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slideLayouts/slideLayout11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tags/tag11.xml" ContentType="application/vnd.openxmlformats-officedocument.presentationml.tags+xml"/>
  <Override PartName="/ppt/notesSlides/notesSlide10.xml" ContentType="application/vnd.openxmlformats-officedocument.presentationml.notesSlide+xml"/>
  <Override PartName="/ppt/tags/tag12.xml" ContentType="application/vnd.openxmlformats-officedocument.presentationml.tags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notesSlides/notesSlide12.xml" ContentType="application/vnd.openxmlformats-officedocument.presentationml.notesSlide+xml"/>
  <Override PartName="/ppt/tags/tag14.xml" ContentType="application/vnd.openxmlformats-officedocument.presentationml.tags+xml"/>
  <Override PartName="/ppt/notesSlides/notesSlide13.xml" ContentType="application/vnd.openxmlformats-officedocument.presentationml.notesSlide+xml"/>
  <Override PartName="/ppt/tags/tag15.xml" ContentType="application/vnd.openxmlformats-officedocument.presentationml.tags+xml"/>
  <Override PartName="/ppt/notesSlides/notesSlide14.xml" ContentType="application/vnd.openxmlformats-officedocument.presentationml.notesSlide+xml"/>
  <Override PartName="/ppt/tags/tag16.xml" ContentType="application/vnd.openxmlformats-officedocument.presentationml.tags+xml"/>
  <Override PartName="/ppt/notesSlides/notesSlide15.xml" ContentType="application/vnd.openxmlformats-officedocument.presentationml.notesSlide+xml"/>
  <Override PartName="/ppt/tags/tag17.xml" ContentType="application/vnd.openxmlformats-officedocument.presentationml.tags+xml"/>
  <Override PartName="/ppt/notesSlides/notesSlide16.xml" ContentType="application/vnd.openxmlformats-officedocument.presentationml.notesSlide+xml"/>
  <Override PartName="/ppt/tags/tag18.xml" ContentType="application/vnd.openxmlformats-officedocument.presentationml.tags+xml"/>
  <Override PartName="/ppt/notesSlides/notesSlide17.xml" ContentType="application/vnd.openxmlformats-officedocument.presentationml.notesSlide+xml"/>
  <Override PartName="/ppt/tags/tag19.xml" ContentType="application/vnd.openxmlformats-officedocument.presentationml.tags+xml"/>
  <Override PartName="/ppt/notesSlides/notesSlide18.xml" ContentType="application/vnd.openxmlformats-officedocument.presentationml.notesSlide+xml"/>
  <Override PartName="/ppt/tags/tag20.xml" ContentType="application/vnd.openxmlformats-officedocument.presentationml.tags+xml"/>
  <Override PartName="/ppt/notesSlides/notesSlide19.xml" ContentType="application/vnd.openxmlformats-officedocument.presentationml.notesSlide+xml"/>
  <Override PartName="/ppt/tags/tag21.xml" ContentType="application/vnd.openxmlformats-officedocument.presentationml.tags+xml"/>
  <Override PartName="/ppt/notesSlides/notesSlide20.xml" ContentType="application/vnd.openxmlformats-officedocument.presentationml.notesSlide+xml"/>
  <Override PartName="/ppt/tags/tag22.xml" ContentType="application/vnd.openxmlformats-officedocument.presentationml.tags+xml"/>
  <Override PartName="/ppt/notesSlides/notesSlide21.xml" ContentType="application/vnd.openxmlformats-officedocument.presentationml.notesSlide+xml"/>
  <Override PartName="/ppt/tags/tag23.xml" ContentType="application/vnd.openxmlformats-officedocument.presentationml.tags+xml"/>
  <Override PartName="/ppt/notesSlides/notesSlide22.xml" ContentType="application/vnd.openxmlformats-officedocument.presentationml.notesSlide+xml"/>
  <Override PartName="/ppt/tags/tag24.xml" ContentType="application/vnd.openxmlformats-officedocument.presentationml.tags+xml"/>
  <Override PartName="/ppt/notesSlides/notesSlide23.xml" ContentType="application/vnd.openxmlformats-officedocument.presentationml.notesSlide+xml"/>
  <Override PartName="/ppt/tags/tag25.xml" ContentType="application/vnd.openxmlformats-officedocument.presentationml.tags+xml"/>
  <Override PartName="/ppt/notesSlides/notesSlide24.xml" ContentType="application/vnd.openxmlformats-officedocument.presentationml.notesSlide+xml"/>
  <Override PartName="/ppt/tags/tag26.xml" ContentType="application/vnd.openxmlformats-officedocument.presentationml.tags+xml"/>
  <Override PartName="/ppt/notesSlides/notesSlide25.xml" ContentType="application/vnd.openxmlformats-officedocument.presentationml.notesSlide+xml"/>
  <Override PartName="/ppt/tags/tag27.xml" ContentType="application/vnd.openxmlformats-officedocument.presentationml.tags+xml"/>
  <Override PartName="/ppt/notesSlides/notesSlide26.xml" ContentType="application/vnd.openxmlformats-officedocument.presentationml.notesSlide+xml"/>
  <Override PartName="/ppt/tags/tag28.xml" ContentType="application/vnd.openxmlformats-officedocument.presentationml.tags+xml"/>
  <Override PartName="/ppt/notesSlides/notesSlide27.xml" ContentType="application/vnd.openxmlformats-officedocument.presentationml.notesSlide+xml"/>
  <Override PartName="/ppt/tags/tag29.xml" ContentType="application/vnd.openxmlformats-officedocument.presentationml.tags+xml"/>
  <Override PartName="/ppt/notesSlides/notesSlide28.xml" ContentType="application/vnd.openxmlformats-officedocument.presentationml.notesSlide+xml"/>
  <Override PartName="/ppt/tags/tag30.xml" ContentType="application/vnd.openxmlformats-officedocument.presentationml.tags+xml"/>
  <Override PartName="/ppt/notesSlides/notesSlide29.xml" ContentType="application/vnd.openxmlformats-officedocument.presentationml.notesSlide+xml"/>
  <Override PartName="/ppt/tags/tag31.xml" ContentType="application/vnd.openxmlformats-officedocument.presentationml.tags+xml"/>
  <Override PartName="/ppt/notesSlides/notesSlide30.xml" ContentType="application/vnd.openxmlformats-officedocument.presentationml.notesSlide+xml"/>
  <Override PartName="/ppt/tags/tag32.xml" ContentType="application/vnd.openxmlformats-officedocument.presentationml.tags+xml"/>
  <Override PartName="/ppt/notesSlides/notesSlide31.xml" ContentType="application/vnd.openxmlformats-officedocument.presentationml.notesSlide+xml"/>
  <Override PartName="/ppt/tags/tag33.xml" ContentType="application/vnd.openxmlformats-officedocument.presentationml.tags+xml"/>
  <Override PartName="/ppt/notesSlides/notesSlide32.xml" ContentType="application/vnd.openxmlformats-officedocument.presentationml.notesSlide+xml"/>
  <Override PartName="/ppt/tags/tag34.xml" ContentType="application/vnd.openxmlformats-officedocument.presentationml.tags+xml"/>
  <Override PartName="/ppt/notesSlides/notesSlide33.xml" ContentType="application/vnd.openxmlformats-officedocument.presentationml.notesSlide+xml"/>
  <Override PartName="/ppt/tags/tag35.xml" ContentType="application/vnd.openxmlformats-officedocument.presentationml.tags+xml"/>
  <Override PartName="/ppt/notesSlides/notesSlide34.xml" ContentType="application/vnd.openxmlformats-officedocument.presentationml.notesSlide+xml"/>
  <Override PartName="/ppt/tags/tag36.xml" ContentType="application/vnd.openxmlformats-officedocument.presentationml.tags+xml"/>
  <Override PartName="/ppt/notesSlides/notesSlide35.xml" ContentType="application/vnd.openxmlformats-officedocument.presentationml.notesSlide+xml"/>
  <Override PartName="/ppt/tags/tag37.xml" ContentType="application/vnd.openxmlformats-officedocument.presentationml.tags+xml"/>
  <Override PartName="/ppt/notesSlides/notesSlide36.xml" ContentType="application/vnd.openxmlformats-officedocument.presentationml.notesSlide+xml"/>
  <Override PartName="/ppt/tags/tag38.xml" ContentType="application/vnd.openxmlformats-officedocument.presentationml.tags+xml"/>
  <Override PartName="/ppt/notesSlides/notesSlide3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931" r:id="rId1"/>
    <p:sldMasterId id="2147484131" r:id="rId2"/>
    <p:sldMasterId id="2147484133" r:id="rId3"/>
    <p:sldMasterId id="2147484135" r:id="rId4"/>
  </p:sldMasterIdLst>
  <p:notesMasterIdLst>
    <p:notesMasterId r:id="rId45"/>
  </p:notesMasterIdLst>
  <p:handoutMasterIdLst>
    <p:handoutMasterId r:id="rId46"/>
  </p:handoutMasterIdLst>
  <p:sldIdLst>
    <p:sldId id="1628" r:id="rId5"/>
    <p:sldId id="1644" r:id="rId6"/>
    <p:sldId id="467" r:id="rId7"/>
    <p:sldId id="466" r:id="rId8"/>
    <p:sldId id="468" r:id="rId9"/>
    <p:sldId id="472" r:id="rId10"/>
    <p:sldId id="469" r:id="rId11"/>
    <p:sldId id="470" r:id="rId12"/>
    <p:sldId id="471" r:id="rId13"/>
    <p:sldId id="473" r:id="rId14"/>
    <p:sldId id="505" r:id="rId15"/>
    <p:sldId id="475" r:id="rId16"/>
    <p:sldId id="477" r:id="rId17"/>
    <p:sldId id="480" r:id="rId18"/>
    <p:sldId id="476" r:id="rId19"/>
    <p:sldId id="486" r:id="rId20"/>
    <p:sldId id="487" r:id="rId21"/>
    <p:sldId id="488" r:id="rId22"/>
    <p:sldId id="481" r:id="rId23"/>
    <p:sldId id="489" r:id="rId24"/>
    <p:sldId id="490" r:id="rId25"/>
    <p:sldId id="496" r:id="rId26"/>
    <p:sldId id="482" r:id="rId27"/>
    <p:sldId id="493" r:id="rId28"/>
    <p:sldId id="494" r:id="rId29"/>
    <p:sldId id="495" r:id="rId30"/>
    <p:sldId id="498" r:id="rId31"/>
    <p:sldId id="492" r:id="rId32"/>
    <p:sldId id="483" r:id="rId33"/>
    <p:sldId id="497" r:id="rId34"/>
    <p:sldId id="484" r:id="rId35"/>
    <p:sldId id="485" r:id="rId36"/>
    <p:sldId id="479" r:id="rId37"/>
    <p:sldId id="499" r:id="rId38"/>
    <p:sldId id="500" r:id="rId39"/>
    <p:sldId id="501" r:id="rId40"/>
    <p:sldId id="506" r:id="rId41"/>
    <p:sldId id="503" r:id="rId42"/>
    <p:sldId id="504" r:id="rId43"/>
    <p:sldId id="1340" r:id="rId44"/>
  </p:sldIdLst>
  <p:sldSz cx="9906000" cy="6858000" type="A4"/>
  <p:notesSz cx="6794500" cy="99187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923">
          <p15:clr>
            <a:srgbClr val="A4A3A4"/>
          </p15:clr>
        </p15:guide>
        <p15:guide id="2" orient="horz" pos="2160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2208">
          <p15:clr>
            <a:srgbClr val="A4A3A4"/>
          </p15:clr>
        </p15:guide>
        <p15:guide id="5" orient="horz" pos="3960">
          <p15:clr>
            <a:srgbClr val="A4A3A4"/>
          </p15:clr>
        </p15:guide>
        <p15:guide id="6" orient="horz" pos="264">
          <p15:clr>
            <a:srgbClr val="A4A3A4"/>
          </p15:clr>
        </p15:guide>
        <p15:guide id="7" orient="horz" pos="408">
          <p15:clr>
            <a:srgbClr val="A4A3A4"/>
          </p15:clr>
        </p15:guide>
        <p15:guide id="8" orient="horz" pos="1056">
          <p15:clr>
            <a:srgbClr val="A4A3A4"/>
          </p15:clr>
        </p15:guide>
        <p15:guide id="9" pos="160">
          <p15:clr>
            <a:srgbClr val="A4A3A4"/>
          </p15:clr>
        </p15:guide>
        <p15:guide id="10" pos="792">
          <p15:clr>
            <a:srgbClr val="A4A3A4"/>
          </p15:clr>
        </p15:guide>
        <p15:guide id="11" pos="1992">
          <p15:clr>
            <a:srgbClr val="A4A3A4"/>
          </p15:clr>
        </p15:guide>
        <p15:guide id="12" pos="2232">
          <p15:clr>
            <a:srgbClr val="A4A3A4"/>
          </p15:clr>
        </p15:guide>
        <p15:guide id="13" pos="6074">
          <p15:clr>
            <a:srgbClr val="A4A3A4"/>
          </p15:clr>
        </p15:guide>
        <p15:guide id="14" pos="408">
          <p15:clr>
            <a:srgbClr val="A4A3A4"/>
          </p15:clr>
        </p15:guide>
        <p15:guide id="15" pos="6168">
          <p15:clr>
            <a:srgbClr val="A4A3A4"/>
          </p15:clr>
        </p15:guide>
        <p15:guide id="16" pos="10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7824">
          <p15:clr>
            <a:srgbClr val="A4A3A4"/>
          </p15:clr>
        </p15:guide>
        <p15:guide id="2" orient="horz" pos="462">
          <p15:clr>
            <a:srgbClr val="A4A3A4"/>
          </p15:clr>
        </p15:guide>
        <p15:guide id="3" orient="horz" pos="7874">
          <p15:clr>
            <a:srgbClr val="A4A3A4"/>
          </p15:clr>
        </p15:guide>
        <p15:guide id="4" orient="horz" pos="463">
          <p15:clr>
            <a:srgbClr val="A4A3A4"/>
          </p15:clr>
        </p15:guide>
        <p15:guide id="5" orient="horz" pos="7772">
          <p15:clr>
            <a:srgbClr val="A4A3A4"/>
          </p15:clr>
        </p15:guide>
        <p15:guide id="6" orient="horz" pos="458">
          <p15:clr>
            <a:srgbClr val="A4A3A4"/>
          </p15:clr>
        </p15:guide>
        <p15:guide id="7" orient="horz" pos="8078">
          <p15:clr>
            <a:srgbClr val="A4A3A4"/>
          </p15:clr>
        </p15:guide>
        <p15:guide id="8" orient="horz" pos="479">
          <p15:clr>
            <a:srgbClr val="A4A3A4"/>
          </p15:clr>
        </p15:guide>
        <p15:guide id="9" pos="160">
          <p15:clr>
            <a:srgbClr val="A4A3A4"/>
          </p15:clr>
        </p15:guide>
        <p15:guide id="10" pos="2997">
          <p15:clr>
            <a:srgbClr val="A4A3A4"/>
          </p15:clr>
        </p15:guide>
        <p15:guide id="11" pos="156">
          <p15:clr>
            <a:srgbClr val="A4A3A4"/>
          </p15:clr>
        </p15:guide>
        <p15:guide id="12" pos="2931">
          <p15:clr>
            <a:srgbClr val="A4A3A4"/>
          </p15:clr>
        </p15:guide>
        <p15:guide id="13" pos="162">
          <p15:clr>
            <a:srgbClr val="A4A3A4"/>
          </p15:clr>
        </p15:guide>
        <p15:guide id="14" pos="3064">
          <p15:clr>
            <a:srgbClr val="A4A3A4"/>
          </p15:clr>
        </p15:guide>
        <p15:guide id="15" pos="170">
          <p15:clr>
            <a:srgbClr val="A4A3A4"/>
          </p15:clr>
        </p15:guide>
        <p15:guide id="16" pos="319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3300"/>
    <a:srgbClr val="BFBFBF"/>
    <a:srgbClr val="2A4F1D"/>
    <a:srgbClr val="7F7F7F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951" autoAdjust="0"/>
    <p:restoredTop sz="50072" autoAdjust="0"/>
  </p:normalViewPr>
  <p:slideViewPr>
    <p:cSldViewPr snapToGrid="0">
      <p:cViewPr varScale="1">
        <p:scale>
          <a:sx n="86" d="100"/>
          <a:sy n="86" d="100"/>
        </p:scale>
        <p:origin x="141" y="39"/>
      </p:cViewPr>
      <p:guideLst>
        <p:guide orient="horz" pos="3923"/>
        <p:guide orient="horz" pos="2160"/>
        <p:guide orient="horz"/>
        <p:guide orient="horz" pos="2208"/>
        <p:guide orient="horz" pos="3960"/>
        <p:guide orient="horz" pos="264"/>
        <p:guide orient="horz" pos="408"/>
        <p:guide orient="horz" pos="1056"/>
        <p:guide pos="160"/>
        <p:guide pos="792"/>
        <p:guide pos="1992"/>
        <p:guide pos="2232"/>
        <p:guide pos="6074"/>
        <p:guide pos="408"/>
        <p:guide pos="6168"/>
        <p:guide pos="100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7824"/>
        <p:guide orient="horz" pos="462"/>
        <p:guide orient="horz" pos="7874"/>
        <p:guide orient="horz" pos="463"/>
        <p:guide orient="horz" pos="7772"/>
        <p:guide orient="horz" pos="458"/>
        <p:guide orient="horz" pos="8078"/>
        <p:guide orient="horz" pos="479"/>
        <p:guide pos="160"/>
        <p:guide pos="2997"/>
        <p:guide pos="156"/>
        <p:guide pos="2931"/>
        <p:guide pos="162"/>
        <p:guide pos="3064"/>
        <p:guide pos="170"/>
        <p:guide pos="319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viewProps" Target="viewProps.xml"/><Relationship Id="rId8" Type="http://schemas.openxmlformats.org/officeDocument/2006/relationships/slide" Target="slides/slide4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E139C41-153A-42FF-B55E-1EA2788CB0AE}" type="doc">
      <dgm:prSet loTypeId="urn:microsoft.com/office/officeart/2005/8/layout/radial5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D5A9644A-145C-43F0-8F97-297217432246}">
      <dgm:prSet phldrT="[Text]"/>
      <dgm:spPr>
        <a:solidFill>
          <a:schemeClr val="accent3"/>
        </a:solidFill>
      </dgm:spPr>
      <dgm:t>
        <a:bodyPr/>
        <a:lstStyle/>
        <a:p>
          <a:r>
            <a:rPr lang="en-GB" dirty="0">
              <a:latin typeface="Calibri" pitchFamily="34" charset="0"/>
            </a:rPr>
            <a:t>Targeted investment promotion</a:t>
          </a:r>
        </a:p>
      </dgm:t>
    </dgm:pt>
    <dgm:pt modelId="{0EABBA48-EBB7-4ED7-A2F6-23870959305E}" type="parTrans" cxnId="{AD15CF6E-F01E-4ACF-852D-1A5B223D9CAF}">
      <dgm:prSet/>
      <dgm:spPr/>
      <dgm:t>
        <a:bodyPr/>
        <a:lstStyle/>
        <a:p>
          <a:endParaRPr lang="en-GB">
            <a:latin typeface="Calibri" pitchFamily="34" charset="0"/>
          </a:endParaRPr>
        </a:p>
      </dgm:t>
    </dgm:pt>
    <dgm:pt modelId="{0F451497-BC17-439D-B41C-AFD51D6F9C69}" type="sibTrans" cxnId="{AD15CF6E-F01E-4ACF-852D-1A5B223D9CAF}">
      <dgm:prSet/>
      <dgm:spPr/>
      <dgm:t>
        <a:bodyPr/>
        <a:lstStyle/>
        <a:p>
          <a:endParaRPr lang="en-GB">
            <a:latin typeface="Calibri" pitchFamily="34" charset="0"/>
          </a:endParaRPr>
        </a:p>
      </dgm:t>
    </dgm:pt>
    <dgm:pt modelId="{9AF05262-44C6-4467-8979-F99C7400FD6B}">
      <dgm:prSet phldrT="[Text]" custT="1"/>
      <dgm:spPr>
        <a:solidFill>
          <a:srgbClr val="7F7F7F"/>
        </a:solidFill>
      </dgm:spPr>
      <dgm:t>
        <a:bodyPr/>
        <a:lstStyle/>
        <a:p>
          <a:r>
            <a:rPr lang="en-GB" sz="1500" dirty="0">
              <a:latin typeface="Calibri" pitchFamily="34" charset="0"/>
            </a:rPr>
            <a:t>Strategic insights into States’ competitive advantages</a:t>
          </a:r>
        </a:p>
      </dgm:t>
    </dgm:pt>
    <dgm:pt modelId="{E0F1A978-09F9-4D9A-813A-AA1190CCF205}" type="parTrans" cxnId="{15E27893-FFBB-488E-BCAA-23B8CF7440CF}">
      <dgm:prSet/>
      <dgm:spPr/>
      <dgm:t>
        <a:bodyPr/>
        <a:lstStyle/>
        <a:p>
          <a:endParaRPr lang="en-GB">
            <a:latin typeface="Calibri" pitchFamily="34" charset="0"/>
          </a:endParaRPr>
        </a:p>
      </dgm:t>
    </dgm:pt>
    <dgm:pt modelId="{CF7265F2-2030-4FD2-9D8F-1BC2C0FD9141}" type="sibTrans" cxnId="{15E27893-FFBB-488E-BCAA-23B8CF7440CF}">
      <dgm:prSet/>
      <dgm:spPr>
        <a:solidFill>
          <a:srgbClr val="BFBFBF"/>
        </a:solidFill>
      </dgm:spPr>
      <dgm:t>
        <a:bodyPr/>
        <a:lstStyle/>
        <a:p>
          <a:endParaRPr lang="en-GB">
            <a:latin typeface="Calibri" pitchFamily="34" charset="0"/>
          </a:endParaRPr>
        </a:p>
      </dgm:t>
    </dgm:pt>
    <dgm:pt modelId="{6BE4A91E-C40C-466E-BC1E-2C06501042C7}">
      <dgm:prSet phldrT="[Text]" custT="1"/>
      <dgm:spPr>
        <a:solidFill>
          <a:srgbClr val="7F7F7F"/>
        </a:solidFill>
      </dgm:spPr>
      <dgm:t>
        <a:bodyPr/>
        <a:lstStyle/>
        <a:p>
          <a:r>
            <a:rPr lang="en-GB" sz="1500" dirty="0">
              <a:latin typeface="Calibri" pitchFamily="34" charset="0"/>
            </a:rPr>
            <a:t>Sector-focused strategies</a:t>
          </a:r>
        </a:p>
      </dgm:t>
    </dgm:pt>
    <dgm:pt modelId="{64B8303E-534B-4AAE-9AE3-E7210656523C}" type="parTrans" cxnId="{64C65A9D-D74C-4FAA-B0ED-D1E2ACA6C1CC}">
      <dgm:prSet/>
      <dgm:spPr/>
      <dgm:t>
        <a:bodyPr/>
        <a:lstStyle/>
        <a:p>
          <a:endParaRPr lang="en-GB">
            <a:latin typeface="Calibri" pitchFamily="34" charset="0"/>
          </a:endParaRPr>
        </a:p>
      </dgm:t>
    </dgm:pt>
    <dgm:pt modelId="{8C9A907D-2911-4076-81F5-056B2FDBE4DA}" type="sibTrans" cxnId="{64C65A9D-D74C-4FAA-B0ED-D1E2ACA6C1CC}">
      <dgm:prSet/>
      <dgm:spPr>
        <a:solidFill>
          <a:srgbClr val="BFBFBF"/>
        </a:solidFill>
      </dgm:spPr>
      <dgm:t>
        <a:bodyPr/>
        <a:lstStyle/>
        <a:p>
          <a:endParaRPr lang="en-GB">
            <a:latin typeface="Calibri" pitchFamily="34" charset="0"/>
          </a:endParaRPr>
        </a:p>
      </dgm:t>
    </dgm:pt>
    <dgm:pt modelId="{806BAC7F-7A47-416E-B6BF-289BAA5A5FA6}">
      <dgm:prSet phldrT="[Text]" custT="1"/>
      <dgm:spPr>
        <a:solidFill>
          <a:srgbClr val="7F7F7F"/>
        </a:solidFill>
      </dgm:spPr>
      <dgm:t>
        <a:bodyPr/>
        <a:lstStyle/>
        <a:p>
          <a:r>
            <a:rPr lang="en-GB" sz="1500" dirty="0">
              <a:latin typeface="Calibri" pitchFamily="34" charset="0"/>
            </a:rPr>
            <a:t>Strategic relationships with target countries</a:t>
          </a:r>
        </a:p>
      </dgm:t>
    </dgm:pt>
    <dgm:pt modelId="{3149A025-2D25-44B7-9C54-D23743B834CD}" type="parTrans" cxnId="{7B0E6BE0-880E-4FF0-AACE-6364C0305FAD}">
      <dgm:prSet/>
      <dgm:spPr/>
      <dgm:t>
        <a:bodyPr/>
        <a:lstStyle/>
        <a:p>
          <a:endParaRPr lang="en-GB">
            <a:latin typeface="Calibri" pitchFamily="34" charset="0"/>
          </a:endParaRPr>
        </a:p>
      </dgm:t>
    </dgm:pt>
    <dgm:pt modelId="{8F42DF99-4165-4564-B847-AA2BDBAA6068}" type="sibTrans" cxnId="{7B0E6BE0-880E-4FF0-AACE-6364C0305FAD}">
      <dgm:prSet/>
      <dgm:spPr>
        <a:solidFill>
          <a:srgbClr val="BFBFBF"/>
        </a:solidFill>
      </dgm:spPr>
      <dgm:t>
        <a:bodyPr/>
        <a:lstStyle/>
        <a:p>
          <a:endParaRPr lang="en-GB">
            <a:latin typeface="Calibri" pitchFamily="34" charset="0"/>
          </a:endParaRPr>
        </a:p>
      </dgm:t>
    </dgm:pt>
    <dgm:pt modelId="{A0C7F1B4-EAE8-4AB8-8DF4-661CAA0BB861}">
      <dgm:prSet phldrT="[Text]" custT="1"/>
      <dgm:spPr>
        <a:solidFill>
          <a:srgbClr val="7F7F7F"/>
        </a:solidFill>
      </dgm:spPr>
      <dgm:t>
        <a:bodyPr/>
        <a:lstStyle/>
        <a:p>
          <a:r>
            <a:rPr lang="en-GB" sz="1500" dirty="0">
              <a:latin typeface="Calibri" pitchFamily="34" charset="0"/>
            </a:rPr>
            <a:t>Coordinated investor engagements with States</a:t>
          </a:r>
        </a:p>
      </dgm:t>
    </dgm:pt>
    <dgm:pt modelId="{140CE29D-E7DC-4454-9CE3-EA003B5CEE72}" type="parTrans" cxnId="{E8CE81EA-7E87-4942-AF4E-E0300654A1E5}">
      <dgm:prSet/>
      <dgm:spPr/>
      <dgm:t>
        <a:bodyPr/>
        <a:lstStyle/>
        <a:p>
          <a:endParaRPr lang="en-GB">
            <a:latin typeface="Calibri" pitchFamily="34" charset="0"/>
          </a:endParaRPr>
        </a:p>
      </dgm:t>
    </dgm:pt>
    <dgm:pt modelId="{83E93E11-A351-497E-84E1-FBCDDFE39941}" type="sibTrans" cxnId="{E8CE81EA-7E87-4942-AF4E-E0300654A1E5}">
      <dgm:prSet/>
      <dgm:spPr/>
      <dgm:t>
        <a:bodyPr/>
        <a:lstStyle/>
        <a:p>
          <a:endParaRPr lang="en-GB">
            <a:latin typeface="Calibri" pitchFamily="34" charset="0"/>
          </a:endParaRPr>
        </a:p>
      </dgm:t>
    </dgm:pt>
    <dgm:pt modelId="{2C612C8E-23B4-477A-A935-37C31FF700BD}">
      <dgm:prSet phldrT="[Text]" custT="1"/>
      <dgm:spPr>
        <a:solidFill>
          <a:srgbClr val="7F7F7F"/>
        </a:solidFill>
      </dgm:spPr>
      <dgm:t>
        <a:bodyPr/>
        <a:lstStyle/>
        <a:p>
          <a:r>
            <a:rPr lang="en-GB" sz="1500" dirty="0">
              <a:latin typeface="Calibri" pitchFamily="34" charset="0"/>
            </a:rPr>
            <a:t>Proactive investor facilitation</a:t>
          </a:r>
        </a:p>
      </dgm:t>
    </dgm:pt>
    <dgm:pt modelId="{A87C08D1-0253-48FC-AC93-2DA71CB11682}" type="parTrans" cxnId="{0C9A03EA-D269-4CE6-A844-59B69C3E9383}">
      <dgm:prSet/>
      <dgm:spPr/>
      <dgm:t>
        <a:bodyPr/>
        <a:lstStyle/>
        <a:p>
          <a:endParaRPr lang="en-GB">
            <a:latin typeface="Calibri" pitchFamily="34" charset="0"/>
          </a:endParaRPr>
        </a:p>
      </dgm:t>
    </dgm:pt>
    <dgm:pt modelId="{2AE6FCBF-38F6-4C2A-B05D-8E9695BF67D3}" type="sibTrans" cxnId="{0C9A03EA-D269-4CE6-A844-59B69C3E9383}">
      <dgm:prSet/>
      <dgm:spPr/>
      <dgm:t>
        <a:bodyPr/>
        <a:lstStyle/>
        <a:p>
          <a:endParaRPr lang="en-GB">
            <a:latin typeface="Calibri" pitchFamily="34" charset="0"/>
          </a:endParaRPr>
        </a:p>
      </dgm:t>
    </dgm:pt>
    <dgm:pt modelId="{65CE2686-F670-4D27-85C8-4919BFE55E18}" type="pres">
      <dgm:prSet presAssocID="{2E139C41-153A-42FF-B55E-1EA2788CB0AE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338AE1B8-846A-4E4E-9A63-A3CF78EC6A5F}" type="pres">
      <dgm:prSet presAssocID="{D5A9644A-145C-43F0-8F97-297217432246}" presName="centerShape" presStyleLbl="node0" presStyleIdx="0" presStyleCnt="1" custScaleX="146410" custScaleY="114845"/>
      <dgm:spPr/>
    </dgm:pt>
    <dgm:pt modelId="{937200E1-704E-486C-82E7-2077587F1394}" type="pres">
      <dgm:prSet presAssocID="{E0F1A978-09F9-4D9A-813A-AA1190CCF205}" presName="parTrans" presStyleLbl="sibTrans2D1" presStyleIdx="0" presStyleCnt="5"/>
      <dgm:spPr/>
    </dgm:pt>
    <dgm:pt modelId="{A22F5FB8-3BC8-4CB1-89A3-F92ECDAEED31}" type="pres">
      <dgm:prSet presAssocID="{E0F1A978-09F9-4D9A-813A-AA1190CCF205}" presName="connectorText" presStyleLbl="sibTrans2D1" presStyleIdx="0" presStyleCnt="5"/>
      <dgm:spPr/>
    </dgm:pt>
    <dgm:pt modelId="{9A68DAFD-9454-4D94-92CF-5249F5898BD1}" type="pres">
      <dgm:prSet presAssocID="{9AF05262-44C6-4467-8979-F99C7400FD6B}" presName="node" presStyleLbl="node1" presStyleIdx="0" presStyleCnt="5" custScaleX="171008">
        <dgm:presLayoutVars>
          <dgm:bulletEnabled val="1"/>
        </dgm:presLayoutVars>
      </dgm:prSet>
      <dgm:spPr/>
    </dgm:pt>
    <dgm:pt modelId="{A188D5A4-6457-4854-A2B3-D9900C1B35C0}" type="pres">
      <dgm:prSet presAssocID="{64B8303E-534B-4AAE-9AE3-E7210656523C}" presName="parTrans" presStyleLbl="sibTrans2D1" presStyleIdx="1" presStyleCnt="5"/>
      <dgm:spPr/>
    </dgm:pt>
    <dgm:pt modelId="{1FC7BA49-C4F3-41FB-B39F-503950093930}" type="pres">
      <dgm:prSet presAssocID="{64B8303E-534B-4AAE-9AE3-E7210656523C}" presName="connectorText" presStyleLbl="sibTrans2D1" presStyleIdx="1" presStyleCnt="5"/>
      <dgm:spPr/>
    </dgm:pt>
    <dgm:pt modelId="{1B76260E-72F2-4159-A035-BC9D37DDF2BC}" type="pres">
      <dgm:prSet presAssocID="{6BE4A91E-C40C-466E-BC1E-2C06501042C7}" presName="node" presStyleLbl="node1" presStyleIdx="1" presStyleCnt="5" custScaleX="171008" custRadScaleRad="171188" custRadScaleInc="569">
        <dgm:presLayoutVars>
          <dgm:bulletEnabled val="1"/>
        </dgm:presLayoutVars>
      </dgm:prSet>
      <dgm:spPr/>
    </dgm:pt>
    <dgm:pt modelId="{AB3AF485-F776-480F-886B-377941D48994}" type="pres">
      <dgm:prSet presAssocID="{3149A025-2D25-44B7-9C54-D23743B834CD}" presName="parTrans" presStyleLbl="sibTrans2D1" presStyleIdx="2" presStyleCnt="5"/>
      <dgm:spPr/>
    </dgm:pt>
    <dgm:pt modelId="{5DCF935B-1B4B-46A9-89A0-AA2F8AE11CC6}" type="pres">
      <dgm:prSet presAssocID="{3149A025-2D25-44B7-9C54-D23743B834CD}" presName="connectorText" presStyleLbl="sibTrans2D1" presStyleIdx="2" presStyleCnt="5"/>
      <dgm:spPr/>
    </dgm:pt>
    <dgm:pt modelId="{D60577B8-873C-46B3-BD74-7076454938A3}" type="pres">
      <dgm:prSet presAssocID="{806BAC7F-7A47-416E-B6BF-289BAA5A5FA6}" presName="node" presStyleLbl="node1" presStyleIdx="2" presStyleCnt="5" custScaleX="171008" custRadScaleRad="137858" custRadScaleInc="-50032">
        <dgm:presLayoutVars>
          <dgm:bulletEnabled val="1"/>
        </dgm:presLayoutVars>
      </dgm:prSet>
      <dgm:spPr/>
    </dgm:pt>
    <dgm:pt modelId="{795E5AC5-BF12-4A2E-9E2F-F4D082F9A329}" type="pres">
      <dgm:prSet presAssocID="{140CE29D-E7DC-4454-9CE3-EA003B5CEE72}" presName="parTrans" presStyleLbl="sibTrans2D1" presStyleIdx="3" presStyleCnt="5"/>
      <dgm:spPr/>
    </dgm:pt>
    <dgm:pt modelId="{2C51B62A-0524-4022-99DF-1E361879C6D0}" type="pres">
      <dgm:prSet presAssocID="{140CE29D-E7DC-4454-9CE3-EA003B5CEE72}" presName="connectorText" presStyleLbl="sibTrans2D1" presStyleIdx="3" presStyleCnt="5"/>
      <dgm:spPr/>
    </dgm:pt>
    <dgm:pt modelId="{61F3519F-9F24-4030-92F8-6B6F0BD89121}" type="pres">
      <dgm:prSet presAssocID="{A0C7F1B4-EAE8-4AB8-8DF4-661CAA0BB861}" presName="node" presStyleLbl="node1" presStyleIdx="3" presStyleCnt="5" custScaleX="171008" custRadScaleRad="141729" custRadScaleInc="49239">
        <dgm:presLayoutVars>
          <dgm:bulletEnabled val="1"/>
        </dgm:presLayoutVars>
      </dgm:prSet>
      <dgm:spPr/>
    </dgm:pt>
    <dgm:pt modelId="{15E3043C-B1CA-4370-B691-AEAC6D0C5C42}" type="pres">
      <dgm:prSet presAssocID="{A87C08D1-0253-48FC-AC93-2DA71CB11682}" presName="parTrans" presStyleLbl="sibTrans2D1" presStyleIdx="4" presStyleCnt="5"/>
      <dgm:spPr/>
    </dgm:pt>
    <dgm:pt modelId="{23BD5B11-69B5-413A-BE56-0CF63CBC4CB4}" type="pres">
      <dgm:prSet presAssocID="{A87C08D1-0253-48FC-AC93-2DA71CB11682}" presName="connectorText" presStyleLbl="sibTrans2D1" presStyleIdx="4" presStyleCnt="5"/>
      <dgm:spPr/>
    </dgm:pt>
    <dgm:pt modelId="{2326D3C7-2C5C-49A2-B75E-AD5260D0D5CF}" type="pres">
      <dgm:prSet presAssocID="{2C612C8E-23B4-477A-A935-37C31FF700BD}" presName="node" presStyleLbl="node1" presStyleIdx="4" presStyleCnt="5" custScaleX="170774" custRadScaleRad="167322" custRadScaleInc="-1442">
        <dgm:presLayoutVars>
          <dgm:bulletEnabled val="1"/>
        </dgm:presLayoutVars>
      </dgm:prSet>
      <dgm:spPr/>
    </dgm:pt>
  </dgm:ptLst>
  <dgm:cxnLst>
    <dgm:cxn modelId="{0254E101-116F-4E2C-BF9A-2129B1AC9226}" type="presOf" srcId="{E0F1A978-09F9-4D9A-813A-AA1190CCF205}" destId="{937200E1-704E-486C-82E7-2077587F1394}" srcOrd="0" destOrd="0" presId="urn:microsoft.com/office/officeart/2005/8/layout/radial5"/>
    <dgm:cxn modelId="{3165F137-E8B8-4A71-81F3-34FBB45771FD}" type="presOf" srcId="{3149A025-2D25-44B7-9C54-D23743B834CD}" destId="{AB3AF485-F776-480F-886B-377941D48994}" srcOrd="0" destOrd="0" presId="urn:microsoft.com/office/officeart/2005/8/layout/radial5"/>
    <dgm:cxn modelId="{FB4A8961-4783-4752-A43C-D94B35B06CE7}" type="presOf" srcId="{2C612C8E-23B4-477A-A935-37C31FF700BD}" destId="{2326D3C7-2C5C-49A2-B75E-AD5260D0D5CF}" srcOrd="0" destOrd="0" presId="urn:microsoft.com/office/officeart/2005/8/layout/radial5"/>
    <dgm:cxn modelId="{C5889269-46E6-4E74-A2A8-783577EEFE26}" type="presOf" srcId="{6BE4A91E-C40C-466E-BC1E-2C06501042C7}" destId="{1B76260E-72F2-4159-A035-BC9D37DDF2BC}" srcOrd="0" destOrd="0" presId="urn:microsoft.com/office/officeart/2005/8/layout/radial5"/>
    <dgm:cxn modelId="{AD15CF6E-F01E-4ACF-852D-1A5B223D9CAF}" srcId="{2E139C41-153A-42FF-B55E-1EA2788CB0AE}" destId="{D5A9644A-145C-43F0-8F97-297217432246}" srcOrd="0" destOrd="0" parTransId="{0EABBA48-EBB7-4ED7-A2F6-23870959305E}" sibTransId="{0F451497-BC17-439D-B41C-AFD51D6F9C69}"/>
    <dgm:cxn modelId="{C1C3AB6F-819E-4E4C-9057-77353A846736}" type="presOf" srcId="{D5A9644A-145C-43F0-8F97-297217432246}" destId="{338AE1B8-846A-4E4E-9A63-A3CF78EC6A5F}" srcOrd="0" destOrd="0" presId="urn:microsoft.com/office/officeart/2005/8/layout/radial5"/>
    <dgm:cxn modelId="{5C11BD53-E8C7-450D-A6A1-9851AB8F08CB}" type="presOf" srcId="{E0F1A978-09F9-4D9A-813A-AA1190CCF205}" destId="{A22F5FB8-3BC8-4CB1-89A3-F92ECDAEED31}" srcOrd="1" destOrd="0" presId="urn:microsoft.com/office/officeart/2005/8/layout/radial5"/>
    <dgm:cxn modelId="{8D3C3D80-CE7D-4716-B9AB-65F68F3486A3}" type="presOf" srcId="{140CE29D-E7DC-4454-9CE3-EA003B5CEE72}" destId="{795E5AC5-BF12-4A2E-9E2F-F4D082F9A329}" srcOrd="0" destOrd="0" presId="urn:microsoft.com/office/officeart/2005/8/layout/radial5"/>
    <dgm:cxn modelId="{15E27893-FFBB-488E-BCAA-23B8CF7440CF}" srcId="{D5A9644A-145C-43F0-8F97-297217432246}" destId="{9AF05262-44C6-4467-8979-F99C7400FD6B}" srcOrd="0" destOrd="0" parTransId="{E0F1A978-09F9-4D9A-813A-AA1190CCF205}" sibTransId="{CF7265F2-2030-4FD2-9D8F-1BC2C0FD9141}"/>
    <dgm:cxn modelId="{03707998-27C1-4878-AB16-FA0A534A8AC7}" type="presOf" srcId="{806BAC7F-7A47-416E-B6BF-289BAA5A5FA6}" destId="{D60577B8-873C-46B3-BD74-7076454938A3}" srcOrd="0" destOrd="0" presId="urn:microsoft.com/office/officeart/2005/8/layout/radial5"/>
    <dgm:cxn modelId="{64C65A9D-D74C-4FAA-B0ED-D1E2ACA6C1CC}" srcId="{D5A9644A-145C-43F0-8F97-297217432246}" destId="{6BE4A91E-C40C-466E-BC1E-2C06501042C7}" srcOrd="1" destOrd="0" parTransId="{64B8303E-534B-4AAE-9AE3-E7210656523C}" sibTransId="{8C9A907D-2911-4076-81F5-056B2FDBE4DA}"/>
    <dgm:cxn modelId="{4883D09D-65D6-4F92-AC21-426F750F9EAE}" type="presOf" srcId="{A0C7F1B4-EAE8-4AB8-8DF4-661CAA0BB861}" destId="{61F3519F-9F24-4030-92F8-6B6F0BD89121}" srcOrd="0" destOrd="0" presId="urn:microsoft.com/office/officeart/2005/8/layout/radial5"/>
    <dgm:cxn modelId="{6FECD5A1-1C40-4721-B6A0-43E8C99D0608}" type="presOf" srcId="{A87C08D1-0253-48FC-AC93-2DA71CB11682}" destId="{23BD5B11-69B5-413A-BE56-0CF63CBC4CB4}" srcOrd="1" destOrd="0" presId="urn:microsoft.com/office/officeart/2005/8/layout/radial5"/>
    <dgm:cxn modelId="{A04B64A3-CBF2-494C-BE3B-EDB75A5BC13C}" type="presOf" srcId="{A87C08D1-0253-48FC-AC93-2DA71CB11682}" destId="{15E3043C-B1CA-4370-B691-AEAC6D0C5C42}" srcOrd="0" destOrd="0" presId="urn:microsoft.com/office/officeart/2005/8/layout/radial5"/>
    <dgm:cxn modelId="{465B49A9-B50A-4895-AB43-9B6E1F27F186}" type="presOf" srcId="{64B8303E-534B-4AAE-9AE3-E7210656523C}" destId="{A188D5A4-6457-4854-A2B3-D9900C1B35C0}" srcOrd="0" destOrd="0" presId="urn:microsoft.com/office/officeart/2005/8/layout/radial5"/>
    <dgm:cxn modelId="{6D00A3A9-888E-4382-AE72-0AA03AB64ED8}" type="presOf" srcId="{2E139C41-153A-42FF-B55E-1EA2788CB0AE}" destId="{65CE2686-F670-4D27-85C8-4919BFE55E18}" srcOrd="0" destOrd="0" presId="urn:microsoft.com/office/officeart/2005/8/layout/radial5"/>
    <dgm:cxn modelId="{5FBEEBBB-2ED8-4B42-B2A9-60F84D4E3857}" type="presOf" srcId="{64B8303E-534B-4AAE-9AE3-E7210656523C}" destId="{1FC7BA49-C4F3-41FB-B39F-503950093930}" srcOrd="1" destOrd="0" presId="urn:microsoft.com/office/officeart/2005/8/layout/radial5"/>
    <dgm:cxn modelId="{4C0447DC-33B9-40A1-8883-0309062D0663}" type="presOf" srcId="{9AF05262-44C6-4467-8979-F99C7400FD6B}" destId="{9A68DAFD-9454-4D94-92CF-5249F5898BD1}" srcOrd="0" destOrd="0" presId="urn:microsoft.com/office/officeart/2005/8/layout/radial5"/>
    <dgm:cxn modelId="{7B0E6BE0-880E-4FF0-AACE-6364C0305FAD}" srcId="{D5A9644A-145C-43F0-8F97-297217432246}" destId="{806BAC7F-7A47-416E-B6BF-289BAA5A5FA6}" srcOrd="2" destOrd="0" parTransId="{3149A025-2D25-44B7-9C54-D23743B834CD}" sibTransId="{8F42DF99-4165-4564-B847-AA2BDBAA6068}"/>
    <dgm:cxn modelId="{403503E8-1E25-482E-9E11-087C2612583C}" type="presOf" srcId="{140CE29D-E7DC-4454-9CE3-EA003B5CEE72}" destId="{2C51B62A-0524-4022-99DF-1E361879C6D0}" srcOrd="1" destOrd="0" presId="urn:microsoft.com/office/officeart/2005/8/layout/radial5"/>
    <dgm:cxn modelId="{0C9A03EA-D269-4CE6-A844-59B69C3E9383}" srcId="{D5A9644A-145C-43F0-8F97-297217432246}" destId="{2C612C8E-23B4-477A-A935-37C31FF700BD}" srcOrd="4" destOrd="0" parTransId="{A87C08D1-0253-48FC-AC93-2DA71CB11682}" sibTransId="{2AE6FCBF-38F6-4C2A-B05D-8E9695BF67D3}"/>
    <dgm:cxn modelId="{E8CE81EA-7E87-4942-AF4E-E0300654A1E5}" srcId="{D5A9644A-145C-43F0-8F97-297217432246}" destId="{A0C7F1B4-EAE8-4AB8-8DF4-661CAA0BB861}" srcOrd="3" destOrd="0" parTransId="{140CE29D-E7DC-4454-9CE3-EA003B5CEE72}" sibTransId="{83E93E11-A351-497E-84E1-FBCDDFE39941}"/>
    <dgm:cxn modelId="{0A6143F8-A95C-48E9-8A95-E6ED875D682E}" type="presOf" srcId="{3149A025-2D25-44B7-9C54-D23743B834CD}" destId="{5DCF935B-1B4B-46A9-89A0-AA2F8AE11CC6}" srcOrd="1" destOrd="0" presId="urn:microsoft.com/office/officeart/2005/8/layout/radial5"/>
    <dgm:cxn modelId="{F15B8594-F3DE-493A-A132-D66770575662}" type="presParOf" srcId="{65CE2686-F670-4D27-85C8-4919BFE55E18}" destId="{338AE1B8-846A-4E4E-9A63-A3CF78EC6A5F}" srcOrd="0" destOrd="0" presId="urn:microsoft.com/office/officeart/2005/8/layout/radial5"/>
    <dgm:cxn modelId="{24D4AF91-FD2A-4E2C-B1C3-424082641FC8}" type="presParOf" srcId="{65CE2686-F670-4D27-85C8-4919BFE55E18}" destId="{937200E1-704E-486C-82E7-2077587F1394}" srcOrd="1" destOrd="0" presId="urn:microsoft.com/office/officeart/2005/8/layout/radial5"/>
    <dgm:cxn modelId="{7B61ADDF-64BC-4F06-B2FA-8C85AFF92EF5}" type="presParOf" srcId="{937200E1-704E-486C-82E7-2077587F1394}" destId="{A22F5FB8-3BC8-4CB1-89A3-F92ECDAEED31}" srcOrd="0" destOrd="0" presId="urn:microsoft.com/office/officeart/2005/8/layout/radial5"/>
    <dgm:cxn modelId="{98278E67-ABD3-4318-87F9-637180B56103}" type="presParOf" srcId="{65CE2686-F670-4D27-85C8-4919BFE55E18}" destId="{9A68DAFD-9454-4D94-92CF-5249F5898BD1}" srcOrd="2" destOrd="0" presId="urn:microsoft.com/office/officeart/2005/8/layout/radial5"/>
    <dgm:cxn modelId="{5D1CE63B-78D1-4F09-83F4-5067F86CD677}" type="presParOf" srcId="{65CE2686-F670-4D27-85C8-4919BFE55E18}" destId="{A188D5A4-6457-4854-A2B3-D9900C1B35C0}" srcOrd="3" destOrd="0" presId="urn:microsoft.com/office/officeart/2005/8/layout/radial5"/>
    <dgm:cxn modelId="{189C672F-DB3F-4CE9-8C8C-EA71B84054B4}" type="presParOf" srcId="{A188D5A4-6457-4854-A2B3-D9900C1B35C0}" destId="{1FC7BA49-C4F3-41FB-B39F-503950093930}" srcOrd="0" destOrd="0" presId="urn:microsoft.com/office/officeart/2005/8/layout/radial5"/>
    <dgm:cxn modelId="{D550AFCC-D392-41C1-8196-61BC79AD175E}" type="presParOf" srcId="{65CE2686-F670-4D27-85C8-4919BFE55E18}" destId="{1B76260E-72F2-4159-A035-BC9D37DDF2BC}" srcOrd="4" destOrd="0" presId="urn:microsoft.com/office/officeart/2005/8/layout/radial5"/>
    <dgm:cxn modelId="{897E38FF-DEC7-418D-B6A4-B2934AA41926}" type="presParOf" srcId="{65CE2686-F670-4D27-85C8-4919BFE55E18}" destId="{AB3AF485-F776-480F-886B-377941D48994}" srcOrd="5" destOrd="0" presId="urn:microsoft.com/office/officeart/2005/8/layout/radial5"/>
    <dgm:cxn modelId="{AE684897-B740-4DBA-9C32-ACBEF21A10ED}" type="presParOf" srcId="{AB3AF485-F776-480F-886B-377941D48994}" destId="{5DCF935B-1B4B-46A9-89A0-AA2F8AE11CC6}" srcOrd="0" destOrd="0" presId="urn:microsoft.com/office/officeart/2005/8/layout/radial5"/>
    <dgm:cxn modelId="{DDA869E4-8407-4964-A72B-725E8FB39AC2}" type="presParOf" srcId="{65CE2686-F670-4D27-85C8-4919BFE55E18}" destId="{D60577B8-873C-46B3-BD74-7076454938A3}" srcOrd="6" destOrd="0" presId="urn:microsoft.com/office/officeart/2005/8/layout/radial5"/>
    <dgm:cxn modelId="{8B9DF437-ED82-4754-8B0D-1FA636B9606C}" type="presParOf" srcId="{65CE2686-F670-4D27-85C8-4919BFE55E18}" destId="{795E5AC5-BF12-4A2E-9E2F-F4D082F9A329}" srcOrd="7" destOrd="0" presId="urn:microsoft.com/office/officeart/2005/8/layout/radial5"/>
    <dgm:cxn modelId="{5F564BDC-063F-46EE-816D-289C61C2F7A1}" type="presParOf" srcId="{795E5AC5-BF12-4A2E-9E2F-F4D082F9A329}" destId="{2C51B62A-0524-4022-99DF-1E361879C6D0}" srcOrd="0" destOrd="0" presId="urn:microsoft.com/office/officeart/2005/8/layout/radial5"/>
    <dgm:cxn modelId="{6F047705-A961-49C2-AA11-4944C4F24F7F}" type="presParOf" srcId="{65CE2686-F670-4D27-85C8-4919BFE55E18}" destId="{61F3519F-9F24-4030-92F8-6B6F0BD89121}" srcOrd="8" destOrd="0" presId="urn:microsoft.com/office/officeart/2005/8/layout/radial5"/>
    <dgm:cxn modelId="{CAB1AD09-A759-47F3-8E59-7D78C8E5545C}" type="presParOf" srcId="{65CE2686-F670-4D27-85C8-4919BFE55E18}" destId="{15E3043C-B1CA-4370-B691-AEAC6D0C5C42}" srcOrd="9" destOrd="0" presId="urn:microsoft.com/office/officeart/2005/8/layout/radial5"/>
    <dgm:cxn modelId="{DEB30C69-EE3F-407C-9074-283D1CC58D6F}" type="presParOf" srcId="{15E3043C-B1CA-4370-B691-AEAC6D0C5C42}" destId="{23BD5B11-69B5-413A-BE56-0CF63CBC4CB4}" srcOrd="0" destOrd="0" presId="urn:microsoft.com/office/officeart/2005/8/layout/radial5"/>
    <dgm:cxn modelId="{BCD23E5E-4D2C-4325-A41F-8E1958B69191}" type="presParOf" srcId="{65CE2686-F670-4D27-85C8-4919BFE55E18}" destId="{2326D3C7-2C5C-49A2-B75E-AD5260D0D5CF}" srcOrd="10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38AE1B8-846A-4E4E-9A63-A3CF78EC6A5F}">
      <dsp:nvSpPr>
        <dsp:cNvPr id="0" name=""/>
        <dsp:cNvSpPr/>
      </dsp:nvSpPr>
      <dsp:spPr>
        <a:xfrm>
          <a:off x="3663012" y="1994936"/>
          <a:ext cx="1816309" cy="1424725"/>
        </a:xfrm>
        <a:prstGeom prst="ellipse">
          <a:avLst/>
        </a:prstGeom>
        <a:solidFill>
          <a:schemeClr val="accent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kern="1200" dirty="0">
              <a:latin typeface="Calibri" pitchFamily="34" charset="0"/>
            </a:rPr>
            <a:t>Targeted investment promotion</a:t>
          </a:r>
        </a:p>
      </dsp:txBody>
      <dsp:txXfrm>
        <a:off x="3929004" y="2203582"/>
        <a:ext cx="1284325" cy="1007433"/>
      </dsp:txXfrm>
    </dsp:sp>
    <dsp:sp modelId="{937200E1-704E-486C-82E7-2077587F1394}">
      <dsp:nvSpPr>
        <dsp:cNvPr id="0" name=""/>
        <dsp:cNvSpPr/>
      </dsp:nvSpPr>
      <dsp:spPr>
        <a:xfrm rot="16200000">
          <a:off x="4420506" y="1477071"/>
          <a:ext cx="301321" cy="48425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700" kern="1200">
            <a:latin typeface="Calibri" pitchFamily="34" charset="0"/>
          </a:endParaRPr>
        </a:p>
      </dsp:txBody>
      <dsp:txXfrm>
        <a:off x="4465704" y="1619120"/>
        <a:ext cx="210925" cy="290554"/>
      </dsp:txXfrm>
    </dsp:sp>
    <dsp:sp modelId="{9A68DAFD-9454-4D94-92CF-5249F5898BD1}">
      <dsp:nvSpPr>
        <dsp:cNvPr id="0" name=""/>
        <dsp:cNvSpPr/>
      </dsp:nvSpPr>
      <dsp:spPr>
        <a:xfrm>
          <a:off x="3353346" y="2121"/>
          <a:ext cx="2435641" cy="1424285"/>
        </a:xfrm>
        <a:prstGeom prst="ellipse">
          <a:avLst/>
        </a:prstGeom>
        <a:solidFill>
          <a:srgbClr val="7F7F7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 dirty="0">
              <a:latin typeface="Calibri" pitchFamily="34" charset="0"/>
            </a:rPr>
            <a:t>Strategic insights into States’ competitive advantages</a:t>
          </a:r>
        </a:p>
      </dsp:txBody>
      <dsp:txXfrm>
        <a:off x="3710037" y="210703"/>
        <a:ext cx="1722259" cy="1007121"/>
      </dsp:txXfrm>
    </dsp:sp>
    <dsp:sp modelId="{A188D5A4-6457-4854-A2B3-D9900C1B35C0}">
      <dsp:nvSpPr>
        <dsp:cNvPr id="0" name=""/>
        <dsp:cNvSpPr/>
      </dsp:nvSpPr>
      <dsp:spPr>
        <a:xfrm rot="20532290">
          <a:off x="5688740" y="1986711"/>
          <a:ext cx="746172" cy="48425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700" kern="1200">
            <a:latin typeface="Calibri" pitchFamily="34" charset="0"/>
          </a:endParaRPr>
        </a:p>
      </dsp:txBody>
      <dsp:txXfrm>
        <a:off x="5692215" y="2105761"/>
        <a:ext cx="600895" cy="290554"/>
      </dsp:txXfrm>
    </dsp:sp>
    <dsp:sp modelId="{1B76260E-72F2-4159-A035-BC9D37DDF2BC}">
      <dsp:nvSpPr>
        <dsp:cNvPr id="0" name=""/>
        <dsp:cNvSpPr/>
      </dsp:nvSpPr>
      <dsp:spPr>
        <a:xfrm>
          <a:off x="6601944" y="952448"/>
          <a:ext cx="2435641" cy="1424285"/>
        </a:xfrm>
        <a:prstGeom prst="ellipse">
          <a:avLst/>
        </a:prstGeom>
        <a:solidFill>
          <a:srgbClr val="7F7F7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 dirty="0">
              <a:latin typeface="Calibri" pitchFamily="34" charset="0"/>
            </a:rPr>
            <a:t>Sector-focused strategies</a:t>
          </a:r>
        </a:p>
      </dsp:txBody>
      <dsp:txXfrm>
        <a:off x="6958635" y="1161030"/>
        <a:ext cx="1722259" cy="1007121"/>
      </dsp:txXfrm>
    </dsp:sp>
    <dsp:sp modelId="{AB3AF485-F776-480F-886B-377941D48994}">
      <dsp:nvSpPr>
        <dsp:cNvPr id="0" name=""/>
        <dsp:cNvSpPr/>
      </dsp:nvSpPr>
      <dsp:spPr>
        <a:xfrm rot="2159302">
          <a:off x="5362450" y="3228434"/>
          <a:ext cx="519413" cy="48425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700" kern="1200">
            <a:latin typeface="Calibri" pitchFamily="34" charset="0"/>
          </a:endParaRPr>
        </a:p>
      </dsp:txBody>
      <dsp:txXfrm>
        <a:off x="5376314" y="3282601"/>
        <a:ext cx="374136" cy="290554"/>
      </dsp:txXfrm>
    </dsp:sp>
    <dsp:sp modelId="{D60577B8-873C-46B3-BD74-7076454938A3}">
      <dsp:nvSpPr>
        <dsp:cNvPr id="0" name=""/>
        <dsp:cNvSpPr/>
      </dsp:nvSpPr>
      <dsp:spPr>
        <a:xfrm>
          <a:off x="5576492" y="3609677"/>
          <a:ext cx="2435641" cy="1424285"/>
        </a:xfrm>
        <a:prstGeom prst="ellipse">
          <a:avLst/>
        </a:prstGeom>
        <a:solidFill>
          <a:srgbClr val="7F7F7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 dirty="0">
              <a:latin typeface="Calibri" pitchFamily="34" charset="0"/>
            </a:rPr>
            <a:t>Strategic relationships with target countries</a:t>
          </a:r>
        </a:p>
      </dsp:txBody>
      <dsp:txXfrm>
        <a:off x="5933183" y="3818259"/>
        <a:ext cx="1722259" cy="1007121"/>
      </dsp:txXfrm>
    </dsp:sp>
    <dsp:sp modelId="{795E5AC5-BF12-4A2E-9E2F-F4D082F9A329}">
      <dsp:nvSpPr>
        <dsp:cNvPr id="0" name=""/>
        <dsp:cNvSpPr/>
      </dsp:nvSpPr>
      <dsp:spPr>
        <a:xfrm rot="8679867">
          <a:off x="3226360" y="3227761"/>
          <a:ext cx="538353" cy="48425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700" kern="1200">
            <a:latin typeface="Calibri" pitchFamily="34" charset="0"/>
          </a:endParaRPr>
        </a:p>
      </dsp:txBody>
      <dsp:txXfrm rot="10800000">
        <a:off x="3358255" y="3282601"/>
        <a:ext cx="393076" cy="290554"/>
      </dsp:txXfrm>
    </dsp:sp>
    <dsp:sp modelId="{61F3519F-9F24-4030-92F8-6B6F0BD89121}">
      <dsp:nvSpPr>
        <dsp:cNvPr id="0" name=""/>
        <dsp:cNvSpPr/>
      </dsp:nvSpPr>
      <dsp:spPr>
        <a:xfrm>
          <a:off x="1076073" y="3609677"/>
          <a:ext cx="2435641" cy="1424285"/>
        </a:xfrm>
        <a:prstGeom prst="ellipse">
          <a:avLst/>
        </a:prstGeom>
        <a:solidFill>
          <a:srgbClr val="7F7F7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 dirty="0">
              <a:latin typeface="Calibri" pitchFamily="34" charset="0"/>
            </a:rPr>
            <a:t>Coordinated investor engagements with States</a:t>
          </a:r>
        </a:p>
      </dsp:txBody>
      <dsp:txXfrm>
        <a:off x="1432764" y="3818259"/>
        <a:ext cx="1722259" cy="1007121"/>
      </dsp:txXfrm>
    </dsp:sp>
    <dsp:sp modelId="{15E3043C-B1CA-4370-B691-AEAC6D0C5C42}">
      <dsp:nvSpPr>
        <dsp:cNvPr id="0" name=""/>
        <dsp:cNvSpPr/>
      </dsp:nvSpPr>
      <dsp:spPr>
        <a:xfrm rot="11848853">
          <a:off x="2761942" y="2006242"/>
          <a:ext cx="703988" cy="48425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700" kern="1200">
            <a:latin typeface="Calibri" pitchFamily="34" charset="0"/>
          </a:endParaRPr>
        </a:p>
      </dsp:txBody>
      <dsp:txXfrm rot="10800000">
        <a:off x="2903864" y="2124913"/>
        <a:ext cx="558711" cy="290554"/>
      </dsp:txXfrm>
    </dsp:sp>
    <dsp:sp modelId="{2326D3C7-2C5C-49A2-B75E-AD5260D0D5CF}">
      <dsp:nvSpPr>
        <dsp:cNvPr id="0" name=""/>
        <dsp:cNvSpPr/>
      </dsp:nvSpPr>
      <dsp:spPr>
        <a:xfrm>
          <a:off x="174235" y="993428"/>
          <a:ext cx="2432308" cy="1424285"/>
        </a:xfrm>
        <a:prstGeom prst="ellipse">
          <a:avLst/>
        </a:prstGeom>
        <a:solidFill>
          <a:srgbClr val="7F7F7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 dirty="0">
              <a:latin typeface="Calibri" pitchFamily="34" charset="0"/>
            </a:rPr>
            <a:t>Proactive investor facilitation</a:t>
          </a:r>
        </a:p>
      </dsp:txBody>
      <dsp:txXfrm>
        <a:off x="530438" y="1202010"/>
        <a:ext cx="1719902" cy="100712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931" name="Rectangle 3">
            <a:extLst>
              <a:ext uri="{FF2B5EF4-FFF2-40B4-BE49-F238E27FC236}">
                <a16:creationId xmlns:a16="http://schemas.microsoft.com/office/drawing/2014/main" id="{F314FF40-6654-48DB-BA1B-58C680491407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0" y="9623425"/>
            <a:ext cx="2944813" cy="295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90" tIns="45946" rIns="91890" bIns="45946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100"/>
            </a:lvl1pPr>
          </a:lstStyle>
          <a:p>
            <a:pPr>
              <a:defRPr/>
            </a:pPr>
            <a:fld id="{17EDBC6B-9C11-48D9-920E-4BF2E89E893A}" type="datetime1">
              <a:rPr lang="en-US" altLang="en-US"/>
              <a:pPr>
                <a:defRPr/>
              </a:pPr>
              <a:t>4/30/2019</a:t>
            </a:fld>
            <a:endParaRPr lang="en-GB" altLang="en-US"/>
          </a:p>
        </p:txBody>
      </p:sp>
      <p:sp>
        <p:nvSpPr>
          <p:cNvPr id="252935" name="Rectangle 7">
            <a:extLst>
              <a:ext uri="{FF2B5EF4-FFF2-40B4-BE49-F238E27FC236}">
                <a16:creationId xmlns:a16="http://schemas.microsoft.com/office/drawing/2014/main" id="{8AA4775C-BEA4-42F3-8145-37D54326FCFF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81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90" tIns="45946" rIns="91890" bIns="45946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100"/>
            </a:lvl1pPr>
          </a:lstStyle>
          <a:p>
            <a:pPr>
              <a:defRPr/>
            </a:pPr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03574086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992C59-E859-4831-89C4-617A186C9314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0" y="9642475"/>
            <a:ext cx="2944813" cy="276225"/>
          </a:xfrm>
          <a:prstGeom prst="rect">
            <a:avLst/>
          </a:prstGeom>
        </p:spPr>
        <p:txBody>
          <a:bodyPr vert="horz" wrap="square" lIns="91890" tIns="45946" rIns="91890" bIns="45946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10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8884D17E-951C-4D94-B218-013F7206D81C}" type="datetime1">
              <a:rPr lang="en-US" altLang="en-US"/>
              <a:pPr>
                <a:defRPr/>
              </a:pPr>
              <a:t>4/30/2019</a:t>
            </a:fld>
            <a:endParaRPr lang="en-ZA" altLang="en-US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53976B9C-3CB5-44ED-A78B-5870F839D63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552450"/>
            <a:ext cx="5970588" cy="41338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90" tIns="45946" rIns="91890" bIns="45946" rtlCol="0" anchor="ctr"/>
          <a:lstStyle/>
          <a:p>
            <a:pPr lvl="0"/>
            <a:endParaRPr lang="en-ZA" noProof="0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878B756-80EF-46F9-9B31-47B95703B96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 bwMode="auto">
          <a:xfrm>
            <a:off x="344488" y="4840288"/>
            <a:ext cx="6103937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890" tIns="45946" rIns="91890" bIns="459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ZA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47BECCA-41D4-4383-8F2C-552FC9D800A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49688" y="9575800"/>
            <a:ext cx="2944812" cy="342900"/>
          </a:xfrm>
          <a:prstGeom prst="rect">
            <a:avLst/>
          </a:prstGeom>
        </p:spPr>
        <p:txBody>
          <a:bodyPr vert="horz" wrap="square" lIns="91890" tIns="45946" rIns="91890" bIns="45946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9EA2C6EE-1DCE-43E8-9148-0D24CE5D5413}" type="slidenum">
              <a:rPr lang="en-ZA" altLang="en-US"/>
              <a:pPr>
                <a:defRPr/>
              </a:pPr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248871327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>
            <a:extLst>
              <a:ext uri="{FF2B5EF4-FFF2-40B4-BE49-F238E27FC236}">
                <a16:creationId xmlns:a16="http://schemas.microsoft.com/office/drawing/2014/main" id="{90D9DC69-9C08-4C07-B616-14605387271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>
            <a:extLst>
              <a:ext uri="{FF2B5EF4-FFF2-40B4-BE49-F238E27FC236}">
                <a16:creationId xmlns:a16="http://schemas.microsoft.com/office/drawing/2014/main" id="{5A35A395-F313-4254-8501-609781A4D6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  <p:sp>
        <p:nvSpPr>
          <p:cNvPr id="24580" name="Date Placeholder 3">
            <a:extLst>
              <a:ext uri="{FF2B5EF4-FFF2-40B4-BE49-F238E27FC236}">
                <a16:creationId xmlns:a16="http://schemas.microsoft.com/office/drawing/2014/main" id="{A5089CDF-0C48-407C-B41A-3701029D7427}"/>
              </a:ext>
            </a:extLst>
          </p:cNvPr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90449AE0-76E1-4CD8-8D22-F5AFCE827B47}" type="datetime1">
              <a:rPr lang="en-US" altLang="en-US" sz="1100" smtClean="0"/>
              <a:pPr>
                <a:spcBef>
                  <a:spcPct val="0"/>
                </a:spcBef>
              </a:pPr>
              <a:t>4/30/2019</a:t>
            </a:fld>
            <a:endParaRPr lang="en-ZA" altLang="en-US" sz="1100"/>
          </a:p>
        </p:txBody>
      </p:sp>
      <p:sp>
        <p:nvSpPr>
          <p:cNvPr id="24581" name="Slide Number Placeholder 4">
            <a:extLst>
              <a:ext uri="{FF2B5EF4-FFF2-40B4-BE49-F238E27FC236}">
                <a16:creationId xmlns:a16="http://schemas.microsoft.com/office/drawing/2014/main" id="{C9F2CBB5-6CCC-441E-B0D4-6DD0D70561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B2010915-7E46-4971-B435-3C6A73BE66D4}" type="slidenum">
              <a:rPr lang="en-ZA" altLang="en-US" sz="1100" smtClean="0"/>
              <a:pPr>
                <a:spcBef>
                  <a:spcPct val="0"/>
                </a:spcBef>
              </a:pPr>
              <a:t>2</a:t>
            </a:fld>
            <a:endParaRPr lang="en-ZA" altLang="en-US" sz="1100"/>
          </a:p>
        </p:txBody>
      </p:sp>
    </p:spTree>
    <p:extLst>
      <p:ext uri="{BB962C8B-B14F-4D97-AF65-F5344CB8AC3E}">
        <p14:creationId xmlns:p14="http://schemas.microsoft.com/office/powerpoint/2010/main" val="403650101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>
            <a:extLst>
              <a:ext uri="{FF2B5EF4-FFF2-40B4-BE49-F238E27FC236}">
                <a16:creationId xmlns:a16="http://schemas.microsoft.com/office/drawing/2014/main" id="{90D9DC69-9C08-4C07-B616-14605387271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>
            <a:extLst>
              <a:ext uri="{FF2B5EF4-FFF2-40B4-BE49-F238E27FC236}">
                <a16:creationId xmlns:a16="http://schemas.microsoft.com/office/drawing/2014/main" id="{5A35A395-F313-4254-8501-609781A4D6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  <p:sp>
        <p:nvSpPr>
          <p:cNvPr id="24580" name="Date Placeholder 3">
            <a:extLst>
              <a:ext uri="{FF2B5EF4-FFF2-40B4-BE49-F238E27FC236}">
                <a16:creationId xmlns:a16="http://schemas.microsoft.com/office/drawing/2014/main" id="{A5089CDF-0C48-407C-B41A-3701029D7427}"/>
              </a:ext>
            </a:extLst>
          </p:cNvPr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90449AE0-76E1-4CD8-8D22-F5AFCE827B47}" type="datetime1">
              <a:rPr lang="en-US" altLang="en-US" sz="1100" smtClean="0"/>
              <a:pPr>
                <a:spcBef>
                  <a:spcPct val="0"/>
                </a:spcBef>
              </a:pPr>
              <a:t>4/30/2019</a:t>
            </a:fld>
            <a:endParaRPr lang="en-ZA" altLang="en-US" sz="1100"/>
          </a:p>
        </p:txBody>
      </p:sp>
      <p:sp>
        <p:nvSpPr>
          <p:cNvPr id="24581" name="Slide Number Placeholder 4">
            <a:extLst>
              <a:ext uri="{FF2B5EF4-FFF2-40B4-BE49-F238E27FC236}">
                <a16:creationId xmlns:a16="http://schemas.microsoft.com/office/drawing/2014/main" id="{C9F2CBB5-6CCC-441E-B0D4-6DD0D70561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B2010915-7E46-4971-B435-3C6A73BE66D4}" type="slidenum">
              <a:rPr lang="en-ZA" altLang="en-US" sz="1100" smtClean="0"/>
              <a:pPr>
                <a:spcBef>
                  <a:spcPct val="0"/>
                </a:spcBef>
              </a:pPr>
              <a:t>11</a:t>
            </a:fld>
            <a:endParaRPr lang="en-ZA" altLang="en-US" sz="1100"/>
          </a:p>
        </p:txBody>
      </p:sp>
    </p:spTree>
    <p:extLst>
      <p:ext uri="{BB962C8B-B14F-4D97-AF65-F5344CB8AC3E}">
        <p14:creationId xmlns:p14="http://schemas.microsoft.com/office/powerpoint/2010/main" val="198137307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>
            <a:extLst>
              <a:ext uri="{FF2B5EF4-FFF2-40B4-BE49-F238E27FC236}">
                <a16:creationId xmlns:a16="http://schemas.microsoft.com/office/drawing/2014/main" id="{90D9DC69-9C08-4C07-B616-14605387271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>
            <a:extLst>
              <a:ext uri="{FF2B5EF4-FFF2-40B4-BE49-F238E27FC236}">
                <a16:creationId xmlns:a16="http://schemas.microsoft.com/office/drawing/2014/main" id="{5A35A395-F313-4254-8501-609781A4D6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  <p:sp>
        <p:nvSpPr>
          <p:cNvPr id="24580" name="Date Placeholder 3">
            <a:extLst>
              <a:ext uri="{FF2B5EF4-FFF2-40B4-BE49-F238E27FC236}">
                <a16:creationId xmlns:a16="http://schemas.microsoft.com/office/drawing/2014/main" id="{A5089CDF-0C48-407C-B41A-3701029D7427}"/>
              </a:ext>
            </a:extLst>
          </p:cNvPr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90449AE0-76E1-4CD8-8D22-F5AFCE827B47}" type="datetime1">
              <a:rPr lang="en-US" altLang="en-US" sz="1100" smtClean="0"/>
              <a:pPr>
                <a:spcBef>
                  <a:spcPct val="0"/>
                </a:spcBef>
              </a:pPr>
              <a:t>4/30/2019</a:t>
            </a:fld>
            <a:endParaRPr lang="en-ZA" altLang="en-US" sz="1100"/>
          </a:p>
        </p:txBody>
      </p:sp>
      <p:sp>
        <p:nvSpPr>
          <p:cNvPr id="24581" name="Slide Number Placeholder 4">
            <a:extLst>
              <a:ext uri="{FF2B5EF4-FFF2-40B4-BE49-F238E27FC236}">
                <a16:creationId xmlns:a16="http://schemas.microsoft.com/office/drawing/2014/main" id="{C9F2CBB5-6CCC-441E-B0D4-6DD0D70561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B2010915-7E46-4971-B435-3C6A73BE66D4}" type="slidenum">
              <a:rPr lang="en-ZA" altLang="en-US" sz="1100" smtClean="0"/>
              <a:pPr>
                <a:spcBef>
                  <a:spcPct val="0"/>
                </a:spcBef>
              </a:pPr>
              <a:t>12</a:t>
            </a:fld>
            <a:endParaRPr lang="en-ZA" altLang="en-US" sz="1100"/>
          </a:p>
        </p:txBody>
      </p:sp>
    </p:spTree>
    <p:extLst>
      <p:ext uri="{BB962C8B-B14F-4D97-AF65-F5344CB8AC3E}">
        <p14:creationId xmlns:p14="http://schemas.microsoft.com/office/powerpoint/2010/main" val="17110297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>
            <a:extLst>
              <a:ext uri="{FF2B5EF4-FFF2-40B4-BE49-F238E27FC236}">
                <a16:creationId xmlns:a16="http://schemas.microsoft.com/office/drawing/2014/main" id="{90D9DC69-9C08-4C07-B616-14605387271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>
            <a:extLst>
              <a:ext uri="{FF2B5EF4-FFF2-40B4-BE49-F238E27FC236}">
                <a16:creationId xmlns:a16="http://schemas.microsoft.com/office/drawing/2014/main" id="{5A35A395-F313-4254-8501-609781A4D6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  <p:sp>
        <p:nvSpPr>
          <p:cNvPr id="24580" name="Date Placeholder 3">
            <a:extLst>
              <a:ext uri="{FF2B5EF4-FFF2-40B4-BE49-F238E27FC236}">
                <a16:creationId xmlns:a16="http://schemas.microsoft.com/office/drawing/2014/main" id="{A5089CDF-0C48-407C-B41A-3701029D7427}"/>
              </a:ext>
            </a:extLst>
          </p:cNvPr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90449AE0-76E1-4CD8-8D22-F5AFCE827B47}" type="datetime1">
              <a:rPr lang="en-US" altLang="en-US" sz="1100" smtClean="0"/>
              <a:pPr>
                <a:spcBef>
                  <a:spcPct val="0"/>
                </a:spcBef>
              </a:pPr>
              <a:t>4/30/2019</a:t>
            </a:fld>
            <a:endParaRPr lang="en-ZA" altLang="en-US" sz="1100"/>
          </a:p>
        </p:txBody>
      </p:sp>
      <p:sp>
        <p:nvSpPr>
          <p:cNvPr id="24581" name="Slide Number Placeholder 4">
            <a:extLst>
              <a:ext uri="{FF2B5EF4-FFF2-40B4-BE49-F238E27FC236}">
                <a16:creationId xmlns:a16="http://schemas.microsoft.com/office/drawing/2014/main" id="{C9F2CBB5-6CCC-441E-B0D4-6DD0D70561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B2010915-7E46-4971-B435-3C6A73BE66D4}" type="slidenum">
              <a:rPr lang="en-ZA" altLang="en-US" sz="1100" smtClean="0"/>
              <a:pPr>
                <a:spcBef>
                  <a:spcPct val="0"/>
                </a:spcBef>
              </a:pPr>
              <a:t>13</a:t>
            </a:fld>
            <a:endParaRPr lang="en-ZA" altLang="en-US" sz="1100"/>
          </a:p>
        </p:txBody>
      </p:sp>
    </p:spTree>
    <p:extLst>
      <p:ext uri="{BB962C8B-B14F-4D97-AF65-F5344CB8AC3E}">
        <p14:creationId xmlns:p14="http://schemas.microsoft.com/office/powerpoint/2010/main" val="295107194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>
            <a:extLst>
              <a:ext uri="{FF2B5EF4-FFF2-40B4-BE49-F238E27FC236}">
                <a16:creationId xmlns:a16="http://schemas.microsoft.com/office/drawing/2014/main" id="{90D9DC69-9C08-4C07-B616-14605387271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>
            <a:extLst>
              <a:ext uri="{FF2B5EF4-FFF2-40B4-BE49-F238E27FC236}">
                <a16:creationId xmlns:a16="http://schemas.microsoft.com/office/drawing/2014/main" id="{5A35A395-F313-4254-8501-609781A4D6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  <p:sp>
        <p:nvSpPr>
          <p:cNvPr id="24580" name="Date Placeholder 3">
            <a:extLst>
              <a:ext uri="{FF2B5EF4-FFF2-40B4-BE49-F238E27FC236}">
                <a16:creationId xmlns:a16="http://schemas.microsoft.com/office/drawing/2014/main" id="{A5089CDF-0C48-407C-B41A-3701029D7427}"/>
              </a:ext>
            </a:extLst>
          </p:cNvPr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90449AE0-76E1-4CD8-8D22-F5AFCE827B47}" type="datetime1">
              <a:rPr lang="en-US" altLang="en-US" sz="1100" smtClean="0"/>
              <a:pPr>
                <a:spcBef>
                  <a:spcPct val="0"/>
                </a:spcBef>
              </a:pPr>
              <a:t>4/30/2019</a:t>
            </a:fld>
            <a:endParaRPr lang="en-ZA" altLang="en-US" sz="1100"/>
          </a:p>
        </p:txBody>
      </p:sp>
      <p:sp>
        <p:nvSpPr>
          <p:cNvPr id="24581" name="Slide Number Placeholder 4">
            <a:extLst>
              <a:ext uri="{FF2B5EF4-FFF2-40B4-BE49-F238E27FC236}">
                <a16:creationId xmlns:a16="http://schemas.microsoft.com/office/drawing/2014/main" id="{C9F2CBB5-6CCC-441E-B0D4-6DD0D70561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B2010915-7E46-4971-B435-3C6A73BE66D4}" type="slidenum">
              <a:rPr lang="en-ZA" altLang="en-US" sz="1100" smtClean="0"/>
              <a:pPr>
                <a:spcBef>
                  <a:spcPct val="0"/>
                </a:spcBef>
              </a:pPr>
              <a:t>14</a:t>
            </a:fld>
            <a:endParaRPr lang="en-ZA" altLang="en-US" sz="1100"/>
          </a:p>
        </p:txBody>
      </p:sp>
    </p:spTree>
    <p:extLst>
      <p:ext uri="{BB962C8B-B14F-4D97-AF65-F5344CB8AC3E}">
        <p14:creationId xmlns:p14="http://schemas.microsoft.com/office/powerpoint/2010/main" val="26475504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>
            <a:extLst>
              <a:ext uri="{FF2B5EF4-FFF2-40B4-BE49-F238E27FC236}">
                <a16:creationId xmlns:a16="http://schemas.microsoft.com/office/drawing/2014/main" id="{90D9DC69-9C08-4C07-B616-14605387271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>
            <a:extLst>
              <a:ext uri="{FF2B5EF4-FFF2-40B4-BE49-F238E27FC236}">
                <a16:creationId xmlns:a16="http://schemas.microsoft.com/office/drawing/2014/main" id="{5A35A395-F313-4254-8501-609781A4D6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  <p:sp>
        <p:nvSpPr>
          <p:cNvPr id="24580" name="Date Placeholder 3">
            <a:extLst>
              <a:ext uri="{FF2B5EF4-FFF2-40B4-BE49-F238E27FC236}">
                <a16:creationId xmlns:a16="http://schemas.microsoft.com/office/drawing/2014/main" id="{A5089CDF-0C48-407C-B41A-3701029D7427}"/>
              </a:ext>
            </a:extLst>
          </p:cNvPr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90449AE0-76E1-4CD8-8D22-F5AFCE827B47}" type="datetime1">
              <a:rPr lang="en-US" altLang="en-US" sz="1100" smtClean="0"/>
              <a:pPr>
                <a:spcBef>
                  <a:spcPct val="0"/>
                </a:spcBef>
              </a:pPr>
              <a:t>4/30/2019</a:t>
            </a:fld>
            <a:endParaRPr lang="en-ZA" altLang="en-US" sz="1100"/>
          </a:p>
        </p:txBody>
      </p:sp>
      <p:sp>
        <p:nvSpPr>
          <p:cNvPr id="24581" name="Slide Number Placeholder 4">
            <a:extLst>
              <a:ext uri="{FF2B5EF4-FFF2-40B4-BE49-F238E27FC236}">
                <a16:creationId xmlns:a16="http://schemas.microsoft.com/office/drawing/2014/main" id="{C9F2CBB5-6CCC-441E-B0D4-6DD0D70561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B2010915-7E46-4971-B435-3C6A73BE66D4}" type="slidenum">
              <a:rPr lang="en-ZA" altLang="en-US" sz="1100" smtClean="0"/>
              <a:pPr>
                <a:spcBef>
                  <a:spcPct val="0"/>
                </a:spcBef>
              </a:pPr>
              <a:t>15</a:t>
            </a:fld>
            <a:endParaRPr lang="en-ZA" altLang="en-US" sz="1100"/>
          </a:p>
        </p:txBody>
      </p:sp>
    </p:spTree>
    <p:extLst>
      <p:ext uri="{BB962C8B-B14F-4D97-AF65-F5344CB8AC3E}">
        <p14:creationId xmlns:p14="http://schemas.microsoft.com/office/powerpoint/2010/main" val="207329844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>
            <a:extLst>
              <a:ext uri="{FF2B5EF4-FFF2-40B4-BE49-F238E27FC236}">
                <a16:creationId xmlns:a16="http://schemas.microsoft.com/office/drawing/2014/main" id="{90D9DC69-9C08-4C07-B616-14605387271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>
            <a:extLst>
              <a:ext uri="{FF2B5EF4-FFF2-40B4-BE49-F238E27FC236}">
                <a16:creationId xmlns:a16="http://schemas.microsoft.com/office/drawing/2014/main" id="{5A35A395-F313-4254-8501-609781A4D6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  <p:sp>
        <p:nvSpPr>
          <p:cNvPr id="24580" name="Date Placeholder 3">
            <a:extLst>
              <a:ext uri="{FF2B5EF4-FFF2-40B4-BE49-F238E27FC236}">
                <a16:creationId xmlns:a16="http://schemas.microsoft.com/office/drawing/2014/main" id="{A5089CDF-0C48-407C-B41A-3701029D7427}"/>
              </a:ext>
            </a:extLst>
          </p:cNvPr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90449AE0-76E1-4CD8-8D22-F5AFCE827B47}" type="datetime1">
              <a:rPr lang="en-US" altLang="en-US" sz="1100" smtClean="0"/>
              <a:pPr>
                <a:spcBef>
                  <a:spcPct val="0"/>
                </a:spcBef>
              </a:pPr>
              <a:t>4/30/2019</a:t>
            </a:fld>
            <a:endParaRPr lang="en-ZA" altLang="en-US" sz="1100"/>
          </a:p>
        </p:txBody>
      </p:sp>
      <p:sp>
        <p:nvSpPr>
          <p:cNvPr id="24581" name="Slide Number Placeholder 4">
            <a:extLst>
              <a:ext uri="{FF2B5EF4-FFF2-40B4-BE49-F238E27FC236}">
                <a16:creationId xmlns:a16="http://schemas.microsoft.com/office/drawing/2014/main" id="{C9F2CBB5-6CCC-441E-B0D4-6DD0D70561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B2010915-7E46-4971-B435-3C6A73BE66D4}" type="slidenum">
              <a:rPr lang="en-ZA" altLang="en-US" sz="1100" smtClean="0"/>
              <a:pPr>
                <a:spcBef>
                  <a:spcPct val="0"/>
                </a:spcBef>
              </a:pPr>
              <a:t>16</a:t>
            </a:fld>
            <a:endParaRPr lang="en-ZA" altLang="en-US" sz="1100"/>
          </a:p>
        </p:txBody>
      </p:sp>
    </p:spTree>
    <p:extLst>
      <p:ext uri="{BB962C8B-B14F-4D97-AF65-F5344CB8AC3E}">
        <p14:creationId xmlns:p14="http://schemas.microsoft.com/office/powerpoint/2010/main" val="67373931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>
            <a:extLst>
              <a:ext uri="{FF2B5EF4-FFF2-40B4-BE49-F238E27FC236}">
                <a16:creationId xmlns:a16="http://schemas.microsoft.com/office/drawing/2014/main" id="{90D9DC69-9C08-4C07-B616-14605387271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>
            <a:extLst>
              <a:ext uri="{FF2B5EF4-FFF2-40B4-BE49-F238E27FC236}">
                <a16:creationId xmlns:a16="http://schemas.microsoft.com/office/drawing/2014/main" id="{5A35A395-F313-4254-8501-609781A4D6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  <p:sp>
        <p:nvSpPr>
          <p:cNvPr id="24580" name="Date Placeholder 3">
            <a:extLst>
              <a:ext uri="{FF2B5EF4-FFF2-40B4-BE49-F238E27FC236}">
                <a16:creationId xmlns:a16="http://schemas.microsoft.com/office/drawing/2014/main" id="{A5089CDF-0C48-407C-B41A-3701029D7427}"/>
              </a:ext>
            </a:extLst>
          </p:cNvPr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90449AE0-76E1-4CD8-8D22-F5AFCE827B47}" type="datetime1">
              <a:rPr lang="en-US" altLang="en-US" sz="1100" smtClean="0"/>
              <a:pPr>
                <a:spcBef>
                  <a:spcPct val="0"/>
                </a:spcBef>
              </a:pPr>
              <a:t>4/30/2019</a:t>
            </a:fld>
            <a:endParaRPr lang="en-ZA" altLang="en-US" sz="1100"/>
          </a:p>
        </p:txBody>
      </p:sp>
      <p:sp>
        <p:nvSpPr>
          <p:cNvPr id="24581" name="Slide Number Placeholder 4">
            <a:extLst>
              <a:ext uri="{FF2B5EF4-FFF2-40B4-BE49-F238E27FC236}">
                <a16:creationId xmlns:a16="http://schemas.microsoft.com/office/drawing/2014/main" id="{C9F2CBB5-6CCC-441E-B0D4-6DD0D70561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B2010915-7E46-4971-B435-3C6A73BE66D4}" type="slidenum">
              <a:rPr lang="en-ZA" altLang="en-US" sz="1100" smtClean="0"/>
              <a:pPr>
                <a:spcBef>
                  <a:spcPct val="0"/>
                </a:spcBef>
              </a:pPr>
              <a:t>17</a:t>
            </a:fld>
            <a:endParaRPr lang="en-ZA" altLang="en-US" sz="1100"/>
          </a:p>
        </p:txBody>
      </p:sp>
    </p:spTree>
    <p:extLst>
      <p:ext uri="{BB962C8B-B14F-4D97-AF65-F5344CB8AC3E}">
        <p14:creationId xmlns:p14="http://schemas.microsoft.com/office/powerpoint/2010/main" val="194283754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>
            <a:extLst>
              <a:ext uri="{FF2B5EF4-FFF2-40B4-BE49-F238E27FC236}">
                <a16:creationId xmlns:a16="http://schemas.microsoft.com/office/drawing/2014/main" id="{90D9DC69-9C08-4C07-B616-14605387271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>
            <a:extLst>
              <a:ext uri="{FF2B5EF4-FFF2-40B4-BE49-F238E27FC236}">
                <a16:creationId xmlns:a16="http://schemas.microsoft.com/office/drawing/2014/main" id="{5A35A395-F313-4254-8501-609781A4D6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  <p:sp>
        <p:nvSpPr>
          <p:cNvPr id="24580" name="Date Placeholder 3">
            <a:extLst>
              <a:ext uri="{FF2B5EF4-FFF2-40B4-BE49-F238E27FC236}">
                <a16:creationId xmlns:a16="http://schemas.microsoft.com/office/drawing/2014/main" id="{A5089CDF-0C48-407C-B41A-3701029D7427}"/>
              </a:ext>
            </a:extLst>
          </p:cNvPr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90449AE0-76E1-4CD8-8D22-F5AFCE827B47}" type="datetime1">
              <a:rPr lang="en-US" altLang="en-US" sz="1100" smtClean="0"/>
              <a:pPr>
                <a:spcBef>
                  <a:spcPct val="0"/>
                </a:spcBef>
              </a:pPr>
              <a:t>4/30/2019</a:t>
            </a:fld>
            <a:endParaRPr lang="en-ZA" altLang="en-US" sz="1100"/>
          </a:p>
        </p:txBody>
      </p:sp>
      <p:sp>
        <p:nvSpPr>
          <p:cNvPr id="24581" name="Slide Number Placeholder 4">
            <a:extLst>
              <a:ext uri="{FF2B5EF4-FFF2-40B4-BE49-F238E27FC236}">
                <a16:creationId xmlns:a16="http://schemas.microsoft.com/office/drawing/2014/main" id="{C9F2CBB5-6CCC-441E-B0D4-6DD0D70561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B2010915-7E46-4971-B435-3C6A73BE66D4}" type="slidenum">
              <a:rPr lang="en-ZA" altLang="en-US" sz="1100" smtClean="0"/>
              <a:pPr>
                <a:spcBef>
                  <a:spcPct val="0"/>
                </a:spcBef>
              </a:pPr>
              <a:t>18</a:t>
            </a:fld>
            <a:endParaRPr lang="en-ZA" altLang="en-US" sz="1100"/>
          </a:p>
        </p:txBody>
      </p:sp>
    </p:spTree>
    <p:extLst>
      <p:ext uri="{BB962C8B-B14F-4D97-AF65-F5344CB8AC3E}">
        <p14:creationId xmlns:p14="http://schemas.microsoft.com/office/powerpoint/2010/main" val="40391695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>
            <a:extLst>
              <a:ext uri="{FF2B5EF4-FFF2-40B4-BE49-F238E27FC236}">
                <a16:creationId xmlns:a16="http://schemas.microsoft.com/office/drawing/2014/main" id="{90D9DC69-9C08-4C07-B616-14605387271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>
            <a:extLst>
              <a:ext uri="{FF2B5EF4-FFF2-40B4-BE49-F238E27FC236}">
                <a16:creationId xmlns:a16="http://schemas.microsoft.com/office/drawing/2014/main" id="{5A35A395-F313-4254-8501-609781A4D6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  <p:sp>
        <p:nvSpPr>
          <p:cNvPr id="24580" name="Date Placeholder 3">
            <a:extLst>
              <a:ext uri="{FF2B5EF4-FFF2-40B4-BE49-F238E27FC236}">
                <a16:creationId xmlns:a16="http://schemas.microsoft.com/office/drawing/2014/main" id="{A5089CDF-0C48-407C-B41A-3701029D7427}"/>
              </a:ext>
            </a:extLst>
          </p:cNvPr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90449AE0-76E1-4CD8-8D22-F5AFCE827B47}" type="datetime1">
              <a:rPr lang="en-US" altLang="en-US" sz="1100" smtClean="0"/>
              <a:pPr>
                <a:spcBef>
                  <a:spcPct val="0"/>
                </a:spcBef>
              </a:pPr>
              <a:t>4/30/2019</a:t>
            </a:fld>
            <a:endParaRPr lang="en-ZA" altLang="en-US" sz="1100"/>
          </a:p>
        </p:txBody>
      </p:sp>
      <p:sp>
        <p:nvSpPr>
          <p:cNvPr id="24581" name="Slide Number Placeholder 4">
            <a:extLst>
              <a:ext uri="{FF2B5EF4-FFF2-40B4-BE49-F238E27FC236}">
                <a16:creationId xmlns:a16="http://schemas.microsoft.com/office/drawing/2014/main" id="{C9F2CBB5-6CCC-441E-B0D4-6DD0D70561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B2010915-7E46-4971-B435-3C6A73BE66D4}" type="slidenum">
              <a:rPr lang="en-ZA" altLang="en-US" sz="1100" smtClean="0"/>
              <a:pPr>
                <a:spcBef>
                  <a:spcPct val="0"/>
                </a:spcBef>
              </a:pPr>
              <a:t>19</a:t>
            </a:fld>
            <a:endParaRPr lang="en-ZA" altLang="en-US" sz="1100"/>
          </a:p>
        </p:txBody>
      </p:sp>
    </p:spTree>
    <p:extLst>
      <p:ext uri="{BB962C8B-B14F-4D97-AF65-F5344CB8AC3E}">
        <p14:creationId xmlns:p14="http://schemas.microsoft.com/office/powerpoint/2010/main" val="40391695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>
            <a:extLst>
              <a:ext uri="{FF2B5EF4-FFF2-40B4-BE49-F238E27FC236}">
                <a16:creationId xmlns:a16="http://schemas.microsoft.com/office/drawing/2014/main" id="{90D9DC69-9C08-4C07-B616-14605387271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>
            <a:extLst>
              <a:ext uri="{FF2B5EF4-FFF2-40B4-BE49-F238E27FC236}">
                <a16:creationId xmlns:a16="http://schemas.microsoft.com/office/drawing/2014/main" id="{5A35A395-F313-4254-8501-609781A4D6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  <p:sp>
        <p:nvSpPr>
          <p:cNvPr id="24580" name="Date Placeholder 3">
            <a:extLst>
              <a:ext uri="{FF2B5EF4-FFF2-40B4-BE49-F238E27FC236}">
                <a16:creationId xmlns:a16="http://schemas.microsoft.com/office/drawing/2014/main" id="{A5089CDF-0C48-407C-B41A-3701029D7427}"/>
              </a:ext>
            </a:extLst>
          </p:cNvPr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90449AE0-76E1-4CD8-8D22-F5AFCE827B47}" type="datetime1">
              <a:rPr lang="en-US" altLang="en-US" sz="1100" smtClean="0"/>
              <a:pPr>
                <a:spcBef>
                  <a:spcPct val="0"/>
                </a:spcBef>
              </a:pPr>
              <a:t>4/30/2019</a:t>
            </a:fld>
            <a:endParaRPr lang="en-ZA" altLang="en-US" sz="1100"/>
          </a:p>
        </p:txBody>
      </p:sp>
      <p:sp>
        <p:nvSpPr>
          <p:cNvPr id="24581" name="Slide Number Placeholder 4">
            <a:extLst>
              <a:ext uri="{FF2B5EF4-FFF2-40B4-BE49-F238E27FC236}">
                <a16:creationId xmlns:a16="http://schemas.microsoft.com/office/drawing/2014/main" id="{C9F2CBB5-6CCC-441E-B0D4-6DD0D70561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B2010915-7E46-4971-B435-3C6A73BE66D4}" type="slidenum">
              <a:rPr lang="en-ZA" altLang="en-US" sz="1100" smtClean="0"/>
              <a:pPr>
                <a:spcBef>
                  <a:spcPct val="0"/>
                </a:spcBef>
              </a:pPr>
              <a:t>20</a:t>
            </a:fld>
            <a:endParaRPr lang="en-ZA" altLang="en-US" sz="1100"/>
          </a:p>
        </p:txBody>
      </p:sp>
    </p:spTree>
    <p:extLst>
      <p:ext uri="{BB962C8B-B14F-4D97-AF65-F5344CB8AC3E}">
        <p14:creationId xmlns:p14="http://schemas.microsoft.com/office/powerpoint/2010/main" val="4039169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>
            <a:extLst>
              <a:ext uri="{FF2B5EF4-FFF2-40B4-BE49-F238E27FC236}">
                <a16:creationId xmlns:a16="http://schemas.microsoft.com/office/drawing/2014/main" id="{90D9DC69-9C08-4C07-B616-14605387271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>
            <a:extLst>
              <a:ext uri="{FF2B5EF4-FFF2-40B4-BE49-F238E27FC236}">
                <a16:creationId xmlns:a16="http://schemas.microsoft.com/office/drawing/2014/main" id="{5A35A395-F313-4254-8501-609781A4D6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  <p:sp>
        <p:nvSpPr>
          <p:cNvPr id="24580" name="Date Placeholder 3">
            <a:extLst>
              <a:ext uri="{FF2B5EF4-FFF2-40B4-BE49-F238E27FC236}">
                <a16:creationId xmlns:a16="http://schemas.microsoft.com/office/drawing/2014/main" id="{A5089CDF-0C48-407C-B41A-3701029D7427}"/>
              </a:ext>
            </a:extLst>
          </p:cNvPr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90449AE0-76E1-4CD8-8D22-F5AFCE827B47}" type="datetime1">
              <a:rPr lang="en-US" altLang="en-US" sz="1100" smtClean="0"/>
              <a:pPr>
                <a:spcBef>
                  <a:spcPct val="0"/>
                </a:spcBef>
              </a:pPr>
              <a:t>4/30/2019</a:t>
            </a:fld>
            <a:endParaRPr lang="en-ZA" altLang="en-US" sz="1100"/>
          </a:p>
        </p:txBody>
      </p:sp>
      <p:sp>
        <p:nvSpPr>
          <p:cNvPr id="24581" name="Slide Number Placeholder 4">
            <a:extLst>
              <a:ext uri="{FF2B5EF4-FFF2-40B4-BE49-F238E27FC236}">
                <a16:creationId xmlns:a16="http://schemas.microsoft.com/office/drawing/2014/main" id="{C9F2CBB5-6CCC-441E-B0D4-6DD0D70561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B2010915-7E46-4971-B435-3C6A73BE66D4}" type="slidenum">
              <a:rPr lang="en-ZA" altLang="en-US" sz="1100" smtClean="0"/>
              <a:pPr>
                <a:spcBef>
                  <a:spcPct val="0"/>
                </a:spcBef>
              </a:pPr>
              <a:t>3</a:t>
            </a:fld>
            <a:endParaRPr lang="en-ZA" altLang="en-US" sz="1100"/>
          </a:p>
        </p:txBody>
      </p:sp>
    </p:spTree>
    <p:extLst>
      <p:ext uri="{BB962C8B-B14F-4D97-AF65-F5344CB8AC3E}">
        <p14:creationId xmlns:p14="http://schemas.microsoft.com/office/powerpoint/2010/main" val="18341291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>
            <a:extLst>
              <a:ext uri="{FF2B5EF4-FFF2-40B4-BE49-F238E27FC236}">
                <a16:creationId xmlns:a16="http://schemas.microsoft.com/office/drawing/2014/main" id="{90D9DC69-9C08-4C07-B616-14605387271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>
            <a:extLst>
              <a:ext uri="{FF2B5EF4-FFF2-40B4-BE49-F238E27FC236}">
                <a16:creationId xmlns:a16="http://schemas.microsoft.com/office/drawing/2014/main" id="{5A35A395-F313-4254-8501-609781A4D6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 dirty="0"/>
          </a:p>
        </p:txBody>
      </p:sp>
      <p:sp>
        <p:nvSpPr>
          <p:cNvPr id="24580" name="Date Placeholder 3">
            <a:extLst>
              <a:ext uri="{FF2B5EF4-FFF2-40B4-BE49-F238E27FC236}">
                <a16:creationId xmlns:a16="http://schemas.microsoft.com/office/drawing/2014/main" id="{A5089CDF-0C48-407C-B41A-3701029D7427}"/>
              </a:ext>
            </a:extLst>
          </p:cNvPr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449AE0-76E1-4CD8-8D22-F5AFCE827B47}" type="datetime1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30/2019</a:t>
            </a:fld>
            <a:endParaRPr kumimoji="0" lang="en-ZA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4581" name="Slide Number Placeholder 4">
            <a:extLst>
              <a:ext uri="{FF2B5EF4-FFF2-40B4-BE49-F238E27FC236}">
                <a16:creationId xmlns:a16="http://schemas.microsoft.com/office/drawing/2014/main" id="{C9F2CBB5-6CCC-441E-B0D4-6DD0D70561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010915-7E46-4971-B435-3C6A73BE66D4}" type="slidenum">
              <a:rPr kumimoji="0" lang="en-ZA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ZA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412744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>
            <a:extLst>
              <a:ext uri="{FF2B5EF4-FFF2-40B4-BE49-F238E27FC236}">
                <a16:creationId xmlns:a16="http://schemas.microsoft.com/office/drawing/2014/main" id="{90D9DC69-9C08-4C07-B616-14605387271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>
            <a:extLst>
              <a:ext uri="{FF2B5EF4-FFF2-40B4-BE49-F238E27FC236}">
                <a16:creationId xmlns:a16="http://schemas.microsoft.com/office/drawing/2014/main" id="{5A35A395-F313-4254-8501-609781A4D6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 dirty="0"/>
          </a:p>
        </p:txBody>
      </p:sp>
      <p:sp>
        <p:nvSpPr>
          <p:cNvPr id="24580" name="Date Placeholder 3">
            <a:extLst>
              <a:ext uri="{FF2B5EF4-FFF2-40B4-BE49-F238E27FC236}">
                <a16:creationId xmlns:a16="http://schemas.microsoft.com/office/drawing/2014/main" id="{A5089CDF-0C48-407C-B41A-3701029D7427}"/>
              </a:ext>
            </a:extLst>
          </p:cNvPr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449AE0-76E1-4CD8-8D22-F5AFCE827B47}" type="datetime1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30/2019</a:t>
            </a:fld>
            <a:endParaRPr kumimoji="0" lang="en-ZA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4581" name="Slide Number Placeholder 4">
            <a:extLst>
              <a:ext uri="{FF2B5EF4-FFF2-40B4-BE49-F238E27FC236}">
                <a16:creationId xmlns:a16="http://schemas.microsoft.com/office/drawing/2014/main" id="{C9F2CBB5-6CCC-441E-B0D4-6DD0D70561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010915-7E46-4971-B435-3C6A73BE66D4}" type="slidenum">
              <a:rPr kumimoji="0" lang="en-ZA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ZA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412744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>
            <a:extLst>
              <a:ext uri="{FF2B5EF4-FFF2-40B4-BE49-F238E27FC236}">
                <a16:creationId xmlns:a16="http://schemas.microsoft.com/office/drawing/2014/main" id="{90D9DC69-9C08-4C07-B616-14605387271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>
            <a:extLst>
              <a:ext uri="{FF2B5EF4-FFF2-40B4-BE49-F238E27FC236}">
                <a16:creationId xmlns:a16="http://schemas.microsoft.com/office/drawing/2014/main" id="{5A35A395-F313-4254-8501-609781A4D6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 dirty="0"/>
          </a:p>
        </p:txBody>
      </p:sp>
      <p:sp>
        <p:nvSpPr>
          <p:cNvPr id="24580" name="Date Placeholder 3">
            <a:extLst>
              <a:ext uri="{FF2B5EF4-FFF2-40B4-BE49-F238E27FC236}">
                <a16:creationId xmlns:a16="http://schemas.microsoft.com/office/drawing/2014/main" id="{A5089CDF-0C48-407C-B41A-3701029D7427}"/>
              </a:ext>
            </a:extLst>
          </p:cNvPr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449AE0-76E1-4CD8-8D22-F5AFCE827B47}" type="datetime1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30/2019</a:t>
            </a:fld>
            <a:endParaRPr kumimoji="0" lang="en-ZA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4581" name="Slide Number Placeholder 4">
            <a:extLst>
              <a:ext uri="{FF2B5EF4-FFF2-40B4-BE49-F238E27FC236}">
                <a16:creationId xmlns:a16="http://schemas.microsoft.com/office/drawing/2014/main" id="{C9F2CBB5-6CCC-441E-B0D4-6DD0D70561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010915-7E46-4971-B435-3C6A73BE66D4}" type="slidenum">
              <a:rPr kumimoji="0" lang="en-ZA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ZA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412744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>
            <a:extLst>
              <a:ext uri="{FF2B5EF4-FFF2-40B4-BE49-F238E27FC236}">
                <a16:creationId xmlns:a16="http://schemas.microsoft.com/office/drawing/2014/main" id="{90D9DC69-9C08-4C07-B616-14605387271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>
            <a:extLst>
              <a:ext uri="{FF2B5EF4-FFF2-40B4-BE49-F238E27FC236}">
                <a16:creationId xmlns:a16="http://schemas.microsoft.com/office/drawing/2014/main" id="{5A35A395-F313-4254-8501-609781A4D6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 dirty="0"/>
          </a:p>
        </p:txBody>
      </p:sp>
      <p:sp>
        <p:nvSpPr>
          <p:cNvPr id="24580" name="Date Placeholder 3">
            <a:extLst>
              <a:ext uri="{FF2B5EF4-FFF2-40B4-BE49-F238E27FC236}">
                <a16:creationId xmlns:a16="http://schemas.microsoft.com/office/drawing/2014/main" id="{A5089CDF-0C48-407C-B41A-3701029D7427}"/>
              </a:ext>
            </a:extLst>
          </p:cNvPr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449AE0-76E1-4CD8-8D22-F5AFCE827B47}" type="datetime1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30/2019</a:t>
            </a:fld>
            <a:endParaRPr kumimoji="0" lang="en-ZA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4581" name="Slide Number Placeholder 4">
            <a:extLst>
              <a:ext uri="{FF2B5EF4-FFF2-40B4-BE49-F238E27FC236}">
                <a16:creationId xmlns:a16="http://schemas.microsoft.com/office/drawing/2014/main" id="{C9F2CBB5-6CCC-441E-B0D4-6DD0D70561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010915-7E46-4971-B435-3C6A73BE66D4}" type="slidenum">
              <a:rPr kumimoji="0" lang="en-ZA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ZA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412744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>
            <a:extLst>
              <a:ext uri="{FF2B5EF4-FFF2-40B4-BE49-F238E27FC236}">
                <a16:creationId xmlns:a16="http://schemas.microsoft.com/office/drawing/2014/main" id="{90D9DC69-9C08-4C07-B616-14605387271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>
            <a:extLst>
              <a:ext uri="{FF2B5EF4-FFF2-40B4-BE49-F238E27FC236}">
                <a16:creationId xmlns:a16="http://schemas.microsoft.com/office/drawing/2014/main" id="{5A35A395-F313-4254-8501-609781A4D6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 dirty="0"/>
          </a:p>
        </p:txBody>
      </p:sp>
      <p:sp>
        <p:nvSpPr>
          <p:cNvPr id="24580" name="Date Placeholder 3">
            <a:extLst>
              <a:ext uri="{FF2B5EF4-FFF2-40B4-BE49-F238E27FC236}">
                <a16:creationId xmlns:a16="http://schemas.microsoft.com/office/drawing/2014/main" id="{A5089CDF-0C48-407C-B41A-3701029D7427}"/>
              </a:ext>
            </a:extLst>
          </p:cNvPr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449AE0-76E1-4CD8-8D22-F5AFCE827B47}" type="datetime1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30/2019</a:t>
            </a:fld>
            <a:endParaRPr kumimoji="0" lang="en-ZA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4581" name="Slide Number Placeholder 4">
            <a:extLst>
              <a:ext uri="{FF2B5EF4-FFF2-40B4-BE49-F238E27FC236}">
                <a16:creationId xmlns:a16="http://schemas.microsoft.com/office/drawing/2014/main" id="{C9F2CBB5-6CCC-441E-B0D4-6DD0D70561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010915-7E46-4971-B435-3C6A73BE66D4}" type="slidenum">
              <a:rPr kumimoji="0" lang="en-ZA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ZA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412744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>
            <a:extLst>
              <a:ext uri="{FF2B5EF4-FFF2-40B4-BE49-F238E27FC236}">
                <a16:creationId xmlns:a16="http://schemas.microsoft.com/office/drawing/2014/main" id="{90D9DC69-9C08-4C07-B616-14605387271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>
            <a:extLst>
              <a:ext uri="{FF2B5EF4-FFF2-40B4-BE49-F238E27FC236}">
                <a16:creationId xmlns:a16="http://schemas.microsoft.com/office/drawing/2014/main" id="{5A35A395-F313-4254-8501-609781A4D6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 dirty="0"/>
          </a:p>
        </p:txBody>
      </p:sp>
      <p:sp>
        <p:nvSpPr>
          <p:cNvPr id="24580" name="Date Placeholder 3">
            <a:extLst>
              <a:ext uri="{FF2B5EF4-FFF2-40B4-BE49-F238E27FC236}">
                <a16:creationId xmlns:a16="http://schemas.microsoft.com/office/drawing/2014/main" id="{A5089CDF-0C48-407C-B41A-3701029D7427}"/>
              </a:ext>
            </a:extLst>
          </p:cNvPr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449AE0-76E1-4CD8-8D22-F5AFCE827B47}" type="datetime1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30/2019</a:t>
            </a:fld>
            <a:endParaRPr kumimoji="0" lang="en-ZA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4581" name="Slide Number Placeholder 4">
            <a:extLst>
              <a:ext uri="{FF2B5EF4-FFF2-40B4-BE49-F238E27FC236}">
                <a16:creationId xmlns:a16="http://schemas.microsoft.com/office/drawing/2014/main" id="{C9F2CBB5-6CCC-441E-B0D4-6DD0D70561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010915-7E46-4971-B435-3C6A73BE66D4}" type="slidenum">
              <a:rPr kumimoji="0" lang="en-ZA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ZA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412744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>
            <a:extLst>
              <a:ext uri="{FF2B5EF4-FFF2-40B4-BE49-F238E27FC236}">
                <a16:creationId xmlns:a16="http://schemas.microsoft.com/office/drawing/2014/main" id="{90D9DC69-9C08-4C07-B616-14605387271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>
            <a:extLst>
              <a:ext uri="{FF2B5EF4-FFF2-40B4-BE49-F238E27FC236}">
                <a16:creationId xmlns:a16="http://schemas.microsoft.com/office/drawing/2014/main" id="{5A35A395-F313-4254-8501-609781A4D6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 dirty="0"/>
          </a:p>
        </p:txBody>
      </p:sp>
      <p:sp>
        <p:nvSpPr>
          <p:cNvPr id="24580" name="Date Placeholder 3">
            <a:extLst>
              <a:ext uri="{FF2B5EF4-FFF2-40B4-BE49-F238E27FC236}">
                <a16:creationId xmlns:a16="http://schemas.microsoft.com/office/drawing/2014/main" id="{A5089CDF-0C48-407C-B41A-3701029D7427}"/>
              </a:ext>
            </a:extLst>
          </p:cNvPr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449AE0-76E1-4CD8-8D22-F5AFCE827B47}" type="datetime1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30/2019</a:t>
            </a:fld>
            <a:endParaRPr kumimoji="0" lang="en-ZA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4581" name="Slide Number Placeholder 4">
            <a:extLst>
              <a:ext uri="{FF2B5EF4-FFF2-40B4-BE49-F238E27FC236}">
                <a16:creationId xmlns:a16="http://schemas.microsoft.com/office/drawing/2014/main" id="{C9F2CBB5-6CCC-441E-B0D4-6DD0D70561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010915-7E46-4971-B435-3C6A73BE66D4}" type="slidenum">
              <a:rPr kumimoji="0" lang="en-ZA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ZA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412744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>
            <a:extLst>
              <a:ext uri="{FF2B5EF4-FFF2-40B4-BE49-F238E27FC236}">
                <a16:creationId xmlns:a16="http://schemas.microsoft.com/office/drawing/2014/main" id="{90D9DC69-9C08-4C07-B616-14605387271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>
            <a:extLst>
              <a:ext uri="{FF2B5EF4-FFF2-40B4-BE49-F238E27FC236}">
                <a16:creationId xmlns:a16="http://schemas.microsoft.com/office/drawing/2014/main" id="{5A35A395-F313-4254-8501-609781A4D6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  <p:sp>
        <p:nvSpPr>
          <p:cNvPr id="24580" name="Date Placeholder 3">
            <a:extLst>
              <a:ext uri="{FF2B5EF4-FFF2-40B4-BE49-F238E27FC236}">
                <a16:creationId xmlns:a16="http://schemas.microsoft.com/office/drawing/2014/main" id="{A5089CDF-0C48-407C-B41A-3701029D7427}"/>
              </a:ext>
            </a:extLst>
          </p:cNvPr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449AE0-76E1-4CD8-8D22-F5AFCE827B47}" type="datetime1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30/2019</a:t>
            </a:fld>
            <a:endParaRPr kumimoji="0" lang="en-ZA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4581" name="Slide Number Placeholder 4">
            <a:extLst>
              <a:ext uri="{FF2B5EF4-FFF2-40B4-BE49-F238E27FC236}">
                <a16:creationId xmlns:a16="http://schemas.microsoft.com/office/drawing/2014/main" id="{C9F2CBB5-6CCC-441E-B0D4-6DD0D70561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010915-7E46-4971-B435-3C6A73BE66D4}" type="slidenum">
              <a:rPr kumimoji="0" lang="en-ZA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ZA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412744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>
            <a:extLst>
              <a:ext uri="{FF2B5EF4-FFF2-40B4-BE49-F238E27FC236}">
                <a16:creationId xmlns:a16="http://schemas.microsoft.com/office/drawing/2014/main" id="{90D9DC69-9C08-4C07-B616-14605387271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>
            <a:extLst>
              <a:ext uri="{FF2B5EF4-FFF2-40B4-BE49-F238E27FC236}">
                <a16:creationId xmlns:a16="http://schemas.microsoft.com/office/drawing/2014/main" id="{5A35A395-F313-4254-8501-609781A4D6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  <p:sp>
        <p:nvSpPr>
          <p:cNvPr id="24580" name="Date Placeholder 3">
            <a:extLst>
              <a:ext uri="{FF2B5EF4-FFF2-40B4-BE49-F238E27FC236}">
                <a16:creationId xmlns:a16="http://schemas.microsoft.com/office/drawing/2014/main" id="{A5089CDF-0C48-407C-B41A-3701029D7427}"/>
              </a:ext>
            </a:extLst>
          </p:cNvPr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90449AE0-76E1-4CD8-8D22-F5AFCE827B47}" type="datetime1">
              <a:rPr lang="en-US" altLang="en-US" sz="1100" smtClean="0">
                <a:solidFill>
                  <a:prstClr val="black"/>
                </a:solidFill>
              </a:rPr>
              <a:pPr>
                <a:spcBef>
                  <a:spcPct val="0"/>
                </a:spcBef>
              </a:pPr>
              <a:t>4/30/2019</a:t>
            </a:fld>
            <a:endParaRPr lang="en-ZA" altLang="en-US" sz="1100">
              <a:solidFill>
                <a:prstClr val="black"/>
              </a:solidFill>
            </a:endParaRPr>
          </a:p>
        </p:txBody>
      </p:sp>
      <p:sp>
        <p:nvSpPr>
          <p:cNvPr id="24581" name="Slide Number Placeholder 4">
            <a:extLst>
              <a:ext uri="{FF2B5EF4-FFF2-40B4-BE49-F238E27FC236}">
                <a16:creationId xmlns:a16="http://schemas.microsoft.com/office/drawing/2014/main" id="{C9F2CBB5-6CCC-441E-B0D4-6DD0D70561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B2010915-7E46-4971-B435-3C6A73BE66D4}" type="slidenum">
              <a:rPr lang="en-ZA" altLang="en-US" sz="1100" smtClean="0">
                <a:solidFill>
                  <a:prstClr val="black"/>
                </a:solidFill>
              </a:rPr>
              <a:pPr>
                <a:spcBef>
                  <a:spcPct val="0"/>
                </a:spcBef>
              </a:pPr>
              <a:t>29</a:t>
            </a:fld>
            <a:endParaRPr lang="en-ZA" altLang="en-US" sz="11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412744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>
            <a:extLst>
              <a:ext uri="{FF2B5EF4-FFF2-40B4-BE49-F238E27FC236}">
                <a16:creationId xmlns:a16="http://schemas.microsoft.com/office/drawing/2014/main" id="{90D9DC69-9C08-4C07-B616-14605387271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>
            <a:extLst>
              <a:ext uri="{FF2B5EF4-FFF2-40B4-BE49-F238E27FC236}">
                <a16:creationId xmlns:a16="http://schemas.microsoft.com/office/drawing/2014/main" id="{5A35A395-F313-4254-8501-609781A4D6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  <p:sp>
        <p:nvSpPr>
          <p:cNvPr id="24580" name="Date Placeholder 3">
            <a:extLst>
              <a:ext uri="{FF2B5EF4-FFF2-40B4-BE49-F238E27FC236}">
                <a16:creationId xmlns:a16="http://schemas.microsoft.com/office/drawing/2014/main" id="{A5089CDF-0C48-407C-B41A-3701029D7427}"/>
              </a:ext>
            </a:extLst>
          </p:cNvPr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449AE0-76E1-4CD8-8D22-F5AFCE827B47}" type="datetime1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30/2019</a:t>
            </a:fld>
            <a:endParaRPr kumimoji="0" lang="en-ZA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4581" name="Slide Number Placeholder 4">
            <a:extLst>
              <a:ext uri="{FF2B5EF4-FFF2-40B4-BE49-F238E27FC236}">
                <a16:creationId xmlns:a16="http://schemas.microsoft.com/office/drawing/2014/main" id="{C9F2CBB5-6CCC-441E-B0D4-6DD0D70561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010915-7E46-4971-B435-3C6A73BE66D4}" type="slidenum">
              <a:rPr kumimoji="0" lang="en-ZA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ZA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41274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>
            <a:extLst>
              <a:ext uri="{FF2B5EF4-FFF2-40B4-BE49-F238E27FC236}">
                <a16:creationId xmlns:a16="http://schemas.microsoft.com/office/drawing/2014/main" id="{90D9DC69-9C08-4C07-B616-14605387271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>
            <a:extLst>
              <a:ext uri="{FF2B5EF4-FFF2-40B4-BE49-F238E27FC236}">
                <a16:creationId xmlns:a16="http://schemas.microsoft.com/office/drawing/2014/main" id="{5A35A395-F313-4254-8501-609781A4D6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  <p:sp>
        <p:nvSpPr>
          <p:cNvPr id="24580" name="Date Placeholder 3">
            <a:extLst>
              <a:ext uri="{FF2B5EF4-FFF2-40B4-BE49-F238E27FC236}">
                <a16:creationId xmlns:a16="http://schemas.microsoft.com/office/drawing/2014/main" id="{A5089CDF-0C48-407C-B41A-3701029D7427}"/>
              </a:ext>
            </a:extLst>
          </p:cNvPr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90449AE0-76E1-4CD8-8D22-F5AFCE827B47}" type="datetime1">
              <a:rPr lang="en-US" altLang="en-US" sz="1100" smtClean="0"/>
              <a:pPr>
                <a:spcBef>
                  <a:spcPct val="0"/>
                </a:spcBef>
              </a:pPr>
              <a:t>4/30/2019</a:t>
            </a:fld>
            <a:endParaRPr lang="en-ZA" altLang="en-US" sz="1100"/>
          </a:p>
        </p:txBody>
      </p:sp>
      <p:sp>
        <p:nvSpPr>
          <p:cNvPr id="24581" name="Slide Number Placeholder 4">
            <a:extLst>
              <a:ext uri="{FF2B5EF4-FFF2-40B4-BE49-F238E27FC236}">
                <a16:creationId xmlns:a16="http://schemas.microsoft.com/office/drawing/2014/main" id="{C9F2CBB5-6CCC-441E-B0D4-6DD0D70561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B2010915-7E46-4971-B435-3C6A73BE66D4}" type="slidenum">
              <a:rPr lang="en-ZA" altLang="en-US" sz="1100" smtClean="0"/>
              <a:pPr>
                <a:spcBef>
                  <a:spcPct val="0"/>
                </a:spcBef>
              </a:pPr>
              <a:t>4</a:t>
            </a:fld>
            <a:endParaRPr lang="en-ZA" altLang="en-US" sz="1100"/>
          </a:p>
        </p:txBody>
      </p:sp>
    </p:spTree>
    <p:extLst>
      <p:ext uri="{BB962C8B-B14F-4D97-AF65-F5344CB8AC3E}">
        <p14:creationId xmlns:p14="http://schemas.microsoft.com/office/powerpoint/2010/main" val="276488764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>
            <a:extLst>
              <a:ext uri="{FF2B5EF4-FFF2-40B4-BE49-F238E27FC236}">
                <a16:creationId xmlns:a16="http://schemas.microsoft.com/office/drawing/2014/main" id="{90D9DC69-9C08-4C07-B616-14605387271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>
            <a:extLst>
              <a:ext uri="{FF2B5EF4-FFF2-40B4-BE49-F238E27FC236}">
                <a16:creationId xmlns:a16="http://schemas.microsoft.com/office/drawing/2014/main" id="{5A35A395-F313-4254-8501-609781A4D6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 dirty="0"/>
          </a:p>
        </p:txBody>
      </p:sp>
      <p:sp>
        <p:nvSpPr>
          <p:cNvPr id="24580" name="Date Placeholder 3">
            <a:extLst>
              <a:ext uri="{FF2B5EF4-FFF2-40B4-BE49-F238E27FC236}">
                <a16:creationId xmlns:a16="http://schemas.microsoft.com/office/drawing/2014/main" id="{A5089CDF-0C48-407C-B41A-3701029D7427}"/>
              </a:ext>
            </a:extLst>
          </p:cNvPr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449AE0-76E1-4CD8-8D22-F5AFCE827B47}" type="datetime1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30/2019</a:t>
            </a:fld>
            <a:endParaRPr kumimoji="0" lang="en-ZA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4581" name="Slide Number Placeholder 4">
            <a:extLst>
              <a:ext uri="{FF2B5EF4-FFF2-40B4-BE49-F238E27FC236}">
                <a16:creationId xmlns:a16="http://schemas.microsoft.com/office/drawing/2014/main" id="{C9F2CBB5-6CCC-441E-B0D4-6DD0D70561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010915-7E46-4971-B435-3C6A73BE66D4}" type="slidenum">
              <a:rPr kumimoji="0" lang="en-ZA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ZA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412744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>
            <a:extLst>
              <a:ext uri="{FF2B5EF4-FFF2-40B4-BE49-F238E27FC236}">
                <a16:creationId xmlns:a16="http://schemas.microsoft.com/office/drawing/2014/main" id="{90D9DC69-9C08-4C07-B616-14605387271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>
            <a:extLst>
              <a:ext uri="{FF2B5EF4-FFF2-40B4-BE49-F238E27FC236}">
                <a16:creationId xmlns:a16="http://schemas.microsoft.com/office/drawing/2014/main" id="{5A35A395-F313-4254-8501-609781A4D6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  <p:sp>
        <p:nvSpPr>
          <p:cNvPr id="24580" name="Date Placeholder 3">
            <a:extLst>
              <a:ext uri="{FF2B5EF4-FFF2-40B4-BE49-F238E27FC236}">
                <a16:creationId xmlns:a16="http://schemas.microsoft.com/office/drawing/2014/main" id="{A5089CDF-0C48-407C-B41A-3701029D7427}"/>
              </a:ext>
            </a:extLst>
          </p:cNvPr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90449AE0-76E1-4CD8-8D22-F5AFCE827B47}" type="datetime1">
              <a:rPr lang="en-US" altLang="en-US" sz="1100" smtClean="0"/>
              <a:pPr>
                <a:spcBef>
                  <a:spcPct val="0"/>
                </a:spcBef>
              </a:pPr>
              <a:t>4/30/2019</a:t>
            </a:fld>
            <a:endParaRPr lang="en-ZA" altLang="en-US" sz="1100"/>
          </a:p>
        </p:txBody>
      </p:sp>
      <p:sp>
        <p:nvSpPr>
          <p:cNvPr id="24581" name="Slide Number Placeholder 4">
            <a:extLst>
              <a:ext uri="{FF2B5EF4-FFF2-40B4-BE49-F238E27FC236}">
                <a16:creationId xmlns:a16="http://schemas.microsoft.com/office/drawing/2014/main" id="{C9F2CBB5-6CCC-441E-B0D4-6DD0D70561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B2010915-7E46-4971-B435-3C6A73BE66D4}" type="slidenum">
              <a:rPr lang="en-ZA" altLang="en-US" sz="1100" smtClean="0"/>
              <a:pPr>
                <a:spcBef>
                  <a:spcPct val="0"/>
                </a:spcBef>
              </a:pPr>
              <a:t>32</a:t>
            </a:fld>
            <a:endParaRPr lang="en-ZA" altLang="en-US" sz="1100"/>
          </a:p>
        </p:txBody>
      </p:sp>
    </p:spTree>
    <p:extLst>
      <p:ext uri="{BB962C8B-B14F-4D97-AF65-F5344CB8AC3E}">
        <p14:creationId xmlns:p14="http://schemas.microsoft.com/office/powerpoint/2010/main" val="326997887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>
            <a:extLst>
              <a:ext uri="{FF2B5EF4-FFF2-40B4-BE49-F238E27FC236}">
                <a16:creationId xmlns:a16="http://schemas.microsoft.com/office/drawing/2014/main" id="{90D9DC69-9C08-4C07-B616-14605387271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>
            <a:extLst>
              <a:ext uri="{FF2B5EF4-FFF2-40B4-BE49-F238E27FC236}">
                <a16:creationId xmlns:a16="http://schemas.microsoft.com/office/drawing/2014/main" id="{5A35A395-F313-4254-8501-609781A4D6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  <p:sp>
        <p:nvSpPr>
          <p:cNvPr id="24580" name="Date Placeholder 3">
            <a:extLst>
              <a:ext uri="{FF2B5EF4-FFF2-40B4-BE49-F238E27FC236}">
                <a16:creationId xmlns:a16="http://schemas.microsoft.com/office/drawing/2014/main" id="{A5089CDF-0C48-407C-B41A-3701029D7427}"/>
              </a:ext>
            </a:extLst>
          </p:cNvPr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90449AE0-76E1-4CD8-8D22-F5AFCE827B47}" type="datetime1">
              <a:rPr lang="en-US" altLang="en-US" sz="1100" smtClean="0"/>
              <a:pPr>
                <a:spcBef>
                  <a:spcPct val="0"/>
                </a:spcBef>
              </a:pPr>
              <a:t>4/30/2019</a:t>
            </a:fld>
            <a:endParaRPr lang="en-ZA" altLang="en-US" sz="1100"/>
          </a:p>
        </p:txBody>
      </p:sp>
      <p:sp>
        <p:nvSpPr>
          <p:cNvPr id="24581" name="Slide Number Placeholder 4">
            <a:extLst>
              <a:ext uri="{FF2B5EF4-FFF2-40B4-BE49-F238E27FC236}">
                <a16:creationId xmlns:a16="http://schemas.microsoft.com/office/drawing/2014/main" id="{C9F2CBB5-6CCC-441E-B0D4-6DD0D70561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B2010915-7E46-4971-B435-3C6A73BE66D4}" type="slidenum">
              <a:rPr lang="en-ZA" altLang="en-US" sz="1100" smtClean="0"/>
              <a:pPr>
                <a:spcBef>
                  <a:spcPct val="0"/>
                </a:spcBef>
              </a:pPr>
              <a:t>33</a:t>
            </a:fld>
            <a:endParaRPr lang="en-ZA" altLang="en-US" sz="1100"/>
          </a:p>
        </p:txBody>
      </p:sp>
    </p:spTree>
    <p:extLst>
      <p:ext uri="{BB962C8B-B14F-4D97-AF65-F5344CB8AC3E}">
        <p14:creationId xmlns:p14="http://schemas.microsoft.com/office/powerpoint/2010/main" val="326997887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>
            <a:extLst>
              <a:ext uri="{FF2B5EF4-FFF2-40B4-BE49-F238E27FC236}">
                <a16:creationId xmlns:a16="http://schemas.microsoft.com/office/drawing/2014/main" id="{90D9DC69-9C08-4C07-B616-14605387271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>
            <a:extLst>
              <a:ext uri="{FF2B5EF4-FFF2-40B4-BE49-F238E27FC236}">
                <a16:creationId xmlns:a16="http://schemas.microsoft.com/office/drawing/2014/main" id="{5A35A395-F313-4254-8501-609781A4D6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  <p:sp>
        <p:nvSpPr>
          <p:cNvPr id="24580" name="Date Placeholder 3">
            <a:extLst>
              <a:ext uri="{FF2B5EF4-FFF2-40B4-BE49-F238E27FC236}">
                <a16:creationId xmlns:a16="http://schemas.microsoft.com/office/drawing/2014/main" id="{A5089CDF-0C48-407C-B41A-3701029D7427}"/>
              </a:ext>
            </a:extLst>
          </p:cNvPr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90449AE0-76E1-4CD8-8D22-F5AFCE827B47}" type="datetime1">
              <a:rPr lang="en-US" altLang="en-US" sz="1100" smtClean="0"/>
              <a:pPr>
                <a:spcBef>
                  <a:spcPct val="0"/>
                </a:spcBef>
              </a:pPr>
              <a:t>4/30/2019</a:t>
            </a:fld>
            <a:endParaRPr lang="en-ZA" altLang="en-US" sz="1100"/>
          </a:p>
        </p:txBody>
      </p:sp>
      <p:sp>
        <p:nvSpPr>
          <p:cNvPr id="24581" name="Slide Number Placeholder 4">
            <a:extLst>
              <a:ext uri="{FF2B5EF4-FFF2-40B4-BE49-F238E27FC236}">
                <a16:creationId xmlns:a16="http://schemas.microsoft.com/office/drawing/2014/main" id="{C9F2CBB5-6CCC-441E-B0D4-6DD0D70561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B2010915-7E46-4971-B435-3C6A73BE66D4}" type="slidenum">
              <a:rPr lang="en-ZA" altLang="en-US" sz="1100" smtClean="0"/>
              <a:pPr>
                <a:spcBef>
                  <a:spcPct val="0"/>
                </a:spcBef>
              </a:pPr>
              <a:t>34</a:t>
            </a:fld>
            <a:endParaRPr lang="en-ZA" altLang="en-US" sz="1100"/>
          </a:p>
        </p:txBody>
      </p:sp>
    </p:spTree>
    <p:extLst>
      <p:ext uri="{BB962C8B-B14F-4D97-AF65-F5344CB8AC3E}">
        <p14:creationId xmlns:p14="http://schemas.microsoft.com/office/powerpoint/2010/main" val="326997887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>
            <a:extLst>
              <a:ext uri="{FF2B5EF4-FFF2-40B4-BE49-F238E27FC236}">
                <a16:creationId xmlns:a16="http://schemas.microsoft.com/office/drawing/2014/main" id="{90D9DC69-9C08-4C07-B616-14605387271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>
            <a:extLst>
              <a:ext uri="{FF2B5EF4-FFF2-40B4-BE49-F238E27FC236}">
                <a16:creationId xmlns:a16="http://schemas.microsoft.com/office/drawing/2014/main" id="{5A35A395-F313-4254-8501-609781A4D6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  <p:sp>
        <p:nvSpPr>
          <p:cNvPr id="24580" name="Date Placeholder 3">
            <a:extLst>
              <a:ext uri="{FF2B5EF4-FFF2-40B4-BE49-F238E27FC236}">
                <a16:creationId xmlns:a16="http://schemas.microsoft.com/office/drawing/2014/main" id="{A5089CDF-0C48-407C-B41A-3701029D7427}"/>
              </a:ext>
            </a:extLst>
          </p:cNvPr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90449AE0-76E1-4CD8-8D22-F5AFCE827B47}" type="datetime1">
              <a:rPr lang="en-US" altLang="en-US" sz="1100" smtClean="0"/>
              <a:pPr>
                <a:spcBef>
                  <a:spcPct val="0"/>
                </a:spcBef>
              </a:pPr>
              <a:t>4/30/2019</a:t>
            </a:fld>
            <a:endParaRPr lang="en-ZA" altLang="en-US" sz="1100"/>
          </a:p>
        </p:txBody>
      </p:sp>
      <p:sp>
        <p:nvSpPr>
          <p:cNvPr id="24581" name="Slide Number Placeholder 4">
            <a:extLst>
              <a:ext uri="{FF2B5EF4-FFF2-40B4-BE49-F238E27FC236}">
                <a16:creationId xmlns:a16="http://schemas.microsoft.com/office/drawing/2014/main" id="{C9F2CBB5-6CCC-441E-B0D4-6DD0D70561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B2010915-7E46-4971-B435-3C6A73BE66D4}" type="slidenum">
              <a:rPr lang="en-ZA" altLang="en-US" sz="1100" smtClean="0"/>
              <a:pPr>
                <a:spcBef>
                  <a:spcPct val="0"/>
                </a:spcBef>
              </a:pPr>
              <a:t>35</a:t>
            </a:fld>
            <a:endParaRPr lang="en-ZA" altLang="en-US" sz="1100"/>
          </a:p>
        </p:txBody>
      </p:sp>
    </p:spTree>
    <p:extLst>
      <p:ext uri="{BB962C8B-B14F-4D97-AF65-F5344CB8AC3E}">
        <p14:creationId xmlns:p14="http://schemas.microsoft.com/office/powerpoint/2010/main" val="326997887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>
            <a:extLst>
              <a:ext uri="{FF2B5EF4-FFF2-40B4-BE49-F238E27FC236}">
                <a16:creationId xmlns:a16="http://schemas.microsoft.com/office/drawing/2014/main" id="{90D9DC69-9C08-4C07-B616-14605387271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>
            <a:extLst>
              <a:ext uri="{FF2B5EF4-FFF2-40B4-BE49-F238E27FC236}">
                <a16:creationId xmlns:a16="http://schemas.microsoft.com/office/drawing/2014/main" id="{5A35A395-F313-4254-8501-609781A4D6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  <p:sp>
        <p:nvSpPr>
          <p:cNvPr id="24580" name="Date Placeholder 3">
            <a:extLst>
              <a:ext uri="{FF2B5EF4-FFF2-40B4-BE49-F238E27FC236}">
                <a16:creationId xmlns:a16="http://schemas.microsoft.com/office/drawing/2014/main" id="{A5089CDF-0C48-407C-B41A-3701029D7427}"/>
              </a:ext>
            </a:extLst>
          </p:cNvPr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90449AE0-76E1-4CD8-8D22-F5AFCE827B47}" type="datetime1">
              <a:rPr lang="en-US" altLang="en-US" sz="1100" smtClean="0"/>
              <a:pPr>
                <a:spcBef>
                  <a:spcPct val="0"/>
                </a:spcBef>
              </a:pPr>
              <a:t>4/30/2019</a:t>
            </a:fld>
            <a:endParaRPr lang="en-ZA" altLang="en-US" sz="1100"/>
          </a:p>
        </p:txBody>
      </p:sp>
      <p:sp>
        <p:nvSpPr>
          <p:cNvPr id="24581" name="Slide Number Placeholder 4">
            <a:extLst>
              <a:ext uri="{FF2B5EF4-FFF2-40B4-BE49-F238E27FC236}">
                <a16:creationId xmlns:a16="http://schemas.microsoft.com/office/drawing/2014/main" id="{C9F2CBB5-6CCC-441E-B0D4-6DD0D70561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B2010915-7E46-4971-B435-3C6A73BE66D4}" type="slidenum">
              <a:rPr lang="en-ZA" altLang="en-US" sz="1100" smtClean="0"/>
              <a:pPr>
                <a:spcBef>
                  <a:spcPct val="0"/>
                </a:spcBef>
              </a:pPr>
              <a:t>36</a:t>
            </a:fld>
            <a:endParaRPr lang="en-ZA" altLang="en-US" sz="1100"/>
          </a:p>
        </p:txBody>
      </p:sp>
    </p:spTree>
    <p:extLst>
      <p:ext uri="{BB962C8B-B14F-4D97-AF65-F5344CB8AC3E}">
        <p14:creationId xmlns:p14="http://schemas.microsoft.com/office/powerpoint/2010/main" val="326997887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>
            <a:extLst>
              <a:ext uri="{FF2B5EF4-FFF2-40B4-BE49-F238E27FC236}">
                <a16:creationId xmlns:a16="http://schemas.microsoft.com/office/drawing/2014/main" id="{90D9DC69-9C08-4C07-B616-14605387271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>
            <a:extLst>
              <a:ext uri="{FF2B5EF4-FFF2-40B4-BE49-F238E27FC236}">
                <a16:creationId xmlns:a16="http://schemas.microsoft.com/office/drawing/2014/main" id="{5A35A395-F313-4254-8501-609781A4D6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  <p:sp>
        <p:nvSpPr>
          <p:cNvPr id="24580" name="Date Placeholder 3">
            <a:extLst>
              <a:ext uri="{FF2B5EF4-FFF2-40B4-BE49-F238E27FC236}">
                <a16:creationId xmlns:a16="http://schemas.microsoft.com/office/drawing/2014/main" id="{A5089CDF-0C48-407C-B41A-3701029D7427}"/>
              </a:ext>
            </a:extLst>
          </p:cNvPr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90449AE0-76E1-4CD8-8D22-F5AFCE827B47}" type="datetime1">
              <a:rPr lang="en-US" altLang="en-US" sz="1100" smtClean="0"/>
              <a:pPr>
                <a:spcBef>
                  <a:spcPct val="0"/>
                </a:spcBef>
              </a:pPr>
              <a:t>4/30/2019</a:t>
            </a:fld>
            <a:endParaRPr lang="en-ZA" altLang="en-US" sz="1100"/>
          </a:p>
        </p:txBody>
      </p:sp>
      <p:sp>
        <p:nvSpPr>
          <p:cNvPr id="24581" name="Slide Number Placeholder 4">
            <a:extLst>
              <a:ext uri="{FF2B5EF4-FFF2-40B4-BE49-F238E27FC236}">
                <a16:creationId xmlns:a16="http://schemas.microsoft.com/office/drawing/2014/main" id="{C9F2CBB5-6CCC-441E-B0D4-6DD0D70561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B2010915-7E46-4971-B435-3C6A73BE66D4}" type="slidenum">
              <a:rPr lang="en-ZA" altLang="en-US" sz="1100" smtClean="0"/>
              <a:pPr>
                <a:spcBef>
                  <a:spcPct val="0"/>
                </a:spcBef>
              </a:pPr>
              <a:t>37</a:t>
            </a:fld>
            <a:endParaRPr lang="en-ZA" altLang="en-US" sz="1100"/>
          </a:p>
        </p:txBody>
      </p:sp>
    </p:spTree>
    <p:extLst>
      <p:ext uri="{BB962C8B-B14F-4D97-AF65-F5344CB8AC3E}">
        <p14:creationId xmlns:p14="http://schemas.microsoft.com/office/powerpoint/2010/main" val="326997887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>
            <a:extLst>
              <a:ext uri="{FF2B5EF4-FFF2-40B4-BE49-F238E27FC236}">
                <a16:creationId xmlns:a16="http://schemas.microsoft.com/office/drawing/2014/main" id="{90D9DC69-9C08-4C07-B616-14605387271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>
            <a:extLst>
              <a:ext uri="{FF2B5EF4-FFF2-40B4-BE49-F238E27FC236}">
                <a16:creationId xmlns:a16="http://schemas.microsoft.com/office/drawing/2014/main" id="{5A35A395-F313-4254-8501-609781A4D6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  <p:sp>
        <p:nvSpPr>
          <p:cNvPr id="24580" name="Date Placeholder 3">
            <a:extLst>
              <a:ext uri="{FF2B5EF4-FFF2-40B4-BE49-F238E27FC236}">
                <a16:creationId xmlns:a16="http://schemas.microsoft.com/office/drawing/2014/main" id="{A5089CDF-0C48-407C-B41A-3701029D7427}"/>
              </a:ext>
            </a:extLst>
          </p:cNvPr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90449AE0-76E1-4CD8-8D22-F5AFCE827B47}" type="datetime1">
              <a:rPr lang="en-US" altLang="en-US" sz="1100" smtClean="0"/>
              <a:pPr>
                <a:spcBef>
                  <a:spcPct val="0"/>
                </a:spcBef>
              </a:pPr>
              <a:t>4/30/2019</a:t>
            </a:fld>
            <a:endParaRPr lang="en-ZA" altLang="en-US" sz="1100"/>
          </a:p>
        </p:txBody>
      </p:sp>
      <p:sp>
        <p:nvSpPr>
          <p:cNvPr id="24581" name="Slide Number Placeholder 4">
            <a:extLst>
              <a:ext uri="{FF2B5EF4-FFF2-40B4-BE49-F238E27FC236}">
                <a16:creationId xmlns:a16="http://schemas.microsoft.com/office/drawing/2014/main" id="{C9F2CBB5-6CCC-441E-B0D4-6DD0D70561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B2010915-7E46-4971-B435-3C6A73BE66D4}" type="slidenum">
              <a:rPr lang="en-ZA" altLang="en-US" sz="1100" smtClean="0"/>
              <a:pPr>
                <a:spcBef>
                  <a:spcPct val="0"/>
                </a:spcBef>
              </a:pPr>
              <a:t>38</a:t>
            </a:fld>
            <a:endParaRPr lang="en-ZA" altLang="en-US" sz="1100"/>
          </a:p>
        </p:txBody>
      </p:sp>
    </p:spTree>
    <p:extLst>
      <p:ext uri="{BB962C8B-B14F-4D97-AF65-F5344CB8AC3E}">
        <p14:creationId xmlns:p14="http://schemas.microsoft.com/office/powerpoint/2010/main" val="32699788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>
            <a:extLst>
              <a:ext uri="{FF2B5EF4-FFF2-40B4-BE49-F238E27FC236}">
                <a16:creationId xmlns:a16="http://schemas.microsoft.com/office/drawing/2014/main" id="{90D9DC69-9C08-4C07-B616-14605387271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>
            <a:extLst>
              <a:ext uri="{FF2B5EF4-FFF2-40B4-BE49-F238E27FC236}">
                <a16:creationId xmlns:a16="http://schemas.microsoft.com/office/drawing/2014/main" id="{5A35A395-F313-4254-8501-609781A4D6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  <p:sp>
        <p:nvSpPr>
          <p:cNvPr id="24580" name="Date Placeholder 3">
            <a:extLst>
              <a:ext uri="{FF2B5EF4-FFF2-40B4-BE49-F238E27FC236}">
                <a16:creationId xmlns:a16="http://schemas.microsoft.com/office/drawing/2014/main" id="{A5089CDF-0C48-407C-B41A-3701029D7427}"/>
              </a:ext>
            </a:extLst>
          </p:cNvPr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90449AE0-76E1-4CD8-8D22-F5AFCE827B47}" type="datetime1">
              <a:rPr lang="en-US" altLang="en-US" sz="1100" smtClean="0"/>
              <a:pPr>
                <a:spcBef>
                  <a:spcPct val="0"/>
                </a:spcBef>
              </a:pPr>
              <a:t>4/30/2019</a:t>
            </a:fld>
            <a:endParaRPr lang="en-ZA" altLang="en-US" sz="1100"/>
          </a:p>
        </p:txBody>
      </p:sp>
      <p:sp>
        <p:nvSpPr>
          <p:cNvPr id="24581" name="Slide Number Placeholder 4">
            <a:extLst>
              <a:ext uri="{FF2B5EF4-FFF2-40B4-BE49-F238E27FC236}">
                <a16:creationId xmlns:a16="http://schemas.microsoft.com/office/drawing/2014/main" id="{C9F2CBB5-6CCC-441E-B0D4-6DD0D70561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B2010915-7E46-4971-B435-3C6A73BE66D4}" type="slidenum">
              <a:rPr lang="en-ZA" altLang="en-US" sz="1100" smtClean="0"/>
              <a:pPr>
                <a:spcBef>
                  <a:spcPct val="0"/>
                </a:spcBef>
              </a:pPr>
              <a:t>5</a:t>
            </a:fld>
            <a:endParaRPr lang="en-ZA" altLang="en-US" sz="1100"/>
          </a:p>
        </p:txBody>
      </p:sp>
    </p:spTree>
    <p:extLst>
      <p:ext uri="{BB962C8B-B14F-4D97-AF65-F5344CB8AC3E}">
        <p14:creationId xmlns:p14="http://schemas.microsoft.com/office/powerpoint/2010/main" val="965216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>
            <a:extLst>
              <a:ext uri="{FF2B5EF4-FFF2-40B4-BE49-F238E27FC236}">
                <a16:creationId xmlns:a16="http://schemas.microsoft.com/office/drawing/2014/main" id="{90D9DC69-9C08-4C07-B616-14605387271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>
            <a:extLst>
              <a:ext uri="{FF2B5EF4-FFF2-40B4-BE49-F238E27FC236}">
                <a16:creationId xmlns:a16="http://schemas.microsoft.com/office/drawing/2014/main" id="{5A35A395-F313-4254-8501-609781A4D6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  <p:sp>
        <p:nvSpPr>
          <p:cNvPr id="24580" name="Date Placeholder 3">
            <a:extLst>
              <a:ext uri="{FF2B5EF4-FFF2-40B4-BE49-F238E27FC236}">
                <a16:creationId xmlns:a16="http://schemas.microsoft.com/office/drawing/2014/main" id="{A5089CDF-0C48-407C-B41A-3701029D7427}"/>
              </a:ext>
            </a:extLst>
          </p:cNvPr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90449AE0-76E1-4CD8-8D22-F5AFCE827B47}" type="datetime1">
              <a:rPr lang="en-US" altLang="en-US" sz="1100" smtClean="0"/>
              <a:pPr>
                <a:spcBef>
                  <a:spcPct val="0"/>
                </a:spcBef>
              </a:pPr>
              <a:t>4/30/2019</a:t>
            </a:fld>
            <a:endParaRPr lang="en-ZA" altLang="en-US" sz="1100"/>
          </a:p>
        </p:txBody>
      </p:sp>
      <p:sp>
        <p:nvSpPr>
          <p:cNvPr id="24581" name="Slide Number Placeholder 4">
            <a:extLst>
              <a:ext uri="{FF2B5EF4-FFF2-40B4-BE49-F238E27FC236}">
                <a16:creationId xmlns:a16="http://schemas.microsoft.com/office/drawing/2014/main" id="{C9F2CBB5-6CCC-441E-B0D4-6DD0D70561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B2010915-7E46-4971-B435-3C6A73BE66D4}" type="slidenum">
              <a:rPr lang="en-ZA" altLang="en-US" sz="1100" smtClean="0"/>
              <a:pPr>
                <a:spcBef>
                  <a:spcPct val="0"/>
                </a:spcBef>
              </a:pPr>
              <a:t>6</a:t>
            </a:fld>
            <a:endParaRPr lang="en-ZA" altLang="en-US" sz="1100"/>
          </a:p>
        </p:txBody>
      </p:sp>
    </p:spTree>
    <p:extLst>
      <p:ext uri="{BB962C8B-B14F-4D97-AF65-F5344CB8AC3E}">
        <p14:creationId xmlns:p14="http://schemas.microsoft.com/office/powerpoint/2010/main" val="8158058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>
            <a:extLst>
              <a:ext uri="{FF2B5EF4-FFF2-40B4-BE49-F238E27FC236}">
                <a16:creationId xmlns:a16="http://schemas.microsoft.com/office/drawing/2014/main" id="{90D9DC69-9C08-4C07-B616-14605387271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>
            <a:extLst>
              <a:ext uri="{FF2B5EF4-FFF2-40B4-BE49-F238E27FC236}">
                <a16:creationId xmlns:a16="http://schemas.microsoft.com/office/drawing/2014/main" id="{5A35A395-F313-4254-8501-609781A4D6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  <p:sp>
        <p:nvSpPr>
          <p:cNvPr id="24580" name="Date Placeholder 3">
            <a:extLst>
              <a:ext uri="{FF2B5EF4-FFF2-40B4-BE49-F238E27FC236}">
                <a16:creationId xmlns:a16="http://schemas.microsoft.com/office/drawing/2014/main" id="{A5089CDF-0C48-407C-B41A-3701029D7427}"/>
              </a:ext>
            </a:extLst>
          </p:cNvPr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90449AE0-76E1-4CD8-8D22-F5AFCE827B47}" type="datetime1">
              <a:rPr lang="en-US" altLang="en-US" sz="1100" smtClean="0"/>
              <a:pPr>
                <a:spcBef>
                  <a:spcPct val="0"/>
                </a:spcBef>
              </a:pPr>
              <a:t>4/30/2019</a:t>
            </a:fld>
            <a:endParaRPr lang="en-ZA" altLang="en-US" sz="1100"/>
          </a:p>
        </p:txBody>
      </p:sp>
      <p:sp>
        <p:nvSpPr>
          <p:cNvPr id="24581" name="Slide Number Placeholder 4">
            <a:extLst>
              <a:ext uri="{FF2B5EF4-FFF2-40B4-BE49-F238E27FC236}">
                <a16:creationId xmlns:a16="http://schemas.microsoft.com/office/drawing/2014/main" id="{C9F2CBB5-6CCC-441E-B0D4-6DD0D70561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B2010915-7E46-4971-B435-3C6A73BE66D4}" type="slidenum">
              <a:rPr lang="en-ZA" altLang="en-US" sz="1100" smtClean="0"/>
              <a:pPr>
                <a:spcBef>
                  <a:spcPct val="0"/>
                </a:spcBef>
              </a:pPr>
              <a:t>7</a:t>
            </a:fld>
            <a:endParaRPr lang="en-ZA" altLang="en-US" sz="1100"/>
          </a:p>
        </p:txBody>
      </p:sp>
    </p:spTree>
    <p:extLst>
      <p:ext uri="{BB962C8B-B14F-4D97-AF65-F5344CB8AC3E}">
        <p14:creationId xmlns:p14="http://schemas.microsoft.com/office/powerpoint/2010/main" val="7145704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>
            <a:extLst>
              <a:ext uri="{FF2B5EF4-FFF2-40B4-BE49-F238E27FC236}">
                <a16:creationId xmlns:a16="http://schemas.microsoft.com/office/drawing/2014/main" id="{90D9DC69-9C08-4C07-B616-14605387271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>
            <a:extLst>
              <a:ext uri="{FF2B5EF4-FFF2-40B4-BE49-F238E27FC236}">
                <a16:creationId xmlns:a16="http://schemas.microsoft.com/office/drawing/2014/main" id="{5A35A395-F313-4254-8501-609781A4D6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  <p:sp>
        <p:nvSpPr>
          <p:cNvPr id="24580" name="Date Placeholder 3">
            <a:extLst>
              <a:ext uri="{FF2B5EF4-FFF2-40B4-BE49-F238E27FC236}">
                <a16:creationId xmlns:a16="http://schemas.microsoft.com/office/drawing/2014/main" id="{A5089CDF-0C48-407C-B41A-3701029D7427}"/>
              </a:ext>
            </a:extLst>
          </p:cNvPr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90449AE0-76E1-4CD8-8D22-F5AFCE827B47}" type="datetime1">
              <a:rPr lang="en-US" altLang="en-US" sz="1100" smtClean="0"/>
              <a:pPr>
                <a:spcBef>
                  <a:spcPct val="0"/>
                </a:spcBef>
              </a:pPr>
              <a:t>4/30/2019</a:t>
            </a:fld>
            <a:endParaRPr lang="en-ZA" altLang="en-US" sz="1100"/>
          </a:p>
        </p:txBody>
      </p:sp>
      <p:sp>
        <p:nvSpPr>
          <p:cNvPr id="24581" name="Slide Number Placeholder 4">
            <a:extLst>
              <a:ext uri="{FF2B5EF4-FFF2-40B4-BE49-F238E27FC236}">
                <a16:creationId xmlns:a16="http://schemas.microsoft.com/office/drawing/2014/main" id="{C9F2CBB5-6CCC-441E-B0D4-6DD0D70561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B2010915-7E46-4971-B435-3C6A73BE66D4}" type="slidenum">
              <a:rPr lang="en-ZA" altLang="en-US" sz="1100" smtClean="0"/>
              <a:pPr>
                <a:spcBef>
                  <a:spcPct val="0"/>
                </a:spcBef>
              </a:pPr>
              <a:t>8</a:t>
            </a:fld>
            <a:endParaRPr lang="en-ZA" altLang="en-US" sz="1100"/>
          </a:p>
        </p:txBody>
      </p:sp>
    </p:spTree>
    <p:extLst>
      <p:ext uri="{BB962C8B-B14F-4D97-AF65-F5344CB8AC3E}">
        <p14:creationId xmlns:p14="http://schemas.microsoft.com/office/powerpoint/2010/main" val="11343228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>
            <a:extLst>
              <a:ext uri="{FF2B5EF4-FFF2-40B4-BE49-F238E27FC236}">
                <a16:creationId xmlns:a16="http://schemas.microsoft.com/office/drawing/2014/main" id="{90D9DC69-9C08-4C07-B616-14605387271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>
            <a:extLst>
              <a:ext uri="{FF2B5EF4-FFF2-40B4-BE49-F238E27FC236}">
                <a16:creationId xmlns:a16="http://schemas.microsoft.com/office/drawing/2014/main" id="{5A35A395-F313-4254-8501-609781A4D6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  <p:sp>
        <p:nvSpPr>
          <p:cNvPr id="24580" name="Date Placeholder 3">
            <a:extLst>
              <a:ext uri="{FF2B5EF4-FFF2-40B4-BE49-F238E27FC236}">
                <a16:creationId xmlns:a16="http://schemas.microsoft.com/office/drawing/2014/main" id="{A5089CDF-0C48-407C-B41A-3701029D7427}"/>
              </a:ext>
            </a:extLst>
          </p:cNvPr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90449AE0-76E1-4CD8-8D22-F5AFCE827B47}" type="datetime1">
              <a:rPr lang="en-US" altLang="en-US" sz="1100" smtClean="0"/>
              <a:pPr>
                <a:spcBef>
                  <a:spcPct val="0"/>
                </a:spcBef>
              </a:pPr>
              <a:t>4/30/2019</a:t>
            </a:fld>
            <a:endParaRPr lang="en-ZA" altLang="en-US" sz="1100"/>
          </a:p>
        </p:txBody>
      </p:sp>
      <p:sp>
        <p:nvSpPr>
          <p:cNvPr id="24581" name="Slide Number Placeholder 4">
            <a:extLst>
              <a:ext uri="{FF2B5EF4-FFF2-40B4-BE49-F238E27FC236}">
                <a16:creationId xmlns:a16="http://schemas.microsoft.com/office/drawing/2014/main" id="{C9F2CBB5-6CCC-441E-B0D4-6DD0D70561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B2010915-7E46-4971-B435-3C6A73BE66D4}" type="slidenum">
              <a:rPr lang="en-ZA" altLang="en-US" sz="1100" smtClean="0"/>
              <a:pPr>
                <a:spcBef>
                  <a:spcPct val="0"/>
                </a:spcBef>
              </a:pPr>
              <a:t>9</a:t>
            </a:fld>
            <a:endParaRPr lang="en-ZA" altLang="en-US" sz="1100"/>
          </a:p>
        </p:txBody>
      </p:sp>
    </p:spTree>
    <p:extLst>
      <p:ext uri="{BB962C8B-B14F-4D97-AF65-F5344CB8AC3E}">
        <p14:creationId xmlns:p14="http://schemas.microsoft.com/office/powerpoint/2010/main" val="37146382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>
            <a:extLst>
              <a:ext uri="{FF2B5EF4-FFF2-40B4-BE49-F238E27FC236}">
                <a16:creationId xmlns:a16="http://schemas.microsoft.com/office/drawing/2014/main" id="{90D9DC69-9C08-4C07-B616-14605387271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es Placeholder 2">
            <a:extLst>
              <a:ext uri="{FF2B5EF4-FFF2-40B4-BE49-F238E27FC236}">
                <a16:creationId xmlns:a16="http://schemas.microsoft.com/office/drawing/2014/main" id="{5A35A395-F313-4254-8501-609781A4D6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/>
          </a:p>
        </p:txBody>
      </p:sp>
      <p:sp>
        <p:nvSpPr>
          <p:cNvPr id="24580" name="Date Placeholder 3">
            <a:extLst>
              <a:ext uri="{FF2B5EF4-FFF2-40B4-BE49-F238E27FC236}">
                <a16:creationId xmlns:a16="http://schemas.microsoft.com/office/drawing/2014/main" id="{A5089CDF-0C48-407C-B41A-3701029D7427}"/>
              </a:ext>
            </a:extLst>
          </p:cNvPr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90449AE0-76E1-4CD8-8D22-F5AFCE827B47}" type="datetime1">
              <a:rPr lang="en-US" altLang="en-US" sz="1100" smtClean="0"/>
              <a:pPr>
                <a:spcBef>
                  <a:spcPct val="0"/>
                </a:spcBef>
              </a:pPr>
              <a:t>4/30/2019</a:t>
            </a:fld>
            <a:endParaRPr lang="en-ZA" altLang="en-US" sz="1100"/>
          </a:p>
        </p:txBody>
      </p:sp>
      <p:sp>
        <p:nvSpPr>
          <p:cNvPr id="24581" name="Slide Number Placeholder 4">
            <a:extLst>
              <a:ext uri="{FF2B5EF4-FFF2-40B4-BE49-F238E27FC236}">
                <a16:creationId xmlns:a16="http://schemas.microsoft.com/office/drawing/2014/main" id="{C9F2CBB5-6CCC-441E-B0D4-6DD0D70561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B2010915-7E46-4971-B435-3C6A73BE66D4}" type="slidenum">
              <a:rPr lang="en-ZA" altLang="en-US" sz="1100" smtClean="0"/>
              <a:pPr>
                <a:spcBef>
                  <a:spcPct val="0"/>
                </a:spcBef>
              </a:pPr>
              <a:t>10</a:t>
            </a:fld>
            <a:endParaRPr lang="en-ZA" altLang="en-US" sz="1100"/>
          </a:p>
        </p:txBody>
      </p:sp>
    </p:spTree>
    <p:extLst>
      <p:ext uri="{BB962C8B-B14F-4D97-AF65-F5344CB8AC3E}">
        <p14:creationId xmlns:p14="http://schemas.microsoft.com/office/powerpoint/2010/main" val="19371264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E99D673-FC2A-460E-ADF8-79C7DEC1B312}"/>
              </a:ext>
            </a:extLst>
          </p:cNvPr>
          <p:cNvSpPr/>
          <p:nvPr userDrawn="1"/>
        </p:nvSpPr>
        <p:spPr>
          <a:xfrm>
            <a:off x="4718050" y="6407150"/>
            <a:ext cx="309563" cy="214313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fld id="{FA247153-AA00-459D-A5F1-33B499BDDB2B}" type="slidenum">
              <a:rPr lang="en-GB" altLang="en-US" sz="800" smtClean="0"/>
              <a:pPr eaLnBrk="1" hangingPunct="1">
                <a:defRPr/>
              </a:pPr>
              <a:t>‹#›</a:t>
            </a:fld>
            <a:endParaRPr lang="en-US" altLang="en-US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77278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82875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vertical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35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EF4A1C4-200B-41BB-A782-06A6AE2A9130}" type="slidenum">
              <a:rPr kumimoji="0" lang="en-GB" sz="798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l" defTabSz="91357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2396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80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83154" y="1051020"/>
            <a:ext cx="4526280" cy="5040000"/>
          </a:xfrm>
          <a:prstGeom prst="rect">
            <a:avLst/>
          </a:prstGeom>
        </p:spPr>
        <p:txBody>
          <a:bodyPr/>
          <a:lstStyle>
            <a:lvl1pPr>
              <a:defRPr sz="1796">
                <a:solidFill>
                  <a:srgbClr val="000000"/>
                </a:solidFill>
              </a:defRPr>
            </a:lvl1pPr>
            <a:lvl2pPr>
              <a:defRPr sz="1398"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1"/>
          </p:nvPr>
        </p:nvSpPr>
        <p:spPr>
          <a:xfrm>
            <a:off x="5000870" y="1051020"/>
            <a:ext cx="4526280" cy="5040000"/>
          </a:xfrm>
          <a:prstGeom prst="rect">
            <a:avLst/>
          </a:prstGeom>
        </p:spPr>
        <p:txBody>
          <a:bodyPr/>
          <a:lstStyle>
            <a:lvl1pPr>
              <a:defRPr sz="1796">
                <a:solidFill>
                  <a:srgbClr val="000000"/>
                </a:solidFill>
              </a:defRPr>
            </a:lvl1pPr>
            <a:lvl2pPr>
              <a:defRPr sz="1398"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159892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EF4A1C4-200B-41BB-A782-06A6AE2A9130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8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83155" y="1056905"/>
            <a:ext cx="9144000" cy="5034109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rgbClr val="000000"/>
                </a:solidFill>
              </a:defRPr>
            </a:lvl1pPr>
            <a:lvl2pPr>
              <a:defRPr sz="1400"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973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A1699E7-A8AF-448D-AEFE-253D780B2B37}"/>
              </a:ext>
            </a:extLst>
          </p:cNvPr>
          <p:cNvSpPr/>
          <p:nvPr userDrawn="1"/>
        </p:nvSpPr>
        <p:spPr>
          <a:xfrm>
            <a:off x="4718050" y="6407150"/>
            <a:ext cx="309563" cy="214313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fld id="{692B62BD-9F5D-4757-989B-EC48D520F923}" type="slidenum">
              <a:rPr lang="en-GB" altLang="en-US" sz="800" smtClean="0"/>
              <a:pPr eaLnBrk="1" hangingPunct="1">
                <a:defRPr/>
              </a:pPr>
              <a:t>‹#›</a:t>
            </a:fld>
            <a:endParaRPr lang="en-US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83155" y="1056905"/>
            <a:ext cx="9144000" cy="5034109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rgbClr val="000000"/>
                </a:solidFill>
              </a:defRPr>
            </a:lvl1pPr>
            <a:lvl2pPr>
              <a:defRPr sz="1400"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737739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vertical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C773C0D-9968-4E89-BCA3-667DE3E1AF35}"/>
              </a:ext>
            </a:extLst>
          </p:cNvPr>
          <p:cNvSpPr/>
          <p:nvPr userDrawn="1"/>
        </p:nvSpPr>
        <p:spPr>
          <a:xfrm>
            <a:off x="4718050" y="6407150"/>
            <a:ext cx="309563" cy="214313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fld id="{41E3FA4D-B2A1-4635-9DEE-5A023E17237D}" type="slidenum">
              <a:rPr lang="en-GB" altLang="en-US" sz="800" smtClean="0"/>
              <a:pPr eaLnBrk="1" hangingPunct="1">
                <a:defRPr/>
              </a:pPr>
              <a:t>‹#›</a:t>
            </a:fld>
            <a:endParaRPr lang="en-US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83154" y="1051014"/>
            <a:ext cx="4526280" cy="504000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rgbClr val="000000"/>
                </a:solidFill>
              </a:defRPr>
            </a:lvl1pPr>
            <a:lvl2pPr>
              <a:defRPr sz="1400"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1"/>
          </p:nvPr>
        </p:nvSpPr>
        <p:spPr>
          <a:xfrm>
            <a:off x="5000870" y="1051014"/>
            <a:ext cx="4526280" cy="504000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rgbClr val="000000"/>
                </a:solidFill>
              </a:defRPr>
            </a:lvl1pPr>
            <a:lvl2pPr>
              <a:defRPr sz="1400"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55445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220BFFA-F9B5-4ACB-B6AB-EE6D39CE6E4C}"/>
              </a:ext>
            </a:extLst>
          </p:cNvPr>
          <p:cNvSpPr/>
          <p:nvPr userDrawn="1"/>
        </p:nvSpPr>
        <p:spPr>
          <a:xfrm>
            <a:off x="4718050" y="6407150"/>
            <a:ext cx="309563" cy="214313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fld id="{46E3FCB5-05FA-4EDE-8766-4EE65CF84A60}" type="slidenum">
              <a:rPr lang="en-GB" altLang="en-US" sz="800" smtClean="0"/>
              <a:pPr eaLnBrk="1" hangingPunct="1">
                <a:defRPr/>
              </a:pPr>
              <a:t>‹#›</a:t>
            </a:fld>
            <a:endParaRPr lang="en-US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83154" y="1464183"/>
            <a:ext cx="4526280" cy="46502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rgbClr val="000000"/>
                </a:solidFill>
              </a:defRPr>
            </a:lvl1pPr>
            <a:lvl2pPr>
              <a:defRPr sz="1400"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1"/>
          </p:nvPr>
        </p:nvSpPr>
        <p:spPr>
          <a:xfrm>
            <a:off x="5000870" y="1464128"/>
            <a:ext cx="4526280" cy="46502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rgbClr val="000000"/>
                </a:solidFill>
              </a:defRPr>
            </a:lvl1pPr>
            <a:lvl2pPr>
              <a:defRPr sz="1400"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"/>
          </p:nvPr>
        </p:nvSpPr>
        <p:spPr>
          <a:xfrm>
            <a:off x="383153" y="1051012"/>
            <a:ext cx="4526280" cy="36576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0"/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2"/>
          </p:nvPr>
        </p:nvSpPr>
        <p:spPr>
          <a:xfrm>
            <a:off x="5000869" y="1051012"/>
            <a:ext cx="4526280" cy="36576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0"/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18566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tical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28F6E22-9117-4793-8C71-B4E3D88DC223}"/>
              </a:ext>
            </a:extLst>
          </p:cNvPr>
          <p:cNvSpPr/>
          <p:nvPr userDrawn="1"/>
        </p:nvSpPr>
        <p:spPr>
          <a:xfrm>
            <a:off x="4718050" y="6407150"/>
            <a:ext cx="309563" cy="214313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fld id="{02074BB8-9453-4A46-8277-14194879852C}" type="slidenum">
              <a:rPr lang="en-GB" altLang="en-US" sz="800" smtClean="0"/>
              <a:pPr eaLnBrk="1" hangingPunct="1">
                <a:defRPr/>
              </a:pPr>
              <a:t>‹#›</a:t>
            </a:fld>
            <a:endParaRPr lang="en-US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83150" y="1463572"/>
            <a:ext cx="9144000" cy="208547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rgbClr val="000000"/>
                </a:solidFill>
              </a:defRPr>
            </a:lvl1pPr>
            <a:lvl2pPr>
              <a:defRPr sz="1400"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1"/>
          </p:nvPr>
        </p:nvSpPr>
        <p:spPr>
          <a:xfrm>
            <a:off x="383150" y="4077730"/>
            <a:ext cx="9144000" cy="208547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rgbClr val="000000"/>
                </a:solidFill>
              </a:defRPr>
            </a:lvl1pPr>
            <a:lvl2pPr>
              <a:defRPr sz="1400"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"/>
          </p:nvPr>
        </p:nvSpPr>
        <p:spPr>
          <a:xfrm>
            <a:off x="383152" y="1051014"/>
            <a:ext cx="9144000" cy="36957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0"/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2"/>
          </p:nvPr>
        </p:nvSpPr>
        <p:spPr>
          <a:xfrm>
            <a:off x="383152" y="3671885"/>
            <a:ext cx="9144000" cy="36957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0"/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302446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horizontal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30787B7-32D2-4A5A-A45F-5A63F7C40EA5}"/>
              </a:ext>
            </a:extLst>
          </p:cNvPr>
          <p:cNvSpPr/>
          <p:nvPr userDrawn="1"/>
        </p:nvSpPr>
        <p:spPr>
          <a:xfrm>
            <a:off x="4718050" y="6407150"/>
            <a:ext cx="309563" cy="214313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fld id="{D40B8DFE-F769-4274-B495-9CE49C120253}" type="slidenum">
              <a:rPr lang="en-GB" altLang="en-US" sz="800" smtClean="0"/>
              <a:pPr eaLnBrk="1" hangingPunct="1">
                <a:defRPr/>
              </a:pPr>
              <a:t>‹#›</a:t>
            </a:fld>
            <a:endParaRPr lang="en-US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83155" y="3636699"/>
            <a:ext cx="9144000" cy="2496952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rgbClr val="000000"/>
                </a:solidFill>
              </a:defRPr>
            </a:lvl1pPr>
            <a:lvl2pPr>
              <a:defRPr sz="1400"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1"/>
          </p:nvPr>
        </p:nvSpPr>
        <p:spPr>
          <a:xfrm>
            <a:off x="383156" y="1056905"/>
            <a:ext cx="9144000" cy="2485742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rgbClr val="000000"/>
                </a:solidFill>
              </a:defRPr>
            </a:lvl1pPr>
            <a:lvl2pPr>
              <a:defRPr sz="1400"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08054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066838E3-1DB1-4C7F-84D7-E2FC7C983332}"/>
              </a:ext>
            </a:extLst>
          </p:cNvPr>
          <p:cNvSpPr/>
          <p:nvPr userDrawn="1"/>
        </p:nvSpPr>
        <p:spPr>
          <a:xfrm>
            <a:off x="4718050" y="6407150"/>
            <a:ext cx="309563" cy="214313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fld id="{69DC58F8-30CE-40B3-A663-21B4F04F61B7}" type="slidenum">
              <a:rPr lang="en-GB" altLang="en-US" sz="800" smtClean="0"/>
              <a:pPr eaLnBrk="1" hangingPunct="1">
                <a:defRPr/>
              </a:pPr>
              <a:t>‹#›</a:t>
            </a:fld>
            <a:endParaRPr lang="en-US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685799" y="1396252"/>
            <a:ext cx="4498366" cy="1998315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400">
                <a:solidFill>
                  <a:srgbClr val="000000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400">
                <a:solidFill>
                  <a:srgbClr val="000000"/>
                </a:solidFill>
              </a:defRPr>
            </a:lvl2pPr>
            <a:lvl3pPr>
              <a:defRPr sz="1400">
                <a:solidFill>
                  <a:srgbClr val="000000"/>
                </a:solidFill>
              </a:defRPr>
            </a:lvl3pPr>
            <a:lvl4pPr>
              <a:defRPr sz="1400">
                <a:solidFill>
                  <a:srgbClr val="000000"/>
                </a:solidFill>
              </a:defRPr>
            </a:lvl4pPr>
            <a:lvl5pPr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1"/>
          </p:nvPr>
        </p:nvSpPr>
        <p:spPr>
          <a:xfrm>
            <a:off x="685799" y="1051014"/>
            <a:ext cx="4498366" cy="2743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0"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2"/>
          </p:nvPr>
        </p:nvSpPr>
        <p:spPr>
          <a:xfrm>
            <a:off x="685801" y="3511751"/>
            <a:ext cx="8851497" cy="2743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0"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>
            <a:extLst/>
          </p:cNvPr>
          <p:cNvSpPr>
            <a:spLocks noGrp="1"/>
          </p:cNvSpPr>
          <p:nvPr>
            <p:ph sz="quarter" idx="13"/>
          </p:nvPr>
        </p:nvSpPr>
        <p:spPr>
          <a:xfrm>
            <a:off x="5310636" y="1396252"/>
            <a:ext cx="4226656" cy="1998315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400">
                <a:solidFill>
                  <a:srgbClr val="000000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400">
                <a:solidFill>
                  <a:srgbClr val="000000"/>
                </a:solidFill>
              </a:defRPr>
            </a:lvl2pPr>
            <a:lvl3pPr marL="715963" indent="0">
              <a:buNone/>
              <a:defRPr sz="1400">
                <a:solidFill>
                  <a:srgbClr val="000000"/>
                </a:solidFill>
              </a:defRPr>
            </a:lvl3pPr>
            <a:lvl4pPr>
              <a:defRPr sz="1400">
                <a:solidFill>
                  <a:srgbClr val="000000"/>
                </a:solidFill>
              </a:defRPr>
            </a:lvl4pPr>
            <a:lvl5pPr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2">
            <a:extLst/>
          </p:cNvPr>
          <p:cNvSpPr>
            <a:spLocks noGrp="1"/>
          </p:cNvSpPr>
          <p:nvPr>
            <p:ph type="body" idx="14"/>
          </p:nvPr>
        </p:nvSpPr>
        <p:spPr>
          <a:xfrm>
            <a:off x="5310636" y="1051014"/>
            <a:ext cx="4226656" cy="2743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0"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">
            <a:extLst/>
          </p:cNvPr>
          <p:cNvSpPr>
            <a:spLocks noGrp="1"/>
          </p:cNvSpPr>
          <p:nvPr>
            <p:ph type="body" idx="15"/>
          </p:nvPr>
        </p:nvSpPr>
        <p:spPr>
          <a:xfrm>
            <a:off x="685799" y="5167218"/>
            <a:ext cx="8851497" cy="2743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0"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/>
          </p:cNvPr>
          <p:cNvSpPr>
            <a:spLocks noGrp="1"/>
          </p:cNvSpPr>
          <p:nvPr>
            <p:ph sz="quarter" idx="17"/>
          </p:nvPr>
        </p:nvSpPr>
        <p:spPr>
          <a:xfrm>
            <a:off x="685800" y="3840370"/>
            <a:ext cx="8851493" cy="121282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400">
                <a:solidFill>
                  <a:srgbClr val="000000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400">
                <a:solidFill>
                  <a:srgbClr val="000000"/>
                </a:solidFill>
              </a:defRPr>
            </a:lvl2pPr>
            <a:lvl3pPr>
              <a:spcBef>
                <a:spcPts val="0"/>
              </a:spcBef>
              <a:spcAft>
                <a:spcPts val="0"/>
              </a:spcAft>
              <a:defRPr sz="1400">
                <a:solidFill>
                  <a:srgbClr val="000000"/>
                </a:solidFill>
              </a:defRPr>
            </a:lvl3pPr>
            <a:lvl4pPr>
              <a:defRPr sz="1400">
                <a:solidFill>
                  <a:srgbClr val="000000"/>
                </a:solidFill>
              </a:defRPr>
            </a:lvl4pPr>
            <a:lvl5pPr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ext Placeholder 6">
            <a:extLst/>
          </p:cNvPr>
          <p:cNvSpPr>
            <a:spLocks noGrp="1"/>
          </p:cNvSpPr>
          <p:nvPr>
            <p:ph type="body" sz="quarter" idx="19"/>
          </p:nvPr>
        </p:nvSpPr>
        <p:spPr>
          <a:xfrm>
            <a:off x="685799" y="5495837"/>
            <a:ext cx="8851493" cy="658558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2">
            <a:extLst/>
          </p:cNvPr>
          <p:cNvSpPr>
            <a:spLocks noGrp="1"/>
          </p:cNvSpPr>
          <p:nvPr>
            <p:ph type="body" idx="20"/>
          </p:nvPr>
        </p:nvSpPr>
        <p:spPr>
          <a:xfrm rot="16200000">
            <a:off x="-797580" y="4738902"/>
            <a:ext cx="2556666" cy="2743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0"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>
            <a:extLst/>
          </p:cNvPr>
          <p:cNvSpPr>
            <a:spLocks noGrp="1"/>
          </p:cNvSpPr>
          <p:nvPr>
            <p:ph type="body" idx="21"/>
          </p:nvPr>
        </p:nvSpPr>
        <p:spPr>
          <a:xfrm rot="16200000">
            <a:off x="-758276" y="2148294"/>
            <a:ext cx="2468880" cy="2743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0"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19070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94954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boxes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EF4A1C4-200B-41BB-A782-06A6AE2A9130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8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83149" y="1463572"/>
            <a:ext cx="4480560" cy="4699628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rgbClr val="000000"/>
                </a:solidFill>
              </a:defRPr>
            </a:lvl1pPr>
            <a:lvl2pPr>
              <a:defRPr sz="1400"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"/>
          </p:nvPr>
        </p:nvSpPr>
        <p:spPr>
          <a:xfrm>
            <a:off x="383151" y="1051014"/>
            <a:ext cx="4480560" cy="36957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0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C41BEB61-273A-4BCB-8107-01C17A577F2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027008" y="4078286"/>
            <a:ext cx="4480560" cy="2084914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rgbClr val="000000"/>
                </a:solidFill>
              </a:defRPr>
            </a:lvl1pPr>
            <a:lvl2pPr>
              <a:defRPr sz="1400"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63DC4434-94E2-4D9E-9A63-CD84EAFA457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27008" y="1464128"/>
            <a:ext cx="4480560" cy="2084914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rgbClr val="000000"/>
                </a:solidFill>
              </a:defRPr>
            </a:lvl1pPr>
            <a:lvl2pPr>
              <a:defRPr sz="1400"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AB14690-DB96-48C4-90A4-A3BD6BD8A2BB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5027008" y="3664127"/>
            <a:ext cx="4480560" cy="36957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0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81EB6DEF-C557-4AFD-8D34-6CED1934EE00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5042217" y="1051014"/>
            <a:ext cx="4480560" cy="36957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0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22635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9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0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716B0B6-832C-4DC2-988F-650A1B7D4569}"/>
              </a:ext>
            </a:extLst>
          </p:cNvPr>
          <p:cNvSpPr/>
          <p:nvPr/>
        </p:nvSpPr>
        <p:spPr>
          <a:xfrm>
            <a:off x="277813" y="6338888"/>
            <a:ext cx="9364662" cy="44450"/>
          </a:xfrm>
          <a:prstGeom prst="rect">
            <a:avLst/>
          </a:prstGeom>
          <a:solidFill>
            <a:srgbClr val="617D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87F0D4B-1B36-42DC-84CB-0AAFF996B219}"/>
              </a:ext>
            </a:extLst>
          </p:cNvPr>
          <p:cNvSpPr/>
          <p:nvPr/>
        </p:nvSpPr>
        <p:spPr>
          <a:xfrm>
            <a:off x="277813" y="177800"/>
            <a:ext cx="9364662" cy="66833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US" altLang="en-US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pic>
        <p:nvPicPr>
          <p:cNvPr id="1029" name="Picture 7">
            <a:extLst>
              <a:ext uri="{FF2B5EF4-FFF2-40B4-BE49-F238E27FC236}">
                <a16:creationId xmlns:a16="http://schemas.microsoft.com/office/drawing/2014/main" id="{40D69188-720A-4490-B2CE-54BFC9BE7D7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8263" y="177800"/>
            <a:ext cx="684212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 userDrawn="1"/>
        </p:nvSpPr>
        <p:spPr>
          <a:xfrm rot="20334414">
            <a:off x="366657" y="2650919"/>
            <a:ext cx="9301758" cy="1200329"/>
          </a:xfrm>
          <a:prstGeom prst="rect">
            <a:avLst/>
          </a:prstGeom>
          <a:noFill/>
          <a:effectLst>
            <a:reflection endPos="0" dist="50800" dir="5400000" sy="-100000" algn="bl" rotWithShape="0"/>
          </a:effectLst>
        </p:spPr>
        <p:txBody>
          <a:bodyPr wrap="square" rtlCol="0">
            <a:spAutoFit/>
          </a:bodyPr>
          <a:lstStyle/>
          <a:p>
            <a:r>
              <a:rPr lang="en-US" sz="7200" dirty="0">
                <a:solidFill>
                  <a:srgbClr val="BFBFBF"/>
                </a:solidFill>
                <a:effectLst>
                  <a:reflection stA="0" endPos="0" dist="50800" dir="5400000" sy="-100000" algn="bl" rotWithShape="0"/>
                </a:effectLst>
              </a:rPr>
              <a:t>DISCUSSION</a:t>
            </a:r>
            <a:r>
              <a:rPr lang="en-US" sz="7200" baseline="0" dirty="0">
                <a:solidFill>
                  <a:srgbClr val="BFBFBF"/>
                </a:solidFill>
                <a:effectLst>
                  <a:reflection stA="0" endPos="0" dist="50800" dir="5400000" sy="-100000" algn="bl" rotWithShape="0"/>
                </a:effectLst>
              </a:rPr>
              <a:t> DRAFT</a:t>
            </a:r>
            <a:endParaRPr lang="en-US" sz="7200" dirty="0">
              <a:solidFill>
                <a:srgbClr val="BFBFBF"/>
              </a:solidFill>
              <a:effectLst>
                <a:reflection stA="0" endPos="0" dist="50800" dir="5400000" sy="-100000" algn="bl" rotWithShape="0"/>
              </a:effectLst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24" r:id="rId1"/>
    <p:sldLayoutId id="2147484125" r:id="rId2"/>
    <p:sldLayoutId id="2147484126" r:id="rId3"/>
    <p:sldLayoutId id="2147484127" r:id="rId4"/>
    <p:sldLayoutId id="2147484128" r:id="rId5"/>
    <p:sldLayoutId id="2147484129" r:id="rId6"/>
    <p:sldLayoutId id="2147484130" r:id="rId7"/>
    <p:sldLayoutId id="2147484121" r:id="rId8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9pPr>
    </p:titleStyle>
    <p:bodyStyle>
      <a:lvl1pPr marL="179388" indent="-179388" algn="l" rtl="0" eaLnBrk="0" fontAlgn="base" hangingPunct="0">
        <a:spcBef>
          <a:spcPts val="500"/>
        </a:spcBef>
        <a:spcAft>
          <a:spcPts val="500"/>
        </a:spcAft>
        <a:buClr>
          <a:srgbClr val="969696"/>
        </a:buClr>
        <a:buSzPct val="80000"/>
        <a:buFont typeface="Wingdings" panose="05000000000000000000" pitchFamily="2" charset="2"/>
        <a:buChar char="n"/>
        <a:defRPr sz="1200">
          <a:solidFill>
            <a:schemeClr val="tx1"/>
          </a:solidFill>
          <a:latin typeface="Calibri" panose="020F0502020204030204" pitchFamily="34" charset="0"/>
          <a:ea typeface="Calibri" pitchFamily="34" charset="0"/>
          <a:cs typeface="Calibri" panose="020F0502020204030204" pitchFamily="34" charset="0"/>
        </a:defRPr>
      </a:lvl1pPr>
      <a:lvl2pPr marL="536575" indent="-177800" algn="l" rtl="0" eaLnBrk="0" fontAlgn="base" hangingPunct="0">
        <a:spcBef>
          <a:spcPts val="500"/>
        </a:spcBef>
        <a:spcAft>
          <a:spcPts val="500"/>
        </a:spcAft>
        <a:buClr>
          <a:srgbClr val="969696"/>
        </a:buClr>
        <a:buSzPct val="120000"/>
        <a:buFont typeface="Arial" panose="020B0604020202020204" pitchFamily="34" charset="0"/>
        <a:buChar char="–"/>
        <a:defRPr sz="1200">
          <a:solidFill>
            <a:schemeClr val="tx1"/>
          </a:solidFill>
          <a:latin typeface="Calibri" panose="020F0502020204030204" pitchFamily="34" charset="0"/>
          <a:ea typeface="Calibri" pitchFamily="34" charset="0"/>
          <a:cs typeface="Calibri" panose="020F0502020204030204" pitchFamily="34" charset="0"/>
        </a:defRPr>
      </a:lvl2pPr>
      <a:lvl3pPr marL="893763" indent="-177800" algn="l" rtl="0" eaLnBrk="0" fontAlgn="base" hangingPunct="0">
        <a:spcBef>
          <a:spcPts val="500"/>
        </a:spcBef>
        <a:spcAft>
          <a:spcPts val="500"/>
        </a:spcAft>
        <a:buClr>
          <a:srgbClr val="969696"/>
        </a:buClr>
        <a:buSzPct val="80000"/>
        <a:buFont typeface="Arial" panose="020B0604020202020204" pitchFamily="34" charset="0"/>
        <a:buChar char="►"/>
        <a:defRPr sz="1200">
          <a:solidFill>
            <a:schemeClr val="tx1"/>
          </a:solidFill>
          <a:latin typeface="Calibri" panose="020F0502020204030204" pitchFamily="34" charset="0"/>
          <a:ea typeface="Calibri" pitchFamily="34" charset="0"/>
          <a:cs typeface="Calibri" panose="020F0502020204030204" pitchFamily="34" charset="0"/>
        </a:defRPr>
      </a:lvl3pPr>
      <a:lvl4pPr marL="1250950" indent="-177800" algn="l" rtl="0" eaLnBrk="0" fontAlgn="base" hangingPunct="0">
        <a:spcBef>
          <a:spcPts val="500"/>
        </a:spcBef>
        <a:spcAft>
          <a:spcPts val="500"/>
        </a:spcAft>
        <a:buClr>
          <a:srgbClr val="969696"/>
        </a:buClr>
        <a:buSzPct val="80000"/>
        <a:buFont typeface="Wingdings" panose="05000000000000000000" pitchFamily="2" charset="2"/>
        <a:buChar char="n"/>
        <a:defRPr sz="1200">
          <a:solidFill>
            <a:schemeClr val="tx1"/>
          </a:solidFill>
          <a:latin typeface="Calibri" panose="020F0502020204030204" pitchFamily="34" charset="0"/>
          <a:ea typeface="Calibri" pitchFamily="34" charset="0"/>
          <a:cs typeface="Calibri" panose="020F0502020204030204" pitchFamily="34" charset="0"/>
        </a:defRPr>
      </a:lvl4pPr>
      <a:lvl5pPr marL="1619250" indent="-188913" algn="l" rtl="0" eaLnBrk="0" fontAlgn="base" hangingPunct="0">
        <a:spcBef>
          <a:spcPts val="500"/>
        </a:spcBef>
        <a:spcAft>
          <a:spcPts val="500"/>
        </a:spcAft>
        <a:buClr>
          <a:srgbClr val="969696"/>
        </a:buClr>
        <a:buSzPct val="120000"/>
        <a:buFont typeface="Arial" panose="020B0604020202020204" pitchFamily="34" charset="0"/>
        <a:buChar char="–"/>
        <a:defRPr sz="1200">
          <a:solidFill>
            <a:schemeClr val="tx1"/>
          </a:solidFill>
          <a:latin typeface="Calibri" panose="020F0502020204030204" pitchFamily="34" charset="0"/>
          <a:ea typeface="Calibri" pitchFamily="34" charset="0"/>
          <a:cs typeface="Calibri" panose="020F0502020204030204" pitchFamily="34" charset="0"/>
        </a:defRPr>
      </a:lvl5pPr>
      <a:lvl6pPr marL="20764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6pPr>
      <a:lvl7pPr marL="25336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7pPr>
      <a:lvl8pPr marL="29908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8pPr>
      <a:lvl9pPr marL="34480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277819" y="6332931"/>
            <a:ext cx="9364662" cy="45719"/>
          </a:xfrm>
          <a:prstGeom prst="rect">
            <a:avLst/>
          </a:prstGeom>
          <a:solidFill>
            <a:srgbClr val="617D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sz="180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77819" y="177429"/>
            <a:ext cx="9364662" cy="66897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Rectangle 105"/>
          <p:cNvSpPr txBox="1">
            <a:spLocks/>
          </p:cNvSpPr>
          <p:nvPr/>
        </p:nvSpPr>
        <p:spPr>
          <a:xfrm>
            <a:off x="277819" y="993086"/>
            <a:ext cx="9346514" cy="522025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>
            <a:outerShdw blurRad="63500" dist="12700" dir="5400000" algn="t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txBody>
          <a:bodyPr wrap="none" anchor="ctr">
            <a:noAutofit/>
          </a:bodyPr>
          <a:lstStyle>
            <a:defPPr>
              <a:defRPr lang="en-US"/>
            </a:defPPr>
            <a:lvl1pPr>
              <a:defRPr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 lvl="1" fontAlgn="auto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prstClr val="black"/>
              </a:solidFill>
              <a:latin typeface="Arial"/>
              <a:cs typeface="+mn-cs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8510" y="177420"/>
            <a:ext cx="683985" cy="67108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49463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2" r:id="rId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9pPr>
    </p:titleStyle>
    <p:bodyStyle>
      <a:lvl1pPr marL="179388" indent="-179388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80000"/>
        <a:buFont typeface="Wingdings" pitchFamily="2" charset="2"/>
        <a:buChar char="n"/>
        <a:defRPr sz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536575" indent="-177800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2pPr>
      <a:lvl3pPr marL="893763" indent="-177800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80000"/>
        <a:buFont typeface="Arial" charset="0"/>
        <a:buChar char="►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3pPr>
      <a:lvl4pPr marL="1250950" indent="-177800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80000"/>
        <a:buFont typeface="Wingdings" pitchFamily="2" charset="2"/>
        <a:buChar char="n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4pPr>
      <a:lvl5pPr marL="1619250" indent="-188913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5pPr>
      <a:lvl6pPr marL="20764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6pPr>
      <a:lvl7pPr marL="25336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7pPr>
      <a:lvl8pPr marL="29908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8pPr>
      <a:lvl9pPr marL="34480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277819" y="6333247"/>
            <a:ext cx="9364662" cy="45719"/>
          </a:xfrm>
          <a:prstGeom prst="rect">
            <a:avLst/>
          </a:prstGeom>
          <a:solidFill>
            <a:srgbClr val="617D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2396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77819" y="177432"/>
            <a:ext cx="9364662" cy="66897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396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Rectangle 105"/>
          <p:cNvSpPr txBox="1">
            <a:spLocks/>
          </p:cNvSpPr>
          <p:nvPr/>
        </p:nvSpPr>
        <p:spPr>
          <a:xfrm>
            <a:off x="277819" y="993086"/>
            <a:ext cx="9346514" cy="522025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>
            <a:outerShdw blurRad="63500" dist="12700" dir="5400000" algn="t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txBody>
          <a:bodyPr wrap="none" anchor="ctr">
            <a:noAutofit/>
          </a:bodyPr>
          <a:lstStyle>
            <a:defPPr>
              <a:defRPr lang="en-US"/>
            </a:defPPr>
            <a:lvl1pPr>
              <a:defRPr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 lvl="1" fontAlgn="base">
              <a:spcBef>
                <a:spcPct val="0"/>
              </a:spcBef>
              <a:spcAft>
                <a:spcPct val="0"/>
              </a:spcAft>
            </a:pPr>
            <a:endParaRPr lang="en-US" sz="1198" dirty="0">
              <a:solidFill>
                <a:prstClr val="black"/>
              </a:solidFill>
              <a:cs typeface="Arial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9142" y="177420"/>
            <a:ext cx="683985" cy="67108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11447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4" r:id="rId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996" b="1">
          <a:solidFill>
            <a:srgbClr val="02367A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996" b="1">
          <a:solidFill>
            <a:srgbClr val="02367A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996" b="1">
          <a:solidFill>
            <a:srgbClr val="02367A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996" b="1">
          <a:solidFill>
            <a:srgbClr val="02367A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996" b="1">
          <a:solidFill>
            <a:srgbClr val="02367A"/>
          </a:solidFill>
          <a:latin typeface="Arial" charset="0"/>
        </a:defRPr>
      </a:lvl5pPr>
      <a:lvl6pPr marL="456378" algn="l" rtl="0" eaLnBrk="1" fontAlgn="base" hangingPunct="1">
        <a:spcBef>
          <a:spcPct val="0"/>
        </a:spcBef>
        <a:spcAft>
          <a:spcPct val="0"/>
        </a:spcAft>
        <a:defRPr sz="1996" b="1">
          <a:solidFill>
            <a:srgbClr val="02367A"/>
          </a:solidFill>
          <a:latin typeface="Arial" charset="0"/>
        </a:defRPr>
      </a:lvl6pPr>
      <a:lvl7pPr marL="912755" algn="l" rtl="0" eaLnBrk="1" fontAlgn="base" hangingPunct="1">
        <a:spcBef>
          <a:spcPct val="0"/>
        </a:spcBef>
        <a:spcAft>
          <a:spcPct val="0"/>
        </a:spcAft>
        <a:defRPr sz="1996" b="1">
          <a:solidFill>
            <a:srgbClr val="02367A"/>
          </a:solidFill>
          <a:latin typeface="Arial" charset="0"/>
        </a:defRPr>
      </a:lvl7pPr>
      <a:lvl8pPr marL="1369133" algn="l" rtl="0" eaLnBrk="1" fontAlgn="base" hangingPunct="1">
        <a:spcBef>
          <a:spcPct val="0"/>
        </a:spcBef>
        <a:spcAft>
          <a:spcPct val="0"/>
        </a:spcAft>
        <a:defRPr sz="1996" b="1">
          <a:solidFill>
            <a:srgbClr val="02367A"/>
          </a:solidFill>
          <a:latin typeface="Arial" charset="0"/>
        </a:defRPr>
      </a:lvl8pPr>
      <a:lvl9pPr marL="1825510" algn="l" rtl="0" eaLnBrk="1" fontAlgn="base" hangingPunct="1">
        <a:spcBef>
          <a:spcPct val="0"/>
        </a:spcBef>
        <a:spcAft>
          <a:spcPct val="0"/>
        </a:spcAft>
        <a:defRPr sz="1996" b="1">
          <a:solidFill>
            <a:srgbClr val="02367A"/>
          </a:solidFill>
          <a:latin typeface="Arial" charset="0"/>
        </a:defRPr>
      </a:lvl9pPr>
    </p:titleStyle>
    <p:bodyStyle>
      <a:lvl1pPr marL="179066" indent="-179066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80000"/>
        <a:buFont typeface="Wingdings" pitchFamily="2" charset="2"/>
        <a:buChar char="n"/>
        <a:defRPr sz="1198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535610" indent="-177480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120000"/>
        <a:buFont typeface="Arial" charset="0"/>
        <a:buChar char="–"/>
        <a:defRPr sz="1198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2pPr>
      <a:lvl3pPr marL="892155" indent="-177480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80000"/>
        <a:buFont typeface="Arial" charset="0"/>
        <a:buChar char="►"/>
        <a:defRPr sz="1198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3pPr>
      <a:lvl4pPr marL="1248699" indent="-177480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80000"/>
        <a:buFont typeface="Wingdings" pitchFamily="2" charset="2"/>
        <a:buChar char="n"/>
        <a:defRPr sz="1198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4pPr>
      <a:lvl5pPr marL="1616337" indent="-188573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120000"/>
        <a:buFont typeface="Arial" charset="0"/>
        <a:buChar char="–"/>
        <a:defRPr sz="1198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5pPr>
      <a:lvl6pPr marL="2072714" indent="-18857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198">
          <a:solidFill>
            <a:schemeClr val="tx1"/>
          </a:solidFill>
          <a:latin typeface="+mn-lt"/>
        </a:defRPr>
      </a:lvl6pPr>
      <a:lvl7pPr marL="2529092" indent="-18857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198">
          <a:solidFill>
            <a:schemeClr val="tx1"/>
          </a:solidFill>
          <a:latin typeface="+mn-lt"/>
        </a:defRPr>
      </a:lvl7pPr>
      <a:lvl8pPr marL="2985469" indent="-18857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198">
          <a:solidFill>
            <a:schemeClr val="tx1"/>
          </a:solidFill>
          <a:latin typeface="+mn-lt"/>
        </a:defRPr>
      </a:lvl8pPr>
      <a:lvl9pPr marL="3441847" indent="-18857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198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2755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1pPr>
      <a:lvl2pPr marL="456378" algn="l" defTabSz="912755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2pPr>
      <a:lvl3pPr marL="912755" algn="l" defTabSz="912755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3pPr>
      <a:lvl4pPr marL="1369133" algn="l" defTabSz="912755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4pPr>
      <a:lvl5pPr marL="1825510" algn="l" defTabSz="912755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5pPr>
      <a:lvl6pPr marL="2281887" algn="l" defTabSz="912755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6pPr>
      <a:lvl7pPr marL="2738264" algn="l" defTabSz="912755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7pPr>
      <a:lvl8pPr marL="3194642" algn="l" defTabSz="912755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8pPr>
      <a:lvl9pPr marL="3651019" algn="l" defTabSz="912755" rtl="0" eaLnBrk="1" latinLnBrk="0" hangingPunct="1">
        <a:defRPr sz="17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277819" y="6332957"/>
            <a:ext cx="9364662" cy="45719"/>
          </a:xfrm>
          <a:prstGeom prst="rect">
            <a:avLst/>
          </a:prstGeom>
          <a:solidFill>
            <a:srgbClr val="617D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77819" y="177432"/>
            <a:ext cx="9364662" cy="668975"/>
          </a:xfrm>
          <a:prstGeom prst="rect">
            <a:avLst/>
          </a:prstGeom>
          <a:solidFill>
            <a:srgbClr val="3F76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Rectangle 105"/>
          <p:cNvSpPr txBox="1">
            <a:spLocks/>
          </p:cNvSpPr>
          <p:nvPr/>
        </p:nvSpPr>
        <p:spPr>
          <a:xfrm>
            <a:off x="277819" y="993086"/>
            <a:ext cx="9346514" cy="522025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>
            <a:outerShdw blurRad="63500" dist="12700" dir="5400000" algn="t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txBody>
          <a:bodyPr wrap="none" anchor="ctr">
            <a:noAutofit/>
          </a:bodyPr>
          <a:lstStyle>
            <a:defPPr>
              <a:defRPr lang="en-US"/>
            </a:defPPr>
            <a:lvl1pPr>
              <a:defRPr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 lvl="1"/>
            <a:endParaRPr lang="en-US" sz="1200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8562" y="177420"/>
            <a:ext cx="683985" cy="67108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05434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6" r:id="rId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9pPr>
    </p:titleStyle>
    <p:bodyStyle>
      <a:lvl1pPr marL="179388" indent="-179388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80000"/>
        <a:buFont typeface="Wingdings" pitchFamily="2" charset="2"/>
        <a:buChar char="n"/>
        <a:defRPr sz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536575" indent="-177800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2pPr>
      <a:lvl3pPr marL="893763" indent="-177800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80000"/>
        <a:buFont typeface="Arial" charset="0"/>
        <a:buChar char="►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3pPr>
      <a:lvl4pPr marL="1250950" indent="-177800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80000"/>
        <a:buFont typeface="Wingdings" pitchFamily="2" charset="2"/>
        <a:buChar char="n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4pPr>
      <a:lvl5pPr marL="1619250" indent="-188913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5pPr>
      <a:lvl6pPr marL="20764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6pPr>
      <a:lvl7pPr marL="25336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7pPr>
      <a:lvl8pPr marL="29908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8pPr>
      <a:lvl9pPr marL="34480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mailto:mmzarma@gmail.com" TargetMode="External"/><Relationship Id="rId13" Type="http://schemas.openxmlformats.org/officeDocument/2006/relationships/image" Target="../media/image71.png"/><Relationship Id="rId18" Type="http://schemas.openxmlformats.org/officeDocument/2006/relationships/image" Target="../media/image31.jpeg"/><Relationship Id="rId3" Type="http://schemas.openxmlformats.org/officeDocument/2006/relationships/notesSlide" Target="../notesSlides/notesSlide8.xml"/><Relationship Id="rId7" Type="http://schemas.openxmlformats.org/officeDocument/2006/relationships/hyperlink" Target="mailto:statesco@nipc.gov.ng" TargetMode="External"/><Relationship Id="rId12" Type="http://schemas.openxmlformats.org/officeDocument/2006/relationships/image" Target="../media/image70.png"/><Relationship Id="rId17" Type="http://schemas.openxmlformats.org/officeDocument/2006/relationships/image" Target="../media/image75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74.png"/><Relationship Id="rId1" Type="http://schemas.openxmlformats.org/officeDocument/2006/relationships/tags" Target="../tags/tag9.xml"/><Relationship Id="rId6" Type="http://schemas.openxmlformats.org/officeDocument/2006/relationships/image" Target="../media/image19.png"/><Relationship Id="rId11" Type="http://schemas.openxmlformats.org/officeDocument/2006/relationships/image" Target="../media/image69.png"/><Relationship Id="rId5" Type="http://schemas.openxmlformats.org/officeDocument/2006/relationships/image" Target="../media/image18.jpeg"/><Relationship Id="rId15" Type="http://schemas.openxmlformats.org/officeDocument/2006/relationships/image" Target="../media/image73.png"/><Relationship Id="rId10" Type="http://schemas.openxmlformats.org/officeDocument/2006/relationships/image" Target="../media/image34.png"/><Relationship Id="rId4" Type="http://schemas.openxmlformats.org/officeDocument/2006/relationships/image" Target="../media/image17.png"/><Relationship Id="rId9" Type="http://schemas.openxmlformats.org/officeDocument/2006/relationships/image" Target="../media/image68.png"/><Relationship Id="rId14" Type="http://schemas.openxmlformats.org/officeDocument/2006/relationships/image" Target="../media/image7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mailto:johnetimbassey@gmail.com" TargetMode="External"/><Relationship Id="rId13" Type="http://schemas.openxmlformats.org/officeDocument/2006/relationships/image" Target="../media/image78.png"/><Relationship Id="rId18" Type="http://schemas.openxmlformats.org/officeDocument/2006/relationships/image" Target="../media/image64.png"/><Relationship Id="rId3" Type="http://schemas.openxmlformats.org/officeDocument/2006/relationships/notesSlide" Target="../notesSlides/notesSlide9.xml"/><Relationship Id="rId7" Type="http://schemas.openxmlformats.org/officeDocument/2006/relationships/hyperlink" Target="mailto:statesco@nipc.gov.ng" TargetMode="External"/><Relationship Id="rId12" Type="http://schemas.openxmlformats.org/officeDocument/2006/relationships/image" Target="../media/image77.png"/><Relationship Id="rId17" Type="http://schemas.openxmlformats.org/officeDocument/2006/relationships/image" Target="../media/image23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80.png"/><Relationship Id="rId1" Type="http://schemas.openxmlformats.org/officeDocument/2006/relationships/tags" Target="../tags/tag10.xml"/><Relationship Id="rId6" Type="http://schemas.openxmlformats.org/officeDocument/2006/relationships/image" Target="../media/image19.png"/><Relationship Id="rId11" Type="http://schemas.openxmlformats.org/officeDocument/2006/relationships/image" Target="../media/image56.png"/><Relationship Id="rId5" Type="http://schemas.openxmlformats.org/officeDocument/2006/relationships/image" Target="../media/image18.jpeg"/><Relationship Id="rId15" Type="http://schemas.openxmlformats.org/officeDocument/2006/relationships/image" Target="../media/image24.png"/><Relationship Id="rId10" Type="http://schemas.microsoft.com/office/2007/relationships/hdphoto" Target="../media/hdphoto5.wdp"/><Relationship Id="rId19" Type="http://schemas.openxmlformats.org/officeDocument/2006/relationships/image" Target="../media/image29.png"/><Relationship Id="rId4" Type="http://schemas.openxmlformats.org/officeDocument/2006/relationships/image" Target="../media/image17.png"/><Relationship Id="rId9" Type="http://schemas.openxmlformats.org/officeDocument/2006/relationships/image" Target="../media/image76.png"/><Relationship Id="rId14" Type="http://schemas.openxmlformats.org/officeDocument/2006/relationships/image" Target="../media/image79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hyperlink" Target="mailto:loomoru@gmail.com" TargetMode="External"/><Relationship Id="rId13" Type="http://schemas.openxmlformats.org/officeDocument/2006/relationships/image" Target="../media/image82.png"/><Relationship Id="rId18" Type="http://schemas.openxmlformats.org/officeDocument/2006/relationships/image" Target="../media/image84.png"/><Relationship Id="rId3" Type="http://schemas.openxmlformats.org/officeDocument/2006/relationships/notesSlide" Target="../notesSlides/notesSlide10.xml"/><Relationship Id="rId7" Type="http://schemas.openxmlformats.org/officeDocument/2006/relationships/hyperlink" Target="mailto:statesco@nipc.gov.ng" TargetMode="External"/><Relationship Id="rId12" Type="http://schemas.openxmlformats.org/officeDocument/2006/relationships/image" Target="../media/image81.png"/><Relationship Id="rId17" Type="http://schemas.openxmlformats.org/officeDocument/2006/relationships/image" Target="../media/image83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64.png"/><Relationship Id="rId1" Type="http://schemas.openxmlformats.org/officeDocument/2006/relationships/tags" Target="../tags/tag11.xml"/><Relationship Id="rId6" Type="http://schemas.openxmlformats.org/officeDocument/2006/relationships/image" Target="../media/image19.png"/><Relationship Id="rId11" Type="http://schemas.openxmlformats.org/officeDocument/2006/relationships/image" Target="../media/image56.png"/><Relationship Id="rId5" Type="http://schemas.openxmlformats.org/officeDocument/2006/relationships/image" Target="../media/image18.jpeg"/><Relationship Id="rId15" Type="http://schemas.openxmlformats.org/officeDocument/2006/relationships/image" Target="../media/image44.png"/><Relationship Id="rId10" Type="http://schemas.microsoft.com/office/2007/relationships/hdphoto" Target="../media/hdphoto5.wdp"/><Relationship Id="rId19" Type="http://schemas.openxmlformats.org/officeDocument/2006/relationships/image" Target="../media/image85.png"/><Relationship Id="rId4" Type="http://schemas.openxmlformats.org/officeDocument/2006/relationships/image" Target="../media/image17.png"/><Relationship Id="rId9" Type="http://schemas.openxmlformats.org/officeDocument/2006/relationships/image" Target="../media/image76.png"/><Relationship Id="rId14" Type="http://schemas.openxmlformats.org/officeDocument/2006/relationships/image" Target="../media/image4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mailto:statesco@nipc.gov.ng" TargetMode="External"/><Relationship Id="rId13" Type="http://schemas.openxmlformats.org/officeDocument/2006/relationships/image" Target="../media/image86.png"/><Relationship Id="rId18" Type="http://schemas.openxmlformats.org/officeDocument/2006/relationships/image" Target="../media/image89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29.png"/><Relationship Id="rId12" Type="http://schemas.openxmlformats.org/officeDocument/2006/relationships/image" Target="../media/image23.png"/><Relationship Id="rId17" Type="http://schemas.openxmlformats.org/officeDocument/2006/relationships/image" Target="../media/image88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21.png"/><Relationship Id="rId1" Type="http://schemas.openxmlformats.org/officeDocument/2006/relationships/tags" Target="../tags/tag12.xml"/><Relationship Id="rId6" Type="http://schemas.openxmlformats.org/officeDocument/2006/relationships/image" Target="../media/image19.png"/><Relationship Id="rId11" Type="http://schemas.microsoft.com/office/2007/relationships/hdphoto" Target="../media/hdphoto2.wdp"/><Relationship Id="rId5" Type="http://schemas.openxmlformats.org/officeDocument/2006/relationships/image" Target="../media/image18.jpeg"/><Relationship Id="rId15" Type="http://schemas.openxmlformats.org/officeDocument/2006/relationships/image" Target="../media/image82.png"/><Relationship Id="rId10" Type="http://schemas.openxmlformats.org/officeDocument/2006/relationships/image" Target="../media/image35.png"/><Relationship Id="rId19" Type="http://schemas.openxmlformats.org/officeDocument/2006/relationships/image" Target="../media/image90.png"/><Relationship Id="rId4" Type="http://schemas.openxmlformats.org/officeDocument/2006/relationships/image" Target="../media/image17.png"/><Relationship Id="rId9" Type="http://schemas.openxmlformats.org/officeDocument/2006/relationships/hyperlink" Target="mailto:ebinpro14@gmail.com" TargetMode="External"/><Relationship Id="rId14" Type="http://schemas.openxmlformats.org/officeDocument/2006/relationships/image" Target="../media/image87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mailto:kelvin.uwaibi@googlemail.com" TargetMode="External"/><Relationship Id="rId13" Type="http://schemas.openxmlformats.org/officeDocument/2006/relationships/image" Target="../media/image53.png"/><Relationship Id="rId18" Type="http://schemas.openxmlformats.org/officeDocument/2006/relationships/image" Target="../media/image95.png"/><Relationship Id="rId3" Type="http://schemas.openxmlformats.org/officeDocument/2006/relationships/notesSlide" Target="../notesSlides/notesSlide12.xml"/><Relationship Id="rId7" Type="http://schemas.openxmlformats.org/officeDocument/2006/relationships/hyperlink" Target="mailto:statesco@nipc.gov.ng" TargetMode="External"/><Relationship Id="rId12" Type="http://schemas.openxmlformats.org/officeDocument/2006/relationships/image" Target="../media/image93.png"/><Relationship Id="rId17" Type="http://schemas.openxmlformats.org/officeDocument/2006/relationships/image" Target="../media/image94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85.png"/><Relationship Id="rId1" Type="http://schemas.openxmlformats.org/officeDocument/2006/relationships/tags" Target="../tags/tag13.xml"/><Relationship Id="rId6" Type="http://schemas.openxmlformats.org/officeDocument/2006/relationships/image" Target="../media/image19.png"/><Relationship Id="rId11" Type="http://schemas.openxmlformats.org/officeDocument/2006/relationships/image" Target="../media/image92.png"/><Relationship Id="rId5" Type="http://schemas.openxmlformats.org/officeDocument/2006/relationships/image" Target="../media/image18.jpeg"/><Relationship Id="rId15" Type="http://schemas.openxmlformats.org/officeDocument/2006/relationships/image" Target="../media/image29.png"/><Relationship Id="rId10" Type="http://schemas.openxmlformats.org/officeDocument/2006/relationships/image" Target="../media/image82.png"/><Relationship Id="rId4" Type="http://schemas.openxmlformats.org/officeDocument/2006/relationships/image" Target="../media/image17.png"/><Relationship Id="rId9" Type="http://schemas.openxmlformats.org/officeDocument/2006/relationships/image" Target="../media/image91.png"/><Relationship Id="rId14" Type="http://schemas.openxmlformats.org/officeDocument/2006/relationships/image" Target="../media/image56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mailto:funkeade@ekiti.info.org" TargetMode="External"/><Relationship Id="rId13" Type="http://schemas.openxmlformats.org/officeDocument/2006/relationships/image" Target="../media/image98.png"/><Relationship Id="rId18" Type="http://schemas.openxmlformats.org/officeDocument/2006/relationships/image" Target="../media/image103.png"/><Relationship Id="rId3" Type="http://schemas.openxmlformats.org/officeDocument/2006/relationships/notesSlide" Target="../notesSlides/notesSlide13.xml"/><Relationship Id="rId7" Type="http://schemas.openxmlformats.org/officeDocument/2006/relationships/hyperlink" Target="mailto:statesco@nipc.gov.ng" TargetMode="External"/><Relationship Id="rId12" Type="http://schemas.openxmlformats.org/officeDocument/2006/relationships/image" Target="../media/image97.png"/><Relationship Id="rId17" Type="http://schemas.openxmlformats.org/officeDocument/2006/relationships/image" Target="../media/image102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101.png"/><Relationship Id="rId1" Type="http://schemas.openxmlformats.org/officeDocument/2006/relationships/tags" Target="../tags/tag14.xml"/><Relationship Id="rId6" Type="http://schemas.openxmlformats.org/officeDocument/2006/relationships/image" Target="../media/image19.png"/><Relationship Id="rId11" Type="http://schemas.openxmlformats.org/officeDocument/2006/relationships/image" Target="../media/image96.png"/><Relationship Id="rId5" Type="http://schemas.openxmlformats.org/officeDocument/2006/relationships/image" Target="../media/image18.jpeg"/><Relationship Id="rId15" Type="http://schemas.openxmlformats.org/officeDocument/2006/relationships/image" Target="../media/image100.png"/><Relationship Id="rId10" Type="http://schemas.openxmlformats.org/officeDocument/2006/relationships/image" Target="../media/image21.png"/><Relationship Id="rId4" Type="http://schemas.openxmlformats.org/officeDocument/2006/relationships/image" Target="../media/image17.png"/><Relationship Id="rId9" Type="http://schemas.openxmlformats.org/officeDocument/2006/relationships/image" Target="../media/image86.png"/><Relationship Id="rId14" Type="http://schemas.openxmlformats.org/officeDocument/2006/relationships/image" Target="../media/image99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mailto:chibuzorokafor@enugustate.gov.ng" TargetMode="External"/><Relationship Id="rId13" Type="http://schemas.openxmlformats.org/officeDocument/2006/relationships/image" Target="../media/image107.png"/><Relationship Id="rId18" Type="http://schemas.openxmlformats.org/officeDocument/2006/relationships/image" Target="../media/image110.png"/><Relationship Id="rId3" Type="http://schemas.openxmlformats.org/officeDocument/2006/relationships/notesSlide" Target="../notesSlides/notesSlide14.xml"/><Relationship Id="rId7" Type="http://schemas.openxmlformats.org/officeDocument/2006/relationships/hyperlink" Target="mailto:statesco@nipc.gov.ng" TargetMode="External"/><Relationship Id="rId12" Type="http://schemas.openxmlformats.org/officeDocument/2006/relationships/image" Target="../media/image106.png"/><Relationship Id="rId17" Type="http://schemas.openxmlformats.org/officeDocument/2006/relationships/image" Target="../media/image101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94.png"/><Relationship Id="rId1" Type="http://schemas.openxmlformats.org/officeDocument/2006/relationships/tags" Target="../tags/tag15.xml"/><Relationship Id="rId6" Type="http://schemas.openxmlformats.org/officeDocument/2006/relationships/image" Target="../media/image19.png"/><Relationship Id="rId11" Type="http://schemas.openxmlformats.org/officeDocument/2006/relationships/image" Target="../media/image105.png"/><Relationship Id="rId5" Type="http://schemas.openxmlformats.org/officeDocument/2006/relationships/image" Target="../media/image18.jpeg"/><Relationship Id="rId15" Type="http://schemas.openxmlformats.org/officeDocument/2006/relationships/image" Target="../media/image109.png"/><Relationship Id="rId10" Type="http://schemas.openxmlformats.org/officeDocument/2006/relationships/image" Target="../media/image82.png"/><Relationship Id="rId4" Type="http://schemas.openxmlformats.org/officeDocument/2006/relationships/image" Target="../media/image17.png"/><Relationship Id="rId9" Type="http://schemas.openxmlformats.org/officeDocument/2006/relationships/image" Target="../media/image104.png"/><Relationship Id="rId14" Type="http://schemas.openxmlformats.org/officeDocument/2006/relationships/image" Target="../media/image108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mailto:m.kubau@aiic.fcta.gov.ng" TargetMode="External"/><Relationship Id="rId13" Type="http://schemas.openxmlformats.org/officeDocument/2006/relationships/image" Target="../media/image115.png"/><Relationship Id="rId18" Type="http://schemas.openxmlformats.org/officeDocument/2006/relationships/image" Target="../media/image118.png"/><Relationship Id="rId3" Type="http://schemas.openxmlformats.org/officeDocument/2006/relationships/notesSlide" Target="../notesSlides/notesSlide15.xml"/><Relationship Id="rId7" Type="http://schemas.openxmlformats.org/officeDocument/2006/relationships/hyperlink" Target="mailto:statesco@nipc.gov.ng" TargetMode="External"/><Relationship Id="rId12" Type="http://schemas.openxmlformats.org/officeDocument/2006/relationships/image" Target="../media/image114.png"/><Relationship Id="rId17" Type="http://schemas.openxmlformats.org/officeDocument/2006/relationships/image" Target="../media/image117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101.png"/><Relationship Id="rId1" Type="http://schemas.openxmlformats.org/officeDocument/2006/relationships/tags" Target="../tags/tag16.xml"/><Relationship Id="rId6" Type="http://schemas.openxmlformats.org/officeDocument/2006/relationships/image" Target="../media/image19.png"/><Relationship Id="rId11" Type="http://schemas.openxmlformats.org/officeDocument/2006/relationships/image" Target="../media/image113.png"/><Relationship Id="rId5" Type="http://schemas.openxmlformats.org/officeDocument/2006/relationships/image" Target="../media/image18.jpeg"/><Relationship Id="rId15" Type="http://schemas.openxmlformats.org/officeDocument/2006/relationships/image" Target="../media/image94.png"/><Relationship Id="rId10" Type="http://schemas.openxmlformats.org/officeDocument/2006/relationships/image" Target="../media/image112.png"/><Relationship Id="rId4" Type="http://schemas.openxmlformats.org/officeDocument/2006/relationships/image" Target="../media/image17.png"/><Relationship Id="rId9" Type="http://schemas.openxmlformats.org/officeDocument/2006/relationships/image" Target="../media/image111.png"/><Relationship Id="rId14" Type="http://schemas.openxmlformats.org/officeDocument/2006/relationships/image" Target="../media/image116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mailto:md@gombeinvestment.com.ng" TargetMode="External"/><Relationship Id="rId13" Type="http://schemas.openxmlformats.org/officeDocument/2006/relationships/image" Target="../media/image123.jpeg"/><Relationship Id="rId18" Type="http://schemas.openxmlformats.org/officeDocument/2006/relationships/image" Target="../media/image89.png"/><Relationship Id="rId3" Type="http://schemas.openxmlformats.org/officeDocument/2006/relationships/notesSlide" Target="../notesSlides/notesSlide16.xml"/><Relationship Id="rId7" Type="http://schemas.openxmlformats.org/officeDocument/2006/relationships/hyperlink" Target="mailto:statesco@nipc.gov.ng" TargetMode="External"/><Relationship Id="rId12" Type="http://schemas.openxmlformats.org/officeDocument/2006/relationships/image" Target="../media/image122.jpeg"/><Relationship Id="rId17" Type="http://schemas.openxmlformats.org/officeDocument/2006/relationships/image" Target="../media/image127.jpe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126.png"/><Relationship Id="rId1" Type="http://schemas.openxmlformats.org/officeDocument/2006/relationships/tags" Target="../tags/tag17.xml"/><Relationship Id="rId6" Type="http://schemas.openxmlformats.org/officeDocument/2006/relationships/image" Target="../media/image19.png"/><Relationship Id="rId11" Type="http://schemas.openxmlformats.org/officeDocument/2006/relationships/image" Target="../media/image121.png"/><Relationship Id="rId5" Type="http://schemas.openxmlformats.org/officeDocument/2006/relationships/image" Target="../media/image18.jpeg"/><Relationship Id="rId15" Type="http://schemas.openxmlformats.org/officeDocument/2006/relationships/image" Target="../media/image125.jpeg"/><Relationship Id="rId10" Type="http://schemas.openxmlformats.org/officeDocument/2006/relationships/image" Target="../media/image120.jpeg"/><Relationship Id="rId4" Type="http://schemas.openxmlformats.org/officeDocument/2006/relationships/image" Target="../media/image17.png"/><Relationship Id="rId9" Type="http://schemas.openxmlformats.org/officeDocument/2006/relationships/image" Target="../media/image119.jpeg"/><Relationship Id="rId14" Type="http://schemas.openxmlformats.org/officeDocument/2006/relationships/image" Target="../media/image124.jpe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hyperlink" Target="mailto:justus.onyekwere@outlook.com" TargetMode="External"/><Relationship Id="rId13" Type="http://schemas.openxmlformats.org/officeDocument/2006/relationships/image" Target="../media/image132.png"/><Relationship Id="rId18" Type="http://schemas.openxmlformats.org/officeDocument/2006/relationships/image" Target="../media/image134.png"/><Relationship Id="rId3" Type="http://schemas.openxmlformats.org/officeDocument/2006/relationships/notesSlide" Target="../notesSlides/notesSlide17.xml"/><Relationship Id="rId7" Type="http://schemas.openxmlformats.org/officeDocument/2006/relationships/hyperlink" Target="mailto:statesco@nipc.gov.ng" TargetMode="External"/><Relationship Id="rId12" Type="http://schemas.openxmlformats.org/officeDocument/2006/relationships/image" Target="../media/image131.png"/><Relationship Id="rId17" Type="http://schemas.openxmlformats.org/officeDocument/2006/relationships/image" Target="../media/image101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94.png"/><Relationship Id="rId1" Type="http://schemas.openxmlformats.org/officeDocument/2006/relationships/tags" Target="../tags/tag18.xml"/><Relationship Id="rId6" Type="http://schemas.openxmlformats.org/officeDocument/2006/relationships/image" Target="../media/image19.png"/><Relationship Id="rId11" Type="http://schemas.openxmlformats.org/officeDocument/2006/relationships/image" Target="../media/image130.jpeg"/><Relationship Id="rId5" Type="http://schemas.openxmlformats.org/officeDocument/2006/relationships/image" Target="../media/image18.jpeg"/><Relationship Id="rId15" Type="http://schemas.openxmlformats.org/officeDocument/2006/relationships/image" Target="../media/image89.png"/><Relationship Id="rId10" Type="http://schemas.openxmlformats.org/officeDocument/2006/relationships/image" Target="../media/image129.png"/><Relationship Id="rId4" Type="http://schemas.openxmlformats.org/officeDocument/2006/relationships/image" Target="../media/image17.png"/><Relationship Id="rId9" Type="http://schemas.openxmlformats.org/officeDocument/2006/relationships/image" Target="../media/image128.png"/><Relationship Id="rId14" Type="http://schemas.openxmlformats.org/officeDocument/2006/relationships/image" Target="../media/image13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hyperlink" Target="mailto:jamilahfarouk@investjigawa.gov.ng" TargetMode="External"/><Relationship Id="rId13" Type="http://schemas.openxmlformats.org/officeDocument/2006/relationships/image" Target="../media/image119.jpeg"/><Relationship Id="rId18" Type="http://schemas.openxmlformats.org/officeDocument/2006/relationships/image" Target="../media/image140.png"/><Relationship Id="rId3" Type="http://schemas.openxmlformats.org/officeDocument/2006/relationships/notesSlide" Target="../notesSlides/notesSlide18.xml"/><Relationship Id="rId7" Type="http://schemas.openxmlformats.org/officeDocument/2006/relationships/hyperlink" Target="mailto:statesco@nipc.gov.ng" TargetMode="External"/><Relationship Id="rId12" Type="http://schemas.openxmlformats.org/officeDocument/2006/relationships/image" Target="../media/image30.jpeg"/><Relationship Id="rId17" Type="http://schemas.openxmlformats.org/officeDocument/2006/relationships/image" Target="../media/image139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138.png"/><Relationship Id="rId1" Type="http://schemas.openxmlformats.org/officeDocument/2006/relationships/tags" Target="../tags/tag19.xml"/><Relationship Id="rId6" Type="http://schemas.openxmlformats.org/officeDocument/2006/relationships/image" Target="../media/image19.png"/><Relationship Id="rId11" Type="http://schemas.openxmlformats.org/officeDocument/2006/relationships/image" Target="../media/image136.png"/><Relationship Id="rId5" Type="http://schemas.openxmlformats.org/officeDocument/2006/relationships/image" Target="../media/image18.jpeg"/><Relationship Id="rId15" Type="http://schemas.openxmlformats.org/officeDocument/2006/relationships/image" Target="../media/image137.png"/><Relationship Id="rId10" Type="http://schemas.openxmlformats.org/officeDocument/2006/relationships/image" Target="../media/image135.png"/><Relationship Id="rId4" Type="http://schemas.openxmlformats.org/officeDocument/2006/relationships/image" Target="../media/image17.png"/><Relationship Id="rId9" Type="http://schemas.openxmlformats.org/officeDocument/2006/relationships/image" Target="../media/image50.jpeg"/><Relationship Id="rId14" Type="http://schemas.openxmlformats.org/officeDocument/2006/relationships/image" Target="../media/image24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hyperlink" Target="mailto:contact.kadipa@kdsg.gov.ng" TargetMode="External"/><Relationship Id="rId13" Type="http://schemas.openxmlformats.org/officeDocument/2006/relationships/image" Target="../media/image143.png"/><Relationship Id="rId18" Type="http://schemas.openxmlformats.org/officeDocument/2006/relationships/image" Target="../media/image148.png"/><Relationship Id="rId3" Type="http://schemas.openxmlformats.org/officeDocument/2006/relationships/notesSlide" Target="../notesSlides/notesSlide19.xml"/><Relationship Id="rId7" Type="http://schemas.openxmlformats.org/officeDocument/2006/relationships/hyperlink" Target="mailto:statesco@nipc.gov.ng" TargetMode="External"/><Relationship Id="rId12" Type="http://schemas.openxmlformats.org/officeDocument/2006/relationships/image" Target="../media/image142.png"/><Relationship Id="rId17" Type="http://schemas.openxmlformats.org/officeDocument/2006/relationships/image" Target="../media/image147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146.png"/><Relationship Id="rId1" Type="http://schemas.openxmlformats.org/officeDocument/2006/relationships/tags" Target="../tags/tag20.xml"/><Relationship Id="rId6" Type="http://schemas.openxmlformats.org/officeDocument/2006/relationships/image" Target="../media/image19.png"/><Relationship Id="rId11" Type="http://schemas.openxmlformats.org/officeDocument/2006/relationships/image" Target="../media/image141.png"/><Relationship Id="rId5" Type="http://schemas.openxmlformats.org/officeDocument/2006/relationships/image" Target="../media/image18.jpeg"/><Relationship Id="rId15" Type="http://schemas.openxmlformats.org/officeDocument/2006/relationships/image" Target="../media/image145.png"/><Relationship Id="rId10" Type="http://schemas.openxmlformats.org/officeDocument/2006/relationships/image" Target="../media/image31.jpeg"/><Relationship Id="rId4" Type="http://schemas.openxmlformats.org/officeDocument/2006/relationships/image" Target="../media/image17.png"/><Relationship Id="rId9" Type="http://schemas.openxmlformats.org/officeDocument/2006/relationships/image" Target="../media/image30.jpeg"/><Relationship Id="rId14" Type="http://schemas.openxmlformats.org/officeDocument/2006/relationships/image" Target="../media/image144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hyperlink" Target="mailto:hafsatysani@yahoo.com" TargetMode="External"/><Relationship Id="rId13" Type="http://schemas.openxmlformats.org/officeDocument/2006/relationships/image" Target="../media/image36.png"/><Relationship Id="rId18" Type="http://schemas.openxmlformats.org/officeDocument/2006/relationships/image" Target="../media/image148.png"/><Relationship Id="rId3" Type="http://schemas.openxmlformats.org/officeDocument/2006/relationships/notesSlide" Target="../notesSlides/notesSlide20.xml"/><Relationship Id="rId7" Type="http://schemas.openxmlformats.org/officeDocument/2006/relationships/hyperlink" Target="mailto:statesco@nipc.gov.ng" TargetMode="External"/><Relationship Id="rId12" Type="http://schemas.openxmlformats.org/officeDocument/2006/relationships/image" Target="../media/image151.png"/><Relationship Id="rId17" Type="http://schemas.openxmlformats.org/officeDocument/2006/relationships/image" Target="../media/image147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154.png"/><Relationship Id="rId1" Type="http://schemas.openxmlformats.org/officeDocument/2006/relationships/tags" Target="../tags/tag21.xml"/><Relationship Id="rId6" Type="http://schemas.openxmlformats.org/officeDocument/2006/relationships/image" Target="../media/image19.png"/><Relationship Id="rId11" Type="http://schemas.openxmlformats.org/officeDocument/2006/relationships/image" Target="../media/image150.png"/><Relationship Id="rId5" Type="http://schemas.openxmlformats.org/officeDocument/2006/relationships/image" Target="../media/image149.jpeg"/><Relationship Id="rId15" Type="http://schemas.openxmlformats.org/officeDocument/2006/relationships/image" Target="../media/image153.png"/><Relationship Id="rId10" Type="http://schemas.openxmlformats.org/officeDocument/2006/relationships/image" Target="../media/image122.jpeg"/><Relationship Id="rId4" Type="http://schemas.openxmlformats.org/officeDocument/2006/relationships/image" Target="../media/image17.png"/><Relationship Id="rId9" Type="http://schemas.openxmlformats.org/officeDocument/2006/relationships/image" Target="../media/image131.png"/><Relationship Id="rId14" Type="http://schemas.openxmlformats.org/officeDocument/2006/relationships/image" Target="../media/image152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hyperlink" Target="mailto:itukur55@yahoo.co.uk" TargetMode="External"/><Relationship Id="rId13" Type="http://schemas.openxmlformats.org/officeDocument/2006/relationships/image" Target="../media/image122.jpeg"/><Relationship Id="rId18" Type="http://schemas.openxmlformats.org/officeDocument/2006/relationships/image" Target="../media/image162.png"/><Relationship Id="rId3" Type="http://schemas.openxmlformats.org/officeDocument/2006/relationships/notesSlide" Target="../notesSlides/notesSlide21.xml"/><Relationship Id="rId7" Type="http://schemas.openxmlformats.org/officeDocument/2006/relationships/hyperlink" Target="mailto:statesco@nipc.gov.ng" TargetMode="External"/><Relationship Id="rId12" Type="http://schemas.openxmlformats.org/officeDocument/2006/relationships/image" Target="../media/image131.png"/><Relationship Id="rId17" Type="http://schemas.openxmlformats.org/officeDocument/2006/relationships/image" Target="../media/image161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160.png"/><Relationship Id="rId1" Type="http://schemas.openxmlformats.org/officeDocument/2006/relationships/tags" Target="../tags/tag22.xml"/><Relationship Id="rId6" Type="http://schemas.openxmlformats.org/officeDocument/2006/relationships/image" Target="../media/image19.png"/><Relationship Id="rId11" Type="http://schemas.openxmlformats.org/officeDocument/2006/relationships/image" Target="../media/image157.jpeg"/><Relationship Id="rId5" Type="http://schemas.openxmlformats.org/officeDocument/2006/relationships/image" Target="../media/image149.jpeg"/><Relationship Id="rId15" Type="http://schemas.openxmlformats.org/officeDocument/2006/relationships/image" Target="../media/image159.png"/><Relationship Id="rId10" Type="http://schemas.openxmlformats.org/officeDocument/2006/relationships/image" Target="../media/image156.png"/><Relationship Id="rId4" Type="http://schemas.openxmlformats.org/officeDocument/2006/relationships/image" Target="../media/image17.png"/><Relationship Id="rId9" Type="http://schemas.openxmlformats.org/officeDocument/2006/relationships/image" Target="../media/image155.png"/><Relationship Id="rId14" Type="http://schemas.openxmlformats.org/officeDocument/2006/relationships/image" Target="../media/image158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hyperlink" Target="mailto:mincomkebbi@gmail.com" TargetMode="External"/><Relationship Id="rId13" Type="http://schemas.openxmlformats.org/officeDocument/2006/relationships/image" Target="../media/image155.png"/><Relationship Id="rId18" Type="http://schemas.openxmlformats.org/officeDocument/2006/relationships/image" Target="../media/image45.png"/><Relationship Id="rId3" Type="http://schemas.openxmlformats.org/officeDocument/2006/relationships/notesSlide" Target="../notesSlides/notesSlide22.xml"/><Relationship Id="rId7" Type="http://schemas.openxmlformats.org/officeDocument/2006/relationships/hyperlink" Target="mailto:statesco@nipc.gov.ng" TargetMode="External"/><Relationship Id="rId12" Type="http://schemas.openxmlformats.org/officeDocument/2006/relationships/image" Target="../media/image157.jpeg"/><Relationship Id="rId17" Type="http://schemas.openxmlformats.org/officeDocument/2006/relationships/image" Target="../media/image165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24.png"/><Relationship Id="rId1" Type="http://schemas.openxmlformats.org/officeDocument/2006/relationships/tags" Target="../tags/tag23.xml"/><Relationship Id="rId6" Type="http://schemas.openxmlformats.org/officeDocument/2006/relationships/image" Target="../media/image19.png"/><Relationship Id="rId11" Type="http://schemas.openxmlformats.org/officeDocument/2006/relationships/image" Target="../media/image163.png"/><Relationship Id="rId5" Type="http://schemas.openxmlformats.org/officeDocument/2006/relationships/image" Target="../media/image149.jpeg"/><Relationship Id="rId15" Type="http://schemas.openxmlformats.org/officeDocument/2006/relationships/image" Target="../media/image164.png"/><Relationship Id="rId10" Type="http://schemas.openxmlformats.org/officeDocument/2006/relationships/image" Target="../media/image31.jpeg"/><Relationship Id="rId19" Type="http://schemas.microsoft.com/office/2007/relationships/hdphoto" Target="../media/hdphoto4.wdp"/><Relationship Id="rId4" Type="http://schemas.openxmlformats.org/officeDocument/2006/relationships/image" Target="../media/image17.png"/><Relationship Id="rId9" Type="http://schemas.openxmlformats.org/officeDocument/2006/relationships/image" Target="../media/image23.png"/><Relationship Id="rId14" Type="http://schemas.openxmlformats.org/officeDocument/2006/relationships/image" Target="../media/image158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hyperlink" Target="mailto:jraise42@gmail.com" TargetMode="External"/><Relationship Id="rId13" Type="http://schemas.openxmlformats.org/officeDocument/2006/relationships/image" Target="../media/image168.png"/><Relationship Id="rId18" Type="http://schemas.openxmlformats.org/officeDocument/2006/relationships/image" Target="../media/image172.png"/><Relationship Id="rId3" Type="http://schemas.openxmlformats.org/officeDocument/2006/relationships/notesSlide" Target="../notesSlides/notesSlide23.xml"/><Relationship Id="rId7" Type="http://schemas.openxmlformats.org/officeDocument/2006/relationships/hyperlink" Target="mailto:statesco@nipc.gov.ng" TargetMode="External"/><Relationship Id="rId12" Type="http://schemas.openxmlformats.org/officeDocument/2006/relationships/image" Target="../media/image167.png"/><Relationship Id="rId17" Type="http://schemas.openxmlformats.org/officeDocument/2006/relationships/image" Target="../media/image65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171.png"/><Relationship Id="rId1" Type="http://schemas.openxmlformats.org/officeDocument/2006/relationships/tags" Target="../tags/tag24.xml"/><Relationship Id="rId6" Type="http://schemas.openxmlformats.org/officeDocument/2006/relationships/image" Target="../media/image19.png"/><Relationship Id="rId11" Type="http://schemas.openxmlformats.org/officeDocument/2006/relationships/image" Target="../media/image166.png"/><Relationship Id="rId5" Type="http://schemas.openxmlformats.org/officeDocument/2006/relationships/image" Target="../media/image149.jpeg"/><Relationship Id="rId15" Type="http://schemas.openxmlformats.org/officeDocument/2006/relationships/image" Target="../media/image170.png"/><Relationship Id="rId10" Type="http://schemas.openxmlformats.org/officeDocument/2006/relationships/image" Target="../media/image119.jpeg"/><Relationship Id="rId4" Type="http://schemas.openxmlformats.org/officeDocument/2006/relationships/image" Target="../media/image17.png"/><Relationship Id="rId9" Type="http://schemas.openxmlformats.org/officeDocument/2006/relationships/image" Target="../media/image34.png"/><Relationship Id="rId14" Type="http://schemas.openxmlformats.org/officeDocument/2006/relationships/image" Target="../media/image169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hyperlink" Target="mailto:nimabi1961@gmail.com" TargetMode="External"/><Relationship Id="rId13" Type="http://schemas.openxmlformats.org/officeDocument/2006/relationships/image" Target="../media/image175.png"/><Relationship Id="rId18" Type="http://schemas.openxmlformats.org/officeDocument/2006/relationships/image" Target="../media/image127.jpeg"/><Relationship Id="rId3" Type="http://schemas.openxmlformats.org/officeDocument/2006/relationships/notesSlide" Target="../notesSlides/notesSlide24.xml"/><Relationship Id="rId7" Type="http://schemas.openxmlformats.org/officeDocument/2006/relationships/hyperlink" Target="mailto:statesco@nipc.gov.ng" TargetMode="External"/><Relationship Id="rId12" Type="http://schemas.openxmlformats.org/officeDocument/2006/relationships/image" Target="../media/image174.png"/><Relationship Id="rId17" Type="http://schemas.openxmlformats.org/officeDocument/2006/relationships/image" Target="../media/image131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31.jpeg"/><Relationship Id="rId1" Type="http://schemas.openxmlformats.org/officeDocument/2006/relationships/tags" Target="../tags/tag25.xml"/><Relationship Id="rId6" Type="http://schemas.openxmlformats.org/officeDocument/2006/relationships/image" Target="../media/image19.png"/><Relationship Id="rId11" Type="http://schemas.openxmlformats.org/officeDocument/2006/relationships/image" Target="../media/image173.png"/><Relationship Id="rId5" Type="http://schemas.openxmlformats.org/officeDocument/2006/relationships/image" Target="../media/image149.jpeg"/><Relationship Id="rId15" Type="http://schemas.openxmlformats.org/officeDocument/2006/relationships/image" Target="../media/image177.png"/><Relationship Id="rId10" Type="http://schemas.openxmlformats.org/officeDocument/2006/relationships/image" Target="../media/image37.png"/><Relationship Id="rId4" Type="http://schemas.openxmlformats.org/officeDocument/2006/relationships/image" Target="../media/image17.png"/><Relationship Id="rId9" Type="http://schemas.openxmlformats.org/officeDocument/2006/relationships/image" Target="../media/image23.png"/><Relationship Id="rId14" Type="http://schemas.openxmlformats.org/officeDocument/2006/relationships/image" Target="../media/image176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hyperlink" Target="mailto:info@lagosglobal.org" TargetMode="External"/><Relationship Id="rId13" Type="http://schemas.openxmlformats.org/officeDocument/2006/relationships/image" Target="../media/image182.png"/><Relationship Id="rId18" Type="http://schemas.openxmlformats.org/officeDocument/2006/relationships/image" Target="../media/image185.png"/><Relationship Id="rId3" Type="http://schemas.openxmlformats.org/officeDocument/2006/relationships/notesSlide" Target="../notesSlides/notesSlide25.xml"/><Relationship Id="rId7" Type="http://schemas.openxmlformats.org/officeDocument/2006/relationships/hyperlink" Target="mailto:statesco@nipc.gov.ng" TargetMode="External"/><Relationship Id="rId12" Type="http://schemas.openxmlformats.org/officeDocument/2006/relationships/image" Target="../media/image181.jpeg"/><Relationship Id="rId17" Type="http://schemas.openxmlformats.org/officeDocument/2006/relationships/image" Target="../media/image184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183.png"/><Relationship Id="rId1" Type="http://schemas.openxmlformats.org/officeDocument/2006/relationships/tags" Target="../tags/tag26.xml"/><Relationship Id="rId6" Type="http://schemas.openxmlformats.org/officeDocument/2006/relationships/image" Target="../media/image19.png"/><Relationship Id="rId11" Type="http://schemas.openxmlformats.org/officeDocument/2006/relationships/image" Target="../media/image180.png"/><Relationship Id="rId5" Type="http://schemas.openxmlformats.org/officeDocument/2006/relationships/image" Target="../media/image149.jpeg"/><Relationship Id="rId15" Type="http://schemas.openxmlformats.org/officeDocument/2006/relationships/image" Target="../media/image148.png"/><Relationship Id="rId10" Type="http://schemas.openxmlformats.org/officeDocument/2006/relationships/image" Target="../media/image179.png"/><Relationship Id="rId4" Type="http://schemas.openxmlformats.org/officeDocument/2006/relationships/image" Target="../media/image17.png"/><Relationship Id="rId9" Type="http://schemas.openxmlformats.org/officeDocument/2006/relationships/image" Target="../media/image178.png"/><Relationship Id="rId14" Type="http://schemas.openxmlformats.org/officeDocument/2006/relationships/image" Target="../media/image147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hyperlink" Target="mailto:mcicnasarawastate@gmail.com" TargetMode="External"/><Relationship Id="rId13" Type="http://schemas.openxmlformats.org/officeDocument/2006/relationships/image" Target="../media/image188.png"/><Relationship Id="rId18" Type="http://schemas.microsoft.com/office/2007/relationships/hdphoto" Target="../media/hdphoto6.wdp"/><Relationship Id="rId3" Type="http://schemas.openxmlformats.org/officeDocument/2006/relationships/notesSlide" Target="../notesSlides/notesSlide26.xml"/><Relationship Id="rId7" Type="http://schemas.openxmlformats.org/officeDocument/2006/relationships/hyperlink" Target="mailto:statesco@nipc.gov.ng" TargetMode="External"/><Relationship Id="rId12" Type="http://schemas.openxmlformats.org/officeDocument/2006/relationships/image" Target="../media/image187.jpeg"/><Relationship Id="rId17" Type="http://schemas.openxmlformats.org/officeDocument/2006/relationships/image" Target="../media/image192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191.png"/><Relationship Id="rId1" Type="http://schemas.openxmlformats.org/officeDocument/2006/relationships/tags" Target="../tags/tag27.xml"/><Relationship Id="rId6" Type="http://schemas.openxmlformats.org/officeDocument/2006/relationships/image" Target="../media/image19.png"/><Relationship Id="rId11" Type="http://schemas.openxmlformats.org/officeDocument/2006/relationships/image" Target="../media/image23.png"/><Relationship Id="rId5" Type="http://schemas.openxmlformats.org/officeDocument/2006/relationships/image" Target="../media/image149.jpeg"/><Relationship Id="rId15" Type="http://schemas.openxmlformats.org/officeDocument/2006/relationships/image" Target="../media/image190.png"/><Relationship Id="rId10" Type="http://schemas.openxmlformats.org/officeDocument/2006/relationships/image" Target="../media/image186.jpeg"/><Relationship Id="rId19" Type="http://schemas.openxmlformats.org/officeDocument/2006/relationships/image" Target="../media/image65.png"/><Relationship Id="rId4" Type="http://schemas.openxmlformats.org/officeDocument/2006/relationships/image" Target="../media/image17.png"/><Relationship Id="rId9" Type="http://schemas.openxmlformats.org/officeDocument/2006/relationships/image" Target="../media/image165.png"/><Relationship Id="rId14" Type="http://schemas.openxmlformats.org/officeDocument/2006/relationships/image" Target="../media/image189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hyperlink" Target="mailto:sarkibello65@gmail.com" TargetMode="External"/><Relationship Id="rId13" Type="http://schemas.openxmlformats.org/officeDocument/2006/relationships/image" Target="../media/image131.png"/><Relationship Id="rId18" Type="http://schemas.openxmlformats.org/officeDocument/2006/relationships/image" Target="../media/image187.jpeg"/><Relationship Id="rId3" Type="http://schemas.openxmlformats.org/officeDocument/2006/relationships/notesSlide" Target="../notesSlides/notesSlide27.xml"/><Relationship Id="rId7" Type="http://schemas.openxmlformats.org/officeDocument/2006/relationships/hyperlink" Target="mailto:statesco@nipc.gov.ng" TargetMode="External"/><Relationship Id="rId12" Type="http://schemas.openxmlformats.org/officeDocument/2006/relationships/image" Target="../media/image33.jpeg"/><Relationship Id="rId17" Type="http://schemas.openxmlformats.org/officeDocument/2006/relationships/image" Target="../media/image194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193.jpeg"/><Relationship Id="rId20" Type="http://schemas.openxmlformats.org/officeDocument/2006/relationships/image" Target="../media/image196.png"/><Relationship Id="rId1" Type="http://schemas.openxmlformats.org/officeDocument/2006/relationships/tags" Target="../tags/tag28.xml"/><Relationship Id="rId6" Type="http://schemas.openxmlformats.org/officeDocument/2006/relationships/image" Target="../media/image19.png"/><Relationship Id="rId11" Type="http://schemas.openxmlformats.org/officeDocument/2006/relationships/image" Target="../media/image34.png"/><Relationship Id="rId5" Type="http://schemas.openxmlformats.org/officeDocument/2006/relationships/image" Target="../media/image149.jpeg"/><Relationship Id="rId15" Type="http://schemas.microsoft.com/office/2007/relationships/hdphoto" Target="../media/hdphoto6.wdp"/><Relationship Id="rId10" Type="http://schemas.openxmlformats.org/officeDocument/2006/relationships/image" Target="../media/image155.png"/><Relationship Id="rId19" Type="http://schemas.openxmlformats.org/officeDocument/2006/relationships/image" Target="../media/image195.png"/><Relationship Id="rId4" Type="http://schemas.openxmlformats.org/officeDocument/2006/relationships/image" Target="../media/image17.png"/><Relationship Id="rId9" Type="http://schemas.openxmlformats.org/officeDocument/2006/relationships/image" Target="../media/image56.png"/><Relationship Id="rId14" Type="http://schemas.openxmlformats.org/officeDocument/2006/relationships/image" Target="../media/image19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mailto:ministryofartsandculture@yahoo.com" TargetMode="External"/><Relationship Id="rId13" Type="http://schemas.openxmlformats.org/officeDocument/2006/relationships/image" Target="../media/image23.png"/><Relationship Id="rId18" Type="http://schemas.openxmlformats.org/officeDocument/2006/relationships/image" Target="../media/image28.png"/><Relationship Id="rId3" Type="http://schemas.openxmlformats.org/officeDocument/2006/relationships/notesSlide" Target="../notesSlides/notesSlide1.xml"/><Relationship Id="rId7" Type="http://schemas.openxmlformats.org/officeDocument/2006/relationships/hyperlink" Target="mailto:statesco@nipc.gov.ng" TargetMode="External"/><Relationship Id="rId12" Type="http://schemas.openxmlformats.org/officeDocument/2006/relationships/image" Target="../media/image22.png"/><Relationship Id="rId17" Type="http://schemas.openxmlformats.org/officeDocument/2006/relationships/image" Target="../media/image27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26.png"/><Relationship Id="rId1" Type="http://schemas.openxmlformats.org/officeDocument/2006/relationships/tags" Target="../tags/tag2.xml"/><Relationship Id="rId6" Type="http://schemas.openxmlformats.org/officeDocument/2006/relationships/image" Target="../media/image19.png"/><Relationship Id="rId11" Type="http://schemas.openxmlformats.org/officeDocument/2006/relationships/image" Target="../media/image21.png"/><Relationship Id="rId5" Type="http://schemas.openxmlformats.org/officeDocument/2006/relationships/image" Target="../media/image18.jpeg"/><Relationship Id="rId15" Type="http://schemas.openxmlformats.org/officeDocument/2006/relationships/image" Target="../media/image25.png"/><Relationship Id="rId10" Type="http://schemas.microsoft.com/office/2007/relationships/hdphoto" Target="../media/hdphoto1.wdp"/><Relationship Id="rId19" Type="http://schemas.openxmlformats.org/officeDocument/2006/relationships/image" Target="../media/image29.png"/><Relationship Id="rId4" Type="http://schemas.openxmlformats.org/officeDocument/2006/relationships/image" Target="../media/image17.png"/><Relationship Id="rId9" Type="http://schemas.openxmlformats.org/officeDocument/2006/relationships/image" Target="../media/image20.png"/><Relationship Id="rId14" Type="http://schemas.openxmlformats.org/officeDocument/2006/relationships/image" Target="../media/image24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13" Type="http://schemas.openxmlformats.org/officeDocument/2006/relationships/image" Target="../media/image127.jpeg"/><Relationship Id="rId18" Type="http://schemas.openxmlformats.org/officeDocument/2006/relationships/image" Target="../media/image201.png"/><Relationship Id="rId3" Type="http://schemas.openxmlformats.org/officeDocument/2006/relationships/notesSlide" Target="../notesSlides/notesSlide28.xml"/><Relationship Id="rId7" Type="http://schemas.openxmlformats.org/officeDocument/2006/relationships/image" Target="../media/image21.png"/><Relationship Id="rId12" Type="http://schemas.openxmlformats.org/officeDocument/2006/relationships/image" Target="../media/image198.png"/><Relationship Id="rId17" Type="http://schemas.openxmlformats.org/officeDocument/2006/relationships/image" Target="../media/image200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199.png"/><Relationship Id="rId1" Type="http://schemas.openxmlformats.org/officeDocument/2006/relationships/tags" Target="../tags/tag29.xml"/><Relationship Id="rId6" Type="http://schemas.openxmlformats.org/officeDocument/2006/relationships/image" Target="../media/image19.png"/><Relationship Id="rId11" Type="http://schemas.openxmlformats.org/officeDocument/2006/relationships/image" Target="../media/image197.png"/><Relationship Id="rId5" Type="http://schemas.openxmlformats.org/officeDocument/2006/relationships/image" Target="../media/image18.jpeg"/><Relationship Id="rId15" Type="http://schemas.openxmlformats.org/officeDocument/2006/relationships/hyperlink" Target="mailto:babi.subair@ogunstate.gov.ng" TargetMode="External"/><Relationship Id="rId10" Type="http://schemas.openxmlformats.org/officeDocument/2006/relationships/image" Target="../media/image177.png"/><Relationship Id="rId4" Type="http://schemas.openxmlformats.org/officeDocument/2006/relationships/image" Target="../media/image17.png"/><Relationship Id="rId9" Type="http://schemas.openxmlformats.org/officeDocument/2006/relationships/image" Target="../media/image100.png"/><Relationship Id="rId14" Type="http://schemas.openxmlformats.org/officeDocument/2006/relationships/hyperlink" Target="mailto:statesco@nipc.gov.ng" TargetMode="Externa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hyperlink" Target="mailto:boye@ondipa.org" TargetMode="External"/><Relationship Id="rId13" Type="http://schemas.openxmlformats.org/officeDocument/2006/relationships/image" Target="../media/image86.png"/><Relationship Id="rId18" Type="http://schemas.openxmlformats.org/officeDocument/2006/relationships/image" Target="../media/image206.png"/><Relationship Id="rId3" Type="http://schemas.openxmlformats.org/officeDocument/2006/relationships/notesSlide" Target="../notesSlides/notesSlide29.xml"/><Relationship Id="rId7" Type="http://schemas.openxmlformats.org/officeDocument/2006/relationships/hyperlink" Target="mailto:statesco@nipc.gov.ng" TargetMode="External"/><Relationship Id="rId12" Type="http://schemas.openxmlformats.org/officeDocument/2006/relationships/image" Target="../media/image203.png"/><Relationship Id="rId17" Type="http://schemas.openxmlformats.org/officeDocument/2006/relationships/image" Target="../media/image205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56.png"/><Relationship Id="rId1" Type="http://schemas.openxmlformats.org/officeDocument/2006/relationships/tags" Target="../tags/tag30.xml"/><Relationship Id="rId6" Type="http://schemas.openxmlformats.org/officeDocument/2006/relationships/image" Target="../media/image19.png"/><Relationship Id="rId11" Type="http://schemas.openxmlformats.org/officeDocument/2006/relationships/image" Target="../media/image93.png"/><Relationship Id="rId5" Type="http://schemas.openxmlformats.org/officeDocument/2006/relationships/image" Target="../media/image149.jpeg"/><Relationship Id="rId15" Type="http://schemas.openxmlformats.org/officeDocument/2006/relationships/image" Target="../media/image82.png"/><Relationship Id="rId10" Type="http://schemas.openxmlformats.org/officeDocument/2006/relationships/image" Target="../media/image202.png"/><Relationship Id="rId4" Type="http://schemas.openxmlformats.org/officeDocument/2006/relationships/image" Target="../media/image17.png"/><Relationship Id="rId9" Type="http://schemas.openxmlformats.org/officeDocument/2006/relationships/image" Target="../media/image59.png"/><Relationship Id="rId14" Type="http://schemas.openxmlformats.org/officeDocument/2006/relationships/image" Target="../media/image204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hyperlink" Target="mailto:yinusaolalekan@yahoo.com" TargetMode="External"/><Relationship Id="rId13" Type="http://schemas.openxmlformats.org/officeDocument/2006/relationships/image" Target="../media/image21.png"/><Relationship Id="rId18" Type="http://schemas.openxmlformats.org/officeDocument/2006/relationships/image" Target="../media/image101.png"/><Relationship Id="rId3" Type="http://schemas.openxmlformats.org/officeDocument/2006/relationships/notesSlide" Target="../notesSlides/notesSlide30.xml"/><Relationship Id="rId7" Type="http://schemas.openxmlformats.org/officeDocument/2006/relationships/hyperlink" Target="mailto:statesco@nipc.gov.ng" TargetMode="External"/><Relationship Id="rId12" Type="http://schemas.openxmlformats.org/officeDocument/2006/relationships/image" Target="../media/image39.png"/><Relationship Id="rId17" Type="http://schemas.openxmlformats.org/officeDocument/2006/relationships/image" Target="../media/image210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209.png"/><Relationship Id="rId1" Type="http://schemas.openxmlformats.org/officeDocument/2006/relationships/tags" Target="../tags/tag31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49.jpeg"/><Relationship Id="rId15" Type="http://schemas.openxmlformats.org/officeDocument/2006/relationships/image" Target="../media/image208.png"/><Relationship Id="rId10" Type="http://schemas.openxmlformats.org/officeDocument/2006/relationships/image" Target="../media/image155.png"/><Relationship Id="rId4" Type="http://schemas.openxmlformats.org/officeDocument/2006/relationships/image" Target="../media/image17.png"/><Relationship Id="rId9" Type="http://schemas.openxmlformats.org/officeDocument/2006/relationships/image" Target="../media/image42.png"/><Relationship Id="rId14" Type="http://schemas.openxmlformats.org/officeDocument/2006/relationships/image" Target="../media/image207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hyperlink" Target="mailto:yinkafatoki@bipp.org" TargetMode="External"/><Relationship Id="rId13" Type="http://schemas.openxmlformats.org/officeDocument/2006/relationships/image" Target="../media/image212.png"/><Relationship Id="rId18" Type="http://schemas.openxmlformats.org/officeDocument/2006/relationships/image" Target="../media/image39.png"/><Relationship Id="rId3" Type="http://schemas.openxmlformats.org/officeDocument/2006/relationships/notesSlide" Target="../notesSlides/notesSlide31.xml"/><Relationship Id="rId7" Type="http://schemas.openxmlformats.org/officeDocument/2006/relationships/hyperlink" Target="mailto:statesco@nipc.gov.ng" TargetMode="External"/><Relationship Id="rId12" Type="http://schemas.openxmlformats.org/officeDocument/2006/relationships/image" Target="../media/image23.png"/><Relationship Id="rId17" Type="http://schemas.openxmlformats.org/officeDocument/2006/relationships/image" Target="../media/image131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33.jpeg"/><Relationship Id="rId1" Type="http://schemas.openxmlformats.org/officeDocument/2006/relationships/tags" Target="../tags/tag32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jpeg"/><Relationship Id="rId15" Type="http://schemas.openxmlformats.org/officeDocument/2006/relationships/image" Target="../media/image213.png"/><Relationship Id="rId10" Type="http://schemas.openxmlformats.org/officeDocument/2006/relationships/image" Target="../media/image211.png"/><Relationship Id="rId4" Type="http://schemas.openxmlformats.org/officeDocument/2006/relationships/image" Target="../media/image17.png"/><Relationship Id="rId9" Type="http://schemas.openxmlformats.org/officeDocument/2006/relationships/image" Target="../media/image21.png"/><Relationship Id="rId14" Type="http://schemas.openxmlformats.org/officeDocument/2006/relationships/image" Target="../media/image155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hyperlink" Target="mailto:chrisyilzak@yahoo.com" TargetMode="External"/><Relationship Id="rId13" Type="http://schemas.openxmlformats.org/officeDocument/2006/relationships/image" Target="../media/image216.png"/><Relationship Id="rId18" Type="http://schemas.openxmlformats.org/officeDocument/2006/relationships/image" Target="../media/image221.png"/><Relationship Id="rId3" Type="http://schemas.openxmlformats.org/officeDocument/2006/relationships/notesSlide" Target="../notesSlides/notesSlide32.xml"/><Relationship Id="rId7" Type="http://schemas.openxmlformats.org/officeDocument/2006/relationships/hyperlink" Target="mailto:statesco@nipc.gov.ng" TargetMode="External"/><Relationship Id="rId12" Type="http://schemas.openxmlformats.org/officeDocument/2006/relationships/image" Target="../media/image31.jpeg"/><Relationship Id="rId17" Type="http://schemas.openxmlformats.org/officeDocument/2006/relationships/image" Target="../media/image220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219.png"/><Relationship Id="rId1" Type="http://schemas.openxmlformats.org/officeDocument/2006/relationships/tags" Target="../tags/tag33.xml"/><Relationship Id="rId6" Type="http://schemas.openxmlformats.org/officeDocument/2006/relationships/image" Target="../media/image19.png"/><Relationship Id="rId11" Type="http://schemas.openxmlformats.org/officeDocument/2006/relationships/image" Target="../media/image215.png"/><Relationship Id="rId5" Type="http://schemas.openxmlformats.org/officeDocument/2006/relationships/image" Target="../media/image18.jpeg"/><Relationship Id="rId15" Type="http://schemas.openxmlformats.org/officeDocument/2006/relationships/image" Target="../media/image218.png"/><Relationship Id="rId10" Type="http://schemas.openxmlformats.org/officeDocument/2006/relationships/image" Target="../media/image178.png"/><Relationship Id="rId4" Type="http://schemas.openxmlformats.org/officeDocument/2006/relationships/image" Target="../media/image17.png"/><Relationship Id="rId9" Type="http://schemas.openxmlformats.org/officeDocument/2006/relationships/image" Target="../media/image214.png"/><Relationship Id="rId14" Type="http://schemas.openxmlformats.org/officeDocument/2006/relationships/image" Target="../media/image217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hyperlink" Target="mailto:nancynwankwo18@gmail.com" TargetMode="External"/><Relationship Id="rId13" Type="http://schemas.openxmlformats.org/officeDocument/2006/relationships/image" Target="../media/image222.png"/><Relationship Id="rId18" Type="http://schemas.openxmlformats.org/officeDocument/2006/relationships/image" Target="../media/image224.png"/><Relationship Id="rId3" Type="http://schemas.openxmlformats.org/officeDocument/2006/relationships/notesSlide" Target="../notesSlides/notesSlide33.xml"/><Relationship Id="rId7" Type="http://schemas.openxmlformats.org/officeDocument/2006/relationships/hyperlink" Target="mailto:statesco@nipc.gov.ng" TargetMode="External"/><Relationship Id="rId12" Type="http://schemas.openxmlformats.org/officeDocument/2006/relationships/image" Target="../media/image34.png"/><Relationship Id="rId17" Type="http://schemas.openxmlformats.org/officeDocument/2006/relationships/image" Target="../media/image223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23.png"/><Relationship Id="rId1" Type="http://schemas.openxmlformats.org/officeDocument/2006/relationships/tags" Target="../tags/tag34.xml"/><Relationship Id="rId6" Type="http://schemas.openxmlformats.org/officeDocument/2006/relationships/image" Target="../media/image19.png"/><Relationship Id="rId11" Type="http://schemas.openxmlformats.org/officeDocument/2006/relationships/image" Target="../media/image129.png"/><Relationship Id="rId5" Type="http://schemas.openxmlformats.org/officeDocument/2006/relationships/image" Target="../media/image18.jpeg"/><Relationship Id="rId15" Type="http://schemas.openxmlformats.org/officeDocument/2006/relationships/image" Target="../media/image31.jpeg"/><Relationship Id="rId10" Type="http://schemas.openxmlformats.org/officeDocument/2006/relationships/image" Target="../media/image138.png"/><Relationship Id="rId4" Type="http://schemas.openxmlformats.org/officeDocument/2006/relationships/image" Target="../media/image17.png"/><Relationship Id="rId9" Type="http://schemas.openxmlformats.org/officeDocument/2006/relationships/image" Target="../media/image82.png"/><Relationship Id="rId14" Type="http://schemas.openxmlformats.org/officeDocument/2006/relationships/image" Target="../media/image21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hyperlink" Target="mailto:tukuree@yahoo.com" TargetMode="External"/><Relationship Id="rId13" Type="http://schemas.openxmlformats.org/officeDocument/2006/relationships/image" Target="../media/image33.jpeg"/><Relationship Id="rId18" Type="http://schemas.openxmlformats.org/officeDocument/2006/relationships/image" Target="../media/image37.png"/><Relationship Id="rId3" Type="http://schemas.openxmlformats.org/officeDocument/2006/relationships/notesSlide" Target="../notesSlides/notesSlide34.xml"/><Relationship Id="rId7" Type="http://schemas.openxmlformats.org/officeDocument/2006/relationships/hyperlink" Target="mailto:statesco@nipc.gov.ng" TargetMode="External"/><Relationship Id="rId12" Type="http://schemas.openxmlformats.org/officeDocument/2006/relationships/image" Target="../media/image127.jpeg"/><Relationship Id="rId17" Type="http://schemas.openxmlformats.org/officeDocument/2006/relationships/image" Target="../media/image225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46.jpeg"/><Relationship Id="rId1" Type="http://schemas.openxmlformats.org/officeDocument/2006/relationships/tags" Target="../tags/tag35.xml"/><Relationship Id="rId6" Type="http://schemas.openxmlformats.org/officeDocument/2006/relationships/image" Target="../media/image19.png"/><Relationship Id="rId11" Type="http://schemas.openxmlformats.org/officeDocument/2006/relationships/image" Target="../media/image30.jpeg"/><Relationship Id="rId5" Type="http://schemas.openxmlformats.org/officeDocument/2006/relationships/image" Target="../media/image18.jpeg"/><Relationship Id="rId15" Type="http://schemas.openxmlformats.org/officeDocument/2006/relationships/image" Target="../media/image64.png"/><Relationship Id="rId10" Type="http://schemas.openxmlformats.org/officeDocument/2006/relationships/image" Target="../media/image71.png"/><Relationship Id="rId4" Type="http://schemas.openxmlformats.org/officeDocument/2006/relationships/image" Target="../media/image17.png"/><Relationship Id="rId9" Type="http://schemas.openxmlformats.org/officeDocument/2006/relationships/image" Target="../media/image32.png"/><Relationship Id="rId14" Type="http://schemas.openxmlformats.org/officeDocument/2006/relationships/image" Target="../media/image34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hyperlink" Target="mailto:rabiuahmadbako@gmail.com" TargetMode="External"/><Relationship Id="rId13" Type="http://schemas.openxmlformats.org/officeDocument/2006/relationships/image" Target="../media/image24.png"/><Relationship Id="rId18" Type="http://schemas.openxmlformats.org/officeDocument/2006/relationships/image" Target="../media/image34.png"/><Relationship Id="rId3" Type="http://schemas.openxmlformats.org/officeDocument/2006/relationships/notesSlide" Target="../notesSlides/notesSlide35.xml"/><Relationship Id="rId7" Type="http://schemas.openxmlformats.org/officeDocument/2006/relationships/hyperlink" Target="mailto:statesco@nipc.gov.ng" TargetMode="External"/><Relationship Id="rId12" Type="http://schemas.openxmlformats.org/officeDocument/2006/relationships/image" Target="../media/image223.png"/><Relationship Id="rId17" Type="http://schemas.openxmlformats.org/officeDocument/2006/relationships/image" Target="../media/image23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70.png"/><Relationship Id="rId1" Type="http://schemas.openxmlformats.org/officeDocument/2006/relationships/tags" Target="../tags/tag36.xml"/><Relationship Id="rId6" Type="http://schemas.openxmlformats.org/officeDocument/2006/relationships/image" Target="../media/image19.png"/><Relationship Id="rId11" Type="http://schemas.openxmlformats.org/officeDocument/2006/relationships/image" Target="../media/image33.jpeg"/><Relationship Id="rId5" Type="http://schemas.openxmlformats.org/officeDocument/2006/relationships/image" Target="../media/image18.jpeg"/><Relationship Id="rId15" Type="http://schemas.openxmlformats.org/officeDocument/2006/relationships/image" Target="../media/image122.jpeg"/><Relationship Id="rId10" Type="http://schemas.openxmlformats.org/officeDocument/2006/relationships/image" Target="../media/image124.jpeg"/><Relationship Id="rId4" Type="http://schemas.openxmlformats.org/officeDocument/2006/relationships/image" Target="../media/image17.png"/><Relationship Id="rId9" Type="http://schemas.openxmlformats.org/officeDocument/2006/relationships/image" Target="../media/image31.jpeg"/><Relationship Id="rId14" Type="http://schemas.openxmlformats.org/officeDocument/2006/relationships/image" Target="../media/image82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hyperlink" Target="mailto:adamutalba@gmail.com" TargetMode="External"/><Relationship Id="rId13" Type="http://schemas.openxmlformats.org/officeDocument/2006/relationships/image" Target="../media/image34.png"/><Relationship Id="rId18" Type="http://schemas.openxmlformats.org/officeDocument/2006/relationships/image" Target="../media/image122.jpeg"/><Relationship Id="rId3" Type="http://schemas.openxmlformats.org/officeDocument/2006/relationships/notesSlide" Target="../notesSlides/notesSlide36.xml"/><Relationship Id="rId7" Type="http://schemas.openxmlformats.org/officeDocument/2006/relationships/hyperlink" Target="mailto:statesco@nipc.gov.ng" TargetMode="External"/><Relationship Id="rId12" Type="http://schemas.openxmlformats.org/officeDocument/2006/relationships/image" Target="../media/image30.jpeg"/><Relationship Id="rId17" Type="http://schemas.openxmlformats.org/officeDocument/2006/relationships/image" Target="../media/image121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64.png"/><Relationship Id="rId1" Type="http://schemas.openxmlformats.org/officeDocument/2006/relationships/tags" Target="../tags/tag37.xml"/><Relationship Id="rId6" Type="http://schemas.openxmlformats.org/officeDocument/2006/relationships/image" Target="../media/image19.png"/><Relationship Id="rId11" Type="http://schemas.openxmlformats.org/officeDocument/2006/relationships/image" Target="../media/image127.jpeg"/><Relationship Id="rId5" Type="http://schemas.openxmlformats.org/officeDocument/2006/relationships/image" Target="../media/image18.jpeg"/><Relationship Id="rId15" Type="http://schemas.openxmlformats.org/officeDocument/2006/relationships/image" Target="../media/image23.png"/><Relationship Id="rId10" Type="http://schemas.openxmlformats.org/officeDocument/2006/relationships/image" Target="../media/image32.png"/><Relationship Id="rId4" Type="http://schemas.openxmlformats.org/officeDocument/2006/relationships/image" Target="../media/image17.png"/><Relationship Id="rId9" Type="http://schemas.openxmlformats.org/officeDocument/2006/relationships/image" Target="../media/image70.png"/><Relationship Id="rId14" Type="http://schemas.openxmlformats.org/officeDocument/2006/relationships/image" Target="../media/image31.jpe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hyperlink" Target="mailto:ahmedmaradun@gmail.com" TargetMode="External"/><Relationship Id="rId13" Type="http://schemas.openxmlformats.org/officeDocument/2006/relationships/image" Target="../media/image23.png"/><Relationship Id="rId18" Type="http://schemas.openxmlformats.org/officeDocument/2006/relationships/image" Target="../media/image229.png"/><Relationship Id="rId3" Type="http://schemas.openxmlformats.org/officeDocument/2006/relationships/notesSlide" Target="../notesSlides/notesSlide37.xml"/><Relationship Id="rId7" Type="http://schemas.openxmlformats.org/officeDocument/2006/relationships/hyperlink" Target="mailto:statesco@nipc.gov.ng" TargetMode="External"/><Relationship Id="rId12" Type="http://schemas.openxmlformats.org/officeDocument/2006/relationships/image" Target="../media/image227.png"/><Relationship Id="rId17" Type="http://schemas.openxmlformats.org/officeDocument/2006/relationships/image" Target="../media/image88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46.jpeg"/><Relationship Id="rId1" Type="http://schemas.openxmlformats.org/officeDocument/2006/relationships/tags" Target="../tags/tag38.xml"/><Relationship Id="rId6" Type="http://schemas.openxmlformats.org/officeDocument/2006/relationships/image" Target="../media/image19.png"/><Relationship Id="rId11" Type="http://schemas.openxmlformats.org/officeDocument/2006/relationships/image" Target="../media/image226.png"/><Relationship Id="rId5" Type="http://schemas.openxmlformats.org/officeDocument/2006/relationships/image" Target="../media/image18.jpeg"/><Relationship Id="rId15" Type="http://schemas.openxmlformats.org/officeDocument/2006/relationships/image" Target="../media/image125.jpeg"/><Relationship Id="rId10" Type="http://schemas.openxmlformats.org/officeDocument/2006/relationships/image" Target="../media/image198.png"/><Relationship Id="rId4" Type="http://schemas.openxmlformats.org/officeDocument/2006/relationships/image" Target="../media/image17.png"/><Relationship Id="rId9" Type="http://schemas.openxmlformats.org/officeDocument/2006/relationships/image" Target="../media/image153.png"/><Relationship Id="rId14" Type="http://schemas.openxmlformats.org/officeDocument/2006/relationships/image" Target="../media/image228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mailto:abbas_fufore@yahoo.co.uk" TargetMode="External"/><Relationship Id="rId13" Type="http://schemas.openxmlformats.org/officeDocument/2006/relationships/image" Target="../media/image33.jpeg"/><Relationship Id="rId18" Type="http://schemas.openxmlformats.org/officeDocument/2006/relationships/image" Target="../media/image36.png"/><Relationship Id="rId3" Type="http://schemas.openxmlformats.org/officeDocument/2006/relationships/notesSlide" Target="../notesSlides/notesSlide2.xml"/><Relationship Id="rId7" Type="http://schemas.openxmlformats.org/officeDocument/2006/relationships/hyperlink" Target="mailto:statesco@nipc.gov.ng" TargetMode="External"/><Relationship Id="rId12" Type="http://schemas.openxmlformats.org/officeDocument/2006/relationships/image" Target="../media/image32.png"/><Relationship Id="rId17" Type="http://schemas.microsoft.com/office/2007/relationships/hdphoto" Target="../media/hdphoto2.wdp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35.png"/><Relationship Id="rId1" Type="http://schemas.openxmlformats.org/officeDocument/2006/relationships/tags" Target="../tags/tag3.xml"/><Relationship Id="rId6" Type="http://schemas.openxmlformats.org/officeDocument/2006/relationships/image" Target="../media/image19.png"/><Relationship Id="rId11" Type="http://schemas.openxmlformats.org/officeDocument/2006/relationships/image" Target="../media/image21.png"/><Relationship Id="rId5" Type="http://schemas.openxmlformats.org/officeDocument/2006/relationships/image" Target="../media/image18.jpeg"/><Relationship Id="rId15" Type="http://schemas.openxmlformats.org/officeDocument/2006/relationships/image" Target="../media/image34.png"/><Relationship Id="rId10" Type="http://schemas.openxmlformats.org/officeDocument/2006/relationships/image" Target="../media/image31.jpeg"/><Relationship Id="rId19" Type="http://schemas.openxmlformats.org/officeDocument/2006/relationships/image" Target="../media/image37.png"/><Relationship Id="rId4" Type="http://schemas.openxmlformats.org/officeDocument/2006/relationships/image" Target="../media/image17.png"/><Relationship Id="rId9" Type="http://schemas.openxmlformats.org/officeDocument/2006/relationships/image" Target="../media/image30.jpeg"/><Relationship Id="rId14" Type="http://schemas.openxmlformats.org/officeDocument/2006/relationships/image" Target="../media/image24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mailto:elijah-a@hotmail.com" TargetMode="External"/><Relationship Id="rId13" Type="http://schemas.openxmlformats.org/officeDocument/2006/relationships/image" Target="../media/image41.png"/><Relationship Id="rId18" Type="http://schemas.openxmlformats.org/officeDocument/2006/relationships/image" Target="../media/image24.png"/><Relationship Id="rId3" Type="http://schemas.openxmlformats.org/officeDocument/2006/relationships/notesSlide" Target="../notesSlides/notesSlide3.xml"/><Relationship Id="rId7" Type="http://schemas.openxmlformats.org/officeDocument/2006/relationships/hyperlink" Target="mailto:statesco@nipc.gov.ng" TargetMode="External"/><Relationship Id="rId12" Type="http://schemas.openxmlformats.org/officeDocument/2006/relationships/image" Target="../media/image40.jpeg"/><Relationship Id="rId17" Type="http://schemas.openxmlformats.org/officeDocument/2006/relationships/image" Target="../media/image44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43.jpeg"/><Relationship Id="rId1" Type="http://schemas.openxmlformats.org/officeDocument/2006/relationships/tags" Target="../tags/tag4.xml"/><Relationship Id="rId6" Type="http://schemas.openxmlformats.org/officeDocument/2006/relationships/image" Target="../media/image19.png"/><Relationship Id="rId11" Type="http://schemas.openxmlformats.org/officeDocument/2006/relationships/image" Target="../media/image39.png"/><Relationship Id="rId5" Type="http://schemas.openxmlformats.org/officeDocument/2006/relationships/image" Target="../media/image18.jpeg"/><Relationship Id="rId15" Type="http://schemas.openxmlformats.org/officeDocument/2006/relationships/image" Target="../media/image22.png"/><Relationship Id="rId10" Type="http://schemas.microsoft.com/office/2007/relationships/hdphoto" Target="../media/hdphoto3.wdp"/><Relationship Id="rId19" Type="http://schemas.openxmlformats.org/officeDocument/2006/relationships/image" Target="../media/image29.png"/><Relationship Id="rId4" Type="http://schemas.openxmlformats.org/officeDocument/2006/relationships/image" Target="../media/image17.png"/><Relationship Id="rId9" Type="http://schemas.openxmlformats.org/officeDocument/2006/relationships/image" Target="../media/image38.png"/><Relationship Id="rId14" Type="http://schemas.openxmlformats.org/officeDocument/2006/relationships/image" Target="../media/image4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mailto:ifediora.amobi@anambrastate.gov.ng" TargetMode="External"/><Relationship Id="rId13" Type="http://schemas.openxmlformats.org/officeDocument/2006/relationships/image" Target="../media/image23.png"/><Relationship Id="rId18" Type="http://schemas.openxmlformats.org/officeDocument/2006/relationships/image" Target="../media/image44.png"/><Relationship Id="rId3" Type="http://schemas.openxmlformats.org/officeDocument/2006/relationships/notesSlide" Target="../notesSlides/notesSlide4.xml"/><Relationship Id="rId7" Type="http://schemas.openxmlformats.org/officeDocument/2006/relationships/hyperlink" Target="mailto:statesco@nipc.gov.ng" TargetMode="External"/><Relationship Id="rId12" Type="http://schemas.openxmlformats.org/officeDocument/2006/relationships/image" Target="../media/image22.png"/><Relationship Id="rId17" Type="http://schemas.openxmlformats.org/officeDocument/2006/relationships/image" Target="../media/image48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24.png"/><Relationship Id="rId1" Type="http://schemas.openxmlformats.org/officeDocument/2006/relationships/tags" Target="../tags/tag5.xml"/><Relationship Id="rId6" Type="http://schemas.openxmlformats.org/officeDocument/2006/relationships/image" Target="../media/image19.png"/><Relationship Id="rId11" Type="http://schemas.openxmlformats.org/officeDocument/2006/relationships/image" Target="../media/image21.png"/><Relationship Id="rId5" Type="http://schemas.openxmlformats.org/officeDocument/2006/relationships/image" Target="../media/image18.jpeg"/><Relationship Id="rId15" Type="http://schemas.openxmlformats.org/officeDocument/2006/relationships/image" Target="../media/image47.png"/><Relationship Id="rId10" Type="http://schemas.microsoft.com/office/2007/relationships/hdphoto" Target="../media/hdphoto4.wdp"/><Relationship Id="rId19" Type="http://schemas.openxmlformats.org/officeDocument/2006/relationships/image" Target="../media/image49.png"/><Relationship Id="rId4" Type="http://schemas.openxmlformats.org/officeDocument/2006/relationships/image" Target="../media/image17.png"/><Relationship Id="rId9" Type="http://schemas.openxmlformats.org/officeDocument/2006/relationships/image" Target="../media/image45.png"/><Relationship Id="rId14" Type="http://schemas.openxmlformats.org/officeDocument/2006/relationships/image" Target="../media/image46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mailto:aminumusa9@gmail.com" TargetMode="External"/><Relationship Id="rId13" Type="http://schemas.openxmlformats.org/officeDocument/2006/relationships/image" Target="../media/image21.png"/><Relationship Id="rId18" Type="http://schemas.openxmlformats.org/officeDocument/2006/relationships/image" Target="../media/image54.png"/><Relationship Id="rId3" Type="http://schemas.openxmlformats.org/officeDocument/2006/relationships/notesSlide" Target="../notesSlides/notesSlide5.xml"/><Relationship Id="rId7" Type="http://schemas.openxmlformats.org/officeDocument/2006/relationships/hyperlink" Target="mailto:statesco@nipc.gov.ng" TargetMode="External"/><Relationship Id="rId12" Type="http://schemas.openxmlformats.org/officeDocument/2006/relationships/image" Target="../media/image51.png"/><Relationship Id="rId17" Type="http://schemas.openxmlformats.org/officeDocument/2006/relationships/image" Target="../media/image53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52.png"/><Relationship Id="rId1" Type="http://schemas.openxmlformats.org/officeDocument/2006/relationships/tags" Target="../tags/tag6.xml"/><Relationship Id="rId6" Type="http://schemas.openxmlformats.org/officeDocument/2006/relationships/image" Target="../media/image19.png"/><Relationship Id="rId11" Type="http://schemas.openxmlformats.org/officeDocument/2006/relationships/image" Target="../media/image50.jpeg"/><Relationship Id="rId5" Type="http://schemas.openxmlformats.org/officeDocument/2006/relationships/image" Target="../media/image18.jpeg"/><Relationship Id="rId15" Type="http://schemas.openxmlformats.org/officeDocument/2006/relationships/image" Target="../media/image24.png"/><Relationship Id="rId10" Type="http://schemas.microsoft.com/office/2007/relationships/hdphoto" Target="../media/hdphoto3.wdp"/><Relationship Id="rId19" Type="http://schemas.openxmlformats.org/officeDocument/2006/relationships/image" Target="../media/image55.png"/><Relationship Id="rId4" Type="http://schemas.openxmlformats.org/officeDocument/2006/relationships/image" Target="../media/image17.png"/><Relationship Id="rId9" Type="http://schemas.openxmlformats.org/officeDocument/2006/relationships/image" Target="../media/image38.png"/><Relationship Id="rId14" Type="http://schemas.openxmlformats.org/officeDocument/2006/relationships/image" Target="../media/image30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mailto:patience.abah@bayelsa.gov.ng" TargetMode="External"/><Relationship Id="rId13" Type="http://schemas.openxmlformats.org/officeDocument/2006/relationships/image" Target="../media/image21.png"/><Relationship Id="rId18" Type="http://schemas.openxmlformats.org/officeDocument/2006/relationships/image" Target="../media/image59.png"/><Relationship Id="rId3" Type="http://schemas.openxmlformats.org/officeDocument/2006/relationships/notesSlide" Target="../notesSlides/notesSlide6.xml"/><Relationship Id="rId7" Type="http://schemas.openxmlformats.org/officeDocument/2006/relationships/hyperlink" Target="mailto:statesco@nipc.gov.ng" TargetMode="External"/><Relationship Id="rId12" Type="http://schemas.openxmlformats.org/officeDocument/2006/relationships/image" Target="../media/image34.png"/><Relationship Id="rId17" Type="http://schemas.openxmlformats.org/officeDocument/2006/relationships/image" Target="../media/image58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57.png"/><Relationship Id="rId1" Type="http://schemas.openxmlformats.org/officeDocument/2006/relationships/tags" Target="../tags/tag7.xml"/><Relationship Id="rId6" Type="http://schemas.openxmlformats.org/officeDocument/2006/relationships/image" Target="../media/image19.png"/><Relationship Id="rId11" Type="http://schemas.openxmlformats.org/officeDocument/2006/relationships/image" Target="../media/image56.png"/><Relationship Id="rId5" Type="http://schemas.openxmlformats.org/officeDocument/2006/relationships/image" Target="../media/image18.jpeg"/><Relationship Id="rId15" Type="http://schemas.openxmlformats.org/officeDocument/2006/relationships/image" Target="../media/image23.png"/><Relationship Id="rId10" Type="http://schemas.microsoft.com/office/2007/relationships/hdphoto" Target="../media/hdphoto3.wdp"/><Relationship Id="rId19" Type="http://schemas.openxmlformats.org/officeDocument/2006/relationships/image" Target="../media/image29.png"/><Relationship Id="rId4" Type="http://schemas.openxmlformats.org/officeDocument/2006/relationships/image" Target="../media/image17.png"/><Relationship Id="rId9" Type="http://schemas.openxmlformats.org/officeDocument/2006/relationships/image" Target="../media/image38.png"/><Relationship Id="rId14" Type="http://schemas.openxmlformats.org/officeDocument/2006/relationships/image" Target="../media/image31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mailto:haanongon10@gmail.com" TargetMode="External"/><Relationship Id="rId13" Type="http://schemas.openxmlformats.org/officeDocument/2006/relationships/image" Target="../media/image63.png"/><Relationship Id="rId18" Type="http://schemas.openxmlformats.org/officeDocument/2006/relationships/image" Target="../media/image67.png"/><Relationship Id="rId3" Type="http://schemas.openxmlformats.org/officeDocument/2006/relationships/notesSlide" Target="../notesSlides/notesSlide7.xml"/><Relationship Id="rId7" Type="http://schemas.openxmlformats.org/officeDocument/2006/relationships/hyperlink" Target="mailto:statesco@nipc.gov.ng" TargetMode="External"/><Relationship Id="rId12" Type="http://schemas.openxmlformats.org/officeDocument/2006/relationships/image" Target="../media/image62.png"/><Relationship Id="rId17" Type="http://schemas.openxmlformats.org/officeDocument/2006/relationships/image" Target="../media/image66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65.png"/><Relationship Id="rId1" Type="http://schemas.openxmlformats.org/officeDocument/2006/relationships/tags" Target="../tags/tag8.xml"/><Relationship Id="rId6" Type="http://schemas.openxmlformats.org/officeDocument/2006/relationships/image" Target="../media/image19.png"/><Relationship Id="rId11" Type="http://schemas.openxmlformats.org/officeDocument/2006/relationships/image" Target="../media/image61.png"/><Relationship Id="rId5" Type="http://schemas.openxmlformats.org/officeDocument/2006/relationships/image" Target="../media/image18.jpeg"/><Relationship Id="rId15" Type="http://schemas.openxmlformats.org/officeDocument/2006/relationships/image" Target="../media/image64.png"/><Relationship Id="rId10" Type="http://schemas.openxmlformats.org/officeDocument/2006/relationships/image" Target="../media/image60.png"/><Relationship Id="rId4" Type="http://schemas.openxmlformats.org/officeDocument/2006/relationships/image" Target="../media/image17.png"/><Relationship Id="rId9" Type="http://schemas.openxmlformats.org/officeDocument/2006/relationships/image" Target="../media/image34.png"/><Relationship Id="rId1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reeform 13">
            <a:extLst>
              <a:ext uri="{FF2B5EF4-FFF2-40B4-BE49-F238E27FC236}">
                <a16:creationId xmlns:a16="http://schemas.microsoft.com/office/drawing/2014/main" id="{DF40729E-101B-4331-B3D1-37872D98D89B}"/>
              </a:ext>
            </a:extLst>
          </p:cNvPr>
          <p:cNvSpPr>
            <a:spLocks/>
          </p:cNvSpPr>
          <p:nvPr/>
        </p:nvSpPr>
        <p:spPr bwMode="gray">
          <a:xfrm>
            <a:off x="4377497" y="3667036"/>
            <a:ext cx="357439" cy="392373"/>
          </a:xfrm>
          <a:custGeom>
            <a:avLst/>
            <a:gdLst>
              <a:gd name="T0" fmla="*/ 11 w 624"/>
              <a:gd name="T1" fmla="*/ 59 h 672"/>
              <a:gd name="T2" fmla="*/ 4 w 624"/>
              <a:gd name="T3" fmla="*/ 58 h 672"/>
              <a:gd name="T4" fmla="*/ 3 w 624"/>
              <a:gd name="T5" fmla="*/ 58 h 672"/>
              <a:gd name="T6" fmla="*/ 2 w 624"/>
              <a:gd name="T7" fmla="*/ 11 h 672"/>
              <a:gd name="T8" fmla="*/ 13 w 624"/>
              <a:gd name="T9" fmla="*/ 11 h 672"/>
              <a:gd name="T10" fmla="*/ 14 w 624"/>
              <a:gd name="T11" fmla="*/ 11 h 672"/>
              <a:gd name="T12" fmla="*/ 15 w 624"/>
              <a:gd name="T13" fmla="*/ 12 h 672"/>
              <a:gd name="T14" fmla="*/ 18 w 624"/>
              <a:gd name="T15" fmla="*/ 14 h 672"/>
              <a:gd name="T16" fmla="*/ 21 w 624"/>
              <a:gd name="T17" fmla="*/ 16 h 672"/>
              <a:gd name="T18" fmla="*/ 22 w 624"/>
              <a:gd name="T19" fmla="*/ 18 h 672"/>
              <a:gd name="T20" fmla="*/ 23 w 624"/>
              <a:gd name="T21" fmla="*/ 19 h 672"/>
              <a:gd name="T22" fmla="*/ 24 w 624"/>
              <a:gd name="T23" fmla="*/ 19 h 672"/>
              <a:gd name="T24" fmla="*/ 26 w 624"/>
              <a:gd name="T25" fmla="*/ 19 h 672"/>
              <a:gd name="T26" fmla="*/ 27 w 624"/>
              <a:gd name="T27" fmla="*/ 18 h 672"/>
              <a:gd name="T28" fmla="*/ 29 w 624"/>
              <a:gd name="T29" fmla="*/ 15 h 672"/>
              <a:gd name="T30" fmla="*/ 30 w 624"/>
              <a:gd name="T31" fmla="*/ 14 h 672"/>
              <a:gd name="T32" fmla="*/ 31 w 624"/>
              <a:gd name="T33" fmla="*/ 12 h 672"/>
              <a:gd name="T34" fmla="*/ 32 w 624"/>
              <a:gd name="T35" fmla="*/ 12 h 672"/>
              <a:gd name="T36" fmla="*/ 33 w 624"/>
              <a:gd name="T37" fmla="*/ 10 h 672"/>
              <a:gd name="T38" fmla="*/ 34 w 624"/>
              <a:gd name="T39" fmla="*/ 8 h 672"/>
              <a:gd name="T40" fmla="*/ 34 w 624"/>
              <a:gd name="T41" fmla="*/ 6 h 672"/>
              <a:gd name="T42" fmla="*/ 35 w 624"/>
              <a:gd name="T43" fmla="*/ 4 h 672"/>
              <a:gd name="T44" fmla="*/ 42 w 624"/>
              <a:gd name="T45" fmla="*/ 3 h 672"/>
              <a:gd name="T46" fmla="*/ 44 w 624"/>
              <a:gd name="T47" fmla="*/ 2 h 672"/>
              <a:gd name="T48" fmla="*/ 46 w 624"/>
              <a:gd name="T49" fmla="*/ 0 h 672"/>
              <a:gd name="T50" fmla="*/ 51 w 624"/>
              <a:gd name="T51" fmla="*/ 3 h 672"/>
              <a:gd name="T52" fmla="*/ 54 w 624"/>
              <a:gd name="T53" fmla="*/ 6 h 672"/>
              <a:gd name="T54" fmla="*/ 54 w 624"/>
              <a:gd name="T55" fmla="*/ 8 h 672"/>
              <a:gd name="T56" fmla="*/ 52 w 624"/>
              <a:gd name="T57" fmla="*/ 9 h 672"/>
              <a:gd name="T58" fmla="*/ 49 w 624"/>
              <a:gd name="T59" fmla="*/ 11 h 672"/>
              <a:gd name="T60" fmla="*/ 48 w 624"/>
              <a:gd name="T61" fmla="*/ 14 h 672"/>
              <a:gd name="T62" fmla="*/ 46 w 624"/>
              <a:gd name="T63" fmla="*/ 22 h 672"/>
              <a:gd name="T64" fmla="*/ 45 w 624"/>
              <a:gd name="T65" fmla="*/ 39 h 672"/>
              <a:gd name="T66" fmla="*/ 43 w 624"/>
              <a:gd name="T67" fmla="*/ 43 h 672"/>
              <a:gd name="T68" fmla="*/ 39 w 624"/>
              <a:gd name="T69" fmla="*/ 50 h 672"/>
              <a:gd name="T70" fmla="*/ 36 w 624"/>
              <a:gd name="T71" fmla="*/ 53 h 672"/>
              <a:gd name="T72" fmla="*/ 32 w 624"/>
              <a:gd name="T73" fmla="*/ 56 h 672"/>
              <a:gd name="T74" fmla="*/ 30 w 624"/>
              <a:gd name="T75" fmla="*/ 58 h 672"/>
              <a:gd name="T76" fmla="*/ 20 w 624"/>
              <a:gd name="T77" fmla="*/ 59 h 672"/>
              <a:gd name="T78" fmla="*/ 15 w 624"/>
              <a:gd name="T79" fmla="*/ 59 h 672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624"/>
              <a:gd name="T121" fmla="*/ 0 h 672"/>
              <a:gd name="T122" fmla="*/ 624 w 624"/>
              <a:gd name="T123" fmla="*/ 672 h 672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624" h="672">
                <a:moveTo>
                  <a:pt x="168" y="672"/>
                </a:moveTo>
                <a:lnTo>
                  <a:pt x="132" y="672"/>
                </a:lnTo>
                <a:lnTo>
                  <a:pt x="72" y="666"/>
                </a:lnTo>
                <a:lnTo>
                  <a:pt x="42" y="666"/>
                </a:lnTo>
                <a:lnTo>
                  <a:pt x="36" y="666"/>
                </a:lnTo>
                <a:lnTo>
                  <a:pt x="30" y="660"/>
                </a:lnTo>
                <a:lnTo>
                  <a:pt x="0" y="660"/>
                </a:lnTo>
                <a:lnTo>
                  <a:pt x="24" y="120"/>
                </a:lnTo>
                <a:lnTo>
                  <a:pt x="60" y="120"/>
                </a:lnTo>
                <a:lnTo>
                  <a:pt x="150" y="126"/>
                </a:lnTo>
                <a:lnTo>
                  <a:pt x="156" y="126"/>
                </a:lnTo>
                <a:lnTo>
                  <a:pt x="162" y="120"/>
                </a:lnTo>
                <a:lnTo>
                  <a:pt x="168" y="120"/>
                </a:lnTo>
                <a:lnTo>
                  <a:pt x="174" y="132"/>
                </a:lnTo>
                <a:lnTo>
                  <a:pt x="186" y="138"/>
                </a:lnTo>
                <a:lnTo>
                  <a:pt x="210" y="156"/>
                </a:lnTo>
                <a:lnTo>
                  <a:pt x="222" y="174"/>
                </a:lnTo>
                <a:lnTo>
                  <a:pt x="240" y="186"/>
                </a:lnTo>
                <a:lnTo>
                  <a:pt x="252" y="198"/>
                </a:lnTo>
                <a:lnTo>
                  <a:pt x="258" y="204"/>
                </a:lnTo>
                <a:lnTo>
                  <a:pt x="264" y="204"/>
                </a:lnTo>
                <a:lnTo>
                  <a:pt x="264" y="216"/>
                </a:lnTo>
                <a:lnTo>
                  <a:pt x="270" y="216"/>
                </a:lnTo>
                <a:lnTo>
                  <a:pt x="282" y="222"/>
                </a:lnTo>
                <a:lnTo>
                  <a:pt x="288" y="222"/>
                </a:lnTo>
                <a:lnTo>
                  <a:pt x="294" y="216"/>
                </a:lnTo>
                <a:lnTo>
                  <a:pt x="294" y="210"/>
                </a:lnTo>
                <a:lnTo>
                  <a:pt x="312" y="204"/>
                </a:lnTo>
                <a:lnTo>
                  <a:pt x="330" y="186"/>
                </a:lnTo>
                <a:lnTo>
                  <a:pt x="336" y="174"/>
                </a:lnTo>
                <a:lnTo>
                  <a:pt x="342" y="162"/>
                </a:lnTo>
                <a:lnTo>
                  <a:pt x="342" y="156"/>
                </a:lnTo>
                <a:lnTo>
                  <a:pt x="348" y="150"/>
                </a:lnTo>
                <a:lnTo>
                  <a:pt x="354" y="144"/>
                </a:lnTo>
                <a:lnTo>
                  <a:pt x="360" y="138"/>
                </a:lnTo>
                <a:lnTo>
                  <a:pt x="366" y="132"/>
                </a:lnTo>
                <a:lnTo>
                  <a:pt x="372" y="114"/>
                </a:lnTo>
                <a:lnTo>
                  <a:pt x="378" y="114"/>
                </a:lnTo>
                <a:lnTo>
                  <a:pt x="378" y="96"/>
                </a:lnTo>
                <a:lnTo>
                  <a:pt x="390" y="96"/>
                </a:lnTo>
                <a:lnTo>
                  <a:pt x="396" y="84"/>
                </a:lnTo>
                <a:lnTo>
                  <a:pt x="396" y="72"/>
                </a:lnTo>
                <a:lnTo>
                  <a:pt x="396" y="54"/>
                </a:lnTo>
                <a:lnTo>
                  <a:pt x="408" y="42"/>
                </a:lnTo>
                <a:lnTo>
                  <a:pt x="468" y="42"/>
                </a:lnTo>
                <a:lnTo>
                  <a:pt x="486" y="36"/>
                </a:lnTo>
                <a:lnTo>
                  <a:pt x="492" y="24"/>
                </a:lnTo>
                <a:lnTo>
                  <a:pt x="504" y="24"/>
                </a:lnTo>
                <a:lnTo>
                  <a:pt x="516" y="6"/>
                </a:lnTo>
                <a:lnTo>
                  <a:pt x="528" y="0"/>
                </a:lnTo>
                <a:lnTo>
                  <a:pt x="558" y="12"/>
                </a:lnTo>
                <a:lnTo>
                  <a:pt x="588" y="36"/>
                </a:lnTo>
                <a:lnTo>
                  <a:pt x="600" y="66"/>
                </a:lnTo>
                <a:lnTo>
                  <a:pt x="624" y="66"/>
                </a:lnTo>
                <a:lnTo>
                  <a:pt x="624" y="90"/>
                </a:lnTo>
                <a:lnTo>
                  <a:pt x="618" y="90"/>
                </a:lnTo>
                <a:lnTo>
                  <a:pt x="618" y="96"/>
                </a:lnTo>
                <a:lnTo>
                  <a:pt x="600" y="102"/>
                </a:lnTo>
                <a:lnTo>
                  <a:pt x="588" y="108"/>
                </a:lnTo>
                <a:lnTo>
                  <a:pt x="570" y="120"/>
                </a:lnTo>
                <a:lnTo>
                  <a:pt x="564" y="138"/>
                </a:lnTo>
                <a:lnTo>
                  <a:pt x="558" y="162"/>
                </a:lnTo>
                <a:lnTo>
                  <a:pt x="540" y="210"/>
                </a:lnTo>
                <a:lnTo>
                  <a:pt x="528" y="252"/>
                </a:lnTo>
                <a:lnTo>
                  <a:pt x="528" y="402"/>
                </a:lnTo>
                <a:lnTo>
                  <a:pt x="522" y="444"/>
                </a:lnTo>
                <a:lnTo>
                  <a:pt x="510" y="468"/>
                </a:lnTo>
                <a:lnTo>
                  <a:pt x="498" y="498"/>
                </a:lnTo>
                <a:lnTo>
                  <a:pt x="474" y="534"/>
                </a:lnTo>
                <a:lnTo>
                  <a:pt x="456" y="570"/>
                </a:lnTo>
                <a:lnTo>
                  <a:pt x="444" y="576"/>
                </a:lnTo>
                <a:lnTo>
                  <a:pt x="420" y="606"/>
                </a:lnTo>
                <a:lnTo>
                  <a:pt x="390" y="624"/>
                </a:lnTo>
                <a:lnTo>
                  <a:pt x="372" y="642"/>
                </a:lnTo>
                <a:lnTo>
                  <a:pt x="366" y="654"/>
                </a:lnTo>
                <a:lnTo>
                  <a:pt x="342" y="660"/>
                </a:lnTo>
                <a:lnTo>
                  <a:pt x="300" y="666"/>
                </a:lnTo>
                <a:lnTo>
                  <a:pt x="234" y="672"/>
                </a:lnTo>
                <a:lnTo>
                  <a:pt x="192" y="672"/>
                </a:lnTo>
                <a:lnTo>
                  <a:pt x="168" y="672"/>
                </a:lnTo>
                <a:close/>
              </a:path>
            </a:pathLst>
          </a:custGeom>
          <a:noFill/>
          <a:ln w="9525" cap="flat" cmpd="sng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59" name="Freeform 15">
            <a:extLst>
              <a:ext uri="{FF2B5EF4-FFF2-40B4-BE49-F238E27FC236}">
                <a16:creationId xmlns:a16="http://schemas.microsoft.com/office/drawing/2014/main" id="{0348FC72-8C33-4C49-9A07-367182DEEE3D}"/>
              </a:ext>
            </a:extLst>
          </p:cNvPr>
          <p:cNvSpPr>
            <a:spLocks/>
          </p:cNvSpPr>
          <p:nvPr/>
        </p:nvSpPr>
        <p:spPr bwMode="gray">
          <a:xfrm>
            <a:off x="5031983" y="3318806"/>
            <a:ext cx="782502" cy="762674"/>
          </a:xfrm>
          <a:custGeom>
            <a:avLst/>
            <a:gdLst>
              <a:gd name="T0" fmla="*/ 44 w 1362"/>
              <a:gd name="T1" fmla="*/ 106 h 1308"/>
              <a:gd name="T2" fmla="*/ 32 w 1362"/>
              <a:gd name="T3" fmla="*/ 109 h 1308"/>
              <a:gd name="T4" fmla="*/ 25 w 1362"/>
              <a:gd name="T5" fmla="*/ 105 h 1308"/>
              <a:gd name="T6" fmla="*/ 22 w 1362"/>
              <a:gd name="T7" fmla="*/ 97 h 1308"/>
              <a:gd name="T8" fmla="*/ 21 w 1362"/>
              <a:gd name="T9" fmla="*/ 95 h 1308"/>
              <a:gd name="T10" fmla="*/ 20 w 1362"/>
              <a:gd name="T11" fmla="*/ 90 h 1308"/>
              <a:gd name="T12" fmla="*/ 23 w 1362"/>
              <a:gd name="T13" fmla="*/ 87 h 1308"/>
              <a:gd name="T14" fmla="*/ 29 w 1362"/>
              <a:gd name="T15" fmla="*/ 81 h 1308"/>
              <a:gd name="T16" fmla="*/ 30 w 1362"/>
              <a:gd name="T17" fmla="*/ 78 h 1308"/>
              <a:gd name="T18" fmla="*/ 27 w 1362"/>
              <a:gd name="T19" fmla="*/ 75 h 1308"/>
              <a:gd name="T20" fmla="*/ 15 w 1362"/>
              <a:gd name="T21" fmla="*/ 73 h 1308"/>
              <a:gd name="T22" fmla="*/ 12 w 1362"/>
              <a:gd name="T23" fmla="*/ 69 h 1308"/>
              <a:gd name="T24" fmla="*/ 5 w 1362"/>
              <a:gd name="T25" fmla="*/ 65 h 1308"/>
              <a:gd name="T26" fmla="*/ 6 w 1362"/>
              <a:gd name="T27" fmla="*/ 62 h 1308"/>
              <a:gd name="T28" fmla="*/ 7 w 1362"/>
              <a:gd name="T29" fmla="*/ 56 h 1308"/>
              <a:gd name="T30" fmla="*/ 2 w 1362"/>
              <a:gd name="T31" fmla="*/ 49 h 1308"/>
              <a:gd name="T32" fmla="*/ 0 w 1362"/>
              <a:gd name="T33" fmla="*/ 44 h 1308"/>
              <a:gd name="T34" fmla="*/ 0 w 1362"/>
              <a:gd name="T35" fmla="*/ 39 h 1308"/>
              <a:gd name="T36" fmla="*/ 3 w 1362"/>
              <a:gd name="T37" fmla="*/ 35 h 1308"/>
              <a:gd name="T38" fmla="*/ 3 w 1362"/>
              <a:gd name="T39" fmla="*/ 28 h 1308"/>
              <a:gd name="T40" fmla="*/ 6 w 1362"/>
              <a:gd name="T41" fmla="*/ 18 h 1308"/>
              <a:gd name="T42" fmla="*/ 6 w 1362"/>
              <a:gd name="T43" fmla="*/ 8 h 1308"/>
              <a:gd name="T44" fmla="*/ 10 w 1362"/>
              <a:gd name="T45" fmla="*/ 5 h 1308"/>
              <a:gd name="T46" fmla="*/ 15 w 1362"/>
              <a:gd name="T47" fmla="*/ 0 h 1308"/>
              <a:gd name="T48" fmla="*/ 21 w 1362"/>
              <a:gd name="T49" fmla="*/ 7 h 1308"/>
              <a:gd name="T50" fmla="*/ 25 w 1362"/>
              <a:gd name="T51" fmla="*/ 15 h 1308"/>
              <a:gd name="T52" fmla="*/ 24 w 1362"/>
              <a:gd name="T53" fmla="*/ 19 h 1308"/>
              <a:gd name="T54" fmla="*/ 32 w 1362"/>
              <a:gd name="T55" fmla="*/ 19 h 1308"/>
              <a:gd name="T56" fmla="*/ 35 w 1362"/>
              <a:gd name="T57" fmla="*/ 20 h 1308"/>
              <a:gd name="T58" fmla="*/ 40 w 1362"/>
              <a:gd name="T59" fmla="*/ 23 h 1308"/>
              <a:gd name="T60" fmla="*/ 40 w 1362"/>
              <a:gd name="T61" fmla="*/ 26 h 1308"/>
              <a:gd name="T62" fmla="*/ 34 w 1362"/>
              <a:gd name="T63" fmla="*/ 35 h 1308"/>
              <a:gd name="T64" fmla="*/ 41 w 1362"/>
              <a:gd name="T65" fmla="*/ 37 h 1308"/>
              <a:gd name="T66" fmla="*/ 43 w 1362"/>
              <a:gd name="T67" fmla="*/ 44 h 1308"/>
              <a:gd name="T68" fmla="*/ 48 w 1362"/>
              <a:gd name="T69" fmla="*/ 47 h 1308"/>
              <a:gd name="T70" fmla="*/ 57 w 1362"/>
              <a:gd name="T71" fmla="*/ 48 h 1308"/>
              <a:gd name="T72" fmla="*/ 70 w 1362"/>
              <a:gd name="T73" fmla="*/ 44 h 1308"/>
              <a:gd name="T74" fmla="*/ 80 w 1362"/>
              <a:gd name="T75" fmla="*/ 34 h 1308"/>
              <a:gd name="T76" fmla="*/ 95 w 1362"/>
              <a:gd name="T77" fmla="*/ 41 h 1308"/>
              <a:gd name="T78" fmla="*/ 109 w 1362"/>
              <a:gd name="T79" fmla="*/ 47 h 1308"/>
              <a:gd name="T80" fmla="*/ 111 w 1362"/>
              <a:gd name="T81" fmla="*/ 50 h 1308"/>
              <a:gd name="T82" fmla="*/ 113 w 1362"/>
              <a:gd name="T83" fmla="*/ 53 h 1308"/>
              <a:gd name="T84" fmla="*/ 113 w 1362"/>
              <a:gd name="T85" fmla="*/ 55 h 1308"/>
              <a:gd name="T86" fmla="*/ 113 w 1362"/>
              <a:gd name="T87" fmla="*/ 59 h 1308"/>
              <a:gd name="T88" fmla="*/ 113 w 1362"/>
              <a:gd name="T89" fmla="*/ 62 h 1308"/>
              <a:gd name="T90" fmla="*/ 115 w 1362"/>
              <a:gd name="T91" fmla="*/ 65 h 1308"/>
              <a:gd name="T92" fmla="*/ 115 w 1362"/>
              <a:gd name="T93" fmla="*/ 67 h 1308"/>
              <a:gd name="T94" fmla="*/ 116 w 1362"/>
              <a:gd name="T95" fmla="*/ 69 h 1308"/>
              <a:gd name="T96" fmla="*/ 116 w 1362"/>
              <a:gd name="T97" fmla="*/ 71 h 1308"/>
              <a:gd name="T98" fmla="*/ 118 w 1362"/>
              <a:gd name="T99" fmla="*/ 75 h 1308"/>
              <a:gd name="T100" fmla="*/ 116 w 1362"/>
              <a:gd name="T101" fmla="*/ 77 h 1308"/>
              <a:gd name="T102" fmla="*/ 116 w 1362"/>
              <a:gd name="T103" fmla="*/ 79 h 1308"/>
              <a:gd name="T104" fmla="*/ 101 w 1362"/>
              <a:gd name="T105" fmla="*/ 87 h 1308"/>
              <a:gd name="T106" fmla="*/ 85 w 1362"/>
              <a:gd name="T107" fmla="*/ 103 h 1308"/>
              <a:gd name="T108" fmla="*/ 67 w 1362"/>
              <a:gd name="T109" fmla="*/ 114 h 130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362"/>
              <a:gd name="T166" fmla="*/ 0 h 1308"/>
              <a:gd name="T167" fmla="*/ 1362 w 1362"/>
              <a:gd name="T168" fmla="*/ 1308 h 1308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362" h="1308">
                <a:moveTo>
                  <a:pt x="684" y="1278"/>
                </a:moveTo>
                <a:lnTo>
                  <a:pt x="672" y="1272"/>
                </a:lnTo>
                <a:lnTo>
                  <a:pt x="636" y="1266"/>
                </a:lnTo>
                <a:lnTo>
                  <a:pt x="582" y="1248"/>
                </a:lnTo>
                <a:lnTo>
                  <a:pt x="564" y="1230"/>
                </a:lnTo>
                <a:lnTo>
                  <a:pt x="540" y="1218"/>
                </a:lnTo>
                <a:lnTo>
                  <a:pt x="510" y="1218"/>
                </a:lnTo>
                <a:lnTo>
                  <a:pt x="498" y="1224"/>
                </a:lnTo>
                <a:lnTo>
                  <a:pt x="492" y="1230"/>
                </a:lnTo>
                <a:lnTo>
                  <a:pt x="474" y="1230"/>
                </a:lnTo>
                <a:lnTo>
                  <a:pt x="414" y="1230"/>
                </a:lnTo>
                <a:lnTo>
                  <a:pt x="396" y="1236"/>
                </a:lnTo>
                <a:lnTo>
                  <a:pt x="390" y="1248"/>
                </a:lnTo>
                <a:lnTo>
                  <a:pt x="372" y="1248"/>
                </a:lnTo>
                <a:lnTo>
                  <a:pt x="366" y="1242"/>
                </a:lnTo>
                <a:lnTo>
                  <a:pt x="366" y="1224"/>
                </a:lnTo>
                <a:lnTo>
                  <a:pt x="360" y="1224"/>
                </a:lnTo>
                <a:lnTo>
                  <a:pt x="354" y="1218"/>
                </a:lnTo>
                <a:lnTo>
                  <a:pt x="336" y="1206"/>
                </a:lnTo>
                <a:lnTo>
                  <a:pt x="330" y="1194"/>
                </a:lnTo>
                <a:lnTo>
                  <a:pt x="288" y="1200"/>
                </a:lnTo>
                <a:lnTo>
                  <a:pt x="288" y="1194"/>
                </a:lnTo>
                <a:lnTo>
                  <a:pt x="288" y="1182"/>
                </a:lnTo>
                <a:lnTo>
                  <a:pt x="288" y="1170"/>
                </a:lnTo>
                <a:lnTo>
                  <a:pt x="288" y="1164"/>
                </a:lnTo>
                <a:lnTo>
                  <a:pt x="282" y="1140"/>
                </a:lnTo>
                <a:lnTo>
                  <a:pt x="276" y="1134"/>
                </a:lnTo>
                <a:lnTo>
                  <a:pt x="258" y="1116"/>
                </a:lnTo>
                <a:lnTo>
                  <a:pt x="258" y="1110"/>
                </a:lnTo>
                <a:lnTo>
                  <a:pt x="252" y="1110"/>
                </a:lnTo>
                <a:lnTo>
                  <a:pt x="252" y="1104"/>
                </a:lnTo>
                <a:lnTo>
                  <a:pt x="252" y="1098"/>
                </a:lnTo>
                <a:lnTo>
                  <a:pt x="240" y="1092"/>
                </a:lnTo>
                <a:lnTo>
                  <a:pt x="234" y="1092"/>
                </a:lnTo>
                <a:lnTo>
                  <a:pt x="240" y="1086"/>
                </a:lnTo>
                <a:lnTo>
                  <a:pt x="234" y="1080"/>
                </a:lnTo>
                <a:lnTo>
                  <a:pt x="228" y="1080"/>
                </a:lnTo>
                <a:lnTo>
                  <a:pt x="228" y="1068"/>
                </a:lnTo>
                <a:lnTo>
                  <a:pt x="228" y="1056"/>
                </a:lnTo>
                <a:lnTo>
                  <a:pt x="222" y="1056"/>
                </a:lnTo>
                <a:lnTo>
                  <a:pt x="228" y="1044"/>
                </a:lnTo>
                <a:lnTo>
                  <a:pt x="228" y="1038"/>
                </a:lnTo>
                <a:lnTo>
                  <a:pt x="228" y="1032"/>
                </a:lnTo>
                <a:lnTo>
                  <a:pt x="234" y="1026"/>
                </a:lnTo>
                <a:lnTo>
                  <a:pt x="246" y="1020"/>
                </a:lnTo>
                <a:lnTo>
                  <a:pt x="252" y="1020"/>
                </a:lnTo>
                <a:lnTo>
                  <a:pt x="258" y="1014"/>
                </a:lnTo>
                <a:lnTo>
                  <a:pt x="264" y="1008"/>
                </a:lnTo>
                <a:lnTo>
                  <a:pt x="264" y="1002"/>
                </a:lnTo>
                <a:lnTo>
                  <a:pt x="270" y="984"/>
                </a:lnTo>
                <a:lnTo>
                  <a:pt x="276" y="978"/>
                </a:lnTo>
                <a:lnTo>
                  <a:pt x="300" y="978"/>
                </a:lnTo>
                <a:lnTo>
                  <a:pt x="306" y="972"/>
                </a:lnTo>
                <a:lnTo>
                  <a:pt x="312" y="966"/>
                </a:lnTo>
                <a:lnTo>
                  <a:pt x="324" y="936"/>
                </a:lnTo>
                <a:lnTo>
                  <a:pt x="330" y="930"/>
                </a:lnTo>
                <a:lnTo>
                  <a:pt x="330" y="924"/>
                </a:lnTo>
                <a:lnTo>
                  <a:pt x="336" y="918"/>
                </a:lnTo>
                <a:lnTo>
                  <a:pt x="342" y="912"/>
                </a:lnTo>
                <a:lnTo>
                  <a:pt x="342" y="906"/>
                </a:lnTo>
                <a:lnTo>
                  <a:pt x="342" y="900"/>
                </a:lnTo>
                <a:lnTo>
                  <a:pt x="342" y="894"/>
                </a:lnTo>
                <a:lnTo>
                  <a:pt x="342" y="888"/>
                </a:lnTo>
                <a:lnTo>
                  <a:pt x="336" y="876"/>
                </a:lnTo>
                <a:lnTo>
                  <a:pt x="342" y="870"/>
                </a:lnTo>
                <a:lnTo>
                  <a:pt x="336" y="864"/>
                </a:lnTo>
                <a:lnTo>
                  <a:pt x="336" y="858"/>
                </a:lnTo>
                <a:lnTo>
                  <a:pt x="330" y="852"/>
                </a:lnTo>
                <a:lnTo>
                  <a:pt x="318" y="852"/>
                </a:lnTo>
                <a:lnTo>
                  <a:pt x="306" y="858"/>
                </a:lnTo>
                <a:lnTo>
                  <a:pt x="264" y="864"/>
                </a:lnTo>
                <a:lnTo>
                  <a:pt x="234" y="858"/>
                </a:lnTo>
                <a:lnTo>
                  <a:pt x="228" y="858"/>
                </a:lnTo>
                <a:lnTo>
                  <a:pt x="198" y="858"/>
                </a:lnTo>
                <a:lnTo>
                  <a:pt x="174" y="858"/>
                </a:lnTo>
                <a:lnTo>
                  <a:pt x="168" y="852"/>
                </a:lnTo>
                <a:lnTo>
                  <a:pt x="168" y="840"/>
                </a:lnTo>
                <a:lnTo>
                  <a:pt x="168" y="834"/>
                </a:lnTo>
                <a:lnTo>
                  <a:pt x="168" y="822"/>
                </a:lnTo>
                <a:lnTo>
                  <a:pt x="162" y="822"/>
                </a:lnTo>
                <a:lnTo>
                  <a:pt x="150" y="816"/>
                </a:lnTo>
                <a:lnTo>
                  <a:pt x="144" y="810"/>
                </a:lnTo>
                <a:lnTo>
                  <a:pt x="144" y="804"/>
                </a:lnTo>
                <a:lnTo>
                  <a:pt x="144" y="786"/>
                </a:lnTo>
                <a:lnTo>
                  <a:pt x="144" y="780"/>
                </a:lnTo>
                <a:lnTo>
                  <a:pt x="144" y="774"/>
                </a:lnTo>
                <a:lnTo>
                  <a:pt x="132" y="756"/>
                </a:lnTo>
                <a:lnTo>
                  <a:pt x="120" y="756"/>
                </a:lnTo>
                <a:lnTo>
                  <a:pt x="84" y="750"/>
                </a:lnTo>
                <a:lnTo>
                  <a:pt x="78" y="744"/>
                </a:lnTo>
                <a:lnTo>
                  <a:pt x="60" y="744"/>
                </a:lnTo>
                <a:lnTo>
                  <a:pt x="54" y="726"/>
                </a:lnTo>
                <a:lnTo>
                  <a:pt x="60" y="726"/>
                </a:lnTo>
                <a:lnTo>
                  <a:pt x="60" y="720"/>
                </a:lnTo>
                <a:lnTo>
                  <a:pt x="66" y="720"/>
                </a:lnTo>
                <a:lnTo>
                  <a:pt x="66" y="714"/>
                </a:lnTo>
                <a:lnTo>
                  <a:pt x="72" y="714"/>
                </a:lnTo>
                <a:lnTo>
                  <a:pt x="72" y="708"/>
                </a:lnTo>
                <a:lnTo>
                  <a:pt x="78" y="702"/>
                </a:lnTo>
                <a:lnTo>
                  <a:pt x="78" y="696"/>
                </a:lnTo>
                <a:lnTo>
                  <a:pt x="78" y="690"/>
                </a:lnTo>
                <a:lnTo>
                  <a:pt x="84" y="678"/>
                </a:lnTo>
                <a:lnTo>
                  <a:pt x="90" y="666"/>
                </a:lnTo>
                <a:lnTo>
                  <a:pt x="90" y="642"/>
                </a:lnTo>
                <a:lnTo>
                  <a:pt x="84" y="648"/>
                </a:lnTo>
                <a:lnTo>
                  <a:pt x="78" y="642"/>
                </a:lnTo>
                <a:lnTo>
                  <a:pt x="72" y="642"/>
                </a:lnTo>
                <a:lnTo>
                  <a:pt x="66" y="642"/>
                </a:lnTo>
                <a:lnTo>
                  <a:pt x="60" y="642"/>
                </a:lnTo>
                <a:lnTo>
                  <a:pt x="54" y="636"/>
                </a:lnTo>
                <a:lnTo>
                  <a:pt x="30" y="570"/>
                </a:lnTo>
                <a:lnTo>
                  <a:pt x="24" y="564"/>
                </a:lnTo>
                <a:lnTo>
                  <a:pt x="18" y="570"/>
                </a:lnTo>
                <a:lnTo>
                  <a:pt x="12" y="552"/>
                </a:lnTo>
                <a:lnTo>
                  <a:pt x="12" y="546"/>
                </a:lnTo>
                <a:lnTo>
                  <a:pt x="6" y="546"/>
                </a:lnTo>
                <a:lnTo>
                  <a:pt x="6" y="540"/>
                </a:lnTo>
                <a:lnTo>
                  <a:pt x="0" y="522"/>
                </a:lnTo>
                <a:lnTo>
                  <a:pt x="0" y="510"/>
                </a:lnTo>
                <a:lnTo>
                  <a:pt x="6" y="510"/>
                </a:lnTo>
                <a:lnTo>
                  <a:pt x="6" y="498"/>
                </a:lnTo>
                <a:lnTo>
                  <a:pt x="12" y="498"/>
                </a:lnTo>
                <a:lnTo>
                  <a:pt x="12" y="480"/>
                </a:lnTo>
                <a:lnTo>
                  <a:pt x="6" y="480"/>
                </a:lnTo>
                <a:lnTo>
                  <a:pt x="0" y="474"/>
                </a:lnTo>
                <a:lnTo>
                  <a:pt x="0" y="450"/>
                </a:lnTo>
                <a:lnTo>
                  <a:pt x="6" y="450"/>
                </a:lnTo>
                <a:lnTo>
                  <a:pt x="12" y="450"/>
                </a:lnTo>
                <a:lnTo>
                  <a:pt x="18" y="456"/>
                </a:lnTo>
                <a:lnTo>
                  <a:pt x="24" y="450"/>
                </a:lnTo>
                <a:lnTo>
                  <a:pt x="24" y="432"/>
                </a:lnTo>
                <a:lnTo>
                  <a:pt x="30" y="426"/>
                </a:lnTo>
                <a:lnTo>
                  <a:pt x="36" y="402"/>
                </a:lnTo>
                <a:lnTo>
                  <a:pt x="42" y="396"/>
                </a:lnTo>
                <a:lnTo>
                  <a:pt x="42" y="390"/>
                </a:lnTo>
                <a:lnTo>
                  <a:pt x="42" y="366"/>
                </a:lnTo>
                <a:lnTo>
                  <a:pt x="48" y="360"/>
                </a:lnTo>
                <a:lnTo>
                  <a:pt x="48" y="342"/>
                </a:lnTo>
                <a:lnTo>
                  <a:pt x="42" y="330"/>
                </a:lnTo>
                <a:lnTo>
                  <a:pt x="36" y="324"/>
                </a:lnTo>
                <a:lnTo>
                  <a:pt x="42" y="306"/>
                </a:lnTo>
                <a:lnTo>
                  <a:pt x="42" y="270"/>
                </a:lnTo>
                <a:lnTo>
                  <a:pt x="36" y="270"/>
                </a:lnTo>
                <a:lnTo>
                  <a:pt x="30" y="264"/>
                </a:lnTo>
                <a:lnTo>
                  <a:pt x="48" y="258"/>
                </a:lnTo>
                <a:lnTo>
                  <a:pt x="72" y="252"/>
                </a:lnTo>
                <a:lnTo>
                  <a:pt x="66" y="204"/>
                </a:lnTo>
                <a:lnTo>
                  <a:pt x="60" y="198"/>
                </a:lnTo>
                <a:lnTo>
                  <a:pt x="48" y="174"/>
                </a:lnTo>
                <a:lnTo>
                  <a:pt x="42" y="174"/>
                </a:lnTo>
                <a:lnTo>
                  <a:pt x="48" y="138"/>
                </a:lnTo>
                <a:lnTo>
                  <a:pt x="60" y="102"/>
                </a:lnTo>
                <a:lnTo>
                  <a:pt x="66" y="102"/>
                </a:lnTo>
                <a:lnTo>
                  <a:pt x="72" y="96"/>
                </a:lnTo>
                <a:lnTo>
                  <a:pt x="84" y="96"/>
                </a:lnTo>
                <a:lnTo>
                  <a:pt x="90" y="84"/>
                </a:lnTo>
                <a:lnTo>
                  <a:pt x="108" y="72"/>
                </a:lnTo>
                <a:lnTo>
                  <a:pt x="114" y="72"/>
                </a:lnTo>
                <a:lnTo>
                  <a:pt x="114" y="66"/>
                </a:lnTo>
                <a:lnTo>
                  <a:pt x="120" y="60"/>
                </a:lnTo>
                <a:lnTo>
                  <a:pt x="120" y="54"/>
                </a:lnTo>
                <a:lnTo>
                  <a:pt x="120" y="48"/>
                </a:lnTo>
                <a:lnTo>
                  <a:pt x="126" y="48"/>
                </a:lnTo>
                <a:lnTo>
                  <a:pt x="132" y="42"/>
                </a:lnTo>
                <a:lnTo>
                  <a:pt x="132" y="0"/>
                </a:lnTo>
                <a:lnTo>
                  <a:pt x="162" y="0"/>
                </a:lnTo>
                <a:lnTo>
                  <a:pt x="168" y="0"/>
                </a:lnTo>
                <a:lnTo>
                  <a:pt x="174" y="6"/>
                </a:lnTo>
                <a:lnTo>
                  <a:pt x="180" y="12"/>
                </a:lnTo>
                <a:lnTo>
                  <a:pt x="180" y="18"/>
                </a:lnTo>
                <a:lnTo>
                  <a:pt x="240" y="18"/>
                </a:lnTo>
                <a:lnTo>
                  <a:pt x="246" y="42"/>
                </a:lnTo>
                <a:lnTo>
                  <a:pt x="240" y="72"/>
                </a:lnTo>
                <a:lnTo>
                  <a:pt x="246" y="78"/>
                </a:lnTo>
                <a:lnTo>
                  <a:pt x="246" y="84"/>
                </a:lnTo>
                <a:lnTo>
                  <a:pt x="246" y="90"/>
                </a:lnTo>
                <a:lnTo>
                  <a:pt x="258" y="108"/>
                </a:lnTo>
                <a:lnTo>
                  <a:pt x="276" y="114"/>
                </a:lnTo>
                <a:lnTo>
                  <a:pt x="294" y="150"/>
                </a:lnTo>
                <a:lnTo>
                  <a:pt x="294" y="162"/>
                </a:lnTo>
                <a:lnTo>
                  <a:pt x="288" y="162"/>
                </a:lnTo>
                <a:lnTo>
                  <a:pt x="288" y="168"/>
                </a:lnTo>
                <a:lnTo>
                  <a:pt x="288" y="174"/>
                </a:lnTo>
                <a:lnTo>
                  <a:pt x="282" y="180"/>
                </a:lnTo>
                <a:lnTo>
                  <a:pt x="282" y="186"/>
                </a:lnTo>
                <a:lnTo>
                  <a:pt x="282" y="192"/>
                </a:lnTo>
                <a:lnTo>
                  <a:pt x="276" y="204"/>
                </a:lnTo>
                <a:lnTo>
                  <a:pt x="276" y="210"/>
                </a:lnTo>
                <a:lnTo>
                  <a:pt x="276" y="216"/>
                </a:lnTo>
                <a:lnTo>
                  <a:pt x="288" y="240"/>
                </a:lnTo>
                <a:lnTo>
                  <a:pt x="312" y="228"/>
                </a:lnTo>
                <a:lnTo>
                  <a:pt x="324" y="228"/>
                </a:lnTo>
                <a:lnTo>
                  <a:pt x="330" y="228"/>
                </a:lnTo>
                <a:lnTo>
                  <a:pt x="366" y="228"/>
                </a:lnTo>
                <a:lnTo>
                  <a:pt x="372" y="228"/>
                </a:lnTo>
                <a:lnTo>
                  <a:pt x="372" y="222"/>
                </a:lnTo>
                <a:lnTo>
                  <a:pt x="378" y="222"/>
                </a:lnTo>
                <a:lnTo>
                  <a:pt x="384" y="222"/>
                </a:lnTo>
                <a:lnTo>
                  <a:pt x="390" y="222"/>
                </a:lnTo>
                <a:lnTo>
                  <a:pt x="396" y="222"/>
                </a:lnTo>
                <a:lnTo>
                  <a:pt x="402" y="222"/>
                </a:lnTo>
                <a:lnTo>
                  <a:pt x="402" y="228"/>
                </a:lnTo>
                <a:lnTo>
                  <a:pt x="408" y="228"/>
                </a:lnTo>
                <a:lnTo>
                  <a:pt x="414" y="222"/>
                </a:lnTo>
                <a:lnTo>
                  <a:pt x="420" y="216"/>
                </a:lnTo>
                <a:lnTo>
                  <a:pt x="426" y="216"/>
                </a:lnTo>
                <a:lnTo>
                  <a:pt x="438" y="210"/>
                </a:lnTo>
                <a:lnTo>
                  <a:pt x="444" y="210"/>
                </a:lnTo>
                <a:lnTo>
                  <a:pt x="468" y="258"/>
                </a:lnTo>
                <a:lnTo>
                  <a:pt x="462" y="264"/>
                </a:lnTo>
                <a:lnTo>
                  <a:pt x="468" y="264"/>
                </a:lnTo>
                <a:lnTo>
                  <a:pt x="468" y="270"/>
                </a:lnTo>
                <a:lnTo>
                  <a:pt x="474" y="270"/>
                </a:lnTo>
                <a:lnTo>
                  <a:pt x="480" y="276"/>
                </a:lnTo>
                <a:lnTo>
                  <a:pt x="474" y="282"/>
                </a:lnTo>
                <a:lnTo>
                  <a:pt x="474" y="288"/>
                </a:lnTo>
                <a:lnTo>
                  <a:pt x="462" y="294"/>
                </a:lnTo>
                <a:lnTo>
                  <a:pt x="468" y="324"/>
                </a:lnTo>
                <a:lnTo>
                  <a:pt x="462" y="336"/>
                </a:lnTo>
                <a:lnTo>
                  <a:pt x="456" y="354"/>
                </a:lnTo>
                <a:lnTo>
                  <a:pt x="432" y="390"/>
                </a:lnTo>
                <a:lnTo>
                  <a:pt x="420" y="390"/>
                </a:lnTo>
                <a:lnTo>
                  <a:pt x="402" y="390"/>
                </a:lnTo>
                <a:lnTo>
                  <a:pt x="396" y="396"/>
                </a:lnTo>
                <a:lnTo>
                  <a:pt x="390" y="396"/>
                </a:lnTo>
                <a:lnTo>
                  <a:pt x="390" y="402"/>
                </a:lnTo>
                <a:lnTo>
                  <a:pt x="384" y="402"/>
                </a:lnTo>
                <a:lnTo>
                  <a:pt x="408" y="432"/>
                </a:lnTo>
                <a:lnTo>
                  <a:pt x="432" y="438"/>
                </a:lnTo>
                <a:lnTo>
                  <a:pt x="456" y="432"/>
                </a:lnTo>
                <a:lnTo>
                  <a:pt x="468" y="426"/>
                </a:lnTo>
                <a:lnTo>
                  <a:pt x="468" y="444"/>
                </a:lnTo>
                <a:lnTo>
                  <a:pt x="468" y="450"/>
                </a:lnTo>
                <a:lnTo>
                  <a:pt x="468" y="474"/>
                </a:lnTo>
                <a:lnTo>
                  <a:pt x="486" y="480"/>
                </a:lnTo>
                <a:lnTo>
                  <a:pt x="486" y="486"/>
                </a:lnTo>
                <a:lnTo>
                  <a:pt x="492" y="498"/>
                </a:lnTo>
                <a:lnTo>
                  <a:pt x="492" y="504"/>
                </a:lnTo>
                <a:lnTo>
                  <a:pt x="498" y="510"/>
                </a:lnTo>
                <a:lnTo>
                  <a:pt x="498" y="516"/>
                </a:lnTo>
                <a:lnTo>
                  <a:pt x="504" y="516"/>
                </a:lnTo>
                <a:lnTo>
                  <a:pt x="510" y="516"/>
                </a:lnTo>
                <a:lnTo>
                  <a:pt x="522" y="528"/>
                </a:lnTo>
                <a:lnTo>
                  <a:pt x="546" y="540"/>
                </a:lnTo>
                <a:lnTo>
                  <a:pt x="552" y="546"/>
                </a:lnTo>
                <a:lnTo>
                  <a:pt x="570" y="552"/>
                </a:lnTo>
                <a:lnTo>
                  <a:pt x="594" y="552"/>
                </a:lnTo>
                <a:lnTo>
                  <a:pt x="606" y="546"/>
                </a:lnTo>
                <a:lnTo>
                  <a:pt x="612" y="540"/>
                </a:lnTo>
                <a:lnTo>
                  <a:pt x="630" y="540"/>
                </a:lnTo>
                <a:lnTo>
                  <a:pt x="630" y="552"/>
                </a:lnTo>
                <a:lnTo>
                  <a:pt x="654" y="552"/>
                </a:lnTo>
                <a:lnTo>
                  <a:pt x="702" y="558"/>
                </a:lnTo>
                <a:lnTo>
                  <a:pt x="762" y="546"/>
                </a:lnTo>
                <a:lnTo>
                  <a:pt x="780" y="546"/>
                </a:lnTo>
                <a:lnTo>
                  <a:pt x="780" y="528"/>
                </a:lnTo>
                <a:lnTo>
                  <a:pt x="798" y="522"/>
                </a:lnTo>
                <a:lnTo>
                  <a:pt x="810" y="510"/>
                </a:lnTo>
                <a:lnTo>
                  <a:pt x="810" y="504"/>
                </a:lnTo>
                <a:lnTo>
                  <a:pt x="828" y="492"/>
                </a:lnTo>
                <a:lnTo>
                  <a:pt x="888" y="486"/>
                </a:lnTo>
                <a:lnTo>
                  <a:pt x="912" y="486"/>
                </a:lnTo>
                <a:lnTo>
                  <a:pt x="930" y="474"/>
                </a:lnTo>
                <a:lnTo>
                  <a:pt x="918" y="456"/>
                </a:lnTo>
                <a:lnTo>
                  <a:pt x="912" y="450"/>
                </a:lnTo>
                <a:lnTo>
                  <a:pt x="918" y="390"/>
                </a:lnTo>
                <a:lnTo>
                  <a:pt x="954" y="396"/>
                </a:lnTo>
                <a:lnTo>
                  <a:pt x="984" y="402"/>
                </a:lnTo>
                <a:lnTo>
                  <a:pt x="1014" y="420"/>
                </a:lnTo>
                <a:lnTo>
                  <a:pt x="1026" y="432"/>
                </a:lnTo>
                <a:lnTo>
                  <a:pt x="1044" y="450"/>
                </a:lnTo>
                <a:lnTo>
                  <a:pt x="1062" y="462"/>
                </a:lnTo>
                <a:lnTo>
                  <a:pt x="1098" y="468"/>
                </a:lnTo>
                <a:lnTo>
                  <a:pt x="1128" y="480"/>
                </a:lnTo>
                <a:lnTo>
                  <a:pt x="1152" y="486"/>
                </a:lnTo>
                <a:lnTo>
                  <a:pt x="1188" y="498"/>
                </a:lnTo>
                <a:lnTo>
                  <a:pt x="1212" y="504"/>
                </a:lnTo>
                <a:lnTo>
                  <a:pt x="1224" y="528"/>
                </a:lnTo>
                <a:lnTo>
                  <a:pt x="1236" y="540"/>
                </a:lnTo>
                <a:lnTo>
                  <a:pt x="1254" y="540"/>
                </a:lnTo>
                <a:lnTo>
                  <a:pt x="1254" y="546"/>
                </a:lnTo>
                <a:lnTo>
                  <a:pt x="1260" y="552"/>
                </a:lnTo>
                <a:lnTo>
                  <a:pt x="1266" y="552"/>
                </a:lnTo>
                <a:lnTo>
                  <a:pt x="1266" y="558"/>
                </a:lnTo>
                <a:lnTo>
                  <a:pt x="1272" y="564"/>
                </a:lnTo>
                <a:lnTo>
                  <a:pt x="1278" y="564"/>
                </a:lnTo>
                <a:lnTo>
                  <a:pt x="1278" y="570"/>
                </a:lnTo>
                <a:lnTo>
                  <a:pt x="1284" y="576"/>
                </a:lnTo>
                <a:lnTo>
                  <a:pt x="1290" y="582"/>
                </a:lnTo>
                <a:lnTo>
                  <a:pt x="1296" y="582"/>
                </a:lnTo>
                <a:lnTo>
                  <a:pt x="1296" y="588"/>
                </a:lnTo>
                <a:lnTo>
                  <a:pt x="1308" y="594"/>
                </a:lnTo>
                <a:lnTo>
                  <a:pt x="1308" y="600"/>
                </a:lnTo>
                <a:lnTo>
                  <a:pt x="1308" y="606"/>
                </a:lnTo>
                <a:lnTo>
                  <a:pt x="1314" y="612"/>
                </a:lnTo>
                <a:lnTo>
                  <a:pt x="1308" y="618"/>
                </a:lnTo>
                <a:lnTo>
                  <a:pt x="1314" y="618"/>
                </a:lnTo>
                <a:lnTo>
                  <a:pt x="1314" y="624"/>
                </a:lnTo>
                <a:lnTo>
                  <a:pt x="1308" y="624"/>
                </a:lnTo>
                <a:lnTo>
                  <a:pt x="1302" y="630"/>
                </a:lnTo>
                <a:lnTo>
                  <a:pt x="1302" y="636"/>
                </a:lnTo>
                <a:lnTo>
                  <a:pt x="1296" y="642"/>
                </a:lnTo>
                <a:lnTo>
                  <a:pt x="1302" y="648"/>
                </a:lnTo>
                <a:lnTo>
                  <a:pt x="1296" y="654"/>
                </a:lnTo>
                <a:lnTo>
                  <a:pt x="1302" y="660"/>
                </a:lnTo>
                <a:lnTo>
                  <a:pt x="1302" y="666"/>
                </a:lnTo>
                <a:lnTo>
                  <a:pt x="1308" y="666"/>
                </a:lnTo>
                <a:lnTo>
                  <a:pt x="1308" y="672"/>
                </a:lnTo>
                <a:lnTo>
                  <a:pt x="1308" y="678"/>
                </a:lnTo>
                <a:lnTo>
                  <a:pt x="1308" y="684"/>
                </a:lnTo>
                <a:lnTo>
                  <a:pt x="1308" y="690"/>
                </a:lnTo>
                <a:lnTo>
                  <a:pt x="1302" y="696"/>
                </a:lnTo>
                <a:lnTo>
                  <a:pt x="1302" y="702"/>
                </a:lnTo>
                <a:lnTo>
                  <a:pt x="1308" y="702"/>
                </a:lnTo>
                <a:lnTo>
                  <a:pt x="1302" y="708"/>
                </a:lnTo>
                <a:lnTo>
                  <a:pt x="1308" y="714"/>
                </a:lnTo>
                <a:lnTo>
                  <a:pt x="1308" y="720"/>
                </a:lnTo>
                <a:lnTo>
                  <a:pt x="1308" y="726"/>
                </a:lnTo>
                <a:lnTo>
                  <a:pt x="1308" y="732"/>
                </a:lnTo>
                <a:lnTo>
                  <a:pt x="1314" y="732"/>
                </a:lnTo>
                <a:lnTo>
                  <a:pt x="1314" y="738"/>
                </a:lnTo>
                <a:lnTo>
                  <a:pt x="1320" y="744"/>
                </a:lnTo>
                <a:lnTo>
                  <a:pt x="1326" y="750"/>
                </a:lnTo>
                <a:lnTo>
                  <a:pt x="1320" y="750"/>
                </a:lnTo>
                <a:lnTo>
                  <a:pt x="1320" y="756"/>
                </a:lnTo>
                <a:lnTo>
                  <a:pt x="1314" y="756"/>
                </a:lnTo>
                <a:lnTo>
                  <a:pt x="1314" y="762"/>
                </a:lnTo>
                <a:lnTo>
                  <a:pt x="1314" y="768"/>
                </a:lnTo>
                <a:lnTo>
                  <a:pt x="1320" y="768"/>
                </a:lnTo>
                <a:lnTo>
                  <a:pt x="1320" y="762"/>
                </a:lnTo>
                <a:lnTo>
                  <a:pt x="1320" y="768"/>
                </a:lnTo>
                <a:lnTo>
                  <a:pt x="1326" y="774"/>
                </a:lnTo>
                <a:lnTo>
                  <a:pt x="1332" y="774"/>
                </a:lnTo>
                <a:lnTo>
                  <a:pt x="1332" y="780"/>
                </a:lnTo>
                <a:lnTo>
                  <a:pt x="1332" y="786"/>
                </a:lnTo>
                <a:lnTo>
                  <a:pt x="1332" y="792"/>
                </a:lnTo>
                <a:lnTo>
                  <a:pt x="1338" y="786"/>
                </a:lnTo>
                <a:lnTo>
                  <a:pt x="1338" y="792"/>
                </a:lnTo>
                <a:lnTo>
                  <a:pt x="1344" y="798"/>
                </a:lnTo>
                <a:lnTo>
                  <a:pt x="1344" y="804"/>
                </a:lnTo>
                <a:lnTo>
                  <a:pt x="1344" y="810"/>
                </a:lnTo>
                <a:lnTo>
                  <a:pt x="1344" y="816"/>
                </a:lnTo>
                <a:lnTo>
                  <a:pt x="1344" y="822"/>
                </a:lnTo>
                <a:lnTo>
                  <a:pt x="1338" y="828"/>
                </a:lnTo>
                <a:lnTo>
                  <a:pt x="1332" y="828"/>
                </a:lnTo>
                <a:lnTo>
                  <a:pt x="1338" y="840"/>
                </a:lnTo>
                <a:lnTo>
                  <a:pt x="1344" y="846"/>
                </a:lnTo>
                <a:lnTo>
                  <a:pt x="1344" y="852"/>
                </a:lnTo>
                <a:lnTo>
                  <a:pt x="1350" y="852"/>
                </a:lnTo>
                <a:lnTo>
                  <a:pt x="1356" y="858"/>
                </a:lnTo>
                <a:lnTo>
                  <a:pt x="1362" y="858"/>
                </a:lnTo>
                <a:lnTo>
                  <a:pt x="1362" y="870"/>
                </a:lnTo>
                <a:lnTo>
                  <a:pt x="1356" y="870"/>
                </a:lnTo>
                <a:lnTo>
                  <a:pt x="1356" y="876"/>
                </a:lnTo>
                <a:lnTo>
                  <a:pt x="1350" y="876"/>
                </a:lnTo>
                <a:lnTo>
                  <a:pt x="1344" y="876"/>
                </a:lnTo>
                <a:lnTo>
                  <a:pt x="1344" y="882"/>
                </a:lnTo>
                <a:lnTo>
                  <a:pt x="1338" y="882"/>
                </a:lnTo>
                <a:lnTo>
                  <a:pt x="1338" y="888"/>
                </a:lnTo>
                <a:lnTo>
                  <a:pt x="1338" y="894"/>
                </a:lnTo>
                <a:lnTo>
                  <a:pt x="1344" y="900"/>
                </a:lnTo>
                <a:lnTo>
                  <a:pt x="1344" y="906"/>
                </a:lnTo>
                <a:lnTo>
                  <a:pt x="1338" y="906"/>
                </a:lnTo>
                <a:lnTo>
                  <a:pt x="1332" y="912"/>
                </a:lnTo>
                <a:lnTo>
                  <a:pt x="1332" y="918"/>
                </a:lnTo>
                <a:lnTo>
                  <a:pt x="1326" y="918"/>
                </a:lnTo>
                <a:lnTo>
                  <a:pt x="1332" y="924"/>
                </a:lnTo>
                <a:lnTo>
                  <a:pt x="1284" y="942"/>
                </a:lnTo>
                <a:lnTo>
                  <a:pt x="1236" y="948"/>
                </a:lnTo>
                <a:lnTo>
                  <a:pt x="1194" y="966"/>
                </a:lnTo>
                <a:lnTo>
                  <a:pt x="1170" y="1002"/>
                </a:lnTo>
                <a:lnTo>
                  <a:pt x="1134" y="1020"/>
                </a:lnTo>
                <a:lnTo>
                  <a:pt x="1116" y="1032"/>
                </a:lnTo>
                <a:lnTo>
                  <a:pt x="1098" y="1050"/>
                </a:lnTo>
                <a:lnTo>
                  <a:pt x="1074" y="1074"/>
                </a:lnTo>
                <a:lnTo>
                  <a:pt x="1008" y="1134"/>
                </a:lnTo>
                <a:lnTo>
                  <a:pt x="990" y="1158"/>
                </a:lnTo>
                <a:lnTo>
                  <a:pt x="978" y="1182"/>
                </a:lnTo>
                <a:lnTo>
                  <a:pt x="960" y="1194"/>
                </a:lnTo>
                <a:lnTo>
                  <a:pt x="942" y="1212"/>
                </a:lnTo>
                <a:lnTo>
                  <a:pt x="912" y="1242"/>
                </a:lnTo>
                <a:lnTo>
                  <a:pt x="888" y="1254"/>
                </a:lnTo>
                <a:lnTo>
                  <a:pt x="864" y="1278"/>
                </a:lnTo>
                <a:lnTo>
                  <a:pt x="828" y="1296"/>
                </a:lnTo>
                <a:lnTo>
                  <a:pt x="774" y="1308"/>
                </a:lnTo>
                <a:lnTo>
                  <a:pt x="732" y="1302"/>
                </a:lnTo>
                <a:lnTo>
                  <a:pt x="702" y="1284"/>
                </a:lnTo>
                <a:lnTo>
                  <a:pt x="684" y="1278"/>
                </a:lnTo>
                <a:close/>
              </a:path>
            </a:pathLst>
          </a:cu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58" name="Freeform 14">
            <a:extLst>
              <a:ext uri="{FF2B5EF4-FFF2-40B4-BE49-F238E27FC236}">
                <a16:creationId xmlns:a16="http://schemas.microsoft.com/office/drawing/2014/main" id="{48997987-4C77-44CB-8361-302B4A4FC6F8}"/>
              </a:ext>
            </a:extLst>
          </p:cNvPr>
          <p:cNvSpPr>
            <a:spLocks/>
          </p:cNvSpPr>
          <p:nvPr/>
        </p:nvSpPr>
        <p:spPr bwMode="gray">
          <a:xfrm>
            <a:off x="4449936" y="3681760"/>
            <a:ext cx="978128" cy="615535"/>
          </a:xfrm>
          <a:custGeom>
            <a:avLst/>
            <a:gdLst>
              <a:gd name="T0" fmla="*/ 31 w 1704"/>
              <a:gd name="T1" fmla="*/ 78 h 1056"/>
              <a:gd name="T2" fmla="*/ 23 w 1704"/>
              <a:gd name="T3" fmla="*/ 78 h 1056"/>
              <a:gd name="T4" fmla="*/ 11 w 1704"/>
              <a:gd name="T5" fmla="*/ 79 h 1056"/>
              <a:gd name="T6" fmla="*/ 1 w 1704"/>
              <a:gd name="T7" fmla="*/ 81 h 1056"/>
              <a:gd name="T8" fmla="*/ 0 w 1704"/>
              <a:gd name="T9" fmla="*/ 62 h 1056"/>
              <a:gd name="T10" fmla="*/ 9 w 1704"/>
              <a:gd name="T11" fmla="*/ 56 h 1056"/>
              <a:gd name="T12" fmla="*/ 27 w 1704"/>
              <a:gd name="T13" fmla="*/ 48 h 1056"/>
              <a:gd name="T14" fmla="*/ 35 w 1704"/>
              <a:gd name="T15" fmla="*/ 20 h 1056"/>
              <a:gd name="T16" fmla="*/ 43 w 1704"/>
              <a:gd name="T17" fmla="*/ 6 h 1056"/>
              <a:gd name="T18" fmla="*/ 47 w 1704"/>
              <a:gd name="T19" fmla="*/ 7 h 1056"/>
              <a:gd name="T20" fmla="*/ 52 w 1704"/>
              <a:gd name="T21" fmla="*/ 0 h 1056"/>
              <a:gd name="T22" fmla="*/ 59 w 1704"/>
              <a:gd name="T23" fmla="*/ 5 h 1056"/>
              <a:gd name="T24" fmla="*/ 63 w 1704"/>
              <a:gd name="T25" fmla="*/ 12 h 1056"/>
              <a:gd name="T26" fmla="*/ 62 w 1704"/>
              <a:gd name="T27" fmla="*/ 15 h 1056"/>
              <a:gd name="T28" fmla="*/ 62 w 1704"/>
              <a:gd name="T29" fmla="*/ 18 h 1056"/>
              <a:gd name="T30" fmla="*/ 70 w 1704"/>
              <a:gd name="T31" fmla="*/ 18 h 1056"/>
              <a:gd name="T32" fmla="*/ 71 w 1704"/>
              <a:gd name="T33" fmla="*/ 14 h 1056"/>
              <a:gd name="T34" fmla="*/ 72 w 1704"/>
              <a:gd name="T35" fmla="*/ 12 h 1056"/>
              <a:gd name="T36" fmla="*/ 78 w 1704"/>
              <a:gd name="T37" fmla="*/ 14 h 1056"/>
              <a:gd name="T38" fmla="*/ 85 w 1704"/>
              <a:gd name="T39" fmla="*/ 21 h 1056"/>
              <a:gd name="T40" fmla="*/ 91 w 1704"/>
              <a:gd name="T41" fmla="*/ 15 h 1056"/>
              <a:gd name="T42" fmla="*/ 93 w 1704"/>
              <a:gd name="T43" fmla="*/ 10 h 1056"/>
              <a:gd name="T44" fmla="*/ 101 w 1704"/>
              <a:gd name="T45" fmla="*/ 14 h 1056"/>
              <a:gd name="T46" fmla="*/ 103 w 1704"/>
              <a:gd name="T47" fmla="*/ 19 h 1056"/>
              <a:gd name="T48" fmla="*/ 115 w 1704"/>
              <a:gd name="T49" fmla="*/ 20 h 1056"/>
              <a:gd name="T50" fmla="*/ 118 w 1704"/>
              <a:gd name="T51" fmla="*/ 23 h 1056"/>
              <a:gd name="T52" fmla="*/ 117 w 1704"/>
              <a:gd name="T53" fmla="*/ 27 h 1056"/>
              <a:gd name="T54" fmla="*/ 111 w 1704"/>
              <a:gd name="T55" fmla="*/ 33 h 1056"/>
              <a:gd name="T56" fmla="*/ 108 w 1704"/>
              <a:gd name="T57" fmla="*/ 36 h 1056"/>
              <a:gd name="T58" fmla="*/ 109 w 1704"/>
              <a:gd name="T59" fmla="*/ 40 h 1056"/>
              <a:gd name="T60" fmla="*/ 111 w 1704"/>
              <a:gd name="T61" fmla="*/ 43 h 1056"/>
              <a:gd name="T62" fmla="*/ 113 w 1704"/>
              <a:gd name="T63" fmla="*/ 50 h 1056"/>
              <a:gd name="T64" fmla="*/ 121 w 1704"/>
              <a:gd name="T65" fmla="*/ 55 h 1056"/>
              <a:gd name="T66" fmla="*/ 132 w 1704"/>
              <a:gd name="T67" fmla="*/ 52 h 1056"/>
              <a:gd name="T68" fmla="*/ 148 w 1704"/>
              <a:gd name="T69" fmla="*/ 58 h 1056"/>
              <a:gd name="T70" fmla="*/ 148 w 1704"/>
              <a:gd name="T71" fmla="*/ 61 h 1056"/>
              <a:gd name="T72" fmla="*/ 148 w 1704"/>
              <a:gd name="T73" fmla="*/ 64 h 1056"/>
              <a:gd name="T74" fmla="*/ 135 w 1704"/>
              <a:gd name="T75" fmla="*/ 61 h 1056"/>
              <a:gd name="T76" fmla="*/ 135 w 1704"/>
              <a:gd name="T77" fmla="*/ 66 h 1056"/>
              <a:gd name="T78" fmla="*/ 137 w 1704"/>
              <a:gd name="T79" fmla="*/ 71 h 1056"/>
              <a:gd name="T80" fmla="*/ 136 w 1704"/>
              <a:gd name="T81" fmla="*/ 79 h 1056"/>
              <a:gd name="T82" fmla="*/ 126 w 1704"/>
              <a:gd name="T83" fmla="*/ 84 h 1056"/>
              <a:gd name="T84" fmla="*/ 121 w 1704"/>
              <a:gd name="T85" fmla="*/ 79 h 1056"/>
              <a:gd name="T86" fmla="*/ 117 w 1704"/>
              <a:gd name="T87" fmla="*/ 75 h 1056"/>
              <a:gd name="T88" fmla="*/ 98 w 1704"/>
              <a:gd name="T89" fmla="*/ 74 h 1056"/>
              <a:gd name="T90" fmla="*/ 81 w 1704"/>
              <a:gd name="T91" fmla="*/ 75 h 1056"/>
              <a:gd name="T92" fmla="*/ 83 w 1704"/>
              <a:gd name="T93" fmla="*/ 88 h 1056"/>
              <a:gd name="T94" fmla="*/ 82 w 1704"/>
              <a:gd name="T95" fmla="*/ 91 h 1056"/>
              <a:gd name="T96" fmla="*/ 77 w 1704"/>
              <a:gd name="T97" fmla="*/ 90 h 1056"/>
              <a:gd name="T98" fmla="*/ 73 w 1704"/>
              <a:gd name="T99" fmla="*/ 86 h 1056"/>
              <a:gd name="T100" fmla="*/ 68 w 1704"/>
              <a:gd name="T101" fmla="*/ 85 h 1056"/>
              <a:gd name="T102" fmla="*/ 64 w 1704"/>
              <a:gd name="T103" fmla="*/ 83 h 1056"/>
              <a:gd name="T104" fmla="*/ 57 w 1704"/>
              <a:gd name="T105" fmla="*/ 81 h 1056"/>
              <a:gd name="T106" fmla="*/ 52 w 1704"/>
              <a:gd name="T107" fmla="*/ 80 h 1056"/>
              <a:gd name="T108" fmla="*/ 50 w 1704"/>
              <a:gd name="T109" fmla="*/ 80 h 1056"/>
              <a:gd name="T110" fmla="*/ 46 w 1704"/>
              <a:gd name="T111" fmla="*/ 79 h 1056"/>
              <a:gd name="T112" fmla="*/ 41 w 1704"/>
              <a:gd name="T113" fmla="*/ 78 h 105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704"/>
              <a:gd name="T172" fmla="*/ 0 h 1056"/>
              <a:gd name="T173" fmla="*/ 1704 w 1704"/>
              <a:gd name="T174" fmla="*/ 1056 h 105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704" h="1056">
                <a:moveTo>
                  <a:pt x="450" y="888"/>
                </a:moveTo>
                <a:lnTo>
                  <a:pt x="420" y="888"/>
                </a:lnTo>
                <a:lnTo>
                  <a:pt x="414" y="888"/>
                </a:lnTo>
                <a:lnTo>
                  <a:pt x="396" y="888"/>
                </a:lnTo>
                <a:lnTo>
                  <a:pt x="372" y="888"/>
                </a:lnTo>
                <a:lnTo>
                  <a:pt x="366" y="888"/>
                </a:lnTo>
                <a:lnTo>
                  <a:pt x="360" y="888"/>
                </a:lnTo>
                <a:lnTo>
                  <a:pt x="348" y="888"/>
                </a:lnTo>
                <a:lnTo>
                  <a:pt x="330" y="894"/>
                </a:lnTo>
                <a:lnTo>
                  <a:pt x="324" y="894"/>
                </a:lnTo>
                <a:lnTo>
                  <a:pt x="312" y="888"/>
                </a:lnTo>
                <a:lnTo>
                  <a:pt x="300" y="888"/>
                </a:lnTo>
                <a:lnTo>
                  <a:pt x="282" y="888"/>
                </a:lnTo>
                <a:lnTo>
                  <a:pt x="270" y="888"/>
                </a:lnTo>
                <a:lnTo>
                  <a:pt x="240" y="882"/>
                </a:lnTo>
                <a:lnTo>
                  <a:pt x="222" y="882"/>
                </a:lnTo>
                <a:lnTo>
                  <a:pt x="198" y="882"/>
                </a:lnTo>
                <a:lnTo>
                  <a:pt x="174" y="894"/>
                </a:lnTo>
                <a:lnTo>
                  <a:pt x="162" y="900"/>
                </a:lnTo>
                <a:lnTo>
                  <a:pt x="144" y="906"/>
                </a:lnTo>
                <a:lnTo>
                  <a:pt x="126" y="912"/>
                </a:lnTo>
                <a:lnTo>
                  <a:pt x="102" y="924"/>
                </a:lnTo>
                <a:lnTo>
                  <a:pt x="78" y="930"/>
                </a:lnTo>
                <a:lnTo>
                  <a:pt x="72" y="936"/>
                </a:lnTo>
                <a:lnTo>
                  <a:pt x="30" y="954"/>
                </a:lnTo>
                <a:lnTo>
                  <a:pt x="12" y="966"/>
                </a:lnTo>
                <a:lnTo>
                  <a:pt x="12" y="954"/>
                </a:lnTo>
                <a:lnTo>
                  <a:pt x="12" y="930"/>
                </a:lnTo>
                <a:lnTo>
                  <a:pt x="12" y="894"/>
                </a:lnTo>
                <a:lnTo>
                  <a:pt x="30" y="828"/>
                </a:lnTo>
                <a:lnTo>
                  <a:pt x="36" y="798"/>
                </a:lnTo>
                <a:lnTo>
                  <a:pt x="18" y="774"/>
                </a:lnTo>
                <a:lnTo>
                  <a:pt x="18" y="756"/>
                </a:lnTo>
                <a:lnTo>
                  <a:pt x="6" y="738"/>
                </a:lnTo>
                <a:lnTo>
                  <a:pt x="0" y="714"/>
                </a:lnTo>
                <a:lnTo>
                  <a:pt x="12" y="678"/>
                </a:lnTo>
                <a:lnTo>
                  <a:pt x="18" y="678"/>
                </a:lnTo>
                <a:lnTo>
                  <a:pt x="24" y="672"/>
                </a:lnTo>
                <a:lnTo>
                  <a:pt x="30" y="666"/>
                </a:lnTo>
                <a:lnTo>
                  <a:pt x="42" y="648"/>
                </a:lnTo>
                <a:lnTo>
                  <a:pt x="66" y="648"/>
                </a:lnTo>
                <a:lnTo>
                  <a:pt x="108" y="648"/>
                </a:lnTo>
                <a:lnTo>
                  <a:pt x="174" y="642"/>
                </a:lnTo>
                <a:lnTo>
                  <a:pt x="216" y="636"/>
                </a:lnTo>
                <a:lnTo>
                  <a:pt x="240" y="630"/>
                </a:lnTo>
                <a:lnTo>
                  <a:pt x="246" y="618"/>
                </a:lnTo>
                <a:lnTo>
                  <a:pt x="264" y="600"/>
                </a:lnTo>
                <a:lnTo>
                  <a:pt x="294" y="582"/>
                </a:lnTo>
                <a:lnTo>
                  <a:pt x="318" y="552"/>
                </a:lnTo>
                <a:lnTo>
                  <a:pt x="330" y="546"/>
                </a:lnTo>
                <a:lnTo>
                  <a:pt x="348" y="510"/>
                </a:lnTo>
                <a:lnTo>
                  <a:pt x="372" y="474"/>
                </a:lnTo>
                <a:lnTo>
                  <a:pt x="384" y="444"/>
                </a:lnTo>
                <a:lnTo>
                  <a:pt x="396" y="420"/>
                </a:lnTo>
                <a:lnTo>
                  <a:pt x="402" y="378"/>
                </a:lnTo>
                <a:lnTo>
                  <a:pt x="402" y="228"/>
                </a:lnTo>
                <a:lnTo>
                  <a:pt x="414" y="186"/>
                </a:lnTo>
                <a:lnTo>
                  <a:pt x="432" y="138"/>
                </a:lnTo>
                <a:lnTo>
                  <a:pt x="438" y="114"/>
                </a:lnTo>
                <a:lnTo>
                  <a:pt x="444" y="96"/>
                </a:lnTo>
                <a:lnTo>
                  <a:pt x="462" y="84"/>
                </a:lnTo>
                <a:lnTo>
                  <a:pt x="474" y="78"/>
                </a:lnTo>
                <a:lnTo>
                  <a:pt x="492" y="72"/>
                </a:lnTo>
                <a:lnTo>
                  <a:pt x="492" y="66"/>
                </a:lnTo>
                <a:lnTo>
                  <a:pt x="498" y="66"/>
                </a:lnTo>
                <a:lnTo>
                  <a:pt x="510" y="66"/>
                </a:lnTo>
                <a:lnTo>
                  <a:pt x="510" y="72"/>
                </a:lnTo>
                <a:lnTo>
                  <a:pt x="516" y="72"/>
                </a:lnTo>
                <a:lnTo>
                  <a:pt x="522" y="78"/>
                </a:lnTo>
                <a:lnTo>
                  <a:pt x="546" y="78"/>
                </a:lnTo>
                <a:lnTo>
                  <a:pt x="552" y="60"/>
                </a:lnTo>
                <a:lnTo>
                  <a:pt x="570" y="42"/>
                </a:lnTo>
                <a:lnTo>
                  <a:pt x="576" y="24"/>
                </a:lnTo>
                <a:lnTo>
                  <a:pt x="588" y="18"/>
                </a:lnTo>
                <a:lnTo>
                  <a:pt x="588" y="12"/>
                </a:lnTo>
                <a:lnTo>
                  <a:pt x="594" y="6"/>
                </a:lnTo>
                <a:lnTo>
                  <a:pt x="600" y="0"/>
                </a:lnTo>
                <a:lnTo>
                  <a:pt x="624" y="0"/>
                </a:lnTo>
                <a:lnTo>
                  <a:pt x="636" y="6"/>
                </a:lnTo>
                <a:lnTo>
                  <a:pt x="648" y="24"/>
                </a:lnTo>
                <a:lnTo>
                  <a:pt x="654" y="48"/>
                </a:lnTo>
                <a:lnTo>
                  <a:pt x="672" y="60"/>
                </a:lnTo>
                <a:lnTo>
                  <a:pt x="678" y="60"/>
                </a:lnTo>
                <a:lnTo>
                  <a:pt x="684" y="60"/>
                </a:lnTo>
                <a:lnTo>
                  <a:pt x="690" y="72"/>
                </a:lnTo>
                <a:lnTo>
                  <a:pt x="690" y="78"/>
                </a:lnTo>
                <a:lnTo>
                  <a:pt x="696" y="90"/>
                </a:lnTo>
                <a:lnTo>
                  <a:pt x="714" y="114"/>
                </a:lnTo>
                <a:lnTo>
                  <a:pt x="714" y="120"/>
                </a:lnTo>
                <a:lnTo>
                  <a:pt x="720" y="132"/>
                </a:lnTo>
                <a:lnTo>
                  <a:pt x="726" y="138"/>
                </a:lnTo>
                <a:lnTo>
                  <a:pt x="720" y="144"/>
                </a:lnTo>
                <a:lnTo>
                  <a:pt x="720" y="150"/>
                </a:lnTo>
                <a:lnTo>
                  <a:pt x="714" y="150"/>
                </a:lnTo>
                <a:lnTo>
                  <a:pt x="714" y="156"/>
                </a:lnTo>
                <a:lnTo>
                  <a:pt x="714" y="162"/>
                </a:lnTo>
                <a:lnTo>
                  <a:pt x="708" y="162"/>
                </a:lnTo>
                <a:lnTo>
                  <a:pt x="708" y="168"/>
                </a:lnTo>
                <a:lnTo>
                  <a:pt x="702" y="168"/>
                </a:lnTo>
                <a:lnTo>
                  <a:pt x="702" y="174"/>
                </a:lnTo>
                <a:lnTo>
                  <a:pt x="702" y="180"/>
                </a:lnTo>
                <a:lnTo>
                  <a:pt x="708" y="180"/>
                </a:lnTo>
                <a:lnTo>
                  <a:pt x="708" y="186"/>
                </a:lnTo>
                <a:lnTo>
                  <a:pt x="708" y="192"/>
                </a:lnTo>
                <a:lnTo>
                  <a:pt x="714" y="204"/>
                </a:lnTo>
                <a:lnTo>
                  <a:pt x="726" y="216"/>
                </a:lnTo>
                <a:lnTo>
                  <a:pt x="738" y="216"/>
                </a:lnTo>
                <a:lnTo>
                  <a:pt x="768" y="222"/>
                </a:lnTo>
                <a:lnTo>
                  <a:pt x="780" y="216"/>
                </a:lnTo>
                <a:lnTo>
                  <a:pt x="792" y="204"/>
                </a:lnTo>
                <a:lnTo>
                  <a:pt x="798" y="198"/>
                </a:lnTo>
                <a:lnTo>
                  <a:pt x="804" y="204"/>
                </a:lnTo>
                <a:lnTo>
                  <a:pt x="810" y="204"/>
                </a:lnTo>
                <a:lnTo>
                  <a:pt x="810" y="198"/>
                </a:lnTo>
                <a:lnTo>
                  <a:pt x="816" y="192"/>
                </a:lnTo>
                <a:lnTo>
                  <a:pt x="816" y="186"/>
                </a:lnTo>
                <a:lnTo>
                  <a:pt x="816" y="180"/>
                </a:lnTo>
                <a:lnTo>
                  <a:pt x="816" y="174"/>
                </a:lnTo>
                <a:lnTo>
                  <a:pt x="816" y="162"/>
                </a:lnTo>
                <a:lnTo>
                  <a:pt x="816" y="156"/>
                </a:lnTo>
                <a:lnTo>
                  <a:pt x="822" y="156"/>
                </a:lnTo>
                <a:lnTo>
                  <a:pt x="822" y="150"/>
                </a:lnTo>
                <a:lnTo>
                  <a:pt x="828" y="144"/>
                </a:lnTo>
                <a:lnTo>
                  <a:pt x="822" y="144"/>
                </a:lnTo>
                <a:lnTo>
                  <a:pt x="822" y="138"/>
                </a:lnTo>
                <a:lnTo>
                  <a:pt x="828" y="138"/>
                </a:lnTo>
                <a:lnTo>
                  <a:pt x="834" y="132"/>
                </a:lnTo>
                <a:lnTo>
                  <a:pt x="840" y="132"/>
                </a:lnTo>
                <a:lnTo>
                  <a:pt x="864" y="126"/>
                </a:lnTo>
                <a:lnTo>
                  <a:pt x="906" y="144"/>
                </a:lnTo>
                <a:lnTo>
                  <a:pt x="906" y="150"/>
                </a:lnTo>
                <a:lnTo>
                  <a:pt x="906" y="156"/>
                </a:lnTo>
                <a:lnTo>
                  <a:pt x="900" y="162"/>
                </a:lnTo>
                <a:lnTo>
                  <a:pt x="924" y="168"/>
                </a:lnTo>
                <a:lnTo>
                  <a:pt x="942" y="192"/>
                </a:lnTo>
                <a:lnTo>
                  <a:pt x="972" y="210"/>
                </a:lnTo>
                <a:lnTo>
                  <a:pt x="972" y="216"/>
                </a:lnTo>
                <a:lnTo>
                  <a:pt x="972" y="228"/>
                </a:lnTo>
                <a:lnTo>
                  <a:pt x="978" y="234"/>
                </a:lnTo>
                <a:lnTo>
                  <a:pt x="978" y="246"/>
                </a:lnTo>
                <a:lnTo>
                  <a:pt x="984" y="252"/>
                </a:lnTo>
                <a:lnTo>
                  <a:pt x="1014" y="252"/>
                </a:lnTo>
                <a:lnTo>
                  <a:pt x="1020" y="228"/>
                </a:lnTo>
                <a:lnTo>
                  <a:pt x="1026" y="198"/>
                </a:lnTo>
                <a:lnTo>
                  <a:pt x="1050" y="186"/>
                </a:lnTo>
                <a:lnTo>
                  <a:pt x="1056" y="180"/>
                </a:lnTo>
                <a:lnTo>
                  <a:pt x="1050" y="174"/>
                </a:lnTo>
                <a:lnTo>
                  <a:pt x="1050" y="168"/>
                </a:lnTo>
                <a:lnTo>
                  <a:pt x="1050" y="162"/>
                </a:lnTo>
                <a:lnTo>
                  <a:pt x="1056" y="162"/>
                </a:lnTo>
                <a:lnTo>
                  <a:pt x="1062" y="162"/>
                </a:lnTo>
                <a:lnTo>
                  <a:pt x="1074" y="162"/>
                </a:lnTo>
                <a:lnTo>
                  <a:pt x="1074" y="144"/>
                </a:lnTo>
                <a:lnTo>
                  <a:pt x="1074" y="120"/>
                </a:lnTo>
                <a:lnTo>
                  <a:pt x="1092" y="120"/>
                </a:lnTo>
                <a:lnTo>
                  <a:pt x="1098" y="126"/>
                </a:lnTo>
                <a:lnTo>
                  <a:pt x="1134" y="132"/>
                </a:lnTo>
                <a:lnTo>
                  <a:pt x="1146" y="132"/>
                </a:lnTo>
                <a:lnTo>
                  <a:pt x="1158" y="150"/>
                </a:lnTo>
                <a:lnTo>
                  <a:pt x="1158" y="156"/>
                </a:lnTo>
                <a:lnTo>
                  <a:pt x="1158" y="162"/>
                </a:lnTo>
                <a:lnTo>
                  <a:pt x="1158" y="180"/>
                </a:lnTo>
                <a:lnTo>
                  <a:pt x="1158" y="186"/>
                </a:lnTo>
                <a:lnTo>
                  <a:pt x="1164" y="192"/>
                </a:lnTo>
                <a:lnTo>
                  <a:pt x="1176" y="198"/>
                </a:lnTo>
                <a:lnTo>
                  <a:pt x="1182" y="198"/>
                </a:lnTo>
                <a:lnTo>
                  <a:pt x="1182" y="210"/>
                </a:lnTo>
                <a:lnTo>
                  <a:pt x="1182" y="216"/>
                </a:lnTo>
                <a:lnTo>
                  <a:pt x="1182" y="228"/>
                </a:lnTo>
                <a:lnTo>
                  <a:pt x="1188" y="234"/>
                </a:lnTo>
                <a:lnTo>
                  <a:pt x="1212" y="234"/>
                </a:lnTo>
                <a:lnTo>
                  <a:pt x="1242" y="234"/>
                </a:lnTo>
                <a:lnTo>
                  <a:pt x="1248" y="234"/>
                </a:lnTo>
                <a:lnTo>
                  <a:pt x="1278" y="240"/>
                </a:lnTo>
                <a:lnTo>
                  <a:pt x="1320" y="234"/>
                </a:lnTo>
                <a:lnTo>
                  <a:pt x="1332" y="228"/>
                </a:lnTo>
                <a:lnTo>
                  <a:pt x="1344" y="228"/>
                </a:lnTo>
                <a:lnTo>
                  <a:pt x="1350" y="234"/>
                </a:lnTo>
                <a:lnTo>
                  <a:pt x="1350" y="240"/>
                </a:lnTo>
                <a:lnTo>
                  <a:pt x="1356" y="246"/>
                </a:lnTo>
                <a:lnTo>
                  <a:pt x="1350" y="252"/>
                </a:lnTo>
                <a:lnTo>
                  <a:pt x="1356" y="264"/>
                </a:lnTo>
                <a:lnTo>
                  <a:pt x="1356" y="270"/>
                </a:lnTo>
                <a:lnTo>
                  <a:pt x="1356" y="276"/>
                </a:lnTo>
                <a:lnTo>
                  <a:pt x="1356" y="282"/>
                </a:lnTo>
                <a:lnTo>
                  <a:pt x="1356" y="288"/>
                </a:lnTo>
                <a:lnTo>
                  <a:pt x="1350" y="294"/>
                </a:lnTo>
                <a:lnTo>
                  <a:pt x="1344" y="300"/>
                </a:lnTo>
                <a:lnTo>
                  <a:pt x="1344" y="306"/>
                </a:lnTo>
                <a:lnTo>
                  <a:pt x="1338" y="312"/>
                </a:lnTo>
                <a:lnTo>
                  <a:pt x="1326" y="342"/>
                </a:lnTo>
                <a:lnTo>
                  <a:pt x="1320" y="348"/>
                </a:lnTo>
                <a:lnTo>
                  <a:pt x="1314" y="354"/>
                </a:lnTo>
                <a:lnTo>
                  <a:pt x="1290" y="354"/>
                </a:lnTo>
                <a:lnTo>
                  <a:pt x="1284" y="360"/>
                </a:lnTo>
                <a:lnTo>
                  <a:pt x="1278" y="378"/>
                </a:lnTo>
                <a:lnTo>
                  <a:pt x="1278" y="384"/>
                </a:lnTo>
                <a:lnTo>
                  <a:pt x="1272" y="390"/>
                </a:lnTo>
                <a:lnTo>
                  <a:pt x="1266" y="396"/>
                </a:lnTo>
                <a:lnTo>
                  <a:pt x="1260" y="396"/>
                </a:lnTo>
                <a:lnTo>
                  <a:pt x="1248" y="402"/>
                </a:lnTo>
                <a:lnTo>
                  <a:pt x="1242" y="408"/>
                </a:lnTo>
                <a:lnTo>
                  <a:pt x="1242" y="414"/>
                </a:lnTo>
                <a:lnTo>
                  <a:pt x="1242" y="420"/>
                </a:lnTo>
                <a:lnTo>
                  <a:pt x="1236" y="432"/>
                </a:lnTo>
                <a:lnTo>
                  <a:pt x="1242" y="432"/>
                </a:lnTo>
                <a:lnTo>
                  <a:pt x="1242" y="444"/>
                </a:lnTo>
                <a:lnTo>
                  <a:pt x="1242" y="456"/>
                </a:lnTo>
                <a:lnTo>
                  <a:pt x="1248" y="456"/>
                </a:lnTo>
                <a:lnTo>
                  <a:pt x="1254" y="462"/>
                </a:lnTo>
                <a:lnTo>
                  <a:pt x="1248" y="468"/>
                </a:lnTo>
                <a:lnTo>
                  <a:pt x="1254" y="468"/>
                </a:lnTo>
                <a:lnTo>
                  <a:pt x="1266" y="474"/>
                </a:lnTo>
                <a:lnTo>
                  <a:pt x="1266" y="480"/>
                </a:lnTo>
                <a:lnTo>
                  <a:pt x="1266" y="486"/>
                </a:lnTo>
                <a:lnTo>
                  <a:pt x="1272" y="486"/>
                </a:lnTo>
                <a:lnTo>
                  <a:pt x="1272" y="492"/>
                </a:lnTo>
                <a:lnTo>
                  <a:pt x="1290" y="510"/>
                </a:lnTo>
                <a:lnTo>
                  <a:pt x="1296" y="516"/>
                </a:lnTo>
                <a:lnTo>
                  <a:pt x="1302" y="540"/>
                </a:lnTo>
                <a:lnTo>
                  <a:pt x="1302" y="546"/>
                </a:lnTo>
                <a:lnTo>
                  <a:pt x="1302" y="558"/>
                </a:lnTo>
                <a:lnTo>
                  <a:pt x="1302" y="570"/>
                </a:lnTo>
                <a:lnTo>
                  <a:pt x="1302" y="576"/>
                </a:lnTo>
                <a:lnTo>
                  <a:pt x="1344" y="570"/>
                </a:lnTo>
                <a:lnTo>
                  <a:pt x="1350" y="582"/>
                </a:lnTo>
                <a:lnTo>
                  <a:pt x="1368" y="594"/>
                </a:lnTo>
                <a:lnTo>
                  <a:pt x="1374" y="600"/>
                </a:lnTo>
                <a:lnTo>
                  <a:pt x="1380" y="600"/>
                </a:lnTo>
                <a:lnTo>
                  <a:pt x="1380" y="618"/>
                </a:lnTo>
                <a:lnTo>
                  <a:pt x="1386" y="624"/>
                </a:lnTo>
                <a:lnTo>
                  <a:pt x="1404" y="624"/>
                </a:lnTo>
                <a:lnTo>
                  <a:pt x="1410" y="612"/>
                </a:lnTo>
                <a:lnTo>
                  <a:pt x="1428" y="606"/>
                </a:lnTo>
                <a:lnTo>
                  <a:pt x="1488" y="606"/>
                </a:lnTo>
                <a:lnTo>
                  <a:pt x="1506" y="606"/>
                </a:lnTo>
                <a:lnTo>
                  <a:pt x="1512" y="600"/>
                </a:lnTo>
                <a:lnTo>
                  <a:pt x="1524" y="594"/>
                </a:lnTo>
                <a:lnTo>
                  <a:pt x="1554" y="594"/>
                </a:lnTo>
                <a:lnTo>
                  <a:pt x="1578" y="606"/>
                </a:lnTo>
                <a:lnTo>
                  <a:pt x="1596" y="624"/>
                </a:lnTo>
                <a:lnTo>
                  <a:pt x="1650" y="642"/>
                </a:lnTo>
                <a:lnTo>
                  <a:pt x="1686" y="648"/>
                </a:lnTo>
                <a:lnTo>
                  <a:pt x="1698" y="654"/>
                </a:lnTo>
                <a:lnTo>
                  <a:pt x="1698" y="660"/>
                </a:lnTo>
                <a:lnTo>
                  <a:pt x="1692" y="666"/>
                </a:lnTo>
                <a:lnTo>
                  <a:pt x="1692" y="672"/>
                </a:lnTo>
                <a:lnTo>
                  <a:pt x="1698" y="678"/>
                </a:lnTo>
                <a:lnTo>
                  <a:pt x="1698" y="684"/>
                </a:lnTo>
                <a:lnTo>
                  <a:pt x="1692" y="684"/>
                </a:lnTo>
                <a:lnTo>
                  <a:pt x="1692" y="690"/>
                </a:lnTo>
                <a:lnTo>
                  <a:pt x="1698" y="696"/>
                </a:lnTo>
                <a:lnTo>
                  <a:pt x="1698" y="702"/>
                </a:lnTo>
                <a:lnTo>
                  <a:pt x="1698" y="708"/>
                </a:lnTo>
                <a:lnTo>
                  <a:pt x="1704" y="714"/>
                </a:lnTo>
                <a:lnTo>
                  <a:pt x="1704" y="720"/>
                </a:lnTo>
                <a:lnTo>
                  <a:pt x="1704" y="726"/>
                </a:lnTo>
                <a:lnTo>
                  <a:pt x="1704" y="732"/>
                </a:lnTo>
                <a:lnTo>
                  <a:pt x="1704" y="738"/>
                </a:lnTo>
                <a:lnTo>
                  <a:pt x="1698" y="726"/>
                </a:lnTo>
                <a:lnTo>
                  <a:pt x="1668" y="720"/>
                </a:lnTo>
                <a:lnTo>
                  <a:pt x="1626" y="714"/>
                </a:lnTo>
                <a:lnTo>
                  <a:pt x="1614" y="708"/>
                </a:lnTo>
                <a:lnTo>
                  <a:pt x="1578" y="696"/>
                </a:lnTo>
                <a:lnTo>
                  <a:pt x="1566" y="696"/>
                </a:lnTo>
                <a:lnTo>
                  <a:pt x="1548" y="702"/>
                </a:lnTo>
                <a:lnTo>
                  <a:pt x="1542" y="714"/>
                </a:lnTo>
                <a:lnTo>
                  <a:pt x="1536" y="732"/>
                </a:lnTo>
                <a:lnTo>
                  <a:pt x="1530" y="750"/>
                </a:lnTo>
                <a:lnTo>
                  <a:pt x="1536" y="750"/>
                </a:lnTo>
                <a:lnTo>
                  <a:pt x="1542" y="756"/>
                </a:lnTo>
                <a:lnTo>
                  <a:pt x="1542" y="762"/>
                </a:lnTo>
                <a:lnTo>
                  <a:pt x="1548" y="762"/>
                </a:lnTo>
                <a:lnTo>
                  <a:pt x="1554" y="762"/>
                </a:lnTo>
                <a:lnTo>
                  <a:pt x="1554" y="768"/>
                </a:lnTo>
                <a:lnTo>
                  <a:pt x="1560" y="774"/>
                </a:lnTo>
                <a:lnTo>
                  <a:pt x="1566" y="774"/>
                </a:lnTo>
                <a:lnTo>
                  <a:pt x="1584" y="792"/>
                </a:lnTo>
                <a:lnTo>
                  <a:pt x="1584" y="810"/>
                </a:lnTo>
                <a:lnTo>
                  <a:pt x="1572" y="816"/>
                </a:lnTo>
                <a:lnTo>
                  <a:pt x="1578" y="834"/>
                </a:lnTo>
                <a:lnTo>
                  <a:pt x="1578" y="846"/>
                </a:lnTo>
                <a:lnTo>
                  <a:pt x="1584" y="858"/>
                </a:lnTo>
                <a:lnTo>
                  <a:pt x="1590" y="864"/>
                </a:lnTo>
                <a:lnTo>
                  <a:pt x="1590" y="876"/>
                </a:lnTo>
                <a:lnTo>
                  <a:pt x="1578" y="888"/>
                </a:lnTo>
                <a:lnTo>
                  <a:pt x="1560" y="906"/>
                </a:lnTo>
                <a:lnTo>
                  <a:pt x="1536" y="930"/>
                </a:lnTo>
                <a:lnTo>
                  <a:pt x="1530" y="930"/>
                </a:lnTo>
                <a:lnTo>
                  <a:pt x="1506" y="942"/>
                </a:lnTo>
                <a:lnTo>
                  <a:pt x="1488" y="948"/>
                </a:lnTo>
                <a:lnTo>
                  <a:pt x="1476" y="954"/>
                </a:lnTo>
                <a:lnTo>
                  <a:pt x="1458" y="960"/>
                </a:lnTo>
                <a:lnTo>
                  <a:pt x="1452" y="966"/>
                </a:lnTo>
                <a:lnTo>
                  <a:pt x="1446" y="966"/>
                </a:lnTo>
                <a:lnTo>
                  <a:pt x="1434" y="972"/>
                </a:lnTo>
                <a:lnTo>
                  <a:pt x="1434" y="954"/>
                </a:lnTo>
                <a:lnTo>
                  <a:pt x="1422" y="942"/>
                </a:lnTo>
                <a:lnTo>
                  <a:pt x="1398" y="924"/>
                </a:lnTo>
                <a:lnTo>
                  <a:pt x="1398" y="912"/>
                </a:lnTo>
                <a:lnTo>
                  <a:pt x="1398" y="906"/>
                </a:lnTo>
                <a:lnTo>
                  <a:pt x="1398" y="900"/>
                </a:lnTo>
                <a:lnTo>
                  <a:pt x="1380" y="900"/>
                </a:lnTo>
                <a:lnTo>
                  <a:pt x="1380" y="894"/>
                </a:lnTo>
                <a:lnTo>
                  <a:pt x="1368" y="888"/>
                </a:lnTo>
                <a:lnTo>
                  <a:pt x="1362" y="882"/>
                </a:lnTo>
                <a:lnTo>
                  <a:pt x="1356" y="876"/>
                </a:lnTo>
                <a:lnTo>
                  <a:pt x="1350" y="864"/>
                </a:lnTo>
                <a:lnTo>
                  <a:pt x="1344" y="858"/>
                </a:lnTo>
                <a:lnTo>
                  <a:pt x="1314" y="870"/>
                </a:lnTo>
                <a:lnTo>
                  <a:pt x="1272" y="876"/>
                </a:lnTo>
                <a:lnTo>
                  <a:pt x="1218" y="870"/>
                </a:lnTo>
                <a:lnTo>
                  <a:pt x="1200" y="864"/>
                </a:lnTo>
                <a:lnTo>
                  <a:pt x="1182" y="864"/>
                </a:lnTo>
                <a:lnTo>
                  <a:pt x="1134" y="858"/>
                </a:lnTo>
                <a:lnTo>
                  <a:pt x="1110" y="840"/>
                </a:lnTo>
                <a:lnTo>
                  <a:pt x="1086" y="828"/>
                </a:lnTo>
                <a:lnTo>
                  <a:pt x="1044" y="816"/>
                </a:lnTo>
                <a:lnTo>
                  <a:pt x="1014" y="816"/>
                </a:lnTo>
                <a:lnTo>
                  <a:pt x="990" y="822"/>
                </a:lnTo>
                <a:lnTo>
                  <a:pt x="948" y="858"/>
                </a:lnTo>
                <a:lnTo>
                  <a:pt x="930" y="864"/>
                </a:lnTo>
                <a:lnTo>
                  <a:pt x="924" y="876"/>
                </a:lnTo>
                <a:lnTo>
                  <a:pt x="918" y="906"/>
                </a:lnTo>
                <a:lnTo>
                  <a:pt x="924" y="930"/>
                </a:lnTo>
                <a:lnTo>
                  <a:pt x="948" y="984"/>
                </a:lnTo>
                <a:lnTo>
                  <a:pt x="954" y="1008"/>
                </a:lnTo>
                <a:lnTo>
                  <a:pt x="948" y="1014"/>
                </a:lnTo>
                <a:lnTo>
                  <a:pt x="954" y="1014"/>
                </a:lnTo>
                <a:lnTo>
                  <a:pt x="954" y="1032"/>
                </a:lnTo>
                <a:lnTo>
                  <a:pt x="966" y="1044"/>
                </a:lnTo>
                <a:lnTo>
                  <a:pt x="960" y="1056"/>
                </a:lnTo>
                <a:lnTo>
                  <a:pt x="954" y="1056"/>
                </a:lnTo>
                <a:lnTo>
                  <a:pt x="948" y="1056"/>
                </a:lnTo>
                <a:lnTo>
                  <a:pt x="942" y="1056"/>
                </a:lnTo>
                <a:lnTo>
                  <a:pt x="936" y="1050"/>
                </a:lnTo>
                <a:lnTo>
                  <a:pt x="930" y="1044"/>
                </a:lnTo>
                <a:lnTo>
                  <a:pt x="924" y="1044"/>
                </a:lnTo>
                <a:lnTo>
                  <a:pt x="918" y="1038"/>
                </a:lnTo>
                <a:lnTo>
                  <a:pt x="912" y="1038"/>
                </a:lnTo>
                <a:lnTo>
                  <a:pt x="906" y="1032"/>
                </a:lnTo>
                <a:lnTo>
                  <a:pt x="900" y="1032"/>
                </a:lnTo>
                <a:lnTo>
                  <a:pt x="888" y="1026"/>
                </a:lnTo>
                <a:lnTo>
                  <a:pt x="882" y="1026"/>
                </a:lnTo>
                <a:lnTo>
                  <a:pt x="876" y="1026"/>
                </a:lnTo>
                <a:lnTo>
                  <a:pt x="864" y="1014"/>
                </a:lnTo>
                <a:lnTo>
                  <a:pt x="846" y="1008"/>
                </a:lnTo>
                <a:lnTo>
                  <a:pt x="840" y="996"/>
                </a:lnTo>
                <a:lnTo>
                  <a:pt x="840" y="990"/>
                </a:lnTo>
                <a:lnTo>
                  <a:pt x="834" y="990"/>
                </a:lnTo>
                <a:lnTo>
                  <a:pt x="828" y="990"/>
                </a:lnTo>
                <a:lnTo>
                  <a:pt x="816" y="990"/>
                </a:lnTo>
                <a:lnTo>
                  <a:pt x="810" y="990"/>
                </a:lnTo>
                <a:lnTo>
                  <a:pt x="804" y="984"/>
                </a:lnTo>
                <a:lnTo>
                  <a:pt x="792" y="978"/>
                </a:lnTo>
                <a:lnTo>
                  <a:pt x="786" y="972"/>
                </a:lnTo>
                <a:lnTo>
                  <a:pt x="780" y="972"/>
                </a:lnTo>
                <a:lnTo>
                  <a:pt x="768" y="966"/>
                </a:lnTo>
                <a:lnTo>
                  <a:pt x="762" y="966"/>
                </a:lnTo>
                <a:lnTo>
                  <a:pt x="756" y="966"/>
                </a:lnTo>
                <a:lnTo>
                  <a:pt x="750" y="966"/>
                </a:lnTo>
                <a:lnTo>
                  <a:pt x="744" y="966"/>
                </a:lnTo>
                <a:lnTo>
                  <a:pt x="738" y="960"/>
                </a:lnTo>
                <a:lnTo>
                  <a:pt x="732" y="954"/>
                </a:lnTo>
                <a:lnTo>
                  <a:pt x="720" y="954"/>
                </a:lnTo>
                <a:lnTo>
                  <a:pt x="714" y="948"/>
                </a:lnTo>
                <a:lnTo>
                  <a:pt x="708" y="948"/>
                </a:lnTo>
                <a:lnTo>
                  <a:pt x="696" y="948"/>
                </a:lnTo>
                <a:lnTo>
                  <a:pt x="684" y="942"/>
                </a:lnTo>
                <a:lnTo>
                  <a:pt x="678" y="936"/>
                </a:lnTo>
                <a:lnTo>
                  <a:pt x="660" y="930"/>
                </a:lnTo>
                <a:lnTo>
                  <a:pt x="642" y="924"/>
                </a:lnTo>
                <a:lnTo>
                  <a:pt x="636" y="924"/>
                </a:lnTo>
                <a:lnTo>
                  <a:pt x="630" y="924"/>
                </a:lnTo>
                <a:lnTo>
                  <a:pt x="618" y="924"/>
                </a:lnTo>
                <a:lnTo>
                  <a:pt x="618" y="918"/>
                </a:lnTo>
                <a:lnTo>
                  <a:pt x="606" y="918"/>
                </a:lnTo>
                <a:lnTo>
                  <a:pt x="600" y="918"/>
                </a:lnTo>
                <a:lnTo>
                  <a:pt x="594" y="918"/>
                </a:lnTo>
                <a:lnTo>
                  <a:pt x="594" y="912"/>
                </a:lnTo>
                <a:lnTo>
                  <a:pt x="588" y="912"/>
                </a:lnTo>
                <a:lnTo>
                  <a:pt x="582" y="912"/>
                </a:lnTo>
                <a:lnTo>
                  <a:pt x="582" y="918"/>
                </a:lnTo>
                <a:lnTo>
                  <a:pt x="576" y="918"/>
                </a:lnTo>
                <a:lnTo>
                  <a:pt x="570" y="918"/>
                </a:lnTo>
                <a:lnTo>
                  <a:pt x="570" y="912"/>
                </a:lnTo>
                <a:lnTo>
                  <a:pt x="564" y="912"/>
                </a:lnTo>
                <a:lnTo>
                  <a:pt x="558" y="918"/>
                </a:lnTo>
                <a:lnTo>
                  <a:pt x="552" y="912"/>
                </a:lnTo>
                <a:lnTo>
                  <a:pt x="546" y="912"/>
                </a:lnTo>
                <a:lnTo>
                  <a:pt x="540" y="912"/>
                </a:lnTo>
                <a:lnTo>
                  <a:pt x="528" y="906"/>
                </a:lnTo>
                <a:lnTo>
                  <a:pt x="522" y="906"/>
                </a:lnTo>
                <a:lnTo>
                  <a:pt x="522" y="900"/>
                </a:lnTo>
                <a:lnTo>
                  <a:pt x="516" y="900"/>
                </a:lnTo>
                <a:lnTo>
                  <a:pt x="510" y="900"/>
                </a:lnTo>
                <a:lnTo>
                  <a:pt x="486" y="894"/>
                </a:lnTo>
                <a:lnTo>
                  <a:pt x="474" y="888"/>
                </a:lnTo>
                <a:lnTo>
                  <a:pt x="468" y="888"/>
                </a:lnTo>
                <a:lnTo>
                  <a:pt x="450" y="888"/>
                </a:lnTo>
                <a:close/>
              </a:path>
            </a:pathLst>
          </a:cu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76" name="Freeform 32">
            <a:extLst>
              <a:ext uri="{FF2B5EF4-FFF2-40B4-BE49-F238E27FC236}">
                <a16:creationId xmlns:a16="http://schemas.microsoft.com/office/drawing/2014/main" id="{9463AA97-9C21-434D-9509-872CE60B9530}"/>
              </a:ext>
            </a:extLst>
          </p:cNvPr>
          <p:cNvSpPr>
            <a:spLocks/>
          </p:cNvSpPr>
          <p:nvPr/>
        </p:nvSpPr>
        <p:spPr bwMode="gray">
          <a:xfrm>
            <a:off x="3210975" y="2948395"/>
            <a:ext cx="1396532" cy="1191942"/>
          </a:xfrm>
          <a:custGeom>
            <a:avLst/>
            <a:gdLst>
              <a:gd name="T0" fmla="*/ 177 w 2430"/>
              <a:gd name="T1" fmla="*/ 169 h 2040"/>
              <a:gd name="T2" fmla="*/ 174 w 2430"/>
              <a:gd name="T3" fmla="*/ 173 h 2040"/>
              <a:gd name="T4" fmla="*/ 169 w 2430"/>
              <a:gd name="T5" fmla="*/ 171 h 2040"/>
              <a:gd name="T6" fmla="*/ 160 w 2430"/>
              <a:gd name="T7" fmla="*/ 163 h 2040"/>
              <a:gd name="T8" fmla="*/ 154 w 2430"/>
              <a:gd name="T9" fmla="*/ 149 h 2040"/>
              <a:gd name="T10" fmla="*/ 144 w 2430"/>
              <a:gd name="T11" fmla="*/ 147 h 2040"/>
              <a:gd name="T12" fmla="*/ 133 w 2430"/>
              <a:gd name="T13" fmla="*/ 146 h 2040"/>
              <a:gd name="T14" fmla="*/ 121 w 2430"/>
              <a:gd name="T15" fmla="*/ 145 h 2040"/>
              <a:gd name="T16" fmla="*/ 110 w 2430"/>
              <a:gd name="T17" fmla="*/ 137 h 2040"/>
              <a:gd name="T18" fmla="*/ 97 w 2430"/>
              <a:gd name="T19" fmla="*/ 131 h 2040"/>
              <a:gd name="T20" fmla="*/ 87 w 2430"/>
              <a:gd name="T21" fmla="*/ 125 h 2040"/>
              <a:gd name="T22" fmla="*/ 75 w 2430"/>
              <a:gd name="T23" fmla="*/ 122 h 2040"/>
              <a:gd name="T24" fmla="*/ 65 w 2430"/>
              <a:gd name="T25" fmla="*/ 122 h 2040"/>
              <a:gd name="T26" fmla="*/ 59 w 2430"/>
              <a:gd name="T27" fmla="*/ 115 h 2040"/>
              <a:gd name="T28" fmla="*/ 50 w 2430"/>
              <a:gd name="T29" fmla="*/ 107 h 2040"/>
              <a:gd name="T30" fmla="*/ 28 w 2430"/>
              <a:gd name="T31" fmla="*/ 84 h 2040"/>
              <a:gd name="T32" fmla="*/ 22 w 2430"/>
              <a:gd name="T33" fmla="*/ 82 h 2040"/>
              <a:gd name="T34" fmla="*/ 20 w 2430"/>
              <a:gd name="T35" fmla="*/ 79 h 2040"/>
              <a:gd name="T36" fmla="*/ 16 w 2430"/>
              <a:gd name="T37" fmla="*/ 76 h 2040"/>
              <a:gd name="T38" fmla="*/ 11 w 2430"/>
              <a:gd name="T39" fmla="*/ 74 h 2040"/>
              <a:gd name="T40" fmla="*/ 7 w 2430"/>
              <a:gd name="T41" fmla="*/ 69 h 2040"/>
              <a:gd name="T42" fmla="*/ 0 w 2430"/>
              <a:gd name="T43" fmla="*/ 60 h 2040"/>
              <a:gd name="T44" fmla="*/ 10 w 2430"/>
              <a:gd name="T45" fmla="*/ 53 h 2040"/>
              <a:gd name="T46" fmla="*/ 15 w 2430"/>
              <a:gd name="T47" fmla="*/ 40 h 2040"/>
              <a:gd name="T48" fmla="*/ 9 w 2430"/>
              <a:gd name="T49" fmla="*/ 29 h 2040"/>
              <a:gd name="T50" fmla="*/ 7 w 2430"/>
              <a:gd name="T51" fmla="*/ 16 h 2040"/>
              <a:gd name="T52" fmla="*/ 18 w 2430"/>
              <a:gd name="T53" fmla="*/ 21 h 2040"/>
              <a:gd name="T54" fmla="*/ 48 w 2430"/>
              <a:gd name="T55" fmla="*/ 27 h 2040"/>
              <a:gd name="T56" fmla="*/ 62 w 2430"/>
              <a:gd name="T57" fmla="*/ 25 h 2040"/>
              <a:gd name="T58" fmla="*/ 59 w 2430"/>
              <a:gd name="T59" fmla="*/ 42 h 2040"/>
              <a:gd name="T60" fmla="*/ 54 w 2430"/>
              <a:gd name="T61" fmla="*/ 65 h 2040"/>
              <a:gd name="T62" fmla="*/ 65 w 2430"/>
              <a:gd name="T63" fmla="*/ 60 h 2040"/>
              <a:gd name="T64" fmla="*/ 68 w 2430"/>
              <a:gd name="T65" fmla="*/ 40 h 2040"/>
              <a:gd name="T66" fmla="*/ 75 w 2430"/>
              <a:gd name="T67" fmla="*/ 36 h 2040"/>
              <a:gd name="T68" fmla="*/ 83 w 2430"/>
              <a:gd name="T69" fmla="*/ 29 h 2040"/>
              <a:gd name="T70" fmla="*/ 81 w 2430"/>
              <a:gd name="T71" fmla="*/ 17 h 2040"/>
              <a:gd name="T72" fmla="*/ 66 w 2430"/>
              <a:gd name="T73" fmla="*/ 7 h 2040"/>
              <a:gd name="T74" fmla="*/ 80 w 2430"/>
              <a:gd name="T75" fmla="*/ 5 h 2040"/>
              <a:gd name="T76" fmla="*/ 89 w 2430"/>
              <a:gd name="T77" fmla="*/ 1 h 2040"/>
              <a:gd name="T78" fmla="*/ 101 w 2430"/>
              <a:gd name="T79" fmla="*/ 10 h 2040"/>
              <a:gd name="T80" fmla="*/ 103 w 2430"/>
              <a:gd name="T81" fmla="*/ 18 h 2040"/>
              <a:gd name="T82" fmla="*/ 110 w 2430"/>
              <a:gd name="T83" fmla="*/ 23 h 2040"/>
              <a:gd name="T84" fmla="*/ 121 w 2430"/>
              <a:gd name="T85" fmla="*/ 20 h 2040"/>
              <a:gd name="T86" fmla="*/ 129 w 2430"/>
              <a:gd name="T87" fmla="*/ 15 h 2040"/>
              <a:gd name="T88" fmla="*/ 142 w 2430"/>
              <a:gd name="T89" fmla="*/ 23 h 2040"/>
              <a:gd name="T90" fmla="*/ 141 w 2430"/>
              <a:gd name="T91" fmla="*/ 30 h 2040"/>
              <a:gd name="T92" fmla="*/ 140 w 2430"/>
              <a:gd name="T93" fmla="*/ 38 h 2040"/>
              <a:gd name="T94" fmla="*/ 139 w 2430"/>
              <a:gd name="T95" fmla="*/ 46 h 2040"/>
              <a:gd name="T96" fmla="*/ 147 w 2430"/>
              <a:gd name="T97" fmla="*/ 54 h 2040"/>
              <a:gd name="T98" fmla="*/ 152 w 2430"/>
              <a:gd name="T99" fmla="*/ 50 h 2040"/>
              <a:gd name="T100" fmla="*/ 159 w 2430"/>
              <a:gd name="T101" fmla="*/ 43 h 2040"/>
              <a:gd name="T102" fmla="*/ 174 w 2430"/>
              <a:gd name="T103" fmla="*/ 41 h 2040"/>
              <a:gd name="T104" fmla="*/ 190 w 2430"/>
              <a:gd name="T105" fmla="*/ 57 h 2040"/>
              <a:gd name="T106" fmla="*/ 187 w 2430"/>
              <a:gd name="T107" fmla="*/ 66 h 2040"/>
              <a:gd name="T108" fmla="*/ 183 w 2430"/>
              <a:gd name="T109" fmla="*/ 72 h 2040"/>
              <a:gd name="T110" fmla="*/ 194 w 2430"/>
              <a:gd name="T111" fmla="*/ 73 h 2040"/>
              <a:gd name="T112" fmla="*/ 202 w 2430"/>
              <a:gd name="T113" fmla="*/ 74 h 2040"/>
              <a:gd name="T114" fmla="*/ 204 w 2430"/>
              <a:gd name="T115" fmla="*/ 89 h 2040"/>
              <a:gd name="T116" fmla="*/ 208 w 2430"/>
              <a:gd name="T117" fmla="*/ 99 h 2040"/>
              <a:gd name="T118" fmla="*/ 203 w 2430"/>
              <a:gd name="T119" fmla="*/ 103 h 2040"/>
              <a:gd name="T120" fmla="*/ 209 w 2430"/>
              <a:gd name="T121" fmla="*/ 111 h 2040"/>
              <a:gd name="T122" fmla="*/ 204 w 2430"/>
              <a:gd name="T123" fmla="*/ 124 h 2040"/>
              <a:gd name="T124" fmla="*/ 190 w 2430"/>
              <a:gd name="T125" fmla="*/ 117 h 2040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2430"/>
              <a:gd name="T190" fmla="*/ 0 h 2040"/>
              <a:gd name="T191" fmla="*/ 2430 w 2430"/>
              <a:gd name="T192" fmla="*/ 2040 h 2040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2430" h="2040">
                <a:moveTo>
                  <a:pt x="2076" y="1896"/>
                </a:moveTo>
                <a:lnTo>
                  <a:pt x="2070" y="1896"/>
                </a:lnTo>
                <a:lnTo>
                  <a:pt x="2070" y="1902"/>
                </a:lnTo>
                <a:lnTo>
                  <a:pt x="2076" y="1902"/>
                </a:lnTo>
                <a:lnTo>
                  <a:pt x="2082" y="1902"/>
                </a:lnTo>
                <a:lnTo>
                  <a:pt x="2082" y="1908"/>
                </a:lnTo>
                <a:lnTo>
                  <a:pt x="2076" y="1908"/>
                </a:lnTo>
                <a:lnTo>
                  <a:pt x="2076" y="1914"/>
                </a:lnTo>
                <a:lnTo>
                  <a:pt x="2070" y="1920"/>
                </a:lnTo>
                <a:lnTo>
                  <a:pt x="2064" y="1932"/>
                </a:lnTo>
                <a:lnTo>
                  <a:pt x="2064" y="1938"/>
                </a:lnTo>
                <a:lnTo>
                  <a:pt x="2058" y="1938"/>
                </a:lnTo>
                <a:lnTo>
                  <a:pt x="2052" y="1944"/>
                </a:lnTo>
                <a:lnTo>
                  <a:pt x="2052" y="1950"/>
                </a:lnTo>
                <a:lnTo>
                  <a:pt x="2040" y="1944"/>
                </a:lnTo>
                <a:lnTo>
                  <a:pt x="2040" y="1950"/>
                </a:lnTo>
                <a:lnTo>
                  <a:pt x="2034" y="1956"/>
                </a:lnTo>
                <a:lnTo>
                  <a:pt x="2034" y="1962"/>
                </a:lnTo>
                <a:lnTo>
                  <a:pt x="2028" y="1962"/>
                </a:lnTo>
                <a:lnTo>
                  <a:pt x="2022" y="1962"/>
                </a:lnTo>
                <a:lnTo>
                  <a:pt x="2022" y="1968"/>
                </a:lnTo>
                <a:lnTo>
                  <a:pt x="2028" y="1974"/>
                </a:lnTo>
                <a:lnTo>
                  <a:pt x="2034" y="1980"/>
                </a:lnTo>
                <a:lnTo>
                  <a:pt x="2028" y="1986"/>
                </a:lnTo>
                <a:lnTo>
                  <a:pt x="2022" y="1992"/>
                </a:lnTo>
                <a:lnTo>
                  <a:pt x="2022" y="1986"/>
                </a:lnTo>
                <a:lnTo>
                  <a:pt x="2016" y="1986"/>
                </a:lnTo>
                <a:lnTo>
                  <a:pt x="2010" y="1980"/>
                </a:lnTo>
                <a:lnTo>
                  <a:pt x="2004" y="1980"/>
                </a:lnTo>
                <a:lnTo>
                  <a:pt x="2004" y="1986"/>
                </a:lnTo>
                <a:lnTo>
                  <a:pt x="2010" y="1992"/>
                </a:lnTo>
                <a:lnTo>
                  <a:pt x="2010" y="1998"/>
                </a:lnTo>
                <a:lnTo>
                  <a:pt x="2004" y="2004"/>
                </a:lnTo>
                <a:lnTo>
                  <a:pt x="1998" y="2004"/>
                </a:lnTo>
                <a:lnTo>
                  <a:pt x="1998" y="2022"/>
                </a:lnTo>
                <a:lnTo>
                  <a:pt x="1998" y="2028"/>
                </a:lnTo>
                <a:lnTo>
                  <a:pt x="1992" y="2034"/>
                </a:lnTo>
                <a:lnTo>
                  <a:pt x="1992" y="2040"/>
                </a:lnTo>
                <a:lnTo>
                  <a:pt x="1986" y="2040"/>
                </a:lnTo>
                <a:lnTo>
                  <a:pt x="1986" y="2034"/>
                </a:lnTo>
                <a:lnTo>
                  <a:pt x="1980" y="2028"/>
                </a:lnTo>
                <a:lnTo>
                  <a:pt x="1980" y="2022"/>
                </a:lnTo>
                <a:lnTo>
                  <a:pt x="1968" y="2016"/>
                </a:lnTo>
                <a:lnTo>
                  <a:pt x="1962" y="2010"/>
                </a:lnTo>
                <a:lnTo>
                  <a:pt x="1956" y="2004"/>
                </a:lnTo>
                <a:lnTo>
                  <a:pt x="1950" y="1992"/>
                </a:lnTo>
                <a:lnTo>
                  <a:pt x="1950" y="1986"/>
                </a:lnTo>
                <a:lnTo>
                  <a:pt x="1950" y="1974"/>
                </a:lnTo>
                <a:lnTo>
                  <a:pt x="1944" y="1974"/>
                </a:lnTo>
                <a:lnTo>
                  <a:pt x="1932" y="1962"/>
                </a:lnTo>
                <a:lnTo>
                  <a:pt x="1932" y="1956"/>
                </a:lnTo>
                <a:lnTo>
                  <a:pt x="1932" y="1950"/>
                </a:lnTo>
                <a:lnTo>
                  <a:pt x="1920" y="1944"/>
                </a:lnTo>
                <a:lnTo>
                  <a:pt x="1914" y="1944"/>
                </a:lnTo>
                <a:lnTo>
                  <a:pt x="1908" y="1938"/>
                </a:lnTo>
                <a:lnTo>
                  <a:pt x="1902" y="1926"/>
                </a:lnTo>
                <a:lnTo>
                  <a:pt x="1890" y="1914"/>
                </a:lnTo>
                <a:lnTo>
                  <a:pt x="1884" y="1914"/>
                </a:lnTo>
                <a:lnTo>
                  <a:pt x="1878" y="1908"/>
                </a:lnTo>
                <a:lnTo>
                  <a:pt x="1872" y="1902"/>
                </a:lnTo>
                <a:lnTo>
                  <a:pt x="1872" y="1896"/>
                </a:lnTo>
                <a:lnTo>
                  <a:pt x="1866" y="1890"/>
                </a:lnTo>
                <a:lnTo>
                  <a:pt x="1854" y="1884"/>
                </a:lnTo>
                <a:lnTo>
                  <a:pt x="1848" y="1884"/>
                </a:lnTo>
                <a:lnTo>
                  <a:pt x="1842" y="1872"/>
                </a:lnTo>
                <a:lnTo>
                  <a:pt x="1836" y="1872"/>
                </a:lnTo>
                <a:lnTo>
                  <a:pt x="1830" y="1866"/>
                </a:lnTo>
                <a:lnTo>
                  <a:pt x="1830" y="1854"/>
                </a:lnTo>
                <a:lnTo>
                  <a:pt x="1824" y="1848"/>
                </a:lnTo>
                <a:lnTo>
                  <a:pt x="1818" y="1830"/>
                </a:lnTo>
                <a:lnTo>
                  <a:pt x="1818" y="1818"/>
                </a:lnTo>
                <a:lnTo>
                  <a:pt x="1812" y="1800"/>
                </a:lnTo>
                <a:lnTo>
                  <a:pt x="1812" y="1788"/>
                </a:lnTo>
                <a:lnTo>
                  <a:pt x="1806" y="1776"/>
                </a:lnTo>
                <a:lnTo>
                  <a:pt x="1800" y="1764"/>
                </a:lnTo>
                <a:lnTo>
                  <a:pt x="1794" y="1758"/>
                </a:lnTo>
                <a:lnTo>
                  <a:pt x="1782" y="1740"/>
                </a:lnTo>
                <a:lnTo>
                  <a:pt x="1776" y="1728"/>
                </a:lnTo>
                <a:lnTo>
                  <a:pt x="1776" y="1722"/>
                </a:lnTo>
                <a:lnTo>
                  <a:pt x="1770" y="1722"/>
                </a:lnTo>
                <a:lnTo>
                  <a:pt x="1770" y="1716"/>
                </a:lnTo>
                <a:lnTo>
                  <a:pt x="1764" y="1716"/>
                </a:lnTo>
                <a:lnTo>
                  <a:pt x="1758" y="1710"/>
                </a:lnTo>
                <a:lnTo>
                  <a:pt x="1752" y="1704"/>
                </a:lnTo>
                <a:lnTo>
                  <a:pt x="1746" y="1704"/>
                </a:lnTo>
                <a:lnTo>
                  <a:pt x="1740" y="1704"/>
                </a:lnTo>
                <a:lnTo>
                  <a:pt x="1734" y="1704"/>
                </a:lnTo>
                <a:lnTo>
                  <a:pt x="1734" y="1698"/>
                </a:lnTo>
                <a:lnTo>
                  <a:pt x="1728" y="1692"/>
                </a:lnTo>
                <a:lnTo>
                  <a:pt x="1722" y="1686"/>
                </a:lnTo>
                <a:lnTo>
                  <a:pt x="1716" y="1686"/>
                </a:lnTo>
                <a:lnTo>
                  <a:pt x="1698" y="1686"/>
                </a:lnTo>
                <a:lnTo>
                  <a:pt x="1692" y="1692"/>
                </a:lnTo>
                <a:lnTo>
                  <a:pt x="1680" y="1692"/>
                </a:lnTo>
                <a:lnTo>
                  <a:pt x="1668" y="1692"/>
                </a:lnTo>
                <a:lnTo>
                  <a:pt x="1662" y="1692"/>
                </a:lnTo>
                <a:lnTo>
                  <a:pt x="1656" y="1692"/>
                </a:lnTo>
                <a:lnTo>
                  <a:pt x="1650" y="1698"/>
                </a:lnTo>
                <a:lnTo>
                  <a:pt x="1644" y="1698"/>
                </a:lnTo>
                <a:lnTo>
                  <a:pt x="1638" y="1698"/>
                </a:lnTo>
                <a:lnTo>
                  <a:pt x="1632" y="1698"/>
                </a:lnTo>
                <a:lnTo>
                  <a:pt x="1632" y="1692"/>
                </a:lnTo>
                <a:lnTo>
                  <a:pt x="1620" y="1680"/>
                </a:lnTo>
                <a:lnTo>
                  <a:pt x="1614" y="1680"/>
                </a:lnTo>
                <a:lnTo>
                  <a:pt x="1608" y="1680"/>
                </a:lnTo>
                <a:lnTo>
                  <a:pt x="1602" y="1680"/>
                </a:lnTo>
                <a:lnTo>
                  <a:pt x="1596" y="1674"/>
                </a:lnTo>
                <a:lnTo>
                  <a:pt x="1584" y="1674"/>
                </a:lnTo>
                <a:lnTo>
                  <a:pt x="1572" y="1674"/>
                </a:lnTo>
                <a:lnTo>
                  <a:pt x="1560" y="1674"/>
                </a:lnTo>
                <a:lnTo>
                  <a:pt x="1542" y="1680"/>
                </a:lnTo>
                <a:lnTo>
                  <a:pt x="1530" y="1680"/>
                </a:lnTo>
                <a:lnTo>
                  <a:pt x="1530" y="1674"/>
                </a:lnTo>
                <a:lnTo>
                  <a:pt x="1524" y="1674"/>
                </a:lnTo>
                <a:lnTo>
                  <a:pt x="1518" y="1674"/>
                </a:lnTo>
                <a:lnTo>
                  <a:pt x="1512" y="1674"/>
                </a:lnTo>
                <a:lnTo>
                  <a:pt x="1506" y="1674"/>
                </a:lnTo>
                <a:lnTo>
                  <a:pt x="1500" y="1680"/>
                </a:lnTo>
                <a:lnTo>
                  <a:pt x="1488" y="1680"/>
                </a:lnTo>
                <a:lnTo>
                  <a:pt x="1482" y="1674"/>
                </a:lnTo>
                <a:lnTo>
                  <a:pt x="1476" y="1674"/>
                </a:lnTo>
                <a:lnTo>
                  <a:pt x="1464" y="1674"/>
                </a:lnTo>
                <a:lnTo>
                  <a:pt x="1452" y="1680"/>
                </a:lnTo>
                <a:lnTo>
                  <a:pt x="1434" y="1680"/>
                </a:lnTo>
                <a:lnTo>
                  <a:pt x="1422" y="1680"/>
                </a:lnTo>
                <a:lnTo>
                  <a:pt x="1416" y="1680"/>
                </a:lnTo>
                <a:lnTo>
                  <a:pt x="1404" y="1674"/>
                </a:lnTo>
                <a:lnTo>
                  <a:pt x="1398" y="1674"/>
                </a:lnTo>
                <a:lnTo>
                  <a:pt x="1392" y="1662"/>
                </a:lnTo>
                <a:lnTo>
                  <a:pt x="1380" y="1644"/>
                </a:lnTo>
                <a:lnTo>
                  <a:pt x="1374" y="1632"/>
                </a:lnTo>
                <a:lnTo>
                  <a:pt x="1362" y="1626"/>
                </a:lnTo>
                <a:lnTo>
                  <a:pt x="1356" y="1620"/>
                </a:lnTo>
                <a:lnTo>
                  <a:pt x="1350" y="1626"/>
                </a:lnTo>
                <a:lnTo>
                  <a:pt x="1338" y="1626"/>
                </a:lnTo>
                <a:lnTo>
                  <a:pt x="1326" y="1626"/>
                </a:lnTo>
                <a:lnTo>
                  <a:pt x="1314" y="1620"/>
                </a:lnTo>
                <a:lnTo>
                  <a:pt x="1308" y="1614"/>
                </a:lnTo>
                <a:lnTo>
                  <a:pt x="1302" y="1608"/>
                </a:lnTo>
                <a:lnTo>
                  <a:pt x="1296" y="1602"/>
                </a:lnTo>
                <a:lnTo>
                  <a:pt x="1290" y="1602"/>
                </a:lnTo>
                <a:lnTo>
                  <a:pt x="1290" y="1596"/>
                </a:lnTo>
                <a:lnTo>
                  <a:pt x="1284" y="1590"/>
                </a:lnTo>
                <a:lnTo>
                  <a:pt x="1272" y="1584"/>
                </a:lnTo>
                <a:lnTo>
                  <a:pt x="1254" y="1572"/>
                </a:lnTo>
                <a:lnTo>
                  <a:pt x="1236" y="1554"/>
                </a:lnTo>
                <a:lnTo>
                  <a:pt x="1230" y="1554"/>
                </a:lnTo>
                <a:lnTo>
                  <a:pt x="1224" y="1554"/>
                </a:lnTo>
                <a:lnTo>
                  <a:pt x="1212" y="1554"/>
                </a:lnTo>
                <a:lnTo>
                  <a:pt x="1194" y="1542"/>
                </a:lnTo>
                <a:lnTo>
                  <a:pt x="1188" y="1536"/>
                </a:lnTo>
                <a:lnTo>
                  <a:pt x="1182" y="1530"/>
                </a:lnTo>
                <a:lnTo>
                  <a:pt x="1176" y="1530"/>
                </a:lnTo>
                <a:lnTo>
                  <a:pt x="1170" y="1530"/>
                </a:lnTo>
                <a:lnTo>
                  <a:pt x="1158" y="1524"/>
                </a:lnTo>
                <a:lnTo>
                  <a:pt x="1152" y="1524"/>
                </a:lnTo>
                <a:lnTo>
                  <a:pt x="1140" y="1518"/>
                </a:lnTo>
                <a:lnTo>
                  <a:pt x="1128" y="1518"/>
                </a:lnTo>
                <a:lnTo>
                  <a:pt x="1122" y="1518"/>
                </a:lnTo>
                <a:lnTo>
                  <a:pt x="1116" y="1518"/>
                </a:lnTo>
                <a:lnTo>
                  <a:pt x="1104" y="1518"/>
                </a:lnTo>
                <a:lnTo>
                  <a:pt x="1092" y="1518"/>
                </a:lnTo>
                <a:lnTo>
                  <a:pt x="1080" y="1518"/>
                </a:lnTo>
                <a:lnTo>
                  <a:pt x="1068" y="1518"/>
                </a:lnTo>
                <a:lnTo>
                  <a:pt x="1062" y="1518"/>
                </a:lnTo>
                <a:lnTo>
                  <a:pt x="1056" y="1518"/>
                </a:lnTo>
                <a:lnTo>
                  <a:pt x="1050" y="1512"/>
                </a:lnTo>
                <a:lnTo>
                  <a:pt x="1044" y="1512"/>
                </a:lnTo>
                <a:lnTo>
                  <a:pt x="1038" y="1512"/>
                </a:lnTo>
                <a:lnTo>
                  <a:pt x="1032" y="1506"/>
                </a:lnTo>
                <a:lnTo>
                  <a:pt x="1026" y="1500"/>
                </a:lnTo>
                <a:lnTo>
                  <a:pt x="1026" y="1494"/>
                </a:lnTo>
                <a:lnTo>
                  <a:pt x="1020" y="1476"/>
                </a:lnTo>
                <a:lnTo>
                  <a:pt x="1008" y="1464"/>
                </a:lnTo>
                <a:lnTo>
                  <a:pt x="1008" y="1458"/>
                </a:lnTo>
                <a:lnTo>
                  <a:pt x="1002" y="1446"/>
                </a:lnTo>
                <a:lnTo>
                  <a:pt x="996" y="1446"/>
                </a:lnTo>
                <a:lnTo>
                  <a:pt x="990" y="1440"/>
                </a:lnTo>
                <a:lnTo>
                  <a:pt x="984" y="1434"/>
                </a:lnTo>
                <a:lnTo>
                  <a:pt x="978" y="1434"/>
                </a:lnTo>
                <a:lnTo>
                  <a:pt x="972" y="1434"/>
                </a:lnTo>
                <a:lnTo>
                  <a:pt x="966" y="1428"/>
                </a:lnTo>
                <a:lnTo>
                  <a:pt x="954" y="1422"/>
                </a:lnTo>
                <a:lnTo>
                  <a:pt x="942" y="1416"/>
                </a:lnTo>
                <a:lnTo>
                  <a:pt x="924" y="1398"/>
                </a:lnTo>
                <a:lnTo>
                  <a:pt x="912" y="1386"/>
                </a:lnTo>
                <a:lnTo>
                  <a:pt x="900" y="1386"/>
                </a:lnTo>
                <a:lnTo>
                  <a:pt x="894" y="1386"/>
                </a:lnTo>
                <a:lnTo>
                  <a:pt x="882" y="1392"/>
                </a:lnTo>
                <a:lnTo>
                  <a:pt x="876" y="1392"/>
                </a:lnTo>
                <a:lnTo>
                  <a:pt x="864" y="1398"/>
                </a:lnTo>
                <a:lnTo>
                  <a:pt x="864" y="1404"/>
                </a:lnTo>
                <a:lnTo>
                  <a:pt x="858" y="1410"/>
                </a:lnTo>
                <a:lnTo>
                  <a:pt x="852" y="1410"/>
                </a:lnTo>
                <a:lnTo>
                  <a:pt x="846" y="1410"/>
                </a:lnTo>
                <a:lnTo>
                  <a:pt x="834" y="1410"/>
                </a:lnTo>
                <a:lnTo>
                  <a:pt x="828" y="1410"/>
                </a:lnTo>
                <a:lnTo>
                  <a:pt x="822" y="1416"/>
                </a:lnTo>
                <a:lnTo>
                  <a:pt x="816" y="1422"/>
                </a:lnTo>
                <a:lnTo>
                  <a:pt x="810" y="1428"/>
                </a:lnTo>
                <a:lnTo>
                  <a:pt x="798" y="1428"/>
                </a:lnTo>
                <a:lnTo>
                  <a:pt x="792" y="1428"/>
                </a:lnTo>
                <a:lnTo>
                  <a:pt x="780" y="1434"/>
                </a:lnTo>
                <a:lnTo>
                  <a:pt x="774" y="1428"/>
                </a:lnTo>
                <a:lnTo>
                  <a:pt x="762" y="1428"/>
                </a:lnTo>
                <a:lnTo>
                  <a:pt x="756" y="1422"/>
                </a:lnTo>
                <a:lnTo>
                  <a:pt x="750" y="1416"/>
                </a:lnTo>
                <a:lnTo>
                  <a:pt x="744" y="1410"/>
                </a:lnTo>
                <a:lnTo>
                  <a:pt x="744" y="1398"/>
                </a:lnTo>
                <a:lnTo>
                  <a:pt x="744" y="1386"/>
                </a:lnTo>
                <a:lnTo>
                  <a:pt x="750" y="1380"/>
                </a:lnTo>
                <a:lnTo>
                  <a:pt x="750" y="1374"/>
                </a:lnTo>
                <a:lnTo>
                  <a:pt x="750" y="1368"/>
                </a:lnTo>
                <a:lnTo>
                  <a:pt x="756" y="1362"/>
                </a:lnTo>
                <a:lnTo>
                  <a:pt x="750" y="1350"/>
                </a:lnTo>
                <a:lnTo>
                  <a:pt x="744" y="1344"/>
                </a:lnTo>
                <a:lnTo>
                  <a:pt x="738" y="1338"/>
                </a:lnTo>
                <a:lnTo>
                  <a:pt x="726" y="1338"/>
                </a:lnTo>
                <a:lnTo>
                  <a:pt x="720" y="1338"/>
                </a:lnTo>
                <a:lnTo>
                  <a:pt x="714" y="1338"/>
                </a:lnTo>
                <a:lnTo>
                  <a:pt x="708" y="1332"/>
                </a:lnTo>
                <a:lnTo>
                  <a:pt x="702" y="1332"/>
                </a:lnTo>
                <a:lnTo>
                  <a:pt x="696" y="1326"/>
                </a:lnTo>
                <a:lnTo>
                  <a:pt x="684" y="1326"/>
                </a:lnTo>
                <a:lnTo>
                  <a:pt x="678" y="1326"/>
                </a:lnTo>
                <a:lnTo>
                  <a:pt x="672" y="1314"/>
                </a:lnTo>
                <a:lnTo>
                  <a:pt x="666" y="1308"/>
                </a:lnTo>
                <a:lnTo>
                  <a:pt x="654" y="1296"/>
                </a:lnTo>
                <a:lnTo>
                  <a:pt x="654" y="1290"/>
                </a:lnTo>
                <a:lnTo>
                  <a:pt x="630" y="1284"/>
                </a:lnTo>
                <a:lnTo>
                  <a:pt x="630" y="1278"/>
                </a:lnTo>
                <a:lnTo>
                  <a:pt x="624" y="1278"/>
                </a:lnTo>
                <a:lnTo>
                  <a:pt x="618" y="1266"/>
                </a:lnTo>
                <a:lnTo>
                  <a:pt x="612" y="1266"/>
                </a:lnTo>
                <a:lnTo>
                  <a:pt x="606" y="1266"/>
                </a:lnTo>
                <a:lnTo>
                  <a:pt x="606" y="1260"/>
                </a:lnTo>
                <a:lnTo>
                  <a:pt x="594" y="1248"/>
                </a:lnTo>
                <a:lnTo>
                  <a:pt x="582" y="1248"/>
                </a:lnTo>
                <a:lnTo>
                  <a:pt x="576" y="1242"/>
                </a:lnTo>
                <a:lnTo>
                  <a:pt x="570" y="1236"/>
                </a:lnTo>
                <a:lnTo>
                  <a:pt x="504" y="1164"/>
                </a:lnTo>
                <a:lnTo>
                  <a:pt x="450" y="1110"/>
                </a:lnTo>
                <a:lnTo>
                  <a:pt x="426" y="1092"/>
                </a:lnTo>
                <a:lnTo>
                  <a:pt x="426" y="1074"/>
                </a:lnTo>
                <a:lnTo>
                  <a:pt x="420" y="1062"/>
                </a:lnTo>
                <a:lnTo>
                  <a:pt x="396" y="1056"/>
                </a:lnTo>
                <a:lnTo>
                  <a:pt x="384" y="1032"/>
                </a:lnTo>
                <a:lnTo>
                  <a:pt x="372" y="1020"/>
                </a:lnTo>
                <a:lnTo>
                  <a:pt x="360" y="984"/>
                </a:lnTo>
                <a:lnTo>
                  <a:pt x="348" y="978"/>
                </a:lnTo>
                <a:lnTo>
                  <a:pt x="342" y="972"/>
                </a:lnTo>
                <a:lnTo>
                  <a:pt x="348" y="960"/>
                </a:lnTo>
                <a:lnTo>
                  <a:pt x="342" y="954"/>
                </a:lnTo>
                <a:lnTo>
                  <a:pt x="336" y="954"/>
                </a:lnTo>
                <a:lnTo>
                  <a:pt x="330" y="954"/>
                </a:lnTo>
                <a:lnTo>
                  <a:pt x="324" y="972"/>
                </a:lnTo>
                <a:lnTo>
                  <a:pt x="318" y="966"/>
                </a:lnTo>
                <a:lnTo>
                  <a:pt x="312" y="966"/>
                </a:lnTo>
                <a:lnTo>
                  <a:pt x="306" y="960"/>
                </a:lnTo>
                <a:lnTo>
                  <a:pt x="300" y="966"/>
                </a:lnTo>
                <a:lnTo>
                  <a:pt x="294" y="966"/>
                </a:lnTo>
                <a:lnTo>
                  <a:pt x="288" y="972"/>
                </a:lnTo>
                <a:lnTo>
                  <a:pt x="288" y="966"/>
                </a:lnTo>
                <a:lnTo>
                  <a:pt x="282" y="948"/>
                </a:lnTo>
                <a:lnTo>
                  <a:pt x="282" y="942"/>
                </a:lnTo>
                <a:lnTo>
                  <a:pt x="276" y="942"/>
                </a:lnTo>
                <a:lnTo>
                  <a:pt x="276" y="936"/>
                </a:lnTo>
                <a:lnTo>
                  <a:pt x="270" y="942"/>
                </a:lnTo>
                <a:lnTo>
                  <a:pt x="264" y="948"/>
                </a:lnTo>
                <a:lnTo>
                  <a:pt x="264" y="942"/>
                </a:lnTo>
                <a:lnTo>
                  <a:pt x="258" y="942"/>
                </a:lnTo>
                <a:lnTo>
                  <a:pt x="252" y="948"/>
                </a:lnTo>
                <a:lnTo>
                  <a:pt x="252" y="942"/>
                </a:lnTo>
                <a:lnTo>
                  <a:pt x="246" y="936"/>
                </a:lnTo>
                <a:lnTo>
                  <a:pt x="240" y="942"/>
                </a:lnTo>
                <a:lnTo>
                  <a:pt x="234" y="936"/>
                </a:lnTo>
                <a:lnTo>
                  <a:pt x="228" y="936"/>
                </a:lnTo>
                <a:lnTo>
                  <a:pt x="222" y="936"/>
                </a:lnTo>
                <a:lnTo>
                  <a:pt x="222" y="930"/>
                </a:lnTo>
                <a:lnTo>
                  <a:pt x="222" y="924"/>
                </a:lnTo>
                <a:lnTo>
                  <a:pt x="228" y="924"/>
                </a:lnTo>
                <a:lnTo>
                  <a:pt x="234" y="924"/>
                </a:lnTo>
                <a:lnTo>
                  <a:pt x="240" y="924"/>
                </a:lnTo>
                <a:lnTo>
                  <a:pt x="240" y="918"/>
                </a:lnTo>
                <a:lnTo>
                  <a:pt x="246" y="918"/>
                </a:lnTo>
                <a:lnTo>
                  <a:pt x="246" y="912"/>
                </a:lnTo>
                <a:lnTo>
                  <a:pt x="240" y="906"/>
                </a:lnTo>
                <a:lnTo>
                  <a:pt x="234" y="906"/>
                </a:lnTo>
                <a:lnTo>
                  <a:pt x="228" y="906"/>
                </a:lnTo>
                <a:lnTo>
                  <a:pt x="228" y="912"/>
                </a:lnTo>
                <a:lnTo>
                  <a:pt x="222" y="906"/>
                </a:lnTo>
                <a:lnTo>
                  <a:pt x="222" y="900"/>
                </a:lnTo>
                <a:lnTo>
                  <a:pt x="222" y="894"/>
                </a:lnTo>
                <a:lnTo>
                  <a:pt x="228" y="894"/>
                </a:lnTo>
                <a:lnTo>
                  <a:pt x="234" y="894"/>
                </a:lnTo>
                <a:lnTo>
                  <a:pt x="228" y="888"/>
                </a:lnTo>
                <a:lnTo>
                  <a:pt x="222" y="882"/>
                </a:lnTo>
                <a:lnTo>
                  <a:pt x="216" y="882"/>
                </a:lnTo>
                <a:lnTo>
                  <a:pt x="210" y="882"/>
                </a:lnTo>
                <a:lnTo>
                  <a:pt x="204" y="882"/>
                </a:lnTo>
                <a:lnTo>
                  <a:pt x="198" y="888"/>
                </a:lnTo>
                <a:lnTo>
                  <a:pt x="192" y="882"/>
                </a:lnTo>
                <a:lnTo>
                  <a:pt x="186" y="882"/>
                </a:lnTo>
                <a:lnTo>
                  <a:pt x="186" y="876"/>
                </a:lnTo>
                <a:lnTo>
                  <a:pt x="192" y="876"/>
                </a:lnTo>
                <a:lnTo>
                  <a:pt x="192" y="870"/>
                </a:lnTo>
                <a:lnTo>
                  <a:pt x="198" y="870"/>
                </a:lnTo>
                <a:lnTo>
                  <a:pt x="198" y="864"/>
                </a:lnTo>
                <a:lnTo>
                  <a:pt x="198" y="858"/>
                </a:lnTo>
                <a:lnTo>
                  <a:pt x="180" y="852"/>
                </a:lnTo>
                <a:lnTo>
                  <a:pt x="174" y="840"/>
                </a:lnTo>
                <a:lnTo>
                  <a:pt x="162" y="846"/>
                </a:lnTo>
                <a:lnTo>
                  <a:pt x="156" y="846"/>
                </a:lnTo>
                <a:lnTo>
                  <a:pt x="150" y="846"/>
                </a:lnTo>
                <a:lnTo>
                  <a:pt x="150" y="840"/>
                </a:lnTo>
                <a:lnTo>
                  <a:pt x="138" y="834"/>
                </a:lnTo>
                <a:lnTo>
                  <a:pt x="132" y="834"/>
                </a:lnTo>
                <a:lnTo>
                  <a:pt x="132" y="840"/>
                </a:lnTo>
                <a:lnTo>
                  <a:pt x="126" y="840"/>
                </a:lnTo>
                <a:lnTo>
                  <a:pt x="126" y="852"/>
                </a:lnTo>
                <a:lnTo>
                  <a:pt x="126" y="858"/>
                </a:lnTo>
                <a:lnTo>
                  <a:pt x="120" y="858"/>
                </a:lnTo>
                <a:lnTo>
                  <a:pt x="120" y="846"/>
                </a:lnTo>
                <a:lnTo>
                  <a:pt x="114" y="846"/>
                </a:lnTo>
                <a:lnTo>
                  <a:pt x="108" y="840"/>
                </a:lnTo>
                <a:lnTo>
                  <a:pt x="102" y="834"/>
                </a:lnTo>
                <a:lnTo>
                  <a:pt x="102" y="822"/>
                </a:lnTo>
                <a:lnTo>
                  <a:pt x="96" y="822"/>
                </a:lnTo>
                <a:lnTo>
                  <a:pt x="90" y="828"/>
                </a:lnTo>
                <a:lnTo>
                  <a:pt x="84" y="822"/>
                </a:lnTo>
                <a:lnTo>
                  <a:pt x="84" y="816"/>
                </a:lnTo>
                <a:lnTo>
                  <a:pt x="84" y="810"/>
                </a:lnTo>
                <a:lnTo>
                  <a:pt x="84" y="804"/>
                </a:lnTo>
                <a:lnTo>
                  <a:pt x="78" y="804"/>
                </a:lnTo>
                <a:lnTo>
                  <a:pt x="78" y="798"/>
                </a:lnTo>
                <a:lnTo>
                  <a:pt x="78" y="792"/>
                </a:lnTo>
                <a:lnTo>
                  <a:pt x="78" y="786"/>
                </a:lnTo>
                <a:lnTo>
                  <a:pt x="78" y="780"/>
                </a:lnTo>
                <a:lnTo>
                  <a:pt x="72" y="774"/>
                </a:lnTo>
                <a:lnTo>
                  <a:pt x="66" y="774"/>
                </a:lnTo>
                <a:lnTo>
                  <a:pt x="60" y="774"/>
                </a:lnTo>
                <a:lnTo>
                  <a:pt x="60" y="768"/>
                </a:lnTo>
                <a:lnTo>
                  <a:pt x="60" y="762"/>
                </a:lnTo>
                <a:lnTo>
                  <a:pt x="54" y="756"/>
                </a:lnTo>
                <a:lnTo>
                  <a:pt x="42" y="756"/>
                </a:lnTo>
                <a:lnTo>
                  <a:pt x="36" y="756"/>
                </a:lnTo>
                <a:lnTo>
                  <a:pt x="24" y="738"/>
                </a:lnTo>
                <a:lnTo>
                  <a:pt x="18" y="732"/>
                </a:lnTo>
                <a:lnTo>
                  <a:pt x="6" y="720"/>
                </a:lnTo>
                <a:lnTo>
                  <a:pt x="6" y="714"/>
                </a:lnTo>
                <a:lnTo>
                  <a:pt x="0" y="702"/>
                </a:lnTo>
                <a:lnTo>
                  <a:pt x="0" y="696"/>
                </a:lnTo>
                <a:lnTo>
                  <a:pt x="12" y="666"/>
                </a:lnTo>
                <a:lnTo>
                  <a:pt x="18" y="648"/>
                </a:lnTo>
                <a:lnTo>
                  <a:pt x="24" y="636"/>
                </a:lnTo>
                <a:lnTo>
                  <a:pt x="30" y="630"/>
                </a:lnTo>
                <a:lnTo>
                  <a:pt x="30" y="624"/>
                </a:lnTo>
                <a:lnTo>
                  <a:pt x="30" y="612"/>
                </a:lnTo>
                <a:lnTo>
                  <a:pt x="30" y="606"/>
                </a:lnTo>
                <a:lnTo>
                  <a:pt x="30" y="600"/>
                </a:lnTo>
                <a:lnTo>
                  <a:pt x="36" y="594"/>
                </a:lnTo>
                <a:lnTo>
                  <a:pt x="48" y="594"/>
                </a:lnTo>
                <a:lnTo>
                  <a:pt x="66" y="582"/>
                </a:lnTo>
                <a:lnTo>
                  <a:pt x="72" y="588"/>
                </a:lnTo>
                <a:lnTo>
                  <a:pt x="84" y="594"/>
                </a:lnTo>
                <a:lnTo>
                  <a:pt x="90" y="600"/>
                </a:lnTo>
                <a:lnTo>
                  <a:pt x="102" y="606"/>
                </a:lnTo>
                <a:lnTo>
                  <a:pt x="114" y="606"/>
                </a:lnTo>
                <a:lnTo>
                  <a:pt x="114" y="612"/>
                </a:lnTo>
                <a:lnTo>
                  <a:pt x="120" y="612"/>
                </a:lnTo>
                <a:lnTo>
                  <a:pt x="126" y="618"/>
                </a:lnTo>
                <a:lnTo>
                  <a:pt x="138" y="594"/>
                </a:lnTo>
                <a:lnTo>
                  <a:pt x="138" y="582"/>
                </a:lnTo>
                <a:lnTo>
                  <a:pt x="138" y="570"/>
                </a:lnTo>
                <a:lnTo>
                  <a:pt x="138" y="564"/>
                </a:lnTo>
                <a:lnTo>
                  <a:pt x="138" y="552"/>
                </a:lnTo>
                <a:lnTo>
                  <a:pt x="144" y="540"/>
                </a:lnTo>
                <a:lnTo>
                  <a:pt x="150" y="528"/>
                </a:lnTo>
                <a:lnTo>
                  <a:pt x="156" y="510"/>
                </a:lnTo>
                <a:lnTo>
                  <a:pt x="168" y="498"/>
                </a:lnTo>
                <a:lnTo>
                  <a:pt x="168" y="492"/>
                </a:lnTo>
                <a:lnTo>
                  <a:pt x="168" y="486"/>
                </a:lnTo>
                <a:lnTo>
                  <a:pt x="168" y="480"/>
                </a:lnTo>
                <a:lnTo>
                  <a:pt x="168" y="462"/>
                </a:lnTo>
                <a:lnTo>
                  <a:pt x="168" y="450"/>
                </a:lnTo>
                <a:lnTo>
                  <a:pt x="168" y="444"/>
                </a:lnTo>
                <a:lnTo>
                  <a:pt x="162" y="432"/>
                </a:lnTo>
                <a:lnTo>
                  <a:pt x="162" y="426"/>
                </a:lnTo>
                <a:lnTo>
                  <a:pt x="156" y="420"/>
                </a:lnTo>
                <a:lnTo>
                  <a:pt x="144" y="414"/>
                </a:lnTo>
                <a:lnTo>
                  <a:pt x="132" y="402"/>
                </a:lnTo>
                <a:lnTo>
                  <a:pt x="126" y="390"/>
                </a:lnTo>
                <a:lnTo>
                  <a:pt x="120" y="384"/>
                </a:lnTo>
                <a:lnTo>
                  <a:pt x="120" y="372"/>
                </a:lnTo>
                <a:lnTo>
                  <a:pt x="114" y="360"/>
                </a:lnTo>
                <a:lnTo>
                  <a:pt x="108" y="360"/>
                </a:lnTo>
                <a:lnTo>
                  <a:pt x="108" y="354"/>
                </a:lnTo>
                <a:lnTo>
                  <a:pt x="102" y="348"/>
                </a:lnTo>
                <a:lnTo>
                  <a:pt x="102" y="342"/>
                </a:lnTo>
                <a:lnTo>
                  <a:pt x="108" y="330"/>
                </a:lnTo>
                <a:lnTo>
                  <a:pt x="114" y="312"/>
                </a:lnTo>
                <a:lnTo>
                  <a:pt x="114" y="300"/>
                </a:lnTo>
                <a:lnTo>
                  <a:pt x="120" y="288"/>
                </a:lnTo>
                <a:lnTo>
                  <a:pt x="120" y="282"/>
                </a:lnTo>
                <a:lnTo>
                  <a:pt x="114" y="270"/>
                </a:lnTo>
                <a:lnTo>
                  <a:pt x="114" y="258"/>
                </a:lnTo>
                <a:lnTo>
                  <a:pt x="108" y="234"/>
                </a:lnTo>
                <a:lnTo>
                  <a:pt x="108" y="228"/>
                </a:lnTo>
                <a:lnTo>
                  <a:pt x="96" y="222"/>
                </a:lnTo>
                <a:lnTo>
                  <a:pt x="90" y="222"/>
                </a:lnTo>
                <a:lnTo>
                  <a:pt x="84" y="222"/>
                </a:lnTo>
                <a:lnTo>
                  <a:pt x="84" y="216"/>
                </a:lnTo>
                <a:lnTo>
                  <a:pt x="84" y="210"/>
                </a:lnTo>
                <a:lnTo>
                  <a:pt x="90" y="198"/>
                </a:lnTo>
                <a:lnTo>
                  <a:pt x="90" y="192"/>
                </a:lnTo>
                <a:lnTo>
                  <a:pt x="84" y="186"/>
                </a:lnTo>
                <a:lnTo>
                  <a:pt x="84" y="180"/>
                </a:lnTo>
                <a:lnTo>
                  <a:pt x="108" y="174"/>
                </a:lnTo>
                <a:lnTo>
                  <a:pt x="132" y="186"/>
                </a:lnTo>
                <a:lnTo>
                  <a:pt x="138" y="192"/>
                </a:lnTo>
                <a:lnTo>
                  <a:pt x="144" y="198"/>
                </a:lnTo>
                <a:lnTo>
                  <a:pt x="144" y="204"/>
                </a:lnTo>
                <a:lnTo>
                  <a:pt x="150" y="204"/>
                </a:lnTo>
                <a:lnTo>
                  <a:pt x="156" y="204"/>
                </a:lnTo>
                <a:lnTo>
                  <a:pt x="162" y="198"/>
                </a:lnTo>
                <a:lnTo>
                  <a:pt x="168" y="198"/>
                </a:lnTo>
                <a:lnTo>
                  <a:pt x="174" y="204"/>
                </a:lnTo>
                <a:lnTo>
                  <a:pt x="180" y="216"/>
                </a:lnTo>
                <a:lnTo>
                  <a:pt x="186" y="228"/>
                </a:lnTo>
                <a:lnTo>
                  <a:pt x="192" y="234"/>
                </a:lnTo>
                <a:lnTo>
                  <a:pt x="198" y="234"/>
                </a:lnTo>
                <a:lnTo>
                  <a:pt x="204" y="240"/>
                </a:lnTo>
                <a:lnTo>
                  <a:pt x="210" y="240"/>
                </a:lnTo>
                <a:lnTo>
                  <a:pt x="216" y="240"/>
                </a:lnTo>
                <a:lnTo>
                  <a:pt x="222" y="240"/>
                </a:lnTo>
                <a:lnTo>
                  <a:pt x="228" y="246"/>
                </a:lnTo>
                <a:lnTo>
                  <a:pt x="234" y="246"/>
                </a:lnTo>
                <a:lnTo>
                  <a:pt x="240" y="246"/>
                </a:lnTo>
                <a:lnTo>
                  <a:pt x="252" y="252"/>
                </a:lnTo>
                <a:lnTo>
                  <a:pt x="330" y="246"/>
                </a:lnTo>
                <a:lnTo>
                  <a:pt x="360" y="228"/>
                </a:lnTo>
                <a:lnTo>
                  <a:pt x="396" y="228"/>
                </a:lnTo>
                <a:lnTo>
                  <a:pt x="402" y="240"/>
                </a:lnTo>
                <a:lnTo>
                  <a:pt x="432" y="240"/>
                </a:lnTo>
                <a:lnTo>
                  <a:pt x="450" y="258"/>
                </a:lnTo>
                <a:lnTo>
                  <a:pt x="468" y="258"/>
                </a:lnTo>
                <a:lnTo>
                  <a:pt x="474" y="294"/>
                </a:lnTo>
                <a:lnTo>
                  <a:pt x="558" y="318"/>
                </a:lnTo>
                <a:lnTo>
                  <a:pt x="588" y="318"/>
                </a:lnTo>
                <a:lnTo>
                  <a:pt x="588" y="312"/>
                </a:lnTo>
                <a:lnTo>
                  <a:pt x="594" y="306"/>
                </a:lnTo>
                <a:lnTo>
                  <a:pt x="600" y="306"/>
                </a:lnTo>
                <a:lnTo>
                  <a:pt x="612" y="300"/>
                </a:lnTo>
                <a:lnTo>
                  <a:pt x="618" y="300"/>
                </a:lnTo>
                <a:lnTo>
                  <a:pt x="630" y="300"/>
                </a:lnTo>
                <a:lnTo>
                  <a:pt x="642" y="306"/>
                </a:lnTo>
                <a:lnTo>
                  <a:pt x="660" y="306"/>
                </a:lnTo>
                <a:lnTo>
                  <a:pt x="666" y="306"/>
                </a:lnTo>
                <a:lnTo>
                  <a:pt x="672" y="306"/>
                </a:lnTo>
                <a:lnTo>
                  <a:pt x="684" y="300"/>
                </a:lnTo>
                <a:lnTo>
                  <a:pt x="696" y="294"/>
                </a:lnTo>
                <a:lnTo>
                  <a:pt x="702" y="288"/>
                </a:lnTo>
                <a:lnTo>
                  <a:pt x="714" y="282"/>
                </a:lnTo>
                <a:lnTo>
                  <a:pt x="714" y="288"/>
                </a:lnTo>
                <a:lnTo>
                  <a:pt x="726" y="300"/>
                </a:lnTo>
                <a:lnTo>
                  <a:pt x="732" y="306"/>
                </a:lnTo>
                <a:lnTo>
                  <a:pt x="732" y="318"/>
                </a:lnTo>
                <a:lnTo>
                  <a:pt x="732" y="330"/>
                </a:lnTo>
                <a:lnTo>
                  <a:pt x="726" y="342"/>
                </a:lnTo>
                <a:lnTo>
                  <a:pt x="720" y="354"/>
                </a:lnTo>
                <a:lnTo>
                  <a:pt x="720" y="360"/>
                </a:lnTo>
                <a:lnTo>
                  <a:pt x="714" y="372"/>
                </a:lnTo>
                <a:lnTo>
                  <a:pt x="714" y="378"/>
                </a:lnTo>
                <a:lnTo>
                  <a:pt x="714" y="408"/>
                </a:lnTo>
                <a:lnTo>
                  <a:pt x="708" y="420"/>
                </a:lnTo>
                <a:lnTo>
                  <a:pt x="714" y="432"/>
                </a:lnTo>
                <a:lnTo>
                  <a:pt x="708" y="450"/>
                </a:lnTo>
                <a:lnTo>
                  <a:pt x="708" y="468"/>
                </a:lnTo>
                <a:lnTo>
                  <a:pt x="696" y="480"/>
                </a:lnTo>
                <a:lnTo>
                  <a:pt x="684" y="486"/>
                </a:lnTo>
                <a:lnTo>
                  <a:pt x="672" y="492"/>
                </a:lnTo>
                <a:lnTo>
                  <a:pt x="660" y="498"/>
                </a:lnTo>
                <a:lnTo>
                  <a:pt x="654" y="510"/>
                </a:lnTo>
                <a:lnTo>
                  <a:pt x="648" y="516"/>
                </a:lnTo>
                <a:lnTo>
                  <a:pt x="642" y="522"/>
                </a:lnTo>
                <a:lnTo>
                  <a:pt x="630" y="522"/>
                </a:lnTo>
                <a:lnTo>
                  <a:pt x="624" y="528"/>
                </a:lnTo>
                <a:lnTo>
                  <a:pt x="618" y="540"/>
                </a:lnTo>
                <a:lnTo>
                  <a:pt x="618" y="558"/>
                </a:lnTo>
                <a:lnTo>
                  <a:pt x="612" y="576"/>
                </a:lnTo>
                <a:lnTo>
                  <a:pt x="612" y="684"/>
                </a:lnTo>
                <a:lnTo>
                  <a:pt x="618" y="696"/>
                </a:lnTo>
                <a:lnTo>
                  <a:pt x="636" y="696"/>
                </a:lnTo>
                <a:lnTo>
                  <a:pt x="636" y="720"/>
                </a:lnTo>
                <a:lnTo>
                  <a:pt x="636" y="732"/>
                </a:lnTo>
                <a:lnTo>
                  <a:pt x="618" y="750"/>
                </a:lnTo>
                <a:lnTo>
                  <a:pt x="606" y="762"/>
                </a:lnTo>
                <a:lnTo>
                  <a:pt x="600" y="774"/>
                </a:lnTo>
                <a:lnTo>
                  <a:pt x="594" y="798"/>
                </a:lnTo>
                <a:lnTo>
                  <a:pt x="606" y="798"/>
                </a:lnTo>
                <a:lnTo>
                  <a:pt x="660" y="792"/>
                </a:lnTo>
                <a:lnTo>
                  <a:pt x="696" y="798"/>
                </a:lnTo>
                <a:lnTo>
                  <a:pt x="720" y="798"/>
                </a:lnTo>
                <a:lnTo>
                  <a:pt x="720" y="786"/>
                </a:lnTo>
                <a:lnTo>
                  <a:pt x="720" y="774"/>
                </a:lnTo>
                <a:lnTo>
                  <a:pt x="702" y="762"/>
                </a:lnTo>
                <a:lnTo>
                  <a:pt x="702" y="750"/>
                </a:lnTo>
                <a:lnTo>
                  <a:pt x="702" y="726"/>
                </a:lnTo>
                <a:lnTo>
                  <a:pt x="714" y="714"/>
                </a:lnTo>
                <a:lnTo>
                  <a:pt x="720" y="702"/>
                </a:lnTo>
                <a:lnTo>
                  <a:pt x="720" y="696"/>
                </a:lnTo>
                <a:lnTo>
                  <a:pt x="744" y="690"/>
                </a:lnTo>
                <a:lnTo>
                  <a:pt x="744" y="696"/>
                </a:lnTo>
                <a:lnTo>
                  <a:pt x="756" y="696"/>
                </a:lnTo>
                <a:lnTo>
                  <a:pt x="762" y="690"/>
                </a:lnTo>
                <a:lnTo>
                  <a:pt x="768" y="690"/>
                </a:lnTo>
                <a:lnTo>
                  <a:pt x="774" y="696"/>
                </a:lnTo>
                <a:lnTo>
                  <a:pt x="780" y="696"/>
                </a:lnTo>
                <a:lnTo>
                  <a:pt x="786" y="696"/>
                </a:lnTo>
                <a:lnTo>
                  <a:pt x="804" y="684"/>
                </a:lnTo>
                <a:lnTo>
                  <a:pt x="810" y="684"/>
                </a:lnTo>
                <a:lnTo>
                  <a:pt x="810" y="654"/>
                </a:lnTo>
                <a:lnTo>
                  <a:pt x="816" y="588"/>
                </a:lnTo>
                <a:lnTo>
                  <a:pt x="804" y="582"/>
                </a:lnTo>
                <a:lnTo>
                  <a:pt x="798" y="552"/>
                </a:lnTo>
                <a:lnTo>
                  <a:pt x="798" y="480"/>
                </a:lnTo>
                <a:lnTo>
                  <a:pt x="780" y="468"/>
                </a:lnTo>
                <a:lnTo>
                  <a:pt x="780" y="462"/>
                </a:lnTo>
                <a:lnTo>
                  <a:pt x="774" y="450"/>
                </a:lnTo>
                <a:lnTo>
                  <a:pt x="762" y="444"/>
                </a:lnTo>
                <a:lnTo>
                  <a:pt x="762" y="438"/>
                </a:lnTo>
                <a:lnTo>
                  <a:pt x="768" y="432"/>
                </a:lnTo>
                <a:lnTo>
                  <a:pt x="774" y="426"/>
                </a:lnTo>
                <a:lnTo>
                  <a:pt x="780" y="426"/>
                </a:lnTo>
                <a:lnTo>
                  <a:pt x="780" y="414"/>
                </a:lnTo>
                <a:lnTo>
                  <a:pt x="834" y="414"/>
                </a:lnTo>
                <a:lnTo>
                  <a:pt x="834" y="426"/>
                </a:lnTo>
                <a:lnTo>
                  <a:pt x="840" y="432"/>
                </a:lnTo>
                <a:lnTo>
                  <a:pt x="846" y="432"/>
                </a:lnTo>
                <a:lnTo>
                  <a:pt x="852" y="432"/>
                </a:lnTo>
                <a:lnTo>
                  <a:pt x="858" y="432"/>
                </a:lnTo>
                <a:lnTo>
                  <a:pt x="870" y="432"/>
                </a:lnTo>
                <a:lnTo>
                  <a:pt x="870" y="426"/>
                </a:lnTo>
                <a:lnTo>
                  <a:pt x="870" y="420"/>
                </a:lnTo>
                <a:lnTo>
                  <a:pt x="876" y="420"/>
                </a:lnTo>
                <a:lnTo>
                  <a:pt x="882" y="420"/>
                </a:lnTo>
                <a:lnTo>
                  <a:pt x="894" y="414"/>
                </a:lnTo>
                <a:lnTo>
                  <a:pt x="900" y="414"/>
                </a:lnTo>
                <a:lnTo>
                  <a:pt x="906" y="408"/>
                </a:lnTo>
                <a:lnTo>
                  <a:pt x="918" y="408"/>
                </a:lnTo>
                <a:lnTo>
                  <a:pt x="924" y="402"/>
                </a:lnTo>
                <a:lnTo>
                  <a:pt x="930" y="384"/>
                </a:lnTo>
                <a:lnTo>
                  <a:pt x="948" y="396"/>
                </a:lnTo>
                <a:lnTo>
                  <a:pt x="954" y="384"/>
                </a:lnTo>
                <a:lnTo>
                  <a:pt x="960" y="384"/>
                </a:lnTo>
                <a:lnTo>
                  <a:pt x="972" y="384"/>
                </a:lnTo>
                <a:lnTo>
                  <a:pt x="978" y="378"/>
                </a:lnTo>
                <a:lnTo>
                  <a:pt x="972" y="366"/>
                </a:lnTo>
                <a:lnTo>
                  <a:pt x="966" y="342"/>
                </a:lnTo>
                <a:lnTo>
                  <a:pt x="960" y="330"/>
                </a:lnTo>
                <a:lnTo>
                  <a:pt x="942" y="324"/>
                </a:lnTo>
                <a:lnTo>
                  <a:pt x="936" y="318"/>
                </a:lnTo>
                <a:lnTo>
                  <a:pt x="936" y="294"/>
                </a:lnTo>
                <a:lnTo>
                  <a:pt x="942" y="294"/>
                </a:lnTo>
                <a:lnTo>
                  <a:pt x="942" y="288"/>
                </a:lnTo>
                <a:lnTo>
                  <a:pt x="954" y="288"/>
                </a:lnTo>
                <a:lnTo>
                  <a:pt x="954" y="282"/>
                </a:lnTo>
                <a:lnTo>
                  <a:pt x="954" y="276"/>
                </a:lnTo>
                <a:lnTo>
                  <a:pt x="960" y="276"/>
                </a:lnTo>
                <a:lnTo>
                  <a:pt x="966" y="276"/>
                </a:lnTo>
                <a:lnTo>
                  <a:pt x="960" y="258"/>
                </a:lnTo>
                <a:lnTo>
                  <a:pt x="954" y="240"/>
                </a:lnTo>
                <a:lnTo>
                  <a:pt x="948" y="204"/>
                </a:lnTo>
                <a:lnTo>
                  <a:pt x="954" y="204"/>
                </a:lnTo>
                <a:lnTo>
                  <a:pt x="960" y="198"/>
                </a:lnTo>
                <a:lnTo>
                  <a:pt x="930" y="192"/>
                </a:lnTo>
                <a:lnTo>
                  <a:pt x="930" y="186"/>
                </a:lnTo>
                <a:lnTo>
                  <a:pt x="900" y="186"/>
                </a:lnTo>
                <a:lnTo>
                  <a:pt x="876" y="180"/>
                </a:lnTo>
                <a:lnTo>
                  <a:pt x="858" y="180"/>
                </a:lnTo>
                <a:lnTo>
                  <a:pt x="852" y="168"/>
                </a:lnTo>
                <a:lnTo>
                  <a:pt x="834" y="156"/>
                </a:lnTo>
                <a:lnTo>
                  <a:pt x="822" y="156"/>
                </a:lnTo>
                <a:lnTo>
                  <a:pt x="804" y="156"/>
                </a:lnTo>
                <a:lnTo>
                  <a:pt x="804" y="150"/>
                </a:lnTo>
                <a:lnTo>
                  <a:pt x="792" y="144"/>
                </a:lnTo>
                <a:lnTo>
                  <a:pt x="762" y="138"/>
                </a:lnTo>
                <a:lnTo>
                  <a:pt x="768" y="120"/>
                </a:lnTo>
                <a:lnTo>
                  <a:pt x="756" y="120"/>
                </a:lnTo>
                <a:lnTo>
                  <a:pt x="744" y="108"/>
                </a:lnTo>
                <a:lnTo>
                  <a:pt x="744" y="96"/>
                </a:lnTo>
                <a:lnTo>
                  <a:pt x="762" y="84"/>
                </a:lnTo>
                <a:lnTo>
                  <a:pt x="768" y="84"/>
                </a:lnTo>
                <a:lnTo>
                  <a:pt x="768" y="72"/>
                </a:lnTo>
                <a:lnTo>
                  <a:pt x="780" y="66"/>
                </a:lnTo>
                <a:lnTo>
                  <a:pt x="798" y="54"/>
                </a:lnTo>
                <a:lnTo>
                  <a:pt x="792" y="54"/>
                </a:lnTo>
                <a:lnTo>
                  <a:pt x="798" y="36"/>
                </a:lnTo>
                <a:lnTo>
                  <a:pt x="804" y="36"/>
                </a:lnTo>
                <a:lnTo>
                  <a:pt x="816" y="30"/>
                </a:lnTo>
                <a:lnTo>
                  <a:pt x="828" y="30"/>
                </a:lnTo>
                <a:lnTo>
                  <a:pt x="846" y="12"/>
                </a:lnTo>
                <a:lnTo>
                  <a:pt x="876" y="0"/>
                </a:lnTo>
                <a:lnTo>
                  <a:pt x="882" y="6"/>
                </a:lnTo>
                <a:lnTo>
                  <a:pt x="900" y="6"/>
                </a:lnTo>
                <a:lnTo>
                  <a:pt x="912" y="36"/>
                </a:lnTo>
                <a:lnTo>
                  <a:pt x="918" y="42"/>
                </a:lnTo>
                <a:lnTo>
                  <a:pt x="924" y="54"/>
                </a:lnTo>
                <a:lnTo>
                  <a:pt x="930" y="54"/>
                </a:lnTo>
                <a:lnTo>
                  <a:pt x="930" y="78"/>
                </a:lnTo>
                <a:lnTo>
                  <a:pt x="954" y="72"/>
                </a:lnTo>
                <a:lnTo>
                  <a:pt x="954" y="60"/>
                </a:lnTo>
                <a:lnTo>
                  <a:pt x="966" y="66"/>
                </a:lnTo>
                <a:lnTo>
                  <a:pt x="966" y="78"/>
                </a:lnTo>
                <a:lnTo>
                  <a:pt x="960" y="84"/>
                </a:lnTo>
                <a:lnTo>
                  <a:pt x="954" y="102"/>
                </a:lnTo>
                <a:lnTo>
                  <a:pt x="972" y="102"/>
                </a:lnTo>
                <a:lnTo>
                  <a:pt x="978" y="84"/>
                </a:lnTo>
                <a:lnTo>
                  <a:pt x="984" y="72"/>
                </a:lnTo>
                <a:lnTo>
                  <a:pt x="990" y="72"/>
                </a:lnTo>
                <a:lnTo>
                  <a:pt x="996" y="18"/>
                </a:lnTo>
                <a:lnTo>
                  <a:pt x="990" y="12"/>
                </a:lnTo>
                <a:lnTo>
                  <a:pt x="1014" y="12"/>
                </a:lnTo>
                <a:lnTo>
                  <a:pt x="1026" y="12"/>
                </a:lnTo>
                <a:lnTo>
                  <a:pt x="1026" y="24"/>
                </a:lnTo>
                <a:lnTo>
                  <a:pt x="1050" y="24"/>
                </a:lnTo>
                <a:lnTo>
                  <a:pt x="1050" y="36"/>
                </a:lnTo>
                <a:lnTo>
                  <a:pt x="1062" y="66"/>
                </a:lnTo>
                <a:lnTo>
                  <a:pt x="1074" y="66"/>
                </a:lnTo>
                <a:lnTo>
                  <a:pt x="1080" y="60"/>
                </a:lnTo>
                <a:lnTo>
                  <a:pt x="1074" y="24"/>
                </a:lnTo>
                <a:lnTo>
                  <a:pt x="1086" y="18"/>
                </a:lnTo>
                <a:lnTo>
                  <a:pt x="1086" y="12"/>
                </a:lnTo>
                <a:lnTo>
                  <a:pt x="1104" y="6"/>
                </a:lnTo>
                <a:lnTo>
                  <a:pt x="1122" y="0"/>
                </a:lnTo>
                <a:lnTo>
                  <a:pt x="1134" y="6"/>
                </a:lnTo>
                <a:lnTo>
                  <a:pt x="1134" y="42"/>
                </a:lnTo>
                <a:lnTo>
                  <a:pt x="1140" y="72"/>
                </a:lnTo>
                <a:lnTo>
                  <a:pt x="1158" y="114"/>
                </a:lnTo>
                <a:lnTo>
                  <a:pt x="1170" y="114"/>
                </a:lnTo>
                <a:lnTo>
                  <a:pt x="1170" y="126"/>
                </a:lnTo>
                <a:lnTo>
                  <a:pt x="1182" y="126"/>
                </a:lnTo>
                <a:lnTo>
                  <a:pt x="1182" y="138"/>
                </a:lnTo>
                <a:lnTo>
                  <a:pt x="1194" y="144"/>
                </a:lnTo>
                <a:lnTo>
                  <a:pt x="1194" y="156"/>
                </a:lnTo>
                <a:lnTo>
                  <a:pt x="1188" y="156"/>
                </a:lnTo>
                <a:lnTo>
                  <a:pt x="1194" y="162"/>
                </a:lnTo>
                <a:lnTo>
                  <a:pt x="1194" y="168"/>
                </a:lnTo>
                <a:lnTo>
                  <a:pt x="1188" y="168"/>
                </a:lnTo>
                <a:lnTo>
                  <a:pt x="1188" y="174"/>
                </a:lnTo>
                <a:lnTo>
                  <a:pt x="1188" y="180"/>
                </a:lnTo>
                <a:lnTo>
                  <a:pt x="1182" y="180"/>
                </a:lnTo>
                <a:lnTo>
                  <a:pt x="1188" y="186"/>
                </a:lnTo>
                <a:lnTo>
                  <a:pt x="1188" y="192"/>
                </a:lnTo>
                <a:lnTo>
                  <a:pt x="1182" y="198"/>
                </a:lnTo>
                <a:lnTo>
                  <a:pt x="1182" y="204"/>
                </a:lnTo>
                <a:lnTo>
                  <a:pt x="1182" y="210"/>
                </a:lnTo>
                <a:lnTo>
                  <a:pt x="1188" y="210"/>
                </a:lnTo>
                <a:lnTo>
                  <a:pt x="1182" y="210"/>
                </a:lnTo>
                <a:lnTo>
                  <a:pt x="1182" y="216"/>
                </a:lnTo>
                <a:lnTo>
                  <a:pt x="1182" y="222"/>
                </a:lnTo>
                <a:lnTo>
                  <a:pt x="1194" y="264"/>
                </a:lnTo>
                <a:lnTo>
                  <a:pt x="1200" y="264"/>
                </a:lnTo>
                <a:lnTo>
                  <a:pt x="1212" y="264"/>
                </a:lnTo>
                <a:lnTo>
                  <a:pt x="1212" y="258"/>
                </a:lnTo>
                <a:lnTo>
                  <a:pt x="1224" y="258"/>
                </a:lnTo>
                <a:lnTo>
                  <a:pt x="1248" y="252"/>
                </a:lnTo>
                <a:lnTo>
                  <a:pt x="1248" y="264"/>
                </a:lnTo>
                <a:lnTo>
                  <a:pt x="1254" y="264"/>
                </a:lnTo>
                <a:lnTo>
                  <a:pt x="1254" y="270"/>
                </a:lnTo>
                <a:lnTo>
                  <a:pt x="1260" y="270"/>
                </a:lnTo>
                <a:lnTo>
                  <a:pt x="1266" y="270"/>
                </a:lnTo>
                <a:lnTo>
                  <a:pt x="1272" y="270"/>
                </a:lnTo>
                <a:lnTo>
                  <a:pt x="1272" y="264"/>
                </a:lnTo>
                <a:lnTo>
                  <a:pt x="1272" y="258"/>
                </a:lnTo>
                <a:lnTo>
                  <a:pt x="1278" y="258"/>
                </a:lnTo>
                <a:lnTo>
                  <a:pt x="1278" y="252"/>
                </a:lnTo>
                <a:lnTo>
                  <a:pt x="1290" y="252"/>
                </a:lnTo>
                <a:lnTo>
                  <a:pt x="1296" y="246"/>
                </a:lnTo>
                <a:lnTo>
                  <a:pt x="1308" y="246"/>
                </a:lnTo>
                <a:lnTo>
                  <a:pt x="1308" y="240"/>
                </a:lnTo>
                <a:lnTo>
                  <a:pt x="1320" y="240"/>
                </a:lnTo>
                <a:lnTo>
                  <a:pt x="1326" y="246"/>
                </a:lnTo>
                <a:lnTo>
                  <a:pt x="1338" y="246"/>
                </a:lnTo>
                <a:lnTo>
                  <a:pt x="1338" y="240"/>
                </a:lnTo>
                <a:lnTo>
                  <a:pt x="1350" y="240"/>
                </a:lnTo>
                <a:lnTo>
                  <a:pt x="1386" y="234"/>
                </a:lnTo>
                <a:lnTo>
                  <a:pt x="1398" y="228"/>
                </a:lnTo>
                <a:lnTo>
                  <a:pt x="1404" y="216"/>
                </a:lnTo>
                <a:lnTo>
                  <a:pt x="1416" y="204"/>
                </a:lnTo>
                <a:lnTo>
                  <a:pt x="1434" y="192"/>
                </a:lnTo>
                <a:lnTo>
                  <a:pt x="1446" y="198"/>
                </a:lnTo>
                <a:lnTo>
                  <a:pt x="1446" y="204"/>
                </a:lnTo>
                <a:lnTo>
                  <a:pt x="1452" y="210"/>
                </a:lnTo>
                <a:lnTo>
                  <a:pt x="1464" y="222"/>
                </a:lnTo>
                <a:lnTo>
                  <a:pt x="1464" y="228"/>
                </a:lnTo>
                <a:lnTo>
                  <a:pt x="1464" y="234"/>
                </a:lnTo>
                <a:lnTo>
                  <a:pt x="1470" y="240"/>
                </a:lnTo>
                <a:lnTo>
                  <a:pt x="1476" y="228"/>
                </a:lnTo>
                <a:lnTo>
                  <a:pt x="1476" y="222"/>
                </a:lnTo>
                <a:lnTo>
                  <a:pt x="1482" y="210"/>
                </a:lnTo>
                <a:lnTo>
                  <a:pt x="1488" y="192"/>
                </a:lnTo>
                <a:lnTo>
                  <a:pt x="1488" y="186"/>
                </a:lnTo>
                <a:lnTo>
                  <a:pt x="1488" y="180"/>
                </a:lnTo>
                <a:lnTo>
                  <a:pt x="1500" y="180"/>
                </a:lnTo>
                <a:lnTo>
                  <a:pt x="1500" y="174"/>
                </a:lnTo>
                <a:lnTo>
                  <a:pt x="1518" y="162"/>
                </a:lnTo>
                <a:lnTo>
                  <a:pt x="1536" y="150"/>
                </a:lnTo>
                <a:lnTo>
                  <a:pt x="1554" y="168"/>
                </a:lnTo>
                <a:lnTo>
                  <a:pt x="1572" y="180"/>
                </a:lnTo>
                <a:lnTo>
                  <a:pt x="1596" y="216"/>
                </a:lnTo>
                <a:lnTo>
                  <a:pt x="1602" y="216"/>
                </a:lnTo>
                <a:lnTo>
                  <a:pt x="1614" y="228"/>
                </a:lnTo>
                <a:lnTo>
                  <a:pt x="1614" y="234"/>
                </a:lnTo>
                <a:lnTo>
                  <a:pt x="1620" y="240"/>
                </a:lnTo>
                <a:lnTo>
                  <a:pt x="1620" y="246"/>
                </a:lnTo>
                <a:lnTo>
                  <a:pt x="1626" y="252"/>
                </a:lnTo>
                <a:lnTo>
                  <a:pt x="1632" y="258"/>
                </a:lnTo>
                <a:lnTo>
                  <a:pt x="1632" y="264"/>
                </a:lnTo>
                <a:lnTo>
                  <a:pt x="1638" y="264"/>
                </a:lnTo>
                <a:lnTo>
                  <a:pt x="1638" y="270"/>
                </a:lnTo>
                <a:lnTo>
                  <a:pt x="1638" y="276"/>
                </a:lnTo>
                <a:lnTo>
                  <a:pt x="1638" y="282"/>
                </a:lnTo>
                <a:lnTo>
                  <a:pt x="1644" y="288"/>
                </a:lnTo>
                <a:lnTo>
                  <a:pt x="1644" y="294"/>
                </a:lnTo>
                <a:lnTo>
                  <a:pt x="1644" y="300"/>
                </a:lnTo>
                <a:lnTo>
                  <a:pt x="1644" y="306"/>
                </a:lnTo>
                <a:lnTo>
                  <a:pt x="1650" y="306"/>
                </a:lnTo>
                <a:lnTo>
                  <a:pt x="1650" y="312"/>
                </a:lnTo>
                <a:lnTo>
                  <a:pt x="1650" y="318"/>
                </a:lnTo>
                <a:lnTo>
                  <a:pt x="1650" y="324"/>
                </a:lnTo>
                <a:lnTo>
                  <a:pt x="1644" y="330"/>
                </a:lnTo>
                <a:lnTo>
                  <a:pt x="1626" y="330"/>
                </a:lnTo>
                <a:lnTo>
                  <a:pt x="1626" y="336"/>
                </a:lnTo>
                <a:lnTo>
                  <a:pt x="1626" y="342"/>
                </a:lnTo>
                <a:lnTo>
                  <a:pt x="1626" y="348"/>
                </a:lnTo>
                <a:lnTo>
                  <a:pt x="1620" y="354"/>
                </a:lnTo>
                <a:lnTo>
                  <a:pt x="1614" y="354"/>
                </a:lnTo>
                <a:lnTo>
                  <a:pt x="1614" y="360"/>
                </a:lnTo>
                <a:lnTo>
                  <a:pt x="1614" y="372"/>
                </a:lnTo>
                <a:lnTo>
                  <a:pt x="1608" y="378"/>
                </a:lnTo>
                <a:lnTo>
                  <a:pt x="1608" y="384"/>
                </a:lnTo>
                <a:lnTo>
                  <a:pt x="1614" y="390"/>
                </a:lnTo>
                <a:lnTo>
                  <a:pt x="1614" y="396"/>
                </a:lnTo>
                <a:lnTo>
                  <a:pt x="1614" y="402"/>
                </a:lnTo>
                <a:lnTo>
                  <a:pt x="1614" y="408"/>
                </a:lnTo>
                <a:lnTo>
                  <a:pt x="1614" y="414"/>
                </a:lnTo>
                <a:lnTo>
                  <a:pt x="1602" y="420"/>
                </a:lnTo>
                <a:lnTo>
                  <a:pt x="1602" y="426"/>
                </a:lnTo>
                <a:lnTo>
                  <a:pt x="1608" y="432"/>
                </a:lnTo>
                <a:lnTo>
                  <a:pt x="1614" y="426"/>
                </a:lnTo>
                <a:lnTo>
                  <a:pt x="1620" y="438"/>
                </a:lnTo>
                <a:lnTo>
                  <a:pt x="1626" y="438"/>
                </a:lnTo>
                <a:lnTo>
                  <a:pt x="1632" y="444"/>
                </a:lnTo>
                <a:lnTo>
                  <a:pt x="1626" y="456"/>
                </a:lnTo>
                <a:lnTo>
                  <a:pt x="1626" y="468"/>
                </a:lnTo>
                <a:lnTo>
                  <a:pt x="1620" y="474"/>
                </a:lnTo>
                <a:lnTo>
                  <a:pt x="1614" y="474"/>
                </a:lnTo>
                <a:lnTo>
                  <a:pt x="1614" y="486"/>
                </a:lnTo>
                <a:lnTo>
                  <a:pt x="1614" y="492"/>
                </a:lnTo>
                <a:lnTo>
                  <a:pt x="1620" y="492"/>
                </a:lnTo>
                <a:lnTo>
                  <a:pt x="1626" y="498"/>
                </a:lnTo>
                <a:lnTo>
                  <a:pt x="1626" y="504"/>
                </a:lnTo>
                <a:lnTo>
                  <a:pt x="1626" y="510"/>
                </a:lnTo>
                <a:lnTo>
                  <a:pt x="1620" y="516"/>
                </a:lnTo>
                <a:lnTo>
                  <a:pt x="1620" y="522"/>
                </a:lnTo>
                <a:lnTo>
                  <a:pt x="1614" y="522"/>
                </a:lnTo>
                <a:lnTo>
                  <a:pt x="1608" y="528"/>
                </a:lnTo>
                <a:lnTo>
                  <a:pt x="1602" y="522"/>
                </a:lnTo>
                <a:lnTo>
                  <a:pt x="1602" y="528"/>
                </a:lnTo>
                <a:lnTo>
                  <a:pt x="1602" y="540"/>
                </a:lnTo>
                <a:lnTo>
                  <a:pt x="1602" y="558"/>
                </a:lnTo>
                <a:lnTo>
                  <a:pt x="1602" y="564"/>
                </a:lnTo>
                <a:lnTo>
                  <a:pt x="1602" y="570"/>
                </a:lnTo>
                <a:lnTo>
                  <a:pt x="1602" y="576"/>
                </a:lnTo>
                <a:lnTo>
                  <a:pt x="1596" y="576"/>
                </a:lnTo>
                <a:lnTo>
                  <a:pt x="1632" y="582"/>
                </a:lnTo>
                <a:lnTo>
                  <a:pt x="1644" y="618"/>
                </a:lnTo>
                <a:lnTo>
                  <a:pt x="1650" y="648"/>
                </a:lnTo>
                <a:lnTo>
                  <a:pt x="1662" y="636"/>
                </a:lnTo>
                <a:lnTo>
                  <a:pt x="1668" y="636"/>
                </a:lnTo>
                <a:lnTo>
                  <a:pt x="1674" y="636"/>
                </a:lnTo>
                <a:lnTo>
                  <a:pt x="1680" y="630"/>
                </a:lnTo>
                <a:lnTo>
                  <a:pt x="1686" y="630"/>
                </a:lnTo>
                <a:lnTo>
                  <a:pt x="1692" y="630"/>
                </a:lnTo>
                <a:lnTo>
                  <a:pt x="1698" y="630"/>
                </a:lnTo>
                <a:lnTo>
                  <a:pt x="1704" y="630"/>
                </a:lnTo>
                <a:lnTo>
                  <a:pt x="1704" y="624"/>
                </a:lnTo>
                <a:lnTo>
                  <a:pt x="1710" y="624"/>
                </a:lnTo>
                <a:lnTo>
                  <a:pt x="1716" y="624"/>
                </a:lnTo>
                <a:lnTo>
                  <a:pt x="1722" y="624"/>
                </a:lnTo>
                <a:lnTo>
                  <a:pt x="1728" y="624"/>
                </a:lnTo>
                <a:lnTo>
                  <a:pt x="1722" y="618"/>
                </a:lnTo>
                <a:lnTo>
                  <a:pt x="1728" y="606"/>
                </a:lnTo>
                <a:lnTo>
                  <a:pt x="1734" y="606"/>
                </a:lnTo>
                <a:lnTo>
                  <a:pt x="1740" y="600"/>
                </a:lnTo>
                <a:lnTo>
                  <a:pt x="1746" y="594"/>
                </a:lnTo>
                <a:lnTo>
                  <a:pt x="1752" y="588"/>
                </a:lnTo>
                <a:lnTo>
                  <a:pt x="1752" y="582"/>
                </a:lnTo>
                <a:lnTo>
                  <a:pt x="1758" y="576"/>
                </a:lnTo>
                <a:lnTo>
                  <a:pt x="1764" y="576"/>
                </a:lnTo>
                <a:lnTo>
                  <a:pt x="1770" y="570"/>
                </a:lnTo>
                <a:lnTo>
                  <a:pt x="1776" y="564"/>
                </a:lnTo>
                <a:lnTo>
                  <a:pt x="1788" y="558"/>
                </a:lnTo>
                <a:lnTo>
                  <a:pt x="1788" y="546"/>
                </a:lnTo>
                <a:lnTo>
                  <a:pt x="1788" y="540"/>
                </a:lnTo>
                <a:lnTo>
                  <a:pt x="1794" y="540"/>
                </a:lnTo>
                <a:lnTo>
                  <a:pt x="1788" y="534"/>
                </a:lnTo>
                <a:lnTo>
                  <a:pt x="1788" y="528"/>
                </a:lnTo>
                <a:lnTo>
                  <a:pt x="1794" y="516"/>
                </a:lnTo>
                <a:lnTo>
                  <a:pt x="1800" y="510"/>
                </a:lnTo>
                <a:lnTo>
                  <a:pt x="1812" y="510"/>
                </a:lnTo>
                <a:lnTo>
                  <a:pt x="1818" y="504"/>
                </a:lnTo>
                <a:lnTo>
                  <a:pt x="1824" y="504"/>
                </a:lnTo>
                <a:lnTo>
                  <a:pt x="1830" y="498"/>
                </a:lnTo>
                <a:lnTo>
                  <a:pt x="1836" y="498"/>
                </a:lnTo>
                <a:lnTo>
                  <a:pt x="1848" y="492"/>
                </a:lnTo>
                <a:lnTo>
                  <a:pt x="1848" y="480"/>
                </a:lnTo>
                <a:lnTo>
                  <a:pt x="1854" y="480"/>
                </a:lnTo>
                <a:lnTo>
                  <a:pt x="1890" y="504"/>
                </a:lnTo>
                <a:lnTo>
                  <a:pt x="1908" y="534"/>
                </a:lnTo>
                <a:lnTo>
                  <a:pt x="1902" y="534"/>
                </a:lnTo>
                <a:lnTo>
                  <a:pt x="1920" y="528"/>
                </a:lnTo>
                <a:lnTo>
                  <a:pt x="1920" y="516"/>
                </a:lnTo>
                <a:lnTo>
                  <a:pt x="1944" y="516"/>
                </a:lnTo>
                <a:lnTo>
                  <a:pt x="2004" y="516"/>
                </a:lnTo>
                <a:lnTo>
                  <a:pt x="2010" y="510"/>
                </a:lnTo>
                <a:lnTo>
                  <a:pt x="2004" y="510"/>
                </a:lnTo>
                <a:lnTo>
                  <a:pt x="2010" y="498"/>
                </a:lnTo>
                <a:lnTo>
                  <a:pt x="2004" y="486"/>
                </a:lnTo>
                <a:lnTo>
                  <a:pt x="2004" y="480"/>
                </a:lnTo>
                <a:lnTo>
                  <a:pt x="2004" y="474"/>
                </a:lnTo>
                <a:lnTo>
                  <a:pt x="2004" y="462"/>
                </a:lnTo>
                <a:lnTo>
                  <a:pt x="2004" y="456"/>
                </a:lnTo>
                <a:lnTo>
                  <a:pt x="2058" y="462"/>
                </a:lnTo>
                <a:lnTo>
                  <a:pt x="2076" y="474"/>
                </a:lnTo>
                <a:lnTo>
                  <a:pt x="2082" y="522"/>
                </a:lnTo>
                <a:lnTo>
                  <a:pt x="2088" y="516"/>
                </a:lnTo>
                <a:lnTo>
                  <a:pt x="2094" y="522"/>
                </a:lnTo>
                <a:lnTo>
                  <a:pt x="2100" y="528"/>
                </a:lnTo>
                <a:lnTo>
                  <a:pt x="2130" y="540"/>
                </a:lnTo>
                <a:lnTo>
                  <a:pt x="2160" y="564"/>
                </a:lnTo>
                <a:lnTo>
                  <a:pt x="2166" y="600"/>
                </a:lnTo>
                <a:lnTo>
                  <a:pt x="2160" y="618"/>
                </a:lnTo>
                <a:lnTo>
                  <a:pt x="2142" y="636"/>
                </a:lnTo>
                <a:lnTo>
                  <a:pt x="2148" y="648"/>
                </a:lnTo>
                <a:lnTo>
                  <a:pt x="2154" y="660"/>
                </a:lnTo>
                <a:lnTo>
                  <a:pt x="2196" y="654"/>
                </a:lnTo>
                <a:lnTo>
                  <a:pt x="2214" y="660"/>
                </a:lnTo>
                <a:lnTo>
                  <a:pt x="2214" y="666"/>
                </a:lnTo>
                <a:lnTo>
                  <a:pt x="2220" y="672"/>
                </a:lnTo>
                <a:lnTo>
                  <a:pt x="2214" y="678"/>
                </a:lnTo>
                <a:lnTo>
                  <a:pt x="2214" y="684"/>
                </a:lnTo>
                <a:lnTo>
                  <a:pt x="2214" y="690"/>
                </a:lnTo>
                <a:lnTo>
                  <a:pt x="2208" y="690"/>
                </a:lnTo>
                <a:lnTo>
                  <a:pt x="2202" y="696"/>
                </a:lnTo>
                <a:lnTo>
                  <a:pt x="2196" y="702"/>
                </a:lnTo>
                <a:lnTo>
                  <a:pt x="2190" y="708"/>
                </a:lnTo>
                <a:lnTo>
                  <a:pt x="2190" y="720"/>
                </a:lnTo>
                <a:lnTo>
                  <a:pt x="2184" y="720"/>
                </a:lnTo>
                <a:lnTo>
                  <a:pt x="2178" y="726"/>
                </a:lnTo>
                <a:lnTo>
                  <a:pt x="2166" y="732"/>
                </a:lnTo>
                <a:lnTo>
                  <a:pt x="2160" y="744"/>
                </a:lnTo>
                <a:lnTo>
                  <a:pt x="2154" y="756"/>
                </a:lnTo>
                <a:lnTo>
                  <a:pt x="2148" y="762"/>
                </a:lnTo>
                <a:lnTo>
                  <a:pt x="2124" y="762"/>
                </a:lnTo>
                <a:lnTo>
                  <a:pt x="2124" y="768"/>
                </a:lnTo>
                <a:lnTo>
                  <a:pt x="2118" y="768"/>
                </a:lnTo>
                <a:lnTo>
                  <a:pt x="2124" y="774"/>
                </a:lnTo>
                <a:lnTo>
                  <a:pt x="2118" y="774"/>
                </a:lnTo>
                <a:lnTo>
                  <a:pt x="2112" y="774"/>
                </a:lnTo>
                <a:lnTo>
                  <a:pt x="2106" y="780"/>
                </a:lnTo>
                <a:lnTo>
                  <a:pt x="2112" y="786"/>
                </a:lnTo>
                <a:lnTo>
                  <a:pt x="2106" y="792"/>
                </a:lnTo>
                <a:lnTo>
                  <a:pt x="2106" y="798"/>
                </a:lnTo>
                <a:lnTo>
                  <a:pt x="2106" y="810"/>
                </a:lnTo>
                <a:lnTo>
                  <a:pt x="2112" y="828"/>
                </a:lnTo>
                <a:lnTo>
                  <a:pt x="2112" y="834"/>
                </a:lnTo>
                <a:lnTo>
                  <a:pt x="2112" y="840"/>
                </a:lnTo>
                <a:lnTo>
                  <a:pt x="2112" y="834"/>
                </a:lnTo>
                <a:lnTo>
                  <a:pt x="2124" y="834"/>
                </a:lnTo>
                <a:lnTo>
                  <a:pt x="2130" y="834"/>
                </a:lnTo>
                <a:lnTo>
                  <a:pt x="2136" y="840"/>
                </a:lnTo>
                <a:lnTo>
                  <a:pt x="2142" y="840"/>
                </a:lnTo>
                <a:lnTo>
                  <a:pt x="2154" y="852"/>
                </a:lnTo>
                <a:lnTo>
                  <a:pt x="2160" y="852"/>
                </a:lnTo>
                <a:lnTo>
                  <a:pt x="2172" y="846"/>
                </a:lnTo>
                <a:lnTo>
                  <a:pt x="2178" y="846"/>
                </a:lnTo>
                <a:lnTo>
                  <a:pt x="2184" y="846"/>
                </a:lnTo>
                <a:lnTo>
                  <a:pt x="2190" y="846"/>
                </a:lnTo>
                <a:lnTo>
                  <a:pt x="2196" y="852"/>
                </a:lnTo>
                <a:lnTo>
                  <a:pt x="2196" y="858"/>
                </a:lnTo>
                <a:lnTo>
                  <a:pt x="2202" y="852"/>
                </a:lnTo>
                <a:lnTo>
                  <a:pt x="2208" y="846"/>
                </a:lnTo>
                <a:lnTo>
                  <a:pt x="2214" y="846"/>
                </a:lnTo>
                <a:lnTo>
                  <a:pt x="2226" y="846"/>
                </a:lnTo>
                <a:lnTo>
                  <a:pt x="2232" y="852"/>
                </a:lnTo>
                <a:lnTo>
                  <a:pt x="2238" y="852"/>
                </a:lnTo>
                <a:lnTo>
                  <a:pt x="2244" y="858"/>
                </a:lnTo>
                <a:lnTo>
                  <a:pt x="2250" y="858"/>
                </a:lnTo>
                <a:lnTo>
                  <a:pt x="2256" y="858"/>
                </a:lnTo>
                <a:lnTo>
                  <a:pt x="2262" y="858"/>
                </a:lnTo>
                <a:lnTo>
                  <a:pt x="2268" y="852"/>
                </a:lnTo>
                <a:lnTo>
                  <a:pt x="2274" y="852"/>
                </a:lnTo>
                <a:lnTo>
                  <a:pt x="2280" y="852"/>
                </a:lnTo>
                <a:lnTo>
                  <a:pt x="2286" y="852"/>
                </a:lnTo>
                <a:lnTo>
                  <a:pt x="2298" y="858"/>
                </a:lnTo>
                <a:lnTo>
                  <a:pt x="2304" y="858"/>
                </a:lnTo>
                <a:lnTo>
                  <a:pt x="2310" y="858"/>
                </a:lnTo>
                <a:lnTo>
                  <a:pt x="2316" y="852"/>
                </a:lnTo>
                <a:lnTo>
                  <a:pt x="2322" y="858"/>
                </a:lnTo>
                <a:lnTo>
                  <a:pt x="2328" y="858"/>
                </a:lnTo>
                <a:lnTo>
                  <a:pt x="2328" y="852"/>
                </a:lnTo>
                <a:lnTo>
                  <a:pt x="2364" y="858"/>
                </a:lnTo>
                <a:lnTo>
                  <a:pt x="2376" y="876"/>
                </a:lnTo>
                <a:lnTo>
                  <a:pt x="2382" y="936"/>
                </a:lnTo>
                <a:lnTo>
                  <a:pt x="2388" y="966"/>
                </a:lnTo>
                <a:lnTo>
                  <a:pt x="2382" y="972"/>
                </a:lnTo>
                <a:lnTo>
                  <a:pt x="2382" y="978"/>
                </a:lnTo>
                <a:lnTo>
                  <a:pt x="2382" y="984"/>
                </a:lnTo>
                <a:lnTo>
                  <a:pt x="2388" y="990"/>
                </a:lnTo>
                <a:lnTo>
                  <a:pt x="2382" y="990"/>
                </a:lnTo>
                <a:lnTo>
                  <a:pt x="2382" y="996"/>
                </a:lnTo>
                <a:lnTo>
                  <a:pt x="2376" y="996"/>
                </a:lnTo>
                <a:lnTo>
                  <a:pt x="2376" y="1020"/>
                </a:lnTo>
                <a:lnTo>
                  <a:pt x="2370" y="1032"/>
                </a:lnTo>
                <a:lnTo>
                  <a:pt x="2352" y="1032"/>
                </a:lnTo>
                <a:lnTo>
                  <a:pt x="2346" y="1020"/>
                </a:lnTo>
                <a:lnTo>
                  <a:pt x="2328" y="1032"/>
                </a:lnTo>
                <a:lnTo>
                  <a:pt x="2316" y="1038"/>
                </a:lnTo>
                <a:lnTo>
                  <a:pt x="2328" y="1044"/>
                </a:lnTo>
                <a:lnTo>
                  <a:pt x="2340" y="1056"/>
                </a:lnTo>
                <a:lnTo>
                  <a:pt x="2376" y="1062"/>
                </a:lnTo>
                <a:lnTo>
                  <a:pt x="2376" y="1068"/>
                </a:lnTo>
                <a:lnTo>
                  <a:pt x="2382" y="1086"/>
                </a:lnTo>
                <a:lnTo>
                  <a:pt x="2376" y="1086"/>
                </a:lnTo>
                <a:lnTo>
                  <a:pt x="2370" y="1086"/>
                </a:lnTo>
                <a:lnTo>
                  <a:pt x="2364" y="1086"/>
                </a:lnTo>
                <a:lnTo>
                  <a:pt x="2364" y="1098"/>
                </a:lnTo>
                <a:lnTo>
                  <a:pt x="2388" y="1104"/>
                </a:lnTo>
                <a:lnTo>
                  <a:pt x="2400" y="1122"/>
                </a:lnTo>
                <a:lnTo>
                  <a:pt x="2400" y="1134"/>
                </a:lnTo>
                <a:lnTo>
                  <a:pt x="2400" y="1146"/>
                </a:lnTo>
                <a:lnTo>
                  <a:pt x="2394" y="1146"/>
                </a:lnTo>
                <a:lnTo>
                  <a:pt x="2394" y="1152"/>
                </a:lnTo>
                <a:lnTo>
                  <a:pt x="2388" y="1152"/>
                </a:lnTo>
                <a:lnTo>
                  <a:pt x="2388" y="1146"/>
                </a:lnTo>
                <a:lnTo>
                  <a:pt x="2382" y="1152"/>
                </a:lnTo>
                <a:lnTo>
                  <a:pt x="2376" y="1152"/>
                </a:lnTo>
                <a:lnTo>
                  <a:pt x="2370" y="1158"/>
                </a:lnTo>
                <a:lnTo>
                  <a:pt x="2370" y="1164"/>
                </a:lnTo>
                <a:lnTo>
                  <a:pt x="2364" y="1170"/>
                </a:lnTo>
                <a:lnTo>
                  <a:pt x="2370" y="1170"/>
                </a:lnTo>
                <a:lnTo>
                  <a:pt x="2376" y="1170"/>
                </a:lnTo>
                <a:lnTo>
                  <a:pt x="2370" y="1176"/>
                </a:lnTo>
                <a:lnTo>
                  <a:pt x="2364" y="1176"/>
                </a:lnTo>
                <a:lnTo>
                  <a:pt x="2358" y="1182"/>
                </a:lnTo>
                <a:lnTo>
                  <a:pt x="2352" y="1182"/>
                </a:lnTo>
                <a:lnTo>
                  <a:pt x="2346" y="1188"/>
                </a:lnTo>
                <a:lnTo>
                  <a:pt x="2340" y="1182"/>
                </a:lnTo>
                <a:lnTo>
                  <a:pt x="2334" y="1182"/>
                </a:lnTo>
                <a:lnTo>
                  <a:pt x="2334" y="1188"/>
                </a:lnTo>
                <a:lnTo>
                  <a:pt x="2328" y="1194"/>
                </a:lnTo>
                <a:lnTo>
                  <a:pt x="2328" y="1200"/>
                </a:lnTo>
                <a:lnTo>
                  <a:pt x="2322" y="1224"/>
                </a:lnTo>
                <a:lnTo>
                  <a:pt x="2328" y="1230"/>
                </a:lnTo>
                <a:lnTo>
                  <a:pt x="2358" y="1230"/>
                </a:lnTo>
                <a:lnTo>
                  <a:pt x="2358" y="1242"/>
                </a:lnTo>
                <a:lnTo>
                  <a:pt x="2358" y="1254"/>
                </a:lnTo>
                <a:lnTo>
                  <a:pt x="2346" y="1254"/>
                </a:lnTo>
                <a:lnTo>
                  <a:pt x="2346" y="1278"/>
                </a:lnTo>
                <a:lnTo>
                  <a:pt x="2358" y="1278"/>
                </a:lnTo>
                <a:lnTo>
                  <a:pt x="2358" y="1284"/>
                </a:lnTo>
                <a:lnTo>
                  <a:pt x="2376" y="1284"/>
                </a:lnTo>
                <a:lnTo>
                  <a:pt x="2388" y="1278"/>
                </a:lnTo>
                <a:lnTo>
                  <a:pt x="2406" y="1278"/>
                </a:lnTo>
                <a:lnTo>
                  <a:pt x="2430" y="1284"/>
                </a:lnTo>
                <a:lnTo>
                  <a:pt x="2430" y="1302"/>
                </a:lnTo>
                <a:lnTo>
                  <a:pt x="2430" y="1314"/>
                </a:lnTo>
                <a:lnTo>
                  <a:pt x="2424" y="1326"/>
                </a:lnTo>
                <a:lnTo>
                  <a:pt x="2412" y="1326"/>
                </a:lnTo>
                <a:lnTo>
                  <a:pt x="2412" y="1344"/>
                </a:lnTo>
                <a:lnTo>
                  <a:pt x="2406" y="1344"/>
                </a:lnTo>
                <a:lnTo>
                  <a:pt x="2400" y="1362"/>
                </a:lnTo>
                <a:lnTo>
                  <a:pt x="2394" y="1368"/>
                </a:lnTo>
                <a:lnTo>
                  <a:pt x="2388" y="1374"/>
                </a:lnTo>
                <a:lnTo>
                  <a:pt x="2382" y="1380"/>
                </a:lnTo>
                <a:lnTo>
                  <a:pt x="2376" y="1386"/>
                </a:lnTo>
                <a:lnTo>
                  <a:pt x="2376" y="1392"/>
                </a:lnTo>
                <a:lnTo>
                  <a:pt x="2370" y="1404"/>
                </a:lnTo>
                <a:lnTo>
                  <a:pt x="2364" y="1416"/>
                </a:lnTo>
                <a:lnTo>
                  <a:pt x="2346" y="1434"/>
                </a:lnTo>
                <a:lnTo>
                  <a:pt x="2328" y="1440"/>
                </a:lnTo>
                <a:lnTo>
                  <a:pt x="2328" y="1446"/>
                </a:lnTo>
                <a:lnTo>
                  <a:pt x="2322" y="1452"/>
                </a:lnTo>
                <a:lnTo>
                  <a:pt x="2316" y="1452"/>
                </a:lnTo>
                <a:lnTo>
                  <a:pt x="2304" y="1446"/>
                </a:lnTo>
                <a:lnTo>
                  <a:pt x="2298" y="1446"/>
                </a:lnTo>
                <a:lnTo>
                  <a:pt x="2298" y="1434"/>
                </a:lnTo>
                <a:lnTo>
                  <a:pt x="2292" y="1434"/>
                </a:lnTo>
                <a:lnTo>
                  <a:pt x="2286" y="1428"/>
                </a:lnTo>
                <a:lnTo>
                  <a:pt x="2274" y="1416"/>
                </a:lnTo>
                <a:lnTo>
                  <a:pt x="2256" y="1404"/>
                </a:lnTo>
                <a:lnTo>
                  <a:pt x="2244" y="1386"/>
                </a:lnTo>
                <a:lnTo>
                  <a:pt x="2220" y="1368"/>
                </a:lnTo>
                <a:lnTo>
                  <a:pt x="2208" y="1362"/>
                </a:lnTo>
                <a:lnTo>
                  <a:pt x="2202" y="1350"/>
                </a:lnTo>
                <a:lnTo>
                  <a:pt x="2196" y="1350"/>
                </a:lnTo>
                <a:lnTo>
                  <a:pt x="2190" y="1356"/>
                </a:lnTo>
                <a:lnTo>
                  <a:pt x="2184" y="1356"/>
                </a:lnTo>
                <a:lnTo>
                  <a:pt x="2094" y="1350"/>
                </a:lnTo>
                <a:lnTo>
                  <a:pt x="2058" y="1350"/>
                </a:lnTo>
                <a:lnTo>
                  <a:pt x="2034" y="1890"/>
                </a:lnTo>
                <a:lnTo>
                  <a:pt x="2064" y="1890"/>
                </a:lnTo>
                <a:lnTo>
                  <a:pt x="2070" y="1896"/>
                </a:lnTo>
                <a:lnTo>
                  <a:pt x="2076" y="1896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9525" cap="flat" cmpd="sng">
            <a:solidFill>
              <a:srgbClr val="E8E8E8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89" name="Title 88">
            <a:extLst>
              <a:ext uri="{FF2B5EF4-FFF2-40B4-BE49-F238E27FC236}">
                <a16:creationId xmlns:a16="http://schemas.microsoft.com/office/drawing/2014/main" id="{4BDB3C51-3998-4E8F-93DA-3921F7D025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278" y="225588"/>
            <a:ext cx="8543925" cy="560631"/>
          </a:xfrm>
        </p:spPr>
        <p:txBody>
          <a:bodyPr/>
          <a:lstStyle/>
          <a:p>
            <a:r>
              <a:rPr lang="en-GB" dirty="0"/>
              <a:t>Nigeria in context</a:t>
            </a:r>
          </a:p>
        </p:txBody>
      </p:sp>
      <p:sp>
        <p:nvSpPr>
          <p:cNvPr id="224" name="5. Source">
            <a:extLst>
              <a:ext uri="{FF2B5EF4-FFF2-40B4-BE49-F238E27FC236}">
                <a16:creationId xmlns:a16="http://schemas.microsoft.com/office/drawing/2014/main" id="{09097FBB-904B-434E-8F4D-B5BE93E456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8535" y="6395791"/>
            <a:ext cx="4387549" cy="1383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3571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Sources: National Bureau of Statistics (2018 estimates), http://www.data.worldbank.org</a:t>
            </a:r>
          </a:p>
        </p:txBody>
      </p:sp>
      <p:sp>
        <p:nvSpPr>
          <p:cNvPr id="49" name="Freeform 5">
            <a:extLst>
              <a:ext uri="{FF2B5EF4-FFF2-40B4-BE49-F238E27FC236}">
                <a16:creationId xmlns:a16="http://schemas.microsoft.com/office/drawing/2014/main" id="{31372DBF-E8F2-4976-8FA5-B43C0EC42E7B}"/>
              </a:ext>
            </a:extLst>
          </p:cNvPr>
          <p:cNvSpPr>
            <a:spLocks noEditPoints="1"/>
          </p:cNvSpPr>
          <p:nvPr/>
        </p:nvSpPr>
        <p:spPr bwMode="gray">
          <a:xfrm>
            <a:off x="4244651" y="5050157"/>
            <a:ext cx="437138" cy="527251"/>
          </a:xfrm>
          <a:custGeom>
            <a:avLst/>
            <a:gdLst>
              <a:gd name="T0" fmla="*/ 9 w 762"/>
              <a:gd name="T1" fmla="*/ 58 h 900"/>
              <a:gd name="T2" fmla="*/ 4 w 762"/>
              <a:gd name="T3" fmla="*/ 56 h 900"/>
              <a:gd name="T4" fmla="*/ 0 w 762"/>
              <a:gd name="T5" fmla="*/ 49 h 900"/>
              <a:gd name="T6" fmla="*/ 4 w 762"/>
              <a:gd name="T7" fmla="*/ 36 h 900"/>
              <a:gd name="T8" fmla="*/ 8 w 762"/>
              <a:gd name="T9" fmla="*/ 28 h 900"/>
              <a:gd name="T10" fmla="*/ 7 w 762"/>
              <a:gd name="T11" fmla="*/ 13 h 900"/>
              <a:gd name="T12" fmla="*/ 15 w 762"/>
              <a:gd name="T13" fmla="*/ 0 h 900"/>
              <a:gd name="T14" fmla="*/ 16 w 762"/>
              <a:gd name="T15" fmla="*/ 13 h 900"/>
              <a:gd name="T16" fmla="*/ 31 w 762"/>
              <a:gd name="T17" fmla="*/ 28 h 900"/>
              <a:gd name="T18" fmla="*/ 49 w 762"/>
              <a:gd name="T19" fmla="*/ 33 h 900"/>
              <a:gd name="T20" fmla="*/ 42 w 762"/>
              <a:gd name="T21" fmla="*/ 48 h 900"/>
              <a:gd name="T22" fmla="*/ 51 w 762"/>
              <a:gd name="T23" fmla="*/ 48 h 900"/>
              <a:gd name="T24" fmla="*/ 61 w 762"/>
              <a:gd name="T25" fmla="*/ 51 h 900"/>
              <a:gd name="T26" fmla="*/ 63 w 762"/>
              <a:gd name="T27" fmla="*/ 60 h 900"/>
              <a:gd name="T28" fmla="*/ 63 w 762"/>
              <a:gd name="T29" fmla="*/ 66 h 900"/>
              <a:gd name="T30" fmla="*/ 65 w 762"/>
              <a:gd name="T31" fmla="*/ 69 h 900"/>
              <a:gd name="T32" fmla="*/ 66 w 762"/>
              <a:gd name="T33" fmla="*/ 72 h 900"/>
              <a:gd name="T34" fmla="*/ 56 w 762"/>
              <a:gd name="T35" fmla="*/ 73 h 900"/>
              <a:gd name="T36" fmla="*/ 55 w 762"/>
              <a:gd name="T37" fmla="*/ 69 h 900"/>
              <a:gd name="T38" fmla="*/ 57 w 762"/>
              <a:gd name="T39" fmla="*/ 67 h 900"/>
              <a:gd name="T40" fmla="*/ 55 w 762"/>
              <a:gd name="T41" fmla="*/ 65 h 900"/>
              <a:gd name="T42" fmla="*/ 53 w 762"/>
              <a:gd name="T43" fmla="*/ 68 h 900"/>
              <a:gd name="T44" fmla="*/ 49 w 762"/>
              <a:gd name="T45" fmla="*/ 68 h 900"/>
              <a:gd name="T46" fmla="*/ 44 w 762"/>
              <a:gd name="T47" fmla="*/ 63 h 900"/>
              <a:gd name="T48" fmla="*/ 40 w 762"/>
              <a:gd name="T49" fmla="*/ 59 h 900"/>
              <a:gd name="T50" fmla="*/ 38 w 762"/>
              <a:gd name="T51" fmla="*/ 57 h 900"/>
              <a:gd name="T52" fmla="*/ 43 w 762"/>
              <a:gd name="T53" fmla="*/ 62 h 900"/>
              <a:gd name="T54" fmla="*/ 43 w 762"/>
              <a:gd name="T55" fmla="*/ 66 h 900"/>
              <a:gd name="T56" fmla="*/ 41 w 762"/>
              <a:gd name="T57" fmla="*/ 71 h 900"/>
              <a:gd name="T58" fmla="*/ 37 w 762"/>
              <a:gd name="T59" fmla="*/ 69 h 900"/>
              <a:gd name="T60" fmla="*/ 35 w 762"/>
              <a:gd name="T61" fmla="*/ 64 h 900"/>
              <a:gd name="T62" fmla="*/ 31 w 762"/>
              <a:gd name="T63" fmla="*/ 57 h 900"/>
              <a:gd name="T64" fmla="*/ 30 w 762"/>
              <a:gd name="T65" fmla="*/ 62 h 900"/>
              <a:gd name="T66" fmla="*/ 29 w 762"/>
              <a:gd name="T67" fmla="*/ 61 h 900"/>
              <a:gd name="T68" fmla="*/ 31 w 762"/>
              <a:gd name="T69" fmla="*/ 66 h 900"/>
              <a:gd name="T70" fmla="*/ 33 w 762"/>
              <a:gd name="T71" fmla="*/ 72 h 900"/>
              <a:gd name="T72" fmla="*/ 32 w 762"/>
              <a:gd name="T73" fmla="*/ 76 h 900"/>
              <a:gd name="T74" fmla="*/ 28 w 762"/>
              <a:gd name="T75" fmla="*/ 75 h 900"/>
              <a:gd name="T76" fmla="*/ 24 w 762"/>
              <a:gd name="T77" fmla="*/ 69 h 900"/>
              <a:gd name="T78" fmla="*/ 24 w 762"/>
              <a:gd name="T79" fmla="*/ 62 h 900"/>
              <a:gd name="T80" fmla="*/ 23 w 762"/>
              <a:gd name="T81" fmla="*/ 62 h 900"/>
              <a:gd name="T82" fmla="*/ 23 w 762"/>
              <a:gd name="T83" fmla="*/ 68 h 900"/>
              <a:gd name="T84" fmla="*/ 25 w 762"/>
              <a:gd name="T85" fmla="*/ 77 h 900"/>
              <a:gd name="T86" fmla="*/ 17 w 762"/>
              <a:gd name="T87" fmla="*/ 74 h 900"/>
              <a:gd name="T88" fmla="*/ 17 w 762"/>
              <a:gd name="T89" fmla="*/ 67 h 900"/>
              <a:gd name="T90" fmla="*/ 16 w 762"/>
              <a:gd name="T91" fmla="*/ 67 h 900"/>
              <a:gd name="T92" fmla="*/ 15 w 762"/>
              <a:gd name="T93" fmla="*/ 71 h 900"/>
              <a:gd name="T94" fmla="*/ 12 w 762"/>
              <a:gd name="T95" fmla="*/ 68 h 900"/>
              <a:gd name="T96" fmla="*/ 15 w 762"/>
              <a:gd name="T97" fmla="*/ 72 h 900"/>
              <a:gd name="T98" fmla="*/ 17 w 762"/>
              <a:gd name="T99" fmla="*/ 77 h 900"/>
              <a:gd name="T100" fmla="*/ 11 w 762"/>
              <a:gd name="T101" fmla="*/ 77 h 900"/>
              <a:gd name="T102" fmla="*/ 10 w 762"/>
              <a:gd name="T103" fmla="*/ 69 h 900"/>
              <a:gd name="T104" fmla="*/ 11 w 762"/>
              <a:gd name="T105" fmla="*/ 72 h 900"/>
              <a:gd name="T106" fmla="*/ 9 w 762"/>
              <a:gd name="T107" fmla="*/ 78 h 900"/>
              <a:gd name="T108" fmla="*/ 43 w 762"/>
              <a:gd name="T109" fmla="*/ 71 h 900"/>
              <a:gd name="T110" fmla="*/ 51 w 762"/>
              <a:gd name="T111" fmla="*/ 69 h 900"/>
              <a:gd name="T112" fmla="*/ 43 w 762"/>
              <a:gd name="T113" fmla="*/ 76 h 900"/>
              <a:gd name="T114" fmla="*/ 36 w 762"/>
              <a:gd name="T115" fmla="*/ 65 h 900"/>
              <a:gd name="T116" fmla="*/ 38 w 762"/>
              <a:gd name="T117" fmla="*/ 72 h 900"/>
              <a:gd name="T118" fmla="*/ 34 w 762"/>
              <a:gd name="T119" fmla="*/ 69 h 900"/>
              <a:gd name="T120" fmla="*/ 29 w 762"/>
              <a:gd name="T121" fmla="*/ 64 h 900"/>
              <a:gd name="T122" fmla="*/ 32 w 762"/>
              <a:gd name="T123" fmla="*/ 66 h 90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762"/>
              <a:gd name="T187" fmla="*/ 0 h 900"/>
              <a:gd name="T188" fmla="*/ 762 w 762"/>
              <a:gd name="T189" fmla="*/ 900 h 900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762" h="900">
                <a:moveTo>
                  <a:pt x="90" y="768"/>
                </a:moveTo>
                <a:lnTo>
                  <a:pt x="102" y="756"/>
                </a:lnTo>
                <a:lnTo>
                  <a:pt x="102" y="750"/>
                </a:lnTo>
                <a:lnTo>
                  <a:pt x="90" y="744"/>
                </a:lnTo>
                <a:lnTo>
                  <a:pt x="84" y="738"/>
                </a:lnTo>
                <a:lnTo>
                  <a:pt x="90" y="726"/>
                </a:lnTo>
                <a:lnTo>
                  <a:pt x="84" y="720"/>
                </a:lnTo>
                <a:lnTo>
                  <a:pt x="78" y="720"/>
                </a:lnTo>
                <a:lnTo>
                  <a:pt x="78" y="708"/>
                </a:lnTo>
                <a:lnTo>
                  <a:pt x="78" y="702"/>
                </a:lnTo>
                <a:lnTo>
                  <a:pt x="72" y="702"/>
                </a:lnTo>
                <a:lnTo>
                  <a:pt x="72" y="696"/>
                </a:lnTo>
                <a:lnTo>
                  <a:pt x="84" y="684"/>
                </a:lnTo>
                <a:lnTo>
                  <a:pt x="96" y="672"/>
                </a:lnTo>
                <a:lnTo>
                  <a:pt x="108" y="666"/>
                </a:lnTo>
                <a:lnTo>
                  <a:pt x="102" y="666"/>
                </a:lnTo>
                <a:lnTo>
                  <a:pt x="102" y="660"/>
                </a:lnTo>
                <a:lnTo>
                  <a:pt x="102" y="654"/>
                </a:lnTo>
                <a:lnTo>
                  <a:pt x="108" y="654"/>
                </a:lnTo>
                <a:lnTo>
                  <a:pt x="114" y="648"/>
                </a:lnTo>
                <a:lnTo>
                  <a:pt x="120" y="642"/>
                </a:lnTo>
                <a:lnTo>
                  <a:pt x="120" y="636"/>
                </a:lnTo>
                <a:lnTo>
                  <a:pt x="132" y="630"/>
                </a:lnTo>
                <a:lnTo>
                  <a:pt x="132" y="624"/>
                </a:lnTo>
                <a:lnTo>
                  <a:pt x="114" y="618"/>
                </a:lnTo>
                <a:lnTo>
                  <a:pt x="102" y="618"/>
                </a:lnTo>
                <a:lnTo>
                  <a:pt x="90" y="618"/>
                </a:lnTo>
                <a:lnTo>
                  <a:pt x="78" y="624"/>
                </a:lnTo>
                <a:lnTo>
                  <a:pt x="72" y="630"/>
                </a:lnTo>
                <a:lnTo>
                  <a:pt x="54" y="642"/>
                </a:lnTo>
                <a:lnTo>
                  <a:pt x="42" y="642"/>
                </a:lnTo>
                <a:lnTo>
                  <a:pt x="36" y="642"/>
                </a:lnTo>
                <a:lnTo>
                  <a:pt x="42" y="642"/>
                </a:lnTo>
                <a:lnTo>
                  <a:pt x="42" y="636"/>
                </a:lnTo>
                <a:lnTo>
                  <a:pt x="36" y="636"/>
                </a:lnTo>
                <a:lnTo>
                  <a:pt x="30" y="642"/>
                </a:lnTo>
                <a:lnTo>
                  <a:pt x="30" y="636"/>
                </a:lnTo>
                <a:lnTo>
                  <a:pt x="30" y="630"/>
                </a:lnTo>
                <a:lnTo>
                  <a:pt x="24" y="630"/>
                </a:lnTo>
                <a:lnTo>
                  <a:pt x="30" y="624"/>
                </a:lnTo>
                <a:lnTo>
                  <a:pt x="30" y="618"/>
                </a:lnTo>
                <a:lnTo>
                  <a:pt x="30" y="612"/>
                </a:lnTo>
                <a:lnTo>
                  <a:pt x="36" y="612"/>
                </a:lnTo>
                <a:lnTo>
                  <a:pt x="36" y="606"/>
                </a:lnTo>
                <a:lnTo>
                  <a:pt x="30" y="606"/>
                </a:lnTo>
                <a:lnTo>
                  <a:pt x="24" y="612"/>
                </a:lnTo>
                <a:lnTo>
                  <a:pt x="18" y="606"/>
                </a:lnTo>
                <a:lnTo>
                  <a:pt x="12" y="594"/>
                </a:lnTo>
                <a:lnTo>
                  <a:pt x="6" y="582"/>
                </a:lnTo>
                <a:lnTo>
                  <a:pt x="6" y="570"/>
                </a:lnTo>
                <a:lnTo>
                  <a:pt x="0" y="558"/>
                </a:lnTo>
                <a:lnTo>
                  <a:pt x="6" y="552"/>
                </a:lnTo>
                <a:lnTo>
                  <a:pt x="6" y="534"/>
                </a:lnTo>
                <a:lnTo>
                  <a:pt x="18" y="516"/>
                </a:lnTo>
                <a:lnTo>
                  <a:pt x="30" y="504"/>
                </a:lnTo>
                <a:lnTo>
                  <a:pt x="30" y="492"/>
                </a:lnTo>
                <a:lnTo>
                  <a:pt x="24" y="480"/>
                </a:lnTo>
                <a:lnTo>
                  <a:pt x="12" y="480"/>
                </a:lnTo>
                <a:lnTo>
                  <a:pt x="18" y="474"/>
                </a:lnTo>
                <a:lnTo>
                  <a:pt x="18" y="468"/>
                </a:lnTo>
                <a:lnTo>
                  <a:pt x="18" y="456"/>
                </a:lnTo>
                <a:lnTo>
                  <a:pt x="24" y="450"/>
                </a:lnTo>
                <a:lnTo>
                  <a:pt x="24" y="444"/>
                </a:lnTo>
                <a:lnTo>
                  <a:pt x="30" y="438"/>
                </a:lnTo>
                <a:lnTo>
                  <a:pt x="30" y="432"/>
                </a:lnTo>
                <a:lnTo>
                  <a:pt x="30" y="426"/>
                </a:lnTo>
                <a:lnTo>
                  <a:pt x="42" y="420"/>
                </a:lnTo>
                <a:lnTo>
                  <a:pt x="42" y="414"/>
                </a:lnTo>
                <a:lnTo>
                  <a:pt x="54" y="408"/>
                </a:lnTo>
                <a:lnTo>
                  <a:pt x="54" y="396"/>
                </a:lnTo>
                <a:lnTo>
                  <a:pt x="54" y="384"/>
                </a:lnTo>
                <a:lnTo>
                  <a:pt x="60" y="378"/>
                </a:lnTo>
                <a:lnTo>
                  <a:pt x="66" y="378"/>
                </a:lnTo>
                <a:lnTo>
                  <a:pt x="66" y="372"/>
                </a:lnTo>
                <a:lnTo>
                  <a:pt x="60" y="366"/>
                </a:lnTo>
                <a:lnTo>
                  <a:pt x="60" y="360"/>
                </a:lnTo>
                <a:lnTo>
                  <a:pt x="66" y="360"/>
                </a:lnTo>
                <a:lnTo>
                  <a:pt x="72" y="354"/>
                </a:lnTo>
                <a:lnTo>
                  <a:pt x="78" y="354"/>
                </a:lnTo>
                <a:lnTo>
                  <a:pt x="84" y="348"/>
                </a:lnTo>
                <a:lnTo>
                  <a:pt x="96" y="348"/>
                </a:lnTo>
                <a:lnTo>
                  <a:pt x="96" y="342"/>
                </a:lnTo>
                <a:lnTo>
                  <a:pt x="96" y="336"/>
                </a:lnTo>
                <a:lnTo>
                  <a:pt x="96" y="330"/>
                </a:lnTo>
                <a:lnTo>
                  <a:pt x="96" y="324"/>
                </a:lnTo>
                <a:lnTo>
                  <a:pt x="102" y="318"/>
                </a:lnTo>
                <a:lnTo>
                  <a:pt x="108" y="312"/>
                </a:lnTo>
                <a:lnTo>
                  <a:pt x="96" y="306"/>
                </a:lnTo>
                <a:lnTo>
                  <a:pt x="84" y="288"/>
                </a:lnTo>
                <a:lnTo>
                  <a:pt x="108" y="258"/>
                </a:lnTo>
                <a:lnTo>
                  <a:pt x="102" y="222"/>
                </a:lnTo>
                <a:lnTo>
                  <a:pt x="84" y="222"/>
                </a:lnTo>
                <a:lnTo>
                  <a:pt x="54" y="216"/>
                </a:lnTo>
                <a:lnTo>
                  <a:pt x="54" y="204"/>
                </a:lnTo>
                <a:lnTo>
                  <a:pt x="54" y="198"/>
                </a:lnTo>
                <a:lnTo>
                  <a:pt x="60" y="192"/>
                </a:lnTo>
                <a:lnTo>
                  <a:pt x="72" y="192"/>
                </a:lnTo>
                <a:lnTo>
                  <a:pt x="84" y="186"/>
                </a:lnTo>
                <a:lnTo>
                  <a:pt x="90" y="186"/>
                </a:lnTo>
                <a:lnTo>
                  <a:pt x="90" y="174"/>
                </a:lnTo>
                <a:lnTo>
                  <a:pt x="84" y="162"/>
                </a:lnTo>
                <a:lnTo>
                  <a:pt x="84" y="150"/>
                </a:lnTo>
                <a:lnTo>
                  <a:pt x="84" y="126"/>
                </a:lnTo>
                <a:lnTo>
                  <a:pt x="84" y="114"/>
                </a:lnTo>
                <a:lnTo>
                  <a:pt x="90" y="102"/>
                </a:lnTo>
                <a:lnTo>
                  <a:pt x="96" y="96"/>
                </a:lnTo>
                <a:lnTo>
                  <a:pt x="108" y="96"/>
                </a:lnTo>
                <a:lnTo>
                  <a:pt x="120" y="90"/>
                </a:lnTo>
                <a:lnTo>
                  <a:pt x="126" y="78"/>
                </a:lnTo>
                <a:lnTo>
                  <a:pt x="138" y="66"/>
                </a:lnTo>
                <a:lnTo>
                  <a:pt x="138" y="48"/>
                </a:lnTo>
                <a:lnTo>
                  <a:pt x="138" y="42"/>
                </a:lnTo>
                <a:lnTo>
                  <a:pt x="126" y="30"/>
                </a:lnTo>
                <a:lnTo>
                  <a:pt x="120" y="18"/>
                </a:lnTo>
                <a:lnTo>
                  <a:pt x="132" y="12"/>
                </a:lnTo>
                <a:lnTo>
                  <a:pt x="144" y="0"/>
                </a:lnTo>
                <a:lnTo>
                  <a:pt x="150" y="6"/>
                </a:lnTo>
                <a:lnTo>
                  <a:pt x="162" y="6"/>
                </a:lnTo>
                <a:lnTo>
                  <a:pt x="174" y="6"/>
                </a:lnTo>
                <a:lnTo>
                  <a:pt x="168" y="54"/>
                </a:lnTo>
                <a:lnTo>
                  <a:pt x="162" y="48"/>
                </a:lnTo>
                <a:lnTo>
                  <a:pt x="156" y="48"/>
                </a:lnTo>
                <a:lnTo>
                  <a:pt x="156" y="54"/>
                </a:lnTo>
                <a:lnTo>
                  <a:pt x="162" y="54"/>
                </a:lnTo>
                <a:lnTo>
                  <a:pt x="162" y="60"/>
                </a:lnTo>
                <a:lnTo>
                  <a:pt x="168" y="60"/>
                </a:lnTo>
                <a:lnTo>
                  <a:pt x="174" y="60"/>
                </a:lnTo>
                <a:lnTo>
                  <a:pt x="168" y="66"/>
                </a:lnTo>
                <a:lnTo>
                  <a:pt x="174" y="66"/>
                </a:lnTo>
                <a:lnTo>
                  <a:pt x="174" y="72"/>
                </a:lnTo>
                <a:lnTo>
                  <a:pt x="174" y="78"/>
                </a:lnTo>
                <a:lnTo>
                  <a:pt x="168" y="72"/>
                </a:lnTo>
                <a:lnTo>
                  <a:pt x="156" y="150"/>
                </a:lnTo>
                <a:lnTo>
                  <a:pt x="168" y="144"/>
                </a:lnTo>
                <a:lnTo>
                  <a:pt x="180" y="150"/>
                </a:lnTo>
                <a:lnTo>
                  <a:pt x="186" y="150"/>
                </a:lnTo>
                <a:lnTo>
                  <a:pt x="186" y="144"/>
                </a:lnTo>
                <a:lnTo>
                  <a:pt x="192" y="150"/>
                </a:lnTo>
                <a:lnTo>
                  <a:pt x="222" y="150"/>
                </a:lnTo>
                <a:lnTo>
                  <a:pt x="222" y="168"/>
                </a:lnTo>
                <a:lnTo>
                  <a:pt x="222" y="186"/>
                </a:lnTo>
                <a:lnTo>
                  <a:pt x="234" y="198"/>
                </a:lnTo>
                <a:lnTo>
                  <a:pt x="234" y="234"/>
                </a:lnTo>
                <a:lnTo>
                  <a:pt x="228" y="270"/>
                </a:lnTo>
                <a:lnTo>
                  <a:pt x="246" y="282"/>
                </a:lnTo>
                <a:lnTo>
                  <a:pt x="258" y="294"/>
                </a:lnTo>
                <a:lnTo>
                  <a:pt x="270" y="300"/>
                </a:lnTo>
                <a:lnTo>
                  <a:pt x="294" y="300"/>
                </a:lnTo>
                <a:lnTo>
                  <a:pt x="288" y="306"/>
                </a:lnTo>
                <a:lnTo>
                  <a:pt x="300" y="312"/>
                </a:lnTo>
                <a:lnTo>
                  <a:pt x="306" y="318"/>
                </a:lnTo>
                <a:lnTo>
                  <a:pt x="324" y="324"/>
                </a:lnTo>
                <a:lnTo>
                  <a:pt x="354" y="318"/>
                </a:lnTo>
                <a:lnTo>
                  <a:pt x="354" y="312"/>
                </a:lnTo>
                <a:lnTo>
                  <a:pt x="366" y="312"/>
                </a:lnTo>
                <a:lnTo>
                  <a:pt x="384" y="312"/>
                </a:lnTo>
                <a:lnTo>
                  <a:pt x="390" y="306"/>
                </a:lnTo>
                <a:lnTo>
                  <a:pt x="396" y="306"/>
                </a:lnTo>
                <a:lnTo>
                  <a:pt x="408" y="306"/>
                </a:lnTo>
                <a:lnTo>
                  <a:pt x="426" y="312"/>
                </a:lnTo>
                <a:lnTo>
                  <a:pt x="456" y="324"/>
                </a:lnTo>
                <a:lnTo>
                  <a:pt x="504" y="330"/>
                </a:lnTo>
                <a:lnTo>
                  <a:pt x="510" y="336"/>
                </a:lnTo>
                <a:lnTo>
                  <a:pt x="534" y="336"/>
                </a:lnTo>
                <a:lnTo>
                  <a:pt x="540" y="336"/>
                </a:lnTo>
                <a:lnTo>
                  <a:pt x="546" y="324"/>
                </a:lnTo>
                <a:lnTo>
                  <a:pt x="558" y="330"/>
                </a:lnTo>
                <a:lnTo>
                  <a:pt x="564" y="330"/>
                </a:lnTo>
                <a:lnTo>
                  <a:pt x="570" y="354"/>
                </a:lnTo>
                <a:lnTo>
                  <a:pt x="564" y="378"/>
                </a:lnTo>
                <a:lnTo>
                  <a:pt x="558" y="396"/>
                </a:lnTo>
                <a:lnTo>
                  <a:pt x="546" y="414"/>
                </a:lnTo>
                <a:lnTo>
                  <a:pt x="546" y="438"/>
                </a:lnTo>
                <a:lnTo>
                  <a:pt x="540" y="456"/>
                </a:lnTo>
                <a:lnTo>
                  <a:pt x="540" y="474"/>
                </a:lnTo>
                <a:lnTo>
                  <a:pt x="528" y="480"/>
                </a:lnTo>
                <a:lnTo>
                  <a:pt x="522" y="492"/>
                </a:lnTo>
                <a:lnTo>
                  <a:pt x="504" y="498"/>
                </a:lnTo>
                <a:lnTo>
                  <a:pt x="498" y="498"/>
                </a:lnTo>
                <a:lnTo>
                  <a:pt x="492" y="504"/>
                </a:lnTo>
                <a:lnTo>
                  <a:pt x="486" y="510"/>
                </a:lnTo>
                <a:lnTo>
                  <a:pt x="480" y="510"/>
                </a:lnTo>
                <a:lnTo>
                  <a:pt x="480" y="516"/>
                </a:lnTo>
                <a:lnTo>
                  <a:pt x="474" y="522"/>
                </a:lnTo>
                <a:lnTo>
                  <a:pt x="474" y="528"/>
                </a:lnTo>
                <a:lnTo>
                  <a:pt x="474" y="534"/>
                </a:lnTo>
                <a:lnTo>
                  <a:pt x="480" y="540"/>
                </a:lnTo>
                <a:lnTo>
                  <a:pt x="492" y="540"/>
                </a:lnTo>
                <a:lnTo>
                  <a:pt x="498" y="546"/>
                </a:lnTo>
                <a:lnTo>
                  <a:pt x="504" y="552"/>
                </a:lnTo>
                <a:lnTo>
                  <a:pt x="510" y="552"/>
                </a:lnTo>
                <a:lnTo>
                  <a:pt x="516" y="558"/>
                </a:lnTo>
                <a:lnTo>
                  <a:pt x="528" y="558"/>
                </a:lnTo>
                <a:lnTo>
                  <a:pt x="534" y="552"/>
                </a:lnTo>
                <a:lnTo>
                  <a:pt x="540" y="552"/>
                </a:lnTo>
                <a:lnTo>
                  <a:pt x="546" y="552"/>
                </a:lnTo>
                <a:lnTo>
                  <a:pt x="558" y="546"/>
                </a:lnTo>
                <a:lnTo>
                  <a:pt x="564" y="540"/>
                </a:lnTo>
                <a:lnTo>
                  <a:pt x="564" y="546"/>
                </a:lnTo>
                <a:lnTo>
                  <a:pt x="570" y="546"/>
                </a:lnTo>
                <a:lnTo>
                  <a:pt x="570" y="540"/>
                </a:lnTo>
                <a:lnTo>
                  <a:pt x="570" y="546"/>
                </a:lnTo>
                <a:lnTo>
                  <a:pt x="576" y="546"/>
                </a:lnTo>
                <a:lnTo>
                  <a:pt x="582" y="546"/>
                </a:lnTo>
                <a:lnTo>
                  <a:pt x="588" y="540"/>
                </a:lnTo>
                <a:lnTo>
                  <a:pt x="594" y="546"/>
                </a:lnTo>
                <a:lnTo>
                  <a:pt x="606" y="546"/>
                </a:lnTo>
                <a:lnTo>
                  <a:pt x="612" y="546"/>
                </a:lnTo>
                <a:lnTo>
                  <a:pt x="612" y="552"/>
                </a:lnTo>
                <a:lnTo>
                  <a:pt x="618" y="552"/>
                </a:lnTo>
                <a:lnTo>
                  <a:pt x="624" y="552"/>
                </a:lnTo>
                <a:lnTo>
                  <a:pt x="630" y="552"/>
                </a:lnTo>
                <a:lnTo>
                  <a:pt x="648" y="546"/>
                </a:lnTo>
                <a:lnTo>
                  <a:pt x="654" y="546"/>
                </a:lnTo>
                <a:lnTo>
                  <a:pt x="654" y="552"/>
                </a:lnTo>
                <a:lnTo>
                  <a:pt x="660" y="558"/>
                </a:lnTo>
                <a:lnTo>
                  <a:pt x="666" y="564"/>
                </a:lnTo>
                <a:lnTo>
                  <a:pt x="672" y="564"/>
                </a:lnTo>
                <a:lnTo>
                  <a:pt x="678" y="564"/>
                </a:lnTo>
                <a:lnTo>
                  <a:pt x="696" y="576"/>
                </a:lnTo>
                <a:lnTo>
                  <a:pt x="696" y="582"/>
                </a:lnTo>
                <a:lnTo>
                  <a:pt x="708" y="588"/>
                </a:lnTo>
                <a:lnTo>
                  <a:pt x="708" y="594"/>
                </a:lnTo>
                <a:lnTo>
                  <a:pt x="720" y="606"/>
                </a:lnTo>
                <a:lnTo>
                  <a:pt x="720" y="618"/>
                </a:lnTo>
                <a:lnTo>
                  <a:pt x="720" y="624"/>
                </a:lnTo>
                <a:lnTo>
                  <a:pt x="726" y="630"/>
                </a:lnTo>
                <a:lnTo>
                  <a:pt x="732" y="636"/>
                </a:lnTo>
                <a:lnTo>
                  <a:pt x="732" y="642"/>
                </a:lnTo>
                <a:lnTo>
                  <a:pt x="732" y="648"/>
                </a:lnTo>
                <a:lnTo>
                  <a:pt x="726" y="654"/>
                </a:lnTo>
                <a:lnTo>
                  <a:pt x="720" y="660"/>
                </a:lnTo>
                <a:lnTo>
                  <a:pt x="714" y="666"/>
                </a:lnTo>
                <a:lnTo>
                  <a:pt x="714" y="672"/>
                </a:lnTo>
                <a:lnTo>
                  <a:pt x="714" y="678"/>
                </a:lnTo>
                <a:lnTo>
                  <a:pt x="720" y="678"/>
                </a:lnTo>
                <a:lnTo>
                  <a:pt x="720" y="684"/>
                </a:lnTo>
                <a:lnTo>
                  <a:pt x="714" y="690"/>
                </a:lnTo>
                <a:lnTo>
                  <a:pt x="714" y="696"/>
                </a:lnTo>
                <a:lnTo>
                  <a:pt x="714" y="702"/>
                </a:lnTo>
                <a:lnTo>
                  <a:pt x="714" y="708"/>
                </a:lnTo>
                <a:lnTo>
                  <a:pt x="720" y="708"/>
                </a:lnTo>
                <a:lnTo>
                  <a:pt x="720" y="720"/>
                </a:lnTo>
                <a:lnTo>
                  <a:pt x="720" y="726"/>
                </a:lnTo>
                <a:lnTo>
                  <a:pt x="726" y="726"/>
                </a:lnTo>
                <a:lnTo>
                  <a:pt x="726" y="732"/>
                </a:lnTo>
                <a:lnTo>
                  <a:pt x="732" y="732"/>
                </a:lnTo>
                <a:lnTo>
                  <a:pt x="732" y="738"/>
                </a:lnTo>
                <a:lnTo>
                  <a:pt x="726" y="738"/>
                </a:lnTo>
                <a:lnTo>
                  <a:pt x="720" y="738"/>
                </a:lnTo>
                <a:lnTo>
                  <a:pt x="720" y="744"/>
                </a:lnTo>
                <a:lnTo>
                  <a:pt x="720" y="750"/>
                </a:lnTo>
                <a:lnTo>
                  <a:pt x="714" y="750"/>
                </a:lnTo>
                <a:lnTo>
                  <a:pt x="714" y="756"/>
                </a:lnTo>
                <a:lnTo>
                  <a:pt x="720" y="756"/>
                </a:lnTo>
                <a:lnTo>
                  <a:pt x="714" y="762"/>
                </a:lnTo>
                <a:lnTo>
                  <a:pt x="720" y="762"/>
                </a:lnTo>
                <a:lnTo>
                  <a:pt x="726" y="768"/>
                </a:lnTo>
                <a:lnTo>
                  <a:pt x="726" y="774"/>
                </a:lnTo>
                <a:lnTo>
                  <a:pt x="732" y="774"/>
                </a:lnTo>
                <a:lnTo>
                  <a:pt x="732" y="780"/>
                </a:lnTo>
                <a:lnTo>
                  <a:pt x="726" y="780"/>
                </a:lnTo>
                <a:lnTo>
                  <a:pt x="726" y="786"/>
                </a:lnTo>
                <a:lnTo>
                  <a:pt x="720" y="786"/>
                </a:lnTo>
                <a:lnTo>
                  <a:pt x="726" y="786"/>
                </a:lnTo>
                <a:lnTo>
                  <a:pt x="732" y="780"/>
                </a:lnTo>
                <a:lnTo>
                  <a:pt x="738" y="780"/>
                </a:lnTo>
                <a:lnTo>
                  <a:pt x="744" y="780"/>
                </a:lnTo>
                <a:lnTo>
                  <a:pt x="744" y="786"/>
                </a:lnTo>
                <a:lnTo>
                  <a:pt x="750" y="786"/>
                </a:lnTo>
                <a:lnTo>
                  <a:pt x="744" y="786"/>
                </a:lnTo>
                <a:lnTo>
                  <a:pt x="744" y="792"/>
                </a:lnTo>
                <a:lnTo>
                  <a:pt x="744" y="786"/>
                </a:lnTo>
                <a:lnTo>
                  <a:pt x="738" y="792"/>
                </a:lnTo>
                <a:lnTo>
                  <a:pt x="744" y="792"/>
                </a:lnTo>
                <a:lnTo>
                  <a:pt x="750" y="792"/>
                </a:lnTo>
                <a:lnTo>
                  <a:pt x="750" y="786"/>
                </a:lnTo>
                <a:lnTo>
                  <a:pt x="756" y="786"/>
                </a:lnTo>
                <a:lnTo>
                  <a:pt x="756" y="792"/>
                </a:lnTo>
                <a:lnTo>
                  <a:pt x="762" y="792"/>
                </a:lnTo>
                <a:lnTo>
                  <a:pt x="756" y="798"/>
                </a:lnTo>
                <a:lnTo>
                  <a:pt x="756" y="804"/>
                </a:lnTo>
                <a:lnTo>
                  <a:pt x="756" y="810"/>
                </a:lnTo>
                <a:lnTo>
                  <a:pt x="750" y="810"/>
                </a:lnTo>
                <a:lnTo>
                  <a:pt x="756" y="810"/>
                </a:lnTo>
                <a:lnTo>
                  <a:pt x="756" y="804"/>
                </a:lnTo>
                <a:lnTo>
                  <a:pt x="756" y="810"/>
                </a:lnTo>
                <a:lnTo>
                  <a:pt x="756" y="816"/>
                </a:lnTo>
                <a:lnTo>
                  <a:pt x="750" y="816"/>
                </a:lnTo>
                <a:lnTo>
                  <a:pt x="738" y="810"/>
                </a:lnTo>
                <a:lnTo>
                  <a:pt x="732" y="810"/>
                </a:lnTo>
                <a:lnTo>
                  <a:pt x="732" y="816"/>
                </a:lnTo>
                <a:lnTo>
                  <a:pt x="726" y="810"/>
                </a:lnTo>
                <a:lnTo>
                  <a:pt x="714" y="816"/>
                </a:lnTo>
                <a:lnTo>
                  <a:pt x="708" y="816"/>
                </a:lnTo>
                <a:lnTo>
                  <a:pt x="702" y="816"/>
                </a:lnTo>
                <a:lnTo>
                  <a:pt x="696" y="816"/>
                </a:lnTo>
                <a:lnTo>
                  <a:pt x="690" y="822"/>
                </a:lnTo>
                <a:lnTo>
                  <a:pt x="684" y="822"/>
                </a:lnTo>
                <a:lnTo>
                  <a:pt x="678" y="822"/>
                </a:lnTo>
                <a:lnTo>
                  <a:pt x="672" y="822"/>
                </a:lnTo>
                <a:lnTo>
                  <a:pt x="666" y="822"/>
                </a:lnTo>
                <a:lnTo>
                  <a:pt x="666" y="828"/>
                </a:lnTo>
                <a:lnTo>
                  <a:pt x="654" y="828"/>
                </a:lnTo>
                <a:lnTo>
                  <a:pt x="648" y="828"/>
                </a:lnTo>
                <a:lnTo>
                  <a:pt x="642" y="828"/>
                </a:lnTo>
                <a:lnTo>
                  <a:pt x="630" y="828"/>
                </a:lnTo>
                <a:lnTo>
                  <a:pt x="624" y="822"/>
                </a:lnTo>
                <a:lnTo>
                  <a:pt x="618" y="822"/>
                </a:lnTo>
                <a:lnTo>
                  <a:pt x="612" y="822"/>
                </a:lnTo>
                <a:lnTo>
                  <a:pt x="606" y="822"/>
                </a:lnTo>
                <a:lnTo>
                  <a:pt x="600" y="822"/>
                </a:lnTo>
                <a:lnTo>
                  <a:pt x="594" y="822"/>
                </a:lnTo>
                <a:lnTo>
                  <a:pt x="594" y="816"/>
                </a:lnTo>
                <a:lnTo>
                  <a:pt x="594" y="810"/>
                </a:lnTo>
                <a:lnTo>
                  <a:pt x="600" y="804"/>
                </a:lnTo>
                <a:lnTo>
                  <a:pt x="600" y="798"/>
                </a:lnTo>
                <a:lnTo>
                  <a:pt x="600" y="792"/>
                </a:lnTo>
                <a:lnTo>
                  <a:pt x="606" y="792"/>
                </a:lnTo>
                <a:lnTo>
                  <a:pt x="612" y="792"/>
                </a:lnTo>
                <a:lnTo>
                  <a:pt x="612" y="786"/>
                </a:lnTo>
                <a:lnTo>
                  <a:pt x="618" y="786"/>
                </a:lnTo>
                <a:lnTo>
                  <a:pt x="624" y="786"/>
                </a:lnTo>
                <a:lnTo>
                  <a:pt x="624" y="780"/>
                </a:lnTo>
                <a:lnTo>
                  <a:pt x="630" y="780"/>
                </a:lnTo>
                <a:lnTo>
                  <a:pt x="630" y="774"/>
                </a:lnTo>
                <a:lnTo>
                  <a:pt x="636" y="774"/>
                </a:lnTo>
                <a:lnTo>
                  <a:pt x="642" y="780"/>
                </a:lnTo>
                <a:lnTo>
                  <a:pt x="642" y="786"/>
                </a:lnTo>
                <a:lnTo>
                  <a:pt x="642" y="792"/>
                </a:lnTo>
                <a:lnTo>
                  <a:pt x="648" y="792"/>
                </a:lnTo>
                <a:lnTo>
                  <a:pt x="648" y="786"/>
                </a:lnTo>
                <a:lnTo>
                  <a:pt x="642" y="786"/>
                </a:lnTo>
                <a:lnTo>
                  <a:pt x="642" y="780"/>
                </a:lnTo>
                <a:lnTo>
                  <a:pt x="642" y="774"/>
                </a:lnTo>
                <a:lnTo>
                  <a:pt x="648" y="768"/>
                </a:lnTo>
                <a:lnTo>
                  <a:pt x="642" y="768"/>
                </a:lnTo>
                <a:lnTo>
                  <a:pt x="648" y="768"/>
                </a:lnTo>
                <a:lnTo>
                  <a:pt x="648" y="762"/>
                </a:lnTo>
                <a:lnTo>
                  <a:pt x="654" y="762"/>
                </a:lnTo>
                <a:lnTo>
                  <a:pt x="660" y="762"/>
                </a:lnTo>
                <a:lnTo>
                  <a:pt x="654" y="762"/>
                </a:lnTo>
                <a:lnTo>
                  <a:pt x="660" y="762"/>
                </a:lnTo>
                <a:lnTo>
                  <a:pt x="666" y="762"/>
                </a:lnTo>
                <a:lnTo>
                  <a:pt x="672" y="756"/>
                </a:lnTo>
                <a:lnTo>
                  <a:pt x="666" y="756"/>
                </a:lnTo>
                <a:lnTo>
                  <a:pt x="660" y="756"/>
                </a:lnTo>
                <a:lnTo>
                  <a:pt x="660" y="750"/>
                </a:lnTo>
                <a:lnTo>
                  <a:pt x="654" y="750"/>
                </a:lnTo>
                <a:lnTo>
                  <a:pt x="648" y="750"/>
                </a:lnTo>
                <a:lnTo>
                  <a:pt x="648" y="756"/>
                </a:lnTo>
                <a:lnTo>
                  <a:pt x="642" y="756"/>
                </a:lnTo>
                <a:lnTo>
                  <a:pt x="642" y="750"/>
                </a:lnTo>
                <a:lnTo>
                  <a:pt x="642" y="744"/>
                </a:lnTo>
                <a:lnTo>
                  <a:pt x="642" y="750"/>
                </a:lnTo>
                <a:lnTo>
                  <a:pt x="636" y="750"/>
                </a:lnTo>
                <a:lnTo>
                  <a:pt x="636" y="744"/>
                </a:lnTo>
                <a:lnTo>
                  <a:pt x="630" y="744"/>
                </a:lnTo>
                <a:lnTo>
                  <a:pt x="630" y="738"/>
                </a:lnTo>
                <a:lnTo>
                  <a:pt x="630" y="744"/>
                </a:lnTo>
                <a:lnTo>
                  <a:pt x="630" y="750"/>
                </a:lnTo>
                <a:lnTo>
                  <a:pt x="636" y="750"/>
                </a:lnTo>
                <a:lnTo>
                  <a:pt x="636" y="756"/>
                </a:lnTo>
                <a:lnTo>
                  <a:pt x="630" y="756"/>
                </a:lnTo>
                <a:lnTo>
                  <a:pt x="636" y="762"/>
                </a:lnTo>
                <a:lnTo>
                  <a:pt x="630" y="762"/>
                </a:lnTo>
                <a:lnTo>
                  <a:pt x="624" y="762"/>
                </a:lnTo>
                <a:lnTo>
                  <a:pt x="624" y="774"/>
                </a:lnTo>
                <a:lnTo>
                  <a:pt x="624" y="780"/>
                </a:lnTo>
                <a:lnTo>
                  <a:pt x="624" y="786"/>
                </a:lnTo>
                <a:lnTo>
                  <a:pt x="618" y="786"/>
                </a:lnTo>
                <a:lnTo>
                  <a:pt x="618" y="780"/>
                </a:lnTo>
                <a:lnTo>
                  <a:pt x="618" y="786"/>
                </a:lnTo>
                <a:lnTo>
                  <a:pt x="612" y="780"/>
                </a:lnTo>
                <a:lnTo>
                  <a:pt x="612" y="774"/>
                </a:lnTo>
                <a:lnTo>
                  <a:pt x="612" y="780"/>
                </a:lnTo>
                <a:lnTo>
                  <a:pt x="606" y="780"/>
                </a:lnTo>
                <a:lnTo>
                  <a:pt x="600" y="780"/>
                </a:lnTo>
                <a:lnTo>
                  <a:pt x="600" y="774"/>
                </a:lnTo>
                <a:lnTo>
                  <a:pt x="594" y="768"/>
                </a:lnTo>
                <a:lnTo>
                  <a:pt x="594" y="762"/>
                </a:lnTo>
                <a:lnTo>
                  <a:pt x="594" y="756"/>
                </a:lnTo>
                <a:lnTo>
                  <a:pt x="594" y="762"/>
                </a:lnTo>
                <a:lnTo>
                  <a:pt x="594" y="768"/>
                </a:lnTo>
                <a:lnTo>
                  <a:pt x="594" y="774"/>
                </a:lnTo>
                <a:lnTo>
                  <a:pt x="594" y="780"/>
                </a:lnTo>
                <a:lnTo>
                  <a:pt x="588" y="780"/>
                </a:lnTo>
                <a:lnTo>
                  <a:pt x="582" y="780"/>
                </a:lnTo>
                <a:lnTo>
                  <a:pt x="576" y="780"/>
                </a:lnTo>
                <a:lnTo>
                  <a:pt x="570" y="780"/>
                </a:lnTo>
                <a:lnTo>
                  <a:pt x="564" y="780"/>
                </a:lnTo>
                <a:lnTo>
                  <a:pt x="564" y="786"/>
                </a:lnTo>
                <a:lnTo>
                  <a:pt x="558" y="786"/>
                </a:lnTo>
                <a:lnTo>
                  <a:pt x="552" y="786"/>
                </a:lnTo>
                <a:lnTo>
                  <a:pt x="552" y="780"/>
                </a:lnTo>
                <a:lnTo>
                  <a:pt x="552" y="774"/>
                </a:lnTo>
                <a:lnTo>
                  <a:pt x="552" y="768"/>
                </a:lnTo>
                <a:lnTo>
                  <a:pt x="546" y="768"/>
                </a:lnTo>
                <a:lnTo>
                  <a:pt x="540" y="762"/>
                </a:lnTo>
                <a:lnTo>
                  <a:pt x="540" y="756"/>
                </a:lnTo>
                <a:lnTo>
                  <a:pt x="534" y="756"/>
                </a:lnTo>
                <a:lnTo>
                  <a:pt x="534" y="750"/>
                </a:lnTo>
                <a:lnTo>
                  <a:pt x="534" y="744"/>
                </a:lnTo>
                <a:lnTo>
                  <a:pt x="528" y="738"/>
                </a:lnTo>
                <a:lnTo>
                  <a:pt x="522" y="738"/>
                </a:lnTo>
                <a:lnTo>
                  <a:pt x="522" y="732"/>
                </a:lnTo>
                <a:lnTo>
                  <a:pt x="510" y="726"/>
                </a:lnTo>
                <a:lnTo>
                  <a:pt x="510" y="720"/>
                </a:lnTo>
                <a:lnTo>
                  <a:pt x="504" y="720"/>
                </a:lnTo>
                <a:lnTo>
                  <a:pt x="504" y="714"/>
                </a:lnTo>
                <a:lnTo>
                  <a:pt x="504" y="708"/>
                </a:lnTo>
                <a:lnTo>
                  <a:pt x="498" y="708"/>
                </a:lnTo>
                <a:lnTo>
                  <a:pt x="498" y="702"/>
                </a:lnTo>
                <a:lnTo>
                  <a:pt x="498" y="696"/>
                </a:lnTo>
                <a:lnTo>
                  <a:pt x="492" y="690"/>
                </a:lnTo>
                <a:lnTo>
                  <a:pt x="492" y="684"/>
                </a:lnTo>
                <a:lnTo>
                  <a:pt x="486" y="684"/>
                </a:lnTo>
                <a:lnTo>
                  <a:pt x="486" y="690"/>
                </a:lnTo>
                <a:lnTo>
                  <a:pt x="480" y="684"/>
                </a:lnTo>
                <a:lnTo>
                  <a:pt x="480" y="678"/>
                </a:lnTo>
                <a:lnTo>
                  <a:pt x="474" y="678"/>
                </a:lnTo>
                <a:lnTo>
                  <a:pt x="468" y="678"/>
                </a:lnTo>
                <a:lnTo>
                  <a:pt x="462" y="678"/>
                </a:lnTo>
                <a:lnTo>
                  <a:pt x="462" y="672"/>
                </a:lnTo>
                <a:lnTo>
                  <a:pt x="456" y="672"/>
                </a:lnTo>
                <a:lnTo>
                  <a:pt x="450" y="672"/>
                </a:lnTo>
                <a:lnTo>
                  <a:pt x="450" y="666"/>
                </a:lnTo>
                <a:lnTo>
                  <a:pt x="444" y="666"/>
                </a:lnTo>
                <a:lnTo>
                  <a:pt x="438" y="660"/>
                </a:lnTo>
                <a:lnTo>
                  <a:pt x="438" y="648"/>
                </a:lnTo>
                <a:lnTo>
                  <a:pt x="438" y="642"/>
                </a:lnTo>
                <a:lnTo>
                  <a:pt x="438" y="636"/>
                </a:lnTo>
                <a:lnTo>
                  <a:pt x="432" y="636"/>
                </a:lnTo>
                <a:lnTo>
                  <a:pt x="432" y="630"/>
                </a:lnTo>
                <a:lnTo>
                  <a:pt x="432" y="636"/>
                </a:lnTo>
                <a:lnTo>
                  <a:pt x="426" y="636"/>
                </a:lnTo>
                <a:lnTo>
                  <a:pt x="420" y="636"/>
                </a:lnTo>
                <a:lnTo>
                  <a:pt x="420" y="642"/>
                </a:lnTo>
                <a:lnTo>
                  <a:pt x="426" y="642"/>
                </a:lnTo>
                <a:lnTo>
                  <a:pt x="432" y="642"/>
                </a:lnTo>
                <a:lnTo>
                  <a:pt x="432" y="648"/>
                </a:lnTo>
                <a:lnTo>
                  <a:pt x="432" y="654"/>
                </a:lnTo>
                <a:lnTo>
                  <a:pt x="432" y="660"/>
                </a:lnTo>
                <a:lnTo>
                  <a:pt x="432" y="666"/>
                </a:lnTo>
                <a:lnTo>
                  <a:pt x="438" y="666"/>
                </a:lnTo>
                <a:lnTo>
                  <a:pt x="438" y="672"/>
                </a:lnTo>
                <a:lnTo>
                  <a:pt x="444" y="672"/>
                </a:lnTo>
                <a:lnTo>
                  <a:pt x="444" y="678"/>
                </a:lnTo>
                <a:lnTo>
                  <a:pt x="450" y="678"/>
                </a:lnTo>
                <a:lnTo>
                  <a:pt x="456" y="678"/>
                </a:lnTo>
                <a:lnTo>
                  <a:pt x="456" y="684"/>
                </a:lnTo>
                <a:lnTo>
                  <a:pt x="462" y="684"/>
                </a:lnTo>
                <a:lnTo>
                  <a:pt x="468" y="684"/>
                </a:lnTo>
                <a:lnTo>
                  <a:pt x="468" y="690"/>
                </a:lnTo>
                <a:lnTo>
                  <a:pt x="474" y="690"/>
                </a:lnTo>
                <a:lnTo>
                  <a:pt x="480" y="690"/>
                </a:lnTo>
                <a:lnTo>
                  <a:pt x="480" y="696"/>
                </a:lnTo>
                <a:lnTo>
                  <a:pt x="486" y="702"/>
                </a:lnTo>
                <a:lnTo>
                  <a:pt x="486" y="708"/>
                </a:lnTo>
                <a:lnTo>
                  <a:pt x="492" y="714"/>
                </a:lnTo>
                <a:lnTo>
                  <a:pt x="492" y="720"/>
                </a:lnTo>
                <a:lnTo>
                  <a:pt x="492" y="726"/>
                </a:lnTo>
                <a:lnTo>
                  <a:pt x="498" y="732"/>
                </a:lnTo>
                <a:lnTo>
                  <a:pt x="492" y="738"/>
                </a:lnTo>
                <a:lnTo>
                  <a:pt x="492" y="744"/>
                </a:lnTo>
                <a:lnTo>
                  <a:pt x="492" y="750"/>
                </a:lnTo>
                <a:lnTo>
                  <a:pt x="486" y="750"/>
                </a:lnTo>
                <a:lnTo>
                  <a:pt x="480" y="750"/>
                </a:lnTo>
                <a:lnTo>
                  <a:pt x="480" y="744"/>
                </a:lnTo>
                <a:lnTo>
                  <a:pt x="474" y="744"/>
                </a:lnTo>
                <a:lnTo>
                  <a:pt x="474" y="738"/>
                </a:lnTo>
                <a:lnTo>
                  <a:pt x="468" y="738"/>
                </a:lnTo>
                <a:lnTo>
                  <a:pt x="468" y="744"/>
                </a:lnTo>
                <a:lnTo>
                  <a:pt x="474" y="750"/>
                </a:lnTo>
                <a:lnTo>
                  <a:pt x="480" y="756"/>
                </a:lnTo>
                <a:lnTo>
                  <a:pt x="486" y="756"/>
                </a:lnTo>
                <a:lnTo>
                  <a:pt x="492" y="762"/>
                </a:lnTo>
                <a:lnTo>
                  <a:pt x="498" y="768"/>
                </a:lnTo>
                <a:lnTo>
                  <a:pt x="492" y="774"/>
                </a:lnTo>
                <a:lnTo>
                  <a:pt x="492" y="780"/>
                </a:lnTo>
                <a:lnTo>
                  <a:pt x="498" y="780"/>
                </a:lnTo>
                <a:lnTo>
                  <a:pt x="492" y="786"/>
                </a:lnTo>
                <a:lnTo>
                  <a:pt x="492" y="792"/>
                </a:lnTo>
                <a:lnTo>
                  <a:pt x="492" y="798"/>
                </a:lnTo>
                <a:lnTo>
                  <a:pt x="486" y="804"/>
                </a:lnTo>
                <a:lnTo>
                  <a:pt x="480" y="804"/>
                </a:lnTo>
                <a:lnTo>
                  <a:pt x="480" y="810"/>
                </a:lnTo>
                <a:lnTo>
                  <a:pt x="480" y="804"/>
                </a:lnTo>
                <a:lnTo>
                  <a:pt x="474" y="804"/>
                </a:lnTo>
                <a:lnTo>
                  <a:pt x="474" y="798"/>
                </a:lnTo>
                <a:lnTo>
                  <a:pt x="474" y="804"/>
                </a:lnTo>
                <a:lnTo>
                  <a:pt x="468" y="804"/>
                </a:lnTo>
                <a:lnTo>
                  <a:pt x="468" y="810"/>
                </a:lnTo>
                <a:lnTo>
                  <a:pt x="462" y="810"/>
                </a:lnTo>
                <a:lnTo>
                  <a:pt x="456" y="810"/>
                </a:lnTo>
                <a:lnTo>
                  <a:pt x="450" y="810"/>
                </a:lnTo>
                <a:lnTo>
                  <a:pt x="450" y="816"/>
                </a:lnTo>
                <a:lnTo>
                  <a:pt x="456" y="816"/>
                </a:lnTo>
                <a:lnTo>
                  <a:pt x="456" y="822"/>
                </a:lnTo>
                <a:lnTo>
                  <a:pt x="450" y="822"/>
                </a:lnTo>
                <a:lnTo>
                  <a:pt x="450" y="816"/>
                </a:lnTo>
                <a:lnTo>
                  <a:pt x="444" y="816"/>
                </a:lnTo>
                <a:lnTo>
                  <a:pt x="438" y="810"/>
                </a:lnTo>
                <a:lnTo>
                  <a:pt x="432" y="810"/>
                </a:lnTo>
                <a:lnTo>
                  <a:pt x="426" y="804"/>
                </a:lnTo>
                <a:lnTo>
                  <a:pt x="426" y="798"/>
                </a:lnTo>
                <a:lnTo>
                  <a:pt x="420" y="798"/>
                </a:lnTo>
                <a:lnTo>
                  <a:pt x="426" y="798"/>
                </a:lnTo>
                <a:lnTo>
                  <a:pt x="426" y="792"/>
                </a:lnTo>
                <a:lnTo>
                  <a:pt x="426" y="786"/>
                </a:lnTo>
                <a:lnTo>
                  <a:pt x="432" y="786"/>
                </a:lnTo>
                <a:lnTo>
                  <a:pt x="432" y="780"/>
                </a:lnTo>
                <a:lnTo>
                  <a:pt x="426" y="774"/>
                </a:lnTo>
                <a:lnTo>
                  <a:pt x="420" y="768"/>
                </a:lnTo>
                <a:lnTo>
                  <a:pt x="420" y="762"/>
                </a:lnTo>
                <a:lnTo>
                  <a:pt x="420" y="756"/>
                </a:lnTo>
                <a:lnTo>
                  <a:pt x="420" y="750"/>
                </a:lnTo>
                <a:lnTo>
                  <a:pt x="414" y="750"/>
                </a:lnTo>
                <a:lnTo>
                  <a:pt x="420" y="750"/>
                </a:lnTo>
                <a:lnTo>
                  <a:pt x="420" y="744"/>
                </a:lnTo>
                <a:lnTo>
                  <a:pt x="414" y="744"/>
                </a:lnTo>
                <a:lnTo>
                  <a:pt x="414" y="738"/>
                </a:lnTo>
                <a:lnTo>
                  <a:pt x="414" y="732"/>
                </a:lnTo>
                <a:lnTo>
                  <a:pt x="408" y="732"/>
                </a:lnTo>
                <a:lnTo>
                  <a:pt x="408" y="726"/>
                </a:lnTo>
                <a:lnTo>
                  <a:pt x="402" y="726"/>
                </a:lnTo>
                <a:lnTo>
                  <a:pt x="396" y="726"/>
                </a:lnTo>
                <a:lnTo>
                  <a:pt x="390" y="726"/>
                </a:lnTo>
                <a:lnTo>
                  <a:pt x="390" y="720"/>
                </a:lnTo>
                <a:lnTo>
                  <a:pt x="390" y="714"/>
                </a:lnTo>
                <a:lnTo>
                  <a:pt x="384" y="708"/>
                </a:lnTo>
                <a:lnTo>
                  <a:pt x="384" y="702"/>
                </a:lnTo>
                <a:lnTo>
                  <a:pt x="378" y="702"/>
                </a:lnTo>
                <a:lnTo>
                  <a:pt x="378" y="696"/>
                </a:lnTo>
                <a:lnTo>
                  <a:pt x="378" y="690"/>
                </a:lnTo>
                <a:lnTo>
                  <a:pt x="372" y="684"/>
                </a:lnTo>
                <a:lnTo>
                  <a:pt x="372" y="678"/>
                </a:lnTo>
                <a:lnTo>
                  <a:pt x="372" y="672"/>
                </a:lnTo>
                <a:lnTo>
                  <a:pt x="366" y="672"/>
                </a:lnTo>
                <a:lnTo>
                  <a:pt x="366" y="666"/>
                </a:lnTo>
                <a:lnTo>
                  <a:pt x="366" y="660"/>
                </a:lnTo>
                <a:lnTo>
                  <a:pt x="366" y="654"/>
                </a:lnTo>
                <a:lnTo>
                  <a:pt x="360" y="648"/>
                </a:lnTo>
                <a:lnTo>
                  <a:pt x="360" y="654"/>
                </a:lnTo>
                <a:lnTo>
                  <a:pt x="360" y="660"/>
                </a:lnTo>
                <a:lnTo>
                  <a:pt x="360" y="666"/>
                </a:lnTo>
                <a:lnTo>
                  <a:pt x="360" y="672"/>
                </a:lnTo>
                <a:lnTo>
                  <a:pt x="360" y="678"/>
                </a:lnTo>
                <a:lnTo>
                  <a:pt x="366" y="678"/>
                </a:lnTo>
                <a:lnTo>
                  <a:pt x="366" y="684"/>
                </a:lnTo>
                <a:lnTo>
                  <a:pt x="366" y="690"/>
                </a:lnTo>
                <a:lnTo>
                  <a:pt x="372" y="696"/>
                </a:lnTo>
                <a:lnTo>
                  <a:pt x="372" y="702"/>
                </a:lnTo>
                <a:lnTo>
                  <a:pt x="372" y="708"/>
                </a:lnTo>
                <a:lnTo>
                  <a:pt x="372" y="714"/>
                </a:lnTo>
                <a:lnTo>
                  <a:pt x="366" y="714"/>
                </a:lnTo>
                <a:lnTo>
                  <a:pt x="360" y="714"/>
                </a:lnTo>
                <a:lnTo>
                  <a:pt x="354" y="714"/>
                </a:lnTo>
                <a:lnTo>
                  <a:pt x="348" y="714"/>
                </a:lnTo>
                <a:lnTo>
                  <a:pt x="348" y="708"/>
                </a:lnTo>
                <a:lnTo>
                  <a:pt x="342" y="708"/>
                </a:lnTo>
                <a:lnTo>
                  <a:pt x="342" y="702"/>
                </a:lnTo>
                <a:lnTo>
                  <a:pt x="342" y="696"/>
                </a:lnTo>
                <a:lnTo>
                  <a:pt x="336" y="696"/>
                </a:lnTo>
                <a:lnTo>
                  <a:pt x="336" y="690"/>
                </a:lnTo>
                <a:lnTo>
                  <a:pt x="336" y="684"/>
                </a:lnTo>
                <a:lnTo>
                  <a:pt x="330" y="684"/>
                </a:lnTo>
                <a:lnTo>
                  <a:pt x="330" y="678"/>
                </a:lnTo>
                <a:lnTo>
                  <a:pt x="324" y="672"/>
                </a:lnTo>
                <a:lnTo>
                  <a:pt x="324" y="666"/>
                </a:lnTo>
                <a:lnTo>
                  <a:pt x="318" y="666"/>
                </a:lnTo>
                <a:lnTo>
                  <a:pt x="318" y="672"/>
                </a:lnTo>
                <a:lnTo>
                  <a:pt x="324" y="672"/>
                </a:lnTo>
                <a:lnTo>
                  <a:pt x="324" y="678"/>
                </a:lnTo>
                <a:lnTo>
                  <a:pt x="324" y="684"/>
                </a:lnTo>
                <a:lnTo>
                  <a:pt x="330" y="684"/>
                </a:lnTo>
                <a:lnTo>
                  <a:pt x="330" y="690"/>
                </a:lnTo>
                <a:lnTo>
                  <a:pt x="330" y="696"/>
                </a:lnTo>
                <a:lnTo>
                  <a:pt x="336" y="702"/>
                </a:lnTo>
                <a:lnTo>
                  <a:pt x="342" y="708"/>
                </a:lnTo>
                <a:lnTo>
                  <a:pt x="342" y="714"/>
                </a:lnTo>
                <a:lnTo>
                  <a:pt x="348" y="720"/>
                </a:lnTo>
                <a:lnTo>
                  <a:pt x="342" y="720"/>
                </a:lnTo>
                <a:lnTo>
                  <a:pt x="336" y="720"/>
                </a:lnTo>
                <a:lnTo>
                  <a:pt x="330" y="720"/>
                </a:lnTo>
                <a:lnTo>
                  <a:pt x="330" y="726"/>
                </a:lnTo>
                <a:lnTo>
                  <a:pt x="336" y="726"/>
                </a:lnTo>
                <a:lnTo>
                  <a:pt x="330" y="732"/>
                </a:lnTo>
                <a:lnTo>
                  <a:pt x="330" y="738"/>
                </a:lnTo>
                <a:lnTo>
                  <a:pt x="330" y="744"/>
                </a:lnTo>
                <a:lnTo>
                  <a:pt x="336" y="744"/>
                </a:lnTo>
                <a:lnTo>
                  <a:pt x="342" y="744"/>
                </a:lnTo>
                <a:lnTo>
                  <a:pt x="348" y="744"/>
                </a:lnTo>
                <a:lnTo>
                  <a:pt x="348" y="750"/>
                </a:lnTo>
                <a:lnTo>
                  <a:pt x="354" y="750"/>
                </a:lnTo>
                <a:lnTo>
                  <a:pt x="360" y="756"/>
                </a:lnTo>
                <a:lnTo>
                  <a:pt x="360" y="762"/>
                </a:lnTo>
                <a:lnTo>
                  <a:pt x="366" y="762"/>
                </a:lnTo>
                <a:lnTo>
                  <a:pt x="366" y="768"/>
                </a:lnTo>
                <a:lnTo>
                  <a:pt x="366" y="774"/>
                </a:lnTo>
                <a:lnTo>
                  <a:pt x="366" y="780"/>
                </a:lnTo>
                <a:lnTo>
                  <a:pt x="366" y="786"/>
                </a:lnTo>
                <a:lnTo>
                  <a:pt x="366" y="780"/>
                </a:lnTo>
                <a:lnTo>
                  <a:pt x="366" y="786"/>
                </a:lnTo>
                <a:lnTo>
                  <a:pt x="372" y="792"/>
                </a:lnTo>
                <a:lnTo>
                  <a:pt x="372" y="798"/>
                </a:lnTo>
                <a:lnTo>
                  <a:pt x="372" y="804"/>
                </a:lnTo>
                <a:lnTo>
                  <a:pt x="378" y="804"/>
                </a:lnTo>
                <a:lnTo>
                  <a:pt x="378" y="810"/>
                </a:lnTo>
                <a:lnTo>
                  <a:pt x="378" y="816"/>
                </a:lnTo>
                <a:lnTo>
                  <a:pt x="372" y="816"/>
                </a:lnTo>
                <a:lnTo>
                  <a:pt x="378" y="816"/>
                </a:lnTo>
                <a:lnTo>
                  <a:pt x="378" y="822"/>
                </a:lnTo>
                <a:lnTo>
                  <a:pt x="378" y="828"/>
                </a:lnTo>
                <a:lnTo>
                  <a:pt x="378" y="834"/>
                </a:lnTo>
                <a:lnTo>
                  <a:pt x="384" y="834"/>
                </a:lnTo>
                <a:lnTo>
                  <a:pt x="384" y="840"/>
                </a:lnTo>
                <a:lnTo>
                  <a:pt x="390" y="840"/>
                </a:lnTo>
                <a:lnTo>
                  <a:pt x="390" y="846"/>
                </a:lnTo>
                <a:lnTo>
                  <a:pt x="396" y="846"/>
                </a:lnTo>
                <a:lnTo>
                  <a:pt x="396" y="852"/>
                </a:lnTo>
                <a:lnTo>
                  <a:pt x="396" y="858"/>
                </a:lnTo>
                <a:lnTo>
                  <a:pt x="396" y="852"/>
                </a:lnTo>
                <a:lnTo>
                  <a:pt x="396" y="858"/>
                </a:lnTo>
                <a:lnTo>
                  <a:pt x="390" y="864"/>
                </a:lnTo>
                <a:lnTo>
                  <a:pt x="384" y="864"/>
                </a:lnTo>
                <a:lnTo>
                  <a:pt x="384" y="870"/>
                </a:lnTo>
                <a:lnTo>
                  <a:pt x="378" y="864"/>
                </a:lnTo>
                <a:lnTo>
                  <a:pt x="372" y="864"/>
                </a:lnTo>
                <a:lnTo>
                  <a:pt x="366" y="858"/>
                </a:lnTo>
                <a:lnTo>
                  <a:pt x="366" y="852"/>
                </a:lnTo>
                <a:lnTo>
                  <a:pt x="360" y="852"/>
                </a:lnTo>
                <a:lnTo>
                  <a:pt x="360" y="858"/>
                </a:lnTo>
                <a:lnTo>
                  <a:pt x="366" y="858"/>
                </a:lnTo>
                <a:lnTo>
                  <a:pt x="366" y="864"/>
                </a:lnTo>
                <a:lnTo>
                  <a:pt x="360" y="864"/>
                </a:lnTo>
                <a:lnTo>
                  <a:pt x="354" y="864"/>
                </a:lnTo>
                <a:lnTo>
                  <a:pt x="354" y="870"/>
                </a:lnTo>
                <a:lnTo>
                  <a:pt x="354" y="864"/>
                </a:lnTo>
                <a:lnTo>
                  <a:pt x="348" y="864"/>
                </a:lnTo>
                <a:lnTo>
                  <a:pt x="342" y="864"/>
                </a:lnTo>
                <a:lnTo>
                  <a:pt x="342" y="858"/>
                </a:lnTo>
                <a:lnTo>
                  <a:pt x="336" y="858"/>
                </a:lnTo>
                <a:lnTo>
                  <a:pt x="330" y="858"/>
                </a:lnTo>
                <a:lnTo>
                  <a:pt x="324" y="858"/>
                </a:lnTo>
                <a:lnTo>
                  <a:pt x="318" y="858"/>
                </a:lnTo>
                <a:lnTo>
                  <a:pt x="312" y="852"/>
                </a:lnTo>
                <a:lnTo>
                  <a:pt x="306" y="852"/>
                </a:lnTo>
                <a:lnTo>
                  <a:pt x="300" y="852"/>
                </a:lnTo>
                <a:lnTo>
                  <a:pt x="294" y="852"/>
                </a:lnTo>
                <a:lnTo>
                  <a:pt x="294" y="846"/>
                </a:lnTo>
                <a:lnTo>
                  <a:pt x="288" y="840"/>
                </a:lnTo>
                <a:lnTo>
                  <a:pt x="288" y="828"/>
                </a:lnTo>
                <a:lnTo>
                  <a:pt x="288" y="822"/>
                </a:lnTo>
                <a:lnTo>
                  <a:pt x="282" y="822"/>
                </a:lnTo>
                <a:lnTo>
                  <a:pt x="288" y="822"/>
                </a:lnTo>
                <a:lnTo>
                  <a:pt x="282" y="822"/>
                </a:lnTo>
                <a:lnTo>
                  <a:pt x="282" y="816"/>
                </a:lnTo>
                <a:lnTo>
                  <a:pt x="282" y="810"/>
                </a:lnTo>
                <a:lnTo>
                  <a:pt x="276" y="810"/>
                </a:lnTo>
                <a:lnTo>
                  <a:pt x="276" y="804"/>
                </a:lnTo>
                <a:lnTo>
                  <a:pt x="276" y="798"/>
                </a:lnTo>
                <a:lnTo>
                  <a:pt x="276" y="792"/>
                </a:lnTo>
                <a:lnTo>
                  <a:pt x="270" y="786"/>
                </a:lnTo>
                <a:lnTo>
                  <a:pt x="270" y="780"/>
                </a:lnTo>
                <a:lnTo>
                  <a:pt x="270" y="774"/>
                </a:lnTo>
                <a:lnTo>
                  <a:pt x="264" y="768"/>
                </a:lnTo>
                <a:lnTo>
                  <a:pt x="264" y="762"/>
                </a:lnTo>
                <a:lnTo>
                  <a:pt x="264" y="756"/>
                </a:lnTo>
                <a:lnTo>
                  <a:pt x="264" y="750"/>
                </a:lnTo>
                <a:lnTo>
                  <a:pt x="264" y="744"/>
                </a:lnTo>
                <a:lnTo>
                  <a:pt x="264" y="738"/>
                </a:lnTo>
                <a:lnTo>
                  <a:pt x="264" y="732"/>
                </a:lnTo>
                <a:lnTo>
                  <a:pt x="270" y="732"/>
                </a:lnTo>
                <a:lnTo>
                  <a:pt x="276" y="726"/>
                </a:lnTo>
                <a:lnTo>
                  <a:pt x="276" y="720"/>
                </a:lnTo>
                <a:lnTo>
                  <a:pt x="282" y="720"/>
                </a:lnTo>
                <a:lnTo>
                  <a:pt x="282" y="714"/>
                </a:lnTo>
                <a:lnTo>
                  <a:pt x="282" y="708"/>
                </a:lnTo>
                <a:lnTo>
                  <a:pt x="276" y="708"/>
                </a:lnTo>
                <a:lnTo>
                  <a:pt x="276" y="702"/>
                </a:lnTo>
                <a:lnTo>
                  <a:pt x="270" y="702"/>
                </a:lnTo>
                <a:lnTo>
                  <a:pt x="270" y="696"/>
                </a:lnTo>
                <a:lnTo>
                  <a:pt x="264" y="690"/>
                </a:lnTo>
                <a:lnTo>
                  <a:pt x="258" y="690"/>
                </a:lnTo>
                <a:lnTo>
                  <a:pt x="258" y="684"/>
                </a:lnTo>
                <a:lnTo>
                  <a:pt x="252" y="684"/>
                </a:lnTo>
                <a:lnTo>
                  <a:pt x="252" y="678"/>
                </a:lnTo>
                <a:lnTo>
                  <a:pt x="246" y="678"/>
                </a:lnTo>
                <a:lnTo>
                  <a:pt x="240" y="678"/>
                </a:lnTo>
                <a:lnTo>
                  <a:pt x="240" y="684"/>
                </a:lnTo>
                <a:lnTo>
                  <a:pt x="246" y="684"/>
                </a:lnTo>
                <a:lnTo>
                  <a:pt x="252" y="690"/>
                </a:lnTo>
                <a:lnTo>
                  <a:pt x="258" y="690"/>
                </a:lnTo>
                <a:lnTo>
                  <a:pt x="258" y="696"/>
                </a:lnTo>
                <a:lnTo>
                  <a:pt x="258" y="702"/>
                </a:lnTo>
                <a:lnTo>
                  <a:pt x="264" y="702"/>
                </a:lnTo>
                <a:lnTo>
                  <a:pt x="270" y="708"/>
                </a:lnTo>
                <a:lnTo>
                  <a:pt x="270" y="714"/>
                </a:lnTo>
                <a:lnTo>
                  <a:pt x="270" y="720"/>
                </a:lnTo>
                <a:lnTo>
                  <a:pt x="276" y="720"/>
                </a:lnTo>
                <a:lnTo>
                  <a:pt x="270" y="720"/>
                </a:lnTo>
                <a:lnTo>
                  <a:pt x="270" y="726"/>
                </a:lnTo>
                <a:lnTo>
                  <a:pt x="264" y="726"/>
                </a:lnTo>
                <a:lnTo>
                  <a:pt x="264" y="732"/>
                </a:lnTo>
                <a:lnTo>
                  <a:pt x="258" y="732"/>
                </a:lnTo>
                <a:lnTo>
                  <a:pt x="252" y="738"/>
                </a:lnTo>
                <a:lnTo>
                  <a:pt x="252" y="744"/>
                </a:lnTo>
                <a:lnTo>
                  <a:pt x="252" y="750"/>
                </a:lnTo>
                <a:lnTo>
                  <a:pt x="252" y="756"/>
                </a:lnTo>
                <a:lnTo>
                  <a:pt x="258" y="762"/>
                </a:lnTo>
                <a:lnTo>
                  <a:pt x="258" y="768"/>
                </a:lnTo>
                <a:lnTo>
                  <a:pt x="258" y="774"/>
                </a:lnTo>
                <a:lnTo>
                  <a:pt x="258" y="780"/>
                </a:lnTo>
                <a:lnTo>
                  <a:pt x="264" y="786"/>
                </a:lnTo>
                <a:lnTo>
                  <a:pt x="264" y="792"/>
                </a:lnTo>
                <a:lnTo>
                  <a:pt x="264" y="798"/>
                </a:lnTo>
                <a:lnTo>
                  <a:pt x="270" y="810"/>
                </a:lnTo>
                <a:lnTo>
                  <a:pt x="270" y="816"/>
                </a:lnTo>
                <a:lnTo>
                  <a:pt x="270" y="822"/>
                </a:lnTo>
                <a:lnTo>
                  <a:pt x="276" y="822"/>
                </a:lnTo>
                <a:lnTo>
                  <a:pt x="276" y="828"/>
                </a:lnTo>
                <a:lnTo>
                  <a:pt x="276" y="834"/>
                </a:lnTo>
                <a:lnTo>
                  <a:pt x="276" y="840"/>
                </a:lnTo>
                <a:lnTo>
                  <a:pt x="276" y="846"/>
                </a:lnTo>
                <a:lnTo>
                  <a:pt x="282" y="852"/>
                </a:lnTo>
                <a:lnTo>
                  <a:pt x="282" y="858"/>
                </a:lnTo>
                <a:lnTo>
                  <a:pt x="294" y="864"/>
                </a:lnTo>
                <a:lnTo>
                  <a:pt x="300" y="870"/>
                </a:lnTo>
                <a:lnTo>
                  <a:pt x="300" y="876"/>
                </a:lnTo>
                <a:lnTo>
                  <a:pt x="288" y="876"/>
                </a:lnTo>
                <a:lnTo>
                  <a:pt x="282" y="876"/>
                </a:lnTo>
                <a:lnTo>
                  <a:pt x="276" y="876"/>
                </a:lnTo>
                <a:lnTo>
                  <a:pt x="264" y="876"/>
                </a:lnTo>
                <a:lnTo>
                  <a:pt x="258" y="876"/>
                </a:lnTo>
                <a:lnTo>
                  <a:pt x="252" y="882"/>
                </a:lnTo>
                <a:lnTo>
                  <a:pt x="246" y="882"/>
                </a:lnTo>
                <a:lnTo>
                  <a:pt x="240" y="882"/>
                </a:lnTo>
                <a:lnTo>
                  <a:pt x="234" y="882"/>
                </a:lnTo>
                <a:lnTo>
                  <a:pt x="222" y="882"/>
                </a:lnTo>
                <a:lnTo>
                  <a:pt x="216" y="882"/>
                </a:lnTo>
                <a:lnTo>
                  <a:pt x="210" y="882"/>
                </a:lnTo>
                <a:lnTo>
                  <a:pt x="204" y="882"/>
                </a:lnTo>
                <a:lnTo>
                  <a:pt x="204" y="876"/>
                </a:lnTo>
                <a:lnTo>
                  <a:pt x="198" y="876"/>
                </a:lnTo>
                <a:lnTo>
                  <a:pt x="198" y="870"/>
                </a:lnTo>
                <a:lnTo>
                  <a:pt x="198" y="852"/>
                </a:lnTo>
                <a:lnTo>
                  <a:pt x="198" y="846"/>
                </a:lnTo>
                <a:lnTo>
                  <a:pt x="204" y="846"/>
                </a:lnTo>
                <a:lnTo>
                  <a:pt x="198" y="840"/>
                </a:lnTo>
                <a:lnTo>
                  <a:pt x="198" y="834"/>
                </a:lnTo>
                <a:lnTo>
                  <a:pt x="198" y="828"/>
                </a:lnTo>
                <a:lnTo>
                  <a:pt x="198" y="822"/>
                </a:lnTo>
                <a:lnTo>
                  <a:pt x="198" y="816"/>
                </a:lnTo>
                <a:lnTo>
                  <a:pt x="198" y="810"/>
                </a:lnTo>
                <a:lnTo>
                  <a:pt x="192" y="810"/>
                </a:lnTo>
                <a:lnTo>
                  <a:pt x="192" y="804"/>
                </a:lnTo>
                <a:lnTo>
                  <a:pt x="192" y="798"/>
                </a:lnTo>
                <a:lnTo>
                  <a:pt x="186" y="786"/>
                </a:lnTo>
                <a:lnTo>
                  <a:pt x="192" y="786"/>
                </a:lnTo>
                <a:lnTo>
                  <a:pt x="192" y="780"/>
                </a:lnTo>
                <a:lnTo>
                  <a:pt x="192" y="774"/>
                </a:lnTo>
                <a:lnTo>
                  <a:pt x="192" y="768"/>
                </a:lnTo>
                <a:lnTo>
                  <a:pt x="198" y="768"/>
                </a:lnTo>
                <a:lnTo>
                  <a:pt x="198" y="762"/>
                </a:lnTo>
                <a:lnTo>
                  <a:pt x="198" y="756"/>
                </a:lnTo>
                <a:lnTo>
                  <a:pt x="204" y="756"/>
                </a:lnTo>
                <a:lnTo>
                  <a:pt x="204" y="750"/>
                </a:lnTo>
                <a:lnTo>
                  <a:pt x="210" y="744"/>
                </a:lnTo>
                <a:lnTo>
                  <a:pt x="210" y="738"/>
                </a:lnTo>
                <a:lnTo>
                  <a:pt x="210" y="732"/>
                </a:lnTo>
                <a:lnTo>
                  <a:pt x="210" y="726"/>
                </a:lnTo>
                <a:lnTo>
                  <a:pt x="210" y="720"/>
                </a:lnTo>
                <a:lnTo>
                  <a:pt x="204" y="714"/>
                </a:lnTo>
                <a:lnTo>
                  <a:pt x="204" y="720"/>
                </a:lnTo>
                <a:lnTo>
                  <a:pt x="204" y="732"/>
                </a:lnTo>
                <a:lnTo>
                  <a:pt x="204" y="738"/>
                </a:lnTo>
                <a:lnTo>
                  <a:pt x="198" y="738"/>
                </a:lnTo>
                <a:lnTo>
                  <a:pt x="198" y="744"/>
                </a:lnTo>
                <a:lnTo>
                  <a:pt x="198" y="750"/>
                </a:lnTo>
                <a:lnTo>
                  <a:pt x="192" y="756"/>
                </a:lnTo>
                <a:lnTo>
                  <a:pt x="186" y="762"/>
                </a:lnTo>
                <a:lnTo>
                  <a:pt x="186" y="768"/>
                </a:lnTo>
                <a:lnTo>
                  <a:pt x="186" y="774"/>
                </a:lnTo>
                <a:lnTo>
                  <a:pt x="186" y="780"/>
                </a:lnTo>
                <a:lnTo>
                  <a:pt x="186" y="786"/>
                </a:lnTo>
                <a:lnTo>
                  <a:pt x="186" y="792"/>
                </a:lnTo>
                <a:lnTo>
                  <a:pt x="186" y="798"/>
                </a:lnTo>
                <a:lnTo>
                  <a:pt x="186" y="804"/>
                </a:lnTo>
                <a:lnTo>
                  <a:pt x="186" y="810"/>
                </a:lnTo>
                <a:lnTo>
                  <a:pt x="192" y="816"/>
                </a:lnTo>
                <a:lnTo>
                  <a:pt x="192" y="828"/>
                </a:lnTo>
                <a:lnTo>
                  <a:pt x="192" y="834"/>
                </a:lnTo>
                <a:lnTo>
                  <a:pt x="186" y="834"/>
                </a:lnTo>
                <a:lnTo>
                  <a:pt x="186" y="828"/>
                </a:lnTo>
                <a:lnTo>
                  <a:pt x="180" y="822"/>
                </a:lnTo>
                <a:lnTo>
                  <a:pt x="180" y="816"/>
                </a:lnTo>
                <a:lnTo>
                  <a:pt x="180" y="810"/>
                </a:lnTo>
                <a:lnTo>
                  <a:pt x="174" y="810"/>
                </a:lnTo>
                <a:lnTo>
                  <a:pt x="174" y="804"/>
                </a:lnTo>
                <a:lnTo>
                  <a:pt x="174" y="798"/>
                </a:lnTo>
                <a:lnTo>
                  <a:pt x="174" y="792"/>
                </a:lnTo>
                <a:lnTo>
                  <a:pt x="168" y="786"/>
                </a:lnTo>
                <a:lnTo>
                  <a:pt x="168" y="780"/>
                </a:lnTo>
                <a:lnTo>
                  <a:pt x="162" y="780"/>
                </a:lnTo>
                <a:lnTo>
                  <a:pt x="168" y="774"/>
                </a:lnTo>
                <a:lnTo>
                  <a:pt x="168" y="768"/>
                </a:lnTo>
                <a:lnTo>
                  <a:pt x="174" y="768"/>
                </a:lnTo>
                <a:lnTo>
                  <a:pt x="168" y="768"/>
                </a:lnTo>
                <a:lnTo>
                  <a:pt x="162" y="774"/>
                </a:lnTo>
                <a:lnTo>
                  <a:pt x="162" y="780"/>
                </a:lnTo>
                <a:lnTo>
                  <a:pt x="156" y="780"/>
                </a:lnTo>
                <a:lnTo>
                  <a:pt x="150" y="780"/>
                </a:lnTo>
                <a:lnTo>
                  <a:pt x="150" y="774"/>
                </a:lnTo>
                <a:lnTo>
                  <a:pt x="144" y="774"/>
                </a:lnTo>
                <a:lnTo>
                  <a:pt x="144" y="768"/>
                </a:lnTo>
                <a:lnTo>
                  <a:pt x="144" y="762"/>
                </a:lnTo>
                <a:lnTo>
                  <a:pt x="138" y="756"/>
                </a:lnTo>
                <a:lnTo>
                  <a:pt x="132" y="756"/>
                </a:lnTo>
                <a:lnTo>
                  <a:pt x="138" y="756"/>
                </a:lnTo>
                <a:lnTo>
                  <a:pt x="138" y="762"/>
                </a:lnTo>
                <a:lnTo>
                  <a:pt x="138" y="768"/>
                </a:lnTo>
                <a:lnTo>
                  <a:pt x="144" y="768"/>
                </a:lnTo>
                <a:lnTo>
                  <a:pt x="144" y="774"/>
                </a:lnTo>
                <a:lnTo>
                  <a:pt x="150" y="780"/>
                </a:lnTo>
                <a:lnTo>
                  <a:pt x="156" y="780"/>
                </a:lnTo>
                <a:lnTo>
                  <a:pt x="156" y="786"/>
                </a:lnTo>
                <a:lnTo>
                  <a:pt x="162" y="786"/>
                </a:lnTo>
                <a:lnTo>
                  <a:pt x="168" y="792"/>
                </a:lnTo>
                <a:lnTo>
                  <a:pt x="168" y="798"/>
                </a:lnTo>
                <a:lnTo>
                  <a:pt x="168" y="804"/>
                </a:lnTo>
                <a:lnTo>
                  <a:pt x="174" y="810"/>
                </a:lnTo>
                <a:lnTo>
                  <a:pt x="174" y="816"/>
                </a:lnTo>
                <a:lnTo>
                  <a:pt x="174" y="822"/>
                </a:lnTo>
                <a:lnTo>
                  <a:pt x="168" y="822"/>
                </a:lnTo>
                <a:lnTo>
                  <a:pt x="174" y="822"/>
                </a:lnTo>
                <a:lnTo>
                  <a:pt x="168" y="822"/>
                </a:lnTo>
                <a:lnTo>
                  <a:pt x="168" y="828"/>
                </a:lnTo>
                <a:lnTo>
                  <a:pt x="168" y="834"/>
                </a:lnTo>
                <a:lnTo>
                  <a:pt x="174" y="840"/>
                </a:lnTo>
                <a:lnTo>
                  <a:pt x="180" y="840"/>
                </a:lnTo>
                <a:lnTo>
                  <a:pt x="180" y="846"/>
                </a:lnTo>
                <a:lnTo>
                  <a:pt x="186" y="846"/>
                </a:lnTo>
                <a:lnTo>
                  <a:pt x="186" y="852"/>
                </a:lnTo>
                <a:lnTo>
                  <a:pt x="186" y="858"/>
                </a:lnTo>
                <a:lnTo>
                  <a:pt x="186" y="864"/>
                </a:lnTo>
                <a:lnTo>
                  <a:pt x="192" y="864"/>
                </a:lnTo>
                <a:lnTo>
                  <a:pt x="192" y="870"/>
                </a:lnTo>
                <a:lnTo>
                  <a:pt x="192" y="876"/>
                </a:lnTo>
                <a:lnTo>
                  <a:pt x="192" y="882"/>
                </a:lnTo>
                <a:lnTo>
                  <a:pt x="192" y="888"/>
                </a:lnTo>
                <a:lnTo>
                  <a:pt x="186" y="888"/>
                </a:lnTo>
                <a:lnTo>
                  <a:pt x="180" y="888"/>
                </a:lnTo>
                <a:lnTo>
                  <a:pt x="174" y="888"/>
                </a:lnTo>
                <a:lnTo>
                  <a:pt x="168" y="894"/>
                </a:lnTo>
                <a:lnTo>
                  <a:pt x="162" y="894"/>
                </a:lnTo>
                <a:lnTo>
                  <a:pt x="156" y="894"/>
                </a:lnTo>
                <a:lnTo>
                  <a:pt x="150" y="894"/>
                </a:lnTo>
                <a:lnTo>
                  <a:pt x="144" y="894"/>
                </a:lnTo>
                <a:lnTo>
                  <a:pt x="144" y="900"/>
                </a:lnTo>
                <a:lnTo>
                  <a:pt x="138" y="894"/>
                </a:lnTo>
                <a:lnTo>
                  <a:pt x="138" y="900"/>
                </a:lnTo>
                <a:lnTo>
                  <a:pt x="132" y="894"/>
                </a:lnTo>
                <a:lnTo>
                  <a:pt x="132" y="888"/>
                </a:lnTo>
                <a:lnTo>
                  <a:pt x="126" y="888"/>
                </a:lnTo>
                <a:lnTo>
                  <a:pt x="126" y="882"/>
                </a:lnTo>
                <a:lnTo>
                  <a:pt x="126" y="876"/>
                </a:lnTo>
                <a:lnTo>
                  <a:pt x="120" y="876"/>
                </a:lnTo>
                <a:lnTo>
                  <a:pt x="126" y="870"/>
                </a:lnTo>
                <a:lnTo>
                  <a:pt x="126" y="864"/>
                </a:lnTo>
                <a:lnTo>
                  <a:pt x="126" y="858"/>
                </a:lnTo>
                <a:lnTo>
                  <a:pt x="126" y="852"/>
                </a:lnTo>
                <a:lnTo>
                  <a:pt x="126" y="846"/>
                </a:lnTo>
                <a:lnTo>
                  <a:pt x="126" y="840"/>
                </a:lnTo>
                <a:lnTo>
                  <a:pt x="126" y="828"/>
                </a:lnTo>
                <a:lnTo>
                  <a:pt x="126" y="822"/>
                </a:lnTo>
                <a:lnTo>
                  <a:pt x="126" y="816"/>
                </a:lnTo>
                <a:lnTo>
                  <a:pt x="126" y="810"/>
                </a:lnTo>
                <a:lnTo>
                  <a:pt x="126" y="804"/>
                </a:lnTo>
                <a:lnTo>
                  <a:pt x="126" y="798"/>
                </a:lnTo>
                <a:lnTo>
                  <a:pt x="120" y="798"/>
                </a:lnTo>
                <a:lnTo>
                  <a:pt x="120" y="792"/>
                </a:lnTo>
                <a:lnTo>
                  <a:pt x="114" y="792"/>
                </a:lnTo>
                <a:lnTo>
                  <a:pt x="114" y="786"/>
                </a:lnTo>
                <a:lnTo>
                  <a:pt x="108" y="786"/>
                </a:lnTo>
                <a:lnTo>
                  <a:pt x="108" y="780"/>
                </a:lnTo>
                <a:lnTo>
                  <a:pt x="102" y="780"/>
                </a:lnTo>
                <a:lnTo>
                  <a:pt x="96" y="780"/>
                </a:lnTo>
                <a:lnTo>
                  <a:pt x="96" y="774"/>
                </a:lnTo>
                <a:lnTo>
                  <a:pt x="90" y="774"/>
                </a:lnTo>
                <a:lnTo>
                  <a:pt x="90" y="768"/>
                </a:lnTo>
                <a:close/>
                <a:moveTo>
                  <a:pt x="96" y="780"/>
                </a:moveTo>
                <a:lnTo>
                  <a:pt x="102" y="780"/>
                </a:lnTo>
                <a:lnTo>
                  <a:pt x="102" y="786"/>
                </a:lnTo>
                <a:lnTo>
                  <a:pt x="108" y="786"/>
                </a:lnTo>
                <a:lnTo>
                  <a:pt x="114" y="792"/>
                </a:lnTo>
                <a:lnTo>
                  <a:pt x="120" y="798"/>
                </a:lnTo>
                <a:lnTo>
                  <a:pt x="120" y="804"/>
                </a:lnTo>
                <a:lnTo>
                  <a:pt x="126" y="810"/>
                </a:lnTo>
                <a:lnTo>
                  <a:pt x="126" y="816"/>
                </a:lnTo>
                <a:lnTo>
                  <a:pt x="126" y="822"/>
                </a:lnTo>
                <a:lnTo>
                  <a:pt x="120" y="828"/>
                </a:lnTo>
                <a:lnTo>
                  <a:pt x="120" y="840"/>
                </a:lnTo>
                <a:lnTo>
                  <a:pt x="120" y="852"/>
                </a:lnTo>
                <a:lnTo>
                  <a:pt x="120" y="858"/>
                </a:lnTo>
                <a:lnTo>
                  <a:pt x="120" y="864"/>
                </a:lnTo>
                <a:lnTo>
                  <a:pt x="120" y="870"/>
                </a:lnTo>
                <a:lnTo>
                  <a:pt x="114" y="870"/>
                </a:lnTo>
                <a:lnTo>
                  <a:pt x="108" y="870"/>
                </a:lnTo>
                <a:lnTo>
                  <a:pt x="108" y="876"/>
                </a:lnTo>
                <a:lnTo>
                  <a:pt x="114" y="876"/>
                </a:lnTo>
                <a:lnTo>
                  <a:pt x="120" y="876"/>
                </a:lnTo>
                <a:lnTo>
                  <a:pt x="120" y="882"/>
                </a:lnTo>
                <a:lnTo>
                  <a:pt x="114" y="888"/>
                </a:lnTo>
                <a:lnTo>
                  <a:pt x="120" y="888"/>
                </a:lnTo>
                <a:lnTo>
                  <a:pt x="120" y="894"/>
                </a:lnTo>
                <a:lnTo>
                  <a:pt x="114" y="894"/>
                </a:lnTo>
                <a:lnTo>
                  <a:pt x="108" y="894"/>
                </a:lnTo>
                <a:lnTo>
                  <a:pt x="96" y="894"/>
                </a:lnTo>
                <a:lnTo>
                  <a:pt x="96" y="882"/>
                </a:lnTo>
                <a:lnTo>
                  <a:pt x="96" y="876"/>
                </a:lnTo>
                <a:lnTo>
                  <a:pt x="84" y="870"/>
                </a:lnTo>
                <a:lnTo>
                  <a:pt x="72" y="864"/>
                </a:lnTo>
                <a:lnTo>
                  <a:pt x="72" y="852"/>
                </a:lnTo>
                <a:lnTo>
                  <a:pt x="72" y="840"/>
                </a:lnTo>
                <a:lnTo>
                  <a:pt x="78" y="828"/>
                </a:lnTo>
                <a:lnTo>
                  <a:pt x="84" y="822"/>
                </a:lnTo>
                <a:lnTo>
                  <a:pt x="84" y="816"/>
                </a:lnTo>
                <a:lnTo>
                  <a:pt x="84" y="810"/>
                </a:lnTo>
                <a:lnTo>
                  <a:pt x="84" y="804"/>
                </a:lnTo>
                <a:lnTo>
                  <a:pt x="90" y="792"/>
                </a:lnTo>
                <a:lnTo>
                  <a:pt x="96" y="780"/>
                </a:lnTo>
                <a:close/>
                <a:moveTo>
                  <a:pt x="492" y="810"/>
                </a:moveTo>
                <a:lnTo>
                  <a:pt x="498" y="810"/>
                </a:lnTo>
                <a:lnTo>
                  <a:pt x="498" y="804"/>
                </a:lnTo>
                <a:lnTo>
                  <a:pt x="504" y="804"/>
                </a:lnTo>
                <a:lnTo>
                  <a:pt x="504" y="798"/>
                </a:lnTo>
                <a:lnTo>
                  <a:pt x="510" y="792"/>
                </a:lnTo>
                <a:lnTo>
                  <a:pt x="516" y="786"/>
                </a:lnTo>
                <a:lnTo>
                  <a:pt x="522" y="780"/>
                </a:lnTo>
                <a:lnTo>
                  <a:pt x="522" y="774"/>
                </a:lnTo>
                <a:lnTo>
                  <a:pt x="528" y="768"/>
                </a:lnTo>
                <a:lnTo>
                  <a:pt x="528" y="762"/>
                </a:lnTo>
                <a:lnTo>
                  <a:pt x="534" y="762"/>
                </a:lnTo>
                <a:lnTo>
                  <a:pt x="540" y="768"/>
                </a:lnTo>
                <a:lnTo>
                  <a:pt x="546" y="774"/>
                </a:lnTo>
                <a:lnTo>
                  <a:pt x="546" y="780"/>
                </a:lnTo>
                <a:lnTo>
                  <a:pt x="552" y="786"/>
                </a:lnTo>
                <a:lnTo>
                  <a:pt x="558" y="786"/>
                </a:lnTo>
                <a:lnTo>
                  <a:pt x="564" y="786"/>
                </a:lnTo>
                <a:lnTo>
                  <a:pt x="576" y="786"/>
                </a:lnTo>
                <a:lnTo>
                  <a:pt x="582" y="786"/>
                </a:lnTo>
                <a:lnTo>
                  <a:pt x="588" y="786"/>
                </a:lnTo>
                <a:lnTo>
                  <a:pt x="594" y="786"/>
                </a:lnTo>
                <a:lnTo>
                  <a:pt x="588" y="792"/>
                </a:lnTo>
                <a:lnTo>
                  <a:pt x="588" y="798"/>
                </a:lnTo>
                <a:lnTo>
                  <a:pt x="582" y="804"/>
                </a:lnTo>
                <a:lnTo>
                  <a:pt x="582" y="810"/>
                </a:lnTo>
                <a:lnTo>
                  <a:pt x="582" y="822"/>
                </a:lnTo>
                <a:lnTo>
                  <a:pt x="588" y="828"/>
                </a:lnTo>
                <a:lnTo>
                  <a:pt x="588" y="834"/>
                </a:lnTo>
                <a:lnTo>
                  <a:pt x="582" y="840"/>
                </a:lnTo>
                <a:lnTo>
                  <a:pt x="570" y="840"/>
                </a:lnTo>
                <a:lnTo>
                  <a:pt x="558" y="846"/>
                </a:lnTo>
                <a:lnTo>
                  <a:pt x="552" y="846"/>
                </a:lnTo>
                <a:lnTo>
                  <a:pt x="534" y="852"/>
                </a:lnTo>
                <a:lnTo>
                  <a:pt x="522" y="858"/>
                </a:lnTo>
                <a:lnTo>
                  <a:pt x="510" y="858"/>
                </a:lnTo>
                <a:lnTo>
                  <a:pt x="498" y="864"/>
                </a:lnTo>
                <a:lnTo>
                  <a:pt x="474" y="864"/>
                </a:lnTo>
                <a:lnTo>
                  <a:pt x="468" y="858"/>
                </a:lnTo>
                <a:lnTo>
                  <a:pt x="468" y="852"/>
                </a:lnTo>
                <a:lnTo>
                  <a:pt x="468" y="846"/>
                </a:lnTo>
                <a:lnTo>
                  <a:pt x="474" y="840"/>
                </a:lnTo>
                <a:lnTo>
                  <a:pt x="474" y="834"/>
                </a:lnTo>
                <a:lnTo>
                  <a:pt x="480" y="828"/>
                </a:lnTo>
                <a:lnTo>
                  <a:pt x="492" y="822"/>
                </a:lnTo>
                <a:lnTo>
                  <a:pt x="492" y="810"/>
                </a:lnTo>
                <a:close/>
                <a:moveTo>
                  <a:pt x="384" y="720"/>
                </a:moveTo>
                <a:lnTo>
                  <a:pt x="384" y="726"/>
                </a:lnTo>
                <a:lnTo>
                  <a:pt x="390" y="726"/>
                </a:lnTo>
                <a:lnTo>
                  <a:pt x="396" y="726"/>
                </a:lnTo>
                <a:lnTo>
                  <a:pt x="402" y="732"/>
                </a:lnTo>
                <a:lnTo>
                  <a:pt x="408" y="732"/>
                </a:lnTo>
                <a:lnTo>
                  <a:pt x="414" y="732"/>
                </a:lnTo>
                <a:lnTo>
                  <a:pt x="414" y="738"/>
                </a:lnTo>
                <a:lnTo>
                  <a:pt x="414" y="744"/>
                </a:lnTo>
                <a:lnTo>
                  <a:pt x="414" y="750"/>
                </a:lnTo>
                <a:lnTo>
                  <a:pt x="414" y="756"/>
                </a:lnTo>
                <a:lnTo>
                  <a:pt x="414" y="762"/>
                </a:lnTo>
                <a:lnTo>
                  <a:pt x="420" y="768"/>
                </a:lnTo>
                <a:lnTo>
                  <a:pt x="420" y="774"/>
                </a:lnTo>
                <a:lnTo>
                  <a:pt x="426" y="780"/>
                </a:lnTo>
                <a:lnTo>
                  <a:pt x="426" y="786"/>
                </a:lnTo>
                <a:lnTo>
                  <a:pt x="420" y="786"/>
                </a:lnTo>
                <a:lnTo>
                  <a:pt x="420" y="792"/>
                </a:lnTo>
                <a:lnTo>
                  <a:pt x="420" y="798"/>
                </a:lnTo>
                <a:lnTo>
                  <a:pt x="420" y="804"/>
                </a:lnTo>
                <a:lnTo>
                  <a:pt x="426" y="804"/>
                </a:lnTo>
                <a:lnTo>
                  <a:pt x="426" y="810"/>
                </a:lnTo>
                <a:lnTo>
                  <a:pt x="426" y="816"/>
                </a:lnTo>
                <a:lnTo>
                  <a:pt x="432" y="816"/>
                </a:lnTo>
                <a:lnTo>
                  <a:pt x="438" y="816"/>
                </a:lnTo>
                <a:lnTo>
                  <a:pt x="438" y="822"/>
                </a:lnTo>
                <a:lnTo>
                  <a:pt x="432" y="822"/>
                </a:lnTo>
                <a:lnTo>
                  <a:pt x="426" y="828"/>
                </a:lnTo>
                <a:lnTo>
                  <a:pt x="420" y="828"/>
                </a:lnTo>
                <a:lnTo>
                  <a:pt x="414" y="828"/>
                </a:lnTo>
                <a:lnTo>
                  <a:pt x="408" y="828"/>
                </a:lnTo>
                <a:lnTo>
                  <a:pt x="402" y="828"/>
                </a:lnTo>
                <a:lnTo>
                  <a:pt x="402" y="822"/>
                </a:lnTo>
                <a:lnTo>
                  <a:pt x="396" y="822"/>
                </a:lnTo>
                <a:lnTo>
                  <a:pt x="402" y="822"/>
                </a:lnTo>
                <a:lnTo>
                  <a:pt x="402" y="816"/>
                </a:lnTo>
                <a:lnTo>
                  <a:pt x="396" y="816"/>
                </a:lnTo>
                <a:lnTo>
                  <a:pt x="396" y="810"/>
                </a:lnTo>
                <a:lnTo>
                  <a:pt x="396" y="804"/>
                </a:lnTo>
                <a:lnTo>
                  <a:pt x="390" y="798"/>
                </a:lnTo>
                <a:lnTo>
                  <a:pt x="390" y="792"/>
                </a:lnTo>
                <a:lnTo>
                  <a:pt x="390" y="786"/>
                </a:lnTo>
                <a:lnTo>
                  <a:pt x="390" y="780"/>
                </a:lnTo>
                <a:lnTo>
                  <a:pt x="390" y="774"/>
                </a:lnTo>
                <a:lnTo>
                  <a:pt x="390" y="768"/>
                </a:lnTo>
                <a:lnTo>
                  <a:pt x="390" y="762"/>
                </a:lnTo>
                <a:lnTo>
                  <a:pt x="384" y="756"/>
                </a:lnTo>
                <a:lnTo>
                  <a:pt x="384" y="750"/>
                </a:lnTo>
                <a:lnTo>
                  <a:pt x="384" y="744"/>
                </a:lnTo>
                <a:lnTo>
                  <a:pt x="378" y="744"/>
                </a:lnTo>
                <a:lnTo>
                  <a:pt x="384" y="744"/>
                </a:lnTo>
                <a:lnTo>
                  <a:pt x="384" y="738"/>
                </a:lnTo>
                <a:lnTo>
                  <a:pt x="378" y="738"/>
                </a:lnTo>
                <a:lnTo>
                  <a:pt x="378" y="732"/>
                </a:lnTo>
                <a:lnTo>
                  <a:pt x="378" y="726"/>
                </a:lnTo>
                <a:lnTo>
                  <a:pt x="378" y="720"/>
                </a:lnTo>
                <a:lnTo>
                  <a:pt x="384" y="720"/>
                </a:lnTo>
                <a:close/>
                <a:moveTo>
                  <a:pt x="330" y="738"/>
                </a:moveTo>
                <a:lnTo>
                  <a:pt x="336" y="732"/>
                </a:lnTo>
                <a:lnTo>
                  <a:pt x="336" y="726"/>
                </a:lnTo>
                <a:lnTo>
                  <a:pt x="342" y="720"/>
                </a:lnTo>
                <a:lnTo>
                  <a:pt x="348" y="720"/>
                </a:lnTo>
                <a:lnTo>
                  <a:pt x="360" y="720"/>
                </a:lnTo>
                <a:lnTo>
                  <a:pt x="366" y="726"/>
                </a:lnTo>
                <a:lnTo>
                  <a:pt x="372" y="732"/>
                </a:lnTo>
                <a:lnTo>
                  <a:pt x="372" y="738"/>
                </a:lnTo>
                <a:lnTo>
                  <a:pt x="366" y="750"/>
                </a:lnTo>
                <a:lnTo>
                  <a:pt x="372" y="756"/>
                </a:lnTo>
                <a:lnTo>
                  <a:pt x="372" y="762"/>
                </a:lnTo>
                <a:lnTo>
                  <a:pt x="372" y="768"/>
                </a:lnTo>
                <a:lnTo>
                  <a:pt x="372" y="774"/>
                </a:lnTo>
                <a:lnTo>
                  <a:pt x="372" y="780"/>
                </a:lnTo>
                <a:lnTo>
                  <a:pt x="372" y="774"/>
                </a:lnTo>
                <a:lnTo>
                  <a:pt x="366" y="768"/>
                </a:lnTo>
                <a:lnTo>
                  <a:pt x="366" y="762"/>
                </a:lnTo>
                <a:lnTo>
                  <a:pt x="366" y="756"/>
                </a:lnTo>
                <a:lnTo>
                  <a:pt x="360" y="756"/>
                </a:lnTo>
                <a:lnTo>
                  <a:pt x="360" y="750"/>
                </a:lnTo>
                <a:lnTo>
                  <a:pt x="354" y="750"/>
                </a:lnTo>
                <a:lnTo>
                  <a:pt x="348" y="744"/>
                </a:lnTo>
                <a:lnTo>
                  <a:pt x="342" y="744"/>
                </a:lnTo>
                <a:lnTo>
                  <a:pt x="336" y="744"/>
                </a:lnTo>
                <a:lnTo>
                  <a:pt x="330" y="738"/>
                </a:lnTo>
                <a:close/>
              </a:path>
            </a:pathLst>
          </a:cu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53" name="Freeform 9">
            <a:extLst>
              <a:ext uri="{FF2B5EF4-FFF2-40B4-BE49-F238E27FC236}">
                <a16:creationId xmlns:a16="http://schemas.microsoft.com/office/drawing/2014/main" id="{050AC190-F5EA-43FA-AA95-BC94590CE00A}"/>
              </a:ext>
            </a:extLst>
          </p:cNvPr>
          <p:cNvSpPr>
            <a:spLocks/>
          </p:cNvSpPr>
          <p:nvPr/>
        </p:nvSpPr>
        <p:spPr bwMode="gray">
          <a:xfrm>
            <a:off x="6051170" y="3117724"/>
            <a:ext cx="864617" cy="1324257"/>
          </a:xfrm>
          <a:custGeom>
            <a:avLst/>
            <a:gdLst>
              <a:gd name="T0" fmla="*/ 24 w 1506"/>
              <a:gd name="T1" fmla="*/ 190 h 2274"/>
              <a:gd name="T2" fmla="*/ 25 w 1506"/>
              <a:gd name="T3" fmla="*/ 180 h 2274"/>
              <a:gd name="T4" fmla="*/ 21 w 1506"/>
              <a:gd name="T5" fmla="*/ 174 h 2274"/>
              <a:gd name="T6" fmla="*/ 17 w 1506"/>
              <a:gd name="T7" fmla="*/ 170 h 2274"/>
              <a:gd name="T8" fmla="*/ 12 w 1506"/>
              <a:gd name="T9" fmla="*/ 168 h 2274"/>
              <a:gd name="T10" fmla="*/ 10 w 1506"/>
              <a:gd name="T11" fmla="*/ 173 h 2274"/>
              <a:gd name="T12" fmla="*/ 7 w 1506"/>
              <a:gd name="T13" fmla="*/ 174 h 2274"/>
              <a:gd name="T14" fmla="*/ 0 w 1506"/>
              <a:gd name="T15" fmla="*/ 163 h 2274"/>
              <a:gd name="T16" fmla="*/ 16 w 1506"/>
              <a:gd name="T17" fmla="*/ 140 h 2274"/>
              <a:gd name="T18" fmla="*/ 19 w 1506"/>
              <a:gd name="T19" fmla="*/ 137 h 2274"/>
              <a:gd name="T20" fmla="*/ 24 w 1506"/>
              <a:gd name="T21" fmla="*/ 126 h 2274"/>
              <a:gd name="T22" fmla="*/ 23 w 1506"/>
              <a:gd name="T23" fmla="*/ 105 h 2274"/>
              <a:gd name="T24" fmla="*/ 14 w 1506"/>
              <a:gd name="T25" fmla="*/ 86 h 2274"/>
              <a:gd name="T26" fmla="*/ 8 w 1506"/>
              <a:gd name="T27" fmla="*/ 84 h 2274"/>
              <a:gd name="T28" fmla="*/ 5 w 1506"/>
              <a:gd name="T29" fmla="*/ 79 h 2274"/>
              <a:gd name="T30" fmla="*/ 16 w 1506"/>
              <a:gd name="T31" fmla="*/ 71 h 2274"/>
              <a:gd name="T32" fmla="*/ 28 w 1506"/>
              <a:gd name="T33" fmla="*/ 55 h 2274"/>
              <a:gd name="T34" fmla="*/ 29 w 1506"/>
              <a:gd name="T35" fmla="*/ 48 h 2274"/>
              <a:gd name="T36" fmla="*/ 35 w 1506"/>
              <a:gd name="T37" fmla="*/ 50 h 2274"/>
              <a:gd name="T38" fmla="*/ 42 w 1506"/>
              <a:gd name="T39" fmla="*/ 47 h 2274"/>
              <a:gd name="T40" fmla="*/ 63 w 1506"/>
              <a:gd name="T41" fmla="*/ 34 h 2274"/>
              <a:gd name="T42" fmla="*/ 74 w 1506"/>
              <a:gd name="T43" fmla="*/ 27 h 2274"/>
              <a:gd name="T44" fmla="*/ 81 w 1506"/>
              <a:gd name="T45" fmla="*/ 20 h 2274"/>
              <a:gd name="T46" fmla="*/ 89 w 1506"/>
              <a:gd name="T47" fmla="*/ 20 h 2274"/>
              <a:gd name="T48" fmla="*/ 98 w 1506"/>
              <a:gd name="T49" fmla="*/ 27 h 2274"/>
              <a:gd name="T50" fmla="*/ 106 w 1506"/>
              <a:gd name="T51" fmla="*/ 17 h 2274"/>
              <a:gd name="T52" fmla="*/ 111 w 1506"/>
              <a:gd name="T53" fmla="*/ 8 h 2274"/>
              <a:gd name="T54" fmla="*/ 121 w 1506"/>
              <a:gd name="T55" fmla="*/ 2 h 2274"/>
              <a:gd name="T56" fmla="*/ 129 w 1506"/>
              <a:gd name="T57" fmla="*/ 5 h 2274"/>
              <a:gd name="T58" fmla="*/ 125 w 1506"/>
              <a:gd name="T59" fmla="*/ 12 h 2274"/>
              <a:gd name="T60" fmla="*/ 122 w 1506"/>
              <a:gd name="T61" fmla="*/ 20 h 2274"/>
              <a:gd name="T62" fmla="*/ 122 w 1506"/>
              <a:gd name="T63" fmla="*/ 27 h 2274"/>
              <a:gd name="T64" fmla="*/ 120 w 1506"/>
              <a:gd name="T65" fmla="*/ 36 h 2274"/>
              <a:gd name="T66" fmla="*/ 116 w 1506"/>
              <a:gd name="T67" fmla="*/ 43 h 2274"/>
              <a:gd name="T68" fmla="*/ 109 w 1506"/>
              <a:gd name="T69" fmla="*/ 47 h 2274"/>
              <a:gd name="T70" fmla="*/ 108 w 1506"/>
              <a:gd name="T71" fmla="*/ 54 h 2274"/>
              <a:gd name="T72" fmla="*/ 106 w 1506"/>
              <a:gd name="T73" fmla="*/ 59 h 2274"/>
              <a:gd name="T74" fmla="*/ 109 w 1506"/>
              <a:gd name="T75" fmla="*/ 64 h 2274"/>
              <a:gd name="T76" fmla="*/ 106 w 1506"/>
              <a:gd name="T77" fmla="*/ 70 h 2274"/>
              <a:gd name="T78" fmla="*/ 105 w 1506"/>
              <a:gd name="T79" fmla="*/ 75 h 2274"/>
              <a:gd name="T80" fmla="*/ 101 w 1506"/>
              <a:gd name="T81" fmla="*/ 78 h 2274"/>
              <a:gd name="T82" fmla="*/ 92 w 1506"/>
              <a:gd name="T83" fmla="*/ 81 h 2274"/>
              <a:gd name="T84" fmla="*/ 85 w 1506"/>
              <a:gd name="T85" fmla="*/ 85 h 2274"/>
              <a:gd name="T86" fmla="*/ 87 w 1506"/>
              <a:gd name="T87" fmla="*/ 91 h 2274"/>
              <a:gd name="T88" fmla="*/ 86 w 1506"/>
              <a:gd name="T89" fmla="*/ 98 h 2274"/>
              <a:gd name="T90" fmla="*/ 86 w 1506"/>
              <a:gd name="T91" fmla="*/ 103 h 2274"/>
              <a:gd name="T92" fmla="*/ 82 w 1506"/>
              <a:gd name="T93" fmla="*/ 111 h 2274"/>
              <a:gd name="T94" fmla="*/ 81 w 1506"/>
              <a:gd name="T95" fmla="*/ 116 h 2274"/>
              <a:gd name="T96" fmla="*/ 78 w 1506"/>
              <a:gd name="T97" fmla="*/ 120 h 2274"/>
              <a:gd name="T98" fmla="*/ 76 w 1506"/>
              <a:gd name="T99" fmla="*/ 126 h 2274"/>
              <a:gd name="T100" fmla="*/ 68 w 1506"/>
              <a:gd name="T101" fmla="*/ 129 h 2274"/>
              <a:gd name="T102" fmla="*/ 62 w 1506"/>
              <a:gd name="T103" fmla="*/ 131 h 2274"/>
              <a:gd name="T104" fmla="*/ 58 w 1506"/>
              <a:gd name="T105" fmla="*/ 136 h 2274"/>
              <a:gd name="T106" fmla="*/ 51 w 1506"/>
              <a:gd name="T107" fmla="*/ 138 h 2274"/>
              <a:gd name="T108" fmla="*/ 51 w 1506"/>
              <a:gd name="T109" fmla="*/ 147 h 2274"/>
              <a:gd name="T110" fmla="*/ 49 w 1506"/>
              <a:gd name="T111" fmla="*/ 159 h 2274"/>
              <a:gd name="T112" fmla="*/ 48 w 1506"/>
              <a:gd name="T113" fmla="*/ 166 h 2274"/>
              <a:gd name="T114" fmla="*/ 41 w 1506"/>
              <a:gd name="T115" fmla="*/ 174 h 2274"/>
              <a:gd name="T116" fmla="*/ 39 w 1506"/>
              <a:gd name="T117" fmla="*/ 181 h 2274"/>
              <a:gd name="T118" fmla="*/ 37 w 1506"/>
              <a:gd name="T119" fmla="*/ 190 h 2274"/>
              <a:gd name="T120" fmla="*/ 29 w 1506"/>
              <a:gd name="T121" fmla="*/ 198 h 2274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506"/>
              <a:gd name="T184" fmla="*/ 0 h 2274"/>
              <a:gd name="T185" fmla="*/ 1506 w 1506"/>
              <a:gd name="T186" fmla="*/ 2274 h 2274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506" h="2274">
                <a:moveTo>
                  <a:pt x="330" y="2274"/>
                </a:moveTo>
                <a:lnTo>
                  <a:pt x="318" y="2262"/>
                </a:lnTo>
                <a:lnTo>
                  <a:pt x="312" y="2238"/>
                </a:lnTo>
                <a:lnTo>
                  <a:pt x="312" y="2232"/>
                </a:lnTo>
                <a:lnTo>
                  <a:pt x="294" y="2214"/>
                </a:lnTo>
                <a:lnTo>
                  <a:pt x="288" y="2208"/>
                </a:lnTo>
                <a:lnTo>
                  <a:pt x="288" y="2202"/>
                </a:lnTo>
                <a:lnTo>
                  <a:pt x="276" y="2196"/>
                </a:lnTo>
                <a:lnTo>
                  <a:pt x="276" y="2190"/>
                </a:lnTo>
                <a:lnTo>
                  <a:pt x="282" y="2190"/>
                </a:lnTo>
                <a:lnTo>
                  <a:pt x="282" y="2184"/>
                </a:lnTo>
                <a:lnTo>
                  <a:pt x="276" y="2172"/>
                </a:lnTo>
                <a:lnTo>
                  <a:pt x="276" y="2166"/>
                </a:lnTo>
                <a:lnTo>
                  <a:pt x="282" y="2166"/>
                </a:lnTo>
                <a:lnTo>
                  <a:pt x="282" y="2154"/>
                </a:lnTo>
                <a:lnTo>
                  <a:pt x="276" y="2136"/>
                </a:lnTo>
                <a:lnTo>
                  <a:pt x="276" y="2112"/>
                </a:lnTo>
                <a:lnTo>
                  <a:pt x="282" y="2088"/>
                </a:lnTo>
                <a:lnTo>
                  <a:pt x="282" y="2082"/>
                </a:lnTo>
                <a:lnTo>
                  <a:pt x="282" y="2076"/>
                </a:lnTo>
                <a:lnTo>
                  <a:pt x="282" y="2070"/>
                </a:lnTo>
                <a:lnTo>
                  <a:pt x="288" y="2070"/>
                </a:lnTo>
                <a:lnTo>
                  <a:pt x="288" y="2064"/>
                </a:lnTo>
                <a:lnTo>
                  <a:pt x="282" y="2052"/>
                </a:lnTo>
                <a:lnTo>
                  <a:pt x="282" y="2046"/>
                </a:lnTo>
                <a:lnTo>
                  <a:pt x="276" y="2040"/>
                </a:lnTo>
                <a:lnTo>
                  <a:pt x="270" y="2034"/>
                </a:lnTo>
                <a:lnTo>
                  <a:pt x="264" y="2022"/>
                </a:lnTo>
                <a:lnTo>
                  <a:pt x="258" y="2022"/>
                </a:lnTo>
                <a:lnTo>
                  <a:pt x="258" y="2016"/>
                </a:lnTo>
                <a:lnTo>
                  <a:pt x="252" y="2016"/>
                </a:lnTo>
                <a:lnTo>
                  <a:pt x="246" y="2016"/>
                </a:lnTo>
                <a:lnTo>
                  <a:pt x="240" y="2010"/>
                </a:lnTo>
                <a:lnTo>
                  <a:pt x="234" y="2004"/>
                </a:lnTo>
                <a:lnTo>
                  <a:pt x="228" y="2004"/>
                </a:lnTo>
                <a:lnTo>
                  <a:pt x="228" y="1998"/>
                </a:lnTo>
                <a:lnTo>
                  <a:pt x="228" y="1992"/>
                </a:lnTo>
                <a:lnTo>
                  <a:pt x="222" y="1992"/>
                </a:lnTo>
                <a:lnTo>
                  <a:pt x="222" y="1986"/>
                </a:lnTo>
                <a:lnTo>
                  <a:pt x="216" y="1986"/>
                </a:lnTo>
                <a:lnTo>
                  <a:pt x="210" y="1980"/>
                </a:lnTo>
                <a:lnTo>
                  <a:pt x="216" y="1974"/>
                </a:lnTo>
                <a:lnTo>
                  <a:pt x="210" y="1968"/>
                </a:lnTo>
                <a:lnTo>
                  <a:pt x="198" y="1956"/>
                </a:lnTo>
                <a:lnTo>
                  <a:pt x="192" y="1956"/>
                </a:lnTo>
                <a:lnTo>
                  <a:pt x="186" y="1956"/>
                </a:lnTo>
                <a:lnTo>
                  <a:pt x="180" y="1944"/>
                </a:lnTo>
                <a:lnTo>
                  <a:pt x="180" y="1938"/>
                </a:lnTo>
                <a:lnTo>
                  <a:pt x="174" y="1932"/>
                </a:lnTo>
                <a:lnTo>
                  <a:pt x="168" y="1932"/>
                </a:lnTo>
                <a:lnTo>
                  <a:pt x="162" y="1932"/>
                </a:lnTo>
                <a:lnTo>
                  <a:pt x="150" y="1932"/>
                </a:lnTo>
                <a:lnTo>
                  <a:pt x="150" y="1926"/>
                </a:lnTo>
                <a:lnTo>
                  <a:pt x="150" y="1932"/>
                </a:lnTo>
                <a:lnTo>
                  <a:pt x="144" y="1932"/>
                </a:lnTo>
                <a:lnTo>
                  <a:pt x="138" y="1932"/>
                </a:lnTo>
                <a:lnTo>
                  <a:pt x="132" y="1932"/>
                </a:lnTo>
                <a:lnTo>
                  <a:pt x="132" y="1938"/>
                </a:lnTo>
                <a:lnTo>
                  <a:pt x="126" y="1944"/>
                </a:lnTo>
                <a:lnTo>
                  <a:pt x="126" y="1956"/>
                </a:lnTo>
                <a:lnTo>
                  <a:pt x="120" y="1968"/>
                </a:lnTo>
                <a:lnTo>
                  <a:pt x="120" y="1974"/>
                </a:lnTo>
                <a:lnTo>
                  <a:pt x="120" y="1980"/>
                </a:lnTo>
                <a:lnTo>
                  <a:pt x="126" y="1980"/>
                </a:lnTo>
                <a:lnTo>
                  <a:pt x="120" y="1986"/>
                </a:lnTo>
                <a:lnTo>
                  <a:pt x="120" y="1992"/>
                </a:lnTo>
                <a:lnTo>
                  <a:pt x="114" y="1992"/>
                </a:lnTo>
                <a:lnTo>
                  <a:pt x="114" y="1986"/>
                </a:lnTo>
                <a:lnTo>
                  <a:pt x="108" y="1992"/>
                </a:lnTo>
                <a:lnTo>
                  <a:pt x="108" y="1998"/>
                </a:lnTo>
                <a:lnTo>
                  <a:pt x="114" y="2004"/>
                </a:lnTo>
                <a:lnTo>
                  <a:pt x="108" y="2004"/>
                </a:lnTo>
                <a:lnTo>
                  <a:pt x="102" y="2010"/>
                </a:lnTo>
                <a:lnTo>
                  <a:pt x="102" y="2004"/>
                </a:lnTo>
                <a:lnTo>
                  <a:pt x="90" y="2004"/>
                </a:lnTo>
                <a:lnTo>
                  <a:pt x="84" y="2004"/>
                </a:lnTo>
                <a:lnTo>
                  <a:pt x="78" y="1998"/>
                </a:lnTo>
                <a:lnTo>
                  <a:pt x="78" y="1992"/>
                </a:lnTo>
                <a:lnTo>
                  <a:pt x="78" y="1986"/>
                </a:lnTo>
                <a:lnTo>
                  <a:pt x="72" y="1986"/>
                </a:lnTo>
                <a:lnTo>
                  <a:pt x="66" y="1980"/>
                </a:lnTo>
                <a:lnTo>
                  <a:pt x="66" y="1968"/>
                </a:lnTo>
                <a:lnTo>
                  <a:pt x="60" y="1956"/>
                </a:lnTo>
                <a:lnTo>
                  <a:pt x="60" y="1950"/>
                </a:lnTo>
                <a:lnTo>
                  <a:pt x="48" y="1944"/>
                </a:lnTo>
                <a:lnTo>
                  <a:pt x="30" y="1926"/>
                </a:lnTo>
                <a:lnTo>
                  <a:pt x="12" y="1890"/>
                </a:lnTo>
                <a:lnTo>
                  <a:pt x="6" y="1872"/>
                </a:lnTo>
                <a:lnTo>
                  <a:pt x="0" y="1854"/>
                </a:lnTo>
                <a:lnTo>
                  <a:pt x="6" y="1824"/>
                </a:lnTo>
                <a:lnTo>
                  <a:pt x="30" y="1794"/>
                </a:lnTo>
                <a:lnTo>
                  <a:pt x="66" y="1752"/>
                </a:lnTo>
                <a:lnTo>
                  <a:pt x="72" y="1752"/>
                </a:lnTo>
                <a:lnTo>
                  <a:pt x="78" y="1746"/>
                </a:lnTo>
                <a:lnTo>
                  <a:pt x="84" y="1746"/>
                </a:lnTo>
                <a:lnTo>
                  <a:pt x="90" y="1746"/>
                </a:lnTo>
                <a:lnTo>
                  <a:pt x="138" y="1674"/>
                </a:lnTo>
                <a:lnTo>
                  <a:pt x="186" y="1620"/>
                </a:lnTo>
                <a:lnTo>
                  <a:pt x="186" y="1614"/>
                </a:lnTo>
                <a:lnTo>
                  <a:pt x="186" y="1608"/>
                </a:lnTo>
                <a:lnTo>
                  <a:pt x="192" y="1608"/>
                </a:lnTo>
                <a:lnTo>
                  <a:pt x="192" y="1614"/>
                </a:lnTo>
                <a:lnTo>
                  <a:pt x="198" y="1614"/>
                </a:lnTo>
                <a:lnTo>
                  <a:pt x="198" y="1608"/>
                </a:lnTo>
                <a:lnTo>
                  <a:pt x="198" y="1602"/>
                </a:lnTo>
                <a:lnTo>
                  <a:pt x="204" y="1602"/>
                </a:lnTo>
                <a:lnTo>
                  <a:pt x="204" y="1596"/>
                </a:lnTo>
                <a:lnTo>
                  <a:pt x="210" y="1590"/>
                </a:lnTo>
                <a:lnTo>
                  <a:pt x="216" y="1590"/>
                </a:lnTo>
                <a:lnTo>
                  <a:pt x="216" y="1584"/>
                </a:lnTo>
                <a:lnTo>
                  <a:pt x="222" y="1584"/>
                </a:lnTo>
                <a:lnTo>
                  <a:pt x="228" y="1572"/>
                </a:lnTo>
                <a:lnTo>
                  <a:pt x="222" y="1572"/>
                </a:lnTo>
                <a:lnTo>
                  <a:pt x="228" y="1566"/>
                </a:lnTo>
                <a:lnTo>
                  <a:pt x="228" y="1560"/>
                </a:lnTo>
                <a:lnTo>
                  <a:pt x="252" y="1548"/>
                </a:lnTo>
                <a:lnTo>
                  <a:pt x="276" y="1530"/>
                </a:lnTo>
                <a:lnTo>
                  <a:pt x="282" y="1512"/>
                </a:lnTo>
                <a:lnTo>
                  <a:pt x="282" y="1506"/>
                </a:lnTo>
                <a:lnTo>
                  <a:pt x="282" y="1494"/>
                </a:lnTo>
                <a:lnTo>
                  <a:pt x="282" y="1452"/>
                </a:lnTo>
                <a:lnTo>
                  <a:pt x="288" y="1440"/>
                </a:lnTo>
                <a:lnTo>
                  <a:pt x="294" y="1440"/>
                </a:lnTo>
                <a:lnTo>
                  <a:pt x="294" y="1428"/>
                </a:lnTo>
                <a:lnTo>
                  <a:pt x="324" y="1368"/>
                </a:lnTo>
                <a:lnTo>
                  <a:pt x="330" y="1362"/>
                </a:lnTo>
                <a:lnTo>
                  <a:pt x="330" y="1356"/>
                </a:lnTo>
                <a:lnTo>
                  <a:pt x="360" y="1338"/>
                </a:lnTo>
                <a:lnTo>
                  <a:pt x="366" y="1296"/>
                </a:lnTo>
                <a:lnTo>
                  <a:pt x="354" y="1278"/>
                </a:lnTo>
                <a:lnTo>
                  <a:pt x="336" y="1230"/>
                </a:lnTo>
                <a:lnTo>
                  <a:pt x="270" y="1212"/>
                </a:lnTo>
                <a:lnTo>
                  <a:pt x="264" y="1212"/>
                </a:lnTo>
                <a:lnTo>
                  <a:pt x="252" y="1200"/>
                </a:lnTo>
                <a:lnTo>
                  <a:pt x="234" y="1188"/>
                </a:lnTo>
                <a:lnTo>
                  <a:pt x="222" y="1182"/>
                </a:lnTo>
                <a:lnTo>
                  <a:pt x="228" y="1104"/>
                </a:lnTo>
                <a:lnTo>
                  <a:pt x="228" y="1098"/>
                </a:lnTo>
                <a:lnTo>
                  <a:pt x="198" y="1038"/>
                </a:lnTo>
                <a:lnTo>
                  <a:pt x="192" y="1032"/>
                </a:lnTo>
                <a:lnTo>
                  <a:pt x="180" y="1020"/>
                </a:lnTo>
                <a:lnTo>
                  <a:pt x="168" y="996"/>
                </a:lnTo>
                <a:lnTo>
                  <a:pt x="162" y="990"/>
                </a:lnTo>
                <a:lnTo>
                  <a:pt x="156" y="990"/>
                </a:lnTo>
                <a:lnTo>
                  <a:pt x="150" y="990"/>
                </a:lnTo>
                <a:lnTo>
                  <a:pt x="132" y="990"/>
                </a:lnTo>
                <a:lnTo>
                  <a:pt x="120" y="984"/>
                </a:lnTo>
                <a:lnTo>
                  <a:pt x="120" y="990"/>
                </a:lnTo>
                <a:lnTo>
                  <a:pt x="114" y="990"/>
                </a:lnTo>
                <a:lnTo>
                  <a:pt x="102" y="984"/>
                </a:lnTo>
                <a:lnTo>
                  <a:pt x="96" y="984"/>
                </a:lnTo>
                <a:lnTo>
                  <a:pt x="96" y="978"/>
                </a:lnTo>
                <a:lnTo>
                  <a:pt x="90" y="978"/>
                </a:lnTo>
                <a:lnTo>
                  <a:pt x="90" y="966"/>
                </a:lnTo>
                <a:lnTo>
                  <a:pt x="84" y="966"/>
                </a:lnTo>
                <a:lnTo>
                  <a:pt x="84" y="960"/>
                </a:lnTo>
                <a:lnTo>
                  <a:pt x="84" y="954"/>
                </a:lnTo>
                <a:lnTo>
                  <a:pt x="78" y="948"/>
                </a:lnTo>
                <a:lnTo>
                  <a:pt x="72" y="948"/>
                </a:lnTo>
                <a:lnTo>
                  <a:pt x="72" y="942"/>
                </a:lnTo>
                <a:lnTo>
                  <a:pt x="78" y="942"/>
                </a:lnTo>
                <a:lnTo>
                  <a:pt x="78" y="936"/>
                </a:lnTo>
                <a:lnTo>
                  <a:pt x="78" y="930"/>
                </a:lnTo>
                <a:lnTo>
                  <a:pt x="78" y="924"/>
                </a:lnTo>
                <a:lnTo>
                  <a:pt x="60" y="906"/>
                </a:lnTo>
                <a:lnTo>
                  <a:pt x="60" y="888"/>
                </a:lnTo>
                <a:lnTo>
                  <a:pt x="54" y="882"/>
                </a:lnTo>
                <a:lnTo>
                  <a:pt x="60" y="882"/>
                </a:lnTo>
                <a:lnTo>
                  <a:pt x="72" y="876"/>
                </a:lnTo>
                <a:lnTo>
                  <a:pt x="78" y="876"/>
                </a:lnTo>
                <a:lnTo>
                  <a:pt x="90" y="870"/>
                </a:lnTo>
                <a:lnTo>
                  <a:pt x="90" y="864"/>
                </a:lnTo>
                <a:lnTo>
                  <a:pt x="96" y="840"/>
                </a:lnTo>
                <a:lnTo>
                  <a:pt x="120" y="828"/>
                </a:lnTo>
                <a:lnTo>
                  <a:pt x="144" y="828"/>
                </a:lnTo>
                <a:lnTo>
                  <a:pt x="180" y="822"/>
                </a:lnTo>
                <a:lnTo>
                  <a:pt x="204" y="798"/>
                </a:lnTo>
                <a:lnTo>
                  <a:pt x="222" y="786"/>
                </a:lnTo>
                <a:lnTo>
                  <a:pt x="252" y="780"/>
                </a:lnTo>
                <a:lnTo>
                  <a:pt x="264" y="762"/>
                </a:lnTo>
                <a:lnTo>
                  <a:pt x="276" y="762"/>
                </a:lnTo>
                <a:lnTo>
                  <a:pt x="288" y="744"/>
                </a:lnTo>
                <a:lnTo>
                  <a:pt x="306" y="738"/>
                </a:lnTo>
                <a:lnTo>
                  <a:pt x="318" y="732"/>
                </a:lnTo>
                <a:lnTo>
                  <a:pt x="324" y="648"/>
                </a:lnTo>
                <a:lnTo>
                  <a:pt x="324" y="636"/>
                </a:lnTo>
                <a:lnTo>
                  <a:pt x="324" y="630"/>
                </a:lnTo>
                <a:lnTo>
                  <a:pt x="330" y="624"/>
                </a:lnTo>
                <a:lnTo>
                  <a:pt x="324" y="618"/>
                </a:lnTo>
                <a:lnTo>
                  <a:pt x="324" y="612"/>
                </a:lnTo>
                <a:lnTo>
                  <a:pt x="324" y="606"/>
                </a:lnTo>
                <a:lnTo>
                  <a:pt x="324" y="588"/>
                </a:lnTo>
                <a:lnTo>
                  <a:pt x="318" y="576"/>
                </a:lnTo>
                <a:lnTo>
                  <a:pt x="318" y="570"/>
                </a:lnTo>
                <a:lnTo>
                  <a:pt x="324" y="570"/>
                </a:lnTo>
                <a:lnTo>
                  <a:pt x="324" y="564"/>
                </a:lnTo>
                <a:lnTo>
                  <a:pt x="324" y="558"/>
                </a:lnTo>
                <a:lnTo>
                  <a:pt x="330" y="558"/>
                </a:lnTo>
                <a:lnTo>
                  <a:pt x="336" y="558"/>
                </a:lnTo>
                <a:lnTo>
                  <a:pt x="342" y="558"/>
                </a:lnTo>
                <a:lnTo>
                  <a:pt x="348" y="558"/>
                </a:lnTo>
                <a:lnTo>
                  <a:pt x="354" y="564"/>
                </a:lnTo>
                <a:lnTo>
                  <a:pt x="360" y="564"/>
                </a:lnTo>
                <a:lnTo>
                  <a:pt x="366" y="570"/>
                </a:lnTo>
                <a:lnTo>
                  <a:pt x="366" y="576"/>
                </a:lnTo>
                <a:lnTo>
                  <a:pt x="372" y="570"/>
                </a:lnTo>
                <a:lnTo>
                  <a:pt x="378" y="570"/>
                </a:lnTo>
                <a:lnTo>
                  <a:pt x="390" y="570"/>
                </a:lnTo>
                <a:lnTo>
                  <a:pt x="402" y="570"/>
                </a:lnTo>
                <a:lnTo>
                  <a:pt x="408" y="570"/>
                </a:lnTo>
                <a:lnTo>
                  <a:pt x="414" y="564"/>
                </a:lnTo>
                <a:lnTo>
                  <a:pt x="420" y="564"/>
                </a:lnTo>
                <a:lnTo>
                  <a:pt x="420" y="570"/>
                </a:lnTo>
                <a:lnTo>
                  <a:pt x="426" y="570"/>
                </a:lnTo>
                <a:lnTo>
                  <a:pt x="432" y="570"/>
                </a:lnTo>
                <a:lnTo>
                  <a:pt x="438" y="570"/>
                </a:lnTo>
                <a:lnTo>
                  <a:pt x="444" y="570"/>
                </a:lnTo>
                <a:lnTo>
                  <a:pt x="450" y="564"/>
                </a:lnTo>
                <a:lnTo>
                  <a:pt x="474" y="558"/>
                </a:lnTo>
                <a:lnTo>
                  <a:pt x="486" y="546"/>
                </a:lnTo>
                <a:lnTo>
                  <a:pt x="510" y="492"/>
                </a:lnTo>
                <a:lnTo>
                  <a:pt x="522" y="492"/>
                </a:lnTo>
                <a:lnTo>
                  <a:pt x="540" y="474"/>
                </a:lnTo>
                <a:lnTo>
                  <a:pt x="558" y="456"/>
                </a:lnTo>
                <a:lnTo>
                  <a:pt x="582" y="450"/>
                </a:lnTo>
                <a:lnTo>
                  <a:pt x="594" y="414"/>
                </a:lnTo>
                <a:lnTo>
                  <a:pt x="612" y="390"/>
                </a:lnTo>
                <a:lnTo>
                  <a:pt x="636" y="390"/>
                </a:lnTo>
                <a:lnTo>
                  <a:pt x="666" y="390"/>
                </a:lnTo>
                <a:lnTo>
                  <a:pt x="696" y="390"/>
                </a:lnTo>
                <a:lnTo>
                  <a:pt x="726" y="390"/>
                </a:lnTo>
                <a:lnTo>
                  <a:pt x="762" y="378"/>
                </a:lnTo>
                <a:lnTo>
                  <a:pt x="780" y="366"/>
                </a:lnTo>
                <a:lnTo>
                  <a:pt x="780" y="342"/>
                </a:lnTo>
                <a:lnTo>
                  <a:pt x="786" y="342"/>
                </a:lnTo>
                <a:lnTo>
                  <a:pt x="786" y="336"/>
                </a:lnTo>
                <a:lnTo>
                  <a:pt x="786" y="330"/>
                </a:lnTo>
                <a:lnTo>
                  <a:pt x="786" y="324"/>
                </a:lnTo>
                <a:lnTo>
                  <a:pt x="816" y="318"/>
                </a:lnTo>
                <a:lnTo>
                  <a:pt x="834" y="312"/>
                </a:lnTo>
                <a:lnTo>
                  <a:pt x="840" y="318"/>
                </a:lnTo>
                <a:lnTo>
                  <a:pt x="852" y="318"/>
                </a:lnTo>
                <a:lnTo>
                  <a:pt x="858" y="306"/>
                </a:lnTo>
                <a:lnTo>
                  <a:pt x="864" y="288"/>
                </a:lnTo>
                <a:lnTo>
                  <a:pt x="870" y="282"/>
                </a:lnTo>
                <a:lnTo>
                  <a:pt x="876" y="276"/>
                </a:lnTo>
                <a:lnTo>
                  <a:pt x="882" y="264"/>
                </a:lnTo>
                <a:lnTo>
                  <a:pt x="882" y="258"/>
                </a:lnTo>
                <a:lnTo>
                  <a:pt x="888" y="252"/>
                </a:lnTo>
                <a:lnTo>
                  <a:pt x="894" y="240"/>
                </a:lnTo>
                <a:lnTo>
                  <a:pt x="906" y="228"/>
                </a:lnTo>
                <a:lnTo>
                  <a:pt x="912" y="228"/>
                </a:lnTo>
                <a:lnTo>
                  <a:pt x="936" y="228"/>
                </a:lnTo>
                <a:lnTo>
                  <a:pt x="942" y="222"/>
                </a:lnTo>
                <a:lnTo>
                  <a:pt x="948" y="216"/>
                </a:lnTo>
                <a:lnTo>
                  <a:pt x="954" y="216"/>
                </a:lnTo>
                <a:lnTo>
                  <a:pt x="960" y="216"/>
                </a:lnTo>
                <a:lnTo>
                  <a:pt x="966" y="216"/>
                </a:lnTo>
                <a:lnTo>
                  <a:pt x="978" y="216"/>
                </a:lnTo>
                <a:lnTo>
                  <a:pt x="990" y="222"/>
                </a:lnTo>
                <a:lnTo>
                  <a:pt x="996" y="222"/>
                </a:lnTo>
                <a:lnTo>
                  <a:pt x="1002" y="228"/>
                </a:lnTo>
                <a:lnTo>
                  <a:pt x="1014" y="234"/>
                </a:lnTo>
                <a:lnTo>
                  <a:pt x="1020" y="234"/>
                </a:lnTo>
                <a:lnTo>
                  <a:pt x="1032" y="240"/>
                </a:lnTo>
                <a:lnTo>
                  <a:pt x="1044" y="240"/>
                </a:lnTo>
                <a:lnTo>
                  <a:pt x="1050" y="240"/>
                </a:lnTo>
                <a:lnTo>
                  <a:pt x="1056" y="246"/>
                </a:lnTo>
                <a:lnTo>
                  <a:pt x="1068" y="264"/>
                </a:lnTo>
                <a:lnTo>
                  <a:pt x="1086" y="276"/>
                </a:lnTo>
                <a:lnTo>
                  <a:pt x="1092" y="276"/>
                </a:lnTo>
                <a:lnTo>
                  <a:pt x="1104" y="282"/>
                </a:lnTo>
                <a:lnTo>
                  <a:pt x="1116" y="288"/>
                </a:lnTo>
                <a:lnTo>
                  <a:pt x="1122" y="300"/>
                </a:lnTo>
                <a:lnTo>
                  <a:pt x="1128" y="312"/>
                </a:lnTo>
                <a:lnTo>
                  <a:pt x="1152" y="324"/>
                </a:lnTo>
                <a:lnTo>
                  <a:pt x="1188" y="324"/>
                </a:lnTo>
                <a:lnTo>
                  <a:pt x="1206" y="318"/>
                </a:lnTo>
                <a:lnTo>
                  <a:pt x="1200" y="294"/>
                </a:lnTo>
                <a:lnTo>
                  <a:pt x="1206" y="252"/>
                </a:lnTo>
                <a:lnTo>
                  <a:pt x="1218" y="222"/>
                </a:lnTo>
                <a:lnTo>
                  <a:pt x="1212" y="222"/>
                </a:lnTo>
                <a:lnTo>
                  <a:pt x="1212" y="216"/>
                </a:lnTo>
                <a:lnTo>
                  <a:pt x="1218" y="204"/>
                </a:lnTo>
                <a:lnTo>
                  <a:pt x="1224" y="198"/>
                </a:lnTo>
                <a:lnTo>
                  <a:pt x="1224" y="192"/>
                </a:lnTo>
                <a:lnTo>
                  <a:pt x="1236" y="180"/>
                </a:lnTo>
                <a:lnTo>
                  <a:pt x="1254" y="156"/>
                </a:lnTo>
                <a:lnTo>
                  <a:pt x="1260" y="150"/>
                </a:lnTo>
                <a:lnTo>
                  <a:pt x="1260" y="144"/>
                </a:lnTo>
                <a:lnTo>
                  <a:pt x="1266" y="138"/>
                </a:lnTo>
                <a:lnTo>
                  <a:pt x="1272" y="138"/>
                </a:lnTo>
                <a:lnTo>
                  <a:pt x="1272" y="120"/>
                </a:lnTo>
                <a:lnTo>
                  <a:pt x="1278" y="114"/>
                </a:lnTo>
                <a:lnTo>
                  <a:pt x="1278" y="108"/>
                </a:lnTo>
                <a:lnTo>
                  <a:pt x="1278" y="102"/>
                </a:lnTo>
                <a:lnTo>
                  <a:pt x="1278" y="90"/>
                </a:lnTo>
                <a:lnTo>
                  <a:pt x="1278" y="84"/>
                </a:lnTo>
                <a:lnTo>
                  <a:pt x="1278" y="78"/>
                </a:lnTo>
                <a:lnTo>
                  <a:pt x="1278" y="72"/>
                </a:lnTo>
                <a:lnTo>
                  <a:pt x="1278" y="60"/>
                </a:lnTo>
                <a:lnTo>
                  <a:pt x="1284" y="48"/>
                </a:lnTo>
                <a:lnTo>
                  <a:pt x="1284" y="24"/>
                </a:lnTo>
                <a:lnTo>
                  <a:pt x="1284" y="18"/>
                </a:lnTo>
                <a:lnTo>
                  <a:pt x="1308" y="24"/>
                </a:lnTo>
                <a:lnTo>
                  <a:pt x="1332" y="30"/>
                </a:lnTo>
                <a:lnTo>
                  <a:pt x="1368" y="30"/>
                </a:lnTo>
                <a:lnTo>
                  <a:pt x="1392" y="24"/>
                </a:lnTo>
                <a:lnTo>
                  <a:pt x="1410" y="18"/>
                </a:lnTo>
                <a:lnTo>
                  <a:pt x="1416" y="6"/>
                </a:lnTo>
                <a:lnTo>
                  <a:pt x="1500" y="6"/>
                </a:lnTo>
                <a:lnTo>
                  <a:pt x="1506" y="0"/>
                </a:lnTo>
                <a:lnTo>
                  <a:pt x="1506" y="6"/>
                </a:lnTo>
                <a:lnTo>
                  <a:pt x="1506" y="18"/>
                </a:lnTo>
                <a:lnTo>
                  <a:pt x="1506" y="24"/>
                </a:lnTo>
                <a:lnTo>
                  <a:pt x="1500" y="30"/>
                </a:lnTo>
                <a:lnTo>
                  <a:pt x="1500" y="42"/>
                </a:lnTo>
                <a:lnTo>
                  <a:pt x="1494" y="54"/>
                </a:lnTo>
                <a:lnTo>
                  <a:pt x="1488" y="60"/>
                </a:lnTo>
                <a:lnTo>
                  <a:pt x="1482" y="60"/>
                </a:lnTo>
                <a:lnTo>
                  <a:pt x="1476" y="66"/>
                </a:lnTo>
                <a:lnTo>
                  <a:pt x="1476" y="72"/>
                </a:lnTo>
                <a:lnTo>
                  <a:pt x="1476" y="78"/>
                </a:lnTo>
                <a:lnTo>
                  <a:pt x="1470" y="78"/>
                </a:lnTo>
                <a:lnTo>
                  <a:pt x="1464" y="90"/>
                </a:lnTo>
                <a:lnTo>
                  <a:pt x="1458" y="96"/>
                </a:lnTo>
                <a:lnTo>
                  <a:pt x="1458" y="102"/>
                </a:lnTo>
                <a:lnTo>
                  <a:pt x="1452" y="120"/>
                </a:lnTo>
                <a:lnTo>
                  <a:pt x="1452" y="132"/>
                </a:lnTo>
                <a:lnTo>
                  <a:pt x="1446" y="144"/>
                </a:lnTo>
                <a:lnTo>
                  <a:pt x="1446" y="150"/>
                </a:lnTo>
                <a:lnTo>
                  <a:pt x="1440" y="150"/>
                </a:lnTo>
                <a:lnTo>
                  <a:pt x="1434" y="156"/>
                </a:lnTo>
                <a:lnTo>
                  <a:pt x="1428" y="168"/>
                </a:lnTo>
                <a:lnTo>
                  <a:pt x="1422" y="168"/>
                </a:lnTo>
                <a:lnTo>
                  <a:pt x="1416" y="174"/>
                </a:lnTo>
                <a:lnTo>
                  <a:pt x="1410" y="186"/>
                </a:lnTo>
                <a:lnTo>
                  <a:pt x="1410" y="204"/>
                </a:lnTo>
                <a:lnTo>
                  <a:pt x="1404" y="210"/>
                </a:lnTo>
                <a:lnTo>
                  <a:pt x="1404" y="216"/>
                </a:lnTo>
                <a:lnTo>
                  <a:pt x="1410" y="228"/>
                </a:lnTo>
                <a:lnTo>
                  <a:pt x="1410" y="234"/>
                </a:lnTo>
                <a:lnTo>
                  <a:pt x="1410" y="240"/>
                </a:lnTo>
                <a:lnTo>
                  <a:pt x="1416" y="252"/>
                </a:lnTo>
                <a:lnTo>
                  <a:pt x="1416" y="258"/>
                </a:lnTo>
                <a:lnTo>
                  <a:pt x="1422" y="264"/>
                </a:lnTo>
                <a:lnTo>
                  <a:pt x="1422" y="270"/>
                </a:lnTo>
                <a:lnTo>
                  <a:pt x="1422" y="282"/>
                </a:lnTo>
                <a:lnTo>
                  <a:pt x="1416" y="288"/>
                </a:lnTo>
                <a:lnTo>
                  <a:pt x="1410" y="294"/>
                </a:lnTo>
                <a:lnTo>
                  <a:pt x="1404" y="300"/>
                </a:lnTo>
                <a:lnTo>
                  <a:pt x="1404" y="306"/>
                </a:lnTo>
                <a:lnTo>
                  <a:pt x="1398" y="324"/>
                </a:lnTo>
                <a:lnTo>
                  <a:pt x="1404" y="330"/>
                </a:lnTo>
                <a:lnTo>
                  <a:pt x="1404" y="342"/>
                </a:lnTo>
                <a:lnTo>
                  <a:pt x="1392" y="354"/>
                </a:lnTo>
                <a:lnTo>
                  <a:pt x="1392" y="360"/>
                </a:lnTo>
                <a:lnTo>
                  <a:pt x="1392" y="372"/>
                </a:lnTo>
                <a:lnTo>
                  <a:pt x="1392" y="384"/>
                </a:lnTo>
                <a:lnTo>
                  <a:pt x="1392" y="396"/>
                </a:lnTo>
                <a:lnTo>
                  <a:pt x="1392" y="408"/>
                </a:lnTo>
                <a:lnTo>
                  <a:pt x="1386" y="414"/>
                </a:lnTo>
                <a:lnTo>
                  <a:pt x="1380" y="420"/>
                </a:lnTo>
                <a:lnTo>
                  <a:pt x="1380" y="426"/>
                </a:lnTo>
                <a:lnTo>
                  <a:pt x="1368" y="432"/>
                </a:lnTo>
                <a:lnTo>
                  <a:pt x="1362" y="444"/>
                </a:lnTo>
                <a:lnTo>
                  <a:pt x="1362" y="450"/>
                </a:lnTo>
                <a:lnTo>
                  <a:pt x="1362" y="462"/>
                </a:lnTo>
                <a:lnTo>
                  <a:pt x="1362" y="468"/>
                </a:lnTo>
                <a:lnTo>
                  <a:pt x="1362" y="474"/>
                </a:lnTo>
                <a:lnTo>
                  <a:pt x="1356" y="474"/>
                </a:lnTo>
                <a:lnTo>
                  <a:pt x="1350" y="480"/>
                </a:lnTo>
                <a:lnTo>
                  <a:pt x="1344" y="486"/>
                </a:lnTo>
                <a:lnTo>
                  <a:pt x="1338" y="498"/>
                </a:lnTo>
                <a:lnTo>
                  <a:pt x="1332" y="510"/>
                </a:lnTo>
                <a:lnTo>
                  <a:pt x="1320" y="510"/>
                </a:lnTo>
                <a:lnTo>
                  <a:pt x="1314" y="516"/>
                </a:lnTo>
                <a:lnTo>
                  <a:pt x="1302" y="522"/>
                </a:lnTo>
                <a:lnTo>
                  <a:pt x="1296" y="522"/>
                </a:lnTo>
                <a:lnTo>
                  <a:pt x="1284" y="516"/>
                </a:lnTo>
                <a:lnTo>
                  <a:pt x="1278" y="516"/>
                </a:lnTo>
                <a:lnTo>
                  <a:pt x="1272" y="522"/>
                </a:lnTo>
                <a:lnTo>
                  <a:pt x="1266" y="522"/>
                </a:lnTo>
                <a:lnTo>
                  <a:pt x="1266" y="528"/>
                </a:lnTo>
                <a:lnTo>
                  <a:pt x="1254" y="540"/>
                </a:lnTo>
                <a:lnTo>
                  <a:pt x="1248" y="546"/>
                </a:lnTo>
                <a:lnTo>
                  <a:pt x="1242" y="558"/>
                </a:lnTo>
                <a:lnTo>
                  <a:pt x="1230" y="576"/>
                </a:lnTo>
                <a:lnTo>
                  <a:pt x="1224" y="582"/>
                </a:lnTo>
                <a:lnTo>
                  <a:pt x="1224" y="588"/>
                </a:lnTo>
                <a:lnTo>
                  <a:pt x="1230" y="594"/>
                </a:lnTo>
                <a:lnTo>
                  <a:pt x="1230" y="600"/>
                </a:lnTo>
                <a:lnTo>
                  <a:pt x="1236" y="606"/>
                </a:lnTo>
                <a:lnTo>
                  <a:pt x="1242" y="606"/>
                </a:lnTo>
                <a:lnTo>
                  <a:pt x="1242" y="612"/>
                </a:lnTo>
                <a:lnTo>
                  <a:pt x="1242" y="618"/>
                </a:lnTo>
                <a:lnTo>
                  <a:pt x="1242" y="624"/>
                </a:lnTo>
                <a:lnTo>
                  <a:pt x="1236" y="630"/>
                </a:lnTo>
                <a:lnTo>
                  <a:pt x="1230" y="642"/>
                </a:lnTo>
                <a:lnTo>
                  <a:pt x="1230" y="648"/>
                </a:lnTo>
                <a:lnTo>
                  <a:pt x="1218" y="654"/>
                </a:lnTo>
                <a:lnTo>
                  <a:pt x="1212" y="654"/>
                </a:lnTo>
                <a:lnTo>
                  <a:pt x="1212" y="660"/>
                </a:lnTo>
                <a:lnTo>
                  <a:pt x="1212" y="666"/>
                </a:lnTo>
                <a:lnTo>
                  <a:pt x="1212" y="672"/>
                </a:lnTo>
                <a:lnTo>
                  <a:pt x="1212" y="678"/>
                </a:lnTo>
                <a:lnTo>
                  <a:pt x="1218" y="684"/>
                </a:lnTo>
                <a:lnTo>
                  <a:pt x="1218" y="690"/>
                </a:lnTo>
                <a:lnTo>
                  <a:pt x="1224" y="696"/>
                </a:lnTo>
                <a:lnTo>
                  <a:pt x="1230" y="702"/>
                </a:lnTo>
                <a:lnTo>
                  <a:pt x="1236" y="696"/>
                </a:lnTo>
                <a:lnTo>
                  <a:pt x="1242" y="702"/>
                </a:lnTo>
                <a:lnTo>
                  <a:pt x="1248" y="708"/>
                </a:lnTo>
                <a:lnTo>
                  <a:pt x="1254" y="714"/>
                </a:lnTo>
                <a:lnTo>
                  <a:pt x="1254" y="720"/>
                </a:lnTo>
                <a:lnTo>
                  <a:pt x="1260" y="720"/>
                </a:lnTo>
                <a:lnTo>
                  <a:pt x="1254" y="732"/>
                </a:lnTo>
                <a:lnTo>
                  <a:pt x="1248" y="738"/>
                </a:lnTo>
                <a:lnTo>
                  <a:pt x="1242" y="744"/>
                </a:lnTo>
                <a:lnTo>
                  <a:pt x="1236" y="750"/>
                </a:lnTo>
                <a:lnTo>
                  <a:pt x="1236" y="756"/>
                </a:lnTo>
                <a:lnTo>
                  <a:pt x="1236" y="762"/>
                </a:lnTo>
                <a:lnTo>
                  <a:pt x="1236" y="768"/>
                </a:lnTo>
                <a:lnTo>
                  <a:pt x="1236" y="780"/>
                </a:lnTo>
                <a:lnTo>
                  <a:pt x="1230" y="780"/>
                </a:lnTo>
                <a:lnTo>
                  <a:pt x="1230" y="786"/>
                </a:lnTo>
                <a:lnTo>
                  <a:pt x="1230" y="792"/>
                </a:lnTo>
                <a:lnTo>
                  <a:pt x="1230" y="804"/>
                </a:lnTo>
                <a:lnTo>
                  <a:pt x="1224" y="810"/>
                </a:lnTo>
                <a:lnTo>
                  <a:pt x="1218" y="816"/>
                </a:lnTo>
                <a:lnTo>
                  <a:pt x="1224" y="822"/>
                </a:lnTo>
                <a:lnTo>
                  <a:pt x="1224" y="828"/>
                </a:lnTo>
                <a:lnTo>
                  <a:pt x="1218" y="834"/>
                </a:lnTo>
                <a:lnTo>
                  <a:pt x="1224" y="834"/>
                </a:lnTo>
                <a:lnTo>
                  <a:pt x="1224" y="840"/>
                </a:lnTo>
                <a:lnTo>
                  <a:pt x="1224" y="846"/>
                </a:lnTo>
                <a:lnTo>
                  <a:pt x="1224" y="852"/>
                </a:lnTo>
                <a:lnTo>
                  <a:pt x="1218" y="858"/>
                </a:lnTo>
                <a:lnTo>
                  <a:pt x="1218" y="870"/>
                </a:lnTo>
                <a:lnTo>
                  <a:pt x="1212" y="870"/>
                </a:lnTo>
                <a:lnTo>
                  <a:pt x="1212" y="876"/>
                </a:lnTo>
                <a:lnTo>
                  <a:pt x="1206" y="888"/>
                </a:lnTo>
                <a:lnTo>
                  <a:pt x="1200" y="882"/>
                </a:lnTo>
                <a:lnTo>
                  <a:pt x="1194" y="888"/>
                </a:lnTo>
                <a:lnTo>
                  <a:pt x="1188" y="894"/>
                </a:lnTo>
                <a:lnTo>
                  <a:pt x="1182" y="894"/>
                </a:lnTo>
                <a:lnTo>
                  <a:pt x="1182" y="900"/>
                </a:lnTo>
                <a:lnTo>
                  <a:pt x="1176" y="900"/>
                </a:lnTo>
                <a:lnTo>
                  <a:pt x="1170" y="894"/>
                </a:lnTo>
                <a:lnTo>
                  <a:pt x="1164" y="900"/>
                </a:lnTo>
                <a:lnTo>
                  <a:pt x="1158" y="900"/>
                </a:lnTo>
                <a:lnTo>
                  <a:pt x="1152" y="900"/>
                </a:lnTo>
                <a:lnTo>
                  <a:pt x="1140" y="900"/>
                </a:lnTo>
                <a:lnTo>
                  <a:pt x="1134" y="900"/>
                </a:lnTo>
                <a:lnTo>
                  <a:pt x="1128" y="906"/>
                </a:lnTo>
                <a:lnTo>
                  <a:pt x="1110" y="906"/>
                </a:lnTo>
                <a:lnTo>
                  <a:pt x="1104" y="906"/>
                </a:lnTo>
                <a:lnTo>
                  <a:pt x="1098" y="906"/>
                </a:lnTo>
                <a:lnTo>
                  <a:pt x="1092" y="912"/>
                </a:lnTo>
                <a:lnTo>
                  <a:pt x="1080" y="918"/>
                </a:lnTo>
                <a:lnTo>
                  <a:pt x="1068" y="930"/>
                </a:lnTo>
                <a:lnTo>
                  <a:pt x="1062" y="930"/>
                </a:lnTo>
                <a:lnTo>
                  <a:pt x="1056" y="930"/>
                </a:lnTo>
                <a:lnTo>
                  <a:pt x="1050" y="930"/>
                </a:lnTo>
                <a:lnTo>
                  <a:pt x="1050" y="936"/>
                </a:lnTo>
                <a:lnTo>
                  <a:pt x="1038" y="942"/>
                </a:lnTo>
                <a:lnTo>
                  <a:pt x="1032" y="948"/>
                </a:lnTo>
                <a:lnTo>
                  <a:pt x="1026" y="954"/>
                </a:lnTo>
                <a:lnTo>
                  <a:pt x="1020" y="960"/>
                </a:lnTo>
                <a:lnTo>
                  <a:pt x="1014" y="966"/>
                </a:lnTo>
                <a:lnTo>
                  <a:pt x="1002" y="966"/>
                </a:lnTo>
                <a:lnTo>
                  <a:pt x="990" y="978"/>
                </a:lnTo>
                <a:lnTo>
                  <a:pt x="984" y="978"/>
                </a:lnTo>
                <a:lnTo>
                  <a:pt x="978" y="984"/>
                </a:lnTo>
                <a:lnTo>
                  <a:pt x="972" y="984"/>
                </a:lnTo>
                <a:lnTo>
                  <a:pt x="978" y="990"/>
                </a:lnTo>
                <a:lnTo>
                  <a:pt x="972" y="996"/>
                </a:lnTo>
                <a:lnTo>
                  <a:pt x="978" y="1002"/>
                </a:lnTo>
                <a:lnTo>
                  <a:pt x="1002" y="1002"/>
                </a:lnTo>
                <a:lnTo>
                  <a:pt x="1002" y="1008"/>
                </a:lnTo>
                <a:lnTo>
                  <a:pt x="1008" y="1020"/>
                </a:lnTo>
                <a:lnTo>
                  <a:pt x="1002" y="1026"/>
                </a:lnTo>
                <a:lnTo>
                  <a:pt x="1002" y="1032"/>
                </a:lnTo>
                <a:lnTo>
                  <a:pt x="1002" y="1050"/>
                </a:lnTo>
                <a:lnTo>
                  <a:pt x="1002" y="1056"/>
                </a:lnTo>
                <a:lnTo>
                  <a:pt x="1008" y="1062"/>
                </a:lnTo>
                <a:lnTo>
                  <a:pt x="1008" y="1074"/>
                </a:lnTo>
                <a:lnTo>
                  <a:pt x="1008" y="1086"/>
                </a:lnTo>
                <a:lnTo>
                  <a:pt x="996" y="1092"/>
                </a:lnTo>
                <a:lnTo>
                  <a:pt x="996" y="1098"/>
                </a:lnTo>
                <a:lnTo>
                  <a:pt x="996" y="1104"/>
                </a:lnTo>
                <a:lnTo>
                  <a:pt x="990" y="1110"/>
                </a:lnTo>
                <a:lnTo>
                  <a:pt x="990" y="1116"/>
                </a:lnTo>
                <a:lnTo>
                  <a:pt x="996" y="1122"/>
                </a:lnTo>
                <a:lnTo>
                  <a:pt x="990" y="1128"/>
                </a:lnTo>
                <a:lnTo>
                  <a:pt x="990" y="1134"/>
                </a:lnTo>
                <a:lnTo>
                  <a:pt x="990" y="1140"/>
                </a:lnTo>
                <a:lnTo>
                  <a:pt x="996" y="1140"/>
                </a:lnTo>
                <a:lnTo>
                  <a:pt x="996" y="1146"/>
                </a:lnTo>
                <a:lnTo>
                  <a:pt x="996" y="1152"/>
                </a:lnTo>
                <a:lnTo>
                  <a:pt x="996" y="1158"/>
                </a:lnTo>
                <a:lnTo>
                  <a:pt x="996" y="1164"/>
                </a:lnTo>
                <a:lnTo>
                  <a:pt x="996" y="1170"/>
                </a:lnTo>
                <a:lnTo>
                  <a:pt x="996" y="1176"/>
                </a:lnTo>
                <a:lnTo>
                  <a:pt x="990" y="1182"/>
                </a:lnTo>
                <a:lnTo>
                  <a:pt x="990" y="1188"/>
                </a:lnTo>
                <a:lnTo>
                  <a:pt x="984" y="1200"/>
                </a:lnTo>
                <a:lnTo>
                  <a:pt x="990" y="1206"/>
                </a:lnTo>
                <a:lnTo>
                  <a:pt x="990" y="1212"/>
                </a:lnTo>
                <a:lnTo>
                  <a:pt x="990" y="1218"/>
                </a:lnTo>
                <a:lnTo>
                  <a:pt x="978" y="1230"/>
                </a:lnTo>
                <a:lnTo>
                  <a:pt x="972" y="1236"/>
                </a:lnTo>
                <a:lnTo>
                  <a:pt x="972" y="1242"/>
                </a:lnTo>
                <a:lnTo>
                  <a:pt x="966" y="1248"/>
                </a:lnTo>
                <a:lnTo>
                  <a:pt x="960" y="1260"/>
                </a:lnTo>
                <a:lnTo>
                  <a:pt x="954" y="1266"/>
                </a:lnTo>
                <a:lnTo>
                  <a:pt x="942" y="1278"/>
                </a:lnTo>
                <a:lnTo>
                  <a:pt x="936" y="1278"/>
                </a:lnTo>
                <a:lnTo>
                  <a:pt x="936" y="1284"/>
                </a:lnTo>
                <a:lnTo>
                  <a:pt x="936" y="1296"/>
                </a:lnTo>
                <a:lnTo>
                  <a:pt x="936" y="1302"/>
                </a:lnTo>
                <a:lnTo>
                  <a:pt x="942" y="1302"/>
                </a:lnTo>
                <a:lnTo>
                  <a:pt x="942" y="1308"/>
                </a:lnTo>
                <a:lnTo>
                  <a:pt x="936" y="1314"/>
                </a:lnTo>
                <a:lnTo>
                  <a:pt x="930" y="1320"/>
                </a:lnTo>
                <a:lnTo>
                  <a:pt x="930" y="1326"/>
                </a:lnTo>
                <a:lnTo>
                  <a:pt x="930" y="1332"/>
                </a:lnTo>
                <a:lnTo>
                  <a:pt x="936" y="1338"/>
                </a:lnTo>
                <a:lnTo>
                  <a:pt x="936" y="1344"/>
                </a:lnTo>
                <a:lnTo>
                  <a:pt x="942" y="1356"/>
                </a:lnTo>
                <a:lnTo>
                  <a:pt x="948" y="1368"/>
                </a:lnTo>
                <a:lnTo>
                  <a:pt x="942" y="1380"/>
                </a:lnTo>
                <a:lnTo>
                  <a:pt x="936" y="1386"/>
                </a:lnTo>
                <a:lnTo>
                  <a:pt x="930" y="1392"/>
                </a:lnTo>
                <a:lnTo>
                  <a:pt x="924" y="1392"/>
                </a:lnTo>
                <a:lnTo>
                  <a:pt x="918" y="1386"/>
                </a:lnTo>
                <a:lnTo>
                  <a:pt x="912" y="1386"/>
                </a:lnTo>
                <a:lnTo>
                  <a:pt x="906" y="1386"/>
                </a:lnTo>
                <a:lnTo>
                  <a:pt x="900" y="1386"/>
                </a:lnTo>
                <a:lnTo>
                  <a:pt x="900" y="1392"/>
                </a:lnTo>
                <a:lnTo>
                  <a:pt x="894" y="1392"/>
                </a:lnTo>
                <a:lnTo>
                  <a:pt x="888" y="1392"/>
                </a:lnTo>
                <a:lnTo>
                  <a:pt x="888" y="1398"/>
                </a:lnTo>
                <a:lnTo>
                  <a:pt x="882" y="1404"/>
                </a:lnTo>
                <a:lnTo>
                  <a:pt x="882" y="1416"/>
                </a:lnTo>
                <a:lnTo>
                  <a:pt x="882" y="1428"/>
                </a:lnTo>
                <a:lnTo>
                  <a:pt x="882" y="1434"/>
                </a:lnTo>
                <a:lnTo>
                  <a:pt x="870" y="1440"/>
                </a:lnTo>
                <a:lnTo>
                  <a:pt x="864" y="1452"/>
                </a:lnTo>
                <a:lnTo>
                  <a:pt x="870" y="1452"/>
                </a:lnTo>
                <a:lnTo>
                  <a:pt x="864" y="1458"/>
                </a:lnTo>
                <a:lnTo>
                  <a:pt x="858" y="1464"/>
                </a:lnTo>
                <a:lnTo>
                  <a:pt x="852" y="1464"/>
                </a:lnTo>
                <a:lnTo>
                  <a:pt x="846" y="1458"/>
                </a:lnTo>
                <a:lnTo>
                  <a:pt x="840" y="1458"/>
                </a:lnTo>
                <a:lnTo>
                  <a:pt x="828" y="1470"/>
                </a:lnTo>
                <a:lnTo>
                  <a:pt x="810" y="1482"/>
                </a:lnTo>
                <a:lnTo>
                  <a:pt x="804" y="1488"/>
                </a:lnTo>
                <a:lnTo>
                  <a:pt x="798" y="1488"/>
                </a:lnTo>
                <a:lnTo>
                  <a:pt x="792" y="1488"/>
                </a:lnTo>
                <a:lnTo>
                  <a:pt x="786" y="1488"/>
                </a:lnTo>
                <a:lnTo>
                  <a:pt x="768" y="1482"/>
                </a:lnTo>
                <a:lnTo>
                  <a:pt x="762" y="1476"/>
                </a:lnTo>
                <a:lnTo>
                  <a:pt x="744" y="1476"/>
                </a:lnTo>
                <a:lnTo>
                  <a:pt x="738" y="1476"/>
                </a:lnTo>
                <a:lnTo>
                  <a:pt x="732" y="1476"/>
                </a:lnTo>
                <a:lnTo>
                  <a:pt x="726" y="1482"/>
                </a:lnTo>
                <a:lnTo>
                  <a:pt x="726" y="1488"/>
                </a:lnTo>
                <a:lnTo>
                  <a:pt x="726" y="1494"/>
                </a:lnTo>
                <a:lnTo>
                  <a:pt x="726" y="1500"/>
                </a:lnTo>
                <a:lnTo>
                  <a:pt x="720" y="1500"/>
                </a:lnTo>
                <a:lnTo>
                  <a:pt x="720" y="1506"/>
                </a:lnTo>
                <a:lnTo>
                  <a:pt x="714" y="1512"/>
                </a:lnTo>
                <a:lnTo>
                  <a:pt x="714" y="1518"/>
                </a:lnTo>
                <a:lnTo>
                  <a:pt x="708" y="1518"/>
                </a:lnTo>
                <a:lnTo>
                  <a:pt x="708" y="1530"/>
                </a:lnTo>
                <a:lnTo>
                  <a:pt x="708" y="1536"/>
                </a:lnTo>
                <a:lnTo>
                  <a:pt x="708" y="1542"/>
                </a:lnTo>
                <a:lnTo>
                  <a:pt x="696" y="1554"/>
                </a:lnTo>
                <a:lnTo>
                  <a:pt x="690" y="1560"/>
                </a:lnTo>
                <a:lnTo>
                  <a:pt x="684" y="1566"/>
                </a:lnTo>
                <a:lnTo>
                  <a:pt x="672" y="1566"/>
                </a:lnTo>
                <a:lnTo>
                  <a:pt x="666" y="1566"/>
                </a:lnTo>
                <a:lnTo>
                  <a:pt x="660" y="1566"/>
                </a:lnTo>
                <a:lnTo>
                  <a:pt x="654" y="1572"/>
                </a:lnTo>
                <a:lnTo>
                  <a:pt x="654" y="1578"/>
                </a:lnTo>
                <a:lnTo>
                  <a:pt x="642" y="1578"/>
                </a:lnTo>
                <a:lnTo>
                  <a:pt x="630" y="1572"/>
                </a:lnTo>
                <a:lnTo>
                  <a:pt x="624" y="1572"/>
                </a:lnTo>
                <a:lnTo>
                  <a:pt x="618" y="1578"/>
                </a:lnTo>
                <a:lnTo>
                  <a:pt x="612" y="1584"/>
                </a:lnTo>
                <a:lnTo>
                  <a:pt x="606" y="1584"/>
                </a:lnTo>
                <a:lnTo>
                  <a:pt x="600" y="1590"/>
                </a:lnTo>
                <a:lnTo>
                  <a:pt x="594" y="1590"/>
                </a:lnTo>
                <a:lnTo>
                  <a:pt x="588" y="1590"/>
                </a:lnTo>
                <a:lnTo>
                  <a:pt x="582" y="1590"/>
                </a:lnTo>
                <a:lnTo>
                  <a:pt x="582" y="1596"/>
                </a:lnTo>
                <a:lnTo>
                  <a:pt x="576" y="1614"/>
                </a:lnTo>
                <a:lnTo>
                  <a:pt x="570" y="1632"/>
                </a:lnTo>
                <a:lnTo>
                  <a:pt x="570" y="1638"/>
                </a:lnTo>
                <a:lnTo>
                  <a:pt x="576" y="1644"/>
                </a:lnTo>
                <a:lnTo>
                  <a:pt x="576" y="1650"/>
                </a:lnTo>
                <a:lnTo>
                  <a:pt x="582" y="1662"/>
                </a:lnTo>
                <a:lnTo>
                  <a:pt x="582" y="1668"/>
                </a:lnTo>
                <a:lnTo>
                  <a:pt x="588" y="1692"/>
                </a:lnTo>
                <a:lnTo>
                  <a:pt x="594" y="1728"/>
                </a:lnTo>
                <a:lnTo>
                  <a:pt x="594" y="1752"/>
                </a:lnTo>
                <a:lnTo>
                  <a:pt x="594" y="1764"/>
                </a:lnTo>
                <a:lnTo>
                  <a:pt x="582" y="1770"/>
                </a:lnTo>
                <a:lnTo>
                  <a:pt x="582" y="1782"/>
                </a:lnTo>
                <a:lnTo>
                  <a:pt x="576" y="1788"/>
                </a:lnTo>
                <a:lnTo>
                  <a:pt x="570" y="1794"/>
                </a:lnTo>
                <a:lnTo>
                  <a:pt x="564" y="1806"/>
                </a:lnTo>
                <a:lnTo>
                  <a:pt x="564" y="1812"/>
                </a:lnTo>
                <a:lnTo>
                  <a:pt x="558" y="1812"/>
                </a:lnTo>
                <a:lnTo>
                  <a:pt x="564" y="1824"/>
                </a:lnTo>
                <a:lnTo>
                  <a:pt x="564" y="1830"/>
                </a:lnTo>
                <a:lnTo>
                  <a:pt x="564" y="1842"/>
                </a:lnTo>
                <a:lnTo>
                  <a:pt x="564" y="1848"/>
                </a:lnTo>
                <a:lnTo>
                  <a:pt x="564" y="1854"/>
                </a:lnTo>
                <a:lnTo>
                  <a:pt x="570" y="1860"/>
                </a:lnTo>
                <a:lnTo>
                  <a:pt x="570" y="1866"/>
                </a:lnTo>
                <a:lnTo>
                  <a:pt x="570" y="1872"/>
                </a:lnTo>
                <a:lnTo>
                  <a:pt x="570" y="1878"/>
                </a:lnTo>
                <a:lnTo>
                  <a:pt x="564" y="1890"/>
                </a:lnTo>
                <a:lnTo>
                  <a:pt x="558" y="1896"/>
                </a:lnTo>
                <a:lnTo>
                  <a:pt x="552" y="1908"/>
                </a:lnTo>
                <a:lnTo>
                  <a:pt x="546" y="1914"/>
                </a:lnTo>
                <a:lnTo>
                  <a:pt x="540" y="1920"/>
                </a:lnTo>
                <a:lnTo>
                  <a:pt x="534" y="1932"/>
                </a:lnTo>
                <a:lnTo>
                  <a:pt x="528" y="1944"/>
                </a:lnTo>
                <a:lnTo>
                  <a:pt x="516" y="1950"/>
                </a:lnTo>
                <a:lnTo>
                  <a:pt x="510" y="1956"/>
                </a:lnTo>
                <a:lnTo>
                  <a:pt x="498" y="1962"/>
                </a:lnTo>
                <a:lnTo>
                  <a:pt x="492" y="1974"/>
                </a:lnTo>
                <a:lnTo>
                  <a:pt x="486" y="1980"/>
                </a:lnTo>
                <a:lnTo>
                  <a:pt x="480" y="1998"/>
                </a:lnTo>
                <a:lnTo>
                  <a:pt x="474" y="2004"/>
                </a:lnTo>
                <a:lnTo>
                  <a:pt x="474" y="2010"/>
                </a:lnTo>
                <a:lnTo>
                  <a:pt x="474" y="2016"/>
                </a:lnTo>
                <a:lnTo>
                  <a:pt x="468" y="2016"/>
                </a:lnTo>
                <a:lnTo>
                  <a:pt x="468" y="2028"/>
                </a:lnTo>
                <a:lnTo>
                  <a:pt x="462" y="2034"/>
                </a:lnTo>
                <a:lnTo>
                  <a:pt x="456" y="2040"/>
                </a:lnTo>
                <a:lnTo>
                  <a:pt x="456" y="2052"/>
                </a:lnTo>
                <a:lnTo>
                  <a:pt x="450" y="2058"/>
                </a:lnTo>
                <a:lnTo>
                  <a:pt x="450" y="2070"/>
                </a:lnTo>
                <a:lnTo>
                  <a:pt x="450" y="2076"/>
                </a:lnTo>
                <a:lnTo>
                  <a:pt x="450" y="2082"/>
                </a:lnTo>
                <a:lnTo>
                  <a:pt x="444" y="2088"/>
                </a:lnTo>
                <a:lnTo>
                  <a:pt x="438" y="2094"/>
                </a:lnTo>
                <a:lnTo>
                  <a:pt x="444" y="2100"/>
                </a:lnTo>
                <a:lnTo>
                  <a:pt x="444" y="2124"/>
                </a:lnTo>
                <a:lnTo>
                  <a:pt x="444" y="2142"/>
                </a:lnTo>
                <a:lnTo>
                  <a:pt x="444" y="2160"/>
                </a:lnTo>
                <a:lnTo>
                  <a:pt x="450" y="2166"/>
                </a:lnTo>
                <a:lnTo>
                  <a:pt x="456" y="2178"/>
                </a:lnTo>
                <a:lnTo>
                  <a:pt x="438" y="2184"/>
                </a:lnTo>
                <a:lnTo>
                  <a:pt x="432" y="2184"/>
                </a:lnTo>
                <a:lnTo>
                  <a:pt x="426" y="2190"/>
                </a:lnTo>
                <a:lnTo>
                  <a:pt x="408" y="2190"/>
                </a:lnTo>
                <a:lnTo>
                  <a:pt x="402" y="2196"/>
                </a:lnTo>
                <a:lnTo>
                  <a:pt x="396" y="2196"/>
                </a:lnTo>
                <a:lnTo>
                  <a:pt x="384" y="2208"/>
                </a:lnTo>
                <a:lnTo>
                  <a:pt x="378" y="2220"/>
                </a:lnTo>
                <a:lnTo>
                  <a:pt x="366" y="2232"/>
                </a:lnTo>
                <a:lnTo>
                  <a:pt x="366" y="2238"/>
                </a:lnTo>
                <a:lnTo>
                  <a:pt x="360" y="2238"/>
                </a:lnTo>
                <a:lnTo>
                  <a:pt x="360" y="2244"/>
                </a:lnTo>
                <a:lnTo>
                  <a:pt x="354" y="2244"/>
                </a:lnTo>
                <a:lnTo>
                  <a:pt x="330" y="2274"/>
                </a:lnTo>
                <a:close/>
              </a:path>
            </a:pathLst>
          </a:custGeom>
          <a:noFill/>
          <a:ln w="9525" cap="flat" cmpd="sng">
            <a:solidFill>
              <a:srgbClr val="33872D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54" name="Freeform 10">
            <a:extLst>
              <a:ext uri="{FF2B5EF4-FFF2-40B4-BE49-F238E27FC236}">
                <a16:creationId xmlns:a16="http://schemas.microsoft.com/office/drawing/2014/main" id="{944BA69F-67EA-4101-9A77-D7E9BDF0764B}"/>
              </a:ext>
            </a:extLst>
          </p:cNvPr>
          <p:cNvSpPr>
            <a:spLocks/>
          </p:cNvSpPr>
          <p:nvPr/>
        </p:nvSpPr>
        <p:spPr bwMode="gray">
          <a:xfrm>
            <a:off x="5099614" y="2529166"/>
            <a:ext cx="869447" cy="1137879"/>
          </a:xfrm>
          <a:custGeom>
            <a:avLst/>
            <a:gdLst>
              <a:gd name="T0" fmla="*/ 124 w 1512"/>
              <a:gd name="T1" fmla="*/ 76 h 1956"/>
              <a:gd name="T2" fmla="*/ 120 w 1512"/>
              <a:gd name="T3" fmla="*/ 80 h 1956"/>
              <a:gd name="T4" fmla="*/ 106 w 1512"/>
              <a:gd name="T5" fmla="*/ 84 h 1956"/>
              <a:gd name="T6" fmla="*/ 105 w 1512"/>
              <a:gd name="T7" fmla="*/ 91 h 1956"/>
              <a:gd name="T8" fmla="*/ 101 w 1512"/>
              <a:gd name="T9" fmla="*/ 99 h 1956"/>
              <a:gd name="T10" fmla="*/ 105 w 1512"/>
              <a:gd name="T11" fmla="*/ 107 h 1956"/>
              <a:gd name="T12" fmla="*/ 119 w 1512"/>
              <a:gd name="T13" fmla="*/ 116 h 1956"/>
              <a:gd name="T14" fmla="*/ 121 w 1512"/>
              <a:gd name="T15" fmla="*/ 128 h 1956"/>
              <a:gd name="T16" fmla="*/ 112 w 1512"/>
              <a:gd name="T17" fmla="*/ 136 h 1956"/>
              <a:gd name="T18" fmla="*/ 119 w 1512"/>
              <a:gd name="T19" fmla="*/ 143 h 1956"/>
              <a:gd name="T20" fmla="*/ 126 w 1512"/>
              <a:gd name="T21" fmla="*/ 148 h 1956"/>
              <a:gd name="T22" fmla="*/ 126 w 1512"/>
              <a:gd name="T23" fmla="*/ 160 h 1956"/>
              <a:gd name="T24" fmla="*/ 104 w 1512"/>
              <a:gd name="T25" fmla="*/ 170 h 1956"/>
              <a:gd name="T26" fmla="*/ 99 w 1512"/>
              <a:gd name="T27" fmla="*/ 164 h 1956"/>
              <a:gd name="T28" fmla="*/ 73 w 1512"/>
              <a:gd name="T29" fmla="*/ 152 h 1956"/>
              <a:gd name="T30" fmla="*/ 56 w 1512"/>
              <a:gd name="T31" fmla="*/ 165 h 1956"/>
              <a:gd name="T32" fmla="*/ 33 w 1512"/>
              <a:gd name="T33" fmla="*/ 162 h 1956"/>
              <a:gd name="T34" fmla="*/ 25 w 1512"/>
              <a:gd name="T35" fmla="*/ 155 h 1956"/>
              <a:gd name="T36" fmla="*/ 31 w 1512"/>
              <a:gd name="T37" fmla="*/ 142 h 1956"/>
              <a:gd name="T38" fmla="*/ 24 w 1512"/>
              <a:gd name="T39" fmla="*/ 137 h 1956"/>
              <a:gd name="T40" fmla="*/ 14 w 1512"/>
              <a:gd name="T41" fmla="*/ 136 h 1956"/>
              <a:gd name="T42" fmla="*/ 11 w 1512"/>
              <a:gd name="T43" fmla="*/ 125 h 1956"/>
              <a:gd name="T44" fmla="*/ 3 w 1512"/>
              <a:gd name="T45" fmla="*/ 116 h 1956"/>
              <a:gd name="T46" fmla="*/ 2 w 1512"/>
              <a:gd name="T47" fmla="*/ 106 h 1956"/>
              <a:gd name="T48" fmla="*/ 5 w 1512"/>
              <a:gd name="T49" fmla="*/ 101 h 1956"/>
              <a:gd name="T50" fmla="*/ 2 w 1512"/>
              <a:gd name="T51" fmla="*/ 95 h 1956"/>
              <a:gd name="T52" fmla="*/ 1 w 1512"/>
              <a:gd name="T53" fmla="*/ 88 h 1956"/>
              <a:gd name="T54" fmla="*/ 4 w 1512"/>
              <a:gd name="T55" fmla="*/ 80 h 1956"/>
              <a:gd name="T56" fmla="*/ 12 w 1512"/>
              <a:gd name="T57" fmla="*/ 73 h 1956"/>
              <a:gd name="T58" fmla="*/ 16 w 1512"/>
              <a:gd name="T59" fmla="*/ 68 h 1956"/>
              <a:gd name="T60" fmla="*/ 22 w 1512"/>
              <a:gd name="T61" fmla="*/ 66 h 1956"/>
              <a:gd name="T62" fmla="*/ 32 w 1512"/>
              <a:gd name="T63" fmla="*/ 65 h 1956"/>
              <a:gd name="T64" fmla="*/ 45 w 1512"/>
              <a:gd name="T65" fmla="*/ 66 h 1956"/>
              <a:gd name="T66" fmla="*/ 50 w 1512"/>
              <a:gd name="T67" fmla="*/ 70 h 1956"/>
              <a:gd name="T68" fmla="*/ 55 w 1512"/>
              <a:gd name="T69" fmla="*/ 70 h 1956"/>
              <a:gd name="T70" fmla="*/ 63 w 1512"/>
              <a:gd name="T71" fmla="*/ 71 h 1956"/>
              <a:gd name="T72" fmla="*/ 61 w 1512"/>
              <a:gd name="T73" fmla="*/ 75 h 1956"/>
              <a:gd name="T74" fmla="*/ 66 w 1512"/>
              <a:gd name="T75" fmla="*/ 84 h 1956"/>
              <a:gd name="T76" fmla="*/ 81 w 1512"/>
              <a:gd name="T77" fmla="*/ 85 h 1956"/>
              <a:gd name="T78" fmla="*/ 83 w 1512"/>
              <a:gd name="T79" fmla="*/ 79 h 1956"/>
              <a:gd name="T80" fmla="*/ 89 w 1512"/>
              <a:gd name="T81" fmla="*/ 77 h 1956"/>
              <a:gd name="T82" fmla="*/ 89 w 1512"/>
              <a:gd name="T83" fmla="*/ 73 h 1956"/>
              <a:gd name="T84" fmla="*/ 83 w 1512"/>
              <a:gd name="T85" fmla="*/ 72 h 1956"/>
              <a:gd name="T86" fmla="*/ 77 w 1512"/>
              <a:gd name="T87" fmla="*/ 70 h 1956"/>
              <a:gd name="T88" fmla="*/ 71 w 1512"/>
              <a:gd name="T89" fmla="*/ 70 h 1956"/>
              <a:gd name="T90" fmla="*/ 59 w 1512"/>
              <a:gd name="T91" fmla="*/ 58 h 1956"/>
              <a:gd name="T92" fmla="*/ 54 w 1512"/>
              <a:gd name="T93" fmla="*/ 45 h 1956"/>
              <a:gd name="T94" fmla="*/ 49 w 1512"/>
              <a:gd name="T95" fmla="*/ 42 h 1956"/>
              <a:gd name="T96" fmla="*/ 51 w 1512"/>
              <a:gd name="T97" fmla="*/ 39 h 1956"/>
              <a:gd name="T98" fmla="*/ 55 w 1512"/>
              <a:gd name="T99" fmla="*/ 36 h 1956"/>
              <a:gd name="T100" fmla="*/ 63 w 1512"/>
              <a:gd name="T101" fmla="*/ 34 h 1956"/>
              <a:gd name="T102" fmla="*/ 68 w 1512"/>
              <a:gd name="T103" fmla="*/ 32 h 1956"/>
              <a:gd name="T104" fmla="*/ 73 w 1512"/>
              <a:gd name="T105" fmla="*/ 29 h 1956"/>
              <a:gd name="T106" fmla="*/ 78 w 1512"/>
              <a:gd name="T107" fmla="*/ 27 h 1956"/>
              <a:gd name="T108" fmla="*/ 81 w 1512"/>
              <a:gd name="T109" fmla="*/ 17 h 1956"/>
              <a:gd name="T110" fmla="*/ 84 w 1512"/>
              <a:gd name="T111" fmla="*/ 6 h 1956"/>
              <a:gd name="T112" fmla="*/ 95 w 1512"/>
              <a:gd name="T113" fmla="*/ 6 h 1956"/>
              <a:gd name="T114" fmla="*/ 99 w 1512"/>
              <a:gd name="T115" fmla="*/ 3 h 1956"/>
              <a:gd name="T116" fmla="*/ 103 w 1512"/>
              <a:gd name="T117" fmla="*/ 0 h 1956"/>
              <a:gd name="T118" fmla="*/ 110 w 1512"/>
              <a:gd name="T119" fmla="*/ 4 h 1956"/>
              <a:gd name="T120" fmla="*/ 114 w 1512"/>
              <a:gd name="T121" fmla="*/ 33 h 1956"/>
              <a:gd name="T122" fmla="*/ 117 w 1512"/>
              <a:gd name="T123" fmla="*/ 41 h 1956"/>
              <a:gd name="T124" fmla="*/ 119 w 1512"/>
              <a:gd name="T125" fmla="*/ 62 h 195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512"/>
              <a:gd name="T190" fmla="*/ 0 h 1956"/>
              <a:gd name="T191" fmla="*/ 1512 w 1512"/>
              <a:gd name="T192" fmla="*/ 1956 h 195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512" h="1956">
                <a:moveTo>
                  <a:pt x="1512" y="780"/>
                </a:moveTo>
                <a:lnTo>
                  <a:pt x="1482" y="786"/>
                </a:lnTo>
                <a:lnTo>
                  <a:pt x="1476" y="792"/>
                </a:lnTo>
                <a:lnTo>
                  <a:pt x="1476" y="798"/>
                </a:lnTo>
                <a:lnTo>
                  <a:pt x="1476" y="804"/>
                </a:lnTo>
                <a:lnTo>
                  <a:pt x="1476" y="816"/>
                </a:lnTo>
                <a:lnTo>
                  <a:pt x="1470" y="834"/>
                </a:lnTo>
                <a:lnTo>
                  <a:pt x="1464" y="840"/>
                </a:lnTo>
                <a:lnTo>
                  <a:pt x="1452" y="852"/>
                </a:lnTo>
                <a:lnTo>
                  <a:pt x="1440" y="864"/>
                </a:lnTo>
                <a:lnTo>
                  <a:pt x="1434" y="864"/>
                </a:lnTo>
                <a:lnTo>
                  <a:pt x="1434" y="870"/>
                </a:lnTo>
                <a:lnTo>
                  <a:pt x="1422" y="876"/>
                </a:lnTo>
                <a:lnTo>
                  <a:pt x="1410" y="894"/>
                </a:lnTo>
                <a:lnTo>
                  <a:pt x="1404" y="894"/>
                </a:lnTo>
                <a:lnTo>
                  <a:pt x="1404" y="900"/>
                </a:lnTo>
                <a:lnTo>
                  <a:pt x="1404" y="906"/>
                </a:lnTo>
                <a:lnTo>
                  <a:pt x="1410" y="918"/>
                </a:lnTo>
                <a:lnTo>
                  <a:pt x="1404" y="918"/>
                </a:lnTo>
                <a:lnTo>
                  <a:pt x="1392" y="924"/>
                </a:lnTo>
                <a:lnTo>
                  <a:pt x="1386" y="924"/>
                </a:lnTo>
                <a:lnTo>
                  <a:pt x="1380" y="924"/>
                </a:lnTo>
                <a:lnTo>
                  <a:pt x="1380" y="930"/>
                </a:lnTo>
                <a:lnTo>
                  <a:pt x="1374" y="930"/>
                </a:lnTo>
                <a:lnTo>
                  <a:pt x="1374" y="924"/>
                </a:lnTo>
                <a:lnTo>
                  <a:pt x="1374" y="918"/>
                </a:lnTo>
                <a:lnTo>
                  <a:pt x="1368" y="912"/>
                </a:lnTo>
                <a:lnTo>
                  <a:pt x="1368" y="906"/>
                </a:lnTo>
                <a:lnTo>
                  <a:pt x="1368" y="900"/>
                </a:lnTo>
                <a:lnTo>
                  <a:pt x="1368" y="894"/>
                </a:lnTo>
                <a:lnTo>
                  <a:pt x="1362" y="894"/>
                </a:lnTo>
                <a:lnTo>
                  <a:pt x="1326" y="894"/>
                </a:lnTo>
                <a:lnTo>
                  <a:pt x="1302" y="906"/>
                </a:lnTo>
                <a:lnTo>
                  <a:pt x="1284" y="918"/>
                </a:lnTo>
                <a:lnTo>
                  <a:pt x="1284" y="924"/>
                </a:lnTo>
                <a:lnTo>
                  <a:pt x="1278" y="930"/>
                </a:lnTo>
                <a:lnTo>
                  <a:pt x="1266" y="930"/>
                </a:lnTo>
                <a:lnTo>
                  <a:pt x="1236" y="954"/>
                </a:lnTo>
                <a:lnTo>
                  <a:pt x="1212" y="972"/>
                </a:lnTo>
                <a:lnTo>
                  <a:pt x="1218" y="996"/>
                </a:lnTo>
                <a:lnTo>
                  <a:pt x="1224" y="1008"/>
                </a:lnTo>
                <a:lnTo>
                  <a:pt x="1236" y="1014"/>
                </a:lnTo>
                <a:lnTo>
                  <a:pt x="1242" y="1026"/>
                </a:lnTo>
                <a:lnTo>
                  <a:pt x="1248" y="1038"/>
                </a:lnTo>
                <a:lnTo>
                  <a:pt x="1260" y="1050"/>
                </a:lnTo>
                <a:lnTo>
                  <a:pt x="1260" y="1056"/>
                </a:lnTo>
                <a:lnTo>
                  <a:pt x="1260" y="1074"/>
                </a:lnTo>
                <a:lnTo>
                  <a:pt x="1254" y="1074"/>
                </a:lnTo>
                <a:lnTo>
                  <a:pt x="1236" y="1056"/>
                </a:lnTo>
                <a:lnTo>
                  <a:pt x="1224" y="1050"/>
                </a:lnTo>
                <a:lnTo>
                  <a:pt x="1212" y="1050"/>
                </a:lnTo>
                <a:lnTo>
                  <a:pt x="1206" y="1050"/>
                </a:lnTo>
                <a:lnTo>
                  <a:pt x="1200" y="1056"/>
                </a:lnTo>
                <a:lnTo>
                  <a:pt x="1194" y="1062"/>
                </a:lnTo>
                <a:lnTo>
                  <a:pt x="1188" y="1068"/>
                </a:lnTo>
                <a:lnTo>
                  <a:pt x="1188" y="1074"/>
                </a:lnTo>
                <a:lnTo>
                  <a:pt x="1176" y="1086"/>
                </a:lnTo>
                <a:lnTo>
                  <a:pt x="1170" y="1086"/>
                </a:lnTo>
                <a:lnTo>
                  <a:pt x="1170" y="1092"/>
                </a:lnTo>
                <a:lnTo>
                  <a:pt x="1164" y="1098"/>
                </a:lnTo>
                <a:lnTo>
                  <a:pt x="1158" y="1110"/>
                </a:lnTo>
                <a:lnTo>
                  <a:pt x="1152" y="1116"/>
                </a:lnTo>
                <a:lnTo>
                  <a:pt x="1152" y="1122"/>
                </a:lnTo>
                <a:lnTo>
                  <a:pt x="1146" y="1128"/>
                </a:lnTo>
                <a:lnTo>
                  <a:pt x="1152" y="1140"/>
                </a:lnTo>
                <a:lnTo>
                  <a:pt x="1158" y="1140"/>
                </a:lnTo>
                <a:lnTo>
                  <a:pt x="1164" y="1146"/>
                </a:lnTo>
                <a:lnTo>
                  <a:pt x="1164" y="1152"/>
                </a:lnTo>
                <a:lnTo>
                  <a:pt x="1170" y="1164"/>
                </a:lnTo>
                <a:lnTo>
                  <a:pt x="1164" y="1176"/>
                </a:lnTo>
                <a:lnTo>
                  <a:pt x="1170" y="1182"/>
                </a:lnTo>
                <a:lnTo>
                  <a:pt x="1170" y="1194"/>
                </a:lnTo>
                <a:lnTo>
                  <a:pt x="1170" y="1200"/>
                </a:lnTo>
                <a:lnTo>
                  <a:pt x="1182" y="1218"/>
                </a:lnTo>
                <a:lnTo>
                  <a:pt x="1188" y="1218"/>
                </a:lnTo>
                <a:lnTo>
                  <a:pt x="1194" y="1218"/>
                </a:lnTo>
                <a:lnTo>
                  <a:pt x="1194" y="1224"/>
                </a:lnTo>
                <a:lnTo>
                  <a:pt x="1200" y="1230"/>
                </a:lnTo>
                <a:lnTo>
                  <a:pt x="1200" y="1248"/>
                </a:lnTo>
                <a:lnTo>
                  <a:pt x="1212" y="1266"/>
                </a:lnTo>
                <a:lnTo>
                  <a:pt x="1218" y="1278"/>
                </a:lnTo>
                <a:lnTo>
                  <a:pt x="1224" y="1284"/>
                </a:lnTo>
                <a:lnTo>
                  <a:pt x="1236" y="1296"/>
                </a:lnTo>
                <a:lnTo>
                  <a:pt x="1242" y="1302"/>
                </a:lnTo>
                <a:lnTo>
                  <a:pt x="1242" y="1308"/>
                </a:lnTo>
                <a:lnTo>
                  <a:pt x="1272" y="1308"/>
                </a:lnTo>
                <a:lnTo>
                  <a:pt x="1296" y="1314"/>
                </a:lnTo>
                <a:lnTo>
                  <a:pt x="1320" y="1320"/>
                </a:lnTo>
                <a:lnTo>
                  <a:pt x="1338" y="1320"/>
                </a:lnTo>
                <a:lnTo>
                  <a:pt x="1356" y="1332"/>
                </a:lnTo>
                <a:lnTo>
                  <a:pt x="1368" y="1344"/>
                </a:lnTo>
                <a:lnTo>
                  <a:pt x="1374" y="1362"/>
                </a:lnTo>
                <a:lnTo>
                  <a:pt x="1368" y="1362"/>
                </a:lnTo>
                <a:lnTo>
                  <a:pt x="1368" y="1398"/>
                </a:lnTo>
                <a:lnTo>
                  <a:pt x="1368" y="1410"/>
                </a:lnTo>
                <a:lnTo>
                  <a:pt x="1368" y="1428"/>
                </a:lnTo>
                <a:lnTo>
                  <a:pt x="1368" y="1434"/>
                </a:lnTo>
                <a:lnTo>
                  <a:pt x="1368" y="1440"/>
                </a:lnTo>
                <a:lnTo>
                  <a:pt x="1374" y="1446"/>
                </a:lnTo>
                <a:lnTo>
                  <a:pt x="1374" y="1452"/>
                </a:lnTo>
                <a:lnTo>
                  <a:pt x="1380" y="1458"/>
                </a:lnTo>
                <a:lnTo>
                  <a:pt x="1386" y="1464"/>
                </a:lnTo>
                <a:lnTo>
                  <a:pt x="1386" y="1470"/>
                </a:lnTo>
                <a:lnTo>
                  <a:pt x="1380" y="1476"/>
                </a:lnTo>
                <a:lnTo>
                  <a:pt x="1374" y="1482"/>
                </a:lnTo>
                <a:lnTo>
                  <a:pt x="1362" y="1500"/>
                </a:lnTo>
                <a:lnTo>
                  <a:pt x="1362" y="1506"/>
                </a:lnTo>
                <a:lnTo>
                  <a:pt x="1362" y="1512"/>
                </a:lnTo>
                <a:lnTo>
                  <a:pt x="1362" y="1518"/>
                </a:lnTo>
                <a:lnTo>
                  <a:pt x="1362" y="1524"/>
                </a:lnTo>
                <a:lnTo>
                  <a:pt x="1362" y="1536"/>
                </a:lnTo>
                <a:lnTo>
                  <a:pt x="1356" y="1542"/>
                </a:lnTo>
                <a:lnTo>
                  <a:pt x="1338" y="1548"/>
                </a:lnTo>
                <a:lnTo>
                  <a:pt x="1296" y="1548"/>
                </a:lnTo>
                <a:lnTo>
                  <a:pt x="1290" y="1554"/>
                </a:lnTo>
                <a:lnTo>
                  <a:pt x="1284" y="1560"/>
                </a:lnTo>
                <a:lnTo>
                  <a:pt x="1284" y="1566"/>
                </a:lnTo>
                <a:lnTo>
                  <a:pt x="1290" y="1578"/>
                </a:lnTo>
                <a:lnTo>
                  <a:pt x="1296" y="1590"/>
                </a:lnTo>
                <a:lnTo>
                  <a:pt x="1302" y="1590"/>
                </a:lnTo>
                <a:lnTo>
                  <a:pt x="1308" y="1596"/>
                </a:lnTo>
                <a:lnTo>
                  <a:pt x="1320" y="1602"/>
                </a:lnTo>
                <a:lnTo>
                  <a:pt x="1326" y="1602"/>
                </a:lnTo>
                <a:lnTo>
                  <a:pt x="1326" y="1608"/>
                </a:lnTo>
                <a:lnTo>
                  <a:pt x="1332" y="1614"/>
                </a:lnTo>
                <a:lnTo>
                  <a:pt x="1344" y="1620"/>
                </a:lnTo>
                <a:lnTo>
                  <a:pt x="1356" y="1626"/>
                </a:lnTo>
                <a:lnTo>
                  <a:pt x="1356" y="1632"/>
                </a:lnTo>
                <a:lnTo>
                  <a:pt x="1356" y="1638"/>
                </a:lnTo>
                <a:lnTo>
                  <a:pt x="1362" y="1644"/>
                </a:lnTo>
                <a:lnTo>
                  <a:pt x="1368" y="1644"/>
                </a:lnTo>
                <a:lnTo>
                  <a:pt x="1380" y="1650"/>
                </a:lnTo>
                <a:lnTo>
                  <a:pt x="1386" y="1650"/>
                </a:lnTo>
                <a:lnTo>
                  <a:pt x="1386" y="1656"/>
                </a:lnTo>
                <a:lnTo>
                  <a:pt x="1392" y="1656"/>
                </a:lnTo>
                <a:lnTo>
                  <a:pt x="1398" y="1662"/>
                </a:lnTo>
                <a:lnTo>
                  <a:pt x="1410" y="1674"/>
                </a:lnTo>
                <a:lnTo>
                  <a:pt x="1428" y="1680"/>
                </a:lnTo>
                <a:lnTo>
                  <a:pt x="1428" y="1686"/>
                </a:lnTo>
                <a:lnTo>
                  <a:pt x="1428" y="1698"/>
                </a:lnTo>
                <a:lnTo>
                  <a:pt x="1434" y="1704"/>
                </a:lnTo>
                <a:lnTo>
                  <a:pt x="1434" y="1710"/>
                </a:lnTo>
                <a:lnTo>
                  <a:pt x="1440" y="1710"/>
                </a:lnTo>
                <a:lnTo>
                  <a:pt x="1446" y="1710"/>
                </a:lnTo>
                <a:lnTo>
                  <a:pt x="1446" y="1716"/>
                </a:lnTo>
                <a:lnTo>
                  <a:pt x="1440" y="1722"/>
                </a:lnTo>
                <a:lnTo>
                  <a:pt x="1440" y="1728"/>
                </a:lnTo>
                <a:lnTo>
                  <a:pt x="1440" y="1734"/>
                </a:lnTo>
                <a:lnTo>
                  <a:pt x="1440" y="1740"/>
                </a:lnTo>
                <a:lnTo>
                  <a:pt x="1440" y="1746"/>
                </a:lnTo>
                <a:lnTo>
                  <a:pt x="1440" y="1788"/>
                </a:lnTo>
                <a:lnTo>
                  <a:pt x="1440" y="1800"/>
                </a:lnTo>
                <a:lnTo>
                  <a:pt x="1440" y="1806"/>
                </a:lnTo>
                <a:lnTo>
                  <a:pt x="1440" y="1836"/>
                </a:lnTo>
                <a:lnTo>
                  <a:pt x="1440" y="1848"/>
                </a:lnTo>
                <a:lnTo>
                  <a:pt x="1446" y="1848"/>
                </a:lnTo>
                <a:lnTo>
                  <a:pt x="1446" y="1854"/>
                </a:lnTo>
                <a:lnTo>
                  <a:pt x="1452" y="1848"/>
                </a:lnTo>
                <a:lnTo>
                  <a:pt x="1458" y="1854"/>
                </a:lnTo>
                <a:lnTo>
                  <a:pt x="1452" y="1860"/>
                </a:lnTo>
                <a:lnTo>
                  <a:pt x="1452" y="1866"/>
                </a:lnTo>
                <a:lnTo>
                  <a:pt x="1458" y="1872"/>
                </a:lnTo>
                <a:lnTo>
                  <a:pt x="1464" y="1884"/>
                </a:lnTo>
                <a:lnTo>
                  <a:pt x="1428" y="1878"/>
                </a:lnTo>
                <a:lnTo>
                  <a:pt x="1356" y="1890"/>
                </a:lnTo>
                <a:lnTo>
                  <a:pt x="1296" y="1926"/>
                </a:lnTo>
                <a:lnTo>
                  <a:pt x="1266" y="1944"/>
                </a:lnTo>
                <a:lnTo>
                  <a:pt x="1224" y="1944"/>
                </a:lnTo>
                <a:lnTo>
                  <a:pt x="1188" y="1956"/>
                </a:lnTo>
                <a:lnTo>
                  <a:pt x="1188" y="1950"/>
                </a:lnTo>
                <a:lnTo>
                  <a:pt x="1176" y="1944"/>
                </a:lnTo>
                <a:lnTo>
                  <a:pt x="1176" y="1938"/>
                </a:lnTo>
                <a:lnTo>
                  <a:pt x="1170" y="1938"/>
                </a:lnTo>
                <a:lnTo>
                  <a:pt x="1164" y="1932"/>
                </a:lnTo>
                <a:lnTo>
                  <a:pt x="1158" y="1926"/>
                </a:lnTo>
                <a:lnTo>
                  <a:pt x="1158" y="1920"/>
                </a:lnTo>
                <a:lnTo>
                  <a:pt x="1152" y="1920"/>
                </a:lnTo>
                <a:lnTo>
                  <a:pt x="1146" y="1914"/>
                </a:lnTo>
                <a:lnTo>
                  <a:pt x="1146" y="1908"/>
                </a:lnTo>
                <a:lnTo>
                  <a:pt x="1140" y="1908"/>
                </a:lnTo>
                <a:lnTo>
                  <a:pt x="1134" y="1902"/>
                </a:lnTo>
                <a:lnTo>
                  <a:pt x="1134" y="1896"/>
                </a:lnTo>
                <a:lnTo>
                  <a:pt x="1116" y="1896"/>
                </a:lnTo>
                <a:lnTo>
                  <a:pt x="1104" y="1884"/>
                </a:lnTo>
                <a:lnTo>
                  <a:pt x="1092" y="1860"/>
                </a:lnTo>
                <a:lnTo>
                  <a:pt x="1068" y="1854"/>
                </a:lnTo>
                <a:lnTo>
                  <a:pt x="1032" y="1842"/>
                </a:lnTo>
                <a:lnTo>
                  <a:pt x="1008" y="1836"/>
                </a:lnTo>
                <a:lnTo>
                  <a:pt x="978" y="1824"/>
                </a:lnTo>
                <a:lnTo>
                  <a:pt x="942" y="1818"/>
                </a:lnTo>
                <a:lnTo>
                  <a:pt x="924" y="1806"/>
                </a:lnTo>
                <a:lnTo>
                  <a:pt x="906" y="1788"/>
                </a:lnTo>
                <a:lnTo>
                  <a:pt x="894" y="1776"/>
                </a:lnTo>
                <a:lnTo>
                  <a:pt x="864" y="1758"/>
                </a:lnTo>
                <a:lnTo>
                  <a:pt x="834" y="1752"/>
                </a:lnTo>
                <a:lnTo>
                  <a:pt x="798" y="1746"/>
                </a:lnTo>
                <a:lnTo>
                  <a:pt x="792" y="1806"/>
                </a:lnTo>
                <a:lnTo>
                  <a:pt x="798" y="1812"/>
                </a:lnTo>
                <a:lnTo>
                  <a:pt x="810" y="1830"/>
                </a:lnTo>
                <a:lnTo>
                  <a:pt x="792" y="1842"/>
                </a:lnTo>
                <a:lnTo>
                  <a:pt x="768" y="1842"/>
                </a:lnTo>
                <a:lnTo>
                  <a:pt x="708" y="1848"/>
                </a:lnTo>
                <a:lnTo>
                  <a:pt x="690" y="1860"/>
                </a:lnTo>
                <a:lnTo>
                  <a:pt x="690" y="1866"/>
                </a:lnTo>
                <a:lnTo>
                  <a:pt x="678" y="1878"/>
                </a:lnTo>
                <a:lnTo>
                  <a:pt x="660" y="1884"/>
                </a:lnTo>
                <a:lnTo>
                  <a:pt x="660" y="1902"/>
                </a:lnTo>
                <a:lnTo>
                  <a:pt x="642" y="1902"/>
                </a:lnTo>
                <a:lnTo>
                  <a:pt x="582" y="1914"/>
                </a:lnTo>
                <a:lnTo>
                  <a:pt x="534" y="1908"/>
                </a:lnTo>
                <a:lnTo>
                  <a:pt x="510" y="1908"/>
                </a:lnTo>
                <a:lnTo>
                  <a:pt x="510" y="1896"/>
                </a:lnTo>
                <a:lnTo>
                  <a:pt x="492" y="1896"/>
                </a:lnTo>
                <a:lnTo>
                  <a:pt x="486" y="1902"/>
                </a:lnTo>
                <a:lnTo>
                  <a:pt x="474" y="1908"/>
                </a:lnTo>
                <a:lnTo>
                  <a:pt x="450" y="1908"/>
                </a:lnTo>
                <a:lnTo>
                  <a:pt x="432" y="1902"/>
                </a:lnTo>
                <a:lnTo>
                  <a:pt x="426" y="1896"/>
                </a:lnTo>
                <a:lnTo>
                  <a:pt x="402" y="1884"/>
                </a:lnTo>
                <a:lnTo>
                  <a:pt x="390" y="1872"/>
                </a:lnTo>
                <a:lnTo>
                  <a:pt x="384" y="1872"/>
                </a:lnTo>
                <a:lnTo>
                  <a:pt x="378" y="1872"/>
                </a:lnTo>
                <a:lnTo>
                  <a:pt x="378" y="1866"/>
                </a:lnTo>
                <a:lnTo>
                  <a:pt x="372" y="1860"/>
                </a:lnTo>
                <a:lnTo>
                  <a:pt x="372" y="1854"/>
                </a:lnTo>
                <a:lnTo>
                  <a:pt x="366" y="1842"/>
                </a:lnTo>
                <a:lnTo>
                  <a:pt x="366" y="1836"/>
                </a:lnTo>
                <a:lnTo>
                  <a:pt x="348" y="1830"/>
                </a:lnTo>
                <a:lnTo>
                  <a:pt x="348" y="1806"/>
                </a:lnTo>
                <a:lnTo>
                  <a:pt x="348" y="1800"/>
                </a:lnTo>
                <a:lnTo>
                  <a:pt x="348" y="1782"/>
                </a:lnTo>
                <a:lnTo>
                  <a:pt x="336" y="1788"/>
                </a:lnTo>
                <a:lnTo>
                  <a:pt x="312" y="1794"/>
                </a:lnTo>
                <a:lnTo>
                  <a:pt x="288" y="1788"/>
                </a:lnTo>
                <a:lnTo>
                  <a:pt x="264" y="1758"/>
                </a:lnTo>
                <a:lnTo>
                  <a:pt x="270" y="1758"/>
                </a:lnTo>
                <a:lnTo>
                  <a:pt x="270" y="1752"/>
                </a:lnTo>
                <a:lnTo>
                  <a:pt x="276" y="1752"/>
                </a:lnTo>
                <a:lnTo>
                  <a:pt x="282" y="1746"/>
                </a:lnTo>
                <a:lnTo>
                  <a:pt x="300" y="1746"/>
                </a:lnTo>
                <a:lnTo>
                  <a:pt x="312" y="1746"/>
                </a:lnTo>
                <a:lnTo>
                  <a:pt x="336" y="1710"/>
                </a:lnTo>
                <a:lnTo>
                  <a:pt x="342" y="1692"/>
                </a:lnTo>
                <a:lnTo>
                  <a:pt x="348" y="1680"/>
                </a:lnTo>
                <a:lnTo>
                  <a:pt x="342" y="1650"/>
                </a:lnTo>
                <a:lnTo>
                  <a:pt x="354" y="1644"/>
                </a:lnTo>
                <a:lnTo>
                  <a:pt x="354" y="1638"/>
                </a:lnTo>
                <a:lnTo>
                  <a:pt x="360" y="1632"/>
                </a:lnTo>
                <a:lnTo>
                  <a:pt x="354" y="1626"/>
                </a:lnTo>
                <a:lnTo>
                  <a:pt x="348" y="1626"/>
                </a:lnTo>
                <a:lnTo>
                  <a:pt x="348" y="1620"/>
                </a:lnTo>
                <a:lnTo>
                  <a:pt x="342" y="1620"/>
                </a:lnTo>
                <a:lnTo>
                  <a:pt x="348" y="1614"/>
                </a:lnTo>
                <a:lnTo>
                  <a:pt x="324" y="1566"/>
                </a:lnTo>
                <a:lnTo>
                  <a:pt x="318" y="1566"/>
                </a:lnTo>
                <a:lnTo>
                  <a:pt x="306" y="1572"/>
                </a:lnTo>
                <a:lnTo>
                  <a:pt x="300" y="1572"/>
                </a:lnTo>
                <a:lnTo>
                  <a:pt x="294" y="1578"/>
                </a:lnTo>
                <a:lnTo>
                  <a:pt x="288" y="1584"/>
                </a:lnTo>
                <a:lnTo>
                  <a:pt x="282" y="1584"/>
                </a:lnTo>
                <a:lnTo>
                  <a:pt x="282" y="1578"/>
                </a:lnTo>
                <a:lnTo>
                  <a:pt x="276" y="1578"/>
                </a:lnTo>
                <a:lnTo>
                  <a:pt x="270" y="1578"/>
                </a:lnTo>
                <a:lnTo>
                  <a:pt x="264" y="1578"/>
                </a:lnTo>
                <a:lnTo>
                  <a:pt x="258" y="1578"/>
                </a:lnTo>
                <a:lnTo>
                  <a:pt x="252" y="1578"/>
                </a:lnTo>
                <a:lnTo>
                  <a:pt x="252" y="1584"/>
                </a:lnTo>
                <a:lnTo>
                  <a:pt x="246" y="1584"/>
                </a:lnTo>
                <a:lnTo>
                  <a:pt x="210" y="1584"/>
                </a:lnTo>
                <a:lnTo>
                  <a:pt x="204" y="1584"/>
                </a:lnTo>
                <a:lnTo>
                  <a:pt x="192" y="1584"/>
                </a:lnTo>
                <a:lnTo>
                  <a:pt x="168" y="1596"/>
                </a:lnTo>
                <a:lnTo>
                  <a:pt x="156" y="1572"/>
                </a:lnTo>
                <a:lnTo>
                  <a:pt x="156" y="1566"/>
                </a:lnTo>
                <a:lnTo>
                  <a:pt x="156" y="1560"/>
                </a:lnTo>
                <a:lnTo>
                  <a:pt x="162" y="1548"/>
                </a:lnTo>
                <a:lnTo>
                  <a:pt x="162" y="1542"/>
                </a:lnTo>
                <a:lnTo>
                  <a:pt x="162" y="1536"/>
                </a:lnTo>
                <a:lnTo>
                  <a:pt x="168" y="1530"/>
                </a:lnTo>
                <a:lnTo>
                  <a:pt x="168" y="1524"/>
                </a:lnTo>
                <a:lnTo>
                  <a:pt x="168" y="1518"/>
                </a:lnTo>
                <a:lnTo>
                  <a:pt x="174" y="1518"/>
                </a:lnTo>
                <a:lnTo>
                  <a:pt x="174" y="1506"/>
                </a:lnTo>
                <a:lnTo>
                  <a:pt x="156" y="1470"/>
                </a:lnTo>
                <a:lnTo>
                  <a:pt x="138" y="1464"/>
                </a:lnTo>
                <a:lnTo>
                  <a:pt x="126" y="1446"/>
                </a:lnTo>
                <a:lnTo>
                  <a:pt x="126" y="1440"/>
                </a:lnTo>
                <a:lnTo>
                  <a:pt x="126" y="1434"/>
                </a:lnTo>
                <a:lnTo>
                  <a:pt x="120" y="1428"/>
                </a:lnTo>
                <a:lnTo>
                  <a:pt x="126" y="1398"/>
                </a:lnTo>
                <a:lnTo>
                  <a:pt x="120" y="1374"/>
                </a:lnTo>
                <a:lnTo>
                  <a:pt x="60" y="1374"/>
                </a:lnTo>
                <a:lnTo>
                  <a:pt x="60" y="1368"/>
                </a:lnTo>
                <a:lnTo>
                  <a:pt x="54" y="1362"/>
                </a:lnTo>
                <a:lnTo>
                  <a:pt x="48" y="1356"/>
                </a:lnTo>
                <a:lnTo>
                  <a:pt x="42" y="1356"/>
                </a:lnTo>
                <a:lnTo>
                  <a:pt x="42" y="1350"/>
                </a:lnTo>
                <a:lnTo>
                  <a:pt x="36" y="1344"/>
                </a:lnTo>
                <a:lnTo>
                  <a:pt x="36" y="1338"/>
                </a:lnTo>
                <a:lnTo>
                  <a:pt x="30" y="1332"/>
                </a:lnTo>
                <a:lnTo>
                  <a:pt x="30" y="1326"/>
                </a:lnTo>
                <a:lnTo>
                  <a:pt x="18" y="1326"/>
                </a:lnTo>
                <a:lnTo>
                  <a:pt x="18" y="1320"/>
                </a:lnTo>
                <a:lnTo>
                  <a:pt x="18" y="1326"/>
                </a:lnTo>
                <a:lnTo>
                  <a:pt x="6" y="1320"/>
                </a:lnTo>
                <a:lnTo>
                  <a:pt x="0" y="1314"/>
                </a:lnTo>
                <a:lnTo>
                  <a:pt x="12" y="1266"/>
                </a:lnTo>
                <a:lnTo>
                  <a:pt x="6" y="1242"/>
                </a:lnTo>
                <a:lnTo>
                  <a:pt x="12" y="1236"/>
                </a:lnTo>
                <a:lnTo>
                  <a:pt x="12" y="1230"/>
                </a:lnTo>
                <a:lnTo>
                  <a:pt x="18" y="1230"/>
                </a:lnTo>
                <a:lnTo>
                  <a:pt x="18" y="1224"/>
                </a:lnTo>
                <a:lnTo>
                  <a:pt x="24" y="1218"/>
                </a:lnTo>
                <a:lnTo>
                  <a:pt x="24" y="1212"/>
                </a:lnTo>
                <a:lnTo>
                  <a:pt x="30" y="1212"/>
                </a:lnTo>
                <a:lnTo>
                  <a:pt x="36" y="1200"/>
                </a:lnTo>
                <a:lnTo>
                  <a:pt x="42" y="1194"/>
                </a:lnTo>
                <a:lnTo>
                  <a:pt x="42" y="1188"/>
                </a:lnTo>
                <a:lnTo>
                  <a:pt x="48" y="1188"/>
                </a:lnTo>
                <a:lnTo>
                  <a:pt x="48" y="1182"/>
                </a:lnTo>
                <a:lnTo>
                  <a:pt x="48" y="1176"/>
                </a:lnTo>
                <a:lnTo>
                  <a:pt x="48" y="1170"/>
                </a:lnTo>
                <a:lnTo>
                  <a:pt x="54" y="1170"/>
                </a:lnTo>
                <a:lnTo>
                  <a:pt x="60" y="1164"/>
                </a:lnTo>
                <a:lnTo>
                  <a:pt x="60" y="1158"/>
                </a:lnTo>
                <a:lnTo>
                  <a:pt x="66" y="1152"/>
                </a:lnTo>
                <a:lnTo>
                  <a:pt x="60" y="1140"/>
                </a:lnTo>
                <a:lnTo>
                  <a:pt x="60" y="1134"/>
                </a:lnTo>
                <a:lnTo>
                  <a:pt x="54" y="1134"/>
                </a:lnTo>
                <a:lnTo>
                  <a:pt x="54" y="1128"/>
                </a:lnTo>
                <a:lnTo>
                  <a:pt x="48" y="1122"/>
                </a:lnTo>
                <a:lnTo>
                  <a:pt x="48" y="1116"/>
                </a:lnTo>
                <a:lnTo>
                  <a:pt x="48" y="1110"/>
                </a:lnTo>
                <a:lnTo>
                  <a:pt x="42" y="1104"/>
                </a:lnTo>
                <a:lnTo>
                  <a:pt x="42" y="1098"/>
                </a:lnTo>
                <a:lnTo>
                  <a:pt x="36" y="1092"/>
                </a:lnTo>
                <a:lnTo>
                  <a:pt x="30" y="1092"/>
                </a:lnTo>
                <a:lnTo>
                  <a:pt x="24" y="1092"/>
                </a:lnTo>
                <a:lnTo>
                  <a:pt x="24" y="1086"/>
                </a:lnTo>
                <a:lnTo>
                  <a:pt x="24" y="1080"/>
                </a:lnTo>
                <a:lnTo>
                  <a:pt x="18" y="1080"/>
                </a:lnTo>
                <a:lnTo>
                  <a:pt x="18" y="1074"/>
                </a:lnTo>
                <a:lnTo>
                  <a:pt x="12" y="1068"/>
                </a:lnTo>
                <a:lnTo>
                  <a:pt x="6" y="1068"/>
                </a:lnTo>
                <a:lnTo>
                  <a:pt x="12" y="1056"/>
                </a:lnTo>
                <a:lnTo>
                  <a:pt x="6" y="1056"/>
                </a:lnTo>
                <a:lnTo>
                  <a:pt x="6" y="1050"/>
                </a:lnTo>
                <a:lnTo>
                  <a:pt x="6" y="1044"/>
                </a:lnTo>
                <a:lnTo>
                  <a:pt x="6" y="1026"/>
                </a:lnTo>
                <a:lnTo>
                  <a:pt x="12" y="1020"/>
                </a:lnTo>
                <a:lnTo>
                  <a:pt x="12" y="1014"/>
                </a:lnTo>
                <a:lnTo>
                  <a:pt x="18" y="1014"/>
                </a:lnTo>
                <a:lnTo>
                  <a:pt x="18" y="1008"/>
                </a:lnTo>
                <a:lnTo>
                  <a:pt x="18" y="1002"/>
                </a:lnTo>
                <a:lnTo>
                  <a:pt x="18" y="990"/>
                </a:lnTo>
                <a:lnTo>
                  <a:pt x="12" y="972"/>
                </a:lnTo>
                <a:lnTo>
                  <a:pt x="18" y="954"/>
                </a:lnTo>
                <a:lnTo>
                  <a:pt x="18" y="948"/>
                </a:lnTo>
                <a:lnTo>
                  <a:pt x="24" y="948"/>
                </a:lnTo>
                <a:lnTo>
                  <a:pt x="24" y="930"/>
                </a:lnTo>
                <a:lnTo>
                  <a:pt x="30" y="930"/>
                </a:lnTo>
                <a:lnTo>
                  <a:pt x="36" y="918"/>
                </a:lnTo>
                <a:lnTo>
                  <a:pt x="42" y="918"/>
                </a:lnTo>
                <a:lnTo>
                  <a:pt x="48" y="918"/>
                </a:lnTo>
                <a:lnTo>
                  <a:pt x="78" y="912"/>
                </a:lnTo>
                <a:lnTo>
                  <a:pt x="90" y="894"/>
                </a:lnTo>
                <a:lnTo>
                  <a:pt x="96" y="894"/>
                </a:lnTo>
                <a:lnTo>
                  <a:pt x="102" y="888"/>
                </a:lnTo>
                <a:lnTo>
                  <a:pt x="102" y="882"/>
                </a:lnTo>
                <a:lnTo>
                  <a:pt x="114" y="870"/>
                </a:lnTo>
                <a:lnTo>
                  <a:pt x="120" y="864"/>
                </a:lnTo>
                <a:lnTo>
                  <a:pt x="120" y="852"/>
                </a:lnTo>
                <a:lnTo>
                  <a:pt x="120" y="846"/>
                </a:lnTo>
                <a:lnTo>
                  <a:pt x="126" y="846"/>
                </a:lnTo>
                <a:lnTo>
                  <a:pt x="126" y="840"/>
                </a:lnTo>
                <a:lnTo>
                  <a:pt x="132" y="840"/>
                </a:lnTo>
                <a:lnTo>
                  <a:pt x="138" y="840"/>
                </a:lnTo>
                <a:lnTo>
                  <a:pt x="138" y="834"/>
                </a:lnTo>
                <a:lnTo>
                  <a:pt x="144" y="834"/>
                </a:lnTo>
                <a:lnTo>
                  <a:pt x="144" y="828"/>
                </a:lnTo>
                <a:lnTo>
                  <a:pt x="150" y="828"/>
                </a:lnTo>
                <a:lnTo>
                  <a:pt x="156" y="822"/>
                </a:lnTo>
                <a:lnTo>
                  <a:pt x="162" y="816"/>
                </a:lnTo>
                <a:lnTo>
                  <a:pt x="162" y="822"/>
                </a:lnTo>
                <a:lnTo>
                  <a:pt x="162" y="816"/>
                </a:lnTo>
                <a:lnTo>
                  <a:pt x="162" y="810"/>
                </a:lnTo>
                <a:lnTo>
                  <a:pt x="168" y="810"/>
                </a:lnTo>
                <a:lnTo>
                  <a:pt x="174" y="804"/>
                </a:lnTo>
                <a:lnTo>
                  <a:pt x="180" y="798"/>
                </a:lnTo>
                <a:lnTo>
                  <a:pt x="180" y="786"/>
                </a:lnTo>
                <a:lnTo>
                  <a:pt x="186" y="786"/>
                </a:lnTo>
                <a:lnTo>
                  <a:pt x="192" y="786"/>
                </a:lnTo>
                <a:lnTo>
                  <a:pt x="192" y="780"/>
                </a:lnTo>
                <a:lnTo>
                  <a:pt x="198" y="780"/>
                </a:lnTo>
                <a:lnTo>
                  <a:pt x="204" y="774"/>
                </a:lnTo>
                <a:lnTo>
                  <a:pt x="210" y="774"/>
                </a:lnTo>
                <a:lnTo>
                  <a:pt x="216" y="768"/>
                </a:lnTo>
                <a:lnTo>
                  <a:pt x="222" y="762"/>
                </a:lnTo>
                <a:lnTo>
                  <a:pt x="228" y="762"/>
                </a:lnTo>
                <a:lnTo>
                  <a:pt x="228" y="768"/>
                </a:lnTo>
                <a:lnTo>
                  <a:pt x="234" y="768"/>
                </a:lnTo>
                <a:lnTo>
                  <a:pt x="240" y="762"/>
                </a:lnTo>
                <a:lnTo>
                  <a:pt x="252" y="762"/>
                </a:lnTo>
                <a:lnTo>
                  <a:pt x="264" y="768"/>
                </a:lnTo>
                <a:lnTo>
                  <a:pt x="294" y="756"/>
                </a:lnTo>
                <a:lnTo>
                  <a:pt x="294" y="750"/>
                </a:lnTo>
                <a:lnTo>
                  <a:pt x="300" y="750"/>
                </a:lnTo>
                <a:lnTo>
                  <a:pt x="306" y="744"/>
                </a:lnTo>
                <a:lnTo>
                  <a:pt x="342" y="750"/>
                </a:lnTo>
                <a:lnTo>
                  <a:pt x="348" y="750"/>
                </a:lnTo>
                <a:lnTo>
                  <a:pt x="348" y="744"/>
                </a:lnTo>
                <a:lnTo>
                  <a:pt x="354" y="744"/>
                </a:lnTo>
                <a:lnTo>
                  <a:pt x="360" y="744"/>
                </a:lnTo>
                <a:lnTo>
                  <a:pt x="360" y="750"/>
                </a:lnTo>
                <a:lnTo>
                  <a:pt x="366" y="750"/>
                </a:lnTo>
                <a:lnTo>
                  <a:pt x="366" y="744"/>
                </a:lnTo>
                <a:lnTo>
                  <a:pt x="366" y="738"/>
                </a:lnTo>
                <a:lnTo>
                  <a:pt x="372" y="744"/>
                </a:lnTo>
                <a:lnTo>
                  <a:pt x="378" y="744"/>
                </a:lnTo>
                <a:lnTo>
                  <a:pt x="384" y="750"/>
                </a:lnTo>
                <a:lnTo>
                  <a:pt x="444" y="774"/>
                </a:lnTo>
                <a:lnTo>
                  <a:pt x="450" y="774"/>
                </a:lnTo>
                <a:lnTo>
                  <a:pt x="456" y="768"/>
                </a:lnTo>
                <a:lnTo>
                  <a:pt x="462" y="768"/>
                </a:lnTo>
                <a:lnTo>
                  <a:pt x="462" y="762"/>
                </a:lnTo>
                <a:lnTo>
                  <a:pt x="468" y="762"/>
                </a:lnTo>
                <a:lnTo>
                  <a:pt x="474" y="756"/>
                </a:lnTo>
                <a:lnTo>
                  <a:pt x="480" y="750"/>
                </a:lnTo>
                <a:lnTo>
                  <a:pt x="516" y="756"/>
                </a:lnTo>
                <a:lnTo>
                  <a:pt x="522" y="756"/>
                </a:lnTo>
                <a:lnTo>
                  <a:pt x="522" y="762"/>
                </a:lnTo>
                <a:lnTo>
                  <a:pt x="522" y="768"/>
                </a:lnTo>
                <a:lnTo>
                  <a:pt x="522" y="774"/>
                </a:lnTo>
                <a:lnTo>
                  <a:pt x="528" y="780"/>
                </a:lnTo>
                <a:lnTo>
                  <a:pt x="540" y="780"/>
                </a:lnTo>
                <a:lnTo>
                  <a:pt x="540" y="804"/>
                </a:lnTo>
                <a:lnTo>
                  <a:pt x="540" y="810"/>
                </a:lnTo>
                <a:lnTo>
                  <a:pt x="546" y="810"/>
                </a:lnTo>
                <a:lnTo>
                  <a:pt x="552" y="810"/>
                </a:lnTo>
                <a:lnTo>
                  <a:pt x="558" y="810"/>
                </a:lnTo>
                <a:lnTo>
                  <a:pt x="564" y="810"/>
                </a:lnTo>
                <a:lnTo>
                  <a:pt x="570" y="810"/>
                </a:lnTo>
                <a:lnTo>
                  <a:pt x="576" y="810"/>
                </a:lnTo>
                <a:lnTo>
                  <a:pt x="576" y="816"/>
                </a:lnTo>
                <a:lnTo>
                  <a:pt x="588" y="816"/>
                </a:lnTo>
                <a:lnTo>
                  <a:pt x="594" y="816"/>
                </a:lnTo>
                <a:lnTo>
                  <a:pt x="600" y="822"/>
                </a:lnTo>
                <a:lnTo>
                  <a:pt x="606" y="816"/>
                </a:lnTo>
                <a:lnTo>
                  <a:pt x="612" y="816"/>
                </a:lnTo>
                <a:lnTo>
                  <a:pt x="612" y="810"/>
                </a:lnTo>
                <a:lnTo>
                  <a:pt x="624" y="810"/>
                </a:lnTo>
                <a:lnTo>
                  <a:pt x="624" y="804"/>
                </a:lnTo>
                <a:lnTo>
                  <a:pt x="630" y="798"/>
                </a:lnTo>
                <a:lnTo>
                  <a:pt x="636" y="798"/>
                </a:lnTo>
                <a:lnTo>
                  <a:pt x="636" y="804"/>
                </a:lnTo>
                <a:lnTo>
                  <a:pt x="642" y="804"/>
                </a:lnTo>
                <a:lnTo>
                  <a:pt x="648" y="804"/>
                </a:lnTo>
                <a:lnTo>
                  <a:pt x="654" y="804"/>
                </a:lnTo>
                <a:lnTo>
                  <a:pt x="660" y="804"/>
                </a:lnTo>
                <a:lnTo>
                  <a:pt x="678" y="798"/>
                </a:lnTo>
                <a:lnTo>
                  <a:pt x="714" y="786"/>
                </a:lnTo>
                <a:lnTo>
                  <a:pt x="714" y="792"/>
                </a:lnTo>
                <a:lnTo>
                  <a:pt x="714" y="798"/>
                </a:lnTo>
                <a:lnTo>
                  <a:pt x="714" y="804"/>
                </a:lnTo>
                <a:lnTo>
                  <a:pt x="720" y="804"/>
                </a:lnTo>
                <a:lnTo>
                  <a:pt x="720" y="810"/>
                </a:lnTo>
                <a:lnTo>
                  <a:pt x="720" y="816"/>
                </a:lnTo>
                <a:lnTo>
                  <a:pt x="726" y="822"/>
                </a:lnTo>
                <a:lnTo>
                  <a:pt x="732" y="828"/>
                </a:lnTo>
                <a:lnTo>
                  <a:pt x="732" y="834"/>
                </a:lnTo>
                <a:lnTo>
                  <a:pt x="732" y="846"/>
                </a:lnTo>
                <a:lnTo>
                  <a:pt x="732" y="858"/>
                </a:lnTo>
                <a:lnTo>
                  <a:pt x="738" y="858"/>
                </a:lnTo>
                <a:lnTo>
                  <a:pt x="732" y="864"/>
                </a:lnTo>
                <a:lnTo>
                  <a:pt x="732" y="870"/>
                </a:lnTo>
                <a:lnTo>
                  <a:pt x="726" y="870"/>
                </a:lnTo>
                <a:lnTo>
                  <a:pt x="726" y="876"/>
                </a:lnTo>
                <a:lnTo>
                  <a:pt x="720" y="882"/>
                </a:lnTo>
                <a:lnTo>
                  <a:pt x="714" y="876"/>
                </a:lnTo>
                <a:lnTo>
                  <a:pt x="708" y="870"/>
                </a:lnTo>
                <a:lnTo>
                  <a:pt x="702" y="870"/>
                </a:lnTo>
                <a:lnTo>
                  <a:pt x="690" y="882"/>
                </a:lnTo>
                <a:lnTo>
                  <a:pt x="690" y="912"/>
                </a:lnTo>
                <a:lnTo>
                  <a:pt x="696" y="936"/>
                </a:lnTo>
                <a:lnTo>
                  <a:pt x="702" y="936"/>
                </a:lnTo>
                <a:lnTo>
                  <a:pt x="702" y="930"/>
                </a:lnTo>
                <a:lnTo>
                  <a:pt x="708" y="930"/>
                </a:lnTo>
                <a:lnTo>
                  <a:pt x="708" y="924"/>
                </a:lnTo>
                <a:lnTo>
                  <a:pt x="708" y="918"/>
                </a:lnTo>
                <a:lnTo>
                  <a:pt x="714" y="918"/>
                </a:lnTo>
                <a:lnTo>
                  <a:pt x="720" y="954"/>
                </a:lnTo>
                <a:lnTo>
                  <a:pt x="726" y="966"/>
                </a:lnTo>
                <a:lnTo>
                  <a:pt x="744" y="966"/>
                </a:lnTo>
                <a:lnTo>
                  <a:pt x="756" y="972"/>
                </a:lnTo>
                <a:lnTo>
                  <a:pt x="792" y="990"/>
                </a:lnTo>
                <a:lnTo>
                  <a:pt x="828" y="978"/>
                </a:lnTo>
                <a:lnTo>
                  <a:pt x="834" y="978"/>
                </a:lnTo>
                <a:lnTo>
                  <a:pt x="840" y="978"/>
                </a:lnTo>
                <a:lnTo>
                  <a:pt x="840" y="984"/>
                </a:lnTo>
                <a:lnTo>
                  <a:pt x="846" y="984"/>
                </a:lnTo>
                <a:lnTo>
                  <a:pt x="858" y="972"/>
                </a:lnTo>
                <a:lnTo>
                  <a:pt x="882" y="972"/>
                </a:lnTo>
                <a:lnTo>
                  <a:pt x="888" y="984"/>
                </a:lnTo>
                <a:lnTo>
                  <a:pt x="900" y="990"/>
                </a:lnTo>
                <a:lnTo>
                  <a:pt x="924" y="996"/>
                </a:lnTo>
                <a:lnTo>
                  <a:pt x="930" y="990"/>
                </a:lnTo>
                <a:lnTo>
                  <a:pt x="930" y="984"/>
                </a:lnTo>
                <a:lnTo>
                  <a:pt x="924" y="978"/>
                </a:lnTo>
                <a:lnTo>
                  <a:pt x="906" y="972"/>
                </a:lnTo>
                <a:lnTo>
                  <a:pt x="900" y="966"/>
                </a:lnTo>
                <a:lnTo>
                  <a:pt x="900" y="960"/>
                </a:lnTo>
                <a:lnTo>
                  <a:pt x="900" y="954"/>
                </a:lnTo>
                <a:lnTo>
                  <a:pt x="900" y="948"/>
                </a:lnTo>
                <a:lnTo>
                  <a:pt x="912" y="936"/>
                </a:lnTo>
                <a:lnTo>
                  <a:pt x="912" y="924"/>
                </a:lnTo>
                <a:lnTo>
                  <a:pt x="918" y="924"/>
                </a:lnTo>
                <a:lnTo>
                  <a:pt x="918" y="918"/>
                </a:lnTo>
                <a:lnTo>
                  <a:pt x="936" y="906"/>
                </a:lnTo>
                <a:lnTo>
                  <a:pt x="942" y="906"/>
                </a:lnTo>
                <a:lnTo>
                  <a:pt x="948" y="906"/>
                </a:lnTo>
                <a:lnTo>
                  <a:pt x="954" y="906"/>
                </a:lnTo>
                <a:lnTo>
                  <a:pt x="960" y="906"/>
                </a:lnTo>
                <a:lnTo>
                  <a:pt x="966" y="912"/>
                </a:lnTo>
                <a:lnTo>
                  <a:pt x="972" y="906"/>
                </a:lnTo>
                <a:lnTo>
                  <a:pt x="978" y="906"/>
                </a:lnTo>
                <a:lnTo>
                  <a:pt x="984" y="900"/>
                </a:lnTo>
                <a:lnTo>
                  <a:pt x="984" y="894"/>
                </a:lnTo>
                <a:lnTo>
                  <a:pt x="990" y="894"/>
                </a:lnTo>
                <a:lnTo>
                  <a:pt x="996" y="888"/>
                </a:lnTo>
                <a:lnTo>
                  <a:pt x="1002" y="888"/>
                </a:lnTo>
                <a:lnTo>
                  <a:pt x="1008" y="882"/>
                </a:lnTo>
                <a:lnTo>
                  <a:pt x="1014" y="882"/>
                </a:lnTo>
                <a:lnTo>
                  <a:pt x="1020" y="882"/>
                </a:lnTo>
                <a:lnTo>
                  <a:pt x="1020" y="888"/>
                </a:lnTo>
                <a:lnTo>
                  <a:pt x="1026" y="882"/>
                </a:lnTo>
                <a:lnTo>
                  <a:pt x="1026" y="876"/>
                </a:lnTo>
                <a:lnTo>
                  <a:pt x="1026" y="870"/>
                </a:lnTo>
                <a:lnTo>
                  <a:pt x="1032" y="864"/>
                </a:lnTo>
                <a:lnTo>
                  <a:pt x="1038" y="858"/>
                </a:lnTo>
                <a:lnTo>
                  <a:pt x="1038" y="852"/>
                </a:lnTo>
                <a:lnTo>
                  <a:pt x="1044" y="852"/>
                </a:lnTo>
                <a:lnTo>
                  <a:pt x="1038" y="846"/>
                </a:lnTo>
                <a:lnTo>
                  <a:pt x="1038" y="840"/>
                </a:lnTo>
                <a:lnTo>
                  <a:pt x="1032" y="840"/>
                </a:lnTo>
                <a:lnTo>
                  <a:pt x="1026" y="840"/>
                </a:lnTo>
                <a:lnTo>
                  <a:pt x="1020" y="840"/>
                </a:lnTo>
                <a:lnTo>
                  <a:pt x="1014" y="846"/>
                </a:lnTo>
                <a:lnTo>
                  <a:pt x="1008" y="846"/>
                </a:lnTo>
                <a:lnTo>
                  <a:pt x="1002" y="840"/>
                </a:lnTo>
                <a:lnTo>
                  <a:pt x="996" y="840"/>
                </a:lnTo>
                <a:lnTo>
                  <a:pt x="990" y="834"/>
                </a:lnTo>
                <a:lnTo>
                  <a:pt x="984" y="834"/>
                </a:lnTo>
                <a:lnTo>
                  <a:pt x="978" y="834"/>
                </a:lnTo>
                <a:lnTo>
                  <a:pt x="972" y="834"/>
                </a:lnTo>
                <a:lnTo>
                  <a:pt x="966" y="834"/>
                </a:lnTo>
                <a:lnTo>
                  <a:pt x="966" y="828"/>
                </a:lnTo>
                <a:lnTo>
                  <a:pt x="960" y="828"/>
                </a:lnTo>
                <a:lnTo>
                  <a:pt x="954" y="828"/>
                </a:lnTo>
                <a:lnTo>
                  <a:pt x="942" y="828"/>
                </a:lnTo>
                <a:lnTo>
                  <a:pt x="936" y="828"/>
                </a:lnTo>
                <a:lnTo>
                  <a:pt x="930" y="828"/>
                </a:lnTo>
                <a:lnTo>
                  <a:pt x="918" y="828"/>
                </a:lnTo>
                <a:lnTo>
                  <a:pt x="918" y="822"/>
                </a:lnTo>
                <a:lnTo>
                  <a:pt x="912" y="828"/>
                </a:lnTo>
                <a:lnTo>
                  <a:pt x="912" y="822"/>
                </a:lnTo>
                <a:lnTo>
                  <a:pt x="906" y="816"/>
                </a:lnTo>
                <a:lnTo>
                  <a:pt x="900" y="816"/>
                </a:lnTo>
                <a:lnTo>
                  <a:pt x="894" y="816"/>
                </a:lnTo>
                <a:lnTo>
                  <a:pt x="888" y="816"/>
                </a:lnTo>
                <a:lnTo>
                  <a:pt x="882" y="816"/>
                </a:lnTo>
                <a:lnTo>
                  <a:pt x="882" y="810"/>
                </a:lnTo>
                <a:lnTo>
                  <a:pt x="876" y="804"/>
                </a:lnTo>
                <a:lnTo>
                  <a:pt x="870" y="804"/>
                </a:lnTo>
                <a:lnTo>
                  <a:pt x="864" y="798"/>
                </a:lnTo>
                <a:lnTo>
                  <a:pt x="858" y="798"/>
                </a:lnTo>
                <a:lnTo>
                  <a:pt x="858" y="804"/>
                </a:lnTo>
                <a:lnTo>
                  <a:pt x="852" y="804"/>
                </a:lnTo>
                <a:lnTo>
                  <a:pt x="846" y="804"/>
                </a:lnTo>
                <a:lnTo>
                  <a:pt x="846" y="798"/>
                </a:lnTo>
                <a:lnTo>
                  <a:pt x="840" y="804"/>
                </a:lnTo>
                <a:lnTo>
                  <a:pt x="834" y="804"/>
                </a:lnTo>
                <a:lnTo>
                  <a:pt x="828" y="804"/>
                </a:lnTo>
                <a:lnTo>
                  <a:pt x="828" y="810"/>
                </a:lnTo>
                <a:lnTo>
                  <a:pt x="822" y="810"/>
                </a:lnTo>
                <a:lnTo>
                  <a:pt x="810" y="804"/>
                </a:lnTo>
                <a:lnTo>
                  <a:pt x="810" y="798"/>
                </a:lnTo>
                <a:lnTo>
                  <a:pt x="780" y="798"/>
                </a:lnTo>
                <a:lnTo>
                  <a:pt x="756" y="774"/>
                </a:lnTo>
                <a:lnTo>
                  <a:pt x="750" y="768"/>
                </a:lnTo>
                <a:lnTo>
                  <a:pt x="750" y="744"/>
                </a:lnTo>
                <a:lnTo>
                  <a:pt x="732" y="738"/>
                </a:lnTo>
                <a:lnTo>
                  <a:pt x="732" y="720"/>
                </a:lnTo>
                <a:lnTo>
                  <a:pt x="714" y="690"/>
                </a:lnTo>
                <a:lnTo>
                  <a:pt x="702" y="684"/>
                </a:lnTo>
                <a:lnTo>
                  <a:pt x="696" y="684"/>
                </a:lnTo>
                <a:lnTo>
                  <a:pt x="696" y="666"/>
                </a:lnTo>
                <a:lnTo>
                  <a:pt x="690" y="666"/>
                </a:lnTo>
                <a:lnTo>
                  <a:pt x="678" y="672"/>
                </a:lnTo>
                <a:lnTo>
                  <a:pt x="678" y="654"/>
                </a:lnTo>
                <a:lnTo>
                  <a:pt x="684" y="630"/>
                </a:lnTo>
                <a:lnTo>
                  <a:pt x="690" y="618"/>
                </a:lnTo>
                <a:lnTo>
                  <a:pt x="696" y="612"/>
                </a:lnTo>
                <a:lnTo>
                  <a:pt x="696" y="588"/>
                </a:lnTo>
                <a:lnTo>
                  <a:pt x="690" y="576"/>
                </a:lnTo>
                <a:lnTo>
                  <a:pt x="696" y="552"/>
                </a:lnTo>
                <a:lnTo>
                  <a:pt x="684" y="522"/>
                </a:lnTo>
                <a:lnTo>
                  <a:pt x="672" y="504"/>
                </a:lnTo>
                <a:lnTo>
                  <a:pt x="654" y="504"/>
                </a:lnTo>
                <a:lnTo>
                  <a:pt x="642" y="504"/>
                </a:lnTo>
                <a:lnTo>
                  <a:pt x="624" y="510"/>
                </a:lnTo>
                <a:lnTo>
                  <a:pt x="612" y="516"/>
                </a:lnTo>
                <a:lnTo>
                  <a:pt x="594" y="516"/>
                </a:lnTo>
                <a:lnTo>
                  <a:pt x="588" y="516"/>
                </a:lnTo>
                <a:lnTo>
                  <a:pt x="588" y="522"/>
                </a:lnTo>
                <a:lnTo>
                  <a:pt x="582" y="516"/>
                </a:lnTo>
                <a:lnTo>
                  <a:pt x="588" y="510"/>
                </a:lnTo>
                <a:lnTo>
                  <a:pt x="582" y="510"/>
                </a:lnTo>
                <a:lnTo>
                  <a:pt x="582" y="504"/>
                </a:lnTo>
                <a:lnTo>
                  <a:pt x="576" y="498"/>
                </a:lnTo>
                <a:lnTo>
                  <a:pt x="570" y="498"/>
                </a:lnTo>
                <a:lnTo>
                  <a:pt x="570" y="492"/>
                </a:lnTo>
                <a:lnTo>
                  <a:pt x="564" y="492"/>
                </a:lnTo>
                <a:lnTo>
                  <a:pt x="570" y="486"/>
                </a:lnTo>
                <a:lnTo>
                  <a:pt x="564" y="486"/>
                </a:lnTo>
                <a:lnTo>
                  <a:pt x="564" y="480"/>
                </a:lnTo>
                <a:lnTo>
                  <a:pt x="564" y="474"/>
                </a:lnTo>
                <a:lnTo>
                  <a:pt x="558" y="468"/>
                </a:lnTo>
                <a:lnTo>
                  <a:pt x="564" y="468"/>
                </a:lnTo>
                <a:lnTo>
                  <a:pt x="564" y="462"/>
                </a:lnTo>
                <a:lnTo>
                  <a:pt x="570" y="462"/>
                </a:lnTo>
                <a:lnTo>
                  <a:pt x="570" y="456"/>
                </a:lnTo>
                <a:lnTo>
                  <a:pt x="570" y="450"/>
                </a:lnTo>
                <a:lnTo>
                  <a:pt x="576" y="450"/>
                </a:lnTo>
                <a:lnTo>
                  <a:pt x="576" y="444"/>
                </a:lnTo>
                <a:lnTo>
                  <a:pt x="582" y="438"/>
                </a:lnTo>
                <a:lnTo>
                  <a:pt x="588" y="438"/>
                </a:lnTo>
                <a:lnTo>
                  <a:pt x="588" y="444"/>
                </a:lnTo>
                <a:lnTo>
                  <a:pt x="594" y="438"/>
                </a:lnTo>
                <a:lnTo>
                  <a:pt x="594" y="432"/>
                </a:lnTo>
                <a:lnTo>
                  <a:pt x="600" y="432"/>
                </a:lnTo>
                <a:lnTo>
                  <a:pt x="600" y="426"/>
                </a:lnTo>
                <a:lnTo>
                  <a:pt x="600" y="420"/>
                </a:lnTo>
                <a:lnTo>
                  <a:pt x="606" y="420"/>
                </a:lnTo>
                <a:lnTo>
                  <a:pt x="600" y="420"/>
                </a:lnTo>
                <a:lnTo>
                  <a:pt x="600" y="414"/>
                </a:lnTo>
                <a:lnTo>
                  <a:pt x="606" y="408"/>
                </a:lnTo>
                <a:lnTo>
                  <a:pt x="612" y="408"/>
                </a:lnTo>
                <a:lnTo>
                  <a:pt x="612" y="414"/>
                </a:lnTo>
                <a:lnTo>
                  <a:pt x="618" y="414"/>
                </a:lnTo>
                <a:lnTo>
                  <a:pt x="624" y="414"/>
                </a:lnTo>
                <a:lnTo>
                  <a:pt x="630" y="414"/>
                </a:lnTo>
                <a:lnTo>
                  <a:pt x="636" y="414"/>
                </a:lnTo>
                <a:lnTo>
                  <a:pt x="642" y="408"/>
                </a:lnTo>
                <a:lnTo>
                  <a:pt x="648" y="408"/>
                </a:lnTo>
                <a:lnTo>
                  <a:pt x="660" y="408"/>
                </a:lnTo>
                <a:lnTo>
                  <a:pt x="666" y="402"/>
                </a:lnTo>
                <a:lnTo>
                  <a:pt x="672" y="402"/>
                </a:lnTo>
                <a:lnTo>
                  <a:pt x="684" y="396"/>
                </a:lnTo>
                <a:lnTo>
                  <a:pt x="690" y="396"/>
                </a:lnTo>
                <a:lnTo>
                  <a:pt x="696" y="396"/>
                </a:lnTo>
                <a:lnTo>
                  <a:pt x="702" y="396"/>
                </a:lnTo>
                <a:lnTo>
                  <a:pt x="708" y="396"/>
                </a:lnTo>
                <a:lnTo>
                  <a:pt x="714" y="390"/>
                </a:lnTo>
                <a:lnTo>
                  <a:pt x="714" y="384"/>
                </a:lnTo>
                <a:lnTo>
                  <a:pt x="720" y="384"/>
                </a:lnTo>
                <a:lnTo>
                  <a:pt x="726" y="384"/>
                </a:lnTo>
                <a:lnTo>
                  <a:pt x="732" y="384"/>
                </a:lnTo>
                <a:lnTo>
                  <a:pt x="738" y="378"/>
                </a:lnTo>
                <a:lnTo>
                  <a:pt x="744" y="378"/>
                </a:lnTo>
                <a:lnTo>
                  <a:pt x="750" y="372"/>
                </a:lnTo>
                <a:lnTo>
                  <a:pt x="756" y="372"/>
                </a:lnTo>
                <a:lnTo>
                  <a:pt x="762" y="366"/>
                </a:lnTo>
                <a:lnTo>
                  <a:pt x="768" y="366"/>
                </a:lnTo>
                <a:lnTo>
                  <a:pt x="774" y="366"/>
                </a:lnTo>
                <a:lnTo>
                  <a:pt x="774" y="360"/>
                </a:lnTo>
                <a:lnTo>
                  <a:pt x="780" y="366"/>
                </a:lnTo>
                <a:lnTo>
                  <a:pt x="786" y="366"/>
                </a:lnTo>
                <a:lnTo>
                  <a:pt x="786" y="360"/>
                </a:lnTo>
                <a:lnTo>
                  <a:pt x="792" y="354"/>
                </a:lnTo>
                <a:lnTo>
                  <a:pt x="786" y="354"/>
                </a:lnTo>
                <a:lnTo>
                  <a:pt x="792" y="348"/>
                </a:lnTo>
                <a:lnTo>
                  <a:pt x="798" y="348"/>
                </a:lnTo>
                <a:lnTo>
                  <a:pt x="804" y="348"/>
                </a:lnTo>
                <a:lnTo>
                  <a:pt x="810" y="342"/>
                </a:lnTo>
                <a:lnTo>
                  <a:pt x="816" y="342"/>
                </a:lnTo>
                <a:lnTo>
                  <a:pt x="822" y="342"/>
                </a:lnTo>
                <a:lnTo>
                  <a:pt x="822" y="336"/>
                </a:lnTo>
                <a:lnTo>
                  <a:pt x="828" y="336"/>
                </a:lnTo>
                <a:lnTo>
                  <a:pt x="834" y="336"/>
                </a:lnTo>
                <a:lnTo>
                  <a:pt x="840" y="336"/>
                </a:lnTo>
                <a:lnTo>
                  <a:pt x="846" y="330"/>
                </a:lnTo>
                <a:lnTo>
                  <a:pt x="852" y="330"/>
                </a:lnTo>
                <a:lnTo>
                  <a:pt x="858" y="330"/>
                </a:lnTo>
                <a:lnTo>
                  <a:pt x="864" y="324"/>
                </a:lnTo>
                <a:lnTo>
                  <a:pt x="864" y="318"/>
                </a:lnTo>
                <a:lnTo>
                  <a:pt x="870" y="318"/>
                </a:lnTo>
                <a:lnTo>
                  <a:pt x="870" y="312"/>
                </a:lnTo>
                <a:lnTo>
                  <a:pt x="876" y="312"/>
                </a:lnTo>
                <a:lnTo>
                  <a:pt x="882" y="312"/>
                </a:lnTo>
                <a:lnTo>
                  <a:pt x="882" y="318"/>
                </a:lnTo>
                <a:lnTo>
                  <a:pt x="888" y="312"/>
                </a:lnTo>
                <a:lnTo>
                  <a:pt x="894" y="306"/>
                </a:lnTo>
                <a:lnTo>
                  <a:pt x="900" y="306"/>
                </a:lnTo>
                <a:lnTo>
                  <a:pt x="906" y="306"/>
                </a:lnTo>
                <a:lnTo>
                  <a:pt x="912" y="300"/>
                </a:lnTo>
                <a:lnTo>
                  <a:pt x="906" y="294"/>
                </a:lnTo>
                <a:lnTo>
                  <a:pt x="912" y="276"/>
                </a:lnTo>
                <a:lnTo>
                  <a:pt x="912" y="252"/>
                </a:lnTo>
                <a:lnTo>
                  <a:pt x="906" y="234"/>
                </a:lnTo>
                <a:lnTo>
                  <a:pt x="912" y="228"/>
                </a:lnTo>
                <a:lnTo>
                  <a:pt x="912" y="216"/>
                </a:lnTo>
                <a:lnTo>
                  <a:pt x="918" y="192"/>
                </a:lnTo>
                <a:lnTo>
                  <a:pt x="918" y="186"/>
                </a:lnTo>
                <a:lnTo>
                  <a:pt x="924" y="192"/>
                </a:lnTo>
                <a:lnTo>
                  <a:pt x="930" y="192"/>
                </a:lnTo>
                <a:lnTo>
                  <a:pt x="930" y="186"/>
                </a:lnTo>
                <a:lnTo>
                  <a:pt x="936" y="186"/>
                </a:lnTo>
                <a:lnTo>
                  <a:pt x="930" y="180"/>
                </a:lnTo>
                <a:lnTo>
                  <a:pt x="930" y="174"/>
                </a:lnTo>
                <a:lnTo>
                  <a:pt x="936" y="156"/>
                </a:lnTo>
                <a:lnTo>
                  <a:pt x="930" y="156"/>
                </a:lnTo>
                <a:lnTo>
                  <a:pt x="924" y="150"/>
                </a:lnTo>
                <a:lnTo>
                  <a:pt x="942" y="78"/>
                </a:lnTo>
                <a:lnTo>
                  <a:pt x="948" y="78"/>
                </a:lnTo>
                <a:lnTo>
                  <a:pt x="954" y="66"/>
                </a:lnTo>
                <a:lnTo>
                  <a:pt x="954" y="72"/>
                </a:lnTo>
                <a:lnTo>
                  <a:pt x="954" y="66"/>
                </a:lnTo>
                <a:lnTo>
                  <a:pt x="960" y="66"/>
                </a:lnTo>
                <a:lnTo>
                  <a:pt x="966" y="66"/>
                </a:lnTo>
                <a:lnTo>
                  <a:pt x="972" y="66"/>
                </a:lnTo>
                <a:lnTo>
                  <a:pt x="972" y="60"/>
                </a:lnTo>
                <a:lnTo>
                  <a:pt x="978" y="54"/>
                </a:lnTo>
                <a:lnTo>
                  <a:pt x="984" y="54"/>
                </a:lnTo>
                <a:lnTo>
                  <a:pt x="990" y="54"/>
                </a:lnTo>
                <a:lnTo>
                  <a:pt x="996" y="48"/>
                </a:lnTo>
                <a:lnTo>
                  <a:pt x="1002" y="48"/>
                </a:lnTo>
                <a:lnTo>
                  <a:pt x="1032" y="48"/>
                </a:lnTo>
                <a:lnTo>
                  <a:pt x="1062" y="48"/>
                </a:lnTo>
                <a:lnTo>
                  <a:pt x="1068" y="78"/>
                </a:lnTo>
                <a:lnTo>
                  <a:pt x="1086" y="78"/>
                </a:lnTo>
                <a:lnTo>
                  <a:pt x="1092" y="66"/>
                </a:lnTo>
                <a:lnTo>
                  <a:pt x="1092" y="60"/>
                </a:lnTo>
                <a:lnTo>
                  <a:pt x="1092" y="54"/>
                </a:lnTo>
                <a:lnTo>
                  <a:pt x="1092" y="48"/>
                </a:lnTo>
                <a:lnTo>
                  <a:pt x="1098" y="48"/>
                </a:lnTo>
                <a:lnTo>
                  <a:pt x="1104" y="48"/>
                </a:lnTo>
                <a:lnTo>
                  <a:pt x="1110" y="48"/>
                </a:lnTo>
                <a:lnTo>
                  <a:pt x="1110" y="42"/>
                </a:lnTo>
                <a:lnTo>
                  <a:pt x="1110" y="36"/>
                </a:lnTo>
                <a:lnTo>
                  <a:pt x="1116" y="36"/>
                </a:lnTo>
                <a:lnTo>
                  <a:pt x="1116" y="30"/>
                </a:lnTo>
                <a:lnTo>
                  <a:pt x="1122" y="30"/>
                </a:lnTo>
                <a:lnTo>
                  <a:pt x="1128" y="30"/>
                </a:lnTo>
                <a:lnTo>
                  <a:pt x="1134" y="30"/>
                </a:lnTo>
                <a:lnTo>
                  <a:pt x="1140" y="24"/>
                </a:lnTo>
                <a:lnTo>
                  <a:pt x="1152" y="18"/>
                </a:lnTo>
                <a:lnTo>
                  <a:pt x="1158" y="18"/>
                </a:lnTo>
                <a:lnTo>
                  <a:pt x="1152" y="12"/>
                </a:lnTo>
                <a:lnTo>
                  <a:pt x="1152" y="6"/>
                </a:lnTo>
                <a:lnTo>
                  <a:pt x="1158" y="6"/>
                </a:lnTo>
                <a:lnTo>
                  <a:pt x="1164" y="6"/>
                </a:lnTo>
                <a:lnTo>
                  <a:pt x="1164" y="12"/>
                </a:lnTo>
                <a:lnTo>
                  <a:pt x="1170" y="18"/>
                </a:lnTo>
                <a:lnTo>
                  <a:pt x="1170" y="12"/>
                </a:lnTo>
                <a:lnTo>
                  <a:pt x="1170" y="6"/>
                </a:lnTo>
                <a:lnTo>
                  <a:pt x="1176" y="6"/>
                </a:lnTo>
                <a:lnTo>
                  <a:pt x="1176" y="0"/>
                </a:lnTo>
                <a:lnTo>
                  <a:pt x="1182" y="6"/>
                </a:lnTo>
                <a:lnTo>
                  <a:pt x="1188" y="6"/>
                </a:lnTo>
                <a:lnTo>
                  <a:pt x="1188" y="0"/>
                </a:lnTo>
                <a:lnTo>
                  <a:pt x="1194" y="6"/>
                </a:lnTo>
                <a:lnTo>
                  <a:pt x="1200" y="12"/>
                </a:lnTo>
                <a:lnTo>
                  <a:pt x="1206" y="18"/>
                </a:lnTo>
                <a:lnTo>
                  <a:pt x="1212" y="18"/>
                </a:lnTo>
                <a:lnTo>
                  <a:pt x="1218" y="24"/>
                </a:lnTo>
                <a:lnTo>
                  <a:pt x="1236" y="36"/>
                </a:lnTo>
                <a:lnTo>
                  <a:pt x="1242" y="36"/>
                </a:lnTo>
                <a:lnTo>
                  <a:pt x="1248" y="42"/>
                </a:lnTo>
                <a:lnTo>
                  <a:pt x="1248" y="48"/>
                </a:lnTo>
                <a:lnTo>
                  <a:pt x="1260" y="48"/>
                </a:lnTo>
                <a:lnTo>
                  <a:pt x="1260" y="108"/>
                </a:lnTo>
                <a:lnTo>
                  <a:pt x="1266" y="168"/>
                </a:lnTo>
                <a:lnTo>
                  <a:pt x="1278" y="234"/>
                </a:lnTo>
                <a:lnTo>
                  <a:pt x="1284" y="240"/>
                </a:lnTo>
                <a:lnTo>
                  <a:pt x="1290" y="264"/>
                </a:lnTo>
                <a:lnTo>
                  <a:pt x="1296" y="288"/>
                </a:lnTo>
                <a:lnTo>
                  <a:pt x="1296" y="300"/>
                </a:lnTo>
                <a:lnTo>
                  <a:pt x="1296" y="312"/>
                </a:lnTo>
                <a:lnTo>
                  <a:pt x="1296" y="324"/>
                </a:lnTo>
                <a:lnTo>
                  <a:pt x="1296" y="354"/>
                </a:lnTo>
                <a:lnTo>
                  <a:pt x="1302" y="366"/>
                </a:lnTo>
                <a:lnTo>
                  <a:pt x="1308" y="372"/>
                </a:lnTo>
                <a:lnTo>
                  <a:pt x="1308" y="384"/>
                </a:lnTo>
                <a:lnTo>
                  <a:pt x="1314" y="390"/>
                </a:lnTo>
                <a:lnTo>
                  <a:pt x="1308" y="408"/>
                </a:lnTo>
                <a:lnTo>
                  <a:pt x="1314" y="408"/>
                </a:lnTo>
                <a:lnTo>
                  <a:pt x="1314" y="414"/>
                </a:lnTo>
                <a:lnTo>
                  <a:pt x="1308" y="420"/>
                </a:lnTo>
                <a:lnTo>
                  <a:pt x="1308" y="432"/>
                </a:lnTo>
                <a:lnTo>
                  <a:pt x="1320" y="432"/>
                </a:lnTo>
                <a:lnTo>
                  <a:pt x="1320" y="444"/>
                </a:lnTo>
                <a:lnTo>
                  <a:pt x="1332" y="444"/>
                </a:lnTo>
                <a:lnTo>
                  <a:pt x="1338" y="450"/>
                </a:lnTo>
                <a:lnTo>
                  <a:pt x="1344" y="456"/>
                </a:lnTo>
                <a:lnTo>
                  <a:pt x="1344" y="462"/>
                </a:lnTo>
                <a:lnTo>
                  <a:pt x="1344" y="474"/>
                </a:lnTo>
                <a:lnTo>
                  <a:pt x="1350" y="474"/>
                </a:lnTo>
                <a:lnTo>
                  <a:pt x="1368" y="504"/>
                </a:lnTo>
                <a:lnTo>
                  <a:pt x="1374" y="534"/>
                </a:lnTo>
                <a:lnTo>
                  <a:pt x="1380" y="558"/>
                </a:lnTo>
                <a:lnTo>
                  <a:pt x="1386" y="576"/>
                </a:lnTo>
                <a:lnTo>
                  <a:pt x="1386" y="600"/>
                </a:lnTo>
                <a:lnTo>
                  <a:pt x="1386" y="624"/>
                </a:lnTo>
                <a:lnTo>
                  <a:pt x="1386" y="648"/>
                </a:lnTo>
                <a:lnTo>
                  <a:pt x="1386" y="684"/>
                </a:lnTo>
                <a:lnTo>
                  <a:pt x="1380" y="684"/>
                </a:lnTo>
                <a:lnTo>
                  <a:pt x="1374" y="696"/>
                </a:lnTo>
                <a:lnTo>
                  <a:pt x="1368" y="702"/>
                </a:lnTo>
                <a:lnTo>
                  <a:pt x="1362" y="708"/>
                </a:lnTo>
                <a:lnTo>
                  <a:pt x="1356" y="714"/>
                </a:lnTo>
                <a:lnTo>
                  <a:pt x="1350" y="720"/>
                </a:lnTo>
                <a:lnTo>
                  <a:pt x="1338" y="720"/>
                </a:lnTo>
                <a:lnTo>
                  <a:pt x="1338" y="738"/>
                </a:lnTo>
                <a:lnTo>
                  <a:pt x="1362" y="750"/>
                </a:lnTo>
                <a:lnTo>
                  <a:pt x="1362" y="756"/>
                </a:lnTo>
                <a:lnTo>
                  <a:pt x="1374" y="756"/>
                </a:lnTo>
                <a:lnTo>
                  <a:pt x="1410" y="774"/>
                </a:lnTo>
                <a:lnTo>
                  <a:pt x="1446" y="774"/>
                </a:lnTo>
                <a:lnTo>
                  <a:pt x="1482" y="768"/>
                </a:lnTo>
                <a:lnTo>
                  <a:pt x="1500" y="774"/>
                </a:lnTo>
                <a:lnTo>
                  <a:pt x="1512" y="78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9525" cap="flat" cmpd="sng">
            <a:solidFill>
              <a:srgbClr val="33872D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55" name="Freeform 11">
            <a:extLst>
              <a:ext uri="{FF2B5EF4-FFF2-40B4-BE49-F238E27FC236}">
                <a16:creationId xmlns:a16="http://schemas.microsoft.com/office/drawing/2014/main" id="{254EC1C0-43D9-406F-ABCD-2F519546A187}"/>
              </a:ext>
            </a:extLst>
          </p:cNvPr>
          <p:cNvSpPr>
            <a:spLocks/>
          </p:cNvSpPr>
          <p:nvPr/>
        </p:nvSpPr>
        <p:spPr bwMode="gray">
          <a:xfrm>
            <a:off x="5758938" y="2982847"/>
            <a:ext cx="480611" cy="662128"/>
          </a:xfrm>
          <a:custGeom>
            <a:avLst/>
            <a:gdLst>
              <a:gd name="T0" fmla="*/ 47 w 840"/>
              <a:gd name="T1" fmla="*/ 98 h 1134"/>
              <a:gd name="T2" fmla="*/ 41 w 840"/>
              <a:gd name="T3" fmla="*/ 98 h 1134"/>
              <a:gd name="T4" fmla="*/ 37 w 840"/>
              <a:gd name="T5" fmla="*/ 98 h 1134"/>
              <a:gd name="T6" fmla="*/ 29 w 840"/>
              <a:gd name="T7" fmla="*/ 97 h 1134"/>
              <a:gd name="T8" fmla="*/ 27 w 840"/>
              <a:gd name="T9" fmla="*/ 94 h 1134"/>
              <a:gd name="T10" fmla="*/ 26 w 840"/>
              <a:gd name="T11" fmla="*/ 93 h 1134"/>
              <a:gd name="T12" fmla="*/ 26 w 840"/>
              <a:gd name="T13" fmla="*/ 83 h 1134"/>
              <a:gd name="T14" fmla="*/ 26 w 840"/>
              <a:gd name="T15" fmla="*/ 81 h 1134"/>
              <a:gd name="T16" fmla="*/ 23 w 840"/>
              <a:gd name="T17" fmla="*/ 77 h 1134"/>
              <a:gd name="T18" fmla="*/ 19 w 840"/>
              <a:gd name="T19" fmla="*/ 75 h 1134"/>
              <a:gd name="T20" fmla="*/ 16 w 840"/>
              <a:gd name="T21" fmla="*/ 72 h 1134"/>
              <a:gd name="T22" fmla="*/ 13 w 840"/>
              <a:gd name="T23" fmla="*/ 70 h 1134"/>
              <a:gd name="T24" fmla="*/ 17 w 840"/>
              <a:gd name="T25" fmla="*/ 67 h 1134"/>
              <a:gd name="T26" fmla="*/ 19 w 840"/>
              <a:gd name="T27" fmla="*/ 63 h 1134"/>
              <a:gd name="T28" fmla="*/ 20 w 840"/>
              <a:gd name="T29" fmla="*/ 59 h 1134"/>
              <a:gd name="T30" fmla="*/ 19 w 840"/>
              <a:gd name="T31" fmla="*/ 55 h 1134"/>
              <a:gd name="T32" fmla="*/ 17 w 840"/>
              <a:gd name="T33" fmla="*/ 47 h 1134"/>
              <a:gd name="T34" fmla="*/ 8 w 840"/>
              <a:gd name="T35" fmla="*/ 45 h 1134"/>
              <a:gd name="T36" fmla="*/ 4 w 840"/>
              <a:gd name="T37" fmla="*/ 39 h 1134"/>
              <a:gd name="T38" fmla="*/ 2 w 840"/>
              <a:gd name="T39" fmla="*/ 35 h 1134"/>
              <a:gd name="T40" fmla="*/ 0 w 840"/>
              <a:gd name="T41" fmla="*/ 31 h 1134"/>
              <a:gd name="T42" fmla="*/ 2 w 840"/>
              <a:gd name="T43" fmla="*/ 27 h 1134"/>
              <a:gd name="T44" fmla="*/ 5 w 840"/>
              <a:gd name="T45" fmla="*/ 24 h 1134"/>
              <a:gd name="T46" fmla="*/ 10 w 840"/>
              <a:gd name="T47" fmla="*/ 26 h 1134"/>
              <a:gd name="T48" fmla="*/ 7 w 840"/>
              <a:gd name="T49" fmla="*/ 20 h 1134"/>
              <a:gd name="T50" fmla="*/ 12 w 840"/>
              <a:gd name="T51" fmla="*/ 12 h 1134"/>
              <a:gd name="T52" fmla="*/ 19 w 840"/>
              <a:gd name="T53" fmla="*/ 10 h 1134"/>
              <a:gd name="T54" fmla="*/ 20 w 840"/>
              <a:gd name="T55" fmla="*/ 13 h 1134"/>
              <a:gd name="T56" fmla="*/ 22 w 840"/>
              <a:gd name="T57" fmla="*/ 11 h 1134"/>
              <a:gd name="T58" fmla="*/ 25 w 840"/>
              <a:gd name="T59" fmla="*/ 7 h 1134"/>
              <a:gd name="T60" fmla="*/ 29 w 840"/>
              <a:gd name="T61" fmla="*/ 2 h 1134"/>
              <a:gd name="T62" fmla="*/ 33 w 840"/>
              <a:gd name="T63" fmla="*/ 1 h 1134"/>
              <a:gd name="T64" fmla="*/ 37 w 840"/>
              <a:gd name="T65" fmla="*/ 2 h 1134"/>
              <a:gd name="T66" fmla="*/ 39 w 840"/>
              <a:gd name="T67" fmla="*/ 4 h 1134"/>
              <a:gd name="T68" fmla="*/ 43 w 840"/>
              <a:gd name="T69" fmla="*/ 5 h 1134"/>
              <a:gd name="T70" fmla="*/ 46 w 840"/>
              <a:gd name="T71" fmla="*/ 11 h 1134"/>
              <a:gd name="T72" fmla="*/ 49 w 840"/>
              <a:gd name="T73" fmla="*/ 12 h 1134"/>
              <a:gd name="T74" fmla="*/ 52 w 840"/>
              <a:gd name="T75" fmla="*/ 15 h 1134"/>
              <a:gd name="T76" fmla="*/ 54 w 840"/>
              <a:gd name="T77" fmla="*/ 18 h 1134"/>
              <a:gd name="T78" fmla="*/ 55 w 840"/>
              <a:gd name="T79" fmla="*/ 22 h 1134"/>
              <a:gd name="T80" fmla="*/ 56 w 840"/>
              <a:gd name="T81" fmla="*/ 26 h 1134"/>
              <a:gd name="T82" fmla="*/ 55 w 840"/>
              <a:gd name="T83" fmla="*/ 32 h 1134"/>
              <a:gd name="T84" fmla="*/ 55 w 840"/>
              <a:gd name="T85" fmla="*/ 36 h 1134"/>
              <a:gd name="T86" fmla="*/ 54 w 840"/>
              <a:gd name="T87" fmla="*/ 39 h 1134"/>
              <a:gd name="T88" fmla="*/ 56 w 840"/>
              <a:gd name="T89" fmla="*/ 39 h 1134"/>
              <a:gd name="T90" fmla="*/ 58 w 840"/>
              <a:gd name="T91" fmla="*/ 39 h 1134"/>
              <a:gd name="T92" fmla="*/ 61 w 840"/>
              <a:gd name="T93" fmla="*/ 39 h 1134"/>
              <a:gd name="T94" fmla="*/ 60 w 840"/>
              <a:gd name="T95" fmla="*/ 49 h 1134"/>
              <a:gd name="T96" fmla="*/ 59 w 840"/>
              <a:gd name="T97" fmla="*/ 53 h 1134"/>
              <a:gd name="T98" fmla="*/ 59 w 840"/>
              <a:gd name="T99" fmla="*/ 56 h 1134"/>
              <a:gd name="T100" fmla="*/ 60 w 840"/>
              <a:gd name="T101" fmla="*/ 59 h 1134"/>
              <a:gd name="T102" fmla="*/ 64 w 840"/>
              <a:gd name="T103" fmla="*/ 61 h 1134"/>
              <a:gd name="T104" fmla="*/ 69 w 840"/>
              <a:gd name="T105" fmla="*/ 63 h 1134"/>
              <a:gd name="T106" fmla="*/ 72 w 840"/>
              <a:gd name="T107" fmla="*/ 69 h 1134"/>
              <a:gd name="T108" fmla="*/ 72 w 840"/>
              <a:gd name="T109" fmla="*/ 73 h 1134"/>
              <a:gd name="T110" fmla="*/ 72 w 840"/>
              <a:gd name="T111" fmla="*/ 83 h 1134"/>
              <a:gd name="T112" fmla="*/ 63 w 840"/>
              <a:gd name="T113" fmla="*/ 88 h 1134"/>
              <a:gd name="T114" fmla="*/ 52 w 840"/>
              <a:gd name="T115" fmla="*/ 95 h 1134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840"/>
              <a:gd name="T175" fmla="*/ 0 h 1134"/>
              <a:gd name="T176" fmla="*/ 840 w 840"/>
              <a:gd name="T177" fmla="*/ 1134 h 1134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840" h="1134">
                <a:moveTo>
                  <a:pt x="564" y="1110"/>
                </a:moveTo>
                <a:lnTo>
                  <a:pt x="564" y="1104"/>
                </a:lnTo>
                <a:lnTo>
                  <a:pt x="558" y="1104"/>
                </a:lnTo>
                <a:lnTo>
                  <a:pt x="552" y="1110"/>
                </a:lnTo>
                <a:lnTo>
                  <a:pt x="546" y="1122"/>
                </a:lnTo>
                <a:lnTo>
                  <a:pt x="540" y="1128"/>
                </a:lnTo>
                <a:lnTo>
                  <a:pt x="528" y="1128"/>
                </a:lnTo>
                <a:lnTo>
                  <a:pt x="498" y="1128"/>
                </a:lnTo>
                <a:lnTo>
                  <a:pt x="492" y="1128"/>
                </a:lnTo>
                <a:lnTo>
                  <a:pt x="486" y="1128"/>
                </a:lnTo>
                <a:lnTo>
                  <a:pt x="480" y="1128"/>
                </a:lnTo>
                <a:lnTo>
                  <a:pt x="474" y="1134"/>
                </a:lnTo>
                <a:lnTo>
                  <a:pt x="468" y="1134"/>
                </a:lnTo>
                <a:lnTo>
                  <a:pt x="462" y="1134"/>
                </a:lnTo>
                <a:lnTo>
                  <a:pt x="456" y="1134"/>
                </a:lnTo>
                <a:lnTo>
                  <a:pt x="456" y="1128"/>
                </a:lnTo>
                <a:lnTo>
                  <a:pt x="450" y="1122"/>
                </a:lnTo>
                <a:lnTo>
                  <a:pt x="426" y="1128"/>
                </a:lnTo>
                <a:lnTo>
                  <a:pt x="414" y="1128"/>
                </a:lnTo>
                <a:lnTo>
                  <a:pt x="348" y="1134"/>
                </a:lnTo>
                <a:lnTo>
                  <a:pt x="348" y="1128"/>
                </a:lnTo>
                <a:lnTo>
                  <a:pt x="342" y="1128"/>
                </a:lnTo>
                <a:lnTo>
                  <a:pt x="336" y="1122"/>
                </a:lnTo>
                <a:lnTo>
                  <a:pt x="330" y="1122"/>
                </a:lnTo>
                <a:lnTo>
                  <a:pt x="324" y="1116"/>
                </a:lnTo>
                <a:lnTo>
                  <a:pt x="324" y="1110"/>
                </a:lnTo>
                <a:lnTo>
                  <a:pt x="318" y="1110"/>
                </a:lnTo>
                <a:lnTo>
                  <a:pt x="318" y="1104"/>
                </a:lnTo>
                <a:lnTo>
                  <a:pt x="312" y="1092"/>
                </a:lnTo>
                <a:lnTo>
                  <a:pt x="306" y="1086"/>
                </a:lnTo>
                <a:lnTo>
                  <a:pt x="306" y="1080"/>
                </a:lnTo>
                <a:lnTo>
                  <a:pt x="312" y="1074"/>
                </a:lnTo>
                <a:lnTo>
                  <a:pt x="306" y="1068"/>
                </a:lnTo>
                <a:lnTo>
                  <a:pt x="300" y="1074"/>
                </a:lnTo>
                <a:lnTo>
                  <a:pt x="300" y="1068"/>
                </a:lnTo>
                <a:lnTo>
                  <a:pt x="294" y="1068"/>
                </a:lnTo>
                <a:lnTo>
                  <a:pt x="294" y="1056"/>
                </a:lnTo>
                <a:lnTo>
                  <a:pt x="294" y="1026"/>
                </a:lnTo>
                <a:lnTo>
                  <a:pt x="294" y="1020"/>
                </a:lnTo>
                <a:lnTo>
                  <a:pt x="294" y="1008"/>
                </a:lnTo>
                <a:lnTo>
                  <a:pt x="294" y="966"/>
                </a:lnTo>
                <a:lnTo>
                  <a:pt x="294" y="960"/>
                </a:lnTo>
                <a:lnTo>
                  <a:pt x="294" y="954"/>
                </a:lnTo>
                <a:lnTo>
                  <a:pt x="294" y="948"/>
                </a:lnTo>
                <a:lnTo>
                  <a:pt x="294" y="942"/>
                </a:lnTo>
                <a:lnTo>
                  <a:pt x="300" y="936"/>
                </a:lnTo>
                <a:lnTo>
                  <a:pt x="300" y="930"/>
                </a:lnTo>
                <a:lnTo>
                  <a:pt x="294" y="930"/>
                </a:lnTo>
                <a:lnTo>
                  <a:pt x="288" y="930"/>
                </a:lnTo>
                <a:lnTo>
                  <a:pt x="288" y="924"/>
                </a:lnTo>
                <a:lnTo>
                  <a:pt x="282" y="918"/>
                </a:lnTo>
                <a:lnTo>
                  <a:pt x="282" y="906"/>
                </a:lnTo>
                <a:lnTo>
                  <a:pt x="282" y="900"/>
                </a:lnTo>
                <a:lnTo>
                  <a:pt x="264" y="894"/>
                </a:lnTo>
                <a:lnTo>
                  <a:pt x="252" y="882"/>
                </a:lnTo>
                <a:lnTo>
                  <a:pt x="246" y="876"/>
                </a:lnTo>
                <a:lnTo>
                  <a:pt x="240" y="876"/>
                </a:lnTo>
                <a:lnTo>
                  <a:pt x="240" y="870"/>
                </a:lnTo>
                <a:lnTo>
                  <a:pt x="234" y="870"/>
                </a:lnTo>
                <a:lnTo>
                  <a:pt x="222" y="864"/>
                </a:lnTo>
                <a:lnTo>
                  <a:pt x="216" y="864"/>
                </a:lnTo>
                <a:lnTo>
                  <a:pt x="210" y="858"/>
                </a:lnTo>
                <a:lnTo>
                  <a:pt x="210" y="852"/>
                </a:lnTo>
                <a:lnTo>
                  <a:pt x="210" y="846"/>
                </a:lnTo>
                <a:lnTo>
                  <a:pt x="198" y="840"/>
                </a:lnTo>
                <a:lnTo>
                  <a:pt x="186" y="834"/>
                </a:lnTo>
                <a:lnTo>
                  <a:pt x="180" y="828"/>
                </a:lnTo>
                <a:lnTo>
                  <a:pt x="180" y="822"/>
                </a:lnTo>
                <a:lnTo>
                  <a:pt x="174" y="822"/>
                </a:lnTo>
                <a:lnTo>
                  <a:pt x="162" y="816"/>
                </a:lnTo>
                <a:lnTo>
                  <a:pt x="156" y="810"/>
                </a:lnTo>
                <a:lnTo>
                  <a:pt x="150" y="810"/>
                </a:lnTo>
                <a:lnTo>
                  <a:pt x="144" y="798"/>
                </a:lnTo>
                <a:lnTo>
                  <a:pt x="138" y="786"/>
                </a:lnTo>
                <a:lnTo>
                  <a:pt x="138" y="780"/>
                </a:lnTo>
                <a:lnTo>
                  <a:pt x="144" y="774"/>
                </a:lnTo>
                <a:lnTo>
                  <a:pt x="150" y="768"/>
                </a:lnTo>
                <a:lnTo>
                  <a:pt x="192" y="768"/>
                </a:lnTo>
                <a:lnTo>
                  <a:pt x="210" y="762"/>
                </a:lnTo>
                <a:lnTo>
                  <a:pt x="216" y="756"/>
                </a:lnTo>
                <a:lnTo>
                  <a:pt x="216" y="744"/>
                </a:lnTo>
                <a:lnTo>
                  <a:pt x="216" y="738"/>
                </a:lnTo>
                <a:lnTo>
                  <a:pt x="216" y="732"/>
                </a:lnTo>
                <a:lnTo>
                  <a:pt x="216" y="726"/>
                </a:lnTo>
                <a:lnTo>
                  <a:pt x="216" y="720"/>
                </a:lnTo>
                <a:lnTo>
                  <a:pt x="228" y="702"/>
                </a:lnTo>
                <a:lnTo>
                  <a:pt x="234" y="696"/>
                </a:lnTo>
                <a:lnTo>
                  <a:pt x="240" y="690"/>
                </a:lnTo>
                <a:lnTo>
                  <a:pt x="240" y="684"/>
                </a:lnTo>
                <a:lnTo>
                  <a:pt x="234" y="678"/>
                </a:lnTo>
                <a:lnTo>
                  <a:pt x="228" y="672"/>
                </a:lnTo>
                <a:lnTo>
                  <a:pt x="228" y="666"/>
                </a:lnTo>
                <a:lnTo>
                  <a:pt x="222" y="660"/>
                </a:lnTo>
                <a:lnTo>
                  <a:pt x="222" y="654"/>
                </a:lnTo>
                <a:lnTo>
                  <a:pt x="222" y="648"/>
                </a:lnTo>
                <a:lnTo>
                  <a:pt x="222" y="630"/>
                </a:lnTo>
                <a:lnTo>
                  <a:pt x="222" y="618"/>
                </a:lnTo>
                <a:lnTo>
                  <a:pt x="222" y="582"/>
                </a:lnTo>
                <a:lnTo>
                  <a:pt x="228" y="582"/>
                </a:lnTo>
                <a:lnTo>
                  <a:pt x="222" y="564"/>
                </a:lnTo>
                <a:lnTo>
                  <a:pt x="210" y="552"/>
                </a:lnTo>
                <a:lnTo>
                  <a:pt x="192" y="540"/>
                </a:lnTo>
                <a:lnTo>
                  <a:pt x="174" y="540"/>
                </a:lnTo>
                <a:lnTo>
                  <a:pt x="150" y="534"/>
                </a:lnTo>
                <a:lnTo>
                  <a:pt x="126" y="528"/>
                </a:lnTo>
                <a:lnTo>
                  <a:pt x="96" y="528"/>
                </a:lnTo>
                <a:lnTo>
                  <a:pt x="96" y="522"/>
                </a:lnTo>
                <a:lnTo>
                  <a:pt x="90" y="516"/>
                </a:lnTo>
                <a:lnTo>
                  <a:pt x="78" y="504"/>
                </a:lnTo>
                <a:lnTo>
                  <a:pt x="72" y="498"/>
                </a:lnTo>
                <a:lnTo>
                  <a:pt x="66" y="486"/>
                </a:lnTo>
                <a:lnTo>
                  <a:pt x="54" y="468"/>
                </a:lnTo>
                <a:lnTo>
                  <a:pt x="54" y="450"/>
                </a:lnTo>
                <a:lnTo>
                  <a:pt x="48" y="444"/>
                </a:lnTo>
                <a:lnTo>
                  <a:pt x="48" y="438"/>
                </a:lnTo>
                <a:lnTo>
                  <a:pt x="42" y="438"/>
                </a:lnTo>
                <a:lnTo>
                  <a:pt x="36" y="438"/>
                </a:lnTo>
                <a:lnTo>
                  <a:pt x="24" y="420"/>
                </a:lnTo>
                <a:lnTo>
                  <a:pt x="24" y="414"/>
                </a:lnTo>
                <a:lnTo>
                  <a:pt x="24" y="402"/>
                </a:lnTo>
                <a:lnTo>
                  <a:pt x="18" y="396"/>
                </a:lnTo>
                <a:lnTo>
                  <a:pt x="24" y="384"/>
                </a:lnTo>
                <a:lnTo>
                  <a:pt x="18" y="372"/>
                </a:lnTo>
                <a:lnTo>
                  <a:pt x="18" y="366"/>
                </a:lnTo>
                <a:lnTo>
                  <a:pt x="12" y="360"/>
                </a:lnTo>
                <a:lnTo>
                  <a:pt x="6" y="360"/>
                </a:lnTo>
                <a:lnTo>
                  <a:pt x="0" y="348"/>
                </a:lnTo>
                <a:lnTo>
                  <a:pt x="6" y="342"/>
                </a:lnTo>
                <a:lnTo>
                  <a:pt x="6" y="336"/>
                </a:lnTo>
                <a:lnTo>
                  <a:pt x="12" y="330"/>
                </a:lnTo>
                <a:lnTo>
                  <a:pt x="18" y="318"/>
                </a:lnTo>
                <a:lnTo>
                  <a:pt x="24" y="312"/>
                </a:lnTo>
                <a:lnTo>
                  <a:pt x="24" y="306"/>
                </a:lnTo>
                <a:lnTo>
                  <a:pt x="30" y="306"/>
                </a:lnTo>
                <a:lnTo>
                  <a:pt x="42" y="294"/>
                </a:lnTo>
                <a:lnTo>
                  <a:pt x="42" y="288"/>
                </a:lnTo>
                <a:lnTo>
                  <a:pt x="48" y="282"/>
                </a:lnTo>
                <a:lnTo>
                  <a:pt x="54" y="276"/>
                </a:lnTo>
                <a:lnTo>
                  <a:pt x="60" y="270"/>
                </a:lnTo>
                <a:lnTo>
                  <a:pt x="66" y="270"/>
                </a:lnTo>
                <a:lnTo>
                  <a:pt x="78" y="270"/>
                </a:lnTo>
                <a:lnTo>
                  <a:pt x="90" y="276"/>
                </a:lnTo>
                <a:lnTo>
                  <a:pt x="108" y="294"/>
                </a:lnTo>
                <a:lnTo>
                  <a:pt x="114" y="294"/>
                </a:lnTo>
                <a:lnTo>
                  <a:pt x="114" y="276"/>
                </a:lnTo>
                <a:lnTo>
                  <a:pt x="114" y="270"/>
                </a:lnTo>
                <a:lnTo>
                  <a:pt x="102" y="258"/>
                </a:lnTo>
                <a:lnTo>
                  <a:pt x="96" y="246"/>
                </a:lnTo>
                <a:lnTo>
                  <a:pt x="90" y="234"/>
                </a:lnTo>
                <a:lnTo>
                  <a:pt x="78" y="228"/>
                </a:lnTo>
                <a:lnTo>
                  <a:pt x="72" y="216"/>
                </a:lnTo>
                <a:lnTo>
                  <a:pt x="66" y="192"/>
                </a:lnTo>
                <a:lnTo>
                  <a:pt x="90" y="174"/>
                </a:lnTo>
                <a:lnTo>
                  <a:pt x="120" y="150"/>
                </a:lnTo>
                <a:lnTo>
                  <a:pt x="132" y="150"/>
                </a:lnTo>
                <a:lnTo>
                  <a:pt x="138" y="144"/>
                </a:lnTo>
                <a:lnTo>
                  <a:pt x="138" y="138"/>
                </a:lnTo>
                <a:lnTo>
                  <a:pt x="156" y="126"/>
                </a:lnTo>
                <a:lnTo>
                  <a:pt x="180" y="114"/>
                </a:lnTo>
                <a:lnTo>
                  <a:pt x="216" y="114"/>
                </a:lnTo>
                <a:lnTo>
                  <a:pt x="222" y="114"/>
                </a:lnTo>
                <a:lnTo>
                  <a:pt x="222" y="120"/>
                </a:lnTo>
                <a:lnTo>
                  <a:pt x="222" y="126"/>
                </a:lnTo>
                <a:lnTo>
                  <a:pt x="222" y="132"/>
                </a:lnTo>
                <a:lnTo>
                  <a:pt x="228" y="138"/>
                </a:lnTo>
                <a:lnTo>
                  <a:pt x="228" y="144"/>
                </a:lnTo>
                <a:lnTo>
                  <a:pt x="228" y="150"/>
                </a:lnTo>
                <a:lnTo>
                  <a:pt x="234" y="150"/>
                </a:lnTo>
                <a:lnTo>
                  <a:pt x="234" y="144"/>
                </a:lnTo>
                <a:lnTo>
                  <a:pt x="240" y="144"/>
                </a:lnTo>
                <a:lnTo>
                  <a:pt x="246" y="144"/>
                </a:lnTo>
                <a:lnTo>
                  <a:pt x="258" y="138"/>
                </a:lnTo>
                <a:lnTo>
                  <a:pt x="264" y="138"/>
                </a:lnTo>
                <a:lnTo>
                  <a:pt x="258" y="126"/>
                </a:lnTo>
                <a:lnTo>
                  <a:pt x="258" y="120"/>
                </a:lnTo>
                <a:lnTo>
                  <a:pt x="258" y="114"/>
                </a:lnTo>
                <a:lnTo>
                  <a:pt x="264" y="114"/>
                </a:lnTo>
                <a:lnTo>
                  <a:pt x="276" y="96"/>
                </a:lnTo>
                <a:lnTo>
                  <a:pt x="288" y="90"/>
                </a:lnTo>
                <a:lnTo>
                  <a:pt x="288" y="84"/>
                </a:lnTo>
                <a:lnTo>
                  <a:pt x="294" y="84"/>
                </a:lnTo>
                <a:lnTo>
                  <a:pt x="306" y="72"/>
                </a:lnTo>
                <a:lnTo>
                  <a:pt x="318" y="60"/>
                </a:lnTo>
                <a:lnTo>
                  <a:pt x="324" y="54"/>
                </a:lnTo>
                <a:lnTo>
                  <a:pt x="330" y="36"/>
                </a:lnTo>
                <a:lnTo>
                  <a:pt x="330" y="24"/>
                </a:lnTo>
                <a:lnTo>
                  <a:pt x="330" y="18"/>
                </a:lnTo>
                <a:lnTo>
                  <a:pt x="330" y="12"/>
                </a:lnTo>
                <a:lnTo>
                  <a:pt x="336" y="6"/>
                </a:lnTo>
                <a:lnTo>
                  <a:pt x="366" y="0"/>
                </a:lnTo>
                <a:lnTo>
                  <a:pt x="372" y="6"/>
                </a:lnTo>
                <a:lnTo>
                  <a:pt x="384" y="12"/>
                </a:lnTo>
                <a:lnTo>
                  <a:pt x="402" y="12"/>
                </a:lnTo>
                <a:lnTo>
                  <a:pt x="402" y="18"/>
                </a:lnTo>
                <a:lnTo>
                  <a:pt x="408" y="18"/>
                </a:lnTo>
                <a:lnTo>
                  <a:pt x="414" y="18"/>
                </a:lnTo>
                <a:lnTo>
                  <a:pt x="420" y="18"/>
                </a:lnTo>
                <a:lnTo>
                  <a:pt x="426" y="24"/>
                </a:lnTo>
                <a:lnTo>
                  <a:pt x="432" y="30"/>
                </a:lnTo>
                <a:lnTo>
                  <a:pt x="438" y="36"/>
                </a:lnTo>
                <a:lnTo>
                  <a:pt x="444" y="42"/>
                </a:lnTo>
                <a:lnTo>
                  <a:pt x="450" y="42"/>
                </a:lnTo>
                <a:lnTo>
                  <a:pt x="450" y="48"/>
                </a:lnTo>
                <a:lnTo>
                  <a:pt x="456" y="48"/>
                </a:lnTo>
                <a:lnTo>
                  <a:pt x="468" y="54"/>
                </a:lnTo>
                <a:lnTo>
                  <a:pt x="474" y="54"/>
                </a:lnTo>
                <a:lnTo>
                  <a:pt x="480" y="54"/>
                </a:lnTo>
                <a:lnTo>
                  <a:pt x="480" y="60"/>
                </a:lnTo>
                <a:lnTo>
                  <a:pt x="486" y="60"/>
                </a:lnTo>
                <a:lnTo>
                  <a:pt x="492" y="60"/>
                </a:lnTo>
                <a:lnTo>
                  <a:pt x="498" y="60"/>
                </a:lnTo>
                <a:lnTo>
                  <a:pt x="504" y="66"/>
                </a:lnTo>
                <a:lnTo>
                  <a:pt x="516" y="78"/>
                </a:lnTo>
                <a:lnTo>
                  <a:pt x="522" y="102"/>
                </a:lnTo>
                <a:lnTo>
                  <a:pt x="522" y="108"/>
                </a:lnTo>
                <a:lnTo>
                  <a:pt x="528" y="126"/>
                </a:lnTo>
                <a:lnTo>
                  <a:pt x="534" y="126"/>
                </a:lnTo>
                <a:lnTo>
                  <a:pt x="540" y="120"/>
                </a:lnTo>
                <a:lnTo>
                  <a:pt x="546" y="126"/>
                </a:lnTo>
                <a:lnTo>
                  <a:pt x="552" y="126"/>
                </a:lnTo>
                <a:lnTo>
                  <a:pt x="558" y="132"/>
                </a:lnTo>
                <a:lnTo>
                  <a:pt x="564" y="138"/>
                </a:lnTo>
                <a:lnTo>
                  <a:pt x="570" y="144"/>
                </a:lnTo>
                <a:lnTo>
                  <a:pt x="576" y="150"/>
                </a:lnTo>
                <a:lnTo>
                  <a:pt x="582" y="156"/>
                </a:lnTo>
                <a:lnTo>
                  <a:pt x="588" y="162"/>
                </a:lnTo>
                <a:lnTo>
                  <a:pt x="594" y="168"/>
                </a:lnTo>
                <a:lnTo>
                  <a:pt x="600" y="174"/>
                </a:lnTo>
                <a:lnTo>
                  <a:pt x="606" y="180"/>
                </a:lnTo>
                <a:lnTo>
                  <a:pt x="606" y="186"/>
                </a:lnTo>
                <a:lnTo>
                  <a:pt x="612" y="192"/>
                </a:lnTo>
                <a:lnTo>
                  <a:pt x="612" y="198"/>
                </a:lnTo>
                <a:lnTo>
                  <a:pt x="624" y="204"/>
                </a:lnTo>
                <a:lnTo>
                  <a:pt x="624" y="210"/>
                </a:lnTo>
                <a:lnTo>
                  <a:pt x="630" y="216"/>
                </a:lnTo>
                <a:lnTo>
                  <a:pt x="636" y="222"/>
                </a:lnTo>
                <a:lnTo>
                  <a:pt x="636" y="228"/>
                </a:lnTo>
                <a:lnTo>
                  <a:pt x="636" y="234"/>
                </a:lnTo>
                <a:lnTo>
                  <a:pt x="636" y="252"/>
                </a:lnTo>
                <a:lnTo>
                  <a:pt x="636" y="258"/>
                </a:lnTo>
                <a:lnTo>
                  <a:pt x="636" y="264"/>
                </a:lnTo>
                <a:lnTo>
                  <a:pt x="636" y="270"/>
                </a:lnTo>
                <a:lnTo>
                  <a:pt x="642" y="276"/>
                </a:lnTo>
                <a:lnTo>
                  <a:pt x="642" y="282"/>
                </a:lnTo>
                <a:lnTo>
                  <a:pt x="642" y="288"/>
                </a:lnTo>
                <a:lnTo>
                  <a:pt x="642" y="300"/>
                </a:lnTo>
                <a:lnTo>
                  <a:pt x="642" y="306"/>
                </a:lnTo>
                <a:lnTo>
                  <a:pt x="636" y="312"/>
                </a:lnTo>
                <a:lnTo>
                  <a:pt x="636" y="324"/>
                </a:lnTo>
                <a:lnTo>
                  <a:pt x="636" y="342"/>
                </a:lnTo>
                <a:lnTo>
                  <a:pt x="630" y="354"/>
                </a:lnTo>
                <a:lnTo>
                  <a:pt x="630" y="366"/>
                </a:lnTo>
                <a:lnTo>
                  <a:pt x="624" y="378"/>
                </a:lnTo>
                <a:lnTo>
                  <a:pt x="624" y="384"/>
                </a:lnTo>
                <a:lnTo>
                  <a:pt x="636" y="396"/>
                </a:lnTo>
                <a:lnTo>
                  <a:pt x="636" y="402"/>
                </a:lnTo>
                <a:lnTo>
                  <a:pt x="636" y="408"/>
                </a:lnTo>
                <a:lnTo>
                  <a:pt x="630" y="414"/>
                </a:lnTo>
                <a:lnTo>
                  <a:pt x="630" y="420"/>
                </a:lnTo>
                <a:lnTo>
                  <a:pt x="630" y="426"/>
                </a:lnTo>
                <a:lnTo>
                  <a:pt x="630" y="432"/>
                </a:lnTo>
                <a:lnTo>
                  <a:pt x="624" y="438"/>
                </a:lnTo>
                <a:lnTo>
                  <a:pt x="624" y="444"/>
                </a:lnTo>
                <a:lnTo>
                  <a:pt x="624" y="450"/>
                </a:lnTo>
                <a:lnTo>
                  <a:pt x="630" y="450"/>
                </a:lnTo>
                <a:lnTo>
                  <a:pt x="630" y="456"/>
                </a:lnTo>
                <a:lnTo>
                  <a:pt x="630" y="462"/>
                </a:lnTo>
                <a:lnTo>
                  <a:pt x="636" y="468"/>
                </a:lnTo>
                <a:lnTo>
                  <a:pt x="642" y="456"/>
                </a:lnTo>
                <a:lnTo>
                  <a:pt x="642" y="450"/>
                </a:lnTo>
                <a:lnTo>
                  <a:pt x="648" y="450"/>
                </a:lnTo>
                <a:lnTo>
                  <a:pt x="654" y="450"/>
                </a:lnTo>
                <a:lnTo>
                  <a:pt x="654" y="444"/>
                </a:lnTo>
                <a:lnTo>
                  <a:pt x="660" y="444"/>
                </a:lnTo>
                <a:lnTo>
                  <a:pt x="666" y="450"/>
                </a:lnTo>
                <a:lnTo>
                  <a:pt x="672" y="444"/>
                </a:lnTo>
                <a:lnTo>
                  <a:pt x="678" y="444"/>
                </a:lnTo>
                <a:lnTo>
                  <a:pt x="684" y="438"/>
                </a:lnTo>
                <a:lnTo>
                  <a:pt x="690" y="438"/>
                </a:lnTo>
                <a:lnTo>
                  <a:pt x="696" y="438"/>
                </a:lnTo>
                <a:lnTo>
                  <a:pt x="702" y="444"/>
                </a:lnTo>
                <a:lnTo>
                  <a:pt x="702" y="450"/>
                </a:lnTo>
                <a:lnTo>
                  <a:pt x="708" y="450"/>
                </a:lnTo>
                <a:lnTo>
                  <a:pt x="708" y="456"/>
                </a:lnTo>
                <a:lnTo>
                  <a:pt x="708" y="462"/>
                </a:lnTo>
                <a:lnTo>
                  <a:pt x="708" y="468"/>
                </a:lnTo>
                <a:lnTo>
                  <a:pt x="708" y="504"/>
                </a:lnTo>
                <a:lnTo>
                  <a:pt x="696" y="564"/>
                </a:lnTo>
                <a:lnTo>
                  <a:pt x="696" y="582"/>
                </a:lnTo>
                <a:lnTo>
                  <a:pt x="696" y="600"/>
                </a:lnTo>
                <a:lnTo>
                  <a:pt x="690" y="606"/>
                </a:lnTo>
                <a:lnTo>
                  <a:pt x="684" y="606"/>
                </a:lnTo>
                <a:lnTo>
                  <a:pt x="690" y="612"/>
                </a:lnTo>
                <a:lnTo>
                  <a:pt x="684" y="612"/>
                </a:lnTo>
                <a:lnTo>
                  <a:pt x="678" y="618"/>
                </a:lnTo>
                <a:lnTo>
                  <a:pt x="672" y="624"/>
                </a:lnTo>
                <a:lnTo>
                  <a:pt x="666" y="630"/>
                </a:lnTo>
                <a:lnTo>
                  <a:pt x="660" y="636"/>
                </a:lnTo>
                <a:lnTo>
                  <a:pt x="672" y="636"/>
                </a:lnTo>
                <a:lnTo>
                  <a:pt x="678" y="642"/>
                </a:lnTo>
                <a:lnTo>
                  <a:pt x="678" y="648"/>
                </a:lnTo>
                <a:lnTo>
                  <a:pt x="684" y="654"/>
                </a:lnTo>
                <a:lnTo>
                  <a:pt x="690" y="666"/>
                </a:lnTo>
                <a:lnTo>
                  <a:pt x="690" y="672"/>
                </a:lnTo>
                <a:lnTo>
                  <a:pt x="696" y="672"/>
                </a:lnTo>
                <a:lnTo>
                  <a:pt x="696" y="684"/>
                </a:lnTo>
                <a:lnTo>
                  <a:pt x="708" y="690"/>
                </a:lnTo>
                <a:lnTo>
                  <a:pt x="720" y="696"/>
                </a:lnTo>
                <a:lnTo>
                  <a:pt x="726" y="696"/>
                </a:lnTo>
                <a:lnTo>
                  <a:pt x="732" y="696"/>
                </a:lnTo>
                <a:lnTo>
                  <a:pt x="738" y="696"/>
                </a:lnTo>
                <a:lnTo>
                  <a:pt x="738" y="702"/>
                </a:lnTo>
                <a:lnTo>
                  <a:pt x="738" y="708"/>
                </a:lnTo>
                <a:lnTo>
                  <a:pt x="738" y="714"/>
                </a:lnTo>
                <a:lnTo>
                  <a:pt x="744" y="714"/>
                </a:lnTo>
                <a:lnTo>
                  <a:pt x="756" y="720"/>
                </a:lnTo>
                <a:lnTo>
                  <a:pt x="780" y="726"/>
                </a:lnTo>
                <a:lnTo>
                  <a:pt x="792" y="732"/>
                </a:lnTo>
                <a:lnTo>
                  <a:pt x="816" y="756"/>
                </a:lnTo>
                <a:lnTo>
                  <a:pt x="816" y="762"/>
                </a:lnTo>
                <a:lnTo>
                  <a:pt x="816" y="768"/>
                </a:lnTo>
                <a:lnTo>
                  <a:pt x="822" y="774"/>
                </a:lnTo>
                <a:lnTo>
                  <a:pt x="834" y="786"/>
                </a:lnTo>
                <a:lnTo>
                  <a:pt x="834" y="792"/>
                </a:lnTo>
                <a:lnTo>
                  <a:pt x="834" y="798"/>
                </a:lnTo>
                <a:lnTo>
                  <a:pt x="828" y="798"/>
                </a:lnTo>
                <a:lnTo>
                  <a:pt x="828" y="804"/>
                </a:lnTo>
                <a:lnTo>
                  <a:pt x="834" y="816"/>
                </a:lnTo>
                <a:lnTo>
                  <a:pt x="834" y="834"/>
                </a:lnTo>
                <a:lnTo>
                  <a:pt x="834" y="840"/>
                </a:lnTo>
                <a:lnTo>
                  <a:pt x="834" y="846"/>
                </a:lnTo>
                <a:lnTo>
                  <a:pt x="840" y="852"/>
                </a:lnTo>
                <a:lnTo>
                  <a:pt x="834" y="858"/>
                </a:lnTo>
                <a:lnTo>
                  <a:pt x="834" y="864"/>
                </a:lnTo>
                <a:lnTo>
                  <a:pt x="834" y="876"/>
                </a:lnTo>
                <a:lnTo>
                  <a:pt x="828" y="960"/>
                </a:lnTo>
                <a:lnTo>
                  <a:pt x="816" y="966"/>
                </a:lnTo>
                <a:lnTo>
                  <a:pt x="798" y="972"/>
                </a:lnTo>
                <a:lnTo>
                  <a:pt x="786" y="990"/>
                </a:lnTo>
                <a:lnTo>
                  <a:pt x="774" y="990"/>
                </a:lnTo>
                <a:lnTo>
                  <a:pt x="762" y="1008"/>
                </a:lnTo>
                <a:lnTo>
                  <a:pt x="732" y="1014"/>
                </a:lnTo>
                <a:lnTo>
                  <a:pt x="714" y="1026"/>
                </a:lnTo>
                <a:lnTo>
                  <a:pt x="690" y="1050"/>
                </a:lnTo>
                <a:lnTo>
                  <a:pt x="654" y="1056"/>
                </a:lnTo>
                <a:lnTo>
                  <a:pt x="630" y="1056"/>
                </a:lnTo>
                <a:lnTo>
                  <a:pt x="606" y="1068"/>
                </a:lnTo>
                <a:lnTo>
                  <a:pt x="600" y="1092"/>
                </a:lnTo>
                <a:lnTo>
                  <a:pt x="600" y="1098"/>
                </a:lnTo>
                <a:lnTo>
                  <a:pt x="588" y="1104"/>
                </a:lnTo>
                <a:lnTo>
                  <a:pt x="582" y="1104"/>
                </a:lnTo>
                <a:lnTo>
                  <a:pt x="570" y="1110"/>
                </a:lnTo>
                <a:lnTo>
                  <a:pt x="564" y="1110"/>
                </a:lnTo>
                <a:close/>
              </a:path>
            </a:pathLst>
          </a:custGeom>
          <a:noFill/>
          <a:ln w="9525" cap="flat" cmpd="sng">
            <a:solidFill>
              <a:srgbClr val="33872D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56" name="Freeform 12">
            <a:extLst>
              <a:ext uri="{FF2B5EF4-FFF2-40B4-BE49-F238E27FC236}">
                <a16:creationId xmlns:a16="http://schemas.microsoft.com/office/drawing/2014/main" id="{ACDE968F-206D-4AA2-BD9B-24C2ED50117E}"/>
              </a:ext>
            </a:extLst>
          </p:cNvPr>
          <p:cNvSpPr>
            <a:spLocks/>
          </p:cNvSpPr>
          <p:nvPr/>
        </p:nvSpPr>
        <p:spPr bwMode="gray">
          <a:xfrm>
            <a:off x="4126311" y="2899921"/>
            <a:ext cx="999599" cy="928977"/>
          </a:xfrm>
          <a:custGeom>
            <a:avLst/>
            <a:gdLst>
              <a:gd name="T0" fmla="*/ 138 w 1740"/>
              <a:gd name="T1" fmla="*/ 134 h 1590"/>
              <a:gd name="T2" fmla="*/ 128 w 1740"/>
              <a:gd name="T3" fmla="*/ 131 h 1590"/>
              <a:gd name="T4" fmla="*/ 121 w 1740"/>
              <a:gd name="T5" fmla="*/ 130 h 1590"/>
              <a:gd name="T6" fmla="*/ 119 w 1740"/>
              <a:gd name="T7" fmla="*/ 134 h 1590"/>
              <a:gd name="T8" fmla="*/ 110 w 1740"/>
              <a:gd name="T9" fmla="*/ 132 h 1590"/>
              <a:gd name="T10" fmla="*/ 111 w 1740"/>
              <a:gd name="T11" fmla="*/ 127 h 1590"/>
              <a:gd name="T12" fmla="*/ 103 w 1740"/>
              <a:gd name="T13" fmla="*/ 117 h 1590"/>
              <a:gd name="T14" fmla="*/ 93 w 1740"/>
              <a:gd name="T15" fmla="*/ 123 h 1590"/>
              <a:gd name="T16" fmla="*/ 80 w 1740"/>
              <a:gd name="T17" fmla="*/ 118 h 1590"/>
              <a:gd name="T18" fmla="*/ 66 w 1740"/>
              <a:gd name="T19" fmla="*/ 117 h 1590"/>
              <a:gd name="T20" fmla="*/ 66 w 1740"/>
              <a:gd name="T21" fmla="*/ 110 h 1590"/>
              <a:gd name="T22" fmla="*/ 69 w 1740"/>
              <a:gd name="T23" fmla="*/ 107 h 1590"/>
              <a:gd name="T24" fmla="*/ 68 w 1740"/>
              <a:gd name="T25" fmla="*/ 102 h 1590"/>
              <a:gd name="T26" fmla="*/ 68 w 1740"/>
              <a:gd name="T27" fmla="*/ 96 h 1590"/>
              <a:gd name="T28" fmla="*/ 67 w 1740"/>
              <a:gd name="T29" fmla="*/ 82 h 1590"/>
              <a:gd name="T30" fmla="*/ 58 w 1740"/>
              <a:gd name="T31" fmla="*/ 82 h 1590"/>
              <a:gd name="T32" fmla="*/ 52 w 1740"/>
              <a:gd name="T33" fmla="*/ 82 h 1590"/>
              <a:gd name="T34" fmla="*/ 46 w 1740"/>
              <a:gd name="T35" fmla="*/ 80 h 1590"/>
              <a:gd name="T36" fmla="*/ 45 w 1740"/>
              <a:gd name="T37" fmla="*/ 74 h 1590"/>
              <a:gd name="T38" fmla="*/ 52 w 1740"/>
              <a:gd name="T39" fmla="*/ 70 h 1590"/>
              <a:gd name="T40" fmla="*/ 52 w 1740"/>
              <a:gd name="T41" fmla="*/ 64 h 1590"/>
              <a:gd name="T42" fmla="*/ 42 w 1740"/>
              <a:gd name="T43" fmla="*/ 53 h 1590"/>
              <a:gd name="T44" fmla="*/ 35 w 1740"/>
              <a:gd name="T45" fmla="*/ 52 h 1590"/>
              <a:gd name="T46" fmla="*/ 20 w 1740"/>
              <a:gd name="T47" fmla="*/ 51 h 1590"/>
              <a:gd name="T48" fmla="*/ 17 w 1740"/>
              <a:gd name="T49" fmla="*/ 56 h 1590"/>
              <a:gd name="T50" fmla="*/ 11 w 1740"/>
              <a:gd name="T51" fmla="*/ 61 h 1590"/>
              <a:gd name="T52" fmla="*/ 7 w 1740"/>
              <a:gd name="T53" fmla="*/ 63 h 1590"/>
              <a:gd name="T54" fmla="*/ 0 w 1740"/>
              <a:gd name="T55" fmla="*/ 55 h 1590"/>
              <a:gd name="T56" fmla="*/ 2 w 1740"/>
              <a:gd name="T57" fmla="*/ 50 h 1590"/>
              <a:gd name="T58" fmla="*/ 0 w 1740"/>
              <a:gd name="T59" fmla="*/ 44 h 1590"/>
              <a:gd name="T60" fmla="*/ 2 w 1740"/>
              <a:gd name="T61" fmla="*/ 38 h 1590"/>
              <a:gd name="T62" fmla="*/ 7 w 1740"/>
              <a:gd name="T63" fmla="*/ 35 h 1590"/>
              <a:gd name="T64" fmla="*/ 11 w 1740"/>
              <a:gd name="T65" fmla="*/ 30 h 1590"/>
              <a:gd name="T66" fmla="*/ 21 w 1740"/>
              <a:gd name="T67" fmla="*/ 26 h 1590"/>
              <a:gd name="T68" fmla="*/ 29 w 1740"/>
              <a:gd name="T69" fmla="*/ 25 h 1590"/>
              <a:gd name="T70" fmla="*/ 35 w 1740"/>
              <a:gd name="T71" fmla="*/ 21 h 1590"/>
              <a:gd name="T72" fmla="*/ 36 w 1740"/>
              <a:gd name="T73" fmla="*/ 16 h 1590"/>
              <a:gd name="T74" fmla="*/ 41 w 1740"/>
              <a:gd name="T75" fmla="*/ 11 h 1590"/>
              <a:gd name="T76" fmla="*/ 51 w 1740"/>
              <a:gd name="T77" fmla="*/ 9 h 1590"/>
              <a:gd name="T78" fmla="*/ 59 w 1740"/>
              <a:gd name="T79" fmla="*/ 21 h 1590"/>
              <a:gd name="T80" fmla="*/ 65 w 1740"/>
              <a:gd name="T81" fmla="*/ 13 h 1590"/>
              <a:gd name="T82" fmla="*/ 73 w 1740"/>
              <a:gd name="T83" fmla="*/ 8 h 1590"/>
              <a:gd name="T84" fmla="*/ 82 w 1740"/>
              <a:gd name="T85" fmla="*/ 12 h 1590"/>
              <a:gd name="T86" fmla="*/ 88 w 1740"/>
              <a:gd name="T87" fmla="*/ 12 h 1590"/>
              <a:gd name="T88" fmla="*/ 99 w 1740"/>
              <a:gd name="T89" fmla="*/ 7 h 1590"/>
              <a:gd name="T90" fmla="*/ 114 w 1740"/>
              <a:gd name="T91" fmla="*/ 0 h 1590"/>
              <a:gd name="T92" fmla="*/ 117 w 1740"/>
              <a:gd name="T93" fmla="*/ 10 h 1590"/>
              <a:gd name="T94" fmla="*/ 132 w 1740"/>
              <a:gd name="T95" fmla="*/ 17 h 1590"/>
              <a:gd name="T96" fmla="*/ 140 w 1740"/>
              <a:gd name="T97" fmla="*/ 25 h 1590"/>
              <a:gd name="T98" fmla="*/ 140 w 1740"/>
              <a:gd name="T99" fmla="*/ 33 h 1590"/>
              <a:gd name="T100" fmla="*/ 140 w 1740"/>
              <a:gd name="T101" fmla="*/ 44 h 1590"/>
              <a:gd name="T102" fmla="*/ 138 w 1740"/>
              <a:gd name="T103" fmla="*/ 48 h 1590"/>
              <a:gd name="T104" fmla="*/ 141 w 1740"/>
              <a:gd name="T105" fmla="*/ 49 h 1590"/>
              <a:gd name="T106" fmla="*/ 146 w 1740"/>
              <a:gd name="T107" fmla="*/ 50 h 1590"/>
              <a:gd name="T108" fmla="*/ 149 w 1740"/>
              <a:gd name="T109" fmla="*/ 59 h 1590"/>
              <a:gd name="T110" fmla="*/ 148 w 1740"/>
              <a:gd name="T111" fmla="*/ 67 h 1590"/>
              <a:gd name="T112" fmla="*/ 141 w 1740"/>
              <a:gd name="T113" fmla="*/ 78 h 1590"/>
              <a:gd name="T114" fmla="*/ 141 w 1740"/>
              <a:gd name="T115" fmla="*/ 91 h 1590"/>
              <a:gd name="T116" fmla="*/ 138 w 1740"/>
              <a:gd name="T117" fmla="*/ 102 h 1590"/>
              <a:gd name="T118" fmla="*/ 138 w 1740"/>
              <a:gd name="T119" fmla="*/ 110 h 1590"/>
              <a:gd name="T120" fmla="*/ 144 w 1740"/>
              <a:gd name="T121" fmla="*/ 118 h 1590"/>
              <a:gd name="T122" fmla="*/ 143 w 1740"/>
              <a:gd name="T123" fmla="*/ 125 h 159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740"/>
              <a:gd name="T187" fmla="*/ 0 h 1590"/>
              <a:gd name="T188" fmla="*/ 1740 w 1740"/>
              <a:gd name="T189" fmla="*/ 1590 h 1590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740" h="1590">
                <a:moveTo>
                  <a:pt x="1638" y="1458"/>
                </a:moveTo>
                <a:lnTo>
                  <a:pt x="1638" y="1482"/>
                </a:lnTo>
                <a:lnTo>
                  <a:pt x="1638" y="1500"/>
                </a:lnTo>
                <a:lnTo>
                  <a:pt x="1626" y="1500"/>
                </a:lnTo>
                <a:lnTo>
                  <a:pt x="1620" y="1500"/>
                </a:lnTo>
                <a:lnTo>
                  <a:pt x="1614" y="1500"/>
                </a:lnTo>
                <a:lnTo>
                  <a:pt x="1614" y="1506"/>
                </a:lnTo>
                <a:lnTo>
                  <a:pt x="1614" y="1512"/>
                </a:lnTo>
                <a:lnTo>
                  <a:pt x="1620" y="1518"/>
                </a:lnTo>
                <a:lnTo>
                  <a:pt x="1614" y="1524"/>
                </a:lnTo>
                <a:lnTo>
                  <a:pt x="1590" y="1536"/>
                </a:lnTo>
                <a:lnTo>
                  <a:pt x="1584" y="1566"/>
                </a:lnTo>
                <a:lnTo>
                  <a:pt x="1578" y="1590"/>
                </a:lnTo>
                <a:lnTo>
                  <a:pt x="1548" y="1590"/>
                </a:lnTo>
                <a:lnTo>
                  <a:pt x="1542" y="1584"/>
                </a:lnTo>
                <a:lnTo>
                  <a:pt x="1542" y="1572"/>
                </a:lnTo>
                <a:lnTo>
                  <a:pt x="1536" y="1566"/>
                </a:lnTo>
                <a:lnTo>
                  <a:pt x="1536" y="1554"/>
                </a:lnTo>
                <a:lnTo>
                  <a:pt x="1536" y="1548"/>
                </a:lnTo>
                <a:lnTo>
                  <a:pt x="1506" y="1530"/>
                </a:lnTo>
                <a:lnTo>
                  <a:pt x="1488" y="1506"/>
                </a:lnTo>
                <a:lnTo>
                  <a:pt x="1464" y="1500"/>
                </a:lnTo>
                <a:lnTo>
                  <a:pt x="1470" y="1494"/>
                </a:lnTo>
                <a:lnTo>
                  <a:pt x="1470" y="1488"/>
                </a:lnTo>
                <a:lnTo>
                  <a:pt x="1470" y="1482"/>
                </a:lnTo>
                <a:lnTo>
                  <a:pt x="1428" y="1464"/>
                </a:lnTo>
                <a:lnTo>
                  <a:pt x="1404" y="1470"/>
                </a:lnTo>
                <a:lnTo>
                  <a:pt x="1398" y="1470"/>
                </a:lnTo>
                <a:lnTo>
                  <a:pt x="1392" y="1476"/>
                </a:lnTo>
                <a:lnTo>
                  <a:pt x="1386" y="1476"/>
                </a:lnTo>
                <a:lnTo>
                  <a:pt x="1386" y="1482"/>
                </a:lnTo>
                <a:lnTo>
                  <a:pt x="1392" y="1482"/>
                </a:lnTo>
                <a:lnTo>
                  <a:pt x="1386" y="1488"/>
                </a:lnTo>
                <a:lnTo>
                  <a:pt x="1386" y="1494"/>
                </a:lnTo>
                <a:lnTo>
                  <a:pt x="1380" y="1494"/>
                </a:lnTo>
                <a:lnTo>
                  <a:pt x="1380" y="1500"/>
                </a:lnTo>
                <a:lnTo>
                  <a:pt x="1380" y="1512"/>
                </a:lnTo>
                <a:lnTo>
                  <a:pt x="1380" y="1518"/>
                </a:lnTo>
                <a:lnTo>
                  <a:pt x="1380" y="1524"/>
                </a:lnTo>
                <a:lnTo>
                  <a:pt x="1380" y="1530"/>
                </a:lnTo>
                <a:lnTo>
                  <a:pt x="1374" y="1536"/>
                </a:lnTo>
                <a:lnTo>
                  <a:pt x="1374" y="1542"/>
                </a:lnTo>
                <a:lnTo>
                  <a:pt x="1368" y="1542"/>
                </a:lnTo>
                <a:lnTo>
                  <a:pt x="1362" y="1536"/>
                </a:lnTo>
                <a:lnTo>
                  <a:pt x="1356" y="1542"/>
                </a:lnTo>
                <a:lnTo>
                  <a:pt x="1344" y="1554"/>
                </a:lnTo>
                <a:lnTo>
                  <a:pt x="1332" y="1560"/>
                </a:lnTo>
                <a:lnTo>
                  <a:pt x="1302" y="1554"/>
                </a:lnTo>
                <a:lnTo>
                  <a:pt x="1290" y="1554"/>
                </a:lnTo>
                <a:lnTo>
                  <a:pt x="1278" y="1542"/>
                </a:lnTo>
                <a:lnTo>
                  <a:pt x="1272" y="1530"/>
                </a:lnTo>
                <a:lnTo>
                  <a:pt x="1272" y="1524"/>
                </a:lnTo>
                <a:lnTo>
                  <a:pt x="1272" y="1518"/>
                </a:lnTo>
                <a:lnTo>
                  <a:pt x="1266" y="1518"/>
                </a:lnTo>
                <a:lnTo>
                  <a:pt x="1266" y="1512"/>
                </a:lnTo>
                <a:lnTo>
                  <a:pt x="1266" y="1506"/>
                </a:lnTo>
                <a:lnTo>
                  <a:pt x="1272" y="1506"/>
                </a:lnTo>
                <a:lnTo>
                  <a:pt x="1272" y="1500"/>
                </a:lnTo>
                <a:lnTo>
                  <a:pt x="1278" y="1500"/>
                </a:lnTo>
                <a:lnTo>
                  <a:pt x="1278" y="1494"/>
                </a:lnTo>
                <a:lnTo>
                  <a:pt x="1278" y="1488"/>
                </a:lnTo>
                <a:lnTo>
                  <a:pt x="1284" y="1488"/>
                </a:lnTo>
                <a:lnTo>
                  <a:pt x="1284" y="1482"/>
                </a:lnTo>
                <a:lnTo>
                  <a:pt x="1290" y="1476"/>
                </a:lnTo>
                <a:lnTo>
                  <a:pt x="1284" y="1470"/>
                </a:lnTo>
                <a:lnTo>
                  <a:pt x="1278" y="1458"/>
                </a:lnTo>
                <a:lnTo>
                  <a:pt x="1278" y="1452"/>
                </a:lnTo>
                <a:lnTo>
                  <a:pt x="1260" y="1428"/>
                </a:lnTo>
                <a:lnTo>
                  <a:pt x="1254" y="1416"/>
                </a:lnTo>
                <a:lnTo>
                  <a:pt x="1254" y="1410"/>
                </a:lnTo>
                <a:lnTo>
                  <a:pt x="1248" y="1398"/>
                </a:lnTo>
                <a:lnTo>
                  <a:pt x="1242" y="1398"/>
                </a:lnTo>
                <a:lnTo>
                  <a:pt x="1236" y="1398"/>
                </a:lnTo>
                <a:lnTo>
                  <a:pt x="1218" y="1386"/>
                </a:lnTo>
                <a:lnTo>
                  <a:pt x="1212" y="1362"/>
                </a:lnTo>
                <a:lnTo>
                  <a:pt x="1200" y="1344"/>
                </a:lnTo>
                <a:lnTo>
                  <a:pt x="1188" y="1338"/>
                </a:lnTo>
                <a:lnTo>
                  <a:pt x="1164" y="1338"/>
                </a:lnTo>
                <a:lnTo>
                  <a:pt x="1158" y="1344"/>
                </a:lnTo>
                <a:lnTo>
                  <a:pt x="1152" y="1350"/>
                </a:lnTo>
                <a:lnTo>
                  <a:pt x="1152" y="1356"/>
                </a:lnTo>
                <a:lnTo>
                  <a:pt x="1140" y="1362"/>
                </a:lnTo>
                <a:lnTo>
                  <a:pt x="1134" y="1380"/>
                </a:lnTo>
                <a:lnTo>
                  <a:pt x="1116" y="1398"/>
                </a:lnTo>
                <a:lnTo>
                  <a:pt x="1110" y="1416"/>
                </a:lnTo>
                <a:lnTo>
                  <a:pt x="1086" y="1416"/>
                </a:lnTo>
                <a:lnTo>
                  <a:pt x="1080" y="1410"/>
                </a:lnTo>
                <a:lnTo>
                  <a:pt x="1074" y="1410"/>
                </a:lnTo>
                <a:lnTo>
                  <a:pt x="1074" y="1404"/>
                </a:lnTo>
                <a:lnTo>
                  <a:pt x="1062" y="1404"/>
                </a:lnTo>
                <a:lnTo>
                  <a:pt x="1062" y="1380"/>
                </a:lnTo>
                <a:lnTo>
                  <a:pt x="1038" y="1380"/>
                </a:lnTo>
                <a:lnTo>
                  <a:pt x="1026" y="1350"/>
                </a:lnTo>
                <a:lnTo>
                  <a:pt x="996" y="1326"/>
                </a:lnTo>
                <a:lnTo>
                  <a:pt x="966" y="1314"/>
                </a:lnTo>
                <a:lnTo>
                  <a:pt x="954" y="1320"/>
                </a:lnTo>
                <a:lnTo>
                  <a:pt x="942" y="1338"/>
                </a:lnTo>
                <a:lnTo>
                  <a:pt x="930" y="1338"/>
                </a:lnTo>
                <a:lnTo>
                  <a:pt x="924" y="1350"/>
                </a:lnTo>
                <a:lnTo>
                  <a:pt x="906" y="1356"/>
                </a:lnTo>
                <a:lnTo>
                  <a:pt x="846" y="1356"/>
                </a:lnTo>
                <a:lnTo>
                  <a:pt x="834" y="1368"/>
                </a:lnTo>
                <a:lnTo>
                  <a:pt x="810" y="1362"/>
                </a:lnTo>
                <a:lnTo>
                  <a:pt x="792" y="1362"/>
                </a:lnTo>
                <a:lnTo>
                  <a:pt x="780" y="1368"/>
                </a:lnTo>
                <a:lnTo>
                  <a:pt x="762" y="1368"/>
                </a:lnTo>
                <a:lnTo>
                  <a:pt x="762" y="1362"/>
                </a:lnTo>
                <a:lnTo>
                  <a:pt x="750" y="1362"/>
                </a:lnTo>
                <a:lnTo>
                  <a:pt x="750" y="1338"/>
                </a:lnTo>
                <a:lnTo>
                  <a:pt x="762" y="1338"/>
                </a:lnTo>
                <a:lnTo>
                  <a:pt x="762" y="1326"/>
                </a:lnTo>
                <a:lnTo>
                  <a:pt x="762" y="1314"/>
                </a:lnTo>
                <a:lnTo>
                  <a:pt x="732" y="1314"/>
                </a:lnTo>
                <a:lnTo>
                  <a:pt x="726" y="1308"/>
                </a:lnTo>
                <a:lnTo>
                  <a:pt x="732" y="1284"/>
                </a:lnTo>
                <a:lnTo>
                  <a:pt x="732" y="1278"/>
                </a:lnTo>
                <a:lnTo>
                  <a:pt x="738" y="1272"/>
                </a:lnTo>
                <a:lnTo>
                  <a:pt x="738" y="1266"/>
                </a:lnTo>
                <a:lnTo>
                  <a:pt x="744" y="1266"/>
                </a:lnTo>
                <a:lnTo>
                  <a:pt x="750" y="1272"/>
                </a:lnTo>
                <a:lnTo>
                  <a:pt x="756" y="1266"/>
                </a:lnTo>
                <a:lnTo>
                  <a:pt x="762" y="1266"/>
                </a:lnTo>
                <a:lnTo>
                  <a:pt x="768" y="1260"/>
                </a:lnTo>
                <a:lnTo>
                  <a:pt x="774" y="1260"/>
                </a:lnTo>
                <a:lnTo>
                  <a:pt x="780" y="1254"/>
                </a:lnTo>
                <a:lnTo>
                  <a:pt x="774" y="1254"/>
                </a:lnTo>
                <a:lnTo>
                  <a:pt x="768" y="1254"/>
                </a:lnTo>
                <a:lnTo>
                  <a:pt x="774" y="1248"/>
                </a:lnTo>
                <a:lnTo>
                  <a:pt x="774" y="1242"/>
                </a:lnTo>
                <a:lnTo>
                  <a:pt x="780" y="1236"/>
                </a:lnTo>
                <a:lnTo>
                  <a:pt x="786" y="1236"/>
                </a:lnTo>
                <a:lnTo>
                  <a:pt x="792" y="1230"/>
                </a:lnTo>
                <a:lnTo>
                  <a:pt x="792" y="1236"/>
                </a:lnTo>
                <a:lnTo>
                  <a:pt x="798" y="1236"/>
                </a:lnTo>
                <a:lnTo>
                  <a:pt x="798" y="1230"/>
                </a:lnTo>
                <a:lnTo>
                  <a:pt x="804" y="1230"/>
                </a:lnTo>
                <a:lnTo>
                  <a:pt x="804" y="1218"/>
                </a:lnTo>
                <a:lnTo>
                  <a:pt x="804" y="1206"/>
                </a:lnTo>
                <a:lnTo>
                  <a:pt x="792" y="1188"/>
                </a:lnTo>
                <a:lnTo>
                  <a:pt x="768" y="1182"/>
                </a:lnTo>
                <a:lnTo>
                  <a:pt x="768" y="1170"/>
                </a:lnTo>
                <a:lnTo>
                  <a:pt x="774" y="1170"/>
                </a:lnTo>
                <a:lnTo>
                  <a:pt x="780" y="1170"/>
                </a:lnTo>
                <a:lnTo>
                  <a:pt x="786" y="1170"/>
                </a:lnTo>
                <a:lnTo>
                  <a:pt x="780" y="1152"/>
                </a:lnTo>
                <a:lnTo>
                  <a:pt x="780" y="1146"/>
                </a:lnTo>
                <a:lnTo>
                  <a:pt x="744" y="1140"/>
                </a:lnTo>
                <a:lnTo>
                  <a:pt x="732" y="1128"/>
                </a:lnTo>
                <a:lnTo>
                  <a:pt x="720" y="1122"/>
                </a:lnTo>
                <a:lnTo>
                  <a:pt x="732" y="1116"/>
                </a:lnTo>
                <a:lnTo>
                  <a:pt x="750" y="1104"/>
                </a:lnTo>
                <a:lnTo>
                  <a:pt x="756" y="1116"/>
                </a:lnTo>
                <a:lnTo>
                  <a:pt x="774" y="1116"/>
                </a:lnTo>
                <a:lnTo>
                  <a:pt x="780" y="1104"/>
                </a:lnTo>
                <a:lnTo>
                  <a:pt x="780" y="1080"/>
                </a:lnTo>
                <a:lnTo>
                  <a:pt x="786" y="1080"/>
                </a:lnTo>
                <a:lnTo>
                  <a:pt x="786" y="1074"/>
                </a:lnTo>
                <a:lnTo>
                  <a:pt x="792" y="1074"/>
                </a:lnTo>
                <a:lnTo>
                  <a:pt x="786" y="1068"/>
                </a:lnTo>
                <a:lnTo>
                  <a:pt x="786" y="1062"/>
                </a:lnTo>
                <a:lnTo>
                  <a:pt x="786" y="1056"/>
                </a:lnTo>
                <a:lnTo>
                  <a:pt x="792" y="1050"/>
                </a:lnTo>
                <a:lnTo>
                  <a:pt x="786" y="1020"/>
                </a:lnTo>
                <a:lnTo>
                  <a:pt x="780" y="960"/>
                </a:lnTo>
                <a:lnTo>
                  <a:pt x="768" y="942"/>
                </a:lnTo>
                <a:lnTo>
                  <a:pt x="732" y="936"/>
                </a:lnTo>
                <a:lnTo>
                  <a:pt x="732" y="942"/>
                </a:lnTo>
                <a:lnTo>
                  <a:pt x="726" y="942"/>
                </a:lnTo>
                <a:lnTo>
                  <a:pt x="720" y="936"/>
                </a:lnTo>
                <a:lnTo>
                  <a:pt x="714" y="942"/>
                </a:lnTo>
                <a:lnTo>
                  <a:pt x="708" y="942"/>
                </a:lnTo>
                <a:lnTo>
                  <a:pt x="702" y="942"/>
                </a:lnTo>
                <a:lnTo>
                  <a:pt x="690" y="936"/>
                </a:lnTo>
                <a:lnTo>
                  <a:pt x="684" y="936"/>
                </a:lnTo>
                <a:lnTo>
                  <a:pt x="678" y="936"/>
                </a:lnTo>
                <a:lnTo>
                  <a:pt x="672" y="936"/>
                </a:lnTo>
                <a:lnTo>
                  <a:pt x="666" y="942"/>
                </a:lnTo>
                <a:lnTo>
                  <a:pt x="660" y="942"/>
                </a:lnTo>
                <a:lnTo>
                  <a:pt x="654" y="942"/>
                </a:lnTo>
                <a:lnTo>
                  <a:pt x="648" y="942"/>
                </a:lnTo>
                <a:lnTo>
                  <a:pt x="642" y="936"/>
                </a:lnTo>
                <a:lnTo>
                  <a:pt x="636" y="936"/>
                </a:lnTo>
                <a:lnTo>
                  <a:pt x="630" y="930"/>
                </a:lnTo>
                <a:lnTo>
                  <a:pt x="618" y="930"/>
                </a:lnTo>
                <a:lnTo>
                  <a:pt x="612" y="930"/>
                </a:lnTo>
                <a:lnTo>
                  <a:pt x="606" y="936"/>
                </a:lnTo>
                <a:lnTo>
                  <a:pt x="600" y="942"/>
                </a:lnTo>
                <a:lnTo>
                  <a:pt x="600" y="936"/>
                </a:lnTo>
                <a:lnTo>
                  <a:pt x="594" y="930"/>
                </a:lnTo>
                <a:lnTo>
                  <a:pt x="588" y="930"/>
                </a:lnTo>
                <a:lnTo>
                  <a:pt x="582" y="930"/>
                </a:lnTo>
                <a:lnTo>
                  <a:pt x="576" y="930"/>
                </a:lnTo>
                <a:lnTo>
                  <a:pt x="564" y="936"/>
                </a:lnTo>
                <a:lnTo>
                  <a:pt x="558" y="936"/>
                </a:lnTo>
                <a:lnTo>
                  <a:pt x="546" y="924"/>
                </a:lnTo>
                <a:lnTo>
                  <a:pt x="540" y="924"/>
                </a:lnTo>
                <a:lnTo>
                  <a:pt x="534" y="918"/>
                </a:lnTo>
                <a:lnTo>
                  <a:pt x="528" y="918"/>
                </a:lnTo>
                <a:lnTo>
                  <a:pt x="516" y="918"/>
                </a:lnTo>
                <a:lnTo>
                  <a:pt x="516" y="924"/>
                </a:lnTo>
                <a:lnTo>
                  <a:pt x="516" y="918"/>
                </a:lnTo>
                <a:lnTo>
                  <a:pt x="516" y="912"/>
                </a:lnTo>
                <a:lnTo>
                  <a:pt x="510" y="894"/>
                </a:lnTo>
                <a:lnTo>
                  <a:pt x="510" y="882"/>
                </a:lnTo>
                <a:lnTo>
                  <a:pt x="510" y="876"/>
                </a:lnTo>
                <a:lnTo>
                  <a:pt x="516" y="870"/>
                </a:lnTo>
                <a:lnTo>
                  <a:pt x="510" y="864"/>
                </a:lnTo>
                <a:lnTo>
                  <a:pt x="516" y="858"/>
                </a:lnTo>
                <a:lnTo>
                  <a:pt x="522" y="858"/>
                </a:lnTo>
                <a:lnTo>
                  <a:pt x="528" y="858"/>
                </a:lnTo>
                <a:lnTo>
                  <a:pt x="522" y="852"/>
                </a:lnTo>
                <a:lnTo>
                  <a:pt x="528" y="852"/>
                </a:lnTo>
                <a:lnTo>
                  <a:pt x="528" y="846"/>
                </a:lnTo>
                <a:lnTo>
                  <a:pt x="552" y="846"/>
                </a:lnTo>
                <a:lnTo>
                  <a:pt x="558" y="840"/>
                </a:lnTo>
                <a:lnTo>
                  <a:pt x="564" y="828"/>
                </a:lnTo>
                <a:lnTo>
                  <a:pt x="570" y="816"/>
                </a:lnTo>
                <a:lnTo>
                  <a:pt x="582" y="810"/>
                </a:lnTo>
                <a:lnTo>
                  <a:pt x="588" y="804"/>
                </a:lnTo>
                <a:lnTo>
                  <a:pt x="594" y="804"/>
                </a:lnTo>
                <a:lnTo>
                  <a:pt x="594" y="792"/>
                </a:lnTo>
                <a:lnTo>
                  <a:pt x="600" y="786"/>
                </a:lnTo>
                <a:lnTo>
                  <a:pt x="606" y="780"/>
                </a:lnTo>
                <a:lnTo>
                  <a:pt x="612" y="774"/>
                </a:lnTo>
                <a:lnTo>
                  <a:pt x="618" y="774"/>
                </a:lnTo>
                <a:lnTo>
                  <a:pt x="618" y="768"/>
                </a:lnTo>
                <a:lnTo>
                  <a:pt x="618" y="762"/>
                </a:lnTo>
                <a:lnTo>
                  <a:pt x="624" y="756"/>
                </a:lnTo>
                <a:lnTo>
                  <a:pt x="618" y="750"/>
                </a:lnTo>
                <a:lnTo>
                  <a:pt x="618" y="744"/>
                </a:lnTo>
                <a:lnTo>
                  <a:pt x="600" y="738"/>
                </a:lnTo>
                <a:lnTo>
                  <a:pt x="558" y="744"/>
                </a:lnTo>
                <a:lnTo>
                  <a:pt x="552" y="732"/>
                </a:lnTo>
                <a:lnTo>
                  <a:pt x="546" y="720"/>
                </a:lnTo>
                <a:lnTo>
                  <a:pt x="564" y="702"/>
                </a:lnTo>
                <a:lnTo>
                  <a:pt x="570" y="684"/>
                </a:lnTo>
                <a:lnTo>
                  <a:pt x="564" y="648"/>
                </a:lnTo>
                <a:lnTo>
                  <a:pt x="534" y="624"/>
                </a:lnTo>
                <a:lnTo>
                  <a:pt x="504" y="612"/>
                </a:lnTo>
                <a:lnTo>
                  <a:pt x="498" y="606"/>
                </a:lnTo>
                <a:lnTo>
                  <a:pt x="492" y="600"/>
                </a:lnTo>
                <a:lnTo>
                  <a:pt x="486" y="606"/>
                </a:lnTo>
                <a:lnTo>
                  <a:pt x="480" y="558"/>
                </a:lnTo>
                <a:lnTo>
                  <a:pt x="462" y="546"/>
                </a:lnTo>
                <a:lnTo>
                  <a:pt x="408" y="540"/>
                </a:lnTo>
                <a:lnTo>
                  <a:pt x="408" y="546"/>
                </a:lnTo>
                <a:lnTo>
                  <a:pt x="408" y="558"/>
                </a:lnTo>
                <a:lnTo>
                  <a:pt x="408" y="564"/>
                </a:lnTo>
                <a:lnTo>
                  <a:pt x="408" y="570"/>
                </a:lnTo>
                <a:lnTo>
                  <a:pt x="414" y="582"/>
                </a:lnTo>
                <a:lnTo>
                  <a:pt x="408" y="594"/>
                </a:lnTo>
                <a:lnTo>
                  <a:pt x="414" y="594"/>
                </a:lnTo>
                <a:lnTo>
                  <a:pt x="408" y="600"/>
                </a:lnTo>
                <a:lnTo>
                  <a:pt x="348" y="600"/>
                </a:lnTo>
                <a:lnTo>
                  <a:pt x="324" y="600"/>
                </a:lnTo>
                <a:lnTo>
                  <a:pt x="324" y="612"/>
                </a:lnTo>
                <a:lnTo>
                  <a:pt x="306" y="618"/>
                </a:lnTo>
                <a:lnTo>
                  <a:pt x="312" y="618"/>
                </a:lnTo>
                <a:lnTo>
                  <a:pt x="294" y="588"/>
                </a:lnTo>
                <a:lnTo>
                  <a:pt x="258" y="564"/>
                </a:lnTo>
                <a:lnTo>
                  <a:pt x="252" y="564"/>
                </a:lnTo>
                <a:lnTo>
                  <a:pt x="252" y="576"/>
                </a:lnTo>
                <a:lnTo>
                  <a:pt x="240" y="582"/>
                </a:lnTo>
                <a:lnTo>
                  <a:pt x="234" y="582"/>
                </a:lnTo>
                <a:lnTo>
                  <a:pt x="228" y="588"/>
                </a:lnTo>
                <a:lnTo>
                  <a:pt x="222" y="588"/>
                </a:lnTo>
                <a:lnTo>
                  <a:pt x="216" y="594"/>
                </a:lnTo>
                <a:lnTo>
                  <a:pt x="204" y="594"/>
                </a:lnTo>
                <a:lnTo>
                  <a:pt x="198" y="600"/>
                </a:lnTo>
                <a:lnTo>
                  <a:pt x="192" y="612"/>
                </a:lnTo>
                <a:lnTo>
                  <a:pt x="192" y="618"/>
                </a:lnTo>
                <a:lnTo>
                  <a:pt x="198" y="624"/>
                </a:lnTo>
                <a:lnTo>
                  <a:pt x="192" y="624"/>
                </a:lnTo>
                <a:lnTo>
                  <a:pt x="192" y="630"/>
                </a:lnTo>
                <a:lnTo>
                  <a:pt x="192" y="642"/>
                </a:lnTo>
                <a:lnTo>
                  <a:pt x="180" y="648"/>
                </a:lnTo>
                <a:lnTo>
                  <a:pt x="174" y="654"/>
                </a:lnTo>
                <a:lnTo>
                  <a:pt x="168" y="660"/>
                </a:lnTo>
                <a:lnTo>
                  <a:pt x="162" y="660"/>
                </a:lnTo>
                <a:lnTo>
                  <a:pt x="156" y="666"/>
                </a:lnTo>
                <a:lnTo>
                  <a:pt x="156" y="672"/>
                </a:lnTo>
                <a:lnTo>
                  <a:pt x="150" y="678"/>
                </a:lnTo>
                <a:lnTo>
                  <a:pt x="144" y="684"/>
                </a:lnTo>
                <a:lnTo>
                  <a:pt x="138" y="690"/>
                </a:lnTo>
                <a:lnTo>
                  <a:pt x="132" y="690"/>
                </a:lnTo>
                <a:lnTo>
                  <a:pt x="126" y="702"/>
                </a:lnTo>
                <a:lnTo>
                  <a:pt x="132" y="708"/>
                </a:lnTo>
                <a:lnTo>
                  <a:pt x="126" y="708"/>
                </a:lnTo>
                <a:lnTo>
                  <a:pt x="120" y="708"/>
                </a:lnTo>
                <a:lnTo>
                  <a:pt x="114" y="708"/>
                </a:lnTo>
                <a:lnTo>
                  <a:pt x="108" y="708"/>
                </a:lnTo>
                <a:lnTo>
                  <a:pt x="108" y="714"/>
                </a:lnTo>
                <a:lnTo>
                  <a:pt x="102" y="714"/>
                </a:lnTo>
                <a:lnTo>
                  <a:pt x="96" y="714"/>
                </a:lnTo>
                <a:lnTo>
                  <a:pt x="90" y="714"/>
                </a:lnTo>
                <a:lnTo>
                  <a:pt x="84" y="714"/>
                </a:lnTo>
                <a:lnTo>
                  <a:pt x="78" y="720"/>
                </a:lnTo>
                <a:lnTo>
                  <a:pt x="72" y="720"/>
                </a:lnTo>
                <a:lnTo>
                  <a:pt x="66" y="720"/>
                </a:lnTo>
                <a:lnTo>
                  <a:pt x="54" y="732"/>
                </a:lnTo>
                <a:lnTo>
                  <a:pt x="48" y="702"/>
                </a:lnTo>
                <a:lnTo>
                  <a:pt x="36" y="666"/>
                </a:lnTo>
                <a:lnTo>
                  <a:pt x="0" y="660"/>
                </a:lnTo>
                <a:lnTo>
                  <a:pt x="6" y="660"/>
                </a:lnTo>
                <a:lnTo>
                  <a:pt x="6" y="654"/>
                </a:lnTo>
                <a:lnTo>
                  <a:pt x="6" y="648"/>
                </a:lnTo>
                <a:lnTo>
                  <a:pt x="6" y="642"/>
                </a:lnTo>
                <a:lnTo>
                  <a:pt x="6" y="624"/>
                </a:lnTo>
                <a:lnTo>
                  <a:pt x="6" y="612"/>
                </a:lnTo>
                <a:lnTo>
                  <a:pt x="6" y="606"/>
                </a:lnTo>
                <a:lnTo>
                  <a:pt x="12" y="612"/>
                </a:lnTo>
                <a:lnTo>
                  <a:pt x="18" y="606"/>
                </a:lnTo>
                <a:lnTo>
                  <a:pt x="24" y="606"/>
                </a:lnTo>
                <a:lnTo>
                  <a:pt x="24" y="600"/>
                </a:lnTo>
                <a:lnTo>
                  <a:pt x="30" y="594"/>
                </a:lnTo>
                <a:lnTo>
                  <a:pt x="30" y="588"/>
                </a:lnTo>
                <a:lnTo>
                  <a:pt x="30" y="582"/>
                </a:lnTo>
                <a:lnTo>
                  <a:pt x="24" y="576"/>
                </a:lnTo>
                <a:lnTo>
                  <a:pt x="18" y="576"/>
                </a:lnTo>
                <a:lnTo>
                  <a:pt x="18" y="570"/>
                </a:lnTo>
                <a:lnTo>
                  <a:pt x="18" y="558"/>
                </a:lnTo>
                <a:lnTo>
                  <a:pt x="24" y="558"/>
                </a:lnTo>
                <a:lnTo>
                  <a:pt x="30" y="552"/>
                </a:lnTo>
                <a:lnTo>
                  <a:pt x="30" y="540"/>
                </a:lnTo>
                <a:lnTo>
                  <a:pt x="36" y="528"/>
                </a:lnTo>
                <a:lnTo>
                  <a:pt x="30" y="522"/>
                </a:lnTo>
                <a:lnTo>
                  <a:pt x="24" y="522"/>
                </a:lnTo>
                <a:lnTo>
                  <a:pt x="18" y="510"/>
                </a:lnTo>
                <a:lnTo>
                  <a:pt x="12" y="516"/>
                </a:lnTo>
                <a:lnTo>
                  <a:pt x="6" y="510"/>
                </a:lnTo>
                <a:lnTo>
                  <a:pt x="6" y="504"/>
                </a:lnTo>
                <a:lnTo>
                  <a:pt x="18" y="498"/>
                </a:lnTo>
                <a:lnTo>
                  <a:pt x="18" y="492"/>
                </a:lnTo>
                <a:lnTo>
                  <a:pt x="18" y="486"/>
                </a:lnTo>
                <a:lnTo>
                  <a:pt x="18" y="480"/>
                </a:lnTo>
                <a:lnTo>
                  <a:pt x="18" y="474"/>
                </a:lnTo>
                <a:lnTo>
                  <a:pt x="12" y="468"/>
                </a:lnTo>
                <a:lnTo>
                  <a:pt x="12" y="462"/>
                </a:lnTo>
                <a:lnTo>
                  <a:pt x="18" y="456"/>
                </a:lnTo>
                <a:lnTo>
                  <a:pt x="18" y="444"/>
                </a:lnTo>
                <a:lnTo>
                  <a:pt x="18" y="438"/>
                </a:lnTo>
                <a:lnTo>
                  <a:pt x="24" y="438"/>
                </a:lnTo>
                <a:lnTo>
                  <a:pt x="30" y="432"/>
                </a:lnTo>
                <a:lnTo>
                  <a:pt x="30" y="426"/>
                </a:lnTo>
                <a:lnTo>
                  <a:pt x="30" y="420"/>
                </a:lnTo>
                <a:lnTo>
                  <a:pt x="30" y="414"/>
                </a:lnTo>
                <a:lnTo>
                  <a:pt x="48" y="414"/>
                </a:lnTo>
                <a:lnTo>
                  <a:pt x="54" y="408"/>
                </a:lnTo>
                <a:lnTo>
                  <a:pt x="60" y="402"/>
                </a:lnTo>
                <a:lnTo>
                  <a:pt x="66" y="402"/>
                </a:lnTo>
                <a:lnTo>
                  <a:pt x="72" y="402"/>
                </a:lnTo>
                <a:lnTo>
                  <a:pt x="78" y="408"/>
                </a:lnTo>
                <a:lnTo>
                  <a:pt x="84" y="396"/>
                </a:lnTo>
                <a:lnTo>
                  <a:pt x="90" y="390"/>
                </a:lnTo>
                <a:lnTo>
                  <a:pt x="90" y="378"/>
                </a:lnTo>
                <a:lnTo>
                  <a:pt x="96" y="372"/>
                </a:lnTo>
                <a:lnTo>
                  <a:pt x="96" y="366"/>
                </a:lnTo>
                <a:lnTo>
                  <a:pt x="96" y="360"/>
                </a:lnTo>
                <a:lnTo>
                  <a:pt x="108" y="354"/>
                </a:lnTo>
                <a:lnTo>
                  <a:pt x="114" y="348"/>
                </a:lnTo>
                <a:lnTo>
                  <a:pt x="120" y="342"/>
                </a:lnTo>
                <a:lnTo>
                  <a:pt x="120" y="348"/>
                </a:lnTo>
                <a:lnTo>
                  <a:pt x="126" y="348"/>
                </a:lnTo>
                <a:lnTo>
                  <a:pt x="132" y="336"/>
                </a:lnTo>
                <a:lnTo>
                  <a:pt x="132" y="330"/>
                </a:lnTo>
                <a:lnTo>
                  <a:pt x="138" y="324"/>
                </a:lnTo>
                <a:lnTo>
                  <a:pt x="138" y="318"/>
                </a:lnTo>
                <a:lnTo>
                  <a:pt x="144" y="306"/>
                </a:lnTo>
                <a:lnTo>
                  <a:pt x="156" y="306"/>
                </a:lnTo>
                <a:lnTo>
                  <a:pt x="186" y="300"/>
                </a:lnTo>
                <a:lnTo>
                  <a:pt x="198" y="300"/>
                </a:lnTo>
                <a:lnTo>
                  <a:pt x="210" y="300"/>
                </a:lnTo>
                <a:lnTo>
                  <a:pt x="222" y="300"/>
                </a:lnTo>
                <a:lnTo>
                  <a:pt x="246" y="300"/>
                </a:lnTo>
                <a:lnTo>
                  <a:pt x="264" y="312"/>
                </a:lnTo>
                <a:lnTo>
                  <a:pt x="270" y="312"/>
                </a:lnTo>
                <a:lnTo>
                  <a:pt x="282" y="306"/>
                </a:lnTo>
                <a:lnTo>
                  <a:pt x="288" y="300"/>
                </a:lnTo>
                <a:lnTo>
                  <a:pt x="294" y="306"/>
                </a:lnTo>
                <a:lnTo>
                  <a:pt x="300" y="306"/>
                </a:lnTo>
                <a:lnTo>
                  <a:pt x="312" y="306"/>
                </a:lnTo>
                <a:lnTo>
                  <a:pt x="318" y="300"/>
                </a:lnTo>
                <a:lnTo>
                  <a:pt x="324" y="300"/>
                </a:lnTo>
                <a:lnTo>
                  <a:pt x="330" y="294"/>
                </a:lnTo>
                <a:lnTo>
                  <a:pt x="336" y="288"/>
                </a:lnTo>
                <a:lnTo>
                  <a:pt x="354" y="288"/>
                </a:lnTo>
                <a:lnTo>
                  <a:pt x="360" y="288"/>
                </a:lnTo>
                <a:lnTo>
                  <a:pt x="366" y="282"/>
                </a:lnTo>
                <a:lnTo>
                  <a:pt x="372" y="282"/>
                </a:lnTo>
                <a:lnTo>
                  <a:pt x="378" y="282"/>
                </a:lnTo>
                <a:lnTo>
                  <a:pt x="384" y="276"/>
                </a:lnTo>
                <a:lnTo>
                  <a:pt x="384" y="270"/>
                </a:lnTo>
                <a:lnTo>
                  <a:pt x="390" y="264"/>
                </a:lnTo>
                <a:lnTo>
                  <a:pt x="402" y="258"/>
                </a:lnTo>
                <a:lnTo>
                  <a:pt x="402" y="252"/>
                </a:lnTo>
                <a:lnTo>
                  <a:pt x="402" y="246"/>
                </a:lnTo>
                <a:lnTo>
                  <a:pt x="408" y="234"/>
                </a:lnTo>
                <a:lnTo>
                  <a:pt x="414" y="234"/>
                </a:lnTo>
                <a:lnTo>
                  <a:pt x="414" y="228"/>
                </a:lnTo>
                <a:lnTo>
                  <a:pt x="420" y="222"/>
                </a:lnTo>
                <a:lnTo>
                  <a:pt x="414" y="216"/>
                </a:lnTo>
                <a:lnTo>
                  <a:pt x="414" y="210"/>
                </a:lnTo>
                <a:lnTo>
                  <a:pt x="420" y="210"/>
                </a:lnTo>
                <a:lnTo>
                  <a:pt x="414" y="198"/>
                </a:lnTo>
                <a:lnTo>
                  <a:pt x="414" y="192"/>
                </a:lnTo>
                <a:lnTo>
                  <a:pt x="420" y="192"/>
                </a:lnTo>
                <a:lnTo>
                  <a:pt x="420" y="186"/>
                </a:lnTo>
                <a:lnTo>
                  <a:pt x="420" y="174"/>
                </a:lnTo>
                <a:lnTo>
                  <a:pt x="420" y="168"/>
                </a:lnTo>
                <a:lnTo>
                  <a:pt x="426" y="162"/>
                </a:lnTo>
                <a:lnTo>
                  <a:pt x="432" y="156"/>
                </a:lnTo>
                <a:lnTo>
                  <a:pt x="438" y="144"/>
                </a:lnTo>
                <a:lnTo>
                  <a:pt x="444" y="144"/>
                </a:lnTo>
                <a:lnTo>
                  <a:pt x="450" y="138"/>
                </a:lnTo>
                <a:lnTo>
                  <a:pt x="456" y="138"/>
                </a:lnTo>
                <a:lnTo>
                  <a:pt x="462" y="132"/>
                </a:lnTo>
                <a:lnTo>
                  <a:pt x="462" y="126"/>
                </a:lnTo>
                <a:lnTo>
                  <a:pt x="468" y="126"/>
                </a:lnTo>
                <a:lnTo>
                  <a:pt x="474" y="126"/>
                </a:lnTo>
                <a:lnTo>
                  <a:pt x="480" y="120"/>
                </a:lnTo>
                <a:lnTo>
                  <a:pt x="486" y="108"/>
                </a:lnTo>
                <a:lnTo>
                  <a:pt x="492" y="108"/>
                </a:lnTo>
                <a:lnTo>
                  <a:pt x="498" y="102"/>
                </a:lnTo>
                <a:lnTo>
                  <a:pt x="504" y="96"/>
                </a:lnTo>
                <a:lnTo>
                  <a:pt x="504" y="108"/>
                </a:lnTo>
                <a:lnTo>
                  <a:pt x="522" y="102"/>
                </a:lnTo>
                <a:lnTo>
                  <a:pt x="540" y="102"/>
                </a:lnTo>
                <a:lnTo>
                  <a:pt x="552" y="108"/>
                </a:lnTo>
                <a:lnTo>
                  <a:pt x="582" y="102"/>
                </a:lnTo>
                <a:lnTo>
                  <a:pt x="594" y="126"/>
                </a:lnTo>
                <a:lnTo>
                  <a:pt x="594" y="144"/>
                </a:lnTo>
                <a:lnTo>
                  <a:pt x="588" y="156"/>
                </a:lnTo>
                <a:lnTo>
                  <a:pt x="588" y="168"/>
                </a:lnTo>
                <a:lnTo>
                  <a:pt x="582" y="180"/>
                </a:lnTo>
                <a:lnTo>
                  <a:pt x="570" y="192"/>
                </a:lnTo>
                <a:lnTo>
                  <a:pt x="594" y="192"/>
                </a:lnTo>
                <a:lnTo>
                  <a:pt x="618" y="198"/>
                </a:lnTo>
                <a:lnTo>
                  <a:pt x="642" y="210"/>
                </a:lnTo>
                <a:lnTo>
                  <a:pt x="660" y="234"/>
                </a:lnTo>
                <a:lnTo>
                  <a:pt x="678" y="246"/>
                </a:lnTo>
                <a:lnTo>
                  <a:pt x="684" y="252"/>
                </a:lnTo>
                <a:lnTo>
                  <a:pt x="702" y="252"/>
                </a:lnTo>
                <a:lnTo>
                  <a:pt x="732" y="234"/>
                </a:lnTo>
                <a:lnTo>
                  <a:pt x="732" y="222"/>
                </a:lnTo>
                <a:lnTo>
                  <a:pt x="720" y="216"/>
                </a:lnTo>
                <a:lnTo>
                  <a:pt x="714" y="198"/>
                </a:lnTo>
                <a:lnTo>
                  <a:pt x="714" y="174"/>
                </a:lnTo>
                <a:lnTo>
                  <a:pt x="720" y="162"/>
                </a:lnTo>
                <a:lnTo>
                  <a:pt x="726" y="162"/>
                </a:lnTo>
                <a:lnTo>
                  <a:pt x="732" y="156"/>
                </a:lnTo>
                <a:lnTo>
                  <a:pt x="744" y="150"/>
                </a:lnTo>
                <a:lnTo>
                  <a:pt x="774" y="162"/>
                </a:lnTo>
                <a:lnTo>
                  <a:pt x="786" y="162"/>
                </a:lnTo>
                <a:lnTo>
                  <a:pt x="816" y="162"/>
                </a:lnTo>
                <a:lnTo>
                  <a:pt x="816" y="156"/>
                </a:lnTo>
                <a:lnTo>
                  <a:pt x="816" y="150"/>
                </a:lnTo>
                <a:lnTo>
                  <a:pt x="822" y="144"/>
                </a:lnTo>
                <a:lnTo>
                  <a:pt x="822" y="138"/>
                </a:lnTo>
                <a:lnTo>
                  <a:pt x="822" y="132"/>
                </a:lnTo>
                <a:lnTo>
                  <a:pt x="822" y="114"/>
                </a:lnTo>
                <a:lnTo>
                  <a:pt x="828" y="108"/>
                </a:lnTo>
                <a:lnTo>
                  <a:pt x="834" y="96"/>
                </a:lnTo>
                <a:lnTo>
                  <a:pt x="846" y="96"/>
                </a:lnTo>
                <a:lnTo>
                  <a:pt x="858" y="90"/>
                </a:lnTo>
                <a:lnTo>
                  <a:pt x="870" y="84"/>
                </a:lnTo>
                <a:lnTo>
                  <a:pt x="888" y="84"/>
                </a:lnTo>
                <a:lnTo>
                  <a:pt x="894" y="90"/>
                </a:lnTo>
                <a:lnTo>
                  <a:pt x="894" y="102"/>
                </a:lnTo>
                <a:lnTo>
                  <a:pt x="900" y="102"/>
                </a:lnTo>
                <a:lnTo>
                  <a:pt x="906" y="114"/>
                </a:lnTo>
                <a:lnTo>
                  <a:pt x="930" y="120"/>
                </a:lnTo>
                <a:lnTo>
                  <a:pt x="942" y="126"/>
                </a:lnTo>
                <a:lnTo>
                  <a:pt x="948" y="132"/>
                </a:lnTo>
                <a:lnTo>
                  <a:pt x="954" y="138"/>
                </a:lnTo>
                <a:lnTo>
                  <a:pt x="966" y="144"/>
                </a:lnTo>
                <a:lnTo>
                  <a:pt x="966" y="150"/>
                </a:lnTo>
                <a:lnTo>
                  <a:pt x="972" y="150"/>
                </a:lnTo>
                <a:lnTo>
                  <a:pt x="978" y="150"/>
                </a:lnTo>
                <a:lnTo>
                  <a:pt x="978" y="144"/>
                </a:lnTo>
                <a:lnTo>
                  <a:pt x="984" y="144"/>
                </a:lnTo>
                <a:lnTo>
                  <a:pt x="990" y="138"/>
                </a:lnTo>
                <a:lnTo>
                  <a:pt x="996" y="138"/>
                </a:lnTo>
                <a:lnTo>
                  <a:pt x="1002" y="138"/>
                </a:lnTo>
                <a:lnTo>
                  <a:pt x="1008" y="138"/>
                </a:lnTo>
                <a:lnTo>
                  <a:pt x="1026" y="132"/>
                </a:lnTo>
                <a:lnTo>
                  <a:pt x="1044" y="126"/>
                </a:lnTo>
                <a:lnTo>
                  <a:pt x="1056" y="120"/>
                </a:lnTo>
                <a:lnTo>
                  <a:pt x="1062" y="108"/>
                </a:lnTo>
                <a:lnTo>
                  <a:pt x="1056" y="102"/>
                </a:lnTo>
                <a:lnTo>
                  <a:pt x="1062" y="96"/>
                </a:lnTo>
                <a:lnTo>
                  <a:pt x="1074" y="90"/>
                </a:lnTo>
                <a:lnTo>
                  <a:pt x="1080" y="84"/>
                </a:lnTo>
                <a:lnTo>
                  <a:pt x="1128" y="84"/>
                </a:lnTo>
                <a:lnTo>
                  <a:pt x="1134" y="84"/>
                </a:lnTo>
                <a:lnTo>
                  <a:pt x="1140" y="78"/>
                </a:lnTo>
                <a:lnTo>
                  <a:pt x="1152" y="72"/>
                </a:lnTo>
                <a:lnTo>
                  <a:pt x="1164" y="66"/>
                </a:lnTo>
                <a:lnTo>
                  <a:pt x="1170" y="60"/>
                </a:lnTo>
                <a:lnTo>
                  <a:pt x="1188" y="48"/>
                </a:lnTo>
                <a:lnTo>
                  <a:pt x="1200" y="36"/>
                </a:lnTo>
                <a:lnTo>
                  <a:pt x="1218" y="24"/>
                </a:lnTo>
                <a:lnTo>
                  <a:pt x="1248" y="24"/>
                </a:lnTo>
                <a:lnTo>
                  <a:pt x="1272" y="24"/>
                </a:lnTo>
                <a:lnTo>
                  <a:pt x="1284" y="12"/>
                </a:lnTo>
                <a:lnTo>
                  <a:pt x="1302" y="0"/>
                </a:lnTo>
                <a:lnTo>
                  <a:pt x="1314" y="0"/>
                </a:lnTo>
                <a:lnTo>
                  <a:pt x="1326" y="18"/>
                </a:lnTo>
                <a:lnTo>
                  <a:pt x="1338" y="30"/>
                </a:lnTo>
                <a:lnTo>
                  <a:pt x="1338" y="54"/>
                </a:lnTo>
                <a:lnTo>
                  <a:pt x="1332" y="72"/>
                </a:lnTo>
                <a:lnTo>
                  <a:pt x="1326" y="72"/>
                </a:lnTo>
                <a:lnTo>
                  <a:pt x="1326" y="78"/>
                </a:lnTo>
                <a:lnTo>
                  <a:pt x="1326" y="102"/>
                </a:lnTo>
                <a:lnTo>
                  <a:pt x="1332" y="102"/>
                </a:lnTo>
                <a:lnTo>
                  <a:pt x="1332" y="108"/>
                </a:lnTo>
                <a:lnTo>
                  <a:pt x="1344" y="114"/>
                </a:lnTo>
                <a:lnTo>
                  <a:pt x="1350" y="114"/>
                </a:lnTo>
                <a:lnTo>
                  <a:pt x="1368" y="126"/>
                </a:lnTo>
                <a:lnTo>
                  <a:pt x="1386" y="120"/>
                </a:lnTo>
                <a:lnTo>
                  <a:pt x="1404" y="132"/>
                </a:lnTo>
                <a:lnTo>
                  <a:pt x="1404" y="138"/>
                </a:lnTo>
                <a:lnTo>
                  <a:pt x="1410" y="150"/>
                </a:lnTo>
                <a:lnTo>
                  <a:pt x="1416" y="162"/>
                </a:lnTo>
                <a:lnTo>
                  <a:pt x="1428" y="168"/>
                </a:lnTo>
                <a:lnTo>
                  <a:pt x="1440" y="180"/>
                </a:lnTo>
                <a:lnTo>
                  <a:pt x="1476" y="174"/>
                </a:lnTo>
                <a:lnTo>
                  <a:pt x="1494" y="174"/>
                </a:lnTo>
                <a:lnTo>
                  <a:pt x="1512" y="192"/>
                </a:lnTo>
                <a:lnTo>
                  <a:pt x="1518" y="204"/>
                </a:lnTo>
                <a:lnTo>
                  <a:pt x="1530" y="216"/>
                </a:lnTo>
                <a:lnTo>
                  <a:pt x="1548" y="228"/>
                </a:lnTo>
                <a:lnTo>
                  <a:pt x="1548" y="234"/>
                </a:lnTo>
                <a:lnTo>
                  <a:pt x="1542" y="246"/>
                </a:lnTo>
                <a:lnTo>
                  <a:pt x="1560" y="246"/>
                </a:lnTo>
                <a:lnTo>
                  <a:pt x="1560" y="252"/>
                </a:lnTo>
                <a:lnTo>
                  <a:pt x="1566" y="258"/>
                </a:lnTo>
                <a:lnTo>
                  <a:pt x="1578" y="270"/>
                </a:lnTo>
                <a:lnTo>
                  <a:pt x="1596" y="270"/>
                </a:lnTo>
                <a:lnTo>
                  <a:pt x="1602" y="288"/>
                </a:lnTo>
                <a:lnTo>
                  <a:pt x="1608" y="306"/>
                </a:lnTo>
                <a:lnTo>
                  <a:pt x="1608" y="318"/>
                </a:lnTo>
                <a:lnTo>
                  <a:pt x="1608" y="324"/>
                </a:lnTo>
                <a:lnTo>
                  <a:pt x="1614" y="330"/>
                </a:lnTo>
                <a:lnTo>
                  <a:pt x="1614" y="336"/>
                </a:lnTo>
                <a:lnTo>
                  <a:pt x="1614" y="342"/>
                </a:lnTo>
                <a:lnTo>
                  <a:pt x="1614" y="354"/>
                </a:lnTo>
                <a:lnTo>
                  <a:pt x="1614" y="360"/>
                </a:lnTo>
                <a:lnTo>
                  <a:pt x="1614" y="372"/>
                </a:lnTo>
                <a:lnTo>
                  <a:pt x="1608" y="372"/>
                </a:lnTo>
                <a:lnTo>
                  <a:pt x="1608" y="378"/>
                </a:lnTo>
                <a:lnTo>
                  <a:pt x="1608" y="384"/>
                </a:lnTo>
                <a:lnTo>
                  <a:pt x="1608" y="390"/>
                </a:lnTo>
                <a:lnTo>
                  <a:pt x="1602" y="390"/>
                </a:lnTo>
                <a:lnTo>
                  <a:pt x="1602" y="396"/>
                </a:lnTo>
                <a:lnTo>
                  <a:pt x="1584" y="420"/>
                </a:lnTo>
                <a:lnTo>
                  <a:pt x="1584" y="426"/>
                </a:lnTo>
                <a:lnTo>
                  <a:pt x="1602" y="474"/>
                </a:lnTo>
                <a:lnTo>
                  <a:pt x="1608" y="480"/>
                </a:lnTo>
                <a:lnTo>
                  <a:pt x="1608" y="486"/>
                </a:lnTo>
                <a:lnTo>
                  <a:pt x="1614" y="486"/>
                </a:lnTo>
                <a:lnTo>
                  <a:pt x="1608" y="504"/>
                </a:lnTo>
                <a:lnTo>
                  <a:pt x="1572" y="504"/>
                </a:lnTo>
                <a:lnTo>
                  <a:pt x="1560" y="510"/>
                </a:lnTo>
                <a:lnTo>
                  <a:pt x="1554" y="522"/>
                </a:lnTo>
                <a:lnTo>
                  <a:pt x="1560" y="552"/>
                </a:lnTo>
                <a:lnTo>
                  <a:pt x="1566" y="552"/>
                </a:lnTo>
                <a:lnTo>
                  <a:pt x="1566" y="558"/>
                </a:lnTo>
                <a:lnTo>
                  <a:pt x="1572" y="558"/>
                </a:lnTo>
                <a:lnTo>
                  <a:pt x="1578" y="558"/>
                </a:lnTo>
                <a:lnTo>
                  <a:pt x="1578" y="552"/>
                </a:lnTo>
                <a:lnTo>
                  <a:pt x="1584" y="552"/>
                </a:lnTo>
                <a:lnTo>
                  <a:pt x="1590" y="552"/>
                </a:lnTo>
                <a:lnTo>
                  <a:pt x="1590" y="546"/>
                </a:lnTo>
                <a:lnTo>
                  <a:pt x="1596" y="546"/>
                </a:lnTo>
                <a:lnTo>
                  <a:pt x="1602" y="552"/>
                </a:lnTo>
                <a:lnTo>
                  <a:pt x="1602" y="546"/>
                </a:lnTo>
                <a:lnTo>
                  <a:pt x="1608" y="546"/>
                </a:lnTo>
                <a:lnTo>
                  <a:pt x="1608" y="552"/>
                </a:lnTo>
                <a:lnTo>
                  <a:pt x="1614" y="552"/>
                </a:lnTo>
                <a:lnTo>
                  <a:pt x="1614" y="546"/>
                </a:lnTo>
                <a:lnTo>
                  <a:pt x="1620" y="552"/>
                </a:lnTo>
                <a:lnTo>
                  <a:pt x="1626" y="552"/>
                </a:lnTo>
                <a:lnTo>
                  <a:pt x="1626" y="558"/>
                </a:lnTo>
                <a:lnTo>
                  <a:pt x="1632" y="558"/>
                </a:lnTo>
                <a:lnTo>
                  <a:pt x="1638" y="558"/>
                </a:lnTo>
                <a:lnTo>
                  <a:pt x="1644" y="558"/>
                </a:lnTo>
                <a:lnTo>
                  <a:pt x="1650" y="558"/>
                </a:lnTo>
                <a:lnTo>
                  <a:pt x="1650" y="564"/>
                </a:lnTo>
                <a:lnTo>
                  <a:pt x="1656" y="564"/>
                </a:lnTo>
                <a:lnTo>
                  <a:pt x="1662" y="564"/>
                </a:lnTo>
                <a:lnTo>
                  <a:pt x="1668" y="564"/>
                </a:lnTo>
                <a:lnTo>
                  <a:pt x="1668" y="570"/>
                </a:lnTo>
                <a:lnTo>
                  <a:pt x="1674" y="570"/>
                </a:lnTo>
                <a:lnTo>
                  <a:pt x="1680" y="570"/>
                </a:lnTo>
                <a:lnTo>
                  <a:pt x="1686" y="576"/>
                </a:lnTo>
                <a:lnTo>
                  <a:pt x="1686" y="582"/>
                </a:lnTo>
                <a:lnTo>
                  <a:pt x="1710" y="588"/>
                </a:lnTo>
                <a:lnTo>
                  <a:pt x="1710" y="594"/>
                </a:lnTo>
                <a:lnTo>
                  <a:pt x="1704" y="600"/>
                </a:lnTo>
                <a:lnTo>
                  <a:pt x="1710" y="624"/>
                </a:lnTo>
                <a:lnTo>
                  <a:pt x="1698" y="672"/>
                </a:lnTo>
                <a:lnTo>
                  <a:pt x="1704" y="678"/>
                </a:lnTo>
                <a:lnTo>
                  <a:pt x="1716" y="684"/>
                </a:lnTo>
                <a:lnTo>
                  <a:pt x="1716" y="678"/>
                </a:lnTo>
                <a:lnTo>
                  <a:pt x="1716" y="684"/>
                </a:lnTo>
                <a:lnTo>
                  <a:pt x="1728" y="684"/>
                </a:lnTo>
                <a:lnTo>
                  <a:pt x="1728" y="690"/>
                </a:lnTo>
                <a:lnTo>
                  <a:pt x="1734" y="696"/>
                </a:lnTo>
                <a:lnTo>
                  <a:pt x="1734" y="702"/>
                </a:lnTo>
                <a:lnTo>
                  <a:pt x="1740" y="708"/>
                </a:lnTo>
                <a:lnTo>
                  <a:pt x="1740" y="714"/>
                </a:lnTo>
                <a:lnTo>
                  <a:pt x="1710" y="714"/>
                </a:lnTo>
                <a:lnTo>
                  <a:pt x="1710" y="756"/>
                </a:lnTo>
                <a:lnTo>
                  <a:pt x="1704" y="762"/>
                </a:lnTo>
                <a:lnTo>
                  <a:pt x="1698" y="762"/>
                </a:lnTo>
                <a:lnTo>
                  <a:pt x="1698" y="768"/>
                </a:lnTo>
                <a:lnTo>
                  <a:pt x="1698" y="774"/>
                </a:lnTo>
                <a:lnTo>
                  <a:pt x="1692" y="780"/>
                </a:lnTo>
                <a:lnTo>
                  <a:pt x="1692" y="786"/>
                </a:lnTo>
                <a:lnTo>
                  <a:pt x="1686" y="786"/>
                </a:lnTo>
                <a:lnTo>
                  <a:pt x="1668" y="798"/>
                </a:lnTo>
                <a:lnTo>
                  <a:pt x="1662" y="810"/>
                </a:lnTo>
                <a:lnTo>
                  <a:pt x="1650" y="810"/>
                </a:lnTo>
                <a:lnTo>
                  <a:pt x="1644" y="816"/>
                </a:lnTo>
                <a:lnTo>
                  <a:pt x="1638" y="816"/>
                </a:lnTo>
                <a:lnTo>
                  <a:pt x="1626" y="852"/>
                </a:lnTo>
                <a:lnTo>
                  <a:pt x="1620" y="888"/>
                </a:lnTo>
                <a:lnTo>
                  <a:pt x="1626" y="888"/>
                </a:lnTo>
                <a:lnTo>
                  <a:pt x="1638" y="912"/>
                </a:lnTo>
                <a:lnTo>
                  <a:pt x="1644" y="918"/>
                </a:lnTo>
                <a:lnTo>
                  <a:pt x="1650" y="966"/>
                </a:lnTo>
                <a:lnTo>
                  <a:pt x="1626" y="972"/>
                </a:lnTo>
                <a:lnTo>
                  <a:pt x="1608" y="978"/>
                </a:lnTo>
                <a:lnTo>
                  <a:pt x="1614" y="984"/>
                </a:lnTo>
                <a:lnTo>
                  <a:pt x="1620" y="984"/>
                </a:lnTo>
                <a:lnTo>
                  <a:pt x="1620" y="1020"/>
                </a:lnTo>
                <a:lnTo>
                  <a:pt x="1614" y="1038"/>
                </a:lnTo>
                <a:lnTo>
                  <a:pt x="1620" y="1044"/>
                </a:lnTo>
                <a:lnTo>
                  <a:pt x="1626" y="1056"/>
                </a:lnTo>
                <a:lnTo>
                  <a:pt x="1626" y="1074"/>
                </a:lnTo>
                <a:lnTo>
                  <a:pt x="1620" y="1080"/>
                </a:lnTo>
                <a:lnTo>
                  <a:pt x="1620" y="1104"/>
                </a:lnTo>
                <a:lnTo>
                  <a:pt x="1620" y="1110"/>
                </a:lnTo>
                <a:lnTo>
                  <a:pt x="1614" y="1116"/>
                </a:lnTo>
                <a:lnTo>
                  <a:pt x="1608" y="1140"/>
                </a:lnTo>
                <a:lnTo>
                  <a:pt x="1602" y="1146"/>
                </a:lnTo>
                <a:lnTo>
                  <a:pt x="1602" y="1164"/>
                </a:lnTo>
                <a:lnTo>
                  <a:pt x="1596" y="1170"/>
                </a:lnTo>
                <a:lnTo>
                  <a:pt x="1590" y="1164"/>
                </a:lnTo>
                <a:lnTo>
                  <a:pt x="1584" y="1164"/>
                </a:lnTo>
                <a:lnTo>
                  <a:pt x="1578" y="1164"/>
                </a:lnTo>
                <a:lnTo>
                  <a:pt x="1578" y="1188"/>
                </a:lnTo>
                <a:lnTo>
                  <a:pt x="1584" y="1194"/>
                </a:lnTo>
                <a:lnTo>
                  <a:pt x="1590" y="1194"/>
                </a:lnTo>
                <a:lnTo>
                  <a:pt x="1590" y="1212"/>
                </a:lnTo>
                <a:lnTo>
                  <a:pt x="1584" y="1212"/>
                </a:lnTo>
                <a:lnTo>
                  <a:pt x="1584" y="1224"/>
                </a:lnTo>
                <a:lnTo>
                  <a:pt x="1578" y="1224"/>
                </a:lnTo>
                <a:lnTo>
                  <a:pt x="1578" y="1236"/>
                </a:lnTo>
                <a:lnTo>
                  <a:pt x="1584" y="1254"/>
                </a:lnTo>
                <a:lnTo>
                  <a:pt x="1584" y="1260"/>
                </a:lnTo>
                <a:lnTo>
                  <a:pt x="1590" y="1260"/>
                </a:lnTo>
                <a:lnTo>
                  <a:pt x="1590" y="1266"/>
                </a:lnTo>
                <a:lnTo>
                  <a:pt x="1596" y="1284"/>
                </a:lnTo>
                <a:lnTo>
                  <a:pt x="1602" y="1278"/>
                </a:lnTo>
                <a:lnTo>
                  <a:pt x="1608" y="1284"/>
                </a:lnTo>
                <a:lnTo>
                  <a:pt x="1632" y="1350"/>
                </a:lnTo>
                <a:lnTo>
                  <a:pt x="1638" y="1356"/>
                </a:lnTo>
                <a:lnTo>
                  <a:pt x="1644" y="1356"/>
                </a:lnTo>
                <a:lnTo>
                  <a:pt x="1650" y="1356"/>
                </a:lnTo>
                <a:lnTo>
                  <a:pt x="1656" y="1356"/>
                </a:lnTo>
                <a:lnTo>
                  <a:pt x="1662" y="1362"/>
                </a:lnTo>
                <a:lnTo>
                  <a:pt x="1668" y="1356"/>
                </a:lnTo>
                <a:lnTo>
                  <a:pt x="1668" y="1380"/>
                </a:lnTo>
                <a:lnTo>
                  <a:pt x="1662" y="1392"/>
                </a:lnTo>
                <a:lnTo>
                  <a:pt x="1656" y="1404"/>
                </a:lnTo>
                <a:lnTo>
                  <a:pt x="1656" y="1410"/>
                </a:lnTo>
                <a:lnTo>
                  <a:pt x="1656" y="1416"/>
                </a:lnTo>
                <a:lnTo>
                  <a:pt x="1650" y="1422"/>
                </a:lnTo>
                <a:lnTo>
                  <a:pt x="1650" y="1428"/>
                </a:lnTo>
                <a:lnTo>
                  <a:pt x="1644" y="1428"/>
                </a:lnTo>
                <a:lnTo>
                  <a:pt x="1644" y="1434"/>
                </a:lnTo>
                <a:lnTo>
                  <a:pt x="1638" y="1434"/>
                </a:lnTo>
                <a:lnTo>
                  <a:pt x="1638" y="1440"/>
                </a:lnTo>
                <a:lnTo>
                  <a:pt x="1632" y="1440"/>
                </a:lnTo>
                <a:lnTo>
                  <a:pt x="1638" y="1458"/>
                </a:lnTo>
                <a:close/>
              </a:path>
            </a:pathLst>
          </a:custGeom>
          <a:solidFill>
            <a:srgbClr val="BABABA"/>
          </a:solidFill>
          <a:ln w="9525" cap="flat" cmpd="sng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60" name="Freeform 16">
            <a:extLst>
              <a:ext uri="{FF2B5EF4-FFF2-40B4-BE49-F238E27FC236}">
                <a16:creationId xmlns:a16="http://schemas.microsoft.com/office/drawing/2014/main" id="{583AD743-C7AB-45FB-8CFE-9B407AE568B8}"/>
              </a:ext>
            </a:extLst>
          </p:cNvPr>
          <p:cNvSpPr>
            <a:spLocks/>
          </p:cNvSpPr>
          <p:nvPr/>
        </p:nvSpPr>
        <p:spPr bwMode="gray">
          <a:xfrm>
            <a:off x="5273496" y="3622903"/>
            <a:ext cx="987788" cy="1137879"/>
          </a:xfrm>
          <a:custGeom>
            <a:avLst/>
            <a:gdLst>
              <a:gd name="T0" fmla="*/ 144 w 1722"/>
              <a:gd name="T1" fmla="*/ 131 h 1956"/>
              <a:gd name="T2" fmla="*/ 142 w 1722"/>
              <a:gd name="T3" fmla="*/ 139 h 1956"/>
              <a:gd name="T4" fmla="*/ 137 w 1722"/>
              <a:gd name="T5" fmla="*/ 143 h 1956"/>
              <a:gd name="T6" fmla="*/ 133 w 1722"/>
              <a:gd name="T7" fmla="*/ 147 h 1956"/>
              <a:gd name="T8" fmla="*/ 132 w 1722"/>
              <a:gd name="T9" fmla="*/ 152 h 1956"/>
              <a:gd name="T10" fmla="*/ 130 w 1722"/>
              <a:gd name="T11" fmla="*/ 159 h 1956"/>
              <a:gd name="T12" fmla="*/ 127 w 1722"/>
              <a:gd name="T13" fmla="*/ 164 h 1956"/>
              <a:gd name="T14" fmla="*/ 123 w 1722"/>
              <a:gd name="T15" fmla="*/ 168 h 1956"/>
              <a:gd name="T16" fmla="*/ 117 w 1722"/>
              <a:gd name="T17" fmla="*/ 169 h 1956"/>
              <a:gd name="T18" fmla="*/ 110 w 1722"/>
              <a:gd name="T19" fmla="*/ 168 h 1956"/>
              <a:gd name="T20" fmla="*/ 104 w 1722"/>
              <a:gd name="T21" fmla="*/ 166 h 1956"/>
              <a:gd name="T22" fmla="*/ 101 w 1722"/>
              <a:gd name="T23" fmla="*/ 159 h 1956"/>
              <a:gd name="T24" fmla="*/ 95 w 1722"/>
              <a:gd name="T25" fmla="*/ 156 h 1956"/>
              <a:gd name="T26" fmla="*/ 89 w 1722"/>
              <a:gd name="T27" fmla="*/ 151 h 1956"/>
              <a:gd name="T28" fmla="*/ 87 w 1722"/>
              <a:gd name="T29" fmla="*/ 144 h 1956"/>
              <a:gd name="T30" fmla="*/ 82 w 1722"/>
              <a:gd name="T31" fmla="*/ 141 h 1956"/>
              <a:gd name="T32" fmla="*/ 76 w 1722"/>
              <a:gd name="T33" fmla="*/ 134 h 1956"/>
              <a:gd name="T34" fmla="*/ 74 w 1722"/>
              <a:gd name="T35" fmla="*/ 143 h 1956"/>
              <a:gd name="T36" fmla="*/ 68 w 1722"/>
              <a:gd name="T37" fmla="*/ 147 h 1956"/>
              <a:gd name="T38" fmla="*/ 54 w 1722"/>
              <a:gd name="T39" fmla="*/ 144 h 1956"/>
              <a:gd name="T40" fmla="*/ 51 w 1722"/>
              <a:gd name="T41" fmla="*/ 142 h 1956"/>
              <a:gd name="T42" fmla="*/ 42 w 1722"/>
              <a:gd name="T43" fmla="*/ 151 h 1956"/>
              <a:gd name="T44" fmla="*/ 33 w 1722"/>
              <a:gd name="T45" fmla="*/ 154 h 1956"/>
              <a:gd name="T46" fmla="*/ 31 w 1722"/>
              <a:gd name="T47" fmla="*/ 159 h 1956"/>
              <a:gd name="T48" fmla="*/ 29 w 1722"/>
              <a:gd name="T49" fmla="*/ 166 h 1956"/>
              <a:gd name="T50" fmla="*/ 25 w 1722"/>
              <a:gd name="T51" fmla="*/ 169 h 1956"/>
              <a:gd name="T52" fmla="*/ 27 w 1722"/>
              <a:gd name="T53" fmla="*/ 154 h 1956"/>
              <a:gd name="T54" fmla="*/ 37 w 1722"/>
              <a:gd name="T55" fmla="*/ 133 h 1956"/>
              <a:gd name="T56" fmla="*/ 36 w 1722"/>
              <a:gd name="T57" fmla="*/ 109 h 1956"/>
              <a:gd name="T58" fmla="*/ 27 w 1722"/>
              <a:gd name="T59" fmla="*/ 101 h 1956"/>
              <a:gd name="T60" fmla="*/ 5 w 1722"/>
              <a:gd name="T61" fmla="*/ 98 h 1956"/>
              <a:gd name="T62" fmla="*/ 2 w 1722"/>
              <a:gd name="T63" fmla="*/ 93 h 1956"/>
              <a:gd name="T64" fmla="*/ 12 w 1722"/>
              <a:gd name="T65" fmla="*/ 82 h 1956"/>
              <a:gd name="T66" fmla="*/ 9 w 1722"/>
              <a:gd name="T67" fmla="*/ 74 h 1956"/>
              <a:gd name="T68" fmla="*/ 23 w 1722"/>
              <a:gd name="T69" fmla="*/ 72 h 1956"/>
              <a:gd name="T70" fmla="*/ 22 w 1722"/>
              <a:gd name="T71" fmla="*/ 67 h 1956"/>
              <a:gd name="T72" fmla="*/ 48 w 1722"/>
              <a:gd name="T73" fmla="*/ 57 h 1956"/>
              <a:gd name="T74" fmla="*/ 78 w 1722"/>
              <a:gd name="T75" fmla="*/ 34 h 1956"/>
              <a:gd name="T76" fmla="*/ 81 w 1722"/>
              <a:gd name="T77" fmla="*/ 31 h 1956"/>
              <a:gd name="T78" fmla="*/ 80 w 1722"/>
              <a:gd name="T79" fmla="*/ 26 h 1956"/>
              <a:gd name="T80" fmla="*/ 78 w 1722"/>
              <a:gd name="T81" fmla="*/ 21 h 1956"/>
              <a:gd name="T82" fmla="*/ 77 w 1722"/>
              <a:gd name="T83" fmla="*/ 18 h 1956"/>
              <a:gd name="T84" fmla="*/ 77 w 1722"/>
              <a:gd name="T85" fmla="*/ 12 h 1956"/>
              <a:gd name="T86" fmla="*/ 77 w 1722"/>
              <a:gd name="T87" fmla="*/ 7 h 1956"/>
              <a:gd name="T88" fmla="*/ 102 w 1722"/>
              <a:gd name="T89" fmla="*/ 2 h 1956"/>
              <a:gd name="T90" fmla="*/ 115 w 1722"/>
              <a:gd name="T91" fmla="*/ 3 h 1956"/>
              <a:gd name="T92" fmla="*/ 123 w 1722"/>
              <a:gd name="T93" fmla="*/ 3 h 1956"/>
              <a:gd name="T94" fmla="*/ 125 w 1722"/>
              <a:gd name="T95" fmla="*/ 9 h 1956"/>
              <a:gd name="T96" fmla="*/ 133 w 1722"/>
              <a:gd name="T97" fmla="*/ 13 h 1956"/>
              <a:gd name="T98" fmla="*/ 149 w 1722"/>
              <a:gd name="T99" fmla="*/ 37 h 1956"/>
              <a:gd name="T100" fmla="*/ 141 w 1722"/>
              <a:gd name="T101" fmla="*/ 57 h 1956"/>
              <a:gd name="T102" fmla="*/ 135 w 1722"/>
              <a:gd name="T103" fmla="*/ 63 h 1956"/>
              <a:gd name="T104" fmla="*/ 124 w 1722"/>
              <a:gd name="T105" fmla="*/ 77 h 1956"/>
              <a:gd name="T106" fmla="*/ 123 w 1722"/>
              <a:gd name="T107" fmla="*/ 96 h 1956"/>
              <a:gd name="T108" fmla="*/ 127 w 1722"/>
              <a:gd name="T109" fmla="*/ 97 h 1956"/>
              <a:gd name="T110" fmla="*/ 129 w 1722"/>
              <a:gd name="T111" fmla="*/ 92 h 1956"/>
              <a:gd name="T112" fmla="*/ 134 w 1722"/>
              <a:gd name="T113" fmla="*/ 94 h 1956"/>
              <a:gd name="T114" fmla="*/ 138 w 1722"/>
              <a:gd name="T115" fmla="*/ 99 h 1956"/>
              <a:gd name="T116" fmla="*/ 142 w 1722"/>
              <a:gd name="T117" fmla="*/ 104 h 1956"/>
              <a:gd name="T118" fmla="*/ 141 w 1722"/>
              <a:gd name="T119" fmla="*/ 115 h 195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722"/>
              <a:gd name="T181" fmla="*/ 0 h 1956"/>
              <a:gd name="T182" fmla="*/ 1722 w 1722"/>
              <a:gd name="T183" fmla="*/ 1956 h 195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722" h="1956">
                <a:moveTo>
                  <a:pt x="1686" y="1404"/>
                </a:moveTo>
                <a:lnTo>
                  <a:pt x="1680" y="1416"/>
                </a:lnTo>
                <a:lnTo>
                  <a:pt x="1674" y="1422"/>
                </a:lnTo>
                <a:lnTo>
                  <a:pt x="1674" y="1428"/>
                </a:lnTo>
                <a:lnTo>
                  <a:pt x="1668" y="1428"/>
                </a:lnTo>
                <a:lnTo>
                  <a:pt x="1668" y="1434"/>
                </a:lnTo>
                <a:lnTo>
                  <a:pt x="1662" y="1446"/>
                </a:lnTo>
                <a:lnTo>
                  <a:pt x="1656" y="1464"/>
                </a:lnTo>
                <a:lnTo>
                  <a:pt x="1656" y="1476"/>
                </a:lnTo>
                <a:lnTo>
                  <a:pt x="1656" y="1488"/>
                </a:lnTo>
                <a:lnTo>
                  <a:pt x="1662" y="1500"/>
                </a:lnTo>
                <a:lnTo>
                  <a:pt x="1662" y="1506"/>
                </a:lnTo>
                <a:lnTo>
                  <a:pt x="1662" y="1524"/>
                </a:lnTo>
                <a:lnTo>
                  <a:pt x="1668" y="1542"/>
                </a:lnTo>
                <a:lnTo>
                  <a:pt x="1674" y="1560"/>
                </a:lnTo>
                <a:lnTo>
                  <a:pt x="1680" y="1578"/>
                </a:lnTo>
                <a:lnTo>
                  <a:pt x="1686" y="1578"/>
                </a:lnTo>
                <a:lnTo>
                  <a:pt x="1686" y="1584"/>
                </a:lnTo>
                <a:lnTo>
                  <a:pt x="1686" y="1590"/>
                </a:lnTo>
                <a:lnTo>
                  <a:pt x="1686" y="1596"/>
                </a:lnTo>
                <a:lnTo>
                  <a:pt x="1680" y="1596"/>
                </a:lnTo>
                <a:lnTo>
                  <a:pt x="1674" y="1602"/>
                </a:lnTo>
                <a:lnTo>
                  <a:pt x="1662" y="1602"/>
                </a:lnTo>
                <a:lnTo>
                  <a:pt x="1638" y="1596"/>
                </a:lnTo>
                <a:lnTo>
                  <a:pt x="1632" y="1596"/>
                </a:lnTo>
                <a:lnTo>
                  <a:pt x="1626" y="1602"/>
                </a:lnTo>
                <a:lnTo>
                  <a:pt x="1620" y="1602"/>
                </a:lnTo>
                <a:lnTo>
                  <a:pt x="1614" y="1602"/>
                </a:lnTo>
                <a:lnTo>
                  <a:pt x="1602" y="1602"/>
                </a:lnTo>
                <a:lnTo>
                  <a:pt x="1602" y="1608"/>
                </a:lnTo>
                <a:lnTo>
                  <a:pt x="1602" y="1620"/>
                </a:lnTo>
                <a:lnTo>
                  <a:pt x="1596" y="1620"/>
                </a:lnTo>
                <a:lnTo>
                  <a:pt x="1590" y="1620"/>
                </a:lnTo>
                <a:lnTo>
                  <a:pt x="1584" y="1626"/>
                </a:lnTo>
                <a:lnTo>
                  <a:pt x="1584" y="1632"/>
                </a:lnTo>
                <a:lnTo>
                  <a:pt x="1578" y="1644"/>
                </a:lnTo>
                <a:lnTo>
                  <a:pt x="1572" y="1644"/>
                </a:lnTo>
                <a:lnTo>
                  <a:pt x="1566" y="1644"/>
                </a:lnTo>
                <a:lnTo>
                  <a:pt x="1566" y="1650"/>
                </a:lnTo>
                <a:lnTo>
                  <a:pt x="1560" y="1650"/>
                </a:lnTo>
                <a:lnTo>
                  <a:pt x="1554" y="1650"/>
                </a:lnTo>
                <a:lnTo>
                  <a:pt x="1548" y="1650"/>
                </a:lnTo>
                <a:lnTo>
                  <a:pt x="1548" y="1656"/>
                </a:lnTo>
                <a:lnTo>
                  <a:pt x="1542" y="1668"/>
                </a:lnTo>
                <a:lnTo>
                  <a:pt x="1542" y="1674"/>
                </a:lnTo>
                <a:lnTo>
                  <a:pt x="1542" y="1692"/>
                </a:lnTo>
                <a:lnTo>
                  <a:pt x="1536" y="1698"/>
                </a:lnTo>
                <a:lnTo>
                  <a:pt x="1530" y="1698"/>
                </a:lnTo>
                <a:lnTo>
                  <a:pt x="1524" y="1698"/>
                </a:lnTo>
                <a:lnTo>
                  <a:pt x="1518" y="1704"/>
                </a:lnTo>
                <a:lnTo>
                  <a:pt x="1512" y="1710"/>
                </a:lnTo>
                <a:lnTo>
                  <a:pt x="1506" y="1722"/>
                </a:lnTo>
                <a:lnTo>
                  <a:pt x="1500" y="1728"/>
                </a:lnTo>
                <a:lnTo>
                  <a:pt x="1500" y="1734"/>
                </a:lnTo>
                <a:lnTo>
                  <a:pt x="1512" y="1734"/>
                </a:lnTo>
                <a:lnTo>
                  <a:pt x="1518" y="1740"/>
                </a:lnTo>
                <a:lnTo>
                  <a:pt x="1518" y="1746"/>
                </a:lnTo>
                <a:lnTo>
                  <a:pt x="1518" y="1752"/>
                </a:lnTo>
                <a:lnTo>
                  <a:pt x="1518" y="1758"/>
                </a:lnTo>
                <a:lnTo>
                  <a:pt x="1524" y="1758"/>
                </a:lnTo>
                <a:lnTo>
                  <a:pt x="1524" y="1764"/>
                </a:lnTo>
                <a:lnTo>
                  <a:pt x="1530" y="1770"/>
                </a:lnTo>
                <a:lnTo>
                  <a:pt x="1518" y="1770"/>
                </a:lnTo>
                <a:lnTo>
                  <a:pt x="1512" y="1782"/>
                </a:lnTo>
                <a:lnTo>
                  <a:pt x="1512" y="1788"/>
                </a:lnTo>
                <a:lnTo>
                  <a:pt x="1518" y="1788"/>
                </a:lnTo>
                <a:lnTo>
                  <a:pt x="1524" y="1800"/>
                </a:lnTo>
                <a:lnTo>
                  <a:pt x="1524" y="1806"/>
                </a:lnTo>
                <a:lnTo>
                  <a:pt x="1518" y="1812"/>
                </a:lnTo>
                <a:lnTo>
                  <a:pt x="1512" y="1818"/>
                </a:lnTo>
                <a:lnTo>
                  <a:pt x="1506" y="1818"/>
                </a:lnTo>
                <a:lnTo>
                  <a:pt x="1500" y="1824"/>
                </a:lnTo>
                <a:lnTo>
                  <a:pt x="1500" y="1836"/>
                </a:lnTo>
                <a:lnTo>
                  <a:pt x="1500" y="1842"/>
                </a:lnTo>
                <a:lnTo>
                  <a:pt x="1500" y="1848"/>
                </a:lnTo>
                <a:lnTo>
                  <a:pt x="1500" y="1854"/>
                </a:lnTo>
                <a:lnTo>
                  <a:pt x="1494" y="1860"/>
                </a:lnTo>
                <a:lnTo>
                  <a:pt x="1488" y="1860"/>
                </a:lnTo>
                <a:lnTo>
                  <a:pt x="1488" y="1866"/>
                </a:lnTo>
                <a:lnTo>
                  <a:pt x="1482" y="1872"/>
                </a:lnTo>
                <a:lnTo>
                  <a:pt x="1482" y="1878"/>
                </a:lnTo>
                <a:lnTo>
                  <a:pt x="1482" y="1884"/>
                </a:lnTo>
                <a:lnTo>
                  <a:pt x="1476" y="1890"/>
                </a:lnTo>
                <a:lnTo>
                  <a:pt x="1470" y="1890"/>
                </a:lnTo>
                <a:lnTo>
                  <a:pt x="1470" y="1896"/>
                </a:lnTo>
                <a:lnTo>
                  <a:pt x="1464" y="1896"/>
                </a:lnTo>
                <a:lnTo>
                  <a:pt x="1458" y="1896"/>
                </a:lnTo>
                <a:lnTo>
                  <a:pt x="1452" y="1896"/>
                </a:lnTo>
                <a:lnTo>
                  <a:pt x="1440" y="1890"/>
                </a:lnTo>
                <a:lnTo>
                  <a:pt x="1434" y="1896"/>
                </a:lnTo>
                <a:lnTo>
                  <a:pt x="1428" y="1896"/>
                </a:lnTo>
                <a:lnTo>
                  <a:pt x="1422" y="1896"/>
                </a:lnTo>
                <a:lnTo>
                  <a:pt x="1422" y="1902"/>
                </a:lnTo>
                <a:lnTo>
                  <a:pt x="1416" y="1902"/>
                </a:lnTo>
                <a:lnTo>
                  <a:pt x="1422" y="1914"/>
                </a:lnTo>
                <a:lnTo>
                  <a:pt x="1422" y="1932"/>
                </a:lnTo>
                <a:lnTo>
                  <a:pt x="1416" y="1938"/>
                </a:lnTo>
                <a:lnTo>
                  <a:pt x="1422" y="1938"/>
                </a:lnTo>
                <a:lnTo>
                  <a:pt x="1404" y="1938"/>
                </a:lnTo>
                <a:lnTo>
                  <a:pt x="1392" y="1944"/>
                </a:lnTo>
                <a:lnTo>
                  <a:pt x="1386" y="1944"/>
                </a:lnTo>
                <a:lnTo>
                  <a:pt x="1374" y="1944"/>
                </a:lnTo>
                <a:lnTo>
                  <a:pt x="1368" y="1950"/>
                </a:lnTo>
                <a:lnTo>
                  <a:pt x="1374" y="1956"/>
                </a:lnTo>
                <a:lnTo>
                  <a:pt x="1368" y="1956"/>
                </a:lnTo>
                <a:lnTo>
                  <a:pt x="1356" y="1956"/>
                </a:lnTo>
                <a:lnTo>
                  <a:pt x="1350" y="1956"/>
                </a:lnTo>
                <a:lnTo>
                  <a:pt x="1350" y="1950"/>
                </a:lnTo>
                <a:lnTo>
                  <a:pt x="1344" y="1944"/>
                </a:lnTo>
                <a:lnTo>
                  <a:pt x="1332" y="1938"/>
                </a:lnTo>
                <a:lnTo>
                  <a:pt x="1326" y="1938"/>
                </a:lnTo>
                <a:lnTo>
                  <a:pt x="1320" y="1938"/>
                </a:lnTo>
                <a:lnTo>
                  <a:pt x="1314" y="1944"/>
                </a:lnTo>
                <a:lnTo>
                  <a:pt x="1308" y="1944"/>
                </a:lnTo>
                <a:lnTo>
                  <a:pt x="1302" y="1944"/>
                </a:lnTo>
                <a:lnTo>
                  <a:pt x="1296" y="1938"/>
                </a:lnTo>
                <a:lnTo>
                  <a:pt x="1284" y="1938"/>
                </a:lnTo>
                <a:lnTo>
                  <a:pt x="1278" y="1938"/>
                </a:lnTo>
                <a:lnTo>
                  <a:pt x="1272" y="1938"/>
                </a:lnTo>
                <a:lnTo>
                  <a:pt x="1266" y="1932"/>
                </a:lnTo>
                <a:lnTo>
                  <a:pt x="1260" y="1932"/>
                </a:lnTo>
                <a:lnTo>
                  <a:pt x="1254" y="1920"/>
                </a:lnTo>
                <a:lnTo>
                  <a:pt x="1248" y="1920"/>
                </a:lnTo>
                <a:lnTo>
                  <a:pt x="1242" y="1920"/>
                </a:lnTo>
                <a:lnTo>
                  <a:pt x="1236" y="1926"/>
                </a:lnTo>
                <a:lnTo>
                  <a:pt x="1236" y="1932"/>
                </a:lnTo>
                <a:lnTo>
                  <a:pt x="1230" y="1932"/>
                </a:lnTo>
                <a:lnTo>
                  <a:pt x="1224" y="1932"/>
                </a:lnTo>
                <a:lnTo>
                  <a:pt x="1218" y="1938"/>
                </a:lnTo>
                <a:lnTo>
                  <a:pt x="1212" y="1932"/>
                </a:lnTo>
                <a:lnTo>
                  <a:pt x="1206" y="1926"/>
                </a:lnTo>
                <a:lnTo>
                  <a:pt x="1206" y="1908"/>
                </a:lnTo>
                <a:lnTo>
                  <a:pt x="1206" y="1884"/>
                </a:lnTo>
                <a:lnTo>
                  <a:pt x="1206" y="1866"/>
                </a:lnTo>
                <a:lnTo>
                  <a:pt x="1212" y="1848"/>
                </a:lnTo>
                <a:lnTo>
                  <a:pt x="1212" y="1842"/>
                </a:lnTo>
                <a:lnTo>
                  <a:pt x="1206" y="1836"/>
                </a:lnTo>
                <a:lnTo>
                  <a:pt x="1200" y="1830"/>
                </a:lnTo>
                <a:lnTo>
                  <a:pt x="1194" y="1824"/>
                </a:lnTo>
                <a:lnTo>
                  <a:pt x="1188" y="1824"/>
                </a:lnTo>
                <a:lnTo>
                  <a:pt x="1182" y="1824"/>
                </a:lnTo>
                <a:lnTo>
                  <a:pt x="1176" y="1824"/>
                </a:lnTo>
                <a:lnTo>
                  <a:pt x="1170" y="1818"/>
                </a:lnTo>
                <a:lnTo>
                  <a:pt x="1164" y="1830"/>
                </a:lnTo>
                <a:lnTo>
                  <a:pt x="1152" y="1836"/>
                </a:lnTo>
                <a:lnTo>
                  <a:pt x="1146" y="1842"/>
                </a:lnTo>
                <a:lnTo>
                  <a:pt x="1140" y="1842"/>
                </a:lnTo>
                <a:lnTo>
                  <a:pt x="1134" y="1842"/>
                </a:lnTo>
                <a:lnTo>
                  <a:pt x="1128" y="1842"/>
                </a:lnTo>
                <a:lnTo>
                  <a:pt x="1116" y="1836"/>
                </a:lnTo>
                <a:lnTo>
                  <a:pt x="1110" y="1842"/>
                </a:lnTo>
                <a:lnTo>
                  <a:pt x="1092" y="1830"/>
                </a:lnTo>
                <a:lnTo>
                  <a:pt x="1092" y="1824"/>
                </a:lnTo>
                <a:lnTo>
                  <a:pt x="1092" y="1806"/>
                </a:lnTo>
                <a:lnTo>
                  <a:pt x="1092" y="1800"/>
                </a:lnTo>
                <a:lnTo>
                  <a:pt x="1092" y="1794"/>
                </a:lnTo>
                <a:lnTo>
                  <a:pt x="1086" y="1788"/>
                </a:lnTo>
                <a:lnTo>
                  <a:pt x="1080" y="1794"/>
                </a:lnTo>
                <a:lnTo>
                  <a:pt x="1074" y="1788"/>
                </a:lnTo>
                <a:lnTo>
                  <a:pt x="1068" y="1770"/>
                </a:lnTo>
                <a:lnTo>
                  <a:pt x="1056" y="1764"/>
                </a:lnTo>
                <a:lnTo>
                  <a:pt x="1050" y="1764"/>
                </a:lnTo>
                <a:lnTo>
                  <a:pt x="1044" y="1764"/>
                </a:lnTo>
                <a:lnTo>
                  <a:pt x="1038" y="1758"/>
                </a:lnTo>
                <a:lnTo>
                  <a:pt x="1032" y="1752"/>
                </a:lnTo>
                <a:lnTo>
                  <a:pt x="1032" y="1746"/>
                </a:lnTo>
                <a:lnTo>
                  <a:pt x="1032" y="1740"/>
                </a:lnTo>
                <a:lnTo>
                  <a:pt x="1032" y="1734"/>
                </a:lnTo>
                <a:lnTo>
                  <a:pt x="1026" y="1734"/>
                </a:lnTo>
                <a:lnTo>
                  <a:pt x="1032" y="1728"/>
                </a:lnTo>
                <a:lnTo>
                  <a:pt x="1032" y="1722"/>
                </a:lnTo>
                <a:lnTo>
                  <a:pt x="1044" y="1686"/>
                </a:lnTo>
                <a:lnTo>
                  <a:pt x="1044" y="1680"/>
                </a:lnTo>
                <a:lnTo>
                  <a:pt x="1032" y="1674"/>
                </a:lnTo>
                <a:lnTo>
                  <a:pt x="1026" y="1674"/>
                </a:lnTo>
                <a:lnTo>
                  <a:pt x="1026" y="1668"/>
                </a:lnTo>
                <a:lnTo>
                  <a:pt x="1020" y="1662"/>
                </a:lnTo>
                <a:lnTo>
                  <a:pt x="1014" y="1668"/>
                </a:lnTo>
                <a:lnTo>
                  <a:pt x="1008" y="1662"/>
                </a:lnTo>
                <a:lnTo>
                  <a:pt x="1002" y="1662"/>
                </a:lnTo>
                <a:lnTo>
                  <a:pt x="1002" y="1668"/>
                </a:lnTo>
                <a:lnTo>
                  <a:pt x="996" y="1668"/>
                </a:lnTo>
                <a:lnTo>
                  <a:pt x="996" y="1662"/>
                </a:lnTo>
                <a:lnTo>
                  <a:pt x="984" y="1662"/>
                </a:lnTo>
                <a:lnTo>
                  <a:pt x="984" y="1656"/>
                </a:lnTo>
                <a:lnTo>
                  <a:pt x="978" y="1650"/>
                </a:lnTo>
                <a:lnTo>
                  <a:pt x="978" y="1644"/>
                </a:lnTo>
                <a:lnTo>
                  <a:pt x="966" y="1650"/>
                </a:lnTo>
                <a:lnTo>
                  <a:pt x="960" y="1638"/>
                </a:lnTo>
                <a:lnTo>
                  <a:pt x="954" y="1632"/>
                </a:lnTo>
                <a:lnTo>
                  <a:pt x="948" y="1632"/>
                </a:lnTo>
                <a:lnTo>
                  <a:pt x="942" y="1626"/>
                </a:lnTo>
                <a:lnTo>
                  <a:pt x="942" y="1614"/>
                </a:lnTo>
                <a:lnTo>
                  <a:pt x="930" y="1608"/>
                </a:lnTo>
                <a:lnTo>
                  <a:pt x="924" y="1614"/>
                </a:lnTo>
                <a:lnTo>
                  <a:pt x="912" y="1608"/>
                </a:lnTo>
                <a:lnTo>
                  <a:pt x="888" y="1590"/>
                </a:lnTo>
                <a:lnTo>
                  <a:pt x="894" y="1578"/>
                </a:lnTo>
                <a:lnTo>
                  <a:pt x="894" y="1572"/>
                </a:lnTo>
                <a:lnTo>
                  <a:pt x="894" y="1566"/>
                </a:lnTo>
                <a:lnTo>
                  <a:pt x="894" y="1548"/>
                </a:lnTo>
                <a:lnTo>
                  <a:pt x="888" y="1548"/>
                </a:lnTo>
                <a:lnTo>
                  <a:pt x="882" y="1542"/>
                </a:lnTo>
                <a:lnTo>
                  <a:pt x="876" y="1542"/>
                </a:lnTo>
                <a:lnTo>
                  <a:pt x="876" y="1536"/>
                </a:lnTo>
                <a:lnTo>
                  <a:pt x="870" y="1542"/>
                </a:lnTo>
                <a:lnTo>
                  <a:pt x="870" y="1554"/>
                </a:lnTo>
                <a:lnTo>
                  <a:pt x="870" y="1566"/>
                </a:lnTo>
                <a:lnTo>
                  <a:pt x="870" y="1578"/>
                </a:lnTo>
                <a:lnTo>
                  <a:pt x="870" y="1584"/>
                </a:lnTo>
                <a:lnTo>
                  <a:pt x="864" y="1584"/>
                </a:lnTo>
                <a:lnTo>
                  <a:pt x="870" y="1602"/>
                </a:lnTo>
                <a:lnTo>
                  <a:pt x="864" y="1608"/>
                </a:lnTo>
                <a:lnTo>
                  <a:pt x="870" y="1614"/>
                </a:lnTo>
                <a:lnTo>
                  <a:pt x="864" y="1644"/>
                </a:lnTo>
                <a:lnTo>
                  <a:pt x="858" y="1650"/>
                </a:lnTo>
                <a:lnTo>
                  <a:pt x="858" y="1656"/>
                </a:lnTo>
                <a:lnTo>
                  <a:pt x="852" y="1662"/>
                </a:lnTo>
                <a:lnTo>
                  <a:pt x="852" y="1680"/>
                </a:lnTo>
                <a:lnTo>
                  <a:pt x="846" y="1686"/>
                </a:lnTo>
                <a:lnTo>
                  <a:pt x="834" y="1692"/>
                </a:lnTo>
                <a:lnTo>
                  <a:pt x="828" y="1692"/>
                </a:lnTo>
                <a:lnTo>
                  <a:pt x="822" y="1698"/>
                </a:lnTo>
                <a:lnTo>
                  <a:pt x="822" y="1704"/>
                </a:lnTo>
                <a:lnTo>
                  <a:pt x="816" y="1704"/>
                </a:lnTo>
                <a:lnTo>
                  <a:pt x="804" y="1692"/>
                </a:lnTo>
                <a:lnTo>
                  <a:pt x="786" y="1698"/>
                </a:lnTo>
                <a:lnTo>
                  <a:pt x="780" y="1698"/>
                </a:lnTo>
                <a:lnTo>
                  <a:pt x="756" y="1698"/>
                </a:lnTo>
                <a:lnTo>
                  <a:pt x="744" y="1698"/>
                </a:lnTo>
                <a:lnTo>
                  <a:pt x="738" y="1698"/>
                </a:lnTo>
                <a:lnTo>
                  <a:pt x="732" y="1704"/>
                </a:lnTo>
                <a:lnTo>
                  <a:pt x="726" y="1704"/>
                </a:lnTo>
                <a:lnTo>
                  <a:pt x="678" y="1710"/>
                </a:lnTo>
                <a:lnTo>
                  <a:pt x="642" y="1710"/>
                </a:lnTo>
                <a:lnTo>
                  <a:pt x="618" y="1680"/>
                </a:lnTo>
                <a:lnTo>
                  <a:pt x="618" y="1674"/>
                </a:lnTo>
                <a:lnTo>
                  <a:pt x="618" y="1668"/>
                </a:lnTo>
                <a:lnTo>
                  <a:pt x="624" y="1662"/>
                </a:lnTo>
                <a:lnTo>
                  <a:pt x="624" y="1656"/>
                </a:lnTo>
                <a:lnTo>
                  <a:pt x="624" y="1650"/>
                </a:lnTo>
                <a:lnTo>
                  <a:pt x="618" y="1650"/>
                </a:lnTo>
                <a:lnTo>
                  <a:pt x="618" y="1644"/>
                </a:lnTo>
                <a:lnTo>
                  <a:pt x="618" y="1638"/>
                </a:lnTo>
                <a:lnTo>
                  <a:pt x="618" y="1632"/>
                </a:lnTo>
                <a:lnTo>
                  <a:pt x="618" y="1626"/>
                </a:lnTo>
                <a:lnTo>
                  <a:pt x="612" y="1626"/>
                </a:lnTo>
                <a:lnTo>
                  <a:pt x="612" y="1620"/>
                </a:lnTo>
                <a:lnTo>
                  <a:pt x="606" y="1614"/>
                </a:lnTo>
                <a:lnTo>
                  <a:pt x="594" y="1626"/>
                </a:lnTo>
                <a:lnTo>
                  <a:pt x="594" y="1632"/>
                </a:lnTo>
                <a:lnTo>
                  <a:pt x="588" y="1638"/>
                </a:lnTo>
                <a:lnTo>
                  <a:pt x="582" y="1638"/>
                </a:lnTo>
                <a:lnTo>
                  <a:pt x="564" y="1656"/>
                </a:lnTo>
                <a:lnTo>
                  <a:pt x="558" y="1662"/>
                </a:lnTo>
                <a:lnTo>
                  <a:pt x="552" y="1662"/>
                </a:lnTo>
                <a:lnTo>
                  <a:pt x="540" y="1674"/>
                </a:lnTo>
                <a:lnTo>
                  <a:pt x="534" y="1680"/>
                </a:lnTo>
                <a:lnTo>
                  <a:pt x="522" y="1692"/>
                </a:lnTo>
                <a:lnTo>
                  <a:pt x="516" y="1704"/>
                </a:lnTo>
                <a:lnTo>
                  <a:pt x="510" y="1704"/>
                </a:lnTo>
                <a:lnTo>
                  <a:pt x="504" y="1704"/>
                </a:lnTo>
                <a:lnTo>
                  <a:pt x="486" y="1722"/>
                </a:lnTo>
                <a:lnTo>
                  <a:pt x="480" y="1740"/>
                </a:lnTo>
                <a:lnTo>
                  <a:pt x="474" y="1740"/>
                </a:lnTo>
                <a:lnTo>
                  <a:pt x="468" y="1746"/>
                </a:lnTo>
                <a:lnTo>
                  <a:pt x="456" y="1758"/>
                </a:lnTo>
                <a:lnTo>
                  <a:pt x="444" y="1770"/>
                </a:lnTo>
                <a:lnTo>
                  <a:pt x="438" y="1782"/>
                </a:lnTo>
                <a:lnTo>
                  <a:pt x="426" y="1788"/>
                </a:lnTo>
                <a:lnTo>
                  <a:pt x="420" y="1788"/>
                </a:lnTo>
                <a:lnTo>
                  <a:pt x="420" y="1782"/>
                </a:lnTo>
                <a:lnTo>
                  <a:pt x="414" y="1782"/>
                </a:lnTo>
                <a:lnTo>
                  <a:pt x="390" y="1782"/>
                </a:lnTo>
                <a:lnTo>
                  <a:pt x="390" y="1776"/>
                </a:lnTo>
                <a:lnTo>
                  <a:pt x="384" y="1776"/>
                </a:lnTo>
                <a:lnTo>
                  <a:pt x="378" y="1776"/>
                </a:lnTo>
                <a:lnTo>
                  <a:pt x="372" y="1776"/>
                </a:lnTo>
                <a:lnTo>
                  <a:pt x="366" y="1770"/>
                </a:lnTo>
                <a:lnTo>
                  <a:pt x="366" y="1776"/>
                </a:lnTo>
                <a:lnTo>
                  <a:pt x="360" y="1788"/>
                </a:lnTo>
                <a:lnTo>
                  <a:pt x="360" y="1794"/>
                </a:lnTo>
                <a:lnTo>
                  <a:pt x="360" y="1800"/>
                </a:lnTo>
                <a:lnTo>
                  <a:pt x="354" y="1806"/>
                </a:lnTo>
                <a:lnTo>
                  <a:pt x="354" y="1812"/>
                </a:lnTo>
                <a:lnTo>
                  <a:pt x="354" y="1824"/>
                </a:lnTo>
                <a:lnTo>
                  <a:pt x="348" y="1830"/>
                </a:lnTo>
                <a:lnTo>
                  <a:pt x="354" y="1836"/>
                </a:lnTo>
                <a:lnTo>
                  <a:pt x="348" y="1842"/>
                </a:lnTo>
                <a:lnTo>
                  <a:pt x="354" y="1848"/>
                </a:lnTo>
                <a:lnTo>
                  <a:pt x="348" y="1854"/>
                </a:lnTo>
                <a:lnTo>
                  <a:pt x="354" y="1854"/>
                </a:lnTo>
                <a:lnTo>
                  <a:pt x="348" y="1860"/>
                </a:lnTo>
                <a:lnTo>
                  <a:pt x="348" y="1866"/>
                </a:lnTo>
                <a:lnTo>
                  <a:pt x="342" y="1866"/>
                </a:lnTo>
                <a:lnTo>
                  <a:pt x="342" y="1872"/>
                </a:lnTo>
                <a:lnTo>
                  <a:pt x="342" y="1878"/>
                </a:lnTo>
                <a:lnTo>
                  <a:pt x="342" y="1884"/>
                </a:lnTo>
                <a:lnTo>
                  <a:pt x="336" y="1896"/>
                </a:lnTo>
                <a:lnTo>
                  <a:pt x="330" y="1914"/>
                </a:lnTo>
                <a:lnTo>
                  <a:pt x="324" y="1920"/>
                </a:lnTo>
                <a:lnTo>
                  <a:pt x="324" y="1926"/>
                </a:lnTo>
                <a:lnTo>
                  <a:pt x="318" y="1944"/>
                </a:lnTo>
                <a:lnTo>
                  <a:pt x="318" y="1950"/>
                </a:lnTo>
                <a:lnTo>
                  <a:pt x="312" y="1956"/>
                </a:lnTo>
                <a:lnTo>
                  <a:pt x="312" y="1950"/>
                </a:lnTo>
                <a:lnTo>
                  <a:pt x="306" y="1950"/>
                </a:lnTo>
                <a:lnTo>
                  <a:pt x="306" y="1956"/>
                </a:lnTo>
                <a:lnTo>
                  <a:pt x="300" y="1950"/>
                </a:lnTo>
                <a:lnTo>
                  <a:pt x="294" y="1956"/>
                </a:lnTo>
                <a:lnTo>
                  <a:pt x="288" y="1950"/>
                </a:lnTo>
                <a:lnTo>
                  <a:pt x="288" y="1944"/>
                </a:lnTo>
                <a:lnTo>
                  <a:pt x="282" y="1938"/>
                </a:lnTo>
                <a:lnTo>
                  <a:pt x="282" y="1932"/>
                </a:lnTo>
                <a:lnTo>
                  <a:pt x="282" y="1890"/>
                </a:lnTo>
                <a:lnTo>
                  <a:pt x="288" y="1860"/>
                </a:lnTo>
                <a:lnTo>
                  <a:pt x="294" y="1842"/>
                </a:lnTo>
                <a:lnTo>
                  <a:pt x="294" y="1836"/>
                </a:lnTo>
                <a:lnTo>
                  <a:pt x="294" y="1824"/>
                </a:lnTo>
                <a:lnTo>
                  <a:pt x="300" y="1818"/>
                </a:lnTo>
                <a:lnTo>
                  <a:pt x="306" y="1794"/>
                </a:lnTo>
                <a:lnTo>
                  <a:pt x="306" y="1788"/>
                </a:lnTo>
                <a:lnTo>
                  <a:pt x="306" y="1782"/>
                </a:lnTo>
                <a:lnTo>
                  <a:pt x="312" y="1776"/>
                </a:lnTo>
                <a:lnTo>
                  <a:pt x="306" y="1776"/>
                </a:lnTo>
                <a:lnTo>
                  <a:pt x="312" y="1770"/>
                </a:lnTo>
                <a:lnTo>
                  <a:pt x="312" y="1740"/>
                </a:lnTo>
                <a:lnTo>
                  <a:pt x="318" y="1722"/>
                </a:lnTo>
                <a:lnTo>
                  <a:pt x="312" y="1722"/>
                </a:lnTo>
                <a:lnTo>
                  <a:pt x="300" y="1716"/>
                </a:lnTo>
                <a:lnTo>
                  <a:pt x="306" y="1716"/>
                </a:lnTo>
                <a:lnTo>
                  <a:pt x="312" y="1710"/>
                </a:lnTo>
                <a:lnTo>
                  <a:pt x="324" y="1674"/>
                </a:lnTo>
                <a:lnTo>
                  <a:pt x="366" y="1590"/>
                </a:lnTo>
                <a:lnTo>
                  <a:pt x="408" y="1548"/>
                </a:lnTo>
                <a:lnTo>
                  <a:pt x="426" y="1530"/>
                </a:lnTo>
                <a:lnTo>
                  <a:pt x="432" y="1500"/>
                </a:lnTo>
                <a:lnTo>
                  <a:pt x="426" y="1494"/>
                </a:lnTo>
                <a:lnTo>
                  <a:pt x="426" y="1482"/>
                </a:lnTo>
                <a:lnTo>
                  <a:pt x="432" y="1464"/>
                </a:lnTo>
                <a:lnTo>
                  <a:pt x="438" y="1428"/>
                </a:lnTo>
                <a:lnTo>
                  <a:pt x="462" y="1398"/>
                </a:lnTo>
                <a:lnTo>
                  <a:pt x="468" y="1362"/>
                </a:lnTo>
                <a:lnTo>
                  <a:pt x="462" y="1314"/>
                </a:lnTo>
                <a:lnTo>
                  <a:pt x="444" y="1284"/>
                </a:lnTo>
                <a:lnTo>
                  <a:pt x="432" y="1260"/>
                </a:lnTo>
                <a:lnTo>
                  <a:pt x="426" y="1260"/>
                </a:lnTo>
                <a:lnTo>
                  <a:pt x="420" y="1254"/>
                </a:lnTo>
                <a:lnTo>
                  <a:pt x="408" y="1260"/>
                </a:lnTo>
                <a:lnTo>
                  <a:pt x="402" y="1260"/>
                </a:lnTo>
                <a:lnTo>
                  <a:pt x="402" y="1254"/>
                </a:lnTo>
                <a:lnTo>
                  <a:pt x="396" y="1254"/>
                </a:lnTo>
                <a:lnTo>
                  <a:pt x="396" y="1248"/>
                </a:lnTo>
                <a:lnTo>
                  <a:pt x="384" y="1248"/>
                </a:lnTo>
                <a:lnTo>
                  <a:pt x="372" y="1230"/>
                </a:lnTo>
                <a:lnTo>
                  <a:pt x="360" y="1212"/>
                </a:lnTo>
                <a:lnTo>
                  <a:pt x="348" y="1188"/>
                </a:lnTo>
                <a:lnTo>
                  <a:pt x="324" y="1170"/>
                </a:lnTo>
                <a:lnTo>
                  <a:pt x="318" y="1170"/>
                </a:lnTo>
                <a:lnTo>
                  <a:pt x="312" y="1158"/>
                </a:lnTo>
                <a:lnTo>
                  <a:pt x="312" y="1152"/>
                </a:lnTo>
                <a:lnTo>
                  <a:pt x="306" y="1146"/>
                </a:lnTo>
                <a:lnTo>
                  <a:pt x="270" y="1122"/>
                </a:lnTo>
                <a:lnTo>
                  <a:pt x="240" y="1122"/>
                </a:lnTo>
                <a:lnTo>
                  <a:pt x="180" y="1116"/>
                </a:lnTo>
                <a:lnTo>
                  <a:pt x="174" y="1122"/>
                </a:lnTo>
                <a:lnTo>
                  <a:pt x="174" y="1128"/>
                </a:lnTo>
                <a:lnTo>
                  <a:pt x="168" y="1122"/>
                </a:lnTo>
                <a:lnTo>
                  <a:pt x="162" y="1116"/>
                </a:lnTo>
                <a:lnTo>
                  <a:pt x="144" y="1122"/>
                </a:lnTo>
                <a:lnTo>
                  <a:pt x="120" y="1122"/>
                </a:lnTo>
                <a:lnTo>
                  <a:pt x="54" y="1134"/>
                </a:lnTo>
                <a:lnTo>
                  <a:pt x="24" y="1152"/>
                </a:lnTo>
                <a:lnTo>
                  <a:pt x="6" y="1146"/>
                </a:lnTo>
                <a:lnTo>
                  <a:pt x="0" y="1134"/>
                </a:lnTo>
                <a:lnTo>
                  <a:pt x="0" y="1128"/>
                </a:lnTo>
                <a:lnTo>
                  <a:pt x="18" y="1110"/>
                </a:lnTo>
                <a:lnTo>
                  <a:pt x="24" y="1104"/>
                </a:lnTo>
                <a:lnTo>
                  <a:pt x="24" y="1098"/>
                </a:lnTo>
                <a:lnTo>
                  <a:pt x="30" y="1086"/>
                </a:lnTo>
                <a:lnTo>
                  <a:pt x="24" y="1086"/>
                </a:lnTo>
                <a:lnTo>
                  <a:pt x="24" y="1080"/>
                </a:lnTo>
                <a:lnTo>
                  <a:pt x="24" y="1074"/>
                </a:lnTo>
                <a:lnTo>
                  <a:pt x="18" y="1068"/>
                </a:lnTo>
                <a:lnTo>
                  <a:pt x="24" y="1062"/>
                </a:lnTo>
                <a:lnTo>
                  <a:pt x="42" y="1056"/>
                </a:lnTo>
                <a:lnTo>
                  <a:pt x="54" y="1050"/>
                </a:lnTo>
                <a:lnTo>
                  <a:pt x="72" y="1044"/>
                </a:lnTo>
                <a:lnTo>
                  <a:pt x="96" y="1032"/>
                </a:lnTo>
                <a:lnTo>
                  <a:pt x="102" y="1032"/>
                </a:lnTo>
                <a:lnTo>
                  <a:pt x="126" y="1008"/>
                </a:lnTo>
                <a:lnTo>
                  <a:pt x="144" y="990"/>
                </a:lnTo>
                <a:lnTo>
                  <a:pt x="156" y="978"/>
                </a:lnTo>
                <a:lnTo>
                  <a:pt x="156" y="966"/>
                </a:lnTo>
                <a:lnTo>
                  <a:pt x="150" y="960"/>
                </a:lnTo>
                <a:lnTo>
                  <a:pt x="144" y="948"/>
                </a:lnTo>
                <a:lnTo>
                  <a:pt x="144" y="936"/>
                </a:lnTo>
                <a:lnTo>
                  <a:pt x="138" y="918"/>
                </a:lnTo>
                <a:lnTo>
                  <a:pt x="150" y="912"/>
                </a:lnTo>
                <a:lnTo>
                  <a:pt x="150" y="894"/>
                </a:lnTo>
                <a:lnTo>
                  <a:pt x="132" y="876"/>
                </a:lnTo>
                <a:lnTo>
                  <a:pt x="126" y="876"/>
                </a:lnTo>
                <a:lnTo>
                  <a:pt x="120" y="870"/>
                </a:lnTo>
                <a:lnTo>
                  <a:pt x="120" y="864"/>
                </a:lnTo>
                <a:lnTo>
                  <a:pt x="114" y="864"/>
                </a:lnTo>
                <a:lnTo>
                  <a:pt x="108" y="864"/>
                </a:lnTo>
                <a:lnTo>
                  <a:pt x="108" y="858"/>
                </a:lnTo>
                <a:lnTo>
                  <a:pt x="102" y="852"/>
                </a:lnTo>
                <a:lnTo>
                  <a:pt x="96" y="852"/>
                </a:lnTo>
                <a:lnTo>
                  <a:pt x="102" y="834"/>
                </a:lnTo>
                <a:lnTo>
                  <a:pt x="108" y="816"/>
                </a:lnTo>
                <a:lnTo>
                  <a:pt x="114" y="804"/>
                </a:lnTo>
                <a:lnTo>
                  <a:pt x="132" y="798"/>
                </a:lnTo>
                <a:lnTo>
                  <a:pt x="144" y="798"/>
                </a:lnTo>
                <a:lnTo>
                  <a:pt x="180" y="810"/>
                </a:lnTo>
                <a:lnTo>
                  <a:pt x="192" y="816"/>
                </a:lnTo>
                <a:lnTo>
                  <a:pt x="234" y="822"/>
                </a:lnTo>
                <a:lnTo>
                  <a:pt x="264" y="828"/>
                </a:lnTo>
                <a:lnTo>
                  <a:pt x="270" y="840"/>
                </a:lnTo>
                <a:lnTo>
                  <a:pt x="270" y="834"/>
                </a:lnTo>
                <a:lnTo>
                  <a:pt x="270" y="828"/>
                </a:lnTo>
                <a:lnTo>
                  <a:pt x="270" y="822"/>
                </a:lnTo>
                <a:lnTo>
                  <a:pt x="270" y="816"/>
                </a:lnTo>
                <a:lnTo>
                  <a:pt x="264" y="810"/>
                </a:lnTo>
                <a:lnTo>
                  <a:pt x="264" y="804"/>
                </a:lnTo>
                <a:lnTo>
                  <a:pt x="264" y="798"/>
                </a:lnTo>
                <a:lnTo>
                  <a:pt x="258" y="792"/>
                </a:lnTo>
                <a:lnTo>
                  <a:pt x="258" y="786"/>
                </a:lnTo>
                <a:lnTo>
                  <a:pt x="264" y="786"/>
                </a:lnTo>
                <a:lnTo>
                  <a:pt x="264" y="780"/>
                </a:lnTo>
                <a:lnTo>
                  <a:pt x="258" y="774"/>
                </a:lnTo>
                <a:lnTo>
                  <a:pt x="258" y="768"/>
                </a:lnTo>
                <a:lnTo>
                  <a:pt x="264" y="762"/>
                </a:lnTo>
                <a:lnTo>
                  <a:pt x="264" y="756"/>
                </a:lnTo>
                <a:lnTo>
                  <a:pt x="282" y="762"/>
                </a:lnTo>
                <a:lnTo>
                  <a:pt x="312" y="780"/>
                </a:lnTo>
                <a:lnTo>
                  <a:pt x="354" y="786"/>
                </a:lnTo>
                <a:lnTo>
                  <a:pt x="408" y="774"/>
                </a:lnTo>
                <a:lnTo>
                  <a:pt x="444" y="756"/>
                </a:lnTo>
                <a:lnTo>
                  <a:pt x="468" y="732"/>
                </a:lnTo>
                <a:lnTo>
                  <a:pt x="492" y="720"/>
                </a:lnTo>
                <a:lnTo>
                  <a:pt x="522" y="690"/>
                </a:lnTo>
                <a:lnTo>
                  <a:pt x="540" y="672"/>
                </a:lnTo>
                <a:lnTo>
                  <a:pt x="558" y="660"/>
                </a:lnTo>
                <a:lnTo>
                  <a:pt x="570" y="636"/>
                </a:lnTo>
                <a:lnTo>
                  <a:pt x="588" y="612"/>
                </a:lnTo>
                <a:lnTo>
                  <a:pt x="654" y="552"/>
                </a:lnTo>
                <a:lnTo>
                  <a:pt x="678" y="528"/>
                </a:lnTo>
                <a:lnTo>
                  <a:pt x="696" y="510"/>
                </a:lnTo>
                <a:lnTo>
                  <a:pt x="714" y="498"/>
                </a:lnTo>
                <a:lnTo>
                  <a:pt x="750" y="480"/>
                </a:lnTo>
                <a:lnTo>
                  <a:pt x="774" y="444"/>
                </a:lnTo>
                <a:lnTo>
                  <a:pt x="816" y="426"/>
                </a:lnTo>
                <a:lnTo>
                  <a:pt x="864" y="420"/>
                </a:lnTo>
                <a:lnTo>
                  <a:pt x="912" y="402"/>
                </a:lnTo>
                <a:lnTo>
                  <a:pt x="906" y="396"/>
                </a:lnTo>
                <a:lnTo>
                  <a:pt x="912" y="396"/>
                </a:lnTo>
                <a:lnTo>
                  <a:pt x="912" y="390"/>
                </a:lnTo>
                <a:lnTo>
                  <a:pt x="918" y="384"/>
                </a:lnTo>
                <a:lnTo>
                  <a:pt x="924" y="384"/>
                </a:lnTo>
                <a:lnTo>
                  <a:pt x="924" y="378"/>
                </a:lnTo>
                <a:lnTo>
                  <a:pt x="918" y="372"/>
                </a:lnTo>
                <a:lnTo>
                  <a:pt x="918" y="366"/>
                </a:lnTo>
                <a:lnTo>
                  <a:pt x="918" y="360"/>
                </a:lnTo>
                <a:lnTo>
                  <a:pt x="924" y="360"/>
                </a:lnTo>
                <a:lnTo>
                  <a:pt x="924" y="354"/>
                </a:lnTo>
                <a:lnTo>
                  <a:pt x="930" y="354"/>
                </a:lnTo>
                <a:lnTo>
                  <a:pt x="936" y="354"/>
                </a:lnTo>
                <a:lnTo>
                  <a:pt x="936" y="348"/>
                </a:lnTo>
                <a:lnTo>
                  <a:pt x="942" y="348"/>
                </a:lnTo>
                <a:lnTo>
                  <a:pt x="942" y="336"/>
                </a:lnTo>
                <a:lnTo>
                  <a:pt x="936" y="336"/>
                </a:lnTo>
                <a:lnTo>
                  <a:pt x="930" y="330"/>
                </a:lnTo>
                <a:lnTo>
                  <a:pt x="924" y="330"/>
                </a:lnTo>
                <a:lnTo>
                  <a:pt x="924" y="324"/>
                </a:lnTo>
                <a:lnTo>
                  <a:pt x="918" y="318"/>
                </a:lnTo>
                <a:lnTo>
                  <a:pt x="912" y="306"/>
                </a:lnTo>
                <a:lnTo>
                  <a:pt x="918" y="306"/>
                </a:lnTo>
                <a:lnTo>
                  <a:pt x="924" y="300"/>
                </a:lnTo>
                <a:lnTo>
                  <a:pt x="924" y="294"/>
                </a:lnTo>
                <a:lnTo>
                  <a:pt x="924" y="288"/>
                </a:lnTo>
                <a:lnTo>
                  <a:pt x="924" y="282"/>
                </a:lnTo>
                <a:lnTo>
                  <a:pt x="924" y="276"/>
                </a:lnTo>
                <a:lnTo>
                  <a:pt x="918" y="270"/>
                </a:lnTo>
                <a:lnTo>
                  <a:pt x="918" y="264"/>
                </a:lnTo>
                <a:lnTo>
                  <a:pt x="912" y="270"/>
                </a:lnTo>
                <a:lnTo>
                  <a:pt x="912" y="264"/>
                </a:lnTo>
                <a:lnTo>
                  <a:pt x="912" y="258"/>
                </a:lnTo>
                <a:lnTo>
                  <a:pt x="912" y="252"/>
                </a:lnTo>
                <a:lnTo>
                  <a:pt x="906" y="252"/>
                </a:lnTo>
                <a:lnTo>
                  <a:pt x="900" y="246"/>
                </a:lnTo>
                <a:lnTo>
                  <a:pt x="900" y="240"/>
                </a:lnTo>
                <a:lnTo>
                  <a:pt x="900" y="246"/>
                </a:lnTo>
                <a:lnTo>
                  <a:pt x="894" y="246"/>
                </a:lnTo>
                <a:lnTo>
                  <a:pt x="894" y="240"/>
                </a:lnTo>
                <a:lnTo>
                  <a:pt x="894" y="234"/>
                </a:lnTo>
                <a:lnTo>
                  <a:pt x="900" y="234"/>
                </a:lnTo>
                <a:lnTo>
                  <a:pt x="900" y="228"/>
                </a:lnTo>
                <a:lnTo>
                  <a:pt x="906" y="228"/>
                </a:lnTo>
                <a:lnTo>
                  <a:pt x="900" y="222"/>
                </a:lnTo>
                <a:lnTo>
                  <a:pt x="894" y="216"/>
                </a:lnTo>
                <a:lnTo>
                  <a:pt x="894" y="210"/>
                </a:lnTo>
                <a:lnTo>
                  <a:pt x="888" y="210"/>
                </a:lnTo>
                <a:lnTo>
                  <a:pt x="888" y="204"/>
                </a:lnTo>
                <a:lnTo>
                  <a:pt x="888" y="198"/>
                </a:lnTo>
                <a:lnTo>
                  <a:pt x="888" y="192"/>
                </a:lnTo>
                <a:lnTo>
                  <a:pt x="882" y="186"/>
                </a:lnTo>
                <a:lnTo>
                  <a:pt x="888" y="180"/>
                </a:lnTo>
                <a:lnTo>
                  <a:pt x="882" y="180"/>
                </a:lnTo>
                <a:lnTo>
                  <a:pt x="882" y="174"/>
                </a:lnTo>
                <a:lnTo>
                  <a:pt x="888" y="168"/>
                </a:lnTo>
                <a:lnTo>
                  <a:pt x="888" y="162"/>
                </a:lnTo>
                <a:lnTo>
                  <a:pt x="888" y="156"/>
                </a:lnTo>
                <a:lnTo>
                  <a:pt x="888" y="150"/>
                </a:lnTo>
                <a:lnTo>
                  <a:pt x="888" y="144"/>
                </a:lnTo>
                <a:lnTo>
                  <a:pt x="882" y="144"/>
                </a:lnTo>
                <a:lnTo>
                  <a:pt x="882" y="138"/>
                </a:lnTo>
                <a:lnTo>
                  <a:pt x="876" y="132"/>
                </a:lnTo>
                <a:lnTo>
                  <a:pt x="882" y="126"/>
                </a:lnTo>
                <a:lnTo>
                  <a:pt x="876" y="120"/>
                </a:lnTo>
                <a:lnTo>
                  <a:pt x="882" y="114"/>
                </a:lnTo>
                <a:lnTo>
                  <a:pt x="882" y="108"/>
                </a:lnTo>
                <a:lnTo>
                  <a:pt x="888" y="102"/>
                </a:lnTo>
                <a:lnTo>
                  <a:pt x="894" y="102"/>
                </a:lnTo>
                <a:lnTo>
                  <a:pt x="894" y="96"/>
                </a:lnTo>
                <a:lnTo>
                  <a:pt x="888" y="96"/>
                </a:lnTo>
                <a:lnTo>
                  <a:pt x="894" y="90"/>
                </a:lnTo>
                <a:lnTo>
                  <a:pt x="888" y="84"/>
                </a:lnTo>
                <a:lnTo>
                  <a:pt x="888" y="78"/>
                </a:lnTo>
                <a:lnTo>
                  <a:pt x="924" y="66"/>
                </a:lnTo>
                <a:lnTo>
                  <a:pt x="966" y="66"/>
                </a:lnTo>
                <a:lnTo>
                  <a:pt x="996" y="48"/>
                </a:lnTo>
                <a:lnTo>
                  <a:pt x="1056" y="12"/>
                </a:lnTo>
                <a:lnTo>
                  <a:pt x="1128" y="0"/>
                </a:lnTo>
                <a:lnTo>
                  <a:pt x="1164" y="6"/>
                </a:lnTo>
                <a:lnTo>
                  <a:pt x="1164" y="12"/>
                </a:lnTo>
                <a:lnTo>
                  <a:pt x="1170" y="12"/>
                </a:lnTo>
                <a:lnTo>
                  <a:pt x="1170" y="18"/>
                </a:lnTo>
                <a:lnTo>
                  <a:pt x="1176" y="24"/>
                </a:lnTo>
                <a:lnTo>
                  <a:pt x="1182" y="24"/>
                </a:lnTo>
                <a:lnTo>
                  <a:pt x="1188" y="30"/>
                </a:lnTo>
                <a:lnTo>
                  <a:pt x="1194" y="30"/>
                </a:lnTo>
                <a:lnTo>
                  <a:pt x="1194" y="36"/>
                </a:lnTo>
                <a:lnTo>
                  <a:pt x="1260" y="30"/>
                </a:lnTo>
                <a:lnTo>
                  <a:pt x="1272" y="30"/>
                </a:lnTo>
                <a:lnTo>
                  <a:pt x="1296" y="24"/>
                </a:lnTo>
                <a:lnTo>
                  <a:pt x="1302" y="30"/>
                </a:lnTo>
                <a:lnTo>
                  <a:pt x="1302" y="36"/>
                </a:lnTo>
                <a:lnTo>
                  <a:pt x="1308" y="36"/>
                </a:lnTo>
                <a:lnTo>
                  <a:pt x="1314" y="36"/>
                </a:lnTo>
                <a:lnTo>
                  <a:pt x="1320" y="36"/>
                </a:lnTo>
                <a:lnTo>
                  <a:pt x="1326" y="30"/>
                </a:lnTo>
                <a:lnTo>
                  <a:pt x="1332" y="30"/>
                </a:lnTo>
                <a:lnTo>
                  <a:pt x="1338" y="30"/>
                </a:lnTo>
                <a:lnTo>
                  <a:pt x="1344" y="30"/>
                </a:lnTo>
                <a:lnTo>
                  <a:pt x="1374" y="30"/>
                </a:lnTo>
                <a:lnTo>
                  <a:pt x="1386" y="30"/>
                </a:lnTo>
                <a:lnTo>
                  <a:pt x="1392" y="24"/>
                </a:lnTo>
                <a:lnTo>
                  <a:pt x="1398" y="12"/>
                </a:lnTo>
                <a:lnTo>
                  <a:pt x="1404" y="6"/>
                </a:lnTo>
                <a:lnTo>
                  <a:pt x="1410" y="6"/>
                </a:lnTo>
                <a:lnTo>
                  <a:pt x="1410" y="12"/>
                </a:lnTo>
                <a:lnTo>
                  <a:pt x="1416" y="18"/>
                </a:lnTo>
                <a:lnTo>
                  <a:pt x="1416" y="36"/>
                </a:lnTo>
                <a:lnTo>
                  <a:pt x="1434" y="54"/>
                </a:lnTo>
                <a:lnTo>
                  <a:pt x="1434" y="60"/>
                </a:lnTo>
                <a:lnTo>
                  <a:pt x="1434" y="66"/>
                </a:lnTo>
                <a:lnTo>
                  <a:pt x="1434" y="72"/>
                </a:lnTo>
                <a:lnTo>
                  <a:pt x="1428" y="72"/>
                </a:lnTo>
                <a:lnTo>
                  <a:pt x="1428" y="78"/>
                </a:lnTo>
                <a:lnTo>
                  <a:pt x="1434" y="78"/>
                </a:lnTo>
                <a:lnTo>
                  <a:pt x="1440" y="84"/>
                </a:lnTo>
                <a:lnTo>
                  <a:pt x="1440" y="90"/>
                </a:lnTo>
                <a:lnTo>
                  <a:pt x="1440" y="96"/>
                </a:lnTo>
                <a:lnTo>
                  <a:pt x="1446" y="96"/>
                </a:lnTo>
                <a:lnTo>
                  <a:pt x="1446" y="108"/>
                </a:lnTo>
                <a:lnTo>
                  <a:pt x="1452" y="108"/>
                </a:lnTo>
                <a:lnTo>
                  <a:pt x="1452" y="114"/>
                </a:lnTo>
                <a:lnTo>
                  <a:pt x="1458" y="114"/>
                </a:lnTo>
                <a:lnTo>
                  <a:pt x="1470" y="120"/>
                </a:lnTo>
                <a:lnTo>
                  <a:pt x="1476" y="120"/>
                </a:lnTo>
                <a:lnTo>
                  <a:pt x="1476" y="114"/>
                </a:lnTo>
                <a:lnTo>
                  <a:pt x="1488" y="120"/>
                </a:lnTo>
                <a:lnTo>
                  <a:pt x="1506" y="120"/>
                </a:lnTo>
                <a:lnTo>
                  <a:pt x="1512" y="120"/>
                </a:lnTo>
                <a:lnTo>
                  <a:pt x="1518" y="120"/>
                </a:lnTo>
                <a:lnTo>
                  <a:pt x="1524" y="126"/>
                </a:lnTo>
                <a:lnTo>
                  <a:pt x="1536" y="150"/>
                </a:lnTo>
                <a:lnTo>
                  <a:pt x="1548" y="162"/>
                </a:lnTo>
                <a:lnTo>
                  <a:pt x="1554" y="168"/>
                </a:lnTo>
                <a:lnTo>
                  <a:pt x="1584" y="228"/>
                </a:lnTo>
                <a:lnTo>
                  <a:pt x="1584" y="234"/>
                </a:lnTo>
                <a:lnTo>
                  <a:pt x="1578" y="312"/>
                </a:lnTo>
                <a:lnTo>
                  <a:pt x="1590" y="318"/>
                </a:lnTo>
                <a:lnTo>
                  <a:pt x="1608" y="330"/>
                </a:lnTo>
                <a:lnTo>
                  <a:pt x="1620" y="342"/>
                </a:lnTo>
                <a:lnTo>
                  <a:pt x="1626" y="342"/>
                </a:lnTo>
                <a:lnTo>
                  <a:pt x="1692" y="360"/>
                </a:lnTo>
                <a:lnTo>
                  <a:pt x="1710" y="408"/>
                </a:lnTo>
                <a:lnTo>
                  <a:pt x="1722" y="426"/>
                </a:lnTo>
                <a:lnTo>
                  <a:pt x="1716" y="468"/>
                </a:lnTo>
                <a:lnTo>
                  <a:pt x="1686" y="486"/>
                </a:lnTo>
                <a:lnTo>
                  <a:pt x="1686" y="492"/>
                </a:lnTo>
                <a:lnTo>
                  <a:pt x="1680" y="498"/>
                </a:lnTo>
                <a:lnTo>
                  <a:pt x="1650" y="558"/>
                </a:lnTo>
                <a:lnTo>
                  <a:pt x="1650" y="570"/>
                </a:lnTo>
                <a:lnTo>
                  <a:pt x="1644" y="570"/>
                </a:lnTo>
                <a:lnTo>
                  <a:pt x="1638" y="582"/>
                </a:lnTo>
                <a:lnTo>
                  <a:pt x="1638" y="624"/>
                </a:lnTo>
                <a:lnTo>
                  <a:pt x="1638" y="636"/>
                </a:lnTo>
                <a:lnTo>
                  <a:pt x="1638" y="642"/>
                </a:lnTo>
                <a:lnTo>
                  <a:pt x="1632" y="660"/>
                </a:lnTo>
                <a:lnTo>
                  <a:pt x="1608" y="678"/>
                </a:lnTo>
                <a:lnTo>
                  <a:pt x="1584" y="690"/>
                </a:lnTo>
                <a:lnTo>
                  <a:pt x="1584" y="696"/>
                </a:lnTo>
                <a:lnTo>
                  <a:pt x="1578" y="702"/>
                </a:lnTo>
                <a:lnTo>
                  <a:pt x="1584" y="702"/>
                </a:lnTo>
                <a:lnTo>
                  <a:pt x="1578" y="714"/>
                </a:lnTo>
                <a:lnTo>
                  <a:pt x="1572" y="714"/>
                </a:lnTo>
                <a:lnTo>
                  <a:pt x="1572" y="720"/>
                </a:lnTo>
                <a:lnTo>
                  <a:pt x="1566" y="720"/>
                </a:lnTo>
                <a:lnTo>
                  <a:pt x="1560" y="726"/>
                </a:lnTo>
                <a:lnTo>
                  <a:pt x="1560" y="732"/>
                </a:lnTo>
                <a:lnTo>
                  <a:pt x="1554" y="732"/>
                </a:lnTo>
                <a:lnTo>
                  <a:pt x="1554" y="738"/>
                </a:lnTo>
                <a:lnTo>
                  <a:pt x="1554" y="744"/>
                </a:lnTo>
                <a:lnTo>
                  <a:pt x="1548" y="744"/>
                </a:lnTo>
                <a:lnTo>
                  <a:pt x="1548" y="738"/>
                </a:lnTo>
                <a:lnTo>
                  <a:pt x="1542" y="738"/>
                </a:lnTo>
                <a:lnTo>
                  <a:pt x="1542" y="744"/>
                </a:lnTo>
                <a:lnTo>
                  <a:pt x="1542" y="750"/>
                </a:lnTo>
                <a:lnTo>
                  <a:pt x="1494" y="804"/>
                </a:lnTo>
                <a:lnTo>
                  <a:pt x="1446" y="876"/>
                </a:lnTo>
                <a:lnTo>
                  <a:pt x="1440" y="876"/>
                </a:lnTo>
                <a:lnTo>
                  <a:pt x="1434" y="876"/>
                </a:lnTo>
                <a:lnTo>
                  <a:pt x="1428" y="882"/>
                </a:lnTo>
                <a:lnTo>
                  <a:pt x="1422" y="882"/>
                </a:lnTo>
                <a:lnTo>
                  <a:pt x="1386" y="924"/>
                </a:lnTo>
                <a:lnTo>
                  <a:pt x="1362" y="954"/>
                </a:lnTo>
                <a:lnTo>
                  <a:pt x="1356" y="984"/>
                </a:lnTo>
                <a:lnTo>
                  <a:pt x="1362" y="1002"/>
                </a:lnTo>
                <a:lnTo>
                  <a:pt x="1368" y="1020"/>
                </a:lnTo>
                <a:lnTo>
                  <a:pt x="1386" y="1056"/>
                </a:lnTo>
                <a:lnTo>
                  <a:pt x="1404" y="1074"/>
                </a:lnTo>
                <a:lnTo>
                  <a:pt x="1416" y="1080"/>
                </a:lnTo>
                <a:lnTo>
                  <a:pt x="1416" y="1086"/>
                </a:lnTo>
                <a:lnTo>
                  <a:pt x="1422" y="1098"/>
                </a:lnTo>
                <a:lnTo>
                  <a:pt x="1422" y="1110"/>
                </a:lnTo>
                <a:lnTo>
                  <a:pt x="1428" y="1116"/>
                </a:lnTo>
                <a:lnTo>
                  <a:pt x="1434" y="1116"/>
                </a:lnTo>
                <a:lnTo>
                  <a:pt x="1434" y="1122"/>
                </a:lnTo>
                <a:lnTo>
                  <a:pt x="1434" y="1128"/>
                </a:lnTo>
                <a:lnTo>
                  <a:pt x="1440" y="1134"/>
                </a:lnTo>
                <a:lnTo>
                  <a:pt x="1446" y="1134"/>
                </a:lnTo>
                <a:lnTo>
                  <a:pt x="1458" y="1134"/>
                </a:lnTo>
                <a:lnTo>
                  <a:pt x="1458" y="1140"/>
                </a:lnTo>
                <a:lnTo>
                  <a:pt x="1464" y="1134"/>
                </a:lnTo>
                <a:lnTo>
                  <a:pt x="1470" y="1134"/>
                </a:lnTo>
                <a:lnTo>
                  <a:pt x="1464" y="1128"/>
                </a:lnTo>
                <a:lnTo>
                  <a:pt x="1464" y="1122"/>
                </a:lnTo>
                <a:lnTo>
                  <a:pt x="1470" y="1116"/>
                </a:lnTo>
                <a:lnTo>
                  <a:pt x="1470" y="1122"/>
                </a:lnTo>
                <a:lnTo>
                  <a:pt x="1476" y="1122"/>
                </a:lnTo>
                <a:lnTo>
                  <a:pt x="1476" y="1116"/>
                </a:lnTo>
                <a:lnTo>
                  <a:pt x="1482" y="1110"/>
                </a:lnTo>
                <a:lnTo>
                  <a:pt x="1476" y="1110"/>
                </a:lnTo>
                <a:lnTo>
                  <a:pt x="1476" y="1104"/>
                </a:lnTo>
                <a:lnTo>
                  <a:pt x="1476" y="1098"/>
                </a:lnTo>
                <a:lnTo>
                  <a:pt x="1482" y="1086"/>
                </a:lnTo>
                <a:lnTo>
                  <a:pt x="1482" y="1074"/>
                </a:lnTo>
                <a:lnTo>
                  <a:pt x="1488" y="1068"/>
                </a:lnTo>
                <a:lnTo>
                  <a:pt x="1488" y="1062"/>
                </a:lnTo>
                <a:lnTo>
                  <a:pt x="1494" y="1062"/>
                </a:lnTo>
                <a:lnTo>
                  <a:pt x="1500" y="1062"/>
                </a:lnTo>
                <a:lnTo>
                  <a:pt x="1506" y="1062"/>
                </a:lnTo>
                <a:lnTo>
                  <a:pt x="1506" y="1056"/>
                </a:lnTo>
                <a:lnTo>
                  <a:pt x="1506" y="1062"/>
                </a:lnTo>
                <a:lnTo>
                  <a:pt x="1518" y="1062"/>
                </a:lnTo>
                <a:lnTo>
                  <a:pt x="1524" y="1062"/>
                </a:lnTo>
                <a:lnTo>
                  <a:pt x="1530" y="1062"/>
                </a:lnTo>
                <a:lnTo>
                  <a:pt x="1536" y="1068"/>
                </a:lnTo>
                <a:lnTo>
                  <a:pt x="1536" y="1074"/>
                </a:lnTo>
                <a:lnTo>
                  <a:pt x="1542" y="1086"/>
                </a:lnTo>
                <a:lnTo>
                  <a:pt x="1548" y="1086"/>
                </a:lnTo>
                <a:lnTo>
                  <a:pt x="1554" y="1086"/>
                </a:lnTo>
                <a:lnTo>
                  <a:pt x="1566" y="1098"/>
                </a:lnTo>
                <a:lnTo>
                  <a:pt x="1572" y="1104"/>
                </a:lnTo>
                <a:lnTo>
                  <a:pt x="1566" y="1110"/>
                </a:lnTo>
                <a:lnTo>
                  <a:pt x="1572" y="1116"/>
                </a:lnTo>
                <a:lnTo>
                  <a:pt x="1578" y="1116"/>
                </a:lnTo>
                <a:lnTo>
                  <a:pt x="1578" y="1122"/>
                </a:lnTo>
                <a:lnTo>
                  <a:pt x="1584" y="1122"/>
                </a:lnTo>
                <a:lnTo>
                  <a:pt x="1584" y="1128"/>
                </a:lnTo>
                <a:lnTo>
                  <a:pt x="1584" y="1134"/>
                </a:lnTo>
                <a:lnTo>
                  <a:pt x="1590" y="1134"/>
                </a:lnTo>
                <a:lnTo>
                  <a:pt x="1596" y="1140"/>
                </a:lnTo>
                <a:lnTo>
                  <a:pt x="1602" y="1146"/>
                </a:lnTo>
                <a:lnTo>
                  <a:pt x="1608" y="1146"/>
                </a:lnTo>
                <a:lnTo>
                  <a:pt x="1614" y="1146"/>
                </a:lnTo>
                <a:lnTo>
                  <a:pt x="1614" y="1152"/>
                </a:lnTo>
                <a:lnTo>
                  <a:pt x="1620" y="1152"/>
                </a:lnTo>
                <a:lnTo>
                  <a:pt x="1626" y="1164"/>
                </a:lnTo>
                <a:lnTo>
                  <a:pt x="1632" y="1170"/>
                </a:lnTo>
                <a:lnTo>
                  <a:pt x="1638" y="1176"/>
                </a:lnTo>
                <a:lnTo>
                  <a:pt x="1638" y="1182"/>
                </a:lnTo>
                <a:lnTo>
                  <a:pt x="1644" y="1194"/>
                </a:lnTo>
                <a:lnTo>
                  <a:pt x="1644" y="1200"/>
                </a:lnTo>
                <a:lnTo>
                  <a:pt x="1638" y="1200"/>
                </a:lnTo>
                <a:lnTo>
                  <a:pt x="1638" y="1206"/>
                </a:lnTo>
                <a:lnTo>
                  <a:pt x="1638" y="1212"/>
                </a:lnTo>
                <a:lnTo>
                  <a:pt x="1638" y="1218"/>
                </a:lnTo>
                <a:lnTo>
                  <a:pt x="1632" y="1242"/>
                </a:lnTo>
                <a:lnTo>
                  <a:pt x="1632" y="1266"/>
                </a:lnTo>
                <a:lnTo>
                  <a:pt x="1638" y="1284"/>
                </a:lnTo>
                <a:lnTo>
                  <a:pt x="1638" y="1296"/>
                </a:lnTo>
                <a:lnTo>
                  <a:pt x="1632" y="1296"/>
                </a:lnTo>
                <a:lnTo>
                  <a:pt x="1632" y="1302"/>
                </a:lnTo>
                <a:lnTo>
                  <a:pt x="1638" y="1314"/>
                </a:lnTo>
                <a:lnTo>
                  <a:pt x="1638" y="1320"/>
                </a:lnTo>
                <a:lnTo>
                  <a:pt x="1632" y="1320"/>
                </a:lnTo>
                <a:lnTo>
                  <a:pt x="1632" y="1326"/>
                </a:lnTo>
                <a:lnTo>
                  <a:pt x="1644" y="1332"/>
                </a:lnTo>
                <a:lnTo>
                  <a:pt x="1644" y="1338"/>
                </a:lnTo>
                <a:lnTo>
                  <a:pt x="1650" y="1344"/>
                </a:lnTo>
                <a:lnTo>
                  <a:pt x="1668" y="1362"/>
                </a:lnTo>
                <a:lnTo>
                  <a:pt x="1668" y="1368"/>
                </a:lnTo>
                <a:lnTo>
                  <a:pt x="1674" y="1392"/>
                </a:lnTo>
                <a:lnTo>
                  <a:pt x="1686" y="1404"/>
                </a:lnTo>
                <a:close/>
              </a:path>
            </a:pathLst>
          </a:custGeom>
          <a:solidFill>
            <a:schemeClr val="accent1"/>
          </a:solidFill>
          <a:ln w="9525" cap="flat" cmpd="sng">
            <a:solidFill>
              <a:srgbClr val="33872D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61" name="Freeform 17">
            <a:extLst>
              <a:ext uri="{FF2B5EF4-FFF2-40B4-BE49-F238E27FC236}">
                <a16:creationId xmlns:a16="http://schemas.microsoft.com/office/drawing/2014/main" id="{1BA5C010-090B-4DA1-89FE-4900622B31AD}"/>
              </a:ext>
            </a:extLst>
          </p:cNvPr>
          <p:cNvSpPr>
            <a:spLocks/>
          </p:cNvSpPr>
          <p:nvPr/>
        </p:nvSpPr>
        <p:spPr bwMode="gray">
          <a:xfrm>
            <a:off x="4660053" y="4157503"/>
            <a:ext cx="881522" cy="630248"/>
          </a:xfrm>
          <a:custGeom>
            <a:avLst/>
            <a:gdLst>
              <a:gd name="T0" fmla="*/ 115 w 1536"/>
              <a:gd name="T1" fmla="*/ 89 h 1080"/>
              <a:gd name="T2" fmla="*/ 113 w 1536"/>
              <a:gd name="T3" fmla="*/ 92 h 1080"/>
              <a:gd name="T4" fmla="*/ 107 w 1536"/>
              <a:gd name="T5" fmla="*/ 93 h 1080"/>
              <a:gd name="T6" fmla="*/ 108 w 1536"/>
              <a:gd name="T7" fmla="*/ 90 h 1080"/>
              <a:gd name="T8" fmla="*/ 105 w 1536"/>
              <a:gd name="T9" fmla="*/ 87 h 1080"/>
              <a:gd name="T10" fmla="*/ 102 w 1536"/>
              <a:gd name="T11" fmla="*/ 85 h 1080"/>
              <a:gd name="T12" fmla="*/ 89 w 1536"/>
              <a:gd name="T13" fmla="*/ 80 h 1080"/>
              <a:gd name="T14" fmla="*/ 85 w 1536"/>
              <a:gd name="T15" fmla="*/ 82 h 1080"/>
              <a:gd name="T16" fmla="*/ 82 w 1536"/>
              <a:gd name="T17" fmla="*/ 80 h 1080"/>
              <a:gd name="T18" fmla="*/ 80 w 1536"/>
              <a:gd name="T19" fmla="*/ 75 h 1080"/>
              <a:gd name="T20" fmla="*/ 75 w 1536"/>
              <a:gd name="T21" fmla="*/ 72 h 1080"/>
              <a:gd name="T22" fmla="*/ 61 w 1536"/>
              <a:gd name="T23" fmla="*/ 70 h 1080"/>
              <a:gd name="T24" fmla="*/ 62 w 1536"/>
              <a:gd name="T25" fmla="*/ 72 h 1080"/>
              <a:gd name="T26" fmla="*/ 58 w 1536"/>
              <a:gd name="T27" fmla="*/ 75 h 1080"/>
              <a:gd name="T28" fmla="*/ 49 w 1536"/>
              <a:gd name="T29" fmla="*/ 76 h 1080"/>
              <a:gd name="T30" fmla="*/ 41 w 1536"/>
              <a:gd name="T31" fmla="*/ 79 h 1080"/>
              <a:gd name="T32" fmla="*/ 41 w 1536"/>
              <a:gd name="T33" fmla="*/ 77 h 1080"/>
              <a:gd name="T34" fmla="*/ 39 w 1536"/>
              <a:gd name="T35" fmla="*/ 74 h 1080"/>
              <a:gd name="T36" fmla="*/ 28 w 1536"/>
              <a:gd name="T37" fmla="*/ 78 h 1080"/>
              <a:gd name="T38" fmla="*/ 18 w 1536"/>
              <a:gd name="T39" fmla="*/ 85 h 1080"/>
              <a:gd name="T40" fmla="*/ 18 w 1536"/>
              <a:gd name="T41" fmla="*/ 77 h 1080"/>
              <a:gd name="T42" fmla="*/ 19 w 1536"/>
              <a:gd name="T43" fmla="*/ 69 h 1080"/>
              <a:gd name="T44" fmla="*/ 16 w 1536"/>
              <a:gd name="T45" fmla="*/ 69 h 1080"/>
              <a:gd name="T46" fmla="*/ 11 w 1536"/>
              <a:gd name="T47" fmla="*/ 69 h 1080"/>
              <a:gd name="T48" fmla="*/ 5 w 1536"/>
              <a:gd name="T49" fmla="*/ 68 h 1080"/>
              <a:gd name="T50" fmla="*/ 1 w 1536"/>
              <a:gd name="T51" fmla="*/ 63 h 1080"/>
              <a:gd name="T52" fmla="*/ 3 w 1536"/>
              <a:gd name="T53" fmla="*/ 59 h 1080"/>
              <a:gd name="T54" fmla="*/ 9 w 1536"/>
              <a:gd name="T55" fmla="*/ 54 h 1080"/>
              <a:gd name="T56" fmla="*/ 15 w 1536"/>
              <a:gd name="T57" fmla="*/ 47 h 1080"/>
              <a:gd name="T58" fmla="*/ 17 w 1536"/>
              <a:gd name="T59" fmla="*/ 40 h 1080"/>
              <a:gd name="T60" fmla="*/ 12 w 1536"/>
              <a:gd name="T61" fmla="*/ 33 h 1080"/>
              <a:gd name="T62" fmla="*/ 10 w 1536"/>
              <a:gd name="T63" fmla="*/ 21 h 1080"/>
              <a:gd name="T64" fmla="*/ 6 w 1536"/>
              <a:gd name="T65" fmla="*/ 14 h 1080"/>
              <a:gd name="T66" fmla="*/ 7 w 1536"/>
              <a:gd name="T67" fmla="*/ 9 h 1080"/>
              <a:gd name="T68" fmla="*/ 12 w 1536"/>
              <a:gd name="T69" fmla="*/ 7 h 1080"/>
              <a:gd name="T70" fmla="*/ 16 w 1536"/>
              <a:gd name="T71" fmla="*/ 8 h 1080"/>
              <a:gd name="T72" fmla="*/ 19 w 1536"/>
              <a:gd name="T73" fmla="*/ 8 h 1080"/>
              <a:gd name="T74" fmla="*/ 22 w 1536"/>
              <a:gd name="T75" fmla="*/ 9 h 1080"/>
              <a:gd name="T76" fmla="*/ 29 w 1536"/>
              <a:gd name="T77" fmla="*/ 12 h 1080"/>
              <a:gd name="T78" fmla="*/ 33 w 1536"/>
              <a:gd name="T79" fmla="*/ 13 h 1080"/>
              <a:gd name="T80" fmla="*/ 38 w 1536"/>
              <a:gd name="T81" fmla="*/ 15 h 1080"/>
              <a:gd name="T82" fmla="*/ 42 w 1536"/>
              <a:gd name="T83" fmla="*/ 17 h 1080"/>
              <a:gd name="T84" fmla="*/ 47 w 1536"/>
              <a:gd name="T85" fmla="*/ 19 h 1080"/>
              <a:gd name="T86" fmla="*/ 51 w 1536"/>
              <a:gd name="T87" fmla="*/ 21 h 1080"/>
              <a:gd name="T88" fmla="*/ 50 w 1536"/>
              <a:gd name="T89" fmla="*/ 15 h 1080"/>
              <a:gd name="T90" fmla="*/ 56 w 1536"/>
              <a:gd name="T91" fmla="*/ 0 h 1080"/>
              <a:gd name="T92" fmla="*/ 74 w 1536"/>
              <a:gd name="T93" fmla="*/ 5 h 1080"/>
              <a:gd name="T94" fmla="*/ 87 w 1536"/>
              <a:gd name="T95" fmla="*/ 6 h 1080"/>
              <a:gd name="T96" fmla="*/ 92 w 1536"/>
              <a:gd name="T97" fmla="*/ 11 h 1080"/>
              <a:gd name="T98" fmla="*/ 95 w 1536"/>
              <a:gd name="T99" fmla="*/ 15 h 1080"/>
              <a:gd name="T100" fmla="*/ 93 w 1536"/>
              <a:gd name="T101" fmla="*/ 20 h 1080"/>
              <a:gd name="T102" fmla="*/ 108 w 1536"/>
              <a:gd name="T103" fmla="*/ 18 h 1080"/>
              <a:gd name="T104" fmla="*/ 120 w 1536"/>
              <a:gd name="T105" fmla="*/ 21 h 1080"/>
              <a:gd name="T106" fmla="*/ 127 w 1536"/>
              <a:gd name="T107" fmla="*/ 29 h 1080"/>
              <a:gd name="T108" fmla="*/ 130 w 1536"/>
              <a:gd name="T109" fmla="*/ 30 h 1080"/>
              <a:gd name="T110" fmla="*/ 130 w 1536"/>
              <a:gd name="T111" fmla="*/ 49 h 1080"/>
              <a:gd name="T112" fmla="*/ 120 w 1536"/>
              <a:gd name="T113" fmla="*/ 69 h 1080"/>
              <a:gd name="T114" fmla="*/ 119 w 1536"/>
              <a:gd name="T115" fmla="*/ 74 h 1080"/>
              <a:gd name="T116" fmla="*/ 118 w 1536"/>
              <a:gd name="T117" fmla="*/ 80 h 108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536"/>
              <a:gd name="T178" fmla="*/ 0 h 1080"/>
              <a:gd name="T179" fmla="*/ 1536 w 1536"/>
              <a:gd name="T180" fmla="*/ 1080 h 1080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536" h="1080">
                <a:moveTo>
                  <a:pt x="1350" y="1020"/>
                </a:moveTo>
                <a:lnTo>
                  <a:pt x="1350" y="1026"/>
                </a:lnTo>
                <a:lnTo>
                  <a:pt x="1344" y="1026"/>
                </a:lnTo>
                <a:lnTo>
                  <a:pt x="1338" y="1032"/>
                </a:lnTo>
                <a:lnTo>
                  <a:pt x="1332" y="1026"/>
                </a:lnTo>
                <a:lnTo>
                  <a:pt x="1326" y="1026"/>
                </a:lnTo>
                <a:lnTo>
                  <a:pt x="1320" y="1020"/>
                </a:lnTo>
                <a:lnTo>
                  <a:pt x="1314" y="1026"/>
                </a:lnTo>
                <a:lnTo>
                  <a:pt x="1314" y="1032"/>
                </a:lnTo>
                <a:lnTo>
                  <a:pt x="1308" y="1038"/>
                </a:lnTo>
                <a:lnTo>
                  <a:pt x="1308" y="1044"/>
                </a:lnTo>
                <a:lnTo>
                  <a:pt x="1308" y="1050"/>
                </a:lnTo>
                <a:lnTo>
                  <a:pt x="1308" y="1056"/>
                </a:lnTo>
                <a:lnTo>
                  <a:pt x="1308" y="1062"/>
                </a:lnTo>
                <a:lnTo>
                  <a:pt x="1296" y="1068"/>
                </a:lnTo>
                <a:lnTo>
                  <a:pt x="1284" y="1074"/>
                </a:lnTo>
                <a:lnTo>
                  <a:pt x="1272" y="1080"/>
                </a:lnTo>
                <a:lnTo>
                  <a:pt x="1260" y="1080"/>
                </a:lnTo>
                <a:lnTo>
                  <a:pt x="1254" y="1074"/>
                </a:lnTo>
                <a:lnTo>
                  <a:pt x="1236" y="1074"/>
                </a:lnTo>
                <a:lnTo>
                  <a:pt x="1230" y="1074"/>
                </a:lnTo>
                <a:lnTo>
                  <a:pt x="1236" y="1074"/>
                </a:lnTo>
                <a:lnTo>
                  <a:pt x="1236" y="1068"/>
                </a:lnTo>
                <a:lnTo>
                  <a:pt x="1236" y="1062"/>
                </a:lnTo>
                <a:lnTo>
                  <a:pt x="1236" y="1056"/>
                </a:lnTo>
                <a:lnTo>
                  <a:pt x="1242" y="1050"/>
                </a:lnTo>
                <a:lnTo>
                  <a:pt x="1242" y="1044"/>
                </a:lnTo>
                <a:lnTo>
                  <a:pt x="1242" y="1038"/>
                </a:lnTo>
                <a:lnTo>
                  <a:pt x="1248" y="1032"/>
                </a:lnTo>
                <a:lnTo>
                  <a:pt x="1236" y="1026"/>
                </a:lnTo>
                <a:lnTo>
                  <a:pt x="1218" y="1020"/>
                </a:lnTo>
                <a:lnTo>
                  <a:pt x="1224" y="1014"/>
                </a:lnTo>
                <a:lnTo>
                  <a:pt x="1218" y="1008"/>
                </a:lnTo>
                <a:lnTo>
                  <a:pt x="1218" y="1002"/>
                </a:lnTo>
                <a:lnTo>
                  <a:pt x="1212" y="1008"/>
                </a:lnTo>
                <a:lnTo>
                  <a:pt x="1206" y="1002"/>
                </a:lnTo>
                <a:lnTo>
                  <a:pt x="1212" y="1002"/>
                </a:lnTo>
                <a:lnTo>
                  <a:pt x="1212" y="996"/>
                </a:lnTo>
                <a:lnTo>
                  <a:pt x="1200" y="990"/>
                </a:lnTo>
                <a:lnTo>
                  <a:pt x="1200" y="984"/>
                </a:lnTo>
                <a:lnTo>
                  <a:pt x="1188" y="984"/>
                </a:lnTo>
                <a:lnTo>
                  <a:pt x="1176" y="978"/>
                </a:lnTo>
                <a:lnTo>
                  <a:pt x="1164" y="960"/>
                </a:lnTo>
                <a:lnTo>
                  <a:pt x="1152" y="936"/>
                </a:lnTo>
                <a:lnTo>
                  <a:pt x="1146" y="936"/>
                </a:lnTo>
                <a:lnTo>
                  <a:pt x="1128" y="900"/>
                </a:lnTo>
                <a:lnTo>
                  <a:pt x="1038" y="912"/>
                </a:lnTo>
                <a:lnTo>
                  <a:pt x="1038" y="918"/>
                </a:lnTo>
                <a:lnTo>
                  <a:pt x="1032" y="924"/>
                </a:lnTo>
                <a:lnTo>
                  <a:pt x="1026" y="918"/>
                </a:lnTo>
                <a:lnTo>
                  <a:pt x="1020" y="924"/>
                </a:lnTo>
                <a:lnTo>
                  <a:pt x="1008" y="936"/>
                </a:lnTo>
                <a:lnTo>
                  <a:pt x="990" y="936"/>
                </a:lnTo>
                <a:lnTo>
                  <a:pt x="990" y="942"/>
                </a:lnTo>
                <a:lnTo>
                  <a:pt x="996" y="942"/>
                </a:lnTo>
                <a:lnTo>
                  <a:pt x="984" y="948"/>
                </a:lnTo>
                <a:lnTo>
                  <a:pt x="972" y="948"/>
                </a:lnTo>
                <a:lnTo>
                  <a:pt x="960" y="948"/>
                </a:lnTo>
                <a:lnTo>
                  <a:pt x="948" y="942"/>
                </a:lnTo>
                <a:lnTo>
                  <a:pt x="948" y="936"/>
                </a:lnTo>
                <a:lnTo>
                  <a:pt x="942" y="936"/>
                </a:lnTo>
                <a:lnTo>
                  <a:pt x="942" y="930"/>
                </a:lnTo>
                <a:lnTo>
                  <a:pt x="942" y="924"/>
                </a:lnTo>
                <a:lnTo>
                  <a:pt x="930" y="924"/>
                </a:lnTo>
                <a:lnTo>
                  <a:pt x="936" y="918"/>
                </a:lnTo>
                <a:lnTo>
                  <a:pt x="918" y="918"/>
                </a:lnTo>
                <a:lnTo>
                  <a:pt x="918" y="900"/>
                </a:lnTo>
                <a:lnTo>
                  <a:pt x="924" y="900"/>
                </a:lnTo>
                <a:lnTo>
                  <a:pt x="924" y="894"/>
                </a:lnTo>
                <a:lnTo>
                  <a:pt x="924" y="870"/>
                </a:lnTo>
                <a:lnTo>
                  <a:pt x="924" y="864"/>
                </a:lnTo>
                <a:lnTo>
                  <a:pt x="918" y="858"/>
                </a:lnTo>
                <a:lnTo>
                  <a:pt x="918" y="852"/>
                </a:lnTo>
                <a:lnTo>
                  <a:pt x="906" y="840"/>
                </a:lnTo>
                <a:lnTo>
                  <a:pt x="894" y="834"/>
                </a:lnTo>
                <a:lnTo>
                  <a:pt x="876" y="822"/>
                </a:lnTo>
                <a:lnTo>
                  <a:pt x="870" y="828"/>
                </a:lnTo>
                <a:lnTo>
                  <a:pt x="858" y="816"/>
                </a:lnTo>
                <a:lnTo>
                  <a:pt x="810" y="798"/>
                </a:lnTo>
                <a:lnTo>
                  <a:pt x="774" y="792"/>
                </a:lnTo>
                <a:lnTo>
                  <a:pt x="732" y="798"/>
                </a:lnTo>
                <a:lnTo>
                  <a:pt x="726" y="804"/>
                </a:lnTo>
                <a:lnTo>
                  <a:pt x="714" y="810"/>
                </a:lnTo>
                <a:lnTo>
                  <a:pt x="702" y="810"/>
                </a:lnTo>
                <a:lnTo>
                  <a:pt x="690" y="810"/>
                </a:lnTo>
                <a:lnTo>
                  <a:pt x="696" y="816"/>
                </a:lnTo>
                <a:lnTo>
                  <a:pt x="696" y="822"/>
                </a:lnTo>
                <a:lnTo>
                  <a:pt x="702" y="822"/>
                </a:lnTo>
                <a:lnTo>
                  <a:pt x="708" y="822"/>
                </a:lnTo>
                <a:lnTo>
                  <a:pt x="708" y="828"/>
                </a:lnTo>
                <a:lnTo>
                  <a:pt x="708" y="834"/>
                </a:lnTo>
                <a:lnTo>
                  <a:pt x="714" y="834"/>
                </a:lnTo>
                <a:lnTo>
                  <a:pt x="708" y="846"/>
                </a:lnTo>
                <a:lnTo>
                  <a:pt x="708" y="852"/>
                </a:lnTo>
                <a:lnTo>
                  <a:pt x="702" y="852"/>
                </a:lnTo>
                <a:lnTo>
                  <a:pt x="696" y="858"/>
                </a:lnTo>
                <a:lnTo>
                  <a:pt x="690" y="864"/>
                </a:lnTo>
                <a:lnTo>
                  <a:pt x="666" y="870"/>
                </a:lnTo>
                <a:lnTo>
                  <a:pt x="660" y="876"/>
                </a:lnTo>
                <a:lnTo>
                  <a:pt x="642" y="876"/>
                </a:lnTo>
                <a:lnTo>
                  <a:pt x="606" y="882"/>
                </a:lnTo>
                <a:lnTo>
                  <a:pt x="588" y="882"/>
                </a:lnTo>
                <a:lnTo>
                  <a:pt x="582" y="876"/>
                </a:lnTo>
                <a:lnTo>
                  <a:pt x="576" y="876"/>
                </a:lnTo>
                <a:lnTo>
                  <a:pt x="564" y="876"/>
                </a:lnTo>
                <a:lnTo>
                  <a:pt x="552" y="882"/>
                </a:lnTo>
                <a:lnTo>
                  <a:pt x="540" y="894"/>
                </a:lnTo>
                <a:lnTo>
                  <a:pt x="534" y="906"/>
                </a:lnTo>
                <a:lnTo>
                  <a:pt x="528" y="912"/>
                </a:lnTo>
                <a:lnTo>
                  <a:pt x="516" y="924"/>
                </a:lnTo>
                <a:lnTo>
                  <a:pt x="486" y="930"/>
                </a:lnTo>
                <a:lnTo>
                  <a:pt x="474" y="912"/>
                </a:lnTo>
                <a:lnTo>
                  <a:pt x="474" y="906"/>
                </a:lnTo>
                <a:lnTo>
                  <a:pt x="468" y="906"/>
                </a:lnTo>
                <a:lnTo>
                  <a:pt x="468" y="900"/>
                </a:lnTo>
                <a:lnTo>
                  <a:pt x="462" y="894"/>
                </a:lnTo>
                <a:lnTo>
                  <a:pt x="456" y="894"/>
                </a:lnTo>
                <a:lnTo>
                  <a:pt x="462" y="888"/>
                </a:lnTo>
                <a:lnTo>
                  <a:pt x="468" y="888"/>
                </a:lnTo>
                <a:lnTo>
                  <a:pt x="462" y="882"/>
                </a:lnTo>
                <a:lnTo>
                  <a:pt x="462" y="876"/>
                </a:lnTo>
                <a:lnTo>
                  <a:pt x="456" y="870"/>
                </a:lnTo>
                <a:lnTo>
                  <a:pt x="456" y="864"/>
                </a:lnTo>
                <a:lnTo>
                  <a:pt x="450" y="858"/>
                </a:lnTo>
                <a:lnTo>
                  <a:pt x="444" y="858"/>
                </a:lnTo>
                <a:lnTo>
                  <a:pt x="444" y="852"/>
                </a:lnTo>
                <a:lnTo>
                  <a:pt x="438" y="852"/>
                </a:lnTo>
                <a:lnTo>
                  <a:pt x="438" y="858"/>
                </a:lnTo>
                <a:lnTo>
                  <a:pt x="402" y="870"/>
                </a:lnTo>
                <a:lnTo>
                  <a:pt x="390" y="882"/>
                </a:lnTo>
                <a:lnTo>
                  <a:pt x="384" y="900"/>
                </a:lnTo>
                <a:lnTo>
                  <a:pt x="342" y="900"/>
                </a:lnTo>
                <a:lnTo>
                  <a:pt x="324" y="900"/>
                </a:lnTo>
                <a:lnTo>
                  <a:pt x="294" y="906"/>
                </a:lnTo>
                <a:lnTo>
                  <a:pt x="282" y="948"/>
                </a:lnTo>
                <a:lnTo>
                  <a:pt x="282" y="978"/>
                </a:lnTo>
                <a:lnTo>
                  <a:pt x="270" y="1008"/>
                </a:lnTo>
                <a:lnTo>
                  <a:pt x="240" y="1014"/>
                </a:lnTo>
                <a:lnTo>
                  <a:pt x="216" y="996"/>
                </a:lnTo>
                <a:lnTo>
                  <a:pt x="204" y="984"/>
                </a:lnTo>
                <a:lnTo>
                  <a:pt x="192" y="966"/>
                </a:lnTo>
                <a:lnTo>
                  <a:pt x="186" y="948"/>
                </a:lnTo>
                <a:lnTo>
                  <a:pt x="174" y="948"/>
                </a:lnTo>
                <a:lnTo>
                  <a:pt x="174" y="936"/>
                </a:lnTo>
                <a:lnTo>
                  <a:pt x="186" y="924"/>
                </a:lnTo>
                <a:lnTo>
                  <a:pt x="198" y="906"/>
                </a:lnTo>
                <a:lnTo>
                  <a:pt x="204" y="888"/>
                </a:lnTo>
                <a:lnTo>
                  <a:pt x="222" y="870"/>
                </a:lnTo>
                <a:lnTo>
                  <a:pt x="234" y="858"/>
                </a:lnTo>
                <a:lnTo>
                  <a:pt x="234" y="852"/>
                </a:lnTo>
                <a:lnTo>
                  <a:pt x="222" y="852"/>
                </a:lnTo>
                <a:lnTo>
                  <a:pt x="228" y="810"/>
                </a:lnTo>
                <a:lnTo>
                  <a:pt x="222" y="798"/>
                </a:lnTo>
                <a:lnTo>
                  <a:pt x="216" y="798"/>
                </a:lnTo>
                <a:lnTo>
                  <a:pt x="216" y="792"/>
                </a:lnTo>
                <a:lnTo>
                  <a:pt x="210" y="792"/>
                </a:lnTo>
                <a:lnTo>
                  <a:pt x="204" y="798"/>
                </a:lnTo>
                <a:lnTo>
                  <a:pt x="204" y="792"/>
                </a:lnTo>
                <a:lnTo>
                  <a:pt x="198" y="792"/>
                </a:lnTo>
                <a:lnTo>
                  <a:pt x="192" y="792"/>
                </a:lnTo>
                <a:lnTo>
                  <a:pt x="186" y="792"/>
                </a:lnTo>
                <a:lnTo>
                  <a:pt x="180" y="786"/>
                </a:lnTo>
                <a:lnTo>
                  <a:pt x="174" y="792"/>
                </a:lnTo>
                <a:lnTo>
                  <a:pt x="162" y="792"/>
                </a:lnTo>
                <a:lnTo>
                  <a:pt x="156" y="792"/>
                </a:lnTo>
                <a:lnTo>
                  <a:pt x="156" y="798"/>
                </a:lnTo>
                <a:lnTo>
                  <a:pt x="138" y="792"/>
                </a:lnTo>
                <a:lnTo>
                  <a:pt x="126" y="792"/>
                </a:lnTo>
                <a:lnTo>
                  <a:pt x="126" y="798"/>
                </a:lnTo>
                <a:lnTo>
                  <a:pt x="126" y="804"/>
                </a:lnTo>
                <a:lnTo>
                  <a:pt x="102" y="810"/>
                </a:lnTo>
                <a:lnTo>
                  <a:pt x="90" y="810"/>
                </a:lnTo>
                <a:lnTo>
                  <a:pt x="72" y="798"/>
                </a:lnTo>
                <a:lnTo>
                  <a:pt x="66" y="780"/>
                </a:lnTo>
                <a:lnTo>
                  <a:pt x="60" y="780"/>
                </a:lnTo>
                <a:lnTo>
                  <a:pt x="60" y="768"/>
                </a:lnTo>
                <a:lnTo>
                  <a:pt x="54" y="768"/>
                </a:lnTo>
                <a:lnTo>
                  <a:pt x="24" y="756"/>
                </a:lnTo>
                <a:lnTo>
                  <a:pt x="18" y="744"/>
                </a:lnTo>
                <a:lnTo>
                  <a:pt x="12" y="738"/>
                </a:lnTo>
                <a:lnTo>
                  <a:pt x="18" y="732"/>
                </a:lnTo>
                <a:lnTo>
                  <a:pt x="12" y="726"/>
                </a:lnTo>
                <a:lnTo>
                  <a:pt x="6" y="714"/>
                </a:lnTo>
                <a:lnTo>
                  <a:pt x="0" y="702"/>
                </a:lnTo>
                <a:lnTo>
                  <a:pt x="0" y="696"/>
                </a:lnTo>
                <a:lnTo>
                  <a:pt x="18" y="696"/>
                </a:lnTo>
                <a:lnTo>
                  <a:pt x="24" y="708"/>
                </a:lnTo>
                <a:lnTo>
                  <a:pt x="36" y="702"/>
                </a:lnTo>
                <a:lnTo>
                  <a:pt x="36" y="678"/>
                </a:lnTo>
                <a:lnTo>
                  <a:pt x="36" y="660"/>
                </a:lnTo>
                <a:lnTo>
                  <a:pt x="42" y="654"/>
                </a:lnTo>
                <a:lnTo>
                  <a:pt x="48" y="642"/>
                </a:lnTo>
                <a:lnTo>
                  <a:pt x="54" y="642"/>
                </a:lnTo>
                <a:lnTo>
                  <a:pt x="72" y="624"/>
                </a:lnTo>
                <a:lnTo>
                  <a:pt x="90" y="618"/>
                </a:lnTo>
                <a:lnTo>
                  <a:pt x="102" y="618"/>
                </a:lnTo>
                <a:lnTo>
                  <a:pt x="114" y="612"/>
                </a:lnTo>
                <a:lnTo>
                  <a:pt x="138" y="606"/>
                </a:lnTo>
                <a:lnTo>
                  <a:pt x="144" y="606"/>
                </a:lnTo>
                <a:lnTo>
                  <a:pt x="150" y="594"/>
                </a:lnTo>
                <a:lnTo>
                  <a:pt x="156" y="576"/>
                </a:lnTo>
                <a:lnTo>
                  <a:pt x="168" y="552"/>
                </a:lnTo>
                <a:lnTo>
                  <a:pt x="168" y="540"/>
                </a:lnTo>
                <a:lnTo>
                  <a:pt x="180" y="522"/>
                </a:lnTo>
                <a:lnTo>
                  <a:pt x="186" y="498"/>
                </a:lnTo>
                <a:lnTo>
                  <a:pt x="198" y="480"/>
                </a:lnTo>
                <a:lnTo>
                  <a:pt x="204" y="486"/>
                </a:lnTo>
                <a:lnTo>
                  <a:pt x="210" y="480"/>
                </a:lnTo>
                <a:lnTo>
                  <a:pt x="204" y="474"/>
                </a:lnTo>
                <a:lnTo>
                  <a:pt x="198" y="462"/>
                </a:lnTo>
                <a:lnTo>
                  <a:pt x="192" y="456"/>
                </a:lnTo>
                <a:lnTo>
                  <a:pt x="150" y="462"/>
                </a:lnTo>
                <a:lnTo>
                  <a:pt x="144" y="462"/>
                </a:lnTo>
                <a:lnTo>
                  <a:pt x="138" y="450"/>
                </a:lnTo>
                <a:lnTo>
                  <a:pt x="132" y="426"/>
                </a:lnTo>
                <a:lnTo>
                  <a:pt x="132" y="396"/>
                </a:lnTo>
                <a:lnTo>
                  <a:pt x="132" y="378"/>
                </a:lnTo>
                <a:lnTo>
                  <a:pt x="126" y="348"/>
                </a:lnTo>
                <a:lnTo>
                  <a:pt x="132" y="312"/>
                </a:lnTo>
                <a:lnTo>
                  <a:pt x="126" y="288"/>
                </a:lnTo>
                <a:lnTo>
                  <a:pt x="138" y="282"/>
                </a:lnTo>
                <a:lnTo>
                  <a:pt x="126" y="264"/>
                </a:lnTo>
                <a:lnTo>
                  <a:pt x="126" y="258"/>
                </a:lnTo>
                <a:lnTo>
                  <a:pt x="120" y="246"/>
                </a:lnTo>
                <a:lnTo>
                  <a:pt x="126" y="234"/>
                </a:lnTo>
                <a:lnTo>
                  <a:pt x="114" y="228"/>
                </a:lnTo>
                <a:lnTo>
                  <a:pt x="114" y="222"/>
                </a:lnTo>
                <a:lnTo>
                  <a:pt x="96" y="204"/>
                </a:lnTo>
                <a:lnTo>
                  <a:pt x="84" y="180"/>
                </a:lnTo>
                <a:lnTo>
                  <a:pt x="78" y="168"/>
                </a:lnTo>
                <a:lnTo>
                  <a:pt x="72" y="162"/>
                </a:lnTo>
                <a:lnTo>
                  <a:pt x="66" y="144"/>
                </a:lnTo>
                <a:lnTo>
                  <a:pt x="60" y="138"/>
                </a:lnTo>
                <a:lnTo>
                  <a:pt x="66" y="126"/>
                </a:lnTo>
                <a:lnTo>
                  <a:pt x="66" y="114"/>
                </a:lnTo>
                <a:lnTo>
                  <a:pt x="72" y="114"/>
                </a:lnTo>
                <a:lnTo>
                  <a:pt x="72" y="108"/>
                </a:lnTo>
                <a:lnTo>
                  <a:pt x="78" y="102"/>
                </a:lnTo>
                <a:lnTo>
                  <a:pt x="78" y="90"/>
                </a:lnTo>
                <a:lnTo>
                  <a:pt x="78" y="84"/>
                </a:lnTo>
                <a:lnTo>
                  <a:pt x="84" y="72"/>
                </a:lnTo>
                <a:lnTo>
                  <a:pt x="102" y="72"/>
                </a:lnTo>
                <a:lnTo>
                  <a:pt x="108" y="72"/>
                </a:lnTo>
                <a:lnTo>
                  <a:pt x="120" y="78"/>
                </a:lnTo>
                <a:lnTo>
                  <a:pt x="144" y="84"/>
                </a:lnTo>
                <a:lnTo>
                  <a:pt x="150" y="84"/>
                </a:lnTo>
                <a:lnTo>
                  <a:pt x="156" y="84"/>
                </a:lnTo>
                <a:lnTo>
                  <a:pt x="156" y="90"/>
                </a:lnTo>
                <a:lnTo>
                  <a:pt x="162" y="90"/>
                </a:lnTo>
                <a:lnTo>
                  <a:pt x="174" y="96"/>
                </a:lnTo>
                <a:lnTo>
                  <a:pt x="180" y="96"/>
                </a:lnTo>
                <a:lnTo>
                  <a:pt x="186" y="96"/>
                </a:lnTo>
                <a:lnTo>
                  <a:pt x="192" y="102"/>
                </a:lnTo>
                <a:lnTo>
                  <a:pt x="198" y="96"/>
                </a:lnTo>
                <a:lnTo>
                  <a:pt x="204" y="96"/>
                </a:lnTo>
                <a:lnTo>
                  <a:pt x="204" y="102"/>
                </a:lnTo>
                <a:lnTo>
                  <a:pt x="210" y="102"/>
                </a:lnTo>
                <a:lnTo>
                  <a:pt x="216" y="102"/>
                </a:lnTo>
                <a:lnTo>
                  <a:pt x="216" y="96"/>
                </a:lnTo>
                <a:lnTo>
                  <a:pt x="222" y="96"/>
                </a:lnTo>
                <a:lnTo>
                  <a:pt x="228" y="96"/>
                </a:lnTo>
                <a:lnTo>
                  <a:pt x="228" y="102"/>
                </a:lnTo>
                <a:lnTo>
                  <a:pt x="234" y="102"/>
                </a:lnTo>
                <a:lnTo>
                  <a:pt x="240" y="102"/>
                </a:lnTo>
                <a:lnTo>
                  <a:pt x="252" y="102"/>
                </a:lnTo>
                <a:lnTo>
                  <a:pt x="252" y="108"/>
                </a:lnTo>
                <a:lnTo>
                  <a:pt x="264" y="108"/>
                </a:lnTo>
                <a:lnTo>
                  <a:pt x="270" y="108"/>
                </a:lnTo>
                <a:lnTo>
                  <a:pt x="276" y="108"/>
                </a:lnTo>
                <a:lnTo>
                  <a:pt x="294" y="114"/>
                </a:lnTo>
                <a:lnTo>
                  <a:pt x="312" y="120"/>
                </a:lnTo>
                <a:lnTo>
                  <a:pt x="318" y="126"/>
                </a:lnTo>
                <a:lnTo>
                  <a:pt x="330" y="132"/>
                </a:lnTo>
                <a:lnTo>
                  <a:pt x="342" y="132"/>
                </a:lnTo>
                <a:lnTo>
                  <a:pt x="348" y="132"/>
                </a:lnTo>
                <a:lnTo>
                  <a:pt x="354" y="138"/>
                </a:lnTo>
                <a:lnTo>
                  <a:pt x="366" y="138"/>
                </a:lnTo>
                <a:lnTo>
                  <a:pt x="372" y="144"/>
                </a:lnTo>
                <a:lnTo>
                  <a:pt x="378" y="150"/>
                </a:lnTo>
                <a:lnTo>
                  <a:pt x="384" y="150"/>
                </a:lnTo>
                <a:lnTo>
                  <a:pt x="390" y="150"/>
                </a:lnTo>
                <a:lnTo>
                  <a:pt x="396" y="150"/>
                </a:lnTo>
                <a:lnTo>
                  <a:pt x="402" y="150"/>
                </a:lnTo>
                <a:lnTo>
                  <a:pt x="414" y="156"/>
                </a:lnTo>
                <a:lnTo>
                  <a:pt x="420" y="156"/>
                </a:lnTo>
                <a:lnTo>
                  <a:pt x="426" y="162"/>
                </a:lnTo>
                <a:lnTo>
                  <a:pt x="438" y="168"/>
                </a:lnTo>
                <a:lnTo>
                  <a:pt x="444" y="174"/>
                </a:lnTo>
                <a:lnTo>
                  <a:pt x="450" y="174"/>
                </a:lnTo>
                <a:lnTo>
                  <a:pt x="462" y="174"/>
                </a:lnTo>
                <a:lnTo>
                  <a:pt x="468" y="174"/>
                </a:lnTo>
                <a:lnTo>
                  <a:pt x="474" y="174"/>
                </a:lnTo>
                <a:lnTo>
                  <a:pt x="474" y="180"/>
                </a:lnTo>
                <a:lnTo>
                  <a:pt x="480" y="192"/>
                </a:lnTo>
                <a:lnTo>
                  <a:pt x="498" y="198"/>
                </a:lnTo>
                <a:lnTo>
                  <a:pt x="510" y="210"/>
                </a:lnTo>
                <a:lnTo>
                  <a:pt x="516" y="210"/>
                </a:lnTo>
                <a:lnTo>
                  <a:pt x="522" y="210"/>
                </a:lnTo>
                <a:lnTo>
                  <a:pt x="534" y="216"/>
                </a:lnTo>
                <a:lnTo>
                  <a:pt x="540" y="216"/>
                </a:lnTo>
                <a:lnTo>
                  <a:pt x="546" y="222"/>
                </a:lnTo>
                <a:lnTo>
                  <a:pt x="552" y="222"/>
                </a:lnTo>
                <a:lnTo>
                  <a:pt x="558" y="228"/>
                </a:lnTo>
                <a:lnTo>
                  <a:pt x="564" y="228"/>
                </a:lnTo>
                <a:lnTo>
                  <a:pt x="570" y="234"/>
                </a:lnTo>
                <a:lnTo>
                  <a:pt x="576" y="240"/>
                </a:lnTo>
                <a:lnTo>
                  <a:pt x="582" y="240"/>
                </a:lnTo>
                <a:lnTo>
                  <a:pt x="588" y="240"/>
                </a:lnTo>
                <a:lnTo>
                  <a:pt x="594" y="240"/>
                </a:lnTo>
                <a:lnTo>
                  <a:pt x="600" y="228"/>
                </a:lnTo>
                <a:lnTo>
                  <a:pt x="588" y="216"/>
                </a:lnTo>
                <a:lnTo>
                  <a:pt x="588" y="198"/>
                </a:lnTo>
                <a:lnTo>
                  <a:pt x="582" y="198"/>
                </a:lnTo>
                <a:lnTo>
                  <a:pt x="588" y="192"/>
                </a:lnTo>
                <a:lnTo>
                  <a:pt x="582" y="168"/>
                </a:lnTo>
                <a:lnTo>
                  <a:pt x="558" y="114"/>
                </a:lnTo>
                <a:lnTo>
                  <a:pt x="552" y="90"/>
                </a:lnTo>
                <a:lnTo>
                  <a:pt x="558" y="60"/>
                </a:lnTo>
                <a:lnTo>
                  <a:pt x="564" y="48"/>
                </a:lnTo>
                <a:lnTo>
                  <a:pt x="582" y="42"/>
                </a:lnTo>
                <a:lnTo>
                  <a:pt x="624" y="6"/>
                </a:lnTo>
                <a:lnTo>
                  <a:pt x="648" y="0"/>
                </a:lnTo>
                <a:lnTo>
                  <a:pt x="678" y="0"/>
                </a:lnTo>
                <a:lnTo>
                  <a:pt x="720" y="12"/>
                </a:lnTo>
                <a:lnTo>
                  <a:pt x="744" y="24"/>
                </a:lnTo>
                <a:lnTo>
                  <a:pt x="768" y="42"/>
                </a:lnTo>
                <a:lnTo>
                  <a:pt x="816" y="48"/>
                </a:lnTo>
                <a:lnTo>
                  <a:pt x="834" y="48"/>
                </a:lnTo>
                <a:lnTo>
                  <a:pt x="852" y="54"/>
                </a:lnTo>
                <a:lnTo>
                  <a:pt x="906" y="60"/>
                </a:lnTo>
                <a:lnTo>
                  <a:pt x="948" y="54"/>
                </a:lnTo>
                <a:lnTo>
                  <a:pt x="978" y="42"/>
                </a:lnTo>
                <a:lnTo>
                  <a:pt x="984" y="48"/>
                </a:lnTo>
                <a:lnTo>
                  <a:pt x="990" y="60"/>
                </a:lnTo>
                <a:lnTo>
                  <a:pt x="996" y="66"/>
                </a:lnTo>
                <a:lnTo>
                  <a:pt x="1002" y="72"/>
                </a:lnTo>
                <a:lnTo>
                  <a:pt x="1014" y="78"/>
                </a:lnTo>
                <a:lnTo>
                  <a:pt x="1014" y="84"/>
                </a:lnTo>
                <a:lnTo>
                  <a:pt x="1032" y="84"/>
                </a:lnTo>
                <a:lnTo>
                  <a:pt x="1032" y="90"/>
                </a:lnTo>
                <a:lnTo>
                  <a:pt x="1032" y="96"/>
                </a:lnTo>
                <a:lnTo>
                  <a:pt x="1032" y="108"/>
                </a:lnTo>
                <a:lnTo>
                  <a:pt x="1056" y="126"/>
                </a:lnTo>
                <a:lnTo>
                  <a:pt x="1068" y="138"/>
                </a:lnTo>
                <a:lnTo>
                  <a:pt x="1068" y="156"/>
                </a:lnTo>
                <a:lnTo>
                  <a:pt x="1080" y="150"/>
                </a:lnTo>
                <a:lnTo>
                  <a:pt x="1086" y="150"/>
                </a:lnTo>
                <a:lnTo>
                  <a:pt x="1092" y="156"/>
                </a:lnTo>
                <a:lnTo>
                  <a:pt x="1092" y="162"/>
                </a:lnTo>
                <a:lnTo>
                  <a:pt x="1092" y="168"/>
                </a:lnTo>
                <a:lnTo>
                  <a:pt x="1098" y="168"/>
                </a:lnTo>
                <a:lnTo>
                  <a:pt x="1092" y="180"/>
                </a:lnTo>
                <a:lnTo>
                  <a:pt x="1092" y="186"/>
                </a:lnTo>
                <a:lnTo>
                  <a:pt x="1086" y="192"/>
                </a:lnTo>
                <a:lnTo>
                  <a:pt x="1068" y="210"/>
                </a:lnTo>
                <a:lnTo>
                  <a:pt x="1068" y="216"/>
                </a:lnTo>
                <a:lnTo>
                  <a:pt x="1074" y="228"/>
                </a:lnTo>
                <a:lnTo>
                  <a:pt x="1092" y="234"/>
                </a:lnTo>
                <a:lnTo>
                  <a:pt x="1122" y="216"/>
                </a:lnTo>
                <a:lnTo>
                  <a:pt x="1188" y="204"/>
                </a:lnTo>
                <a:lnTo>
                  <a:pt x="1212" y="204"/>
                </a:lnTo>
                <a:lnTo>
                  <a:pt x="1230" y="198"/>
                </a:lnTo>
                <a:lnTo>
                  <a:pt x="1236" y="204"/>
                </a:lnTo>
                <a:lnTo>
                  <a:pt x="1242" y="210"/>
                </a:lnTo>
                <a:lnTo>
                  <a:pt x="1242" y="204"/>
                </a:lnTo>
                <a:lnTo>
                  <a:pt x="1248" y="198"/>
                </a:lnTo>
                <a:lnTo>
                  <a:pt x="1308" y="204"/>
                </a:lnTo>
                <a:lnTo>
                  <a:pt x="1338" y="204"/>
                </a:lnTo>
                <a:lnTo>
                  <a:pt x="1374" y="228"/>
                </a:lnTo>
                <a:lnTo>
                  <a:pt x="1380" y="234"/>
                </a:lnTo>
                <a:lnTo>
                  <a:pt x="1380" y="240"/>
                </a:lnTo>
                <a:lnTo>
                  <a:pt x="1386" y="252"/>
                </a:lnTo>
                <a:lnTo>
                  <a:pt x="1392" y="252"/>
                </a:lnTo>
                <a:lnTo>
                  <a:pt x="1416" y="270"/>
                </a:lnTo>
                <a:lnTo>
                  <a:pt x="1428" y="294"/>
                </a:lnTo>
                <a:lnTo>
                  <a:pt x="1440" y="312"/>
                </a:lnTo>
                <a:lnTo>
                  <a:pt x="1452" y="330"/>
                </a:lnTo>
                <a:lnTo>
                  <a:pt x="1464" y="330"/>
                </a:lnTo>
                <a:lnTo>
                  <a:pt x="1464" y="336"/>
                </a:lnTo>
                <a:lnTo>
                  <a:pt x="1470" y="336"/>
                </a:lnTo>
                <a:lnTo>
                  <a:pt x="1470" y="342"/>
                </a:lnTo>
                <a:lnTo>
                  <a:pt x="1476" y="342"/>
                </a:lnTo>
                <a:lnTo>
                  <a:pt x="1488" y="336"/>
                </a:lnTo>
                <a:lnTo>
                  <a:pt x="1494" y="342"/>
                </a:lnTo>
                <a:lnTo>
                  <a:pt x="1500" y="342"/>
                </a:lnTo>
                <a:lnTo>
                  <a:pt x="1512" y="366"/>
                </a:lnTo>
                <a:lnTo>
                  <a:pt x="1530" y="396"/>
                </a:lnTo>
                <a:lnTo>
                  <a:pt x="1536" y="444"/>
                </a:lnTo>
                <a:lnTo>
                  <a:pt x="1530" y="480"/>
                </a:lnTo>
                <a:lnTo>
                  <a:pt x="1506" y="510"/>
                </a:lnTo>
                <a:lnTo>
                  <a:pt x="1500" y="546"/>
                </a:lnTo>
                <a:lnTo>
                  <a:pt x="1494" y="564"/>
                </a:lnTo>
                <a:lnTo>
                  <a:pt x="1494" y="576"/>
                </a:lnTo>
                <a:lnTo>
                  <a:pt x="1500" y="582"/>
                </a:lnTo>
                <a:lnTo>
                  <a:pt x="1494" y="612"/>
                </a:lnTo>
                <a:lnTo>
                  <a:pt x="1476" y="630"/>
                </a:lnTo>
                <a:lnTo>
                  <a:pt x="1434" y="672"/>
                </a:lnTo>
                <a:lnTo>
                  <a:pt x="1392" y="756"/>
                </a:lnTo>
                <a:lnTo>
                  <a:pt x="1380" y="792"/>
                </a:lnTo>
                <a:lnTo>
                  <a:pt x="1374" y="798"/>
                </a:lnTo>
                <a:lnTo>
                  <a:pt x="1368" y="798"/>
                </a:lnTo>
                <a:lnTo>
                  <a:pt x="1380" y="804"/>
                </a:lnTo>
                <a:lnTo>
                  <a:pt x="1386" y="804"/>
                </a:lnTo>
                <a:lnTo>
                  <a:pt x="1380" y="822"/>
                </a:lnTo>
                <a:lnTo>
                  <a:pt x="1380" y="852"/>
                </a:lnTo>
                <a:lnTo>
                  <a:pt x="1374" y="858"/>
                </a:lnTo>
                <a:lnTo>
                  <a:pt x="1380" y="858"/>
                </a:lnTo>
                <a:lnTo>
                  <a:pt x="1374" y="864"/>
                </a:lnTo>
                <a:lnTo>
                  <a:pt x="1374" y="870"/>
                </a:lnTo>
                <a:lnTo>
                  <a:pt x="1374" y="876"/>
                </a:lnTo>
                <a:lnTo>
                  <a:pt x="1368" y="900"/>
                </a:lnTo>
                <a:lnTo>
                  <a:pt x="1362" y="906"/>
                </a:lnTo>
                <a:lnTo>
                  <a:pt x="1362" y="918"/>
                </a:lnTo>
                <a:lnTo>
                  <a:pt x="1362" y="924"/>
                </a:lnTo>
                <a:lnTo>
                  <a:pt x="1356" y="942"/>
                </a:lnTo>
                <a:lnTo>
                  <a:pt x="1350" y="972"/>
                </a:lnTo>
                <a:lnTo>
                  <a:pt x="1350" y="1014"/>
                </a:lnTo>
                <a:lnTo>
                  <a:pt x="1350" y="1020"/>
                </a:lnTo>
                <a:close/>
              </a:path>
            </a:pathLst>
          </a:cu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66" name="Freeform 22">
            <a:extLst>
              <a:ext uri="{FF2B5EF4-FFF2-40B4-BE49-F238E27FC236}">
                <a16:creationId xmlns:a16="http://schemas.microsoft.com/office/drawing/2014/main" id="{2F7256FD-43DE-4556-B9CB-8D6E45FD7211}"/>
              </a:ext>
            </a:extLst>
          </p:cNvPr>
          <p:cNvSpPr>
            <a:spLocks noEditPoints="1"/>
          </p:cNvSpPr>
          <p:nvPr/>
        </p:nvSpPr>
        <p:spPr bwMode="gray">
          <a:xfrm>
            <a:off x="3719774" y="4762146"/>
            <a:ext cx="657715" cy="555315"/>
          </a:xfrm>
          <a:custGeom>
            <a:avLst/>
            <a:gdLst>
              <a:gd name="T0" fmla="*/ 87 w 1146"/>
              <a:gd name="T1" fmla="*/ 56 h 954"/>
              <a:gd name="T2" fmla="*/ 83 w 1146"/>
              <a:gd name="T3" fmla="*/ 66 h 954"/>
              <a:gd name="T4" fmla="*/ 74 w 1146"/>
              <a:gd name="T5" fmla="*/ 69 h 954"/>
              <a:gd name="T6" fmla="*/ 67 w 1146"/>
              <a:gd name="T7" fmla="*/ 75 h 954"/>
              <a:gd name="T8" fmla="*/ 59 w 1146"/>
              <a:gd name="T9" fmla="*/ 78 h 954"/>
              <a:gd name="T10" fmla="*/ 52 w 1146"/>
              <a:gd name="T11" fmla="*/ 77 h 954"/>
              <a:gd name="T12" fmla="*/ 48 w 1146"/>
              <a:gd name="T13" fmla="*/ 79 h 954"/>
              <a:gd name="T14" fmla="*/ 41 w 1146"/>
              <a:gd name="T15" fmla="*/ 82 h 954"/>
              <a:gd name="T16" fmla="*/ 29 w 1146"/>
              <a:gd name="T17" fmla="*/ 78 h 954"/>
              <a:gd name="T18" fmla="*/ 28 w 1146"/>
              <a:gd name="T19" fmla="*/ 76 h 954"/>
              <a:gd name="T20" fmla="*/ 28 w 1146"/>
              <a:gd name="T21" fmla="*/ 72 h 954"/>
              <a:gd name="T22" fmla="*/ 28 w 1146"/>
              <a:gd name="T23" fmla="*/ 74 h 954"/>
              <a:gd name="T24" fmla="*/ 21 w 1146"/>
              <a:gd name="T25" fmla="*/ 74 h 954"/>
              <a:gd name="T26" fmla="*/ 20 w 1146"/>
              <a:gd name="T27" fmla="*/ 67 h 954"/>
              <a:gd name="T28" fmla="*/ 23 w 1146"/>
              <a:gd name="T29" fmla="*/ 64 h 954"/>
              <a:gd name="T30" fmla="*/ 28 w 1146"/>
              <a:gd name="T31" fmla="*/ 65 h 954"/>
              <a:gd name="T32" fmla="*/ 32 w 1146"/>
              <a:gd name="T33" fmla="*/ 62 h 954"/>
              <a:gd name="T34" fmla="*/ 31 w 1146"/>
              <a:gd name="T35" fmla="*/ 56 h 954"/>
              <a:gd name="T36" fmla="*/ 36 w 1146"/>
              <a:gd name="T37" fmla="*/ 54 h 954"/>
              <a:gd name="T38" fmla="*/ 38 w 1146"/>
              <a:gd name="T39" fmla="*/ 54 h 954"/>
              <a:gd name="T40" fmla="*/ 32 w 1146"/>
              <a:gd name="T41" fmla="*/ 54 h 954"/>
              <a:gd name="T42" fmla="*/ 29 w 1146"/>
              <a:gd name="T43" fmla="*/ 59 h 954"/>
              <a:gd name="T44" fmla="*/ 26 w 1146"/>
              <a:gd name="T45" fmla="*/ 59 h 954"/>
              <a:gd name="T46" fmla="*/ 25 w 1146"/>
              <a:gd name="T47" fmla="*/ 61 h 954"/>
              <a:gd name="T48" fmla="*/ 20 w 1146"/>
              <a:gd name="T49" fmla="*/ 61 h 954"/>
              <a:gd name="T50" fmla="*/ 11 w 1146"/>
              <a:gd name="T51" fmla="*/ 54 h 954"/>
              <a:gd name="T52" fmla="*/ 14 w 1146"/>
              <a:gd name="T53" fmla="*/ 50 h 954"/>
              <a:gd name="T54" fmla="*/ 21 w 1146"/>
              <a:gd name="T55" fmla="*/ 51 h 954"/>
              <a:gd name="T56" fmla="*/ 24 w 1146"/>
              <a:gd name="T57" fmla="*/ 50 h 954"/>
              <a:gd name="T58" fmla="*/ 28 w 1146"/>
              <a:gd name="T59" fmla="*/ 48 h 954"/>
              <a:gd name="T60" fmla="*/ 30 w 1146"/>
              <a:gd name="T61" fmla="*/ 49 h 954"/>
              <a:gd name="T62" fmla="*/ 26 w 1146"/>
              <a:gd name="T63" fmla="*/ 47 h 954"/>
              <a:gd name="T64" fmla="*/ 20 w 1146"/>
              <a:gd name="T65" fmla="*/ 50 h 954"/>
              <a:gd name="T66" fmla="*/ 20 w 1146"/>
              <a:gd name="T67" fmla="*/ 44 h 954"/>
              <a:gd name="T68" fmla="*/ 19 w 1146"/>
              <a:gd name="T69" fmla="*/ 46 h 954"/>
              <a:gd name="T70" fmla="*/ 15 w 1146"/>
              <a:gd name="T71" fmla="*/ 49 h 954"/>
              <a:gd name="T72" fmla="*/ 8 w 1146"/>
              <a:gd name="T73" fmla="*/ 48 h 954"/>
              <a:gd name="T74" fmla="*/ 6 w 1146"/>
              <a:gd name="T75" fmla="*/ 41 h 954"/>
              <a:gd name="T76" fmla="*/ 10 w 1146"/>
              <a:gd name="T77" fmla="*/ 41 h 954"/>
              <a:gd name="T78" fmla="*/ 9 w 1146"/>
              <a:gd name="T79" fmla="*/ 39 h 954"/>
              <a:gd name="T80" fmla="*/ 14 w 1146"/>
              <a:gd name="T81" fmla="*/ 35 h 954"/>
              <a:gd name="T82" fmla="*/ 19 w 1146"/>
              <a:gd name="T83" fmla="*/ 32 h 954"/>
              <a:gd name="T84" fmla="*/ 20 w 1146"/>
              <a:gd name="T85" fmla="*/ 29 h 954"/>
              <a:gd name="T86" fmla="*/ 27 w 1146"/>
              <a:gd name="T87" fmla="*/ 27 h 954"/>
              <a:gd name="T88" fmla="*/ 33 w 1146"/>
              <a:gd name="T89" fmla="*/ 28 h 954"/>
              <a:gd name="T90" fmla="*/ 44 w 1146"/>
              <a:gd name="T91" fmla="*/ 27 h 954"/>
              <a:gd name="T92" fmla="*/ 52 w 1146"/>
              <a:gd name="T93" fmla="*/ 41 h 954"/>
              <a:gd name="T94" fmla="*/ 61 w 1146"/>
              <a:gd name="T95" fmla="*/ 40 h 954"/>
              <a:gd name="T96" fmla="*/ 69 w 1146"/>
              <a:gd name="T97" fmla="*/ 34 h 954"/>
              <a:gd name="T98" fmla="*/ 62 w 1146"/>
              <a:gd name="T99" fmla="*/ 12 h 954"/>
              <a:gd name="T100" fmla="*/ 74 w 1146"/>
              <a:gd name="T101" fmla="*/ 8 h 954"/>
              <a:gd name="T102" fmla="*/ 87 w 1146"/>
              <a:gd name="T103" fmla="*/ 1 h 954"/>
              <a:gd name="T104" fmla="*/ 99 w 1146"/>
              <a:gd name="T105" fmla="*/ 12 h 954"/>
              <a:gd name="T106" fmla="*/ 98 w 1146"/>
              <a:gd name="T107" fmla="*/ 27 h 954"/>
              <a:gd name="T108" fmla="*/ 16 w 1146"/>
              <a:gd name="T109" fmla="*/ 33 h 954"/>
              <a:gd name="T110" fmla="*/ 11 w 1146"/>
              <a:gd name="T111" fmla="*/ 36 h 954"/>
              <a:gd name="T112" fmla="*/ 5 w 1146"/>
              <a:gd name="T113" fmla="*/ 41 h 954"/>
              <a:gd name="T114" fmla="*/ 2 w 1146"/>
              <a:gd name="T115" fmla="*/ 36 h 954"/>
              <a:gd name="T116" fmla="*/ 5 w 1146"/>
              <a:gd name="T117" fmla="*/ 26 h 954"/>
              <a:gd name="T118" fmla="*/ 10 w 1146"/>
              <a:gd name="T119" fmla="*/ 20 h 954"/>
              <a:gd name="T120" fmla="*/ 13 w 1146"/>
              <a:gd name="T121" fmla="*/ 20 h 954"/>
              <a:gd name="T122" fmla="*/ 15 w 1146"/>
              <a:gd name="T123" fmla="*/ 27 h 954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146"/>
              <a:gd name="T187" fmla="*/ 0 h 954"/>
              <a:gd name="T188" fmla="*/ 1146 w 1146"/>
              <a:gd name="T189" fmla="*/ 954 h 954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146" h="954">
                <a:moveTo>
                  <a:pt x="1056" y="498"/>
                </a:moveTo>
                <a:lnTo>
                  <a:pt x="1044" y="510"/>
                </a:lnTo>
                <a:lnTo>
                  <a:pt x="1032" y="516"/>
                </a:lnTo>
                <a:lnTo>
                  <a:pt x="1038" y="528"/>
                </a:lnTo>
                <a:lnTo>
                  <a:pt x="1050" y="540"/>
                </a:lnTo>
                <a:lnTo>
                  <a:pt x="1050" y="546"/>
                </a:lnTo>
                <a:lnTo>
                  <a:pt x="1050" y="564"/>
                </a:lnTo>
                <a:lnTo>
                  <a:pt x="1038" y="576"/>
                </a:lnTo>
                <a:lnTo>
                  <a:pt x="1032" y="588"/>
                </a:lnTo>
                <a:lnTo>
                  <a:pt x="1020" y="594"/>
                </a:lnTo>
                <a:lnTo>
                  <a:pt x="1008" y="594"/>
                </a:lnTo>
                <a:lnTo>
                  <a:pt x="1002" y="600"/>
                </a:lnTo>
                <a:lnTo>
                  <a:pt x="996" y="612"/>
                </a:lnTo>
                <a:lnTo>
                  <a:pt x="996" y="624"/>
                </a:lnTo>
                <a:lnTo>
                  <a:pt x="996" y="648"/>
                </a:lnTo>
                <a:lnTo>
                  <a:pt x="996" y="660"/>
                </a:lnTo>
                <a:lnTo>
                  <a:pt x="1002" y="672"/>
                </a:lnTo>
                <a:lnTo>
                  <a:pt x="1002" y="684"/>
                </a:lnTo>
                <a:lnTo>
                  <a:pt x="996" y="684"/>
                </a:lnTo>
                <a:lnTo>
                  <a:pt x="984" y="690"/>
                </a:lnTo>
                <a:lnTo>
                  <a:pt x="972" y="690"/>
                </a:lnTo>
                <a:lnTo>
                  <a:pt x="966" y="696"/>
                </a:lnTo>
                <a:lnTo>
                  <a:pt x="966" y="702"/>
                </a:lnTo>
                <a:lnTo>
                  <a:pt x="966" y="714"/>
                </a:lnTo>
                <a:lnTo>
                  <a:pt x="972" y="726"/>
                </a:lnTo>
                <a:lnTo>
                  <a:pt x="978" y="744"/>
                </a:lnTo>
                <a:lnTo>
                  <a:pt x="978" y="750"/>
                </a:lnTo>
                <a:lnTo>
                  <a:pt x="972" y="756"/>
                </a:lnTo>
                <a:lnTo>
                  <a:pt x="966" y="756"/>
                </a:lnTo>
                <a:lnTo>
                  <a:pt x="942" y="762"/>
                </a:lnTo>
                <a:lnTo>
                  <a:pt x="930" y="768"/>
                </a:lnTo>
                <a:lnTo>
                  <a:pt x="924" y="774"/>
                </a:lnTo>
                <a:lnTo>
                  <a:pt x="918" y="768"/>
                </a:lnTo>
                <a:lnTo>
                  <a:pt x="906" y="768"/>
                </a:lnTo>
                <a:lnTo>
                  <a:pt x="894" y="762"/>
                </a:lnTo>
                <a:lnTo>
                  <a:pt x="882" y="756"/>
                </a:lnTo>
                <a:lnTo>
                  <a:pt x="876" y="756"/>
                </a:lnTo>
                <a:lnTo>
                  <a:pt x="876" y="762"/>
                </a:lnTo>
                <a:lnTo>
                  <a:pt x="864" y="768"/>
                </a:lnTo>
                <a:lnTo>
                  <a:pt x="858" y="774"/>
                </a:lnTo>
                <a:lnTo>
                  <a:pt x="852" y="774"/>
                </a:lnTo>
                <a:lnTo>
                  <a:pt x="840" y="780"/>
                </a:lnTo>
                <a:lnTo>
                  <a:pt x="840" y="786"/>
                </a:lnTo>
                <a:lnTo>
                  <a:pt x="840" y="792"/>
                </a:lnTo>
                <a:lnTo>
                  <a:pt x="840" y="804"/>
                </a:lnTo>
                <a:lnTo>
                  <a:pt x="840" y="810"/>
                </a:lnTo>
                <a:lnTo>
                  <a:pt x="828" y="816"/>
                </a:lnTo>
                <a:lnTo>
                  <a:pt x="810" y="810"/>
                </a:lnTo>
                <a:lnTo>
                  <a:pt x="792" y="810"/>
                </a:lnTo>
                <a:lnTo>
                  <a:pt x="786" y="816"/>
                </a:lnTo>
                <a:lnTo>
                  <a:pt x="780" y="816"/>
                </a:lnTo>
                <a:lnTo>
                  <a:pt x="780" y="822"/>
                </a:lnTo>
                <a:lnTo>
                  <a:pt x="780" y="828"/>
                </a:lnTo>
                <a:lnTo>
                  <a:pt x="780" y="834"/>
                </a:lnTo>
                <a:lnTo>
                  <a:pt x="786" y="840"/>
                </a:lnTo>
                <a:lnTo>
                  <a:pt x="786" y="846"/>
                </a:lnTo>
                <a:lnTo>
                  <a:pt x="786" y="852"/>
                </a:lnTo>
                <a:lnTo>
                  <a:pt x="780" y="858"/>
                </a:lnTo>
                <a:lnTo>
                  <a:pt x="768" y="858"/>
                </a:lnTo>
                <a:lnTo>
                  <a:pt x="762" y="864"/>
                </a:lnTo>
                <a:lnTo>
                  <a:pt x="756" y="864"/>
                </a:lnTo>
                <a:lnTo>
                  <a:pt x="750" y="870"/>
                </a:lnTo>
                <a:lnTo>
                  <a:pt x="744" y="876"/>
                </a:lnTo>
                <a:lnTo>
                  <a:pt x="732" y="876"/>
                </a:lnTo>
                <a:lnTo>
                  <a:pt x="726" y="876"/>
                </a:lnTo>
                <a:lnTo>
                  <a:pt x="720" y="870"/>
                </a:lnTo>
                <a:lnTo>
                  <a:pt x="714" y="864"/>
                </a:lnTo>
                <a:lnTo>
                  <a:pt x="708" y="870"/>
                </a:lnTo>
                <a:lnTo>
                  <a:pt x="702" y="870"/>
                </a:lnTo>
                <a:lnTo>
                  <a:pt x="696" y="876"/>
                </a:lnTo>
                <a:lnTo>
                  <a:pt x="696" y="882"/>
                </a:lnTo>
                <a:lnTo>
                  <a:pt x="696" y="894"/>
                </a:lnTo>
                <a:lnTo>
                  <a:pt x="690" y="900"/>
                </a:lnTo>
                <a:lnTo>
                  <a:pt x="684" y="900"/>
                </a:lnTo>
                <a:lnTo>
                  <a:pt x="672" y="900"/>
                </a:lnTo>
                <a:lnTo>
                  <a:pt x="666" y="900"/>
                </a:lnTo>
                <a:lnTo>
                  <a:pt x="654" y="888"/>
                </a:lnTo>
                <a:lnTo>
                  <a:pt x="654" y="882"/>
                </a:lnTo>
                <a:lnTo>
                  <a:pt x="642" y="876"/>
                </a:lnTo>
                <a:lnTo>
                  <a:pt x="636" y="876"/>
                </a:lnTo>
                <a:lnTo>
                  <a:pt x="630" y="876"/>
                </a:lnTo>
                <a:lnTo>
                  <a:pt x="630" y="870"/>
                </a:lnTo>
                <a:lnTo>
                  <a:pt x="618" y="858"/>
                </a:lnTo>
                <a:lnTo>
                  <a:pt x="612" y="858"/>
                </a:lnTo>
                <a:lnTo>
                  <a:pt x="612" y="864"/>
                </a:lnTo>
                <a:lnTo>
                  <a:pt x="612" y="870"/>
                </a:lnTo>
                <a:lnTo>
                  <a:pt x="606" y="876"/>
                </a:lnTo>
                <a:lnTo>
                  <a:pt x="606" y="882"/>
                </a:lnTo>
                <a:lnTo>
                  <a:pt x="606" y="888"/>
                </a:lnTo>
                <a:lnTo>
                  <a:pt x="600" y="894"/>
                </a:lnTo>
                <a:lnTo>
                  <a:pt x="594" y="894"/>
                </a:lnTo>
                <a:lnTo>
                  <a:pt x="588" y="900"/>
                </a:lnTo>
                <a:lnTo>
                  <a:pt x="582" y="894"/>
                </a:lnTo>
                <a:lnTo>
                  <a:pt x="576" y="894"/>
                </a:lnTo>
                <a:lnTo>
                  <a:pt x="582" y="900"/>
                </a:lnTo>
                <a:lnTo>
                  <a:pt x="576" y="906"/>
                </a:lnTo>
                <a:lnTo>
                  <a:pt x="576" y="918"/>
                </a:lnTo>
                <a:lnTo>
                  <a:pt x="570" y="918"/>
                </a:lnTo>
                <a:lnTo>
                  <a:pt x="570" y="912"/>
                </a:lnTo>
                <a:lnTo>
                  <a:pt x="564" y="912"/>
                </a:lnTo>
                <a:lnTo>
                  <a:pt x="564" y="918"/>
                </a:lnTo>
                <a:lnTo>
                  <a:pt x="558" y="918"/>
                </a:lnTo>
                <a:lnTo>
                  <a:pt x="558" y="912"/>
                </a:lnTo>
                <a:lnTo>
                  <a:pt x="552" y="906"/>
                </a:lnTo>
                <a:lnTo>
                  <a:pt x="552" y="912"/>
                </a:lnTo>
                <a:lnTo>
                  <a:pt x="546" y="912"/>
                </a:lnTo>
                <a:lnTo>
                  <a:pt x="540" y="906"/>
                </a:lnTo>
                <a:lnTo>
                  <a:pt x="534" y="906"/>
                </a:lnTo>
                <a:lnTo>
                  <a:pt x="528" y="906"/>
                </a:lnTo>
                <a:lnTo>
                  <a:pt x="522" y="906"/>
                </a:lnTo>
                <a:lnTo>
                  <a:pt x="522" y="918"/>
                </a:lnTo>
                <a:lnTo>
                  <a:pt x="516" y="918"/>
                </a:lnTo>
                <a:lnTo>
                  <a:pt x="516" y="924"/>
                </a:lnTo>
                <a:lnTo>
                  <a:pt x="510" y="924"/>
                </a:lnTo>
                <a:lnTo>
                  <a:pt x="504" y="924"/>
                </a:lnTo>
                <a:lnTo>
                  <a:pt x="498" y="930"/>
                </a:lnTo>
                <a:lnTo>
                  <a:pt x="492" y="924"/>
                </a:lnTo>
                <a:lnTo>
                  <a:pt x="486" y="930"/>
                </a:lnTo>
                <a:lnTo>
                  <a:pt x="480" y="942"/>
                </a:lnTo>
                <a:lnTo>
                  <a:pt x="468" y="948"/>
                </a:lnTo>
                <a:lnTo>
                  <a:pt x="444" y="942"/>
                </a:lnTo>
                <a:lnTo>
                  <a:pt x="438" y="954"/>
                </a:lnTo>
                <a:lnTo>
                  <a:pt x="426" y="954"/>
                </a:lnTo>
                <a:lnTo>
                  <a:pt x="420" y="948"/>
                </a:lnTo>
                <a:lnTo>
                  <a:pt x="408" y="936"/>
                </a:lnTo>
                <a:lnTo>
                  <a:pt x="396" y="936"/>
                </a:lnTo>
                <a:lnTo>
                  <a:pt x="390" y="930"/>
                </a:lnTo>
                <a:lnTo>
                  <a:pt x="390" y="924"/>
                </a:lnTo>
                <a:lnTo>
                  <a:pt x="384" y="924"/>
                </a:lnTo>
                <a:lnTo>
                  <a:pt x="378" y="924"/>
                </a:lnTo>
                <a:lnTo>
                  <a:pt x="366" y="924"/>
                </a:lnTo>
                <a:lnTo>
                  <a:pt x="360" y="924"/>
                </a:lnTo>
                <a:lnTo>
                  <a:pt x="348" y="918"/>
                </a:lnTo>
                <a:lnTo>
                  <a:pt x="342" y="906"/>
                </a:lnTo>
                <a:lnTo>
                  <a:pt x="336" y="906"/>
                </a:lnTo>
                <a:lnTo>
                  <a:pt x="330" y="906"/>
                </a:lnTo>
                <a:lnTo>
                  <a:pt x="312" y="906"/>
                </a:lnTo>
                <a:lnTo>
                  <a:pt x="312" y="900"/>
                </a:lnTo>
                <a:lnTo>
                  <a:pt x="318" y="900"/>
                </a:lnTo>
                <a:lnTo>
                  <a:pt x="318" y="894"/>
                </a:lnTo>
                <a:lnTo>
                  <a:pt x="318" y="900"/>
                </a:lnTo>
                <a:lnTo>
                  <a:pt x="318" y="894"/>
                </a:lnTo>
                <a:lnTo>
                  <a:pt x="318" y="888"/>
                </a:lnTo>
                <a:lnTo>
                  <a:pt x="312" y="882"/>
                </a:lnTo>
                <a:lnTo>
                  <a:pt x="306" y="876"/>
                </a:lnTo>
                <a:lnTo>
                  <a:pt x="312" y="876"/>
                </a:lnTo>
                <a:lnTo>
                  <a:pt x="312" y="870"/>
                </a:lnTo>
                <a:lnTo>
                  <a:pt x="318" y="876"/>
                </a:lnTo>
                <a:lnTo>
                  <a:pt x="318" y="870"/>
                </a:lnTo>
                <a:lnTo>
                  <a:pt x="324" y="876"/>
                </a:lnTo>
                <a:lnTo>
                  <a:pt x="330" y="876"/>
                </a:lnTo>
                <a:lnTo>
                  <a:pt x="336" y="876"/>
                </a:lnTo>
                <a:lnTo>
                  <a:pt x="342" y="876"/>
                </a:lnTo>
                <a:lnTo>
                  <a:pt x="336" y="876"/>
                </a:lnTo>
                <a:lnTo>
                  <a:pt x="330" y="870"/>
                </a:lnTo>
                <a:lnTo>
                  <a:pt x="324" y="870"/>
                </a:lnTo>
                <a:lnTo>
                  <a:pt x="318" y="870"/>
                </a:lnTo>
                <a:lnTo>
                  <a:pt x="312" y="870"/>
                </a:lnTo>
                <a:lnTo>
                  <a:pt x="318" y="864"/>
                </a:lnTo>
                <a:lnTo>
                  <a:pt x="318" y="858"/>
                </a:lnTo>
                <a:lnTo>
                  <a:pt x="318" y="852"/>
                </a:lnTo>
                <a:lnTo>
                  <a:pt x="312" y="852"/>
                </a:lnTo>
                <a:lnTo>
                  <a:pt x="306" y="852"/>
                </a:lnTo>
                <a:lnTo>
                  <a:pt x="306" y="846"/>
                </a:lnTo>
                <a:lnTo>
                  <a:pt x="312" y="828"/>
                </a:lnTo>
                <a:lnTo>
                  <a:pt x="312" y="822"/>
                </a:lnTo>
                <a:lnTo>
                  <a:pt x="318" y="822"/>
                </a:lnTo>
                <a:lnTo>
                  <a:pt x="312" y="816"/>
                </a:lnTo>
                <a:lnTo>
                  <a:pt x="306" y="816"/>
                </a:lnTo>
                <a:lnTo>
                  <a:pt x="306" y="810"/>
                </a:lnTo>
                <a:lnTo>
                  <a:pt x="306" y="816"/>
                </a:lnTo>
                <a:lnTo>
                  <a:pt x="312" y="822"/>
                </a:lnTo>
                <a:lnTo>
                  <a:pt x="306" y="822"/>
                </a:lnTo>
                <a:lnTo>
                  <a:pt x="306" y="828"/>
                </a:lnTo>
                <a:lnTo>
                  <a:pt x="306" y="834"/>
                </a:lnTo>
                <a:lnTo>
                  <a:pt x="300" y="840"/>
                </a:lnTo>
                <a:lnTo>
                  <a:pt x="300" y="846"/>
                </a:lnTo>
                <a:lnTo>
                  <a:pt x="306" y="852"/>
                </a:lnTo>
                <a:lnTo>
                  <a:pt x="306" y="858"/>
                </a:lnTo>
                <a:lnTo>
                  <a:pt x="312" y="858"/>
                </a:lnTo>
                <a:lnTo>
                  <a:pt x="312" y="864"/>
                </a:lnTo>
                <a:lnTo>
                  <a:pt x="306" y="864"/>
                </a:lnTo>
                <a:lnTo>
                  <a:pt x="300" y="864"/>
                </a:lnTo>
                <a:lnTo>
                  <a:pt x="294" y="864"/>
                </a:lnTo>
                <a:lnTo>
                  <a:pt x="288" y="864"/>
                </a:lnTo>
                <a:lnTo>
                  <a:pt x="282" y="870"/>
                </a:lnTo>
                <a:lnTo>
                  <a:pt x="276" y="870"/>
                </a:lnTo>
                <a:lnTo>
                  <a:pt x="270" y="876"/>
                </a:lnTo>
                <a:lnTo>
                  <a:pt x="264" y="876"/>
                </a:lnTo>
                <a:lnTo>
                  <a:pt x="258" y="876"/>
                </a:lnTo>
                <a:lnTo>
                  <a:pt x="258" y="870"/>
                </a:lnTo>
                <a:lnTo>
                  <a:pt x="252" y="870"/>
                </a:lnTo>
                <a:lnTo>
                  <a:pt x="252" y="864"/>
                </a:lnTo>
                <a:lnTo>
                  <a:pt x="246" y="858"/>
                </a:lnTo>
                <a:lnTo>
                  <a:pt x="246" y="852"/>
                </a:lnTo>
                <a:lnTo>
                  <a:pt x="246" y="846"/>
                </a:lnTo>
                <a:lnTo>
                  <a:pt x="246" y="840"/>
                </a:lnTo>
                <a:lnTo>
                  <a:pt x="246" y="834"/>
                </a:lnTo>
                <a:lnTo>
                  <a:pt x="246" y="828"/>
                </a:lnTo>
                <a:lnTo>
                  <a:pt x="246" y="822"/>
                </a:lnTo>
                <a:lnTo>
                  <a:pt x="240" y="816"/>
                </a:lnTo>
                <a:lnTo>
                  <a:pt x="240" y="810"/>
                </a:lnTo>
                <a:lnTo>
                  <a:pt x="240" y="804"/>
                </a:lnTo>
                <a:lnTo>
                  <a:pt x="240" y="798"/>
                </a:lnTo>
                <a:lnTo>
                  <a:pt x="234" y="798"/>
                </a:lnTo>
                <a:lnTo>
                  <a:pt x="234" y="792"/>
                </a:lnTo>
                <a:lnTo>
                  <a:pt x="234" y="786"/>
                </a:lnTo>
                <a:lnTo>
                  <a:pt x="234" y="780"/>
                </a:lnTo>
                <a:lnTo>
                  <a:pt x="228" y="780"/>
                </a:lnTo>
                <a:lnTo>
                  <a:pt x="228" y="774"/>
                </a:lnTo>
                <a:lnTo>
                  <a:pt x="228" y="768"/>
                </a:lnTo>
                <a:lnTo>
                  <a:pt x="222" y="762"/>
                </a:lnTo>
                <a:lnTo>
                  <a:pt x="222" y="756"/>
                </a:lnTo>
                <a:lnTo>
                  <a:pt x="222" y="750"/>
                </a:lnTo>
                <a:lnTo>
                  <a:pt x="222" y="744"/>
                </a:lnTo>
                <a:lnTo>
                  <a:pt x="222" y="738"/>
                </a:lnTo>
                <a:lnTo>
                  <a:pt x="216" y="732"/>
                </a:lnTo>
                <a:lnTo>
                  <a:pt x="222" y="732"/>
                </a:lnTo>
                <a:lnTo>
                  <a:pt x="228" y="732"/>
                </a:lnTo>
                <a:lnTo>
                  <a:pt x="234" y="732"/>
                </a:lnTo>
                <a:lnTo>
                  <a:pt x="240" y="732"/>
                </a:lnTo>
                <a:lnTo>
                  <a:pt x="246" y="732"/>
                </a:lnTo>
                <a:lnTo>
                  <a:pt x="246" y="738"/>
                </a:lnTo>
                <a:lnTo>
                  <a:pt x="252" y="738"/>
                </a:lnTo>
                <a:lnTo>
                  <a:pt x="258" y="738"/>
                </a:lnTo>
                <a:lnTo>
                  <a:pt x="258" y="732"/>
                </a:lnTo>
                <a:lnTo>
                  <a:pt x="264" y="732"/>
                </a:lnTo>
                <a:lnTo>
                  <a:pt x="270" y="732"/>
                </a:lnTo>
                <a:lnTo>
                  <a:pt x="276" y="732"/>
                </a:lnTo>
                <a:lnTo>
                  <a:pt x="282" y="732"/>
                </a:lnTo>
                <a:lnTo>
                  <a:pt x="288" y="732"/>
                </a:lnTo>
                <a:lnTo>
                  <a:pt x="294" y="732"/>
                </a:lnTo>
                <a:lnTo>
                  <a:pt x="300" y="732"/>
                </a:lnTo>
                <a:lnTo>
                  <a:pt x="300" y="738"/>
                </a:lnTo>
                <a:lnTo>
                  <a:pt x="306" y="738"/>
                </a:lnTo>
                <a:lnTo>
                  <a:pt x="306" y="744"/>
                </a:lnTo>
                <a:lnTo>
                  <a:pt x="306" y="750"/>
                </a:lnTo>
                <a:lnTo>
                  <a:pt x="312" y="750"/>
                </a:lnTo>
                <a:lnTo>
                  <a:pt x="312" y="756"/>
                </a:lnTo>
                <a:lnTo>
                  <a:pt x="318" y="756"/>
                </a:lnTo>
                <a:lnTo>
                  <a:pt x="318" y="750"/>
                </a:lnTo>
                <a:lnTo>
                  <a:pt x="312" y="750"/>
                </a:lnTo>
                <a:lnTo>
                  <a:pt x="312" y="744"/>
                </a:lnTo>
                <a:lnTo>
                  <a:pt x="318" y="738"/>
                </a:lnTo>
                <a:lnTo>
                  <a:pt x="324" y="738"/>
                </a:lnTo>
                <a:lnTo>
                  <a:pt x="330" y="738"/>
                </a:lnTo>
                <a:lnTo>
                  <a:pt x="336" y="738"/>
                </a:lnTo>
                <a:lnTo>
                  <a:pt x="342" y="738"/>
                </a:lnTo>
                <a:lnTo>
                  <a:pt x="348" y="732"/>
                </a:lnTo>
                <a:lnTo>
                  <a:pt x="354" y="732"/>
                </a:lnTo>
                <a:lnTo>
                  <a:pt x="360" y="732"/>
                </a:lnTo>
                <a:lnTo>
                  <a:pt x="360" y="726"/>
                </a:lnTo>
                <a:lnTo>
                  <a:pt x="366" y="726"/>
                </a:lnTo>
                <a:lnTo>
                  <a:pt x="366" y="720"/>
                </a:lnTo>
                <a:lnTo>
                  <a:pt x="366" y="714"/>
                </a:lnTo>
                <a:lnTo>
                  <a:pt x="360" y="708"/>
                </a:lnTo>
                <a:lnTo>
                  <a:pt x="354" y="708"/>
                </a:lnTo>
                <a:lnTo>
                  <a:pt x="348" y="702"/>
                </a:lnTo>
                <a:lnTo>
                  <a:pt x="354" y="702"/>
                </a:lnTo>
                <a:lnTo>
                  <a:pt x="354" y="696"/>
                </a:lnTo>
                <a:lnTo>
                  <a:pt x="348" y="696"/>
                </a:lnTo>
                <a:lnTo>
                  <a:pt x="348" y="690"/>
                </a:lnTo>
                <a:lnTo>
                  <a:pt x="342" y="690"/>
                </a:lnTo>
                <a:lnTo>
                  <a:pt x="342" y="684"/>
                </a:lnTo>
                <a:lnTo>
                  <a:pt x="342" y="678"/>
                </a:lnTo>
                <a:lnTo>
                  <a:pt x="342" y="666"/>
                </a:lnTo>
                <a:lnTo>
                  <a:pt x="342" y="660"/>
                </a:lnTo>
                <a:lnTo>
                  <a:pt x="348" y="654"/>
                </a:lnTo>
                <a:lnTo>
                  <a:pt x="348" y="642"/>
                </a:lnTo>
                <a:lnTo>
                  <a:pt x="354" y="642"/>
                </a:lnTo>
                <a:lnTo>
                  <a:pt x="360" y="642"/>
                </a:lnTo>
                <a:lnTo>
                  <a:pt x="366" y="642"/>
                </a:lnTo>
                <a:lnTo>
                  <a:pt x="372" y="648"/>
                </a:lnTo>
                <a:lnTo>
                  <a:pt x="366" y="642"/>
                </a:lnTo>
                <a:lnTo>
                  <a:pt x="372" y="642"/>
                </a:lnTo>
                <a:lnTo>
                  <a:pt x="378" y="642"/>
                </a:lnTo>
                <a:lnTo>
                  <a:pt x="384" y="642"/>
                </a:lnTo>
                <a:lnTo>
                  <a:pt x="390" y="642"/>
                </a:lnTo>
                <a:lnTo>
                  <a:pt x="396" y="642"/>
                </a:lnTo>
                <a:lnTo>
                  <a:pt x="396" y="636"/>
                </a:lnTo>
                <a:lnTo>
                  <a:pt x="402" y="636"/>
                </a:lnTo>
                <a:lnTo>
                  <a:pt x="408" y="636"/>
                </a:lnTo>
                <a:lnTo>
                  <a:pt x="402" y="636"/>
                </a:lnTo>
                <a:lnTo>
                  <a:pt x="402" y="630"/>
                </a:lnTo>
                <a:lnTo>
                  <a:pt x="408" y="630"/>
                </a:lnTo>
                <a:lnTo>
                  <a:pt x="408" y="624"/>
                </a:lnTo>
                <a:lnTo>
                  <a:pt x="408" y="618"/>
                </a:lnTo>
                <a:lnTo>
                  <a:pt x="414" y="618"/>
                </a:lnTo>
                <a:lnTo>
                  <a:pt x="420" y="618"/>
                </a:lnTo>
                <a:lnTo>
                  <a:pt x="426" y="624"/>
                </a:lnTo>
                <a:lnTo>
                  <a:pt x="432" y="624"/>
                </a:lnTo>
                <a:lnTo>
                  <a:pt x="438" y="624"/>
                </a:lnTo>
                <a:lnTo>
                  <a:pt x="438" y="618"/>
                </a:lnTo>
                <a:lnTo>
                  <a:pt x="444" y="618"/>
                </a:lnTo>
                <a:lnTo>
                  <a:pt x="450" y="618"/>
                </a:lnTo>
                <a:lnTo>
                  <a:pt x="444" y="618"/>
                </a:lnTo>
                <a:lnTo>
                  <a:pt x="438" y="618"/>
                </a:lnTo>
                <a:lnTo>
                  <a:pt x="438" y="612"/>
                </a:lnTo>
                <a:lnTo>
                  <a:pt x="438" y="618"/>
                </a:lnTo>
                <a:lnTo>
                  <a:pt x="432" y="624"/>
                </a:lnTo>
                <a:lnTo>
                  <a:pt x="426" y="618"/>
                </a:lnTo>
                <a:lnTo>
                  <a:pt x="420" y="612"/>
                </a:lnTo>
                <a:lnTo>
                  <a:pt x="414" y="612"/>
                </a:lnTo>
                <a:lnTo>
                  <a:pt x="408" y="612"/>
                </a:lnTo>
                <a:lnTo>
                  <a:pt x="402" y="612"/>
                </a:lnTo>
                <a:lnTo>
                  <a:pt x="402" y="618"/>
                </a:lnTo>
                <a:lnTo>
                  <a:pt x="402" y="624"/>
                </a:lnTo>
                <a:lnTo>
                  <a:pt x="396" y="630"/>
                </a:lnTo>
                <a:lnTo>
                  <a:pt x="390" y="630"/>
                </a:lnTo>
                <a:lnTo>
                  <a:pt x="384" y="630"/>
                </a:lnTo>
                <a:lnTo>
                  <a:pt x="390" y="630"/>
                </a:lnTo>
                <a:lnTo>
                  <a:pt x="384" y="630"/>
                </a:lnTo>
                <a:lnTo>
                  <a:pt x="378" y="630"/>
                </a:lnTo>
                <a:lnTo>
                  <a:pt x="378" y="636"/>
                </a:lnTo>
                <a:lnTo>
                  <a:pt x="372" y="630"/>
                </a:lnTo>
                <a:lnTo>
                  <a:pt x="366" y="630"/>
                </a:lnTo>
                <a:lnTo>
                  <a:pt x="360" y="630"/>
                </a:lnTo>
                <a:lnTo>
                  <a:pt x="354" y="630"/>
                </a:lnTo>
                <a:lnTo>
                  <a:pt x="354" y="636"/>
                </a:lnTo>
                <a:lnTo>
                  <a:pt x="348" y="636"/>
                </a:lnTo>
                <a:lnTo>
                  <a:pt x="348" y="642"/>
                </a:lnTo>
                <a:lnTo>
                  <a:pt x="342" y="642"/>
                </a:lnTo>
                <a:lnTo>
                  <a:pt x="342" y="648"/>
                </a:lnTo>
                <a:lnTo>
                  <a:pt x="342" y="654"/>
                </a:lnTo>
                <a:lnTo>
                  <a:pt x="336" y="654"/>
                </a:lnTo>
                <a:lnTo>
                  <a:pt x="336" y="660"/>
                </a:lnTo>
                <a:lnTo>
                  <a:pt x="336" y="666"/>
                </a:lnTo>
                <a:lnTo>
                  <a:pt x="330" y="672"/>
                </a:lnTo>
                <a:lnTo>
                  <a:pt x="330" y="678"/>
                </a:lnTo>
                <a:lnTo>
                  <a:pt x="330" y="684"/>
                </a:lnTo>
                <a:lnTo>
                  <a:pt x="330" y="690"/>
                </a:lnTo>
                <a:lnTo>
                  <a:pt x="324" y="696"/>
                </a:lnTo>
                <a:lnTo>
                  <a:pt x="324" y="702"/>
                </a:lnTo>
                <a:lnTo>
                  <a:pt x="318" y="702"/>
                </a:lnTo>
                <a:lnTo>
                  <a:pt x="318" y="708"/>
                </a:lnTo>
                <a:lnTo>
                  <a:pt x="312" y="708"/>
                </a:lnTo>
                <a:lnTo>
                  <a:pt x="312" y="702"/>
                </a:lnTo>
                <a:lnTo>
                  <a:pt x="306" y="702"/>
                </a:lnTo>
                <a:lnTo>
                  <a:pt x="300" y="702"/>
                </a:lnTo>
                <a:lnTo>
                  <a:pt x="294" y="696"/>
                </a:lnTo>
                <a:lnTo>
                  <a:pt x="288" y="696"/>
                </a:lnTo>
                <a:lnTo>
                  <a:pt x="282" y="690"/>
                </a:lnTo>
                <a:lnTo>
                  <a:pt x="288" y="684"/>
                </a:lnTo>
                <a:lnTo>
                  <a:pt x="294" y="684"/>
                </a:lnTo>
                <a:lnTo>
                  <a:pt x="294" y="678"/>
                </a:lnTo>
                <a:lnTo>
                  <a:pt x="300" y="678"/>
                </a:lnTo>
                <a:lnTo>
                  <a:pt x="294" y="678"/>
                </a:lnTo>
                <a:lnTo>
                  <a:pt x="294" y="672"/>
                </a:lnTo>
                <a:lnTo>
                  <a:pt x="294" y="666"/>
                </a:lnTo>
                <a:lnTo>
                  <a:pt x="288" y="666"/>
                </a:lnTo>
                <a:lnTo>
                  <a:pt x="288" y="672"/>
                </a:lnTo>
                <a:lnTo>
                  <a:pt x="294" y="672"/>
                </a:lnTo>
                <a:lnTo>
                  <a:pt x="288" y="678"/>
                </a:lnTo>
                <a:lnTo>
                  <a:pt x="282" y="684"/>
                </a:lnTo>
                <a:lnTo>
                  <a:pt x="282" y="678"/>
                </a:lnTo>
                <a:lnTo>
                  <a:pt x="276" y="678"/>
                </a:lnTo>
                <a:lnTo>
                  <a:pt x="282" y="684"/>
                </a:lnTo>
                <a:lnTo>
                  <a:pt x="282" y="690"/>
                </a:lnTo>
                <a:lnTo>
                  <a:pt x="282" y="696"/>
                </a:lnTo>
                <a:lnTo>
                  <a:pt x="288" y="702"/>
                </a:lnTo>
                <a:lnTo>
                  <a:pt x="294" y="708"/>
                </a:lnTo>
                <a:lnTo>
                  <a:pt x="294" y="714"/>
                </a:lnTo>
                <a:lnTo>
                  <a:pt x="288" y="714"/>
                </a:lnTo>
                <a:lnTo>
                  <a:pt x="282" y="714"/>
                </a:lnTo>
                <a:lnTo>
                  <a:pt x="276" y="714"/>
                </a:lnTo>
                <a:lnTo>
                  <a:pt x="270" y="714"/>
                </a:lnTo>
                <a:lnTo>
                  <a:pt x="276" y="714"/>
                </a:lnTo>
                <a:lnTo>
                  <a:pt x="270" y="714"/>
                </a:lnTo>
                <a:lnTo>
                  <a:pt x="264" y="714"/>
                </a:lnTo>
                <a:lnTo>
                  <a:pt x="258" y="714"/>
                </a:lnTo>
                <a:lnTo>
                  <a:pt x="252" y="714"/>
                </a:lnTo>
                <a:lnTo>
                  <a:pt x="246" y="714"/>
                </a:lnTo>
                <a:lnTo>
                  <a:pt x="240" y="714"/>
                </a:lnTo>
                <a:lnTo>
                  <a:pt x="240" y="708"/>
                </a:lnTo>
                <a:lnTo>
                  <a:pt x="234" y="708"/>
                </a:lnTo>
                <a:lnTo>
                  <a:pt x="228" y="708"/>
                </a:lnTo>
                <a:lnTo>
                  <a:pt x="222" y="702"/>
                </a:lnTo>
                <a:lnTo>
                  <a:pt x="216" y="702"/>
                </a:lnTo>
                <a:lnTo>
                  <a:pt x="210" y="702"/>
                </a:lnTo>
                <a:lnTo>
                  <a:pt x="198" y="696"/>
                </a:lnTo>
                <a:lnTo>
                  <a:pt x="192" y="690"/>
                </a:lnTo>
                <a:lnTo>
                  <a:pt x="186" y="690"/>
                </a:lnTo>
                <a:lnTo>
                  <a:pt x="180" y="684"/>
                </a:lnTo>
                <a:lnTo>
                  <a:pt x="174" y="684"/>
                </a:lnTo>
                <a:lnTo>
                  <a:pt x="168" y="684"/>
                </a:lnTo>
                <a:lnTo>
                  <a:pt x="168" y="678"/>
                </a:lnTo>
                <a:lnTo>
                  <a:pt x="156" y="672"/>
                </a:lnTo>
                <a:lnTo>
                  <a:pt x="150" y="660"/>
                </a:lnTo>
                <a:lnTo>
                  <a:pt x="126" y="630"/>
                </a:lnTo>
                <a:lnTo>
                  <a:pt x="126" y="624"/>
                </a:lnTo>
                <a:lnTo>
                  <a:pt x="126" y="618"/>
                </a:lnTo>
                <a:lnTo>
                  <a:pt x="126" y="624"/>
                </a:lnTo>
                <a:lnTo>
                  <a:pt x="126" y="618"/>
                </a:lnTo>
                <a:lnTo>
                  <a:pt x="126" y="612"/>
                </a:lnTo>
                <a:lnTo>
                  <a:pt x="126" y="606"/>
                </a:lnTo>
                <a:lnTo>
                  <a:pt x="126" y="600"/>
                </a:lnTo>
                <a:lnTo>
                  <a:pt x="132" y="594"/>
                </a:lnTo>
                <a:lnTo>
                  <a:pt x="138" y="594"/>
                </a:lnTo>
                <a:lnTo>
                  <a:pt x="144" y="588"/>
                </a:lnTo>
                <a:lnTo>
                  <a:pt x="144" y="582"/>
                </a:lnTo>
                <a:lnTo>
                  <a:pt x="150" y="582"/>
                </a:lnTo>
                <a:lnTo>
                  <a:pt x="150" y="576"/>
                </a:lnTo>
                <a:lnTo>
                  <a:pt x="156" y="576"/>
                </a:lnTo>
                <a:lnTo>
                  <a:pt x="156" y="582"/>
                </a:lnTo>
                <a:lnTo>
                  <a:pt x="156" y="576"/>
                </a:lnTo>
                <a:lnTo>
                  <a:pt x="162" y="576"/>
                </a:lnTo>
                <a:lnTo>
                  <a:pt x="168" y="576"/>
                </a:lnTo>
                <a:lnTo>
                  <a:pt x="174" y="576"/>
                </a:lnTo>
                <a:lnTo>
                  <a:pt x="180" y="582"/>
                </a:lnTo>
                <a:lnTo>
                  <a:pt x="192" y="582"/>
                </a:lnTo>
                <a:lnTo>
                  <a:pt x="198" y="582"/>
                </a:lnTo>
                <a:lnTo>
                  <a:pt x="204" y="582"/>
                </a:lnTo>
                <a:lnTo>
                  <a:pt x="210" y="582"/>
                </a:lnTo>
                <a:lnTo>
                  <a:pt x="216" y="588"/>
                </a:lnTo>
                <a:lnTo>
                  <a:pt x="222" y="588"/>
                </a:lnTo>
                <a:lnTo>
                  <a:pt x="234" y="588"/>
                </a:lnTo>
                <a:lnTo>
                  <a:pt x="240" y="588"/>
                </a:lnTo>
                <a:lnTo>
                  <a:pt x="240" y="594"/>
                </a:lnTo>
                <a:lnTo>
                  <a:pt x="240" y="588"/>
                </a:lnTo>
                <a:lnTo>
                  <a:pt x="246" y="588"/>
                </a:lnTo>
                <a:lnTo>
                  <a:pt x="246" y="594"/>
                </a:lnTo>
                <a:lnTo>
                  <a:pt x="252" y="588"/>
                </a:lnTo>
                <a:lnTo>
                  <a:pt x="258" y="588"/>
                </a:lnTo>
                <a:lnTo>
                  <a:pt x="258" y="594"/>
                </a:lnTo>
                <a:lnTo>
                  <a:pt x="252" y="594"/>
                </a:lnTo>
                <a:lnTo>
                  <a:pt x="252" y="600"/>
                </a:lnTo>
                <a:lnTo>
                  <a:pt x="246" y="600"/>
                </a:lnTo>
                <a:lnTo>
                  <a:pt x="246" y="606"/>
                </a:lnTo>
                <a:lnTo>
                  <a:pt x="246" y="600"/>
                </a:lnTo>
                <a:lnTo>
                  <a:pt x="252" y="600"/>
                </a:lnTo>
                <a:lnTo>
                  <a:pt x="258" y="594"/>
                </a:lnTo>
                <a:lnTo>
                  <a:pt x="264" y="594"/>
                </a:lnTo>
                <a:lnTo>
                  <a:pt x="264" y="588"/>
                </a:lnTo>
                <a:lnTo>
                  <a:pt x="270" y="588"/>
                </a:lnTo>
                <a:lnTo>
                  <a:pt x="270" y="582"/>
                </a:lnTo>
                <a:lnTo>
                  <a:pt x="270" y="576"/>
                </a:lnTo>
                <a:lnTo>
                  <a:pt x="276" y="576"/>
                </a:lnTo>
                <a:lnTo>
                  <a:pt x="276" y="570"/>
                </a:lnTo>
                <a:lnTo>
                  <a:pt x="276" y="564"/>
                </a:lnTo>
                <a:lnTo>
                  <a:pt x="270" y="558"/>
                </a:lnTo>
                <a:lnTo>
                  <a:pt x="276" y="558"/>
                </a:lnTo>
                <a:lnTo>
                  <a:pt x="276" y="552"/>
                </a:lnTo>
                <a:lnTo>
                  <a:pt x="276" y="558"/>
                </a:lnTo>
                <a:lnTo>
                  <a:pt x="282" y="558"/>
                </a:lnTo>
                <a:lnTo>
                  <a:pt x="288" y="558"/>
                </a:lnTo>
                <a:lnTo>
                  <a:pt x="294" y="558"/>
                </a:lnTo>
                <a:lnTo>
                  <a:pt x="300" y="558"/>
                </a:lnTo>
                <a:lnTo>
                  <a:pt x="306" y="558"/>
                </a:lnTo>
                <a:lnTo>
                  <a:pt x="312" y="558"/>
                </a:lnTo>
                <a:lnTo>
                  <a:pt x="318" y="558"/>
                </a:lnTo>
                <a:lnTo>
                  <a:pt x="318" y="564"/>
                </a:lnTo>
                <a:lnTo>
                  <a:pt x="324" y="564"/>
                </a:lnTo>
                <a:lnTo>
                  <a:pt x="324" y="570"/>
                </a:lnTo>
                <a:lnTo>
                  <a:pt x="330" y="570"/>
                </a:lnTo>
                <a:lnTo>
                  <a:pt x="336" y="570"/>
                </a:lnTo>
                <a:lnTo>
                  <a:pt x="342" y="570"/>
                </a:lnTo>
                <a:lnTo>
                  <a:pt x="348" y="570"/>
                </a:lnTo>
                <a:lnTo>
                  <a:pt x="354" y="570"/>
                </a:lnTo>
                <a:lnTo>
                  <a:pt x="360" y="570"/>
                </a:lnTo>
                <a:lnTo>
                  <a:pt x="366" y="570"/>
                </a:lnTo>
                <a:lnTo>
                  <a:pt x="360" y="570"/>
                </a:lnTo>
                <a:lnTo>
                  <a:pt x="360" y="564"/>
                </a:lnTo>
                <a:lnTo>
                  <a:pt x="354" y="564"/>
                </a:lnTo>
                <a:lnTo>
                  <a:pt x="348" y="564"/>
                </a:lnTo>
                <a:lnTo>
                  <a:pt x="342" y="564"/>
                </a:lnTo>
                <a:lnTo>
                  <a:pt x="342" y="570"/>
                </a:lnTo>
                <a:lnTo>
                  <a:pt x="336" y="564"/>
                </a:lnTo>
                <a:lnTo>
                  <a:pt x="336" y="570"/>
                </a:lnTo>
                <a:lnTo>
                  <a:pt x="336" y="564"/>
                </a:lnTo>
                <a:lnTo>
                  <a:pt x="330" y="564"/>
                </a:lnTo>
                <a:lnTo>
                  <a:pt x="324" y="558"/>
                </a:lnTo>
                <a:lnTo>
                  <a:pt x="324" y="564"/>
                </a:lnTo>
                <a:lnTo>
                  <a:pt x="324" y="558"/>
                </a:lnTo>
                <a:lnTo>
                  <a:pt x="318" y="558"/>
                </a:lnTo>
                <a:lnTo>
                  <a:pt x="312" y="552"/>
                </a:lnTo>
                <a:lnTo>
                  <a:pt x="312" y="558"/>
                </a:lnTo>
                <a:lnTo>
                  <a:pt x="312" y="552"/>
                </a:lnTo>
                <a:lnTo>
                  <a:pt x="306" y="552"/>
                </a:lnTo>
                <a:lnTo>
                  <a:pt x="300" y="546"/>
                </a:lnTo>
                <a:lnTo>
                  <a:pt x="294" y="546"/>
                </a:lnTo>
                <a:lnTo>
                  <a:pt x="288" y="546"/>
                </a:lnTo>
                <a:lnTo>
                  <a:pt x="282" y="546"/>
                </a:lnTo>
                <a:lnTo>
                  <a:pt x="276" y="546"/>
                </a:lnTo>
                <a:lnTo>
                  <a:pt x="276" y="552"/>
                </a:lnTo>
                <a:lnTo>
                  <a:pt x="270" y="552"/>
                </a:lnTo>
                <a:lnTo>
                  <a:pt x="270" y="558"/>
                </a:lnTo>
                <a:lnTo>
                  <a:pt x="270" y="564"/>
                </a:lnTo>
                <a:lnTo>
                  <a:pt x="264" y="570"/>
                </a:lnTo>
                <a:lnTo>
                  <a:pt x="258" y="576"/>
                </a:lnTo>
                <a:lnTo>
                  <a:pt x="258" y="582"/>
                </a:lnTo>
                <a:lnTo>
                  <a:pt x="252" y="582"/>
                </a:lnTo>
                <a:lnTo>
                  <a:pt x="246" y="582"/>
                </a:lnTo>
                <a:lnTo>
                  <a:pt x="240" y="582"/>
                </a:lnTo>
                <a:lnTo>
                  <a:pt x="234" y="576"/>
                </a:lnTo>
                <a:lnTo>
                  <a:pt x="228" y="576"/>
                </a:lnTo>
                <a:lnTo>
                  <a:pt x="222" y="576"/>
                </a:lnTo>
                <a:lnTo>
                  <a:pt x="222" y="570"/>
                </a:lnTo>
                <a:lnTo>
                  <a:pt x="216" y="564"/>
                </a:lnTo>
                <a:lnTo>
                  <a:pt x="216" y="558"/>
                </a:lnTo>
                <a:lnTo>
                  <a:pt x="210" y="558"/>
                </a:lnTo>
                <a:lnTo>
                  <a:pt x="210" y="552"/>
                </a:lnTo>
                <a:lnTo>
                  <a:pt x="216" y="552"/>
                </a:lnTo>
                <a:lnTo>
                  <a:pt x="216" y="546"/>
                </a:lnTo>
                <a:lnTo>
                  <a:pt x="216" y="540"/>
                </a:lnTo>
                <a:lnTo>
                  <a:pt x="222" y="534"/>
                </a:lnTo>
                <a:lnTo>
                  <a:pt x="222" y="528"/>
                </a:lnTo>
                <a:lnTo>
                  <a:pt x="228" y="522"/>
                </a:lnTo>
                <a:lnTo>
                  <a:pt x="228" y="516"/>
                </a:lnTo>
                <a:lnTo>
                  <a:pt x="228" y="510"/>
                </a:lnTo>
                <a:lnTo>
                  <a:pt x="234" y="510"/>
                </a:lnTo>
                <a:lnTo>
                  <a:pt x="240" y="516"/>
                </a:lnTo>
                <a:lnTo>
                  <a:pt x="246" y="522"/>
                </a:lnTo>
                <a:lnTo>
                  <a:pt x="246" y="516"/>
                </a:lnTo>
                <a:lnTo>
                  <a:pt x="240" y="516"/>
                </a:lnTo>
                <a:lnTo>
                  <a:pt x="240" y="510"/>
                </a:lnTo>
                <a:lnTo>
                  <a:pt x="234" y="510"/>
                </a:lnTo>
                <a:lnTo>
                  <a:pt x="234" y="504"/>
                </a:lnTo>
                <a:lnTo>
                  <a:pt x="228" y="504"/>
                </a:lnTo>
                <a:lnTo>
                  <a:pt x="222" y="504"/>
                </a:lnTo>
                <a:lnTo>
                  <a:pt x="222" y="498"/>
                </a:lnTo>
                <a:lnTo>
                  <a:pt x="222" y="504"/>
                </a:lnTo>
                <a:lnTo>
                  <a:pt x="222" y="510"/>
                </a:lnTo>
                <a:lnTo>
                  <a:pt x="222" y="516"/>
                </a:lnTo>
                <a:lnTo>
                  <a:pt x="216" y="522"/>
                </a:lnTo>
                <a:lnTo>
                  <a:pt x="216" y="528"/>
                </a:lnTo>
                <a:lnTo>
                  <a:pt x="210" y="528"/>
                </a:lnTo>
                <a:lnTo>
                  <a:pt x="216" y="528"/>
                </a:lnTo>
                <a:lnTo>
                  <a:pt x="210" y="534"/>
                </a:lnTo>
                <a:lnTo>
                  <a:pt x="210" y="540"/>
                </a:lnTo>
                <a:lnTo>
                  <a:pt x="210" y="546"/>
                </a:lnTo>
                <a:lnTo>
                  <a:pt x="204" y="546"/>
                </a:lnTo>
                <a:lnTo>
                  <a:pt x="204" y="552"/>
                </a:lnTo>
                <a:lnTo>
                  <a:pt x="204" y="558"/>
                </a:lnTo>
                <a:lnTo>
                  <a:pt x="204" y="564"/>
                </a:lnTo>
                <a:lnTo>
                  <a:pt x="198" y="570"/>
                </a:lnTo>
                <a:lnTo>
                  <a:pt x="192" y="564"/>
                </a:lnTo>
                <a:lnTo>
                  <a:pt x="186" y="564"/>
                </a:lnTo>
                <a:lnTo>
                  <a:pt x="180" y="564"/>
                </a:lnTo>
                <a:lnTo>
                  <a:pt x="174" y="564"/>
                </a:lnTo>
                <a:lnTo>
                  <a:pt x="168" y="564"/>
                </a:lnTo>
                <a:lnTo>
                  <a:pt x="162" y="564"/>
                </a:lnTo>
                <a:lnTo>
                  <a:pt x="156" y="570"/>
                </a:lnTo>
                <a:lnTo>
                  <a:pt x="150" y="570"/>
                </a:lnTo>
                <a:lnTo>
                  <a:pt x="150" y="564"/>
                </a:lnTo>
                <a:lnTo>
                  <a:pt x="150" y="570"/>
                </a:lnTo>
                <a:lnTo>
                  <a:pt x="150" y="576"/>
                </a:lnTo>
                <a:lnTo>
                  <a:pt x="144" y="576"/>
                </a:lnTo>
                <a:lnTo>
                  <a:pt x="138" y="576"/>
                </a:lnTo>
                <a:lnTo>
                  <a:pt x="132" y="582"/>
                </a:lnTo>
                <a:lnTo>
                  <a:pt x="126" y="582"/>
                </a:lnTo>
                <a:lnTo>
                  <a:pt x="120" y="582"/>
                </a:lnTo>
                <a:lnTo>
                  <a:pt x="114" y="576"/>
                </a:lnTo>
                <a:lnTo>
                  <a:pt x="108" y="564"/>
                </a:lnTo>
                <a:lnTo>
                  <a:pt x="102" y="558"/>
                </a:lnTo>
                <a:lnTo>
                  <a:pt x="96" y="552"/>
                </a:lnTo>
                <a:lnTo>
                  <a:pt x="90" y="546"/>
                </a:lnTo>
                <a:lnTo>
                  <a:pt x="90" y="540"/>
                </a:lnTo>
                <a:lnTo>
                  <a:pt x="84" y="534"/>
                </a:lnTo>
                <a:lnTo>
                  <a:pt x="84" y="528"/>
                </a:lnTo>
                <a:lnTo>
                  <a:pt x="78" y="522"/>
                </a:lnTo>
                <a:lnTo>
                  <a:pt x="78" y="516"/>
                </a:lnTo>
                <a:lnTo>
                  <a:pt x="72" y="510"/>
                </a:lnTo>
                <a:lnTo>
                  <a:pt x="66" y="504"/>
                </a:lnTo>
                <a:lnTo>
                  <a:pt x="66" y="498"/>
                </a:lnTo>
                <a:lnTo>
                  <a:pt x="66" y="492"/>
                </a:lnTo>
                <a:lnTo>
                  <a:pt x="66" y="486"/>
                </a:lnTo>
                <a:lnTo>
                  <a:pt x="66" y="480"/>
                </a:lnTo>
                <a:lnTo>
                  <a:pt x="66" y="474"/>
                </a:lnTo>
                <a:lnTo>
                  <a:pt x="72" y="474"/>
                </a:lnTo>
                <a:lnTo>
                  <a:pt x="72" y="468"/>
                </a:lnTo>
                <a:lnTo>
                  <a:pt x="78" y="462"/>
                </a:lnTo>
                <a:lnTo>
                  <a:pt x="78" y="456"/>
                </a:lnTo>
                <a:lnTo>
                  <a:pt x="84" y="456"/>
                </a:lnTo>
                <a:lnTo>
                  <a:pt x="84" y="450"/>
                </a:lnTo>
                <a:lnTo>
                  <a:pt x="84" y="444"/>
                </a:lnTo>
                <a:lnTo>
                  <a:pt x="90" y="444"/>
                </a:lnTo>
                <a:lnTo>
                  <a:pt x="96" y="444"/>
                </a:lnTo>
                <a:lnTo>
                  <a:pt x="96" y="450"/>
                </a:lnTo>
                <a:lnTo>
                  <a:pt x="102" y="450"/>
                </a:lnTo>
                <a:lnTo>
                  <a:pt x="108" y="450"/>
                </a:lnTo>
                <a:lnTo>
                  <a:pt x="108" y="456"/>
                </a:lnTo>
                <a:lnTo>
                  <a:pt x="108" y="462"/>
                </a:lnTo>
                <a:lnTo>
                  <a:pt x="114" y="462"/>
                </a:lnTo>
                <a:lnTo>
                  <a:pt x="114" y="468"/>
                </a:lnTo>
                <a:lnTo>
                  <a:pt x="114" y="474"/>
                </a:lnTo>
                <a:lnTo>
                  <a:pt x="114" y="480"/>
                </a:lnTo>
                <a:lnTo>
                  <a:pt x="114" y="486"/>
                </a:lnTo>
                <a:lnTo>
                  <a:pt x="120" y="486"/>
                </a:lnTo>
                <a:lnTo>
                  <a:pt x="126" y="486"/>
                </a:lnTo>
                <a:lnTo>
                  <a:pt x="132" y="486"/>
                </a:lnTo>
                <a:lnTo>
                  <a:pt x="126" y="480"/>
                </a:lnTo>
                <a:lnTo>
                  <a:pt x="120" y="480"/>
                </a:lnTo>
                <a:lnTo>
                  <a:pt x="114" y="480"/>
                </a:lnTo>
                <a:lnTo>
                  <a:pt x="120" y="480"/>
                </a:lnTo>
                <a:lnTo>
                  <a:pt x="120" y="474"/>
                </a:lnTo>
                <a:lnTo>
                  <a:pt x="120" y="468"/>
                </a:lnTo>
                <a:lnTo>
                  <a:pt x="114" y="468"/>
                </a:lnTo>
                <a:lnTo>
                  <a:pt x="114" y="462"/>
                </a:lnTo>
                <a:lnTo>
                  <a:pt x="114" y="456"/>
                </a:lnTo>
                <a:lnTo>
                  <a:pt x="108" y="456"/>
                </a:lnTo>
                <a:lnTo>
                  <a:pt x="108" y="450"/>
                </a:lnTo>
                <a:lnTo>
                  <a:pt x="108" y="444"/>
                </a:lnTo>
                <a:lnTo>
                  <a:pt x="114" y="438"/>
                </a:lnTo>
                <a:lnTo>
                  <a:pt x="120" y="438"/>
                </a:lnTo>
                <a:lnTo>
                  <a:pt x="120" y="432"/>
                </a:lnTo>
                <a:lnTo>
                  <a:pt x="132" y="426"/>
                </a:lnTo>
                <a:lnTo>
                  <a:pt x="138" y="420"/>
                </a:lnTo>
                <a:lnTo>
                  <a:pt x="144" y="420"/>
                </a:lnTo>
                <a:lnTo>
                  <a:pt x="144" y="414"/>
                </a:lnTo>
                <a:lnTo>
                  <a:pt x="144" y="420"/>
                </a:lnTo>
                <a:lnTo>
                  <a:pt x="150" y="420"/>
                </a:lnTo>
                <a:lnTo>
                  <a:pt x="150" y="414"/>
                </a:lnTo>
                <a:lnTo>
                  <a:pt x="156" y="414"/>
                </a:lnTo>
                <a:lnTo>
                  <a:pt x="162" y="414"/>
                </a:lnTo>
                <a:lnTo>
                  <a:pt x="162" y="408"/>
                </a:lnTo>
                <a:lnTo>
                  <a:pt x="168" y="408"/>
                </a:lnTo>
                <a:lnTo>
                  <a:pt x="174" y="414"/>
                </a:lnTo>
                <a:lnTo>
                  <a:pt x="174" y="408"/>
                </a:lnTo>
                <a:lnTo>
                  <a:pt x="180" y="402"/>
                </a:lnTo>
                <a:lnTo>
                  <a:pt x="180" y="396"/>
                </a:lnTo>
                <a:lnTo>
                  <a:pt x="186" y="396"/>
                </a:lnTo>
                <a:lnTo>
                  <a:pt x="186" y="390"/>
                </a:lnTo>
                <a:lnTo>
                  <a:pt x="192" y="390"/>
                </a:lnTo>
                <a:lnTo>
                  <a:pt x="198" y="384"/>
                </a:lnTo>
                <a:lnTo>
                  <a:pt x="204" y="384"/>
                </a:lnTo>
                <a:lnTo>
                  <a:pt x="204" y="390"/>
                </a:lnTo>
                <a:lnTo>
                  <a:pt x="204" y="384"/>
                </a:lnTo>
                <a:lnTo>
                  <a:pt x="210" y="378"/>
                </a:lnTo>
                <a:lnTo>
                  <a:pt x="210" y="372"/>
                </a:lnTo>
                <a:lnTo>
                  <a:pt x="216" y="372"/>
                </a:lnTo>
                <a:lnTo>
                  <a:pt x="222" y="366"/>
                </a:lnTo>
                <a:lnTo>
                  <a:pt x="228" y="360"/>
                </a:lnTo>
                <a:lnTo>
                  <a:pt x="234" y="360"/>
                </a:lnTo>
                <a:lnTo>
                  <a:pt x="234" y="354"/>
                </a:lnTo>
                <a:lnTo>
                  <a:pt x="240" y="354"/>
                </a:lnTo>
                <a:lnTo>
                  <a:pt x="246" y="348"/>
                </a:lnTo>
                <a:lnTo>
                  <a:pt x="252" y="348"/>
                </a:lnTo>
                <a:lnTo>
                  <a:pt x="252" y="342"/>
                </a:lnTo>
                <a:lnTo>
                  <a:pt x="246" y="342"/>
                </a:lnTo>
                <a:lnTo>
                  <a:pt x="240" y="342"/>
                </a:lnTo>
                <a:lnTo>
                  <a:pt x="240" y="348"/>
                </a:lnTo>
                <a:lnTo>
                  <a:pt x="240" y="342"/>
                </a:lnTo>
                <a:lnTo>
                  <a:pt x="234" y="342"/>
                </a:lnTo>
                <a:lnTo>
                  <a:pt x="228" y="336"/>
                </a:lnTo>
                <a:lnTo>
                  <a:pt x="222" y="336"/>
                </a:lnTo>
                <a:lnTo>
                  <a:pt x="216" y="336"/>
                </a:lnTo>
                <a:lnTo>
                  <a:pt x="222" y="324"/>
                </a:lnTo>
                <a:lnTo>
                  <a:pt x="222" y="318"/>
                </a:lnTo>
                <a:lnTo>
                  <a:pt x="222" y="312"/>
                </a:lnTo>
                <a:lnTo>
                  <a:pt x="234" y="318"/>
                </a:lnTo>
                <a:lnTo>
                  <a:pt x="246" y="318"/>
                </a:lnTo>
                <a:lnTo>
                  <a:pt x="258" y="318"/>
                </a:lnTo>
                <a:lnTo>
                  <a:pt x="270" y="312"/>
                </a:lnTo>
                <a:lnTo>
                  <a:pt x="276" y="312"/>
                </a:lnTo>
                <a:lnTo>
                  <a:pt x="288" y="324"/>
                </a:lnTo>
                <a:lnTo>
                  <a:pt x="294" y="318"/>
                </a:lnTo>
                <a:lnTo>
                  <a:pt x="294" y="312"/>
                </a:lnTo>
                <a:lnTo>
                  <a:pt x="294" y="306"/>
                </a:lnTo>
                <a:lnTo>
                  <a:pt x="300" y="300"/>
                </a:lnTo>
                <a:lnTo>
                  <a:pt x="306" y="306"/>
                </a:lnTo>
                <a:lnTo>
                  <a:pt x="312" y="318"/>
                </a:lnTo>
                <a:lnTo>
                  <a:pt x="318" y="312"/>
                </a:lnTo>
                <a:lnTo>
                  <a:pt x="324" y="312"/>
                </a:lnTo>
                <a:lnTo>
                  <a:pt x="330" y="312"/>
                </a:lnTo>
                <a:lnTo>
                  <a:pt x="342" y="306"/>
                </a:lnTo>
                <a:lnTo>
                  <a:pt x="348" y="306"/>
                </a:lnTo>
                <a:lnTo>
                  <a:pt x="348" y="312"/>
                </a:lnTo>
                <a:lnTo>
                  <a:pt x="348" y="318"/>
                </a:lnTo>
                <a:lnTo>
                  <a:pt x="354" y="318"/>
                </a:lnTo>
                <a:lnTo>
                  <a:pt x="354" y="324"/>
                </a:lnTo>
                <a:lnTo>
                  <a:pt x="354" y="330"/>
                </a:lnTo>
                <a:lnTo>
                  <a:pt x="360" y="330"/>
                </a:lnTo>
                <a:lnTo>
                  <a:pt x="360" y="336"/>
                </a:lnTo>
                <a:lnTo>
                  <a:pt x="366" y="330"/>
                </a:lnTo>
                <a:lnTo>
                  <a:pt x="378" y="324"/>
                </a:lnTo>
                <a:lnTo>
                  <a:pt x="384" y="324"/>
                </a:lnTo>
                <a:lnTo>
                  <a:pt x="384" y="318"/>
                </a:lnTo>
                <a:lnTo>
                  <a:pt x="390" y="312"/>
                </a:lnTo>
                <a:lnTo>
                  <a:pt x="396" y="312"/>
                </a:lnTo>
                <a:lnTo>
                  <a:pt x="396" y="306"/>
                </a:lnTo>
                <a:lnTo>
                  <a:pt x="402" y="306"/>
                </a:lnTo>
                <a:lnTo>
                  <a:pt x="408" y="306"/>
                </a:lnTo>
                <a:lnTo>
                  <a:pt x="414" y="300"/>
                </a:lnTo>
                <a:lnTo>
                  <a:pt x="420" y="300"/>
                </a:lnTo>
                <a:lnTo>
                  <a:pt x="426" y="300"/>
                </a:lnTo>
                <a:lnTo>
                  <a:pt x="432" y="300"/>
                </a:lnTo>
                <a:lnTo>
                  <a:pt x="444" y="288"/>
                </a:lnTo>
                <a:lnTo>
                  <a:pt x="450" y="294"/>
                </a:lnTo>
                <a:lnTo>
                  <a:pt x="468" y="300"/>
                </a:lnTo>
                <a:lnTo>
                  <a:pt x="498" y="312"/>
                </a:lnTo>
                <a:lnTo>
                  <a:pt x="504" y="324"/>
                </a:lnTo>
                <a:lnTo>
                  <a:pt x="516" y="330"/>
                </a:lnTo>
                <a:lnTo>
                  <a:pt x="516" y="336"/>
                </a:lnTo>
                <a:lnTo>
                  <a:pt x="540" y="342"/>
                </a:lnTo>
                <a:lnTo>
                  <a:pt x="558" y="372"/>
                </a:lnTo>
                <a:lnTo>
                  <a:pt x="594" y="384"/>
                </a:lnTo>
                <a:lnTo>
                  <a:pt x="606" y="402"/>
                </a:lnTo>
                <a:lnTo>
                  <a:pt x="600" y="420"/>
                </a:lnTo>
                <a:lnTo>
                  <a:pt x="588" y="444"/>
                </a:lnTo>
                <a:lnTo>
                  <a:pt x="588" y="450"/>
                </a:lnTo>
                <a:lnTo>
                  <a:pt x="588" y="456"/>
                </a:lnTo>
                <a:lnTo>
                  <a:pt x="594" y="456"/>
                </a:lnTo>
                <a:lnTo>
                  <a:pt x="594" y="462"/>
                </a:lnTo>
                <a:lnTo>
                  <a:pt x="594" y="468"/>
                </a:lnTo>
                <a:lnTo>
                  <a:pt x="594" y="474"/>
                </a:lnTo>
                <a:lnTo>
                  <a:pt x="600" y="474"/>
                </a:lnTo>
                <a:lnTo>
                  <a:pt x="606" y="480"/>
                </a:lnTo>
                <a:lnTo>
                  <a:pt x="606" y="486"/>
                </a:lnTo>
                <a:lnTo>
                  <a:pt x="612" y="486"/>
                </a:lnTo>
                <a:lnTo>
                  <a:pt x="618" y="486"/>
                </a:lnTo>
                <a:lnTo>
                  <a:pt x="624" y="486"/>
                </a:lnTo>
                <a:lnTo>
                  <a:pt x="636" y="486"/>
                </a:lnTo>
                <a:lnTo>
                  <a:pt x="642" y="486"/>
                </a:lnTo>
                <a:lnTo>
                  <a:pt x="648" y="480"/>
                </a:lnTo>
                <a:lnTo>
                  <a:pt x="654" y="474"/>
                </a:lnTo>
                <a:lnTo>
                  <a:pt x="660" y="468"/>
                </a:lnTo>
                <a:lnTo>
                  <a:pt x="666" y="468"/>
                </a:lnTo>
                <a:lnTo>
                  <a:pt x="684" y="468"/>
                </a:lnTo>
                <a:lnTo>
                  <a:pt x="696" y="468"/>
                </a:lnTo>
                <a:lnTo>
                  <a:pt x="696" y="462"/>
                </a:lnTo>
                <a:lnTo>
                  <a:pt x="702" y="456"/>
                </a:lnTo>
                <a:lnTo>
                  <a:pt x="708" y="450"/>
                </a:lnTo>
                <a:lnTo>
                  <a:pt x="714" y="450"/>
                </a:lnTo>
                <a:lnTo>
                  <a:pt x="720" y="450"/>
                </a:lnTo>
                <a:lnTo>
                  <a:pt x="720" y="438"/>
                </a:lnTo>
                <a:lnTo>
                  <a:pt x="726" y="432"/>
                </a:lnTo>
                <a:lnTo>
                  <a:pt x="738" y="420"/>
                </a:lnTo>
                <a:lnTo>
                  <a:pt x="744" y="420"/>
                </a:lnTo>
                <a:lnTo>
                  <a:pt x="750" y="414"/>
                </a:lnTo>
                <a:lnTo>
                  <a:pt x="762" y="408"/>
                </a:lnTo>
                <a:lnTo>
                  <a:pt x="768" y="408"/>
                </a:lnTo>
                <a:lnTo>
                  <a:pt x="768" y="402"/>
                </a:lnTo>
                <a:lnTo>
                  <a:pt x="780" y="396"/>
                </a:lnTo>
                <a:lnTo>
                  <a:pt x="786" y="396"/>
                </a:lnTo>
                <a:lnTo>
                  <a:pt x="786" y="390"/>
                </a:lnTo>
                <a:lnTo>
                  <a:pt x="792" y="384"/>
                </a:lnTo>
                <a:lnTo>
                  <a:pt x="792" y="378"/>
                </a:lnTo>
                <a:lnTo>
                  <a:pt x="798" y="366"/>
                </a:lnTo>
                <a:lnTo>
                  <a:pt x="804" y="360"/>
                </a:lnTo>
                <a:lnTo>
                  <a:pt x="816" y="342"/>
                </a:lnTo>
                <a:lnTo>
                  <a:pt x="816" y="312"/>
                </a:lnTo>
                <a:lnTo>
                  <a:pt x="804" y="300"/>
                </a:lnTo>
                <a:lnTo>
                  <a:pt x="798" y="288"/>
                </a:lnTo>
                <a:lnTo>
                  <a:pt x="762" y="264"/>
                </a:lnTo>
                <a:lnTo>
                  <a:pt x="738" y="234"/>
                </a:lnTo>
                <a:lnTo>
                  <a:pt x="738" y="222"/>
                </a:lnTo>
                <a:lnTo>
                  <a:pt x="744" y="210"/>
                </a:lnTo>
                <a:lnTo>
                  <a:pt x="732" y="174"/>
                </a:lnTo>
                <a:lnTo>
                  <a:pt x="714" y="156"/>
                </a:lnTo>
                <a:lnTo>
                  <a:pt x="708" y="144"/>
                </a:lnTo>
                <a:lnTo>
                  <a:pt x="714" y="126"/>
                </a:lnTo>
                <a:lnTo>
                  <a:pt x="720" y="114"/>
                </a:lnTo>
                <a:lnTo>
                  <a:pt x="732" y="102"/>
                </a:lnTo>
                <a:lnTo>
                  <a:pt x="744" y="102"/>
                </a:lnTo>
                <a:lnTo>
                  <a:pt x="762" y="108"/>
                </a:lnTo>
                <a:lnTo>
                  <a:pt x="774" y="114"/>
                </a:lnTo>
                <a:lnTo>
                  <a:pt x="780" y="138"/>
                </a:lnTo>
                <a:lnTo>
                  <a:pt x="786" y="144"/>
                </a:lnTo>
                <a:lnTo>
                  <a:pt x="798" y="138"/>
                </a:lnTo>
                <a:lnTo>
                  <a:pt x="804" y="132"/>
                </a:lnTo>
                <a:lnTo>
                  <a:pt x="816" y="120"/>
                </a:lnTo>
                <a:lnTo>
                  <a:pt x="816" y="108"/>
                </a:lnTo>
                <a:lnTo>
                  <a:pt x="828" y="102"/>
                </a:lnTo>
                <a:lnTo>
                  <a:pt x="828" y="96"/>
                </a:lnTo>
                <a:lnTo>
                  <a:pt x="840" y="96"/>
                </a:lnTo>
                <a:lnTo>
                  <a:pt x="840" y="84"/>
                </a:lnTo>
                <a:lnTo>
                  <a:pt x="852" y="90"/>
                </a:lnTo>
                <a:lnTo>
                  <a:pt x="852" y="96"/>
                </a:lnTo>
                <a:lnTo>
                  <a:pt x="870" y="90"/>
                </a:lnTo>
                <a:lnTo>
                  <a:pt x="894" y="78"/>
                </a:lnTo>
                <a:lnTo>
                  <a:pt x="912" y="78"/>
                </a:lnTo>
                <a:lnTo>
                  <a:pt x="942" y="66"/>
                </a:lnTo>
                <a:lnTo>
                  <a:pt x="942" y="60"/>
                </a:lnTo>
                <a:lnTo>
                  <a:pt x="954" y="48"/>
                </a:lnTo>
                <a:lnTo>
                  <a:pt x="966" y="30"/>
                </a:lnTo>
                <a:lnTo>
                  <a:pt x="978" y="30"/>
                </a:lnTo>
                <a:lnTo>
                  <a:pt x="978" y="24"/>
                </a:lnTo>
                <a:lnTo>
                  <a:pt x="984" y="12"/>
                </a:lnTo>
                <a:lnTo>
                  <a:pt x="990" y="12"/>
                </a:lnTo>
                <a:lnTo>
                  <a:pt x="996" y="12"/>
                </a:lnTo>
                <a:lnTo>
                  <a:pt x="1014" y="6"/>
                </a:lnTo>
                <a:lnTo>
                  <a:pt x="1026" y="6"/>
                </a:lnTo>
                <a:lnTo>
                  <a:pt x="1044" y="6"/>
                </a:lnTo>
                <a:lnTo>
                  <a:pt x="1050" y="6"/>
                </a:lnTo>
                <a:lnTo>
                  <a:pt x="1056" y="6"/>
                </a:lnTo>
                <a:lnTo>
                  <a:pt x="1062" y="6"/>
                </a:lnTo>
                <a:lnTo>
                  <a:pt x="1068" y="6"/>
                </a:lnTo>
                <a:lnTo>
                  <a:pt x="1074" y="6"/>
                </a:lnTo>
                <a:lnTo>
                  <a:pt x="1080" y="6"/>
                </a:lnTo>
                <a:lnTo>
                  <a:pt x="1086" y="0"/>
                </a:lnTo>
                <a:lnTo>
                  <a:pt x="1092" y="30"/>
                </a:lnTo>
                <a:lnTo>
                  <a:pt x="1098" y="60"/>
                </a:lnTo>
                <a:lnTo>
                  <a:pt x="1110" y="84"/>
                </a:lnTo>
                <a:lnTo>
                  <a:pt x="1122" y="114"/>
                </a:lnTo>
                <a:lnTo>
                  <a:pt x="1128" y="144"/>
                </a:lnTo>
                <a:lnTo>
                  <a:pt x="1122" y="156"/>
                </a:lnTo>
                <a:lnTo>
                  <a:pt x="1128" y="168"/>
                </a:lnTo>
                <a:lnTo>
                  <a:pt x="1134" y="186"/>
                </a:lnTo>
                <a:lnTo>
                  <a:pt x="1140" y="204"/>
                </a:lnTo>
                <a:lnTo>
                  <a:pt x="1146" y="210"/>
                </a:lnTo>
                <a:lnTo>
                  <a:pt x="1146" y="216"/>
                </a:lnTo>
                <a:lnTo>
                  <a:pt x="1146" y="228"/>
                </a:lnTo>
                <a:lnTo>
                  <a:pt x="1146" y="234"/>
                </a:lnTo>
                <a:lnTo>
                  <a:pt x="1140" y="246"/>
                </a:lnTo>
                <a:lnTo>
                  <a:pt x="1128" y="258"/>
                </a:lnTo>
                <a:lnTo>
                  <a:pt x="1116" y="264"/>
                </a:lnTo>
                <a:lnTo>
                  <a:pt x="1110" y="276"/>
                </a:lnTo>
                <a:lnTo>
                  <a:pt x="1116" y="288"/>
                </a:lnTo>
                <a:lnTo>
                  <a:pt x="1122" y="300"/>
                </a:lnTo>
                <a:lnTo>
                  <a:pt x="1122" y="312"/>
                </a:lnTo>
                <a:lnTo>
                  <a:pt x="1116" y="324"/>
                </a:lnTo>
                <a:lnTo>
                  <a:pt x="1104" y="336"/>
                </a:lnTo>
                <a:lnTo>
                  <a:pt x="1104" y="354"/>
                </a:lnTo>
                <a:lnTo>
                  <a:pt x="1098" y="372"/>
                </a:lnTo>
                <a:lnTo>
                  <a:pt x="1092" y="384"/>
                </a:lnTo>
                <a:lnTo>
                  <a:pt x="1086" y="390"/>
                </a:lnTo>
                <a:lnTo>
                  <a:pt x="1086" y="402"/>
                </a:lnTo>
                <a:lnTo>
                  <a:pt x="1080" y="414"/>
                </a:lnTo>
                <a:lnTo>
                  <a:pt x="1074" y="426"/>
                </a:lnTo>
                <a:lnTo>
                  <a:pt x="1074" y="450"/>
                </a:lnTo>
                <a:lnTo>
                  <a:pt x="1074" y="462"/>
                </a:lnTo>
                <a:lnTo>
                  <a:pt x="1068" y="474"/>
                </a:lnTo>
                <a:lnTo>
                  <a:pt x="1062" y="486"/>
                </a:lnTo>
                <a:lnTo>
                  <a:pt x="1056" y="498"/>
                </a:lnTo>
                <a:close/>
                <a:moveTo>
                  <a:pt x="186" y="378"/>
                </a:moveTo>
                <a:lnTo>
                  <a:pt x="186" y="384"/>
                </a:lnTo>
                <a:lnTo>
                  <a:pt x="180" y="390"/>
                </a:lnTo>
                <a:lnTo>
                  <a:pt x="174" y="396"/>
                </a:lnTo>
                <a:lnTo>
                  <a:pt x="168" y="396"/>
                </a:lnTo>
                <a:lnTo>
                  <a:pt x="162" y="396"/>
                </a:lnTo>
                <a:lnTo>
                  <a:pt x="156" y="396"/>
                </a:lnTo>
                <a:lnTo>
                  <a:pt x="156" y="402"/>
                </a:lnTo>
                <a:lnTo>
                  <a:pt x="150" y="402"/>
                </a:lnTo>
                <a:lnTo>
                  <a:pt x="144" y="402"/>
                </a:lnTo>
                <a:lnTo>
                  <a:pt x="144" y="408"/>
                </a:lnTo>
                <a:lnTo>
                  <a:pt x="138" y="408"/>
                </a:lnTo>
                <a:lnTo>
                  <a:pt x="132" y="414"/>
                </a:lnTo>
                <a:lnTo>
                  <a:pt x="126" y="414"/>
                </a:lnTo>
                <a:lnTo>
                  <a:pt x="120" y="414"/>
                </a:lnTo>
                <a:lnTo>
                  <a:pt x="120" y="420"/>
                </a:lnTo>
                <a:lnTo>
                  <a:pt x="114" y="426"/>
                </a:lnTo>
                <a:lnTo>
                  <a:pt x="108" y="426"/>
                </a:lnTo>
                <a:lnTo>
                  <a:pt x="102" y="426"/>
                </a:lnTo>
                <a:lnTo>
                  <a:pt x="102" y="432"/>
                </a:lnTo>
                <a:lnTo>
                  <a:pt x="96" y="432"/>
                </a:lnTo>
                <a:lnTo>
                  <a:pt x="90" y="432"/>
                </a:lnTo>
                <a:lnTo>
                  <a:pt x="84" y="438"/>
                </a:lnTo>
                <a:lnTo>
                  <a:pt x="78" y="438"/>
                </a:lnTo>
                <a:lnTo>
                  <a:pt x="78" y="444"/>
                </a:lnTo>
                <a:lnTo>
                  <a:pt x="72" y="444"/>
                </a:lnTo>
                <a:lnTo>
                  <a:pt x="72" y="450"/>
                </a:lnTo>
                <a:lnTo>
                  <a:pt x="66" y="456"/>
                </a:lnTo>
                <a:lnTo>
                  <a:pt x="66" y="462"/>
                </a:lnTo>
                <a:lnTo>
                  <a:pt x="60" y="462"/>
                </a:lnTo>
                <a:lnTo>
                  <a:pt x="60" y="468"/>
                </a:lnTo>
                <a:lnTo>
                  <a:pt x="60" y="474"/>
                </a:lnTo>
                <a:lnTo>
                  <a:pt x="54" y="474"/>
                </a:lnTo>
                <a:lnTo>
                  <a:pt x="48" y="468"/>
                </a:lnTo>
                <a:lnTo>
                  <a:pt x="42" y="468"/>
                </a:lnTo>
                <a:lnTo>
                  <a:pt x="42" y="462"/>
                </a:lnTo>
                <a:lnTo>
                  <a:pt x="42" y="456"/>
                </a:lnTo>
                <a:lnTo>
                  <a:pt x="36" y="456"/>
                </a:lnTo>
                <a:lnTo>
                  <a:pt x="36" y="450"/>
                </a:lnTo>
                <a:lnTo>
                  <a:pt x="36" y="444"/>
                </a:lnTo>
                <a:lnTo>
                  <a:pt x="30" y="444"/>
                </a:lnTo>
                <a:lnTo>
                  <a:pt x="30" y="438"/>
                </a:lnTo>
                <a:lnTo>
                  <a:pt x="30" y="432"/>
                </a:lnTo>
                <a:lnTo>
                  <a:pt x="24" y="432"/>
                </a:lnTo>
                <a:lnTo>
                  <a:pt x="24" y="426"/>
                </a:lnTo>
                <a:lnTo>
                  <a:pt x="18" y="420"/>
                </a:lnTo>
                <a:lnTo>
                  <a:pt x="18" y="414"/>
                </a:lnTo>
                <a:lnTo>
                  <a:pt x="12" y="414"/>
                </a:lnTo>
                <a:lnTo>
                  <a:pt x="12" y="408"/>
                </a:lnTo>
                <a:lnTo>
                  <a:pt x="6" y="402"/>
                </a:lnTo>
                <a:lnTo>
                  <a:pt x="6" y="396"/>
                </a:lnTo>
                <a:lnTo>
                  <a:pt x="0" y="396"/>
                </a:lnTo>
                <a:lnTo>
                  <a:pt x="6" y="384"/>
                </a:lnTo>
                <a:lnTo>
                  <a:pt x="18" y="372"/>
                </a:lnTo>
                <a:lnTo>
                  <a:pt x="30" y="348"/>
                </a:lnTo>
                <a:lnTo>
                  <a:pt x="30" y="342"/>
                </a:lnTo>
                <a:lnTo>
                  <a:pt x="42" y="330"/>
                </a:lnTo>
                <a:lnTo>
                  <a:pt x="42" y="324"/>
                </a:lnTo>
                <a:lnTo>
                  <a:pt x="48" y="318"/>
                </a:lnTo>
                <a:lnTo>
                  <a:pt x="54" y="306"/>
                </a:lnTo>
                <a:lnTo>
                  <a:pt x="54" y="294"/>
                </a:lnTo>
                <a:lnTo>
                  <a:pt x="60" y="282"/>
                </a:lnTo>
                <a:lnTo>
                  <a:pt x="60" y="276"/>
                </a:lnTo>
                <a:lnTo>
                  <a:pt x="60" y="270"/>
                </a:lnTo>
                <a:lnTo>
                  <a:pt x="66" y="270"/>
                </a:lnTo>
                <a:lnTo>
                  <a:pt x="72" y="258"/>
                </a:lnTo>
                <a:lnTo>
                  <a:pt x="84" y="246"/>
                </a:lnTo>
                <a:lnTo>
                  <a:pt x="90" y="234"/>
                </a:lnTo>
                <a:lnTo>
                  <a:pt x="96" y="234"/>
                </a:lnTo>
                <a:lnTo>
                  <a:pt x="96" y="228"/>
                </a:lnTo>
                <a:lnTo>
                  <a:pt x="102" y="222"/>
                </a:lnTo>
                <a:lnTo>
                  <a:pt x="102" y="228"/>
                </a:lnTo>
                <a:lnTo>
                  <a:pt x="102" y="234"/>
                </a:lnTo>
                <a:lnTo>
                  <a:pt x="108" y="234"/>
                </a:lnTo>
                <a:lnTo>
                  <a:pt x="108" y="228"/>
                </a:lnTo>
                <a:lnTo>
                  <a:pt x="114" y="228"/>
                </a:lnTo>
                <a:lnTo>
                  <a:pt x="114" y="234"/>
                </a:lnTo>
                <a:lnTo>
                  <a:pt x="120" y="228"/>
                </a:lnTo>
                <a:lnTo>
                  <a:pt x="120" y="222"/>
                </a:lnTo>
                <a:lnTo>
                  <a:pt x="126" y="222"/>
                </a:lnTo>
                <a:lnTo>
                  <a:pt x="132" y="222"/>
                </a:lnTo>
                <a:lnTo>
                  <a:pt x="126" y="228"/>
                </a:lnTo>
                <a:lnTo>
                  <a:pt x="132" y="228"/>
                </a:lnTo>
                <a:lnTo>
                  <a:pt x="138" y="228"/>
                </a:lnTo>
                <a:lnTo>
                  <a:pt x="138" y="234"/>
                </a:lnTo>
                <a:lnTo>
                  <a:pt x="144" y="234"/>
                </a:lnTo>
                <a:lnTo>
                  <a:pt x="144" y="228"/>
                </a:lnTo>
                <a:lnTo>
                  <a:pt x="150" y="228"/>
                </a:lnTo>
                <a:lnTo>
                  <a:pt x="156" y="228"/>
                </a:lnTo>
                <a:lnTo>
                  <a:pt x="156" y="234"/>
                </a:lnTo>
                <a:lnTo>
                  <a:pt x="150" y="234"/>
                </a:lnTo>
                <a:lnTo>
                  <a:pt x="156" y="240"/>
                </a:lnTo>
                <a:lnTo>
                  <a:pt x="156" y="246"/>
                </a:lnTo>
                <a:lnTo>
                  <a:pt x="162" y="240"/>
                </a:lnTo>
                <a:lnTo>
                  <a:pt x="162" y="246"/>
                </a:lnTo>
                <a:lnTo>
                  <a:pt x="162" y="258"/>
                </a:lnTo>
                <a:lnTo>
                  <a:pt x="162" y="264"/>
                </a:lnTo>
                <a:lnTo>
                  <a:pt x="156" y="270"/>
                </a:lnTo>
                <a:lnTo>
                  <a:pt x="162" y="270"/>
                </a:lnTo>
                <a:lnTo>
                  <a:pt x="162" y="282"/>
                </a:lnTo>
                <a:lnTo>
                  <a:pt x="168" y="282"/>
                </a:lnTo>
                <a:lnTo>
                  <a:pt x="174" y="282"/>
                </a:lnTo>
                <a:lnTo>
                  <a:pt x="186" y="288"/>
                </a:lnTo>
                <a:lnTo>
                  <a:pt x="186" y="294"/>
                </a:lnTo>
                <a:lnTo>
                  <a:pt x="180" y="300"/>
                </a:lnTo>
                <a:lnTo>
                  <a:pt x="174" y="318"/>
                </a:lnTo>
                <a:lnTo>
                  <a:pt x="174" y="324"/>
                </a:lnTo>
                <a:lnTo>
                  <a:pt x="168" y="330"/>
                </a:lnTo>
                <a:lnTo>
                  <a:pt x="168" y="342"/>
                </a:lnTo>
                <a:lnTo>
                  <a:pt x="168" y="348"/>
                </a:lnTo>
                <a:lnTo>
                  <a:pt x="174" y="354"/>
                </a:lnTo>
                <a:lnTo>
                  <a:pt x="174" y="360"/>
                </a:lnTo>
                <a:lnTo>
                  <a:pt x="180" y="366"/>
                </a:lnTo>
                <a:lnTo>
                  <a:pt x="186" y="378"/>
                </a:lnTo>
                <a:close/>
              </a:path>
            </a:pathLst>
          </a:custGeom>
          <a:noFill/>
          <a:ln w="9525" cap="flat" cmpd="sng">
            <a:solidFill>
              <a:srgbClr val="E8E8E8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67" name="Freeform 23">
            <a:extLst>
              <a:ext uri="{FF2B5EF4-FFF2-40B4-BE49-F238E27FC236}">
                <a16:creationId xmlns:a16="http://schemas.microsoft.com/office/drawing/2014/main" id="{08449AAD-4D37-4E5F-9C24-BCF3335B05EC}"/>
              </a:ext>
            </a:extLst>
          </p:cNvPr>
          <p:cNvSpPr>
            <a:spLocks/>
          </p:cNvSpPr>
          <p:nvPr/>
        </p:nvSpPr>
        <p:spPr bwMode="gray">
          <a:xfrm>
            <a:off x="3732642" y="4363505"/>
            <a:ext cx="627934" cy="681747"/>
          </a:xfrm>
          <a:custGeom>
            <a:avLst/>
            <a:gdLst>
              <a:gd name="T0" fmla="*/ 90 w 1092"/>
              <a:gd name="T1" fmla="*/ 60 h 1170"/>
              <a:gd name="T2" fmla="*/ 83 w 1092"/>
              <a:gd name="T3" fmla="*/ 62 h 1170"/>
              <a:gd name="T4" fmla="*/ 72 w 1092"/>
              <a:gd name="T5" fmla="*/ 68 h 1170"/>
              <a:gd name="T6" fmla="*/ 68 w 1092"/>
              <a:gd name="T7" fmla="*/ 71 h 1170"/>
              <a:gd name="T8" fmla="*/ 61 w 1092"/>
              <a:gd name="T9" fmla="*/ 69 h 1170"/>
              <a:gd name="T10" fmla="*/ 64 w 1092"/>
              <a:gd name="T11" fmla="*/ 82 h 1170"/>
              <a:gd name="T12" fmla="*/ 67 w 1092"/>
              <a:gd name="T13" fmla="*/ 93 h 1170"/>
              <a:gd name="T14" fmla="*/ 62 w 1092"/>
              <a:gd name="T15" fmla="*/ 96 h 1170"/>
              <a:gd name="T16" fmla="*/ 59 w 1092"/>
              <a:gd name="T17" fmla="*/ 99 h 1170"/>
              <a:gd name="T18" fmla="*/ 53 w 1092"/>
              <a:gd name="T19" fmla="*/ 101 h 1170"/>
              <a:gd name="T20" fmla="*/ 50 w 1092"/>
              <a:gd name="T21" fmla="*/ 100 h 1170"/>
              <a:gd name="T22" fmla="*/ 50 w 1092"/>
              <a:gd name="T23" fmla="*/ 93 h 1170"/>
              <a:gd name="T24" fmla="*/ 37 w 1092"/>
              <a:gd name="T25" fmla="*/ 85 h 1170"/>
              <a:gd name="T26" fmla="*/ 32 w 1092"/>
              <a:gd name="T27" fmla="*/ 86 h 1170"/>
              <a:gd name="T28" fmla="*/ 29 w 1092"/>
              <a:gd name="T29" fmla="*/ 88 h 1170"/>
              <a:gd name="T30" fmla="*/ 27 w 1092"/>
              <a:gd name="T31" fmla="*/ 86 h 1170"/>
              <a:gd name="T32" fmla="*/ 23 w 1092"/>
              <a:gd name="T33" fmla="*/ 87 h 1170"/>
              <a:gd name="T34" fmla="*/ 17 w 1092"/>
              <a:gd name="T35" fmla="*/ 87 h 1170"/>
              <a:gd name="T36" fmla="*/ 18 w 1092"/>
              <a:gd name="T37" fmla="*/ 89 h 1170"/>
              <a:gd name="T38" fmla="*/ 16 w 1092"/>
              <a:gd name="T39" fmla="*/ 92 h 1170"/>
              <a:gd name="T40" fmla="*/ 12 w 1092"/>
              <a:gd name="T41" fmla="*/ 89 h 1170"/>
              <a:gd name="T42" fmla="*/ 13 w 1092"/>
              <a:gd name="T43" fmla="*/ 84 h 1170"/>
              <a:gd name="T44" fmla="*/ 12 w 1092"/>
              <a:gd name="T45" fmla="*/ 80 h 1170"/>
              <a:gd name="T46" fmla="*/ 10 w 1092"/>
              <a:gd name="T47" fmla="*/ 80 h 1170"/>
              <a:gd name="T48" fmla="*/ 8 w 1092"/>
              <a:gd name="T49" fmla="*/ 79 h 1170"/>
              <a:gd name="T50" fmla="*/ 6 w 1092"/>
              <a:gd name="T51" fmla="*/ 78 h 1170"/>
              <a:gd name="T52" fmla="*/ 6 w 1092"/>
              <a:gd name="T53" fmla="*/ 77 h 1170"/>
              <a:gd name="T54" fmla="*/ 4 w 1092"/>
              <a:gd name="T55" fmla="*/ 75 h 1170"/>
              <a:gd name="T56" fmla="*/ 0 w 1092"/>
              <a:gd name="T57" fmla="*/ 72 h 1170"/>
              <a:gd name="T58" fmla="*/ 0 w 1092"/>
              <a:gd name="T59" fmla="*/ 69 h 1170"/>
              <a:gd name="T60" fmla="*/ 3 w 1092"/>
              <a:gd name="T61" fmla="*/ 67 h 1170"/>
              <a:gd name="T62" fmla="*/ 6 w 1092"/>
              <a:gd name="T63" fmla="*/ 62 h 1170"/>
              <a:gd name="T64" fmla="*/ 8 w 1092"/>
              <a:gd name="T65" fmla="*/ 58 h 1170"/>
              <a:gd name="T66" fmla="*/ 5 w 1092"/>
              <a:gd name="T67" fmla="*/ 54 h 1170"/>
              <a:gd name="T68" fmla="*/ 6 w 1092"/>
              <a:gd name="T69" fmla="*/ 50 h 1170"/>
              <a:gd name="T70" fmla="*/ 8 w 1092"/>
              <a:gd name="T71" fmla="*/ 46 h 1170"/>
              <a:gd name="T72" fmla="*/ 10 w 1092"/>
              <a:gd name="T73" fmla="*/ 43 h 1170"/>
              <a:gd name="T74" fmla="*/ 14 w 1092"/>
              <a:gd name="T75" fmla="*/ 38 h 1170"/>
              <a:gd name="T76" fmla="*/ 31 w 1092"/>
              <a:gd name="T77" fmla="*/ 40 h 1170"/>
              <a:gd name="T78" fmla="*/ 30 w 1092"/>
              <a:gd name="T79" fmla="*/ 46 h 1170"/>
              <a:gd name="T80" fmla="*/ 36 w 1092"/>
              <a:gd name="T81" fmla="*/ 47 h 1170"/>
              <a:gd name="T82" fmla="*/ 41 w 1092"/>
              <a:gd name="T83" fmla="*/ 44 h 1170"/>
              <a:gd name="T84" fmla="*/ 43 w 1092"/>
              <a:gd name="T85" fmla="*/ 39 h 1170"/>
              <a:gd name="T86" fmla="*/ 44 w 1092"/>
              <a:gd name="T87" fmla="*/ 35 h 1170"/>
              <a:gd name="T88" fmla="*/ 44 w 1092"/>
              <a:gd name="T89" fmla="*/ 29 h 1170"/>
              <a:gd name="T90" fmla="*/ 48 w 1092"/>
              <a:gd name="T91" fmla="*/ 24 h 1170"/>
              <a:gd name="T92" fmla="*/ 49 w 1092"/>
              <a:gd name="T93" fmla="*/ 19 h 1170"/>
              <a:gd name="T94" fmla="*/ 51 w 1092"/>
              <a:gd name="T95" fmla="*/ 14 h 1170"/>
              <a:gd name="T96" fmla="*/ 54 w 1092"/>
              <a:gd name="T97" fmla="*/ 10 h 1170"/>
              <a:gd name="T98" fmla="*/ 53 w 1092"/>
              <a:gd name="T99" fmla="*/ 7 h 1170"/>
              <a:gd name="T100" fmla="*/ 55 w 1092"/>
              <a:gd name="T101" fmla="*/ 3 h 1170"/>
              <a:gd name="T102" fmla="*/ 58 w 1092"/>
              <a:gd name="T103" fmla="*/ 0 h 1170"/>
              <a:gd name="T104" fmla="*/ 65 w 1092"/>
              <a:gd name="T105" fmla="*/ 2 h 1170"/>
              <a:gd name="T106" fmla="*/ 61 w 1092"/>
              <a:gd name="T107" fmla="*/ 6 h 1170"/>
              <a:gd name="T108" fmla="*/ 67 w 1092"/>
              <a:gd name="T109" fmla="*/ 7 h 1170"/>
              <a:gd name="T110" fmla="*/ 71 w 1092"/>
              <a:gd name="T111" fmla="*/ 6 h 1170"/>
              <a:gd name="T112" fmla="*/ 75 w 1092"/>
              <a:gd name="T113" fmla="*/ 9 h 1170"/>
              <a:gd name="T114" fmla="*/ 82 w 1092"/>
              <a:gd name="T115" fmla="*/ 12 h 1170"/>
              <a:gd name="T116" fmla="*/ 84 w 1092"/>
              <a:gd name="T117" fmla="*/ 17 h 1170"/>
              <a:gd name="T118" fmla="*/ 94 w 1092"/>
              <a:gd name="T119" fmla="*/ 23 h 1170"/>
              <a:gd name="T120" fmla="*/ 94 w 1092"/>
              <a:gd name="T121" fmla="*/ 34 h 1170"/>
              <a:gd name="T122" fmla="*/ 90 w 1092"/>
              <a:gd name="T123" fmla="*/ 41 h 1170"/>
              <a:gd name="T124" fmla="*/ 91 w 1092"/>
              <a:gd name="T125" fmla="*/ 51 h 1170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092"/>
              <a:gd name="T190" fmla="*/ 0 h 1170"/>
              <a:gd name="T191" fmla="*/ 1092 w 1092"/>
              <a:gd name="T192" fmla="*/ 1170 h 1170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092" h="1170">
                <a:moveTo>
                  <a:pt x="1056" y="654"/>
                </a:moveTo>
                <a:lnTo>
                  <a:pt x="1062" y="684"/>
                </a:lnTo>
                <a:lnTo>
                  <a:pt x="1056" y="690"/>
                </a:lnTo>
                <a:lnTo>
                  <a:pt x="1050" y="690"/>
                </a:lnTo>
                <a:lnTo>
                  <a:pt x="1044" y="690"/>
                </a:lnTo>
                <a:lnTo>
                  <a:pt x="1038" y="690"/>
                </a:lnTo>
                <a:lnTo>
                  <a:pt x="1032" y="690"/>
                </a:lnTo>
                <a:lnTo>
                  <a:pt x="1026" y="690"/>
                </a:lnTo>
                <a:lnTo>
                  <a:pt x="1020" y="690"/>
                </a:lnTo>
                <a:lnTo>
                  <a:pt x="1002" y="690"/>
                </a:lnTo>
                <a:lnTo>
                  <a:pt x="990" y="690"/>
                </a:lnTo>
                <a:lnTo>
                  <a:pt x="972" y="696"/>
                </a:lnTo>
                <a:lnTo>
                  <a:pt x="966" y="696"/>
                </a:lnTo>
                <a:lnTo>
                  <a:pt x="960" y="696"/>
                </a:lnTo>
                <a:lnTo>
                  <a:pt x="954" y="708"/>
                </a:lnTo>
                <a:lnTo>
                  <a:pt x="954" y="714"/>
                </a:lnTo>
                <a:lnTo>
                  <a:pt x="942" y="714"/>
                </a:lnTo>
                <a:lnTo>
                  <a:pt x="930" y="732"/>
                </a:lnTo>
                <a:lnTo>
                  <a:pt x="918" y="744"/>
                </a:lnTo>
                <a:lnTo>
                  <a:pt x="918" y="750"/>
                </a:lnTo>
                <a:lnTo>
                  <a:pt x="888" y="762"/>
                </a:lnTo>
                <a:lnTo>
                  <a:pt x="870" y="762"/>
                </a:lnTo>
                <a:lnTo>
                  <a:pt x="846" y="774"/>
                </a:lnTo>
                <a:lnTo>
                  <a:pt x="828" y="780"/>
                </a:lnTo>
                <a:lnTo>
                  <a:pt x="828" y="774"/>
                </a:lnTo>
                <a:lnTo>
                  <a:pt x="816" y="768"/>
                </a:lnTo>
                <a:lnTo>
                  <a:pt x="816" y="780"/>
                </a:lnTo>
                <a:lnTo>
                  <a:pt x="804" y="780"/>
                </a:lnTo>
                <a:lnTo>
                  <a:pt x="804" y="786"/>
                </a:lnTo>
                <a:lnTo>
                  <a:pt x="792" y="792"/>
                </a:lnTo>
                <a:lnTo>
                  <a:pt x="792" y="804"/>
                </a:lnTo>
                <a:lnTo>
                  <a:pt x="780" y="816"/>
                </a:lnTo>
                <a:lnTo>
                  <a:pt x="774" y="822"/>
                </a:lnTo>
                <a:lnTo>
                  <a:pt x="762" y="828"/>
                </a:lnTo>
                <a:lnTo>
                  <a:pt x="756" y="822"/>
                </a:lnTo>
                <a:lnTo>
                  <a:pt x="750" y="798"/>
                </a:lnTo>
                <a:lnTo>
                  <a:pt x="738" y="792"/>
                </a:lnTo>
                <a:lnTo>
                  <a:pt x="720" y="786"/>
                </a:lnTo>
                <a:lnTo>
                  <a:pt x="708" y="786"/>
                </a:lnTo>
                <a:lnTo>
                  <a:pt x="696" y="798"/>
                </a:lnTo>
                <a:lnTo>
                  <a:pt x="690" y="810"/>
                </a:lnTo>
                <a:lnTo>
                  <a:pt x="684" y="828"/>
                </a:lnTo>
                <a:lnTo>
                  <a:pt x="690" y="840"/>
                </a:lnTo>
                <a:lnTo>
                  <a:pt x="708" y="858"/>
                </a:lnTo>
                <a:lnTo>
                  <a:pt x="720" y="894"/>
                </a:lnTo>
                <a:lnTo>
                  <a:pt x="714" y="906"/>
                </a:lnTo>
                <a:lnTo>
                  <a:pt x="714" y="918"/>
                </a:lnTo>
                <a:lnTo>
                  <a:pt x="738" y="948"/>
                </a:lnTo>
                <a:lnTo>
                  <a:pt x="774" y="972"/>
                </a:lnTo>
                <a:lnTo>
                  <a:pt x="780" y="984"/>
                </a:lnTo>
                <a:lnTo>
                  <a:pt x="792" y="996"/>
                </a:lnTo>
                <a:lnTo>
                  <a:pt x="792" y="1026"/>
                </a:lnTo>
                <a:lnTo>
                  <a:pt x="780" y="1044"/>
                </a:lnTo>
                <a:lnTo>
                  <a:pt x="774" y="1050"/>
                </a:lnTo>
                <a:lnTo>
                  <a:pt x="768" y="1062"/>
                </a:lnTo>
                <a:lnTo>
                  <a:pt x="768" y="1068"/>
                </a:lnTo>
                <a:lnTo>
                  <a:pt x="762" y="1074"/>
                </a:lnTo>
                <a:lnTo>
                  <a:pt x="762" y="1080"/>
                </a:lnTo>
                <a:lnTo>
                  <a:pt x="756" y="1080"/>
                </a:lnTo>
                <a:lnTo>
                  <a:pt x="744" y="1086"/>
                </a:lnTo>
                <a:lnTo>
                  <a:pt x="744" y="1092"/>
                </a:lnTo>
                <a:lnTo>
                  <a:pt x="738" y="1092"/>
                </a:lnTo>
                <a:lnTo>
                  <a:pt x="726" y="1098"/>
                </a:lnTo>
                <a:lnTo>
                  <a:pt x="720" y="1104"/>
                </a:lnTo>
                <a:lnTo>
                  <a:pt x="714" y="1104"/>
                </a:lnTo>
                <a:lnTo>
                  <a:pt x="702" y="1116"/>
                </a:lnTo>
                <a:lnTo>
                  <a:pt x="696" y="1122"/>
                </a:lnTo>
                <a:lnTo>
                  <a:pt x="696" y="1134"/>
                </a:lnTo>
                <a:lnTo>
                  <a:pt x="690" y="1134"/>
                </a:lnTo>
                <a:lnTo>
                  <a:pt x="684" y="1134"/>
                </a:lnTo>
                <a:lnTo>
                  <a:pt x="678" y="1140"/>
                </a:lnTo>
                <a:lnTo>
                  <a:pt x="672" y="1146"/>
                </a:lnTo>
                <a:lnTo>
                  <a:pt x="672" y="1152"/>
                </a:lnTo>
                <a:lnTo>
                  <a:pt x="660" y="1152"/>
                </a:lnTo>
                <a:lnTo>
                  <a:pt x="642" y="1152"/>
                </a:lnTo>
                <a:lnTo>
                  <a:pt x="636" y="1152"/>
                </a:lnTo>
                <a:lnTo>
                  <a:pt x="630" y="1158"/>
                </a:lnTo>
                <a:lnTo>
                  <a:pt x="624" y="1164"/>
                </a:lnTo>
                <a:lnTo>
                  <a:pt x="618" y="1170"/>
                </a:lnTo>
                <a:lnTo>
                  <a:pt x="612" y="1170"/>
                </a:lnTo>
                <a:lnTo>
                  <a:pt x="600" y="1170"/>
                </a:lnTo>
                <a:lnTo>
                  <a:pt x="594" y="1170"/>
                </a:lnTo>
                <a:lnTo>
                  <a:pt x="588" y="1170"/>
                </a:lnTo>
                <a:lnTo>
                  <a:pt x="582" y="1170"/>
                </a:lnTo>
                <a:lnTo>
                  <a:pt x="582" y="1164"/>
                </a:lnTo>
                <a:lnTo>
                  <a:pt x="576" y="1158"/>
                </a:lnTo>
                <a:lnTo>
                  <a:pt x="570" y="1158"/>
                </a:lnTo>
                <a:lnTo>
                  <a:pt x="570" y="1152"/>
                </a:lnTo>
                <a:lnTo>
                  <a:pt x="570" y="1146"/>
                </a:lnTo>
                <a:lnTo>
                  <a:pt x="570" y="1140"/>
                </a:lnTo>
                <a:lnTo>
                  <a:pt x="564" y="1140"/>
                </a:lnTo>
                <a:lnTo>
                  <a:pt x="564" y="1134"/>
                </a:lnTo>
                <a:lnTo>
                  <a:pt x="564" y="1128"/>
                </a:lnTo>
                <a:lnTo>
                  <a:pt x="576" y="1104"/>
                </a:lnTo>
                <a:lnTo>
                  <a:pt x="582" y="1086"/>
                </a:lnTo>
                <a:lnTo>
                  <a:pt x="570" y="1068"/>
                </a:lnTo>
                <a:lnTo>
                  <a:pt x="534" y="1056"/>
                </a:lnTo>
                <a:lnTo>
                  <a:pt x="516" y="1026"/>
                </a:lnTo>
                <a:lnTo>
                  <a:pt x="492" y="1020"/>
                </a:lnTo>
                <a:lnTo>
                  <a:pt x="492" y="1014"/>
                </a:lnTo>
                <a:lnTo>
                  <a:pt x="480" y="1008"/>
                </a:lnTo>
                <a:lnTo>
                  <a:pt x="474" y="996"/>
                </a:lnTo>
                <a:lnTo>
                  <a:pt x="444" y="984"/>
                </a:lnTo>
                <a:lnTo>
                  <a:pt x="426" y="978"/>
                </a:lnTo>
                <a:lnTo>
                  <a:pt x="420" y="972"/>
                </a:lnTo>
                <a:lnTo>
                  <a:pt x="408" y="984"/>
                </a:lnTo>
                <a:lnTo>
                  <a:pt x="402" y="984"/>
                </a:lnTo>
                <a:lnTo>
                  <a:pt x="396" y="984"/>
                </a:lnTo>
                <a:lnTo>
                  <a:pt x="390" y="984"/>
                </a:lnTo>
                <a:lnTo>
                  <a:pt x="384" y="990"/>
                </a:lnTo>
                <a:lnTo>
                  <a:pt x="378" y="990"/>
                </a:lnTo>
                <a:lnTo>
                  <a:pt x="372" y="990"/>
                </a:lnTo>
                <a:lnTo>
                  <a:pt x="372" y="996"/>
                </a:lnTo>
                <a:lnTo>
                  <a:pt x="366" y="996"/>
                </a:lnTo>
                <a:lnTo>
                  <a:pt x="360" y="1002"/>
                </a:lnTo>
                <a:lnTo>
                  <a:pt x="360" y="1008"/>
                </a:lnTo>
                <a:lnTo>
                  <a:pt x="354" y="1008"/>
                </a:lnTo>
                <a:lnTo>
                  <a:pt x="342" y="1014"/>
                </a:lnTo>
                <a:lnTo>
                  <a:pt x="336" y="1020"/>
                </a:lnTo>
                <a:lnTo>
                  <a:pt x="336" y="1014"/>
                </a:lnTo>
                <a:lnTo>
                  <a:pt x="330" y="1014"/>
                </a:lnTo>
                <a:lnTo>
                  <a:pt x="330" y="1008"/>
                </a:lnTo>
                <a:lnTo>
                  <a:pt x="330" y="1002"/>
                </a:lnTo>
                <a:lnTo>
                  <a:pt x="324" y="1002"/>
                </a:lnTo>
                <a:lnTo>
                  <a:pt x="324" y="996"/>
                </a:lnTo>
                <a:lnTo>
                  <a:pt x="324" y="990"/>
                </a:lnTo>
                <a:lnTo>
                  <a:pt x="318" y="990"/>
                </a:lnTo>
                <a:lnTo>
                  <a:pt x="306" y="996"/>
                </a:lnTo>
                <a:lnTo>
                  <a:pt x="300" y="996"/>
                </a:lnTo>
                <a:lnTo>
                  <a:pt x="294" y="996"/>
                </a:lnTo>
                <a:lnTo>
                  <a:pt x="288" y="1002"/>
                </a:lnTo>
                <a:lnTo>
                  <a:pt x="282" y="990"/>
                </a:lnTo>
                <a:lnTo>
                  <a:pt x="276" y="984"/>
                </a:lnTo>
                <a:lnTo>
                  <a:pt x="270" y="990"/>
                </a:lnTo>
                <a:lnTo>
                  <a:pt x="270" y="996"/>
                </a:lnTo>
                <a:lnTo>
                  <a:pt x="270" y="1002"/>
                </a:lnTo>
                <a:lnTo>
                  <a:pt x="264" y="1008"/>
                </a:lnTo>
                <a:lnTo>
                  <a:pt x="252" y="996"/>
                </a:lnTo>
                <a:lnTo>
                  <a:pt x="246" y="996"/>
                </a:lnTo>
                <a:lnTo>
                  <a:pt x="234" y="1002"/>
                </a:lnTo>
                <a:lnTo>
                  <a:pt x="222" y="1002"/>
                </a:lnTo>
                <a:lnTo>
                  <a:pt x="210" y="1002"/>
                </a:lnTo>
                <a:lnTo>
                  <a:pt x="198" y="996"/>
                </a:lnTo>
                <a:lnTo>
                  <a:pt x="198" y="1002"/>
                </a:lnTo>
                <a:lnTo>
                  <a:pt x="198" y="1008"/>
                </a:lnTo>
                <a:lnTo>
                  <a:pt x="192" y="1020"/>
                </a:lnTo>
                <a:lnTo>
                  <a:pt x="198" y="1020"/>
                </a:lnTo>
                <a:lnTo>
                  <a:pt x="204" y="1020"/>
                </a:lnTo>
                <a:lnTo>
                  <a:pt x="210" y="1026"/>
                </a:lnTo>
                <a:lnTo>
                  <a:pt x="216" y="1026"/>
                </a:lnTo>
                <a:lnTo>
                  <a:pt x="216" y="1032"/>
                </a:lnTo>
                <a:lnTo>
                  <a:pt x="210" y="1032"/>
                </a:lnTo>
                <a:lnTo>
                  <a:pt x="210" y="1038"/>
                </a:lnTo>
                <a:lnTo>
                  <a:pt x="204" y="1038"/>
                </a:lnTo>
                <a:lnTo>
                  <a:pt x="204" y="1044"/>
                </a:lnTo>
                <a:lnTo>
                  <a:pt x="198" y="1044"/>
                </a:lnTo>
                <a:lnTo>
                  <a:pt x="192" y="1044"/>
                </a:lnTo>
                <a:lnTo>
                  <a:pt x="186" y="1050"/>
                </a:lnTo>
                <a:lnTo>
                  <a:pt x="186" y="1056"/>
                </a:lnTo>
                <a:lnTo>
                  <a:pt x="180" y="1056"/>
                </a:lnTo>
                <a:lnTo>
                  <a:pt x="180" y="1062"/>
                </a:lnTo>
                <a:lnTo>
                  <a:pt x="174" y="1062"/>
                </a:lnTo>
                <a:lnTo>
                  <a:pt x="168" y="1062"/>
                </a:lnTo>
                <a:lnTo>
                  <a:pt x="162" y="1062"/>
                </a:lnTo>
                <a:lnTo>
                  <a:pt x="156" y="1050"/>
                </a:lnTo>
                <a:lnTo>
                  <a:pt x="150" y="1044"/>
                </a:lnTo>
                <a:lnTo>
                  <a:pt x="150" y="1038"/>
                </a:lnTo>
                <a:lnTo>
                  <a:pt x="144" y="1032"/>
                </a:lnTo>
                <a:lnTo>
                  <a:pt x="144" y="1026"/>
                </a:lnTo>
                <a:lnTo>
                  <a:pt x="144" y="1014"/>
                </a:lnTo>
                <a:lnTo>
                  <a:pt x="150" y="1008"/>
                </a:lnTo>
                <a:lnTo>
                  <a:pt x="150" y="1002"/>
                </a:lnTo>
                <a:lnTo>
                  <a:pt x="156" y="984"/>
                </a:lnTo>
                <a:lnTo>
                  <a:pt x="162" y="978"/>
                </a:lnTo>
                <a:lnTo>
                  <a:pt x="162" y="972"/>
                </a:lnTo>
                <a:lnTo>
                  <a:pt x="150" y="966"/>
                </a:lnTo>
                <a:lnTo>
                  <a:pt x="144" y="966"/>
                </a:lnTo>
                <a:lnTo>
                  <a:pt x="138" y="966"/>
                </a:lnTo>
                <a:lnTo>
                  <a:pt x="138" y="954"/>
                </a:lnTo>
                <a:lnTo>
                  <a:pt x="132" y="954"/>
                </a:lnTo>
                <a:lnTo>
                  <a:pt x="138" y="948"/>
                </a:lnTo>
                <a:lnTo>
                  <a:pt x="138" y="942"/>
                </a:lnTo>
                <a:lnTo>
                  <a:pt x="138" y="930"/>
                </a:lnTo>
                <a:lnTo>
                  <a:pt x="138" y="924"/>
                </a:lnTo>
                <a:lnTo>
                  <a:pt x="132" y="930"/>
                </a:lnTo>
                <a:lnTo>
                  <a:pt x="132" y="924"/>
                </a:lnTo>
                <a:lnTo>
                  <a:pt x="126" y="918"/>
                </a:lnTo>
                <a:lnTo>
                  <a:pt x="132" y="918"/>
                </a:lnTo>
                <a:lnTo>
                  <a:pt x="132" y="912"/>
                </a:lnTo>
                <a:lnTo>
                  <a:pt x="126" y="912"/>
                </a:lnTo>
                <a:lnTo>
                  <a:pt x="120" y="912"/>
                </a:lnTo>
                <a:lnTo>
                  <a:pt x="120" y="918"/>
                </a:lnTo>
                <a:lnTo>
                  <a:pt x="114" y="918"/>
                </a:lnTo>
                <a:lnTo>
                  <a:pt x="114" y="912"/>
                </a:lnTo>
                <a:lnTo>
                  <a:pt x="108" y="912"/>
                </a:lnTo>
                <a:lnTo>
                  <a:pt x="102" y="912"/>
                </a:lnTo>
                <a:lnTo>
                  <a:pt x="108" y="906"/>
                </a:lnTo>
                <a:lnTo>
                  <a:pt x="102" y="906"/>
                </a:lnTo>
                <a:lnTo>
                  <a:pt x="96" y="906"/>
                </a:lnTo>
                <a:lnTo>
                  <a:pt x="96" y="912"/>
                </a:lnTo>
                <a:lnTo>
                  <a:pt x="90" y="918"/>
                </a:lnTo>
                <a:lnTo>
                  <a:pt x="90" y="912"/>
                </a:lnTo>
                <a:lnTo>
                  <a:pt x="84" y="912"/>
                </a:lnTo>
                <a:lnTo>
                  <a:pt x="84" y="918"/>
                </a:lnTo>
                <a:lnTo>
                  <a:pt x="78" y="918"/>
                </a:lnTo>
                <a:lnTo>
                  <a:pt x="78" y="912"/>
                </a:lnTo>
                <a:lnTo>
                  <a:pt x="78" y="906"/>
                </a:lnTo>
                <a:lnTo>
                  <a:pt x="72" y="900"/>
                </a:lnTo>
                <a:lnTo>
                  <a:pt x="78" y="900"/>
                </a:lnTo>
                <a:lnTo>
                  <a:pt x="72" y="900"/>
                </a:lnTo>
                <a:lnTo>
                  <a:pt x="72" y="894"/>
                </a:lnTo>
                <a:lnTo>
                  <a:pt x="78" y="894"/>
                </a:lnTo>
                <a:lnTo>
                  <a:pt x="72" y="894"/>
                </a:lnTo>
                <a:lnTo>
                  <a:pt x="78" y="894"/>
                </a:lnTo>
                <a:lnTo>
                  <a:pt x="78" y="888"/>
                </a:lnTo>
                <a:lnTo>
                  <a:pt x="72" y="888"/>
                </a:lnTo>
                <a:lnTo>
                  <a:pt x="72" y="882"/>
                </a:lnTo>
                <a:lnTo>
                  <a:pt x="66" y="876"/>
                </a:lnTo>
                <a:lnTo>
                  <a:pt x="60" y="882"/>
                </a:lnTo>
                <a:lnTo>
                  <a:pt x="54" y="876"/>
                </a:lnTo>
                <a:lnTo>
                  <a:pt x="54" y="882"/>
                </a:lnTo>
                <a:lnTo>
                  <a:pt x="48" y="882"/>
                </a:lnTo>
                <a:lnTo>
                  <a:pt x="42" y="870"/>
                </a:lnTo>
                <a:lnTo>
                  <a:pt x="42" y="864"/>
                </a:lnTo>
                <a:lnTo>
                  <a:pt x="36" y="858"/>
                </a:lnTo>
                <a:lnTo>
                  <a:pt x="36" y="852"/>
                </a:lnTo>
                <a:lnTo>
                  <a:pt x="30" y="852"/>
                </a:lnTo>
                <a:lnTo>
                  <a:pt x="30" y="846"/>
                </a:lnTo>
                <a:lnTo>
                  <a:pt x="24" y="846"/>
                </a:lnTo>
                <a:lnTo>
                  <a:pt x="18" y="840"/>
                </a:lnTo>
                <a:lnTo>
                  <a:pt x="12" y="834"/>
                </a:lnTo>
                <a:lnTo>
                  <a:pt x="0" y="828"/>
                </a:lnTo>
                <a:lnTo>
                  <a:pt x="0" y="822"/>
                </a:lnTo>
                <a:lnTo>
                  <a:pt x="0" y="816"/>
                </a:lnTo>
                <a:lnTo>
                  <a:pt x="0" y="810"/>
                </a:lnTo>
                <a:lnTo>
                  <a:pt x="6" y="804"/>
                </a:lnTo>
                <a:lnTo>
                  <a:pt x="12" y="804"/>
                </a:lnTo>
                <a:lnTo>
                  <a:pt x="12" y="798"/>
                </a:lnTo>
                <a:lnTo>
                  <a:pt x="12" y="792"/>
                </a:lnTo>
                <a:lnTo>
                  <a:pt x="6" y="792"/>
                </a:lnTo>
                <a:lnTo>
                  <a:pt x="6" y="786"/>
                </a:lnTo>
                <a:lnTo>
                  <a:pt x="6" y="780"/>
                </a:lnTo>
                <a:lnTo>
                  <a:pt x="18" y="780"/>
                </a:lnTo>
                <a:lnTo>
                  <a:pt x="18" y="774"/>
                </a:lnTo>
                <a:lnTo>
                  <a:pt x="24" y="768"/>
                </a:lnTo>
                <a:lnTo>
                  <a:pt x="30" y="768"/>
                </a:lnTo>
                <a:lnTo>
                  <a:pt x="30" y="774"/>
                </a:lnTo>
                <a:lnTo>
                  <a:pt x="36" y="768"/>
                </a:lnTo>
                <a:lnTo>
                  <a:pt x="42" y="768"/>
                </a:lnTo>
                <a:lnTo>
                  <a:pt x="60" y="750"/>
                </a:lnTo>
                <a:lnTo>
                  <a:pt x="60" y="744"/>
                </a:lnTo>
                <a:lnTo>
                  <a:pt x="54" y="738"/>
                </a:lnTo>
                <a:lnTo>
                  <a:pt x="60" y="732"/>
                </a:lnTo>
                <a:lnTo>
                  <a:pt x="54" y="732"/>
                </a:lnTo>
                <a:lnTo>
                  <a:pt x="60" y="726"/>
                </a:lnTo>
                <a:lnTo>
                  <a:pt x="66" y="720"/>
                </a:lnTo>
                <a:lnTo>
                  <a:pt x="72" y="714"/>
                </a:lnTo>
                <a:lnTo>
                  <a:pt x="78" y="708"/>
                </a:lnTo>
                <a:lnTo>
                  <a:pt x="78" y="702"/>
                </a:lnTo>
                <a:lnTo>
                  <a:pt x="84" y="696"/>
                </a:lnTo>
                <a:lnTo>
                  <a:pt x="90" y="684"/>
                </a:lnTo>
                <a:lnTo>
                  <a:pt x="90" y="678"/>
                </a:lnTo>
                <a:lnTo>
                  <a:pt x="90" y="672"/>
                </a:lnTo>
                <a:lnTo>
                  <a:pt x="96" y="666"/>
                </a:lnTo>
                <a:lnTo>
                  <a:pt x="90" y="660"/>
                </a:lnTo>
                <a:lnTo>
                  <a:pt x="84" y="654"/>
                </a:lnTo>
                <a:lnTo>
                  <a:pt x="84" y="648"/>
                </a:lnTo>
                <a:lnTo>
                  <a:pt x="78" y="636"/>
                </a:lnTo>
                <a:lnTo>
                  <a:pt x="66" y="630"/>
                </a:lnTo>
                <a:lnTo>
                  <a:pt x="66" y="624"/>
                </a:lnTo>
                <a:lnTo>
                  <a:pt x="60" y="624"/>
                </a:lnTo>
                <a:lnTo>
                  <a:pt x="60" y="618"/>
                </a:lnTo>
                <a:lnTo>
                  <a:pt x="60" y="612"/>
                </a:lnTo>
                <a:lnTo>
                  <a:pt x="60" y="600"/>
                </a:lnTo>
                <a:lnTo>
                  <a:pt x="66" y="600"/>
                </a:lnTo>
                <a:lnTo>
                  <a:pt x="60" y="594"/>
                </a:lnTo>
                <a:lnTo>
                  <a:pt x="60" y="588"/>
                </a:lnTo>
                <a:lnTo>
                  <a:pt x="66" y="588"/>
                </a:lnTo>
                <a:lnTo>
                  <a:pt x="66" y="582"/>
                </a:lnTo>
                <a:lnTo>
                  <a:pt x="72" y="582"/>
                </a:lnTo>
                <a:lnTo>
                  <a:pt x="78" y="576"/>
                </a:lnTo>
                <a:lnTo>
                  <a:pt x="72" y="576"/>
                </a:lnTo>
                <a:lnTo>
                  <a:pt x="66" y="570"/>
                </a:lnTo>
                <a:lnTo>
                  <a:pt x="72" y="564"/>
                </a:lnTo>
                <a:lnTo>
                  <a:pt x="78" y="558"/>
                </a:lnTo>
                <a:lnTo>
                  <a:pt x="78" y="546"/>
                </a:lnTo>
                <a:lnTo>
                  <a:pt x="78" y="540"/>
                </a:lnTo>
                <a:lnTo>
                  <a:pt x="90" y="528"/>
                </a:lnTo>
                <a:lnTo>
                  <a:pt x="96" y="522"/>
                </a:lnTo>
                <a:lnTo>
                  <a:pt x="102" y="522"/>
                </a:lnTo>
                <a:lnTo>
                  <a:pt x="102" y="516"/>
                </a:lnTo>
                <a:lnTo>
                  <a:pt x="114" y="510"/>
                </a:lnTo>
                <a:lnTo>
                  <a:pt x="120" y="510"/>
                </a:lnTo>
                <a:lnTo>
                  <a:pt x="120" y="504"/>
                </a:lnTo>
                <a:lnTo>
                  <a:pt x="120" y="498"/>
                </a:lnTo>
                <a:lnTo>
                  <a:pt x="120" y="492"/>
                </a:lnTo>
                <a:lnTo>
                  <a:pt x="126" y="480"/>
                </a:lnTo>
                <a:lnTo>
                  <a:pt x="132" y="474"/>
                </a:lnTo>
                <a:lnTo>
                  <a:pt x="132" y="468"/>
                </a:lnTo>
                <a:lnTo>
                  <a:pt x="138" y="462"/>
                </a:lnTo>
                <a:lnTo>
                  <a:pt x="138" y="456"/>
                </a:lnTo>
                <a:lnTo>
                  <a:pt x="138" y="450"/>
                </a:lnTo>
                <a:lnTo>
                  <a:pt x="144" y="444"/>
                </a:lnTo>
                <a:lnTo>
                  <a:pt x="162" y="438"/>
                </a:lnTo>
                <a:lnTo>
                  <a:pt x="186" y="438"/>
                </a:lnTo>
                <a:lnTo>
                  <a:pt x="210" y="444"/>
                </a:lnTo>
                <a:lnTo>
                  <a:pt x="276" y="450"/>
                </a:lnTo>
                <a:lnTo>
                  <a:pt x="342" y="450"/>
                </a:lnTo>
                <a:lnTo>
                  <a:pt x="348" y="450"/>
                </a:lnTo>
                <a:lnTo>
                  <a:pt x="354" y="450"/>
                </a:lnTo>
                <a:lnTo>
                  <a:pt x="360" y="456"/>
                </a:lnTo>
                <a:lnTo>
                  <a:pt x="354" y="462"/>
                </a:lnTo>
                <a:lnTo>
                  <a:pt x="354" y="468"/>
                </a:lnTo>
                <a:lnTo>
                  <a:pt x="354" y="474"/>
                </a:lnTo>
                <a:lnTo>
                  <a:pt x="348" y="468"/>
                </a:lnTo>
                <a:lnTo>
                  <a:pt x="342" y="474"/>
                </a:lnTo>
                <a:lnTo>
                  <a:pt x="342" y="480"/>
                </a:lnTo>
                <a:lnTo>
                  <a:pt x="348" y="498"/>
                </a:lnTo>
                <a:lnTo>
                  <a:pt x="342" y="510"/>
                </a:lnTo>
                <a:lnTo>
                  <a:pt x="348" y="528"/>
                </a:lnTo>
                <a:lnTo>
                  <a:pt x="348" y="534"/>
                </a:lnTo>
                <a:lnTo>
                  <a:pt x="354" y="552"/>
                </a:lnTo>
                <a:lnTo>
                  <a:pt x="366" y="546"/>
                </a:lnTo>
                <a:lnTo>
                  <a:pt x="372" y="540"/>
                </a:lnTo>
                <a:lnTo>
                  <a:pt x="384" y="540"/>
                </a:lnTo>
                <a:lnTo>
                  <a:pt x="396" y="534"/>
                </a:lnTo>
                <a:lnTo>
                  <a:pt x="402" y="534"/>
                </a:lnTo>
                <a:lnTo>
                  <a:pt x="414" y="546"/>
                </a:lnTo>
                <a:lnTo>
                  <a:pt x="432" y="540"/>
                </a:lnTo>
                <a:lnTo>
                  <a:pt x="450" y="534"/>
                </a:lnTo>
                <a:lnTo>
                  <a:pt x="450" y="528"/>
                </a:lnTo>
                <a:lnTo>
                  <a:pt x="456" y="528"/>
                </a:lnTo>
                <a:lnTo>
                  <a:pt x="456" y="522"/>
                </a:lnTo>
                <a:lnTo>
                  <a:pt x="456" y="516"/>
                </a:lnTo>
                <a:lnTo>
                  <a:pt x="462" y="516"/>
                </a:lnTo>
                <a:lnTo>
                  <a:pt x="468" y="510"/>
                </a:lnTo>
                <a:lnTo>
                  <a:pt x="468" y="504"/>
                </a:lnTo>
                <a:lnTo>
                  <a:pt x="474" y="504"/>
                </a:lnTo>
                <a:lnTo>
                  <a:pt x="480" y="504"/>
                </a:lnTo>
                <a:lnTo>
                  <a:pt x="486" y="498"/>
                </a:lnTo>
                <a:lnTo>
                  <a:pt x="492" y="498"/>
                </a:lnTo>
                <a:lnTo>
                  <a:pt x="486" y="480"/>
                </a:lnTo>
                <a:lnTo>
                  <a:pt x="492" y="462"/>
                </a:lnTo>
                <a:lnTo>
                  <a:pt x="498" y="444"/>
                </a:lnTo>
                <a:lnTo>
                  <a:pt x="498" y="426"/>
                </a:lnTo>
                <a:lnTo>
                  <a:pt x="498" y="420"/>
                </a:lnTo>
                <a:lnTo>
                  <a:pt x="504" y="426"/>
                </a:lnTo>
                <a:lnTo>
                  <a:pt x="504" y="420"/>
                </a:lnTo>
                <a:lnTo>
                  <a:pt x="510" y="420"/>
                </a:lnTo>
                <a:lnTo>
                  <a:pt x="510" y="414"/>
                </a:lnTo>
                <a:lnTo>
                  <a:pt x="510" y="408"/>
                </a:lnTo>
                <a:lnTo>
                  <a:pt x="504" y="402"/>
                </a:lnTo>
                <a:lnTo>
                  <a:pt x="504" y="396"/>
                </a:lnTo>
                <a:lnTo>
                  <a:pt x="504" y="384"/>
                </a:lnTo>
                <a:lnTo>
                  <a:pt x="504" y="378"/>
                </a:lnTo>
                <a:lnTo>
                  <a:pt x="504" y="360"/>
                </a:lnTo>
                <a:lnTo>
                  <a:pt x="504" y="354"/>
                </a:lnTo>
                <a:lnTo>
                  <a:pt x="504" y="348"/>
                </a:lnTo>
                <a:lnTo>
                  <a:pt x="510" y="348"/>
                </a:lnTo>
                <a:lnTo>
                  <a:pt x="510" y="336"/>
                </a:lnTo>
                <a:lnTo>
                  <a:pt x="516" y="330"/>
                </a:lnTo>
                <a:lnTo>
                  <a:pt x="522" y="324"/>
                </a:lnTo>
                <a:lnTo>
                  <a:pt x="528" y="318"/>
                </a:lnTo>
                <a:lnTo>
                  <a:pt x="534" y="312"/>
                </a:lnTo>
                <a:lnTo>
                  <a:pt x="534" y="300"/>
                </a:lnTo>
                <a:lnTo>
                  <a:pt x="540" y="294"/>
                </a:lnTo>
                <a:lnTo>
                  <a:pt x="546" y="288"/>
                </a:lnTo>
                <a:lnTo>
                  <a:pt x="552" y="276"/>
                </a:lnTo>
                <a:lnTo>
                  <a:pt x="558" y="264"/>
                </a:lnTo>
                <a:lnTo>
                  <a:pt x="558" y="258"/>
                </a:lnTo>
                <a:lnTo>
                  <a:pt x="558" y="252"/>
                </a:lnTo>
                <a:lnTo>
                  <a:pt x="558" y="246"/>
                </a:lnTo>
                <a:lnTo>
                  <a:pt x="564" y="246"/>
                </a:lnTo>
                <a:lnTo>
                  <a:pt x="564" y="240"/>
                </a:lnTo>
                <a:lnTo>
                  <a:pt x="570" y="234"/>
                </a:lnTo>
                <a:lnTo>
                  <a:pt x="564" y="216"/>
                </a:lnTo>
                <a:lnTo>
                  <a:pt x="564" y="210"/>
                </a:lnTo>
                <a:lnTo>
                  <a:pt x="570" y="210"/>
                </a:lnTo>
                <a:lnTo>
                  <a:pt x="570" y="204"/>
                </a:lnTo>
                <a:lnTo>
                  <a:pt x="570" y="198"/>
                </a:lnTo>
                <a:lnTo>
                  <a:pt x="582" y="180"/>
                </a:lnTo>
                <a:lnTo>
                  <a:pt x="582" y="174"/>
                </a:lnTo>
                <a:lnTo>
                  <a:pt x="582" y="168"/>
                </a:lnTo>
                <a:lnTo>
                  <a:pt x="582" y="162"/>
                </a:lnTo>
                <a:lnTo>
                  <a:pt x="582" y="156"/>
                </a:lnTo>
                <a:lnTo>
                  <a:pt x="606" y="150"/>
                </a:lnTo>
                <a:lnTo>
                  <a:pt x="612" y="150"/>
                </a:lnTo>
                <a:lnTo>
                  <a:pt x="618" y="150"/>
                </a:lnTo>
                <a:lnTo>
                  <a:pt x="624" y="138"/>
                </a:lnTo>
                <a:lnTo>
                  <a:pt x="618" y="132"/>
                </a:lnTo>
                <a:lnTo>
                  <a:pt x="618" y="126"/>
                </a:lnTo>
                <a:lnTo>
                  <a:pt x="618" y="120"/>
                </a:lnTo>
                <a:lnTo>
                  <a:pt x="618" y="114"/>
                </a:lnTo>
                <a:lnTo>
                  <a:pt x="612" y="108"/>
                </a:lnTo>
                <a:lnTo>
                  <a:pt x="612" y="102"/>
                </a:lnTo>
                <a:lnTo>
                  <a:pt x="618" y="90"/>
                </a:lnTo>
                <a:lnTo>
                  <a:pt x="624" y="84"/>
                </a:lnTo>
                <a:lnTo>
                  <a:pt x="618" y="84"/>
                </a:lnTo>
                <a:lnTo>
                  <a:pt x="618" y="78"/>
                </a:lnTo>
                <a:lnTo>
                  <a:pt x="612" y="78"/>
                </a:lnTo>
                <a:lnTo>
                  <a:pt x="606" y="78"/>
                </a:lnTo>
                <a:lnTo>
                  <a:pt x="600" y="72"/>
                </a:lnTo>
                <a:lnTo>
                  <a:pt x="600" y="66"/>
                </a:lnTo>
                <a:lnTo>
                  <a:pt x="600" y="60"/>
                </a:lnTo>
                <a:lnTo>
                  <a:pt x="600" y="48"/>
                </a:lnTo>
                <a:lnTo>
                  <a:pt x="612" y="42"/>
                </a:lnTo>
                <a:lnTo>
                  <a:pt x="618" y="36"/>
                </a:lnTo>
                <a:lnTo>
                  <a:pt x="624" y="36"/>
                </a:lnTo>
                <a:lnTo>
                  <a:pt x="630" y="36"/>
                </a:lnTo>
                <a:lnTo>
                  <a:pt x="630" y="30"/>
                </a:lnTo>
                <a:lnTo>
                  <a:pt x="636" y="24"/>
                </a:lnTo>
                <a:lnTo>
                  <a:pt x="642" y="24"/>
                </a:lnTo>
                <a:lnTo>
                  <a:pt x="648" y="24"/>
                </a:lnTo>
                <a:lnTo>
                  <a:pt x="648" y="18"/>
                </a:lnTo>
                <a:lnTo>
                  <a:pt x="654" y="12"/>
                </a:lnTo>
                <a:lnTo>
                  <a:pt x="660" y="0"/>
                </a:lnTo>
                <a:lnTo>
                  <a:pt x="678" y="0"/>
                </a:lnTo>
                <a:lnTo>
                  <a:pt x="696" y="0"/>
                </a:lnTo>
                <a:lnTo>
                  <a:pt x="702" y="0"/>
                </a:lnTo>
                <a:lnTo>
                  <a:pt x="714" y="0"/>
                </a:lnTo>
                <a:lnTo>
                  <a:pt x="720" y="6"/>
                </a:lnTo>
                <a:lnTo>
                  <a:pt x="720" y="18"/>
                </a:lnTo>
                <a:lnTo>
                  <a:pt x="726" y="18"/>
                </a:lnTo>
                <a:lnTo>
                  <a:pt x="744" y="24"/>
                </a:lnTo>
                <a:lnTo>
                  <a:pt x="744" y="30"/>
                </a:lnTo>
                <a:lnTo>
                  <a:pt x="732" y="42"/>
                </a:lnTo>
                <a:lnTo>
                  <a:pt x="726" y="42"/>
                </a:lnTo>
                <a:lnTo>
                  <a:pt x="720" y="42"/>
                </a:lnTo>
                <a:lnTo>
                  <a:pt x="720" y="48"/>
                </a:lnTo>
                <a:lnTo>
                  <a:pt x="714" y="48"/>
                </a:lnTo>
                <a:lnTo>
                  <a:pt x="708" y="54"/>
                </a:lnTo>
                <a:lnTo>
                  <a:pt x="702" y="66"/>
                </a:lnTo>
                <a:lnTo>
                  <a:pt x="708" y="66"/>
                </a:lnTo>
                <a:lnTo>
                  <a:pt x="714" y="90"/>
                </a:lnTo>
                <a:lnTo>
                  <a:pt x="726" y="84"/>
                </a:lnTo>
                <a:lnTo>
                  <a:pt x="738" y="84"/>
                </a:lnTo>
                <a:lnTo>
                  <a:pt x="750" y="96"/>
                </a:lnTo>
                <a:lnTo>
                  <a:pt x="768" y="96"/>
                </a:lnTo>
                <a:lnTo>
                  <a:pt x="768" y="90"/>
                </a:lnTo>
                <a:lnTo>
                  <a:pt x="774" y="84"/>
                </a:lnTo>
                <a:lnTo>
                  <a:pt x="780" y="78"/>
                </a:lnTo>
                <a:lnTo>
                  <a:pt x="786" y="78"/>
                </a:lnTo>
                <a:lnTo>
                  <a:pt x="792" y="72"/>
                </a:lnTo>
                <a:lnTo>
                  <a:pt x="804" y="72"/>
                </a:lnTo>
                <a:lnTo>
                  <a:pt x="804" y="66"/>
                </a:lnTo>
                <a:lnTo>
                  <a:pt x="810" y="66"/>
                </a:lnTo>
                <a:lnTo>
                  <a:pt x="810" y="72"/>
                </a:lnTo>
                <a:lnTo>
                  <a:pt x="816" y="66"/>
                </a:lnTo>
                <a:lnTo>
                  <a:pt x="828" y="66"/>
                </a:lnTo>
                <a:lnTo>
                  <a:pt x="834" y="72"/>
                </a:lnTo>
                <a:lnTo>
                  <a:pt x="840" y="72"/>
                </a:lnTo>
                <a:lnTo>
                  <a:pt x="840" y="78"/>
                </a:lnTo>
                <a:lnTo>
                  <a:pt x="840" y="84"/>
                </a:lnTo>
                <a:lnTo>
                  <a:pt x="852" y="84"/>
                </a:lnTo>
                <a:lnTo>
                  <a:pt x="858" y="96"/>
                </a:lnTo>
                <a:lnTo>
                  <a:pt x="864" y="108"/>
                </a:lnTo>
                <a:lnTo>
                  <a:pt x="876" y="114"/>
                </a:lnTo>
                <a:lnTo>
                  <a:pt x="894" y="114"/>
                </a:lnTo>
                <a:lnTo>
                  <a:pt x="906" y="114"/>
                </a:lnTo>
                <a:lnTo>
                  <a:pt x="906" y="126"/>
                </a:lnTo>
                <a:lnTo>
                  <a:pt x="912" y="144"/>
                </a:lnTo>
                <a:lnTo>
                  <a:pt x="930" y="138"/>
                </a:lnTo>
                <a:lnTo>
                  <a:pt x="936" y="138"/>
                </a:lnTo>
                <a:lnTo>
                  <a:pt x="942" y="144"/>
                </a:lnTo>
                <a:lnTo>
                  <a:pt x="948" y="150"/>
                </a:lnTo>
                <a:lnTo>
                  <a:pt x="954" y="156"/>
                </a:lnTo>
                <a:lnTo>
                  <a:pt x="954" y="168"/>
                </a:lnTo>
                <a:lnTo>
                  <a:pt x="954" y="174"/>
                </a:lnTo>
                <a:lnTo>
                  <a:pt x="960" y="180"/>
                </a:lnTo>
                <a:lnTo>
                  <a:pt x="966" y="186"/>
                </a:lnTo>
                <a:lnTo>
                  <a:pt x="960" y="186"/>
                </a:lnTo>
                <a:lnTo>
                  <a:pt x="966" y="192"/>
                </a:lnTo>
                <a:lnTo>
                  <a:pt x="966" y="198"/>
                </a:lnTo>
                <a:lnTo>
                  <a:pt x="978" y="204"/>
                </a:lnTo>
                <a:lnTo>
                  <a:pt x="1050" y="186"/>
                </a:lnTo>
                <a:lnTo>
                  <a:pt x="1056" y="198"/>
                </a:lnTo>
                <a:lnTo>
                  <a:pt x="1068" y="210"/>
                </a:lnTo>
                <a:lnTo>
                  <a:pt x="1074" y="216"/>
                </a:lnTo>
                <a:lnTo>
                  <a:pt x="1080" y="252"/>
                </a:lnTo>
                <a:lnTo>
                  <a:pt x="1086" y="270"/>
                </a:lnTo>
                <a:lnTo>
                  <a:pt x="1092" y="282"/>
                </a:lnTo>
                <a:lnTo>
                  <a:pt x="1086" y="300"/>
                </a:lnTo>
                <a:lnTo>
                  <a:pt x="1074" y="330"/>
                </a:lnTo>
                <a:lnTo>
                  <a:pt x="1068" y="336"/>
                </a:lnTo>
                <a:lnTo>
                  <a:pt x="1062" y="348"/>
                </a:lnTo>
                <a:lnTo>
                  <a:pt x="1062" y="360"/>
                </a:lnTo>
                <a:lnTo>
                  <a:pt x="1068" y="378"/>
                </a:lnTo>
                <a:lnTo>
                  <a:pt x="1074" y="390"/>
                </a:lnTo>
                <a:lnTo>
                  <a:pt x="1068" y="396"/>
                </a:lnTo>
                <a:lnTo>
                  <a:pt x="1068" y="408"/>
                </a:lnTo>
                <a:lnTo>
                  <a:pt x="1062" y="414"/>
                </a:lnTo>
                <a:lnTo>
                  <a:pt x="1050" y="432"/>
                </a:lnTo>
                <a:lnTo>
                  <a:pt x="1044" y="450"/>
                </a:lnTo>
                <a:lnTo>
                  <a:pt x="1038" y="456"/>
                </a:lnTo>
                <a:lnTo>
                  <a:pt x="1026" y="468"/>
                </a:lnTo>
                <a:lnTo>
                  <a:pt x="1026" y="474"/>
                </a:lnTo>
                <a:lnTo>
                  <a:pt x="1026" y="480"/>
                </a:lnTo>
                <a:lnTo>
                  <a:pt x="1032" y="492"/>
                </a:lnTo>
                <a:lnTo>
                  <a:pt x="1044" y="504"/>
                </a:lnTo>
                <a:lnTo>
                  <a:pt x="1044" y="516"/>
                </a:lnTo>
                <a:lnTo>
                  <a:pt x="1038" y="528"/>
                </a:lnTo>
                <a:lnTo>
                  <a:pt x="1032" y="546"/>
                </a:lnTo>
                <a:lnTo>
                  <a:pt x="1032" y="570"/>
                </a:lnTo>
                <a:lnTo>
                  <a:pt x="1050" y="594"/>
                </a:lnTo>
                <a:lnTo>
                  <a:pt x="1056" y="624"/>
                </a:lnTo>
                <a:lnTo>
                  <a:pt x="1056" y="654"/>
                </a:lnTo>
                <a:close/>
              </a:path>
            </a:pathLst>
          </a:cu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68" name="Freeform 24">
            <a:extLst>
              <a:ext uri="{FF2B5EF4-FFF2-40B4-BE49-F238E27FC236}">
                <a16:creationId xmlns:a16="http://schemas.microsoft.com/office/drawing/2014/main" id="{AB30CBD8-E087-4C46-87CC-1ACE3D021CFC}"/>
              </a:ext>
            </a:extLst>
          </p:cNvPr>
          <p:cNvSpPr>
            <a:spLocks/>
          </p:cNvSpPr>
          <p:nvPr/>
        </p:nvSpPr>
        <p:spPr bwMode="gray">
          <a:xfrm>
            <a:off x="3860644" y="3934350"/>
            <a:ext cx="920166" cy="816625"/>
          </a:xfrm>
          <a:custGeom>
            <a:avLst/>
            <a:gdLst>
              <a:gd name="T0" fmla="*/ 116 w 1602"/>
              <a:gd name="T1" fmla="*/ 91 h 1404"/>
              <a:gd name="T2" fmla="*/ 111 w 1602"/>
              <a:gd name="T3" fmla="*/ 95 h 1404"/>
              <a:gd name="T4" fmla="*/ 102 w 1602"/>
              <a:gd name="T5" fmla="*/ 101 h 1404"/>
              <a:gd name="T6" fmla="*/ 99 w 1602"/>
              <a:gd name="T7" fmla="*/ 103 h 1404"/>
              <a:gd name="T8" fmla="*/ 96 w 1602"/>
              <a:gd name="T9" fmla="*/ 106 h 1404"/>
              <a:gd name="T10" fmla="*/ 93 w 1602"/>
              <a:gd name="T11" fmla="*/ 108 h 1404"/>
              <a:gd name="T12" fmla="*/ 88 w 1602"/>
              <a:gd name="T13" fmla="*/ 106 h 1404"/>
              <a:gd name="T14" fmla="*/ 86 w 1602"/>
              <a:gd name="T15" fmla="*/ 108 h 1404"/>
              <a:gd name="T16" fmla="*/ 81 w 1602"/>
              <a:gd name="T17" fmla="*/ 119 h 1404"/>
              <a:gd name="T18" fmla="*/ 71 w 1602"/>
              <a:gd name="T19" fmla="*/ 109 h 1404"/>
              <a:gd name="T20" fmla="*/ 72 w 1602"/>
              <a:gd name="T21" fmla="*/ 101 h 1404"/>
              <a:gd name="T22" fmla="*/ 74 w 1602"/>
              <a:gd name="T23" fmla="*/ 93 h 1404"/>
              <a:gd name="T24" fmla="*/ 73 w 1602"/>
              <a:gd name="T25" fmla="*/ 82 h 1404"/>
              <a:gd name="T26" fmla="*/ 64 w 1602"/>
              <a:gd name="T27" fmla="*/ 79 h 1404"/>
              <a:gd name="T28" fmla="*/ 59 w 1602"/>
              <a:gd name="T29" fmla="*/ 75 h 1404"/>
              <a:gd name="T30" fmla="*/ 54 w 1602"/>
              <a:gd name="T31" fmla="*/ 71 h 1404"/>
              <a:gd name="T32" fmla="*/ 51 w 1602"/>
              <a:gd name="T33" fmla="*/ 70 h 1404"/>
              <a:gd name="T34" fmla="*/ 45 w 1602"/>
              <a:gd name="T35" fmla="*/ 71 h 1404"/>
              <a:gd name="T36" fmla="*/ 43 w 1602"/>
              <a:gd name="T37" fmla="*/ 68 h 1404"/>
              <a:gd name="T38" fmla="*/ 43 w 1602"/>
              <a:gd name="T39" fmla="*/ 64 h 1404"/>
              <a:gd name="T40" fmla="*/ 36 w 1602"/>
              <a:gd name="T41" fmla="*/ 66 h 1404"/>
              <a:gd name="T42" fmla="*/ 31 w 1602"/>
              <a:gd name="T43" fmla="*/ 55 h 1404"/>
              <a:gd name="T44" fmla="*/ 25 w 1602"/>
              <a:gd name="T45" fmla="*/ 53 h 1404"/>
              <a:gd name="T46" fmla="*/ 19 w 1602"/>
              <a:gd name="T47" fmla="*/ 51 h 1404"/>
              <a:gd name="T48" fmla="*/ 17 w 1602"/>
              <a:gd name="T49" fmla="*/ 43 h 1404"/>
              <a:gd name="T50" fmla="*/ 17 w 1602"/>
              <a:gd name="T51" fmla="*/ 39 h 1404"/>
              <a:gd name="T52" fmla="*/ 12 w 1602"/>
              <a:gd name="T53" fmla="*/ 39 h 1404"/>
              <a:gd name="T54" fmla="*/ 10 w 1602"/>
              <a:gd name="T55" fmla="*/ 35 h 1404"/>
              <a:gd name="T56" fmla="*/ 5 w 1602"/>
              <a:gd name="T57" fmla="*/ 30 h 1404"/>
              <a:gd name="T58" fmla="*/ 3 w 1602"/>
              <a:gd name="T59" fmla="*/ 27 h 1404"/>
              <a:gd name="T60" fmla="*/ 2 w 1602"/>
              <a:gd name="T61" fmla="*/ 25 h 1404"/>
              <a:gd name="T62" fmla="*/ 0 w 1602"/>
              <a:gd name="T63" fmla="*/ 22 h 1404"/>
              <a:gd name="T64" fmla="*/ 8 w 1602"/>
              <a:gd name="T65" fmla="*/ 14 h 1404"/>
              <a:gd name="T66" fmla="*/ 16 w 1602"/>
              <a:gd name="T67" fmla="*/ 16 h 1404"/>
              <a:gd name="T68" fmla="*/ 31 w 1602"/>
              <a:gd name="T69" fmla="*/ 18 h 1404"/>
              <a:gd name="T70" fmla="*/ 43 w 1602"/>
              <a:gd name="T71" fmla="*/ 17 h 1404"/>
              <a:gd name="T72" fmla="*/ 47 w 1602"/>
              <a:gd name="T73" fmla="*/ 6 h 1404"/>
              <a:gd name="T74" fmla="*/ 52 w 1602"/>
              <a:gd name="T75" fmla="*/ 0 h 1404"/>
              <a:gd name="T76" fmla="*/ 55 w 1602"/>
              <a:gd name="T77" fmla="*/ 3 h 1404"/>
              <a:gd name="T78" fmla="*/ 59 w 1602"/>
              <a:gd name="T79" fmla="*/ 9 h 1404"/>
              <a:gd name="T80" fmla="*/ 62 w 1602"/>
              <a:gd name="T81" fmla="*/ 16 h 1404"/>
              <a:gd name="T82" fmla="*/ 66 w 1602"/>
              <a:gd name="T83" fmla="*/ 20 h 1404"/>
              <a:gd name="T84" fmla="*/ 70 w 1602"/>
              <a:gd name="T85" fmla="*/ 25 h 1404"/>
              <a:gd name="T86" fmla="*/ 74 w 1602"/>
              <a:gd name="T87" fmla="*/ 30 h 1404"/>
              <a:gd name="T88" fmla="*/ 76 w 1602"/>
              <a:gd name="T89" fmla="*/ 27 h 1404"/>
              <a:gd name="T90" fmla="*/ 78 w 1602"/>
              <a:gd name="T91" fmla="*/ 27 h 1404"/>
              <a:gd name="T92" fmla="*/ 78 w 1602"/>
              <a:gd name="T93" fmla="*/ 23 h 1404"/>
              <a:gd name="T94" fmla="*/ 82 w 1602"/>
              <a:gd name="T95" fmla="*/ 20 h 1404"/>
              <a:gd name="T96" fmla="*/ 82 w 1602"/>
              <a:gd name="T97" fmla="*/ 18 h 1404"/>
              <a:gd name="T98" fmla="*/ 90 w 1602"/>
              <a:gd name="T99" fmla="*/ 24 h 1404"/>
              <a:gd name="T100" fmla="*/ 90 w 1602"/>
              <a:gd name="T101" fmla="*/ 45 h 1404"/>
              <a:gd name="T102" fmla="*/ 104 w 1602"/>
              <a:gd name="T103" fmla="*/ 41 h 1404"/>
              <a:gd name="T104" fmla="*/ 117 w 1602"/>
              <a:gd name="T105" fmla="*/ 39 h 1404"/>
              <a:gd name="T106" fmla="*/ 125 w 1602"/>
              <a:gd name="T107" fmla="*/ 39 h 1404"/>
              <a:gd name="T108" fmla="*/ 127 w 1602"/>
              <a:gd name="T109" fmla="*/ 43 h 1404"/>
              <a:gd name="T110" fmla="*/ 131 w 1602"/>
              <a:gd name="T111" fmla="*/ 53 h 1404"/>
              <a:gd name="T112" fmla="*/ 133 w 1602"/>
              <a:gd name="T113" fmla="*/ 60 h 1404"/>
              <a:gd name="T114" fmla="*/ 138 w 1602"/>
              <a:gd name="T115" fmla="*/ 73 h 1404"/>
              <a:gd name="T116" fmla="*/ 136 w 1602"/>
              <a:gd name="T117" fmla="*/ 80 h 1404"/>
              <a:gd name="T118" fmla="*/ 129 w 1602"/>
              <a:gd name="T119" fmla="*/ 87 h 1404"/>
              <a:gd name="T120" fmla="*/ 123 w 1602"/>
              <a:gd name="T121" fmla="*/ 95 h 1404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602"/>
              <a:gd name="T184" fmla="*/ 0 h 1404"/>
              <a:gd name="T185" fmla="*/ 1602 w 1602"/>
              <a:gd name="T186" fmla="*/ 1404 h 1404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602" h="1404">
                <a:moveTo>
                  <a:pt x="1392" y="1080"/>
                </a:moveTo>
                <a:lnTo>
                  <a:pt x="1380" y="1074"/>
                </a:lnTo>
                <a:lnTo>
                  <a:pt x="1368" y="1056"/>
                </a:lnTo>
                <a:lnTo>
                  <a:pt x="1356" y="1044"/>
                </a:lnTo>
                <a:lnTo>
                  <a:pt x="1344" y="1038"/>
                </a:lnTo>
                <a:lnTo>
                  <a:pt x="1338" y="1038"/>
                </a:lnTo>
                <a:lnTo>
                  <a:pt x="1332" y="1038"/>
                </a:lnTo>
                <a:lnTo>
                  <a:pt x="1326" y="1044"/>
                </a:lnTo>
                <a:lnTo>
                  <a:pt x="1320" y="1044"/>
                </a:lnTo>
                <a:lnTo>
                  <a:pt x="1314" y="1044"/>
                </a:lnTo>
                <a:lnTo>
                  <a:pt x="1296" y="1056"/>
                </a:lnTo>
                <a:lnTo>
                  <a:pt x="1296" y="1080"/>
                </a:lnTo>
                <a:lnTo>
                  <a:pt x="1290" y="1080"/>
                </a:lnTo>
                <a:lnTo>
                  <a:pt x="1284" y="1086"/>
                </a:lnTo>
                <a:lnTo>
                  <a:pt x="1278" y="1086"/>
                </a:lnTo>
                <a:lnTo>
                  <a:pt x="1278" y="1092"/>
                </a:lnTo>
                <a:lnTo>
                  <a:pt x="1272" y="1092"/>
                </a:lnTo>
                <a:lnTo>
                  <a:pt x="1266" y="1086"/>
                </a:lnTo>
                <a:lnTo>
                  <a:pt x="1260" y="1086"/>
                </a:lnTo>
                <a:lnTo>
                  <a:pt x="1260" y="1098"/>
                </a:lnTo>
                <a:lnTo>
                  <a:pt x="1248" y="1098"/>
                </a:lnTo>
                <a:lnTo>
                  <a:pt x="1212" y="1116"/>
                </a:lnTo>
                <a:lnTo>
                  <a:pt x="1206" y="1158"/>
                </a:lnTo>
                <a:lnTo>
                  <a:pt x="1176" y="1164"/>
                </a:lnTo>
                <a:lnTo>
                  <a:pt x="1158" y="1164"/>
                </a:lnTo>
                <a:lnTo>
                  <a:pt x="1152" y="1164"/>
                </a:lnTo>
                <a:lnTo>
                  <a:pt x="1152" y="1170"/>
                </a:lnTo>
                <a:lnTo>
                  <a:pt x="1152" y="1176"/>
                </a:lnTo>
                <a:lnTo>
                  <a:pt x="1146" y="1176"/>
                </a:lnTo>
                <a:lnTo>
                  <a:pt x="1140" y="1176"/>
                </a:lnTo>
                <a:lnTo>
                  <a:pt x="1134" y="1182"/>
                </a:lnTo>
                <a:lnTo>
                  <a:pt x="1134" y="1188"/>
                </a:lnTo>
                <a:lnTo>
                  <a:pt x="1128" y="1194"/>
                </a:lnTo>
                <a:lnTo>
                  <a:pt x="1122" y="1194"/>
                </a:lnTo>
                <a:lnTo>
                  <a:pt x="1116" y="1194"/>
                </a:lnTo>
                <a:lnTo>
                  <a:pt x="1110" y="1200"/>
                </a:lnTo>
                <a:lnTo>
                  <a:pt x="1110" y="1206"/>
                </a:lnTo>
                <a:lnTo>
                  <a:pt x="1104" y="1212"/>
                </a:lnTo>
                <a:lnTo>
                  <a:pt x="1104" y="1218"/>
                </a:lnTo>
                <a:lnTo>
                  <a:pt x="1098" y="1224"/>
                </a:lnTo>
                <a:lnTo>
                  <a:pt x="1092" y="1230"/>
                </a:lnTo>
                <a:lnTo>
                  <a:pt x="1086" y="1230"/>
                </a:lnTo>
                <a:lnTo>
                  <a:pt x="1080" y="1230"/>
                </a:lnTo>
                <a:lnTo>
                  <a:pt x="1080" y="1242"/>
                </a:lnTo>
                <a:lnTo>
                  <a:pt x="1074" y="1242"/>
                </a:lnTo>
                <a:lnTo>
                  <a:pt x="1068" y="1242"/>
                </a:lnTo>
                <a:lnTo>
                  <a:pt x="1068" y="1236"/>
                </a:lnTo>
                <a:lnTo>
                  <a:pt x="1062" y="1242"/>
                </a:lnTo>
                <a:lnTo>
                  <a:pt x="1056" y="1236"/>
                </a:lnTo>
                <a:lnTo>
                  <a:pt x="1050" y="1242"/>
                </a:lnTo>
                <a:lnTo>
                  <a:pt x="1050" y="1236"/>
                </a:lnTo>
                <a:lnTo>
                  <a:pt x="1044" y="1194"/>
                </a:lnTo>
                <a:lnTo>
                  <a:pt x="1032" y="1194"/>
                </a:lnTo>
                <a:lnTo>
                  <a:pt x="1032" y="1200"/>
                </a:lnTo>
                <a:lnTo>
                  <a:pt x="1026" y="1200"/>
                </a:lnTo>
                <a:lnTo>
                  <a:pt x="1014" y="1218"/>
                </a:lnTo>
                <a:lnTo>
                  <a:pt x="1014" y="1224"/>
                </a:lnTo>
                <a:lnTo>
                  <a:pt x="1014" y="1236"/>
                </a:lnTo>
                <a:lnTo>
                  <a:pt x="1014" y="1242"/>
                </a:lnTo>
                <a:lnTo>
                  <a:pt x="1008" y="1242"/>
                </a:lnTo>
                <a:lnTo>
                  <a:pt x="1002" y="1236"/>
                </a:lnTo>
                <a:lnTo>
                  <a:pt x="1002" y="1230"/>
                </a:lnTo>
                <a:lnTo>
                  <a:pt x="996" y="1236"/>
                </a:lnTo>
                <a:lnTo>
                  <a:pt x="990" y="1236"/>
                </a:lnTo>
                <a:lnTo>
                  <a:pt x="990" y="1230"/>
                </a:lnTo>
                <a:lnTo>
                  <a:pt x="984" y="1236"/>
                </a:lnTo>
                <a:lnTo>
                  <a:pt x="978" y="1248"/>
                </a:lnTo>
                <a:lnTo>
                  <a:pt x="972" y="1254"/>
                </a:lnTo>
                <a:lnTo>
                  <a:pt x="966" y="1260"/>
                </a:lnTo>
                <a:lnTo>
                  <a:pt x="930" y="1284"/>
                </a:lnTo>
                <a:lnTo>
                  <a:pt x="942" y="1356"/>
                </a:lnTo>
                <a:lnTo>
                  <a:pt x="930" y="1368"/>
                </a:lnTo>
                <a:lnTo>
                  <a:pt x="852" y="1404"/>
                </a:lnTo>
                <a:lnTo>
                  <a:pt x="834" y="1392"/>
                </a:lnTo>
                <a:lnTo>
                  <a:pt x="834" y="1362"/>
                </a:lnTo>
                <a:lnTo>
                  <a:pt x="828" y="1332"/>
                </a:lnTo>
                <a:lnTo>
                  <a:pt x="810" y="1308"/>
                </a:lnTo>
                <a:lnTo>
                  <a:pt x="810" y="1284"/>
                </a:lnTo>
                <a:lnTo>
                  <a:pt x="816" y="1266"/>
                </a:lnTo>
                <a:lnTo>
                  <a:pt x="822" y="1254"/>
                </a:lnTo>
                <a:lnTo>
                  <a:pt x="822" y="1242"/>
                </a:lnTo>
                <a:lnTo>
                  <a:pt x="810" y="1230"/>
                </a:lnTo>
                <a:lnTo>
                  <a:pt x="804" y="1218"/>
                </a:lnTo>
                <a:lnTo>
                  <a:pt x="804" y="1212"/>
                </a:lnTo>
                <a:lnTo>
                  <a:pt x="804" y="1206"/>
                </a:lnTo>
                <a:lnTo>
                  <a:pt x="816" y="1194"/>
                </a:lnTo>
                <a:lnTo>
                  <a:pt x="822" y="1188"/>
                </a:lnTo>
                <a:lnTo>
                  <a:pt x="828" y="1170"/>
                </a:lnTo>
                <a:lnTo>
                  <a:pt x="840" y="1152"/>
                </a:lnTo>
                <a:lnTo>
                  <a:pt x="846" y="1146"/>
                </a:lnTo>
                <a:lnTo>
                  <a:pt x="846" y="1134"/>
                </a:lnTo>
                <a:lnTo>
                  <a:pt x="852" y="1128"/>
                </a:lnTo>
                <a:lnTo>
                  <a:pt x="846" y="1116"/>
                </a:lnTo>
                <a:lnTo>
                  <a:pt x="840" y="1098"/>
                </a:lnTo>
                <a:lnTo>
                  <a:pt x="840" y="1086"/>
                </a:lnTo>
                <a:lnTo>
                  <a:pt x="846" y="1074"/>
                </a:lnTo>
                <a:lnTo>
                  <a:pt x="852" y="1068"/>
                </a:lnTo>
                <a:lnTo>
                  <a:pt x="864" y="1038"/>
                </a:lnTo>
                <a:lnTo>
                  <a:pt x="870" y="1020"/>
                </a:lnTo>
                <a:lnTo>
                  <a:pt x="864" y="1008"/>
                </a:lnTo>
                <a:lnTo>
                  <a:pt x="858" y="990"/>
                </a:lnTo>
                <a:lnTo>
                  <a:pt x="852" y="954"/>
                </a:lnTo>
                <a:lnTo>
                  <a:pt x="846" y="948"/>
                </a:lnTo>
                <a:lnTo>
                  <a:pt x="834" y="936"/>
                </a:lnTo>
                <a:lnTo>
                  <a:pt x="828" y="924"/>
                </a:lnTo>
                <a:lnTo>
                  <a:pt x="756" y="942"/>
                </a:lnTo>
                <a:lnTo>
                  <a:pt x="744" y="936"/>
                </a:lnTo>
                <a:lnTo>
                  <a:pt x="744" y="930"/>
                </a:lnTo>
                <a:lnTo>
                  <a:pt x="738" y="924"/>
                </a:lnTo>
                <a:lnTo>
                  <a:pt x="744" y="924"/>
                </a:lnTo>
                <a:lnTo>
                  <a:pt x="738" y="918"/>
                </a:lnTo>
                <a:lnTo>
                  <a:pt x="732" y="912"/>
                </a:lnTo>
                <a:lnTo>
                  <a:pt x="732" y="906"/>
                </a:lnTo>
                <a:lnTo>
                  <a:pt x="732" y="894"/>
                </a:lnTo>
                <a:lnTo>
                  <a:pt x="726" y="888"/>
                </a:lnTo>
                <a:lnTo>
                  <a:pt x="720" y="882"/>
                </a:lnTo>
                <a:lnTo>
                  <a:pt x="714" y="876"/>
                </a:lnTo>
                <a:lnTo>
                  <a:pt x="708" y="876"/>
                </a:lnTo>
                <a:lnTo>
                  <a:pt x="690" y="882"/>
                </a:lnTo>
                <a:lnTo>
                  <a:pt x="684" y="864"/>
                </a:lnTo>
                <a:lnTo>
                  <a:pt x="684" y="852"/>
                </a:lnTo>
                <a:lnTo>
                  <a:pt x="672" y="852"/>
                </a:lnTo>
                <a:lnTo>
                  <a:pt x="654" y="852"/>
                </a:lnTo>
                <a:lnTo>
                  <a:pt x="642" y="846"/>
                </a:lnTo>
                <a:lnTo>
                  <a:pt x="636" y="834"/>
                </a:lnTo>
                <a:lnTo>
                  <a:pt x="630" y="822"/>
                </a:lnTo>
                <a:lnTo>
                  <a:pt x="618" y="822"/>
                </a:lnTo>
                <a:lnTo>
                  <a:pt x="618" y="816"/>
                </a:lnTo>
                <a:lnTo>
                  <a:pt x="618" y="810"/>
                </a:lnTo>
                <a:lnTo>
                  <a:pt x="612" y="810"/>
                </a:lnTo>
                <a:lnTo>
                  <a:pt x="606" y="804"/>
                </a:lnTo>
                <a:lnTo>
                  <a:pt x="594" y="804"/>
                </a:lnTo>
                <a:lnTo>
                  <a:pt x="588" y="810"/>
                </a:lnTo>
                <a:lnTo>
                  <a:pt x="588" y="804"/>
                </a:lnTo>
                <a:lnTo>
                  <a:pt x="582" y="804"/>
                </a:lnTo>
                <a:lnTo>
                  <a:pt x="582" y="810"/>
                </a:lnTo>
                <a:lnTo>
                  <a:pt x="570" y="810"/>
                </a:lnTo>
                <a:lnTo>
                  <a:pt x="564" y="816"/>
                </a:lnTo>
                <a:lnTo>
                  <a:pt x="558" y="816"/>
                </a:lnTo>
                <a:lnTo>
                  <a:pt x="552" y="822"/>
                </a:lnTo>
                <a:lnTo>
                  <a:pt x="546" y="828"/>
                </a:lnTo>
                <a:lnTo>
                  <a:pt x="546" y="834"/>
                </a:lnTo>
                <a:lnTo>
                  <a:pt x="528" y="834"/>
                </a:lnTo>
                <a:lnTo>
                  <a:pt x="516" y="822"/>
                </a:lnTo>
                <a:lnTo>
                  <a:pt x="504" y="822"/>
                </a:lnTo>
                <a:lnTo>
                  <a:pt x="492" y="828"/>
                </a:lnTo>
                <a:lnTo>
                  <a:pt x="486" y="804"/>
                </a:lnTo>
                <a:lnTo>
                  <a:pt x="480" y="804"/>
                </a:lnTo>
                <a:lnTo>
                  <a:pt x="486" y="792"/>
                </a:lnTo>
                <a:lnTo>
                  <a:pt x="492" y="786"/>
                </a:lnTo>
                <a:lnTo>
                  <a:pt x="498" y="786"/>
                </a:lnTo>
                <a:lnTo>
                  <a:pt x="498" y="780"/>
                </a:lnTo>
                <a:lnTo>
                  <a:pt x="504" y="780"/>
                </a:lnTo>
                <a:lnTo>
                  <a:pt x="510" y="780"/>
                </a:lnTo>
                <a:lnTo>
                  <a:pt x="522" y="768"/>
                </a:lnTo>
                <a:lnTo>
                  <a:pt x="522" y="762"/>
                </a:lnTo>
                <a:lnTo>
                  <a:pt x="504" y="756"/>
                </a:lnTo>
                <a:lnTo>
                  <a:pt x="498" y="756"/>
                </a:lnTo>
                <a:lnTo>
                  <a:pt x="498" y="744"/>
                </a:lnTo>
                <a:lnTo>
                  <a:pt x="492" y="738"/>
                </a:lnTo>
                <a:lnTo>
                  <a:pt x="480" y="738"/>
                </a:lnTo>
                <a:lnTo>
                  <a:pt x="474" y="738"/>
                </a:lnTo>
                <a:lnTo>
                  <a:pt x="456" y="738"/>
                </a:lnTo>
                <a:lnTo>
                  <a:pt x="438" y="738"/>
                </a:lnTo>
                <a:lnTo>
                  <a:pt x="432" y="750"/>
                </a:lnTo>
                <a:lnTo>
                  <a:pt x="426" y="756"/>
                </a:lnTo>
                <a:lnTo>
                  <a:pt x="426" y="762"/>
                </a:lnTo>
                <a:lnTo>
                  <a:pt x="420" y="762"/>
                </a:lnTo>
                <a:lnTo>
                  <a:pt x="408" y="744"/>
                </a:lnTo>
                <a:lnTo>
                  <a:pt x="408" y="732"/>
                </a:lnTo>
                <a:lnTo>
                  <a:pt x="390" y="714"/>
                </a:lnTo>
                <a:lnTo>
                  <a:pt x="384" y="702"/>
                </a:lnTo>
                <a:lnTo>
                  <a:pt x="384" y="690"/>
                </a:lnTo>
                <a:lnTo>
                  <a:pt x="372" y="690"/>
                </a:lnTo>
                <a:lnTo>
                  <a:pt x="366" y="660"/>
                </a:lnTo>
                <a:lnTo>
                  <a:pt x="354" y="630"/>
                </a:lnTo>
                <a:lnTo>
                  <a:pt x="348" y="630"/>
                </a:lnTo>
                <a:lnTo>
                  <a:pt x="336" y="630"/>
                </a:lnTo>
                <a:lnTo>
                  <a:pt x="330" y="630"/>
                </a:lnTo>
                <a:lnTo>
                  <a:pt x="318" y="630"/>
                </a:lnTo>
                <a:lnTo>
                  <a:pt x="312" y="624"/>
                </a:lnTo>
                <a:lnTo>
                  <a:pt x="306" y="624"/>
                </a:lnTo>
                <a:lnTo>
                  <a:pt x="294" y="618"/>
                </a:lnTo>
                <a:lnTo>
                  <a:pt x="288" y="612"/>
                </a:lnTo>
                <a:lnTo>
                  <a:pt x="276" y="600"/>
                </a:lnTo>
                <a:lnTo>
                  <a:pt x="276" y="582"/>
                </a:lnTo>
                <a:lnTo>
                  <a:pt x="270" y="582"/>
                </a:lnTo>
                <a:lnTo>
                  <a:pt x="258" y="588"/>
                </a:lnTo>
                <a:lnTo>
                  <a:pt x="252" y="582"/>
                </a:lnTo>
                <a:lnTo>
                  <a:pt x="246" y="582"/>
                </a:lnTo>
                <a:lnTo>
                  <a:pt x="240" y="588"/>
                </a:lnTo>
                <a:lnTo>
                  <a:pt x="216" y="582"/>
                </a:lnTo>
                <a:lnTo>
                  <a:pt x="210" y="588"/>
                </a:lnTo>
                <a:lnTo>
                  <a:pt x="198" y="582"/>
                </a:lnTo>
                <a:lnTo>
                  <a:pt x="180" y="582"/>
                </a:lnTo>
                <a:lnTo>
                  <a:pt x="174" y="552"/>
                </a:lnTo>
                <a:lnTo>
                  <a:pt x="168" y="504"/>
                </a:lnTo>
                <a:lnTo>
                  <a:pt x="186" y="504"/>
                </a:lnTo>
                <a:lnTo>
                  <a:pt x="192" y="504"/>
                </a:lnTo>
                <a:lnTo>
                  <a:pt x="192" y="498"/>
                </a:lnTo>
                <a:lnTo>
                  <a:pt x="192" y="492"/>
                </a:lnTo>
                <a:lnTo>
                  <a:pt x="192" y="486"/>
                </a:lnTo>
                <a:lnTo>
                  <a:pt x="198" y="486"/>
                </a:lnTo>
                <a:lnTo>
                  <a:pt x="198" y="480"/>
                </a:lnTo>
                <a:lnTo>
                  <a:pt x="204" y="474"/>
                </a:lnTo>
                <a:lnTo>
                  <a:pt x="210" y="468"/>
                </a:lnTo>
                <a:lnTo>
                  <a:pt x="198" y="462"/>
                </a:lnTo>
                <a:lnTo>
                  <a:pt x="192" y="444"/>
                </a:lnTo>
                <a:lnTo>
                  <a:pt x="204" y="438"/>
                </a:lnTo>
                <a:lnTo>
                  <a:pt x="198" y="432"/>
                </a:lnTo>
                <a:lnTo>
                  <a:pt x="192" y="426"/>
                </a:lnTo>
                <a:lnTo>
                  <a:pt x="186" y="432"/>
                </a:lnTo>
                <a:lnTo>
                  <a:pt x="168" y="438"/>
                </a:lnTo>
                <a:lnTo>
                  <a:pt x="150" y="450"/>
                </a:lnTo>
                <a:lnTo>
                  <a:pt x="144" y="456"/>
                </a:lnTo>
                <a:lnTo>
                  <a:pt x="132" y="456"/>
                </a:lnTo>
                <a:lnTo>
                  <a:pt x="126" y="468"/>
                </a:lnTo>
                <a:lnTo>
                  <a:pt x="114" y="468"/>
                </a:lnTo>
                <a:lnTo>
                  <a:pt x="108" y="468"/>
                </a:lnTo>
                <a:lnTo>
                  <a:pt x="108" y="426"/>
                </a:lnTo>
                <a:lnTo>
                  <a:pt x="108" y="420"/>
                </a:lnTo>
                <a:lnTo>
                  <a:pt x="102" y="414"/>
                </a:lnTo>
                <a:lnTo>
                  <a:pt x="108" y="396"/>
                </a:lnTo>
                <a:lnTo>
                  <a:pt x="120" y="396"/>
                </a:lnTo>
                <a:lnTo>
                  <a:pt x="126" y="384"/>
                </a:lnTo>
                <a:lnTo>
                  <a:pt x="126" y="360"/>
                </a:lnTo>
                <a:lnTo>
                  <a:pt x="120" y="348"/>
                </a:lnTo>
                <a:lnTo>
                  <a:pt x="108" y="348"/>
                </a:lnTo>
                <a:lnTo>
                  <a:pt x="84" y="354"/>
                </a:lnTo>
                <a:lnTo>
                  <a:pt x="72" y="354"/>
                </a:lnTo>
                <a:lnTo>
                  <a:pt x="66" y="354"/>
                </a:lnTo>
                <a:lnTo>
                  <a:pt x="60" y="348"/>
                </a:lnTo>
                <a:lnTo>
                  <a:pt x="54" y="342"/>
                </a:lnTo>
                <a:lnTo>
                  <a:pt x="54" y="336"/>
                </a:lnTo>
                <a:lnTo>
                  <a:pt x="54" y="330"/>
                </a:lnTo>
                <a:lnTo>
                  <a:pt x="54" y="324"/>
                </a:lnTo>
                <a:lnTo>
                  <a:pt x="60" y="318"/>
                </a:lnTo>
                <a:lnTo>
                  <a:pt x="42" y="324"/>
                </a:lnTo>
                <a:lnTo>
                  <a:pt x="36" y="318"/>
                </a:lnTo>
                <a:lnTo>
                  <a:pt x="36" y="312"/>
                </a:lnTo>
                <a:lnTo>
                  <a:pt x="36" y="306"/>
                </a:lnTo>
                <a:lnTo>
                  <a:pt x="36" y="300"/>
                </a:lnTo>
                <a:lnTo>
                  <a:pt x="30" y="300"/>
                </a:lnTo>
                <a:lnTo>
                  <a:pt x="30" y="306"/>
                </a:lnTo>
                <a:lnTo>
                  <a:pt x="24" y="306"/>
                </a:lnTo>
                <a:lnTo>
                  <a:pt x="24" y="300"/>
                </a:lnTo>
                <a:lnTo>
                  <a:pt x="24" y="294"/>
                </a:lnTo>
                <a:lnTo>
                  <a:pt x="24" y="288"/>
                </a:lnTo>
                <a:lnTo>
                  <a:pt x="24" y="282"/>
                </a:lnTo>
                <a:lnTo>
                  <a:pt x="18" y="282"/>
                </a:lnTo>
                <a:lnTo>
                  <a:pt x="24" y="276"/>
                </a:lnTo>
                <a:lnTo>
                  <a:pt x="18" y="276"/>
                </a:lnTo>
                <a:lnTo>
                  <a:pt x="6" y="264"/>
                </a:lnTo>
                <a:lnTo>
                  <a:pt x="6" y="258"/>
                </a:lnTo>
                <a:lnTo>
                  <a:pt x="0" y="258"/>
                </a:lnTo>
                <a:lnTo>
                  <a:pt x="0" y="252"/>
                </a:lnTo>
                <a:lnTo>
                  <a:pt x="6" y="240"/>
                </a:lnTo>
                <a:lnTo>
                  <a:pt x="18" y="234"/>
                </a:lnTo>
                <a:lnTo>
                  <a:pt x="30" y="228"/>
                </a:lnTo>
                <a:lnTo>
                  <a:pt x="30" y="216"/>
                </a:lnTo>
                <a:lnTo>
                  <a:pt x="30" y="210"/>
                </a:lnTo>
                <a:lnTo>
                  <a:pt x="42" y="192"/>
                </a:lnTo>
                <a:lnTo>
                  <a:pt x="66" y="186"/>
                </a:lnTo>
                <a:lnTo>
                  <a:pt x="90" y="156"/>
                </a:lnTo>
                <a:lnTo>
                  <a:pt x="102" y="144"/>
                </a:lnTo>
                <a:lnTo>
                  <a:pt x="138" y="150"/>
                </a:lnTo>
                <a:lnTo>
                  <a:pt x="162" y="168"/>
                </a:lnTo>
                <a:lnTo>
                  <a:pt x="174" y="174"/>
                </a:lnTo>
                <a:lnTo>
                  <a:pt x="180" y="174"/>
                </a:lnTo>
                <a:lnTo>
                  <a:pt x="180" y="180"/>
                </a:lnTo>
                <a:lnTo>
                  <a:pt x="174" y="180"/>
                </a:lnTo>
                <a:lnTo>
                  <a:pt x="180" y="186"/>
                </a:lnTo>
                <a:lnTo>
                  <a:pt x="186" y="186"/>
                </a:lnTo>
                <a:lnTo>
                  <a:pt x="198" y="192"/>
                </a:lnTo>
                <a:lnTo>
                  <a:pt x="216" y="198"/>
                </a:lnTo>
                <a:lnTo>
                  <a:pt x="252" y="204"/>
                </a:lnTo>
                <a:lnTo>
                  <a:pt x="258" y="210"/>
                </a:lnTo>
                <a:lnTo>
                  <a:pt x="306" y="216"/>
                </a:lnTo>
                <a:lnTo>
                  <a:pt x="342" y="216"/>
                </a:lnTo>
                <a:lnTo>
                  <a:pt x="354" y="210"/>
                </a:lnTo>
                <a:lnTo>
                  <a:pt x="384" y="210"/>
                </a:lnTo>
                <a:lnTo>
                  <a:pt x="408" y="222"/>
                </a:lnTo>
                <a:lnTo>
                  <a:pt x="438" y="228"/>
                </a:lnTo>
                <a:lnTo>
                  <a:pt x="468" y="222"/>
                </a:lnTo>
                <a:lnTo>
                  <a:pt x="468" y="228"/>
                </a:lnTo>
                <a:lnTo>
                  <a:pt x="486" y="222"/>
                </a:lnTo>
                <a:lnTo>
                  <a:pt x="492" y="210"/>
                </a:lnTo>
                <a:lnTo>
                  <a:pt x="492" y="198"/>
                </a:lnTo>
                <a:lnTo>
                  <a:pt x="486" y="180"/>
                </a:lnTo>
                <a:lnTo>
                  <a:pt x="492" y="162"/>
                </a:lnTo>
                <a:lnTo>
                  <a:pt x="510" y="96"/>
                </a:lnTo>
                <a:lnTo>
                  <a:pt x="516" y="84"/>
                </a:lnTo>
                <a:lnTo>
                  <a:pt x="522" y="84"/>
                </a:lnTo>
                <a:lnTo>
                  <a:pt x="528" y="84"/>
                </a:lnTo>
                <a:lnTo>
                  <a:pt x="528" y="78"/>
                </a:lnTo>
                <a:lnTo>
                  <a:pt x="534" y="72"/>
                </a:lnTo>
                <a:lnTo>
                  <a:pt x="534" y="60"/>
                </a:lnTo>
                <a:lnTo>
                  <a:pt x="540" y="36"/>
                </a:lnTo>
                <a:lnTo>
                  <a:pt x="546" y="6"/>
                </a:lnTo>
                <a:lnTo>
                  <a:pt x="558" y="6"/>
                </a:lnTo>
                <a:lnTo>
                  <a:pt x="564" y="0"/>
                </a:lnTo>
                <a:lnTo>
                  <a:pt x="582" y="0"/>
                </a:lnTo>
                <a:lnTo>
                  <a:pt x="588" y="0"/>
                </a:lnTo>
                <a:lnTo>
                  <a:pt x="594" y="6"/>
                </a:lnTo>
                <a:lnTo>
                  <a:pt x="600" y="12"/>
                </a:lnTo>
                <a:lnTo>
                  <a:pt x="600" y="18"/>
                </a:lnTo>
                <a:lnTo>
                  <a:pt x="606" y="18"/>
                </a:lnTo>
                <a:lnTo>
                  <a:pt x="612" y="18"/>
                </a:lnTo>
                <a:lnTo>
                  <a:pt x="618" y="18"/>
                </a:lnTo>
                <a:lnTo>
                  <a:pt x="624" y="24"/>
                </a:lnTo>
                <a:lnTo>
                  <a:pt x="630" y="30"/>
                </a:lnTo>
                <a:lnTo>
                  <a:pt x="636" y="30"/>
                </a:lnTo>
                <a:lnTo>
                  <a:pt x="636" y="36"/>
                </a:lnTo>
                <a:lnTo>
                  <a:pt x="642" y="36"/>
                </a:lnTo>
                <a:lnTo>
                  <a:pt x="642" y="42"/>
                </a:lnTo>
                <a:lnTo>
                  <a:pt x="648" y="54"/>
                </a:lnTo>
                <a:lnTo>
                  <a:pt x="660" y="72"/>
                </a:lnTo>
                <a:lnTo>
                  <a:pt x="666" y="78"/>
                </a:lnTo>
                <a:lnTo>
                  <a:pt x="672" y="90"/>
                </a:lnTo>
                <a:lnTo>
                  <a:pt x="678" y="102"/>
                </a:lnTo>
                <a:lnTo>
                  <a:pt x="678" y="114"/>
                </a:lnTo>
                <a:lnTo>
                  <a:pt x="684" y="132"/>
                </a:lnTo>
                <a:lnTo>
                  <a:pt x="684" y="144"/>
                </a:lnTo>
                <a:lnTo>
                  <a:pt x="690" y="162"/>
                </a:lnTo>
                <a:lnTo>
                  <a:pt x="696" y="168"/>
                </a:lnTo>
                <a:lnTo>
                  <a:pt x="696" y="180"/>
                </a:lnTo>
                <a:lnTo>
                  <a:pt x="702" y="186"/>
                </a:lnTo>
                <a:lnTo>
                  <a:pt x="708" y="186"/>
                </a:lnTo>
                <a:lnTo>
                  <a:pt x="714" y="198"/>
                </a:lnTo>
                <a:lnTo>
                  <a:pt x="720" y="198"/>
                </a:lnTo>
                <a:lnTo>
                  <a:pt x="732" y="204"/>
                </a:lnTo>
                <a:lnTo>
                  <a:pt x="738" y="210"/>
                </a:lnTo>
                <a:lnTo>
                  <a:pt x="738" y="216"/>
                </a:lnTo>
                <a:lnTo>
                  <a:pt x="744" y="222"/>
                </a:lnTo>
                <a:lnTo>
                  <a:pt x="750" y="228"/>
                </a:lnTo>
                <a:lnTo>
                  <a:pt x="756" y="228"/>
                </a:lnTo>
                <a:lnTo>
                  <a:pt x="768" y="240"/>
                </a:lnTo>
                <a:lnTo>
                  <a:pt x="774" y="252"/>
                </a:lnTo>
                <a:lnTo>
                  <a:pt x="780" y="258"/>
                </a:lnTo>
                <a:lnTo>
                  <a:pt x="786" y="258"/>
                </a:lnTo>
                <a:lnTo>
                  <a:pt x="798" y="264"/>
                </a:lnTo>
                <a:lnTo>
                  <a:pt x="798" y="270"/>
                </a:lnTo>
                <a:lnTo>
                  <a:pt x="798" y="276"/>
                </a:lnTo>
                <a:lnTo>
                  <a:pt x="810" y="288"/>
                </a:lnTo>
                <a:lnTo>
                  <a:pt x="816" y="288"/>
                </a:lnTo>
                <a:lnTo>
                  <a:pt x="816" y="300"/>
                </a:lnTo>
                <a:lnTo>
                  <a:pt x="816" y="306"/>
                </a:lnTo>
                <a:lnTo>
                  <a:pt x="822" y="318"/>
                </a:lnTo>
                <a:lnTo>
                  <a:pt x="828" y="324"/>
                </a:lnTo>
                <a:lnTo>
                  <a:pt x="834" y="330"/>
                </a:lnTo>
                <a:lnTo>
                  <a:pt x="846" y="336"/>
                </a:lnTo>
                <a:lnTo>
                  <a:pt x="846" y="342"/>
                </a:lnTo>
                <a:lnTo>
                  <a:pt x="852" y="348"/>
                </a:lnTo>
                <a:lnTo>
                  <a:pt x="852" y="354"/>
                </a:lnTo>
                <a:lnTo>
                  <a:pt x="858" y="354"/>
                </a:lnTo>
                <a:lnTo>
                  <a:pt x="858" y="348"/>
                </a:lnTo>
                <a:lnTo>
                  <a:pt x="864" y="342"/>
                </a:lnTo>
                <a:lnTo>
                  <a:pt x="864" y="336"/>
                </a:lnTo>
                <a:lnTo>
                  <a:pt x="864" y="318"/>
                </a:lnTo>
                <a:lnTo>
                  <a:pt x="870" y="318"/>
                </a:lnTo>
                <a:lnTo>
                  <a:pt x="876" y="312"/>
                </a:lnTo>
                <a:lnTo>
                  <a:pt x="876" y="306"/>
                </a:lnTo>
                <a:lnTo>
                  <a:pt x="870" y="300"/>
                </a:lnTo>
                <a:lnTo>
                  <a:pt x="870" y="294"/>
                </a:lnTo>
                <a:lnTo>
                  <a:pt x="876" y="294"/>
                </a:lnTo>
                <a:lnTo>
                  <a:pt x="882" y="300"/>
                </a:lnTo>
                <a:lnTo>
                  <a:pt x="888" y="300"/>
                </a:lnTo>
                <a:lnTo>
                  <a:pt x="888" y="306"/>
                </a:lnTo>
                <a:lnTo>
                  <a:pt x="894" y="300"/>
                </a:lnTo>
                <a:lnTo>
                  <a:pt x="900" y="294"/>
                </a:lnTo>
                <a:lnTo>
                  <a:pt x="894" y="288"/>
                </a:lnTo>
                <a:lnTo>
                  <a:pt x="888" y="282"/>
                </a:lnTo>
                <a:lnTo>
                  <a:pt x="888" y="276"/>
                </a:lnTo>
                <a:lnTo>
                  <a:pt x="894" y="276"/>
                </a:lnTo>
                <a:lnTo>
                  <a:pt x="900" y="276"/>
                </a:lnTo>
                <a:lnTo>
                  <a:pt x="900" y="270"/>
                </a:lnTo>
                <a:lnTo>
                  <a:pt x="906" y="264"/>
                </a:lnTo>
                <a:lnTo>
                  <a:pt x="906" y="258"/>
                </a:lnTo>
                <a:lnTo>
                  <a:pt x="918" y="264"/>
                </a:lnTo>
                <a:lnTo>
                  <a:pt x="918" y="258"/>
                </a:lnTo>
                <a:lnTo>
                  <a:pt x="924" y="252"/>
                </a:lnTo>
                <a:lnTo>
                  <a:pt x="930" y="252"/>
                </a:lnTo>
                <a:lnTo>
                  <a:pt x="930" y="246"/>
                </a:lnTo>
                <a:lnTo>
                  <a:pt x="936" y="234"/>
                </a:lnTo>
                <a:lnTo>
                  <a:pt x="942" y="228"/>
                </a:lnTo>
                <a:lnTo>
                  <a:pt x="942" y="222"/>
                </a:lnTo>
                <a:lnTo>
                  <a:pt x="948" y="222"/>
                </a:lnTo>
                <a:lnTo>
                  <a:pt x="948" y="216"/>
                </a:lnTo>
                <a:lnTo>
                  <a:pt x="942" y="216"/>
                </a:lnTo>
                <a:lnTo>
                  <a:pt x="936" y="216"/>
                </a:lnTo>
                <a:lnTo>
                  <a:pt x="936" y="210"/>
                </a:lnTo>
                <a:lnTo>
                  <a:pt x="942" y="210"/>
                </a:lnTo>
                <a:lnTo>
                  <a:pt x="972" y="210"/>
                </a:lnTo>
                <a:lnTo>
                  <a:pt x="1032" y="216"/>
                </a:lnTo>
                <a:lnTo>
                  <a:pt x="1068" y="216"/>
                </a:lnTo>
                <a:lnTo>
                  <a:pt x="1056" y="234"/>
                </a:lnTo>
                <a:lnTo>
                  <a:pt x="1050" y="240"/>
                </a:lnTo>
                <a:lnTo>
                  <a:pt x="1044" y="246"/>
                </a:lnTo>
                <a:lnTo>
                  <a:pt x="1038" y="246"/>
                </a:lnTo>
                <a:lnTo>
                  <a:pt x="1026" y="282"/>
                </a:lnTo>
                <a:lnTo>
                  <a:pt x="1032" y="306"/>
                </a:lnTo>
                <a:lnTo>
                  <a:pt x="1044" y="324"/>
                </a:lnTo>
                <a:lnTo>
                  <a:pt x="1044" y="342"/>
                </a:lnTo>
                <a:lnTo>
                  <a:pt x="1062" y="366"/>
                </a:lnTo>
                <a:lnTo>
                  <a:pt x="1056" y="396"/>
                </a:lnTo>
                <a:lnTo>
                  <a:pt x="1038" y="462"/>
                </a:lnTo>
                <a:lnTo>
                  <a:pt x="1038" y="498"/>
                </a:lnTo>
                <a:lnTo>
                  <a:pt x="1038" y="522"/>
                </a:lnTo>
                <a:lnTo>
                  <a:pt x="1038" y="534"/>
                </a:lnTo>
                <a:lnTo>
                  <a:pt x="1056" y="522"/>
                </a:lnTo>
                <a:lnTo>
                  <a:pt x="1098" y="504"/>
                </a:lnTo>
                <a:lnTo>
                  <a:pt x="1104" y="498"/>
                </a:lnTo>
                <a:lnTo>
                  <a:pt x="1128" y="492"/>
                </a:lnTo>
                <a:lnTo>
                  <a:pt x="1152" y="480"/>
                </a:lnTo>
                <a:lnTo>
                  <a:pt x="1170" y="474"/>
                </a:lnTo>
                <a:lnTo>
                  <a:pt x="1188" y="468"/>
                </a:lnTo>
                <a:lnTo>
                  <a:pt x="1200" y="462"/>
                </a:lnTo>
                <a:lnTo>
                  <a:pt x="1224" y="450"/>
                </a:lnTo>
                <a:lnTo>
                  <a:pt x="1248" y="450"/>
                </a:lnTo>
                <a:lnTo>
                  <a:pt x="1266" y="450"/>
                </a:lnTo>
                <a:lnTo>
                  <a:pt x="1296" y="456"/>
                </a:lnTo>
                <a:lnTo>
                  <a:pt x="1308" y="456"/>
                </a:lnTo>
                <a:lnTo>
                  <a:pt x="1326" y="456"/>
                </a:lnTo>
                <a:lnTo>
                  <a:pt x="1338" y="456"/>
                </a:lnTo>
                <a:lnTo>
                  <a:pt x="1350" y="462"/>
                </a:lnTo>
                <a:lnTo>
                  <a:pt x="1356" y="462"/>
                </a:lnTo>
                <a:lnTo>
                  <a:pt x="1374" y="456"/>
                </a:lnTo>
                <a:lnTo>
                  <a:pt x="1386" y="456"/>
                </a:lnTo>
                <a:lnTo>
                  <a:pt x="1392" y="456"/>
                </a:lnTo>
                <a:lnTo>
                  <a:pt x="1398" y="456"/>
                </a:lnTo>
                <a:lnTo>
                  <a:pt x="1422" y="456"/>
                </a:lnTo>
                <a:lnTo>
                  <a:pt x="1440" y="456"/>
                </a:lnTo>
                <a:lnTo>
                  <a:pt x="1446" y="456"/>
                </a:lnTo>
                <a:lnTo>
                  <a:pt x="1476" y="456"/>
                </a:lnTo>
                <a:lnTo>
                  <a:pt x="1470" y="468"/>
                </a:lnTo>
                <a:lnTo>
                  <a:pt x="1470" y="474"/>
                </a:lnTo>
                <a:lnTo>
                  <a:pt x="1470" y="486"/>
                </a:lnTo>
                <a:lnTo>
                  <a:pt x="1464" y="492"/>
                </a:lnTo>
                <a:lnTo>
                  <a:pt x="1464" y="498"/>
                </a:lnTo>
                <a:lnTo>
                  <a:pt x="1458" y="498"/>
                </a:lnTo>
                <a:lnTo>
                  <a:pt x="1458" y="510"/>
                </a:lnTo>
                <a:lnTo>
                  <a:pt x="1452" y="522"/>
                </a:lnTo>
                <a:lnTo>
                  <a:pt x="1458" y="528"/>
                </a:lnTo>
                <a:lnTo>
                  <a:pt x="1464" y="546"/>
                </a:lnTo>
                <a:lnTo>
                  <a:pt x="1470" y="552"/>
                </a:lnTo>
                <a:lnTo>
                  <a:pt x="1476" y="564"/>
                </a:lnTo>
                <a:lnTo>
                  <a:pt x="1488" y="588"/>
                </a:lnTo>
                <a:lnTo>
                  <a:pt x="1506" y="606"/>
                </a:lnTo>
                <a:lnTo>
                  <a:pt x="1506" y="612"/>
                </a:lnTo>
                <a:lnTo>
                  <a:pt x="1518" y="618"/>
                </a:lnTo>
                <a:lnTo>
                  <a:pt x="1512" y="630"/>
                </a:lnTo>
                <a:lnTo>
                  <a:pt x="1518" y="642"/>
                </a:lnTo>
                <a:lnTo>
                  <a:pt x="1518" y="648"/>
                </a:lnTo>
                <a:lnTo>
                  <a:pt x="1530" y="666"/>
                </a:lnTo>
                <a:lnTo>
                  <a:pt x="1518" y="672"/>
                </a:lnTo>
                <a:lnTo>
                  <a:pt x="1524" y="696"/>
                </a:lnTo>
                <a:lnTo>
                  <a:pt x="1518" y="732"/>
                </a:lnTo>
                <a:lnTo>
                  <a:pt x="1524" y="762"/>
                </a:lnTo>
                <a:lnTo>
                  <a:pt x="1524" y="780"/>
                </a:lnTo>
                <a:lnTo>
                  <a:pt x="1524" y="810"/>
                </a:lnTo>
                <a:lnTo>
                  <a:pt x="1530" y="834"/>
                </a:lnTo>
                <a:lnTo>
                  <a:pt x="1536" y="846"/>
                </a:lnTo>
                <a:lnTo>
                  <a:pt x="1542" y="846"/>
                </a:lnTo>
                <a:lnTo>
                  <a:pt x="1584" y="840"/>
                </a:lnTo>
                <a:lnTo>
                  <a:pt x="1590" y="846"/>
                </a:lnTo>
                <a:lnTo>
                  <a:pt x="1596" y="858"/>
                </a:lnTo>
                <a:lnTo>
                  <a:pt x="1602" y="864"/>
                </a:lnTo>
                <a:lnTo>
                  <a:pt x="1596" y="870"/>
                </a:lnTo>
                <a:lnTo>
                  <a:pt x="1590" y="864"/>
                </a:lnTo>
                <a:lnTo>
                  <a:pt x="1578" y="882"/>
                </a:lnTo>
                <a:lnTo>
                  <a:pt x="1572" y="906"/>
                </a:lnTo>
                <a:lnTo>
                  <a:pt x="1560" y="924"/>
                </a:lnTo>
                <a:lnTo>
                  <a:pt x="1560" y="936"/>
                </a:lnTo>
                <a:lnTo>
                  <a:pt x="1548" y="960"/>
                </a:lnTo>
                <a:lnTo>
                  <a:pt x="1542" y="978"/>
                </a:lnTo>
                <a:lnTo>
                  <a:pt x="1536" y="990"/>
                </a:lnTo>
                <a:lnTo>
                  <a:pt x="1530" y="990"/>
                </a:lnTo>
                <a:lnTo>
                  <a:pt x="1506" y="996"/>
                </a:lnTo>
                <a:lnTo>
                  <a:pt x="1494" y="1002"/>
                </a:lnTo>
                <a:lnTo>
                  <a:pt x="1482" y="1002"/>
                </a:lnTo>
                <a:lnTo>
                  <a:pt x="1464" y="1008"/>
                </a:lnTo>
                <a:lnTo>
                  <a:pt x="1446" y="1026"/>
                </a:lnTo>
                <a:lnTo>
                  <a:pt x="1440" y="1026"/>
                </a:lnTo>
                <a:lnTo>
                  <a:pt x="1434" y="1038"/>
                </a:lnTo>
                <a:lnTo>
                  <a:pt x="1428" y="1044"/>
                </a:lnTo>
                <a:lnTo>
                  <a:pt x="1428" y="1062"/>
                </a:lnTo>
                <a:lnTo>
                  <a:pt x="1428" y="1086"/>
                </a:lnTo>
                <a:lnTo>
                  <a:pt x="1416" y="1092"/>
                </a:lnTo>
                <a:lnTo>
                  <a:pt x="1410" y="1080"/>
                </a:lnTo>
                <a:lnTo>
                  <a:pt x="1392" y="1080"/>
                </a:lnTo>
                <a:close/>
              </a:path>
            </a:pathLst>
          </a:cu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69" name="Freeform 25">
            <a:extLst>
              <a:ext uri="{FF2B5EF4-FFF2-40B4-BE49-F238E27FC236}">
                <a16:creationId xmlns:a16="http://schemas.microsoft.com/office/drawing/2014/main" id="{3A086984-7B20-4E73-9E74-620046F808DF}"/>
              </a:ext>
            </a:extLst>
          </p:cNvPr>
          <p:cNvSpPr>
            <a:spLocks/>
          </p:cNvSpPr>
          <p:nvPr/>
        </p:nvSpPr>
        <p:spPr bwMode="gray">
          <a:xfrm>
            <a:off x="2872856" y="3770043"/>
            <a:ext cx="695558" cy="772484"/>
          </a:xfrm>
          <a:custGeom>
            <a:avLst/>
            <a:gdLst>
              <a:gd name="T0" fmla="*/ 74 w 1212"/>
              <a:gd name="T1" fmla="*/ 113 h 1326"/>
              <a:gd name="T2" fmla="*/ 60 w 1212"/>
              <a:gd name="T3" fmla="*/ 116 h 1326"/>
              <a:gd name="T4" fmla="*/ 62 w 1212"/>
              <a:gd name="T5" fmla="*/ 110 h 1326"/>
              <a:gd name="T6" fmla="*/ 60 w 1212"/>
              <a:gd name="T7" fmla="*/ 105 h 1326"/>
              <a:gd name="T8" fmla="*/ 52 w 1212"/>
              <a:gd name="T9" fmla="*/ 96 h 1326"/>
              <a:gd name="T10" fmla="*/ 47 w 1212"/>
              <a:gd name="T11" fmla="*/ 98 h 1326"/>
              <a:gd name="T12" fmla="*/ 44 w 1212"/>
              <a:gd name="T13" fmla="*/ 93 h 1326"/>
              <a:gd name="T14" fmla="*/ 40 w 1212"/>
              <a:gd name="T15" fmla="*/ 96 h 1326"/>
              <a:gd name="T16" fmla="*/ 35 w 1212"/>
              <a:gd name="T17" fmla="*/ 102 h 1326"/>
              <a:gd name="T18" fmla="*/ 27 w 1212"/>
              <a:gd name="T19" fmla="*/ 100 h 1326"/>
              <a:gd name="T20" fmla="*/ 23 w 1212"/>
              <a:gd name="T21" fmla="*/ 96 h 1326"/>
              <a:gd name="T22" fmla="*/ 20 w 1212"/>
              <a:gd name="T23" fmla="*/ 90 h 1326"/>
              <a:gd name="T24" fmla="*/ 18 w 1212"/>
              <a:gd name="T25" fmla="*/ 89 h 1326"/>
              <a:gd name="T26" fmla="*/ 18 w 1212"/>
              <a:gd name="T27" fmla="*/ 85 h 1326"/>
              <a:gd name="T28" fmla="*/ 19 w 1212"/>
              <a:gd name="T29" fmla="*/ 83 h 1326"/>
              <a:gd name="T30" fmla="*/ 19 w 1212"/>
              <a:gd name="T31" fmla="*/ 82 h 1326"/>
              <a:gd name="T32" fmla="*/ 20 w 1212"/>
              <a:gd name="T33" fmla="*/ 79 h 1326"/>
              <a:gd name="T34" fmla="*/ 19 w 1212"/>
              <a:gd name="T35" fmla="*/ 75 h 1326"/>
              <a:gd name="T36" fmla="*/ 17 w 1212"/>
              <a:gd name="T37" fmla="*/ 77 h 1326"/>
              <a:gd name="T38" fmla="*/ 14 w 1212"/>
              <a:gd name="T39" fmla="*/ 76 h 1326"/>
              <a:gd name="T40" fmla="*/ 12 w 1212"/>
              <a:gd name="T41" fmla="*/ 71 h 1326"/>
              <a:gd name="T42" fmla="*/ 8 w 1212"/>
              <a:gd name="T43" fmla="*/ 69 h 1326"/>
              <a:gd name="T44" fmla="*/ 0 w 1212"/>
              <a:gd name="T45" fmla="*/ 72 h 1326"/>
              <a:gd name="T46" fmla="*/ 2 w 1212"/>
              <a:gd name="T47" fmla="*/ 67 h 1326"/>
              <a:gd name="T48" fmla="*/ 3 w 1212"/>
              <a:gd name="T49" fmla="*/ 61 h 1326"/>
              <a:gd name="T50" fmla="*/ 4 w 1212"/>
              <a:gd name="T51" fmla="*/ 56 h 1326"/>
              <a:gd name="T52" fmla="*/ 4 w 1212"/>
              <a:gd name="T53" fmla="*/ 52 h 1326"/>
              <a:gd name="T54" fmla="*/ 2 w 1212"/>
              <a:gd name="T55" fmla="*/ 47 h 1326"/>
              <a:gd name="T56" fmla="*/ 2 w 1212"/>
              <a:gd name="T57" fmla="*/ 42 h 1326"/>
              <a:gd name="T58" fmla="*/ 5 w 1212"/>
              <a:gd name="T59" fmla="*/ 39 h 1326"/>
              <a:gd name="T60" fmla="*/ 5 w 1212"/>
              <a:gd name="T61" fmla="*/ 35 h 1326"/>
              <a:gd name="T62" fmla="*/ 7 w 1212"/>
              <a:gd name="T63" fmla="*/ 31 h 1326"/>
              <a:gd name="T64" fmla="*/ 14 w 1212"/>
              <a:gd name="T65" fmla="*/ 31 h 1326"/>
              <a:gd name="T66" fmla="*/ 18 w 1212"/>
              <a:gd name="T67" fmla="*/ 27 h 1326"/>
              <a:gd name="T68" fmla="*/ 22 w 1212"/>
              <a:gd name="T69" fmla="*/ 24 h 1326"/>
              <a:gd name="T70" fmla="*/ 27 w 1212"/>
              <a:gd name="T71" fmla="*/ 20 h 1326"/>
              <a:gd name="T72" fmla="*/ 35 w 1212"/>
              <a:gd name="T73" fmla="*/ 21 h 1326"/>
              <a:gd name="T74" fmla="*/ 61 w 1212"/>
              <a:gd name="T75" fmla="*/ 8 h 1326"/>
              <a:gd name="T76" fmla="*/ 73 w 1212"/>
              <a:gd name="T77" fmla="*/ 4 h 1326"/>
              <a:gd name="T78" fmla="*/ 86 w 1212"/>
              <a:gd name="T79" fmla="*/ 12 h 1326"/>
              <a:gd name="T80" fmla="*/ 92 w 1212"/>
              <a:gd name="T81" fmla="*/ 13 h 1326"/>
              <a:gd name="T82" fmla="*/ 86 w 1212"/>
              <a:gd name="T83" fmla="*/ 18 h 1326"/>
              <a:gd name="T84" fmla="*/ 88 w 1212"/>
              <a:gd name="T85" fmla="*/ 33 h 1326"/>
              <a:gd name="T86" fmla="*/ 97 w 1212"/>
              <a:gd name="T87" fmla="*/ 49 h 1326"/>
              <a:gd name="T88" fmla="*/ 102 w 1212"/>
              <a:gd name="T89" fmla="*/ 57 h 1326"/>
              <a:gd name="T90" fmla="*/ 104 w 1212"/>
              <a:gd name="T91" fmla="*/ 67 h 1326"/>
              <a:gd name="T92" fmla="*/ 101 w 1212"/>
              <a:gd name="T93" fmla="*/ 69 h 1326"/>
              <a:gd name="T94" fmla="*/ 97 w 1212"/>
              <a:gd name="T95" fmla="*/ 69 h 1326"/>
              <a:gd name="T96" fmla="*/ 96 w 1212"/>
              <a:gd name="T97" fmla="*/ 71 h 1326"/>
              <a:gd name="T98" fmla="*/ 93 w 1212"/>
              <a:gd name="T99" fmla="*/ 70 h 1326"/>
              <a:gd name="T100" fmla="*/ 86 w 1212"/>
              <a:gd name="T101" fmla="*/ 69 h 1326"/>
              <a:gd name="T102" fmla="*/ 82 w 1212"/>
              <a:gd name="T103" fmla="*/ 73 h 1326"/>
              <a:gd name="T104" fmla="*/ 79 w 1212"/>
              <a:gd name="T105" fmla="*/ 74 h 1326"/>
              <a:gd name="T106" fmla="*/ 78 w 1212"/>
              <a:gd name="T107" fmla="*/ 79 h 1326"/>
              <a:gd name="T108" fmla="*/ 78 w 1212"/>
              <a:gd name="T109" fmla="*/ 83 h 1326"/>
              <a:gd name="T110" fmla="*/ 82 w 1212"/>
              <a:gd name="T111" fmla="*/ 87 h 1326"/>
              <a:gd name="T112" fmla="*/ 83 w 1212"/>
              <a:gd name="T113" fmla="*/ 90 h 1326"/>
              <a:gd name="T114" fmla="*/ 82 w 1212"/>
              <a:gd name="T115" fmla="*/ 94 h 1326"/>
              <a:gd name="T116" fmla="*/ 82 w 1212"/>
              <a:gd name="T117" fmla="*/ 98 h 1326"/>
              <a:gd name="T118" fmla="*/ 82 w 1212"/>
              <a:gd name="T119" fmla="*/ 104 h 1326"/>
              <a:gd name="T120" fmla="*/ 78 w 1212"/>
              <a:gd name="T121" fmla="*/ 110 h 13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212"/>
              <a:gd name="T184" fmla="*/ 0 h 1326"/>
              <a:gd name="T185" fmla="*/ 1212 w 1212"/>
              <a:gd name="T186" fmla="*/ 1326 h 132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212" h="1326">
                <a:moveTo>
                  <a:pt x="906" y="1290"/>
                </a:moveTo>
                <a:lnTo>
                  <a:pt x="906" y="1296"/>
                </a:lnTo>
                <a:lnTo>
                  <a:pt x="900" y="1296"/>
                </a:lnTo>
                <a:lnTo>
                  <a:pt x="876" y="1290"/>
                </a:lnTo>
                <a:lnTo>
                  <a:pt x="870" y="1290"/>
                </a:lnTo>
                <a:lnTo>
                  <a:pt x="864" y="1296"/>
                </a:lnTo>
                <a:lnTo>
                  <a:pt x="852" y="1296"/>
                </a:lnTo>
                <a:lnTo>
                  <a:pt x="840" y="1302"/>
                </a:lnTo>
                <a:lnTo>
                  <a:pt x="834" y="1308"/>
                </a:lnTo>
                <a:lnTo>
                  <a:pt x="822" y="1320"/>
                </a:lnTo>
                <a:lnTo>
                  <a:pt x="816" y="1320"/>
                </a:lnTo>
                <a:lnTo>
                  <a:pt x="732" y="1320"/>
                </a:lnTo>
                <a:lnTo>
                  <a:pt x="696" y="1320"/>
                </a:lnTo>
                <a:lnTo>
                  <a:pt x="690" y="1326"/>
                </a:lnTo>
                <a:lnTo>
                  <a:pt x="678" y="1326"/>
                </a:lnTo>
                <a:lnTo>
                  <a:pt x="672" y="1308"/>
                </a:lnTo>
                <a:lnTo>
                  <a:pt x="696" y="1302"/>
                </a:lnTo>
                <a:lnTo>
                  <a:pt x="708" y="1296"/>
                </a:lnTo>
                <a:lnTo>
                  <a:pt x="720" y="1284"/>
                </a:lnTo>
                <a:lnTo>
                  <a:pt x="714" y="1278"/>
                </a:lnTo>
                <a:lnTo>
                  <a:pt x="714" y="1266"/>
                </a:lnTo>
                <a:lnTo>
                  <a:pt x="708" y="1260"/>
                </a:lnTo>
                <a:lnTo>
                  <a:pt x="708" y="1254"/>
                </a:lnTo>
                <a:lnTo>
                  <a:pt x="708" y="1248"/>
                </a:lnTo>
                <a:lnTo>
                  <a:pt x="702" y="1236"/>
                </a:lnTo>
                <a:lnTo>
                  <a:pt x="702" y="1230"/>
                </a:lnTo>
                <a:lnTo>
                  <a:pt x="702" y="1218"/>
                </a:lnTo>
                <a:lnTo>
                  <a:pt x="696" y="1200"/>
                </a:lnTo>
                <a:lnTo>
                  <a:pt x="696" y="1182"/>
                </a:lnTo>
                <a:lnTo>
                  <a:pt x="666" y="1182"/>
                </a:lnTo>
                <a:lnTo>
                  <a:pt x="672" y="1134"/>
                </a:lnTo>
                <a:lnTo>
                  <a:pt x="666" y="1128"/>
                </a:lnTo>
                <a:lnTo>
                  <a:pt x="660" y="1092"/>
                </a:lnTo>
                <a:lnTo>
                  <a:pt x="654" y="1098"/>
                </a:lnTo>
                <a:lnTo>
                  <a:pt x="594" y="1098"/>
                </a:lnTo>
                <a:lnTo>
                  <a:pt x="576" y="1098"/>
                </a:lnTo>
                <a:lnTo>
                  <a:pt x="570" y="1104"/>
                </a:lnTo>
                <a:lnTo>
                  <a:pt x="564" y="1110"/>
                </a:lnTo>
                <a:lnTo>
                  <a:pt x="558" y="1110"/>
                </a:lnTo>
                <a:lnTo>
                  <a:pt x="552" y="1110"/>
                </a:lnTo>
                <a:lnTo>
                  <a:pt x="546" y="1110"/>
                </a:lnTo>
                <a:lnTo>
                  <a:pt x="546" y="1116"/>
                </a:lnTo>
                <a:lnTo>
                  <a:pt x="546" y="1122"/>
                </a:lnTo>
                <a:lnTo>
                  <a:pt x="540" y="1128"/>
                </a:lnTo>
                <a:lnTo>
                  <a:pt x="510" y="1128"/>
                </a:lnTo>
                <a:lnTo>
                  <a:pt x="522" y="1104"/>
                </a:lnTo>
                <a:lnTo>
                  <a:pt x="510" y="1098"/>
                </a:lnTo>
                <a:lnTo>
                  <a:pt x="510" y="1074"/>
                </a:lnTo>
                <a:lnTo>
                  <a:pt x="504" y="1068"/>
                </a:lnTo>
                <a:lnTo>
                  <a:pt x="498" y="1068"/>
                </a:lnTo>
                <a:lnTo>
                  <a:pt x="492" y="1068"/>
                </a:lnTo>
                <a:lnTo>
                  <a:pt x="474" y="1080"/>
                </a:lnTo>
                <a:lnTo>
                  <a:pt x="474" y="1086"/>
                </a:lnTo>
                <a:lnTo>
                  <a:pt x="474" y="1092"/>
                </a:lnTo>
                <a:lnTo>
                  <a:pt x="468" y="1098"/>
                </a:lnTo>
                <a:lnTo>
                  <a:pt x="462" y="1104"/>
                </a:lnTo>
                <a:lnTo>
                  <a:pt x="456" y="1110"/>
                </a:lnTo>
                <a:lnTo>
                  <a:pt x="456" y="1122"/>
                </a:lnTo>
                <a:lnTo>
                  <a:pt x="456" y="1128"/>
                </a:lnTo>
                <a:lnTo>
                  <a:pt x="450" y="1140"/>
                </a:lnTo>
                <a:lnTo>
                  <a:pt x="444" y="1146"/>
                </a:lnTo>
                <a:lnTo>
                  <a:pt x="426" y="1170"/>
                </a:lnTo>
                <a:lnTo>
                  <a:pt x="408" y="1176"/>
                </a:lnTo>
                <a:lnTo>
                  <a:pt x="402" y="1170"/>
                </a:lnTo>
                <a:lnTo>
                  <a:pt x="396" y="1170"/>
                </a:lnTo>
                <a:lnTo>
                  <a:pt x="396" y="1158"/>
                </a:lnTo>
                <a:lnTo>
                  <a:pt x="384" y="1152"/>
                </a:lnTo>
                <a:lnTo>
                  <a:pt x="372" y="1140"/>
                </a:lnTo>
                <a:lnTo>
                  <a:pt x="354" y="1140"/>
                </a:lnTo>
                <a:lnTo>
                  <a:pt x="306" y="1146"/>
                </a:lnTo>
                <a:lnTo>
                  <a:pt x="294" y="1134"/>
                </a:lnTo>
                <a:lnTo>
                  <a:pt x="294" y="1128"/>
                </a:lnTo>
                <a:lnTo>
                  <a:pt x="288" y="1122"/>
                </a:lnTo>
                <a:lnTo>
                  <a:pt x="276" y="1122"/>
                </a:lnTo>
                <a:lnTo>
                  <a:pt x="276" y="1110"/>
                </a:lnTo>
                <a:lnTo>
                  <a:pt x="276" y="1104"/>
                </a:lnTo>
                <a:lnTo>
                  <a:pt x="270" y="1098"/>
                </a:lnTo>
                <a:lnTo>
                  <a:pt x="264" y="1086"/>
                </a:lnTo>
                <a:lnTo>
                  <a:pt x="264" y="1074"/>
                </a:lnTo>
                <a:lnTo>
                  <a:pt x="258" y="1068"/>
                </a:lnTo>
                <a:lnTo>
                  <a:pt x="252" y="1056"/>
                </a:lnTo>
                <a:lnTo>
                  <a:pt x="246" y="1056"/>
                </a:lnTo>
                <a:lnTo>
                  <a:pt x="246" y="1050"/>
                </a:lnTo>
                <a:lnTo>
                  <a:pt x="234" y="1038"/>
                </a:lnTo>
                <a:lnTo>
                  <a:pt x="228" y="1038"/>
                </a:lnTo>
                <a:lnTo>
                  <a:pt x="222" y="1038"/>
                </a:lnTo>
                <a:lnTo>
                  <a:pt x="216" y="1038"/>
                </a:lnTo>
                <a:lnTo>
                  <a:pt x="216" y="1032"/>
                </a:lnTo>
                <a:lnTo>
                  <a:pt x="216" y="1026"/>
                </a:lnTo>
                <a:lnTo>
                  <a:pt x="210" y="1020"/>
                </a:lnTo>
                <a:lnTo>
                  <a:pt x="204" y="1014"/>
                </a:lnTo>
                <a:lnTo>
                  <a:pt x="204" y="1008"/>
                </a:lnTo>
                <a:lnTo>
                  <a:pt x="198" y="1002"/>
                </a:lnTo>
                <a:lnTo>
                  <a:pt x="198" y="996"/>
                </a:lnTo>
                <a:lnTo>
                  <a:pt x="198" y="990"/>
                </a:lnTo>
                <a:lnTo>
                  <a:pt x="204" y="990"/>
                </a:lnTo>
                <a:lnTo>
                  <a:pt x="204" y="984"/>
                </a:lnTo>
                <a:lnTo>
                  <a:pt x="210" y="978"/>
                </a:lnTo>
                <a:lnTo>
                  <a:pt x="210" y="972"/>
                </a:lnTo>
                <a:lnTo>
                  <a:pt x="210" y="966"/>
                </a:lnTo>
                <a:lnTo>
                  <a:pt x="216" y="960"/>
                </a:lnTo>
                <a:lnTo>
                  <a:pt x="216" y="954"/>
                </a:lnTo>
                <a:lnTo>
                  <a:pt x="210" y="954"/>
                </a:lnTo>
                <a:lnTo>
                  <a:pt x="204" y="954"/>
                </a:lnTo>
                <a:lnTo>
                  <a:pt x="216" y="954"/>
                </a:lnTo>
                <a:lnTo>
                  <a:pt x="216" y="948"/>
                </a:lnTo>
                <a:lnTo>
                  <a:pt x="210" y="948"/>
                </a:lnTo>
                <a:lnTo>
                  <a:pt x="210" y="942"/>
                </a:lnTo>
                <a:lnTo>
                  <a:pt x="216" y="942"/>
                </a:lnTo>
                <a:lnTo>
                  <a:pt x="222" y="942"/>
                </a:lnTo>
                <a:lnTo>
                  <a:pt x="222" y="936"/>
                </a:lnTo>
                <a:lnTo>
                  <a:pt x="216" y="936"/>
                </a:lnTo>
                <a:lnTo>
                  <a:pt x="210" y="936"/>
                </a:lnTo>
                <a:lnTo>
                  <a:pt x="210" y="930"/>
                </a:lnTo>
                <a:lnTo>
                  <a:pt x="216" y="930"/>
                </a:lnTo>
                <a:lnTo>
                  <a:pt x="222" y="930"/>
                </a:lnTo>
                <a:lnTo>
                  <a:pt x="222" y="918"/>
                </a:lnTo>
                <a:lnTo>
                  <a:pt x="228" y="912"/>
                </a:lnTo>
                <a:lnTo>
                  <a:pt x="228" y="906"/>
                </a:lnTo>
                <a:lnTo>
                  <a:pt x="222" y="906"/>
                </a:lnTo>
                <a:lnTo>
                  <a:pt x="222" y="900"/>
                </a:lnTo>
                <a:lnTo>
                  <a:pt x="222" y="894"/>
                </a:lnTo>
                <a:lnTo>
                  <a:pt x="222" y="888"/>
                </a:lnTo>
                <a:lnTo>
                  <a:pt x="222" y="882"/>
                </a:lnTo>
                <a:lnTo>
                  <a:pt x="222" y="876"/>
                </a:lnTo>
                <a:lnTo>
                  <a:pt x="222" y="858"/>
                </a:lnTo>
                <a:lnTo>
                  <a:pt x="216" y="858"/>
                </a:lnTo>
                <a:lnTo>
                  <a:pt x="216" y="852"/>
                </a:lnTo>
                <a:lnTo>
                  <a:pt x="210" y="852"/>
                </a:lnTo>
                <a:lnTo>
                  <a:pt x="210" y="840"/>
                </a:lnTo>
                <a:lnTo>
                  <a:pt x="198" y="840"/>
                </a:lnTo>
                <a:lnTo>
                  <a:pt x="198" y="876"/>
                </a:lnTo>
                <a:lnTo>
                  <a:pt x="192" y="882"/>
                </a:lnTo>
                <a:lnTo>
                  <a:pt x="192" y="888"/>
                </a:lnTo>
                <a:lnTo>
                  <a:pt x="180" y="894"/>
                </a:lnTo>
                <a:lnTo>
                  <a:pt x="180" y="906"/>
                </a:lnTo>
                <a:lnTo>
                  <a:pt x="156" y="912"/>
                </a:lnTo>
                <a:lnTo>
                  <a:pt x="156" y="894"/>
                </a:lnTo>
                <a:lnTo>
                  <a:pt x="156" y="882"/>
                </a:lnTo>
                <a:lnTo>
                  <a:pt x="156" y="876"/>
                </a:lnTo>
                <a:lnTo>
                  <a:pt x="150" y="876"/>
                </a:lnTo>
                <a:lnTo>
                  <a:pt x="144" y="876"/>
                </a:lnTo>
                <a:lnTo>
                  <a:pt x="138" y="870"/>
                </a:lnTo>
                <a:lnTo>
                  <a:pt x="132" y="864"/>
                </a:lnTo>
                <a:lnTo>
                  <a:pt x="138" y="840"/>
                </a:lnTo>
                <a:lnTo>
                  <a:pt x="132" y="840"/>
                </a:lnTo>
                <a:lnTo>
                  <a:pt x="138" y="810"/>
                </a:lnTo>
                <a:lnTo>
                  <a:pt x="144" y="804"/>
                </a:lnTo>
                <a:lnTo>
                  <a:pt x="144" y="798"/>
                </a:lnTo>
                <a:lnTo>
                  <a:pt x="156" y="798"/>
                </a:lnTo>
                <a:lnTo>
                  <a:pt x="156" y="792"/>
                </a:lnTo>
                <a:lnTo>
                  <a:pt x="120" y="792"/>
                </a:lnTo>
                <a:lnTo>
                  <a:pt x="108" y="786"/>
                </a:lnTo>
                <a:lnTo>
                  <a:pt x="96" y="786"/>
                </a:lnTo>
                <a:lnTo>
                  <a:pt x="96" y="780"/>
                </a:lnTo>
                <a:lnTo>
                  <a:pt x="78" y="780"/>
                </a:lnTo>
                <a:lnTo>
                  <a:pt x="72" y="804"/>
                </a:lnTo>
                <a:lnTo>
                  <a:pt x="60" y="816"/>
                </a:lnTo>
                <a:lnTo>
                  <a:pt x="36" y="828"/>
                </a:lnTo>
                <a:lnTo>
                  <a:pt x="18" y="840"/>
                </a:lnTo>
                <a:lnTo>
                  <a:pt x="0" y="822"/>
                </a:lnTo>
                <a:lnTo>
                  <a:pt x="6" y="816"/>
                </a:lnTo>
                <a:lnTo>
                  <a:pt x="12" y="804"/>
                </a:lnTo>
                <a:lnTo>
                  <a:pt x="18" y="798"/>
                </a:lnTo>
                <a:lnTo>
                  <a:pt x="18" y="792"/>
                </a:lnTo>
                <a:lnTo>
                  <a:pt x="18" y="786"/>
                </a:lnTo>
                <a:lnTo>
                  <a:pt x="24" y="780"/>
                </a:lnTo>
                <a:lnTo>
                  <a:pt x="24" y="768"/>
                </a:lnTo>
                <a:lnTo>
                  <a:pt x="24" y="762"/>
                </a:lnTo>
                <a:lnTo>
                  <a:pt x="24" y="750"/>
                </a:lnTo>
                <a:lnTo>
                  <a:pt x="36" y="714"/>
                </a:lnTo>
                <a:lnTo>
                  <a:pt x="36" y="708"/>
                </a:lnTo>
                <a:lnTo>
                  <a:pt x="42" y="708"/>
                </a:lnTo>
                <a:lnTo>
                  <a:pt x="42" y="702"/>
                </a:lnTo>
                <a:lnTo>
                  <a:pt x="36" y="696"/>
                </a:lnTo>
                <a:lnTo>
                  <a:pt x="36" y="690"/>
                </a:lnTo>
                <a:lnTo>
                  <a:pt x="42" y="684"/>
                </a:lnTo>
                <a:lnTo>
                  <a:pt x="42" y="672"/>
                </a:lnTo>
                <a:lnTo>
                  <a:pt x="42" y="666"/>
                </a:lnTo>
                <a:lnTo>
                  <a:pt x="42" y="660"/>
                </a:lnTo>
                <a:lnTo>
                  <a:pt x="42" y="654"/>
                </a:lnTo>
                <a:lnTo>
                  <a:pt x="48" y="648"/>
                </a:lnTo>
                <a:lnTo>
                  <a:pt x="54" y="642"/>
                </a:lnTo>
                <a:lnTo>
                  <a:pt x="54" y="630"/>
                </a:lnTo>
                <a:lnTo>
                  <a:pt x="54" y="624"/>
                </a:lnTo>
                <a:lnTo>
                  <a:pt x="54" y="618"/>
                </a:lnTo>
                <a:lnTo>
                  <a:pt x="54" y="612"/>
                </a:lnTo>
                <a:lnTo>
                  <a:pt x="48" y="606"/>
                </a:lnTo>
                <a:lnTo>
                  <a:pt x="48" y="600"/>
                </a:lnTo>
                <a:lnTo>
                  <a:pt x="42" y="600"/>
                </a:lnTo>
                <a:lnTo>
                  <a:pt x="36" y="594"/>
                </a:lnTo>
                <a:lnTo>
                  <a:pt x="36" y="588"/>
                </a:lnTo>
                <a:lnTo>
                  <a:pt x="30" y="582"/>
                </a:lnTo>
                <a:lnTo>
                  <a:pt x="30" y="570"/>
                </a:lnTo>
                <a:lnTo>
                  <a:pt x="18" y="552"/>
                </a:lnTo>
                <a:lnTo>
                  <a:pt x="18" y="546"/>
                </a:lnTo>
                <a:lnTo>
                  <a:pt x="18" y="540"/>
                </a:lnTo>
                <a:lnTo>
                  <a:pt x="18" y="528"/>
                </a:lnTo>
                <a:lnTo>
                  <a:pt x="18" y="522"/>
                </a:lnTo>
                <a:lnTo>
                  <a:pt x="24" y="516"/>
                </a:lnTo>
                <a:lnTo>
                  <a:pt x="30" y="504"/>
                </a:lnTo>
                <a:lnTo>
                  <a:pt x="30" y="492"/>
                </a:lnTo>
                <a:lnTo>
                  <a:pt x="24" y="480"/>
                </a:lnTo>
                <a:lnTo>
                  <a:pt x="30" y="474"/>
                </a:lnTo>
                <a:lnTo>
                  <a:pt x="36" y="474"/>
                </a:lnTo>
                <a:lnTo>
                  <a:pt x="42" y="468"/>
                </a:lnTo>
                <a:lnTo>
                  <a:pt x="48" y="468"/>
                </a:lnTo>
                <a:lnTo>
                  <a:pt x="48" y="462"/>
                </a:lnTo>
                <a:lnTo>
                  <a:pt x="48" y="456"/>
                </a:lnTo>
                <a:lnTo>
                  <a:pt x="54" y="450"/>
                </a:lnTo>
                <a:lnTo>
                  <a:pt x="60" y="438"/>
                </a:lnTo>
                <a:lnTo>
                  <a:pt x="54" y="438"/>
                </a:lnTo>
                <a:lnTo>
                  <a:pt x="54" y="432"/>
                </a:lnTo>
                <a:lnTo>
                  <a:pt x="60" y="426"/>
                </a:lnTo>
                <a:lnTo>
                  <a:pt x="60" y="420"/>
                </a:lnTo>
                <a:lnTo>
                  <a:pt x="60" y="414"/>
                </a:lnTo>
                <a:lnTo>
                  <a:pt x="54" y="408"/>
                </a:lnTo>
                <a:lnTo>
                  <a:pt x="54" y="402"/>
                </a:lnTo>
                <a:lnTo>
                  <a:pt x="60" y="390"/>
                </a:lnTo>
                <a:lnTo>
                  <a:pt x="66" y="390"/>
                </a:lnTo>
                <a:lnTo>
                  <a:pt x="66" y="384"/>
                </a:lnTo>
                <a:lnTo>
                  <a:pt x="72" y="372"/>
                </a:lnTo>
                <a:lnTo>
                  <a:pt x="78" y="366"/>
                </a:lnTo>
                <a:lnTo>
                  <a:pt x="84" y="360"/>
                </a:lnTo>
                <a:lnTo>
                  <a:pt x="102" y="360"/>
                </a:lnTo>
                <a:lnTo>
                  <a:pt x="114" y="360"/>
                </a:lnTo>
                <a:lnTo>
                  <a:pt x="120" y="360"/>
                </a:lnTo>
                <a:lnTo>
                  <a:pt x="132" y="360"/>
                </a:lnTo>
                <a:lnTo>
                  <a:pt x="138" y="360"/>
                </a:lnTo>
                <a:lnTo>
                  <a:pt x="156" y="360"/>
                </a:lnTo>
                <a:lnTo>
                  <a:pt x="162" y="354"/>
                </a:lnTo>
                <a:lnTo>
                  <a:pt x="168" y="354"/>
                </a:lnTo>
                <a:lnTo>
                  <a:pt x="174" y="342"/>
                </a:lnTo>
                <a:lnTo>
                  <a:pt x="180" y="342"/>
                </a:lnTo>
                <a:lnTo>
                  <a:pt x="186" y="336"/>
                </a:lnTo>
                <a:lnTo>
                  <a:pt x="192" y="330"/>
                </a:lnTo>
                <a:lnTo>
                  <a:pt x="204" y="312"/>
                </a:lnTo>
                <a:lnTo>
                  <a:pt x="210" y="312"/>
                </a:lnTo>
                <a:lnTo>
                  <a:pt x="216" y="306"/>
                </a:lnTo>
                <a:lnTo>
                  <a:pt x="216" y="300"/>
                </a:lnTo>
                <a:lnTo>
                  <a:pt x="222" y="288"/>
                </a:lnTo>
                <a:lnTo>
                  <a:pt x="234" y="288"/>
                </a:lnTo>
                <a:lnTo>
                  <a:pt x="240" y="282"/>
                </a:lnTo>
                <a:lnTo>
                  <a:pt x="246" y="282"/>
                </a:lnTo>
                <a:lnTo>
                  <a:pt x="252" y="282"/>
                </a:lnTo>
                <a:lnTo>
                  <a:pt x="264" y="276"/>
                </a:lnTo>
                <a:lnTo>
                  <a:pt x="270" y="270"/>
                </a:lnTo>
                <a:lnTo>
                  <a:pt x="276" y="264"/>
                </a:lnTo>
                <a:lnTo>
                  <a:pt x="282" y="264"/>
                </a:lnTo>
                <a:lnTo>
                  <a:pt x="306" y="240"/>
                </a:lnTo>
                <a:lnTo>
                  <a:pt x="312" y="240"/>
                </a:lnTo>
                <a:lnTo>
                  <a:pt x="318" y="234"/>
                </a:lnTo>
                <a:lnTo>
                  <a:pt x="330" y="234"/>
                </a:lnTo>
                <a:lnTo>
                  <a:pt x="336" y="234"/>
                </a:lnTo>
                <a:lnTo>
                  <a:pt x="336" y="246"/>
                </a:lnTo>
                <a:lnTo>
                  <a:pt x="342" y="246"/>
                </a:lnTo>
                <a:lnTo>
                  <a:pt x="348" y="252"/>
                </a:lnTo>
                <a:lnTo>
                  <a:pt x="372" y="252"/>
                </a:lnTo>
                <a:lnTo>
                  <a:pt x="396" y="246"/>
                </a:lnTo>
                <a:lnTo>
                  <a:pt x="402" y="246"/>
                </a:lnTo>
                <a:lnTo>
                  <a:pt x="414" y="240"/>
                </a:lnTo>
                <a:lnTo>
                  <a:pt x="444" y="216"/>
                </a:lnTo>
                <a:lnTo>
                  <a:pt x="480" y="204"/>
                </a:lnTo>
                <a:lnTo>
                  <a:pt x="600" y="150"/>
                </a:lnTo>
                <a:lnTo>
                  <a:pt x="648" y="126"/>
                </a:lnTo>
                <a:lnTo>
                  <a:pt x="702" y="96"/>
                </a:lnTo>
                <a:lnTo>
                  <a:pt x="708" y="54"/>
                </a:lnTo>
                <a:lnTo>
                  <a:pt x="720" y="24"/>
                </a:lnTo>
                <a:lnTo>
                  <a:pt x="738" y="12"/>
                </a:lnTo>
                <a:lnTo>
                  <a:pt x="768" y="0"/>
                </a:lnTo>
                <a:lnTo>
                  <a:pt x="792" y="6"/>
                </a:lnTo>
                <a:lnTo>
                  <a:pt x="804" y="12"/>
                </a:lnTo>
                <a:lnTo>
                  <a:pt x="834" y="48"/>
                </a:lnTo>
                <a:lnTo>
                  <a:pt x="834" y="60"/>
                </a:lnTo>
                <a:lnTo>
                  <a:pt x="852" y="84"/>
                </a:lnTo>
                <a:lnTo>
                  <a:pt x="864" y="96"/>
                </a:lnTo>
                <a:lnTo>
                  <a:pt x="888" y="102"/>
                </a:lnTo>
                <a:lnTo>
                  <a:pt x="978" y="120"/>
                </a:lnTo>
                <a:lnTo>
                  <a:pt x="984" y="126"/>
                </a:lnTo>
                <a:lnTo>
                  <a:pt x="984" y="132"/>
                </a:lnTo>
                <a:lnTo>
                  <a:pt x="996" y="138"/>
                </a:lnTo>
                <a:lnTo>
                  <a:pt x="1038" y="126"/>
                </a:lnTo>
                <a:lnTo>
                  <a:pt x="1056" y="114"/>
                </a:lnTo>
                <a:lnTo>
                  <a:pt x="1068" y="126"/>
                </a:lnTo>
                <a:lnTo>
                  <a:pt x="1074" y="132"/>
                </a:lnTo>
                <a:lnTo>
                  <a:pt x="1068" y="138"/>
                </a:lnTo>
                <a:lnTo>
                  <a:pt x="1056" y="150"/>
                </a:lnTo>
                <a:lnTo>
                  <a:pt x="1038" y="162"/>
                </a:lnTo>
                <a:lnTo>
                  <a:pt x="1038" y="168"/>
                </a:lnTo>
                <a:lnTo>
                  <a:pt x="1020" y="174"/>
                </a:lnTo>
                <a:lnTo>
                  <a:pt x="1014" y="180"/>
                </a:lnTo>
                <a:lnTo>
                  <a:pt x="1008" y="186"/>
                </a:lnTo>
                <a:lnTo>
                  <a:pt x="1002" y="198"/>
                </a:lnTo>
                <a:lnTo>
                  <a:pt x="984" y="204"/>
                </a:lnTo>
                <a:lnTo>
                  <a:pt x="984" y="246"/>
                </a:lnTo>
                <a:lnTo>
                  <a:pt x="978" y="270"/>
                </a:lnTo>
                <a:lnTo>
                  <a:pt x="990" y="306"/>
                </a:lnTo>
                <a:lnTo>
                  <a:pt x="990" y="324"/>
                </a:lnTo>
                <a:lnTo>
                  <a:pt x="1002" y="336"/>
                </a:lnTo>
                <a:lnTo>
                  <a:pt x="1020" y="372"/>
                </a:lnTo>
                <a:lnTo>
                  <a:pt x="1014" y="378"/>
                </a:lnTo>
                <a:lnTo>
                  <a:pt x="1014" y="384"/>
                </a:lnTo>
                <a:lnTo>
                  <a:pt x="1020" y="384"/>
                </a:lnTo>
                <a:lnTo>
                  <a:pt x="1020" y="396"/>
                </a:lnTo>
                <a:lnTo>
                  <a:pt x="1062" y="468"/>
                </a:lnTo>
                <a:lnTo>
                  <a:pt x="1092" y="522"/>
                </a:lnTo>
                <a:lnTo>
                  <a:pt x="1110" y="546"/>
                </a:lnTo>
                <a:lnTo>
                  <a:pt x="1122" y="564"/>
                </a:lnTo>
                <a:lnTo>
                  <a:pt x="1134" y="576"/>
                </a:lnTo>
                <a:lnTo>
                  <a:pt x="1146" y="582"/>
                </a:lnTo>
                <a:lnTo>
                  <a:pt x="1146" y="588"/>
                </a:lnTo>
                <a:lnTo>
                  <a:pt x="1164" y="600"/>
                </a:lnTo>
                <a:lnTo>
                  <a:pt x="1170" y="612"/>
                </a:lnTo>
                <a:lnTo>
                  <a:pt x="1170" y="624"/>
                </a:lnTo>
                <a:lnTo>
                  <a:pt x="1176" y="654"/>
                </a:lnTo>
                <a:lnTo>
                  <a:pt x="1176" y="666"/>
                </a:lnTo>
                <a:lnTo>
                  <a:pt x="1182" y="684"/>
                </a:lnTo>
                <a:lnTo>
                  <a:pt x="1194" y="696"/>
                </a:lnTo>
                <a:lnTo>
                  <a:pt x="1212" y="696"/>
                </a:lnTo>
                <a:lnTo>
                  <a:pt x="1206" y="762"/>
                </a:lnTo>
                <a:lnTo>
                  <a:pt x="1200" y="768"/>
                </a:lnTo>
                <a:lnTo>
                  <a:pt x="1194" y="768"/>
                </a:lnTo>
                <a:lnTo>
                  <a:pt x="1194" y="774"/>
                </a:lnTo>
                <a:lnTo>
                  <a:pt x="1188" y="774"/>
                </a:lnTo>
                <a:lnTo>
                  <a:pt x="1182" y="780"/>
                </a:lnTo>
                <a:lnTo>
                  <a:pt x="1176" y="780"/>
                </a:lnTo>
                <a:lnTo>
                  <a:pt x="1170" y="780"/>
                </a:lnTo>
                <a:lnTo>
                  <a:pt x="1164" y="786"/>
                </a:lnTo>
                <a:lnTo>
                  <a:pt x="1158" y="786"/>
                </a:lnTo>
                <a:lnTo>
                  <a:pt x="1152" y="786"/>
                </a:lnTo>
                <a:lnTo>
                  <a:pt x="1140" y="786"/>
                </a:lnTo>
                <a:lnTo>
                  <a:pt x="1134" y="786"/>
                </a:lnTo>
                <a:lnTo>
                  <a:pt x="1134" y="780"/>
                </a:lnTo>
                <a:lnTo>
                  <a:pt x="1122" y="780"/>
                </a:lnTo>
                <a:lnTo>
                  <a:pt x="1116" y="786"/>
                </a:lnTo>
                <a:lnTo>
                  <a:pt x="1116" y="792"/>
                </a:lnTo>
                <a:lnTo>
                  <a:pt x="1122" y="804"/>
                </a:lnTo>
                <a:lnTo>
                  <a:pt x="1128" y="804"/>
                </a:lnTo>
                <a:lnTo>
                  <a:pt x="1128" y="816"/>
                </a:lnTo>
                <a:lnTo>
                  <a:pt x="1122" y="822"/>
                </a:lnTo>
                <a:lnTo>
                  <a:pt x="1116" y="816"/>
                </a:lnTo>
                <a:lnTo>
                  <a:pt x="1110" y="816"/>
                </a:lnTo>
                <a:lnTo>
                  <a:pt x="1104" y="816"/>
                </a:lnTo>
                <a:lnTo>
                  <a:pt x="1098" y="816"/>
                </a:lnTo>
                <a:lnTo>
                  <a:pt x="1098" y="822"/>
                </a:lnTo>
                <a:lnTo>
                  <a:pt x="1092" y="834"/>
                </a:lnTo>
                <a:lnTo>
                  <a:pt x="1092" y="840"/>
                </a:lnTo>
                <a:lnTo>
                  <a:pt x="1074" y="840"/>
                </a:lnTo>
                <a:lnTo>
                  <a:pt x="1074" y="828"/>
                </a:lnTo>
                <a:lnTo>
                  <a:pt x="1062" y="804"/>
                </a:lnTo>
                <a:lnTo>
                  <a:pt x="1056" y="792"/>
                </a:lnTo>
                <a:lnTo>
                  <a:pt x="1056" y="786"/>
                </a:lnTo>
                <a:lnTo>
                  <a:pt x="1026" y="780"/>
                </a:lnTo>
                <a:lnTo>
                  <a:pt x="1026" y="768"/>
                </a:lnTo>
                <a:lnTo>
                  <a:pt x="1008" y="768"/>
                </a:lnTo>
                <a:lnTo>
                  <a:pt x="1002" y="780"/>
                </a:lnTo>
                <a:lnTo>
                  <a:pt x="996" y="792"/>
                </a:lnTo>
                <a:lnTo>
                  <a:pt x="978" y="798"/>
                </a:lnTo>
                <a:lnTo>
                  <a:pt x="972" y="810"/>
                </a:lnTo>
                <a:lnTo>
                  <a:pt x="972" y="822"/>
                </a:lnTo>
                <a:lnTo>
                  <a:pt x="978" y="828"/>
                </a:lnTo>
                <a:lnTo>
                  <a:pt x="978" y="834"/>
                </a:lnTo>
                <a:lnTo>
                  <a:pt x="960" y="840"/>
                </a:lnTo>
                <a:lnTo>
                  <a:pt x="936" y="840"/>
                </a:lnTo>
                <a:lnTo>
                  <a:pt x="918" y="846"/>
                </a:lnTo>
                <a:lnTo>
                  <a:pt x="912" y="840"/>
                </a:lnTo>
                <a:lnTo>
                  <a:pt x="912" y="834"/>
                </a:lnTo>
                <a:lnTo>
                  <a:pt x="906" y="834"/>
                </a:lnTo>
                <a:lnTo>
                  <a:pt x="906" y="840"/>
                </a:lnTo>
                <a:lnTo>
                  <a:pt x="900" y="846"/>
                </a:lnTo>
                <a:lnTo>
                  <a:pt x="906" y="852"/>
                </a:lnTo>
                <a:lnTo>
                  <a:pt x="900" y="864"/>
                </a:lnTo>
                <a:lnTo>
                  <a:pt x="900" y="876"/>
                </a:lnTo>
                <a:lnTo>
                  <a:pt x="900" y="882"/>
                </a:lnTo>
                <a:lnTo>
                  <a:pt x="894" y="888"/>
                </a:lnTo>
                <a:lnTo>
                  <a:pt x="900" y="900"/>
                </a:lnTo>
                <a:lnTo>
                  <a:pt x="900" y="906"/>
                </a:lnTo>
                <a:lnTo>
                  <a:pt x="894" y="906"/>
                </a:lnTo>
                <a:lnTo>
                  <a:pt x="894" y="912"/>
                </a:lnTo>
                <a:lnTo>
                  <a:pt x="900" y="918"/>
                </a:lnTo>
                <a:lnTo>
                  <a:pt x="900" y="924"/>
                </a:lnTo>
                <a:lnTo>
                  <a:pt x="900" y="948"/>
                </a:lnTo>
                <a:lnTo>
                  <a:pt x="888" y="948"/>
                </a:lnTo>
                <a:lnTo>
                  <a:pt x="888" y="954"/>
                </a:lnTo>
                <a:lnTo>
                  <a:pt x="894" y="954"/>
                </a:lnTo>
                <a:lnTo>
                  <a:pt x="900" y="960"/>
                </a:lnTo>
                <a:lnTo>
                  <a:pt x="900" y="972"/>
                </a:lnTo>
                <a:lnTo>
                  <a:pt x="906" y="984"/>
                </a:lnTo>
                <a:lnTo>
                  <a:pt x="912" y="984"/>
                </a:lnTo>
                <a:lnTo>
                  <a:pt x="918" y="990"/>
                </a:lnTo>
                <a:lnTo>
                  <a:pt x="936" y="990"/>
                </a:lnTo>
                <a:lnTo>
                  <a:pt x="936" y="996"/>
                </a:lnTo>
                <a:lnTo>
                  <a:pt x="942" y="996"/>
                </a:lnTo>
                <a:lnTo>
                  <a:pt x="942" y="1002"/>
                </a:lnTo>
                <a:lnTo>
                  <a:pt x="942" y="1008"/>
                </a:lnTo>
                <a:lnTo>
                  <a:pt x="948" y="1008"/>
                </a:lnTo>
                <a:lnTo>
                  <a:pt x="948" y="1014"/>
                </a:lnTo>
                <a:lnTo>
                  <a:pt x="948" y="1020"/>
                </a:lnTo>
                <a:lnTo>
                  <a:pt x="954" y="1032"/>
                </a:lnTo>
                <a:lnTo>
                  <a:pt x="948" y="1038"/>
                </a:lnTo>
                <a:lnTo>
                  <a:pt x="954" y="1044"/>
                </a:lnTo>
                <a:lnTo>
                  <a:pt x="954" y="1056"/>
                </a:lnTo>
                <a:lnTo>
                  <a:pt x="960" y="1056"/>
                </a:lnTo>
                <a:lnTo>
                  <a:pt x="960" y="1062"/>
                </a:lnTo>
                <a:lnTo>
                  <a:pt x="954" y="1068"/>
                </a:lnTo>
                <a:lnTo>
                  <a:pt x="948" y="1074"/>
                </a:lnTo>
                <a:lnTo>
                  <a:pt x="948" y="1080"/>
                </a:lnTo>
                <a:lnTo>
                  <a:pt x="948" y="1086"/>
                </a:lnTo>
                <a:lnTo>
                  <a:pt x="942" y="1092"/>
                </a:lnTo>
                <a:lnTo>
                  <a:pt x="942" y="1098"/>
                </a:lnTo>
                <a:lnTo>
                  <a:pt x="942" y="1104"/>
                </a:lnTo>
                <a:lnTo>
                  <a:pt x="942" y="1110"/>
                </a:lnTo>
                <a:lnTo>
                  <a:pt x="936" y="1116"/>
                </a:lnTo>
                <a:lnTo>
                  <a:pt x="936" y="1122"/>
                </a:lnTo>
                <a:lnTo>
                  <a:pt x="936" y="1128"/>
                </a:lnTo>
                <a:lnTo>
                  <a:pt x="936" y="1134"/>
                </a:lnTo>
                <a:lnTo>
                  <a:pt x="942" y="1146"/>
                </a:lnTo>
                <a:lnTo>
                  <a:pt x="936" y="1158"/>
                </a:lnTo>
                <a:lnTo>
                  <a:pt x="936" y="1170"/>
                </a:lnTo>
                <a:lnTo>
                  <a:pt x="936" y="1194"/>
                </a:lnTo>
                <a:lnTo>
                  <a:pt x="930" y="1200"/>
                </a:lnTo>
                <a:lnTo>
                  <a:pt x="930" y="1212"/>
                </a:lnTo>
                <a:lnTo>
                  <a:pt x="918" y="1218"/>
                </a:lnTo>
                <a:lnTo>
                  <a:pt x="918" y="1230"/>
                </a:lnTo>
                <a:lnTo>
                  <a:pt x="906" y="1230"/>
                </a:lnTo>
                <a:lnTo>
                  <a:pt x="900" y="1254"/>
                </a:lnTo>
                <a:lnTo>
                  <a:pt x="900" y="1260"/>
                </a:lnTo>
                <a:lnTo>
                  <a:pt x="900" y="1266"/>
                </a:lnTo>
                <a:lnTo>
                  <a:pt x="900" y="1272"/>
                </a:lnTo>
                <a:lnTo>
                  <a:pt x="900" y="1278"/>
                </a:lnTo>
                <a:lnTo>
                  <a:pt x="900" y="1284"/>
                </a:lnTo>
                <a:lnTo>
                  <a:pt x="906" y="1290"/>
                </a:lnTo>
                <a:close/>
              </a:path>
            </a:pathLst>
          </a:custGeom>
          <a:solidFill>
            <a:srgbClr val="DEDEDE"/>
          </a:solidFill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70" name="Freeform 26">
            <a:extLst>
              <a:ext uri="{FF2B5EF4-FFF2-40B4-BE49-F238E27FC236}">
                <a16:creationId xmlns:a16="http://schemas.microsoft.com/office/drawing/2014/main" id="{1A411284-737E-4C02-9E1E-EC44653273F2}"/>
              </a:ext>
            </a:extLst>
          </p:cNvPr>
          <p:cNvSpPr>
            <a:spLocks/>
          </p:cNvSpPr>
          <p:nvPr/>
        </p:nvSpPr>
        <p:spPr bwMode="gray">
          <a:xfrm>
            <a:off x="2882517" y="4223724"/>
            <a:ext cx="702802" cy="613081"/>
          </a:xfrm>
          <a:custGeom>
            <a:avLst/>
            <a:gdLst>
              <a:gd name="T0" fmla="*/ 95 w 1224"/>
              <a:gd name="T1" fmla="*/ 89 h 1050"/>
              <a:gd name="T2" fmla="*/ 90 w 1224"/>
              <a:gd name="T3" fmla="*/ 84 h 1050"/>
              <a:gd name="T4" fmla="*/ 84 w 1224"/>
              <a:gd name="T5" fmla="*/ 83 h 1050"/>
              <a:gd name="T6" fmla="*/ 82 w 1224"/>
              <a:gd name="T7" fmla="*/ 80 h 1050"/>
              <a:gd name="T8" fmla="*/ 85 w 1224"/>
              <a:gd name="T9" fmla="*/ 77 h 1050"/>
              <a:gd name="T10" fmla="*/ 81 w 1224"/>
              <a:gd name="T11" fmla="*/ 76 h 1050"/>
              <a:gd name="T12" fmla="*/ 77 w 1224"/>
              <a:gd name="T13" fmla="*/ 77 h 1050"/>
              <a:gd name="T14" fmla="*/ 78 w 1224"/>
              <a:gd name="T15" fmla="*/ 73 h 1050"/>
              <a:gd name="T16" fmla="*/ 59 w 1224"/>
              <a:gd name="T17" fmla="*/ 71 h 1050"/>
              <a:gd name="T18" fmla="*/ 41 w 1224"/>
              <a:gd name="T19" fmla="*/ 73 h 1050"/>
              <a:gd name="T20" fmla="*/ 33 w 1224"/>
              <a:gd name="T21" fmla="*/ 71 h 1050"/>
              <a:gd name="T22" fmla="*/ 30 w 1224"/>
              <a:gd name="T23" fmla="*/ 75 h 1050"/>
              <a:gd name="T24" fmla="*/ 27 w 1224"/>
              <a:gd name="T25" fmla="*/ 80 h 1050"/>
              <a:gd name="T26" fmla="*/ 12 w 1224"/>
              <a:gd name="T27" fmla="*/ 81 h 1050"/>
              <a:gd name="T28" fmla="*/ 9 w 1224"/>
              <a:gd name="T29" fmla="*/ 84 h 1050"/>
              <a:gd name="T30" fmla="*/ 6 w 1224"/>
              <a:gd name="T31" fmla="*/ 83 h 1050"/>
              <a:gd name="T32" fmla="*/ 1 w 1224"/>
              <a:gd name="T33" fmla="*/ 83 h 1050"/>
              <a:gd name="T34" fmla="*/ 3 w 1224"/>
              <a:gd name="T35" fmla="*/ 77 h 1050"/>
              <a:gd name="T36" fmla="*/ 5 w 1224"/>
              <a:gd name="T37" fmla="*/ 70 h 1050"/>
              <a:gd name="T38" fmla="*/ 2 w 1224"/>
              <a:gd name="T39" fmla="*/ 65 h 1050"/>
              <a:gd name="T40" fmla="*/ 3 w 1224"/>
              <a:gd name="T41" fmla="*/ 58 h 1050"/>
              <a:gd name="T42" fmla="*/ 4 w 1224"/>
              <a:gd name="T43" fmla="*/ 51 h 1050"/>
              <a:gd name="T44" fmla="*/ 3 w 1224"/>
              <a:gd name="T45" fmla="*/ 47 h 1050"/>
              <a:gd name="T46" fmla="*/ 4 w 1224"/>
              <a:gd name="T47" fmla="*/ 39 h 1050"/>
              <a:gd name="T48" fmla="*/ 6 w 1224"/>
              <a:gd name="T49" fmla="*/ 29 h 1050"/>
              <a:gd name="T50" fmla="*/ 3 w 1224"/>
              <a:gd name="T51" fmla="*/ 22 h 1050"/>
              <a:gd name="T52" fmla="*/ 2 w 1224"/>
              <a:gd name="T53" fmla="*/ 14 h 1050"/>
              <a:gd name="T54" fmla="*/ 0 w 1224"/>
              <a:gd name="T55" fmla="*/ 6 h 1050"/>
              <a:gd name="T56" fmla="*/ 9 w 1224"/>
              <a:gd name="T57" fmla="*/ 1 h 1050"/>
              <a:gd name="T58" fmla="*/ 11 w 1224"/>
              <a:gd name="T59" fmla="*/ 8 h 1050"/>
              <a:gd name="T60" fmla="*/ 15 w 1224"/>
              <a:gd name="T61" fmla="*/ 9 h 1050"/>
              <a:gd name="T62" fmla="*/ 18 w 1224"/>
              <a:gd name="T63" fmla="*/ 8 h 1050"/>
              <a:gd name="T64" fmla="*/ 18 w 1224"/>
              <a:gd name="T65" fmla="*/ 13 h 1050"/>
              <a:gd name="T66" fmla="*/ 17 w 1224"/>
              <a:gd name="T67" fmla="*/ 15 h 1050"/>
              <a:gd name="T68" fmla="*/ 17 w 1224"/>
              <a:gd name="T69" fmla="*/ 17 h 1050"/>
              <a:gd name="T70" fmla="*/ 17 w 1224"/>
              <a:gd name="T71" fmla="*/ 21 h 1050"/>
              <a:gd name="T72" fmla="*/ 21 w 1224"/>
              <a:gd name="T73" fmla="*/ 25 h 1050"/>
              <a:gd name="T74" fmla="*/ 24 w 1224"/>
              <a:gd name="T75" fmla="*/ 31 h 1050"/>
              <a:gd name="T76" fmla="*/ 35 w 1224"/>
              <a:gd name="T77" fmla="*/ 34 h 1050"/>
              <a:gd name="T78" fmla="*/ 40 w 1224"/>
              <a:gd name="T79" fmla="*/ 27 h 1050"/>
              <a:gd name="T80" fmla="*/ 46 w 1224"/>
              <a:gd name="T81" fmla="*/ 30 h 1050"/>
              <a:gd name="T82" fmla="*/ 51 w 1224"/>
              <a:gd name="T83" fmla="*/ 27 h 1050"/>
              <a:gd name="T84" fmla="*/ 59 w 1224"/>
              <a:gd name="T85" fmla="*/ 39 h 1050"/>
              <a:gd name="T86" fmla="*/ 59 w 1224"/>
              <a:gd name="T87" fmla="*/ 45 h 1050"/>
              <a:gd name="T88" fmla="*/ 72 w 1224"/>
              <a:gd name="T89" fmla="*/ 45 h 1050"/>
              <a:gd name="T90" fmla="*/ 79 w 1224"/>
              <a:gd name="T91" fmla="*/ 44 h 1050"/>
              <a:gd name="T92" fmla="*/ 87 w 1224"/>
              <a:gd name="T93" fmla="*/ 48 h 1050"/>
              <a:gd name="T94" fmla="*/ 93 w 1224"/>
              <a:gd name="T95" fmla="*/ 50 h 1050"/>
              <a:gd name="T96" fmla="*/ 98 w 1224"/>
              <a:gd name="T97" fmla="*/ 51 h 1050"/>
              <a:gd name="T98" fmla="*/ 106 w 1224"/>
              <a:gd name="T99" fmla="*/ 50 h 1050"/>
              <a:gd name="T100" fmla="*/ 104 w 1224"/>
              <a:gd name="T101" fmla="*/ 54 h 1050"/>
              <a:gd name="T102" fmla="*/ 104 w 1224"/>
              <a:gd name="T103" fmla="*/ 60 h 1050"/>
              <a:gd name="T104" fmla="*/ 101 w 1224"/>
              <a:gd name="T105" fmla="*/ 63 h 1050"/>
              <a:gd name="T106" fmla="*/ 98 w 1224"/>
              <a:gd name="T107" fmla="*/ 66 h 1050"/>
              <a:gd name="T108" fmla="*/ 95 w 1224"/>
              <a:gd name="T109" fmla="*/ 68 h 1050"/>
              <a:gd name="T110" fmla="*/ 93 w 1224"/>
              <a:gd name="T111" fmla="*/ 72 h 1050"/>
              <a:gd name="T112" fmla="*/ 98 w 1224"/>
              <a:gd name="T113" fmla="*/ 75 h 1050"/>
              <a:gd name="T114" fmla="*/ 102 w 1224"/>
              <a:gd name="T115" fmla="*/ 77 h 1050"/>
              <a:gd name="T116" fmla="*/ 107 w 1224"/>
              <a:gd name="T117" fmla="*/ 76 h 1050"/>
              <a:gd name="T118" fmla="*/ 104 w 1224"/>
              <a:gd name="T119" fmla="*/ 84 h 1050"/>
              <a:gd name="T120" fmla="*/ 103 w 1224"/>
              <a:gd name="T121" fmla="*/ 87 h 1050"/>
              <a:gd name="T122" fmla="*/ 104 w 1224"/>
              <a:gd name="T123" fmla="*/ 91 h 105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224"/>
              <a:gd name="T187" fmla="*/ 0 h 1050"/>
              <a:gd name="T188" fmla="*/ 1224 w 1224"/>
              <a:gd name="T189" fmla="*/ 1050 h 1050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224" h="1050">
                <a:moveTo>
                  <a:pt x="1128" y="1032"/>
                </a:moveTo>
                <a:lnTo>
                  <a:pt x="1122" y="1026"/>
                </a:lnTo>
                <a:lnTo>
                  <a:pt x="1116" y="1026"/>
                </a:lnTo>
                <a:lnTo>
                  <a:pt x="1110" y="1026"/>
                </a:lnTo>
                <a:lnTo>
                  <a:pt x="1104" y="1026"/>
                </a:lnTo>
                <a:lnTo>
                  <a:pt x="1104" y="1020"/>
                </a:lnTo>
                <a:lnTo>
                  <a:pt x="1098" y="1020"/>
                </a:lnTo>
                <a:lnTo>
                  <a:pt x="1092" y="1020"/>
                </a:lnTo>
                <a:lnTo>
                  <a:pt x="1086" y="1020"/>
                </a:lnTo>
                <a:lnTo>
                  <a:pt x="1080" y="1014"/>
                </a:lnTo>
                <a:lnTo>
                  <a:pt x="1068" y="1014"/>
                </a:lnTo>
                <a:lnTo>
                  <a:pt x="1062" y="1014"/>
                </a:lnTo>
                <a:lnTo>
                  <a:pt x="1062" y="1008"/>
                </a:lnTo>
                <a:lnTo>
                  <a:pt x="1062" y="990"/>
                </a:lnTo>
                <a:lnTo>
                  <a:pt x="1062" y="984"/>
                </a:lnTo>
                <a:lnTo>
                  <a:pt x="1062" y="972"/>
                </a:lnTo>
                <a:lnTo>
                  <a:pt x="1044" y="966"/>
                </a:lnTo>
                <a:lnTo>
                  <a:pt x="1026" y="966"/>
                </a:lnTo>
                <a:lnTo>
                  <a:pt x="1014" y="966"/>
                </a:lnTo>
                <a:lnTo>
                  <a:pt x="996" y="966"/>
                </a:lnTo>
                <a:lnTo>
                  <a:pt x="996" y="972"/>
                </a:lnTo>
                <a:lnTo>
                  <a:pt x="990" y="972"/>
                </a:lnTo>
                <a:lnTo>
                  <a:pt x="984" y="966"/>
                </a:lnTo>
                <a:lnTo>
                  <a:pt x="978" y="966"/>
                </a:lnTo>
                <a:lnTo>
                  <a:pt x="978" y="960"/>
                </a:lnTo>
                <a:lnTo>
                  <a:pt x="972" y="954"/>
                </a:lnTo>
                <a:lnTo>
                  <a:pt x="966" y="954"/>
                </a:lnTo>
                <a:lnTo>
                  <a:pt x="960" y="954"/>
                </a:lnTo>
                <a:lnTo>
                  <a:pt x="954" y="954"/>
                </a:lnTo>
                <a:lnTo>
                  <a:pt x="954" y="948"/>
                </a:lnTo>
                <a:lnTo>
                  <a:pt x="942" y="942"/>
                </a:lnTo>
                <a:lnTo>
                  <a:pt x="936" y="942"/>
                </a:lnTo>
                <a:lnTo>
                  <a:pt x="936" y="936"/>
                </a:lnTo>
                <a:lnTo>
                  <a:pt x="936" y="930"/>
                </a:lnTo>
                <a:lnTo>
                  <a:pt x="942" y="930"/>
                </a:lnTo>
                <a:lnTo>
                  <a:pt x="942" y="924"/>
                </a:lnTo>
                <a:lnTo>
                  <a:pt x="942" y="918"/>
                </a:lnTo>
                <a:lnTo>
                  <a:pt x="948" y="918"/>
                </a:lnTo>
                <a:lnTo>
                  <a:pt x="960" y="918"/>
                </a:lnTo>
                <a:lnTo>
                  <a:pt x="966" y="912"/>
                </a:lnTo>
                <a:lnTo>
                  <a:pt x="978" y="906"/>
                </a:lnTo>
                <a:lnTo>
                  <a:pt x="978" y="900"/>
                </a:lnTo>
                <a:lnTo>
                  <a:pt x="978" y="894"/>
                </a:lnTo>
                <a:lnTo>
                  <a:pt x="978" y="888"/>
                </a:lnTo>
                <a:lnTo>
                  <a:pt x="972" y="888"/>
                </a:lnTo>
                <a:lnTo>
                  <a:pt x="978" y="888"/>
                </a:lnTo>
                <a:lnTo>
                  <a:pt x="978" y="882"/>
                </a:lnTo>
                <a:lnTo>
                  <a:pt x="972" y="876"/>
                </a:lnTo>
                <a:lnTo>
                  <a:pt x="966" y="870"/>
                </a:lnTo>
                <a:lnTo>
                  <a:pt x="954" y="876"/>
                </a:lnTo>
                <a:lnTo>
                  <a:pt x="948" y="876"/>
                </a:lnTo>
                <a:lnTo>
                  <a:pt x="942" y="870"/>
                </a:lnTo>
                <a:lnTo>
                  <a:pt x="936" y="876"/>
                </a:lnTo>
                <a:lnTo>
                  <a:pt x="930" y="876"/>
                </a:lnTo>
                <a:lnTo>
                  <a:pt x="924" y="882"/>
                </a:lnTo>
                <a:lnTo>
                  <a:pt x="912" y="888"/>
                </a:lnTo>
                <a:lnTo>
                  <a:pt x="906" y="894"/>
                </a:lnTo>
                <a:lnTo>
                  <a:pt x="900" y="900"/>
                </a:lnTo>
                <a:lnTo>
                  <a:pt x="894" y="888"/>
                </a:lnTo>
                <a:lnTo>
                  <a:pt x="888" y="894"/>
                </a:lnTo>
                <a:lnTo>
                  <a:pt x="882" y="888"/>
                </a:lnTo>
                <a:lnTo>
                  <a:pt x="876" y="894"/>
                </a:lnTo>
                <a:lnTo>
                  <a:pt x="876" y="888"/>
                </a:lnTo>
                <a:lnTo>
                  <a:pt x="876" y="882"/>
                </a:lnTo>
                <a:lnTo>
                  <a:pt x="876" y="876"/>
                </a:lnTo>
                <a:lnTo>
                  <a:pt x="870" y="858"/>
                </a:lnTo>
                <a:lnTo>
                  <a:pt x="864" y="858"/>
                </a:lnTo>
                <a:lnTo>
                  <a:pt x="870" y="852"/>
                </a:lnTo>
                <a:lnTo>
                  <a:pt x="870" y="846"/>
                </a:lnTo>
                <a:lnTo>
                  <a:pt x="876" y="846"/>
                </a:lnTo>
                <a:lnTo>
                  <a:pt x="882" y="846"/>
                </a:lnTo>
                <a:lnTo>
                  <a:pt x="888" y="840"/>
                </a:lnTo>
                <a:lnTo>
                  <a:pt x="894" y="834"/>
                </a:lnTo>
                <a:lnTo>
                  <a:pt x="894" y="828"/>
                </a:lnTo>
                <a:lnTo>
                  <a:pt x="894" y="816"/>
                </a:lnTo>
                <a:lnTo>
                  <a:pt x="858" y="810"/>
                </a:lnTo>
                <a:lnTo>
                  <a:pt x="858" y="816"/>
                </a:lnTo>
                <a:lnTo>
                  <a:pt x="852" y="816"/>
                </a:lnTo>
                <a:lnTo>
                  <a:pt x="780" y="816"/>
                </a:lnTo>
                <a:lnTo>
                  <a:pt x="750" y="816"/>
                </a:lnTo>
                <a:lnTo>
                  <a:pt x="684" y="816"/>
                </a:lnTo>
                <a:lnTo>
                  <a:pt x="636" y="816"/>
                </a:lnTo>
                <a:lnTo>
                  <a:pt x="612" y="816"/>
                </a:lnTo>
                <a:lnTo>
                  <a:pt x="492" y="816"/>
                </a:lnTo>
                <a:lnTo>
                  <a:pt x="486" y="816"/>
                </a:lnTo>
                <a:lnTo>
                  <a:pt x="480" y="816"/>
                </a:lnTo>
                <a:lnTo>
                  <a:pt x="480" y="822"/>
                </a:lnTo>
                <a:lnTo>
                  <a:pt x="480" y="834"/>
                </a:lnTo>
                <a:lnTo>
                  <a:pt x="474" y="840"/>
                </a:lnTo>
                <a:lnTo>
                  <a:pt x="468" y="840"/>
                </a:lnTo>
                <a:lnTo>
                  <a:pt x="432" y="840"/>
                </a:lnTo>
                <a:lnTo>
                  <a:pt x="426" y="834"/>
                </a:lnTo>
                <a:lnTo>
                  <a:pt x="420" y="834"/>
                </a:lnTo>
                <a:lnTo>
                  <a:pt x="420" y="828"/>
                </a:lnTo>
                <a:lnTo>
                  <a:pt x="414" y="822"/>
                </a:lnTo>
                <a:lnTo>
                  <a:pt x="408" y="822"/>
                </a:lnTo>
                <a:lnTo>
                  <a:pt x="396" y="822"/>
                </a:lnTo>
                <a:lnTo>
                  <a:pt x="396" y="816"/>
                </a:lnTo>
                <a:lnTo>
                  <a:pt x="384" y="816"/>
                </a:lnTo>
                <a:lnTo>
                  <a:pt x="372" y="810"/>
                </a:lnTo>
                <a:lnTo>
                  <a:pt x="372" y="804"/>
                </a:lnTo>
                <a:lnTo>
                  <a:pt x="366" y="804"/>
                </a:lnTo>
                <a:lnTo>
                  <a:pt x="360" y="804"/>
                </a:lnTo>
                <a:lnTo>
                  <a:pt x="348" y="828"/>
                </a:lnTo>
                <a:lnTo>
                  <a:pt x="348" y="834"/>
                </a:lnTo>
                <a:lnTo>
                  <a:pt x="348" y="852"/>
                </a:lnTo>
                <a:lnTo>
                  <a:pt x="348" y="858"/>
                </a:lnTo>
                <a:lnTo>
                  <a:pt x="342" y="864"/>
                </a:lnTo>
                <a:lnTo>
                  <a:pt x="342" y="870"/>
                </a:lnTo>
                <a:lnTo>
                  <a:pt x="330" y="876"/>
                </a:lnTo>
                <a:lnTo>
                  <a:pt x="324" y="888"/>
                </a:lnTo>
                <a:lnTo>
                  <a:pt x="324" y="894"/>
                </a:lnTo>
                <a:lnTo>
                  <a:pt x="330" y="900"/>
                </a:lnTo>
                <a:lnTo>
                  <a:pt x="330" y="906"/>
                </a:lnTo>
                <a:lnTo>
                  <a:pt x="324" y="906"/>
                </a:lnTo>
                <a:lnTo>
                  <a:pt x="318" y="912"/>
                </a:lnTo>
                <a:lnTo>
                  <a:pt x="312" y="918"/>
                </a:lnTo>
                <a:lnTo>
                  <a:pt x="306" y="924"/>
                </a:lnTo>
                <a:lnTo>
                  <a:pt x="288" y="924"/>
                </a:lnTo>
                <a:lnTo>
                  <a:pt x="282" y="924"/>
                </a:lnTo>
                <a:lnTo>
                  <a:pt x="276" y="930"/>
                </a:lnTo>
                <a:lnTo>
                  <a:pt x="270" y="930"/>
                </a:lnTo>
                <a:lnTo>
                  <a:pt x="264" y="930"/>
                </a:lnTo>
                <a:lnTo>
                  <a:pt x="198" y="930"/>
                </a:lnTo>
                <a:lnTo>
                  <a:pt x="132" y="930"/>
                </a:lnTo>
                <a:lnTo>
                  <a:pt x="132" y="936"/>
                </a:lnTo>
                <a:lnTo>
                  <a:pt x="132" y="942"/>
                </a:lnTo>
                <a:lnTo>
                  <a:pt x="132" y="948"/>
                </a:lnTo>
                <a:lnTo>
                  <a:pt x="126" y="948"/>
                </a:lnTo>
                <a:lnTo>
                  <a:pt x="120" y="948"/>
                </a:lnTo>
                <a:lnTo>
                  <a:pt x="120" y="954"/>
                </a:lnTo>
                <a:lnTo>
                  <a:pt x="114" y="954"/>
                </a:lnTo>
                <a:lnTo>
                  <a:pt x="114" y="960"/>
                </a:lnTo>
                <a:lnTo>
                  <a:pt x="108" y="960"/>
                </a:lnTo>
                <a:lnTo>
                  <a:pt x="108" y="966"/>
                </a:lnTo>
                <a:lnTo>
                  <a:pt x="102" y="966"/>
                </a:lnTo>
                <a:lnTo>
                  <a:pt x="102" y="972"/>
                </a:lnTo>
                <a:lnTo>
                  <a:pt x="96" y="972"/>
                </a:lnTo>
                <a:lnTo>
                  <a:pt x="96" y="966"/>
                </a:lnTo>
                <a:lnTo>
                  <a:pt x="90" y="966"/>
                </a:lnTo>
                <a:lnTo>
                  <a:pt x="84" y="966"/>
                </a:lnTo>
                <a:lnTo>
                  <a:pt x="78" y="960"/>
                </a:lnTo>
                <a:lnTo>
                  <a:pt x="72" y="960"/>
                </a:lnTo>
                <a:lnTo>
                  <a:pt x="66" y="960"/>
                </a:lnTo>
                <a:lnTo>
                  <a:pt x="60" y="960"/>
                </a:lnTo>
                <a:lnTo>
                  <a:pt x="54" y="966"/>
                </a:lnTo>
                <a:lnTo>
                  <a:pt x="48" y="966"/>
                </a:lnTo>
                <a:lnTo>
                  <a:pt x="42" y="966"/>
                </a:lnTo>
                <a:lnTo>
                  <a:pt x="36" y="966"/>
                </a:lnTo>
                <a:lnTo>
                  <a:pt x="30" y="966"/>
                </a:lnTo>
                <a:lnTo>
                  <a:pt x="24" y="960"/>
                </a:lnTo>
                <a:lnTo>
                  <a:pt x="18" y="960"/>
                </a:lnTo>
                <a:lnTo>
                  <a:pt x="12" y="960"/>
                </a:lnTo>
                <a:lnTo>
                  <a:pt x="12" y="948"/>
                </a:lnTo>
                <a:lnTo>
                  <a:pt x="18" y="942"/>
                </a:lnTo>
                <a:lnTo>
                  <a:pt x="18" y="936"/>
                </a:lnTo>
                <a:lnTo>
                  <a:pt x="18" y="930"/>
                </a:lnTo>
                <a:lnTo>
                  <a:pt x="18" y="924"/>
                </a:lnTo>
                <a:lnTo>
                  <a:pt x="18" y="912"/>
                </a:lnTo>
                <a:lnTo>
                  <a:pt x="24" y="906"/>
                </a:lnTo>
                <a:lnTo>
                  <a:pt x="30" y="900"/>
                </a:lnTo>
                <a:lnTo>
                  <a:pt x="36" y="894"/>
                </a:lnTo>
                <a:lnTo>
                  <a:pt x="36" y="882"/>
                </a:lnTo>
                <a:lnTo>
                  <a:pt x="30" y="876"/>
                </a:lnTo>
                <a:lnTo>
                  <a:pt x="30" y="870"/>
                </a:lnTo>
                <a:lnTo>
                  <a:pt x="24" y="858"/>
                </a:lnTo>
                <a:lnTo>
                  <a:pt x="24" y="846"/>
                </a:lnTo>
                <a:lnTo>
                  <a:pt x="36" y="822"/>
                </a:lnTo>
                <a:lnTo>
                  <a:pt x="42" y="816"/>
                </a:lnTo>
                <a:lnTo>
                  <a:pt x="48" y="816"/>
                </a:lnTo>
                <a:lnTo>
                  <a:pt x="60" y="804"/>
                </a:lnTo>
                <a:lnTo>
                  <a:pt x="60" y="786"/>
                </a:lnTo>
                <a:lnTo>
                  <a:pt x="60" y="774"/>
                </a:lnTo>
                <a:lnTo>
                  <a:pt x="60" y="768"/>
                </a:lnTo>
                <a:lnTo>
                  <a:pt x="54" y="762"/>
                </a:lnTo>
                <a:lnTo>
                  <a:pt x="42" y="762"/>
                </a:lnTo>
                <a:lnTo>
                  <a:pt x="36" y="762"/>
                </a:lnTo>
                <a:lnTo>
                  <a:pt x="30" y="762"/>
                </a:lnTo>
                <a:lnTo>
                  <a:pt x="30" y="756"/>
                </a:lnTo>
                <a:lnTo>
                  <a:pt x="24" y="750"/>
                </a:lnTo>
                <a:lnTo>
                  <a:pt x="24" y="744"/>
                </a:lnTo>
                <a:lnTo>
                  <a:pt x="24" y="738"/>
                </a:lnTo>
                <a:lnTo>
                  <a:pt x="24" y="732"/>
                </a:lnTo>
                <a:lnTo>
                  <a:pt x="36" y="714"/>
                </a:lnTo>
                <a:lnTo>
                  <a:pt x="30" y="708"/>
                </a:lnTo>
                <a:lnTo>
                  <a:pt x="30" y="702"/>
                </a:lnTo>
                <a:lnTo>
                  <a:pt x="36" y="684"/>
                </a:lnTo>
                <a:lnTo>
                  <a:pt x="36" y="678"/>
                </a:lnTo>
                <a:lnTo>
                  <a:pt x="36" y="666"/>
                </a:lnTo>
                <a:lnTo>
                  <a:pt x="36" y="654"/>
                </a:lnTo>
                <a:lnTo>
                  <a:pt x="18" y="654"/>
                </a:lnTo>
                <a:lnTo>
                  <a:pt x="18" y="648"/>
                </a:lnTo>
                <a:lnTo>
                  <a:pt x="18" y="618"/>
                </a:lnTo>
                <a:lnTo>
                  <a:pt x="18" y="612"/>
                </a:lnTo>
                <a:lnTo>
                  <a:pt x="24" y="612"/>
                </a:lnTo>
                <a:lnTo>
                  <a:pt x="30" y="600"/>
                </a:lnTo>
                <a:lnTo>
                  <a:pt x="36" y="594"/>
                </a:lnTo>
                <a:lnTo>
                  <a:pt x="48" y="594"/>
                </a:lnTo>
                <a:lnTo>
                  <a:pt x="54" y="588"/>
                </a:lnTo>
                <a:lnTo>
                  <a:pt x="60" y="588"/>
                </a:lnTo>
                <a:lnTo>
                  <a:pt x="60" y="582"/>
                </a:lnTo>
                <a:lnTo>
                  <a:pt x="54" y="576"/>
                </a:lnTo>
                <a:lnTo>
                  <a:pt x="48" y="564"/>
                </a:lnTo>
                <a:lnTo>
                  <a:pt x="42" y="564"/>
                </a:lnTo>
                <a:lnTo>
                  <a:pt x="36" y="558"/>
                </a:lnTo>
                <a:lnTo>
                  <a:pt x="30" y="552"/>
                </a:lnTo>
                <a:lnTo>
                  <a:pt x="30" y="546"/>
                </a:lnTo>
                <a:lnTo>
                  <a:pt x="36" y="540"/>
                </a:lnTo>
                <a:lnTo>
                  <a:pt x="48" y="534"/>
                </a:lnTo>
                <a:lnTo>
                  <a:pt x="54" y="528"/>
                </a:lnTo>
                <a:lnTo>
                  <a:pt x="60" y="504"/>
                </a:lnTo>
                <a:lnTo>
                  <a:pt x="60" y="492"/>
                </a:lnTo>
                <a:lnTo>
                  <a:pt x="54" y="492"/>
                </a:lnTo>
                <a:lnTo>
                  <a:pt x="54" y="480"/>
                </a:lnTo>
                <a:lnTo>
                  <a:pt x="48" y="456"/>
                </a:lnTo>
                <a:lnTo>
                  <a:pt x="42" y="450"/>
                </a:lnTo>
                <a:lnTo>
                  <a:pt x="36" y="444"/>
                </a:lnTo>
                <a:lnTo>
                  <a:pt x="36" y="420"/>
                </a:lnTo>
                <a:lnTo>
                  <a:pt x="36" y="408"/>
                </a:lnTo>
                <a:lnTo>
                  <a:pt x="36" y="372"/>
                </a:lnTo>
                <a:lnTo>
                  <a:pt x="36" y="342"/>
                </a:lnTo>
                <a:lnTo>
                  <a:pt x="42" y="342"/>
                </a:lnTo>
                <a:lnTo>
                  <a:pt x="60" y="342"/>
                </a:lnTo>
                <a:lnTo>
                  <a:pt x="66" y="336"/>
                </a:lnTo>
                <a:lnTo>
                  <a:pt x="66" y="330"/>
                </a:lnTo>
                <a:lnTo>
                  <a:pt x="66" y="300"/>
                </a:lnTo>
                <a:lnTo>
                  <a:pt x="60" y="294"/>
                </a:lnTo>
                <a:lnTo>
                  <a:pt x="60" y="288"/>
                </a:lnTo>
                <a:lnTo>
                  <a:pt x="54" y="282"/>
                </a:lnTo>
                <a:lnTo>
                  <a:pt x="42" y="276"/>
                </a:lnTo>
                <a:lnTo>
                  <a:pt x="36" y="276"/>
                </a:lnTo>
                <a:lnTo>
                  <a:pt x="36" y="270"/>
                </a:lnTo>
                <a:lnTo>
                  <a:pt x="30" y="264"/>
                </a:lnTo>
                <a:lnTo>
                  <a:pt x="36" y="258"/>
                </a:lnTo>
                <a:lnTo>
                  <a:pt x="30" y="252"/>
                </a:lnTo>
                <a:lnTo>
                  <a:pt x="24" y="246"/>
                </a:lnTo>
                <a:lnTo>
                  <a:pt x="24" y="240"/>
                </a:lnTo>
                <a:lnTo>
                  <a:pt x="24" y="228"/>
                </a:lnTo>
                <a:lnTo>
                  <a:pt x="24" y="216"/>
                </a:lnTo>
                <a:lnTo>
                  <a:pt x="24" y="210"/>
                </a:lnTo>
                <a:lnTo>
                  <a:pt x="18" y="192"/>
                </a:lnTo>
                <a:lnTo>
                  <a:pt x="18" y="186"/>
                </a:lnTo>
                <a:lnTo>
                  <a:pt x="24" y="162"/>
                </a:lnTo>
                <a:lnTo>
                  <a:pt x="24" y="144"/>
                </a:lnTo>
                <a:lnTo>
                  <a:pt x="24" y="132"/>
                </a:lnTo>
                <a:lnTo>
                  <a:pt x="24" y="114"/>
                </a:lnTo>
                <a:lnTo>
                  <a:pt x="24" y="102"/>
                </a:lnTo>
                <a:lnTo>
                  <a:pt x="18" y="90"/>
                </a:lnTo>
                <a:lnTo>
                  <a:pt x="12" y="90"/>
                </a:lnTo>
                <a:lnTo>
                  <a:pt x="12" y="84"/>
                </a:lnTo>
                <a:lnTo>
                  <a:pt x="6" y="78"/>
                </a:lnTo>
                <a:lnTo>
                  <a:pt x="6" y="72"/>
                </a:lnTo>
                <a:lnTo>
                  <a:pt x="0" y="60"/>
                </a:lnTo>
                <a:lnTo>
                  <a:pt x="18" y="48"/>
                </a:lnTo>
                <a:lnTo>
                  <a:pt x="42" y="36"/>
                </a:lnTo>
                <a:lnTo>
                  <a:pt x="54" y="24"/>
                </a:lnTo>
                <a:lnTo>
                  <a:pt x="60" y="0"/>
                </a:lnTo>
                <a:lnTo>
                  <a:pt x="78" y="0"/>
                </a:lnTo>
                <a:lnTo>
                  <a:pt x="78" y="6"/>
                </a:lnTo>
                <a:lnTo>
                  <a:pt x="90" y="6"/>
                </a:lnTo>
                <a:lnTo>
                  <a:pt x="102" y="12"/>
                </a:lnTo>
                <a:lnTo>
                  <a:pt x="138" y="12"/>
                </a:lnTo>
                <a:lnTo>
                  <a:pt x="138" y="18"/>
                </a:lnTo>
                <a:lnTo>
                  <a:pt x="126" y="18"/>
                </a:lnTo>
                <a:lnTo>
                  <a:pt x="126" y="24"/>
                </a:lnTo>
                <a:lnTo>
                  <a:pt x="120" y="30"/>
                </a:lnTo>
                <a:lnTo>
                  <a:pt x="114" y="60"/>
                </a:lnTo>
                <a:lnTo>
                  <a:pt x="120" y="60"/>
                </a:lnTo>
                <a:lnTo>
                  <a:pt x="114" y="84"/>
                </a:lnTo>
                <a:lnTo>
                  <a:pt x="120" y="90"/>
                </a:lnTo>
                <a:lnTo>
                  <a:pt x="126" y="96"/>
                </a:lnTo>
                <a:lnTo>
                  <a:pt x="132" y="96"/>
                </a:lnTo>
                <a:lnTo>
                  <a:pt x="138" y="96"/>
                </a:lnTo>
                <a:lnTo>
                  <a:pt x="138" y="102"/>
                </a:lnTo>
                <a:lnTo>
                  <a:pt x="138" y="114"/>
                </a:lnTo>
                <a:lnTo>
                  <a:pt x="138" y="132"/>
                </a:lnTo>
                <a:lnTo>
                  <a:pt x="162" y="126"/>
                </a:lnTo>
                <a:lnTo>
                  <a:pt x="162" y="114"/>
                </a:lnTo>
                <a:lnTo>
                  <a:pt x="174" y="108"/>
                </a:lnTo>
                <a:lnTo>
                  <a:pt x="174" y="102"/>
                </a:lnTo>
                <a:lnTo>
                  <a:pt x="180" y="96"/>
                </a:lnTo>
                <a:lnTo>
                  <a:pt x="180" y="60"/>
                </a:lnTo>
                <a:lnTo>
                  <a:pt x="192" y="60"/>
                </a:lnTo>
                <a:lnTo>
                  <a:pt x="192" y="72"/>
                </a:lnTo>
                <a:lnTo>
                  <a:pt x="198" y="72"/>
                </a:lnTo>
                <a:lnTo>
                  <a:pt x="198" y="78"/>
                </a:lnTo>
                <a:lnTo>
                  <a:pt x="204" y="78"/>
                </a:lnTo>
                <a:lnTo>
                  <a:pt x="204" y="96"/>
                </a:lnTo>
                <a:lnTo>
                  <a:pt x="204" y="102"/>
                </a:lnTo>
                <a:lnTo>
                  <a:pt x="204" y="108"/>
                </a:lnTo>
                <a:lnTo>
                  <a:pt x="204" y="114"/>
                </a:lnTo>
                <a:lnTo>
                  <a:pt x="204" y="120"/>
                </a:lnTo>
                <a:lnTo>
                  <a:pt x="204" y="126"/>
                </a:lnTo>
                <a:lnTo>
                  <a:pt x="210" y="126"/>
                </a:lnTo>
                <a:lnTo>
                  <a:pt x="210" y="132"/>
                </a:lnTo>
                <a:lnTo>
                  <a:pt x="204" y="138"/>
                </a:lnTo>
                <a:lnTo>
                  <a:pt x="204" y="150"/>
                </a:lnTo>
                <a:lnTo>
                  <a:pt x="198" y="150"/>
                </a:lnTo>
                <a:lnTo>
                  <a:pt x="192" y="150"/>
                </a:lnTo>
                <a:lnTo>
                  <a:pt x="192" y="156"/>
                </a:lnTo>
                <a:lnTo>
                  <a:pt x="198" y="156"/>
                </a:lnTo>
                <a:lnTo>
                  <a:pt x="204" y="156"/>
                </a:lnTo>
                <a:lnTo>
                  <a:pt x="204" y="162"/>
                </a:lnTo>
                <a:lnTo>
                  <a:pt x="198" y="162"/>
                </a:lnTo>
                <a:lnTo>
                  <a:pt x="192" y="162"/>
                </a:lnTo>
                <a:lnTo>
                  <a:pt x="192" y="168"/>
                </a:lnTo>
                <a:lnTo>
                  <a:pt x="198" y="168"/>
                </a:lnTo>
                <a:lnTo>
                  <a:pt x="198" y="174"/>
                </a:lnTo>
                <a:lnTo>
                  <a:pt x="186" y="174"/>
                </a:lnTo>
                <a:lnTo>
                  <a:pt x="192" y="174"/>
                </a:lnTo>
                <a:lnTo>
                  <a:pt x="198" y="174"/>
                </a:lnTo>
                <a:lnTo>
                  <a:pt x="198" y="180"/>
                </a:lnTo>
                <a:lnTo>
                  <a:pt x="192" y="186"/>
                </a:lnTo>
                <a:lnTo>
                  <a:pt x="192" y="192"/>
                </a:lnTo>
                <a:lnTo>
                  <a:pt x="192" y="198"/>
                </a:lnTo>
                <a:lnTo>
                  <a:pt x="186" y="204"/>
                </a:lnTo>
                <a:lnTo>
                  <a:pt x="186" y="210"/>
                </a:lnTo>
                <a:lnTo>
                  <a:pt x="180" y="210"/>
                </a:lnTo>
                <a:lnTo>
                  <a:pt x="180" y="216"/>
                </a:lnTo>
                <a:lnTo>
                  <a:pt x="180" y="222"/>
                </a:lnTo>
                <a:lnTo>
                  <a:pt x="186" y="228"/>
                </a:lnTo>
                <a:lnTo>
                  <a:pt x="186" y="234"/>
                </a:lnTo>
                <a:lnTo>
                  <a:pt x="192" y="240"/>
                </a:lnTo>
                <a:lnTo>
                  <a:pt x="198" y="246"/>
                </a:lnTo>
                <a:lnTo>
                  <a:pt x="198" y="252"/>
                </a:lnTo>
                <a:lnTo>
                  <a:pt x="198" y="258"/>
                </a:lnTo>
                <a:lnTo>
                  <a:pt x="204" y="258"/>
                </a:lnTo>
                <a:lnTo>
                  <a:pt x="210" y="258"/>
                </a:lnTo>
                <a:lnTo>
                  <a:pt x="216" y="258"/>
                </a:lnTo>
                <a:lnTo>
                  <a:pt x="228" y="270"/>
                </a:lnTo>
                <a:lnTo>
                  <a:pt x="228" y="276"/>
                </a:lnTo>
                <a:lnTo>
                  <a:pt x="234" y="276"/>
                </a:lnTo>
                <a:lnTo>
                  <a:pt x="240" y="288"/>
                </a:lnTo>
                <a:lnTo>
                  <a:pt x="246" y="294"/>
                </a:lnTo>
                <a:lnTo>
                  <a:pt x="246" y="306"/>
                </a:lnTo>
                <a:lnTo>
                  <a:pt x="252" y="318"/>
                </a:lnTo>
                <a:lnTo>
                  <a:pt x="258" y="324"/>
                </a:lnTo>
                <a:lnTo>
                  <a:pt x="258" y="330"/>
                </a:lnTo>
                <a:lnTo>
                  <a:pt x="258" y="342"/>
                </a:lnTo>
                <a:lnTo>
                  <a:pt x="270" y="342"/>
                </a:lnTo>
                <a:lnTo>
                  <a:pt x="276" y="348"/>
                </a:lnTo>
                <a:lnTo>
                  <a:pt x="276" y="354"/>
                </a:lnTo>
                <a:lnTo>
                  <a:pt x="288" y="366"/>
                </a:lnTo>
                <a:lnTo>
                  <a:pt x="336" y="360"/>
                </a:lnTo>
                <a:lnTo>
                  <a:pt x="354" y="360"/>
                </a:lnTo>
                <a:lnTo>
                  <a:pt x="366" y="372"/>
                </a:lnTo>
                <a:lnTo>
                  <a:pt x="378" y="378"/>
                </a:lnTo>
                <a:lnTo>
                  <a:pt x="378" y="390"/>
                </a:lnTo>
                <a:lnTo>
                  <a:pt x="384" y="390"/>
                </a:lnTo>
                <a:lnTo>
                  <a:pt x="390" y="396"/>
                </a:lnTo>
                <a:lnTo>
                  <a:pt x="408" y="390"/>
                </a:lnTo>
                <a:lnTo>
                  <a:pt x="426" y="366"/>
                </a:lnTo>
                <a:lnTo>
                  <a:pt x="432" y="360"/>
                </a:lnTo>
                <a:lnTo>
                  <a:pt x="438" y="348"/>
                </a:lnTo>
                <a:lnTo>
                  <a:pt x="438" y="342"/>
                </a:lnTo>
                <a:lnTo>
                  <a:pt x="438" y="330"/>
                </a:lnTo>
                <a:lnTo>
                  <a:pt x="444" y="324"/>
                </a:lnTo>
                <a:lnTo>
                  <a:pt x="450" y="318"/>
                </a:lnTo>
                <a:lnTo>
                  <a:pt x="456" y="312"/>
                </a:lnTo>
                <a:lnTo>
                  <a:pt x="456" y="306"/>
                </a:lnTo>
                <a:lnTo>
                  <a:pt x="456" y="300"/>
                </a:lnTo>
                <a:lnTo>
                  <a:pt x="474" y="288"/>
                </a:lnTo>
                <a:lnTo>
                  <a:pt x="480" y="288"/>
                </a:lnTo>
                <a:lnTo>
                  <a:pt x="486" y="288"/>
                </a:lnTo>
                <a:lnTo>
                  <a:pt x="492" y="294"/>
                </a:lnTo>
                <a:lnTo>
                  <a:pt x="492" y="318"/>
                </a:lnTo>
                <a:lnTo>
                  <a:pt x="504" y="324"/>
                </a:lnTo>
                <a:lnTo>
                  <a:pt x="492" y="348"/>
                </a:lnTo>
                <a:lnTo>
                  <a:pt x="522" y="348"/>
                </a:lnTo>
                <a:lnTo>
                  <a:pt x="528" y="342"/>
                </a:lnTo>
                <a:lnTo>
                  <a:pt x="528" y="336"/>
                </a:lnTo>
                <a:lnTo>
                  <a:pt x="528" y="330"/>
                </a:lnTo>
                <a:lnTo>
                  <a:pt x="534" y="330"/>
                </a:lnTo>
                <a:lnTo>
                  <a:pt x="540" y="330"/>
                </a:lnTo>
                <a:lnTo>
                  <a:pt x="546" y="330"/>
                </a:lnTo>
                <a:lnTo>
                  <a:pt x="552" y="324"/>
                </a:lnTo>
                <a:lnTo>
                  <a:pt x="558" y="318"/>
                </a:lnTo>
                <a:lnTo>
                  <a:pt x="576" y="318"/>
                </a:lnTo>
                <a:lnTo>
                  <a:pt x="636" y="318"/>
                </a:lnTo>
                <a:lnTo>
                  <a:pt x="642" y="312"/>
                </a:lnTo>
                <a:lnTo>
                  <a:pt x="648" y="348"/>
                </a:lnTo>
                <a:lnTo>
                  <a:pt x="654" y="354"/>
                </a:lnTo>
                <a:lnTo>
                  <a:pt x="648" y="402"/>
                </a:lnTo>
                <a:lnTo>
                  <a:pt x="678" y="402"/>
                </a:lnTo>
                <a:lnTo>
                  <a:pt x="678" y="420"/>
                </a:lnTo>
                <a:lnTo>
                  <a:pt x="684" y="438"/>
                </a:lnTo>
                <a:lnTo>
                  <a:pt x="684" y="450"/>
                </a:lnTo>
                <a:lnTo>
                  <a:pt x="684" y="456"/>
                </a:lnTo>
                <a:lnTo>
                  <a:pt x="690" y="468"/>
                </a:lnTo>
                <a:lnTo>
                  <a:pt x="690" y="474"/>
                </a:lnTo>
                <a:lnTo>
                  <a:pt x="690" y="480"/>
                </a:lnTo>
                <a:lnTo>
                  <a:pt x="696" y="486"/>
                </a:lnTo>
                <a:lnTo>
                  <a:pt x="696" y="498"/>
                </a:lnTo>
                <a:lnTo>
                  <a:pt x="702" y="504"/>
                </a:lnTo>
                <a:lnTo>
                  <a:pt x="690" y="516"/>
                </a:lnTo>
                <a:lnTo>
                  <a:pt x="678" y="522"/>
                </a:lnTo>
                <a:lnTo>
                  <a:pt x="654" y="528"/>
                </a:lnTo>
                <a:lnTo>
                  <a:pt x="660" y="546"/>
                </a:lnTo>
                <a:lnTo>
                  <a:pt x="672" y="546"/>
                </a:lnTo>
                <a:lnTo>
                  <a:pt x="678" y="540"/>
                </a:lnTo>
                <a:lnTo>
                  <a:pt x="714" y="540"/>
                </a:lnTo>
                <a:lnTo>
                  <a:pt x="798" y="540"/>
                </a:lnTo>
                <a:lnTo>
                  <a:pt x="804" y="540"/>
                </a:lnTo>
                <a:lnTo>
                  <a:pt x="816" y="528"/>
                </a:lnTo>
                <a:lnTo>
                  <a:pt x="822" y="522"/>
                </a:lnTo>
                <a:lnTo>
                  <a:pt x="834" y="516"/>
                </a:lnTo>
                <a:lnTo>
                  <a:pt x="846" y="516"/>
                </a:lnTo>
                <a:lnTo>
                  <a:pt x="852" y="510"/>
                </a:lnTo>
                <a:lnTo>
                  <a:pt x="858" y="510"/>
                </a:lnTo>
                <a:lnTo>
                  <a:pt x="882" y="516"/>
                </a:lnTo>
                <a:lnTo>
                  <a:pt x="888" y="516"/>
                </a:lnTo>
                <a:lnTo>
                  <a:pt x="888" y="510"/>
                </a:lnTo>
                <a:lnTo>
                  <a:pt x="894" y="510"/>
                </a:lnTo>
                <a:lnTo>
                  <a:pt x="906" y="504"/>
                </a:lnTo>
                <a:lnTo>
                  <a:pt x="918" y="498"/>
                </a:lnTo>
                <a:lnTo>
                  <a:pt x="930" y="492"/>
                </a:lnTo>
                <a:lnTo>
                  <a:pt x="936" y="492"/>
                </a:lnTo>
                <a:lnTo>
                  <a:pt x="948" y="492"/>
                </a:lnTo>
                <a:lnTo>
                  <a:pt x="954" y="528"/>
                </a:lnTo>
                <a:lnTo>
                  <a:pt x="954" y="564"/>
                </a:lnTo>
                <a:lnTo>
                  <a:pt x="972" y="564"/>
                </a:lnTo>
                <a:lnTo>
                  <a:pt x="978" y="558"/>
                </a:lnTo>
                <a:lnTo>
                  <a:pt x="990" y="552"/>
                </a:lnTo>
                <a:lnTo>
                  <a:pt x="1002" y="540"/>
                </a:lnTo>
                <a:lnTo>
                  <a:pt x="1026" y="534"/>
                </a:lnTo>
                <a:lnTo>
                  <a:pt x="1032" y="540"/>
                </a:lnTo>
                <a:lnTo>
                  <a:pt x="1044" y="546"/>
                </a:lnTo>
                <a:lnTo>
                  <a:pt x="1062" y="552"/>
                </a:lnTo>
                <a:lnTo>
                  <a:pt x="1068" y="552"/>
                </a:lnTo>
                <a:lnTo>
                  <a:pt x="1068" y="570"/>
                </a:lnTo>
                <a:lnTo>
                  <a:pt x="1068" y="576"/>
                </a:lnTo>
                <a:lnTo>
                  <a:pt x="1068" y="582"/>
                </a:lnTo>
                <a:lnTo>
                  <a:pt x="1068" y="588"/>
                </a:lnTo>
                <a:lnTo>
                  <a:pt x="1068" y="594"/>
                </a:lnTo>
                <a:lnTo>
                  <a:pt x="1080" y="600"/>
                </a:lnTo>
                <a:lnTo>
                  <a:pt x="1086" y="606"/>
                </a:lnTo>
                <a:lnTo>
                  <a:pt x="1092" y="594"/>
                </a:lnTo>
                <a:lnTo>
                  <a:pt x="1104" y="588"/>
                </a:lnTo>
                <a:lnTo>
                  <a:pt x="1116" y="588"/>
                </a:lnTo>
                <a:lnTo>
                  <a:pt x="1122" y="588"/>
                </a:lnTo>
                <a:lnTo>
                  <a:pt x="1122" y="594"/>
                </a:lnTo>
                <a:lnTo>
                  <a:pt x="1128" y="594"/>
                </a:lnTo>
                <a:lnTo>
                  <a:pt x="1134" y="594"/>
                </a:lnTo>
                <a:lnTo>
                  <a:pt x="1140" y="594"/>
                </a:lnTo>
                <a:lnTo>
                  <a:pt x="1146" y="588"/>
                </a:lnTo>
                <a:lnTo>
                  <a:pt x="1158" y="582"/>
                </a:lnTo>
                <a:lnTo>
                  <a:pt x="1164" y="576"/>
                </a:lnTo>
                <a:lnTo>
                  <a:pt x="1176" y="576"/>
                </a:lnTo>
                <a:lnTo>
                  <a:pt x="1194" y="576"/>
                </a:lnTo>
                <a:lnTo>
                  <a:pt x="1218" y="576"/>
                </a:lnTo>
                <a:lnTo>
                  <a:pt x="1224" y="582"/>
                </a:lnTo>
                <a:lnTo>
                  <a:pt x="1224" y="588"/>
                </a:lnTo>
                <a:lnTo>
                  <a:pt x="1224" y="594"/>
                </a:lnTo>
                <a:lnTo>
                  <a:pt x="1212" y="600"/>
                </a:lnTo>
                <a:lnTo>
                  <a:pt x="1206" y="606"/>
                </a:lnTo>
                <a:lnTo>
                  <a:pt x="1200" y="606"/>
                </a:lnTo>
                <a:lnTo>
                  <a:pt x="1200" y="612"/>
                </a:lnTo>
                <a:lnTo>
                  <a:pt x="1194" y="612"/>
                </a:lnTo>
                <a:lnTo>
                  <a:pt x="1194" y="618"/>
                </a:lnTo>
                <a:lnTo>
                  <a:pt x="1194" y="624"/>
                </a:lnTo>
                <a:lnTo>
                  <a:pt x="1194" y="630"/>
                </a:lnTo>
                <a:lnTo>
                  <a:pt x="1194" y="648"/>
                </a:lnTo>
                <a:lnTo>
                  <a:pt x="1194" y="660"/>
                </a:lnTo>
                <a:lnTo>
                  <a:pt x="1194" y="666"/>
                </a:lnTo>
                <a:lnTo>
                  <a:pt x="1194" y="672"/>
                </a:lnTo>
                <a:lnTo>
                  <a:pt x="1194" y="678"/>
                </a:lnTo>
                <a:lnTo>
                  <a:pt x="1188" y="684"/>
                </a:lnTo>
                <a:lnTo>
                  <a:pt x="1188" y="690"/>
                </a:lnTo>
                <a:lnTo>
                  <a:pt x="1188" y="696"/>
                </a:lnTo>
                <a:lnTo>
                  <a:pt x="1188" y="702"/>
                </a:lnTo>
                <a:lnTo>
                  <a:pt x="1188" y="708"/>
                </a:lnTo>
                <a:lnTo>
                  <a:pt x="1188" y="714"/>
                </a:lnTo>
                <a:lnTo>
                  <a:pt x="1182" y="720"/>
                </a:lnTo>
                <a:lnTo>
                  <a:pt x="1170" y="720"/>
                </a:lnTo>
                <a:lnTo>
                  <a:pt x="1158" y="726"/>
                </a:lnTo>
                <a:lnTo>
                  <a:pt x="1152" y="726"/>
                </a:lnTo>
                <a:lnTo>
                  <a:pt x="1152" y="732"/>
                </a:lnTo>
                <a:lnTo>
                  <a:pt x="1146" y="738"/>
                </a:lnTo>
                <a:lnTo>
                  <a:pt x="1140" y="738"/>
                </a:lnTo>
                <a:lnTo>
                  <a:pt x="1140" y="744"/>
                </a:lnTo>
                <a:lnTo>
                  <a:pt x="1134" y="744"/>
                </a:lnTo>
                <a:lnTo>
                  <a:pt x="1128" y="744"/>
                </a:lnTo>
                <a:lnTo>
                  <a:pt x="1122" y="750"/>
                </a:lnTo>
                <a:lnTo>
                  <a:pt x="1128" y="750"/>
                </a:lnTo>
                <a:lnTo>
                  <a:pt x="1122" y="756"/>
                </a:lnTo>
                <a:lnTo>
                  <a:pt x="1116" y="756"/>
                </a:lnTo>
                <a:lnTo>
                  <a:pt x="1110" y="762"/>
                </a:lnTo>
                <a:lnTo>
                  <a:pt x="1104" y="762"/>
                </a:lnTo>
                <a:lnTo>
                  <a:pt x="1104" y="768"/>
                </a:lnTo>
                <a:lnTo>
                  <a:pt x="1098" y="768"/>
                </a:lnTo>
                <a:lnTo>
                  <a:pt x="1098" y="774"/>
                </a:lnTo>
                <a:lnTo>
                  <a:pt x="1092" y="774"/>
                </a:lnTo>
                <a:lnTo>
                  <a:pt x="1092" y="780"/>
                </a:lnTo>
                <a:lnTo>
                  <a:pt x="1086" y="780"/>
                </a:lnTo>
                <a:lnTo>
                  <a:pt x="1086" y="786"/>
                </a:lnTo>
                <a:lnTo>
                  <a:pt x="1080" y="786"/>
                </a:lnTo>
                <a:lnTo>
                  <a:pt x="1080" y="792"/>
                </a:lnTo>
                <a:lnTo>
                  <a:pt x="1080" y="798"/>
                </a:lnTo>
                <a:lnTo>
                  <a:pt x="1080" y="804"/>
                </a:lnTo>
                <a:lnTo>
                  <a:pt x="1086" y="810"/>
                </a:lnTo>
                <a:lnTo>
                  <a:pt x="1080" y="816"/>
                </a:lnTo>
                <a:lnTo>
                  <a:pt x="1080" y="822"/>
                </a:lnTo>
                <a:lnTo>
                  <a:pt x="1074" y="822"/>
                </a:lnTo>
                <a:lnTo>
                  <a:pt x="1068" y="828"/>
                </a:lnTo>
                <a:lnTo>
                  <a:pt x="1074" y="828"/>
                </a:lnTo>
                <a:lnTo>
                  <a:pt x="1074" y="834"/>
                </a:lnTo>
                <a:lnTo>
                  <a:pt x="1080" y="846"/>
                </a:lnTo>
                <a:lnTo>
                  <a:pt x="1086" y="846"/>
                </a:lnTo>
                <a:lnTo>
                  <a:pt x="1092" y="852"/>
                </a:lnTo>
                <a:lnTo>
                  <a:pt x="1092" y="858"/>
                </a:lnTo>
                <a:lnTo>
                  <a:pt x="1098" y="858"/>
                </a:lnTo>
                <a:lnTo>
                  <a:pt x="1110" y="864"/>
                </a:lnTo>
                <a:lnTo>
                  <a:pt x="1116" y="864"/>
                </a:lnTo>
                <a:lnTo>
                  <a:pt x="1122" y="864"/>
                </a:lnTo>
                <a:lnTo>
                  <a:pt x="1128" y="864"/>
                </a:lnTo>
                <a:lnTo>
                  <a:pt x="1134" y="876"/>
                </a:lnTo>
                <a:lnTo>
                  <a:pt x="1140" y="882"/>
                </a:lnTo>
                <a:lnTo>
                  <a:pt x="1140" y="888"/>
                </a:lnTo>
                <a:lnTo>
                  <a:pt x="1152" y="918"/>
                </a:lnTo>
                <a:lnTo>
                  <a:pt x="1158" y="894"/>
                </a:lnTo>
                <a:lnTo>
                  <a:pt x="1164" y="888"/>
                </a:lnTo>
                <a:lnTo>
                  <a:pt x="1164" y="882"/>
                </a:lnTo>
                <a:lnTo>
                  <a:pt x="1176" y="864"/>
                </a:lnTo>
                <a:lnTo>
                  <a:pt x="1182" y="858"/>
                </a:lnTo>
                <a:lnTo>
                  <a:pt x="1188" y="846"/>
                </a:lnTo>
                <a:lnTo>
                  <a:pt x="1200" y="840"/>
                </a:lnTo>
                <a:lnTo>
                  <a:pt x="1212" y="840"/>
                </a:lnTo>
                <a:lnTo>
                  <a:pt x="1218" y="846"/>
                </a:lnTo>
                <a:lnTo>
                  <a:pt x="1224" y="858"/>
                </a:lnTo>
                <a:lnTo>
                  <a:pt x="1224" y="864"/>
                </a:lnTo>
                <a:lnTo>
                  <a:pt x="1224" y="876"/>
                </a:lnTo>
                <a:lnTo>
                  <a:pt x="1212" y="912"/>
                </a:lnTo>
                <a:lnTo>
                  <a:pt x="1218" y="918"/>
                </a:lnTo>
                <a:lnTo>
                  <a:pt x="1218" y="930"/>
                </a:lnTo>
                <a:lnTo>
                  <a:pt x="1200" y="930"/>
                </a:lnTo>
                <a:lnTo>
                  <a:pt x="1200" y="942"/>
                </a:lnTo>
                <a:lnTo>
                  <a:pt x="1194" y="948"/>
                </a:lnTo>
                <a:lnTo>
                  <a:pt x="1194" y="960"/>
                </a:lnTo>
                <a:lnTo>
                  <a:pt x="1194" y="966"/>
                </a:lnTo>
                <a:lnTo>
                  <a:pt x="1188" y="972"/>
                </a:lnTo>
                <a:lnTo>
                  <a:pt x="1182" y="984"/>
                </a:lnTo>
                <a:lnTo>
                  <a:pt x="1170" y="984"/>
                </a:lnTo>
                <a:lnTo>
                  <a:pt x="1164" y="984"/>
                </a:lnTo>
                <a:lnTo>
                  <a:pt x="1158" y="984"/>
                </a:lnTo>
                <a:lnTo>
                  <a:pt x="1146" y="984"/>
                </a:lnTo>
                <a:lnTo>
                  <a:pt x="1140" y="990"/>
                </a:lnTo>
                <a:lnTo>
                  <a:pt x="1140" y="996"/>
                </a:lnTo>
                <a:lnTo>
                  <a:pt x="1152" y="996"/>
                </a:lnTo>
                <a:lnTo>
                  <a:pt x="1176" y="1002"/>
                </a:lnTo>
                <a:lnTo>
                  <a:pt x="1194" y="1008"/>
                </a:lnTo>
                <a:lnTo>
                  <a:pt x="1206" y="1008"/>
                </a:lnTo>
                <a:lnTo>
                  <a:pt x="1218" y="1014"/>
                </a:lnTo>
                <a:lnTo>
                  <a:pt x="1212" y="1038"/>
                </a:lnTo>
                <a:lnTo>
                  <a:pt x="1212" y="1044"/>
                </a:lnTo>
                <a:lnTo>
                  <a:pt x="1206" y="1044"/>
                </a:lnTo>
                <a:lnTo>
                  <a:pt x="1206" y="1050"/>
                </a:lnTo>
                <a:lnTo>
                  <a:pt x="1194" y="1050"/>
                </a:lnTo>
                <a:lnTo>
                  <a:pt x="1188" y="1044"/>
                </a:lnTo>
                <a:lnTo>
                  <a:pt x="1158" y="1020"/>
                </a:lnTo>
                <a:lnTo>
                  <a:pt x="1152" y="1020"/>
                </a:lnTo>
                <a:lnTo>
                  <a:pt x="1140" y="1020"/>
                </a:lnTo>
                <a:lnTo>
                  <a:pt x="1134" y="1020"/>
                </a:lnTo>
                <a:lnTo>
                  <a:pt x="1134" y="1026"/>
                </a:lnTo>
                <a:lnTo>
                  <a:pt x="1134" y="1032"/>
                </a:lnTo>
                <a:lnTo>
                  <a:pt x="1128" y="1032"/>
                </a:lnTo>
                <a:close/>
              </a:path>
            </a:pathLst>
          </a:cu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71" name="Freeform 27">
            <a:extLst>
              <a:ext uri="{FF2B5EF4-FFF2-40B4-BE49-F238E27FC236}">
                <a16:creationId xmlns:a16="http://schemas.microsoft.com/office/drawing/2014/main" id="{40BB1FD2-5D57-47B2-8228-EA207899F9B2}"/>
              </a:ext>
            </a:extLst>
          </p:cNvPr>
          <p:cNvSpPr>
            <a:spLocks/>
          </p:cNvSpPr>
          <p:nvPr/>
        </p:nvSpPr>
        <p:spPr bwMode="gray">
          <a:xfrm>
            <a:off x="3382448" y="4162407"/>
            <a:ext cx="369516" cy="414444"/>
          </a:xfrm>
          <a:custGeom>
            <a:avLst/>
            <a:gdLst>
              <a:gd name="T0" fmla="*/ 43 w 642"/>
              <a:gd name="T1" fmla="*/ 41 h 708"/>
              <a:gd name="T2" fmla="*/ 39 w 642"/>
              <a:gd name="T3" fmla="*/ 41 h 708"/>
              <a:gd name="T4" fmla="*/ 38 w 642"/>
              <a:gd name="T5" fmla="*/ 47 h 708"/>
              <a:gd name="T6" fmla="*/ 38 w 642"/>
              <a:gd name="T7" fmla="*/ 49 h 708"/>
              <a:gd name="T8" fmla="*/ 38 w 642"/>
              <a:gd name="T9" fmla="*/ 50 h 708"/>
              <a:gd name="T10" fmla="*/ 36 w 642"/>
              <a:gd name="T11" fmla="*/ 52 h 708"/>
              <a:gd name="T12" fmla="*/ 35 w 642"/>
              <a:gd name="T13" fmla="*/ 53 h 708"/>
              <a:gd name="T14" fmla="*/ 33 w 642"/>
              <a:gd name="T15" fmla="*/ 55 h 708"/>
              <a:gd name="T16" fmla="*/ 32 w 642"/>
              <a:gd name="T17" fmla="*/ 56 h 708"/>
              <a:gd name="T18" fmla="*/ 31 w 642"/>
              <a:gd name="T19" fmla="*/ 59 h 708"/>
              <a:gd name="T20" fmla="*/ 26 w 642"/>
              <a:gd name="T21" fmla="*/ 59 h 708"/>
              <a:gd name="T22" fmla="*/ 23 w 642"/>
              <a:gd name="T23" fmla="*/ 61 h 708"/>
              <a:gd name="T24" fmla="*/ 20 w 642"/>
              <a:gd name="T25" fmla="*/ 61 h 708"/>
              <a:gd name="T26" fmla="*/ 17 w 642"/>
              <a:gd name="T27" fmla="*/ 59 h 708"/>
              <a:gd name="T28" fmla="*/ 15 w 642"/>
              <a:gd name="T29" fmla="*/ 56 h 708"/>
              <a:gd name="T30" fmla="*/ 9 w 642"/>
              <a:gd name="T31" fmla="*/ 58 h 708"/>
              <a:gd name="T32" fmla="*/ 6 w 642"/>
              <a:gd name="T33" fmla="*/ 52 h 708"/>
              <a:gd name="T34" fmla="*/ 2 w 642"/>
              <a:gd name="T35" fmla="*/ 53 h 708"/>
              <a:gd name="T36" fmla="*/ 1 w 642"/>
              <a:gd name="T37" fmla="*/ 51 h 708"/>
              <a:gd name="T38" fmla="*/ 4 w 642"/>
              <a:gd name="T39" fmla="*/ 47 h 708"/>
              <a:gd name="T40" fmla="*/ 5 w 642"/>
              <a:gd name="T41" fmla="*/ 41 h 708"/>
              <a:gd name="T42" fmla="*/ 5 w 642"/>
              <a:gd name="T43" fmla="*/ 38 h 708"/>
              <a:gd name="T44" fmla="*/ 5 w 642"/>
              <a:gd name="T45" fmla="*/ 35 h 708"/>
              <a:gd name="T46" fmla="*/ 6 w 642"/>
              <a:gd name="T47" fmla="*/ 33 h 708"/>
              <a:gd name="T48" fmla="*/ 5 w 642"/>
              <a:gd name="T49" fmla="*/ 29 h 708"/>
              <a:gd name="T50" fmla="*/ 4 w 642"/>
              <a:gd name="T51" fmla="*/ 28 h 708"/>
              <a:gd name="T52" fmla="*/ 1 w 642"/>
              <a:gd name="T53" fmla="*/ 26 h 708"/>
              <a:gd name="T54" fmla="*/ 1 w 642"/>
              <a:gd name="T55" fmla="*/ 24 h 708"/>
              <a:gd name="T56" fmla="*/ 1 w 642"/>
              <a:gd name="T57" fmla="*/ 20 h 708"/>
              <a:gd name="T58" fmla="*/ 1 w 642"/>
              <a:gd name="T59" fmla="*/ 16 h 708"/>
              <a:gd name="T60" fmla="*/ 2 w 642"/>
              <a:gd name="T61" fmla="*/ 14 h 708"/>
              <a:gd name="T62" fmla="*/ 8 w 642"/>
              <a:gd name="T63" fmla="*/ 14 h 708"/>
              <a:gd name="T64" fmla="*/ 9 w 642"/>
              <a:gd name="T65" fmla="*/ 10 h 708"/>
              <a:gd name="T66" fmla="*/ 15 w 642"/>
              <a:gd name="T67" fmla="*/ 9 h 708"/>
              <a:gd name="T68" fmla="*/ 18 w 642"/>
              <a:gd name="T69" fmla="*/ 14 h 708"/>
              <a:gd name="T70" fmla="*/ 20 w 642"/>
              <a:gd name="T71" fmla="*/ 12 h 708"/>
              <a:gd name="T72" fmla="*/ 20 w 642"/>
              <a:gd name="T73" fmla="*/ 11 h 708"/>
              <a:gd name="T74" fmla="*/ 21 w 642"/>
              <a:gd name="T75" fmla="*/ 9 h 708"/>
              <a:gd name="T76" fmla="*/ 24 w 642"/>
              <a:gd name="T77" fmla="*/ 9 h 708"/>
              <a:gd name="T78" fmla="*/ 27 w 642"/>
              <a:gd name="T79" fmla="*/ 8 h 708"/>
              <a:gd name="T80" fmla="*/ 33 w 642"/>
              <a:gd name="T81" fmla="*/ 2 h 708"/>
              <a:gd name="T82" fmla="*/ 42 w 642"/>
              <a:gd name="T83" fmla="*/ 2 h 708"/>
              <a:gd name="T84" fmla="*/ 49 w 642"/>
              <a:gd name="T85" fmla="*/ 1 h 708"/>
              <a:gd name="T86" fmla="*/ 53 w 642"/>
              <a:gd name="T87" fmla="*/ 4 h 708"/>
              <a:gd name="T88" fmla="*/ 55 w 642"/>
              <a:gd name="T89" fmla="*/ 4 h 708"/>
              <a:gd name="T90" fmla="*/ 55 w 642"/>
              <a:gd name="T91" fmla="*/ 7 h 708"/>
              <a:gd name="T92" fmla="*/ 52 w 642"/>
              <a:gd name="T93" fmla="*/ 9 h 708"/>
              <a:gd name="T94" fmla="*/ 49 w 642"/>
              <a:gd name="T95" fmla="*/ 12 h 708"/>
              <a:gd name="T96" fmla="*/ 47 w 642"/>
              <a:gd name="T97" fmla="*/ 14 h 708"/>
              <a:gd name="T98" fmla="*/ 47 w 642"/>
              <a:gd name="T99" fmla="*/ 17 h 708"/>
              <a:gd name="T100" fmla="*/ 45 w 642"/>
              <a:gd name="T101" fmla="*/ 26 h 708"/>
              <a:gd name="T102" fmla="*/ 50 w 642"/>
              <a:gd name="T103" fmla="*/ 37 h 708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642"/>
              <a:gd name="T157" fmla="*/ 0 h 708"/>
              <a:gd name="T158" fmla="*/ 642 w 642"/>
              <a:gd name="T159" fmla="*/ 708 h 708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642" h="708">
                <a:moveTo>
                  <a:pt x="576" y="468"/>
                </a:moveTo>
                <a:lnTo>
                  <a:pt x="564" y="468"/>
                </a:lnTo>
                <a:lnTo>
                  <a:pt x="516" y="468"/>
                </a:lnTo>
                <a:lnTo>
                  <a:pt x="498" y="474"/>
                </a:lnTo>
                <a:lnTo>
                  <a:pt x="492" y="468"/>
                </a:lnTo>
                <a:lnTo>
                  <a:pt x="486" y="468"/>
                </a:lnTo>
                <a:lnTo>
                  <a:pt x="480" y="468"/>
                </a:lnTo>
                <a:lnTo>
                  <a:pt x="468" y="474"/>
                </a:lnTo>
                <a:lnTo>
                  <a:pt x="456" y="468"/>
                </a:lnTo>
                <a:lnTo>
                  <a:pt x="444" y="474"/>
                </a:lnTo>
                <a:lnTo>
                  <a:pt x="438" y="492"/>
                </a:lnTo>
                <a:lnTo>
                  <a:pt x="438" y="504"/>
                </a:lnTo>
                <a:lnTo>
                  <a:pt x="432" y="516"/>
                </a:lnTo>
                <a:lnTo>
                  <a:pt x="432" y="528"/>
                </a:lnTo>
                <a:lnTo>
                  <a:pt x="432" y="534"/>
                </a:lnTo>
                <a:lnTo>
                  <a:pt x="444" y="540"/>
                </a:lnTo>
                <a:lnTo>
                  <a:pt x="444" y="546"/>
                </a:lnTo>
                <a:lnTo>
                  <a:pt x="438" y="546"/>
                </a:lnTo>
                <a:lnTo>
                  <a:pt x="432" y="552"/>
                </a:lnTo>
                <a:lnTo>
                  <a:pt x="432" y="558"/>
                </a:lnTo>
                <a:lnTo>
                  <a:pt x="438" y="564"/>
                </a:lnTo>
                <a:lnTo>
                  <a:pt x="444" y="564"/>
                </a:lnTo>
                <a:lnTo>
                  <a:pt x="438" y="564"/>
                </a:lnTo>
                <a:lnTo>
                  <a:pt x="438" y="570"/>
                </a:lnTo>
                <a:lnTo>
                  <a:pt x="432" y="570"/>
                </a:lnTo>
                <a:lnTo>
                  <a:pt x="432" y="576"/>
                </a:lnTo>
                <a:lnTo>
                  <a:pt x="426" y="588"/>
                </a:lnTo>
                <a:lnTo>
                  <a:pt x="420" y="594"/>
                </a:lnTo>
                <a:lnTo>
                  <a:pt x="420" y="600"/>
                </a:lnTo>
                <a:lnTo>
                  <a:pt x="414" y="600"/>
                </a:lnTo>
                <a:lnTo>
                  <a:pt x="414" y="606"/>
                </a:lnTo>
                <a:lnTo>
                  <a:pt x="408" y="606"/>
                </a:lnTo>
                <a:lnTo>
                  <a:pt x="408" y="612"/>
                </a:lnTo>
                <a:lnTo>
                  <a:pt x="402" y="612"/>
                </a:lnTo>
                <a:lnTo>
                  <a:pt x="396" y="612"/>
                </a:lnTo>
                <a:lnTo>
                  <a:pt x="390" y="612"/>
                </a:lnTo>
                <a:lnTo>
                  <a:pt x="390" y="618"/>
                </a:lnTo>
                <a:lnTo>
                  <a:pt x="384" y="618"/>
                </a:lnTo>
                <a:lnTo>
                  <a:pt x="378" y="618"/>
                </a:lnTo>
                <a:lnTo>
                  <a:pt x="378" y="624"/>
                </a:lnTo>
                <a:lnTo>
                  <a:pt x="384" y="630"/>
                </a:lnTo>
                <a:lnTo>
                  <a:pt x="384" y="636"/>
                </a:lnTo>
                <a:lnTo>
                  <a:pt x="378" y="630"/>
                </a:lnTo>
                <a:lnTo>
                  <a:pt x="372" y="636"/>
                </a:lnTo>
                <a:lnTo>
                  <a:pt x="372" y="642"/>
                </a:lnTo>
                <a:lnTo>
                  <a:pt x="366" y="642"/>
                </a:lnTo>
                <a:lnTo>
                  <a:pt x="360" y="654"/>
                </a:lnTo>
                <a:lnTo>
                  <a:pt x="354" y="666"/>
                </a:lnTo>
                <a:lnTo>
                  <a:pt x="354" y="672"/>
                </a:lnTo>
                <a:lnTo>
                  <a:pt x="354" y="678"/>
                </a:lnTo>
                <a:lnTo>
                  <a:pt x="354" y="684"/>
                </a:lnTo>
                <a:lnTo>
                  <a:pt x="348" y="678"/>
                </a:lnTo>
                <a:lnTo>
                  <a:pt x="324" y="678"/>
                </a:lnTo>
                <a:lnTo>
                  <a:pt x="306" y="678"/>
                </a:lnTo>
                <a:lnTo>
                  <a:pt x="294" y="678"/>
                </a:lnTo>
                <a:lnTo>
                  <a:pt x="288" y="684"/>
                </a:lnTo>
                <a:lnTo>
                  <a:pt x="276" y="690"/>
                </a:lnTo>
                <a:lnTo>
                  <a:pt x="270" y="696"/>
                </a:lnTo>
                <a:lnTo>
                  <a:pt x="264" y="696"/>
                </a:lnTo>
                <a:lnTo>
                  <a:pt x="258" y="696"/>
                </a:lnTo>
                <a:lnTo>
                  <a:pt x="252" y="696"/>
                </a:lnTo>
                <a:lnTo>
                  <a:pt x="252" y="690"/>
                </a:lnTo>
                <a:lnTo>
                  <a:pt x="246" y="690"/>
                </a:lnTo>
                <a:lnTo>
                  <a:pt x="234" y="690"/>
                </a:lnTo>
                <a:lnTo>
                  <a:pt x="222" y="696"/>
                </a:lnTo>
                <a:lnTo>
                  <a:pt x="216" y="708"/>
                </a:lnTo>
                <a:lnTo>
                  <a:pt x="210" y="702"/>
                </a:lnTo>
                <a:lnTo>
                  <a:pt x="198" y="696"/>
                </a:lnTo>
                <a:lnTo>
                  <a:pt x="198" y="690"/>
                </a:lnTo>
                <a:lnTo>
                  <a:pt x="198" y="684"/>
                </a:lnTo>
                <a:lnTo>
                  <a:pt x="198" y="678"/>
                </a:lnTo>
                <a:lnTo>
                  <a:pt x="198" y="672"/>
                </a:lnTo>
                <a:lnTo>
                  <a:pt x="198" y="654"/>
                </a:lnTo>
                <a:lnTo>
                  <a:pt x="192" y="654"/>
                </a:lnTo>
                <a:lnTo>
                  <a:pt x="174" y="648"/>
                </a:lnTo>
                <a:lnTo>
                  <a:pt x="162" y="642"/>
                </a:lnTo>
                <a:lnTo>
                  <a:pt x="156" y="636"/>
                </a:lnTo>
                <a:lnTo>
                  <a:pt x="132" y="642"/>
                </a:lnTo>
                <a:lnTo>
                  <a:pt x="120" y="654"/>
                </a:lnTo>
                <a:lnTo>
                  <a:pt x="108" y="660"/>
                </a:lnTo>
                <a:lnTo>
                  <a:pt x="102" y="666"/>
                </a:lnTo>
                <a:lnTo>
                  <a:pt x="84" y="666"/>
                </a:lnTo>
                <a:lnTo>
                  <a:pt x="84" y="630"/>
                </a:lnTo>
                <a:lnTo>
                  <a:pt x="78" y="594"/>
                </a:lnTo>
                <a:lnTo>
                  <a:pt x="66" y="594"/>
                </a:lnTo>
                <a:lnTo>
                  <a:pt x="60" y="594"/>
                </a:lnTo>
                <a:lnTo>
                  <a:pt x="48" y="600"/>
                </a:lnTo>
                <a:lnTo>
                  <a:pt x="36" y="606"/>
                </a:lnTo>
                <a:lnTo>
                  <a:pt x="24" y="612"/>
                </a:lnTo>
                <a:lnTo>
                  <a:pt x="18" y="612"/>
                </a:lnTo>
                <a:lnTo>
                  <a:pt x="12" y="606"/>
                </a:lnTo>
                <a:lnTo>
                  <a:pt x="12" y="600"/>
                </a:lnTo>
                <a:lnTo>
                  <a:pt x="12" y="594"/>
                </a:lnTo>
                <a:lnTo>
                  <a:pt x="12" y="588"/>
                </a:lnTo>
                <a:lnTo>
                  <a:pt x="12" y="582"/>
                </a:lnTo>
                <a:lnTo>
                  <a:pt x="12" y="576"/>
                </a:lnTo>
                <a:lnTo>
                  <a:pt x="18" y="552"/>
                </a:lnTo>
                <a:lnTo>
                  <a:pt x="30" y="552"/>
                </a:lnTo>
                <a:lnTo>
                  <a:pt x="30" y="540"/>
                </a:lnTo>
                <a:lnTo>
                  <a:pt x="42" y="534"/>
                </a:lnTo>
                <a:lnTo>
                  <a:pt x="42" y="522"/>
                </a:lnTo>
                <a:lnTo>
                  <a:pt x="48" y="516"/>
                </a:lnTo>
                <a:lnTo>
                  <a:pt x="48" y="492"/>
                </a:lnTo>
                <a:lnTo>
                  <a:pt x="48" y="480"/>
                </a:lnTo>
                <a:lnTo>
                  <a:pt x="54" y="468"/>
                </a:lnTo>
                <a:lnTo>
                  <a:pt x="48" y="456"/>
                </a:lnTo>
                <a:lnTo>
                  <a:pt x="48" y="450"/>
                </a:lnTo>
                <a:lnTo>
                  <a:pt x="48" y="444"/>
                </a:lnTo>
                <a:lnTo>
                  <a:pt x="48" y="438"/>
                </a:lnTo>
                <a:lnTo>
                  <a:pt x="54" y="432"/>
                </a:lnTo>
                <a:lnTo>
                  <a:pt x="54" y="426"/>
                </a:lnTo>
                <a:lnTo>
                  <a:pt x="54" y="420"/>
                </a:lnTo>
                <a:lnTo>
                  <a:pt x="54" y="414"/>
                </a:lnTo>
                <a:lnTo>
                  <a:pt x="60" y="408"/>
                </a:lnTo>
                <a:lnTo>
                  <a:pt x="60" y="402"/>
                </a:lnTo>
                <a:lnTo>
                  <a:pt x="60" y="396"/>
                </a:lnTo>
                <a:lnTo>
                  <a:pt x="66" y="390"/>
                </a:lnTo>
                <a:lnTo>
                  <a:pt x="72" y="384"/>
                </a:lnTo>
                <a:lnTo>
                  <a:pt x="72" y="378"/>
                </a:lnTo>
                <a:lnTo>
                  <a:pt x="66" y="378"/>
                </a:lnTo>
                <a:lnTo>
                  <a:pt x="66" y="366"/>
                </a:lnTo>
                <a:lnTo>
                  <a:pt x="60" y="360"/>
                </a:lnTo>
                <a:lnTo>
                  <a:pt x="66" y="354"/>
                </a:lnTo>
                <a:lnTo>
                  <a:pt x="60" y="342"/>
                </a:lnTo>
                <a:lnTo>
                  <a:pt x="60" y="336"/>
                </a:lnTo>
                <a:lnTo>
                  <a:pt x="60" y="330"/>
                </a:lnTo>
                <a:lnTo>
                  <a:pt x="54" y="330"/>
                </a:lnTo>
                <a:lnTo>
                  <a:pt x="54" y="324"/>
                </a:lnTo>
                <a:lnTo>
                  <a:pt x="54" y="318"/>
                </a:lnTo>
                <a:lnTo>
                  <a:pt x="48" y="318"/>
                </a:lnTo>
                <a:lnTo>
                  <a:pt x="48" y="312"/>
                </a:lnTo>
                <a:lnTo>
                  <a:pt x="30" y="312"/>
                </a:lnTo>
                <a:lnTo>
                  <a:pt x="24" y="306"/>
                </a:lnTo>
                <a:lnTo>
                  <a:pt x="18" y="306"/>
                </a:lnTo>
                <a:lnTo>
                  <a:pt x="12" y="294"/>
                </a:lnTo>
                <a:lnTo>
                  <a:pt x="12" y="282"/>
                </a:lnTo>
                <a:lnTo>
                  <a:pt x="6" y="276"/>
                </a:lnTo>
                <a:lnTo>
                  <a:pt x="0" y="276"/>
                </a:lnTo>
                <a:lnTo>
                  <a:pt x="0" y="270"/>
                </a:lnTo>
                <a:lnTo>
                  <a:pt x="12" y="270"/>
                </a:lnTo>
                <a:lnTo>
                  <a:pt x="12" y="246"/>
                </a:lnTo>
                <a:lnTo>
                  <a:pt x="12" y="240"/>
                </a:lnTo>
                <a:lnTo>
                  <a:pt x="6" y="234"/>
                </a:lnTo>
                <a:lnTo>
                  <a:pt x="6" y="228"/>
                </a:lnTo>
                <a:lnTo>
                  <a:pt x="12" y="228"/>
                </a:lnTo>
                <a:lnTo>
                  <a:pt x="12" y="222"/>
                </a:lnTo>
                <a:lnTo>
                  <a:pt x="6" y="210"/>
                </a:lnTo>
                <a:lnTo>
                  <a:pt x="12" y="204"/>
                </a:lnTo>
                <a:lnTo>
                  <a:pt x="12" y="198"/>
                </a:lnTo>
                <a:lnTo>
                  <a:pt x="12" y="186"/>
                </a:lnTo>
                <a:lnTo>
                  <a:pt x="18" y="174"/>
                </a:lnTo>
                <a:lnTo>
                  <a:pt x="12" y="168"/>
                </a:lnTo>
                <a:lnTo>
                  <a:pt x="18" y="162"/>
                </a:lnTo>
                <a:lnTo>
                  <a:pt x="18" y="156"/>
                </a:lnTo>
                <a:lnTo>
                  <a:pt x="24" y="156"/>
                </a:lnTo>
                <a:lnTo>
                  <a:pt x="24" y="162"/>
                </a:lnTo>
                <a:lnTo>
                  <a:pt x="30" y="168"/>
                </a:lnTo>
                <a:lnTo>
                  <a:pt x="48" y="162"/>
                </a:lnTo>
                <a:lnTo>
                  <a:pt x="72" y="162"/>
                </a:lnTo>
                <a:lnTo>
                  <a:pt x="90" y="156"/>
                </a:lnTo>
                <a:lnTo>
                  <a:pt x="90" y="150"/>
                </a:lnTo>
                <a:lnTo>
                  <a:pt x="84" y="144"/>
                </a:lnTo>
                <a:lnTo>
                  <a:pt x="84" y="132"/>
                </a:lnTo>
                <a:lnTo>
                  <a:pt x="90" y="120"/>
                </a:lnTo>
                <a:lnTo>
                  <a:pt x="108" y="114"/>
                </a:lnTo>
                <a:lnTo>
                  <a:pt x="114" y="102"/>
                </a:lnTo>
                <a:lnTo>
                  <a:pt x="120" y="90"/>
                </a:lnTo>
                <a:lnTo>
                  <a:pt x="138" y="90"/>
                </a:lnTo>
                <a:lnTo>
                  <a:pt x="138" y="102"/>
                </a:lnTo>
                <a:lnTo>
                  <a:pt x="168" y="108"/>
                </a:lnTo>
                <a:lnTo>
                  <a:pt x="168" y="114"/>
                </a:lnTo>
                <a:lnTo>
                  <a:pt x="174" y="126"/>
                </a:lnTo>
                <a:lnTo>
                  <a:pt x="186" y="150"/>
                </a:lnTo>
                <a:lnTo>
                  <a:pt x="186" y="162"/>
                </a:lnTo>
                <a:lnTo>
                  <a:pt x="204" y="162"/>
                </a:lnTo>
                <a:lnTo>
                  <a:pt x="204" y="156"/>
                </a:lnTo>
                <a:lnTo>
                  <a:pt x="210" y="144"/>
                </a:lnTo>
                <a:lnTo>
                  <a:pt x="210" y="138"/>
                </a:lnTo>
                <a:lnTo>
                  <a:pt x="216" y="138"/>
                </a:lnTo>
                <a:lnTo>
                  <a:pt x="222" y="138"/>
                </a:lnTo>
                <a:lnTo>
                  <a:pt x="228" y="138"/>
                </a:lnTo>
                <a:lnTo>
                  <a:pt x="234" y="144"/>
                </a:lnTo>
                <a:lnTo>
                  <a:pt x="240" y="138"/>
                </a:lnTo>
                <a:lnTo>
                  <a:pt x="240" y="126"/>
                </a:lnTo>
                <a:lnTo>
                  <a:pt x="234" y="126"/>
                </a:lnTo>
                <a:lnTo>
                  <a:pt x="228" y="114"/>
                </a:lnTo>
                <a:lnTo>
                  <a:pt x="228" y="108"/>
                </a:lnTo>
                <a:lnTo>
                  <a:pt x="234" y="102"/>
                </a:lnTo>
                <a:lnTo>
                  <a:pt x="246" y="102"/>
                </a:lnTo>
                <a:lnTo>
                  <a:pt x="246" y="108"/>
                </a:lnTo>
                <a:lnTo>
                  <a:pt x="252" y="108"/>
                </a:lnTo>
                <a:lnTo>
                  <a:pt x="264" y="108"/>
                </a:lnTo>
                <a:lnTo>
                  <a:pt x="270" y="108"/>
                </a:lnTo>
                <a:lnTo>
                  <a:pt x="276" y="108"/>
                </a:lnTo>
                <a:lnTo>
                  <a:pt x="282" y="102"/>
                </a:lnTo>
                <a:lnTo>
                  <a:pt x="288" y="102"/>
                </a:lnTo>
                <a:lnTo>
                  <a:pt x="294" y="102"/>
                </a:lnTo>
                <a:lnTo>
                  <a:pt x="300" y="96"/>
                </a:lnTo>
                <a:lnTo>
                  <a:pt x="306" y="96"/>
                </a:lnTo>
                <a:lnTo>
                  <a:pt x="306" y="90"/>
                </a:lnTo>
                <a:lnTo>
                  <a:pt x="312" y="90"/>
                </a:lnTo>
                <a:lnTo>
                  <a:pt x="318" y="84"/>
                </a:lnTo>
                <a:lnTo>
                  <a:pt x="324" y="18"/>
                </a:lnTo>
                <a:lnTo>
                  <a:pt x="360" y="18"/>
                </a:lnTo>
                <a:lnTo>
                  <a:pt x="378" y="18"/>
                </a:lnTo>
                <a:lnTo>
                  <a:pt x="378" y="30"/>
                </a:lnTo>
                <a:lnTo>
                  <a:pt x="390" y="30"/>
                </a:lnTo>
                <a:lnTo>
                  <a:pt x="432" y="30"/>
                </a:lnTo>
                <a:lnTo>
                  <a:pt x="456" y="24"/>
                </a:lnTo>
                <a:lnTo>
                  <a:pt x="480" y="24"/>
                </a:lnTo>
                <a:lnTo>
                  <a:pt x="498" y="30"/>
                </a:lnTo>
                <a:lnTo>
                  <a:pt x="522" y="18"/>
                </a:lnTo>
                <a:lnTo>
                  <a:pt x="528" y="0"/>
                </a:lnTo>
                <a:lnTo>
                  <a:pt x="558" y="6"/>
                </a:lnTo>
                <a:lnTo>
                  <a:pt x="558" y="12"/>
                </a:lnTo>
                <a:lnTo>
                  <a:pt x="570" y="18"/>
                </a:lnTo>
                <a:lnTo>
                  <a:pt x="576" y="24"/>
                </a:lnTo>
                <a:lnTo>
                  <a:pt x="588" y="36"/>
                </a:lnTo>
                <a:lnTo>
                  <a:pt x="594" y="48"/>
                </a:lnTo>
                <a:lnTo>
                  <a:pt x="606" y="48"/>
                </a:lnTo>
                <a:lnTo>
                  <a:pt x="606" y="42"/>
                </a:lnTo>
                <a:lnTo>
                  <a:pt x="618" y="36"/>
                </a:lnTo>
                <a:lnTo>
                  <a:pt x="624" y="36"/>
                </a:lnTo>
                <a:lnTo>
                  <a:pt x="630" y="42"/>
                </a:lnTo>
                <a:lnTo>
                  <a:pt x="636" y="42"/>
                </a:lnTo>
                <a:lnTo>
                  <a:pt x="636" y="48"/>
                </a:lnTo>
                <a:lnTo>
                  <a:pt x="642" y="54"/>
                </a:lnTo>
                <a:lnTo>
                  <a:pt x="636" y="60"/>
                </a:lnTo>
                <a:lnTo>
                  <a:pt x="636" y="66"/>
                </a:lnTo>
                <a:lnTo>
                  <a:pt x="636" y="78"/>
                </a:lnTo>
                <a:lnTo>
                  <a:pt x="624" y="84"/>
                </a:lnTo>
                <a:lnTo>
                  <a:pt x="618" y="90"/>
                </a:lnTo>
                <a:lnTo>
                  <a:pt x="612" y="90"/>
                </a:lnTo>
                <a:lnTo>
                  <a:pt x="600" y="102"/>
                </a:lnTo>
                <a:lnTo>
                  <a:pt x="594" y="108"/>
                </a:lnTo>
                <a:lnTo>
                  <a:pt x="582" y="114"/>
                </a:lnTo>
                <a:lnTo>
                  <a:pt x="570" y="132"/>
                </a:lnTo>
                <a:lnTo>
                  <a:pt x="564" y="132"/>
                </a:lnTo>
                <a:lnTo>
                  <a:pt x="564" y="138"/>
                </a:lnTo>
                <a:lnTo>
                  <a:pt x="558" y="144"/>
                </a:lnTo>
                <a:lnTo>
                  <a:pt x="558" y="150"/>
                </a:lnTo>
                <a:lnTo>
                  <a:pt x="552" y="150"/>
                </a:lnTo>
                <a:lnTo>
                  <a:pt x="546" y="156"/>
                </a:lnTo>
                <a:lnTo>
                  <a:pt x="546" y="162"/>
                </a:lnTo>
                <a:lnTo>
                  <a:pt x="540" y="162"/>
                </a:lnTo>
                <a:lnTo>
                  <a:pt x="534" y="168"/>
                </a:lnTo>
                <a:lnTo>
                  <a:pt x="534" y="174"/>
                </a:lnTo>
                <a:lnTo>
                  <a:pt x="534" y="180"/>
                </a:lnTo>
                <a:lnTo>
                  <a:pt x="540" y="186"/>
                </a:lnTo>
                <a:lnTo>
                  <a:pt x="540" y="198"/>
                </a:lnTo>
                <a:lnTo>
                  <a:pt x="540" y="210"/>
                </a:lnTo>
                <a:lnTo>
                  <a:pt x="528" y="234"/>
                </a:lnTo>
                <a:lnTo>
                  <a:pt x="528" y="246"/>
                </a:lnTo>
                <a:lnTo>
                  <a:pt x="528" y="252"/>
                </a:lnTo>
                <a:lnTo>
                  <a:pt x="516" y="294"/>
                </a:lnTo>
                <a:lnTo>
                  <a:pt x="516" y="312"/>
                </a:lnTo>
                <a:lnTo>
                  <a:pt x="528" y="318"/>
                </a:lnTo>
                <a:lnTo>
                  <a:pt x="540" y="360"/>
                </a:lnTo>
                <a:lnTo>
                  <a:pt x="558" y="408"/>
                </a:lnTo>
                <a:lnTo>
                  <a:pt x="570" y="426"/>
                </a:lnTo>
                <a:lnTo>
                  <a:pt x="576" y="432"/>
                </a:lnTo>
                <a:lnTo>
                  <a:pt x="576" y="438"/>
                </a:lnTo>
                <a:lnTo>
                  <a:pt x="576" y="444"/>
                </a:lnTo>
                <a:lnTo>
                  <a:pt x="576" y="468"/>
                </a:lnTo>
                <a:close/>
              </a:path>
            </a:pathLst>
          </a:custGeom>
          <a:noFill/>
          <a:ln w="9525" cap="flat" cmpd="sng">
            <a:solidFill>
              <a:schemeClr val="bg1">
                <a:lumMod val="8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72" name="Freeform 28">
            <a:extLst>
              <a:ext uri="{FF2B5EF4-FFF2-40B4-BE49-F238E27FC236}">
                <a16:creationId xmlns:a16="http://schemas.microsoft.com/office/drawing/2014/main" id="{39A120E7-9B5E-4B0E-A8E7-DDB36CE74490}"/>
              </a:ext>
            </a:extLst>
          </p:cNvPr>
          <p:cNvSpPr>
            <a:spLocks/>
          </p:cNvSpPr>
          <p:nvPr/>
        </p:nvSpPr>
        <p:spPr bwMode="gray">
          <a:xfrm>
            <a:off x="3677094" y="4174676"/>
            <a:ext cx="350195" cy="296731"/>
          </a:xfrm>
          <a:custGeom>
            <a:avLst/>
            <a:gdLst>
              <a:gd name="T0" fmla="*/ 5 w 606"/>
              <a:gd name="T1" fmla="*/ 36 h 510"/>
              <a:gd name="T2" fmla="*/ 4 w 606"/>
              <a:gd name="T3" fmla="*/ 34 h 510"/>
              <a:gd name="T4" fmla="*/ 0 w 606"/>
              <a:gd name="T5" fmla="*/ 25 h 510"/>
              <a:gd name="T6" fmla="*/ 1 w 606"/>
              <a:gd name="T7" fmla="*/ 20 h 510"/>
              <a:gd name="T8" fmla="*/ 2 w 606"/>
              <a:gd name="T9" fmla="*/ 15 h 510"/>
              <a:gd name="T10" fmla="*/ 2 w 606"/>
              <a:gd name="T11" fmla="*/ 13 h 510"/>
              <a:gd name="T12" fmla="*/ 3 w 606"/>
              <a:gd name="T13" fmla="*/ 12 h 510"/>
              <a:gd name="T14" fmla="*/ 4 w 606"/>
              <a:gd name="T15" fmla="*/ 11 h 510"/>
              <a:gd name="T16" fmla="*/ 4 w 606"/>
              <a:gd name="T17" fmla="*/ 10 h 510"/>
              <a:gd name="T18" fmla="*/ 7 w 606"/>
              <a:gd name="T19" fmla="*/ 8 h 510"/>
              <a:gd name="T20" fmla="*/ 9 w 606"/>
              <a:gd name="T21" fmla="*/ 6 h 510"/>
              <a:gd name="T22" fmla="*/ 11 w 606"/>
              <a:gd name="T23" fmla="*/ 4 h 510"/>
              <a:gd name="T24" fmla="*/ 12 w 606"/>
              <a:gd name="T25" fmla="*/ 3 h 510"/>
              <a:gd name="T26" fmla="*/ 13 w 606"/>
              <a:gd name="T27" fmla="*/ 4 h 510"/>
              <a:gd name="T28" fmla="*/ 15 w 606"/>
              <a:gd name="T29" fmla="*/ 2 h 510"/>
              <a:gd name="T30" fmla="*/ 17 w 606"/>
              <a:gd name="T31" fmla="*/ 2 h 510"/>
              <a:gd name="T32" fmla="*/ 19 w 606"/>
              <a:gd name="T33" fmla="*/ 5 h 510"/>
              <a:gd name="T34" fmla="*/ 22 w 606"/>
              <a:gd name="T35" fmla="*/ 5 h 510"/>
              <a:gd name="T36" fmla="*/ 25 w 606"/>
              <a:gd name="T37" fmla="*/ 6 h 510"/>
              <a:gd name="T38" fmla="*/ 29 w 606"/>
              <a:gd name="T39" fmla="*/ 1 h 510"/>
              <a:gd name="T40" fmla="*/ 38 w 606"/>
              <a:gd name="T41" fmla="*/ 0 h 510"/>
              <a:gd name="T42" fmla="*/ 38 w 606"/>
              <a:gd name="T43" fmla="*/ 5 h 510"/>
              <a:gd name="T44" fmla="*/ 41 w 606"/>
              <a:gd name="T45" fmla="*/ 4 h 510"/>
              <a:gd name="T46" fmla="*/ 45 w 606"/>
              <a:gd name="T47" fmla="*/ 2 h 510"/>
              <a:gd name="T48" fmla="*/ 46 w 606"/>
              <a:gd name="T49" fmla="*/ 2 h 510"/>
              <a:gd name="T50" fmla="*/ 47 w 606"/>
              <a:gd name="T51" fmla="*/ 5 h 510"/>
              <a:gd name="T52" fmla="*/ 45 w 606"/>
              <a:gd name="T53" fmla="*/ 6 h 510"/>
              <a:gd name="T54" fmla="*/ 45 w 606"/>
              <a:gd name="T55" fmla="*/ 7 h 510"/>
              <a:gd name="T56" fmla="*/ 43 w 606"/>
              <a:gd name="T57" fmla="*/ 8 h 510"/>
              <a:gd name="T58" fmla="*/ 45 w 606"/>
              <a:gd name="T59" fmla="*/ 15 h 510"/>
              <a:gd name="T60" fmla="*/ 49 w 606"/>
              <a:gd name="T61" fmla="*/ 15 h 510"/>
              <a:gd name="T62" fmla="*/ 51 w 606"/>
              <a:gd name="T63" fmla="*/ 15 h 510"/>
              <a:gd name="T64" fmla="*/ 53 w 606"/>
              <a:gd name="T65" fmla="*/ 16 h 510"/>
              <a:gd name="T66" fmla="*/ 52 w 606"/>
              <a:gd name="T67" fmla="*/ 20 h 510"/>
              <a:gd name="T68" fmla="*/ 48 w 606"/>
              <a:gd name="T69" fmla="*/ 23 h 510"/>
              <a:gd name="T70" fmla="*/ 45 w 606"/>
              <a:gd name="T71" fmla="*/ 25 h 510"/>
              <a:gd name="T72" fmla="*/ 44 w 606"/>
              <a:gd name="T73" fmla="*/ 28 h 510"/>
              <a:gd name="T74" fmla="*/ 43 w 606"/>
              <a:gd name="T75" fmla="*/ 33 h 510"/>
              <a:gd name="T76" fmla="*/ 39 w 606"/>
              <a:gd name="T77" fmla="*/ 38 h 510"/>
              <a:gd name="T78" fmla="*/ 37 w 606"/>
              <a:gd name="T79" fmla="*/ 41 h 510"/>
              <a:gd name="T80" fmla="*/ 31 w 606"/>
              <a:gd name="T81" fmla="*/ 44 h 510"/>
              <a:gd name="T82" fmla="*/ 28 w 606"/>
              <a:gd name="T83" fmla="*/ 43 h 510"/>
              <a:gd name="T84" fmla="*/ 28 w 606"/>
              <a:gd name="T85" fmla="*/ 41 h 510"/>
              <a:gd name="T86" fmla="*/ 28 w 606"/>
              <a:gd name="T87" fmla="*/ 40 h 510"/>
              <a:gd name="T88" fmla="*/ 27 w 606"/>
              <a:gd name="T89" fmla="*/ 38 h 510"/>
              <a:gd name="T90" fmla="*/ 27 w 606"/>
              <a:gd name="T91" fmla="*/ 36 h 510"/>
              <a:gd name="T92" fmla="*/ 24 w 606"/>
              <a:gd name="T93" fmla="*/ 35 h 510"/>
              <a:gd name="T94" fmla="*/ 16 w 606"/>
              <a:gd name="T95" fmla="*/ 34 h 510"/>
              <a:gd name="T96" fmla="*/ 13 w 606"/>
              <a:gd name="T97" fmla="*/ 34 h 510"/>
              <a:gd name="T98" fmla="*/ 9 w 606"/>
              <a:gd name="T99" fmla="*/ 36 h 510"/>
              <a:gd name="T100" fmla="*/ 8 w 606"/>
              <a:gd name="T101" fmla="*/ 38 h 510"/>
              <a:gd name="T102" fmla="*/ 7 w 606"/>
              <a:gd name="T103" fmla="*/ 39 h 510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606"/>
              <a:gd name="T157" fmla="*/ 0 h 510"/>
              <a:gd name="T158" fmla="*/ 606 w 606"/>
              <a:gd name="T159" fmla="*/ 510 h 510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606" h="510">
                <a:moveTo>
                  <a:pt x="60" y="450"/>
                </a:moveTo>
                <a:lnTo>
                  <a:pt x="60" y="426"/>
                </a:lnTo>
                <a:lnTo>
                  <a:pt x="60" y="420"/>
                </a:lnTo>
                <a:lnTo>
                  <a:pt x="60" y="414"/>
                </a:lnTo>
                <a:lnTo>
                  <a:pt x="54" y="408"/>
                </a:lnTo>
                <a:lnTo>
                  <a:pt x="42" y="390"/>
                </a:lnTo>
                <a:lnTo>
                  <a:pt x="24" y="342"/>
                </a:lnTo>
                <a:lnTo>
                  <a:pt x="12" y="300"/>
                </a:lnTo>
                <a:lnTo>
                  <a:pt x="0" y="294"/>
                </a:lnTo>
                <a:lnTo>
                  <a:pt x="0" y="276"/>
                </a:lnTo>
                <a:lnTo>
                  <a:pt x="12" y="234"/>
                </a:lnTo>
                <a:lnTo>
                  <a:pt x="12" y="228"/>
                </a:lnTo>
                <a:lnTo>
                  <a:pt x="12" y="216"/>
                </a:lnTo>
                <a:lnTo>
                  <a:pt x="24" y="192"/>
                </a:lnTo>
                <a:lnTo>
                  <a:pt x="24" y="180"/>
                </a:lnTo>
                <a:lnTo>
                  <a:pt x="24" y="168"/>
                </a:lnTo>
                <a:lnTo>
                  <a:pt x="18" y="162"/>
                </a:lnTo>
                <a:lnTo>
                  <a:pt x="18" y="156"/>
                </a:lnTo>
                <a:lnTo>
                  <a:pt x="18" y="150"/>
                </a:lnTo>
                <a:lnTo>
                  <a:pt x="24" y="144"/>
                </a:lnTo>
                <a:lnTo>
                  <a:pt x="30" y="144"/>
                </a:lnTo>
                <a:lnTo>
                  <a:pt x="30" y="138"/>
                </a:lnTo>
                <a:lnTo>
                  <a:pt x="36" y="132"/>
                </a:lnTo>
                <a:lnTo>
                  <a:pt x="42" y="132"/>
                </a:lnTo>
                <a:lnTo>
                  <a:pt x="42" y="126"/>
                </a:lnTo>
                <a:lnTo>
                  <a:pt x="48" y="120"/>
                </a:lnTo>
                <a:lnTo>
                  <a:pt x="48" y="114"/>
                </a:lnTo>
                <a:lnTo>
                  <a:pt x="54" y="114"/>
                </a:lnTo>
                <a:lnTo>
                  <a:pt x="66" y="96"/>
                </a:lnTo>
                <a:lnTo>
                  <a:pt x="78" y="90"/>
                </a:lnTo>
                <a:lnTo>
                  <a:pt x="84" y="84"/>
                </a:lnTo>
                <a:lnTo>
                  <a:pt x="96" y="72"/>
                </a:lnTo>
                <a:lnTo>
                  <a:pt x="102" y="72"/>
                </a:lnTo>
                <a:lnTo>
                  <a:pt x="108" y="66"/>
                </a:lnTo>
                <a:lnTo>
                  <a:pt x="120" y="60"/>
                </a:lnTo>
                <a:lnTo>
                  <a:pt x="120" y="48"/>
                </a:lnTo>
                <a:lnTo>
                  <a:pt x="120" y="42"/>
                </a:lnTo>
                <a:lnTo>
                  <a:pt x="126" y="36"/>
                </a:lnTo>
                <a:lnTo>
                  <a:pt x="138" y="36"/>
                </a:lnTo>
                <a:lnTo>
                  <a:pt x="138" y="42"/>
                </a:lnTo>
                <a:lnTo>
                  <a:pt x="144" y="48"/>
                </a:lnTo>
                <a:lnTo>
                  <a:pt x="150" y="48"/>
                </a:lnTo>
                <a:lnTo>
                  <a:pt x="162" y="36"/>
                </a:lnTo>
                <a:lnTo>
                  <a:pt x="162" y="30"/>
                </a:lnTo>
                <a:lnTo>
                  <a:pt x="168" y="24"/>
                </a:lnTo>
                <a:lnTo>
                  <a:pt x="180" y="24"/>
                </a:lnTo>
                <a:lnTo>
                  <a:pt x="192" y="24"/>
                </a:lnTo>
                <a:lnTo>
                  <a:pt x="198" y="24"/>
                </a:lnTo>
                <a:lnTo>
                  <a:pt x="210" y="30"/>
                </a:lnTo>
                <a:lnTo>
                  <a:pt x="216" y="30"/>
                </a:lnTo>
                <a:lnTo>
                  <a:pt x="210" y="54"/>
                </a:lnTo>
                <a:lnTo>
                  <a:pt x="216" y="60"/>
                </a:lnTo>
                <a:lnTo>
                  <a:pt x="222" y="60"/>
                </a:lnTo>
                <a:lnTo>
                  <a:pt x="246" y="60"/>
                </a:lnTo>
                <a:lnTo>
                  <a:pt x="252" y="66"/>
                </a:lnTo>
                <a:lnTo>
                  <a:pt x="258" y="66"/>
                </a:lnTo>
                <a:lnTo>
                  <a:pt x="276" y="66"/>
                </a:lnTo>
                <a:lnTo>
                  <a:pt x="312" y="66"/>
                </a:lnTo>
                <a:lnTo>
                  <a:pt x="318" y="60"/>
                </a:lnTo>
                <a:lnTo>
                  <a:pt x="330" y="12"/>
                </a:lnTo>
                <a:lnTo>
                  <a:pt x="414" y="6"/>
                </a:lnTo>
                <a:lnTo>
                  <a:pt x="420" y="0"/>
                </a:lnTo>
                <a:lnTo>
                  <a:pt x="426" y="6"/>
                </a:lnTo>
                <a:lnTo>
                  <a:pt x="426" y="12"/>
                </a:lnTo>
                <a:lnTo>
                  <a:pt x="426" y="54"/>
                </a:lnTo>
                <a:lnTo>
                  <a:pt x="432" y="54"/>
                </a:lnTo>
                <a:lnTo>
                  <a:pt x="444" y="54"/>
                </a:lnTo>
                <a:lnTo>
                  <a:pt x="450" y="42"/>
                </a:lnTo>
                <a:lnTo>
                  <a:pt x="462" y="42"/>
                </a:lnTo>
                <a:lnTo>
                  <a:pt x="468" y="36"/>
                </a:lnTo>
                <a:lnTo>
                  <a:pt x="486" y="24"/>
                </a:lnTo>
                <a:lnTo>
                  <a:pt x="504" y="18"/>
                </a:lnTo>
                <a:lnTo>
                  <a:pt x="510" y="12"/>
                </a:lnTo>
                <a:lnTo>
                  <a:pt x="516" y="18"/>
                </a:lnTo>
                <a:lnTo>
                  <a:pt x="522" y="24"/>
                </a:lnTo>
                <a:lnTo>
                  <a:pt x="510" y="30"/>
                </a:lnTo>
                <a:lnTo>
                  <a:pt x="516" y="48"/>
                </a:lnTo>
                <a:lnTo>
                  <a:pt x="528" y="54"/>
                </a:lnTo>
                <a:lnTo>
                  <a:pt x="522" y="60"/>
                </a:lnTo>
                <a:lnTo>
                  <a:pt x="516" y="66"/>
                </a:lnTo>
                <a:lnTo>
                  <a:pt x="516" y="72"/>
                </a:lnTo>
                <a:lnTo>
                  <a:pt x="510" y="72"/>
                </a:lnTo>
                <a:lnTo>
                  <a:pt x="510" y="78"/>
                </a:lnTo>
                <a:lnTo>
                  <a:pt x="510" y="84"/>
                </a:lnTo>
                <a:lnTo>
                  <a:pt x="510" y="90"/>
                </a:lnTo>
                <a:lnTo>
                  <a:pt x="504" y="90"/>
                </a:lnTo>
                <a:lnTo>
                  <a:pt x="486" y="90"/>
                </a:lnTo>
                <a:lnTo>
                  <a:pt x="492" y="138"/>
                </a:lnTo>
                <a:lnTo>
                  <a:pt x="498" y="168"/>
                </a:lnTo>
                <a:lnTo>
                  <a:pt x="516" y="168"/>
                </a:lnTo>
                <a:lnTo>
                  <a:pt x="528" y="174"/>
                </a:lnTo>
                <a:lnTo>
                  <a:pt x="534" y="168"/>
                </a:lnTo>
                <a:lnTo>
                  <a:pt x="558" y="174"/>
                </a:lnTo>
                <a:lnTo>
                  <a:pt x="564" y="168"/>
                </a:lnTo>
                <a:lnTo>
                  <a:pt x="570" y="168"/>
                </a:lnTo>
                <a:lnTo>
                  <a:pt x="576" y="174"/>
                </a:lnTo>
                <a:lnTo>
                  <a:pt x="588" y="168"/>
                </a:lnTo>
                <a:lnTo>
                  <a:pt x="594" y="168"/>
                </a:lnTo>
                <a:lnTo>
                  <a:pt x="594" y="186"/>
                </a:lnTo>
                <a:lnTo>
                  <a:pt x="606" y="198"/>
                </a:lnTo>
                <a:lnTo>
                  <a:pt x="600" y="210"/>
                </a:lnTo>
                <a:lnTo>
                  <a:pt x="588" y="234"/>
                </a:lnTo>
                <a:lnTo>
                  <a:pt x="564" y="246"/>
                </a:lnTo>
                <a:lnTo>
                  <a:pt x="546" y="258"/>
                </a:lnTo>
                <a:lnTo>
                  <a:pt x="540" y="270"/>
                </a:lnTo>
                <a:lnTo>
                  <a:pt x="534" y="294"/>
                </a:lnTo>
                <a:lnTo>
                  <a:pt x="528" y="300"/>
                </a:lnTo>
                <a:lnTo>
                  <a:pt x="516" y="294"/>
                </a:lnTo>
                <a:lnTo>
                  <a:pt x="510" y="300"/>
                </a:lnTo>
                <a:lnTo>
                  <a:pt x="498" y="318"/>
                </a:lnTo>
                <a:lnTo>
                  <a:pt x="492" y="324"/>
                </a:lnTo>
                <a:lnTo>
                  <a:pt x="486" y="336"/>
                </a:lnTo>
                <a:lnTo>
                  <a:pt x="486" y="354"/>
                </a:lnTo>
                <a:lnTo>
                  <a:pt x="486" y="384"/>
                </a:lnTo>
                <a:lnTo>
                  <a:pt x="474" y="408"/>
                </a:lnTo>
                <a:lnTo>
                  <a:pt x="450" y="426"/>
                </a:lnTo>
                <a:lnTo>
                  <a:pt x="444" y="444"/>
                </a:lnTo>
                <a:lnTo>
                  <a:pt x="426" y="474"/>
                </a:lnTo>
                <a:lnTo>
                  <a:pt x="420" y="486"/>
                </a:lnTo>
                <a:lnTo>
                  <a:pt x="414" y="486"/>
                </a:lnTo>
                <a:lnTo>
                  <a:pt x="414" y="498"/>
                </a:lnTo>
                <a:lnTo>
                  <a:pt x="378" y="504"/>
                </a:lnTo>
                <a:lnTo>
                  <a:pt x="348" y="510"/>
                </a:lnTo>
                <a:lnTo>
                  <a:pt x="330" y="510"/>
                </a:lnTo>
                <a:lnTo>
                  <a:pt x="324" y="504"/>
                </a:lnTo>
                <a:lnTo>
                  <a:pt x="318" y="504"/>
                </a:lnTo>
                <a:lnTo>
                  <a:pt x="312" y="504"/>
                </a:lnTo>
                <a:lnTo>
                  <a:pt x="312" y="498"/>
                </a:lnTo>
                <a:lnTo>
                  <a:pt x="312" y="486"/>
                </a:lnTo>
                <a:lnTo>
                  <a:pt x="312" y="480"/>
                </a:lnTo>
                <a:lnTo>
                  <a:pt x="318" y="468"/>
                </a:lnTo>
                <a:lnTo>
                  <a:pt x="318" y="462"/>
                </a:lnTo>
                <a:lnTo>
                  <a:pt x="312" y="456"/>
                </a:lnTo>
                <a:lnTo>
                  <a:pt x="312" y="450"/>
                </a:lnTo>
                <a:lnTo>
                  <a:pt x="306" y="444"/>
                </a:lnTo>
                <a:lnTo>
                  <a:pt x="306" y="438"/>
                </a:lnTo>
                <a:lnTo>
                  <a:pt x="300" y="426"/>
                </a:lnTo>
                <a:lnTo>
                  <a:pt x="300" y="420"/>
                </a:lnTo>
                <a:lnTo>
                  <a:pt x="294" y="414"/>
                </a:lnTo>
                <a:lnTo>
                  <a:pt x="294" y="408"/>
                </a:lnTo>
                <a:lnTo>
                  <a:pt x="270" y="408"/>
                </a:lnTo>
                <a:lnTo>
                  <a:pt x="246" y="408"/>
                </a:lnTo>
                <a:lnTo>
                  <a:pt x="222" y="408"/>
                </a:lnTo>
                <a:lnTo>
                  <a:pt x="180" y="402"/>
                </a:lnTo>
                <a:lnTo>
                  <a:pt x="180" y="396"/>
                </a:lnTo>
                <a:lnTo>
                  <a:pt x="156" y="402"/>
                </a:lnTo>
                <a:lnTo>
                  <a:pt x="144" y="396"/>
                </a:lnTo>
                <a:lnTo>
                  <a:pt x="126" y="396"/>
                </a:lnTo>
                <a:lnTo>
                  <a:pt x="108" y="408"/>
                </a:lnTo>
                <a:lnTo>
                  <a:pt x="102" y="414"/>
                </a:lnTo>
                <a:lnTo>
                  <a:pt x="102" y="420"/>
                </a:lnTo>
                <a:lnTo>
                  <a:pt x="96" y="426"/>
                </a:lnTo>
                <a:lnTo>
                  <a:pt x="96" y="438"/>
                </a:lnTo>
                <a:lnTo>
                  <a:pt x="90" y="444"/>
                </a:lnTo>
                <a:lnTo>
                  <a:pt x="90" y="450"/>
                </a:lnTo>
                <a:lnTo>
                  <a:pt x="78" y="450"/>
                </a:lnTo>
                <a:lnTo>
                  <a:pt x="60" y="450"/>
                </a:lnTo>
                <a:close/>
              </a:path>
            </a:pathLst>
          </a:cu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73" name="Freeform 29">
            <a:extLst>
              <a:ext uri="{FF2B5EF4-FFF2-40B4-BE49-F238E27FC236}">
                <a16:creationId xmlns:a16="http://schemas.microsoft.com/office/drawing/2014/main" id="{F23170C5-F6A7-40F3-8FFD-20730E943B4C}"/>
              </a:ext>
            </a:extLst>
          </p:cNvPr>
          <p:cNvSpPr>
            <a:spLocks/>
          </p:cNvSpPr>
          <p:nvPr/>
        </p:nvSpPr>
        <p:spPr bwMode="gray">
          <a:xfrm>
            <a:off x="3498374" y="4289928"/>
            <a:ext cx="603782" cy="703818"/>
          </a:xfrm>
          <a:custGeom>
            <a:avLst/>
            <a:gdLst>
              <a:gd name="T0" fmla="*/ 39 w 1056"/>
              <a:gd name="T1" fmla="*/ 94 h 1206"/>
              <a:gd name="T2" fmla="*/ 35 w 1056"/>
              <a:gd name="T3" fmla="*/ 103 h 1206"/>
              <a:gd name="T4" fmla="*/ 29 w 1056"/>
              <a:gd name="T5" fmla="*/ 99 h 1206"/>
              <a:gd name="T6" fmla="*/ 23 w 1056"/>
              <a:gd name="T7" fmla="*/ 94 h 1206"/>
              <a:gd name="T8" fmla="*/ 21 w 1056"/>
              <a:gd name="T9" fmla="*/ 91 h 1206"/>
              <a:gd name="T10" fmla="*/ 18 w 1056"/>
              <a:gd name="T11" fmla="*/ 89 h 1206"/>
              <a:gd name="T12" fmla="*/ 15 w 1056"/>
              <a:gd name="T13" fmla="*/ 86 h 1206"/>
              <a:gd name="T14" fmla="*/ 11 w 1056"/>
              <a:gd name="T15" fmla="*/ 83 h 1206"/>
              <a:gd name="T16" fmla="*/ 8 w 1056"/>
              <a:gd name="T17" fmla="*/ 81 h 1206"/>
              <a:gd name="T18" fmla="*/ 6 w 1056"/>
              <a:gd name="T19" fmla="*/ 79 h 1206"/>
              <a:gd name="T20" fmla="*/ 13 w 1056"/>
              <a:gd name="T21" fmla="*/ 78 h 1206"/>
              <a:gd name="T22" fmla="*/ 8 w 1056"/>
              <a:gd name="T23" fmla="*/ 75 h 1206"/>
              <a:gd name="T24" fmla="*/ 13 w 1056"/>
              <a:gd name="T25" fmla="*/ 71 h 1206"/>
              <a:gd name="T26" fmla="*/ 10 w 1056"/>
              <a:gd name="T27" fmla="*/ 63 h 1206"/>
              <a:gd name="T28" fmla="*/ 6 w 1056"/>
              <a:gd name="T29" fmla="*/ 66 h 1206"/>
              <a:gd name="T30" fmla="*/ 1 w 1056"/>
              <a:gd name="T31" fmla="*/ 63 h 1206"/>
              <a:gd name="T32" fmla="*/ 1 w 1056"/>
              <a:gd name="T33" fmla="*/ 59 h 1206"/>
              <a:gd name="T34" fmla="*/ 3 w 1056"/>
              <a:gd name="T35" fmla="*/ 57 h 1206"/>
              <a:gd name="T36" fmla="*/ 6 w 1056"/>
              <a:gd name="T37" fmla="*/ 55 h 1206"/>
              <a:gd name="T38" fmla="*/ 10 w 1056"/>
              <a:gd name="T39" fmla="*/ 51 h 1206"/>
              <a:gd name="T40" fmla="*/ 11 w 1056"/>
              <a:gd name="T41" fmla="*/ 46 h 1206"/>
              <a:gd name="T42" fmla="*/ 14 w 1056"/>
              <a:gd name="T43" fmla="*/ 42 h 1206"/>
              <a:gd name="T44" fmla="*/ 15 w 1056"/>
              <a:gd name="T45" fmla="*/ 36 h 1206"/>
              <a:gd name="T46" fmla="*/ 17 w 1056"/>
              <a:gd name="T47" fmla="*/ 34 h 1206"/>
              <a:gd name="T48" fmla="*/ 20 w 1056"/>
              <a:gd name="T49" fmla="*/ 31 h 1206"/>
              <a:gd name="T50" fmla="*/ 21 w 1056"/>
              <a:gd name="T51" fmla="*/ 29 h 1206"/>
              <a:gd name="T52" fmla="*/ 23 w 1056"/>
              <a:gd name="T53" fmla="*/ 22 h 1206"/>
              <a:gd name="T54" fmla="*/ 35 w 1056"/>
              <a:gd name="T55" fmla="*/ 22 h 1206"/>
              <a:gd name="T56" fmla="*/ 41 w 1056"/>
              <a:gd name="T57" fmla="*/ 18 h 1206"/>
              <a:gd name="T58" fmla="*/ 54 w 1056"/>
              <a:gd name="T59" fmla="*/ 20 h 1206"/>
              <a:gd name="T60" fmla="*/ 54 w 1056"/>
              <a:gd name="T61" fmla="*/ 26 h 1206"/>
              <a:gd name="T62" fmla="*/ 64 w 1056"/>
              <a:gd name="T63" fmla="*/ 25 h 1206"/>
              <a:gd name="T64" fmla="*/ 71 w 1056"/>
              <a:gd name="T65" fmla="*/ 10 h 1206"/>
              <a:gd name="T66" fmla="*/ 80 w 1056"/>
              <a:gd name="T67" fmla="*/ 1 h 1206"/>
              <a:gd name="T68" fmla="*/ 86 w 1056"/>
              <a:gd name="T69" fmla="*/ 2 h 1206"/>
              <a:gd name="T70" fmla="*/ 91 w 1056"/>
              <a:gd name="T71" fmla="*/ 13 h 1206"/>
              <a:gd name="T72" fmla="*/ 88 w 1056"/>
              <a:gd name="T73" fmla="*/ 17 h 1206"/>
              <a:gd name="T74" fmla="*/ 89 w 1056"/>
              <a:gd name="T75" fmla="*/ 21 h 1206"/>
              <a:gd name="T76" fmla="*/ 86 w 1056"/>
              <a:gd name="T77" fmla="*/ 25 h 1206"/>
              <a:gd name="T78" fmla="*/ 85 w 1056"/>
              <a:gd name="T79" fmla="*/ 31 h 1206"/>
              <a:gd name="T80" fmla="*/ 83 w 1056"/>
              <a:gd name="T81" fmla="*/ 36 h 1206"/>
              <a:gd name="T82" fmla="*/ 80 w 1056"/>
              <a:gd name="T83" fmla="*/ 42 h 1206"/>
              <a:gd name="T84" fmla="*/ 80 w 1056"/>
              <a:gd name="T85" fmla="*/ 47 h 1206"/>
              <a:gd name="T86" fmla="*/ 77 w 1056"/>
              <a:gd name="T87" fmla="*/ 55 h 1206"/>
              <a:gd name="T88" fmla="*/ 75 w 1056"/>
              <a:gd name="T89" fmla="*/ 57 h 1206"/>
              <a:gd name="T90" fmla="*/ 66 w 1056"/>
              <a:gd name="T91" fmla="*/ 57 h 1206"/>
              <a:gd name="T92" fmla="*/ 66 w 1056"/>
              <a:gd name="T93" fmla="*/ 51 h 1206"/>
              <a:gd name="T94" fmla="*/ 48 w 1056"/>
              <a:gd name="T95" fmla="*/ 50 h 1206"/>
              <a:gd name="T96" fmla="*/ 46 w 1056"/>
              <a:gd name="T97" fmla="*/ 55 h 1206"/>
              <a:gd name="T98" fmla="*/ 42 w 1056"/>
              <a:gd name="T99" fmla="*/ 59 h 1206"/>
              <a:gd name="T100" fmla="*/ 41 w 1056"/>
              <a:gd name="T101" fmla="*/ 62 h 1206"/>
              <a:gd name="T102" fmla="*/ 43 w 1056"/>
              <a:gd name="T103" fmla="*/ 67 h 1206"/>
              <a:gd name="T104" fmla="*/ 42 w 1056"/>
              <a:gd name="T105" fmla="*/ 72 h 1206"/>
              <a:gd name="T106" fmla="*/ 39 w 1056"/>
              <a:gd name="T107" fmla="*/ 77 h 1206"/>
              <a:gd name="T108" fmla="*/ 36 w 1056"/>
              <a:gd name="T109" fmla="*/ 80 h 1206"/>
              <a:gd name="T110" fmla="*/ 37 w 1056"/>
              <a:gd name="T111" fmla="*/ 83 h 1206"/>
              <a:gd name="T112" fmla="*/ 40 w 1056"/>
              <a:gd name="T113" fmla="*/ 87 h 1206"/>
              <a:gd name="T114" fmla="*/ 42 w 1056"/>
              <a:gd name="T115" fmla="*/ 89 h 120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056"/>
              <a:gd name="T175" fmla="*/ 0 h 1206"/>
              <a:gd name="T176" fmla="*/ 1056 w 1056"/>
              <a:gd name="T177" fmla="*/ 1206 h 120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056" h="1206">
                <a:moveTo>
                  <a:pt x="492" y="1032"/>
                </a:moveTo>
                <a:lnTo>
                  <a:pt x="486" y="1038"/>
                </a:lnTo>
                <a:lnTo>
                  <a:pt x="486" y="1044"/>
                </a:lnTo>
                <a:lnTo>
                  <a:pt x="480" y="1044"/>
                </a:lnTo>
                <a:lnTo>
                  <a:pt x="474" y="1056"/>
                </a:lnTo>
                <a:lnTo>
                  <a:pt x="462" y="1068"/>
                </a:lnTo>
                <a:lnTo>
                  <a:pt x="456" y="1080"/>
                </a:lnTo>
                <a:lnTo>
                  <a:pt x="450" y="1080"/>
                </a:lnTo>
                <a:lnTo>
                  <a:pt x="450" y="1086"/>
                </a:lnTo>
                <a:lnTo>
                  <a:pt x="450" y="1092"/>
                </a:lnTo>
                <a:lnTo>
                  <a:pt x="444" y="1104"/>
                </a:lnTo>
                <a:lnTo>
                  <a:pt x="444" y="1116"/>
                </a:lnTo>
                <a:lnTo>
                  <a:pt x="438" y="1128"/>
                </a:lnTo>
                <a:lnTo>
                  <a:pt x="432" y="1134"/>
                </a:lnTo>
                <a:lnTo>
                  <a:pt x="432" y="1140"/>
                </a:lnTo>
                <a:lnTo>
                  <a:pt x="420" y="1152"/>
                </a:lnTo>
                <a:lnTo>
                  <a:pt x="420" y="1158"/>
                </a:lnTo>
                <a:lnTo>
                  <a:pt x="408" y="1182"/>
                </a:lnTo>
                <a:lnTo>
                  <a:pt x="396" y="1194"/>
                </a:lnTo>
                <a:lnTo>
                  <a:pt x="390" y="1206"/>
                </a:lnTo>
                <a:lnTo>
                  <a:pt x="390" y="1200"/>
                </a:lnTo>
                <a:lnTo>
                  <a:pt x="384" y="1194"/>
                </a:lnTo>
                <a:lnTo>
                  <a:pt x="378" y="1188"/>
                </a:lnTo>
                <a:lnTo>
                  <a:pt x="366" y="1176"/>
                </a:lnTo>
                <a:lnTo>
                  <a:pt x="366" y="1170"/>
                </a:lnTo>
                <a:lnTo>
                  <a:pt x="348" y="1152"/>
                </a:lnTo>
                <a:lnTo>
                  <a:pt x="336" y="1140"/>
                </a:lnTo>
                <a:lnTo>
                  <a:pt x="330" y="1134"/>
                </a:lnTo>
                <a:lnTo>
                  <a:pt x="324" y="1128"/>
                </a:lnTo>
                <a:lnTo>
                  <a:pt x="318" y="1122"/>
                </a:lnTo>
                <a:lnTo>
                  <a:pt x="312" y="1116"/>
                </a:lnTo>
                <a:lnTo>
                  <a:pt x="306" y="1110"/>
                </a:lnTo>
                <a:lnTo>
                  <a:pt x="300" y="1104"/>
                </a:lnTo>
                <a:lnTo>
                  <a:pt x="294" y="1098"/>
                </a:lnTo>
                <a:lnTo>
                  <a:pt x="276" y="1080"/>
                </a:lnTo>
                <a:lnTo>
                  <a:pt x="270" y="1080"/>
                </a:lnTo>
                <a:lnTo>
                  <a:pt x="270" y="1074"/>
                </a:lnTo>
                <a:lnTo>
                  <a:pt x="264" y="1068"/>
                </a:lnTo>
                <a:lnTo>
                  <a:pt x="258" y="1062"/>
                </a:lnTo>
                <a:lnTo>
                  <a:pt x="252" y="1062"/>
                </a:lnTo>
                <a:lnTo>
                  <a:pt x="252" y="1056"/>
                </a:lnTo>
                <a:lnTo>
                  <a:pt x="252" y="1062"/>
                </a:lnTo>
                <a:lnTo>
                  <a:pt x="252" y="1056"/>
                </a:lnTo>
                <a:lnTo>
                  <a:pt x="246" y="1056"/>
                </a:lnTo>
                <a:lnTo>
                  <a:pt x="246" y="1050"/>
                </a:lnTo>
                <a:lnTo>
                  <a:pt x="240" y="1050"/>
                </a:lnTo>
                <a:lnTo>
                  <a:pt x="234" y="1044"/>
                </a:lnTo>
                <a:lnTo>
                  <a:pt x="228" y="1044"/>
                </a:lnTo>
                <a:lnTo>
                  <a:pt x="222" y="1038"/>
                </a:lnTo>
                <a:lnTo>
                  <a:pt x="222" y="1032"/>
                </a:lnTo>
                <a:lnTo>
                  <a:pt x="216" y="1032"/>
                </a:lnTo>
                <a:lnTo>
                  <a:pt x="216" y="1026"/>
                </a:lnTo>
                <a:lnTo>
                  <a:pt x="210" y="1026"/>
                </a:lnTo>
                <a:lnTo>
                  <a:pt x="204" y="1020"/>
                </a:lnTo>
                <a:lnTo>
                  <a:pt x="204" y="1014"/>
                </a:lnTo>
                <a:lnTo>
                  <a:pt x="198" y="1014"/>
                </a:lnTo>
                <a:lnTo>
                  <a:pt x="192" y="1014"/>
                </a:lnTo>
                <a:lnTo>
                  <a:pt x="192" y="1008"/>
                </a:lnTo>
                <a:lnTo>
                  <a:pt x="186" y="1008"/>
                </a:lnTo>
                <a:lnTo>
                  <a:pt x="186" y="1002"/>
                </a:lnTo>
                <a:lnTo>
                  <a:pt x="180" y="1002"/>
                </a:lnTo>
                <a:lnTo>
                  <a:pt x="174" y="996"/>
                </a:lnTo>
                <a:lnTo>
                  <a:pt x="168" y="996"/>
                </a:lnTo>
                <a:lnTo>
                  <a:pt x="168" y="990"/>
                </a:lnTo>
                <a:lnTo>
                  <a:pt x="162" y="990"/>
                </a:lnTo>
                <a:lnTo>
                  <a:pt x="162" y="984"/>
                </a:lnTo>
                <a:lnTo>
                  <a:pt x="150" y="978"/>
                </a:lnTo>
                <a:lnTo>
                  <a:pt x="144" y="972"/>
                </a:lnTo>
                <a:lnTo>
                  <a:pt x="138" y="972"/>
                </a:lnTo>
                <a:lnTo>
                  <a:pt x="138" y="966"/>
                </a:lnTo>
                <a:lnTo>
                  <a:pt x="132" y="966"/>
                </a:lnTo>
                <a:lnTo>
                  <a:pt x="126" y="960"/>
                </a:lnTo>
                <a:lnTo>
                  <a:pt x="126" y="954"/>
                </a:lnTo>
                <a:lnTo>
                  <a:pt x="120" y="954"/>
                </a:lnTo>
                <a:lnTo>
                  <a:pt x="114" y="948"/>
                </a:lnTo>
                <a:lnTo>
                  <a:pt x="108" y="948"/>
                </a:lnTo>
                <a:lnTo>
                  <a:pt x="108" y="942"/>
                </a:lnTo>
                <a:lnTo>
                  <a:pt x="102" y="942"/>
                </a:lnTo>
                <a:lnTo>
                  <a:pt x="96" y="942"/>
                </a:lnTo>
                <a:lnTo>
                  <a:pt x="96" y="936"/>
                </a:lnTo>
                <a:lnTo>
                  <a:pt x="90" y="936"/>
                </a:lnTo>
                <a:lnTo>
                  <a:pt x="90" y="930"/>
                </a:lnTo>
                <a:lnTo>
                  <a:pt x="84" y="930"/>
                </a:lnTo>
                <a:lnTo>
                  <a:pt x="78" y="930"/>
                </a:lnTo>
                <a:lnTo>
                  <a:pt x="78" y="924"/>
                </a:lnTo>
                <a:lnTo>
                  <a:pt x="60" y="918"/>
                </a:lnTo>
                <a:lnTo>
                  <a:pt x="66" y="918"/>
                </a:lnTo>
                <a:lnTo>
                  <a:pt x="66" y="912"/>
                </a:lnTo>
                <a:lnTo>
                  <a:pt x="66" y="906"/>
                </a:lnTo>
                <a:lnTo>
                  <a:pt x="72" y="906"/>
                </a:lnTo>
                <a:lnTo>
                  <a:pt x="84" y="906"/>
                </a:lnTo>
                <a:lnTo>
                  <a:pt x="90" y="906"/>
                </a:lnTo>
                <a:lnTo>
                  <a:pt x="120" y="930"/>
                </a:lnTo>
                <a:lnTo>
                  <a:pt x="126" y="936"/>
                </a:lnTo>
                <a:lnTo>
                  <a:pt x="138" y="936"/>
                </a:lnTo>
                <a:lnTo>
                  <a:pt x="138" y="930"/>
                </a:lnTo>
                <a:lnTo>
                  <a:pt x="144" y="930"/>
                </a:lnTo>
                <a:lnTo>
                  <a:pt x="144" y="924"/>
                </a:lnTo>
                <a:lnTo>
                  <a:pt x="150" y="900"/>
                </a:lnTo>
                <a:lnTo>
                  <a:pt x="138" y="894"/>
                </a:lnTo>
                <a:lnTo>
                  <a:pt x="126" y="894"/>
                </a:lnTo>
                <a:lnTo>
                  <a:pt x="108" y="888"/>
                </a:lnTo>
                <a:lnTo>
                  <a:pt x="84" y="882"/>
                </a:lnTo>
                <a:lnTo>
                  <a:pt x="72" y="882"/>
                </a:lnTo>
                <a:lnTo>
                  <a:pt x="72" y="876"/>
                </a:lnTo>
                <a:lnTo>
                  <a:pt x="78" y="870"/>
                </a:lnTo>
                <a:lnTo>
                  <a:pt x="90" y="870"/>
                </a:lnTo>
                <a:lnTo>
                  <a:pt x="96" y="870"/>
                </a:lnTo>
                <a:lnTo>
                  <a:pt x="102" y="870"/>
                </a:lnTo>
                <a:lnTo>
                  <a:pt x="114" y="870"/>
                </a:lnTo>
                <a:lnTo>
                  <a:pt x="120" y="858"/>
                </a:lnTo>
                <a:lnTo>
                  <a:pt x="126" y="852"/>
                </a:lnTo>
                <a:lnTo>
                  <a:pt x="126" y="846"/>
                </a:lnTo>
                <a:lnTo>
                  <a:pt x="126" y="834"/>
                </a:lnTo>
                <a:lnTo>
                  <a:pt x="132" y="828"/>
                </a:lnTo>
                <a:lnTo>
                  <a:pt x="132" y="816"/>
                </a:lnTo>
                <a:lnTo>
                  <a:pt x="150" y="816"/>
                </a:lnTo>
                <a:lnTo>
                  <a:pt x="150" y="804"/>
                </a:lnTo>
                <a:lnTo>
                  <a:pt x="144" y="798"/>
                </a:lnTo>
                <a:lnTo>
                  <a:pt x="156" y="762"/>
                </a:lnTo>
                <a:lnTo>
                  <a:pt x="156" y="750"/>
                </a:lnTo>
                <a:lnTo>
                  <a:pt x="156" y="744"/>
                </a:lnTo>
                <a:lnTo>
                  <a:pt x="150" y="732"/>
                </a:lnTo>
                <a:lnTo>
                  <a:pt x="144" y="726"/>
                </a:lnTo>
                <a:lnTo>
                  <a:pt x="132" y="726"/>
                </a:lnTo>
                <a:lnTo>
                  <a:pt x="120" y="732"/>
                </a:lnTo>
                <a:lnTo>
                  <a:pt x="114" y="744"/>
                </a:lnTo>
                <a:lnTo>
                  <a:pt x="108" y="750"/>
                </a:lnTo>
                <a:lnTo>
                  <a:pt x="96" y="768"/>
                </a:lnTo>
                <a:lnTo>
                  <a:pt x="96" y="774"/>
                </a:lnTo>
                <a:lnTo>
                  <a:pt x="90" y="780"/>
                </a:lnTo>
                <a:lnTo>
                  <a:pt x="84" y="804"/>
                </a:lnTo>
                <a:lnTo>
                  <a:pt x="72" y="774"/>
                </a:lnTo>
                <a:lnTo>
                  <a:pt x="72" y="768"/>
                </a:lnTo>
                <a:lnTo>
                  <a:pt x="66" y="762"/>
                </a:lnTo>
                <a:lnTo>
                  <a:pt x="60" y="750"/>
                </a:lnTo>
                <a:lnTo>
                  <a:pt x="54" y="750"/>
                </a:lnTo>
                <a:lnTo>
                  <a:pt x="48" y="750"/>
                </a:lnTo>
                <a:lnTo>
                  <a:pt x="42" y="750"/>
                </a:lnTo>
                <a:lnTo>
                  <a:pt x="30" y="744"/>
                </a:lnTo>
                <a:lnTo>
                  <a:pt x="24" y="744"/>
                </a:lnTo>
                <a:lnTo>
                  <a:pt x="24" y="738"/>
                </a:lnTo>
                <a:lnTo>
                  <a:pt x="18" y="732"/>
                </a:lnTo>
                <a:lnTo>
                  <a:pt x="12" y="732"/>
                </a:lnTo>
                <a:lnTo>
                  <a:pt x="6" y="720"/>
                </a:lnTo>
                <a:lnTo>
                  <a:pt x="6" y="714"/>
                </a:lnTo>
                <a:lnTo>
                  <a:pt x="0" y="714"/>
                </a:lnTo>
                <a:lnTo>
                  <a:pt x="6" y="708"/>
                </a:lnTo>
                <a:lnTo>
                  <a:pt x="12" y="708"/>
                </a:lnTo>
                <a:lnTo>
                  <a:pt x="12" y="702"/>
                </a:lnTo>
                <a:lnTo>
                  <a:pt x="18" y="696"/>
                </a:lnTo>
                <a:lnTo>
                  <a:pt x="12" y="690"/>
                </a:lnTo>
                <a:lnTo>
                  <a:pt x="12" y="684"/>
                </a:lnTo>
                <a:lnTo>
                  <a:pt x="12" y="678"/>
                </a:lnTo>
                <a:lnTo>
                  <a:pt x="12" y="672"/>
                </a:lnTo>
                <a:lnTo>
                  <a:pt x="18" y="672"/>
                </a:lnTo>
                <a:lnTo>
                  <a:pt x="18" y="666"/>
                </a:lnTo>
                <a:lnTo>
                  <a:pt x="24" y="666"/>
                </a:lnTo>
                <a:lnTo>
                  <a:pt x="24" y="660"/>
                </a:lnTo>
                <a:lnTo>
                  <a:pt x="30" y="660"/>
                </a:lnTo>
                <a:lnTo>
                  <a:pt x="30" y="654"/>
                </a:lnTo>
                <a:lnTo>
                  <a:pt x="36" y="654"/>
                </a:lnTo>
                <a:lnTo>
                  <a:pt x="36" y="648"/>
                </a:lnTo>
                <a:lnTo>
                  <a:pt x="42" y="648"/>
                </a:lnTo>
                <a:lnTo>
                  <a:pt x="48" y="642"/>
                </a:lnTo>
                <a:lnTo>
                  <a:pt x="54" y="642"/>
                </a:lnTo>
                <a:lnTo>
                  <a:pt x="60" y="636"/>
                </a:lnTo>
                <a:lnTo>
                  <a:pt x="54" y="636"/>
                </a:lnTo>
                <a:lnTo>
                  <a:pt x="60" y="630"/>
                </a:lnTo>
                <a:lnTo>
                  <a:pt x="66" y="630"/>
                </a:lnTo>
                <a:lnTo>
                  <a:pt x="72" y="630"/>
                </a:lnTo>
                <a:lnTo>
                  <a:pt x="72" y="624"/>
                </a:lnTo>
                <a:lnTo>
                  <a:pt x="78" y="624"/>
                </a:lnTo>
                <a:lnTo>
                  <a:pt x="84" y="618"/>
                </a:lnTo>
                <a:lnTo>
                  <a:pt x="84" y="612"/>
                </a:lnTo>
                <a:lnTo>
                  <a:pt x="90" y="612"/>
                </a:lnTo>
                <a:lnTo>
                  <a:pt x="102" y="606"/>
                </a:lnTo>
                <a:lnTo>
                  <a:pt x="114" y="606"/>
                </a:lnTo>
                <a:lnTo>
                  <a:pt x="120" y="600"/>
                </a:lnTo>
                <a:lnTo>
                  <a:pt x="120" y="594"/>
                </a:lnTo>
                <a:lnTo>
                  <a:pt x="120" y="588"/>
                </a:lnTo>
                <a:lnTo>
                  <a:pt x="120" y="582"/>
                </a:lnTo>
                <a:lnTo>
                  <a:pt x="120" y="576"/>
                </a:lnTo>
                <a:lnTo>
                  <a:pt x="120" y="570"/>
                </a:lnTo>
                <a:lnTo>
                  <a:pt x="126" y="564"/>
                </a:lnTo>
                <a:lnTo>
                  <a:pt x="126" y="558"/>
                </a:lnTo>
                <a:lnTo>
                  <a:pt x="126" y="552"/>
                </a:lnTo>
                <a:lnTo>
                  <a:pt x="126" y="546"/>
                </a:lnTo>
                <a:lnTo>
                  <a:pt x="126" y="534"/>
                </a:lnTo>
                <a:lnTo>
                  <a:pt x="126" y="516"/>
                </a:lnTo>
                <a:lnTo>
                  <a:pt x="126" y="510"/>
                </a:lnTo>
                <a:lnTo>
                  <a:pt x="126" y="504"/>
                </a:lnTo>
                <a:lnTo>
                  <a:pt x="126" y="498"/>
                </a:lnTo>
                <a:lnTo>
                  <a:pt x="132" y="498"/>
                </a:lnTo>
                <a:lnTo>
                  <a:pt x="132" y="492"/>
                </a:lnTo>
                <a:lnTo>
                  <a:pt x="138" y="492"/>
                </a:lnTo>
                <a:lnTo>
                  <a:pt x="144" y="486"/>
                </a:lnTo>
                <a:lnTo>
                  <a:pt x="156" y="480"/>
                </a:lnTo>
                <a:lnTo>
                  <a:pt x="156" y="474"/>
                </a:lnTo>
                <a:lnTo>
                  <a:pt x="156" y="468"/>
                </a:lnTo>
                <a:lnTo>
                  <a:pt x="156" y="462"/>
                </a:lnTo>
                <a:lnTo>
                  <a:pt x="156" y="456"/>
                </a:lnTo>
                <a:lnTo>
                  <a:pt x="156" y="450"/>
                </a:lnTo>
                <a:lnTo>
                  <a:pt x="162" y="438"/>
                </a:lnTo>
                <a:lnTo>
                  <a:pt x="168" y="426"/>
                </a:lnTo>
                <a:lnTo>
                  <a:pt x="174" y="426"/>
                </a:lnTo>
                <a:lnTo>
                  <a:pt x="174" y="420"/>
                </a:lnTo>
                <a:lnTo>
                  <a:pt x="180" y="414"/>
                </a:lnTo>
                <a:lnTo>
                  <a:pt x="186" y="420"/>
                </a:lnTo>
                <a:lnTo>
                  <a:pt x="186" y="414"/>
                </a:lnTo>
                <a:lnTo>
                  <a:pt x="180" y="408"/>
                </a:lnTo>
                <a:lnTo>
                  <a:pt x="180" y="402"/>
                </a:lnTo>
                <a:lnTo>
                  <a:pt x="186" y="402"/>
                </a:lnTo>
                <a:lnTo>
                  <a:pt x="192" y="402"/>
                </a:lnTo>
                <a:lnTo>
                  <a:pt x="192" y="396"/>
                </a:lnTo>
                <a:lnTo>
                  <a:pt x="198" y="396"/>
                </a:lnTo>
                <a:lnTo>
                  <a:pt x="204" y="396"/>
                </a:lnTo>
                <a:lnTo>
                  <a:pt x="210" y="396"/>
                </a:lnTo>
                <a:lnTo>
                  <a:pt x="210" y="390"/>
                </a:lnTo>
                <a:lnTo>
                  <a:pt x="216" y="390"/>
                </a:lnTo>
                <a:lnTo>
                  <a:pt x="216" y="384"/>
                </a:lnTo>
                <a:lnTo>
                  <a:pt x="222" y="384"/>
                </a:lnTo>
                <a:lnTo>
                  <a:pt x="222" y="378"/>
                </a:lnTo>
                <a:lnTo>
                  <a:pt x="228" y="372"/>
                </a:lnTo>
                <a:lnTo>
                  <a:pt x="234" y="360"/>
                </a:lnTo>
                <a:lnTo>
                  <a:pt x="234" y="354"/>
                </a:lnTo>
                <a:lnTo>
                  <a:pt x="240" y="354"/>
                </a:lnTo>
                <a:lnTo>
                  <a:pt x="240" y="348"/>
                </a:lnTo>
                <a:lnTo>
                  <a:pt x="246" y="348"/>
                </a:lnTo>
                <a:lnTo>
                  <a:pt x="240" y="348"/>
                </a:lnTo>
                <a:lnTo>
                  <a:pt x="234" y="342"/>
                </a:lnTo>
                <a:lnTo>
                  <a:pt x="234" y="336"/>
                </a:lnTo>
                <a:lnTo>
                  <a:pt x="240" y="330"/>
                </a:lnTo>
                <a:lnTo>
                  <a:pt x="246" y="330"/>
                </a:lnTo>
                <a:lnTo>
                  <a:pt x="246" y="324"/>
                </a:lnTo>
                <a:lnTo>
                  <a:pt x="234" y="318"/>
                </a:lnTo>
                <a:lnTo>
                  <a:pt x="234" y="312"/>
                </a:lnTo>
                <a:lnTo>
                  <a:pt x="234" y="300"/>
                </a:lnTo>
                <a:lnTo>
                  <a:pt x="240" y="288"/>
                </a:lnTo>
                <a:lnTo>
                  <a:pt x="240" y="276"/>
                </a:lnTo>
                <a:lnTo>
                  <a:pt x="246" y="258"/>
                </a:lnTo>
                <a:lnTo>
                  <a:pt x="258" y="252"/>
                </a:lnTo>
                <a:lnTo>
                  <a:pt x="270" y="258"/>
                </a:lnTo>
                <a:lnTo>
                  <a:pt x="282" y="252"/>
                </a:lnTo>
                <a:lnTo>
                  <a:pt x="288" y="252"/>
                </a:lnTo>
                <a:lnTo>
                  <a:pt x="294" y="252"/>
                </a:lnTo>
                <a:lnTo>
                  <a:pt x="300" y="258"/>
                </a:lnTo>
                <a:lnTo>
                  <a:pt x="318" y="252"/>
                </a:lnTo>
                <a:lnTo>
                  <a:pt x="366" y="252"/>
                </a:lnTo>
                <a:lnTo>
                  <a:pt x="378" y="252"/>
                </a:lnTo>
                <a:lnTo>
                  <a:pt x="396" y="252"/>
                </a:lnTo>
                <a:lnTo>
                  <a:pt x="408" y="252"/>
                </a:lnTo>
                <a:lnTo>
                  <a:pt x="408" y="246"/>
                </a:lnTo>
                <a:lnTo>
                  <a:pt x="414" y="240"/>
                </a:lnTo>
                <a:lnTo>
                  <a:pt x="414" y="228"/>
                </a:lnTo>
                <a:lnTo>
                  <a:pt x="420" y="222"/>
                </a:lnTo>
                <a:lnTo>
                  <a:pt x="420" y="216"/>
                </a:lnTo>
                <a:lnTo>
                  <a:pt x="426" y="210"/>
                </a:lnTo>
                <a:lnTo>
                  <a:pt x="444" y="198"/>
                </a:lnTo>
                <a:lnTo>
                  <a:pt x="462" y="198"/>
                </a:lnTo>
                <a:lnTo>
                  <a:pt x="474" y="204"/>
                </a:lnTo>
                <a:lnTo>
                  <a:pt x="498" y="198"/>
                </a:lnTo>
                <a:lnTo>
                  <a:pt x="498" y="204"/>
                </a:lnTo>
                <a:lnTo>
                  <a:pt x="540" y="210"/>
                </a:lnTo>
                <a:lnTo>
                  <a:pt x="564" y="210"/>
                </a:lnTo>
                <a:lnTo>
                  <a:pt x="588" y="210"/>
                </a:lnTo>
                <a:lnTo>
                  <a:pt x="612" y="210"/>
                </a:lnTo>
                <a:lnTo>
                  <a:pt x="612" y="216"/>
                </a:lnTo>
                <a:lnTo>
                  <a:pt x="618" y="222"/>
                </a:lnTo>
                <a:lnTo>
                  <a:pt x="618" y="228"/>
                </a:lnTo>
                <a:lnTo>
                  <a:pt x="624" y="240"/>
                </a:lnTo>
                <a:lnTo>
                  <a:pt x="624" y="246"/>
                </a:lnTo>
                <a:lnTo>
                  <a:pt x="630" y="252"/>
                </a:lnTo>
                <a:lnTo>
                  <a:pt x="630" y="258"/>
                </a:lnTo>
                <a:lnTo>
                  <a:pt x="636" y="264"/>
                </a:lnTo>
                <a:lnTo>
                  <a:pt x="636" y="270"/>
                </a:lnTo>
                <a:lnTo>
                  <a:pt x="630" y="282"/>
                </a:lnTo>
                <a:lnTo>
                  <a:pt x="630" y="288"/>
                </a:lnTo>
                <a:lnTo>
                  <a:pt x="630" y="300"/>
                </a:lnTo>
                <a:lnTo>
                  <a:pt x="630" y="306"/>
                </a:lnTo>
                <a:lnTo>
                  <a:pt x="636" y="306"/>
                </a:lnTo>
                <a:lnTo>
                  <a:pt x="642" y="306"/>
                </a:lnTo>
                <a:lnTo>
                  <a:pt x="648" y="312"/>
                </a:lnTo>
                <a:lnTo>
                  <a:pt x="666" y="312"/>
                </a:lnTo>
                <a:lnTo>
                  <a:pt x="696" y="306"/>
                </a:lnTo>
                <a:lnTo>
                  <a:pt x="732" y="300"/>
                </a:lnTo>
                <a:lnTo>
                  <a:pt x="732" y="288"/>
                </a:lnTo>
                <a:lnTo>
                  <a:pt x="738" y="288"/>
                </a:lnTo>
                <a:lnTo>
                  <a:pt x="744" y="276"/>
                </a:lnTo>
                <a:lnTo>
                  <a:pt x="762" y="246"/>
                </a:lnTo>
                <a:lnTo>
                  <a:pt x="768" y="228"/>
                </a:lnTo>
                <a:lnTo>
                  <a:pt x="792" y="210"/>
                </a:lnTo>
                <a:lnTo>
                  <a:pt x="804" y="186"/>
                </a:lnTo>
                <a:lnTo>
                  <a:pt x="804" y="156"/>
                </a:lnTo>
                <a:lnTo>
                  <a:pt x="804" y="138"/>
                </a:lnTo>
                <a:lnTo>
                  <a:pt x="810" y="126"/>
                </a:lnTo>
                <a:lnTo>
                  <a:pt x="816" y="120"/>
                </a:lnTo>
                <a:lnTo>
                  <a:pt x="828" y="102"/>
                </a:lnTo>
                <a:lnTo>
                  <a:pt x="834" y="96"/>
                </a:lnTo>
                <a:lnTo>
                  <a:pt x="846" y="102"/>
                </a:lnTo>
                <a:lnTo>
                  <a:pt x="852" y="96"/>
                </a:lnTo>
                <a:lnTo>
                  <a:pt x="858" y="72"/>
                </a:lnTo>
                <a:lnTo>
                  <a:pt x="864" y="60"/>
                </a:lnTo>
                <a:lnTo>
                  <a:pt x="882" y="48"/>
                </a:lnTo>
                <a:lnTo>
                  <a:pt x="906" y="36"/>
                </a:lnTo>
                <a:lnTo>
                  <a:pt x="918" y="12"/>
                </a:lnTo>
                <a:lnTo>
                  <a:pt x="924" y="0"/>
                </a:lnTo>
                <a:lnTo>
                  <a:pt x="930" y="6"/>
                </a:lnTo>
                <a:lnTo>
                  <a:pt x="942" y="12"/>
                </a:lnTo>
                <a:lnTo>
                  <a:pt x="948" y="12"/>
                </a:lnTo>
                <a:lnTo>
                  <a:pt x="954" y="18"/>
                </a:lnTo>
                <a:lnTo>
                  <a:pt x="966" y="18"/>
                </a:lnTo>
                <a:lnTo>
                  <a:pt x="972" y="18"/>
                </a:lnTo>
                <a:lnTo>
                  <a:pt x="984" y="18"/>
                </a:lnTo>
                <a:lnTo>
                  <a:pt x="990" y="18"/>
                </a:lnTo>
                <a:lnTo>
                  <a:pt x="1002" y="48"/>
                </a:lnTo>
                <a:lnTo>
                  <a:pt x="1008" y="78"/>
                </a:lnTo>
                <a:lnTo>
                  <a:pt x="1020" y="78"/>
                </a:lnTo>
                <a:lnTo>
                  <a:pt x="1020" y="90"/>
                </a:lnTo>
                <a:lnTo>
                  <a:pt x="1026" y="102"/>
                </a:lnTo>
                <a:lnTo>
                  <a:pt x="1044" y="120"/>
                </a:lnTo>
                <a:lnTo>
                  <a:pt x="1044" y="132"/>
                </a:lnTo>
                <a:lnTo>
                  <a:pt x="1056" y="150"/>
                </a:lnTo>
                <a:lnTo>
                  <a:pt x="1050" y="150"/>
                </a:lnTo>
                <a:lnTo>
                  <a:pt x="1044" y="156"/>
                </a:lnTo>
                <a:lnTo>
                  <a:pt x="1044" y="162"/>
                </a:lnTo>
                <a:lnTo>
                  <a:pt x="1038" y="162"/>
                </a:lnTo>
                <a:lnTo>
                  <a:pt x="1032" y="162"/>
                </a:lnTo>
                <a:lnTo>
                  <a:pt x="1026" y="168"/>
                </a:lnTo>
                <a:lnTo>
                  <a:pt x="1014" y="174"/>
                </a:lnTo>
                <a:lnTo>
                  <a:pt x="1014" y="186"/>
                </a:lnTo>
                <a:lnTo>
                  <a:pt x="1014" y="192"/>
                </a:lnTo>
                <a:lnTo>
                  <a:pt x="1014" y="198"/>
                </a:lnTo>
                <a:lnTo>
                  <a:pt x="1020" y="204"/>
                </a:lnTo>
                <a:lnTo>
                  <a:pt x="1026" y="204"/>
                </a:lnTo>
                <a:lnTo>
                  <a:pt x="1032" y="204"/>
                </a:lnTo>
                <a:lnTo>
                  <a:pt x="1032" y="210"/>
                </a:lnTo>
                <a:lnTo>
                  <a:pt x="1038" y="210"/>
                </a:lnTo>
                <a:lnTo>
                  <a:pt x="1032" y="216"/>
                </a:lnTo>
                <a:lnTo>
                  <a:pt x="1026" y="228"/>
                </a:lnTo>
                <a:lnTo>
                  <a:pt x="1026" y="234"/>
                </a:lnTo>
                <a:lnTo>
                  <a:pt x="1032" y="240"/>
                </a:lnTo>
                <a:lnTo>
                  <a:pt x="1032" y="246"/>
                </a:lnTo>
                <a:lnTo>
                  <a:pt x="1032" y="252"/>
                </a:lnTo>
                <a:lnTo>
                  <a:pt x="1032" y="258"/>
                </a:lnTo>
                <a:lnTo>
                  <a:pt x="1038" y="264"/>
                </a:lnTo>
                <a:lnTo>
                  <a:pt x="1032" y="276"/>
                </a:lnTo>
                <a:lnTo>
                  <a:pt x="1026" y="276"/>
                </a:lnTo>
                <a:lnTo>
                  <a:pt x="1020" y="276"/>
                </a:lnTo>
                <a:lnTo>
                  <a:pt x="996" y="282"/>
                </a:lnTo>
                <a:lnTo>
                  <a:pt x="996" y="288"/>
                </a:lnTo>
                <a:lnTo>
                  <a:pt x="996" y="294"/>
                </a:lnTo>
                <a:lnTo>
                  <a:pt x="996" y="300"/>
                </a:lnTo>
                <a:lnTo>
                  <a:pt x="996" y="306"/>
                </a:lnTo>
                <a:lnTo>
                  <a:pt x="984" y="324"/>
                </a:lnTo>
                <a:lnTo>
                  <a:pt x="984" y="330"/>
                </a:lnTo>
                <a:lnTo>
                  <a:pt x="984" y="336"/>
                </a:lnTo>
                <a:lnTo>
                  <a:pt x="978" y="336"/>
                </a:lnTo>
                <a:lnTo>
                  <a:pt x="978" y="342"/>
                </a:lnTo>
                <a:lnTo>
                  <a:pt x="984" y="360"/>
                </a:lnTo>
                <a:lnTo>
                  <a:pt x="978" y="366"/>
                </a:lnTo>
                <a:lnTo>
                  <a:pt x="978" y="372"/>
                </a:lnTo>
                <a:lnTo>
                  <a:pt x="972" y="372"/>
                </a:lnTo>
                <a:lnTo>
                  <a:pt x="972" y="378"/>
                </a:lnTo>
                <a:lnTo>
                  <a:pt x="972" y="384"/>
                </a:lnTo>
                <a:lnTo>
                  <a:pt x="972" y="390"/>
                </a:lnTo>
                <a:lnTo>
                  <a:pt x="966" y="402"/>
                </a:lnTo>
                <a:lnTo>
                  <a:pt x="960" y="414"/>
                </a:lnTo>
                <a:lnTo>
                  <a:pt x="954" y="420"/>
                </a:lnTo>
                <a:lnTo>
                  <a:pt x="948" y="426"/>
                </a:lnTo>
                <a:lnTo>
                  <a:pt x="948" y="438"/>
                </a:lnTo>
                <a:lnTo>
                  <a:pt x="942" y="444"/>
                </a:lnTo>
                <a:lnTo>
                  <a:pt x="936" y="450"/>
                </a:lnTo>
                <a:lnTo>
                  <a:pt x="930" y="456"/>
                </a:lnTo>
                <a:lnTo>
                  <a:pt x="924" y="462"/>
                </a:lnTo>
                <a:lnTo>
                  <a:pt x="924" y="474"/>
                </a:lnTo>
                <a:lnTo>
                  <a:pt x="918" y="474"/>
                </a:lnTo>
                <a:lnTo>
                  <a:pt x="918" y="480"/>
                </a:lnTo>
                <a:lnTo>
                  <a:pt x="918" y="486"/>
                </a:lnTo>
                <a:lnTo>
                  <a:pt x="918" y="504"/>
                </a:lnTo>
                <a:lnTo>
                  <a:pt x="918" y="510"/>
                </a:lnTo>
                <a:lnTo>
                  <a:pt x="918" y="522"/>
                </a:lnTo>
                <a:lnTo>
                  <a:pt x="918" y="528"/>
                </a:lnTo>
                <a:lnTo>
                  <a:pt x="924" y="534"/>
                </a:lnTo>
                <a:lnTo>
                  <a:pt x="924" y="540"/>
                </a:lnTo>
                <a:lnTo>
                  <a:pt x="924" y="546"/>
                </a:lnTo>
                <a:lnTo>
                  <a:pt x="918" y="546"/>
                </a:lnTo>
                <a:lnTo>
                  <a:pt x="918" y="552"/>
                </a:lnTo>
                <a:lnTo>
                  <a:pt x="912" y="546"/>
                </a:lnTo>
                <a:lnTo>
                  <a:pt x="912" y="552"/>
                </a:lnTo>
                <a:lnTo>
                  <a:pt x="912" y="570"/>
                </a:lnTo>
                <a:lnTo>
                  <a:pt x="906" y="588"/>
                </a:lnTo>
                <a:lnTo>
                  <a:pt x="900" y="606"/>
                </a:lnTo>
                <a:lnTo>
                  <a:pt x="906" y="624"/>
                </a:lnTo>
                <a:lnTo>
                  <a:pt x="900" y="624"/>
                </a:lnTo>
                <a:lnTo>
                  <a:pt x="894" y="630"/>
                </a:lnTo>
                <a:lnTo>
                  <a:pt x="888" y="630"/>
                </a:lnTo>
                <a:lnTo>
                  <a:pt x="882" y="630"/>
                </a:lnTo>
                <a:lnTo>
                  <a:pt x="882" y="636"/>
                </a:lnTo>
                <a:lnTo>
                  <a:pt x="876" y="642"/>
                </a:lnTo>
                <a:lnTo>
                  <a:pt x="870" y="642"/>
                </a:lnTo>
                <a:lnTo>
                  <a:pt x="870" y="648"/>
                </a:lnTo>
                <a:lnTo>
                  <a:pt x="870" y="654"/>
                </a:lnTo>
                <a:lnTo>
                  <a:pt x="864" y="654"/>
                </a:lnTo>
                <a:lnTo>
                  <a:pt x="864" y="660"/>
                </a:lnTo>
                <a:lnTo>
                  <a:pt x="846" y="666"/>
                </a:lnTo>
                <a:lnTo>
                  <a:pt x="828" y="672"/>
                </a:lnTo>
                <a:lnTo>
                  <a:pt x="816" y="660"/>
                </a:lnTo>
                <a:lnTo>
                  <a:pt x="810" y="660"/>
                </a:lnTo>
                <a:lnTo>
                  <a:pt x="798" y="666"/>
                </a:lnTo>
                <a:lnTo>
                  <a:pt x="786" y="666"/>
                </a:lnTo>
                <a:lnTo>
                  <a:pt x="780" y="672"/>
                </a:lnTo>
                <a:lnTo>
                  <a:pt x="768" y="678"/>
                </a:lnTo>
                <a:lnTo>
                  <a:pt x="762" y="660"/>
                </a:lnTo>
                <a:lnTo>
                  <a:pt x="762" y="654"/>
                </a:lnTo>
                <a:lnTo>
                  <a:pt x="756" y="636"/>
                </a:lnTo>
                <a:lnTo>
                  <a:pt x="762" y="624"/>
                </a:lnTo>
                <a:lnTo>
                  <a:pt x="756" y="606"/>
                </a:lnTo>
                <a:lnTo>
                  <a:pt x="756" y="600"/>
                </a:lnTo>
                <a:lnTo>
                  <a:pt x="762" y="594"/>
                </a:lnTo>
                <a:lnTo>
                  <a:pt x="768" y="600"/>
                </a:lnTo>
                <a:lnTo>
                  <a:pt x="768" y="594"/>
                </a:lnTo>
                <a:lnTo>
                  <a:pt x="768" y="588"/>
                </a:lnTo>
                <a:lnTo>
                  <a:pt x="774" y="582"/>
                </a:lnTo>
                <a:lnTo>
                  <a:pt x="768" y="576"/>
                </a:lnTo>
                <a:lnTo>
                  <a:pt x="762" y="576"/>
                </a:lnTo>
                <a:lnTo>
                  <a:pt x="756" y="576"/>
                </a:lnTo>
                <a:lnTo>
                  <a:pt x="690" y="576"/>
                </a:lnTo>
                <a:lnTo>
                  <a:pt x="624" y="570"/>
                </a:lnTo>
                <a:lnTo>
                  <a:pt x="600" y="564"/>
                </a:lnTo>
                <a:lnTo>
                  <a:pt x="576" y="564"/>
                </a:lnTo>
                <a:lnTo>
                  <a:pt x="558" y="570"/>
                </a:lnTo>
                <a:lnTo>
                  <a:pt x="552" y="576"/>
                </a:lnTo>
                <a:lnTo>
                  <a:pt x="552" y="582"/>
                </a:lnTo>
                <a:lnTo>
                  <a:pt x="552" y="588"/>
                </a:lnTo>
                <a:lnTo>
                  <a:pt x="546" y="594"/>
                </a:lnTo>
                <a:lnTo>
                  <a:pt x="546" y="600"/>
                </a:lnTo>
                <a:lnTo>
                  <a:pt x="540" y="606"/>
                </a:lnTo>
                <a:lnTo>
                  <a:pt x="534" y="618"/>
                </a:lnTo>
                <a:lnTo>
                  <a:pt x="534" y="624"/>
                </a:lnTo>
                <a:lnTo>
                  <a:pt x="534" y="630"/>
                </a:lnTo>
                <a:lnTo>
                  <a:pt x="534" y="636"/>
                </a:lnTo>
                <a:lnTo>
                  <a:pt x="528" y="636"/>
                </a:lnTo>
                <a:lnTo>
                  <a:pt x="516" y="642"/>
                </a:lnTo>
                <a:lnTo>
                  <a:pt x="516" y="648"/>
                </a:lnTo>
                <a:lnTo>
                  <a:pt x="510" y="648"/>
                </a:lnTo>
                <a:lnTo>
                  <a:pt x="504" y="654"/>
                </a:lnTo>
                <a:lnTo>
                  <a:pt x="492" y="666"/>
                </a:lnTo>
                <a:lnTo>
                  <a:pt x="492" y="672"/>
                </a:lnTo>
                <a:lnTo>
                  <a:pt x="492" y="684"/>
                </a:lnTo>
                <a:lnTo>
                  <a:pt x="486" y="690"/>
                </a:lnTo>
                <a:lnTo>
                  <a:pt x="480" y="696"/>
                </a:lnTo>
                <a:lnTo>
                  <a:pt x="486" y="702"/>
                </a:lnTo>
                <a:lnTo>
                  <a:pt x="492" y="702"/>
                </a:lnTo>
                <a:lnTo>
                  <a:pt x="486" y="708"/>
                </a:lnTo>
                <a:lnTo>
                  <a:pt x="480" y="708"/>
                </a:lnTo>
                <a:lnTo>
                  <a:pt x="480" y="714"/>
                </a:lnTo>
                <a:lnTo>
                  <a:pt x="474" y="714"/>
                </a:lnTo>
                <a:lnTo>
                  <a:pt x="474" y="720"/>
                </a:lnTo>
                <a:lnTo>
                  <a:pt x="480" y="726"/>
                </a:lnTo>
                <a:lnTo>
                  <a:pt x="474" y="726"/>
                </a:lnTo>
                <a:lnTo>
                  <a:pt x="474" y="738"/>
                </a:lnTo>
                <a:lnTo>
                  <a:pt x="474" y="744"/>
                </a:lnTo>
                <a:lnTo>
                  <a:pt x="474" y="750"/>
                </a:lnTo>
                <a:lnTo>
                  <a:pt x="480" y="750"/>
                </a:lnTo>
                <a:lnTo>
                  <a:pt x="480" y="756"/>
                </a:lnTo>
                <a:lnTo>
                  <a:pt x="492" y="762"/>
                </a:lnTo>
                <a:lnTo>
                  <a:pt x="498" y="774"/>
                </a:lnTo>
                <a:lnTo>
                  <a:pt x="498" y="780"/>
                </a:lnTo>
                <a:lnTo>
                  <a:pt x="504" y="786"/>
                </a:lnTo>
                <a:lnTo>
                  <a:pt x="510" y="792"/>
                </a:lnTo>
                <a:lnTo>
                  <a:pt x="504" y="798"/>
                </a:lnTo>
                <a:lnTo>
                  <a:pt x="504" y="804"/>
                </a:lnTo>
                <a:lnTo>
                  <a:pt x="504" y="810"/>
                </a:lnTo>
                <a:lnTo>
                  <a:pt x="498" y="822"/>
                </a:lnTo>
                <a:lnTo>
                  <a:pt x="492" y="828"/>
                </a:lnTo>
                <a:lnTo>
                  <a:pt x="492" y="834"/>
                </a:lnTo>
                <a:lnTo>
                  <a:pt x="486" y="840"/>
                </a:lnTo>
                <a:lnTo>
                  <a:pt x="480" y="846"/>
                </a:lnTo>
                <a:lnTo>
                  <a:pt x="474" y="852"/>
                </a:lnTo>
                <a:lnTo>
                  <a:pt x="468" y="858"/>
                </a:lnTo>
                <a:lnTo>
                  <a:pt x="474" y="858"/>
                </a:lnTo>
                <a:lnTo>
                  <a:pt x="468" y="864"/>
                </a:lnTo>
                <a:lnTo>
                  <a:pt x="474" y="870"/>
                </a:lnTo>
                <a:lnTo>
                  <a:pt x="474" y="876"/>
                </a:lnTo>
                <a:lnTo>
                  <a:pt x="456" y="894"/>
                </a:lnTo>
                <a:lnTo>
                  <a:pt x="450" y="894"/>
                </a:lnTo>
                <a:lnTo>
                  <a:pt x="444" y="900"/>
                </a:lnTo>
                <a:lnTo>
                  <a:pt x="444" y="894"/>
                </a:lnTo>
                <a:lnTo>
                  <a:pt x="438" y="894"/>
                </a:lnTo>
                <a:lnTo>
                  <a:pt x="432" y="900"/>
                </a:lnTo>
                <a:lnTo>
                  <a:pt x="432" y="906"/>
                </a:lnTo>
                <a:lnTo>
                  <a:pt x="420" y="906"/>
                </a:lnTo>
                <a:lnTo>
                  <a:pt x="420" y="912"/>
                </a:lnTo>
                <a:lnTo>
                  <a:pt x="420" y="918"/>
                </a:lnTo>
                <a:lnTo>
                  <a:pt x="426" y="918"/>
                </a:lnTo>
                <a:lnTo>
                  <a:pt x="426" y="924"/>
                </a:lnTo>
                <a:lnTo>
                  <a:pt x="426" y="930"/>
                </a:lnTo>
                <a:lnTo>
                  <a:pt x="420" y="930"/>
                </a:lnTo>
                <a:lnTo>
                  <a:pt x="414" y="936"/>
                </a:lnTo>
                <a:lnTo>
                  <a:pt x="414" y="942"/>
                </a:lnTo>
                <a:lnTo>
                  <a:pt x="414" y="948"/>
                </a:lnTo>
                <a:lnTo>
                  <a:pt x="414" y="954"/>
                </a:lnTo>
                <a:lnTo>
                  <a:pt x="426" y="960"/>
                </a:lnTo>
                <a:lnTo>
                  <a:pt x="432" y="966"/>
                </a:lnTo>
                <a:lnTo>
                  <a:pt x="438" y="972"/>
                </a:lnTo>
                <a:lnTo>
                  <a:pt x="444" y="972"/>
                </a:lnTo>
                <a:lnTo>
                  <a:pt x="444" y="978"/>
                </a:lnTo>
                <a:lnTo>
                  <a:pt x="450" y="978"/>
                </a:lnTo>
                <a:lnTo>
                  <a:pt x="450" y="984"/>
                </a:lnTo>
                <a:lnTo>
                  <a:pt x="456" y="990"/>
                </a:lnTo>
                <a:lnTo>
                  <a:pt x="456" y="996"/>
                </a:lnTo>
                <a:lnTo>
                  <a:pt x="462" y="1008"/>
                </a:lnTo>
                <a:lnTo>
                  <a:pt x="468" y="1008"/>
                </a:lnTo>
                <a:lnTo>
                  <a:pt x="468" y="1002"/>
                </a:lnTo>
                <a:lnTo>
                  <a:pt x="474" y="1008"/>
                </a:lnTo>
                <a:lnTo>
                  <a:pt x="480" y="1002"/>
                </a:lnTo>
                <a:lnTo>
                  <a:pt x="486" y="1008"/>
                </a:lnTo>
                <a:lnTo>
                  <a:pt x="486" y="1014"/>
                </a:lnTo>
                <a:lnTo>
                  <a:pt x="492" y="1014"/>
                </a:lnTo>
                <a:lnTo>
                  <a:pt x="492" y="1020"/>
                </a:lnTo>
                <a:lnTo>
                  <a:pt x="486" y="1020"/>
                </a:lnTo>
                <a:lnTo>
                  <a:pt x="492" y="1020"/>
                </a:lnTo>
                <a:lnTo>
                  <a:pt x="486" y="1020"/>
                </a:lnTo>
                <a:lnTo>
                  <a:pt x="486" y="1026"/>
                </a:lnTo>
                <a:lnTo>
                  <a:pt x="492" y="1026"/>
                </a:lnTo>
                <a:lnTo>
                  <a:pt x="486" y="1026"/>
                </a:lnTo>
                <a:lnTo>
                  <a:pt x="492" y="1032"/>
                </a:lnTo>
                <a:close/>
              </a:path>
            </a:pathLst>
          </a:cu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74" name="Freeform 30">
            <a:extLst>
              <a:ext uri="{FF2B5EF4-FFF2-40B4-BE49-F238E27FC236}">
                <a16:creationId xmlns:a16="http://schemas.microsoft.com/office/drawing/2014/main" id="{8EF6022D-A3EF-42DD-A569-310BAA9BEAFE}"/>
              </a:ext>
            </a:extLst>
          </p:cNvPr>
          <p:cNvSpPr>
            <a:spLocks noEditPoints="1"/>
          </p:cNvSpPr>
          <p:nvPr/>
        </p:nvSpPr>
        <p:spPr bwMode="gray">
          <a:xfrm>
            <a:off x="2887347" y="4694836"/>
            <a:ext cx="603782" cy="119890"/>
          </a:xfrm>
          <a:custGeom>
            <a:avLst/>
            <a:gdLst>
              <a:gd name="T0" fmla="*/ 69 w 1056"/>
              <a:gd name="T1" fmla="*/ 7 h 210"/>
              <a:gd name="T2" fmla="*/ 63 w 1056"/>
              <a:gd name="T3" fmla="*/ 5 h 210"/>
              <a:gd name="T4" fmla="*/ 57 w 1056"/>
              <a:gd name="T5" fmla="*/ 5 h 210"/>
              <a:gd name="T6" fmla="*/ 54 w 1056"/>
              <a:gd name="T7" fmla="*/ 6 h 210"/>
              <a:gd name="T8" fmla="*/ 51 w 1056"/>
              <a:gd name="T9" fmla="*/ 7 h 210"/>
              <a:gd name="T10" fmla="*/ 46 w 1056"/>
              <a:gd name="T11" fmla="*/ 9 h 210"/>
              <a:gd name="T12" fmla="*/ 42 w 1056"/>
              <a:gd name="T13" fmla="*/ 8 h 210"/>
              <a:gd name="T14" fmla="*/ 42 w 1056"/>
              <a:gd name="T15" fmla="*/ 5 h 210"/>
              <a:gd name="T16" fmla="*/ 41 w 1056"/>
              <a:gd name="T17" fmla="*/ 7 h 210"/>
              <a:gd name="T18" fmla="*/ 38 w 1056"/>
              <a:gd name="T19" fmla="*/ 10 h 210"/>
              <a:gd name="T20" fmla="*/ 37 w 1056"/>
              <a:gd name="T21" fmla="*/ 12 h 210"/>
              <a:gd name="T22" fmla="*/ 37 w 1056"/>
              <a:gd name="T23" fmla="*/ 15 h 210"/>
              <a:gd name="T24" fmla="*/ 37 w 1056"/>
              <a:gd name="T25" fmla="*/ 16 h 210"/>
              <a:gd name="T26" fmla="*/ 38 w 1056"/>
              <a:gd name="T27" fmla="*/ 16 h 210"/>
              <a:gd name="T28" fmla="*/ 34 w 1056"/>
              <a:gd name="T29" fmla="*/ 16 h 210"/>
              <a:gd name="T30" fmla="*/ 26 w 1056"/>
              <a:gd name="T31" fmla="*/ 16 h 210"/>
              <a:gd name="T32" fmla="*/ 20 w 1056"/>
              <a:gd name="T33" fmla="*/ 17 h 210"/>
              <a:gd name="T34" fmla="*/ 13 w 1056"/>
              <a:gd name="T35" fmla="*/ 17 h 210"/>
              <a:gd name="T36" fmla="*/ 6 w 1056"/>
              <a:gd name="T37" fmla="*/ 17 h 210"/>
              <a:gd name="T38" fmla="*/ 1 w 1056"/>
              <a:gd name="T39" fmla="*/ 18 h 210"/>
              <a:gd name="T40" fmla="*/ 3 w 1056"/>
              <a:gd name="T41" fmla="*/ 14 h 210"/>
              <a:gd name="T42" fmla="*/ 8 w 1056"/>
              <a:gd name="T43" fmla="*/ 15 h 210"/>
              <a:gd name="T44" fmla="*/ 11 w 1056"/>
              <a:gd name="T45" fmla="*/ 12 h 210"/>
              <a:gd name="T46" fmla="*/ 26 w 1056"/>
              <a:gd name="T47" fmla="*/ 10 h 210"/>
              <a:gd name="T48" fmla="*/ 29 w 1056"/>
              <a:gd name="T49" fmla="*/ 5 h 210"/>
              <a:gd name="T50" fmla="*/ 34 w 1056"/>
              <a:gd name="T51" fmla="*/ 1 h 210"/>
              <a:gd name="T52" fmla="*/ 41 w 1056"/>
              <a:gd name="T53" fmla="*/ 3 h 210"/>
              <a:gd name="T54" fmla="*/ 73 w 1056"/>
              <a:gd name="T55" fmla="*/ 1 h 210"/>
              <a:gd name="T56" fmla="*/ 75 w 1056"/>
              <a:gd name="T57" fmla="*/ 4 h 210"/>
              <a:gd name="T58" fmla="*/ 85 w 1056"/>
              <a:gd name="T59" fmla="*/ 15 h 210"/>
              <a:gd name="T60" fmla="*/ 91 w 1056"/>
              <a:gd name="T61" fmla="*/ 18 h 210"/>
              <a:gd name="T62" fmla="*/ 85 w 1056"/>
              <a:gd name="T63" fmla="*/ 18 h 210"/>
              <a:gd name="T64" fmla="*/ 79 w 1056"/>
              <a:gd name="T65" fmla="*/ 16 h 210"/>
              <a:gd name="T66" fmla="*/ 74 w 1056"/>
              <a:gd name="T67" fmla="*/ 16 h 210"/>
              <a:gd name="T68" fmla="*/ 69 w 1056"/>
              <a:gd name="T69" fmla="*/ 15 h 210"/>
              <a:gd name="T70" fmla="*/ 65 w 1056"/>
              <a:gd name="T71" fmla="*/ 14 h 210"/>
              <a:gd name="T72" fmla="*/ 59 w 1056"/>
              <a:gd name="T73" fmla="*/ 15 h 210"/>
              <a:gd name="T74" fmla="*/ 54 w 1056"/>
              <a:gd name="T75" fmla="*/ 15 h 210"/>
              <a:gd name="T76" fmla="*/ 49 w 1056"/>
              <a:gd name="T77" fmla="*/ 15 h 210"/>
              <a:gd name="T78" fmla="*/ 42 w 1056"/>
              <a:gd name="T79" fmla="*/ 15 h 210"/>
              <a:gd name="T80" fmla="*/ 38 w 1056"/>
              <a:gd name="T81" fmla="*/ 16 h 210"/>
              <a:gd name="T82" fmla="*/ 41 w 1056"/>
              <a:gd name="T83" fmla="*/ 14 h 210"/>
              <a:gd name="T84" fmla="*/ 42 w 1056"/>
              <a:gd name="T85" fmla="*/ 13 h 210"/>
              <a:gd name="T86" fmla="*/ 45 w 1056"/>
              <a:gd name="T87" fmla="*/ 13 h 210"/>
              <a:gd name="T88" fmla="*/ 48 w 1056"/>
              <a:gd name="T89" fmla="*/ 12 h 210"/>
              <a:gd name="T90" fmla="*/ 51 w 1056"/>
              <a:gd name="T91" fmla="*/ 11 h 210"/>
              <a:gd name="T92" fmla="*/ 54 w 1056"/>
              <a:gd name="T93" fmla="*/ 9 h 210"/>
              <a:gd name="T94" fmla="*/ 57 w 1056"/>
              <a:gd name="T95" fmla="*/ 8 h 210"/>
              <a:gd name="T96" fmla="*/ 60 w 1056"/>
              <a:gd name="T97" fmla="*/ 5 h 210"/>
              <a:gd name="T98" fmla="*/ 65 w 1056"/>
              <a:gd name="T99" fmla="*/ 5 h 210"/>
              <a:gd name="T100" fmla="*/ 72 w 1056"/>
              <a:gd name="T101" fmla="*/ 7 h 210"/>
              <a:gd name="T102" fmla="*/ 77 w 1056"/>
              <a:gd name="T103" fmla="*/ 11 h 210"/>
              <a:gd name="T104" fmla="*/ 69 w 1056"/>
              <a:gd name="T105" fmla="*/ 10 h 210"/>
              <a:gd name="T106" fmla="*/ 72 w 1056"/>
              <a:gd name="T107" fmla="*/ 12 h 210"/>
              <a:gd name="T108" fmla="*/ 78 w 1056"/>
              <a:gd name="T109" fmla="*/ 15 h 210"/>
              <a:gd name="T110" fmla="*/ 84 w 1056"/>
              <a:gd name="T111" fmla="*/ 14 h 210"/>
              <a:gd name="T112" fmla="*/ 84 w 1056"/>
              <a:gd name="T113" fmla="*/ 14 h 210"/>
              <a:gd name="T114" fmla="*/ 78 w 1056"/>
              <a:gd name="T115" fmla="*/ 13 h 210"/>
              <a:gd name="T116" fmla="*/ 76 w 1056"/>
              <a:gd name="T117" fmla="*/ 14 h 210"/>
              <a:gd name="T118" fmla="*/ 38 w 1056"/>
              <a:gd name="T119" fmla="*/ 12 h 210"/>
              <a:gd name="T120" fmla="*/ 41 w 1056"/>
              <a:gd name="T121" fmla="*/ 12 h 210"/>
              <a:gd name="T122" fmla="*/ 40 w 1056"/>
              <a:gd name="T123" fmla="*/ 14 h 21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056"/>
              <a:gd name="T187" fmla="*/ 0 h 210"/>
              <a:gd name="T188" fmla="*/ 1056 w 1056"/>
              <a:gd name="T189" fmla="*/ 210 h 210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056" h="210">
                <a:moveTo>
                  <a:pt x="870" y="90"/>
                </a:moveTo>
                <a:lnTo>
                  <a:pt x="864" y="90"/>
                </a:lnTo>
                <a:lnTo>
                  <a:pt x="852" y="84"/>
                </a:lnTo>
                <a:lnTo>
                  <a:pt x="846" y="84"/>
                </a:lnTo>
                <a:lnTo>
                  <a:pt x="846" y="78"/>
                </a:lnTo>
                <a:lnTo>
                  <a:pt x="840" y="78"/>
                </a:lnTo>
                <a:lnTo>
                  <a:pt x="834" y="78"/>
                </a:lnTo>
                <a:lnTo>
                  <a:pt x="834" y="72"/>
                </a:lnTo>
                <a:lnTo>
                  <a:pt x="804" y="78"/>
                </a:lnTo>
                <a:lnTo>
                  <a:pt x="798" y="78"/>
                </a:lnTo>
                <a:lnTo>
                  <a:pt x="792" y="72"/>
                </a:lnTo>
                <a:lnTo>
                  <a:pt x="780" y="60"/>
                </a:lnTo>
                <a:lnTo>
                  <a:pt x="768" y="54"/>
                </a:lnTo>
                <a:lnTo>
                  <a:pt x="756" y="54"/>
                </a:lnTo>
                <a:lnTo>
                  <a:pt x="750" y="54"/>
                </a:lnTo>
                <a:lnTo>
                  <a:pt x="750" y="48"/>
                </a:lnTo>
                <a:lnTo>
                  <a:pt x="744" y="48"/>
                </a:lnTo>
                <a:lnTo>
                  <a:pt x="738" y="48"/>
                </a:lnTo>
                <a:lnTo>
                  <a:pt x="732" y="48"/>
                </a:lnTo>
                <a:lnTo>
                  <a:pt x="732" y="54"/>
                </a:lnTo>
                <a:lnTo>
                  <a:pt x="726" y="48"/>
                </a:lnTo>
                <a:lnTo>
                  <a:pt x="720" y="48"/>
                </a:lnTo>
                <a:lnTo>
                  <a:pt x="714" y="48"/>
                </a:lnTo>
                <a:lnTo>
                  <a:pt x="708" y="48"/>
                </a:lnTo>
                <a:lnTo>
                  <a:pt x="702" y="48"/>
                </a:lnTo>
                <a:lnTo>
                  <a:pt x="696" y="48"/>
                </a:lnTo>
                <a:lnTo>
                  <a:pt x="684" y="48"/>
                </a:lnTo>
                <a:lnTo>
                  <a:pt x="678" y="48"/>
                </a:lnTo>
                <a:lnTo>
                  <a:pt x="672" y="48"/>
                </a:lnTo>
                <a:lnTo>
                  <a:pt x="666" y="54"/>
                </a:lnTo>
                <a:lnTo>
                  <a:pt x="660" y="54"/>
                </a:lnTo>
                <a:lnTo>
                  <a:pt x="660" y="48"/>
                </a:lnTo>
                <a:lnTo>
                  <a:pt x="654" y="48"/>
                </a:lnTo>
                <a:lnTo>
                  <a:pt x="648" y="48"/>
                </a:lnTo>
                <a:lnTo>
                  <a:pt x="642" y="48"/>
                </a:lnTo>
                <a:lnTo>
                  <a:pt x="642" y="54"/>
                </a:lnTo>
                <a:lnTo>
                  <a:pt x="636" y="54"/>
                </a:lnTo>
                <a:lnTo>
                  <a:pt x="636" y="60"/>
                </a:lnTo>
                <a:lnTo>
                  <a:pt x="630" y="60"/>
                </a:lnTo>
                <a:lnTo>
                  <a:pt x="630" y="66"/>
                </a:lnTo>
                <a:lnTo>
                  <a:pt x="624" y="66"/>
                </a:lnTo>
                <a:lnTo>
                  <a:pt x="618" y="66"/>
                </a:lnTo>
                <a:lnTo>
                  <a:pt x="618" y="72"/>
                </a:lnTo>
                <a:lnTo>
                  <a:pt x="612" y="78"/>
                </a:lnTo>
                <a:lnTo>
                  <a:pt x="606" y="78"/>
                </a:lnTo>
                <a:lnTo>
                  <a:pt x="606" y="84"/>
                </a:lnTo>
                <a:lnTo>
                  <a:pt x="600" y="84"/>
                </a:lnTo>
                <a:lnTo>
                  <a:pt x="594" y="90"/>
                </a:lnTo>
                <a:lnTo>
                  <a:pt x="588" y="90"/>
                </a:lnTo>
                <a:lnTo>
                  <a:pt x="588" y="84"/>
                </a:lnTo>
                <a:lnTo>
                  <a:pt x="582" y="84"/>
                </a:lnTo>
                <a:lnTo>
                  <a:pt x="576" y="84"/>
                </a:lnTo>
                <a:lnTo>
                  <a:pt x="570" y="84"/>
                </a:lnTo>
                <a:lnTo>
                  <a:pt x="564" y="84"/>
                </a:lnTo>
                <a:lnTo>
                  <a:pt x="558" y="90"/>
                </a:lnTo>
                <a:lnTo>
                  <a:pt x="558" y="96"/>
                </a:lnTo>
                <a:lnTo>
                  <a:pt x="552" y="96"/>
                </a:lnTo>
                <a:lnTo>
                  <a:pt x="546" y="102"/>
                </a:lnTo>
                <a:lnTo>
                  <a:pt x="540" y="102"/>
                </a:lnTo>
                <a:lnTo>
                  <a:pt x="534" y="102"/>
                </a:lnTo>
                <a:lnTo>
                  <a:pt x="528" y="102"/>
                </a:lnTo>
                <a:lnTo>
                  <a:pt x="528" y="108"/>
                </a:lnTo>
                <a:lnTo>
                  <a:pt x="522" y="108"/>
                </a:lnTo>
                <a:lnTo>
                  <a:pt x="522" y="102"/>
                </a:lnTo>
                <a:lnTo>
                  <a:pt x="516" y="102"/>
                </a:lnTo>
                <a:lnTo>
                  <a:pt x="510" y="102"/>
                </a:lnTo>
                <a:lnTo>
                  <a:pt x="504" y="102"/>
                </a:lnTo>
                <a:lnTo>
                  <a:pt x="498" y="102"/>
                </a:lnTo>
                <a:lnTo>
                  <a:pt x="498" y="96"/>
                </a:lnTo>
                <a:lnTo>
                  <a:pt x="492" y="96"/>
                </a:lnTo>
                <a:lnTo>
                  <a:pt x="492" y="90"/>
                </a:lnTo>
                <a:lnTo>
                  <a:pt x="492" y="84"/>
                </a:lnTo>
                <a:lnTo>
                  <a:pt x="492" y="78"/>
                </a:lnTo>
                <a:lnTo>
                  <a:pt x="498" y="78"/>
                </a:lnTo>
                <a:lnTo>
                  <a:pt x="498" y="72"/>
                </a:lnTo>
                <a:lnTo>
                  <a:pt x="498" y="66"/>
                </a:lnTo>
                <a:lnTo>
                  <a:pt x="504" y="60"/>
                </a:lnTo>
                <a:lnTo>
                  <a:pt x="498" y="60"/>
                </a:lnTo>
                <a:lnTo>
                  <a:pt x="498" y="54"/>
                </a:lnTo>
                <a:lnTo>
                  <a:pt x="492" y="54"/>
                </a:lnTo>
                <a:lnTo>
                  <a:pt x="492" y="60"/>
                </a:lnTo>
                <a:lnTo>
                  <a:pt x="486" y="60"/>
                </a:lnTo>
                <a:lnTo>
                  <a:pt x="486" y="66"/>
                </a:lnTo>
                <a:lnTo>
                  <a:pt x="480" y="66"/>
                </a:lnTo>
                <a:lnTo>
                  <a:pt x="474" y="72"/>
                </a:lnTo>
                <a:lnTo>
                  <a:pt x="474" y="66"/>
                </a:lnTo>
                <a:lnTo>
                  <a:pt x="474" y="72"/>
                </a:lnTo>
                <a:lnTo>
                  <a:pt x="468" y="72"/>
                </a:lnTo>
                <a:lnTo>
                  <a:pt x="468" y="78"/>
                </a:lnTo>
                <a:lnTo>
                  <a:pt x="468" y="84"/>
                </a:lnTo>
                <a:lnTo>
                  <a:pt x="462" y="90"/>
                </a:lnTo>
                <a:lnTo>
                  <a:pt x="462" y="84"/>
                </a:lnTo>
                <a:lnTo>
                  <a:pt x="456" y="84"/>
                </a:lnTo>
                <a:lnTo>
                  <a:pt x="450" y="84"/>
                </a:lnTo>
                <a:lnTo>
                  <a:pt x="450" y="90"/>
                </a:lnTo>
                <a:lnTo>
                  <a:pt x="450" y="96"/>
                </a:lnTo>
                <a:lnTo>
                  <a:pt x="450" y="102"/>
                </a:lnTo>
                <a:lnTo>
                  <a:pt x="444" y="102"/>
                </a:lnTo>
                <a:lnTo>
                  <a:pt x="444" y="108"/>
                </a:lnTo>
                <a:lnTo>
                  <a:pt x="444" y="114"/>
                </a:lnTo>
                <a:lnTo>
                  <a:pt x="450" y="114"/>
                </a:lnTo>
                <a:lnTo>
                  <a:pt x="444" y="120"/>
                </a:lnTo>
                <a:lnTo>
                  <a:pt x="444" y="126"/>
                </a:lnTo>
                <a:lnTo>
                  <a:pt x="438" y="126"/>
                </a:lnTo>
                <a:lnTo>
                  <a:pt x="438" y="132"/>
                </a:lnTo>
                <a:lnTo>
                  <a:pt x="438" y="138"/>
                </a:lnTo>
                <a:lnTo>
                  <a:pt x="438" y="144"/>
                </a:lnTo>
                <a:lnTo>
                  <a:pt x="432" y="144"/>
                </a:lnTo>
                <a:lnTo>
                  <a:pt x="432" y="150"/>
                </a:lnTo>
                <a:lnTo>
                  <a:pt x="432" y="144"/>
                </a:lnTo>
                <a:lnTo>
                  <a:pt x="426" y="144"/>
                </a:lnTo>
                <a:lnTo>
                  <a:pt x="426" y="150"/>
                </a:lnTo>
                <a:lnTo>
                  <a:pt x="426" y="156"/>
                </a:lnTo>
                <a:lnTo>
                  <a:pt x="432" y="156"/>
                </a:lnTo>
                <a:lnTo>
                  <a:pt x="438" y="156"/>
                </a:lnTo>
                <a:lnTo>
                  <a:pt x="438" y="162"/>
                </a:lnTo>
                <a:lnTo>
                  <a:pt x="438" y="168"/>
                </a:lnTo>
                <a:lnTo>
                  <a:pt x="432" y="162"/>
                </a:lnTo>
                <a:lnTo>
                  <a:pt x="432" y="168"/>
                </a:lnTo>
                <a:lnTo>
                  <a:pt x="426" y="168"/>
                </a:lnTo>
                <a:lnTo>
                  <a:pt x="420" y="168"/>
                </a:lnTo>
                <a:lnTo>
                  <a:pt x="420" y="174"/>
                </a:lnTo>
                <a:lnTo>
                  <a:pt x="426" y="168"/>
                </a:lnTo>
                <a:lnTo>
                  <a:pt x="432" y="168"/>
                </a:lnTo>
                <a:lnTo>
                  <a:pt x="438" y="168"/>
                </a:lnTo>
                <a:lnTo>
                  <a:pt x="432" y="168"/>
                </a:lnTo>
                <a:lnTo>
                  <a:pt x="438" y="168"/>
                </a:lnTo>
                <a:lnTo>
                  <a:pt x="438" y="174"/>
                </a:lnTo>
                <a:lnTo>
                  <a:pt x="438" y="180"/>
                </a:lnTo>
                <a:lnTo>
                  <a:pt x="432" y="180"/>
                </a:lnTo>
                <a:lnTo>
                  <a:pt x="432" y="186"/>
                </a:lnTo>
                <a:lnTo>
                  <a:pt x="432" y="180"/>
                </a:lnTo>
                <a:lnTo>
                  <a:pt x="438" y="180"/>
                </a:lnTo>
                <a:lnTo>
                  <a:pt x="438" y="174"/>
                </a:lnTo>
                <a:lnTo>
                  <a:pt x="444" y="174"/>
                </a:lnTo>
                <a:lnTo>
                  <a:pt x="438" y="174"/>
                </a:lnTo>
                <a:lnTo>
                  <a:pt x="444" y="174"/>
                </a:lnTo>
                <a:lnTo>
                  <a:pt x="444" y="168"/>
                </a:lnTo>
                <a:lnTo>
                  <a:pt x="444" y="174"/>
                </a:lnTo>
                <a:lnTo>
                  <a:pt x="444" y="180"/>
                </a:lnTo>
                <a:lnTo>
                  <a:pt x="444" y="186"/>
                </a:lnTo>
                <a:lnTo>
                  <a:pt x="444" y="192"/>
                </a:lnTo>
                <a:lnTo>
                  <a:pt x="438" y="192"/>
                </a:lnTo>
                <a:lnTo>
                  <a:pt x="432" y="192"/>
                </a:lnTo>
                <a:lnTo>
                  <a:pt x="426" y="192"/>
                </a:lnTo>
                <a:lnTo>
                  <a:pt x="420" y="186"/>
                </a:lnTo>
                <a:lnTo>
                  <a:pt x="414" y="186"/>
                </a:lnTo>
                <a:lnTo>
                  <a:pt x="408" y="186"/>
                </a:lnTo>
                <a:lnTo>
                  <a:pt x="402" y="186"/>
                </a:lnTo>
                <a:lnTo>
                  <a:pt x="396" y="186"/>
                </a:lnTo>
                <a:lnTo>
                  <a:pt x="390" y="186"/>
                </a:lnTo>
                <a:lnTo>
                  <a:pt x="384" y="186"/>
                </a:lnTo>
                <a:lnTo>
                  <a:pt x="378" y="186"/>
                </a:lnTo>
                <a:lnTo>
                  <a:pt x="372" y="186"/>
                </a:lnTo>
                <a:lnTo>
                  <a:pt x="354" y="186"/>
                </a:lnTo>
                <a:lnTo>
                  <a:pt x="342" y="186"/>
                </a:lnTo>
                <a:lnTo>
                  <a:pt x="324" y="186"/>
                </a:lnTo>
                <a:lnTo>
                  <a:pt x="312" y="186"/>
                </a:lnTo>
                <a:lnTo>
                  <a:pt x="306" y="186"/>
                </a:lnTo>
                <a:lnTo>
                  <a:pt x="300" y="186"/>
                </a:lnTo>
                <a:lnTo>
                  <a:pt x="294" y="186"/>
                </a:lnTo>
                <a:lnTo>
                  <a:pt x="282" y="186"/>
                </a:lnTo>
                <a:lnTo>
                  <a:pt x="270" y="186"/>
                </a:lnTo>
                <a:lnTo>
                  <a:pt x="264" y="186"/>
                </a:lnTo>
                <a:lnTo>
                  <a:pt x="258" y="192"/>
                </a:lnTo>
                <a:lnTo>
                  <a:pt x="258" y="186"/>
                </a:lnTo>
                <a:lnTo>
                  <a:pt x="246" y="186"/>
                </a:lnTo>
                <a:lnTo>
                  <a:pt x="240" y="186"/>
                </a:lnTo>
                <a:lnTo>
                  <a:pt x="234" y="186"/>
                </a:lnTo>
                <a:lnTo>
                  <a:pt x="228" y="192"/>
                </a:lnTo>
                <a:lnTo>
                  <a:pt x="222" y="192"/>
                </a:lnTo>
                <a:lnTo>
                  <a:pt x="216" y="192"/>
                </a:lnTo>
                <a:lnTo>
                  <a:pt x="210" y="192"/>
                </a:lnTo>
                <a:lnTo>
                  <a:pt x="204" y="192"/>
                </a:lnTo>
                <a:lnTo>
                  <a:pt x="198" y="192"/>
                </a:lnTo>
                <a:lnTo>
                  <a:pt x="192" y="192"/>
                </a:lnTo>
                <a:lnTo>
                  <a:pt x="180" y="192"/>
                </a:lnTo>
                <a:lnTo>
                  <a:pt x="168" y="192"/>
                </a:lnTo>
                <a:lnTo>
                  <a:pt x="162" y="192"/>
                </a:lnTo>
                <a:lnTo>
                  <a:pt x="150" y="192"/>
                </a:lnTo>
                <a:lnTo>
                  <a:pt x="138" y="192"/>
                </a:lnTo>
                <a:lnTo>
                  <a:pt x="132" y="192"/>
                </a:lnTo>
                <a:lnTo>
                  <a:pt x="120" y="192"/>
                </a:lnTo>
                <a:lnTo>
                  <a:pt x="114" y="192"/>
                </a:lnTo>
                <a:lnTo>
                  <a:pt x="108" y="192"/>
                </a:lnTo>
                <a:lnTo>
                  <a:pt x="102" y="192"/>
                </a:lnTo>
                <a:lnTo>
                  <a:pt x="90" y="192"/>
                </a:lnTo>
                <a:lnTo>
                  <a:pt x="84" y="192"/>
                </a:lnTo>
                <a:lnTo>
                  <a:pt x="78" y="192"/>
                </a:lnTo>
                <a:lnTo>
                  <a:pt x="72" y="198"/>
                </a:lnTo>
                <a:lnTo>
                  <a:pt x="66" y="198"/>
                </a:lnTo>
                <a:lnTo>
                  <a:pt x="60" y="198"/>
                </a:lnTo>
                <a:lnTo>
                  <a:pt x="54" y="198"/>
                </a:lnTo>
                <a:lnTo>
                  <a:pt x="48" y="198"/>
                </a:lnTo>
                <a:lnTo>
                  <a:pt x="42" y="198"/>
                </a:lnTo>
                <a:lnTo>
                  <a:pt x="36" y="198"/>
                </a:lnTo>
                <a:lnTo>
                  <a:pt x="30" y="204"/>
                </a:lnTo>
                <a:lnTo>
                  <a:pt x="24" y="204"/>
                </a:lnTo>
                <a:lnTo>
                  <a:pt x="18" y="204"/>
                </a:lnTo>
                <a:lnTo>
                  <a:pt x="12" y="204"/>
                </a:lnTo>
                <a:lnTo>
                  <a:pt x="6" y="210"/>
                </a:lnTo>
                <a:lnTo>
                  <a:pt x="0" y="186"/>
                </a:lnTo>
                <a:lnTo>
                  <a:pt x="0" y="180"/>
                </a:lnTo>
                <a:lnTo>
                  <a:pt x="0" y="174"/>
                </a:lnTo>
                <a:lnTo>
                  <a:pt x="6" y="156"/>
                </a:lnTo>
                <a:lnTo>
                  <a:pt x="12" y="156"/>
                </a:lnTo>
                <a:lnTo>
                  <a:pt x="18" y="156"/>
                </a:lnTo>
                <a:lnTo>
                  <a:pt x="24" y="162"/>
                </a:lnTo>
                <a:lnTo>
                  <a:pt x="30" y="162"/>
                </a:lnTo>
                <a:lnTo>
                  <a:pt x="36" y="162"/>
                </a:lnTo>
                <a:lnTo>
                  <a:pt x="42" y="162"/>
                </a:lnTo>
                <a:lnTo>
                  <a:pt x="48" y="162"/>
                </a:lnTo>
                <a:lnTo>
                  <a:pt x="54" y="156"/>
                </a:lnTo>
                <a:lnTo>
                  <a:pt x="60" y="156"/>
                </a:lnTo>
                <a:lnTo>
                  <a:pt x="66" y="156"/>
                </a:lnTo>
                <a:lnTo>
                  <a:pt x="72" y="156"/>
                </a:lnTo>
                <a:lnTo>
                  <a:pt x="78" y="162"/>
                </a:lnTo>
                <a:lnTo>
                  <a:pt x="84" y="162"/>
                </a:lnTo>
                <a:lnTo>
                  <a:pt x="90" y="162"/>
                </a:lnTo>
                <a:lnTo>
                  <a:pt x="90" y="168"/>
                </a:lnTo>
                <a:lnTo>
                  <a:pt x="96" y="168"/>
                </a:lnTo>
                <a:lnTo>
                  <a:pt x="96" y="162"/>
                </a:lnTo>
                <a:lnTo>
                  <a:pt x="102" y="162"/>
                </a:lnTo>
                <a:lnTo>
                  <a:pt x="102" y="156"/>
                </a:lnTo>
                <a:lnTo>
                  <a:pt x="108" y="156"/>
                </a:lnTo>
                <a:lnTo>
                  <a:pt x="108" y="150"/>
                </a:lnTo>
                <a:lnTo>
                  <a:pt x="114" y="150"/>
                </a:lnTo>
                <a:lnTo>
                  <a:pt x="114" y="144"/>
                </a:lnTo>
                <a:lnTo>
                  <a:pt x="120" y="144"/>
                </a:lnTo>
                <a:lnTo>
                  <a:pt x="126" y="144"/>
                </a:lnTo>
                <a:lnTo>
                  <a:pt x="126" y="138"/>
                </a:lnTo>
                <a:lnTo>
                  <a:pt x="126" y="132"/>
                </a:lnTo>
                <a:lnTo>
                  <a:pt x="126" y="126"/>
                </a:lnTo>
                <a:lnTo>
                  <a:pt x="192" y="126"/>
                </a:lnTo>
                <a:lnTo>
                  <a:pt x="258" y="126"/>
                </a:lnTo>
                <a:lnTo>
                  <a:pt x="264" y="126"/>
                </a:lnTo>
                <a:lnTo>
                  <a:pt x="270" y="126"/>
                </a:lnTo>
                <a:lnTo>
                  <a:pt x="276" y="120"/>
                </a:lnTo>
                <a:lnTo>
                  <a:pt x="282" y="120"/>
                </a:lnTo>
                <a:lnTo>
                  <a:pt x="300" y="120"/>
                </a:lnTo>
                <a:lnTo>
                  <a:pt x="306" y="114"/>
                </a:lnTo>
                <a:lnTo>
                  <a:pt x="312" y="108"/>
                </a:lnTo>
                <a:lnTo>
                  <a:pt x="318" y="102"/>
                </a:lnTo>
                <a:lnTo>
                  <a:pt x="324" y="102"/>
                </a:lnTo>
                <a:lnTo>
                  <a:pt x="324" y="96"/>
                </a:lnTo>
                <a:lnTo>
                  <a:pt x="318" y="90"/>
                </a:lnTo>
                <a:lnTo>
                  <a:pt x="318" y="84"/>
                </a:lnTo>
                <a:lnTo>
                  <a:pt x="324" y="72"/>
                </a:lnTo>
                <a:lnTo>
                  <a:pt x="336" y="66"/>
                </a:lnTo>
                <a:lnTo>
                  <a:pt x="336" y="60"/>
                </a:lnTo>
                <a:lnTo>
                  <a:pt x="342" y="54"/>
                </a:lnTo>
                <a:lnTo>
                  <a:pt x="342" y="48"/>
                </a:lnTo>
                <a:lnTo>
                  <a:pt x="342" y="30"/>
                </a:lnTo>
                <a:lnTo>
                  <a:pt x="342" y="24"/>
                </a:lnTo>
                <a:lnTo>
                  <a:pt x="354" y="0"/>
                </a:lnTo>
                <a:lnTo>
                  <a:pt x="360" y="0"/>
                </a:lnTo>
                <a:lnTo>
                  <a:pt x="366" y="0"/>
                </a:lnTo>
                <a:lnTo>
                  <a:pt x="366" y="6"/>
                </a:lnTo>
                <a:lnTo>
                  <a:pt x="378" y="12"/>
                </a:lnTo>
                <a:lnTo>
                  <a:pt x="390" y="12"/>
                </a:lnTo>
                <a:lnTo>
                  <a:pt x="390" y="18"/>
                </a:lnTo>
                <a:lnTo>
                  <a:pt x="402" y="18"/>
                </a:lnTo>
                <a:lnTo>
                  <a:pt x="408" y="18"/>
                </a:lnTo>
                <a:lnTo>
                  <a:pt x="414" y="24"/>
                </a:lnTo>
                <a:lnTo>
                  <a:pt x="414" y="30"/>
                </a:lnTo>
                <a:lnTo>
                  <a:pt x="420" y="30"/>
                </a:lnTo>
                <a:lnTo>
                  <a:pt x="426" y="36"/>
                </a:lnTo>
                <a:lnTo>
                  <a:pt x="462" y="36"/>
                </a:lnTo>
                <a:lnTo>
                  <a:pt x="468" y="36"/>
                </a:lnTo>
                <a:lnTo>
                  <a:pt x="474" y="30"/>
                </a:lnTo>
                <a:lnTo>
                  <a:pt x="474" y="18"/>
                </a:lnTo>
                <a:lnTo>
                  <a:pt x="474" y="12"/>
                </a:lnTo>
                <a:lnTo>
                  <a:pt x="480" y="12"/>
                </a:lnTo>
                <a:lnTo>
                  <a:pt x="486" y="12"/>
                </a:lnTo>
                <a:lnTo>
                  <a:pt x="606" y="12"/>
                </a:lnTo>
                <a:lnTo>
                  <a:pt x="630" y="12"/>
                </a:lnTo>
                <a:lnTo>
                  <a:pt x="678" y="12"/>
                </a:lnTo>
                <a:lnTo>
                  <a:pt x="744" y="12"/>
                </a:lnTo>
                <a:lnTo>
                  <a:pt x="774" y="12"/>
                </a:lnTo>
                <a:lnTo>
                  <a:pt x="846" y="12"/>
                </a:lnTo>
                <a:lnTo>
                  <a:pt x="852" y="12"/>
                </a:lnTo>
                <a:lnTo>
                  <a:pt x="852" y="6"/>
                </a:lnTo>
                <a:lnTo>
                  <a:pt x="888" y="12"/>
                </a:lnTo>
                <a:lnTo>
                  <a:pt x="888" y="24"/>
                </a:lnTo>
                <a:lnTo>
                  <a:pt x="888" y="30"/>
                </a:lnTo>
                <a:lnTo>
                  <a:pt x="882" y="36"/>
                </a:lnTo>
                <a:lnTo>
                  <a:pt x="876" y="42"/>
                </a:lnTo>
                <a:lnTo>
                  <a:pt x="870" y="42"/>
                </a:lnTo>
                <a:lnTo>
                  <a:pt x="864" y="42"/>
                </a:lnTo>
                <a:lnTo>
                  <a:pt x="864" y="48"/>
                </a:lnTo>
                <a:lnTo>
                  <a:pt x="858" y="54"/>
                </a:lnTo>
                <a:lnTo>
                  <a:pt x="864" y="54"/>
                </a:lnTo>
                <a:lnTo>
                  <a:pt x="870" y="72"/>
                </a:lnTo>
                <a:lnTo>
                  <a:pt x="870" y="78"/>
                </a:lnTo>
                <a:lnTo>
                  <a:pt x="870" y="84"/>
                </a:lnTo>
                <a:lnTo>
                  <a:pt x="870" y="90"/>
                </a:lnTo>
                <a:close/>
                <a:moveTo>
                  <a:pt x="972" y="156"/>
                </a:moveTo>
                <a:lnTo>
                  <a:pt x="972" y="162"/>
                </a:lnTo>
                <a:lnTo>
                  <a:pt x="978" y="162"/>
                </a:lnTo>
                <a:lnTo>
                  <a:pt x="984" y="168"/>
                </a:lnTo>
                <a:lnTo>
                  <a:pt x="990" y="168"/>
                </a:lnTo>
                <a:lnTo>
                  <a:pt x="990" y="162"/>
                </a:lnTo>
                <a:lnTo>
                  <a:pt x="1008" y="162"/>
                </a:lnTo>
                <a:lnTo>
                  <a:pt x="1020" y="162"/>
                </a:lnTo>
                <a:lnTo>
                  <a:pt x="1038" y="162"/>
                </a:lnTo>
                <a:lnTo>
                  <a:pt x="1056" y="168"/>
                </a:lnTo>
                <a:lnTo>
                  <a:pt x="1056" y="180"/>
                </a:lnTo>
                <a:lnTo>
                  <a:pt x="1056" y="186"/>
                </a:lnTo>
                <a:lnTo>
                  <a:pt x="1056" y="204"/>
                </a:lnTo>
                <a:lnTo>
                  <a:pt x="1050" y="204"/>
                </a:lnTo>
                <a:lnTo>
                  <a:pt x="1044" y="204"/>
                </a:lnTo>
                <a:lnTo>
                  <a:pt x="1038" y="204"/>
                </a:lnTo>
                <a:lnTo>
                  <a:pt x="1032" y="204"/>
                </a:lnTo>
                <a:lnTo>
                  <a:pt x="1026" y="204"/>
                </a:lnTo>
                <a:lnTo>
                  <a:pt x="1020" y="204"/>
                </a:lnTo>
                <a:lnTo>
                  <a:pt x="1014" y="204"/>
                </a:lnTo>
                <a:lnTo>
                  <a:pt x="1008" y="204"/>
                </a:lnTo>
                <a:lnTo>
                  <a:pt x="1002" y="204"/>
                </a:lnTo>
                <a:lnTo>
                  <a:pt x="996" y="204"/>
                </a:lnTo>
                <a:lnTo>
                  <a:pt x="984" y="204"/>
                </a:lnTo>
                <a:lnTo>
                  <a:pt x="984" y="198"/>
                </a:lnTo>
                <a:lnTo>
                  <a:pt x="978" y="198"/>
                </a:lnTo>
                <a:lnTo>
                  <a:pt x="966" y="198"/>
                </a:lnTo>
                <a:lnTo>
                  <a:pt x="948" y="192"/>
                </a:lnTo>
                <a:lnTo>
                  <a:pt x="942" y="192"/>
                </a:lnTo>
                <a:lnTo>
                  <a:pt x="936" y="192"/>
                </a:lnTo>
                <a:lnTo>
                  <a:pt x="924" y="192"/>
                </a:lnTo>
                <a:lnTo>
                  <a:pt x="918" y="192"/>
                </a:lnTo>
                <a:lnTo>
                  <a:pt x="918" y="186"/>
                </a:lnTo>
                <a:lnTo>
                  <a:pt x="912" y="186"/>
                </a:lnTo>
                <a:lnTo>
                  <a:pt x="906" y="186"/>
                </a:lnTo>
                <a:lnTo>
                  <a:pt x="900" y="186"/>
                </a:lnTo>
                <a:lnTo>
                  <a:pt x="894" y="186"/>
                </a:lnTo>
                <a:lnTo>
                  <a:pt x="888" y="186"/>
                </a:lnTo>
                <a:lnTo>
                  <a:pt x="888" y="180"/>
                </a:lnTo>
                <a:lnTo>
                  <a:pt x="882" y="180"/>
                </a:lnTo>
                <a:lnTo>
                  <a:pt x="876" y="180"/>
                </a:lnTo>
                <a:lnTo>
                  <a:pt x="870" y="180"/>
                </a:lnTo>
                <a:lnTo>
                  <a:pt x="864" y="180"/>
                </a:lnTo>
                <a:lnTo>
                  <a:pt x="858" y="180"/>
                </a:lnTo>
                <a:lnTo>
                  <a:pt x="852" y="180"/>
                </a:lnTo>
                <a:lnTo>
                  <a:pt x="852" y="174"/>
                </a:lnTo>
                <a:lnTo>
                  <a:pt x="846" y="174"/>
                </a:lnTo>
                <a:lnTo>
                  <a:pt x="840" y="174"/>
                </a:lnTo>
                <a:lnTo>
                  <a:pt x="834" y="174"/>
                </a:lnTo>
                <a:lnTo>
                  <a:pt x="828" y="174"/>
                </a:lnTo>
                <a:lnTo>
                  <a:pt x="822" y="174"/>
                </a:lnTo>
                <a:lnTo>
                  <a:pt x="816" y="174"/>
                </a:lnTo>
                <a:lnTo>
                  <a:pt x="810" y="168"/>
                </a:lnTo>
                <a:lnTo>
                  <a:pt x="804" y="168"/>
                </a:lnTo>
                <a:lnTo>
                  <a:pt x="798" y="168"/>
                </a:lnTo>
                <a:lnTo>
                  <a:pt x="792" y="168"/>
                </a:lnTo>
                <a:lnTo>
                  <a:pt x="786" y="168"/>
                </a:lnTo>
                <a:lnTo>
                  <a:pt x="780" y="168"/>
                </a:lnTo>
                <a:lnTo>
                  <a:pt x="774" y="168"/>
                </a:lnTo>
                <a:lnTo>
                  <a:pt x="768" y="168"/>
                </a:lnTo>
                <a:lnTo>
                  <a:pt x="762" y="168"/>
                </a:lnTo>
                <a:lnTo>
                  <a:pt x="756" y="168"/>
                </a:lnTo>
                <a:lnTo>
                  <a:pt x="750" y="168"/>
                </a:lnTo>
                <a:lnTo>
                  <a:pt x="750" y="162"/>
                </a:lnTo>
                <a:lnTo>
                  <a:pt x="744" y="168"/>
                </a:lnTo>
                <a:lnTo>
                  <a:pt x="738" y="162"/>
                </a:lnTo>
                <a:lnTo>
                  <a:pt x="732" y="162"/>
                </a:lnTo>
                <a:lnTo>
                  <a:pt x="726" y="162"/>
                </a:lnTo>
                <a:lnTo>
                  <a:pt x="714" y="162"/>
                </a:lnTo>
                <a:lnTo>
                  <a:pt x="702" y="162"/>
                </a:lnTo>
                <a:lnTo>
                  <a:pt x="696" y="168"/>
                </a:lnTo>
                <a:lnTo>
                  <a:pt x="690" y="168"/>
                </a:lnTo>
                <a:lnTo>
                  <a:pt x="684" y="168"/>
                </a:lnTo>
                <a:lnTo>
                  <a:pt x="678" y="168"/>
                </a:lnTo>
                <a:lnTo>
                  <a:pt x="672" y="168"/>
                </a:lnTo>
                <a:lnTo>
                  <a:pt x="666" y="168"/>
                </a:lnTo>
                <a:lnTo>
                  <a:pt x="660" y="168"/>
                </a:lnTo>
                <a:lnTo>
                  <a:pt x="654" y="168"/>
                </a:lnTo>
                <a:lnTo>
                  <a:pt x="648" y="174"/>
                </a:lnTo>
                <a:lnTo>
                  <a:pt x="648" y="168"/>
                </a:lnTo>
                <a:lnTo>
                  <a:pt x="642" y="174"/>
                </a:lnTo>
                <a:lnTo>
                  <a:pt x="636" y="174"/>
                </a:lnTo>
                <a:lnTo>
                  <a:pt x="630" y="174"/>
                </a:lnTo>
                <a:lnTo>
                  <a:pt x="624" y="174"/>
                </a:lnTo>
                <a:lnTo>
                  <a:pt x="618" y="174"/>
                </a:lnTo>
                <a:lnTo>
                  <a:pt x="612" y="174"/>
                </a:lnTo>
                <a:lnTo>
                  <a:pt x="606" y="174"/>
                </a:lnTo>
                <a:lnTo>
                  <a:pt x="600" y="174"/>
                </a:lnTo>
                <a:lnTo>
                  <a:pt x="594" y="174"/>
                </a:lnTo>
                <a:lnTo>
                  <a:pt x="588" y="174"/>
                </a:lnTo>
                <a:lnTo>
                  <a:pt x="582" y="174"/>
                </a:lnTo>
                <a:lnTo>
                  <a:pt x="576" y="174"/>
                </a:lnTo>
                <a:lnTo>
                  <a:pt x="570" y="174"/>
                </a:lnTo>
                <a:lnTo>
                  <a:pt x="564" y="174"/>
                </a:lnTo>
                <a:lnTo>
                  <a:pt x="558" y="174"/>
                </a:lnTo>
                <a:lnTo>
                  <a:pt x="552" y="174"/>
                </a:lnTo>
                <a:lnTo>
                  <a:pt x="540" y="174"/>
                </a:lnTo>
                <a:lnTo>
                  <a:pt x="534" y="174"/>
                </a:lnTo>
                <a:lnTo>
                  <a:pt x="522" y="174"/>
                </a:lnTo>
                <a:lnTo>
                  <a:pt x="510" y="174"/>
                </a:lnTo>
                <a:lnTo>
                  <a:pt x="504" y="174"/>
                </a:lnTo>
                <a:lnTo>
                  <a:pt x="498" y="174"/>
                </a:lnTo>
                <a:lnTo>
                  <a:pt x="492" y="174"/>
                </a:lnTo>
                <a:lnTo>
                  <a:pt x="486" y="174"/>
                </a:lnTo>
                <a:lnTo>
                  <a:pt x="480" y="174"/>
                </a:lnTo>
                <a:lnTo>
                  <a:pt x="474" y="174"/>
                </a:lnTo>
                <a:lnTo>
                  <a:pt x="468" y="174"/>
                </a:lnTo>
                <a:lnTo>
                  <a:pt x="462" y="174"/>
                </a:lnTo>
                <a:lnTo>
                  <a:pt x="456" y="174"/>
                </a:lnTo>
                <a:lnTo>
                  <a:pt x="450" y="180"/>
                </a:lnTo>
                <a:lnTo>
                  <a:pt x="450" y="186"/>
                </a:lnTo>
                <a:lnTo>
                  <a:pt x="450" y="192"/>
                </a:lnTo>
                <a:lnTo>
                  <a:pt x="444" y="192"/>
                </a:lnTo>
                <a:lnTo>
                  <a:pt x="444" y="186"/>
                </a:lnTo>
                <a:lnTo>
                  <a:pt x="444" y="180"/>
                </a:lnTo>
                <a:lnTo>
                  <a:pt x="450" y="180"/>
                </a:lnTo>
                <a:lnTo>
                  <a:pt x="450" y="174"/>
                </a:lnTo>
                <a:lnTo>
                  <a:pt x="450" y="168"/>
                </a:lnTo>
                <a:lnTo>
                  <a:pt x="450" y="162"/>
                </a:lnTo>
                <a:lnTo>
                  <a:pt x="456" y="162"/>
                </a:lnTo>
                <a:lnTo>
                  <a:pt x="456" y="168"/>
                </a:lnTo>
                <a:lnTo>
                  <a:pt x="456" y="162"/>
                </a:lnTo>
                <a:lnTo>
                  <a:pt x="462" y="162"/>
                </a:lnTo>
                <a:lnTo>
                  <a:pt x="468" y="162"/>
                </a:lnTo>
                <a:lnTo>
                  <a:pt x="468" y="168"/>
                </a:lnTo>
                <a:lnTo>
                  <a:pt x="474" y="168"/>
                </a:lnTo>
                <a:lnTo>
                  <a:pt x="480" y="168"/>
                </a:lnTo>
                <a:lnTo>
                  <a:pt x="480" y="162"/>
                </a:lnTo>
                <a:lnTo>
                  <a:pt x="480" y="156"/>
                </a:lnTo>
                <a:lnTo>
                  <a:pt x="486" y="156"/>
                </a:lnTo>
                <a:lnTo>
                  <a:pt x="486" y="162"/>
                </a:lnTo>
                <a:lnTo>
                  <a:pt x="486" y="156"/>
                </a:lnTo>
                <a:lnTo>
                  <a:pt x="492" y="156"/>
                </a:lnTo>
                <a:lnTo>
                  <a:pt x="486" y="150"/>
                </a:lnTo>
                <a:lnTo>
                  <a:pt x="492" y="150"/>
                </a:lnTo>
                <a:lnTo>
                  <a:pt x="498" y="150"/>
                </a:lnTo>
                <a:lnTo>
                  <a:pt x="498" y="156"/>
                </a:lnTo>
                <a:lnTo>
                  <a:pt x="504" y="156"/>
                </a:lnTo>
                <a:lnTo>
                  <a:pt x="504" y="162"/>
                </a:lnTo>
                <a:lnTo>
                  <a:pt x="504" y="156"/>
                </a:lnTo>
                <a:lnTo>
                  <a:pt x="510" y="156"/>
                </a:lnTo>
                <a:lnTo>
                  <a:pt x="510" y="150"/>
                </a:lnTo>
                <a:lnTo>
                  <a:pt x="516" y="150"/>
                </a:lnTo>
                <a:lnTo>
                  <a:pt x="522" y="150"/>
                </a:lnTo>
                <a:lnTo>
                  <a:pt x="522" y="144"/>
                </a:lnTo>
                <a:lnTo>
                  <a:pt x="522" y="150"/>
                </a:lnTo>
                <a:lnTo>
                  <a:pt x="528" y="150"/>
                </a:lnTo>
                <a:lnTo>
                  <a:pt x="534" y="150"/>
                </a:lnTo>
                <a:lnTo>
                  <a:pt x="528" y="150"/>
                </a:lnTo>
                <a:lnTo>
                  <a:pt x="528" y="144"/>
                </a:lnTo>
                <a:lnTo>
                  <a:pt x="540" y="144"/>
                </a:lnTo>
                <a:lnTo>
                  <a:pt x="546" y="144"/>
                </a:lnTo>
                <a:lnTo>
                  <a:pt x="552" y="138"/>
                </a:lnTo>
                <a:lnTo>
                  <a:pt x="552" y="132"/>
                </a:lnTo>
                <a:lnTo>
                  <a:pt x="558" y="132"/>
                </a:lnTo>
                <a:lnTo>
                  <a:pt x="558" y="126"/>
                </a:lnTo>
                <a:lnTo>
                  <a:pt x="558" y="120"/>
                </a:lnTo>
                <a:lnTo>
                  <a:pt x="558" y="114"/>
                </a:lnTo>
                <a:lnTo>
                  <a:pt x="564" y="114"/>
                </a:lnTo>
                <a:lnTo>
                  <a:pt x="570" y="114"/>
                </a:lnTo>
                <a:lnTo>
                  <a:pt x="576" y="114"/>
                </a:lnTo>
                <a:lnTo>
                  <a:pt x="582" y="120"/>
                </a:lnTo>
                <a:lnTo>
                  <a:pt x="588" y="120"/>
                </a:lnTo>
                <a:lnTo>
                  <a:pt x="588" y="126"/>
                </a:lnTo>
                <a:lnTo>
                  <a:pt x="588" y="120"/>
                </a:lnTo>
                <a:lnTo>
                  <a:pt x="594" y="120"/>
                </a:lnTo>
                <a:lnTo>
                  <a:pt x="594" y="114"/>
                </a:lnTo>
                <a:lnTo>
                  <a:pt x="594" y="120"/>
                </a:lnTo>
                <a:lnTo>
                  <a:pt x="594" y="114"/>
                </a:lnTo>
                <a:lnTo>
                  <a:pt x="600" y="114"/>
                </a:lnTo>
                <a:lnTo>
                  <a:pt x="606" y="114"/>
                </a:lnTo>
                <a:lnTo>
                  <a:pt x="618" y="114"/>
                </a:lnTo>
                <a:lnTo>
                  <a:pt x="618" y="108"/>
                </a:lnTo>
                <a:lnTo>
                  <a:pt x="624" y="108"/>
                </a:lnTo>
                <a:lnTo>
                  <a:pt x="624" y="102"/>
                </a:lnTo>
                <a:lnTo>
                  <a:pt x="630" y="102"/>
                </a:lnTo>
                <a:lnTo>
                  <a:pt x="636" y="102"/>
                </a:lnTo>
                <a:lnTo>
                  <a:pt x="636" y="108"/>
                </a:lnTo>
                <a:lnTo>
                  <a:pt x="642" y="108"/>
                </a:lnTo>
                <a:lnTo>
                  <a:pt x="648" y="108"/>
                </a:lnTo>
                <a:lnTo>
                  <a:pt x="648" y="102"/>
                </a:lnTo>
                <a:lnTo>
                  <a:pt x="654" y="102"/>
                </a:lnTo>
                <a:lnTo>
                  <a:pt x="660" y="102"/>
                </a:lnTo>
                <a:lnTo>
                  <a:pt x="660" y="96"/>
                </a:lnTo>
                <a:lnTo>
                  <a:pt x="660" y="90"/>
                </a:lnTo>
                <a:lnTo>
                  <a:pt x="666" y="90"/>
                </a:lnTo>
                <a:lnTo>
                  <a:pt x="666" y="84"/>
                </a:lnTo>
                <a:lnTo>
                  <a:pt x="672" y="78"/>
                </a:lnTo>
                <a:lnTo>
                  <a:pt x="672" y="72"/>
                </a:lnTo>
                <a:lnTo>
                  <a:pt x="678" y="66"/>
                </a:lnTo>
                <a:lnTo>
                  <a:pt x="684" y="66"/>
                </a:lnTo>
                <a:lnTo>
                  <a:pt x="684" y="60"/>
                </a:lnTo>
                <a:lnTo>
                  <a:pt x="690" y="60"/>
                </a:lnTo>
                <a:lnTo>
                  <a:pt x="696" y="60"/>
                </a:lnTo>
                <a:lnTo>
                  <a:pt x="702" y="60"/>
                </a:lnTo>
                <a:lnTo>
                  <a:pt x="702" y="66"/>
                </a:lnTo>
                <a:lnTo>
                  <a:pt x="708" y="66"/>
                </a:lnTo>
                <a:lnTo>
                  <a:pt x="714" y="66"/>
                </a:lnTo>
                <a:lnTo>
                  <a:pt x="720" y="66"/>
                </a:lnTo>
                <a:lnTo>
                  <a:pt x="720" y="60"/>
                </a:lnTo>
                <a:lnTo>
                  <a:pt x="726" y="60"/>
                </a:lnTo>
                <a:lnTo>
                  <a:pt x="732" y="60"/>
                </a:lnTo>
                <a:lnTo>
                  <a:pt x="744" y="60"/>
                </a:lnTo>
                <a:lnTo>
                  <a:pt x="750" y="54"/>
                </a:lnTo>
                <a:lnTo>
                  <a:pt x="762" y="60"/>
                </a:lnTo>
                <a:lnTo>
                  <a:pt x="774" y="60"/>
                </a:lnTo>
                <a:lnTo>
                  <a:pt x="774" y="66"/>
                </a:lnTo>
                <a:lnTo>
                  <a:pt x="780" y="72"/>
                </a:lnTo>
                <a:lnTo>
                  <a:pt x="786" y="78"/>
                </a:lnTo>
                <a:lnTo>
                  <a:pt x="792" y="78"/>
                </a:lnTo>
                <a:lnTo>
                  <a:pt x="810" y="84"/>
                </a:lnTo>
                <a:lnTo>
                  <a:pt x="822" y="84"/>
                </a:lnTo>
                <a:lnTo>
                  <a:pt x="828" y="84"/>
                </a:lnTo>
                <a:lnTo>
                  <a:pt x="834" y="84"/>
                </a:lnTo>
                <a:lnTo>
                  <a:pt x="840" y="96"/>
                </a:lnTo>
                <a:lnTo>
                  <a:pt x="846" y="102"/>
                </a:lnTo>
                <a:lnTo>
                  <a:pt x="858" y="102"/>
                </a:lnTo>
                <a:lnTo>
                  <a:pt x="864" y="102"/>
                </a:lnTo>
                <a:lnTo>
                  <a:pt x="876" y="96"/>
                </a:lnTo>
                <a:lnTo>
                  <a:pt x="882" y="102"/>
                </a:lnTo>
                <a:lnTo>
                  <a:pt x="888" y="108"/>
                </a:lnTo>
                <a:lnTo>
                  <a:pt x="888" y="114"/>
                </a:lnTo>
                <a:lnTo>
                  <a:pt x="888" y="120"/>
                </a:lnTo>
                <a:lnTo>
                  <a:pt x="888" y="126"/>
                </a:lnTo>
                <a:lnTo>
                  <a:pt x="888" y="132"/>
                </a:lnTo>
                <a:lnTo>
                  <a:pt x="882" y="132"/>
                </a:lnTo>
                <a:lnTo>
                  <a:pt x="864" y="126"/>
                </a:lnTo>
                <a:lnTo>
                  <a:pt x="852" y="120"/>
                </a:lnTo>
                <a:lnTo>
                  <a:pt x="840" y="126"/>
                </a:lnTo>
                <a:lnTo>
                  <a:pt x="834" y="120"/>
                </a:lnTo>
                <a:lnTo>
                  <a:pt x="828" y="120"/>
                </a:lnTo>
                <a:lnTo>
                  <a:pt x="822" y="120"/>
                </a:lnTo>
                <a:lnTo>
                  <a:pt x="810" y="114"/>
                </a:lnTo>
                <a:lnTo>
                  <a:pt x="804" y="114"/>
                </a:lnTo>
                <a:lnTo>
                  <a:pt x="798" y="114"/>
                </a:lnTo>
                <a:lnTo>
                  <a:pt x="792" y="114"/>
                </a:lnTo>
                <a:lnTo>
                  <a:pt x="786" y="114"/>
                </a:lnTo>
                <a:lnTo>
                  <a:pt x="780" y="114"/>
                </a:lnTo>
                <a:lnTo>
                  <a:pt x="780" y="126"/>
                </a:lnTo>
                <a:lnTo>
                  <a:pt x="786" y="126"/>
                </a:lnTo>
                <a:lnTo>
                  <a:pt x="798" y="126"/>
                </a:lnTo>
                <a:lnTo>
                  <a:pt x="804" y="126"/>
                </a:lnTo>
                <a:lnTo>
                  <a:pt x="822" y="132"/>
                </a:lnTo>
                <a:lnTo>
                  <a:pt x="828" y="132"/>
                </a:lnTo>
                <a:lnTo>
                  <a:pt x="834" y="132"/>
                </a:lnTo>
                <a:lnTo>
                  <a:pt x="840" y="144"/>
                </a:lnTo>
                <a:lnTo>
                  <a:pt x="846" y="150"/>
                </a:lnTo>
                <a:lnTo>
                  <a:pt x="858" y="150"/>
                </a:lnTo>
                <a:lnTo>
                  <a:pt x="864" y="162"/>
                </a:lnTo>
                <a:lnTo>
                  <a:pt x="870" y="162"/>
                </a:lnTo>
                <a:lnTo>
                  <a:pt x="876" y="168"/>
                </a:lnTo>
                <a:lnTo>
                  <a:pt x="888" y="168"/>
                </a:lnTo>
                <a:lnTo>
                  <a:pt x="894" y="174"/>
                </a:lnTo>
                <a:lnTo>
                  <a:pt x="900" y="174"/>
                </a:lnTo>
                <a:lnTo>
                  <a:pt x="918" y="174"/>
                </a:lnTo>
                <a:lnTo>
                  <a:pt x="924" y="174"/>
                </a:lnTo>
                <a:lnTo>
                  <a:pt x="930" y="174"/>
                </a:lnTo>
                <a:lnTo>
                  <a:pt x="942" y="174"/>
                </a:lnTo>
                <a:lnTo>
                  <a:pt x="954" y="174"/>
                </a:lnTo>
                <a:lnTo>
                  <a:pt x="960" y="174"/>
                </a:lnTo>
                <a:lnTo>
                  <a:pt x="966" y="174"/>
                </a:lnTo>
                <a:lnTo>
                  <a:pt x="966" y="168"/>
                </a:lnTo>
                <a:lnTo>
                  <a:pt x="972" y="162"/>
                </a:lnTo>
                <a:lnTo>
                  <a:pt x="972" y="156"/>
                </a:lnTo>
                <a:close/>
                <a:moveTo>
                  <a:pt x="942" y="174"/>
                </a:moveTo>
                <a:lnTo>
                  <a:pt x="936" y="174"/>
                </a:lnTo>
                <a:lnTo>
                  <a:pt x="936" y="168"/>
                </a:lnTo>
                <a:lnTo>
                  <a:pt x="936" y="162"/>
                </a:lnTo>
                <a:lnTo>
                  <a:pt x="948" y="162"/>
                </a:lnTo>
                <a:lnTo>
                  <a:pt x="948" y="156"/>
                </a:lnTo>
                <a:lnTo>
                  <a:pt x="954" y="156"/>
                </a:lnTo>
                <a:lnTo>
                  <a:pt x="960" y="156"/>
                </a:lnTo>
                <a:lnTo>
                  <a:pt x="966" y="156"/>
                </a:lnTo>
                <a:lnTo>
                  <a:pt x="966" y="162"/>
                </a:lnTo>
                <a:lnTo>
                  <a:pt x="960" y="168"/>
                </a:lnTo>
                <a:lnTo>
                  <a:pt x="942" y="174"/>
                </a:lnTo>
                <a:close/>
                <a:moveTo>
                  <a:pt x="900" y="168"/>
                </a:moveTo>
                <a:lnTo>
                  <a:pt x="894" y="168"/>
                </a:lnTo>
                <a:lnTo>
                  <a:pt x="882" y="156"/>
                </a:lnTo>
                <a:lnTo>
                  <a:pt x="882" y="150"/>
                </a:lnTo>
                <a:lnTo>
                  <a:pt x="888" y="156"/>
                </a:lnTo>
                <a:lnTo>
                  <a:pt x="894" y="150"/>
                </a:lnTo>
                <a:lnTo>
                  <a:pt x="900" y="150"/>
                </a:lnTo>
                <a:lnTo>
                  <a:pt x="906" y="150"/>
                </a:lnTo>
                <a:lnTo>
                  <a:pt x="912" y="150"/>
                </a:lnTo>
                <a:lnTo>
                  <a:pt x="924" y="150"/>
                </a:lnTo>
                <a:lnTo>
                  <a:pt x="924" y="156"/>
                </a:lnTo>
                <a:lnTo>
                  <a:pt x="924" y="162"/>
                </a:lnTo>
                <a:lnTo>
                  <a:pt x="924" y="168"/>
                </a:lnTo>
                <a:lnTo>
                  <a:pt x="918" y="168"/>
                </a:lnTo>
                <a:lnTo>
                  <a:pt x="906" y="168"/>
                </a:lnTo>
                <a:lnTo>
                  <a:pt x="900" y="168"/>
                </a:lnTo>
                <a:close/>
                <a:moveTo>
                  <a:pt x="870" y="162"/>
                </a:moveTo>
                <a:lnTo>
                  <a:pt x="876" y="162"/>
                </a:lnTo>
                <a:lnTo>
                  <a:pt x="876" y="168"/>
                </a:lnTo>
                <a:lnTo>
                  <a:pt x="870" y="168"/>
                </a:lnTo>
                <a:lnTo>
                  <a:pt x="870" y="162"/>
                </a:lnTo>
                <a:close/>
                <a:moveTo>
                  <a:pt x="450" y="162"/>
                </a:moveTo>
                <a:lnTo>
                  <a:pt x="444" y="162"/>
                </a:lnTo>
                <a:lnTo>
                  <a:pt x="444" y="156"/>
                </a:lnTo>
                <a:lnTo>
                  <a:pt x="438" y="156"/>
                </a:lnTo>
                <a:lnTo>
                  <a:pt x="432" y="150"/>
                </a:lnTo>
                <a:lnTo>
                  <a:pt x="438" y="150"/>
                </a:lnTo>
                <a:lnTo>
                  <a:pt x="438" y="144"/>
                </a:lnTo>
                <a:lnTo>
                  <a:pt x="438" y="150"/>
                </a:lnTo>
                <a:lnTo>
                  <a:pt x="444" y="150"/>
                </a:lnTo>
                <a:lnTo>
                  <a:pt x="450" y="150"/>
                </a:lnTo>
                <a:lnTo>
                  <a:pt x="450" y="156"/>
                </a:lnTo>
                <a:lnTo>
                  <a:pt x="456" y="156"/>
                </a:lnTo>
                <a:lnTo>
                  <a:pt x="456" y="150"/>
                </a:lnTo>
                <a:lnTo>
                  <a:pt x="456" y="156"/>
                </a:lnTo>
                <a:lnTo>
                  <a:pt x="462" y="150"/>
                </a:lnTo>
                <a:lnTo>
                  <a:pt x="462" y="144"/>
                </a:lnTo>
                <a:lnTo>
                  <a:pt x="468" y="144"/>
                </a:lnTo>
                <a:lnTo>
                  <a:pt x="468" y="150"/>
                </a:lnTo>
                <a:lnTo>
                  <a:pt x="474" y="150"/>
                </a:lnTo>
                <a:lnTo>
                  <a:pt x="480" y="150"/>
                </a:lnTo>
                <a:lnTo>
                  <a:pt x="480" y="156"/>
                </a:lnTo>
                <a:lnTo>
                  <a:pt x="480" y="162"/>
                </a:lnTo>
                <a:lnTo>
                  <a:pt x="474" y="162"/>
                </a:lnTo>
                <a:lnTo>
                  <a:pt x="474" y="168"/>
                </a:lnTo>
                <a:lnTo>
                  <a:pt x="474" y="162"/>
                </a:lnTo>
                <a:lnTo>
                  <a:pt x="468" y="162"/>
                </a:lnTo>
                <a:lnTo>
                  <a:pt x="462" y="162"/>
                </a:lnTo>
                <a:lnTo>
                  <a:pt x="456" y="162"/>
                </a:lnTo>
                <a:lnTo>
                  <a:pt x="450" y="162"/>
                </a:lnTo>
                <a:close/>
              </a:path>
            </a:pathLst>
          </a:custGeom>
          <a:solidFill>
            <a:srgbClr val="A1A1A1"/>
          </a:solidFill>
          <a:ln w="9525" cap="flat" cmpd="sng">
            <a:solidFill>
              <a:srgbClr val="33872D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75" name="Freeform 31">
            <a:extLst>
              <a:ext uri="{FF2B5EF4-FFF2-40B4-BE49-F238E27FC236}">
                <a16:creationId xmlns:a16="http://schemas.microsoft.com/office/drawing/2014/main" id="{9606DAD7-E401-421B-ADF8-4D0106928B10}"/>
              </a:ext>
            </a:extLst>
          </p:cNvPr>
          <p:cNvSpPr>
            <a:spLocks/>
          </p:cNvSpPr>
          <p:nvPr/>
        </p:nvSpPr>
        <p:spPr bwMode="gray">
          <a:xfrm>
            <a:off x="2897016" y="3402185"/>
            <a:ext cx="1277603" cy="811720"/>
          </a:xfrm>
          <a:custGeom>
            <a:avLst/>
            <a:gdLst>
              <a:gd name="T0" fmla="*/ 138 w 2226"/>
              <a:gd name="T1" fmla="*/ 121 h 1392"/>
              <a:gd name="T2" fmla="*/ 133 w 2226"/>
              <a:gd name="T3" fmla="*/ 119 h 1392"/>
              <a:gd name="T4" fmla="*/ 128 w 2226"/>
              <a:gd name="T5" fmla="*/ 117 h 1392"/>
              <a:gd name="T6" fmla="*/ 119 w 2226"/>
              <a:gd name="T7" fmla="*/ 116 h 1392"/>
              <a:gd name="T8" fmla="*/ 101 w 2226"/>
              <a:gd name="T9" fmla="*/ 116 h 1392"/>
              <a:gd name="T10" fmla="*/ 94 w 2226"/>
              <a:gd name="T11" fmla="*/ 104 h 1392"/>
              <a:gd name="T12" fmla="*/ 82 w 2226"/>
              <a:gd name="T13" fmla="*/ 83 h 1392"/>
              <a:gd name="T14" fmla="*/ 87 w 2226"/>
              <a:gd name="T15" fmla="*/ 69 h 1392"/>
              <a:gd name="T16" fmla="*/ 82 w 2226"/>
              <a:gd name="T17" fmla="*/ 65 h 1392"/>
              <a:gd name="T18" fmla="*/ 59 w 2226"/>
              <a:gd name="T19" fmla="*/ 57 h 1392"/>
              <a:gd name="T20" fmla="*/ 29 w 2226"/>
              <a:gd name="T21" fmla="*/ 77 h 1392"/>
              <a:gd name="T22" fmla="*/ 20 w 2226"/>
              <a:gd name="T23" fmla="*/ 78 h 1392"/>
              <a:gd name="T24" fmla="*/ 15 w 2226"/>
              <a:gd name="T25" fmla="*/ 82 h 1392"/>
              <a:gd name="T26" fmla="*/ 8 w 2226"/>
              <a:gd name="T27" fmla="*/ 86 h 1392"/>
              <a:gd name="T28" fmla="*/ 1 w 2226"/>
              <a:gd name="T29" fmla="*/ 88 h 1392"/>
              <a:gd name="T30" fmla="*/ 0 w 2226"/>
              <a:gd name="T31" fmla="*/ 82 h 1392"/>
              <a:gd name="T32" fmla="*/ 0 w 2226"/>
              <a:gd name="T33" fmla="*/ 76 h 1392"/>
              <a:gd name="T34" fmla="*/ 2 w 2226"/>
              <a:gd name="T35" fmla="*/ 70 h 1392"/>
              <a:gd name="T36" fmla="*/ 3 w 2226"/>
              <a:gd name="T37" fmla="*/ 65 h 1392"/>
              <a:gd name="T38" fmla="*/ 2 w 2226"/>
              <a:gd name="T39" fmla="*/ 63 h 1392"/>
              <a:gd name="T40" fmla="*/ 9 w 2226"/>
              <a:gd name="T41" fmla="*/ 60 h 1392"/>
              <a:gd name="T42" fmla="*/ 17 w 2226"/>
              <a:gd name="T43" fmla="*/ 59 h 1392"/>
              <a:gd name="T44" fmla="*/ 22 w 2226"/>
              <a:gd name="T45" fmla="*/ 51 h 1392"/>
              <a:gd name="T46" fmla="*/ 23 w 2226"/>
              <a:gd name="T47" fmla="*/ 43 h 1392"/>
              <a:gd name="T48" fmla="*/ 27 w 2226"/>
              <a:gd name="T49" fmla="*/ 34 h 1392"/>
              <a:gd name="T50" fmla="*/ 30 w 2226"/>
              <a:gd name="T51" fmla="*/ 27 h 1392"/>
              <a:gd name="T52" fmla="*/ 33 w 2226"/>
              <a:gd name="T53" fmla="*/ 22 h 1392"/>
              <a:gd name="T54" fmla="*/ 42 w 2226"/>
              <a:gd name="T55" fmla="*/ 17 h 1392"/>
              <a:gd name="T56" fmla="*/ 47 w 2226"/>
              <a:gd name="T57" fmla="*/ 14 h 1392"/>
              <a:gd name="T58" fmla="*/ 49 w 2226"/>
              <a:gd name="T59" fmla="*/ 5 h 1392"/>
              <a:gd name="T60" fmla="*/ 53 w 2226"/>
              <a:gd name="T61" fmla="*/ 0 h 1392"/>
              <a:gd name="T62" fmla="*/ 55 w 2226"/>
              <a:gd name="T63" fmla="*/ 4 h 1392"/>
              <a:gd name="T64" fmla="*/ 59 w 2226"/>
              <a:gd name="T65" fmla="*/ 7 h 1392"/>
              <a:gd name="T66" fmla="*/ 63 w 2226"/>
              <a:gd name="T67" fmla="*/ 7 h 1392"/>
              <a:gd name="T68" fmla="*/ 66 w 2226"/>
              <a:gd name="T69" fmla="*/ 9 h 1392"/>
              <a:gd name="T70" fmla="*/ 67 w 2226"/>
              <a:gd name="T71" fmla="*/ 12 h 1392"/>
              <a:gd name="T72" fmla="*/ 67 w 2226"/>
              <a:gd name="T73" fmla="*/ 13 h 1392"/>
              <a:gd name="T74" fmla="*/ 70 w 2226"/>
              <a:gd name="T75" fmla="*/ 15 h 1392"/>
              <a:gd name="T76" fmla="*/ 74 w 2226"/>
              <a:gd name="T77" fmla="*/ 17 h 1392"/>
              <a:gd name="T78" fmla="*/ 78 w 2226"/>
              <a:gd name="T79" fmla="*/ 18 h 1392"/>
              <a:gd name="T80" fmla="*/ 97 w 2226"/>
              <a:gd name="T81" fmla="*/ 40 h 1392"/>
              <a:gd name="T82" fmla="*/ 102 w 2226"/>
              <a:gd name="T83" fmla="*/ 44 h 1392"/>
              <a:gd name="T84" fmla="*/ 110 w 2226"/>
              <a:gd name="T85" fmla="*/ 49 h 1392"/>
              <a:gd name="T86" fmla="*/ 113 w 2226"/>
              <a:gd name="T87" fmla="*/ 53 h 1392"/>
              <a:gd name="T88" fmla="*/ 118 w 2226"/>
              <a:gd name="T89" fmla="*/ 57 h 1392"/>
              <a:gd name="T90" fmla="*/ 124 w 2226"/>
              <a:gd name="T91" fmla="*/ 54 h 1392"/>
              <a:gd name="T92" fmla="*/ 133 w 2226"/>
              <a:gd name="T93" fmla="*/ 58 h 1392"/>
              <a:gd name="T94" fmla="*/ 137 w 2226"/>
              <a:gd name="T95" fmla="*/ 64 h 1392"/>
              <a:gd name="T96" fmla="*/ 145 w 2226"/>
              <a:gd name="T97" fmla="*/ 65 h 1392"/>
              <a:gd name="T98" fmla="*/ 152 w 2226"/>
              <a:gd name="T99" fmla="*/ 67 h 1392"/>
              <a:gd name="T100" fmla="*/ 161 w 2226"/>
              <a:gd name="T101" fmla="*/ 72 h 1392"/>
              <a:gd name="T102" fmla="*/ 168 w 2226"/>
              <a:gd name="T103" fmla="*/ 76 h 1392"/>
              <a:gd name="T104" fmla="*/ 177 w 2226"/>
              <a:gd name="T105" fmla="*/ 78 h 1392"/>
              <a:gd name="T106" fmla="*/ 184 w 2226"/>
              <a:gd name="T107" fmla="*/ 78 h 1392"/>
              <a:gd name="T108" fmla="*/ 190 w 2226"/>
              <a:gd name="T109" fmla="*/ 81 h 1392"/>
              <a:gd name="T110" fmla="*/ 192 w 2226"/>
              <a:gd name="T111" fmla="*/ 86 h 1392"/>
              <a:gd name="T112" fmla="*/ 187 w 2226"/>
              <a:gd name="T113" fmla="*/ 99 h 1392"/>
              <a:gd name="T114" fmla="*/ 165 w 2226"/>
              <a:gd name="T115" fmla="*/ 97 h 1392"/>
              <a:gd name="T116" fmla="*/ 155 w 2226"/>
              <a:gd name="T117" fmla="*/ 92 h 1392"/>
              <a:gd name="T118" fmla="*/ 146 w 2226"/>
              <a:gd name="T119" fmla="*/ 102 h 1392"/>
              <a:gd name="T120" fmla="*/ 149 w 2226"/>
              <a:gd name="T121" fmla="*/ 106 h 1392"/>
              <a:gd name="T122" fmla="*/ 151 w 2226"/>
              <a:gd name="T123" fmla="*/ 108 h 1392"/>
              <a:gd name="T124" fmla="*/ 157 w 2226"/>
              <a:gd name="T125" fmla="*/ 113 h 139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2226"/>
              <a:gd name="T190" fmla="*/ 0 h 1392"/>
              <a:gd name="T191" fmla="*/ 2226 w 2226"/>
              <a:gd name="T192" fmla="*/ 1392 h 1392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2226" h="1392">
                <a:moveTo>
                  <a:pt x="1782" y="1326"/>
                </a:moveTo>
                <a:lnTo>
                  <a:pt x="1776" y="1332"/>
                </a:lnTo>
                <a:lnTo>
                  <a:pt x="1692" y="1338"/>
                </a:lnTo>
                <a:lnTo>
                  <a:pt x="1680" y="1386"/>
                </a:lnTo>
                <a:lnTo>
                  <a:pt x="1674" y="1392"/>
                </a:lnTo>
                <a:lnTo>
                  <a:pt x="1638" y="1392"/>
                </a:lnTo>
                <a:lnTo>
                  <a:pt x="1620" y="1392"/>
                </a:lnTo>
                <a:lnTo>
                  <a:pt x="1614" y="1392"/>
                </a:lnTo>
                <a:lnTo>
                  <a:pt x="1608" y="1386"/>
                </a:lnTo>
                <a:lnTo>
                  <a:pt x="1584" y="1386"/>
                </a:lnTo>
                <a:lnTo>
                  <a:pt x="1578" y="1386"/>
                </a:lnTo>
                <a:lnTo>
                  <a:pt x="1572" y="1380"/>
                </a:lnTo>
                <a:lnTo>
                  <a:pt x="1578" y="1356"/>
                </a:lnTo>
                <a:lnTo>
                  <a:pt x="1572" y="1356"/>
                </a:lnTo>
                <a:lnTo>
                  <a:pt x="1560" y="1350"/>
                </a:lnTo>
                <a:lnTo>
                  <a:pt x="1554" y="1350"/>
                </a:lnTo>
                <a:lnTo>
                  <a:pt x="1542" y="1350"/>
                </a:lnTo>
                <a:lnTo>
                  <a:pt x="1530" y="1350"/>
                </a:lnTo>
                <a:lnTo>
                  <a:pt x="1524" y="1356"/>
                </a:lnTo>
                <a:lnTo>
                  <a:pt x="1524" y="1362"/>
                </a:lnTo>
                <a:lnTo>
                  <a:pt x="1512" y="1374"/>
                </a:lnTo>
                <a:lnTo>
                  <a:pt x="1506" y="1374"/>
                </a:lnTo>
                <a:lnTo>
                  <a:pt x="1500" y="1368"/>
                </a:lnTo>
                <a:lnTo>
                  <a:pt x="1500" y="1362"/>
                </a:lnTo>
                <a:lnTo>
                  <a:pt x="1488" y="1362"/>
                </a:lnTo>
                <a:lnTo>
                  <a:pt x="1482" y="1356"/>
                </a:lnTo>
                <a:lnTo>
                  <a:pt x="1482" y="1350"/>
                </a:lnTo>
                <a:lnTo>
                  <a:pt x="1476" y="1350"/>
                </a:lnTo>
                <a:lnTo>
                  <a:pt x="1470" y="1344"/>
                </a:lnTo>
                <a:lnTo>
                  <a:pt x="1464" y="1344"/>
                </a:lnTo>
                <a:lnTo>
                  <a:pt x="1452" y="1350"/>
                </a:lnTo>
                <a:lnTo>
                  <a:pt x="1452" y="1356"/>
                </a:lnTo>
                <a:lnTo>
                  <a:pt x="1440" y="1356"/>
                </a:lnTo>
                <a:lnTo>
                  <a:pt x="1434" y="1344"/>
                </a:lnTo>
                <a:lnTo>
                  <a:pt x="1422" y="1332"/>
                </a:lnTo>
                <a:lnTo>
                  <a:pt x="1416" y="1326"/>
                </a:lnTo>
                <a:lnTo>
                  <a:pt x="1404" y="1320"/>
                </a:lnTo>
                <a:lnTo>
                  <a:pt x="1404" y="1314"/>
                </a:lnTo>
                <a:lnTo>
                  <a:pt x="1374" y="1308"/>
                </a:lnTo>
                <a:lnTo>
                  <a:pt x="1368" y="1326"/>
                </a:lnTo>
                <a:lnTo>
                  <a:pt x="1344" y="1338"/>
                </a:lnTo>
                <a:lnTo>
                  <a:pt x="1326" y="1332"/>
                </a:lnTo>
                <a:lnTo>
                  <a:pt x="1302" y="1332"/>
                </a:lnTo>
                <a:lnTo>
                  <a:pt x="1278" y="1338"/>
                </a:lnTo>
                <a:lnTo>
                  <a:pt x="1236" y="1338"/>
                </a:lnTo>
                <a:lnTo>
                  <a:pt x="1224" y="1338"/>
                </a:lnTo>
                <a:lnTo>
                  <a:pt x="1224" y="1326"/>
                </a:lnTo>
                <a:lnTo>
                  <a:pt x="1206" y="1326"/>
                </a:lnTo>
                <a:lnTo>
                  <a:pt x="1170" y="1326"/>
                </a:lnTo>
                <a:lnTo>
                  <a:pt x="1152" y="1326"/>
                </a:lnTo>
                <a:lnTo>
                  <a:pt x="1140" y="1314"/>
                </a:lnTo>
                <a:lnTo>
                  <a:pt x="1134" y="1296"/>
                </a:lnTo>
                <a:lnTo>
                  <a:pt x="1134" y="1284"/>
                </a:lnTo>
                <a:lnTo>
                  <a:pt x="1128" y="1254"/>
                </a:lnTo>
                <a:lnTo>
                  <a:pt x="1128" y="1242"/>
                </a:lnTo>
                <a:lnTo>
                  <a:pt x="1122" y="1230"/>
                </a:lnTo>
                <a:lnTo>
                  <a:pt x="1104" y="1218"/>
                </a:lnTo>
                <a:lnTo>
                  <a:pt x="1104" y="1212"/>
                </a:lnTo>
                <a:lnTo>
                  <a:pt x="1092" y="1206"/>
                </a:lnTo>
                <a:lnTo>
                  <a:pt x="1080" y="1194"/>
                </a:lnTo>
                <a:lnTo>
                  <a:pt x="1068" y="1176"/>
                </a:lnTo>
                <a:lnTo>
                  <a:pt x="1050" y="1152"/>
                </a:lnTo>
                <a:lnTo>
                  <a:pt x="1020" y="1098"/>
                </a:lnTo>
                <a:lnTo>
                  <a:pt x="978" y="1026"/>
                </a:lnTo>
                <a:lnTo>
                  <a:pt x="978" y="1014"/>
                </a:lnTo>
                <a:lnTo>
                  <a:pt x="972" y="1014"/>
                </a:lnTo>
                <a:lnTo>
                  <a:pt x="972" y="1008"/>
                </a:lnTo>
                <a:lnTo>
                  <a:pt x="978" y="1002"/>
                </a:lnTo>
                <a:lnTo>
                  <a:pt x="960" y="966"/>
                </a:lnTo>
                <a:lnTo>
                  <a:pt x="948" y="954"/>
                </a:lnTo>
                <a:lnTo>
                  <a:pt x="948" y="936"/>
                </a:lnTo>
                <a:lnTo>
                  <a:pt x="936" y="900"/>
                </a:lnTo>
                <a:lnTo>
                  <a:pt x="942" y="876"/>
                </a:lnTo>
                <a:lnTo>
                  <a:pt x="942" y="834"/>
                </a:lnTo>
                <a:lnTo>
                  <a:pt x="960" y="828"/>
                </a:lnTo>
                <a:lnTo>
                  <a:pt x="966" y="816"/>
                </a:lnTo>
                <a:lnTo>
                  <a:pt x="972" y="810"/>
                </a:lnTo>
                <a:lnTo>
                  <a:pt x="978" y="804"/>
                </a:lnTo>
                <a:lnTo>
                  <a:pt x="996" y="798"/>
                </a:lnTo>
                <a:lnTo>
                  <a:pt x="996" y="792"/>
                </a:lnTo>
                <a:lnTo>
                  <a:pt x="1014" y="780"/>
                </a:lnTo>
                <a:lnTo>
                  <a:pt x="1026" y="768"/>
                </a:lnTo>
                <a:lnTo>
                  <a:pt x="1032" y="762"/>
                </a:lnTo>
                <a:lnTo>
                  <a:pt x="1026" y="756"/>
                </a:lnTo>
                <a:lnTo>
                  <a:pt x="1014" y="744"/>
                </a:lnTo>
                <a:lnTo>
                  <a:pt x="996" y="756"/>
                </a:lnTo>
                <a:lnTo>
                  <a:pt x="954" y="768"/>
                </a:lnTo>
                <a:lnTo>
                  <a:pt x="942" y="762"/>
                </a:lnTo>
                <a:lnTo>
                  <a:pt x="942" y="756"/>
                </a:lnTo>
                <a:lnTo>
                  <a:pt x="936" y="750"/>
                </a:lnTo>
                <a:lnTo>
                  <a:pt x="846" y="732"/>
                </a:lnTo>
                <a:lnTo>
                  <a:pt x="822" y="726"/>
                </a:lnTo>
                <a:lnTo>
                  <a:pt x="810" y="714"/>
                </a:lnTo>
                <a:lnTo>
                  <a:pt x="792" y="690"/>
                </a:lnTo>
                <a:lnTo>
                  <a:pt x="792" y="678"/>
                </a:lnTo>
                <a:lnTo>
                  <a:pt x="762" y="642"/>
                </a:lnTo>
                <a:lnTo>
                  <a:pt x="750" y="636"/>
                </a:lnTo>
                <a:lnTo>
                  <a:pt x="726" y="630"/>
                </a:lnTo>
                <a:lnTo>
                  <a:pt x="696" y="642"/>
                </a:lnTo>
                <a:lnTo>
                  <a:pt x="678" y="654"/>
                </a:lnTo>
                <a:lnTo>
                  <a:pt x="666" y="684"/>
                </a:lnTo>
                <a:lnTo>
                  <a:pt x="660" y="726"/>
                </a:lnTo>
                <a:lnTo>
                  <a:pt x="606" y="756"/>
                </a:lnTo>
                <a:lnTo>
                  <a:pt x="558" y="780"/>
                </a:lnTo>
                <a:lnTo>
                  <a:pt x="438" y="834"/>
                </a:lnTo>
                <a:lnTo>
                  <a:pt x="402" y="846"/>
                </a:lnTo>
                <a:lnTo>
                  <a:pt x="372" y="870"/>
                </a:lnTo>
                <a:lnTo>
                  <a:pt x="360" y="876"/>
                </a:lnTo>
                <a:lnTo>
                  <a:pt x="354" y="876"/>
                </a:lnTo>
                <a:lnTo>
                  <a:pt x="330" y="882"/>
                </a:lnTo>
                <a:lnTo>
                  <a:pt x="306" y="882"/>
                </a:lnTo>
                <a:lnTo>
                  <a:pt x="300" y="876"/>
                </a:lnTo>
                <a:lnTo>
                  <a:pt x="294" y="876"/>
                </a:lnTo>
                <a:lnTo>
                  <a:pt x="294" y="864"/>
                </a:lnTo>
                <a:lnTo>
                  <a:pt x="288" y="864"/>
                </a:lnTo>
                <a:lnTo>
                  <a:pt x="276" y="864"/>
                </a:lnTo>
                <a:lnTo>
                  <a:pt x="270" y="870"/>
                </a:lnTo>
                <a:lnTo>
                  <a:pt x="264" y="870"/>
                </a:lnTo>
                <a:lnTo>
                  <a:pt x="240" y="894"/>
                </a:lnTo>
                <a:lnTo>
                  <a:pt x="234" y="894"/>
                </a:lnTo>
                <a:lnTo>
                  <a:pt x="228" y="900"/>
                </a:lnTo>
                <a:lnTo>
                  <a:pt x="222" y="906"/>
                </a:lnTo>
                <a:lnTo>
                  <a:pt x="210" y="912"/>
                </a:lnTo>
                <a:lnTo>
                  <a:pt x="204" y="912"/>
                </a:lnTo>
                <a:lnTo>
                  <a:pt x="198" y="912"/>
                </a:lnTo>
                <a:lnTo>
                  <a:pt x="192" y="918"/>
                </a:lnTo>
                <a:lnTo>
                  <a:pt x="180" y="918"/>
                </a:lnTo>
                <a:lnTo>
                  <a:pt x="174" y="930"/>
                </a:lnTo>
                <a:lnTo>
                  <a:pt x="174" y="936"/>
                </a:lnTo>
                <a:lnTo>
                  <a:pt x="168" y="942"/>
                </a:lnTo>
                <a:lnTo>
                  <a:pt x="162" y="942"/>
                </a:lnTo>
                <a:lnTo>
                  <a:pt x="150" y="960"/>
                </a:lnTo>
                <a:lnTo>
                  <a:pt x="144" y="966"/>
                </a:lnTo>
                <a:lnTo>
                  <a:pt x="138" y="972"/>
                </a:lnTo>
                <a:lnTo>
                  <a:pt x="132" y="972"/>
                </a:lnTo>
                <a:lnTo>
                  <a:pt x="126" y="984"/>
                </a:lnTo>
                <a:lnTo>
                  <a:pt x="120" y="984"/>
                </a:lnTo>
                <a:lnTo>
                  <a:pt x="114" y="990"/>
                </a:lnTo>
                <a:lnTo>
                  <a:pt x="96" y="990"/>
                </a:lnTo>
                <a:lnTo>
                  <a:pt x="90" y="990"/>
                </a:lnTo>
                <a:lnTo>
                  <a:pt x="78" y="990"/>
                </a:lnTo>
                <a:lnTo>
                  <a:pt x="72" y="990"/>
                </a:lnTo>
                <a:lnTo>
                  <a:pt x="60" y="990"/>
                </a:lnTo>
                <a:lnTo>
                  <a:pt x="42" y="990"/>
                </a:lnTo>
                <a:lnTo>
                  <a:pt x="36" y="996"/>
                </a:lnTo>
                <a:lnTo>
                  <a:pt x="30" y="1002"/>
                </a:lnTo>
                <a:lnTo>
                  <a:pt x="24" y="1014"/>
                </a:lnTo>
                <a:lnTo>
                  <a:pt x="24" y="1020"/>
                </a:lnTo>
                <a:lnTo>
                  <a:pt x="18" y="1020"/>
                </a:lnTo>
                <a:lnTo>
                  <a:pt x="12" y="1014"/>
                </a:lnTo>
                <a:lnTo>
                  <a:pt x="12" y="1008"/>
                </a:lnTo>
                <a:lnTo>
                  <a:pt x="12" y="990"/>
                </a:lnTo>
                <a:lnTo>
                  <a:pt x="12" y="984"/>
                </a:lnTo>
                <a:lnTo>
                  <a:pt x="12" y="972"/>
                </a:lnTo>
                <a:lnTo>
                  <a:pt x="12" y="966"/>
                </a:lnTo>
                <a:lnTo>
                  <a:pt x="6" y="966"/>
                </a:lnTo>
                <a:lnTo>
                  <a:pt x="6" y="960"/>
                </a:lnTo>
                <a:lnTo>
                  <a:pt x="6" y="954"/>
                </a:lnTo>
                <a:lnTo>
                  <a:pt x="6" y="948"/>
                </a:lnTo>
                <a:lnTo>
                  <a:pt x="6" y="942"/>
                </a:lnTo>
                <a:lnTo>
                  <a:pt x="12" y="930"/>
                </a:lnTo>
                <a:lnTo>
                  <a:pt x="6" y="924"/>
                </a:lnTo>
                <a:lnTo>
                  <a:pt x="6" y="918"/>
                </a:lnTo>
                <a:lnTo>
                  <a:pt x="6" y="912"/>
                </a:lnTo>
                <a:lnTo>
                  <a:pt x="6" y="906"/>
                </a:lnTo>
                <a:lnTo>
                  <a:pt x="6" y="900"/>
                </a:lnTo>
                <a:lnTo>
                  <a:pt x="0" y="894"/>
                </a:lnTo>
                <a:lnTo>
                  <a:pt x="0" y="888"/>
                </a:lnTo>
                <a:lnTo>
                  <a:pt x="0" y="882"/>
                </a:lnTo>
                <a:lnTo>
                  <a:pt x="6" y="876"/>
                </a:lnTo>
                <a:lnTo>
                  <a:pt x="6" y="870"/>
                </a:lnTo>
                <a:lnTo>
                  <a:pt x="18" y="864"/>
                </a:lnTo>
                <a:lnTo>
                  <a:pt x="18" y="858"/>
                </a:lnTo>
                <a:lnTo>
                  <a:pt x="18" y="846"/>
                </a:lnTo>
                <a:lnTo>
                  <a:pt x="18" y="834"/>
                </a:lnTo>
                <a:lnTo>
                  <a:pt x="18" y="828"/>
                </a:lnTo>
                <a:lnTo>
                  <a:pt x="24" y="828"/>
                </a:lnTo>
                <a:lnTo>
                  <a:pt x="24" y="810"/>
                </a:lnTo>
                <a:lnTo>
                  <a:pt x="24" y="804"/>
                </a:lnTo>
                <a:lnTo>
                  <a:pt x="18" y="804"/>
                </a:lnTo>
                <a:lnTo>
                  <a:pt x="18" y="798"/>
                </a:lnTo>
                <a:lnTo>
                  <a:pt x="18" y="792"/>
                </a:lnTo>
                <a:lnTo>
                  <a:pt x="24" y="792"/>
                </a:lnTo>
                <a:lnTo>
                  <a:pt x="30" y="774"/>
                </a:lnTo>
                <a:lnTo>
                  <a:pt x="24" y="768"/>
                </a:lnTo>
                <a:lnTo>
                  <a:pt x="30" y="768"/>
                </a:lnTo>
                <a:lnTo>
                  <a:pt x="36" y="762"/>
                </a:lnTo>
                <a:lnTo>
                  <a:pt x="36" y="756"/>
                </a:lnTo>
                <a:lnTo>
                  <a:pt x="30" y="756"/>
                </a:lnTo>
                <a:lnTo>
                  <a:pt x="30" y="750"/>
                </a:lnTo>
                <a:lnTo>
                  <a:pt x="36" y="750"/>
                </a:lnTo>
                <a:lnTo>
                  <a:pt x="36" y="744"/>
                </a:lnTo>
                <a:lnTo>
                  <a:pt x="30" y="744"/>
                </a:lnTo>
                <a:lnTo>
                  <a:pt x="30" y="738"/>
                </a:lnTo>
                <a:lnTo>
                  <a:pt x="24" y="738"/>
                </a:lnTo>
                <a:lnTo>
                  <a:pt x="24" y="732"/>
                </a:lnTo>
                <a:lnTo>
                  <a:pt x="30" y="732"/>
                </a:lnTo>
                <a:lnTo>
                  <a:pt x="36" y="726"/>
                </a:lnTo>
                <a:lnTo>
                  <a:pt x="30" y="726"/>
                </a:lnTo>
                <a:lnTo>
                  <a:pt x="24" y="726"/>
                </a:lnTo>
                <a:lnTo>
                  <a:pt x="30" y="720"/>
                </a:lnTo>
                <a:lnTo>
                  <a:pt x="30" y="714"/>
                </a:lnTo>
                <a:lnTo>
                  <a:pt x="36" y="714"/>
                </a:lnTo>
                <a:lnTo>
                  <a:pt x="30" y="708"/>
                </a:lnTo>
                <a:lnTo>
                  <a:pt x="30" y="696"/>
                </a:lnTo>
                <a:lnTo>
                  <a:pt x="66" y="702"/>
                </a:lnTo>
                <a:lnTo>
                  <a:pt x="78" y="702"/>
                </a:lnTo>
                <a:lnTo>
                  <a:pt x="84" y="702"/>
                </a:lnTo>
                <a:lnTo>
                  <a:pt x="96" y="696"/>
                </a:lnTo>
                <a:lnTo>
                  <a:pt x="102" y="690"/>
                </a:lnTo>
                <a:lnTo>
                  <a:pt x="102" y="684"/>
                </a:lnTo>
                <a:lnTo>
                  <a:pt x="114" y="684"/>
                </a:lnTo>
                <a:lnTo>
                  <a:pt x="144" y="684"/>
                </a:lnTo>
                <a:lnTo>
                  <a:pt x="150" y="690"/>
                </a:lnTo>
                <a:lnTo>
                  <a:pt x="162" y="696"/>
                </a:lnTo>
                <a:lnTo>
                  <a:pt x="168" y="696"/>
                </a:lnTo>
                <a:lnTo>
                  <a:pt x="174" y="696"/>
                </a:lnTo>
                <a:lnTo>
                  <a:pt x="186" y="690"/>
                </a:lnTo>
                <a:lnTo>
                  <a:pt x="192" y="690"/>
                </a:lnTo>
                <a:lnTo>
                  <a:pt x="198" y="684"/>
                </a:lnTo>
                <a:lnTo>
                  <a:pt x="204" y="684"/>
                </a:lnTo>
                <a:lnTo>
                  <a:pt x="210" y="684"/>
                </a:lnTo>
                <a:lnTo>
                  <a:pt x="222" y="678"/>
                </a:lnTo>
                <a:lnTo>
                  <a:pt x="228" y="678"/>
                </a:lnTo>
                <a:lnTo>
                  <a:pt x="228" y="660"/>
                </a:lnTo>
                <a:lnTo>
                  <a:pt x="234" y="642"/>
                </a:lnTo>
                <a:lnTo>
                  <a:pt x="246" y="618"/>
                </a:lnTo>
                <a:lnTo>
                  <a:pt x="252" y="618"/>
                </a:lnTo>
                <a:lnTo>
                  <a:pt x="252" y="600"/>
                </a:lnTo>
                <a:lnTo>
                  <a:pt x="252" y="588"/>
                </a:lnTo>
                <a:lnTo>
                  <a:pt x="252" y="582"/>
                </a:lnTo>
                <a:lnTo>
                  <a:pt x="258" y="576"/>
                </a:lnTo>
                <a:lnTo>
                  <a:pt x="270" y="564"/>
                </a:lnTo>
                <a:lnTo>
                  <a:pt x="270" y="558"/>
                </a:lnTo>
                <a:lnTo>
                  <a:pt x="270" y="552"/>
                </a:lnTo>
                <a:lnTo>
                  <a:pt x="270" y="540"/>
                </a:lnTo>
                <a:lnTo>
                  <a:pt x="270" y="534"/>
                </a:lnTo>
                <a:lnTo>
                  <a:pt x="270" y="522"/>
                </a:lnTo>
                <a:lnTo>
                  <a:pt x="270" y="510"/>
                </a:lnTo>
                <a:lnTo>
                  <a:pt x="270" y="498"/>
                </a:lnTo>
                <a:lnTo>
                  <a:pt x="258" y="468"/>
                </a:lnTo>
                <a:lnTo>
                  <a:pt x="252" y="456"/>
                </a:lnTo>
                <a:lnTo>
                  <a:pt x="258" y="444"/>
                </a:lnTo>
                <a:lnTo>
                  <a:pt x="264" y="432"/>
                </a:lnTo>
                <a:lnTo>
                  <a:pt x="270" y="426"/>
                </a:lnTo>
                <a:lnTo>
                  <a:pt x="276" y="420"/>
                </a:lnTo>
                <a:lnTo>
                  <a:pt x="288" y="420"/>
                </a:lnTo>
                <a:lnTo>
                  <a:pt x="288" y="414"/>
                </a:lnTo>
                <a:lnTo>
                  <a:pt x="294" y="414"/>
                </a:lnTo>
                <a:lnTo>
                  <a:pt x="306" y="390"/>
                </a:lnTo>
                <a:lnTo>
                  <a:pt x="312" y="384"/>
                </a:lnTo>
                <a:lnTo>
                  <a:pt x="318" y="378"/>
                </a:lnTo>
                <a:lnTo>
                  <a:pt x="318" y="372"/>
                </a:lnTo>
                <a:lnTo>
                  <a:pt x="324" y="366"/>
                </a:lnTo>
                <a:lnTo>
                  <a:pt x="330" y="354"/>
                </a:lnTo>
                <a:lnTo>
                  <a:pt x="336" y="348"/>
                </a:lnTo>
                <a:lnTo>
                  <a:pt x="336" y="330"/>
                </a:lnTo>
                <a:lnTo>
                  <a:pt x="342" y="324"/>
                </a:lnTo>
                <a:lnTo>
                  <a:pt x="342" y="318"/>
                </a:lnTo>
                <a:lnTo>
                  <a:pt x="348" y="318"/>
                </a:lnTo>
                <a:lnTo>
                  <a:pt x="360" y="318"/>
                </a:lnTo>
                <a:lnTo>
                  <a:pt x="372" y="318"/>
                </a:lnTo>
                <a:lnTo>
                  <a:pt x="384" y="306"/>
                </a:lnTo>
                <a:lnTo>
                  <a:pt x="396" y="300"/>
                </a:lnTo>
                <a:lnTo>
                  <a:pt x="396" y="294"/>
                </a:lnTo>
                <a:lnTo>
                  <a:pt x="396" y="288"/>
                </a:lnTo>
                <a:lnTo>
                  <a:pt x="390" y="282"/>
                </a:lnTo>
                <a:lnTo>
                  <a:pt x="390" y="276"/>
                </a:lnTo>
                <a:lnTo>
                  <a:pt x="384" y="264"/>
                </a:lnTo>
                <a:lnTo>
                  <a:pt x="378" y="252"/>
                </a:lnTo>
                <a:lnTo>
                  <a:pt x="378" y="246"/>
                </a:lnTo>
                <a:lnTo>
                  <a:pt x="384" y="228"/>
                </a:lnTo>
                <a:lnTo>
                  <a:pt x="390" y="216"/>
                </a:lnTo>
                <a:lnTo>
                  <a:pt x="402" y="210"/>
                </a:lnTo>
                <a:lnTo>
                  <a:pt x="408" y="210"/>
                </a:lnTo>
                <a:lnTo>
                  <a:pt x="420" y="204"/>
                </a:lnTo>
                <a:lnTo>
                  <a:pt x="444" y="198"/>
                </a:lnTo>
                <a:lnTo>
                  <a:pt x="462" y="192"/>
                </a:lnTo>
                <a:lnTo>
                  <a:pt x="474" y="186"/>
                </a:lnTo>
                <a:lnTo>
                  <a:pt x="480" y="192"/>
                </a:lnTo>
                <a:lnTo>
                  <a:pt x="492" y="192"/>
                </a:lnTo>
                <a:lnTo>
                  <a:pt x="498" y="192"/>
                </a:lnTo>
                <a:lnTo>
                  <a:pt x="504" y="192"/>
                </a:lnTo>
                <a:lnTo>
                  <a:pt x="510" y="192"/>
                </a:lnTo>
                <a:lnTo>
                  <a:pt x="516" y="186"/>
                </a:lnTo>
                <a:lnTo>
                  <a:pt x="522" y="180"/>
                </a:lnTo>
                <a:lnTo>
                  <a:pt x="522" y="174"/>
                </a:lnTo>
                <a:lnTo>
                  <a:pt x="528" y="168"/>
                </a:lnTo>
                <a:lnTo>
                  <a:pt x="534" y="168"/>
                </a:lnTo>
                <a:lnTo>
                  <a:pt x="534" y="156"/>
                </a:lnTo>
                <a:lnTo>
                  <a:pt x="534" y="150"/>
                </a:lnTo>
                <a:lnTo>
                  <a:pt x="552" y="138"/>
                </a:lnTo>
                <a:lnTo>
                  <a:pt x="558" y="126"/>
                </a:lnTo>
                <a:lnTo>
                  <a:pt x="558" y="114"/>
                </a:lnTo>
                <a:lnTo>
                  <a:pt x="564" y="102"/>
                </a:lnTo>
                <a:lnTo>
                  <a:pt x="564" y="96"/>
                </a:lnTo>
                <a:lnTo>
                  <a:pt x="564" y="90"/>
                </a:lnTo>
                <a:lnTo>
                  <a:pt x="564" y="72"/>
                </a:lnTo>
                <a:lnTo>
                  <a:pt x="564" y="60"/>
                </a:lnTo>
                <a:lnTo>
                  <a:pt x="564" y="54"/>
                </a:lnTo>
                <a:lnTo>
                  <a:pt x="570" y="42"/>
                </a:lnTo>
                <a:lnTo>
                  <a:pt x="576" y="42"/>
                </a:lnTo>
                <a:lnTo>
                  <a:pt x="582" y="36"/>
                </a:lnTo>
                <a:lnTo>
                  <a:pt x="594" y="36"/>
                </a:lnTo>
                <a:lnTo>
                  <a:pt x="594" y="30"/>
                </a:lnTo>
                <a:lnTo>
                  <a:pt x="600" y="24"/>
                </a:lnTo>
                <a:lnTo>
                  <a:pt x="600" y="12"/>
                </a:lnTo>
                <a:lnTo>
                  <a:pt x="606" y="6"/>
                </a:lnTo>
                <a:lnTo>
                  <a:pt x="606" y="0"/>
                </a:lnTo>
                <a:lnTo>
                  <a:pt x="612" y="0"/>
                </a:lnTo>
                <a:lnTo>
                  <a:pt x="618" y="0"/>
                </a:lnTo>
                <a:lnTo>
                  <a:pt x="624" y="6"/>
                </a:lnTo>
                <a:lnTo>
                  <a:pt x="624" y="12"/>
                </a:lnTo>
                <a:lnTo>
                  <a:pt x="624" y="18"/>
                </a:lnTo>
                <a:lnTo>
                  <a:pt x="624" y="24"/>
                </a:lnTo>
                <a:lnTo>
                  <a:pt x="624" y="30"/>
                </a:lnTo>
                <a:lnTo>
                  <a:pt x="630" y="30"/>
                </a:lnTo>
                <a:lnTo>
                  <a:pt x="630" y="36"/>
                </a:lnTo>
                <a:lnTo>
                  <a:pt x="630" y="42"/>
                </a:lnTo>
                <a:lnTo>
                  <a:pt x="630" y="48"/>
                </a:lnTo>
                <a:lnTo>
                  <a:pt x="636" y="54"/>
                </a:lnTo>
                <a:lnTo>
                  <a:pt x="642" y="48"/>
                </a:lnTo>
                <a:lnTo>
                  <a:pt x="648" y="48"/>
                </a:lnTo>
                <a:lnTo>
                  <a:pt x="648" y="60"/>
                </a:lnTo>
                <a:lnTo>
                  <a:pt x="654" y="66"/>
                </a:lnTo>
                <a:lnTo>
                  <a:pt x="660" y="72"/>
                </a:lnTo>
                <a:lnTo>
                  <a:pt x="666" y="72"/>
                </a:lnTo>
                <a:lnTo>
                  <a:pt x="666" y="84"/>
                </a:lnTo>
                <a:lnTo>
                  <a:pt x="672" y="84"/>
                </a:lnTo>
                <a:lnTo>
                  <a:pt x="672" y="78"/>
                </a:lnTo>
                <a:lnTo>
                  <a:pt x="672" y="66"/>
                </a:lnTo>
                <a:lnTo>
                  <a:pt x="678" y="66"/>
                </a:lnTo>
                <a:lnTo>
                  <a:pt x="678" y="60"/>
                </a:lnTo>
                <a:lnTo>
                  <a:pt x="684" y="60"/>
                </a:lnTo>
                <a:lnTo>
                  <a:pt x="696" y="66"/>
                </a:lnTo>
                <a:lnTo>
                  <a:pt x="696" y="72"/>
                </a:lnTo>
                <a:lnTo>
                  <a:pt x="702" y="72"/>
                </a:lnTo>
                <a:lnTo>
                  <a:pt x="708" y="72"/>
                </a:lnTo>
                <a:lnTo>
                  <a:pt x="720" y="66"/>
                </a:lnTo>
                <a:lnTo>
                  <a:pt x="726" y="78"/>
                </a:lnTo>
                <a:lnTo>
                  <a:pt x="744" y="84"/>
                </a:lnTo>
                <a:lnTo>
                  <a:pt x="744" y="90"/>
                </a:lnTo>
                <a:lnTo>
                  <a:pt x="744" y="96"/>
                </a:lnTo>
                <a:lnTo>
                  <a:pt x="738" y="96"/>
                </a:lnTo>
                <a:lnTo>
                  <a:pt x="738" y="102"/>
                </a:lnTo>
                <a:lnTo>
                  <a:pt x="732" y="102"/>
                </a:lnTo>
                <a:lnTo>
                  <a:pt x="732" y="108"/>
                </a:lnTo>
                <a:lnTo>
                  <a:pt x="738" y="108"/>
                </a:lnTo>
                <a:lnTo>
                  <a:pt x="744" y="114"/>
                </a:lnTo>
                <a:lnTo>
                  <a:pt x="750" y="108"/>
                </a:lnTo>
                <a:lnTo>
                  <a:pt x="756" y="108"/>
                </a:lnTo>
                <a:lnTo>
                  <a:pt x="762" y="108"/>
                </a:lnTo>
                <a:lnTo>
                  <a:pt x="768" y="108"/>
                </a:lnTo>
                <a:lnTo>
                  <a:pt x="774" y="114"/>
                </a:lnTo>
                <a:lnTo>
                  <a:pt x="780" y="120"/>
                </a:lnTo>
                <a:lnTo>
                  <a:pt x="774" y="120"/>
                </a:lnTo>
                <a:lnTo>
                  <a:pt x="768" y="120"/>
                </a:lnTo>
                <a:lnTo>
                  <a:pt x="768" y="126"/>
                </a:lnTo>
                <a:lnTo>
                  <a:pt x="768" y="132"/>
                </a:lnTo>
                <a:lnTo>
                  <a:pt x="774" y="138"/>
                </a:lnTo>
                <a:lnTo>
                  <a:pt x="774" y="132"/>
                </a:lnTo>
                <a:lnTo>
                  <a:pt x="780" y="132"/>
                </a:lnTo>
                <a:lnTo>
                  <a:pt x="786" y="132"/>
                </a:lnTo>
                <a:lnTo>
                  <a:pt x="792" y="138"/>
                </a:lnTo>
                <a:lnTo>
                  <a:pt x="792" y="144"/>
                </a:lnTo>
                <a:lnTo>
                  <a:pt x="786" y="144"/>
                </a:lnTo>
                <a:lnTo>
                  <a:pt x="786" y="150"/>
                </a:lnTo>
                <a:lnTo>
                  <a:pt x="780" y="150"/>
                </a:lnTo>
                <a:lnTo>
                  <a:pt x="774" y="150"/>
                </a:lnTo>
                <a:lnTo>
                  <a:pt x="768" y="150"/>
                </a:lnTo>
                <a:lnTo>
                  <a:pt x="768" y="156"/>
                </a:lnTo>
                <a:lnTo>
                  <a:pt x="768" y="162"/>
                </a:lnTo>
                <a:lnTo>
                  <a:pt x="774" y="162"/>
                </a:lnTo>
                <a:lnTo>
                  <a:pt x="780" y="162"/>
                </a:lnTo>
                <a:lnTo>
                  <a:pt x="786" y="168"/>
                </a:lnTo>
                <a:lnTo>
                  <a:pt x="792" y="162"/>
                </a:lnTo>
                <a:lnTo>
                  <a:pt x="798" y="168"/>
                </a:lnTo>
                <a:lnTo>
                  <a:pt x="798" y="174"/>
                </a:lnTo>
                <a:lnTo>
                  <a:pt x="804" y="168"/>
                </a:lnTo>
                <a:lnTo>
                  <a:pt x="810" y="168"/>
                </a:lnTo>
                <a:lnTo>
                  <a:pt x="810" y="174"/>
                </a:lnTo>
                <a:lnTo>
                  <a:pt x="816" y="168"/>
                </a:lnTo>
                <a:lnTo>
                  <a:pt x="822" y="162"/>
                </a:lnTo>
                <a:lnTo>
                  <a:pt x="822" y="168"/>
                </a:lnTo>
                <a:lnTo>
                  <a:pt x="828" y="168"/>
                </a:lnTo>
                <a:lnTo>
                  <a:pt x="828" y="174"/>
                </a:lnTo>
                <a:lnTo>
                  <a:pt x="834" y="192"/>
                </a:lnTo>
                <a:lnTo>
                  <a:pt x="834" y="198"/>
                </a:lnTo>
                <a:lnTo>
                  <a:pt x="840" y="192"/>
                </a:lnTo>
                <a:lnTo>
                  <a:pt x="846" y="192"/>
                </a:lnTo>
                <a:lnTo>
                  <a:pt x="852" y="186"/>
                </a:lnTo>
                <a:lnTo>
                  <a:pt x="858" y="192"/>
                </a:lnTo>
                <a:lnTo>
                  <a:pt x="864" y="192"/>
                </a:lnTo>
                <a:lnTo>
                  <a:pt x="870" y="198"/>
                </a:lnTo>
                <a:lnTo>
                  <a:pt x="876" y="180"/>
                </a:lnTo>
                <a:lnTo>
                  <a:pt x="882" y="180"/>
                </a:lnTo>
                <a:lnTo>
                  <a:pt x="888" y="180"/>
                </a:lnTo>
                <a:lnTo>
                  <a:pt x="894" y="186"/>
                </a:lnTo>
                <a:lnTo>
                  <a:pt x="888" y="198"/>
                </a:lnTo>
                <a:lnTo>
                  <a:pt x="894" y="204"/>
                </a:lnTo>
                <a:lnTo>
                  <a:pt x="906" y="210"/>
                </a:lnTo>
                <a:lnTo>
                  <a:pt x="918" y="246"/>
                </a:lnTo>
                <a:lnTo>
                  <a:pt x="930" y="258"/>
                </a:lnTo>
                <a:lnTo>
                  <a:pt x="942" y="282"/>
                </a:lnTo>
                <a:lnTo>
                  <a:pt x="966" y="288"/>
                </a:lnTo>
                <a:lnTo>
                  <a:pt x="972" y="300"/>
                </a:lnTo>
                <a:lnTo>
                  <a:pt x="972" y="318"/>
                </a:lnTo>
                <a:lnTo>
                  <a:pt x="996" y="336"/>
                </a:lnTo>
                <a:lnTo>
                  <a:pt x="1050" y="390"/>
                </a:lnTo>
                <a:lnTo>
                  <a:pt x="1116" y="462"/>
                </a:lnTo>
                <a:lnTo>
                  <a:pt x="1122" y="468"/>
                </a:lnTo>
                <a:lnTo>
                  <a:pt x="1128" y="474"/>
                </a:lnTo>
                <a:lnTo>
                  <a:pt x="1140" y="474"/>
                </a:lnTo>
                <a:lnTo>
                  <a:pt x="1152" y="486"/>
                </a:lnTo>
                <a:lnTo>
                  <a:pt x="1152" y="492"/>
                </a:lnTo>
                <a:lnTo>
                  <a:pt x="1158" y="492"/>
                </a:lnTo>
                <a:lnTo>
                  <a:pt x="1164" y="492"/>
                </a:lnTo>
                <a:lnTo>
                  <a:pt x="1170" y="504"/>
                </a:lnTo>
                <a:lnTo>
                  <a:pt x="1176" y="504"/>
                </a:lnTo>
                <a:lnTo>
                  <a:pt x="1176" y="510"/>
                </a:lnTo>
                <a:lnTo>
                  <a:pt x="1200" y="516"/>
                </a:lnTo>
                <a:lnTo>
                  <a:pt x="1200" y="522"/>
                </a:lnTo>
                <a:lnTo>
                  <a:pt x="1212" y="534"/>
                </a:lnTo>
                <a:lnTo>
                  <a:pt x="1218" y="540"/>
                </a:lnTo>
                <a:lnTo>
                  <a:pt x="1224" y="552"/>
                </a:lnTo>
                <a:lnTo>
                  <a:pt x="1230" y="552"/>
                </a:lnTo>
                <a:lnTo>
                  <a:pt x="1242" y="552"/>
                </a:lnTo>
                <a:lnTo>
                  <a:pt x="1248" y="558"/>
                </a:lnTo>
                <a:lnTo>
                  <a:pt x="1254" y="558"/>
                </a:lnTo>
                <a:lnTo>
                  <a:pt x="1260" y="564"/>
                </a:lnTo>
                <a:lnTo>
                  <a:pt x="1266" y="564"/>
                </a:lnTo>
                <a:lnTo>
                  <a:pt x="1272" y="564"/>
                </a:lnTo>
                <a:lnTo>
                  <a:pt x="1284" y="564"/>
                </a:lnTo>
                <a:lnTo>
                  <a:pt x="1290" y="570"/>
                </a:lnTo>
                <a:lnTo>
                  <a:pt x="1296" y="576"/>
                </a:lnTo>
                <a:lnTo>
                  <a:pt x="1302" y="588"/>
                </a:lnTo>
                <a:lnTo>
                  <a:pt x="1296" y="594"/>
                </a:lnTo>
                <a:lnTo>
                  <a:pt x="1296" y="600"/>
                </a:lnTo>
                <a:lnTo>
                  <a:pt x="1296" y="606"/>
                </a:lnTo>
                <a:lnTo>
                  <a:pt x="1290" y="612"/>
                </a:lnTo>
                <a:lnTo>
                  <a:pt x="1290" y="624"/>
                </a:lnTo>
                <a:lnTo>
                  <a:pt x="1290" y="636"/>
                </a:lnTo>
                <a:lnTo>
                  <a:pt x="1296" y="642"/>
                </a:lnTo>
                <a:lnTo>
                  <a:pt x="1302" y="648"/>
                </a:lnTo>
                <a:lnTo>
                  <a:pt x="1308" y="654"/>
                </a:lnTo>
                <a:lnTo>
                  <a:pt x="1320" y="654"/>
                </a:lnTo>
                <a:lnTo>
                  <a:pt x="1326" y="660"/>
                </a:lnTo>
                <a:lnTo>
                  <a:pt x="1338" y="654"/>
                </a:lnTo>
                <a:lnTo>
                  <a:pt x="1344" y="654"/>
                </a:lnTo>
                <a:lnTo>
                  <a:pt x="1356" y="654"/>
                </a:lnTo>
                <a:lnTo>
                  <a:pt x="1362" y="648"/>
                </a:lnTo>
                <a:lnTo>
                  <a:pt x="1368" y="642"/>
                </a:lnTo>
                <a:lnTo>
                  <a:pt x="1374" y="636"/>
                </a:lnTo>
                <a:lnTo>
                  <a:pt x="1380" y="636"/>
                </a:lnTo>
                <a:lnTo>
                  <a:pt x="1392" y="636"/>
                </a:lnTo>
                <a:lnTo>
                  <a:pt x="1398" y="636"/>
                </a:lnTo>
                <a:lnTo>
                  <a:pt x="1404" y="636"/>
                </a:lnTo>
                <a:lnTo>
                  <a:pt x="1410" y="630"/>
                </a:lnTo>
                <a:lnTo>
                  <a:pt x="1410" y="624"/>
                </a:lnTo>
                <a:lnTo>
                  <a:pt x="1422" y="618"/>
                </a:lnTo>
                <a:lnTo>
                  <a:pt x="1428" y="618"/>
                </a:lnTo>
                <a:lnTo>
                  <a:pt x="1440" y="612"/>
                </a:lnTo>
                <a:lnTo>
                  <a:pt x="1446" y="612"/>
                </a:lnTo>
                <a:lnTo>
                  <a:pt x="1458" y="612"/>
                </a:lnTo>
                <a:lnTo>
                  <a:pt x="1470" y="624"/>
                </a:lnTo>
                <a:lnTo>
                  <a:pt x="1488" y="642"/>
                </a:lnTo>
                <a:lnTo>
                  <a:pt x="1500" y="648"/>
                </a:lnTo>
                <a:lnTo>
                  <a:pt x="1512" y="654"/>
                </a:lnTo>
                <a:lnTo>
                  <a:pt x="1518" y="660"/>
                </a:lnTo>
                <a:lnTo>
                  <a:pt x="1524" y="660"/>
                </a:lnTo>
                <a:lnTo>
                  <a:pt x="1530" y="660"/>
                </a:lnTo>
                <a:lnTo>
                  <a:pt x="1536" y="666"/>
                </a:lnTo>
                <a:lnTo>
                  <a:pt x="1542" y="672"/>
                </a:lnTo>
                <a:lnTo>
                  <a:pt x="1548" y="672"/>
                </a:lnTo>
                <a:lnTo>
                  <a:pt x="1554" y="684"/>
                </a:lnTo>
                <a:lnTo>
                  <a:pt x="1554" y="690"/>
                </a:lnTo>
                <a:lnTo>
                  <a:pt x="1566" y="702"/>
                </a:lnTo>
                <a:lnTo>
                  <a:pt x="1572" y="720"/>
                </a:lnTo>
                <a:lnTo>
                  <a:pt x="1572" y="726"/>
                </a:lnTo>
                <a:lnTo>
                  <a:pt x="1578" y="732"/>
                </a:lnTo>
                <a:lnTo>
                  <a:pt x="1584" y="738"/>
                </a:lnTo>
                <a:lnTo>
                  <a:pt x="1590" y="738"/>
                </a:lnTo>
                <a:lnTo>
                  <a:pt x="1596" y="738"/>
                </a:lnTo>
                <a:lnTo>
                  <a:pt x="1602" y="744"/>
                </a:lnTo>
                <a:lnTo>
                  <a:pt x="1608" y="744"/>
                </a:lnTo>
                <a:lnTo>
                  <a:pt x="1614" y="744"/>
                </a:lnTo>
                <a:lnTo>
                  <a:pt x="1626" y="744"/>
                </a:lnTo>
                <a:lnTo>
                  <a:pt x="1638" y="744"/>
                </a:lnTo>
                <a:lnTo>
                  <a:pt x="1650" y="744"/>
                </a:lnTo>
                <a:lnTo>
                  <a:pt x="1662" y="744"/>
                </a:lnTo>
                <a:lnTo>
                  <a:pt x="1668" y="744"/>
                </a:lnTo>
                <a:lnTo>
                  <a:pt x="1674" y="744"/>
                </a:lnTo>
                <a:lnTo>
                  <a:pt x="1686" y="744"/>
                </a:lnTo>
                <a:lnTo>
                  <a:pt x="1698" y="750"/>
                </a:lnTo>
                <a:lnTo>
                  <a:pt x="1704" y="750"/>
                </a:lnTo>
                <a:lnTo>
                  <a:pt x="1716" y="756"/>
                </a:lnTo>
                <a:lnTo>
                  <a:pt x="1722" y="756"/>
                </a:lnTo>
                <a:lnTo>
                  <a:pt x="1728" y="756"/>
                </a:lnTo>
                <a:lnTo>
                  <a:pt x="1734" y="762"/>
                </a:lnTo>
                <a:lnTo>
                  <a:pt x="1740" y="768"/>
                </a:lnTo>
                <a:lnTo>
                  <a:pt x="1758" y="780"/>
                </a:lnTo>
                <a:lnTo>
                  <a:pt x="1770" y="780"/>
                </a:lnTo>
                <a:lnTo>
                  <a:pt x="1776" y="780"/>
                </a:lnTo>
                <a:lnTo>
                  <a:pt x="1782" y="780"/>
                </a:lnTo>
                <a:lnTo>
                  <a:pt x="1800" y="798"/>
                </a:lnTo>
                <a:lnTo>
                  <a:pt x="1818" y="810"/>
                </a:lnTo>
                <a:lnTo>
                  <a:pt x="1830" y="816"/>
                </a:lnTo>
                <a:lnTo>
                  <a:pt x="1836" y="822"/>
                </a:lnTo>
                <a:lnTo>
                  <a:pt x="1836" y="828"/>
                </a:lnTo>
                <a:lnTo>
                  <a:pt x="1842" y="828"/>
                </a:lnTo>
                <a:lnTo>
                  <a:pt x="1848" y="834"/>
                </a:lnTo>
                <a:lnTo>
                  <a:pt x="1854" y="840"/>
                </a:lnTo>
                <a:lnTo>
                  <a:pt x="1860" y="846"/>
                </a:lnTo>
                <a:lnTo>
                  <a:pt x="1872" y="852"/>
                </a:lnTo>
                <a:lnTo>
                  <a:pt x="1884" y="852"/>
                </a:lnTo>
                <a:lnTo>
                  <a:pt x="1896" y="852"/>
                </a:lnTo>
                <a:lnTo>
                  <a:pt x="1902" y="846"/>
                </a:lnTo>
                <a:lnTo>
                  <a:pt x="1908" y="852"/>
                </a:lnTo>
                <a:lnTo>
                  <a:pt x="1920" y="858"/>
                </a:lnTo>
                <a:lnTo>
                  <a:pt x="1926" y="870"/>
                </a:lnTo>
                <a:lnTo>
                  <a:pt x="1938" y="888"/>
                </a:lnTo>
                <a:lnTo>
                  <a:pt x="1944" y="900"/>
                </a:lnTo>
                <a:lnTo>
                  <a:pt x="1950" y="900"/>
                </a:lnTo>
                <a:lnTo>
                  <a:pt x="1962" y="906"/>
                </a:lnTo>
                <a:lnTo>
                  <a:pt x="1968" y="906"/>
                </a:lnTo>
                <a:lnTo>
                  <a:pt x="1980" y="906"/>
                </a:lnTo>
                <a:lnTo>
                  <a:pt x="1998" y="906"/>
                </a:lnTo>
                <a:lnTo>
                  <a:pt x="2010" y="900"/>
                </a:lnTo>
                <a:lnTo>
                  <a:pt x="2022" y="900"/>
                </a:lnTo>
                <a:lnTo>
                  <a:pt x="2028" y="900"/>
                </a:lnTo>
                <a:lnTo>
                  <a:pt x="2034" y="906"/>
                </a:lnTo>
                <a:lnTo>
                  <a:pt x="2046" y="906"/>
                </a:lnTo>
                <a:lnTo>
                  <a:pt x="2052" y="900"/>
                </a:lnTo>
                <a:lnTo>
                  <a:pt x="2058" y="900"/>
                </a:lnTo>
                <a:lnTo>
                  <a:pt x="2064" y="900"/>
                </a:lnTo>
                <a:lnTo>
                  <a:pt x="2070" y="900"/>
                </a:lnTo>
                <a:lnTo>
                  <a:pt x="2076" y="900"/>
                </a:lnTo>
                <a:lnTo>
                  <a:pt x="2076" y="906"/>
                </a:lnTo>
                <a:lnTo>
                  <a:pt x="2088" y="906"/>
                </a:lnTo>
                <a:lnTo>
                  <a:pt x="2106" y="900"/>
                </a:lnTo>
                <a:lnTo>
                  <a:pt x="2118" y="900"/>
                </a:lnTo>
                <a:lnTo>
                  <a:pt x="2130" y="900"/>
                </a:lnTo>
                <a:lnTo>
                  <a:pt x="2142" y="900"/>
                </a:lnTo>
                <a:lnTo>
                  <a:pt x="2148" y="906"/>
                </a:lnTo>
                <a:lnTo>
                  <a:pt x="2154" y="906"/>
                </a:lnTo>
                <a:lnTo>
                  <a:pt x="2160" y="906"/>
                </a:lnTo>
                <a:lnTo>
                  <a:pt x="2166" y="906"/>
                </a:lnTo>
                <a:lnTo>
                  <a:pt x="2178" y="918"/>
                </a:lnTo>
                <a:lnTo>
                  <a:pt x="2178" y="924"/>
                </a:lnTo>
                <a:lnTo>
                  <a:pt x="2184" y="924"/>
                </a:lnTo>
                <a:lnTo>
                  <a:pt x="2190" y="924"/>
                </a:lnTo>
                <a:lnTo>
                  <a:pt x="2196" y="924"/>
                </a:lnTo>
                <a:lnTo>
                  <a:pt x="2202" y="918"/>
                </a:lnTo>
                <a:lnTo>
                  <a:pt x="2208" y="918"/>
                </a:lnTo>
                <a:lnTo>
                  <a:pt x="2214" y="918"/>
                </a:lnTo>
                <a:lnTo>
                  <a:pt x="2226" y="918"/>
                </a:lnTo>
                <a:lnTo>
                  <a:pt x="2220" y="948"/>
                </a:lnTo>
                <a:lnTo>
                  <a:pt x="2214" y="972"/>
                </a:lnTo>
                <a:lnTo>
                  <a:pt x="2214" y="984"/>
                </a:lnTo>
                <a:lnTo>
                  <a:pt x="2208" y="990"/>
                </a:lnTo>
                <a:lnTo>
                  <a:pt x="2208" y="996"/>
                </a:lnTo>
                <a:lnTo>
                  <a:pt x="2202" y="996"/>
                </a:lnTo>
                <a:lnTo>
                  <a:pt x="2196" y="996"/>
                </a:lnTo>
                <a:lnTo>
                  <a:pt x="2190" y="1008"/>
                </a:lnTo>
                <a:lnTo>
                  <a:pt x="2172" y="1074"/>
                </a:lnTo>
                <a:lnTo>
                  <a:pt x="2166" y="1092"/>
                </a:lnTo>
                <a:lnTo>
                  <a:pt x="2172" y="1110"/>
                </a:lnTo>
                <a:lnTo>
                  <a:pt x="2172" y="1122"/>
                </a:lnTo>
                <a:lnTo>
                  <a:pt x="2166" y="1134"/>
                </a:lnTo>
                <a:lnTo>
                  <a:pt x="2148" y="1140"/>
                </a:lnTo>
                <a:lnTo>
                  <a:pt x="2148" y="1134"/>
                </a:lnTo>
                <a:lnTo>
                  <a:pt x="2118" y="1140"/>
                </a:lnTo>
                <a:lnTo>
                  <a:pt x="2088" y="1134"/>
                </a:lnTo>
                <a:lnTo>
                  <a:pt x="2064" y="1122"/>
                </a:lnTo>
                <a:lnTo>
                  <a:pt x="2034" y="1122"/>
                </a:lnTo>
                <a:lnTo>
                  <a:pt x="2022" y="1128"/>
                </a:lnTo>
                <a:lnTo>
                  <a:pt x="1986" y="1128"/>
                </a:lnTo>
                <a:lnTo>
                  <a:pt x="1938" y="1122"/>
                </a:lnTo>
                <a:lnTo>
                  <a:pt x="1932" y="1116"/>
                </a:lnTo>
                <a:lnTo>
                  <a:pt x="1896" y="1110"/>
                </a:lnTo>
                <a:lnTo>
                  <a:pt x="1878" y="1104"/>
                </a:lnTo>
                <a:lnTo>
                  <a:pt x="1866" y="1098"/>
                </a:lnTo>
                <a:lnTo>
                  <a:pt x="1860" y="1098"/>
                </a:lnTo>
                <a:lnTo>
                  <a:pt x="1854" y="1092"/>
                </a:lnTo>
                <a:lnTo>
                  <a:pt x="1860" y="1092"/>
                </a:lnTo>
                <a:lnTo>
                  <a:pt x="1860" y="1086"/>
                </a:lnTo>
                <a:lnTo>
                  <a:pt x="1854" y="1086"/>
                </a:lnTo>
                <a:lnTo>
                  <a:pt x="1842" y="1080"/>
                </a:lnTo>
                <a:lnTo>
                  <a:pt x="1818" y="1062"/>
                </a:lnTo>
                <a:lnTo>
                  <a:pt x="1782" y="1056"/>
                </a:lnTo>
                <a:lnTo>
                  <a:pt x="1770" y="1068"/>
                </a:lnTo>
                <a:lnTo>
                  <a:pt x="1746" y="1098"/>
                </a:lnTo>
                <a:lnTo>
                  <a:pt x="1722" y="1104"/>
                </a:lnTo>
                <a:lnTo>
                  <a:pt x="1710" y="1122"/>
                </a:lnTo>
                <a:lnTo>
                  <a:pt x="1710" y="1128"/>
                </a:lnTo>
                <a:lnTo>
                  <a:pt x="1710" y="1140"/>
                </a:lnTo>
                <a:lnTo>
                  <a:pt x="1698" y="1146"/>
                </a:lnTo>
                <a:lnTo>
                  <a:pt x="1686" y="1152"/>
                </a:lnTo>
                <a:lnTo>
                  <a:pt x="1680" y="1164"/>
                </a:lnTo>
                <a:lnTo>
                  <a:pt x="1680" y="1170"/>
                </a:lnTo>
                <a:lnTo>
                  <a:pt x="1686" y="1170"/>
                </a:lnTo>
                <a:lnTo>
                  <a:pt x="1686" y="1176"/>
                </a:lnTo>
                <a:lnTo>
                  <a:pt x="1698" y="1188"/>
                </a:lnTo>
                <a:lnTo>
                  <a:pt x="1704" y="1188"/>
                </a:lnTo>
                <a:lnTo>
                  <a:pt x="1698" y="1194"/>
                </a:lnTo>
                <a:lnTo>
                  <a:pt x="1704" y="1194"/>
                </a:lnTo>
                <a:lnTo>
                  <a:pt x="1704" y="1200"/>
                </a:lnTo>
                <a:lnTo>
                  <a:pt x="1704" y="1206"/>
                </a:lnTo>
                <a:lnTo>
                  <a:pt x="1704" y="1212"/>
                </a:lnTo>
                <a:lnTo>
                  <a:pt x="1704" y="1218"/>
                </a:lnTo>
                <a:lnTo>
                  <a:pt x="1710" y="1218"/>
                </a:lnTo>
                <a:lnTo>
                  <a:pt x="1710" y="1212"/>
                </a:lnTo>
                <a:lnTo>
                  <a:pt x="1716" y="1212"/>
                </a:lnTo>
                <a:lnTo>
                  <a:pt x="1716" y="1218"/>
                </a:lnTo>
                <a:lnTo>
                  <a:pt x="1716" y="1224"/>
                </a:lnTo>
                <a:lnTo>
                  <a:pt x="1716" y="1230"/>
                </a:lnTo>
                <a:lnTo>
                  <a:pt x="1722" y="1236"/>
                </a:lnTo>
                <a:lnTo>
                  <a:pt x="1740" y="1230"/>
                </a:lnTo>
                <a:lnTo>
                  <a:pt x="1734" y="1236"/>
                </a:lnTo>
                <a:lnTo>
                  <a:pt x="1734" y="1242"/>
                </a:lnTo>
                <a:lnTo>
                  <a:pt x="1734" y="1248"/>
                </a:lnTo>
                <a:lnTo>
                  <a:pt x="1734" y="1254"/>
                </a:lnTo>
                <a:lnTo>
                  <a:pt x="1740" y="1260"/>
                </a:lnTo>
                <a:lnTo>
                  <a:pt x="1746" y="1266"/>
                </a:lnTo>
                <a:lnTo>
                  <a:pt x="1752" y="1266"/>
                </a:lnTo>
                <a:lnTo>
                  <a:pt x="1764" y="1266"/>
                </a:lnTo>
                <a:lnTo>
                  <a:pt x="1788" y="1260"/>
                </a:lnTo>
                <a:lnTo>
                  <a:pt x="1800" y="1260"/>
                </a:lnTo>
                <a:lnTo>
                  <a:pt x="1806" y="1272"/>
                </a:lnTo>
                <a:lnTo>
                  <a:pt x="1806" y="1296"/>
                </a:lnTo>
                <a:lnTo>
                  <a:pt x="1800" y="1308"/>
                </a:lnTo>
                <a:lnTo>
                  <a:pt x="1788" y="1308"/>
                </a:lnTo>
                <a:lnTo>
                  <a:pt x="1782" y="1326"/>
                </a:lnTo>
                <a:close/>
              </a:path>
            </a:pathLst>
          </a:cu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77" name="Freeform 33">
            <a:extLst>
              <a:ext uri="{FF2B5EF4-FFF2-40B4-BE49-F238E27FC236}">
                <a16:creationId xmlns:a16="http://schemas.microsoft.com/office/drawing/2014/main" id="{674199C2-0A4F-475D-B00F-373D197AC6BA}"/>
              </a:ext>
            </a:extLst>
          </p:cNvPr>
          <p:cNvSpPr>
            <a:spLocks/>
          </p:cNvSpPr>
          <p:nvPr/>
        </p:nvSpPr>
        <p:spPr bwMode="gray">
          <a:xfrm>
            <a:off x="3409063" y="2014219"/>
            <a:ext cx="975712" cy="853410"/>
          </a:xfrm>
          <a:custGeom>
            <a:avLst/>
            <a:gdLst>
              <a:gd name="T0" fmla="*/ 143 w 1698"/>
              <a:gd name="T1" fmla="*/ 43 h 1464"/>
              <a:gd name="T2" fmla="*/ 131 w 1698"/>
              <a:gd name="T3" fmla="*/ 44 h 1464"/>
              <a:gd name="T4" fmla="*/ 126 w 1698"/>
              <a:gd name="T5" fmla="*/ 41 h 1464"/>
              <a:gd name="T6" fmla="*/ 119 w 1698"/>
              <a:gd name="T7" fmla="*/ 45 h 1464"/>
              <a:gd name="T8" fmla="*/ 111 w 1698"/>
              <a:gd name="T9" fmla="*/ 46 h 1464"/>
              <a:gd name="T10" fmla="*/ 107 w 1698"/>
              <a:gd name="T11" fmla="*/ 50 h 1464"/>
              <a:gd name="T12" fmla="*/ 107 w 1698"/>
              <a:gd name="T13" fmla="*/ 60 h 1464"/>
              <a:gd name="T14" fmla="*/ 104 w 1698"/>
              <a:gd name="T15" fmla="*/ 62 h 1464"/>
              <a:gd name="T16" fmla="*/ 97 w 1698"/>
              <a:gd name="T17" fmla="*/ 59 h 1464"/>
              <a:gd name="T18" fmla="*/ 92 w 1698"/>
              <a:gd name="T19" fmla="*/ 59 h 1464"/>
              <a:gd name="T20" fmla="*/ 90 w 1698"/>
              <a:gd name="T21" fmla="*/ 62 h 1464"/>
              <a:gd name="T22" fmla="*/ 93 w 1698"/>
              <a:gd name="T23" fmla="*/ 77 h 1464"/>
              <a:gd name="T24" fmla="*/ 85 w 1698"/>
              <a:gd name="T25" fmla="*/ 88 h 1464"/>
              <a:gd name="T26" fmla="*/ 70 w 1698"/>
              <a:gd name="T27" fmla="*/ 89 h 1464"/>
              <a:gd name="T28" fmla="*/ 65 w 1698"/>
              <a:gd name="T29" fmla="*/ 88 h 1464"/>
              <a:gd name="T30" fmla="*/ 50 w 1698"/>
              <a:gd name="T31" fmla="*/ 88 h 1464"/>
              <a:gd name="T32" fmla="*/ 48 w 1698"/>
              <a:gd name="T33" fmla="*/ 107 h 1464"/>
              <a:gd name="T34" fmla="*/ 47 w 1698"/>
              <a:gd name="T35" fmla="*/ 120 h 1464"/>
              <a:gd name="T36" fmla="*/ 43 w 1698"/>
              <a:gd name="T37" fmla="*/ 121 h 1464"/>
              <a:gd name="T38" fmla="*/ 40 w 1698"/>
              <a:gd name="T39" fmla="*/ 120 h 1464"/>
              <a:gd name="T40" fmla="*/ 35 w 1698"/>
              <a:gd name="T41" fmla="*/ 122 h 1464"/>
              <a:gd name="T42" fmla="*/ 29 w 1698"/>
              <a:gd name="T43" fmla="*/ 123 h 1464"/>
              <a:gd name="T44" fmla="*/ 24 w 1698"/>
              <a:gd name="T45" fmla="*/ 125 h 1464"/>
              <a:gd name="T46" fmla="*/ 20 w 1698"/>
              <a:gd name="T47" fmla="*/ 125 h 1464"/>
              <a:gd name="T48" fmla="*/ 18 w 1698"/>
              <a:gd name="T49" fmla="*/ 122 h 1464"/>
              <a:gd name="T50" fmla="*/ 26 w 1698"/>
              <a:gd name="T51" fmla="*/ 108 h 1464"/>
              <a:gd name="T52" fmla="*/ 24 w 1698"/>
              <a:gd name="T53" fmla="*/ 89 h 1464"/>
              <a:gd name="T54" fmla="*/ 28 w 1698"/>
              <a:gd name="T55" fmla="*/ 85 h 1464"/>
              <a:gd name="T56" fmla="*/ 32 w 1698"/>
              <a:gd name="T57" fmla="*/ 80 h 1464"/>
              <a:gd name="T58" fmla="*/ 36 w 1698"/>
              <a:gd name="T59" fmla="*/ 86 h 1464"/>
              <a:gd name="T60" fmla="*/ 39 w 1698"/>
              <a:gd name="T61" fmla="*/ 80 h 1464"/>
              <a:gd name="T62" fmla="*/ 41 w 1698"/>
              <a:gd name="T63" fmla="*/ 73 h 1464"/>
              <a:gd name="T64" fmla="*/ 38 w 1698"/>
              <a:gd name="T65" fmla="*/ 64 h 1464"/>
              <a:gd name="T66" fmla="*/ 39 w 1698"/>
              <a:gd name="T67" fmla="*/ 59 h 1464"/>
              <a:gd name="T68" fmla="*/ 32 w 1698"/>
              <a:gd name="T69" fmla="*/ 54 h 1464"/>
              <a:gd name="T70" fmla="*/ 32 w 1698"/>
              <a:gd name="T71" fmla="*/ 45 h 1464"/>
              <a:gd name="T72" fmla="*/ 31 w 1698"/>
              <a:gd name="T73" fmla="*/ 41 h 1464"/>
              <a:gd name="T74" fmla="*/ 24 w 1698"/>
              <a:gd name="T75" fmla="*/ 43 h 1464"/>
              <a:gd name="T76" fmla="*/ 17 w 1698"/>
              <a:gd name="T77" fmla="*/ 40 h 1464"/>
              <a:gd name="T78" fmla="*/ 11 w 1698"/>
              <a:gd name="T79" fmla="*/ 38 h 1464"/>
              <a:gd name="T80" fmla="*/ 2 w 1698"/>
              <a:gd name="T81" fmla="*/ 36 h 1464"/>
              <a:gd name="T82" fmla="*/ 0 w 1698"/>
              <a:gd name="T83" fmla="*/ 24 h 1464"/>
              <a:gd name="T84" fmla="*/ 11 w 1698"/>
              <a:gd name="T85" fmla="*/ 18 h 1464"/>
              <a:gd name="T86" fmla="*/ 19 w 1698"/>
              <a:gd name="T87" fmla="*/ 10 h 1464"/>
              <a:gd name="T88" fmla="*/ 28 w 1698"/>
              <a:gd name="T89" fmla="*/ 9 h 1464"/>
              <a:gd name="T90" fmla="*/ 40 w 1698"/>
              <a:gd name="T91" fmla="*/ 6 h 1464"/>
              <a:gd name="T92" fmla="*/ 49 w 1698"/>
              <a:gd name="T93" fmla="*/ 8 h 1464"/>
              <a:gd name="T94" fmla="*/ 56 w 1698"/>
              <a:gd name="T95" fmla="*/ 8 h 1464"/>
              <a:gd name="T96" fmla="*/ 64 w 1698"/>
              <a:gd name="T97" fmla="*/ 7 h 1464"/>
              <a:gd name="T98" fmla="*/ 74 w 1698"/>
              <a:gd name="T99" fmla="*/ 1 h 1464"/>
              <a:gd name="T100" fmla="*/ 83 w 1698"/>
              <a:gd name="T101" fmla="*/ 3 h 1464"/>
              <a:gd name="T102" fmla="*/ 99 w 1698"/>
              <a:gd name="T103" fmla="*/ 9 h 1464"/>
              <a:gd name="T104" fmla="*/ 112 w 1698"/>
              <a:gd name="T105" fmla="*/ 14 h 1464"/>
              <a:gd name="T106" fmla="*/ 119 w 1698"/>
              <a:gd name="T107" fmla="*/ 12 h 1464"/>
              <a:gd name="T108" fmla="*/ 128 w 1698"/>
              <a:gd name="T109" fmla="*/ 17 h 1464"/>
              <a:gd name="T110" fmla="*/ 141 w 1698"/>
              <a:gd name="T111" fmla="*/ 29 h 1464"/>
              <a:gd name="T112" fmla="*/ 145 w 1698"/>
              <a:gd name="T113" fmla="*/ 35 h 1464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698"/>
              <a:gd name="T172" fmla="*/ 0 h 1464"/>
              <a:gd name="T173" fmla="*/ 1698 w 1698"/>
              <a:gd name="T174" fmla="*/ 1464 h 1464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698" h="1464">
                <a:moveTo>
                  <a:pt x="1698" y="462"/>
                </a:moveTo>
                <a:lnTo>
                  <a:pt x="1686" y="468"/>
                </a:lnTo>
                <a:lnTo>
                  <a:pt x="1680" y="474"/>
                </a:lnTo>
                <a:lnTo>
                  <a:pt x="1674" y="480"/>
                </a:lnTo>
                <a:lnTo>
                  <a:pt x="1668" y="480"/>
                </a:lnTo>
                <a:lnTo>
                  <a:pt x="1662" y="486"/>
                </a:lnTo>
                <a:lnTo>
                  <a:pt x="1656" y="492"/>
                </a:lnTo>
                <a:lnTo>
                  <a:pt x="1644" y="498"/>
                </a:lnTo>
                <a:lnTo>
                  <a:pt x="1626" y="504"/>
                </a:lnTo>
                <a:lnTo>
                  <a:pt x="1614" y="510"/>
                </a:lnTo>
                <a:lnTo>
                  <a:pt x="1602" y="516"/>
                </a:lnTo>
                <a:lnTo>
                  <a:pt x="1590" y="516"/>
                </a:lnTo>
                <a:lnTo>
                  <a:pt x="1590" y="522"/>
                </a:lnTo>
                <a:lnTo>
                  <a:pt x="1566" y="522"/>
                </a:lnTo>
                <a:lnTo>
                  <a:pt x="1506" y="510"/>
                </a:lnTo>
                <a:lnTo>
                  <a:pt x="1500" y="510"/>
                </a:lnTo>
                <a:lnTo>
                  <a:pt x="1488" y="504"/>
                </a:lnTo>
                <a:lnTo>
                  <a:pt x="1482" y="498"/>
                </a:lnTo>
                <a:lnTo>
                  <a:pt x="1476" y="498"/>
                </a:lnTo>
                <a:lnTo>
                  <a:pt x="1476" y="492"/>
                </a:lnTo>
                <a:lnTo>
                  <a:pt x="1470" y="492"/>
                </a:lnTo>
                <a:lnTo>
                  <a:pt x="1464" y="486"/>
                </a:lnTo>
                <a:lnTo>
                  <a:pt x="1452" y="486"/>
                </a:lnTo>
                <a:lnTo>
                  <a:pt x="1446" y="474"/>
                </a:lnTo>
                <a:lnTo>
                  <a:pt x="1434" y="468"/>
                </a:lnTo>
                <a:lnTo>
                  <a:pt x="1416" y="468"/>
                </a:lnTo>
                <a:lnTo>
                  <a:pt x="1392" y="468"/>
                </a:lnTo>
                <a:lnTo>
                  <a:pt x="1374" y="474"/>
                </a:lnTo>
                <a:lnTo>
                  <a:pt x="1368" y="474"/>
                </a:lnTo>
                <a:lnTo>
                  <a:pt x="1368" y="486"/>
                </a:lnTo>
                <a:lnTo>
                  <a:pt x="1368" y="498"/>
                </a:lnTo>
                <a:lnTo>
                  <a:pt x="1368" y="522"/>
                </a:lnTo>
                <a:lnTo>
                  <a:pt x="1368" y="534"/>
                </a:lnTo>
                <a:lnTo>
                  <a:pt x="1362" y="546"/>
                </a:lnTo>
                <a:lnTo>
                  <a:pt x="1356" y="546"/>
                </a:lnTo>
                <a:lnTo>
                  <a:pt x="1344" y="540"/>
                </a:lnTo>
                <a:lnTo>
                  <a:pt x="1338" y="534"/>
                </a:lnTo>
                <a:lnTo>
                  <a:pt x="1308" y="522"/>
                </a:lnTo>
                <a:lnTo>
                  <a:pt x="1296" y="522"/>
                </a:lnTo>
                <a:lnTo>
                  <a:pt x="1278" y="528"/>
                </a:lnTo>
                <a:lnTo>
                  <a:pt x="1260" y="534"/>
                </a:lnTo>
                <a:lnTo>
                  <a:pt x="1242" y="546"/>
                </a:lnTo>
                <a:lnTo>
                  <a:pt x="1236" y="552"/>
                </a:lnTo>
                <a:lnTo>
                  <a:pt x="1224" y="558"/>
                </a:lnTo>
                <a:lnTo>
                  <a:pt x="1218" y="558"/>
                </a:lnTo>
                <a:lnTo>
                  <a:pt x="1218" y="564"/>
                </a:lnTo>
                <a:lnTo>
                  <a:pt x="1224" y="570"/>
                </a:lnTo>
                <a:lnTo>
                  <a:pt x="1224" y="582"/>
                </a:lnTo>
                <a:lnTo>
                  <a:pt x="1224" y="594"/>
                </a:lnTo>
                <a:lnTo>
                  <a:pt x="1212" y="618"/>
                </a:lnTo>
                <a:lnTo>
                  <a:pt x="1212" y="624"/>
                </a:lnTo>
                <a:lnTo>
                  <a:pt x="1212" y="630"/>
                </a:lnTo>
                <a:lnTo>
                  <a:pt x="1212" y="636"/>
                </a:lnTo>
                <a:lnTo>
                  <a:pt x="1218" y="654"/>
                </a:lnTo>
                <a:lnTo>
                  <a:pt x="1224" y="672"/>
                </a:lnTo>
                <a:lnTo>
                  <a:pt x="1230" y="696"/>
                </a:lnTo>
                <a:lnTo>
                  <a:pt x="1236" y="708"/>
                </a:lnTo>
                <a:lnTo>
                  <a:pt x="1236" y="714"/>
                </a:lnTo>
                <a:lnTo>
                  <a:pt x="1236" y="720"/>
                </a:lnTo>
                <a:lnTo>
                  <a:pt x="1218" y="726"/>
                </a:lnTo>
                <a:lnTo>
                  <a:pt x="1212" y="726"/>
                </a:lnTo>
                <a:lnTo>
                  <a:pt x="1206" y="726"/>
                </a:lnTo>
                <a:lnTo>
                  <a:pt x="1194" y="720"/>
                </a:lnTo>
                <a:lnTo>
                  <a:pt x="1194" y="714"/>
                </a:lnTo>
                <a:lnTo>
                  <a:pt x="1176" y="714"/>
                </a:lnTo>
                <a:lnTo>
                  <a:pt x="1164" y="708"/>
                </a:lnTo>
                <a:lnTo>
                  <a:pt x="1158" y="708"/>
                </a:lnTo>
                <a:lnTo>
                  <a:pt x="1140" y="702"/>
                </a:lnTo>
                <a:lnTo>
                  <a:pt x="1134" y="696"/>
                </a:lnTo>
                <a:lnTo>
                  <a:pt x="1128" y="690"/>
                </a:lnTo>
                <a:lnTo>
                  <a:pt x="1116" y="678"/>
                </a:lnTo>
                <a:lnTo>
                  <a:pt x="1110" y="678"/>
                </a:lnTo>
                <a:lnTo>
                  <a:pt x="1104" y="672"/>
                </a:lnTo>
                <a:lnTo>
                  <a:pt x="1092" y="672"/>
                </a:lnTo>
                <a:lnTo>
                  <a:pt x="1086" y="672"/>
                </a:lnTo>
                <a:lnTo>
                  <a:pt x="1080" y="672"/>
                </a:lnTo>
                <a:lnTo>
                  <a:pt x="1074" y="672"/>
                </a:lnTo>
                <a:lnTo>
                  <a:pt x="1068" y="672"/>
                </a:lnTo>
                <a:lnTo>
                  <a:pt x="1062" y="678"/>
                </a:lnTo>
                <a:lnTo>
                  <a:pt x="1056" y="678"/>
                </a:lnTo>
                <a:lnTo>
                  <a:pt x="1056" y="684"/>
                </a:lnTo>
                <a:lnTo>
                  <a:pt x="1056" y="690"/>
                </a:lnTo>
                <a:lnTo>
                  <a:pt x="1050" y="690"/>
                </a:lnTo>
                <a:lnTo>
                  <a:pt x="1044" y="696"/>
                </a:lnTo>
                <a:lnTo>
                  <a:pt x="1032" y="708"/>
                </a:lnTo>
                <a:lnTo>
                  <a:pt x="1026" y="708"/>
                </a:lnTo>
                <a:lnTo>
                  <a:pt x="1032" y="714"/>
                </a:lnTo>
                <a:lnTo>
                  <a:pt x="1026" y="720"/>
                </a:lnTo>
                <a:lnTo>
                  <a:pt x="1020" y="720"/>
                </a:lnTo>
                <a:lnTo>
                  <a:pt x="1014" y="732"/>
                </a:lnTo>
                <a:lnTo>
                  <a:pt x="1014" y="744"/>
                </a:lnTo>
                <a:lnTo>
                  <a:pt x="1038" y="810"/>
                </a:lnTo>
                <a:lnTo>
                  <a:pt x="1050" y="834"/>
                </a:lnTo>
                <a:lnTo>
                  <a:pt x="1056" y="858"/>
                </a:lnTo>
                <a:lnTo>
                  <a:pt x="1062" y="876"/>
                </a:lnTo>
                <a:lnTo>
                  <a:pt x="1068" y="882"/>
                </a:lnTo>
                <a:lnTo>
                  <a:pt x="1062" y="972"/>
                </a:lnTo>
                <a:lnTo>
                  <a:pt x="1056" y="972"/>
                </a:lnTo>
                <a:lnTo>
                  <a:pt x="1050" y="996"/>
                </a:lnTo>
                <a:lnTo>
                  <a:pt x="1044" y="1014"/>
                </a:lnTo>
                <a:lnTo>
                  <a:pt x="1008" y="1014"/>
                </a:lnTo>
                <a:lnTo>
                  <a:pt x="1008" y="1008"/>
                </a:lnTo>
                <a:lnTo>
                  <a:pt x="990" y="1008"/>
                </a:lnTo>
                <a:lnTo>
                  <a:pt x="972" y="1014"/>
                </a:lnTo>
                <a:lnTo>
                  <a:pt x="948" y="1020"/>
                </a:lnTo>
                <a:lnTo>
                  <a:pt x="918" y="1026"/>
                </a:lnTo>
                <a:lnTo>
                  <a:pt x="840" y="1032"/>
                </a:lnTo>
                <a:lnTo>
                  <a:pt x="834" y="1032"/>
                </a:lnTo>
                <a:lnTo>
                  <a:pt x="834" y="1026"/>
                </a:lnTo>
                <a:lnTo>
                  <a:pt x="822" y="1026"/>
                </a:lnTo>
                <a:lnTo>
                  <a:pt x="816" y="1032"/>
                </a:lnTo>
                <a:lnTo>
                  <a:pt x="804" y="1032"/>
                </a:lnTo>
                <a:lnTo>
                  <a:pt x="798" y="1026"/>
                </a:lnTo>
                <a:lnTo>
                  <a:pt x="780" y="1026"/>
                </a:lnTo>
                <a:lnTo>
                  <a:pt x="762" y="1026"/>
                </a:lnTo>
                <a:lnTo>
                  <a:pt x="756" y="1026"/>
                </a:lnTo>
                <a:lnTo>
                  <a:pt x="750" y="1026"/>
                </a:lnTo>
                <a:lnTo>
                  <a:pt x="756" y="1020"/>
                </a:lnTo>
                <a:lnTo>
                  <a:pt x="750" y="1020"/>
                </a:lnTo>
                <a:lnTo>
                  <a:pt x="744" y="1014"/>
                </a:lnTo>
                <a:lnTo>
                  <a:pt x="684" y="1020"/>
                </a:lnTo>
                <a:lnTo>
                  <a:pt x="648" y="1020"/>
                </a:lnTo>
                <a:lnTo>
                  <a:pt x="630" y="1020"/>
                </a:lnTo>
                <a:lnTo>
                  <a:pt x="618" y="1020"/>
                </a:lnTo>
                <a:lnTo>
                  <a:pt x="606" y="1014"/>
                </a:lnTo>
                <a:lnTo>
                  <a:pt x="582" y="1014"/>
                </a:lnTo>
                <a:lnTo>
                  <a:pt x="576" y="1014"/>
                </a:lnTo>
                <a:lnTo>
                  <a:pt x="570" y="1014"/>
                </a:lnTo>
                <a:lnTo>
                  <a:pt x="564" y="1020"/>
                </a:lnTo>
                <a:lnTo>
                  <a:pt x="558" y="1026"/>
                </a:lnTo>
                <a:lnTo>
                  <a:pt x="552" y="1032"/>
                </a:lnTo>
                <a:lnTo>
                  <a:pt x="552" y="1038"/>
                </a:lnTo>
                <a:lnTo>
                  <a:pt x="558" y="1194"/>
                </a:lnTo>
                <a:lnTo>
                  <a:pt x="558" y="1206"/>
                </a:lnTo>
                <a:lnTo>
                  <a:pt x="552" y="1218"/>
                </a:lnTo>
                <a:lnTo>
                  <a:pt x="552" y="1236"/>
                </a:lnTo>
                <a:lnTo>
                  <a:pt x="546" y="1272"/>
                </a:lnTo>
                <a:lnTo>
                  <a:pt x="546" y="1308"/>
                </a:lnTo>
                <a:lnTo>
                  <a:pt x="540" y="1332"/>
                </a:lnTo>
                <a:lnTo>
                  <a:pt x="546" y="1356"/>
                </a:lnTo>
                <a:lnTo>
                  <a:pt x="546" y="1362"/>
                </a:lnTo>
                <a:lnTo>
                  <a:pt x="546" y="1374"/>
                </a:lnTo>
                <a:lnTo>
                  <a:pt x="546" y="1380"/>
                </a:lnTo>
                <a:lnTo>
                  <a:pt x="540" y="1380"/>
                </a:lnTo>
                <a:lnTo>
                  <a:pt x="522" y="1380"/>
                </a:lnTo>
                <a:lnTo>
                  <a:pt x="516" y="1380"/>
                </a:lnTo>
                <a:lnTo>
                  <a:pt x="516" y="1386"/>
                </a:lnTo>
                <a:lnTo>
                  <a:pt x="516" y="1392"/>
                </a:lnTo>
                <a:lnTo>
                  <a:pt x="510" y="1392"/>
                </a:lnTo>
                <a:lnTo>
                  <a:pt x="504" y="1386"/>
                </a:lnTo>
                <a:lnTo>
                  <a:pt x="498" y="1392"/>
                </a:lnTo>
                <a:lnTo>
                  <a:pt x="492" y="1398"/>
                </a:lnTo>
                <a:lnTo>
                  <a:pt x="486" y="1398"/>
                </a:lnTo>
                <a:lnTo>
                  <a:pt x="486" y="1392"/>
                </a:lnTo>
                <a:lnTo>
                  <a:pt x="486" y="1380"/>
                </a:lnTo>
                <a:lnTo>
                  <a:pt x="486" y="1374"/>
                </a:lnTo>
                <a:lnTo>
                  <a:pt x="480" y="1374"/>
                </a:lnTo>
                <a:lnTo>
                  <a:pt x="474" y="1374"/>
                </a:lnTo>
                <a:lnTo>
                  <a:pt x="468" y="1380"/>
                </a:lnTo>
                <a:lnTo>
                  <a:pt x="462" y="1380"/>
                </a:lnTo>
                <a:lnTo>
                  <a:pt x="456" y="1380"/>
                </a:lnTo>
                <a:lnTo>
                  <a:pt x="450" y="1386"/>
                </a:lnTo>
                <a:lnTo>
                  <a:pt x="444" y="1386"/>
                </a:lnTo>
                <a:lnTo>
                  <a:pt x="444" y="1392"/>
                </a:lnTo>
                <a:lnTo>
                  <a:pt x="432" y="1398"/>
                </a:lnTo>
                <a:lnTo>
                  <a:pt x="426" y="1404"/>
                </a:lnTo>
                <a:lnTo>
                  <a:pt x="420" y="1404"/>
                </a:lnTo>
                <a:lnTo>
                  <a:pt x="408" y="1404"/>
                </a:lnTo>
                <a:lnTo>
                  <a:pt x="378" y="1410"/>
                </a:lnTo>
                <a:lnTo>
                  <a:pt x="372" y="1410"/>
                </a:lnTo>
                <a:lnTo>
                  <a:pt x="360" y="1410"/>
                </a:lnTo>
                <a:lnTo>
                  <a:pt x="354" y="1416"/>
                </a:lnTo>
                <a:lnTo>
                  <a:pt x="348" y="1416"/>
                </a:lnTo>
                <a:lnTo>
                  <a:pt x="342" y="1410"/>
                </a:lnTo>
                <a:lnTo>
                  <a:pt x="336" y="1410"/>
                </a:lnTo>
                <a:lnTo>
                  <a:pt x="336" y="1416"/>
                </a:lnTo>
                <a:lnTo>
                  <a:pt x="330" y="1422"/>
                </a:lnTo>
                <a:lnTo>
                  <a:pt x="324" y="1422"/>
                </a:lnTo>
                <a:lnTo>
                  <a:pt x="318" y="1422"/>
                </a:lnTo>
                <a:lnTo>
                  <a:pt x="312" y="1428"/>
                </a:lnTo>
                <a:lnTo>
                  <a:pt x="312" y="1434"/>
                </a:lnTo>
                <a:lnTo>
                  <a:pt x="300" y="1428"/>
                </a:lnTo>
                <a:lnTo>
                  <a:pt x="288" y="1434"/>
                </a:lnTo>
                <a:lnTo>
                  <a:pt x="282" y="1440"/>
                </a:lnTo>
                <a:lnTo>
                  <a:pt x="282" y="1446"/>
                </a:lnTo>
                <a:lnTo>
                  <a:pt x="276" y="1446"/>
                </a:lnTo>
                <a:lnTo>
                  <a:pt x="276" y="1452"/>
                </a:lnTo>
                <a:lnTo>
                  <a:pt x="270" y="1452"/>
                </a:lnTo>
                <a:lnTo>
                  <a:pt x="258" y="1464"/>
                </a:lnTo>
                <a:lnTo>
                  <a:pt x="240" y="1458"/>
                </a:lnTo>
                <a:lnTo>
                  <a:pt x="234" y="1452"/>
                </a:lnTo>
                <a:lnTo>
                  <a:pt x="234" y="1446"/>
                </a:lnTo>
                <a:lnTo>
                  <a:pt x="228" y="1446"/>
                </a:lnTo>
                <a:lnTo>
                  <a:pt x="222" y="1440"/>
                </a:lnTo>
                <a:lnTo>
                  <a:pt x="216" y="1440"/>
                </a:lnTo>
                <a:lnTo>
                  <a:pt x="210" y="1428"/>
                </a:lnTo>
                <a:lnTo>
                  <a:pt x="210" y="1422"/>
                </a:lnTo>
                <a:lnTo>
                  <a:pt x="198" y="1416"/>
                </a:lnTo>
                <a:lnTo>
                  <a:pt x="204" y="1410"/>
                </a:lnTo>
                <a:lnTo>
                  <a:pt x="210" y="1404"/>
                </a:lnTo>
                <a:lnTo>
                  <a:pt x="210" y="1398"/>
                </a:lnTo>
                <a:lnTo>
                  <a:pt x="252" y="1368"/>
                </a:lnTo>
                <a:lnTo>
                  <a:pt x="276" y="1350"/>
                </a:lnTo>
                <a:lnTo>
                  <a:pt x="300" y="1338"/>
                </a:lnTo>
                <a:lnTo>
                  <a:pt x="294" y="1314"/>
                </a:lnTo>
                <a:lnTo>
                  <a:pt x="288" y="1308"/>
                </a:lnTo>
                <a:lnTo>
                  <a:pt x="300" y="1266"/>
                </a:lnTo>
                <a:lnTo>
                  <a:pt x="300" y="1242"/>
                </a:lnTo>
                <a:lnTo>
                  <a:pt x="300" y="1206"/>
                </a:lnTo>
                <a:lnTo>
                  <a:pt x="300" y="1164"/>
                </a:lnTo>
                <a:lnTo>
                  <a:pt x="294" y="1134"/>
                </a:lnTo>
                <a:lnTo>
                  <a:pt x="282" y="1086"/>
                </a:lnTo>
                <a:lnTo>
                  <a:pt x="276" y="1074"/>
                </a:lnTo>
                <a:lnTo>
                  <a:pt x="276" y="1056"/>
                </a:lnTo>
                <a:lnTo>
                  <a:pt x="270" y="1038"/>
                </a:lnTo>
                <a:lnTo>
                  <a:pt x="270" y="1020"/>
                </a:lnTo>
                <a:lnTo>
                  <a:pt x="282" y="1020"/>
                </a:lnTo>
                <a:lnTo>
                  <a:pt x="282" y="1014"/>
                </a:lnTo>
                <a:lnTo>
                  <a:pt x="288" y="1008"/>
                </a:lnTo>
                <a:lnTo>
                  <a:pt x="294" y="1002"/>
                </a:lnTo>
                <a:lnTo>
                  <a:pt x="306" y="996"/>
                </a:lnTo>
                <a:lnTo>
                  <a:pt x="312" y="990"/>
                </a:lnTo>
                <a:lnTo>
                  <a:pt x="318" y="990"/>
                </a:lnTo>
                <a:lnTo>
                  <a:pt x="324" y="984"/>
                </a:lnTo>
                <a:lnTo>
                  <a:pt x="324" y="978"/>
                </a:lnTo>
                <a:lnTo>
                  <a:pt x="324" y="972"/>
                </a:lnTo>
                <a:lnTo>
                  <a:pt x="324" y="954"/>
                </a:lnTo>
                <a:lnTo>
                  <a:pt x="336" y="948"/>
                </a:lnTo>
                <a:lnTo>
                  <a:pt x="342" y="936"/>
                </a:lnTo>
                <a:lnTo>
                  <a:pt x="348" y="924"/>
                </a:lnTo>
                <a:lnTo>
                  <a:pt x="354" y="924"/>
                </a:lnTo>
                <a:lnTo>
                  <a:pt x="372" y="924"/>
                </a:lnTo>
                <a:lnTo>
                  <a:pt x="372" y="930"/>
                </a:lnTo>
                <a:lnTo>
                  <a:pt x="378" y="930"/>
                </a:lnTo>
                <a:lnTo>
                  <a:pt x="378" y="936"/>
                </a:lnTo>
                <a:lnTo>
                  <a:pt x="384" y="936"/>
                </a:lnTo>
                <a:lnTo>
                  <a:pt x="384" y="942"/>
                </a:lnTo>
                <a:lnTo>
                  <a:pt x="402" y="942"/>
                </a:lnTo>
                <a:lnTo>
                  <a:pt x="402" y="996"/>
                </a:lnTo>
                <a:lnTo>
                  <a:pt x="414" y="996"/>
                </a:lnTo>
                <a:lnTo>
                  <a:pt x="420" y="996"/>
                </a:lnTo>
                <a:lnTo>
                  <a:pt x="426" y="996"/>
                </a:lnTo>
                <a:lnTo>
                  <a:pt x="432" y="996"/>
                </a:lnTo>
                <a:lnTo>
                  <a:pt x="438" y="996"/>
                </a:lnTo>
                <a:lnTo>
                  <a:pt x="438" y="942"/>
                </a:lnTo>
                <a:lnTo>
                  <a:pt x="444" y="930"/>
                </a:lnTo>
                <a:lnTo>
                  <a:pt x="444" y="924"/>
                </a:lnTo>
                <a:lnTo>
                  <a:pt x="444" y="918"/>
                </a:lnTo>
                <a:lnTo>
                  <a:pt x="462" y="918"/>
                </a:lnTo>
                <a:lnTo>
                  <a:pt x="474" y="906"/>
                </a:lnTo>
                <a:lnTo>
                  <a:pt x="480" y="900"/>
                </a:lnTo>
                <a:lnTo>
                  <a:pt x="486" y="888"/>
                </a:lnTo>
                <a:lnTo>
                  <a:pt x="492" y="876"/>
                </a:lnTo>
                <a:lnTo>
                  <a:pt x="492" y="858"/>
                </a:lnTo>
                <a:lnTo>
                  <a:pt x="480" y="858"/>
                </a:lnTo>
                <a:lnTo>
                  <a:pt x="474" y="840"/>
                </a:lnTo>
                <a:lnTo>
                  <a:pt x="450" y="834"/>
                </a:lnTo>
                <a:lnTo>
                  <a:pt x="438" y="816"/>
                </a:lnTo>
                <a:lnTo>
                  <a:pt x="432" y="792"/>
                </a:lnTo>
                <a:lnTo>
                  <a:pt x="432" y="786"/>
                </a:lnTo>
                <a:lnTo>
                  <a:pt x="432" y="774"/>
                </a:lnTo>
                <a:lnTo>
                  <a:pt x="432" y="762"/>
                </a:lnTo>
                <a:lnTo>
                  <a:pt x="438" y="750"/>
                </a:lnTo>
                <a:lnTo>
                  <a:pt x="438" y="738"/>
                </a:lnTo>
                <a:lnTo>
                  <a:pt x="444" y="732"/>
                </a:lnTo>
                <a:lnTo>
                  <a:pt x="450" y="732"/>
                </a:lnTo>
                <a:lnTo>
                  <a:pt x="456" y="732"/>
                </a:lnTo>
                <a:lnTo>
                  <a:pt x="456" y="726"/>
                </a:lnTo>
                <a:lnTo>
                  <a:pt x="456" y="714"/>
                </a:lnTo>
                <a:lnTo>
                  <a:pt x="450" y="702"/>
                </a:lnTo>
                <a:lnTo>
                  <a:pt x="450" y="696"/>
                </a:lnTo>
                <a:lnTo>
                  <a:pt x="444" y="684"/>
                </a:lnTo>
                <a:lnTo>
                  <a:pt x="438" y="666"/>
                </a:lnTo>
                <a:lnTo>
                  <a:pt x="426" y="666"/>
                </a:lnTo>
                <a:lnTo>
                  <a:pt x="432" y="666"/>
                </a:lnTo>
                <a:lnTo>
                  <a:pt x="420" y="666"/>
                </a:lnTo>
                <a:lnTo>
                  <a:pt x="414" y="660"/>
                </a:lnTo>
                <a:lnTo>
                  <a:pt x="396" y="654"/>
                </a:lnTo>
                <a:lnTo>
                  <a:pt x="384" y="642"/>
                </a:lnTo>
                <a:lnTo>
                  <a:pt x="366" y="624"/>
                </a:lnTo>
                <a:lnTo>
                  <a:pt x="354" y="606"/>
                </a:lnTo>
                <a:lnTo>
                  <a:pt x="342" y="588"/>
                </a:lnTo>
                <a:lnTo>
                  <a:pt x="342" y="582"/>
                </a:lnTo>
                <a:lnTo>
                  <a:pt x="360" y="564"/>
                </a:lnTo>
                <a:lnTo>
                  <a:pt x="372" y="540"/>
                </a:lnTo>
                <a:lnTo>
                  <a:pt x="366" y="528"/>
                </a:lnTo>
                <a:lnTo>
                  <a:pt x="366" y="522"/>
                </a:lnTo>
                <a:lnTo>
                  <a:pt x="372" y="516"/>
                </a:lnTo>
                <a:lnTo>
                  <a:pt x="384" y="504"/>
                </a:lnTo>
                <a:lnTo>
                  <a:pt x="378" y="492"/>
                </a:lnTo>
                <a:lnTo>
                  <a:pt x="378" y="486"/>
                </a:lnTo>
                <a:lnTo>
                  <a:pt x="378" y="480"/>
                </a:lnTo>
                <a:lnTo>
                  <a:pt x="378" y="474"/>
                </a:lnTo>
                <a:lnTo>
                  <a:pt x="378" y="468"/>
                </a:lnTo>
                <a:lnTo>
                  <a:pt x="366" y="468"/>
                </a:lnTo>
                <a:lnTo>
                  <a:pt x="360" y="474"/>
                </a:lnTo>
                <a:lnTo>
                  <a:pt x="354" y="480"/>
                </a:lnTo>
                <a:lnTo>
                  <a:pt x="348" y="486"/>
                </a:lnTo>
                <a:lnTo>
                  <a:pt x="348" y="492"/>
                </a:lnTo>
                <a:lnTo>
                  <a:pt x="336" y="510"/>
                </a:lnTo>
                <a:lnTo>
                  <a:pt x="300" y="516"/>
                </a:lnTo>
                <a:lnTo>
                  <a:pt x="300" y="510"/>
                </a:lnTo>
                <a:lnTo>
                  <a:pt x="282" y="504"/>
                </a:lnTo>
                <a:lnTo>
                  <a:pt x="282" y="498"/>
                </a:lnTo>
                <a:lnTo>
                  <a:pt x="264" y="486"/>
                </a:lnTo>
                <a:lnTo>
                  <a:pt x="258" y="492"/>
                </a:lnTo>
                <a:lnTo>
                  <a:pt x="234" y="492"/>
                </a:lnTo>
                <a:lnTo>
                  <a:pt x="222" y="486"/>
                </a:lnTo>
                <a:lnTo>
                  <a:pt x="204" y="480"/>
                </a:lnTo>
                <a:lnTo>
                  <a:pt x="198" y="474"/>
                </a:lnTo>
                <a:lnTo>
                  <a:pt x="192" y="474"/>
                </a:lnTo>
                <a:lnTo>
                  <a:pt x="192" y="462"/>
                </a:lnTo>
                <a:lnTo>
                  <a:pt x="186" y="462"/>
                </a:lnTo>
                <a:lnTo>
                  <a:pt x="180" y="468"/>
                </a:lnTo>
                <a:lnTo>
                  <a:pt x="150" y="450"/>
                </a:lnTo>
                <a:lnTo>
                  <a:pt x="144" y="438"/>
                </a:lnTo>
                <a:lnTo>
                  <a:pt x="138" y="438"/>
                </a:lnTo>
                <a:lnTo>
                  <a:pt x="132" y="432"/>
                </a:lnTo>
                <a:lnTo>
                  <a:pt x="126" y="432"/>
                </a:lnTo>
                <a:lnTo>
                  <a:pt x="120" y="432"/>
                </a:lnTo>
                <a:lnTo>
                  <a:pt x="102" y="426"/>
                </a:lnTo>
                <a:lnTo>
                  <a:pt x="96" y="420"/>
                </a:lnTo>
                <a:lnTo>
                  <a:pt x="90" y="414"/>
                </a:lnTo>
                <a:lnTo>
                  <a:pt x="84" y="414"/>
                </a:lnTo>
                <a:lnTo>
                  <a:pt x="72" y="414"/>
                </a:lnTo>
                <a:lnTo>
                  <a:pt x="60" y="414"/>
                </a:lnTo>
                <a:lnTo>
                  <a:pt x="30" y="414"/>
                </a:lnTo>
                <a:lnTo>
                  <a:pt x="24" y="414"/>
                </a:lnTo>
                <a:lnTo>
                  <a:pt x="12" y="414"/>
                </a:lnTo>
                <a:lnTo>
                  <a:pt x="0" y="420"/>
                </a:lnTo>
                <a:lnTo>
                  <a:pt x="0" y="360"/>
                </a:lnTo>
                <a:lnTo>
                  <a:pt x="0" y="354"/>
                </a:lnTo>
                <a:lnTo>
                  <a:pt x="0" y="336"/>
                </a:lnTo>
                <a:lnTo>
                  <a:pt x="0" y="288"/>
                </a:lnTo>
                <a:lnTo>
                  <a:pt x="0" y="282"/>
                </a:lnTo>
                <a:lnTo>
                  <a:pt x="0" y="276"/>
                </a:lnTo>
                <a:lnTo>
                  <a:pt x="0" y="270"/>
                </a:lnTo>
                <a:lnTo>
                  <a:pt x="30" y="270"/>
                </a:lnTo>
                <a:lnTo>
                  <a:pt x="42" y="270"/>
                </a:lnTo>
                <a:lnTo>
                  <a:pt x="54" y="264"/>
                </a:lnTo>
                <a:lnTo>
                  <a:pt x="78" y="240"/>
                </a:lnTo>
                <a:lnTo>
                  <a:pt x="102" y="216"/>
                </a:lnTo>
                <a:lnTo>
                  <a:pt x="114" y="210"/>
                </a:lnTo>
                <a:lnTo>
                  <a:pt x="120" y="204"/>
                </a:lnTo>
                <a:lnTo>
                  <a:pt x="126" y="198"/>
                </a:lnTo>
                <a:lnTo>
                  <a:pt x="138" y="186"/>
                </a:lnTo>
                <a:lnTo>
                  <a:pt x="174" y="156"/>
                </a:lnTo>
                <a:lnTo>
                  <a:pt x="180" y="150"/>
                </a:lnTo>
                <a:lnTo>
                  <a:pt x="192" y="138"/>
                </a:lnTo>
                <a:lnTo>
                  <a:pt x="210" y="126"/>
                </a:lnTo>
                <a:lnTo>
                  <a:pt x="216" y="120"/>
                </a:lnTo>
                <a:lnTo>
                  <a:pt x="222" y="120"/>
                </a:lnTo>
                <a:lnTo>
                  <a:pt x="258" y="114"/>
                </a:lnTo>
                <a:lnTo>
                  <a:pt x="270" y="108"/>
                </a:lnTo>
                <a:lnTo>
                  <a:pt x="282" y="108"/>
                </a:lnTo>
                <a:lnTo>
                  <a:pt x="288" y="108"/>
                </a:lnTo>
                <a:lnTo>
                  <a:pt x="294" y="108"/>
                </a:lnTo>
                <a:lnTo>
                  <a:pt x="300" y="102"/>
                </a:lnTo>
                <a:lnTo>
                  <a:pt x="312" y="102"/>
                </a:lnTo>
                <a:lnTo>
                  <a:pt x="318" y="102"/>
                </a:lnTo>
                <a:lnTo>
                  <a:pt x="348" y="96"/>
                </a:lnTo>
                <a:lnTo>
                  <a:pt x="366" y="90"/>
                </a:lnTo>
                <a:lnTo>
                  <a:pt x="384" y="90"/>
                </a:lnTo>
                <a:lnTo>
                  <a:pt x="390" y="90"/>
                </a:lnTo>
                <a:lnTo>
                  <a:pt x="396" y="84"/>
                </a:lnTo>
                <a:lnTo>
                  <a:pt x="408" y="84"/>
                </a:lnTo>
                <a:lnTo>
                  <a:pt x="420" y="84"/>
                </a:lnTo>
                <a:lnTo>
                  <a:pt x="462" y="72"/>
                </a:lnTo>
                <a:lnTo>
                  <a:pt x="474" y="72"/>
                </a:lnTo>
                <a:lnTo>
                  <a:pt x="474" y="78"/>
                </a:lnTo>
                <a:lnTo>
                  <a:pt x="492" y="90"/>
                </a:lnTo>
                <a:lnTo>
                  <a:pt x="498" y="90"/>
                </a:lnTo>
                <a:lnTo>
                  <a:pt x="522" y="96"/>
                </a:lnTo>
                <a:lnTo>
                  <a:pt x="540" y="96"/>
                </a:lnTo>
                <a:lnTo>
                  <a:pt x="546" y="96"/>
                </a:lnTo>
                <a:lnTo>
                  <a:pt x="558" y="96"/>
                </a:lnTo>
                <a:lnTo>
                  <a:pt x="564" y="96"/>
                </a:lnTo>
                <a:lnTo>
                  <a:pt x="576" y="96"/>
                </a:lnTo>
                <a:lnTo>
                  <a:pt x="588" y="96"/>
                </a:lnTo>
                <a:lnTo>
                  <a:pt x="612" y="90"/>
                </a:lnTo>
                <a:lnTo>
                  <a:pt x="624" y="90"/>
                </a:lnTo>
                <a:lnTo>
                  <a:pt x="636" y="90"/>
                </a:lnTo>
                <a:lnTo>
                  <a:pt x="642" y="90"/>
                </a:lnTo>
                <a:lnTo>
                  <a:pt x="648" y="96"/>
                </a:lnTo>
                <a:lnTo>
                  <a:pt x="660" y="96"/>
                </a:lnTo>
                <a:lnTo>
                  <a:pt x="666" y="96"/>
                </a:lnTo>
                <a:lnTo>
                  <a:pt x="672" y="96"/>
                </a:lnTo>
                <a:lnTo>
                  <a:pt x="684" y="96"/>
                </a:lnTo>
                <a:lnTo>
                  <a:pt x="708" y="96"/>
                </a:lnTo>
                <a:lnTo>
                  <a:pt x="714" y="96"/>
                </a:lnTo>
                <a:lnTo>
                  <a:pt x="726" y="96"/>
                </a:lnTo>
                <a:lnTo>
                  <a:pt x="738" y="84"/>
                </a:lnTo>
                <a:lnTo>
                  <a:pt x="744" y="78"/>
                </a:lnTo>
                <a:lnTo>
                  <a:pt x="756" y="66"/>
                </a:lnTo>
                <a:lnTo>
                  <a:pt x="774" y="42"/>
                </a:lnTo>
                <a:lnTo>
                  <a:pt x="780" y="30"/>
                </a:lnTo>
                <a:lnTo>
                  <a:pt x="816" y="24"/>
                </a:lnTo>
                <a:lnTo>
                  <a:pt x="840" y="18"/>
                </a:lnTo>
                <a:lnTo>
                  <a:pt x="840" y="12"/>
                </a:lnTo>
                <a:lnTo>
                  <a:pt x="846" y="12"/>
                </a:lnTo>
                <a:lnTo>
                  <a:pt x="852" y="12"/>
                </a:lnTo>
                <a:lnTo>
                  <a:pt x="864" y="6"/>
                </a:lnTo>
                <a:lnTo>
                  <a:pt x="870" y="6"/>
                </a:lnTo>
                <a:lnTo>
                  <a:pt x="894" y="0"/>
                </a:lnTo>
                <a:lnTo>
                  <a:pt x="900" y="6"/>
                </a:lnTo>
                <a:lnTo>
                  <a:pt x="930" y="18"/>
                </a:lnTo>
                <a:lnTo>
                  <a:pt x="942" y="24"/>
                </a:lnTo>
                <a:lnTo>
                  <a:pt x="954" y="30"/>
                </a:lnTo>
                <a:lnTo>
                  <a:pt x="1026" y="60"/>
                </a:lnTo>
                <a:lnTo>
                  <a:pt x="1032" y="60"/>
                </a:lnTo>
                <a:lnTo>
                  <a:pt x="1038" y="66"/>
                </a:lnTo>
                <a:lnTo>
                  <a:pt x="1068" y="72"/>
                </a:lnTo>
                <a:lnTo>
                  <a:pt x="1098" y="84"/>
                </a:lnTo>
                <a:lnTo>
                  <a:pt x="1122" y="90"/>
                </a:lnTo>
                <a:lnTo>
                  <a:pt x="1122" y="96"/>
                </a:lnTo>
                <a:lnTo>
                  <a:pt x="1140" y="102"/>
                </a:lnTo>
                <a:lnTo>
                  <a:pt x="1182" y="114"/>
                </a:lnTo>
                <a:lnTo>
                  <a:pt x="1188" y="114"/>
                </a:lnTo>
                <a:lnTo>
                  <a:pt x="1200" y="120"/>
                </a:lnTo>
                <a:lnTo>
                  <a:pt x="1212" y="126"/>
                </a:lnTo>
                <a:lnTo>
                  <a:pt x="1224" y="126"/>
                </a:lnTo>
                <a:lnTo>
                  <a:pt x="1248" y="138"/>
                </a:lnTo>
                <a:lnTo>
                  <a:pt x="1272" y="150"/>
                </a:lnTo>
                <a:lnTo>
                  <a:pt x="1284" y="156"/>
                </a:lnTo>
                <a:lnTo>
                  <a:pt x="1290" y="162"/>
                </a:lnTo>
                <a:lnTo>
                  <a:pt x="1296" y="162"/>
                </a:lnTo>
                <a:lnTo>
                  <a:pt x="1308" y="156"/>
                </a:lnTo>
                <a:lnTo>
                  <a:pt x="1320" y="150"/>
                </a:lnTo>
                <a:lnTo>
                  <a:pt x="1326" y="150"/>
                </a:lnTo>
                <a:lnTo>
                  <a:pt x="1338" y="144"/>
                </a:lnTo>
                <a:lnTo>
                  <a:pt x="1362" y="144"/>
                </a:lnTo>
                <a:lnTo>
                  <a:pt x="1368" y="144"/>
                </a:lnTo>
                <a:lnTo>
                  <a:pt x="1374" y="144"/>
                </a:lnTo>
                <a:lnTo>
                  <a:pt x="1386" y="150"/>
                </a:lnTo>
                <a:lnTo>
                  <a:pt x="1392" y="150"/>
                </a:lnTo>
                <a:lnTo>
                  <a:pt x="1398" y="150"/>
                </a:lnTo>
                <a:lnTo>
                  <a:pt x="1416" y="162"/>
                </a:lnTo>
                <a:lnTo>
                  <a:pt x="1458" y="186"/>
                </a:lnTo>
                <a:lnTo>
                  <a:pt x="1464" y="186"/>
                </a:lnTo>
                <a:lnTo>
                  <a:pt x="1470" y="192"/>
                </a:lnTo>
                <a:lnTo>
                  <a:pt x="1482" y="204"/>
                </a:lnTo>
                <a:lnTo>
                  <a:pt x="1512" y="234"/>
                </a:lnTo>
                <a:lnTo>
                  <a:pt x="1554" y="276"/>
                </a:lnTo>
                <a:lnTo>
                  <a:pt x="1560" y="276"/>
                </a:lnTo>
                <a:lnTo>
                  <a:pt x="1566" y="282"/>
                </a:lnTo>
                <a:lnTo>
                  <a:pt x="1578" y="294"/>
                </a:lnTo>
                <a:lnTo>
                  <a:pt x="1602" y="318"/>
                </a:lnTo>
                <a:lnTo>
                  <a:pt x="1614" y="330"/>
                </a:lnTo>
                <a:lnTo>
                  <a:pt x="1620" y="336"/>
                </a:lnTo>
                <a:lnTo>
                  <a:pt x="1626" y="342"/>
                </a:lnTo>
                <a:lnTo>
                  <a:pt x="1632" y="354"/>
                </a:lnTo>
                <a:lnTo>
                  <a:pt x="1644" y="366"/>
                </a:lnTo>
                <a:lnTo>
                  <a:pt x="1650" y="378"/>
                </a:lnTo>
                <a:lnTo>
                  <a:pt x="1650" y="384"/>
                </a:lnTo>
                <a:lnTo>
                  <a:pt x="1656" y="384"/>
                </a:lnTo>
                <a:lnTo>
                  <a:pt x="1662" y="402"/>
                </a:lnTo>
                <a:lnTo>
                  <a:pt x="1668" y="408"/>
                </a:lnTo>
                <a:lnTo>
                  <a:pt x="1674" y="426"/>
                </a:lnTo>
                <a:lnTo>
                  <a:pt x="1686" y="438"/>
                </a:lnTo>
                <a:lnTo>
                  <a:pt x="1698" y="462"/>
                </a:lnTo>
                <a:close/>
              </a:path>
            </a:pathLst>
          </a:custGeom>
          <a:noFill/>
          <a:ln w="9525" cap="flat" cmpd="sng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78" name="Freeform 34">
            <a:extLst>
              <a:ext uri="{FF2B5EF4-FFF2-40B4-BE49-F238E27FC236}">
                <a16:creationId xmlns:a16="http://schemas.microsoft.com/office/drawing/2014/main" id="{FD3E5EAE-062D-43FB-AA7C-1926A1350FB2}"/>
              </a:ext>
            </a:extLst>
          </p:cNvPr>
          <p:cNvSpPr>
            <a:spLocks/>
          </p:cNvSpPr>
          <p:nvPr/>
        </p:nvSpPr>
        <p:spPr bwMode="gray">
          <a:xfrm>
            <a:off x="3177169" y="2252104"/>
            <a:ext cx="939485" cy="1162403"/>
          </a:xfrm>
          <a:custGeom>
            <a:avLst/>
            <a:gdLst>
              <a:gd name="T0" fmla="*/ 4 w 1638"/>
              <a:gd name="T1" fmla="*/ 111 h 1998"/>
              <a:gd name="T2" fmla="*/ 6 w 1638"/>
              <a:gd name="T3" fmla="*/ 87 h 1998"/>
              <a:gd name="T4" fmla="*/ 10 w 1638"/>
              <a:gd name="T5" fmla="*/ 80 h 1998"/>
              <a:gd name="T6" fmla="*/ 10 w 1638"/>
              <a:gd name="T7" fmla="*/ 71 h 1998"/>
              <a:gd name="T8" fmla="*/ 9 w 1638"/>
              <a:gd name="T9" fmla="*/ 56 h 1998"/>
              <a:gd name="T10" fmla="*/ 8 w 1638"/>
              <a:gd name="T11" fmla="*/ 40 h 1998"/>
              <a:gd name="T12" fmla="*/ 20 w 1638"/>
              <a:gd name="T13" fmla="*/ 30 h 1998"/>
              <a:gd name="T14" fmla="*/ 30 w 1638"/>
              <a:gd name="T15" fmla="*/ 19 h 1998"/>
              <a:gd name="T16" fmla="*/ 35 w 1638"/>
              <a:gd name="T17" fmla="*/ 2 h 1998"/>
              <a:gd name="T18" fmla="*/ 47 w 1638"/>
              <a:gd name="T19" fmla="*/ 2 h 1998"/>
              <a:gd name="T20" fmla="*/ 56 w 1638"/>
              <a:gd name="T21" fmla="*/ 7 h 1998"/>
              <a:gd name="T22" fmla="*/ 67 w 1638"/>
              <a:gd name="T23" fmla="*/ 5 h 1998"/>
              <a:gd name="T24" fmla="*/ 65 w 1638"/>
              <a:gd name="T25" fmla="*/ 15 h 1998"/>
              <a:gd name="T26" fmla="*/ 74 w 1638"/>
              <a:gd name="T27" fmla="*/ 24 h 1998"/>
              <a:gd name="T28" fmla="*/ 73 w 1638"/>
              <a:gd name="T29" fmla="*/ 33 h 1998"/>
              <a:gd name="T30" fmla="*/ 74 w 1638"/>
              <a:gd name="T31" fmla="*/ 44 h 1998"/>
              <a:gd name="T32" fmla="*/ 68 w 1638"/>
              <a:gd name="T33" fmla="*/ 45 h 1998"/>
              <a:gd name="T34" fmla="*/ 63 w 1638"/>
              <a:gd name="T35" fmla="*/ 50 h 1998"/>
              <a:gd name="T36" fmla="*/ 61 w 1638"/>
              <a:gd name="T37" fmla="*/ 62 h 1998"/>
              <a:gd name="T38" fmla="*/ 53 w 1638"/>
              <a:gd name="T39" fmla="*/ 86 h 1998"/>
              <a:gd name="T40" fmla="*/ 59 w 1638"/>
              <a:gd name="T41" fmla="*/ 90 h 1998"/>
              <a:gd name="T42" fmla="*/ 65 w 1638"/>
              <a:gd name="T43" fmla="*/ 86 h 1998"/>
              <a:gd name="T44" fmla="*/ 74 w 1638"/>
              <a:gd name="T45" fmla="*/ 84 h 1998"/>
              <a:gd name="T46" fmla="*/ 79 w 1638"/>
              <a:gd name="T47" fmla="*/ 85 h 1998"/>
              <a:gd name="T48" fmla="*/ 84 w 1638"/>
              <a:gd name="T49" fmla="*/ 84 h 1998"/>
              <a:gd name="T50" fmla="*/ 91 w 1638"/>
              <a:gd name="T51" fmla="*/ 84 h 1998"/>
              <a:gd name="T52" fmla="*/ 94 w 1638"/>
              <a:gd name="T53" fmla="*/ 81 h 1998"/>
              <a:gd name="T54" fmla="*/ 100 w 1638"/>
              <a:gd name="T55" fmla="*/ 81 h 1998"/>
              <a:gd name="T56" fmla="*/ 102 w 1638"/>
              <a:gd name="T57" fmla="*/ 84 h 1998"/>
              <a:gd name="T58" fmla="*/ 108 w 1638"/>
              <a:gd name="T59" fmla="*/ 85 h 1998"/>
              <a:gd name="T60" fmla="*/ 113 w 1638"/>
              <a:gd name="T61" fmla="*/ 88 h 1998"/>
              <a:gd name="T62" fmla="*/ 116 w 1638"/>
              <a:gd name="T63" fmla="*/ 88 h 1998"/>
              <a:gd name="T64" fmla="*/ 123 w 1638"/>
              <a:gd name="T65" fmla="*/ 87 h 1998"/>
              <a:gd name="T66" fmla="*/ 128 w 1638"/>
              <a:gd name="T67" fmla="*/ 86 h 1998"/>
              <a:gd name="T68" fmla="*/ 132 w 1638"/>
              <a:gd name="T69" fmla="*/ 90 h 1998"/>
              <a:gd name="T70" fmla="*/ 138 w 1638"/>
              <a:gd name="T71" fmla="*/ 96 h 1998"/>
              <a:gd name="T72" fmla="*/ 138 w 1638"/>
              <a:gd name="T73" fmla="*/ 110 h 1998"/>
              <a:gd name="T74" fmla="*/ 137 w 1638"/>
              <a:gd name="T75" fmla="*/ 118 h 1998"/>
              <a:gd name="T76" fmla="*/ 133 w 1638"/>
              <a:gd name="T77" fmla="*/ 124 h 1998"/>
              <a:gd name="T78" fmla="*/ 122 w 1638"/>
              <a:gd name="T79" fmla="*/ 125 h 1998"/>
              <a:gd name="T80" fmla="*/ 116 w 1638"/>
              <a:gd name="T81" fmla="*/ 127 h 1998"/>
              <a:gd name="T82" fmla="*/ 108 w 1638"/>
              <a:gd name="T83" fmla="*/ 123 h 1998"/>
              <a:gd name="T84" fmla="*/ 109 w 1638"/>
              <a:gd name="T85" fmla="*/ 119 h 1998"/>
              <a:gd name="T86" fmla="*/ 104 w 1638"/>
              <a:gd name="T87" fmla="*/ 104 h 1998"/>
              <a:gd name="T88" fmla="*/ 94 w 1638"/>
              <a:gd name="T89" fmla="*/ 105 h 1998"/>
              <a:gd name="T90" fmla="*/ 88 w 1638"/>
              <a:gd name="T91" fmla="*/ 109 h 1998"/>
              <a:gd name="T92" fmla="*/ 76 w 1638"/>
              <a:gd name="T93" fmla="*/ 107 h 1998"/>
              <a:gd name="T94" fmla="*/ 72 w 1638"/>
              <a:gd name="T95" fmla="*/ 114 h 1998"/>
              <a:gd name="T96" fmla="*/ 86 w 1638"/>
              <a:gd name="T97" fmla="*/ 121 h 1998"/>
              <a:gd name="T98" fmla="*/ 87 w 1638"/>
              <a:gd name="T99" fmla="*/ 129 h 1998"/>
              <a:gd name="T100" fmla="*/ 86 w 1638"/>
              <a:gd name="T101" fmla="*/ 137 h 1998"/>
              <a:gd name="T102" fmla="*/ 79 w 1638"/>
              <a:gd name="T103" fmla="*/ 141 h 1998"/>
              <a:gd name="T104" fmla="*/ 73 w 1638"/>
              <a:gd name="T105" fmla="*/ 144 h 1998"/>
              <a:gd name="T106" fmla="*/ 72 w 1638"/>
              <a:gd name="T107" fmla="*/ 164 h 1998"/>
              <a:gd name="T108" fmla="*/ 68 w 1638"/>
              <a:gd name="T109" fmla="*/ 172 h 1998"/>
              <a:gd name="T110" fmla="*/ 59 w 1638"/>
              <a:gd name="T111" fmla="*/ 164 h 1998"/>
              <a:gd name="T112" fmla="*/ 65 w 1638"/>
              <a:gd name="T113" fmla="*/ 146 h 1998"/>
              <a:gd name="T114" fmla="*/ 69 w 1638"/>
              <a:gd name="T115" fmla="*/ 133 h 1998"/>
              <a:gd name="T116" fmla="*/ 61 w 1638"/>
              <a:gd name="T117" fmla="*/ 131 h 1998"/>
              <a:gd name="T118" fmla="*/ 43 w 1638"/>
              <a:gd name="T119" fmla="*/ 125 h 1998"/>
              <a:gd name="T120" fmla="*/ 23 w 1638"/>
              <a:gd name="T121" fmla="*/ 125 h 1998"/>
              <a:gd name="T122" fmla="*/ 17 w 1638"/>
              <a:gd name="T123" fmla="*/ 121 h 199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638"/>
              <a:gd name="T187" fmla="*/ 0 h 1998"/>
              <a:gd name="T188" fmla="*/ 1638 w 1638"/>
              <a:gd name="T189" fmla="*/ 1998 h 1998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638" h="1998">
                <a:moveTo>
                  <a:pt x="144" y="1380"/>
                </a:moveTo>
                <a:lnTo>
                  <a:pt x="150" y="1368"/>
                </a:lnTo>
                <a:lnTo>
                  <a:pt x="150" y="1362"/>
                </a:lnTo>
                <a:lnTo>
                  <a:pt x="150" y="1356"/>
                </a:lnTo>
                <a:lnTo>
                  <a:pt x="144" y="1356"/>
                </a:lnTo>
                <a:lnTo>
                  <a:pt x="138" y="1356"/>
                </a:lnTo>
                <a:lnTo>
                  <a:pt x="126" y="1356"/>
                </a:lnTo>
                <a:lnTo>
                  <a:pt x="114" y="1344"/>
                </a:lnTo>
                <a:lnTo>
                  <a:pt x="84" y="1320"/>
                </a:lnTo>
                <a:lnTo>
                  <a:pt x="54" y="1296"/>
                </a:lnTo>
                <a:lnTo>
                  <a:pt x="48" y="1290"/>
                </a:lnTo>
                <a:lnTo>
                  <a:pt x="42" y="1278"/>
                </a:lnTo>
                <a:lnTo>
                  <a:pt x="30" y="1272"/>
                </a:lnTo>
                <a:lnTo>
                  <a:pt x="0" y="1248"/>
                </a:lnTo>
                <a:lnTo>
                  <a:pt x="6" y="1230"/>
                </a:lnTo>
                <a:lnTo>
                  <a:pt x="12" y="1194"/>
                </a:lnTo>
                <a:lnTo>
                  <a:pt x="18" y="1170"/>
                </a:lnTo>
                <a:lnTo>
                  <a:pt x="30" y="1134"/>
                </a:lnTo>
                <a:lnTo>
                  <a:pt x="36" y="1086"/>
                </a:lnTo>
                <a:lnTo>
                  <a:pt x="42" y="1050"/>
                </a:lnTo>
                <a:lnTo>
                  <a:pt x="48" y="1044"/>
                </a:lnTo>
                <a:lnTo>
                  <a:pt x="54" y="1026"/>
                </a:lnTo>
                <a:lnTo>
                  <a:pt x="60" y="1014"/>
                </a:lnTo>
                <a:lnTo>
                  <a:pt x="66" y="1002"/>
                </a:lnTo>
                <a:lnTo>
                  <a:pt x="66" y="996"/>
                </a:lnTo>
                <a:lnTo>
                  <a:pt x="72" y="996"/>
                </a:lnTo>
                <a:lnTo>
                  <a:pt x="72" y="990"/>
                </a:lnTo>
                <a:lnTo>
                  <a:pt x="78" y="990"/>
                </a:lnTo>
                <a:lnTo>
                  <a:pt x="90" y="978"/>
                </a:lnTo>
                <a:lnTo>
                  <a:pt x="96" y="966"/>
                </a:lnTo>
                <a:lnTo>
                  <a:pt x="102" y="966"/>
                </a:lnTo>
                <a:lnTo>
                  <a:pt x="114" y="954"/>
                </a:lnTo>
                <a:lnTo>
                  <a:pt x="120" y="954"/>
                </a:lnTo>
                <a:lnTo>
                  <a:pt x="120" y="948"/>
                </a:lnTo>
                <a:lnTo>
                  <a:pt x="114" y="930"/>
                </a:lnTo>
                <a:lnTo>
                  <a:pt x="114" y="924"/>
                </a:lnTo>
                <a:lnTo>
                  <a:pt x="108" y="918"/>
                </a:lnTo>
                <a:lnTo>
                  <a:pt x="102" y="912"/>
                </a:lnTo>
                <a:lnTo>
                  <a:pt x="90" y="906"/>
                </a:lnTo>
                <a:lnTo>
                  <a:pt x="84" y="900"/>
                </a:lnTo>
                <a:lnTo>
                  <a:pt x="84" y="888"/>
                </a:lnTo>
                <a:lnTo>
                  <a:pt x="84" y="882"/>
                </a:lnTo>
                <a:lnTo>
                  <a:pt x="78" y="858"/>
                </a:lnTo>
                <a:lnTo>
                  <a:pt x="78" y="852"/>
                </a:lnTo>
                <a:lnTo>
                  <a:pt x="84" y="846"/>
                </a:lnTo>
                <a:lnTo>
                  <a:pt x="84" y="840"/>
                </a:lnTo>
                <a:lnTo>
                  <a:pt x="96" y="828"/>
                </a:lnTo>
                <a:lnTo>
                  <a:pt x="114" y="816"/>
                </a:lnTo>
                <a:lnTo>
                  <a:pt x="114" y="810"/>
                </a:lnTo>
                <a:lnTo>
                  <a:pt x="114" y="804"/>
                </a:lnTo>
                <a:lnTo>
                  <a:pt x="108" y="780"/>
                </a:lnTo>
                <a:lnTo>
                  <a:pt x="96" y="756"/>
                </a:lnTo>
                <a:lnTo>
                  <a:pt x="96" y="750"/>
                </a:lnTo>
                <a:lnTo>
                  <a:pt x="90" y="720"/>
                </a:lnTo>
                <a:lnTo>
                  <a:pt x="90" y="708"/>
                </a:lnTo>
                <a:lnTo>
                  <a:pt x="90" y="690"/>
                </a:lnTo>
                <a:lnTo>
                  <a:pt x="96" y="672"/>
                </a:lnTo>
                <a:lnTo>
                  <a:pt x="90" y="666"/>
                </a:lnTo>
                <a:lnTo>
                  <a:pt x="96" y="666"/>
                </a:lnTo>
                <a:lnTo>
                  <a:pt x="102" y="642"/>
                </a:lnTo>
                <a:lnTo>
                  <a:pt x="108" y="624"/>
                </a:lnTo>
                <a:lnTo>
                  <a:pt x="102" y="618"/>
                </a:lnTo>
                <a:lnTo>
                  <a:pt x="102" y="588"/>
                </a:lnTo>
                <a:lnTo>
                  <a:pt x="102" y="564"/>
                </a:lnTo>
                <a:lnTo>
                  <a:pt x="102" y="546"/>
                </a:lnTo>
                <a:lnTo>
                  <a:pt x="102" y="522"/>
                </a:lnTo>
                <a:lnTo>
                  <a:pt x="96" y="522"/>
                </a:lnTo>
                <a:lnTo>
                  <a:pt x="96" y="510"/>
                </a:lnTo>
                <a:lnTo>
                  <a:pt x="96" y="498"/>
                </a:lnTo>
                <a:lnTo>
                  <a:pt x="96" y="486"/>
                </a:lnTo>
                <a:lnTo>
                  <a:pt x="96" y="474"/>
                </a:lnTo>
                <a:lnTo>
                  <a:pt x="96" y="462"/>
                </a:lnTo>
                <a:lnTo>
                  <a:pt x="114" y="450"/>
                </a:lnTo>
                <a:lnTo>
                  <a:pt x="126" y="438"/>
                </a:lnTo>
                <a:lnTo>
                  <a:pt x="132" y="432"/>
                </a:lnTo>
                <a:lnTo>
                  <a:pt x="144" y="426"/>
                </a:lnTo>
                <a:lnTo>
                  <a:pt x="144" y="420"/>
                </a:lnTo>
                <a:lnTo>
                  <a:pt x="156" y="414"/>
                </a:lnTo>
                <a:lnTo>
                  <a:pt x="162" y="408"/>
                </a:lnTo>
                <a:lnTo>
                  <a:pt x="180" y="396"/>
                </a:lnTo>
                <a:lnTo>
                  <a:pt x="210" y="372"/>
                </a:lnTo>
                <a:lnTo>
                  <a:pt x="210" y="366"/>
                </a:lnTo>
                <a:lnTo>
                  <a:pt x="216" y="360"/>
                </a:lnTo>
                <a:lnTo>
                  <a:pt x="234" y="348"/>
                </a:lnTo>
                <a:lnTo>
                  <a:pt x="240" y="348"/>
                </a:lnTo>
                <a:lnTo>
                  <a:pt x="246" y="342"/>
                </a:lnTo>
                <a:lnTo>
                  <a:pt x="276" y="318"/>
                </a:lnTo>
                <a:lnTo>
                  <a:pt x="282" y="312"/>
                </a:lnTo>
                <a:lnTo>
                  <a:pt x="288" y="306"/>
                </a:lnTo>
                <a:lnTo>
                  <a:pt x="300" y="288"/>
                </a:lnTo>
                <a:lnTo>
                  <a:pt x="306" y="276"/>
                </a:lnTo>
                <a:lnTo>
                  <a:pt x="324" y="246"/>
                </a:lnTo>
                <a:lnTo>
                  <a:pt x="330" y="240"/>
                </a:lnTo>
                <a:lnTo>
                  <a:pt x="336" y="234"/>
                </a:lnTo>
                <a:lnTo>
                  <a:pt x="342" y="228"/>
                </a:lnTo>
                <a:lnTo>
                  <a:pt x="342" y="216"/>
                </a:lnTo>
                <a:lnTo>
                  <a:pt x="354" y="204"/>
                </a:lnTo>
                <a:lnTo>
                  <a:pt x="360" y="204"/>
                </a:lnTo>
                <a:lnTo>
                  <a:pt x="366" y="186"/>
                </a:lnTo>
                <a:lnTo>
                  <a:pt x="384" y="162"/>
                </a:lnTo>
                <a:lnTo>
                  <a:pt x="390" y="144"/>
                </a:lnTo>
                <a:lnTo>
                  <a:pt x="396" y="114"/>
                </a:lnTo>
                <a:lnTo>
                  <a:pt x="396" y="102"/>
                </a:lnTo>
                <a:lnTo>
                  <a:pt x="402" y="90"/>
                </a:lnTo>
                <a:lnTo>
                  <a:pt x="408" y="66"/>
                </a:lnTo>
                <a:lnTo>
                  <a:pt x="408" y="60"/>
                </a:lnTo>
                <a:lnTo>
                  <a:pt x="408" y="36"/>
                </a:lnTo>
                <a:lnTo>
                  <a:pt x="408" y="24"/>
                </a:lnTo>
                <a:lnTo>
                  <a:pt x="408" y="6"/>
                </a:lnTo>
                <a:lnTo>
                  <a:pt x="420" y="0"/>
                </a:lnTo>
                <a:lnTo>
                  <a:pt x="432" y="0"/>
                </a:lnTo>
                <a:lnTo>
                  <a:pt x="438" y="0"/>
                </a:lnTo>
                <a:lnTo>
                  <a:pt x="468" y="0"/>
                </a:lnTo>
                <a:lnTo>
                  <a:pt x="480" y="0"/>
                </a:lnTo>
                <a:lnTo>
                  <a:pt x="492" y="0"/>
                </a:lnTo>
                <a:lnTo>
                  <a:pt x="498" y="0"/>
                </a:lnTo>
                <a:lnTo>
                  <a:pt x="504" y="6"/>
                </a:lnTo>
                <a:lnTo>
                  <a:pt x="510" y="12"/>
                </a:lnTo>
                <a:lnTo>
                  <a:pt x="528" y="18"/>
                </a:lnTo>
                <a:lnTo>
                  <a:pt x="534" y="18"/>
                </a:lnTo>
                <a:lnTo>
                  <a:pt x="540" y="18"/>
                </a:lnTo>
                <a:lnTo>
                  <a:pt x="546" y="24"/>
                </a:lnTo>
                <a:lnTo>
                  <a:pt x="552" y="24"/>
                </a:lnTo>
                <a:lnTo>
                  <a:pt x="558" y="36"/>
                </a:lnTo>
                <a:lnTo>
                  <a:pt x="588" y="54"/>
                </a:lnTo>
                <a:lnTo>
                  <a:pt x="594" y="48"/>
                </a:lnTo>
                <a:lnTo>
                  <a:pt x="600" y="48"/>
                </a:lnTo>
                <a:lnTo>
                  <a:pt x="600" y="60"/>
                </a:lnTo>
                <a:lnTo>
                  <a:pt x="606" y="60"/>
                </a:lnTo>
                <a:lnTo>
                  <a:pt x="612" y="66"/>
                </a:lnTo>
                <a:lnTo>
                  <a:pt x="630" y="72"/>
                </a:lnTo>
                <a:lnTo>
                  <a:pt x="642" y="78"/>
                </a:lnTo>
                <a:lnTo>
                  <a:pt x="666" y="78"/>
                </a:lnTo>
                <a:lnTo>
                  <a:pt x="672" y="72"/>
                </a:lnTo>
                <a:lnTo>
                  <a:pt x="690" y="84"/>
                </a:lnTo>
                <a:lnTo>
                  <a:pt x="690" y="90"/>
                </a:lnTo>
                <a:lnTo>
                  <a:pt x="708" y="96"/>
                </a:lnTo>
                <a:lnTo>
                  <a:pt x="708" y="102"/>
                </a:lnTo>
                <a:lnTo>
                  <a:pt x="744" y="96"/>
                </a:lnTo>
                <a:lnTo>
                  <a:pt x="756" y="78"/>
                </a:lnTo>
                <a:lnTo>
                  <a:pt x="756" y="72"/>
                </a:lnTo>
                <a:lnTo>
                  <a:pt x="762" y="66"/>
                </a:lnTo>
                <a:lnTo>
                  <a:pt x="768" y="60"/>
                </a:lnTo>
                <a:lnTo>
                  <a:pt x="774" y="54"/>
                </a:lnTo>
                <a:lnTo>
                  <a:pt x="786" y="54"/>
                </a:lnTo>
                <a:lnTo>
                  <a:pt x="786" y="60"/>
                </a:lnTo>
                <a:lnTo>
                  <a:pt x="786" y="66"/>
                </a:lnTo>
                <a:lnTo>
                  <a:pt x="786" y="72"/>
                </a:lnTo>
                <a:lnTo>
                  <a:pt x="786" y="78"/>
                </a:lnTo>
                <a:lnTo>
                  <a:pt x="792" y="90"/>
                </a:lnTo>
                <a:lnTo>
                  <a:pt x="780" y="102"/>
                </a:lnTo>
                <a:lnTo>
                  <a:pt x="774" y="108"/>
                </a:lnTo>
                <a:lnTo>
                  <a:pt x="774" y="114"/>
                </a:lnTo>
                <a:lnTo>
                  <a:pt x="780" y="126"/>
                </a:lnTo>
                <a:lnTo>
                  <a:pt x="768" y="150"/>
                </a:lnTo>
                <a:lnTo>
                  <a:pt x="750" y="168"/>
                </a:lnTo>
                <a:lnTo>
                  <a:pt x="750" y="174"/>
                </a:lnTo>
                <a:lnTo>
                  <a:pt x="762" y="192"/>
                </a:lnTo>
                <a:lnTo>
                  <a:pt x="774" y="210"/>
                </a:lnTo>
                <a:lnTo>
                  <a:pt x="792" y="228"/>
                </a:lnTo>
                <a:lnTo>
                  <a:pt x="804" y="240"/>
                </a:lnTo>
                <a:lnTo>
                  <a:pt x="822" y="246"/>
                </a:lnTo>
                <a:lnTo>
                  <a:pt x="828" y="252"/>
                </a:lnTo>
                <a:lnTo>
                  <a:pt x="840" y="252"/>
                </a:lnTo>
                <a:lnTo>
                  <a:pt x="834" y="252"/>
                </a:lnTo>
                <a:lnTo>
                  <a:pt x="846" y="252"/>
                </a:lnTo>
                <a:lnTo>
                  <a:pt x="852" y="270"/>
                </a:lnTo>
                <a:lnTo>
                  <a:pt x="858" y="282"/>
                </a:lnTo>
                <a:lnTo>
                  <a:pt x="858" y="288"/>
                </a:lnTo>
                <a:lnTo>
                  <a:pt x="864" y="300"/>
                </a:lnTo>
                <a:lnTo>
                  <a:pt x="864" y="312"/>
                </a:lnTo>
                <a:lnTo>
                  <a:pt x="864" y="318"/>
                </a:lnTo>
                <a:lnTo>
                  <a:pt x="858" y="318"/>
                </a:lnTo>
                <a:lnTo>
                  <a:pt x="852" y="318"/>
                </a:lnTo>
                <a:lnTo>
                  <a:pt x="846" y="324"/>
                </a:lnTo>
                <a:lnTo>
                  <a:pt x="846" y="336"/>
                </a:lnTo>
                <a:lnTo>
                  <a:pt x="840" y="348"/>
                </a:lnTo>
                <a:lnTo>
                  <a:pt x="840" y="360"/>
                </a:lnTo>
                <a:lnTo>
                  <a:pt x="840" y="372"/>
                </a:lnTo>
                <a:lnTo>
                  <a:pt x="840" y="378"/>
                </a:lnTo>
                <a:lnTo>
                  <a:pt x="846" y="402"/>
                </a:lnTo>
                <a:lnTo>
                  <a:pt x="858" y="420"/>
                </a:lnTo>
                <a:lnTo>
                  <a:pt x="882" y="426"/>
                </a:lnTo>
                <a:lnTo>
                  <a:pt x="888" y="444"/>
                </a:lnTo>
                <a:lnTo>
                  <a:pt x="900" y="444"/>
                </a:lnTo>
                <a:lnTo>
                  <a:pt x="900" y="462"/>
                </a:lnTo>
                <a:lnTo>
                  <a:pt x="894" y="474"/>
                </a:lnTo>
                <a:lnTo>
                  <a:pt x="888" y="486"/>
                </a:lnTo>
                <a:lnTo>
                  <a:pt x="882" y="492"/>
                </a:lnTo>
                <a:lnTo>
                  <a:pt x="870" y="504"/>
                </a:lnTo>
                <a:lnTo>
                  <a:pt x="852" y="504"/>
                </a:lnTo>
                <a:lnTo>
                  <a:pt x="852" y="510"/>
                </a:lnTo>
                <a:lnTo>
                  <a:pt x="852" y="516"/>
                </a:lnTo>
                <a:lnTo>
                  <a:pt x="846" y="528"/>
                </a:lnTo>
                <a:lnTo>
                  <a:pt x="846" y="582"/>
                </a:lnTo>
                <a:lnTo>
                  <a:pt x="840" y="582"/>
                </a:lnTo>
                <a:lnTo>
                  <a:pt x="834" y="582"/>
                </a:lnTo>
                <a:lnTo>
                  <a:pt x="828" y="582"/>
                </a:lnTo>
                <a:lnTo>
                  <a:pt x="822" y="582"/>
                </a:lnTo>
                <a:lnTo>
                  <a:pt x="810" y="582"/>
                </a:lnTo>
                <a:lnTo>
                  <a:pt x="810" y="528"/>
                </a:lnTo>
                <a:lnTo>
                  <a:pt x="792" y="528"/>
                </a:lnTo>
                <a:lnTo>
                  <a:pt x="792" y="522"/>
                </a:lnTo>
                <a:lnTo>
                  <a:pt x="786" y="522"/>
                </a:lnTo>
                <a:lnTo>
                  <a:pt x="786" y="516"/>
                </a:lnTo>
                <a:lnTo>
                  <a:pt x="780" y="516"/>
                </a:lnTo>
                <a:lnTo>
                  <a:pt x="780" y="510"/>
                </a:lnTo>
                <a:lnTo>
                  <a:pt x="762" y="510"/>
                </a:lnTo>
                <a:lnTo>
                  <a:pt x="756" y="510"/>
                </a:lnTo>
                <a:lnTo>
                  <a:pt x="750" y="522"/>
                </a:lnTo>
                <a:lnTo>
                  <a:pt x="744" y="534"/>
                </a:lnTo>
                <a:lnTo>
                  <a:pt x="732" y="540"/>
                </a:lnTo>
                <a:lnTo>
                  <a:pt x="732" y="558"/>
                </a:lnTo>
                <a:lnTo>
                  <a:pt x="732" y="564"/>
                </a:lnTo>
                <a:lnTo>
                  <a:pt x="732" y="570"/>
                </a:lnTo>
                <a:lnTo>
                  <a:pt x="726" y="576"/>
                </a:lnTo>
                <a:lnTo>
                  <a:pt x="720" y="576"/>
                </a:lnTo>
                <a:lnTo>
                  <a:pt x="714" y="582"/>
                </a:lnTo>
                <a:lnTo>
                  <a:pt x="702" y="588"/>
                </a:lnTo>
                <a:lnTo>
                  <a:pt x="696" y="594"/>
                </a:lnTo>
                <a:lnTo>
                  <a:pt x="690" y="600"/>
                </a:lnTo>
                <a:lnTo>
                  <a:pt x="690" y="606"/>
                </a:lnTo>
                <a:lnTo>
                  <a:pt x="678" y="606"/>
                </a:lnTo>
                <a:lnTo>
                  <a:pt x="678" y="624"/>
                </a:lnTo>
                <a:lnTo>
                  <a:pt x="684" y="642"/>
                </a:lnTo>
                <a:lnTo>
                  <a:pt x="684" y="660"/>
                </a:lnTo>
                <a:lnTo>
                  <a:pt x="690" y="672"/>
                </a:lnTo>
                <a:lnTo>
                  <a:pt x="702" y="720"/>
                </a:lnTo>
                <a:lnTo>
                  <a:pt x="708" y="750"/>
                </a:lnTo>
                <a:lnTo>
                  <a:pt x="708" y="792"/>
                </a:lnTo>
                <a:lnTo>
                  <a:pt x="708" y="828"/>
                </a:lnTo>
                <a:lnTo>
                  <a:pt x="708" y="852"/>
                </a:lnTo>
                <a:lnTo>
                  <a:pt x="696" y="894"/>
                </a:lnTo>
                <a:lnTo>
                  <a:pt x="702" y="900"/>
                </a:lnTo>
                <a:lnTo>
                  <a:pt x="708" y="924"/>
                </a:lnTo>
                <a:lnTo>
                  <a:pt x="684" y="936"/>
                </a:lnTo>
                <a:lnTo>
                  <a:pt x="660" y="954"/>
                </a:lnTo>
                <a:lnTo>
                  <a:pt x="618" y="984"/>
                </a:lnTo>
                <a:lnTo>
                  <a:pt x="618" y="990"/>
                </a:lnTo>
                <a:lnTo>
                  <a:pt x="612" y="996"/>
                </a:lnTo>
                <a:lnTo>
                  <a:pt x="606" y="1002"/>
                </a:lnTo>
                <a:lnTo>
                  <a:pt x="618" y="1008"/>
                </a:lnTo>
                <a:lnTo>
                  <a:pt x="618" y="1014"/>
                </a:lnTo>
                <a:lnTo>
                  <a:pt x="624" y="1026"/>
                </a:lnTo>
                <a:lnTo>
                  <a:pt x="630" y="1026"/>
                </a:lnTo>
                <a:lnTo>
                  <a:pt x="636" y="1032"/>
                </a:lnTo>
                <a:lnTo>
                  <a:pt x="642" y="1032"/>
                </a:lnTo>
                <a:lnTo>
                  <a:pt x="642" y="1038"/>
                </a:lnTo>
                <a:lnTo>
                  <a:pt x="648" y="1044"/>
                </a:lnTo>
                <a:lnTo>
                  <a:pt x="666" y="1050"/>
                </a:lnTo>
                <a:lnTo>
                  <a:pt x="678" y="1038"/>
                </a:lnTo>
                <a:lnTo>
                  <a:pt x="684" y="1038"/>
                </a:lnTo>
                <a:lnTo>
                  <a:pt x="684" y="1032"/>
                </a:lnTo>
                <a:lnTo>
                  <a:pt x="690" y="1032"/>
                </a:lnTo>
                <a:lnTo>
                  <a:pt x="690" y="1026"/>
                </a:lnTo>
                <a:lnTo>
                  <a:pt x="696" y="1020"/>
                </a:lnTo>
                <a:lnTo>
                  <a:pt x="708" y="1014"/>
                </a:lnTo>
                <a:lnTo>
                  <a:pt x="720" y="1020"/>
                </a:lnTo>
                <a:lnTo>
                  <a:pt x="720" y="1014"/>
                </a:lnTo>
                <a:lnTo>
                  <a:pt x="726" y="1008"/>
                </a:lnTo>
                <a:lnTo>
                  <a:pt x="732" y="1008"/>
                </a:lnTo>
                <a:lnTo>
                  <a:pt x="738" y="1008"/>
                </a:lnTo>
                <a:lnTo>
                  <a:pt x="744" y="1002"/>
                </a:lnTo>
                <a:lnTo>
                  <a:pt x="744" y="996"/>
                </a:lnTo>
                <a:lnTo>
                  <a:pt x="750" y="996"/>
                </a:lnTo>
                <a:lnTo>
                  <a:pt x="756" y="1002"/>
                </a:lnTo>
                <a:lnTo>
                  <a:pt x="762" y="1002"/>
                </a:lnTo>
                <a:lnTo>
                  <a:pt x="768" y="996"/>
                </a:lnTo>
                <a:lnTo>
                  <a:pt x="780" y="996"/>
                </a:lnTo>
                <a:lnTo>
                  <a:pt x="786" y="996"/>
                </a:lnTo>
                <a:lnTo>
                  <a:pt x="816" y="990"/>
                </a:lnTo>
                <a:lnTo>
                  <a:pt x="828" y="990"/>
                </a:lnTo>
                <a:lnTo>
                  <a:pt x="834" y="990"/>
                </a:lnTo>
                <a:lnTo>
                  <a:pt x="840" y="984"/>
                </a:lnTo>
                <a:lnTo>
                  <a:pt x="852" y="978"/>
                </a:lnTo>
                <a:lnTo>
                  <a:pt x="852" y="972"/>
                </a:lnTo>
                <a:lnTo>
                  <a:pt x="858" y="972"/>
                </a:lnTo>
                <a:lnTo>
                  <a:pt x="864" y="966"/>
                </a:lnTo>
                <a:lnTo>
                  <a:pt x="870" y="966"/>
                </a:lnTo>
                <a:lnTo>
                  <a:pt x="876" y="966"/>
                </a:lnTo>
                <a:lnTo>
                  <a:pt x="882" y="960"/>
                </a:lnTo>
                <a:lnTo>
                  <a:pt x="888" y="960"/>
                </a:lnTo>
                <a:lnTo>
                  <a:pt x="894" y="960"/>
                </a:lnTo>
                <a:lnTo>
                  <a:pt x="894" y="966"/>
                </a:lnTo>
                <a:lnTo>
                  <a:pt x="894" y="978"/>
                </a:lnTo>
                <a:lnTo>
                  <a:pt x="894" y="984"/>
                </a:lnTo>
                <a:lnTo>
                  <a:pt x="900" y="984"/>
                </a:lnTo>
                <a:lnTo>
                  <a:pt x="906" y="978"/>
                </a:lnTo>
                <a:lnTo>
                  <a:pt x="912" y="972"/>
                </a:lnTo>
                <a:lnTo>
                  <a:pt x="918" y="978"/>
                </a:lnTo>
                <a:lnTo>
                  <a:pt x="924" y="978"/>
                </a:lnTo>
                <a:lnTo>
                  <a:pt x="924" y="972"/>
                </a:lnTo>
                <a:lnTo>
                  <a:pt x="924" y="966"/>
                </a:lnTo>
                <a:lnTo>
                  <a:pt x="930" y="966"/>
                </a:lnTo>
                <a:lnTo>
                  <a:pt x="948" y="966"/>
                </a:lnTo>
                <a:lnTo>
                  <a:pt x="954" y="966"/>
                </a:lnTo>
                <a:lnTo>
                  <a:pt x="954" y="960"/>
                </a:lnTo>
                <a:lnTo>
                  <a:pt x="960" y="960"/>
                </a:lnTo>
                <a:lnTo>
                  <a:pt x="966" y="960"/>
                </a:lnTo>
                <a:lnTo>
                  <a:pt x="966" y="966"/>
                </a:lnTo>
                <a:lnTo>
                  <a:pt x="978" y="972"/>
                </a:lnTo>
                <a:lnTo>
                  <a:pt x="978" y="978"/>
                </a:lnTo>
                <a:lnTo>
                  <a:pt x="978" y="984"/>
                </a:lnTo>
                <a:lnTo>
                  <a:pt x="984" y="978"/>
                </a:lnTo>
                <a:lnTo>
                  <a:pt x="990" y="978"/>
                </a:lnTo>
                <a:lnTo>
                  <a:pt x="996" y="984"/>
                </a:lnTo>
                <a:lnTo>
                  <a:pt x="1002" y="990"/>
                </a:lnTo>
                <a:lnTo>
                  <a:pt x="1008" y="972"/>
                </a:lnTo>
                <a:lnTo>
                  <a:pt x="1026" y="972"/>
                </a:lnTo>
                <a:lnTo>
                  <a:pt x="1032" y="972"/>
                </a:lnTo>
                <a:lnTo>
                  <a:pt x="1038" y="972"/>
                </a:lnTo>
                <a:lnTo>
                  <a:pt x="1050" y="972"/>
                </a:lnTo>
                <a:lnTo>
                  <a:pt x="1056" y="972"/>
                </a:lnTo>
                <a:lnTo>
                  <a:pt x="1062" y="966"/>
                </a:lnTo>
                <a:lnTo>
                  <a:pt x="1074" y="966"/>
                </a:lnTo>
                <a:lnTo>
                  <a:pt x="1074" y="960"/>
                </a:lnTo>
                <a:lnTo>
                  <a:pt x="1080" y="954"/>
                </a:lnTo>
                <a:lnTo>
                  <a:pt x="1080" y="948"/>
                </a:lnTo>
                <a:lnTo>
                  <a:pt x="1074" y="948"/>
                </a:lnTo>
                <a:lnTo>
                  <a:pt x="1068" y="948"/>
                </a:lnTo>
                <a:lnTo>
                  <a:pt x="1062" y="942"/>
                </a:lnTo>
                <a:lnTo>
                  <a:pt x="1068" y="936"/>
                </a:lnTo>
                <a:lnTo>
                  <a:pt x="1074" y="936"/>
                </a:lnTo>
                <a:lnTo>
                  <a:pt x="1080" y="936"/>
                </a:lnTo>
                <a:lnTo>
                  <a:pt x="1086" y="942"/>
                </a:lnTo>
                <a:lnTo>
                  <a:pt x="1092" y="942"/>
                </a:lnTo>
                <a:lnTo>
                  <a:pt x="1098" y="948"/>
                </a:lnTo>
                <a:lnTo>
                  <a:pt x="1104" y="954"/>
                </a:lnTo>
                <a:lnTo>
                  <a:pt x="1110" y="954"/>
                </a:lnTo>
                <a:lnTo>
                  <a:pt x="1116" y="948"/>
                </a:lnTo>
                <a:lnTo>
                  <a:pt x="1122" y="942"/>
                </a:lnTo>
                <a:lnTo>
                  <a:pt x="1128" y="942"/>
                </a:lnTo>
                <a:lnTo>
                  <a:pt x="1134" y="942"/>
                </a:lnTo>
                <a:lnTo>
                  <a:pt x="1140" y="948"/>
                </a:lnTo>
                <a:lnTo>
                  <a:pt x="1146" y="942"/>
                </a:lnTo>
                <a:lnTo>
                  <a:pt x="1152" y="942"/>
                </a:lnTo>
                <a:lnTo>
                  <a:pt x="1152" y="930"/>
                </a:lnTo>
                <a:lnTo>
                  <a:pt x="1164" y="936"/>
                </a:lnTo>
                <a:lnTo>
                  <a:pt x="1158" y="942"/>
                </a:lnTo>
                <a:lnTo>
                  <a:pt x="1158" y="948"/>
                </a:lnTo>
                <a:lnTo>
                  <a:pt x="1146" y="954"/>
                </a:lnTo>
                <a:lnTo>
                  <a:pt x="1152" y="954"/>
                </a:lnTo>
                <a:lnTo>
                  <a:pt x="1158" y="954"/>
                </a:lnTo>
                <a:lnTo>
                  <a:pt x="1158" y="948"/>
                </a:lnTo>
                <a:lnTo>
                  <a:pt x="1164" y="948"/>
                </a:lnTo>
                <a:lnTo>
                  <a:pt x="1170" y="948"/>
                </a:lnTo>
                <a:lnTo>
                  <a:pt x="1176" y="954"/>
                </a:lnTo>
                <a:lnTo>
                  <a:pt x="1176" y="966"/>
                </a:lnTo>
                <a:lnTo>
                  <a:pt x="1182" y="972"/>
                </a:lnTo>
                <a:lnTo>
                  <a:pt x="1188" y="972"/>
                </a:lnTo>
                <a:lnTo>
                  <a:pt x="1182" y="984"/>
                </a:lnTo>
                <a:lnTo>
                  <a:pt x="1188" y="984"/>
                </a:lnTo>
                <a:lnTo>
                  <a:pt x="1194" y="984"/>
                </a:lnTo>
                <a:lnTo>
                  <a:pt x="1200" y="984"/>
                </a:lnTo>
                <a:lnTo>
                  <a:pt x="1212" y="984"/>
                </a:lnTo>
                <a:lnTo>
                  <a:pt x="1218" y="990"/>
                </a:lnTo>
                <a:lnTo>
                  <a:pt x="1224" y="990"/>
                </a:lnTo>
                <a:lnTo>
                  <a:pt x="1224" y="984"/>
                </a:lnTo>
                <a:lnTo>
                  <a:pt x="1230" y="990"/>
                </a:lnTo>
                <a:lnTo>
                  <a:pt x="1236" y="984"/>
                </a:lnTo>
                <a:lnTo>
                  <a:pt x="1242" y="984"/>
                </a:lnTo>
                <a:lnTo>
                  <a:pt x="1248" y="990"/>
                </a:lnTo>
                <a:lnTo>
                  <a:pt x="1254" y="990"/>
                </a:lnTo>
                <a:lnTo>
                  <a:pt x="1254" y="996"/>
                </a:lnTo>
                <a:lnTo>
                  <a:pt x="1254" y="1002"/>
                </a:lnTo>
                <a:lnTo>
                  <a:pt x="1254" y="1008"/>
                </a:lnTo>
                <a:lnTo>
                  <a:pt x="1260" y="1014"/>
                </a:lnTo>
                <a:lnTo>
                  <a:pt x="1266" y="1014"/>
                </a:lnTo>
                <a:lnTo>
                  <a:pt x="1272" y="1014"/>
                </a:lnTo>
                <a:lnTo>
                  <a:pt x="1278" y="1020"/>
                </a:lnTo>
                <a:lnTo>
                  <a:pt x="1284" y="1020"/>
                </a:lnTo>
                <a:lnTo>
                  <a:pt x="1290" y="1014"/>
                </a:lnTo>
                <a:lnTo>
                  <a:pt x="1290" y="1008"/>
                </a:lnTo>
                <a:lnTo>
                  <a:pt x="1296" y="1008"/>
                </a:lnTo>
                <a:lnTo>
                  <a:pt x="1302" y="1014"/>
                </a:lnTo>
                <a:lnTo>
                  <a:pt x="1308" y="1014"/>
                </a:lnTo>
                <a:lnTo>
                  <a:pt x="1314" y="1008"/>
                </a:lnTo>
                <a:lnTo>
                  <a:pt x="1320" y="1008"/>
                </a:lnTo>
                <a:lnTo>
                  <a:pt x="1320" y="1002"/>
                </a:lnTo>
                <a:lnTo>
                  <a:pt x="1320" y="996"/>
                </a:lnTo>
                <a:lnTo>
                  <a:pt x="1332" y="1002"/>
                </a:lnTo>
                <a:lnTo>
                  <a:pt x="1332" y="1008"/>
                </a:lnTo>
                <a:lnTo>
                  <a:pt x="1326" y="1014"/>
                </a:lnTo>
                <a:lnTo>
                  <a:pt x="1332" y="1014"/>
                </a:lnTo>
                <a:lnTo>
                  <a:pt x="1338" y="1014"/>
                </a:lnTo>
                <a:lnTo>
                  <a:pt x="1338" y="1008"/>
                </a:lnTo>
                <a:lnTo>
                  <a:pt x="1344" y="1008"/>
                </a:lnTo>
                <a:lnTo>
                  <a:pt x="1350" y="1008"/>
                </a:lnTo>
                <a:lnTo>
                  <a:pt x="1356" y="1014"/>
                </a:lnTo>
                <a:lnTo>
                  <a:pt x="1356" y="1008"/>
                </a:lnTo>
                <a:lnTo>
                  <a:pt x="1362" y="1014"/>
                </a:lnTo>
                <a:lnTo>
                  <a:pt x="1392" y="1014"/>
                </a:lnTo>
                <a:lnTo>
                  <a:pt x="1398" y="1014"/>
                </a:lnTo>
                <a:lnTo>
                  <a:pt x="1404" y="1008"/>
                </a:lnTo>
                <a:lnTo>
                  <a:pt x="1404" y="1014"/>
                </a:lnTo>
                <a:lnTo>
                  <a:pt x="1410" y="1008"/>
                </a:lnTo>
                <a:lnTo>
                  <a:pt x="1416" y="1008"/>
                </a:lnTo>
                <a:lnTo>
                  <a:pt x="1422" y="1002"/>
                </a:lnTo>
                <a:lnTo>
                  <a:pt x="1428" y="1002"/>
                </a:lnTo>
                <a:lnTo>
                  <a:pt x="1428" y="996"/>
                </a:lnTo>
                <a:lnTo>
                  <a:pt x="1428" y="990"/>
                </a:lnTo>
                <a:lnTo>
                  <a:pt x="1440" y="1002"/>
                </a:lnTo>
                <a:lnTo>
                  <a:pt x="1446" y="1002"/>
                </a:lnTo>
                <a:lnTo>
                  <a:pt x="1452" y="1002"/>
                </a:lnTo>
                <a:lnTo>
                  <a:pt x="1446" y="996"/>
                </a:lnTo>
                <a:lnTo>
                  <a:pt x="1452" y="996"/>
                </a:lnTo>
                <a:lnTo>
                  <a:pt x="1458" y="996"/>
                </a:lnTo>
                <a:lnTo>
                  <a:pt x="1464" y="996"/>
                </a:lnTo>
                <a:lnTo>
                  <a:pt x="1464" y="1002"/>
                </a:lnTo>
                <a:lnTo>
                  <a:pt x="1476" y="1014"/>
                </a:lnTo>
                <a:lnTo>
                  <a:pt x="1476" y="1008"/>
                </a:lnTo>
                <a:lnTo>
                  <a:pt x="1482" y="1008"/>
                </a:lnTo>
                <a:lnTo>
                  <a:pt x="1488" y="1020"/>
                </a:lnTo>
                <a:lnTo>
                  <a:pt x="1494" y="1020"/>
                </a:lnTo>
                <a:lnTo>
                  <a:pt x="1500" y="1014"/>
                </a:lnTo>
                <a:lnTo>
                  <a:pt x="1500" y="1020"/>
                </a:lnTo>
                <a:lnTo>
                  <a:pt x="1506" y="1026"/>
                </a:lnTo>
                <a:lnTo>
                  <a:pt x="1512" y="1032"/>
                </a:lnTo>
                <a:lnTo>
                  <a:pt x="1518" y="1032"/>
                </a:lnTo>
                <a:lnTo>
                  <a:pt x="1518" y="1038"/>
                </a:lnTo>
                <a:lnTo>
                  <a:pt x="1518" y="1044"/>
                </a:lnTo>
                <a:lnTo>
                  <a:pt x="1524" y="1044"/>
                </a:lnTo>
                <a:lnTo>
                  <a:pt x="1524" y="1050"/>
                </a:lnTo>
                <a:lnTo>
                  <a:pt x="1530" y="1056"/>
                </a:lnTo>
                <a:lnTo>
                  <a:pt x="1548" y="1062"/>
                </a:lnTo>
                <a:lnTo>
                  <a:pt x="1560" y="1074"/>
                </a:lnTo>
                <a:lnTo>
                  <a:pt x="1560" y="1080"/>
                </a:lnTo>
                <a:lnTo>
                  <a:pt x="1560" y="1086"/>
                </a:lnTo>
                <a:lnTo>
                  <a:pt x="1566" y="1086"/>
                </a:lnTo>
                <a:lnTo>
                  <a:pt x="1572" y="1098"/>
                </a:lnTo>
                <a:lnTo>
                  <a:pt x="1572" y="1104"/>
                </a:lnTo>
                <a:lnTo>
                  <a:pt x="1584" y="1110"/>
                </a:lnTo>
                <a:lnTo>
                  <a:pt x="1590" y="1116"/>
                </a:lnTo>
                <a:lnTo>
                  <a:pt x="1596" y="1116"/>
                </a:lnTo>
                <a:lnTo>
                  <a:pt x="1608" y="1122"/>
                </a:lnTo>
                <a:lnTo>
                  <a:pt x="1620" y="1140"/>
                </a:lnTo>
                <a:lnTo>
                  <a:pt x="1626" y="1158"/>
                </a:lnTo>
                <a:lnTo>
                  <a:pt x="1638" y="1200"/>
                </a:lnTo>
                <a:lnTo>
                  <a:pt x="1638" y="1218"/>
                </a:lnTo>
                <a:lnTo>
                  <a:pt x="1620" y="1230"/>
                </a:lnTo>
                <a:lnTo>
                  <a:pt x="1554" y="1230"/>
                </a:lnTo>
                <a:lnTo>
                  <a:pt x="1560" y="1248"/>
                </a:lnTo>
                <a:lnTo>
                  <a:pt x="1584" y="1260"/>
                </a:lnTo>
                <a:lnTo>
                  <a:pt x="1584" y="1266"/>
                </a:lnTo>
                <a:lnTo>
                  <a:pt x="1578" y="1272"/>
                </a:lnTo>
                <a:lnTo>
                  <a:pt x="1572" y="1272"/>
                </a:lnTo>
                <a:lnTo>
                  <a:pt x="1566" y="1278"/>
                </a:lnTo>
                <a:lnTo>
                  <a:pt x="1566" y="1284"/>
                </a:lnTo>
                <a:lnTo>
                  <a:pt x="1560" y="1290"/>
                </a:lnTo>
                <a:lnTo>
                  <a:pt x="1554" y="1290"/>
                </a:lnTo>
                <a:lnTo>
                  <a:pt x="1554" y="1296"/>
                </a:lnTo>
                <a:lnTo>
                  <a:pt x="1554" y="1302"/>
                </a:lnTo>
                <a:lnTo>
                  <a:pt x="1560" y="1332"/>
                </a:lnTo>
                <a:lnTo>
                  <a:pt x="1566" y="1356"/>
                </a:lnTo>
                <a:lnTo>
                  <a:pt x="1572" y="1356"/>
                </a:lnTo>
                <a:lnTo>
                  <a:pt x="1572" y="1362"/>
                </a:lnTo>
                <a:lnTo>
                  <a:pt x="1578" y="1362"/>
                </a:lnTo>
                <a:lnTo>
                  <a:pt x="1560" y="1374"/>
                </a:lnTo>
                <a:lnTo>
                  <a:pt x="1560" y="1380"/>
                </a:lnTo>
                <a:lnTo>
                  <a:pt x="1548" y="1380"/>
                </a:lnTo>
                <a:lnTo>
                  <a:pt x="1548" y="1386"/>
                </a:lnTo>
                <a:lnTo>
                  <a:pt x="1548" y="1392"/>
                </a:lnTo>
                <a:lnTo>
                  <a:pt x="1542" y="1410"/>
                </a:lnTo>
                <a:lnTo>
                  <a:pt x="1536" y="1422"/>
                </a:lnTo>
                <a:lnTo>
                  <a:pt x="1536" y="1428"/>
                </a:lnTo>
                <a:lnTo>
                  <a:pt x="1530" y="1440"/>
                </a:lnTo>
                <a:lnTo>
                  <a:pt x="1524" y="1434"/>
                </a:lnTo>
                <a:lnTo>
                  <a:pt x="1524" y="1428"/>
                </a:lnTo>
                <a:lnTo>
                  <a:pt x="1524" y="1422"/>
                </a:lnTo>
                <a:lnTo>
                  <a:pt x="1512" y="1410"/>
                </a:lnTo>
                <a:lnTo>
                  <a:pt x="1506" y="1404"/>
                </a:lnTo>
                <a:lnTo>
                  <a:pt x="1506" y="1398"/>
                </a:lnTo>
                <a:lnTo>
                  <a:pt x="1494" y="1392"/>
                </a:lnTo>
                <a:lnTo>
                  <a:pt x="1476" y="1404"/>
                </a:lnTo>
                <a:lnTo>
                  <a:pt x="1464" y="1416"/>
                </a:lnTo>
                <a:lnTo>
                  <a:pt x="1458" y="1428"/>
                </a:lnTo>
                <a:lnTo>
                  <a:pt x="1446" y="1434"/>
                </a:lnTo>
                <a:lnTo>
                  <a:pt x="1410" y="1440"/>
                </a:lnTo>
                <a:lnTo>
                  <a:pt x="1398" y="1440"/>
                </a:lnTo>
                <a:lnTo>
                  <a:pt x="1398" y="1446"/>
                </a:lnTo>
                <a:lnTo>
                  <a:pt x="1386" y="1446"/>
                </a:lnTo>
                <a:lnTo>
                  <a:pt x="1380" y="1440"/>
                </a:lnTo>
                <a:lnTo>
                  <a:pt x="1368" y="1440"/>
                </a:lnTo>
                <a:lnTo>
                  <a:pt x="1368" y="1446"/>
                </a:lnTo>
                <a:lnTo>
                  <a:pt x="1356" y="1446"/>
                </a:lnTo>
                <a:lnTo>
                  <a:pt x="1350" y="1452"/>
                </a:lnTo>
                <a:lnTo>
                  <a:pt x="1338" y="1452"/>
                </a:lnTo>
                <a:lnTo>
                  <a:pt x="1338" y="1458"/>
                </a:lnTo>
                <a:lnTo>
                  <a:pt x="1332" y="1458"/>
                </a:lnTo>
                <a:lnTo>
                  <a:pt x="1332" y="1464"/>
                </a:lnTo>
                <a:lnTo>
                  <a:pt x="1332" y="1470"/>
                </a:lnTo>
                <a:lnTo>
                  <a:pt x="1326" y="1470"/>
                </a:lnTo>
                <a:lnTo>
                  <a:pt x="1320" y="1470"/>
                </a:lnTo>
                <a:lnTo>
                  <a:pt x="1314" y="1470"/>
                </a:lnTo>
                <a:lnTo>
                  <a:pt x="1314" y="1464"/>
                </a:lnTo>
                <a:lnTo>
                  <a:pt x="1308" y="1464"/>
                </a:lnTo>
                <a:lnTo>
                  <a:pt x="1308" y="1452"/>
                </a:lnTo>
                <a:lnTo>
                  <a:pt x="1284" y="1458"/>
                </a:lnTo>
                <a:lnTo>
                  <a:pt x="1272" y="1458"/>
                </a:lnTo>
                <a:lnTo>
                  <a:pt x="1272" y="1464"/>
                </a:lnTo>
                <a:lnTo>
                  <a:pt x="1260" y="1464"/>
                </a:lnTo>
                <a:lnTo>
                  <a:pt x="1254" y="1464"/>
                </a:lnTo>
                <a:lnTo>
                  <a:pt x="1242" y="1422"/>
                </a:lnTo>
                <a:lnTo>
                  <a:pt x="1242" y="1416"/>
                </a:lnTo>
                <a:lnTo>
                  <a:pt x="1242" y="1410"/>
                </a:lnTo>
                <a:lnTo>
                  <a:pt x="1248" y="1410"/>
                </a:lnTo>
                <a:lnTo>
                  <a:pt x="1242" y="1410"/>
                </a:lnTo>
                <a:lnTo>
                  <a:pt x="1242" y="1404"/>
                </a:lnTo>
                <a:lnTo>
                  <a:pt x="1242" y="1398"/>
                </a:lnTo>
                <a:lnTo>
                  <a:pt x="1248" y="1392"/>
                </a:lnTo>
                <a:lnTo>
                  <a:pt x="1248" y="1386"/>
                </a:lnTo>
                <a:lnTo>
                  <a:pt x="1242" y="1380"/>
                </a:lnTo>
                <a:lnTo>
                  <a:pt x="1248" y="1380"/>
                </a:lnTo>
                <a:lnTo>
                  <a:pt x="1248" y="1374"/>
                </a:lnTo>
                <a:lnTo>
                  <a:pt x="1248" y="1368"/>
                </a:lnTo>
                <a:lnTo>
                  <a:pt x="1254" y="1368"/>
                </a:lnTo>
                <a:lnTo>
                  <a:pt x="1254" y="1362"/>
                </a:lnTo>
                <a:lnTo>
                  <a:pt x="1248" y="1356"/>
                </a:lnTo>
                <a:lnTo>
                  <a:pt x="1254" y="1356"/>
                </a:lnTo>
                <a:lnTo>
                  <a:pt x="1254" y="1344"/>
                </a:lnTo>
                <a:lnTo>
                  <a:pt x="1242" y="1338"/>
                </a:lnTo>
                <a:lnTo>
                  <a:pt x="1242" y="1326"/>
                </a:lnTo>
                <a:lnTo>
                  <a:pt x="1230" y="1326"/>
                </a:lnTo>
                <a:lnTo>
                  <a:pt x="1230" y="1314"/>
                </a:lnTo>
                <a:lnTo>
                  <a:pt x="1218" y="1314"/>
                </a:lnTo>
                <a:lnTo>
                  <a:pt x="1200" y="1272"/>
                </a:lnTo>
                <a:lnTo>
                  <a:pt x="1194" y="1242"/>
                </a:lnTo>
                <a:lnTo>
                  <a:pt x="1194" y="1206"/>
                </a:lnTo>
                <a:lnTo>
                  <a:pt x="1182" y="1200"/>
                </a:lnTo>
                <a:lnTo>
                  <a:pt x="1164" y="1206"/>
                </a:lnTo>
                <a:lnTo>
                  <a:pt x="1146" y="1212"/>
                </a:lnTo>
                <a:lnTo>
                  <a:pt x="1146" y="1218"/>
                </a:lnTo>
                <a:lnTo>
                  <a:pt x="1134" y="1224"/>
                </a:lnTo>
                <a:lnTo>
                  <a:pt x="1140" y="1260"/>
                </a:lnTo>
                <a:lnTo>
                  <a:pt x="1134" y="1266"/>
                </a:lnTo>
                <a:lnTo>
                  <a:pt x="1122" y="1266"/>
                </a:lnTo>
                <a:lnTo>
                  <a:pt x="1110" y="1236"/>
                </a:lnTo>
                <a:lnTo>
                  <a:pt x="1110" y="1224"/>
                </a:lnTo>
                <a:lnTo>
                  <a:pt x="1086" y="1224"/>
                </a:lnTo>
                <a:lnTo>
                  <a:pt x="1086" y="1212"/>
                </a:lnTo>
                <a:lnTo>
                  <a:pt x="1074" y="1212"/>
                </a:lnTo>
                <a:lnTo>
                  <a:pt x="1050" y="1212"/>
                </a:lnTo>
                <a:lnTo>
                  <a:pt x="1056" y="1218"/>
                </a:lnTo>
                <a:lnTo>
                  <a:pt x="1050" y="1272"/>
                </a:lnTo>
                <a:lnTo>
                  <a:pt x="1044" y="1272"/>
                </a:lnTo>
                <a:lnTo>
                  <a:pt x="1038" y="1284"/>
                </a:lnTo>
                <a:lnTo>
                  <a:pt x="1032" y="1302"/>
                </a:lnTo>
                <a:lnTo>
                  <a:pt x="1014" y="1302"/>
                </a:lnTo>
                <a:lnTo>
                  <a:pt x="1020" y="1284"/>
                </a:lnTo>
                <a:lnTo>
                  <a:pt x="1026" y="1278"/>
                </a:lnTo>
                <a:lnTo>
                  <a:pt x="1026" y="1266"/>
                </a:lnTo>
                <a:lnTo>
                  <a:pt x="1014" y="1260"/>
                </a:lnTo>
                <a:lnTo>
                  <a:pt x="1014" y="1272"/>
                </a:lnTo>
                <a:lnTo>
                  <a:pt x="990" y="1278"/>
                </a:lnTo>
                <a:lnTo>
                  <a:pt x="990" y="1254"/>
                </a:lnTo>
                <a:lnTo>
                  <a:pt x="984" y="1254"/>
                </a:lnTo>
                <a:lnTo>
                  <a:pt x="978" y="1242"/>
                </a:lnTo>
                <a:lnTo>
                  <a:pt x="972" y="1236"/>
                </a:lnTo>
                <a:lnTo>
                  <a:pt x="960" y="1206"/>
                </a:lnTo>
                <a:lnTo>
                  <a:pt x="942" y="1206"/>
                </a:lnTo>
                <a:lnTo>
                  <a:pt x="936" y="1200"/>
                </a:lnTo>
                <a:lnTo>
                  <a:pt x="906" y="1212"/>
                </a:lnTo>
                <a:lnTo>
                  <a:pt x="888" y="1230"/>
                </a:lnTo>
                <a:lnTo>
                  <a:pt x="876" y="1230"/>
                </a:lnTo>
                <a:lnTo>
                  <a:pt x="864" y="1236"/>
                </a:lnTo>
                <a:lnTo>
                  <a:pt x="858" y="1236"/>
                </a:lnTo>
                <a:lnTo>
                  <a:pt x="852" y="1254"/>
                </a:lnTo>
                <a:lnTo>
                  <a:pt x="858" y="1254"/>
                </a:lnTo>
                <a:lnTo>
                  <a:pt x="840" y="1266"/>
                </a:lnTo>
                <a:lnTo>
                  <a:pt x="828" y="1272"/>
                </a:lnTo>
                <a:lnTo>
                  <a:pt x="828" y="1284"/>
                </a:lnTo>
                <a:lnTo>
                  <a:pt x="822" y="1284"/>
                </a:lnTo>
                <a:lnTo>
                  <a:pt x="804" y="1296"/>
                </a:lnTo>
                <a:lnTo>
                  <a:pt x="804" y="1308"/>
                </a:lnTo>
                <a:lnTo>
                  <a:pt x="816" y="1320"/>
                </a:lnTo>
                <a:lnTo>
                  <a:pt x="828" y="1320"/>
                </a:lnTo>
                <a:lnTo>
                  <a:pt x="822" y="1338"/>
                </a:lnTo>
                <a:lnTo>
                  <a:pt x="852" y="1344"/>
                </a:lnTo>
                <a:lnTo>
                  <a:pt x="864" y="1350"/>
                </a:lnTo>
                <a:lnTo>
                  <a:pt x="864" y="1356"/>
                </a:lnTo>
                <a:lnTo>
                  <a:pt x="882" y="1356"/>
                </a:lnTo>
                <a:lnTo>
                  <a:pt x="894" y="1356"/>
                </a:lnTo>
                <a:lnTo>
                  <a:pt x="912" y="1368"/>
                </a:lnTo>
                <a:lnTo>
                  <a:pt x="918" y="1380"/>
                </a:lnTo>
                <a:lnTo>
                  <a:pt x="936" y="1380"/>
                </a:lnTo>
                <a:lnTo>
                  <a:pt x="960" y="1386"/>
                </a:lnTo>
                <a:lnTo>
                  <a:pt x="990" y="1386"/>
                </a:lnTo>
                <a:lnTo>
                  <a:pt x="990" y="1392"/>
                </a:lnTo>
                <a:lnTo>
                  <a:pt x="1020" y="1398"/>
                </a:lnTo>
                <a:lnTo>
                  <a:pt x="1014" y="1404"/>
                </a:lnTo>
                <a:lnTo>
                  <a:pt x="1008" y="1404"/>
                </a:lnTo>
                <a:lnTo>
                  <a:pt x="1014" y="1440"/>
                </a:lnTo>
                <a:lnTo>
                  <a:pt x="1020" y="1458"/>
                </a:lnTo>
                <a:lnTo>
                  <a:pt x="1026" y="1476"/>
                </a:lnTo>
                <a:lnTo>
                  <a:pt x="1020" y="1476"/>
                </a:lnTo>
                <a:lnTo>
                  <a:pt x="1014" y="1476"/>
                </a:lnTo>
                <a:lnTo>
                  <a:pt x="1014" y="1482"/>
                </a:lnTo>
                <a:lnTo>
                  <a:pt x="1014" y="1488"/>
                </a:lnTo>
                <a:lnTo>
                  <a:pt x="1002" y="1488"/>
                </a:lnTo>
                <a:lnTo>
                  <a:pt x="1002" y="1494"/>
                </a:lnTo>
                <a:lnTo>
                  <a:pt x="996" y="1494"/>
                </a:lnTo>
                <a:lnTo>
                  <a:pt x="996" y="1518"/>
                </a:lnTo>
                <a:lnTo>
                  <a:pt x="1002" y="1524"/>
                </a:lnTo>
                <a:lnTo>
                  <a:pt x="1020" y="1530"/>
                </a:lnTo>
                <a:lnTo>
                  <a:pt x="1026" y="1542"/>
                </a:lnTo>
                <a:lnTo>
                  <a:pt x="1032" y="1566"/>
                </a:lnTo>
                <a:lnTo>
                  <a:pt x="1038" y="1578"/>
                </a:lnTo>
                <a:lnTo>
                  <a:pt x="1032" y="1584"/>
                </a:lnTo>
                <a:lnTo>
                  <a:pt x="1020" y="1584"/>
                </a:lnTo>
                <a:lnTo>
                  <a:pt x="1014" y="1584"/>
                </a:lnTo>
                <a:lnTo>
                  <a:pt x="1008" y="1596"/>
                </a:lnTo>
                <a:lnTo>
                  <a:pt x="990" y="1584"/>
                </a:lnTo>
                <a:lnTo>
                  <a:pt x="984" y="1602"/>
                </a:lnTo>
                <a:lnTo>
                  <a:pt x="978" y="1608"/>
                </a:lnTo>
                <a:lnTo>
                  <a:pt x="966" y="1608"/>
                </a:lnTo>
                <a:lnTo>
                  <a:pt x="960" y="1614"/>
                </a:lnTo>
                <a:lnTo>
                  <a:pt x="954" y="1614"/>
                </a:lnTo>
                <a:lnTo>
                  <a:pt x="942" y="1620"/>
                </a:lnTo>
                <a:lnTo>
                  <a:pt x="936" y="1620"/>
                </a:lnTo>
                <a:lnTo>
                  <a:pt x="930" y="1620"/>
                </a:lnTo>
                <a:lnTo>
                  <a:pt x="930" y="1626"/>
                </a:lnTo>
                <a:lnTo>
                  <a:pt x="930" y="1632"/>
                </a:lnTo>
                <a:lnTo>
                  <a:pt x="918" y="1632"/>
                </a:lnTo>
                <a:lnTo>
                  <a:pt x="912" y="1632"/>
                </a:lnTo>
                <a:lnTo>
                  <a:pt x="906" y="1632"/>
                </a:lnTo>
                <a:lnTo>
                  <a:pt x="900" y="1632"/>
                </a:lnTo>
                <a:lnTo>
                  <a:pt x="894" y="1626"/>
                </a:lnTo>
                <a:lnTo>
                  <a:pt x="894" y="1614"/>
                </a:lnTo>
                <a:lnTo>
                  <a:pt x="840" y="1614"/>
                </a:lnTo>
                <a:lnTo>
                  <a:pt x="840" y="1626"/>
                </a:lnTo>
                <a:lnTo>
                  <a:pt x="834" y="1626"/>
                </a:lnTo>
                <a:lnTo>
                  <a:pt x="828" y="1632"/>
                </a:lnTo>
                <a:lnTo>
                  <a:pt x="822" y="1638"/>
                </a:lnTo>
                <a:lnTo>
                  <a:pt x="822" y="1644"/>
                </a:lnTo>
                <a:lnTo>
                  <a:pt x="834" y="1650"/>
                </a:lnTo>
                <a:lnTo>
                  <a:pt x="840" y="1662"/>
                </a:lnTo>
                <a:lnTo>
                  <a:pt x="840" y="1668"/>
                </a:lnTo>
                <a:lnTo>
                  <a:pt x="858" y="1680"/>
                </a:lnTo>
                <a:lnTo>
                  <a:pt x="858" y="1752"/>
                </a:lnTo>
                <a:lnTo>
                  <a:pt x="864" y="1782"/>
                </a:lnTo>
                <a:lnTo>
                  <a:pt x="876" y="1788"/>
                </a:lnTo>
                <a:lnTo>
                  <a:pt x="870" y="1854"/>
                </a:lnTo>
                <a:lnTo>
                  <a:pt x="870" y="1884"/>
                </a:lnTo>
                <a:lnTo>
                  <a:pt x="864" y="1884"/>
                </a:lnTo>
                <a:lnTo>
                  <a:pt x="846" y="1896"/>
                </a:lnTo>
                <a:lnTo>
                  <a:pt x="840" y="1896"/>
                </a:lnTo>
                <a:lnTo>
                  <a:pt x="834" y="1896"/>
                </a:lnTo>
                <a:lnTo>
                  <a:pt x="828" y="1890"/>
                </a:lnTo>
                <a:lnTo>
                  <a:pt x="822" y="1890"/>
                </a:lnTo>
                <a:lnTo>
                  <a:pt x="816" y="1896"/>
                </a:lnTo>
                <a:lnTo>
                  <a:pt x="804" y="1896"/>
                </a:lnTo>
                <a:lnTo>
                  <a:pt x="804" y="1890"/>
                </a:lnTo>
                <a:lnTo>
                  <a:pt x="780" y="1896"/>
                </a:lnTo>
                <a:lnTo>
                  <a:pt x="780" y="1902"/>
                </a:lnTo>
                <a:lnTo>
                  <a:pt x="774" y="1914"/>
                </a:lnTo>
                <a:lnTo>
                  <a:pt x="762" y="1926"/>
                </a:lnTo>
                <a:lnTo>
                  <a:pt x="762" y="1950"/>
                </a:lnTo>
                <a:lnTo>
                  <a:pt x="762" y="1962"/>
                </a:lnTo>
                <a:lnTo>
                  <a:pt x="780" y="1974"/>
                </a:lnTo>
                <a:lnTo>
                  <a:pt x="780" y="1986"/>
                </a:lnTo>
                <a:lnTo>
                  <a:pt x="780" y="1998"/>
                </a:lnTo>
                <a:lnTo>
                  <a:pt x="756" y="1998"/>
                </a:lnTo>
                <a:lnTo>
                  <a:pt x="720" y="1992"/>
                </a:lnTo>
                <a:lnTo>
                  <a:pt x="666" y="1998"/>
                </a:lnTo>
                <a:lnTo>
                  <a:pt x="654" y="1998"/>
                </a:lnTo>
                <a:lnTo>
                  <a:pt x="660" y="1974"/>
                </a:lnTo>
                <a:lnTo>
                  <a:pt x="666" y="1962"/>
                </a:lnTo>
                <a:lnTo>
                  <a:pt x="678" y="1950"/>
                </a:lnTo>
                <a:lnTo>
                  <a:pt x="696" y="1932"/>
                </a:lnTo>
                <a:lnTo>
                  <a:pt x="696" y="1920"/>
                </a:lnTo>
                <a:lnTo>
                  <a:pt x="696" y="1896"/>
                </a:lnTo>
                <a:lnTo>
                  <a:pt x="678" y="1896"/>
                </a:lnTo>
                <a:lnTo>
                  <a:pt x="672" y="1884"/>
                </a:lnTo>
                <a:lnTo>
                  <a:pt x="672" y="1776"/>
                </a:lnTo>
                <a:lnTo>
                  <a:pt x="678" y="1758"/>
                </a:lnTo>
                <a:lnTo>
                  <a:pt x="678" y="1740"/>
                </a:lnTo>
                <a:lnTo>
                  <a:pt x="684" y="1728"/>
                </a:lnTo>
                <a:lnTo>
                  <a:pt x="690" y="1722"/>
                </a:lnTo>
                <a:lnTo>
                  <a:pt x="702" y="1722"/>
                </a:lnTo>
                <a:lnTo>
                  <a:pt x="708" y="1716"/>
                </a:lnTo>
                <a:lnTo>
                  <a:pt x="714" y="1710"/>
                </a:lnTo>
                <a:lnTo>
                  <a:pt x="720" y="1698"/>
                </a:lnTo>
                <a:lnTo>
                  <a:pt x="732" y="1692"/>
                </a:lnTo>
                <a:lnTo>
                  <a:pt x="744" y="1686"/>
                </a:lnTo>
                <a:lnTo>
                  <a:pt x="756" y="1680"/>
                </a:lnTo>
                <a:lnTo>
                  <a:pt x="768" y="1668"/>
                </a:lnTo>
                <a:lnTo>
                  <a:pt x="768" y="1650"/>
                </a:lnTo>
                <a:lnTo>
                  <a:pt x="774" y="1632"/>
                </a:lnTo>
                <a:lnTo>
                  <a:pt x="768" y="1620"/>
                </a:lnTo>
                <a:lnTo>
                  <a:pt x="774" y="1608"/>
                </a:lnTo>
                <a:lnTo>
                  <a:pt x="774" y="1578"/>
                </a:lnTo>
                <a:lnTo>
                  <a:pt x="774" y="1572"/>
                </a:lnTo>
                <a:lnTo>
                  <a:pt x="780" y="1560"/>
                </a:lnTo>
                <a:lnTo>
                  <a:pt x="780" y="1554"/>
                </a:lnTo>
                <a:lnTo>
                  <a:pt x="786" y="1542"/>
                </a:lnTo>
                <a:lnTo>
                  <a:pt x="792" y="1530"/>
                </a:lnTo>
                <a:lnTo>
                  <a:pt x="792" y="1518"/>
                </a:lnTo>
                <a:lnTo>
                  <a:pt x="792" y="1506"/>
                </a:lnTo>
                <a:lnTo>
                  <a:pt x="786" y="1500"/>
                </a:lnTo>
                <a:lnTo>
                  <a:pt x="774" y="1488"/>
                </a:lnTo>
                <a:lnTo>
                  <a:pt x="774" y="1482"/>
                </a:lnTo>
                <a:lnTo>
                  <a:pt x="762" y="1488"/>
                </a:lnTo>
                <a:lnTo>
                  <a:pt x="756" y="1494"/>
                </a:lnTo>
                <a:lnTo>
                  <a:pt x="744" y="1500"/>
                </a:lnTo>
                <a:lnTo>
                  <a:pt x="732" y="1506"/>
                </a:lnTo>
                <a:lnTo>
                  <a:pt x="726" y="1506"/>
                </a:lnTo>
                <a:lnTo>
                  <a:pt x="720" y="1506"/>
                </a:lnTo>
                <a:lnTo>
                  <a:pt x="702" y="1506"/>
                </a:lnTo>
                <a:lnTo>
                  <a:pt x="690" y="1500"/>
                </a:lnTo>
                <a:lnTo>
                  <a:pt x="678" y="1500"/>
                </a:lnTo>
                <a:lnTo>
                  <a:pt x="672" y="1500"/>
                </a:lnTo>
                <a:lnTo>
                  <a:pt x="660" y="1506"/>
                </a:lnTo>
                <a:lnTo>
                  <a:pt x="654" y="1506"/>
                </a:lnTo>
                <a:lnTo>
                  <a:pt x="648" y="1512"/>
                </a:lnTo>
                <a:lnTo>
                  <a:pt x="648" y="1518"/>
                </a:lnTo>
                <a:lnTo>
                  <a:pt x="618" y="1518"/>
                </a:lnTo>
                <a:lnTo>
                  <a:pt x="534" y="1494"/>
                </a:lnTo>
                <a:lnTo>
                  <a:pt x="528" y="1458"/>
                </a:lnTo>
                <a:lnTo>
                  <a:pt x="510" y="1458"/>
                </a:lnTo>
                <a:lnTo>
                  <a:pt x="492" y="1440"/>
                </a:lnTo>
                <a:lnTo>
                  <a:pt x="462" y="1440"/>
                </a:lnTo>
                <a:lnTo>
                  <a:pt x="456" y="1428"/>
                </a:lnTo>
                <a:lnTo>
                  <a:pt x="420" y="1428"/>
                </a:lnTo>
                <a:lnTo>
                  <a:pt x="390" y="1446"/>
                </a:lnTo>
                <a:lnTo>
                  <a:pt x="312" y="1452"/>
                </a:lnTo>
                <a:lnTo>
                  <a:pt x="300" y="1446"/>
                </a:lnTo>
                <a:lnTo>
                  <a:pt x="294" y="1446"/>
                </a:lnTo>
                <a:lnTo>
                  <a:pt x="288" y="1446"/>
                </a:lnTo>
                <a:lnTo>
                  <a:pt x="282" y="1440"/>
                </a:lnTo>
                <a:lnTo>
                  <a:pt x="276" y="1440"/>
                </a:lnTo>
                <a:lnTo>
                  <a:pt x="270" y="1440"/>
                </a:lnTo>
                <a:lnTo>
                  <a:pt x="264" y="1440"/>
                </a:lnTo>
                <a:lnTo>
                  <a:pt x="258" y="1434"/>
                </a:lnTo>
                <a:lnTo>
                  <a:pt x="252" y="1434"/>
                </a:lnTo>
                <a:lnTo>
                  <a:pt x="246" y="1428"/>
                </a:lnTo>
                <a:lnTo>
                  <a:pt x="240" y="1416"/>
                </a:lnTo>
                <a:lnTo>
                  <a:pt x="234" y="1404"/>
                </a:lnTo>
                <a:lnTo>
                  <a:pt x="228" y="1398"/>
                </a:lnTo>
                <a:lnTo>
                  <a:pt x="222" y="1398"/>
                </a:lnTo>
                <a:lnTo>
                  <a:pt x="216" y="1404"/>
                </a:lnTo>
                <a:lnTo>
                  <a:pt x="210" y="1404"/>
                </a:lnTo>
                <a:lnTo>
                  <a:pt x="204" y="1404"/>
                </a:lnTo>
                <a:lnTo>
                  <a:pt x="204" y="1398"/>
                </a:lnTo>
                <a:lnTo>
                  <a:pt x="198" y="1392"/>
                </a:lnTo>
                <a:lnTo>
                  <a:pt x="192" y="1386"/>
                </a:lnTo>
                <a:lnTo>
                  <a:pt x="168" y="1374"/>
                </a:lnTo>
                <a:lnTo>
                  <a:pt x="144" y="1380"/>
                </a:lnTo>
                <a:close/>
              </a:path>
            </a:pathLst>
          </a:custGeom>
          <a:noFill/>
          <a:ln w="9525" cap="flat" cmpd="sng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79" name="Freeform 35">
            <a:extLst>
              <a:ext uri="{FF2B5EF4-FFF2-40B4-BE49-F238E27FC236}">
                <a16:creationId xmlns:a16="http://schemas.microsoft.com/office/drawing/2014/main" id="{27D9F33C-B089-4DC7-A172-C566BC990CCD}"/>
              </a:ext>
            </a:extLst>
          </p:cNvPr>
          <p:cNvSpPr>
            <a:spLocks/>
          </p:cNvSpPr>
          <p:nvPr/>
        </p:nvSpPr>
        <p:spPr bwMode="gray">
          <a:xfrm>
            <a:off x="3718156" y="2281474"/>
            <a:ext cx="828389" cy="860766"/>
          </a:xfrm>
          <a:custGeom>
            <a:avLst/>
            <a:gdLst>
              <a:gd name="T0" fmla="*/ 102 w 1440"/>
              <a:gd name="T1" fmla="*/ 104 h 1476"/>
              <a:gd name="T2" fmla="*/ 99 w 1440"/>
              <a:gd name="T3" fmla="*/ 108 h 1476"/>
              <a:gd name="T4" fmla="*/ 98 w 1440"/>
              <a:gd name="T5" fmla="*/ 112 h 1476"/>
              <a:gd name="T6" fmla="*/ 96 w 1440"/>
              <a:gd name="T7" fmla="*/ 116 h 1476"/>
              <a:gd name="T8" fmla="*/ 91 w 1440"/>
              <a:gd name="T9" fmla="*/ 118 h 1476"/>
              <a:gd name="T10" fmla="*/ 87 w 1440"/>
              <a:gd name="T11" fmla="*/ 120 h 1476"/>
              <a:gd name="T12" fmla="*/ 75 w 1440"/>
              <a:gd name="T13" fmla="*/ 120 h 1476"/>
              <a:gd name="T14" fmla="*/ 72 w 1440"/>
              <a:gd name="T15" fmla="*/ 123 h 1476"/>
              <a:gd name="T16" fmla="*/ 69 w 1440"/>
              <a:gd name="T17" fmla="*/ 128 h 1476"/>
              <a:gd name="T18" fmla="*/ 67 w 1440"/>
              <a:gd name="T19" fmla="*/ 127 h 1476"/>
              <a:gd name="T20" fmla="*/ 66 w 1440"/>
              <a:gd name="T21" fmla="*/ 123 h 1476"/>
              <a:gd name="T22" fmla="*/ 63 w 1440"/>
              <a:gd name="T23" fmla="*/ 119 h 1476"/>
              <a:gd name="T24" fmla="*/ 54 w 1440"/>
              <a:gd name="T25" fmla="*/ 114 h 1476"/>
              <a:gd name="T26" fmla="*/ 55 w 1440"/>
              <a:gd name="T27" fmla="*/ 106 h 1476"/>
              <a:gd name="T28" fmla="*/ 60 w 1440"/>
              <a:gd name="T29" fmla="*/ 100 h 1476"/>
              <a:gd name="T30" fmla="*/ 55 w 1440"/>
              <a:gd name="T31" fmla="*/ 91 h 1476"/>
              <a:gd name="T32" fmla="*/ 51 w 1440"/>
              <a:gd name="T33" fmla="*/ 86 h 1476"/>
              <a:gd name="T34" fmla="*/ 47 w 1440"/>
              <a:gd name="T35" fmla="*/ 85 h 1476"/>
              <a:gd name="T36" fmla="*/ 44 w 1440"/>
              <a:gd name="T37" fmla="*/ 82 h 1476"/>
              <a:gd name="T38" fmla="*/ 41 w 1440"/>
              <a:gd name="T39" fmla="*/ 83 h 1476"/>
              <a:gd name="T40" fmla="*/ 36 w 1440"/>
              <a:gd name="T41" fmla="*/ 83 h 1476"/>
              <a:gd name="T42" fmla="*/ 33 w 1440"/>
              <a:gd name="T43" fmla="*/ 83 h 1476"/>
              <a:gd name="T44" fmla="*/ 30 w 1440"/>
              <a:gd name="T45" fmla="*/ 83 h 1476"/>
              <a:gd name="T46" fmla="*/ 27 w 1440"/>
              <a:gd name="T47" fmla="*/ 83 h 1476"/>
              <a:gd name="T48" fmla="*/ 24 w 1440"/>
              <a:gd name="T49" fmla="*/ 82 h 1476"/>
              <a:gd name="T50" fmla="*/ 21 w 1440"/>
              <a:gd name="T51" fmla="*/ 80 h 1476"/>
              <a:gd name="T52" fmla="*/ 18 w 1440"/>
              <a:gd name="T53" fmla="*/ 79 h 1476"/>
              <a:gd name="T54" fmla="*/ 17 w 1440"/>
              <a:gd name="T55" fmla="*/ 78 h 1476"/>
              <a:gd name="T56" fmla="*/ 12 w 1440"/>
              <a:gd name="T57" fmla="*/ 78 h 1476"/>
              <a:gd name="T58" fmla="*/ 12 w 1440"/>
              <a:gd name="T59" fmla="*/ 78 h 1476"/>
              <a:gd name="T60" fmla="*/ 7 w 1440"/>
              <a:gd name="T61" fmla="*/ 80 h 1476"/>
              <a:gd name="T62" fmla="*/ 3 w 1440"/>
              <a:gd name="T63" fmla="*/ 81 h 1476"/>
              <a:gd name="T64" fmla="*/ 0 w 1440"/>
              <a:gd name="T65" fmla="*/ 76 h 1476"/>
              <a:gd name="T66" fmla="*/ 1 w 1440"/>
              <a:gd name="T67" fmla="*/ 50 h 1476"/>
              <a:gd name="T68" fmla="*/ 8 w 1440"/>
              <a:gd name="T69" fmla="*/ 48 h 1476"/>
              <a:gd name="T70" fmla="*/ 20 w 1440"/>
              <a:gd name="T71" fmla="*/ 49 h 1476"/>
              <a:gd name="T72" fmla="*/ 26 w 1440"/>
              <a:gd name="T73" fmla="*/ 50 h 1476"/>
              <a:gd name="T74" fmla="*/ 44 w 1440"/>
              <a:gd name="T75" fmla="*/ 47 h 1476"/>
              <a:gd name="T76" fmla="*/ 41 w 1440"/>
              <a:gd name="T77" fmla="*/ 24 h 1476"/>
              <a:gd name="T78" fmla="*/ 44 w 1440"/>
              <a:gd name="T79" fmla="*/ 20 h 1476"/>
              <a:gd name="T80" fmla="*/ 47 w 1440"/>
              <a:gd name="T81" fmla="*/ 18 h 1476"/>
              <a:gd name="T82" fmla="*/ 54 w 1440"/>
              <a:gd name="T83" fmla="*/ 21 h 1476"/>
              <a:gd name="T84" fmla="*/ 61 w 1440"/>
              <a:gd name="T85" fmla="*/ 23 h 1476"/>
              <a:gd name="T86" fmla="*/ 59 w 1440"/>
              <a:gd name="T87" fmla="*/ 14 h 1476"/>
              <a:gd name="T88" fmla="*/ 61 w 1440"/>
              <a:gd name="T89" fmla="*/ 8 h 1476"/>
              <a:gd name="T90" fmla="*/ 71 w 1440"/>
              <a:gd name="T91" fmla="*/ 7 h 1476"/>
              <a:gd name="T92" fmla="*/ 75 w 1440"/>
              <a:gd name="T93" fmla="*/ 0 h 1476"/>
              <a:gd name="T94" fmla="*/ 82 w 1440"/>
              <a:gd name="T95" fmla="*/ 3 h 1476"/>
              <a:gd name="T96" fmla="*/ 93 w 1440"/>
              <a:gd name="T97" fmla="*/ 5 h 1476"/>
              <a:gd name="T98" fmla="*/ 100 w 1440"/>
              <a:gd name="T99" fmla="*/ 1 h 1476"/>
              <a:gd name="T100" fmla="*/ 104 w 1440"/>
              <a:gd name="T101" fmla="*/ 4 h 1476"/>
              <a:gd name="T102" fmla="*/ 110 w 1440"/>
              <a:gd name="T103" fmla="*/ 10 h 1476"/>
              <a:gd name="T104" fmla="*/ 115 w 1440"/>
              <a:gd name="T105" fmla="*/ 23 h 1476"/>
              <a:gd name="T106" fmla="*/ 117 w 1440"/>
              <a:gd name="T107" fmla="*/ 42 h 1476"/>
              <a:gd name="T108" fmla="*/ 121 w 1440"/>
              <a:gd name="T109" fmla="*/ 52 h 1476"/>
              <a:gd name="T110" fmla="*/ 118 w 1440"/>
              <a:gd name="T111" fmla="*/ 62 h 1476"/>
              <a:gd name="T112" fmla="*/ 124 w 1440"/>
              <a:gd name="T113" fmla="*/ 66 h 1476"/>
              <a:gd name="T114" fmla="*/ 121 w 1440"/>
              <a:gd name="T115" fmla="*/ 71 h 1476"/>
              <a:gd name="T116" fmla="*/ 115 w 1440"/>
              <a:gd name="T117" fmla="*/ 76 h 1476"/>
              <a:gd name="T118" fmla="*/ 109 w 1440"/>
              <a:gd name="T119" fmla="*/ 76 h 1476"/>
              <a:gd name="T120" fmla="*/ 105 w 1440"/>
              <a:gd name="T121" fmla="*/ 86 h 1476"/>
              <a:gd name="T122" fmla="*/ 107 w 1440"/>
              <a:gd name="T123" fmla="*/ 97 h 147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440"/>
              <a:gd name="T187" fmla="*/ 0 h 1476"/>
              <a:gd name="T188" fmla="*/ 1440 w 1440"/>
              <a:gd name="T189" fmla="*/ 1476 h 147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440" h="1476">
                <a:moveTo>
                  <a:pt x="1212" y="1164"/>
                </a:moveTo>
                <a:lnTo>
                  <a:pt x="1206" y="1170"/>
                </a:lnTo>
                <a:lnTo>
                  <a:pt x="1200" y="1176"/>
                </a:lnTo>
                <a:lnTo>
                  <a:pt x="1194" y="1176"/>
                </a:lnTo>
                <a:lnTo>
                  <a:pt x="1188" y="1188"/>
                </a:lnTo>
                <a:lnTo>
                  <a:pt x="1182" y="1194"/>
                </a:lnTo>
                <a:lnTo>
                  <a:pt x="1176" y="1194"/>
                </a:lnTo>
                <a:lnTo>
                  <a:pt x="1170" y="1194"/>
                </a:lnTo>
                <a:lnTo>
                  <a:pt x="1170" y="1200"/>
                </a:lnTo>
                <a:lnTo>
                  <a:pt x="1164" y="1206"/>
                </a:lnTo>
                <a:lnTo>
                  <a:pt x="1158" y="1206"/>
                </a:lnTo>
                <a:lnTo>
                  <a:pt x="1152" y="1212"/>
                </a:lnTo>
                <a:lnTo>
                  <a:pt x="1146" y="1212"/>
                </a:lnTo>
                <a:lnTo>
                  <a:pt x="1140" y="1224"/>
                </a:lnTo>
                <a:lnTo>
                  <a:pt x="1134" y="1230"/>
                </a:lnTo>
                <a:lnTo>
                  <a:pt x="1128" y="1236"/>
                </a:lnTo>
                <a:lnTo>
                  <a:pt x="1128" y="1242"/>
                </a:lnTo>
                <a:lnTo>
                  <a:pt x="1128" y="1254"/>
                </a:lnTo>
                <a:lnTo>
                  <a:pt x="1128" y="1260"/>
                </a:lnTo>
                <a:lnTo>
                  <a:pt x="1122" y="1260"/>
                </a:lnTo>
                <a:lnTo>
                  <a:pt x="1122" y="1266"/>
                </a:lnTo>
                <a:lnTo>
                  <a:pt x="1128" y="1278"/>
                </a:lnTo>
                <a:lnTo>
                  <a:pt x="1122" y="1278"/>
                </a:lnTo>
                <a:lnTo>
                  <a:pt x="1122" y="1284"/>
                </a:lnTo>
                <a:lnTo>
                  <a:pt x="1128" y="1290"/>
                </a:lnTo>
                <a:lnTo>
                  <a:pt x="1122" y="1296"/>
                </a:lnTo>
                <a:lnTo>
                  <a:pt x="1122" y="1302"/>
                </a:lnTo>
                <a:lnTo>
                  <a:pt x="1116" y="1302"/>
                </a:lnTo>
                <a:lnTo>
                  <a:pt x="1110" y="1314"/>
                </a:lnTo>
                <a:lnTo>
                  <a:pt x="1110" y="1320"/>
                </a:lnTo>
                <a:lnTo>
                  <a:pt x="1110" y="1326"/>
                </a:lnTo>
                <a:lnTo>
                  <a:pt x="1098" y="1332"/>
                </a:lnTo>
                <a:lnTo>
                  <a:pt x="1092" y="1338"/>
                </a:lnTo>
                <a:lnTo>
                  <a:pt x="1092" y="1344"/>
                </a:lnTo>
                <a:lnTo>
                  <a:pt x="1086" y="1350"/>
                </a:lnTo>
                <a:lnTo>
                  <a:pt x="1080" y="1350"/>
                </a:lnTo>
                <a:lnTo>
                  <a:pt x="1074" y="1350"/>
                </a:lnTo>
                <a:lnTo>
                  <a:pt x="1068" y="1356"/>
                </a:lnTo>
                <a:lnTo>
                  <a:pt x="1062" y="1356"/>
                </a:lnTo>
                <a:lnTo>
                  <a:pt x="1044" y="1356"/>
                </a:lnTo>
                <a:lnTo>
                  <a:pt x="1038" y="1362"/>
                </a:lnTo>
                <a:lnTo>
                  <a:pt x="1032" y="1368"/>
                </a:lnTo>
                <a:lnTo>
                  <a:pt x="1026" y="1368"/>
                </a:lnTo>
                <a:lnTo>
                  <a:pt x="1020" y="1374"/>
                </a:lnTo>
                <a:lnTo>
                  <a:pt x="1008" y="1374"/>
                </a:lnTo>
                <a:lnTo>
                  <a:pt x="1002" y="1374"/>
                </a:lnTo>
                <a:lnTo>
                  <a:pt x="996" y="1368"/>
                </a:lnTo>
                <a:lnTo>
                  <a:pt x="990" y="1374"/>
                </a:lnTo>
                <a:lnTo>
                  <a:pt x="978" y="1380"/>
                </a:lnTo>
                <a:lnTo>
                  <a:pt x="972" y="1380"/>
                </a:lnTo>
                <a:lnTo>
                  <a:pt x="954" y="1368"/>
                </a:lnTo>
                <a:lnTo>
                  <a:pt x="930" y="1368"/>
                </a:lnTo>
                <a:lnTo>
                  <a:pt x="918" y="1368"/>
                </a:lnTo>
                <a:lnTo>
                  <a:pt x="906" y="1368"/>
                </a:lnTo>
                <a:lnTo>
                  <a:pt x="894" y="1368"/>
                </a:lnTo>
                <a:lnTo>
                  <a:pt x="864" y="1374"/>
                </a:lnTo>
                <a:lnTo>
                  <a:pt x="852" y="1374"/>
                </a:lnTo>
                <a:lnTo>
                  <a:pt x="846" y="1386"/>
                </a:lnTo>
                <a:lnTo>
                  <a:pt x="846" y="1392"/>
                </a:lnTo>
                <a:lnTo>
                  <a:pt x="840" y="1398"/>
                </a:lnTo>
                <a:lnTo>
                  <a:pt x="840" y="1404"/>
                </a:lnTo>
                <a:lnTo>
                  <a:pt x="834" y="1416"/>
                </a:lnTo>
                <a:lnTo>
                  <a:pt x="828" y="1416"/>
                </a:lnTo>
                <a:lnTo>
                  <a:pt x="828" y="1410"/>
                </a:lnTo>
                <a:lnTo>
                  <a:pt x="822" y="1416"/>
                </a:lnTo>
                <a:lnTo>
                  <a:pt x="816" y="1422"/>
                </a:lnTo>
                <a:lnTo>
                  <a:pt x="804" y="1428"/>
                </a:lnTo>
                <a:lnTo>
                  <a:pt x="804" y="1434"/>
                </a:lnTo>
                <a:lnTo>
                  <a:pt x="804" y="1440"/>
                </a:lnTo>
                <a:lnTo>
                  <a:pt x="798" y="1446"/>
                </a:lnTo>
                <a:lnTo>
                  <a:pt x="798" y="1458"/>
                </a:lnTo>
                <a:lnTo>
                  <a:pt x="792" y="1464"/>
                </a:lnTo>
                <a:lnTo>
                  <a:pt x="786" y="1476"/>
                </a:lnTo>
                <a:lnTo>
                  <a:pt x="780" y="1470"/>
                </a:lnTo>
                <a:lnTo>
                  <a:pt x="774" y="1470"/>
                </a:lnTo>
                <a:lnTo>
                  <a:pt x="768" y="1470"/>
                </a:lnTo>
                <a:lnTo>
                  <a:pt x="762" y="1476"/>
                </a:lnTo>
                <a:lnTo>
                  <a:pt x="762" y="1470"/>
                </a:lnTo>
                <a:lnTo>
                  <a:pt x="762" y="1464"/>
                </a:lnTo>
                <a:lnTo>
                  <a:pt x="762" y="1458"/>
                </a:lnTo>
                <a:lnTo>
                  <a:pt x="756" y="1458"/>
                </a:lnTo>
                <a:lnTo>
                  <a:pt x="756" y="1452"/>
                </a:lnTo>
                <a:lnTo>
                  <a:pt x="756" y="1446"/>
                </a:lnTo>
                <a:lnTo>
                  <a:pt x="756" y="1440"/>
                </a:lnTo>
                <a:lnTo>
                  <a:pt x="750" y="1434"/>
                </a:lnTo>
                <a:lnTo>
                  <a:pt x="750" y="1428"/>
                </a:lnTo>
                <a:lnTo>
                  <a:pt x="750" y="1422"/>
                </a:lnTo>
                <a:lnTo>
                  <a:pt x="750" y="1416"/>
                </a:lnTo>
                <a:lnTo>
                  <a:pt x="744" y="1416"/>
                </a:lnTo>
                <a:lnTo>
                  <a:pt x="744" y="1410"/>
                </a:lnTo>
                <a:lnTo>
                  <a:pt x="738" y="1404"/>
                </a:lnTo>
                <a:lnTo>
                  <a:pt x="732" y="1398"/>
                </a:lnTo>
                <a:lnTo>
                  <a:pt x="732" y="1392"/>
                </a:lnTo>
                <a:lnTo>
                  <a:pt x="726" y="1386"/>
                </a:lnTo>
                <a:lnTo>
                  <a:pt x="726" y="1380"/>
                </a:lnTo>
                <a:lnTo>
                  <a:pt x="714" y="1368"/>
                </a:lnTo>
                <a:lnTo>
                  <a:pt x="708" y="1368"/>
                </a:lnTo>
                <a:lnTo>
                  <a:pt x="684" y="1332"/>
                </a:lnTo>
                <a:lnTo>
                  <a:pt x="666" y="1320"/>
                </a:lnTo>
                <a:lnTo>
                  <a:pt x="648" y="1302"/>
                </a:lnTo>
                <a:lnTo>
                  <a:pt x="630" y="1314"/>
                </a:lnTo>
                <a:lnTo>
                  <a:pt x="624" y="1314"/>
                </a:lnTo>
                <a:lnTo>
                  <a:pt x="624" y="1308"/>
                </a:lnTo>
                <a:lnTo>
                  <a:pt x="618" y="1308"/>
                </a:lnTo>
                <a:lnTo>
                  <a:pt x="612" y="1284"/>
                </a:lnTo>
                <a:lnTo>
                  <a:pt x="606" y="1254"/>
                </a:lnTo>
                <a:lnTo>
                  <a:pt x="606" y="1248"/>
                </a:lnTo>
                <a:lnTo>
                  <a:pt x="606" y="1242"/>
                </a:lnTo>
                <a:lnTo>
                  <a:pt x="612" y="1242"/>
                </a:lnTo>
                <a:lnTo>
                  <a:pt x="618" y="1236"/>
                </a:lnTo>
                <a:lnTo>
                  <a:pt x="618" y="1230"/>
                </a:lnTo>
                <a:lnTo>
                  <a:pt x="624" y="1224"/>
                </a:lnTo>
                <a:lnTo>
                  <a:pt x="630" y="1224"/>
                </a:lnTo>
                <a:lnTo>
                  <a:pt x="636" y="1218"/>
                </a:lnTo>
                <a:lnTo>
                  <a:pt x="636" y="1212"/>
                </a:lnTo>
                <a:lnTo>
                  <a:pt x="612" y="1200"/>
                </a:lnTo>
                <a:lnTo>
                  <a:pt x="606" y="1182"/>
                </a:lnTo>
                <a:lnTo>
                  <a:pt x="672" y="1182"/>
                </a:lnTo>
                <a:lnTo>
                  <a:pt x="690" y="1170"/>
                </a:lnTo>
                <a:lnTo>
                  <a:pt x="690" y="1152"/>
                </a:lnTo>
                <a:lnTo>
                  <a:pt x="678" y="1110"/>
                </a:lnTo>
                <a:lnTo>
                  <a:pt x="672" y="1092"/>
                </a:lnTo>
                <a:lnTo>
                  <a:pt x="660" y="1074"/>
                </a:lnTo>
                <a:lnTo>
                  <a:pt x="648" y="1068"/>
                </a:lnTo>
                <a:lnTo>
                  <a:pt x="642" y="1068"/>
                </a:lnTo>
                <a:lnTo>
                  <a:pt x="636" y="1062"/>
                </a:lnTo>
                <a:lnTo>
                  <a:pt x="624" y="1056"/>
                </a:lnTo>
                <a:lnTo>
                  <a:pt x="624" y="1050"/>
                </a:lnTo>
                <a:lnTo>
                  <a:pt x="618" y="1038"/>
                </a:lnTo>
                <a:lnTo>
                  <a:pt x="612" y="1038"/>
                </a:lnTo>
                <a:lnTo>
                  <a:pt x="612" y="1032"/>
                </a:lnTo>
                <a:lnTo>
                  <a:pt x="612" y="1026"/>
                </a:lnTo>
                <a:lnTo>
                  <a:pt x="600" y="1014"/>
                </a:lnTo>
                <a:lnTo>
                  <a:pt x="582" y="1008"/>
                </a:lnTo>
                <a:lnTo>
                  <a:pt x="576" y="1002"/>
                </a:lnTo>
                <a:lnTo>
                  <a:pt x="576" y="996"/>
                </a:lnTo>
                <a:lnTo>
                  <a:pt x="570" y="996"/>
                </a:lnTo>
                <a:lnTo>
                  <a:pt x="570" y="990"/>
                </a:lnTo>
                <a:lnTo>
                  <a:pt x="570" y="984"/>
                </a:lnTo>
                <a:lnTo>
                  <a:pt x="564" y="984"/>
                </a:lnTo>
                <a:lnTo>
                  <a:pt x="558" y="978"/>
                </a:lnTo>
                <a:lnTo>
                  <a:pt x="552" y="972"/>
                </a:lnTo>
                <a:lnTo>
                  <a:pt x="552" y="966"/>
                </a:lnTo>
                <a:lnTo>
                  <a:pt x="546" y="972"/>
                </a:lnTo>
                <a:lnTo>
                  <a:pt x="540" y="972"/>
                </a:lnTo>
                <a:lnTo>
                  <a:pt x="534" y="960"/>
                </a:lnTo>
                <a:lnTo>
                  <a:pt x="528" y="960"/>
                </a:lnTo>
                <a:lnTo>
                  <a:pt x="528" y="966"/>
                </a:lnTo>
                <a:lnTo>
                  <a:pt x="516" y="954"/>
                </a:lnTo>
                <a:lnTo>
                  <a:pt x="516" y="948"/>
                </a:lnTo>
                <a:lnTo>
                  <a:pt x="510" y="948"/>
                </a:lnTo>
                <a:lnTo>
                  <a:pt x="504" y="948"/>
                </a:lnTo>
                <a:lnTo>
                  <a:pt x="498" y="948"/>
                </a:lnTo>
                <a:lnTo>
                  <a:pt x="504" y="954"/>
                </a:lnTo>
                <a:lnTo>
                  <a:pt x="498" y="954"/>
                </a:lnTo>
                <a:lnTo>
                  <a:pt x="492" y="954"/>
                </a:lnTo>
                <a:lnTo>
                  <a:pt x="480" y="942"/>
                </a:lnTo>
                <a:lnTo>
                  <a:pt x="480" y="948"/>
                </a:lnTo>
                <a:lnTo>
                  <a:pt x="480" y="954"/>
                </a:lnTo>
                <a:lnTo>
                  <a:pt x="474" y="954"/>
                </a:lnTo>
                <a:lnTo>
                  <a:pt x="468" y="960"/>
                </a:lnTo>
                <a:lnTo>
                  <a:pt x="462" y="960"/>
                </a:lnTo>
                <a:lnTo>
                  <a:pt x="456" y="966"/>
                </a:lnTo>
                <a:lnTo>
                  <a:pt x="456" y="960"/>
                </a:lnTo>
                <a:lnTo>
                  <a:pt x="450" y="966"/>
                </a:lnTo>
                <a:lnTo>
                  <a:pt x="444" y="966"/>
                </a:lnTo>
                <a:lnTo>
                  <a:pt x="414" y="966"/>
                </a:lnTo>
                <a:lnTo>
                  <a:pt x="408" y="960"/>
                </a:lnTo>
                <a:lnTo>
                  <a:pt x="408" y="966"/>
                </a:lnTo>
                <a:lnTo>
                  <a:pt x="402" y="960"/>
                </a:lnTo>
                <a:lnTo>
                  <a:pt x="396" y="960"/>
                </a:lnTo>
                <a:lnTo>
                  <a:pt x="390" y="960"/>
                </a:lnTo>
                <a:lnTo>
                  <a:pt x="390" y="966"/>
                </a:lnTo>
                <a:lnTo>
                  <a:pt x="384" y="966"/>
                </a:lnTo>
                <a:lnTo>
                  <a:pt x="378" y="966"/>
                </a:lnTo>
                <a:lnTo>
                  <a:pt x="384" y="960"/>
                </a:lnTo>
                <a:lnTo>
                  <a:pt x="384" y="954"/>
                </a:lnTo>
                <a:lnTo>
                  <a:pt x="372" y="948"/>
                </a:lnTo>
                <a:lnTo>
                  <a:pt x="372" y="954"/>
                </a:lnTo>
                <a:lnTo>
                  <a:pt x="372" y="960"/>
                </a:lnTo>
                <a:lnTo>
                  <a:pt x="366" y="960"/>
                </a:lnTo>
                <a:lnTo>
                  <a:pt x="360" y="966"/>
                </a:lnTo>
                <a:lnTo>
                  <a:pt x="354" y="966"/>
                </a:lnTo>
                <a:lnTo>
                  <a:pt x="348" y="960"/>
                </a:lnTo>
                <a:lnTo>
                  <a:pt x="342" y="960"/>
                </a:lnTo>
                <a:lnTo>
                  <a:pt x="342" y="966"/>
                </a:lnTo>
                <a:lnTo>
                  <a:pt x="336" y="972"/>
                </a:lnTo>
                <a:lnTo>
                  <a:pt x="330" y="972"/>
                </a:lnTo>
                <a:lnTo>
                  <a:pt x="324" y="966"/>
                </a:lnTo>
                <a:lnTo>
                  <a:pt x="318" y="966"/>
                </a:lnTo>
                <a:lnTo>
                  <a:pt x="312" y="966"/>
                </a:lnTo>
                <a:lnTo>
                  <a:pt x="306" y="960"/>
                </a:lnTo>
                <a:lnTo>
                  <a:pt x="306" y="954"/>
                </a:lnTo>
                <a:lnTo>
                  <a:pt x="306" y="948"/>
                </a:lnTo>
                <a:lnTo>
                  <a:pt x="306" y="942"/>
                </a:lnTo>
                <a:lnTo>
                  <a:pt x="300" y="942"/>
                </a:lnTo>
                <a:lnTo>
                  <a:pt x="294" y="936"/>
                </a:lnTo>
                <a:lnTo>
                  <a:pt x="288" y="936"/>
                </a:lnTo>
                <a:lnTo>
                  <a:pt x="282" y="942"/>
                </a:lnTo>
                <a:lnTo>
                  <a:pt x="276" y="936"/>
                </a:lnTo>
                <a:lnTo>
                  <a:pt x="276" y="942"/>
                </a:lnTo>
                <a:lnTo>
                  <a:pt x="270" y="942"/>
                </a:lnTo>
                <a:lnTo>
                  <a:pt x="264" y="936"/>
                </a:lnTo>
                <a:lnTo>
                  <a:pt x="252" y="936"/>
                </a:lnTo>
                <a:lnTo>
                  <a:pt x="246" y="936"/>
                </a:lnTo>
                <a:lnTo>
                  <a:pt x="240" y="936"/>
                </a:lnTo>
                <a:lnTo>
                  <a:pt x="234" y="936"/>
                </a:lnTo>
                <a:lnTo>
                  <a:pt x="240" y="924"/>
                </a:lnTo>
                <a:lnTo>
                  <a:pt x="234" y="924"/>
                </a:lnTo>
                <a:lnTo>
                  <a:pt x="228" y="918"/>
                </a:lnTo>
                <a:lnTo>
                  <a:pt x="228" y="906"/>
                </a:lnTo>
                <a:lnTo>
                  <a:pt x="222" y="900"/>
                </a:lnTo>
                <a:lnTo>
                  <a:pt x="216" y="900"/>
                </a:lnTo>
                <a:lnTo>
                  <a:pt x="210" y="900"/>
                </a:lnTo>
                <a:lnTo>
                  <a:pt x="210" y="906"/>
                </a:lnTo>
                <a:lnTo>
                  <a:pt x="204" y="906"/>
                </a:lnTo>
                <a:lnTo>
                  <a:pt x="198" y="906"/>
                </a:lnTo>
                <a:lnTo>
                  <a:pt x="210" y="900"/>
                </a:lnTo>
                <a:lnTo>
                  <a:pt x="210" y="894"/>
                </a:lnTo>
                <a:lnTo>
                  <a:pt x="216" y="888"/>
                </a:lnTo>
                <a:lnTo>
                  <a:pt x="204" y="882"/>
                </a:lnTo>
                <a:lnTo>
                  <a:pt x="204" y="894"/>
                </a:lnTo>
                <a:lnTo>
                  <a:pt x="198" y="894"/>
                </a:lnTo>
                <a:lnTo>
                  <a:pt x="192" y="900"/>
                </a:lnTo>
                <a:lnTo>
                  <a:pt x="186" y="894"/>
                </a:lnTo>
                <a:lnTo>
                  <a:pt x="180" y="894"/>
                </a:lnTo>
                <a:lnTo>
                  <a:pt x="174" y="894"/>
                </a:lnTo>
                <a:lnTo>
                  <a:pt x="168" y="900"/>
                </a:lnTo>
                <a:lnTo>
                  <a:pt x="162" y="906"/>
                </a:lnTo>
                <a:lnTo>
                  <a:pt x="156" y="906"/>
                </a:lnTo>
                <a:lnTo>
                  <a:pt x="150" y="900"/>
                </a:lnTo>
                <a:lnTo>
                  <a:pt x="144" y="894"/>
                </a:lnTo>
                <a:lnTo>
                  <a:pt x="138" y="894"/>
                </a:lnTo>
                <a:lnTo>
                  <a:pt x="132" y="888"/>
                </a:lnTo>
                <a:lnTo>
                  <a:pt x="126" y="888"/>
                </a:lnTo>
                <a:lnTo>
                  <a:pt x="120" y="888"/>
                </a:lnTo>
                <a:lnTo>
                  <a:pt x="114" y="894"/>
                </a:lnTo>
                <a:lnTo>
                  <a:pt x="120" y="900"/>
                </a:lnTo>
                <a:lnTo>
                  <a:pt x="126" y="900"/>
                </a:lnTo>
                <a:lnTo>
                  <a:pt x="132" y="900"/>
                </a:lnTo>
                <a:lnTo>
                  <a:pt x="132" y="906"/>
                </a:lnTo>
                <a:lnTo>
                  <a:pt x="126" y="912"/>
                </a:lnTo>
                <a:lnTo>
                  <a:pt x="126" y="918"/>
                </a:lnTo>
                <a:lnTo>
                  <a:pt x="114" y="918"/>
                </a:lnTo>
                <a:lnTo>
                  <a:pt x="108" y="924"/>
                </a:lnTo>
                <a:lnTo>
                  <a:pt x="102" y="924"/>
                </a:lnTo>
                <a:lnTo>
                  <a:pt x="90" y="924"/>
                </a:lnTo>
                <a:lnTo>
                  <a:pt x="84" y="924"/>
                </a:lnTo>
                <a:lnTo>
                  <a:pt x="78" y="924"/>
                </a:lnTo>
                <a:lnTo>
                  <a:pt x="60" y="924"/>
                </a:lnTo>
                <a:lnTo>
                  <a:pt x="54" y="942"/>
                </a:lnTo>
                <a:lnTo>
                  <a:pt x="48" y="936"/>
                </a:lnTo>
                <a:lnTo>
                  <a:pt x="42" y="930"/>
                </a:lnTo>
                <a:lnTo>
                  <a:pt x="36" y="930"/>
                </a:lnTo>
                <a:lnTo>
                  <a:pt x="30" y="936"/>
                </a:lnTo>
                <a:lnTo>
                  <a:pt x="30" y="930"/>
                </a:lnTo>
                <a:lnTo>
                  <a:pt x="30" y="924"/>
                </a:lnTo>
                <a:lnTo>
                  <a:pt x="18" y="918"/>
                </a:lnTo>
                <a:lnTo>
                  <a:pt x="18" y="912"/>
                </a:lnTo>
                <a:lnTo>
                  <a:pt x="12" y="912"/>
                </a:lnTo>
                <a:lnTo>
                  <a:pt x="6" y="912"/>
                </a:lnTo>
                <a:lnTo>
                  <a:pt x="6" y="900"/>
                </a:lnTo>
                <a:lnTo>
                  <a:pt x="6" y="894"/>
                </a:lnTo>
                <a:lnTo>
                  <a:pt x="0" y="870"/>
                </a:lnTo>
                <a:lnTo>
                  <a:pt x="6" y="846"/>
                </a:lnTo>
                <a:lnTo>
                  <a:pt x="6" y="810"/>
                </a:lnTo>
                <a:lnTo>
                  <a:pt x="12" y="774"/>
                </a:lnTo>
                <a:lnTo>
                  <a:pt x="12" y="756"/>
                </a:lnTo>
                <a:lnTo>
                  <a:pt x="18" y="744"/>
                </a:lnTo>
                <a:lnTo>
                  <a:pt x="18" y="732"/>
                </a:lnTo>
                <a:lnTo>
                  <a:pt x="12" y="576"/>
                </a:lnTo>
                <a:lnTo>
                  <a:pt x="12" y="570"/>
                </a:lnTo>
                <a:lnTo>
                  <a:pt x="18" y="564"/>
                </a:lnTo>
                <a:lnTo>
                  <a:pt x="24" y="558"/>
                </a:lnTo>
                <a:lnTo>
                  <a:pt x="30" y="552"/>
                </a:lnTo>
                <a:lnTo>
                  <a:pt x="36" y="552"/>
                </a:lnTo>
                <a:lnTo>
                  <a:pt x="42" y="552"/>
                </a:lnTo>
                <a:lnTo>
                  <a:pt x="66" y="552"/>
                </a:lnTo>
                <a:lnTo>
                  <a:pt x="78" y="558"/>
                </a:lnTo>
                <a:lnTo>
                  <a:pt x="90" y="558"/>
                </a:lnTo>
                <a:lnTo>
                  <a:pt x="108" y="558"/>
                </a:lnTo>
                <a:lnTo>
                  <a:pt x="144" y="558"/>
                </a:lnTo>
                <a:lnTo>
                  <a:pt x="204" y="552"/>
                </a:lnTo>
                <a:lnTo>
                  <a:pt x="210" y="558"/>
                </a:lnTo>
                <a:lnTo>
                  <a:pt x="216" y="558"/>
                </a:lnTo>
                <a:lnTo>
                  <a:pt x="210" y="564"/>
                </a:lnTo>
                <a:lnTo>
                  <a:pt x="216" y="564"/>
                </a:lnTo>
                <a:lnTo>
                  <a:pt x="222" y="564"/>
                </a:lnTo>
                <a:lnTo>
                  <a:pt x="240" y="564"/>
                </a:lnTo>
                <a:lnTo>
                  <a:pt x="258" y="564"/>
                </a:lnTo>
                <a:lnTo>
                  <a:pt x="264" y="570"/>
                </a:lnTo>
                <a:lnTo>
                  <a:pt x="276" y="570"/>
                </a:lnTo>
                <a:lnTo>
                  <a:pt x="282" y="564"/>
                </a:lnTo>
                <a:lnTo>
                  <a:pt x="294" y="564"/>
                </a:lnTo>
                <a:lnTo>
                  <a:pt x="294" y="570"/>
                </a:lnTo>
                <a:lnTo>
                  <a:pt x="300" y="570"/>
                </a:lnTo>
                <a:lnTo>
                  <a:pt x="378" y="564"/>
                </a:lnTo>
                <a:lnTo>
                  <a:pt x="408" y="558"/>
                </a:lnTo>
                <a:lnTo>
                  <a:pt x="432" y="552"/>
                </a:lnTo>
                <a:lnTo>
                  <a:pt x="450" y="546"/>
                </a:lnTo>
                <a:lnTo>
                  <a:pt x="468" y="546"/>
                </a:lnTo>
                <a:lnTo>
                  <a:pt x="468" y="552"/>
                </a:lnTo>
                <a:lnTo>
                  <a:pt x="504" y="552"/>
                </a:lnTo>
                <a:lnTo>
                  <a:pt x="510" y="534"/>
                </a:lnTo>
                <a:lnTo>
                  <a:pt x="516" y="510"/>
                </a:lnTo>
                <a:lnTo>
                  <a:pt x="522" y="510"/>
                </a:lnTo>
                <a:lnTo>
                  <a:pt x="528" y="420"/>
                </a:lnTo>
                <a:lnTo>
                  <a:pt x="522" y="414"/>
                </a:lnTo>
                <a:lnTo>
                  <a:pt x="516" y="396"/>
                </a:lnTo>
                <a:lnTo>
                  <a:pt x="510" y="372"/>
                </a:lnTo>
                <a:lnTo>
                  <a:pt x="498" y="348"/>
                </a:lnTo>
                <a:lnTo>
                  <a:pt x="474" y="282"/>
                </a:lnTo>
                <a:lnTo>
                  <a:pt x="474" y="270"/>
                </a:lnTo>
                <a:lnTo>
                  <a:pt x="480" y="258"/>
                </a:lnTo>
                <a:lnTo>
                  <a:pt x="486" y="258"/>
                </a:lnTo>
                <a:lnTo>
                  <a:pt x="492" y="252"/>
                </a:lnTo>
                <a:lnTo>
                  <a:pt x="486" y="246"/>
                </a:lnTo>
                <a:lnTo>
                  <a:pt x="492" y="246"/>
                </a:lnTo>
                <a:lnTo>
                  <a:pt x="504" y="234"/>
                </a:lnTo>
                <a:lnTo>
                  <a:pt x="510" y="228"/>
                </a:lnTo>
                <a:lnTo>
                  <a:pt x="516" y="228"/>
                </a:lnTo>
                <a:lnTo>
                  <a:pt x="516" y="222"/>
                </a:lnTo>
                <a:lnTo>
                  <a:pt x="516" y="216"/>
                </a:lnTo>
                <a:lnTo>
                  <a:pt x="522" y="216"/>
                </a:lnTo>
                <a:lnTo>
                  <a:pt x="528" y="210"/>
                </a:lnTo>
                <a:lnTo>
                  <a:pt x="534" y="210"/>
                </a:lnTo>
                <a:lnTo>
                  <a:pt x="540" y="210"/>
                </a:lnTo>
                <a:lnTo>
                  <a:pt x="546" y="210"/>
                </a:lnTo>
                <a:lnTo>
                  <a:pt x="552" y="210"/>
                </a:lnTo>
                <a:lnTo>
                  <a:pt x="564" y="210"/>
                </a:lnTo>
                <a:lnTo>
                  <a:pt x="570" y="216"/>
                </a:lnTo>
                <a:lnTo>
                  <a:pt x="576" y="216"/>
                </a:lnTo>
                <a:lnTo>
                  <a:pt x="588" y="228"/>
                </a:lnTo>
                <a:lnTo>
                  <a:pt x="594" y="234"/>
                </a:lnTo>
                <a:lnTo>
                  <a:pt x="600" y="240"/>
                </a:lnTo>
                <a:lnTo>
                  <a:pt x="618" y="246"/>
                </a:lnTo>
                <a:lnTo>
                  <a:pt x="624" y="246"/>
                </a:lnTo>
                <a:lnTo>
                  <a:pt x="636" y="252"/>
                </a:lnTo>
                <a:lnTo>
                  <a:pt x="654" y="252"/>
                </a:lnTo>
                <a:lnTo>
                  <a:pt x="654" y="258"/>
                </a:lnTo>
                <a:lnTo>
                  <a:pt x="666" y="264"/>
                </a:lnTo>
                <a:lnTo>
                  <a:pt x="672" y="264"/>
                </a:lnTo>
                <a:lnTo>
                  <a:pt x="678" y="264"/>
                </a:lnTo>
                <a:lnTo>
                  <a:pt x="696" y="258"/>
                </a:lnTo>
                <a:lnTo>
                  <a:pt x="696" y="252"/>
                </a:lnTo>
                <a:lnTo>
                  <a:pt x="696" y="246"/>
                </a:lnTo>
                <a:lnTo>
                  <a:pt x="690" y="234"/>
                </a:lnTo>
                <a:lnTo>
                  <a:pt x="684" y="210"/>
                </a:lnTo>
                <a:lnTo>
                  <a:pt x="678" y="192"/>
                </a:lnTo>
                <a:lnTo>
                  <a:pt x="672" y="174"/>
                </a:lnTo>
                <a:lnTo>
                  <a:pt x="672" y="168"/>
                </a:lnTo>
                <a:lnTo>
                  <a:pt x="672" y="162"/>
                </a:lnTo>
                <a:lnTo>
                  <a:pt x="672" y="156"/>
                </a:lnTo>
                <a:lnTo>
                  <a:pt x="684" y="132"/>
                </a:lnTo>
                <a:lnTo>
                  <a:pt x="684" y="120"/>
                </a:lnTo>
                <a:lnTo>
                  <a:pt x="684" y="108"/>
                </a:lnTo>
                <a:lnTo>
                  <a:pt x="678" y="102"/>
                </a:lnTo>
                <a:lnTo>
                  <a:pt x="678" y="96"/>
                </a:lnTo>
                <a:lnTo>
                  <a:pt x="684" y="96"/>
                </a:lnTo>
                <a:lnTo>
                  <a:pt x="696" y="90"/>
                </a:lnTo>
                <a:lnTo>
                  <a:pt x="702" y="84"/>
                </a:lnTo>
                <a:lnTo>
                  <a:pt x="720" y="72"/>
                </a:lnTo>
                <a:lnTo>
                  <a:pt x="738" y="66"/>
                </a:lnTo>
                <a:lnTo>
                  <a:pt x="756" y="60"/>
                </a:lnTo>
                <a:lnTo>
                  <a:pt x="768" y="60"/>
                </a:lnTo>
                <a:lnTo>
                  <a:pt x="798" y="72"/>
                </a:lnTo>
                <a:lnTo>
                  <a:pt x="804" y="78"/>
                </a:lnTo>
                <a:lnTo>
                  <a:pt x="816" y="84"/>
                </a:lnTo>
                <a:lnTo>
                  <a:pt x="822" y="84"/>
                </a:lnTo>
                <a:lnTo>
                  <a:pt x="828" y="72"/>
                </a:lnTo>
                <a:lnTo>
                  <a:pt x="828" y="60"/>
                </a:lnTo>
                <a:lnTo>
                  <a:pt x="828" y="36"/>
                </a:lnTo>
                <a:lnTo>
                  <a:pt x="828" y="24"/>
                </a:lnTo>
                <a:lnTo>
                  <a:pt x="828" y="12"/>
                </a:lnTo>
                <a:lnTo>
                  <a:pt x="834" y="12"/>
                </a:lnTo>
                <a:lnTo>
                  <a:pt x="852" y="6"/>
                </a:lnTo>
                <a:lnTo>
                  <a:pt x="876" y="6"/>
                </a:lnTo>
                <a:lnTo>
                  <a:pt x="894" y="6"/>
                </a:lnTo>
                <a:lnTo>
                  <a:pt x="906" y="12"/>
                </a:lnTo>
                <a:lnTo>
                  <a:pt x="912" y="24"/>
                </a:lnTo>
                <a:lnTo>
                  <a:pt x="924" y="24"/>
                </a:lnTo>
                <a:lnTo>
                  <a:pt x="930" y="30"/>
                </a:lnTo>
                <a:lnTo>
                  <a:pt x="936" y="30"/>
                </a:lnTo>
                <a:lnTo>
                  <a:pt x="936" y="36"/>
                </a:lnTo>
                <a:lnTo>
                  <a:pt x="942" y="36"/>
                </a:lnTo>
                <a:lnTo>
                  <a:pt x="948" y="42"/>
                </a:lnTo>
                <a:lnTo>
                  <a:pt x="960" y="48"/>
                </a:lnTo>
                <a:lnTo>
                  <a:pt x="966" y="48"/>
                </a:lnTo>
                <a:lnTo>
                  <a:pt x="1026" y="60"/>
                </a:lnTo>
                <a:lnTo>
                  <a:pt x="1050" y="60"/>
                </a:lnTo>
                <a:lnTo>
                  <a:pt x="1050" y="54"/>
                </a:lnTo>
                <a:lnTo>
                  <a:pt x="1062" y="54"/>
                </a:lnTo>
                <a:lnTo>
                  <a:pt x="1074" y="48"/>
                </a:lnTo>
                <a:lnTo>
                  <a:pt x="1086" y="42"/>
                </a:lnTo>
                <a:lnTo>
                  <a:pt x="1104" y="36"/>
                </a:lnTo>
                <a:lnTo>
                  <a:pt x="1116" y="30"/>
                </a:lnTo>
                <a:lnTo>
                  <a:pt x="1122" y="24"/>
                </a:lnTo>
                <a:lnTo>
                  <a:pt x="1128" y="18"/>
                </a:lnTo>
                <a:lnTo>
                  <a:pt x="1134" y="18"/>
                </a:lnTo>
                <a:lnTo>
                  <a:pt x="1140" y="12"/>
                </a:lnTo>
                <a:lnTo>
                  <a:pt x="1146" y="6"/>
                </a:lnTo>
                <a:lnTo>
                  <a:pt x="1158" y="0"/>
                </a:lnTo>
                <a:lnTo>
                  <a:pt x="1158" y="6"/>
                </a:lnTo>
                <a:lnTo>
                  <a:pt x="1164" y="6"/>
                </a:lnTo>
                <a:lnTo>
                  <a:pt x="1164" y="12"/>
                </a:lnTo>
                <a:lnTo>
                  <a:pt x="1170" y="24"/>
                </a:lnTo>
                <a:lnTo>
                  <a:pt x="1176" y="36"/>
                </a:lnTo>
                <a:lnTo>
                  <a:pt x="1188" y="42"/>
                </a:lnTo>
                <a:lnTo>
                  <a:pt x="1200" y="54"/>
                </a:lnTo>
                <a:lnTo>
                  <a:pt x="1224" y="84"/>
                </a:lnTo>
                <a:lnTo>
                  <a:pt x="1224" y="90"/>
                </a:lnTo>
                <a:lnTo>
                  <a:pt x="1236" y="96"/>
                </a:lnTo>
                <a:lnTo>
                  <a:pt x="1236" y="108"/>
                </a:lnTo>
                <a:lnTo>
                  <a:pt x="1248" y="114"/>
                </a:lnTo>
                <a:lnTo>
                  <a:pt x="1254" y="114"/>
                </a:lnTo>
                <a:lnTo>
                  <a:pt x="1260" y="114"/>
                </a:lnTo>
                <a:lnTo>
                  <a:pt x="1296" y="114"/>
                </a:lnTo>
                <a:lnTo>
                  <a:pt x="1302" y="114"/>
                </a:lnTo>
                <a:lnTo>
                  <a:pt x="1320" y="108"/>
                </a:lnTo>
                <a:lnTo>
                  <a:pt x="1326" y="108"/>
                </a:lnTo>
                <a:lnTo>
                  <a:pt x="1326" y="138"/>
                </a:lnTo>
                <a:lnTo>
                  <a:pt x="1326" y="210"/>
                </a:lnTo>
                <a:lnTo>
                  <a:pt x="1320" y="252"/>
                </a:lnTo>
                <a:lnTo>
                  <a:pt x="1320" y="270"/>
                </a:lnTo>
                <a:lnTo>
                  <a:pt x="1320" y="288"/>
                </a:lnTo>
                <a:lnTo>
                  <a:pt x="1320" y="318"/>
                </a:lnTo>
                <a:lnTo>
                  <a:pt x="1326" y="354"/>
                </a:lnTo>
                <a:lnTo>
                  <a:pt x="1326" y="372"/>
                </a:lnTo>
                <a:lnTo>
                  <a:pt x="1332" y="420"/>
                </a:lnTo>
                <a:lnTo>
                  <a:pt x="1332" y="450"/>
                </a:lnTo>
                <a:lnTo>
                  <a:pt x="1338" y="480"/>
                </a:lnTo>
                <a:lnTo>
                  <a:pt x="1344" y="486"/>
                </a:lnTo>
                <a:lnTo>
                  <a:pt x="1338" y="492"/>
                </a:lnTo>
                <a:lnTo>
                  <a:pt x="1344" y="492"/>
                </a:lnTo>
                <a:lnTo>
                  <a:pt x="1344" y="498"/>
                </a:lnTo>
                <a:lnTo>
                  <a:pt x="1350" y="498"/>
                </a:lnTo>
                <a:lnTo>
                  <a:pt x="1350" y="522"/>
                </a:lnTo>
                <a:lnTo>
                  <a:pt x="1362" y="564"/>
                </a:lnTo>
                <a:lnTo>
                  <a:pt x="1368" y="582"/>
                </a:lnTo>
                <a:lnTo>
                  <a:pt x="1380" y="600"/>
                </a:lnTo>
                <a:lnTo>
                  <a:pt x="1386" y="636"/>
                </a:lnTo>
                <a:lnTo>
                  <a:pt x="1380" y="660"/>
                </a:lnTo>
                <a:lnTo>
                  <a:pt x="1380" y="678"/>
                </a:lnTo>
                <a:lnTo>
                  <a:pt x="1380" y="684"/>
                </a:lnTo>
                <a:lnTo>
                  <a:pt x="1374" y="684"/>
                </a:lnTo>
                <a:lnTo>
                  <a:pt x="1368" y="690"/>
                </a:lnTo>
                <a:lnTo>
                  <a:pt x="1356" y="702"/>
                </a:lnTo>
                <a:lnTo>
                  <a:pt x="1350" y="708"/>
                </a:lnTo>
                <a:lnTo>
                  <a:pt x="1356" y="714"/>
                </a:lnTo>
                <a:lnTo>
                  <a:pt x="1368" y="726"/>
                </a:lnTo>
                <a:lnTo>
                  <a:pt x="1380" y="738"/>
                </a:lnTo>
                <a:lnTo>
                  <a:pt x="1386" y="744"/>
                </a:lnTo>
                <a:lnTo>
                  <a:pt x="1392" y="744"/>
                </a:lnTo>
                <a:lnTo>
                  <a:pt x="1410" y="750"/>
                </a:lnTo>
                <a:lnTo>
                  <a:pt x="1416" y="756"/>
                </a:lnTo>
                <a:lnTo>
                  <a:pt x="1422" y="756"/>
                </a:lnTo>
                <a:lnTo>
                  <a:pt x="1422" y="762"/>
                </a:lnTo>
                <a:lnTo>
                  <a:pt x="1428" y="774"/>
                </a:lnTo>
                <a:lnTo>
                  <a:pt x="1428" y="780"/>
                </a:lnTo>
                <a:lnTo>
                  <a:pt x="1434" y="780"/>
                </a:lnTo>
                <a:lnTo>
                  <a:pt x="1440" y="798"/>
                </a:lnTo>
                <a:lnTo>
                  <a:pt x="1422" y="816"/>
                </a:lnTo>
                <a:lnTo>
                  <a:pt x="1386" y="810"/>
                </a:lnTo>
                <a:lnTo>
                  <a:pt x="1380" y="816"/>
                </a:lnTo>
                <a:lnTo>
                  <a:pt x="1374" y="840"/>
                </a:lnTo>
                <a:lnTo>
                  <a:pt x="1350" y="852"/>
                </a:lnTo>
                <a:lnTo>
                  <a:pt x="1350" y="858"/>
                </a:lnTo>
                <a:lnTo>
                  <a:pt x="1350" y="864"/>
                </a:lnTo>
                <a:lnTo>
                  <a:pt x="1344" y="864"/>
                </a:lnTo>
                <a:lnTo>
                  <a:pt x="1338" y="870"/>
                </a:lnTo>
                <a:lnTo>
                  <a:pt x="1332" y="876"/>
                </a:lnTo>
                <a:lnTo>
                  <a:pt x="1314" y="876"/>
                </a:lnTo>
                <a:lnTo>
                  <a:pt x="1314" y="870"/>
                </a:lnTo>
                <a:lnTo>
                  <a:pt x="1308" y="870"/>
                </a:lnTo>
                <a:lnTo>
                  <a:pt x="1302" y="864"/>
                </a:lnTo>
                <a:lnTo>
                  <a:pt x="1296" y="864"/>
                </a:lnTo>
                <a:lnTo>
                  <a:pt x="1284" y="870"/>
                </a:lnTo>
                <a:lnTo>
                  <a:pt x="1266" y="870"/>
                </a:lnTo>
                <a:lnTo>
                  <a:pt x="1260" y="870"/>
                </a:lnTo>
                <a:lnTo>
                  <a:pt x="1248" y="876"/>
                </a:lnTo>
                <a:lnTo>
                  <a:pt x="1236" y="876"/>
                </a:lnTo>
                <a:lnTo>
                  <a:pt x="1230" y="882"/>
                </a:lnTo>
                <a:lnTo>
                  <a:pt x="1224" y="894"/>
                </a:lnTo>
                <a:lnTo>
                  <a:pt x="1218" y="918"/>
                </a:lnTo>
                <a:lnTo>
                  <a:pt x="1218" y="930"/>
                </a:lnTo>
                <a:lnTo>
                  <a:pt x="1218" y="942"/>
                </a:lnTo>
                <a:lnTo>
                  <a:pt x="1212" y="948"/>
                </a:lnTo>
                <a:lnTo>
                  <a:pt x="1200" y="984"/>
                </a:lnTo>
                <a:lnTo>
                  <a:pt x="1194" y="1008"/>
                </a:lnTo>
                <a:lnTo>
                  <a:pt x="1218" y="1038"/>
                </a:lnTo>
                <a:lnTo>
                  <a:pt x="1224" y="1044"/>
                </a:lnTo>
                <a:lnTo>
                  <a:pt x="1224" y="1062"/>
                </a:lnTo>
                <a:lnTo>
                  <a:pt x="1236" y="1080"/>
                </a:lnTo>
                <a:lnTo>
                  <a:pt x="1236" y="1086"/>
                </a:lnTo>
                <a:lnTo>
                  <a:pt x="1230" y="1092"/>
                </a:lnTo>
                <a:lnTo>
                  <a:pt x="1224" y="1110"/>
                </a:lnTo>
                <a:lnTo>
                  <a:pt x="1218" y="1122"/>
                </a:lnTo>
                <a:lnTo>
                  <a:pt x="1224" y="1140"/>
                </a:lnTo>
                <a:lnTo>
                  <a:pt x="1218" y="1146"/>
                </a:lnTo>
                <a:lnTo>
                  <a:pt x="1218" y="1152"/>
                </a:lnTo>
                <a:lnTo>
                  <a:pt x="1212" y="1164"/>
                </a:lnTo>
                <a:close/>
              </a:path>
            </a:pathLst>
          </a:custGeom>
          <a:noFill/>
          <a:ln w="9525" cap="flat" cmpd="sng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80" name="Freeform 36">
            <a:extLst>
              <a:ext uri="{FF2B5EF4-FFF2-40B4-BE49-F238E27FC236}">
                <a16:creationId xmlns:a16="http://schemas.microsoft.com/office/drawing/2014/main" id="{5FD5BC17-4AB1-44C6-9D43-B9A18DB4937A}"/>
              </a:ext>
            </a:extLst>
          </p:cNvPr>
          <p:cNvSpPr>
            <a:spLocks/>
          </p:cNvSpPr>
          <p:nvPr/>
        </p:nvSpPr>
        <p:spPr bwMode="gray">
          <a:xfrm>
            <a:off x="4406463" y="2217712"/>
            <a:ext cx="801824" cy="831338"/>
          </a:xfrm>
          <a:custGeom>
            <a:avLst/>
            <a:gdLst>
              <a:gd name="T0" fmla="*/ 75 w 1398"/>
              <a:gd name="T1" fmla="*/ 48 h 1428"/>
              <a:gd name="T2" fmla="*/ 68 w 1398"/>
              <a:gd name="T3" fmla="*/ 54 h 1428"/>
              <a:gd name="T4" fmla="*/ 57 w 1398"/>
              <a:gd name="T5" fmla="*/ 59 h 1428"/>
              <a:gd name="T6" fmla="*/ 55 w 1398"/>
              <a:gd name="T7" fmla="*/ 68 h 1428"/>
              <a:gd name="T8" fmla="*/ 55 w 1398"/>
              <a:gd name="T9" fmla="*/ 77 h 1428"/>
              <a:gd name="T10" fmla="*/ 57 w 1398"/>
              <a:gd name="T11" fmla="*/ 81 h 1428"/>
              <a:gd name="T12" fmla="*/ 56 w 1398"/>
              <a:gd name="T13" fmla="*/ 86 h 1428"/>
              <a:gd name="T14" fmla="*/ 57 w 1398"/>
              <a:gd name="T15" fmla="*/ 89 h 1428"/>
              <a:gd name="T16" fmla="*/ 58 w 1398"/>
              <a:gd name="T17" fmla="*/ 92 h 1428"/>
              <a:gd name="T18" fmla="*/ 58 w 1398"/>
              <a:gd name="T19" fmla="*/ 96 h 1428"/>
              <a:gd name="T20" fmla="*/ 49 w 1398"/>
              <a:gd name="T21" fmla="*/ 100 h 1428"/>
              <a:gd name="T22" fmla="*/ 47 w 1398"/>
              <a:gd name="T23" fmla="*/ 108 h 1428"/>
              <a:gd name="T24" fmla="*/ 48 w 1398"/>
              <a:gd name="T25" fmla="*/ 113 h 1428"/>
              <a:gd name="T26" fmla="*/ 43 w 1398"/>
              <a:gd name="T27" fmla="*/ 114 h 1428"/>
              <a:gd name="T28" fmla="*/ 39 w 1398"/>
              <a:gd name="T29" fmla="*/ 113 h 1428"/>
              <a:gd name="T30" fmla="*/ 33 w 1398"/>
              <a:gd name="T31" fmla="*/ 109 h 1428"/>
              <a:gd name="T32" fmla="*/ 29 w 1398"/>
              <a:gd name="T33" fmla="*/ 114 h 1428"/>
              <a:gd name="T34" fmla="*/ 22 w 1398"/>
              <a:gd name="T35" fmla="*/ 115 h 1428"/>
              <a:gd name="T36" fmla="*/ 21 w 1398"/>
              <a:gd name="T37" fmla="*/ 121 h 1428"/>
              <a:gd name="T38" fmla="*/ 12 w 1398"/>
              <a:gd name="T39" fmla="*/ 119 h 1428"/>
              <a:gd name="T40" fmla="*/ 9 w 1398"/>
              <a:gd name="T41" fmla="*/ 113 h 1428"/>
              <a:gd name="T42" fmla="*/ 2 w 1398"/>
              <a:gd name="T43" fmla="*/ 109 h 1428"/>
              <a:gd name="T44" fmla="*/ 4 w 1398"/>
              <a:gd name="T45" fmla="*/ 103 h 1428"/>
              <a:gd name="T46" fmla="*/ 2 w 1398"/>
              <a:gd name="T47" fmla="*/ 91 h 1428"/>
              <a:gd name="T48" fmla="*/ 6 w 1398"/>
              <a:gd name="T49" fmla="*/ 85 h 1428"/>
              <a:gd name="T50" fmla="*/ 10 w 1398"/>
              <a:gd name="T51" fmla="*/ 85 h 1428"/>
              <a:gd name="T52" fmla="*/ 15 w 1398"/>
              <a:gd name="T53" fmla="*/ 82 h 1428"/>
              <a:gd name="T54" fmla="*/ 20 w 1398"/>
              <a:gd name="T55" fmla="*/ 77 h 1428"/>
              <a:gd name="T56" fmla="*/ 16 w 1398"/>
              <a:gd name="T57" fmla="*/ 73 h 1428"/>
              <a:gd name="T58" fmla="*/ 16 w 1398"/>
              <a:gd name="T59" fmla="*/ 69 h 1428"/>
              <a:gd name="T60" fmla="*/ 14 w 1398"/>
              <a:gd name="T61" fmla="*/ 54 h 1428"/>
              <a:gd name="T62" fmla="*/ 12 w 1398"/>
              <a:gd name="T63" fmla="*/ 48 h 1428"/>
              <a:gd name="T64" fmla="*/ 11 w 1398"/>
              <a:gd name="T65" fmla="*/ 31 h 1428"/>
              <a:gd name="T66" fmla="*/ 14 w 1398"/>
              <a:gd name="T67" fmla="*/ 18 h 1428"/>
              <a:gd name="T68" fmla="*/ 19 w 1398"/>
              <a:gd name="T69" fmla="*/ 15 h 1428"/>
              <a:gd name="T70" fmla="*/ 26 w 1398"/>
              <a:gd name="T71" fmla="*/ 13 h 1428"/>
              <a:gd name="T72" fmla="*/ 34 w 1398"/>
              <a:gd name="T73" fmla="*/ 12 h 1428"/>
              <a:gd name="T74" fmla="*/ 39 w 1398"/>
              <a:gd name="T75" fmla="*/ 9 h 1428"/>
              <a:gd name="T76" fmla="*/ 43 w 1398"/>
              <a:gd name="T77" fmla="*/ 7 h 1428"/>
              <a:gd name="T78" fmla="*/ 48 w 1398"/>
              <a:gd name="T79" fmla="*/ 3 h 1428"/>
              <a:gd name="T80" fmla="*/ 54 w 1398"/>
              <a:gd name="T81" fmla="*/ 0 h 1428"/>
              <a:gd name="T82" fmla="*/ 58 w 1398"/>
              <a:gd name="T83" fmla="*/ 0 h 1428"/>
              <a:gd name="T84" fmla="*/ 66 w 1398"/>
              <a:gd name="T85" fmla="*/ 2 h 1428"/>
              <a:gd name="T86" fmla="*/ 70 w 1398"/>
              <a:gd name="T87" fmla="*/ 3 h 1428"/>
              <a:gd name="T88" fmla="*/ 75 w 1398"/>
              <a:gd name="T89" fmla="*/ 6 h 1428"/>
              <a:gd name="T90" fmla="*/ 80 w 1398"/>
              <a:gd name="T91" fmla="*/ 9 h 1428"/>
              <a:gd name="T92" fmla="*/ 83 w 1398"/>
              <a:gd name="T93" fmla="*/ 12 h 1428"/>
              <a:gd name="T94" fmla="*/ 87 w 1398"/>
              <a:gd name="T95" fmla="*/ 15 h 1428"/>
              <a:gd name="T96" fmla="*/ 94 w 1398"/>
              <a:gd name="T97" fmla="*/ 15 h 1428"/>
              <a:gd name="T98" fmla="*/ 99 w 1398"/>
              <a:gd name="T99" fmla="*/ 21 h 1428"/>
              <a:gd name="T100" fmla="*/ 103 w 1398"/>
              <a:gd name="T101" fmla="*/ 23 h 1428"/>
              <a:gd name="T102" fmla="*/ 110 w 1398"/>
              <a:gd name="T103" fmla="*/ 26 h 1428"/>
              <a:gd name="T104" fmla="*/ 116 w 1398"/>
              <a:gd name="T105" fmla="*/ 27 h 1428"/>
              <a:gd name="T106" fmla="*/ 120 w 1398"/>
              <a:gd name="T107" fmla="*/ 27 h 1428"/>
              <a:gd name="T108" fmla="*/ 116 w 1398"/>
              <a:gd name="T109" fmla="*/ 35 h 1428"/>
              <a:gd name="T110" fmla="*/ 104 w 1398"/>
              <a:gd name="T111" fmla="*/ 37 h 1428"/>
              <a:gd name="T112" fmla="*/ 97 w 1398"/>
              <a:gd name="T113" fmla="*/ 34 h 1428"/>
              <a:gd name="T114" fmla="*/ 91 w 1398"/>
              <a:gd name="T115" fmla="*/ 29 h 1428"/>
              <a:gd name="T116" fmla="*/ 75 w 1398"/>
              <a:gd name="T117" fmla="*/ 29 h 1428"/>
              <a:gd name="T118" fmla="*/ 72 w 1398"/>
              <a:gd name="T119" fmla="*/ 39 h 1428"/>
              <a:gd name="T120" fmla="*/ 80 w 1398"/>
              <a:gd name="T121" fmla="*/ 41 h 1428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398"/>
              <a:gd name="T184" fmla="*/ 0 h 1428"/>
              <a:gd name="T185" fmla="*/ 1398 w 1398"/>
              <a:gd name="T186" fmla="*/ 1428 h 1428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398" h="1428">
                <a:moveTo>
                  <a:pt x="924" y="474"/>
                </a:moveTo>
                <a:lnTo>
                  <a:pt x="900" y="480"/>
                </a:lnTo>
                <a:lnTo>
                  <a:pt x="864" y="486"/>
                </a:lnTo>
                <a:lnTo>
                  <a:pt x="864" y="504"/>
                </a:lnTo>
                <a:lnTo>
                  <a:pt x="858" y="522"/>
                </a:lnTo>
                <a:lnTo>
                  <a:pt x="864" y="528"/>
                </a:lnTo>
                <a:lnTo>
                  <a:pt x="864" y="552"/>
                </a:lnTo>
                <a:lnTo>
                  <a:pt x="852" y="552"/>
                </a:lnTo>
                <a:lnTo>
                  <a:pt x="846" y="564"/>
                </a:lnTo>
                <a:lnTo>
                  <a:pt x="840" y="582"/>
                </a:lnTo>
                <a:lnTo>
                  <a:pt x="834" y="594"/>
                </a:lnTo>
                <a:lnTo>
                  <a:pt x="828" y="606"/>
                </a:lnTo>
                <a:lnTo>
                  <a:pt x="828" y="618"/>
                </a:lnTo>
                <a:lnTo>
                  <a:pt x="786" y="630"/>
                </a:lnTo>
                <a:lnTo>
                  <a:pt x="774" y="636"/>
                </a:lnTo>
                <a:lnTo>
                  <a:pt x="762" y="642"/>
                </a:lnTo>
                <a:lnTo>
                  <a:pt x="744" y="648"/>
                </a:lnTo>
                <a:lnTo>
                  <a:pt x="714" y="660"/>
                </a:lnTo>
                <a:lnTo>
                  <a:pt x="696" y="666"/>
                </a:lnTo>
                <a:lnTo>
                  <a:pt x="666" y="672"/>
                </a:lnTo>
                <a:lnTo>
                  <a:pt x="654" y="684"/>
                </a:lnTo>
                <a:lnTo>
                  <a:pt x="648" y="684"/>
                </a:lnTo>
                <a:lnTo>
                  <a:pt x="642" y="696"/>
                </a:lnTo>
                <a:lnTo>
                  <a:pt x="636" y="696"/>
                </a:lnTo>
                <a:lnTo>
                  <a:pt x="630" y="714"/>
                </a:lnTo>
                <a:lnTo>
                  <a:pt x="624" y="738"/>
                </a:lnTo>
                <a:lnTo>
                  <a:pt x="624" y="762"/>
                </a:lnTo>
                <a:lnTo>
                  <a:pt x="630" y="780"/>
                </a:lnTo>
                <a:lnTo>
                  <a:pt x="636" y="804"/>
                </a:lnTo>
                <a:lnTo>
                  <a:pt x="642" y="822"/>
                </a:lnTo>
                <a:lnTo>
                  <a:pt x="642" y="828"/>
                </a:lnTo>
                <a:lnTo>
                  <a:pt x="636" y="828"/>
                </a:lnTo>
                <a:lnTo>
                  <a:pt x="636" y="834"/>
                </a:lnTo>
                <a:lnTo>
                  <a:pt x="636" y="870"/>
                </a:lnTo>
                <a:lnTo>
                  <a:pt x="636" y="882"/>
                </a:lnTo>
                <a:lnTo>
                  <a:pt x="636" y="906"/>
                </a:lnTo>
                <a:lnTo>
                  <a:pt x="630" y="906"/>
                </a:lnTo>
                <a:lnTo>
                  <a:pt x="636" y="918"/>
                </a:lnTo>
                <a:lnTo>
                  <a:pt x="642" y="918"/>
                </a:lnTo>
                <a:lnTo>
                  <a:pt x="642" y="930"/>
                </a:lnTo>
                <a:lnTo>
                  <a:pt x="648" y="936"/>
                </a:lnTo>
                <a:lnTo>
                  <a:pt x="654" y="936"/>
                </a:lnTo>
                <a:lnTo>
                  <a:pt x="654" y="942"/>
                </a:lnTo>
                <a:lnTo>
                  <a:pt x="654" y="948"/>
                </a:lnTo>
                <a:lnTo>
                  <a:pt x="648" y="954"/>
                </a:lnTo>
                <a:lnTo>
                  <a:pt x="648" y="960"/>
                </a:lnTo>
                <a:lnTo>
                  <a:pt x="648" y="966"/>
                </a:lnTo>
                <a:lnTo>
                  <a:pt x="648" y="972"/>
                </a:lnTo>
                <a:lnTo>
                  <a:pt x="648" y="990"/>
                </a:lnTo>
                <a:lnTo>
                  <a:pt x="654" y="996"/>
                </a:lnTo>
                <a:lnTo>
                  <a:pt x="648" y="1002"/>
                </a:lnTo>
                <a:lnTo>
                  <a:pt x="648" y="1008"/>
                </a:lnTo>
                <a:lnTo>
                  <a:pt x="654" y="1014"/>
                </a:lnTo>
                <a:lnTo>
                  <a:pt x="654" y="1020"/>
                </a:lnTo>
                <a:lnTo>
                  <a:pt x="654" y="1026"/>
                </a:lnTo>
                <a:lnTo>
                  <a:pt x="660" y="1026"/>
                </a:lnTo>
                <a:lnTo>
                  <a:pt x="660" y="1032"/>
                </a:lnTo>
                <a:lnTo>
                  <a:pt x="660" y="1038"/>
                </a:lnTo>
                <a:lnTo>
                  <a:pt x="666" y="1044"/>
                </a:lnTo>
                <a:lnTo>
                  <a:pt x="672" y="1050"/>
                </a:lnTo>
                <a:lnTo>
                  <a:pt x="672" y="1056"/>
                </a:lnTo>
                <a:lnTo>
                  <a:pt x="672" y="1062"/>
                </a:lnTo>
                <a:lnTo>
                  <a:pt x="672" y="1068"/>
                </a:lnTo>
                <a:lnTo>
                  <a:pt x="672" y="1074"/>
                </a:lnTo>
                <a:lnTo>
                  <a:pt x="678" y="1074"/>
                </a:lnTo>
                <a:lnTo>
                  <a:pt x="678" y="1080"/>
                </a:lnTo>
                <a:lnTo>
                  <a:pt x="678" y="1086"/>
                </a:lnTo>
                <a:lnTo>
                  <a:pt x="672" y="1092"/>
                </a:lnTo>
                <a:lnTo>
                  <a:pt x="672" y="1098"/>
                </a:lnTo>
                <a:lnTo>
                  <a:pt x="672" y="1104"/>
                </a:lnTo>
                <a:lnTo>
                  <a:pt x="666" y="1116"/>
                </a:lnTo>
                <a:lnTo>
                  <a:pt x="624" y="1122"/>
                </a:lnTo>
                <a:lnTo>
                  <a:pt x="576" y="1134"/>
                </a:lnTo>
                <a:lnTo>
                  <a:pt x="570" y="1140"/>
                </a:lnTo>
                <a:lnTo>
                  <a:pt x="570" y="1146"/>
                </a:lnTo>
                <a:lnTo>
                  <a:pt x="564" y="1146"/>
                </a:lnTo>
                <a:lnTo>
                  <a:pt x="564" y="1152"/>
                </a:lnTo>
                <a:lnTo>
                  <a:pt x="564" y="1164"/>
                </a:lnTo>
                <a:lnTo>
                  <a:pt x="564" y="1170"/>
                </a:lnTo>
                <a:lnTo>
                  <a:pt x="564" y="1176"/>
                </a:lnTo>
                <a:lnTo>
                  <a:pt x="546" y="1176"/>
                </a:lnTo>
                <a:lnTo>
                  <a:pt x="540" y="1212"/>
                </a:lnTo>
                <a:lnTo>
                  <a:pt x="540" y="1230"/>
                </a:lnTo>
                <a:lnTo>
                  <a:pt x="546" y="1242"/>
                </a:lnTo>
                <a:lnTo>
                  <a:pt x="546" y="1254"/>
                </a:lnTo>
                <a:lnTo>
                  <a:pt x="558" y="1266"/>
                </a:lnTo>
                <a:lnTo>
                  <a:pt x="576" y="1272"/>
                </a:lnTo>
                <a:lnTo>
                  <a:pt x="570" y="1278"/>
                </a:lnTo>
                <a:lnTo>
                  <a:pt x="576" y="1284"/>
                </a:lnTo>
                <a:lnTo>
                  <a:pt x="570" y="1296"/>
                </a:lnTo>
                <a:lnTo>
                  <a:pt x="558" y="1302"/>
                </a:lnTo>
                <a:lnTo>
                  <a:pt x="540" y="1308"/>
                </a:lnTo>
                <a:lnTo>
                  <a:pt x="522" y="1314"/>
                </a:lnTo>
                <a:lnTo>
                  <a:pt x="516" y="1314"/>
                </a:lnTo>
                <a:lnTo>
                  <a:pt x="510" y="1314"/>
                </a:lnTo>
                <a:lnTo>
                  <a:pt x="504" y="1314"/>
                </a:lnTo>
                <a:lnTo>
                  <a:pt x="498" y="1320"/>
                </a:lnTo>
                <a:lnTo>
                  <a:pt x="492" y="1320"/>
                </a:lnTo>
                <a:lnTo>
                  <a:pt x="492" y="1326"/>
                </a:lnTo>
                <a:lnTo>
                  <a:pt x="486" y="1326"/>
                </a:lnTo>
                <a:lnTo>
                  <a:pt x="480" y="1326"/>
                </a:lnTo>
                <a:lnTo>
                  <a:pt x="480" y="1320"/>
                </a:lnTo>
                <a:lnTo>
                  <a:pt x="468" y="1314"/>
                </a:lnTo>
                <a:lnTo>
                  <a:pt x="462" y="1308"/>
                </a:lnTo>
                <a:lnTo>
                  <a:pt x="456" y="1302"/>
                </a:lnTo>
                <a:lnTo>
                  <a:pt x="444" y="1296"/>
                </a:lnTo>
                <a:lnTo>
                  <a:pt x="420" y="1290"/>
                </a:lnTo>
                <a:lnTo>
                  <a:pt x="414" y="1278"/>
                </a:lnTo>
                <a:lnTo>
                  <a:pt x="408" y="1278"/>
                </a:lnTo>
                <a:lnTo>
                  <a:pt x="408" y="1266"/>
                </a:lnTo>
                <a:lnTo>
                  <a:pt x="402" y="1260"/>
                </a:lnTo>
                <a:lnTo>
                  <a:pt x="384" y="1260"/>
                </a:lnTo>
                <a:lnTo>
                  <a:pt x="372" y="1266"/>
                </a:lnTo>
                <a:lnTo>
                  <a:pt x="360" y="1272"/>
                </a:lnTo>
                <a:lnTo>
                  <a:pt x="348" y="1272"/>
                </a:lnTo>
                <a:lnTo>
                  <a:pt x="342" y="1284"/>
                </a:lnTo>
                <a:lnTo>
                  <a:pt x="336" y="1290"/>
                </a:lnTo>
                <a:lnTo>
                  <a:pt x="336" y="1308"/>
                </a:lnTo>
                <a:lnTo>
                  <a:pt x="336" y="1314"/>
                </a:lnTo>
                <a:lnTo>
                  <a:pt x="336" y="1320"/>
                </a:lnTo>
                <a:lnTo>
                  <a:pt x="330" y="1326"/>
                </a:lnTo>
                <a:lnTo>
                  <a:pt x="330" y="1332"/>
                </a:lnTo>
                <a:lnTo>
                  <a:pt x="330" y="1338"/>
                </a:lnTo>
                <a:lnTo>
                  <a:pt x="300" y="1338"/>
                </a:lnTo>
                <a:lnTo>
                  <a:pt x="288" y="1338"/>
                </a:lnTo>
                <a:lnTo>
                  <a:pt x="258" y="1326"/>
                </a:lnTo>
                <a:lnTo>
                  <a:pt x="246" y="1332"/>
                </a:lnTo>
                <a:lnTo>
                  <a:pt x="240" y="1338"/>
                </a:lnTo>
                <a:lnTo>
                  <a:pt x="234" y="1338"/>
                </a:lnTo>
                <a:lnTo>
                  <a:pt x="228" y="1350"/>
                </a:lnTo>
                <a:lnTo>
                  <a:pt x="228" y="1374"/>
                </a:lnTo>
                <a:lnTo>
                  <a:pt x="234" y="1392"/>
                </a:lnTo>
                <a:lnTo>
                  <a:pt x="246" y="1398"/>
                </a:lnTo>
                <a:lnTo>
                  <a:pt x="246" y="1410"/>
                </a:lnTo>
                <a:lnTo>
                  <a:pt x="216" y="1428"/>
                </a:lnTo>
                <a:lnTo>
                  <a:pt x="198" y="1428"/>
                </a:lnTo>
                <a:lnTo>
                  <a:pt x="192" y="1422"/>
                </a:lnTo>
                <a:lnTo>
                  <a:pt x="174" y="1410"/>
                </a:lnTo>
                <a:lnTo>
                  <a:pt x="156" y="1386"/>
                </a:lnTo>
                <a:lnTo>
                  <a:pt x="132" y="1374"/>
                </a:lnTo>
                <a:lnTo>
                  <a:pt x="108" y="1368"/>
                </a:lnTo>
                <a:lnTo>
                  <a:pt x="84" y="1368"/>
                </a:lnTo>
                <a:lnTo>
                  <a:pt x="96" y="1356"/>
                </a:lnTo>
                <a:lnTo>
                  <a:pt x="102" y="1344"/>
                </a:lnTo>
                <a:lnTo>
                  <a:pt x="102" y="1332"/>
                </a:lnTo>
                <a:lnTo>
                  <a:pt x="108" y="1320"/>
                </a:lnTo>
                <a:lnTo>
                  <a:pt x="108" y="1302"/>
                </a:lnTo>
                <a:lnTo>
                  <a:pt x="96" y="1278"/>
                </a:lnTo>
                <a:lnTo>
                  <a:pt x="66" y="1284"/>
                </a:lnTo>
                <a:lnTo>
                  <a:pt x="54" y="1278"/>
                </a:lnTo>
                <a:lnTo>
                  <a:pt x="36" y="1278"/>
                </a:lnTo>
                <a:lnTo>
                  <a:pt x="18" y="1284"/>
                </a:lnTo>
                <a:lnTo>
                  <a:pt x="18" y="1272"/>
                </a:lnTo>
                <a:lnTo>
                  <a:pt x="24" y="1260"/>
                </a:lnTo>
                <a:lnTo>
                  <a:pt x="24" y="1254"/>
                </a:lnTo>
                <a:lnTo>
                  <a:pt x="30" y="1248"/>
                </a:lnTo>
                <a:lnTo>
                  <a:pt x="24" y="1230"/>
                </a:lnTo>
                <a:lnTo>
                  <a:pt x="30" y="1218"/>
                </a:lnTo>
                <a:lnTo>
                  <a:pt x="36" y="1200"/>
                </a:lnTo>
                <a:lnTo>
                  <a:pt x="42" y="1194"/>
                </a:lnTo>
                <a:lnTo>
                  <a:pt x="42" y="1188"/>
                </a:lnTo>
                <a:lnTo>
                  <a:pt x="30" y="1170"/>
                </a:lnTo>
                <a:lnTo>
                  <a:pt x="30" y="1152"/>
                </a:lnTo>
                <a:lnTo>
                  <a:pt x="24" y="1146"/>
                </a:lnTo>
                <a:lnTo>
                  <a:pt x="0" y="1116"/>
                </a:lnTo>
                <a:lnTo>
                  <a:pt x="6" y="1092"/>
                </a:lnTo>
                <a:lnTo>
                  <a:pt x="18" y="1056"/>
                </a:lnTo>
                <a:lnTo>
                  <a:pt x="24" y="1050"/>
                </a:lnTo>
                <a:lnTo>
                  <a:pt x="24" y="1038"/>
                </a:lnTo>
                <a:lnTo>
                  <a:pt x="24" y="1026"/>
                </a:lnTo>
                <a:lnTo>
                  <a:pt x="30" y="1002"/>
                </a:lnTo>
                <a:lnTo>
                  <a:pt x="36" y="990"/>
                </a:lnTo>
                <a:lnTo>
                  <a:pt x="42" y="984"/>
                </a:lnTo>
                <a:lnTo>
                  <a:pt x="54" y="984"/>
                </a:lnTo>
                <a:lnTo>
                  <a:pt x="66" y="978"/>
                </a:lnTo>
                <a:lnTo>
                  <a:pt x="72" y="978"/>
                </a:lnTo>
                <a:lnTo>
                  <a:pt x="90" y="978"/>
                </a:lnTo>
                <a:lnTo>
                  <a:pt x="102" y="972"/>
                </a:lnTo>
                <a:lnTo>
                  <a:pt x="108" y="972"/>
                </a:lnTo>
                <a:lnTo>
                  <a:pt x="114" y="978"/>
                </a:lnTo>
                <a:lnTo>
                  <a:pt x="120" y="978"/>
                </a:lnTo>
                <a:lnTo>
                  <a:pt x="120" y="984"/>
                </a:lnTo>
                <a:lnTo>
                  <a:pt x="138" y="984"/>
                </a:lnTo>
                <a:lnTo>
                  <a:pt x="144" y="978"/>
                </a:lnTo>
                <a:lnTo>
                  <a:pt x="150" y="972"/>
                </a:lnTo>
                <a:lnTo>
                  <a:pt x="156" y="972"/>
                </a:lnTo>
                <a:lnTo>
                  <a:pt x="156" y="966"/>
                </a:lnTo>
                <a:lnTo>
                  <a:pt x="156" y="960"/>
                </a:lnTo>
                <a:lnTo>
                  <a:pt x="180" y="948"/>
                </a:lnTo>
                <a:lnTo>
                  <a:pt x="186" y="924"/>
                </a:lnTo>
                <a:lnTo>
                  <a:pt x="192" y="918"/>
                </a:lnTo>
                <a:lnTo>
                  <a:pt x="228" y="924"/>
                </a:lnTo>
                <a:lnTo>
                  <a:pt x="246" y="906"/>
                </a:lnTo>
                <a:lnTo>
                  <a:pt x="240" y="888"/>
                </a:lnTo>
                <a:lnTo>
                  <a:pt x="234" y="888"/>
                </a:lnTo>
                <a:lnTo>
                  <a:pt x="234" y="882"/>
                </a:lnTo>
                <a:lnTo>
                  <a:pt x="228" y="870"/>
                </a:lnTo>
                <a:lnTo>
                  <a:pt x="228" y="864"/>
                </a:lnTo>
                <a:lnTo>
                  <a:pt x="222" y="864"/>
                </a:lnTo>
                <a:lnTo>
                  <a:pt x="216" y="858"/>
                </a:lnTo>
                <a:lnTo>
                  <a:pt x="198" y="852"/>
                </a:lnTo>
                <a:lnTo>
                  <a:pt x="192" y="852"/>
                </a:lnTo>
                <a:lnTo>
                  <a:pt x="186" y="846"/>
                </a:lnTo>
                <a:lnTo>
                  <a:pt x="174" y="834"/>
                </a:lnTo>
                <a:lnTo>
                  <a:pt x="162" y="822"/>
                </a:lnTo>
                <a:lnTo>
                  <a:pt x="156" y="816"/>
                </a:lnTo>
                <a:lnTo>
                  <a:pt x="162" y="810"/>
                </a:lnTo>
                <a:lnTo>
                  <a:pt x="174" y="798"/>
                </a:lnTo>
                <a:lnTo>
                  <a:pt x="180" y="792"/>
                </a:lnTo>
                <a:lnTo>
                  <a:pt x="186" y="792"/>
                </a:lnTo>
                <a:lnTo>
                  <a:pt x="186" y="786"/>
                </a:lnTo>
                <a:lnTo>
                  <a:pt x="186" y="768"/>
                </a:lnTo>
                <a:lnTo>
                  <a:pt x="192" y="744"/>
                </a:lnTo>
                <a:lnTo>
                  <a:pt x="186" y="708"/>
                </a:lnTo>
                <a:lnTo>
                  <a:pt x="174" y="690"/>
                </a:lnTo>
                <a:lnTo>
                  <a:pt x="168" y="672"/>
                </a:lnTo>
                <a:lnTo>
                  <a:pt x="156" y="630"/>
                </a:lnTo>
                <a:lnTo>
                  <a:pt x="156" y="606"/>
                </a:lnTo>
                <a:lnTo>
                  <a:pt x="150" y="606"/>
                </a:lnTo>
                <a:lnTo>
                  <a:pt x="150" y="600"/>
                </a:lnTo>
                <a:lnTo>
                  <a:pt x="144" y="600"/>
                </a:lnTo>
                <a:lnTo>
                  <a:pt x="150" y="594"/>
                </a:lnTo>
                <a:lnTo>
                  <a:pt x="144" y="588"/>
                </a:lnTo>
                <a:lnTo>
                  <a:pt x="138" y="558"/>
                </a:lnTo>
                <a:lnTo>
                  <a:pt x="138" y="528"/>
                </a:lnTo>
                <a:lnTo>
                  <a:pt x="132" y="480"/>
                </a:lnTo>
                <a:lnTo>
                  <a:pt x="132" y="462"/>
                </a:lnTo>
                <a:lnTo>
                  <a:pt x="126" y="426"/>
                </a:lnTo>
                <a:lnTo>
                  <a:pt x="126" y="396"/>
                </a:lnTo>
                <a:lnTo>
                  <a:pt x="126" y="378"/>
                </a:lnTo>
                <a:lnTo>
                  <a:pt x="126" y="360"/>
                </a:lnTo>
                <a:lnTo>
                  <a:pt x="132" y="318"/>
                </a:lnTo>
                <a:lnTo>
                  <a:pt x="132" y="246"/>
                </a:lnTo>
                <a:lnTo>
                  <a:pt x="132" y="216"/>
                </a:lnTo>
                <a:lnTo>
                  <a:pt x="138" y="216"/>
                </a:lnTo>
                <a:lnTo>
                  <a:pt x="144" y="216"/>
                </a:lnTo>
                <a:lnTo>
                  <a:pt x="156" y="210"/>
                </a:lnTo>
                <a:lnTo>
                  <a:pt x="162" y="210"/>
                </a:lnTo>
                <a:lnTo>
                  <a:pt x="180" y="204"/>
                </a:lnTo>
                <a:lnTo>
                  <a:pt x="186" y="204"/>
                </a:lnTo>
                <a:lnTo>
                  <a:pt x="192" y="198"/>
                </a:lnTo>
                <a:lnTo>
                  <a:pt x="198" y="198"/>
                </a:lnTo>
                <a:lnTo>
                  <a:pt x="216" y="180"/>
                </a:lnTo>
                <a:lnTo>
                  <a:pt x="222" y="174"/>
                </a:lnTo>
                <a:lnTo>
                  <a:pt x="222" y="168"/>
                </a:lnTo>
                <a:lnTo>
                  <a:pt x="228" y="168"/>
                </a:lnTo>
                <a:lnTo>
                  <a:pt x="234" y="156"/>
                </a:lnTo>
                <a:lnTo>
                  <a:pt x="240" y="150"/>
                </a:lnTo>
                <a:lnTo>
                  <a:pt x="246" y="144"/>
                </a:lnTo>
                <a:lnTo>
                  <a:pt x="258" y="144"/>
                </a:lnTo>
                <a:lnTo>
                  <a:pt x="276" y="150"/>
                </a:lnTo>
                <a:lnTo>
                  <a:pt x="300" y="150"/>
                </a:lnTo>
                <a:lnTo>
                  <a:pt x="312" y="150"/>
                </a:lnTo>
                <a:lnTo>
                  <a:pt x="330" y="156"/>
                </a:lnTo>
                <a:lnTo>
                  <a:pt x="336" y="156"/>
                </a:lnTo>
                <a:lnTo>
                  <a:pt x="348" y="156"/>
                </a:lnTo>
                <a:lnTo>
                  <a:pt x="354" y="150"/>
                </a:lnTo>
                <a:lnTo>
                  <a:pt x="372" y="144"/>
                </a:lnTo>
                <a:lnTo>
                  <a:pt x="390" y="138"/>
                </a:lnTo>
                <a:lnTo>
                  <a:pt x="402" y="126"/>
                </a:lnTo>
                <a:lnTo>
                  <a:pt x="408" y="126"/>
                </a:lnTo>
                <a:lnTo>
                  <a:pt x="414" y="120"/>
                </a:lnTo>
                <a:lnTo>
                  <a:pt x="420" y="120"/>
                </a:lnTo>
                <a:lnTo>
                  <a:pt x="426" y="120"/>
                </a:lnTo>
                <a:lnTo>
                  <a:pt x="432" y="114"/>
                </a:lnTo>
                <a:lnTo>
                  <a:pt x="450" y="102"/>
                </a:lnTo>
                <a:lnTo>
                  <a:pt x="456" y="96"/>
                </a:lnTo>
                <a:lnTo>
                  <a:pt x="468" y="90"/>
                </a:lnTo>
                <a:lnTo>
                  <a:pt x="474" y="90"/>
                </a:lnTo>
                <a:lnTo>
                  <a:pt x="480" y="84"/>
                </a:lnTo>
                <a:lnTo>
                  <a:pt x="486" y="84"/>
                </a:lnTo>
                <a:lnTo>
                  <a:pt x="492" y="78"/>
                </a:lnTo>
                <a:lnTo>
                  <a:pt x="498" y="78"/>
                </a:lnTo>
                <a:lnTo>
                  <a:pt x="498" y="72"/>
                </a:lnTo>
                <a:lnTo>
                  <a:pt x="504" y="72"/>
                </a:lnTo>
                <a:lnTo>
                  <a:pt x="510" y="66"/>
                </a:lnTo>
                <a:lnTo>
                  <a:pt x="516" y="66"/>
                </a:lnTo>
                <a:lnTo>
                  <a:pt x="522" y="60"/>
                </a:lnTo>
                <a:lnTo>
                  <a:pt x="552" y="42"/>
                </a:lnTo>
                <a:lnTo>
                  <a:pt x="558" y="36"/>
                </a:lnTo>
                <a:lnTo>
                  <a:pt x="576" y="30"/>
                </a:lnTo>
                <a:lnTo>
                  <a:pt x="576" y="24"/>
                </a:lnTo>
                <a:lnTo>
                  <a:pt x="582" y="24"/>
                </a:lnTo>
                <a:lnTo>
                  <a:pt x="594" y="18"/>
                </a:lnTo>
                <a:lnTo>
                  <a:pt x="600" y="12"/>
                </a:lnTo>
                <a:lnTo>
                  <a:pt x="612" y="6"/>
                </a:lnTo>
                <a:lnTo>
                  <a:pt x="624" y="0"/>
                </a:lnTo>
                <a:lnTo>
                  <a:pt x="630" y="0"/>
                </a:lnTo>
                <a:lnTo>
                  <a:pt x="636" y="0"/>
                </a:lnTo>
                <a:lnTo>
                  <a:pt x="642" y="6"/>
                </a:lnTo>
                <a:lnTo>
                  <a:pt x="648" y="6"/>
                </a:lnTo>
                <a:lnTo>
                  <a:pt x="660" y="6"/>
                </a:lnTo>
                <a:lnTo>
                  <a:pt x="666" y="6"/>
                </a:lnTo>
                <a:lnTo>
                  <a:pt x="672" y="6"/>
                </a:lnTo>
                <a:lnTo>
                  <a:pt x="678" y="6"/>
                </a:lnTo>
                <a:lnTo>
                  <a:pt x="684" y="6"/>
                </a:lnTo>
                <a:lnTo>
                  <a:pt x="708" y="12"/>
                </a:lnTo>
                <a:lnTo>
                  <a:pt x="732" y="12"/>
                </a:lnTo>
                <a:lnTo>
                  <a:pt x="738" y="18"/>
                </a:lnTo>
                <a:lnTo>
                  <a:pt x="744" y="18"/>
                </a:lnTo>
                <a:lnTo>
                  <a:pt x="756" y="18"/>
                </a:lnTo>
                <a:lnTo>
                  <a:pt x="762" y="18"/>
                </a:lnTo>
                <a:lnTo>
                  <a:pt x="762" y="24"/>
                </a:lnTo>
                <a:lnTo>
                  <a:pt x="768" y="24"/>
                </a:lnTo>
                <a:lnTo>
                  <a:pt x="780" y="24"/>
                </a:lnTo>
                <a:lnTo>
                  <a:pt x="792" y="24"/>
                </a:lnTo>
                <a:lnTo>
                  <a:pt x="792" y="30"/>
                </a:lnTo>
                <a:lnTo>
                  <a:pt x="810" y="30"/>
                </a:lnTo>
                <a:lnTo>
                  <a:pt x="822" y="36"/>
                </a:lnTo>
                <a:lnTo>
                  <a:pt x="834" y="42"/>
                </a:lnTo>
                <a:lnTo>
                  <a:pt x="840" y="48"/>
                </a:lnTo>
                <a:lnTo>
                  <a:pt x="846" y="54"/>
                </a:lnTo>
                <a:lnTo>
                  <a:pt x="852" y="60"/>
                </a:lnTo>
                <a:lnTo>
                  <a:pt x="858" y="66"/>
                </a:lnTo>
                <a:lnTo>
                  <a:pt x="864" y="66"/>
                </a:lnTo>
                <a:lnTo>
                  <a:pt x="864" y="72"/>
                </a:lnTo>
                <a:lnTo>
                  <a:pt x="876" y="78"/>
                </a:lnTo>
                <a:lnTo>
                  <a:pt x="900" y="84"/>
                </a:lnTo>
                <a:lnTo>
                  <a:pt x="906" y="90"/>
                </a:lnTo>
                <a:lnTo>
                  <a:pt x="912" y="90"/>
                </a:lnTo>
                <a:lnTo>
                  <a:pt x="912" y="96"/>
                </a:lnTo>
                <a:lnTo>
                  <a:pt x="924" y="108"/>
                </a:lnTo>
                <a:lnTo>
                  <a:pt x="930" y="108"/>
                </a:lnTo>
                <a:lnTo>
                  <a:pt x="936" y="114"/>
                </a:lnTo>
                <a:lnTo>
                  <a:pt x="936" y="120"/>
                </a:lnTo>
                <a:lnTo>
                  <a:pt x="942" y="120"/>
                </a:lnTo>
                <a:lnTo>
                  <a:pt x="942" y="126"/>
                </a:lnTo>
                <a:lnTo>
                  <a:pt x="948" y="132"/>
                </a:lnTo>
                <a:lnTo>
                  <a:pt x="960" y="138"/>
                </a:lnTo>
                <a:lnTo>
                  <a:pt x="966" y="144"/>
                </a:lnTo>
                <a:lnTo>
                  <a:pt x="972" y="156"/>
                </a:lnTo>
                <a:lnTo>
                  <a:pt x="978" y="162"/>
                </a:lnTo>
                <a:lnTo>
                  <a:pt x="984" y="162"/>
                </a:lnTo>
                <a:lnTo>
                  <a:pt x="990" y="168"/>
                </a:lnTo>
                <a:lnTo>
                  <a:pt x="996" y="174"/>
                </a:lnTo>
                <a:lnTo>
                  <a:pt x="1002" y="180"/>
                </a:lnTo>
                <a:lnTo>
                  <a:pt x="1008" y="180"/>
                </a:lnTo>
                <a:lnTo>
                  <a:pt x="1020" y="180"/>
                </a:lnTo>
                <a:lnTo>
                  <a:pt x="1038" y="174"/>
                </a:lnTo>
                <a:lnTo>
                  <a:pt x="1050" y="174"/>
                </a:lnTo>
                <a:lnTo>
                  <a:pt x="1056" y="174"/>
                </a:lnTo>
                <a:lnTo>
                  <a:pt x="1068" y="180"/>
                </a:lnTo>
                <a:lnTo>
                  <a:pt x="1080" y="180"/>
                </a:lnTo>
                <a:lnTo>
                  <a:pt x="1086" y="186"/>
                </a:lnTo>
                <a:lnTo>
                  <a:pt x="1098" y="192"/>
                </a:lnTo>
                <a:lnTo>
                  <a:pt x="1116" y="204"/>
                </a:lnTo>
                <a:lnTo>
                  <a:pt x="1122" y="210"/>
                </a:lnTo>
                <a:lnTo>
                  <a:pt x="1134" y="222"/>
                </a:lnTo>
                <a:lnTo>
                  <a:pt x="1146" y="234"/>
                </a:lnTo>
                <a:lnTo>
                  <a:pt x="1146" y="240"/>
                </a:lnTo>
                <a:lnTo>
                  <a:pt x="1152" y="246"/>
                </a:lnTo>
                <a:lnTo>
                  <a:pt x="1152" y="252"/>
                </a:lnTo>
                <a:lnTo>
                  <a:pt x="1152" y="258"/>
                </a:lnTo>
                <a:lnTo>
                  <a:pt x="1164" y="258"/>
                </a:lnTo>
                <a:lnTo>
                  <a:pt x="1170" y="264"/>
                </a:lnTo>
                <a:lnTo>
                  <a:pt x="1182" y="270"/>
                </a:lnTo>
                <a:lnTo>
                  <a:pt x="1188" y="270"/>
                </a:lnTo>
                <a:lnTo>
                  <a:pt x="1194" y="270"/>
                </a:lnTo>
                <a:lnTo>
                  <a:pt x="1206" y="276"/>
                </a:lnTo>
                <a:lnTo>
                  <a:pt x="1224" y="282"/>
                </a:lnTo>
                <a:lnTo>
                  <a:pt x="1236" y="282"/>
                </a:lnTo>
                <a:lnTo>
                  <a:pt x="1242" y="288"/>
                </a:lnTo>
                <a:lnTo>
                  <a:pt x="1254" y="288"/>
                </a:lnTo>
                <a:lnTo>
                  <a:pt x="1266" y="294"/>
                </a:lnTo>
                <a:lnTo>
                  <a:pt x="1272" y="294"/>
                </a:lnTo>
                <a:lnTo>
                  <a:pt x="1284" y="300"/>
                </a:lnTo>
                <a:lnTo>
                  <a:pt x="1290" y="300"/>
                </a:lnTo>
                <a:lnTo>
                  <a:pt x="1296" y="300"/>
                </a:lnTo>
                <a:lnTo>
                  <a:pt x="1302" y="306"/>
                </a:lnTo>
                <a:lnTo>
                  <a:pt x="1326" y="312"/>
                </a:lnTo>
                <a:lnTo>
                  <a:pt x="1338" y="312"/>
                </a:lnTo>
                <a:lnTo>
                  <a:pt x="1338" y="318"/>
                </a:lnTo>
                <a:lnTo>
                  <a:pt x="1344" y="318"/>
                </a:lnTo>
                <a:lnTo>
                  <a:pt x="1350" y="318"/>
                </a:lnTo>
                <a:lnTo>
                  <a:pt x="1362" y="324"/>
                </a:lnTo>
                <a:lnTo>
                  <a:pt x="1368" y="318"/>
                </a:lnTo>
                <a:lnTo>
                  <a:pt x="1374" y="318"/>
                </a:lnTo>
                <a:lnTo>
                  <a:pt x="1386" y="318"/>
                </a:lnTo>
                <a:lnTo>
                  <a:pt x="1398" y="324"/>
                </a:lnTo>
                <a:lnTo>
                  <a:pt x="1398" y="342"/>
                </a:lnTo>
                <a:lnTo>
                  <a:pt x="1356" y="342"/>
                </a:lnTo>
                <a:lnTo>
                  <a:pt x="1350" y="348"/>
                </a:lnTo>
                <a:lnTo>
                  <a:pt x="1350" y="372"/>
                </a:lnTo>
                <a:lnTo>
                  <a:pt x="1338" y="384"/>
                </a:lnTo>
                <a:lnTo>
                  <a:pt x="1332" y="408"/>
                </a:lnTo>
                <a:lnTo>
                  <a:pt x="1320" y="420"/>
                </a:lnTo>
                <a:lnTo>
                  <a:pt x="1254" y="426"/>
                </a:lnTo>
                <a:lnTo>
                  <a:pt x="1248" y="432"/>
                </a:lnTo>
                <a:lnTo>
                  <a:pt x="1230" y="432"/>
                </a:lnTo>
                <a:lnTo>
                  <a:pt x="1212" y="432"/>
                </a:lnTo>
                <a:lnTo>
                  <a:pt x="1212" y="426"/>
                </a:lnTo>
                <a:lnTo>
                  <a:pt x="1200" y="426"/>
                </a:lnTo>
                <a:lnTo>
                  <a:pt x="1182" y="414"/>
                </a:lnTo>
                <a:lnTo>
                  <a:pt x="1182" y="420"/>
                </a:lnTo>
                <a:lnTo>
                  <a:pt x="1164" y="420"/>
                </a:lnTo>
                <a:lnTo>
                  <a:pt x="1158" y="414"/>
                </a:lnTo>
                <a:lnTo>
                  <a:pt x="1152" y="408"/>
                </a:lnTo>
                <a:lnTo>
                  <a:pt x="1146" y="402"/>
                </a:lnTo>
                <a:lnTo>
                  <a:pt x="1122" y="396"/>
                </a:lnTo>
                <a:lnTo>
                  <a:pt x="1116" y="366"/>
                </a:lnTo>
                <a:lnTo>
                  <a:pt x="1116" y="348"/>
                </a:lnTo>
                <a:lnTo>
                  <a:pt x="1110" y="342"/>
                </a:lnTo>
                <a:lnTo>
                  <a:pt x="1104" y="336"/>
                </a:lnTo>
                <a:lnTo>
                  <a:pt x="1092" y="330"/>
                </a:lnTo>
                <a:lnTo>
                  <a:pt x="1074" y="330"/>
                </a:lnTo>
                <a:lnTo>
                  <a:pt x="1044" y="330"/>
                </a:lnTo>
                <a:lnTo>
                  <a:pt x="1014" y="336"/>
                </a:lnTo>
                <a:lnTo>
                  <a:pt x="984" y="342"/>
                </a:lnTo>
                <a:lnTo>
                  <a:pt x="978" y="330"/>
                </a:lnTo>
                <a:lnTo>
                  <a:pt x="966" y="324"/>
                </a:lnTo>
                <a:lnTo>
                  <a:pt x="888" y="336"/>
                </a:lnTo>
                <a:lnTo>
                  <a:pt x="888" y="330"/>
                </a:lnTo>
                <a:lnTo>
                  <a:pt x="870" y="336"/>
                </a:lnTo>
                <a:lnTo>
                  <a:pt x="858" y="336"/>
                </a:lnTo>
                <a:lnTo>
                  <a:pt x="852" y="354"/>
                </a:lnTo>
                <a:lnTo>
                  <a:pt x="852" y="402"/>
                </a:lnTo>
                <a:lnTo>
                  <a:pt x="840" y="414"/>
                </a:lnTo>
                <a:lnTo>
                  <a:pt x="834" y="420"/>
                </a:lnTo>
                <a:lnTo>
                  <a:pt x="834" y="444"/>
                </a:lnTo>
                <a:lnTo>
                  <a:pt x="834" y="450"/>
                </a:lnTo>
                <a:lnTo>
                  <a:pt x="852" y="456"/>
                </a:lnTo>
                <a:lnTo>
                  <a:pt x="864" y="462"/>
                </a:lnTo>
                <a:lnTo>
                  <a:pt x="894" y="456"/>
                </a:lnTo>
                <a:lnTo>
                  <a:pt x="900" y="468"/>
                </a:lnTo>
                <a:lnTo>
                  <a:pt x="918" y="462"/>
                </a:lnTo>
                <a:lnTo>
                  <a:pt x="924" y="468"/>
                </a:lnTo>
                <a:lnTo>
                  <a:pt x="924" y="474"/>
                </a:lnTo>
                <a:close/>
              </a:path>
            </a:pathLst>
          </a:custGeom>
          <a:solidFill>
            <a:srgbClr val="CFCFCF"/>
          </a:solidFill>
          <a:ln w="9525" cap="flat" cmpd="sng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81" name="Freeform 37">
            <a:extLst>
              <a:ext uri="{FF2B5EF4-FFF2-40B4-BE49-F238E27FC236}">
                <a16:creationId xmlns:a16="http://schemas.microsoft.com/office/drawing/2014/main" id="{E7C67A14-4F57-4181-96F6-7CBA1B7F3420}"/>
              </a:ext>
            </a:extLst>
          </p:cNvPr>
          <p:cNvSpPr>
            <a:spLocks/>
          </p:cNvSpPr>
          <p:nvPr/>
        </p:nvSpPr>
        <p:spPr bwMode="gray">
          <a:xfrm>
            <a:off x="4715611" y="2492381"/>
            <a:ext cx="613443" cy="752864"/>
          </a:xfrm>
          <a:custGeom>
            <a:avLst/>
            <a:gdLst>
              <a:gd name="T0" fmla="*/ 79 w 1068"/>
              <a:gd name="T1" fmla="*/ 72 h 1290"/>
              <a:gd name="T2" fmla="*/ 75 w 1068"/>
              <a:gd name="T3" fmla="*/ 73 h 1290"/>
              <a:gd name="T4" fmla="*/ 72 w 1068"/>
              <a:gd name="T5" fmla="*/ 76 h 1290"/>
              <a:gd name="T6" fmla="*/ 70 w 1068"/>
              <a:gd name="T7" fmla="*/ 78 h 1290"/>
              <a:gd name="T8" fmla="*/ 67 w 1068"/>
              <a:gd name="T9" fmla="*/ 82 h 1290"/>
              <a:gd name="T10" fmla="*/ 61 w 1068"/>
              <a:gd name="T11" fmla="*/ 86 h 1290"/>
              <a:gd name="T12" fmla="*/ 60 w 1068"/>
              <a:gd name="T13" fmla="*/ 93 h 1290"/>
              <a:gd name="T14" fmla="*/ 59 w 1068"/>
              <a:gd name="T15" fmla="*/ 97 h 1290"/>
              <a:gd name="T16" fmla="*/ 61 w 1068"/>
              <a:gd name="T17" fmla="*/ 101 h 1290"/>
              <a:gd name="T18" fmla="*/ 63 w 1068"/>
              <a:gd name="T19" fmla="*/ 104 h 1290"/>
              <a:gd name="T20" fmla="*/ 62 w 1068"/>
              <a:gd name="T21" fmla="*/ 108 h 1290"/>
              <a:gd name="T22" fmla="*/ 60 w 1068"/>
              <a:gd name="T23" fmla="*/ 111 h 1290"/>
              <a:gd name="T24" fmla="*/ 56 w 1068"/>
              <a:gd name="T25" fmla="*/ 111 h 1290"/>
              <a:gd name="T26" fmla="*/ 53 w 1068"/>
              <a:gd name="T27" fmla="*/ 110 h 1290"/>
              <a:gd name="T28" fmla="*/ 50 w 1068"/>
              <a:gd name="T29" fmla="*/ 109 h 1290"/>
              <a:gd name="T30" fmla="*/ 47 w 1068"/>
              <a:gd name="T31" fmla="*/ 110 h 1290"/>
              <a:gd name="T32" fmla="*/ 51 w 1068"/>
              <a:gd name="T33" fmla="*/ 104 h 1290"/>
              <a:gd name="T34" fmla="*/ 50 w 1068"/>
              <a:gd name="T35" fmla="*/ 95 h 1290"/>
              <a:gd name="T36" fmla="*/ 51 w 1068"/>
              <a:gd name="T37" fmla="*/ 90 h 1290"/>
              <a:gd name="T38" fmla="*/ 47 w 1068"/>
              <a:gd name="T39" fmla="*/ 84 h 1290"/>
              <a:gd name="T40" fmla="*/ 42 w 1068"/>
              <a:gd name="T41" fmla="*/ 78 h 1290"/>
              <a:gd name="T42" fmla="*/ 33 w 1068"/>
              <a:gd name="T43" fmla="*/ 73 h 1290"/>
              <a:gd name="T44" fmla="*/ 26 w 1068"/>
              <a:gd name="T45" fmla="*/ 68 h 1290"/>
              <a:gd name="T46" fmla="*/ 22 w 1068"/>
              <a:gd name="T47" fmla="*/ 63 h 1290"/>
              <a:gd name="T48" fmla="*/ 11 w 1068"/>
              <a:gd name="T49" fmla="*/ 67 h 1290"/>
              <a:gd name="T50" fmla="*/ 0 w 1068"/>
              <a:gd name="T51" fmla="*/ 68 h 1290"/>
              <a:gd name="T52" fmla="*/ 2 w 1068"/>
              <a:gd name="T53" fmla="*/ 59 h 1290"/>
              <a:gd name="T54" fmla="*/ 12 w 1068"/>
              <a:gd name="T55" fmla="*/ 55 h 1290"/>
              <a:gd name="T56" fmla="*/ 12 w 1068"/>
              <a:gd name="T57" fmla="*/ 51 h 1290"/>
              <a:gd name="T58" fmla="*/ 10 w 1068"/>
              <a:gd name="T59" fmla="*/ 47 h 1290"/>
              <a:gd name="T60" fmla="*/ 9 w 1068"/>
              <a:gd name="T61" fmla="*/ 42 h 1290"/>
              <a:gd name="T62" fmla="*/ 8 w 1068"/>
              <a:gd name="T63" fmla="*/ 38 h 1290"/>
              <a:gd name="T64" fmla="*/ 8 w 1068"/>
              <a:gd name="T65" fmla="*/ 29 h 1290"/>
              <a:gd name="T66" fmla="*/ 10 w 1068"/>
              <a:gd name="T67" fmla="*/ 18 h 1290"/>
              <a:gd name="T68" fmla="*/ 25 w 1068"/>
              <a:gd name="T69" fmla="*/ 12 h 1290"/>
              <a:gd name="T70" fmla="*/ 27 w 1068"/>
              <a:gd name="T71" fmla="*/ 4 h 1290"/>
              <a:gd name="T72" fmla="*/ 35 w 1068"/>
              <a:gd name="T73" fmla="*/ 6 h 1290"/>
              <a:gd name="T74" fmla="*/ 39 w 1068"/>
              <a:gd name="T75" fmla="*/ 8 h 1290"/>
              <a:gd name="T76" fmla="*/ 41 w 1068"/>
              <a:gd name="T77" fmla="*/ 3 h 1290"/>
              <a:gd name="T78" fmla="*/ 45 w 1068"/>
              <a:gd name="T79" fmla="*/ 0 h 1290"/>
              <a:gd name="T80" fmla="*/ 51 w 1068"/>
              <a:gd name="T81" fmla="*/ 0 h 1290"/>
              <a:gd name="T82" fmla="*/ 56 w 1068"/>
              <a:gd name="T83" fmla="*/ 4 h 1290"/>
              <a:gd name="T84" fmla="*/ 62 w 1068"/>
              <a:gd name="T85" fmla="*/ 12 h 1290"/>
              <a:gd name="T86" fmla="*/ 58 w 1068"/>
              <a:gd name="T87" fmla="*/ 17 h 1290"/>
              <a:gd name="T88" fmla="*/ 60 w 1068"/>
              <a:gd name="T89" fmla="*/ 18 h 1290"/>
              <a:gd name="T90" fmla="*/ 64 w 1068"/>
              <a:gd name="T91" fmla="*/ 16 h 1290"/>
              <a:gd name="T92" fmla="*/ 68 w 1068"/>
              <a:gd name="T93" fmla="*/ 18 h 1290"/>
              <a:gd name="T94" fmla="*/ 71 w 1068"/>
              <a:gd name="T95" fmla="*/ 27 h 1290"/>
              <a:gd name="T96" fmla="*/ 74 w 1068"/>
              <a:gd name="T97" fmla="*/ 30 h 1290"/>
              <a:gd name="T98" fmla="*/ 82 w 1068"/>
              <a:gd name="T99" fmla="*/ 30 h 1290"/>
              <a:gd name="T100" fmla="*/ 87 w 1068"/>
              <a:gd name="T101" fmla="*/ 35 h 1290"/>
              <a:gd name="T102" fmla="*/ 85 w 1068"/>
              <a:gd name="T103" fmla="*/ 42 h 1290"/>
              <a:gd name="T104" fmla="*/ 81 w 1068"/>
              <a:gd name="T105" fmla="*/ 46 h 1290"/>
              <a:gd name="T106" fmla="*/ 86 w 1068"/>
              <a:gd name="T107" fmla="*/ 50 h 1290"/>
              <a:gd name="T108" fmla="*/ 89 w 1068"/>
              <a:gd name="T109" fmla="*/ 58 h 1290"/>
              <a:gd name="T110" fmla="*/ 92 w 1068"/>
              <a:gd name="T111" fmla="*/ 61 h 1290"/>
              <a:gd name="T112" fmla="*/ 86 w 1068"/>
              <a:gd name="T113" fmla="*/ 66 h 1290"/>
              <a:gd name="T114" fmla="*/ 85 w 1068"/>
              <a:gd name="T115" fmla="*/ 70 h 1290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068"/>
              <a:gd name="T175" fmla="*/ 0 h 1290"/>
              <a:gd name="T176" fmla="*/ 1068 w 1068"/>
              <a:gd name="T177" fmla="*/ 1290 h 1290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068" h="1290">
                <a:moveTo>
                  <a:pt x="978" y="804"/>
                </a:moveTo>
                <a:lnTo>
                  <a:pt x="972" y="810"/>
                </a:lnTo>
                <a:lnTo>
                  <a:pt x="966" y="810"/>
                </a:lnTo>
                <a:lnTo>
                  <a:pt x="966" y="816"/>
                </a:lnTo>
                <a:lnTo>
                  <a:pt x="936" y="828"/>
                </a:lnTo>
                <a:lnTo>
                  <a:pt x="924" y="822"/>
                </a:lnTo>
                <a:lnTo>
                  <a:pt x="912" y="822"/>
                </a:lnTo>
                <a:lnTo>
                  <a:pt x="906" y="828"/>
                </a:lnTo>
                <a:lnTo>
                  <a:pt x="900" y="828"/>
                </a:lnTo>
                <a:lnTo>
                  <a:pt x="900" y="822"/>
                </a:lnTo>
                <a:lnTo>
                  <a:pt x="894" y="822"/>
                </a:lnTo>
                <a:lnTo>
                  <a:pt x="888" y="828"/>
                </a:lnTo>
                <a:lnTo>
                  <a:pt x="882" y="834"/>
                </a:lnTo>
                <a:lnTo>
                  <a:pt x="876" y="834"/>
                </a:lnTo>
                <a:lnTo>
                  <a:pt x="870" y="840"/>
                </a:lnTo>
                <a:lnTo>
                  <a:pt x="864" y="840"/>
                </a:lnTo>
                <a:lnTo>
                  <a:pt x="864" y="846"/>
                </a:lnTo>
                <a:lnTo>
                  <a:pt x="858" y="846"/>
                </a:lnTo>
                <a:lnTo>
                  <a:pt x="852" y="846"/>
                </a:lnTo>
                <a:lnTo>
                  <a:pt x="852" y="858"/>
                </a:lnTo>
                <a:lnTo>
                  <a:pt x="846" y="864"/>
                </a:lnTo>
                <a:lnTo>
                  <a:pt x="840" y="870"/>
                </a:lnTo>
                <a:lnTo>
                  <a:pt x="834" y="870"/>
                </a:lnTo>
                <a:lnTo>
                  <a:pt x="834" y="876"/>
                </a:lnTo>
                <a:lnTo>
                  <a:pt x="834" y="882"/>
                </a:lnTo>
                <a:lnTo>
                  <a:pt x="834" y="876"/>
                </a:lnTo>
                <a:lnTo>
                  <a:pt x="828" y="882"/>
                </a:lnTo>
                <a:lnTo>
                  <a:pt x="822" y="888"/>
                </a:lnTo>
                <a:lnTo>
                  <a:pt x="816" y="888"/>
                </a:lnTo>
                <a:lnTo>
                  <a:pt x="816" y="894"/>
                </a:lnTo>
                <a:lnTo>
                  <a:pt x="810" y="894"/>
                </a:lnTo>
                <a:lnTo>
                  <a:pt x="810" y="900"/>
                </a:lnTo>
                <a:lnTo>
                  <a:pt x="804" y="900"/>
                </a:lnTo>
                <a:lnTo>
                  <a:pt x="798" y="900"/>
                </a:lnTo>
                <a:lnTo>
                  <a:pt x="798" y="906"/>
                </a:lnTo>
                <a:lnTo>
                  <a:pt x="792" y="906"/>
                </a:lnTo>
                <a:lnTo>
                  <a:pt x="792" y="912"/>
                </a:lnTo>
                <a:lnTo>
                  <a:pt x="792" y="924"/>
                </a:lnTo>
                <a:lnTo>
                  <a:pt x="786" y="930"/>
                </a:lnTo>
                <a:lnTo>
                  <a:pt x="774" y="942"/>
                </a:lnTo>
                <a:lnTo>
                  <a:pt x="774" y="948"/>
                </a:lnTo>
                <a:lnTo>
                  <a:pt x="768" y="954"/>
                </a:lnTo>
                <a:lnTo>
                  <a:pt x="762" y="954"/>
                </a:lnTo>
                <a:lnTo>
                  <a:pt x="750" y="972"/>
                </a:lnTo>
                <a:lnTo>
                  <a:pt x="720" y="978"/>
                </a:lnTo>
                <a:lnTo>
                  <a:pt x="714" y="978"/>
                </a:lnTo>
                <a:lnTo>
                  <a:pt x="708" y="978"/>
                </a:lnTo>
                <a:lnTo>
                  <a:pt x="702" y="990"/>
                </a:lnTo>
                <a:lnTo>
                  <a:pt x="696" y="990"/>
                </a:lnTo>
                <a:lnTo>
                  <a:pt x="696" y="1008"/>
                </a:lnTo>
                <a:lnTo>
                  <a:pt x="690" y="1008"/>
                </a:lnTo>
                <a:lnTo>
                  <a:pt x="690" y="1014"/>
                </a:lnTo>
                <a:lnTo>
                  <a:pt x="684" y="1032"/>
                </a:lnTo>
                <a:lnTo>
                  <a:pt x="690" y="1050"/>
                </a:lnTo>
                <a:lnTo>
                  <a:pt x="690" y="1062"/>
                </a:lnTo>
                <a:lnTo>
                  <a:pt x="690" y="1068"/>
                </a:lnTo>
                <a:lnTo>
                  <a:pt x="690" y="1074"/>
                </a:lnTo>
                <a:lnTo>
                  <a:pt x="684" y="1074"/>
                </a:lnTo>
                <a:lnTo>
                  <a:pt x="684" y="1080"/>
                </a:lnTo>
                <a:lnTo>
                  <a:pt x="678" y="1086"/>
                </a:lnTo>
                <a:lnTo>
                  <a:pt x="678" y="1104"/>
                </a:lnTo>
                <a:lnTo>
                  <a:pt x="678" y="1110"/>
                </a:lnTo>
                <a:lnTo>
                  <a:pt x="678" y="1116"/>
                </a:lnTo>
                <a:lnTo>
                  <a:pt x="684" y="1116"/>
                </a:lnTo>
                <a:lnTo>
                  <a:pt x="678" y="1128"/>
                </a:lnTo>
                <a:lnTo>
                  <a:pt x="684" y="1128"/>
                </a:lnTo>
                <a:lnTo>
                  <a:pt x="690" y="1134"/>
                </a:lnTo>
                <a:lnTo>
                  <a:pt x="690" y="1140"/>
                </a:lnTo>
                <a:lnTo>
                  <a:pt x="696" y="1140"/>
                </a:lnTo>
                <a:lnTo>
                  <a:pt x="696" y="1146"/>
                </a:lnTo>
                <a:lnTo>
                  <a:pt x="696" y="1152"/>
                </a:lnTo>
                <a:lnTo>
                  <a:pt x="702" y="1152"/>
                </a:lnTo>
                <a:lnTo>
                  <a:pt x="708" y="1152"/>
                </a:lnTo>
                <a:lnTo>
                  <a:pt x="714" y="1158"/>
                </a:lnTo>
                <a:lnTo>
                  <a:pt x="714" y="1164"/>
                </a:lnTo>
                <a:lnTo>
                  <a:pt x="720" y="1170"/>
                </a:lnTo>
                <a:lnTo>
                  <a:pt x="720" y="1176"/>
                </a:lnTo>
                <a:lnTo>
                  <a:pt x="720" y="1182"/>
                </a:lnTo>
                <a:lnTo>
                  <a:pt x="726" y="1188"/>
                </a:lnTo>
                <a:lnTo>
                  <a:pt x="726" y="1194"/>
                </a:lnTo>
                <a:lnTo>
                  <a:pt x="732" y="1194"/>
                </a:lnTo>
                <a:lnTo>
                  <a:pt x="732" y="1200"/>
                </a:lnTo>
                <a:lnTo>
                  <a:pt x="738" y="1212"/>
                </a:lnTo>
                <a:lnTo>
                  <a:pt x="732" y="1218"/>
                </a:lnTo>
                <a:lnTo>
                  <a:pt x="732" y="1224"/>
                </a:lnTo>
                <a:lnTo>
                  <a:pt x="726" y="1230"/>
                </a:lnTo>
                <a:lnTo>
                  <a:pt x="720" y="1230"/>
                </a:lnTo>
                <a:lnTo>
                  <a:pt x="720" y="1236"/>
                </a:lnTo>
                <a:lnTo>
                  <a:pt x="720" y="1242"/>
                </a:lnTo>
                <a:lnTo>
                  <a:pt x="720" y="1248"/>
                </a:lnTo>
                <a:lnTo>
                  <a:pt x="714" y="1248"/>
                </a:lnTo>
                <a:lnTo>
                  <a:pt x="714" y="1254"/>
                </a:lnTo>
                <a:lnTo>
                  <a:pt x="708" y="1260"/>
                </a:lnTo>
                <a:lnTo>
                  <a:pt x="702" y="1272"/>
                </a:lnTo>
                <a:lnTo>
                  <a:pt x="696" y="1272"/>
                </a:lnTo>
                <a:lnTo>
                  <a:pt x="696" y="1278"/>
                </a:lnTo>
                <a:lnTo>
                  <a:pt x="690" y="1284"/>
                </a:lnTo>
                <a:lnTo>
                  <a:pt x="690" y="1290"/>
                </a:lnTo>
                <a:lnTo>
                  <a:pt x="684" y="1290"/>
                </a:lnTo>
                <a:lnTo>
                  <a:pt x="660" y="1284"/>
                </a:lnTo>
                <a:lnTo>
                  <a:pt x="660" y="1278"/>
                </a:lnTo>
                <a:lnTo>
                  <a:pt x="654" y="1272"/>
                </a:lnTo>
                <a:lnTo>
                  <a:pt x="648" y="1272"/>
                </a:lnTo>
                <a:lnTo>
                  <a:pt x="642" y="1272"/>
                </a:lnTo>
                <a:lnTo>
                  <a:pt x="642" y="1266"/>
                </a:lnTo>
                <a:lnTo>
                  <a:pt x="636" y="1266"/>
                </a:lnTo>
                <a:lnTo>
                  <a:pt x="630" y="1266"/>
                </a:lnTo>
                <a:lnTo>
                  <a:pt x="624" y="1266"/>
                </a:lnTo>
                <a:lnTo>
                  <a:pt x="624" y="1260"/>
                </a:lnTo>
                <a:lnTo>
                  <a:pt x="618" y="1260"/>
                </a:lnTo>
                <a:lnTo>
                  <a:pt x="612" y="1260"/>
                </a:lnTo>
                <a:lnTo>
                  <a:pt x="606" y="1260"/>
                </a:lnTo>
                <a:lnTo>
                  <a:pt x="600" y="1260"/>
                </a:lnTo>
                <a:lnTo>
                  <a:pt x="600" y="1254"/>
                </a:lnTo>
                <a:lnTo>
                  <a:pt x="594" y="1254"/>
                </a:lnTo>
                <a:lnTo>
                  <a:pt x="588" y="1248"/>
                </a:lnTo>
                <a:lnTo>
                  <a:pt x="588" y="1254"/>
                </a:lnTo>
                <a:lnTo>
                  <a:pt x="582" y="1254"/>
                </a:lnTo>
                <a:lnTo>
                  <a:pt x="582" y="1248"/>
                </a:lnTo>
                <a:lnTo>
                  <a:pt x="576" y="1248"/>
                </a:lnTo>
                <a:lnTo>
                  <a:pt x="576" y="1254"/>
                </a:lnTo>
                <a:lnTo>
                  <a:pt x="570" y="1248"/>
                </a:lnTo>
                <a:lnTo>
                  <a:pt x="564" y="1248"/>
                </a:lnTo>
                <a:lnTo>
                  <a:pt x="564" y="1254"/>
                </a:lnTo>
                <a:lnTo>
                  <a:pt x="558" y="1254"/>
                </a:lnTo>
                <a:lnTo>
                  <a:pt x="552" y="1254"/>
                </a:lnTo>
                <a:lnTo>
                  <a:pt x="552" y="1260"/>
                </a:lnTo>
                <a:lnTo>
                  <a:pt x="546" y="1260"/>
                </a:lnTo>
                <a:lnTo>
                  <a:pt x="540" y="1260"/>
                </a:lnTo>
                <a:lnTo>
                  <a:pt x="540" y="1254"/>
                </a:lnTo>
                <a:lnTo>
                  <a:pt x="534" y="1254"/>
                </a:lnTo>
                <a:lnTo>
                  <a:pt x="528" y="1224"/>
                </a:lnTo>
                <a:lnTo>
                  <a:pt x="534" y="1212"/>
                </a:lnTo>
                <a:lnTo>
                  <a:pt x="546" y="1206"/>
                </a:lnTo>
                <a:lnTo>
                  <a:pt x="582" y="1206"/>
                </a:lnTo>
                <a:lnTo>
                  <a:pt x="588" y="1188"/>
                </a:lnTo>
                <a:lnTo>
                  <a:pt x="582" y="1188"/>
                </a:lnTo>
                <a:lnTo>
                  <a:pt x="582" y="1182"/>
                </a:lnTo>
                <a:lnTo>
                  <a:pt x="576" y="1176"/>
                </a:lnTo>
                <a:lnTo>
                  <a:pt x="558" y="1128"/>
                </a:lnTo>
                <a:lnTo>
                  <a:pt x="558" y="1122"/>
                </a:lnTo>
                <a:lnTo>
                  <a:pt x="576" y="1098"/>
                </a:lnTo>
                <a:lnTo>
                  <a:pt x="576" y="1092"/>
                </a:lnTo>
                <a:lnTo>
                  <a:pt x="582" y="1092"/>
                </a:lnTo>
                <a:lnTo>
                  <a:pt x="582" y="1086"/>
                </a:lnTo>
                <a:lnTo>
                  <a:pt x="582" y="1080"/>
                </a:lnTo>
                <a:lnTo>
                  <a:pt x="582" y="1074"/>
                </a:lnTo>
                <a:lnTo>
                  <a:pt x="588" y="1074"/>
                </a:lnTo>
                <a:lnTo>
                  <a:pt x="588" y="1062"/>
                </a:lnTo>
                <a:lnTo>
                  <a:pt x="588" y="1056"/>
                </a:lnTo>
                <a:lnTo>
                  <a:pt x="588" y="1044"/>
                </a:lnTo>
                <a:lnTo>
                  <a:pt x="588" y="1038"/>
                </a:lnTo>
                <a:lnTo>
                  <a:pt x="588" y="1032"/>
                </a:lnTo>
                <a:lnTo>
                  <a:pt x="582" y="1026"/>
                </a:lnTo>
                <a:lnTo>
                  <a:pt x="582" y="1020"/>
                </a:lnTo>
                <a:lnTo>
                  <a:pt x="582" y="1008"/>
                </a:lnTo>
                <a:lnTo>
                  <a:pt x="576" y="990"/>
                </a:lnTo>
                <a:lnTo>
                  <a:pt x="570" y="972"/>
                </a:lnTo>
                <a:lnTo>
                  <a:pt x="552" y="972"/>
                </a:lnTo>
                <a:lnTo>
                  <a:pt x="540" y="960"/>
                </a:lnTo>
                <a:lnTo>
                  <a:pt x="534" y="954"/>
                </a:lnTo>
                <a:lnTo>
                  <a:pt x="534" y="948"/>
                </a:lnTo>
                <a:lnTo>
                  <a:pt x="516" y="948"/>
                </a:lnTo>
                <a:lnTo>
                  <a:pt x="522" y="936"/>
                </a:lnTo>
                <a:lnTo>
                  <a:pt x="522" y="930"/>
                </a:lnTo>
                <a:lnTo>
                  <a:pt x="504" y="918"/>
                </a:lnTo>
                <a:lnTo>
                  <a:pt x="492" y="906"/>
                </a:lnTo>
                <a:lnTo>
                  <a:pt x="486" y="894"/>
                </a:lnTo>
                <a:lnTo>
                  <a:pt x="468" y="876"/>
                </a:lnTo>
                <a:lnTo>
                  <a:pt x="450" y="876"/>
                </a:lnTo>
                <a:lnTo>
                  <a:pt x="414" y="882"/>
                </a:lnTo>
                <a:lnTo>
                  <a:pt x="402" y="870"/>
                </a:lnTo>
                <a:lnTo>
                  <a:pt x="390" y="864"/>
                </a:lnTo>
                <a:lnTo>
                  <a:pt x="384" y="852"/>
                </a:lnTo>
                <a:lnTo>
                  <a:pt x="378" y="840"/>
                </a:lnTo>
                <a:lnTo>
                  <a:pt x="378" y="834"/>
                </a:lnTo>
                <a:lnTo>
                  <a:pt x="360" y="822"/>
                </a:lnTo>
                <a:lnTo>
                  <a:pt x="342" y="828"/>
                </a:lnTo>
                <a:lnTo>
                  <a:pt x="324" y="816"/>
                </a:lnTo>
                <a:lnTo>
                  <a:pt x="318" y="816"/>
                </a:lnTo>
                <a:lnTo>
                  <a:pt x="306" y="810"/>
                </a:lnTo>
                <a:lnTo>
                  <a:pt x="306" y="804"/>
                </a:lnTo>
                <a:lnTo>
                  <a:pt x="300" y="804"/>
                </a:lnTo>
                <a:lnTo>
                  <a:pt x="300" y="780"/>
                </a:lnTo>
                <a:lnTo>
                  <a:pt x="300" y="774"/>
                </a:lnTo>
                <a:lnTo>
                  <a:pt x="306" y="774"/>
                </a:lnTo>
                <a:lnTo>
                  <a:pt x="312" y="756"/>
                </a:lnTo>
                <a:lnTo>
                  <a:pt x="312" y="732"/>
                </a:lnTo>
                <a:lnTo>
                  <a:pt x="300" y="720"/>
                </a:lnTo>
                <a:lnTo>
                  <a:pt x="288" y="702"/>
                </a:lnTo>
                <a:lnTo>
                  <a:pt x="276" y="702"/>
                </a:lnTo>
                <a:lnTo>
                  <a:pt x="258" y="714"/>
                </a:lnTo>
                <a:lnTo>
                  <a:pt x="246" y="726"/>
                </a:lnTo>
                <a:lnTo>
                  <a:pt x="222" y="726"/>
                </a:lnTo>
                <a:lnTo>
                  <a:pt x="192" y="726"/>
                </a:lnTo>
                <a:lnTo>
                  <a:pt x="174" y="738"/>
                </a:lnTo>
                <a:lnTo>
                  <a:pt x="162" y="750"/>
                </a:lnTo>
                <a:lnTo>
                  <a:pt x="144" y="762"/>
                </a:lnTo>
                <a:lnTo>
                  <a:pt x="138" y="768"/>
                </a:lnTo>
                <a:lnTo>
                  <a:pt x="126" y="774"/>
                </a:lnTo>
                <a:lnTo>
                  <a:pt x="114" y="780"/>
                </a:lnTo>
                <a:lnTo>
                  <a:pt x="108" y="786"/>
                </a:lnTo>
                <a:lnTo>
                  <a:pt x="102" y="786"/>
                </a:lnTo>
                <a:lnTo>
                  <a:pt x="54" y="786"/>
                </a:lnTo>
                <a:lnTo>
                  <a:pt x="48" y="792"/>
                </a:lnTo>
                <a:lnTo>
                  <a:pt x="36" y="798"/>
                </a:lnTo>
                <a:lnTo>
                  <a:pt x="18" y="792"/>
                </a:lnTo>
                <a:lnTo>
                  <a:pt x="6" y="780"/>
                </a:lnTo>
                <a:lnTo>
                  <a:pt x="6" y="768"/>
                </a:lnTo>
                <a:lnTo>
                  <a:pt x="0" y="756"/>
                </a:lnTo>
                <a:lnTo>
                  <a:pt x="0" y="738"/>
                </a:lnTo>
                <a:lnTo>
                  <a:pt x="6" y="702"/>
                </a:lnTo>
                <a:lnTo>
                  <a:pt x="24" y="702"/>
                </a:lnTo>
                <a:lnTo>
                  <a:pt x="24" y="696"/>
                </a:lnTo>
                <a:lnTo>
                  <a:pt x="24" y="690"/>
                </a:lnTo>
                <a:lnTo>
                  <a:pt x="24" y="678"/>
                </a:lnTo>
                <a:lnTo>
                  <a:pt x="24" y="672"/>
                </a:lnTo>
                <a:lnTo>
                  <a:pt x="30" y="672"/>
                </a:lnTo>
                <a:lnTo>
                  <a:pt x="30" y="666"/>
                </a:lnTo>
                <a:lnTo>
                  <a:pt x="36" y="660"/>
                </a:lnTo>
                <a:lnTo>
                  <a:pt x="84" y="648"/>
                </a:lnTo>
                <a:lnTo>
                  <a:pt x="126" y="642"/>
                </a:lnTo>
                <a:lnTo>
                  <a:pt x="132" y="630"/>
                </a:lnTo>
                <a:lnTo>
                  <a:pt x="132" y="624"/>
                </a:lnTo>
                <a:lnTo>
                  <a:pt x="132" y="618"/>
                </a:lnTo>
                <a:lnTo>
                  <a:pt x="138" y="612"/>
                </a:lnTo>
                <a:lnTo>
                  <a:pt x="138" y="606"/>
                </a:lnTo>
                <a:lnTo>
                  <a:pt x="138" y="600"/>
                </a:lnTo>
                <a:lnTo>
                  <a:pt x="132" y="600"/>
                </a:lnTo>
                <a:lnTo>
                  <a:pt x="132" y="594"/>
                </a:lnTo>
                <a:lnTo>
                  <a:pt x="132" y="588"/>
                </a:lnTo>
                <a:lnTo>
                  <a:pt x="132" y="582"/>
                </a:lnTo>
                <a:lnTo>
                  <a:pt x="132" y="576"/>
                </a:lnTo>
                <a:lnTo>
                  <a:pt x="126" y="570"/>
                </a:lnTo>
                <a:lnTo>
                  <a:pt x="120" y="564"/>
                </a:lnTo>
                <a:lnTo>
                  <a:pt x="120" y="558"/>
                </a:lnTo>
                <a:lnTo>
                  <a:pt x="120" y="552"/>
                </a:lnTo>
                <a:lnTo>
                  <a:pt x="114" y="552"/>
                </a:lnTo>
                <a:lnTo>
                  <a:pt x="114" y="546"/>
                </a:lnTo>
                <a:lnTo>
                  <a:pt x="114" y="540"/>
                </a:lnTo>
                <a:lnTo>
                  <a:pt x="108" y="534"/>
                </a:lnTo>
                <a:lnTo>
                  <a:pt x="108" y="528"/>
                </a:lnTo>
                <a:lnTo>
                  <a:pt x="114" y="522"/>
                </a:lnTo>
                <a:lnTo>
                  <a:pt x="108" y="516"/>
                </a:lnTo>
                <a:lnTo>
                  <a:pt x="108" y="498"/>
                </a:lnTo>
                <a:lnTo>
                  <a:pt x="108" y="492"/>
                </a:lnTo>
                <a:lnTo>
                  <a:pt x="108" y="486"/>
                </a:lnTo>
                <a:lnTo>
                  <a:pt x="108" y="480"/>
                </a:lnTo>
                <a:lnTo>
                  <a:pt x="114" y="474"/>
                </a:lnTo>
                <a:lnTo>
                  <a:pt x="114" y="468"/>
                </a:lnTo>
                <a:lnTo>
                  <a:pt x="114" y="462"/>
                </a:lnTo>
                <a:lnTo>
                  <a:pt x="108" y="462"/>
                </a:lnTo>
                <a:lnTo>
                  <a:pt x="102" y="456"/>
                </a:lnTo>
                <a:lnTo>
                  <a:pt x="102" y="444"/>
                </a:lnTo>
                <a:lnTo>
                  <a:pt x="96" y="444"/>
                </a:lnTo>
                <a:lnTo>
                  <a:pt x="90" y="432"/>
                </a:lnTo>
                <a:lnTo>
                  <a:pt x="96" y="432"/>
                </a:lnTo>
                <a:lnTo>
                  <a:pt x="96" y="408"/>
                </a:lnTo>
                <a:lnTo>
                  <a:pt x="96" y="396"/>
                </a:lnTo>
                <a:lnTo>
                  <a:pt x="96" y="360"/>
                </a:lnTo>
                <a:lnTo>
                  <a:pt x="96" y="354"/>
                </a:lnTo>
                <a:lnTo>
                  <a:pt x="102" y="354"/>
                </a:lnTo>
                <a:lnTo>
                  <a:pt x="102" y="348"/>
                </a:lnTo>
                <a:lnTo>
                  <a:pt x="96" y="330"/>
                </a:lnTo>
                <a:lnTo>
                  <a:pt x="90" y="306"/>
                </a:lnTo>
                <a:lnTo>
                  <a:pt x="84" y="288"/>
                </a:lnTo>
                <a:lnTo>
                  <a:pt x="84" y="264"/>
                </a:lnTo>
                <a:lnTo>
                  <a:pt x="90" y="240"/>
                </a:lnTo>
                <a:lnTo>
                  <a:pt x="96" y="222"/>
                </a:lnTo>
                <a:lnTo>
                  <a:pt x="102" y="222"/>
                </a:lnTo>
                <a:lnTo>
                  <a:pt x="108" y="210"/>
                </a:lnTo>
                <a:lnTo>
                  <a:pt x="114" y="210"/>
                </a:lnTo>
                <a:lnTo>
                  <a:pt x="126" y="198"/>
                </a:lnTo>
                <a:lnTo>
                  <a:pt x="156" y="192"/>
                </a:lnTo>
                <a:lnTo>
                  <a:pt x="174" y="186"/>
                </a:lnTo>
                <a:lnTo>
                  <a:pt x="204" y="174"/>
                </a:lnTo>
                <a:lnTo>
                  <a:pt x="222" y="168"/>
                </a:lnTo>
                <a:lnTo>
                  <a:pt x="234" y="162"/>
                </a:lnTo>
                <a:lnTo>
                  <a:pt x="246" y="156"/>
                </a:lnTo>
                <a:lnTo>
                  <a:pt x="288" y="144"/>
                </a:lnTo>
                <a:lnTo>
                  <a:pt x="288" y="132"/>
                </a:lnTo>
                <a:lnTo>
                  <a:pt x="294" y="120"/>
                </a:lnTo>
                <a:lnTo>
                  <a:pt x="300" y="108"/>
                </a:lnTo>
                <a:lnTo>
                  <a:pt x="306" y="90"/>
                </a:lnTo>
                <a:lnTo>
                  <a:pt x="312" y="78"/>
                </a:lnTo>
                <a:lnTo>
                  <a:pt x="324" y="78"/>
                </a:lnTo>
                <a:lnTo>
                  <a:pt x="324" y="54"/>
                </a:lnTo>
                <a:lnTo>
                  <a:pt x="318" y="48"/>
                </a:lnTo>
                <a:lnTo>
                  <a:pt x="324" y="30"/>
                </a:lnTo>
                <a:lnTo>
                  <a:pt x="324" y="12"/>
                </a:lnTo>
                <a:lnTo>
                  <a:pt x="360" y="6"/>
                </a:lnTo>
                <a:lnTo>
                  <a:pt x="384" y="0"/>
                </a:lnTo>
                <a:lnTo>
                  <a:pt x="390" y="6"/>
                </a:lnTo>
                <a:lnTo>
                  <a:pt x="390" y="18"/>
                </a:lnTo>
                <a:lnTo>
                  <a:pt x="390" y="54"/>
                </a:lnTo>
                <a:lnTo>
                  <a:pt x="396" y="66"/>
                </a:lnTo>
                <a:lnTo>
                  <a:pt x="414" y="84"/>
                </a:lnTo>
                <a:lnTo>
                  <a:pt x="426" y="90"/>
                </a:lnTo>
                <a:lnTo>
                  <a:pt x="432" y="96"/>
                </a:lnTo>
                <a:lnTo>
                  <a:pt x="426" y="102"/>
                </a:lnTo>
                <a:lnTo>
                  <a:pt x="438" y="102"/>
                </a:lnTo>
                <a:lnTo>
                  <a:pt x="444" y="108"/>
                </a:lnTo>
                <a:lnTo>
                  <a:pt x="444" y="102"/>
                </a:lnTo>
                <a:lnTo>
                  <a:pt x="450" y="90"/>
                </a:lnTo>
                <a:lnTo>
                  <a:pt x="450" y="84"/>
                </a:lnTo>
                <a:lnTo>
                  <a:pt x="450" y="78"/>
                </a:lnTo>
                <a:lnTo>
                  <a:pt x="456" y="72"/>
                </a:lnTo>
                <a:lnTo>
                  <a:pt x="462" y="66"/>
                </a:lnTo>
                <a:lnTo>
                  <a:pt x="462" y="60"/>
                </a:lnTo>
                <a:lnTo>
                  <a:pt x="462" y="54"/>
                </a:lnTo>
                <a:lnTo>
                  <a:pt x="462" y="42"/>
                </a:lnTo>
                <a:lnTo>
                  <a:pt x="468" y="36"/>
                </a:lnTo>
                <a:lnTo>
                  <a:pt x="474" y="24"/>
                </a:lnTo>
                <a:lnTo>
                  <a:pt x="480" y="18"/>
                </a:lnTo>
                <a:lnTo>
                  <a:pt x="486" y="12"/>
                </a:lnTo>
                <a:lnTo>
                  <a:pt x="492" y="12"/>
                </a:lnTo>
                <a:lnTo>
                  <a:pt x="498" y="6"/>
                </a:lnTo>
                <a:lnTo>
                  <a:pt x="504" y="6"/>
                </a:lnTo>
                <a:lnTo>
                  <a:pt x="510" y="12"/>
                </a:lnTo>
                <a:lnTo>
                  <a:pt x="522" y="6"/>
                </a:lnTo>
                <a:lnTo>
                  <a:pt x="534" y="6"/>
                </a:lnTo>
                <a:lnTo>
                  <a:pt x="540" y="6"/>
                </a:lnTo>
                <a:lnTo>
                  <a:pt x="546" y="6"/>
                </a:lnTo>
                <a:lnTo>
                  <a:pt x="564" y="0"/>
                </a:lnTo>
                <a:lnTo>
                  <a:pt x="570" y="0"/>
                </a:lnTo>
                <a:lnTo>
                  <a:pt x="576" y="6"/>
                </a:lnTo>
                <a:lnTo>
                  <a:pt x="582" y="6"/>
                </a:lnTo>
                <a:lnTo>
                  <a:pt x="594" y="6"/>
                </a:lnTo>
                <a:lnTo>
                  <a:pt x="600" y="6"/>
                </a:lnTo>
                <a:lnTo>
                  <a:pt x="606" y="6"/>
                </a:lnTo>
                <a:lnTo>
                  <a:pt x="624" y="0"/>
                </a:lnTo>
                <a:lnTo>
                  <a:pt x="636" y="0"/>
                </a:lnTo>
                <a:lnTo>
                  <a:pt x="636" y="6"/>
                </a:lnTo>
                <a:lnTo>
                  <a:pt x="654" y="18"/>
                </a:lnTo>
                <a:lnTo>
                  <a:pt x="654" y="30"/>
                </a:lnTo>
                <a:lnTo>
                  <a:pt x="642" y="42"/>
                </a:lnTo>
                <a:lnTo>
                  <a:pt x="630" y="66"/>
                </a:lnTo>
                <a:lnTo>
                  <a:pt x="636" y="84"/>
                </a:lnTo>
                <a:lnTo>
                  <a:pt x="636" y="96"/>
                </a:lnTo>
                <a:lnTo>
                  <a:pt x="648" y="102"/>
                </a:lnTo>
                <a:lnTo>
                  <a:pt x="672" y="114"/>
                </a:lnTo>
                <a:lnTo>
                  <a:pt x="702" y="120"/>
                </a:lnTo>
                <a:lnTo>
                  <a:pt x="714" y="126"/>
                </a:lnTo>
                <a:lnTo>
                  <a:pt x="720" y="144"/>
                </a:lnTo>
                <a:lnTo>
                  <a:pt x="720" y="156"/>
                </a:lnTo>
                <a:lnTo>
                  <a:pt x="708" y="156"/>
                </a:lnTo>
                <a:lnTo>
                  <a:pt x="702" y="162"/>
                </a:lnTo>
                <a:lnTo>
                  <a:pt x="702" y="174"/>
                </a:lnTo>
                <a:lnTo>
                  <a:pt x="696" y="174"/>
                </a:lnTo>
                <a:lnTo>
                  <a:pt x="690" y="180"/>
                </a:lnTo>
                <a:lnTo>
                  <a:pt x="678" y="186"/>
                </a:lnTo>
                <a:lnTo>
                  <a:pt x="672" y="192"/>
                </a:lnTo>
                <a:lnTo>
                  <a:pt x="654" y="210"/>
                </a:lnTo>
                <a:lnTo>
                  <a:pt x="654" y="216"/>
                </a:lnTo>
                <a:lnTo>
                  <a:pt x="648" y="246"/>
                </a:lnTo>
                <a:lnTo>
                  <a:pt x="660" y="246"/>
                </a:lnTo>
                <a:lnTo>
                  <a:pt x="666" y="234"/>
                </a:lnTo>
                <a:lnTo>
                  <a:pt x="678" y="240"/>
                </a:lnTo>
                <a:lnTo>
                  <a:pt x="684" y="228"/>
                </a:lnTo>
                <a:lnTo>
                  <a:pt x="690" y="210"/>
                </a:lnTo>
                <a:lnTo>
                  <a:pt x="696" y="204"/>
                </a:lnTo>
                <a:lnTo>
                  <a:pt x="702" y="204"/>
                </a:lnTo>
                <a:lnTo>
                  <a:pt x="708" y="192"/>
                </a:lnTo>
                <a:lnTo>
                  <a:pt x="714" y="192"/>
                </a:lnTo>
                <a:lnTo>
                  <a:pt x="714" y="186"/>
                </a:lnTo>
                <a:lnTo>
                  <a:pt x="726" y="186"/>
                </a:lnTo>
                <a:lnTo>
                  <a:pt x="732" y="186"/>
                </a:lnTo>
                <a:lnTo>
                  <a:pt x="738" y="186"/>
                </a:lnTo>
                <a:lnTo>
                  <a:pt x="744" y="216"/>
                </a:lnTo>
                <a:lnTo>
                  <a:pt x="750" y="210"/>
                </a:lnTo>
                <a:lnTo>
                  <a:pt x="750" y="204"/>
                </a:lnTo>
                <a:lnTo>
                  <a:pt x="756" y="192"/>
                </a:lnTo>
                <a:lnTo>
                  <a:pt x="762" y="192"/>
                </a:lnTo>
                <a:lnTo>
                  <a:pt x="768" y="192"/>
                </a:lnTo>
                <a:lnTo>
                  <a:pt x="780" y="186"/>
                </a:lnTo>
                <a:lnTo>
                  <a:pt x="786" y="204"/>
                </a:lnTo>
                <a:lnTo>
                  <a:pt x="774" y="210"/>
                </a:lnTo>
                <a:lnTo>
                  <a:pt x="774" y="234"/>
                </a:lnTo>
                <a:lnTo>
                  <a:pt x="780" y="246"/>
                </a:lnTo>
                <a:lnTo>
                  <a:pt x="804" y="264"/>
                </a:lnTo>
                <a:lnTo>
                  <a:pt x="816" y="276"/>
                </a:lnTo>
                <a:lnTo>
                  <a:pt x="822" y="288"/>
                </a:lnTo>
                <a:lnTo>
                  <a:pt x="822" y="312"/>
                </a:lnTo>
                <a:lnTo>
                  <a:pt x="816" y="312"/>
                </a:lnTo>
                <a:lnTo>
                  <a:pt x="810" y="318"/>
                </a:lnTo>
                <a:lnTo>
                  <a:pt x="810" y="348"/>
                </a:lnTo>
                <a:lnTo>
                  <a:pt x="816" y="348"/>
                </a:lnTo>
                <a:lnTo>
                  <a:pt x="816" y="342"/>
                </a:lnTo>
                <a:lnTo>
                  <a:pt x="834" y="342"/>
                </a:lnTo>
                <a:lnTo>
                  <a:pt x="834" y="348"/>
                </a:lnTo>
                <a:lnTo>
                  <a:pt x="846" y="348"/>
                </a:lnTo>
                <a:lnTo>
                  <a:pt x="846" y="342"/>
                </a:lnTo>
                <a:lnTo>
                  <a:pt x="882" y="342"/>
                </a:lnTo>
                <a:lnTo>
                  <a:pt x="894" y="366"/>
                </a:lnTo>
                <a:lnTo>
                  <a:pt x="900" y="372"/>
                </a:lnTo>
                <a:lnTo>
                  <a:pt x="906" y="384"/>
                </a:lnTo>
                <a:lnTo>
                  <a:pt x="924" y="384"/>
                </a:lnTo>
                <a:lnTo>
                  <a:pt x="930" y="372"/>
                </a:lnTo>
                <a:lnTo>
                  <a:pt x="936" y="372"/>
                </a:lnTo>
                <a:lnTo>
                  <a:pt x="942" y="348"/>
                </a:lnTo>
                <a:lnTo>
                  <a:pt x="954" y="348"/>
                </a:lnTo>
                <a:lnTo>
                  <a:pt x="954" y="342"/>
                </a:lnTo>
                <a:lnTo>
                  <a:pt x="984" y="342"/>
                </a:lnTo>
                <a:lnTo>
                  <a:pt x="978" y="390"/>
                </a:lnTo>
                <a:lnTo>
                  <a:pt x="984" y="390"/>
                </a:lnTo>
                <a:lnTo>
                  <a:pt x="990" y="396"/>
                </a:lnTo>
                <a:lnTo>
                  <a:pt x="996" y="396"/>
                </a:lnTo>
                <a:lnTo>
                  <a:pt x="1002" y="396"/>
                </a:lnTo>
                <a:lnTo>
                  <a:pt x="1002" y="408"/>
                </a:lnTo>
                <a:lnTo>
                  <a:pt x="990" y="414"/>
                </a:lnTo>
                <a:lnTo>
                  <a:pt x="984" y="426"/>
                </a:lnTo>
                <a:lnTo>
                  <a:pt x="990" y="444"/>
                </a:lnTo>
                <a:lnTo>
                  <a:pt x="996" y="450"/>
                </a:lnTo>
                <a:lnTo>
                  <a:pt x="990" y="462"/>
                </a:lnTo>
                <a:lnTo>
                  <a:pt x="990" y="468"/>
                </a:lnTo>
                <a:lnTo>
                  <a:pt x="984" y="480"/>
                </a:lnTo>
                <a:lnTo>
                  <a:pt x="978" y="486"/>
                </a:lnTo>
                <a:lnTo>
                  <a:pt x="972" y="486"/>
                </a:lnTo>
                <a:lnTo>
                  <a:pt x="966" y="492"/>
                </a:lnTo>
                <a:lnTo>
                  <a:pt x="966" y="498"/>
                </a:lnTo>
                <a:lnTo>
                  <a:pt x="954" y="510"/>
                </a:lnTo>
                <a:lnTo>
                  <a:pt x="948" y="510"/>
                </a:lnTo>
                <a:lnTo>
                  <a:pt x="942" y="516"/>
                </a:lnTo>
                <a:lnTo>
                  <a:pt x="936" y="528"/>
                </a:lnTo>
                <a:lnTo>
                  <a:pt x="936" y="534"/>
                </a:lnTo>
                <a:lnTo>
                  <a:pt x="936" y="546"/>
                </a:lnTo>
                <a:lnTo>
                  <a:pt x="936" y="558"/>
                </a:lnTo>
                <a:lnTo>
                  <a:pt x="948" y="558"/>
                </a:lnTo>
                <a:lnTo>
                  <a:pt x="954" y="558"/>
                </a:lnTo>
                <a:lnTo>
                  <a:pt x="996" y="558"/>
                </a:lnTo>
                <a:lnTo>
                  <a:pt x="1002" y="570"/>
                </a:lnTo>
                <a:lnTo>
                  <a:pt x="996" y="576"/>
                </a:lnTo>
                <a:lnTo>
                  <a:pt x="996" y="588"/>
                </a:lnTo>
                <a:lnTo>
                  <a:pt x="984" y="588"/>
                </a:lnTo>
                <a:lnTo>
                  <a:pt x="990" y="612"/>
                </a:lnTo>
                <a:lnTo>
                  <a:pt x="1014" y="606"/>
                </a:lnTo>
                <a:lnTo>
                  <a:pt x="1014" y="636"/>
                </a:lnTo>
                <a:lnTo>
                  <a:pt x="1014" y="648"/>
                </a:lnTo>
                <a:lnTo>
                  <a:pt x="1020" y="648"/>
                </a:lnTo>
                <a:lnTo>
                  <a:pt x="1026" y="660"/>
                </a:lnTo>
                <a:lnTo>
                  <a:pt x="1038" y="654"/>
                </a:lnTo>
                <a:lnTo>
                  <a:pt x="1050" y="654"/>
                </a:lnTo>
                <a:lnTo>
                  <a:pt x="1062" y="654"/>
                </a:lnTo>
                <a:lnTo>
                  <a:pt x="1068" y="660"/>
                </a:lnTo>
                <a:lnTo>
                  <a:pt x="1068" y="678"/>
                </a:lnTo>
                <a:lnTo>
                  <a:pt x="1068" y="684"/>
                </a:lnTo>
                <a:lnTo>
                  <a:pt x="1062" y="690"/>
                </a:lnTo>
                <a:lnTo>
                  <a:pt x="1056" y="696"/>
                </a:lnTo>
                <a:lnTo>
                  <a:pt x="1056" y="702"/>
                </a:lnTo>
                <a:lnTo>
                  <a:pt x="1038" y="714"/>
                </a:lnTo>
                <a:lnTo>
                  <a:pt x="1026" y="720"/>
                </a:lnTo>
                <a:lnTo>
                  <a:pt x="1008" y="726"/>
                </a:lnTo>
                <a:lnTo>
                  <a:pt x="1008" y="732"/>
                </a:lnTo>
                <a:lnTo>
                  <a:pt x="990" y="732"/>
                </a:lnTo>
                <a:lnTo>
                  <a:pt x="984" y="744"/>
                </a:lnTo>
                <a:lnTo>
                  <a:pt x="990" y="750"/>
                </a:lnTo>
                <a:lnTo>
                  <a:pt x="984" y="762"/>
                </a:lnTo>
                <a:lnTo>
                  <a:pt x="984" y="768"/>
                </a:lnTo>
                <a:lnTo>
                  <a:pt x="984" y="774"/>
                </a:lnTo>
                <a:lnTo>
                  <a:pt x="984" y="780"/>
                </a:lnTo>
                <a:lnTo>
                  <a:pt x="984" y="786"/>
                </a:lnTo>
                <a:lnTo>
                  <a:pt x="984" y="792"/>
                </a:lnTo>
                <a:lnTo>
                  <a:pt x="978" y="798"/>
                </a:lnTo>
                <a:lnTo>
                  <a:pt x="978" y="80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82" name="Freeform 38">
            <a:extLst>
              <a:ext uri="{FF2B5EF4-FFF2-40B4-BE49-F238E27FC236}">
                <a16:creationId xmlns:a16="http://schemas.microsoft.com/office/drawing/2014/main" id="{E2BB2EA6-0F05-4994-BE8D-DE737BBC0EAD}"/>
              </a:ext>
            </a:extLst>
          </p:cNvPr>
          <p:cNvSpPr>
            <a:spLocks/>
          </p:cNvSpPr>
          <p:nvPr/>
        </p:nvSpPr>
        <p:spPr bwMode="gray">
          <a:xfrm>
            <a:off x="5435309" y="2202998"/>
            <a:ext cx="1036092" cy="1052048"/>
          </a:xfrm>
          <a:custGeom>
            <a:avLst/>
            <a:gdLst>
              <a:gd name="T0" fmla="*/ 105 w 1806"/>
              <a:gd name="T1" fmla="*/ 155 h 1806"/>
              <a:gd name="T2" fmla="*/ 103 w 1806"/>
              <a:gd name="T3" fmla="*/ 155 h 1806"/>
              <a:gd name="T4" fmla="*/ 103 w 1806"/>
              <a:gd name="T5" fmla="*/ 150 h 1806"/>
              <a:gd name="T6" fmla="*/ 104 w 1806"/>
              <a:gd name="T7" fmla="*/ 141 h 1806"/>
              <a:gd name="T8" fmla="*/ 104 w 1806"/>
              <a:gd name="T9" fmla="*/ 136 h 1806"/>
              <a:gd name="T10" fmla="*/ 100 w 1806"/>
              <a:gd name="T11" fmla="*/ 131 h 1806"/>
              <a:gd name="T12" fmla="*/ 96 w 1806"/>
              <a:gd name="T13" fmla="*/ 127 h 1806"/>
              <a:gd name="T14" fmla="*/ 91 w 1806"/>
              <a:gd name="T15" fmla="*/ 121 h 1806"/>
              <a:gd name="T16" fmla="*/ 87 w 1806"/>
              <a:gd name="T17" fmla="*/ 120 h 1806"/>
              <a:gd name="T18" fmla="*/ 81 w 1806"/>
              <a:gd name="T19" fmla="*/ 117 h 1806"/>
              <a:gd name="T20" fmla="*/ 65 w 1806"/>
              <a:gd name="T21" fmla="*/ 113 h 1806"/>
              <a:gd name="T22" fmla="*/ 69 w 1806"/>
              <a:gd name="T23" fmla="*/ 105 h 1806"/>
              <a:gd name="T24" fmla="*/ 66 w 1806"/>
              <a:gd name="T25" fmla="*/ 89 h 1806"/>
              <a:gd name="T26" fmla="*/ 63 w 1806"/>
              <a:gd name="T27" fmla="*/ 84 h 1806"/>
              <a:gd name="T28" fmla="*/ 62 w 1806"/>
              <a:gd name="T29" fmla="*/ 74 h 1806"/>
              <a:gd name="T30" fmla="*/ 58 w 1806"/>
              <a:gd name="T31" fmla="*/ 52 h 1806"/>
              <a:gd name="T32" fmla="*/ 53 w 1806"/>
              <a:gd name="T33" fmla="*/ 49 h 1806"/>
              <a:gd name="T34" fmla="*/ 51 w 1806"/>
              <a:gd name="T35" fmla="*/ 36 h 1806"/>
              <a:gd name="T36" fmla="*/ 43 w 1806"/>
              <a:gd name="T37" fmla="*/ 32 h 1806"/>
              <a:gd name="T38" fmla="*/ 33 w 1806"/>
              <a:gd name="T39" fmla="*/ 30 h 1806"/>
              <a:gd name="T40" fmla="*/ 30 w 1806"/>
              <a:gd name="T41" fmla="*/ 21 h 1806"/>
              <a:gd name="T42" fmla="*/ 17 w 1806"/>
              <a:gd name="T43" fmla="*/ 25 h 1806"/>
              <a:gd name="T44" fmla="*/ 4 w 1806"/>
              <a:gd name="T45" fmla="*/ 33 h 1806"/>
              <a:gd name="T46" fmla="*/ 7 w 1806"/>
              <a:gd name="T47" fmla="*/ 26 h 1806"/>
              <a:gd name="T48" fmla="*/ 11 w 1806"/>
              <a:gd name="T49" fmla="*/ 20 h 1806"/>
              <a:gd name="T50" fmla="*/ 18 w 1806"/>
              <a:gd name="T51" fmla="*/ 12 h 1806"/>
              <a:gd name="T52" fmla="*/ 26 w 1806"/>
              <a:gd name="T53" fmla="*/ 8 h 1806"/>
              <a:gd name="T54" fmla="*/ 35 w 1806"/>
              <a:gd name="T55" fmla="*/ 6 h 1806"/>
              <a:gd name="T56" fmla="*/ 44 w 1806"/>
              <a:gd name="T57" fmla="*/ 5 h 1806"/>
              <a:gd name="T58" fmla="*/ 54 w 1806"/>
              <a:gd name="T59" fmla="*/ 2 h 1806"/>
              <a:gd name="T60" fmla="*/ 65 w 1806"/>
              <a:gd name="T61" fmla="*/ 0 h 1806"/>
              <a:gd name="T62" fmla="*/ 76 w 1806"/>
              <a:gd name="T63" fmla="*/ 0 h 1806"/>
              <a:gd name="T64" fmla="*/ 85 w 1806"/>
              <a:gd name="T65" fmla="*/ 0 h 1806"/>
              <a:gd name="T66" fmla="*/ 97 w 1806"/>
              <a:gd name="T67" fmla="*/ 0 h 1806"/>
              <a:gd name="T68" fmla="*/ 108 w 1806"/>
              <a:gd name="T69" fmla="*/ 3 h 1806"/>
              <a:gd name="T70" fmla="*/ 115 w 1806"/>
              <a:gd name="T71" fmla="*/ 5 h 1806"/>
              <a:gd name="T72" fmla="*/ 123 w 1806"/>
              <a:gd name="T73" fmla="*/ 7 h 1806"/>
              <a:gd name="T74" fmla="*/ 133 w 1806"/>
              <a:gd name="T75" fmla="*/ 14 h 1806"/>
              <a:gd name="T76" fmla="*/ 138 w 1806"/>
              <a:gd name="T77" fmla="*/ 16 h 1806"/>
              <a:gd name="T78" fmla="*/ 140 w 1806"/>
              <a:gd name="T79" fmla="*/ 14 h 1806"/>
              <a:gd name="T80" fmla="*/ 145 w 1806"/>
              <a:gd name="T81" fmla="*/ 16 h 1806"/>
              <a:gd name="T82" fmla="*/ 147 w 1806"/>
              <a:gd name="T83" fmla="*/ 16 h 1806"/>
              <a:gd name="T84" fmla="*/ 150 w 1806"/>
              <a:gd name="T85" fmla="*/ 17 h 1806"/>
              <a:gd name="T86" fmla="*/ 152 w 1806"/>
              <a:gd name="T87" fmla="*/ 18 h 1806"/>
              <a:gd name="T88" fmla="*/ 155 w 1806"/>
              <a:gd name="T89" fmla="*/ 37 h 1806"/>
              <a:gd name="T90" fmla="*/ 146 w 1806"/>
              <a:gd name="T91" fmla="*/ 66 h 1806"/>
              <a:gd name="T92" fmla="*/ 143 w 1806"/>
              <a:gd name="T93" fmla="*/ 88 h 1806"/>
              <a:gd name="T94" fmla="*/ 144 w 1806"/>
              <a:gd name="T95" fmla="*/ 98 h 1806"/>
              <a:gd name="T96" fmla="*/ 137 w 1806"/>
              <a:gd name="T97" fmla="*/ 118 h 1806"/>
              <a:gd name="T98" fmla="*/ 132 w 1806"/>
              <a:gd name="T99" fmla="*/ 129 h 1806"/>
              <a:gd name="T100" fmla="*/ 124 w 1806"/>
              <a:gd name="T101" fmla="*/ 135 h 1806"/>
              <a:gd name="T102" fmla="*/ 119 w 1806"/>
              <a:gd name="T103" fmla="*/ 136 h 1806"/>
              <a:gd name="T104" fmla="*/ 116 w 1806"/>
              <a:gd name="T105" fmla="*/ 137 h 1806"/>
              <a:gd name="T106" fmla="*/ 112 w 1806"/>
              <a:gd name="T107" fmla="*/ 139 h 1806"/>
              <a:gd name="T108" fmla="*/ 112 w 1806"/>
              <a:gd name="T109" fmla="*/ 141 h 1806"/>
              <a:gd name="T110" fmla="*/ 116 w 1806"/>
              <a:gd name="T111" fmla="*/ 146 h 1806"/>
              <a:gd name="T112" fmla="*/ 116 w 1806"/>
              <a:gd name="T113" fmla="*/ 151 h 1806"/>
              <a:gd name="T114" fmla="*/ 113 w 1806"/>
              <a:gd name="T115" fmla="*/ 153 h 180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806"/>
              <a:gd name="T175" fmla="*/ 0 h 1806"/>
              <a:gd name="T176" fmla="*/ 1806 w 1806"/>
              <a:gd name="T177" fmla="*/ 1806 h 180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806" h="1806">
                <a:moveTo>
                  <a:pt x="1260" y="1776"/>
                </a:moveTo>
                <a:lnTo>
                  <a:pt x="1254" y="1776"/>
                </a:lnTo>
                <a:lnTo>
                  <a:pt x="1248" y="1776"/>
                </a:lnTo>
                <a:lnTo>
                  <a:pt x="1242" y="1782"/>
                </a:lnTo>
                <a:lnTo>
                  <a:pt x="1236" y="1782"/>
                </a:lnTo>
                <a:lnTo>
                  <a:pt x="1230" y="1788"/>
                </a:lnTo>
                <a:lnTo>
                  <a:pt x="1224" y="1782"/>
                </a:lnTo>
                <a:lnTo>
                  <a:pt x="1218" y="1782"/>
                </a:lnTo>
                <a:lnTo>
                  <a:pt x="1218" y="1788"/>
                </a:lnTo>
                <a:lnTo>
                  <a:pt x="1212" y="1788"/>
                </a:lnTo>
                <a:lnTo>
                  <a:pt x="1206" y="1788"/>
                </a:lnTo>
                <a:lnTo>
                  <a:pt x="1206" y="1794"/>
                </a:lnTo>
                <a:lnTo>
                  <a:pt x="1200" y="1806"/>
                </a:lnTo>
                <a:lnTo>
                  <a:pt x="1194" y="1800"/>
                </a:lnTo>
                <a:lnTo>
                  <a:pt x="1194" y="1794"/>
                </a:lnTo>
                <a:lnTo>
                  <a:pt x="1194" y="1788"/>
                </a:lnTo>
                <a:lnTo>
                  <a:pt x="1188" y="1788"/>
                </a:lnTo>
                <a:lnTo>
                  <a:pt x="1188" y="1782"/>
                </a:lnTo>
                <a:lnTo>
                  <a:pt x="1188" y="1776"/>
                </a:lnTo>
                <a:lnTo>
                  <a:pt x="1194" y="1770"/>
                </a:lnTo>
                <a:lnTo>
                  <a:pt x="1194" y="1764"/>
                </a:lnTo>
                <a:lnTo>
                  <a:pt x="1194" y="1758"/>
                </a:lnTo>
                <a:lnTo>
                  <a:pt x="1194" y="1752"/>
                </a:lnTo>
                <a:lnTo>
                  <a:pt x="1200" y="1746"/>
                </a:lnTo>
                <a:lnTo>
                  <a:pt x="1200" y="1740"/>
                </a:lnTo>
                <a:lnTo>
                  <a:pt x="1200" y="1734"/>
                </a:lnTo>
                <a:lnTo>
                  <a:pt x="1188" y="1722"/>
                </a:lnTo>
                <a:lnTo>
                  <a:pt x="1188" y="1716"/>
                </a:lnTo>
                <a:lnTo>
                  <a:pt x="1194" y="1704"/>
                </a:lnTo>
                <a:lnTo>
                  <a:pt x="1194" y="1692"/>
                </a:lnTo>
                <a:lnTo>
                  <a:pt x="1200" y="1680"/>
                </a:lnTo>
                <a:lnTo>
                  <a:pt x="1200" y="1662"/>
                </a:lnTo>
                <a:lnTo>
                  <a:pt x="1200" y="1650"/>
                </a:lnTo>
                <a:lnTo>
                  <a:pt x="1206" y="1644"/>
                </a:lnTo>
                <a:lnTo>
                  <a:pt x="1206" y="1638"/>
                </a:lnTo>
                <a:lnTo>
                  <a:pt x="1206" y="1626"/>
                </a:lnTo>
                <a:lnTo>
                  <a:pt x="1206" y="1620"/>
                </a:lnTo>
                <a:lnTo>
                  <a:pt x="1206" y="1614"/>
                </a:lnTo>
                <a:lnTo>
                  <a:pt x="1200" y="1608"/>
                </a:lnTo>
                <a:lnTo>
                  <a:pt x="1200" y="1602"/>
                </a:lnTo>
                <a:lnTo>
                  <a:pt x="1200" y="1596"/>
                </a:lnTo>
                <a:lnTo>
                  <a:pt x="1200" y="1590"/>
                </a:lnTo>
                <a:lnTo>
                  <a:pt x="1200" y="1572"/>
                </a:lnTo>
                <a:lnTo>
                  <a:pt x="1200" y="1566"/>
                </a:lnTo>
                <a:lnTo>
                  <a:pt x="1200" y="1560"/>
                </a:lnTo>
                <a:lnTo>
                  <a:pt x="1194" y="1554"/>
                </a:lnTo>
                <a:lnTo>
                  <a:pt x="1188" y="1548"/>
                </a:lnTo>
                <a:lnTo>
                  <a:pt x="1188" y="1542"/>
                </a:lnTo>
                <a:lnTo>
                  <a:pt x="1176" y="1536"/>
                </a:lnTo>
                <a:lnTo>
                  <a:pt x="1176" y="1530"/>
                </a:lnTo>
                <a:lnTo>
                  <a:pt x="1170" y="1524"/>
                </a:lnTo>
                <a:lnTo>
                  <a:pt x="1170" y="1518"/>
                </a:lnTo>
                <a:lnTo>
                  <a:pt x="1164" y="1512"/>
                </a:lnTo>
                <a:lnTo>
                  <a:pt x="1158" y="1506"/>
                </a:lnTo>
                <a:lnTo>
                  <a:pt x="1152" y="1500"/>
                </a:lnTo>
                <a:lnTo>
                  <a:pt x="1146" y="1494"/>
                </a:lnTo>
                <a:lnTo>
                  <a:pt x="1140" y="1488"/>
                </a:lnTo>
                <a:lnTo>
                  <a:pt x="1134" y="1482"/>
                </a:lnTo>
                <a:lnTo>
                  <a:pt x="1128" y="1476"/>
                </a:lnTo>
                <a:lnTo>
                  <a:pt x="1122" y="1470"/>
                </a:lnTo>
                <a:lnTo>
                  <a:pt x="1116" y="1464"/>
                </a:lnTo>
                <a:lnTo>
                  <a:pt x="1110" y="1464"/>
                </a:lnTo>
                <a:lnTo>
                  <a:pt x="1104" y="1458"/>
                </a:lnTo>
                <a:lnTo>
                  <a:pt x="1098" y="1464"/>
                </a:lnTo>
                <a:lnTo>
                  <a:pt x="1092" y="1464"/>
                </a:lnTo>
                <a:lnTo>
                  <a:pt x="1086" y="1446"/>
                </a:lnTo>
                <a:lnTo>
                  <a:pt x="1086" y="1440"/>
                </a:lnTo>
                <a:lnTo>
                  <a:pt x="1080" y="1416"/>
                </a:lnTo>
                <a:lnTo>
                  <a:pt x="1068" y="1404"/>
                </a:lnTo>
                <a:lnTo>
                  <a:pt x="1062" y="1398"/>
                </a:lnTo>
                <a:lnTo>
                  <a:pt x="1056" y="1398"/>
                </a:lnTo>
                <a:lnTo>
                  <a:pt x="1050" y="1398"/>
                </a:lnTo>
                <a:lnTo>
                  <a:pt x="1044" y="1398"/>
                </a:lnTo>
                <a:lnTo>
                  <a:pt x="1044" y="1392"/>
                </a:lnTo>
                <a:lnTo>
                  <a:pt x="1038" y="1392"/>
                </a:lnTo>
                <a:lnTo>
                  <a:pt x="1032" y="1392"/>
                </a:lnTo>
                <a:lnTo>
                  <a:pt x="1020" y="1386"/>
                </a:lnTo>
                <a:lnTo>
                  <a:pt x="1014" y="1386"/>
                </a:lnTo>
                <a:lnTo>
                  <a:pt x="1014" y="1380"/>
                </a:lnTo>
                <a:lnTo>
                  <a:pt x="1008" y="1380"/>
                </a:lnTo>
                <a:lnTo>
                  <a:pt x="1002" y="1374"/>
                </a:lnTo>
                <a:lnTo>
                  <a:pt x="996" y="1368"/>
                </a:lnTo>
                <a:lnTo>
                  <a:pt x="990" y="1362"/>
                </a:lnTo>
                <a:lnTo>
                  <a:pt x="984" y="1356"/>
                </a:lnTo>
                <a:lnTo>
                  <a:pt x="978" y="1356"/>
                </a:lnTo>
                <a:lnTo>
                  <a:pt x="972" y="1356"/>
                </a:lnTo>
                <a:lnTo>
                  <a:pt x="966" y="1356"/>
                </a:lnTo>
                <a:lnTo>
                  <a:pt x="966" y="1350"/>
                </a:lnTo>
                <a:lnTo>
                  <a:pt x="948" y="1350"/>
                </a:lnTo>
                <a:lnTo>
                  <a:pt x="936" y="1344"/>
                </a:lnTo>
                <a:lnTo>
                  <a:pt x="930" y="1338"/>
                </a:lnTo>
                <a:lnTo>
                  <a:pt x="918" y="1332"/>
                </a:lnTo>
                <a:lnTo>
                  <a:pt x="900" y="1326"/>
                </a:lnTo>
                <a:lnTo>
                  <a:pt x="864" y="1332"/>
                </a:lnTo>
                <a:lnTo>
                  <a:pt x="828" y="1332"/>
                </a:lnTo>
                <a:lnTo>
                  <a:pt x="792" y="1314"/>
                </a:lnTo>
                <a:lnTo>
                  <a:pt x="780" y="1314"/>
                </a:lnTo>
                <a:lnTo>
                  <a:pt x="780" y="1308"/>
                </a:lnTo>
                <a:lnTo>
                  <a:pt x="756" y="1296"/>
                </a:lnTo>
                <a:lnTo>
                  <a:pt x="756" y="1278"/>
                </a:lnTo>
                <a:lnTo>
                  <a:pt x="768" y="1278"/>
                </a:lnTo>
                <a:lnTo>
                  <a:pt x="774" y="1272"/>
                </a:lnTo>
                <a:lnTo>
                  <a:pt x="780" y="1266"/>
                </a:lnTo>
                <a:lnTo>
                  <a:pt x="786" y="1260"/>
                </a:lnTo>
                <a:lnTo>
                  <a:pt x="792" y="1254"/>
                </a:lnTo>
                <a:lnTo>
                  <a:pt x="798" y="1242"/>
                </a:lnTo>
                <a:lnTo>
                  <a:pt x="804" y="1242"/>
                </a:lnTo>
                <a:lnTo>
                  <a:pt x="804" y="1206"/>
                </a:lnTo>
                <a:lnTo>
                  <a:pt x="804" y="1182"/>
                </a:lnTo>
                <a:lnTo>
                  <a:pt x="804" y="1158"/>
                </a:lnTo>
                <a:lnTo>
                  <a:pt x="804" y="1134"/>
                </a:lnTo>
                <a:lnTo>
                  <a:pt x="798" y="1116"/>
                </a:lnTo>
                <a:lnTo>
                  <a:pt x="792" y="1092"/>
                </a:lnTo>
                <a:lnTo>
                  <a:pt x="786" y="1062"/>
                </a:lnTo>
                <a:lnTo>
                  <a:pt x="768" y="1032"/>
                </a:lnTo>
                <a:lnTo>
                  <a:pt x="762" y="1032"/>
                </a:lnTo>
                <a:lnTo>
                  <a:pt x="762" y="1020"/>
                </a:lnTo>
                <a:lnTo>
                  <a:pt x="762" y="1014"/>
                </a:lnTo>
                <a:lnTo>
                  <a:pt x="756" y="1008"/>
                </a:lnTo>
                <a:lnTo>
                  <a:pt x="750" y="1002"/>
                </a:lnTo>
                <a:lnTo>
                  <a:pt x="738" y="1002"/>
                </a:lnTo>
                <a:lnTo>
                  <a:pt x="738" y="990"/>
                </a:lnTo>
                <a:lnTo>
                  <a:pt x="726" y="990"/>
                </a:lnTo>
                <a:lnTo>
                  <a:pt x="726" y="978"/>
                </a:lnTo>
                <a:lnTo>
                  <a:pt x="732" y="972"/>
                </a:lnTo>
                <a:lnTo>
                  <a:pt x="732" y="966"/>
                </a:lnTo>
                <a:lnTo>
                  <a:pt x="726" y="966"/>
                </a:lnTo>
                <a:lnTo>
                  <a:pt x="732" y="948"/>
                </a:lnTo>
                <a:lnTo>
                  <a:pt x="726" y="942"/>
                </a:lnTo>
                <a:lnTo>
                  <a:pt x="726" y="930"/>
                </a:lnTo>
                <a:lnTo>
                  <a:pt x="720" y="924"/>
                </a:lnTo>
                <a:lnTo>
                  <a:pt x="714" y="912"/>
                </a:lnTo>
                <a:lnTo>
                  <a:pt x="714" y="882"/>
                </a:lnTo>
                <a:lnTo>
                  <a:pt x="714" y="870"/>
                </a:lnTo>
                <a:lnTo>
                  <a:pt x="714" y="858"/>
                </a:lnTo>
                <a:lnTo>
                  <a:pt x="714" y="846"/>
                </a:lnTo>
                <a:lnTo>
                  <a:pt x="708" y="822"/>
                </a:lnTo>
                <a:lnTo>
                  <a:pt x="702" y="798"/>
                </a:lnTo>
                <a:lnTo>
                  <a:pt x="696" y="792"/>
                </a:lnTo>
                <a:lnTo>
                  <a:pt x="684" y="726"/>
                </a:lnTo>
                <a:lnTo>
                  <a:pt x="678" y="666"/>
                </a:lnTo>
                <a:lnTo>
                  <a:pt x="678" y="606"/>
                </a:lnTo>
                <a:lnTo>
                  <a:pt x="666" y="606"/>
                </a:lnTo>
                <a:lnTo>
                  <a:pt x="666" y="600"/>
                </a:lnTo>
                <a:lnTo>
                  <a:pt x="660" y="594"/>
                </a:lnTo>
                <a:lnTo>
                  <a:pt x="654" y="594"/>
                </a:lnTo>
                <a:lnTo>
                  <a:pt x="636" y="582"/>
                </a:lnTo>
                <a:lnTo>
                  <a:pt x="630" y="576"/>
                </a:lnTo>
                <a:lnTo>
                  <a:pt x="624" y="576"/>
                </a:lnTo>
                <a:lnTo>
                  <a:pt x="618" y="570"/>
                </a:lnTo>
                <a:lnTo>
                  <a:pt x="612" y="564"/>
                </a:lnTo>
                <a:lnTo>
                  <a:pt x="606" y="558"/>
                </a:lnTo>
                <a:lnTo>
                  <a:pt x="606" y="564"/>
                </a:lnTo>
                <a:lnTo>
                  <a:pt x="600" y="564"/>
                </a:lnTo>
                <a:lnTo>
                  <a:pt x="594" y="558"/>
                </a:lnTo>
                <a:lnTo>
                  <a:pt x="594" y="540"/>
                </a:lnTo>
                <a:lnTo>
                  <a:pt x="594" y="528"/>
                </a:lnTo>
                <a:lnTo>
                  <a:pt x="594" y="516"/>
                </a:lnTo>
                <a:lnTo>
                  <a:pt x="594" y="510"/>
                </a:lnTo>
                <a:lnTo>
                  <a:pt x="594" y="492"/>
                </a:lnTo>
                <a:lnTo>
                  <a:pt x="594" y="456"/>
                </a:lnTo>
                <a:lnTo>
                  <a:pt x="588" y="414"/>
                </a:lnTo>
                <a:lnTo>
                  <a:pt x="588" y="408"/>
                </a:lnTo>
                <a:lnTo>
                  <a:pt x="582" y="396"/>
                </a:lnTo>
                <a:lnTo>
                  <a:pt x="582" y="384"/>
                </a:lnTo>
                <a:lnTo>
                  <a:pt x="582" y="372"/>
                </a:lnTo>
                <a:lnTo>
                  <a:pt x="564" y="372"/>
                </a:lnTo>
                <a:lnTo>
                  <a:pt x="552" y="366"/>
                </a:lnTo>
                <a:lnTo>
                  <a:pt x="552" y="372"/>
                </a:lnTo>
                <a:lnTo>
                  <a:pt x="498" y="372"/>
                </a:lnTo>
                <a:lnTo>
                  <a:pt x="498" y="366"/>
                </a:lnTo>
                <a:lnTo>
                  <a:pt x="474" y="360"/>
                </a:lnTo>
                <a:lnTo>
                  <a:pt x="456" y="354"/>
                </a:lnTo>
                <a:lnTo>
                  <a:pt x="438" y="348"/>
                </a:lnTo>
                <a:lnTo>
                  <a:pt x="426" y="354"/>
                </a:lnTo>
                <a:lnTo>
                  <a:pt x="408" y="360"/>
                </a:lnTo>
                <a:lnTo>
                  <a:pt x="378" y="360"/>
                </a:lnTo>
                <a:lnTo>
                  <a:pt x="378" y="354"/>
                </a:lnTo>
                <a:lnTo>
                  <a:pt x="378" y="348"/>
                </a:lnTo>
                <a:lnTo>
                  <a:pt x="378" y="342"/>
                </a:lnTo>
                <a:lnTo>
                  <a:pt x="390" y="330"/>
                </a:lnTo>
                <a:lnTo>
                  <a:pt x="396" y="312"/>
                </a:lnTo>
                <a:lnTo>
                  <a:pt x="396" y="282"/>
                </a:lnTo>
                <a:lnTo>
                  <a:pt x="390" y="276"/>
                </a:lnTo>
                <a:lnTo>
                  <a:pt x="384" y="264"/>
                </a:lnTo>
                <a:lnTo>
                  <a:pt x="378" y="258"/>
                </a:lnTo>
                <a:lnTo>
                  <a:pt x="372" y="234"/>
                </a:lnTo>
                <a:lnTo>
                  <a:pt x="354" y="234"/>
                </a:lnTo>
                <a:lnTo>
                  <a:pt x="342" y="246"/>
                </a:lnTo>
                <a:lnTo>
                  <a:pt x="330" y="252"/>
                </a:lnTo>
                <a:lnTo>
                  <a:pt x="318" y="252"/>
                </a:lnTo>
                <a:lnTo>
                  <a:pt x="276" y="258"/>
                </a:lnTo>
                <a:lnTo>
                  <a:pt x="276" y="264"/>
                </a:lnTo>
                <a:lnTo>
                  <a:pt x="252" y="270"/>
                </a:lnTo>
                <a:lnTo>
                  <a:pt x="240" y="270"/>
                </a:lnTo>
                <a:lnTo>
                  <a:pt x="228" y="276"/>
                </a:lnTo>
                <a:lnTo>
                  <a:pt x="210" y="282"/>
                </a:lnTo>
                <a:lnTo>
                  <a:pt x="198" y="288"/>
                </a:lnTo>
                <a:lnTo>
                  <a:pt x="186" y="294"/>
                </a:lnTo>
                <a:lnTo>
                  <a:pt x="174" y="330"/>
                </a:lnTo>
                <a:lnTo>
                  <a:pt x="162" y="342"/>
                </a:lnTo>
                <a:lnTo>
                  <a:pt x="156" y="354"/>
                </a:lnTo>
                <a:lnTo>
                  <a:pt x="150" y="360"/>
                </a:lnTo>
                <a:lnTo>
                  <a:pt x="150" y="366"/>
                </a:lnTo>
                <a:lnTo>
                  <a:pt x="108" y="372"/>
                </a:lnTo>
                <a:lnTo>
                  <a:pt x="60" y="378"/>
                </a:lnTo>
                <a:lnTo>
                  <a:pt x="42" y="378"/>
                </a:lnTo>
                <a:lnTo>
                  <a:pt x="12" y="378"/>
                </a:lnTo>
                <a:lnTo>
                  <a:pt x="6" y="378"/>
                </a:lnTo>
                <a:lnTo>
                  <a:pt x="0" y="366"/>
                </a:lnTo>
                <a:lnTo>
                  <a:pt x="12" y="360"/>
                </a:lnTo>
                <a:lnTo>
                  <a:pt x="24" y="348"/>
                </a:lnTo>
                <a:lnTo>
                  <a:pt x="30" y="342"/>
                </a:lnTo>
                <a:lnTo>
                  <a:pt x="36" y="330"/>
                </a:lnTo>
                <a:lnTo>
                  <a:pt x="72" y="300"/>
                </a:lnTo>
                <a:lnTo>
                  <a:pt x="78" y="294"/>
                </a:lnTo>
                <a:lnTo>
                  <a:pt x="78" y="288"/>
                </a:lnTo>
                <a:lnTo>
                  <a:pt x="90" y="282"/>
                </a:lnTo>
                <a:lnTo>
                  <a:pt x="90" y="276"/>
                </a:lnTo>
                <a:lnTo>
                  <a:pt x="96" y="270"/>
                </a:lnTo>
                <a:lnTo>
                  <a:pt x="102" y="264"/>
                </a:lnTo>
                <a:lnTo>
                  <a:pt x="108" y="258"/>
                </a:lnTo>
                <a:lnTo>
                  <a:pt x="114" y="246"/>
                </a:lnTo>
                <a:lnTo>
                  <a:pt x="120" y="240"/>
                </a:lnTo>
                <a:lnTo>
                  <a:pt x="126" y="234"/>
                </a:lnTo>
                <a:lnTo>
                  <a:pt x="138" y="216"/>
                </a:lnTo>
                <a:lnTo>
                  <a:pt x="144" y="216"/>
                </a:lnTo>
                <a:lnTo>
                  <a:pt x="150" y="210"/>
                </a:lnTo>
                <a:lnTo>
                  <a:pt x="162" y="204"/>
                </a:lnTo>
                <a:lnTo>
                  <a:pt x="162" y="198"/>
                </a:lnTo>
                <a:lnTo>
                  <a:pt x="168" y="198"/>
                </a:lnTo>
                <a:lnTo>
                  <a:pt x="186" y="174"/>
                </a:lnTo>
                <a:lnTo>
                  <a:pt x="210" y="150"/>
                </a:lnTo>
                <a:lnTo>
                  <a:pt x="210" y="144"/>
                </a:lnTo>
                <a:lnTo>
                  <a:pt x="216" y="144"/>
                </a:lnTo>
                <a:lnTo>
                  <a:pt x="222" y="138"/>
                </a:lnTo>
                <a:lnTo>
                  <a:pt x="234" y="132"/>
                </a:lnTo>
                <a:lnTo>
                  <a:pt x="246" y="126"/>
                </a:lnTo>
                <a:lnTo>
                  <a:pt x="246" y="120"/>
                </a:lnTo>
                <a:lnTo>
                  <a:pt x="258" y="114"/>
                </a:lnTo>
                <a:lnTo>
                  <a:pt x="264" y="114"/>
                </a:lnTo>
                <a:lnTo>
                  <a:pt x="288" y="102"/>
                </a:lnTo>
                <a:lnTo>
                  <a:pt x="300" y="96"/>
                </a:lnTo>
                <a:lnTo>
                  <a:pt x="306" y="90"/>
                </a:lnTo>
                <a:lnTo>
                  <a:pt x="318" y="90"/>
                </a:lnTo>
                <a:lnTo>
                  <a:pt x="324" y="84"/>
                </a:lnTo>
                <a:lnTo>
                  <a:pt x="348" y="72"/>
                </a:lnTo>
                <a:lnTo>
                  <a:pt x="354" y="72"/>
                </a:lnTo>
                <a:lnTo>
                  <a:pt x="384" y="66"/>
                </a:lnTo>
                <a:lnTo>
                  <a:pt x="390" y="66"/>
                </a:lnTo>
                <a:lnTo>
                  <a:pt x="396" y="66"/>
                </a:lnTo>
                <a:lnTo>
                  <a:pt x="408" y="66"/>
                </a:lnTo>
                <a:lnTo>
                  <a:pt x="414" y="66"/>
                </a:lnTo>
                <a:lnTo>
                  <a:pt x="432" y="66"/>
                </a:lnTo>
                <a:lnTo>
                  <a:pt x="438" y="66"/>
                </a:lnTo>
                <a:lnTo>
                  <a:pt x="468" y="66"/>
                </a:lnTo>
                <a:lnTo>
                  <a:pt x="480" y="66"/>
                </a:lnTo>
                <a:lnTo>
                  <a:pt x="486" y="66"/>
                </a:lnTo>
                <a:lnTo>
                  <a:pt x="498" y="60"/>
                </a:lnTo>
                <a:lnTo>
                  <a:pt x="504" y="60"/>
                </a:lnTo>
                <a:lnTo>
                  <a:pt x="510" y="60"/>
                </a:lnTo>
                <a:lnTo>
                  <a:pt x="522" y="60"/>
                </a:lnTo>
                <a:lnTo>
                  <a:pt x="534" y="54"/>
                </a:lnTo>
                <a:lnTo>
                  <a:pt x="564" y="42"/>
                </a:lnTo>
                <a:lnTo>
                  <a:pt x="570" y="42"/>
                </a:lnTo>
                <a:lnTo>
                  <a:pt x="582" y="36"/>
                </a:lnTo>
                <a:lnTo>
                  <a:pt x="588" y="36"/>
                </a:lnTo>
                <a:lnTo>
                  <a:pt x="600" y="30"/>
                </a:lnTo>
                <a:lnTo>
                  <a:pt x="606" y="30"/>
                </a:lnTo>
                <a:lnTo>
                  <a:pt x="618" y="24"/>
                </a:lnTo>
                <a:lnTo>
                  <a:pt x="642" y="18"/>
                </a:lnTo>
                <a:lnTo>
                  <a:pt x="648" y="12"/>
                </a:lnTo>
                <a:lnTo>
                  <a:pt x="654" y="12"/>
                </a:lnTo>
                <a:lnTo>
                  <a:pt x="660" y="12"/>
                </a:lnTo>
                <a:lnTo>
                  <a:pt x="672" y="12"/>
                </a:lnTo>
                <a:lnTo>
                  <a:pt x="696" y="12"/>
                </a:lnTo>
                <a:lnTo>
                  <a:pt x="708" y="12"/>
                </a:lnTo>
                <a:lnTo>
                  <a:pt x="732" y="12"/>
                </a:lnTo>
                <a:lnTo>
                  <a:pt x="750" y="6"/>
                </a:lnTo>
                <a:lnTo>
                  <a:pt x="768" y="6"/>
                </a:lnTo>
                <a:lnTo>
                  <a:pt x="774" y="6"/>
                </a:lnTo>
                <a:lnTo>
                  <a:pt x="786" y="6"/>
                </a:lnTo>
                <a:lnTo>
                  <a:pt x="798" y="6"/>
                </a:lnTo>
                <a:lnTo>
                  <a:pt x="804" y="6"/>
                </a:lnTo>
                <a:lnTo>
                  <a:pt x="816" y="6"/>
                </a:lnTo>
                <a:lnTo>
                  <a:pt x="846" y="6"/>
                </a:lnTo>
                <a:lnTo>
                  <a:pt x="852" y="0"/>
                </a:lnTo>
                <a:lnTo>
                  <a:pt x="876" y="0"/>
                </a:lnTo>
                <a:lnTo>
                  <a:pt x="876" y="6"/>
                </a:lnTo>
                <a:lnTo>
                  <a:pt x="888" y="0"/>
                </a:lnTo>
                <a:lnTo>
                  <a:pt x="900" y="0"/>
                </a:lnTo>
                <a:lnTo>
                  <a:pt x="906" y="0"/>
                </a:lnTo>
                <a:lnTo>
                  <a:pt x="912" y="0"/>
                </a:lnTo>
                <a:lnTo>
                  <a:pt x="948" y="0"/>
                </a:lnTo>
                <a:lnTo>
                  <a:pt x="954" y="0"/>
                </a:lnTo>
                <a:lnTo>
                  <a:pt x="972" y="0"/>
                </a:lnTo>
                <a:lnTo>
                  <a:pt x="978" y="0"/>
                </a:lnTo>
                <a:lnTo>
                  <a:pt x="996" y="0"/>
                </a:lnTo>
                <a:lnTo>
                  <a:pt x="1032" y="0"/>
                </a:lnTo>
                <a:lnTo>
                  <a:pt x="1044" y="0"/>
                </a:lnTo>
                <a:lnTo>
                  <a:pt x="1050" y="0"/>
                </a:lnTo>
                <a:lnTo>
                  <a:pt x="1056" y="6"/>
                </a:lnTo>
                <a:lnTo>
                  <a:pt x="1056" y="0"/>
                </a:lnTo>
                <a:lnTo>
                  <a:pt x="1074" y="0"/>
                </a:lnTo>
                <a:lnTo>
                  <a:pt x="1098" y="6"/>
                </a:lnTo>
                <a:lnTo>
                  <a:pt x="1116" y="6"/>
                </a:lnTo>
                <a:lnTo>
                  <a:pt x="1140" y="12"/>
                </a:lnTo>
                <a:lnTo>
                  <a:pt x="1152" y="12"/>
                </a:lnTo>
                <a:lnTo>
                  <a:pt x="1158" y="12"/>
                </a:lnTo>
                <a:lnTo>
                  <a:pt x="1164" y="12"/>
                </a:lnTo>
                <a:lnTo>
                  <a:pt x="1170" y="12"/>
                </a:lnTo>
                <a:lnTo>
                  <a:pt x="1176" y="12"/>
                </a:lnTo>
                <a:lnTo>
                  <a:pt x="1194" y="18"/>
                </a:lnTo>
                <a:lnTo>
                  <a:pt x="1206" y="18"/>
                </a:lnTo>
                <a:lnTo>
                  <a:pt x="1242" y="36"/>
                </a:lnTo>
                <a:lnTo>
                  <a:pt x="1248" y="36"/>
                </a:lnTo>
                <a:lnTo>
                  <a:pt x="1254" y="36"/>
                </a:lnTo>
                <a:lnTo>
                  <a:pt x="1260" y="42"/>
                </a:lnTo>
                <a:lnTo>
                  <a:pt x="1272" y="48"/>
                </a:lnTo>
                <a:lnTo>
                  <a:pt x="1278" y="48"/>
                </a:lnTo>
                <a:lnTo>
                  <a:pt x="1284" y="48"/>
                </a:lnTo>
                <a:lnTo>
                  <a:pt x="1290" y="54"/>
                </a:lnTo>
                <a:lnTo>
                  <a:pt x="1308" y="60"/>
                </a:lnTo>
                <a:lnTo>
                  <a:pt x="1326" y="60"/>
                </a:lnTo>
                <a:lnTo>
                  <a:pt x="1338" y="66"/>
                </a:lnTo>
                <a:lnTo>
                  <a:pt x="1344" y="66"/>
                </a:lnTo>
                <a:lnTo>
                  <a:pt x="1350" y="66"/>
                </a:lnTo>
                <a:lnTo>
                  <a:pt x="1356" y="66"/>
                </a:lnTo>
                <a:lnTo>
                  <a:pt x="1362" y="72"/>
                </a:lnTo>
                <a:lnTo>
                  <a:pt x="1368" y="72"/>
                </a:lnTo>
                <a:lnTo>
                  <a:pt x="1380" y="72"/>
                </a:lnTo>
                <a:lnTo>
                  <a:pt x="1386" y="72"/>
                </a:lnTo>
                <a:lnTo>
                  <a:pt x="1422" y="84"/>
                </a:lnTo>
                <a:lnTo>
                  <a:pt x="1428" y="84"/>
                </a:lnTo>
                <a:lnTo>
                  <a:pt x="1446" y="90"/>
                </a:lnTo>
                <a:lnTo>
                  <a:pt x="1458" y="102"/>
                </a:lnTo>
                <a:lnTo>
                  <a:pt x="1494" y="126"/>
                </a:lnTo>
                <a:lnTo>
                  <a:pt x="1500" y="132"/>
                </a:lnTo>
                <a:lnTo>
                  <a:pt x="1512" y="138"/>
                </a:lnTo>
                <a:lnTo>
                  <a:pt x="1512" y="144"/>
                </a:lnTo>
                <a:lnTo>
                  <a:pt x="1518" y="150"/>
                </a:lnTo>
                <a:lnTo>
                  <a:pt x="1530" y="156"/>
                </a:lnTo>
                <a:lnTo>
                  <a:pt x="1530" y="162"/>
                </a:lnTo>
                <a:lnTo>
                  <a:pt x="1548" y="168"/>
                </a:lnTo>
                <a:lnTo>
                  <a:pt x="1566" y="180"/>
                </a:lnTo>
                <a:lnTo>
                  <a:pt x="1578" y="186"/>
                </a:lnTo>
                <a:lnTo>
                  <a:pt x="1578" y="180"/>
                </a:lnTo>
                <a:lnTo>
                  <a:pt x="1584" y="186"/>
                </a:lnTo>
                <a:lnTo>
                  <a:pt x="1584" y="174"/>
                </a:lnTo>
                <a:lnTo>
                  <a:pt x="1590" y="174"/>
                </a:lnTo>
                <a:lnTo>
                  <a:pt x="1590" y="180"/>
                </a:lnTo>
                <a:lnTo>
                  <a:pt x="1596" y="180"/>
                </a:lnTo>
                <a:lnTo>
                  <a:pt x="1596" y="174"/>
                </a:lnTo>
                <a:lnTo>
                  <a:pt x="1602" y="174"/>
                </a:lnTo>
                <a:lnTo>
                  <a:pt x="1608" y="174"/>
                </a:lnTo>
                <a:lnTo>
                  <a:pt x="1614" y="180"/>
                </a:lnTo>
                <a:lnTo>
                  <a:pt x="1620" y="174"/>
                </a:lnTo>
                <a:lnTo>
                  <a:pt x="1614" y="168"/>
                </a:lnTo>
                <a:lnTo>
                  <a:pt x="1614" y="162"/>
                </a:lnTo>
                <a:lnTo>
                  <a:pt x="1620" y="162"/>
                </a:lnTo>
                <a:lnTo>
                  <a:pt x="1626" y="162"/>
                </a:lnTo>
                <a:lnTo>
                  <a:pt x="1632" y="162"/>
                </a:lnTo>
                <a:lnTo>
                  <a:pt x="1638" y="168"/>
                </a:lnTo>
                <a:lnTo>
                  <a:pt x="1644" y="168"/>
                </a:lnTo>
                <a:lnTo>
                  <a:pt x="1650" y="174"/>
                </a:lnTo>
                <a:lnTo>
                  <a:pt x="1656" y="168"/>
                </a:lnTo>
                <a:lnTo>
                  <a:pt x="1668" y="168"/>
                </a:lnTo>
                <a:lnTo>
                  <a:pt x="1674" y="174"/>
                </a:lnTo>
                <a:lnTo>
                  <a:pt x="1674" y="180"/>
                </a:lnTo>
                <a:lnTo>
                  <a:pt x="1674" y="186"/>
                </a:lnTo>
                <a:lnTo>
                  <a:pt x="1680" y="186"/>
                </a:lnTo>
                <a:lnTo>
                  <a:pt x="1680" y="192"/>
                </a:lnTo>
                <a:lnTo>
                  <a:pt x="1686" y="192"/>
                </a:lnTo>
                <a:lnTo>
                  <a:pt x="1686" y="186"/>
                </a:lnTo>
                <a:lnTo>
                  <a:pt x="1680" y="186"/>
                </a:lnTo>
                <a:lnTo>
                  <a:pt x="1686" y="180"/>
                </a:lnTo>
                <a:lnTo>
                  <a:pt x="1692" y="180"/>
                </a:lnTo>
                <a:lnTo>
                  <a:pt x="1698" y="180"/>
                </a:lnTo>
                <a:lnTo>
                  <a:pt x="1704" y="180"/>
                </a:lnTo>
                <a:lnTo>
                  <a:pt x="1704" y="186"/>
                </a:lnTo>
                <a:lnTo>
                  <a:pt x="1710" y="186"/>
                </a:lnTo>
                <a:lnTo>
                  <a:pt x="1716" y="186"/>
                </a:lnTo>
                <a:lnTo>
                  <a:pt x="1716" y="192"/>
                </a:lnTo>
                <a:lnTo>
                  <a:pt x="1716" y="198"/>
                </a:lnTo>
                <a:lnTo>
                  <a:pt x="1722" y="192"/>
                </a:lnTo>
                <a:lnTo>
                  <a:pt x="1722" y="186"/>
                </a:lnTo>
                <a:lnTo>
                  <a:pt x="1728" y="192"/>
                </a:lnTo>
                <a:lnTo>
                  <a:pt x="1734" y="192"/>
                </a:lnTo>
                <a:lnTo>
                  <a:pt x="1734" y="186"/>
                </a:lnTo>
                <a:lnTo>
                  <a:pt x="1740" y="186"/>
                </a:lnTo>
                <a:lnTo>
                  <a:pt x="1740" y="192"/>
                </a:lnTo>
                <a:lnTo>
                  <a:pt x="1746" y="192"/>
                </a:lnTo>
                <a:lnTo>
                  <a:pt x="1758" y="192"/>
                </a:lnTo>
                <a:lnTo>
                  <a:pt x="1764" y="192"/>
                </a:lnTo>
                <a:lnTo>
                  <a:pt x="1764" y="198"/>
                </a:lnTo>
                <a:lnTo>
                  <a:pt x="1758" y="204"/>
                </a:lnTo>
                <a:lnTo>
                  <a:pt x="1752" y="210"/>
                </a:lnTo>
                <a:lnTo>
                  <a:pt x="1746" y="216"/>
                </a:lnTo>
                <a:lnTo>
                  <a:pt x="1746" y="222"/>
                </a:lnTo>
                <a:lnTo>
                  <a:pt x="1734" y="228"/>
                </a:lnTo>
                <a:lnTo>
                  <a:pt x="1734" y="234"/>
                </a:lnTo>
                <a:lnTo>
                  <a:pt x="1734" y="258"/>
                </a:lnTo>
                <a:lnTo>
                  <a:pt x="1740" y="330"/>
                </a:lnTo>
                <a:lnTo>
                  <a:pt x="1746" y="372"/>
                </a:lnTo>
                <a:lnTo>
                  <a:pt x="1788" y="426"/>
                </a:lnTo>
                <a:lnTo>
                  <a:pt x="1806" y="438"/>
                </a:lnTo>
                <a:lnTo>
                  <a:pt x="1794" y="480"/>
                </a:lnTo>
                <a:lnTo>
                  <a:pt x="1770" y="516"/>
                </a:lnTo>
                <a:lnTo>
                  <a:pt x="1746" y="546"/>
                </a:lnTo>
                <a:lnTo>
                  <a:pt x="1716" y="570"/>
                </a:lnTo>
                <a:lnTo>
                  <a:pt x="1680" y="594"/>
                </a:lnTo>
                <a:lnTo>
                  <a:pt x="1668" y="630"/>
                </a:lnTo>
                <a:lnTo>
                  <a:pt x="1680" y="684"/>
                </a:lnTo>
                <a:lnTo>
                  <a:pt x="1686" y="756"/>
                </a:lnTo>
                <a:lnTo>
                  <a:pt x="1662" y="870"/>
                </a:lnTo>
                <a:lnTo>
                  <a:pt x="1656" y="888"/>
                </a:lnTo>
                <a:lnTo>
                  <a:pt x="1650" y="972"/>
                </a:lnTo>
                <a:lnTo>
                  <a:pt x="1656" y="978"/>
                </a:lnTo>
                <a:lnTo>
                  <a:pt x="1650" y="984"/>
                </a:lnTo>
                <a:lnTo>
                  <a:pt x="1650" y="990"/>
                </a:lnTo>
                <a:lnTo>
                  <a:pt x="1650" y="1002"/>
                </a:lnTo>
                <a:lnTo>
                  <a:pt x="1656" y="1008"/>
                </a:lnTo>
                <a:lnTo>
                  <a:pt x="1656" y="1014"/>
                </a:lnTo>
                <a:lnTo>
                  <a:pt x="1662" y="1026"/>
                </a:lnTo>
                <a:lnTo>
                  <a:pt x="1650" y="1032"/>
                </a:lnTo>
                <a:lnTo>
                  <a:pt x="1638" y="1044"/>
                </a:lnTo>
                <a:lnTo>
                  <a:pt x="1626" y="1080"/>
                </a:lnTo>
                <a:lnTo>
                  <a:pt x="1614" y="1116"/>
                </a:lnTo>
                <a:lnTo>
                  <a:pt x="1614" y="1128"/>
                </a:lnTo>
                <a:lnTo>
                  <a:pt x="1626" y="1134"/>
                </a:lnTo>
                <a:lnTo>
                  <a:pt x="1644" y="1134"/>
                </a:lnTo>
                <a:lnTo>
                  <a:pt x="1662" y="1134"/>
                </a:lnTo>
                <a:lnTo>
                  <a:pt x="1680" y="1140"/>
                </a:lnTo>
                <a:lnTo>
                  <a:pt x="1698" y="1170"/>
                </a:lnTo>
                <a:lnTo>
                  <a:pt x="1704" y="1194"/>
                </a:lnTo>
                <a:lnTo>
                  <a:pt x="1692" y="1206"/>
                </a:lnTo>
                <a:lnTo>
                  <a:pt x="1662" y="1242"/>
                </a:lnTo>
                <a:lnTo>
                  <a:pt x="1632" y="1266"/>
                </a:lnTo>
                <a:lnTo>
                  <a:pt x="1620" y="1314"/>
                </a:lnTo>
                <a:lnTo>
                  <a:pt x="1584" y="1356"/>
                </a:lnTo>
                <a:lnTo>
                  <a:pt x="1578" y="1356"/>
                </a:lnTo>
                <a:lnTo>
                  <a:pt x="1578" y="1362"/>
                </a:lnTo>
                <a:lnTo>
                  <a:pt x="1572" y="1410"/>
                </a:lnTo>
                <a:lnTo>
                  <a:pt x="1584" y="1452"/>
                </a:lnTo>
                <a:lnTo>
                  <a:pt x="1608" y="1476"/>
                </a:lnTo>
                <a:lnTo>
                  <a:pt x="1596" y="1476"/>
                </a:lnTo>
                <a:lnTo>
                  <a:pt x="1584" y="1482"/>
                </a:lnTo>
                <a:lnTo>
                  <a:pt x="1560" y="1482"/>
                </a:lnTo>
                <a:lnTo>
                  <a:pt x="1536" y="1482"/>
                </a:lnTo>
                <a:lnTo>
                  <a:pt x="1524" y="1482"/>
                </a:lnTo>
                <a:lnTo>
                  <a:pt x="1506" y="1500"/>
                </a:lnTo>
                <a:lnTo>
                  <a:pt x="1482" y="1530"/>
                </a:lnTo>
                <a:lnTo>
                  <a:pt x="1452" y="1542"/>
                </a:lnTo>
                <a:lnTo>
                  <a:pt x="1446" y="1542"/>
                </a:lnTo>
                <a:lnTo>
                  <a:pt x="1440" y="1542"/>
                </a:lnTo>
                <a:lnTo>
                  <a:pt x="1440" y="1548"/>
                </a:lnTo>
                <a:lnTo>
                  <a:pt x="1434" y="1548"/>
                </a:lnTo>
                <a:lnTo>
                  <a:pt x="1428" y="1548"/>
                </a:lnTo>
                <a:lnTo>
                  <a:pt x="1428" y="1554"/>
                </a:lnTo>
                <a:lnTo>
                  <a:pt x="1422" y="1560"/>
                </a:lnTo>
                <a:lnTo>
                  <a:pt x="1416" y="1560"/>
                </a:lnTo>
                <a:lnTo>
                  <a:pt x="1410" y="1566"/>
                </a:lnTo>
                <a:lnTo>
                  <a:pt x="1410" y="1560"/>
                </a:lnTo>
                <a:lnTo>
                  <a:pt x="1404" y="1560"/>
                </a:lnTo>
                <a:lnTo>
                  <a:pt x="1392" y="1560"/>
                </a:lnTo>
                <a:lnTo>
                  <a:pt x="1386" y="1560"/>
                </a:lnTo>
                <a:lnTo>
                  <a:pt x="1380" y="1566"/>
                </a:lnTo>
                <a:lnTo>
                  <a:pt x="1374" y="1560"/>
                </a:lnTo>
                <a:lnTo>
                  <a:pt x="1368" y="1566"/>
                </a:lnTo>
                <a:lnTo>
                  <a:pt x="1362" y="1566"/>
                </a:lnTo>
                <a:lnTo>
                  <a:pt x="1362" y="1572"/>
                </a:lnTo>
                <a:lnTo>
                  <a:pt x="1356" y="1572"/>
                </a:lnTo>
                <a:lnTo>
                  <a:pt x="1356" y="1578"/>
                </a:lnTo>
                <a:lnTo>
                  <a:pt x="1350" y="1578"/>
                </a:lnTo>
                <a:lnTo>
                  <a:pt x="1350" y="1572"/>
                </a:lnTo>
                <a:lnTo>
                  <a:pt x="1344" y="1578"/>
                </a:lnTo>
                <a:lnTo>
                  <a:pt x="1338" y="1578"/>
                </a:lnTo>
                <a:lnTo>
                  <a:pt x="1344" y="1578"/>
                </a:lnTo>
                <a:lnTo>
                  <a:pt x="1338" y="1578"/>
                </a:lnTo>
                <a:lnTo>
                  <a:pt x="1332" y="1584"/>
                </a:lnTo>
                <a:lnTo>
                  <a:pt x="1326" y="1590"/>
                </a:lnTo>
                <a:lnTo>
                  <a:pt x="1320" y="1584"/>
                </a:lnTo>
                <a:lnTo>
                  <a:pt x="1314" y="1590"/>
                </a:lnTo>
                <a:lnTo>
                  <a:pt x="1308" y="1596"/>
                </a:lnTo>
                <a:lnTo>
                  <a:pt x="1302" y="1596"/>
                </a:lnTo>
                <a:lnTo>
                  <a:pt x="1296" y="1596"/>
                </a:lnTo>
                <a:lnTo>
                  <a:pt x="1290" y="1596"/>
                </a:lnTo>
                <a:lnTo>
                  <a:pt x="1284" y="1596"/>
                </a:lnTo>
                <a:lnTo>
                  <a:pt x="1278" y="1602"/>
                </a:lnTo>
                <a:lnTo>
                  <a:pt x="1266" y="1602"/>
                </a:lnTo>
                <a:lnTo>
                  <a:pt x="1272" y="1608"/>
                </a:lnTo>
                <a:lnTo>
                  <a:pt x="1278" y="1608"/>
                </a:lnTo>
                <a:lnTo>
                  <a:pt x="1284" y="1608"/>
                </a:lnTo>
                <a:lnTo>
                  <a:pt x="1290" y="1614"/>
                </a:lnTo>
                <a:lnTo>
                  <a:pt x="1296" y="1620"/>
                </a:lnTo>
                <a:lnTo>
                  <a:pt x="1302" y="1626"/>
                </a:lnTo>
                <a:lnTo>
                  <a:pt x="1308" y="1632"/>
                </a:lnTo>
                <a:lnTo>
                  <a:pt x="1314" y="1638"/>
                </a:lnTo>
                <a:lnTo>
                  <a:pt x="1314" y="1644"/>
                </a:lnTo>
                <a:lnTo>
                  <a:pt x="1320" y="1644"/>
                </a:lnTo>
                <a:lnTo>
                  <a:pt x="1320" y="1650"/>
                </a:lnTo>
                <a:lnTo>
                  <a:pt x="1326" y="1656"/>
                </a:lnTo>
                <a:lnTo>
                  <a:pt x="1332" y="1668"/>
                </a:lnTo>
                <a:lnTo>
                  <a:pt x="1338" y="1680"/>
                </a:lnTo>
                <a:lnTo>
                  <a:pt x="1338" y="1698"/>
                </a:lnTo>
                <a:lnTo>
                  <a:pt x="1350" y="1710"/>
                </a:lnTo>
                <a:lnTo>
                  <a:pt x="1350" y="1716"/>
                </a:lnTo>
                <a:lnTo>
                  <a:pt x="1350" y="1722"/>
                </a:lnTo>
                <a:lnTo>
                  <a:pt x="1350" y="1728"/>
                </a:lnTo>
                <a:lnTo>
                  <a:pt x="1356" y="1728"/>
                </a:lnTo>
                <a:lnTo>
                  <a:pt x="1356" y="1734"/>
                </a:lnTo>
                <a:lnTo>
                  <a:pt x="1350" y="1734"/>
                </a:lnTo>
                <a:lnTo>
                  <a:pt x="1344" y="1740"/>
                </a:lnTo>
                <a:lnTo>
                  <a:pt x="1338" y="1740"/>
                </a:lnTo>
                <a:lnTo>
                  <a:pt x="1332" y="1746"/>
                </a:lnTo>
                <a:lnTo>
                  <a:pt x="1326" y="1746"/>
                </a:lnTo>
                <a:lnTo>
                  <a:pt x="1326" y="1752"/>
                </a:lnTo>
                <a:lnTo>
                  <a:pt x="1320" y="1752"/>
                </a:lnTo>
                <a:lnTo>
                  <a:pt x="1320" y="1758"/>
                </a:lnTo>
                <a:lnTo>
                  <a:pt x="1314" y="1758"/>
                </a:lnTo>
                <a:lnTo>
                  <a:pt x="1308" y="1758"/>
                </a:lnTo>
                <a:lnTo>
                  <a:pt x="1302" y="1758"/>
                </a:lnTo>
                <a:lnTo>
                  <a:pt x="1296" y="1758"/>
                </a:lnTo>
                <a:lnTo>
                  <a:pt x="1290" y="1764"/>
                </a:lnTo>
                <a:lnTo>
                  <a:pt x="1284" y="1770"/>
                </a:lnTo>
                <a:lnTo>
                  <a:pt x="1278" y="1770"/>
                </a:lnTo>
                <a:lnTo>
                  <a:pt x="1272" y="1770"/>
                </a:lnTo>
                <a:lnTo>
                  <a:pt x="1266" y="1770"/>
                </a:lnTo>
                <a:lnTo>
                  <a:pt x="1266" y="1776"/>
                </a:lnTo>
                <a:lnTo>
                  <a:pt x="1260" y="1776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9525" cap="flat" cmpd="sng">
            <a:solidFill>
              <a:srgbClr val="33872D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83" name="Freeform 39">
            <a:extLst>
              <a:ext uri="{FF2B5EF4-FFF2-40B4-BE49-F238E27FC236}">
                <a16:creationId xmlns:a16="http://schemas.microsoft.com/office/drawing/2014/main" id="{4146F171-B3EA-429A-A437-D9AFBD4F515E}"/>
              </a:ext>
            </a:extLst>
          </p:cNvPr>
          <p:cNvSpPr>
            <a:spLocks/>
          </p:cNvSpPr>
          <p:nvPr/>
        </p:nvSpPr>
        <p:spPr bwMode="gray">
          <a:xfrm>
            <a:off x="4884657" y="2340337"/>
            <a:ext cx="891184" cy="767578"/>
          </a:xfrm>
          <a:custGeom>
            <a:avLst/>
            <a:gdLst>
              <a:gd name="T0" fmla="*/ 60 w 1554"/>
              <a:gd name="T1" fmla="*/ 86 h 1320"/>
              <a:gd name="T2" fmla="*/ 66 w 1554"/>
              <a:gd name="T3" fmla="*/ 80 h 1320"/>
              <a:gd name="T4" fmla="*/ 61 w 1554"/>
              <a:gd name="T5" fmla="*/ 73 h 1320"/>
              <a:gd name="T6" fmla="*/ 57 w 1554"/>
              <a:gd name="T7" fmla="*/ 67 h 1320"/>
              <a:gd name="T8" fmla="*/ 60 w 1554"/>
              <a:gd name="T9" fmla="*/ 59 h 1320"/>
              <a:gd name="T10" fmla="*/ 56 w 1554"/>
              <a:gd name="T11" fmla="*/ 55 h 1320"/>
              <a:gd name="T12" fmla="*/ 45 w 1554"/>
              <a:gd name="T13" fmla="*/ 53 h 1320"/>
              <a:gd name="T14" fmla="*/ 42 w 1554"/>
              <a:gd name="T15" fmla="*/ 41 h 1320"/>
              <a:gd name="T16" fmla="*/ 37 w 1554"/>
              <a:gd name="T17" fmla="*/ 39 h 1320"/>
              <a:gd name="T18" fmla="*/ 31 w 1554"/>
              <a:gd name="T19" fmla="*/ 44 h 1320"/>
              <a:gd name="T20" fmla="*/ 37 w 1554"/>
              <a:gd name="T21" fmla="*/ 35 h 1320"/>
              <a:gd name="T22" fmla="*/ 30 w 1554"/>
              <a:gd name="T23" fmla="*/ 23 h 1320"/>
              <a:gd name="T24" fmla="*/ 21 w 1554"/>
              <a:gd name="T25" fmla="*/ 23 h 1320"/>
              <a:gd name="T26" fmla="*/ 15 w 1554"/>
              <a:gd name="T27" fmla="*/ 27 h 1320"/>
              <a:gd name="T28" fmla="*/ 11 w 1554"/>
              <a:gd name="T29" fmla="*/ 32 h 1320"/>
              <a:gd name="T30" fmla="*/ 6 w 1554"/>
              <a:gd name="T31" fmla="*/ 22 h 1320"/>
              <a:gd name="T32" fmla="*/ 3 w 1554"/>
              <a:gd name="T33" fmla="*/ 11 h 1320"/>
              <a:gd name="T34" fmla="*/ 24 w 1554"/>
              <a:gd name="T35" fmla="*/ 12 h 1320"/>
              <a:gd name="T36" fmla="*/ 33 w 1554"/>
              <a:gd name="T37" fmla="*/ 19 h 1320"/>
              <a:gd name="T38" fmla="*/ 49 w 1554"/>
              <a:gd name="T39" fmla="*/ 12 h 1320"/>
              <a:gd name="T40" fmla="*/ 58 w 1554"/>
              <a:gd name="T41" fmla="*/ 10 h 1320"/>
              <a:gd name="T42" fmla="*/ 68 w 1554"/>
              <a:gd name="T43" fmla="*/ 11 h 1320"/>
              <a:gd name="T44" fmla="*/ 79 w 1554"/>
              <a:gd name="T45" fmla="*/ 12 h 1320"/>
              <a:gd name="T46" fmla="*/ 96 w 1554"/>
              <a:gd name="T47" fmla="*/ 11 h 1320"/>
              <a:gd name="T48" fmla="*/ 107 w 1554"/>
              <a:gd name="T49" fmla="*/ 2 h 1320"/>
              <a:gd name="T50" fmla="*/ 117 w 1554"/>
              <a:gd name="T51" fmla="*/ 8 h 1320"/>
              <a:gd name="T52" fmla="*/ 126 w 1554"/>
              <a:gd name="T53" fmla="*/ 12 h 1320"/>
              <a:gd name="T54" fmla="*/ 134 w 1554"/>
              <a:gd name="T55" fmla="*/ 24 h 1320"/>
              <a:gd name="T56" fmla="*/ 133 w 1554"/>
              <a:gd name="T57" fmla="*/ 29 h 1320"/>
              <a:gd name="T58" fmla="*/ 129 w 1554"/>
              <a:gd name="T59" fmla="*/ 31 h 1320"/>
              <a:gd name="T60" fmla="*/ 125 w 1554"/>
              <a:gd name="T61" fmla="*/ 32 h 1320"/>
              <a:gd name="T62" fmla="*/ 115 w 1554"/>
              <a:gd name="T63" fmla="*/ 34 h 1320"/>
              <a:gd name="T64" fmla="*/ 113 w 1554"/>
              <a:gd name="T65" fmla="*/ 44 h 1320"/>
              <a:gd name="T66" fmla="*/ 111 w 1554"/>
              <a:gd name="T67" fmla="*/ 54 h 1320"/>
              <a:gd name="T68" fmla="*/ 107 w 1554"/>
              <a:gd name="T69" fmla="*/ 56 h 1320"/>
              <a:gd name="T70" fmla="*/ 102 w 1554"/>
              <a:gd name="T71" fmla="*/ 58 h 1320"/>
              <a:gd name="T72" fmla="*/ 99 w 1554"/>
              <a:gd name="T73" fmla="*/ 60 h 1320"/>
              <a:gd name="T74" fmla="*/ 93 w 1554"/>
              <a:gd name="T75" fmla="*/ 62 h 1320"/>
              <a:gd name="T76" fmla="*/ 87 w 1554"/>
              <a:gd name="T77" fmla="*/ 64 h 1320"/>
              <a:gd name="T78" fmla="*/ 84 w 1554"/>
              <a:gd name="T79" fmla="*/ 65 h 1320"/>
              <a:gd name="T80" fmla="*/ 81 w 1554"/>
              <a:gd name="T81" fmla="*/ 69 h 1320"/>
              <a:gd name="T82" fmla="*/ 83 w 1554"/>
              <a:gd name="T83" fmla="*/ 72 h 1320"/>
              <a:gd name="T84" fmla="*/ 92 w 1554"/>
              <a:gd name="T85" fmla="*/ 73 h 1320"/>
              <a:gd name="T86" fmla="*/ 93 w 1554"/>
              <a:gd name="T87" fmla="*/ 87 h 1320"/>
              <a:gd name="T88" fmla="*/ 104 w 1554"/>
              <a:gd name="T89" fmla="*/ 98 h 1320"/>
              <a:gd name="T90" fmla="*/ 108 w 1554"/>
              <a:gd name="T91" fmla="*/ 98 h 1320"/>
              <a:gd name="T92" fmla="*/ 112 w 1554"/>
              <a:gd name="T93" fmla="*/ 100 h 1320"/>
              <a:gd name="T94" fmla="*/ 118 w 1554"/>
              <a:gd name="T95" fmla="*/ 100 h 1320"/>
              <a:gd name="T96" fmla="*/ 122 w 1554"/>
              <a:gd name="T97" fmla="*/ 102 h 1320"/>
              <a:gd name="T98" fmla="*/ 118 w 1554"/>
              <a:gd name="T99" fmla="*/ 105 h 1320"/>
              <a:gd name="T100" fmla="*/ 114 w 1554"/>
              <a:gd name="T101" fmla="*/ 107 h 1320"/>
              <a:gd name="T102" fmla="*/ 113 w 1554"/>
              <a:gd name="T103" fmla="*/ 113 h 1320"/>
              <a:gd name="T104" fmla="*/ 104 w 1554"/>
              <a:gd name="T105" fmla="*/ 113 h 1320"/>
              <a:gd name="T106" fmla="*/ 93 w 1554"/>
              <a:gd name="T107" fmla="*/ 109 h 1320"/>
              <a:gd name="T108" fmla="*/ 96 w 1554"/>
              <a:gd name="T109" fmla="*/ 103 h 1320"/>
              <a:gd name="T110" fmla="*/ 95 w 1554"/>
              <a:gd name="T111" fmla="*/ 97 h 1320"/>
              <a:gd name="T112" fmla="*/ 87 w 1554"/>
              <a:gd name="T113" fmla="*/ 98 h 1320"/>
              <a:gd name="T114" fmla="*/ 81 w 1554"/>
              <a:gd name="T115" fmla="*/ 98 h 1320"/>
              <a:gd name="T116" fmla="*/ 78 w 1554"/>
              <a:gd name="T117" fmla="*/ 93 h 1320"/>
              <a:gd name="T118" fmla="*/ 65 w 1554"/>
              <a:gd name="T119" fmla="*/ 92 h 1320"/>
              <a:gd name="T120" fmla="*/ 59 w 1554"/>
              <a:gd name="T121" fmla="*/ 92 h 132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554"/>
              <a:gd name="T184" fmla="*/ 0 h 1320"/>
              <a:gd name="T185" fmla="*/ 1554 w 1554"/>
              <a:gd name="T186" fmla="*/ 1320 h 1320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554" h="1320">
                <a:moveTo>
                  <a:pt x="684" y="1068"/>
                </a:moveTo>
                <a:lnTo>
                  <a:pt x="684" y="1062"/>
                </a:lnTo>
                <a:lnTo>
                  <a:pt x="690" y="1056"/>
                </a:lnTo>
                <a:lnTo>
                  <a:pt x="690" y="1050"/>
                </a:lnTo>
                <a:lnTo>
                  <a:pt x="690" y="1044"/>
                </a:lnTo>
                <a:lnTo>
                  <a:pt x="690" y="1038"/>
                </a:lnTo>
                <a:lnTo>
                  <a:pt x="690" y="1032"/>
                </a:lnTo>
                <a:lnTo>
                  <a:pt x="690" y="1026"/>
                </a:lnTo>
                <a:lnTo>
                  <a:pt x="696" y="1014"/>
                </a:lnTo>
                <a:lnTo>
                  <a:pt x="690" y="1008"/>
                </a:lnTo>
                <a:lnTo>
                  <a:pt x="696" y="996"/>
                </a:lnTo>
                <a:lnTo>
                  <a:pt x="714" y="996"/>
                </a:lnTo>
                <a:lnTo>
                  <a:pt x="714" y="990"/>
                </a:lnTo>
                <a:lnTo>
                  <a:pt x="732" y="984"/>
                </a:lnTo>
                <a:lnTo>
                  <a:pt x="744" y="978"/>
                </a:lnTo>
                <a:lnTo>
                  <a:pt x="762" y="966"/>
                </a:lnTo>
                <a:lnTo>
                  <a:pt x="762" y="960"/>
                </a:lnTo>
                <a:lnTo>
                  <a:pt x="768" y="954"/>
                </a:lnTo>
                <a:lnTo>
                  <a:pt x="774" y="948"/>
                </a:lnTo>
                <a:lnTo>
                  <a:pt x="774" y="942"/>
                </a:lnTo>
                <a:lnTo>
                  <a:pt x="774" y="924"/>
                </a:lnTo>
                <a:lnTo>
                  <a:pt x="768" y="918"/>
                </a:lnTo>
                <a:lnTo>
                  <a:pt x="756" y="918"/>
                </a:lnTo>
                <a:lnTo>
                  <a:pt x="744" y="918"/>
                </a:lnTo>
                <a:lnTo>
                  <a:pt x="732" y="924"/>
                </a:lnTo>
                <a:lnTo>
                  <a:pt x="726" y="912"/>
                </a:lnTo>
                <a:lnTo>
                  <a:pt x="720" y="912"/>
                </a:lnTo>
                <a:lnTo>
                  <a:pt x="720" y="900"/>
                </a:lnTo>
                <a:lnTo>
                  <a:pt x="720" y="870"/>
                </a:lnTo>
                <a:lnTo>
                  <a:pt x="696" y="876"/>
                </a:lnTo>
                <a:lnTo>
                  <a:pt x="690" y="852"/>
                </a:lnTo>
                <a:lnTo>
                  <a:pt x="702" y="852"/>
                </a:lnTo>
                <a:lnTo>
                  <a:pt x="702" y="840"/>
                </a:lnTo>
                <a:lnTo>
                  <a:pt x="708" y="834"/>
                </a:lnTo>
                <a:lnTo>
                  <a:pt x="702" y="822"/>
                </a:lnTo>
                <a:lnTo>
                  <a:pt x="660" y="822"/>
                </a:lnTo>
                <a:lnTo>
                  <a:pt x="654" y="822"/>
                </a:lnTo>
                <a:lnTo>
                  <a:pt x="642" y="822"/>
                </a:lnTo>
                <a:lnTo>
                  <a:pt x="642" y="810"/>
                </a:lnTo>
                <a:lnTo>
                  <a:pt x="642" y="798"/>
                </a:lnTo>
                <a:lnTo>
                  <a:pt x="642" y="792"/>
                </a:lnTo>
                <a:lnTo>
                  <a:pt x="648" y="780"/>
                </a:lnTo>
                <a:lnTo>
                  <a:pt x="654" y="774"/>
                </a:lnTo>
                <a:lnTo>
                  <a:pt x="660" y="774"/>
                </a:lnTo>
                <a:lnTo>
                  <a:pt x="672" y="762"/>
                </a:lnTo>
                <a:lnTo>
                  <a:pt x="672" y="756"/>
                </a:lnTo>
                <a:lnTo>
                  <a:pt x="678" y="750"/>
                </a:lnTo>
                <a:lnTo>
                  <a:pt x="684" y="750"/>
                </a:lnTo>
                <a:lnTo>
                  <a:pt x="690" y="744"/>
                </a:lnTo>
                <a:lnTo>
                  <a:pt x="696" y="732"/>
                </a:lnTo>
                <a:lnTo>
                  <a:pt x="696" y="726"/>
                </a:lnTo>
                <a:lnTo>
                  <a:pt x="702" y="714"/>
                </a:lnTo>
                <a:lnTo>
                  <a:pt x="696" y="708"/>
                </a:lnTo>
                <a:lnTo>
                  <a:pt x="690" y="690"/>
                </a:lnTo>
                <a:lnTo>
                  <a:pt x="696" y="678"/>
                </a:lnTo>
                <a:lnTo>
                  <a:pt x="708" y="672"/>
                </a:lnTo>
                <a:lnTo>
                  <a:pt x="708" y="660"/>
                </a:lnTo>
                <a:lnTo>
                  <a:pt x="702" y="660"/>
                </a:lnTo>
                <a:lnTo>
                  <a:pt x="696" y="660"/>
                </a:lnTo>
                <a:lnTo>
                  <a:pt x="690" y="654"/>
                </a:lnTo>
                <a:lnTo>
                  <a:pt x="684" y="654"/>
                </a:lnTo>
                <a:lnTo>
                  <a:pt x="690" y="606"/>
                </a:lnTo>
                <a:lnTo>
                  <a:pt x="660" y="606"/>
                </a:lnTo>
                <a:lnTo>
                  <a:pt x="660" y="612"/>
                </a:lnTo>
                <a:lnTo>
                  <a:pt x="648" y="612"/>
                </a:lnTo>
                <a:lnTo>
                  <a:pt x="642" y="636"/>
                </a:lnTo>
                <a:lnTo>
                  <a:pt x="636" y="636"/>
                </a:lnTo>
                <a:lnTo>
                  <a:pt x="630" y="648"/>
                </a:lnTo>
                <a:lnTo>
                  <a:pt x="612" y="648"/>
                </a:lnTo>
                <a:lnTo>
                  <a:pt x="606" y="636"/>
                </a:lnTo>
                <a:lnTo>
                  <a:pt x="600" y="630"/>
                </a:lnTo>
                <a:lnTo>
                  <a:pt x="588" y="606"/>
                </a:lnTo>
                <a:lnTo>
                  <a:pt x="552" y="606"/>
                </a:lnTo>
                <a:lnTo>
                  <a:pt x="552" y="612"/>
                </a:lnTo>
                <a:lnTo>
                  <a:pt x="540" y="612"/>
                </a:lnTo>
                <a:lnTo>
                  <a:pt x="540" y="606"/>
                </a:lnTo>
                <a:lnTo>
                  <a:pt x="522" y="606"/>
                </a:lnTo>
                <a:lnTo>
                  <a:pt x="522" y="612"/>
                </a:lnTo>
                <a:lnTo>
                  <a:pt x="516" y="612"/>
                </a:lnTo>
                <a:lnTo>
                  <a:pt x="516" y="582"/>
                </a:lnTo>
                <a:lnTo>
                  <a:pt x="522" y="576"/>
                </a:lnTo>
                <a:lnTo>
                  <a:pt x="528" y="576"/>
                </a:lnTo>
                <a:lnTo>
                  <a:pt x="528" y="552"/>
                </a:lnTo>
                <a:lnTo>
                  <a:pt x="522" y="540"/>
                </a:lnTo>
                <a:lnTo>
                  <a:pt x="510" y="528"/>
                </a:lnTo>
                <a:lnTo>
                  <a:pt x="486" y="510"/>
                </a:lnTo>
                <a:lnTo>
                  <a:pt x="480" y="498"/>
                </a:lnTo>
                <a:lnTo>
                  <a:pt x="480" y="474"/>
                </a:lnTo>
                <a:lnTo>
                  <a:pt x="492" y="468"/>
                </a:lnTo>
                <a:lnTo>
                  <a:pt x="486" y="450"/>
                </a:lnTo>
                <a:lnTo>
                  <a:pt x="474" y="456"/>
                </a:lnTo>
                <a:lnTo>
                  <a:pt x="468" y="456"/>
                </a:lnTo>
                <a:lnTo>
                  <a:pt x="462" y="456"/>
                </a:lnTo>
                <a:lnTo>
                  <a:pt x="456" y="468"/>
                </a:lnTo>
                <a:lnTo>
                  <a:pt x="456" y="474"/>
                </a:lnTo>
                <a:lnTo>
                  <a:pt x="450" y="480"/>
                </a:lnTo>
                <a:lnTo>
                  <a:pt x="444" y="450"/>
                </a:lnTo>
                <a:lnTo>
                  <a:pt x="438" y="450"/>
                </a:lnTo>
                <a:lnTo>
                  <a:pt x="432" y="450"/>
                </a:lnTo>
                <a:lnTo>
                  <a:pt x="420" y="450"/>
                </a:lnTo>
                <a:lnTo>
                  <a:pt x="420" y="456"/>
                </a:lnTo>
                <a:lnTo>
                  <a:pt x="414" y="456"/>
                </a:lnTo>
                <a:lnTo>
                  <a:pt x="408" y="468"/>
                </a:lnTo>
                <a:lnTo>
                  <a:pt x="402" y="468"/>
                </a:lnTo>
                <a:lnTo>
                  <a:pt x="396" y="474"/>
                </a:lnTo>
                <a:lnTo>
                  <a:pt x="390" y="492"/>
                </a:lnTo>
                <a:lnTo>
                  <a:pt x="384" y="504"/>
                </a:lnTo>
                <a:lnTo>
                  <a:pt x="372" y="498"/>
                </a:lnTo>
                <a:lnTo>
                  <a:pt x="366" y="510"/>
                </a:lnTo>
                <a:lnTo>
                  <a:pt x="354" y="510"/>
                </a:lnTo>
                <a:lnTo>
                  <a:pt x="360" y="480"/>
                </a:lnTo>
                <a:lnTo>
                  <a:pt x="360" y="474"/>
                </a:lnTo>
                <a:lnTo>
                  <a:pt x="378" y="456"/>
                </a:lnTo>
                <a:lnTo>
                  <a:pt x="384" y="450"/>
                </a:lnTo>
                <a:lnTo>
                  <a:pt x="396" y="444"/>
                </a:lnTo>
                <a:lnTo>
                  <a:pt x="402" y="438"/>
                </a:lnTo>
                <a:lnTo>
                  <a:pt x="408" y="438"/>
                </a:lnTo>
                <a:lnTo>
                  <a:pt x="408" y="426"/>
                </a:lnTo>
                <a:lnTo>
                  <a:pt x="414" y="420"/>
                </a:lnTo>
                <a:lnTo>
                  <a:pt x="426" y="420"/>
                </a:lnTo>
                <a:lnTo>
                  <a:pt x="426" y="408"/>
                </a:lnTo>
                <a:lnTo>
                  <a:pt x="420" y="390"/>
                </a:lnTo>
                <a:lnTo>
                  <a:pt x="408" y="384"/>
                </a:lnTo>
                <a:lnTo>
                  <a:pt x="378" y="378"/>
                </a:lnTo>
                <a:lnTo>
                  <a:pt x="354" y="366"/>
                </a:lnTo>
                <a:lnTo>
                  <a:pt x="342" y="360"/>
                </a:lnTo>
                <a:lnTo>
                  <a:pt x="342" y="348"/>
                </a:lnTo>
                <a:lnTo>
                  <a:pt x="336" y="330"/>
                </a:lnTo>
                <a:lnTo>
                  <a:pt x="348" y="306"/>
                </a:lnTo>
                <a:lnTo>
                  <a:pt x="360" y="294"/>
                </a:lnTo>
                <a:lnTo>
                  <a:pt x="360" y="282"/>
                </a:lnTo>
                <a:lnTo>
                  <a:pt x="342" y="270"/>
                </a:lnTo>
                <a:lnTo>
                  <a:pt x="342" y="264"/>
                </a:lnTo>
                <a:lnTo>
                  <a:pt x="330" y="264"/>
                </a:lnTo>
                <a:lnTo>
                  <a:pt x="312" y="270"/>
                </a:lnTo>
                <a:lnTo>
                  <a:pt x="306" y="270"/>
                </a:lnTo>
                <a:lnTo>
                  <a:pt x="300" y="270"/>
                </a:lnTo>
                <a:lnTo>
                  <a:pt x="288" y="270"/>
                </a:lnTo>
                <a:lnTo>
                  <a:pt x="282" y="270"/>
                </a:lnTo>
                <a:lnTo>
                  <a:pt x="276" y="264"/>
                </a:lnTo>
                <a:lnTo>
                  <a:pt x="270" y="264"/>
                </a:lnTo>
                <a:lnTo>
                  <a:pt x="252" y="270"/>
                </a:lnTo>
                <a:lnTo>
                  <a:pt x="246" y="270"/>
                </a:lnTo>
                <a:lnTo>
                  <a:pt x="240" y="270"/>
                </a:lnTo>
                <a:lnTo>
                  <a:pt x="228" y="270"/>
                </a:lnTo>
                <a:lnTo>
                  <a:pt x="216" y="276"/>
                </a:lnTo>
                <a:lnTo>
                  <a:pt x="210" y="270"/>
                </a:lnTo>
                <a:lnTo>
                  <a:pt x="204" y="270"/>
                </a:lnTo>
                <a:lnTo>
                  <a:pt x="198" y="276"/>
                </a:lnTo>
                <a:lnTo>
                  <a:pt x="192" y="276"/>
                </a:lnTo>
                <a:lnTo>
                  <a:pt x="186" y="282"/>
                </a:lnTo>
                <a:lnTo>
                  <a:pt x="180" y="288"/>
                </a:lnTo>
                <a:lnTo>
                  <a:pt x="174" y="300"/>
                </a:lnTo>
                <a:lnTo>
                  <a:pt x="168" y="306"/>
                </a:lnTo>
                <a:lnTo>
                  <a:pt x="168" y="318"/>
                </a:lnTo>
                <a:lnTo>
                  <a:pt x="168" y="324"/>
                </a:lnTo>
                <a:lnTo>
                  <a:pt x="168" y="330"/>
                </a:lnTo>
                <a:lnTo>
                  <a:pt x="162" y="336"/>
                </a:lnTo>
                <a:lnTo>
                  <a:pt x="156" y="342"/>
                </a:lnTo>
                <a:lnTo>
                  <a:pt x="156" y="348"/>
                </a:lnTo>
                <a:lnTo>
                  <a:pt x="156" y="354"/>
                </a:lnTo>
                <a:lnTo>
                  <a:pt x="150" y="366"/>
                </a:lnTo>
                <a:lnTo>
                  <a:pt x="150" y="372"/>
                </a:lnTo>
                <a:lnTo>
                  <a:pt x="144" y="366"/>
                </a:lnTo>
                <a:lnTo>
                  <a:pt x="132" y="366"/>
                </a:lnTo>
                <a:lnTo>
                  <a:pt x="138" y="360"/>
                </a:lnTo>
                <a:lnTo>
                  <a:pt x="132" y="354"/>
                </a:lnTo>
                <a:lnTo>
                  <a:pt x="120" y="348"/>
                </a:lnTo>
                <a:lnTo>
                  <a:pt x="102" y="330"/>
                </a:lnTo>
                <a:lnTo>
                  <a:pt x="96" y="318"/>
                </a:lnTo>
                <a:lnTo>
                  <a:pt x="96" y="282"/>
                </a:lnTo>
                <a:lnTo>
                  <a:pt x="96" y="270"/>
                </a:lnTo>
                <a:lnTo>
                  <a:pt x="90" y="264"/>
                </a:lnTo>
                <a:lnTo>
                  <a:pt x="90" y="258"/>
                </a:lnTo>
                <a:lnTo>
                  <a:pt x="84" y="252"/>
                </a:lnTo>
                <a:lnTo>
                  <a:pt x="66" y="258"/>
                </a:lnTo>
                <a:lnTo>
                  <a:pt x="60" y="246"/>
                </a:lnTo>
                <a:lnTo>
                  <a:pt x="30" y="252"/>
                </a:lnTo>
                <a:lnTo>
                  <a:pt x="18" y="246"/>
                </a:lnTo>
                <a:lnTo>
                  <a:pt x="0" y="240"/>
                </a:lnTo>
                <a:lnTo>
                  <a:pt x="0" y="234"/>
                </a:lnTo>
                <a:lnTo>
                  <a:pt x="0" y="210"/>
                </a:lnTo>
                <a:lnTo>
                  <a:pt x="6" y="204"/>
                </a:lnTo>
                <a:lnTo>
                  <a:pt x="18" y="192"/>
                </a:lnTo>
                <a:lnTo>
                  <a:pt x="18" y="144"/>
                </a:lnTo>
                <a:lnTo>
                  <a:pt x="24" y="126"/>
                </a:lnTo>
                <a:lnTo>
                  <a:pt x="36" y="126"/>
                </a:lnTo>
                <a:lnTo>
                  <a:pt x="54" y="120"/>
                </a:lnTo>
                <a:lnTo>
                  <a:pt x="54" y="126"/>
                </a:lnTo>
                <a:lnTo>
                  <a:pt x="132" y="114"/>
                </a:lnTo>
                <a:lnTo>
                  <a:pt x="144" y="120"/>
                </a:lnTo>
                <a:lnTo>
                  <a:pt x="150" y="132"/>
                </a:lnTo>
                <a:lnTo>
                  <a:pt x="180" y="126"/>
                </a:lnTo>
                <a:lnTo>
                  <a:pt x="210" y="120"/>
                </a:lnTo>
                <a:lnTo>
                  <a:pt x="240" y="120"/>
                </a:lnTo>
                <a:lnTo>
                  <a:pt x="258" y="120"/>
                </a:lnTo>
                <a:lnTo>
                  <a:pt x="270" y="126"/>
                </a:lnTo>
                <a:lnTo>
                  <a:pt x="276" y="132"/>
                </a:lnTo>
                <a:lnTo>
                  <a:pt x="282" y="138"/>
                </a:lnTo>
                <a:lnTo>
                  <a:pt x="282" y="156"/>
                </a:lnTo>
                <a:lnTo>
                  <a:pt x="288" y="186"/>
                </a:lnTo>
                <a:lnTo>
                  <a:pt x="312" y="192"/>
                </a:lnTo>
                <a:lnTo>
                  <a:pt x="318" y="198"/>
                </a:lnTo>
                <a:lnTo>
                  <a:pt x="324" y="204"/>
                </a:lnTo>
                <a:lnTo>
                  <a:pt x="330" y="210"/>
                </a:lnTo>
                <a:lnTo>
                  <a:pt x="348" y="210"/>
                </a:lnTo>
                <a:lnTo>
                  <a:pt x="348" y="204"/>
                </a:lnTo>
                <a:lnTo>
                  <a:pt x="366" y="216"/>
                </a:lnTo>
                <a:lnTo>
                  <a:pt x="378" y="216"/>
                </a:lnTo>
                <a:lnTo>
                  <a:pt x="378" y="222"/>
                </a:lnTo>
                <a:lnTo>
                  <a:pt x="396" y="222"/>
                </a:lnTo>
                <a:lnTo>
                  <a:pt x="414" y="222"/>
                </a:lnTo>
                <a:lnTo>
                  <a:pt x="420" y="216"/>
                </a:lnTo>
                <a:lnTo>
                  <a:pt x="486" y="210"/>
                </a:lnTo>
                <a:lnTo>
                  <a:pt x="498" y="198"/>
                </a:lnTo>
                <a:lnTo>
                  <a:pt x="504" y="174"/>
                </a:lnTo>
                <a:lnTo>
                  <a:pt x="516" y="162"/>
                </a:lnTo>
                <a:lnTo>
                  <a:pt x="516" y="138"/>
                </a:lnTo>
                <a:lnTo>
                  <a:pt x="522" y="132"/>
                </a:lnTo>
                <a:lnTo>
                  <a:pt x="564" y="132"/>
                </a:lnTo>
                <a:lnTo>
                  <a:pt x="564" y="114"/>
                </a:lnTo>
                <a:lnTo>
                  <a:pt x="582" y="114"/>
                </a:lnTo>
                <a:lnTo>
                  <a:pt x="594" y="114"/>
                </a:lnTo>
                <a:lnTo>
                  <a:pt x="606" y="114"/>
                </a:lnTo>
                <a:lnTo>
                  <a:pt x="612" y="114"/>
                </a:lnTo>
                <a:lnTo>
                  <a:pt x="630" y="114"/>
                </a:lnTo>
                <a:lnTo>
                  <a:pt x="636" y="114"/>
                </a:lnTo>
                <a:lnTo>
                  <a:pt x="648" y="114"/>
                </a:lnTo>
                <a:lnTo>
                  <a:pt x="654" y="114"/>
                </a:lnTo>
                <a:lnTo>
                  <a:pt x="660" y="120"/>
                </a:lnTo>
                <a:lnTo>
                  <a:pt x="672" y="120"/>
                </a:lnTo>
                <a:lnTo>
                  <a:pt x="684" y="120"/>
                </a:lnTo>
                <a:lnTo>
                  <a:pt x="690" y="120"/>
                </a:lnTo>
                <a:lnTo>
                  <a:pt x="702" y="120"/>
                </a:lnTo>
                <a:lnTo>
                  <a:pt x="708" y="120"/>
                </a:lnTo>
                <a:lnTo>
                  <a:pt x="726" y="126"/>
                </a:lnTo>
                <a:lnTo>
                  <a:pt x="732" y="126"/>
                </a:lnTo>
                <a:lnTo>
                  <a:pt x="738" y="126"/>
                </a:lnTo>
                <a:lnTo>
                  <a:pt x="750" y="126"/>
                </a:lnTo>
                <a:lnTo>
                  <a:pt x="756" y="126"/>
                </a:lnTo>
                <a:lnTo>
                  <a:pt x="768" y="126"/>
                </a:lnTo>
                <a:lnTo>
                  <a:pt x="780" y="126"/>
                </a:lnTo>
                <a:lnTo>
                  <a:pt x="786" y="120"/>
                </a:lnTo>
                <a:lnTo>
                  <a:pt x="792" y="120"/>
                </a:lnTo>
                <a:lnTo>
                  <a:pt x="810" y="120"/>
                </a:lnTo>
                <a:lnTo>
                  <a:pt x="822" y="120"/>
                </a:lnTo>
                <a:lnTo>
                  <a:pt x="846" y="126"/>
                </a:lnTo>
                <a:lnTo>
                  <a:pt x="858" y="126"/>
                </a:lnTo>
                <a:lnTo>
                  <a:pt x="870" y="132"/>
                </a:lnTo>
                <a:lnTo>
                  <a:pt x="882" y="132"/>
                </a:lnTo>
                <a:lnTo>
                  <a:pt x="894" y="132"/>
                </a:lnTo>
                <a:lnTo>
                  <a:pt x="900" y="132"/>
                </a:lnTo>
                <a:lnTo>
                  <a:pt x="912" y="132"/>
                </a:lnTo>
                <a:lnTo>
                  <a:pt x="918" y="132"/>
                </a:lnTo>
                <a:lnTo>
                  <a:pt x="924" y="132"/>
                </a:lnTo>
                <a:lnTo>
                  <a:pt x="936" y="132"/>
                </a:lnTo>
                <a:lnTo>
                  <a:pt x="960" y="132"/>
                </a:lnTo>
                <a:lnTo>
                  <a:pt x="966" y="144"/>
                </a:lnTo>
                <a:lnTo>
                  <a:pt x="972" y="144"/>
                </a:lnTo>
                <a:lnTo>
                  <a:pt x="1002" y="144"/>
                </a:lnTo>
                <a:lnTo>
                  <a:pt x="1020" y="144"/>
                </a:lnTo>
                <a:lnTo>
                  <a:pt x="1068" y="138"/>
                </a:lnTo>
                <a:lnTo>
                  <a:pt x="1110" y="132"/>
                </a:lnTo>
                <a:lnTo>
                  <a:pt x="1110" y="126"/>
                </a:lnTo>
                <a:lnTo>
                  <a:pt x="1116" y="120"/>
                </a:lnTo>
                <a:lnTo>
                  <a:pt x="1122" y="108"/>
                </a:lnTo>
                <a:lnTo>
                  <a:pt x="1134" y="96"/>
                </a:lnTo>
                <a:lnTo>
                  <a:pt x="1146" y="60"/>
                </a:lnTo>
                <a:lnTo>
                  <a:pt x="1158" y="54"/>
                </a:lnTo>
                <a:lnTo>
                  <a:pt x="1170" y="48"/>
                </a:lnTo>
                <a:lnTo>
                  <a:pt x="1188" y="42"/>
                </a:lnTo>
                <a:lnTo>
                  <a:pt x="1200" y="36"/>
                </a:lnTo>
                <a:lnTo>
                  <a:pt x="1212" y="36"/>
                </a:lnTo>
                <a:lnTo>
                  <a:pt x="1236" y="30"/>
                </a:lnTo>
                <a:lnTo>
                  <a:pt x="1236" y="24"/>
                </a:lnTo>
                <a:lnTo>
                  <a:pt x="1278" y="18"/>
                </a:lnTo>
                <a:lnTo>
                  <a:pt x="1290" y="18"/>
                </a:lnTo>
                <a:lnTo>
                  <a:pt x="1302" y="12"/>
                </a:lnTo>
                <a:lnTo>
                  <a:pt x="1314" y="0"/>
                </a:lnTo>
                <a:lnTo>
                  <a:pt x="1332" y="0"/>
                </a:lnTo>
                <a:lnTo>
                  <a:pt x="1338" y="24"/>
                </a:lnTo>
                <a:lnTo>
                  <a:pt x="1344" y="30"/>
                </a:lnTo>
                <a:lnTo>
                  <a:pt x="1350" y="42"/>
                </a:lnTo>
                <a:lnTo>
                  <a:pt x="1356" y="48"/>
                </a:lnTo>
                <a:lnTo>
                  <a:pt x="1356" y="78"/>
                </a:lnTo>
                <a:lnTo>
                  <a:pt x="1350" y="96"/>
                </a:lnTo>
                <a:lnTo>
                  <a:pt x="1338" y="108"/>
                </a:lnTo>
                <a:lnTo>
                  <a:pt x="1338" y="114"/>
                </a:lnTo>
                <a:lnTo>
                  <a:pt x="1338" y="120"/>
                </a:lnTo>
                <a:lnTo>
                  <a:pt x="1338" y="126"/>
                </a:lnTo>
                <a:lnTo>
                  <a:pt x="1368" y="126"/>
                </a:lnTo>
                <a:lnTo>
                  <a:pt x="1386" y="120"/>
                </a:lnTo>
                <a:lnTo>
                  <a:pt x="1398" y="114"/>
                </a:lnTo>
                <a:lnTo>
                  <a:pt x="1416" y="120"/>
                </a:lnTo>
                <a:lnTo>
                  <a:pt x="1434" y="126"/>
                </a:lnTo>
                <a:lnTo>
                  <a:pt x="1458" y="132"/>
                </a:lnTo>
                <a:lnTo>
                  <a:pt x="1458" y="138"/>
                </a:lnTo>
                <a:lnTo>
                  <a:pt x="1512" y="138"/>
                </a:lnTo>
                <a:lnTo>
                  <a:pt x="1512" y="132"/>
                </a:lnTo>
                <a:lnTo>
                  <a:pt x="1524" y="138"/>
                </a:lnTo>
                <a:lnTo>
                  <a:pt x="1542" y="138"/>
                </a:lnTo>
                <a:lnTo>
                  <a:pt x="1542" y="150"/>
                </a:lnTo>
                <a:lnTo>
                  <a:pt x="1542" y="162"/>
                </a:lnTo>
                <a:lnTo>
                  <a:pt x="1548" y="174"/>
                </a:lnTo>
                <a:lnTo>
                  <a:pt x="1548" y="180"/>
                </a:lnTo>
                <a:lnTo>
                  <a:pt x="1554" y="222"/>
                </a:lnTo>
                <a:lnTo>
                  <a:pt x="1554" y="258"/>
                </a:lnTo>
                <a:lnTo>
                  <a:pt x="1554" y="276"/>
                </a:lnTo>
                <a:lnTo>
                  <a:pt x="1554" y="282"/>
                </a:lnTo>
                <a:lnTo>
                  <a:pt x="1554" y="294"/>
                </a:lnTo>
                <a:lnTo>
                  <a:pt x="1554" y="306"/>
                </a:lnTo>
                <a:lnTo>
                  <a:pt x="1554" y="324"/>
                </a:lnTo>
                <a:lnTo>
                  <a:pt x="1554" y="330"/>
                </a:lnTo>
                <a:lnTo>
                  <a:pt x="1548" y="330"/>
                </a:lnTo>
                <a:lnTo>
                  <a:pt x="1548" y="336"/>
                </a:lnTo>
                <a:lnTo>
                  <a:pt x="1548" y="342"/>
                </a:lnTo>
                <a:lnTo>
                  <a:pt x="1542" y="336"/>
                </a:lnTo>
                <a:lnTo>
                  <a:pt x="1542" y="330"/>
                </a:lnTo>
                <a:lnTo>
                  <a:pt x="1536" y="330"/>
                </a:lnTo>
                <a:lnTo>
                  <a:pt x="1530" y="330"/>
                </a:lnTo>
                <a:lnTo>
                  <a:pt x="1530" y="336"/>
                </a:lnTo>
                <a:lnTo>
                  <a:pt x="1536" y="342"/>
                </a:lnTo>
                <a:lnTo>
                  <a:pt x="1530" y="342"/>
                </a:lnTo>
                <a:lnTo>
                  <a:pt x="1518" y="348"/>
                </a:lnTo>
                <a:lnTo>
                  <a:pt x="1512" y="354"/>
                </a:lnTo>
                <a:lnTo>
                  <a:pt x="1506" y="354"/>
                </a:lnTo>
                <a:lnTo>
                  <a:pt x="1500" y="354"/>
                </a:lnTo>
                <a:lnTo>
                  <a:pt x="1494" y="354"/>
                </a:lnTo>
                <a:lnTo>
                  <a:pt x="1494" y="360"/>
                </a:lnTo>
                <a:lnTo>
                  <a:pt x="1488" y="360"/>
                </a:lnTo>
                <a:lnTo>
                  <a:pt x="1488" y="366"/>
                </a:lnTo>
                <a:lnTo>
                  <a:pt x="1488" y="372"/>
                </a:lnTo>
                <a:lnTo>
                  <a:pt x="1482" y="372"/>
                </a:lnTo>
                <a:lnTo>
                  <a:pt x="1476" y="372"/>
                </a:lnTo>
                <a:lnTo>
                  <a:pt x="1470" y="372"/>
                </a:lnTo>
                <a:lnTo>
                  <a:pt x="1470" y="378"/>
                </a:lnTo>
                <a:lnTo>
                  <a:pt x="1470" y="384"/>
                </a:lnTo>
                <a:lnTo>
                  <a:pt x="1470" y="390"/>
                </a:lnTo>
                <a:lnTo>
                  <a:pt x="1464" y="402"/>
                </a:lnTo>
                <a:lnTo>
                  <a:pt x="1446" y="402"/>
                </a:lnTo>
                <a:lnTo>
                  <a:pt x="1440" y="372"/>
                </a:lnTo>
                <a:lnTo>
                  <a:pt x="1410" y="372"/>
                </a:lnTo>
                <a:lnTo>
                  <a:pt x="1380" y="372"/>
                </a:lnTo>
                <a:lnTo>
                  <a:pt x="1374" y="372"/>
                </a:lnTo>
                <a:lnTo>
                  <a:pt x="1368" y="378"/>
                </a:lnTo>
                <a:lnTo>
                  <a:pt x="1362" y="378"/>
                </a:lnTo>
                <a:lnTo>
                  <a:pt x="1356" y="378"/>
                </a:lnTo>
                <a:lnTo>
                  <a:pt x="1350" y="384"/>
                </a:lnTo>
                <a:lnTo>
                  <a:pt x="1350" y="390"/>
                </a:lnTo>
                <a:lnTo>
                  <a:pt x="1344" y="390"/>
                </a:lnTo>
                <a:lnTo>
                  <a:pt x="1338" y="390"/>
                </a:lnTo>
                <a:lnTo>
                  <a:pt x="1332" y="390"/>
                </a:lnTo>
                <a:lnTo>
                  <a:pt x="1332" y="396"/>
                </a:lnTo>
                <a:lnTo>
                  <a:pt x="1332" y="390"/>
                </a:lnTo>
                <a:lnTo>
                  <a:pt x="1326" y="402"/>
                </a:lnTo>
                <a:lnTo>
                  <a:pt x="1320" y="402"/>
                </a:lnTo>
                <a:lnTo>
                  <a:pt x="1302" y="474"/>
                </a:lnTo>
                <a:lnTo>
                  <a:pt x="1308" y="480"/>
                </a:lnTo>
                <a:lnTo>
                  <a:pt x="1314" y="480"/>
                </a:lnTo>
                <a:lnTo>
                  <a:pt x="1308" y="498"/>
                </a:lnTo>
                <a:lnTo>
                  <a:pt x="1308" y="504"/>
                </a:lnTo>
                <a:lnTo>
                  <a:pt x="1314" y="510"/>
                </a:lnTo>
                <a:lnTo>
                  <a:pt x="1308" y="510"/>
                </a:lnTo>
                <a:lnTo>
                  <a:pt x="1308" y="516"/>
                </a:lnTo>
                <a:lnTo>
                  <a:pt x="1302" y="516"/>
                </a:lnTo>
                <a:lnTo>
                  <a:pt x="1296" y="510"/>
                </a:lnTo>
                <a:lnTo>
                  <a:pt x="1296" y="516"/>
                </a:lnTo>
                <a:lnTo>
                  <a:pt x="1290" y="540"/>
                </a:lnTo>
                <a:lnTo>
                  <a:pt x="1290" y="552"/>
                </a:lnTo>
                <a:lnTo>
                  <a:pt x="1284" y="558"/>
                </a:lnTo>
                <a:lnTo>
                  <a:pt x="1290" y="576"/>
                </a:lnTo>
                <a:lnTo>
                  <a:pt x="1290" y="600"/>
                </a:lnTo>
                <a:lnTo>
                  <a:pt x="1284" y="618"/>
                </a:lnTo>
                <a:lnTo>
                  <a:pt x="1290" y="624"/>
                </a:lnTo>
                <a:lnTo>
                  <a:pt x="1284" y="630"/>
                </a:lnTo>
                <a:lnTo>
                  <a:pt x="1278" y="630"/>
                </a:lnTo>
                <a:lnTo>
                  <a:pt x="1272" y="630"/>
                </a:lnTo>
                <a:lnTo>
                  <a:pt x="1266" y="636"/>
                </a:lnTo>
                <a:lnTo>
                  <a:pt x="1260" y="642"/>
                </a:lnTo>
                <a:lnTo>
                  <a:pt x="1260" y="636"/>
                </a:lnTo>
                <a:lnTo>
                  <a:pt x="1254" y="636"/>
                </a:lnTo>
                <a:lnTo>
                  <a:pt x="1248" y="636"/>
                </a:lnTo>
                <a:lnTo>
                  <a:pt x="1248" y="642"/>
                </a:lnTo>
                <a:lnTo>
                  <a:pt x="1242" y="642"/>
                </a:lnTo>
                <a:lnTo>
                  <a:pt x="1242" y="648"/>
                </a:lnTo>
                <a:lnTo>
                  <a:pt x="1236" y="654"/>
                </a:lnTo>
                <a:lnTo>
                  <a:pt x="1230" y="654"/>
                </a:lnTo>
                <a:lnTo>
                  <a:pt x="1224" y="654"/>
                </a:lnTo>
                <a:lnTo>
                  <a:pt x="1218" y="660"/>
                </a:lnTo>
                <a:lnTo>
                  <a:pt x="1212" y="660"/>
                </a:lnTo>
                <a:lnTo>
                  <a:pt x="1206" y="660"/>
                </a:lnTo>
                <a:lnTo>
                  <a:pt x="1200" y="660"/>
                </a:lnTo>
                <a:lnTo>
                  <a:pt x="1200" y="666"/>
                </a:lnTo>
                <a:lnTo>
                  <a:pt x="1194" y="666"/>
                </a:lnTo>
                <a:lnTo>
                  <a:pt x="1188" y="666"/>
                </a:lnTo>
                <a:lnTo>
                  <a:pt x="1182" y="672"/>
                </a:lnTo>
                <a:lnTo>
                  <a:pt x="1176" y="672"/>
                </a:lnTo>
                <a:lnTo>
                  <a:pt x="1170" y="672"/>
                </a:lnTo>
                <a:lnTo>
                  <a:pt x="1164" y="678"/>
                </a:lnTo>
                <a:lnTo>
                  <a:pt x="1170" y="678"/>
                </a:lnTo>
                <a:lnTo>
                  <a:pt x="1164" y="684"/>
                </a:lnTo>
                <a:lnTo>
                  <a:pt x="1164" y="690"/>
                </a:lnTo>
                <a:lnTo>
                  <a:pt x="1158" y="690"/>
                </a:lnTo>
                <a:lnTo>
                  <a:pt x="1152" y="684"/>
                </a:lnTo>
                <a:lnTo>
                  <a:pt x="1152" y="690"/>
                </a:lnTo>
                <a:lnTo>
                  <a:pt x="1146" y="690"/>
                </a:lnTo>
                <a:lnTo>
                  <a:pt x="1140" y="690"/>
                </a:lnTo>
                <a:lnTo>
                  <a:pt x="1134" y="696"/>
                </a:lnTo>
                <a:lnTo>
                  <a:pt x="1128" y="696"/>
                </a:lnTo>
                <a:lnTo>
                  <a:pt x="1122" y="702"/>
                </a:lnTo>
                <a:lnTo>
                  <a:pt x="1116" y="702"/>
                </a:lnTo>
                <a:lnTo>
                  <a:pt x="1110" y="708"/>
                </a:lnTo>
                <a:lnTo>
                  <a:pt x="1104" y="708"/>
                </a:lnTo>
                <a:lnTo>
                  <a:pt x="1098" y="708"/>
                </a:lnTo>
                <a:lnTo>
                  <a:pt x="1092" y="708"/>
                </a:lnTo>
                <a:lnTo>
                  <a:pt x="1092" y="714"/>
                </a:lnTo>
                <a:lnTo>
                  <a:pt x="1086" y="720"/>
                </a:lnTo>
                <a:lnTo>
                  <a:pt x="1080" y="720"/>
                </a:lnTo>
                <a:lnTo>
                  <a:pt x="1074" y="720"/>
                </a:lnTo>
                <a:lnTo>
                  <a:pt x="1068" y="720"/>
                </a:lnTo>
                <a:lnTo>
                  <a:pt x="1062" y="720"/>
                </a:lnTo>
                <a:lnTo>
                  <a:pt x="1050" y="726"/>
                </a:lnTo>
                <a:lnTo>
                  <a:pt x="1044" y="726"/>
                </a:lnTo>
                <a:lnTo>
                  <a:pt x="1038" y="732"/>
                </a:lnTo>
                <a:lnTo>
                  <a:pt x="1026" y="732"/>
                </a:lnTo>
                <a:lnTo>
                  <a:pt x="1020" y="732"/>
                </a:lnTo>
                <a:lnTo>
                  <a:pt x="1014" y="738"/>
                </a:lnTo>
                <a:lnTo>
                  <a:pt x="1008" y="738"/>
                </a:lnTo>
                <a:lnTo>
                  <a:pt x="1002" y="738"/>
                </a:lnTo>
                <a:lnTo>
                  <a:pt x="996" y="738"/>
                </a:lnTo>
                <a:lnTo>
                  <a:pt x="990" y="738"/>
                </a:lnTo>
                <a:lnTo>
                  <a:pt x="990" y="732"/>
                </a:lnTo>
                <a:lnTo>
                  <a:pt x="984" y="732"/>
                </a:lnTo>
                <a:lnTo>
                  <a:pt x="978" y="738"/>
                </a:lnTo>
                <a:lnTo>
                  <a:pt x="978" y="744"/>
                </a:lnTo>
                <a:lnTo>
                  <a:pt x="984" y="744"/>
                </a:lnTo>
                <a:lnTo>
                  <a:pt x="978" y="744"/>
                </a:lnTo>
                <a:lnTo>
                  <a:pt x="978" y="750"/>
                </a:lnTo>
                <a:lnTo>
                  <a:pt x="978" y="756"/>
                </a:lnTo>
                <a:lnTo>
                  <a:pt x="972" y="756"/>
                </a:lnTo>
                <a:lnTo>
                  <a:pt x="972" y="762"/>
                </a:lnTo>
                <a:lnTo>
                  <a:pt x="966" y="768"/>
                </a:lnTo>
                <a:lnTo>
                  <a:pt x="966" y="762"/>
                </a:lnTo>
                <a:lnTo>
                  <a:pt x="960" y="762"/>
                </a:lnTo>
                <a:lnTo>
                  <a:pt x="954" y="768"/>
                </a:lnTo>
                <a:lnTo>
                  <a:pt x="954" y="774"/>
                </a:lnTo>
                <a:lnTo>
                  <a:pt x="948" y="774"/>
                </a:lnTo>
                <a:lnTo>
                  <a:pt x="948" y="780"/>
                </a:lnTo>
                <a:lnTo>
                  <a:pt x="948" y="786"/>
                </a:lnTo>
                <a:lnTo>
                  <a:pt x="942" y="786"/>
                </a:lnTo>
                <a:lnTo>
                  <a:pt x="942" y="792"/>
                </a:lnTo>
                <a:lnTo>
                  <a:pt x="936" y="792"/>
                </a:lnTo>
                <a:lnTo>
                  <a:pt x="942" y="798"/>
                </a:lnTo>
                <a:lnTo>
                  <a:pt x="942" y="804"/>
                </a:lnTo>
                <a:lnTo>
                  <a:pt x="942" y="810"/>
                </a:lnTo>
                <a:lnTo>
                  <a:pt x="948" y="810"/>
                </a:lnTo>
                <a:lnTo>
                  <a:pt x="942" y="816"/>
                </a:lnTo>
                <a:lnTo>
                  <a:pt x="948" y="816"/>
                </a:lnTo>
                <a:lnTo>
                  <a:pt x="948" y="822"/>
                </a:lnTo>
                <a:lnTo>
                  <a:pt x="954" y="822"/>
                </a:lnTo>
                <a:lnTo>
                  <a:pt x="960" y="828"/>
                </a:lnTo>
                <a:lnTo>
                  <a:pt x="960" y="834"/>
                </a:lnTo>
                <a:lnTo>
                  <a:pt x="966" y="834"/>
                </a:lnTo>
                <a:lnTo>
                  <a:pt x="960" y="840"/>
                </a:lnTo>
                <a:lnTo>
                  <a:pt x="966" y="846"/>
                </a:lnTo>
                <a:lnTo>
                  <a:pt x="966" y="840"/>
                </a:lnTo>
                <a:lnTo>
                  <a:pt x="972" y="840"/>
                </a:lnTo>
                <a:lnTo>
                  <a:pt x="990" y="840"/>
                </a:lnTo>
                <a:lnTo>
                  <a:pt x="1002" y="834"/>
                </a:lnTo>
                <a:lnTo>
                  <a:pt x="1020" y="828"/>
                </a:lnTo>
                <a:lnTo>
                  <a:pt x="1032" y="828"/>
                </a:lnTo>
                <a:lnTo>
                  <a:pt x="1050" y="828"/>
                </a:lnTo>
                <a:lnTo>
                  <a:pt x="1062" y="846"/>
                </a:lnTo>
                <a:lnTo>
                  <a:pt x="1074" y="876"/>
                </a:lnTo>
                <a:lnTo>
                  <a:pt x="1068" y="900"/>
                </a:lnTo>
                <a:lnTo>
                  <a:pt x="1074" y="912"/>
                </a:lnTo>
                <a:lnTo>
                  <a:pt x="1074" y="936"/>
                </a:lnTo>
                <a:lnTo>
                  <a:pt x="1068" y="942"/>
                </a:lnTo>
                <a:lnTo>
                  <a:pt x="1062" y="954"/>
                </a:lnTo>
                <a:lnTo>
                  <a:pt x="1056" y="978"/>
                </a:lnTo>
                <a:lnTo>
                  <a:pt x="1056" y="996"/>
                </a:lnTo>
                <a:lnTo>
                  <a:pt x="1068" y="990"/>
                </a:lnTo>
                <a:lnTo>
                  <a:pt x="1074" y="990"/>
                </a:lnTo>
                <a:lnTo>
                  <a:pt x="1074" y="1008"/>
                </a:lnTo>
                <a:lnTo>
                  <a:pt x="1080" y="1008"/>
                </a:lnTo>
                <a:lnTo>
                  <a:pt x="1092" y="1014"/>
                </a:lnTo>
                <a:lnTo>
                  <a:pt x="1110" y="1044"/>
                </a:lnTo>
                <a:lnTo>
                  <a:pt x="1110" y="1062"/>
                </a:lnTo>
                <a:lnTo>
                  <a:pt x="1128" y="1068"/>
                </a:lnTo>
                <a:lnTo>
                  <a:pt x="1128" y="1092"/>
                </a:lnTo>
                <a:lnTo>
                  <a:pt x="1134" y="1098"/>
                </a:lnTo>
                <a:lnTo>
                  <a:pt x="1158" y="1122"/>
                </a:lnTo>
                <a:lnTo>
                  <a:pt x="1188" y="1122"/>
                </a:lnTo>
                <a:lnTo>
                  <a:pt x="1188" y="1128"/>
                </a:lnTo>
                <a:lnTo>
                  <a:pt x="1200" y="1134"/>
                </a:lnTo>
                <a:lnTo>
                  <a:pt x="1206" y="1134"/>
                </a:lnTo>
                <a:lnTo>
                  <a:pt x="1206" y="1128"/>
                </a:lnTo>
                <a:lnTo>
                  <a:pt x="1212" y="1128"/>
                </a:lnTo>
                <a:lnTo>
                  <a:pt x="1218" y="1128"/>
                </a:lnTo>
                <a:lnTo>
                  <a:pt x="1224" y="1122"/>
                </a:lnTo>
                <a:lnTo>
                  <a:pt x="1224" y="1128"/>
                </a:lnTo>
                <a:lnTo>
                  <a:pt x="1230" y="1128"/>
                </a:lnTo>
                <a:lnTo>
                  <a:pt x="1236" y="1128"/>
                </a:lnTo>
                <a:lnTo>
                  <a:pt x="1236" y="1122"/>
                </a:lnTo>
                <a:lnTo>
                  <a:pt x="1242" y="1122"/>
                </a:lnTo>
                <a:lnTo>
                  <a:pt x="1248" y="1128"/>
                </a:lnTo>
                <a:lnTo>
                  <a:pt x="1254" y="1128"/>
                </a:lnTo>
                <a:lnTo>
                  <a:pt x="1260" y="1134"/>
                </a:lnTo>
                <a:lnTo>
                  <a:pt x="1260" y="1140"/>
                </a:lnTo>
                <a:lnTo>
                  <a:pt x="1266" y="1140"/>
                </a:lnTo>
                <a:lnTo>
                  <a:pt x="1272" y="1140"/>
                </a:lnTo>
                <a:lnTo>
                  <a:pt x="1278" y="1140"/>
                </a:lnTo>
                <a:lnTo>
                  <a:pt x="1284" y="1140"/>
                </a:lnTo>
                <a:lnTo>
                  <a:pt x="1290" y="1146"/>
                </a:lnTo>
                <a:lnTo>
                  <a:pt x="1290" y="1152"/>
                </a:lnTo>
                <a:lnTo>
                  <a:pt x="1296" y="1146"/>
                </a:lnTo>
                <a:lnTo>
                  <a:pt x="1296" y="1152"/>
                </a:lnTo>
                <a:lnTo>
                  <a:pt x="1308" y="1152"/>
                </a:lnTo>
                <a:lnTo>
                  <a:pt x="1314" y="1152"/>
                </a:lnTo>
                <a:lnTo>
                  <a:pt x="1320" y="1152"/>
                </a:lnTo>
                <a:lnTo>
                  <a:pt x="1332" y="1152"/>
                </a:lnTo>
                <a:lnTo>
                  <a:pt x="1338" y="1152"/>
                </a:lnTo>
                <a:lnTo>
                  <a:pt x="1344" y="1152"/>
                </a:lnTo>
                <a:lnTo>
                  <a:pt x="1344" y="1158"/>
                </a:lnTo>
                <a:lnTo>
                  <a:pt x="1350" y="1158"/>
                </a:lnTo>
                <a:lnTo>
                  <a:pt x="1356" y="1158"/>
                </a:lnTo>
                <a:lnTo>
                  <a:pt x="1362" y="1158"/>
                </a:lnTo>
                <a:lnTo>
                  <a:pt x="1368" y="1158"/>
                </a:lnTo>
                <a:lnTo>
                  <a:pt x="1374" y="1164"/>
                </a:lnTo>
                <a:lnTo>
                  <a:pt x="1380" y="1164"/>
                </a:lnTo>
                <a:lnTo>
                  <a:pt x="1386" y="1170"/>
                </a:lnTo>
                <a:lnTo>
                  <a:pt x="1392" y="1170"/>
                </a:lnTo>
                <a:lnTo>
                  <a:pt x="1398" y="1164"/>
                </a:lnTo>
                <a:lnTo>
                  <a:pt x="1404" y="1164"/>
                </a:lnTo>
                <a:lnTo>
                  <a:pt x="1410" y="1164"/>
                </a:lnTo>
                <a:lnTo>
                  <a:pt x="1416" y="1164"/>
                </a:lnTo>
                <a:lnTo>
                  <a:pt x="1416" y="1170"/>
                </a:lnTo>
                <a:lnTo>
                  <a:pt x="1422" y="1176"/>
                </a:lnTo>
                <a:lnTo>
                  <a:pt x="1416" y="1176"/>
                </a:lnTo>
                <a:lnTo>
                  <a:pt x="1416" y="1182"/>
                </a:lnTo>
                <a:lnTo>
                  <a:pt x="1410" y="1188"/>
                </a:lnTo>
                <a:lnTo>
                  <a:pt x="1404" y="1194"/>
                </a:lnTo>
                <a:lnTo>
                  <a:pt x="1404" y="1200"/>
                </a:lnTo>
                <a:lnTo>
                  <a:pt x="1404" y="1206"/>
                </a:lnTo>
                <a:lnTo>
                  <a:pt x="1398" y="1212"/>
                </a:lnTo>
                <a:lnTo>
                  <a:pt x="1398" y="1206"/>
                </a:lnTo>
                <a:lnTo>
                  <a:pt x="1392" y="1206"/>
                </a:lnTo>
                <a:lnTo>
                  <a:pt x="1386" y="1206"/>
                </a:lnTo>
                <a:lnTo>
                  <a:pt x="1380" y="1212"/>
                </a:lnTo>
                <a:lnTo>
                  <a:pt x="1374" y="1212"/>
                </a:lnTo>
                <a:lnTo>
                  <a:pt x="1368" y="1218"/>
                </a:lnTo>
                <a:lnTo>
                  <a:pt x="1362" y="1218"/>
                </a:lnTo>
                <a:lnTo>
                  <a:pt x="1362" y="1224"/>
                </a:lnTo>
                <a:lnTo>
                  <a:pt x="1356" y="1230"/>
                </a:lnTo>
                <a:lnTo>
                  <a:pt x="1350" y="1230"/>
                </a:lnTo>
                <a:lnTo>
                  <a:pt x="1344" y="1236"/>
                </a:lnTo>
                <a:lnTo>
                  <a:pt x="1338" y="1230"/>
                </a:lnTo>
                <a:lnTo>
                  <a:pt x="1332" y="1230"/>
                </a:lnTo>
                <a:lnTo>
                  <a:pt x="1326" y="1230"/>
                </a:lnTo>
                <a:lnTo>
                  <a:pt x="1320" y="1230"/>
                </a:lnTo>
                <a:lnTo>
                  <a:pt x="1314" y="1230"/>
                </a:lnTo>
                <a:lnTo>
                  <a:pt x="1296" y="1242"/>
                </a:lnTo>
                <a:lnTo>
                  <a:pt x="1296" y="1248"/>
                </a:lnTo>
                <a:lnTo>
                  <a:pt x="1290" y="1248"/>
                </a:lnTo>
                <a:lnTo>
                  <a:pt x="1290" y="1260"/>
                </a:lnTo>
                <a:lnTo>
                  <a:pt x="1278" y="1272"/>
                </a:lnTo>
                <a:lnTo>
                  <a:pt x="1278" y="1278"/>
                </a:lnTo>
                <a:lnTo>
                  <a:pt x="1278" y="1284"/>
                </a:lnTo>
                <a:lnTo>
                  <a:pt x="1278" y="1290"/>
                </a:lnTo>
                <a:lnTo>
                  <a:pt x="1284" y="1296"/>
                </a:lnTo>
                <a:lnTo>
                  <a:pt x="1302" y="1302"/>
                </a:lnTo>
                <a:lnTo>
                  <a:pt x="1308" y="1308"/>
                </a:lnTo>
                <a:lnTo>
                  <a:pt x="1308" y="1314"/>
                </a:lnTo>
                <a:lnTo>
                  <a:pt x="1302" y="1320"/>
                </a:lnTo>
                <a:lnTo>
                  <a:pt x="1278" y="1314"/>
                </a:lnTo>
                <a:lnTo>
                  <a:pt x="1266" y="1308"/>
                </a:lnTo>
                <a:lnTo>
                  <a:pt x="1260" y="1296"/>
                </a:lnTo>
                <a:lnTo>
                  <a:pt x="1236" y="1296"/>
                </a:lnTo>
                <a:lnTo>
                  <a:pt x="1224" y="1308"/>
                </a:lnTo>
                <a:lnTo>
                  <a:pt x="1218" y="1308"/>
                </a:lnTo>
                <a:lnTo>
                  <a:pt x="1218" y="1302"/>
                </a:lnTo>
                <a:lnTo>
                  <a:pt x="1212" y="1302"/>
                </a:lnTo>
                <a:lnTo>
                  <a:pt x="1206" y="1302"/>
                </a:lnTo>
                <a:lnTo>
                  <a:pt x="1170" y="1314"/>
                </a:lnTo>
                <a:lnTo>
                  <a:pt x="1134" y="1296"/>
                </a:lnTo>
                <a:lnTo>
                  <a:pt x="1122" y="1290"/>
                </a:lnTo>
                <a:lnTo>
                  <a:pt x="1104" y="1290"/>
                </a:lnTo>
                <a:lnTo>
                  <a:pt x="1098" y="1278"/>
                </a:lnTo>
                <a:lnTo>
                  <a:pt x="1092" y="1242"/>
                </a:lnTo>
                <a:lnTo>
                  <a:pt x="1086" y="1242"/>
                </a:lnTo>
                <a:lnTo>
                  <a:pt x="1086" y="1248"/>
                </a:lnTo>
                <a:lnTo>
                  <a:pt x="1086" y="1254"/>
                </a:lnTo>
                <a:lnTo>
                  <a:pt x="1080" y="1254"/>
                </a:lnTo>
                <a:lnTo>
                  <a:pt x="1080" y="1260"/>
                </a:lnTo>
                <a:lnTo>
                  <a:pt x="1074" y="1260"/>
                </a:lnTo>
                <a:lnTo>
                  <a:pt x="1068" y="1236"/>
                </a:lnTo>
                <a:lnTo>
                  <a:pt x="1068" y="1206"/>
                </a:lnTo>
                <a:lnTo>
                  <a:pt x="1080" y="1194"/>
                </a:lnTo>
                <a:lnTo>
                  <a:pt x="1086" y="1194"/>
                </a:lnTo>
                <a:lnTo>
                  <a:pt x="1092" y="1200"/>
                </a:lnTo>
                <a:lnTo>
                  <a:pt x="1098" y="1206"/>
                </a:lnTo>
                <a:lnTo>
                  <a:pt x="1104" y="1200"/>
                </a:lnTo>
                <a:lnTo>
                  <a:pt x="1104" y="1194"/>
                </a:lnTo>
                <a:lnTo>
                  <a:pt x="1110" y="1194"/>
                </a:lnTo>
                <a:lnTo>
                  <a:pt x="1110" y="1188"/>
                </a:lnTo>
                <a:lnTo>
                  <a:pt x="1116" y="1182"/>
                </a:lnTo>
                <a:lnTo>
                  <a:pt x="1110" y="1182"/>
                </a:lnTo>
                <a:lnTo>
                  <a:pt x="1110" y="1170"/>
                </a:lnTo>
                <a:lnTo>
                  <a:pt x="1110" y="1158"/>
                </a:lnTo>
                <a:lnTo>
                  <a:pt x="1110" y="1152"/>
                </a:lnTo>
                <a:lnTo>
                  <a:pt x="1104" y="1146"/>
                </a:lnTo>
                <a:lnTo>
                  <a:pt x="1098" y="1140"/>
                </a:lnTo>
                <a:lnTo>
                  <a:pt x="1098" y="1134"/>
                </a:lnTo>
                <a:lnTo>
                  <a:pt x="1098" y="1128"/>
                </a:lnTo>
                <a:lnTo>
                  <a:pt x="1092" y="1128"/>
                </a:lnTo>
                <a:lnTo>
                  <a:pt x="1092" y="1122"/>
                </a:lnTo>
                <a:lnTo>
                  <a:pt x="1092" y="1116"/>
                </a:lnTo>
                <a:lnTo>
                  <a:pt x="1092" y="1110"/>
                </a:lnTo>
                <a:lnTo>
                  <a:pt x="1056" y="1122"/>
                </a:lnTo>
                <a:lnTo>
                  <a:pt x="1038" y="1128"/>
                </a:lnTo>
                <a:lnTo>
                  <a:pt x="1032" y="1128"/>
                </a:lnTo>
                <a:lnTo>
                  <a:pt x="1026" y="1128"/>
                </a:lnTo>
                <a:lnTo>
                  <a:pt x="1020" y="1128"/>
                </a:lnTo>
                <a:lnTo>
                  <a:pt x="1014" y="1128"/>
                </a:lnTo>
                <a:lnTo>
                  <a:pt x="1014" y="1122"/>
                </a:lnTo>
                <a:lnTo>
                  <a:pt x="1008" y="1122"/>
                </a:lnTo>
                <a:lnTo>
                  <a:pt x="1002" y="1128"/>
                </a:lnTo>
                <a:lnTo>
                  <a:pt x="1002" y="1134"/>
                </a:lnTo>
                <a:lnTo>
                  <a:pt x="990" y="1134"/>
                </a:lnTo>
                <a:lnTo>
                  <a:pt x="990" y="1140"/>
                </a:lnTo>
                <a:lnTo>
                  <a:pt x="984" y="1140"/>
                </a:lnTo>
                <a:lnTo>
                  <a:pt x="978" y="1146"/>
                </a:lnTo>
                <a:lnTo>
                  <a:pt x="972" y="1140"/>
                </a:lnTo>
                <a:lnTo>
                  <a:pt x="966" y="1140"/>
                </a:lnTo>
                <a:lnTo>
                  <a:pt x="954" y="1140"/>
                </a:lnTo>
                <a:lnTo>
                  <a:pt x="954" y="1134"/>
                </a:lnTo>
                <a:lnTo>
                  <a:pt x="948" y="1134"/>
                </a:lnTo>
                <a:lnTo>
                  <a:pt x="942" y="1134"/>
                </a:lnTo>
                <a:lnTo>
                  <a:pt x="936" y="1134"/>
                </a:lnTo>
                <a:lnTo>
                  <a:pt x="930" y="1134"/>
                </a:lnTo>
                <a:lnTo>
                  <a:pt x="924" y="1134"/>
                </a:lnTo>
                <a:lnTo>
                  <a:pt x="918" y="1134"/>
                </a:lnTo>
                <a:lnTo>
                  <a:pt x="918" y="1128"/>
                </a:lnTo>
                <a:lnTo>
                  <a:pt x="918" y="1104"/>
                </a:lnTo>
                <a:lnTo>
                  <a:pt x="906" y="1104"/>
                </a:lnTo>
                <a:lnTo>
                  <a:pt x="900" y="1098"/>
                </a:lnTo>
                <a:lnTo>
                  <a:pt x="900" y="1092"/>
                </a:lnTo>
                <a:lnTo>
                  <a:pt x="900" y="1086"/>
                </a:lnTo>
                <a:lnTo>
                  <a:pt x="900" y="1080"/>
                </a:lnTo>
                <a:lnTo>
                  <a:pt x="894" y="1080"/>
                </a:lnTo>
                <a:lnTo>
                  <a:pt x="858" y="1074"/>
                </a:lnTo>
                <a:lnTo>
                  <a:pt x="852" y="1080"/>
                </a:lnTo>
                <a:lnTo>
                  <a:pt x="846" y="1086"/>
                </a:lnTo>
                <a:lnTo>
                  <a:pt x="840" y="1086"/>
                </a:lnTo>
                <a:lnTo>
                  <a:pt x="840" y="1092"/>
                </a:lnTo>
                <a:lnTo>
                  <a:pt x="834" y="1092"/>
                </a:lnTo>
                <a:lnTo>
                  <a:pt x="828" y="1098"/>
                </a:lnTo>
                <a:lnTo>
                  <a:pt x="822" y="1098"/>
                </a:lnTo>
                <a:lnTo>
                  <a:pt x="762" y="1074"/>
                </a:lnTo>
                <a:lnTo>
                  <a:pt x="756" y="1068"/>
                </a:lnTo>
                <a:lnTo>
                  <a:pt x="750" y="1068"/>
                </a:lnTo>
                <a:lnTo>
                  <a:pt x="744" y="1062"/>
                </a:lnTo>
                <a:lnTo>
                  <a:pt x="744" y="1068"/>
                </a:lnTo>
                <a:lnTo>
                  <a:pt x="744" y="1074"/>
                </a:lnTo>
                <a:lnTo>
                  <a:pt x="738" y="1074"/>
                </a:lnTo>
                <a:lnTo>
                  <a:pt x="738" y="1068"/>
                </a:lnTo>
                <a:lnTo>
                  <a:pt x="732" y="1068"/>
                </a:lnTo>
                <a:lnTo>
                  <a:pt x="726" y="1068"/>
                </a:lnTo>
                <a:lnTo>
                  <a:pt x="726" y="1074"/>
                </a:lnTo>
                <a:lnTo>
                  <a:pt x="720" y="1074"/>
                </a:lnTo>
                <a:lnTo>
                  <a:pt x="684" y="1068"/>
                </a:lnTo>
                <a:close/>
              </a:path>
            </a:pathLst>
          </a:custGeom>
          <a:noFill/>
          <a:ln w="9525" cap="flat" cmpd="sng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84" name="Freeform 40">
            <a:extLst>
              <a:ext uri="{FF2B5EF4-FFF2-40B4-BE49-F238E27FC236}">
                <a16:creationId xmlns:a16="http://schemas.microsoft.com/office/drawing/2014/main" id="{FD1F0832-F6BF-4B3D-BB4C-00D839943E43}"/>
              </a:ext>
            </a:extLst>
          </p:cNvPr>
          <p:cNvSpPr>
            <a:spLocks/>
          </p:cNvSpPr>
          <p:nvPr/>
        </p:nvSpPr>
        <p:spPr bwMode="gray">
          <a:xfrm>
            <a:off x="6138113" y="2077939"/>
            <a:ext cx="1142356" cy="1373303"/>
          </a:xfrm>
          <a:custGeom>
            <a:avLst/>
            <a:gdLst>
              <a:gd name="T0" fmla="*/ 98 w 1992"/>
              <a:gd name="T1" fmla="*/ 162 h 2358"/>
              <a:gd name="T2" fmla="*/ 93 w 1992"/>
              <a:gd name="T3" fmla="*/ 172 h 2358"/>
              <a:gd name="T4" fmla="*/ 82 w 1992"/>
              <a:gd name="T5" fmla="*/ 179 h 2358"/>
              <a:gd name="T6" fmla="*/ 70 w 1992"/>
              <a:gd name="T7" fmla="*/ 174 h 2358"/>
              <a:gd name="T8" fmla="*/ 62 w 1992"/>
              <a:gd name="T9" fmla="*/ 182 h 2358"/>
              <a:gd name="T10" fmla="*/ 45 w 1992"/>
              <a:gd name="T11" fmla="*/ 189 h 2358"/>
              <a:gd name="T12" fmla="*/ 24 w 1992"/>
              <a:gd name="T13" fmla="*/ 205 h 2358"/>
              <a:gd name="T14" fmla="*/ 17 w 1992"/>
              <a:gd name="T15" fmla="*/ 204 h 2358"/>
              <a:gd name="T16" fmla="*/ 7 w 1992"/>
              <a:gd name="T17" fmla="*/ 197 h 2358"/>
              <a:gd name="T18" fmla="*/ 1 w 1992"/>
              <a:gd name="T19" fmla="*/ 191 h 2358"/>
              <a:gd name="T20" fmla="*/ 4 w 1992"/>
              <a:gd name="T21" fmla="*/ 175 h 2358"/>
              <a:gd name="T22" fmla="*/ 7 w 1992"/>
              <a:gd name="T23" fmla="*/ 172 h 2358"/>
              <a:gd name="T24" fmla="*/ 11 w 1992"/>
              <a:gd name="T25" fmla="*/ 168 h 2358"/>
              <a:gd name="T26" fmla="*/ 5 w 1992"/>
              <a:gd name="T27" fmla="*/ 159 h 2358"/>
              <a:gd name="T28" fmla="*/ 10 w 1992"/>
              <a:gd name="T29" fmla="*/ 156 h 2358"/>
              <a:gd name="T30" fmla="*/ 15 w 1992"/>
              <a:gd name="T31" fmla="*/ 155 h 2358"/>
              <a:gd name="T32" fmla="*/ 24 w 1992"/>
              <a:gd name="T33" fmla="*/ 149 h 2358"/>
              <a:gd name="T34" fmla="*/ 38 w 1992"/>
              <a:gd name="T35" fmla="*/ 127 h 2358"/>
              <a:gd name="T36" fmla="*/ 38 w 1992"/>
              <a:gd name="T37" fmla="*/ 107 h 2358"/>
              <a:gd name="T38" fmla="*/ 45 w 1992"/>
              <a:gd name="T39" fmla="*/ 66 h 2358"/>
              <a:gd name="T40" fmla="*/ 47 w 1992"/>
              <a:gd name="T41" fmla="*/ 36 h 2358"/>
              <a:gd name="T42" fmla="*/ 51 w 1992"/>
              <a:gd name="T43" fmla="*/ 35 h 2358"/>
              <a:gd name="T44" fmla="*/ 55 w 1992"/>
              <a:gd name="T45" fmla="*/ 30 h 2358"/>
              <a:gd name="T46" fmla="*/ 56 w 1992"/>
              <a:gd name="T47" fmla="*/ 27 h 2358"/>
              <a:gd name="T48" fmla="*/ 60 w 1992"/>
              <a:gd name="T49" fmla="*/ 23 h 2358"/>
              <a:gd name="T50" fmla="*/ 63 w 1992"/>
              <a:gd name="T51" fmla="*/ 23 h 2358"/>
              <a:gd name="T52" fmla="*/ 70 w 1992"/>
              <a:gd name="T53" fmla="*/ 18 h 2358"/>
              <a:gd name="T54" fmla="*/ 71 w 1992"/>
              <a:gd name="T55" fmla="*/ 15 h 2358"/>
              <a:gd name="T56" fmla="*/ 72 w 1992"/>
              <a:gd name="T57" fmla="*/ 13 h 2358"/>
              <a:gd name="T58" fmla="*/ 77 w 1992"/>
              <a:gd name="T59" fmla="*/ 12 h 2358"/>
              <a:gd name="T60" fmla="*/ 83 w 1992"/>
              <a:gd name="T61" fmla="*/ 10 h 2358"/>
              <a:gd name="T62" fmla="*/ 87 w 1992"/>
              <a:gd name="T63" fmla="*/ 10 h 2358"/>
              <a:gd name="T64" fmla="*/ 89 w 1992"/>
              <a:gd name="T65" fmla="*/ 10 h 2358"/>
              <a:gd name="T66" fmla="*/ 93 w 1992"/>
              <a:gd name="T67" fmla="*/ 8 h 2358"/>
              <a:gd name="T68" fmla="*/ 95 w 1992"/>
              <a:gd name="T69" fmla="*/ 4 h 2358"/>
              <a:gd name="T70" fmla="*/ 99 w 1992"/>
              <a:gd name="T71" fmla="*/ 0 h 2358"/>
              <a:gd name="T72" fmla="*/ 111 w 1992"/>
              <a:gd name="T73" fmla="*/ 0 h 2358"/>
              <a:gd name="T74" fmla="*/ 121 w 1992"/>
              <a:gd name="T75" fmla="*/ 9 h 2358"/>
              <a:gd name="T76" fmla="*/ 128 w 1992"/>
              <a:gd name="T77" fmla="*/ 19 h 2358"/>
              <a:gd name="T78" fmla="*/ 138 w 1992"/>
              <a:gd name="T79" fmla="*/ 33 h 2358"/>
              <a:gd name="T80" fmla="*/ 142 w 1992"/>
              <a:gd name="T81" fmla="*/ 47 h 2358"/>
              <a:gd name="T82" fmla="*/ 145 w 1992"/>
              <a:gd name="T83" fmla="*/ 62 h 2358"/>
              <a:gd name="T84" fmla="*/ 145 w 1992"/>
              <a:gd name="T85" fmla="*/ 70 h 2358"/>
              <a:gd name="T86" fmla="*/ 147 w 1992"/>
              <a:gd name="T87" fmla="*/ 75 h 2358"/>
              <a:gd name="T88" fmla="*/ 153 w 1992"/>
              <a:gd name="T89" fmla="*/ 75 h 2358"/>
              <a:gd name="T90" fmla="*/ 160 w 1992"/>
              <a:gd name="T91" fmla="*/ 76 h 2358"/>
              <a:gd name="T92" fmla="*/ 164 w 1992"/>
              <a:gd name="T93" fmla="*/ 79 h 2358"/>
              <a:gd name="T94" fmla="*/ 168 w 1992"/>
              <a:gd name="T95" fmla="*/ 83 h 2358"/>
              <a:gd name="T96" fmla="*/ 172 w 1992"/>
              <a:gd name="T97" fmla="*/ 86 h 2358"/>
              <a:gd name="T98" fmla="*/ 170 w 1992"/>
              <a:gd name="T99" fmla="*/ 93 h 2358"/>
              <a:gd name="T100" fmla="*/ 170 w 1992"/>
              <a:gd name="T101" fmla="*/ 99 h 2358"/>
              <a:gd name="T102" fmla="*/ 169 w 1992"/>
              <a:gd name="T103" fmla="*/ 106 h 2358"/>
              <a:gd name="T104" fmla="*/ 166 w 1992"/>
              <a:gd name="T105" fmla="*/ 113 h 2358"/>
              <a:gd name="T106" fmla="*/ 170 w 1992"/>
              <a:gd name="T107" fmla="*/ 122 h 2358"/>
              <a:gd name="T108" fmla="*/ 159 w 1992"/>
              <a:gd name="T109" fmla="*/ 128 h 2358"/>
              <a:gd name="T110" fmla="*/ 148 w 1992"/>
              <a:gd name="T111" fmla="*/ 134 h 2358"/>
              <a:gd name="T112" fmla="*/ 139 w 1992"/>
              <a:gd name="T113" fmla="*/ 136 h 2358"/>
              <a:gd name="T114" fmla="*/ 132 w 1992"/>
              <a:gd name="T115" fmla="*/ 138 h 2358"/>
              <a:gd name="T116" fmla="*/ 128 w 1992"/>
              <a:gd name="T117" fmla="*/ 145 h 2358"/>
              <a:gd name="T118" fmla="*/ 124 w 1992"/>
              <a:gd name="T119" fmla="*/ 150 h 235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992"/>
              <a:gd name="T181" fmla="*/ 0 h 2358"/>
              <a:gd name="T182" fmla="*/ 1992 w 1992"/>
              <a:gd name="T183" fmla="*/ 2358 h 2358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992" h="2358">
                <a:moveTo>
                  <a:pt x="1356" y="1782"/>
                </a:moveTo>
                <a:lnTo>
                  <a:pt x="1350" y="1788"/>
                </a:lnTo>
                <a:lnTo>
                  <a:pt x="1266" y="1788"/>
                </a:lnTo>
                <a:lnTo>
                  <a:pt x="1260" y="1800"/>
                </a:lnTo>
                <a:lnTo>
                  <a:pt x="1242" y="1806"/>
                </a:lnTo>
                <a:lnTo>
                  <a:pt x="1218" y="1812"/>
                </a:lnTo>
                <a:lnTo>
                  <a:pt x="1182" y="1812"/>
                </a:lnTo>
                <a:lnTo>
                  <a:pt x="1158" y="1806"/>
                </a:lnTo>
                <a:lnTo>
                  <a:pt x="1134" y="1800"/>
                </a:lnTo>
                <a:lnTo>
                  <a:pt x="1134" y="1806"/>
                </a:lnTo>
                <a:lnTo>
                  <a:pt x="1134" y="1830"/>
                </a:lnTo>
                <a:lnTo>
                  <a:pt x="1128" y="1842"/>
                </a:lnTo>
                <a:lnTo>
                  <a:pt x="1128" y="1854"/>
                </a:lnTo>
                <a:lnTo>
                  <a:pt x="1128" y="1860"/>
                </a:lnTo>
                <a:lnTo>
                  <a:pt x="1128" y="1866"/>
                </a:lnTo>
                <a:lnTo>
                  <a:pt x="1128" y="1872"/>
                </a:lnTo>
                <a:lnTo>
                  <a:pt x="1128" y="1884"/>
                </a:lnTo>
                <a:lnTo>
                  <a:pt x="1128" y="1890"/>
                </a:lnTo>
                <a:lnTo>
                  <a:pt x="1128" y="1896"/>
                </a:lnTo>
                <a:lnTo>
                  <a:pt x="1122" y="1902"/>
                </a:lnTo>
                <a:lnTo>
                  <a:pt x="1122" y="1920"/>
                </a:lnTo>
                <a:lnTo>
                  <a:pt x="1116" y="1920"/>
                </a:lnTo>
                <a:lnTo>
                  <a:pt x="1110" y="1926"/>
                </a:lnTo>
                <a:lnTo>
                  <a:pt x="1110" y="1932"/>
                </a:lnTo>
                <a:lnTo>
                  <a:pt x="1104" y="1938"/>
                </a:lnTo>
                <a:lnTo>
                  <a:pt x="1086" y="1962"/>
                </a:lnTo>
                <a:lnTo>
                  <a:pt x="1074" y="1974"/>
                </a:lnTo>
                <a:lnTo>
                  <a:pt x="1074" y="1980"/>
                </a:lnTo>
                <a:lnTo>
                  <a:pt x="1068" y="1986"/>
                </a:lnTo>
                <a:lnTo>
                  <a:pt x="1062" y="1998"/>
                </a:lnTo>
                <a:lnTo>
                  <a:pt x="1062" y="2004"/>
                </a:lnTo>
                <a:lnTo>
                  <a:pt x="1068" y="2004"/>
                </a:lnTo>
                <a:lnTo>
                  <a:pt x="1056" y="2034"/>
                </a:lnTo>
                <a:lnTo>
                  <a:pt x="1050" y="2076"/>
                </a:lnTo>
                <a:lnTo>
                  <a:pt x="1056" y="2100"/>
                </a:lnTo>
                <a:lnTo>
                  <a:pt x="1038" y="2106"/>
                </a:lnTo>
                <a:lnTo>
                  <a:pt x="1002" y="2106"/>
                </a:lnTo>
                <a:lnTo>
                  <a:pt x="978" y="2094"/>
                </a:lnTo>
                <a:lnTo>
                  <a:pt x="972" y="2082"/>
                </a:lnTo>
                <a:lnTo>
                  <a:pt x="966" y="2070"/>
                </a:lnTo>
                <a:lnTo>
                  <a:pt x="954" y="2064"/>
                </a:lnTo>
                <a:lnTo>
                  <a:pt x="942" y="2058"/>
                </a:lnTo>
                <a:lnTo>
                  <a:pt x="936" y="2058"/>
                </a:lnTo>
                <a:lnTo>
                  <a:pt x="918" y="2046"/>
                </a:lnTo>
                <a:lnTo>
                  <a:pt x="906" y="2028"/>
                </a:lnTo>
                <a:lnTo>
                  <a:pt x="900" y="2022"/>
                </a:lnTo>
                <a:lnTo>
                  <a:pt x="894" y="2022"/>
                </a:lnTo>
                <a:lnTo>
                  <a:pt x="882" y="2022"/>
                </a:lnTo>
                <a:lnTo>
                  <a:pt x="870" y="2016"/>
                </a:lnTo>
                <a:lnTo>
                  <a:pt x="864" y="2016"/>
                </a:lnTo>
                <a:lnTo>
                  <a:pt x="852" y="2010"/>
                </a:lnTo>
                <a:lnTo>
                  <a:pt x="846" y="2004"/>
                </a:lnTo>
                <a:lnTo>
                  <a:pt x="840" y="2004"/>
                </a:lnTo>
                <a:lnTo>
                  <a:pt x="828" y="1998"/>
                </a:lnTo>
                <a:lnTo>
                  <a:pt x="816" y="1998"/>
                </a:lnTo>
                <a:lnTo>
                  <a:pt x="810" y="1998"/>
                </a:lnTo>
                <a:lnTo>
                  <a:pt x="804" y="1998"/>
                </a:lnTo>
                <a:lnTo>
                  <a:pt x="798" y="1998"/>
                </a:lnTo>
                <a:lnTo>
                  <a:pt x="792" y="2004"/>
                </a:lnTo>
                <a:lnTo>
                  <a:pt x="786" y="2010"/>
                </a:lnTo>
                <a:lnTo>
                  <a:pt x="762" y="2010"/>
                </a:lnTo>
                <a:lnTo>
                  <a:pt x="756" y="2010"/>
                </a:lnTo>
                <a:lnTo>
                  <a:pt x="744" y="2022"/>
                </a:lnTo>
                <a:lnTo>
                  <a:pt x="738" y="2034"/>
                </a:lnTo>
                <a:lnTo>
                  <a:pt x="732" y="2040"/>
                </a:lnTo>
                <a:lnTo>
                  <a:pt x="732" y="2046"/>
                </a:lnTo>
                <a:lnTo>
                  <a:pt x="726" y="2058"/>
                </a:lnTo>
                <a:lnTo>
                  <a:pt x="720" y="2064"/>
                </a:lnTo>
                <a:lnTo>
                  <a:pt x="714" y="2070"/>
                </a:lnTo>
                <a:lnTo>
                  <a:pt x="708" y="2088"/>
                </a:lnTo>
                <a:lnTo>
                  <a:pt x="702" y="2100"/>
                </a:lnTo>
                <a:lnTo>
                  <a:pt x="690" y="2100"/>
                </a:lnTo>
                <a:lnTo>
                  <a:pt x="684" y="2094"/>
                </a:lnTo>
                <a:lnTo>
                  <a:pt x="666" y="2100"/>
                </a:lnTo>
                <a:lnTo>
                  <a:pt x="636" y="2106"/>
                </a:lnTo>
                <a:lnTo>
                  <a:pt x="636" y="2112"/>
                </a:lnTo>
                <a:lnTo>
                  <a:pt x="636" y="2118"/>
                </a:lnTo>
                <a:lnTo>
                  <a:pt x="636" y="2124"/>
                </a:lnTo>
                <a:lnTo>
                  <a:pt x="630" y="2124"/>
                </a:lnTo>
                <a:lnTo>
                  <a:pt x="630" y="2148"/>
                </a:lnTo>
                <a:lnTo>
                  <a:pt x="612" y="2160"/>
                </a:lnTo>
                <a:lnTo>
                  <a:pt x="576" y="2172"/>
                </a:lnTo>
                <a:lnTo>
                  <a:pt x="546" y="2172"/>
                </a:lnTo>
                <a:lnTo>
                  <a:pt x="516" y="2172"/>
                </a:lnTo>
                <a:lnTo>
                  <a:pt x="486" y="2172"/>
                </a:lnTo>
                <a:lnTo>
                  <a:pt x="462" y="2172"/>
                </a:lnTo>
                <a:lnTo>
                  <a:pt x="444" y="2196"/>
                </a:lnTo>
                <a:lnTo>
                  <a:pt x="432" y="2232"/>
                </a:lnTo>
                <a:lnTo>
                  <a:pt x="408" y="2238"/>
                </a:lnTo>
                <a:lnTo>
                  <a:pt x="390" y="2256"/>
                </a:lnTo>
                <a:lnTo>
                  <a:pt x="372" y="2274"/>
                </a:lnTo>
                <a:lnTo>
                  <a:pt x="360" y="2274"/>
                </a:lnTo>
                <a:lnTo>
                  <a:pt x="336" y="2328"/>
                </a:lnTo>
                <a:lnTo>
                  <a:pt x="324" y="2340"/>
                </a:lnTo>
                <a:lnTo>
                  <a:pt x="300" y="2346"/>
                </a:lnTo>
                <a:lnTo>
                  <a:pt x="294" y="2352"/>
                </a:lnTo>
                <a:lnTo>
                  <a:pt x="288" y="2352"/>
                </a:lnTo>
                <a:lnTo>
                  <a:pt x="282" y="2352"/>
                </a:lnTo>
                <a:lnTo>
                  <a:pt x="276" y="2352"/>
                </a:lnTo>
                <a:lnTo>
                  <a:pt x="270" y="2352"/>
                </a:lnTo>
                <a:lnTo>
                  <a:pt x="270" y="2346"/>
                </a:lnTo>
                <a:lnTo>
                  <a:pt x="264" y="2346"/>
                </a:lnTo>
                <a:lnTo>
                  <a:pt x="258" y="2352"/>
                </a:lnTo>
                <a:lnTo>
                  <a:pt x="252" y="2352"/>
                </a:lnTo>
                <a:lnTo>
                  <a:pt x="240" y="2352"/>
                </a:lnTo>
                <a:lnTo>
                  <a:pt x="228" y="2352"/>
                </a:lnTo>
                <a:lnTo>
                  <a:pt x="222" y="2352"/>
                </a:lnTo>
                <a:lnTo>
                  <a:pt x="216" y="2358"/>
                </a:lnTo>
                <a:lnTo>
                  <a:pt x="216" y="2352"/>
                </a:lnTo>
                <a:lnTo>
                  <a:pt x="210" y="2346"/>
                </a:lnTo>
                <a:lnTo>
                  <a:pt x="204" y="2346"/>
                </a:lnTo>
                <a:lnTo>
                  <a:pt x="198" y="2340"/>
                </a:lnTo>
                <a:lnTo>
                  <a:pt x="192" y="2340"/>
                </a:lnTo>
                <a:lnTo>
                  <a:pt x="186" y="2340"/>
                </a:lnTo>
                <a:lnTo>
                  <a:pt x="180" y="2340"/>
                </a:lnTo>
                <a:lnTo>
                  <a:pt x="174" y="2340"/>
                </a:lnTo>
                <a:lnTo>
                  <a:pt x="162" y="2328"/>
                </a:lnTo>
                <a:lnTo>
                  <a:pt x="156" y="2322"/>
                </a:lnTo>
                <a:lnTo>
                  <a:pt x="156" y="2316"/>
                </a:lnTo>
                <a:lnTo>
                  <a:pt x="156" y="2310"/>
                </a:lnTo>
                <a:lnTo>
                  <a:pt x="132" y="2286"/>
                </a:lnTo>
                <a:lnTo>
                  <a:pt x="120" y="2280"/>
                </a:lnTo>
                <a:lnTo>
                  <a:pt x="96" y="2274"/>
                </a:lnTo>
                <a:lnTo>
                  <a:pt x="84" y="2268"/>
                </a:lnTo>
                <a:lnTo>
                  <a:pt x="78" y="2268"/>
                </a:lnTo>
                <a:lnTo>
                  <a:pt x="78" y="2262"/>
                </a:lnTo>
                <a:lnTo>
                  <a:pt x="78" y="2256"/>
                </a:lnTo>
                <a:lnTo>
                  <a:pt x="78" y="2250"/>
                </a:lnTo>
                <a:lnTo>
                  <a:pt x="72" y="2250"/>
                </a:lnTo>
                <a:lnTo>
                  <a:pt x="66" y="2250"/>
                </a:lnTo>
                <a:lnTo>
                  <a:pt x="60" y="2250"/>
                </a:lnTo>
                <a:lnTo>
                  <a:pt x="48" y="2244"/>
                </a:lnTo>
                <a:lnTo>
                  <a:pt x="36" y="2238"/>
                </a:lnTo>
                <a:lnTo>
                  <a:pt x="36" y="2226"/>
                </a:lnTo>
                <a:lnTo>
                  <a:pt x="30" y="2226"/>
                </a:lnTo>
                <a:lnTo>
                  <a:pt x="30" y="2220"/>
                </a:lnTo>
                <a:lnTo>
                  <a:pt x="24" y="2208"/>
                </a:lnTo>
                <a:lnTo>
                  <a:pt x="18" y="2202"/>
                </a:lnTo>
                <a:lnTo>
                  <a:pt x="18" y="2196"/>
                </a:lnTo>
                <a:lnTo>
                  <a:pt x="12" y="2190"/>
                </a:lnTo>
                <a:lnTo>
                  <a:pt x="0" y="2190"/>
                </a:lnTo>
                <a:lnTo>
                  <a:pt x="6" y="2184"/>
                </a:lnTo>
                <a:lnTo>
                  <a:pt x="12" y="2178"/>
                </a:lnTo>
                <a:lnTo>
                  <a:pt x="18" y="2172"/>
                </a:lnTo>
                <a:lnTo>
                  <a:pt x="24" y="2166"/>
                </a:lnTo>
                <a:lnTo>
                  <a:pt x="30" y="2166"/>
                </a:lnTo>
                <a:lnTo>
                  <a:pt x="24" y="2160"/>
                </a:lnTo>
                <a:lnTo>
                  <a:pt x="30" y="2160"/>
                </a:lnTo>
                <a:lnTo>
                  <a:pt x="36" y="2154"/>
                </a:lnTo>
                <a:lnTo>
                  <a:pt x="36" y="2136"/>
                </a:lnTo>
                <a:lnTo>
                  <a:pt x="36" y="2118"/>
                </a:lnTo>
                <a:lnTo>
                  <a:pt x="48" y="2058"/>
                </a:lnTo>
                <a:lnTo>
                  <a:pt x="48" y="2022"/>
                </a:lnTo>
                <a:lnTo>
                  <a:pt x="48" y="2016"/>
                </a:lnTo>
                <a:lnTo>
                  <a:pt x="48" y="2010"/>
                </a:lnTo>
                <a:lnTo>
                  <a:pt x="48" y="2004"/>
                </a:lnTo>
                <a:lnTo>
                  <a:pt x="42" y="2004"/>
                </a:lnTo>
                <a:lnTo>
                  <a:pt x="42" y="1998"/>
                </a:lnTo>
                <a:lnTo>
                  <a:pt x="36" y="1992"/>
                </a:lnTo>
                <a:lnTo>
                  <a:pt x="42" y="1992"/>
                </a:lnTo>
                <a:lnTo>
                  <a:pt x="42" y="1986"/>
                </a:lnTo>
                <a:lnTo>
                  <a:pt x="48" y="1986"/>
                </a:lnTo>
                <a:lnTo>
                  <a:pt x="54" y="1986"/>
                </a:lnTo>
                <a:lnTo>
                  <a:pt x="60" y="1986"/>
                </a:lnTo>
                <a:lnTo>
                  <a:pt x="66" y="1980"/>
                </a:lnTo>
                <a:lnTo>
                  <a:pt x="72" y="1974"/>
                </a:lnTo>
                <a:lnTo>
                  <a:pt x="78" y="1974"/>
                </a:lnTo>
                <a:lnTo>
                  <a:pt x="84" y="1974"/>
                </a:lnTo>
                <a:lnTo>
                  <a:pt x="90" y="1974"/>
                </a:lnTo>
                <a:lnTo>
                  <a:pt x="96" y="1974"/>
                </a:lnTo>
                <a:lnTo>
                  <a:pt x="96" y="1968"/>
                </a:lnTo>
                <a:lnTo>
                  <a:pt x="102" y="1968"/>
                </a:lnTo>
                <a:lnTo>
                  <a:pt x="102" y="1962"/>
                </a:lnTo>
                <a:lnTo>
                  <a:pt x="108" y="1962"/>
                </a:lnTo>
                <a:lnTo>
                  <a:pt x="114" y="1956"/>
                </a:lnTo>
                <a:lnTo>
                  <a:pt x="120" y="1956"/>
                </a:lnTo>
                <a:lnTo>
                  <a:pt x="126" y="1950"/>
                </a:lnTo>
                <a:lnTo>
                  <a:pt x="132" y="1950"/>
                </a:lnTo>
                <a:lnTo>
                  <a:pt x="132" y="1944"/>
                </a:lnTo>
                <a:lnTo>
                  <a:pt x="126" y="1944"/>
                </a:lnTo>
                <a:lnTo>
                  <a:pt x="126" y="1938"/>
                </a:lnTo>
                <a:lnTo>
                  <a:pt x="126" y="1932"/>
                </a:lnTo>
                <a:lnTo>
                  <a:pt x="126" y="1926"/>
                </a:lnTo>
                <a:lnTo>
                  <a:pt x="114" y="1914"/>
                </a:lnTo>
                <a:lnTo>
                  <a:pt x="114" y="1896"/>
                </a:lnTo>
                <a:lnTo>
                  <a:pt x="108" y="1884"/>
                </a:lnTo>
                <a:lnTo>
                  <a:pt x="102" y="1872"/>
                </a:lnTo>
                <a:lnTo>
                  <a:pt x="96" y="1866"/>
                </a:lnTo>
                <a:lnTo>
                  <a:pt x="96" y="1860"/>
                </a:lnTo>
                <a:lnTo>
                  <a:pt x="90" y="1860"/>
                </a:lnTo>
                <a:lnTo>
                  <a:pt x="90" y="1854"/>
                </a:lnTo>
                <a:lnTo>
                  <a:pt x="84" y="1848"/>
                </a:lnTo>
                <a:lnTo>
                  <a:pt x="78" y="1842"/>
                </a:lnTo>
                <a:lnTo>
                  <a:pt x="72" y="1836"/>
                </a:lnTo>
                <a:lnTo>
                  <a:pt x="66" y="1830"/>
                </a:lnTo>
                <a:lnTo>
                  <a:pt x="60" y="1824"/>
                </a:lnTo>
                <a:lnTo>
                  <a:pt x="54" y="1824"/>
                </a:lnTo>
                <a:lnTo>
                  <a:pt x="48" y="1824"/>
                </a:lnTo>
                <a:lnTo>
                  <a:pt x="42" y="1818"/>
                </a:lnTo>
                <a:lnTo>
                  <a:pt x="54" y="1818"/>
                </a:lnTo>
                <a:lnTo>
                  <a:pt x="60" y="1812"/>
                </a:lnTo>
                <a:lnTo>
                  <a:pt x="66" y="1812"/>
                </a:lnTo>
                <a:lnTo>
                  <a:pt x="72" y="1812"/>
                </a:lnTo>
                <a:lnTo>
                  <a:pt x="78" y="1812"/>
                </a:lnTo>
                <a:lnTo>
                  <a:pt x="84" y="1812"/>
                </a:lnTo>
                <a:lnTo>
                  <a:pt x="90" y="1806"/>
                </a:lnTo>
                <a:lnTo>
                  <a:pt x="96" y="1800"/>
                </a:lnTo>
                <a:lnTo>
                  <a:pt x="102" y="1806"/>
                </a:lnTo>
                <a:lnTo>
                  <a:pt x="108" y="1800"/>
                </a:lnTo>
                <a:lnTo>
                  <a:pt x="114" y="1794"/>
                </a:lnTo>
                <a:lnTo>
                  <a:pt x="120" y="1794"/>
                </a:lnTo>
                <a:lnTo>
                  <a:pt x="114" y="1794"/>
                </a:lnTo>
                <a:lnTo>
                  <a:pt x="120" y="1794"/>
                </a:lnTo>
                <a:lnTo>
                  <a:pt x="126" y="1788"/>
                </a:lnTo>
                <a:lnTo>
                  <a:pt x="126" y="1794"/>
                </a:lnTo>
                <a:lnTo>
                  <a:pt x="132" y="1794"/>
                </a:lnTo>
                <a:lnTo>
                  <a:pt x="132" y="1788"/>
                </a:lnTo>
                <a:lnTo>
                  <a:pt x="138" y="1788"/>
                </a:lnTo>
                <a:lnTo>
                  <a:pt x="138" y="1782"/>
                </a:lnTo>
                <a:lnTo>
                  <a:pt x="144" y="1782"/>
                </a:lnTo>
                <a:lnTo>
                  <a:pt x="150" y="1776"/>
                </a:lnTo>
                <a:lnTo>
                  <a:pt x="156" y="1782"/>
                </a:lnTo>
                <a:lnTo>
                  <a:pt x="162" y="1776"/>
                </a:lnTo>
                <a:lnTo>
                  <a:pt x="168" y="1776"/>
                </a:lnTo>
                <a:lnTo>
                  <a:pt x="180" y="1776"/>
                </a:lnTo>
                <a:lnTo>
                  <a:pt x="186" y="1776"/>
                </a:lnTo>
                <a:lnTo>
                  <a:pt x="186" y="1782"/>
                </a:lnTo>
                <a:lnTo>
                  <a:pt x="192" y="1776"/>
                </a:lnTo>
                <a:lnTo>
                  <a:pt x="198" y="1776"/>
                </a:lnTo>
                <a:lnTo>
                  <a:pt x="204" y="1770"/>
                </a:lnTo>
                <a:lnTo>
                  <a:pt x="204" y="1764"/>
                </a:lnTo>
                <a:lnTo>
                  <a:pt x="210" y="1764"/>
                </a:lnTo>
                <a:lnTo>
                  <a:pt x="216" y="1764"/>
                </a:lnTo>
                <a:lnTo>
                  <a:pt x="216" y="1758"/>
                </a:lnTo>
                <a:lnTo>
                  <a:pt x="222" y="1758"/>
                </a:lnTo>
                <a:lnTo>
                  <a:pt x="228" y="1758"/>
                </a:lnTo>
                <a:lnTo>
                  <a:pt x="258" y="1746"/>
                </a:lnTo>
                <a:lnTo>
                  <a:pt x="282" y="1716"/>
                </a:lnTo>
                <a:lnTo>
                  <a:pt x="300" y="1698"/>
                </a:lnTo>
                <a:lnTo>
                  <a:pt x="312" y="1698"/>
                </a:lnTo>
                <a:lnTo>
                  <a:pt x="336" y="1698"/>
                </a:lnTo>
                <a:lnTo>
                  <a:pt x="360" y="1698"/>
                </a:lnTo>
                <a:lnTo>
                  <a:pt x="372" y="1692"/>
                </a:lnTo>
                <a:lnTo>
                  <a:pt x="384" y="1692"/>
                </a:lnTo>
                <a:lnTo>
                  <a:pt x="360" y="1668"/>
                </a:lnTo>
                <a:lnTo>
                  <a:pt x="348" y="1626"/>
                </a:lnTo>
                <a:lnTo>
                  <a:pt x="354" y="1578"/>
                </a:lnTo>
                <a:lnTo>
                  <a:pt x="354" y="1572"/>
                </a:lnTo>
                <a:lnTo>
                  <a:pt x="360" y="1572"/>
                </a:lnTo>
                <a:lnTo>
                  <a:pt x="396" y="1530"/>
                </a:lnTo>
                <a:lnTo>
                  <a:pt x="408" y="1482"/>
                </a:lnTo>
                <a:lnTo>
                  <a:pt x="438" y="1458"/>
                </a:lnTo>
                <a:lnTo>
                  <a:pt x="468" y="1422"/>
                </a:lnTo>
                <a:lnTo>
                  <a:pt x="480" y="1410"/>
                </a:lnTo>
                <a:lnTo>
                  <a:pt x="474" y="1386"/>
                </a:lnTo>
                <a:lnTo>
                  <a:pt x="456" y="1356"/>
                </a:lnTo>
                <a:lnTo>
                  <a:pt x="438" y="1350"/>
                </a:lnTo>
                <a:lnTo>
                  <a:pt x="420" y="1350"/>
                </a:lnTo>
                <a:lnTo>
                  <a:pt x="402" y="1350"/>
                </a:lnTo>
                <a:lnTo>
                  <a:pt x="390" y="1344"/>
                </a:lnTo>
                <a:lnTo>
                  <a:pt x="390" y="1332"/>
                </a:lnTo>
                <a:lnTo>
                  <a:pt x="402" y="1296"/>
                </a:lnTo>
                <a:lnTo>
                  <a:pt x="414" y="1260"/>
                </a:lnTo>
                <a:lnTo>
                  <a:pt x="426" y="1248"/>
                </a:lnTo>
                <a:lnTo>
                  <a:pt x="438" y="1242"/>
                </a:lnTo>
                <a:lnTo>
                  <a:pt x="432" y="1230"/>
                </a:lnTo>
                <a:lnTo>
                  <a:pt x="432" y="1224"/>
                </a:lnTo>
                <a:lnTo>
                  <a:pt x="426" y="1218"/>
                </a:lnTo>
                <a:lnTo>
                  <a:pt x="426" y="1206"/>
                </a:lnTo>
                <a:lnTo>
                  <a:pt x="426" y="1200"/>
                </a:lnTo>
                <a:lnTo>
                  <a:pt x="432" y="1194"/>
                </a:lnTo>
                <a:lnTo>
                  <a:pt x="426" y="1188"/>
                </a:lnTo>
                <a:lnTo>
                  <a:pt x="432" y="1104"/>
                </a:lnTo>
                <a:lnTo>
                  <a:pt x="438" y="1086"/>
                </a:lnTo>
                <a:lnTo>
                  <a:pt x="462" y="972"/>
                </a:lnTo>
                <a:lnTo>
                  <a:pt x="456" y="900"/>
                </a:lnTo>
                <a:lnTo>
                  <a:pt x="444" y="846"/>
                </a:lnTo>
                <a:lnTo>
                  <a:pt x="456" y="810"/>
                </a:lnTo>
                <a:lnTo>
                  <a:pt x="492" y="786"/>
                </a:lnTo>
                <a:lnTo>
                  <a:pt x="522" y="762"/>
                </a:lnTo>
                <a:lnTo>
                  <a:pt x="546" y="732"/>
                </a:lnTo>
                <a:lnTo>
                  <a:pt x="570" y="696"/>
                </a:lnTo>
                <a:lnTo>
                  <a:pt x="582" y="654"/>
                </a:lnTo>
                <a:lnTo>
                  <a:pt x="564" y="642"/>
                </a:lnTo>
                <a:lnTo>
                  <a:pt x="522" y="588"/>
                </a:lnTo>
                <a:lnTo>
                  <a:pt x="516" y="546"/>
                </a:lnTo>
                <a:lnTo>
                  <a:pt x="510" y="474"/>
                </a:lnTo>
                <a:lnTo>
                  <a:pt x="510" y="450"/>
                </a:lnTo>
                <a:lnTo>
                  <a:pt x="510" y="444"/>
                </a:lnTo>
                <a:lnTo>
                  <a:pt x="522" y="438"/>
                </a:lnTo>
                <a:lnTo>
                  <a:pt x="522" y="432"/>
                </a:lnTo>
                <a:lnTo>
                  <a:pt x="528" y="426"/>
                </a:lnTo>
                <a:lnTo>
                  <a:pt x="534" y="420"/>
                </a:lnTo>
                <a:lnTo>
                  <a:pt x="540" y="414"/>
                </a:lnTo>
                <a:lnTo>
                  <a:pt x="540" y="408"/>
                </a:lnTo>
                <a:lnTo>
                  <a:pt x="534" y="408"/>
                </a:lnTo>
                <a:lnTo>
                  <a:pt x="540" y="408"/>
                </a:lnTo>
                <a:lnTo>
                  <a:pt x="546" y="408"/>
                </a:lnTo>
                <a:lnTo>
                  <a:pt x="558" y="414"/>
                </a:lnTo>
                <a:lnTo>
                  <a:pt x="564" y="414"/>
                </a:lnTo>
                <a:lnTo>
                  <a:pt x="570" y="414"/>
                </a:lnTo>
                <a:lnTo>
                  <a:pt x="582" y="414"/>
                </a:lnTo>
                <a:lnTo>
                  <a:pt x="582" y="420"/>
                </a:lnTo>
                <a:lnTo>
                  <a:pt x="588" y="414"/>
                </a:lnTo>
                <a:lnTo>
                  <a:pt x="582" y="408"/>
                </a:lnTo>
                <a:lnTo>
                  <a:pt x="588" y="402"/>
                </a:lnTo>
                <a:lnTo>
                  <a:pt x="594" y="402"/>
                </a:lnTo>
                <a:lnTo>
                  <a:pt x="594" y="396"/>
                </a:lnTo>
                <a:lnTo>
                  <a:pt x="594" y="390"/>
                </a:lnTo>
                <a:lnTo>
                  <a:pt x="594" y="384"/>
                </a:lnTo>
                <a:lnTo>
                  <a:pt x="594" y="378"/>
                </a:lnTo>
                <a:lnTo>
                  <a:pt x="600" y="366"/>
                </a:lnTo>
                <a:lnTo>
                  <a:pt x="606" y="366"/>
                </a:lnTo>
                <a:lnTo>
                  <a:pt x="612" y="360"/>
                </a:lnTo>
                <a:lnTo>
                  <a:pt x="612" y="366"/>
                </a:lnTo>
                <a:lnTo>
                  <a:pt x="618" y="366"/>
                </a:lnTo>
                <a:lnTo>
                  <a:pt x="624" y="366"/>
                </a:lnTo>
                <a:lnTo>
                  <a:pt x="630" y="360"/>
                </a:lnTo>
                <a:lnTo>
                  <a:pt x="636" y="354"/>
                </a:lnTo>
                <a:lnTo>
                  <a:pt x="630" y="354"/>
                </a:lnTo>
                <a:lnTo>
                  <a:pt x="630" y="348"/>
                </a:lnTo>
                <a:lnTo>
                  <a:pt x="630" y="342"/>
                </a:lnTo>
                <a:lnTo>
                  <a:pt x="636" y="342"/>
                </a:lnTo>
                <a:lnTo>
                  <a:pt x="642" y="336"/>
                </a:lnTo>
                <a:lnTo>
                  <a:pt x="636" y="330"/>
                </a:lnTo>
                <a:lnTo>
                  <a:pt x="630" y="336"/>
                </a:lnTo>
                <a:lnTo>
                  <a:pt x="624" y="336"/>
                </a:lnTo>
                <a:lnTo>
                  <a:pt x="624" y="330"/>
                </a:lnTo>
                <a:lnTo>
                  <a:pt x="624" y="324"/>
                </a:lnTo>
                <a:lnTo>
                  <a:pt x="618" y="324"/>
                </a:lnTo>
                <a:lnTo>
                  <a:pt x="624" y="324"/>
                </a:lnTo>
                <a:lnTo>
                  <a:pt x="630" y="330"/>
                </a:lnTo>
                <a:lnTo>
                  <a:pt x="630" y="318"/>
                </a:lnTo>
                <a:lnTo>
                  <a:pt x="636" y="318"/>
                </a:lnTo>
                <a:lnTo>
                  <a:pt x="642" y="312"/>
                </a:lnTo>
                <a:lnTo>
                  <a:pt x="642" y="306"/>
                </a:lnTo>
                <a:lnTo>
                  <a:pt x="648" y="300"/>
                </a:lnTo>
                <a:lnTo>
                  <a:pt x="648" y="294"/>
                </a:lnTo>
                <a:lnTo>
                  <a:pt x="648" y="288"/>
                </a:lnTo>
                <a:lnTo>
                  <a:pt x="648" y="282"/>
                </a:lnTo>
                <a:lnTo>
                  <a:pt x="654" y="288"/>
                </a:lnTo>
                <a:lnTo>
                  <a:pt x="654" y="282"/>
                </a:lnTo>
                <a:lnTo>
                  <a:pt x="660" y="282"/>
                </a:lnTo>
                <a:lnTo>
                  <a:pt x="666" y="282"/>
                </a:lnTo>
                <a:lnTo>
                  <a:pt x="672" y="282"/>
                </a:lnTo>
                <a:lnTo>
                  <a:pt x="678" y="282"/>
                </a:lnTo>
                <a:lnTo>
                  <a:pt x="684" y="276"/>
                </a:lnTo>
                <a:lnTo>
                  <a:pt x="690" y="270"/>
                </a:lnTo>
                <a:lnTo>
                  <a:pt x="690" y="264"/>
                </a:lnTo>
                <a:lnTo>
                  <a:pt x="690" y="270"/>
                </a:lnTo>
                <a:lnTo>
                  <a:pt x="690" y="276"/>
                </a:lnTo>
                <a:lnTo>
                  <a:pt x="696" y="276"/>
                </a:lnTo>
                <a:lnTo>
                  <a:pt x="702" y="276"/>
                </a:lnTo>
                <a:lnTo>
                  <a:pt x="702" y="282"/>
                </a:lnTo>
                <a:lnTo>
                  <a:pt x="708" y="282"/>
                </a:lnTo>
                <a:lnTo>
                  <a:pt x="720" y="270"/>
                </a:lnTo>
                <a:lnTo>
                  <a:pt x="720" y="264"/>
                </a:lnTo>
                <a:lnTo>
                  <a:pt x="720" y="258"/>
                </a:lnTo>
                <a:lnTo>
                  <a:pt x="726" y="258"/>
                </a:lnTo>
                <a:lnTo>
                  <a:pt x="732" y="258"/>
                </a:lnTo>
                <a:lnTo>
                  <a:pt x="732" y="264"/>
                </a:lnTo>
                <a:lnTo>
                  <a:pt x="738" y="264"/>
                </a:lnTo>
                <a:lnTo>
                  <a:pt x="738" y="258"/>
                </a:lnTo>
                <a:lnTo>
                  <a:pt x="732" y="258"/>
                </a:lnTo>
                <a:lnTo>
                  <a:pt x="732" y="252"/>
                </a:lnTo>
                <a:lnTo>
                  <a:pt x="744" y="252"/>
                </a:lnTo>
                <a:lnTo>
                  <a:pt x="750" y="252"/>
                </a:lnTo>
                <a:lnTo>
                  <a:pt x="750" y="246"/>
                </a:lnTo>
                <a:lnTo>
                  <a:pt x="750" y="240"/>
                </a:lnTo>
                <a:lnTo>
                  <a:pt x="762" y="234"/>
                </a:lnTo>
                <a:lnTo>
                  <a:pt x="768" y="234"/>
                </a:lnTo>
                <a:lnTo>
                  <a:pt x="774" y="234"/>
                </a:lnTo>
                <a:lnTo>
                  <a:pt x="780" y="228"/>
                </a:lnTo>
                <a:lnTo>
                  <a:pt x="786" y="222"/>
                </a:lnTo>
                <a:lnTo>
                  <a:pt x="786" y="216"/>
                </a:lnTo>
                <a:lnTo>
                  <a:pt x="792" y="216"/>
                </a:lnTo>
                <a:lnTo>
                  <a:pt x="792" y="210"/>
                </a:lnTo>
                <a:lnTo>
                  <a:pt x="804" y="204"/>
                </a:lnTo>
                <a:lnTo>
                  <a:pt x="804" y="198"/>
                </a:lnTo>
                <a:lnTo>
                  <a:pt x="804" y="204"/>
                </a:lnTo>
                <a:lnTo>
                  <a:pt x="810" y="204"/>
                </a:lnTo>
                <a:lnTo>
                  <a:pt x="810" y="198"/>
                </a:lnTo>
                <a:lnTo>
                  <a:pt x="810" y="192"/>
                </a:lnTo>
                <a:lnTo>
                  <a:pt x="798" y="186"/>
                </a:lnTo>
                <a:lnTo>
                  <a:pt x="810" y="186"/>
                </a:lnTo>
                <a:lnTo>
                  <a:pt x="810" y="180"/>
                </a:lnTo>
                <a:lnTo>
                  <a:pt x="810" y="186"/>
                </a:lnTo>
                <a:lnTo>
                  <a:pt x="816" y="186"/>
                </a:lnTo>
                <a:lnTo>
                  <a:pt x="816" y="180"/>
                </a:lnTo>
                <a:lnTo>
                  <a:pt x="810" y="180"/>
                </a:lnTo>
                <a:lnTo>
                  <a:pt x="816" y="174"/>
                </a:lnTo>
                <a:lnTo>
                  <a:pt x="822" y="174"/>
                </a:lnTo>
                <a:lnTo>
                  <a:pt x="822" y="180"/>
                </a:lnTo>
                <a:lnTo>
                  <a:pt x="828" y="180"/>
                </a:lnTo>
                <a:lnTo>
                  <a:pt x="828" y="174"/>
                </a:lnTo>
                <a:lnTo>
                  <a:pt x="822" y="168"/>
                </a:lnTo>
                <a:lnTo>
                  <a:pt x="828" y="168"/>
                </a:lnTo>
                <a:lnTo>
                  <a:pt x="828" y="162"/>
                </a:lnTo>
                <a:lnTo>
                  <a:pt x="828" y="156"/>
                </a:lnTo>
                <a:lnTo>
                  <a:pt x="822" y="156"/>
                </a:lnTo>
                <a:lnTo>
                  <a:pt x="828" y="156"/>
                </a:lnTo>
                <a:lnTo>
                  <a:pt x="828" y="150"/>
                </a:lnTo>
                <a:lnTo>
                  <a:pt x="834" y="150"/>
                </a:lnTo>
                <a:lnTo>
                  <a:pt x="840" y="156"/>
                </a:lnTo>
                <a:lnTo>
                  <a:pt x="840" y="150"/>
                </a:lnTo>
                <a:lnTo>
                  <a:pt x="834" y="150"/>
                </a:lnTo>
                <a:lnTo>
                  <a:pt x="834" y="144"/>
                </a:lnTo>
                <a:lnTo>
                  <a:pt x="840" y="138"/>
                </a:lnTo>
                <a:lnTo>
                  <a:pt x="846" y="144"/>
                </a:lnTo>
                <a:lnTo>
                  <a:pt x="846" y="150"/>
                </a:lnTo>
                <a:lnTo>
                  <a:pt x="852" y="150"/>
                </a:lnTo>
                <a:lnTo>
                  <a:pt x="858" y="150"/>
                </a:lnTo>
                <a:lnTo>
                  <a:pt x="870" y="150"/>
                </a:lnTo>
                <a:lnTo>
                  <a:pt x="870" y="144"/>
                </a:lnTo>
                <a:lnTo>
                  <a:pt x="876" y="138"/>
                </a:lnTo>
                <a:lnTo>
                  <a:pt x="882" y="138"/>
                </a:lnTo>
                <a:lnTo>
                  <a:pt x="888" y="132"/>
                </a:lnTo>
                <a:lnTo>
                  <a:pt x="888" y="138"/>
                </a:lnTo>
                <a:lnTo>
                  <a:pt x="894" y="138"/>
                </a:lnTo>
                <a:lnTo>
                  <a:pt x="894" y="132"/>
                </a:lnTo>
                <a:lnTo>
                  <a:pt x="900" y="126"/>
                </a:lnTo>
                <a:lnTo>
                  <a:pt x="900" y="132"/>
                </a:lnTo>
                <a:lnTo>
                  <a:pt x="906" y="132"/>
                </a:lnTo>
                <a:lnTo>
                  <a:pt x="912" y="132"/>
                </a:lnTo>
                <a:lnTo>
                  <a:pt x="918" y="126"/>
                </a:lnTo>
                <a:lnTo>
                  <a:pt x="918" y="132"/>
                </a:lnTo>
                <a:lnTo>
                  <a:pt x="924" y="132"/>
                </a:lnTo>
                <a:lnTo>
                  <a:pt x="924" y="126"/>
                </a:lnTo>
                <a:lnTo>
                  <a:pt x="936" y="120"/>
                </a:lnTo>
                <a:lnTo>
                  <a:pt x="942" y="120"/>
                </a:lnTo>
                <a:lnTo>
                  <a:pt x="948" y="120"/>
                </a:lnTo>
                <a:lnTo>
                  <a:pt x="948" y="114"/>
                </a:lnTo>
                <a:lnTo>
                  <a:pt x="948" y="108"/>
                </a:lnTo>
                <a:lnTo>
                  <a:pt x="954" y="114"/>
                </a:lnTo>
                <a:lnTo>
                  <a:pt x="960" y="108"/>
                </a:lnTo>
                <a:lnTo>
                  <a:pt x="966" y="108"/>
                </a:lnTo>
                <a:lnTo>
                  <a:pt x="972" y="108"/>
                </a:lnTo>
                <a:lnTo>
                  <a:pt x="966" y="114"/>
                </a:lnTo>
                <a:lnTo>
                  <a:pt x="960" y="114"/>
                </a:lnTo>
                <a:lnTo>
                  <a:pt x="960" y="120"/>
                </a:lnTo>
                <a:lnTo>
                  <a:pt x="966" y="126"/>
                </a:lnTo>
                <a:lnTo>
                  <a:pt x="972" y="126"/>
                </a:lnTo>
                <a:lnTo>
                  <a:pt x="978" y="126"/>
                </a:lnTo>
                <a:lnTo>
                  <a:pt x="984" y="120"/>
                </a:lnTo>
                <a:lnTo>
                  <a:pt x="984" y="114"/>
                </a:lnTo>
                <a:lnTo>
                  <a:pt x="996" y="126"/>
                </a:lnTo>
                <a:lnTo>
                  <a:pt x="996" y="120"/>
                </a:lnTo>
                <a:lnTo>
                  <a:pt x="1002" y="120"/>
                </a:lnTo>
                <a:lnTo>
                  <a:pt x="996" y="114"/>
                </a:lnTo>
                <a:lnTo>
                  <a:pt x="1002" y="114"/>
                </a:lnTo>
                <a:lnTo>
                  <a:pt x="1008" y="114"/>
                </a:lnTo>
                <a:lnTo>
                  <a:pt x="1008" y="108"/>
                </a:lnTo>
                <a:lnTo>
                  <a:pt x="1014" y="108"/>
                </a:lnTo>
                <a:lnTo>
                  <a:pt x="1008" y="114"/>
                </a:lnTo>
                <a:lnTo>
                  <a:pt x="1008" y="120"/>
                </a:lnTo>
                <a:lnTo>
                  <a:pt x="1008" y="126"/>
                </a:lnTo>
                <a:lnTo>
                  <a:pt x="1014" y="126"/>
                </a:lnTo>
                <a:lnTo>
                  <a:pt x="1014" y="132"/>
                </a:lnTo>
                <a:lnTo>
                  <a:pt x="1020" y="132"/>
                </a:lnTo>
                <a:lnTo>
                  <a:pt x="1020" y="126"/>
                </a:lnTo>
                <a:lnTo>
                  <a:pt x="1020" y="120"/>
                </a:lnTo>
                <a:lnTo>
                  <a:pt x="1032" y="120"/>
                </a:lnTo>
                <a:lnTo>
                  <a:pt x="1038" y="120"/>
                </a:lnTo>
                <a:lnTo>
                  <a:pt x="1038" y="126"/>
                </a:lnTo>
                <a:lnTo>
                  <a:pt x="1044" y="132"/>
                </a:lnTo>
                <a:lnTo>
                  <a:pt x="1044" y="126"/>
                </a:lnTo>
                <a:lnTo>
                  <a:pt x="1050" y="120"/>
                </a:lnTo>
                <a:lnTo>
                  <a:pt x="1050" y="114"/>
                </a:lnTo>
                <a:lnTo>
                  <a:pt x="1056" y="108"/>
                </a:lnTo>
                <a:lnTo>
                  <a:pt x="1056" y="102"/>
                </a:lnTo>
                <a:lnTo>
                  <a:pt x="1056" y="108"/>
                </a:lnTo>
                <a:lnTo>
                  <a:pt x="1056" y="102"/>
                </a:lnTo>
                <a:lnTo>
                  <a:pt x="1068" y="102"/>
                </a:lnTo>
                <a:lnTo>
                  <a:pt x="1074" y="96"/>
                </a:lnTo>
                <a:lnTo>
                  <a:pt x="1074" y="90"/>
                </a:lnTo>
                <a:lnTo>
                  <a:pt x="1068" y="90"/>
                </a:lnTo>
                <a:lnTo>
                  <a:pt x="1068" y="84"/>
                </a:lnTo>
                <a:lnTo>
                  <a:pt x="1080" y="84"/>
                </a:lnTo>
                <a:lnTo>
                  <a:pt x="1086" y="78"/>
                </a:lnTo>
                <a:lnTo>
                  <a:pt x="1086" y="72"/>
                </a:lnTo>
                <a:lnTo>
                  <a:pt x="1080" y="78"/>
                </a:lnTo>
                <a:lnTo>
                  <a:pt x="1080" y="72"/>
                </a:lnTo>
                <a:lnTo>
                  <a:pt x="1080" y="66"/>
                </a:lnTo>
                <a:lnTo>
                  <a:pt x="1074" y="66"/>
                </a:lnTo>
                <a:lnTo>
                  <a:pt x="1080" y="66"/>
                </a:lnTo>
                <a:lnTo>
                  <a:pt x="1080" y="60"/>
                </a:lnTo>
                <a:lnTo>
                  <a:pt x="1086" y="60"/>
                </a:lnTo>
                <a:lnTo>
                  <a:pt x="1086" y="54"/>
                </a:lnTo>
                <a:lnTo>
                  <a:pt x="1092" y="54"/>
                </a:lnTo>
                <a:lnTo>
                  <a:pt x="1092" y="48"/>
                </a:lnTo>
                <a:lnTo>
                  <a:pt x="1092" y="42"/>
                </a:lnTo>
                <a:lnTo>
                  <a:pt x="1098" y="42"/>
                </a:lnTo>
                <a:lnTo>
                  <a:pt x="1104" y="36"/>
                </a:lnTo>
                <a:lnTo>
                  <a:pt x="1110" y="36"/>
                </a:lnTo>
                <a:lnTo>
                  <a:pt x="1110" y="30"/>
                </a:lnTo>
                <a:lnTo>
                  <a:pt x="1110" y="24"/>
                </a:lnTo>
                <a:lnTo>
                  <a:pt x="1116" y="24"/>
                </a:lnTo>
                <a:lnTo>
                  <a:pt x="1116" y="18"/>
                </a:lnTo>
                <a:lnTo>
                  <a:pt x="1122" y="18"/>
                </a:lnTo>
                <a:lnTo>
                  <a:pt x="1128" y="18"/>
                </a:lnTo>
                <a:lnTo>
                  <a:pt x="1134" y="12"/>
                </a:lnTo>
                <a:lnTo>
                  <a:pt x="1134" y="6"/>
                </a:lnTo>
                <a:lnTo>
                  <a:pt x="1140" y="6"/>
                </a:lnTo>
                <a:lnTo>
                  <a:pt x="1146" y="0"/>
                </a:lnTo>
                <a:lnTo>
                  <a:pt x="1152" y="0"/>
                </a:lnTo>
                <a:lnTo>
                  <a:pt x="1158" y="0"/>
                </a:lnTo>
                <a:lnTo>
                  <a:pt x="1158" y="6"/>
                </a:lnTo>
                <a:lnTo>
                  <a:pt x="1170" y="0"/>
                </a:lnTo>
                <a:lnTo>
                  <a:pt x="1176" y="6"/>
                </a:lnTo>
                <a:lnTo>
                  <a:pt x="1182" y="6"/>
                </a:lnTo>
                <a:lnTo>
                  <a:pt x="1194" y="6"/>
                </a:lnTo>
                <a:lnTo>
                  <a:pt x="1200" y="6"/>
                </a:lnTo>
                <a:lnTo>
                  <a:pt x="1212" y="0"/>
                </a:lnTo>
                <a:lnTo>
                  <a:pt x="1212" y="6"/>
                </a:lnTo>
                <a:lnTo>
                  <a:pt x="1218" y="6"/>
                </a:lnTo>
                <a:lnTo>
                  <a:pt x="1266" y="6"/>
                </a:lnTo>
                <a:lnTo>
                  <a:pt x="1272" y="0"/>
                </a:lnTo>
                <a:lnTo>
                  <a:pt x="1278" y="6"/>
                </a:lnTo>
                <a:lnTo>
                  <a:pt x="1290" y="6"/>
                </a:lnTo>
                <a:lnTo>
                  <a:pt x="1296" y="6"/>
                </a:lnTo>
                <a:lnTo>
                  <a:pt x="1308" y="6"/>
                </a:lnTo>
                <a:lnTo>
                  <a:pt x="1314" y="6"/>
                </a:lnTo>
                <a:lnTo>
                  <a:pt x="1320" y="6"/>
                </a:lnTo>
                <a:lnTo>
                  <a:pt x="1326" y="12"/>
                </a:lnTo>
                <a:lnTo>
                  <a:pt x="1338" y="30"/>
                </a:lnTo>
                <a:lnTo>
                  <a:pt x="1344" y="36"/>
                </a:lnTo>
                <a:lnTo>
                  <a:pt x="1356" y="48"/>
                </a:lnTo>
                <a:lnTo>
                  <a:pt x="1362" y="60"/>
                </a:lnTo>
                <a:lnTo>
                  <a:pt x="1368" y="66"/>
                </a:lnTo>
                <a:lnTo>
                  <a:pt x="1374" y="72"/>
                </a:lnTo>
                <a:lnTo>
                  <a:pt x="1374" y="78"/>
                </a:lnTo>
                <a:lnTo>
                  <a:pt x="1398" y="108"/>
                </a:lnTo>
                <a:lnTo>
                  <a:pt x="1398" y="114"/>
                </a:lnTo>
                <a:lnTo>
                  <a:pt x="1404" y="114"/>
                </a:lnTo>
                <a:lnTo>
                  <a:pt x="1404" y="120"/>
                </a:lnTo>
                <a:lnTo>
                  <a:pt x="1410" y="132"/>
                </a:lnTo>
                <a:lnTo>
                  <a:pt x="1416" y="132"/>
                </a:lnTo>
                <a:lnTo>
                  <a:pt x="1416" y="138"/>
                </a:lnTo>
                <a:lnTo>
                  <a:pt x="1422" y="144"/>
                </a:lnTo>
                <a:lnTo>
                  <a:pt x="1428" y="150"/>
                </a:lnTo>
                <a:lnTo>
                  <a:pt x="1428" y="156"/>
                </a:lnTo>
                <a:lnTo>
                  <a:pt x="1458" y="192"/>
                </a:lnTo>
                <a:lnTo>
                  <a:pt x="1458" y="198"/>
                </a:lnTo>
                <a:lnTo>
                  <a:pt x="1464" y="204"/>
                </a:lnTo>
                <a:lnTo>
                  <a:pt x="1470" y="210"/>
                </a:lnTo>
                <a:lnTo>
                  <a:pt x="1476" y="216"/>
                </a:lnTo>
                <a:lnTo>
                  <a:pt x="1482" y="228"/>
                </a:lnTo>
                <a:lnTo>
                  <a:pt x="1488" y="234"/>
                </a:lnTo>
                <a:lnTo>
                  <a:pt x="1512" y="270"/>
                </a:lnTo>
                <a:lnTo>
                  <a:pt x="1512" y="276"/>
                </a:lnTo>
                <a:lnTo>
                  <a:pt x="1530" y="300"/>
                </a:lnTo>
                <a:lnTo>
                  <a:pt x="1536" y="306"/>
                </a:lnTo>
                <a:lnTo>
                  <a:pt x="1542" y="312"/>
                </a:lnTo>
                <a:lnTo>
                  <a:pt x="1542" y="318"/>
                </a:lnTo>
                <a:lnTo>
                  <a:pt x="1560" y="336"/>
                </a:lnTo>
                <a:lnTo>
                  <a:pt x="1566" y="348"/>
                </a:lnTo>
                <a:lnTo>
                  <a:pt x="1572" y="354"/>
                </a:lnTo>
                <a:lnTo>
                  <a:pt x="1578" y="360"/>
                </a:lnTo>
                <a:lnTo>
                  <a:pt x="1584" y="378"/>
                </a:lnTo>
                <a:lnTo>
                  <a:pt x="1590" y="378"/>
                </a:lnTo>
                <a:lnTo>
                  <a:pt x="1596" y="390"/>
                </a:lnTo>
                <a:lnTo>
                  <a:pt x="1602" y="396"/>
                </a:lnTo>
                <a:lnTo>
                  <a:pt x="1608" y="408"/>
                </a:lnTo>
                <a:lnTo>
                  <a:pt x="1614" y="408"/>
                </a:lnTo>
                <a:lnTo>
                  <a:pt x="1614" y="432"/>
                </a:lnTo>
                <a:lnTo>
                  <a:pt x="1620" y="438"/>
                </a:lnTo>
                <a:lnTo>
                  <a:pt x="1620" y="450"/>
                </a:lnTo>
                <a:lnTo>
                  <a:pt x="1620" y="462"/>
                </a:lnTo>
                <a:lnTo>
                  <a:pt x="1626" y="474"/>
                </a:lnTo>
                <a:lnTo>
                  <a:pt x="1626" y="480"/>
                </a:lnTo>
                <a:lnTo>
                  <a:pt x="1626" y="486"/>
                </a:lnTo>
                <a:lnTo>
                  <a:pt x="1632" y="522"/>
                </a:lnTo>
                <a:lnTo>
                  <a:pt x="1632" y="528"/>
                </a:lnTo>
                <a:lnTo>
                  <a:pt x="1632" y="534"/>
                </a:lnTo>
                <a:lnTo>
                  <a:pt x="1638" y="540"/>
                </a:lnTo>
                <a:lnTo>
                  <a:pt x="1638" y="558"/>
                </a:lnTo>
                <a:lnTo>
                  <a:pt x="1638" y="570"/>
                </a:lnTo>
                <a:lnTo>
                  <a:pt x="1644" y="582"/>
                </a:lnTo>
                <a:lnTo>
                  <a:pt x="1650" y="618"/>
                </a:lnTo>
                <a:lnTo>
                  <a:pt x="1650" y="624"/>
                </a:lnTo>
                <a:lnTo>
                  <a:pt x="1650" y="636"/>
                </a:lnTo>
                <a:lnTo>
                  <a:pt x="1656" y="642"/>
                </a:lnTo>
                <a:lnTo>
                  <a:pt x="1656" y="648"/>
                </a:lnTo>
                <a:lnTo>
                  <a:pt x="1656" y="654"/>
                </a:lnTo>
                <a:lnTo>
                  <a:pt x="1656" y="660"/>
                </a:lnTo>
                <a:lnTo>
                  <a:pt x="1662" y="696"/>
                </a:lnTo>
                <a:lnTo>
                  <a:pt x="1668" y="708"/>
                </a:lnTo>
                <a:lnTo>
                  <a:pt x="1668" y="714"/>
                </a:lnTo>
                <a:lnTo>
                  <a:pt x="1668" y="732"/>
                </a:lnTo>
                <a:lnTo>
                  <a:pt x="1668" y="744"/>
                </a:lnTo>
                <a:lnTo>
                  <a:pt x="1674" y="756"/>
                </a:lnTo>
                <a:lnTo>
                  <a:pt x="1680" y="762"/>
                </a:lnTo>
                <a:lnTo>
                  <a:pt x="1680" y="768"/>
                </a:lnTo>
                <a:lnTo>
                  <a:pt x="1680" y="774"/>
                </a:lnTo>
                <a:lnTo>
                  <a:pt x="1680" y="780"/>
                </a:lnTo>
                <a:lnTo>
                  <a:pt x="1674" y="786"/>
                </a:lnTo>
                <a:lnTo>
                  <a:pt x="1668" y="792"/>
                </a:lnTo>
                <a:lnTo>
                  <a:pt x="1668" y="798"/>
                </a:lnTo>
                <a:lnTo>
                  <a:pt x="1668" y="804"/>
                </a:lnTo>
                <a:lnTo>
                  <a:pt x="1674" y="804"/>
                </a:lnTo>
                <a:lnTo>
                  <a:pt x="1668" y="810"/>
                </a:lnTo>
                <a:lnTo>
                  <a:pt x="1674" y="810"/>
                </a:lnTo>
                <a:lnTo>
                  <a:pt x="1680" y="810"/>
                </a:lnTo>
                <a:lnTo>
                  <a:pt x="1680" y="816"/>
                </a:lnTo>
                <a:lnTo>
                  <a:pt x="1680" y="822"/>
                </a:lnTo>
                <a:lnTo>
                  <a:pt x="1674" y="822"/>
                </a:lnTo>
                <a:lnTo>
                  <a:pt x="1674" y="828"/>
                </a:lnTo>
                <a:lnTo>
                  <a:pt x="1668" y="828"/>
                </a:lnTo>
                <a:lnTo>
                  <a:pt x="1674" y="834"/>
                </a:lnTo>
                <a:lnTo>
                  <a:pt x="1668" y="834"/>
                </a:lnTo>
                <a:lnTo>
                  <a:pt x="1668" y="840"/>
                </a:lnTo>
                <a:lnTo>
                  <a:pt x="1674" y="840"/>
                </a:lnTo>
                <a:lnTo>
                  <a:pt x="1686" y="852"/>
                </a:lnTo>
                <a:lnTo>
                  <a:pt x="1692" y="858"/>
                </a:lnTo>
                <a:lnTo>
                  <a:pt x="1698" y="858"/>
                </a:lnTo>
                <a:lnTo>
                  <a:pt x="1698" y="864"/>
                </a:lnTo>
                <a:lnTo>
                  <a:pt x="1698" y="870"/>
                </a:lnTo>
                <a:lnTo>
                  <a:pt x="1704" y="864"/>
                </a:lnTo>
                <a:lnTo>
                  <a:pt x="1716" y="864"/>
                </a:lnTo>
                <a:lnTo>
                  <a:pt x="1722" y="864"/>
                </a:lnTo>
                <a:lnTo>
                  <a:pt x="1728" y="864"/>
                </a:lnTo>
                <a:lnTo>
                  <a:pt x="1734" y="864"/>
                </a:lnTo>
                <a:lnTo>
                  <a:pt x="1740" y="864"/>
                </a:lnTo>
                <a:lnTo>
                  <a:pt x="1746" y="876"/>
                </a:lnTo>
                <a:lnTo>
                  <a:pt x="1746" y="870"/>
                </a:lnTo>
                <a:lnTo>
                  <a:pt x="1740" y="864"/>
                </a:lnTo>
                <a:lnTo>
                  <a:pt x="1746" y="864"/>
                </a:lnTo>
                <a:lnTo>
                  <a:pt x="1752" y="870"/>
                </a:lnTo>
                <a:lnTo>
                  <a:pt x="1758" y="864"/>
                </a:lnTo>
                <a:lnTo>
                  <a:pt x="1764" y="864"/>
                </a:lnTo>
                <a:lnTo>
                  <a:pt x="1770" y="858"/>
                </a:lnTo>
                <a:lnTo>
                  <a:pt x="1782" y="864"/>
                </a:lnTo>
                <a:lnTo>
                  <a:pt x="1782" y="870"/>
                </a:lnTo>
                <a:lnTo>
                  <a:pt x="1788" y="864"/>
                </a:lnTo>
                <a:lnTo>
                  <a:pt x="1794" y="864"/>
                </a:lnTo>
                <a:lnTo>
                  <a:pt x="1800" y="870"/>
                </a:lnTo>
                <a:lnTo>
                  <a:pt x="1818" y="864"/>
                </a:lnTo>
                <a:lnTo>
                  <a:pt x="1824" y="870"/>
                </a:lnTo>
                <a:lnTo>
                  <a:pt x="1830" y="864"/>
                </a:lnTo>
                <a:lnTo>
                  <a:pt x="1836" y="864"/>
                </a:lnTo>
                <a:lnTo>
                  <a:pt x="1842" y="870"/>
                </a:lnTo>
                <a:lnTo>
                  <a:pt x="1842" y="876"/>
                </a:lnTo>
                <a:lnTo>
                  <a:pt x="1848" y="876"/>
                </a:lnTo>
                <a:lnTo>
                  <a:pt x="1848" y="870"/>
                </a:lnTo>
                <a:lnTo>
                  <a:pt x="1854" y="870"/>
                </a:lnTo>
                <a:lnTo>
                  <a:pt x="1860" y="870"/>
                </a:lnTo>
                <a:lnTo>
                  <a:pt x="1860" y="876"/>
                </a:lnTo>
                <a:lnTo>
                  <a:pt x="1866" y="876"/>
                </a:lnTo>
                <a:lnTo>
                  <a:pt x="1866" y="882"/>
                </a:lnTo>
                <a:lnTo>
                  <a:pt x="1872" y="882"/>
                </a:lnTo>
                <a:lnTo>
                  <a:pt x="1878" y="888"/>
                </a:lnTo>
                <a:lnTo>
                  <a:pt x="1890" y="888"/>
                </a:lnTo>
                <a:lnTo>
                  <a:pt x="1890" y="894"/>
                </a:lnTo>
                <a:lnTo>
                  <a:pt x="1890" y="900"/>
                </a:lnTo>
                <a:lnTo>
                  <a:pt x="1884" y="900"/>
                </a:lnTo>
                <a:lnTo>
                  <a:pt x="1884" y="906"/>
                </a:lnTo>
                <a:lnTo>
                  <a:pt x="1884" y="912"/>
                </a:lnTo>
                <a:lnTo>
                  <a:pt x="1890" y="912"/>
                </a:lnTo>
                <a:lnTo>
                  <a:pt x="1896" y="912"/>
                </a:lnTo>
                <a:lnTo>
                  <a:pt x="1902" y="912"/>
                </a:lnTo>
                <a:lnTo>
                  <a:pt x="1908" y="918"/>
                </a:lnTo>
                <a:lnTo>
                  <a:pt x="1908" y="924"/>
                </a:lnTo>
                <a:lnTo>
                  <a:pt x="1908" y="930"/>
                </a:lnTo>
                <a:lnTo>
                  <a:pt x="1908" y="936"/>
                </a:lnTo>
                <a:lnTo>
                  <a:pt x="1914" y="936"/>
                </a:lnTo>
                <a:lnTo>
                  <a:pt x="1914" y="942"/>
                </a:lnTo>
                <a:lnTo>
                  <a:pt x="1908" y="948"/>
                </a:lnTo>
                <a:lnTo>
                  <a:pt x="1914" y="948"/>
                </a:lnTo>
                <a:lnTo>
                  <a:pt x="1920" y="954"/>
                </a:lnTo>
                <a:lnTo>
                  <a:pt x="1926" y="954"/>
                </a:lnTo>
                <a:lnTo>
                  <a:pt x="1932" y="954"/>
                </a:lnTo>
                <a:lnTo>
                  <a:pt x="1938" y="954"/>
                </a:lnTo>
                <a:lnTo>
                  <a:pt x="1938" y="960"/>
                </a:lnTo>
                <a:lnTo>
                  <a:pt x="1944" y="966"/>
                </a:lnTo>
                <a:lnTo>
                  <a:pt x="1944" y="972"/>
                </a:lnTo>
                <a:lnTo>
                  <a:pt x="1944" y="978"/>
                </a:lnTo>
                <a:lnTo>
                  <a:pt x="1950" y="978"/>
                </a:lnTo>
                <a:lnTo>
                  <a:pt x="1950" y="984"/>
                </a:lnTo>
                <a:lnTo>
                  <a:pt x="1956" y="984"/>
                </a:lnTo>
                <a:lnTo>
                  <a:pt x="1962" y="984"/>
                </a:lnTo>
                <a:lnTo>
                  <a:pt x="1962" y="978"/>
                </a:lnTo>
                <a:lnTo>
                  <a:pt x="1968" y="978"/>
                </a:lnTo>
                <a:lnTo>
                  <a:pt x="1974" y="978"/>
                </a:lnTo>
                <a:lnTo>
                  <a:pt x="1980" y="972"/>
                </a:lnTo>
                <a:lnTo>
                  <a:pt x="1980" y="978"/>
                </a:lnTo>
                <a:lnTo>
                  <a:pt x="1980" y="984"/>
                </a:lnTo>
                <a:lnTo>
                  <a:pt x="1986" y="984"/>
                </a:lnTo>
                <a:lnTo>
                  <a:pt x="1992" y="990"/>
                </a:lnTo>
                <a:lnTo>
                  <a:pt x="1992" y="996"/>
                </a:lnTo>
                <a:lnTo>
                  <a:pt x="1992" y="1002"/>
                </a:lnTo>
                <a:lnTo>
                  <a:pt x="1974" y="1008"/>
                </a:lnTo>
                <a:lnTo>
                  <a:pt x="1974" y="1014"/>
                </a:lnTo>
                <a:lnTo>
                  <a:pt x="1974" y="1020"/>
                </a:lnTo>
                <a:lnTo>
                  <a:pt x="1974" y="1026"/>
                </a:lnTo>
                <a:lnTo>
                  <a:pt x="1968" y="1038"/>
                </a:lnTo>
                <a:lnTo>
                  <a:pt x="1968" y="1044"/>
                </a:lnTo>
                <a:lnTo>
                  <a:pt x="1974" y="1056"/>
                </a:lnTo>
                <a:lnTo>
                  <a:pt x="1968" y="1062"/>
                </a:lnTo>
                <a:lnTo>
                  <a:pt x="1962" y="1062"/>
                </a:lnTo>
                <a:lnTo>
                  <a:pt x="1956" y="1068"/>
                </a:lnTo>
                <a:lnTo>
                  <a:pt x="1956" y="1074"/>
                </a:lnTo>
                <a:lnTo>
                  <a:pt x="1956" y="1080"/>
                </a:lnTo>
                <a:lnTo>
                  <a:pt x="1956" y="1086"/>
                </a:lnTo>
                <a:lnTo>
                  <a:pt x="1956" y="1092"/>
                </a:lnTo>
                <a:lnTo>
                  <a:pt x="1962" y="1092"/>
                </a:lnTo>
                <a:lnTo>
                  <a:pt x="1962" y="1104"/>
                </a:lnTo>
                <a:lnTo>
                  <a:pt x="1968" y="1110"/>
                </a:lnTo>
                <a:lnTo>
                  <a:pt x="1968" y="1116"/>
                </a:lnTo>
                <a:lnTo>
                  <a:pt x="1974" y="1116"/>
                </a:lnTo>
                <a:lnTo>
                  <a:pt x="1974" y="1122"/>
                </a:lnTo>
                <a:lnTo>
                  <a:pt x="1980" y="1122"/>
                </a:lnTo>
                <a:lnTo>
                  <a:pt x="1974" y="1128"/>
                </a:lnTo>
                <a:lnTo>
                  <a:pt x="1968" y="1134"/>
                </a:lnTo>
                <a:lnTo>
                  <a:pt x="1962" y="1140"/>
                </a:lnTo>
                <a:lnTo>
                  <a:pt x="1962" y="1146"/>
                </a:lnTo>
                <a:lnTo>
                  <a:pt x="1968" y="1152"/>
                </a:lnTo>
                <a:lnTo>
                  <a:pt x="1968" y="1158"/>
                </a:lnTo>
                <a:lnTo>
                  <a:pt x="1962" y="1158"/>
                </a:lnTo>
                <a:lnTo>
                  <a:pt x="1962" y="1164"/>
                </a:lnTo>
                <a:lnTo>
                  <a:pt x="1956" y="1164"/>
                </a:lnTo>
                <a:lnTo>
                  <a:pt x="1956" y="1170"/>
                </a:lnTo>
                <a:lnTo>
                  <a:pt x="1944" y="1182"/>
                </a:lnTo>
                <a:lnTo>
                  <a:pt x="1944" y="1188"/>
                </a:lnTo>
                <a:lnTo>
                  <a:pt x="1950" y="1188"/>
                </a:lnTo>
                <a:lnTo>
                  <a:pt x="1944" y="1200"/>
                </a:lnTo>
                <a:lnTo>
                  <a:pt x="1944" y="1206"/>
                </a:lnTo>
                <a:lnTo>
                  <a:pt x="1944" y="1212"/>
                </a:lnTo>
                <a:lnTo>
                  <a:pt x="1944" y="1218"/>
                </a:lnTo>
                <a:lnTo>
                  <a:pt x="1944" y="1230"/>
                </a:lnTo>
                <a:lnTo>
                  <a:pt x="1944" y="1236"/>
                </a:lnTo>
                <a:lnTo>
                  <a:pt x="1944" y="1242"/>
                </a:lnTo>
                <a:lnTo>
                  <a:pt x="1938" y="1248"/>
                </a:lnTo>
                <a:lnTo>
                  <a:pt x="1938" y="1254"/>
                </a:lnTo>
                <a:lnTo>
                  <a:pt x="1932" y="1254"/>
                </a:lnTo>
                <a:lnTo>
                  <a:pt x="1926" y="1260"/>
                </a:lnTo>
                <a:lnTo>
                  <a:pt x="1920" y="1266"/>
                </a:lnTo>
                <a:lnTo>
                  <a:pt x="1914" y="1272"/>
                </a:lnTo>
                <a:lnTo>
                  <a:pt x="1908" y="1272"/>
                </a:lnTo>
                <a:lnTo>
                  <a:pt x="1908" y="1278"/>
                </a:lnTo>
                <a:lnTo>
                  <a:pt x="1914" y="1278"/>
                </a:lnTo>
                <a:lnTo>
                  <a:pt x="1914" y="1290"/>
                </a:lnTo>
                <a:lnTo>
                  <a:pt x="1920" y="1296"/>
                </a:lnTo>
                <a:lnTo>
                  <a:pt x="1938" y="1302"/>
                </a:lnTo>
                <a:lnTo>
                  <a:pt x="1944" y="1308"/>
                </a:lnTo>
                <a:lnTo>
                  <a:pt x="1950" y="1314"/>
                </a:lnTo>
                <a:lnTo>
                  <a:pt x="1956" y="1314"/>
                </a:lnTo>
                <a:lnTo>
                  <a:pt x="1962" y="1320"/>
                </a:lnTo>
                <a:lnTo>
                  <a:pt x="1962" y="1326"/>
                </a:lnTo>
                <a:lnTo>
                  <a:pt x="1968" y="1326"/>
                </a:lnTo>
                <a:lnTo>
                  <a:pt x="1968" y="1332"/>
                </a:lnTo>
                <a:lnTo>
                  <a:pt x="1968" y="1344"/>
                </a:lnTo>
                <a:lnTo>
                  <a:pt x="1968" y="1350"/>
                </a:lnTo>
                <a:lnTo>
                  <a:pt x="1968" y="1368"/>
                </a:lnTo>
                <a:lnTo>
                  <a:pt x="1962" y="1380"/>
                </a:lnTo>
                <a:lnTo>
                  <a:pt x="1968" y="1392"/>
                </a:lnTo>
                <a:lnTo>
                  <a:pt x="1962" y="1398"/>
                </a:lnTo>
                <a:lnTo>
                  <a:pt x="1956" y="1404"/>
                </a:lnTo>
                <a:lnTo>
                  <a:pt x="1950" y="1410"/>
                </a:lnTo>
                <a:lnTo>
                  <a:pt x="1944" y="1410"/>
                </a:lnTo>
                <a:lnTo>
                  <a:pt x="1932" y="1416"/>
                </a:lnTo>
                <a:lnTo>
                  <a:pt x="1926" y="1416"/>
                </a:lnTo>
                <a:lnTo>
                  <a:pt x="1896" y="1428"/>
                </a:lnTo>
                <a:lnTo>
                  <a:pt x="1884" y="1434"/>
                </a:lnTo>
                <a:lnTo>
                  <a:pt x="1878" y="1434"/>
                </a:lnTo>
                <a:lnTo>
                  <a:pt x="1866" y="1434"/>
                </a:lnTo>
                <a:lnTo>
                  <a:pt x="1854" y="1440"/>
                </a:lnTo>
                <a:lnTo>
                  <a:pt x="1848" y="1440"/>
                </a:lnTo>
                <a:lnTo>
                  <a:pt x="1842" y="1446"/>
                </a:lnTo>
                <a:lnTo>
                  <a:pt x="1842" y="1458"/>
                </a:lnTo>
                <a:lnTo>
                  <a:pt x="1836" y="1470"/>
                </a:lnTo>
                <a:lnTo>
                  <a:pt x="1830" y="1476"/>
                </a:lnTo>
                <a:lnTo>
                  <a:pt x="1824" y="1476"/>
                </a:lnTo>
                <a:lnTo>
                  <a:pt x="1806" y="1482"/>
                </a:lnTo>
                <a:lnTo>
                  <a:pt x="1800" y="1488"/>
                </a:lnTo>
                <a:lnTo>
                  <a:pt x="1794" y="1488"/>
                </a:lnTo>
                <a:lnTo>
                  <a:pt x="1788" y="1488"/>
                </a:lnTo>
                <a:lnTo>
                  <a:pt x="1776" y="1494"/>
                </a:lnTo>
                <a:lnTo>
                  <a:pt x="1764" y="1494"/>
                </a:lnTo>
                <a:lnTo>
                  <a:pt x="1758" y="1500"/>
                </a:lnTo>
                <a:lnTo>
                  <a:pt x="1746" y="1506"/>
                </a:lnTo>
                <a:lnTo>
                  <a:pt x="1728" y="1518"/>
                </a:lnTo>
                <a:lnTo>
                  <a:pt x="1716" y="1524"/>
                </a:lnTo>
                <a:lnTo>
                  <a:pt x="1710" y="1530"/>
                </a:lnTo>
                <a:lnTo>
                  <a:pt x="1704" y="1536"/>
                </a:lnTo>
                <a:lnTo>
                  <a:pt x="1698" y="1542"/>
                </a:lnTo>
                <a:lnTo>
                  <a:pt x="1692" y="1554"/>
                </a:lnTo>
                <a:lnTo>
                  <a:pt x="1686" y="1560"/>
                </a:lnTo>
                <a:lnTo>
                  <a:pt x="1680" y="1560"/>
                </a:lnTo>
                <a:lnTo>
                  <a:pt x="1674" y="1560"/>
                </a:lnTo>
                <a:lnTo>
                  <a:pt x="1656" y="1572"/>
                </a:lnTo>
                <a:lnTo>
                  <a:pt x="1650" y="1572"/>
                </a:lnTo>
                <a:lnTo>
                  <a:pt x="1644" y="1572"/>
                </a:lnTo>
                <a:lnTo>
                  <a:pt x="1638" y="1578"/>
                </a:lnTo>
                <a:lnTo>
                  <a:pt x="1632" y="1578"/>
                </a:lnTo>
                <a:lnTo>
                  <a:pt x="1626" y="1578"/>
                </a:lnTo>
                <a:lnTo>
                  <a:pt x="1620" y="1572"/>
                </a:lnTo>
                <a:lnTo>
                  <a:pt x="1614" y="1572"/>
                </a:lnTo>
                <a:lnTo>
                  <a:pt x="1608" y="1566"/>
                </a:lnTo>
                <a:lnTo>
                  <a:pt x="1602" y="1560"/>
                </a:lnTo>
                <a:lnTo>
                  <a:pt x="1596" y="1554"/>
                </a:lnTo>
                <a:lnTo>
                  <a:pt x="1590" y="1548"/>
                </a:lnTo>
                <a:lnTo>
                  <a:pt x="1578" y="1548"/>
                </a:lnTo>
                <a:lnTo>
                  <a:pt x="1572" y="1548"/>
                </a:lnTo>
                <a:lnTo>
                  <a:pt x="1566" y="1548"/>
                </a:lnTo>
                <a:lnTo>
                  <a:pt x="1554" y="1536"/>
                </a:lnTo>
                <a:lnTo>
                  <a:pt x="1548" y="1536"/>
                </a:lnTo>
                <a:lnTo>
                  <a:pt x="1542" y="1542"/>
                </a:lnTo>
                <a:lnTo>
                  <a:pt x="1536" y="1548"/>
                </a:lnTo>
                <a:lnTo>
                  <a:pt x="1536" y="1566"/>
                </a:lnTo>
                <a:lnTo>
                  <a:pt x="1530" y="1572"/>
                </a:lnTo>
                <a:lnTo>
                  <a:pt x="1524" y="1578"/>
                </a:lnTo>
                <a:lnTo>
                  <a:pt x="1518" y="1584"/>
                </a:lnTo>
                <a:lnTo>
                  <a:pt x="1512" y="1596"/>
                </a:lnTo>
                <a:lnTo>
                  <a:pt x="1506" y="1602"/>
                </a:lnTo>
                <a:lnTo>
                  <a:pt x="1506" y="1608"/>
                </a:lnTo>
                <a:lnTo>
                  <a:pt x="1506" y="1614"/>
                </a:lnTo>
                <a:lnTo>
                  <a:pt x="1500" y="1614"/>
                </a:lnTo>
                <a:lnTo>
                  <a:pt x="1500" y="1620"/>
                </a:lnTo>
                <a:lnTo>
                  <a:pt x="1500" y="1626"/>
                </a:lnTo>
                <a:lnTo>
                  <a:pt x="1494" y="1632"/>
                </a:lnTo>
                <a:lnTo>
                  <a:pt x="1488" y="1638"/>
                </a:lnTo>
                <a:lnTo>
                  <a:pt x="1482" y="1638"/>
                </a:lnTo>
                <a:lnTo>
                  <a:pt x="1482" y="1644"/>
                </a:lnTo>
                <a:lnTo>
                  <a:pt x="1482" y="1650"/>
                </a:lnTo>
                <a:lnTo>
                  <a:pt x="1482" y="1656"/>
                </a:lnTo>
                <a:lnTo>
                  <a:pt x="1476" y="1662"/>
                </a:lnTo>
                <a:lnTo>
                  <a:pt x="1470" y="1668"/>
                </a:lnTo>
                <a:lnTo>
                  <a:pt x="1464" y="1674"/>
                </a:lnTo>
                <a:lnTo>
                  <a:pt x="1464" y="1680"/>
                </a:lnTo>
                <a:lnTo>
                  <a:pt x="1458" y="1680"/>
                </a:lnTo>
                <a:lnTo>
                  <a:pt x="1452" y="1686"/>
                </a:lnTo>
                <a:lnTo>
                  <a:pt x="1446" y="1686"/>
                </a:lnTo>
                <a:lnTo>
                  <a:pt x="1440" y="1698"/>
                </a:lnTo>
                <a:lnTo>
                  <a:pt x="1440" y="1704"/>
                </a:lnTo>
                <a:lnTo>
                  <a:pt x="1434" y="1710"/>
                </a:lnTo>
                <a:lnTo>
                  <a:pt x="1434" y="1716"/>
                </a:lnTo>
                <a:lnTo>
                  <a:pt x="1428" y="1716"/>
                </a:lnTo>
                <a:lnTo>
                  <a:pt x="1428" y="1722"/>
                </a:lnTo>
                <a:lnTo>
                  <a:pt x="1428" y="1728"/>
                </a:lnTo>
                <a:lnTo>
                  <a:pt x="1422" y="1728"/>
                </a:lnTo>
                <a:lnTo>
                  <a:pt x="1422" y="1734"/>
                </a:lnTo>
                <a:lnTo>
                  <a:pt x="1416" y="1734"/>
                </a:lnTo>
                <a:lnTo>
                  <a:pt x="1410" y="1734"/>
                </a:lnTo>
                <a:lnTo>
                  <a:pt x="1392" y="1746"/>
                </a:lnTo>
                <a:lnTo>
                  <a:pt x="1386" y="1746"/>
                </a:lnTo>
                <a:lnTo>
                  <a:pt x="1368" y="1752"/>
                </a:lnTo>
                <a:lnTo>
                  <a:pt x="1362" y="1758"/>
                </a:lnTo>
                <a:lnTo>
                  <a:pt x="1362" y="1770"/>
                </a:lnTo>
                <a:lnTo>
                  <a:pt x="1356" y="1782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 w="9525" cap="flat" cmpd="sng">
            <a:solidFill>
              <a:srgbClr val="33872D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240" name="TextBox 239"/>
          <p:cNvSpPr txBox="1"/>
          <p:nvPr/>
        </p:nvSpPr>
        <p:spPr>
          <a:xfrm rot="5400000">
            <a:off x="9213021" y="2853001"/>
            <a:ext cx="51227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Top 5</a:t>
            </a:r>
          </a:p>
        </p:txBody>
      </p:sp>
      <p:sp>
        <p:nvSpPr>
          <p:cNvPr id="171" name="TextBox 170"/>
          <p:cNvSpPr txBox="1"/>
          <p:nvPr/>
        </p:nvSpPr>
        <p:spPr>
          <a:xfrm rot="16200000">
            <a:off x="151992" y="2960854"/>
            <a:ext cx="489543" cy="2462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Top 5</a:t>
            </a:r>
          </a:p>
        </p:txBody>
      </p:sp>
      <p:sp>
        <p:nvSpPr>
          <p:cNvPr id="172" name="TextBox 171"/>
          <p:cNvSpPr txBox="1"/>
          <p:nvPr/>
        </p:nvSpPr>
        <p:spPr>
          <a:xfrm rot="5400000">
            <a:off x="9123554" y="5438813"/>
            <a:ext cx="68553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Smallest</a:t>
            </a:r>
          </a:p>
        </p:txBody>
      </p:sp>
      <p:sp>
        <p:nvSpPr>
          <p:cNvPr id="173" name="TextBox 172"/>
          <p:cNvSpPr txBox="1"/>
          <p:nvPr/>
        </p:nvSpPr>
        <p:spPr>
          <a:xfrm rot="16200000">
            <a:off x="41139" y="5409700"/>
            <a:ext cx="68553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Smallest</a:t>
            </a:r>
          </a:p>
        </p:txBody>
      </p:sp>
      <p:cxnSp>
        <p:nvCxnSpPr>
          <p:cNvPr id="20" name="Straight Arrow Connector 19"/>
          <p:cNvCxnSpPr>
            <a:stCxn id="171" idx="1"/>
          </p:cNvCxnSpPr>
          <p:nvPr/>
        </p:nvCxnSpPr>
        <p:spPr>
          <a:xfrm flipH="1">
            <a:off x="396761" y="3328729"/>
            <a:ext cx="2" cy="135224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>
            <a:stCxn id="171" idx="3"/>
          </p:cNvCxnSpPr>
          <p:nvPr/>
        </p:nvCxnSpPr>
        <p:spPr>
          <a:xfrm flipH="1" flipV="1">
            <a:off x="396761" y="1505958"/>
            <a:ext cx="2" cy="133322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Arrow Connector 123"/>
          <p:cNvCxnSpPr/>
          <p:nvPr/>
        </p:nvCxnSpPr>
        <p:spPr>
          <a:xfrm flipH="1" flipV="1">
            <a:off x="9450396" y="1391164"/>
            <a:ext cx="2" cy="133322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Arrow Connector 124"/>
          <p:cNvCxnSpPr/>
          <p:nvPr/>
        </p:nvCxnSpPr>
        <p:spPr>
          <a:xfrm>
            <a:off x="9450397" y="3204579"/>
            <a:ext cx="0" cy="144733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TextBox 168"/>
          <p:cNvSpPr txBox="1"/>
          <p:nvPr/>
        </p:nvSpPr>
        <p:spPr>
          <a:xfrm>
            <a:off x="761329" y="994556"/>
            <a:ext cx="1176219" cy="2767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Population (m) </a:t>
            </a:r>
          </a:p>
        </p:txBody>
      </p:sp>
      <p:cxnSp>
        <p:nvCxnSpPr>
          <p:cNvPr id="174" name="Straight Arrow Connector 173"/>
          <p:cNvCxnSpPr/>
          <p:nvPr/>
        </p:nvCxnSpPr>
        <p:spPr>
          <a:xfrm flipH="1">
            <a:off x="396761" y="3328729"/>
            <a:ext cx="2" cy="135224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Arrow Connector 174"/>
          <p:cNvCxnSpPr/>
          <p:nvPr/>
        </p:nvCxnSpPr>
        <p:spPr>
          <a:xfrm flipH="1" flipV="1">
            <a:off x="396761" y="1505958"/>
            <a:ext cx="2" cy="133322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7" name="TextBox 176"/>
          <p:cNvSpPr txBox="1"/>
          <p:nvPr/>
        </p:nvSpPr>
        <p:spPr>
          <a:xfrm>
            <a:off x="694821" y="5890936"/>
            <a:ext cx="1090042" cy="2767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Total: 192.4m </a:t>
            </a:r>
          </a:p>
        </p:txBody>
      </p:sp>
      <p:sp>
        <p:nvSpPr>
          <p:cNvPr id="180" name="TextBox 179"/>
          <p:cNvSpPr txBox="1"/>
          <p:nvPr/>
        </p:nvSpPr>
        <p:spPr>
          <a:xfrm>
            <a:off x="539509" y="5188210"/>
            <a:ext cx="805029" cy="2152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Botswana   2.3</a:t>
            </a:r>
          </a:p>
        </p:txBody>
      </p:sp>
      <p:pic>
        <p:nvPicPr>
          <p:cNvPr id="181" name="Picture 2" descr="Flag of Botswana">
            <a:extLst>
              <a:ext uri="{FF2B5EF4-FFF2-40B4-BE49-F238E27FC236}">
                <a16:creationId xmlns:a16="http://schemas.microsoft.com/office/drawing/2014/main" id="{FAAC211C-C1C4-4653-86D4-59EC2199EE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042" y="5362707"/>
            <a:ext cx="674773" cy="424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2" name="TextBox 181"/>
          <p:cNvSpPr txBox="1"/>
          <p:nvPr/>
        </p:nvSpPr>
        <p:spPr>
          <a:xfrm>
            <a:off x="582283" y="1678820"/>
            <a:ext cx="846707" cy="2152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Rwanda   12 .2  </a:t>
            </a:r>
          </a:p>
        </p:txBody>
      </p:sp>
      <p:sp>
        <p:nvSpPr>
          <p:cNvPr id="183" name="TextBox 182"/>
          <p:cNvSpPr txBox="1"/>
          <p:nvPr/>
        </p:nvSpPr>
        <p:spPr>
          <a:xfrm>
            <a:off x="617100" y="2659212"/>
            <a:ext cx="638316" cy="2152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Israel   8.7</a:t>
            </a:r>
          </a:p>
        </p:txBody>
      </p:sp>
      <p:sp>
        <p:nvSpPr>
          <p:cNvPr id="185" name="TextBox 184"/>
          <p:cNvSpPr txBox="1"/>
          <p:nvPr/>
        </p:nvSpPr>
        <p:spPr>
          <a:xfrm>
            <a:off x="457526" y="3782435"/>
            <a:ext cx="909223" cy="2152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Sierra Leone   7.5</a:t>
            </a:r>
          </a:p>
        </p:txBody>
      </p:sp>
      <p:pic>
        <p:nvPicPr>
          <p:cNvPr id="186" name="Picture 12" descr="Image result for flags rwanda">
            <a:extLst>
              <a:ext uri="{FF2B5EF4-FFF2-40B4-BE49-F238E27FC236}">
                <a16:creationId xmlns:a16="http://schemas.microsoft.com/office/drawing/2014/main" id="{0F5B30E1-CC85-4169-8EF2-7F4D69B4FA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23" y="1838326"/>
            <a:ext cx="677775" cy="3922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8" name="Picture 18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971" y="3951940"/>
            <a:ext cx="674773" cy="402382"/>
          </a:xfrm>
          <a:prstGeom prst="rect">
            <a:avLst/>
          </a:prstGeom>
        </p:spPr>
      </p:pic>
      <p:pic>
        <p:nvPicPr>
          <p:cNvPr id="189" name="Picture 18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027" y="2840165"/>
            <a:ext cx="642716" cy="425030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202" name="TextBox 201"/>
          <p:cNvSpPr txBox="1"/>
          <p:nvPr/>
        </p:nvSpPr>
        <p:spPr>
          <a:xfrm>
            <a:off x="7917514" y="1023169"/>
            <a:ext cx="1137171" cy="2767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Land size (km</a:t>
            </a:r>
            <a:r>
              <a:rPr kumimoji="0" lang="en-US" sz="105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2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)</a:t>
            </a:r>
          </a:p>
        </p:txBody>
      </p:sp>
      <p:sp>
        <p:nvSpPr>
          <p:cNvPr id="203" name="TextBox 202"/>
          <p:cNvSpPr txBox="1"/>
          <p:nvPr/>
        </p:nvSpPr>
        <p:spPr>
          <a:xfrm>
            <a:off x="7909846" y="5890936"/>
            <a:ext cx="1399422" cy="2767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Total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: 910,710 km</a:t>
            </a:r>
            <a:r>
              <a:rPr kumimoji="0" lang="en-US" sz="1050" b="1" i="0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2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 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210" name="TextBox 209"/>
          <p:cNvSpPr txBox="1"/>
          <p:nvPr/>
        </p:nvSpPr>
        <p:spPr>
          <a:xfrm>
            <a:off x="8305456" y="1299903"/>
            <a:ext cx="1046019" cy="215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Panama  74, 340  </a:t>
            </a:r>
          </a:p>
        </p:txBody>
      </p:sp>
      <p:pic>
        <p:nvPicPr>
          <p:cNvPr id="211" name="Picture 2" descr="Flag of Luxembourg">
            <a:extLst>
              <a:ext uri="{FF2B5EF4-FFF2-40B4-BE49-F238E27FC236}">
                <a16:creationId xmlns:a16="http://schemas.microsoft.com/office/drawing/2014/main" id="{633AC61B-3CB3-4E35-A3FE-A276115AD9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3845" y="5385411"/>
            <a:ext cx="676656" cy="409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2" name="TextBox 211"/>
          <p:cNvSpPr txBox="1"/>
          <p:nvPr/>
        </p:nvSpPr>
        <p:spPr>
          <a:xfrm>
            <a:off x="8355753" y="5212348"/>
            <a:ext cx="1005403" cy="2152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Luxembourg   2,590</a:t>
            </a:r>
          </a:p>
        </p:txBody>
      </p:sp>
      <p:sp>
        <p:nvSpPr>
          <p:cNvPr id="213" name="TextBox 212"/>
          <p:cNvSpPr txBox="1"/>
          <p:nvPr/>
        </p:nvSpPr>
        <p:spPr>
          <a:xfrm>
            <a:off x="8435297" y="2659424"/>
            <a:ext cx="845103" cy="2152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Croatia   55,960</a:t>
            </a:r>
          </a:p>
        </p:txBody>
      </p:sp>
      <p:pic>
        <p:nvPicPr>
          <p:cNvPr id="214" name="Picture 2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513845" y="2823243"/>
            <a:ext cx="697062" cy="401964"/>
          </a:xfrm>
          <a:prstGeom prst="rect">
            <a:avLst/>
          </a:prstGeom>
        </p:spPr>
      </p:pic>
      <p:sp>
        <p:nvSpPr>
          <p:cNvPr id="215" name="TextBox 214"/>
          <p:cNvSpPr txBox="1"/>
          <p:nvPr/>
        </p:nvSpPr>
        <p:spPr>
          <a:xfrm>
            <a:off x="8406332" y="3274894"/>
            <a:ext cx="880369" cy="4612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Dominican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Republic  48,310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  </a:t>
            </a:r>
          </a:p>
        </p:txBody>
      </p:sp>
      <p:pic>
        <p:nvPicPr>
          <p:cNvPr id="216" name="Picture 21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3861" y="3567017"/>
            <a:ext cx="685633" cy="401964"/>
          </a:xfrm>
          <a:prstGeom prst="rect">
            <a:avLst/>
          </a:prstGeom>
        </p:spPr>
      </p:pic>
      <p:sp>
        <p:nvSpPr>
          <p:cNvPr id="217" name="TextBox 216"/>
          <p:cNvSpPr txBox="1"/>
          <p:nvPr/>
        </p:nvSpPr>
        <p:spPr>
          <a:xfrm>
            <a:off x="8438347" y="1985812"/>
            <a:ext cx="829073" cy="2152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Ireland   68,890</a:t>
            </a:r>
          </a:p>
        </p:txBody>
      </p:sp>
      <p:pic>
        <p:nvPicPr>
          <p:cNvPr id="218" name="Picture 21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3861" y="2155136"/>
            <a:ext cx="710127" cy="401964"/>
          </a:xfrm>
          <a:prstGeom prst="rect">
            <a:avLst/>
          </a:prstGeom>
        </p:spPr>
      </p:pic>
      <p:pic>
        <p:nvPicPr>
          <p:cNvPr id="219" name="Picture 21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3844" y="4262362"/>
            <a:ext cx="676656" cy="380881"/>
          </a:xfrm>
          <a:prstGeom prst="rect">
            <a:avLst/>
          </a:prstGeom>
        </p:spPr>
      </p:pic>
      <p:pic>
        <p:nvPicPr>
          <p:cNvPr id="220" name="Picture 21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0985" y="1477490"/>
            <a:ext cx="714544" cy="401964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grpSp>
        <p:nvGrpSpPr>
          <p:cNvPr id="206" name="Group 205"/>
          <p:cNvGrpSpPr/>
          <p:nvPr/>
        </p:nvGrpSpPr>
        <p:grpSpPr>
          <a:xfrm rot="5400000">
            <a:off x="8275575" y="4979698"/>
            <a:ext cx="278017" cy="47430"/>
            <a:chOff x="1781643" y="4995138"/>
            <a:chExt cx="278274" cy="47430"/>
          </a:xfrm>
        </p:grpSpPr>
        <p:sp>
          <p:nvSpPr>
            <p:cNvPr id="207" name="Oval 206"/>
            <p:cNvSpPr/>
            <p:nvPr/>
          </p:nvSpPr>
          <p:spPr>
            <a:xfrm>
              <a:off x="1781643" y="4996849"/>
              <a:ext cx="45719" cy="45719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208" name="Oval 207"/>
            <p:cNvSpPr/>
            <p:nvPr/>
          </p:nvSpPr>
          <p:spPr>
            <a:xfrm>
              <a:off x="1892947" y="4995139"/>
              <a:ext cx="45719" cy="45719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209" name="Oval 208"/>
            <p:cNvSpPr/>
            <p:nvPr/>
          </p:nvSpPr>
          <p:spPr>
            <a:xfrm>
              <a:off x="2014198" y="4995138"/>
              <a:ext cx="45719" cy="45719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</p:grpSp>
      <p:grpSp>
        <p:nvGrpSpPr>
          <p:cNvPr id="176" name="Group 175"/>
          <p:cNvGrpSpPr/>
          <p:nvPr/>
        </p:nvGrpSpPr>
        <p:grpSpPr>
          <a:xfrm rot="16200000">
            <a:off x="1231506" y="4993667"/>
            <a:ext cx="278017" cy="47430"/>
            <a:chOff x="1781643" y="4995138"/>
            <a:chExt cx="278274" cy="47430"/>
          </a:xfrm>
        </p:grpSpPr>
        <p:sp>
          <p:nvSpPr>
            <p:cNvPr id="198" name="Oval 197"/>
            <p:cNvSpPr/>
            <p:nvPr/>
          </p:nvSpPr>
          <p:spPr>
            <a:xfrm>
              <a:off x="1781643" y="4996849"/>
              <a:ext cx="45719" cy="45719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199" name="Oval 198"/>
            <p:cNvSpPr/>
            <p:nvPr/>
          </p:nvSpPr>
          <p:spPr>
            <a:xfrm>
              <a:off x="1892947" y="4995139"/>
              <a:ext cx="45719" cy="45719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200" name="Oval 199"/>
            <p:cNvSpPr/>
            <p:nvPr/>
          </p:nvSpPr>
          <p:spPr>
            <a:xfrm>
              <a:off x="2014198" y="4995138"/>
              <a:ext cx="45719" cy="45719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</p:grpSp>
      <p:sp>
        <p:nvSpPr>
          <p:cNvPr id="122" name="TextBox 121"/>
          <p:cNvSpPr txBox="1"/>
          <p:nvPr/>
        </p:nvSpPr>
        <p:spPr>
          <a:xfrm flipH="1">
            <a:off x="1452361" y="5364588"/>
            <a:ext cx="640197" cy="39974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Bayelsa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2.3</a:t>
            </a:r>
          </a:p>
        </p:txBody>
      </p:sp>
      <p:sp>
        <p:nvSpPr>
          <p:cNvPr id="123" name="TextBox 122"/>
          <p:cNvSpPr txBox="1"/>
          <p:nvPr/>
        </p:nvSpPr>
        <p:spPr>
          <a:xfrm flipH="1">
            <a:off x="1456122" y="1465538"/>
            <a:ext cx="636447" cy="39974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Kano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13.0</a:t>
            </a:r>
          </a:p>
        </p:txBody>
      </p:sp>
      <p:sp>
        <p:nvSpPr>
          <p:cNvPr id="126" name="TextBox 125"/>
          <p:cNvSpPr txBox="1"/>
          <p:nvPr/>
        </p:nvSpPr>
        <p:spPr>
          <a:xfrm flipH="1">
            <a:off x="1459440" y="4280133"/>
            <a:ext cx="622842" cy="39974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Oyo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7.7</a:t>
            </a:r>
          </a:p>
        </p:txBody>
      </p:sp>
      <p:sp>
        <p:nvSpPr>
          <p:cNvPr id="127" name="TextBox 126"/>
          <p:cNvSpPr txBox="1"/>
          <p:nvPr/>
        </p:nvSpPr>
        <p:spPr>
          <a:xfrm flipH="1">
            <a:off x="1456110" y="3591202"/>
            <a:ext cx="626172" cy="399740"/>
          </a:xfrm>
          <a:prstGeom prst="rect">
            <a:avLst/>
          </a:prstGeom>
          <a:solidFill>
            <a:srgbClr val="CFCFCF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Katsina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7.7</a:t>
            </a:r>
          </a:p>
        </p:txBody>
      </p:sp>
      <p:sp>
        <p:nvSpPr>
          <p:cNvPr id="128" name="TextBox 127"/>
          <p:cNvSpPr txBox="1"/>
          <p:nvPr/>
        </p:nvSpPr>
        <p:spPr>
          <a:xfrm flipH="1">
            <a:off x="1445836" y="2839213"/>
            <a:ext cx="636446" cy="399740"/>
          </a:xfrm>
          <a:prstGeom prst="rect">
            <a:avLst/>
          </a:prstGeom>
          <a:solidFill>
            <a:srgbClr val="BABABA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Kaduna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8.2</a:t>
            </a:r>
          </a:p>
        </p:txBody>
      </p:sp>
      <p:sp>
        <p:nvSpPr>
          <p:cNvPr id="130" name="TextBox 129"/>
          <p:cNvSpPr txBox="1"/>
          <p:nvPr/>
        </p:nvSpPr>
        <p:spPr>
          <a:xfrm flipH="1">
            <a:off x="1456110" y="2125854"/>
            <a:ext cx="636960" cy="399740"/>
          </a:xfrm>
          <a:prstGeom prst="rect">
            <a:avLst/>
          </a:prstGeom>
          <a:solidFill>
            <a:srgbClr val="A1A1A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Lagos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12.4</a:t>
            </a:r>
          </a:p>
        </p:txBody>
      </p:sp>
      <p:sp>
        <p:nvSpPr>
          <p:cNvPr id="131" name="TextBox 130"/>
          <p:cNvSpPr txBox="1"/>
          <p:nvPr/>
        </p:nvSpPr>
        <p:spPr>
          <a:xfrm flipH="1">
            <a:off x="7668417" y="5362044"/>
            <a:ext cx="626172" cy="399740"/>
          </a:xfrm>
          <a:prstGeom prst="rect">
            <a:avLst/>
          </a:prstGeom>
          <a:noFill/>
          <a:ln>
            <a:solidFill>
              <a:srgbClr val="33872D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Lagos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3,671</a:t>
            </a:r>
          </a:p>
        </p:txBody>
      </p:sp>
      <p:sp>
        <p:nvSpPr>
          <p:cNvPr id="133" name="TextBox 132"/>
          <p:cNvSpPr txBox="1"/>
          <p:nvPr/>
        </p:nvSpPr>
        <p:spPr>
          <a:xfrm>
            <a:off x="7668431" y="1466057"/>
            <a:ext cx="632315" cy="39974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Borno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72,609</a:t>
            </a:r>
          </a:p>
        </p:txBody>
      </p:sp>
      <p:sp>
        <p:nvSpPr>
          <p:cNvPr id="135" name="TextBox 134"/>
          <p:cNvSpPr txBox="1"/>
          <p:nvPr/>
        </p:nvSpPr>
        <p:spPr>
          <a:xfrm>
            <a:off x="7669844" y="2138969"/>
            <a:ext cx="635609" cy="39974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Niger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68,925</a:t>
            </a:r>
          </a:p>
        </p:txBody>
      </p:sp>
      <p:sp>
        <p:nvSpPr>
          <p:cNvPr id="136" name="TextBox 135"/>
          <p:cNvSpPr txBox="1"/>
          <p:nvPr/>
        </p:nvSpPr>
        <p:spPr>
          <a:xfrm>
            <a:off x="7679278" y="3539724"/>
            <a:ext cx="626172" cy="39974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Bauchi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49,119</a:t>
            </a:r>
          </a:p>
        </p:txBody>
      </p:sp>
      <p:sp>
        <p:nvSpPr>
          <p:cNvPr id="137" name="TextBox 136"/>
          <p:cNvSpPr txBox="1"/>
          <p:nvPr/>
        </p:nvSpPr>
        <p:spPr>
          <a:xfrm>
            <a:off x="7668417" y="2814346"/>
            <a:ext cx="627598" cy="39974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Taraba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56,282</a:t>
            </a:r>
          </a:p>
        </p:txBody>
      </p:sp>
      <p:sp>
        <p:nvSpPr>
          <p:cNvPr id="138" name="TextBox 137"/>
          <p:cNvSpPr txBox="1"/>
          <p:nvPr/>
        </p:nvSpPr>
        <p:spPr>
          <a:xfrm>
            <a:off x="7658922" y="4259214"/>
            <a:ext cx="629471" cy="39974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Yobe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46,609</a:t>
            </a:r>
          </a:p>
        </p:txBody>
      </p:sp>
      <p:sp>
        <p:nvSpPr>
          <p:cNvPr id="241" name="Freeform 240"/>
          <p:cNvSpPr/>
          <p:nvPr/>
        </p:nvSpPr>
        <p:spPr>
          <a:xfrm>
            <a:off x="3684319" y="2988443"/>
            <a:ext cx="46723" cy="55003"/>
          </a:xfrm>
          <a:custGeom>
            <a:avLst/>
            <a:gdLst>
              <a:gd name="connsiteX0" fmla="*/ 41295 w 46723"/>
              <a:gd name="connsiteY0" fmla="*/ 54982 h 55054"/>
              <a:gd name="connsiteX1" fmla="*/ 198 w 46723"/>
              <a:gd name="connsiteY1" fmla="*/ 3611 h 55054"/>
              <a:gd name="connsiteX2" fmla="*/ 31020 w 46723"/>
              <a:gd name="connsiteY2" fmla="*/ 13886 h 55054"/>
              <a:gd name="connsiteX3" fmla="*/ 41295 w 46723"/>
              <a:gd name="connsiteY3" fmla="*/ 54982 h 55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723" h="55054">
                <a:moveTo>
                  <a:pt x="41295" y="54982"/>
                </a:moveTo>
                <a:cubicBezTo>
                  <a:pt x="36158" y="53269"/>
                  <a:pt x="5517" y="24885"/>
                  <a:pt x="198" y="3611"/>
                </a:cubicBezTo>
                <a:cubicBezTo>
                  <a:pt x="-2429" y="-6895"/>
                  <a:pt x="21734" y="8314"/>
                  <a:pt x="31020" y="13886"/>
                </a:cubicBezTo>
                <a:cubicBezTo>
                  <a:pt x="53991" y="27669"/>
                  <a:pt x="46432" y="56695"/>
                  <a:pt x="41295" y="54982"/>
                </a:cubicBezTo>
                <a:close/>
              </a:path>
            </a:pathLst>
          </a:cu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0" name="Rectangular Callout 109">
            <a:extLst>
              <a:ext uri="{FF2B5EF4-FFF2-40B4-BE49-F238E27FC236}">
                <a16:creationId xmlns:a16="http://schemas.microsoft.com/office/drawing/2014/main" id="{A8FB7C0B-4F9E-4735-91AD-388123B1EE64}"/>
              </a:ext>
            </a:extLst>
          </p:cNvPr>
          <p:cNvSpPr/>
          <p:nvPr/>
        </p:nvSpPr>
        <p:spPr>
          <a:xfrm>
            <a:off x="2496957" y="1568264"/>
            <a:ext cx="1320099" cy="368990"/>
          </a:xfrm>
          <a:prstGeom prst="wedgeRectCallout">
            <a:avLst>
              <a:gd name="adj1" fmla="val 57066"/>
              <a:gd name="adj2" fmla="val 301868"/>
            </a:avLst>
          </a:prstGeom>
          <a:noFill/>
          <a:ln w="127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Most populated region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North-West 48.7m</a:t>
            </a:r>
            <a:endParaRPr kumimoji="0" lang="en-GB" sz="900" b="1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sp>
        <p:nvSpPr>
          <p:cNvPr id="121" name="Rectangular Callout 121">
            <a:extLst>
              <a:ext uri="{FF2B5EF4-FFF2-40B4-BE49-F238E27FC236}">
                <a16:creationId xmlns:a16="http://schemas.microsoft.com/office/drawing/2014/main" id="{BBD573D7-C127-4DD9-8333-6CDE36190171}"/>
              </a:ext>
            </a:extLst>
          </p:cNvPr>
          <p:cNvSpPr/>
          <p:nvPr/>
        </p:nvSpPr>
        <p:spPr>
          <a:xfrm>
            <a:off x="5815494" y="1571111"/>
            <a:ext cx="1341426" cy="400915"/>
          </a:xfrm>
          <a:prstGeom prst="wedgeRectCallout">
            <a:avLst>
              <a:gd name="adj1" fmla="val -51052"/>
              <a:gd name="adj2" fmla="val 300141"/>
            </a:avLst>
          </a:prstGeom>
          <a:noFill/>
          <a:ln w="12700">
            <a:solidFill>
              <a:srgbClr val="33872D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Largest region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North-East: 280,419 km</a:t>
            </a:r>
            <a:r>
              <a:rPr kumimoji="0" lang="en-GB" sz="9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2</a:t>
            </a:r>
          </a:p>
        </p:txBody>
      </p:sp>
      <p:sp>
        <p:nvSpPr>
          <p:cNvPr id="143" name="Rectangular Callout 137">
            <a:extLst>
              <a:ext uri="{FF2B5EF4-FFF2-40B4-BE49-F238E27FC236}">
                <a16:creationId xmlns:a16="http://schemas.microsoft.com/office/drawing/2014/main" id="{2014A76A-19B6-4270-B2B6-7772D21E667B}"/>
              </a:ext>
            </a:extLst>
          </p:cNvPr>
          <p:cNvSpPr/>
          <p:nvPr/>
        </p:nvSpPr>
        <p:spPr>
          <a:xfrm>
            <a:off x="5701854" y="5180695"/>
            <a:ext cx="1456821" cy="427922"/>
          </a:xfrm>
          <a:prstGeom prst="wedgeRectCallout">
            <a:avLst>
              <a:gd name="adj1" fmla="val -109878"/>
              <a:gd name="adj2" fmla="val -137388"/>
            </a:avLst>
          </a:prstGeom>
          <a:noFill/>
          <a:ln w="12700">
            <a:solidFill>
              <a:srgbClr val="33872D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Smallest region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South-East:  28,987 km</a:t>
            </a:r>
            <a:r>
              <a:rPr kumimoji="0" lang="en-GB" sz="9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2</a:t>
            </a:r>
          </a:p>
        </p:txBody>
      </p:sp>
      <p:sp>
        <p:nvSpPr>
          <p:cNvPr id="144" name="Rectangular Callout 140">
            <a:extLst>
              <a:ext uri="{FF2B5EF4-FFF2-40B4-BE49-F238E27FC236}">
                <a16:creationId xmlns:a16="http://schemas.microsoft.com/office/drawing/2014/main" id="{94EFE380-21A9-4B1E-A54A-D538E2E6AEB3}"/>
              </a:ext>
            </a:extLst>
          </p:cNvPr>
          <p:cNvSpPr/>
          <p:nvPr/>
        </p:nvSpPr>
        <p:spPr>
          <a:xfrm>
            <a:off x="2459353" y="5178422"/>
            <a:ext cx="1253323" cy="404418"/>
          </a:xfrm>
          <a:prstGeom prst="wedgeRectCallout">
            <a:avLst>
              <a:gd name="adj1" fmla="val 121059"/>
              <a:gd name="adj2" fmla="val -150857"/>
            </a:avLst>
          </a:prstGeom>
          <a:noFill/>
          <a:ln w="127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Least populated region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South-East: 20.6m</a:t>
            </a:r>
            <a:endParaRPr kumimoji="0" lang="en-GB" sz="900" b="1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sp>
        <p:nvSpPr>
          <p:cNvPr id="52" name="Freeform 8">
            <a:extLst>
              <a:ext uri="{FF2B5EF4-FFF2-40B4-BE49-F238E27FC236}">
                <a16:creationId xmlns:a16="http://schemas.microsoft.com/office/drawing/2014/main" id="{B3B082F3-F54A-4DF7-8B99-36CE7E976046}"/>
              </a:ext>
            </a:extLst>
          </p:cNvPr>
          <p:cNvSpPr>
            <a:spLocks noEditPoints="1"/>
          </p:cNvSpPr>
          <p:nvPr/>
        </p:nvSpPr>
        <p:spPr bwMode="gray">
          <a:xfrm>
            <a:off x="4631087" y="5133537"/>
            <a:ext cx="318797" cy="382563"/>
          </a:xfrm>
          <a:custGeom>
            <a:avLst/>
            <a:gdLst>
              <a:gd name="T0" fmla="*/ 3 w 552"/>
              <a:gd name="T1" fmla="*/ 46 h 660"/>
              <a:gd name="T2" fmla="*/ 4 w 552"/>
              <a:gd name="T3" fmla="*/ 42 h 660"/>
              <a:gd name="T4" fmla="*/ 2 w 552"/>
              <a:gd name="T5" fmla="*/ 38 h 660"/>
              <a:gd name="T6" fmla="*/ 0 w 552"/>
              <a:gd name="T7" fmla="*/ 34 h 660"/>
              <a:gd name="T8" fmla="*/ 2 w 552"/>
              <a:gd name="T9" fmla="*/ 30 h 660"/>
              <a:gd name="T10" fmla="*/ 3 w 552"/>
              <a:gd name="T11" fmla="*/ 27 h 660"/>
              <a:gd name="T12" fmla="*/ 5 w 552"/>
              <a:gd name="T13" fmla="*/ 23 h 660"/>
              <a:gd name="T14" fmla="*/ 5 w 552"/>
              <a:gd name="T15" fmla="*/ 15 h 660"/>
              <a:gd name="T16" fmla="*/ 6 w 552"/>
              <a:gd name="T17" fmla="*/ 11 h 660"/>
              <a:gd name="T18" fmla="*/ 11 w 552"/>
              <a:gd name="T19" fmla="*/ 9 h 660"/>
              <a:gd name="T20" fmla="*/ 10 w 552"/>
              <a:gd name="T21" fmla="*/ 5 h 660"/>
              <a:gd name="T22" fmla="*/ 12 w 552"/>
              <a:gd name="T23" fmla="*/ 1 h 660"/>
              <a:gd name="T24" fmla="*/ 16 w 552"/>
              <a:gd name="T25" fmla="*/ 2 h 660"/>
              <a:gd name="T26" fmla="*/ 23 w 552"/>
              <a:gd name="T27" fmla="*/ 8 h 660"/>
              <a:gd name="T28" fmla="*/ 23 w 552"/>
              <a:gd name="T29" fmla="*/ 11 h 660"/>
              <a:gd name="T30" fmla="*/ 27 w 552"/>
              <a:gd name="T31" fmla="*/ 12 h 660"/>
              <a:gd name="T32" fmla="*/ 29 w 552"/>
              <a:gd name="T33" fmla="*/ 17 h 660"/>
              <a:gd name="T34" fmla="*/ 31 w 552"/>
              <a:gd name="T35" fmla="*/ 15 h 660"/>
              <a:gd name="T36" fmla="*/ 33 w 552"/>
              <a:gd name="T37" fmla="*/ 17 h 660"/>
              <a:gd name="T38" fmla="*/ 36 w 552"/>
              <a:gd name="T39" fmla="*/ 23 h 660"/>
              <a:gd name="T40" fmla="*/ 41 w 552"/>
              <a:gd name="T41" fmla="*/ 33 h 660"/>
              <a:gd name="T42" fmla="*/ 43 w 552"/>
              <a:gd name="T43" fmla="*/ 36 h 660"/>
              <a:gd name="T44" fmla="*/ 43 w 552"/>
              <a:gd name="T45" fmla="*/ 37 h 660"/>
              <a:gd name="T46" fmla="*/ 41 w 552"/>
              <a:gd name="T47" fmla="*/ 35 h 660"/>
              <a:gd name="T48" fmla="*/ 43 w 552"/>
              <a:gd name="T49" fmla="*/ 37 h 660"/>
              <a:gd name="T50" fmla="*/ 44 w 552"/>
              <a:gd name="T51" fmla="*/ 39 h 660"/>
              <a:gd name="T52" fmla="*/ 47 w 552"/>
              <a:gd name="T53" fmla="*/ 41 h 660"/>
              <a:gd name="T54" fmla="*/ 47 w 552"/>
              <a:gd name="T55" fmla="*/ 44 h 660"/>
              <a:gd name="T56" fmla="*/ 48 w 552"/>
              <a:gd name="T57" fmla="*/ 46 h 660"/>
              <a:gd name="T58" fmla="*/ 47 w 552"/>
              <a:gd name="T59" fmla="*/ 46 h 660"/>
              <a:gd name="T60" fmla="*/ 44 w 552"/>
              <a:gd name="T61" fmla="*/ 46 h 660"/>
              <a:gd name="T62" fmla="*/ 47 w 552"/>
              <a:gd name="T63" fmla="*/ 47 h 660"/>
              <a:gd name="T64" fmla="*/ 47 w 552"/>
              <a:gd name="T65" fmla="*/ 49 h 660"/>
              <a:gd name="T66" fmla="*/ 47 w 552"/>
              <a:gd name="T67" fmla="*/ 52 h 660"/>
              <a:gd name="T68" fmla="*/ 46 w 552"/>
              <a:gd name="T69" fmla="*/ 53 h 660"/>
              <a:gd name="T70" fmla="*/ 43 w 552"/>
              <a:gd name="T71" fmla="*/ 54 h 660"/>
              <a:gd name="T72" fmla="*/ 37 w 552"/>
              <a:gd name="T73" fmla="*/ 54 h 660"/>
              <a:gd name="T74" fmla="*/ 30 w 552"/>
              <a:gd name="T75" fmla="*/ 54 h 660"/>
              <a:gd name="T76" fmla="*/ 29 w 552"/>
              <a:gd name="T77" fmla="*/ 53 h 660"/>
              <a:gd name="T78" fmla="*/ 27 w 552"/>
              <a:gd name="T79" fmla="*/ 53 h 660"/>
              <a:gd name="T80" fmla="*/ 29 w 552"/>
              <a:gd name="T81" fmla="*/ 53 h 660"/>
              <a:gd name="T82" fmla="*/ 28 w 552"/>
              <a:gd name="T83" fmla="*/ 54 h 660"/>
              <a:gd name="T84" fmla="*/ 24 w 552"/>
              <a:gd name="T85" fmla="*/ 54 h 660"/>
              <a:gd name="T86" fmla="*/ 20 w 552"/>
              <a:gd name="T87" fmla="*/ 55 h 660"/>
              <a:gd name="T88" fmla="*/ 15 w 552"/>
              <a:gd name="T89" fmla="*/ 56 h 660"/>
              <a:gd name="T90" fmla="*/ 12 w 552"/>
              <a:gd name="T91" fmla="*/ 56 h 660"/>
              <a:gd name="T92" fmla="*/ 11 w 552"/>
              <a:gd name="T93" fmla="*/ 57 h 660"/>
              <a:gd name="T94" fmla="*/ 9 w 552"/>
              <a:gd name="T95" fmla="*/ 57 h 660"/>
              <a:gd name="T96" fmla="*/ 7 w 552"/>
              <a:gd name="T97" fmla="*/ 56 h 660"/>
              <a:gd name="T98" fmla="*/ 5 w 552"/>
              <a:gd name="T99" fmla="*/ 55 h 660"/>
              <a:gd name="T100" fmla="*/ 7 w 552"/>
              <a:gd name="T101" fmla="*/ 54 h 660"/>
              <a:gd name="T102" fmla="*/ 5 w 552"/>
              <a:gd name="T103" fmla="*/ 54 h 660"/>
              <a:gd name="T104" fmla="*/ 5 w 552"/>
              <a:gd name="T105" fmla="*/ 53 h 660"/>
              <a:gd name="T106" fmla="*/ 4 w 552"/>
              <a:gd name="T107" fmla="*/ 49 h 660"/>
              <a:gd name="T108" fmla="*/ 45 w 552"/>
              <a:gd name="T109" fmla="*/ 38 h 66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552"/>
              <a:gd name="T166" fmla="*/ 0 h 660"/>
              <a:gd name="T167" fmla="*/ 552 w 552"/>
              <a:gd name="T168" fmla="*/ 660 h 660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552" h="660">
                <a:moveTo>
                  <a:pt x="36" y="564"/>
                </a:moveTo>
                <a:lnTo>
                  <a:pt x="36" y="558"/>
                </a:lnTo>
                <a:lnTo>
                  <a:pt x="36" y="552"/>
                </a:lnTo>
                <a:lnTo>
                  <a:pt x="42" y="546"/>
                </a:lnTo>
                <a:lnTo>
                  <a:pt x="42" y="540"/>
                </a:lnTo>
                <a:lnTo>
                  <a:pt x="36" y="540"/>
                </a:lnTo>
                <a:lnTo>
                  <a:pt x="36" y="534"/>
                </a:lnTo>
                <a:lnTo>
                  <a:pt x="36" y="528"/>
                </a:lnTo>
                <a:lnTo>
                  <a:pt x="42" y="522"/>
                </a:lnTo>
                <a:lnTo>
                  <a:pt x="48" y="516"/>
                </a:lnTo>
                <a:lnTo>
                  <a:pt x="54" y="510"/>
                </a:lnTo>
                <a:lnTo>
                  <a:pt x="54" y="504"/>
                </a:lnTo>
                <a:lnTo>
                  <a:pt x="54" y="498"/>
                </a:lnTo>
                <a:lnTo>
                  <a:pt x="48" y="492"/>
                </a:lnTo>
                <a:lnTo>
                  <a:pt x="42" y="486"/>
                </a:lnTo>
                <a:lnTo>
                  <a:pt x="42" y="480"/>
                </a:lnTo>
                <a:lnTo>
                  <a:pt x="42" y="468"/>
                </a:lnTo>
                <a:lnTo>
                  <a:pt x="30" y="456"/>
                </a:lnTo>
                <a:lnTo>
                  <a:pt x="30" y="450"/>
                </a:lnTo>
                <a:lnTo>
                  <a:pt x="18" y="444"/>
                </a:lnTo>
                <a:lnTo>
                  <a:pt x="18" y="438"/>
                </a:lnTo>
                <a:lnTo>
                  <a:pt x="24" y="432"/>
                </a:lnTo>
                <a:lnTo>
                  <a:pt x="18" y="426"/>
                </a:lnTo>
                <a:lnTo>
                  <a:pt x="24" y="420"/>
                </a:lnTo>
                <a:lnTo>
                  <a:pt x="18" y="414"/>
                </a:lnTo>
                <a:lnTo>
                  <a:pt x="12" y="408"/>
                </a:lnTo>
                <a:lnTo>
                  <a:pt x="12" y="402"/>
                </a:lnTo>
                <a:lnTo>
                  <a:pt x="6" y="396"/>
                </a:lnTo>
                <a:lnTo>
                  <a:pt x="12" y="396"/>
                </a:lnTo>
                <a:lnTo>
                  <a:pt x="6" y="384"/>
                </a:lnTo>
                <a:lnTo>
                  <a:pt x="12" y="372"/>
                </a:lnTo>
                <a:lnTo>
                  <a:pt x="18" y="366"/>
                </a:lnTo>
                <a:lnTo>
                  <a:pt x="18" y="360"/>
                </a:lnTo>
                <a:lnTo>
                  <a:pt x="18" y="354"/>
                </a:lnTo>
                <a:lnTo>
                  <a:pt x="18" y="348"/>
                </a:lnTo>
                <a:lnTo>
                  <a:pt x="6" y="342"/>
                </a:lnTo>
                <a:lnTo>
                  <a:pt x="0" y="342"/>
                </a:lnTo>
                <a:lnTo>
                  <a:pt x="6" y="330"/>
                </a:lnTo>
                <a:lnTo>
                  <a:pt x="12" y="330"/>
                </a:lnTo>
                <a:lnTo>
                  <a:pt x="18" y="324"/>
                </a:lnTo>
                <a:lnTo>
                  <a:pt x="24" y="318"/>
                </a:lnTo>
                <a:lnTo>
                  <a:pt x="30" y="318"/>
                </a:lnTo>
                <a:lnTo>
                  <a:pt x="36" y="306"/>
                </a:lnTo>
                <a:lnTo>
                  <a:pt x="42" y="300"/>
                </a:lnTo>
                <a:lnTo>
                  <a:pt x="42" y="294"/>
                </a:lnTo>
                <a:lnTo>
                  <a:pt x="42" y="288"/>
                </a:lnTo>
                <a:lnTo>
                  <a:pt x="48" y="282"/>
                </a:lnTo>
                <a:lnTo>
                  <a:pt x="54" y="276"/>
                </a:lnTo>
                <a:lnTo>
                  <a:pt x="54" y="270"/>
                </a:lnTo>
                <a:lnTo>
                  <a:pt x="48" y="264"/>
                </a:lnTo>
                <a:lnTo>
                  <a:pt x="42" y="246"/>
                </a:lnTo>
                <a:lnTo>
                  <a:pt x="48" y="240"/>
                </a:lnTo>
                <a:lnTo>
                  <a:pt x="42" y="234"/>
                </a:lnTo>
                <a:lnTo>
                  <a:pt x="42" y="228"/>
                </a:lnTo>
                <a:lnTo>
                  <a:pt x="48" y="204"/>
                </a:lnTo>
                <a:lnTo>
                  <a:pt x="54" y="174"/>
                </a:lnTo>
                <a:lnTo>
                  <a:pt x="54" y="162"/>
                </a:lnTo>
                <a:lnTo>
                  <a:pt x="54" y="156"/>
                </a:lnTo>
                <a:lnTo>
                  <a:pt x="54" y="144"/>
                </a:lnTo>
                <a:lnTo>
                  <a:pt x="48" y="132"/>
                </a:lnTo>
                <a:lnTo>
                  <a:pt x="66" y="132"/>
                </a:lnTo>
                <a:lnTo>
                  <a:pt x="66" y="126"/>
                </a:lnTo>
                <a:lnTo>
                  <a:pt x="72" y="126"/>
                </a:lnTo>
                <a:lnTo>
                  <a:pt x="84" y="126"/>
                </a:lnTo>
                <a:lnTo>
                  <a:pt x="96" y="120"/>
                </a:lnTo>
                <a:lnTo>
                  <a:pt x="114" y="120"/>
                </a:lnTo>
                <a:lnTo>
                  <a:pt x="120" y="120"/>
                </a:lnTo>
                <a:lnTo>
                  <a:pt x="126" y="114"/>
                </a:lnTo>
                <a:lnTo>
                  <a:pt x="126" y="108"/>
                </a:lnTo>
                <a:lnTo>
                  <a:pt x="126" y="102"/>
                </a:lnTo>
                <a:lnTo>
                  <a:pt x="132" y="96"/>
                </a:lnTo>
                <a:lnTo>
                  <a:pt x="132" y="84"/>
                </a:lnTo>
                <a:lnTo>
                  <a:pt x="126" y="78"/>
                </a:lnTo>
                <a:lnTo>
                  <a:pt x="120" y="78"/>
                </a:lnTo>
                <a:lnTo>
                  <a:pt x="102" y="84"/>
                </a:lnTo>
                <a:lnTo>
                  <a:pt x="108" y="66"/>
                </a:lnTo>
                <a:lnTo>
                  <a:pt x="114" y="54"/>
                </a:lnTo>
                <a:lnTo>
                  <a:pt x="120" y="42"/>
                </a:lnTo>
                <a:lnTo>
                  <a:pt x="126" y="42"/>
                </a:lnTo>
                <a:lnTo>
                  <a:pt x="138" y="48"/>
                </a:lnTo>
                <a:lnTo>
                  <a:pt x="144" y="54"/>
                </a:lnTo>
                <a:lnTo>
                  <a:pt x="156" y="54"/>
                </a:lnTo>
                <a:lnTo>
                  <a:pt x="156" y="18"/>
                </a:lnTo>
                <a:lnTo>
                  <a:pt x="144" y="12"/>
                </a:lnTo>
                <a:lnTo>
                  <a:pt x="144" y="0"/>
                </a:lnTo>
                <a:lnTo>
                  <a:pt x="150" y="0"/>
                </a:lnTo>
                <a:lnTo>
                  <a:pt x="156" y="0"/>
                </a:lnTo>
                <a:lnTo>
                  <a:pt x="162" y="0"/>
                </a:lnTo>
                <a:lnTo>
                  <a:pt x="174" y="0"/>
                </a:lnTo>
                <a:lnTo>
                  <a:pt x="180" y="0"/>
                </a:lnTo>
                <a:lnTo>
                  <a:pt x="186" y="18"/>
                </a:lnTo>
                <a:lnTo>
                  <a:pt x="198" y="30"/>
                </a:lnTo>
                <a:lnTo>
                  <a:pt x="204" y="54"/>
                </a:lnTo>
                <a:lnTo>
                  <a:pt x="216" y="60"/>
                </a:lnTo>
                <a:lnTo>
                  <a:pt x="240" y="60"/>
                </a:lnTo>
                <a:lnTo>
                  <a:pt x="246" y="66"/>
                </a:lnTo>
                <a:lnTo>
                  <a:pt x="258" y="78"/>
                </a:lnTo>
                <a:lnTo>
                  <a:pt x="258" y="90"/>
                </a:lnTo>
                <a:lnTo>
                  <a:pt x="252" y="96"/>
                </a:lnTo>
                <a:lnTo>
                  <a:pt x="258" y="102"/>
                </a:lnTo>
                <a:lnTo>
                  <a:pt x="258" y="108"/>
                </a:lnTo>
                <a:lnTo>
                  <a:pt x="252" y="120"/>
                </a:lnTo>
                <a:lnTo>
                  <a:pt x="252" y="126"/>
                </a:lnTo>
                <a:lnTo>
                  <a:pt x="258" y="126"/>
                </a:lnTo>
                <a:lnTo>
                  <a:pt x="264" y="126"/>
                </a:lnTo>
                <a:lnTo>
                  <a:pt x="276" y="126"/>
                </a:lnTo>
                <a:lnTo>
                  <a:pt x="282" y="120"/>
                </a:lnTo>
                <a:lnTo>
                  <a:pt x="282" y="126"/>
                </a:lnTo>
                <a:lnTo>
                  <a:pt x="294" y="126"/>
                </a:lnTo>
                <a:lnTo>
                  <a:pt x="300" y="132"/>
                </a:lnTo>
                <a:lnTo>
                  <a:pt x="306" y="144"/>
                </a:lnTo>
                <a:lnTo>
                  <a:pt x="312" y="144"/>
                </a:lnTo>
                <a:lnTo>
                  <a:pt x="312" y="150"/>
                </a:lnTo>
                <a:lnTo>
                  <a:pt x="312" y="162"/>
                </a:lnTo>
                <a:lnTo>
                  <a:pt x="312" y="174"/>
                </a:lnTo>
                <a:lnTo>
                  <a:pt x="324" y="180"/>
                </a:lnTo>
                <a:lnTo>
                  <a:pt x="324" y="186"/>
                </a:lnTo>
                <a:lnTo>
                  <a:pt x="324" y="192"/>
                </a:lnTo>
                <a:lnTo>
                  <a:pt x="330" y="192"/>
                </a:lnTo>
                <a:lnTo>
                  <a:pt x="336" y="198"/>
                </a:lnTo>
                <a:lnTo>
                  <a:pt x="342" y="192"/>
                </a:lnTo>
                <a:lnTo>
                  <a:pt x="348" y="192"/>
                </a:lnTo>
                <a:lnTo>
                  <a:pt x="348" y="186"/>
                </a:lnTo>
                <a:lnTo>
                  <a:pt x="348" y="180"/>
                </a:lnTo>
                <a:lnTo>
                  <a:pt x="354" y="180"/>
                </a:lnTo>
                <a:lnTo>
                  <a:pt x="354" y="174"/>
                </a:lnTo>
                <a:lnTo>
                  <a:pt x="360" y="168"/>
                </a:lnTo>
                <a:lnTo>
                  <a:pt x="366" y="168"/>
                </a:lnTo>
                <a:lnTo>
                  <a:pt x="372" y="174"/>
                </a:lnTo>
                <a:lnTo>
                  <a:pt x="372" y="180"/>
                </a:lnTo>
                <a:lnTo>
                  <a:pt x="378" y="186"/>
                </a:lnTo>
                <a:lnTo>
                  <a:pt x="378" y="192"/>
                </a:lnTo>
                <a:lnTo>
                  <a:pt x="384" y="192"/>
                </a:lnTo>
                <a:lnTo>
                  <a:pt x="390" y="204"/>
                </a:lnTo>
                <a:lnTo>
                  <a:pt x="390" y="210"/>
                </a:lnTo>
                <a:lnTo>
                  <a:pt x="390" y="216"/>
                </a:lnTo>
                <a:lnTo>
                  <a:pt x="384" y="234"/>
                </a:lnTo>
                <a:lnTo>
                  <a:pt x="390" y="240"/>
                </a:lnTo>
                <a:lnTo>
                  <a:pt x="408" y="252"/>
                </a:lnTo>
                <a:lnTo>
                  <a:pt x="414" y="264"/>
                </a:lnTo>
                <a:lnTo>
                  <a:pt x="408" y="300"/>
                </a:lnTo>
                <a:lnTo>
                  <a:pt x="414" y="312"/>
                </a:lnTo>
                <a:lnTo>
                  <a:pt x="426" y="336"/>
                </a:lnTo>
                <a:lnTo>
                  <a:pt x="438" y="354"/>
                </a:lnTo>
                <a:lnTo>
                  <a:pt x="444" y="366"/>
                </a:lnTo>
                <a:lnTo>
                  <a:pt x="456" y="366"/>
                </a:lnTo>
                <a:lnTo>
                  <a:pt x="474" y="378"/>
                </a:lnTo>
                <a:lnTo>
                  <a:pt x="474" y="384"/>
                </a:lnTo>
                <a:lnTo>
                  <a:pt x="480" y="390"/>
                </a:lnTo>
                <a:lnTo>
                  <a:pt x="486" y="396"/>
                </a:lnTo>
                <a:lnTo>
                  <a:pt x="486" y="402"/>
                </a:lnTo>
                <a:lnTo>
                  <a:pt x="480" y="408"/>
                </a:lnTo>
                <a:lnTo>
                  <a:pt x="486" y="408"/>
                </a:lnTo>
                <a:lnTo>
                  <a:pt x="486" y="414"/>
                </a:lnTo>
                <a:lnTo>
                  <a:pt x="492" y="414"/>
                </a:lnTo>
                <a:lnTo>
                  <a:pt x="492" y="420"/>
                </a:lnTo>
                <a:lnTo>
                  <a:pt x="498" y="426"/>
                </a:lnTo>
                <a:lnTo>
                  <a:pt x="498" y="432"/>
                </a:lnTo>
                <a:lnTo>
                  <a:pt x="498" y="438"/>
                </a:lnTo>
                <a:lnTo>
                  <a:pt x="492" y="432"/>
                </a:lnTo>
                <a:lnTo>
                  <a:pt x="486" y="426"/>
                </a:lnTo>
                <a:lnTo>
                  <a:pt x="486" y="420"/>
                </a:lnTo>
                <a:lnTo>
                  <a:pt x="486" y="414"/>
                </a:lnTo>
                <a:lnTo>
                  <a:pt x="480" y="414"/>
                </a:lnTo>
                <a:lnTo>
                  <a:pt x="480" y="408"/>
                </a:lnTo>
                <a:lnTo>
                  <a:pt x="474" y="408"/>
                </a:lnTo>
                <a:lnTo>
                  <a:pt x="468" y="408"/>
                </a:lnTo>
                <a:lnTo>
                  <a:pt x="468" y="402"/>
                </a:lnTo>
                <a:lnTo>
                  <a:pt x="462" y="402"/>
                </a:lnTo>
                <a:lnTo>
                  <a:pt x="462" y="408"/>
                </a:lnTo>
                <a:lnTo>
                  <a:pt x="468" y="408"/>
                </a:lnTo>
                <a:lnTo>
                  <a:pt x="474" y="414"/>
                </a:lnTo>
                <a:lnTo>
                  <a:pt x="480" y="420"/>
                </a:lnTo>
                <a:lnTo>
                  <a:pt x="480" y="426"/>
                </a:lnTo>
                <a:lnTo>
                  <a:pt x="486" y="426"/>
                </a:lnTo>
                <a:lnTo>
                  <a:pt x="486" y="432"/>
                </a:lnTo>
                <a:lnTo>
                  <a:pt x="492" y="438"/>
                </a:lnTo>
                <a:lnTo>
                  <a:pt x="498" y="438"/>
                </a:lnTo>
                <a:lnTo>
                  <a:pt x="504" y="444"/>
                </a:lnTo>
                <a:lnTo>
                  <a:pt x="510" y="444"/>
                </a:lnTo>
                <a:lnTo>
                  <a:pt x="510" y="450"/>
                </a:lnTo>
                <a:lnTo>
                  <a:pt x="510" y="456"/>
                </a:lnTo>
                <a:lnTo>
                  <a:pt x="516" y="456"/>
                </a:lnTo>
                <a:lnTo>
                  <a:pt x="516" y="462"/>
                </a:lnTo>
                <a:lnTo>
                  <a:pt x="522" y="462"/>
                </a:lnTo>
                <a:lnTo>
                  <a:pt x="522" y="468"/>
                </a:lnTo>
                <a:lnTo>
                  <a:pt x="528" y="468"/>
                </a:lnTo>
                <a:lnTo>
                  <a:pt x="534" y="468"/>
                </a:lnTo>
                <a:lnTo>
                  <a:pt x="534" y="474"/>
                </a:lnTo>
                <a:lnTo>
                  <a:pt x="540" y="474"/>
                </a:lnTo>
                <a:lnTo>
                  <a:pt x="540" y="480"/>
                </a:lnTo>
                <a:lnTo>
                  <a:pt x="546" y="486"/>
                </a:lnTo>
                <a:lnTo>
                  <a:pt x="546" y="492"/>
                </a:lnTo>
                <a:lnTo>
                  <a:pt x="546" y="498"/>
                </a:lnTo>
                <a:lnTo>
                  <a:pt x="546" y="504"/>
                </a:lnTo>
                <a:lnTo>
                  <a:pt x="540" y="504"/>
                </a:lnTo>
                <a:lnTo>
                  <a:pt x="546" y="504"/>
                </a:lnTo>
                <a:lnTo>
                  <a:pt x="540" y="510"/>
                </a:lnTo>
                <a:lnTo>
                  <a:pt x="546" y="510"/>
                </a:lnTo>
                <a:lnTo>
                  <a:pt x="552" y="510"/>
                </a:lnTo>
                <a:lnTo>
                  <a:pt x="552" y="516"/>
                </a:lnTo>
                <a:lnTo>
                  <a:pt x="552" y="522"/>
                </a:lnTo>
                <a:lnTo>
                  <a:pt x="552" y="528"/>
                </a:lnTo>
                <a:lnTo>
                  <a:pt x="552" y="534"/>
                </a:lnTo>
                <a:lnTo>
                  <a:pt x="552" y="540"/>
                </a:lnTo>
                <a:lnTo>
                  <a:pt x="546" y="540"/>
                </a:lnTo>
                <a:lnTo>
                  <a:pt x="546" y="546"/>
                </a:lnTo>
                <a:lnTo>
                  <a:pt x="546" y="540"/>
                </a:lnTo>
                <a:lnTo>
                  <a:pt x="546" y="534"/>
                </a:lnTo>
                <a:lnTo>
                  <a:pt x="540" y="534"/>
                </a:lnTo>
                <a:lnTo>
                  <a:pt x="540" y="528"/>
                </a:lnTo>
                <a:lnTo>
                  <a:pt x="534" y="528"/>
                </a:lnTo>
                <a:lnTo>
                  <a:pt x="528" y="528"/>
                </a:lnTo>
                <a:lnTo>
                  <a:pt x="522" y="528"/>
                </a:lnTo>
                <a:lnTo>
                  <a:pt x="516" y="528"/>
                </a:lnTo>
                <a:lnTo>
                  <a:pt x="510" y="528"/>
                </a:lnTo>
                <a:lnTo>
                  <a:pt x="510" y="534"/>
                </a:lnTo>
                <a:lnTo>
                  <a:pt x="510" y="528"/>
                </a:lnTo>
                <a:lnTo>
                  <a:pt x="516" y="528"/>
                </a:lnTo>
                <a:lnTo>
                  <a:pt x="522" y="528"/>
                </a:lnTo>
                <a:lnTo>
                  <a:pt x="528" y="528"/>
                </a:lnTo>
                <a:lnTo>
                  <a:pt x="534" y="534"/>
                </a:lnTo>
                <a:lnTo>
                  <a:pt x="540" y="534"/>
                </a:lnTo>
                <a:lnTo>
                  <a:pt x="540" y="540"/>
                </a:lnTo>
                <a:lnTo>
                  <a:pt x="540" y="546"/>
                </a:lnTo>
                <a:lnTo>
                  <a:pt x="546" y="546"/>
                </a:lnTo>
                <a:lnTo>
                  <a:pt x="546" y="552"/>
                </a:lnTo>
                <a:lnTo>
                  <a:pt x="552" y="552"/>
                </a:lnTo>
                <a:lnTo>
                  <a:pt x="552" y="558"/>
                </a:lnTo>
                <a:lnTo>
                  <a:pt x="552" y="564"/>
                </a:lnTo>
                <a:lnTo>
                  <a:pt x="546" y="564"/>
                </a:lnTo>
                <a:lnTo>
                  <a:pt x="546" y="570"/>
                </a:lnTo>
                <a:lnTo>
                  <a:pt x="546" y="576"/>
                </a:lnTo>
                <a:lnTo>
                  <a:pt x="540" y="576"/>
                </a:lnTo>
                <a:lnTo>
                  <a:pt x="540" y="582"/>
                </a:lnTo>
                <a:lnTo>
                  <a:pt x="540" y="588"/>
                </a:lnTo>
                <a:lnTo>
                  <a:pt x="534" y="594"/>
                </a:lnTo>
                <a:lnTo>
                  <a:pt x="534" y="600"/>
                </a:lnTo>
                <a:lnTo>
                  <a:pt x="528" y="600"/>
                </a:lnTo>
                <a:lnTo>
                  <a:pt x="522" y="594"/>
                </a:lnTo>
                <a:lnTo>
                  <a:pt x="528" y="600"/>
                </a:lnTo>
                <a:lnTo>
                  <a:pt x="534" y="600"/>
                </a:lnTo>
                <a:lnTo>
                  <a:pt x="534" y="606"/>
                </a:lnTo>
                <a:lnTo>
                  <a:pt x="528" y="606"/>
                </a:lnTo>
                <a:lnTo>
                  <a:pt x="528" y="612"/>
                </a:lnTo>
                <a:lnTo>
                  <a:pt x="522" y="612"/>
                </a:lnTo>
                <a:lnTo>
                  <a:pt x="522" y="618"/>
                </a:lnTo>
                <a:lnTo>
                  <a:pt x="522" y="624"/>
                </a:lnTo>
                <a:lnTo>
                  <a:pt x="510" y="624"/>
                </a:lnTo>
                <a:lnTo>
                  <a:pt x="498" y="624"/>
                </a:lnTo>
                <a:lnTo>
                  <a:pt x="492" y="624"/>
                </a:lnTo>
                <a:lnTo>
                  <a:pt x="486" y="624"/>
                </a:lnTo>
                <a:lnTo>
                  <a:pt x="480" y="624"/>
                </a:lnTo>
                <a:lnTo>
                  <a:pt x="474" y="624"/>
                </a:lnTo>
                <a:lnTo>
                  <a:pt x="468" y="618"/>
                </a:lnTo>
                <a:lnTo>
                  <a:pt x="456" y="618"/>
                </a:lnTo>
                <a:lnTo>
                  <a:pt x="450" y="618"/>
                </a:lnTo>
                <a:lnTo>
                  <a:pt x="426" y="618"/>
                </a:lnTo>
                <a:lnTo>
                  <a:pt x="420" y="618"/>
                </a:lnTo>
                <a:lnTo>
                  <a:pt x="414" y="618"/>
                </a:lnTo>
                <a:lnTo>
                  <a:pt x="408" y="618"/>
                </a:lnTo>
                <a:lnTo>
                  <a:pt x="396" y="618"/>
                </a:lnTo>
                <a:lnTo>
                  <a:pt x="366" y="618"/>
                </a:lnTo>
                <a:lnTo>
                  <a:pt x="348" y="624"/>
                </a:lnTo>
                <a:lnTo>
                  <a:pt x="342" y="624"/>
                </a:lnTo>
                <a:lnTo>
                  <a:pt x="342" y="618"/>
                </a:lnTo>
                <a:lnTo>
                  <a:pt x="336" y="618"/>
                </a:lnTo>
                <a:lnTo>
                  <a:pt x="336" y="612"/>
                </a:lnTo>
                <a:lnTo>
                  <a:pt x="342" y="612"/>
                </a:lnTo>
                <a:lnTo>
                  <a:pt x="348" y="612"/>
                </a:lnTo>
                <a:lnTo>
                  <a:pt x="342" y="612"/>
                </a:lnTo>
                <a:lnTo>
                  <a:pt x="336" y="612"/>
                </a:lnTo>
                <a:lnTo>
                  <a:pt x="336" y="606"/>
                </a:lnTo>
                <a:lnTo>
                  <a:pt x="330" y="606"/>
                </a:lnTo>
                <a:lnTo>
                  <a:pt x="330" y="600"/>
                </a:lnTo>
                <a:lnTo>
                  <a:pt x="324" y="600"/>
                </a:lnTo>
                <a:lnTo>
                  <a:pt x="324" y="606"/>
                </a:lnTo>
                <a:lnTo>
                  <a:pt x="318" y="606"/>
                </a:lnTo>
                <a:lnTo>
                  <a:pt x="318" y="612"/>
                </a:lnTo>
                <a:lnTo>
                  <a:pt x="312" y="612"/>
                </a:lnTo>
                <a:lnTo>
                  <a:pt x="306" y="606"/>
                </a:lnTo>
                <a:lnTo>
                  <a:pt x="306" y="612"/>
                </a:lnTo>
                <a:lnTo>
                  <a:pt x="312" y="612"/>
                </a:lnTo>
                <a:lnTo>
                  <a:pt x="318" y="612"/>
                </a:lnTo>
                <a:lnTo>
                  <a:pt x="324" y="612"/>
                </a:lnTo>
                <a:lnTo>
                  <a:pt x="324" y="606"/>
                </a:lnTo>
                <a:lnTo>
                  <a:pt x="330" y="606"/>
                </a:lnTo>
                <a:lnTo>
                  <a:pt x="336" y="612"/>
                </a:lnTo>
                <a:lnTo>
                  <a:pt x="336" y="618"/>
                </a:lnTo>
                <a:lnTo>
                  <a:pt x="330" y="618"/>
                </a:lnTo>
                <a:lnTo>
                  <a:pt x="336" y="618"/>
                </a:lnTo>
                <a:lnTo>
                  <a:pt x="336" y="624"/>
                </a:lnTo>
                <a:lnTo>
                  <a:pt x="330" y="624"/>
                </a:lnTo>
                <a:lnTo>
                  <a:pt x="318" y="624"/>
                </a:lnTo>
                <a:lnTo>
                  <a:pt x="306" y="624"/>
                </a:lnTo>
                <a:lnTo>
                  <a:pt x="300" y="624"/>
                </a:lnTo>
                <a:lnTo>
                  <a:pt x="306" y="624"/>
                </a:lnTo>
                <a:lnTo>
                  <a:pt x="300" y="624"/>
                </a:lnTo>
                <a:lnTo>
                  <a:pt x="288" y="624"/>
                </a:lnTo>
                <a:lnTo>
                  <a:pt x="282" y="624"/>
                </a:lnTo>
                <a:lnTo>
                  <a:pt x="270" y="630"/>
                </a:lnTo>
                <a:lnTo>
                  <a:pt x="264" y="630"/>
                </a:lnTo>
                <a:lnTo>
                  <a:pt x="258" y="630"/>
                </a:lnTo>
                <a:lnTo>
                  <a:pt x="252" y="630"/>
                </a:lnTo>
                <a:lnTo>
                  <a:pt x="246" y="630"/>
                </a:lnTo>
                <a:lnTo>
                  <a:pt x="240" y="630"/>
                </a:lnTo>
                <a:lnTo>
                  <a:pt x="228" y="636"/>
                </a:lnTo>
                <a:lnTo>
                  <a:pt x="222" y="636"/>
                </a:lnTo>
                <a:lnTo>
                  <a:pt x="210" y="636"/>
                </a:lnTo>
                <a:lnTo>
                  <a:pt x="204" y="636"/>
                </a:lnTo>
                <a:lnTo>
                  <a:pt x="198" y="636"/>
                </a:lnTo>
                <a:lnTo>
                  <a:pt x="192" y="642"/>
                </a:lnTo>
                <a:lnTo>
                  <a:pt x="186" y="642"/>
                </a:lnTo>
                <a:lnTo>
                  <a:pt x="180" y="642"/>
                </a:lnTo>
                <a:lnTo>
                  <a:pt x="168" y="642"/>
                </a:lnTo>
                <a:lnTo>
                  <a:pt x="162" y="642"/>
                </a:lnTo>
                <a:lnTo>
                  <a:pt x="162" y="648"/>
                </a:lnTo>
                <a:lnTo>
                  <a:pt x="156" y="648"/>
                </a:lnTo>
                <a:lnTo>
                  <a:pt x="150" y="648"/>
                </a:lnTo>
                <a:lnTo>
                  <a:pt x="144" y="648"/>
                </a:lnTo>
                <a:lnTo>
                  <a:pt x="138" y="648"/>
                </a:lnTo>
                <a:lnTo>
                  <a:pt x="132" y="648"/>
                </a:lnTo>
                <a:lnTo>
                  <a:pt x="126" y="642"/>
                </a:lnTo>
                <a:lnTo>
                  <a:pt x="126" y="636"/>
                </a:lnTo>
                <a:lnTo>
                  <a:pt x="120" y="636"/>
                </a:lnTo>
                <a:lnTo>
                  <a:pt x="126" y="642"/>
                </a:lnTo>
                <a:lnTo>
                  <a:pt x="126" y="648"/>
                </a:lnTo>
                <a:lnTo>
                  <a:pt x="132" y="648"/>
                </a:lnTo>
                <a:lnTo>
                  <a:pt x="126" y="654"/>
                </a:lnTo>
                <a:lnTo>
                  <a:pt x="120" y="654"/>
                </a:lnTo>
                <a:lnTo>
                  <a:pt x="114" y="654"/>
                </a:lnTo>
                <a:lnTo>
                  <a:pt x="108" y="654"/>
                </a:lnTo>
                <a:lnTo>
                  <a:pt x="108" y="660"/>
                </a:lnTo>
                <a:lnTo>
                  <a:pt x="108" y="654"/>
                </a:lnTo>
                <a:lnTo>
                  <a:pt x="102" y="654"/>
                </a:lnTo>
                <a:lnTo>
                  <a:pt x="102" y="660"/>
                </a:lnTo>
                <a:lnTo>
                  <a:pt x="108" y="660"/>
                </a:lnTo>
                <a:lnTo>
                  <a:pt x="102" y="660"/>
                </a:lnTo>
                <a:lnTo>
                  <a:pt x="96" y="660"/>
                </a:lnTo>
                <a:lnTo>
                  <a:pt x="90" y="660"/>
                </a:lnTo>
                <a:lnTo>
                  <a:pt x="90" y="654"/>
                </a:lnTo>
                <a:lnTo>
                  <a:pt x="84" y="648"/>
                </a:lnTo>
                <a:lnTo>
                  <a:pt x="84" y="642"/>
                </a:lnTo>
                <a:lnTo>
                  <a:pt x="78" y="642"/>
                </a:lnTo>
                <a:lnTo>
                  <a:pt x="72" y="642"/>
                </a:lnTo>
                <a:lnTo>
                  <a:pt x="72" y="636"/>
                </a:lnTo>
                <a:lnTo>
                  <a:pt x="78" y="636"/>
                </a:lnTo>
                <a:lnTo>
                  <a:pt x="72" y="636"/>
                </a:lnTo>
                <a:lnTo>
                  <a:pt x="66" y="636"/>
                </a:lnTo>
                <a:lnTo>
                  <a:pt x="60" y="636"/>
                </a:lnTo>
                <a:lnTo>
                  <a:pt x="54" y="630"/>
                </a:lnTo>
                <a:lnTo>
                  <a:pt x="54" y="624"/>
                </a:lnTo>
                <a:lnTo>
                  <a:pt x="54" y="618"/>
                </a:lnTo>
                <a:lnTo>
                  <a:pt x="60" y="618"/>
                </a:lnTo>
                <a:lnTo>
                  <a:pt x="66" y="618"/>
                </a:lnTo>
                <a:lnTo>
                  <a:pt x="72" y="618"/>
                </a:lnTo>
                <a:lnTo>
                  <a:pt x="78" y="618"/>
                </a:lnTo>
                <a:lnTo>
                  <a:pt x="78" y="612"/>
                </a:lnTo>
                <a:lnTo>
                  <a:pt x="72" y="612"/>
                </a:lnTo>
                <a:lnTo>
                  <a:pt x="72" y="618"/>
                </a:lnTo>
                <a:lnTo>
                  <a:pt x="66" y="618"/>
                </a:lnTo>
                <a:lnTo>
                  <a:pt x="66" y="612"/>
                </a:lnTo>
                <a:lnTo>
                  <a:pt x="66" y="618"/>
                </a:lnTo>
                <a:lnTo>
                  <a:pt x="60" y="618"/>
                </a:lnTo>
                <a:lnTo>
                  <a:pt x="54" y="618"/>
                </a:lnTo>
                <a:lnTo>
                  <a:pt x="54" y="624"/>
                </a:lnTo>
                <a:lnTo>
                  <a:pt x="48" y="618"/>
                </a:lnTo>
                <a:lnTo>
                  <a:pt x="42" y="618"/>
                </a:lnTo>
                <a:lnTo>
                  <a:pt x="42" y="612"/>
                </a:lnTo>
                <a:lnTo>
                  <a:pt x="48" y="606"/>
                </a:lnTo>
                <a:lnTo>
                  <a:pt x="54" y="606"/>
                </a:lnTo>
                <a:lnTo>
                  <a:pt x="54" y="600"/>
                </a:lnTo>
                <a:lnTo>
                  <a:pt x="54" y="594"/>
                </a:lnTo>
                <a:lnTo>
                  <a:pt x="54" y="588"/>
                </a:lnTo>
                <a:lnTo>
                  <a:pt x="48" y="588"/>
                </a:lnTo>
                <a:lnTo>
                  <a:pt x="48" y="582"/>
                </a:lnTo>
                <a:lnTo>
                  <a:pt x="42" y="582"/>
                </a:lnTo>
                <a:lnTo>
                  <a:pt x="42" y="570"/>
                </a:lnTo>
                <a:lnTo>
                  <a:pt x="42" y="564"/>
                </a:lnTo>
                <a:lnTo>
                  <a:pt x="36" y="564"/>
                </a:lnTo>
                <a:close/>
                <a:moveTo>
                  <a:pt x="498" y="420"/>
                </a:moveTo>
                <a:lnTo>
                  <a:pt x="504" y="426"/>
                </a:lnTo>
                <a:lnTo>
                  <a:pt x="510" y="432"/>
                </a:lnTo>
                <a:lnTo>
                  <a:pt x="516" y="432"/>
                </a:lnTo>
                <a:lnTo>
                  <a:pt x="516" y="438"/>
                </a:lnTo>
                <a:lnTo>
                  <a:pt x="510" y="438"/>
                </a:lnTo>
                <a:lnTo>
                  <a:pt x="504" y="438"/>
                </a:lnTo>
                <a:lnTo>
                  <a:pt x="504" y="432"/>
                </a:lnTo>
                <a:lnTo>
                  <a:pt x="498" y="432"/>
                </a:lnTo>
                <a:lnTo>
                  <a:pt x="498" y="426"/>
                </a:lnTo>
                <a:lnTo>
                  <a:pt x="498" y="420"/>
                </a:lnTo>
                <a:close/>
              </a:path>
            </a:pathLst>
          </a:cu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62" name="Freeform 18">
            <a:extLst>
              <a:ext uri="{FF2B5EF4-FFF2-40B4-BE49-F238E27FC236}">
                <a16:creationId xmlns:a16="http://schemas.microsoft.com/office/drawing/2014/main" id="{7DEC42FF-1F83-4DC8-A936-FECC05E48364}"/>
              </a:ext>
            </a:extLst>
          </p:cNvPr>
          <p:cNvSpPr>
            <a:spLocks noEditPoints="1"/>
          </p:cNvSpPr>
          <p:nvPr/>
        </p:nvSpPr>
        <p:spPr bwMode="gray">
          <a:xfrm>
            <a:off x="4775979" y="4618541"/>
            <a:ext cx="601366" cy="897552"/>
          </a:xfrm>
          <a:custGeom>
            <a:avLst/>
            <a:gdLst>
              <a:gd name="T0" fmla="*/ 12 w 1044"/>
              <a:gd name="T1" fmla="*/ 95 h 1542"/>
              <a:gd name="T2" fmla="*/ 7 w 1044"/>
              <a:gd name="T3" fmla="*/ 93 h 1542"/>
              <a:gd name="T4" fmla="*/ 0 w 1044"/>
              <a:gd name="T5" fmla="*/ 88 h 1542"/>
              <a:gd name="T6" fmla="*/ 3 w 1044"/>
              <a:gd name="T7" fmla="*/ 74 h 1542"/>
              <a:gd name="T8" fmla="*/ 4 w 1044"/>
              <a:gd name="T9" fmla="*/ 59 h 1542"/>
              <a:gd name="T10" fmla="*/ 7 w 1044"/>
              <a:gd name="T11" fmla="*/ 52 h 1542"/>
              <a:gd name="T12" fmla="*/ 20 w 1044"/>
              <a:gd name="T13" fmla="*/ 50 h 1542"/>
              <a:gd name="T14" fmla="*/ 24 w 1044"/>
              <a:gd name="T15" fmla="*/ 46 h 1542"/>
              <a:gd name="T16" fmla="*/ 29 w 1044"/>
              <a:gd name="T17" fmla="*/ 33 h 1542"/>
              <a:gd name="T18" fmla="*/ 32 w 1044"/>
              <a:gd name="T19" fmla="*/ 26 h 1542"/>
              <a:gd name="T20" fmla="*/ 30 w 1044"/>
              <a:gd name="T21" fmla="*/ 20 h 1542"/>
              <a:gd name="T22" fmla="*/ 26 w 1044"/>
              <a:gd name="T23" fmla="*/ 17 h 1542"/>
              <a:gd name="T24" fmla="*/ 28 w 1044"/>
              <a:gd name="T25" fmla="*/ 12 h 1542"/>
              <a:gd name="T26" fmla="*/ 44 w 1044"/>
              <a:gd name="T27" fmla="*/ 5 h 1542"/>
              <a:gd name="T28" fmla="*/ 57 w 1044"/>
              <a:gd name="T29" fmla="*/ 2 h 1542"/>
              <a:gd name="T30" fmla="*/ 65 w 1044"/>
              <a:gd name="T31" fmla="*/ 12 h 1542"/>
              <a:gd name="T32" fmla="*/ 81 w 1044"/>
              <a:gd name="T33" fmla="*/ 9 h 1542"/>
              <a:gd name="T34" fmla="*/ 91 w 1044"/>
              <a:gd name="T35" fmla="*/ 20 h 1542"/>
              <a:gd name="T36" fmla="*/ 89 w 1044"/>
              <a:gd name="T37" fmla="*/ 28 h 1542"/>
              <a:gd name="T38" fmla="*/ 83 w 1044"/>
              <a:gd name="T39" fmla="*/ 33 h 1542"/>
              <a:gd name="T40" fmla="*/ 74 w 1044"/>
              <a:gd name="T41" fmla="*/ 42 h 1542"/>
              <a:gd name="T42" fmla="*/ 58 w 1044"/>
              <a:gd name="T43" fmla="*/ 57 h 1542"/>
              <a:gd name="T44" fmla="*/ 54 w 1044"/>
              <a:gd name="T45" fmla="*/ 65 h 1542"/>
              <a:gd name="T46" fmla="*/ 59 w 1044"/>
              <a:gd name="T47" fmla="*/ 74 h 1542"/>
              <a:gd name="T48" fmla="*/ 55 w 1044"/>
              <a:gd name="T49" fmla="*/ 84 h 1542"/>
              <a:gd name="T50" fmla="*/ 52 w 1044"/>
              <a:gd name="T51" fmla="*/ 98 h 1542"/>
              <a:gd name="T52" fmla="*/ 47 w 1044"/>
              <a:gd name="T53" fmla="*/ 105 h 1542"/>
              <a:gd name="T54" fmla="*/ 42 w 1044"/>
              <a:gd name="T55" fmla="*/ 111 h 1542"/>
              <a:gd name="T56" fmla="*/ 43 w 1044"/>
              <a:gd name="T57" fmla="*/ 120 h 1542"/>
              <a:gd name="T58" fmla="*/ 45 w 1044"/>
              <a:gd name="T59" fmla="*/ 125 h 1542"/>
              <a:gd name="T60" fmla="*/ 44 w 1044"/>
              <a:gd name="T61" fmla="*/ 130 h 1542"/>
              <a:gd name="T62" fmla="*/ 45 w 1044"/>
              <a:gd name="T63" fmla="*/ 131 h 1542"/>
              <a:gd name="T64" fmla="*/ 48 w 1044"/>
              <a:gd name="T65" fmla="*/ 133 h 1542"/>
              <a:gd name="T66" fmla="*/ 39 w 1044"/>
              <a:gd name="T67" fmla="*/ 133 h 1542"/>
              <a:gd name="T68" fmla="*/ 42 w 1044"/>
              <a:gd name="T69" fmla="*/ 132 h 1542"/>
              <a:gd name="T70" fmla="*/ 38 w 1044"/>
              <a:gd name="T71" fmla="*/ 133 h 1542"/>
              <a:gd name="T72" fmla="*/ 37 w 1044"/>
              <a:gd name="T73" fmla="*/ 129 h 1542"/>
              <a:gd name="T74" fmla="*/ 40 w 1044"/>
              <a:gd name="T75" fmla="*/ 125 h 1542"/>
              <a:gd name="T76" fmla="*/ 40 w 1044"/>
              <a:gd name="T77" fmla="*/ 120 h 1542"/>
              <a:gd name="T78" fmla="*/ 40 w 1044"/>
              <a:gd name="T79" fmla="*/ 117 h 1542"/>
              <a:gd name="T80" fmla="*/ 37 w 1044"/>
              <a:gd name="T81" fmla="*/ 120 h 1542"/>
              <a:gd name="T82" fmla="*/ 34 w 1044"/>
              <a:gd name="T83" fmla="*/ 122 h 1542"/>
              <a:gd name="T84" fmla="*/ 36 w 1044"/>
              <a:gd name="T85" fmla="*/ 120 h 1542"/>
              <a:gd name="T86" fmla="*/ 30 w 1044"/>
              <a:gd name="T87" fmla="*/ 120 h 1542"/>
              <a:gd name="T88" fmla="*/ 31 w 1044"/>
              <a:gd name="T89" fmla="*/ 113 h 1542"/>
              <a:gd name="T90" fmla="*/ 29 w 1044"/>
              <a:gd name="T91" fmla="*/ 112 h 1542"/>
              <a:gd name="T92" fmla="*/ 31 w 1044"/>
              <a:gd name="T93" fmla="*/ 117 h 1542"/>
              <a:gd name="T94" fmla="*/ 27 w 1044"/>
              <a:gd name="T95" fmla="*/ 116 h 1542"/>
              <a:gd name="T96" fmla="*/ 25 w 1044"/>
              <a:gd name="T97" fmla="*/ 112 h 1542"/>
              <a:gd name="T98" fmla="*/ 21 w 1044"/>
              <a:gd name="T99" fmla="*/ 109 h 1542"/>
              <a:gd name="T100" fmla="*/ 21 w 1044"/>
              <a:gd name="T101" fmla="*/ 113 h 1542"/>
              <a:gd name="T102" fmla="*/ 40 w 1044"/>
              <a:gd name="T103" fmla="*/ 120 h 1542"/>
              <a:gd name="T104" fmla="*/ 40 w 1044"/>
              <a:gd name="T105" fmla="*/ 121 h 1542"/>
              <a:gd name="T106" fmla="*/ 40 w 1044"/>
              <a:gd name="T107" fmla="*/ 116 h 1542"/>
              <a:gd name="T108" fmla="*/ 38 w 1044"/>
              <a:gd name="T109" fmla="*/ 120 h 1542"/>
              <a:gd name="T110" fmla="*/ 23 w 1044"/>
              <a:gd name="T111" fmla="*/ 110 h 1542"/>
              <a:gd name="T112" fmla="*/ 37 w 1044"/>
              <a:gd name="T113" fmla="*/ 124 h 1542"/>
              <a:gd name="T114" fmla="*/ 40 w 1044"/>
              <a:gd name="T115" fmla="*/ 125 h 1542"/>
              <a:gd name="T116" fmla="*/ 38 w 1044"/>
              <a:gd name="T117" fmla="*/ 128 h 1542"/>
              <a:gd name="T118" fmla="*/ 25 w 1044"/>
              <a:gd name="T119" fmla="*/ 117 h 1542"/>
              <a:gd name="T120" fmla="*/ 27 w 1044"/>
              <a:gd name="T121" fmla="*/ 127 h 1542"/>
              <a:gd name="T122" fmla="*/ 24 w 1044"/>
              <a:gd name="T123" fmla="*/ 113 h 154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044"/>
              <a:gd name="T187" fmla="*/ 0 h 1542"/>
              <a:gd name="T188" fmla="*/ 1044 w 1044"/>
              <a:gd name="T189" fmla="*/ 1542 h 1542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044" h="1542">
                <a:moveTo>
                  <a:pt x="234" y="1278"/>
                </a:moveTo>
                <a:lnTo>
                  <a:pt x="228" y="1272"/>
                </a:lnTo>
                <a:lnTo>
                  <a:pt x="222" y="1266"/>
                </a:lnTo>
                <a:lnTo>
                  <a:pt x="222" y="1260"/>
                </a:lnTo>
                <a:lnTo>
                  <a:pt x="204" y="1248"/>
                </a:lnTo>
                <a:lnTo>
                  <a:pt x="192" y="1248"/>
                </a:lnTo>
                <a:lnTo>
                  <a:pt x="186" y="1236"/>
                </a:lnTo>
                <a:lnTo>
                  <a:pt x="174" y="1218"/>
                </a:lnTo>
                <a:lnTo>
                  <a:pt x="162" y="1194"/>
                </a:lnTo>
                <a:lnTo>
                  <a:pt x="156" y="1182"/>
                </a:lnTo>
                <a:lnTo>
                  <a:pt x="162" y="1146"/>
                </a:lnTo>
                <a:lnTo>
                  <a:pt x="156" y="1134"/>
                </a:lnTo>
                <a:lnTo>
                  <a:pt x="138" y="1122"/>
                </a:lnTo>
                <a:lnTo>
                  <a:pt x="132" y="1116"/>
                </a:lnTo>
                <a:lnTo>
                  <a:pt x="138" y="1098"/>
                </a:lnTo>
                <a:lnTo>
                  <a:pt x="138" y="1092"/>
                </a:lnTo>
                <a:lnTo>
                  <a:pt x="138" y="1086"/>
                </a:lnTo>
                <a:lnTo>
                  <a:pt x="132" y="1074"/>
                </a:lnTo>
                <a:lnTo>
                  <a:pt x="126" y="1074"/>
                </a:lnTo>
                <a:lnTo>
                  <a:pt x="126" y="1068"/>
                </a:lnTo>
                <a:lnTo>
                  <a:pt x="120" y="1062"/>
                </a:lnTo>
                <a:lnTo>
                  <a:pt x="120" y="1056"/>
                </a:lnTo>
                <a:lnTo>
                  <a:pt x="114" y="1050"/>
                </a:lnTo>
                <a:lnTo>
                  <a:pt x="108" y="1050"/>
                </a:lnTo>
                <a:lnTo>
                  <a:pt x="102" y="1056"/>
                </a:lnTo>
                <a:lnTo>
                  <a:pt x="102" y="1062"/>
                </a:lnTo>
                <a:lnTo>
                  <a:pt x="96" y="1062"/>
                </a:lnTo>
                <a:lnTo>
                  <a:pt x="96" y="1068"/>
                </a:lnTo>
                <a:lnTo>
                  <a:pt x="96" y="1074"/>
                </a:lnTo>
                <a:lnTo>
                  <a:pt x="90" y="1074"/>
                </a:lnTo>
                <a:lnTo>
                  <a:pt x="84" y="1080"/>
                </a:lnTo>
                <a:lnTo>
                  <a:pt x="78" y="1074"/>
                </a:lnTo>
                <a:lnTo>
                  <a:pt x="72" y="1074"/>
                </a:lnTo>
                <a:lnTo>
                  <a:pt x="72" y="1068"/>
                </a:lnTo>
                <a:lnTo>
                  <a:pt x="72" y="1062"/>
                </a:lnTo>
                <a:lnTo>
                  <a:pt x="60" y="1056"/>
                </a:lnTo>
                <a:lnTo>
                  <a:pt x="60" y="1044"/>
                </a:lnTo>
                <a:lnTo>
                  <a:pt x="60" y="1032"/>
                </a:lnTo>
                <a:lnTo>
                  <a:pt x="60" y="1026"/>
                </a:lnTo>
                <a:lnTo>
                  <a:pt x="54" y="1026"/>
                </a:lnTo>
                <a:lnTo>
                  <a:pt x="48" y="1014"/>
                </a:lnTo>
                <a:lnTo>
                  <a:pt x="42" y="1008"/>
                </a:lnTo>
                <a:lnTo>
                  <a:pt x="30" y="1008"/>
                </a:lnTo>
                <a:lnTo>
                  <a:pt x="30" y="1002"/>
                </a:lnTo>
                <a:lnTo>
                  <a:pt x="24" y="1008"/>
                </a:lnTo>
                <a:lnTo>
                  <a:pt x="12" y="1008"/>
                </a:lnTo>
                <a:lnTo>
                  <a:pt x="6" y="1008"/>
                </a:lnTo>
                <a:lnTo>
                  <a:pt x="0" y="1008"/>
                </a:lnTo>
                <a:lnTo>
                  <a:pt x="0" y="1002"/>
                </a:lnTo>
                <a:lnTo>
                  <a:pt x="6" y="990"/>
                </a:lnTo>
                <a:lnTo>
                  <a:pt x="6" y="984"/>
                </a:lnTo>
                <a:lnTo>
                  <a:pt x="0" y="978"/>
                </a:lnTo>
                <a:lnTo>
                  <a:pt x="6" y="972"/>
                </a:lnTo>
                <a:lnTo>
                  <a:pt x="12" y="972"/>
                </a:lnTo>
                <a:lnTo>
                  <a:pt x="72" y="978"/>
                </a:lnTo>
                <a:lnTo>
                  <a:pt x="78" y="972"/>
                </a:lnTo>
                <a:lnTo>
                  <a:pt x="72" y="960"/>
                </a:lnTo>
                <a:lnTo>
                  <a:pt x="66" y="960"/>
                </a:lnTo>
                <a:lnTo>
                  <a:pt x="60" y="930"/>
                </a:lnTo>
                <a:lnTo>
                  <a:pt x="54" y="912"/>
                </a:lnTo>
                <a:lnTo>
                  <a:pt x="42" y="906"/>
                </a:lnTo>
                <a:lnTo>
                  <a:pt x="36" y="894"/>
                </a:lnTo>
                <a:lnTo>
                  <a:pt x="30" y="876"/>
                </a:lnTo>
                <a:lnTo>
                  <a:pt x="30" y="858"/>
                </a:lnTo>
                <a:lnTo>
                  <a:pt x="30" y="840"/>
                </a:lnTo>
                <a:lnTo>
                  <a:pt x="36" y="816"/>
                </a:lnTo>
                <a:lnTo>
                  <a:pt x="36" y="792"/>
                </a:lnTo>
                <a:lnTo>
                  <a:pt x="36" y="780"/>
                </a:lnTo>
                <a:lnTo>
                  <a:pt x="12" y="774"/>
                </a:lnTo>
                <a:lnTo>
                  <a:pt x="24" y="756"/>
                </a:lnTo>
                <a:lnTo>
                  <a:pt x="24" y="744"/>
                </a:lnTo>
                <a:lnTo>
                  <a:pt x="30" y="738"/>
                </a:lnTo>
                <a:lnTo>
                  <a:pt x="30" y="732"/>
                </a:lnTo>
                <a:lnTo>
                  <a:pt x="36" y="720"/>
                </a:lnTo>
                <a:lnTo>
                  <a:pt x="42" y="714"/>
                </a:lnTo>
                <a:lnTo>
                  <a:pt x="54" y="708"/>
                </a:lnTo>
                <a:lnTo>
                  <a:pt x="60" y="702"/>
                </a:lnTo>
                <a:lnTo>
                  <a:pt x="48" y="690"/>
                </a:lnTo>
                <a:lnTo>
                  <a:pt x="48" y="684"/>
                </a:lnTo>
                <a:lnTo>
                  <a:pt x="48" y="678"/>
                </a:lnTo>
                <a:lnTo>
                  <a:pt x="48" y="672"/>
                </a:lnTo>
                <a:lnTo>
                  <a:pt x="54" y="672"/>
                </a:lnTo>
                <a:lnTo>
                  <a:pt x="60" y="672"/>
                </a:lnTo>
                <a:lnTo>
                  <a:pt x="66" y="666"/>
                </a:lnTo>
                <a:lnTo>
                  <a:pt x="72" y="654"/>
                </a:lnTo>
                <a:lnTo>
                  <a:pt x="72" y="648"/>
                </a:lnTo>
                <a:lnTo>
                  <a:pt x="84" y="642"/>
                </a:lnTo>
                <a:lnTo>
                  <a:pt x="84" y="636"/>
                </a:lnTo>
                <a:lnTo>
                  <a:pt x="84" y="630"/>
                </a:lnTo>
                <a:lnTo>
                  <a:pt x="90" y="630"/>
                </a:lnTo>
                <a:lnTo>
                  <a:pt x="96" y="630"/>
                </a:lnTo>
                <a:lnTo>
                  <a:pt x="96" y="624"/>
                </a:lnTo>
                <a:lnTo>
                  <a:pt x="90" y="624"/>
                </a:lnTo>
                <a:lnTo>
                  <a:pt x="84" y="612"/>
                </a:lnTo>
                <a:lnTo>
                  <a:pt x="78" y="606"/>
                </a:lnTo>
                <a:lnTo>
                  <a:pt x="78" y="600"/>
                </a:lnTo>
                <a:lnTo>
                  <a:pt x="84" y="600"/>
                </a:lnTo>
                <a:lnTo>
                  <a:pt x="90" y="600"/>
                </a:lnTo>
                <a:lnTo>
                  <a:pt x="84" y="600"/>
                </a:lnTo>
                <a:lnTo>
                  <a:pt x="78" y="594"/>
                </a:lnTo>
                <a:lnTo>
                  <a:pt x="78" y="582"/>
                </a:lnTo>
                <a:lnTo>
                  <a:pt x="78" y="576"/>
                </a:lnTo>
                <a:lnTo>
                  <a:pt x="126" y="564"/>
                </a:lnTo>
                <a:lnTo>
                  <a:pt x="144" y="564"/>
                </a:lnTo>
                <a:lnTo>
                  <a:pt x="156" y="582"/>
                </a:lnTo>
                <a:lnTo>
                  <a:pt x="162" y="600"/>
                </a:lnTo>
                <a:lnTo>
                  <a:pt x="180" y="588"/>
                </a:lnTo>
                <a:lnTo>
                  <a:pt x="192" y="588"/>
                </a:lnTo>
                <a:lnTo>
                  <a:pt x="198" y="588"/>
                </a:lnTo>
                <a:lnTo>
                  <a:pt x="210" y="582"/>
                </a:lnTo>
                <a:lnTo>
                  <a:pt x="216" y="576"/>
                </a:lnTo>
                <a:lnTo>
                  <a:pt x="222" y="570"/>
                </a:lnTo>
                <a:lnTo>
                  <a:pt x="222" y="564"/>
                </a:lnTo>
                <a:lnTo>
                  <a:pt x="228" y="558"/>
                </a:lnTo>
                <a:lnTo>
                  <a:pt x="234" y="558"/>
                </a:lnTo>
                <a:lnTo>
                  <a:pt x="240" y="558"/>
                </a:lnTo>
                <a:lnTo>
                  <a:pt x="246" y="558"/>
                </a:lnTo>
                <a:lnTo>
                  <a:pt x="252" y="558"/>
                </a:lnTo>
                <a:lnTo>
                  <a:pt x="252" y="564"/>
                </a:lnTo>
                <a:lnTo>
                  <a:pt x="258" y="570"/>
                </a:lnTo>
                <a:lnTo>
                  <a:pt x="264" y="570"/>
                </a:lnTo>
                <a:lnTo>
                  <a:pt x="270" y="564"/>
                </a:lnTo>
                <a:lnTo>
                  <a:pt x="276" y="558"/>
                </a:lnTo>
                <a:lnTo>
                  <a:pt x="276" y="552"/>
                </a:lnTo>
                <a:lnTo>
                  <a:pt x="276" y="546"/>
                </a:lnTo>
                <a:lnTo>
                  <a:pt x="276" y="540"/>
                </a:lnTo>
                <a:lnTo>
                  <a:pt x="276" y="534"/>
                </a:lnTo>
                <a:lnTo>
                  <a:pt x="276" y="528"/>
                </a:lnTo>
                <a:lnTo>
                  <a:pt x="282" y="528"/>
                </a:lnTo>
                <a:lnTo>
                  <a:pt x="282" y="522"/>
                </a:lnTo>
                <a:lnTo>
                  <a:pt x="282" y="516"/>
                </a:lnTo>
                <a:lnTo>
                  <a:pt x="282" y="510"/>
                </a:lnTo>
                <a:lnTo>
                  <a:pt x="282" y="504"/>
                </a:lnTo>
                <a:lnTo>
                  <a:pt x="282" y="492"/>
                </a:lnTo>
                <a:lnTo>
                  <a:pt x="288" y="486"/>
                </a:lnTo>
                <a:lnTo>
                  <a:pt x="300" y="480"/>
                </a:lnTo>
                <a:lnTo>
                  <a:pt x="306" y="462"/>
                </a:lnTo>
                <a:lnTo>
                  <a:pt x="318" y="444"/>
                </a:lnTo>
                <a:lnTo>
                  <a:pt x="330" y="444"/>
                </a:lnTo>
                <a:lnTo>
                  <a:pt x="330" y="432"/>
                </a:lnTo>
                <a:lnTo>
                  <a:pt x="342" y="432"/>
                </a:lnTo>
                <a:lnTo>
                  <a:pt x="354" y="402"/>
                </a:lnTo>
                <a:lnTo>
                  <a:pt x="348" y="390"/>
                </a:lnTo>
                <a:lnTo>
                  <a:pt x="336" y="384"/>
                </a:lnTo>
                <a:lnTo>
                  <a:pt x="336" y="360"/>
                </a:lnTo>
                <a:lnTo>
                  <a:pt x="336" y="354"/>
                </a:lnTo>
                <a:lnTo>
                  <a:pt x="336" y="342"/>
                </a:lnTo>
                <a:lnTo>
                  <a:pt x="342" y="336"/>
                </a:lnTo>
                <a:lnTo>
                  <a:pt x="342" y="324"/>
                </a:lnTo>
                <a:lnTo>
                  <a:pt x="372" y="324"/>
                </a:lnTo>
                <a:lnTo>
                  <a:pt x="378" y="324"/>
                </a:lnTo>
                <a:lnTo>
                  <a:pt x="378" y="318"/>
                </a:lnTo>
                <a:lnTo>
                  <a:pt x="372" y="312"/>
                </a:lnTo>
                <a:lnTo>
                  <a:pt x="378" y="312"/>
                </a:lnTo>
                <a:lnTo>
                  <a:pt x="384" y="312"/>
                </a:lnTo>
                <a:lnTo>
                  <a:pt x="384" y="306"/>
                </a:lnTo>
                <a:lnTo>
                  <a:pt x="384" y="300"/>
                </a:lnTo>
                <a:lnTo>
                  <a:pt x="384" y="294"/>
                </a:lnTo>
                <a:lnTo>
                  <a:pt x="378" y="294"/>
                </a:lnTo>
                <a:lnTo>
                  <a:pt x="372" y="294"/>
                </a:lnTo>
                <a:lnTo>
                  <a:pt x="366" y="294"/>
                </a:lnTo>
                <a:lnTo>
                  <a:pt x="366" y="288"/>
                </a:lnTo>
                <a:lnTo>
                  <a:pt x="372" y="288"/>
                </a:lnTo>
                <a:lnTo>
                  <a:pt x="372" y="282"/>
                </a:lnTo>
                <a:lnTo>
                  <a:pt x="366" y="276"/>
                </a:lnTo>
                <a:lnTo>
                  <a:pt x="360" y="270"/>
                </a:lnTo>
                <a:lnTo>
                  <a:pt x="360" y="264"/>
                </a:lnTo>
                <a:lnTo>
                  <a:pt x="354" y="264"/>
                </a:lnTo>
                <a:lnTo>
                  <a:pt x="348" y="258"/>
                </a:lnTo>
                <a:lnTo>
                  <a:pt x="354" y="258"/>
                </a:lnTo>
                <a:lnTo>
                  <a:pt x="354" y="252"/>
                </a:lnTo>
                <a:lnTo>
                  <a:pt x="360" y="246"/>
                </a:lnTo>
                <a:lnTo>
                  <a:pt x="360" y="240"/>
                </a:lnTo>
                <a:lnTo>
                  <a:pt x="354" y="240"/>
                </a:lnTo>
                <a:lnTo>
                  <a:pt x="342" y="234"/>
                </a:lnTo>
                <a:lnTo>
                  <a:pt x="342" y="228"/>
                </a:lnTo>
                <a:lnTo>
                  <a:pt x="348" y="228"/>
                </a:lnTo>
                <a:lnTo>
                  <a:pt x="342" y="228"/>
                </a:lnTo>
                <a:lnTo>
                  <a:pt x="342" y="222"/>
                </a:lnTo>
                <a:lnTo>
                  <a:pt x="342" y="216"/>
                </a:lnTo>
                <a:lnTo>
                  <a:pt x="336" y="216"/>
                </a:lnTo>
                <a:lnTo>
                  <a:pt x="330" y="222"/>
                </a:lnTo>
                <a:lnTo>
                  <a:pt x="330" y="216"/>
                </a:lnTo>
                <a:lnTo>
                  <a:pt x="330" y="210"/>
                </a:lnTo>
                <a:lnTo>
                  <a:pt x="324" y="210"/>
                </a:lnTo>
                <a:lnTo>
                  <a:pt x="318" y="210"/>
                </a:lnTo>
                <a:lnTo>
                  <a:pt x="318" y="204"/>
                </a:lnTo>
                <a:lnTo>
                  <a:pt x="312" y="204"/>
                </a:lnTo>
                <a:lnTo>
                  <a:pt x="306" y="198"/>
                </a:lnTo>
                <a:lnTo>
                  <a:pt x="306" y="192"/>
                </a:lnTo>
                <a:lnTo>
                  <a:pt x="300" y="192"/>
                </a:lnTo>
                <a:lnTo>
                  <a:pt x="300" y="198"/>
                </a:lnTo>
                <a:lnTo>
                  <a:pt x="294" y="192"/>
                </a:lnTo>
                <a:lnTo>
                  <a:pt x="300" y="186"/>
                </a:lnTo>
                <a:lnTo>
                  <a:pt x="294" y="186"/>
                </a:lnTo>
                <a:lnTo>
                  <a:pt x="294" y="180"/>
                </a:lnTo>
                <a:lnTo>
                  <a:pt x="294" y="174"/>
                </a:lnTo>
                <a:lnTo>
                  <a:pt x="300" y="174"/>
                </a:lnTo>
                <a:lnTo>
                  <a:pt x="300" y="168"/>
                </a:lnTo>
                <a:lnTo>
                  <a:pt x="300" y="162"/>
                </a:lnTo>
                <a:lnTo>
                  <a:pt x="294" y="162"/>
                </a:lnTo>
                <a:lnTo>
                  <a:pt x="288" y="162"/>
                </a:lnTo>
                <a:lnTo>
                  <a:pt x="288" y="156"/>
                </a:lnTo>
                <a:lnTo>
                  <a:pt x="288" y="150"/>
                </a:lnTo>
                <a:lnTo>
                  <a:pt x="288" y="144"/>
                </a:lnTo>
                <a:lnTo>
                  <a:pt x="282" y="144"/>
                </a:lnTo>
                <a:lnTo>
                  <a:pt x="282" y="138"/>
                </a:lnTo>
                <a:lnTo>
                  <a:pt x="312" y="132"/>
                </a:lnTo>
                <a:lnTo>
                  <a:pt x="324" y="120"/>
                </a:lnTo>
                <a:lnTo>
                  <a:pt x="330" y="114"/>
                </a:lnTo>
                <a:lnTo>
                  <a:pt x="336" y="102"/>
                </a:lnTo>
                <a:lnTo>
                  <a:pt x="348" y="90"/>
                </a:lnTo>
                <a:lnTo>
                  <a:pt x="360" y="84"/>
                </a:lnTo>
                <a:lnTo>
                  <a:pt x="372" y="84"/>
                </a:lnTo>
                <a:lnTo>
                  <a:pt x="378" y="84"/>
                </a:lnTo>
                <a:lnTo>
                  <a:pt x="384" y="90"/>
                </a:lnTo>
                <a:lnTo>
                  <a:pt x="402" y="90"/>
                </a:lnTo>
                <a:lnTo>
                  <a:pt x="438" y="84"/>
                </a:lnTo>
                <a:lnTo>
                  <a:pt x="456" y="84"/>
                </a:lnTo>
                <a:lnTo>
                  <a:pt x="462" y="78"/>
                </a:lnTo>
                <a:lnTo>
                  <a:pt x="486" y="72"/>
                </a:lnTo>
                <a:lnTo>
                  <a:pt x="492" y="66"/>
                </a:lnTo>
                <a:lnTo>
                  <a:pt x="498" y="60"/>
                </a:lnTo>
                <a:lnTo>
                  <a:pt x="504" y="60"/>
                </a:lnTo>
                <a:lnTo>
                  <a:pt x="504" y="54"/>
                </a:lnTo>
                <a:lnTo>
                  <a:pt x="510" y="42"/>
                </a:lnTo>
                <a:lnTo>
                  <a:pt x="504" y="42"/>
                </a:lnTo>
                <a:lnTo>
                  <a:pt x="504" y="36"/>
                </a:lnTo>
                <a:lnTo>
                  <a:pt x="504" y="30"/>
                </a:lnTo>
                <a:lnTo>
                  <a:pt x="498" y="30"/>
                </a:lnTo>
                <a:lnTo>
                  <a:pt x="492" y="30"/>
                </a:lnTo>
                <a:lnTo>
                  <a:pt x="492" y="24"/>
                </a:lnTo>
                <a:lnTo>
                  <a:pt x="486" y="18"/>
                </a:lnTo>
                <a:lnTo>
                  <a:pt x="498" y="18"/>
                </a:lnTo>
                <a:lnTo>
                  <a:pt x="510" y="18"/>
                </a:lnTo>
                <a:lnTo>
                  <a:pt x="522" y="12"/>
                </a:lnTo>
                <a:lnTo>
                  <a:pt x="528" y="6"/>
                </a:lnTo>
                <a:lnTo>
                  <a:pt x="570" y="0"/>
                </a:lnTo>
                <a:lnTo>
                  <a:pt x="606" y="6"/>
                </a:lnTo>
                <a:lnTo>
                  <a:pt x="654" y="24"/>
                </a:lnTo>
                <a:lnTo>
                  <a:pt x="666" y="36"/>
                </a:lnTo>
                <a:lnTo>
                  <a:pt x="672" y="30"/>
                </a:lnTo>
                <a:lnTo>
                  <a:pt x="690" y="42"/>
                </a:lnTo>
                <a:lnTo>
                  <a:pt x="702" y="48"/>
                </a:lnTo>
                <a:lnTo>
                  <a:pt x="714" y="60"/>
                </a:lnTo>
                <a:lnTo>
                  <a:pt x="714" y="66"/>
                </a:lnTo>
                <a:lnTo>
                  <a:pt x="720" y="72"/>
                </a:lnTo>
                <a:lnTo>
                  <a:pt x="720" y="78"/>
                </a:lnTo>
                <a:lnTo>
                  <a:pt x="720" y="102"/>
                </a:lnTo>
                <a:lnTo>
                  <a:pt x="720" y="108"/>
                </a:lnTo>
                <a:lnTo>
                  <a:pt x="714" y="108"/>
                </a:lnTo>
                <a:lnTo>
                  <a:pt x="714" y="126"/>
                </a:lnTo>
                <a:lnTo>
                  <a:pt x="732" y="126"/>
                </a:lnTo>
                <a:lnTo>
                  <a:pt x="726" y="132"/>
                </a:lnTo>
                <a:lnTo>
                  <a:pt x="738" y="132"/>
                </a:lnTo>
                <a:lnTo>
                  <a:pt x="738" y="138"/>
                </a:lnTo>
                <a:lnTo>
                  <a:pt x="738" y="144"/>
                </a:lnTo>
                <a:lnTo>
                  <a:pt x="744" y="144"/>
                </a:lnTo>
                <a:lnTo>
                  <a:pt x="744" y="150"/>
                </a:lnTo>
                <a:lnTo>
                  <a:pt x="756" y="156"/>
                </a:lnTo>
                <a:lnTo>
                  <a:pt x="768" y="156"/>
                </a:lnTo>
                <a:lnTo>
                  <a:pt x="780" y="156"/>
                </a:lnTo>
                <a:lnTo>
                  <a:pt x="792" y="150"/>
                </a:lnTo>
                <a:lnTo>
                  <a:pt x="786" y="150"/>
                </a:lnTo>
                <a:lnTo>
                  <a:pt x="786" y="144"/>
                </a:lnTo>
                <a:lnTo>
                  <a:pt x="804" y="144"/>
                </a:lnTo>
                <a:lnTo>
                  <a:pt x="816" y="132"/>
                </a:lnTo>
                <a:lnTo>
                  <a:pt x="822" y="126"/>
                </a:lnTo>
                <a:lnTo>
                  <a:pt x="828" y="132"/>
                </a:lnTo>
                <a:lnTo>
                  <a:pt x="834" y="126"/>
                </a:lnTo>
                <a:lnTo>
                  <a:pt x="834" y="120"/>
                </a:lnTo>
                <a:lnTo>
                  <a:pt x="924" y="108"/>
                </a:lnTo>
                <a:lnTo>
                  <a:pt x="942" y="144"/>
                </a:lnTo>
                <a:lnTo>
                  <a:pt x="948" y="144"/>
                </a:lnTo>
                <a:lnTo>
                  <a:pt x="960" y="168"/>
                </a:lnTo>
                <a:lnTo>
                  <a:pt x="972" y="186"/>
                </a:lnTo>
                <a:lnTo>
                  <a:pt x="984" y="192"/>
                </a:lnTo>
                <a:lnTo>
                  <a:pt x="996" y="192"/>
                </a:lnTo>
                <a:lnTo>
                  <a:pt x="996" y="198"/>
                </a:lnTo>
                <a:lnTo>
                  <a:pt x="1008" y="204"/>
                </a:lnTo>
                <a:lnTo>
                  <a:pt x="1008" y="210"/>
                </a:lnTo>
                <a:lnTo>
                  <a:pt x="1002" y="210"/>
                </a:lnTo>
                <a:lnTo>
                  <a:pt x="1008" y="216"/>
                </a:lnTo>
                <a:lnTo>
                  <a:pt x="1014" y="210"/>
                </a:lnTo>
                <a:lnTo>
                  <a:pt x="1014" y="216"/>
                </a:lnTo>
                <a:lnTo>
                  <a:pt x="1020" y="222"/>
                </a:lnTo>
                <a:lnTo>
                  <a:pt x="1014" y="228"/>
                </a:lnTo>
                <a:lnTo>
                  <a:pt x="1032" y="234"/>
                </a:lnTo>
                <a:lnTo>
                  <a:pt x="1044" y="240"/>
                </a:lnTo>
                <a:lnTo>
                  <a:pt x="1038" y="246"/>
                </a:lnTo>
                <a:lnTo>
                  <a:pt x="1038" y="252"/>
                </a:lnTo>
                <a:lnTo>
                  <a:pt x="1038" y="258"/>
                </a:lnTo>
                <a:lnTo>
                  <a:pt x="1032" y="264"/>
                </a:lnTo>
                <a:lnTo>
                  <a:pt x="1032" y="270"/>
                </a:lnTo>
                <a:lnTo>
                  <a:pt x="1032" y="276"/>
                </a:lnTo>
                <a:lnTo>
                  <a:pt x="1032" y="282"/>
                </a:lnTo>
                <a:lnTo>
                  <a:pt x="1026" y="282"/>
                </a:lnTo>
                <a:lnTo>
                  <a:pt x="1026" y="288"/>
                </a:lnTo>
                <a:lnTo>
                  <a:pt x="1026" y="294"/>
                </a:lnTo>
                <a:lnTo>
                  <a:pt x="1026" y="300"/>
                </a:lnTo>
                <a:lnTo>
                  <a:pt x="1026" y="306"/>
                </a:lnTo>
                <a:lnTo>
                  <a:pt x="1020" y="318"/>
                </a:lnTo>
                <a:lnTo>
                  <a:pt x="1020" y="324"/>
                </a:lnTo>
                <a:lnTo>
                  <a:pt x="1014" y="324"/>
                </a:lnTo>
                <a:lnTo>
                  <a:pt x="1014" y="330"/>
                </a:lnTo>
                <a:lnTo>
                  <a:pt x="1014" y="336"/>
                </a:lnTo>
                <a:lnTo>
                  <a:pt x="1008" y="366"/>
                </a:lnTo>
                <a:lnTo>
                  <a:pt x="1002" y="366"/>
                </a:lnTo>
                <a:lnTo>
                  <a:pt x="984" y="354"/>
                </a:lnTo>
                <a:lnTo>
                  <a:pt x="978" y="354"/>
                </a:lnTo>
                <a:lnTo>
                  <a:pt x="972" y="354"/>
                </a:lnTo>
                <a:lnTo>
                  <a:pt x="966" y="348"/>
                </a:lnTo>
                <a:lnTo>
                  <a:pt x="954" y="348"/>
                </a:lnTo>
                <a:lnTo>
                  <a:pt x="948" y="348"/>
                </a:lnTo>
                <a:lnTo>
                  <a:pt x="948" y="360"/>
                </a:lnTo>
                <a:lnTo>
                  <a:pt x="948" y="366"/>
                </a:lnTo>
                <a:lnTo>
                  <a:pt x="948" y="372"/>
                </a:lnTo>
                <a:lnTo>
                  <a:pt x="948" y="378"/>
                </a:lnTo>
                <a:lnTo>
                  <a:pt x="948" y="384"/>
                </a:lnTo>
                <a:lnTo>
                  <a:pt x="942" y="384"/>
                </a:lnTo>
                <a:lnTo>
                  <a:pt x="942" y="390"/>
                </a:lnTo>
                <a:lnTo>
                  <a:pt x="936" y="390"/>
                </a:lnTo>
                <a:lnTo>
                  <a:pt x="942" y="390"/>
                </a:lnTo>
                <a:lnTo>
                  <a:pt x="936" y="396"/>
                </a:lnTo>
                <a:lnTo>
                  <a:pt x="930" y="402"/>
                </a:lnTo>
                <a:lnTo>
                  <a:pt x="918" y="420"/>
                </a:lnTo>
                <a:lnTo>
                  <a:pt x="918" y="426"/>
                </a:lnTo>
                <a:lnTo>
                  <a:pt x="912" y="432"/>
                </a:lnTo>
                <a:lnTo>
                  <a:pt x="900" y="450"/>
                </a:lnTo>
                <a:lnTo>
                  <a:pt x="894" y="456"/>
                </a:lnTo>
                <a:lnTo>
                  <a:pt x="888" y="456"/>
                </a:lnTo>
                <a:lnTo>
                  <a:pt x="882" y="456"/>
                </a:lnTo>
                <a:lnTo>
                  <a:pt x="876" y="456"/>
                </a:lnTo>
                <a:lnTo>
                  <a:pt x="864" y="462"/>
                </a:lnTo>
                <a:lnTo>
                  <a:pt x="852" y="474"/>
                </a:lnTo>
                <a:lnTo>
                  <a:pt x="846" y="480"/>
                </a:lnTo>
                <a:lnTo>
                  <a:pt x="840" y="486"/>
                </a:lnTo>
                <a:lnTo>
                  <a:pt x="834" y="498"/>
                </a:lnTo>
                <a:lnTo>
                  <a:pt x="828" y="510"/>
                </a:lnTo>
                <a:lnTo>
                  <a:pt x="816" y="522"/>
                </a:lnTo>
                <a:lnTo>
                  <a:pt x="798" y="540"/>
                </a:lnTo>
                <a:lnTo>
                  <a:pt x="780" y="558"/>
                </a:lnTo>
                <a:lnTo>
                  <a:pt x="774" y="558"/>
                </a:lnTo>
                <a:lnTo>
                  <a:pt x="756" y="576"/>
                </a:lnTo>
                <a:lnTo>
                  <a:pt x="732" y="600"/>
                </a:lnTo>
                <a:lnTo>
                  <a:pt x="726" y="600"/>
                </a:lnTo>
                <a:lnTo>
                  <a:pt x="720" y="606"/>
                </a:lnTo>
                <a:lnTo>
                  <a:pt x="714" y="612"/>
                </a:lnTo>
                <a:lnTo>
                  <a:pt x="690" y="630"/>
                </a:lnTo>
                <a:lnTo>
                  <a:pt x="678" y="636"/>
                </a:lnTo>
                <a:lnTo>
                  <a:pt x="672" y="642"/>
                </a:lnTo>
                <a:lnTo>
                  <a:pt x="660" y="660"/>
                </a:lnTo>
                <a:lnTo>
                  <a:pt x="642" y="666"/>
                </a:lnTo>
                <a:lnTo>
                  <a:pt x="636" y="678"/>
                </a:lnTo>
                <a:lnTo>
                  <a:pt x="630" y="678"/>
                </a:lnTo>
                <a:lnTo>
                  <a:pt x="630" y="684"/>
                </a:lnTo>
                <a:lnTo>
                  <a:pt x="630" y="690"/>
                </a:lnTo>
                <a:lnTo>
                  <a:pt x="636" y="696"/>
                </a:lnTo>
                <a:lnTo>
                  <a:pt x="642" y="696"/>
                </a:lnTo>
                <a:lnTo>
                  <a:pt x="648" y="702"/>
                </a:lnTo>
                <a:lnTo>
                  <a:pt x="648" y="708"/>
                </a:lnTo>
                <a:lnTo>
                  <a:pt x="642" y="708"/>
                </a:lnTo>
                <a:lnTo>
                  <a:pt x="636" y="714"/>
                </a:lnTo>
                <a:lnTo>
                  <a:pt x="636" y="720"/>
                </a:lnTo>
                <a:lnTo>
                  <a:pt x="642" y="726"/>
                </a:lnTo>
                <a:lnTo>
                  <a:pt x="636" y="738"/>
                </a:lnTo>
                <a:lnTo>
                  <a:pt x="618" y="756"/>
                </a:lnTo>
                <a:lnTo>
                  <a:pt x="612" y="750"/>
                </a:lnTo>
                <a:lnTo>
                  <a:pt x="612" y="756"/>
                </a:lnTo>
                <a:lnTo>
                  <a:pt x="618" y="762"/>
                </a:lnTo>
                <a:lnTo>
                  <a:pt x="618" y="768"/>
                </a:lnTo>
                <a:lnTo>
                  <a:pt x="624" y="774"/>
                </a:lnTo>
                <a:lnTo>
                  <a:pt x="624" y="780"/>
                </a:lnTo>
                <a:lnTo>
                  <a:pt x="636" y="786"/>
                </a:lnTo>
                <a:lnTo>
                  <a:pt x="642" y="792"/>
                </a:lnTo>
                <a:lnTo>
                  <a:pt x="642" y="798"/>
                </a:lnTo>
                <a:lnTo>
                  <a:pt x="648" y="804"/>
                </a:lnTo>
                <a:lnTo>
                  <a:pt x="654" y="810"/>
                </a:lnTo>
                <a:lnTo>
                  <a:pt x="660" y="816"/>
                </a:lnTo>
                <a:lnTo>
                  <a:pt x="666" y="816"/>
                </a:lnTo>
                <a:lnTo>
                  <a:pt x="666" y="822"/>
                </a:lnTo>
                <a:lnTo>
                  <a:pt x="672" y="828"/>
                </a:lnTo>
                <a:lnTo>
                  <a:pt x="672" y="840"/>
                </a:lnTo>
                <a:lnTo>
                  <a:pt x="672" y="846"/>
                </a:lnTo>
                <a:lnTo>
                  <a:pt x="666" y="852"/>
                </a:lnTo>
                <a:lnTo>
                  <a:pt x="660" y="864"/>
                </a:lnTo>
                <a:lnTo>
                  <a:pt x="654" y="876"/>
                </a:lnTo>
                <a:lnTo>
                  <a:pt x="648" y="882"/>
                </a:lnTo>
                <a:lnTo>
                  <a:pt x="642" y="888"/>
                </a:lnTo>
                <a:lnTo>
                  <a:pt x="642" y="894"/>
                </a:lnTo>
                <a:lnTo>
                  <a:pt x="642" y="906"/>
                </a:lnTo>
                <a:lnTo>
                  <a:pt x="630" y="918"/>
                </a:lnTo>
                <a:lnTo>
                  <a:pt x="630" y="924"/>
                </a:lnTo>
                <a:lnTo>
                  <a:pt x="624" y="930"/>
                </a:lnTo>
                <a:lnTo>
                  <a:pt x="630" y="936"/>
                </a:lnTo>
                <a:lnTo>
                  <a:pt x="630" y="942"/>
                </a:lnTo>
                <a:lnTo>
                  <a:pt x="630" y="948"/>
                </a:lnTo>
                <a:lnTo>
                  <a:pt x="630" y="954"/>
                </a:lnTo>
                <a:lnTo>
                  <a:pt x="630" y="960"/>
                </a:lnTo>
                <a:lnTo>
                  <a:pt x="624" y="966"/>
                </a:lnTo>
                <a:lnTo>
                  <a:pt x="618" y="990"/>
                </a:lnTo>
                <a:lnTo>
                  <a:pt x="618" y="1008"/>
                </a:lnTo>
                <a:lnTo>
                  <a:pt x="612" y="1026"/>
                </a:lnTo>
                <a:lnTo>
                  <a:pt x="612" y="1038"/>
                </a:lnTo>
                <a:lnTo>
                  <a:pt x="612" y="1050"/>
                </a:lnTo>
                <a:lnTo>
                  <a:pt x="612" y="1056"/>
                </a:lnTo>
                <a:lnTo>
                  <a:pt x="612" y="1062"/>
                </a:lnTo>
                <a:lnTo>
                  <a:pt x="612" y="1068"/>
                </a:lnTo>
                <a:lnTo>
                  <a:pt x="612" y="1086"/>
                </a:lnTo>
                <a:lnTo>
                  <a:pt x="612" y="1092"/>
                </a:lnTo>
                <a:lnTo>
                  <a:pt x="606" y="1098"/>
                </a:lnTo>
                <a:lnTo>
                  <a:pt x="600" y="1110"/>
                </a:lnTo>
                <a:lnTo>
                  <a:pt x="600" y="1116"/>
                </a:lnTo>
                <a:lnTo>
                  <a:pt x="594" y="1122"/>
                </a:lnTo>
                <a:lnTo>
                  <a:pt x="594" y="1128"/>
                </a:lnTo>
                <a:lnTo>
                  <a:pt x="588" y="1134"/>
                </a:lnTo>
                <a:lnTo>
                  <a:pt x="582" y="1140"/>
                </a:lnTo>
                <a:lnTo>
                  <a:pt x="570" y="1140"/>
                </a:lnTo>
                <a:lnTo>
                  <a:pt x="564" y="1146"/>
                </a:lnTo>
                <a:lnTo>
                  <a:pt x="570" y="1146"/>
                </a:lnTo>
                <a:lnTo>
                  <a:pt x="564" y="1152"/>
                </a:lnTo>
                <a:lnTo>
                  <a:pt x="558" y="1158"/>
                </a:lnTo>
                <a:lnTo>
                  <a:pt x="552" y="1164"/>
                </a:lnTo>
                <a:lnTo>
                  <a:pt x="552" y="1170"/>
                </a:lnTo>
                <a:lnTo>
                  <a:pt x="546" y="1176"/>
                </a:lnTo>
                <a:lnTo>
                  <a:pt x="546" y="1182"/>
                </a:lnTo>
                <a:lnTo>
                  <a:pt x="546" y="1188"/>
                </a:lnTo>
                <a:lnTo>
                  <a:pt x="540" y="1188"/>
                </a:lnTo>
                <a:lnTo>
                  <a:pt x="540" y="1194"/>
                </a:lnTo>
                <a:lnTo>
                  <a:pt x="528" y="1206"/>
                </a:lnTo>
                <a:lnTo>
                  <a:pt x="528" y="1212"/>
                </a:lnTo>
                <a:lnTo>
                  <a:pt x="534" y="1212"/>
                </a:lnTo>
                <a:lnTo>
                  <a:pt x="540" y="1218"/>
                </a:lnTo>
                <a:lnTo>
                  <a:pt x="534" y="1218"/>
                </a:lnTo>
                <a:lnTo>
                  <a:pt x="528" y="1218"/>
                </a:lnTo>
                <a:lnTo>
                  <a:pt x="528" y="1224"/>
                </a:lnTo>
                <a:lnTo>
                  <a:pt x="522" y="1230"/>
                </a:lnTo>
                <a:lnTo>
                  <a:pt x="516" y="1236"/>
                </a:lnTo>
                <a:lnTo>
                  <a:pt x="522" y="1236"/>
                </a:lnTo>
                <a:lnTo>
                  <a:pt x="516" y="1242"/>
                </a:lnTo>
                <a:lnTo>
                  <a:pt x="510" y="1242"/>
                </a:lnTo>
                <a:lnTo>
                  <a:pt x="504" y="1248"/>
                </a:lnTo>
                <a:lnTo>
                  <a:pt x="510" y="1260"/>
                </a:lnTo>
                <a:lnTo>
                  <a:pt x="504" y="1266"/>
                </a:lnTo>
                <a:lnTo>
                  <a:pt x="492" y="1266"/>
                </a:lnTo>
                <a:lnTo>
                  <a:pt x="486" y="1272"/>
                </a:lnTo>
                <a:lnTo>
                  <a:pt x="486" y="1278"/>
                </a:lnTo>
                <a:lnTo>
                  <a:pt x="480" y="1278"/>
                </a:lnTo>
                <a:lnTo>
                  <a:pt x="480" y="1284"/>
                </a:lnTo>
                <a:lnTo>
                  <a:pt x="480" y="1290"/>
                </a:lnTo>
                <a:lnTo>
                  <a:pt x="480" y="1296"/>
                </a:lnTo>
                <a:lnTo>
                  <a:pt x="492" y="1302"/>
                </a:lnTo>
                <a:lnTo>
                  <a:pt x="492" y="1308"/>
                </a:lnTo>
                <a:lnTo>
                  <a:pt x="492" y="1320"/>
                </a:lnTo>
                <a:lnTo>
                  <a:pt x="492" y="1332"/>
                </a:lnTo>
                <a:lnTo>
                  <a:pt x="498" y="1344"/>
                </a:lnTo>
                <a:lnTo>
                  <a:pt x="498" y="1350"/>
                </a:lnTo>
                <a:lnTo>
                  <a:pt x="498" y="1356"/>
                </a:lnTo>
                <a:lnTo>
                  <a:pt x="504" y="1362"/>
                </a:lnTo>
                <a:lnTo>
                  <a:pt x="498" y="1362"/>
                </a:lnTo>
                <a:lnTo>
                  <a:pt x="498" y="1368"/>
                </a:lnTo>
                <a:lnTo>
                  <a:pt x="492" y="1368"/>
                </a:lnTo>
                <a:lnTo>
                  <a:pt x="492" y="1374"/>
                </a:lnTo>
                <a:lnTo>
                  <a:pt x="492" y="1380"/>
                </a:lnTo>
                <a:lnTo>
                  <a:pt x="498" y="1380"/>
                </a:lnTo>
                <a:lnTo>
                  <a:pt x="504" y="1380"/>
                </a:lnTo>
                <a:lnTo>
                  <a:pt x="498" y="1386"/>
                </a:lnTo>
                <a:lnTo>
                  <a:pt x="498" y="1392"/>
                </a:lnTo>
                <a:lnTo>
                  <a:pt x="498" y="1398"/>
                </a:lnTo>
                <a:lnTo>
                  <a:pt x="498" y="1404"/>
                </a:lnTo>
                <a:lnTo>
                  <a:pt x="498" y="1410"/>
                </a:lnTo>
                <a:lnTo>
                  <a:pt x="498" y="1416"/>
                </a:lnTo>
                <a:lnTo>
                  <a:pt x="492" y="1416"/>
                </a:lnTo>
                <a:lnTo>
                  <a:pt x="498" y="1416"/>
                </a:lnTo>
                <a:lnTo>
                  <a:pt x="504" y="1416"/>
                </a:lnTo>
                <a:lnTo>
                  <a:pt x="504" y="1422"/>
                </a:lnTo>
                <a:lnTo>
                  <a:pt x="510" y="1428"/>
                </a:lnTo>
                <a:lnTo>
                  <a:pt x="510" y="1434"/>
                </a:lnTo>
                <a:lnTo>
                  <a:pt x="510" y="1440"/>
                </a:lnTo>
                <a:lnTo>
                  <a:pt x="516" y="1446"/>
                </a:lnTo>
                <a:lnTo>
                  <a:pt x="516" y="1452"/>
                </a:lnTo>
                <a:lnTo>
                  <a:pt x="516" y="1458"/>
                </a:lnTo>
                <a:lnTo>
                  <a:pt x="516" y="1464"/>
                </a:lnTo>
                <a:lnTo>
                  <a:pt x="516" y="1482"/>
                </a:lnTo>
                <a:lnTo>
                  <a:pt x="516" y="1488"/>
                </a:lnTo>
                <a:lnTo>
                  <a:pt x="522" y="1488"/>
                </a:lnTo>
                <a:lnTo>
                  <a:pt x="522" y="1494"/>
                </a:lnTo>
                <a:lnTo>
                  <a:pt x="522" y="1500"/>
                </a:lnTo>
                <a:lnTo>
                  <a:pt x="516" y="1506"/>
                </a:lnTo>
                <a:lnTo>
                  <a:pt x="510" y="1500"/>
                </a:lnTo>
                <a:lnTo>
                  <a:pt x="504" y="1500"/>
                </a:lnTo>
                <a:lnTo>
                  <a:pt x="504" y="1494"/>
                </a:lnTo>
                <a:lnTo>
                  <a:pt x="504" y="1488"/>
                </a:lnTo>
                <a:lnTo>
                  <a:pt x="504" y="1482"/>
                </a:lnTo>
                <a:lnTo>
                  <a:pt x="504" y="1488"/>
                </a:lnTo>
                <a:lnTo>
                  <a:pt x="504" y="1494"/>
                </a:lnTo>
                <a:lnTo>
                  <a:pt x="504" y="1500"/>
                </a:lnTo>
                <a:lnTo>
                  <a:pt x="498" y="1500"/>
                </a:lnTo>
                <a:lnTo>
                  <a:pt x="492" y="1500"/>
                </a:lnTo>
                <a:lnTo>
                  <a:pt x="492" y="1494"/>
                </a:lnTo>
                <a:lnTo>
                  <a:pt x="492" y="1488"/>
                </a:lnTo>
                <a:lnTo>
                  <a:pt x="492" y="1494"/>
                </a:lnTo>
                <a:lnTo>
                  <a:pt x="492" y="1500"/>
                </a:lnTo>
                <a:lnTo>
                  <a:pt x="498" y="1500"/>
                </a:lnTo>
                <a:lnTo>
                  <a:pt x="498" y="1506"/>
                </a:lnTo>
                <a:lnTo>
                  <a:pt x="504" y="1500"/>
                </a:lnTo>
                <a:lnTo>
                  <a:pt x="510" y="1500"/>
                </a:lnTo>
                <a:lnTo>
                  <a:pt x="510" y="1506"/>
                </a:lnTo>
                <a:lnTo>
                  <a:pt x="516" y="1506"/>
                </a:lnTo>
                <a:lnTo>
                  <a:pt x="510" y="1506"/>
                </a:lnTo>
                <a:lnTo>
                  <a:pt x="510" y="1512"/>
                </a:lnTo>
                <a:lnTo>
                  <a:pt x="516" y="1506"/>
                </a:lnTo>
                <a:lnTo>
                  <a:pt x="522" y="1506"/>
                </a:lnTo>
                <a:lnTo>
                  <a:pt x="528" y="1506"/>
                </a:lnTo>
                <a:lnTo>
                  <a:pt x="528" y="1500"/>
                </a:lnTo>
                <a:lnTo>
                  <a:pt x="534" y="1500"/>
                </a:lnTo>
                <a:lnTo>
                  <a:pt x="534" y="1506"/>
                </a:lnTo>
                <a:lnTo>
                  <a:pt x="540" y="1512"/>
                </a:lnTo>
                <a:lnTo>
                  <a:pt x="540" y="1518"/>
                </a:lnTo>
                <a:lnTo>
                  <a:pt x="546" y="1518"/>
                </a:lnTo>
                <a:lnTo>
                  <a:pt x="540" y="1518"/>
                </a:lnTo>
                <a:lnTo>
                  <a:pt x="540" y="1524"/>
                </a:lnTo>
                <a:lnTo>
                  <a:pt x="534" y="1524"/>
                </a:lnTo>
                <a:lnTo>
                  <a:pt x="540" y="1524"/>
                </a:lnTo>
                <a:lnTo>
                  <a:pt x="546" y="1524"/>
                </a:lnTo>
                <a:lnTo>
                  <a:pt x="546" y="1530"/>
                </a:lnTo>
                <a:lnTo>
                  <a:pt x="540" y="1530"/>
                </a:lnTo>
                <a:lnTo>
                  <a:pt x="540" y="1536"/>
                </a:lnTo>
                <a:lnTo>
                  <a:pt x="534" y="1542"/>
                </a:lnTo>
                <a:lnTo>
                  <a:pt x="528" y="1542"/>
                </a:lnTo>
                <a:lnTo>
                  <a:pt x="522" y="1542"/>
                </a:lnTo>
                <a:lnTo>
                  <a:pt x="516" y="1542"/>
                </a:lnTo>
                <a:lnTo>
                  <a:pt x="510" y="1542"/>
                </a:lnTo>
                <a:lnTo>
                  <a:pt x="504" y="1542"/>
                </a:lnTo>
                <a:lnTo>
                  <a:pt x="492" y="1542"/>
                </a:lnTo>
                <a:lnTo>
                  <a:pt x="486" y="1536"/>
                </a:lnTo>
                <a:lnTo>
                  <a:pt x="480" y="1536"/>
                </a:lnTo>
                <a:lnTo>
                  <a:pt x="468" y="1536"/>
                </a:lnTo>
                <a:lnTo>
                  <a:pt x="468" y="1542"/>
                </a:lnTo>
                <a:lnTo>
                  <a:pt x="462" y="1542"/>
                </a:lnTo>
                <a:lnTo>
                  <a:pt x="456" y="1542"/>
                </a:lnTo>
                <a:lnTo>
                  <a:pt x="450" y="1542"/>
                </a:lnTo>
                <a:lnTo>
                  <a:pt x="444" y="1542"/>
                </a:lnTo>
                <a:lnTo>
                  <a:pt x="444" y="1536"/>
                </a:lnTo>
                <a:lnTo>
                  <a:pt x="450" y="1536"/>
                </a:lnTo>
                <a:lnTo>
                  <a:pt x="456" y="1536"/>
                </a:lnTo>
                <a:lnTo>
                  <a:pt x="450" y="1536"/>
                </a:lnTo>
                <a:lnTo>
                  <a:pt x="444" y="1536"/>
                </a:lnTo>
                <a:lnTo>
                  <a:pt x="444" y="1530"/>
                </a:lnTo>
                <a:lnTo>
                  <a:pt x="450" y="1530"/>
                </a:lnTo>
                <a:lnTo>
                  <a:pt x="456" y="1524"/>
                </a:lnTo>
                <a:lnTo>
                  <a:pt x="456" y="1518"/>
                </a:lnTo>
                <a:lnTo>
                  <a:pt x="462" y="1518"/>
                </a:lnTo>
                <a:lnTo>
                  <a:pt x="462" y="1524"/>
                </a:lnTo>
                <a:lnTo>
                  <a:pt x="468" y="1524"/>
                </a:lnTo>
                <a:lnTo>
                  <a:pt x="474" y="1524"/>
                </a:lnTo>
                <a:lnTo>
                  <a:pt x="474" y="1518"/>
                </a:lnTo>
                <a:lnTo>
                  <a:pt x="480" y="1518"/>
                </a:lnTo>
                <a:lnTo>
                  <a:pt x="474" y="1518"/>
                </a:lnTo>
                <a:lnTo>
                  <a:pt x="474" y="1524"/>
                </a:lnTo>
                <a:lnTo>
                  <a:pt x="468" y="1524"/>
                </a:lnTo>
                <a:lnTo>
                  <a:pt x="462" y="1518"/>
                </a:lnTo>
                <a:lnTo>
                  <a:pt x="456" y="1518"/>
                </a:lnTo>
                <a:lnTo>
                  <a:pt x="456" y="1512"/>
                </a:lnTo>
                <a:lnTo>
                  <a:pt x="462" y="1512"/>
                </a:lnTo>
                <a:lnTo>
                  <a:pt x="462" y="1506"/>
                </a:lnTo>
                <a:lnTo>
                  <a:pt x="456" y="1506"/>
                </a:lnTo>
                <a:lnTo>
                  <a:pt x="456" y="1512"/>
                </a:lnTo>
                <a:lnTo>
                  <a:pt x="456" y="1518"/>
                </a:lnTo>
                <a:lnTo>
                  <a:pt x="456" y="1512"/>
                </a:lnTo>
                <a:lnTo>
                  <a:pt x="450" y="1518"/>
                </a:lnTo>
                <a:lnTo>
                  <a:pt x="444" y="1518"/>
                </a:lnTo>
                <a:lnTo>
                  <a:pt x="444" y="1524"/>
                </a:lnTo>
                <a:lnTo>
                  <a:pt x="438" y="1524"/>
                </a:lnTo>
                <a:lnTo>
                  <a:pt x="438" y="1530"/>
                </a:lnTo>
                <a:lnTo>
                  <a:pt x="432" y="1530"/>
                </a:lnTo>
                <a:lnTo>
                  <a:pt x="432" y="1536"/>
                </a:lnTo>
                <a:lnTo>
                  <a:pt x="426" y="1530"/>
                </a:lnTo>
                <a:lnTo>
                  <a:pt x="420" y="1530"/>
                </a:lnTo>
                <a:lnTo>
                  <a:pt x="414" y="1530"/>
                </a:lnTo>
                <a:lnTo>
                  <a:pt x="414" y="1524"/>
                </a:lnTo>
                <a:lnTo>
                  <a:pt x="408" y="1518"/>
                </a:lnTo>
                <a:lnTo>
                  <a:pt x="414" y="1512"/>
                </a:lnTo>
                <a:lnTo>
                  <a:pt x="408" y="1512"/>
                </a:lnTo>
                <a:lnTo>
                  <a:pt x="408" y="1506"/>
                </a:lnTo>
                <a:lnTo>
                  <a:pt x="408" y="1500"/>
                </a:lnTo>
                <a:lnTo>
                  <a:pt x="408" y="1494"/>
                </a:lnTo>
                <a:lnTo>
                  <a:pt x="408" y="1488"/>
                </a:lnTo>
                <a:lnTo>
                  <a:pt x="408" y="1494"/>
                </a:lnTo>
                <a:lnTo>
                  <a:pt x="414" y="1494"/>
                </a:lnTo>
                <a:lnTo>
                  <a:pt x="420" y="1494"/>
                </a:lnTo>
                <a:lnTo>
                  <a:pt x="420" y="1488"/>
                </a:lnTo>
                <a:lnTo>
                  <a:pt x="426" y="1494"/>
                </a:lnTo>
                <a:lnTo>
                  <a:pt x="426" y="1488"/>
                </a:lnTo>
                <a:lnTo>
                  <a:pt x="426" y="1494"/>
                </a:lnTo>
                <a:lnTo>
                  <a:pt x="426" y="1488"/>
                </a:lnTo>
                <a:lnTo>
                  <a:pt x="426" y="1482"/>
                </a:lnTo>
                <a:lnTo>
                  <a:pt x="426" y="1476"/>
                </a:lnTo>
                <a:lnTo>
                  <a:pt x="432" y="1476"/>
                </a:lnTo>
                <a:lnTo>
                  <a:pt x="432" y="1470"/>
                </a:lnTo>
                <a:lnTo>
                  <a:pt x="438" y="1470"/>
                </a:lnTo>
                <a:lnTo>
                  <a:pt x="444" y="1464"/>
                </a:lnTo>
                <a:lnTo>
                  <a:pt x="450" y="1458"/>
                </a:lnTo>
                <a:lnTo>
                  <a:pt x="456" y="1458"/>
                </a:lnTo>
                <a:lnTo>
                  <a:pt x="462" y="1452"/>
                </a:lnTo>
                <a:lnTo>
                  <a:pt x="468" y="1452"/>
                </a:lnTo>
                <a:lnTo>
                  <a:pt x="468" y="1446"/>
                </a:lnTo>
                <a:lnTo>
                  <a:pt x="462" y="1440"/>
                </a:lnTo>
                <a:lnTo>
                  <a:pt x="456" y="1434"/>
                </a:lnTo>
                <a:lnTo>
                  <a:pt x="456" y="1428"/>
                </a:lnTo>
                <a:lnTo>
                  <a:pt x="456" y="1422"/>
                </a:lnTo>
                <a:lnTo>
                  <a:pt x="456" y="1416"/>
                </a:lnTo>
                <a:lnTo>
                  <a:pt x="450" y="1410"/>
                </a:lnTo>
                <a:lnTo>
                  <a:pt x="444" y="1410"/>
                </a:lnTo>
                <a:lnTo>
                  <a:pt x="450" y="1410"/>
                </a:lnTo>
                <a:lnTo>
                  <a:pt x="450" y="1404"/>
                </a:lnTo>
                <a:lnTo>
                  <a:pt x="456" y="1404"/>
                </a:lnTo>
                <a:lnTo>
                  <a:pt x="462" y="1404"/>
                </a:lnTo>
                <a:lnTo>
                  <a:pt x="468" y="1398"/>
                </a:lnTo>
                <a:lnTo>
                  <a:pt x="462" y="1398"/>
                </a:lnTo>
                <a:lnTo>
                  <a:pt x="462" y="1392"/>
                </a:lnTo>
                <a:lnTo>
                  <a:pt x="456" y="1392"/>
                </a:lnTo>
                <a:lnTo>
                  <a:pt x="456" y="1386"/>
                </a:lnTo>
                <a:lnTo>
                  <a:pt x="462" y="1386"/>
                </a:lnTo>
                <a:lnTo>
                  <a:pt x="468" y="1386"/>
                </a:lnTo>
                <a:lnTo>
                  <a:pt x="474" y="1386"/>
                </a:lnTo>
                <a:lnTo>
                  <a:pt x="468" y="1386"/>
                </a:lnTo>
                <a:lnTo>
                  <a:pt x="462" y="1386"/>
                </a:lnTo>
                <a:lnTo>
                  <a:pt x="456" y="1380"/>
                </a:lnTo>
                <a:lnTo>
                  <a:pt x="456" y="1374"/>
                </a:lnTo>
                <a:lnTo>
                  <a:pt x="462" y="1374"/>
                </a:lnTo>
                <a:lnTo>
                  <a:pt x="462" y="1368"/>
                </a:lnTo>
                <a:lnTo>
                  <a:pt x="456" y="1374"/>
                </a:lnTo>
                <a:lnTo>
                  <a:pt x="456" y="1368"/>
                </a:lnTo>
                <a:lnTo>
                  <a:pt x="456" y="1362"/>
                </a:lnTo>
                <a:lnTo>
                  <a:pt x="450" y="1362"/>
                </a:lnTo>
                <a:lnTo>
                  <a:pt x="450" y="1356"/>
                </a:lnTo>
                <a:lnTo>
                  <a:pt x="450" y="1350"/>
                </a:lnTo>
                <a:lnTo>
                  <a:pt x="450" y="1344"/>
                </a:lnTo>
                <a:lnTo>
                  <a:pt x="456" y="1344"/>
                </a:lnTo>
                <a:lnTo>
                  <a:pt x="456" y="1338"/>
                </a:lnTo>
                <a:lnTo>
                  <a:pt x="462" y="1338"/>
                </a:lnTo>
                <a:lnTo>
                  <a:pt x="462" y="1332"/>
                </a:lnTo>
                <a:lnTo>
                  <a:pt x="456" y="1332"/>
                </a:lnTo>
                <a:lnTo>
                  <a:pt x="456" y="1326"/>
                </a:lnTo>
                <a:lnTo>
                  <a:pt x="450" y="1326"/>
                </a:lnTo>
                <a:lnTo>
                  <a:pt x="444" y="1326"/>
                </a:lnTo>
                <a:lnTo>
                  <a:pt x="444" y="1332"/>
                </a:lnTo>
                <a:lnTo>
                  <a:pt x="438" y="1332"/>
                </a:lnTo>
                <a:lnTo>
                  <a:pt x="438" y="1338"/>
                </a:lnTo>
                <a:lnTo>
                  <a:pt x="432" y="1338"/>
                </a:lnTo>
                <a:lnTo>
                  <a:pt x="432" y="1344"/>
                </a:lnTo>
                <a:lnTo>
                  <a:pt x="432" y="1350"/>
                </a:lnTo>
                <a:lnTo>
                  <a:pt x="426" y="1356"/>
                </a:lnTo>
                <a:lnTo>
                  <a:pt x="426" y="1368"/>
                </a:lnTo>
                <a:lnTo>
                  <a:pt x="426" y="1374"/>
                </a:lnTo>
                <a:lnTo>
                  <a:pt x="426" y="1380"/>
                </a:lnTo>
                <a:lnTo>
                  <a:pt x="432" y="1386"/>
                </a:lnTo>
                <a:lnTo>
                  <a:pt x="432" y="1392"/>
                </a:lnTo>
                <a:lnTo>
                  <a:pt x="432" y="1398"/>
                </a:lnTo>
                <a:lnTo>
                  <a:pt x="426" y="1398"/>
                </a:lnTo>
                <a:lnTo>
                  <a:pt x="420" y="1398"/>
                </a:lnTo>
                <a:lnTo>
                  <a:pt x="414" y="1398"/>
                </a:lnTo>
                <a:lnTo>
                  <a:pt x="420" y="1398"/>
                </a:lnTo>
                <a:lnTo>
                  <a:pt x="414" y="1404"/>
                </a:lnTo>
                <a:lnTo>
                  <a:pt x="420" y="1404"/>
                </a:lnTo>
                <a:lnTo>
                  <a:pt x="414" y="1404"/>
                </a:lnTo>
                <a:lnTo>
                  <a:pt x="408" y="1404"/>
                </a:lnTo>
                <a:lnTo>
                  <a:pt x="402" y="1410"/>
                </a:lnTo>
                <a:lnTo>
                  <a:pt x="402" y="1404"/>
                </a:lnTo>
                <a:lnTo>
                  <a:pt x="396" y="1404"/>
                </a:lnTo>
                <a:lnTo>
                  <a:pt x="390" y="1404"/>
                </a:lnTo>
                <a:lnTo>
                  <a:pt x="384" y="1404"/>
                </a:lnTo>
                <a:lnTo>
                  <a:pt x="384" y="1398"/>
                </a:lnTo>
                <a:lnTo>
                  <a:pt x="384" y="1392"/>
                </a:lnTo>
                <a:lnTo>
                  <a:pt x="390" y="1392"/>
                </a:lnTo>
                <a:lnTo>
                  <a:pt x="390" y="1386"/>
                </a:lnTo>
                <a:lnTo>
                  <a:pt x="390" y="1380"/>
                </a:lnTo>
                <a:lnTo>
                  <a:pt x="396" y="1380"/>
                </a:lnTo>
                <a:lnTo>
                  <a:pt x="402" y="1380"/>
                </a:lnTo>
                <a:lnTo>
                  <a:pt x="408" y="1380"/>
                </a:lnTo>
                <a:lnTo>
                  <a:pt x="408" y="1374"/>
                </a:lnTo>
                <a:lnTo>
                  <a:pt x="414" y="1374"/>
                </a:lnTo>
                <a:lnTo>
                  <a:pt x="414" y="1368"/>
                </a:lnTo>
                <a:lnTo>
                  <a:pt x="414" y="1362"/>
                </a:lnTo>
                <a:lnTo>
                  <a:pt x="414" y="1368"/>
                </a:lnTo>
                <a:lnTo>
                  <a:pt x="414" y="1374"/>
                </a:lnTo>
                <a:lnTo>
                  <a:pt x="408" y="1374"/>
                </a:lnTo>
                <a:lnTo>
                  <a:pt x="402" y="1380"/>
                </a:lnTo>
                <a:lnTo>
                  <a:pt x="396" y="1380"/>
                </a:lnTo>
                <a:lnTo>
                  <a:pt x="396" y="1374"/>
                </a:lnTo>
                <a:lnTo>
                  <a:pt x="390" y="1374"/>
                </a:lnTo>
                <a:lnTo>
                  <a:pt x="390" y="1368"/>
                </a:lnTo>
                <a:lnTo>
                  <a:pt x="384" y="1368"/>
                </a:lnTo>
                <a:lnTo>
                  <a:pt x="384" y="1374"/>
                </a:lnTo>
                <a:lnTo>
                  <a:pt x="378" y="1374"/>
                </a:lnTo>
                <a:lnTo>
                  <a:pt x="378" y="1380"/>
                </a:lnTo>
                <a:lnTo>
                  <a:pt x="372" y="1380"/>
                </a:lnTo>
                <a:lnTo>
                  <a:pt x="366" y="1386"/>
                </a:lnTo>
                <a:lnTo>
                  <a:pt x="360" y="1386"/>
                </a:lnTo>
                <a:lnTo>
                  <a:pt x="354" y="1386"/>
                </a:lnTo>
                <a:lnTo>
                  <a:pt x="354" y="1380"/>
                </a:lnTo>
                <a:lnTo>
                  <a:pt x="348" y="1380"/>
                </a:lnTo>
                <a:lnTo>
                  <a:pt x="342" y="1380"/>
                </a:lnTo>
                <a:lnTo>
                  <a:pt x="342" y="1374"/>
                </a:lnTo>
                <a:lnTo>
                  <a:pt x="336" y="1368"/>
                </a:lnTo>
                <a:lnTo>
                  <a:pt x="342" y="1368"/>
                </a:lnTo>
                <a:lnTo>
                  <a:pt x="342" y="1362"/>
                </a:lnTo>
                <a:lnTo>
                  <a:pt x="348" y="1362"/>
                </a:lnTo>
                <a:lnTo>
                  <a:pt x="354" y="1362"/>
                </a:lnTo>
                <a:lnTo>
                  <a:pt x="354" y="1356"/>
                </a:lnTo>
                <a:lnTo>
                  <a:pt x="348" y="1356"/>
                </a:lnTo>
                <a:lnTo>
                  <a:pt x="348" y="1350"/>
                </a:lnTo>
                <a:lnTo>
                  <a:pt x="348" y="1344"/>
                </a:lnTo>
                <a:lnTo>
                  <a:pt x="354" y="1338"/>
                </a:lnTo>
                <a:lnTo>
                  <a:pt x="354" y="1332"/>
                </a:lnTo>
                <a:lnTo>
                  <a:pt x="354" y="1326"/>
                </a:lnTo>
                <a:lnTo>
                  <a:pt x="354" y="1320"/>
                </a:lnTo>
                <a:lnTo>
                  <a:pt x="354" y="1314"/>
                </a:lnTo>
                <a:lnTo>
                  <a:pt x="354" y="1308"/>
                </a:lnTo>
                <a:lnTo>
                  <a:pt x="348" y="1308"/>
                </a:lnTo>
                <a:lnTo>
                  <a:pt x="348" y="1302"/>
                </a:lnTo>
                <a:lnTo>
                  <a:pt x="342" y="1296"/>
                </a:lnTo>
                <a:lnTo>
                  <a:pt x="336" y="1296"/>
                </a:lnTo>
                <a:lnTo>
                  <a:pt x="336" y="1290"/>
                </a:lnTo>
                <a:lnTo>
                  <a:pt x="330" y="1290"/>
                </a:lnTo>
                <a:lnTo>
                  <a:pt x="324" y="1290"/>
                </a:lnTo>
                <a:lnTo>
                  <a:pt x="324" y="1284"/>
                </a:lnTo>
                <a:lnTo>
                  <a:pt x="318" y="1284"/>
                </a:lnTo>
                <a:lnTo>
                  <a:pt x="318" y="1278"/>
                </a:lnTo>
                <a:lnTo>
                  <a:pt x="312" y="1278"/>
                </a:lnTo>
                <a:lnTo>
                  <a:pt x="312" y="1272"/>
                </a:lnTo>
                <a:lnTo>
                  <a:pt x="312" y="1278"/>
                </a:lnTo>
                <a:lnTo>
                  <a:pt x="318" y="1284"/>
                </a:lnTo>
                <a:lnTo>
                  <a:pt x="324" y="1290"/>
                </a:lnTo>
                <a:lnTo>
                  <a:pt x="330" y="1290"/>
                </a:lnTo>
                <a:lnTo>
                  <a:pt x="330" y="1296"/>
                </a:lnTo>
                <a:lnTo>
                  <a:pt x="336" y="1296"/>
                </a:lnTo>
                <a:lnTo>
                  <a:pt x="336" y="1302"/>
                </a:lnTo>
                <a:lnTo>
                  <a:pt x="342" y="1302"/>
                </a:lnTo>
                <a:lnTo>
                  <a:pt x="348" y="1302"/>
                </a:lnTo>
                <a:lnTo>
                  <a:pt x="348" y="1308"/>
                </a:lnTo>
                <a:lnTo>
                  <a:pt x="348" y="1314"/>
                </a:lnTo>
                <a:lnTo>
                  <a:pt x="354" y="1314"/>
                </a:lnTo>
                <a:lnTo>
                  <a:pt x="354" y="1320"/>
                </a:lnTo>
                <a:lnTo>
                  <a:pt x="354" y="1326"/>
                </a:lnTo>
                <a:lnTo>
                  <a:pt x="348" y="1326"/>
                </a:lnTo>
                <a:lnTo>
                  <a:pt x="348" y="1332"/>
                </a:lnTo>
                <a:lnTo>
                  <a:pt x="348" y="1338"/>
                </a:lnTo>
                <a:lnTo>
                  <a:pt x="348" y="1344"/>
                </a:lnTo>
                <a:lnTo>
                  <a:pt x="342" y="1344"/>
                </a:lnTo>
                <a:lnTo>
                  <a:pt x="348" y="1344"/>
                </a:lnTo>
                <a:lnTo>
                  <a:pt x="342" y="1344"/>
                </a:lnTo>
                <a:lnTo>
                  <a:pt x="342" y="1350"/>
                </a:lnTo>
                <a:lnTo>
                  <a:pt x="336" y="1350"/>
                </a:lnTo>
                <a:lnTo>
                  <a:pt x="330" y="1350"/>
                </a:lnTo>
                <a:lnTo>
                  <a:pt x="330" y="1356"/>
                </a:lnTo>
                <a:lnTo>
                  <a:pt x="330" y="1350"/>
                </a:lnTo>
                <a:lnTo>
                  <a:pt x="324" y="1350"/>
                </a:lnTo>
                <a:lnTo>
                  <a:pt x="318" y="1344"/>
                </a:lnTo>
                <a:lnTo>
                  <a:pt x="318" y="1350"/>
                </a:lnTo>
                <a:lnTo>
                  <a:pt x="312" y="1344"/>
                </a:lnTo>
                <a:lnTo>
                  <a:pt x="312" y="1338"/>
                </a:lnTo>
                <a:lnTo>
                  <a:pt x="306" y="1338"/>
                </a:lnTo>
                <a:lnTo>
                  <a:pt x="300" y="1332"/>
                </a:lnTo>
                <a:lnTo>
                  <a:pt x="306" y="1332"/>
                </a:lnTo>
                <a:lnTo>
                  <a:pt x="300" y="1332"/>
                </a:lnTo>
                <a:lnTo>
                  <a:pt x="306" y="1332"/>
                </a:lnTo>
                <a:lnTo>
                  <a:pt x="306" y="1326"/>
                </a:lnTo>
                <a:lnTo>
                  <a:pt x="306" y="1320"/>
                </a:lnTo>
                <a:lnTo>
                  <a:pt x="306" y="1326"/>
                </a:lnTo>
                <a:lnTo>
                  <a:pt x="312" y="1326"/>
                </a:lnTo>
                <a:lnTo>
                  <a:pt x="312" y="1320"/>
                </a:lnTo>
                <a:lnTo>
                  <a:pt x="306" y="1320"/>
                </a:lnTo>
                <a:lnTo>
                  <a:pt x="300" y="1320"/>
                </a:lnTo>
                <a:lnTo>
                  <a:pt x="294" y="1320"/>
                </a:lnTo>
                <a:lnTo>
                  <a:pt x="294" y="1314"/>
                </a:lnTo>
                <a:lnTo>
                  <a:pt x="288" y="1314"/>
                </a:lnTo>
                <a:lnTo>
                  <a:pt x="288" y="1308"/>
                </a:lnTo>
                <a:lnTo>
                  <a:pt x="288" y="1302"/>
                </a:lnTo>
                <a:lnTo>
                  <a:pt x="294" y="1302"/>
                </a:lnTo>
                <a:lnTo>
                  <a:pt x="294" y="1296"/>
                </a:lnTo>
                <a:lnTo>
                  <a:pt x="288" y="1296"/>
                </a:lnTo>
                <a:lnTo>
                  <a:pt x="288" y="1290"/>
                </a:lnTo>
                <a:lnTo>
                  <a:pt x="288" y="1296"/>
                </a:lnTo>
                <a:lnTo>
                  <a:pt x="294" y="1302"/>
                </a:lnTo>
                <a:lnTo>
                  <a:pt x="288" y="1302"/>
                </a:lnTo>
                <a:lnTo>
                  <a:pt x="282" y="1296"/>
                </a:lnTo>
                <a:lnTo>
                  <a:pt x="276" y="1296"/>
                </a:lnTo>
                <a:lnTo>
                  <a:pt x="276" y="1290"/>
                </a:lnTo>
                <a:lnTo>
                  <a:pt x="270" y="1290"/>
                </a:lnTo>
                <a:lnTo>
                  <a:pt x="264" y="1284"/>
                </a:lnTo>
                <a:lnTo>
                  <a:pt x="264" y="1278"/>
                </a:lnTo>
                <a:lnTo>
                  <a:pt x="264" y="1272"/>
                </a:lnTo>
                <a:lnTo>
                  <a:pt x="264" y="1266"/>
                </a:lnTo>
                <a:lnTo>
                  <a:pt x="258" y="1266"/>
                </a:lnTo>
                <a:lnTo>
                  <a:pt x="252" y="1266"/>
                </a:lnTo>
                <a:lnTo>
                  <a:pt x="246" y="1260"/>
                </a:lnTo>
                <a:lnTo>
                  <a:pt x="240" y="1254"/>
                </a:lnTo>
                <a:lnTo>
                  <a:pt x="240" y="1260"/>
                </a:lnTo>
                <a:lnTo>
                  <a:pt x="240" y="1266"/>
                </a:lnTo>
                <a:lnTo>
                  <a:pt x="240" y="1272"/>
                </a:lnTo>
                <a:lnTo>
                  <a:pt x="246" y="1272"/>
                </a:lnTo>
                <a:lnTo>
                  <a:pt x="246" y="1278"/>
                </a:lnTo>
                <a:lnTo>
                  <a:pt x="246" y="1284"/>
                </a:lnTo>
                <a:lnTo>
                  <a:pt x="252" y="1284"/>
                </a:lnTo>
                <a:lnTo>
                  <a:pt x="252" y="1290"/>
                </a:lnTo>
                <a:lnTo>
                  <a:pt x="258" y="1296"/>
                </a:lnTo>
                <a:lnTo>
                  <a:pt x="264" y="1302"/>
                </a:lnTo>
                <a:lnTo>
                  <a:pt x="264" y="1308"/>
                </a:lnTo>
                <a:lnTo>
                  <a:pt x="264" y="1314"/>
                </a:lnTo>
                <a:lnTo>
                  <a:pt x="258" y="1314"/>
                </a:lnTo>
                <a:lnTo>
                  <a:pt x="258" y="1308"/>
                </a:lnTo>
                <a:lnTo>
                  <a:pt x="252" y="1308"/>
                </a:lnTo>
                <a:lnTo>
                  <a:pt x="252" y="1302"/>
                </a:lnTo>
                <a:lnTo>
                  <a:pt x="246" y="1302"/>
                </a:lnTo>
                <a:lnTo>
                  <a:pt x="246" y="1296"/>
                </a:lnTo>
                <a:lnTo>
                  <a:pt x="240" y="1296"/>
                </a:lnTo>
                <a:lnTo>
                  <a:pt x="240" y="1290"/>
                </a:lnTo>
                <a:lnTo>
                  <a:pt x="234" y="1284"/>
                </a:lnTo>
                <a:lnTo>
                  <a:pt x="234" y="1278"/>
                </a:lnTo>
                <a:close/>
                <a:moveTo>
                  <a:pt x="444" y="1332"/>
                </a:moveTo>
                <a:lnTo>
                  <a:pt x="450" y="1326"/>
                </a:lnTo>
                <a:lnTo>
                  <a:pt x="456" y="1326"/>
                </a:lnTo>
                <a:lnTo>
                  <a:pt x="456" y="1332"/>
                </a:lnTo>
                <a:lnTo>
                  <a:pt x="456" y="1338"/>
                </a:lnTo>
                <a:lnTo>
                  <a:pt x="450" y="1338"/>
                </a:lnTo>
                <a:lnTo>
                  <a:pt x="444" y="1338"/>
                </a:lnTo>
                <a:lnTo>
                  <a:pt x="444" y="1332"/>
                </a:lnTo>
                <a:close/>
                <a:moveTo>
                  <a:pt x="444" y="1368"/>
                </a:moveTo>
                <a:lnTo>
                  <a:pt x="456" y="1368"/>
                </a:lnTo>
                <a:lnTo>
                  <a:pt x="456" y="1374"/>
                </a:lnTo>
                <a:lnTo>
                  <a:pt x="444" y="1374"/>
                </a:lnTo>
                <a:lnTo>
                  <a:pt x="444" y="1368"/>
                </a:lnTo>
                <a:close/>
                <a:moveTo>
                  <a:pt x="444" y="1386"/>
                </a:moveTo>
                <a:lnTo>
                  <a:pt x="444" y="1380"/>
                </a:lnTo>
                <a:lnTo>
                  <a:pt x="444" y="1374"/>
                </a:lnTo>
                <a:lnTo>
                  <a:pt x="444" y="1380"/>
                </a:lnTo>
                <a:lnTo>
                  <a:pt x="450" y="1380"/>
                </a:lnTo>
                <a:lnTo>
                  <a:pt x="456" y="1380"/>
                </a:lnTo>
                <a:lnTo>
                  <a:pt x="456" y="1386"/>
                </a:lnTo>
                <a:lnTo>
                  <a:pt x="456" y="1392"/>
                </a:lnTo>
                <a:lnTo>
                  <a:pt x="462" y="1392"/>
                </a:lnTo>
                <a:lnTo>
                  <a:pt x="462" y="1398"/>
                </a:lnTo>
                <a:lnTo>
                  <a:pt x="462" y="1404"/>
                </a:lnTo>
                <a:lnTo>
                  <a:pt x="456" y="1404"/>
                </a:lnTo>
                <a:lnTo>
                  <a:pt x="450" y="1404"/>
                </a:lnTo>
                <a:lnTo>
                  <a:pt x="450" y="1398"/>
                </a:lnTo>
                <a:lnTo>
                  <a:pt x="444" y="1398"/>
                </a:lnTo>
                <a:lnTo>
                  <a:pt x="444" y="1392"/>
                </a:lnTo>
                <a:lnTo>
                  <a:pt x="444" y="1386"/>
                </a:lnTo>
                <a:close/>
                <a:moveTo>
                  <a:pt x="438" y="1362"/>
                </a:moveTo>
                <a:lnTo>
                  <a:pt x="444" y="1356"/>
                </a:lnTo>
                <a:lnTo>
                  <a:pt x="450" y="1356"/>
                </a:lnTo>
                <a:lnTo>
                  <a:pt x="450" y="1362"/>
                </a:lnTo>
                <a:lnTo>
                  <a:pt x="450" y="1368"/>
                </a:lnTo>
                <a:lnTo>
                  <a:pt x="444" y="1368"/>
                </a:lnTo>
                <a:lnTo>
                  <a:pt x="444" y="1362"/>
                </a:lnTo>
                <a:lnTo>
                  <a:pt x="438" y="1362"/>
                </a:lnTo>
                <a:close/>
                <a:moveTo>
                  <a:pt x="438" y="1350"/>
                </a:moveTo>
                <a:lnTo>
                  <a:pt x="438" y="1344"/>
                </a:lnTo>
                <a:lnTo>
                  <a:pt x="438" y="1338"/>
                </a:lnTo>
                <a:lnTo>
                  <a:pt x="444" y="1338"/>
                </a:lnTo>
                <a:lnTo>
                  <a:pt x="450" y="1338"/>
                </a:lnTo>
                <a:lnTo>
                  <a:pt x="456" y="1338"/>
                </a:lnTo>
                <a:lnTo>
                  <a:pt x="450" y="1344"/>
                </a:lnTo>
                <a:lnTo>
                  <a:pt x="444" y="1350"/>
                </a:lnTo>
                <a:lnTo>
                  <a:pt x="438" y="1350"/>
                </a:lnTo>
                <a:close/>
                <a:moveTo>
                  <a:pt x="432" y="1380"/>
                </a:moveTo>
                <a:lnTo>
                  <a:pt x="432" y="1368"/>
                </a:lnTo>
                <a:lnTo>
                  <a:pt x="432" y="1362"/>
                </a:lnTo>
                <a:lnTo>
                  <a:pt x="432" y="1356"/>
                </a:lnTo>
                <a:lnTo>
                  <a:pt x="438" y="1356"/>
                </a:lnTo>
                <a:lnTo>
                  <a:pt x="438" y="1362"/>
                </a:lnTo>
                <a:lnTo>
                  <a:pt x="438" y="1368"/>
                </a:lnTo>
                <a:lnTo>
                  <a:pt x="438" y="1374"/>
                </a:lnTo>
                <a:lnTo>
                  <a:pt x="438" y="1380"/>
                </a:lnTo>
                <a:lnTo>
                  <a:pt x="438" y="1386"/>
                </a:lnTo>
                <a:lnTo>
                  <a:pt x="438" y="1380"/>
                </a:lnTo>
                <a:lnTo>
                  <a:pt x="432" y="1380"/>
                </a:lnTo>
                <a:close/>
                <a:moveTo>
                  <a:pt x="246" y="1272"/>
                </a:moveTo>
                <a:lnTo>
                  <a:pt x="252" y="1272"/>
                </a:lnTo>
                <a:lnTo>
                  <a:pt x="252" y="1278"/>
                </a:lnTo>
                <a:lnTo>
                  <a:pt x="246" y="1278"/>
                </a:lnTo>
                <a:lnTo>
                  <a:pt x="246" y="1272"/>
                </a:lnTo>
                <a:close/>
                <a:moveTo>
                  <a:pt x="426" y="1416"/>
                </a:moveTo>
                <a:lnTo>
                  <a:pt x="432" y="1410"/>
                </a:lnTo>
                <a:lnTo>
                  <a:pt x="438" y="1410"/>
                </a:lnTo>
                <a:lnTo>
                  <a:pt x="438" y="1416"/>
                </a:lnTo>
                <a:lnTo>
                  <a:pt x="438" y="1422"/>
                </a:lnTo>
                <a:lnTo>
                  <a:pt x="432" y="1422"/>
                </a:lnTo>
                <a:lnTo>
                  <a:pt x="426" y="1422"/>
                </a:lnTo>
                <a:lnTo>
                  <a:pt x="426" y="1416"/>
                </a:lnTo>
                <a:close/>
                <a:moveTo>
                  <a:pt x="246" y="1266"/>
                </a:moveTo>
                <a:lnTo>
                  <a:pt x="252" y="1266"/>
                </a:lnTo>
                <a:lnTo>
                  <a:pt x="258" y="1272"/>
                </a:lnTo>
                <a:lnTo>
                  <a:pt x="258" y="1278"/>
                </a:lnTo>
                <a:lnTo>
                  <a:pt x="258" y="1284"/>
                </a:lnTo>
                <a:lnTo>
                  <a:pt x="252" y="1284"/>
                </a:lnTo>
                <a:lnTo>
                  <a:pt x="252" y="1278"/>
                </a:lnTo>
                <a:lnTo>
                  <a:pt x="252" y="1272"/>
                </a:lnTo>
                <a:lnTo>
                  <a:pt x="252" y="1266"/>
                </a:lnTo>
                <a:lnTo>
                  <a:pt x="246" y="1266"/>
                </a:lnTo>
                <a:close/>
                <a:moveTo>
                  <a:pt x="408" y="1458"/>
                </a:moveTo>
                <a:lnTo>
                  <a:pt x="408" y="1452"/>
                </a:lnTo>
                <a:lnTo>
                  <a:pt x="414" y="1452"/>
                </a:lnTo>
                <a:lnTo>
                  <a:pt x="414" y="1446"/>
                </a:lnTo>
                <a:lnTo>
                  <a:pt x="414" y="1440"/>
                </a:lnTo>
                <a:lnTo>
                  <a:pt x="420" y="1440"/>
                </a:lnTo>
                <a:lnTo>
                  <a:pt x="420" y="1434"/>
                </a:lnTo>
                <a:lnTo>
                  <a:pt x="420" y="1428"/>
                </a:lnTo>
                <a:lnTo>
                  <a:pt x="420" y="1422"/>
                </a:lnTo>
                <a:lnTo>
                  <a:pt x="426" y="1422"/>
                </a:lnTo>
                <a:lnTo>
                  <a:pt x="432" y="1428"/>
                </a:lnTo>
                <a:lnTo>
                  <a:pt x="438" y="1428"/>
                </a:lnTo>
                <a:lnTo>
                  <a:pt x="438" y="1434"/>
                </a:lnTo>
                <a:lnTo>
                  <a:pt x="438" y="1428"/>
                </a:lnTo>
                <a:lnTo>
                  <a:pt x="438" y="1422"/>
                </a:lnTo>
                <a:lnTo>
                  <a:pt x="444" y="1416"/>
                </a:lnTo>
                <a:lnTo>
                  <a:pt x="444" y="1410"/>
                </a:lnTo>
                <a:lnTo>
                  <a:pt x="450" y="1416"/>
                </a:lnTo>
                <a:lnTo>
                  <a:pt x="456" y="1416"/>
                </a:lnTo>
                <a:lnTo>
                  <a:pt x="456" y="1422"/>
                </a:lnTo>
                <a:lnTo>
                  <a:pt x="456" y="1428"/>
                </a:lnTo>
                <a:lnTo>
                  <a:pt x="456" y="1434"/>
                </a:lnTo>
                <a:lnTo>
                  <a:pt x="456" y="1440"/>
                </a:lnTo>
                <a:lnTo>
                  <a:pt x="462" y="1440"/>
                </a:lnTo>
                <a:lnTo>
                  <a:pt x="462" y="1446"/>
                </a:lnTo>
                <a:lnTo>
                  <a:pt x="462" y="1452"/>
                </a:lnTo>
                <a:lnTo>
                  <a:pt x="456" y="1452"/>
                </a:lnTo>
                <a:lnTo>
                  <a:pt x="450" y="1452"/>
                </a:lnTo>
                <a:lnTo>
                  <a:pt x="444" y="1446"/>
                </a:lnTo>
                <a:lnTo>
                  <a:pt x="444" y="1452"/>
                </a:lnTo>
                <a:lnTo>
                  <a:pt x="450" y="1452"/>
                </a:lnTo>
                <a:lnTo>
                  <a:pt x="450" y="1458"/>
                </a:lnTo>
                <a:lnTo>
                  <a:pt x="444" y="1458"/>
                </a:lnTo>
                <a:lnTo>
                  <a:pt x="438" y="1464"/>
                </a:lnTo>
                <a:lnTo>
                  <a:pt x="438" y="1458"/>
                </a:lnTo>
                <a:lnTo>
                  <a:pt x="432" y="1458"/>
                </a:lnTo>
                <a:lnTo>
                  <a:pt x="426" y="1458"/>
                </a:lnTo>
                <a:lnTo>
                  <a:pt x="432" y="1458"/>
                </a:lnTo>
                <a:lnTo>
                  <a:pt x="438" y="1464"/>
                </a:lnTo>
                <a:lnTo>
                  <a:pt x="432" y="1464"/>
                </a:lnTo>
                <a:lnTo>
                  <a:pt x="432" y="1470"/>
                </a:lnTo>
                <a:lnTo>
                  <a:pt x="426" y="1470"/>
                </a:lnTo>
                <a:lnTo>
                  <a:pt x="420" y="1476"/>
                </a:lnTo>
                <a:lnTo>
                  <a:pt x="420" y="1470"/>
                </a:lnTo>
                <a:lnTo>
                  <a:pt x="414" y="1470"/>
                </a:lnTo>
                <a:lnTo>
                  <a:pt x="414" y="1464"/>
                </a:lnTo>
                <a:lnTo>
                  <a:pt x="414" y="1458"/>
                </a:lnTo>
                <a:lnTo>
                  <a:pt x="408" y="1458"/>
                </a:lnTo>
                <a:close/>
                <a:moveTo>
                  <a:pt x="270" y="1326"/>
                </a:moveTo>
                <a:lnTo>
                  <a:pt x="270" y="1320"/>
                </a:lnTo>
                <a:lnTo>
                  <a:pt x="276" y="1320"/>
                </a:lnTo>
                <a:lnTo>
                  <a:pt x="282" y="1326"/>
                </a:lnTo>
                <a:lnTo>
                  <a:pt x="288" y="1326"/>
                </a:lnTo>
                <a:lnTo>
                  <a:pt x="288" y="1332"/>
                </a:lnTo>
                <a:lnTo>
                  <a:pt x="288" y="1338"/>
                </a:lnTo>
                <a:lnTo>
                  <a:pt x="288" y="1344"/>
                </a:lnTo>
                <a:lnTo>
                  <a:pt x="282" y="1344"/>
                </a:lnTo>
                <a:lnTo>
                  <a:pt x="282" y="1338"/>
                </a:lnTo>
                <a:lnTo>
                  <a:pt x="276" y="1338"/>
                </a:lnTo>
                <a:lnTo>
                  <a:pt x="276" y="1332"/>
                </a:lnTo>
                <a:lnTo>
                  <a:pt x="270" y="1332"/>
                </a:lnTo>
                <a:lnTo>
                  <a:pt x="270" y="1326"/>
                </a:lnTo>
                <a:close/>
                <a:moveTo>
                  <a:pt x="288" y="1458"/>
                </a:moveTo>
                <a:lnTo>
                  <a:pt x="294" y="1458"/>
                </a:lnTo>
                <a:lnTo>
                  <a:pt x="294" y="1452"/>
                </a:lnTo>
                <a:lnTo>
                  <a:pt x="294" y="1446"/>
                </a:lnTo>
                <a:lnTo>
                  <a:pt x="300" y="1446"/>
                </a:lnTo>
                <a:lnTo>
                  <a:pt x="300" y="1440"/>
                </a:lnTo>
                <a:lnTo>
                  <a:pt x="306" y="1440"/>
                </a:lnTo>
                <a:lnTo>
                  <a:pt x="306" y="1446"/>
                </a:lnTo>
                <a:lnTo>
                  <a:pt x="312" y="1452"/>
                </a:lnTo>
                <a:lnTo>
                  <a:pt x="306" y="1452"/>
                </a:lnTo>
                <a:lnTo>
                  <a:pt x="306" y="1458"/>
                </a:lnTo>
                <a:lnTo>
                  <a:pt x="312" y="1464"/>
                </a:lnTo>
                <a:lnTo>
                  <a:pt x="306" y="1464"/>
                </a:lnTo>
                <a:lnTo>
                  <a:pt x="306" y="1470"/>
                </a:lnTo>
                <a:lnTo>
                  <a:pt x="300" y="1476"/>
                </a:lnTo>
                <a:lnTo>
                  <a:pt x="294" y="1476"/>
                </a:lnTo>
                <a:lnTo>
                  <a:pt x="294" y="1470"/>
                </a:lnTo>
                <a:lnTo>
                  <a:pt x="288" y="1470"/>
                </a:lnTo>
                <a:lnTo>
                  <a:pt x="288" y="1464"/>
                </a:lnTo>
                <a:lnTo>
                  <a:pt x="288" y="1458"/>
                </a:lnTo>
                <a:close/>
                <a:moveTo>
                  <a:pt x="270" y="1296"/>
                </a:moveTo>
                <a:lnTo>
                  <a:pt x="276" y="1296"/>
                </a:lnTo>
                <a:lnTo>
                  <a:pt x="282" y="1296"/>
                </a:lnTo>
                <a:lnTo>
                  <a:pt x="288" y="1296"/>
                </a:lnTo>
                <a:lnTo>
                  <a:pt x="288" y="1302"/>
                </a:lnTo>
                <a:lnTo>
                  <a:pt x="282" y="1308"/>
                </a:lnTo>
                <a:lnTo>
                  <a:pt x="276" y="1308"/>
                </a:lnTo>
                <a:lnTo>
                  <a:pt x="276" y="1302"/>
                </a:lnTo>
                <a:lnTo>
                  <a:pt x="270" y="1296"/>
                </a:lnTo>
                <a:close/>
              </a:path>
            </a:pathLst>
          </a:custGeom>
          <a:noFill/>
          <a:ln w="9525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50" name="Freeform 6">
            <a:extLst>
              <a:ext uri="{FF2B5EF4-FFF2-40B4-BE49-F238E27FC236}">
                <a16:creationId xmlns:a16="http://schemas.microsoft.com/office/drawing/2014/main" id="{AE6A285F-B17E-4937-843C-10BC8295A0FA}"/>
              </a:ext>
            </a:extLst>
          </p:cNvPr>
          <p:cNvSpPr>
            <a:spLocks/>
          </p:cNvSpPr>
          <p:nvPr/>
        </p:nvSpPr>
        <p:spPr bwMode="gray">
          <a:xfrm>
            <a:off x="4334729" y="4977245"/>
            <a:ext cx="286697" cy="271543"/>
          </a:xfrm>
          <a:custGeom>
            <a:avLst/>
            <a:gdLst>
              <a:gd name="T0" fmla="*/ 33 w 504"/>
              <a:gd name="T1" fmla="*/ 41 h 468"/>
              <a:gd name="T2" fmla="*/ 26 w 504"/>
              <a:gd name="T3" fmla="*/ 39 h 468"/>
              <a:gd name="T4" fmla="*/ 21 w 504"/>
              <a:gd name="T5" fmla="*/ 38 h 468"/>
              <a:gd name="T6" fmla="*/ 18 w 504"/>
              <a:gd name="T7" fmla="*/ 38 h 468"/>
              <a:gd name="T8" fmla="*/ 15 w 504"/>
              <a:gd name="T9" fmla="*/ 39 h 468"/>
              <a:gd name="T10" fmla="*/ 12 w 504"/>
              <a:gd name="T11" fmla="*/ 38 h 468"/>
              <a:gd name="T12" fmla="*/ 9 w 504"/>
              <a:gd name="T13" fmla="*/ 37 h 468"/>
              <a:gd name="T14" fmla="*/ 7 w 504"/>
              <a:gd name="T15" fmla="*/ 32 h 468"/>
              <a:gd name="T16" fmla="*/ 6 w 504"/>
              <a:gd name="T17" fmla="*/ 26 h 468"/>
              <a:gd name="T18" fmla="*/ 3 w 504"/>
              <a:gd name="T19" fmla="*/ 24 h 468"/>
              <a:gd name="T20" fmla="*/ 1 w 504"/>
              <a:gd name="T21" fmla="*/ 24 h 468"/>
              <a:gd name="T22" fmla="*/ 2 w 504"/>
              <a:gd name="T23" fmla="*/ 18 h 468"/>
              <a:gd name="T24" fmla="*/ 1 w 504"/>
              <a:gd name="T25" fmla="*/ 17 h 468"/>
              <a:gd name="T26" fmla="*/ 0 w 504"/>
              <a:gd name="T27" fmla="*/ 17 h 468"/>
              <a:gd name="T28" fmla="*/ 0 w 504"/>
              <a:gd name="T29" fmla="*/ 15 h 468"/>
              <a:gd name="T30" fmla="*/ 2 w 504"/>
              <a:gd name="T31" fmla="*/ 12 h 468"/>
              <a:gd name="T32" fmla="*/ 4 w 504"/>
              <a:gd name="T33" fmla="*/ 10 h 468"/>
              <a:gd name="T34" fmla="*/ 6 w 504"/>
              <a:gd name="T35" fmla="*/ 8 h 468"/>
              <a:gd name="T36" fmla="*/ 8 w 504"/>
              <a:gd name="T37" fmla="*/ 8 h 468"/>
              <a:gd name="T38" fmla="*/ 10 w 504"/>
              <a:gd name="T39" fmla="*/ 9 h 468"/>
              <a:gd name="T40" fmla="*/ 12 w 504"/>
              <a:gd name="T41" fmla="*/ 10 h 468"/>
              <a:gd name="T42" fmla="*/ 12 w 504"/>
              <a:gd name="T43" fmla="*/ 11 h 468"/>
              <a:gd name="T44" fmla="*/ 14 w 504"/>
              <a:gd name="T45" fmla="*/ 8 h 468"/>
              <a:gd name="T46" fmla="*/ 15 w 504"/>
              <a:gd name="T47" fmla="*/ 7 h 468"/>
              <a:gd name="T48" fmla="*/ 17 w 504"/>
              <a:gd name="T49" fmla="*/ 6 h 468"/>
              <a:gd name="T50" fmla="*/ 19 w 504"/>
              <a:gd name="T51" fmla="*/ 3 h 468"/>
              <a:gd name="T52" fmla="*/ 20 w 504"/>
              <a:gd name="T53" fmla="*/ 2 h 468"/>
              <a:gd name="T54" fmla="*/ 22 w 504"/>
              <a:gd name="T55" fmla="*/ 1 h 468"/>
              <a:gd name="T56" fmla="*/ 27 w 504"/>
              <a:gd name="T57" fmla="*/ 1 h 468"/>
              <a:gd name="T58" fmla="*/ 30 w 504"/>
              <a:gd name="T59" fmla="*/ 2 h 468"/>
              <a:gd name="T60" fmla="*/ 31 w 504"/>
              <a:gd name="T61" fmla="*/ 2 h 468"/>
              <a:gd name="T62" fmla="*/ 34 w 504"/>
              <a:gd name="T63" fmla="*/ 0 h 468"/>
              <a:gd name="T64" fmla="*/ 37 w 504"/>
              <a:gd name="T65" fmla="*/ 1 h 468"/>
              <a:gd name="T66" fmla="*/ 41 w 504"/>
              <a:gd name="T67" fmla="*/ 2 h 468"/>
              <a:gd name="T68" fmla="*/ 42 w 504"/>
              <a:gd name="T69" fmla="*/ 4 h 468"/>
              <a:gd name="T70" fmla="*/ 42 w 504"/>
              <a:gd name="T71" fmla="*/ 10 h 468"/>
              <a:gd name="T72" fmla="*/ 41 w 504"/>
              <a:gd name="T73" fmla="*/ 14 h 468"/>
              <a:gd name="T74" fmla="*/ 42 w 504"/>
              <a:gd name="T75" fmla="*/ 15 h 468"/>
              <a:gd name="T76" fmla="*/ 44 w 504"/>
              <a:gd name="T77" fmla="*/ 18 h 468"/>
              <a:gd name="T78" fmla="*/ 43 w 504"/>
              <a:gd name="T79" fmla="*/ 19 h 468"/>
              <a:gd name="T80" fmla="*/ 42 w 504"/>
              <a:gd name="T81" fmla="*/ 21 h 468"/>
              <a:gd name="T82" fmla="*/ 42 w 504"/>
              <a:gd name="T83" fmla="*/ 23 h 468"/>
              <a:gd name="T84" fmla="*/ 39 w 504"/>
              <a:gd name="T85" fmla="*/ 27 h 468"/>
              <a:gd name="T86" fmla="*/ 38 w 504"/>
              <a:gd name="T87" fmla="*/ 29 h 468"/>
              <a:gd name="T88" fmla="*/ 38 w 504"/>
              <a:gd name="T89" fmla="*/ 31 h 468"/>
              <a:gd name="T90" fmla="*/ 36 w 504"/>
              <a:gd name="T91" fmla="*/ 32 h 468"/>
              <a:gd name="T92" fmla="*/ 35 w 504"/>
              <a:gd name="T93" fmla="*/ 34 h 468"/>
              <a:gd name="T94" fmla="*/ 34 w 504"/>
              <a:gd name="T95" fmla="*/ 38 h 46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504"/>
              <a:gd name="T145" fmla="*/ 0 h 468"/>
              <a:gd name="T146" fmla="*/ 504 w 504"/>
              <a:gd name="T147" fmla="*/ 468 h 468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504" h="468">
                <a:moveTo>
                  <a:pt x="390" y="456"/>
                </a:moveTo>
                <a:lnTo>
                  <a:pt x="384" y="468"/>
                </a:lnTo>
                <a:lnTo>
                  <a:pt x="378" y="468"/>
                </a:lnTo>
                <a:lnTo>
                  <a:pt x="354" y="468"/>
                </a:lnTo>
                <a:lnTo>
                  <a:pt x="348" y="462"/>
                </a:lnTo>
                <a:lnTo>
                  <a:pt x="300" y="456"/>
                </a:lnTo>
                <a:lnTo>
                  <a:pt x="270" y="444"/>
                </a:lnTo>
                <a:lnTo>
                  <a:pt x="252" y="438"/>
                </a:lnTo>
                <a:lnTo>
                  <a:pt x="240" y="438"/>
                </a:lnTo>
                <a:lnTo>
                  <a:pt x="234" y="438"/>
                </a:lnTo>
                <a:lnTo>
                  <a:pt x="228" y="444"/>
                </a:lnTo>
                <a:lnTo>
                  <a:pt x="210" y="444"/>
                </a:lnTo>
                <a:lnTo>
                  <a:pt x="198" y="444"/>
                </a:lnTo>
                <a:lnTo>
                  <a:pt x="198" y="450"/>
                </a:lnTo>
                <a:lnTo>
                  <a:pt x="168" y="456"/>
                </a:lnTo>
                <a:lnTo>
                  <a:pt x="150" y="450"/>
                </a:lnTo>
                <a:lnTo>
                  <a:pt x="144" y="444"/>
                </a:lnTo>
                <a:lnTo>
                  <a:pt x="132" y="438"/>
                </a:lnTo>
                <a:lnTo>
                  <a:pt x="138" y="432"/>
                </a:lnTo>
                <a:lnTo>
                  <a:pt x="114" y="432"/>
                </a:lnTo>
                <a:lnTo>
                  <a:pt x="102" y="426"/>
                </a:lnTo>
                <a:lnTo>
                  <a:pt x="90" y="414"/>
                </a:lnTo>
                <a:lnTo>
                  <a:pt x="72" y="402"/>
                </a:lnTo>
                <a:lnTo>
                  <a:pt x="78" y="366"/>
                </a:lnTo>
                <a:lnTo>
                  <a:pt x="78" y="330"/>
                </a:lnTo>
                <a:lnTo>
                  <a:pt x="66" y="318"/>
                </a:lnTo>
                <a:lnTo>
                  <a:pt x="66" y="300"/>
                </a:lnTo>
                <a:lnTo>
                  <a:pt x="66" y="282"/>
                </a:lnTo>
                <a:lnTo>
                  <a:pt x="36" y="282"/>
                </a:lnTo>
                <a:lnTo>
                  <a:pt x="30" y="276"/>
                </a:lnTo>
                <a:lnTo>
                  <a:pt x="30" y="282"/>
                </a:lnTo>
                <a:lnTo>
                  <a:pt x="24" y="282"/>
                </a:lnTo>
                <a:lnTo>
                  <a:pt x="12" y="276"/>
                </a:lnTo>
                <a:lnTo>
                  <a:pt x="0" y="282"/>
                </a:lnTo>
                <a:lnTo>
                  <a:pt x="12" y="204"/>
                </a:lnTo>
                <a:lnTo>
                  <a:pt x="18" y="210"/>
                </a:lnTo>
                <a:lnTo>
                  <a:pt x="18" y="204"/>
                </a:lnTo>
                <a:lnTo>
                  <a:pt x="18" y="198"/>
                </a:lnTo>
                <a:lnTo>
                  <a:pt x="12" y="198"/>
                </a:lnTo>
                <a:lnTo>
                  <a:pt x="18" y="192"/>
                </a:lnTo>
                <a:lnTo>
                  <a:pt x="12" y="192"/>
                </a:lnTo>
                <a:lnTo>
                  <a:pt x="6" y="192"/>
                </a:lnTo>
                <a:lnTo>
                  <a:pt x="6" y="186"/>
                </a:lnTo>
                <a:lnTo>
                  <a:pt x="0" y="186"/>
                </a:lnTo>
                <a:lnTo>
                  <a:pt x="0" y="180"/>
                </a:lnTo>
                <a:lnTo>
                  <a:pt x="6" y="180"/>
                </a:lnTo>
                <a:lnTo>
                  <a:pt x="12" y="186"/>
                </a:lnTo>
                <a:lnTo>
                  <a:pt x="18" y="138"/>
                </a:lnTo>
                <a:lnTo>
                  <a:pt x="24" y="126"/>
                </a:lnTo>
                <a:lnTo>
                  <a:pt x="30" y="126"/>
                </a:lnTo>
                <a:lnTo>
                  <a:pt x="42" y="120"/>
                </a:lnTo>
                <a:lnTo>
                  <a:pt x="48" y="114"/>
                </a:lnTo>
                <a:lnTo>
                  <a:pt x="60" y="102"/>
                </a:lnTo>
                <a:lnTo>
                  <a:pt x="72" y="96"/>
                </a:lnTo>
                <a:lnTo>
                  <a:pt x="78" y="96"/>
                </a:lnTo>
                <a:lnTo>
                  <a:pt x="90" y="96"/>
                </a:lnTo>
                <a:lnTo>
                  <a:pt x="96" y="90"/>
                </a:lnTo>
                <a:lnTo>
                  <a:pt x="102" y="96"/>
                </a:lnTo>
                <a:lnTo>
                  <a:pt x="108" y="96"/>
                </a:lnTo>
                <a:lnTo>
                  <a:pt x="120" y="102"/>
                </a:lnTo>
                <a:lnTo>
                  <a:pt x="126" y="108"/>
                </a:lnTo>
                <a:lnTo>
                  <a:pt x="126" y="114"/>
                </a:lnTo>
                <a:lnTo>
                  <a:pt x="132" y="114"/>
                </a:lnTo>
                <a:lnTo>
                  <a:pt x="138" y="120"/>
                </a:lnTo>
                <a:lnTo>
                  <a:pt x="144" y="120"/>
                </a:lnTo>
                <a:lnTo>
                  <a:pt x="144" y="126"/>
                </a:lnTo>
                <a:lnTo>
                  <a:pt x="150" y="126"/>
                </a:lnTo>
                <a:lnTo>
                  <a:pt x="156" y="120"/>
                </a:lnTo>
                <a:lnTo>
                  <a:pt x="156" y="96"/>
                </a:lnTo>
                <a:lnTo>
                  <a:pt x="156" y="84"/>
                </a:lnTo>
                <a:lnTo>
                  <a:pt x="162" y="84"/>
                </a:lnTo>
                <a:lnTo>
                  <a:pt x="168" y="78"/>
                </a:lnTo>
                <a:lnTo>
                  <a:pt x="174" y="72"/>
                </a:lnTo>
                <a:lnTo>
                  <a:pt x="180" y="72"/>
                </a:lnTo>
                <a:lnTo>
                  <a:pt x="198" y="66"/>
                </a:lnTo>
                <a:lnTo>
                  <a:pt x="198" y="60"/>
                </a:lnTo>
                <a:lnTo>
                  <a:pt x="216" y="42"/>
                </a:lnTo>
                <a:lnTo>
                  <a:pt x="222" y="36"/>
                </a:lnTo>
                <a:lnTo>
                  <a:pt x="228" y="36"/>
                </a:lnTo>
                <a:lnTo>
                  <a:pt x="228" y="30"/>
                </a:lnTo>
                <a:lnTo>
                  <a:pt x="228" y="24"/>
                </a:lnTo>
                <a:lnTo>
                  <a:pt x="246" y="18"/>
                </a:lnTo>
                <a:lnTo>
                  <a:pt x="252" y="18"/>
                </a:lnTo>
                <a:lnTo>
                  <a:pt x="258" y="12"/>
                </a:lnTo>
                <a:lnTo>
                  <a:pt x="270" y="6"/>
                </a:lnTo>
                <a:lnTo>
                  <a:pt x="288" y="6"/>
                </a:lnTo>
                <a:lnTo>
                  <a:pt x="312" y="12"/>
                </a:lnTo>
                <a:lnTo>
                  <a:pt x="324" y="12"/>
                </a:lnTo>
                <a:lnTo>
                  <a:pt x="336" y="18"/>
                </a:lnTo>
                <a:lnTo>
                  <a:pt x="348" y="24"/>
                </a:lnTo>
                <a:lnTo>
                  <a:pt x="354" y="24"/>
                </a:lnTo>
                <a:lnTo>
                  <a:pt x="354" y="18"/>
                </a:lnTo>
                <a:lnTo>
                  <a:pt x="360" y="18"/>
                </a:lnTo>
                <a:lnTo>
                  <a:pt x="360" y="6"/>
                </a:lnTo>
                <a:lnTo>
                  <a:pt x="372" y="6"/>
                </a:lnTo>
                <a:lnTo>
                  <a:pt x="390" y="6"/>
                </a:lnTo>
                <a:lnTo>
                  <a:pt x="396" y="0"/>
                </a:lnTo>
                <a:lnTo>
                  <a:pt x="414" y="12"/>
                </a:lnTo>
                <a:lnTo>
                  <a:pt x="426" y="12"/>
                </a:lnTo>
                <a:lnTo>
                  <a:pt x="444" y="18"/>
                </a:lnTo>
                <a:lnTo>
                  <a:pt x="462" y="18"/>
                </a:lnTo>
                <a:lnTo>
                  <a:pt x="474" y="18"/>
                </a:lnTo>
                <a:lnTo>
                  <a:pt x="480" y="18"/>
                </a:lnTo>
                <a:lnTo>
                  <a:pt x="486" y="36"/>
                </a:lnTo>
                <a:lnTo>
                  <a:pt x="480" y="42"/>
                </a:lnTo>
                <a:lnTo>
                  <a:pt x="480" y="54"/>
                </a:lnTo>
                <a:lnTo>
                  <a:pt x="486" y="78"/>
                </a:lnTo>
                <a:lnTo>
                  <a:pt x="486" y="114"/>
                </a:lnTo>
                <a:lnTo>
                  <a:pt x="486" y="150"/>
                </a:lnTo>
                <a:lnTo>
                  <a:pt x="468" y="150"/>
                </a:lnTo>
                <a:lnTo>
                  <a:pt x="474" y="162"/>
                </a:lnTo>
                <a:lnTo>
                  <a:pt x="480" y="162"/>
                </a:lnTo>
                <a:lnTo>
                  <a:pt x="486" y="174"/>
                </a:lnTo>
                <a:lnTo>
                  <a:pt x="492" y="174"/>
                </a:lnTo>
                <a:lnTo>
                  <a:pt x="492" y="192"/>
                </a:lnTo>
                <a:lnTo>
                  <a:pt x="498" y="198"/>
                </a:lnTo>
                <a:lnTo>
                  <a:pt x="504" y="204"/>
                </a:lnTo>
                <a:lnTo>
                  <a:pt x="504" y="210"/>
                </a:lnTo>
                <a:lnTo>
                  <a:pt x="498" y="210"/>
                </a:lnTo>
                <a:lnTo>
                  <a:pt x="498" y="222"/>
                </a:lnTo>
                <a:lnTo>
                  <a:pt x="492" y="228"/>
                </a:lnTo>
                <a:lnTo>
                  <a:pt x="492" y="234"/>
                </a:lnTo>
                <a:lnTo>
                  <a:pt x="492" y="240"/>
                </a:lnTo>
                <a:lnTo>
                  <a:pt x="486" y="246"/>
                </a:lnTo>
                <a:lnTo>
                  <a:pt x="486" y="258"/>
                </a:lnTo>
                <a:lnTo>
                  <a:pt x="480" y="264"/>
                </a:lnTo>
                <a:lnTo>
                  <a:pt x="474" y="276"/>
                </a:lnTo>
                <a:lnTo>
                  <a:pt x="468" y="288"/>
                </a:lnTo>
                <a:lnTo>
                  <a:pt x="456" y="306"/>
                </a:lnTo>
                <a:lnTo>
                  <a:pt x="456" y="312"/>
                </a:lnTo>
                <a:lnTo>
                  <a:pt x="444" y="318"/>
                </a:lnTo>
                <a:lnTo>
                  <a:pt x="432" y="336"/>
                </a:lnTo>
                <a:lnTo>
                  <a:pt x="432" y="342"/>
                </a:lnTo>
                <a:lnTo>
                  <a:pt x="432" y="348"/>
                </a:lnTo>
                <a:lnTo>
                  <a:pt x="432" y="354"/>
                </a:lnTo>
                <a:lnTo>
                  <a:pt x="426" y="366"/>
                </a:lnTo>
                <a:lnTo>
                  <a:pt x="420" y="366"/>
                </a:lnTo>
                <a:lnTo>
                  <a:pt x="420" y="372"/>
                </a:lnTo>
                <a:lnTo>
                  <a:pt x="414" y="378"/>
                </a:lnTo>
                <a:lnTo>
                  <a:pt x="414" y="390"/>
                </a:lnTo>
                <a:lnTo>
                  <a:pt x="408" y="390"/>
                </a:lnTo>
                <a:lnTo>
                  <a:pt x="408" y="402"/>
                </a:lnTo>
                <a:lnTo>
                  <a:pt x="402" y="414"/>
                </a:lnTo>
                <a:lnTo>
                  <a:pt x="396" y="438"/>
                </a:lnTo>
                <a:lnTo>
                  <a:pt x="396" y="444"/>
                </a:lnTo>
                <a:lnTo>
                  <a:pt x="390" y="456"/>
                </a:lnTo>
                <a:close/>
              </a:path>
            </a:pathLst>
          </a:custGeom>
          <a:noFill/>
          <a:ln w="9525" cap="flat" cmpd="sng">
            <a:gradFill flip="none" rotWithShape="1">
              <a:gsLst>
                <a:gs pos="0">
                  <a:srgbClr val="FF0000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1"/>
              <a:tileRect/>
            </a:gra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51" name="Freeform 7">
            <a:extLst>
              <a:ext uri="{FF2B5EF4-FFF2-40B4-BE49-F238E27FC236}">
                <a16:creationId xmlns:a16="http://schemas.microsoft.com/office/drawing/2014/main" id="{2F361BC1-A860-42AE-A940-E68FEC2265F8}"/>
              </a:ext>
            </a:extLst>
          </p:cNvPr>
          <p:cNvSpPr>
            <a:spLocks/>
          </p:cNvSpPr>
          <p:nvPr/>
        </p:nvSpPr>
        <p:spPr bwMode="gray">
          <a:xfrm>
            <a:off x="4515911" y="4938447"/>
            <a:ext cx="305969" cy="450123"/>
          </a:xfrm>
          <a:custGeom>
            <a:avLst/>
            <a:gdLst>
              <a:gd name="T0" fmla="*/ 39 w 534"/>
              <a:gd name="T1" fmla="*/ 35 h 774"/>
              <a:gd name="T2" fmla="*/ 35 w 534"/>
              <a:gd name="T3" fmla="*/ 31 h 774"/>
              <a:gd name="T4" fmla="*/ 32 w 534"/>
              <a:gd name="T5" fmla="*/ 29 h 774"/>
              <a:gd name="T6" fmla="*/ 32 w 534"/>
              <a:gd name="T7" fmla="*/ 31 h 774"/>
              <a:gd name="T8" fmla="*/ 29 w 534"/>
              <a:gd name="T9" fmla="*/ 33 h 774"/>
              <a:gd name="T10" fmla="*/ 27 w 534"/>
              <a:gd name="T11" fmla="*/ 36 h 774"/>
              <a:gd name="T12" fmla="*/ 30 w 534"/>
              <a:gd name="T13" fmla="*/ 38 h 774"/>
              <a:gd name="T14" fmla="*/ 29 w 534"/>
              <a:gd name="T15" fmla="*/ 40 h 774"/>
              <a:gd name="T16" fmla="*/ 25 w 534"/>
              <a:gd name="T17" fmla="*/ 40 h 774"/>
              <a:gd name="T18" fmla="*/ 23 w 534"/>
              <a:gd name="T19" fmla="*/ 42 h 774"/>
              <a:gd name="T20" fmla="*/ 22 w 534"/>
              <a:gd name="T21" fmla="*/ 47 h 774"/>
              <a:gd name="T22" fmla="*/ 22 w 534"/>
              <a:gd name="T23" fmla="*/ 51 h 774"/>
              <a:gd name="T24" fmla="*/ 22 w 534"/>
              <a:gd name="T25" fmla="*/ 54 h 774"/>
              <a:gd name="T26" fmla="*/ 21 w 534"/>
              <a:gd name="T27" fmla="*/ 56 h 774"/>
              <a:gd name="T28" fmla="*/ 19 w 534"/>
              <a:gd name="T29" fmla="*/ 58 h 774"/>
              <a:gd name="T30" fmla="*/ 20 w 534"/>
              <a:gd name="T31" fmla="*/ 59 h 774"/>
              <a:gd name="T32" fmla="*/ 19 w 534"/>
              <a:gd name="T33" fmla="*/ 62 h 774"/>
              <a:gd name="T34" fmla="*/ 19 w 534"/>
              <a:gd name="T35" fmla="*/ 64 h 774"/>
              <a:gd name="T36" fmla="*/ 20 w 534"/>
              <a:gd name="T37" fmla="*/ 66 h 774"/>
              <a:gd name="T38" fmla="*/ 17 w 534"/>
              <a:gd name="T39" fmla="*/ 66 h 774"/>
              <a:gd name="T40" fmla="*/ 16 w 534"/>
              <a:gd name="T41" fmla="*/ 65 h 774"/>
              <a:gd name="T42" fmla="*/ 13 w 534"/>
              <a:gd name="T43" fmla="*/ 65 h 774"/>
              <a:gd name="T44" fmla="*/ 11 w 534"/>
              <a:gd name="T45" fmla="*/ 65 h 774"/>
              <a:gd name="T46" fmla="*/ 8 w 534"/>
              <a:gd name="T47" fmla="*/ 65 h 774"/>
              <a:gd name="T48" fmla="*/ 8 w 534"/>
              <a:gd name="T49" fmla="*/ 64 h 774"/>
              <a:gd name="T50" fmla="*/ 5 w 534"/>
              <a:gd name="T51" fmla="*/ 65 h 774"/>
              <a:gd name="T52" fmla="*/ 3 w 534"/>
              <a:gd name="T53" fmla="*/ 65 h 774"/>
              <a:gd name="T54" fmla="*/ 0 w 534"/>
              <a:gd name="T55" fmla="*/ 64 h 774"/>
              <a:gd name="T56" fmla="*/ 0 w 534"/>
              <a:gd name="T57" fmla="*/ 62 h 774"/>
              <a:gd name="T58" fmla="*/ 3 w 534"/>
              <a:gd name="T59" fmla="*/ 60 h 774"/>
              <a:gd name="T60" fmla="*/ 6 w 534"/>
              <a:gd name="T61" fmla="*/ 57 h 774"/>
              <a:gd name="T62" fmla="*/ 8 w 534"/>
              <a:gd name="T63" fmla="*/ 50 h 774"/>
              <a:gd name="T64" fmla="*/ 6 w 534"/>
              <a:gd name="T65" fmla="*/ 45 h 774"/>
              <a:gd name="T66" fmla="*/ 8 w 534"/>
              <a:gd name="T67" fmla="*/ 41 h 774"/>
              <a:gd name="T68" fmla="*/ 9 w 534"/>
              <a:gd name="T69" fmla="*/ 38 h 774"/>
              <a:gd name="T70" fmla="*/ 10 w 534"/>
              <a:gd name="T71" fmla="*/ 36 h 774"/>
              <a:gd name="T72" fmla="*/ 12 w 534"/>
              <a:gd name="T73" fmla="*/ 33 h 774"/>
              <a:gd name="T74" fmla="*/ 14 w 534"/>
              <a:gd name="T75" fmla="*/ 29 h 774"/>
              <a:gd name="T76" fmla="*/ 16 w 534"/>
              <a:gd name="T77" fmla="*/ 26 h 774"/>
              <a:gd name="T78" fmla="*/ 16 w 534"/>
              <a:gd name="T79" fmla="*/ 24 h 774"/>
              <a:gd name="T80" fmla="*/ 16 w 534"/>
              <a:gd name="T81" fmla="*/ 21 h 774"/>
              <a:gd name="T82" fmla="*/ 13 w 534"/>
              <a:gd name="T83" fmla="*/ 19 h 774"/>
              <a:gd name="T84" fmla="*/ 14 w 534"/>
              <a:gd name="T85" fmla="*/ 10 h 774"/>
              <a:gd name="T86" fmla="*/ 14 w 534"/>
              <a:gd name="T87" fmla="*/ 7 h 774"/>
              <a:gd name="T88" fmla="*/ 8 w 534"/>
              <a:gd name="T89" fmla="*/ 7 h 774"/>
              <a:gd name="T90" fmla="*/ 7 w 534"/>
              <a:gd name="T91" fmla="*/ 3 h 774"/>
              <a:gd name="T92" fmla="*/ 11 w 534"/>
              <a:gd name="T93" fmla="*/ 1 h 774"/>
              <a:gd name="T94" fmla="*/ 12 w 534"/>
              <a:gd name="T95" fmla="*/ 0 h 774"/>
              <a:gd name="T96" fmla="*/ 16 w 534"/>
              <a:gd name="T97" fmla="*/ 2 h 774"/>
              <a:gd name="T98" fmla="*/ 20 w 534"/>
              <a:gd name="T99" fmla="*/ 2 h 774"/>
              <a:gd name="T100" fmla="*/ 23 w 534"/>
              <a:gd name="T101" fmla="*/ 3 h 774"/>
              <a:gd name="T102" fmla="*/ 23 w 534"/>
              <a:gd name="T103" fmla="*/ 10 h 774"/>
              <a:gd name="T104" fmla="*/ 29 w 534"/>
              <a:gd name="T105" fmla="*/ 12 h 774"/>
              <a:gd name="T106" fmla="*/ 35 w 534"/>
              <a:gd name="T107" fmla="*/ 12 h 774"/>
              <a:gd name="T108" fmla="*/ 38 w 534"/>
              <a:gd name="T109" fmla="*/ 17 h 774"/>
              <a:gd name="T110" fmla="*/ 40 w 534"/>
              <a:gd name="T111" fmla="*/ 19 h 774"/>
              <a:gd name="T112" fmla="*/ 44 w 534"/>
              <a:gd name="T113" fmla="*/ 23 h 774"/>
              <a:gd name="T114" fmla="*/ 44 w 534"/>
              <a:gd name="T115" fmla="*/ 30 h 774"/>
              <a:gd name="T116" fmla="*/ 46 w 534"/>
              <a:gd name="T117" fmla="*/ 36 h 774"/>
              <a:gd name="T118" fmla="*/ 41 w 534"/>
              <a:gd name="T119" fmla="*/ 37 h 774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534"/>
              <a:gd name="T181" fmla="*/ 0 h 774"/>
              <a:gd name="T182" fmla="*/ 534 w 534"/>
              <a:gd name="T183" fmla="*/ 774 h 774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534" h="774">
                <a:moveTo>
                  <a:pt x="462" y="426"/>
                </a:moveTo>
                <a:lnTo>
                  <a:pt x="462" y="414"/>
                </a:lnTo>
                <a:lnTo>
                  <a:pt x="450" y="402"/>
                </a:lnTo>
                <a:lnTo>
                  <a:pt x="444" y="396"/>
                </a:lnTo>
                <a:lnTo>
                  <a:pt x="420" y="396"/>
                </a:lnTo>
                <a:lnTo>
                  <a:pt x="408" y="390"/>
                </a:lnTo>
                <a:lnTo>
                  <a:pt x="402" y="366"/>
                </a:lnTo>
                <a:lnTo>
                  <a:pt x="390" y="354"/>
                </a:lnTo>
                <a:lnTo>
                  <a:pt x="384" y="336"/>
                </a:lnTo>
                <a:lnTo>
                  <a:pt x="378" y="336"/>
                </a:lnTo>
                <a:lnTo>
                  <a:pt x="366" y="336"/>
                </a:lnTo>
                <a:lnTo>
                  <a:pt x="360" y="336"/>
                </a:lnTo>
                <a:lnTo>
                  <a:pt x="354" y="336"/>
                </a:lnTo>
                <a:lnTo>
                  <a:pt x="348" y="336"/>
                </a:lnTo>
                <a:lnTo>
                  <a:pt x="348" y="348"/>
                </a:lnTo>
                <a:lnTo>
                  <a:pt x="360" y="354"/>
                </a:lnTo>
                <a:lnTo>
                  <a:pt x="360" y="390"/>
                </a:lnTo>
                <a:lnTo>
                  <a:pt x="348" y="390"/>
                </a:lnTo>
                <a:lnTo>
                  <a:pt x="342" y="384"/>
                </a:lnTo>
                <a:lnTo>
                  <a:pt x="330" y="378"/>
                </a:lnTo>
                <a:lnTo>
                  <a:pt x="324" y="378"/>
                </a:lnTo>
                <a:lnTo>
                  <a:pt x="318" y="390"/>
                </a:lnTo>
                <a:lnTo>
                  <a:pt x="312" y="402"/>
                </a:lnTo>
                <a:lnTo>
                  <a:pt x="306" y="420"/>
                </a:lnTo>
                <a:lnTo>
                  <a:pt x="324" y="414"/>
                </a:lnTo>
                <a:lnTo>
                  <a:pt x="330" y="414"/>
                </a:lnTo>
                <a:lnTo>
                  <a:pt x="336" y="420"/>
                </a:lnTo>
                <a:lnTo>
                  <a:pt x="336" y="432"/>
                </a:lnTo>
                <a:lnTo>
                  <a:pt x="330" y="438"/>
                </a:lnTo>
                <a:lnTo>
                  <a:pt x="330" y="444"/>
                </a:lnTo>
                <a:lnTo>
                  <a:pt x="330" y="450"/>
                </a:lnTo>
                <a:lnTo>
                  <a:pt x="324" y="456"/>
                </a:lnTo>
                <a:lnTo>
                  <a:pt x="318" y="456"/>
                </a:lnTo>
                <a:lnTo>
                  <a:pt x="300" y="456"/>
                </a:lnTo>
                <a:lnTo>
                  <a:pt x="288" y="462"/>
                </a:lnTo>
                <a:lnTo>
                  <a:pt x="276" y="462"/>
                </a:lnTo>
                <a:lnTo>
                  <a:pt x="270" y="462"/>
                </a:lnTo>
                <a:lnTo>
                  <a:pt x="270" y="468"/>
                </a:lnTo>
                <a:lnTo>
                  <a:pt x="252" y="468"/>
                </a:lnTo>
                <a:lnTo>
                  <a:pt x="258" y="480"/>
                </a:lnTo>
                <a:lnTo>
                  <a:pt x="258" y="492"/>
                </a:lnTo>
                <a:lnTo>
                  <a:pt x="258" y="498"/>
                </a:lnTo>
                <a:lnTo>
                  <a:pt x="258" y="510"/>
                </a:lnTo>
                <a:lnTo>
                  <a:pt x="252" y="540"/>
                </a:lnTo>
                <a:lnTo>
                  <a:pt x="246" y="564"/>
                </a:lnTo>
                <a:lnTo>
                  <a:pt x="246" y="570"/>
                </a:lnTo>
                <a:lnTo>
                  <a:pt x="252" y="576"/>
                </a:lnTo>
                <a:lnTo>
                  <a:pt x="246" y="582"/>
                </a:lnTo>
                <a:lnTo>
                  <a:pt x="252" y="600"/>
                </a:lnTo>
                <a:lnTo>
                  <a:pt x="258" y="606"/>
                </a:lnTo>
                <a:lnTo>
                  <a:pt x="258" y="612"/>
                </a:lnTo>
                <a:lnTo>
                  <a:pt x="252" y="618"/>
                </a:lnTo>
                <a:lnTo>
                  <a:pt x="246" y="624"/>
                </a:lnTo>
                <a:lnTo>
                  <a:pt x="246" y="630"/>
                </a:lnTo>
                <a:lnTo>
                  <a:pt x="246" y="636"/>
                </a:lnTo>
                <a:lnTo>
                  <a:pt x="240" y="642"/>
                </a:lnTo>
                <a:lnTo>
                  <a:pt x="234" y="654"/>
                </a:lnTo>
                <a:lnTo>
                  <a:pt x="228" y="654"/>
                </a:lnTo>
                <a:lnTo>
                  <a:pt x="222" y="660"/>
                </a:lnTo>
                <a:lnTo>
                  <a:pt x="216" y="666"/>
                </a:lnTo>
                <a:lnTo>
                  <a:pt x="210" y="666"/>
                </a:lnTo>
                <a:lnTo>
                  <a:pt x="204" y="678"/>
                </a:lnTo>
                <a:lnTo>
                  <a:pt x="210" y="678"/>
                </a:lnTo>
                <a:lnTo>
                  <a:pt x="222" y="684"/>
                </a:lnTo>
                <a:lnTo>
                  <a:pt x="222" y="690"/>
                </a:lnTo>
                <a:lnTo>
                  <a:pt x="222" y="696"/>
                </a:lnTo>
                <a:lnTo>
                  <a:pt x="222" y="702"/>
                </a:lnTo>
                <a:lnTo>
                  <a:pt x="216" y="708"/>
                </a:lnTo>
                <a:lnTo>
                  <a:pt x="210" y="720"/>
                </a:lnTo>
                <a:lnTo>
                  <a:pt x="216" y="732"/>
                </a:lnTo>
                <a:lnTo>
                  <a:pt x="210" y="732"/>
                </a:lnTo>
                <a:lnTo>
                  <a:pt x="216" y="738"/>
                </a:lnTo>
                <a:lnTo>
                  <a:pt x="216" y="744"/>
                </a:lnTo>
                <a:lnTo>
                  <a:pt x="222" y="750"/>
                </a:lnTo>
                <a:lnTo>
                  <a:pt x="228" y="756"/>
                </a:lnTo>
                <a:lnTo>
                  <a:pt x="222" y="762"/>
                </a:lnTo>
                <a:lnTo>
                  <a:pt x="228" y="768"/>
                </a:lnTo>
                <a:lnTo>
                  <a:pt x="222" y="774"/>
                </a:lnTo>
                <a:lnTo>
                  <a:pt x="204" y="762"/>
                </a:lnTo>
                <a:lnTo>
                  <a:pt x="198" y="762"/>
                </a:lnTo>
                <a:lnTo>
                  <a:pt x="192" y="762"/>
                </a:lnTo>
                <a:lnTo>
                  <a:pt x="186" y="756"/>
                </a:lnTo>
                <a:lnTo>
                  <a:pt x="180" y="750"/>
                </a:lnTo>
                <a:lnTo>
                  <a:pt x="180" y="744"/>
                </a:lnTo>
                <a:lnTo>
                  <a:pt x="174" y="744"/>
                </a:lnTo>
                <a:lnTo>
                  <a:pt x="156" y="750"/>
                </a:lnTo>
                <a:lnTo>
                  <a:pt x="150" y="750"/>
                </a:lnTo>
                <a:lnTo>
                  <a:pt x="144" y="750"/>
                </a:lnTo>
                <a:lnTo>
                  <a:pt x="138" y="750"/>
                </a:lnTo>
                <a:lnTo>
                  <a:pt x="138" y="744"/>
                </a:lnTo>
                <a:lnTo>
                  <a:pt x="132" y="744"/>
                </a:lnTo>
                <a:lnTo>
                  <a:pt x="120" y="744"/>
                </a:lnTo>
                <a:lnTo>
                  <a:pt x="114" y="738"/>
                </a:lnTo>
                <a:lnTo>
                  <a:pt x="108" y="744"/>
                </a:lnTo>
                <a:lnTo>
                  <a:pt x="102" y="744"/>
                </a:lnTo>
                <a:lnTo>
                  <a:pt x="96" y="744"/>
                </a:lnTo>
                <a:lnTo>
                  <a:pt x="96" y="738"/>
                </a:lnTo>
                <a:lnTo>
                  <a:pt x="96" y="744"/>
                </a:lnTo>
                <a:lnTo>
                  <a:pt x="90" y="744"/>
                </a:lnTo>
                <a:lnTo>
                  <a:pt x="90" y="738"/>
                </a:lnTo>
                <a:lnTo>
                  <a:pt x="84" y="744"/>
                </a:lnTo>
                <a:lnTo>
                  <a:pt x="72" y="750"/>
                </a:lnTo>
                <a:lnTo>
                  <a:pt x="66" y="750"/>
                </a:lnTo>
                <a:lnTo>
                  <a:pt x="60" y="750"/>
                </a:lnTo>
                <a:lnTo>
                  <a:pt x="54" y="756"/>
                </a:lnTo>
                <a:lnTo>
                  <a:pt x="42" y="756"/>
                </a:lnTo>
                <a:lnTo>
                  <a:pt x="36" y="750"/>
                </a:lnTo>
                <a:lnTo>
                  <a:pt x="30" y="750"/>
                </a:lnTo>
                <a:lnTo>
                  <a:pt x="24" y="744"/>
                </a:lnTo>
                <a:lnTo>
                  <a:pt x="18" y="738"/>
                </a:lnTo>
                <a:lnTo>
                  <a:pt x="6" y="738"/>
                </a:lnTo>
                <a:lnTo>
                  <a:pt x="0" y="732"/>
                </a:lnTo>
                <a:lnTo>
                  <a:pt x="0" y="726"/>
                </a:lnTo>
                <a:lnTo>
                  <a:pt x="0" y="720"/>
                </a:lnTo>
                <a:lnTo>
                  <a:pt x="6" y="714"/>
                </a:lnTo>
                <a:lnTo>
                  <a:pt x="6" y="708"/>
                </a:lnTo>
                <a:lnTo>
                  <a:pt x="12" y="708"/>
                </a:lnTo>
                <a:lnTo>
                  <a:pt x="18" y="702"/>
                </a:lnTo>
                <a:lnTo>
                  <a:pt x="24" y="696"/>
                </a:lnTo>
                <a:lnTo>
                  <a:pt x="30" y="696"/>
                </a:lnTo>
                <a:lnTo>
                  <a:pt x="48" y="690"/>
                </a:lnTo>
                <a:lnTo>
                  <a:pt x="54" y="678"/>
                </a:lnTo>
                <a:lnTo>
                  <a:pt x="66" y="672"/>
                </a:lnTo>
                <a:lnTo>
                  <a:pt x="66" y="654"/>
                </a:lnTo>
                <a:lnTo>
                  <a:pt x="72" y="636"/>
                </a:lnTo>
                <a:lnTo>
                  <a:pt x="72" y="612"/>
                </a:lnTo>
                <a:lnTo>
                  <a:pt x="84" y="594"/>
                </a:lnTo>
                <a:lnTo>
                  <a:pt x="90" y="576"/>
                </a:lnTo>
                <a:lnTo>
                  <a:pt x="96" y="552"/>
                </a:lnTo>
                <a:lnTo>
                  <a:pt x="90" y="528"/>
                </a:lnTo>
                <a:lnTo>
                  <a:pt x="84" y="528"/>
                </a:lnTo>
                <a:lnTo>
                  <a:pt x="72" y="522"/>
                </a:lnTo>
                <a:lnTo>
                  <a:pt x="78" y="510"/>
                </a:lnTo>
                <a:lnTo>
                  <a:pt x="78" y="504"/>
                </a:lnTo>
                <a:lnTo>
                  <a:pt x="84" y="480"/>
                </a:lnTo>
                <a:lnTo>
                  <a:pt x="90" y="468"/>
                </a:lnTo>
                <a:lnTo>
                  <a:pt x="90" y="456"/>
                </a:lnTo>
                <a:lnTo>
                  <a:pt x="96" y="456"/>
                </a:lnTo>
                <a:lnTo>
                  <a:pt x="96" y="444"/>
                </a:lnTo>
                <a:lnTo>
                  <a:pt x="102" y="438"/>
                </a:lnTo>
                <a:lnTo>
                  <a:pt x="102" y="432"/>
                </a:lnTo>
                <a:lnTo>
                  <a:pt x="108" y="432"/>
                </a:lnTo>
                <a:lnTo>
                  <a:pt x="114" y="420"/>
                </a:lnTo>
                <a:lnTo>
                  <a:pt x="114" y="414"/>
                </a:lnTo>
                <a:lnTo>
                  <a:pt x="114" y="408"/>
                </a:lnTo>
                <a:lnTo>
                  <a:pt x="114" y="402"/>
                </a:lnTo>
                <a:lnTo>
                  <a:pt x="126" y="384"/>
                </a:lnTo>
                <a:lnTo>
                  <a:pt x="138" y="378"/>
                </a:lnTo>
                <a:lnTo>
                  <a:pt x="138" y="372"/>
                </a:lnTo>
                <a:lnTo>
                  <a:pt x="150" y="354"/>
                </a:lnTo>
                <a:lnTo>
                  <a:pt x="156" y="342"/>
                </a:lnTo>
                <a:lnTo>
                  <a:pt x="162" y="330"/>
                </a:lnTo>
                <a:lnTo>
                  <a:pt x="168" y="324"/>
                </a:lnTo>
                <a:lnTo>
                  <a:pt x="168" y="312"/>
                </a:lnTo>
                <a:lnTo>
                  <a:pt x="174" y="306"/>
                </a:lnTo>
                <a:lnTo>
                  <a:pt x="174" y="300"/>
                </a:lnTo>
                <a:lnTo>
                  <a:pt x="174" y="294"/>
                </a:lnTo>
                <a:lnTo>
                  <a:pt x="180" y="288"/>
                </a:lnTo>
                <a:lnTo>
                  <a:pt x="180" y="276"/>
                </a:lnTo>
                <a:lnTo>
                  <a:pt x="186" y="276"/>
                </a:lnTo>
                <a:lnTo>
                  <a:pt x="186" y="270"/>
                </a:lnTo>
                <a:lnTo>
                  <a:pt x="180" y="264"/>
                </a:lnTo>
                <a:lnTo>
                  <a:pt x="174" y="258"/>
                </a:lnTo>
                <a:lnTo>
                  <a:pt x="174" y="240"/>
                </a:lnTo>
                <a:lnTo>
                  <a:pt x="168" y="240"/>
                </a:lnTo>
                <a:lnTo>
                  <a:pt x="162" y="228"/>
                </a:lnTo>
                <a:lnTo>
                  <a:pt x="156" y="228"/>
                </a:lnTo>
                <a:lnTo>
                  <a:pt x="150" y="216"/>
                </a:lnTo>
                <a:lnTo>
                  <a:pt x="168" y="216"/>
                </a:lnTo>
                <a:lnTo>
                  <a:pt x="168" y="180"/>
                </a:lnTo>
                <a:lnTo>
                  <a:pt x="168" y="144"/>
                </a:lnTo>
                <a:lnTo>
                  <a:pt x="162" y="120"/>
                </a:lnTo>
                <a:lnTo>
                  <a:pt x="162" y="108"/>
                </a:lnTo>
                <a:lnTo>
                  <a:pt x="168" y="102"/>
                </a:lnTo>
                <a:lnTo>
                  <a:pt x="162" y="84"/>
                </a:lnTo>
                <a:lnTo>
                  <a:pt x="156" y="84"/>
                </a:lnTo>
                <a:lnTo>
                  <a:pt x="144" y="84"/>
                </a:lnTo>
                <a:lnTo>
                  <a:pt x="126" y="84"/>
                </a:lnTo>
                <a:lnTo>
                  <a:pt x="108" y="78"/>
                </a:lnTo>
                <a:lnTo>
                  <a:pt x="96" y="78"/>
                </a:lnTo>
                <a:lnTo>
                  <a:pt x="78" y="66"/>
                </a:lnTo>
                <a:lnTo>
                  <a:pt x="84" y="60"/>
                </a:lnTo>
                <a:lnTo>
                  <a:pt x="78" y="54"/>
                </a:lnTo>
                <a:lnTo>
                  <a:pt x="78" y="36"/>
                </a:lnTo>
                <a:lnTo>
                  <a:pt x="96" y="24"/>
                </a:lnTo>
                <a:lnTo>
                  <a:pt x="120" y="24"/>
                </a:lnTo>
                <a:lnTo>
                  <a:pt x="126" y="18"/>
                </a:lnTo>
                <a:lnTo>
                  <a:pt x="126" y="12"/>
                </a:lnTo>
                <a:lnTo>
                  <a:pt x="126" y="6"/>
                </a:lnTo>
                <a:lnTo>
                  <a:pt x="132" y="6"/>
                </a:lnTo>
                <a:lnTo>
                  <a:pt x="138" y="6"/>
                </a:lnTo>
                <a:lnTo>
                  <a:pt x="138" y="0"/>
                </a:lnTo>
                <a:lnTo>
                  <a:pt x="156" y="0"/>
                </a:lnTo>
                <a:lnTo>
                  <a:pt x="156" y="6"/>
                </a:lnTo>
                <a:lnTo>
                  <a:pt x="168" y="24"/>
                </a:lnTo>
                <a:lnTo>
                  <a:pt x="180" y="24"/>
                </a:lnTo>
                <a:lnTo>
                  <a:pt x="192" y="18"/>
                </a:lnTo>
                <a:lnTo>
                  <a:pt x="198" y="18"/>
                </a:lnTo>
                <a:lnTo>
                  <a:pt x="210" y="18"/>
                </a:lnTo>
                <a:lnTo>
                  <a:pt x="222" y="18"/>
                </a:lnTo>
                <a:lnTo>
                  <a:pt x="234" y="12"/>
                </a:lnTo>
                <a:lnTo>
                  <a:pt x="252" y="18"/>
                </a:lnTo>
                <a:lnTo>
                  <a:pt x="252" y="24"/>
                </a:lnTo>
                <a:lnTo>
                  <a:pt x="258" y="36"/>
                </a:lnTo>
                <a:lnTo>
                  <a:pt x="258" y="66"/>
                </a:lnTo>
                <a:lnTo>
                  <a:pt x="252" y="84"/>
                </a:lnTo>
                <a:lnTo>
                  <a:pt x="252" y="120"/>
                </a:lnTo>
                <a:lnTo>
                  <a:pt x="258" y="120"/>
                </a:lnTo>
                <a:lnTo>
                  <a:pt x="282" y="126"/>
                </a:lnTo>
                <a:lnTo>
                  <a:pt x="294" y="132"/>
                </a:lnTo>
                <a:lnTo>
                  <a:pt x="306" y="138"/>
                </a:lnTo>
                <a:lnTo>
                  <a:pt x="324" y="138"/>
                </a:lnTo>
                <a:lnTo>
                  <a:pt x="348" y="138"/>
                </a:lnTo>
                <a:lnTo>
                  <a:pt x="354" y="138"/>
                </a:lnTo>
                <a:lnTo>
                  <a:pt x="360" y="144"/>
                </a:lnTo>
                <a:lnTo>
                  <a:pt x="396" y="144"/>
                </a:lnTo>
                <a:lnTo>
                  <a:pt x="408" y="150"/>
                </a:lnTo>
                <a:lnTo>
                  <a:pt x="414" y="180"/>
                </a:lnTo>
                <a:lnTo>
                  <a:pt x="420" y="186"/>
                </a:lnTo>
                <a:lnTo>
                  <a:pt x="426" y="192"/>
                </a:lnTo>
                <a:lnTo>
                  <a:pt x="426" y="198"/>
                </a:lnTo>
                <a:lnTo>
                  <a:pt x="432" y="198"/>
                </a:lnTo>
                <a:lnTo>
                  <a:pt x="438" y="210"/>
                </a:lnTo>
                <a:lnTo>
                  <a:pt x="450" y="216"/>
                </a:lnTo>
                <a:lnTo>
                  <a:pt x="468" y="228"/>
                </a:lnTo>
                <a:lnTo>
                  <a:pt x="492" y="234"/>
                </a:lnTo>
                <a:lnTo>
                  <a:pt x="492" y="246"/>
                </a:lnTo>
                <a:lnTo>
                  <a:pt x="492" y="270"/>
                </a:lnTo>
                <a:lnTo>
                  <a:pt x="486" y="294"/>
                </a:lnTo>
                <a:lnTo>
                  <a:pt x="486" y="312"/>
                </a:lnTo>
                <a:lnTo>
                  <a:pt x="486" y="330"/>
                </a:lnTo>
                <a:lnTo>
                  <a:pt x="492" y="348"/>
                </a:lnTo>
                <a:lnTo>
                  <a:pt x="498" y="360"/>
                </a:lnTo>
                <a:lnTo>
                  <a:pt x="510" y="366"/>
                </a:lnTo>
                <a:lnTo>
                  <a:pt x="516" y="384"/>
                </a:lnTo>
                <a:lnTo>
                  <a:pt x="522" y="414"/>
                </a:lnTo>
                <a:lnTo>
                  <a:pt x="528" y="414"/>
                </a:lnTo>
                <a:lnTo>
                  <a:pt x="534" y="426"/>
                </a:lnTo>
                <a:lnTo>
                  <a:pt x="528" y="432"/>
                </a:lnTo>
                <a:lnTo>
                  <a:pt x="468" y="426"/>
                </a:lnTo>
                <a:lnTo>
                  <a:pt x="462" y="426"/>
                </a:lnTo>
                <a:close/>
              </a:path>
            </a:pathLst>
          </a:custGeom>
          <a:noFill/>
          <a:ln w="9525" cap="flat" cmpd="sng">
            <a:gradFill flip="none" rotWithShape="1">
              <a:gsLst>
                <a:gs pos="0">
                  <a:srgbClr val="FF0000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1"/>
              <a:tileRect/>
            </a:gra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63" name="Freeform 19">
            <a:extLst>
              <a:ext uri="{FF2B5EF4-FFF2-40B4-BE49-F238E27FC236}">
                <a16:creationId xmlns:a16="http://schemas.microsoft.com/office/drawing/2014/main" id="{281A8B0D-118E-4AB2-B012-6A4220FAE46A}"/>
              </a:ext>
            </a:extLst>
          </p:cNvPr>
          <p:cNvSpPr>
            <a:spLocks/>
          </p:cNvSpPr>
          <p:nvPr/>
        </p:nvSpPr>
        <p:spPr bwMode="gray">
          <a:xfrm>
            <a:off x="4435461" y="4540065"/>
            <a:ext cx="359855" cy="436514"/>
          </a:xfrm>
          <a:custGeom>
            <a:avLst/>
            <a:gdLst>
              <a:gd name="T0" fmla="*/ 30 w 624"/>
              <a:gd name="T1" fmla="*/ 61 h 750"/>
              <a:gd name="T2" fmla="*/ 27 w 624"/>
              <a:gd name="T3" fmla="*/ 62 h 750"/>
              <a:gd name="T4" fmla="*/ 23 w 624"/>
              <a:gd name="T5" fmla="*/ 59 h 750"/>
              <a:gd name="T6" fmla="*/ 20 w 624"/>
              <a:gd name="T7" fmla="*/ 58 h 750"/>
              <a:gd name="T8" fmla="*/ 19 w 624"/>
              <a:gd name="T9" fmla="*/ 56 h 750"/>
              <a:gd name="T10" fmla="*/ 17 w 624"/>
              <a:gd name="T11" fmla="*/ 55 h 750"/>
              <a:gd name="T12" fmla="*/ 16 w 624"/>
              <a:gd name="T13" fmla="*/ 51 h 750"/>
              <a:gd name="T14" fmla="*/ 14 w 624"/>
              <a:gd name="T15" fmla="*/ 48 h 750"/>
              <a:gd name="T16" fmla="*/ 12 w 624"/>
              <a:gd name="T17" fmla="*/ 46 h 750"/>
              <a:gd name="T18" fmla="*/ 12 w 624"/>
              <a:gd name="T19" fmla="*/ 44 h 750"/>
              <a:gd name="T20" fmla="*/ 11 w 624"/>
              <a:gd name="T21" fmla="*/ 41 h 750"/>
              <a:gd name="T22" fmla="*/ 8 w 624"/>
              <a:gd name="T23" fmla="*/ 38 h 750"/>
              <a:gd name="T24" fmla="*/ 6 w 624"/>
              <a:gd name="T25" fmla="*/ 38 h 750"/>
              <a:gd name="T26" fmla="*/ 6 w 624"/>
              <a:gd name="T27" fmla="*/ 35 h 750"/>
              <a:gd name="T28" fmla="*/ 7 w 624"/>
              <a:gd name="T29" fmla="*/ 31 h 750"/>
              <a:gd name="T30" fmla="*/ 10 w 624"/>
              <a:gd name="T31" fmla="*/ 27 h 750"/>
              <a:gd name="T32" fmla="*/ 8 w 624"/>
              <a:gd name="T33" fmla="*/ 23 h 750"/>
              <a:gd name="T34" fmla="*/ 6 w 624"/>
              <a:gd name="T35" fmla="*/ 23 h 750"/>
              <a:gd name="T36" fmla="*/ 3 w 624"/>
              <a:gd name="T37" fmla="*/ 22 h 750"/>
              <a:gd name="T38" fmla="*/ 0 w 624"/>
              <a:gd name="T39" fmla="*/ 22 h 750"/>
              <a:gd name="T40" fmla="*/ 0 w 624"/>
              <a:gd name="T41" fmla="*/ 19 h 750"/>
              <a:gd name="T42" fmla="*/ 1 w 624"/>
              <a:gd name="T43" fmla="*/ 18 h 750"/>
              <a:gd name="T44" fmla="*/ 2 w 624"/>
              <a:gd name="T45" fmla="*/ 14 h 750"/>
              <a:gd name="T46" fmla="*/ 4 w 624"/>
              <a:gd name="T47" fmla="*/ 17 h 750"/>
              <a:gd name="T48" fmla="*/ 6 w 624"/>
              <a:gd name="T49" fmla="*/ 17 h 750"/>
              <a:gd name="T50" fmla="*/ 7 w 624"/>
              <a:gd name="T51" fmla="*/ 17 h 750"/>
              <a:gd name="T52" fmla="*/ 9 w 624"/>
              <a:gd name="T53" fmla="*/ 15 h 750"/>
              <a:gd name="T54" fmla="*/ 10 w 624"/>
              <a:gd name="T55" fmla="*/ 14 h 750"/>
              <a:gd name="T56" fmla="*/ 11 w 624"/>
              <a:gd name="T57" fmla="*/ 12 h 750"/>
              <a:gd name="T58" fmla="*/ 13 w 624"/>
              <a:gd name="T59" fmla="*/ 12 h 750"/>
              <a:gd name="T60" fmla="*/ 18 w 624"/>
              <a:gd name="T61" fmla="*/ 10 h 750"/>
              <a:gd name="T62" fmla="*/ 22 w 624"/>
              <a:gd name="T63" fmla="*/ 4 h 750"/>
              <a:gd name="T64" fmla="*/ 24 w 624"/>
              <a:gd name="T65" fmla="*/ 4 h 750"/>
              <a:gd name="T66" fmla="*/ 26 w 624"/>
              <a:gd name="T67" fmla="*/ 2 h 750"/>
              <a:gd name="T68" fmla="*/ 29 w 624"/>
              <a:gd name="T69" fmla="*/ 0 h 750"/>
              <a:gd name="T70" fmla="*/ 32 w 624"/>
              <a:gd name="T71" fmla="*/ 2 h 750"/>
              <a:gd name="T72" fmla="*/ 34 w 624"/>
              <a:gd name="T73" fmla="*/ 5 h 750"/>
              <a:gd name="T74" fmla="*/ 35 w 624"/>
              <a:gd name="T75" fmla="*/ 8 h 750"/>
              <a:gd name="T76" fmla="*/ 39 w 624"/>
              <a:gd name="T77" fmla="*/ 11 h 750"/>
              <a:gd name="T78" fmla="*/ 42 w 624"/>
              <a:gd name="T79" fmla="*/ 14 h 750"/>
              <a:gd name="T80" fmla="*/ 46 w 624"/>
              <a:gd name="T81" fmla="*/ 12 h 750"/>
              <a:gd name="T82" fmla="*/ 49 w 624"/>
              <a:gd name="T83" fmla="*/ 12 h 750"/>
              <a:gd name="T84" fmla="*/ 51 w 624"/>
              <a:gd name="T85" fmla="*/ 12 h 750"/>
              <a:gd name="T86" fmla="*/ 53 w 624"/>
              <a:gd name="T87" fmla="*/ 12 h 750"/>
              <a:gd name="T88" fmla="*/ 53 w 624"/>
              <a:gd name="T89" fmla="*/ 17 h 750"/>
              <a:gd name="T90" fmla="*/ 51 w 624"/>
              <a:gd name="T91" fmla="*/ 20 h 750"/>
              <a:gd name="T92" fmla="*/ 49 w 624"/>
              <a:gd name="T93" fmla="*/ 26 h 750"/>
              <a:gd name="T94" fmla="*/ 47 w 624"/>
              <a:gd name="T95" fmla="*/ 26 h 750"/>
              <a:gd name="T96" fmla="*/ 44 w 624"/>
              <a:gd name="T97" fmla="*/ 26 h 750"/>
              <a:gd name="T98" fmla="*/ 43 w 624"/>
              <a:gd name="T99" fmla="*/ 27 h 750"/>
              <a:gd name="T100" fmla="*/ 45 w 624"/>
              <a:gd name="T101" fmla="*/ 32 h 750"/>
              <a:gd name="T102" fmla="*/ 44 w 624"/>
              <a:gd name="T103" fmla="*/ 43 h 750"/>
              <a:gd name="T104" fmla="*/ 44 w 624"/>
              <a:gd name="T105" fmla="*/ 47 h 750"/>
              <a:gd name="T106" fmla="*/ 44 w 624"/>
              <a:gd name="T107" fmla="*/ 54 h 750"/>
              <a:gd name="T108" fmla="*/ 41 w 624"/>
              <a:gd name="T109" fmla="*/ 60 h 750"/>
              <a:gd name="T110" fmla="*/ 42 w 624"/>
              <a:gd name="T111" fmla="*/ 62 h 750"/>
              <a:gd name="T112" fmla="*/ 43 w 624"/>
              <a:gd name="T113" fmla="*/ 65 h 750"/>
              <a:gd name="T114" fmla="*/ 39 w 624"/>
              <a:gd name="T115" fmla="*/ 63 h 750"/>
              <a:gd name="T116" fmla="*/ 35 w 624"/>
              <a:gd name="T117" fmla="*/ 62 h 75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624"/>
              <a:gd name="T178" fmla="*/ 0 h 750"/>
              <a:gd name="T179" fmla="*/ 624 w 624"/>
              <a:gd name="T180" fmla="*/ 750 h 750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624" h="750">
                <a:moveTo>
                  <a:pt x="390" y="702"/>
                </a:moveTo>
                <a:lnTo>
                  <a:pt x="372" y="696"/>
                </a:lnTo>
                <a:lnTo>
                  <a:pt x="360" y="702"/>
                </a:lnTo>
                <a:lnTo>
                  <a:pt x="348" y="702"/>
                </a:lnTo>
                <a:lnTo>
                  <a:pt x="336" y="702"/>
                </a:lnTo>
                <a:lnTo>
                  <a:pt x="330" y="702"/>
                </a:lnTo>
                <a:lnTo>
                  <a:pt x="318" y="708"/>
                </a:lnTo>
                <a:lnTo>
                  <a:pt x="306" y="708"/>
                </a:lnTo>
                <a:lnTo>
                  <a:pt x="294" y="690"/>
                </a:lnTo>
                <a:lnTo>
                  <a:pt x="294" y="684"/>
                </a:lnTo>
                <a:lnTo>
                  <a:pt x="276" y="684"/>
                </a:lnTo>
                <a:lnTo>
                  <a:pt x="270" y="678"/>
                </a:lnTo>
                <a:lnTo>
                  <a:pt x="240" y="672"/>
                </a:lnTo>
                <a:lnTo>
                  <a:pt x="234" y="672"/>
                </a:lnTo>
                <a:lnTo>
                  <a:pt x="228" y="672"/>
                </a:lnTo>
                <a:lnTo>
                  <a:pt x="228" y="666"/>
                </a:lnTo>
                <a:lnTo>
                  <a:pt x="222" y="666"/>
                </a:lnTo>
                <a:lnTo>
                  <a:pt x="216" y="660"/>
                </a:lnTo>
                <a:lnTo>
                  <a:pt x="216" y="654"/>
                </a:lnTo>
                <a:lnTo>
                  <a:pt x="216" y="642"/>
                </a:lnTo>
                <a:lnTo>
                  <a:pt x="210" y="642"/>
                </a:lnTo>
                <a:lnTo>
                  <a:pt x="204" y="636"/>
                </a:lnTo>
                <a:lnTo>
                  <a:pt x="198" y="636"/>
                </a:lnTo>
                <a:lnTo>
                  <a:pt x="192" y="636"/>
                </a:lnTo>
                <a:lnTo>
                  <a:pt x="192" y="624"/>
                </a:lnTo>
                <a:lnTo>
                  <a:pt x="186" y="612"/>
                </a:lnTo>
                <a:lnTo>
                  <a:pt x="186" y="600"/>
                </a:lnTo>
                <a:lnTo>
                  <a:pt x="186" y="588"/>
                </a:lnTo>
                <a:lnTo>
                  <a:pt x="180" y="582"/>
                </a:lnTo>
                <a:lnTo>
                  <a:pt x="180" y="570"/>
                </a:lnTo>
                <a:lnTo>
                  <a:pt x="174" y="558"/>
                </a:lnTo>
                <a:lnTo>
                  <a:pt x="162" y="558"/>
                </a:lnTo>
                <a:lnTo>
                  <a:pt x="144" y="564"/>
                </a:lnTo>
                <a:lnTo>
                  <a:pt x="138" y="552"/>
                </a:lnTo>
                <a:lnTo>
                  <a:pt x="144" y="540"/>
                </a:lnTo>
                <a:lnTo>
                  <a:pt x="138" y="534"/>
                </a:lnTo>
                <a:lnTo>
                  <a:pt x="138" y="528"/>
                </a:lnTo>
                <a:lnTo>
                  <a:pt x="132" y="522"/>
                </a:lnTo>
                <a:lnTo>
                  <a:pt x="144" y="522"/>
                </a:lnTo>
                <a:lnTo>
                  <a:pt x="144" y="510"/>
                </a:lnTo>
                <a:lnTo>
                  <a:pt x="144" y="504"/>
                </a:lnTo>
                <a:lnTo>
                  <a:pt x="138" y="492"/>
                </a:lnTo>
                <a:lnTo>
                  <a:pt x="138" y="474"/>
                </a:lnTo>
                <a:lnTo>
                  <a:pt x="126" y="468"/>
                </a:lnTo>
                <a:lnTo>
                  <a:pt x="120" y="456"/>
                </a:lnTo>
                <a:lnTo>
                  <a:pt x="114" y="450"/>
                </a:lnTo>
                <a:lnTo>
                  <a:pt x="108" y="438"/>
                </a:lnTo>
                <a:lnTo>
                  <a:pt x="96" y="432"/>
                </a:lnTo>
                <a:lnTo>
                  <a:pt x="84" y="432"/>
                </a:lnTo>
                <a:lnTo>
                  <a:pt x="78" y="432"/>
                </a:lnTo>
                <a:lnTo>
                  <a:pt x="72" y="432"/>
                </a:lnTo>
                <a:lnTo>
                  <a:pt x="66" y="432"/>
                </a:lnTo>
                <a:lnTo>
                  <a:pt x="60" y="426"/>
                </a:lnTo>
                <a:lnTo>
                  <a:pt x="66" y="420"/>
                </a:lnTo>
                <a:lnTo>
                  <a:pt x="66" y="408"/>
                </a:lnTo>
                <a:lnTo>
                  <a:pt x="72" y="408"/>
                </a:lnTo>
                <a:lnTo>
                  <a:pt x="72" y="384"/>
                </a:lnTo>
                <a:lnTo>
                  <a:pt x="72" y="366"/>
                </a:lnTo>
                <a:lnTo>
                  <a:pt x="78" y="354"/>
                </a:lnTo>
                <a:lnTo>
                  <a:pt x="84" y="354"/>
                </a:lnTo>
                <a:lnTo>
                  <a:pt x="90" y="348"/>
                </a:lnTo>
                <a:lnTo>
                  <a:pt x="102" y="336"/>
                </a:lnTo>
                <a:lnTo>
                  <a:pt x="114" y="324"/>
                </a:lnTo>
                <a:lnTo>
                  <a:pt x="120" y="312"/>
                </a:lnTo>
                <a:lnTo>
                  <a:pt x="126" y="294"/>
                </a:lnTo>
                <a:lnTo>
                  <a:pt x="126" y="288"/>
                </a:lnTo>
                <a:lnTo>
                  <a:pt x="120" y="276"/>
                </a:lnTo>
                <a:lnTo>
                  <a:pt x="96" y="270"/>
                </a:lnTo>
                <a:lnTo>
                  <a:pt x="84" y="270"/>
                </a:lnTo>
                <a:lnTo>
                  <a:pt x="78" y="270"/>
                </a:lnTo>
                <a:lnTo>
                  <a:pt x="72" y="270"/>
                </a:lnTo>
                <a:lnTo>
                  <a:pt x="72" y="264"/>
                </a:lnTo>
                <a:lnTo>
                  <a:pt x="60" y="252"/>
                </a:lnTo>
                <a:lnTo>
                  <a:pt x="42" y="252"/>
                </a:lnTo>
                <a:lnTo>
                  <a:pt x="42" y="258"/>
                </a:lnTo>
                <a:lnTo>
                  <a:pt x="36" y="258"/>
                </a:lnTo>
                <a:lnTo>
                  <a:pt x="36" y="252"/>
                </a:lnTo>
                <a:lnTo>
                  <a:pt x="18" y="252"/>
                </a:lnTo>
                <a:lnTo>
                  <a:pt x="6" y="258"/>
                </a:lnTo>
                <a:lnTo>
                  <a:pt x="0" y="258"/>
                </a:lnTo>
                <a:lnTo>
                  <a:pt x="0" y="252"/>
                </a:lnTo>
                <a:lnTo>
                  <a:pt x="6" y="240"/>
                </a:lnTo>
                <a:lnTo>
                  <a:pt x="6" y="234"/>
                </a:lnTo>
                <a:lnTo>
                  <a:pt x="6" y="222"/>
                </a:lnTo>
                <a:lnTo>
                  <a:pt x="6" y="216"/>
                </a:lnTo>
                <a:lnTo>
                  <a:pt x="6" y="210"/>
                </a:lnTo>
                <a:lnTo>
                  <a:pt x="6" y="204"/>
                </a:lnTo>
                <a:lnTo>
                  <a:pt x="12" y="204"/>
                </a:lnTo>
                <a:lnTo>
                  <a:pt x="12" y="198"/>
                </a:lnTo>
                <a:lnTo>
                  <a:pt x="12" y="186"/>
                </a:lnTo>
                <a:lnTo>
                  <a:pt x="12" y="180"/>
                </a:lnTo>
                <a:lnTo>
                  <a:pt x="24" y="162"/>
                </a:lnTo>
                <a:lnTo>
                  <a:pt x="30" y="162"/>
                </a:lnTo>
                <a:lnTo>
                  <a:pt x="30" y="156"/>
                </a:lnTo>
                <a:lnTo>
                  <a:pt x="42" y="156"/>
                </a:lnTo>
                <a:lnTo>
                  <a:pt x="48" y="198"/>
                </a:lnTo>
                <a:lnTo>
                  <a:pt x="48" y="204"/>
                </a:lnTo>
                <a:lnTo>
                  <a:pt x="54" y="198"/>
                </a:lnTo>
                <a:lnTo>
                  <a:pt x="60" y="204"/>
                </a:lnTo>
                <a:lnTo>
                  <a:pt x="66" y="198"/>
                </a:lnTo>
                <a:lnTo>
                  <a:pt x="66" y="204"/>
                </a:lnTo>
                <a:lnTo>
                  <a:pt x="72" y="204"/>
                </a:lnTo>
                <a:lnTo>
                  <a:pt x="78" y="204"/>
                </a:lnTo>
                <a:lnTo>
                  <a:pt x="78" y="192"/>
                </a:lnTo>
                <a:lnTo>
                  <a:pt x="84" y="192"/>
                </a:lnTo>
                <a:lnTo>
                  <a:pt x="90" y="192"/>
                </a:lnTo>
                <a:lnTo>
                  <a:pt x="96" y="186"/>
                </a:lnTo>
                <a:lnTo>
                  <a:pt x="102" y="180"/>
                </a:lnTo>
                <a:lnTo>
                  <a:pt x="102" y="174"/>
                </a:lnTo>
                <a:lnTo>
                  <a:pt x="108" y="168"/>
                </a:lnTo>
                <a:lnTo>
                  <a:pt x="108" y="162"/>
                </a:lnTo>
                <a:lnTo>
                  <a:pt x="114" y="156"/>
                </a:lnTo>
                <a:lnTo>
                  <a:pt x="120" y="156"/>
                </a:lnTo>
                <a:lnTo>
                  <a:pt x="126" y="156"/>
                </a:lnTo>
                <a:lnTo>
                  <a:pt x="132" y="150"/>
                </a:lnTo>
                <a:lnTo>
                  <a:pt x="132" y="144"/>
                </a:lnTo>
                <a:lnTo>
                  <a:pt x="138" y="138"/>
                </a:lnTo>
                <a:lnTo>
                  <a:pt x="144" y="138"/>
                </a:lnTo>
                <a:lnTo>
                  <a:pt x="150" y="138"/>
                </a:lnTo>
                <a:lnTo>
                  <a:pt x="150" y="132"/>
                </a:lnTo>
                <a:lnTo>
                  <a:pt x="150" y="126"/>
                </a:lnTo>
                <a:lnTo>
                  <a:pt x="156" y="126"/>
                </a:lnTo>
                <a:lnTo>
                  <a:pt x="174" y="126"/>
                </a:lnTo>
                <a:lnTo>
                  <a:pt x="204" y="120"/>
                </a:lnTo>
                <a:lnTo>
                  <a:pt x="210" y="78"/>
                </a:lnTo>
                <a:lnTo>
                  <a:pt x="246" y="60"/>
                </a:lnTo>
                <a:lnTo>
                  <a:pt x="258" y="60"/>
                </a:lnTo>
                <a:lnTo>
                  <a:pt x="258" y="48"/>
                </a:lnTo>
                <a:lnTo>
                  <a:pt x="264" y="48"/>
                </a:lnTo>
                <a:lnTo>
                  <a:pt x="270" y="54"/>
                </a:lnTo>
                <a:lnTo>
                  <a:pt x="276" y="54"/>
                </a:lnTo>
                <a:lnTo>
                  <a:pt x="276" y="48"/>
                </a:lnTo>
                <a:lnTo>
                  <a:pt x="282" y="48"/>
                </a:lnTo>
                <a:lnTo>
                  <a:pt x="288" y="42"/>
                </a:lnTo>
                <a:lnTo>
                  <a:pt x="294" y="42"/>
                </a:lnTo>
                <a:lnTo>
                  <a:pt x="294" y="18"/>
                </a:lnTo>
                <a:lnTo>
                  <a:pt x="312" y="6"/>
                </a:lnTo>
                <a:lnTo>
                  <a:pt x="318" y="6"/>
                </a:lnTo>
                <a:lnTo>
                  <a:pt x="324" y="6"/>
                </a:lnTo>
                <a:lnTo>
                  <a:pt x="330" y="0"/>
                </a:lnTo>
                <a:lnTo>
                  <a:pt x="336" y="0"/>
                </a:lnTo>
                <a:lnTo>
                  <a:pt x="342" y="0"/>
                </a:lnTo>
                <a:lnTo>
                  <a:pt x="354" y="6"/>
                </a:lnTo>
                <a:lnTo>
                  <a:pt x="366" y="18"/>
                </a:lnTo>
                <a:lnTo>
                  <a:pt x="378" y="36"/>
                </a:lnTo>
                <a:lnTo>
                  <a:pt x="390" y="42"/>
                </a:lnTo>
                <a:lnTo>
                  <a:pt x="390" y="48"/>
                </a:lnTo>
                <a:lnTo>
                  <a:pt x="396" y="60"/>
                </a:lnTo>
                <a:lnTo>
                  <a:pt x="402" y="72"/>
                </a:lnTo>
                <a:lnTo>
                  <a:pt x="408" y="78"/>
                </a:lnTo>
                <a:lnTo>
                  <a:pt x="402" y="84"/>
                </a:lnTo>
                <a:lnTo>
                  <a:pt x="408" y="90"/>
                </a:lnTo>
                <a:lnTo>
                  <a:pt x="414" y="102"/>
                </a:lnTo>
                <a:lnTo>
                  <a:pt x="444" y="114"/>
                </a:lnTo>
                <a:lnTo>
                  <a:pt x="450" y="114"/>
                </a:lnTo>
                <a:lnTo>
                  <a:pt x="450" y="126"/>
                </a:lnTo>
                <a:lnTo>
                  <a:pt x="456" y="126"/>
                </a:lnTo>
                <a:lnTo>
                  <a:pt x="462" y="144"/>
                </a:lnTo>
                <a:lnTo>
                  <a:pt x="480" y="156"/>
                </a:lnTo>
                <a:lnTo>
                  <a:pt x="492" y="156"/>
                </a:lnTo>
                <a:lnTo>
                  <a:pt x="516" y="150"/>
                </a:lnTo>
                <a:lnTo>
                  <a:pt x="516" y="144"/>
                </a:lnTo>
                <a:lnTo>
                  <a:pt x="516" y="138"/>
                </a:lnTo>
                <a:lnTo>
                  <a:pt x="528" y="138"/>
                </a:lnTo>
                <a:lnTo>
                  <a:pt x="546" y="144"/>
                </a:lnTo>
                <a:lnTo>
                  <a:pt x="546" y="138"/>
                </a:lnTo>
                <a:lnTo>
                  <a:pt x="552" y="138"/>
                </a:lnTo>
                <a:lnTo>
                  <a:pt x="564" y="138"/>
                </a:lnTo>
                <a:lnTo>
                  <a:pt x="570" y="132"/>
                </a:lnTo>
                <a:lnTo>
                  <a:pt x="576" y="138"/>
                </a:lnTo>
                <a:lnTo>
                  <a:pt x="582" y="138"/>
                </a:lnTo>
                <a:lnTo>
                  <a:pt x="588" y="138"/>
                </a:lnTo>
                <a:lnTo>
                  <a:pt x="594" y="138"/>
                </a:lnTo>
                <a:lnTo>
                  <a:pt x="594" y="144"/>
                </a:lnTo>
                <a:lnTo>
                  <a:pt x="600" y="138"/>
                </a:lnTo>
                <a:lnTo>
                  <a:pt x="606" y="138"/>
                </a:lnTo>
                <a:lnTo>
                  <a:pt x="606" y="144"/>
                </a:lnTo>
                <a:lnTo>
                  <a:pt x="612" y="144"/>
                </a:lnTo>
                <a:lnTo>
                  <a:pt x="618" y="156"/>
                </a:lnTo>
                <a:lnTo>
                  <a:pt x="612" y="198"/>
                </a:lnTo>
                <a:lnTo>
                  <a:pt x="624" y="198"/>
                </a:lnTo>
                <a:lnTo>
                  <a:pt x="624" y="204"/>
                </a:lnTo>
                <a:lnTo>
                  <a:pt x="612" y="216"/>
                </a:lnTo>
                <a:lnTo>
                  <a:pt x="594" y="234"/>
                </a:lnTo>
                <a:lnTo>
                  <a:pt x="588" y="252"/>
                </a:lnTo>
                <a:lnTo>
                  <a:pt x="576" y="270"/>
                </a:lnTo>
                <a:lnTo>
                  <a:pt x="564" y="282"/>
                </a:lnTo>
                <a:lnTo>
                  <a:pt x="564" y="294"/>
                </a:lnTo>
                <a:lnTo>
                  <a:pt x="558" y="282"/>
                </a:lnTo>
                <a:lnTo>
                  <a:pt x="552" y="282"/>
                </a:lnTo>
                <a:lnTo>
                  <a:pt x="546" y="288"/>
                </a:lnTo>
                <a:lnTo>
                  <a:pt x="546" y="294"/>
                </a:lnTo>
                <a:lnTo>
                  <a:pt x="540" y="294"/>
                </a:lnTo>
                <a:lnTo>
                  <a:pt x="534" y="294"/>
                </a:lnTo>
                <a:lnTo>
                  <a:pt x="522" y="300"/>
                </a:lnTo>
                <a:lnTo>
                  <a:pt x="510" y="294"/>
                </a:lnTo>
                <a:lnTo>
                  <a:pt x="492" y="300"/>
                </a:lnTo>
                <a:lnTo>
                  <a:pt x="492" y="306"/>
                </a:lnTo>
                <a:lnTo>
                  <a:pt x="498" y="312"/>
                </a:lnTo>
                <a:lnTo>
                  <a:pt x="498" y="318"/>
                </a:lnTo>
                <a:lnTo>
                  <a:pt x="498" y="324"/>
                </a:lnTo>
                <a:lnTo>
                  <a:pt x="504" y="336"/>
                </a:lnTo>
                <a:lnTo>
                  <a:pt x="510" y="348"/>
                </a:lnTo>
                <a:lnTo>
                  <a:pt x="516" y="366"/>
                </a:lnTo>
                <a:lnTo>
                  <a:pt x="522" y="432"/>
                </a:lnTo>
                <a:lnTo>
                  <a:pt x="522" y="456"/>
                </a:lnTo>
                <a:lnTo>
                  <a:pt x="504" y="492"/>
                </a:lnTo>
                <a:lnTo>
                  <a:pt x="504" y="498"/>
                </a:lnTo>
                <a:lnTo>
                  <a:pt x="498" y="504"/>
                </a:lnTo>
                <a:lnTo>
                  <a:pt x="498" y="522"/>
                </a:lnTo>
                <a:lnTo>
                  <a:pt x="504" y="534"/>
                </a:lnTo>
                <a:lnTo>
                  <a:pt x="510" y="546"/>
                </a:lnTo>
                <a:lnTo>
                  <a:pt x="516" y="558"/>
                </a:lnTo>
                <a:lnTo>
                  <a:pt x="516" y="588"/>
                </a:lnTo>
                <a:lnTo>
                  <a:pt x="516" y="600"/>
                </a:lnTo>
                <a:lnTo>
                  <a:pt x="510" y="618"/>
                </a:lnTo>
                <a:lnTo>
                  <a:pt x="504" y="636"/>
                </a:lnTo>
                <a:lnTo>
                  <a:pt x="504" y="642"/>
                </a:lnTo>
                <a:lnTo>
                  <a:pt x="474" y="654"/>
                </a:lnTo>
                <a:lnTo>
                  <a:pt x="474" y="690"/>
                </a:lnTo>
                <a:lnTo>
                  <a:pt x="474" y="696"/>
                </a:lnTo>
                <a:lnTo>
                  <a:pt x="480" y="702"/>
                </a:lnTo>
                <a:lnTo>
                  <a:pt x="486" y="708"/>
                </a:lnTo>
                <a:lnTo>
                  <a:pt x="492" y="708"/>
                </a:lnTo>
                <a:lnTo>
                  <a:pt x="498" y="726"/>
                </a:lnTo>
                <a:lnTo>
                  <a:pt x="504" y="726"/>
                </a:lnTo>
                <a:lnTo>
                  <a:pt x="504" y="738"/>
                </a:lnTo>
                <a:lnTo>
                  <a:pt x="498" y="744"/>
                </a:lnTo>
                <a:lnTo>
                  <a:pt x="486" y="750"/>
                </a:lnTo>
                <a:lnTo>
                  <a:pt x="474" y="744"/>
                </a:lnTo>
                <a:lnTo>
                  <a:pt x="462" y="744"/>
                </a:lnTo>
                <a:lnTo>
                  <a:pt x="456" y="732"/>
                </a:lnTo>
                <a:lnTo>
                  <a:pt x="444" y="732"/>
                </a:lnTo>
                <a:lnTo>
                  <a:pt x="432" y="726"/>
                </a:lnTo>
                <a:lnTo>
                  <a:pt x="420" y="720"/>
                </a:lnTo>
                <a:lnTo>
                  <a:pt x="408" y="708"/>
                </a:lnTo>
                <a:lnTo>
                  <a:pt x="402" y="708"/>
                </a:lnTo>
                <a:lnTo>
                  <a:pt x="390" y="702"/>
                </a:lnTo>
                <a:close/>
              </a:path>
            </a:pathLst>
          </a:custGeom>
          <a:noFill/>
          <a:ln w="9525" cap="flat" cmpd="sng">
            <a:gradFill flip="none" rotWithShape="1">
              <a:gsLst>
                <a:gs pos="0">
                  <a:srgbClr val="FF0000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1"/>
              <a:tileRect/>
            </a:gra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64" name="Freeform 20">
            <a:extLst>
              <a:ext uri="{FF2B5EF4-FFF2-40B4-BE49-F238E27FC236}">
                <a16:creationId xmlns:a16="http://schemas.microsoft.com/office/drawing/2014/main" id="{65D718AF-D693-4C7D-A666-36DC9088B09B}"/>
              </a:ext>
            </a:extLst>
          </p:cNvPr>
          <p:cNvSpPr>
            <a:spLocks/>
          </p:cNvSpPr>
          <p:nvPr/>
        </p:nvSpPr>
        <p:spPr bwMode="gray">
          <a:xfrm>
            <a:off x="4660897" y="4656348"/>
            <a:ext cx="337291" cy="413427"/>
          </a:xfrm>
          <a:custGeom>
            <a:avLst/>
            <a:gdLst>
              <a:gd name="T0" fmla="*/ 15 w 588"/>
              <a:gd name="T1" fmla="*/ 59 h 714"/>
              <a:gd name="T2" fmla="*/ 14 w 588"/>
              <a:gd name="T3" fmla="*/ 58 h 714"/>
              <a:gd name="T4" fmla="*/ 9 w 588"/>
              <a:gd name="T5" fmla="*/ 54 h 714"/>
              <a:gd name="T6" fmla="*/ 4 w 588"/>
              <a:gd name="T7" fmla="*/ 54 h 714"/>
              <a:gd name="T8" fmla="*/ 0 w 588"/>
              <a:gd name="T9" fmla="*/ 50 h 714"/>
              <a:gd name="T10" fmla="*/ 0 w 588"/>
              <a:gd name="T11" fmla="*/ 44 h 714"/>
              <a:gd name="T12" fmla="*/ 4 w 588"/>
              <a:gd name="T13" fmla="*/ 46 h 714"/>
              <a:gd name="T14" fmla="*/ 7 w 588"/>
              <a:gd name="T15" fmla="*/ 47 h 714"/>
              <a:gd name="T16" fmla="*/ 10 w 588"/>
              <a:gd name="T17" fmla="*/ 46 h 714"/>
              <a:gd name="T18" fmla="*/ 8 w 588"/>
              <a:gd name="T19" fmla="*/ 44 h 714"/>
              <a:gd name="T20" fmla="*/ 10 w 588"/>
              <a:gd name="T21" fmla="*/ 39 h 714"/>
              <a:gd name="T22" fmla="*/ 11 w 588"/>
              <a:gd name="T23" fmla="*/ 34 h 714"/>
              <a:gd name="T24" fmla="*/ 9 w 588"/>
              <a:gd name="T25" fmla="*/ 28 h 714"/>
              <a:gd name="T26" fmla="*/ 11 w 588"/>
              <a:gd name="T27" fmla="*/ 22 h 714"/>
              <a:gd name="T28" fmla="*/ 10 w 588"/>
              <a:gd name="T29" fmla="*/ 12 h 714"/>
              <a:gd name="T30" fmla="*/ 9 w 588"/>
              <a:gd name="T31" fmla="*/ 9 h 714"/>
              <a:gd name="T32" fmla="*/ 12 w 588"/>
              <a:gd name="T33" fmla="*/ 8 h 714"/>
              <a:gd name="T34" fmla="*/ 14 w 588"/>
              <a:gd name="T35" fmla="*/ 7 h 714"/>
              <a:gd name="T36" fmla="*/ 17 w 588"/>
              <a:gd name="T37" fmla="*/ 10 h 714"/>
              <a:gd name="T38" fmla="*/ 23 w 588"/>
              <a:gd name="T39" fmla="*/ 14 h 714"/>
              <a:gd name="T40" fmla="*/ 28 w 588"/>
              <a:gd name="T41" fmla="*/ 4 h 714"/>
              <a:gd name="T42" fmla="*/ 35 w 588"/>
              <a:gd name="T43" fmla="*/ 2 h 714"/>
              <a:gd name="T44" fmla="*/ 38 w 588"/>
              <a:gd name="T45" fmla="*/ 0 h 714"/>
              <a:gd name="T46" fmla="*/ 40 w 588"/>
              <a:gd name="T47" fmla="*/ 2 h 714"/>
              <a:gd name="T48" fmla="*/ 39 w 588"/>
              <a:gd name="T49" fmla="*/ 4 h 714"/>
              <a:gd name="T50" fmla="*/ 41 w 588"/>
              <a:gd name="T51" fmla="*/ 5 h 714"/>
              <a:gd name="T52" fmla="*/ 42 w 588"/>
              <a:gd name="T53" fmla="*/ 7 h 714"/>
              <a:gd name="T54" fmla="*/ 43 w 588"/>
              <a:gd name="T55" fmla="*/ 9 h 714"/>
              <a:gd name="T56" fmla="*/ 43 w 588"/>
              <a:gd name="T57" fmla="*/ 10 h 714"/>
              <a:gd name="T58" fmla="*/ 43 w 588"/>
              <a:gd name="T59" fmla="*/ 12 h 714"/>
              <a:gd name="T60" fmla="*/ 44 w 588"/>
              <a:gd name="T61" fmla="*/ 12 h 714"/>
              <a:gd name="T62" fmla="*/ 46 w 588"/>
              <a:gd name="T63" fmla="*/ 13 h 714"/>
              <a:gd name="T64" fmla="*/ 47 w 588"/>
              <a:gd name="T65" fmla="*/ 14 h 714"/>
              <a:gd name="T66" fmla="*/ 48 w 588"/>
              <a:gd name="T67" fmla="*/ 15 h 714"/>
              <a:gd name="T68" fmla="*/ 49 w 588"/>
              <a:gd name="T69" fmla="*/ 15 h 714"/>
              <a:gd name="T70" fmla="*/ 48 w 588"/>
              <a:gd name="T71" fmla="*/ 17 h 714"/>
              <a:gd name="T72" fmla="*/ 49 w 588"/>
              <a:gd name="T73" fmla="*/ 19 h 714"/>
              <a:gd name="T74" fmla="*/ 49 w 588"/>
              <a:gd name="T75" fmla="*/ 20 h 714"/>
              <a:gd name="T76" fmla="*/ 51 w 588"/>
              <a:gd name="T77" fmla="*/ 21 h 714"/>
              <a:gd name="T78" fmla="*/ 50 w 588"/>
              <a:gd name="T79" fmla="*/ 22 h 714"/>
              <a:gd name="T80" fmla="*/ 47 w 588"/>
              <a:gd name="T81" fmla="*/ 23 h 714"/>
              <a:gd name="T82" fmla="*/ 47 w 588"/>
              <a:gd name="T83" fmla="*/ 26 h 714"/>
              <a:gd name="T84" fmla="*/ 47 w 588"/>
              <a:gd name="T85" fmla="*/ 32 h 714"/>
              <a:gd name="T86" fmla="*/ 44 w 588"/>
              <a:gd name="T87" fmla="*/ 35 h 714"/>
              <a:gd name="T88" fmla="*/ 42 w 588"/>
              <a:gd name="T89" fmla="*/ 39 h 714"/>
              <a:gd name="T90" fmla="*/ 42 w 588"/>
              <a:gd name="T91" fmla="*/ 41 h 714"/>
              <a:gd name="T92" fmla="*/ 42 w 588"/>
              <a:gd name="T93" fmla="*/ 42 h 714"/>
              <a:gd name="T94" fmla="*/ 41 w 588"/>
              <a:gd name="T95" fmla="*/ 44 h 714"/>
              <a:gd name="T96" fmla="*/ 39 w 588"/>
              <a:gd name="T97" fmla="*/ 43 h 714"/>
              <a:gd name="T98" fmla="*/ 37 w 588"/>
              <a:gd name="T99" fmla="*/ 44 h 714"/>
              <a:gd name="T100" fmla="*/ 35 w 588"/>
              <a:gd name="T101" fmla="*/ 46 h 714"/>
              <a:gd name="T102" fmla="*/ 31 w 588"/>
              <a:gd name="T103" fmla="*/ 45 h 714"/>
              <a:gd name="T104" fmla="*/ 24 w 588"/>
              <a:gd name="T105" fmla="*/ 45 h 714"/>
              <a:gd name="T106" fmla="*/ 25 w 588"/>
              <a:gd name="T107" fmla="*/ 47 h 714"/>
              <a:gd name="T108" fmla="*/ 25 w 588"/>
              <a:gd name="T109" fmla="*/ 49 h 714"/>
              <a:gd name="T110" fmla="*/ 25 w 588"/>
              <a:gd name="T111" fmla="*/ 50 h 714"/>
              <a:gd name="T112" fmla="*/ 24 w 588"/>
              <a:gd name="T113" fmla="*/ 51 h 714"/>
              <a:gd name="T114" fmla="*/ 22 w 588"/>
              <a:gd name="T115" fmla="*/ 53 h 714"/>
              <a:gd name="T116" fmla="*/ 23 w 588"/>
              <a:gd name="T117" fmla="*/ 56 h 714"/>
              <a:gd name="T118" fmla="*/ 20 w 588"/>
              <a:gd name="T119" fmla="*/ 58 h 714"/>
              <a:gd name="T120" fmla="*/ 19 w 588"/>
              <a:gd name="T121" fmla="*/ 62 h 714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588"/>
              <a:gd name="T184" fmla="*/ 0 h 714"/>
              <a:gd name="T185" fmla="*/ 588 w 588"/>
              <a:gd name="T186" fmla="*/ 714 h 714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588" h="714">
                <a:moveTo>
                  <a:pt x="216" y="714"/>
                </a:moveTo>
                <a:lnTo>
                  <a:pt x="198" y="702"/>
                </a:lnTo>
                <a:lnTo>
                  <a:pt x="186" y="696"/>
                </a:lnTo>
                <a:lnTo>
                  <a:pt x="180" y="684"/>
                </a:lnTo>
                <a:lnTo>
                  <a:pt x="174" y="684"/>
                </a:lnTo>
                <a:lnTo>
                  <a:pt x="174" y="678"/>
                </a:lnTo>
                <a:lnTo>
                  <a:pt x="168" y="672"/>
                </a:lnTo>
                <a:lnTo>
                  <a:pt x="162" y="666"/>
                </a:lnTo>
                <a:lnTo>
                  <a:pt x="156" y="636"/>
                </a:lnTo>
                <a:lnTo>
                  <a:pt x="144" y="630"/>
                </a:lnTo>
                <a:lnTo>
                  <a:pt x="108" y="630"/>
                </a:lnTo>
                <a:lnTo>
                  <a:pt x="102" y="624"/>
                </a:lnTo>
                <a:lnTo>
                  <a:pt x="96" y="624"/>
                </a:lnTo>
                <a:lnTo>
                  <a:pt x="72" y="624"/>
                </a:lnTo>
                <a:lnTo>
                  <a:pt x="54" y="624"/>
                </a:lnTo>
                <a:lnTo>
                  <a:pt x="42" y="618"/>
                </a:lnTo>
                <a:lnTo>
                  <a:pt x="30" y="612"/>
                </a:lnTo>
                <a:lnTo>
                  <a:pt x="6" y="606"/>
                </a:lnTo>
                <a:lnTo>
                  <a:pt x="0" y="606"/>
                </a:lnTo>
                <a:lnTo>
                  <a:pt x="0" y="570"/>
                </a:lnTo>
                <a:lnTo>
                  <a:pt x="6" y="552"/>
                </a:lnTo>
                <a:lnTo>
                  <a:pt x="6" y="522"/>
                </a:lnTo>
                <a:lnTo>
                  <a:pt x="0" y="510"/>
                </a:lnTo>
                <a:lnTo>
                  <a:pt x="0" y="504"/>
                </a:lnTo>
                <a:lnTo>
                  <a:pt x="12" y="510"/>
                </a:lnTo>
                <a:lnTo>
                  <a:pt x="18" y="510"/>
                </a:lnTo>
                <a:lnTo>
                  <a:pt x="30" y="522"/>
                </a:lnTo>
                <a:lnTo>
                  <a:pt x="42" y="528"/>
                </a:lnTo>
                <a:lnTo>
                  <a:pt x="54" y="534"/>
                </a:lnTo>
                <a:lnTo>
                  <a:pt x="66" y="534"/>
                </a:lnTo>
                <a:lnTo>
                  <a:pt x="72" y="546"/>
                </a:lnTo>
                <a:lnTo>
                  <a:pt x="84" y="546"/>
                </a:lnTo>
                <a:lnTo>
                  <a:pt x="96" y="552"/>
                </a:lnTo>
                <a:lnTo>
                  <a:pt x="108" y="546"/>
                </a:lnTo>
                <a:lnTo>
                  <a:pt x="114" y="540"/>
                </a:lnTo>
                <a:lnTo>
                  <a:pt x="114" y="528"/>
                </a:lnTo>
                <a:lnTo>
                  <a:pt x="108" y="528"/>
                </a:lnTo>
                <a:lnTo>
                  <a:pt x="102" y="510"/>
                </a:lnTo>
                <a:lnTo>
                  <a:pt x="96" y="510"/>
                </a:lnTo>
                <a:lnTo>
                  <a:pt x="90" y="504"/>
                </a:lnTo>
                <a:lnTo>
                  <a:pt x="84" y="498"/>
                </a:lnTo>
                <a:lnTo>
                  <a:pt x="84" y="492"/>
                </a:lnTo>
                <a:lnTo>
                  <a:pt x="84" y="456"/>
                </a:lnTo>
                <a:lnTo>
                  <a:pt x="114" y="444"/>
                </a:lnTo>
                <a:lnTo>
                  <a:pt x="114" y="438"/>
                </a:lnTo>
                <a:lnTo>
                  <a:pt x="120" y="420"/>
                </a:lnTo>
                <a:lnTo>
                  <a:pt x="126" y="402"/>
                </a:lnTo>
                <a:lnTo>
                  <a:pt x="126" y="390"/>
                </a:lnTo>
                <a:lnTo>
                  <a:pt x="126" y="360"/>
                </a:lnTo>
                <a:lnTo>
                  <a:pt x="120" y="348"/>
                </a:lnTo>
                <a:lnTo>
                  <a:pt x="114" y="336"/>
                </a:lnTo>
                <a:lnTo>
                  <a:pt x="108" y="324"/>
                </a:lnTo>
                <a:lnTo>
                  <a:pt x="108" y="306"/>
                </a:lnTo>
                <a:lnTo>
                  <a:pt x="114" y="300"/>
                </a:lnTo>
                <a:lnTo>
                  <a:pt x="114" y="294"/>
                </a:lnTo>
                <a:lnTo>
                  <a:pt x="132" y="258"/>
                </a:lnTo>
                <a:lnTo>
                  <a:pt x="132" y="234"/>
                </a:lnTo>
                <a:lnTo>
                  <a:pt x="126" y="168"/>
                </a:lnTo>
                <a:lnTo>
                  <a:pt x="120" y="150"/>
                </a:lnTo>
                <a:lnTo>
                  <a:pt x="114" y="138"/>
                </a:lnTo>
                <a:lnTo>
                  <a:pt x="108" y="126"/>
                </a:lnTo>
                <a:lnTo>
                  <a:pt x="108" y="120"/>
                </a:lnTo>
                <a:lnTo>
                  <a:pt x="108" y="114"/>
                </a:lnTo>
                <a:lnTo>
                  <a:pt x="102" y="108"/>
                </a:lnTo>
                <a:lnTo>
                  <a:pt x="102" y="102"/>
                </a:lnTo>
                <a:lnTo>
                  <a:pt x="120" y="96"/>
                </a:lnTo>
                <a:lnTo>
                  <a:pt x="132" y="102"/>
                </a:lnTo>
                <a:lnTo>
                  <a:pt x="144" y="96"/>
                </a:lnTo>
                <a:lnTo>
                  <a:pt x="150" y="96"/>
                </a:lnTo>
                <a:lnTo>
                  <a:pt x="156" y="96"/>
                </a:lnTo>
                <a:lnTo>
                  <a:pt x="156" y="90"/>
                </a:lnTo>
                <a:lnTo>
                  <a:pt x="162" y="84"/>
                </a:lnTo>
                <a:lnTo>
                  <a:pt x="168" y="84"/>
                </a:lnTo>
                <a:lnTo>
                  <a:pt x="174" y="96"/>
                </a:lnTo>
                <a:lnTo>
                  <a:pt x="186" y="96"/>
                </a:lnTo>
                <a:lnTo>
                  <a:pt x="192" y="114"/>
                </a:lnTo>
                <a:lnTo>
                  <a:pt x="204" y="132"/>
                </a:lnTo>
                <a:lnTo>
                  <a:pt x="216" y="144"/>
                </a:lnTo>
                <a:lnTo>
                  <a:pt x="240" y="162"/>
                </a:lnTo>
                <a:lnTo>
                  <a:pt x="270" y="156"/>
                </a:lnTo>
                <a:lnTo>
                  <a:pt x="282" y="126"/>
                </a:lnTo>
                <a:lnTo>
                  <a:pt x="282" y="96"/>
                </a:lnTo>
                <a:lnTo>
                  <a:pt x="294" y="54"/>
                </a:lnTo>
                <a:lnTo>
                  <a:pt x="324" y="48"/>
                </a:lnTo>
                <a:lnTo>
                  <a:pt x="342" y="48"/>
                </a:lnTo>
                <a:lnTo>
                  <a:pt x="384" y="48"/>
                </a:lnTo>
                <a:lnTo>
                  <a:pt x="390" y="30"/>
                </a:lnTo>
                <a:lnTo>
                  <a:pt x="402" y="18"/>
                </a:lnTo>
                <a:lnTo>
                  <a:pt x="438" y="6"/>
                </a:lnTo>
                <a:lnTo>
                  <a:pt x="438" y="0"/>
                </a:lnTo>
                <a:lnTo>
                  <a:pt x="444" y="0"/>
                </a:lnTo>
                <a:lnTo>
                  <a:pt x="444" y="6"/>
                </a:lnTo>
                <a:lnTo>
                  <a:pt x="450" y="6"/>
                </a:lnTo>
                <a:lnTo>
                  <a:pt x="456" y="12"/>
                </a:lnTo>
                <a:lnTo>
                  <a:pt x="456" y="18"/>
                </a:lnTo>
                <a:lnTo>
                  <a:pt x="462" y="24"/>
                </a:lnTo>
                <a:lnTo>
                  <a:pt x="462" y="30"/>
                </a:lnTo>
                <a:lnTo>
                  <a:pt x="468" y="36"/>
                </a:lnTo>
                <a:lnTo>
                  <a:pt x="462" y="36"/>
                </a:lnTo>
                <a:lnTo>
                  <a:pt x="456" y="42"/>
                </a:lnTo>
                <a:lnTo>
                  <a:pt x="462" y="42"/>
                </a:lnTo>
                <a:lnTo>
                  <a:pt x="468" y="48"/>
                </a:lnTo>
                <a:lnTo>
                  <a:pt x="468" y="54"/>
                </a:lnTo>
                <a:lnTo>
                  <a:pt x="474" y="54"/>
                </a:lnTo>
                <a:lnTo>
                  <a:pt x="474" y="60"/>
                </a:lnTo>
                <a:lnTo>
                  <a:pt x="486" y="78"/>
                </a:lnTo>
                <a:lnTo>
                  <a:pt x="486" y="84"/>
                </a:lnTo>
                <a:lnTo>
                  <a:pt x="492" y="84"/>
                </a:lnTo>
                <a:lnTo>
                  <a:pt x="492" y="90"/>
                </a:lnTo>
                <a:lnTo>
                  <a:pt x="492" y="96"/>
                </a:lnTo>
                <a:lnTo>
                  <a:pt x="492" y="102"/>
                </a:lnTo>
                <a:lnTo>
                  <a:pt x="498" y="102"/>
                </a:lnTo>
                <a:lnTo>
                  <a:pt x="504" y="102"/>
                </a:lnTo>
                <a:lnTo>
                  <a:pt x="504" y="108"/>
                </a:lnTo>
                <a:lnTo>
                  <a:pt x="504" y="114"/>
                </a:lnTo>
                <a:lnTo>
                  <a:pt x="498" y="114"/>
                </a:lnTo>
                <a:lnTo>
                  <a:pt x="498" y="120"/>
                </a:lnTo>
                <a:lnTo>
                  <a:pt x="498" y="126"/>
                </a:lnTo>
                <a:lnTo>
                  <a:pt x="504" y="126"/>
                </a:lnTo>
                <a:lnTo>
                  <a:pt x="498" y="132"/>
                </a:lnTo>
                <a:lnTo>
                  <a:pt x="504" y="138"/>
                </a:lnTo>
                <a:lnTo>
                  <a:pt x="504" y="132"/>
                </a:lnTo>
                <a:lnTo>
                  <a:pt x="510" y="132"/>
                </a:lnTo>
                <a:lnTo>
                  <a:pt x="510" y="138"/>
                </a:lnTo>
                <a:lnTo>
                  <a:pt x="516" y="144"/>
                </a:lnTo>
                <a:lnTo>
                  <a:pt x="522" y="144"/>
                </a:lnTo>
                <a:lnTo>
                  <a:pt x="522" y="150"/>
                </a:lnTo>
                <a:lnTo>
                  <a:pt x="528" y="150"/>
                </a:lnTo>
                <a:lnTo>
                  <a:pt x="534" y="150"/>
                </a:lnTo>
                <a:lnTo>
                  <a:pt x="534" y="156"/>
                </a:lnTo>
                <a:lnTo>
                  <a:pt x="534" y="162"/>
                </a:lnTo>
                <a:lnTo>
                  <a:pt x="540" y="156"/>
                </a:lnTo>
                <a:lnTo>
                  <a:pt x="546" y="156"/>
                </a:lnTo>
                <a:lnTo>
                  <a:pt x="546" y="162"/>
                </a:lnTo>
                <a:lnTo>
                  <a:pt x="546" y="168"/>
                </a:lnTo>
                <a:lnTo>
                  <a:pt x="552" y="168"/>
                </a:lnTo>
                <a:lnTo>
                  <a:pt x="546" y="168"/>
                </a:lnTo>
                <a:lnTo>
                  <a:pt x="546" y="174"/>
                </a:lnTo>
                <a:lnTo>
                  <a:pt x="558" y="180"/>
                </a:lnTo>
                <a:lnTo>
                  <a:pt x="564" y="180"/>
                </a:lnTo>
                <a:lnTo>
                  <a:pt x="564" y="186"/>
                </a:lnTo>
                <a:lnTo>
                  <a:pt x="558" y="192"/>
                </a:lnTo>
                <a:lnTo>
                  <a:pt x="558" y="198"/>
                </a:lnTo>
                <a:lnTo>
                  <a:pt x="552" y="198"/>
                </a:lnTo>
                <a:lnTo>
                  <a:pt x="558" y="204"/>
                </a:lnTo>
                <a:lnTo>
                  <a:pt x="564" y="204"/>
                </a:lnTo>
                <a:lnTo>
                  <a:pt x="564" y="210"/>
                </a:lnTo>
                <a:lnTo>
                  <a:pt x="570" y="216"/>
                </a:lnTo>
                <a:lnTo>
                  <a:pt x="576" y="222"/>
                </a:lnTo>
                <a:lnTo>
                  <a:pt x="576" y="228"/>
                </a:lnTo>
                <a:lnTo>
                  <a:pt x="570" y="228"/>
                </a:lnTo>
                <a:lnTo>
                  <a:pt x="570" y="234"/>
                </a:lnTo>
                <a:lnTo>
                  <a:pt x="576" y="234"/>
                </a:lnTo>
                <a:lnTo>
                  <a:pt x="582" y="234"/>
                </a:lnTo>
                <a:lnTo>
                  <a:pt x="588" y="234"/>
                </a:lnTo>
                <a:lnTo>
                  <a:pt x="588" y="240"/>
                </a:lnTo>
                <a:lnTo>
                  <a:pt x="588" y="246"/>
                </a:lnTo>
                <a:lnTo>
                  <a:pt x="588" y="252"/>
                </a:lnTo>
                <a:lnTo>
                  <a:pt x="582" y="252"/>
                </a:lnTo>
                <a:lnTo>
                  <a:pt x="576" y="252"/>
                </a:lnTo>
                <a:lnTo>
                  <a:pt x="582" y="258"/>
                </a:lnTo>
                <a:lnTo>
                  <a:pt x="582" y="264"/>
                </a:lnTo>
                <a:lnTo>
                  <a:pt x="576" y="264"/>
                </a:lnTo>
                <a:lnTo>
                  <a:pt x="546" y="264"/>
                </a:lnTo>
                <a:lnTo>
                  <a:pt x="546" y="276"/>
                </a:lnTo>
                <a:lnTo>
                  <a:pt x="540" y="282"/>
                </a:lnTo>
                <a:lnTo>
                  <a:pt x="540" y="294"/>
                </a:lnTo>
                <a:lnTo>
                  <a:pt x="540" y="300"/>
                </a:lnTo>
                <a:lnTo>
                  <a:pt x="540" y="324"/>
                </a:lnTo>
                <a:lnTo>
                  <a:pt x="552" y="330"/>
                </a:lnTo>
                <a:lnTo>
                  <a:pt x="558" y="342"/>
                </a:lnTo>
                <a:lnTo>
                  <a:pt x="546" y="372"/>
                </a:lnTo>
                <a:lnTo>
                  <a:pt x="534" y="372"/>
                </a:lnTo>
                <a:lnTo>
                  <a:pt x="534" y="384"/>
                </a:lnTo>
                <a:lnTo>
                  <a:pt x="522" y="384"/>
                </a:lnTo>
                <a:lnTo>
                  <a:pt x="510" y="402"/>
                </a:lnTo>
                <a:lnTo>
                  <a:pt x="504" y="420"/>
                </a:lnTo>
                <a:lnTo>
                  <a:pt x="492" y="426"/>
                </a:lnTo>
                <a:lnTo>
                  <a:pt x="486" y="432"/>
                </a:lnTo>
                <a:lnTo>
                  <a:pt x="486" y="444"/>
                </a:lnTo>
                <a:lnTo>
                  <a:pt x="486" y="450"/>
                </a:lnTo>
                <a:lnTo>
                  <a:pt x="486" y="456"/>
                </a:lnTo>
                <a:lnTo>
                  <a:pt x="486" y="462"/>
                </a:lnTo>
                <a:lnTo>
                  <a:pt x="486" y="468"/>
                </a:lnTo>
                <a:lnTo>
                  <a:pt x="480" y="468"/>
                </a:lnTo>
                <a:lnTo>
                  <a:pt x="480" y="474"/>
                </a:lnTo>
                <a:lnTo>
                  <a:pt x="480" y="480"/>
                </a:lnTo>
                <a:lnTo>
                  <a:pt x="480" y="486"/>
                </a:lnTo>
                <a:lnTo>
                  <a:pt x="480" y="492"/>
                </a:lnTo>
                <a:lnTo>
                  <a:pt x="480" y="498"/>
                </a:lnTo>
                <a:lnTo>
                  <a:pt x="474" y="504"/>
                </a:lnTo>
                <a:lnTo>
                  <a:pt x="468" y="510"/>
                </a:lnTo>
                <a:lnTo>
                  <a:pt x="462" y="510"/>
                </a:lnTo>
                <a:lnTo>
                  <a:pt x="456" y="504"/>
                </a:lnTo>
                <a:lnTo>
                  <a:pt x="456" y="498"/>
                </a:lnTo>
                <a:lnTo>
                  <a:pt x="450" y="498"/>
                </a:lnTo>
                <a:lnTo>
                  <a:pt x="444" y="498"/>
                </a:lnTo>
                <a:lnTo>
                  <a:pt x="438" y="498"/>
                </a:lnTo>
                <a:lnTo>
                  <a:pt x="432" y="498"/>
                </a:lnTo>
                <a:lnTo>
                  <a:pt x="426" y="504"/>
                </a:lnTo>
                <a:lnTo>
                  <a:pt x="426" y="510"/>
                </a:lnTo>
                <a:lnTo>
                  <a:pt x="420" y="516"/>
                </a:lnTo>
                <a:lnTo>
                  <a:pt x="414" y="522"/>
                </a:lnTo>
                <a:lnTo>
                  <a:pt x="402" y="528"/>
                </a:lnTo>
                <a:lnTo>
                  <a:pt x="396" y="528"/>
                </a:lnTo>
                <a:lnTo>
                  <a:pt x="384" y="528"/>
                </a:lnTo>
                <a:lnTo>
                  <a:pt x="366" y="540"/>
                </a:lnTo>
                <a:lnTo>
                  <a:pt x="360" y="522"/>
                </a:lnTo>
                <a:lnTo>
                  <a:pt x="348" y="504"/>
                </a:lnTo>
                <a:lnTo>
                  <a:pt x="330" y="504"/>
                </a:lnTo>
                <a:lnTo>
                  <a:pt x="282" y="516"/>
                </a:lnTo>
                <a:lnTo>
                  <a:pt x="282" y="522"/>
                </a:lnTo>
                <a:lnTo>
                  <a:pt x="282" y="534"/>
                </a:lnTo>
                <a:lnTo>
                  <a:pt x="288" y="540"/>
                </a:lnTo>
                <a:lnTo>
                  <a:pt x="294" y="540"/>
                </a:lnTo>
                <a:lnTo>
                  <a:pt x="288" y="540"/>
                </a:lnTo>
                <a:lnTo>
                  <a:pt x="282" y="540"/>
                </a:lnTo>
                <a:lnTo>
                  <a:pt x="282" y="546"/>
                </a:lnTo>
                <a:lnTo>
                  <a:pt x="288" y="552"/>
                </a:lnTo>
                <a:lnTo>
                  <a:pt x="294" y="564"/>
                </a:lnTo>
                <a:lnTo>
                  <a:pt x="300" y="564"/>
                </a:lnTo>
                <a:lnTo>
                  <a:pt x="300" y="570"/>
                </a:lnTo>
                <a:lnTo>
                  <a:pt x="294" y="570"/>
                </a:lnTo>
                <a:lnTo>
                  <a:pt x="288" y="570"/>
                </a:lnTo>
                <a:lnTo>
                  <a:pt x="288" y="576"/>
                </a:lnTo>
                <a:lnTo>
                  <a:pt x="288" y="582"/>
                </a:lnTo>
                <a:lnTo>
                  <a:pt x="276" y="588"/>
                </a:lnTo>
                <a:lnTo>
                  <a:pt x="276" y="594"/>
                </a:lnTo>
                <a:lnTo>
                  <a:pt x="270" y="606"/>
                </a:lnTo>
                <a:lnTo>
                  <a:pt x="264" y="612"/>
                </a:lnTo>
                <a:lnTo>
                  <a:pt x="258" y="612"/>
                </a:lnTo>
                <a:lnTo>
                  <a:pt x="252" y="612"/>
                </a:lnTo>
                <a:lnTo>
                  <a:pt x="252" y="618"/>
                </a:lnTo>
                <a:lnTo>
                  <a:pt x="252" y="624"/>
                </a:lnTo>
                <a:lnTo>
                  <a:pt x="252" y="630"/>
                </a:lnTo>
                <a:lnTo>
                  <a:pt x="264" y="642"/>
                </a:lnTo>
                <a:lnTo>
                  <a:pt x="258" y="648"/>
                </a:lnTo>
                <a:lnTo>
                  <a:pt x="246" y="654"/>
                </a:lnTo>
                <a:lnTo>
                  <a:pt x="240" y="660"/>
                </a:lnTo>
                <a:lnTo>
                  <a:pt x="234" y="672"/>
                </a:lnTo>
                <a:lnTo>
                  <a:pt x="234" y="678"/>
                </a:lnTo>
                <a:lnTo>
                  <a:pt x="228" y="684"/>
                </a:lnTo>
                <a:lnTo>
                  <a:pt x="228" y="696"/>
                </a:lnTo>
                <a:lnTo>
                  <a:pt x="216" y="714"/>
                </a:lnTo>
                <a:close/>
              </a:path>
            </a:pathLst>
          </a:custGeom>
          <a:noFill/>
          <a:ln w="9525" cap="flat" cmpd="sng">
            <a:gradFill flip="none" rotWithShape="1">
              <a:gsLst>
                <a:gs pos="0">
                  <a:srgbClr val="FF0000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1"/>
              <a:tileRect/>
            </a:gra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65" name="Freeform 21">
            <a:extLst>
              <a:ext uri="{FF2B5EF4-FFF2-40B4-BE49-F238E27FC236}">
                <a16:creationId xmlns:a16="http://schemas.microsoft.com/office/drawing/2014/main" id="{08C08993-449A-4F6C-A365-E22054DBC940}"/>
              </a:ext>
            </a:extLst>
          </p:cNvPr>
          <p:cNvSpPr>
            <a:spLocks/>
          </p:cNvSpPr>
          <p:nvPr/>
        </p:nvSpPr>
        <p:spPr bwMode="gray">
          <a:xfrm>
            <a:off x="4325027" y="4651426"/>
            <a:ext cx="269831" cy="406089"/>
          </a:xfrm>
          <a:custGeom>
            <a:avLst/>
            <a:gdLst>
              <a:gd name="T0" fmla="*/ 0 w 468"/>
              <a:gd name="T1" fmla="*/ 61 h 696"/>
              <a:gd name="T2" fmla="*/ 1 w 468"/>
              <a:gd name="T3" fmla="*/ 58 h 696"/>
              <a:gd name="T4" fmla="*/ 2 w 468"/>
              <a:gd name="T5" fmla="*/ 54 h 696"/>
              <a:gd name="T6" fmla="*/ 3 w 468"/>
              <a:gd name="T7" fmla="*/ 51 h 696"/>
              <a:gd name="T8" fmla="*/ 4 w 468"/>
              <a:gd name="T9" fmla="*/ 48 h 696"/>
              <a:gd name="T10" fmla="*/ 6 w 468"/>
              <a:gd name="T11" fmla="*/ 44 h 696"/>
              <a:gd name="T12" fmla="*/ 5 w 468"/>
              <a:gd name="T13" fmla="*/ 41 h 696"/>
              <a:gd name="T14" fmla="*/ 7 w 468"/>
              <a:gd name="T15" fmla="*/ 38 h 696"/>
              <a:gd name="T16" fmla="*/ 8 w 468"/>
              <a:gd name="T17" fmla="*/ 36 h 696"/>
              <a:gd name="T18" fmla="*/ 7 w 468"/>
              <a:gd name="T19" fmla="*/ 33 h 696"/>
              <a:gd name="T20" fmla="*/ 6 w 468"/>
              <a:gd name="T21" fmla="*/ 29 h 696"/>
              <a:gd name="T22" fmla="*/ 4 w 468"/>
              <a:gd name="T23" fmla="*/ 22 h 696"/>
              <a:gd name="T24" fmla="*/ 2 w 468"/>
              <a:gd name="T25" fmla="*/ 14 h 696"/>
              <a:gd name="T26" fmla="*/ 12 w 468"/>
              <a:gd name="T27" fmla="*/ 11 h 696"/>
              <a:gd name="T28" fmla="*/ 14 w 468"/>
              <a:gd name="T29" fmla="*/ 2 h 696"/>
              <a:gd name="T30" fmla="*/ 16 w 468"/>
              <a:gd name="T31" fmla="*/ 0 h 696"/>
              <a:gd name="T32" fmla="*/ 17 w 468"/>
              <a:gd name="T33" fmla="*/ 0 h 696"/>
              <a:gd name="T34" fmla="*/ 18 w 468"/>
              <a:gd name="T35" fmla="*/ 1 h 696"/>
              <a:gd name="T36" fmla="*/ 17 w 468"/>
              <a:gd name="T37" fmla="*/ 2 h 696"/>
              <a:gd name="T38" fmla="*/ 17 w 468"/>
              <a:gd name="T39" fmla="*/ 4 h 696"/>
              <a:gd name="T40" fmla="*/ 17 w 468"/>
              <a:gd name="T41" fmla="*/ 6 h 696"/>
              <a:gd name="T42" fmla="*/ 20 w 468"/>
              <a:gd name="T43" fmla="*/ 6 h 696"/>
              <a:gd name="T44" fmla="*/ 22 w 468"/>
              <a:gd name="T45" fmla="*/ 5 h 696"/>
              <a:gd name="T46" fmla="*/ 24 w 468"/>
              <a:gd name="T47" fmla="*/ 7 h 696"/>
              <a:gd name="T48" fmla="*/ 28 w 468"/>
              <a:gd name="T49" fmla="*/ 7 h 696"/>
              <a:gd name="T50" fmla="*/ 28 w 468"/>
              <a:gd name="T51" fmla="*/ 11 h 696"/>
              <a:gd name="T52" fmla="*/ 25 w 468"/>
              <a:gd name="T53" fmla="*/ 14 h 696"/>
              <a:gd name="T54" fmla="*/ 23 w 468"/>
              <a:gd name="T55" fmla="*/ 15 h 696"/>
              <a:gd name="T56" fmla="*/ 23 w 468"/>
              <a:gd name="T57" fmla="*/ 19 h 696"/>
              <a:gd name="T58" fmla="*/ 23 w 468"/>
              <a:gd name="T59" fmla="*/ 21 h 696"/>
              <a:gd name="T60" fmla="*/ 24 w 468"/>
              <a:gd name="T61" fmla="*/ 21 h 696"/>
              <a:gd name="T62" fmla="*/ 27 w 468"/>
              <a:gd name="T63" fmla="*/ 23 h 696"/>
              <a:gd name="T64" fmla="*/ 29 w 468"/>
              <a:gd name="T65" fmla="*/ 24 h 696"/>
              <a:gd name="T66" fmla="*/ 29 w 468"/>
              <a:gd name="T67" fmla="*/ 28 h 696"/>
              <a:gd name="T68" fmla="*/ 29 w 468"/>
              <a:gd name="T69" fmla="*/ 29 h 696"/>
              <a:gd name="T70" fmla="*/ 29 w 468"/>
              <a:gd name="T71" fmla="*/ 32 h 696"/>
              <a:gd name="T72" fmla="*/ 32 w 468"/>
              <a:gd name="T73" fmla="*/ 32 h 696"/>
              <a:gd name="T74" fmla="*/ 33 w 468"/>
              <a:gd name="T75" fmla="*/ 35 h 696"/>
              <a:gd name="T76" fmla="*/ 34 w 468"/>
              <a:gd name="T77" fmla="*/ 38 h 696"/>
              <a:gd name="T78" fmla="*/ 35 w 468"/>
              <a:gd name="T79" fmla="*/ 39 h 696"/>
              <a:gd name="T80" fmla="*/ 36 w 468"/>
              <a:gd name="T81" fmla="*/ 40 h 696"/>
              <a:gd name="T82" fmla="*/ 37 w 468"/>
              <a:gd name="T83" fmla="*/ 41 h 696"/>
              <a:gd name="T84" fmla="*/ 38 w 468"/>
              <a:gd name="T85" fmla="*/ 42 h 696"/>
              <a:gd name="T86" fmla="*/ 41 w 468"/>
              <a:gd name="T87" fmla="*/ 44 h 696"/>
              <a:gd name="T88" fmla="*/ 40 w 468"/>
              <a:gd name="T89" fmla="*/ 44 h 696"/>
              <a:gd name="T90" fmla="*/ 37 w 468"/>
              <a:gd name="T91" fmla="*/ 45 h 696"/>
              <a:gd name="T92" fmla="*/ 36 w 468"/>
              <a:gd name="T93" fmla="*/ 48 h 696"/>
              <a:gd name="T94" fmla="*/ 34 w 468"/>
              <a:gd name="T95" fmla="*/ 49 h 696"/>
              <a:gd name="T96" fmla="*/ 32 w 468"/>
              <a:gd name="T97" fmla="*/ 51 h 696"/>
              <a:gd name="T98" fmla="*/ 31 w 468"/>
              <a:gd name="T99" fmla="*/ 51 h 696"/>
              <a:gd name="T100" fmla="*/ 26 w 468"/>
              <a:gd name="T101" fmla="*/ 49 h 696"/>
              <a:gd name="T102" fmla="*/ 23 w 468"/>
              <a:gd name="T103" fmla="*/ 51 h 696"/>
              <a:gd name="T104" fmla="*/ 21 w 468"/>
              <a:gd name="T105" fmla="*/ 51 h 696"/>
              <a:gd name="T106" fmla="*/ 20 w 468"/>
              <a:gd name="T107" fmla="*/ 52 h 696"/>
              <a:gd name="T108" fmla="*/ 17 w 468"/>
              <a:gd name="T109" fmla="*/ 55 h 696"/>
              <a:gd name="T110" fmla="*/ 15 w 468"/>
              <a:gd name="T111" fmla="*/ 56 h 696"/>
              <a:gd name="T112" fmla="*/ 15 w 468"/>
              <a:gd name="T113" fmla="*/ 59 h 696"/>
              <a:gd name="T114" fmla="*/ 14 w 468"/>
              <a:gd name="T115" fmla="*/ 59 h 696"/>
              <a:gd name="T116" fmla="*/ 12 w 468"/>
              <a:gd name="T117" fmla="*/ 59 h 696"/>
              <a:gd name="T118" fmla="*/ 11 w 468"/>
              <a:gd name="T119" fmla="*/ 57 h 696"/>
              <a:gd name="T120" fmla="*/ 9 w 468"/>
              <a:gd name="T121" fmla="*/ 57 h 696"/>
              <a:gd name="T122" fmla="*/ 6 w 468"/>
              <a:gd name="T123" fmla="*/ 58 h 696"/>
              <a:gd name="T124" fmla="*/ 4 w 468"/>
              <a:gd name="T125" fmla="*/ 60 h 69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68"/>
              <a:gd name="T190" fmla="*/ 0 h 696"/>
              <a:gd name="T191" fmla="*/ 468 w 468"/>
              <a:gd name="T192" fmla="*/ 696 h 69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68" h="696">
                <a:moveTo>
                  <a:pt x="30" y="696"/>
                </a:moveTo>
                <a:lnTo>
                  <a:pt x="18" y="696"/>
                </a:lnTo>
                <a:lnTo>
                  <a:pt x="6" y="696"/>
                </a:lnTo>
                <a:lnTo>
                  <a:pt x="0" y="690"/>
                </a:lnTo>
                <a:lnTo>
                  <a:pt x="6" y="678"/>
                </a:lnTo>
                <a:lnTo>
                  <a:pt x="12" y="666"/>
                </a:lnTo>
                <a:lnTo>
                  <a:pt x="18" y="654"/>
                </a:lnTo>
                <a:lnTo>
                  <a:pt x="18" y="642"/>
                </a:lnTo>
                <a:lnTo>
                  <a:pt x="18" y="618"/>
                </a:lnTo>
                <a:lnTo>
                  <a:pt x="24" y="606"/>
                </a:lnTo>
                <a:lnTo>
                  <a:pt x="30" y="594"/>
                </a:lnTo>
                <a:lnTo>
                  <a:pt x="30" y="582"/>
                </a:lnTo>
                <a:lnTo>
                  <a:pt x="36" y="576"/>
                </a:lnTo>
                <a:lnTo>
                  <a:pt x="42" y="564"/>
                </a:lnTo>
                <a:lnTo>
                  <a:pt x="48" y="546"/>
                </a:lnTo>
                <a:lnTo>
                  <a:pt x="48" y="528"/>
                </a:lnTo>
                <a:lnTo>
                  <a:pt x="60" y="516"/>
                </a:lnTo>
                <a:lnTo>
                  <a:pt x="66" y="504"/>
                </a:lnTo>
                <a:lnTo>
                  <a:pt x="66" y="492"/>
                </a:lnTo>
                <a:lnTo>
                  <a:pt x="60" y="480"/>
                </a:lnTo>
                <a:lnTo>
                  <a:pt x="54" y="468"/>
                </a:lnTo>
                <a:lnTo>
                  <a:pt x="60" y="456"/>
                </a:lnTo>
                <a:lnTo>
                  <a:pt x="72" y="450"/>
                </a:lnTo>
                <a:lnTo>
                  <a:pt x="84" y="438"/>
                </a:lnTo>
                <a:lnTo>
                  <a:pt x="90" y="426"/>
                </a:lnTo>
                <a:lnTo>
                  <a:pt x="90" y="420"/>
                </a:lnTo>
                <a:lnTo>
                  <a:pt x="90" y="408"/>
                </a:lnTo>
                <a:lnTo>
                  <a:pt x="90" y="402"/>
                </a:lnTo>
                <a:lnTo>
                  <a:pt x="84" y="396"/>
                </a:lnTo>
                <a:lnTo>
                  <a:pt x="78" y="378"/>
                </a:lnTo>
                <a:lnTo>
                  <a:pt x="72" y="360"/>
                </a:lnTo>
                <a:lnTo>
                  <a:pt x="66" y="348"/>
                </a:lnTo>
                <a:lnTo>
                  <a:pt x="72" y="336"/>
                </a:lnTo>
                <a:lnTo>
                  <a:pt x="66" y="306"/>
                </a:lnTo>
                <a:lnTo>
                  <a:pt x="54" y="276"/>
                </a:lnTo>
                <a:lnTo>
                  <a:pt x="42" y="252"/>
                </a:lnTo>
                <a:lnTo>
                  <a:pt x="36" y="222"/>
                </a:lnTo>
                <a:lnTo>
                  <a:pt x="30" y="192"/>
                </a:lnTo>
                <a:lnTo>
                  <a:pt x="24" y="162"/>
                </a:lnTo>
                <a:lnTo>
                  <a:pt x="42" y="174"/>
                </a:lnTo>
                <a:lnTo>
                  <a:pt x="120" y="138"/>
                </a:lnTo>
                <a:lnTo>
                  <a:pt x="132" y="126"/>
                </a:lnTo>
                <a:lnTo>
                  <a:pt x="120" y="54"/>
                </a:lnTo>
                <a:lnTo>
                  <a:pt x="156" y="30"/>
                </a:lnTo>
                <a:lnTo>
                  <a:pt x="162" y="24"/>
                </a:lnTo>
                <a:lnTo>
                  <a:pt x="168" y="18"/>
                </a:lnTo>
                <a:lnTo>
                  <a:pt x="174" y="6"/>
                </a:lnTo>
                <a:lnTo>
                  <a:pt x="180" y="0"/>
                </a:lnTo>
                <a:lnTo>
                  <a:pt x="180" y="6"/>
                </a:lnTo>
                <a:lnTo>
                  <a:pt x="186" y="6"/>
                </a:lnTo>
                <a:lnTo>
                  <a:pt x="192" y="0"/>
                </a:lnTo>
                <a:lnTo>
                  <a:pt x="192" y="6"/>
                </a:lnTo>
                <a:lnTo>
                  <a:pt x="198" y="12"/>
                </a:lnTo>
                <a:lnTo>
                  <a:pt x="204" y="12"/>
                </a:lnTo>
                <a:lnTo>
                  <a:pt x="198" y="12"/>
                </a:lnTo>
                <a:lnTo>
                  <a:pt x="198" y="18"/>
                </a:lnTo>
                <a:lnTo>
                  <a:pt x="198" y="24"/>
                </a:lnTo>
                <a:lnTo>
                  <a:pt x="198" y="30"/>
                </a:lnTo>
                <a:lnTo>
                  <a:pt x="198" y="42"/>
                </a:lnTo>
                <a:lnTo>
                  <a:pt x="198" y="48"/>
                </a:lnTo>
                <a:lnTo>
                  <a:pt x="192" y="60"/>
                </a:lnTo>
                <a:lnTo>
                  <a:pt x="192" y="66"/>
                </a:lnTo>
                <a:lnTo>
                  <a:pt x="198" y="66"/>
                </a:lnTo>
                <a:lnTo>
                  <a:pt x="210" y="60"/>
                </a:lnTo>
                <a:lnTo>
                  <a:pt x="228" y="60"/>
                </a:lnTo>
                <a:lnTo>
                  <a:pt x="228" y="66"/>
                </a:lnTo>
                <a:lnTo>
                  <a:pt x="234" y="66"/>
                </a:lnTo>
                <a:lnTo>
                  <a:pt x="234" y="60"/>
                </a:lnTo>
                <a:lnTo>
                  <a:pt x="252" y="60"/>
                </a:lnTo>
                <a:lnTo>
                  <a:pt x="264" y="72"/>
                </a:lnTo>
                <a:lnTo>
                  <a:pt x="264" y="78"/>
                </a:lnTo>
                <a:lnTo>
                  <a:pt x="270" y="78"/>
                </a:lnTo>
                <a:lnTo>
                  <a:pt x="276" y="78"/>
                </a:lnTo>
                <a:lnTo>
                  <a:pt x="288" y="78"/>
                </a:lnTo>
                <a:lnTo>
                  <a:pt x="312" y="84"/>
                </a:lnTo>
                <a:lnTo>
                  <a:pt x="318" y="96"/>
                </a:lnTo>
                <a:lnTo>
                  <a:pt x="318" y="102"/>
                </a:lnTo>
                <a:lnTo>
                  <a:pt x="312" y="120"/>
                </a:lnTo>
                <a:lnTo>
                  <a:pt x="306" y="132"/>
                </a:lnTo>
                <a:lnTo>
                  <a:pt x="294" y="144"/>
                </a:lnTo>
                <a:lnTo>
                  <a:pt x="282" y="156"/>
                </a:lnTo>
                <a:lnTo>
                  <a:pt x="276" y="162"/>
                </a:lnTo>
                <a:lnTo>
                  <a:pt x="270" y="162"/>
                </a:lnTo>
                <a:lnTo>
                  <a:pt x="264" y="174"/>
                </a:lnTo>
                <a:lnTo>
                  <a:pt x="264" y="192"/>
                </a:lnTo>
                <a:lnTo>
                  <a:pt x="264" y="216"/>
                </a:lnTo>
                <a:lnTo>
                  <a:pt x="258" y="216"/>
                </a:lnTo>
                <a:lnTo>
                  <a:pt x="258" y="228"/>
                </a:lnTo>
                <a:lnTo>
                  <a:pt x="252" y="234"/>
                </a:lnTo>
                <a:lnTo>
                  <a:pt x="258" y="240"/>
                </a:lnTo>
                <a:lnTo>
                  <a:pt x="264" y="240"/>
                </a:lnTo>
                <a:lnTo>
                  <a:pt x="270" y="240"/>
                </a:lnTo>
                <a:lnTo>
                  <a:pt x="276" y="240"/>
                </a:lnTo>
                <a:lnTo>
                  <a:pt x="288" y="240"/>
                </a:lnTo>
                <a:lnTo>
                  <a:pt x="300" y="246"/>
                </a:lnTo>
                <a:lnTo>
                  <a:pt x="306" y="258"/>
                </a:lnTo>
                <a:lnTo>
                  <a:pt x="312" y="264"/>
                </a:lnTo>
                <a:lnTo>
                  <a:pt x="318" y="276"/>
                </a:lnTo>
                <a:lnTo>
                  <a:pt x="330" y="282"/>
                </a:lnTo>
                <a:lnTo>
                  <a:pt x="330" y="300"/>
                </a:lnTo>
                <a:lnTo>
                  <a:pt x="336" y="312"/>
                </a:lnTo>
                <a:lnTo>
                  <a:pt x="336" y="318"/>
                </a:lnTo>
                <a:lnTo>
                  <a:pt x="336" y="330"/>
                </a:lnTo>
                <a:lnTo>
                  <a:pt x="324" y="330"/>
                </a:lnTo>
                <a:lnTo>
                  <a:pt x="330" y="336"/>
                </a:lnTo>
                <a:lnTo>
                  <a:pt x="330" y="342"/>
                </a:lnTo>
                <a:lnTo>
                  <a:pt x="336" y="348"/>
                </a:lnTo>
                <a:lnTo>
                  <a:pt x="330" y="360"/>
                </a:lnTo>
                <a:lnTo>
                  <a:pt x="336" y="372"/>
                </a:lnTo>
                <a:lnTo>
                  <a:pt x="354" y="366"/>
                </a:lnTo>
                <a:lnTo>
                  <a:pt x="366" y="366"/>
                </a:lnTo>
                <a:lnTo>
                  <a:pt x="372" y="378"/>
                </a:lnTo>
                <a:lnTo>
                  <a:pt x="372" y="390"/>
                </a:lnTo>
                <a:lnTo>
                  <a:pt x="378" y="396"/>
                </a:lnTo>
                <a:lnTo>
                  <a:pt x="378" y="408"/>
                </a:lnTo>
                <a:lnTo>
                  <a:pt x="378" y="420"/>
                </a:lnTo>
                <a:lnTo>
                  <a:pt x="384" y="432"/>
                </a:lnTo>
                <a:lnTo>
                  <a:pt x="384" y="444"/>
                </a:lnTo>
                <a:lnTo>
                  <a:pt x="390" y="444"/>
                </a:lnTo>
                <a:lnTo>
                  <a:pt x="396" y="444"/>
                </a:lnTo>
                <a:lnTo>
                  <a:pt x="402" y="450"/>
                </a:lnTo>
                <a:lnTo>
                  <a:pt x="408" y="450"/>
                </a:lnTo>
                <a:lnTo>
                  <a:pt x="408" y="462"/>
                </a:lnTo>
                <a:lnTo>
                  <a:pt x="408" y="468"/>
                </a:lnTo>
                <a:lnTo>
                  <a:pt x="414" y="474"/>
                </a:lnTo>
                <a:lnTo>
                  <a:pt x="420" y="474"/>
                </a:lnTo>
                <a:lnTo>
                  <a:pt x="420" y="480"/>
                </a:lnTo>
                <a:lnTo>
                  <a:pt x="426" y="480"/>
                </a:lnTo>
                <a:lnTo>
                  <a:pt x="432" y="480"/>
                </a:lnTo>
                <a:lnTo>
                  <a:pt x="462" y="486"/>
                </a:lnTo>
                <a:lnTo>
                  <a:pt x="468" y="492"/>
                </a:lnTo>
                <a:lnTo>
                  <a:pt x="468" y="498"/>
                </a:lnTo>
                <a:lnTo>
                  <a:pt x="462" y="498"/>
                </a:lnTo>
                <a:lnTo>
                  <a:pt x="456" y="498"/>
                </a:lnTo>
                <a:lnTo>
                  <a:pt x="456" y="504"/>
                </a:lnTo>
                <a:lnTo>
                  <a:pt x="456" y="510"/>
                </a:lnTo>
                <a:lnTo>
                  <a:pt x="450" y="516"/>
                </a:lnTo>
                <a:lnTo>
                  <a:pt x="426" y="516"/>
                </a:lnTo>
                <a:lnTo>
                  <a:pt x="408" y="528"/>
                </a:lnTo>
                <a:lnTo>
                  <a:pt x="408" y="546"/>
                </a:lnTo>
                <a:lnTo>
                  <a:pt x="414" y="552"/>
                </a:lnTo>
                <a:lnTo>
                  <a:pt x="408" y="558"/>
                </a:lnTo>
                <a:lnTo>
                  <a:pt x="402" y="564"/>
                </a:lnTo>
                <a:lnTo>
                  <a:pt x="384" y="564"/>
                </a:lnTo>
                <a:lnTo>
                  <a:pt x="372" y="564"/>
                </a:lnTo>
                <a:lnTo>
                  <a:pt x="372" y="576"/>
                </a:lnTo>
                <a:lnTo>
                  <a:pt x="366" y="576"/>
                </a:lnTo>
                <a:lnTo>
                  <a:pt x="366" y="582"/>
                </a:lnTo>
                <a:lnTo>
                  <a:pt x="360" y="582"/>
                </a:lnTo>
                <a:lnTo>
                  <a:pt x="348" y="576"/>
                </a:lnTo>
                <a:lnTo>
                  <a:pt x="336" y="570"/>
                </a:lnTo>
                <a:lnTo>
                  <a:pt x="324" y="570"/>
                </a:lnTo>
                <a:lnTo>
                  <a:pt x="300" y="564"/>
                </a:lnTo>
                <a:lnTo>
                  <a:pt x="282" y="564"/>
                </a:lnTo>
                <a:lnTo>
                  <a:pt x="270" y="570"/>
                </a:lnTo>
                <a:lnTo>
                  <a:pt x="264" y="576"/>
                </a:lnTo>
                <a:lnTo>
                  <a:pt x="258" y="576"/>
                </a:lnTo>
                <a:lnTo>
                  <a:pt x="240" y="582"/>
                </a:lnTo>
                <a:lnTo>
                  <a:pt x="240" y="588"/>
                </a:lnTo>
                <a:lnTo>
                  <a:pt x="240" y="594"/>
                </a:lnTo>
                <a:lnTo>
                  <a:pt x="234" y="594"/>
                </a:lnTo>
                <a:lnTo>
                  <a:pt x="228" y="600"/>
                </a:lnTo>
                <a:lnTo>
                  <a:pt x="210" y="618"/>
                </a:lnTo>
                <a:lnTo>
                  <a:pt x="210" y="624"/>
                </a:lnTo>
                <a:lnTo>
                  <a:pt x="192" y="630"/>
                </a:lnTo>
                <a:lnTo>
                  <a:pt x="186" y="630"/>
                </a:lnTo>
                <a:lnTo>
                  <a:pt x="180" y="636"/>
                </a:lnTo>
                <a:lnTo>
                  <a:pt x="174" y="642"/>
                </a:lnTo>
                <a:lnTo>
                  <a:pt x="168" y="642"/>
                </a:lnTo>
                <a:lnTo>
                  <a:pt x="168" y="654"/>
                </a:lnTo>
                <a:lnTo>
                  <a:pt x="168" y="678"/>
                </a:lnTo>
                <a:lnTo>
                  <a:pt x="162" y="684"/>
                </a:lnTo>
                <a:lnTo>
                  <a:pt x="156" y="684"/>
                </a:lnTo>
                <a:lnTo>
                  <a:pt x="156" y="678"/>
                </a:lnTo>
                <a:lnTo>
                  <a:pt x="150" y="678"/>
                </a:lnTo>
                <a:lnTo>
                  <a:pt x="144" y="672"/>
                </a:lnTo>
                <a:lnTo>
                  <a:pt x="138" y="672"/>
                </a:lnTo>
                <a:lnTo>
                  <a:pt x="138" y="666"/>
                </a:lnTo>
                <a:lnTo>
                  <a:pt x="132" y="660"/>
                </a:lnTo>
                <a:lnTo>
                  <a:pt x="120" y="654"/>
                </a:lnTo>
                <a:lnTo>
                  <a:pt x="114" y="654"/>
                </a:lnTo>
                <a:lnTo>
                  <a:pt x="108" y="648"/>
                </a:lnTo>
                <a:lnTo>
                  <a:pt x="102" y="654"/>
                </a:lnTo>
                <a:lnTo>
                  <a:pt x="90" y="654"/>
                </a:lnTo>
                <a:lnTo>
                  <a:pt x="84" y="654"/>
                </a:lnTo>
                <a:lnTo>
                  <a:pt x="72" y="660"/>
                </a:lnTo>
                <a:lnTo>
                  <a:pt x="60" y="672"/>
                </a:lnTo>
                <a:lnTo>
                  <a:pt x="54" y="678"/>
                </a:lnTo>
                <a:lnTo>
                  <a:pt x="42" y="684"/>
                </a:lnTo>
                <a:lnTo>
                  <a:pt x="36" y="684"/>
                </a:lnTo>
                <a:lnTo>
                  <a:pt x="30" y="696"/>
                </a:lnTo>
                <a:close/>
              </a:path>
            </a:pathLst>
          </a:custGeom>
          <a:noFill/>
          <a:ln w="9525" cap="flat" cmpd="sng">
            <a:gradFill flip="none" rotWithShape="1">
              <a:gsLst>
                <a:gs pos="0">
                  <a:srgbClr val="FF0000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0" scaled="1"/>
              <a:tileRect/>
            </a:gra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48" name="Freeform 4">
            <a:extLst>
              <a:ext uri="{FF2B5EF4-FFF2-40B4-BE49-F238E27FC236}">
                <a16:creationId xmlns:a16="http://schemas.microsoft.com/office/drawing/2014/main" id="{0F3E25A5-AAE5-4DA9-894A-8BE8EA8DCED3}"/>
              </a:ext>
            </a:extLst>
          </p:cNvPr>
          <p:cNvSpPr>
            <a:spLocks noEditPoints="1"/>
          </p:cNvSpPr>
          <p:nvPr/>
        </p:nvSpPr>
        <p:spPr bwMode="gray">
          <a:xfrm>
            <a:off x="3867895" y="5180124"/>
            <a:ext cx="451629" cy="414442"/>
          </a:xfrm>
          <a:custGeom>
            <a:avLst/>
            <a:gdLst>
              <a:gd name="T0" fmla="*/ 12 w 786"/>
              <a:gd name="T1" fmla="*/ 19 h 714"/>
              <a:gd name="T2" fmla="*/ 22 w 786"/>
              <a:gd name="T3" fmla="*/ 18 h 714"/>
              <a:gd name="T4" fmla="*/ 27 w 786"/>
              <a:gd name="T5" fmla="*/ 17 h 714"/>
              <a:gd name="T6" fmla="*/ 30 w 786"/>
              <a:gd name="T7" fmla="*/ 14 h 714"/>
              <a:gd name="T8" fmla="*/ 37 w 786"/>
              <a:gd name="T9" fmla="*/ 16 h 714"/>
              <a:gd name="T10" fmla="*/ 43 w 786"/>
              <a:gd name="T11" fmla="*/ 13 h 714"/>
              <a:gd name="T12" fmla="*/ 48 w 786"/>
              <a:gd name="T13" fmla="*/ 8 h 714"/>
              <a:gd name="T14" fmla="*/ 55 w 786"/>
              <a:gd name="T15" fmla="*/ 4 h 714"/>
              <a:gd name="T16" fmla="*/ 66 w 786"/>
              <a:gd name="T17" fmla="*/ 0 h 714"/>
              <a:gd name="T18" fmla="*/ 63 w 786"/>
              <a:gd name="T19" fmla="*/ 12 h 714"/>
              <a:gd name="T20" fmla="*/ 59 w 786"/>
              <a:gd name="T21" fmla="*/ 19 h 714"/>
              <a:gd name="T22" fmla="*/ 57 w 786"/>
              <a:gd name="T23" fmla="*/ 29 h 714"/>
              <a:gd name="T24" fmla="*/ 59 w 786"/>
              <a:gd name="T25" fmla="*/ 36 h 714"/>
              <a:gd name="T26" fmla="*/ 66 w 786"/>
              <a:gd name="T27" fmla="*/ 35 h 714"/>
              <a:gd name="T28" fmla="*/ 64 w 786"/>
              <a:gd name="T29" fmla="*/ 41 h 714"/>
              <a:gd name="T30" fmla="*/ 64 w 786"/>
              <a:gd name="T31" fmla="*/ 48 h 714"/>
              <a:gd name="T32" fmla="*/ 63 w 786"/>
              <a:gd name="T33" fmla="*/ 56 h 714"/>
              <a:gd name="T34" fmla="*/ 60 w 786"/>
              <a:gd name="T35" fmla="*/ 60 h 714"/>
              <a:gd name="T36" fmla="*/ 57 w 786"/>
              <a:gd name="T37" fmla="*/ 58 h 714"/>
              <a:gd name="T38" fmla="*/ 54 w 786"/>
              <a:gd name="T39" fmla="*/ 54 h 714"/>
              <a:gd name="T40" fmla="*/ 53 w 786"/>
              <a:gd name="T41" fmla="*/ 51 h 714"/>
              <a:gd name="T42" fmla="*/ 51 w 786"/>
              <a:gd name="T43" fmla="*/ 53 h 714"/>
              <a:gd name="T44" fmla="*/ 49 w 786"/>
              <a:gd name="T45" fmla="*/ 54 h 714"/>
              <a:gd name="T46" fmla="*/ 47 w 786"/>
              <a:gd name="T47" fmla="*/ 50 h 714"/>
              <a:gd name="T48" fmla="*/ 48 w 786"/>
              <a:gd name="T49" fmla="*/ 54 h 714"/>
              <a:gd name="T50" fmla="*/ 47 w 786"/>
              <a:gd name="T51" fmla="*/ 54 h 714"/>
              <a:gd name="T52" fmla="*/ 46 w 786"/>
              <a:gd name="T53" fmla="*/ 59 h 714"/>
              <a:gd name="T54" fmla="*/ 47 w 786"/>
              <a:gd name="T55" fmla="*/ 62 h 714"/>
              <a:gd name="T56" fmla="*/ 42 w 786"/>
              <a:gd name="T57" fmla="*/ 62 h 714"/>
              <a:gd name="T58" fmla="*/ 39 w 786"/>
              <a:gd name="T59" fmla="*/ 57 h 714"/>
              <a:gd name="T60" fmla="*/ 40 w 786"/>
              <a:gd name="T61" fmla="*/ 54 h 714"/>
              <a:gd name="T62" fmla="*/ 43 w 786"/>
              <a:gd name="T63" fmla="*/ 55 h 714"/>
              <a:gd name="T64" fmla="*/ 40 w 786"/>
              <a:gd name="T65" fmla="*/ 53 h 714"/>
              <a:gd name="T66" fmla="*/ 38 w 786"/>
              <a:gd name="T67" fmla="*/ 57 h 714"/>
              <a:gd name="T68" fmla="*/ 37 w 786"/>
              <a:gd name="T69" fmla="*/ 57 h 714"/>
              <a:gd name="T70" fmla="*/ 37 w 786"/>
              <a:gd name="T71" fmla="*/ 60 h 714"/>
              <a:gd name="T72" fmla="*/ 33 w 786"/>
              <a:gd name="T73" fmla="*/ 56 h 714"/>
              <a:gd name="T74" fmla="*/ 32 w 786"/>
              <a:gd name="T75" fmla="*/ 58 h 714"/>
              <a:gd name="T76" fmla="*/ 26 w 786"/>
              <a:gd name="T77" fmla="*/ 54 h 714"/>
              <a:gd name="T78" fmla="*/ 26 w 786"/>
              <a:gd name="T79" fmla="*/ 54 h 714"/>
              <a:gd name="T80" fmla="*/ 24 w 786"/>
              <a:gd name="T81" fmla="*/ 51 h 714"/>
              <a:gd name="T82" fmla="*/ 22 w 786"/>
              <a:gd name="T83" fmla="*/ 51 h 714"/>
              <a:gd name="T84" fmla="*/ 20 w 786"/>
              <a:gd name="T85" fmla="*/ 50 h 714"/>
              <a:gd name="T86" fmla="*/ 20 w 786"/>
              <a:gd name="T87" fmla="*/ 48 h 714"/>
              <a:gd name="T88" fmla="*/ 18 w 786"/>
              <a:gd name="T89" fmla="*/ 47 h 714"/>
              <a:gd name="T90" fmla="*/ 15 w 786"/>
              <a:gd name="T91" fmla="*/ 45 h 714"/>
              <a:gd name="T92" fmla="*/ 11 w 786"/>
              <a:gd name="T93" fmla="*/ 39 h 714"/>
              <a:gd name="T94" fmla="*/ 12 w 786"/>
              <a:gd name="T95" fmla="*/ 36 h 714"/>
              <a:gd name="T96" fmla="*/ 7 w 786"/>
              <a:gd name="T97" fmla="*/ 33 h 714"/>
              <a:gd name="T98" fmla="*/ 5 w 786"/>
              <a:gd name="T99" fmla="*/ 28 h 714"/>
              <a:gd name="T100" fmla="*/ 7 w 786"/>
              <a:gd name="T101" fmla="*/ 30 h 714"/>
              <a:gd name="T102" fmla="*/ 4 w 786"/>
              <a:gd name="T103" fmla="*/ 24 h 714"/>
              <a:gd name="T104" fmla="*/ 2 w 786"/>
              <a:gd name="T105" fmla="*/ 20 h 714"/>
              <a:gd name="T106" fmla="*/ 0 w 786"/>
              <a:gd name="T107" fmla="*/ 15 h 714"/>
              <a:gd name="T108" fmla="*/ 4 w 786"/>
              <a:gd name="T109" fmla="*/ 16 h 714"/>
              <a:gd name="T110" fmla="*/ 55 w 786"/>
              <a:gd name="T111" fmla="*/ 60 h 714"/>
              <a:gd name="T112" fmla="*/ 47 w 786"/>
              <a:gd name="T113" fmla="*/ 60 h 714"/>
              <a:gd name="T114" fmla="*/ 51 w 786"/>
              <a:gd name="T115" fmla="*/ 54 h 714"/>
              <a:gd name="T116" fmla="*/ 54 w 786"/>
              <a:gd name="T117" fmla="*/ 56 h 71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786"/>
              <a:gd name="T178" fmla="*/ 0 h 714"/>
              <a:gd name="T179" fmla="*/ 786 w 786"/>
              <a:gd name="T180" fmla="*/ 714 h 714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786" h="714">
                <a:moveTo>
                  <a:pt x="54" y="186"/>
                </a:moveTo>
                <a:lnTo>
                  <a:pt x="54" y="192"/>
                </a:lnTo>
                <a:lnTo>
                  <a:pt x="72" y="192"/>
                </a:lnTo>
                <a:lnTo>
                  <a:pt x="78" y="192"/>
                </a:lnTo>
                <a:lnTo>
                  <a:pt x="84" y="192"/>
                </a:lnTo>
                <a:lnTo>
                  <a:pt x="90" y="204"/>
                </a:lnTo>
                <a:lnTo>
                  <a:pt x="102" y="210"/>
                </a:lnTo>
                <a:lnTo>
                  <a:pt x="108" y="210"/>
                </a:lnTo>
                <a:lnTo>
                  <a:pt x="120" y="210"/>
                </a:lnTo>
                <a:lnTo>
                  <a:pt x="126" y="210"/>
                </a:lnTo>
                <a:lnTo>
                  <a:pt x="132" y="210"/>
                </a:lnTo>
                <a:lnTo>
                  <a:pt x="132" y="216"/>
                </a:lnTo>
                <a:lnTo>
                  <a:pt x="138" y="222"/>
                </a:lnTo>
                <a:lnTo>
                  <a:pt x="150" y="222"/>
                </a:lnTo>
                <a:lnTo>
                  <a:pt x="162" y="234"/>
                </a:lnTo>
                <a:lnTo>
                  <a:pt x="168" y="240"/>
                </a:lnTo>
                <a:lnTo>
                  <a:pt x="180" y="240"/>
                </a:lnTo>
                <a:lnTo>
                  <a:pt x="186" y="228"/>
                </a:lnTo>
                <a:lnTo>
                  <a:pt x="210" y="234"/>
                </a:lnTo>
                <a:lnTo>
                  <a:pt x="222" y="228"/>
                </a:lnTo>
                <a:lnTo>
                  <a:pt x="228" y="216"/>
                </a:lnTo>
                <a:lnTo>
                  <a:pt x="234" y="210"/>
                </a:lnTo>
                <a:lnTo>
                  <a:pt x="240" y="216"/>
                </a:lnTo>
                <a:lnTo>
                  <a:pt x="246" y="210"/>
                </a:lnTo>
                <a:lnTo>
                  <a:pt x="252" y="210"/>
                </a:lnTo>
                <a:lnTo>
                  <a:pt x="258" y="210"/>
                </a:lnTo>
                <a:lnTo>
                  <a:pt x="258" y="204"/>
                </a:lnTo>
                <a:lnTo>
                  <a:pt x="264" y="204"/>
                </a:lnTo>
                <a:lnTo>
                  <a:pt x="264" y="192"/>
                </a:lnTo>
                <a:lnTo>
                  <a:pt x="270" y="192"/>
                </a:lnTo>
                <a:lnTo>
                  <a:pt x="276" y="192"/>
                </a:lnTo>
                <a:lnTo>
                  <a:pt x="282" y="192"/>
                </a:lnTo>
                <a:lnTo>
                  <a:pt x="288" y="198"/>
                </a:lnTo>
                <a:lnTo>
                  <a:pt x="294" y="198"/>
                </a:lnTo>
                <a:lnTo>
                  <a:pt x="294" y="192"/>
                </a:lnTo>
                <a:lnTo>
                  <a:pt x="300" y="198"/>
                </a:lnTo>
                <a:lnTo>
                  <a:pt x="300" y="204"/>
                </a:lnTo>
                <a:lnTo>
                  <a:pt x="306" y="204"/>
                </a:lnTo>
                <a:lnTo>
                  <a:pt x="306" y="198"/>
                </a:lnTo>
                <a:lnTo>
                  <a:pt x="312" y="198"/>
                </a:lnTo>
                <a:lnTo>
                  <a:pt x="312" y="204"/>
                </a:lnTo>
                <a:lnTo>
                  <a:pt x="318" y="204"/>
                </a:lnTo>
                <a:lnTo>
                  <a:pt x="318" y="192"/>
                </a:lnTo>
                <a:lnTo>
                  <a:pt x="324" y="186"/>
                </a:lnTo>
                <a:lnTo>
                  <a:pt x="318" y="180"/>
                </a:lnTo>
                <a:lnTo>
                  <a:pt x="324" y="180"/>
                </a:lnTo>
                <a:lnTo>
                  <a:pt x="330" y="186"/>
                </a:lnTo>
                <a:lnTo>
                  <a:pt x="336" y="180"/>
                </a:lnTo>
                <a:lnTo>
                  <a:pt x="342" y="180"/>
                </a:lnTo>
                <a:lnTo>
                  <a:pt x="348" y="174"/>
                </a:lnTo>
                <a:lnTo>
                  <a:pt x="348" y="168"/>
                </a:lnTo>
                <a:lnTo>
                  <a:pt x="348" y="162"/>
                </a:lnTo>
                <a:lnTo>
                  <a:pt x="354" y="156"/>
                </a:lnTo>
                <a:lnTo>
                  <a:pt x="354" y="150"/>
                </a:lnTo>
                <a:lnTo>
                  <a:pt x="354" y="144"/>
                </a:lnTo>
                <a:lnTo>
                  <a:pt x="360" y="144"/>
                </a:lnTo>
                <a:lnTo>
                  <a:pt x="372" y="156"/>
                </a:lnTo>
                <a:lnTo>
                  <a:pt x="372" y="162"/>
                </a:lnTo>
                <a:lnTo>
                  <a:pt x="378" y="162"/>
                </a:lnTo>
                <a:lnTo>
                  <a:pt x="384" y="162"/>
                </a:lnTo>
                <a:lnTo>
                  <a:pt x="396" y="168"/>
                </a:lnTo>
                <a:lnTo>
                  <a:pt x="396" y="174"/>
                </a:lnTo>
                <a:lnTo>
                  <a:pt x="408" y="186"/>
                </a:lnTo>
                <a:lnTo>
                  <a:pt x="414" y="186"/>
                </a:lnTo>
                <a:lnTo>
                  <a:pt x="426" y="186"/>
                </a:lnTo>
                <a:lnTo>
                  <a:pt x="432" y="186"/>
                </a:lnTo>
                <a:lnTo>
                  <a:pt x="438" y="180"/>
                </a:lnTo>
                <a:lnTo>
                  <a:pt x="438" y="168"/>
                </a:lnTo>
                <a:lnTo>
                  <a:pt x="438" y="162"/>
                </a:lnTo>
                <a:lnTo>
                  <a:pt x="444" y="156"/>
                </a:lnTo>
                <a:lnTo>
                  <a:pt x="450" y="156"/>
                </a:lnTo>
                <a:lnTo>
                  <a:pt x="456" y="150"/>
                </a:lnTo>
                <a:lnTo>
                  <a:pt x="462" y="156"/>
                </a:lnTo>
                <a:lnTo>
                  <a:pt x="468" y="162"/>
                </a:lnTo>
                <a:lnTo>
                  <a:pt x="474" y="162"/>
                </a:lnTo>
                <a:lnTo>
                  <a:pt x="486" y="162"/>
                </a:lnTo>
                <a:lnTo>
                  <a:pt x="492" y="156"/>
                </a:lnTo>
                <a:lnTo>
                  <a:pt x="498" y="150"/>
                </a:lnTo>
                <a:lnTo>
                  <a:pt x="504" y="150"/>
                </a:lnTo>
                <a:lnTo>
                  <a:pt x="510" y="144"/>
                </a:lnTo>
                <a:lnTo>
                  <a:pt x="522" y="144"/>
                </a:lnTo>
                <a:lnTo>
                  <a:pt x="528" y="138"/>
                </a:lnTo>
                <a:lnTo>
                  <a:pt x="528" y="132"/>
                </a:lnTo>
                <a:lnTo>
                  <a:pt x="528" y="126"/>
                </a:lnTo>
                <a:lnTo>
                  <a:pt x="522" y="120"/>
                </a:lnTo>
                <a:lnTo>
                  <a:pt x="522" y="114"/>
                </a:lnTo>
                <a:lnTo>
                  <a:pt x="522" y="108"/>
                </a:lnTo>
                <a:lnTo>
                  <a:pt x="522" y="102"/>
                </a:lnTo>
                <a:lnTo>
                  <a:pt x="528" y="102"/>
                </a:lnTo>
                <a:lnTo>
                  <a:pt x="534" y="96"/>
                </a:lnTo>
                <a:lnTo>
                  <a:pt x="552" y="96"/>
                </a:lnTo>
                <a:lnTo>
                  <a:pt x="570" y="102"/>
                </a:lnTo>
                <a:lnTo>
                  <a:pt x="582" y="96"/>
                </a:lnTo>
                <a:lnTo>
                  <a:pt x="582" y="90"/>
                </a:lnTo>
                <a:lnTo>
                  <a:pt x="582" y="78"/>
                </a:lnTo>
                <a:lnTo>
                  <a:pt x="582" y="72"/>
                </a:lnTo>
                <a:lnTo>
                  <a:pt x="582" y="66"/>
                </a:lnTo>
                <a:lnTo>
                  <a:pt x="594" y="60"/>
                </a:lnTo>
                <a:lnTo>
                  <a:pt x="600" y="60"/>
                </a:lnTo>
                <a:lnTo>
                  <a:pt x="606" y="54"/>
                </a:lnTo>
                <a:lnTo>
                  <a:pt x="618" y="48"/>
                </a:lnTo>
                <a:lnTo>
                  <a:pt x="618" y="42"/>
                </a:lnTo>
                <a:lnTo>
                  <a:pt x="624" y="42"/>
                </a:lnTo>
                <a:lnTo>
                  <a:pt x="636" y="48"/>
                </a:lnTo>
                <a:lnTo>
                  <a:pt x="648" y="54"/>
                </a:lnTo>
                <a:lnTo>
                  <a:pt x="660" y="54"/>
                </a:lnTo>
                <a:lnTo>
                  <a:pt x="666" y="60"/>
                </a:lnTo>
                <a:lnTo>
                  <a:pt x="672" y="54"/>
                </a:lnTo>
                <a:lnTo>
                  <a:pt x="684" y="48"/>
                </a:lnTo>
                <a:lnTo>
                  <a:pt x="708" y="42"/>
                </a:lnTo>
                <a:lnTo>
                  <a:pt x="714" y="42"/>
                </a:lnTo>
                <a:lnTo>
                  <a:pt x="720" y="36"/>
                </a:lnTo>
                <a:lnTo>
                  <a:pt x="720" y="30"/>
                </a:lnTo>
                <a:lnTo>
                  <a:pt x="714" y="12"/>
                </a:lnTo>
                <a:lnTo>
                  <a:pt x="708" y="0"/>
                </a:lnTo>
                <a:lnTo>
                  <a:pt x="738" y="6"/>
                </a:lnTo>
                <a:lnTo>
                  <a:pt x="756" y="6"/>
                </a:lnTo>
                <a:lnTo>
                  <a:pt x="762" y="42"/>
                </a:lnTo>
                <a:lnTo>
                  <a:pt x="738" y="72"/>
                </a:lnTo>
                <a:lnTo>
                  <a:pt x="750" y="90"/>
                </a:lnTo>
                <a:lnTo>
                  <a:pt x="762" y="96"/>
                </a:lnTo>
                <a:lnTo>
                  <a:pt x="756" y="102"/>
                </a:lnTo>
                <a:lnTo>
                  <a:pt x="750" y="108"/>
                </a:lnTo>
                <a:lnTo>
                  <a:pt x="750" y="114"/>
                </a:lnTo>
                <a:lnTo>
                  <a:pt x="750" y="120"/>
                </a:lnTo>
                <a:lnTo>
                  <a:pt x="750" y="126"/>
                </a:lnTo>
                <a:lnTo>
                  <a:pt x="750" y="132"/>
                </a:lnTo>
                <a:lnTo>
                  <a:pt x="738" y="132"/>
                </a:lnTo>
                <a:lnTo>
                  <a:pt x="732" y="138"/>
                </a:lnTo>
                <a:lnTo>
                  <a:pt x="726" y="138"/>
                </a:lnTo>
                <a:lnTo>
                  <a:pt x="720" y="144"/>
                </a:lnTo>
                <a:lnTo>
                  <a:pt x="714" y="144"/>
                </a:lnTo>
                <a:lnTo>
                  <a:pt x="714" y="150"/>
                </a:lnTo>
                <a:lnTo>
                  <a:pt x="720" y="156"/>
                </a:lnTo>
                <a:lnTo>
                  <a:pt x="720" y="162"/>
                </a:lnTo>
                <a:lnTo>
                  <a:pt x="714" y="162"/>
                </a:lnTo>
                <a:lnTo>
                  <a:pt x="708" y="168"/>
                </a:lnTo>
                <a:lnTo>
                  <a:pt x="708" y="180"/>
                </a:lnTo>
                <a:lnTo>
                  <a:pt x="708" y="192"/>
                </a:lnTo>
                <a:lnTo>
                  <a:pt x="696" y="198"/>
                </a:lnTo>
                <a:lnTo>
                  <a:pt x="696" y="204"/>
                </a:lnTo>
                <a:lnTo>
                  <a:pt x="684" y="210"/>
                </a:lnTo>
                <a:lnTo>
                  <a:pt x="684" y="216"/>
                </a:lnTo>
                <a:lnTo>
                  <a:pt x="684" y="222"/>
                </a:lnTo>
                <a:lnTo>
                  <a:pt x="678" y="228"/>
                </a:lnTo>
                <a:lnTo>
                  <a:pt x="678" y="234"/>
                </a:lnTo>
                <a:lnTo>
                  <a:pt x="672" y="240"/>
                </a:lnTo>
                <a:lnTo>
                  <a:pt x="672" y="252"/>
                </a:lnTo>
                <a:lnTo>
                  <a:pt x="672" y="258"/>
                </a:lnTo>
                <a:lnTo>
                  <a:pt x="666" y="264"/>
                </a:lnTo>
                <a:lnTo>
                  <a:pt x="678" y="264"/>
                </a:lnTo>
                <a:lnTo>
                  <a:pt x="684" y="276"/>
                </a:lnTo>
                <a:lnTo>
                  <a:pt x="684" y="288"/>
                </a:lnTo>
                <a:lnTo>
                  <a:pt x="672" y="300"/>
                </a:lnTo>
                <a:lnTo>
                  <a:pt x="660" y="318"/>
                </a:lnTo>
                <a:lnTo>
                  <a:pt x="660" y="336"/>
                </a:lnTo>
                <a:lnTo>
                  <a:pt x="654" y="342"/>
                </a:lnTo>
                <a:lnTo>
                  <a:pt x="660" y="354"/>
                </a:lnTo>
                <a:lnTo>
                  <a:pt x="660" y="366"/>
                </a:lnTo>
                <a:lnTo>
                  <a:pt x="666" y="378"/>
                </a:lnTo>
                <a:lnTo>
                  <a:pt x="672" y="390"/>
                </a:lnTo>
                <a:lnTo>
                  <a:pt x="678" y="396"/>
                </a:lnTo>
                <a:lnTo>
                  <a:pt x="684" y="390"/>
                </a:lnTo>
                <a:lnTo>
                  <a:pt x="690" y="390"/>
                </a:lnTo>
                <a:lnTo>
                  <a:pt x="690" y="396"/>
                </a:lnTo>
                <a:lnTo>
                  <a:pt x="684" y="396"/>
                </a:lnTo>
                <a:lnTo>
                  <a:pt x="684" y="402"/>
                </a:lnTo>
                <a:lnTo>
                  <a:pt x="684" y="408"/>
                </a:lnTo>
                <a:lnTo>
                  <a:pt x="678" y="414"/>
                </a:lnTo>
                <a:lnTo>
                  <a:pt x="684" y="414"/>
                </a:lnTo>
                <a:lnTo>
                  <a:pt x="684" y="420"/>
                </a:lnTo>
                <a:lnTo>
                  <a:pt x="684" y="426"/>
                </a:lnTo>
                <a:lnTo>
                  <a:pt x="690" y="420"/>
                </a:lnTo>
                <a:lnTo>
                  <a:pt x="696" y="420"/>
                </a:lnTo>
                <a:lnTo>
                  <a:pt x="696" y="426"/>
                </a:lnTo>
                <a:lnTo>
                  <a:pt x="690" y="426"/>
                </a:lnTo>
                <a:lnTo>
                  <a:pt x="696" y="426"/>
                </a:lnTo>
                <a:lnTo>
                  <a:pt x="708" y="426"/>
                </a:lnTo>
                <a:lnTo>
                  <a:pt x="726" y="414"/>
                </a:lnTo>
                <a:lnTo>
                  <a:pt x="732" y="408"/>
                </a:lnTo>
                <a:lnTo>
                  <a:pt x="744" y="402"/>
                </a:lnTo>
                <a:lnTo>
                  <a:pt x="756" y="402"/>
                </a:lnTo>
                <a:lnTo>
                  <a:pt x="768" y="402"/>
                </a:lnTo>
                <a:lnTo>
                  <a:pt x="786" y="408"/>
                </a:lnTo>
                <a:lnTo>
                  <a:pt x="786" y="414"/>
                </a:lnTo>
                <a:lnTo>
                  <a:pt x="774" y="420"/>
                </a:lnTo>
                <a:lnTo>
                  <a:pt x="774" y="426"/>
                </a:lnTo>
                <a:lnTo>
                  <a:pt x="768" y="432"/>
                </a:lnTo>
                <a:lnTo>
                  <a:pt x="762" y="438"/>
                </a:lnTo>
                <a:lnTo>
                  <a:pt x="756" y="438"/>
                </a:lnTo>
                <a:lnTo>
                  <a:pt x="756" y="444"/>
                </a:lnTo>
                <a:lnTo>
                  <a:pt x="756" y="450"/>
                </a:lnTo>
                <a:lnTo>
                  <a:pt x="762" y="450"/>
                </a:lnTo>
                <a:lnTo>
                  <a:pt x="750" y="456"/>
                </a:lnTo>
                <a:lnTo>
                  <a:pt x="738" y="468"/>
                </a:lnTo>
                <a:lnTo>
                  <a:pt x="726" y="480"/>
                </a:lnTo>
                <a:lnTo>
                  <a:pt x="726" y="486"/>
                </a:lnTo>
                <a:lnTo>
                  <a:pt x="732" y="486"/>
                </a:lnTo>
                <a:lnTo>
                  <a:pt x="732" y="492"/>
                </a:lnTo>
                <a:lnTo>
                  <a:pt x="732" y="504"/>
                </a:lnTo>
                <a:lnTo>
                  <a:pt x="738" y="504"/>
                </a:lnTo>
                <a:lnTo>
                  <a:pt x="744" y="510"/>
                </a:lnTo>
                <a:lnTo>
                  <a:pt x="738" y="522"/>
                </a:lnTo>
                <a:lnTo>
                  <a:pt x="744" y="528"/>
                </a:lnTo>
                <a:lnTo>
                  <a:pt x="756" y="534"/>
                </a:lnTo>
                <a:lnTo>
                  <a:pt x="756" y="540"/>
                </a:lnTo>
                <a:lnTo>
                  <a:pt x="744" y="552"/>
                </a:lnTo>
                <a:lnTo>
                  <a:pt x="738" y="552"/>
                </a:lnTo>
                <a:lnTo>
                  <a:pt x="738" y="558"/>
                </a:lnTo>
                <a:lnTo>
                  <a:pt x="744" y="558"/>
                </a:lnTo>
                <a:lnTo>
                  <a:pt x="744" y="564"/>
                </a:lnTo>
                <a:lnTo>
                  <a:pt x="750" y="564"/>
                </a:lnTo>
                <a:lnTo>
                  <a:pt x="744" y="576"/>
                </a:lnTo>
                <a:lnTo>
                  <a:pt x="738" y="588"/>
                </a:lnTo>
                <a:lnTo>
                  <a:pt x="738" y="594"/>
                </a:lnTo>
                <a:lnTo>
                  <a:pt x="738" y="600"/>
                </a:lnTo>
                <a:lnTo>
                  <a:pt x="738" y="606"/>
                </a:lnTo>
                <a:lnTo>
                  <a:pt x="732" y="612"/>
                </a:lnTo>
                <a:lnTo>
                  <a:pt x="726" y="624"/>
                </a:lnTo>
                <a:lnTo>
                  <a:pt x="726" y="636"/>
                </a:lnTo>
                <a:lnTo>
                  <a:pt x="726" y="648"/>
                </a:lnTo>
                <a:lnTo>
                  <a:pt x="738" y="654"/>
                </a:lnTo>
                <a:lnTo>
                  <a:pt x="750" y="660"/>
                </a:lnTo>
                <a:lnTo>
                  <a:pt x="750" y="666"/>
                </a:lnTo>
                <a:lnTo>
                  <a:pt x="750" y="678"/>
                </a:lnTo>
                <a:lnTo>
                  <a:pt x="744" y="678"/>
                </a:lnTo>
                <a:lnTo>
                  <a:pt x="738" y="684"/>
                </a:lnTo>
                <a:lnTo>
                  <a:pt x="732" y="684"/>
                </a:lnTo>
                <a:lnTo>
                  <a:pt x="720" y="678"/>
                </a:lnTo>
                <a:lnTo>
                  <a:pt x="714" y="684"/>
                </a:lnTo>
                <a:lnTo>
                  <a:pt x="708" y="684"/>
                </a:lnTo>
                <a:lnTo>
                  <a:pt x="702" y="684"/>
                </a:lnTo>
                <a:lnTo>
                  <a:pt x="696" y="684"/>
                </a:lnTo>
                <a:lnTo>
                  <a:pt x="690" y="690"/>
                </a:lnTo>
                <a:lnTo>
                  <a:pt x="690" y="684"/>
                </a:lnTo>
                <a:lnTo>
                  <a:pt x="690" y="690"/>
                </a:lnTo>
                <a:lnTo>
                  <a:pt x="684" y="690"/>
                </a:lnTo>
                <a:lnTo>
                  <a:pt x="684" y="684"/>
                </a:lnTo>
                <a:lnTo>
                  <a:pt x="678" y="684"/>
                </a:lnTo>
                <a:lnTo>
                  <a:pt x="672" y="678"/>
                </a:lnTo>
                <a:lnTo>
                  <a:pt x="672" y="672"/>
                </a:lnTo>
                <a:lnTo>
                  <a:pt x="678" y="672"/>
                </a:lnTo>
                <a:lnTo>
                  <a:pt x="672" y="672"/>
                </a:lnTo>
                <a:lnTo>
                  <a:pt x="666" y="672"/>
                </a:lnTo>
                <a:lnTo>
                  <a:pt x="660" y="672"/>
                </a:lnTo>
                <a:lnTo>
                  <a:pt x="654" y="672"/>
                </a:lnTo>
                <a:lnTo>
                  <a:pt x="654" y="666"/>
                </a:lnTo>
                <a:lnTo>
                  <a:pt x="648" y="666"/>
                </a:lnTo>
                <a:lnTo>
                  <a:pt x="642" y="660"/>
                </a:lnTo>
                <a:lnTo>
                  <a:pt x="642" y="654"/>
                </a:lnTo>
                <a:lnTo>
                  <a:pt x="642" y="648"/>
                </a:lnTo>
                <a:lnTo>
                  <a:pt x="636" y="648"/>
                </a:lnTo>
                <a:lnTo>
                  <a:pt x="630" y="648"/>
                </a:lnTo>
                <a:lnTo>
                  <a:pt x="624" y="648"/>
                </a:lnTo>
                <a:lnTo>
                  <a:pt x="624" y="642"/>
                </a:lnTo>
                <a:lnTo>
                  <a:pt x="618" y="636"/>
                </a:lnTo>
                <a:lnTo>
                  <a:pt x="624" y="636"/>
                </a:lnTo>
                <a:lnTo>
                  <a:pt x="624" y="630"/>
                </a:lnTo>
                <a:lnTo>
                  <a:pt x="618" y="630"/>
                </a:lnTo>
                <a:lnTo>
                  <a:pt x="618" y="624"/>
                </a:lnTo>
                <a:lnTo>
                  <a:pt x="618" y="618"/>
                </a:lnTo>
                <a:lnTo>
                  <a:pt x="618" y="612"/>
                </a:lnTo>
                <a:lnTo>
                  <a:pt x="618" y="606"/>
                </a:lnTo>
                <a:lnTo>
                  <a:pt x="624" y="606"/>
                </a:lnTo>
                <a:lnTo>
                  <a:pt x="624" y="600"/>
                </a:lnTo>
                <a:lnTo>
                  <a:pt x="618" y="600"/>
                </a:lnTo>
                <a:lnTo>
                  <a:pt x="618" y="594"/>
                </a:lnTo>
                <a:lnTo>
                  <a:pt x="618" y="588"/>
                </a:lnTo>
                <a:lnTo>
                  <a:pt x="618" y="582"/>
                </a:lnTo>
                <a:lnTo>
                  <a:pt x="612" y="582"/>
                </a:lnTo>
                <a:lnTo>
                  <a:pt x="606" y="582"/>
                </a:lnTo>
                <a:lnTo>
                  <a:pt x="612" y="582"/>
                </a:lnTo>
                <a:lnTo>
                  <a:pt x="612" y="588"/>
                </a:lnTo>
                <a:lnTo>
                  <a:pt x="612" y="594"/>
                </a:lnTo>
                <a:lnTo>
                  <a:pt x="618" y="594"/>
                </a:lnTo>
                <a:lnTo>
                  <a:pt x="618" y="600"/>
                </a:lnTo>
                <a:lnTo>
                  <a:pt x="618" y="606"/>
                </a:lnTo>
                <a:lnTo>
                  <a:pt x="618" y="612"/>
                </a:lnTo>
                <a:lnTo>
                  <a:pt x="612" y="612"/>
                </a:lnTo>
                <a:lnTo>
                  <a:pt x="612" y="618"/>
                </a:lnTo>
                <a:lnTo>
                  <a:pt x="606" y="612"/>
                </a:lnTo>
                <a:lnTo>
                  <a:pt x="600" y="612"/>
                </a:lnTo>
                <a:lnTo>
                  <a:pt x="594" y="612"/>
                </a:lnTo>
                <a:lnTo>
                  <a:pt x="588" y="606"/>
                </a:lnTo>
                <a:lnTo>
                  <a:pt x="588" y="612"/>
                </a:lnTo>
                <a:lnTo>
                  <a:pt x="594" y="612"/>
                </a:lnTo>
                <a:lnTo>
                  <a:pt x="594" y="618"/>
                </a:lnTo>
                <a:lnTo>
                  <a:pt x="588" y="618"/>
                </a:lnTo>
                <a:lnTo>
                  <a:pt x="588" y="624"/>
                </a:lnTo>
                <a:lnTo>
                  <a:pt x="582" y="624"/>
                </a:lnTo>
                <a:lnTo>
                  <a:pt x="582" y="630"/>
                </a:lnTo>
                <a:lnTo>
                  <a:pt x="576" y="630"/>
                </a:lnTo>
                <a:lnTo>
                  <a:pt x="576" y="636"/>
                </a:lnTo>
                <a:lnTo>
                  <a:pt x="570" y="636"/>
                </a:lnTo>
                <a:lnTo>
                  <a:pt x="570" y="642"/>
                </a:lnTo>
                <a:lnTo>
                  <a:pt x="564" y="642"/>
                </a:lnTo>
                <a:lnTo>
                  <a:pt x="564" y="636"/>
                </a:lnTo>
                <a:lnTo>
                  <a:pt x="564" y="630"/>
                </a:lnTo>
                <a:lnTo>
                  <a:pt x="564" y="624"/>
                </a:lnTo>
                <a:lnTo>
                  <a:pt x="564" y="618"/>
                </a:lnTo>
                <a:lnTo>
                  <a:pt x="570" y="612"/>
                </a:lnTo>
                <a:lnTo>
                  <a:pt x="564" y="606"/>
                </a:lnTo>
                <a:lnTo>
                  <a:pt x="564" y="600"/>
                </a:lnTo>
                <a:lnTo>
                  <a:pt x="564" y="594"/>
                </a:lnTo>
                <a:lnTo>
                  <a:pt x="558" y="594"/>
                </a:lnTo>
                <a:lnTo>
                  <a:pt x="558" y="588"/>
                </a:lnTo>
                <a:lnTo>
                  <a:pt x="552" y="582"/>
                </a:lnTo>
                <a:lnTo>
                  <a:pt x="552" y="576"/>
                </a:lnTo>
                <a:lnTo>
                  <a:pt x="552" y="570"/>
                </a:lnTo>
                <a:lnTo>
                  <a:pt x="552" y="564"/>
                </a:lnTo>
                <a:lnTo>
                  <a:pt x="546" y="564"/>
                </a:lnTo>
                <a:lnTo>
                  <a:pt x="546" y="570"/>
                </a:lnTo>
                <a:lnTo>
                  <a:pt x="546" y="576"/>
                </a:lnTo>
                <a:lnTo>
                  <a:pt x="546" y="582"/>
                </a:lnTo>
                <a:lnTo>
                  <a:pt x="552" y="582"/>
                </a:lnTo>
                <a:lnTo>
                  <a:pt x="552" y="588"/>
                </a:lnTo>
                <a:lnTo>
                  <a:pt x="558" y="588"/>
                </a:lnTo>
                <a:lnTo>
                  <a:pt x="558" y="594"/>
                </a:lnTo>
                <a:lnTo>
                  <a:pt x="558" y="600"/>
                </a:lnTo>
                <a:lnTo>
                  <a:pt x="558" y="606"/>
                </a:lnTo>
                <a:lnTo>
                  <a:pt x="552" y="612"/>
                </a:lnTo>
                <a:lnTo>
                  <a:pt x="558" y="612"/>
                </a:lnTo>
                <a:lnTo>
                  <a:pt x="558" y="618"/>
                </a:lnTo>
                <a:lnTo>
                  <a:pt x="558" y="624"/>
                </a:lnTo>
                <a:lnTo>
                  <a:pt x="558" y="630"/>
                </a:lnTo>
                <a:lnTo>
                  <a:pt x="552" y="630"/>
                </a:lnTo>
                <a:lnTo>
                  <a:pt x="552" y="624"/>
                </a:lnTo>
                <a:lnTo>
                  <a:pt x="546" y="624"/>
                </a:lnTo>
                <a:lnTo>
                  <a:pt x="546" y="618"/>
                </a:lnTo>
                <a:lnTo>
                  <a:pt x="546" y="612"/>
                </a:lnTo>
                <a:lnTo>
                  <a:pt x="540" y="612"/>
                </a:lnTo>
                <a:lnTo>
                  <a:pt x="534" y="612"/>
                </a:lnTo>
                <a:lnTo>
                  <a:pt x="528" y="612"/>
                </a:lnTo>
                <a:lnTo>
                  <a:pt x="522" y="606"/>
                </a:lnTo>
                <a:lnTo>
                  <a:pt x="522" y="612"/>
                </a:lnTo>
                <a:lnTo>
                  <a:pt x="528" y="618"/>
                </a:lnTo>
                <a:lnTo>
                  <a:pt x="534" y="618"/>
                </a:lnTo>
                <a:lnTo>
                  <a:pt x="540" y="618"/>
                </a:lnTo>
                <a:lnTo>
                  <a:pt x="540" y="624"/>
                </a:lnTo>
                <a:lnTo>
                  <a:pt x="546" y="624"/>
                </a:lnTo>
                <a:lnTo>
                  <a:pt x="546" y="630"/>
                </a:lnTo>
                <a:lnTo>
                  <a:pt x="552" y="630"/>
                </a:lnTo>
                <a:lnTo>
                  <a:pt x="552" y="636"/>
                </a:lnTo>
                <a:lnTo>
                  <a:pt x="546" y="642"/>
                </a:lnTo>
                <a:lnTo>
                  <a:pt x="546" y="648"/>
                </a:lnTo>
                <a:lnTo>
                  <a:pt x="540" y="648"/>
                </a:lnTo>
                <a:lnTo>
                  <a:pt x="540" y="654"/>
                </a:lnTo>
                <a:lnTo>
                  <a:pt x="540" y="660"/>
                </a:lnTo>
                <a:lnTo>
                  <a:pt x="534" y="666"/>
                </a:lnTo>
                <a:lnTo>
                  <a:pt x="534" y="672"/>
                </a:lnTo>
                <a:lnTo>
                  <a:pt x="534" y="678"/>
                </a:lnTo>
                <a:lnTo>
                  <a:pt x="534" y="684"/>
                </a:lnTo>
                <a:lnTo>
                  <a:pt x="534" y="678"/>
                </a:lnTo>
                <a:lnTo>
                  <a:pt x="528" y="678"/>
                </a:lnTo>
                <a:lnTo>
                  <a:pt x="528" y="684"/>
                </a:lnTo>
                <a:lnTo>
                  <a:pt x="522" y="690"/>
                </a:lnTo>
                <a:lnTo>
                  <a:pt x="528" y="690"/>
                </a:lnTo>
                <a:lnTo>
                  <a:pt x="528" y="684"/>
                </a:lnTo>
                <a:lnTo>
                  <a:pt x="534" y="684"/>
                </a:lnTo>
                <a:lnTo>
                  <a:pt x="534" y="690"/>
                </a:lnTo>
                <a:lnTo>
                  <a:pt x="534" y="696"/>
                </a:lnTo>
                <a:lnTo>
                  <a:pt x="540" y="696"/>
                </a:lnTo>
                <a:lnTo>
                  <a:pt x="540" y="702"/>
                </a:lnTo>
                <a:lnTo>
                  <a:pt x="540" y="708"/>
                </a:lnTo>
                <a:lnTo>
                  <a:pt x="534" y="708"/>
                </a:lnTo>
                <a:lnTo>
                  <a:pt x="528" y="708"/>
                </a:lnTo>
                <a:lnTo>
                  <a:pt x="522" y="708"/>
                </a:lnTo>
                <a:lnTo>
                  <a:pt x="516" y="708"/>
                </a:lnTo>
                <a:lnTo>
                  <a:pt x="510" y="708"/>
                </a:lnTo>
                <a:lnTo>
                  <a:pt x="504" y="708"/>
                </a:lnTo>
                <a:lnTo>
                  <a:pt x="498" y="708"/>
                </a:lnTo>
                <a:lnTo>
                  <a:pt x="492" y="708"/>
                </a:lnTo>
                <a:lnTo>
                  <a:pt x="486" y="714"/>
                </a:lnTo>
                <a:lnTo>
                  <a:pt x="480" y="708"/>
                </a:lnTo>
                <a:lnTo>
                  <a:pt x="474" y="708"/>
                </a:lnTo>
                <a:lnTo>
                  <a:pt x="480" y="708"/>
                </a:lnTo>
                <a:lnTo>
                  <a:pt x="480" y="714"/>
                </a:lnTo>
                <a:lnTo>
                  <a:pt x="474" y="714"/>
                </a:lnTo>
                <a:lnTo>
                  <a:pt x="468" y="714"/>
                </a:lnTo>
                <a:lnTo>
                  <a:pt x="456" y="714"/>
                </a:lnTo>
                <a:lnTo>
                  <a:pt x="450" y="714"/>
                </a:lnTo>
                <a:lnTo>
                  <a:pt x="450" y="708"/>
                </a:lnTo>
                <a:lnTo>
                  <a:pt x="450" y="702"/>
                </a:lnTo>
                <a:lnTo>
                  <a:pt x="450" y="696"/>
                </a:lnTo>
                <a:lnTo>
                  <a:pt x="450" y="690"/>
                </a:lnTo>
                <a:lnTo>
                  <a:pt x="450" y="684"/>
                </a:lnTo>
                <a:lnTo>
                  <a:pt x="450" y="678"/>
                </a:lnTo>
                <a:lnTo>
                  <a:pt x="450" y="672"/>
                </a:lnTo>
                <a:lnTo>
                  <a:pt x="450" y="666"/>
                </a:lnTo>
                <a:lnTo>
                  <a:pt x="456" y="660"/>
                </a:lnTo>
                <a:lnTo>
                  <a:pt x="462" y="660"/>
                </a:lnTo>
                <a:lnTo>
                  <a:pt x="462" y="654"/>
                </a:lnTo>
                <a:lnTo>
                  <a:pt x="456" y="654"/>
                </a:lnTo>
                <a:lnTo>
                  <a:pt x="456" y="660"/>
                </a:lnTo>
                <a:lnTo>
                  <a:pt x="450" y="654"/>
                </a:lnTo>
                <a:lnTo>
                  <a:pt x="450" y="648"/>
                </a:lnTo>
                <a:lnTo>
                  <a:pt x="444" y="648"/>
                </a:lnTo>
                <a:lnTo>
                  <a:pt x="444" y="642"/>
                </a:lnTo>
                <a:lnTo>
                  <a:pt x="444" y="636"/>
                </a:lnTo>
                <a:lnTo>
                  <a:pt x="450" y="636"/>
                </a:lnTo>
                <a:lnTo>
                  <a:pt x="450" y="630"/>
                </a:lnTo>
                <a:lnTo>
                  <a:pt x="456" y="630"/>
                </a:lnTo>
                <a:lnTo>
                  <a:pt x="462" y="630"/>
                </a:lnTo>
                <a:lnTo>
                  <a:pt x="462" y="624"/>
                </a:lnTo>
                <a:lnTo>
                  <a:pt x="468" y="624"/>
                </a:lnTo>
                <a:lnTo>
                  <a:pt x="474" y="624"/>
                </a:lnTo>
                <a:lnTo>
                  <a:pt x="474" y="618"/>
                </a:lnTo>
                <a:lnTo>
                  <a:pt x="480" y="618"/>
                </a:lnTo>
                <a:lnTo>
                  <a:pt x="486" y="618"/>
                </a:lnTo>
                <a:lnTo>
                  <a:pt x="486" y="624"/>
                </a:lnTo>
                <a:lnTo>
                  <a:pt x="486" y="636"/>
                </a:lnTo>
                <a:lnTo>
                  <a:pt x="486" y="642"/>
                </a:lnTo>
                <a:lnTo>
                  <a:pt x="486" y="648"/>
                </a:lnTo>
                <a:lnTo>
                  <a:pt x="492" y="648"/>
                </a:lnTo>
                <a:lnTo>
                  <a:pt x="492" y="642"/>
                </a:lnTo>
                <a:lnTo>
                  <a:pt x="498" y="636"/>
                </a:lnTo>
                <a:lnTo>
                  <a:pt x="492" y="636"/>
                </a:lnTo>
                <a:lnTo>
                  <a:pt x="492" y="630"/>
                </a:lnTo>
                <a:lnTo>
                  <a:pt x="492" y="624"/>
                </a:lnTo>
                <a:lnTo>
                  <a:pt x="486" y="624"/>
                </a:lnTo>
                <a:lnTo>
                  <a:pt x="486" y="618"/>
                </a:lnTo>
                <a:lnTo>
                  <a:pt x="486" y="612"/>
                </a:lnTo>
                <a:lnTo>
                  <a:pt x="486" y="606"/>
                </a:lnTo>
                <a:lnTo>
                  <a:pt x="480" y="606"/>
                </a:lnTo>
                <a:lnTo>
                  <a:pt x="480" y="612"/>
                </a:lnTo>
                <a:lnTo>
                  <a:pt x="474" y="618"/>
                </a:lnTo>
                <a:lnTo>
                  <a:pt x="468" y="618"/>
                </a:lnTo>
                <a:lnTo>
                  <a:pt x="462" y="618"/>
                </a:lnTo>
                <a:lnTo>
                  <a:pt x="462" y="612"/>
                </a:lnTo>
                <a:lnTo>
                  <a:pt x="456" y="612"/>
                </a:lnTo>
                <a:lnTo>
                  <a:pt x="456" y="618"/>
                </a:lnTo>
                <a:lnTo>
                  <a:pt x="462" y="618"/>
                </a:lnTo>
                <a:lnTo>
                  <a:pt x="462" y="624"/>
                </a:lnTo>
                <a:lnTo>
                  <a:pt x="456" y="624"/>
                </a:lnTo>
                <a:lnTo>
                  <a:pt x="450" y="630"/>
                </a:lnTo>
                <a:lnTo>
                  <a:pt x="444" y="630"/>
                </a:lnTo>
                <a:lnTo>
                  <a:pt x="444" y="636"/>
                </a:lnTo>
                <a:lnTo>
                  <a:pt x="444" y="642"/>
                </a:lnTo>
                <a:lnTo>
                  <a:pt x="444" y="654"/>
                </a:lnTo>
                <a:lnTo>
                  <a:pt x="444" y="660"/>
                </a:lnTo>
                <a:lnTo>
                  <a:pt x="438" y="660"/>
                </a:lnTo>
                <a:lnTo>
                  <a:pt x="432" y="660"/>
                </a:lnTo>
                <a:lnTo>
                  <a:pt x="432" y="654"/>
                </a:lnTo>
                <a:lnTo>
                  <a:pt x="438" y="654"/>
                </a:lnTo>
                <a:lnTo>
                  <a:pt x="438" y="648"/>
                </a:lnTo>
                <a:lnTo>
                  <a:pt x="432" y="642"/>
                </a:lnTo>
                <a:lnTo>
                  <a:pt x="432" y="636"/>
                </a:lnTo>
                <a:lnTo>
                  <a:pt x="432" y="630"/>
                </a:lnTo>
                <a:lnTo>
                  <a:pt x="432" y="636"/>
                </a:lnTo>
                <a:lnTo>
                  <a:pt x="432" y="642"/>
                </a:lnTo>
                <a:lnTo>
                  <a:pt x="432" y="648"/>
                </a:lnTo>
                <a:lnTo>
                  <a:pt x="432" y="654"/>
                </a:lnTo>
                <a:lnTo>
                  <a:pt x="432" y="648"/>
                </a:lnTo>
                <a:lnTo>
                  <a:pt x="426" y="648"/>
                </a:lnTo>
                <a:lnTo>
                  <a:pt x="426" y="654"/>
                </a:lnTo>
                <a:lnTo>
                  <a:pt x="426" y="660"/>
                </a:lnTo>
                <a:lnTo>
                  <a:pt x="432" y="666"/>
                </a:lnTo>
                <a:lnTo>
                  <a:pt x="432" y="672"/>
                </a:lnTo>
                <a:lnTo>
                  <a:pt x="438" y="672"/>
                </a:lnTo>
                <a:lnTo>
                  <a:pt x="438" y="678"/>
                </a:lnTo>
                <a:lnTo>
                  <a:pt x="444" y="678"/>
                </a:lnTo>
                <a:lnTo>
                  <a:pt x="444" y="684"/>
                </a:lnTo>
                <a:lnTo>
                  <a:pt x="438" y="690"/>
                </a:lnTo>
                <a:lnTo>
                  <a:pt x="438" y="696"/>
                </a:lnTo>
                <a:lnTo>
                  <a:pt x="438" y="702"/>
                </a:lnTo>
                <a:lnTo>
                  <a:pt x="432" y="702"/>
                </a:lnTo>
                <a:lnTo>
                  <a:pt x="426" y="702"/>
                </a:lnTo>
                <a:lnTo>
                  <a:pt x="426" y="696"/>
                </a:lnTo>
                <a:lnTo>
                  <a:pt x="414" y="696"/>
                </a:lnTo>
                <a:lnTo>
                  <a:pt x="402" y="696"/>
                </a:lnTo>
                <a:lnTo>
                  <a:pt x="402" y="690"/>
                </a:lnTo>
                <a:lnTo>
                  <a:pt x="396" y="690"/>
                </a:lnTo>
                <a:lnTo>
                  <a:pt x="390" y="690"/>
                </a:lnTo>
                <a:lnTo>
                  <a:pt x="384" y="690"/>
                </a:lnTo>
                <a:lnTo>
                  <a:pt x="384" y="684"/>
                </a:lnTo>
                <a:lnTo>
                  <a:pt x="384" y="678"/>
                </a:lnTo>
                <a:lnTo>
                  <a:pt x="384" y="672"/>
                </a:lnTo>
                <a:lnTo>
                  <a:pt x="390" y="666"/>
                </a:lnTo>
                <a:lnTo>
                  <a:pt x="390" y="660"/>
                </a:lnTo>
                <a:lnTo>
                  <a:pt x="390" y="654"/>
                </a:lnTo>
                <a:lnTo>
                  <a:pt x="384" y="648"/>
                </a:lnTo>
                <a:lnTo>
                  <a:pt x="384" y="642"/>
                </a:lnTo>
                <a:lnTo>
                  <a:pt x="378" y="636"/>
                </a:lnTo>
                <a:lnTo>
                  <a:pt x="378" y="642"/>
                </a:lnTo>
                <a:lnTo>
                  <a:pt x="378" y="648"/>
                </a:lnTo>
                <a:lnTo>
                  <a:pt x="372" y="648"/>
                </a:lnTo>
                <a:lnTo>
                  <a:pt x="378" y="654"/>
                </a:lnTo>
                <a:lnTo>
                  <a:pt x="378" y="660"/>
                </a:lnTo>
                <a:lnTo>
                  <a:pt x="378" y="666"/>
                </a:lnTo>
                <a:lnTo>
                  <a:pt x="372" y="672"/>
                </a:lnTo>
                <a:lnTo>
                  <a:pt x="378" y="672"/>
                </a:lnTo>
                <a:lnTo>
                  <a:pt x="378" y="678"/>
                </a:lnTo>
                <a:lnTo>
                  <a:pt x="372" y="678"/>
                </a:lnTo>
                <a:lnTo>
                  <a:pt x="372" y="672"/>
                </a:lnTo>
                <a:lnTo>
                  <a:pt x="366" y="672"/>
                </a:lnTo>
                <a:lnTo>
                  <a:pt x="354" y="666"/>
                </a:lnTo>
                <a:lnTo>
                  <a:pt x="354" y="660"/>
                </a:lnTo>
                <a:lnTo>
                  <a:pt x="342" y="654"/>
                </a:lnTo>
                <a:lnTo>
                  <a:pt x="336" y="654"/>
                </a:lnTo>
                <a:lnTo>
                  <a:pt x="330" y="654"/>
                </a:lnTo>
                <a:lnTo>
                  <a:pt x="324" y="648"/>
                </a:lnTo>
                <a:lnTo>
                  <a:pt x="318" y="648"/>
                </a:lnTo>
                <a:lnTo>
                  <a:pt x="318" y="642"/>
                </a:lnTo>
                <a:lnTo>
                  <a:pt x="312" y="642"/>
                </a:lnTo>
                <a:lnTo>
                  <a:pt x="306" y="636"/>
                </a:lnTo>
                <a:lnTo>
                  <a:pt x="300" y="636"/>
                </a:lnTo>
                <a:lnTo>
                  <a:pt x="300" y="630"/>
                </a:lnTo>
                <a:lnTo>
                  <a:pt x="300" y="624"/>
                </a:lnTo>
                <a:lnTo>
                  <a:pt x="306" y="624"/>
                </a:lnTo>
                <a:lnTo>
                  <a:pt x="300" y="624"/>
                </a:lnTo>
                <a:lnTo>
                  <a:pt x="300" y="618"/>
                </a:lnTo>
                <a:lnTo>
                  <a:pt x="306" y="612"/>
                </a:lnTo>
                <a:lnTo>
                  <a:pt x="300" y="612"/>
                </a:lnTo>
                <a:lnTo>
                  <a:pt x="300" y="606"/>
                </a:lnTo>
                <a:lnTo>
                  <a:pt x="300" y="612"/>
                </a:lnTo>
                <a:lnTo>
                  <a:pt x="294" y="612"/>
                </a:lnTo>
                <a:lnTo>
                  <a:pt x="288" y="618"/>
                </a:lnTo>
                <a:lnTo>
                  <a:pt x="288" y="612"/>
                </a:lnTo>
                <a:lnTo>
                  <a:pt x="288" y="618"/>
                </a:lnTo>
                <a:lnTo>
                  <a:pt x="294" y="618"/>
                </a:lnTo>
                <a:lnTo>
                  <a:pt x="300" y="624"/>
                </a:lnTo>
                <a:lnTo>
                  <a:pt x="294" y="624"/>
                </a:lnTo>
                <a:lnTo>
                  <a:pt x="288" y="624"/>
                </a:lnTo>
                <a:lnTo>
                  <a:pt x="282" y="618"/>
                </a:lnTo>
                <a:lnTo>
                  <a:pt x="282" y="612"/>
                </a:lnTo>
                <a:lnTo>
                  <a:pt x="276" y="612"/>
                </a:lnTo>
                <a:lnTo>
                  <a:pt x="264" y="606"/>
                </a:lnTo>
                <a:lnTo>
                  <a:pt x="264" y="600"/>
                </a:lnTo>
                <a:lnTo>
                  <a:pt x="270" y="600"/>
                </a:lnTo>
                <a:lnTo>
                  <a:pt x="270" y="594"/>
                </a:lnTo>
                <a:lnTo>
                  <a:pt x="276" y="594"/>
                </a:lnTo>
                <a:lnTo>
                  <a:pt x="282" y="594"/>
                </a:lnTo>
                <a:lnTo>
                  <a:pt x="276" y="594"/>
                </a:lnTo>
                <a:lnTo>
                  <a:pt x="282" y="594"/>
                </a:lnTo>
                <a:lnTo>
                  <a:pt x="282" y="588"/>
                </a:lnTo>
                <a:lnTo>
                  <a:pt x="276" y="588"/>
                </a:lnTo>
                <a:lnTo>
                  <a:pt x="276" y="594"/>
                </a:lnTo>
                <a:lnTo>
                  <a:pt x="270" y="594"/>
                </a:lnTo>
                <a:lnTo>
                  <a:pt x="264" y="600"/>
                </a:lnTo>
                <a:lnTo>
                  <a:pt x="264" y="594"/>
                </a:lnTo>
                <a:lnTo>
                  <a:pt x="270" y="594"/>
                </a:lnTo>
                <a:lnTo>
                  <a:pt x="270" y="588"/>
                </a:lnTo>
                <a:lnTo>
                  <a:pt x="264" y="594"/>
                </a:lnTo>
                <a:lnTo>
                  <a:pt x="258" y="594"/>
                </a:lnTo>
                <a:lnTo>
                  <a:pt x="258" y="588"/>
                </a:lnTo>
                <a:lnTo>
                  <a:pt x="252" y="588"/>
                </a:lnTo>
                <a:lnTo>
                  <a:pt x="246" y="588"/>
                </a:lnTo>
                <a:lnTo>
                  <a:pt x="246" y="582"/>
                </a:lnTo>
                <a:lnTo>
                  <a:pt x="240" y="582"/>
                </a:lnTo>
                <a:lnTo>
                  <a:pt x="240" y="588"/>
                </a:lnTo>
                <a:lnTo>
                  <a:pt x="246" y="588"/>
                </a:lnTo>
                <a:lnTo>
                  <a:pt x="252" y="588"/>
                </a:lnTo>
                <a:lnTo>
                  <a:pt x="252" y="594"/>
                </a:lnTo>
                <a:lnTo>
                  <a:pt x="258" y="594"/>
                </a:lnTo>
                <a:lnTo>
                  <a:pt x="252" y="594"/>
                </a:lnTo>
                <a:lnTo>
                  <a:pt x="246" y="594"/>
                </a:lnTo>
                <a:lnTo>
                  <a:pt x="246" y="588"/>
                </a:lnTo>
                <a:lnTo>
                  <a:pt x="240" y="588"/>
                </a:lnTo>
                <a:lnTo>
                  <a:pt x="234" y="582"/>
                </a:lnTo>
                <a:lnTo>
                  <a:pt x="228" y="576"/>
                </a:lnTo>
                <a:lnTo>
                  <a:pt x="222" y="570"/>
                </a:lnTo>
                <a:lnTo>
                  <a:pt x="222" y="564"/>
                </a:lnTo>
                <a:lnTo>
                  <a:pt x="222" y="570"/>
                </a:lnTo>
                <a:lnTo>
                  <a:pt x="228" y="570"/>
                </a:lnTo>
                <a:lnTo>
                  <a:pt x="222" y="570"/>
                </a:lnTo>
                <a:lnTo>
                  <a:pt x="222" y="564"/>
                </a:lnTo>
                <a:lnTo>
                  <a:pt x="228" y="564"/>
                </a:lnTo>
                <a:lnTo>
                  <a:pt x="234" y="564"/>
                </a:lnTo>
                <a:lnTo>
                  <a:pt x="234" y="558"/>
                </a:lnTo>
                <a:lnTo>
                  <a:pt x="240" y="558"/>
                </a:lnTo>
                <a:lnTo>
                  <a:pt x="234" y="558"/>
                </a:lnTo>
                <a:lnTo>
                  <a:pt x="228" y="558"/>
                </a:lnTo>
                <a:lnTo>
                  <a:pt x="222" y="558"/>
                </a:lnTo>
                <a:lnTo>
                  <a:pt x="228" y="558"/>
                </a:lnTo>
                <a:lnTo>
                  <a:pt x="228" y="564"/>
                </a:lnTo>
                <a:lnTo>
                  <a:pt x="222" y="564"/>
                </a:lnTo>
                <a:lnTo>
                  <a:pt x="222" y="558"/>
                </a:lnTo>
                <a:lnTo>
                  <a:pt x="216" y="558"/>
                </a:lnTo>
                <a:lnTo>
                  <a:pt x="210" y="558"/>
                </a:lnTo>
                <a:lnTo>
                  <a:pt x="210" y="552"/>
                </a:lnTo>
                <a:lnTo>
                  <a:pt x="204" y="546"/>
                </a:lnTo>
                <a:lnTo>
                  <a:pt x="204" y="540"/>
                </a:lnTo>
                <a:lnTo>
                  <a:pt x="210" y="540"/>
                </a:lnTo>
                <a:lnTo>
                  <a:pt x="210" y="546"/>
                </a:lnTo>
                <a:lnTo>
                  <a:pt x="210" y="540"/>
                </a:lnTo>
                <a:lnTo>
                  <a:pt x="210" y="534"/>
                </a:lnTo>
                <a:lnTo>
                  <a:pt x="210" y="528"/>
                </a:lnTo>
                <a:lnTo>
                  <a:pt x="204" y="528"/>
                </a:lnTo>
                <a:lnTo>
                  <a:pt x="210" y="534"/>
                </a:lnTo>
                <a:lnTo>
                  <a:pt x="210" y="540"/>
                </a:lnTo>
                <a:lnTo>
                  <a:pt x="204" y="540"/>
                </a:lnTo>
                <a:lnTo>
                  <a:pt x="198" y="540"/>
                </a:lnTo>
                <a:lnTo>
                  <a:pt x="192" y="540"/>
                </a:lnTo>
                <a:lnTo>
                  <a:pt x="186" y="540"/>
                </a:lnTo>
                <a:lnTo>
                  <a:pt x="186" y="534"/>
                </a:lnTo>
                <a:lnTo>
                  <a:pt x="186" y="528"/>
                </a:lnTo>
                <a:lnTo>
                  <a:pt x="180" y="528"/>
                </a:lnTo>
                <a:lnTo>
                  <a:pt x="174" y="516"/>
                </a:lnTo>
                <a:lnTo>
                  <a:pt x="168" y="510"/>
                </a:lnTo>
                <a:lnTo>
                  <a:pt x="162" y="504"/>
                </a:lnTo>
                <a:lnTo>
                  <a:pt x="156" y="498"/>
                </a:lnTo>
                <a:lnTo>
                  <a:pt x="156" y="492"/>
                </a:lnTo>
                <a:lnTo>
                  <a:pt x="150" y="486"/>
                </a:lnTo>
                <a:lnTo>
                  <a:pt x="144" y="480"/>
                </a:lnTo>
                <a:lnTo>
                  <a:pt x="144" y="474"/>
                </a:lnTo>
                <a:lnTo>
                  <a:pt x="138" y="474"/>
                </a:lnTo>
                <a:lnTo>
                  <a:pt x="138" y="468"/>
                </a:lnTo>
                <a:lnTo>
                  <a:pt x="132" y="462"/>
                </a:lnTo>
                <a:lnTo>
                  <a:pt x="132" y="456"/>
                </a:lnTo>
                <a:lnTo>
                  <a:pt x="126" y="450"/>
                </a:lnTo>
                <a:lnTo>
                  <a:pt x="126" y="444"/>
                </a:lnTo>
                <a:lnTo>
                  <a:pt x="114" y="438"/>
                </a:lnTo>
                <a:lnTo>
                  <a:pt x="114" y="432"/>
                </a:lnTo>
                <a:lnTo>
                  <a:pt x="114" y="426"/>
                </a:lnTo>
                <a:lnTo>
                  <a:pt x="114" y="432"/>
                </a:lnTo>
                <a:lnTo>
                  <a:pt x="120" y="432"/>
                </a:lnTo>
                <a:lnTo>
                  <a:pt x="120" y="438"/>
                </a:lnTo>
                <a:lnTo>
                  <a:pt x="120" y="444"/>
                </a:lnTo>
                <a:lnTo>
                  <a:pt x="126" y="444"/>
                </a:lnTo>
                <a:lnTo>
                  <a:pt x="126" y="438"/>
                </a:lnTo>
                <a:lnTo>
                  <a:pt x="120" y="438"/>
                </a:lnTo>
                <a:lnTo>
                  <a:pt x="126" y="432"/>
                </a:lnTo>
                <a:lnTo>
                  <a:pt x="126" y="426"/>
                </a:lnTo>
                <a:lnTo>
                  <a:pt x="132" y="420"/>
                </a:lnTo>
                <a:lnTo>
                  <a:pt x="126" y="426"/>
                </a:lnTo>
                <a:lnTo>
                  <a:pt x="120" y="420"/>
                </a:lnTo>
                <a:lnTo>
                  <a:pt x="114" y="420"/>
                </a:lnTo>
                <a:lnTo>
                  <a:pt x="114" y="414"/>
                </a:lnTo>
                <a:lnTo>
                  <a:pt x="108" y="414"/>
                </a:lnTo>
                <a:lnTo>
                  <a:pt x="102" y="414"/>
                </a:lnTo>
                <a:lnTo>
                  <a:pt x="102" y="408"/>
                </a:lnTo>
                <a:lnTo>
                  <a:pt x="96" y="402"/>
                </a:lnTo>
                <a:lnTo>
                  <a:pt x="96" y="396"/>
                </a:lnTo>
                <a:lnTo>
                  <a:pt x="96" y="390"/>
                </a:lnTo>
                <a:lnTo>
                  <a:pt x="90" y="390"/>
                </a:lnTo>
                <a:lnTo>
                  <a:pt x="90" y="384"/>
                </a:lnTo>
                <a:lnTo>
                  <a:pt x="84" y="378"/>
                </a:lnTo>
                <a:lnTo>
                  <a:pt x="84" y="372"/>
                </a:lnTo>
                <a:lnTo>
                  <a:pt x="78" y="372"/>
                </a:lnTo>
                <a:lnTo>
                  <a:pt x="78" y="366"/>
                </a:lnTo>
                <a:lnTo>
                  <a:pt x="78" y="360"/>
                </a:lnTo>
                <a:lnTo>
                  <a:pt x="72" y="354"/>
                </a:lnTo>
                <a:lnTo>
                  <a:pt x="66" y="354"/>
                </a:lnTo>
                <a:lnTo>
                  <a:pt x="66" y="348"/>
                </a:lnTo>
                <a:lnTo>
                  <a:pt x="66" y="342"/>
                </a:lnTo>
                <a:lnTo>
                  <a:pt x="60" y="342"/>
                </a:lnTo>
                <a:lnTo>
                  <a:pt x="60" y="336"/>
                </a:lnTo>
                <a:lnTo>
                  <a:pt x="60" y="330"/>
                </a:lnTo>
                <a:lnTo>
                  <a:pt x="54" y="330"/>
                </a:lnTo>
                <a:lnTo>
                  <a:pt x="60" y="324"/>
                </a:lnTo>
                <a:lnTo>
                  <a:pt x="60" y="330"/>
                </a:lnTo>
                <a:lnTo>
                  <a:pt x="66" y="336"/>
                </a:lnTo>
                <a:lnTo>
                  <a:pt x="66" y="342"/>
                </a:lnTo>
                <a:lnTo>
                  <a:pt x="72" y="348"/>
                </a:lnTo>
                <a:lnTo>
                  <a:pt x="78" y="354"/>
                </a:lnTo>
                <a:lnTo>
                  <a:pt x="84" y="360"/>
                </a:lnTo>
                <a:lnTo>
                  <a:pt x="90" y="366"/>
                </a:lnTo>
                <a:lnTo>
                  <a:pt x="96" y="366"/>
                </a:lnTo>
                <a:lnTo>
                  <a:pt x="90" y="360"/>
                </a:lnTo>
                <a:lnTo>
                  <a:pt x="84" y="360"/>
                </a:lnTo>
                <a:lnTo>
                  <a:pt x="84" y="354"/>
                </a:lnTo>
                <a:lnTo>
                  <a:pt x="78" y="348"/>
                </a:lnTo>
                <a:lnTo>
                  <a:pt x="78" y="342"/>
                </a:lnTo>
                <a:lnTo>
                  <a:pt x="72" y="342"/>
                </a:lnTo>
                <a:lnTo>
                  <a:pt x="72" y="336"/>
                </a:lnTo>
                <a:lnTo>
                  <a:pt x="66" y="330"/>
                </a:lnTo>
                <a:lnTo>
                  <a:pt x="66" y="324"/>
                </a:lnTo>
                <a:lnTo>
                  <a:pt x="60" y="318"/>
                </a:lnTo>
                <a:lnTo>
                  <a:pt x="60" y="312"/>
                </a:lnTo>
                <a:lnTo>
                  <a:pt x="54" y="306"/>
                </a:lnTo>
                <a:lnTo>
                  <a:pt x="54" y="300"/>
                </a:lnTo>
                <a:lnTo>
                  <a:pt x="54" y="294"/>
                </a:lnTo>
                <a:lnTo>
                  <a:pt x="48" y="288"/>
                </a:lnTo>
                <a:lnTo>
                  <a:pt x="48" y="294"/>
                </a:lnTo>
                <a:lnTo>
                  <a:pt x="48" y="288"/>
                </a:lnTo>
                <a:lnTo>
                  <a:pt x="48" y="282"/>
                </a:lnTo>
                <a:lnTo>
                  <a:pt x="48" y="276"/>
                </a:lnTo>
                <a:lnTo>
                  <a:pt x="42" y="276"/>
                </a:lnTo>
                <a:lnTo>
                  <a:pt x="42" y="270"/>
                </a:lnTo>
                <a:lnTo>
                  <a:pt x="42" y="264"/>
                </a:lnTo>
                <a:lnTo>
                  <a:pt x="36" y="258"/>
                </a:lnTo>
                <a:lnTo>
                  <a:pt x="36" y="252"/>
                </a:lnTo>
                <a:lnTo>
                  <a:pt x="36" y="246"/>
                </a:lnTo>
                <a:lnTo>
                  <a:pt x="30" y="240"/>
                </a:lnTo>
                <a:lnTo>
                  <a:pt x="36" y="240"/>
                </a:lnTo>
                <a:lnTo>
                  <a:pt x="30" y="240"/>
                </a:lnTo>
                <a:lnTo>
                  <a:pt x="30" y="234"/>
                </a:lnTo>
                <a:lnTo>
                  <a:pt x="30" y="228"/>
                </a:lnTo>
                <a:lnTo>
                  <a:pt x="24" y="228"/>
                </a:lnTo>
                <a:lnTo>
                  <a:pt x="24" y="222"/>
                </a:lnTo>
                <a:lnTo>
                  <a:pt x="24" y="216"/>
                </a:lnTo>
                <a:lnTo>
                  <a:pt x="18" y="216"/>
                </a:lnTo>
                <a:lnTo>
                  <a:pt x="18" y="210"/>
                </a:lnTo>
                <a:lnTo>
                  <a:pt x="18" y="204"/>
                </a:lnTo>
                <a:lnTo>
                  <a:pt x="12" y="198"/>
                </a:lnTo>
                <a:lnTo>
                  <a:pt x="12" y="192"/>
                </a:lnTo>
                <a:lnTo>
                  <a:pt x="6" y="192"/>
                </a:lnTo>
                <a:lnTo>
                  <a:pt x="6" y="186"/>
                </a:lnTo>
                <a:lnTo>
                  <a:pt x="6" y="180"/>
                </a:lnTo>
                <a:lnTo>
                  <a:pt x="0" y="180"/>
                </a:lnTo>
                <a:lnTo>
                  <a:pt x="0" y="174"/>
                </a:lnTo>
                <a:lnTo>
                  <a:pt x="0" y="168"/>
                </a:lnTo>
                <a:lnTo>
                  <a:pt x="6" y="168"/>
                </a:lnTo>
                <a:lnTo>
                  <a:pt x="12" y="162"/>
                </a:lnTo>
                <a:lnTo>
                  <a:pt x="12" y="168"/>
                </a:lnTo>
                <a:lnTo>
                  <a:pt x="18" y="168"/>
                </a:lnTo>
                <a:lnTo>
                  <a:pt x="24" y="168"/>
                </a:lnTo>
                <a:lnTo>
                  <a:pt x="24" y="162"/>
                </a:lnTo>
                <a:lnTo>
                  <a:pt x="30" y="162"/>
                </a:lnTo>
                <a:lnTo>
                  <a:pt x="36" y="162"/>
                </a:lnTo>
                <a:lnTo>
                  <a:pt x="36" y="168"/>
                </a:lnTo>
                <a:lnTo>
                  <a:pt x="42" y="168"/>
                </a:lnTo>
                <a:lnTo>
                  <a:pt x="42" y="174"/>
                </a:lnTo>
                <a:lnTo>
                  <a:pt x="48" y="180"/>
                </a:lnTo>
                <a:lnTo>
                  <a:pt x="48" y="186"/>
                </a:lnTo>
                <a:lnTo>
                  <a:pt x="54" y="186"/>
                </a:lnTo>
                <a:close/>
                <a:moveTo>
                  <a:pt x="642" y="660"/>
                </a:moveTo>
                <a:lnTo>
                  <a:pt x="642" y="666"/>
                </a:lnTo>
                <a:lnTo>
                  <a:pt x="648" y="666"/>
                </a:lnTo>
                <a:lnTo>
                  <a:pt x="648" y="672"/>
                </a:lnTo>
                <a:lnTo>
                  <a:pt x="648" y="678"/>
                </a:lnTo>
                <a:lnTo>
                  <a:pt x="654" y="678"/>
                </a:lnTo>
                <a:lnTo>
                  <a:pt x="654" y="684"/>
                </a:lnTo>
                <a:lnTo>
                  <a:pt x="660" y="684"/>
                </a:lnTo>
                <a:lnTo>
                  <a:pt x="660" y="690"/>
                </a:lnTo>
                <a:lnTo>
                  <a:pt x="654" y="690"/>
                </a:lnTo>
                <a:lnTo>
                  <a:pt x="648" y="690"/>
                </a:lnTo>
                <a:lnTo>
                  <a:pt x="636" y="696"/>
                </a:lnTo>
                <a:lnTo>
                  <a:pt x="630" y="696"/>
                </a:lnTo>
                <a:lnTo>
                  <a:pt x="624" y="696"/>
                </a:lnTo>
                <a:lnTo>
                  <a:pt x="618" y="696"/>
                </a:lnTo>
                <a:lnTo>
                  <a:pt x="612" y="696"/>
                </a:lnTo>
                <a:lnTo>
                  <a:pt x="594" y="696"/>
                </a:lnTo>
                <a:lnTo>
                  <a:pt x="588" y="696"/>
                </a:lnTo>
                <a:lnTo>
                  <a:pt x="582" y="696"/>
                </a:lnTo>
                <a:lnTo>
                  <a:pt x="570" y="702"/>
                </a:lnTo>
                <a:lnTo>
                  <a:pt x="564" y="702"/>
                </a:lnTo>
                <a:lnTo>
                  <a:pt x="558" y="702"/>
                </a:lnTo>
                <a:lnTo>
                  <a:pt x="552" y="702"/>
                </a:lnTo>
                <a:lnTo>
                  <a:pt x="552" y="696"/>
                </a:lnTo>
                <a:lnTo>
                  <a:pt x="546" y="696"/>
                </a:lnTo>
                <a:lnTo>
                  <a:pt x="546" y="690"/>
                </a:lnTo>
                <a:lnTo>
                  <a:pt x="552" y="684"/>
                </a:lnTo>
                <a:lnTo>
                  <a:pt x="552" y="678"/>
                </a:lnTo>
                <a:lnTo>
                  <a:pt x="558" y="672"/>
                </a:lnTo>
                <a:lnTo>
                  <a:pt x="558" y="666"/>
                </a:lnTo>
                <a:lnTo>
                  <a:pt x="564" y="666"/>
                </a:lnTo>
                <a:lnTo>
                  <a:pt x="570" y="666"/>
                </a:lnTo>
                <a:lnTo>
                  <a:pt x="570" y="654"/>
                </a:lnTo>
                <a:lnTo>
                  <a:pt x="570" y="648"/>
                </a:lnTo>
                <a:lnTo>
                  <a:pt x="582" y="642"/>
                </a:lnTo>
                <a:lnTo>
                  <a:pt x="582" y="636"/>
                </a:lnTo>
                <a:lnTo>
                  <a:pt x="588" y="636"/>
                </a:lnTo>
                <a:lnTo>
                  <a:pt x="588" y="630"/>
                </a:lnTo>
                <a:lnTo>
                  <a:pt x="594" y="624"/>
                </a:lnTo>
                <a:lnTo>
                  <a:pt x="594" y="618"/>
                </a:lnTo>
                <a:lnTo>
                  <a:pt x="600" y="618"/>
                </a:lnTo>
                <a:lnTo>
                  <a:pt x="600" y="612"/>
                </a:lnTo>
                <a:lnTo>
                  <a:pt x="606" y="612"/>
                </a:lnTo>
                <a:lnTo>
                  <a:pt x="606" y="618"/>
                </a:lnTo>
                <a:lnTo>
                  <a:pt x="612" y="618"/>
                </a:lnTo>
                <a:lnTo>
                  <a:pt x="618" y="618"/>
                </a:lnTo>
                <a:lnTo>
                  <a:pt x="618" y="624"/>
                </a:lnTo>
                <a:lnTo>
                  <a:pt x="618" y="630"/>
                </a:lnTo>
                <a:lnTo>
                  <a:pt x="624" y="630"/>
                </a:lnTo>
                <a:lnTo>
                  <a:pt x="618" y="636"/>
                </a:lnTo>
                <a:lnTo>
                  <a:pt x="618" y="642"/>
                </a:lnTo>
                <a:lnTo>
                  <a:pt x="618" y="648"/>
                </a:lnTo>
                <a:lnTo>
                  <a:pt x="624" y="648"/>
                </a:lnTo>
                <a:lnTo>
                  <a:pt x="630" y="648"/>
                </a:lnTo>
                <a:lnTo>
                  <a:pt x="636" y="654"/>
                </a:lnTo>
                <a:lnTo>
                  <a:pt x="642" y="654"/>
                </a:lnTo>
                <a:lnTo>
                  <a:pt x="642" y="660"/>
                </a:lnTo>
                <a:close/>
              </a:path>
            </a:pathLst>
          </a:custGeom>
          <a:noFill/>
          <a:ln w="9525" cap="flat" cmpd="sng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8354018" y="4088292"/>
            <a:ext cx="949299" cy="2152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Denmark   42, 262</a:t>
            </a:r>
          </a:p>
        </p:txBody>
      </p:sp>
      <p:sp>
        <p:nvSpPr>
          <p:cNvPr id="2" name="AutoShape 2" descr="Image result for hong kong flag"/>
          <p:cNvSpPr>
            <a:spLocks noChangeAspect="1" noChangeArrowheads="1"/>
          </p:cNvSpPr>
          <p:nvPr/>
        </p:nvSpPr>
        <p:spPr bwMode="auto">
          <a:xfrm>
            <a:off x="155575" y="-141150"/>
            <a:ext cx="304800" cy="3045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4228" y="5727875"/>
            <a:ext cx="676655" cy="423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8" name="Picture 4" descr="Flag of Spain">
            <a:extLst>
              <a:ext uri="{FF2B5EF4-FFF2-40B4-BE49-F238E27FC236}">
                <a16:creationId xmlns:a16="http://schemas.microsoft.com/office/drawing/2014/main" id="{4A157AEA-B0AB-4FD8-A226-E1C7D4B1DF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6647" y="1159373"/>
            <a:ext cx="675752" cy="369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9379" y="1169990"/>
            <a:ext cx="684482" cy="369910"/>
          </a:xfrm>
          <a:prstGeom prst="rect">
            <a:avLst/>
          </a:prstGeom>
        </p:spPr>
      </p:pic>
      <p:sp>
        <p:nvSpPr>
          <p:cNvPr id="111" name="TextBox 110"/>
          <p:cNvSpPr txBox="1"/>
          <p:nvPr/>
        </p:nvSpPr>
        <p:spPr>
          <a:xfrm>
            <a:off x="2833342" y="979554"/>
            <a:ext cx="728084" cy="2152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Spain 46.6m </a:t>
            </a:r>
          </a:p>
        </p:txBody>
      </p:sp>
      <p:sp>
        <p:nvSpPr>
          <p:cNvPr id="112" name="TextBox 111"/>
          <p:cNvSpPr txBox="1"/>
          <p:nvPr/>
        </p:nvSpPr>
        <p:spPr>
          <a:xfrm>
            <a:off x="6043541" y="994548"/>
            <a:ext cx="920445" cy="3382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Italy 294,140 </a:t>
            </a: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km</a:t>
            </a:r>
            <a:r>
              <a:rPr kumimoji="0" lang="en-GB" sz="8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2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2681452" y="5554047"/>
            <a:ext cx="877163" cy="2152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Sri Lanka 21.4m </a:t>
            </a:r>
          </a:p>
        </p:txBody>
      </p:sp>
      <p:sp>
        <p:nvSpPr>
          <p:cNvPr id="115" name="TextBox 114"/>
          <p:cNvSpPr txBox="1"/>
          <p:nvPr/>
        </p:nvSpPr>
        <p:spPr>
          <a:xfrm>
            <a:off x="5947113" y="5571472"/>
            <a:ext cx="107273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Rwanda  26,338 </a:t>
            </a: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km</a:t>
            </a:r>
            <a:r>
              <a:rPr kumimoji="0" lang="en-GB" sz="8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2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 </a:t>
            </a:r>
          </a:p>
        </p:txBody>
      </p:sp>
      <p:pic>
        <p:nvPicPr>
          <p:cNvPr id="109" name="Picture 12" descr="Image result for flags rwanda">
            <a:extLst>
              <a:ext uri="{FF2B5EF4-FFF2-40B4-BE49-F238E27FC236}">
                <a16:creationId xmlns:a16="http://schemas.microsoft.com/office/drawing/2014/main" id="{5E56E732-47FC-427F-90FB-1FE27701A0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2626" y="5759277"/>
            <a:ext cx="677775" cy="3922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00402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1" fill="hold">
                      <p:stCondLst>
                        <p:cond delay="indefinite"/>
                      </p:stCondLst>
                      <p:childTnLst>
                        <p:par>
                          <p:cTn id="122" fill="hold">
                            <p:stCondLst>
                              <p:cond delay="0"/>
                            </p:stCondLst>
                            <p:childTnLst>
                              <p:par>
                                <p:cTn id="1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3" fill="hold">
                      <p:stCondLst>
                        <p:cond delay="indefinite"/>
                      </p:stCondLst>
                      <p:childTnLst>
                        <p:par>
                          <p:cTn id="134" fill="hold">
                            <p:stCondLst>
                              <p:cond delay="0"/>
                            </p:stCondLst>
                            <p:childTnLst>
                              <p:par>
                                <p:cTn id="1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1" fill="hold">
                      <p:stCondLst>
                        <p:cond delay="indefinite"/>
                      </p:stCondLst>
                      <p:childTnLst>
                        <p:par>
                          <p:cTn id="142" fill="hold">
                            <p:stCondLst>
                              <p:cond delay="0"/>
                            </p:stCondLst>
                            <p:childTnLst>
                              <p:par>
                                <p:cTn id="1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9" fill="hold">
                      <p:stCondLst>
                        <p:cond delay="indefinite"/>
                      </p:stCondLst>
                      <p:childTnLst>
                        <p:par>
                          <p:cTn id="150" fill="hold">
                            <p:stCondLst>
                              <p:cond delay="0"/>
                            </p:stCondLst>
                            <p:childTnLst>
                              <p:par>
                                <p:cTn id="1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5" fill="hold">
                      <p:stCondLst>
                        <p:cond delay="indefinite"/>
                      </p:stCondLst>
                      <p:childTnLst>
                        <p:par>
                          <p:cTn id="156" fill="hold">
                            <p:stCondLst>
                              <p:cond delay="0"/>
                            </p:stCondLst>
                            <p:childTnLst>
                              <p:par>
                                <p:cTn id="1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3" fill="hold">
                      <p:stCondLst>
                        <p:cond delay="indefinite"/>
                      </p:stCondLst>
                      <p:childTnLst>
                        <p:par>
                          <p:cTn id="194" fill="hold">
                            <p:stCondLst>
                              <p:cond delay="0"/>
                            </p:stCondLst>
                            <p:childTnLst>
                              <p:par>
                                <p:cTn id="19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5" fill="hold">
                      <p:stCondLst>
                        <p:cond delay="indefinite"/>
                      </p:stCondLst>
                      <p:childTnLst>
                        <p:par>
                          <p:cTn id="206" fill="hold">
                            <p:stCondLst>
                              <p:cond delay="0"/>
                            </p:stCondLst>
                            <p:childTnLst>
                              <p:par>
                                <p:cTn id="20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3" fill="hold">
                      <p:stCondLst>
                        <p:cond delay="indefinite"/>
                      </p:stCondLst>
                      <p:childTnLst>
                        <p:par>
                          <p:cTn id="214" fill="hold">
                            <p:stCondLst>
                              <p:cond delay="0"/>
                            </p:stCondLst>
                            <p:childTnLst>
                              <p:par>
                                <p:cTn id="2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 animBg="1"/>
      <p:bldP spid="59" grpId="0" animBg="1"/>
      <p:bldP spid="58" grpId="0" animBg="1"/>
      <p:bldP spid="76" grpId="0" animBg="1"/>
      <p:bldP spid="49" grpId="0" animBg="1"/>
      <p:bldP spid="53" grpId="0" animBg="1"/>
      <p:bldP spid="54" grpId="0" animBg="1"/>
      <p:bldP spid="55" grpId="0" animBg="1"/>
      <p:bldP spid="56" grpId="0" animBg="1"/>
      <p:bldP spid="60" grpId="0" animBg="1"/>
      <p:bldP spid="61" grpId="0" animBg="1"/>
      <p:bldP spid="66" grpId="0" animBg="1"/>
      <p:bldP spid="67" grpId="0" animBg="1"/>
      <p:bldP spid="68" grpId="0" animBg="1"/>
      <p:bldP spid="69" grpId="0" animBg="1"/>
      <p:bldP spid="70" grpId="0" animBg="1"/>
      <p:bldP spid="71" grpId="0" animBg="1"/>
      <p:bldP spid="72" grpId="0" animBg="1"/>
      <p:bldP spid="73" grpId="0" animBg="1"/>
      <p:bldP spid="74" grpId="0" animBg="1"/>
      <p:bldP spid="75" grpId="0" animBg="1"/>
      <p:bldP spid="77" grpId="0" animBg="1"/>
      <p:bldP spid="78" grpId="0" animBg="1"/>
      <p:bldP spid="79" grpId="0" animBg="1"/>
      <p:bldP spid="80" grpId="0" animBg="1"/>
      <p:bldP spid="81" grpId="0" animBg="1"/>
      <p:bldP spid="82" grpId="0" animBg="1"/>
      <p:bldP spid="83" grpId="0" animBg="1"/>
      <p:bldP spid="84" grpId="0" animBg="1"/>
      <p:bldP spid="240" grpId="0"/>
      <p:bldP spid="171" grpId="0"/>
      <p:bldP spid="172" grpId="0"/>
      <p:bldP spid="173" grpId="0"/>
      <p:bldP spid="169" grpId="0"/>
      <p:bldP spid="177" grpId="0"/>
      <p:bldP spid="180" grpId="0"/>
      <p:bldP spid="182" grpId="0"/>
      <p:bldP spid="183" grpId="0"/>
      <p:bldP spid="185" grpId="0"/>
      <p:bldP spid="202" grpId="0"/>
      <p:bldP spid="203" grpId="0"/>
      <p:bldP spid="210" grpId="0"/>
      <p:bldP spid="212" grpId="0"/>
      <p:bldP spid="213" grpId="0"/>
      <p:bldP spid="215" grpId="0"/>
      <p:bldP spid="217" grpId="0"/>
      <p:bldP spid="122" grpId="0" animBg="1"/>
      <p:bldP spid="123" grpId="0" animBg="1"/>
      <p:bldP spid="126" grpId="0" animBg="1"/>
      <p:bldP spid="127" grpId="0" animBg="1"/>
      <p:bldP spid="128" grpId="0" animBg="1"/>
      <p:bldP spid="130" grpId="0" animBg="1"/>
      <p:bldP spid="131" grpId="0" animBg="1"/>
      <p:bldP spid="133" grpId="0" animBg="1"/>
      <p:bldP spid="135" grpId="0" animBg="1"/>
      <p:bldP spid="136" grpId="0" animBg="1"/>
      <p:bldP spid="137" grpId="0" animBg="1"/>
      <p:bldP spid="138" grpId="0" animBg="1"/>
      <p:bldP spid="241" grpId="0" animBg="1"/>
      <p:bldP spid="120" grpId="0" animBg="1"/>
      <p:bldP spid="121" grpId="0" animBg="1"/>
      <p:bldP spid="143" grpId="0" animBg="1"/>
      <p:bldP spid="144" grpId="0" animBg="1"/>
      <p:bldP spid="52" grpId="0" animBg="1"/>
      <p:bldP spid="62" grpId="0" animBg="1"/>
      <p:bldP spid="50" grpId="0" animBg="1"/>
      <p:bldP spid="51" grpId="0" animBg="1"/>
      <p:bldP spid="63" grpId="0" animBg="1"/>
      <p:bldP spid="64" grpId="0" animBg="1"/>
      <p:bldP spid="65" grpId="0" animBg="1"/>
      <p:bldP spid="48" grpId="0" animBg="1"/>
      <p:bldP spid="105" grpId="0"/>
      <p:bldP spid="111" grpId="0"/>
      <p:bldP spid="112" grpId="0"/>
      <p:bldP spid="113" grpId="0"/>
      <p:bldP spid="115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Pentagon 19">
            <a:extLst>
              <a:ext uri="{FF2B5EF4-FFF2-40B4-BE49-F238E27FC236}">
                <a16:creationId xmlns:a16="http://schemas.microsoft.com/office/drawing/2014/main" id="{CAD93C59-72A9-4F6D-A654-02B9F8A5EFF9}"/>
              </a:ext>
            </a:extLst>
          </p:cNvPr>
          <p:cNvSpPr>
            <a:spLocks/>
          </p:cNvSpPr>
          <p:nvPr/>
        </p:nvSpPr>
        <p:spPr bwMode="auto">
          <a:xfrm>
            <a:off x="756602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3 of 37</a:t>
            </a:r>
          </a:p>
        </p:txBody>
      </p:sp>
      <p:sp>
        <p:nvSpPr>
          <p:cNvPr id="376" name="Pentagon 19">
            <a:extLst>
              <a:ext uri="{FF2B5EF4-FFF2-40B4-BE49-F238E27FC236}">
                <a16:creationId xmlns:a16="http://schemas.microsoft.com/office/drawing/2014/main" id="{1BDC5465-6022-4404-B4D8-ED55CF961B8A}"/>
              </a:ext>
            </a:extLst>
          </p:cNvPr>
          <p:cNvSpPr>
            <a:spLocks/>
          </p:cNvSpPr>
          <p:nvPr/>
        </p:nvSpPr>
        <p:spPr bwMode="auto">
          <a:xfrm>
            <a:off x="824865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6 of 3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57F1EBC-D01A-4083-B657-63AFB1490839}"/>
              </a:ext>
            </a:extLst>
          </p:cNvPr>
          <p:cNvSpPr txBox="1"/>
          <p:nvPr/>
        </p:nvSpPr>
        <p:spPr>
          <a:xfrm>
            <a:off x="6122988" y="2759075"/>
            <a:ext cx="3475037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nvestment Opportunit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D251BD-538A-4F4F-847E-620EEDA298A0}"/>
              </a:ext>
            </a:extLst>
          </p:cNvPr>
          <p:cNvSpPr txBox="1"/>
          <p:nvPr/>
        </p:nvSpPr>
        <p:spPr>
          <a:xfrm>
            <a:off x="6881813" y="4632911"/>
            <a:ext cx="2697162" cy="33855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oing Business Ranking(2018)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1B8F13C-F732-4DA1-9250-DB02936E7688}"/>
              </a:ext>
            </a:extLst>
          </p:cNvPr>
          <p:cNvSpPr/>
          <p:nvPr/>
        </p:nvSpPr>
        <p:spPr>
          <a:xfrm>
            <a:off x="756602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Registering Propert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6BA1818-32ED-44D1-975C-958200BDD124}"/>
              </a:ext>
            </a:extLst>
          </p:cNvPr>
          <p:cNvSpPr/>
          <p:nvPr/>
        </p:nvSpPr>
        <p:spPr>
          <a:xfrm>
            <a:off x="8248650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Dealing with Construction Permits</a:t>
            </a:r>
          </a:p>
        </p:txBody>
      </p:sp>
      <p:sp>
        <p:nvSpPr>
          <p:cNvPr id="23560" name="TextBox 174">
            <a:extLst>
              <a:ext uri="{FF2B5EF4-FFF2-40B4-BE49-F238E27FC236}">
                <a16:creationId xmlns:a16="http://schemas.microsoft.com/office/drawing/2014/main" id="{1573FD4E-62B9-45E8-8F28-CED990ED2D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0B63A6C-2A5E-4CA3-BC66-4CBC6008BC9A}"/>
              </a:ext>
            </a:extLst>
          </p:cNvPr>
          <p:cNvSpPr/>
          <p:nvPr/>
        </p:nvSpPr>
        <p:spPr>
          <a:xfrm>
            <a:off x="893127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Enforcing Contracts</a:t>
            </a:r>
          </a:p>
        </p:txBody>
      </p:sp>
      <p:pic>
        <p:nvPicPr>
          <p:cNvPr id="23562" name="Picture 4">
            <a:extLst>
              <a:ext uri="{FF2B5EF4-FFF2-40B4-BE49-F238E27FC236}">
                <a16:creationId xmlns:a16="http://schemas.microsoft.com/office/drawing/2014/main" id="{7C8EEAB2-0239-4BB5-94B3-23E319AF1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513" y="5249863"/>
            <a:ext cx="439737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6" name="Pentagon 19">
            <a:extLst>
              <a:ext uri="{FF2B5EF4-FFF2-40B4-BE49-F238E27FC236}">
                <a16:creationId xmlns:a16="http://schemas.microsoft.com/office/drawing/2014/main" id="{5F8E9670-D71A-4765-B6B5-D711BC9AD6E1}"/>
              </a:ext>
            </a:extLst>
          </p:cNvPr>
          <p:cNvSpPr>
            <a:spLocks/>
          </p:cNvSpPr>
          <p:nvPr/>
        </p:nvSpPr>
        <p:spPr bwMode="auto">
          <a:xfrm>
            <a:off x="893127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4</a:t>
            </a:r>
            <a:r>
              <a:rPr lang="en-GB" sz="1000" baseline="3000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of 37</a:t>
            </a:r>
          </a:p>
        </p:txBody>
      </p:sp>
      <p:sp>
        <p:nvSpPr>
          <p:cNvPr id="23564" name="Title 3">
            <a:extLst>
              <a:ext uri="{FF2B5EF4-FFF2-40B4-BE49-F238E27FC236}">
                <a16:creationId xmlns:a16="http://schemas.microsoft.com/office/drawing/2014/main" id="{C62A749B-CFC7-4224-A789-D20A772AC33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77813" y="222250"/>
            <a:ext cx="8543925" cy="5619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en-GB" altLang="en-US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orno</a:t>
            </a:r>
            <a:r>
              <a:rPr lang="en-GB" alt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State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6882DF2C-9120-4A66-8487-575D9494F4D6}"/>
              </a:ext>
            </a:extLst>
          </p:cNvPr>
          <p:cNvSpPr txBox="1"/>
          <p:nvPr/>
        </p:nvSpPr>
        <p:spPr>
          <a:xfrm rot="16200000">
            <a:off x="-2290084" y="3478372"/>
            <a:ext cx="5303837" cy="2743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Home of Peace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grpSp>
        <p:nvGrpSpPr>
          <p:cNvPr id="23566" name="Group 9">
            <a:extLst>
              <a:ext uri="{FF2B5EF4-FFF2-40B4-BE49-F238E27FC236}">
                <a16:creationId xmlns:a16="http://schemas.microsoft.com/office/drawing/2014/main" id="{5B6131BD-3CE3-4FC4-B13A-FA9B797C1EF5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41338" y="963613"/>
            <a:ext cx="2897187" cy="2319337"/>
            <a:chOff x="770228" y="1459989"/>
            <a:chExt cx="4081047" cy="3267527"/>
          </a:xfrm>
        </p:grpSpPr>
        <p:sp>
          <p:nvSpPr>
            <p:cNvPr id="299" name="Freeform 4">
              <a:extLst>
                <a:ext uri="{FF2B5EF4-FFF2-40B4-BE49-F238E27FC236}">
                  <a16:creationId xmlns:a16="http://schemas.microsoft.com/office/drawing/2014/main" id="{B6150C82-CBE5-48B4-B60C-C210BB7B26A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91538" y="4349548"/>
              <a:ext cx="418167" cy="377968"/>
            </a:xfrm>
            <a:custGeom>
              <a:avLst/>
              <a:gdLst>
                <a:gd name="T0" fmla="*/ 12 w 786"/>
                <a:gd name="T1" fmla="*/ 19 h 714"/>
                <a:gd name="T2" fmla="*/ 22 w 786"/>
                <a:gd name="T3" fmla="*/ 18 h 714"/>
                <a:gd name="T4" fmla="*/ 27 w 786"/>
                <a:gd name="T5" fmla="*/ 17 h 714"/>
                <a:gd name="T6" fmla="*/ 30 w 786"/>
                <a:gd name="T7" fmla="*/ 14 h 714"/>
                <a:gd name="T8" fmla="*/ 37 w 786"/>
                <a:gd name="T9" fmla="*/ 16 h 714"/>
                <a:gd name="T10" fmla="*/ 43 w 786"/>
                <a:gd name="T11" fmla="*/ 13 h 714"/>
                <a:gd name="T12" fmla="*/ 48 w 786"/>
                <a:gd name="T13" fmla="*/ 8 h 714"/>
                <a:gd name="T14" fmla="*/ 55 w 786"/>
                <a:gd name="T15" fmla="*/ 4 h 714"/>
                <a:gd name="T16" fmla="*/ 66 w 786"/>
                <a:gd name="T17" fmla="*/ 0 h 714"/>
                <a:gd name="T18" fmla="*/ 63 w 786"/>
                <a:gd name="T19" fmla="*/ 12 h 714"/>
                <a:gd name="T20" fmla="*/ 59 w 786"/>
                <a:gd name="T21" fmla="*/ 19 h 714"/>
                <a:gd name="T22" fmla="*/ 57 w 786"/>
                <a:gd name="T23" fmla="*/ 29 h 714"/>
                <a:gd name="T24" fmla="*/ 59 w 786"/>
                <a:gd name="T25" fmla="*/ 36 h 714"/>
                <a:gd name="T26" fmla="*/ 66 w 786"/>
                <a:gd name="T27" fmla="*/ 35 h 714"/>
                <a:gd name="T28" fmla="*/ 64 w 786"/>
                <a:gd name="T29" fmla="*/ 41 h 714"/>
                <a:gd name="T30" fmla="*/ 64 w 786"/>
                <a:gd name="T31" fmla="*/ 48 h 714"/>
                <a:gd name="T32" fmla="*/ 63 w 786"/>
                <a:gd name="T33" fmla="*/ 56 h 714"/>
                <a:gd name="T34" fmla="*/ 60 w 786"/>
                <a:gd name="T35" fmla="*/ 60 h 714"/>
                <a:gd name="T36" fmla="*/ 57 w 786"/>
                <a:gd name="T37" fmla="*/ 58 h 714"/>
                <a:gd name="T38" fmla="*/ 54 w 786"/>
                <a:gd name="T39" fmla="*/ 54 h 714"/>
                <a:gd name="T40" fmla="*/ 53 w 786"/>
                <a:gd name="T41" fmla="*/ 51 h 714"/>
                <a:gd name="T42" fmla="*/ 51 w 786"/>
                <a:gd name="T43" fmla="*/ 53 h 714"/>
                <a:gd name="T44" fmla="*/ 49 w 786"/>
                <a:gd name="T45" fmla="*/ 54 h 714"/>
                <a:gd name="T46" fmla="*/ 47 w 786"/>
                <a:gd name="T47" fmla="*/ 50 h 714"/>
                <a:gd name="T48" fmla="*/ 48 w 786"/>
                <a:gd name="T49" fmla="*/ 54 h 714"/>
                <a:gd name="T50" fmla="*/ 47 w 786"/>
                <a:gd name="T51" fmla="*/ 54 h 714"/>
                <a:gd name="T52" fmla="*/ 46 w 786"/>
                <a:gd name="T53" fmla="*/ 59 h 714"/>
                <a:gd name="T54" fmla="*/ 47 w 786"/>
                <a:gd name="T55" fmla="*/ 62 h 714"/>
                <a:gd name="T56" fmla="*/ 42 w 786"/>
                <a:gd name="T57" fmla="*/ 62 h 714"/>
                <a:gd name="T58" fmla="*/ 39 w 786"/>
                <a:gd name="T59" fmla="*/ 57 h 714"/>
                <a:gd name="T60" fmla="*/ 40 w 786"/>
                <a:gd name="T61" fmla="*/ 54 h 714"/>
                <a:gd name="T62" fmla="*/ 43 w 786"/>
                <a:gd name="T63" fmla="*/ 55 h 714"/>
                <a:gd name="T64" fmla="*/ 40 w 786"/>
                <a:gd name="T65" fmla="*/ 53 h 714"/>
                <a:gd name="T66" fmla="*/ 38 w 786"/>
                <a:gd name="T67" fmla="*/ 57 h 714"/>
                <a:gd name="T68" fmla="*/ 37 w 786"/>
                <a:gd name="T69" fmla="*/ 57 h 714"/>
                <a:gd name="T70" fmla="*/ 37 w 786"/>
                <a:gd name="T71" fmla="*/ 60 h 714"/>
                <a:gd name="T72" fmla="*/ 33 w 786"/>
                <a:gd name="T73" fmla="*/ 56 h 714"/>
                <a:gd name="T74" fmla="*/ 32 w 786"/>
                <a:gd name="T75" fmla="*/ 58 h 714"/>
                <a:gd name="T76" fmla="*/ 26 w 786"/>
                <a:gd name="T77" fmla="*/ 54 h 714"/>
                <a:gd name="T78" fmla="*/ 26 w 786"/>
                <a:gd name="T79" fmla="*/ 54 h 714"/>
                <a:gd name="T80" fmla="*/ 24 w 786"/>
                <a:gd name="T81" fmla="*/ 51 h 714"/>
                <a:gd name="T82" fmla="*/ 22 w 786"/>
                <a:gd name="T83" fmla="*/ 51 h 714"/>
                <a:gd name="T84" fmla="*/ 20 w 786"/>
                <a:gd name="T85" fmla="*/ 50 h 714"/>
                <a:gd name="T86" fmla="*/ 20 w 786"/>
                <a:gd name="T87" fmla="*/ 48 h 714"/>
                <a:gd name="T88" fmla="*/ 18 w 786"/>
                <a:gd name="T89" fmla="*/ 47 h 714"/>
                <a:gd name="T90" fmla="*/ 15 w 786"/>
                <a:gd name="T91" fmla="*/ 45 h 714"/>
                <a:gd name="T92" fmla="*/ 11 w 786"/>
                <a:gd name="T93" fmla="*/ 39 h 714"/>
                <a:gd name="T94" fmla="*/ 12 w 786"/>
                <a:gd name="T95" fmla="*/ 36 h 714"/>
                <a:gd name="T96" fmla="*/ 7 w 786"/>
                <a:gd name="T97" fmla="*/ 33 h 714"/>
                <a:gd name="T98" fmla="*/ 5 w 786"/>
                <a:gd name="T99" fmla="*/ 28 h 714"/>
                <a:gd name="T100" fmla="*/ 7 w 786"/>
                <a:gd name="T101" fmla="*/ 30 h 714"/>
                <a:gd name="T102" fmla="*/ 4 w 786"/>
                <a:gd name="T103" fmla="*/ 24 h 714"/>
                <a:gd name="T104" fmla="*/ 2 w 786"/>
                <a:gd name="T105" fmla="*/ 20 h 714"/>
                <a:gd name="T106" fmla="*/ 0 w 786"/>
                <a:gd name="T107" fmla="*/ 15 h 714"/>
                <a:gd name="T108" fmla="*/ 4 w 786"/>
                <a:gd name="T109" fmla="*/ 16 h 714"/>
                <a:gd name="T110" fmla="*/ 55 w 786"/>
                <a:gd name="T111" fmla="*/ 60 h 714"/>
                <a:gd name="T112" fmla="*/ 47 w 786"/>
                <a:gd name="T113" fmla="*/ 60 h 714"/>
                <a:gd name="T114" fmla="*/ 51 w 786"/>
                <a:gd name="T115" fmla="*/ 54 h 714"/>
                <a:gd name="T116" fmla="*/ 54 w 786"/>
                <a:gd name="T117" fmla="*/ 56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86"/>
                <a:gd name="T178" fmla="*/ 0 h 714"/>
                <a:gd name="T179" fmla="*/ 786 w 786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86" h="714">
                  <a:moveTo>
                    <a:pt x="54" y="186"/>
                  </a:moveTo>
                  <a:lnTo>
                    <a:pt x="54" y="192"/>
                  </a:lnTo>
                  <a:lnTo>
                    <a:pt x="72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204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20" y="210"/>
                  </a:lnTo>
                  <a:lnTo>
                    <a:pt x="126" y="210"/>
                  </a:lnTo>
                  <a:lnTo>
                    <a:pt x="132" y="210"/>
                  </a:lnTo>
                  <a:lnTo>
                    <a:pt x="132" y="216"/>
                  </a:lnTo>
                  <a:lnTo>
                    <a:pt x="138" y="222"/>
                  </a:lnTo>
                  <a:lnTo>
                    <a:pt x="150" y="222"/>
                  </a:lnTo>
                  <a:lnTo>
                    <a:pt x="162" y="234"/>
                  </a:lnTo>
                  <a:lnTo>
                    <a:pt x="168" y="240"/>
                  </a:lnTo>
                  <a:lnTo>
                    <a:pt x="180" y="240"/>
                  </a:lnTo>
                  <a:lnTo>
                    <a:pt x="186" y="228"/>
                  </a:lnTo>
                  <a:lnTo>
                    <a:pt x="210" y="234"/>
                  </a:lnTo>
                  <a:lnTo>
                    <a:pt x="222" y="228"/>
                  </a:lnTo>
                  <a:lnTo>
                    <a:pt x="228" y="216"/>
                  </a:lnTo>
                  <a:lnTo>
                    <a:pt x="234" y="210"/>
                  </a:lnTo>
                  <a:lnTo>
                    <a:pt x="240" y="216"/>
                  </a:lnTo>
                  <a:lnTo>
                    <a:pt x="246" y="210"/>
                  </a:lnTo>
                  <a:lnTo>
                    <a:pt x="252" y="210"/>
                  </a:lnTo>
                  <a:lnTo>
                    <a:pt x="258" y="210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192"/>
                  </a:lnTo>
                  <a:lnTo>
                    <a:pt x="270" y="192"/>
                  </a:lnTo>
                  <a:lnTo>
                    <a:pt x="276" y="192"/>
                  </a:lnTo>
                  <a:lnTo>
                    <a:pt x="282" y="192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192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198"/>
                  </a:lnTo>
                  <a:lnTo>
                    <a:pt x="312" y="198"/>
                  </a:lnTo>
                  <a:lnTo>
                    <a:pt x="312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24" y="186"/>
                  </a:lnTo>
                  <a:lnTo>
                    <a:pt x="318" y="180"/>
                  </a:lnTo>
                  <a:lnTo>
                    <a:pt x="324" y="180"/>
                  </a:lnTo>
                  <a:lnTo>
                    <a:pt x="330" y="186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74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54" y="144"/>
                  </a:lnTo>
                  <a:lnTo>
                    <a:pt x="360" y="144"/>
                  </a:lnTo>
                  <a:lnTo>
                    <a:pt x="372" y="156"/>
                  </a:lnTo>
                  <a:lnTo>
                    <a:pt x="372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96" y="168"/>
                  </a:lnTo>
                  <a:lnTo>
                    <a:pt x="396" y="174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26" y="186"/>
                  </a:lnTo>
                  <a:lnTo>
                    <a:pt x="432" y="186"/>
                  </a:lnTo>
                  <a:lnTo>
                    <a:pt x="438" y="180"/>
                  </a:lnTo>
                  <a:lnTo>
                    <a:pt x="438" y="168"/>
                  </a:lnTo>
                  <a:lnTo>
                    <a:pt x="438" y="162"/>
                  </a:lnTo>
                  <a:lnTo>
                    <a:pt x="444" y="156"/>
                  </a:lnTo>
                  <a:lnTo>
                    <a:pt x="450" y="156"/>
                  </a:lnTo>
                  <a:lnTo>
                    <a:pt x="456" y="150"/>
                  </a:lnTo>
                  <a:lnTo>
                    <a:pt x="462" y="156"/>
                  </a:lnTo>
                  <a:lnTo>
                    <a:pt x="468" y="162"/>
                  </a:lnTo>
                  <a:lnTo>
                    <a:pt x="474" y="162"/>
                  </a:lnTo>
                  <a:lnTo>
                    <a:pt x="486" y="162"/>
                  </a:lnTo>
                  <a:lnTo>
                    <a:pt x="492" y="156"/>
                  </a:lnTo>
                  <a:lnTo>
                    <a:pt x="498" y="150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28" y="126"/>
                  </a:lnTo>
                  <a:lnTo>
                    <a:pt x="522" y="120"/>
                  </a:lnTo>
                  <a:lnTo>
                    <a:pt x="522" y="114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28" y="102"/>
                  </a:lnTo>
                  <a:lnTo>
                    <a:pt x="534" y="96"/>
                  </a:lnTo>
                  <a:lnTo>
                    <a:pt x="552" y="96"/>
                  </a:lnTo>
                  <a:lnTo>
                    <a:pt x="570" y="102"/>
                  </a:lnTo>
                  <a:lnTo>
                    <a:pt x="582" y="96"/>
                  </a:lnTo>
                  <a:lnTo>
                    <a:pt x="582" y="90"/>
                  </a:lnTo>
                  <a:lnTo>
                    <a:pt x="582" y="78"/>
                  </a:lnTo>
                  <a:lnTo>
                    <a:pt x="582" y="72"/>
                  </a:lnTo>
                  <a:lnTo>
                    <a:pt x="582" y="66"/>
                  </a:lnTo>
                  <a:lnTo>
                    <a:pt x="594" y="60"/>
                  </a:lnTo>
                  <a:lnTo>
                    <a:pt x="600" y="60"/>
                  </a:lnTo>
                  <a:lnTo>
                    <a:pt x="606" y="54"/>
                  </a:lnTo>
                  <a:lnTo>
                    <a:pt x="618" y="48"/>
                  </a:lnTo>
                  <a:lnTo>
                    <a:pt x="618" y="42"/>
                  </a:lnTo>
                  <a:lnTo>
                    <a:pt x="624" y="42"/>
                  </a:lnTo>
                  <a:lnTo>
                    <a:pt x="636" y="48"/>
                  </a:lnTo>
                  <a:lnTo>
                    <a:pt x="648" y="54"/>
                  </a:lnTo>
                  <a:lnTo>
                    <a:pt x="660" y="54"/>
                  </a:lnTo>
                  <a:lnTo>
                    <a:pt x="666" y="60"/>
                  </a:lnTo>
                  <a:lnTo>
                    <a:pt x="672" y="54"/>
                  </a:lnTo>
                  <a:lnTo>
                    <a:pt x="684" y="48"/>
                  </a:lnTo>
                  <a:lnTo>
                    <a:pt x="708" y="42"/>
                  </a:lnTo>
                  <a:lnTo>
                    <a:pt x="714" y="42"/>
                  </a:lnTo>
                  <a:lnTo>
                    <a:pt x="720" y="36"/>
                  </a:lnTo>
                  <a:lnTo>
                    <a:pt x="720" y="30"/>
                  </a:lnTo>
                  <a:lnTo>
                    <a:pt x="714" y="12"/>
                  </a:lnTo>
                  <a:lnTo>
                    <a:pt x="708" y="0"/>
                  </a:lnTo>
                  <a:lnTo>
                    <a:pt x="738" y="6"/>
                  </a:lnTo>
                  <a:lnTo>
                    <a:pt x="756" y="6"/>
                  </a:lnTo>
                  <a:lnTo>
                    <a:pt x="762" y="42"/>
                  </a:lnTo>
                  <a:lnTo>
                    <a:pt x="738" y="72"/>
                  </a:lnTo>
                  <a:lnTo>
                    <a:pt x="750" y="90"/>
                  </a:lnTo>
                  <a:lnTo>
                    <a:pt x="762" y="96"/>
                  </a:lnTo>
                  <a:lnTo>
                    <a:pt x="756" y="102"/>
                  </a:lnTo>
                  <a:lnTo>
                    <a:pt x="750" y="108"/>
                  </a:lnTo>
                  <a:lnTo>
                    <a:pt x="750" y="114"/>
                  </a:lnTo>
                  <a:lnTo>
                    <a:pt x="750" y="120"/>
                  </a:lnTo>
                  <a:lnTo>
                    <a:pt x="750" y="126"/>
                  </a:lnTo>
                  <a:lnTo>
                    <a:pt x="750" y="132"/>
                  </a:lnTo>
                  <a:lnTo>
                    <a:pt x="738" y="132"/>
                  </a:lnTo>
                  <a:lnTo>
                    <a:pt x="732" y="138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14" y="144"/>
                  </a:lnTo>
                  <a:lnTo>
                    <a:pt x="714" y="150"/>
                  </a:lnTo>
                  <a:lnTo>
                    <a:pt x="720" y="156"/>
                  </a:lnTo>
                  <a:lnTo>
                    <a:pt x="720" y="162"/>
                  </a:lnTo>
                  <a:lnTo>
                    <a:pt x="714" y="162"/>
                  </a:lnTo>
                  <a:lnTo>
                    <a:pt x="708" y="168"/>
                  </a:lnTo>
                  <a:lnTo>
                    <a:pt x="708" y="180"/>
                  </a:lnTo>
                  <a:lnTo>
                    <a:pt x="708" y="192"/>
                  </a:lnTo>
                  <a:lnTo>
                    <a:pt x="696" y="198"/>
                  </a:lnTo>
                  <a:lnTo>
                    <a:pt x="696" y="204"/>
                  </a:lnTo>
                  <a:lnTo>
                    <a:pt x="684" y="210"/>
                  </a:lnTo>
                  <a:lnTo>
                    <a:pt x="684" y="216"/>
                  </a:lnTo>
                  <a:lnTo>
                    <a:pt x="684" y="222"/>
                  </a:lnTo>
                  <a:lnTo>
                    <a:pt x="678" y="228"/>
                  </a:lnTo>
                  <a:lnTo>
                    <a:pt x="678" y="234"/>
                  </a:lnTo>
                  <a:lnTo>
                    <a:pt x="672" y="240"/>
                  </a:lnTo>
                  <a:lnTo>
                    <a:pt x="672" y="252"/>
                  </a:lnTo>
                  <a:lnTo>
                    <a:pt x="672" y="258"/>
                  </a:lnTo>
                  <a:lnTo>
                    <a:pt x="666" y="264"/>
                  </a:lnTo>
                  <a:lnTo>
                    <a:pt x="678" y="264"/>
                  </a:lnTo>
                  <a:lnTo>
                    <a:pt x="684" y="276"/>
                  </a:lnTo>
                  <a:lnTo>
                    <a:pt x="684" y="288"/>
                  </a:lnTo>
                  <a:lnTo>
                    <a:pt x="672" y="300"/>
                  </a:lnTo>
                  <a:lnTo>
                    <a:pt x="660" y="318"/>
                  </a:lnTo>
                  <a:lnTo>
                    <a:pt x="660" y="336"/>
                  </a:lnTo>
                  <a:lnTo>
                    <a:pt x="654" y="342"/>
                  </a:lnTo>
                  <a:lnTo>
                    <a:pt x="660" y="354"/>
                  </a:lnTo>
                  <a:lnTo>
                    <a:pt x="660" y="366"/>
                  </a:lnTo>
                  <a:lnTo>
                    <a:pt x="666" y="378"/>
                  </a:lnTo>
                  <a:lnTo>
                    <a:pt x="672" y="390"/>
                  </a:lnTo>
                  <a:lnTo>
                    <a:pt x="678" y="396"/>
                  </a:lnTo>
                  <a:lnTo>
                    <a:pt x="684" y="390"/>
                  </a:lnTo>
                  <a:lnTo>
                    <a:pt x="690" y="390"/>
                  </a:lnTo>
                  <a:lnTo>
                    <a:pt x="690" y="396"/>
                  </a:lnTo>
                  <a:lnTo>
                    <a:pt x="684" y="396"/>
                  </a:lnTo>
                  <a:lnTo>
                    <a:pt x="684" y="402"/>
                  </a:lnTo>
                  <a:lnTo>
                    <a:pt x="684" y="408"/>
                  </a:lnTo>
                  <a:lnTo>
                    <a:pt x="678" y="414"/>
                  </a:lnTo>
                  <a:lnTo>
                    <a:pt x="684" y="414"/>
                  </a:lnTo>
                  <a:lnTo>
                    <a:pt x="684" y="420"/>
                  </a:lnTo>
                  <a:lnTo>
                    <a:pt x="684" y="426"/>
                  </a:lnTo>
                  <a:lnTo>
                    <a:pt x="690" y="420"/>
                  </a:lnTo>
                  <a:lnTo>
                    <a:pt x="696" y="420"/>
                  </a:lnTo>
                  <a:lnTo>
                    <a:pt x="696" y="426"/>
                  </a:lnTo>
                  <a:lnTo>
                    <a:pt x="690" y="426"/>
                  </a:lnTo>
                  <a:lnTo>
                    <a:pt x="696" y="426"/>
                  </a:lnTo>
                  <a:lnTo>
                    <a:pt x="708" y="426"/>
                  </a:lnTo>
                  <a:lnTo>
                    <a:pt x="726" y="414"/>
                  </a:lnTo>
                  <a:lnTo>
                    <a:pt x="732" y="408"/>
                  </a:lnTo>
                  <a:lnTo>
                    <a:pt x="744" y="402"/>
                  </a:lnTo>
                  <a:lnTo>
                    <a:pt x="756" y="402"/>
                  </a:lnTo>
                  <a:lnTo>
                    <a:pt x="768" y="402"/>
                  </a:lnTo>
                  <a:lnTo>
                    <a:pt x="786" y="408"/>
                  </a:lnTo>
                  <a:lnTo>
                    <a:pt x="786" y="414"/>
                  </a:lnTo>
                  <a:lnTo>
                    <a:pt x="774" y="420"/>
                  </a:lnTo>
                  <a:lnTo>
                    <a:pt x="774" y="426"/>
                  </a:lnTo>
                  <a:lnTo>
                    <a:pt x="768" y="432"/>
                  </a:lnTo>
                  <a:lnTo>
                    <a:pt x="762" y="438"/>
                  </a:lnTo>
                  <a:lnTo>
                    <a:pt x="756" y="438"/>
                  </a:lnTo>
                  <a:lnTo>
                    <a:pt x="756" y="444"/>
                  </a:lnTo>
                  <a:lnTo>
                    <a:pt x="756" y="450"/>
                  </a:lnTo>
                  <a:lnTo>
                    <a:pt x="762" y="450"/>
                  </a:lnTo>
                  <a:lnTo>
                    <a:pt x="750" y="456"/>
                  </a:lnTo>
                  <a:lnTo>
                    <a:pt x="738" y="468"/>
                  </a:lnTo>
                  <a:lnTo>
                    <a:pt x="726" y="480"/>
                  </a:lnTo>
                  <a:lnTo>
                    <a:pt x="726" y="486"/>
                  </a:lnTo>
                  <a:lnTo>
                    <a:pt x="732" y="486"/>
                  </a:lnTo>
                  <a:lnTo>
                    <a:pt x="732" y="492"/>
                  </a:lnTo>
                  <a:lnTo>
                    <a:pt x="732" y="504"/>
                  </a:lnTo>
                  <a:lnTo>
                    <a:pt x="738" y="504"/>
                  </a:lnTo>
                  <a:lnTo>
                    <a:pt x="744" y="510"/>
                  </a:lnTo>
                  <a:lnTo>
                    <a:pt x="738" y="522"/>
                  </a:lnTo>
                  <a:lnTo>
                    <a:pt x="744" y="528"/>
                  </a:lnTo>
                  <a:lnTo>
                    <a:pt x="756" y="534"/>
                  </a:lnTo>
                  <a:lnTo>
                    <a:pt x="756" y="540"/>
                  </a:lnTo>
                  <a:lnTo>
                    <a:pt x="744" y="552"/>
                  </a:lnTo>
                  <a:lnTo>
                    <a:pt x="738" y="552"/>
                  </a:lnTo>
                  <a:lnTo>
                    <a:pt x="738" y="558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64"/>
                  </a:lnTo>
                  <a:lnTo>
                    <a:pt x="744" y="576"/>
                  </a:lnTo>
                  <a:lnTo>
                    <a:pt x="738" y="588"/>
                  </a:lnTo>
                  <a:lnTo>
                    <a:pt x="738" y="594"/>
                  </a:lnTo>
                  <a:lnTo>
                    <a:pt x="738" y="600"/>
                  </a:lnTo>
                  <a:lnTo>
                    <a:pt x="738" y="606"/>
                  </a:lnTo>
                  <a:lnTo>
                    <a:pt x="732" y="612"/>
                  </a:lnTo>
                  <a:lnTo>
                    <a:pt x="726" y="624"/>
                  </a:lnTo>
                  <a:lnTo>
                    <a:pt x="726" y="636"/>
                  </a:lnTo>
                  <a:lnTo>
                    <a:pt x="726" y="648"/>
                  </a:lnTo>
                  <a:lnTo>
                    <a:pt x="738" y="654"/>
                  </a:lnTo>
                  <a:lnTo>
                    <a:pt x="750" y="660"/>
                  </a:lnTo>
                  <a:lnTo>
                    <a:pt x="750" y="666"/>
                  </a:lnTo>
                  <a:lnTo>
                    <a:pt x="750" y="678"/>
                  </a:lnTo>
                  <a:lnTo>
                    <a:pt x="744" y="678"/>
                  </a:lnTo>
                  <a:lnTo>
                    <a:pt x="738" y="684"/>
                  </a:lnTo>
                  <a:lnTo>
                    <a:pt x="732" y="684"/>
                  </a:lnTo>
                  <a:lnTo>
                    <a:pt x="720" y="678"/>
                  </a:lnTo>
                  <a:lnTo>
                    <a:pt x="714" y="684"/>
                  </a:lnTo>
                  <a:lnTo>
                    <a:pt x="708" y="684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0" y="690"/>
                  </a:lnTo>
                  <a:lnTo>
                    <a:pt x="690" y="684"/>
                  </a:lnTo>
                  <a:lnTo>
                    <a:pt x="690" y="690"/>
                  </a:lnTo>
                  <a:lnTo>
                    <a:pt x="684" y="690"/>
                  </a:lnTo>
                  <a:lnTo>
                    <a:pt x="684" y="684"/>
                  </a:lnTo>
                  <a:lnTo>
                    <a:pt x="678" y="684"/>
                  </a:lnTo>
                  <a:lnTo>
                    <a:pt x="672" y="678"/>
                  </a:lnTo>
                  <a:lnTo>
                    <a:pt x="672" y="672"/>
                  </a:lnTo>
                  <a:lnTo>
                    <a:pt x="678" y="672"/>
                  </a:lnTo>
                  <a:lnTo>
                    <a:pt x="672" y="672"/>
                  </a:lnTo>
                  <a:lnTo>
                    <a:pt x="666" y="672"/>
                  </a:lnTo>
                  <a:lnTo>
                    <a:pt x="660" y="672"/>
                  </a:lnTo>
                  <a:lnTo>
                    <a:pt x="654" y="672"/>
                  </a:lnTo>
                  <a:lnTo>
                    <a:pt x="654" y="666"/>
                  </a:lnTo>
                  <a:lnTo>
                    <a:pt x="648" y="666"/>
                  </a:lnTo>
                  <a:lnTo>
                    <a:pt x="642" y="660"/>
                  </a:lnTo>
                  <a:lnTo>
                    <a:pt x="642" y="654"/>
                  </a:lnTo>
                  <a:lnTo>
                    <a:pt x="642" y="648"/>
                  </a:lnTo>
                  <a:lnTo>
                    <a:pt x="636" y="648"/>
                  </a:lnTo>
                  <a:lnTo>
                    <a:pt x="630" y="648"/>
                  </a:lnTo>
                  <a:lnTo>
                    <a:pt x="624" y="648"/>
                  </a:lnTo>
                  <a:lnTo>
                    <a:pt x="624" y="642"/>
                  </a:lnTo>
                  <a:lnTo>
                    <a:pt x="618" y="636"/>
                  </a:lnTo>
                  <a:lnTo>
                    <a:pt x="624" y="636"/>
                  </a:lnTo>
                  <a:lnTo>
                    <a:pt x="624" y="630"/>
                  </a:lnTo>
                  <a:lnTo>
                    <a:pt x="618" y="630"/>
                  </a:lnTo>
                  <a:lnTo>
                    <a:pt x="618" y="624"/>
                  </a:lnTo>
                  <a:lnTo>
                    <a:pt x="618" y="618"/>
                  </a:lnTo>
                  <a:lnTo>
                    <a:pt x="618" y="612"/>
                  </a:lnTo>
                  <a:lnTo>
                    <a:pt x="618" y="606"/>
                  </a:lnTo>
                  <a:lnTo>
                    <a:pt x="624" y="606"/>
                  </a:lnTo>
                  <a:lnTo>
                    <a:pt x="624" y="600"/>
                  </a:lnTo>
                  <a:lnTo>
                    <a:pt x="618" y="600"/>
                  </a:lnTo>
                  <a:lnTo>
                    <a:pt x="618" y="594"/>
                  </a:lnTo>
                  <a:lnTo>
                    <a:pt x="618" y="588"/>
                  </a:lnTo>
                  <a:lnTo>
                    <a:pt x="618" y="582"/>
                  </a:lnTo>
                  <a:lnTo>
                    <a:pt x="612" y="582"/>
                  </a:lnTo>
                  <a:lnTo>
                    <a:pt x="606" y="582"/>
                  </a:lnTo>
                  <a:lnTo>
                    <a:pt x="612" y="582"/>
                  </a:lnTo>
                  <a:lnTo>
                    <a:pt x="612" y="588"/>
                  </a:lnTo>
                  <a:lnTo>
                    <a:pt x="612" y="594"/>
                  </a:lnTo>
                  <a:lnTo>
                    <a:pt x="618" y="594"/>
                  </a:lnTo>
                  <a:lnTo>
                    <a:pt x="618" y="600"/>
                  </a:lnTo>
                  <a:lnTo>
                    <a:pt x="618" y="606"/>
                  </a:lnTo>
                  <a:lnTo>
                    <a:pt x="618" y="612"/>
                  </a:lnTo>
                  <a:lnTo>
                    <a:pt x="612" y="612"/>
                  </a:lnTo>
                  <a:lnTo>
                    <a:pt x="612" y="618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94" y="612"/>
                  </a:lnTo>
                  <a:lnTo>
                    <a:pt x="588" y="606"/>
                  </a:lnTo>
                  <a:lnTo>
                    <a:pt x="588" y="612"/>
                  </a:lnTo>
                  <a:lnTo>
                    <a:pt x="594" y="612"/>
                  </a:lnTo>
                  <a:lnTo>
                    <a:pt x="594" y="618"/>
                  </a:lnTo>
                  <a:lnTo>
                    <a:pt x="588" y="618"/>
                  </a:lnTo>
                  <a:lnTo>
                    <a:pt x="588" y="624"/>
                  </a:lnTo>
                  <a:lnTo>
                    <a:pt x="582" y="624"/>
                  </a:lnTo>
                  <a:lnTo>
                    <a:pt x="582" y="630"/>
                  </a:lnTo>
                  <a:lnTo>
                    <a:pt x="576" y="630"/>
                  </a:lnTo>
                  <a:lnTo>
                    <a:pt x="576" y="636"/>
                  </a:lnTo>
                  <a:lnTo>
                    <a:pt x="570" y="636"/>
                  </a:lnTo>
                  <a:lnTo>
                    <a:pt x="570" y="642"/>
                  </a:lnTo>
                  <a:lnTo>
                    <a:pt x="564" y="642"/>
                  </a:lnTo>
                  <a:lnTo>
                    <a:pt x="564" y="636"/>
                  </a:lnTo>
                  <a:lnTo>
                    <a:pt x="564" y="630"/>
                  </a:lnTo>
                  <a:lnTo>
                    <a:pt x="564" y="624"/>
                  </a:lnTo>
                  <a:lnTo>
                    <a:pt x="564" y="618"/>
                  </a:lnTo>
                  <a:lnTo>
                    <a:pt x="570" y="612"/>
                  </a:lnTo>
                  <a:lnTo>
                    <a:pt x="564" y="606"/>
                  </a:lnTo>
                  <a:lnTo>
                    <a:pt x="564" y="600"/>
                  </a:lnTo>
                  <a:lnTo>
                    <a:pt x="564" y="594"/>
                  </a:lnTo>
                  <a:lnTo>
                    <a:pt x="558" y="594"/>
                  </a:lnTo>
                  <a:lnTo>
                    <a:pt x="558" y="588"/>
                  </a:lnTo>
                  <a:lnTo>
                    <a:pt x="552" y="582"/>
                  </a:lnTo>
                  <a:lnTo>
                    <a:pt x="552" y="576"/>
                  </a:lnTo>
                  <a:lnTo>
                    <a:pt x="552" y="570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6" y="582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58" y="588"/>
                  </a:lnTo>
                  <a:lnTo>
                    <a:pt x="558" y="594"/>
                  </a:lnTo>
                  <a:lnTo>
                    <a:pt x="558" y="600"/>
                  </a:lnTo>
                  <a:lnTo>
                    <a:pt x="558" y="606"/>
                  </a:lnTo>
                  <a:lnTo>
                    <a:pt x="552" y="612"/>
                  </a:lnTo>
                  <a:lnTo>
                    <a:pt x="558" y="612"/>
                  </a:lnTo>
                  <a:lnTo>
                    <a:pt x="558" y="618"/>
                  </a:lnTo>
                  <a:lnTo>
                    <a:pt x="558" y="624"/>
                  </a:lnTo>
                  <a:lnTo>
                    <a:pt x="558" y="630"/>
                  </a:lnTo>
                  <a:lnTo>
                    <a:pt x="552" y="630"/>
                  </a:lnTo>
                  <a:lnTo>
                    <a:pt x="552" y="624"/>
                  </a:lnTo>
                  <a:lnTo>
                    <a:pt x="546" y="624"/>
                  </a:lnTo>
                  <a:lnTo>
                    <a:pt x="546" y="618"/>
                  </a:lnTo>
                  <a:lnTo>
                    <a:pt x="546" y="612"/>
                  </a:lnTo>
                  <a:lnTo>
                    <a:pt x="540" y="612"/>
                  </a:lnTo>
                  <a:lnTo>
                    <a:pt x="534" y="612"/>
                  </a:lnTo>
                  <a:lnTo>
                    <a:pt x="528" y="612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28" y="618"/>
                  </a:lnTo>
                  <a:lnTo>
                    <a:pt x="534" y="618"/>
                  </a:lnTo>
                  <a:lnTo>
                    <a:pt x="540" y="618"/>
                  </a:lnTo>
                  <a:lnTo>
                    <a:pt x="540" y="624"/>
                  </a:lnTo>
                  <a:lnTo>
                    <a:pt x="546" y="624"/>
                  </a:lnTo>
                  <a:lnTo>
                    <a:pt x="546" y="630"/>
                  </a:lnTo>
                  <a:lnTo>
                    <a:pt x="552" y="630"/>
                  </a:lnTo>
                  <a:lnTo>
                    <a:pt x="552" y="636"/>
                  </a:lnTo>
                  <a:lnTo>
                    <a:pt x="546" y="642"/>
                  </a:lnTo>
                  <a:lnTo>
                    <a:pt x="546" y="648"/>
                  </a:lnTo>
                  <a:lnTo>
                    <a:pt x="540" y="648"/>
                  </a:lnTo>
                  <a:lnTo>
                    <a:pt x="540" y="654"/>
                  </a:lnTo>
                  <a:lnTo>
                    <a:pt x="540" y="660"/>
                  </a:lnTo>
                  <a:lnTo>
                    <a:pt x="534" y="666"/>
                  </a:lnTo>
                  <a:lnTo>
                    <a:pt x="534" y="672"/>
                  </a:lnTo>
                  <a:lnTo>
                    <a:pt x="534" y="678"/>
                  </a:lnTo>
                  <a:lnTo>
                    <a:pt x="534" y="684"/>
                  </a:lnTo>
                  <a:lnTo>
                    <a:pt x="534" y="678"/>
                  </a:lnTo>
                  <a:lnTo>
                    <a:pt x="528" y="678"/>
                  </a:lnTo>
                  <a:lnTo>
                    <a:pt x="528" y="684"/>
                  </a:lnTo>
                  <a:lnTo>
                    <a:pt x="522" y="690"/>
                  </a:lnTo>
                  <a:lnTo>
                    <a:pt x="528" y="690"/>
                  </a:lnTo>
                  <a:lnTo>
                    <a:pt x="528" y="684"/>
                  </a:lnTo>
                  <a:lnTo>
                    <a:pt x="534" y="684"/>
                  </a:lnTo>
                  <a:lnTo>
                    <a:pt x="534" y="690"/>
                  </a:lnTo>
                  <a:lnTo>
                    <a:pt x="534" y="696"/>
                  </a:lnTo>
                  <a:lnTo>
                    <a:pt x="540" y="696"/>
                  </a:lnTo>
                  <a:lnTo>
                    <a:pt x="540" y="702"/>
                  </a:lnTo>
                  <a:lnTo>
                    <a:pt x="540" y="708"/>
                  </a:lnTo>
                  <a:lnTo>
                    <a:pt x="534" y="708"/>
                  </a:lnTo>
                  <a:lnTo>
                    <a:pt x="528" y="708"/>
                  </a:lnTo>
                  <a:lnTo>
                    <a:pt x="522" y="708"/>
                  </a:lnTo>
                  <a:lnTo>
                    <a:pt x="516" y="708"/>
                  </a:lnTo>
                  <a:lnTo>
                    <a:pt x="510" y="708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2" y="708"/>
                  </a:lnTo>
                  <a:lnTo>
                    <a:pt x="486" y="714"/>
                  </a:lnTo>
                  <a:lnTo>
                    <a:pt x="480" y="708"/>
                  </a:lnTo>
                  <a:lnTo>
                    <a:pt x="474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68" y="714"/>
                  </a:lnTo>
                  <a:lnTo>
                    <a:pt x="456" y="714"/>
                  </a:lnTo>
                  <a:lnTo>
                    <a:pt x="450" y="714"/>
                  </a:lnTo>
                  <a:lnTo>
                    <a:pt x="450" y="708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50" y="690"/>
                  </a:lnTo>
                  <a:lnTo>
                    <a:pt x="450" y="684"/>
                  </a:lnTo>
                  <a:lnTo>
                    <a:pt x="450" y="678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56" y="660"/>
                  </a:lnTo>
                  <a:lnTo>
                    <a:pt x="462" y="660"/>
                  </a:lnTo>
                  <a:lnTo>
                    <a:pt x="462" y="654"/>
                  </a:lnTo>
                  <a:lnTo>
                    <a:pt x="456" y="654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48"/>
                  </a:lnTo>
                  <a:lnTo>
                    <a:pt x="444" y="648"/>
                  </a:lnTo>
                  <a:lnTo>
                    <a:pt x="444" y="642"/>
                  </a:lnTo>
                  <a:lnTo>
                    <a:pt x="444" y="636"/>
                  </a:lnTo>
                  <a:lnTo>
                    <a:pt x="450" y="636"/>
                  </a:lnTo>
                  <a:lnTo>
                    <a:pt x="450" y="630"/>
                  </a:lnTo>
                  <a:lnTo>
                    <a:pt x="456" y="630"/>
                  </a:lnTo>
                  <a:lnTo>
                    <a:pt x="462" y="630"/>
                  </a:lnTo>
                  <a:lnTo>
                    <a:pt x="462" y="624"/>
                  </a:lnTo>
                  <a:lnTo>
                    <a:pt x="468" y="624"/>
                  </a:lnTo>
                  <a:lnTo>
                    <a:pt x="474" y="624"/>
                  </a:lnTo>
                  <a:lnTo>
                    <a:pt x="474" y="618"/>
                  </a:lnTo>
                  <a:lnTo>
                    <a:pt x="480" y="618"/>
                  </a:lnTo>
                  <a:lnTo>
                    <a:pt x="486" y="618"/>
                  </a:lnTo>
                  <a:lnTo>
                    <a:pt x="486" y="624"/>
                  </a:lnTo>
                  <a:lnTo>
                    <a:pt x="486" y="636"/>
                  </a:lnTo>
                  <a:lnTo>
                    <a:pt x="486" y="642"/>
                  </a:lnTo>
                  <a:lnTo>
                    <a:pt x="486" y="648"/>
                  </a:lnTo>
                  <a:lnTo>
                    <a:pt x="492" y="648"/>
                  </a:lnTo>
                  <a:lnTo>
                    <a:pt x="492" y="642"/>
                  </a:lnTo>
                  <a:lnTo>
                    <a:pt x="498" y="636"/>
                  </a:lnTo>
                  <a:lnTo>
                    <a:pt x="492" y="636"/>
                  </a:lnTo>
                  <a:lnTo>
                    <a:pt x="492" y="630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6" y="618"/>
                  </a:lnTo>
                  <a:lnTo>
                    <a:pt x="486" y="612"/>
                  </a:lnTo>
                  <a:lnTo>
                    <a:pt x="486" y="606"/>
                  </a:lnTo>
                  <a:lnTo>
                    <a:pt x="480" y="606"/>
                  </a:lnTo>
                  <a:lnTo>
                    <a:pt x="480" y="612"/>
                  </a:lnTo>
                  <a:lnTo>
                    <a:pt x="474" y="618"/>
                  </a:lnTo>
                  <a:lnTo>
                    <a:pt x="468" y="618"/>
                  </a:lnTo>
                  <a:lnTo>
                    <a:pt x="462" y="618"/>
                  </a:lnTo>
                  <a:lnTo>
                    <a:pt x="462" y="612"/>
                  </a:lnTo>
                  <a:lnTo>
                    <a:pt x="456" y="612"/>
                  </a:lnTo>
                  <a:lnTo>
                    <a:pt x="456" y="618"/>
                  </a:lnTo>
                  <a:lnTo>
                    <a:pt x="462" y="618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30"/>
                  </a:lnTo>
                  <a:lnTo>
                    <a:pt x="444" y="630"/>
                  </a:lnTo>
                  <a:lnTo>
                    <a:pt x="444" y="636"/>
                  </a:lnTo>
                  <a:lnTo>
                    <a:pt x="444" y="642"/>
                  </a:lnTo>
                  <a:lnTo>
                    <a:pt x="444" y="654"/>
                  </a:lnTo>
                  <a:lnTo>
                    <a:pt x="444" y="660"/>
                  </a:lnTo>
                  <a:lnTo>
                    <a:pt x="438" y="660"/>
                  </a:lnTo>
                  <a:lnTo>
                    <a:pt x="432" y="660"/>
                  </a:lnTo>
                  <a:lnTo>
                    <a:pt x="432" y="654"/>
                  </a:lnTo>
                  <a:lnTo>
                    <a:pt x="438" y="654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48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26" y="660"/>
                  </a:lnTo>
                  <a:lnTo>
                    <a:pt x="432" y="666"/>
                  </a:lnTo>
                  <a:lnTo>
                    <a:pt x="432" y="672"/>
                  </a:lnTo>
                  <a:lnTo>
                    <a:pt x="438" y="672"/>
                  </a:lnTo>
                  <a:lnTo>
                    <a:pt x="438" y="678"/>
                  </a:lnTo>
                  <a:lnTo>
                    <a:pt x="444" y="678"/>
                  </a:lnTo>
                  <a:lnTo>
                    <a:pt x="444" y="684"/>
                  </a:lnTo>
                  <a:lnTo>
                    <a:pt x="438" y="690"/>
                  </a:lnTo>
                  <a:lnTo>
                    <a:pt x="438" y="696"/>
                  </a:lnTo>
                  <a:lnTo>
                    <a:pt x="438" y="702"/>
                  </a:lnTo>
                  <a:lnTo>
                    <a:pt x="432" y="702"/>
                  </a:lnTo>
                  <a:lnTo>
                    <a:pt x="426" y="702"/>
                  </a:lnTo>
                  <a:lnTo>
                    <a:pt x="426" y="696"/>
                  </a:lnTo>
                  <a:lnTo>
                    <a:pt x="414" y="696"/>
                  </a:lnTo>
                  <a:lnTo>
                    <a:pt x="402" y="696"/>
                  </a:lnTo>
                  <a:lnTo>
                    <a:pt x="402" y="690"/>
                  </a:lnTo>
                  <a:lnTo>
                    <a:pt x="396" y="690"/>
                  </a:lnTo>
                  <a:lnTo>
                    <a:pt x="390" y="690"/>
                  </a:lnTo>
                  <a:lnTo>
                    <a:pt x="384" y="690"/>
                  </a:lnTo>
                  <a:lnTo>
                    <a:pt x="384" y="684"/>
                  </a:lnTo>
                  <a:lnTo>
                    <a:pt x="384" y="678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390" y="660"/>
                  </a:lnTo>
                  <a:lnTo>
                    <a:pt x="390" y="654"/>
                  </a:lnTo>
                  <a:lnTo>
                    <a:pt x="384" y="648"/>
                  </a:lnTo>
                  <a:lnTo>
                    <a:pt x="384" y="642"/>
                  </a:lnTo>
                  <a:lnTo>
                    <a:pt x="378" y="636"/>
                  </a:lnTo>
                  <a:lnTo>
                    <a:pt x="378" y="642"/>
                  </a:lnTo>
                  <a:lnTo>
                    <a:pt x="378" y="648"/>
                  </a:lnTo>
                  <a:lnTo>
                    <a:pt x="372" y="648"/>
                  </a:lnTo>
                  <a:lnTo>
                    <a:pt x="378" y="654"/>
                  </a:lnTo>
                  <a:lnTo>
                    <a:pt x="378" y="660"/>
                  </a:lnTo>
                  <a:lnTo>
                    <a:pt x="378" y="666"/>
                  </a:lnTo>
                  <a:lnTo>
                    <a:pt x="372" y="672"/>
                  </a:lnTo>
                  <a:lnTo>
                    <a:pt x="378" y="672"/>
                  </a:lnTo>
                  <a:lnTo>
                    <a:pt x="378" y="678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54" y="666"/>
                  </a:lnTo>
                  <a:lnTo>
                    <a:pt x="354" y="660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0" y="654"/>
                  </a:lnTo>
                  <a:lnTo>
                    <a:pt x="324" y="648"/>
                  </a:lnTo>
                  <a:lnTo>
                    <a:pt x="318" y="648"/>
                  </a:lnTo>
                  <a:lnTo>
                    <a:pt x="318" y="642"/>
                  </a:lnTo>
                  <a:lnTo>
                    <a:pt x="312" y="642"/>
                  </a:lnTo>
                  <a:lnTo>
                    <a:pt x="306" y="636"/>
                  </a:lnTo>
                  <a:lnTo>
                    <a:pt x="300" y="636"/>
                  </a:lnTo>
                  <a:lnTo>
                    <a:pt x="300" y="630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0" y="618"/>
                  </a:lnTo>
                  <a:lnTo>
                    <a:pt x="306" y="612"/>
                  </a:lnTo>
                  <a:lnTo>
                    <a:pt x="300" y="612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294" y="612"/>
                  </a:lnTo>
                  <a:lnTo>
                    <a:pt x="288" y="618"/>
                  </a:lnTo>
                  <a:lnTo>
                    <a:pt x="288" y="612"/>
                  </a:lnTo>
                  <a:lnTo>
                    <a:pt x="288" y="618"/>
                  </a:lnTo>
                  <a:lnTo>
                    <a:pt x="294" y="618"/>
                  </a:lnTo>
                  <a:lnTo>
                    <a:pt x="300" y="624"/>
                  </a:lnTo>
                  <a:lnTo>
                    <a:pt x="294" y="624"/>
                  </a:lnTo>
                  <a:lnTo>
                    <a:pt x="288" y="624"/>
                  </a:lnTo>
                  <a:lnTo>
                    <a:pt x="282" y="61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70" y="600"/>
                  </a:lnTo>
                  <a:lnTo>
                    <a:pt x="270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82" y="588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594"/>
                  </a:lnTo>
                  <a:lnTo>
                    <a:pt x="264" y="600"/>
                  </a:lnTo>
                  <a:lnTo>
                    <a:pt x="264" y="594"/>
                  </a:lnTo>
                  <a:lnTo>
                    <a:pt x="270" y="594"/>
                  </a:lnTo>
                  <a:lnTo>
                    <a:pt x="270" y="588"/>
                  </a:lnTo>
                  <a:lnTo>
                    <a:pt x="264" y="594"/>
                  </a:lnTo>
                  <a:lnTo>
                    <a:pt x="258" y="594"/>
                  </a:lnTo>
                  <a:lnTo>
                    <a:pt x="258" y="588"/>
                  </a:lnTo>
                  <a:lnTo>
                    <a:pt x="252" y="588"/>
                  </a:lnTo>
                  <a:lnTo>
                    <a:pt x="246" y="588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52" y="588"/>
                  </a:lnTo>
                  <a:lnTo>
                    <a:pt x="252" y="594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46" y="594"/>
                  </a:lnTo>
                  <a:lnTo>
                    <a:pt x="246" y="588"/>
                  </a:lnTo>
                  <a:lnTo>
                    <a:pt x="240" y="588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2" y="570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64"/>
                  </a:lnTo>
                  <a:lnTo>
                    <a:pt x="234" y="564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34" y="558"/>
                  </a:lnTo>
                  <a:lnTo>
                    <a:pt x="228" y="558"/>
                  </a:lnTo>
                  <a:lnTo>
                    <a:pt x="222" y="558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2" y="564"/>
                  </a:lnTo>
                  <a:lnTo>
                    <a:pt x="222" y="558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04" y="546"/>
                  </a:lnTo>
                  <a:lnTo>
                    <a:pt x="204" y="540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10" y="540"/>
                  </a:lnTo>
                  <a:lnTo>
                    <a:pt x="210" y="534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8"/>
                  </a:lnTo>
                  <a:lnTo>
                    <a:pt x="174" y="516"/>
                  </a:lnTo>
                  <a:lnTo>
                    <a:pt x="168" y="510"/>
                  </a:lnTo>
                  <a:lnTo>
                    <a:pt x="162" y="504"/>
                  </a:lnTo>
                  <a:lnTo>
                    <a:pt x="156" y="498"/>
                  </a:lnTo>
                  <a:lnTo>
                    <a:pt x="156" y="492"/>
                  </a:lnTo>
                  <a:lnTo>
                    <a:pt x="150" y="486"/>
                  </a:lnTo>
                  <a:lnTo>
                    <a:pt x="144" y="480"/>
                  </a:lnTo>
                  <a:lnTo>
                    <a:pt x="144" y="474"/>
                  </a:lnTo>
                  <a:lnTo>
                    <a:pt x="138" y="474"/>
                  </a:lnTo>
                  <a:lnTo>
                    <a:pt x="138" y="468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26" y="450"/>
                  </a:lnTo>
                  <a:lnTo>
                    <a:pt x="126" y="444"/>
                  </a:lnTo>
                  <a:lnTo>
                    <a:pt x="114" y="438"/>
                  </a:lnTo>
                  <a:lnTo>
                    <a:pt x="114" y="432"/>
                  </a:lnTo>
                  <a:lnTo>
                    <a:pt x="114" y="426"/>
                  </a:lnTo>
                  <a:lnTo>
                    <a:pt x="114" y="432"/>
                  </a:lnTo>
                  <a:lnTo>
                    <a:pt x="120" y="432"/>
                  </a:lnTo>
                  <a:lnTo>
                    <a:pt x="120" y="438"/>
                  </a:lnTo>
                  <a:lnTo>
                    <a:pt x="120" y="444"/>
                  </a:lnTo>
                  <a:lnTo>
                    <a:pt x="126" y="444"/>
                  </a:lnTo>
                  <a:lnTo>
                    <a:pt x="126" y="438"/>
                  </a:lnTo>
                  <a:lnTo>
                    <a:pt x="120" y="438"/>
                  </a:lnTo>
                  <a:lnTo>
                    <a:pt x="126" y="432"/>
                  </a:lnTo>
                  <a:lnTo>
                    <a:pt x="126" y="426"/>
                  </a:lnTo>
                  <a:lnTo>
                    <a:pt x="132" y="420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08" y="414"/>
                  </a:lnTo>
                  <a:lnTo>
                    <a:pt x="102" y="414"/>
                  </a:lnTo>
                  <a:lnTo>
                    <a:pt x="102" y="408"/>
                  </a:lnTo>
                  <a:lnTo>
                    <a:pt x="96" y="402"/>
                  </a:lnTo>
                  <a:lnTo>
                    <a:pt x="96" y="396"/>
                  </a:lnTo>
                  <a:lnTo>
                    <a:pt x="96" y="390"/>
                  </a:lnTo>
                  <a:lnTo>
                    <a:pt x="90" y="390"/>
                  </a:lnTo>
                  <a:lnTo>
                    <a:pt x="90" y="384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78" y="372"/>
                  </a:lnTo>
                  <a:lnTo>
                    <a:pt x="78" y="366"/>
                  </a:lnTo>
                  <a:lnTo>
                    <a:pt x="78" y="360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6" y="348"/>
                  </a:lnTo>
                  <a:lnTo>
                    <a:pt x="66" y="342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6" y="336"/>
                  </a:lnTo>
                  <a:lnTo>
                    <a:pt x="66" y="342"/>
                  </a:lnTo>
                  <a:lnTo>
                    <a:pt x="72" y="348"/>
                  </a:lnTo>
                  <a:lnTo>
                    <a:pt x="78" y="354"/>
                  </a:lnTo>
                  <a:lnTo>
                    <a:pt x="84" y="360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0" y="360"/>
                  </a:lnTo>
                  <a:lnTo>
                    <a:pt x="84" y="360"/>
                  </a:lnTo>
                  <a:lnTo>
                    <a:pt x="84" y="354"/>
                  </a:lnTo>
                  <a:lnTo>
                    <a:pt x="78" y="348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66" y="330"/>
                  </a:lnTo>
                  <a:lnTo>
                    <a:pt x="66" y="324"/>
                  </a:lnTo>
                  <a:lnTo>
                    <a:pt x="60" y="318"/>
                  </a:lnTo>
                  <a:lnTo>
                    <a:pt x="60" y="312"/>
                  </a:lnTo>
                  <a:lnTo>
                    <a:pt x="54" y="306"/>
                  </a:lnTo>
                  <a:lnTo>
                    <a:pt x="54" y="300"/>
                  </a:lnTo>
                  <a:lnTo>
                    <a:pt x="54" y="294"/>
                  </a:lnTo>
                  <a:lnTo>
                    <a:pt x="48" y="288"/>
                  </a:lnTo>
                  <a:lnTo>
                    <a:pt x="48" y="294"/>
                  </a:lnTo>
                  <a:lnTo>
                    <a:pt x="48" y="288"/>
                  </a:lnTo>
                  <a:lnTo>
                    <a:pt x="48" y="282"/>
                  </a:lnTo>
                  <a:lnTo>
                    <a:pt x="48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18" y="216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62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68"/>
                  </a:lnTo>
                  <a:lnTo>
                    <a:pt x="42" y="168"/>
                  </a:lnTo>
                  <a:lnTo>
                    <a:pt x="42" y="174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86"/>
                  </a:lnTo>
                  <a:close/>
                  <a:moveTo>
                    <a:pt x="642" y="660"/>
                  </a:moveTo>
                  <a:lnTo>
                    <a:pt x="642" y="666"/>
                  </a:lnTo>
                  <a:lnTo>
                    <a:pt x="648" y="666"/>
                  </a:lnTo>
                  <a:lnTo>
                    <a:pt x="648" y="672"/>
                  </a:lnTo>
                  <a:lnTo>
                    <a:pt x="648" y="678"/>
                  </a:lnTo>
                  <a:lnTo>
                    <a:pt x="654" y="678"/>
                  </a:lnTo>
                  <a:lnTo>
                    <a:pt x="654" y="684"/>
                  </a:lnTo>
                  <a:lnTo>
                    <a:pt x="660" y="684"/>
                  </a:lnTo>
                  <a:lnTo>
                    <a:pt x="660" y="690"/>
                  </a:lnTo>
                  <a:lnTo>
                    <a:pt x="654" y="690"/>
                  </a:lnTo>
                  <a:lnTo>
                    <a:pt x="648" y="690"/>
                  </a:lnTo>
                  <a:lnTo>
                    <a:pt x="636" y="696"/>
                  </a:lnTo>
                  <a:lnTo>
                    <a:pt x="630" y="696"/>
                  </a:lnTo>
                  <a:lnTo>
                    <a:pt x="624" y="696"/>
                  </a:lnTo>
                  <a:lnTo>
                    <a:pt x="618" y="696"/>
                  </a:lnTo>
                  <a:lnTo>
                    <a:pt x="612" y="696"/>
                  </a:lnTo>
                  <a:lnTo>
                    <a:pt x="594" y="696"/>
                  </a:lnTo>
                  <a:lnTo>
                    <a:pt x="588" y="696"/>
                  </a:lnTo>
                  <a:lnTo>
                    <a:pt x="582" y="696"/>
                  </a:lnTo>
                  <a:lnTo>
                    <a:pt x="570" y="702"/>
                  </a:lnTo>
                  <a:lnTo>
                    <a:pt x="564" y="702"/>
                  </a:lnTo>
                  <a:lnTo>
                    <a:pt x="558" y="702"/>
                  </a:lnTo>
                  <a:lnTo>
                    <a:pt x="552" y="702"/>
                  </a:lnTo>
                  <a:lnTo>
                    <a:pt x="552" y="696"/>
                  </a:lnTo>
                  <a:lnTo>
                    <a:pt x="546" y="696"/>
                  </a:lnTo>
                  <a:lnTo>
                    <a:pt x="546" y="690"/>
                  </a:lnTo>
                  <a:lnTo>
                    <a:pt x="552" y="684"/>
                  </a:lnTo>
                  <a:lnTo>
                    <a:pt x="552" y="678"/>
                  </a:lnTo>
                  <a:lnTo>
                    <a:pt x="558" y="672"/>
                  </a:lnTo>
                  <a:lnTo>
                    <a:pt x="558" y="666"/>
                  </a:lnTo>
                  <a:lnTo>
                    <a:pt x="564" y="666"/>
                  </a:lnTo>
                  <a:lnTo>
                    <a:pt x="570" y="666"/>
                  </a:lnTo>
                  <a:lnTo>
                    <a:pt x="570" y="654"/>
                  </a:lnTo>
                  <a:lnTo>
                    <a:pt x="570" y="648"/>
                  </a:lnTo>
                  <a:lnTo>
                    <a:pt x="582" y="642"/>
                  </a:lnTo>
                  <a:lnTo>
                    <a:pt x="582" y="636"/>
                  </a:lnTo>
                  <a:lnTo>
                    <a:pt x="588" y="636"/>
                  </a:lnTo>
                  <a:lnTo>
                    <a:pt x="588" y="630"/>
                  </a:lnTo>
                  <a:lnTo>
                    <a:pt x="594" y="624"/>
                  </a:lnTo>
                  <a:lnTo>
                    <a:pt x="594" y="618"/>
                  </a:lnTo>
                  <a:lnTo>
                    <a:pt x="600" y="618"/>
                  </a:lnTo>
                  <a:lnTo>
                    <a:pt x="600" y="612"/>
                  </a:lnTo>
                  <a:lnTo>
                    <a:pt x="606" y="612"/>
                  </a:lnTo>
                  <a:lnTo>
                    <a:pt x="606" y="618"/>
                  </a:lnTo>
                  <a:lnTo>
                    <a:pt x="612" y="618"/>
                  </a:lnTo>
                  <a:lnTo>
                    <a:pt x="618" y="618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18" y="636"/>
                  </a:lnTo>
                  <a:lnTo>
                    <a:pt x="618" y="642"/>
                  </a:lnTo>
                  <a:lnTo>
                    <a:pt x="618" y="648"/>
                  </a:lnTo>
                  <a:lnTo>
                    <a:pt x="624" y="648"/>
                  </a:lnTo>
                  <a:lnTo>
                    <a:pt x="630" y="648"/>
                  </a:lnTo>
                  <a:lnTo>
                    <a:pt x="636" y="654"/>
                  </a:lnTo>
                  <a:lnTo>
                    <a:pt x="642" y="654"/>
                  </a:lnTo>
                  <a:lnTo>
                    <a:pt x="642" y="66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0" name="Freeform 5">
              <a:extLst>
                <a:ext uri="{FF2B5EF4-FFF2-40B4-BE49-F238E27FC236}">
                  <a16:creationId xmlns:a16="http://schemas.microsoft.com/office/drawing/2014/main" id="{5577BDCA-F2C7-42E0-A391-018D79AA29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0384" y="4231013"/>
              <a:ext cx="404750" cy="480848"/>
            </a:xfrm>
            <a:custGeom>
              <a:avLst/>
              <a:gdLst>
                <a:gd name="T0" fmla="*/ 9 w 762"/>
                <a:gd name="T1" fmla="*/ 58 h 900"/>
                <a:gd name="T2" fmla="*/ 4 w 762"/>
                <a:gd name="T3" fmla="*/ 56 h 900"/>
                <a:gd name="T4" fmla="*/ 0 w 762"/>
                <a:gd name="T5" fmla="*/ 49 h 900"/>
                <a:gd name="T6" fmla="*/ 4 w 762"/>
                <a:gd name="T7" fmla="*/ 36 h 900"/>
                <a:gd name="T8" fmla="*/ 8 w 762"/>
                <a:gd name="T9" fmla="*/ 28 h 900"/>
                <a:gd name="T10" fmla="*/ 7 w 762"/>
                <a:gd name="T11" fmla="*/ 13 h 900"/>
                <a:gd name="T12" fmla="*/ 15 w 762"/>
                <a:gd name="T13" fmla="*/ 0 h 900"/>
                <a:gd name="T14" fmla="*/ 16 w 762"/>
                <a:gd name="T15" fmla="*/ 13 h 900"/>
                <a:gd name="T16" fmla="*/ 31 w 762"/>
                <a:gd name="T17" fmla="*/ 28 h 900"/>
                <a:gd name="T18" fmla="*/ 49 w 762"/>
                <a:gd name="T19" fmla="*/ 33 h 900"/>
                <a:gd name="T20" fmla="*/ 42 w 762"/>
                <a:gd name="T21" fmla="*/ 48 h 900"/>
                <a:gd name="T22" fmla="*/ 51 w 762"/>
                <a:gd name="T23" fmla="*/ 48 h 900"/>
                <a:gd name="T24" fmla="*/ 61 w 762"/>
                <a:gd name="T25" fmla="*/ 51 h 900"/>
                <a:gd name="T26" fmla="*/ 63 w 762"/>
                <a:gd name="T27" fmla="*/ 60 h 900"/>
                <a:gd name="T28" fmla="*/ 63 w 762"/>
                <a:gd name="T29" fmla="*/ 66 h 900"/>
                <a:gd name="T30" fmla="*/ 65 w 762"/>
                <a:gd name="T31" fmla="*/ 69 h 900"/>
                <a:gd name="T32" fmla="*/ 66 w 762"/>
                <a:gd name="T33" fmla="*/ 72 h 900"/>
                <a:gd name="T34" fmla="*/ 56 w 762"/>
                <a:gd name="T35" fmla="*/ 73 h 900"/>
                <a:gd name="T36" fmla="*/ 55 w 762"/>
                <a:gd name="T37" fmla="*/ 69 h 900"/>
                <a:gd name="T38" fmla="*/ 57 w 762"/>
                <a:gd name="T39" fmla="*/ 67 h 900"/>
                <a:gd name="T40" fmla="*/ 55 w 762"/>
                <a:gd name="T41" fmla="*/ 65 h 900"/>
                <a:gd name="T42" fmla="*/ 53 w 762"/>
                <a:gd name="T43" fmla="*/ 68 h 900"/>
                <a:gd name="T44" fmla="*/ 49 w 762"/>
                <a:gd name="T45" fmla="*/ 68 h 900"/>
                <a:gd name="T46" fmla="*/ 44 w 762"/>
                <a:gd name="T47" fmla="*/ 63 h 900"/>
                <a:gd name="T48" fmla="*/ 40 w 762"/>
                <a:gd name="T49" fmla="*/ 59 h 900"/>
                <a:gd name="T50" fmla="*/ 38 w 762"/>
                <a:gd name="T51" fmla="*/ 57 h 900"/>
                <a:gd name="T52" fmla="*/ 43 w 762"/>
                <a:gd name="T53" fmla="*/ 62 h 900"/>
                <a:gd name="T54" fmla="*/ 43 w 762"/>
                <a:gd name="T55" fmla="*/ 66 h 900"/>
                <a:gd name="T56" fmla="*/ 41 w 762"/>
                <a:gd name="T57" fmla="*/ 71 h 900"/>
                <a:gd name="T58" fmla="*/ 37 w 762"/>
                <a:gd name="T59" fmla="*/ 69 h 900"/>
                <a:gd name="T60" fmla="*/ 35 w 762"/>
                <a:gd name="T61" fmla="*/ 64 h 900"/>
                <a:gd name="T62" fmla="*/ 31 w 762"/>
                <a:gd name="T63" fmla="*/ 57 h 900"/>
                <a:gd name="T64" fmla="*/ 30 w 762"/>
                <a:gd name="T65" fmla="*/ 62 h 900"/>
                <a:gd name="T66" fmla="*/ 29 w 762"/>
                <a:gd name="T67" fmla="*/ 61 h 900"/>
                <a:gd name="T68" fmla="*/ 31 w 762"/>
                <a:gd name="T69" fmla="*/ 66 h 900"/>
                <a:gd name="T70" fmla="*/ 33 w 762"/>
                <a:gd name="T71" fmla="*/ 72 h 900"/>
                <a:gd name="T72" fmla="*/ 32 w 762"/>
                <a:gd name="T73" fmla="*/ 76 h 900"/>
                <a:gd name="T74" fmla="*/ 28 w 762"/>
                <a:gd name="T75" fmla="*/ 75 h 900"/>
                <a:gd name="T76" fmla="*/ 24 w 762"/>
                <a:gd name="T77" fmla="*/ 69 h 900"/>
                <a:gd name="T78" fmla="*/ 24 w 762"/>
                <a:gd name="T79" fmla="*/ 62 h 900"/>
                <a:gd name="T80" fmla="*/ 23 w 762"/>
                <a:gd name="T81" fmla="*/ 62 h 900"/>
                <a:gd name="T82" fmla="*/ 23 w 762"/>
                <a:gd name="T83" fmla="*/ 68 h 900"/>
                <a:gd name="T84" fmla="*/ 25 w 762"/>
                <a:gd name="T85" fmla="*/ 77 h 900"/>
                <a:gd name="T86" fmla="*/ 17 w 762"/>
                <a:gd name="T87" fmla="*/ 74 h 900"/>
                <a:gd name="T88" fmla="*/ 17 w 762"/>
                <a:gd name="T89" fmla="*/ 67 h 900"/>
                <a:gd name="T90" fmla="*/ 16 w 762"/>
                <a:gd name="T91" fmla="*/ 67 h 900"/>
                <a:gd name="T92" fmla="*/ 15 w 762"/>
                <a:gd name="T93" fmla="*/ 71 h 900"/>
                <a:gd name="T94" fmla="*/ 12 w 762"/>
                <a:gd name="T95" fmla="*/ 68 h 900"/>
                <a:gd name="T96" fmla="*/ 15 w 762"/>
                <a:gd name="T97" fmla="*/ 72 h 900"/>
                <a:gd name="T98" fmla="*/ 17 w 762"/>
                <a:gd name="T99" fmla="*/ 77 h 900"/>
                <a:gd name="T100" fmla="*/ 11 w 762"/>
                <a:gd name="T101" fmla="*/ 77 h 900"/>
                <a:gd name="T102" fmla="*/ 10 w 762"/>
                <a:gd name="T103" fmla="*/ 69 h 900"/>
                <a:gd name="T104" fmla="*/ 11 w 762"/>
                <a:gd name="T105" fmla="*/ 72 h 900"/>
                <a:gd name="T106" fmla="*/ 9 w 762"/>
                <a:gd name="T107" fmla="*/ 78 h 900"/>
                <a:gd name="T108" fmla="*/ 43 w 762"/>
                <a:gd name="T109" fmla="*/ 71 h 900"/>
                <a:gd name="T110" fmla="*/ 51 w 762"/>
                <a:gd name="T111" fmla="*/ 69 h 900"/>
                <a:gd name="T112" fmla="*/ 43 w 762"/>
                <a:gd name="T113" fmla="*/ 76 h 900"/>
                <a:gd name="T114" fmla="*/ 36 w 762"/>
                <a:gd name="T115" fmla="*/ 65 h 900"/>
                <a:gd name="T116" fmla="*/ 38 w 762"/>
                <a:gd name="T117" fmla="*/ 72 h 900"/>
                <a:gd name="T118" fmla="*/ 34 w 762"/>
                <a:gd name="T119" fmla="*/ 69 h 900"/>
                <a:gd name="T120" fmla="*/ 29 w 762"/>
                <a:gd name="T121" fmla="*/ 64 h 900"/>
                <a:gd name="T122" fmla="*/ 32 w 762"/>
                <a:gd name="T123" fmla="*/ 66 h 9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900"/>
                <a:gd name="T188" fmla="*/ 762 w 762"/>
                <a:gd name="T189" fmla="*/ 900 h 90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900">
                  <a:moveTo>
                    <a:pt x="90" y="768"/>
                  </a:moveTo>
                  <a:lnTo>
                    <a:pt x="102" y="756"/>
                  </a:lnTo>
                  <a:lnTo>
                    <a:pt x="102" y="750"/>
                  </a:lnTo>
                  <a:lnTo>
                    <a:pt x="90" y="744"/>
                  </a:lnTo>
                  <a:lnTo>
                    <a:pt x="84" y="738"/>
                  </a:lnTo>
                  <a:lnTo>
                    <a:pt x="90" y="726"/>
                  </a:lnTo>
                  <a:lnTo>
                    <a:pt x="84" y="720"/>
                  </a:lnTo>
                  <a:lnTo>
                    <a:pt x="78" y="720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72" y="702"/>
                  </a:lnTo>
                  <a:lnTo>
                    <a:pt x="72" y="696"/>
                  </a:lnTo>
                  <a:lnTo>
                    <a:pt x="84" y="684"/>
                  </a:lnTo>
                  <a:lnTo>
                    <a:pt x="96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102" y="654"/>
                  </a:lnTo>
                  <a:lnTo>
                    <a:pt x="108" y="654"/>
                  </a:lnTo>
                  <a:lnTo>
                    <a:pt x="114" y="648"/>
                  </a:lnTo>
                  <a:lnTo>
                    <a:pt x="120" y="642"/>
                  </a:lnTo>
                  <a:lnTo>
                    <a:pt x="120" y="636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14" y="618"/>
                  </a:lnTo>
                  <a:lnTo>
                    <a:pt x="102" y="618"/>
                  </a:lnTo>
                  <a:lnTo>
                    <a:pt x="90" y="618"/>
                  </a:lnTo>
                  <a:lnTo>
                    <a:pt x="78" y="624"/>
                  </a:lnTo>
                  <a:lnTo>
                    <a:pt x="72" y="630"/>
                  </a:lnTo>
                  <a:lnTo>
                    <a:pt x="54" y="642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42" y="642"/>
                  </a:lnTo>
                  <a:lnTo>
                    <a:pt x="42" y="636"/>
                  </a:lnTo>
                  <a:lnTo>
                    <a:pt x="36" y="636"/>
                  </a:lnTo>
                  <a:lnTo>
                    <a:pt x="30" y="642"/>
                  </a:lnTo>
                  <a:lnTo>
                    <a:pt x="30" y="636"/>
                  </a:lnTo>
                  <a:lnTo>
                    <a:pt x="30" y="630"/>
                  </a:lnTo>
                  <a:lnTo>
                    <a:pt x="24" y="630"/>
                  </a:lnTo>
                  <a:lnTo>
                    <a:pt x="30" y="624"/>
                  </a:lnTo>
                  <a:lnTo>
                    <a:pt x="30" y="618"/>
                  </a:lnTo>
                  <a:lnTo>
                    <a:pt x="30" y="612"/>
                  </a:lnTo>
                  <a:lnTo>
                    <a:pt x="36" y="612"/>
                  </a:lnTo>
                  <a:lnTo>
                    <a:pt x="36" y="606"/>
                  </a:lnTo>
                  <a:lnTo>
                    <a:pt x="30" y="606"/>
                  </a:lnTo>
                  <a:lnTo>
                    <a:pt x="24" y="612"/>
                  </a:lnTo>
                  <a:lnTo>
                    <a:pt x="18" y="606"/>
                  </a:lnTo>
                  <a:lnTo>
                    <a:pt x="12" y="594"/>
                  </a:lnTo>
                  <a:lnTo>
                    <a:pt x="6" y="582"/>
                  </a:lnTo>
                  <a:lnTo>
                    <a:pt x="6" y="570"/>
                  </a:lnTo>
                  <a:lnTo>
                    <a:pt x="0" y="558"/>
                  </a:lnTo>
                  <a:lnTo>
                    <a:pt x="6" y="552"/>
                  </a:lnTo>
                  <a:lnTo>
                    <a:pt x="6" y="534"/>
                  </a:lnTo>
                  <a:lnTo>
                    <a:pt x="18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12" y="480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54" y="408"/>
                  </a:lnTo>
                  <a:lnTo>
                    <a:pt x="54" y="396"/>
                  </a:lnTo>
                  <a:lnTo>
                    <a:pt x="54" y="384"/>
                  </a:lnTo>
                  <a:lnTo>
                    <a:pt x="60" y="378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66"/>
                  </a:lnTo>
                  <a:lnTo>
                    <a:pt x="60" y="360"/>
                  </a:lnTo>
                  <a:lnTo>
                    <a:pt x="66" y="360"/>
                  </a:lnTo>
                  <a:lnTo>
                    <a:pt x="72" y="354"/>
                  </a:lnTo>
                  <a:lnTo>
                    <a:pt x="78" y="354"/>
                  </a:lnTo>
                  <a:lnTo>
                    <a:pt x="84" y="348"/>
                  </a:lnTo>
                  <a:lnTo>
                    <a:pt x="96" y="348"/>
                  </a:lnTo>
                  <a:lnTo>
                    <a:pt x="96" y="342"/>
                  </a:lnTo>
                  <a:lnTo>
                    <a:pt x="96" y="336"/>
                  </a:lnTo>
                  <a:lnTo>
                    <a:pt x="96" y="330"/>
                  </a:lnTo>
                  <a:lnTo>
                    <a:pt x="96" y="324"/>
                  </a:lnTo>
                  <a:lnTo>
                    <a:pt x="102" y="318"/>
                  </a:lnTo>
                  <a:lnTo>
                    <a:pt x="108" y="312"/>
                  </a:lnTo>
                  <a:lnTo>
                    <a:pt x="96" y="306"/>
                  </a:lnTo>
                  <a:lnTo>
                    <a:pt x="84" y="288"/>
                  </a:lnTo>
                  <a:lnTo>
                    <a:pt x="108" y="258"/>
                  </a:lnTo>
                  <a:lnTo>
                    <a:pt x="102" y="222"/>
                  </a:lnTo>
                  <a:lnTo>
                    <a:pt x="84" y="222"/>
                  </a:lnTo>
                  <a:lnTo>
                    <a:pt x="54" y="216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2"/>
                  </a:lnTo>
                  <a:lnTo>
                    <a:pt x="72" y="192"/>
                  </a:lnTo>
                  <a:lnTo>
                    <a:pt x="84" y="186"/>
                  </a:lnTo>
                  <a:lnTo>
                    <a:pt x="90" y="186"/>
                  </a:lnTo>
                  <a:lnTo>
                    <a:pt x="90" y="174"/>
                  </a:lnTo>
                  <a:lnTo>
                    <a:pt x="84" y="162"/>
                  </a:lnTo>
                  <a:lnTo>
                    <a:pt x="84" y="150"/>
                  </a:lnTo>
                  <a:lnTo>
                    <a:pt x="84" y="126"/>
                  </a:lnTo>
                  <a:lnTo>
                    <a:pt x="84" y="114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8" y="96"/>
                  </a:lnTo>
                  <a:lnTo>
                    <a:pt x="120" y="90"/>
                  </a:lnTo>
                  <a:lnTo>
                    <a:pt x="126" y="78"/>
                  </a:lnTo>
                  <a:lnTo>
                    <a:pt x="138" y="66"/>
                  </a:lnTo>
                  <a:lnTo>
                    <a:pt x="138" y="48"/>
                  </a:lnTo>
                  <a:lnTo>
                    <a:pt x="138" y="42"/>
                  </a:lnTo>
                  <a:lnTo>
                    <a:pt x="126" y="30"/>
                  </a:lnTo>
                  <a:lnTo>
                    <a:pt x="120" y="18"/>
                  </a:lnTo>
                  <a:lnTo>
                    <a:pt x="132" y="12"/>
                  </a:lnTo>
                  <a:lnTo>
                    <a:pt x="144" y="0"/>
                  </a:lnTo>
                  <a:lnTo>
                    <a:pt x="150" y="6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6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74" y="66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68" y="72"/>
                  </a:lnTo>
                  <a:lnTo>
                    <a:pt x="156" y="150"/>
                  </a:lnTo>
                  <a:lnTo>
                    <a:pt x="168" y="144"/>
                  </a:lnTo>
                  <a:lnTo>
                    <a:pt x="180" y="150"/>
                  </a:lnTo>
                  <a:lnTo>
                    <a:pt x="186" y="150"/>
                  </a:lnTo>
                  <a:lnTo>
                    <a:pt x="186" y="144"/>
                  </a:lnTo>
                  <a:lnTo>
                    <a:pt x="192" y="150"/>
                  </a:lnTo>
                  <a:lnTo>
                    <a:pt x="222" y="150"/>
                  </a:lnTo>
                  <a:lnTo>
                    <a:pt x="222" y="168"/>
                  </a:lnTo>
                  <a:lnTo>
                    <a:pt x="222" y="186"/>
                  </a:lnTo>
                  <a:lnTo>
                    <a:pt x="234" y="198"/>
                  </a:lnTo>
                  <a:lnTo>
                    <a:pt x="234" y="234"/>
                  </a:lnTo>
                  <a:lnTo>
                    <a:pt x="228" y="270"/>
                  </a:lnTo>
                  <a:lnTo>
                    <a:pt x="246" y="282"/>
                  </a:lnTo>
                  <a:lnTo>
                    <a:pt x="258" y="294"/>
                  </a:lnTo>
                  <a:lnTo>
                    <a:pt x="270" y="300"/>
                  </a:lnTo>
                  <a:lnTo>
                    <a:pt x="294" y="300"/>
                  </a:lnTo>
                  <a:lnTo>
                    <a:pt x="288" y="306"/>
                  </a:lnTo>
                  <a:lnTo>
                    <a:pt x="300" y="312"/>
                  </a:lnTo>
                  <a:lnTo>
                    <a:pt x="306" y="318"/>
                  </a:lnTo>
                  <a:lnTo>
                    <a:pt x="324" y="324"/>
                  </a:lnTo>
                  <a:lnTo>
                    <a:pt x="354" y="318"/>
                  </a:lnTo>
                  <a:lnTo>
                    <a:pt x="354" y="312"/>
                  </a:lnTo>
                  <a:lnTo>
                    <a:pt x="366" y="312"/>
                  </a:lnTo>
                  <a:lnTo>
                    <a:pt x="384" y="312"/>
                  </a:lnTo>
                  <a:lnTo>
                    <a:pt x="390" y="306"/>
                  </a:lnTo>
                  <a:lnTo>
                    <a:pt x="396" y="306"/>
                  </a:lnTo>
                  <a:lnTo>
                    <a:pt x="408" y="306"/>
                  </a:lnTo>
                  <a:lnTo>
                    <a:pt x="426" y="312"/>
                  </a:lnTo>
                  <a:lnTo>
                    <a:pt x="456" y="324"/>
                  </a:lnTo>
                  <a:lnTo>
                    <a:pt x="504" y="330"/>
                  </a:lnTo>
                  <a:lnTo>
                    <a:pt x="510" y="336"/>
                  </a:lnTo>
                  <a:lnTo>
                    <a:pt x="534" y="336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58" y="330"/>
                  </a:lnTo>
                  <a:lnTo>
                    <a:pt x="564" y="330"/>
                  </a:lnTo>
                  <a:lnTo>
                    <a:pt x="570" y="354"/>
                  </a:lnTo>
                  <a:lnTo>
                    <a:pt x="564" y="378"/>
                  </a:lnTo>
                  <a:lnTo>
                    <a:pt x="558" y="396"/>
                  </a:lnTo>
                  <a:lnTo>
                    <a:pt x="546" y="414"/>
                  </a:lnTo>
                  <a:lnTo>
                    <a:pt x="546" y="438"/>
                  </a:lnTo>
                  <a:lnTo>
                    <a:pt x="540" y="456"/>
                  </a:lnTo>
                  <a:lnTo>
                    <a:pt x="540" y="474"/>
                  </a:lnTo>
                  <a:lnTo>
                    <a:pt x="528" y="480"/>
                  </a:lnTo>
                  <a:lnTo>
                    <a:pt x="522" y="492"/>
                  </a:lnTo>
                  <a:lnTo>
                    <a:pt x="504" y="498"/>
                  </a:lnTo>
                  <a:lnTo>
                    <a:pt x="498" y="498"/>
                  </a:lnTo>
                  <a:lnTo>
                    <a:pt x="492" y="504"/>
                  </a:lnTo>
                  <a:lnTo>
                    <a:pt x="486" y="510"/>
                  </a:lnTo>
                  <a:lnTo>
                    <a:pt x="480" y="510"/>
                  </a:lnTo>
                  <a:lnTo>
                    <a:pt x="480" y="516"/>
                  </a:lnTo>
                  <a:lnTo>
                    <a:pt x="474" y="522"/>
                  </a:lnTo>
                  <a:lnTo>
                    <a:pt x="474" y="528"/>
                  </a:lnTo>
                  <a:lnTo>
                    <a:pt x="474" y="534"/>
                  </a:lnTo>
                  <a:lnTo>
                    <a:pt x="480" y="540"/>
                  </a:lnTo>
                  <a:lnTo>
                    <a:pt x="492" y="540"/>
                  </a:lnTo>
                  <a:lnTo>
                    <a:pt x="498" y="546"/>
                  </a:lnTo>
                  <a:lnTo>
                    <a:pt x="504" y="552"/>
                  </a:lnTo>
                  <a:lnTo>
                    <a:pt x="510" y="552"/>
                  </a:lnTo>
                  <a:lnTo>
                    <a:pt x="516" y="558"/>
                  </a:lnTo>
                  <a:lnTo>
                    <a:pt x="528" y="558"/>
                  </a:lnTo>
                  <a:lnTo>
                    <a:pt x="534" y="552"/>
                  </a:lnTo>
                  <a:lnTo>
                    <a:pt x="540" y="552"/>
                  </a:lnTo>
                  <a:lnTo>
                    <a:pt x="546" y="552"/>
                  </a:lnTo>
                  <a:lnTo>
                    <a:pt x="558" y="546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70" y="546"/>
                  </a:lnTo>
                  <a:lnTo>
                    <a:pt x="570" y="540"/>
                  </a:lnTo>
                  <a:lnTo>
                    <a:pt x="570" y="546"/>
                  </a:lnTo>
                  <a:lnTo>
                    <a:pt x="576" y="546"/>
                  </a:lnTo>
                  <a:lnTo>
                    <a:pt x="582" y="546"/>
                  </a:lnTo>
                  <a:lnTo>
                    <a:pt x="588" y="540"/>
                  </a:lnTo>
                  <a:lnTo>
                    <a:pt x="594" y="546"/>
                  </a:lnTo>
                  <a:lnTo>
                    <a:pt x="606" y="546"/>
                  </a:lnTo>
                  <a:lnTo>
                    <a:pt x="612" y="546"/>
                  </a:lnTo>
                  <a:lnTo>
                    <a:pt x="612" y="552"/>
                  </a:lnTo>
                  <a:lnTo>
                    <a:pt x="618" y="552"/>
                  </a:lnTo>
                  <a:lnTo>
                    <a:pt x="624" y="552"/>
                  </a:lnTo>
                  <a:lnTo>
                    <a:pt x="630" y="552"/>
                  </a:lnTo>
                  <a:lnTo>
                    <a:pt x="648" y="546"/>
                  </a:lnTo>
                  <a:lnTo>
                    <a:pt x="654" y="546"/>
                  </a:lnTo>
                  <a:lnTo>
                    <a:pt x="654" y="552"/>
                  </a:lnTo>
                  <a:lnTo>
                    <a:pt x="660" y="558"/>
                  </a:lnTo>
                  <a:lnTo>
                    <a:pt x="666" y="564"/>
                  </a:lnTo>
                  <a:lnTo>
                    <a:pt x="672" y="564"/>
                  </a:lnTo>
                  <a:lnTo>
                    <a:pt x="678" y="564"/>
                  </a:lnTo>
                  <a:lnTo>
                    <a:pt x="696" y="576"/>
                  </a:lnTo>
                  <a:lnTo>
                    <a:pt x="696" y="582"/>
                  </a:lnTo>
                  <a:lnTo>
                    <a:pt x="708" y="588"/>
                  </a:lnTo>
                  <a:lnTo>
                    <a:pt x="708" y="594"/>
                  </a:lnTo>
                  <a:lnTo>
                    <a:pt x="720" y="606"/>
                  </a:lnTo>
                  <a:lnTo>
                    <a:pt x="720" y="618"/>
                  </a:lnTo>
                  <a:lnTo>
                    <a:pt x="720" y="624"/>
                  </a:lnTo>
                  <a:lnTo>
                    <a:pt x="726" y="630"/>
                  </a:lnTo>
                  <a:lnTo>
                    <a:pt x="732" y="636"/>
                  </a:lnTo>
                  <a:lnTo>
                    <a:pt x="732" y="642"/>
                  </a:lnTo>
                  <a:lnTo>
                    <a:pt x="732" y="648"/>
                  </a:lnTo>
                  <a:lnTo>
                    <a:pt x="726" y="654"/>
                  </a:lnTo>
                  <a:lnTo>
                    <a:pt x="720" y="660"/>
                  </a:lnTo>
                  <a:lnTo>
                    <a:pt x="714" y="666"/>
                  </a:lnTo>
                  <a:lnTo>
                    <a:pt x="714" y="672"/>
                  </a:lnTo>
                  <a:lnTo>
                    <a:pt x="714" y="678"/>
                  </a:lnTo>
                  <a:lnTo>
                    <a:pt x="720" y="678"/>
                  </a:lnTo>
                  <a:lnTo>
                    <a:pt x="720" y="684"/>
                  </a:lnTo>
                  <a:lnTo>
                    <a:pt x="714" y="690"/>
                  </a:lnTo>
                  <a:lnTo>
                    <a:pt x="714" y="696"/>
                  </a:lnTo>
                  <a:lnTo>
                    <a:pt x="714" y="702"/>
                  </a:lnTo>
                  <a:lnTo>
                    <a:pt x="714" y="708"/>
                  </a:lnTo>
                  <a:lnTo>
                    <a:pt x="720" y="708"/>
                  </a:lnTo>
                  <a:lnTo>
                    <a:pt x="720" y="720"/>
                  </a:lnTo>
                  <a:lnTo>
                    <a:pt x="720" y="726"/>
                  </a:lnTo>
                  <a:lnTo>
                    <a:pt x="726" y="726"/>
                  </a:lnTo>
                  <a:lnTo>
                    <a:pt x="726" y="732"/>
                  </a:lnTo>
                  <a:lnTo>
                    <a:pt x="732" y="732"/>
                  </a:lnTo>
                  <a:lnTo>
                    <a:pt x="732" y="738"/>
                  </a:lnTo>
                  <a:lnTo>
                    <a:pt x="726" y="738"/>
                  </a:lnTo>
                  <a:lnTo>
                    <a:pt x="720" y="738"/>
                  </a:lnTo>
                  <a:lnTo>
                    <a:pt x="720" y="744"/>
                  </a:lnTo>
                  <a:lnTo>
                    <a:pt x="720" y="750"/>
                  </a:lnTo>
                  <a:lnTo>
                    <a:pt x="714" y="750"/>
                  </a:lnTo>
                  <a:lnTo>
                    <a:pt x="714" y="756"/>
                  </a:lnTo>
                  <a:lnTo>
                    <a:pt x="720" y="756"/>
                  </a:lnTo>
                  <a:lnTo>
                    <a:pt x="714" y="762"/>
                  </a:lnTo>
                  <a:lnTo>
                    <a:pt x="720" y="762"/>
                  </a:lnTo>
                  <a:lnTo>
                    <a:pt x="726" y="768"/>
                  </a:lnTo>
                  <a:lnTo>
                    <a:pt x="726" y="774"/>
                  </a:lnTo>
                  <a:lnTo>
                    <a:pt x="732" y="774"/>
                  </a:lnTo>
                  <a:lnTo>
                    <a:pt x="732" y="780"/>
                  </a:lnTo>
                  <a:lnTo>
                    <a:pt x="726" y="780"/>
                  </a:lnTo>
                  <a:lnTo>
                    <a:pt x="726" y="786"/>
                  </a:lnTo>
                  <a:lnTo>
                    <a:pt x="720" y="786"/>
                  </a:lnTo>
                  <a:lnTo>
                    <a:pt x="726" y="786"/>
                  </a:lnTo>
                  <a:lnTo>
                    <a:pt x="732" y="780"/>
                  </a:lnTo>
                  <a:lnTo>
                    <a:pt x="738" y="780"/>
                  </a:lnTo>
                  <a:lnTo>
                    <a:pt x="744" y="780"/>
                  </a:lnTo>
                  <a:lnTo>
                    <a:pt x="744" y="786"/>
                  </a:lnTo>
                  <a:lnTo>
                    <a:pt x="750" y="786"/>
                  </a:lnTo>
                  <a:lnTo>
                    <a:pt x="744" y="786"/>
                  </a:lnTo>
                  <a:lnTo>
                    <a:pt x="744" y="792"/>
                  </a:lnTo>
                  <a:lnTo>
                    <a:pt x="744" y="786"/>
                  </a:lnTo>
                  <a:lnTo>
                    <a:pt x="738" y="792"/>
                  </a:lnTo>
                  <a:lnTo>
                    <a:pt x="744" y="792"/>
                  </a:lnTo>
                  <a:lnTo>
                    <a:pt x="750" y="792"/>
                  </a:lnTo>
                  <a:lnTo>
                    <a:pt x="750" y="786"/>
                  </a:lnTo>
                  <a:lnTo>
                    <a:pt x="756" y="786"/>
                  </a:lnTo>
                  <a:lnTo>
                    <a:pt x="756" y="792"/>
                  </a:lnTo>
                  <a:lnTo>
                    <a:pt x="762" y="792"/>
                  </a:lnTo>
                  <a:lnTo>
                    <a:pt x="756" y="798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0" y="810"/>
                  </a:lnTo>
                  <a:lnTo>
                    <a:pt x="756" y="810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6" y="816"/>
                  </a:lnTo>
                  <a:lnTo>
                    <a:pt x="750" y="816"/>
                  </a:lnTo>
                  <a:lnTo>
                    <a:pt x="738" y="810"/>
                  </a:lnTo>
                  <a:lnTo>
                    <a:pt x="732" y="810"/>
                  </a:lnTo>
                  <a:lnTo>
                    <a:pt x="732" y="816"/>
                  </a:lnTo>
                  <a:lnTo>
                    <a:pt x="726" y="810"/>
                  </a:lnTo>
                  <a:lnTo>
                    <a:pt x="714" y="816"/>
                  </a:lnTo>
                  <a:lnTo>
                    <a:pt x="708" y="816"/>
                  </a:lnTo>
                  <a:lnTo>
                    <a:pt x="702" y="816"/>
                  </a:lnTo>
                  <a:lnTo>
                    <a:pt x="696" y="816"/>
                  </a:lnTo>
                  <a:lnTo>
                    <a:pt x="690" y="822"/>
                  </a:lnTo>
                  <a:lnTo>
                    <a:pt x="684" y="822"/>
                  </a:lnTo>
                  <a:lnTo>
                    <a:pt x="678" y="822"/>
                  </a:lnTo>
                  <a:lnTo>
                    <a:pt x="672" y="822"/>
                  </a:lnTo>
                  <a:lnTo>
                    <a:pt x="666" y="822"/>
                  </a:lnTo>
                  <a:lnTo>
                    <a:pt x="666" y="828"/>
                  </a:lnTo>
                  <a:lnTo>
                    <a:pt x="654" y="828"/>
                  </a:lnTo>
                  <a:lnTo>
                    <a:pt x="648" y="828"/>
                  </a:lnTo>
                  <a:lnTo>
                    <a:pt x="642" y="828"/>
                  </a:lnTo>
                  <a:lnTo>
                    <a:pt x="630" y="828"/>
                  </a:lnTo>
                  <a:lnTo>
                    <a:pt x="624" y="822"/>
                  </a:lnTo>
                  <a:lnTo>
                    <a:pt x="618" y="822"/>
                  </a:lnTo>
                  <a:lnTo>
                    <a:pt x="612" y="822"/>
                  </a:lnTo>
                  <a:lnTo>
                    <a:pt x="606" y="822"/>
                  </a:lnTo>
                  <a:lnTo>
                    <a:pt x="600" y="822"/>
                  </a:lnTo>
                  <a:lnTo>
                    <a:pt x="594" y="822"/>
                  </a:lnTo>
                  <a:lnTo>
                    <a:pt x="594" y="816"/>
                  </a:lnTo>
                  <a:lnTo>
                    <a:pt x="594" y="810"/>
                  </a:lnTo>
                  <a:lnTo>
                    <a:pt x="600" y="804"/>
                  </a:lnTo>
                  <a:lnTo>
                    <a:pt x="600" y="798"/>
                  </a:lnTo>
                  <a:lnTo>
                    <a:pt x="600" y="792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2" y="786"/>
                  </a:lnTo>
                  <a:lnTo>
                    <a:pt x="618" y="786"/>
                  </a:lnTo>
                  <a:lnTo>
                    <a:pt x="624" y="786"/>
                  </a:lnTo>
                  <a:lnTo>
                    <a:pt x="624" y="780"/>
                  </a:lnTo>
                  <a:lnTo>
                    <a:pt x="630" y="780"/>
                  </a:lnTo>
                  <a:lnTo>
                    <a:pt x="630" y="774"/>
                  </a:lnTo>
                  <a:lnTo>
                    <a:pt x="636" y="774"/>
                  </a:lnTo>
                  <a:lnTo>
                    <a:pt x="642" y="780"/>
                  </a:lnTo>
                  <a:lnTo>
                    <a:pt x="642" y="786"/>
                  </a:lnTo>
                  <a:lnTo>
                    <a:pt x="642" y="792"/>
                  </a:lnTo>
                  <a:lnTo>
                    <a:pt x="648" y="792"/>
                  </a:lnTo>
                  <a:lnTo>
                    <a:pt x="648" y="786"/>
                  </a:lnTo>
                  <a:lnTo>
                    <a:pt x="642" y="786"/>
                  </a:lnTo>
                  <a:lnTo>
                    <a:pt x="642" y="780"/>
                  </a:lnTo>
                  <a:lnTo>
                    <a:pt x="642" y="774"/>
                  </a:lnTo>
                  <a:lnTo>
                    <a:pt x="648" y="768"/>
                  </a:lnTo>
                  <a:lnTo>
                    <a:pt x="642" y="768"/>
                  </a:lnTo>
                  <a:lnTo>
                    <a:pt x="648" y="768"/>
                  </a:lnTo>
                  <a:lnTo>
                    <a:pt x="648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66" y="762"/>
                  </a:lnTo>
                  <a:lnTo>
                    <a:pt x="672" y="756"/>
                  </a:lnTo>
                  <a:lnTo>
                    <a:pt x="666" y="756"/>
                  </a:lnTo>
                  <a:lnTo>
                    <a:pt x="660" y="756"/>
                  </a:lnTo>
                  <a:lnTo>
                    <a:pt x="660" y="750"/>
                  </a:lnTo>
                  <a:lnTo>
                    <a:pt x="654" y="750"/>
                  </a:lnTo>
                  <a:lnTo>
                    <a:pt x="648" y="750"/>
                  </a:lnTo>
                  <a:lnTo>
                    <a:pt x="648" y="756"/>
                  </a:lnTo>
                  <a:lnTo>
                    <a:pt x="642" y="756"/>
                  </a:lnTo>
                  <a:lnTo>
                    <a:pt x="642" y="750"/>
                  </a:lnTo>
                  <a:lnTo>
                    <a:pt x="642" y="744"/>
                  </a:lnTo>
                  <a:lnTo>
                    <a:pt x="642" y="750"/>
                  </a:lnTo>
                  <a:lnTo>
                    <a:pt x="636" y="750"/>
                  </a:lnTo>
                  <a:lnTo>
                    <a:pt x="636" y="744"/>
                  </a:lnTo>
                  <a:lnTo>
                    <a:pt x="630" y="744"/>
                  </a:lnTo>
                  <a:lnTo>
                    <a:pt x="630" y="738"/>
                  </a:lnTo>
                  <a:lnTo>
                    <a:pt x="630" y="744"/>
                  </a:lnTo>
                  <a:lnTo>
                    <a:pt x="630" y="750"/>
                  </a:lnTo>
                  <a:lnTo>
                    <a:pt x="636" y="750"/>
                  </a:lnTo>
                  <a:lnTo>
                    <a:pt x="636" y="756"/>
                  </a:lnTo>
                  <a:lnTo>
                    <a:pt x="630" y="756"/>
                  </a:lnTo>
                  <a:lnTo>
                    <a:pt x="636" y="762"/>
                  </a:lnTo>
                  <a:lnTo>
                    <a:pt x="630" y="762"/>
                  </a:lnTo>
                  <a:lnTo>
                    <a:pt x="624" y="762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24" y="786"/>
                  </a:lnTo>
                  <a:lnTo>
                    <a:pt x="618" y="786"/>
                  </a:lnTo>
                  <a:lnTo>
                    <a:pt x="618" y="78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12" y="774"/>
                  </a:lnTo>
                  <a:lnTo>
                    <a:pt x="612" y="780"/>
                  </a:lnTo>
                  <a:lnTo>
                    <a:pt x="606" y="780"/>
                  </a:lnTo>
                  <a:lnTo>
                    <a:pt x="600" y="780"/>
                  </a:lnTo>
                  <a:lnTo>
                    <a:pt x="600" y="774"/>
                  </a:lnTo>
                  <a:lnTo>
                    <a:pt x="594" y="768"/>
                  </a:lnTo>
                  <a:lnTo>
                    <a:pt x="594" y="762"/>
                  </a:lnTo>
                  <a:lnTo>
                    <a:pt x="594" y="756"/>
                  </a:lnTo>
                  <a:lnTo>
                    <a:pt x="594" y="762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594" y="780"/>
                  </a:lnTo>
                  <a:lnTo>
                    <a:pt x="588" y="780"/>
                  </a:lnTo>
                  <a:lnTo>
                    <a:pt x="582" y="780"/>
                  </a:lnTo>
                  <a:lnTo>
                    <a:pt x="576" y="780"/>
                  </a:lnTo>
                  <a:lnTo>
                    <a:pt x="570" y="780"/>
                  </a:lnTo>
                  <a:lnTo>
                    <a:pt x="564" y="780"/>
                  </a:lnTo>
                  <a:lnTo>
                    <a:pt x="564" y="786"/>
                  </a:lnTo>
                  <a:lnTo>
                    <a:pt x="558" y="786"/>
                  </a:lnTo>
                  <a:lnTo>
                    <a:pt x="552" y="786"/>
                  </a:lnTo>
                  <a:lnTo>
                    <a:pt x="552" y="780"/>
                  </a:lnTo>
                  <a:lnTo>
                    <a:pt x="552" y="774"/>
                  </a:lnTo>
                  <a:lnTo>
                    <a:pt x="552" y="768"/>
                  </a:lnTo>
                  <a:lnTo>
                    <a:pt x="546" y="768"/>
                  </a:lnTo>
                  <a:lnTo>
                    <a:pt x="540" y="762"/>
                  </a:lnTo>
                  <a:lnTo>
                    <a:pt x="540" y="756"/>
                  </a:lnTo>
                  <a:lnTo>
                    <a:pt x="534" y="756"/>
                  </a:lnTo>
                  <a:lnTo>
                    <a:pt x="534" y="750"/>
                  </a:lnTo>
                  <a:lnTo>
                    <a:pt x="534" y="744"/>
                  </a:lnTo>
                  <a:lnTo>
                    <a:pt x="528" y="738"/>
                  </a:lnTo>
                  <a:lnTo>
                    <a:pt x="522" y="738"/>
                  </a:lnTo>
                  <a:lnTo>
                    <a:pt x="522" y="732"/>
                  </a:lnTo>
                  <a:lnTo>
                    <a:pt x="510" y="726"/>
                  </a:lnTo>
                  <a:lnTo>
                    <a:pt x="510" y="720"/>
                  </a:lnTo>
                  <a:lnTo>
                    <a:pt x="504" y="720"/>
                  </a:lnTo>
                  <a:lnTo>
                    <a:pt x="504" y="714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8" y="702"/>
                  </a:lnTo>
                  <a:lnTo>
                    <a:pt x="498" y="696"/>
                  </a:lnTo>
                  <a:lnTo>
                    <a:pt x="492" y="690"/>
                  </a:lnTo>
                  <a:lnTo>
                    <a:pt x="492" y="684"/>
                  </a:lnTo>
                  <a:lnTo>
                    <a:pt x="486" y="684"/>
                  </a:lnTo>
                  <a:lnTo>
                    <a:pt x="486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74" y="678"/>
                  </a:lnTo>
                  <a:lnTo>
                    <a:pt x="468" y="678"/>
                  </a:lnTo>
                  <a:lnTo>
                    <a:pt x="462" y="678"/>
                  </a:lnTo>
                  <a:lnTo>
                    <a:pt x="462" y="672"/>
                  </a:lnTo>
                  <a:lnTo>
                    <a:pt x="456" y="672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44" y="666"/>
                  </a:lnTo>
                  <a:lnTo>
                    <a:pt x="438" y="660"/>
                  </a:lnTo>
                  <a:lnTo>
                    <a:pt x="438" y="648"/>
                  </a:lnTo>
                  <a:lnTo>
                    <a:pt x="438" y="642"/>
                  </a:lnTo>
                  <a:lnTo>
                    <a:pt x="438" y="636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36"/>
                  </a:lnTo>
                  <a:lnTo>
                    <a:pt x="420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60"/>
                  </a:lnTo>
                  <a:lnTo>
                    <a:pt x="432" y="666"/>
                  </a:lnTo>
                  <a:lnTo>
                    <a:pt x="438" y="666"/>
                  </a:lnTo>
                  <a:lnTo>
                    <a:pt x="438" y="672"/>
                  </a:lnTo>
                  <a:lnTo>
                    <a:pt x="444" y="672"/>
                  </a:lnTo>
                  <a:lnTo>
                    <a:pt x="444" y="678"/>
                  </a:lnTo>
                  <a:lnTo>
                    <a:pt x="450" y="678"/>
                  </a:lnTo>
                  <a:lnTo>
                    <a:pt x="456" y="678"/>
                  </a:lnTo>
                  <a:lnTo>
                    <a:pt x="456" y="684"/>
                  </a:lnTo>
                  <a:lnTo>
                    <a:pt x="462" y="684"/>
                  </a:lnTo>
                  <a:lnTo>
                    <a:pt x="468" y="684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80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86" y="708"/>
                  </a:lnTo>
                  <a:lnTo>
                    <a:pt x="492" y="714"/>
                  </a:lnTo>
                  <a:lnTo>
                    <a:pt x="492" y="720"/>
                  </a:lnTo>
                  <a:lnTo>
                    <a:pt x="492" y="726"/>
                  </a:lnTo>
                  <a:lnTo>
                    <a:pt x="498" y="732"/>
                  </a:lnTo>
                  <a:lnTo>
                    <a:pt x="492" y="738"/>
                  </a:lnTo>
                  <a:lnTo>
                    <a:pt x="492" y="744"/>
                  </a:lnTo>
                  <a:lnTo>
                    <a:pt x="492" y="750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68" y="738"/>
                  </a:lnTo>
                  <a:lnTo>
                    <a:pt x="468" y="744"/>
                  </a:lnTo>
                  <a:lnTo>
                    <a:pt x="474" y="750"/>
                  </a:lnTo>
                  <a:lnTo>
                    <a:pt x="480" y="756"/>
                  </a:lnTo>
                  <a:lnTo>
                    <a:pt x="486" y="756"/>
                  </a:lnTo>
                  <a:lnTo>
                    <a:pt x="492" y="762"/>
                  </a:lnTo>
                  <a:lnTo>
                    <a:pt x="498" y="768"/>
                  </a:lnTo>
                  <a:lnTo>
                    <a:pt x="492" y="774"/>
                  </a:lnTo>
                  <a:lnTo>
                    <a:pt x="492" y="780"/>
                  </a:lnTo>
                  <a:lnTo>
                    <a:pt x="498" y="780"/>
                  </a:lnTo>
                  <a:lnTo>
                    <a:pt x="492" y="786"/>
                  </a:lnTo>
                  <a:lnTo>
                    <a:pt x="492" y="792"/>
                  </a:lnTo>
                  <a:lnTo>
                    <a:pt x="492" y="79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0" y="810"/>
                  </a:lnTo>
                  <a:lnTo>
                    <a:pt x="480" y="804"/>
                  </a:lnTo>
                  <a:lnTo>
                    <a:pt x="474" y="804"/>
                  </a:lnTo>
                  <a:lnTo>
                    <a:pt x="474" y="798"/>
                  </a:lnTo>
                  <a:lnTo>
                    <a:pt x="474" y="804"/>
                  </a:lnTo>
                  <a:lnTo>
                    <a:pt x="468" y="804"/>
                  </a:lnTo>
                  <a:lnTo>
                    <a:pt x="468" y="810"/>
                  </a:lnTo>
                  <a:lnTo>
                    <a:pt x="462" y="810"/>
                  </a:lnTo>
                  <a:lnTo>
                    <a:pt x="456" y="810"/>
                  </a:lnTo>
                  <a:lnTo>
                    <a:pt x="450" y="810"/>
                  </a:lnTo>
                  <a:lnTo>
                    <a:pt x="450" y="816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50" y="822"/>
                  </a:lnTo>
                  <a:lnTo>
                    <a:pt x="450" y="816"/>
                  </a:lnTo>
                  <a:lnTo>
                    <a:pt x="444" y="816"/>
                  </a:lnTo>
                  <a:lnTo>
                    <a:pt x="438" y="810"/>
                  </a:lnTo>
                  <a:lnTo>
                    <a:pt x="432" y="810"/>
                  </a:lnTo>
                  <a:lnTo>
                    <a:pt x="426" y="804"/>
                  </a:lnTo>
                  <a:lnTo>
                    <a:pt x="426" y="798"/>
                  </a:lnTo>
                  <a:lnTo>
                    <a:pt x="420" y="798"/>
                  </a:lnTo>
                  <a:lnTo>
                    <a:pt x="426" y="798"/>
                  </a:lnTo>
                  <a:lnTo>
                    <a:pt x="426" y="792"/>
                  </a:lnTo>
                  <a:lnTo>
                    <a:pt x="426" y="786"/>
                  </a:lnTo>
                  <a:lnTo>
                    <a:pt x="432" y="786"/>
                  </a:lnTo>
                  <a:lnTo>
                    <a:pt x="432" y="780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0" y="756"/>
                  </a:lnTo>
                  <a:lnTo>
                    <a:pt x="420" y="750"/>
                  </a:lnTo>
                  <a:lnTo>
                    <a:pt x="414" y="750"/>
                  </a:lnTo>
                  <a:lnTo>
                    <a:pt x="420" y="750"/>
                  </a:lnTo>
                  <a:lnTo>
                    <a:pt x="420" y="744"/>
                  </a:lnTo>
                  <a:lnTo>
                    <a:pt x="414" y="744"/>
                  </a:lnTo>
                  <a:lnTo>
                    <a:pt x="414" y="738"/>
                  </a:lnTo>
                  <a:lnTo>
                    <a:pt x="414" y="732"/>
                  </a:lnTo>
                  <a:lnTo>
                    <a:pt x="408" y="732"/>
                  </a:lnTo>
                  <a:lnTo>
                    <a:pt x="408" y="726"/>
                  </a:lnTo>
                  <a:lnTo>
                    <a:pt x="402" y="726"/>
                  </a:lnTo>
                  <a:lnTo>
                    <a:pt x="396" y="726"/>
                  </a:lnTo>
                  <a:lnTo>
                    <a:pt x="390" y="726"/>
                  </a:lnTo>
                  <a:lnTo>
                    <a:pt x="390" y="720"/>
                  </a:lnTo>
                  <a:lnTo>
                    <a:pt x="390" y="714"/>
                  </a:lnTo>
                  <a:lnTo>
                    <a:pt x="384" y="708"/>
                  </a:lnTo>
                  <a:lnTo>
                    <a:pt x="384" y="702"/>
                  </a:lnTo>
                  <a:lnTo>
                    <a:pt x="378" y="702"/>
                  </a:lnTo>
                  <a:lnTo>
                    <a:pt x="378" y="696"/>
                  </a:lnTo>
                  <a:lnTo>
                    <a:pt x="378" y="690"/>
                  </a:lnTo>
                  <a:lnTo>
                    <a:pt x="372" y="684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66" y="666"/>
                  </a:lnTo>
                  <a:lnTo>
                    <a:pt x="366" y="660"/>
                  </a:lnTo>
                  <a:lnTo>
                    <a:pt x="366" y="654"/>
                  </a:lnTo>
                  <a:lnTo>
                    <a:pt x="360" y="648"/>
                  </a:lnTo>
                  <a:lnTo>
                    <a:pt x="360" y="654"/>
                  </a:lnTo>
                  <a:lnTo>
                    <a:pt x="360" y="660"/>
                  </a:lnTo>
                  <a:lnTo>
                    <a:pt x="360" y="666"/>
                  </a:lnTo>
                  <a:lnTo>
                    <a:pt x="360" y="672"/>
                  </a:lnTo>
                  <a:lnTo>
                    <a:pt x="360" y="678"/>
                  </a:lnTo>
                  <a:lnTo>
                    <a:pt x="366" y="678"/>
                  </a:lnTo>
                  <a:lnTo>
                    <a:pt x="366" y="684"/>
                  </a:lnTo>
                  <a:lnTo>
                    <a:pt x="366" y="690"/>
                  </a:lnTo>
                  <a:lnTo>
                    <a:pt x="372" y="696"/>
                  </a:lnTo>
                  <a:lnTo>
                    <a:pt x="372" y="702"/>
                  </a:lnTo>
                  <a:lnTo>
                    <a:pt x="372" y="708"/>
                  </a:lnTo>
                  <a:lnTo>
                    <a:pt x="372" y="714"/>
                  </a:lnTo>
                  <a:lnTo>
                    <a:pt x="366" y="714"/>
                  </a:lnTo>
                  <a:lnTo>
                    <a:pt x="360" y="714"/>
                  </a:lnTo>
                  <a:lnTo>
                    <a:pt x="354" y="714"/>
                  </a:lnTo>
                  <a:lnTo>
                    <a:pt x="348" y="714"/>
                  </a:lnTo>
                  <a:lnTo>
                    <a:pt x="348" y="708"/>
                  </a:lnTo>
                  <a:lnTo>
                    <a:pt x="342" y="708"/>
                  </a:lnTo>
                  <a:lnTo>
                    <a:pt x="342" y="702"/>
                  </a:lnTo>
                  <a:lnTo>
                    <a:pt x="342" y="696"/>
                  </a:lnTo>
                  <a:lnTo>
                    <a:pt x="336" y="696"/>
                  </a:lnTo>
                  <a:lnTo>
                    <a:pt x="336" y="690"/>
                  </a:lnTo>
                  <a:lnTo>
                    <a:pt x="336" y="684"/>
                  </a:lnTo>
                  <a:lnTo>
                    <a:pt x="330" y="684"/>
                  </a:lnTo>
                  <a:lnTo>
                    <a:pt x="330" y="678"/>
                  </a:lnTo>
                  <a:lnTo>
                    <a:pt x="324" y="672"/>
                  </a:lnTo>
                  <a:lnTo>
                    <a:pt x="324" y="666"/>
                  </a:lnTo>
                  <a:lnTo>
                    <a:pt x="318" y="666"/>
                  </a:lnTo>
                  <a:lnTo>
                    <a:pt x="318" y="672"/>
                  </a:lnTo>
                  <a:lnTo>
                    <a:pt x="324" y="672"/>
                  </a:lnTo>
                  <a:lnTo>
                    <a:pt x="324" y="678"/>
                  </a:lnTo>
                  <a:lnTo>
                    <a:pt x="324" y="684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30" y="696"/>
                  </a:lnTo>
                  <a:lnTo>
                    <a:pt x="336" y="702"/>
                  </a:lnTo>
                  <a:lnTo>
                    <a:pt x="342" y="708"/>
                  </a:lnTo>
                  <a:lnTo>
                    <a:pt x="342" y="714"/>
                  </a:lnTo>
                  <a:lnTo>
                    <a:pt x="348" y="720"/>
                  </a:lnTo>
                  <a:lnTo>
                    <a:pt x="342" y="720"/>
                  </a:lnTo>
                  <a:lnTo>
                    <a:pt x="336" y="720"/>
                  </a:lnTo>
                  <a:lnTo>
                    <a:pt x="330" y="720"/>
                  </a:lnTo>
                  <a:lnTo>
                    <a:pt x="330" y="726"/>
                  </a:lnTo>
                  <a:lnTo>
                    <a:pt x="336" y="726"/>
                  </a:lnTo>
                  <a:lnTo>
                    <a:pt x="330" y="732"/>
                  </a:lnTo>
                  <a:lnTo>
                    <a:pt x="330" y="738"/>
                  </a:lnTo>
                  <a:lnTo>
                    <a:pt x="330" y="744"/>
                  </a:lnTo>
                  <a:lnTo>
                    <a:pt x="336" y="744"/>
                  </a:lnTo>
                  <a:lnTo>
                    <a:pt x="342" y="744"/>
                  </a:lnTo>
                  <a:lnTo>
                    <a:pt x="348" y="744"/>
                  </a:lnTo>
                  <a:lnTo>
                    <a:pt x="348" y="750"/>
                  </a:lnTo>
                  <a:lnTo>
                    <a:pt x="354" y="750"/>
                  </a:lnTo>
                  <a:lnTo>
                    <a:pt x="360" y="756"/>
                  </a:lnTo>
                  <a:lnTo>
                    <a:pt x="360" y="762"/>
                  </a:lnTo>
                  <a:lnTo>
                    <a:pt x="366" y="762"/>
                  </a:lnTo>
                  <a:lnTo>
                    <a:pt x="366" y="768"/>
                  </a:lnTo>
                  <a:lnTo>
                    <a:pt x="366" y="774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72" y="792"/>
                  </a:lnTo>
                  <a:lnTo>
                    <a:pt x="372" y="798"/>
                  </a:lnTo>
                  <a:lnTo>
                    <a:pt x="372" y="804"/>
                  </a:lnTo>
                  <a:lnTo>
                    <a:pt x="378" y="804"/>
                  </a:lnTo>
                  <a:lnTo>
                    <a:pt x="378" y="810"/>
                  </a:lnTo>
                  <a:lnTo>
                    <a:pt x="378" y="816"/>
                  </a:lnTo>
                  <a:lnTo>
                    <a:pt x="372" y="816"/>
                  </a:lnTo>
                  <a:lnTo>
                    <a:pt x="378" y="816"/>
                  </a:lnTo>
                  <a:lnTo>
                    <a:pt x="378" y="822"/>
                  </a:lnTo>
                  <a:lnTo>
                    <a:pt x="378" y="828"/>
                  </a:lnTo>
                  <a:lnTo>
                    <a:pt x="378" y="834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0" y="864"/>
                  </a:lnTo>
                  <a:lnTo>
                    <a:pt x="384" y="864"/>
                  </a:lnTo>
                  <a:lnTo>
                    <a:pt x="384" y="870"/>
                  </a:lnTo>
                  <a:lnTo>
                    <a:pt x="378" y="864"/>
                  </a:lnTo>
                  <a:lnTo>
                    <a:pt x="372" y="864"/>
                  </a:lnTo>
                  <a:lnTo>
                    <a:pt x="366" y="858"/>
                  </a:lnTo>
                  <a:lnTo>
                    <a:pt x="366" y="852"/>
                  </a:lnTo>
                  <a:lnTo>
                    <a:pt x="360" y="852"/>
                  </a:lnTo>
                  <a:lnTo>
                    <a:pt x="360" y="858"/>
                  </a:lnTo>
                  <a:lnTo>
                    <a:pt x="366" y="858"/>
                  </a:lnTo>
                  <a:lnTo>
                    <a:pt x="366" y="864"/>
                  </a:lnTo>
                  <a:lnTo>
                    <a:pt x="360" y="864"/>
                  </a:lnTo>
                  <a:lnTo>
                    <a:pt x="354" y="864"/>
                  </a:lnTo>
                  <a:lnTo>
                    <a:pt x="354" y="870"/>
                  </a:lnTo>
                  <a:lnTo>
                    <a:pt x="354" y="864"/>
                  </a:lnTo>
                  <a:lnTo>
                    <a:pt x="348" y="864"/>
                  </a:lnTo>
                  <a:lnTo>
                    <a:pt x="342" y="864"/>
                  </a:lnTo>
                  <a:lnTo>
                    <a:pt x="342" y="858"/>
                  </a:lnTo>
                  <a:lnTo>
                    <a:pt x="336" y="858"/>
                  </a:lnTo>
                  <a:lnTo>
                    <a:pt x="330" y="858"/>
                  </a:lnTo>
                  <a:lnTo>
                    <a:pt x="324" y="858"/>
                  </a:lnTo>
                  <a:lnTo>
                    <a:pt x="318" y="858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0" y="852"/>
                  </a:lnTo>
                  <a:lnTo>
                    <a:pt x="294" y="852"/>
                  </a:lnTo>
                  <a:lnTo>
                    <a:pt x="294" y="846"/>
                  </a:lnTo>
                  <a:lnTo>
                    <a:pt x="288" y="840"/>
                  </a:lnTo>
                  <a:lnTo>
                    <a:pt x="288" y="828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2" y="816"/>
                  </a:lnTo>
                  <a:lnTo>
                    <a:pt x="282" y="810"/>
                  </a:lnTo>
                  <a:lnTo>
                    <a:pt x="276" y="810"/>
                  </a:lnTo>
                  <a:lnTo>
                    <a:pt x="276" y="804"/>
                  </a:lnTo>
                  <a:lnTo>
                    <a:pt x="276" y="798"/>
                  </a:lnTo>
                  <a:lnTo>
                    <a:pt x="276" y="792"/>
                  </a:lnTo>
                  <a:lnTo>
                    <a:pt x="270" y="786"/>
                  </a:lnTo>
                  <a:lnTo>
                    <a:pt x="270" y="780"/>
                  </a:lnTo>
                  <a:lnTo>
                    <a:pt x="270" y="774"/>
                  </a:lnTo>
                  <a:lnTo>
                    <a:pt x="264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64" y="750"/>
                  </a:lnTo>
                  <a:lnTo>
                    <a:pt x="264" y="744"/>
                  </a:lnTo>
                  <a:lnTo>
                    <a:pt x="264" y="738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26"/>
                  </a:lnTo>
                  <a:lnTo>
                    <a:pt x="276" y="720"/>
                  </a:lnTo>
                  <a:lnTo>
                    <a:pt x="282" y="720"/>
                  </a:lnTo>
                  <a:lnTo>
                    <a:pt x="282" y="714"/>
                  </a:lnTo>
                  <a:lnTo>
                    <a:pt x="282" y="708"/>
                  </a:lnTo>
                  <a:lnTo>
                    <a:pt x="276" y="708"/>
                  </a:lnTo>
                  <a:lnTo>
                    <a:pt x="276" y="702"/>
                  </a:lnTo>
                  <a:lnTo>
                    <a:pt x="270" y="702"/>
                  </a:lnTo>
                  <a:lnTo>
                    <a:pt x="270" y="696"/>
                  </a:lnTo>
                  <a:lnTo>
                    <a:pt x="264" y="690"/>
                  </a:lnTo>
                  <a:lnTo>
                    <a:pt x="258" y="690"/>
                  </a:lnTo>
                  <a:lnTo>
                    <a:pt x="258" y="684"/>
                  </a:lnTo>
                  <a:lnTo>
                    <a:pt x="252" y="684"/>
                  </a:lnTo>
                  <a:lnTo>
                    <a:pt x="252" y="678"/>
                  </a:lnTo>
                  <a:lnTo>
                    <a:pt x="246" y="678"/>
                  </a:lnTo>
                  <a:lnTo>
                    <a:pt x="240" y="678"/>
                  </a:lnTo>
                  <a:lnTo>
                    <a:pt x="240" y="684"/>
                  </a:lnTo>
                  <a:lnTo>
                    <a:pt x="246" y="684"/>
                  </a:lnTo>
                  <a:lnTo>
                    <a:pt x="252" y="690"/>
                  </a:lnTo>
                  <a:lnTo>
                    <a:pt x="258" y="690"/>
                  </a:lnTo>
                  <a:lnTo>
                    <a:pt x="258" y="696"/>
                  </a:lnTo>
                  <a:lnTo>
                    <a:pt x="258" y="702"/>
                  </a:lnTo>
                  <a:lnTo>
                    <a:pt x="264" y="702"/>
                  </a:lnTo>
                  <a:lnTo>
                    <a:pt x="270" y="708"/>
                  </a:lnTo>
                  <a:lnTo>
                    <a:pt x="270" y="714"/>
                  </a:lnTo>
                  <a:lnTo>
                    <a:pt x="270" y="720"/>
                  </a:lnTo>
                  <a:lnTo>
                    <a:pt x="276" y="720"/>
                  </a:lnTo>
                  <a:lnTo>
                    <a:pt x="270" y="720"/>
                  </a:lnTo>
                  <a:lnTo>
                    <a:pt x="270" y="726"/>
                  </a:lnTo>
                  <a:lnTo>
                    <a:pt x="264" y="726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52" y="738"/>
                  </a:lnTo>
                  <a:lnTo>
                    <a:pt x="252" y="744"/>
                  </a:lnTo>
                  <a:lnTo>
                    <a:pt x="252" y="750"/>
                  </a:lnTo>
                  <a:lnTo>
                    <a:pt x="252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58" y="774"/>
                  </a:lnTo>
                  <a:lnTo>
                    <a:pt x="258" y="780"/>
                  </a:lnTo>
                  <a:lnTo>
                    <a:pt x="264" y="786"/>
                  </a:lnTo>
                  <a:lnTo>
                    <a:pt x="264" y="792"/>
                  </a:lnTo>
                  <a:lnTo>
                    <a:pt x="264" y="798"/>
                  </a:lnTo>
                  <a:lnTo>
                    <a:pt x="270" y="810"/>
                  </a:lnTo>
                  <a:lnTo>
                    <a:pt x="270" y="816"/>
                  </a:lnTo>
                  <a:lnTo>
                    <a:pt x="270" y="822"/>
                  </a:lnTo>
                  <a:lnTo>
                    <a:pt x="276" y="822"/>
                  </a:lnTo>
                  <a:lnTo>
                    <a:pt x="276" y="828"/>
                  </a:lnTo>
                  <a:lnTo>
                    <a:pt x="276" y="834"/>
                  </a:lnTo>
                  <a:lnTo>
                    <a:pt x="276" y="840"/>
                  </a:lnTo>
                  <a:lnTo>
                    <a:pt x="276" y="846"/>
                  </a:lnTo>
                  <a:lnTo>
                    <a:pt x="282" y="852"/>
                  </a:lnTo>
                  <a:lnTo>
                    <a:pt x="282" y="858"/>
                  </a:lnTo>
                  <a:lnTo>
                    <a:pt x="294" y="864"/>
                  </a:lnTo>
                  <a:lnTo>
                    <a:pt x="300" y="870"/>
                  </a:lnTo>
                  <a:lnTo>
                    <a:pt x="300" y="876"/>
                  </a:lnTo>
                  <a:lnTo>
                    <a:pt x="288" y="876"/>
                  </a:lnTo>
                  <a:lnTo>
                    <a:pt x="282" y="876"/>
                  </a:lnTo>
                  <a:lnTo>
                    <a:pt x="276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2" y="882"/>
                  </a:lnTo>
                  <a:lnTo>
                    <a:pt x="246" y="882"/>
                  </a:lnTo>
                  <a:lnTo>
                    <a:pt x="240" y="882"/>
                  </a:lnTo>
                  <a:lnTo>
                    <a:pt x="234" y="882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204" y="876"/>
                  </a:lnTo>
                  <a:lnTo>
                    <a:pt x="198" y="876"/>
                  </a:lnTo>
                  <a:lnTo>
                    <a:pt x="198" y="870"/>
                  </a:lnTo>
                  <a:lnTo>
                    <a:pt x="198" y="852"/>
                  </a:lnTo>
                  <a:lnTo>
                    <a:pt x="198" y="846"/>
                  </a:lnTo>
                  <a:lnTo>
                    <a:pt x="204" y="846"/>
                  </a:lnTo>
                  <a:lnTo>
                    <a:pt x="198" y="840"/>
                  </a:lnTo>
                  <a:lnTo>
                    <a:pt x="198" y="834"/>
                  </a:lnTo>
                  <a:lnTo>
                    <a:pt x="198" y="828"/>
                  </a:lnTo>
                  <a:lnTo>
                    <a:pt x="198" y="822"/>
                  </a:lnTo>
                  <a:lnTo>
                    <a:pt x="198" y="816"/>
                  </a:lnTo>
                  <a:lnTo>
                    <a:pt x="198" y="810"/>
                  </a:lnTo>
                  <a:lnTo>
                    <a:pt x="192" y="810"/>
                  </a:lnTo>
                  <a:lnTo>
                    <a:pt x="192" y="804"/>
                  </a:lnTo>
                  <a:lnTo>
                    <a:pt x="192" y="798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2" y="774"/>
                  </a:lnTo>
                  <a:lnTo>
                    <a:pt x="192" y="768"/>
                  </a:lnTo>
                  <a:lnTo>
                    <a:pt x="198" y="768"/>
                  </a:lnTo>
                  <a:lnTo>
                    <a:pt x="198" y="762"/>
                  </a:lnTo>
                  <a:lnTo>
                    <a:pt x="198" y="756"/>
                  </a:lnTo>
                  <a:lnTo>
                    <a:pt x="204" y="756"/>
                  </a:lnTo>
                  <a:lnTo>
                    <a:pt x="204" y="750"/>
                  </a:lnTo>
                  <a:lnTo>
                    <a:pt x="210" y="744"/>
                  </a:lnTo>
                  <a:lnTo>
                    <a:pt x="210" y="738"/>
                  </a:lnTo>
                  <a:lnTo>
                    <a:pt x="210" y="732"/>
                  </a:lnTo>
                  <a:lnTo>
                    <a:pt x="210" y="726"/>
                  </a:lnTo>
                  <a:lnTo>
                    <a:pt x="210" y="720"/>
                  </a:lnTo>
                  <a:lnTo>
                    <a:pt x="204" y="714"/>
                  </a:lnTo>
                  <a:lnTo>
                    <a:pt x="204" y="720"/>
                  </a:lnTo>
                  <a:lnTo>
                    <a:pt x="204" y="732"/>
                  </a:lnTo>
                  <a:lnTo>
                    <a:pt x="204" y="738"/>
                  </a:lnTo>
                  <a:lnTo>
                    <a:pt x="198" y="738"/>
                  </a:lnTo>
                  <a:lnTo>
                    <a:pt x="198" y="744"/>
                  </a:lnTo>
                  <a:lnTo>
                    <a:pt x="198" y="750"/>
                  </a:lnTo>
                  <a:lnTo>
                    <a:pt x="192" y="756"/>
                  </a:lnTo>
                  <a:lnTo>
                    <a:pt x="186" y="762"/>
                  </a:lnTo>
                  <a:lnTo>
                    <a:pt x="186" y="768"/>
                  </a:lnTo>
                  <a:lnTo>
                    <a:pt x="186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98"/>
                  </a:lnTo>
                  <a:lnTo>
                    <a:pt x="186" y="804"/>
                  </a:lnTo>
                  <a:lnTo>
                    <a:pt x="186" y="810"/>
                  </a:lnTo>
                  <a:lnTo>
                    <a:pt x="192" y="816"/>
                  </a:lnTo>
                  <a:lnTo>
                    <a:pt x="192" y="828"/>
                  </a:lnTo>
                  <a:lnTo>
                    <a:pt x="192" y="834"/>
                  </a:lnTo>
                  <a:lnTo>
                    <a:pt x="186" y="834"/>
                  </a:lnTo>
                  <a:lnTo>
                    <a:pt x="186" y="828"/>
                  </a:lnTo>
                  <a:lnTo>
                    <a:pt x="180" y="822"/>
                  </a:lnTo>
                  <a:lnTo>
                    <a:pt x="180" y="816"/>
                  </a:lnTo>
                  <a:lnTo>
                    <a:pt x="180" y="810"/>
                  </a:lnTo>
                  <a:lnTo>
                    <a:pt x="174" y="810"/>
                  </a:lnTo>
                  <a:lnTo>
                    <a:pt x="174" y="804"/>
                  </a:lnTo>
                  <a:lnTo>
                    <a:pt x="174" y="798"/>
                  </a:lnTo>
                  <a:lnTo>
                    <a:pt x="174" y="792"/>
                  </a:lnTo>
                  <a:lnTo>
                    <a:pt x="168" y="786"/>
                  </a:lnTo>
                  <a:lnTo>
                    <a:pt x="168" y="780"/>
                  </a:lnTo>
                  <a:lnTo>
                    <a:pt x="162" y="780"/>
                  </a:lnTo>
                  <a:lnTo>
                    <a:pt x="168" y="774"/>
                  </a:lnTo>
                  <a:lnTo>
                    <a:pt x="168" y="768"/>
                  </a:lnTo>
                  <a:lnTo>
                    <a:pt x="174" y="768"/>
                  </a:lnTo>
                  <a:lnTo>
                    <a:pt x="168" y="768"/>
                  </a:lnTo>
                  <a:lnTo>
                    <a:pt x="162" y="774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50" y="774"/>
                  </a:lnTo>
                  <a:lnTo>
                    <a:pt x="144" y="774"/>
                  </a:lnTo>
                  <a:lnTo>
                    <a:pt x="144" y="768"/>
                  </a:lnTo>
                  <a:lnTo>
                    <a:pt x="144" y="762"/>
                  </a:lnTo>
                  <a:lnTo>
                    <a:pt x="138" y="756"/>
                  </a:lnTo>
                  <a:lnTo>
                    <a:pt x="132" y="756"/>
                  </a:lnTo>
                  <a:lnTo>
                    <a:pt x="138" y="756"/>
                  </a:lnTo>
                  <a:lnTo>
                    <a:pt x="138" y="762"/>
                  </a:lnTo>
                  <a:lnTo>
                    <a:pt x="138" y="768"/>
                  </a:lnTo>
                  <a:lnTo>
                    <a:pt x="144" y="768"/>
                  </a:lnTo>
                  <a:lnTo>
                    <a:pt x="144" y="774"/>
                  </a:lnTo>
                  <a:lnTo>
                    <a:pt x="150" y="780"/>
                  </a:lnTo>
                  <a:lnTo>
                    <a:pt x="156" y="780"/>
                  </a:lnTo>
                  <a:lnTo>
                    <a:pt x="156" y="786"/>
                  </a:lnTo>
                  <a:lnTo>
                    <a:pt x="162" y="786"/>
                  </a:lnTo>
                  <a:lnTo>
                    <a:pt x="168" y="792"/>
                  </a:lnTo>
                  <a:lnTo>
                    <a:pt x="168" y="798"/>
                  </a:lnTo>
                  <a:lnTo>
                    <a:pt x="168" y="804"/>
                  </a:lnTo>
                  <a:lnTo>
                    <a:pt x="174" y="810"/>
                  </a:lnTo>
                  <a:lnTo>
                    <a:pt x="174" y="816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68" y="828"/>
                  </a:lnTo>
                  <a:lnTo>
                    <a:pt x="168" y="834"/>
                  </a:lnTo>
                  <a:lnTo>
                    <a:pt x="174" y="840"/>
                  </a:lnTo>
                  <a:lnTo>
                    <a:pt x="180" y="840"/>
                  </a:lnTo>
                  <a:lnTo>
                    <a:pt x="180" y="846"/>
                  </a:lnTo>
                  <a:lnTo>
                    <a:pt x="186" y="846"/>
                  </a:lnTo>
                  <a:lnTo>
                    <a:pt x="186" y="852"/>
                  </a:lnTo>
                  <a:lnTo>
                    <a:pt x="186" y="858"/>
                  </a:lnTo>
                  <a:lnTo>
                    <a:pt x="186" y="864"/>
                  </a:lnTo>
                  <a:lnTo>
                    <a:pt x="192" y="864"/>
                  </a:lnTo>
                  <a:lnTo>
                    <a:pt x="192" y="870"/>
                  </a:lnTo>
                  <a:lnTo>
                    <a:pt x="192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6" y="888"/>
                  </a:lnTo>
                  <a:lnTo>
                    <a:pt x="180" y="888"/>
                  </a:lnTo>
                  <a:lnTo>
                    <a:pt x="174" y="888"/>
                  </a:lnTo>
                  <a:lnTo>
                    <a:pt x="168" y="894"/>
                  </a:lnTo>
                  <a:lnTo>
                    <a:pt x="162" y="894"/>
                  </a:lnTo>
                  <a:lnTo>
                    <a:pt x="156" y="894"/>
                  </a:lnTo>
                  <a:lnTo>
                    <a:pt x="150" y="894"/>
                  </a:lnTo>
                  <a:lnTo>
                    <a:pt x="144" y="894"/>
                  </a:lnTo>
                  <a:lnTo>
                    <a:pt x="144" y="900"/>
                  </a:lnTo>
                  <a:lnTo>
                    <a:pt x="138" y="894"/>
                  </a:lnTo>
                  <a:lnTo>
                    <a:pt x="138" y="900"/>
                  </a:lnTo>
                  <a:lnTo>
                    <a:pt x="132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6" y="882"/>
                  </a:lnTo>
                  <a:lnTo>
                    <a:pt x="126" y="876"/>
                  </a:lnTo>
                  <a:lnTo>
                    <a:pt x="120" y="876"/>
                  </a:lnTo>
                  <a:lnTo>
                    <a:pt x="126" y="870"/>
                  </a:lnTo>
                  <a:lnTo>
                    <a:pt x="126" y="864"/>
                  </a:lnTo>
                  <a:lnTo>
                    <a:pt x="126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26" y="828"/>
                  </a:lnTo>
                  <a:lnTo>
                    <a:pt x="126" y="822"/>
                  </a:lnTo>
                  <a:lnTo>
                    <a:pt x="126" y="816"/>
                  </a:lnTo>
                  <a:lnTo>
                    <a:pt x="126" y="810"/>
                  </a:lnTo>
                  <a:lnTo>
                    <a:pt x="126" y="804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20" y="792"/>
                  </a:lnTo>
                  <a:lnTo>
                    <a:pt x="114" y="792"/>
                  </a:lnTo>
                  <a:lnTo>
                    <a:pt x="114" y="786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96" y="780"/>
                  </a:lnTo>
                  <a:lnTo>
                    <a:pt x="96" y="774"/>
                  </a:lnTo>
                  <a:lnTo>
                    <a:pt x="90" y="774"/>
                  </a:lnTo>
                  <a:lnTo>
                    <a:pt x="90" y="768"/>
                  </a:lnTo>
                  <a:close/>
                  <a:moveTo>
                    <a:pt x="96" y="780"/>
                  </a:moveTo>
                  <a:lnTo>
                    <a:pt x="102" y="780"/>
                  </a:lnTo>
                  <a:lnTo>
                    <a:pt x="102" y="786"/>
                  </a:lnTo>
                  <a:lnTo>
                    <a:pt x="108" y="786"/>
                  </a:lnTo>
                  <a:lnTo>
                    <a:pt x="114" y="792"/>
                  </a:lnTo>
                  <a:lnTo>
                    <a:pt x="120" y="798"/>
                  </a:lnTo>
                  <a:lnTo>
                    <a:pt x="120" y="804"/>
                  </a:lnTo>
                  <a:lnTo>
                    <a:pt x="126" y="810"/>
                  </a:lnTo>
                  <a:lnTo>
                    <a:pt x="126" y="816"/>
                  </a:lnTo>
                  <a:lnTo>
                    <a:pt x="126" y="822"/>
                  </a:lnTo>
                  <a:lnTo>
                    <a:pt x="120" y="828"/>
                  </a:lnTo>
                  <a:lnTo>
                    <a:pt x="120" y="840"/>
                  </a:lnTo>
                  <a:lnTo>
                    <a:pt x="120" y="852"/>
                  </a:lnTo>
                  <a:lnTo>
                    <a:pt x="120" y="858"/>
                  </a:lnTo>
                  <a:lnTo>
                    <a:pt x="120" y="864"/>
                  </a:lnTo>
                  <a:lnTo>
                    <a:pt x="120" y="870"/>
                  </a:lnTo>
                  <a:lnTo>
                    <a:pt x="114" y="870"/>
                  </a:lnTo>
                  <a:lnTo>
                    <a:pt x="108" y="870"/>
                  </a:lnTo>
                  <a:lnTo>
                    <a:pt x="108" y="876"/>
                  </a:lnTo>
                  <a:lnTo>
                    <a:pt x="114" y="876"/>
                  </a:lnTo>
                  <a:lnTo>
                    <a:pt x="120" y="876"/>
                  </a:lnTo>
                  <a:lnTo>
                    <a:pt x="120" y="882"/>
                  </a:lnTo>
                  <a:lnTo>
                    <a:pt x="114" y="888"/>
                  </a:lnTo>
                  <a:lnTo>
                    <a:pt x="120" y="888"/>
                  </a:lnTo>
                  <a:lnTo>
                    <a:pt x="120" y="894"/>
                  </a:lnTo>
                  <a:lnTo>
                    <a:pt x="114" y="894"/>
                  </a:lnTo>
                  <a:lnTo>
                    <a:pt x="108" y="894"/>
                  </a:lnTo>
                  <a:lnTo>
                    <a:pt x="96" y="894"/>
                  </a:lnTo>
                  <a:lnTo>
                    <a:pt x="96" y="882"/>
                  </a:lnTo>
                  <a:lnTo>
                    <a:pt x="96" y="876"/>
                  </a:lnTo>
                  <a:lnTo>
                    <a:pt x="84" y="870"/>
                  </a:lnTo>
                  <a:lnTo>
                    <a:pt x="72" y="864"/>
                  </a:lnTo>
                  <a:lnTo>
                    <a:pt x="72" y="852"/>
                  </a:lnTo>
                  <a:lnTo>
                    <a:pt x="72" y="840"/>
                  </a:lnTo>
                  <a:lnTo>
                    <a:pt x="78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90" y="792"/>
                  </a:lnTo>
                  <a:lnTo>
                    <a:pt x="96" y="780"/>
                  </a:lnTo>
                  <a:close/>
                  <a:moveTo>
                    <a:pt x="492" y="810"/>
                  </a:moveTo>
                  <a:lnTo>
                    <a:pt x="498" y="810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510" y="792"/>
                  </a:lnTo>
                  <a:lnTo>
                    <a:pt x="516" y="786"/>
                  </a:lnTo>
                  <a:lnTo>
                    <a:pt x="522" y="780"/>
                  </a:lnTo>
                  <a:lnTo>
                    <a:pt x="522" y="774"/>
                  </a:lnTo>
                  <a:lnTo>
                    <a:pt x="528" y="768"/>
                  </a:lnTo>
                  <a:lnTo>
                    <a:pt x="528" y="762"/>
                  </a:lnTo>
                  <a:lnTo>
                    <a:pt x="534" y="762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46" y="780"/>
                  </a:lnTo>
                  <a:lnTo>
                    <a:pt x="552" y="786"/>
                  </a:lnTo>
                  <a:lnTo>
                    <a:pt x="558" y="786"/>
                  </a:lnTo>
                  <a:lnTo>
                    <a:pt x="564" y="786"/>
                  </a:lnTo>
                  <a:lnTo>
                    <a:pt x="576" y="786"/>
                  </a:lnTo>
                  <a:lnTo>
                    <a:pt x="582" y="786"/>
                  </a:lnTo>
                  <a:lnTo>
                    <a:pt x="588" y="786"/>
                  </a:lnTo>
                  <a:lnTo>
                    <a:pt x="594" y="786"/>
                  </a:lnTo>
                  <a:lnTo>
                    <a:pt x="588" y="792"/>
                  </a:lnTo>
                  <a:lnTo>
                    <a:pt x="588" y="798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82" y="822"/>
                  </a:lnTo>
                  <a:lnTo>
                    <a:pt x="588" y="828"/>
                  </a:lnTo>
                  <a:lnTo>
                    <a:pt x="588" y="834"/>
                  </a:lnTo>
                  <a:lnTo>
                    <a:pt x="582" y="840"/>
                  </a:lnTo>
                  <a:lnTo>
                    <a:pt x="570" y="840"/>
                  </a:lnTo>
                  <a:lnTo>
                    <a:pt x="558" y="846"/>
                  </a:lnTo>
                  <a:lnTo>
                    <a:pt x="552" y="846"/>
                  </a:lnTo>
                  <a:lnTo>
                    <a:pt x="534" y="852"/>
                  </a:lnTo>
                  <a:lnTo>
                    <a:pt x="522" y="858"/>
                  </a:lnTo>
                  <a:lnTo>
                    <a:pt x="510" y="858"/>
                  </a:lnTo>
                  <a:lnTo>
                    <a:pt x="498" y="864"/>
                  </a:lnTo>
                  <a:lnTo>
                    <a:pt x="474" y="864"/>
                  </a:lnTo>
                  <a:lnTo>
                    <a:pt x="468" y="858"/>
                  </a:lnTo>
                  <a:lnTo>
                    <a:pt x="468" y="852"/>
                  </a:lnTo>
                  <a:lnTo>
                    <a:pt x="468" y="846"/>
                  </a:lnTo>
                  <a:lnTo>
                    <a:pt x="474" y="840"/>
                  </a:lnTo>
                  <a:lnTo>
                    <a:pt x="474" y="834"/>
                  </a:lnTo>
                  <a:lnTo>
                    <a:pt x="480" y="828"/>
                  </a:lnTo>
                  <a:lnTo>
                    <a:pt x="492" y="822"/>
                  </a:lnTo>
                  <a:lnTo>
                    <a:pt x="492" y="810"/>
                  </a:lnTo>
                  <a:close/>
                  <a:moveTo>
                    <a:pt x="384" y="720"/>
                  </a:moveTo>
                  <a:lnTo>
                    <a:pt x="384" y="726"/>
                  </a:lnTo>
                  <a:lnTo>
                    <a:pt x="390" y="726"/>
                  </a:lnTo>
                  <a:lnTo>
                    <a:pt x="396" y="726"/>
                  </a:lnTo>
                  <a:lnTo>
                    <a:pt x="402" y="732"/>
                  </a:lnTo>
                  <a:lnTo>
                    <a:pt x="408" y="732"/>
                  </a:lnTo>
                  <a:lnTo>
                    <a:pt x="414" y="732"/>
                  </a:lnTo>
                  <a:lnTo>
                    <a:pt x="414" y="738"/>
                  </a:lnTo>
                  <a:lnTo>
                    <a:pt x="414" y="744"/>
                  </a:lnTo>
                  <a:lnTo>
                    <a:pt x="414" y="750"/>
                  </a:lnTo>
                  <a:lnTo>
                    <a:pt x="414" y="756"/>
                  </a:lnTo>
                  <a:lnTo>
                    <a:pt x="414" y="762"/>
                  </a:lnTo>
                  <a:lnTo>
                    <a:pt x="420" y="768"/>
                  </a:lnTo>
                  <a:lnTo>
                    <a:pt x="420" y="774"/>
                  </a:lnTo>
                  <a:lnTo>
                    <a:pt x="426" y="780"/>
                  </a:lnTo>
                  <a:lnTo>
                    <a:pt x="426" y="786"/>
                  </a:lnTo>
                  <a:lnTo>
                    <a:pt x="420" y="786"/>
                  </a:lnTo>
                  <a:lnTo>
                    <a:pt x="420" y="792"/>
                  </a:lnTo>
                  <a:lnTo>
                    <a:pt x="420" y="798"/>
                  </a:lnTo>
                  <a:lnTo>
                    <a:pt x="420" y="804"/>
                  </a:lnTo>
                  <a:lnTo>
                    <a:pt x="426" y="804"/>
                  </a:lnTo>
                  <a:lnTo>
                    <a:pt x="426" y="810"/>
                  </a:lnTo>
                  <a:lnTo>
                    <a:pt x="426" y="816"/>
                  </a:lnTo>
                  <a:lnTo>
                    <a:pt x="432" y="816"/>
                  </a:lnTo>
                  <a:lnTo>
                    <a:pt x="438" y="816"/>
                  </a:lnTo>
                  <a:lnTo>
                    <a:pt x="438" y="822"/>
                  </a:lnTo>
                  <a:lnTo>
                    <a:pt x="432" y="822"/>
                  </a:lnTo>
                  <a:lnTo>
                    <a:pt x="426" y="828"/>
                  </a:lnTo>
                  <a:lnTo>
                    <a:pt x="420" y="828"/>
                  </a:lnTo>
                  <a:lnTo>
                    <a:pt x="414" y="828"/>
                  </a:lnTo>
                  <a:lnTo>
                    <a:pt x="408" y="828"/>
                  </a:lnTo>
                  <a:lnTo>
                    <a:pt x="402" y="828"/>
                  </a:lnTo>
                  <a:lnTo>
                    <a:pt x="402" y="822"/>
                  </a:lnTo>
                  <a:lnTo>
                    <a:pt x="396" y="822"/>
                  </a:lnTo>
                  <a:lnTo>
                    <a:pt x="402" y="822"/>
                  </a:lnTo>
                  <a:lnTo>
                    <a:pt x="402" y="816"/>
                  </a:lnTo>
                  <a:lnTo>
                    <a:pt x="396" y="816"/>
                  </a:lnTo>
                  <a:lnTo>
                    <a:pt x="396" y="810"/>
                  </a:lnTo>
                  <a:lnTo>
                    <a:pt x="396" y="804"/>
                  </a:lnTo>
                  <a:lnTo>
                    <a:pt x="390" y="798"/>
                  </a:lnTo>
                  <a:lnTo>
                    <a:pt x="390" y="792"/>
                  </a:lnTo>
                  <a:lnTo>
                    <a:pt x="390" y="786"/>
                  </a:lnTo>
                  <a:lnTo>
                    <a:pt x="390" y="780"/>
                  </a:lnTo>
                  <a:lnTo>
                    <a:pt x="390" y="774"/>
                  </a:lnTo>
                  <a:lnTo>
                    <a:pt x="390" y="768"/>
                  </a:lnTo>
                  <a:lnTo>
                    <a:pt x="390" y="762"/>
                  </a:lnTo>
                  <a:lnTo>
                    <a:pt x="384" y="756"/>
                  </a:lnTo>
                  <a:lnTo>
                    <a:pt x="384" y="750"/>
                  </a:lnTo>
                  <a:lnTo>
                    <a:pt x="384" y="744"/>
                  </a:lnTo>
                  <a:lnTo>
                    <a:pt x="378" y="744"/>
                  </a:lnTo>
                  <a:lnTo>
                    <a:pt x="384" y="744"/>
                  </a:lnTo>
                  <a:lnTo>
                    <a:pt x="384" y="738"/>
                  </a:lnTo>
                  <a:lnTo>
                    <a:pt x="378" y="738"/>
                  </a:lnTo>
                  <a:lnTo>
                    <a:pt x="378" y="732"/>
                  </a:lnTo>
                  <a:lnTo>
                    <a:pt x="378" y="726"/>
                  </a:lnTo>
                  <a:lnTo>
                    <a:pt x="378" y="720"/>
                  </a:lnTo>
                  <a:lnTo>
                    <a:pt x="384" y="720"/>
                  </a:lnTo>
                  <a:close/>
                  <a:moveTo>
                    <a:pt x="330" y="738"/>
                  </a:moveTo>
                  <a:lnTo>
                    <a:pt x="336" y="732"/>
                  </a:lnTo>
                  <a:lnTo>
                    <a:pt x="336" y="726"/>
                  </a:lnTo>
                  <a:lnTo>
                    <a:pt x="342" y="720"/>
                  </a:lnTo>
                  <a:lnTo>
                    <a:pt x="348" y="720"/>
                  </a:lnTo>
                  <a:lnTo>
                    <a:pt x="360" y="720"/>
                  </a:lnTo>
                  <a:lnTo>
                    <a:pt x="366" y="726"/>
                  </a:lnTo>
                  <a:lnTo>
                    <a:pt x="372" y="732"/>
                  </a:lnTo>
                  <a:lnTo>
                    <a:pt x="372" y="738"/>
                  </a:lnTo>
                  <a:lnTo>
                    <a:pt x="366" y="750"/>
                  </a:lnTo>
                  <a:lnTo>
                    <a:pt x="372" y="756"/>
                  </a:lnTo>
                  <a:lnTo>
                    <a:pt x="372" y="762"/>
                  </a:lnTo>
                  <a:lnTo>
                    <a:pt x="372" y="768"/>
                  </a:lnTo>
                  <a:lnTo>
                    <a:pt x="372" y="774"/>
                  </a:lnTo>
                  <a:lnTo>
                    <a:pt x="372" y="780"/>
                  </a:lnTo>
                  <a:lnTo>
                    <a:pt x="372" y="774"/>
                  </a:lnTo>
                  <a:lnTo>
                    <a:pt x="366" y="768"/>
                  </a:lnTo>
                  <a:lnTo>
                    <a:pt x="366" y="762"/>
                  </a:lnTo>
                  <a:lnTo>
                    <a:pt x="366" y="756"/>
                  </a:lnTo>
                  <a:lnTo>
                    <a:pt x="360" y="756"/>
                  </a:lnTo>
                  <a:lnTo>
                    <a:pt x="360" y="750"/>
                  </a:lnTo>
                  <a:lnTo>
                    <a:pt x="354" y="750"/>
                  </a:lnTo>
                  <a:lnTo>
                    <a:pt x="348" y="744"/>
                  </a:lnTo>
                  <a:lnTo>
                    <a:pt x="342" y="744"/>
                  </a:lnTo>
                  <a:lnTo>
                    <a:pt x="336" y="744"/>
                  </a:lnTo>
                  <a:lnTo>
                    <a:pt x="330" y="73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1" name="Freeform 6">
              <a:extLst>
                <a:ext uri="{FF2B5EF4-FFF2-40B4-BE49-F238E27FC236}">
                  <a16:creationId xmlns:a16="http://schemas.microsoft.com/office/drawing/2014/main" id="{0656C385-F30A-4AC8-AE9F-B1F66208B38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3123" y="4163918"/>
              <a:ext cx="266107" cy="248252"/>
            </a:xfrm>
            <a:custGeom>
              <a:avLst/>
              <a:gdLst>
                <a:gd name="T0" fmla="*/ 33 w 504"/>
                <a:gd name="T1" fmla="*/ 41 h 468"/>
                <a:gd name="T2" fmla="*/ 26 w 504"/>
                <a:gd name="T3" fmla="*/ 39 h 468"/>
                <a:gd name="T4" fmla="*/ 21 w 504"/>
                <a:gd name="T5" fmla="*/ 38 h 468"/>
                <a:gd name="T6" fmla="*/ 18 w 504"/>
                <a:gd name="T7" fmla="*/ 38 h 468"/>
                <a:gd name="T8" fmla="*/ 15 w 504"/>
                <a:gd name="T9" fmla="*/ 39 h 468"/>
                <a:gd name="T10" fmla="*/ 12 w 504"/>
                <a:gd name="T11" fmla="*/ 38 h 468"/>
                <a:gd name="T12" fmla="*/ 9 w 504"/>
                <a:gd name="T13" fmla="*/ 37 h 468"/>
                <a:gd name="T14" fmla="*/ 7 w 504"/>
                <a:gd name="T15" fmla="*/ 32 h 468"/>
                <a:gd name="T16" fmla="*/ 6 w 504"/>
                <a:gd name="T17" fmla="*/ 26 h 468"/>
                <a:gd name="T18" fmla="*/ 3 w 504"/>
                <a:gd name="T19" fmla="*/ 24 h 468"/>
                <a:gd name="T20" fmla="*/ 1 w 504"/>
                <a:gd name="T21" fmla="*/ 24 h 468"/>
                <a:gd name="T22" fmla="*/ 2 w 504"/>
                <a:gd name="T23" fmla="*/ 18 h 468"/>
                <a:gd name="T24" fmla="*/ 1 w 504"/>
                <a:gd name="T25" fmla="*/ 17 h 468"/>
                <a:gd name="T26" fmla="*/ 0 w 504"/>
                <a:gd name="T27" fmla="*/ 17 h 468"/>
                <a:gd name="T28" fmla="*/ 0 w 504"/>
                <a:gd name="T29" fmla="*/ 15 h 468"/>
                <a:gd name="T30" fmla="*/ 2 w 504"/>
                <a:gd name="T31" fmla="*/ 12 h 468"/>
                <a:gd name="T32" fmla="*/ 4 w 504"/>
                <a:gd name="T33" fmla="*/ 10 h 468"/>
                <a:gd name="T34" fmla="*/ 6 w 504"/>
                <a:gd name="T35" fmla="*/ 8 h 468"/>
                <a:gd name="T36" fmla="*/ 8 w 504"/>
                <a:gd name="T37" fmla="*/ 8 h 468"/>
                <a:gd name="T38" fmla="*/ 10 w 504"/>
                <a:gd name="T39" fmla="*/ 9 h 468"/>
                <a:gd name="T40" fmla="*/ 12 w 504"/>
                <a:gd name="T41" fmla="*/ 10 h 468"/>
                <a:gd name="T42" fmla="*/ 12 w 504"/>
                <a:gd name="T43" fmla="*/ 11 h 468"/>
                <a:gd name="T44" fmla="*/ 14 w 504"/>
                <a:gd name="T45" fmla="*/ 8 h 468"/>
                <a:gd name="T46" fmla="*/ 15 w 504"/>
                <a:gd name="T47" fmla="*/ 7 h 468"/>
                <a:gd name="T48" fmla="*/ 17 w 504"/>
                <a:gd name="T49" fmla="*/ 6 h 468"/>
                <a:gd name="T50" fmla="*/ 19 w 504"/>
                <a:gd name="T51" fmla="*/ 3 h 468"/>
                <a:gd name="T52" fmla="*/ 20 w 504"/>
                <a:gd name="T53" fmla="*/ 2 h 468"/>
                <a:gd name="T54" fmla="*/ 22 w 504"/>
                <a:gd name="T55" fmla="*/ 1 h 468"/>
                <a:gd name="T56" fmla="*/ 27 w 504"/>
                <a:gd name="T57" fmla="*/ 1 h 468"/>
                <a:gd name="T58" fmla="*/ 30 w 504"/>
                <a:gd name="T59" fmla="*/ 2 h 468"/>
                <a:gd name="T60" fmla="*/ 31 w 504"/>
                <a:gd name="T61" fmla="*/ 2 h 468"/>
                <a:gd name="T62" fmla="*/ 34 w 504"/>
                <a:gd name="T63" fmla="*/ 0 h 468"/>
                <a:gd name="T64" fmla="*/ 37 w 504"/>
                <a:gd name="T65" fmla="*/ 1 h 468"/>
                <a:gd name="T66" fmla="*/ 41 w 504"/>
                <a:gd name="T67" fmla="*/ 2 h 468"/>
                <a:gd name="T68" fmla="*/ 42 w 504"/>
                <a:gd name="T69" fmla="*/ 4 h 468"/>
                <a:gd name="T70" fmla="*/ 42 w 504"/>
                <a:gd name="T71" fmla="*/ 10 h 468"/>
                <a:gd name="T72" fmla="*/ 41 w 504"/>
                <a:gd name="T73" fmla="*/ 14 h 468"/>
                <a:gd name="T74" fmla="*/ 42 w 504"/>
                <a:gd name="T75" fmla="*/ 15 h 468"/>
                <a:gd name="T76" fmla="*/ 44 w 504"/>
                <a:gd name="T77" fmla="*/ 18 h 468"/>
                <a:gd name="T78" fmla="*/ 43 w 504"/>
                <a:gd name="T79" fmla="*/ 19 h 468"/>
                <a:gd name="T80" fmla="*/ 42 w 504"/>
                <a:gd name="T81" fmla="*/ 21 h 468"/>
                <a:gd name="T82" fmla="*/ 42 w 504"/>
                <a:gd name="T83" fmla="*/ 23 h 468"/>
                <a:gd name="T84" fmla="*/ 39 w 504"/>
                <a:gd name="T85" fmla="*/ 27 h 468"/>
                <a:gd name="T86" fmla="*/ 38 w 504"/>
                <a:gd name="T87" fmla="*/ 29 h 468"/>
                <a:gd name="T88" fmla="*/ 38 w 504"/>
                <a:gd name="T89" fmla="*/ 31 h 468"/>
                <a:gd name="T90" fmla="*/ 36 w 504"/>
                <a:gd name="T91" fmla="*/ 32 h 468"/>
                <a:gd name="T92" fmla="*/ 35 w 504"/>
                <a:gd name="T93" fmla="*/ 34 h 468"/>
                <a:gd name="T94" fmla="*/ 34 w 504"/>
                <a:gd name="T95" fmla="*/ 38 h 46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04"/>
                <a:gd name="T145" fmla="*/ 0 h 468"/>
                <a:gd name="T146" fmla="*/ 504 w 504"/>
                <a:gd name="T147" fmla="*/ 468 h 46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04" h="468">
                  <a:moveTo>
                    <a:pt x="390" y="456"/>
                  </a:moveTo>
                  <a:lnTo>
                    <a:pt x="384" y="468"/>
                  </a:lnTo>
                  <a:lnTo>
                    <a:pt x="378" y="468"/>
                  </a:lnTo>
                  <a:lnTo>
                    <a:pt x="354" y="468"/>
                  </a:lnTo>
                  <a:lnTo>
                    <a:pt x="348" y="462"/>
                  </a:lnTo>
                  <a:lnTo>
                    <a:pt x="300" y="456"/>
                  </a:lnTo>
                  <a:lnTo>
                    <a:pt x="270" y="444"/>
                  </a:lnTo>
                  <a:lnTo>
                    <a:pt x="252" y="438"/>
                  </a:lnTo>
                  <a:lnTo>
                    <a:pt x="240" y="438"/>
                  </a:lnTo>
                  <a:lnTo>
                    <a:pt x="234" y="438"/>
                  </a:lnTo>
                  <a:lnTo>
                    <a:pt x="228" y="444"/>
                  </a:lnTo>
                  <a:lnTo>
                    <a:pt x="210" y="444"/>
                  </a:lnTo>
                  <a:lnTo>
                    <a:pt x="198" y="444"/>
                  </a:lnTo>
                  <a:lnTo>
                    <a:pt x="198" y="450"/>
                  </a:lnTo>
                  <a:lnTo>
                    <a:pt x="168" y="456"/>
                  </a:lnTo>
                  <a:lnTo>
                    <a:pt x="150" y="450"/>
                  </a:lnTo>
                  <a:lnTo>
                    <a:pt x="144" y="444"/>
                  </a:lnTo>
                  <a:lnTo>
                    <a:pt x="132" y="438"/>
                  </a:lnTo>
                  <a:lnTo>
                    <a:pt x="138" y="432"/>
                  </a:lnTo>
                  <a:lnTo>
                    <a:pt x="114" y="432"/>
                  </a:lnTo>
                  <a:lnTo>
                    <a:pt x="102" y="426"/>
                  </a:lnTo>
                  <a:lnTo>
                    <a:pt x="90" y="414"/>
                  </a:lnTo>
                  <a:lnTo>
                    <a:pt x="72" y="402"/>
                  </a:lnTo>
                  <a:lnTo>
                    <a:pt x="78" y="366"/>
                  </a:lnTo>
                  <a:lnTo>
                    <a:pt x="78" y="330"/>
                  </a:lnTo>
                  <a:lnTo>
                    <a:pt x="66" y="318"/>
                  </a:lnTo>
                  <a:lnTo>
                    <a:pt x="66" y="300"/>
                  </a:lnTo>
                  <a:lnTo>
                    <a:pt x="66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30" y="282"/>
                  </a:lnTo>
                  <a:lnTo>
                    <a:pt x="24" y="282"/>
                  </a:lnTo>
                  <a:lnTo>
                    <a:pt x="12" y="276"/>
                  </a:lnTo>
                  <a:lnTo>
                    <a:pt x="0" y="282"/>
                  </a:lnTo>
                  <a:lnTo>
                    <a:pt x="12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2" y="198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6" y="180"/>
                  </a:lnTo>
                  <a:lnTo>
                    <a:pt x="12" y="186"/>
                  </a:lnTo>
                  <a:lnTo>
                    <a:pt x="18" y="138"/>
                  </a:lnTo>
                  <a:lnTo>
                    <a:pt x="24" y="126"/>
                  </a:lnTo>
                  <a:lnTo>
                    <a:pt x="30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20" y="102"/>
                  </a:lnTo>
                  <a:lnTo>
                    <a:pt x="126" y="108"/>
                  </a:lnTo>
                  <a:lnTo>
                    <a:pt x="126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0"/>
                  </a:lnTo>
                  <a:lnTo>
                    <a:pt x="156" y="96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16" y="42"/>
                  </a:lnTo>
                  <a:lnTo>
                    <a:pt x="222" y="36"/>
                  </a:lnTo>
                  <a:lnTo>
                    <a:pt x="228" y="36"/>
                  </a:lnTo>
                  <a:lnTo>
                    <a:pt x="228" y="30"/>
                  </a:lnTo>
                  <a:lnTo>
                    <a:pt x="228" y="24"/>
                  </a:lnTo>
                  <a:lnTo>
                    <a:pt x="246" y="18"/>
                  </a:lnTo>
                  <a:lnTo>
                    <a:pt x="252" y="18"/>
                  </a:lnTo>
                  <a:lnTo>
                    <a:pt x="258" y="12"/>
                  </a:lnTo>
                  <a:lnTo>
                    <a:pt x="270" y="6"/>
                  </a:lnTo>
                  <a:lnTo>
                    <a:pt x="288" y="6"/>
                  </a:lnTo>
                  <a:lnTo>
                    <a:pt x="312" y="12"/>
                  </a:lnTo>
                  <a:lnTo>
                    <a:pt x="324" y="12"/>
                  </a:lnTo>
                  <a:lnTo>
                    <a:pt x="336" y="18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14" y="12"/>
                  </a:lnTo>
                  <a:lnTo>
                    <a:pt x="426" y="12"/>
                  </a:lnTo>
                  <a:lnTo>
                    <a:pt x="444" y="18"/>
                  </a:lnTo>
                  <a:lnTo>
                    <a:pt x="462" y="18"/>
                  </a:lnTo>
                  <a:lnTo>
                    <a:pt x="474" y="18"/>
                  </a:lnTo>
                  <a:lnTo>
                    <a:pt x="480" y="18"/>
                  </a:lnTo>
                  <a:lnTo>
                    <a:pt x="486" y="36"/>
                  </a:lnTo>
                  <a:lnTo>
                    <a:pt x="480" y="42"/>
                  </a:lnTo>
                  <a:lnTo>
                    <a:pt x="480" y="54"/>
                  </a:lnTo>
                  <a:lnTo>
                    <a:pt x="486" y="78"/>
                  </a:lnTo>
                  <a:lnTo>
                    <a:pt x="486" y="114"/>
                  </a:lnTo>
                  <a:lnTo>
                    <a:pt x="486" y="150"/>
                  </a:lnTo>
                  <a:lnTo>
                    <a:pt x="468" y="150"/>
                  </a:lnTo>
                  <a:lnTo>
                    <a:pt x="474" y="162"/>
                  </a:lnTo>
                  <a:lnTo>
                    <a:pt x="480" y="162"/>
                  </a:lnTo>
                  <a:lnTo>
                    <a:pt x="486" y="174"/>
                  </a:lnTo>
                  <a:lnTo>
                    <a:pt x="492" y="174"/>
                  </a:lnTo>
                  <a:lnTo>
                    <a:pt x="492" y="192"/>
                  </a:lnTo>
                  <a:lnTo>
                    <a:pt x="498" y="198"/>
                  </a:lnTo>
                  <a:lnTo>
                    <a:pt x="504" y="204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8" y="222"/>
                  </a:lnTo>
                  <a:lnTo>
                    <a:pt x="492" y="228"/>
                  </a:lnTo>
                  <a:lnTo>
                    <a:pt x="492" y="234"/>
                  </a:lnTo>
                  <a:lnTo>
                    <a:pt x="492" y="240"/>
                  </a:lnTo>
                  <a:lnTo>
                    <a:pt x="486" y="246"/>
                  </a:lnTo>
                  <a:lnTo>
                    <a:pt x="486" y="258"/>
                  </a:lnTo>
                  <a:lnTo>
                    <a:pt x="480" y="264"/>
                  </a:lnTo>
                  <a:lnTo>
                    <a:pt x="474" y="276"/>
                  </a:lnTo>
                  <a:lnTo>
                    <a:pt x="468" y="288"/>
                  </a:lnTo>
                  <a:lnTo>
                    <a:pt x="456" y="306"/>
                  </a:lnTo>
                  <a:lnTo>
                    <a:pt x="456" y="312"/>
                  </a:lnTo>
                  <a:lnTo>
                    <a:pt x="444" y="318"/>
                  </a:lnTo>
                  <a:lnTo>
                    <a:pt x="432" y="336"/>
                  </a:lnTo>
                  <a:lnTo>
                    <a:pt x="432" y="342"/>
                  </a:lnTo>
                  <a:lnTo>
                    <a:pt x="432" y="348"/>
                  </a:lnTo>
                  <a:lnTo>
                    <a:pt x="432" y="354"/>
                  </a:lnTo>
                  <a:lnTo>
                    <a:pt x="426" y="366"/>
                  </a:lnTo>
                  <a:lnTo>
                    <a:pt x="420" y="366"/>
                  </a:lnTo>
                  <a:lnTo>
                    <a:pt x="420" y="372"/>
                  </a:lnTo>
                  <a:lnTo>
                    <a:pt x="414" y="378"/>
                  </a:lnTo>
                  <a:lnTo>
                    <a:pt x="414" y="390"/>
                  </a:lnTo>
                  <a:lnTo>
                    <a:pt x="408" y="390"/>
                  </a:lnTo>
                  <a:lnTo>
                    <a:pt x="408" y="402"/>
                  </a:lnTo>
                  <a:lnTo>
                    <a:pt x="402" y="414"/>
                  </a:lnTo>
                  <a:lnTo>
                    <a:pt x="396" y="438"/>
                  </a:lnTo>
                  <a:lnTo>
                    <a:pt x="396" y="444"/>
                  </a:lnTo>
                  <a:lnTo>
                    <a:pt x="390" y="45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11" name="Freeform 7">
              <a:extLst>
                <a:ext uri="{FF2B5EF4-FFF2-40B4-BE49-F238E27FC236}">
                  <a16:creationId xmlns:a16="http://schemas.microsoft.com/office/drawing/2014/main" id="{0D8DE62D-4554-4314-9F3A-7208D89B4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90838" y="4128134"/>
              <a:ext cx="283995" cy="411516"/>
            </a:xfrm>
            <a:custGeom>
              <a:avLst/>
              <a:gdLst>
                <a:gd name="T0" fmla="*/ 39 w 534"/>
                <a:gd name="T1" fmla="*/ 35 h 774"/>
                <a:gd name="T2" fmla="*/ 35 w 534"/>
                <a:gd name="T3" fmla="*/ 31 h 774"/>
                <a:gd name="T4" fmla="*/ 32 w 534"/>
                <a:gd name="T5" fmla="*/ 29 h 774"/>
                <a:gd name="T6" fmla="*/ 32 w 534"/>
                <a:gd name="T7" fmla="*/ 31 h 774"/>
                <a:gd name="T8" fmla="*/ 29 w 534"/>
                <a:gd name="T9" fmla="*/ 33 h 774"/>
                <a:gd name="T10" fmla="*/ 27 w 534"/>
                <a:gd name="T11" fmla="*/ 36 h 774"/>
                <a:gd name="T12" fmla="*/ 30 w 534"/>
                <a:gd name="T13" fmla="*/ 38 h 774"/>
                <a:gd name="T14" fmla="*/ 29 w 534"/>
                <a:gd name="T15" fmla="*/ 40 h 774"/>
                <a:gd name="T16" fmla="*/ 25 w 534"/>
                <a:gd name="T17" fmla="*/ 40 h 774"/>
                <a:gd name="T18" fmla="*/ 23 w 534"/>
                <a:gd name="T19" fmla="*/ 42 h 774"/>
                <a:gd name="T20" fmla="*/ 22 w 534"/>
                <a:gd name="T21" fmla="*/ 47 h 774"/>
                <a:gd name="T22" fmla="*/ 22 w 534"/>
                <a:gd name="T23" fmla="*/ 51 h 774"/>
                <a:gd name="T24" fmla="*/ 22 w 534"/>
                <a:gd name="T25" fmla="*/ 54 h 774"/>
                <a:gd name="T26" fmla="*/ 21 w 534"/>
                <a:gd name="T27" fmla="*/ 56 h 774"/>
                <a:gd name="T28" fmla="*/ 19 w 534"/>
                <a:gd name="T29" fmla="*/ 58 h 774"/>
                <a:gd name="T30" fmla="*/ 20 w 534"/>
                <a:gd name="T31" fmla="*/ 59 h 774"/>
                <a:gd name="T32" fmla="*/ 19 w 534"/>
                <a:gd name="T33" fmla="*/ 62 h 774"/>
                <a:gd name="T34" fmla="*/ 19 w 534"/>
                <a:gd name="T35" fmla="*/ 64 h 774"/>
                <a:gd name="T36" fmla="*/ 20 w 534"/>
                <a:gd name="T37" fmla="*/ 66 h 774"/>
                <a:gd name="T38" fmla="*/ 17 w 534"/>
                <a:gd name="T39" fmla="*/ 66 h 774"/>
                <a:gd name="T40" fmla="*/ 16 w 534"/>
                <a:gd name="T41" fmla="*/ 65 h 774"/>
                <a:gd name="T42" fmla="*/ 13 w 534"/>
                <a:gd name="T43" fmla="*/ 65 h 774"/>
                <a:gd name="T44" fmla="*/ 11 w 534"/>
                <a:gd name="T45" fmla="*/ 65 h 774"/>
                <a:gd name="T46" fmla="*/ 8 w 534"/>
                <a:gd name="T47" fmla="*/ 65 h 774"/>
                <a:gd name="T48" fmla="*/ 8 w 534"/>
                <a:gd name="T49" fmla="*/ 64 h 774"/>
                <a:gd name="T50" fmla="*/ 5 w 534"/>
                <a:gd name="T51" fmla="*/ 65 h 774"/>
                <a:gd name="T52" fmla="*/ 3 w 534"/>
                <a:gd name="T53" fmla="*/ 65 h 774"/>
                <a:gd name="T54" fmla="*/ 0 w 534"/>
                <a:gd name="T55" fmla="*/ 64 h 774"/>
                <a:gd name="T56" fmla="*/ 0 w 534"/>
                <a:gd name="T57" fmla="*/ 62 h 774"/>
                <a:gd name="T58" fmla="*/ 3 w 534"/>
                <a:gd name="T59" fmla="*/ 60 h 774"/>
                <a:gd name="T60" fmla="*/ 6 w 534"/>
                <a:gd name="T61" fmla="*/ 57 h 774"/>
                <a:gd name="T62" fmla="*/ 8 w 534"/>
                <a:gd name="T63" fmla="*/ 50 h 774"/>
                <a:gd name="T64" fmla="*/ 6 w 534"/>
                <a:gd name="T65" fmla="*/ 45 h 774"/>
                <a:gd name="T66" fmla="*/ 8 w 534"/>
                <a:gd name="T67" fmla="*/ 41 h 774"/>
                <a:gd name="T68" fmla="*/ 9 w 534"/>
                <a:gd name="T69" fmla="*/ 38 h 774"/>
                <a:gd name="T70" fmla="*/ 10 w 534"/>
                <a:gd name="T71" fmla="*/ 36 h 774"/>
                <a:gd name="T72" fmla="*/ 12 w 534"/>
                <a:gd name="T73" fmla="*/ 33 h 774"/>
                <a:gd name="T74" fmla="*/ 14 w 534"/>
                <a:gd name="T75" fmla="*/ 29 h 774"/>
                <a:gd name="T76" fmla="*/ 16 w 534"/>
                <a:gd name="T77" fmla="*/ 26 h 774"/>
                <a:gd name="T78" fmla="*/ 16 w 534"/>
                <a:gd name="T79" fmla="*/ 24 h 774"/>
                <a:gd name="T80" fmla="*/ 16 w 534"/>
                <a:gd name="T81" fmla="*/ 21 h 774"/>
                <a:gd name="T82" fmla="*/ 13 w 534"/>
                <a:gd name="T83" fmla="*/ 19 h 774"/>
                <a:gd name="T84" fmla="*/ 14 w 534"/>
                <a:gd name="T85" fmla="*/ 10 h 774"/>
                <a:gd name="T86" fmla="*/ 14 w 534"/>
                <a:gd name="T87" fmla="*/ 7 h 774"/>
                <a:gd name="T88" fmla="*/ 8 w 534"/>
                <a:gd name="T89" fmla="*/ 7 h 774"/>
                <a:gd name="T90" fmla="*/ 7 w 534"/>
                <a:gd name="T91" fmla="*/ 3 h 774"/>
                <a:gd name="T92" fmla="*/ 11 w 534"/>
                <a:gd name="T93" fmla="*/ 1 h 774"/>
                <a:gd name="T94" fmla="*/ 12 w 534"/>
                <a:gd name="T95" fmla="*/ 0 h 774"/>
                <a:gd name="T96" fmla="*/ 16 w 534"/>
                <a:gd name="T97" fmla="*/ 2 h 774"/>
                <a:gd name="T98" fmla="*/ 20 w 534"/>
                <a:gd name="T99" fmla="*/ 2 h 774"/>
                <a:gd name="T100" fmla="*/ 23 w 534"/>
                <a:gd name="T101" fmla="*/ 3 h 774"/>
                <a:gd name="T102" fmla="*/ 23 w 534"/>
                <a:gd name="T103" fmla="*/ 10 h 774"/>
                <a:gd name="T104" fmla="*/ 29 w 534"/>
                <a:gd name="T105" fmla="*/ 12 h 774"/>
                <a:gd name="T106" fmla="*/ 35 w 534"/>
                <a:gd name="T107" fmla="*/ 12 h 774"/>
                <a:gd name="T108" fmla="*/ 38 w 534"/>
                <a:gd name="T109" fmla="*/ 17 h 774"/>
                <a:gd name="T110" fmla="*/ 40 w 534"/>
                <a:gd name="T111" fmla="*/ 19 h 774"/>
                <a:gd name="T112" fmla="*/ 44 w 534"/>
                <a:gd name="T113" fmla="*/ 23 h 774"/>
                <a:gd name="T114" fmla="*/ 44 w 534"/>
                <a:gd name="T115" fmla="*/ 30 h 774"/>
                <a:gd name="T116" fmla="*/ 46 w 534"/>
                <a:gd name="T117" fmla="*/ 36 h 774"/>
                <a:gd name="T118" fmla="*/ 41 w 534"/>
                <a:gd name="T119" fmla="*/ 37 h 77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34"/>
                <a:gd name="T181" fmla="*/ 0 h 774"/>
                <a:gd name="T182" fmla="*/ 534 w 534"/>
                <a:gd name="T183" fmla="*/ 774 h 77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34" h="774">
                  <a:moveTo>
                    <a:pt x="462" y="426"/>
                  </a:moveTo>
                  <a:lnTo>
                    <a:pt x="462" y="414"/>
                  </a:lnTo>
                  <a:lnTo>
                    <a:pt x="450" y="402"/>
                  </a:lnTo>
                  <a:lnTo>
                    <a:pt x="444" y="396"/>
                  </a:lnTo>
                  <a:lnTo>
                    <a:pt x="420" y="396"/>
                  </a:lnTo>
                  <a:lnTo>
                    <a:pt x="408" y="390"/>
                  </a:lnTo>
                  <a:lnTo>
                    <a:pt x="402" y="366"/>
                  </a:lnTo>
                  <a:lnTo>
                    <a:pt x="390" y="354"/>
                  </a:lnTo>
                  <a:lnTo>
                    <a:pt x="384" y="336"/>
                  </a:lnTo>
                  <a:lnTo>
                    <a:pt x="378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8" y="348"/>
                  </a:lnTo>
                  <a:lnTo>
                    <a:pt x="360" y="354"/>
                  </a:lnTo>
                  <a:lnTo>
                    <a:pt x="360" y="390"/>
                  </a:lnTo>
                  <a:lnTo>
                    <a:pt x="348" y="390"/>
                  </a:lnTo>
                  <a:lnTo>
                    <a:pt x="342" y="384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90"/>
                  </a:lnTo>
                  <a:lnTo>
                    <a:pt x="312" y="402"/>
                  </a:lnTo>
                  <a:lnTo>
                    <a:pt x="306" y="420"/>
                  </a:lnTo>
                  <a:lnTo>
                    <a:pt x="324" y="414"/>
                  </a:lnTo>
                  <a:lnTo>
                    <a:pt x="330" y="414"/>
                  </a:lnTo>
                  <a:lnTo>
                    <a:pt x="336" y="420"/>
                  </a:lnTo>
                  <a:lnTo>
                    <a:pt x="336" y="432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6"/>
                  </a:lnTo>
                  <a:lnTo>
                    <a:pt x="318" y="456"/>
                  </a:lnTo>
                  <a:lnTo>
                    <a:pt x="300" y="456"/>
                  </a:lnTo>
                  <a:lnTo>
                    <a:pt x="288" y="462"/>
                  </a:lnTo>
                  <a:lnTo>
                    <a:pt x="276" y="462"/>
                  </a:lnTo>
                  <a:lnTo>
                    <a:pt x="270" y="462"/>
                  </a:lnTo>
                  <a:lnTo>
                    <a:pt x="270" y="468"/>
                  </a:lnTo>
                  <a:lnTo>
                    <a:pt x="252" y="468"/>
                  </a:lnTo>
                  <a:lnTo>
                    <a:pt x="258" y="480"/>
                  </a:lnTo>
                  <a:lnTo>
                    <a:pt x="258" y="492"/>
                  </a:lnTo>
                  <a:lnTo>
                    <a:pt x="258" y="498"/>
                  </a:lnTo>
                  <a:lnTo>
                    <a:pt x="258" y="510"/>
                  </a:lnTo>
                  <a:lnTo>
                    <a:pt x="252" y="540"/>
                  </a:lnTo>
                  <a:lnTo>
                    <a:pt x="246" y="564"/>
                  </a:lnTo>
                  <a:lnTo>
                    <a:pt x="246" y="570"/>
                  </a:lnTo>
                  <a:lnTo>
                    <a:pt x="252" y="576"/>
                  </a:lnTo>
                  <a:lnTo>
                    <a:pt x="246" y="582"/>
                  </a:lnTo>
                  <a:lnTo>
                    <a:pt x="252" y="600"/>
                  </a:lnTo>
                  <a:lnTo>
                    <a:pt x="258" y="606"/>
                  </a:lnTo>
                  <a:lnTo>
                    <a:pt x="258" y="612"/>
                  </a:lnTo>
                  <a:lnTo>
                    <a:pt x="252" y="618"/>
                  </a:lnTo>
                  <a:lnTo>
                    <a:pt x="246" y="624"/>
                  </a:lnTo>
                  <a:lnTo>
                    <a:pt x="246" y="630"/>
                  </a:lnTo>
                  <a:lnTo>
                    <a:pt x="246" y="636"/>
                  </a:lnTo>
                  <a:lnTo>
                    <a:pt x="240" y="642"/>
                  </a:lnTo>
                  <a:lnTo>
                    <a:pt x="234" y="654"/>
                  </a:lnTo>
                  <a:lnTo>
                    <a:pt x="228" y="654"/>
                  </a:lnTo>
                  <a:lnTo>
                    <a:pt x="222" y="660"/>
                  </a:lnTo>
                  <a:lnTo>
                    <a:pt x="216" y="666"/>
                  </a:lnTo>
                  <a:lnTo>
                    <a:pt x="210" y="666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22" y="684"/>
                  </a:lnTo>
                  <a:lnTo>
                    <a:pt x="222" y="690"/>
                  </a:lnTo>
                  <a:lnTo>
                    <a:pt x="222" y="696"/>
                  </a:lnTo>
                  <a:lnTo>
                    <a:pt x="222" y="702"/>
                  </a:lnTo>
                  <a:lnTo>
                    <a:pt x="216" y="708"/>
                  </a:lnTo>
                  <a:lnTo>
                    <a:pt x="210" y="720"/>
                  </a:lnTo>
                  <a:lnTo>
                    <a:pt x="216" y="732"/>
                  </a:lnTo>
                  <a:lnTo>
                    <a:pt x="210" y="732"/>
                  </a:lnTo>
                  <a:lnTo>
                    <a:pt x="216" y="738"/>
                  </a:lnTo>
                  <a:lnTo>
                    <a:pt x="216" y="744"/>
                  </a:lnTo>
                  <a:lnTo>
                    <a:pt x="222" y="750"/>
                  </a:lnTo>
                  <a:lnTo>
                    <a:pt x="228" y="756"/>
                  </a:lnTo>
                  <a:lnTo>
                    <a:pt x="222" y="762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04" y="762"/>
                  </a:lnTo>
                  <a:lnTo>
                    <a:pt x="198" y="762"/>
                  </a:lnTo>
                  <a:lnTo>
                    <a:pt x="192" y="762"/>
                  </a:lnTo>
                  <a:lnTo>
                    <a:pt x="186" y="756"/>
                  </a:lnTo>
                  <a:lnTo>
                    <a:pt x="180" y="750"/>
                  </a:lnTo>
                  <a:lnTo>
                    <a:pt x="180" y="744"/>
                  </a:lnTo>
                  <a:lnTo>
                    <a:pt x="174" y="744"/>
                  </a:lnTo>
                  <a:lnTo>
                    <a:pt x="156" y="750"/>
                  </a:lnTo>
                  <a:lnTo>
                    <a:pt x="150" y="750"/>
                  </a:lnTo>
                  <a:lnTo>
                    <a:pt x="144" y="750"/>
                  </a:lnTo>
                  <a:lnTo>
                    <a:pt x="138" y="750"/>
                  </a:lnTo>
                  <a:lnTo>
                    <a:pt x="138" y="744"/>
                  </a:lnTo>
                  <a:lnTo>
                    <a:pt x="132" y="744"/>
                  </a:lnTo>
                  <a:lnTo>
                    <a:pt x="120" y="744"/>
                  </a:lnTo>
                  <a:lnTo>
                    <a:pt x="114" y="738"/>
                  </a:lnTo>
                  <a:lnTo>
                    <a:pt x="108" y="744"/>
                  </a:lnTo>
                  <a:lnTo>
                    <a:pt x="102" y="744"/>
                  </a:lnTo>
                  <a:lnTo>
                    <a:pt x="96" y="744"/>
                  </a:lnTo>
                  <a:lnTo>
                    <a:pt x="96" y="738"/>
                  </a:lnTo>
                  <a:lnTo>
                    <a:pt x="96" y="744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44"/>
                  </a:lnTo>
                  <a:lnTo>
                    <a:pt x="72" y="750"/>
                  </a:lnTo>
                  <a:lnTo>
                    <a:pt x="66" y="750"/>
                  </a:lnTo>
                  <a:lnTo>
                    <a:pt x="60" y="750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0"/>
                  </a:lnTo>
                  <a:lnTo>
                    <a:pt x="30" y="750"/>
                  </a:lnTo>
                  <a:lnTo>
                    <a:pt x="24" y="744"/>
                  </a:lnTo>
                  <a:lnTo>
                    <a:pt x="18" y="738"/>
                  </a:lnTo>
                  <a:lnTo>
                    <a:pt x="6" y="738"/>
                  </a:lnTo>
                  <a:lnTo>
                    <a:pt x="0" y="732"/>
                  </a:lnTo>
                  <a:lnTo>
                    <a:pt x="0" y="726"/>
                  </a:lnTo>
                  <a:lnTo>
                    <a:pt x="0" y="720"/>
                  </a:lnTo>
                  <a:lnTo>
                    <a:pt x="6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8" y="702"/>
                  </a:lnTo>
                  <a:lnTo>
                    <a:pt x="24" y="696"/>
                  </a:lnTo>
                  <a:lnTo>
                    <a:pt x="30" y="696"/>
                  </a:lnTo>
                  <a:lnTo>
                    <a:pt x="48" y="690"/>
                  </a:lnTo>
                  <a:lnTo>
                    <a:pt x="54" y="678"/>
                  </a:lnTo>
                  <a:lnTo>
                    <a:pt x="66" y="672"/>
                  </a:lnTo>
                  <a:lnTo>
                    <a:pt x="66" y="654"/>
                  </a:lnTo>
                  <a:lnTo>
                    <a:pt x="72" y="636"/>
                  </a:lnTo>
                  <a:lnTo>
                    <a:pt x="72" y="612"/>
                  </a:lnTo>
                  <a:lnTo>
                    <a:pt x="84" y="594"/>
                  </a:lnTo>
                  <a:lnTo>
                    <a:pt x="90" y="576"/>
                  </a:lnTo>
                  <a:lnTo>
                    <a:pt x="96" y="552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72" y="522"/>
                  </a:lnTo>
                  <a:lnTo>
                    <a:pt x="78" y="510"/>
                  </a:lnTo>
                  <a:lnTo>
                    <a:pt x="78" y="504"/>
                  </a:lnTo>
                  <a:lnTo>
                    <a:pt x="84" y="480"/>
                  </a:lnTo>
                  <a:lnTo>
                    <a:pt x="90" y="468"/>
                  </a:lnTo>
                  <a:lnTo>
                    <a:pt x="90" y="456"/>
                  </a:lnTo>
                  <a:lnTo>
                    <a:pt x="96" y="456"/>
                  </a:lnTo>
                  <a:lnTo>
                    <a:pt x="96" y="444"/>
                  </a:lnTo>
                  <a:lnTo>
                    <a:pt x="102" y="438"/>
                  </a:lnTo>
                  <a:lnTo>
                    <a:pt x="102" y="432"/>
                  </a:lnTo>
                  <a:lnTo>
                    <a:pt x="108" y="432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14" y="408"/>
                  </a:lnTo>
                  <a:lnTo>
                    <a:pt x="114" y="402"/>
                  </a:lnTo>
                  <a:lnTo>
                    <a:pt x="126" y="384"/>
                  </a:lnTo>
                  <a:lnTo>
                    <a:pt x="138" y="378"/>
                  </a:lnTo>
                  <a:lnTo>
                    <a:pt x="138" y="372"/>
                  </a:lnTo>
                  <a:lnTo>
                    <a:pt x="150" y="354"/>
                  </a:lnTo>
                  <a:lnTo>
                    <a:pt x="156" y="342"/>
                  </a:lnTo>
                  <a:lnTo>
                    <a:pt x="162" y="330"/>
                  </a:lnTo>
                  <a:lnTo>
                    <a:pt x="168" y="324"/>
                  </a:lnTo>
                  <a:lnTo>
                    <a:pt x="168" y="312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74" y="294"/>
                  </a:lnTo>
                  <a:lnTo>
                    <a:pt x="180" y="288"/>
                  </a:lnTo>
                  <a:lnTo>
                    <a:pt x="180" y="276"/>
                  </a:lnTo>
                  <a:lnTo>
                    <a:pt x="186" y="276"/>
                  </a:lnTo>
                  <a:lnTo>
                    <a:pt x="186" y="270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40"/>
                  </a:lnTo>
                  <a:lnTo>
                    <a:pt x="168" y="240"/>
                  </a:lnTo>
                  <a:lnTo>
                    <a:pt x="162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68" y="216"/>
                  </a:lnTo>
                  <a:lnTo>
                    <a:pt x="168" y="180"/>
                  </a:lnTo>
                  <a:lnTo>
                    <a:pt x="168" y="144"/>
                  </a:lnTo>
                  <a:lnTo>
                    <a:pt x="162" y="120"/>
                  </a:lnTo>
                  <a:lnTo>
                    <a:pt x="162" y="108"/>
                  </a:lnTo>
                  <a:lnTo>
                    <a:pt x="168" y="102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44" y="84"/>
                  </a:lnTo>
                  <a:lnTo>
                    <a:pt x="126" y="84"/>
                  </a:lnTo>
                  <a:lnTo>
                    <a:pt x="108" y="78"/>
                  </a:lnTo>
                  <a:lnTo>
                    <a:pt x="96" y="78"/>
                  </a:lnTo>
                  <a:lnTo>
                    <a:pt x="78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8" y="36"/>
                  </a:lnTo>
                  <a:lnTo>
                    <a:pt x="96" y="24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56" y="0"/>
                  </a:lnTo>
                  <a:lnTo>
                    <a:pt x="156" y="6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18"/>
                  </a:lnTo>
                  <a:lnTo>
                    <a:pt x="198" y="18"/>
                  </a:lnTo>
                  <a:lnTo>
                    <a:pt x="210" y="18"/>
                  </a:lnTo>
                  <a:lnTo>
                    <a:pt x="222" y="18"/>
                  </a:lnTo>
                  <a:lnTo>
                    <a:pt x="234" y="12"/>
                  </a:lnTo>
                  <a:lnTo>
                    <a:pt x="252" y="18"/>
                  </a:lnTo>
                  <a:lnTo>
                    <a:pt x="252" y="24"/>
                  </a:lnTo>
                  <a:lnTo>
                    <a:pt x="258" y="36"/>
                  </a:lnTo>
                  <a:lnTo>
                    <a:pt x="258" y="66"/>
                  </a:lnTo>
                  <a:lnTo>
                    <a:pt x="252" y="84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82" y="126"/>
                  </a:lnTo>
                  <a:lnTo>
                    <a:pt x="294" y="132"/>
                  </a:lnTo>
                  <a:lnTo>
                    <a:pt x="306" y="138"/>
                  </a:lnTo>
                  <a:lnTo>
                    <a:pt x="324" y="138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60" y="144"/>
                  </a:lnTo>
                  <a:lnTo>
                    <a:pt x="396" y="144"/>
                  </a:lnTo>
                  <a:lnTo>
                    <a:pt x="408" y="150"/>
                  </a:lnTo>
                  <a:lnTo>
                    <a:pt x="414" y="180"/>
                  </a:lnTo>
                  <a:lnTo>
                    <a:pt x="420" y="186"/>
                  </a:lnTo>
                  <a:lnTo>
                    <a:pt x="426" y="192"/>
                  </a:lnTo>
                  <a:lnTo>
                    <a:pt x="426" y="198"/>
                  </a:lnTo>
                  <a:lnTo>
                    <a:pt x="432" y="198"/>
                  </a:lnTo>
                  <a:lnTo>
                    <a:pt x="438" y="210"/>
                  </a:lnTo>
                  <a:lnTo>
                    <a:pt x="450" y="216"/>
                  </a:lnTo>
                  <a:lnTo>
                    <a:pt x="468" y="228"/>
                  </a:lnTo>
                  <a:lnTo>
                    <a:pt x="492" y="234"/>
                  </a:lnTo>
                  <a:lnTo>
                    <a:pt x="492" y="246"/>
                  </a:lnTo>
                  <a:lnTo>
                    <a:pt x="492" y="270"/>
                  </a:lnTo>
                  <a:lnTo>
                    <a:pt x="486" y="294"/>
                  </a:lnTo>
                  <a:lnTo>
                    <a:pt x="486" y="312"/>
                  </a:lnTo>
                  <a:lnTo>
                    <a:pt x="486" y="330"/>
                  </a:lnTo>
                  <a:lnTo>
                    <a:pt x="492" y="348"/>
                  </a:lnTo>
                  <a:lnTo>
                    <a:pt x="498" y="360"/>
                  </a:lnTo>
                  <a:lnTo>
                    <a:pt x="510" y="366"/>
                  </a:lnTo>
                  <a:lnTo>
                    <a:pt x="516" y="384"/>
                  </a:lnTo>
                  <a:lnTo>
                    <a:pt x="522" y="414"/>
                  </a:lnTo>
                  <a:lnTo>
                    <a:pt x="528" y="414"/>
                  </a:lnTo>
                  <a:lnTo>
                    <a:pt x="534" y="426"/>
                  </a:lnTo>
                  <a:lnTo>
                    <a:pt x="528" y="432"/>
                  </a:lnTo>
                  <a:lnTo>
                    <a:pt x="468" y="426"/>
                  </a:lnTo>
                  <a:lnTo>
                    <a:pt x="462" y="4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3" name="Freeform 8">
              <a:extLst>
                <a:ext uri="{FF2B5EF4-FFF2-40B4-BE49-F238E27FC236}">
                  <a16:creationId xmlns:a16="http://schemas.microsoft.com/office/drawing/2014/main" id="{D473457C-872E-4E31-888A-D60FD52063A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98175" y="4307054"/>
              <a:ext cx="295177" cy="348894"/>
            </a:xfrm>
            <a:custGeom>
              <a:avLst/>
              <a:gdLst>
                <a:gd name="T0" fmla="*/ 3 w 552"/>
                <a:gd name="T1" fmla="*/ 46 h 660"/>
                <a:gd name="T2" fmla="*/ 4 w 552"/>
                <a:gd name="T3" fmla="*/ 42 h 660"/>
                <a:gd name="T4" fmla="*/ 2 w 552"/>
                <a:gd name="T5" fmla="*/ 38 h 660"/>
                <a:gd name="T6" fmla="*/ 0 w 552"/>
                <a:gd name="T7" fmla="*/ 34 h 660"/>
                <a:gd name="T8" fmla="*/ 2 w 552"/>
                <a:gd name="T9" fmla="*/ 30 h 660"/>
                <a:gd name="T10" fmla="*/ 3 w 552"/>
                <a:gd name="T11" fmla="*/ 27 h 660"/>
                <a:gd name="T12" fmla="*/ 5 w 552"/>
                <a:gd name="T13" fmla="*/ 23 h 660"/>
                <a:gd name="T14" fmla="*/ 5 w 552"/>
                <a:gd name="T15" fmla="*/ 15 h 660"/>
                <a:gd name="T16" fmla="*/ 6 w 552"/>
                <a:gd name="T17" fmla="*/ 11 h 660"/>
                <a:gd name="T18" fmla="*/ 11 w 552"/>
                <a:gd name="T19" fmla="*/ 9 h 660"/>
                <a:gd name="T20" fmla="*/ 10 w 552"/>
                <a:gd name="T21" fmla="*/ 5 h 660"/>
                <a:gd name="T22" fmla="*/ 12 w 552"/>
                <a:gd name="T23" fmla="*/ 1 h 660"/>
                <a:gd name="T24" fmla="*/ 16 w 552"/>
                <a:gd name="T25" fmla="*/ 2 h 660"/>
                <a:gd name="T26" fmla="*/ 23 w 552"/>
                <a:gd name="T27" fmla="*/ 8 h 660"/>
                <a:gd name="T28" fmla="*/ 23 w 552"/>
                <a:gd name="T29" fmla="*/ 11 h 660"/>
                <a:gd name="T30" fmla="*/ 27 w 552"/>
                <a:gd name="T31" fmla="*/ 12 h 660"/>
                <a:gd name="T32" fmla="*/ 29 w 552"/>
                <a:gd name="T33" fmla="*/ 17 h 660"/>
                <a:gd name="T34" fmla="*/ 31 w 552"/>
                <a:gd name="T35" fmla="*/ 15 h 660"/>
                <a:gd name="T36" fmla="*/ 33 w 552"/>
                <a:gd name="T37" fmla="*/ 17 h 660"/>
                <a:gd name="T38" fmla="*/ 36 w 552"/>
                <a:gd name="T39" fmla="*/ 23 h 660"/>
                <a:gd name="T40" fmla="*/ 41 w 552"/>
                <a:gd name="T41" fmla="*/ 33 h 660"/>
                <a:gd name="T42" fmla="*/ 43 w 552"/>
                <a:gd name="T43" fmla="*/ 36 h 660"/>
                <a:gd name="T44" fmla="*/ 43 w 552"/>
                <a:gd name="T45" fmla="*/ 37 h 660"/>
                <a:gd name="T46" fmla="*/ 41 w 552"/>
                <a:gd name="T47" fmla="*/ 35 h 660"/>
                <a:gd name="T48" fmla="*/ 43 w 552"/>
                <a:gd name="T49" fmla="*/ 37 h 660"/>
                <a:gd name="T50" fmla="*/ 44 w 552"/>
                <a:gd name="T51" fmla="*/ 39 h 660"/>
                <a:gd name="T52" fmla="*/ 47 w 552"/>
                <a:gd name="T53" fmla="*/ 41 h 660"/>
                <a:gd name="T54" fmla="*/ 47 w 552"/>
                <a:gd name="T55" fmla="*/ 44 h 660"/>
                <a:gd name="T56" fmla="*/ 48 w 552"/>
                <a:gd name="T57" fmla="*/ 46 h 660"/>
                <a:gd name="T58" fmla="*/ 47 w 552"/>
                <a:gd name="T59" fmla="*/ 46 h 660"/>
                <a:gd name="T60" fmla="*/ 44 w 552"/>
                <a:gd name="T61" fmla="*/ 46 h 660"/>
                <a:gd name="T62" fmla="*/ 47 w 552"/>
                <a:gd name="T63" fmla="*/ 47 h 660"/>
                <a:gd name="T64" fmla="*/ 47 w 552"/>
                <a:gd name="T65" fmla="*/ 49 h 660"/>
                <a:gd name="T66" fmla="*/ 47 w 552"/>
                <a:gd name="T67" fmla="*/ 52 h 660"/>
                <a:gd name="T68" fmla="*/ 46 w 552"/>
                <a:gd name="T69" fmla="*/ 53 h 660"/>
                <a:gd name="T70" fmla="*/ 43 w 552"/>
                <a:gd name="T71" fmla="*/ 54 h 660"/>
                <a:gd name="T72" fmla="*/ 37 w 552"/>
                <a:gd name="T73" fmla="*/ 54 h 660"/>
                <a:gd name="T74" fmla="*/ 30 w 552"/>
                <a:gd name="T75" fmla="*/ 54 h 660"/>
                <a:gd name="T76" fmla="*/ 29 w 552"/>
                <a:gd name="T77" fmla="*/ 53 h 660"/>
                <a:gd name="T78" fmla="*/ 27 w 552"/>
                <a:gd name="T79" fmla="*/ 53 h 660"/>
                <a:gd name="T80" fmla="*/ 29 w 552"/>
                <a:gd name="T81" fmla="*/ 53 h 660"/>
                <a:gd name="T82" fmla="*/ 28 w 552"/>
                <a:gd name="T83" fmla="*/ 54 h 660"/>
                <a:gd name="T84" fmla="*/ 24 w 552"/>
                <a:gd name="T85" fmla="*/ 54 h 660"/>
                <a:gd name="T86" fmla="*/ 20 w 552"/>
                <a:gd name="T87" fmla="*/ 55 h 660"/>
                <a:gd name="T88" fmla="*/ 15 w 552"/>
                <a:gd name="T89" fmla="*/ 56 h 660"/>
                <a:gd name="T90" fmla="*/ 12 w 552"/>
                <a:gd name="T91" fmla="*/ 56 h 660"/>
                <a:gd name="T92" fmla="*/ 11 w 552"/>
                <a:gd name="T93" fmla="*/ 57 h 660"/>
                <a:gd name="T94" fmla="*/ 9 w 552"/>
                <a:gd name="T95" fmla="*/ 57 h 660"/>
                <a:gd name="T96" fmla="*/ 7 w 552"/>
                <a:gd name="T97" fmla="*/ 56 h 660"/>
                <a:gd name="T98" fmla="*/ 5 w 552"/>
                <a:gd name="T99" fmla="*/ 55 h 660"/>
                <a:gd name="T100" fmla="*/ 7 w 552"/>
                <a:gd name="T101" fmla="*/ 54 h 660"/>
                <a:gd name="T102" fmla="*/ 5 w 552"/>
                <a:gd name="T103" fmla="*/ 54 h 660"/>
                <a:gd name="T104" fmla="*/ 5 w 552"/>
                <a:gd name="T105" fmla="*/ 53 h 660"/>
                <a:gd name="T106" fmla="*/ 4 w 552"/>
                <a:gd name="T107" fmla="*/ 49 h 660"/>
                <a:gd name="T108" fmla="*/ 45 w 552"/>
                <a:gd name="T109" fmla="*/ 38 h 66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52"/>
                <a:gd name="T166" fmla="*/ 0 h 660"/>
                <a:gd name="T167" fmla="*/ 552 w 552"/>
                <a:gd name="T168" fmla="*/ 660 h 66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52" h="660">
                  <a:moveTo>
                    <a:pt x="36" y="564"/>
                  </a:moveTo>
                  <a:lnTo>
                    <a:pt x="36" y="558"/>
                  </a:lnTo>
                  <a:lnTo>
                    <a:pt x="36" y="552"/>
                  </a:lnTo>
                  <a:lnTo>
                    <a:pt x="42" y="546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34"/>
                  </a:lnTo>
                  <a:lnTo>
                    <a:pt x="36" y="528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54" y="510"/>
                  </a:lnTo>
                  <a:lnTo>
                    <a:pt x="54" y="504"/>
                  </a:lnTo>
                  <a:lnTo>
                    <a:pt x="54" y="498"/>
                  </a:lnTo>
                  <a:lnTo>
                    <a:pt x="48" y="492"/>
                  </a:lnTo>
                  <a:lnTo>
                    <a:pt x="42" y="486"/>
                  </a:lnTo>
                  <a:lnTo>
                    <a:pt x="42" y="480"/>
                  </a:lnTo>
                  <a:lnTo>
                    <a:pt x="42" y="468"/>
                  </a:lnTo>
                  <a:lnTo>
                    <a:pt x="30" y="456"/>
                  </a:lnTo>
                  <a:lnTo>
                    <a:pt x="30" y="450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2"/>
                  </a:lnTo>
                  <a:lnTo>
                    <a:pt x="18" y="426"/>
                  </a:lnTo>
                  <a:lnTo>
                    <a:pt x="24" y="420"/>
                  </a:lnTo>
                  <a:lnTo>
                    <a:pt x="18" y="414"/>
                  </a:lnTo>
                  <a:lnTo>
                    <a:pt x="12" y="408"/>
                  </a:lnTo>
                  <a:lnTo>
                    <a:pt x="12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6" y="384"/>
                  </a:lnTo>
                  <a:lnTo>
                    <a:pt x="12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8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36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54" y="270"/>
                  </a:lnTo>
                  <a:lnTo>
                    <a:pt x="48" y="264"/>
                  </a:lnTo>
                  <a:lnTo>
                    <a:pt x="42" y="246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8" y="204"/>
                  </a:lnTo>
                  <a:lnTo>
                    <a:pt x="54" y="174"/>
                  </a:lnTo>
                  <a:lnTo>
                    <a:pt x="54" y="162"/>
                  </a:lnTo>
                  <a:lnTo>
                    <a:pt x="54" y="156"/>
                  </a:lnTo>
                  <a:lnTo>
                    <a:pt x="54" y="144"/>
                  </a:lnTo>
                  <a:lnTo>
                    <a:pt x="48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72" y="126"/>
                  </a:lnTo>
                  <a:lnTo>
                    <a:pt x="84" y="126"/>
                  </a:lnTo>
                  <a:lnTo>
                    <a:pt x="96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2" y="84"/>
                  </a:lnTo>
                  <a:lnTo>
                    <a:pt x="126" y="78"/>
                  </a:lnTo>
                  <a:lnTo>
                    <a:pt x="120" y="78"/>
                  </a:lnTo>
                  <a:lnTo>
                    <a:pt x="102" y="84"/>
                  </a:lnTo>
                  <a:lnTo>
                    <a:pt x="108" y="66"/>
                  </a:lnTo>
                  <a:lnTo>
                    <a:pt x="114" y="54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8" y="4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6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74" y="0"/>
                  </a:lnTo>
                  <a:lnTo>
                    <a:pt x="180" y="0"/>
                  </a:lnTo>
                  <a:lnTo>
                    <a:pt x="186" y="18"/>
                  </a:lnTo>
                  <a:lnTo>
                    <a:pt x="198" y="30"/>
                  </a:lnTo>
                  <a:lnTo>
                    <a:pt x="204" y="54"/>
                  </a:lnTo>
                  <a:lnTo>
                    <a:pt x="216" y="60"/>
                  </a:lnTo>
                  <a:lnTo>
                    <a:pt x="240" y="60"/>
                  </a:lnTo>
                  <a:lnTo>
                    <a:pt x="246" y="66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2" y="120"/>
                  </a:lnTo>
                  <a:lnTo>
                    <a:pt x="25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6" y="126"/>
                  </a:lnTo>
                  <a:lnTo>
                    <a:pt x="282" y="120"/>
                  </a:lnTo>
                  <a:lnTo>
                    <a:pt x="282" y="126"/>
                  </a:lnTo>
                  <a:lnTo>
                    <a:pt x="294" y="126"/>
                  </a:lnTo>
                  <a:lnTo>
                    <a:pt x="300" y="132"/>
                  </a:lnTo>
                  <a:lnTo>
                    <a:pt x="306" y="144"/>
                  </a:lnTo>
                  <a:lnTo>
                    <a:pt x="312" y="144"/>
                  </a:lnTo>
                  <a:lnTo>
                    <a:pt x="312" y="150"/>
                  </a:lnTo>
                  <a:lnTo>
                    <a:pt x="312" y="162"/>
                  </a:lnTo>
                  <a:lnTo>
                    <a:pt x="312" y="174"/>
                  </a:lnTo>
                  <a:lnTo>
                    <a:pt x="324" y="180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30" y="192"/>
                  </a:lnTo>
                  <a:lnTo>
                    <a:pt x="336" y="198"/>
                  </a:lnTo>
                  <a:lnTo>
                    <a:pt x="342" y="192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54" y="180"/>
                  </a:lnTo>
                  <a:lnTo>
                    <a:pt x="354" y="174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84" y="192"/>
                  </a:lnTo>
                  <a:lnTo>
                    <a:pt x="390" y="204"/>
                  </a:lnTo>
                  <a:lnTo>
                    <a:pt x="390" y="210"/>
                  </a:lnTo>
                  <a:lnTo>
                    <a:pt x="390" y="216"/>
                  </a:lnTo>
                  <a:lnTo>
                    <a:pt x="384" y="234"/>
                  </a:lnTo>
                  <a:lnTo>
                    <a:pt x="390" y="240"/>
                  </a:lnTo>
                  <a:lnTo>
                    <a:pt x="408" y="252"/>
                  </a:lnTo>
                  <a:lnTo>
                    <a:pt x="414" y="264"/>
                  </a:lnTo>
                  <a:lnTo>
                    <a:pt x="408" y="300"/>
                  </a:lnTo>
                  <a:lnTo>
                    <a:pt x="414" y="312"/>
                  </a:lnTo>
                  <a:lnTo>
                    <a:pt x="426" y="336"/>
                  </a:lnTo>
                  <a:lnTo>
                    <a:pt x="438" y="354"/>
                  </a:lnTo>
                  <a:lnTo>
                    <a:pt x="444" y="366"/>
                  </a:lnTo>
                  <a:lnTo>
                    <a:pt x="456" y="366"/>
                  </a:lnTo>
                  <a:lnTo>
                    <a:pt x="474" y="378"/>
                  </a:lnTo>
                  <a:lnTo>
                    <a:pt x="474" y="384"/>
                  </a:lnTo>
                  <a:lnTo>
                    <a:pt x="480" y="390"/>
                  </a:lnTo>
                  <a:lnTo>
                    <a:pt x="486" y="396"/>
                  </a:lnTo>
                  <a:lnTo>
                    <a:pt x="486" y="402"/>
                  </a:lnTo>
                  <a:lnTo>
                    <a:pt x="480" y="408"/>
                  </a:lnTo>
                  <a:lnTo>
                    <a:pt x="486" y="408"/>
                  </a:lnTo>
                  <a:lnTo>
                    <a:pt x="486" y="414"/>
                  </a:lnTo>
                  <a:lnTo>
                    <a:pt x="492" y="414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32"/>
                  </a:lnTo>
                  <a:lnTo>
                    <a:pt x="498" y="438"/>
                  </a:lnTo>
                  <a:lnTo>
                    <a:pt x="492" y="432"/>
                  </a:lnTo>
                  <a:lnTo>
                    <a:pt x="486" y="426"/>
                  </a:lnTo>
                  <a:lnTo>
                    <a:pt x="486" y="420"/>
                  </a:lnTo>
                  <a:lnTo>
                    <a:pt x="486" y="414"/>
                  </a:lnTo>
                  <a:lnTo>
                    <a:pt x="480" y="414"/>
                  </a:lnTo>
                  <a:lnTo>
                    <a:pt x="480" y="408"/>
                  </a:lnTo>
                  <a:lnTo>
                    <a:pt x="474" y="408"/>
                  </a:lnTo>
                  <a:lnTo>
                    <a:pt x="468" y="408"/>
                  </a:lnTo>
                  <a:lnTo>
                    <a:pt x="468" y="402"/>
                  </a:lnTo>
                  <a:lnTo>
                    <a:pt x="462" y="402"/>
                  </a:lnTo>
                  <a:lnTo>
                    <a:pt x="462" y="408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80" y="426"/>
                  </a:lnTo>
                  <a:lnTo>
                    <a:pt x="486" y="426"/>
                  </a:lnTo>
                  <a:lnTo>
                    <a:pt x="486" y="432"/>
                  </a:lnTo>
                  <a:lnTo>
                    <a:pt x="492" y="438"/>
                  </a:lnTo>
                  <a:lnTo>
                    <a:pt x="498" y="438"/>
                  </a:lnTo>
                  <a:lnTo>
                    <a:pt x="504" y="444"/>
                  </a:lnTo>
                  <a:lnTo>
                    <a:pt x="510" y="444"/>
                  </a:lnTo>
                  <a:lnTo>
                    <a:pt x="510" y="450"/>
                  </a:lnTo>
                  <a:lnTo>
                    <a:pt x="510" y="456"/>
                  </a:lnTo>
                  <a:lnTo>
                    <a:pt x="516" y="456"/>
                  </a:lnTo>
                  <a:lnTo>
                    <a:pt x="516" y="462"/>
                  </a:lnTo>
                  <a:lnTo>
                    <a:pt x="522" y="462"/>
                  </a:lnTo>
                  <a:lnTo>
                    <a:pt x="522" y="468"/>
                  </a:lnTo>
                  <a:lnTo>
                    <a:pt x="528" y="468"/>
                  </a:lnTo>
                  <a:lnTo>
                    <a:pt x="534" y="468"/>
                  </a:lnTo>
                  <a:lnTo>
                    <a:pt x="534" y="474"/>
                  </a:lnTo>
                  <a:lnTo>
                    <a:pt x="540" y="474"/>
                  </a:lnTo>
                  <a:lnTo>
                    <a:pt x="540" y="480"/>
                  </a:lnTo>
                  <a:lnTo>
                    <a:pt x="546" y="486"/>
                  </a:lnTo>
                  <a:lnTo>
                    <a:pt x="546" y="492"/>
                  </a:lnTo>
                  <a:lnTo>
                    <a:pt x="546" y="498"/>
                  </a:lnTo>
                  <a:lnTo>
                    <a:pt x="546" y="504"/>
                  </a:lnTo>
                  <a:lnTo>
                    <a:pt x="540" y="504"/>
                  </a:lnTo>
                  <a:lnTo>
                    <a:pt x="546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10"/>
                  </a:lnTo>
                  <a:lnTo>
                    <a:pt x="552" y="516"/>
                  </a:lnTo>
                  <a:lnTo>
                    <a:pt x="552" y="522"/>
                  </a:lnTo>
                  <a:lnTo>
                    <a:pt x="552" y="528"/>
                  </a:lnTo>
                  <a:lnTo>
                    <a:pt x="552" y="534"/>
                  </a:lnTo>
                  <a:lnTo>
                    <a:pt x="552" y="540"/>
                  </a:lnTo>
                  <a:lnTo>
                    <a:pt x="546" y="540"/>
                  </a:lnTo>
                  <a:lnTo>
                    <a:pt x="546" y="546"/>
                  </a:lnTo>
                  <a:lnTo>
                    <a:pt x="546" y="540"/>
                  </a:lnTo>
                  <a:lnTo>
                    <a:pt x="546" y="534"/>
                  </a:lnTo>
                  <a:lnTo>
                    <a:pt x="540" y="534"/>
                  </a:lnTo>
                  <a:lnTo>
                    <a:pt x="540" y="528"/>
                  </a:lnTo>
                  <a:lnTo>
                    <a:pt x="534" y="528"/>
                  </a:lnTo>
                  <a:lnTo>
                    <a:pt x="528" y="528"/>
                  </a:lnTo>
                  <a:lnTo>
                    <a:pt x="522" y="528"/>
                  </a:lnTo>
                  <a:lnTo>
                    <a:pt x="516" y="528"/>
                  </a:lnTo>
                  <a:lnTo>
                    <a:pt x="510" y="528"/>
                  </a:lnTo>
                  <a:lnTo>
                    <a:pt x="510" y="534"/>
                  </a:lnTo>
                  <a:lnTo>
                    <a:pt x="510" y="528"/>
                  </a:lnTo>
                  <a:lnTo>
                    <a:pt x="516" y="528"/>
                  </a:lnTo>
                  <a:lnTo>
                    <a:pt x="522" y="528"/>
                  </a:lnTo>
                  <a:lnTo>
                    <a:pt x="528" y="528"/>
                  </a:lnTo>
                  <a:lnTo>
                    <a:pt x="534" y="534"/>
                  </a:lnTo>
                  <a:lnTo>
                    <a:pt x="540" y="534"/>
                  </a:lnTo>
                  <a:lnTo>
                    <a:pt x="540" y="540"/>
                  </a:lnTo>
                  <a:lnTo>
                    <a:pt x="540" y="546"/>
                  </a:lnTo>
                  <a:lnTo>
                    <a:pt x="546" y="546"/>
                  </a:lnTo>
                  <a:lnTo>
                    <a:pt x="546" y="552"/>
                  </a:lnTo>
                  <a:lnTo>
                    <a:pt x="552" y="552"/>
                  </a:lnTo>
                  <a:lnTo>
                    <a:pt x="552" y="558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0" y="576"/>
                  </a:lnTo>
                  <a:lnTo>
                    <a:pt x="540" y="582"/>
                  </a:lnTo>
                  <a:lnTo>
                    <a:pt x="540" y="588"/>
                  </a:lnTo>
                  <a:lnTo>
                    <a:pt x="534" y="594"/>
                  </a:lnTo>
                  <a:lnTo>
                    <a:pt x="534" y="600"/>
                  </a:lnTo>
                  <a:lnTo>
                    <a:pt x="528" y="600"/>
                  </a:lnTo>
                  <a:lnTo>
                    <a:pt x="522" y="594"/>
                  </a:lnTo>
                  <a:lnTo>
                    <a:pt x="528" y="600"/>
                  </a:lnTo>
                  <a:lnTo>
                    <a:pt x="534" y="600"/>
                  </a:lnTo>
                  <a:lnTo>
                    <a:pt x="534" y="606"/>
                  </a:lnTo>
                  <a:lnTo>
                    <a:pt x="528" y="606"/>
                  </a:lnTo>
                  <a:lnTo>
                    <a:pt x="528" y="612"/>
                  </a:lnTo>
                  <a:lnTo>
                    <a:pt x="522" y="612"/>
                  </a:lnTo>
                  <a:lnTo>
                    <a:pt x="522" y="618"/>
                  </a:lnTo>
                  <a:lnTo>
                    <a:pt x="522" y="624"/>
                  </a:lnTo>
                  <a:lnTo>
                    <a:pt x="510" y="624"/>
                  </a:lnTo>
                  <a:lnTo>
                    <a:pt x="498" y="624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0" y="624"/>
                  </a:lnTo>
                  <a:lnTo>
                    <a:pt x="474" y="624"/>
                  </a:lnTo>
                  <a:lnTo>
                    <a:pt x="468" y="618"/>
                  </a:lnTo>
                  <a:lnTo>
                    <a:pt x="456" y="618"/>
                  </a:lnTo>
                  <a:lnTo>
                    <a:pt x="450" y="618"/>
                  </a:lnTo>
                  <a:lnTo>
                    <a:pt x="426" y="618"/>
                  </a:lnTo>
                  <a:lnTo>
                    <a:pt x="420" y="618"/>
                  </a:lnTo>
                  <a:lnTo>
                    <a:pt x="414" y="618"/>
                  </a:lnTo>
                  <a:lnTo>
                    <a:pt x="408" y="618"/>
                  </a:lnTo>
                  <a:lnTo>
                    <a:pt x="396" y="618"/>
                  </a:lnTo>
                  <a:lnTo>
                    <a:pt x="366" y="618"/>
                  </a:lnTo>
                  <a:lnTo>
                    <a:pt x="348" y="624"/>
                  </a:lnTo>
                  <a:lnTo>
                    <a:pt x="342" y="624"/>
                  </a:lnTo>
                  <a:lnTo>
                    <a:pt x="342" y="618"/>
                  </a:lnTo>
                  <a:lnTo>
                    <a:pt x="336" y="618"/>
                  </a:lnTo>
                  <a:lnTo>
                    <a:pt x="336" y="612"/>
                  </a:lnTo>
                  <a:lnTo>
                    <a:pt x="342" y="612"/>
                  </a:lnTo>
                  <a:lnTo>
                    <a:pt x="348" y="612"/>
                  </a:lnTo>
                  <a:lnTo>
                    <a:pt x="342" y="612"/>
                  </a:lnTo>
                  <a:lnTo>
                    <a:pt x="336" y="612"/>
                  </a:lnTo>
                  <a:lnTo>
                    <a:pt x="336" y="606"/>
                  </a:lnTo>
                  <a:lnTo>
                    <a:pt x="330" y="606"/>
                  </a:lnTo>
                  <a:lnTo>
                    <a:pt x="330" y="600"/>
                  </a:lnTo>
                  <a:lnTo>
                    <a:pt x="324" y="600"/>
                  </a:lnTo>
                  <a:lnTo>
                    <a:pt x="324" y="606"/>
                  </a:lnTo>
                  <a:lnTo>
                    <a:pt x="318" y="606"/>
                  </a:lnTo>
                  <a:lnTo>
                    <a:pt x="318" y="612"/>
                  </a:lnTo>
                  <a:lnTo>
                    <a:pt x="312" y="612"/>
                  </a:lnTo>
                  <a:lnTo>
                    <a:pt x="306" y="606"/>
                  </a:lnTo>
                  <a:lnTo>
                    <a:pt x="306" y="612"/>
                  </a:lnTo>
                  <a:lnTo>
                    <a:pt x="312" y="612"/>
                  </a:lnTo>
                  <a:lnTo>
                    <a:pt x="318" y="612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30" y="606"/>
                  </a:lnTo>
                  <a:lnTo>
                    <a:pt x="336" y="612"/>
                  </a:lnTo>
                  <a:lnTo>
                    <a:pt x="336" y="618"/>
                  </a:lnTo>
                  <a:lnTo>
                    <a:pt x="330" y="618"/>
                  </a:lnTo>
                  <a:lnTo>
                    <a:pt x="336" y="618"/>
                  </a:lnTo>
                  <a:lnTo>
                    <a:pt x="336" y="624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288" y="624"/>
                  </a:lnTo>
                  <a:lnTo>
                    <a:pt x="282" y="624"/>
                  </a:lnTo>
                  <a:lnTo>
                    <a:pt x="270" y="630"/>
                  </a:lnTo>
                  <a:lnTo>
                    <a:pt x="264" y="630"/>
                  </a:lnTo>
                  <a:lnTo>
                    <a:pt x="258" y="630"/>
                  </a:lnTo>
                  <a:lnTo>
                    <a:pt x="252" y="630"/>
                  </a:lnTo>
                  <a:lnTo>
                    <a:pt x="246" y="630"/>
                  </a:lnTo>
                  <a:lnTo>
                    <a:pt x="240" y="630"/>
                  </a:lnTo>
                  <a:lnTo>
                    <a:pt x="228" y="636"/>
                  </a:lnTo>
                  <a:lnTo>
                    <a:pt x="222" y="636"/>
                  </a:lnTo>
                  <a:lnTo>
                    <a:pt x="210" y="636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42"/>
                  </a:lnTo>
                  <a:lnTo>
                    <a:pt x="186" y="642"/>
                  </a:lnTo>
                  <a:lnTo>
                    <a:pt x="180" y="642"/>
                  </a:lnTo>
                  <a:lnTo>
                    <a:pt x="168" y="642"/>
                  </a:lnTo>
                  <a:lnTo>
                    <a:pt x="162" y="642"/>
                  </a:lnTo>
                  <a:lnTo>
                    <a:pt x="162" y="648"/>
                  </a:lnTo>
                  <a:lnTo>
                    <a:pt x="156" y="648"/>
                  </a:lnTo>
                  <a:lnTo>
                    <a:pt x="150" y="648"/>
                  </a:lnTo>
                  <a:lnTo>
                    <a:pt x="144" y="648"/>
                  </a:lnTo>
                  <a:lnTo>
                    <a:pt x="138" y="648"/>
                  </a:lnTo>
                  <a:lnTo>
                    <a:pt x="132" y="648"/>
                  </a:lnTo>
                  <a:lnTo>
                    <a:pt x="126" y="642"/>
                  </a:lnTo>
                  <a:lnTo>
                    <a:pt x="126" y="636"/>
                  </a:lnTo>
                  <a:lnTo>
                    <a:pt x="120" y="636"/>
                  </a:lnTo>
                  <a:lnTo>
                    <a:pt x="126" y="642"/>
                  </a:lnTo>
                  <a:lnTo>
                    <a:pt x="126" y="648"/>
                  </a:lnTo>
                  <a:lnTo>
                    <a:pt x="132" y="648"/>
                  </a:lnTo>
                  <a:lnTo>
                    <a:pt x="126" y="654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54"/>
                  </a:lnTo>
                  <a:lnTo>
                    <a:pt x="108" y="660"/>
                  </a:lnTo>
                  <a:lnTo>
                    <a:pt x="108" y="654"/>
                  </a:lnTo>
                  <a:lnTo>
                    <a:pt x="102" y="654"/>
                  </a:lnTo>
                  <a:lnTo>
                    <a:pt x="102" y="660"/>
                  </a:lnTo>
                  <a:lnTo>
                    <a:pt x="108" y="660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0" y="660"/>
                  </a:lnTo>
                  <a:lnTo>
                    <a:pt x="90" y="654"/>
                  </a:lnTo>
                  <a:lnTo>
                    <a:pt x="84" y="648"/>
                  </a:lnTo>
                  <a:lnTo>
                    <a:pt x="84" y="642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72" y="636"/>
                  </a:lnTo>
                  <a:lnTo>
                    <a:pt x="78" y="636"/>
                  </a:lnTo>
                  <a:lnTo>
                    <a:pt x="72" y="636"/>
                  </a:lnTo>
                  <a:lnTo>
                    <a:pt x="66" y="636"/>
                  </a:lnTo>
                  <a:lnTo>
                    <a:pt x="60" y="636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60" y="618"/>
                  </a:lnTo>
                  <a:lnTo>
                    <a:pt x="66" y="618"/>
                  </a:lnTo>
                  <a:lnTo>
                    <a:pt x="72" y="618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2" y="612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12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54" y="618"/>
                  </a:lnTo>
                  <a:lnTo>
                    <a:pt x="54" y="624"/>
                  </a:lnTo>
                  <a:lnTo>
                    <a:pt x="48" y="618"/>
                  </a:lnTo>
                  <a:lnTo>
                    <a:pt x="42" y="618"/>
                  </a:lnTo>
                  <a:lnTo>
                    <a:pt x="42" y="612"/>
                  </a:lnTo>
                  <a:lnTo>
                    <a:pt x="48" y="606"/>
                  </a:lnTo>
                  <a:lnTo>
                    <a:pt x="54" y="606"/>
                  </a:lnTo>
                  <a:lnTo>
                    <a:pt x="54" y="600"/>
                  </a:lnTo>
                  <a:lnTo>
                    <a:pt x="54" y="594"/>
                  </a:lnTo>
                  <a:lnTo>
                    <a:pt x="54" y="588"/>
                  </a:lnTo>
                  <a:lnTo>
                    <a:pt x="48" y="588"/>
                  </a:lnTo>
                  <a:lnTo>
                    <a:pt x="48" y="582"/>
                  </a:lnTo>
                  <a:lnTo>
                    <a:pt x="42" y="582"/>
                  </a:lnTo>
                  <a:lnTo>
                    <a:pt x="42" y="570"/>
                  </a:lnTo>
                  <a:lnTo>
                    <a:pt x="42" y="564"/>
                  </a:lnTo>
                  <a:lnTo>
                    <a:pt x="36" y="564"/>
                  </a:lnTo>
                  <a:close/>
                  <a:moveTo>
                    <a:pt x="498" y="420"/>
                  </a:moveTo>
                  <a:lnTo>
                    <a:pt x="504" y="426"/>
                  </a:lnTo>
                  <a:lnTo>
                    <a:pt x="510" y="432"/>
                  </a:lnTo>
                  <a:lnTo>
                    <a:pt x="516" y="432"/>
                  </a:lnTo>
                  <a:lnTo>
                    <a:pt x="516" y="438"/>
                  </a:lnTo>
                  <a:lnTo>
                    <a:pt x="510" y="438"/>
                  </a:lnTo>
                  <a:lnTo>
                    <a:pt x="504" y="438"/>
                  </a:lnTo>
                  <a:lnTo>
                    <a:pt x="504" y="432"/>
                  </a:lnTo>
                  <a:lnTo>
                    <a:pt x="498" y="432"/>
                  </a:lnTo>
                  <a:lnTo>
                    <a:pt x="498" y="426"/>
                  </a:lnTo>
                  <a:lnTo>
                    <a:pt x="498" y="4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4" name="Freeform 9">
              <a:extLst>
                <a:ext uri="{FF2B5EF4-FFF2-40B4-BE49-F238E27FC236}">
                  <a16:creationId xmlns:a16="http://schemas.microsoft.com/office/drawing/2014/main" id="{E0116D32-BD2E-45EA-B818-A3082585D5F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3055" y="2468650"/>
              <a:ext cx="800556" cy="1207710"/>
            </a:xfrm>
            <a:custGeom>
              <a:avLst/>
              <a:gdLst>
                <a:gd name="T0" fmla="*/ 24 w 1506"/>
                <a:gd name="T1" fmla="*/ 190 h 2274"/>
                <a:gd name="T2" fmla="*/ 25 w 1506"/>
                <a:gd name="T3" fmla="*/ 180 h 2274"/>
                <a:gd name="T4" fmla="*/ 21 w 1506"/>
                <a:gd name="T5" fmla="*/ 174 h 2274"/>
                <a:gd name="T6" fmla="*/ 17 w 1506"/>
                <a:gd name="T7" fmla="*/ 170 h 2274"/>
                <a:gd name="T8" fmla="*/ 12 w 1506"/>
                <a:gd name="T9" fmla="*/ 168 h 2274"/>
                <a:gd name="T10" fmla="*/ 10 w 1506"/>
                <a:gd name="T11" fmla="*/ 173 h 2274"/>
                <a:gd name="T12" fmla="*/ 7 w 1506"/>
                <a:gd name="T13" fmla="*/ 174 h 2274"/>
                <a:gd name="T14" fmla="*/ 0 w 1506"/>
                <a:gd name="T15" fmla="*/ 163 h 2274"/>
                <a:gd name="T16" fmla="*/ 16 w 1506"/>
                <a:gd name="T17" fmla="*/ 140 h 2274"/>
                <a:gd name="T18" fmla="*/ 19 w 1506"/>
                <a:gd name="T19" fmla="*/ 137 h 2274"/>
                <a:gd name="T20" fmla="*/ 24 w 1506"/>
                <a:gd name="T21" fmla="*/ 126 h 2274"/>
                <a:gd name="T22" fmla="*/ 23 w 1506"/>
                <a:gd name="T23" fmla="*/ 105 h 2274"/>
                <a:gd name="T24" fmla="*/ 14 w 1506"/>
                <a:gd name="T25" fmla="*/ 86 h 2274"/>
                <a:gd name="T26" fmla="*/ 8 w 1506"/>
                <a:gd name="T27" fmla="*/ 84 h 2274"/>
                <a:gd name="T28" fmla="*/ 5 w 1506"/>
                <a:gd name="T29" fmla="*/ 79 h 2274"/>
                <a:gd name="T30" fmla="*/ 16 w 1506"/>
                <a:gd name="T31" fmla="*/ 71 h 2274"/>
                <a:gd name="T32" fmla="*/ 28 w 1506"/>
                <a:gd name="T33" fmla="*/ 55 h 2274"/>
                <a:gd name="T34" fmla="*/ 29 w 1506"/>
                <a:gd name="T35" fmla="*/ 48 h 2274"/>
                <a:gd name="T36" fmla="*/ 35 w 1506"/>
                <a:gd name="T37" fmla="*/ 50 h 2274"/>
                <a:gd name="T38" fmla="*/ 42 w 1506"/>
                <a:gd name="T39" fmla="*/ 47 h 2274"/>
                <a:gd name="T40" fmla="*/ 63 w 1506"/>
                <a:gd name="T41" fmla="*/ 34 h 2274"/>
                <a:gd name="T42" fmla="*/ 74 w 1506"/>
                <a:gd name="T43" fmla="*/ 27 h 2274"/>
                <a:gd name="T44" fmla="*/ 81 w 1506"/>
                <a:gd name="T45" fmla="*/ 20 h 2274"/>
                <a:gd name="T46" fmla="*/ 89 w 1506"/>
                <a:gd name="T47" fmla="*/ 20 h 2274"/>
                <a:gd name="T48" fmla="*/ 98 w 1506"/>
                <a:gd name="T49" fmla="*/ 27 h 2274"/>
                <a:gd name="T50" fmla="*/ 106 w 1506"/>
                <a:gd name="T51" fmla="*/ 17 h 2274"/>
                <a:gd name="T52" fmla="*/ 111 w 1506"/>
                <a:gd name="T53" fmla="*/ 8 h 2274"/>
                <a:gd name="T54" fmla="*/ 121 w 1506"/>
                <a:gd name="T55" fmla="*/ 2 h 2274"/>
                <a:gd name="T56" fmla="*/ 129 w 1506"/>
                <a:gd name="T57" fmla="*/ 5 h 2274"/>
                <a:gd name="T58" fmla="*/ 125 w 1506"/>
                <a:gd name="T59" fmla="*/ 12 h 2274"/>
                <a:gd name="T60" fmla="*/ 122 w 1506"/>
                <a:gd name="T61" fmla="*/ 20 h 2274"/>
                <a:gd name="T62" fmla="*/ 122 w 1506"/>
                <a:gd name="T63" fmla="*/ 27 h 2274"/>
                <a:gd name="T64" fmla="*/ 120 w 1506"/>
                <a:gd name="T65" fmla="*/ 36 h 2274"/>
                <a:gd name="T66" fmla="*/ 116 w 1506"/>
                <a:gd name="T67" fmla="*/ 43 h 2274"/>
                <a:gd name="T68" fmla="*/ 109 w 1506"/>
                <a:gd name="T69" fmla="*/ 47 h 2274"/>
                <a:gd name="T70" fmla="*/ 108 w 1506"/>
                <a:gd name="T71" fmla="*/ 54 h 2274"/>
                <a:gd name="T72" fmla="*/ 106 w 1506"/>
                <a:gd name="T73" fmla="*/ 59 h 2274"/>
                <a:gd name="T74" fmla="*/ 109 w 1506"/>
                <a:gd name="T75" fmla="*/ 64 h 2274"/>
                <a:gd name="T76" fmla="*/ 106 w 1506"/>
                <a:gd name="T77" fmla="*/ 70 h 2274"/>
                <a:gd name="T78" fmla="*/ 105 w 1506"/>
                <a:gd name="T79" fmla="*/ 75 h 2274"/>
                <a:gd name="T80" fmla="*/ 101 w 1506"/>
                <a:gd name="T81" fmla="*/ 78 h 2274"/>
                <a:gd name="T82" fmla="*/ 92 w 1506"/>
                <a:gd name="T83" fmla="*/ 81 h 2274"/>
                <a:gd name="T84" fmla="*/ 85 w 1506"/>
                <a:gd name="T85" fmla="*/ 85 h 2274"/>
                <a:gd name="T86" fmla="*/ 87 w 1506"/>
                <a:gd name="T87" fmla="*/ 91 h 2274"/>
                <a:gd name="T88" fmla="*/ 86 w 1506"/>
                <a:gd name="T89" fmla="*/ 98 h 2274"/>
                <a:gd name="T90" fmla="*/ 86 w 1506"/>
                <a:gd name="T91" fmla="*/ 103 h 2274"/>
                <a:gd name="T92" fmla="*/ 82 w 1506"/>
                <a:gd name="T93" fmla="*/ 111 h 2274"/>
                <a:gd name="T94" fmla="*/ 81 w 1506"/>
                <a:gd name="T95" fmla="*/ 116 h 2274"/>
                <a:gd name="T96" fmla="*/ 78 w 1506"/>
                <a:gd name="T97" fmla="*/ 120 h 2274"/>
                <a:gd name="T98" fmla="*/ 76 w 1506"/>
                <a:gd name="T99" fmla="*/ 126 h 2274"/>
                <a:gd name="T100" fmla="*/ 68 w 1506"/>
                <a:gd name="T101" fmla="*/ 129 h 2274"/>
                <a:gd name="T102" fmla="*/ 62 w 1506"/>
                <a:gd name="T103" fmla="*/ 131 h 2274"/>
                <a:gd name="T104" fmla="*/ 58 w 1506"/>
                <a:gd name="T105" fmla="*/ 136 h 2274"/>
                <a:gd name="T106" fmla="*/ 51 w 1506"/>
                <a:gd name="T107" fmla="*/ 138 h 2274"/>
                <a:gd name="T108" fmla="*/ 51 w 1506"/>
                <a:gd name="T109" fmla="*/ 147 h 2274"/>
                <a:gd name="T110" fmla="*/ 49 w 1506"/>
                <a:gd name="T111" fmla="*/ 159 h 2274"/>
                <a:gd name="T112" fmla="*/ 48 w 1506"/>
                <a:gd name="T113" fmla="*/ 166 h 2274"/>
                <a:gd name="T114" fmla="*/ 41 w 1506"/>
                <a:gd name="T115" fmla="*/ 174 h 2274"/>
                <a:gd name="T116" fmla="*/ 39 w 1506"/>
                <a:gd name="T117" fmla="*/ 181 h 2274"/>
                <a:gd name="T118" fmla="*/ 37 w 1506"/>
                <a:gd name="T119" fmla="*/ 190 h 2274"/>
                <a:gd name="T120" fmla="*/ 29 w 1506"/>
                <a:gd name="T121" fmla="*/ 198 h 22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06"/>
                <a:gd name="T184" fmla="*/ 0 h 2274"/>
                <a:gd name="T185" fmla="*/ 1506 w 1506"/>
                <a:gd name="T186" fmla="*/ 2274 h 227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06" h="2274">
                  <a:moveTo>
                    <a:pt x="330" y="2274"/>
                  </a:moveTo>
                  <a:lnTo>
                    <a:pt x="318" y="2262"/>
                  </a:lnTo>
                  <a:lnTo>
                    <a:pt x="312" y="2238"/>
                  </a:lnTo>
                  <a:lnTo>
                    <a:pt x="312" y="2232"/>
                  </a:lnTo>
                  <a:lnTo>
                    <a:pt x="294" y="2214"/>
                  </a:lnTo>
                  <a:lnTo>
                    <a:pt x="288" y="2208"/>
                  </a:lnTo>
                  <a:lnTo>
                    <a:pt x="288" y="2202"/>
                  </a:lnTo>
                  <a:lnTo>
                    <a:pt x="276" y="2196"/>
                  </a:lnTo>
                  <a:lnTo>
                    <a:pt x="276" y="2190"/>
                  </a:lnTo>
                  <a:lnTo>
                    <a:pt x="282" y="2190"/>
                  </a:lnTo>
                  <a:lnTo>
                    <a:pt x="282" y="2184"/>
                  </a:lnTo>
                  <a:lnTo>
                    <a:pt x="276" y="2172"/>
                  </a:lnTo>
                  <a:lnTo>
                    <a:pt x="276" y="2166"/>
                  </a:lnTo>
                  <a:lnTo>
                    <a:pt x="282" y="2166"/>
                  </a:lnTo>
                  <a:lnTo>
                    <a:pt x="282" y="2154"/>
                  </a:lnTo>
                  <a:lnTo>
                    <a:pt x="276" y="2136"/>
                  </a:lnTo>
                  <a:lnTo>
                    <a:pt x="276" y="2112"/>
                  </a:lnTo>
                  <a:lnTo>
                    <a:pt x="282" y="2088"/>
                  </a:lnTo>
                  <a:lnTo>
                    <a:pt x="282" y="2082"/>
                  </a:lnTo>
                  <a:lnTo>
                    <a:pt x="282" y="2076"/>
                  </a:lnTo>
                  <a:lnTo>
                    <a:pt x="282" y="2070"/>
                  </a:lnTo>
                  <a:lnTo>
                    <a:pt x="288" y="2070"/>
                  </a:lnTo>
                  <a:lnTo>
                    <a:pt x="288" y="2064"/>
                  </a:lnTo>
                  <a:lnTo>
                    <a:pt x="282" y="2052"/>
                  </a:lnTo>
                  <a:lnTo>
                    <a:pt x="282" y="2046"/>
                  </a:lnTo>
                  <a:lnTo>
                    <a:pt x="276" y="2040"/>
                  </a:lnTo>
                  <a:lnTo>
                    <a:pt x="270" y="2034"/>
                  </a:lnTo>
                  <a:lnTo>
                    <a:pt x="264" y="2022"/>
                  </a:lnTo>
                  <a:lnTo>
                    <a:pt x="258" y="2022"/>
                  </a:lnTo>
                  <a:lnTo>
                    <a:pt x="258" y="2016"/>
                  </a:lnTo>
                  <a:lnTo>
                    <a:pt x="252" y="2016"/>
                  </a:lnTo>
                  <a:lnTo>
                    <a:pt x="246" y="2016"/>
                  </a:lnTo>
                  <a:lnTo>
                    <a:pt x="240" y="2010"/>
                  </a:lnTo>
                  <a:lnTo>
                    <a:pt x="234" y="2004"/>
                  </a:lnTo>
                  <a:lnTo>
                    <a:pt x="228" y="2004"/>
                  </a:lnTo>
                  <a:lnTo>
                    <a:pt x="228" y="1998"/>
                  </a:lnTo>
                  <a:lnTo>
                    <a:pt x="228" y="1992"/>
                  </a:lnTo>
                  <a:lnTo>
                    <a:pt x="222" y="1992"/>
                  </a:lnTo>
                  <a:lnTo>
                    <a:pt x="222" y="1986"/>
                  </a:lnTo>
                  <a:lnTo>
                    <a:pt x="216" y="1986"/>
                  </a:lnTo>
                  <a:lnTo>
                    <a:pt x="210" y="1980"/>
                  </a:lnTo>
                  <a:lnTo>
                    <a:pt x="216" y="1974"/>
                  </a:lnTo>
                  <a:lnTo>
                    <a:pt x="210" y="1968"/>
                  </a:lnTo>
                  <a:lnTo>
                    <a:pt x="198" y="1956"/>
                  </a:lnTo>
                  <a:lnTo>
                    <a:pt x="192" y="1956"/>
                  </a:lnTo>
                  <a:lnTo>
                    <a:pt x="186" y="1956"/>
                  </a:lnTo>
                  <a:lnTo>
                    <a:pt x="180" y="1944"/>
                  </a:lnTo>
                  <a:lnTo>
                    <a:pt x="180" y="1938"/>
                  </a:lnTo>
                  <a:lnTo>
                    <a:pt x="174" y="1932"/>
                  </a:lnTo>
                  <a:lnTo>
                    <a:pt x="168" y="1932"/>
                  </a:lnTo>
                  <a:lnTo>
                    <a:pt x="162" y="1932"/>
                  </a:lnTo>
                  <a:lnTo>
                    <a:pt x="150" y="1932"/>
                  </a:lnTo>
                  <a:lnTo>
                    <a:pt x="150" y="1926"/>
                  </a:lnTo>
                  <a:lnTo>
                    <a:pt x="150" y="1932"/>
                  </a:lnTo>
                  <a:lnTo>
                    <a:pt x="144" y="1932"/>
                  </a:lnTo>
                  <a:lnTo>
                    <a:pt x="138" y="1932"/>
                  </a:lnTo>
                  <a:lnTo>
                    <a:pt x="132" y="1932"/>
                  </a:lnTo>
                  <a:lnTo>
                    <a:pt x="132" y="1938"/>
                  </a:lnTo>
                  <a:lnTo>
                    <a:pt x="126" y="1944"/>
                  </a:lnTo>
                  <a:lnTo>
                    <a:pt x="126" y="1956"/>
                  </a:lnTo>
                  <a:lnTo>
                    <a:pt x="120" y="1968"/>
                  </a:lnTo>
                  <a:lnTo>
                    <a:pt x="120" y="1974"/>
                  </a:lnTo>
                  <a:lnTo>
                    <a:pt x="120" y="1980"/>
                  </a:lnTo>
                  <a:lnTo>
                    <a:pt x="126" y="1980"/>
                  </a:lnTo>
                  <a:lnTo>
                    <a:pt x="120" y="1986"/>
                  </a:lnTo>
                  <a:lnTo>
                    <a:pt x="120" y="1992"/>
                  </a:lnTo>
                  <a:lnTo>
                    <a:pt x="114" y="1992"/>
                  </a:lnTo>
                  <a:lnTo>
                    <a:pt x="114" y="1986"/>
                  </a:lnTo>
                  <a:lnTo>
                    <a:pt x="108" y="1992"/>
                  </a:lnTo>
                  <a:lnTo>
                    <a:pt x="108" y="1998"/>
                  </a:lnTo>
                  <a:lnTo>
                    <a:pt x="114" y="2004"/>
                  </a:lnTo>
                  <a:lnTo>
                    <a:pt x="108" y="2004"/>
                  </a:lnTo>
                  <a:lnTo>
                    <a:pt x="102" y="2010"/>
                  </a:lnTo>
                  <a:lnTo>
                    <a:pt x="102" y="2004"/>
                  </a:lnTo>
                  <a:lnTo>
                    <a:pt x="90" y="2004"/>
                  </a:lnTo>
                  <a:lnTo>
                    <a:pt x="84" y="2004"/>
                  </a:lnTo>
                  <a:lnTo>
                    <a:pt x="78" y="1998"/>
                  </a:lnTo>
                  <a:lnTo>
                    <a:pt x="78" y="1992"/>
                  </a:lnTo>
                  <a:lnTo>
                    <a:pt x="78" y="1986"/>
                  </a:lnTo>
                  <a:lnTo>
                    <a:pt x="72" y="1986"/>
                  </a:lnTo>
                  <a:lnTo>
                    <a:pt x="66" y="1980"/>
                  </a:lnTo>
                  <a:lnTo>
                    <a:pt x="66" y="1968"/>
                  </a:lnTo>
                  <a:lnTo>
                    <a:pt x="60" y="1956"/>
                  </a:lnTo>
                  <a:lnTo>
                    <a:pt x="60" y="1950"/>
                  </a:lnTo>
                  <a:lnTo>
                    <a:pt x="48" y="1944"/>
                  </a:lnTo>
                  <a:lnTo>
                    <a:pt x="30" y="1926"/>
                  </a:lnTo>
                  <a:lnTo>
                    <a:pt x="12" y="1890"/>
                  </a:lnTo>
                  <a:lnTo>
                    <a:pt x="6" y="1872"/>
                  </a:lnTo>
                  <a:lnTo>
                    <a:pt x="0" y="1854"/>
                  </a:lnTo>
                  <a:lnTo>
                    <a:pt x="6" y="1824"/>
                  </a:lnTo>
                  <a:lnTo>
                    <a:pt x="30" y="1794"/>
                  </a:lnTo>
                  <a:lnTo>
                    <a:pt x="66" y="1752"/>
                  </a:lnTo>
                  <a:lnTo>
                    <a:pt x="72" y="1752"/>
                  </a:lnTo>
                  <a:lnTo>
                    <a:pt x="78" y="1746"/>
                  </a:lnTo>
                  <a:lnTo>
                    <a:pt x="84" y="1746"/>
                  </a:lnTo>
                  <a:lnTo>
                    <a:pt x="90" y="1746"/>
                  </a:lnTo>
                  <a:lnTo>
                    <a:pt x="138" y="1674"/>
                  </a:lnTo>
                  <a:lnTo>
                    <a:pt x="186" y="1620"/>
                  </a:lnTo>
                  <a:lnTo>
                    <a:pt x="186" y="1614"/>
                  </a:lnTo>
                  <a:lnTo>
                    <a:pt x="186" y="1608"/>
                  </a:lnTo>
                  <a:lnTo>
                    <a:pt x="192" y="1608"/>
                  </a:lnTo>
                  <a:lnTo>
                    <a:pt x="192" y="1614"/>
                  </a:lnTo>
                  <a:lnTo>
                    <a:pt x="198" y="1614"/>
                  </a:lnTo>
                  <a:lnTo>
                    <a:pt x="198" y="1608"/>
                  </a:lnTo>
                  <a:lnTo>
                    <a:pt x="198" y="1602"/>
                  </a:lnTo>
                  <a:lnTo>
                    <a:pt x="204" y="1602"/>
                  </a:lnTo>
                  <a:lnTo>
                    <a:pt x="204" y="1596"/>
                  </a:lnTo>
                  <a:lnTo>
                    <a:pt x="210" y="1590"/>
                  </a:lnTo>
                  <a:lnTo>
                    <a:pt x="216" y="1590"/>
                  </a:lnTo>
                  <a:lnTo>
                    <a:pt x="216" y="1584"/>
                  </a:lnTo>
                  <a:lnTo>
                    <a:pt x="222" y="1584"/>
                  </a:lnTo>
                  <a:lnTo>
                    <a:pt x="228" y="1572"/>
                  </a:lnTo>
                  <a:lnTo>
                    <a:pt x="222" y="1572"/>
                  </a:lnTo>
                  <a:lnTo>
                    <a:pt x="228" y="1566"/>
                  </a:lnTo>
                  <a:lnTo>
                    <a:pt x="228" y="1560"/>
                  </a:lnTo>
                  <a:lnTo>
                    <a:pt x="252" y="1548"/>
                  </a:lnTo>
                  <a:lnTo>
                    <a:pt x="276" y="1530"/>
                  </a:lnTo>
                  <a:lnTo>
                    <a:pt x="282" y="1512"/>
                  </a:lnTo>
                  <a:lnTo>
                    <a:pt x="282" y="1506"/>
                  </a:lnTo>
                  <a:lnTo>
                    <a:pt x="282" y="1494"/>
                  </a:lnTo>
                  <a:lnTo>
                    <a:pt x="282" y="1452"/>
                  </a:lnTo>
                  <a:lnTo>
                    <a:pt x="288" y="1440"/>
                  </a:lnTo>
                  <a:lnTo>
                    <a:pt x="294" y="1440"/>
                  </a:lnTo>
                  <a:lnTo>
                    <a:pt x="294" y="1428"/>
                  </a:lnTo>
                  <a:lnTo>
                    <a:pt x="324" y="1368"/>
                  </a:lnTo>
                  <a:lnTo>
                    <a:pt x="330" y="1362"/>
                  </a:lnTo>
                  <a:lnTo>
                    <a:pt x="330" y="1356"/>
                  </a:lnTo>
                  <a:lnTo>
                    <a:pt x="360" y="1338"/>
                  </a:lnTo>
                  <a:lnTo>
                    <a:pt x="366" y="1296"/>
                  </a:lnTo>
                  <a:lnTo>
                    <a:pt x="354" y="1278"/>
                  </a:lnTo>
                  <a:lnTo>
                    <a:pt x="336" y="1230"/>
                  </a:lnTo>
                  <a:lnTo>
                    <a:pt x="270" y="1212"/>
                  </a:lnTo>
                  <a:lnTo>
                    <a:pt x="264" y="1212"/>
                  </a:lnTo>
                  <a:lnTo>
                    <a:pt x="252" y="1200"/>
                  </a:lnTo>
                  <a:lnTo>
                    <a:pt x="234" y="1188"/>
                  </a:lnTo>
                  <a:lnTo>
                    <a:pt x="222" y="1182"/>
                  </a:lnTo>
                  <a:lnTo>
                    <a:pt x="228" y="1104"/>
                  </a:lnTo>
                  <a:lnTo>
                    <a:pt x="228" y="1098"/>
                  </a:lnTo>
                  <a:lnTo>
                    <a:pt x="198" y="1038"/>
                  </a:lnTo>
                  <a:lnTo>
                    <a:pt x="192" y="1032"/>
                  </a:lnTo>
                  <a:lnTo>
                    <a:pt x="180" y="1020"/>
                  </a:lnTo>
                  <a:lnTo>
                    <a:pt x="168" y="996"/>
                  </a:lnTo>
                  <a:lnTo>
                    <a:pt x="162" y="990"/>
                  </a:lnTo>
                  <a:lnTo>
                    <a:pt x="156" y="990"/>
                  </a:lnTo>
                  <a:lnTo>
                    <a:pt x="150" y="990"/>
                  </a:lnTo>
                  <a:lnTo>
                    <a:pt x="132" y="990"/>
                  </a:lnTo>
                  <a:lnTo>
                    <a:pt x="120" y="984"/>
                  </a:lnTo>
                  <a:lnTo>
                    <a:pt x="120" y="990"/>
                  </a:lnTo>
                  <a:lnTo>
                    <a:pt x="114" y="990"/>
                  </a:lnTo>
                  <a:lnTo>
                    <a:pt x="102" y="984"/>
                  </a:lnTo>
                  <a:lnTo>
                    <a:pt x="96" y="984"/>
                  </a:lnTo>
                  <a:lnTo>
                    <a:pt x="96" y="978"/>
                  </a:lnTo>
                  <a:lnTo>
                    <a:pt x="90" y="978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84" y="960"/>
                  </a:lnTo>
                  <a:lnTo>
                    <a:pt x="84" y="954"/>
                  </a:lnTo>
                  <a:lnTo>
                    <a:pt x="78" y="948"/>
                  </a:lnTo>
                  <a:lnTo>
                    <a:pt x="72" y="948"/>
                  </a:lnTo>
                  <a:lnTo>
                    <a:pt x="72" y="942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06"/>
                  </a:lnTo>
                  <a:lnTo>
                    <a:pt x="60" y="888"/>
                  </a:lnTo>
                  <a:lnTo>
                    <a:pt x="54" y="882"/>
                  </a:lnTo>
                  <a:lnTo>
                    <a:pt x="60" y="882"/>
                  </a:lnTo>
                  <a:lnTo>
                    <a:pt x="72" y="876"/>
                  </a:lnTo>
                  <a:lnTo>
                    <a:pt x="78" y="876"/>
                  </a:lnTo>
                  <a:lnTo>
                    <a:pt x="90" y="870"/>
                  </a:lnTo>
                  <a:lnTo>
                    <a:pt x="90" y="864"/>
                  </a:lnTo>
                  <a:lnTo>
                    <a:pt x="96" y="840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80" y="822"/>
                  </a:lnTo>
                  <a:lnTo>
                    <a:pt x="204" y="798"/>
                  </a:lnTo>
                  <a:lnTo>
                    <a:pt x="222" y="786"/>
                  </a:lnTo>
                  <a:lnTo>
                    <a:pt x="252" y="780"/>
                  </a:lnTo>
                  <a:lnTo>
                    <a:pt x="264" y="762"/>
                  </a:lnTo>
                  <a:lnTo>
                    <a:pt x="276" y="762"/>
                  </a:lnTo>
                  <a:lnTo>
                    <a:pt x="288" y="744"/>
                  </a:lnTo>
                  <a:lnTo>
                    <a:pt x="306" y="738"/>
                  </a:lnTo>
                  <a:lnTo>
                    <a:pt x="318" y="732"/>
                  </a:lnTo>
                  <a:lnTo>
                    <a:pt x="324" y="648"/>
                  </a:lnTo>
                  <a:lnTo>
                    <a:pt x="324" y="636"/>
                  </a:lnTo>
                  <a:lnTo>
                    <a:pt x="324" y="630"/>
                  </a:lnTo>
                  <a:lnTo>
                    <a:pt x="330" y="624"/>
                  </a:lnTo>
                  <a:lnTo>
                    <a:pt x="324" y="618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24" y="588"/>
                  </a:lnTo>
                  <a:lnTo>
                    <a:pt x="318" y="576"/>
                  </a:lnTo>
                  <a:lnTo>
                    <a:pt x="318" y="570"/>
                  </a:lnTo>
                  <a:lnTo>
                    <a:pt x="324" y="570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30" y="558"/>
                  </a:lnTo>
                  <a:lnTo>
                    <a:pt x="336" y="558"/>
                  </a:lnTo>
                  <a:lnTo>
                    <a:pt x="342" y="558"/>
                  </a:lnTo>
                  <a:lnTo>
                    <a:pt x="348" y="558"/>
                  </a:lnTo>
                  <a:lnTo>
                    <a:pt x="354" y="564"/>
                  </a:lnTo>
                  <a:lnTo>
                    <a:pt x="360" y="564"/>
                  </a:lnTo>
                  <a:lnTo>
                    <a:pt x="366" y="570"/>
                  </a:lnTo>
                  <a:lnTo>
                    <a:pt x="366" y="576"/>
                  </a:lnTo>
                  <a:lnTo>
                    <a:pt x="372" y="570"/>
                  </a:lnTo>
                  <a:lnTo>
                    <a:pt x="378" y="570"/>
                  </a:lnTo>
                  <a:lnTo>
                    <a:pt x="390" y="570"/>
                  </a:lnTo>
                  <a:lnTo>
                    <a:pt x="402" y="570"/>
                  </a:lnTo>
                  <a:lnTo>
                    <a:pt x="408" y="570"/>
                  </a:lnTo>
                  <a:lnTo>
                    <a:pt x="414" y="564"/>
                  </a:lnTo>
                  <a:lnTo>
                    <a:pt x="420" y="564"/>
                  </a:lnTo>
                  <a:lnTo>
                    <a:pt x="420" y="570"/>
                  </a:lnTo>
                  <a:lnTo>
                    <a:pt x="426" y="570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44" y="570"/>
                  </a:lnTo>
                  <a:lnTo>
                    <a:pt x="450" y="564"/>
                  </a:lnTo>
                  <a:lnTo>
                    <a:pt x="474" y="558"/>
                  </a:lnTo>
                  <a:lnTo>
                    <a:pt x="486" y="54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40" y="474"/>
                  </a:lnTo>
                  <a:lnTo>
                    <a:pt x="558" y="456"/>
                  </a:lnTo>
                  <a:lnTo>
                    <a:pt x="582" y="450"/>
                  </a:lnTo>
                  <a:lnTo>
                    <a:pt x="594" y="414"/>
                  </a:lnTo>
                  <a:lnTo>
                    <a:pt x="612" y="390"/>
                  </a:lnTo>
                  <a:lnTo>
                    <a:pt x="636" y="390"/>
                  </a:lnTo>
                  <a:lnTo>
                    <a:pt x="666" y="390"/>
                  </a:lnTo>
                  <a:lnTo>
                    <a:pt x="696" y="390"/>
                  </a:lnTo>
                  <a:lnTo>
                    <a:pt x="726" y="390"/>
                  </a:lnTo>
                  <a:lnTo>
                    <a:pt x="762" y="378"/>
                  </a:lnTo>
                  <a:lnTo>
                    <a:pt x="780" y="366"/>
                  </a:lnTo>
                  <a:lnTo>
                    <a:pt x="780" y="342"/>
                  </a:lnTo>
                  <a:lnTo>
                    <a:pt x="786" y="342"/>
                  </a:lnTo>
                  <a:lnTo>
                    <a:pt x="786" y="336"/>
                  </a:lnTo>
                  <a:lnTo>
                    <a:pt x="786" y="330"/>
                  </a:lnTo>
                  <a:lnTo>
                    <a:pt x="786" y="324"/>
                  </a:lnTo>
                  <a:lnTo>
                    <a:pt x="816" y="318"/>
                  </a:lnTo>
                  <a:lnTo>
                    <a:pt x="834" y="312"/>
                  </a:lnTo>
                  <a:lnTo>
                    <a:pt x="840" y="318"/>
                  </a:lnTo>
                  <a:lnTo>
                    <a:pt x="852" y="318"/>
                  </a:lnTo>
                  <a:lnTo>
                    <a:pt x="858" y="306"/>
                  </a:lnTo>
                  <a:lnTo>
                    <a:pt x="864" y="288"/>
                  </a:lnTo>
                  <a:lnTo>
                    <a:pt x="870" y="282"/>
                  </a:lnTo>
                  <a:lnTo>
                    <a:pt x="876" y="276"/>
                  </a:lnTo>
                  <a:lnTo>
                    <a:pt x="882" y="264"/>
                  </a:lnTo>
                  <a:lnTo>
                    <a:pt x="882" y="258"/>
                  </a:lnTo>
                  <a:lnTo>
                    <a:pt x="888" y="252"/>
                  </a:lnTo>
                  <a:lnTo>
                    <a:pt x="894" y="240"/>
                  </a:lnTo>
                  <a:lnTo>
                    <a:pt x="906" y="228"/>
                  </a:lnTo>
                  <a:lnTo>
                    <a:pt x="912" y="228"/>
                  </a:lnTo>
                  <a:lnTo>
                    <a:pt x="936" y="228"/>
                  </a:lnTo>
                  <a:lnTo>
                    <a:pt x="942" y="222"/>
                  </a:lnTo>
                  <a:lnTo>
                    <a:pt x="948" y="216"/>
                  </a:lnTo>
                  <a:lnTo>
                    <a:pt x="954" y="216"/>
                  </a:lnTo>
                  <a:lnTo>
                    <a:pt x="960" y="216"/>
                  </a:lnTo>
                  <a:lnTo>
                    <a:pt x="966" y="216"/>
                  </a:lnTo>
                  <a:lnTo>
                    <a:pt x="978" y="216"/>
                  </a:lnTo>
                  <a:lnTo>
                    <a:pt x="990" y="222"/>
                  </a:lnTo>
                  <a:lnTo>
                    <a:pt x="996" y="222"/>
                  </a:lnTo>
                  <a:lnTo>
                    <a:pt x="1002" y="228"/>
                  </a:lnTo>
                  <a:lnTo>
                    <a:pt x="1014" y="234"/>
                  </a:lnTo>
                  <a:lnTo>
                    <a:pt x="1020" y="234"/>
                  </a:lnTo>
                  <a:lnTo>
                    <a:pt x="1032" y="240"/>
                  </a:lnTo>
                  <a:lnTo>
                    <a:pt x="1044" y="240"/>
                  </a:lnTo>
                  <a:lnTo>
                    <a:pt x="1050" y="240"/>
                  </a:lnTo>
                  <a:lnTo>
                    <a:pt x="1056" y="246"/>
                  </a:lnTo>
                  <a:lnTo>
                    <a:pt x="1068" y="264"/>
                  </a:lnTo>
                  <a:lnTo>
                    <a:pt x="1086" y="276"/>
                  </a:lnTo>
                  <a:lnTo>
                    <a:pt x="1092" y="276"/>
                  </a:lnTo>
                  <a:lnTo>
                    <a:pt x="1104" y="282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8" y="312"/>
                  </a:lnTo>
                  <a:lnTo>
                    <a:pt x="1152" y="324"/>
                  </a:lnTo>
                  <a:lnTo>
                    <a:pt x="1188" y="324"/>
                  </a:lnTo>
                  <a:lnTo>
                    <a:pt x="1206" y="318"/>
                  </a:lnTo>
                  <a:lnTo>
                    <a:pt x="1200" y="294"/>
                  </a:lnTo>
                  <a:lnTo>
                    <a:pt x="1206" y="252"/>
                  </a:lnTo>
                  <a:lnTo>
                    <a:pt x="1218" y="222"/>
                  </a:lnTo>
                  <a:lnTo>
                    <a:pt x="1212" y="222"/>
                  </a:lnTo>
                  <a:lnTo>
                    <a:pt x="1212" y="216"/>
                  </a:lnTo>
                  <a:lnTo>
                    <a:pt x="1218" y="204"/>
                  </a:lnTo>
                  <a:lnTo>
                    <a:pt x="1224" y="198"/>
                  </a:lnTo>
                  <a:lnTo>
                    <a:pt x="1224" y="192"/>
                  </a:lnTo>
                  <a:lnTo>
                    <a:pt x="1236" y="180"/>
                  </a:lnTo>
                  <a:lnTo>
                    <a:pt x="1254" y="156"/>
                  </a:lnTo>
                  <a:lnTo>
                    <a:pt x="1260" y="150"/>
                  </a:lnTo>
                  <a:lnTo>
                    <a:pt x="1260" y="144"/>
                  </a:lnTo>
                  <a:lnTo>
                    <a:pt x="1266" y="138"/>
                  </a:lnTo>
                  <a:lnTo>
                    <a:pt x="1272" y="138"/>
                  </a:lnTo>
                  <a:lnTo>
                    <a:pt x="1272" y="120"/>
                  </a:lnTo>
                  <a:lnTo>
                    <a:pt x="1278" y="114"/>
                  </a:lnTo>
                  <a:lnTo>
                    <a:pt x="1278" y="108"/>
                  </a:lnTo>
                  <a:lnTo>
                    <a:pt x="1278" y="102"/>
                  </a:lnTo>
                  <a:lnTo>
                    <a:pt x="1278" y="90"/>
                  </a:lnTo>
                  <a:lnTo>
                    <a:pt x="1278" y="84"/>
                  </a:lnTo>
                  <a:lnTo>
                    <a:pt x="1278" y="78"/>
                  </a:lnTo>
                  <a:lnTo>
                    <a:pt x="1278" y="72"/>
                  </a:lnTo>
                  <a:lnTo>
                    <a:pt x="1278" y="60"/>
                  </a:lnTo>
                  <a:lnTo>
                    <a:pt x="1284" y="48"/>
                  </a:lnTo>
                  <a:lnTo>
                    <a:pt x="1284" y="24"/>
                  </a:lnTo>
                  <a:lnTo>
                    <a:pt x="1284" y="18"/>
                  </a:lnTo>
                  <a:lnTo>
                    <a:pt x="1308" y="24"/>
                  </a:lnTo>
                  <a:lnTo>
                    <a:pt x="1332" y="30"/>
                  </a:lnTo>
                  <a:lnTo>
                    <a:pt x="1368" y="30"/>
                  </a:lnTo>
                  <a:lnTo>
                    <a:pt x="1392" y="24"/>
                  </a:lnTo>
                  <a:lnTo>
                    <a:pt x="1410" y="18"/>
                  </a:lnTo>
                  <a:lnTo>
                    <a:pt x="1416" y="6"/>
                  </a:lnTo>
                  <a:lnTo>
                    <a:pt x="1500" y="6"/>
                  </a:lnTo>
                  <a:lnTo>
                    <a:pt x="1506" y="0"/>
                  </a:lnTo>
                  <a:lnTo>
                    <a:pt x="1506" y="6"/>
                  </a:lnTo>
                  <a:lnTo>
                    <a:pt x="1506" y="18"/>
                  </a:lnTo>
                  <a:lnTo>
                    <a:pt x="1506" y="24"/>
                  </a:lnTo>
                  <a:lnTo>
                    <a:pt x="1500" y="30"/>
                  </a:lnTo>
                  <a:lnTo>
                    <a:pt x="1500" y="42"/>
                  </a:lnTo>
                  <a:lnTo>
                    <a:pt x="1494" y="54"/>
                  </a:lnTo>
                  <a:lnTo>
                    <a:pt x="1488" y="60"/>
                  </a:lnTo>
                  <a:lnTo>
                    <a:pt x="1482" y="60"/>
                  </a:lnTo>
                  <a:lnTo>
                    <a:pt x="1476" y="66"/>
                  </a:lnTo>
                  <a:lnTo>
                    <a:pt x="1476" y="72"/>
                  </a:lnTo>
                  <a:lnTo>
                    <a:pt x="1476" y="78"/>
                  </a:lnTo>
                  <a:lnTo>
                    <a:pt x="1470" y="78"/>
                  </a:lnTo>
                  <a:lnTo>
                    <a:pt x="1464" y="90"/>
                  </a:lnTo>
                  <a:lnTo>
                    <a:pt x="1458" y="96"/>
                  </a:lnTo>
                  <a:lnTo>
                    <a:pt x="1458" y="102"/>
                  </a:lnTo>
                  <a:lnTo>
                    <a:pt x="1452" y="120"/>
                  </a:lnTo>
                  <a:lnTo>
                    <a:pt x="1452" y="132"/>
                  </a:lnTo>
                  <a:lnTo>
                    <a:pt x="1446" y="144"/>
                  </a:lnTo>
                  <a:lnTo>
                    <a:pt x="1446" y="150"/>
                  </a:lnTo>
                  <a:lnTo>
                    <a:pt x="1440" y="150"/>
                  </a:lnTo>
                  <a:lnTo>
                    <a:pt x="1434" y="156"/>
                  </a:lnTo>
                  <a:lnTo>
                    <a:pt x="1428" y="168"/>
                  </a:lnTo>
                  <a:lnTo>
                    <a:pt x="1422" y="168"/>
                  </a:lnTo>
                  <a:lnTo>
                    <a:pt x="1416" y="174"/>
                  </a:lnTo>
                  <a:lnTo>
                    <a:pt x="1410" y="186"/>
                  </a:lnTo>
                  <a:lnTo>
                    <a:pt x="1410" y="204"/>
                  </a:lnTo>
                  <a:lnTo>
                    <a:pt x="1404" y="210"/>
                  </a:lnTo>
                  <a:lnTo>
                    <a:pt x="1404" y="216"/>
                  </a:lnTo>
                  <a:lnTo>
                    <a:pt x="1410" y="228"/>
                  </a:lnTo>
                  <a:lnTo>
                    <a:pt x="1410" y="234"/>
                  </a:lnTo>
                  <a:lnTo>
                    <a:pt x="1410" y="240"/>
                  </a:lnTo>
                  <a:lnTo>
                    <a:pt x="1416" y="252"/>
                  </a:lnTo>
                  <a:lnTo>
                    <a:pt x="1416" y="258"/>
                  </a:lnTo>
                  <a:lnTo>
                    <a:pt x="1422" y="264"/>
                  </a:lnTo>
                  <a:lnTo>
                    <a:pt x="1422" y="270"/>
                  </a:lnTo>
                  <a:lnTo>
                    <a:pt x="1422" y="282"/>
                  </a:lnTo>
                  <a:lnTo>
                    <a:pt x="1416" y="288"/>
                  </a:lnTo>
                  <a:lnTo>
                    <a:pt x="1410" y="294"/>
                  </a:lnTo>
                  <a:lnTo>
                    <a:pt x="1404" y="300"/>
                  </a:lnTo>
                  <a:lnTo>
                    <a:pt x="1404" y="306"/>
                  </a:lnTo>
                  <a:lnTo>
                    <a:pt x="1398" y="324"/>
                  </a:lnTo>
                  <a:lnTo>
                    <a:pt x="1404" y="330"/>
                  </a:lnTo>
                  <a:lnTo>
                    <a:pt x="1404" y="342"/>
                  </a:lnTo>
                  <a:lnTo>
                    <a:pt x="1392" y="354"/>
                  </a:lnTo>
                  <a:lnTo>
                    <a:pt x="1392" y="360"/>
                  </a:lnTo>
                  <a:lnTo>
                    <a:pt x="1392" y="372"/>
                  </a:lnTo>
                  <a:lnTo>
                    <a:pt x="1392" y="384"/>
                  </a:lnTo>
                  <a:lnTo>
                    <a:pt x="1392" y="396"/>
                  </a:lnTo>
                  <a:lnTo>
                    <a:pt x="1392" y="408"/>
                  </a:lnTo>
                  <a:lnTo>
                    <a:pt x="1386" y="414"/>
                  </a:lnTo>
                  <a:lnTo>
                    <a:pt x="1380" y="420"/>
                  </a:lnTo>
                  <a:lnTo>
                    <a:pt x="1380" y="426"/>
                  </a:lnTo>
                  <a:lnTo>
                    <a:pt x="1368" y="432"/>
                  </a:lnTo>
                  <a:lnTo>
                    <a:pt x="1362" y="444"/>
                  </a:lnTo>
                  <a:lnTo>
                    <a:pt x="1362" y="450"/>
                  </a:lnTo>
                  <a:lnTo>
                    <a:pt x="1362" y="462"/>
                  </a:lnTo>
                  <a:lnTo>
                    <a:pt x="1362" y="468"/>
                  </a:lnTo>
                  <a:lnTo>
                    <a:pt x="1362" y="474"/>
                  </a:lnTo>
                  <a:lnTo>
                    <a:pt x="1356" y="474"/>
                  </a:lnTo>
                  <a:lnTo>
                    <a:pt x="1350" y="480"/>
                  </a:lnTo>
                  <a:lnTo>
                    <a:pt x="1344" y="486"/>
                  </a:lnTo>
                  <a:lnTo>
                    <a:pt x="1338" y="498"/>
                  </a:lnTo>
                  <a:lnTo>
                    <a:pt x="1332" y="510"/>
                  </a:lnTo>
                  <a:lnTo>
                    <a:pt x="1320" y="510"/>
                  </a:lnTo>
                  <a:lnTo>
                    <a:pt x="1314" y="516"/>
                  </a:lnTo>
                  <a:lnTo>
                    <a:pt x="1302" y="522"/>
                  </a:lnTo>
                  <a:lnTo>
                    <a:pt x="1296" y="522"/>
                  </a:lnTo>
                  <a:lnTo>
                    <a:pt x="1284" y="516"/>
                  </a:lnTo>
                  <a:lnTo>
                    <a:pt x="1278" y="516"/>
                  </a:lnTo>
                  <a:lnTo>
                    <a:pt x="1272" y="522"/>
                  </a:lnTo>
                  <a:lnTo>
                    <a:pt x="1266" y="522"/>
                  </a:lnTo>
                  <a:lnTo>
                    <a:pt x="1266" y="528"/>
                  </a:lnTo>
                  <a:lnTo>
                    <a:pt x="1254" y="540"/>
                  </a:lnTo>
                  <a:lnTo>
                    <a:pt x="1248" y="546"/>
                  </a:lnTo>
                  <a:lnTo>
                    <a:pt x="1242" y="558"/>
                  </a:lnTo>
                  <a:lnTo>
                    <a:pt x="1230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30" y="594"/>
                  </a:lnTo>
                  <a:lnTo>
                    <a:pt x="1230" y="600"/>
                  </a:lnTo>
                  <a:lnTo>
                    <a:pt x="1236" y="606"/>
                  </a:lnTo>
                  <a:lnTo>
                    <a:pt x="1242" y="606"/>
                  </a:lnTo>
                  <a:lnTo>
                    <a:pt x="1242" y="612"/>
                  </a:lnTo>
                  <a:lnTo>
                    <a:pt x="1242" y="618"/>
                  </a:lnTo>
                  <a:lnTo>
                    <a:pt x="1242" y="624"/>
                  </a:lnTo>
                  <a:lnTo>
                    <a:pt x="1236" y="630"/>
                  </a:lnTo>
                  <a:lnTo>
                    <a:pt x="1230" y="642"/>
                  </a:lnTo>
                  <a:lnTo>
                    <a:pt x="1230" y="648"/>
                  </a:lnTo>
                  <a:lnTo>
                    <a:pt x="1218" y="654"/>
                  </a:lnTo>
                  <a:lnTo>
                    <a:pt x="1212" y="654"/>
                  </a:lnTo>
                  <a:lnTo>
                    <a:pt x="1212" y="660"/>
                  </a:lnTo>
                  <a:lnTo>
                    <a:pt x="1212" y="666"/>
                  </a:lnTo>
                  <a:lnTo>
                    <a:pt x="1212" y="672"/>
                  </a:lnTo>
                  <a:lnTo>
                    <a:pt x="1212" y="678"/>
                  </a:lnTo>
                  <a:lnTo>
                    <a:pt x="1218" y="684"/>
                  </a:lnTo>
                  <a:lnTo>
                    <a:pt x="1218" y="690"/>
                  </a:lnTo>
                  <a:lnTo>
                    <a:pt x="1224" y="696"/>
                  </a:lnTo>
                  <a:lnTo>
                    <a:pt x="1230" y="702"/>
                  </a:lnTo>
                  <a:lnTo>
                    <a:pt x="1236" y="696"/>
                  </a:lnTo>
                  <a:lnTo>
                    <a:pt x="1242" y="702"/>
                  </a:lnTo>
                  <a:lnTo>
                    <a:pt x="1248" y="708"/>
                  </a:lnTo>
                  <a:lnTo>
                    <a:pt x="1254" y="714"/>
                  </a:lnTo>
                  <a:lnTo>
                    <a:pt x="1254" y="720"/>
                  </a:lnTo>
                  <a:lnTo>
                    <a:pt x="1260" y="720"/>
                  </a:lnTo>
                  <a:lnTo>
                    <a:pt x="1254" y="732"/>
                  </a:lnTo>
                  <a:lnTo>
                    <a:pt x="1248" y="738"/>
                  </a:lnTo>
                  <a:lnTo>
                    <a:pt x="1242" y="744"/>
                  </a:lnTo>
                  <a:lnTo>
                    <a:pt x="1236" y="750"/>
                  </a:lnTo>
                  <a:lnTo>
                    <a:pt x="1236" y="756"/>
                  </a:lnTo>
                  <a:lnTo>
                    <a:pt x="1236" y="762"/>
                  </a:lnTo>
                  <a:lnTo>
                    <a:pt x="1236" y="768"/>
                  </a:lnTo>
                  <a:lnTo>
                    <a:pt x="1236" y="780"/>
                  </a:lnTo>
                  <a:lnTo>
                    <a:pt x="1230" y="780"/>
                  </a:lnTo>
                  <a:lnTo>
                    <a:pt x="1230" y="786"/>
                  </a:lnTo>
                  <a:lnTo>
                    <a:pt x="1230" y="792"/>
                  </a:lnTo>
                  <a:lnTo>
                    <a:pt x="1230" y="804"/>
                  </a:lnTo>
                  <a:lnTo>
                    <a:pt x="1224" y="810"/>
                  </a:lnTo>
                  <a:lnTo>
                    <a:pt x="1218" y="816"/>
                  </a:lnTo>
                  <a:lnTo>
                    <a:pt x="1224" y="822"/>
                  </a:lnTo>
                  <a:lnTo>
                    <a:pt x="1224" y="828"/>
                  </a:lnTo>
                  <a:lnTo>
                    <a:pt x="1218" y="834"/>
                  </a:lnTo>
                  <a:lnTo>
                    <a:pt x="1224" y="834"/>
                  </a:lnTo>
                  <a:lnTo>
                    <a:pt x="1224" y="840"/>
                  </a:lnTo>
                  <a:lnTo>
                    <a:pt x="1224" y="846"/>
                  </a:lnTo>
                  <a:lnTo>
                    <a:pt x="1224" y="852"/>
                  </a:lnTo>
                  <a:lnTo>
                    <a:pt x="1218" y="858"/>
                  </a:lnTo>
                  <a:lnTo>
                    <a:pt x="1218" y="870"/>
                  </a:lnTo>
                  <a:lnTo>
                    <a:pt x="1212" y="870"/>
                  </a:lnTo>
                  <a:lnTo>
                    <a:pt x="1212" y="876"/>
                  </a:lnTo>
                  <a:lnTo>
                    <a:pt x="1206" y="888"/>
                  </a:lnTo>
                  <a:lnTo>
                    <a:pt x="1200" y="882"/>
                  </a:lnTo>
                  <a:lnTo>
                    <a:pt x="1194" y="888"/>
                  </a:lnTo>
                  <a:lnTo>
                    <a:pt x="1188" y="894"/>
                  </a:lnTo>
                  <a:lnTo>
                    <a:pt x="1182" y="894"/>
                  </a:lnTo>
                  <a:lnTo>
                    <a:pt x="1182" y="900"/>
                  </a:lnTo>
                  <a:lnTo>
                    <a:pt x="1176" y="900"/>
                  </a:lnTo>
                  <a:lnTo>
                    <a:pt x="1170" y="894"/>
                  </a:lnTo>
                  <a:lnTo>
                    <a:pt x="1164" y="900"/>
                  </a:lnTo>
                  <a:lnTo>
                    <a:pt x="1158" y="900"/>
                  </a:lnTo>
                  <a:lnTo>
                    <a:pt x="1152" y="900"/>
                  </a:lnTo>
                  <a:lnTo>
                    <a:pt x="1140" y="900"/>
                  </a:lnTo>
                  <a:lnTo>
                    <a:pt x="1134" y="900"/>
                  </a:lnTo>
                  <a:lnTo>
                    <a:pt x="1128" y="906"/>
                  </a:lnTo>
                  <a:lnTo>
                    <a:pt x="1110" y="906"/>
                  </a:lnTo>
                  <a:lnTo>
                    <a:pt x="1104" y="906"/>
                  </a:lnTo>
                  <a:lnTo>
                    <a:pt x="1098" y="906"/>
                  </a:lnTo>
                  <a:lnTo>
                    <a:pt x="1092" y="912"/>
                  </a:lnTo>
                  <a:lnTo>
                    <a:pt x="1080" y="918"/>
                  </a:lnTo>
                  <a:lnTo>
                    <a:pt x="1068" y="930"/>
                  </a:lnTo>
                  <a:lnTo>
                    <a:pt x="1062" y="930"/>
                  </a:lnTo>
                  <a:lnTo>
                    <a:pt x="1056" y="930"/>
                  </a:lnTo>
                  <a:lnTo>
                    <a:pt x="1050" y="930"/>
                  </a:lnTo>
                  <a:lnTo>
                    <a:pt x="1050" y="936"/>
                  </a:lnTo>
                  <a:lnTo>
                    <a:pt x="1038" y="942"/>
                  </a:lnTo>
                  <a:lnTo>
                    <a:pt x="1032" y="948"/>
                  </a:lnTo>
                  <a:lnTo>
                    <a:pt x="1026" y="954"/>
                  </a:lnTo>
                  <a:lnTo>
                    <a:pt x="1020" y="960"/>
                  </a:lnTo>
                  <a:lnTo>
                    <a:pt x="1014" y="966"/>
                  </a:lnTo>
                  <a:lnTo>
                    <a:pt x="1002" y="966"/>
                  </a:lnTo>
                  <a:lnTo>
                    <a:pt x="990" y="978"/>
                  </a:lnTo>
                  <a:lnTo>
                    <a:pt x="984" y="978"/>
                  </a:lnTo>
                  <a:lnTo>
                    <a:pt x="978" y="984"/>
                  </a:lnTo>
                  <a:lnTo>
                    <a:pt x="972" y="984"/>
                  </a:lnTo>
                  <a:lnTo>
                    <a:pt x="978" y="990"/>
                  </a:lnTo>
                  <a:lnTo>
                    <a:pt x="972" y="996"/>
                  </a:lnTo>
                  <a:lnTo>
                    <a:pt x="978" y="1002"/>
                  </a:lnTo>
                  <a:lnTo>
                    <a:pt x="1002" y="1002"/>
                  </a:lnTo>
                  <a:lnTo>
                    <a:pt x="1002" y="1008"/>
                  </a:lnTo>
                  <a:lnTo>
                    <a:pt x="1008" y="1020"/>
                  </a:lnTo>
                  <a:lnTo>
                    <a:pt x="1002" y="1026"/>
                  </a:lnTo>
                  <a:lnTo>
                    <a:pt x="1002" y="1032"/>
                  </a:lnTo>
                  <a:lnTo>
                    <a:pt x="1002" y="1050"/>
                  </a:lnTo>
                  <a:lnTo>
                    <a:pt x="1002" y="1056"/>
                  </a:lnTo>
                  <a:lnTo>
                    <a:pt x="1008" y="1062"/>
                  </a:lnTo>
                  <a:lnTo>
                    <a:pt x="1008" y="1074"/>
                  </a:lnTo>
                  <a:lnTo>
                    <a:pt x="1008" y="1086"/>
                  </a:lnTo>
                  <a:lnTo>
                    <a:pt x="996" y="1092"/>
                  </a:lnTo>
                  <a:lnTo>
                    <a:pt x="996" y="1098"/>
                  </a:lnTo>
                  <a:lnTo>
                    <a:pt x="996" y="1104"/>
                  </a:lnTo>
                  <a:lnTo>
                    <a:pt x="990" y="1110"/>
                  </a:lnTo>
                  <a:lnTo>
                    <a:pt x="990" y="1116"/>
                  </a:lnTo>
                  <a:lnTo>
                    <a:pt x="996" y="1122"/>
                  </a:lnTo>
                  <a:lnTo>
                    <a:pt x="990" y="1128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96" y="1140"/>
                  </a:lnTo>
                  <a:lnTo>
                    <a:pt x="996" y="1146"/>
                  </a:lnTo>
                  <a:lnTo>
                    <a:pt x="996" y="1152"/>
                  </a:lnTo>
                  <a:lnTo>
                    <a:pt x="996" y="1158"/>
                  </a:lnTo>
                  <a:lnTo>
                    <a:pt x="996" y="1164"/>
                  </a:lnTo>
                  <a:lnTo>
                    <a:pt x="996" y="1170"/>
                  </a:lnTo>
                  <a:lnTo>
                    <a:pt x="996" y="1176"/>
                  </a:lnTo>
                  <a:lnTo>
                    <a:pt x="990" y="1182"/>
                  </a:lnTo>
                  <a:lnTo>
                    <a:pt x="990" y="1188"/>
                  </a:lnTo>
                  <a:lnTo>
                    <a:pt x="984" y="1200"/>
                  </a:lnTo>
                  <a:lnTo>
                    <a:pt x="990" y="1206"/>
                  </a:lnTo>
                  <a:lnTo>
                    <a:pt x="990" y="1212"/>
                  </a:lnTo>
                  <a:lnTo>
                    <a:pt x="990" y="1218"/>
                  </a:lnTo>
                  <a:lnTo>
                    <a:pt x="978" y="1230"/>
                  </a:lnTo>
                  <a:lnTo>
                    <a:pt x="972" y="1236"/>
                  </a:lnTo>
                  <a:lnTo>
                    <a:pt x="972" y="1242"/>
                  </a:lnTo>
                  <a:lnTo>
                    <a:pt x="966" y="1248"/>
                  </a:lnTo>
                  <a:lnTo>
                    <a:pt x="960" y="1260"/>
                  </a:lnTo>
                  <a:lnTo>
                    <a:pt x="954" y="1266"/>
                  </a:lnTo>
                  <a:lnTo>
                    <a:pt x="942" y="1278"/>
                  </a:lnTo>
                  <a:lnTo>
                    <a:pt x="936" y="1278"/>
                  </a:lnTo>
                  <a:lnTo>
                    <a:pt x="936" y="1284"/>
                  </a:lnTo>
                  <a:lnTo>
                    <a:pt x="936" y="1296"/>
                  </a:lnTo>
                  <a:lnTo>
                    <a:pt x="936" y="1302"/>
                  </a:lnTo>
                  <a:lnTo>
                    <a:pt x="942" y="1302"/>
                  </a:lnTo>
                  <a:lnTo>
                    <a:pt x="942" y="1308"/>
                  </a:lnTo>
                  <a:lnTo>
                    <a:pt x="936" y="1314"/>
                  </a:lnTo>
                  <a:lnTo>
                    <a:pt x="930" y="1320"/>
                  </a:lnTo>
                  <a:lnTo>
                    <a:pt x="930" y="1326"/>
                  </a:lnTo>
                  <a:lnTo>
                    <a:pt x="930" y="1332"/>
                  </a:lnTo>
                  <a:lnTo>
                    <a:pt x="936" y="1338"/>
                  </a:lnTo>
                  <a:lnTo>
                    <a:pt x="936" y="1344"/>
                  </a:lnTo>
                  <a:lnTo>
                    <a:pt x="942" y="1356"/>
                  </a:lnTo>
                  <a:lnTo>
                    <a:pt x="948" y="1368"/>
                  </a:lnTo>
                  <a:lnTo>
                    <a:pt x="942" y="1380"/>
                  </a:lnTo>
                  <a:lnTo>
                    <a:pt x="936" y="1386"/>
                  </a:lnTo>
                  <a:lnTo>
                    <a:pt x="930" y="1392"/>
                  </a:lnTo>
                  <a:lnTo>
                    <a:pt x="924" y="1392"/>
                  </a:lnTo>
                  <a:lnTo>
                    <a:pt x="918" y="1386"/>
                  </a:lnTo>
                  <a:lnTo>
                    <a:pt x="912" y="1386"/>
                  </a:lnTo>
                  <a:lnTo>
                    <a:pt x="906" y="1386"/>
                  </a:lnTo>
                  <a:lnTo>
                    <a:pt x="900" y="1386"/>
                  </a:lnTo>
                  <a:lnTo>
                    <a:pt x="900" y="1392"/>
                  </a:lnTo>
                  <a:lnTo>
                    <a:pt x="894" y="1392"/>
                  </a:lnTo>
                  <a:lnTo>
                    <a:pt x="888" y="1392"/>
                  </a:lnTo>
                  <a:lnTo>
                    <a:pt x="888" y="1398"/>
                  </a:lnTo>
                  <a:lnTo>
                    <a:pt x="882" y="1404"/>
                  </a:lnTo>
                  <a:lnTo>
                    <a:pt x="882" y="1416"/>
                  </a:lnTo>
                  <a:lnTo>
                    <a:pt x="882" y="1428"/>
                  </a:lnTo>
                  <a:lnTo>
                    <a:pt x="882" y="1434"/>
                  </a:lnTo>
                  <a:lnTo>
                    <a:pt x="870" y="1440"/>
                  </a:lnTo>
                  <a:lnTo>
                    <a:pt x="864" y="1452"/>
                  </a:lnTo>
                  <a:lnTo>
                    <a:pt x="870" y="1452"/>
                  </a:lnTo>
                  <a:lnTo>
                    <a:pt x="864" y="1458"/>
                  </a:lnTo>
                  <a:lnTo>
                    <a:pt x="858" y="1464"/>
                  </a:lnTo>
                  <a:lnTo>
                    <a:pt x="852" y="1464"/>
                  </a:lnTo>
                  <a:lnTo>
                    <a:pt x="846" y="1458"/>
                  </a:lnTo>
                  <a:lnTo>
                    <a:pt x="840" y="1458"/>
                  </a:lnTo>
                  <a:lnTo>
                    <a:pt x="828" y="1470"/>
                  </a:lnTo>
                  <a:lnTo>
                    <a:pt x="810" y="1482"/>
                  </a:lnTo>
                  <a:lnTo>
                    <a:pt x="804" y="1488"/>
                  </a:lnTo>
                  <a:lnTo>
                    <a:pt x="798" y="1488"/>
                  </a:lnTo>
                  <a:lnTo>
                    <a:pt x="792" y="1488"/>
                  </a:lnTo>
                  <a:lnTo>
                    <a:pt x="786" y="1488"/>
                  </a:lnTo>
                  <a:lnTo>
                    <a:pt x="768" y="1482"/>
                  </a:lnTo>
                  <a:lnTo>
                    <a:pt x="762" y="1476"/>
                  </a:lnTo>
                  <a:lnTo>
                    <a:pt x="744" y="1476"/>
                  </a:lnTo>
                  <a:lnTo>
                    <a:pt x="738" y="1476"/>
                  </a:lnTo>
                  <a:lnTo>
                    <a:pt x="732" y="1476"/>
                  </a:lnTo>
                  <a:lnTo>
                    <a:pt x="726" y="1482"/>
                  </a:lnTo>
                  <a:lnTo>
                    <a:pt x="726" y="1488"/>
                  </a:lnTo>
                  <a:lnTo>
                    <a:pt x="726" y="1494"/>
                  </a:lnTo>
                  <a:lnTo>
                    <a:pt x="726" y="1500"/>
                  </a:lnTo>
                  <a:lnTo>
                    <a:pt x="720" y="1500"/>
                  </a:lnTo>
                  <a:lnTo>
                    <a:pt x="720" y="1506"/>
                  </a:lnTo>
                  <a:lnTo>
                    <a:pt x="714" y="1512"/>
                  </a:lnTo>
                  <a:lnTo>
                    <a:pt x="714" y="1518"/>
                  </a:lnTo>
                  <a:lnTo>
                    <a:pt x="708" y="1518"/>
                  </a:lnTo>
                  <a:lnTo>
                    <a:pt x="708" y="1530"/>
                  </a:lnTo>
                  <a:lnTo>
                    <a:pt x="708" y="1536"/>
                  </a:lnTo>
                  <a:lnTo>
                    <a:pt x="708" y="1542"/>
                  </a:lnTo>
                  <a:lnTo>
                    <a:pt x="696" y="1554"/>
                  </a:lnTo>
                  <a:lnTo>
                    <a:pt x="690" y="1560"/>
                  </a:lnTo>
                  <a:lnTo>
                    <a:pt x="684" y="1566"/>
                  </a:lnTo>
                  <a:lnTo>
                    <a:pt x="672" y="1566"/>
                  </a:lnTo>
                  <a:lnTo>
                    <a:pt x="666" y="1566"/>
                  </a:lnTo>
                  <a:lnTo>
                    <a:pt x="660" y="1566"/>
                  </a:lnTo>
                  <a:lnTo>
                    <a:pt x="654" y="1572"/>
                  </a:lnTo>
                  <a:lnTo>
                    <a:pt x="654" y="1578"/>
                  </a:lnTo>
                  <a:lnTo>
                    <a:pt x="642" y="1578"/>
                  </a:lnTo>
                  <a:lnTo>
                    <a:pt x="630" y="1572"/>
                  </a:lnTo>
                  <a:lnTo>
                    <a:pt x="624" y="1572"/>
                  </a:lnTo>
                  <a:lnTo>
                    <a:pt x="618" y="1578"/>
                  </a:lnTo>
                  <a:lnTo>
                    <a:pt x="612" y="1584"/>
                  </a:lnTo>
                  <a:lnTo>
                    <a:pt x="606" y="1584"/>
                  </a:lnTo>
                  <a:lnTo>
                    <a:pt x="600" y="1590"/>
                  </a:lnTo>
                  <a:lnTo>
                    <a:pt x="594" y="1590"/>
                  </a:lnTo>
                  <a:lnTo>
                    <a:pt x="588" y="1590"/>
                  </a:lnTo>
                  <a:lnTo>
                    <a:pt x="582" y="1590"/>
                  </a:lnTo>
                  <a:lnTo>
                    <a:pt x="582" y="1596"/>
                  </a:lnTo>
                  <a:lnTo>
                    <a:pt x="576" y="1614"/>
                  </a:lnTo>
                  <a:lnTo>
                    <a:pt x="570" y="1632"/>
                  </a:lnTo>
                  <a:lnTo>
                    <a:pt x="570" y="1638"/>
                  </a:lnTo>
                  <a:lnTo>
                    <a:pt x="576" y="1644"/>
                  </a:lnTo>
                  <a:lnTo>
                    <a:pt x="576" y="1650"/>
                  </a:lnTo>
                  <a:lnTo>
                    <a:pt x="582" y="1662"/>
                  </a:lnTo>
                  <a:lnTo>
                    <a:pt x="582" y="1668"/>
                  </a:lnTo>
                  <a:lnTo>
                    <a:pt x="588" y="1692"/>
                  </a:lnTo>
                  <a:lnTo>
                    <a:pt x="594" y="1728"/>
                  </a:lnTo>
                  <a:lnTo>
                    <a:pt x="594" y="1752"/>
                  </a:lnTo>
                  <a:lnTo>
                    <a:pt x="594" y="1764"/>
                  </a:lnTo>
                  <a:lnTo>
                    <a:pt x="582" y="1770"/>
                  </a:lnTo>
                  <a:lnTo>
                    <a:pt x="582" y="1782"/>
                  </a:lnTo>
                  <a:lnTo>
                    <a:pt x="576" y="1788"/>
                  </a:lnTo>
                  <a:lnTo>
                    <a:pt x="570" y="1794"/>
                  </a:lnTo>
                  <a:lnTo>
                    <a:pt x="564" y="1806"/>
                  </a:lnTo>
                  <a:lnTo>
                    <a:pt x="564" y="1812"/>
                  </a:lnTo>
                  <a:lnTo>
                    <a:pt x="558" y="1812"/>
                  </a:lnTo>
                  <a:lnTo>
                    <a:pt x="564" y="1824"/>
                  </a:lnTo>
                  <a:lnTo>
                    <a:pt x="564" y="1830"/>
                  </a:lnTo>
                  <a:lnTo>
                    <a:pt x="564" y="1842"/>
                  </a:lnTo>
                  <a:lnTo>
                    <a:pt x="564" y="1848"/>
                  </a:lnTo>
                  <a:lnTo>
                    <a:pt x="564" y="1854"/>
                  </a:lnTo>
                  <a:lnTo>
                    <a:pt x="570" y="1860"/>
                  </a:lnTo>
                  <a:lnTo>
                    <a:pt x="570" y="1866"/>
                  </a:lnTo>
                  <a:lnTo>
                    <a:pt x="570" y="1872"/>
                  </a:lnTo>
                  <a:lnTo>
                    <a:pt x="570" y="1878"/>
                  </a:lnTo>
                  <a:lnTo>
                    <a:pt x="564" y="1890"/>
                  </a:lnTo>
                  <a:lnTo>
                    <a:pt x="558" y="1896"/>
                  </a:lnTo>
                  <a:lnTo>
                    <a:pt x="552" y="1908"/>
                  </a:lnTo>
                  <a:lnTo>
                    <a:pt x="546" y="1914"/>
                  </a:lnTo>
                  <a:lnTo>
                    <a:pt x="540" y="1920"/>
                  </a:lnTo>
                  <a:lnTo>
                    <a:pt x="534" y="1932"/>
                  </a:lnTo>
                  <a:lnTo>
                    <a:pt x="528" y="1944"/>
                  </a:lnTo>
                  <a:lnTo>
                    <a:pt x="516" y="1950"/>
                  </a:lnTo>
                  <a:lnTo>
                    <a:pt x="510" y="1956"/>
                  </a:lnTo>
                  <a:lnTo>
                    <a:pt x="498" y="1962"/>
                  </a:lnTo>
                  <a:lnTo>
                    <a:pt x="492" y="1974"/>
                  </a:lnTo>
                  <a:lnTo>
                    <a:pt x="486" y="1980"/>
                  </a:lnTo>
                  <a:lnTo>
                    <a:pt x="480" y="1998"/>
                  </a:lnTo>
                  <a:lnTo>
                    <a:pt x="474" y="2004"/>
                  </a:lnTo>
                  <a:lnTo>
                    <a:pt x="474" y="2010"/>
                  </a:lnTo>
                  <a:lnTo>
                    <a:pt x="474" y="2016"/>
                  </a:lnTo>
                  <a:lnTo>
                    <a:pt x="468" y="2016"/>
                  </a:lnTo>
                  <a:lnTo>
                    <a:pt x="468" y="2028"/>
                  </a:lnTo>
                  <a:lnTo>
                    <a:pt x="462" y="2034"/>
                  </a:lnTo>
                  <a:lnTo>
                    <a:pt x="456" y="2040"/>
                  </a:lnTo>
                  <a:lnTo>
                    <a:pt x="456" y="2052"/>
                  </a:lnTo>
                  <a:lnTo>
                    <a:pt x="450" y="2058"/>
                  </a:lnTo>
                  <a:lnTo>
                    <a:pt x="450" y="2070"/>
                  </a:lnTo>
                  <a:lnTo>
                    <a:pt x="450" y="2076"/>
                  </a:lnTo>
                  <a:lnTo>
                    <a:pt x="450" y="2082"/>
                  </a:lnTo>
                  <a:lnTo>
                    <a:pt x="444" y="2088"/>
                  </a:lnTo>
                  <a:lnTo>
                    <a:pt x="438" y="2094"/>
                  </a:lnTo>
                  <a:lnTo>
                    <a:pt x="444" y="2100"/>
                  </a:lnTo>
                  <a:lnTo>
                    <a:pt x="444" y="2124"/>
                  </a:lnTo>
                  <a:lnTo>
                    <a:pt x="444" y="2142"/>
                  </a:lnTo>
                  <a:lnTo>
                    <a:pt x="444" y="2160"/>
                  </a:lnTo>
                  <a:lnTo>
                    <a:pt x="450" y="2166"/>
                  </a:lnTo>
                  <a:lnTo>
                    <a:pt x="456" y="2178"/>
                  </a:lnTo>
                  <a:lnTo>
                    <a:pt x="438" y="2184"/>
                  </a:lnTo>
                  <a:lnTo>
                    <a:pt x="432" y="2184"/>
                  </a:lnTo>
                  <a:lnTo>
                    <a:pt x="426" y="2190"/>
                  </a:lnTo>
                  <a:lnTo>
                    <a:pt x="408" y="2190"/>
                  </a:lnTo>
                  <a:lnTo>
                    <a:pt x="402" y="2196"/>
                  </a:lnTo>
                  <a:lnTo>
                    <a:pt x="396" y="2196"/>
                  </a:lnTo>
                  <a:lnTo>
                    <a:pt x="384" y="2208"/>
                  </a:lnTo>
                  <a:lnTo>
                    <a:pt x="378" y="2220"/>
                  </a:lnTo>
                  <a:lnTo>
                    <a:pt x="366" y="2232"/>
                  </a:lnTo>
                  <a:lnTo>
                    <a:pt x="366" y="2238"/>
                  </a:lnTo>
                  <a:lnTo>
                    <a:pt x="360" y="2238"/>
                  </a:lnTo>
                  <a:lnTo>
                    <a:pt x="360" y="2244"/>
                  </a:lnTo>
                  <a:lnTo>
                    <a:pt x="354" y="2244"/>
                  </a:lnTo>
                  <a:lnTo>
                    <a:pt x="330" y="227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5" name="Freeform 10">
              <a:extLst>
                <a:ext uri="{FF2B5EF4-FFF2-40B4-BE49-F238E27FC236}">
                  <a16:creationId xmlns:a16="http://schemas.microsoft.com/office/drawing/2014/main" id="{3AD2FC58-3490-4B7F-A8BE-621F3CDD69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1996" y="1931890"/>
              <a:ext cx="805029" cy="1037736"/>
            </a:xfrm>
            <a:custGeom>
              <a:avLst/>
              <a:gdLst>
                <a:gd name="T0" fmla="*/ 124 w 1512"/>
                <a:gd name="T1" fmla="*/ 76 h 1956"/>
                <a:gd name="T2" fmla="*/ 120 w 1512"/>
                <a:gd name="T3" fmla="*/ 80 h 1956"/>
                <a:gd name="T4" fmla="*/ 106 w 1512"/>
                <a:gd name="T5" fmla="*/ 84 h 1956"/>
                <a:gd name="T6" fmla="*/ 105 w 1512"/>
                <a:gd name="T7" fmla="*/ 91 h 1956"/>
                <a:gd name="T8" fmla="*/ 101 w 1512"/>
                <a:gd name="T9" fmla="*/ 99 h 1956"/>
                <a:gd name="T10" fmla="*/ 105 w 1512"/>
                <a:gd name="T11" fmla="*/ 107 h 1956"/>
                <a:gd name="T12" fmla="*/ 119 w 1512"/>
                <a:gd name="T13" fmla="*/ 116 h 1956"/>
                <a:gd name="T14" fmla="*/ 121 w 1512"/>
                <a:gd name="T15" fmla="*/ 128 h 1956"/>
                <a:gd name="T16" fmla="*/ 112 w 1512"/>
                <a:gd name="T17" fmla="*/ 136 h 1956"/>
                <a:gd name="T18" fmla="*/ 119 w 1512"/>
                <a:gd name="T19" fmla="*/ 143 h 1956"/>
                <a:gd name="T20" fmla="*/ 126 w 1512"/>
                <a:gd name="T21" fmla="*/ 148 h 1956"/>
                <a:gd name="T22" fmla="*/ 126 w 1512"/>
                <a:gd name="T23" fmla="*/ 160 h 1956"/>
                <a:gd name="T24" fmla="*/ 104 w 1512"/>
                <a:gd name="T25" fmla="*/ 170 h 1956"/>
                <a:gd name="T26" fmla="*/ 99 w 1512"/>
                <a:gd name="T27" fmla="*/ 164 h 1956"/>
                <a:gd name="T28" fmla="*/ 73 w 1512"/>
                <a:gd name="T29" fmla="*/ 152 h 1956"/>
                <a:gd name="T30" fmla="*/ 56 w 1512"/>
                <a:gd name="T31" fmla="*/ 165 h 1956"/>
                <a:gd name="T32" fmla="*/ 33 w 1512"/>
                <a:gd name="T33" fmla="*/ 162 h 1956"/>
                <a:gd name="T34" fmla="*/ 25 w 1512"/>
                <a:gd name="T35" fmla="*/ 155 h 1956"/>
                <a:gd name="T36" fmla="*/ 31 w 1512"/>
                <a:gd name="T37" fmla="*/ 142 h 1956"/>
                <a:gd name="T38" fmla="*/ 24 w 1512"/>
                <a:gd name="T39" fmla="*/ 137 h 1956"/>
                <a:gd name="T40" fmla="*/ 14 w 1512"/>
                <a:gd name="T41" fmla="*/ 136 h 1956"/>
                <a:gd name="T42" fmla="*/ 11 w 1512"/>
                <a:gd name="T43" fmla="*/ 125 h 1956"/>
                <a:gd name="T44" fmla="*/ 3 w 1512"/>
                <a:gd name="T45" fmla="*/ 116 h 1956"/>
                <a:gd name="T46" fmla="*/ 2 w 1512"/>
                <a:gd name="T47" fmla="*/ 106 h 1956"/>
                <a:gd name="T48" fmla="*/ 5 w 1512"/>
                <a:gd name="T49" fmla="*/ 101 h 1956"/>
                <a:gd name="T50" fmla="*/ 2 w 1512"/>
                <a:gd name="T51" fmla="*/ 95 h 1956"/>
                <a:gd name="T52" fmla="*/ 1 w 1512"/>
                <a:gd name="T53" fmla="*/ 88 h 1956"/>
                <a:gd name="T54" fmla="*/ 4 w 1512"/>
                <a:gd name="T55" fmla="*/ 80 h 1956"/>
                <a:gd name="T56" fmla="*/ 12 w 1512"/>
                <a:gd name="T57" fmla="*/ 73 h 1956"/>
                <a:gd name="T58" fmla="*/ 16 w 1512"/>
                <a:gd name="T59" fmla="*/ 68 h 1956"/>
                <a:gd name="T60" fmla="*/ 22 w 1512"/>
                <a:gd name="T61" fmla="*/ 66 h 1956"/>
                <a:gd name="T62" fmla="*/ 32 w 1512"/>
                <a:gd name="T63" fmla="*/ 65 h 1956"/>
                <a:gd name="T64" fmla="*/ 45 w 1512"/>
                <a:gd name="T65" fmla="*/ 66 h 1956"/>
                <a:gd name="T66" fmla="*/ 50 w 1512"/>
                <a:gd name="T67" fmla="*/ 70 h 1956"/>
                <a:gd name="T68" fmla="*/ 55 w 1512"/>
                <a:gd name="T69" fmla="*/ 70 h 1956"/>
                <a:gd name="T70" fmla="*/ 63 w 1512"/>
                <a:gd name="T71" fmla="*/ 71 h 1956"/>
                <a:gd name="T72" fmla="*/ 61 w 1512"/>
                <a:gd name="T73" fmla="*/ 75 h 1956"/>
                <a:gd name="T74" fmla="*/ 66 w 1512"/>
                <a:gd name="T75" fmla="*/ 84 h 1956"/>
                <a:gd name="T76" fmla="*/ 81 w 1512"/>
                <a:gd name="T77" fmla="*/ 85 h 1956"/>
                <a:gd name="T78" fmla="*/ 83 w 1512"/>
                <a:gd name="T79" fmla="*/ 79 h 1956"/>
                <a:gd name="T80" fmla="*/ 89 w 1512"/>
                <a:gd name="T81" fmla="*/ 77 h 1956"/>
                <a:gd name="T82" fmla="*/ 89 w 1512"/>
                <a:gd name="T83" fmla="*/ 73 h 1956"/>
                <a:gd name="T84" fmla="*/ 83 w 1512"/>
                <a:gd name="T85" fmla="*/ 72 h 1956"/>
                <a:gd name="T86" fmla="*/ 77 w 1512"/>
                <a:gd name="T87" fmla="*/ 70 h 1956"/>
                <a:gd name="T88" fmla="*/ 71 w 1512"/>
                <a:gd name="T89" fmla="*/ 70 h 1956"/>
                <a:gd name="T90" fmla="*/ 59 w 1512"/>
                <a:gd name="T91" fmla="*/ 58 h 1956"/>
                <a:gd name="T92" fmla="*/ 54 w 1512"/>
                <a:gd name="T93" fmla="*/ 45 h 1956"/>
                <a:gd name="T94" fmla="*/ 49 w 1512"/>
                <a:gd name="T95" fmla="*/ 42 h 1956"/>
                <a:gd name="T96" fmla="*/ 51 w 1512"/>
                <a:gd name="T97" fmla="*/ 39 h 1956"/>
                <a:gd name="T98" fmla="*/ 55 w 1512"/>
                <a:gd name="T99" fmla="*/ 36 h 1956"/>
                <a:gd name="T100" fmla="*/ 63 w 1512"/>
                <a:gd name="T101" fmla="*/ 34 h 1956"/>
                <a:gd name="T102" fmla="*/ 68 w 1512"/>
                <a:gd name="T103" fmla="*/ 32 h 1956"/>
                <a:gd name="T104" fmla="*/ 73 w 1512"/>
                <a:gd name="T105" fmla="*/ 29 h 1956"/>
                <a:gd name="T106" fmla="*/ 78 w 1512"/>
                <a:gd name="T107" fmla="*/ 27 h 1956"/>
                <a:gd name="T108" fmla="*/ 81 w 1512"/>
                <a:gd name="T109" fmla="*/ 17 h 1956"/>
                <a:gd name="T110" fmla="*/ 84 w 1512"/>
                <a:gd name="T111" fmla="*/ 6 h 1956"/>
                <a:gd name="T112" fmla="*/ 95 w 1512"/>
                <a:gd name="T113" fmla="*/ 6 h 1956"/>
                <a:gd name="T114" fmla="*/ 99 w 1512"/>
                <a:gd name="T115" fmla="*/ 3 h 1956"/>
                <a:gd name="T116" fmla="*/ 103 w 1512"/>
                <a:gd name="T117" fmla="*/ 0 h 1956"/>
                <a:gd name="T118" fmla="*/ 110 w 1512"/>
                <a:gd name="T119" fmla="*/ 4 h 1956"/>
                <a:gd name="T120" fmla="*/ 114 w 1512"/>
                <a:gd name="T121" fmla="*/ 33 h 1956"/>
                <a:gd name="T122" fmla="*/ 117 w 1512"/>
                <a:gd name="T123" fmla="*/ 41 h 1956"/>
                <a:gd name="T124" fmla="*/ 119 w 1512"/>
                <a:gd name="T125" fmla="*/ 62 h 195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12"/>
                <a:gd name="T190" fmla="*/ 0 h 1956"/>
                <a:gd name="T191" fmla="*/ 1512 w 1512"/>
                <a:gd name="T192" fmla="*/ 1956 h 195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12" h="1956">
                  <a:moveTo>
                    <a:pt x="1512" y="780"/>
                  </a:moveTo>
                  <a:lnTo>
                    <a:pt x="1482" y="786"/>
                  </a:lnTo>
                  <a:lnTo>
                    <a:pt x="1476" y="792"/>
                  </a:lnTo>
                  <a:lnTo>
                    <a:pt x="1476" y="798"/>
                  </a:lnTo>
                  <a:lnTo>
                    <a:pt x="1476" y="804"/>
                  </a:lnTo>
                  <a:lnTo>
                    <a:pt x="1476" y="816"/>
                  </a:lnTo>
                  <a:lnTo>
                    <a:pt x="1470" y="834"/>
                  </a:lnTo>
                  <a:lnTo>
                    <a:pt x="1464" y="840"/>
                  </a:lnTo>
                  <a:lnTo>
                    <a:pt x="1452" y="852"/>
                  </a:lnTo>
                  <a:lnTo>
                    <a:pt x="1440" y="864"/>
                  </a:lnTo>
                  <a:lnTo>
                    <a:pt x="1434" y="864"/>
                  </a:lnTo>
                  <a:lnTo>
                    <a:pt x="1434" y="870"/>
                  </a:lnTo>
                  <a:lnTo>
                    <a:pt x="1422" y="876"/>
                  </a:lnTo>
                  <a:lnTo>
                    <a:pt x="1410" y="894"/>
                  </a:lnTo>
                  <a:lnTo>
                    <a:pt x="1404" y="894"/>
                  </a:lnTo>
                  <a:lnTo>
                    <a:pt x="1404" y="900"/>
                  </a:lnTo>
                  <a:lnTo>
                    <a:pt x="1404" y="906"/>
                  </a:lnTo>
                  <a:lnTo>
                    <a:pt x="1410" y="918"/>
                  </a:lnTo>
                  <a:lnTo>
                    <a:pt x="1404" y="918"/>
                  </a:lnTo>
                  <a:lnTo>
                    <a:pt x="1392" y="924"/>
                  </a:lnTo>
                  <a:lnTo>
                    <a:pt x="1386" y="924"/>
                  </a:lnTo>
                  <a:lnTo>
                    <a:pt x="1380" y="924"/>
                  </a:lnTo>
                  <a:lnTo>
                    <a:pt x="1380" y="930"/>
                  </a:lnTo>
                  <a:lnTo>
                    <a:pt x="1374" y="930"/>
                  </a:lnTo>
                  <a:lnTo>
                    <a:pt x="1374" y="924"/>
                  </a:lnTo>
                  <a:lnTo>
                    <a:pt x="1374" y="918"/>
                  </a:lnTo>
                  <a:lnTo>
                    <a:pt x="1368" y="912"/>
                  </a:lnTo>
                  <a:lnTo>
                    <a:pt x="1368" y="906"/>
                  </a:lnTo>
                  <a:lnTo>
                    <a:pt x="1368" y="900"/>
                  </a:lnTo>
                  <a:lnTo>
                    <a:pt x="1368" y="894"/>
                  </a:lnTo>
                  <a:lnTo>
                    <a:pt x="1362" y="894"/>
                  </a:lnTo>
                  <a:lnTo>
                    <a:pt x="1326" y="894"/>
                  </a:lnTo>
                  <a:lnTo>
                    <a:pt x="1302" y="906"/>
                  </a:lnTo>
                  <a:lnTo>
                    <a:pt x="1284" y="918"/>
                  </a:lnTo>
                  <a:lnTo>
                    <a:pt x="1284" y="924"/>
                  </a:lnTo>
                  <a:lnTo>
                    <a:pt x="1278" y="930"/>
                  </a:lnTo>
                  <a:lnTo>
                    <a:pt x="1266" y="930"/>
                  </a:lnTo>
                  <a:lnTo>
                    <a:pt x="1236" y="954"/>
                  </a:lnTo>
                  <a:lnTo>
                    <a:pt x="1212" y="972"/>
                  </a:lnTo>
                  <a:lnTo>
                    <a:pt x="1218" y="996"/>
                  </a:lnTo>
                  <a:lnTo>
                    <a:pt x="1224" y="1008"/>
                  </a:lnTo>
                  <a:lnTo>
                    <a:pt x="1236" y="1014"/>
                  </a:lnTo>
                  <a:lnTo>
                    <a:pt x="1242" y="1026"/>
                  </a:lnTo>
                  <a:lnTo>
                    <a:pt x="1248" y="1038"/>
                  </a:lnTo>
                  <a:lnTo>
                    <a:pt x="1260" y="1050"/>
                  </a:lnTo>
                  <a:lnTo>
                    <a:pt x="1260" y="1056"/>
                  </a:lnTo>
                  <a:lnTo>
                    <a:pt x="1260" y="1074"/>
                  </a:lnTo>
                  <a:lnTo>
                    <a:pt x="1254" y="1074"/>
                  </a:lnTo>
                  <a:lnTo>
                    <a:pt x="1236" y="1056"/>
                  </a:lnTo>
                  <a:lnTo>
                    <a:pt x="1224" y="1050"/>
                  </a:lnTo>
                  <a:lnTo>
                    <a:pt x="1212" y="1050"/>
                  </a:lnTo>
                  <a:lnTo>
                    <a:pt x="1206" y="1050"/>
                  </a:lnTo>
                  <a:lnTo>
                    <a:pt x="1200" y="1056"/>
                  </a:lnTo>
                  <a:lnTo>
                    <a:pt x="1194" y="1062"/>
                  </a:lnTo>
                  <a:lnTo>
                    <a:pt x="1188" y="1068"/>
                  </a:lnTo>
                  <a:lnTo>
                    <a:pt x="1188" y="1074"/>
                  </a:lnTo>
                  <a:lnTo>
                    <a:pt x="1176" y="1086"/>
                  </a:lnTo>
                  <a:lnTo>
                    <a:pt x="1170" y="1086"/>
                  </a:lnTo>
                  <a:lnTo>
                    <a:pt x="1170" y="1092"/>
                  </a:lnTo>
                  <a:lnTo>
                    <a:pt x="1164" y="1098"/>
                  </a:lnTo>
                  <a:lnTo>
                    <a:pt x="1158" y="1110"/>
                  </a:lnTo>
                  <a:lnTo>
                    <a:pt x="1152" y="1116"/>
                  </a:lnTo>
                  <a:lnTo>
                    <a:pt x="1152" y="1122"/>
                  </a:lnTo>
                  <a:lnTo>
                    <a:pt x="1146" y="1128"/>
                  </a:lnTo>
                  <a:lnTo>
                    <a:pt x="1152" y="1140"/>
                  </a:lnTo>
                  <a:lnTo>
                    <a:pt x="1158" y="1140"/>
                  </a:lnTo>
                  <a:lnTo>
                    <a:pt x="1164" y="1146"/>
                  </a:lnTo>
                  <a:lnTo>
                    <a:pt x="1164" y="1152"/>
                  </a:lnTo>
                  <a:lnTo>
                    <a:pt x="1170" y="1164"/>
                  </a:lnTo>
                  <a:lnTo>
                    <a:pt x="1164" y="1176"/>
                  </a:lnTo>
                  <a:lnTo>
                    <a:pt x="1170" y="1182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82" y="1218"/>
                  </a:lnTo>
                  <a:lnTo>
                    <a:pt x="1188" y="1218"/>
                  </a:lnTo>
                  <a:lnTo>
                    <a:pt x="1194" y="1218"/>
                  </a:lnTo>
                  <a:lnTo>
                    <a:pt x="1194" y="1224"/>
                  </a:lnTo>
                  <a:lnTo>
                    <a:pt x="1200" y="1230"/>
                  </a:lnTo>
                  <a:lnTo>
                    <a:pt x="1200" y="1248"/>
                  </a:lnTo>
                  <a:lnTo>
                    <a:pt x="1212" y="1266"/>
                  </a:lnTo>
                  <a:lnTo>
                    <a:pt x="1218" y="1278"/>
                  </a:lnTo>
                  <a:lnTo>
                    <a:pt x="1224" y="1284"/>
                  </a:lnTo>
                  <a:lnTo>
                    <a:pt x="1236" y="1296"/>
                  </a:lnTo>
                  <a:lnTo>
                    <a:pt x="1242" y="1302"/>
                  </a:lnTo>
                  <a:lnTo>
                    <a:pt x="1242" y="1308"/>
                  </a:lnTo>
                  <a:lnTo>
                    <a:pt x="1272" y="1308"/>
                  </a:lnTo>
                  <a:lnTo>
                    <a:pt x="1296" y="1314"/>
                  </a:lnTo>
                  <a:lnTo>
                    <a:pt x="1320" y="1320"/>
                  </a:lnTo>
                  <a:lnTo>
                    <a:pt x="1338" y="1320"/>
                  </a:lnTo>
                  <a:lnTo>
                    <a:pt x="1356" y="1332"/>
                  </a:lnTo>
                  <a:lnTo>
                    <a:pt x="1368" y="1344"/>
                  </a:lnTo>
                  <a:lnTo>
                    <a:pt x="1374" y="1362"/>
                  </a:lnTo>
                  <a:lnTo>
                    <a:pt x="1368" y="1362"/>
                  </a:lnTo>
                  <a:lnTo>
                    <a:pt x="1368" y="1398"/>
                  </a:lnTo>
                  <a:lnTo>
                    <a:pt x="1368" y="1410"/>
                  </a:lnTo>
                  <a:lnTo>
                    <a:pt x="1368" y="1428"/>
                  </a:lnTo>
                  <a:lnTo>
                    <a:pt x="1368" y="1434"/>
                  </a:lnTo>
                  <a:lnTo>
                    <a:pt x="1368" y="1440"/>
                  </a:lnTo>
                  <a:lnTo>
                    <a:pt x="1374" y="1446"/>
                  </a:lnTo>
                  <a:lnTo>
                    <a:pt x="1374" y="1452"/>
                  </a:lnTo>
                  <a:lnTo>
                    <a:pt x="1380" y="1458"/>
                  </a:lnTo>
                  <a:lnTo>
                    <a:pt x="1386" y="1464"/>
                  </a:lnTo>
                  <a:lnTo>
                    <a:pt x="1386" y="1470"/>
                  </a:lnTo>
                  <a:lnTo>
                    <a:pt x="1380" y="1476"/>
                  </a:lnTo>
                  <a:lnTo>
                    <a:pt x="1374" y="1482"/>
                  </a:lnTo>
                  <a:lnTo>
                    <a:pt x="1362" y="1500"/>
                  </a:lnTo>
                  <a:lnTo>
                    <a:pt x="1362" y="1506"/>
                  </a:lnTo>
                  <a:lnTo>
                    <a:pt x="1362" y="1512"/>
                  </a:lnTo>
                  <a:lnTo>
                    <a:pt x="1362" y="1518"/>
                  </a:lnTo>
                  <a:lnTo>
                    <a:pt x="1362" y="1524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38" y="1548"/>
                  </a:lnTo>
                  <a:lnTo>
                    <a:pt x="1296" y="1548"/>
                  </a:lnTo>
                  <a:lnTo>
                    <a:pt x="1290" y="1554"/>
                  </a:lnTo>
                  <a:lnTo>
                    <a:pt x="1284" y="1560"/>
                  </a:lnTo>
                  <a:lnTo>
                    <a:pt x="1284" y="1566"/>
                  </a:lnTo>
                  <a:lnTo>
                    <a:pt x="1290" y="1578"/>
                  </a:lnTo>
                  <a:lnTo>
                    <a:pt x="1296" y="1590"/>
                  </a:lnTo>
                  <a:lnTo>
                    <a:pt x="1302" y="1590"/>
                  </a:lnTo>
                  <a:lnTo>
                    <a:pt x="1308" y="1596"/>
                  </a:lnTo>
                  <a:lnTo>
                    <a:pt x="1320" y="1602"/>
                  </a:lnTo>
                  <a:lnTo>
                    <a:pt x="1326" y="1602"/>
                  </a:lnTo>
                  <a:lnTo>
                    <a:pt x="1326" y="1608"/>
                  </a:lnTo>
                  <a:lnTo>
                    <a:pt x="1332" y="1614"/>
                  </a:lnTo>
                  <a:lnTo>
                    <a:pt x="1344" y="1620"/>
                  </a:lnTo>
                  <a:lnTo>
                    <a:pt x="1356" y="1626"/>
                  </a:lnTo>
                  <a:lnTo>
                    <a:pt x="1356" y="1632"/>
                  </a:lnTo>
                  <a:lnTo>
                    <a:pt x="1356" y="1638"/>
                  </a:lnTo>
                  <a:lnTo>
                    <a:pt x="1362" y="1644"/>
                  </a:lnTo>
                  <a:lnTo>
                    <a:pt x="1368" y="1644"/>
                  </a:lnTo>
                  <a:lnTo>
                    <a:pt x="1380" y="1650"/>
                  </a:lnTo>
                  <a:lnTo>
                    <a:pt x="1386" y="1650"/>
                  </a:lnTo>
                  <a:lnTo>
                    <a:pt x="1386" y="1656"/>
                  </a:lnTo>
                  <a:lnTo>
                    <a:pt x="1392" y="1656"/>
                  </a:lnTo>
                  <a:lnTo>
                    <a:pt x="1398" y="1662"/>
                  </a:lnTo>
                  <a:lnTo>
                    <a:pt x="1410" y="1674"/>
                  </a:lnTo>
                  <a:lnTo>
                    <a:pt x="1428" y="1680"/>
                  </a:lnTo>
                  <a:lnTo>
                    <a:pt x="1428" y="1686"/>
                  </a:lnTo>
                  <a:lnTo>
                    <a:pt x="1428" y="1698"/>
                  </a:lnTo>
                  <a:lnTo>
                    <a:pt x="1434" y="1704"/>
                  </a:lnTo>
                  <a:lnTo>
                    <a:pt x="1434" y="1710"/>
                  </a:lnTo>
                  <a:lnTo>
                    <a:pt x="1440" y="1710"/>
                  </a:lnTo>
                  <a:lnTo>
                    <a:pt x="1446" y="1710"/>
                  </a:lnTo>
                  <a:lnTo>
                    <a:pt x="1446" y="1716"/>
                  </a:lnTo>
                  <a:lnTo>
                    <a:pt x="1440" y="1722"/>
                  </a:lnTo>
                  <a:lnTo>
                    <a:pt x="1440" y="1728"/>
                  </a:lnTo>
                  <a:lnTo>
                    <a:pt x="1440" y="1734"/>
                  </a:lnTo>
                  <a:lnTo>
                    <a:pt x="1440" y="1740"/>
                  </a:lnTo>
                  <a:lnTo>
                    <a:pt x="1440" y="1746"/>
                  </a:lnTo>
                  <a:lnTo>
                    <a:pt x="1440" y="1788"/>
                  </a:lnTo>
                  <a:lnTo>
                    <a:pt x="1440" y="1800"/>
                  </a:lnTo>
                  <a:lnTo>
                    <a:pt x="1440" y="1806"/>
                  </a:lnTo>
                  <a:lnTo>
                    <a:pt x="1440" y="1836"/>
                  </a:lnTo>
                  <a:lnTo>
                    <a:pt x="1440" y="1848"/>
                  </a:lnTo>
                  <a:lnTo>
                    <a:pt x="1446" y="1848"/>
                  </a:lnTo>
                  <a:lnTo>
                    <a:pt x="1446" y="1854"/>
                  </a:lnTo>
                  <a:lnTo>
                    <a:pt x="1452" y="1848"/>
                  </a:lnTo>
                  <a:lnTo>
                    <a:pt x="1458" y="1854"/>
                  </a:lnTo>
                  <a:lnTo>
                    <a:pt x="1452" y="1860"/>
                  </a:lnTo>
                  <a:lnTo>
                    <a:pt x="1452" y="1866"/>
                  </a:lnTo>
                  <a:lnTo>
                    <a:pt x="1458" y="1872"/>
                  </a:lnTo>
                  <a:lnTo>
                    <a:pt x="1464" y="1884"/>
                  </a:lnTo>
                  <a:lnTo>
                    <a:pt x="1428" y="1878"/>
                  </a:lnTo>
                  <a:lnTo>
                    <a:pt x="1356" y="1890"/>
                  </a:lnTo>
                  <a:lnTo>
                    <a:pt x="1296" y="1926"/>
                  </a:lnTo>
                  <a:lnTo>
                    <a:pt x="1266" y="1944"/>
                  </a:lnTo>
                  <a:lnTo>
                    <a:pt x="1224" y="1944"/>
                  </a:lnTo>
                  <a:lnTo>
                    <a:pt x="1188" y="1956"/>
                  </a:lnTo>
                  <a:lnTo>
                    <a:pt x="1188" y="1950"/>
                  </a:lnTo>
                  <a:lnTo>
                    <a:pt x="1176" y="1944"/>
                  </a:lnTo>
                  <a:lnTo>
                    <a:pt x="1176" y="1938"/>
                  </a:lnTo>
                  <a:lnTo>
                    <a:pt x="1170" y="1938"/>
                  </a:lnTo>
                  <a:lnTo>
                    <a:pt x="1164" y="1932"/>
                  </a:lnTo>
                  <a:lnTo>
                    <a:pt x="1158" y="1926"/>
                  </a:lnTo>
                  <a:lnTo>
                    <a:pt x="1158" y="1920"/>
                  </a:lnTo>
                  <a:lnTo>
                    <a:pt x="1152" y="1920"/>
                  </a:lnTo>
                  <a:lnTo>
                    <a:pt x="1146" y="1914"/>
                  </a:lnTo>
                  <a:lnTo>
                    <a:pt x="1146" y="1908"/>
                  </a:lnTo>
                  <a:lnTo>
                    <a:pt x="1140" y="1908"/>
                  </a:lnTo>
                  <a:lnTo>
                    <a:pt x="1134" y="1902"/>
                  </a:lnTo>
                  <a:lnTo>
                    <a:pt x="1134" y="1896"/>
                  </a:lnTo>
                  <a:lnTo>
                    <a:pt x="1116" y="1896"/>
                  </a:lnTo>
                  <a:lnTo>
                    <a:pt x="1104" y="1884"/>
                  </a:lnTo>
                  <a:lnTo>
                    <a:pt x="1092" y="1860"/>
                  </a:lnTo>
                  <a:lnTo>
                    <a:pt x="1068" y="1854"/>
                  </a:lnTo>
                  <a:lnTo>
                    <a:pt x="1032" y="1842"/>
                  </a:lnTo>
                  <a:lnTo>
                    <a:pt x="1008" y="1836"/>
                  </a:lnTo>
                  <a:lnTo>
                    <a:pt x="978" y="1824"/>
                  </a:lnTo>
                  <a:lnTo>
                    <a:pt x="942" y="1818"/>
                  </a:lnTo>
                  <a:lnTo>
                    <a:pt x="924" y="1806"/>
                  </a:lnTo>
                  <a:lnTo>
                    <a:pt x="906" y="1788"/>
                  </a:lnTo>
                  <a:lnTo>
                    <a:pt x="894" y="1776"/>
                  </a:lnTo>
                  <a:lnTo>
                    <a:pt x="864" y="1758"/>
                  </a:lnTo>
                  <a:lnTo>
                    <a:pt x="834" y="1752"/>
                  </a:lnTo>
                  <a:lnTo>
                    <a:pt x="798" y="1746"/>
                  </a:lnTo>
                  <a:lnTo>
                    <a:pt x="792" y="1806"/>
                  </a:lnTo>
                  <a:lnTo>
                    <a:pt x="798" y="1812"/>
                  </a:lnTo>
                  <a:lnTo>
                    <a:pt x="810" y="1830"/>
                  </a:lnTo>
                  <a:lnTo>
                    <a:pt x="792" y="1842"/>
                  </a:lnTo>
                  <a:lnTo>
                    <a:pt x="768" y="1842"/>
                  </a:lnTo>
                  <a:lnTo>
                    <a:pt x="708" y="1848"/>
                  </a:lnTo>
                  <a:lnTo>
                    <a:pt x="690" y="1860"/>
                  </a:lnTo>
                  <a:lnTo>
                    <a:pt x="690" y="1866"/>
                  </a:lnTo>
                  <a:lnTo>
                    <a:pt x="678" y="1878"/>
                  </a:lnTo>
                  <a:lnTo>
                    <a:pt x="660" y="1884"/>
                  </a:lnTo>
                  <a:lnTo>
                    <a:pt x="660" y="1902"/>
                  </a:lnTo>
                  <a:lnTo>
                    <a:pt x="642" y="1902"/>
                  </a:lnTo>
                  <a:lnTo>
                    <a:pt x="582" y="1914"/>
                  </a:lnTo>
                  <a:lnTo>
                    <a:pt x="534" y="1908"/>
                  </a:lnTo>
                  <a:lnTo>
                    <a:pt x="510" y="1908"/>
                  </a:lnTo>
                  <a:lnTo>
                    <a:pt x="510" y="1896"/>
                  </a:lnTo>
                  <a:lnTo>
                    <a:pt x="492" y="1896"/>
                  </a:lnTo>
                  <a:lnTo>
                    <a:pt x="486" y="1902"/>
                  </a:lnTo>
                  <a:lnTo>
                    <a:pt x="474" y="1908"/>
                  </a:lnTo>
                  <a:lnTo>
                    <a:pt x="450" y="1908"/>
                  </a:lnTo>
                  <a:lnTo>
                    <a:pt x="432" y="1902"/>
                  </a:lnTo>
                  <a:lnTo>
                    <a:pt x="426" y="1896"/>
                  </a:lnTo>
                  <a:lnTo>
                    <a:pt x="402" y="1884"/>
                  </a:lnTo>
                  <a:lnTo>
                    <a:pt x="390" y="1872"/>
                  </a:lnTo>
                  <a:lnTo>
                    <a:pt x="384" y="1872"/>
                  </a:lnTo>
                  <a:lnTo>
                    <a:pt x="378" y="1872"/>
                  </a:lnTo>
                  <a:lnTo>
                    <a:pt x="378" y="1866"/>
                  </a:lnTo>
                  <a:lnTo>
                    <a:pt x="372" y="1860"/>
                  </a:lnTo>
                  <a:lnTo>
                    <a:pt x="372" y="1854"/>
                  </a:lnTo>
                  <a:lnTo>
                    <a:pt x="366" y="1842"/>
                  </a:lnTo>
                  <a:lnTo>
                    <a:pt x="366" y="1836"/>
                  </a:lnTo>
                  <a:lnTo>
                    <a:pt x="348" y="1830"/>
                  </a:lnTo>
                  <a:lnTo>
                    <a:pt x="348" y="1806"/>
                  </a:lnTo>
                  <a:lnTo>
                    <a:pt x="348" y="1800"/>
                  </a:lnTo>
                  <a:lnTo>
                    <a:pt x="348" y="1782"/>
                  </a:lnTo>
                  <a:lnTo>
                    <a:pt x="336" y="1788"/>
                  </a:lnTo>
                  <a:lnTo>
                    <a:pt x="312" y="1794"/>
                  </a:lnTo>
                  <a:lnTo>
                    <a:pt x="288" y="1788"/>
                  </a:lnTo>
                  <a:lnTo>
                    <a:pt x="264" y="1758"/>
                  </a:lnTo>
                  <a:lnTo>
                    <a:pt x="270" y="1758"/>
                  </a:lnTo>
                  <a:lnTo>
                    <a:pt x="270" y="1752"/>
                  </a:lnTo>
                  <a:lnTo>
                    <a:pt x="276" y="1752"/>
                  </a:lnTo>
                  <a:lnTo>
                    <a:pt x="282" y="1746"/>
                  </a:lnTo>
                  <a:lnTo>
                    <a:pt x="300" y="1746"/>
                  </a:lnTo>
                  <a:lnTo>
                    <a:pt x="312" y="1746"/>
                  </a:lnTo>
                  <a:lnTo>
                    <a:pt x="336" y="1710"/>
                  </a:lnTo>
                  <a:lnTo>
                    <a:pt x="342" y="1692"/>
                  </a:lnTo>
                  <a:lnTo>
                    <a:pt x="348" y="1680"/>
                  </a:lnTo>
                  <a:lnTo>
                    <a:pt x="342" y="1650"/>
                  </a:lnTo>
                  <a:lnTo>
                    <a:pt x="354" y="1644"/>
                  </a:lnTo>
                  <a:lnTo>
                    <a:pt x="354" y="1638"/>
                  </a:lnTo>
                  <a:lnTo>
                    <a:pt x="360" y="1632"/>
                  </a:lnTo>
                  <a:lnTo>
                    <a:pt x="354" y="1626"/>
                  </a:lnTo>
                  <a:lnTo>
                    <a:pt x="348" y="1626"/>
                  </a:lnTo>
                  <a:lnTo>
                    <a:pt x="348" y="1620"/>
                  </a:lnTo>
                  <a:lnTo>
                    <a:pt x="342" y="1620"/>
                  </a:lnTo>
                  <a:lnTo>
                    <a:pt x="348" y="1614"/>
                  </a:lnTo>
                  <a:lnTo>
                    <a:pt x="324" y="1566"/>
                  </a:lnTo>
                  <a:lnTo>
                    <a:pt x="318" y="1566"/>
                  </a:lnTo>
                  <a:lnTo>
                    <a:pt x="306" y="1572"/>
                  </a:lnTo>
                  <a:lnTo>
                    <a:pt x="300" y="1572"/>
                  </a:lnTo>
                  <a:lnTo>
                    <a:pt x="294" y="1578"/>
                  </a:lnTo>
                  <a:lnTo>
                    <a:pt x="288" y="1584"/>
                  </a:lnTo>
                  <a:lnTo>
                    <a:pt x="282" y="1584"/>
                  </a:lnTo>
                  <a:lnTo>
                    <a:pt x="282" y="1578"/>
                  </a:lnTo>
                  <a:lnTo>
                    <a:pt x="276" y="1578"/>
                  </a:lnTo>
                  <a:lnTo>
                    <a:pt x="270" y="1578"/>
                  </a:lnTo>
                  <a:lnTo>
                    <a:pt x="264" y="1578"/>
                  </a:lnTo>
                  <a:lnTo>
                    <a:pt x="258" y="1578"/>
                  </a:lnTo>
                  <a:lnTo>
                    <a:pt x="252" y="1578"/>
                  </a:lnTo>
                  <a:lnTo>
                    <a:pt x="252" y="1584"/>
                  </a:lnTo>
                  <a:lnTo>
                    <a:pt x="246" y="1584"/>
                  </a:lnTo>
                  <a:lnTo>
                    <a:pt x="210" y="1584"/>
                  </a:lnTo>
                  <a:lnTo>
                    <a:pt x="204" y="1584"/>
                  </a:lnTo>
                  <a:lnTo>
                    <a:pt x="192" y="1584"/>
                  </a:lnTo>
                  <a:lnTo>
                    <a:pt x="168" y="1596"/>
                  </a:lnTo>
                  <a:lnTo>
                    <a:pt x="156" y="1572"/>
                  </a:lnTo>
                  <a:lnTo>
                    <a:pt x="156" y="1566"/>
                  </a:lnTo>
                  <a:lnTo>
                    <a:pt x="156" y="1560"/>
                  </a:lnTo>
                  <a:lnTo>
                    <a:pt x="162" y="1548"/>
                  </a:lnTo>
                  <a:lnTo>
                    <a:pt x="162" y="1542"/>
                  </a:lnTo>
                  <a:lnTo>
                    <a:pt x="162" y="1536"/>
                  </a:lnTo>
                  <a:lnTo>
                    <a:pt x="168" y="1530"/>
                  </a:lnTo>
                  <a:lnTo>
                    <a:pt x="168" y="1524"/>
                  </a:lnTo>
                  <a:lnTo>
                    <a:pt x="168" y="1518"/>
                  </a:lnTo>
                  <a:lnTo>
                    <a:pt x="174" y="1518"/>
                  </a:lnTo>
                  <a:lnTo>
                    <a:pt x="174" y="1506"/>
                  </a:lnTo>
                  <a:lnTo>
                    <a:pt x="156" y="1470"/>
                  </a:lnTo>
                  <a:lnTo>
                    <a:pt x="138" y="1464"/>
                  </a:lnTo>
                  <a:lnTo>
                    <a:pt x="126" y="1446"/>
                  </a:lnTo>
                  <a:lnTo>
                    <a:pt x="126" y="1440"/>
                  </a:lnTo>
                  <a:lnTo>
                    <a:pt x="126" y="1434"/>
                  </a:lnTo>
                  <a:lnTo>
                    <a:pt x="120" y="1428"/>
                  </a:lnTo>
                  <a:lnTo>
                    <a:pt x="126" y="1398"/>
                  </a:lnTo>
                  <a:lnTo>
                    <a:pt x="120" y="1374"/>
                  </a:lnTo>
                  <a:lnTo>
                    <a:pt x="60" y="1374"/>
                  </a:lnTo>
                  <a:lnTo>
                    <a:pt x="60" y="1368"/>
                  </a:lnTo>
                  <a:lnTo>
                    <a:pt x="54" y="1362"/>
                  </a:lnTo>
                  <a:lnTo>
                    <a:pt x="48" y="1356"/>
                  </a:lnTo>
                  <a:lnTo>
                    <a:pt x="42" y="1356"/>
                  </a:lnTo>
                  <a:lnTo>
                    <a:pt x="42" y="1350"/>
                  </a:lnTo>
                  <a:lnTo>
                    <a:pt x="36" y="1344"/>
                  </a:lnTo>
                  <a:lnTo>
                    <a:pt x="36" y="1338"/>
                  </a:lnTo>
                  <a:lnTo>
                    <a:pt x="30" y="1332"/>
                  </a:lnTo>
                  <a:lnTo>
                    <a:pt x="30" y="1326"/>
                  </a:lnTo>
                  <a:lnTo>
                    <a:pt x="18" y="1326"/>
                  </a:lnTo>
                  <a:lnTo>
                    <a:pt x="18" y="1320"/>
                  </a:lnTo>
                  <a:lnTo>
                    <a:pt x="18" y="1326"/>
                  </a:lnTo>
                  <a:lnTo>
                    <a:pt x="6" y="1320"/>
                  </a:lnTo>
                  <a:lnTo>
                    <a:pt x="0" y="1314"/>
                  </a:lnTo>
                  <a:lnTo>
                    <a:pt x="12" y="1266"/>
                  </a:lnTo>
                  <a:lnTo>
                    <a:pt x="6" y="1242"/>
                  </a:lnTo>
                  <a:lnTo>
                    <a:pt x="12" y="1236"/>
                  </a:lnTo>
                  <a:lnTo>
                    <a:pt x="12" y="1230"/>
                  </a:lnTo>
                  <a:lnTo>
                    <a:pt x="18" y="1230"/>
                  </a:lnTo>
                  <a:lnTo>
                    <a:pt x="18" y="1224"/>
                  </a:lnTo>
                  <a:lnTo>
                    <a:pt x="24" y="1218"/>
                  </a:lnTo>
                  <a:lnTo>
                    <a:pt x="24" y="1212"/>
                  </a:lnTo>
                  <a:lnTo>
                    <a:pt x="30" y="1212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48" y="1188"/>
                  </a:lnTo>
                  <a:lnTo>
                    <a:pt x="48" y="1182"/>
                  </a:lnTo>
                  <a:lnTo>
                    <a:pt x="48" y="1176"/>
                  </a:lnTo>
                  <a:lnTo>
                    <a:pt x="48" y="1170"/>
                  </a:lnTo>
                  <a:lnTo>
                    <a:pt x="54" y="1170"/>
                  </a:lnTo>
                  <a:lnTo>
                    <a:pt x="60" y="1164"/>
                  </a:lnTo>
                  <a:lnTo>
                    <a:pt x="60" y="1158"/>
                  </a:lnTo>
                  <a:lnTo>
                    <a:pt x="66" y="1152"/>
                  </a:lnTo>
                  <a:lnTo>
                    <a:pt x="60" y="1140"/>
                  </a:lnTo>
                  <a:lnTo>
                    <a:pt x="60" y="1134"/>
                  </a:lnTo>
                  <a:lnTo>
                    <a:pt x="54" y="1134"/>
                  </a:lnTo>
                  <a:lnTo>
                    <a:pt x="54" y="1128"/>
                  </a:lnTo>
                  <a:lnTo>
                    <a:pt x="48" y="1122"/>
                  </a:lnTo>
                  <a:lnTo>
                    <a:pt x="48" y="1116"/>
                  </a:lnTo>
                  <a:lnTo>
                    <a:pt x="48" y="1110"/>
                  </a:lnTo>
                  <a:lnTo>
                    <a:pt x="42" y="1104"/>
                  </a:lnTo>
                  <a:lnTo>
                    <a:pt x="42" y="1098"/>
                  </a:lnTo>
                  <a:lnTo>
                    <a:pt x="36" y="1092"/>
                  </a:lnTo>
                  <a:lnTo>
                    <a:pt x="30" y="1092"/>
                  </a:lnTo>
                  <a:lnTo>
                    <a:pt x="24" y="1092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18" y="1080"/>
                  </a:lnTo>
                  <a:lnTo>
                    <a:pt x="18" y="1074"/>
                  </a:lnTo>
                  <a:lnTo>
                    <a:pt x="12" y="1068"/>
                  </a:lnTo>
                  <a:lnTo>
                    <a:pt x="6" y="1068"/>
                  </a:lnTo>
                  <a:lnTo>
                    <a:pt x="12" y="1056"/>
                  </a:lnTo>
                  <a:lnTo>
                    <a:pt x="6" y="1056"/>
                  </a:lnTo>
                  <a:lnTo>
                    <a:pt x="6" y="1050"/>
                  </a:lnTo>
                  <a:lnTo>
                    <a:pt x="6" y="1044"/>
                  </a:lnTo>
                  <a:lnTo>
                    <a:pt x="6" y="1026"/>
                  </a:lnTo>
                  <a:lnTo>
                    <a:pt x="12" y="1020"/>
                  </a:lnTo>
                  <a:lnTo>
                    <a:pt x="12" y="1014"/>
                  </a:lnTo>
                  <a:lnTo>
                    <a:pt x="18" y="1014"/>
                  </a:lnTo>
                  <a:lnTo>
                    <a:pt x="18" y="1008"/>
                  </a:lnTo>
                  <a:lnTo>
                    <a:pt x="18" y="1002"/>
                  </a:lnTo>
                  <a:lnTo>
                    <a:pt x="18" y="990"/>
                  </a:lnTo>
                  <a:lnTo>
                    <a:pt x="12" y="972"/>
                  </a:lnTo>
                  <a:lnTo>
                    <a:pt x="18" y="954"/>
                  </a:lnTo>
                  <a:lnTo>
                    <a:pt x="18" y="948"/>
                  </a:lnTo>
                  <a:lnTo>
                    <a:pt x="24" y="948"/>
                  </a:lnTo>
                  <a:lnTo>
                    <a:pt x="24" y="930"/>
                  </a:lnTo>
                  <a:lnTo>
                    <a:pt x="30" y="930"/>
                  </a:lnTo>
                  <a:lnTo>
                    <a:pt x="36" y="918"/>
                  </a:lnTo>
                  <a:lnTo>
                    <a:pt x="42" y="918"/>
                  </a:lnTo>
                  <a:lnTo>
                    <a:pt x="48" y="918"/>
                  </a:lnTo>
                  <a:lnTo>
                    <a:pt x="78" y="912"/>
                  </a:lnTo>
                  <a:lnTo>
                    <a:pt x="90" y="894"/>
                  </a:lnTo>
                  <a:lnTo>
                    <a:pt x="96" y="894"/>
                  </a:lnTo>
                  <a:lnTo>
                    <a:pt x="102" y="888"/>
                  </a:lnTo>
                  <a:lnTo>
                    <a:pt x="102" y="882"/>
                  </a:lnTo>
                  <a:lnTo>
                    <a:pt x="114" y="870"/>
                  </a:lnTo>
                  <a:lnTo>
                    <a:pt x="120" y="864"/>
                  </a:lnTo>
                  <a:lnTo>
                    <a:pt x="120" y="852"/>
                  </a:lnTo>
                  <a:lnTo>
                    <a:pt x="120" y="846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32" y="840"/>
                  </a:lnTo>
                  <a:lnTo>
                    <a:pt x="138" y="840"/>
                  </a:lnTo>
                  <a:lnTo>
                    <a:pt x="138" y="834"/>
                  </a:lnTo>
                  <a:lnTo>
                    <a:pt x="144" y="834"/>
                  </a:lnTo>
                  <a:lnTo>
                    <a:pt x="144" y="828"/>
                  </a:lnTo>
                  <a:lnTo>
                    <a:pt x="150" y="828"/>
                  </a:lnTo>
                  <a:lnTo>
                    <a:pt x="156" y="822"/>
                  </a:lnTo>
                  <a:lnTo>
                    <a:pt x="162" y="816"/>
                  </a:lnTo>
                  <a:lnTo>
                    <a:pt x="162" y="822"/>
                  </a:lnTo>
                  <a:lnTo>
                    <a:pt x="162" y="816"/>
                  </a:lnTo>
                  <a:lnTo>
                    <a:pt x="162" y="810"/>
                  </a:lnTo>
                  <a:lnTo>
                    <a:pt x="168" y="810"/>
                  </a:lnTo>
                  <a:lnTo>
                    <a:pt x="174" y="804"/>
                  </a:lnTo>
                  <a:lnTo>
                    <a:pt x="180" y="798"/>
                  </a:lnTo>
                  <a:lnTo>
                    <a:pt x="180" y="786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8" y="780"/>
                  </a:lnTo>
                  <a:lnTo>
                    <a:pt x="204" y="774"/>
                  </a:lnTo>
                  <a:lnTo>
                    <a:pt x="210" y="774"/>
                  </a:lnTo>
                  <a:lnTo>
                    <a:pt x="216" y="768"/>
                  </a:lnTo>
                  <a:lnTo>
                    <a:pt x="222" y="762"/>
                  </a:lnTo>
                  <a:lnTo>
                    <a:pt x="228" y="762"/>
                  </a:lnTo>
                  <a:lnTo>
                    <a:pt x="228" y="768"/>
                  </a:lnTo>
                  <a:lnTo>
                    <a:pt x="234" y="768"/>
                  </a:lnTo>
                  <a:lnTo>
                    <a:pt x="240" y="762"/>
                  </a:lnTo>
                  <a:lnTo>
                    <a:pt x="252" y="762"/>
                  </a:lnTo>
                  <a:lnTo>
                    <a:pt x="264" y="768"/>
                  </a:lnTo>
                  <a:lnTo>
                    <a:pt x="294" y="756"/>
                  </a:lnTo>
                  <a:lnTo>
                    <a:pt x="294" y="750"/>
                  </a:lnTo>
                  <a:lnTo>
                    <a:pt x="300" y="750"/>
                  </a:lnTo>
                  <a:lnTo>
                    <a:pt x="306" y="744"/>
                  </a:lnTo>
                  <a:lnTo>
                    <a:pt x="342" y="750"/>
                  </a:lnTo>
                  <a:lnTo>
                    <a:pt x="348" y="750"/>
                  </a:lnTo>
                  <a:lnTo>
                    <a:pt x="348" y="744"/>
                  </a:lnTo>
                  <a:lnTo>
                    <a:pt x="354" y="744"/>
                  </a:lnTo>
                  <a:lnTo>
                    <a:pt x="360" y="744"/>
                  </a:lnTo>
                  <a:lnTo>
                    <a:pt x="360" y="750"/>
                  </a:lnTo>
                  <a:lnTo>
                    <a:pt x="366" y="750"/>
                  </a:lnTo>
                  <a:lnTo>
                    <a:pt x="366" y="744"/>
                  </a:lnTo>
                  <a:lnTo>
                    <a:pt x="366" y="738"/>
                  </a:lnTo>
                  <a:lnTo>
                    <a:pt x="372" y="744"/>
                  </a:lnTo>
                  <a:lnTo>
                    <a:pt x="378" y="744"/>
                  </a:lnTo>
                  <a:lnTo>
                    <a:pt x="384" y="750"/>
                  </a:lnTo>
                  <a:lnTo>
                    <a:pt x="444" y="774"/>
                  </a:lnTo>
                  <a:lnTo>
                    <a:pt x="450" y="774"/>
                  </a:lnTo>
                  <a:lnTo>
                    <a:pt x="456" y="768"/>
                  </a:lnTo>
                  <a:lnTo>
                    <a:pt x="462" y="768"/>
                  </a:lnTo>
                  <a:lnTo>
                    <a:pt x="462" y="762"/>
                  </a:lnTo>
                  <a:lnTo>
                    <a:pt x="468" y="762"/>
                  </a:lnTo>
                  <a:lnTo>
                    <a:pt x="474" y="756"/>
                  </a:lnTo>
                  <a:lnTo>
                    <a:pt x="480" y="750"/>
                  </a:lnTo>
                  <a:lnTo>
                    <a:pt x="516" y="756"/>
                  </a:lnTo>
                  <a:lnTo>
                    <a:pt x="522" y="756"/>
                  </a:lnTo>
                  <a:lnTo>
                    <a:pt x="522" y="762"/>
                  </a:lnTo>
                  <a:lnTo>
                    <a:pt x="522" y="768"/>
                  </a:lnTo>
                  <a:lnTo>
                    <a:pt x="522" y="774"/>
                  </a:lnTo>
                  <a:lnTo>
                    <a:pt x="528" y="780"/>
                  </a:lnTo>
                  <a:lnTo>
                    <a:pt x="540" y="780"/>
                  </a:lnTo>
                  <a:lnTo>
                    <a:pt x="540" y="804"/>
                  </a:lnTo>
                  <a:lnTo>
                    <a:pt x="540" y="810"/>
                  </a:lnTo>
                  <a:lnTo>
                    <a:pt x="546" y="810"/>
                  </a:lnTo>
                  <a:lnTo>
                    <a:pt x="552" y="810"/>
                  </a:lnTo>
                  <a:lnTo>
                    <a:pt x="558" y="810"/>
                  </a:lnTo>
                  <a:lnTo>
                    <a:pt x="564" y="810"/>
                  </a:lnTo>
                  <a:lnTo>
                    <a:pt x="570" y="810"/>
                  </a:lnTo>
                  <a:lnTo>
                    <a:pt x="576" y="810"/>
                  </a:lnTo>
                  <a:lnTo>
                    <a:pt x="576" y="816"/>
                  </a:lnTo>
                  <a:lnTo>
                    <a:pt x="588" y="816"/>
                  </a:lnTo>
                  <a:lnTo>
                    <a:pt x="594" y="816"/>
                  </a:lnTo>
                  <a:lnTo>
                    <a:pt x="600" y="822"/>
                  </a:lnTo>
                  <a:lnTo>
                    <a:pt x="606" y="816"/>
                  </a:lnTo>
                  <a:lnTo>
                    <a:pt x="612" y="816"/>
                  </a:lnTo>
                  <a:lnTo>
                    <a:pt x="612" y="810"/>
                  </a:lnTo>
                  <a:lnTo>
                    <a:pt x="624" y="810"/>
                  </a:lnTo>
                  <a:lnTo>
                    <a:pt x="624" y="804"/>
                  </a:lnTo>
                  <a:lnTo>
                    <a:pt x="630" y="798"/>
                  </a:lnTo>
                  <a:lnTo>
                    <a:pt x="636" y="798"/>
                  </a:lnTo>
                  <a:lnTo>
                    <a:pt x="636" y="804"/>
                  </a:lnTo>
                  <a:lnTo>
                    <a:pt x="642" y="804"/>
                  </a:lnTo>
                  <a:lnTo>
                    <a:pt x="648" y="804"/>
                  </a:lnTo>
                  <a:lnTo>
                    <a:pt x="654" y="804"/>
                  </a:lnTo>
                  <a:lnTo>
                    <a:pt x="660" y="804"/>
                  </a:lnTo>
                  <a:lnTo>
                    <a:pt x="678" y="798"/>
                  </a:lnTo>
                  <a:lnTo>
                    <a:pt x="714" y="786"/>
                  </a:lnTo>
                  <a:lnTo>
                    <a:pt x="714" y="792"/>
                  </a:lnTo>
                  <a:lnTo>
                    <a:pt x="714" y="798"/>
                  </a:lnTo>
                  <a:lnTo>
                    <a:pt x="714" y="804"/>
                  </a:lnTo>
                  <a:lnTo>
                    <a:pt x="720" y="804"/>
                  </a:lnTo>
                  <a:lnTo>
                    <a:pt x="720" y="810"/>
                  </a:lnTo>
                  <a:lnTo>
                    <a:pt x="720" y="816"/>
                  </a:lnTo>
                  <a:lnTo>
                    <a:pt x="726" y="822"/>
                  </a:lnTo>
                  <a:lnTo>
                    <a:pt x="732" y="828"/>
                  </a:lnTo>
                  <a:lnTo>
                    <a:pt x="732" y="834"/>
                  </a:lnTo>
                  <a:lnTo>
                    <a:pt x="732" y="846"/>
                  </a:lnTo>
                  <a:lnTo>
                    <a:pt x="732" y="858"/>
                  </a:lnTo>
                  <a:lnTo>
                    <a:pt x="738" y="858"/>
                  </a:lnTo>
                  <a:lnTo>
                    <a:pt x="732" y="864"/>
                  </a:lnTo>
                  <a:lnTo>
                    <a:pt x="732" y="870"/>
                  </a:lnTo>
                  <a:lnTo>
                    <a:pt x="726" y="870"/>
                  </a:lnTo>
                  <a:lnTo>
                    <a:pt x="726" y="876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0" y="882"/>
                  </a:lnTo>
                  <a:lnTo>
                    <a:pt x="690" y="912"/>
                  </a:lnTo>
                  <a:lnTo>
                    <a:pt x="696" y="936"/>
                  </a:lnTo>
                  <a:lnTo>
                    <a:pt x="702" y="936"/>
                  </a:lnTo>
                  <a:lnTo>
                    <a:pt x="702" y="930"/>
                  </a:lnTo>
                  <a:lnTo>
                    <a:pt x="708" y="930"/>
                  </a:lnTo>
                  <a:lnTo>
                    <a:pt x="708" y="924"/>
                  </a:lnTo>
                  <a:lnTo>
                    <a:pt x="708" y="918"/>
                  </a:lnTo>
                  <a:lnTo>
                    <a:pt x="714" y="918"/>
                  </a:lnTo>
                  <a:lnTo>
                    <a:pt x="720" y="954"/>
                  </a:lnTo>
                  <a:lnTo>
                    <a:pt x="726" y="966"/>
                  </a:lnTo>
                  <a:lnTo>
                    <a:pt x="744" y="966"/>
                  </a:lnTo>
                  <a:lnTo>
                    <a:pt x="756" y="972"/>
                  </a:lnTo>
                  <a:lnTo>
                    <a:pt x="792" y="990"/>
                  </a:lnTo>
                  <a:lnTo>
                    <a:pt x="828" y="978"/>
                  </a:lnTo>
                  <a:lnTo>
                    <a:pt x="834" y="978"/>
                  </a:lnTo>
                  <a:lnTo>
                    <a:pt x="840" y="978"/>
                  </a:lnTo>
                  <a:lnTo>
                    <a:pt x="840" y="984"/>
                  </a:lnTo>
                  <a:lnTo>
                    <a:pt x="846" y="984"/>
                  </a:lnTo>
                  <a:lnTo>
                    <a:pt x="858" y="972"/>
                  </a:lnTo>
                  <a:lnTo>
                    <a:pt x="882" y="972"/>
                  </a:lnTo>
                  <a:lnTo>
                    <a:pt x="888" y="984"/>
                  </a:lnTo>
                  <a:lnTo>
                    <a:pt x="900" y="990"/>
                  </a:lnTo>
                  <a:lnTo>
                    <a:pt x="924" y="996"/>
                  </a:lnTo>
                  <a:lnTo>
                    <a:pt x="930" y="990"/>
                  </a:lnTo>
                  <a:lnTo>
                    <a:pt x="930" y="984"/>
                  </a:lnTo>
                  <a:lnTo>
                    <a:pt x="924" y="978"/>
                  </a:lnTo>
                  <a:lnTo>
                    <a:pt x="906" y="972"/>
                  </a:lnTo>
                  <a:lnTo>
                    <a:pt x="900" y="966"/>
                  </a:lnTo>
                  <a:lnTo>
                    <a:pt x="900" y="960"/>
                  </a:lnTo>
                  <a:lnTo>
                    <a:pt x="900" y="954"/>
                  </a:lnTo>
                  <a:lnTo>
                    <a:pt x="900" y="948"/>
                  </a:lnTo>
                  <a:lnTo>
                    <a:pt x="912" y="936"/>
                  </a:lnTo>
                  <a:lnTo>
                    <a:pt x="912" y="924"/>
                  </a:lnTo>
                  <a:lnTo>
                    <a:pt x="918" y="924"/>
                  </a:lnTo>
                  <a:lnTo>
                    <a:pt x="918" y="918"/>
                  </a:lnTo>
                  <a:lnTo>
                    <a:pt x="936" y="906"/>
                  </a:lnTo>
                  <a:lnTo>
                    <a:pt x="942" y="906"/>
                  </a:lnTo>
                  <a:lnTo>
                    <a:pt x="948" y="906"/>
                  </a:lnTo>
                  <a:lnTo>
                    <a:pt x="954" y="906"/>
                  </a:lnTo>
                  <a:lnTo>
                    <a:pt x="960" y="906"/>
                  </a:lnTo>
                  <a:lnTo>
                    <a:pt x="966" y="912"/>
                  </a:lnTo>
                  <a:lnTo>
                    <a:pt x="972" y="906"/>
                  </a:lnTo>
                  <a:lnTo>
                    <a:pt x="978" y="906"/>
                  </a:lnTo>
                  <a:lnTo>
                    <a:pt x="984" y="900"/>
                  </a:lnTo>
                  <a:lnTo>
                    <a:pt x="984" y="894"/>
                  </a:lnTo>
                  <a:lnTo>
                    <a:pt x="990" y="894"/>
                  </a:lnTo>
                  <a:lnTo>
                    <a:pt x="996" y="888"/>
                  </a:lnTo>
                  <a:lnTo>
                    <a:pt x="1002" y="888"/>
                  </a:lnTo>
                  <a:lnTo>
                    <a:pt x="1008" y="882"/>
                  </a:lnTo>
                  <a:lnTo>
                    <a:pt x="1014" y="882"/>
                  </a:lnTo>
                  <a:lnTo>
                    <a:pt x="1020" y="882"/>
                  </a:lnTo>
                  <a:lnTo>
                    <a:pt x="1020" y="888"/>
                  </a:lnTo>
                  <a:lnTo>
                    <a:pt x="1026" y="882"/>
                  </a:lnTo>
                  <a:lnTo>
                    <a:pt x="1026" y="876"/>
                  </a:lnTo>
                  <a:lnTo>
                    <a:pt x="1026" y="870"/>
                  </a:lnTo>
                  <a:lnTo>
                    <a:pt x="1032" y="864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44" y="852"/>
                  </a:lnTo>
                  <a:lnTo>
                    <a:pt x="1038" y="846"/>
                  </a:lnTo>
                  <a:lnTo>
                    <a:pt x="1038" y="840"/>
                  </a:lnTo>
                  <a:lnTo>
                    <a:pt x="1032" y="840"/>
                  </a:lnTo>
                  <a:lnTo>
                    <a:pt x="1026" y="840"/>
                  </a:lnTo>
                  <a:lnTo>
                    <a:pt x="1020" y="840"/>
                  </a:lnTo>
                  <a:lnTo>
                    <a:pt x="1014" y="846"/>
                  </a:lnTo>
                  <a:lnTo>
                    <a:pt x="1008" y="846"/>
                  </a:lnTo>
                  <a:lnTo>
                    <a:pt x="1002" y="840"/>
                  </a:lnTo>
                  <a:lnTo>
                    <a:pt x="996" y="840"/>
                  </a:lnTo>
                  <a:lnTo>
                    <a:pt x="990" y="834"/>
                  </a:lnTo>
                  <a:lnTo>
                    <a:pt x="984" y="834"/>
                  </a:lnTo>
                  <a:lnTo>
                    <a:pt x="978" y="834"/>
                  </a:lnTo>
                  <a:lnTo>
                    <a:pt x="972" y="834"/>
                  </a:lnTo>
                  <a:lnTo>
                    <a:pt x="966" y="834"/>
                  </a:lnTo>
                  <a:lnTo>
                    <a:pt x="966" y="828"/>
                  </a:lnTo>
                  <a:lnTo>
                    <a:pt x="960" y="828"/>
                  </a:lnTo>
                  <a:lnTo>
                    <a:pt x="954" y="828"/>
                  </a:lnTo>
                  <a:lnTo>
                    <a:pt x="942" y="828"/>
                  </a:lnTo>
                  <a:lnTo>
                    <a:pt x="936" y="828"/>
                  </a:lnTo>
                  <a:lnTo>
                    <a:pt x="930" y="828"/>
                  </a:lnTo>
                  <a:lnTo>
                    <a:pt x="918" y="828"/>
                  </a:lnTo>
                  <a:lnTo>
                    <a:pt x="918" y="822"/>
                  </a:lnTo>
                  <a:lnTo>
                    <a:pt x="912" y="828"/>
                  </a:lnTo>
                  <a:lnTo>
                    <a:pt x="912" y="822"/>
                  </a:lnTo>
                  <a:lnTo>
                    <a:pt x="906" y="816"/>
                  </a:lnTo>
                  <a:lnTo>
                    <a:pt x="900" y="816"/>
                  </a:lnTo>
                  <a:lnTo>
                    <a:pt x="894" y="816"/>
                  </a:lnTo>
                  <a:lnTo>
                    <a:pt x="888" y="816"/>
                  </a:lnTo>
                  <a:lnTo>
                    <a:pt x="882" y="816"/>
                  </a:lnTo>
                  <a:lnTo>
                    <a:pt x="882" y="810"/>
                  </a:lnTo>
                  <a:lnTo>
                    <a:pt x="876" y="804"/>
                  </a:lnTo>
                  <a:lnTo>
                    <a:pt x="870" y="804"/>
                  </a:lnTo>
                  <a:lnTo>
                    <a:pt x="864" y="798"/>
                  </a:lnTo>
                  <a:lnTo>
                    <a:pt x="858" y="798"/>
                  </a:lnTo>
                  <a:lnTo>
                    <a:pt x="858" y="804"/>
                  </a:lnTo>
                  <a:lnTo>
                    <a:pt x="852" y="804"/>
                  </a:lnTo>
                  <a:lnTo>
                    <a:pt x="846" y="804"/>
                  </a:lnTo>
                  <a:lnTo>
                    <a:pt x="846" y="798"/>
                  </a:lnTo>
                  <a:lnTo>
                    <a:pt x="840" y="804"/>
                  </a:lnTo>
                  <a:lnTo>
                    <a:pt x="834" y="804"/>
                  </a:lnTo>
                  <a:lnTo>
                    <a:pt x="828" y="804"/>
                  </a:lnTo>
                  <a:lnTo>
                    <a:pt x="828" y="810"/>
                  </a:lnTo>
                  <a:lnTo>
                    <a:pt x="822" y="810"/>
                  </a:lnTo>
                  <a:lnTo>
                    <a:pt x="810" y="804"/>
                  </a:lnTo>
                  <a:lnTo>
                    <a:pt x="810" y="798"/>
                  </a:lnTo>
                  <a:lnTo>
                    <a:pt x="780" y="798"/>
                  </a:lnTo>
                  <a:lnTo>
                    <a:pt x="756" y="774"/>
                  </a:lnTo>
                  <a:lnTo>
                    <a:pt x="750" y="768"/>
                  </a:lnTo>
                  <a:lnTo>
                    <a:pt x="750" y="744"/>
                  </a:lnTo>
                  <a:lnTo>
                    <a:pt x="732" y="738"/>
                  </a:lnTo>
                  <a:lnTo>
                    <a:pt x="732" y="720"/>
                  </a:lnTo>
                  <a:lnTo>
                    <a:pt x="714" y="690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6" y="666"/>
                  </a:lnTo>
                  <a:lnTo>
                    <a:pt x="690" y="666"/>
                  </a:lnTo>
                  <a:lnTo>
                    <a:pt x="678" y="672"/>
                  </a:lnTo>
                  <a:lnTo>
                    <a:pt x="678" y="654"/>
                  </a:lnTo>
                  <a:lnTo>
                    <a:pt x="684" y="630"/>
                  </a:lnTo>
                  <a:lnTo>
                    <a:pt x="690" y="618"/>
                  </a:lnTo>
                  <a:lnTo>
                    <a:pt x="696" y="612"/>
                  </a:lnTo>
                  <a:lnTo>
                    <a:pt x="696" y="588"/>
                  </a:lnTo>
                  <a:lnTo>
                    <a:pt x="690" y="576"/>
                  </a:lnTo>
                  <a:lnTo>
                    <a:pt x="696" y="552"/>
                  </a:lnTo>
                  <a:lnTo>
                    <a:pt x="684" y="522"/>
                  </a:lnTo>
                  <a:lnTo>
                    <a:pt x="672" y="504"/>
                  </a:lnTo>
                  <a:lnTo>
                    <a:pt x="654" y="504"/>
                  </a:lnTo>
                  <a:lnTo>
                    <a:pt x="642" y="504"/>
                  </a:lnTo>
                  <a:lnTo>
                    <a:pt x="624" y="510"/>
                  </a:lnTo>
                  <a:lnTo>
                    <a:pt x="612" y="516"/>
                  </a:lnTo>
                  <a:lnTo>
                    <a:pt x="594" y="516"/>
                  </a:lnTo>
                  <a:lnTo>
                    <a:pt x="588" y="516"/>
                  </a:lnTo>
                  <a:lnTo>
                    <a:pt x="588" y="522"/>
                  </a:lnTo>
                  <a:lnTo>
                    <a:pt x="582" y="516"/>
                  </a:lnTo>
                  <a:lnTo>
                    <a:pt x="588" y="510"/>
                  </a:lnTo>
                  <a:lnTo>
                    <a:pt x="582" y="510"/>
                  </a:lnTo>
                  <a:lnTo>
                    <a:pt x="582" y="504"/>
                  </a:lnTo>
                  <a:lnTo>
                    <a:pt x="576" y="498"/>
                  </a:lnTo>
                  <a:lnTo>
                    <a:pt x="570" y="498"/>
                  </a:lnTo>
                  <a:lnTo>
                    <a:pt x="570" y="492"/>
                  </a:lnTo>
                  <a:lnTo>
                    <a:pt x="564" y="492"/>
                  </a:lnTo>
                  <a:lnTo>
                    <a:pt x="570" y="486"/>
                  </a:lnTo>
                  <a:lnTo>
                    <a:pt x="564" y="486"/>
                  </a:lnTo>
                  <a:lnTo>
                    <a:pt x="564" y="480"/>
                  </a:lnTo>
                  <a:lnTo>
                    <a:pt x="564" y="474"/>
                  </a:lnTo>
                  <a:lnTo>
                    <a:pt x="558" y="468"/>
                  </a:lnTo>
                  <a:lnTo>
                    <a:pt x="564" y="468"/>
                  </a:lnTo>
                  <a:lnTo>
                    <a:pt x="564" y="462"/>
                  </a:lnTo>
                  <a:lnTo>
                    <a:pt x="570" y="462"/>
                  </a:lnTo>
                  <a:lnTo>
                    <a:pt x="570" y="456"/>
                  </a:lnTo>
                  <a:lnTo>
                    <a:pt x="570" y="450"/>
                  </a:lnTo>
                  <a:lnTo>
                    <a:pt x="576" y="450"/>
                  </a:lnTo>
                  <a:lnTo>
                    <a:pt x="576" y="444"/>
                  </a:lnTo>
                  <a:lnTo>
                    <a:pt x="582" y="438"/>
                  </a:lnTo>
                  <a:lnTo>
                    <a:pt x="588" y="438"/>
                  </a:lnTo>
                  <a:lnTo>
                    <a:pt x="588" y="444"/>
                  </a:lnTo>
                  <a:lnTo>
                    <a:pt x="594" y="438"/>
                  </a:lnTo>
                  <a:lnTo>
                    <a:pt x="594" y="432"/>
                  </a:lnTo>
                  <a:lnTo>
                    <a:pt x="600" y="432"/>
                  </a:lnTo>
                  <a:lnTo>
                    <a:pt x="600" y="426"/>
                  </a:lnTo>
                  <a:lnTo>
                    <a:pt x="600" y="420"/>
                  </a:lnTo>
                  <a:lnTo>
                    <a:pt x="606" y="420"/>
                  </a:lnTo>
                  <a:lnTo>
                    <a:pt x="600" y="420"/>
                  </a:lnTo>
                  <a:lnTo>
                    <a:pt x="600" y="414"/>
                  </a:lnTo>
                  <a:lnTo>
                    <a:pt x="606" y="408"/>
                  </a:lnTo>
                  <a:lnTo>
                    <a:pt x="612" y="408"/>
                  </a:lnTo>
                  <a:lnTo>
                    <a:pt x="612" y="414"/>
                  </a:lnTo>
                  <a:lnTo>
                    <a:pt x="618" y="414"/>
                  </a:lnTo>
                  <a:lnTo>
                    <a:pt x="624" y="414"/>
                  </a:lnTo>
                  <a:lnTo>
                    <a:pt x="630" y="414"/>
                  </a:lnTo>
                  <a:lnTo>
                    <a:pt x="636" y="414"/>
                  </a:lnTo>
                  <a:lnTo>
                    <a:pt x="642" y="408"/>
                  </a:lnTo>
                  <a:lnTo>
                    <a:pt x="648" y="408"/>
                  </a:lnTo>
                  <a:lnTo>
                    <a:pt x="660" y="408"/>
                  </a:lnTo>
                  <a:lnTo>
                    <a:pt x="666" y="402"/>
                  </a:lnTo>
                  <a:lnTo>
                    <a:pt x="672" y="402"/>
                  </a:lnTo>
                  <a:lnTo>
                    <a:pt x="684" y="396"/>
                  </a:lnTo>
                  <a:lnTo>
                    <a:pt x="690" y="396"/>
                  </a:lnTo>
                  <a:lnTo>
                    <a:pt x="696" y="396"/>
                  </a:lnTo>
                  <a:lnTo>
                    <a:pt x="702" y="396"/>
                  </a:lnTo>
                  <a:lnTo>
                    <a:pt x="708" y="396"/>
                  </a:lnTo>
                  <a:lnTo>
                    <a:pt x="714" y="390"/>
                  </a:lnTo>
                  <a:lnTo>
                    <a:pt x="714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32" y="384"/>
                  </a:lnTo>
                  <a:lnTo>
                    <a:pt x="738" y="378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56" y="372"/>
                  </a:lnTo>
                  <a:lnTo>
                    <a:pt x="762" y="366"/>
                  </a:lnTo>
                  <a:lnTo>
                    <a:pt x="768" y="366"/>
                  </a:lnTo>
                  <a:lnTo>
                    <a:pt x="774" y="366"/>
                  </a:lnTo>
                  <a:lnTo>
                    <a:pt x="774" y="360"/>
                  </a:lnTo>
                  <a:lnTo>
                    <a:pt x="780" y="366"/>
                  </a:lnTo>
                  <a:lnTo>
                    <a:pt x="786" y="366"/>
                  </a:lnTo>
                  <a:lnTo>
                    <a:pt x="786" y="360"/>
                  </a:lnTo>
                  <a:lnTo>
                    <a:pt x="792" y="354"/>
                  </a:lnTo>
                  <a:lnTo>
                    <a:pt x="786" y="354"/>
                  </a:lnTo>
                  <a:lnTo>
                    <a:pt x="792" y="348"/>
                  </a:lnTo>
                  <a:lnTo>
                    <a:pt x="798" y="348"/>
                  </a:lnTo>
                  <a:lnTo>
                    <a:pt x="804" y="348"/>
                  </a:lnTo>
                  <a:lnTo>
                    <a:pt x="810" y="342"/>
                  </a:lnTo>
                  <a:lnTo>
                    <a:pt x="816" y="342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28" y="336"/>
                  </a:lnTo>
                  <a:lnTo>
                    <a:pt x="834" y="336"/>
                  </a:lnTo>
                  <a:lnTo>
                    <a:pt x="840" y="336"/>
                  </a:lnTo>
                  <a:lnTo>
                    <a:pt x="846" y="330"/>
                  </a:lnTo>
                  <a:lnTo>
                    <a:pt x="852" y="330"/>
                  </a:lnTo>
                  <a:lnTo>
                    <a:pt x="858" y="330"/>
                  </a:lnTo>
                  <a:lnTo>
                    <a:pt x="864" y="324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0" y="312"/>
                  </a:lnTo>
                  <a:lnTo>
                    <a:pt x="876" y="312"/>
                  </a:lnTo>
                  <a:lnTo>
                    <a:pt x="882" y="312"/>
                  </a:lnTo>
                  <a:lnTo>
                    <a:pt x="882" y="318"/>
                  </a:lnTo>
                  <a:lnTo>
                    <a:pt x="888" y="312"/>
                  </a:lnTo>
                  <a:lnTo>
                    <a:pt x="894" y="306"/>
                  </a:lnTo>
                  <a:lnTo>
                    <a:pt x="900" y="306"/>
                  </a:lnTo>
                  <a:lnTo>
                    <a:pt x="906" y="306"/>
                  </a:lnTo>
                  <a:lnTo>
                    <a:pt x="912" y="300"/>
                  </a:lnTo>
                  <a:lnTo>
                    <a:pt x="906" y="294"/>
                  </a:lnTo>
                  <a:lnTo>
                    <a:pt x="912" y="276"/>
                  </a:lnTo>
                  <a:lnTo>
                    <a:pt x="912" y="252"/>
                  </a:lnTo>
                  <a:lnTo>
                    <a:pt x="906" y="234"/>
                  </a:lnTo>
                  <a:lnTo>
                    <a:pt x="912" y="228"/>
                  </a:lnTo>
                  <a:lnTo>
                    <a:pt x="912" y="216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24" y="192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36" y="186"/>
                  </a:lnTo>
                  <a:lnTo>
                    <a:pt x="930" y="180"/>
                  </a:lnTo>
                  <a:lnTo>
                    <a:pt x="930" y="174"/>
                  </a:lnTo>
                  <a:lnTo>
                    <a:pt x="936" y="156"/>
                  </a:lnTo>
                  <a:lnTo>
                    <a:pt x="930" y="156"/>
                  </a:lnTo>
                  <a:lnTo>
                    <a:pt x="924" y="150"/>
                  </a:lnTo>
                  <a:lnTo>
                    <a:pt x="942" y="78"/>
                  </a:lnTo>
                  <a:lnTo>
                    <a:pt x="948" y="78"/>
                  </a:lnTo>
                  <a:lnTo>
                    <a:pt x="954" y="66"/>
                  </a:lnTo>
                  <a:lnTo>
                    <a:pt x="954" y="72"/>
                  </a:lnTo>
                  <a:lnTo>
                    <a:pt x="954" y="66"/>
                  </a:lnTo>
                  <a:lnTo>
                    <a:pt x="960" y="66"/>
                  </a:lnTo>
                  <a:lnTo>
                    <a:pt x="966" y="66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54"/>
                  </a:lnTo>
                  <a:lnTo>
                    <a:pt x="990" y="54"/>
                  </a:lnTo>
                  <a:lnTo>
                    <a:pt x="996" y="48"/>
                  </a:lnTo>
                  <a:lnTo>
                    <a:pt x="1002" y="48"/>
                  </a:lnTo>
                  <a:lnTo>
                    <a:pt x="1032" y="48"/>
                  </a:lnTo>
                  <a:lnTo>
                    <a:pt x="1062" y="48"/>
                  </a:lnTo>
                  <a:lnTo>
                    <a:pt x="1068" y="78"/>
                  </a:lnTo>
                  <a:lnTo>
                    <a:pt x="1086" y="78"/>
                  </a:lnTo>
                  <a:lnTo>
                    <a:pt x="1092" y="66"/>
                  </a:lnTo>
                  <a:lnTo>
                    <a:pt x="1092" y="60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8" y="48"/>
                  </a:lnTo>
                  <a:lnTo>
                    <a:pt x="1104" y="48"/>
                  </a:lnTo>
                  <a:lnTo>
                    <a:pt x="1110" y="48"/>
                  </a:lnTo>
                  <a:lnTo>
                    <a:pt x="1110" y="42"/>
                  </a:lnTo>
                  <a:lnTo>
                    <a:pt x="1110" y="36"/>
                  </a:lnTo>
                  <a:lnTo>
                    <a:pt x="1116" y="36"/>
                  </a:lnTo>
                  <a:lnTo>
                    <a:pt x="1116" y="30"/>
                  </a:lnTo>
                  <a:lnTo>
                    <a:pt x="1122" y="30"/>
                  </a:lnTo>
                  <a:lnTo>
                    <a:pt x="1128" y="30"/>
                  </a:lnTo>
                  <a:lnTo>
                    <a:pt x="1134" y="30"/>
                  </a:lnTo>
                  <a:lnTo>
                    <a:pt x="1140" y="24"/>
                  </a:lnTo>
                  <a:lnTo>
                    <a:pt x="1152" y="18"/>
                  </a:lnTo>
                  <a:lnTo>
                    <a:pt x="1158" y="18"/>
                  </a:lnTo>
                  <a:lnTo>
                    <a:pt x="1152" y="12"/>
                  </a:lnTo>
                  <a:lnTo>
                    <a:pt x="1152" y="6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8"/>
                  </a:lnTo>
                  <a:lnTo>
                    <a:pt x="1170" y="12"/>
                  </a:lnTo>
                  <a:lnTo>
                    <a:pt x="1170" y="6"/>
                  </a:lnTo>
                  <a:lnTo>
                    <a:pt x="1176" y="6"/>
                  </a:lnTo>
                  <a:lnTo>
                    <a:pt x="1176" y="0"/>
                  </a:lnTo>
                  <a:lnTo>
                    <a:pt x="1182" y="6"/>
                  </a:lnTo>
                  <a:lnTo>
                    <a:pt x="1188" y="6"/>
                  </a:lnTo>
                  <a:lnTo>
                    <a:pt x="1188" y="0"/>
                  </a:lnTo>
                  <a:lnTo>
                    <a:pt x="1194" y="6"/>
                  </a:lnTo>
                  <a:lnTo>
                    <a:pt x="1200" y="12"/>
                  </a:lnTo>
                  <a:lnTo>
                    <a:pt x="1206" y="18"/>
                  </a:lnTo>
                  <a:lnTo>
                    <a:pt x="1212" y="18"/>
                  </a:lnTo>
                  <a:lnTo>
                    <a:pt x="1218" y="24"/>
                  </a:lnTo>
                  <a:lnTo>
                    <a:pt x="1236" y="36"/>
                  </a:lnTo>
                  <a:lnTo>
                    <a:pt x="1242" y="36"/>
                  </a:lnTo>
                  <a:lnTo>
                    <a:pt x="1248" y="42"/>
                  </a:lnTo>
                  <a:lnTo>
                    <a:pt x="1248" y="48"/>
                  </a:lnTo>
                  <a:lnTo>
                    <a:pt x="1260" y="48"/>
                  </a:lnTo>
                  <a:lnTo>
                    <a:pt x="1260" y="108"/>
                  </a:lnTo>
                  <a:lnTo>
                    <a:pt x="1266" y="168"/>
                  </a:lnTo>
                  <a:lnTo>
                    <a:pt x="1278" y="234"/>
                  </a:lnTo>
                  <a:lnTo>
                    <a:pt x="1284" y="240"/>
                  </a:lnTo>
                  <a:lnTo>
                    <a:pt x="1290" y="264"/>
                  </a:lnTo>
                  <a:lnTo>
                    <a:pt x="1296" y="288"/>
                  </a:lnTo>
                  <a:lnTo>
                    <a:pt x="1296" y="300"/>
                  </a:lnTo>
                  <a:lnTo>
                    <a:pt x="1296" y="312"/>
                  </a:lnTo>
                  <a:lnTo>
                    <a:pt x="1296" y="324"/>
                  </a:lnTo>
                  <a:lnTo>
                    <a:pt x="1296" y="354"/>
                  </a:lnTo>
                  <a:lnTo>
                    <a:pt x="1302" y="366"/>
                  </a:lnTo>
                  <a:lnTo>
                    <a:pt x="1308" y="372"/>
                  </a:lnTo>
                  <a:lnTo>
                    <a:pt x="1308" y="384"/>
                  </a:lnTo>
                  <a:lnTo>
                    <a:pt x="1314" y="390"/>
                  </a:lnTo>
                  <a:lnTo>
                    <a:pt x="1308" y="408"/>
                  </a:lnTo>
                  <a:lnTo>
                    <a:pt x="1314" y="408"/>
                  </a:lnTo>
                  <a:lnTo>
                    <a:pt x="1314" y="414"/>
                  </a:lnTo>
                  <a:lnTo>
                    <a:pt x="1308" y="420"/>
                  </a:lnTo>
                  <a:lnTo>
                    <a:pt x="1308" y="432"/>
                  </a:lnTo>
                  <a:lnTo>
                    <a:pt x="1320" y="432"/>
                  </a:lnTo>
                  <a:lnTo>
                    <a:pt x="1320" y="444"/>
                  </a:lnTo>
                  <a:lnTo>
                    <a:pt x="1332" y="444"/>
                  </a:lnTo>
                  <a:lnTo>
                    <a:pt x="1338" y="450"/>
                  </a:lnTo>
                  <a:lnTo>
                    <a:pt x="1344" y="456"/>
                  </a:lnTo>
                  <a:lnTo>
                    <a:pt x="1344" y="462"/>
                  </a:lnTo>
                  <a:lnTo>
                    <a:pt x="1344" y="474"/>
                  </a:lnTo>
                  <a:lnTo>
                    <a:pt x="1350" y="474"/>
                  </a:lnTo>
                  <a:lnTo>
                    <a:pt x="1368" y="504"/>
                  </a:lnTo>
                  <a:lnTo>
                    <a:pt x="1374" y="534"/>
                  </a:lnTo>
                  <a:lnTo>
                    <a:pt x="1380" y="558"/>
                  </a:lnTo>
                  <a:lnTo>
                    <a:pt x="1386" y="576"/>
                  </a:lnTo>
                  <a:lnTo>
                    <a:pt x="1386" y="600"/>
                  </a:lnTo>
                  <a:lnTo>
                    <a:pt x="1386" y="624"/>
                  </a:lnTo>
                  <a:lnTo>
                    <a:pt x="1386" y="648"/>
                  </a:lnTo>
                  <a:lnTo>
                    <a:pt x="1386" y="684"/>
                  </a:lnTo>
                  <a:lnTo>
                    <a:pt x="1380" y="684"/>
                  </a:lnTo>
                  <a:lnTo>
                    <a:pt x="1374" y="696"/>
                  </a:lnTo>
                  <a:lnTo>
                    <a:pt x="1368" y="702"/>
                  </a:lnTo>
                  <a:lnTo>
                    <a:pt x="1362" y="708"/>
                  </a:lnTo>
                  <a:lnTo>
                    <a:pt x="1356" y="714"/>
                  </a:lnTo>
                  <a:lnTo>
                    <a:pt x="1350" y="720"/>
                  </a:lnTo>
                  <a:lnTo>
                    <a:pt x="1338" y="720"/>
                  </a:lnTo>
                  <a:lnTo>
                    <a:pt x="1338" y="738"/>
                  </a:lnTo>
                  <a:lnTo>
                    <a:pt x="1362" y="750"/>
                  </a:lnTo>
                  <a:lnTo>
                    <a:pt x="1362" y="756"/>
                  </a:lnTo>
                  <a:lnTo>
                    <a:pt x="1374" y="756"/>
                  </a:lnTo>
                  <a:lnTo>
                    <a:pt x="1410" y="774"/>
                  </a:lnTo>
                  <a:lnTo>
                    <a:pt x="1446" y="774"/>
                  </a:lnTo>
                  <a:lnTo>
                    <a:pt x="1482" y="768"/>
                  </a:lnTo>
                  <a:lnTo>
                    <a:pt x="1500" y="774"/>
                  </a:lnTo>
                  <a:lnTo>
                    <a:pt x="1512" y="78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6" name="Freeform 11">
              <a:extLst>
                <a:ext uri="{FF2B5EF4-FFF2-40B4-BE49-F238E27FC236}">
                  <a16:creationId xmlns:a16="http://schemas.microsoft.com/office/drawing/2014/main" id="{1FF8E66F-B850-456A-B132-C45FEEDE95C6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2475" y="2345643"/>
              <a:ext cx="445003" cy="603855"/>
            </a:xfrm>
            <a:custGeom>
              <a:avLst/>
              <a:gdLst>
                <a:gd name="T0" fmla="*/ 47 w 840"/>
                <a:gd name="T1" fmla="*/ 98 h 1134"/>
                <a:gd name="T2" fmla="*/ 41 w 840"/>
                <a:gd name="T3" fmla="*/ 98 h 1134"/>
                <a:gd name="T4" fmla="*/ 37 w 840"/>
                <a:gd name="T5" fmla="*/ 98 h 1134"/>
                <a:gd name="T6" fmla="*/ 29 w 840"/>
                <a:gd name="T7" fmla="*/ 97 h 1134"/>
                <a:gd name="T8" fmla="*/ 27 w 840"/>
                <a:gd name="T9" fmla="*/ 94 h 1134"/>
                <a:gd name="T10" fmla="*/ 26 w 840"/>
                <a:gd name="T11" fmla="*/ 93 h 1134"/>
                <a:gd name="T12" fmla="*/ 26 w 840"/>
                <a:gd name="T13" fmla="*/ 83 h 1134"/>
                <a:gd name="T14" fmla="*/ 26 w 840"/>
                <a:gd name="T15" fmla="*/ 81 h 1134"/>
                <a:gd name="T16" fmla="*/ 23 w 840"/>
                <a:gd name="T17" fmla="*/ 77 h 1134"/>
                <a:gd name="T18" fmla="*/ 19 w 840"/>
                <a:gd name="T19" fmla="*/ 75 h 1134"/>
                <a:gd name="T20" fmla="*/ 16 w 840"/>
                <a:gd name="T21" fmla="*/ 72 h 1134"/>
                <a:gd name="T22" fmla="*/ 13 w 840"/>
                <a:gd name="T23" fmla="*/ 70 h 1134"/>
                <a:gd name="T24" fmla="*/ 17 w 840"/>
                <a:gd name="T25" fmla="*/ 67 h 1134"/>
                <a:gd name="T26" fmla="*/ 19 w 840"/>
                <a:gd name="T27" fmla="*/ 63 h 1134"/>
                <a:gd name="T28" fmla="*/ 20 w 840"/>
                <a:gd name="T29" fmla="*/ 59 h 1134"/>
                <a:gd name="T30" fmla="*/ 19 w 840"/>
                <a:gd name="T31" fmla="*/ 55 h 1134"/>
                <a:gd name="T32" fmla="*/ 17 w 840"/>
                <a:gd name="T33" fmla="*/ 47 h 1134"/>
                <a:gd name="T34" fmla="*/ 8 w 840"/>
                <a:gd name="T35" fmla="*/ 45 h 1134"/>
                <a:gd name="T36" fmla="*/ 4 w 840"/>
                <a:gd name="T37" fmla="*/ 39 h 1134"/>
                <a:gd name="T38" fmla="*/ 2 w 840"/>
                <a:gd name="T39" fmla="*/ 35 h 1134"/>
                <a:gd name="T40" fmla="*/ 0 w 840"/>
                <a:gd name="T41" fmla="*/ 31 h 1134"/>
                <a:gd name="T42" fmla="*/ 2 w 840"/>
                <a:gd name="T43" fmla="*/ 27 h 1134"/>
                <a:gd name="T44" fmla="*/ 5 w 840"/>
                <a:gd name="T45" fmla="*/ 24 h 1134"/>
                <a:gd name="T46" fmla="*/ 10 w 840"/>
                <a:gd name="T47" fmla="*/ 26 h 1134"/>
                <a:gd name="T48" fmla="*/ 7 w 840"/>
                <a:gd name="T49" fmla="*/ 20 h 1134"/>
                <a:gd name="T50" fmla="*/ 12 w 840"/>
                <a:gd name="T51" fmla="*/ 12 h 1134"/>
                <a:gd name="T52" fmla="*/ 19 w 840"/>
                <a:gd name="T53" fmla="*/ 10 h 1134"/>
                <a:gd name="T54" fmla="*/ 20 w 840"/>
                <a:gd name="T55" fmla="*/ 13 h 1134"/>
                <a:gd name="T56" fmla="*/ 22 w 840"/>
                <a:gd name="T57" fmla="*/ 11 h 1134"/>
                <a:gd name="T58" fmla="*/ 25 w 840"/>
                <a:gd name="T59" fmla="*/ 7 h 1134"/>
                <a:gd name="T60" fmla="*/ 29 w 840"/>
                <a:gd name="T61" fmla="*/ 2 h 1134"/>
                <a:gd name="T62" fmla="*/ 33 w 840"/>
                <a:gd name="T63" fmla="*/ 1 h 1134"/>
                <a:gd name="T64" fmla="*/ 37 w 840"/>
                <a:gd name="T65" fmla="*/ 2 h 1134"/>
                <a:gd name="T66" fmla="*/ 39 w 840"/>
                <a:gd name="T67" fmla="*/ 4 h 1134"/>
                <a:gd name="T68" fmla="*/ 43 w 840"/>
                <a:gd name="T69" fmla="*/ 5 h 1134"/>
                <a:gd name="T70" fmla="*/ 46 w 840"/>
                <a:gd name="T71" fmla="*/ 11 h 1134"/>
                <a:gd name="T72" fmla="*/ 49 w 840"/>
                <a:gd name="T73" fmla="*/ 12 h 1134"/>
                <a:gd name="T74" fmla="*/ 52 w 840"/>
                <a:gd name="T75" fmla="*/ 15 h 1134"/>
                <a:gd name="T76" fmla="*/ 54 w 840"/>
                <a:gd name="T77" fmla="*/ 18 h 1134"/>
                <a:gd name="T78" fmla="*/ 55 w 840"/>
                <a:gd name="T79" fmla="*/ 22 h 1134"/>
                <a:gd name="T80" fmla="*/ 56 w 840"/>
                <a:gd name="T81" fmla="*/ 26 h 1134"/>
                <a:gd name="T82" fmla="*/ 55 w 840"/>
                <a:gd name="T83" fmla="*/ 32 h 1134"/>
                <a:gd name="T84" fmla="*/ 55 w 840"/>
                <a:gd name="T85" fmla="*/ 36 h 1134"/>
                <a:gd name="T86" fmla="*/ 54 w 840"/>
                <a:gd name="T87" fmla="*/ 39 h 1134"/>
                <a:gd name="T88" fmla="*/ 56 w 840"/>
                <a:gd name="T89" fmla="*/ 39 h 1134"/>
                <a:gd name="T90" fmla="*/ 58 w 840"/>
                <a:gd name="T91" fmla="*/ 39 h 1134"/>
                <a:gd name="T92" fmla="*/ 61 w 840"/>
                <a:gd name="T93" fmla="*/ 39 h 1134"/>
                <a:gd name="T94" fmla="*/ 60 w 840"/>
                <a:gd name="T95" fmla="*/ 49 h 1134"/>
                <a:gd name="T96" fmla="*/ 59 w 840"/>
                <a:gd name="T97" fmla="*/ 53 h 1134"/>
                <a:gd name="T98" fmla="*/ 59 w 840"/>
                <a:gd name="T99" fmla="*/ 56 h 1134"/>
                <a:gd name="T100" fmla="*/ 60 w 840"/>
                <a:gd name="T101" fmla="*/ 59 h 1134"/>
                <a:gd name="T102" fmla="*/ 64 w 840"/>
                <a:gd name="T103" fmla="*/ 61 h 1134"/>
                <a:gd name="T104" fmla="*/ 69 w 840"/>
                <a:gd name="T105" fmla="*/ 63 h 1134"/>
                <a:gd name="T106" fmla="*/ 72 w 840"/>
                <a:gd name="T107" fmla="*/ 69 h 1134"/>
                <a:gd name="T108" fmla="*/ 72 w 840"/>
                <a:gd name="T109" fmla="*/ 73 h 1134"/>
                <a:gd name="T110" fmla="*/ 72 w 840"/>
                <a:gd name="T111" fmla="*/ 83 h 1134"/>
                <a:gd name="T112" fmla="*/ 63 w 840"/>
                <a:gd name="T113" fmla="*/ 88 h 1134"/>
                <a:gd name="T114" fmla="*/ 52 w 840"/>
                <a:gd name="T115" fmla="*/ 95 h 11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40"/>
                <a:gd name="T175" fmla="*/ 0 h 1134"/>
                <a:gd name="T176" fmla="*/ 840 w 840"/>
                <a:gd name="T177" fmla="*/ 1134 h 11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40" h="1134">
                  <a:moveTo>
                    <a:pt x="564" y="1110"/>
                  </a:moveTo>
                  <a:lnTo>
                    <a:pt x="564" y="1104"/>
                  </a:lnTo>
                  <a:lnTo>
                    <a:pt x="558" y="1104"/>
                  </a:lnTo>
                  <a:lnTo>
                    <a:pt x="552" y="1110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28" y="1128"/>
                  </a:lnTo>
                  <a:lnTo>
                    <a:pt x="498" y="1128"/>
                  </a:lnTo>
                  <a:lnTo>
                    <a:pt x="492" y="1128"/>
                  </a:lnTo>
                  <a:lnTo>
                    <a:pt x="486" y="1128"/>
                  </a:lnTo>
                  <a:lnTo>
                    <a:pt x="480" y="1128"/>
                  </a:lnTo>
                  <a:lnTo>
                    <a:pt x="474" y="1134"/>
                  </a:lnTo>
                  <a:lnTo>
                    <a:pt x="468" y="1134"/>
                  </a:lnTo>
                  <a:lnTo>
                    <a:pt x="462" y="1134"/>
                  </a:lnTo>
                  <a:lnTo>
                    <a:pt x="456" y="1134"/>
                  </a:lnTo>
                  <a:lnTo>
                    <a:pt x="456" y="1128"/>
                  </a:lnTo>
                  <a:lnTo>
                    <a:pt x="450" y="1122"/>
                  </a:lnTo>
                  <a:lnTo>
                    <a:pt x="426" y="1128"/>
                  </a:lnTo>
                  <a:lnTo>
                    <a:pt x="414" y="1128"/>
                  </a:lnTo>
                  <a:lnTo>
                    <a:pt x="348" y="1134"/>
                  </a:lnTo>
                  <a:lnTo>
                    <a:pt x="348" y="1128"/>
                  </a:lnTo>
                  <a:lnTo>
                    <a:pt x="342" y="1128"/>
                  </a:lnTo>
                  <a:lnTo>
                    <a:pt x="336" y="1122"/>
                  </a:lnTo>
                  <a:lnTo>
                    <a:pt x="330" y="1122"/>
                  </a:lnTo>
                  <a:lnTo>
                    <a:pt x="324" y="1116"/>
                  </a:lnTo>
                  <a:lnTo>
                    <a:pt x="324" y="1110"/>
                  </a:lnTo>
                  <a:lnTo>
                    <a:pt x="318" y="1110"/>
                  </a:lnTo>
                  <a:lnTo>
                    <a:pt x="318" y="1104"/>
                  </a:lnTo>
                  <a:lnTo>
                    <a:pt x="312" y="1092"/>
                  </a:lnTo>
                  <a:lnTo>
                    <a:pt x="306" y="1086"/>
                  </a:lnTo>
                  <a:lnTo>
                    <a:pt x="306" y="1080"/>
                  </a:lnTo>
                  <a:lnTo>
                    <a:pt x="312" y="1074"/>
                  </a:lnTo>
                  <a:lnTo>
                    <a:pt x="306" y="1068"/>
                  </a:lnTo>
                  <a:lnTo>
                    <a:pt x="300" y="1074"/>
                  </a:lnTo>
                  <a:lnTo>
                    <a:pt x="300" y="1068"/>
                  </a:lnTo>
                  <a:lnTo>
                    <a:pt x="294" y="1068"/>
                  </a:lnTo>
                  <a:lnTo>
                    <a:pt x="294" y="1056"/>
                  </a:lnTo>
                  <a:lnTo>
                    <a:pt x="294" y="1026"/>
                  </a:lnTo>
                  <a:lnTo>
                    <a:pt x="294" y="1020"/>
                  </a:lnTo>
                  <a:lnTo>
                    <a:pt x="294" y="1008"/>
                  </a:lnTo>
                  <a:lnTo>
                    <a:pt x="294" y="966"/>
                  </a:lnTo>
                  <a:lnTo>
                    <a:pt x="294" y="960"/>
                  </a:lnTo>
                  <a:lnTo>
                    <a:pt x="294" y="954"/>
                  </a:lnTo>
                  <a:lnTo>
                    <a:pt x="294" y="948"/>
                  </a:lnTo>
                  <a:lnTo>
                    <a:pt x="294" y="942"/>
                  </a:lnTo>
                  <a:lnTo>
                    <a:pt x="300" y="936"/>
                  </a:lnTo>
                  <a:lnTo>
                    <a:pt x="300" y="930"/>
                  </a:lnTo>
                  <a:lnTo>
                    <a:pt x="294" y="930"/>
                  </a:lnTo>
                  <a:lnTo>
                    <a:pt x="288" y="930"/>
                  </a:lnTo>
                  <a:lnTo>
                    <a:pt x="288" y="924"/>
                  </a:lnTo>
                  <a:lnTo>
                    <a:pt x="282" y="918"/>
                  </a:lnTo>
                  <a:lnTo>
                    <a:pt x="282" y="906"/>
                  </a:lnTo>
                  <a:lnTo>
                    <a:pt x="282" y="900"/>
                  </a:lnTo>
                  <a:lnTo>
                    <a:pt x="264" y="894"/>
                  </a:lnTo>
                  <a:lnTo>
                    <a:pt x="252" y="882"/>
                  </a:lnTo>
                  <a:lnTo>
                    <a:pt x="246" y="876"/>
                  </a:lnTo>
                  <a:lnTo>
                    <a:pt x="240" y="876"/>
                  </a:lnTo>
                  <a:lnTo>
                    <a:pt x="240" y="870"/>
                  </a:lnTo>
                  <a:lnTo>
                    <a:pt x="234" y="870"/>
                  </a:lnTo>
                  <a:lnTo>
                    <a:pt x="222" y="864"/>
                  </a:lnTo>
                  <a:lnTo>
                    <a:pt x="216" y="864"/>
                  </a:lnTo>
                  <a:lnTo>
                    <a:pt x="210" y="858"/>
                  </a:lnTo>
                  <a:lnTo>
                    <a:pt x="210" y="852"/>
                  </a:lnTo>
                  <a:lnTo>
                    <a:pt x="210" y="846"/>
                  </a:lnTo>
                  <a:lnTo>
                    <a:pt x="198" y="840"/>
                  </a:lnTo>
                  <a:lnTo>
                    <a:pt x="186" y="834"/>
                  </a:lnTo>
                  <a:lnTo>
                    <a:pt x="180" y="828"/>
                  </a:lnTo>
                  <a:lnTo>
                    <a:pt x="180" y="822"/>
                  </a:lnTo>
                  <a:lnTo>
                    <a:pt x="174" y="822"/>
                  </a:lnTo>
                  <a:lnTo>
                    <a:pt x="162" y="816"/>
                  </a:lnTo>
                  <a:lnTo>
                    <a:pt x="156" y="810"/>
                  </a:lnTo>
                  <a:lnTo>
                    <a:pt x="150" y="810"/>
                  </a:lnTo>
                  <a:lnTo>
                    <a:pt x="144" y="798"/>
                  </a:lnTo>
                  <a:lnTo>
                    <a:pt x="138" y="786"/>
                  </a:lnTo>
                  <a:lnTo>
                    <a:pt x="138" y="780"/>
                  </a:lnTo>
                  <a:lnTo>
                    <a:pt x="144" y="774"/>
                  </a:lnTo>
                  <a:lnTo>
                    <a:pt x="150" y="768"/>
                  </a:lnTo>
                  <a:lnTo>
                    <a:pt x="192" y="768"/>
                  </a:lnTo>
                  <a:lnTo>
                    <a:pt x="210" y="762"/>
                  </a:lnTo>
                  <a:lnTo>
                    <a:pt x="216" y="756"/>
                  </a:lnTo>
                  <a:lnTo>
                    <a:pt x="216" y="744"/>
                  </a:lnTo>
                  <a:lnTo>
                    <a:pt x="216" y="738"/>
                  </a:lnTo>
                  <a:lnTo>
                    <a:pt x="216" y="732"/>
                  </a:lnTo>
                  <a:lnTo>
                    <a:pt x="216" y="726"/>
                  </a:lnTo>
                  <a:lnTo>
                    <a:pt x="216" y="720"/>
                  </a:lnTo>
                  <a:lnTo>
                    <a:pt x="228" y="702"/>
                  </a:lnTo>
                  <a:lnTo>
                    <a:pt x="234" y="696"/>
                  </a:lnTo>
                  <a:lnTo>
                    <a:pt x="240" y="690"/>
                  </a:lnTo>
                  <a:lnTo>
                    <a:pt x="240" y="684"/>
                  </a:lnTo>
                  <a:lnTo>
                    <a:pt x="234" y="678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0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22" y="630"/>
                  </a:lnTo>
                  <a:lnTo>
                    <a:pt x="222" y="618"/>
                  </a:lnTo>
                  <a:lnTo>
                    <a:pt x="222" y="582"/>
                  </a:lnTo>
                  <a:lnTo>
                    <a:pt x="228" y="582"/>
                  </a:lnTo>
                  <a:lnTo>
                    <a:pt x="222" y="564"/>
                  </a:lnTo>
                  <a:lnTo>
                    <a:pt x="210" y="552"/>
                  </a:lnTo>
                  <a:lnTo>
                    <a:pt x="192" y="540"/>
                  </a:lnTo>
                  <a:lnTo>
                    <a:pt x="174" y="540"/>
                  </a:lnTo>
                  <a:lnTo>
                    <a:pt x="150" y="534"/>
                  </a:lnTo>
                  <a:lnTo>
                    <a:pt x="126" y="528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90" y="516"/>
                  </a:lnTo>
                  <a:lnTo>
                    <a:pt x="78" y="504"/>
                  </a:lnTo>
                  <a:lnTo>
                    <a:pt x="72" y="498"/>
                  </a:lnTo>
                  <a:lnTo>
                    <a:pt x="66" y="486"/>
                  </a:lnTo>
                  <a:lnTo>
                    <a:pt x="54" y="468"/>
                  </a:lnTo>
                  <a:lnTo>
                    <a:pt x="54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42" y="438"/>
                  </a:lnTo>
                  <a:lnTo>
                    <a:pt x="36" y="438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24" y="384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2" y="360"/>
                  </a:lnTo>
                  <a:lnTo>
                    <a:pt x="6" y="360"/>
                  </a:lnTo>
                  <a:lnTo>
                    <a:pt x="0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0"/>
                  </a:lnTo>
                  <a:lnTo>
                    <a:pt x="18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8" y="270"/>
                  </a:lnTo>
                  <a:lnTo>
                    <a:pt x="90" y="276"/>
                  </a:lnTo>
                  <a:lnTo>
                    <a:pt x="108" y="294"/>
                  </a:lnTo>
                  <a:lnTo>
                    <a:pt x="114" y="294"/>
                  </a:lnTo>
                  <a:lnTo>
                    <a:pt x="114" y="276"/>
                  </a:lnTo>
                  <a:lnTo>
                    <a:pt x="114" y="270"/>
                  </a:lnTo>
                  <a:lnTo>
                    <a:pt x="102" y="258"/>
                  </a:lnTo>
                  <a:lnTo>
                    <a:pt x="96" y="246"/>
                  </a:lnTo>
                  <a:lnTo>
                    <a:pt x="90" y="234"/>
                  </a:lnTo>
                  <a:lnTo>
                    <a:pt x="78" y="228"/>
                  </a:lnTo>
                  <a:lnTo>
                    <a:pt x="72" y="216"/>
                  </a:lnTo>
                  <a:lnTo>
                    <a:pt x="66" y="192"/>
                  </a:lnTo>
                  <a:lnTo>
                    <a:pt x="90" y="174"/>
                  </a:lnTo>
                  <a:lnTo>
                    <a:pt x="120" y="150"/>
                  </a:lnTo>
                  <a:lnTo>
                    <a:pt x="132" y="150"/>
                  </a:lnTo>
                  <a:lnTo>
                    <a:pt x="138" y="144"/>
                  </a:lnTo>
                  <a:lnTo>
                    <a:pt x="138" y="138"/>
                  </a:lnTo>
                  <a:lnTo>
                    <a:pt x="156" y="126"/>
                  </a:lnTo>
                  <a:lnTo>
                    <a:pt x="180" y="114"/>
                  </a:lnTo>
                  <a:lnTo>
                    <a:pt x="216" y="114"/>
                  </a:lnTo>
                  <a:lnTo>
                    <a:pt x="222" y="114"/>
                  </a:lnTo>
                  <a:lnTo>
                    <a:pt x="222" y="120"/>
                  </a:lnTo>
                  <a:lnTo>
                    <a:pt x="222" y="126"/>
                  </a:lnTo>
                  <a:lnTo>
                    <a:pt x="222" y="132"/>
                  </a:lnTo>
                  <a:lnTo>
                    <a:pt x="228" y="138"/>
                  </a:lnTo>
                  <a:lnTo>
                    <a:pt x="228" y="144"/>
                  </a:lnTo>
                  <a:lnTo>
                    <a:pt x="228" y="150"/>
                  </a:lnTo>
                  <a:lnTo>
                    <a:pt x="234" y="150"/>
                  </a:lnTo>
                  <a:lnTo>
                    <a:pt x="234" y="144"/>
                  </a:lnTo>
                  <a:lnTo>
                    <a:pt x="240" y="144"/>
                  </a:lnTo>
                  <a:lnTo>
                    <a:pt x="246" y="144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58" y="126"/>
                  </a:lnTo>
                  <a:lnTo>
                    <a:pt x="258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76" y="96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6" y="72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36"/>
                  </a:lnTo>
                  <a:lnTo>
                    <a:pt x="330" y="24"/>
                  </a:lnTo>
                  <a:lnTo>
                    <a:pt x="330" y="18"/>
                  </a:lnTo>
                  <a:lnTo>
                    <a:pt x="330" y="12"/>
                  </a:lnTo>
                  <a:lnTo>
                    <a:pt x="336" y="6"/>
                  </a:lnTo>
                  <a:lnTo>
                    <a:pt x="366" y="0"/>
                  </a:lnTo>
                  <a:lnTo>
                    <a:pt x="372" y="6"/>
                  </a:lnTo>
                  <a:lnTo>
                    <a:pt x="384" y="12"/>
                  </a:lnTo>
                  <a:lnTo>
                    <a:pt x="402" y="12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18"/>
                  </a:lnTo>
                  <a:lnTo>
                    <a:pt x="420" y="18"/>
                  </a:lnTo>
                  <a:lnTo>
                    <a:pt x="426" y="24"/>
                  </a:lnTo>
                  <a:lnTo>
                    <a:pt x="432" y="30"/>
                  </a:lnTo>
                  <a:lnTo>
                    <a:pt x="438" y="36"/>
                  </a:lnTo>
                  <a:lnTo>
                    <a:pt x="444" y="42"/>
                  </a:lnTo>
                  <a:lnTo>
                    <a:pt x="450" y="42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16" y="78"/>
                  </a:lnTo>
                  <a:lnTo>
                    <a:pt x="522" y="102"/>
                  </a:lnTo>
                  <a:lnTo>
                    <a:pt x="522" y="108"/>
                  </a:lnTo>
                  <a:lnTo>
                    <a:pt x="528" y="126"/>
                  </a:lnTo>
                  <a:lnTo>
                    <a:pt x="534" y="126"/>
                  </a:lnTo>
                  <a:lnTo>
                    <a:pt x="540" y="120"/>
                  </a:lnTo>
                  <a:lnTo>
                    <a:pt x="546" y="126"/>
                  </a:lnTo>
                  <a:lnTo>
                    <a:pt x="552" y="126"/>
                  </a:lnTo>
                  <a:lnTo>
                    <a:pt x="558" y="132"/>
                  </a:lnTo>
                  <a:lnTo>
                    <a:pt x="564" y="138"/>
                  </a:lnTo>
                  <a:lnTo>
                    <a:pt x="570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594" y="168"/>
                  </a:lnTo>
                  <a:lnTo>
                    <a:pt x="600" y="174"/>
                  </a:lnTo>
                  <a:lnTo>
                    <a:pt x="606" y="180"/>
                  </a:lnTo>
                  <a:lnTo>
                    <a:pt x="606" y="186"/>
                  </a:lnTo>
                  <a:lnTo>
                    <a:pt x="612" y="192"/>
                  </a:lnTo>
                  <a:lnTo>
                    <a:pt x="612" y="198"/>
                  </a:lnTo>
                  <a:lnTo>
                    <a:pt x="624" y="204"/>
                  </a:lnTo>
                  <a:lnTo>
                    <a:pt x="624" y="210"/>
                  </a:lnTo>
                  <a:lnTo>
                    <a:pt x="630" y="216"/>
                  </a:lnTo>
                  <a:lnTo>
                    <a:pt x="636" y="222"/>
                  </a:lnTo>
                  <a:lnTo>
                    <a:pt x="636" y="228"/>
                  </a:lnTo>
                  <a:lnTo>
                    <a:pt x="636" y="234"/>
                  </a:lnTo>
                  <a:lnTo>
                    <a:pt x="636" y="252"/>
                  </a:lnTo>
                  <a:lnTo>
                    <a:pt x="636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42" y="276"/>
                  </a:lnTo>
                  <a:lnTo>
                    <a:pt x="642" y="282"/>
                  </a:lnTo>
                  <a:lnTo>
                    <a:pt x="642" y="288"/>
                  </a:lnTo>
                  <a:lnTo>
                    <a:pt x="642" y="300"/>
                  </a:lnTo>
                  <a:lnTo>
                    <a:pt x="642" y="306"/>
                  </a:lnTo>
                  <a:lnTo>
                    <a:pt x="636" y="312"/>
                  </a:lnTo>
                  <a:lnTo>
                    <a:pt x="636" y="324"/>
                  </a:lnTo>
                  <a:lnTo>
                    <a:pt x="636" y="342"/>
                  </a:lnTo>
                  <a:lnTo>
                    <a:pt x="630" y="354"/>
                  </a:lnTo>
                  <a:lnTo>
                    <a:pt x="630" y="366"/>
                  </a:lnTo>
                  <a:lnTo>
                    <a:pt x="624" y="378"/>
                  </a:lnTo>
                  <a:lnTo>
                    <a:pt x="624" y="384"/>
                  </a:lnTo>
                  <a:lnTo>
                    <a:pt x="636" y="396"/>
                  </a:lnTo>
                  <a:lnTo>
                    <a:pt x="636" y="402"/>
                  </a:lnTo>
                  <a:lnTo>
                    <a:pt x="636" y="408"/>
                  </a:lnTo>
                  <a:lnTo>
                    <a:pt x="630" y="414"/>
                  </a:lnTo>
                  <a:lnTo>
                    <a:pt x="630" y="420"/>
                  </a:lnTo>
                  <a:lnTo>
                    <a:pt x="630" y="426"/>
                  </a:lnTo>
                  <a:lnTo>
                    <a:pt x="630" y="432"/>
                  </a:lnTo>
                  <a:lnTo>
                    <a:pt x="624" y="438"/>
                  </a:lnTo>
                  <a:lnTo>
                    <a:pt x="624" y="444"/>
                  </a:lnTo>
                  <a:lnTo>
                    <a:pt x="624" y="450"/>
                  </a:lnTo>
                  <a:lnTo>
                    <a:pt x="630" y="450"/>
                  </a:lnTo>
                  <a:lnTo>
                    <a:pt x="630" y="456"/>
                  </a:lnTo>
                  <a:lnTo>
                    <a:pt x="630" y="462"/>
                  </a:lnTo>
                  <a:lnTo>
                    <a:pt x="636" y="468"/>
                  </a:lnTo>
                  <a:lnTo>
                    <a:pt x="642" y="456"/>
                  </a:lnTo>
                  <a:lnTo>
                    <a:pt x="642" y="450"/>
                  </a:lnTo>
                  <a:lnTo>
                    <a:pt x="648" y="450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60" y="444"/>
                  </a:lnTo>
                  <a:lnTo>
                    <a:pt x="666" y="450"/>
                  </a:lnTo>
                  <a:lnTo>
                    <a:pt x="672" y="444"/>
                  </a:lnTo>
                  <a:lnTo>
                    <a:pt x="678" y="444"/>
                  </a:lnTo>
                  <a:lnTo>
                    <a:pt x="684" y="438"/>
                  </a:lnTo>
                  <a:lnTo>
                    <a:pt x="690" y="438"/>
                  </a:lnTo>
                  <a:lnTo>
                    <a:pt x="696" y="438"/>
                  </a:lnTo>
                  <a:lnTo>
                    <a:pt x="702" y="444"/>
                  </a:lnTo>
                  <a:lnTo>
                    <a:pt x="702" y="450"/>
                  </a:lnTo>
                  <a:lnTo>
                    <a:pt x="708" y="450"/>
                  </a:lnTo>
                  <a:lnTo>
                    <a:pt x="708" y="456"/>
                  </a:lnTo>
                  <a:lnTo>
                    <a:pt x="708" y="462"/>
                  </a:lnTo>
                  <a:lnTo>
                    <a:pt x="708" y="468"/>
                  </a:lnTo>
                  <a:lnTo>
                    <a:pt x="708" y="504"/>
                  </a:lnTo>
                  <a:lnTo>
                    <a:pt x="696" y="564"/>
                  </a:lnTo>
                  <a:lnTo>
                    <a:pt x="696" y="582"/>
                  </a:lnTo>
                  <a:lnTo>
                    <a:pt x="696" y="600"/>
                  </a:lnTo>
                  <a:lnTo>
                    <a:pt x="690" y="606"/>
                  </a:lnTo>
                  <a:lnTo>
                    <a:pt x="684" y="606"/>
                  </a:lnTo>
                  <a:lnTo>
                    <a:pt x="690" y="612"/>
                  </a:lnTo>
                  <a:lnTo>
                    <a:pt x="684" y="612"/>
                  </a:lnTo>
                  <a:lnTo>
                    <a:pt x="678" y="618"/>
                  </a:lnTo>
                  <a:lnTo>
                    <a:pt x="672" y="624"/>
                  </a:lnTo>
                  <a:lnTo>
                    <a:pt x="666" y="630"/>
                  </a:lnTo>
                  <a:lnTo>
                    <a:pt x="660" y="636"/>
                  </a:lnTo>
                  <a:lnTo>
                    <a:pt x="672" y="636"/>
                  </a:lnTo>
                  <a:lnTo>
                    <a:pt x="678" y="642"/>
                  </a:lnTo>
                  <a:lnTo>
                    <a:pt x="678" y="648"/>
                  </a:lnTo>
                  <a:lnTo>
                    <a:pt x="684" y="654"/>
                  </a:lnTo>
                  <a:lnTo>
                    <a:pt x="690" y="666"/>
                  </a:lnTo>
                  <a:lnTo>
                    <a:pt x="690" y="672"/>
                  </a:lnTo>
                  <a:lnTo>
                    <a:pt x="696" y="672"/>
                  </a:lnTo>
                  <a:lnTo>
                    <a:pt x="696" y="684"/>
                  </a:lnTo>
                  <a:lnTo>
                    <a:pt x="708" y="690"/>
                  </a:lnTo>
                  <a:lnTo>
                    <a:pt x="720" y="696"/>
                  </a:lnTo>
                  <a:lnTo>
                    <a:pt x="726" y="696"/>
                  </a:lnTo>
                  <a:lnTo>
                    <a:pt x="732" y="696"/>
                  </a:lnTo>
                  <a:lnTo>
                    <a:pt x="738" y="696"/>
                  </a:lnTo>
                  <a:lnTo>
                    <a:pt x="738" y="702"/>
                  </a:lnTo>
                  <a:lnTo>
                    <a:pt x="738" y="708"/>
                  </a:lnTo>
                  <a:lnTo>
                    <a:pt x="738" y="714"/>
                  </a:lnTo>
                  <a:lnTo>
                    <a:pt x="744" y="714"/>
                  </a:lnTo>
                  <a:lnTo>
                    <a:pt x="756" y="720"/>
                  </a:lnTo>
                  <a:lnTo>
                    <a:pt x="780" y="726"/>
                  </a:lnTo>
                  <a:lnTo>
                    <a:pt x="792" y="732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22" y="774"/>
                  </a:lnTo>
                  <a:lnTo>
                    <a:pt x="834" y="786"/>
                  </a:lnTo>
                  <a:lnTo>
                    <a:pt x="834" y="792"/>
                  </a:lnTo>
                  <a:lnTo>
                    <a:pt x="834" y="798"/>
                  </a:lnTo>
                  <a:lnTo>
                    <a:pt x="828" y="798"/>
                  </a:lnTo>
                  <a:lnTo>
                    <a:pt x="828" y="804"/>
                  </a:lnTo>
                  <a:lnTo>
                    <a:pt x="834" y="816"/>
                  </a:lnTo>
                  <a:lnTo>
                    <a:pt x="834" y="834"/>
                  </a:lnTo>
                  <a:lnTo>
                    <a:pt x="834" y="840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34" y="858"/>
                  </a:lnTo>
                  <a:lnTo>
                    <a:pt x="834" y="864"/>
                  </a:lnTo>
                  <a:lnTo>
                    <a:pt x="834" y="876"/>
                  </a:lnTo>
                  <a:lnTo>
                    <a:pt x="828" y="960"/>
                  </a:lnTo>
                  <a:lnTo>
                    <a:pt x="816" y="966"/>
                  </a:lnTo>
                  <a:lnTo>
                    <a:pt x="798" y="972"/>
                  </a:lnTo>
                  <a:lnTo>
                    <a:pt x="786" y="990"/>
                  </a:lnTo>
                  <a:lnTo>
                    <a:pt x="774" y="990"/>
                  </a:lnTo>
                  <a:lnTo>
                    <a:pt x="762" y="1008"/>
                  </a:lnTo>
                  <a:lnTo>
                    <a:pt x="732" y="1014"/>
                  </a:lnTo>
                  <a:lnTo>
                    <a:pt x="714" y="1026"/>
                  </a:lnTo>
                  <a:lnTo>
                    <a:pt x="690" y="1050"/>
                  </a:lnTo>
                  <a:lnTo>
                    <a:pt x="654" y="1056"/>
                  </a:lnTo>
                  <a:lnTo>
                    <a:pt x="630" y="1056"/>
                  </a:lnTo>
                  <a:lnTo>
                    <a:pt x="606" y="1068"/>
                  </a:lnTo>
                  <a:lnTo>
                    <a:pt x="600" y="1092"/>
                  </a:lnTo>
                  <a:lnTo>
                    <a:pt x="600" y="1098"/>
                  </a:lnTo>
                  <a:lnTo>
                    <a:pt x="588" y="1104"/>
                  </a:lnTo>
                  <a:lnTo>
                    <a:pt x="582" y="1104"/>
                  </a:lnTo>
                  <a:lnTo>
                    <a:pt x="570" y="1110"/>
                  </a:lnTo>
                  <a:lnTo>
                    <a:pt x="564" y="111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7" name="Freeform 12">
              <a:extLst>
                <a:ext uri="{FF2B5EF4-FFF2-40B4-BE49-F238E27FC236}">
                  <a16:creationId xmlns:a16="http://schemas.microsoft.com/office/drawing/2014/main" id="{6C93C114-E5D0-49BB-A44C-A127CE01CFE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810" y="2271838"/>
              <a:ext cx="923547" cy="845397"/>
            </a:xfrm>
            <a:custGeom>
              <a:avLst/>
              <a:gdLst>
                <a:gd name="T0" fmla="*/ 138 w 1740"/>
                <a:gd name="T1" fmla="*/ 134 h 1590"/>
                <a:gd name="T2" fmla="*/ 128 w 1740"/>
                <a:gd name="T3" fmla="*/ 131 h 1590"/>
                <a:gd name="T4" fmla="*/ 121 w 1740"/>
                <a:gd name="T5" fmla="*/ 130 h 1590"/>
                <a:gd name="T6" fmla="*/ 119 w 1740"/>
                <a:gd name="T7" fmla="*/ 134 h 1590"/>
                <a:gd name="T8" fmla="*/ 110 w 1740"/>
                <a:gd name="T9" fmla="*/ 132 h 1590"/>
                <a:gd name="T10" fmla="*/ 111 w 1740"/>
                <a:gd name="T11" fmla="*/ 127 h 1590"/>
                <a:gd name="T12" fmla="*/ 103 w 1740"/>
                <a:gd name="T13" fmla="*/ 117 h 1590"/>
                <a:gd name="T14" fmla="*/ 93 w 1740"/>
                <a:gd name="T15" fmla="*/ 123 h 1590"/>
                <a:gd name="T16" fmla="*/ 80 w 1740"/>
                <a:gd name="T17" fmla="*/ 118 h 1590"/>
                <a:gd name="T18" fmla="*/ 66 w 1740"/>
                <a:gd name="T19" fmla="*/ 117 h 1590"/>
                <a:gd name="T20" fmla="*/ 66 w 1740"/>
                <a:gd name="T21" fmla="*/ 110 h 1590"/>
                <a:gd name="T22" fmla="*/ 69 w 1740"/>
                <a:gd name="T23" fmla="*/ 107 h 1590"/>
                <a:gd name="T24" fmla="*/ 68 w 1740"/>
                <a:gd name="T25" fmla="*/ 102 h 1590"/>
                <a:gd name="T26" fmla="*/ 68 w 1740"/>
                <a:gd name="T27" fmla="*/ 96 h 1590"/>
                <a:gd name="T28" fmla="*/ 67 w 1740"/>
                <a:gd name="T29" fmla="*/ 82 h 1590"/>
                <a:gd name="T30" fmla="*/ 58 w 1740"/>
                <a:gd name="T31" fmla="*/ 82 h 1590"/>
                <a:gd name="T32" fmla="*/ 52 w 1740"/>
                <a:gd name="T33" fmla="*/ 82 h 1590"/>
                <a:gd name="T34" fmla="*/ 46 w 1740"/>
                <a:gd name="T35" fmla="*/ 80 h 1590"/>
                <a:gd name="T36" fmla="*/ 45 w 1740"/>
                <a:gd name="T37" fmla="*/ 74 h 1590"/>
                <a:gd name="T38" fmla="*/ 52 w 1740"/>
                <a:gd name="T39" fmla="*/ 70 h 1590"/>
                <a:gd name="T40" fmla="*/ 52 w 1740"/>
                <a:gd name="T41" fmla="*/ 64 h 1590"/>
                <a:gd name="T42" fmla="*/ 42 w 1740"/>
                <a:gd name="T43" fmla="*/ 53 h 1590"/>
                <a:gd name="T44" fmla="*/ 35 w 1740"/>
                <a:gd name="T45" fmla="*/ 52 h 1590"/>
                <a:gd name="T46" fmla="*/ 20 w 1740"/>
                <a:gd name="T47" fmla="*/ 51 h 1590"/>
                <a:gd name="T48" fmla="*/ 17 w 1740"/>
                <a:gd name="T49" fmla="*/ 56 h 1590"/>
                <a:gd name="T50" fmla="*/ 11 w 1740"/>
                <a:gd name="T51" fmla="*/ 61 h 1590"/>
                <a:gd name="T52" fmla="*/ 7 w 1740"/>
                <a:gd name="T53" fmla="*/ 63 h 1590"/>
                <a:gd name="T54" fmla="*/ 0 w 1740"/>
                <a:gd name="T55" fmla="*/ 55 h 1590"/>
                <a:gd name="T56" fmla="*/ 2 w 1740"/>
                <a:gd name="T57" fmla="*/ 50 h 1590"/>
                <a:gd name="T58" fmla="*/ 0 w 1740"/>
                <a:gd name="T59" fmla="*/ 44 h 1590"/>
                <a:gd name="T60" fmla="*/ 2 w 1740"/>
                <a:gd name="T61" fmla="*/ 38 h 1590"/>
                <a:gd name="T62" fmla="*/ 7 w 1740"/>
                <a:gd name="T63" fmla="*/ 35 h 1590"/>
                <a:gd name="T64" fmla="*/ 11 w 1740"/>
                <a:gd name="T65" fmla="*/ 30 h 1590"/>
                <a:gd name="T66" fmla="*/ 21 w 1740"/>
                <a:gd name="T67" fmla="*/ 26 h 1590"/>
                <a:gd name="T68" fmla="*/ 29 w 1740"/>
                <a:gd name="T69" fmla="*/ 25 h 1590"/>
                <a:gd name="T70" fmla="*/ 35 w 1740"/>
                <a:gd name="T71" fmla="*/ 21 h 1590"/>
                <a:gd name="T72" fmla="*/ 36 w 1740"/>
                <a:gd name="T73" fmla="*/ 16 h 1590"/>
                <a:gd name="T74" fmla="*/ 41 w 1740"/>
                <a:gd name="T75" fmla="*/ 11 h 1590"/>
                <a:gd name="T76" fmla="*/ 51 w 1740"/>
                <a:gd name="T77" fmla="*/ 9 h 1590"/>
                <a:gd name="T78" fmla="*/ 59 w 1740"/>
                <a:gd name="T79" fmla="*/ 21 h 1590"/>
                <a:gd name="T80" fmla="*/ 65 w 1740"/>
                <a:gd name="T81" fmla="*/ 13 h 1590"/>
                <a:gd name="T82" fmla="*/ 73 w 1740"/>
                <a:gd name="T83" fmla="*/ 8 h 1590"/>
                <a:gd name="T84" fmla="*/ 82 w 1740"/>
                <a:gd name="T85" fmla="*/ 12 h 1590"/>
                <a:gd name="T86" fmla="*/ 88 w 1740"/>
                <a:gd name="T87" fmla="*/ 12 h 1590"/>
                <a:gd name="T88" fmla="*/ 99 w 1740"/>
                <a:gd name="T89" fmla="*/ 7 h 1590"/>
                <a:gd name="T90" fmla="*/ 114 w 1740"/>
                <a:gd name="T91" fmla="*/ 0 h 1590"/>
                <a:gd name="T92" fmla="*/ 117 w 1740"/>
                <a:gd name="T93" fmla="*/ 10 h 1590"/>
                <a:gd name="T94" fmla="*/ 132 w 1740"/>
                <a:gd name="T95" fmla="*/ 17 h 1590"/>
                <a:gd name="T96" fmla="*/ 140 w 1740"/>
                <a:gd name="T97" fmla="*/ 25 h 1590"/>
                <a:gd name="T98" fmla="*/ 140 w 1740"/>
                <a:gd name="T99" fmla="*/ 33 h 1590"/>
                <a:gd name="T100" fmla="*/ 140 w 1740"/>
                <a:gd name="T101" fmla="*/ 44 h 1590"/>
                <a:gd name="T102" fmla="*/ 138 w 1740"/>
                <a:gd name="T103" fmla="*/ 48 h 1590"/>
                <a:gd name="T104" fmla="*/ 141 w 1740"/>
                <a:gd name="T105" fmla="*/ 49 h 1590"/>
                <a:gd name="T106" fmla="*/ 146 w 1740"/>
                <a:gd name="T107" fmla="*/ 50 h 1590"/>
                <a:gd name="T108" fmla="*/ 149 w 1740"/>
                <a:gd name="T109" fmla="*/ 59 h 1590"/>
                <a:gd name="T110" fmla="*/ 148 w 1740"/>
                <a:gd name="T111" fmla="*/ 67 h 1590"/>
                <a:gd name="T112" fmla="*/ 141 w 1740"/>
                <a:gd name="T113" fmla="*/ 78 h 1590"/>
                <a:gd name="T114" fmla="*/ 141 w 1740"/>
                <a:gd name="T115" fmla="*/ 91 h 1590"/>
                <a:gd name="T116" fmla="*/ 138 w 1740"/>
                <a:gd name="T117" fmla="*/ 102 h 1590"/>
                <a:gd name="T118" fmla="*/ 138 w 1740"/>
                <a:gd name="T119" fmla="*/ 110 h 1590"/>
                <a:gd name="T120" fmla="*/ 144 w 1740"/>
                <a:gd name="T121" fmla="*/ 118 h 1590"/>
                <a:gd name="T122" fmla="*/ 143 w 1740"/>
                <a:gd name="T123" fmla="*/ 125 h 159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740"/>
                <a:gd name="T187" fmla="*/ 0 h 1590"/>
                <a:gd name="T188" fmla="*/ 1740 w 1740"/>
                <a:gd name="T189" fmla="*/ 1590 h 159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740" h="1590">
                  <a:moveTo>
                    <a:pt x="1638" y="1458"/>
                  </a:moveTo>
                  <a:lnTo>
                    <a:pt x="1638" y="1482"/>
                  </a:lnTo>
                  <a:lnTo>
                    <a:pt x="1638" y="1500"/>
                  </a:lnTo>
                  <a:lnTo>
                    <a:pt x="1626" y="1500"/>
                  </a:lnTo>
                  <a:lnTo>
                    <a:pt x="1620" y="1500"/>
                  </a:lnTo>
                  <a:lnTo>
                    <a:pt x="1614" y="1500"/>
                  </a:lnTo>
                  <a:lnTo>
                    <a:pt x="1614" y="1506"/>
                  </a:lnTo>
                  <a:lnTo>
                    <a:pt x="1614" y="1512"/>
                  </a:lnTo>
                  <a:lnTo>
                    <a:pt x="1620" y="1518"/>
                  </a:lnTo>
                  <a:lnTo>
                    <a:pt x="1614" y="1524"/>
                  </a:lnTo>
                  <a:lnTo>
                    <a:pt x="1590" y="1536"/>
                  </a:lnTo>
                  <a:lnTo>
                    <a:pt x="1584" y="1566"/>
                  </a:lnTo>
                  <a:lnTo>
                    <a:pt x="1578" y="1590"/>
                  </a:lnTo>
                  <a:lnTo>
                    <a:pt x="1548" y="1590"/>
                  </a:lnTo>
                  <a:lnTo>
                    <a:pt x="1542" y="1584"/>
                  </a:lnTo>
                  <a:lnTo>
                    <a:pt x="1542" y="1572"/>
                  </a:lnTo>
                  <a:lnTo>
                    <a:pt x="1536" y="1566"/>
                  </a:lnTo>
                  <a:lnTo>
                    <a:pt x="1536" y="1554"/>
                  </a:lnTo>
                  <a:lnTo>
                    <a:pt x="1536" y="1548"/>
                  </a:lnTo>
                  <a:lnTo>
                    <a:pt x="1506" y="1530"/>
                  </a:lnTo>
                  <a:lnTo>
                    <a:pt x="1488" y="1506"/>
                  </a:lnTo>
                  <a:lnTo>
                    <a:pt x="1464" y="1500"/>
                  </a:lnTo>
                  <a:lnTo>
                    <a:pt x="1470" y="1494"/>
                  </a:lnTo>
                  <a:lnTo>
                    <a:pt x="1470" y="1488"/>
                  </a:lnTo>
                  <a:lnTo>
                    <a:pt x="1470" y="1482"/>
                  </a:lnTo>
                  <a:lnTo>
                    <a:pt x="1428" y="1464"/>
                  </a:lnTo>
                  <a:lnTo>
                    <a:pt x="1404" y="1470"/>
                  </a:lnTo>
                  <a:lnTo>
                    <a:pt x="1398" y="1470"/>
                  </a:lnTo>
                  <a:lnTo>
                    <a:pt x="1392" y="1476"/>
                  </a:lnTo>
                  <a:lnTo>
                    <a:pt x="1386" y="1476"/>
                  </a:lnTo>
                  <a:lnTo>
                    <a:pt x="1386" y="1482"/>
                  </a:lnTo>
                  <a:lnTo>
                    <a:pt x="1392" y="1482"/>
                  </a:lnTo>
                  <a:lnTo>
                    <a:pt x="1386" y="1488"/>
                  </a:lnTo>
                  <a:lnTo>
                    <a:pt x="1386" y="1494"/>
                  </a:lnTo>
                  <a:lnTo>
                    <a:pt x="1380" y="1494"/>
                  </a:lnTo>
                  <a:lnTo>
                    <a:pt x="1380" y="1500"/>
                  </a:lnTo>
                  <a:lnTo>
                    <a:pt x="1380" y="1512"/>
                  </a:lnTo>
                  <a:lnTo>
                    <a:pt x="1380" y="1518"/>
                  </a:lnTo>
                  <a:lnTo>
                    <a:pt x="1380" y="1524"/>
                  </a:lnTo>
                  <a:lnTo>
                    <a:pt x="1380" y="1530"/>
                  </a:lnTo>
                  <a:lnTo>
                    <a:pt x="1374" y="1536"/>
                  </a:lnTo>
                  <a:lnTo>
                    <a:pt x="1374" y="1542"/>
                  </a:lnTo>
                  <a:lnTo>
                    <a:pt x="1368" y="1542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44" y="1554"/>
                  </a:lnTo>
                  <a:lnTo>
                    <a:pt x="1332" y="1560"/>
                  </a:lnTo>
                  <a:lnTo>
                    <a:pt x="1302" y="1554"/>
                  </a:lnTo>
                  <a:lnTo>
                    <a:pt x="1290" y="1554"/>
                  </a:lnTo>
                  <a:lnTo>
                    <a:pt x="1278" y="1542"/>
                  </a:lnTo>
                  <a:lnTo>
                    <a:pt x="1272" y="1530"/>
                  </a:lnTo>
                  <a:lnTo>
                    <a:pt x="1272" y="1524"/>
                  </a:lnTo>
                  <a:lnTo>
                    <a:pt x="1272" y="1518"/>
                  </a:lnTo>
                  <a:lnTo>
                    <a:pt x="1266" y="1518"/>
                  </a:lnTo>
                  <a:lnTo>
                    <a:pt x="1266" y="1512"/>
                  </a:lnTo>
                  <a:lnTo>
                    <a:pt x="1266" y="1506"/>
                  </a:lnTo>
                  <a:lnTo>
                    <a:pt x="1272" y="1506"/>
                  </a:lnTo>
                  <a:lnTo>
                    <a:pt x="1272" y="1500"/>
                  </a:lnTo>
                  <a:lnTo>
                    <a:pt x="1278" y="1500"/>
                  </a:lnTo>
                  <a:lnTo>
                    <a:pt x="1278" y="1494"/>
                  </a:lnTo>
                  <a:lnTo>
                    <a:pt x="1278" y="1488"/>
                  </a:lnTo>
                  <a:lnTo>
                    <a:pt x="1284" y="1488"/>
                  </a:lnTo>
                  <a:lnTo>
                    <a:pt x="1284" y="1482"/>
                  </a:lnTo>
                  <a:lnTo>
                    <a:pt x="1290" y="1476"/>
                  </a:lnTo>
                  <a:lnTo>
                    <a:pt x="1284" y="1470"/>
                  </a:lnTo>
                  <a:lnTo>
                    <a:pt x="1278" y="1458"/>
                  </a:lnTo>
                  <a:lnTo>
                    <a:pt x="1278" y="1452"/>
                  </a:lnTo>
                  <a:lnTo>
                    <a:pt x="1260" y="1428"/>
                  </a:lnTo>
                  <a:lnTo>
                    <a:pt x="1254" y="1416"/>
                  </a:lnTo>
                  <a:lnTo>
                    <a:pt x="1254" y="1410"/>
                  </a:lnTo>
                  <a:lnTo>
                    <a:pt x="1248" y="1398"/>
                  </a:lnTo>
                  <a:lnTo>
                    <a:pt x="1242" y="1398"/>
                  </a:lnTo>
                  <a:lnTo>
                    <a:pt x="1236" y="1398"/>
                  </a:lnTo>
                  <a:lnTo>
                    <a:pt x="1218" y="1386"/>
                  </a:lnTo>
                  <a:lnTo>
                    <a:pt x="1212" y="1362"/>
                  </a:lnTo>
                  <a:lnTo>
                    <a:pt x="1200" y="1344"/>
                  </a:lnTo>
                  <a:lnTo>
                    <a:pt x="1188" y="1338"/>
                  </a:lnTo>
                  <a:lnTo>
                    <a:pt x="1164" y="1338"/>
                  </a:lnTo>
                  <a:lnTo>
                    <a:pt x="1158" y="1344"/>
                  </a:lnTo>
                  <a:lnTo>
                    <a:pt x="1152" y="1350"/>
                  </a:lnTo>
                  <a:lnTo>
                    <a:pt x="1152" y="1356"/>
                  </a:lnTo>
                  <a:lnTo>
                    <a:pt x="1140" y="1362"/>
                  </a:lnTo>
                  <a:lnTo>
                    <a:pt x="1134" y="1380"/>
                  </a:lnTo>
                  <a:lnTo>
                    <a:pt x="1116" y="1398"/>
                  </a:lnTo>
                  <a:lnTo>
                    <a:pt x="1110" y="1416"/>
                  </a:lnTo>
                  <a:lnTo>
                    <a:pt x="1086" y="1416"/>
                  </a:lnTo>
                  <a:lnTo>
                    <a:pt x="1080" y="1410"/>
                  </a:lnTo>
                  <a:lnTo>
                    <a:pt x="1074" y="1410"/>
                  </a:lnTo>
                  <a:lnTo>
                    <a:pt x="1074" y="1404"/>
                  </a:lnTo>
                  <a:lnTo>
                    <a:pt x="1062" y="1404"/>
                  </a:lnTo>
                  <a:lnTo>
                    <a:pt x="1062" y="1380"/>
                  </a:lnTo>
                  <a:lnTo>
                    <a:pt x="1038" y="1380"/>
                  </a:lnTo>
                  <a:lnTo>
                    <a:pt x="1026" y="1350"/>
                  </a:lnTo>
                  <a:lnTo>
                    <a:pt x="996" y="1326"/>
                  </a:lnTo>
                  <a:lnTo>
                    <a:pt x="966" y="1314"/>
                  </a:lnTo>
                  <a:lnTo>
                    <a:pt x="954" y="1320"/>
                  </a:lnTo>
                  <a:lnTo>
                    <a:pt x="942" y="1338"/>
                  </a:lnTo>
                  <a:lnTo>
                    <a:pt x="930" y="1338"/>
                  </a:lnTo>
                  <a:lnTo>
                    <a:pt x="924" y="1350"/>
                  </a:lnTo>
                  <a:lnTo>
                    <a:pt x="906" y="1356"/>
                  </a:lnTo>
                  <a:lnTo>
                    <a:pt x="846" y="1356"/>
                  </a:lnTo>
                  <a:lnTo>
                    <a:pt x="834" y="1368"/>
                  </a:lnTo>
                  <a:lnTo>
                    <a:pt x="810" y="1362"/>
                  </a:lnTo>
                  <a:lnTo>
                    <a:pt x="792" y="1362"/>
                  </a:lnTo>
                  <a:lnTo>
                    <a:pt x="780" y="1368"/>
                  </a:lnTo>
                  <a:lnTo>
                    <a:pt x="762" y="1368"/>
                  </a:lnTo>
                  <a:lnTo>
                    <a:pt x="762" y="1362"/>
                  </a:lnTo>
                  <a:lnTo>
                    <a:pt x="750" y="1362"/>
                  </a:lnTo>
                  <a:lnTo>
                    <a:pt x="750" y="1338"/>
                  </a:lnTo>
                  <a:lnTo>
                    <a:pt x="762" y="1338"/>
                  </a:lnTo>
                  <a:lnTo>
                    <a:pt x="762" y="1326"/>
                  </a:lnTo>
                  <a:lnTo>
                    <a:pt x="762" y="1314"/>
                  </a:lnTo>
                  <a:lnTo>
                    <a:pt x="732" y="1314"/>
                  </a:lnTo>
                  <a:lnTo>
                    <a:pt x="726" y="1308"/>
                  </a:lnTo>
                  <a:lnTo>
                    <a:pt x="732" y="1284"/>
                  </a:lnTo>
                  <a:lnTo>
                    <a:pt x="732" y="1278"/>
                  </a:lnTo>
                  <a:lnTo>
                    <a:pt x="738" y="1272"/>
                  </a:lnTo>
                  <a:lnTo>
                    <a:pt x="738" y="1266"/>
                  </a:lnTo>
                  <a:lnTo>
                    <a:pt x="744" y="1266"/>
                  </a:lnTo>
                  <a:lnTo>
                    <a:pt x="750" y="1272"/>
                  </a:lnTo>
                  <a:lnTo>
                    <a:pt x="756" y="1266"/>
                  </a:lnTo>
                  <a:lnTo>
                    <a:pt x="762" y="1266"/>
                  </a:lnTo>
                  <a:lnTo>
                    <a:pt x="768" y="1260"/>
                  </a:lnTo>
                  <a:lnTo>
                    <a:pt x="774" y="1260"/>
                  </a:lnTo>
                  <a:lnTo>
                    <a:pt x="780" y="1254"/>
                  </a:lnTo>
                  <a:lnTo>
                    <a:pt x="774" y="1254"/>
                  </a:lnTo>
                  <a:lnTo>
                    <a:pt x="768" y="1254"/>
                  </a:lnTo>
                  <a:lnTo>
                    <a:pt x="774" y="1248"/>
                  </a:lnTo>
                  <a:lnTo>
                    <a:pt x="774" y="1242"/>
                  </a:lnTo>
                  <a:lnTo>
                    <a:pt x="780" y="1236"/>
                  </a:lnTo>
                  <a:lnTo>
                    <a:pt x="786" y="1236"/>
                  </a:lnTo>
                  <a:lnTo>
                    <a:pt x="792" y="1230"/>
                  </a:lnTo>
                  <a:lnTo>
                    <a:pt x="792" y="1236"/>
                  </a:lnTo>
                  <a:lnTo>
                    <a:pt x="798" y="1236"/>
                  </a:lnTo>
                  <a:lnTo>
                    <a:pt x="798" y="1230"/>
                  </a:lnTo>
                  <a:lnTo>
                    <a:pt x="804" y="1230"/>
                  </a:lnTo>
                  <a:lnTo>
                    <a:pt x="804" y="1218"/>
                  </a:lnTo>
                  <a:lnTo>
                    <a:pt x="804" y="1206"/>
                  </a:lnTo>
                  <a:lnTo>
                    <a:pt x="792" y="1188"/>
                  </a:lnTo>
                  <a:lnTo>
                    <a:pt x="768" y="1182"/>
                  </a:lnTo>
                  <a:lnTo>
                    <a:pt x="768" y="1170"/>
                  </a:lnTo>
                  <a:lnTo>
                    <a:pt x="774" y="1170"/>
                  </a:lnTo>
                  <a:lnTo>
                    <a:pt x="780" y="1170"/>
                  </a:lnTo>
                  <a:lnTo>
                    <a:pt x="786" y="1170"/>
                  </a:lnTo>
                  <a:lnTo>
                    <a:pt x="780" y="1152"/>
                  </a:lnTo>
                  <a:lnTo>
                    <a:pt x="780" y="1146"/>
                  </a:lnTo>
                  <a:lnTo>
                    <a:pt x="744" y="1140"/>
                  </a:lnTo>
                  <a:lnTo>
                    <a:pt x="732" y="1128"/>
                  </a:lnTo>
                  <a:lnTo>
                    <a:pt x="720" y="1122"/>
                  </a:lnTo>
                  <a:lnTo>
                    <a:pt x="732" y="1116"/>
                  </a:lnTo>
                  <a:lnTo>
                    <a:pt x="750" y="1104"/>
                  </a:lnTo>
                  <a:lnTo>
                    <a:pt x="756" y="1116"/>
                  </a:lnTo>
                  <a:lnTo>
                    <a:pt x="774" y="1116"/>
                  </a:lnTo>
                  <a:lnTo>
                    <a:pt x="780" y="1104"/>
                  </a:lnTo>
                  <a:lnTo>
                    <a:pt x="780" y="1080"/>
                  </a:lnTo>
                  <a:lnTo>
                    <a:pt x="786" y="1080"/>
                  </a:lnTo>
                  <a:lnTo>
                    <a:pt x="786" y="1074"/>
                  </a:lnTo>
                  <a:lnTo>
                    <a:pt x="792" y="1074"/>
                  </a:lnTo>
                  <a:lnTo>
                    <a:pt x="786" y="1068"/>
                  </a:lnTo>
                  <a:lnTo>
                    <a:pt x="786" y="1062"/>
                  </a:lnTo>
                  <a:lnTo>
                    <a:pt x="786" y="1056"/>
                  </a:lnTo>
                  <a:lnTo>
                    <a:pt x="792" y="1050"/>
                  </a:lnTo>
                  <a:lnTo>
                    <a:pt x="786" y="1020"/>
                  </a:lnTo>
                  <a:lnTo>
                    <a:pt x="780" y="960"/>
                  </a:lnTo>
                  <a:lnTo>
                    <a:pt x="768" y="942"/>
                  </a:lnTo>
                  <a:lnTo>
                    <a:pt x="732" y="936"/>
                  </a:lnTo>
                  <a:lnTo>
                    <a:pt x="732" y="942"/>
                  </a:lnTo>
                  <a:lnTo>
                    <a:pt x="726" y="942"/>
                  </a:lnTo>
                  <a:lnTo>
                    <a:pt x="720" y="936"/>
                  </a:lnTo>
                  <a:lnTo>
                    <a:pt x="714" y="942"/>
                  </a:lnTo>
                  <a:lnTo>
                    <a:pt x="708" y="942"/>
                  </a:lnTo>
                  <a:lnTo>
                    <a:pt x="702" y="942"/>
                  </a:lnTo>
                  <a:lnTo>
                    <a:pt x="690" y="936"/>
                  </a:lnTo>
                  <a:lnTo>
                    <a:pt x="684" y="936"/>
                  </a:lnTo>
                  <a:lnTo>
                    <a:pt x="678" y="936"/>
                  </a:lnTo>
                  <a:lnTo>
                    <a:pt x="672" y="936"/>
                  </a:lnTo>
                  <a:lnTo>
                    <a:pt x="666" y="942"/>
                  </a:lnTo>
                  <a:lnTo>
                    <a:pt x="660" y="942"/>
                  </a:lnTo>
                  <a:lnTo>
                    <a:pt x="654" y="942"/>
                  </a:lnTo>
                  <a:lnTo>
                    <a:pt x="648" y="942"/>
                  </a:lnTo>
                  <a:lnTo>
                    <a:pt x="642" y="936"/>
                  </a:lnTo>
                  <a:lnTo>
                    <a:pt x="636" y="936"/>
                  </a:lnTo>
                  <a:lnTo>
                    <a:pt x="630" y="930"/>
                  </a:lnTo>
                  <a:lnTo>
                    <a:pt x="618" y="930"/>
                  </a:lnTo>
                  <a:lnTo>
                    <a:pt x="612" y="930"/>
                  </a:lnTo>
                  <a:lnTo>
                    <a:pt x="606" y="936"/>
                  </a:lnTo>
                  <a:lnTo>
                    <a:pt x="600" y="942"/>
                  </a:lnTo>
                  <a:lnTo>
                    <a:pt x="600" y="936"/>
                  </a:lnTo>
                  <a:lnTo>
                    <a:pt x="594" y="930"/>
                  </a:lnTo>
                  <a:lnTo>
                    <a:pt x="588" y="930"/>
                  </a:lnTo>
                  <a:lnTo>
                    <a:pt x="582" y="930"/>
                  </a:lnTo>
                  <a:lnTo>
                    <a:pt x="576" y="930"/>
                  </a:lnTo>
                  <a:lnTo>
                    <a:pt x="564" y="936"/>
                  </a:lnTo>
                  <a:lnTo>
                    <a:pt x="558" y="936"/>
                  </a:lnTo>
                  <a:lnTo>
                    <a:pt x="546" y="924"/>
                  </a:lnTo>
                  <a:lnTo>
                    <a:pt x="540" y="924"/>
                  </a:lnTo>
                  <a:lnTo>
                    <a:pt x="534" y="918"/>
                  </a:lnTo>
                  <a:lnTo>
                    <a:pt x="528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6" y="918"/>
                  </a:lnTo>
                  <a:lnTo>
                    <a:pt x="516" y="912"/>
                  </a:lnTo>
                  <a:lnTo>
                    <a:pt x="510" y="894"/>
                  </a:lnTo>
                  <a:lnTo>
                    <a:pt x="510" y="882"/>
                  </a:lnTo>
                  <a:lnTo>
                    <a:pt x="510" y="876"/>
                  </a:lnTo>
                  <a:lnTo>
                    <a:pt x="516" y="870"/>
                  </a:lnTo>
                  <a:lnTo>
                    <a:pt x="510" y="864"/>
                  </a:lnTo>
                  <a:lnTo>
                    <a:pt x="516" y="858"/>
                  </a:lnTo>
                  <a:lnTo>
                    <a:pt x="522" y="858"/>
                  </a:lnTo>
                  <a:lnTo>
                    <a:pt x="528" y="858"/>
                  </a:lnTo>
                  <a:lnTo>
                    <a:pt x="522" y="852"/>
                  </a:lnTo>
                  <a:lnTo>
                    <a:pt x="528" y="852"/>
                  </a:lnTo>
                  <a:lnTo>
                    <a:pt x="528" y="846"/>
                  </a:lnTo>
                  <a:lnTo>
                    <a:pt x="552" y="846"/>
                  </a:lnTo>
                  <a:lnTo>
                    <a:pt x="558" y="840"/>
                  </a:lnTo>
                  <a:lnTo>
                    <a:pt x="564" y="828"/>
                  </a:lnTo>
                  <a:lnTo>
                    <a:pt x="570" y="816"/>
                  </a:lnTo>
                  <a:lnTo>
                    <a:pt x="582" y="810"/>
                  </a:lnTo>
                  <a:lnTo>
                    <a:pt x="588" y="804"/>
                  </a:lnTo>
                  <a:lnTo>
                    <a:pt x="594" y="804"/>
                  </a:lnTo>
                  <a:lnTo>
                    <a:pt x="594" y="792"/>
                  </a:lnTo>
                  <a:lnTo>
                    <a:pt x="600" y="786"/>
                  </a:lnTo>
                  <a:lnTo>
                    <a:pt x="606" y="780"/>
                  </a:lnTo>
                  <a:lnTo>
                    <a:pt x="612" y="774"/>
                  </a:lnTo>
                  <a:lnTo>
                    <a:pt x="618" y="774"/>
                  </a:lnTo>
                  <a:lnTo>
                    <a:pt x="618" y="768"/>
                  </a:lnTo>
                  <a:lnTo>
                    <a:pt x="618" y="762"/>
                  </a:lnTo>
                  <a:lnTo>
                    <a:pt x="624" y="756"/>
                  </a:lnTo>
                  <a:lnTo>
                    <a:pt x="618" y="750"/>
                  </a:lnTo>
                  <a:lnTo>
                    <a:pt x="618" y="744"/>
                  </a:lnTo>
                  <a:lnTo>
                    <a:pt x="600" y="738"/>
                  </a:lnTo>
                  <a:lnTo>
                    <a:pt x="558" y="744"/>
                  </a:lnTo>
                  <a:lnTo>
                    <a:pt x="552" y="732"/>
                  </a:lnTo>
                  <a:lnTo>
                    <a:pt x="546" y="720"/>
                  </a:lnTo>
                  <a:lnTo>
                    <a:pt x="564" y="702"/>
                  </a:lnTo>
                  <a:lnTo>
                    <a:pt x="570" y="684"/>
                  </a:lnTo>
                  <a:lnTo>
                    <a:pt x="564" y="648"/>
                  </a:lnTo>
                  <a:lnTo>
                    <a:pt x="534" y="624"/>
                  </a:lnTo>
                  <a:lnTo>
                    <a:pt x="504" y="612"/>
                  </a:lnTo>
                  <a:lnTo>
                    <a:pt x="498" y="606"/>
                  </a:lnTo>
                  <a:lnTo>
                    <a:pt x="492" y="600"/>
                  </a:lnTo>
                  <a:lnTo>
                    <a:pt x="486" y="606"/>
                  </a:lnTo>
                  <a:lnTo>
                    <a:pt x="480" y="558"/>
                  </a:lnTo>
                  <a:lnTo>
                    <a:pt x="462" y="546"/>
                  </a:lnTo>
                  <a:lnTo>
                    <a:pt x="408" y="540"/>
                  </a:lnTo>
                  <a:lnTo>
                    <a:pt x="408" y="546"/>
                  </a:lnTo>
                  <a:lnTo>
                    <a:pt x="408" y="558"/>
                  </a:lnTo>
                  <a:lnTo>
                    <a:pt x="408" y="564"/>
                  </a:lnTo>
                  <a:lnTo>
                    <a:pt x="408" y="570"/>
                  </a:lnTo>
                  <a:lnTo>
                    <a:pt x="414" y="582"/>
                  </a:lnTo>
                  <a:lnTo>
                    <a:pt x="408" y="594"/>
                  </a:lnTo>
                  <a:lnTo>
                    <a:pt x="414" y="594"/>
                  </a:lnTo>
                  <a:lnTo>
                    <a:pt x="408" y="600"/>
                  </a:lnTo>
                  <a:lnTo>
                    <a:pt x="348" y="600"/>
                  </a:lnTo>
                  <a:lnTo>
                    <a:pt x="324" y="600"/>
                  </a:lnTo>
                  <a:lnTo>
                    <a:pt x="324" y="612"/>
                  </a:lnTo>
                  <a:lnTo>
                    <a:pt x="306" y="618"/>
                  </a:lnTo>
                  <a:lnTo>
                    <a:pt x="312" y="618"/>
                  </a:lnTo>
                  <a:lnTo>
                    <a:pt x="294" y="588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76"/>
                  </a:lnTo>
                  <a:lnTo>
                    <a:pt x="240" y="582"/>
                  </a:lnTo>
                  <a:lnTo>
                    <a:pt x="234" y="582"/>
                  </a:lnTo>
                  <a:lnTo>
                    <a:pt x="228" y="588"/>
                  </a:lnTo>
                  <a:lnTo>
                    <a:pt x="222" y="588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8" y="600"/>
                  </a:lnTo>
                  <a:lnTo>
                    <a:pt x="192" y="612"/>
                  </a:lnTo>
                  <a:lnTo>
                    <a:pt x="192" y="618"/>
                  </a:lnTo>
                  <a:lnTo>
                    <a:pt x="198" y="624"/>
                  </a:lnTo>
                  <a:lnTo>
                    <a:pt x="192" y="624"/>
                  </a:lnTo>
                  <a:lnTo>
                    <a:pt x="192" y="630"/>
                  </a:lnTo>
                  <a:lnTo>
                    <a:pt x="192" y="642"/>
                  </a:lnTo>
                  <a:lnTo>
                    <a:pt x="180" y="648"/>
                  </a:lnTo>
                  <a:lnTo>
                    <a:pt x="174" y="654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6"/>
                  </a:lnTo>
                  <a:lnTo>
                    <a:pt x="156" y="672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90"/>
                  </a:lnTo>
                  <a:lnTo>
                    <a:pt x="132" y="690"/>
                  </a:lnTo>
                  <a:lnTo>
                    <a:pt x="126" y="702"/>
                  </a:lnTo>
                  <a:lnTo>
                    <a:pt x="132" y="708"/>
                  </a:lnTo>
                  <a:lnTo>
                    <a:pt x="126" y="708"/>
                  </a:lnTo>
                  <a:lnTo>
                    <a:pt x="120" y="708"/>
                  </a:lnTo>
                  <a:lnTo>
                    <a:pt x="114" y="708"/>
                  </a:lnTo>
                  <a:lnTo>
                    <a:pt x="108" y="708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78" y="720"/>
                  </a:lnTo>
                  <a:lnTo>
                    <a:pt x="72" y="720"/>
                  </a:lnTo>
                  <a:lnTo>
                    <a:pt x="66" y="720"/>
                  </a:lnTo>
                  <a:lnTo>
                    <a:pt x="54" y="732"/>
                  </a:lnTo>
                  <a:lnTo>
                    <a:pt x="48" y="702"/>
                  </a:lnTo>
                  <a:lnTo>
                    <a:pt x="36" y="666"/>
                  </a:lnTo>
                  <a:lnTo>
                    <a:pt x="0" y="660"/>
                  </a:lnTo>
                  <a:lnTo>
                    <a:pt x="6" y="660"/>
                  </a:lnTo>
                  <a:lnTo>
                    <a:pt x="6" y="654"/>
                  </a:lnTo>
                  <a:lnTo>
                    <a:pt x="6" y="648"/>
                  </a:lnTo>
                  <a:lnTo>
                    <a:pt x="6" y="642"/>
                  </a:lnTo>
                  <a:lnTo>
                    <a:pt x="6" y="624"/>
                  </a:lnTo>
                  <a:lnTo>
                    <a:pt x="6" y="612"/>
                  </a:lnTo>
                  <a:lnTo>
                    <a:pt x="6" y="606"/>
                  </a:lnTo>
                  <a:lnTo>
                    <a:pt x="12" y="612"/>
                  </a:lnTo>
                  <a:lnTo>
                    <a:pt x="18" y="606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30" y="594"/>
                  </a:lnTo>
                  <a:lnTo>
                    <a:pt x="30" y="588"/>
                  </a:lnTo>
                  <a:lnTo>
                    <a:pt x="30" y="582"/>
                  </a:lnTo>
                  <a:lnTo>
                    <a:pt x="24" y="576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18" y="558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36" y="528"/>
                  </a:lnTo>
                  <a:lnTo>
                    <a:pt x="30" y="522"/>
                  </a:lnTo>
                  <a:lnTo>
                    <a:pt x="24" y="522"/>
                  </a:lnTo>
                  <a:lnTo>
                    <a:pt x="18" y="510"/>
                  </a:lnTo>
                  <a:lnTo>
                    <a:pt x="12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8" y="474"/>
                  </a:lnTo>
                  <a:lnTo>
                    <a:pt x="12" y="468"/>
                  </a:lnTo>
                  <a:lnTo>
                    <a:pt x="12" y="462"/>
                  </a:lnTo>
                  <a:lnTo>
                    <a:pt x="18" y="456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0" y="420"/>
                  </a:lnTo>
                  <a:lnTo>
                    <a:pt x="30" y="414"/>
                  </a:lnTo>
                  <a:lnTo>
                    <a:pt x="48" y="414"/>
                  </a:lnTo>
                  <a:lnTo>
                    <a:pt x="54" y="408"/>
                  </a:lnTo>
                  <a:lnTo>
                    <a:pt x="60" y="402"/>
                  </a:lnTo>
                  <a:lnTo>
                    <a:pt x="66" y="402"/>
                  </a:lnTo>
                  <a:lnTo>
                    <a:pt x="72" y="402"/>
                  </a:lnTo>
                  <a:lnTo>
                    <a:pt x="78" y="408"/>
                  </a:lnTo>
                  <a:lnTo>
                    <a:pt x="84" y="396"/>
                  </a:lnTo>
                  <a:lnTo>
                    <a:pt x="90" y="390"/>
                  </a:lnTo>
                  <a:lnTo>
                    <a:pt x="90" y="378"/>
                  </a:lnTo>
                  <a:lnTo>
                    <a:pt x="96" y="372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8" y="354"/>
                  </a:lnTo>
                  <a:lnTo>
                    <a:pt x="114" y="348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32" y="336"/>
                  </a:lnTo>
                  <a:lnTo>
                    <a:pt x="132" y="330"/>
                  </a:lnTo>
                  <a:lnTo>
                    <a:pt x="138" y="324"/>
                  </a:lnTo>
                  <a:lnTo>
                    <a:pt x="138" y="318"/>
                  </a:lnTo>
                  <a:lnTo>
                    <a:pt x="144" y="306"/>
                  </a:lnTo>
                  <a:lnTo>
                    <a:pt x="156" y="306"/>
                  </a:lnTo>
                  <a:lnTo>
                    <a:pt x="186" y="300"/>
                  </a:lnTo>
                  <a:lnTo>
                    <a:pt x="198" y="300"/>
                  </a:lnTo>
                  <a:lnTo>
                    <a:pt x="210" y="300"/>
                  </a:lnTo>
                  <a:lnTo>
                    <a:pt x="222" y="300"/>
                  </a:lnTo>
                  <a:lnTo>
                    <a:pt x="246" y="300"/>
                  </a:lnTo>
                  <a:lnTo>
                    <a:pt x="264" y="312"/>
                  </a:lnTo>
                  <a:lnTo>
                    <a:pt x="270" y="312"/>
                  </a:lnTo>
                  <a:lnTo>
                    <a:pt x="282" y="306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300" y="306"/>
                  </a:lnTo>
                  <a:lnTo>
                    <a:pt x="312" y="306"/>
                  </a:lnTo>
                  <a:lnTo>
                    <a:pt x="318" y="300"/>
                  </a:lnTo>
                  <a:lnTo>
                    <a:pt x="324" y="300"/>
                  </a:lnTo>
                  <a:lnTo>
                    <a:pt x="330" y="294"/>
                  </a:lnTo>
                  <a:lnTo>
                    <a:pt x="336" y="288"/>
                  </a:lnTo>
                  <a:lnTo>
                    <a:pt x="354" y="288"/>
                  </a:lnTo>
                  <a:lnTo>
                    <a:pt x="360" y="288"/>
                  </a:lnTo>
                  <a:lnTo>
                    <a:pt x="366" y="282"/>
                  </a:lnTo>
                  <a:lnTo>
                    <a:pt x="372" y="282"/>
                  </a:lnTo>
                  <a:lnTo>
                    <a:pt x="378" y="282"/>
                  </a:lnTo>
                  <a:lnTo>
                    <a:pt x="384" y="276"/>
                  </a:lnTo>
                  <a:lnTo>
                    <a:pt x="384" y="270"/>
                  </a:lnTo>
                  <a:lnTo>
                    <a:pt x="390" y="264"/>
                  </a:lnTo>
                  <a:lnTo>
                    <a:pt x="402" y="258"/>
                  </a:lnTo>
                  <a:lnTo>
                    <a:pt x="402" y="252"/>
                  </a:lnTo>
                  <a:lnTo>
                    <a:pt x="402" y="246"/>
                  </a:lnTo>
                  <a:lnTo>
                    <a:pt x="408" y="234"/>
                  </a:lnTo>
                  <a:lnTo>
                    <a:pt x="414" y="234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14" y="216"/>
                  </a:lnTo>
                  <a:lnTo>
                    <a:pt x="414" y="210"/>
                  </a:lnTo>
                  <a:lnTo>
                    <a:pt x="420" y="210"/>
                  </a:lnTo>
                  <a:lnTo>
                    <a:pt x="414" y="198"/>
                  </a:lnTo>
                  <a:lnTo>
                    <a:pt x="414" y="192"/>
                  </a:lnTo>
                  <a:lnTo>
                    <a:pt x="420" y="192"/>
                  </a:lnTo>
                  <a:lnTo>
                    <a:pt x="420" y="186"/>
                  </a:lnTo>
                  <a:lnTo>
                    <a:pt x="420" y="174"/>
                  </a:lnTo>
                  <a:lnTo>
                    <a:pt x="420" y="168"/>
                  </a:lnTo>
                  <a:lnTo>
                    <a:pt x="426" y="162"/>
                  </a:lnTo>
                  <a:lnTo>
                    <a:pt x="432" y="156"/>
                  </a:lnTo>
                  <a:lnTo>
                    <a:pt x="438" y="144"/>
                  </a:lnTo>
                  <a:lnTo>
                    <a:pt x="444" y="144"/>
                  </a:lnTo>
                  <a:lnTo>
                    <a:pt x="450" y="138"/>
                  </a:lnTo>
                  <a:lnTo>
                    <a:pt x="456" y="138"/>
                  </a:lnTo>
                  <a:lnTo>
                    <a:pt x="462" y="132"/>
                  </a:lnTo>
                  <a:lnTo>
                    <a:pt x="462" y="126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0"/>
                  </a:lnTo>
                  <a:lnTo>
                    <a:pt x="486" y="108"/>
                  </a:lnTo>
                  <a:lnTo>
                    <a:pt x="492" y="108"/>
                  </a:lnTo>
                  <a:lnTo>
                    <a:pt x="498" y="102"/>
                  </a:lnTo>
                  <a:lnTo>
                    <a:pt x="504" y="96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40" y="102"/>
                  </a:lnTo>
                  <a:lnTo>
                    <a:pt x="552" y="108"/>
                  </a:lnTo>
                  <a:lnTo>
                    <a:pt x="582" y="102"/>
                  </a:lnTo>
                  <a:lnTo>
                    <a:pt x="594" y="126"/>
                  </a:lnTo>
                  <a:lnTo>
                    <a:pt x="594" y="144"/>
                  </a:lnTo>
                  <a:lnTo>
                    <a:pt x="588" y="156"/>
                  </a:lnTo>
                  <a:lnTo>
                    <a:pt x="588" y="168"/>
                  </a:lnTo>
                  <a:lnTo>
                    <a:pt x="582" y="180"/>
                  </a:lnTo>
                  <a:lnTo>
                    <a:pt x="570" y="192"/>
                  </a:lnTo>
                  <a:lnTo>
                    <a:pt x="594" y="192"/>
                  </a:lnTo>
                  <a:lnTo>
                    <a:pt x="618" y="198"/>
                  </a:lnTo>
                  <a:lnTo>
                    <a:pt x="642" y="210"/>
                  </a:lnTo>
                  <a:lnTo>
                    <a:pt x="660" y="234"/>
                  </a:lnTo>
                  <a:lnTo>
                    <a:pt x="678" y="246"/>
                  </a:lnTo>
                  <a:lnTo>
                    <a:pt x="684" y="252"/>
                  </a:lnTo>
                  <a:lnTo>
                    <a:pt x="702" y="252"/>
                  </a:lnTo>
                  <a:lnTo>
                    <a:pt x="732" y="234"/>
                  </a:lnTo>
                  <a:lnTo>
                    <a:pt x="732" y="222"/>
                  </a:lnTo>
                  <a:lnTo>
                    <a:pt x="720" y="216"/>
                  </a:lnTo>
                  <a:lnTo>
                    <a:pt x="714" y="198"/>
                  </a:lnTo>
                  <a:lnTo>
                    <a:pt x="714" y="174"/>
                  </a:lnTo>
                  <a:lnTo>
                    <a:pt x="720" y="162"/>
                  </a:lnTo>
                  <a:lnTo>
                    <a:pt x="726" y="162"/>
                  </a:lnTo>
                  <a:lnTo>
                    <a:pt x="732" y="156"/>
                  </a:lnTo>
                  <a:lnTo>
                    <a:pt x="744" y="150"/>
                  </a:lnTo>
                  <a:lnTo>
                    <a:pt x="774" y="162"/>
                  </a:lnTo>
                  <a:lnTo>
                    <a:pt x="786" y="162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16" y="150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2" y="132"/>
                  </a:lnTo>
                  <a:lnTo>
                    <a:pt x="822" y="114"/>
                  </a:lnTo>
                  <a:lnTo>
                    <a:pt x="828" y="108"/>
                  </a:lnTo>
                  <a:lnTo>
                    <a:pt x="834" y="96"/>
                  </a:lnTo>
                  <a:lnTo>
                    <a:pt x="846" y="96"/>
                  </a:lnTo>
                  <a:lnTo>
                    <a:pt x="858" y="90"/>
                  </a:lnTo>
                  <a:lnTo>
                    <a:pt x="870" y="84"/>
                  </a:lnTo>
                  <a:lnTo>
                    <a:pt x="888" y="84"/>
                  </a:lnTo>
                  <a:lnTo>
                    <a:pt x="894" y="90"/>
                  </a:lnTo>
                  <a:lnTo>
                    <a:pt x="894" y="102"/>
                  </a:lnTo>
                  <a:lnTo>
                    <a:pt x="900" y="102"/>
                  </a:lnTo>
                  <a:lnTo>
                    <a:pt x="906" y="114"/>
                  </a:lnTo>
                  <a:lnTo>
                    <a:pt x="930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54" y="138"/>
                  </a:lnTo>
                  <a:lnTo>
                    <a:pt x="966" y="144"/>
                  </a:lnTo>
                  <a:lnTo>
                    <a:pt x="966" y="150"/>
                  </a:lnTo>
                  <a:lnTo>
                    <a:pt x="972" y="150"/>
                  </a:lnTo>
                  <a:lnTo>
                    <a:pt x="978" y="150"/>
                  </a:lnTo>
                  <a:lnTo>
                    <a:pt x="978" y="144"/>
                  </a:lnTo>
                  <a:lnTo>
                    <a:pt x="984" y="144"/>
                  </a:lnTo>
                  <a:lnTo>
                    <a:pt x="990" y="138"/>
                  </a:lnTo>
                  <a:lnTo>
                    <a:pt x="996" y="138"/>
                  </a:lnTo>
                  <a:lnTo>
                    <a:pt x="1002" y="138"/>
                  </a:lnTo>
                  <a:lnTo>
                    <a:pt x="1008" y="138"/>
                  </a:lnTo>
                  <a:lnTo>
                    <a:pt x="1026" y="132"/>
                  </a:lnTo>
                  <a:lnTo>
                    <a:pt x="1044" y="126"/>
                  </a:lnTo>
                  <a:lnTo>
                    <a:pt x="1056" y="120"/>
                  </a:lnTo>
                  <a:lnTo>
                    <a:pt x="1062" y="108"/>
                  </a:lnTo>
                  <a:lnTo>
                    <a:pt x="1056" y="102"/>
                  </a:lnTo>
                  <a:lnTo>
                    <a:pt x="1062" y="96"/>
                  </a:lnTo>
                  <a:lnTo>
                    <a:pt x="1074" y="90"/>
                  </a:lnTo>
                  <a:lnTo>
                    <a:pt x="1080" y="84"/>
                  </a:lnTo>
                  <a:lnTo>
                    <a:pt x="1128" y="84"/>
                  </a:lnTo>
                  <a:lnTo>
                    <a:pt x="1134" y="84"/>
                  </a:lnTo>
                  <a:lnTo>
                    <a:pt x="1140" y="78"/>
                  </a:lnTo>
                  <a:lnTo>
                    <a:pt x="1152" y="72"/>
                  </a:lnTo>
                  <a:lnTo>
                    <a:pt x="1164" y="66"/>
                  </a:lnTo>
                  <a:lnTo>
                    <a:pt x="1170" y="60"/>
                  </a:lnTo>
                  <a:lnTo>
                    <a:pt x="1188" y="48"/>
                  </a:lnTo>
                  <a:lnTo>
                    <a:pt x="1200" y="36"/>
                  </a:lnTo>
                  <a:lnTo>
                    <a:pt x="1218" y="24"/>
                  </a:lnTo>
                  <a:lnTo>
                    <a:pt x="1248" y="24"/>
                  </a:lnTo>
                  <a:lnTo>
                    <a:pt x="1272" y="24"/>
                  </a:lnTo>
                  <a:lnTo>
                    <a:pt x="1284" y="12"/>
                  </a:lnTo>
                  <a:lnTo>
                    <a:pt x="1302" y="0"/>
                  </a:lnTo>
                  <a:lnTo>
                    <a:pt x="1314" y="0"/>
                  </a:lnTo>
                  <a:lnTo>
                    <a:pt x="1326" y="18"/>
                  </a:lnTo>
                  <a:lnTo>
                    <a:pt x="1338" y="30"/>
                  </a:lnTo>
                  <a:lnTo>
                    <a:pt x="1338" y="54"/>
                  </a:lnTo>
                  <a:lnTo>
                    <a:pt x="1332" y="72"/>
                  </a:lnTo>
                  <a:lnTo>
                    <a:pt x="1326" y="72"/>
                  </a:lnTo>
                  <a:lnTo>
                    <a:pt x="1326" y="78"/>
                  </a:lnTo>
                  <a:lnTo>
                    <a:pt x="1326" y="102"/>
                  </a:lnTo>
                  <a:lnTo>
                    <a:pt x="1332" y="102"/>
                  </a:lnTo>
                  <a:lnTo>
                    <a:pt x="1332" y="108"/>
                  </a:lnTo>
                  <a:lnTo>
                    <a:pt x="1344" y="114"/>
                  </a:lnTo>
                  <a:lnTo>
                    <a:pt x="1350" y="114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404" y="132"/>
                  </a:lnTo>
                  <a:lnTo>
                    <a:pt x="1404" y="138"/>
                  </a:lnTo>
                  <a:lnTo>
                    <a:pt x="1410" y="150"/>
                  </a:lnTo>
                  <a:lnTo>
                    <a:pt x="1416" y="162"/>
                  </a:lnTo>
                  <a:lnTo>
                    <a:pt x="1428" y="168"/>
                  </a:lnTo>
                  <a:lnTo>
                    <a:pt x="1440" y="180"/>
                  </a:lnTo>
                  <a:lnTo>
                    <a:pt x="1476" y="174"/>
                  </a:lnTo>
                  <a:lnTo>
                    <a:pt x="1494" y="174"/>
                  </a:lnTo>
                  <a:lnTo>
                    <a:pt x="1512" y="192"/>
                  </a:lnTo>
                  <a:lnTo>
                    <a:pt x="1518" y="204"/>
                  </a:lnTo>
                  <a:lnTo>
                    <a:pt x="1530" y="216"/>
                  </a:lnTo>
                  <a:lnTo>
                    <a:pt x="1548" y="228"/>
                  </a:lnTo>
                  <a:lnTo>
                    <a:pt x="1548" y="234"/>
                  </a:lnTo>
                  <a:lnTo>
                    <a:pt x="1542" y="246"/>
                  </a:lnTo>
                  <a:lnTo>
                    <a:pt x="1560" y="246"/>
                  </a:lnTo>
                  <a:lnTo>
                    <a:pt x="1560" y="252"/>
                  </a:lnTo>
                  <a:lnTo>
                    <a:pt x="1566" y="258"/>
                  </a:lnTo>
                  <a:lnTo>
                    <a:pt x="1578" y="270"/>
                  </a:lnTo>
                  <a:lnTo>
                    <a:pt x="1596" y="270"/>
                  </a:lnTo>
                  <a:lnTo>
                    <a:pt x="1602" y="288"/>
                  </a:lnTo>
                  <a:lnTo>
                    <a:pt x="1608" y="306"/>
                  </a:lnTo>
                  <a:lnTo>
                    <a:pt x="1608" y="318"/>
                  </a:lnTo>
                  <a:lnTo>
                    <a:pt x="1608" y="324"/>
                  </a:lnTo>
                  <a:lnTo>
                    <a:pt x="1614" y="330"/>
                  </a:lnTo>
                  <a:lnTo>
                    <a:pt x="1614" y="336"/>
                  </a:lnTo>
                  <a:lnTo>
                    <a:pt x="1614" y="342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08" y="390"/>
                  </a:lnTo>
                  <a:lnTo>
                    <a:pt x="1602" y="390"/>
                  </a:lnTo>
                  <a:lnTo>
                    <a:pt x="1602" y="396"/>
                  </a:lnTo>
                  <a:lnTo>
                    <a:pt x="1584" y="420"/>
                  </a:lnTo>
                  <a:lnTo>
                    <a:pt x="1584" y="426"/>
                  </a:lnTo>
                  <a:lnTo>
                    <a:pt x="1602" y="474"/>
                  </a:lnTo>
                  <a:lnTo>
                    <a:pt x="1608" y="480"/>
                  </a:lnTo>
                  <a:lnTo>
                    <a:pt x="1608" y="486"/>
                  </a:lnTo>
                  <a:lnTo>
                    <a:pt x="1614" y="486"/>
                  </a:lnTo>
                  <a:lnTo>
                    <a:pt x="1608" y="504"/>
                  </a:lnTo>
                  <a:lnTo>
                    <a:pt x="1572" y="504"/>
                  </a:lnTo>
                  <a:lnTo>
                    <a:pt x="1560" y="510"/>
                  </a:lnTo>
                  <a:lnTo>
                    <a:pt x="1554" y="522"/>
                  </a:lnTo>
                  <a:lnTo>
                    <a:pt x="1560" y="552"/>
                  </a:lnTo>
                  <a:lnTo>
                    <a:pt x="1566" y="552"/>
                  </a:lnTo>
                  <a:lnTo>
                    <a:pt x="1566" y="558"/>
                  </a:lnTo>
                  <a:lnTo>
                    <a:pt x="1572" y="558"/>
                  </a:lnTo>
                  <a:lnTo>
                    <a:pt x="1578" y="558"/>
                  </a:lnTo>
                  <a:lnTo>
                    <a:pt x="1578" y="552"/>
                  </a:lnTo>
                  <a:lnTo>
                    <a:pt x="1584" y="552"/>
                  </a:lnTo>
                  <a:lnTo>
                    <a:pt x="1590" y="552"/>
                  </a:lnTo>
                  <a:lnTo>
                    <a:pt x="1590" y="546"/>
                  </a:lnTo>
                  <a:lnTo>
                    <a:pt x="1596" y="546"/>
                  </a:lnTo>
                  <a:lnTo>
                    <a:pt x="1602" y="552"/>
                  </a:lnTo>
                  <a:lnTo>
                    <a:pt x="1602" y="546"/>
                  </a:lnTo>
                  <a:lnTo>
                    <a:pt x="1608" y="546"/>
                  </a:lnTo>
                  <a:lnTo>
                    <a:pt x="1608" y="552"/>
                  </a:lnTo>
                  <a:lnTo>
                    <a:pt x="1614" y="552"/>
                  </a:lnTo>
                  <a:lnTo>
                    <a:pt x="1614" y="546"/>
                  </a:lnTo>
                  <a:lnTo>
                    <a:pt x="1620" y="552"/>
                  </a:lnTo>
                  <a:lnTo>
                    <a:pt x="1626" y="552"/>
                  </a:lnTo>
                  <a:lnTo>
                    <a:pt x="1626" y="558"/>
                  </a:lnTo>
                  <a:lnTo>
                    <a:pt x="1632" y="558"/>
                  </a:lnTo>
                  <a:lnTo>
                    <a:pt x="1638" y="558"/>
                  </a:lnTo>
                  <a:lnTo>
                    <a:pt x="1644" y="558"/>
                  </a:lnTo>
                  <a:lnTo>
                    <a:pt x="1650" y="558"/>
                  </a:lnTo>
                  <a:lnTo>
                    <a:pt x="1650" y="564"/>
                  </a:lnTo>
                  <a:lnTo>
                    <a:pt x="1656" y="564"/>
                  </a:lnTo>
                  <a:lnTo>
                    <a:pt x="1662" y="564"/>
                  </a:lnTo>
                  <a:lnTo>
                    <a:pt x="1668" y="564"/>
                  </a:lnTo>
                  <a:lnTo>
                    <a:pt x="1668" y="570"/>
                  </a:lnTo>
                  <a:lnTo>
                    <a:pt x="1674" y="570"/>
                  </a:lnTo>
                  <a:lnTo>
                    <a:pt x="1680" y="570"/>
                  </a:lnTo>
                  <a:lnTo>
                    <a:pt x="1686" y="576"/>
                  </a:lnTo>
                  <a:lnTo>
                    <a:pt x="1686" y="582"/>
                  </a:lnTo>
                  <a:lnTo>
                    <a:pt x="1710" y="588"/>
                  </a:lnTo>
                  <a:lnTo>
                    <a:pt x="1710" y="594"/>
                  </a:lnTo>
                  <a:lnTo>
                    <a:pt x="1704" y="600"/>
                  </a:lnTo>
                  <a:lnTo>
                    <a:pt x="1710" y="624"/>
                  </a:lnTo>
                  <a:lnTo>
                    <a:pt x="1698" y="672"/>
                  </a:lnTo>
                  <a:lnTo>
                    <a:pt x="1704" y="678"/>
                  </a:lnTo>
                  <a:lnTo>
                    <a:pt x="1716" y="684"/>
                  </a:lnTo>
                  <a:lnTo>
                    <a:pt x="1716" y="678"/>
                  </a:lnTo>
                  <a:lnTo>
                    <a:pt x="1716" y="684"/>
                  </a:lnTo>
                  <a:lnTo>
                    <a:pt x="1728" y="684"/>
                  </a:lnTo>
                  <a:lnTo>
                    <a:pt x="1728" y="690"/>
                  </a:lnTo>
                  <a:lnTo>
                    <a:pt x="1734" y="696"/>
                  </a:lnTo>
                  <a:lnTo>
                    <a:pt x="1734" y="702"/>
                  </a:lnTo>
                  <a:lnTo>
                    <a:pt x="1740" y="708"/>
                  </a:lnTo>
                  <a:lnTo>
                    <a:pt x="1740" y="714"/>
                  </a:lnTo>
                  <a:lnTo>
                    <a:pt x="1710" y="714"/>
                  </a:lnTo>
                  <a:lnTo>
                    <a:pt x="1710" y="756"/>
                  </a:lnTo>
                  <a:lnTo>
                    <a:pt x="1704" y="762"/>
                  </a:lnTo>
                  <a:lnTo>
                    <a:pt x="1698" y="762"/>
                  </a:lnTo>
                  <a:lnTo>
                    <a:pt x="1698" y="768"/>
                  </a:lnTo>
                  <a:lnTo>
                    <a:pt x="1698" y="774"/>
                  </a:lnTo>
                  <a:lnTo>
                    <a:pt x="1692" y="780"/>
                  </a:lnTo>
                  <a:lnTo>
                    <a:pt x="1692" y="786"/>
                  </a:lnTo>
                  <a:lnTo>
                    <a:pt x="1686" y="786"/>
                  </a:lnTo>
                  <a:lnTo>
                    <a:pt x="1668" y="798"/>
                  </a:lnTo>
                  <a:lnTo>
                    <a:pt x="1662" y="810"/>
                  </a:lnTo>
                  <a:lnTo>
                    <a:pt x="1650" y="810"/>
                  </a:lnTo>
                  <a:lnTo>
                    <a:pt x="1644" y="816"/>
                  </a:lnTo>
                  <a:lnTo>
                    <a:pt x="1638" y="816"/>
                  </a:lnTo>
                  <a:lnTo>
                    <a:pt x="1626" y="852"/>
                  </a:lnTo>
                  <a:lnTo>
                    <a:pt x="1620" y="888"/>
                  </a:lnTo>
                  <a:lnTo>
                    <a:pt x="1626" y="888"/>
                  </a:lnTo>
                  <a:lnTo>
                    <a:pt x="1638" y="912"/>
                  </a:lnTo>
                  <a:lnTo>
                    <a:pt x="1644" y="918"/>
                  </a:lnTo>
                  <a:lnTo>
                    <a:pt x="1650" y="966"/>
                  </a:lnTo>
                  <a:lnTo>
                    <a:pt x="1626" y="972"/>
                  </a:lnTo>
                  <a:lnTo>
                    <a:pt x="1608" y="978"/>
                  </a:lnTo>
                  <a:lnTo>
                    <a:pt x="1614" y="984"/>
                  </a:lnTo>
                  <a:lnTo>
                    <a:pt x="1620" y="984"/>
                  </a:lnTo>
                  <a:lnTo>
                    <a:pt x="1620" y="1020"/>
                  </a:lnTo>
                  <a:lnTo>
                    <a:pt x="1614" y="1038"/>
                  </a:lnTo>
                  <a:lnTo>
                    <a:pt x="1620" y="1044"/>
                  </a:lnTo>
                  <a:lnTo>
                    <a:pt x="1626" y="1056"/>
                  </a:lnTo>
                  <a:lnTo>
                    <a:pt x="1626" y="1074"/>
                  </a:lnTo>
                  <a:lnTo>
                    <a:pt x="1620" y="1080"/>
                  </a:lnTo>
                  <a:lnTo>
                    <a:pt x="1620" y="1104"/>
                  </a:lnTo>
                  <a:lnTo>
                    <a:pt x="1620" y="1110"/>
                  </a:lnTo>
                  <a:lnTo>
                    <a:pt x="1614" y="1116"/>
                  </a:lnTo>
                  <a:lnTo>
                    <a:pt x="1608" y="1140"/>
                  </a:lnTo>
                  <a:lnTo>
                    <a:pt x="1602" y="1146"/>
                  </a:lnTo>
                  <a:lnTo>
                    <a:pt x="1602" y="1164"/>
                  </a:lnTo>
                  <a:lnTo>
                    <a:pt x="1596" y="1170"/>
                  </a:lnTo>
                  <a:lnTo>
                    <a:pt x="1590" y="1164"/>
                  </a:lnTo>
                  <a:lnTo>
                    <a:pt x="1584" y="1164"/>
                  </a:lnTo>
                  <a:lnTo>
                    <a:pt x="1578" y="1164"/>
                  </a:lnTo>
                  <a:lnTo>
                    <a:pt x="1578" y="1188"/>
                  </a:lnTo>
                  <a:lnTo>
                    <a:pt x="1584" y="1194"/>
                  </a:lnTo>
                  <a:lnTo>
                    <a:pt x="1590" y="1194"/>
                  </a:lnTo>
                  <a:lnTo>
                    <a:pt x="1590" y="1212"/>
                  </a:lnTo>
                  <a:lnTo>
                    <a:pt x="1584" y="1212"/>
                  </a:lnTo>
                  <a:lnTo>
                    <a:pt x="1584" y="1224"/>
                  </a:lnTo>
                  <a:lnTo>
                    <a:pt x="1578" y="1224"/>
                  </a:lnTo>
                  <a:lnTo>
                    <a:pt x="1578" y="1236"/>
                  </a:lnTo>
                  <a:lnTo>
                    <a:pt x="1584" y="1254"/>
                  </a:lnTo>
                  <a:lnTo>
                    <a:pt x="1584" y="1260"/>
                  </a:lnTo>
                  <a:lnTo>
                    <a:pt x="1590" y="1260"/>
                  </a:lnTo>
                  <a:lnTo>
                    <a:pt x="1590" y="1266"/>
                  </a:lnTo>
                  <a:lnTo>
                    <a:pt x="1596" y="1284"/>
                  </a:lnTo>
                  <a:lnTo>
                    <a:pt x="1602" y="1278"/>
                  </a:lnTo>
                  <a:lnTo>
                    <a:pt x="1608" y="1284"/>
                  </a:lnTo>
                  <a:lnTo>
                    <a:pt x="1632" y="1350"/>
                  </a:lnTo>
                  <a:lnTo>
                    <a:pt x="1638" y="1356"/>
                  </a:lnTo>
                  <a:lnTo>
                    <a:pt x="1644" y="1356"/>
                  </a:lnTo>
                  <a:lnTo>
                    <a:pt x="1650" y="1356"/>
                  </a:lnTo>
                  <a:lnTo>
                    <a:pt x="1656" y="1356"/>
                  </a:lnTo>
                  <a:lnTo>
                    <a:pt x="1662" y="1362"/>
                  </a:lnTo>
                  <a:lnTo>
                    <a:pt x="1668" y="1356"/>
                  </a:lnTo>
                  <a:lnTo>
                    <a:pt x="1668" y="1380"/>
                  </a:lnTo>
                  <a:lnTo>
                    <a:pt x="1662" y="1392"/>
                  </a:lnTo>
                  <a:lnTo>
                    <a:pt x="1656" y="1404"/>
                  </a:lnTo>
                  <a:lnTo>
                    <a:pt x="1656" y="1410"/>
                  </a:lnTo>
                  <a:lnTo>
                    <a:pt x="1656" y="1416"/>
                  </a:lnTo>
                  <a:lnTo>
                    <a:pt x="1650" y="1422"/>
                  </a:lnTo>
                  <a:lnTo>
                    <a:pt x="1650" y="1428"/>
                  </a:lnTo>
                  <a:lnTo>
                    <a:pt x="1644" y="1428"/>
                  </a:lnTo>
                  <a:lnTo>
                    <a:pt x="1644" y="1434"/>
                  </a:lnTo>
                  <a:lnTo>
                    <a:pt x="1638" y="1434"/>
                  </a:lnTo>
                  <a:lnTo>
                    <a:pt x="1638" y="1440"/>
                  </a:lnTo>
                  <a:lnTo>
                    <a:pt x="1632" y="1440"/>
                  </a:lnTo>
                  <a:lnTo>
                    <a:pt x="1638" y="145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8" name="Freeform 13">
              <a:extLst>
                <a:ext uri="{FF2B5EF4-FFF2-40B4-BE49-F238E27FC236}">
                  <a16:creationId xmlns:a16="http://schemas.microsoft.com/office/drawing/2014/main" id="{66308D9B-1739-4227-AAC3-BB866CD1F5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63374" y="2969626"/>
              <a:ext cx="330956" cy="357840"/>
            </a:xfrm>
            <a:custGeom>
              <a:avLst/>
              <a:gdLst>
                <a:gd name="T0" fmla="*/ 11 w 624"/>
                <a:gd name="T1" fmla="*/ 59 h 672"/>
                <a:gd name="T2" fmla="*/ 4 w 624"/>
                <a:gd name="T3" fmla="*/ 58 h 672"/>
                <a:gd name="T4" fmla="*/ 3 w 624"/>
                <a:gd name="T5" fmla="*/ 58 h 672"/>
                <a:gd name="T6" fmla="*/ 2 w 624"/>
                <a:gd name="T7" fmla="*/ 11 h 672"/>
                <a:gd name="T8" fmla="*/ 13 w 624"/>
                <a:gd name="T9" fmla="*/ 11 h 672"/>
                <a:gd name="T10" fmla="*/ 14 w 624"/>
                <a:gd name="T11" fmla="*/ 11 h 672"/>
                <a:gd name="T12" fmla="*/ 15 w 624"/>
                <a:gd name="T13" fmla="*/ 12 h 672"/>
                <a:gd name="T14" fmla="*/ 18 w 624"/>
                <a:gd name="T15" fmla="*/ 14 h 672"/>
                <a:gd name="T16" fmla="*/ 21 w 624"/>
                <a:gd name="T17" fmla="*/ 16 h 672"/>
                <a:gd name="T18" fmla="*/ 22 w 624"/>
                <a:gd name="T19" fmla="*/ 18 h 672"/>
                <a:gd name="T20" fmla="*/ 23 w 624"/>
                <a:gd name="T21" fmla="*/ 19 h 672"/>
                <a:gd name="T22" fmla="*/ 24 w 624"/>
                <a:gd name="T23" fmla="*/ 19 h 672"/>
                <a:gd name="T24" fmla="*/ 26 w 624"/>
                <a:gd name="T25" fmla="*/ 19 h 672"/>
                <a:gd name="T26" fmla="*/ 27 w 624"/>
                <a:gd name="T27" fmla="*/ 18 h 672"/>
                <a:gd name="T28" fmla="*/ 29 w 624"/>
                <a:gd name="T29" fmla="*/ 15 h 672"/>
                <a:gd name="T30" fmla="*/ 30 w 624"/>
                <a:gd name="T31" fmla="*/ 14 h 672"/>
                <a:gd name="T32" fmla="*/ 31 w 624"/>
                <a:gd name="T33" fmla="*/ 12 h 672"/>
                <a:gd name="T34" fmla="*/ 32 w 624"/>
                <a:gd name="T35" fmla="*/ 12 h 672"/>
                <a:gd name="T36" fmla="*/ 33 w 624"/>
                <a:gd name="T37" fmla="*/ 10 h 672"/>
                <a:gd name="T38" fmla="*/ 34 w 624"/>
                <a:gd name="T39" fmla="*/ 8 h 672"/>
                <a:gd name="T40" fmla="*/ 34 w 624"/>
                <a:gd name="T41" fmla="*/ 6 h 672"/>
                <a:gd name="T42" fmla="*/ 35 w 624"/>
                <a:gd name="T43" fmla="*/ 4 h 672"/>
                <a:gd name="T44" fmla="*/ 42 w 624"/>
                <a:gd name="T45" fmla="*/ 3 h 672"/>
                <a:gd name="T46" fmla="*/ 44 w 624"/>
                <a:gd name="T47" fmla="*/ 2 h 672"/>
                <a:gd name="T48" fmla="*/ 46 w 624"/>
                <a:gd name="T49" fmla="*/ 0 h 672"/>
                <a:gd name="T50" fmla="*/ 51 w 624"/>
                <a:gd name="T51" fmla="*/ 3 h 672"/>
                <a:gd name="T52" fmla="*/ 54 w 624"/>
                <a:gd name="T53" fmla="*/ 6 h 672"/>
                <a:gd name="T54" fmla="*/ 54 w 624"/>
                <a:gd name="T55" fmla="*/ 8 h 672"/>
                <a:gd name="T56" fmla="*/ 52 w 624"/>
                <a:gd name="T57" fmla="*/ 9 h 672"/>
                <a:gd name="T58" fmla="*/ 49 w 624"/>
                <a:gd name="T59" fmla="*/ 11 h 672"/>
                <a:gd name="T60" fmla="*/ 48 w 624"/>
                <a:gd name="T61" fmla="*/ 14 h 672"/>
                <a:gd name="T62" fmla="*/ 46 w 624"/>
                <a:gd name="T63" fmla="*/ 22 h 672"/>
                <a:gd name="T64" fmla="*/ 45 w 624"/>
                <a:gd name="T65" fmla="*/ 39 h 672"/>
                <a:gd name="T66" fmla="*/ 43 w 624"/>
                <a:gd name="T67" fmla="*/ 43 h 672"/>
                <a:gd name="T68" fmla="*/ 39 w 624"/>
                <a:gd name="T69" fmla="*/ 50 h 672"/>
                <a:gd name="T70" fmla="*/ 36 w 624"/>
                <a:gd name="T71" fmla="*/ 53 h 672"/>
                <a:gd name="T72" fmla="*/ 32 w 624"/>
                <a:gd name="T73" fmla="*/ 56 h 672"/>
                <a:gd name="T74" fmla="*/ 30 w 624"/>
                <a:gd name="T75" fmla="*/ 58 h 672"/>
                <a:gd name="T76" fmla="*/ 20 w 624"/>
                <a:gd name="T77" fmla="*/ 59 h 672"/>
                <a:gd name="T78" fmla="*/ 15 w 624"/>
                <a:gd name="T79" fmla="*/ 59 h 67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24"/>
                <a:gd name="T121" fmla="*/ 0 h 672"/>
                <a:gd name="T122" fmla="*/ 624 w 624"/>
                <a:gd name="T123" fmla="*/ 672 h 67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24" h="672">
                  <a:moveTo>
                    <a:pt x="168" y="672"/>
                  </a:moveTo>
                  <a:lnTo>
                    <a:pt x="132" y="672"/>
                  </a:lnTo>
                  <a:lnTo>
                    <a:pt x="72" y="666"/>
                  </a:lnTo>
                  <a:lnTo>
                    <a:pt x="42" y="666"/>
                  </a:lnTo>
                  <a:lnTo>
                    <a:pt x="36" y="666"/>
                  </a:lnTo>
                  <a:lnTo>
                    <a:pt x="30" y="660"/>
                  </a:lnTo>
                  <a:lnTo>
                    <a:pt x="0" y="660"/>
                  </a:lnTo>
                  <a:lnTo>
                    <a:pt x="24" y="120"/>
                  </a:lnTo>
                  <a:lnTo>
                    <a:pt x="60" y="120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62" y="120"/>
                  </a:lnTo>
                  <a:lnTo>
                    <a:pt x="168" y="120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10" y="156"/>
                  </a:lnTo>
                  <a:lnTo>
                    <a:pt x="222" y="174"/>
                  </a:lnTo>
                  <a:lnTo>
                    <a:pt x="240" y="186"/>
                  </a:lnTo>
                  <a:lnTo>
                    <a:pt x="252" y="198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216"/>
                  </a:lnTo>
                  <a:lnTo>
                    <a:pt x="270" y="216"/>
                  </a:lnTo>
                  <a:lnTo>
                    <a:pt x="282" y="222"/>
                  </a:lnTo>
                  <a:lnTo>
                    <a:pt x="288" y="222"/>
                  </a:lnTo>
                  <a:lnTo>
                    <a:pt x="294" y="216"/>
                  </a:lnTo>
                  <a:lnTo>
                    <a:pt x="294" y="210"/>
                  </a:lnTo>
                  <a:lnTo>
                    <a:pt x="312" y="204"/>
                  </a:lnTo>
                  <a:lnTo>
                    <a:pt x="330" y="186"/>
                  </a:lnTo>
                  <a:lnTo>
                    <a:pt x="336" y="174"/>
                  </a:lnTo>
                  <a:lnTo>
                    <a:pt x="342" y="162"/>
                  </a:lnTo>
                  <a:lnTo>
                    <a:pt x="342" y="156"/>
                  </a:lnTo>
                  <a:lnTo>
                    <a:pt x="348" y="150"/>
                  </a:lnTo>
                  <a:lnTo>
                    <a:pt x="354" y="144"/>
                  </a:lnTo>
                  <a:lnTo>
                    <a:pt x="360" y="138"/>
                  </a:lnTo>
                  <a:lnTo>
                    <a:pt x="366" y="132"/>
                  </a:lnTo>
                  <a:lnTo>
                    <a:pt x="372" y="114"/>
                  </a:lnTo>
                  <a:lnTo>
                    <a:pt x="378" y="114"/>
                  </a:lnTo>
                  <a:lnTo>
                    <a:pt x="378" y="96"/>
                  </a:lnTo>
                  <a:lnTo>
                    <a:pt x="390" y="96"/>
                  </a:lnTo>
                  <a:lnTo>
                    <a:pt x="396" y="84"/>
                  </a:lnTo>
                  <a:lnTo>
                    <a:pt x="396" y="72"/>
                  </a:lnTo>
                  <a:lnTo>
                    <a:pt x="396" y="54"/>
                  </a:lnTo>
                  <a:lnTo>
                    <a:pt x="408" y="42"/>
                  </a:lnTo>
                  <a:lnTo>
                    <a:pt x="468" y="42"/>
                  </a:lnTo>
                  <a:lnTo>
                    <a:pt x="486" y="36"/>
                  </a:lnTo>
                  <a:lnTo>
                    <a:pt x="492" y="24"/>
                  </a:lnTo>
                  <a:lnTo>
                    <a:pt x="504" y="24"/>
                  </a:lnTo>
                  <a:lnTo>
                    <a:pt x="516" y="6"/>
                  </a:lnTo>
                  <a:lnTo>
                    <a:pt x="528" y="0"/>
                  </a:lnTo>
                  <a:lnTo>
                    <a:pt x="558" y="12"/>
                  </a:lnTo>
                  <a:lnTo>
                    <a:pt x="588" y="36"/>
                  </a:lnTo>
                  <a:lnTo>
                    <a:pt x="600" y="66"/>
                  </a:lnTo>
                  <a:lnTo>
                    <a:pt x="624" y="66"/>
                  </a:lnTo>
                  <a:lnTo>
                    <a:pt x="624" y="90"/>
                  </a:lnTo>
                  <a:lnTo>
                    <a:pt x="618" y="90"/>
                  </a:lnTo>
                  <a:lnTo>
                    <a:pt x="618" y="96"/>
                  </a:lnTo>
                  <a:lnTo>
                    <a:pt x="600" y="102"/>
                  </a:lnTo>
                  <a:lnTo>
                    <a:pt x="588" y="108"/>
                  </a:lnTo>
                  <a:lnTo>
                    <a:pt x="570" y="120"/>
                  </a:lnTo>
                  <a:lnTo>
                    <a:pt x="564" y="138"/>
                  </a:lnTo>
                  <a:lnTo>
                    <a:pt x="558" y="162"/>
                  </a:lnTo>
                  <a:lnTo>
                    <a:pt x="540" y="210"/>
                  </a:lnTo>
                  <a:lnTo>
                    <a:pt x="528" y="252"/>
                  </a:lnTo>
                  <a:lnTo>
                    <a:pt x="528" y="402"/>
                  </a:lnTo>
                  <a:lnTo>
                    <a:pt x="522" y="444"/>
                  </a:lnTo>
                  <a:lnTo>
                    <a:pt x="510" y="468"/>
                  </a:lnTo>
                  <a:lnTo>
                    <a:pt x="498" y="498"/>
                  </a:lnTo>
                  <a:lnTo>
                    <a:pt x="474" y="534"/>
                  </a:lnTo>
                  <a:lnTo>
                    <a:pt x="456" y="570"/>
                  </a:lnTo>
                  <a:lnTo>
                    <a:pt x="444" y="576"/>
                  </a:lnTo>
                  <a:lnTo>
                    <a:pt x="420" y="606"/>
                  </a:lnTo>
                  <a:lnTo>
                    <a:pt x="390" y="624"/>
                  </a:lnTo>
                  <a:lnTo>
                    <a:pt x="372" y="642"/>
                  </a:lnTo>
                  <a:lnTo>
                    <a:pt x="366" y="654"/>
                  </a:lnTo>
                  <a:lnTo>
                    <a:pt x="342" y="660"/>
                  </a:lnTo>
                  <a:lnTo>
                    <a:pt x="300" y="666"/>
                  </a:lnTo>
                  <a:lnTo>
                    <a:pt x="234" y="672"/>
                  </a:lnTo>
                  <a:lnTo>
                    <a:pt x="192" y="672"/>
                  </a:lnTo>
                  <a:lnTo>
                    <a:pt x="168" y="67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9" name="Freeform 14">
              <a:extLst>
                <a:ext uri="{FF2B5EF4-FFF2-40B4-BE49-F238E27FC236}">
                  <a16:creationId xmlns:a16="http://schemas.microsoft.com/office/drawing/2014/main" id="{2EA1E999-9CDF-4391-8BC9-7DE71AF9C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0460" y="2983045"/>
              <a:ext cx="905658" cy="561362"/>
            </a:xfrm>
            <a:custGeom>
              <a:avLst/>
              <a:gdLst>
                <a:gd name="T0" fmla="*/ 31 w 1704"/>
                <a:gd name="T1" fmla="*/ 78 h 1056"/>
                <a:gd name="T2" fmla="*/ 23 w 1704"/>
                <a:gd name="T3" fmla="*/ 78 h 1056"/>
                <a:gd name="T4" fmla="*/ 11 w 1704"/>
                <a:gd name="T5" fmla="*/ 79 h 1056"/>
                <a:gd name="T6" fmla="*/ 1 w 1704"/>
                <a:gd name="T7" fmla="*/ 81 h 1056"/>
                <a:gd name="T8" fmla="*/ 0 w 1704"/>
                <a:gd name="T9" fmla="*/ 62 h 1056"/>
                <a:gd name="T10" fmla="*/ 9 w 1704"/>
                <a:gd name="T11" fmla="*/ 56 h 1056"/>
                <a:gd name="T12" fmla="*/ 27 w 1704"/>
                <a:gd name="T13" fmla="*/ 48 h 1056"/>
                <a:gd name="T14" fmla="*/ 35 w 1704"/>
                <a:gd name="T15" fmla="*/ 20 h 1056"/>
                <a:gd name="T16" fmla="*/ 43 w 1704"/>
                <a:gd name="T17" fmla="*/ 6 h 1056"/>
                <a:gd name="T18" fmla="*/ 47 w 1704"/>
                <a:gd name="T19" fmla="*/ 7 h 1056"/>
                <a:gd name="T20" fmla="*/ 52 w 1704"/>
                <a:gd name="T21" fmla="*/ 0 h 1056"/>
                <a:gd name="T22" fmla="*/ 59 w 1704"/>
                <a:gd name="T23" fmla="*/ 5 h 1056"/>
                <a:gd name="T24" fmla="*/ 63 w 1704"/>
                <a:gd name="T25" fmla="*/ 12 h 1056"/>
                <a:gd name="T26" fmla="*/ 62 w 1704"/>
                <a:gd name="T27" fmla="*/ 15 h 1056"/>
                <a:gd name="T28" fmla="*/ 62 w 1704"/>
                <a:gd name="T29" fmla="*/ 18 h 1056"/>
                <a:gd name="T30" fmla="*/ 70 w 1704"/>
                <a:gd name="T31" fmla="*/ 18 h 1056"/>
                <a:gd name="T32" fmla="*/ 71 w 1704"/>
                <a:gd name="T33" fmla="*/ 14 h 1056"/>
                <a:gd name="T34" fmla="*/ 72 w 1704"/>
                <a:gd name="T35" fmla="*/ 12 h 1056"/>
                <a:gd name="T36" fmla="*/ 78 w 1704"/>
                <a:gd name="T37" fmla="*/ 14 h 1056"/>
                <a:gd name="T38" fmla="*/ 85 w 1704"/>
                <a:gd name="T39" fmla="*/ 21 h 1056"/>
                <a:gd name="T40" fmla="*/ 91 w 1704"/>
                <a:gd name="T41" fmla="*/ 15 h 1056"/>
                <a:gd name="T42" fmla="*/ 93 w 1704"/>
                <a:gd name="T43" fmla="*/ 10 h 1056"/>
                <a:gd name="T44" fmla="*/ 101 w 1704"/>
                <a:gd name="T45" fmla="*/ 14 h 1056"/>
                <a:gd name="T46" fmla="*/ 103 w 1704"/>
                <a:gd name="T47" fmla="*/ 19 h 1056"/>
                <a:gd name="T48" fmla="*/ 115 w 1704"/>
                <a:gd name="T49" fmla="*/ 20 h 1056"/>
                <a:gd name="T50" fmla="*/ 118 w 1704"/>
                <a:gd name="T51" fmla="*/ 23 h 1056"/>
                <a:gd name="T52" fmla="*/ 117 w 1704"/>
                <a:gd name="T53" fmla="*/ 27 h 1056"/>
                <a:gd name="T54" fmla="*/ 111 w 1704"/>
                <a:gd name="T55" fmla="*/ 33 h 1056"/>
                <a:gd name="T56" fmla="*/ 108 w 1704"/>
                <a:gd name="T57" fmla="*/ 36 h 1056"/>
                <a:gd name="T58" fmla="*/ 109 w 1704"/>
                <a:gd name="T59" fmla="*/ 40 h 1056"/>
                <a:gd name="T60" fmla="*/ 111 w 1704"/>
                <a:gd name="T61" fmla="*/ 43 h 1056"/>
                <a:gd name="T62" fmla="*/ 113 w 1704"/>
                <a:gd name="T63" fmla="*/ 50 h 1056"/>
                <a:gd name="T64" fmla="*/ 121 w 1704"/>
                <a:gd name="T65" fmla="*/ 55 h 1056"/>
                <a:gd name="T66" fmla="*/ 132 w 1704"/>
                <a:gd name="T67" fmla="*/ 52 h 1056"/>
                <a:gd name="T68" fmla="*/ 148 w 1704"/>
                <a:gd name="T69" fmla="*/ 58 h 1056"/>
                <a:gd name="T70" fmla="*/ 148 w 1704"/>
                <a:gd name="T71" fmla="*/ 61 h 1056"/>
                <a:gd name="T72" fmla="*/ 148 w 1704"/>
                <a:gd name="T73" fmla="*/ 64 h 1056"/>
                <a:gd name="T74" fmla="*/ 135 w 1704"/>
                <a:gd name="T75" fmla="*/ 61 h 1056"/>
                <a:gd name="T76" fmla="*/ 135 w 1704"/>
                <a:gd name="T77" fmla="*/ 66 h 1056"/>
                <a:gd name="T78" fmla="*/ 137 w 1704"/>
                <a:gd name="T79" fmla="*/ 71 h 1056"/>
                <a:gd name="T80" fmla="*/ 136 w 1704"/>
                <a:gd name="T81" fmla="*/ 79 h 1056"/>
                <a:gd name="T82" fmla="*/ 126 w 1704"/>
                <a:gd name="T83" fmla="*/ 84 h 1056"/>
                <a:gd name="T84" fmla="*/ 121 w 1704"/>
                <a:gd name="T85" fmla="*/ 79 h 1056"/>
                <a:gd name="T86" fmla="*/ 117 w 1704"/>
                <a:gd name="T87" fmla="*/ 75 h 1056"/>
                <a:gd name="T88" fmla="*/ 98 w 1704"/>
                <a:gd name="T89" fmla="*/ 74 h 1056"/>
                <a:gd name="T90" fmla="*/ 81 w 1704"/>
                <a:gd name="T91" fmla="*/ 75 h 1056"/>
                <a:gd name="T92" fmla="*/ 83 w 1704"/>
                <a:gd name="T93" fmla="*/ 88 h 1056"/>
                <a:gd name="T94" fmla="*/ 82 w 1704"/>
                <a:gd name="T95" fmla="*/ 91 h 1056"/>
                <a:gd name="T96" fmla="*/ 77 w 1704"/>
                <a:gd name="T97" fmla="*/ 90 h 1056"/>
                <a:gd name="T98" fmla="*/ 73 w 1704"/>
                <a:gd name="T99" fmla="*/ 86 h 1056"/>
                <a:gd name="T100" fmla="*/ 68 w 1704"/>
                <a:gd name="T101" fmla="*/ 85 h 1056"/>
                <a:gd name="T102" fmla="*/ 64 w 1704"/>
                <a:gd name="T103" fmla="*/ 83 h 1056"/>
                <a:gd name="T104" fmla="*/ 57 w 1704"/>
                <a:gd name="T105" fmla="*/ 81 h 1056"/>
                <a:gd name="T106" fmla="*/ 52 w 1704"/>
                <a:gd name="T107" fmla="*/ 80 h 1056"/>
                <a:gd name="T108" fmla="*/ 50 w 1704"/>
                <a:gd name="T109" fmla="*/ 80 h 1056"/>
                <a:gd name="T110" fmla="*/ 46 w 1704"/>
                <a:gd name="T111" fmla="*/ 79 h 1056"/>
                <a:gd name="T112" fmla="*/ 41 w 1704"/>
                <a:gd name="T113" fmla="*/ 78 h 10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04"/>
                <a:gd name="T172" fmla="*/ 0 h 1056"/>
                <a:gd name="T173" fmla="*/ 1704 w 1704"/>
                <a:gd name="T174" fmla="*/ 1056 h 10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04" h="1056">
                  <a:moveTo>
                    <a:pt x="450" y="888"/>
                  </a:moveTo>
                  <a:lnTo>
                    <a:pt x="420" y="888"/>
                  </a:lnTo>
                  <a:lnTo>
                    <a:pt x="414" y="888"/>
                  </a:lnTo>
                  <a:lnTo>
                    <a:pt x="396" y="888"/>
                  </a:lnTo>
                  <a:lnTo>
                    <a:pt x="372" y="888"/>
                  </a:lnTo>
                  <a:lnTo>
                    <a:pt x="366" y="888"/>
                  </a:lnTo>
                  <a:lnTo>
                    <a:pt x="360" y="888"/>
                  </a:lnTo>
                  <a:lnTo>
                    <a:pt x="348" y="888"/>
                  </a:lnTo>
                  <a:lnTo>
                    <a:pt x="330" y="894"/>
                  </a:lnTo>
                  <a:lnTo>
                    <a:pt x="324" y="894"/>
                  </a:lnTo>
                  <a:lnTo>
                    <a:pt x="312" y="888"/>
                  </a:lnTo>
                  <a:lnTo>
                    <a:pt x="300" y="888"/>
                  </a:lnTo>
                  <a:lnTo>
                    <a:pt x="282" y="888"/>
                  </a:lnTo>
                  <a:lnTo>
                    <a:pt x="270" y="888"/>
                  </a:lnTo>
                  <a:lnTo>
                    <a:pt x="240" y="882"/>
                  </a:lnTo>
                  <a:lnTo>
                    <a:pt x="222" y="882"/>
                  </a:lnTo>
                  <a:lnTo>
                    <a:pt x="198" y="882"/>
                  </a:lnTo>
                  <a:lnTo>
                    <a:pt x="174" y="894"/>
                  </a:lnTo>
                  <a:lnTo>
                    <a:pt x="162" y="900"/>
                  </a:lnTo>
                  <a:lnTo>
                    <a:pt x="144" y="906"/>
                  </a:lnTo>
                  <a:lnTo>
                    <a:pt x="126" y="912"/>
                  </a:lnTo>
                  <a:lnTo>
                    <a:pt x="102" y="924"/>
                  </a:lnTo>
                  <a:lnTo>
                    <a:pt x="78" y="930"/>
                  </a:lnTo>
                  <a:lnTo>
                    <a:pt x="72" y="936"/>
                  </a:lnTo>
                  <a:lnTo>
                    <a:pt x="30" y="954"/>
                  </a:lnTo>
                  <a:lnTo>
                    <a:pt x="12" y="966"/>
                  </a:lnTo>
                  <a:lnTo>
                    <a:pt x="12" y="954"/>
                  </a:lnTo>
                  <a:lnTo>
                    <a:pt x="12" y="930"/>
                  </a:lnTo>
                  <a:lnTo>
                    <a:pt x="12" y="894"/>
                  </a:lnTo>
                  <a:lnTo>
                    <a:pt x="30" y="828"/>
                  </a:lnTo>
                  <a:lnTo>
                    <a:pt x="36" y="798"/>
                  </a:lnTo>
                  <a:lnTo>
                    <a:pt x="18" y="774"/>
                  </a:lnTo>
                  <a:lnTo>
                    <a:pt x="18" y="756"/>
                  </a:lnTo>
                  <a:lnTo>
                    <a:pt x="6" y="738"/>
                  </a:lnTo>
                  <a:lnTo>
                    <a:pt x="0" y="714"/>
                  </a:lnTo>
                  <a:lnTo>
                    <a:pt x="12" y="678"/>
                  </a:lnTo>
                  <a:lnTo>
                    <a:pt x="18" y="678"/>
                  </a:lnTo>
                  <a:lnTo>
                    <a:pt x="24" y="672"/>
                  </a:lnTo>
                  <a:lnTo>
                    <a:pt x="30" y="666"/>
                  </a:lnTo>
                  <a:lnTo>
                    <a:pt x="42" y="648"/>
                  </a:lnTo>
                  <a:lnTo>
                    <a:pt x="66" y="648"/>
                  </a:lnTo>
                  <a:lnTo>
                    <a:pt x="108" y="648"/>
                  </a:lnTo>
                  <a:lnTo>
                    <a:pt x="174" y="642"/>
                  </a:lnTo>
                  <a:lnTo>
                    <a:pt x="216" y="636"/>
                  </a:lnTo>
                  <a:lnTo>
                    <a:pt x="240" y="630"/>
                  </a:lnTo>
                  <a:lnTo>
                    <a:pt x="246" y="618"/>
                  </a:lnTo>
                  <a:lnTo>
                    <a:pt x="264" y="600"/>
                  </a:lnTo>
                  <a:lnTo>
                    <a:pt x="294" y="582"/>
                  </a:lnTo>
                  <a:lnTo>
                    <a:pt x="318" y="552"/>
                  </a:lnTo>
                  <a:lnTo>
                    <a:pt x="330" y="546"/>
                  </a:lnTo>
                  <a:lnTo>
                    <a:pt x="348" y="510"/>
                  </a:lnTo>
                  <a:lnTo>
                    <a:pt x="372" y="474"/>
                  </a:lnTo>
                  <a:lnTo>
                    <a:pt x="384" y="444"/>
                  </a:lnTo>
                  <a:lnTo>
                    <a:pt x="396" y="420"/>
                  </a:lnTo>
                  <a:lnTo>
                    <a:pt x="402" y="378"/>
                  </a:lnTo>
                  <a:lnTo>
                    <a:pt x="402" y="228"/>
                  </a:lnTo>
                  <a:lnTo>
                    <a:pt x="414" y="186"/>
                  </a:lnTo>
                  <a:lnTo>
                    <a:pt x="432" y="138"/>
                  </a:lnTo>
                  <a:lnTo>
                    <a:pt x="438" y="114"/>
                  </a:lnTo>
                  <a:lnTo>
                    <a:pt x="444" y="96"/>
                  </a:lnTo>
                  <a:lnTo>
                    <a:pt x="462" y="84"/>
                  </a:lnTo>
                  <a:lnTo>
                    <a:pt x="474" y="78"/>
                  </a:lnTo>
                  <a:lnTo>
                    <a:pt x="492" y="72"/>
                  </a:lnTo>
                  <a:lnTo>
                    <a:pt x="492" y="66"/>
                  </a:lnTo>
                  <a:lnTo>
                    <a:pt x="498" y="66"/>
                  </a:lnTo>
                  <a:lnTo>
                    <a:pt x="510" y="66"/>
                  </a:lnTo>
                  <a:lnTo>
                    <a:pt x="510" y="72"/>
                  </a:lnTo>
                  <a:lnTo>
                    <a:pt x="516" y="72"/>
                  </a:lnTo>
                  <a:lnTo>
                    <a:pt x="522" y="78"/>
                  </a:lnTo>
                  <a:lnTo>
                    <a:pt x="546" y="78"/>
                  </a:lnTo>
                  <a:lnTo>
                    <a:pt x="552" y="60"/>
                  </a:lnTo>
                  <a:lnTo>
                    <a:pt x="570" y="42"/>
                  </a:lnTo>
                  <a:lnTo>
                    <a:pt x="576" y="24"/>
                  </a:lnTo>
                  <a:lnTo>
                    <a:pt x="588" y="18"/>
                  </a:lnTo>
                  <a:lnTo>
                    <a:pt x="588" y="12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624" y="0"/>
                  </a:lnTo>
                  <a:lnTo>
                    <a:pt x="636" y="6"/>
                  </a:lnTo>
                  <a:lnTo>
                    <a:pt x="648" y="24"/>
                  </a:lnTo>
                  <a:lnTo>
                    <a:pt x="654" y="48"/>
                  </a:lnTo>
                  <a:lnTo>
                    <a:pt x="672" y="60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0" y="72"/>
                  </a:lnTo>
                  <a:lnTo>
                    <a:pt x="690" y="78"/>
                  </a:lnTo>
                  <a:lnTo>
                    <a:pt x="696" y="90"/>
                  </a:lnTo>
                  <a:lnTo>
                    <a:pt x="714" y="114"/>
                  </a:lnTo>
                  <a:lnTo>
                    <a:pt x="714" y="120"/>
                  </a:lnTo>
                  <a:lnTo>
                    <a:pt x="720" y="132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20" y="150"/>
                  </a:lnTo>
                  <a:lnTo>
                    <a:pt x="714" y="150"/>
                  </a:lnTo>
                  <a:lnTo>
                    <a:pt x="714" y="156"/>
                  </a:lnTo>
                  <a:lnTo>
                    <a:pt x="714" y="162"/>
                  </a:lnTo>
                  <a:lnTo>
                    <a:pt x="708" y="162"/>
                  </a:lnTo>
                  <a:lnTo>
                    <a:pt x="708" y="168"/>
                  </a:lnTo>
                  <a:lnTo>
                    <a:pt x="702" y="168"/>
                  </a:lnTo>
                  <a:lnTo>
                    <a:pt x="702" y="174"/>
                  </a:lnTo>
                  <a:lnTo>
                    <a:pt x="702" y="180"/>
                  </a:lnTo>
                  <a:lnTo>
                    <a:pt x="708" y="180"/>
                  </a:lnTo>
                  <a:lnTo>
                    <a:pt x="708" y="186"/>
                  </a:lnTo>
                  <a:lnTo>
                    <a:pt x="708" y="192"/>
                  </a:lnTo>
                  <a:lnTo>
                    <a:pt x="714" y="204"/>
                  </a:lnTo>
                  <a:lnTo>
                    <a:pt x="726" y="216"/>
                  </a:lnTo>
                  <a:lnTo>
                    <a:pt x="738" y="216"/>
                  </a:lnTo>
                  <a:lnTo>
                    <a:pt x="768" y="222"/>
                  </a:lnTo>
                  <a:lnTo>
                    <a:pt x="780" y="216"/>
                  </a:lnTo>
                  <a:lnTo>
                    <a:pt x="792" y="204"/>
                  </a:lnTo>
                  <a:lnTo>
                    <a:pt x="798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6" y="192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6" y="174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22" y="156"/>
                  </a:lnTo>
                  <a:lnTo>
                    <a:pt x="822" y="150"/>
                  </a:lnTo>
                  <a:lnTo>
                    <a:pt x="828" y="144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8" y="138"/>
                  </a:lnTo>
                  <a:lnTo>
                    <a:pt x="834" y="132"/>
                  </a:lnTo>
                  <a:lnTo>
                    <a:pt x="840" y="132"/>
                  </a:lnTo>
                  <a:lnTo>
                    <a:pt x="864" y="126"/>
                  </a:lnTo>
                  <a:lnTo>
                    <a:pt x="906" y="144"/>
                  </a:lnTo>
                  <a:lnTo>
                    <a:pt x="906" y="150"/>
                  </a:lnTo>
                  <a:lnTo>
                    <a:pt x="906" y="156"/>
                  </a:lnTo>
                  <a:lnTo>
                    <a:pt x="900" y="162"/>
                  </a:lnTo>
                  <a:lnTo>
                    <a:pt x="924" y="168"/>
                  </a:lnTo>
                  <a:lnTo>
                    <a:pt x="942" y="192"/>
                  </a:lnTo>
                  <a:lnTo>
                    <a:pt x="972" y="210"/>
                  </a:lnTo>
                  <a:lnTo>
                    <a:pt x="972" y="216"/>
                  </a:lnTo>
                  <a:lnTo>
                    <a:pt x="972" y="228"/>
                  </a:lnTo>
                  <a:lnTo>
                    <a:pt x="978" y="234"/>
                  </a:lnTo>
                  <a:lnTo>
                    <a:pt x="978" y="246"/>
                  </a:lnTo>
                  <a:lnTo>
                    <a:pt x="984" y="252"/>
                  </a:lnTo>
                  <a:lnTo>
                    <a:pt x="1014" y="252"/>
                  </a:lnTo>
                  <a:lnTo>
                    <a:pt x="1020" y="228"/>
                  </a:lnTo>
                  <a:lnTo>
                    <a:pt x="1026" y="198"/>
                  </a:lnTo>
                  <a:lnTo>
                    <a:pt x="1050" y="186"/>
                  </a:lnTo>
                  <a:lnTo>
                    <a:pt x="1056" y="180"/>
                  </a:lnTo>
                  <a:lnTo>
                    <a:pt x="1050" y="174"/>
                  </a:lnTo>
                  <a:lnTo>
                    <a:pt x="1050" y="168"/>
                  </a:lnTo>
                  <a:lnTo>
                    <a:pt x="1050" y="162"/>
                  </a:lnTo>
                  <a:lnTo>
                    <a:pt x="1056" y="162"/>
                  </a:lnTo>
                  <a:lnTo>
                    <a:pt x="1062" y="162"/>
                  </a:lnTo>
                  <a:lnTo>
                    <a:pt x="1074" y="162"/>
                  </a:lnTo>
                  <a:lnTo>
                    <a:pt x="1074" y="144"/>
                  </a:lnTo>
                  <a:lnTo>
                    <a:pt x="1074" y="120"/>
                  </a:lnTo>
                  <a:lnTo>
                    <a:pt x="1092" y="120"/>
                  </a:lnTo>
                  <a:lnTo>
                    <a:pt x="1098" y="126"/>
                  </a:lnTo>
                  <a:lnTo>
                    <a:pt x="1134" y="132"/>
                  </a:lnTo>
                  <a:lnTo>
                    <a:pt x="1146" y="132"/>
                  </a:lnTo>
                  <a:lnTo>
                    <a:pt x="1158" y="150"/>
                  </a:lnTo>
                  <a:lnTo>
                    <a:pt x="1158" y="156"/>
                  </a:lnTo>
                  <a:lnTo>
                    <a:pt x="1158" y="162"/>
                  </a:lnTo>
                  <a:lnTo>
                    <a:pt x="1158" y="180"/>
                  </a:lnTo>
                  <a:lnTo>
                    <a:pt x="1158" y="186"/>
                  </a:lnTo>
                  <a:lnTo>
                    <a:pt x="1164" y="192"/>
                  </a:lnTo>
                  <a:lnTo>
                    <a:pt x="1176" y="198"/>
                  </a:lnTo>
                  <a:lnTo>
                    <a:pt x="1182" y="198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8"/>
                  </a:lnTo>
                  <a:lnTo>
                    <a:pt x="1188" y="234"/>
                  </a:lnTo>
                  <a:lnTo>
                    <a:pt x="1212" y="234"/>
                  </a:lnTo>
                  <a:lnTo>
                    <a:pt x="1242" y="234"/>
                  </a:lnTo>
                  <a:lnTo>
                    <a:pt x="1248" y="234"/>
                  </a:lnTo>
                  <a:lnTo>
                    <a:pt x="1278" y="240"/>
                  </a:lnTo>
                  <a:lnTo>
                    <a:pt x="1320" y="234"/>
                  </a:lnTo>
                  <a:lnTo>
                    <a:pt x="1332" y="228"/>
                  </a:lnTo>
                  <a:lnTo>
                    <a:pt x="1344" y="228"/>
                  </a:lnTo>
                  <a:lnTo>
                    <a:pt x="1350" y="234"/>
                  </a:lnTo>
                  <a:lnTo>
                    <a:pt x="1350" y="240"/>
                  </a:lnTo>
                  <a:lnTo>
                    <a:pt x="1356" y="246"/>
                  </a:lnTo>
                  <a:lnTo>
                    <a:pt x="1350" y="252"/>
                  </a:lnTo>
                  <a:lnTo>
                    <a:pt x="1356" y="264"/>
                  </a:lnTo>
                  <a:lnTo>
                    <a:pt x="1356" y="270"/>
                  </a:lnTo>
                  <a:lnTo>
                    <a:pt x="1356" y="276"/>
                  </a:lnTo>
                  <a:lnTo>
                    <a:pt x="1356" y="282"/>
                  </a:lnTo>
                  <a:lnTo>
                    <a:pt x="1356" y="288"/>
                  </a:lnTo>
                  <a:lnTo>
                    <a:pt x="1350" y="294"/>
                  </a:lnTo>
                  <a:lnTo>
                    <a:pt x="1344" y="300"/>
                  </a:lnTo>
                  <a:lnTo>
                    <a:pt x="1344" y="306"/>
                  </a:lnTo>
                  <a:lnTo>
                    <a:pt x="1338" y="312"/>
                  </a:lnTo>
                  <a:lnTo>
                    <a:pt x="1326" y="342"/>
                  </a:lnTo>
                  <a:lnTo>
                    <a:pt x="1320" y="348"/>
                  </a:lnTo>
                  <a:lnTo>
                    <a:pt x="1314" y="354"/>
                  </a:lnTo>
                  <a:lnTo>
                    <a:pt x="1290" y="354"/>
                  </a:lnTo>
                  <a:lnTo>
                    <a:pt x="1284" y="360"/>
                  </a:lnTo>
                  <a:lnTo>
                    <a:pt x="1278" y="378"/>
                  </a:lnTo>
                  <a:lnTo>
                    <a:pt x="1278" y="384"/>
                  </a:lnTo>
                  <a:lnTo>
                    <a:pt x="1272" y="390"/>
                  </a:lnTo>
                  <a:lnTo>
                    <a:pt x="1266" y="396"/>
                  </a:lnTo>
                  <a:lnTo>
                    <a:pt x="1260" y="396"/>
                  </a:lnTo>
                  <a:lnTo>
                    <a:pt x="1248" y="402"/>
                  </a:lnTo>
                  <a:lnTo>
                    <a:pt x="1242" y="408"/>
                  </a:lnTo>
                  <a:lnTo>
                    <a:pt x="1242" y="414"/>
                  </a:lnTo>
                  <a:lnTo>
                    <a:pt x="1242" y="420"/>
                  </a:lnTo>
                  <a:lnTo>
                    <a:pt x="1236" y="432"/>
                  </a:lnTo>
                  <a:lnTo>
                    <a:pt x="1242" y="432"/>
                  </a:lnTo>
                  <a:lnTo>
                    <a:pt x="1242" y="444"/>
                  </a:lnTo>
                  <a:lnTo>
                    <a:pt x="1242" y="456"/>
                  </a:lnTo>
                  <a:lnTo>
                    <a:pt x="1248" y="456"/>
                  </a:lnTo>
                  <a:lnTo>
                    <a:pt x="1254" y="462"/>
                  </a:lnTo>
                  <a:lnTo>
                    <a:pt x="1248" y="468"/>
                  </a:lnTo>
                  <a:lnTo>
                    <a:pt x="1254" y="468"/>
                  </a:lnTo>
                  <a:lnTo>
                    <a:pt x="1266" y="474"/>
                  </a:lnTo>
                  <a:lnTo>
                    <a:pt x="1266" y="480"/>
                  </a:lnTo>
                  <a:lnTo>
                    <a:pt x="1266" y="486"/>
                  </a:lnTo>
                  <a:lnTo>
                    <a:pt x="1272" y="486"/>
                  </a:lnTo>
                  <a:lnTo>
                    <a:pt x="1272" y="492"/>
                  </a:lnTo>
                  <a:lnTo>
                    <a:pt x="1290" y="510"/>
                  </a:lnTo>
                  <a:lnTo>
                    <a:pt x="1296" y="516"/>
                  </a:lnTo>
                  <a:lnTo>
                    <a:pt x="1302" y="540"/>
                  </a:lnTo>
                  <a:lnTo>
                    <a:pt x="1302" y="546"/>
                  </a:lnTo>
                  <a:lnTo>
                    <a:pt x="1302" y="558"/>
                  </a:lnTo>
                  <a:lnTo>
                    <a:pt x="1302" y="570"/>
                  </a:lnTo>
                  <a:lnTo>
                    <a:pt x="1302" y="576"/>
                  </a:lnTo>
                  <a:lnTo>
                    <a:pt x="1344" y="570"/>
                  </a:lnTo>
                  <a:lnTo>
                    <a:pt x="1350" y="582"/>
                  </a:lnTo>
                  <a:lnTo>
                    <a:pt x="1368" y="594"/>
                  </a:lnTo>
                  <a:lnTo>
                    <a:pt x="1374" y="600"/>
                  </a:lnTo>
                  <a:lnTo>
                    <a:pt x="1380" y="600"/>
                  </a:lnTo>
                  <a:lnTo>
                    <a:pt x="1380" y="618"/>
                  </a:lnTo>
                  <a:lnTo>
                    <a:pt x="1386" y="624"/>
                  </a:lnTo>
                  <a:lnTo>
                    <a:pt x="1404" y="624"/>
                  </a:lnTo>
                  <a:lnTo>
                    <a:pt x="1410" y="612"/>
                  </a:lnTo>
                  <a:lnTo>
                    <a:pt x="1428" y="606"/>
                  </a:lnTo>
                  <a:lnTo>
                    <a:pt x="1488" y="606"/>
                  </a:lnTo>
                  <a:lnTo>
                    <a:pt x="1506" y="606"/>
                  </a:lnTo>
                  <a:lnTo>
                    <a:pt x="1512" y="600"/>
                  </a:lnTo>
                  <a:lnTo>
                    <a:pt x="1524" y="594"/>
                  </a:lnTo>
                  <a:lnTo>
                    <a:pt x="1554" y="594"/>
                  </a:lnTo>
                  <a:lnTo>
                    <a:pt x="1578" y="606"/>
                  </a:lnTo>
                  <a:lnTo>
                    <a:pt x="1596" y="624"/>
                  </a:lnTo>
                  <a:lnTo>
                    <a:pt x="1650" y="642"/>
                  </a:lnTo>
                  <a:lnTo>
                    <a:pt x="1686" y="648"/>
                  </a:lnTo>
                  <a:lnTo>
                    <a:pt x="1698" y="654"/>
                  </a:lnTo>
                  <a:lnTo>
                    <a:pt x="1698" y="660"/>
                  </a:lnTo>
                  <a:lnTo>
                    <a:pt x="1692" y="666"/>
                  </a:lnTo>
                  <a:lnTo>
                    <a:pt x="1692" y="672"/>
                  </a:lnTo>
                  <a:lnTo>
                    <a:pt x="1698" y="678"/>
                  </a:lnTo>
                  <a:lnTo>
                    <a:pt x="1698" y="684"/>
                  </a:lnTo>
                  <a:lnTo>
                    <a:pt x="1692" y="684"/>
                  </a:lnTo>
                  <a:lnTo>
                    <a:pt x="1692" y="690"/>
                  </a:lnTo>
                  <a:lnTo>
                    <a:pt x="1698" y="696"/>
                  </a:lnTo>
                  <a:lnTo>
                    <a:pt x="1698" y="702"/>
                  </a:lnTo>
                  <a:lnTo>
                    <a:pt x="1698" y="708"/>
                  </a:lnTo>
                  <a:lnTo>
                    <a:pt x="1704" y="714"/>
                  </a:lnTo>
                  <a:lnTo>
                    <a:pt x="1704" y="720"/>
                  </a:lnTo>
                  <a:lnTo>
                    <a:pt x="1704" y="726"/>
                  </a:lnTo>
                  <a:lnTo>
                    <a:pt x="1704" y="732"/>
                  </a:lnTo>
                  <a:lnTo>
                    <a:pt x="1704" y="738"/>
                  </a:lnTo>
                  <a:lnTo>
                    <a:pt x="1698" y="726"/>
                  </a:lnTo>
                  <a:lnTo>
                    <a:pt x="1668" y="720"/>
                  </a:lnTo>
                  <a:lnTo>
                    <a:pt x="1626" y="714"/>
                  </a:lnTo>
                  <a:lnTo>
                    <a:pt x="1614" y="708"/>
                  </a:lnTo>
                  <a:lnTo>
                    <a:pt x="1578" y="696"/>
                  </a:lnTo>
                  <a:lnTo>
                    <a:pt x="1566" y="696"/>
                  </a:lnTo>
                  <a:lnTo>
                    <a:pt x="1548" y="702"/>
                  </a:lnTo>
                  <a:lnTo>
                    <a:pt x="1542" y="714"/>
                  </a:lnTo>
                  <a:lnTo>
                    <a:pt x="1536" y="732"/>
                  </a:lnTo>
                  <a:lnTo>
                    <a:pt x="1530" y="750"/>
                  </a:lnTo>
                  <a:lnTo>
                    <a:pt x="1536" y="750"/>
                  </a:lnTo>
                  <a:lnTo>
                    <a:pt x="1542" y="756"/>
                  </a:lnTo>
                  <a:lnTo>
                    <a:pt x="1542" y="762"/>
                  </a:lnTo>
                  <a:lnTo>
                    <a:pt x="1548" y="762"/>
                  </a:lnTo>
                  <a:lnTo>
                    <a:pt x="1554" y="762"/>
                  </a:lnTo>
                  <a:lnTo>
                    <a:pt x="1554" y="768"/>
                  </a:lnTo>
                  <a:lnTo>
                    <a:pt x="1560" y="774"/>
                  </a:lnTo>
                  <a:lnTo>
                    <a:pt x="1566" y="774"/>
                  </a:lnTo>
                  <a:lnTo>
                    <a:pt x="1584" y="792"/>
                  </a:lnTo>
                  <a:lnTo>
                    <a:pt x="1584" y="810"/>
                  </a:lnTo>
                  <a:lnTo>
                    <a:pt x="1572" y="816"/>
                  </a:lnTo>
                  <a:lnTo>
                    <a:pt x="1578" y="834"/>
                  </a:lnTo>
                  <a:lnTo>
                    <a:pt x="1578" y="846"/>
                  </a:lnTo>
                  <a:lnTo>
                    <a:pt x="1584" y="858"/>
                  </a:lnTo>
                  <a:lnTo>
                    <a:pt x="1590" y="864"/>
                  </a:lnTo>
                  <a:lnTo>
                    <a:pt x="1590" y="876"/>
                  </a:lnTo>
                  <a:lnTo>
                    <a:pt x="1578" y="888"/>
                  </a:lnTo>
                  <a:lnTo>
                    <a:pt x="1560" y="906"/>
                  </a:lnTo>
                  <a:lnTo>
                    <a:pt x="1536" y="930"/>
                  </a:lnTo>
                  <a:lnTo>
                    <a:pt x="1530" y="930"/>
                  </a:lnTo>
                  <a:lnTo>
                    <a:pt x="1506" y="942"/>
                  </a:lnTo>
                  <a:lnTo>
                    <a:pt x="1488" y="948"/>
                  </a:lnTo>
                  <a:lnTo>
                    <a:pt x="1476" y="954"/>
                  </a:lnTo>
                  <a:lnTo>
                    <a:pt x="1458" y="960"/>
                  </a:lnTo>
                  <a:lnTo>
                    <a:pt x="1452" y="966"/>
                  </a:lnTo>
                  <a:lnTo>
                    <a:pt x="1446" y="966"/>
                  </a:lnTo>
                  <a:lnTo>
                    <a:pt x="1434" y="972"/>
                  </a:lnTo>
                  <a:lnTo>
                    <a:pt x="1434" y="954"/>
                  </a:lnTo>
                  <a:lnTo>
                    <a:pt x="1422" y="942"/>
                  </a:lnTo>
                  <a:lnTo>
                    <a:pt x="1398" y="924"/>
                  </a:lnTo>
                  <a:lnTo>
                    <a:pt x="1398" y="912"/>
                  </a:lnTo>
                  <a:lnTo>
                    <a:pt x="1398" y="906"/>
                  </a:lnTo>
                  <a:lnTo>
                    <a:pt x="1398" y="900"/>
                  </a:lnTo>
                  <a:lnTo>
                    <a:pt x="1380" y="900"/>
                  </a:lnTo>
                  <a:lnTo>
                    <a:pt x="1380" y="894"/>
                  </a:lnTo>
                  <a:lnTo>
                    <a:pt x="1368" y="888"/>
                  </a:lnTo>
                  <a:lnTo>
                    <a:pt x="1362" y="882"/>
                  </a:lnTo>
                  <a:lnTo>
                    <a:pt x="1356" y="876"/>
                  </a:lnTo>
                  <a:lnTo>
                    <a:pt x="1350" y="864"/>
                  </a:lnTo>
                  <a:lnTo>
                    <a:pt x="1344" y="858"/>
                  </a:lnTo>
                  <a:lnTo>
                    <a:pt x="1314" y="870"/>
                  </a:lnTo>
                  <a:lnTo>
                    <a:pt x="1272" y="876"/>
                  </a:lnTo>
                  <a:lnTo>
                    <a:pt x="1218" y="870"/>
                  </a:lnTo>
                  <a:lnTo>
                    <a:pt x="1200" y="864"/>
                  </a:lnTo>
                  <a:lnTo>
                    <a:pt x="1182" y="864"/>
                  </a:lnTo>
                  <a:lnTo>
                    <a:pt x="1134" y="858"/>
                  </a:lnTo>
                  <a:lnTo>
                    <a:pt x="1110" y="840"/>
                  </a:lnTo>
                  <a:lnTo>
                    <a:pt x="1086" y="828"/>
                  </a:lnTo>
                  <a:lnTo>
                    <a:pt x="1044" y="816"/>
                  </a:lnTo>
                  <a:lnTo>
                    <a:pt x="1014" y="816"/>
                  </a:lnTo>
                  <a:lnTo>
                    <a:pt x="990" y="822"/>
                  </a:lnTo>
                  <a:lnTo>
                    <a:pt x="948" y="858"/>
                  </a:lnTo>
                  <a:lnTo>
                    <a:pt x="930" y="864"/>
                  </a:lnTo>
                  <a:lnTo>
                    <a:pt x="924" y="876"/>
                  </a:lnTo>
                  <a:lnTo>
                    <a:pt x="918" y="906"/>
                  </a:lnTo>
                  <a:lnTo>
                    <a:pt x="924" y="930"/>
                  </a:lnTo>
                  <a:lnTo>
                    <a:pt x="948" y="984"/>
                  </a:lnTo>
                  <a:lnTo>
                    <a:pt x="954" y="1008"/>
                  </a:lnTo>
                  <a:lnTo>
                    <a:pt x="948" y="1014"/>
                  </a:lnTo>
                  <a:lnTo>
                    <a:pt x="954" y="1014"/>
                  </a:lnTo>
                  <a:lnTo>
                    <a:pt x="954" y="1032"/>
                  </a:lnTo>
                  <a:lnTo>
                    <a:pt x="966" y="1044"/>
                  </a:lnTo>
                  <a:lnTo>
                    <a:pt x="960" y="1056"/>
                  </a:lnTo>
                  <a:lnTo>
                    <a:pt x="954" y="1056"/>
                  </a:lnTo>
                  <a:lnTo>
                    <a:pt x="948" y="1056"/>
                  </a:lnTo>
                  <a:lnTo>
                    <a:pt x="942" y="1056"/>
                  </a:lnTo>
                  <a:lnTo>
                    <a:pt x="936" y="1050"/>
                  </a:lnTo>
                  <a:lnTo>
                    <a:pt x="930" y="1044"/>
                  </a:lnTo>
                  <a:lnTo>
                    <a:pt x="924" y="1044"/>
                  </a:lnTo>
                  <a:lnTo>
                    <a:pt x="918" y="1038"/>
                  </a:lnTo>
                  <a:lnTo>
                    <a:pt x="912" y="1038"/>
                  </a:lnTo>
                  <a:lnTo>
                    <a:pt x="906" y="1032"/>
                  </a:lnTo>
                  <a:lnTo>
                    <a:pt x="900" y="1032"/>
                  </a:lnTo>
                  <a:lnTo>
                    <a:pt x="888" y="1026"/>
                  </a:lnTo>
                  <a:lnTo>
                    <a:pt x="882" y="1026"/>
                  </a:lnTo>
                  <a:lnTo>
                    <a:pt x="876" y="1026"/>
                  </a:lnTo>
                  <a:lnTo>
                    <a:pt x="864" y="1014"/>
                  </a:lnTo>
                  <a:lnTo>
                    <a:pt x="846" y="1008"/>
                  </a:lnTo>
                  <a:lnTo>
                    <a:pt x="840" y="996"/>
                  </a:lnTo>
                  <a:lnTo>
                    <a:pt x="840" y="990"/>
                  </a:lnTo>
                  <a:lnTo>
                    <a:pt x="834" y="990"/>
                  </a:lnTo>
                  <a:lnTo>
                    <a:pt x="828" y="990"/>
                  </a:lnTo>
                  <a:lnTo>
                    <a:pt x="816" y="990"/>
                  </a:lnTo>
                  <a:lnTo>
                    <a:pt x="810" y="990"/>
                  </a:lnTo>
                  <a:lnTo>
                    <a:pt x="804" y="984"/>
                  </a:lnTo>
                  <a:lnTo>
                    <a:pt x="792" y="978"/>
                  </a:lnTo>
                  <a:lnTo>
                    <a:pt x="786" y="972"/>
                  </a:lnTo>
                  <a:lnTo>
                    <a:pt x="780" y="972"/>
                  </a:lnTo>
                  <a:lnTo>
                    <a:pt x="768" y="966"/>
                  </a:lnTo>
                  <a:lnTo>
                    <a:pt x="762" y="966"/>
                  </a:lnTo>
                  <a:lnTo>
                    <a:pt x="756" y="966"/>
                  </a:lnTo>
                  <a:lnTo>
                    <a:pt x="750" y="966"/>
                  </a:lnTo>
                  <a:lnTo>
                    <a:pt x="744" y="966"/>
                  </a:lnTo>
                  <a:lnTo>
                    <a:pt x="738" y="960"/>
                  </a:lnTo>
                  <a:lnTo>
                    <a:pt x="732" y="954"/>
                  </a:lnTo>
                  <a:lnTo>
                    <a:pt x="720" y="954"/>
                  </a:lnTo>
                  <a:lnTo>
                    <a:pt x="714" y="948"/>
                  </a:lnTo>
                  <a:lnTo>
                    <a:pt x="708" y="948"/>
                  </a:lnTo>
                  <a:lnTo>
                    <a:pt x="696" y="948"/>
                  </a:lnTo>
                  <a:lnTo>
                    <a:pt x="684" y="942"/>
                  </a:lnTo>
                  <a:lnTo>
                    <a:pt x="678" y="936"/>
                  </a:lnTo>
                  <a:lnTo>
                    <a:pt x="660" y="930"/>
                  </a:lnTo>
                  <a:lnTo>
                    <a:pt x="642" y="924"/>
                  </a:lnTo>
                  <a:lnTo>
                    <a:pt x="636" y="924"/>
                  </a:lnTo>
                  <a:lnTo>
                    <a:pt x="630" y="924"/>
                  </a:lnTo>
                  <a:lnTo>
                    <a:pt x="618" y="924"/>
                  </a:lnTo>
                  <a:lnTo>
                    <a:pt x="618" y="918"/>
                  </a:lnTo>
                  <a:lnTo>
                    <a:pt x="606" y="918"/>
                  </a:lnTo>
                  <a:lnTo>
                    <a:pt x="600" y="918"/>
                  </a:lnTo>
                  <a:lnTo>
                    <a:pt x="594" y="918"/>
                  </a:lnTo>
                  <a:lnTo>
                    <a:pt x="594" y="912"/>
                  </a:lnTo>
                  <a:lnTo>
                    <a:pt x="588" y="912"/>
                  </a:lnTo>
                  <a:lnTo>
                    <a:pt x="582" y="912"/>
                  </a:lnTo>
                  <a:lnTo>
                    <a:pt x="582" y="918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58" y="918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12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00"/>
                  </a:lnTo>
                  <a:lnTo>
                    <a:pt x="516" y="900"/>
                  </a:lnTo>
                  <a:lnTo>
                    <a:pt x="510" y="900"/>
                  </a:lnTo>
                  <a:lnTo>
                    <a:pt x="486" y="894"/>
                  </a:lnTo>
                  <a:lnTo>
                    <a:pt x="474" y="888"/>
                  </a:lnTo>
                  <a:lnTo>
                    <a:pt x="468" y="888"/>
                  </a:lnTo>
                  <a:lnTo>
                    <a:pt x="450" y="88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0" name="Freeform 15">
              <a:extLst>
                <a:ext uri="{FF2B5EF4-FFF2-40B4-BE49-F238E27FC236}">
                  <a16:creationId xmlns:a16="http://schemas.microsoft.com/office/drawing/2014/main" id="{8B991D7A-45C6-40F6-A035-24DFC733305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382" y="2652043"/>
              <a:ext cx="724526" cy="695552"/>
            </a:xfrm>
            <a:custGeom>
              <a:avLst/>
              <a:gdLst>
                <a:gd name="T0" fmla="*/ 44 w 1362"/>
                <a:gd name="T1" fmla="*/ 106 h 1308"/>
                <a:gd name="T2" fmla="*/ 32 w 1362"/>
                <a:gd name="T3" fmla="*/ 109 h 1308"/>
                <a:gd name="T4" fmla="*/ 25 w 1362"/>
                <a:gd name="T5" fmla="*/ 105 h 1308"/>
                <a:gd name="T6" fmla="*/ 22 w 1362"/>
                <a:gd name="T7" fmla="*/ 97 h 1308"/>
                <a:gd name="T8" fmla="*/ 21 w 1362"/>
                <a:gd name="T9" fmla="*/ 95 h 1308"/>
                <a:gd name="T10" fmla="*/ 20 w 1362"/>
                <a:gd name="T11" fmla="*/ 90 h 1308"/>
                <a:gd name="T12" fmla="*/ 23 w 1362"/>
                <a:gd name="T13" fmla="*/ 87 h 1308"/>
                <a:gd name="T14" fmla="*/ 29 w 1362"/>
                <a:gd name="T15" fmla="*/ 81 h 1308"/>
                <a:gd name="T16" fmla="*/ 30 w 1362"/>
                <a:gd name="T17" fmla="*/ 78 h 1308"/>
                <a:gd name="T18" fmla="*/ 27 w 1362"/>
                <a:gd name="T19" fmla="*/ 75 h 1308"/>
                <a:gd name="T20" fmla="*/ 15 w 1362"/>
                <a:gd name="T21" fmla="*/ 73 h 1308"/>
                <a:gd name="T22" fmla="*/ 12 w 1362"/>
                <a:gd name="T23" fmla="*/ 69 h 1308"/>
                <a:gd name="T24" fmla="*/ 5 w 1362"/>
                <a:gd name="T25" fmla="*/ 65 h 1308"/>
                <a:gd name="T26" fmla="*/ 6 w 1362"/>
                <a:gd name="T27" fmla="*/ 62 h 1308"/>
                <a:gd name="T28" fmla="*/ 7 w 1362"/>
                <a:gd name="T29" fmla="*/ 56 h 1308"/>
                <a:gd name="T30" fmla="*/ 2 w 1362"/>
                <a:gd name="T31" fmla="*/ 49 h 1308"/>
                <a:gd name="T32" fmla="*/ 0 w 1362"/>
                <a:gd name="T33" fmla="*/ 44 h 1308"/>
                <a:gd name="T34" fmla="*/ 0 w 1362"/>
                <a:gd name="T35" fmla="*/ 39 h 1308"/>
                <a:gd name="T36" fmla="*/ 3 w 1362"/>
                <a:gd name="T37" fmla="*/ 35 h 1308"/>
                <a:gd name="T38" fmla="*/ 3 w 1362"/>
                <a:gd name="T39" fmla="*/ 28 h 1308"/>
                <a:gd name="T40" fmla="*/ 6 w 1362"/>
                <a:gd name="T41" fmla="*/ 18 h 1308"/>
                <a:gd name="T42" fmla="*/ 6 w 1362"/>
                <a:gd name="T43" fmla="*/ 8 h 1308"/>
                <a:gd name="T44" fmla="*/ 10 w 1362"/>
                <a:gd name="T45" fmla="*/ 5 h 1308"/>
                <a:gd name="T46" fmla="*/ 15 w 1362"/>
                <a:gd name="T47" fmla="*/ 0 h 1308"/>
                <a:gd name="T48" fmla="*/ 21 w 1362"/>
                <a:gd name="T49" fmla="*/ 7 h 1308"/>
                <a:gd name="T50" fmla="*/ 25 w 1362"/>
                <a:gd name="T51" fmla="*/ 15 h 1308"/>
                <a:gd name="T52" fmla="*/ 24 w 1362"/>
                <a:gd name="T53" fmla="*/ 19 h 1308"/>
                <a:gd name="T54" fmla="*/ 32 w 1362"/>
                <a:gd name="T55" fmla="*/ 19 h 1308"/>
                <a:gd name="T56" fmla="*/ 35 w 1362"/>
                <a:gd name="T57" fmla="*/ 20 h 1308"/>
                <a:gd name="T58" fmla="*/ 40 w 1362"/>
                <a:gd name="T59" fmla="*/ 23 h 1308"/>
                <a:gd name="T60" fmla="*/ 40 w 1362"/>
                <a:gd name="T61" fmla="*/ 26 h 1308"/>
                <a:gd name="T62" fmla="*/ 34 w 1362"/>
                <a:gd name="T63" fmla="*/ 35 h 1308"/>
                <a:gd name="T64" fmla="*/ 41 w 1362"/>
                <a:gd name="T65" fmla="*/ 37 h 1308"/>
                <a:gd name="T66" fmla="*/ 43 w 1362"/>
                <a:gd name="T67" fmla="*/ 44 h 1308"/>
                <a:gd name="T68" fmla="*/ 48 w 1362"/>
                <a:gd name="T69" fmla="*/ 47 h 1308"/>
                <a:gd name="T70" fmla="*/ 57 w 1362"/>
                <a:gd name="T71" fmla="*/ 48 h 1308"/>
                <a:gd name="T72" fmla="*/ 70 w 1362"/>
                <a:gd name="T73" fmla="*/ 44 h 1308"/>
                <a:gd name="T74" fmla="*/ 80 w 1362"/>
                <a:gd name="T75" fmla="*/ 34 h 1308"/>
                <a:gd name="T76" fmla="*/ 95 w 1362"/>
                <a:gd name="T77" fmla="*/ 41 h 1308"/>
                <a:gd name="T78" fmla="*/ 109 w 1362"/>
                <a:gd name="T79" fmla="*/ 47 h 1308"/>
                <a:gd name="T80" fmla="*/ 111 w 1362"/>
                <a:gd name="T81" fmla="*/ 50 h 1308"/>
                <a:gd name="T82" fmla="*/ 113 w 1362"/>
                <a:gd name="T83" fmla="*/ 53 h 1308"/>
                <a:gd name="T84" fmla="*/ 113 w 1362"/>
                <a:gd name="T85" fmla="*/ 55 h 1308"/>
                <a:gd name="T86" fmla="*/ 113 w 1362"/>
                <a:gd name="T87" fmla="*/ 59 h 1308"/>
                <a:gd name="T88" fmla="*/ 113 w 1362"/>
                <a:gd name="T89" fmla="*/ 62 h 1308"/>
                <a:gd name="T90" fmla="*/ 115 w 1362"/>
                <a:gd name="T91" fmla="*/ 65 h 1308"/>
                <a:gd name="T92" fmla="*/ 115 w 1362"/>
                <a:gd name="T93" fmla="*/ 67 h 1308"/>
                <a:gd name="T94" fmla="*/ 116 w 1362"/>
                <a:gd name="T95" fmla="*/ 69 h 1308"/>
                <a:gd name="T96" fmla="*/ 116 w 1362"/>
                <a:gd name="T97" fmla="*/ 71 h 1308"/>
                <a:gd name="T98" fmla="*/ 118 w 1362"/>
                <a:gd name="T99" fmla="*/ 75 h 1308"/>
                <a:gd name="T100" fmla="*/ 116 w 1362"/>
                <a:gd name="T101" fmla="*/ 77 h 1308"/>
                <a:gd name="T102" fmla="*/ 116 w 1362"/>
                <a:gd name="T103" fmla="*/ 79 h 1308"/>
                <a:gd name="T104" fmla="*/ 101 w 1362"/>
                <a:gd name="T105" fmla="*/ 87 h 1308"/>
                <a:gd name="T106" fmla="*/ 85 w 1362"/>
                <a:gd name="T107" fmla="*/ 103 h 1308"/>
                <a:gd name="T108" fmla="*/ 67 w 1362"/>
                <a:gd name="T109" fmla="*/ 114 h 130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62"/>
                <a:gd name="T166" fmla="*/ 0 h 1308"/>
                <a:gd name="T167" fmla="*/ 1362 w 1362"/>
                <a:gd name="T168" fmla="*/ 1308 h 130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62" h="1308">
                  <a:moveTo>
                    <a:pt x="684" y="1278"/>
                  </a:moveTo>
                  <a:lnTo>
                    <a:pt x="672" y="1272"/>
                  </a:lnTo>
                  <a:lnTo>
                    <a:pt x="636" y="1266"/>
                  </a:lnTo>
                  <a:lnTo>
                    <a:pt x="582" y="1248"/>
                  </a:lnTo>
                  <a:lnTo>
                    <a:pt x="564" y="1230"/>
                  </a:lnTo>
                  <a:lnTo>
                    <a:pt x="540" y="1218"/>
                  </a:lnTo>
                  <a:lnTo>
                    <a:pt x="510" y="1218"/>
                  </a:lnTo>
                  <a:lnTo>
                    <a:pt x="498" y="1224"/>
                  </a:lnTo>
                  <a:lnTo>
                    <a:pt x="492" y="1230"/>
                  </a:lnTo>
                  <a:lnTo>
                    <a:pt x="474" y="1230"/>
                  </a:lnTo>
                  <a:lnTo>
                    <a:pt x="414" y="1230"/>
                  </a:lnTo>
                  <a:lnTo>
                    <a:pt x="396" y="1236"/>
                  </a:lnTo>
                  <a:lnTo>
                    <a:pt x="390" y="1248"/>
                  </a:lnTo>
                  <a:lnTo>
                    <a:pt x="372" y="1248"/>
                  </a:lnTo>
                  <a:lnTo>
                    <a:pt x="366" y="1242"/>
                  </a:lnTo>
                  <a:lnTo>
                    <a:pt x="366" y="1224"/>
                  </a:lnTo>
                  <a:lnTo>
                    <a:pt x="360" y="1224"/>
                  </a:lnTo>
                  <a:lnTo>
                    <a:pt x="354" y="1218"/>
                  </a:lnTo>
                  <a:lnTo>
                    <a:pt x="336" y="1206"/>
                  </a:lnTo>
                  <a:lnTo>
                    <a:pt x="330" y="1194"/>
                  </a:lnTo>
                  <a:lnTo>
                    <a:pt x="288" y="1200"/>
                  </a:lnTo>
                  <a:lnTo>
                    <a:pt x="288" y="1194"/>
                  </a:lnTo>
                  <a:lnTo>
                    <a:pt x="288" y="1182"/>
                  </a:lnTo>
                  <a:lnTo>
                    <a:pt x="288" y="1170"/>
                  </a:lnTo>
                  <a:lnTo>
                    <a:pt x="288" y="1164"/>
                  </a:lnTo>
                  <a:lnTo>
                    <a:pt x="282" y="1140"/>
                  </a:lnTo>
                  <a:lnTo>
                    <a:pt x="276" y="1134"/>
                  </a:lnTo>
                  <a:lnTo>
                    <a:pt x="258" y="1116"/>
                  </a:lnTo>
                  <a:lnTo>
                    <a:pt x="258" y="1110"/>
                  </a:lnTo>
                  <a:lnTo>
                    <a:pt x="252" y="1110"/>
                  </a:lnTo>
                  <a:lnTo>
                    <a:pt x="252" y="1104"/>
                  </a:lnTo>
                  <a:lnTo>
                    <a:pt x="252" y="1098"/>
                  </a:lnTo>
                  <a:lnTo>
                    <a:pt x="240" y="1092"/>
                  </a:lnTo>
                  <a:lnTo>
                    <a:pt x="234" y="1092"/>
                  </a:lnTo>
                  <a:lnTo>
                    <a:pt x="240" y="1086"/>
                  </a:lnTo>
                  <a:lnTo>
                    <a:pt x="234" y="1080"/>
                  </a:lnTo>
                  <a:lnTo>
                    <a:pt x="228" y="1080"/>
                  </a:lnTo>
                  <a:lnTo>
                    <a:pt x="228" y="1068"/>
                  </a:lnTo>
                  <a:lnTo>
                    <a:pt x="228" y="1056"/>
                  </a:lnTo>
                  <a:lnTo>
                    <a:pt x="222" y="1056"/>
                  </a:lnTo>
                  <a:lnTo>
                    <a:pt x="228" y="1044"/>
                  </a:lnTo>
                  <a:lnTo>
                    <a:pt x="228" y="1038"/>
                  </a:lnTo>
                  <a:lnTo>
                    <a:pt x="228" y="1032"/>
                  </a:lnTo>
                  <a:lnTo>
                    <a:pt x="234" y="1026"/>
                  </a:lnTo>
                  <a:lnTo>
                    <a:pt x="246" y="1020"/>
                  </a:lnTo>
                  <a:lnTo>
                    <a:pt x="252" y="1020"/>
                  </a:lnTo>
                  <a:lnTo>
                    <a:pt x="258" y="1014"/>
                  </a:lnTo>
                  <a:lnTo>
                    <a:pt x="264" y="1008"/>
                  </a:lnTo>
                  <a:lnTo>
                    <a:pt x="264" y="1002"/>
                  </a:lnTo>
                  <a:lnTo>
                    <a:pt x="270" y="984"/>
                  </a:lnTo>
                  <a:lnTo>
                    <a:pt x="276" y="978"/>
                  </a:lnTo>
                  <a:lnTo>
                    <a:pt x="300" y="978"/>
                  </a:lnTo>
                  <a:lnTo>
                    <a:pt x="306" y="972"/>
                  </a:lnTo>
                  <a:lnTo>
                    <a:pt x="312" y="966"/>
                  </a:lnTo>
                  <a:lnTo>
                    <a:pt x="324" y="936"/>
                  </a:lnTo>
                  <a:lnTo>
                    <a:pt x="330" y="930"/>
                  </a:lnTo>
                  <a:lnTo>
                    <a:pt x="330" y="924"/>
                  </a:lnTo>
                  <a:lnTo>
                    <a:pt x="336" y="918"/>
                  </a:lnTo>
                  <a:lnTo>
                    <a:pt x="342" y="912"/>
                  </a:lnTo>
                  <a:lnTo>
                    <a:pt x="342" y="906"/>
                  </a:lnTo>
                  <a:lnTo>
                    <a:pt x="342" y="900"/>
                  </a:lnTo>
                  <a:lnTo>
                    <a:pt x="342" y="894"/>
                  </a:lnTo>
                  <a:lnTo>
                    <a:pt x="342" y="888"/>
                  </a:lnTo>
                  <a:lnTo>
                    <a:pt x="336" y="876"/>
                  </a:lnTo>
                  <a:lnTo>
                    <a:pt x="342" y="870"/>
                  </a:lnTo>
                  <a:lnTo>
                    <a:pt x="336" y="864"/>
                  </a:lnTo>
                  <a:lnTo>
                    <a:pt x="336" y="858"/>
                  </a:lnTo>
                  <a:lnTo>
                    <a:pt x="330" y="852"/>
                  </a:lnTo>
                  <a:lnTo>
                    <a:pt x="318" y="852"/>
                  </a:lnTo>
                  <a:lnTo>
                    <a:pt x="306" y="858"/>
                  </a:lnTo>
                  <a:lnTo>
                    <a:pt x="264" y="864"/>
                  </a:lnTo>
                  <a:lnTo>
                    <a:pt x="234" y="858"/>
                  </a:lnTo>
                  <a:lnTo>
                    <a:pt x="228" y="858"/>
                  </a:lnTo>
                  <a:lnTo>
                    <a:pt x="198" y="858"/>
                  </a:lnTo>
                  <a:lnTo>
                    <a:pt x="174" y="858"/>
                  </a:lnTo>
                  <a:lnTo>
                    <a:pt x="168" y="852"/>
                  </a:lnTo>
                  <a:lnTo>
                    <a:pt x="168" y="840"/>
                  </a:lnTo>
                  <a:lnTo>
                    <a:pt x="168" y="834"/>
                  </a:lnTo>
                  <a:lnTo>
                    <a:pt x="168" y="822"/>
                  </a:lnTo>
                  <a:lnTo>
                    <a:pt x="162" y="822"/>
                  </a:lnTo>
                  <a:lnTo>
                    <a:pt x="150" y="816"/>
                  </a:lnTo>
                  <a:lnTo>
                    <a:pt x="144" y="810"/>
                  </a:lnTo>
                  <a:lnTo>
                    <a:pt x="144" y="804"/>
                  </a:lnTo>
                  <a:lnTo>
                    <a:pt x="144" y="786"/>
                  </a:lnTo>
                  <a:lnTo>
                    <a:pt x="144" y="780"/>
                  </a:lnTo>
                  <a:lnTo>
                    <a:pt x="144" y="774"/>
                  </a:lnTo>
                  <a:lnTo>
                    <a:pt x="132" y="756"/>
                  </a:lnTo>
                  <a:lnTo>
                    <a:pt x="120" y="756"/>
                  </a:lnTo>
                  <a:lnTo>
                    <a:pt x="84" y="750"/>
                  </a:lnTo>
                  <a:lnTo>
                    <a:pt x="78" y="744"/>
                  </a:lnTo>
                  <a:lnTo>
                    <a:pt x="60" y="744"/>
                  </a:lnTo>
                  <a:lnTo>
                    <a:pt x="54" y="726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66" y="720"/>
                  </a:lnTo>
                  <a:lnTo>
                    <a:pt x="66" y="714"/>
                  </a:lnTo>
                  <a:lnTo>
                    <a:pt x="72" y="714"/>
                  </a:lnTo>
                  <a:lnTo>
                    <a:pt x="72" y="708"/>
                  </a:lnTo>
                  <a:lnTo>
                    <a:pt x="78" y="702"/>
                  </a:lnTo>
                  <a:lnTo>
                    <a:pt x="78" y="696"/>
                  </a:lnTo>
                  <a:lnTo>
                    <a:pt x="78" y="690"/>
                  </a:lnTo>
                  <a:lnTo>
                    <a:pt x="84" y="678"/>
                  </a:lnTo>
                  <a:lnTo>
                    <a:pt x="90" y="666"/>
                  </a:lnTo>
                  <a:lnTo>
                    <a:pt x="90" y="642"/>
                  </a:lnTo>
                  <a:lnTo>
                    <a:pt x="84" y="648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66" y="642"/>
                  </a:lnTo>
                  <a:lnTo>
                    <a:pt x="60" y="642"/>
                  </a:lnTo>
                  <a:lnTo>
                    <a:pt x="54" y="636"/>
                  </a:lnTo>
                  <a:lnTo>
                    <a:pt x="30" y="570"/>
                  </a:lnTo>
                  <a:lnTo>
                    <a:pt x="24" y="564"/>
                  </a:lnTo>
                  <a:lnTo>
                    <a:pt x="18" y="570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6"/>
                  </a:lnTo>
                  <a:lnTo>
                    <a:pt x="6" y="540"/>
                  </a:lnTo>
                  <a:lnTo>
                    <a:pt x="0" y="522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2" y="480"/>
                  </a:lnTo>
                  <a:lnTo>
                    <a:pt x="6" y="480"/>
                  </a:lnTo>
                  <a:lnTo>
                    <a:pt x="0" y="474"/>
                  </a:lnTo>
                  <a:lnTo>
                    <a:pt x="0" y="450"/>
                  </a:lnTo>
                  <a:lnTo>
                    <a:pt x="6" y="450"/>
                  </a:lnTo>
                  <a:lnTo>
                    <a:pt x="12" y="450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32"/>
                  </a:lnTo>
                  <a:lnTo>
                    <a:pt x="30" y="426"/>
                  </a:lnTo>
                  <a:lnTo>
                    <a:pt x="36" y="402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2" y="366"/>
                  </a:lnTo>
                  <a:lnTo>
                    <a:pt x="48" y="360"/>
                  </a:lnTo>
                  <a:lnTo>
                    <a:pt x="48" y="342"/>
                  </a:lnTo>
                  <a:lnTo>
                    <a:pt x="42" y="330"/>
                  </a:lnTo>
                  <a:lnTo>
                    <a:pt x="36" y="324"/>
                  </a:lnTo>
                  <a:lnTo>
                    <a:pt x="42" y="306"/>
                  </a:lnTo>
                  <a:lnTo>
                    <a:pt x="42" y="270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48" y="258"/>
                  </a:lnTo>
                  <a:lnTo>
                    <a:pt x="72" y="252"/>
                  </a:lnTo>
                  <a:lnTo>
                    <a:pt x="66" y="204"/>
                  </a:lnTo>
                  <a:lnTo>
                    <a:pt x="60" y="198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8" y="13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84" y="96"/>
                  </a:lnTo>
                  <a:lnTo>
                    <a:pt x="90" y="84"/>
                  </a:lnTo>
                  <a:lnTo>
                    <a:pt x="108" y="72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20" y="60"/>
                  </a:lnTo>
                  <a:lnTo>
                    <a:pt x="120" y="54"/>
                  </a:lnTo>
                  <a:lnTo>
                    <a:pt x="120" y="48"/>
                  </a:lnTo>
                  <a:lnTo>
                    <a:pt x="126" y="48"/>
                  </a:lnTo>
                  <a:lnTo>
                    <a:pt x="132" y="42"/>
                  </a:lnTo>
                  <a:lnTo>
                    <a:pt x="132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240" y="18"/>
                  </a:lnTo>
                  <a:lnTo>
                    <a:pt x="246" y="42"/>
                  </a:lnTo>
                  <a:lnTo>
                    <a:pt x="240" y="72"/>
                  </a:lnTo>
                  <a:lnTo>
                    <a:pt x="246" y="78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8" y="108"/>
                  </a:lnTo>
                  <a:lnTo>
                    <a:pt x="276" y="114"/>
                  </a:lnTo>
                  <a:lnTo>
                    <a:pt x="294" y="150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82" y="186"/>
                  </a:lnTo>
                  <a:lnTo>
                    <a:pt x="282" y="192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76" y="216"/>
                  </a:lnTo>
                  <a:lnTo>
                    <a:pt x="288" y="240"/>
                  </a:lnTo>
                  <a:lnTo>
                    <a:pt x="312" y="228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66" y="228"/>
                  </a:lnTo>
                  <a:lnTo>
                    <a:pt x="372" y="228"/>
                  </a:lnTo>
                  <a:lnTo>
                    <a:pt x="372" y="222"/>
                  </a:lnTo>
                  <a:lnTo>
                    <a:pt x="378" y="222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6" y="222"/>
                  </a:lnTo>
                  <a:lnTo>
                    <a:pt x="402" y="222"/>
                  </a:lnTo>
                  <a:lnTo>
                    <a:pt x="402" y="228"/>
                  </a:lnTo>
                  <a:lnTo>
                    <a:pt x="408" y="228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26" y="216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68" y="258"/>
                  </a:lnTo>
                  <a:lnTo>
                    <a:pt x="462" y="264"/>
                  </a:lnTo>
                  <a:lnTo>
                    <a:pt x="468" y="264"/>
                  </a:lnTo>
                  <a:lnTo>
                    <a:pt x="468" y="270"/>
                  </a:lnTo>
                  <a:lnTo>
                    <a:pt x="474" y="270"/>
                  </a:lnTo>
                  <a:lnTo>
                    <a:pt x="480" y="276"/>
                  </a:lnTo>
                  <a:lnTo>
                    <a:pt x="474" y="282"/>
                  </a:lnTo>
                  <a:lnTo>
                    <a:pt x="474" y="288"/>
                  </a:lnTo>
                  <a:lnTo>
                    <a:pt x="462" y="294"/>
                  </a:lnTo>
                  <a:lnTo>
                    <a:pt x="468" y="324"/>
                  </a:lnTo>
                  <a:lnTo>
                    <a:pt x="462" y="336"/>
                  </a:lnTo>
                  <a:lnTo>
                    <a:pt x="456" y="354"/>
                  </a:lnTo>
                  <a:lnTo>
                    <a:pt x="432" y="390"/>
                  </a:lnTo>
                  <a:lnTo>
                    <a:pt x="420" y="390"/>
                  </a:lnTo>
                  <a:lnTo>
                    <a:pt x="402" y="390"/>
                  </a:lnTo>
                  <a:lnTo>
                    <a:pt x="396" y="396"/>
                  </a:lnTo>
                  <a:lnTo>
                    <a:pt x="390" y="396"/>
                  </a:lnTo>
                  <a:lnTo>
                    <a:pt x="390" y="402"/>
                  </a:lnTo>
                  <a:lnTo>
                    <a:pt x="384" y="402"/>
                  </a:lnTo>
                  <a:lnTo>
                    <a:pt x="408" y="432"/>
                  </a:lnTo>
                  <a:lnTo>
                    <a:pt x="432" y="438"/>
                  </a:lnTo>
                  <a:lnTo>
                    <a:pt x="456" y="432"/>
                  </a:lnTo>
                  <a:lnTo>
                    <a:pt x="468" y="426"/>
                  </a:lnTo>
                  <a:lnTo>
                    <a:pt x="468" y="444"/>
                  </a:lnTo>
                  <a:lnTo>
                    <a:pt x="468" y="450"/>
                  </a:lnTo>
                  <a:lnTo>
                    <a:pt x="468" y="474"/>
                  </a:lnTo>
                  <a:lnTo>
                    <a:pt x="486" y="480"/>
                  </a:lnTo>
                  <a:lnTo>
                    <a:pt x="486" y="486"/>
                  </a:lnTo>
                  <a:lnTo>
                    <a:pt x="492" y="498"/>
                  </a:lnTo>
                  <a:lnTo>
                    <a:pt x="492" y="504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504" y="516"/>
                  </a:lnTo>
                  <a:lnTo>
                    <a:pt x="510" y="516"/>
                  </a:lnTo>
                  <a:lnTo>
                    <a:pt x="522" y="528"/>
                  </a:lnTo>
                  <a:lnTo>
                    <a:pt x="546" y="540"/>
                  </a:lnTo>
                  <a:lnTo>
                    <a:pt x="552" y="546"/>
                  </a:lnTo>
                  <a:lnTo>
                    <a:pt x="570" y="552"/>
                  </a:lnTo>
                  <a:lnTo>
                    <a:pt x="594" y="552"/>
                  </a:lnTo>
                  <a:lnTo>
                    <a:pt x="606" y="546"/>
                  </a:lnTo>
                  <a:lnTo>
                    <a:pt x="612" y="540"/>
                  </a:lnTo>
                  <a:lnTo>
                    <a:pt x="630" y="540"/>
                  </a:lnTo>
                  <a:lnTo>
                    <a:pt x="630" y="552"/>
                  </a:lnTo>
                  <a:lnTo>
                    <a:pt x="654" y="552"/>
                  </a:lnTo>
                  <a:lnTo>
                    <a:pt x="702" y="558"/>
                  </a:lnTo>
                  <a:lnTo>
                    <a:pt x="762" y="546"/>
                  </a:lnTo>
                  <a:lnTo>
                    <a:pt x="780" y="546"/>
                  </a:lnTo>
                  <a:lnTo>
                    <a:pt x="780" y="528"/>
                  </a:lnTo>
                  <a:lnTo>
                    <a:pt x="798" y="522"/>
                  </a:lnTo>
                  <a:lnTo>
                    <a:pt x="810" y="510"/>
                  </a:lnTo>
                  <a:lnTo>
                    <a:pt x="810" y="504"/>
                  </a:lnTo>
                  <a:lnTo>
                    <a:pt x="828" y="492"/>
                  </a:lnTo>
                  <a:lnTo>
                    <a:pt x="888" y="486"/>
                  </a:lnTo>
                  <a:lnTo>
                    <a:pt x="912" y="486"/>
                  </a:lnTo>
                  <a:lnTo>
                    <a:pt x="930" y="474"/>
                  </a:lnTo>
                  <a:lnTo>
                    <a:pt x="918" y="456"/>
                  </a:lnTo>
                  <a:lnTo>
                    <a:pt x="912" y="450"/>
                  </a:lnTo>
                  <a:lnTo>
                    <a:pt x="918" y="390"/>
                  </a:lnTo>
                  <a:lnTo>
                    <a:pt x="954" y="396"/>
                  </a:lnTo>
                  <a:lnTo>
                    <a:pt x="984" y="402"/>
                  </a:lnTo>
                  <a:lnTo>
                    <a:pt x="1014" y="420"/>
                  </a:lnTo>
                  <a:lnTo>
                    <a:pt x="1026" y="432"/>
                  </a:lnTo>
                  <a:lnTo>
                    <a:pt x="1044" y="450"/>
                  </a:lnTo>
                  <a:lnTo>
                    <a:pt x="1062" y="462"/>
                  </a:lnTo>
                  <a:lnTo>
                    <a:pt x="1098" y="468"/>
                  </a:lnTo>
                  <a:lnTo>
                    <a:pt x="1128" y="480"/>
                  </a:lnTo>
                  <a:lnTo>
                    <a:pt x="1152" y="486"/>
                  </a:lnTo>
                  <a:lnTo>
                    <a:pt x="1188" y="498"/>
                  </a:lnTo>
                  <a:lnTo>
                    <a:pt x="1212" y="504"/>
                  </a:lnTo>
                  <a:lnTo>
                    <a:pt x="1224" y="528"/>
                  </a:lnTo>
                  <a:lnTo>
                    <a:pt x="1236" y="540"/>
                  </a:lnTo>
                  <a:lnTo>
                    <a:pt x="1254" y="540"/>
                  </a:lnTo>
                  <a:lnTo>
                    <a:pt x="1254" y="546"/>
                  </a:lnTo>
                  <a:lnTo>
                    <a:pt x="1260" y="552"/>
                  </a:lnTo>
                  <a:lnTo>
                    <a:pt x="1266" y="552"/>
                  </a:lnTo>
                  <a:lnTo>
                    <a:pt x="1266" y="558"/>
                  </a:lnTo>
                  <a:lnTo>
                    <a:pt x="1272" y="564"/>
                  </a:lnTo>
                  <a:lnTo>
                    <a:pt x="1278" y="564"/>
                  </a:lnTo>
                  <a:lnTo>
                    <a:pt x="1278" y="570"/>
                  </a:lnTo>
                  <a:lnTo>
                    <a:pt x="1284" y="576"/>
                  </a:lnTo>
                  <a:lnTo>
                    <a:pt x="1290" y="582"/>
                  </a:lnTo>
                  <a:lnTo>
                    <a:pt x="1296" y="582"/>
                  </a:lnTo>
                  <a:lnTo>
                    <a:pt x="1296" y="588"/>
                  </a:lnTo>
                  <a:lnTo>
                    <a:pt x="1308" y="594"/>
                  </a:lnTo>
                  <a:lnTo>
                    <a:pt x="1308" y="600"/>
                  </a:lnTo>
                  <a:lnTo>
                    <a:pt x="1308" y="606"/>
                  </a:lnTo>
                  <a:lnTo>
                    <a:pt x="1314" y="612"/>
                  </a:lnTo>
                  <a:lnTo>
                    <a:pt x="1308" y="618"/>
                  </a:lnTo>
                  <a:lnTo>
                    <a:pt x="1314" y="618"/>
                  </a:lnTo>
                  <a:lnTo>
                    <a:pt x="1314" y="624"/>
                  </a:lnTo>
                  <a:lnTo>
                    <a:pt x="1308" y="624"/>
                  </a:lnTo>
                  <a:lnTo>
                    <a:pt x="1302" y="630"/>
                  </a:lnTo>
                  <a:lnTo>
                    <a:pt x="1302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296" y="654"/>
                  </a:lnTo>
                  <a:lnTo>
                    <a:pt x="1302" y="660"/>
                  </a:lnTo>
                  <a:lnTo>
                    <a:pt x="1302" y="666"/>
                  </a:lnTo>
                  <a:lnTo>
                    <a:pt x="1308" y="666"/>
                  </a:lnTo>
                  <a:lnTo>
                    <a:pt x="1308" y="672"/>
                  </a:lnTo>
                  <a:lnTo>
                    <a:pt x="1308" y="678"/>
                  </a:lnTo>
                  <a:lnTo>
                    <a:pt x="1308" y="684"/>
                  </a:lnTo>
                  <a:lnTo>
                    <a:pt x="1308" y="690"/>
                  </a:lnTo>
                  <a:lnTo>
                    <a:pt x="1302" y="696"/>
                  </a:lnTo>
                  <a:lnTo>
                    <a:pt x="1302" y="702"/>
                  </a:lnTo>
                  <a:lnTo>
                    <a:pt x="1308" y="702"/>
                  </a:lnTo>
                  <a:lnTo>
                    <a:pt x="1302" y="708"/>
                  </a:lnTo>
                  <a:lnTo>
                    <a:pt x="1308" y="714"/>
                  </a:lnTo>
                  <a:lnTo>
                    <a:pt x="1308" y="720"/>
                  </a:lnTo>
                  <a:lnTo>
                    <a:pt x="1308" y="726"/>
                  </a:lnTo>
                  <a:lnTo>
                    <a:pt x="1308" y="732"/>
                  </a:lnTo>
                  <a:lnTo>
                    <a:pt x="1314" y="732"/>
                  </a:lnTo>
                  <a:lnTo>
                    <a:pt x="1314" y="738"/>
                  </a:lnTo>
                  <a:lnTo>
                    <a:pt x="1320" y="744"/>
                  </a:lnTo>
                  <a:lnTo>
                    <a:pt x="1326" y="750"/>
                  </a:lnTo>
                  <a:lnTo>
                    <a:pt x="1320" y="750"/>
                  </a:lnTo>
                  <a:lnTo>
                    <a:pt x="1320" y="756"/>
                  </a:lnTo>
                  <a:lnTo>
                    <a:pt x="1314" y="756"/>
                  </a:lnTo>
                  <a:lnTo>
                    <a:pt x="1314" y="762"/>
                  </a:lnTo>
                  <a:lnTo>
                    <a:pt x="1314" y="768"/>
                  </a:lnTo>
                  <a:lnTo>
                    <a:pt x="1320" y="768"/>
                  </a:lnTo>
                  <a:lnTo>
                    <a:pt x="1320" y="762"/>
                  </a:lnTo>
                  <a:lnTo>
                    <a:pt x="1320" y="768"/>
                  </a:lnTo>
                  <a:lnTo>
                    <a:pt x="1326" y="774"/>
                  </a:lnTo>
                  <a:lnTo>
                    <a:pt x="1332" y="774"/>
                  </a:lnTo>
                  <a:lnTo>
                    <a:pt x="1332" y="780"/>
                  </a:lnTo>
                  <a:lnTo>
                    <a:pt x="1332" y="786"/>
                  </a:lnTo>
                  <a:lnTo>
                    <a:pt x="1332" y="792"/>
                  </a:lnTo>
                  <a:lnTo>
                    <a:pt x="1338" y="786"/>
                  </a:lnTo>
                  <a:lnTo>
                    <a:pt x="1338" y="792"/>
                  </a:lnTo>
                  <a:lnTo>
                    <a:pt x="1344" y="798"/>
                  </a:lnTo>
                  <a:lnTo>
                    <a:pt x="1344" y="804"/>
                  </a:lnTo>
                  <a:lnTo>
                    <a:pt x="1344" y="810"/>
                  </a:lnTo>
                  <a:lnTo>
                    <a:pt x="1344" y="816"/>
                  </a:lnTo>
                  <a:lnTo>
                    <a:pt x="1344" y="822"/>
                  </a:lnTo>
                  <a:lnTo>
                    <a:pt x="1338" y="828"/>
                  </a:lnTo>
                  <a:lnTo>
                    <a:pt x="1332" y="828"/>
                  </a:lnTo>
                  <a:lnTo>
                    <a:pt x="1338" y="840"/>
                  </a:lnTo>
                  <a:lnTo>
                    <a:pt x="1344" y="846"/>
                  </a:lnTo>
                  <a:lnTo>
                    <a:pt x="1344" y="852"/>
                  </a:lnTo>
                  <a:lnTo>
                    <a:pt x="1350" y="852"/>
                  </a:lnTo>
                  <a:lnTo>
                    <a:pt x="1356" y="858"/>
                  </a:lnTo>
                  <a:lnTo>
                    <a:pt x="1362" y="858"/>
                  </a:lnTo>
                  <a:lnTo>
                    <a:pt x="1362" y="870"/>
                  </a:lnTo>
                  <a:lnTo>
                    <a:pt x="1356" y="870"/>
                  </a:lnTo>
                  <a:lnTo>
                    <a:pt x="1356" y="876"/>
                  </a:lnTo>
                  <a:lnTo>
                    <a:pt x="1350" y="876"/>
                  </a:lnTo>
                  <a:lnTo>
                    <a:pt x="1344" y="876"/>
                  </a:lnTo>
                  <a:lnTo>
                    <a:pt x="1344" y="882"/>
                  </a:lnTo>
                  <a:lnTo>
                    <a:pt x="1338" y="882"/>
                  </a:lnTo>
                  <a:lnTo>
                    <a:pt x="1338" y="888"/>
                  </a:lnTo>
                  <a:lnTo>
                    <a:pt x="1338" y="894"/>
                  </a:lnTo>
                  <a:lnTo>
                    <a:pt x="1344" y="900"/>
                  </a:lnTo>
                  <a:lnTo>
                    <a:pt x="1344" y="906"/>
                  </a:lnTo>
                  <a:lnTo>
                    <a:pt x="1338" y="906"/>
                  </a:lnTo>
                  <a:lnTo>
                    <a:pt x="1332" y="912"/>
                  </a:lnTo>
                  <a:lnTo>
                    <a:pt x="1332" y="918"/>
                  </a:lnTo>
                  <a:lnTo>
                    <a:pt x="1326" y="918"/>
                  </a:lnTo>
                  <a:lnTo>
                    <a:pt x="1332" y="924"/>
                  </a:lnTo>
                  <a:lnTo>
                    <a:pt x="1284" y="942"/>
                  </a:lnTo>
                  <a:lnTo>
                    <a:pt x="1236" y="948"/>
                  </a:lnTo>
                  <a:lnTo>
                    <a:pt x="1194" y="966"/>
                  </a:lnTo>
                  <a:lnTo>
                    <a:pt x="1170" y="1002"/>
                  </a:lnTo>
                  <a:lnTo>
                    <a:pt x="1134" y="1020"/>
                  </a:lnTo>
                  <a:lnTo>
                    <a:pt x="1116" y="1032"/>
                  </a:lnTo>
                  <a:lnTo>
                    <a:pt x="1098" y="1050"/>
                  </a:lnTo>
                  <a:lnTo>
                    <a:pt x="1074" y="1074"/>
                  </a:lnTo>
                  <a:lnTo>
                    <a:pt x="1008" y="1134"/>
                  </a:lnTo>
                  <a:lnTo>
                    <a:pt x="990" y="1158"/>
                  </a:lnTo>
                  <a:lnTo>
                    <a:pt x="978" y="1182"/>
                  </a:lnTo>
                  <a:lnTo>
                    <a:pt x="960" y="1194"/>
                  </a:lnTo>
                  <a:lnTo>
                    <a:pt x="942" y="1212"/>
                  </a:lnTo>
                  <a:lnTo>
                    <a:pt x="912" y="1242"/>
                  </a:lnTo>
                  <a:lnTo>
                    <a:pt x="888" y="1254"/>
                  </a:lnTo>
                  <a:lnTo>
                    <a:pt x="864" y="1278"/>
                  </a:lnTo>
                  <a:lnTo>
                    <a:pt x="828" y="1296"/>
                  </a:lnTo>
                  <a:lnTo>
                    <a:pt x="774" y="1308"/>
                  </a:lnTo>
                  <a:lnTo>
                    <a:pt x="732" y="1302"/>
                  </a:lnTo>
                  <a:lnTo>
                    <a:pt x="702" y="1284"/>
                  </a:lnTo>
                  <a:lnTo>
                    <a:pt x="684" y="12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1" name="Freeform 16">
              <a:extLst>
                <a:ext uri="{FF2B5EF4-FFF2-40B4-BE49-F238E27FC236}">
                  <a16:creationId xmlns:a16="http://schemas.microsoft.com/office/drawing/2014/main" id="{D8D8591A-D9DB-4301-BEBD-D8F5A26DA9E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3001" y="2929369"/>
              <a:ext cx="914601" cy="1037736"/>
            </a:xfrm>
            <a:custGeom>
              <a:avLst/>
              <a:gdLst>
                <a:gd name="T0" fmla="*/ 144 w 1722"/>
                <a:gd name="T1" fmla="*/ 131 h 1956"/>
                <a:gd name="T2" fmla="*/ 142 w 1722"/>
                <a:gd name="T3" fmla="*/ 139 h 1956"/>
                <a:gd name="T4" fmla="*/ 137 w 1722"/>
                <a:gd name="T5" fmla="*/ 143 h 1956"/>
                <a:gd name="T6" fmla="*/ 133 w 1722"/>
                <a:gd name="T7" fmla="*/ 147 h 1956"/>
                <a:gd name="T8" fmla="*/ 132 w 1722"/>
                <a:gd name="T9" fmla="*/ 152 h 1956"/>
                <a:gd name="T10" fmla="*/ 130 w 1722"/>
                <a:gd name="T11" fmla="*/ 159 h 1956"/>
                <a:gd name="T12" fmla="*/ 127 w 1722"/>
                <a:gd name="T13" fmla="*/ 164 h 1956"/>
                <a:gd name="T14" fmla="*/ 123 w 1722"/>
                <a:gd name="T15" fmla="*/ 168 h 1956"/>
                <a:gd name="T16" fmla="*/ 117 w 1722"/>
                <a:gd name="T17" fmla="*/ 169 h 1956"/>
                <a:gd name="T18" fmla="*/ 110 w 1722"/>
                <a:gd name="T19" fmla="*/ 168 h 1956"/>
                <a:gd name="T20" fmla="*/ 104 w 1722"/>
                <a:gd name="T21" fmla="*/ 166 h 1956"/>
                <a:gd name="T22" fmla="*/ 101 w 1722"/>
                <a:gd name="T23" fmla="*/ 159 h 1956"/>
                <a:gd name="T24" fmla="*/ 95 w 1722"/>
                <a:gd name="T25" fmla="*/ 156 h 1956"/>
                <a:gd name="T26" fmla="*/ 89 w 1722"/>
                <a:gd name="T27" fmla="*/ 151 h 1956"/>
                <a:gd name="T28" fmla="*/ 87 w 1722"/>
                <a:gd name="T29" fmla="*/ 144 h 1956"/>
                <a:gd name="T30" fmla="*/ 82 w 1722"/>
                <a:gd name="T31" fmla="*/ 141 h 1956"/>
                <a:gd name="T32" fmla="*/ 76 w 1722"/>
                <a:gd name="T33" fmla="*/ 134 h 1956"/>
                <a:gd name="T34" fmla="*/ 74 w 1722"/>
                <a:gd name="T35" fmla="*/ 143 h 1956"/>
                <a:gd name="T36" fmla="*/ 68 w 1722"/>
                <a:gd name="T37" fmla="*/ 147 h 1956"/>
                <a:gd name="T38" fmla="*/ 54 w 1722"/>
                <a:gd name="T39" fmla="*/ 144 h 1956"/>
                <a:gd name="T40" fmla="*/ 51 w 1722"/>
                <a:gd name="T41" fmla="*/ 142 h 1956"/>
                <a:gd name="T42" fmla="*/ 42 w 1722"/>
                <a:gd name="T43" fmla="*/ 151 h 1956"/>
                <a:gd name="T44" fmla="*/ 33 w 1722"/>
                <a:gd name="T45" fmla="*/ 154 h 1956"/>
                <a:gd name="T46" fmla="*/ 31 w 1722"/>
                <a:gd name="T47" fmla="*/ 159 h 1956"/>
                <a:gd name="T48" fmla="*/ 29 w 1722"/>
                <a:gd name="T49" fmla="*/ 166 h 1956"/>
                <a:gd name="T50" fmla="*/ 25 w 1722"/>
                <a:gd name="T51" fmla="*/ 169 h 1956"/>
                <a:gd name="T52" fmla="*/ 27 w 1722"/>
                <a:gd name="T53" fmla="*/ 154 h 1956"/>
                <a:gd name="T54" fmla="*/ 37 w 1722"/>
                <a:gd name="T55" fmla="*/ 133 h 1956"/>
                <a:gd name="T56" fmla="*/ 36 w 1722"/>
                <a:gd name="T57" fmla="*/ 109 h 1956"/>
                <a:gd name="T58" fmla="*/ 27 w 1722"/>
                <a:gd name="T59" fmla="*/ 101 h 1956"/>
                <a:gd name="T60" fmla="*/ 5 w 1722"/>
                <a:gd name="T61" fmla="*/ 98 h 1956"/>
                <a:gd name="T62" fmla="*/ 2 w 1722"/>
                <a:gd name="T63" fmla="*/ 93 h 1956"/>
                <a:gd name="T64" fmla="*/ 12 w 1722"/>
                <a:gd name="T65" fmla="*/ 82 h 1956"/>
                <a:gd name="T66" fmla="*/ 9 w 1722"/>
                <a:gd name="T67" fmla="*/ 74 h 1956"/>
                <a:gd name="T68" fmla="*/ 23 w 1722"/>
                <a:gd name="T69" fmla="*/ 72 h 1956"/>
                <a:gd name="T70" fmla="*/ 22 w 1722"/>
                <a:gd name="T71" fmla="*/ 67 h 1956"/>
                <a:gd name="T72" fmla="*/ 48 w 1722"/>
                <a:gd name="T73" fmla="*/ 57 h 1956"/>
                <a:gd name="T74" fmla="*/ 78 w 1722"/>
                <a:gd name="T75" fmla="*/ 34 h 1956"/>
                <a:gd name="T76" fmla="*/ 81 w 1722"/>
                <a:gd name="T77" fmla="*/ 31 h 1956"/>
                <a:gd name="T78" fmla="*/ 80 w 1722"/>
                <a:gd name="T79" fmla="*/ 26 h 1956"/>
                <a:gd name="T80" fmla="*/ 78 w 1722"/>
                <a:gd name="T81" fmla="*/ 21 h 1956"/>
                <a:gd name="T82" fmla="*/ 77 w 1722"/>
                <a:gd name="T83" fmla="*/ 18 h 1956"/>
                <a:gd name="T84" fmla="*/ 77 w 1722"/>
                <a:gd name="T85" fmla="*/ 12 h 1956"/>
                <a:gd name="T86" fmla="*/ 77 w 1722"/>
                <a:gd name="T87" fmla="*/ 7 h 1956"/>
                <a:gd name="T88" fmla="*/ 102 w 1722"/>
                <a:gd name="T89" fmla="*/ 2 h 1956"/>
                <a:gd name="T90" fmla="*/ 115 w 1722"/>
                <a:gd name="T91" fmla="*/ 3 h 1956"/>
                <a:gd name="T92" fmla="*/ 123 w 1722"/>
                <a:gd name="T93" fmla="*/ 3 h 1956"/>
                <a:gd name="T94" fmla="*/ 125 w 1722"/>
                <a:gd name="T95" fmla="*/ 9 h 1956"/>
                <a:gd name="T96" fmla="*/ 133 w 1722"/>
                <a:gd name="T97" fmla="*/ 13 h 1956"/>
                <a:gd name="T98" fmla="*/ 149 w 1722"/>
                <a:gd name="T99" fmla="*/ 37 h 1956"/>
                <a:gd name="T100" fmla="*/ 141 w 1722"/>
                <a:gd name="T101" fmla="*/ 57 h 1956"/>
                <a:gd name="T102" fmla="*/ 135 w 1722"/>
                <a:gd name="T103" fmla="*/ 63 h 1956"/>
                <a:gd name="T104" fmla="*/ 124 w 1722"/>
                <a:gd name="T105" fmla="*/ 77 h 1956"/>
                <a:gd name="T106" fmla="*/ 123 w 1722"/>
                <a:gd name="T107" fmla="*/ 96 h 1956"/>
                <a:gd name="T108" fmla="*/ 127 w 1722"/>
                <a:gd name="T109" fmla="*/ 97 h 1956"/>
                <a:gd name="T110" fmla="*/ 129 w 1722"/>
                <a:gd name="T111" fmla="*/ 92 h 1956"/>
                <a:gd name="T112" fmla="*/ 134 w 1722"/>
                <a:gd name="T113" fmla="*/ 94 h 1956"/>
                <a:gd name="T114" fmla="*/ 138 w 1722"/>
                <a:gd name="T115" fmla="*/ 99 h 1956"/>
                <a:gd name="T116" fmla="*/ 142 w 1722"/>
                <a:gd name="T117" fmla="*/ 104 h 1956"/>
                <a:gd name="T118" fmla="*/ 141 w 1722"/>
                <a:gd name="T119" fmla="*/ 115 h 19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722"/>
                <a:gd name="T181" fmla="*/ 0 h 1956"/>
                <a:gd name="T182" fmla="*/ 1722 w 1722"/>
                <a:gd name="T183" fmla="*/ 1956 h 19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722" h="1956">
                  <a:moveTo>
                    <a:pt x="1686" y="1404"/>
                  </a:moveTo>
                  <a:lnTo>
                    <a:pt x="1680" y="1416"/>
                  </a:lnTo>
                  <a:lnTo>
                    <a:pt x="1674" y="1422"/>
                  </a:lnTo>
                  <a:lnTo>
                    <a:pt x="1674" y="1428"/>
                  </a:lnTo>
                  <a:lnTo>
                    <a:pt x="1668" y="1428"/>
                  </a:lnTo>
                  <a:lnTo>
                    <a:pt x="1668" y="1434"/>
                  </a:lnTo>
                  <a:lnTo>
                    <a:pt x="1662" y="1446"/>
                  </a:lnTo>
                  <a:lnTo>
                    <a:pt x="1656" y="1464"/>
                  </a:lnTo>
                  <a:lnTo>
                    <a:pt x="1656" y="1476"/>
                  </a:lnTo>
                  <a:lnTo>
                    <a:pt x="1656" y="1488"/>
                  </a:lnTo>
                  <a:lnTo>
                    <a:pt x="1662" y="1500"/>
                  </a:lnTo>
                  <a:lnTo>
                    <a:pt x="1662" y="1506"/>
                  </a:lnTo>
                  <a:lnTo>
                    <a:pt x="1662" y="1524"/>
                  </a:lnTo>
                  <a:lnTo>
                    <a:pt x="1668" y="1542"/>
                  </a:lnTo>
                  <a:lnTo>
                    <a:pt x="1674" y="1560"/>
                  </a:lnTo>
                  <a:lnTo>
                    <a:pt x="1680" y="1578"/>
                  </a:lnTo>
                  <a:lnTo>
                    <a:pt x="1686" y="1578"/>
                  </a:lnTo>
                  <a:lnTo>
                    <a:pt x="1686" y="1584"/>
                  </a:lnTo>
                  <a:lnTo>
                    <a:pt x="1686" y="1590"/>
                  </a:lnTo>
                  <a:lnTo>
                    <a:pt x="1686" y="1596"/>
                  </a:lnTo>
                  <a:lnTo>
                    <a:pt x="1680" y="1596"/>
                  </a:lnTo>
                  <a:lnTo>
                    <a:pt x="1674" y="1602"/>
                  </a:lnTo>
                  <a:lnTo>
                    <a:pt x="1662" y="1602"/>
                  </a:lnTo>
                  <a:lnTo>
                    <a:pt x="1638" y="1596"/>
                  </a:lnTo>
                  <a:lnTo>
                    <a:pt x="1632" y="1596"/>
                  </a:lnTo>
                  <a:lnTo>
                    <a:pt x="1626" y="1602"/>
                  </a:lnTo>
                  <a:lnTo>
                    <a:pt x="1620" y="1602"/>
                  </a:lnTo>
                  <a:lnTo>
                    <a:pt x="1614" y="1602"/>
                  </a:lnTo>
                  <a:lnTo>
                    <a:pt x="1602" y="1602"/>
                  </a:lnTo>
                  <a:lnTo>
                    <a:pt x="1602" y="1608"/>
                  </a:lnTo>
                  <a:lnTo>
                    <a:pt x="1602" y="1620"/>
                  </a:lnTo>
                  <a:lnTo>
                    <a:pt x="1596" y="1620"/>
                  </a:lnTo>
                  <a:lnTo>
                    <a:pt x="1590" y="1620"/>
                  </a:lnTo>
                  <a:lnTo>
                    <a:pt x="1584" y="1626"/>
                  </a:lnTo>
                  <a:lnTo>
                    <a:pt x="1584" y="1632"/>
                  </a:lnTo>
                  <a:lnTo>
                    <a:pt x="1578" y="1644"/>
                  </a:lnTo>
                  <a:lnTo>
                    <a:pt x="1572" y="1644"/>
                  </a:lnTo>
                  <a:lnTo>
                    <a:pt x="1566" y="1644"/>
                  </a:lnTo>
                  <a:lnTo>
                    <a:pt x="1566" y="1650"/>
                  </a:lnTo>
                  <a:lnTo>
                    <a:pt x="1560" y="1650"/>
                  </a:lnTo>
                  <a:lnTo>
                    <a:pt x="1554" y="1650"/>
                  </a:lnTo>
                  <a:lnTo>
                    <a:pt x="1548" y="1650"/>
                  </a:lnTo>
                  <a:lnTo>
                    <a:pt x="1548" y="1656"/>
                  </a:lnTo>
                  <a:lnTo>
                    <a:pt x="1542" y="1668"/>
                  </a:lnTo>
                  <a:lnTo>
                    <a:pt x="1542" y="1674"/>
                  </a:lnTo>
                  <a:lnTo>
                    <a:pt x="1542" y="1692"/>
                  </a:lnTo>
                  <a:lnTo>
                    <a:pt x="1536" y="1698"/>
                  </a:lnTo>
                  <a:lnTo>
                    <a:pt x="1530" y="1698"/>
                  </a:lnTo>
                  <a:lnTo>
                    <a:pt x="1524" y="1698"/>
                  </a:lnTo>
                  <a:lnTo>
                    <a:pt x="1518" y="1704"/>
                  </a:lnTo>
                  <a:lnTo>
                    <a:pt x="1512" y="1710"/>
                  </a:lnTo>
                  <a:lnTo>
                    <a:pt x="1506" y="1722"/>
                  </a:lnTo>
                  <a:lnTo>
                    <a:pt x="1500" y="1728"/>
                  </a:lnTo>
                  <a:lnTo>
                    <a:pt x="1500" y="1734"/>
                  </a:lnTo>
                  <a:lnTo>
                    <a:pt x="1512" y="1734"/>
                  </a:lnTo>
                  <a:lnTo>
                    <a:pt x="1518" y="1740"/>
                  </a:lnTo>
                  <a:lnTo>
                    <a:pt x="1518" y="1746"/>
                  </a:lnTo>
                  <a:lnTo>
                    <a:pt x="1518" y="1752"/>
                  </a:lnTo>
                  <a:lnTo>
                    <a:pt x="1518" y="1758"/>
                  </a:lnTo>
                  <a:lnTo>
                    <a:pt x="1524" y="1758"/>
                  </a:lnTo>
                  <a:lnTo>
                    <a:pt x="1524" y="1764"/>
                  </a:lnTo>
                  <a:lnTo>
                    <a:pt x="1530" y="1770"/>
                  </a:lnTo>
                  <a:lnTo>
                    <a:pt x="1518" y="1770"/>
                  </a:lnTo>
                  <a:lnTo>
                    <a:pt x="1512" y="1782"/>
                  </a:lnTo>
                  <a:lnTo>
                    <a:pt x="1512" y="1788"/>
                  </a:lnTo>
                  <a:lnTo>
                    <a:pt x="1518" y="1788"/>
                  </a:lnTo>
                  <a:lnTo>
                    <a:pt x="1524" y="1800"/>
                  </a:lnTo>
                  <a:lnTo>
                    <a:pt x="1524" y="1806"/>
                  </a:lnTo>
                  <a:lnTo>
                    <a:pt x="1518" y="1812"/>
                  </a:lnTo>
                  <a:lnTo>
                    <a:pt x="1512" y="1818"/>
                  </a:lnTo>
                  <a:lnTo>
                    <a:pt x="1506" y="1818"/>
                  </a:lnTo>
                  <a:lnTo>
                    <a:pt x="1500" y="1824"/>
                  </a:lnTo>
                  <a:lnTo>
                    <a:pt x="1500" y="1836"/>
                  </a:lnTo>
                  <a:lnTo>
                    <a:pt x="1500" y="1842"/>
                  </a:lnTo>
                  <a:lnTo>
                    <a:pt x="1500" y="1848"/>
                  </a:lnTo>
                  <a:lnTo>
                    <a:pt x="1500" y="1854"/>
                  </a:lnTo>
                  <a:lnTo>
                    <a:pt x="1494" y="1860"/>
                  </a:lnTo>
                  <a:lnTo>
                    <a:pt x="1488" y="1860"/>
                  </a:lnTo>
                  <a:lnTo>
                    <a:pt x="1488" y="1866"/>
                  </a:lnTo>
                  <a:lnTo>
                    <a:pt x="1482" y="1872"/>
                  </a:lnTo>
                  <a:lnTo>
                    <a:pt x="1482" y="1878"/>
                  </a:lnTo>
                  <a:lnTo>
                    <a:pt x="1482" y="1884"/>
                  </a:lnTo>
                  <a:lnTo>
                    <a:pt x="1476" y="1890"/>
                  </a:lnTo>
                  <a:lnTo>
                    <a:pt x="1470" y="1890"/>
                  </a:lnTo>
                  <a:lnTo>
                    <a:pt x="1470" y="1896"/>
                  </a:lnTo>
                  <a:lnTo>
                    <a:pt x="1464" y="1896"/>
                  </a:lnTo>
                  <a:lnTo>
                    <a:pt x="1458" y="1896"/>
                  </a:lnTo>
                  <a:lnTo>
                    <a:pt x="1452" y="1896"/>
                  </a:lnTo>
                  <a:lnTo>
                    <a:pt x="1440" y="1890"/>
                  </a:lnTo>
                  <a:lnTo>
                    <a:pt x="1434" y="1896"/>
                  </a:lnTo>
                  <a:lnTo>
                    <a:pt x="1428" y="1896"/>
                  </a:lnTo>
                  <a:lnTo>
                    <a:pt x="1422" y="1896"/>
                  </a:lnTo>
                  <a:lnTo>
                    <a:pt x="1422" y="1902"/>
                  </a:lnTo>
                  <a:lnTo>
                    <a:pt x="1416" y="1902"/>
                  </a:lnTo>
                  <a:lnTo>
                    <a:pt x="1422" y="1914"/>
                  </a:lnTo>
                  <a:lnTo>
                    <a:pt x="1422" y="1932"/>
                  </a:lnTo>
                  <a:lnTo>
                    <a:pt x="1416" y="1938"/>
                  </a:lnTo>
                  <a:lnTo>
                    <a:pt x="1422" y="1938"/>
                  </a:lnTo>
                  <a:lnTo>
                    <a:pt x="1404" y="1938"/>
                  </a:lnTo>
                  <a:lnTo>
                    <a:pt x="1392" y="1944"/>
                  </a:lnTo>
                  <a:lnTo>
                    <a:pt x="1386" y="1944"/>
                  </a:lnTo>
                  <a:lnTo>
                    <a:pt x="1374" y="1944"/>
                  </a:lnTo>
                  <a:lnTo>
                    <a:pt x="1368" y="1950"/>
                  </a:lnTo>
                  <a:lnTo>
                    <a:pt x="1374" y="1956"/>
                  </a:lnTo>
                  <a:lnTo>
                    <a:pt x="1368" y="1956"/>
                  </a:lnTo>
                  <a:lnTo>
                    <a:pt x="1356" y="1956"/>
                  </a:lnTo>
                  <a:lnTo>
                    <a:pt x="1350" y="1956"/>
                  </a:lnTo>
                  <a:lnTo>
                    <a:pt x="1350" y="1950"/>
                  </a:lnTo>
                  <a:lnTo>
                    <a:pt x="1344" y="1944"/>
                  </a:lnTo>
                  <a:lnTo>
                    <a:pt x="1332" y="1938"/>
                  </a:lnTo>
                  <a:lnTo>
                    <a:pt x="1326" y="1938"/>
                  </a:lnTo>
                  <a:lnTo>
                    <a:pt x="1320" y="1938"/>
                  </a:lnTo>
                  <a:lnTo>
                    <a:pt x="1314" y="1944"/>
                  </a:lnTo>
                  <a:lnTo>
                    <a:pt x="1308" y="1944"/>
                  </a:lnTo>
                  <a:lnTo>
                    <a:pt x="1302" y="1944"/>
                  </a:lnTo>
                  <a:lnTo>
                    <a:pt x="1296" y="1938"/>
                  </a:lnTo>
                  <a:lnTo>
                    <a:pt x="1284" y="1938"/>
                  </a:lnTo>
                  <a:lnTo>
                    <a:pt x="1278" y="1938"/>
                  </a:lnTo>
                  <a:lnTo>
                    <a:pt x="1272" y="1938"/>
                  </a:lnTo>
                  <a:lnTo>
                    <a:pt x="1266" y="1932"/>
                  </a:lnTo>
                  <a:lnTo>
                    <a:pt x="1260" y="1932"/>
                  </a:lnTo>
                  <a:lnTo>
                    <a:pt x="1254" y="1920"/>
                  </a:lnTo>
                  <a:lnTo>
                    <a:pt x="1248" y="1920"/>
                  </a:lnTo>
                  <a:lnTo>
                    <a:pt x="1242" y="1920"/>
                  </a:lnTo>
                  <a:lnTo>
                    <a:pt x="1236" y="1926"/>
                  </a:lnTo>
                  <a:lnTo>
                    <a:pt x="1236" y="1932"/>
                  </a:lnTo>
                  <a:lnTo>
                    <a:pt x="1230" y="1932"/>
                  </a:lnTo>
                  <a:lnTo>
                    <a:pt x="1224" y="1932"/>
                  </a:lnTo>
                  <a:lnTo>
                    <a:pt x="1218" y="1938"/>
                  </a:lnTo>
                  <a:lnTo>
                    <a:pt x="1212" y="1932"/>
                  </a:lnTo>
                  <a:lnTo>
                    <a:pt x="1206" y="1926"/>
                  </a:lnTo>
                  <a:lnTo>
                    <a:pt x="1206" y="1908"/>
                  </a:lnTo>
                  <a:lnTo>
                    <a:pt x="1206" y="1884"/>
                  </a:lnTo>
                  <a:lnTo>
                    <a:pt x="1206" y="1866"/>
                  </a:lnTo>
                  <a:lnTo>
                    <a:pt x="1212" y="1848"/>
                  </a:lnTo>
                  <a:lnTo>
                    <a:pt x="1212" y="1842"/>
                  </a:lnTo>
                  <a:lnTo>
                    <a:pt x="1206" y="1836"/>
                  </a:lnTo>
                  <a:lnTo>
                    <a:pt x="1200" y="1830"/>
                  </a:lnTo>
                  <a:lnTo>
                    <a:pt x="1194" y="1824"/>
                  </a:lnTo>
                  <a:lnTo>
                    <a:pt x="1188" y="1824"/>
                  </a:lnTo>
                  <a:lnTo>
                    <a:pt x="1182" y="1824"/>
                  </a:lnTo>
                  <a:lnTo>
                    <a:pt x="1176" y="1824"/>
                  </a:lnTo>
                  <a:lnTo>
                    <a:pt x="1170" y="1818"/>
                  </a:lnTo>
                  <a:lnTo>
                    <a:pt x="1164" y="1830"/>
                  </a:lnTo>
                  <a:lnTo>
                    <a:pt x="1152" y="1836"/>
                  </a:lnTo>
                  <a:lnTo>
                    <a:pt x="1146" y="1842"/>
                  </a:lnTo>
                  <a:lnTo>
                    <a:pt x="1140" y="1842"/>
                  </a:lnTo>
                  <a:lnTo>
                    <a:pt x="1134" y="1842"/>
                  </a:lnTo>
                  <a:lnTo>
                    <a:pt x="1128" y="1842"/>
                  </a:lnTo>
                  <a:lnTo>
                    <a:pt x="1116" y="1836"/>
                  </a:lnTo>
                  <a:lnTo>
                    <a:pt x="1110" y="1842"/>
                  </a:lnTo>
                  <a:lnTo>
                    <a:pt x="1092" y="1830"/>
                  </a:lnTo>
                  <a:lnTo>
                    <a:pt x="1092" y="1824"/>
                  </a:lnTo>
                  <a:lnTo>
                    <a:pt x="1092" y="1806"/>
                  </a:lnTo>
                  <a:lnTo>
                    <a:pt x="1092" y="1800"/>
                  </a:lnTo>
                  <a:lnTo>
                    <a:pt x="1092" y="1794"/>
                  </a:lnTo>
                  <a:lnTo>
                    <a:pt x="1086" y="1788"/>
                  </a:lnTo>
                  <a:lnTo>
                    <a:pt x="1080" y="1794"/>
                  </a:lnTo>
                  <a:lnTo>
                    <a:pt x="1074" y="1788"/>
                  </a:lnTo>
                  <a:lnTo>
                    <a:pt x="1068" y="1770"/>
                  </a:lnTo>
                  <a:lnTo>
                    <a:pt x="1056" y="1764"/>
                  </a:lnTo>
                  <a:lnTo>
                    <a:pt x="1050" y="1764"/>
                  </a:lnTo>
                  <a:lnTo>
                    <a:pt x="1044" y="1764"/>
                  </a:lnTo>
                  <a:lnTo>
                    <a:pt x="1038" y="1758"/>
                  </a:lnTo>
                  <a:lnTo>
                    <a:pt x="1032" y="1752"/>
                  </a:lnTo>
                  <a:lnTo>
                    <a:pt x="1032" y="1746"/>
                  </a:lnTo>
                  <a:lnTo>
                    <a:pt x="1032" y="1740"/>
                  </a:lnTo>
                  <a:lnTo>
                    <a:pt x="1032" y="1734"/>
                  </a:lnTo>
                  <a:lnTo>
                    <a:pt x="1026" y="1734"/>
                  </a:lnTo>
                  <a:lnTo>
                    <a:pt x="1032" y="1728"/>
                  </a:lnTo>
                  <a:lnTo>
                    <a:pt x="1032" y="1722"/>
                  </a:lnTo>
                  <a:lnTo>
                    <a:pt x="1044" y="1686"/>
                  </a:lnTo>
                  <a:lnTo>
                    <a:pt x="1044" y="1680"/>
                  </a:lnTo>
                  <a:lnTo>
                    <a:pt x="1032" y="1674"/>
                  </a:lnTo>
                  <a:lnTo>
                    <a:pt x="1026" y="1674"/>
                  </a:lnTo>
                  <a:lnTo>
                    <a:pt x="1026" y="1668"/>
                  </a:lnTo>
                  <a:lnTo>
                    <a:pt x="1020" y="1662"/>
                  </a:lnTo>
                  <a:lnTo>
                    <a:pt x="1014" y="1668"/>
                  </a:lnTo>
                  <a:lnTo>
                    <a:pt x="1008" y="1662"/>
                  </a:lnTo>
                  <a:lnTo>
                    <a:pt x="1002" y="1662"/>
                  </a:lnTo>
                  <a:lnTo>
                    <a:pt x="1002" y="1668"/>
                  </a:lnTo>
                  <a:lnTo>
                    <a:pt x="996" y="1668"/>
                  </a:lnTo>
                  <a:lnTo>
                    <a:pt x="996" y="1662"/>
                  </a:lnTo>
                  <a:lnTo>
                    <a:pt x="984" y="1662"/>
                  </a:lnTo>
                  <a:lnTo>
                    <a:pt x="984" y="1656"/>
                  </a:lnTo>
                  <a:lnTo>
                    <a:pt x="978" y="1650"/>
                  </a:lnTo>
                  <a:lnTo>
                    <a:pt x="978" y="1644"/>
                  </a:lnTo>
                  <a:lnTo>
                    <a:pt x="966" y="1650"/>
                  </a:lnTo>
                  <a:lnTo>
                    <a:pt x="960" y="1638"/>
                  </a:lnTo>
                  <a:lnTo>
                    <a:pt x="954" y="1632"/>
                  </a:lnTo>
                  <a:lnTo>
                    <a:pt x="948" y="1632"/>
                  </a:lnTo>
                  <a:lnTo>
                    <a:pt x="942" y="1626"/>
                  </a:lnTo>
                  <a:lnTo>
                    <a:pt x="942" y="1614"/>
                  </a:lnTo>
                  <a:lnTo>
                    <a:pt x="930" y="1608"/>
                  </a:lnTo>
                  <a:lnTo>
                    <a:pt x="924" y="1614"/>
                  </a:lnTo>
                  <a:lnTo>
                    <a:pt x="912" y="1608"/>
                  </a:lnTo>
                  <a:lnTo>
                    <a:pt x="888" y="1590"/>
                  </a:lnTo>
                  <a:lnTo>
                    <a:pt x="894" y="1578"/>
                  </a:lnTo>
                  <a:lnTo>
                    <a:pt x="894" y="1572"/>
                  </a:lnTo>
                  <a:lnTo>
                    <a:pt x="894" y="1566"/>
                  </a:lnTo>
                  <a:lnTo>
                    <a:pt x="894" y="1548"/>
                  </a:lnTo>
                  <a:lnTo>
                    <a:pt x="888" y="1548"/>
                  </a:lnTo>
                  <a:lnTo>
                    <a:pt x="882" y="1542"/>
                  </a:lnTo>
                  <a:lnTo>
                    <a:pt x="876" y="1542"/>
                  </a:lnTo>
                  <a:lnTo>
                    <a:pt x="876" y="1536"/>
                  </a:lnTo>
                  <a:lnTo>
                    <a:pt x="870" y="1542"/>
                  </a:lnTo>
                  <a:lnTo>
                    <a:pt x="870" y="1554"/>
                  </a:lnTo>
                  <a:lnTo>
                    <a:pt x="870" y="1566"/>
                  </a:lnTo>
                  <a:lnTo>
                    <a:pt x="870" y="1578"/>
                  </a:lnTo>
                  <a:lnTo>
                    <a:pt x="870" y="1584"/>
                  </a:lnTo>
                  <a:lnTo>
                    <a:pt x="864" y="1584"/>
                  </a:lnTo>
                  <a:lnTo>
                    <a:pt x="870" y="1602"/>
                  </a:lnTo>
                  <a:lnTo>
                    <a:pt x="864" y="1608"/>
                  </a:lnTo>
                  <a:lnTo>
                    <a:pt x="870" y="1614"/>
                  </a:lnTo>
                  <a:lnTo>
                    <a:pt x="864" y="1644"/>
                  </a:lnTo>
                  <a:lnTo>
                    <a:pt x="858" y="1650"/>
                  </a:lnTo>
                  <a:lnTo>
                    <a:pt x="858" y="1656"/>
                  </a:lnTo>
                  <a:lnTo>
                    <a:pt x="852" y="1662"/>
                  </a:lnTo>
                  <a:lnTo>
                    <a:pt x="852" y="1680"/>
                  </a:lnTo>
                  <a:lnTo>
                    <a:pt x="846" y="1686"/>
                  </a:lnTo>
                  <a:lnTo>
                    <a:pt x="834" y="1692"/>
                  </a:lnTo>
                  <a:lnTo>
                    <a:pt x="828" y="1692"/>
                  </a:lnTo>
                  <a:lnTo>
                    <a:pt x="822" y="1698"/>
                  </a:lnTo>
                  <a:lnTo>
                    <a:pt x="822" y="1704"/>
                  </a:lnTo>
                  <a:lnTo>
                    <a:pt x="816" y="1704"/>
                  </a:lnTo>
                  <a:lnTo>
                    <a:pt x="804" y="1692"/>
                  </a:lnTo>
                  <a:lnTo>
                    <a:pt x="786" y="1698"/>
                  </a:lnTo>
                  <a:lnTo>
                    <a:pt x="780" y="1698"/>
                  </a:lnTo>
                  <a:lnTo>
                    <a:pt x="756" y="1698"/>
                  </a:lnTo>
                  <a:lnTo>
                    <a:pt x="744" y="1698"/>
                  </a:lnTo>
                  <a:lnTo>
                    <a:pt x="738" y="1698"/>
                  </a:lnTo>
                  <a:lnTo>
                    <a:pt x="732" y="1704"/>
                  </a:lnTo>
                  <a:lnTo>
                    <a:pt x="726" y="1704"/>
                  </a:lnTo>
                  <a:lnTo>
                    <a:pt x="678" y="1710"/>
                  </a:lnTo>
                  <a:lnTo>
                    <a:pt x="642" y="1710"/>
                  </a:lnTo>
                  <a:lnTo>
                    <a:pt x="618" y="1680"/>
                  </a:lnTo>
                  <a:lnTo>
                    <a:pt x="618" y="1674"/>
                  </a:lnTo>
                  <a:lnTo>
                    <a:pt x="618" y="1668"/>
                  </a:lnTo>
                  <a:lnTo>
                    <a:pt x="624" y="1662"/>
                  </a:lnTo>
                  <a:lnTo>
                    <a:pt x="624" y="1656"/>
                  </a:lnTo>
                  <a:lnTo>
                    <a:pt x="624" y="1650"/>
                  </a:lnTo>
                  <a:lnTo>
                    <a:pt x="618" y="1650"/>
                  </a:lnTo>
                  <a:lnTo>
                    <a:pt x="618" y="1644"/>
                  </a:lnTo>
                  <a:lnTo>
                    <a:pt x="618" y="1638"/>
                  </a:lnTo>
                  <a:lnTo>
                    <a:pt x="618" y="1632"/>
                  </a:lnTo>
                  <a:lnTo>
                    <a:pt x="618" y="1626"/>
                  </a:lnTo>
                  <a:lnTo>
                    <a:pt x="612" y="1626"/>
                  </a:lnTo>
                  <a:lnTo>
                    <a:pt x="612" y="1620"/>
                  </a:lnTo>
                  <a:lnTo>
                    <a:pt x="606" y="1614"/>
                  </a:lnTo>
                  <a:lnTo>
                    <a:pt x="594" y="1626"/>
                  </a:lnTo>
                  <a:lnTo>
                    <a:pt x="594" y="1632"/>
                  </a:lnTo>
                  <a:lnTo>
                    <a:pt x="588" y="1638"/>
                  </a:lnTo>
                  <a:lnTo>
                    <a:pt x="582" y="1638"/>
                  </a:lnTo>
                  <a:lnTo>
                    <a:pt x="564" y="1656"/>
                  </a:lnTo>
                  <a:lnTo>
                    <a:pt x="558" y="1662"/>
                  </a:lnTo>
                  <a:lnTo>
                    <a:pt x="552" y="1662"/>
                  </a:lnTo>
                  <a:lnTo>
                    <a:pt x="540" y="1674"/>
                  </a:lnTo>
                  <a:lnTo>
                    <a:pt x="534" y="1680"/>
                  </a:lnTo>
                  <a:lnTo>
                    <a:pt x="522" y="1692"/>
                  </a:lnTo>
                  <a:lnTo>
                    <a:pt x="516" y="1704"/>
                  </a:lnTo>
                  <a:lnTo>
                    <a:pt x="510" y="1704"/>
                  </a:lnTo>
                  <a:lnTo>
                    <a:pt x="504" y="1704"/>
                  </a:lnTo>
                  <a:lnTo>
                    <a:pt x="486" y="1722"/>
                  </a:lnTo>
                  <a:lnTo>
                    <a:pt x="480" y="1740"/>
                  </a:lnTo>
                  <a:lnTo>
                    <a:pt x="474" y="1740"/>
                  </a:lnTo>
                  <a:lnTo>
                    <a:pt x="468" y="1746"/>
                  </a:lnTo>
                  <a:lnTo>
                    <a:pt x="456" y="1758"/>
                  </a:lnTo>
                  <a:lnTo>
                    <a:pt x="444" y="1770"/>
                  </a:lnTo>
                  <a:lnTo>
                    <a:pt x="438" y="1782"/>
                  </a:lnTo>
                  <a:lnTo>
                    <a:pt x="426" y="1788"/>
                  </a:lnTo>
                  <a:lnTo>
                    <a:pt x="420" y="1788"/>
                  </a:lnTo>
                  <a:lnTo>
                    <a:pt x="420" y="1782"/>
                  </a:lnTo>
                  <a:lnTo>
                    <a:pt x="414" y="1782"/>
                  </a:lnTo>
                  <a:lnTo>
                    <a:pt x="390" y="1782"/>
                  </a:lnTo>
                  <a:lnTo>
                    <a:pt x="390" y="1776"/>
                  </a:lnTo>
                  <a:lnTo>
                    <a:pt x="384" y="1776"/>
                  </a:lnTo>
                  <a:lnTo>
                    <a:pt x="378" y="1776"/>
                  </a:lnTo>
                  <a:lnTo>
                    <a:pt x="372" y="1776"/>
                  </a:lnTo>
                  <a:lnTo>
                    <a:pt x="366" y="1770"/>
                  </a:lnTo>
                  <a:lnTo>
                    <a:pt x="366" y="1776"/>
                  </a:lnTo>
                  <a:lnTo>
                    <a:pt x="360" y="1788"/>
                  </a:lnTo>
                  <a:lnTo>
                    <a:pt x="360" y="1794"/>
                  </a:lnTo>
                  <a:lnTo>
                    <a:pt x="360" y="1800"/>
                  </a:lnTo>
                  <a:lnTo>
                    <a:pt x="354" y="1806"/>
                  </a:lnTo>
                  <a:lnTo>
                    <a:pt x="354" y="1812"/>
                  </a:lnTo>
                  <a:lnTo>
                    <a:pt x="354" y="1824"/>
                  </a:lnTo>
                  <a:lnTo>
                    <a:pt x="348" y="1830"/>
                  </a:lnTo>
                  <a:lnTo>
                    <a:pt x="354" y="1836"/>
                  </a:lnTo>
                  <a:lnTo>
                    <a:pt x="348" y="1842"/>
                  </a:lnTo>
                  <a:lnTo>
                    <a:pt x="354" y="1848"/>
                  </a:lnTo>
                  <a:lnTo>
                    <a:pt x="348" y="1854"/>
                  </a:lnTo>
                  <a:lnTo>
                    <a:pt x="354" y="1854"/>
                  </a:lnTo>
                  <a:lnTo>
                    <a:pt x="348" y="1860"/>
                  </a:lnTo>
                  <a:lnTo>
                    <a:pt x="348" y="1866"/>
                  </a:lnTo>
                  <a:lnTo>
                    <a:pt x="342" y="1866"/>
                  </a:lnTo>
                  <a:lnTo>
                    <a:pt x="342" y="1872"/>
                  </a:lnTo>
                  <a:lnTo>
                    <a:pt x="342" y="1878"/>
                  </a:lnTo>
                  <a:lnTo>
                    <a:pt x="342" y="1884"/>
                  </a:lnTo>
                  <a:lnTo>
                    <a:pt x="336" y="1896"/>
                  </a:lnTo>
                  <a:lnTo>
                    <a:pt x="330" y="1914"/>
                  </a:lnTo>
                  <a:lnTo>
                    <a:pt x="324" y="1920"/>
                  </a:lnTo>
                  <a:lnTo>
                    <a:pt x="324" y="1926"/>
                  </a:lnTo>
                  <a:lnTo>
                    <a:pt x="318" y="1944"/>
                  </a:lnTo>
                  <a:lnTo>
                    <a:pt x="318" y="1950"/>
                  </a:lnTo>
                  <a:lnTo>
                    <a:pt x="312" y="1956"/>
                  </a:lnTo>
                  <a:lnTo>
                    <a:pt x="312" y="1950"/>
                  </a:lnTo>
                  <a:lnTo>
                    <a:pt x="306" y="1950"/>
                  </a:lnTo>
                  <a:lnTo>
                    <a:pt x="306" y="1956"/>
                  </a:lnTo>
                  <a:lnTo>
                    <a:pt x="300" y="1950"/>
                  </a:lnTo>
                  <a:lnTo>
                    <a:pt x="294" y="1956"/>
                  </a:lnTo>
                  <a:lnTo>
                    <a:pt x="288" y="1950"/>
                  </a:lnTo>
                  <a:lnTo>
                    <a:pt x="288" y="1944"/>
                  </a:lnTo>
                  <a:lnTo>
                    <a:pt x="282" y="1938"/>
                  </a:lnTo>
                  <a:lnTo>
                    <a:pt x="282" y="1932"/>
                  </a:lnTo>
                  <a:lnTo>
                    <a:pt x="282" y="1890"/>
                  </a:lnTo>
                  <a:lnTo>
                    <a:pt x="288" y="1860"/>
                  </a:lnTo>
                  <a:lnTo>
                    <a:pt x="294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300" y="1818"/>
                  </a:lnTo>
                  <a:lnTo>
                    <a:pt x="306" y="1794"/>
                  </a:lnTo>
                  <a:lnTo>
                    <a:pt x="306" y="1788"/>
                  </a:lnTo>
                  <a:lnTo>
                    <a:pt x="306" y="1782"/>
                  </a:lnTo>
                  <a:lnTo>
                    <a:pt x="312" y="1776"/>
                  </a:lnTo>
                  <a:lnTo>
                    <a:pt x="306" y="1776"/>
                  </a:lnTo>
                  <a:lnTo>
                    <a:pt x="312" y="1770"/>
                  </a:lnTo>
                  <a:lnTo>
                    <a:pt x="312" y="1740"/>
                  </a:lnTo>
                  <a:lnTo>
                    <a:pt x="318" y="1722"/>
                  </a:lnTo>
                  <a:lnTo>
                    <a:pt x="312" y="1722"/>
                  </a:lnTo>
                  <a:lnTo>
                    <a:pt x="300" y="1716"/>
                  </a:lnTo>
                  <a:lnTo>
                    <a:pt x="306" y="1716"/>
                  </a:lnTo>
                  <a:lnTo>
                    <a:pt x="312" y="1710"/>
                  </a:lnTo>
                  <a:lnTo>
                    <a:pt x="324" y="1674"/>
                  </a:lnTo>
                  <a:lnTo>
                    <a:pt x="366" y="1590"/>
                  </a:lnTo>
                  <a:lnTo>
                    <a:pt x="408" y="1548"/>
                  </a:lnTo>
                  <a:lnTo>
                    <a:pt x="426" y="1530"/>
                  </a:lnTo>
                  <a:lnTo>
                    <a:pt x="432" y="1500"/>
                  </a:lnTo>
                  <a:lnTo>
                    <a:pt x="426" y="1494"/>
                  </a:lnTo>
                  <a:lnTo>
                    <a:pt x="426" y="1482"/>
                  </a:lnTo>
                  <a:lnTo>
                    <a:pt x="432" y="1464"/>
                  </a:lnTo>
                  <a:lnTo>
                    <a:pt x="438" y="1428"/>
                  </a:lnTo>
                  <a:lnTo>
                    <a:pt x="462" y="1398"/>
                  </a:lnTo>
                  <a:lnTo>
                    <a:pt x="468" y="1362"/>
                  </a:lnTo>
                  <a:lnTo>
                    <a:pt x="462" y="1314"/>
                  </a:lnTo>
                  <a:lnTo>
                    <a:pt x="444" y="1284"/>
                  </a:lnTo>
                  <a:lnTo>
                    <a:pt x="432" y="1260"/>
                  </a:lnTo>
                  <a:lnTo>
                    <a:pt x="426" y="1260"/>
                  </a:lnTo>
                  <a:lnTo>
                    <a:pt x="420" y="1254"/>
                  </a:lnTo>
                  <a:lnTo>
                    <a:pt x="408" y="1260"/>
                  </a:lnTo>
                  <a:lnTo>
                    <a:pt x="402" y="1260"/>
                  </a:lnTo>
                  <a:lnTo>
                    <a:pt x="402" y="1254"/>
                  </a:lnTo>
                  <a:lnTo>
                    <a:pt x="396" y="1254"/>
                  </a:lnTo>
                  <a:lnTo>
                    <a:pt x="396" y="1248"/>
                  </a:lnTo>
                  <a:lnTo>
                    <a:pt x="384" y="1248"/>
                  </a:lnTo>
                  <a:lnTo>
                    <a:pt x="372" y="1230"/>
                  </a:lnTo>
                  <a:lnTo>
                    <a:pt x="360" y="1212"/>
                  </a:lnTo>
                  <a:lnTo>
                    <a:pt x="348" y="1188"/>
                  </a:lnTo>
                  <a:lnTo>
                    <a:pt x="324" y="1170"/>
                  </a:lnTo>
                  <a:lnTo>
                    <a:pt x="318" y="1170"/>
                  </a:lnTo>
                  <a:lnTo>
                    <a:pt x="312" y="1158"/>
                  </a:lnTo>
                  <a:lnTo>
                    <a:pt x="312" y="1152"/>
                  </a:lnTo>
                  <a:lnTo>
                    <a:pt x="306" y="1146"/>
                  </a:lnTo>
                  <a:lnTo>
                    <a:pt x="270" y="1122"/>
                  </a:lnTo>
                  <a:lnTo>
                    <a:pt x="240" y="1122"/>
                  </a:lnTo>
                  <a:lnTo>
                    <a:pt x="180" y="1116"/>
                  </a:lnTo>
                  <a:lnTo>
                    <a:pt x="174" y="1122"/>
                  </a:lnTo>
                  <a:lnTo>
                    <a:pt x="174" y="1128"/>
                  </a:lnTo>
                  <a:lnTo>
                    <a:pt x="168" y="1122"/>
                  </a:lnTo>
                  <a:lnTo>
                    <a:pt x="162" y="1116"/>
                  </a:lnTo>
                  <a:lnTo>
                    <a:pt x="144" y="1122"/>
                  </a:lnTo>
                  <a:lnTo>
                    <a:pt x="120" y="1122"/>
                  </a:lnTo>
                  <a:lnTo>
                    <a:pt x="54" y="1134"/>
                  </a:lnTo>
                  <a:lnTo>
                    <a:pt x="24" y="1152"/>
                  </a:lnTo>
                  <a:lnTo>
                    <a:pt x="6" y="1146"/>
                  </a:lnTo>
                  <a:lnTo>
                    <a:pt x="0" y="1134"/>
                  </a:lnTo>
                  <a:lnTo>
                    <a:pt x="0" y="1128"/>
                  </a:lnTo>
                  <a:lnTo>
                    <a:pt x="18" y="1110"/>
                  </a:lnTo>
                  <a:lnTo>
                    <a:pt x="24" y="1104"/>
                  </a:lnTo>
                  <a:lnTo>
                    <a:pt x="24" y="1098"/>
                  </a:lnTo>
                  <a:lnTo>
                    <a:pt x="30" y="1086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24" y="1074"/>
                  </a:lnTo>
                  <a:lnTo>
                    <a:pt x="18" y="1068"/>
                  </a:lnTo>
                  <a:lnTo>
                    <a:pt x="24" y="1062"/>
                  </a:lnTo>
                  <a:lnTo>
                    <a:pt x="42" y="1056"/>
                  </a:lnTo>
                  <a:lnTo>
                    <a:pt x="54" y="1050"/>
                  </a:lnTo>
                  <a:lnTo>
                    <a:pt x="72" y="1044"/>
                  </a:lnTo>
                  <a:lnTo>
                    <a:pt x="96" y="1032"/>
                  </a:lnTo>
                  <a:lnTo>
                    <a:pt x="102" y="1032"/>
                  </a:lnTo>
                  <a:lnTo>
                    <a:pt x="126" y="1008"/>
                  </a:lnTo>
                  <a:lnTo>
                    <a:pt x="144" y="990"/>
                  </a:lnTo>
                  <a:lnTo>
                    <a:pt x="156" y="978"/>
                  </a:lnTo>
                  <a:lnTo>
                    <a:pt x="156" y="966"/>
                  </a:lnTo>
                  <a:lnTo>
                    <a:pt x="150" y="960"/>
                  </a:lnTo>
                  <a:lnTo>
                    <a:pt x="144" y="948"/>
                  </a:lnTo>
                  <a:lnTo>
                    <a:pt x="144" y="936"/>
                  </a:lnTo>
                  <a:lnTo>
                    <a:pt x="138" y="918"/>
                  </a:lnTo>
                  <a:lnTo>
                    <a:pt x="150" y="912"/>
                  </a:lnTo>
                  <a:lnTo>
                    <a:pt x="150" y="894"/>
                  </a:lnTo>
                  <a:lnTo>
                    <a:pt x="132" y="876"/>
                  </a:lnTo>
                  <a:lnTo>
                    <a:pt x="126" y="876"/>
                  </a:lnTo>
                  <a:lnTo>
                    <a:pt x="120" y="870"/>
                  </a:lnTo>
                  <a:lnTo>
                    <a:pt x="120" y="864"/>
                  </a:lnTo>
                  <a:lnTo>
                    <a:pt x="114" y="864"/>
                  </a:lnTo>
                  <a:lnTo>
                    <a:pt x="108" y="864"/>
                  </a:lnTo>
                  <a:lnTo>
                    <a:pt x="108" y="858"/>
                  </a:lnTo>
                  <a:lnTo>
                    <a:pt x="102" y="852"/>
                  </a:lnTo>
                  <a:lnTo>
                    <a:pt x="96" y="852"/>
                  </a:lnTo>
                  <a:lnTo>
                    <a:pt x="102" y="834"/>
                  </a:lnTo>
                  <a:lnTo>
                    <a:pt x="108" y="816"/>
                  </a:lnTo>
                  <a:lnTo>
                    <a:pt x="114" y="804"/>
                  </a:lnTo>
                  <a:lnTo>
                    <a:pt x="132" y="798"/>
                  </a:lnTo>
                  <a:lnTo>
                    <a:pt x="144" y="798"/>
                  </a:lnTo>
                  <a:lnTo>
                    <a:pt x="180" y="810"/>
                  </a:lnTo>
                  <a:lnTo>
                    <a:pt x="192" y="816"/>
                  </a:lnTo>
                  <a:lnTo>
                    <a:pt x="234" y="822"/>
                  </a:lnTo>
                  <a:lnTo>
                    <a:pt x="264" y="828"/>
                  </a:lnTo>
                  <a:lnTo>
                    <a:pt x="270" y="840"/>
                  </a:lnTo>
                  <a:lnTo>
                    <a:pt x="270" y="834"/>
                  </a:lnTo>
                  <a:lnTo>
                    <a:pt x="270" y="828"/>
                  </a:lnTo>
                  <a:lnTo>
                    <a:pt x="270" y="822"/>
                  </a:lnTo>
                  <a:lnTo>
                    <a:pt x="270" y="816"/>
                  </a:lnTo>
                  <a:lnTo>
                    <a:pt x="264" y="810"/>
                  </a:lnTo>
                  <a:lnTo>
                    <a:pt x="264" y="804"/>
                  </a:lnTo>
                  <a:lnTo>
                    <a:pt x="264" y="798"/>
                  </a:lnTo>
                  <a:lnTo>
                    <a:pt x="258" y="792"/>
                  </a:lnTo>
                  <a:lnTo>
                    <a:pt x="258" y="786"/>
                  </a:lnTo>
                  <a:lnTo>
                    <a:pt x="264" y="786"/>
                  </a:lnTo>
                  <a:lnTo>
                    <a:pt x="264" y="780"/>
                  </a:lnTo>
                  <a:lnTo>
                    <a:pt x="258" y="774"/>
                  </a:lnTo>
                  <a:lnTo>
                    <a:pt x="258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82" y="762"/>
                  </a:lnTo>
                  <a:lnTo>
                    <a:pt x="312" y="780"/>
                  </a:lnTo>
                  <a:lnTo>
                    <a:pt x="354" y="786"/>
                  </a:lnTo>
                  <a:lnTo>
                    <a:pt x="408" y="774"/>
                  </a:lnTo>
                  <a:lnTo>
                    <a:pt x="444" y="756"/>
                  </a:lnTo>
                  <a:lnTo>
                    <a:pt x="468" y="732"/>
                  </a:lnTo>
                  <a:lnTo>
                    <a:pt x="492" y="720"/>
                  </a:lnTo>
                  <a:lnTo>
                    <a:pt x="522" y="690"/>
                  </a:lnTo>
                  <a:lnTo>
                    <a:pt x="540" y="672"/>
                  </a:lnTo>
                  <a:lnTo>
                    <a:pt x="558" y="660"/>
                  </a:lnTo>
                  <a:lnTo>
                    <a:pt x="570" y="636"/>
                  </a:lnTo>
                  <a:lnTo>
                    <a:pt x="588" y="612"/>
                  </a:lnTo>
                  <a:lnTo>
                    <a:pt x="654" y="552"/>
                  </a:lnTo>
                  <a:lnTo>
                    <a:pt x="678" y="528"/>
                  </a:lnTo>
                  <a:lnTo>
                    <a:pt x="696" y="510"/>
                  </a:lnTo>
                  <a:lnTo>
                    <a:pt x="714" y="498"/>
                  </a:lnTo>
                  <a:lnTo>
                    <a:pt x="750" y="480"/>
                  </a:lnTo>
                  <a:lnTo>
                    <a:pt x="774" y="444"/>
                  </a:lnTo>
                  <a:lnTo>
                    <a:pt x="816" y="426"/>
                  </a:lnTo>
                  <a:lnTo>
                    <a:pt x="864" y="420"/>
                  </a:lnTo>
                  <a:lnTo>
                    <a:pt x="912" y="402"/>
                  </a:lnTo>
                  <a:lnTo>
                    <a:pt x="906" y="396"/>
                  </a:lnTo>
                  <a:lnTo>
                    <a:pt x="912" y="396"/>
                  </a:lnTo>
                  <a:lnTo>
                    <a:pt x="912" y="390"/>
                  </a:lnTo>
                  <a:lnTo>
                    <a:pt x="918" y="384"/>
                  </a:lnTo>
                  <a:lnTo>
                    <a:pt x="924" y="384"/>
                  </a:lnTo>
                  <a:lnTo>
                    <a:pt x="924" y="378"/>
                  </a:lnTo>
                  <a:lnTo>
                    <a:pt x="918" y="372"/>
                  </a:lnTo>
                  <a:lnTo>
                    <a:pt x="918" y="366"/>
                  </a:lnTo>
                  <a:lnTo>
                    <a:pt x="918" y="360"/>
                  </a:lnTo>
                  <a:lnTo>
                    <a:pt x="924" y="360"/>
                  </a:lnTo>
                  <a:lnTo>
                    <a:pt x="924" y="354"/>
                  </a:lnTo>
                  <a:lnTo>
                    <a:pt x="930" y="354"/>
                  </a:lnTo>
                  <a:lnTo>
                    <a:pt x="936" y="354"/>
                  </a:lnTo>
                  <a:lnTo>
                    <a:pt x="936" y="348"/>
                  </a:lnTo>
                  <a:lnTo>
                    <a:pt x="942" y="348"/>
                  </a:lnTo>
                  <a:lnTo>
                    <a:pt x="942" y="336"/>
                  </a:lnTo>
                  <a:lnTo>
                    <a:pt x="936" y="336"/>
                  </a:lnTo>
                  <a:lnTo>
                    <a:pt x="930" y="330"/>
                  </a:lnTo>
                  <a:lnTo>
                    <a:pt x="924" y="330"/>
                  </a:lnTo>
                  <a:lnTo>
                    <a:pt x="924" y="324"/>
                  </a:lnTo>
                  <a:lnTo>
                    <a:pt x="918" y="318"/>
                  </a:lnTo>
                  <a:lnTo>
                    <a:pt x="912" y="306"/>
                  </a:lnTo>
                  <a:lnTo>
                    <a:pt x="918" y="306"/>
                  </a:lnTo>
                  <a:lnTo>
                    <a:pt x="924" y="300"/>
                  </a:lnTo>
                  <a:lnTo>
                    <a:pt x="924" y="294"/>
                  </a:lnTo>
                  <a:lnTo>
                    <a:pt x="924" y="288"/>
                  </a:lnTo>
                  <a:lnTo>
                    <a:pt x="924" y="282"/>
                  </a:lnTo>
                  <a:lnTo>
                    <a:pt x="924" y="276"/>
                  </a:lnTo>
                  <a:lnTo>
                    <a:pt x="918" y="270"/>
                  </a:lnTo>
                  <a:lnTo>
                    <a:pt x="918" y="264"/>
                  </a:lnTo>
                  <a:lnTo>
                    <a:pt x="912" y="270"/>
                  </a:lnTo>
                  <a:lnTo>
                    <a:pt x="912" y="264"/>
                  </a:lnTo>
                  <a:lnTo>
                    <a:pt x="912" y="258"/>
                  </a:lnTo>
                  <a:lnTo>
                    <a:pt x="912" y="252"/>
                  </a:lnTo>
                  <a:lnTo>
                    <a:pt x="906" y="252"/>
                  </a:lnTo>
                  <a:lnTo>
                    <a:pt x="900" y="246"/>
                  </a:lnTo>
                  <a:lnTo>
                    <a:pt x="900" y="240"/>
                  </a:lnTo>
                  <a:lnTo>
                    <a:pt x="900" y="246"/>
                  </a:lnTo>
                  <a:lnTo>
                    <a:pt x="894" y="246"/>
                  </a:lnTo>
                  <a:lnTo>
                    <a:pt x="894" y="240"/>
                  </a:lnTo>
                  <a:lnTo>
                    <a:pt x="894" y="234"/>
                  </a:lnTo>
                  <a:lnTo>
                    <a:pt x="900" y="234"/>
                  </a:lnTo>
                  <a:lnTo>
                    <a:pt x="900" y="228"/>
                  </a:lnTo>
                  <a:lnTo>
                    <a:pt x="906" y="228"/>
                  </a:lnTo>
                  <a:lnTo>
                    <a:pt x="900" y="222"/>
                  </a:lnTo>
                  <a:lnTo>
                    <a:pt x="894" y="216"/>
                  </a:lnTo>
                  <a:lnTo>
                    <a:pt x="894" y="210"/>
                  </a:lnTo>
                  <a:lnTo>
                    <a:pt x="888" y="210"/>
                  </a:lnTo>
                  <a:lnTo>
                    <a:pt x="888" y="204"/>
                  </a:lnTo>
                  <a:lnTo>
                    <a:pt x="888" y="198"/>
                  </a:lnTo>
                  <a:lnTo>
                    <a:pt x="888" y="192"/>
                  </a:lnTo>
                  <a:lnTo>
                    <a:pt x="882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82" y="174"/>
                  </a:lnTo>
                  <a:lnTo>
                    <a:pt x="888" y="168"/>
                  </a:lnTo>
                  <a:lnTo>
                    <a:pt x="888" y="162"/>
                  </a:lnTo>
                  <a:lnTo>
                    <a:pt x="888" y="156"/>
                  </a:lnTo>
                  <a:lnTo>
                    <a:pt x="888" y="150"/>
                  </a:lnTo>
                  <a:lnTo>
                    <a:pt x="888" y="144"/>
                  </a:lnTo>
                  <a:lnTo>
                    <a:pt x="882" y="144"/>
                  </a:lnTo>
                  <a:lnTo>
                    <a:pt x="882" y="138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76" y="120"/>
                  </a:lnTo>
                  <a:lnTo>
                    <a:pt x="882" y="114"/>
                  </a:lnTo>
                  <a:lnTo>
                    <a:pt x="882" y="108"/>
                  </a:lnTo>
                  <a:lnTo>
                    <a:pt x="888" y="102"/>
                  </a:lnTo>
                  <a:lnTo>
                    <a:pt x="894" y="102"/>
                  </a:lnTo>
                  <a:lnTo>
                    <a:pt x="894" y="96"/>
                  </a:lnTo>
                  <a:lnTo>
                    <a:pt x="888" y="96"/>
                  </a:lnTo>
                  <a:lnTo>
                    <a:pt x="894" y="90"/>
                  </a:lnTo>
                  <a:lnTo>
                    <a:pt x="888" y="84"/>
                  </a:lnTo>
                  <a:lnTo>
                    <a:pt x="888" y="78"/>
                  </a:lnTo>
                  <a:lnTo>
                    <a:pt x="924" y="66"/>
                  </a:lnTo>
                  <a:lnTo>
                    <a:pt x="966" y="66"/>
                  </a:lnTo>
                  <a:lnTo>
                    <a:pt x="996" y="48"/>
                  </a:lnTo>
                  <a:lnTo>
                    <a:pt x="1056" y="12"/>
                  </a:lnTo>
                  <a:lnTo>
                    <a:pt x="1128" y="0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0" y="18"/>
                  </a:lnTo>
                  <a:lnTo>
                    <a:pt x="1176" y="24"/>
                  </a:lnTo>
                  <a:lnTo>
                    <a:pt x="1182" y="24"/>
                  </a:lnTo>
                  <a:lnTo>
                    <a:pt x="1188" y="30"/>
                  </a:lnTo>
                  <a:lnTo>
                    <a:pt x="1194" y="30"/>
                  </a:lnTo>
                  <a:lnTo>
                    <a:pt x="1194" y="36"/>
                  </a:lnTo>
                  <a:lnTo>
                    <a:pt x="1260" y="30"/>
                  </a:lnTo>
                  <a:lnTo>
                    <a:pt x="1272" y="30"/>
                  </a:lnTo>
                  <a:lnTo>
                    <a:pt x="1296" y="24"/>
                  </a:lnTo>
                  <a:lnTo>
                    <a:pt x="1302" y="30"/>
                  </a:lnTo>
                  <a:lnTo>
                    <a:pt x="1302" y="36"/>
                  </a:lnTo>
                  <a:lnTo>
                    <a:pt x="1308" y="36"/>
                  </a:lnTo>
                  <a:lnTo>
                    <a:pt x="1314" y="36"/>
                  </a:lnTo>
                  <a:lnTo>
                    <a:pt x="1320" y="36"/>
                  </a:lnTo>
                  <a:lnTo>
                    <a:pt x="1326" y="30"/>
                  </a:lnTo>
                  <a:lnTo>
                    <a:pt x="1332" y="30"/>
                  </a:lnTo>
                  <a:lnTo>
                    <a:pt x="1338" y="30"/>
                  </a:lnTo>
                  <a:lnTo>
                    <a:pt x="1344" y="30"/>
                  </a:lnTo>
                  <a:lnTo>
                    <a:pt x="1374" y="30"/>
                  </a:lnTo>
                  <a:lnTo>
                    <a:pt x="1386" y="30"/>
                  </a:lnTo>
                  <a:lnTo>
                    <a:pt x="1392" y="24"/>
                  </a:lnTo>
                  <a:lnTo>
                    <a:pt x="1398" y="12"/>
                  </a:lnTo>
                  <a:lnTo>
                    <a:pt x="1404" y="6"/>
                  </a:lnTo>
                  <a:lnTo>
                    <a:pt x="1410" y="6"/>
                  </a:lnTo>
                  <a:lnTo>
                    <a:pt x="1410" y="12"/>
                  </a:lnTo>
                  <a:lnTo>
                    <a:pt x="1416" y="18"/>
                  </a:lnTo>
                  <a:lnTo>
                    <a:pt x="1416" y="36"/>
                  </a:lnTo>
                  <a:lnTo>
                    <a:pt x="1434" y="54"/>
                  </a:lnTo>
                  <a:lnTo>
                    <a:pt x="1434" y="60"/>
                  </a:lnTo>
                  <a:lnTo>
                    <a:pt x="1434" y="66"/>
                  </a:lnTo>
                  <a:lnTo>
                    <a:pt x="1434" y="72"/>
                  </a:lnTo>
                  <a:lnTo>
                    <a:pt x="1428" y="72"/>
                  </a:lnTo>
                  <a:lnTo>
                    <a:pt x="1428" y="78"/>
                  </a:lnTo>
                  <a:lnTo>
                    <a:pt x="1434" y="78"/>
                  </a:lnTo>
                  <a:lnTo>
                    <a:pt x="1440" y="84"/>
                  </a:lnTo>
                  <a:lnTo>
                    <a:pt x="1440" y="90"/>
                  </a:lnTo>
                  <a:lnTo>
                    <a:pt x="1440" y="96"/>
                  </a:lnTo>
                  <a:lnTo>
                    <a:pt x="1446" y="96"/>
                  </a:lnTo>
                  <a:lnTo>
                    <a:pt x="1446" y="108"/>
                  </a:lnTo>
                  <a:lnTo>
                    <a:pt x="1452" y="108"/>
                  </a:lnTo>
                  <a:lnTo>
                    <a:pt x="1452" y="114"/>
                  </a:lnTo>
                  <a:lnTo>
                    <a:pt x="1458" y="114"/>
                  </a:lnTo>
                  <a:lnTo>
                    <a:pt x="1470" y="120"/>
                  </a:lnTo>
                  <a:lnTo>
                    <a:pt x="1476" y="120"/>
                  </a:lnTo>
                  <a:lnTo>
                    <a:pt x="1476" y="114"/>
                  </a:lnTo>
                  <a:lnTo>
                    <a:pt x="1488" y="120"/>
                  </a:lnTo>
                  <a:lnTo>
                    <a:pt x="1506" y="120"/>
                  </a:lnTo>
                  <a:lnTo>
                    <a:pt x="1512" y="120"/>
                  </a:lnTo>
                  <a:lnTo>
                    <a:pt x="1518" y="120"/>
                  </a:lnTo>
                  <a:lnTo>
                    <a:pt x="1524" y="126"/>
                  </a:lnTo>
                  <a:lnTo>
                    <a:pt x="1536" y="150"/>
                  </a:lnTo>
                  <a:lnTo>
                    <a:pt x="1548" y="162"/>
                  </a:lnTo>
                  <a:lnTo>
                    <a:pt x="1554" y="168"/>
                  </a:lnTo>
                  <a:lnTo>
                    <a:pt x="1584" y="228"/>
                  </a:lnTo>
                  <a:lnTo>
                    <a:pt x="1584" y="234"/>
                  </a:lnTo>
                  <a:lnTo>
                    <a:pt x="1578" y="312"/>
                  </a:lnTo>
                  <a:lnTo>
                    <a:pt x="1590" y="318"/>
                  </a:lnTo>
                  <a:lnTo>
                    <a:pt x="1608" y="330"/>
                  </a:lnTo>
                  <a:lnTo>
                    <a:pt x="1620" y="342"/>
                  </a:lnTo>
                  <a:lnTo>
                    <a:pt x="1626" y="342"/>
                  </a:lnTo>
                  <a:lnTo>
                    <a:pt x="1692" y="360"/>
                  </a:lnTo>
                  <a:lnTo>
                    <a:pt x="1710" y="408"/>
                  </a:lnTo>
                  <a:lnTo>
                    <a:pt x="1722" y="426"/>
                  </a:lnTo>
                  <a:lnTo>
                    <a:pt x="1716" y="468"/>
                  </a:lnTo>
                  <a:lnTo>
                    <a:pt x="1686" y="486"/>
                  </a:lnTo>
                  <a:lnTo>
                    <a:pt x="1686" y="492"/>
                  </a:lnTo>
                  <a:lnTo>
                    <a:pt x="1680" y="498"/>
                  </a:lnTo>
                  <a:lnTo>
                    <a:pt x="1650" y="558"/>
                  </a:lnTo>
                  <a:lnTo>
                    <a:pt x="1650" y="570"/>
                  </a:lnTo>
                  <a:lnTo>
                    <a:pt x="1644" y="570"/>
                  </a:lnTo>
                  <a:lnTo>
                    <a:pt x="1638" y="582"/>
                  </a:lnTo>
                  <a:lnTo>
                    <a:pt x="1638" y="624"/>
                  </a:lnTo>
                  <a:lnTo>
                    <a:pt x="1638" y="636"/>
                  </a:lnTo>
                  <a:lnTo>
                    <a:pt x="1638" y="642"/>
                  </a:lnTo>
                  <a:lnTo>
                    <a:pt x="1632" y="660"/>
                  </a:lnTo>
                  <a:lnTo>
                    <a:pt x="1608" y="678"/>
                  </a:lnTo>
                  <a:lnTo>
                    <a:pt x="1584" y="690"/>
                  </a:lnTo>
                  <a:lnTo>
                    <a:pt x="1584" y="696"/>
                  </a:lnTo>
                  <a:lnTo>
                    <a:pt x="1578" y="702"/>
                  </a:lnTo>
                  <a:lnTo>
                    <a:pt x="1584" y="702"/>
                  </a:lnTo>
                  <a:lnTo>
                    <a:pt x="1578" y="714"/>
                  </a:lnTo>
                  <a:lnTo>
                    <a:pt x="1572" y="714"/>
                  </a:lnTo>
                  <a:lnTo>
                    <a:pt x="1572" y="720"/>
                  </a:lnTo>
                  <a:lnTo>
                    <a:pt x="1566" y="720"/>
                  </a:lnTo>
                  <a:lnTo>
                    <a:pt x="1560" y="726"/>
                  </a:lnTo>
                  <a:lnTo>
                    <a:pt x="1560" y="732"/>
                  </a:lnTo>
                  <a:lnTo>
                    <a:pt x="1554" y="732"/>
                  </a:lnTo>
                  <a:lnTo>
                    <a:pt x="1554" y="738"/>
                  </a:lnTo>
                  <a:lnTo>
                    <a:pt x="1554" y="744"/>
                  </a:lnTo>
                  <a:lnTo>
                    <a:pt x="1548" y="744"/>
                  </a:lnTo>
                  <a:lnTo>
                    <a:pt x="1548" y="738"/>
                  </a:lnTo>
                  <a:lnTo>
                    <a:pt x="1542" y="738"/>
                  </a:lnTo>
                  <a:lnTo>
                    <a:pt x="1542" y="744"/>
                  </a:lnTo>
                  <a:lnTo>
                    <a:pt x="1542" y="750"/>
                  </a:lnTo>
                  <a:lnTo>
                    <a:pt x="1494" y="804"/>
                  </a:lnTo>
                  <a:lnTo>
                    <a:pt x="1446" y="876"/>
                  </a:lnTo>
                  <a:lnTo>
                    <a:pt x="1440" y="876"/>
                  </a:lnTo>
                  <a:lnTo>
                    <a:pt x="1434" y="876"/>
                  </a:lnTo>
                  <a:lnTo>
                    <a:pt x="1428" y="882"/>
                  </a:lnTo>
                  <a:lnTo>
                    <a:pt x="1422" y="882"/>
                  </a:lnTo>
                  <a:lnTo>
                    <a:pt x="1386" y="924"/>
                  </a:lnTo>
                  <a:lnTo>
                    <a:pt x="1362" y="954"/>
                  </a:lnTo>
                  <a:lnTo>
                    <a:pt x="1356" y="984"/>
                  </a:lnTo>
                  <a:lnTo>
                    <a:pt x="1362" y="1002"/>
                  </a:lnTo>
                  <a:lnTo>
                    <a:pt x="1368" y="1020"/>
                  </a:lnTo>
                  <a:lnTo>
                    <a:pt x="1386" y="1056"/>
                  </a:lnTo>
                  <a:lnTo>
                    <a:pt x="1404" y="1074"/>
                  </a:lnTo>
                  <a:lnTo>
                    <a:pt x="1416" y="1080"/>
                  </a:lnTo>
                  <a:lnTo>
                    <a:pt x="1416" y="1086"/>
                  </a:lnTo>
                  <a:lnTo>
                    <a:pt x="1422" y="1098"/>
                  </a:lnTo>
                  <a:lnTo>
                    <a:pt x="1422" y="1110"/>
                  </a:lnTo>
                  <a:lnTo>
                    <a:pt x="1428" y="1116"/>
                  </a:lnTo>
                  <a:lnTo>
                    <a:pt x="1434" y="1116"/>
                  </a:lnTo>
                  <a:lnTo>
                    <a:pt x="1434" y="1122"/>
                  </a:lnTo>
                  <a:lnTo>
                    <a:pt x="1434" y="1128"/>
                  </a:lnTo>
                  <a:lnTo>
                    <a:pt x="1440" y="1134"/>
                  </a:lnTo>
                  <a:lnTo>
                    <a:pt x="1446" y="1134"/>
                  </a:lnTo>
                  <a:lnTo>
                    <a:pt x="1458" y="1134"/>
                  </a:lnTo>
                  <a:lnTo>
                    <a:pt x="1458" y="1140"/>
                  </a:lnTo>
                  <a:lnTo>
                    <a:pt x="1464" y="1134"/>
                  </a:lnTo>
                  <a:lnTo>
                    <a:pt x="1470" y="1134"/>
                  </a:lnTo>
                  <a:lnTo>
                    <a:pt x="1464" y="1128"/>
                  </a:lnTo>
                  <a:lnTo>
                    <a:pt x="1464" y="1122"/>
                  </a:lnTo>
                  <a:lnTo>
                    <a:pt x="1470" y="1116"/>
                  </a:lnTo>
                  <a:lnTo>
                    <a:pt x="1470" y="1122"/>
                  </a:lnTo>
                  <a:lnTo>
                    <a:pt x="1476" y="1122"/>
                  </a:lnTo>
                  <a:lnTo>
                    <a:pt x="1476" y="1116"/>
                  </a:lnTo>
                  <a:lnTo>
                    <a:pt x="1482" y="1110"/>
                  </a:lnTo>
                  <a:lnTo>
                    <a:pt x="1476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82" y="1086"/>
                  </a:lnTo>
                  <a:lnTo>
                    <a:pt x="1482" y="1074"/>
                  </a:lnTo>
                  <a:lnTo>
                    <a:pt x="1488" y="1068"/>
                  </a:lnTo>
                  <a:lnTo>
                    <a:pt x="1488" y="1062"/>
                  </a:lnTo>
                  <a:lnTo>
                    <a:pt x="1494" y="1062"/>
                  </a:lnTo>
                  <a:lnTo>
                    <a:pt x="1500" y="1062"/>
                  </a:lnTo>
                  <a:lnTo>
                    <a:pt x="1506" y="1062"/>
                  </a:lnTo>
                  <a:lnTo>
                    <a:pt x="1506" y="1056"/>
                  </a:lnTo>
                  <a:lnTo>
                    <a:pt x="1506" y="1062"/>
                  </a:lnTo>
                  <a:lnTo>
                    <a:pt x="1518" y="1062"/>
                  </a:lnTo>
                  <a:lnTo>
                    <a:pt x="1524" y="1062"/>
                  </a:lnTo>
                  <a:lnTo>
                    <a:pt x="1530" y="1062"/>
                  </a:lnTo>
                  <a:lnTo>
                    <a:pt x="1536" y="1068"/>
                  </a:lnTo>
                  <a:lnTo>
                    <a:pt x="1536" y="1074"/>
                  </a:lnTo>
                  <a:lnTo>
                    <a:pt x="1542" y="1086"/>
                  </a:lnTo>
                  <a:lnTo>
                    <a:pt x="1548" y="1086"/>
                  </a:lnTo>
                  <a:lnTo>
                    <a:pt x="1554" y="1086"/>
                  </a:lnTo>
                  <a:lnTo>
                    <a:pt x="1566" y="1098"/>
                  </a:lnTo>
                  <a:lnTo>
                    <a:pt x="1572" y="1104"/>
                  </a:lnTo>
                  <a:lnTo>
                    <a:pt x="1566" y="1110"/>
                  </a:lnTo>
                  <a:lnTo>
                    <a:pt x="1572" y="1116"/>
                  </a:lnTo>
                  <a:lnTo>
                    <a:pt x="1578" y="1116"/>
                  </a:lnTo>
                  <a:lnTo>
                    <a:pt x="1578" y="1122"/>
                  </a:lnTo>
                  <a:lnTo>
                    <a:pt x="1584" y="1122"/>
                  </a:lnTo>
                  <a:lnTo>
                    <a:pt x="1584" y="1128"/>
                  </a:lnTo>
                  <a:lnTo>
                    <a:pt x="1584" y="1134"/>
                  </a:lnTo>
                  <a:lnTo>
                    <a:pt x="1590" y="1134"/>
                  </a:lnTo>
                  <a:lnTo>
                    <a:pt x="1596" y="1140"/>
                  </a:lnTo>
                  <a:lnTo>
                    <a:pt x="1602" y="1146"/>
                  </a:lnTo>
                  <a:lnTo>
                    <a:pt x="1608" y="1146"/>
                  </a:lnTo>
                  <a:lnTo>
                    <a:pt x="1614" y="1146"/>
                  </a:lnTo>
                  <a:lnTo>
                    <a:pt x="1614" y="1152"/>
                  </a:lnTo>
                  <a:lnTo>
                    <a:pt x="1620" y="1152"/>
                  </a:lnTo>
                  <a:lnTo>
                    <a:pt x="1626" y="1164"/>
                  </a:lnTo>
                  <a:lnTo>
                    <a:pt x="1632" y="1170"/>
                  </a:lnTo>
                  <a:lnTo>
                    <a:pt x="1638" y="1176"/>
                  </a:lnTo>
                  <a:lnTo>
                    <a:pt x="1638" y="1182"/>
                  </a:lnTo>
                  <a:lnTo>
                    <a:pt x="1644" y="1194"/>
                  </a:lnTo>
                  <a:lnTo>
                    <a:pt x="1644" y="1200"/>
                  </a:lnTo>
                  <a:lnTo>
                    <a:pt x="1638" y="1200"/>
                  </a:lnTo>
                  <a:lnTo>
                    <a:pt x="1638" y="1206"/>
                  </a:lnTo>
                  <a:lnTo>
                    <a:pt x="1638" y="1212"/>
                  </a:lnTo>
                  <a:lnTo>
                    <a:pt x="1638" y="1218"/>
                  </a:lnTo>
                  <a:lnTo>
                    <a:pt x="1632" y="1242"/>
                  </a:lnTo>
                  <a:lnTo>
                    <a:pt x="1632" y="1266"/>
                  </a:lnTo>
                  <a:lnTo>
                    <a:pt x="1638" y="1284"/>
                  </a:lnTo>
                  <a:lnTo>
                    <a:pt x="1638" y="1296"/>
                  </a:lnTo>
                  <a:lnTo>
                    <a:pt x="1632" y="1296"/>
                  </a:lnTo>
                  <a:lnTo>
                    <a:pt x="1632" y="1302"/>
                  </a:lnTo>
                  <a:lnTo>
                    <a:pt x="1638" y="1314"/>
                  </a:lnTo>
                  <a:lnTo>
                    <a:pt x="1638" y="1320"/>
                  </a:lnTo>
                  <a:lnTo>
                    <a:pt x="1632" y="1320"/>
                  </a:lnTo>
                  <a:lnTo>
                    <a:pt x="1632" y="1326"/>
                  </a:lnTo>
                  <a:lnTo>
                    <a:pt x="1644" y="1332"/>
                  </a:lnTo>
                  <a:lnTo>
                    <a:pt x="1644" y="1338"/>
                  </a:lnTo>
                  <a:lnTo>
                    <a:pt x="1650" y="1344"/>
                  </a:lnTo>
                  <a:lnTo>
                    <a:pt x="1668" y="1362"/>
                  </a:lnTo>
                  <a:lnTo>
                    <a:pt x="1668" y="1368"/>
                  </a:lnTo>
                  <a:lnTo>
                    <a:pt x="1674" y="1392"/>
                  </a:lnTo>
                  <a:lnTo>
                    <a:pt x="1686" y="140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2" name="Freeform 17">
              <a:extLst>
                <a:ext uri="{FF2B5EF4-FFF2-40B4-BE49-F238E27FC236}">
                  <a16:creationId xmlns:a16="http://schemas.microsoft.com/office/drawing/2014/main" id="{9F9DF7AF-2203-4CCB-AF1B-32CDAF87CC5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416927"/>
              <a:ext cx="816209" cy="574781"/>
            </a:xfrm>
            <a:custGeom>
              <a:avLst/>
              <a:gdLst>
                <a:gd name="T0" fmla="*/ 115 w 1536"/>
                <a:gd name="T1" fmla="*/ 89 h 1080"/>
                <a:gd name="T2" fmla="*/ 113 w 1536"/>
                <a:gd name="T3" fmla="*/ 92 h 1080"/>
                <a:gd name="T4" fmla="*/ 107 w 1536"/>
                <a:gd name="T5" fmla="*/ 93 h 1080"/>
                <a:gd name="T6" fmla="*/ 108 w 1536"/>
                <a:gd name="T7" fmla="*/ 90 h 1080"/>
                <a:gd name="T8" fmla="*/ 105 w 1536"/>
                <a:gd name="T9" fmla="*/ 87 h 1080"/>
                <a:gd name="T10" fmla="*/ 102 w 1536"/>
                <a:gd name="T11" fmla="*/ 85 h 1080"/>
                <a:gd name="T12" fmla="*/ 89 w 1536"/>
                <a:gd name="T13" fmla="*/ 80 h 1080"/>
                <a:gd name="T14" fmla="*/ 85 w 1536"/>
                <a:gd name="T15" fmla="*/ 82 h 1080"/>
                <a:gd name="T16" fmla="*/ 82 w 1536"/>
                <a:gd name="T17" fmla="*/ 80 h 1080"/>
                <a:gd name="T18" fmla="*/ 80 w 1536"/>
                <a:gd name="T19" fmla="*/ 75 h 1080"/>
                <a:gd name="T20" fmla="*/ 75 w 1536"/>
                <a:gd name="T21" fmla="*/ 72 h 1080"/>
                <a:gd name="T22" fmla="*/ 61 w 1536"/>
                <a:gd name="T23" fmla="*/ 70 h 1080"/>
                <a:gd name="T24" fmla="*/ 62 w 1536"/>
                <a:gd name="T25" fmla="*/ 72 h 1080"/>
                <a:gd name="T26" fmla="*/ 58 w 1536"/>
                <a:gd name="T27" fmla="*/ 75 h 1080"/>
                <a:gd name="T28" fmla="*/ 49 w 1536"/>
                <a:gd name="T29" fmla="*/ 76 h 1080"/>
                <a:gd name="T30" fmla="*/ 41 w 1536"/>
                <a:gd name="T31" fmla="*/ 79 h 1080"/>
                <a:gd name="T32" fmla="*/ 41 w 1536"/>
                <a:gd name="T33" fmla="*/ 77 h 1080"/>
                <a:gd name="T34" fmla="*/ 39 w 1536"/>
                <a:gd name="T35" fmla="*/ 74 h 1080"/>
                <a:gd name="T36" fmla="*/ 28 w 1536"/>
                <a:gd name="T37" fmla="*/ 78 h 1080"/>
                <a:gd name="T38" fmla="*/ 18 w 1536"/>
                <a:gd name="T39" fmla="*/ 85 h 1080"/>
                <a:gd name="T40" fmla="*/ 18 w 1536"/>
                <a:gd name="T41" fmla="*/ 77 h 1080"/>
                <a:gd name="T42" fmla="*/ 19 w 1536"/>
                <a:gd name="T43" fmla="*/ 69 h 1080"/>
                <a:gd name="T44" fmla="*/ 16 w 1536"/>
                <a:gd name="T45" fmla="*/ 69 h 1080"/>
                <a:gd name="T46" fmla="*/ 11 w 1536"/>
                <a:gd name="T47" fmla="*/ 69 h 1080"/>
                <a:gd name="T48" fmla="*/ 5 w 1536"/>
                <a:gd name="T49" fmla="*/ 68 h 1080"/>
                <a:gd name="T50" fmla="*/ 1 w 1536"/>
                <a:gd name="T51" fmla="*/ 63 h 1080"/>
                <a:gd name="T52" fmla="*/ 3 w 1536"/>
                <a:gd name="T53" fmla="*/ 59 h 1080"/>
                <a:gd name="T54" fmla="*/ 9 w 1536"/>
                <a:gd name="T55" fmla="*/ 54 h 1080"/>
                <a:gd name="T56" fmla="*/ 15 w 1536"/>
                <a:gd name="T57" fmla="*/ 47 h 1080"/>
                <a:gd name="T58" fmla="*/ 17 w 1536"/>
                <a:gd name="T59" fmla="*/ 40 h 1080"/>
                <a:gd name="T60" fmla="*/ 12 w 1536"/>
                <a:gd name="T61" fmla="*/ 33 h 1080"/>
                <a:gd name="T62" fmla="*/ 10 w 1536"/>
                <a:gd name="T63" fmla="*/ 21 h 1080"/>
                <a:gd name="T64" fmla="*/ 6 w 1536"/>
                <a:gd name="T65" fmla="*/ 14 h 1080"/>
                <a:gd name="T66" fmla="*/ 7 w 1536"/>
                <a:gd name="T67" fmla="*/ 9 h 1080"/>
                <a:gd name="T68" fmla="*/ 12 w 1536"/>
                <a:gd name="T69" fmla="*/ 7 h 1080"/>
                <a:gd name="T70" fmla="*/ 16 w 1536"/>
                <a:gd name="T71" fmla="*/ 8 h 1080"/>
                <a:gd name="T72" fmla="*/ 19 w 1536"/>
                <a:gd name="T73" fmla="*/ 8 h 1080"/>
                <a:gd name="T74" fmla="*/ 22 w 1536"/>
                <a:gd name="T75" fmla="*/ 9 h 1080"/>
                <a:gd name="T76" fmla="*/ 29 w 1536"/>
                <a:gd name="T77" fmla="*/ 12 h 1080"/>
                <a:gd name="T78" fmla="*/ 33 w 1536"/>
                <a:gd name="T79" fmla="*/ 13 h 1080"/>
                <a:gd name="T80" fmla="*/ 38 w 1536"/>
                <a:gd name="T81" fmla="*/ 15 h 1080"/>
                <a:gd name="T82" fmla="*/ 42 w 1536"/>
                <a:gd name="T83" fmla="*/ 17 h 1080"/>
                <a:gd name="T84" fmla="*/ 47 w 1536"/>
                <a:gd name="T85" fmla="*/ 19 h 1080"/>
                <a:gd name="T86" fmla="*/ 51 w 1536"/>
                <a:gd name="T87" fmla="*/ 21 h 1080"/>
                <a:gd name="T88" fmla="*/ 50 w 1536"/>
                <a:gd name="T89" fmla="*/ 15 h 1080"/>
                <a:gd name="T90" fmla="*/ 56 w 1536"/>
                <a:gd name="T91" fmla="*/ 0 h 1080"/>
                <a:gd name="T92" fmla="*/ 74 w 1536"/>
                <a:gd name="T93" fmla="*/ 5 h 1080"/>
                <a:gd name="T94" fmla="*/ 87 w 1536"/>
                <a:gd name="T95" fmla="*/ 6 h 1080"/>
                <a:gd name="T96" fmla="*/ 92 w 1536"/>
                <a:gd name="T97" fmla="*/ 11 h 1080"/>
                <a:gd name="T98" fmla="*/ 95 w 1536"/>
                <a:gd name="T99" fmla="*/ 15 h 1080"/>
                <a:gd name="T100" fmla="*/ 93 w 1536"/>
                <a:gd name="T101" fmla="*/ 20 h 1080"/>
                <a:gd name="T102" fmla="*/ 108 w 1536"/>
                <a:gd name="T103" fmla="*/ 18 h 1080"/>
                <a:gd name="T104" fmla="*/ 120 w 1536"/>
                <a:gd name="T105" fmla="*/ 21 h 1080"/>
                <a:gd name="T106" fmla="*/ 127 w 1536"/>
                <a:gd name="T107" fmla="*/ 29 h 1080"/>
                <a:gd name="T108" fmla="*/ 130 w 1536"/>
                <a:gd name="T109" fmla="*/ 30 h 1080"/>
                <a:gd name="T110" fmla="*/ 130 w 1536"/>
                <a:gd name="T111" fmla="*/ 49 h 1080"/>
                <a:gd name="T112" fmla="*/ 120 w 1536"/>
                <a:gd name="T113" fmla="*/ 69 h 1080"/>
                <a:gd name="T114" fmla="*/ 119 w 1536"/>
                <a:gd name="T115" fmla="*/ 74 h 1080"/>
                <a:gd name="T116" fmla="*/ 118 w 1536"/>
                <a:gd name="T117" fmla="*/ 80 h 108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536"/>
                <a:gd name="T178" fmla="*/ 0 h 1080"/>
                <a:gd name="T179" fmla="*/ 1536 w 1536"/>
                <a:gd name="T180" fmla="*/ 1080 h 108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536" h="1080">
                  <a:moveTo>
                    <a:pt x="1350" y="1020"/>
                  </a:moveTo>
                  <a:lnTo>
                    <a:pt x="1350" y="1026"/>
                  </a:lnTo>
                  <a:lnTo>
                    <a:pt x="1344" y="1026"/>
                  </a:lnTo>
                  <a:lnTo>
                    <a:pt x="1338" y="1032"/>
                  </a:lnTo>
                  <a:lnTo>
                    <a:pt x="1332" y="1026"/>
                  </a:lnTo>
                  <a:lnTo>
                    <a:pt x="1326" y="1026"/>
                  </a:lnTo>
                  <a:lnTo>
                    <a:pt x="1320" y="1020"/>
                  </a:lnTo>
                  <a:lnTo>
                    <a:pt x="1314" y="1026"/>
                  </a:lnTo>
                  <a:lnTo>
                    <a:pt x="1314" y="1032"/>
                  </a:lnTo>
                  <a:lnTo>
                    <a:pt x="1308" y="1038"/>
                  </a:lnTo>
                  <a:lnTo>
                    <a:pt x="1308" y="1044"/>
                  </a:lnTo>
                  <a:lnTo>
                    <a:pt x="1308" y="1050"/>
                  </a:lnTo>
                  <a:lnTo>
                    <a:pt x="1308" y="1056"/>
                  </a:lnTo>
                  <a:lnTo>
                    <a:pt x="1308" y="1062"/>
                  </a:lnTo>
                  <a:lnTo>
                    <a:pt x="1296" y="1068"/>
                  </a:lnTo>
                  <a:lnTo>
                    <a:pt x="1284" y="1074"/>
                  </a:lnTo>
                  <a:lnTo>
                    <a:pt x="1272" y="1080"/>
                  </a:lnTo>
                  <a:lnTo>
                    <a:pt x="1260" y="1080"/>
                  </a:lnTo>
                  <a:lnTo>
                    <a:pt x="1254" y="1074"/>
                  </a:lnTo>
                  <a:lnTo>
                    <a:pt x="1236" y="1074"/>
                  </a:lnTo>
                  <a:lnTo>
                    <a:pt x="1230" y="1074"/>
                  </a:lnTo>
                  <a:lnTo>
                    <a:pt x="1236" y="1074"/>
                  </a:lnTo>
                  <a:lnTo>
                    <a:pt x="1236" y="1068"/>
                  </a:lnTo>
                  <a:lnTo>
                    <a:pt x="1236" y="1062"/>
                  </a:lnTo>
                  <a:lnTo>
                    <a:pt x="1236" y="1056"/>
                  </a:lnTo>
                  <a:lnTo>
                    <a:pt x="1242" y="1050"/>
                  </a:lnTo>
                  <a:lnTo>
                    <a:pt x="1242" y="1044"/>
                  </a:lnTo>
                  <a:lnTo>
                    <a:pt x="1242" y="1038"/>
                  </a:lnTo>
                  <a:lnTo>
                    <a:pt x="1248" y="1032"/>
                  </a:lnTo>
                  <a:lnTo>
                    <a:pt x="1236" y="1026"/>
                  </a:lnTo>
                  <a:lnTo>
                    <a:pt x="1218" y="1020"/>
                  </a:lnTo>
                  <a:lnTo>
                    <a:pt x="1224" y="1014"/>
                  </a:lnTo>
                  <a:lnTo>
                    <a:pt x="1218" y="1008"/>
                  </a:lnTo>
                  <a:lnTo>
                    <a:pt x="1218" y="1002"/>
                  </a:lnTo>
                  <a:lnTo>
                    <a:pt x="1212" y="1008"/>
                  </a:lnTo>
                  <a:lnTo>
                    <a:pt x="1206" y="1002"/>
                  </a:lnTo>
                  <a:lnTo>
                    <a:pt x="1212" y="1002"/>
                  </a:lnTo>
                  <a:lnTo>
                    <a:pt x="1212" y="996"/>
                  </a:lnTo>
                  <a:lnTo>
                    <a:pt x="1200" y="990"/>
                  </a:lnTo>
                  <a:lnTo>
                    <a:pt x="1200" y="984"/>
                  </a:lnTo>
                  <a:lnTo>
                    <a:pt x="1188" y="984"/>
                  </a:lnTo>
                  <a:lnTo>
                    <a:pt x="1176" y="978"/>
                  </a:lnTo>
                  <a:lnTo>
                    <a:pt x="1164" y="960"/>
                  </a:lnTo>
                  <a:lnTo>
                    <a:pt x="1152" y="936"/>
                  </a:lnTo>
                  <a:lnTo>
                    <a:pt x="1146" y="936"/>
                  </a:lnTo>
                  <a:lnTo>
                    <a:pt x="1128" y="900"/>
                  </a:lnTo>
                  <a:lnTo>
                    <a:pt x="1038" y="912"/>
                  </a:lnTo>
                  <a:lnTo>
                    <a:pt x="1038" y="918"/>
                  </a:lnTo>
                  <a:lnTo>
                    <a:pt x="1032" y="924"/>
                  </a:lnTo>
                  <a:lnTo>
                    <a:pt x="1026" y="918"/>
                  </a:lnTo>
                  <a:lnTo>
                    <a:pt x="1020" y="924"/>
                  </a:lnTo>
                  <a:lnTo>
                    <a:pt x="1008" y="936"/>
                  </a:lnTo>
                  <a:lnTo>
                    <a:pt x="990" y="936"/>
                  </a:lnTo>
                  <a:lnTo>
                    <a:pt x="990" y="942"/>
                  </a:lnTo>
                  <a:lnTo>
                    <a:pt x="996" y="942"/>
                  </a:lnTo>
                  <a:lnTo>
                    <a:pt x="984" y="948"/>
                  </a:lnTo>
                  <a:lnTo>
                    <a:pt x="972" y="948"/>
                  </a:lnTo>
                  <a:lnTo>
                    <a:pt x="960" y="948"/>
                  </a:lnTo>
                  <a:lnTo>
                    <a:pt x="948" y="942"/>
                  </a:lnTo>
                  <a:lnTo>
                    <a:pt x="948" y="936"/>
                  </a:lnTo>
                  <a:lnTo>
                    <a:pt x="942" y="936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30" y="924"/>
                  </a:lnTo>
                  <a:lnTo>
                    <a:pt x="936" y="918"/>
                  </a:lnTo>
                  <a:lnTo>
                    <a:pt x="918" y="918"/>
                  </a:lnTo>
                  <a:lnTo>
                    <a:pt x="918" y="900"/>
                  </a:lnTo>
                  <a:lnTo>
                    <a:pt x="924" y="900"/>
                  </a:lnTo>
                  <a:lnTo>
                    <a:pt x="924" y="894"/>
                  </a:lnTo>
                  <a:lnTo>
                    <a:pt x="924" y="870"/>
                  </a:lnTo>
                  <a:lnTo>
                    <a:pt x="924" y="864"/>
                  </a:lnTo>
                  <a:lnTo>
                    <a:pt x="918" y="858"/>
                  </a:lnTo>
                  <a:lnTo>
                    <a:pt x="918" y="852"/>
                  </a:lnTo>
                  <a:lnTo>
                    <a:pt x="906" y="840"/>
                  </a:lnTo>
                  <a:lnTo>
                    <a:pt x="894" y="834"/>
                  </a:lnTo>
                  <a:lnTo>
                    <a:pt x="876" y="822"/>
                  </a:lnTo>
                  <a:lnTo>
                    <a:pt x="870" y="828"/>
                  </a:lnTo>
                  <a:lnTo>
                    <a:pt x="858" y="816"/>
                  </a:lnTo>
                  <a:lnTo>
                    <a:pt x="810" y="798"/>
                  </a:lnTo>
                  <a:lnTo>
                    <a:pt x="774" y="792"/>
                  </a:lnTo>
                  <a:lnTo>
                    <a:pt x="732" y="798"/>
                  </a:lnTo>
                  <a:lnTo>
                    <a:pt x="726" y="804"/>
                  </a:lnTo>
                  <a:lnTo>
                    <a:pt x="714" y="810"/>
                  </a:lnTo>
                  <a:lnTo>
                    <a:pt x="702" y="810"/>
                  </a:lnTo>
                  <a:lnTo>
                    <a:pt x="690" y="810"/>
                  </a:lnTo>
                  <a:lnTo>
                    <a:pt x="696" y="816"/>
                  </a:lnTo>
                  <a:lnTo>
                    <a:pt x="696" y="822"/>
                  </a:lnTo>
                  <a:lnTo>
                    <a:pt x="702" y="822"/>
                  </a:lnTo>
                  <a:lnTo>
                    <a:pt x="708" y="822"/>
                  </a:lnTo>
                  <a:lnTo>
                    <a:pt x="708" y="828"/>
                  </a:lnTo>
                  <a:lnTo>
                    <a:pt x="708" y="834"/>
                  </a:lnTo>
                  <a:lnTo>
                    <a:pt x="714" y="834"/>
                  </a:lnTo>
                  <a:lnTo>
                    <a:pt x="708" y="846"/>
                  </a:lnTo>
                  <a:lnTo>
                    <a:pt x="708" y="852"/>
                  </a:lnTo>
                  <a:lnTo>
                    <a:pt x="702" y="852"/>
                  </a:lnTo>
                  <a:lnTo>
                    <a:pt x="696" y="858"/>
                  </a:lnTo>
                  <a:lnTo>
                    <a:pt x="690" y="864"/>
                  </a:lnTo>
                  <a:lnTo>
                    <a:pt x="666" y="870"/>
                  </a:lnTo>
                  <a:lnTo>
                    <a:pt x="660" y="876"/>
                  </a:lnTo>
                  <a:lnTo>
                    <a:pt x="642" y="876"/>
                  </a:lnTo>
                  <a:lnTo>
                    <a:pt x="606" y="882"/>
                  </a:lnTo>
                  <a:lnTo>
                    <a:pt x="588" y="882"/>
                  </a:lnTo>
                  <a:lnTo>
                    <a:pt x="582" y="876"/>
                  </a:lnTo>
                  <a:lnTo>
                    <a:pt x="576" y="876"/>
                  </a:lnTo>
                  <a:lnTo>
                    <a:pt x="564" y="876"/>
                  </a:lnTo>
                  <a:lnTo>
                    <a:pt x="552" y="882"/>
                  </a:lnTo>
                  <a:lnTo>
                    <a:pt x="540" y="894"/>
                  </a:lnTo>
                  <a:lnTo>
                    <a:pt x="534" y="906"/>
                  </a:lnTo>
                  <a:lnTo>
                    <a:pt x="528" y="912"/>
                  </a:lnTo>
                  <a:lnTo>
                    <a:pt x="516" y="924"/>
                  </a:lnTo>
                  <a:lnTo>
                    <a:pt x="486" y="930"/>
                  </a:lnTo>
                  <a:lnTo>
                    <a:pt x="474" y="912"/>
                  </a:lnTo>
                  <a:lnTo>
                    <a:pt x="474" y="906"/>
                  </a:lnTo>
                  <a:lnTo>
                    <a:pt x="468" y="906"/>
                  </a:lnTo>
                  <a:lnTo>
                    <a:pt x="468" y="900"/>
                  </a:lnTo>
                  <a:lnTo>
                    <a:pt x="462" y="894"/>
                  </a:lnTo>
                  <a:lnTo>
                    <a:pt x="456" y="894"/>
                  </a:lnTo>
                  <a:lnTo>
                    <a:pt x="462" y="888"/>
                  </a:lnTo>
                  <a:lnTo>
                    <a:pt x="468" y="888"/>
                  </a:lnTo>
                  <a:lnTo>
                    <a:pt x="462" y="882"/>
                  </a:lnTo>
                  <a:lnTo>
                    <a:pt x="462" y="876"/>
                  </a:lnTo>
                  <a:lnTo>
                    <a:pt x="456" y="870"/>
                  </a:lnTo>
                  <a:lnTo>
                    <a:pt x="456" y="864"/>
                  </a:lnTo>
                  <a:lnTo>
                    <a:pt x="450" y="858"/>
                  </a:lnTo>
                  <a:lnTo>
                    <a:pt x="444" y="858"/>
                  </a:lnTo>
                  <a:lnTo>
                    <a:pt x="444" y="852"/>
                  </a:lnTo>
                  <a:lnTo>
                    <a:pt x="438" y="852"/>
                  </a:lnTo>
                  <a:lnTo>
                    <a:pt x="438" y="858"/>
                  </a:lnTo>
                  <a:lnTo>
                    <a:pt x="402" y="870"/>
                  </a:lnTo>
                  <a:lnTo>
                    <a:pt x="390" y="882"/>
                  </a:lnTo>
                  <a:lnTo>
                    <a:pt x="384" y="900"/>
                  </a:lnTo>
                  <a:lnTo>
                    <a:pt x="342" y="900"/>
                  </a:lnTo>
                  <a:lnTo>
                    <a:pt x="324" y="900"/>
                  </a:lnTo>
                  <a:lnTo>
                    <a:pt x="294" y="906"/>
                  </a:lnTo>
                  <a:lnTo>
                    <a:pt x="282" y="948"/>
                  </a:lnTo>
                  <a:lnTo>
                    <a:pt x="282" y="978"/>
                  </a:lnTo>
                  <a:lnTo>
                    <a:pt x="270" y="1008"/>
                  </a:lnTo>
                  <a:lnTo>
                    <a:pt x="240" y="1014"/>
                  </a:lnTo>
                  <a:lnTo>
                    <a:pt x="216" y="996"/>
                  </a:lnTo>
                  <a:lnTo>
                    <a:pt x="204" y="984"/>
                  </a:lnTo>
                  <a:lnTo>
                    <a:pt x="192" y="966"/>
                  </a:lnTo>
                  <a:lnTo>
                    <a:pt x="186" y="948"/>
                  </a:lnTo>
                  <a:lnTo>
                    <a:pt x="174" y="948"/>
                  </a:lnTo>
                  <a:lnTo>
                    <a:pt x="174" y="936"/>
                  </a:lnTo>
                  <a:lnTo>
                    <a:pt x="186" y="924"/>
                  </a:lnTo>
                  <a:lnTo>
                    <a:pt x="198" y="906"/>
                  </a:lnTo>
                  <a:lnTo>
                    <a:pt x="204" y="888"/>
                  </a:lnTo>
                  <a:lnTo>
                    <a:pt x="222" y="870"/>
                  </a:lnTo>
                  <a:lnTo>
                    <a:pt x="234" y="858"/>
                  </a:lnTo>
                  <a:lnTo>
                    <a:pt x="234" y="852"/>
                  </a:lnTo>
                  <a:lnTo>
                    <a:pt x="222" y="852"/>
                  </a:lnTo>
                  <a:lnTo>
                    <a:pt x="228" y="810"/>
                  </a:lnTo>
                  <a:lnTo>
                    <a:pt x="222" y="798"/>
                  </a:lnTo>
                  <a:lnTo>
                    <a:pt x="216" y="798"/>
                  </a:lnTo>
                  <a:lnTo>
                    <a:pt x="216" y="792"/>
                  </a:lnTo>
                  <a:lnTo>
                    <a:pt x="210" y="792"/>
                  </a:lnTo>
                  <a:lnTo>
                    <a:pt x="204" y="798"/>
                  </a:lnTo>
                  <a:lnTo>
                    <a:pt x="204" y="792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0" y="786"/>
                  </a:lnTo>
                  <a:lnTo>
                    <a:pt x="174" y="792"/>
                  </a:lnTo>
                  <a:lnTo>
                    <a:pt x="162" y="792"/>
                  </a:lnTo>
                  <a:lnTo>
                    <a:pt x="156" y="792"/>
                  </a:lnTo>
                  <a:lnTo>
                    <a:pt x="156" y="798"/>
                  </a:lnTo>
                  <a:lnTo>
                    <a:pt x="138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6" y="804"/>
                  </a:lnTo>
                  <a:lnTo>
                    <a:pt x="102" y="810"/>
                  </a:lnTo>
                  <a:lnTo>
                    <a:pt x="90" y="810"/>
                  </a:lnTo>
                  <a:lnTo>
                    <a:pt x="72" y="798"/>
                  </a:lnTo>
                  <a:lnTo>
                    <a:pt x="66" y="780"/>
                  </a:lnTo>
                  <a:lnTo>
                    <a:pt x="60" y="780"/>
                  </a:lnTo>
                  <a:lnTo>
                    <a:pt x="60" y="768"/>
                  </a:lnTo>
                  <a:lnTo>
                    <a:pt x="54" y="768"/>
                  </a:lnTo>
                  <a:lnTo>
                    <a:pt x="24" y="756"/>
                  </a:lnTo>
                  <a:lnTo>
                    <a:pt x="18" y="744"/>
                  </a:lnTo>
                  <a:lnTo>
                    <a:pt x="12" y="738"/>
                  </a:lnTo>
                  <a:lnTo>
                    <a:pt x="18" y="732"/>
                  </a:lnTo>
                  <a:lnTo>
                    <a:pt x="12" y="726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8" y="696"/>
                  </a:lnTo>
                  <a:lnTo>
                    <a:pt x="24" y="708"/>
                  </a:lnTo>
                  <a:lnTo>
                    <a:pt x="36" y="702"/>
                  </a:lnTo>
                  <a:lnTo>
                    <a:pt x="36" y="678"/>
                  </a:lnTo>
                  <a:lnTo>
                    <a:pt x="36" y="660"/>
                  </a:lnTo>
                  <a:lnTo>
                    <a:pt x="42" y="654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72" y="624"/>
                  </a:lnTo>
                  <a:lnTo>
                    <a:pt x="90" y="618"/>
                  </a:lnTo>
                  <a:lnTo>
                    <a:pt x="102" y="618"/>
                  </a:lnTo>
                  <a:lnTo>
                    <a:pt x="114" y="612"/>
                  </a:lnTo>
                  <a:lnTo>
                    <a:pt x="138" y="606"/>
                  </a:lnTo>
                  <a:lnTo>
                    <a:pt x="144" y="606"/>
                  </a:lnTo>
                  <a:lnTo>
                    <a:pt x="150" y="594"/>
                  </a:lnTo>
                  <a:lnTo>
                    <a:pt x="156" y="576"/>
                  </a:lnTo>
                  <a:lnTo>
                    <a:pt x="168" y="552"/>
                  </a:lnTo>
                  <a:lnTo>
                    <a:pt x="168" y="540"/>
                  </a:lnTo>
                  <a:lnTo>
                    <a:pt x="180" y="522"/>
                  </a:lnTo>
                  <a:lnTo>
                    <a:pt x="186" y="498"/>
                  </a:lnTo>
                  <a:lnTo>
                    <a:pt x="198" y="480"/>
                  </a:lnTo>
                  <a:lnTo>
                    <a:pt x="204" y="486"/>
                  </a:lnTo>
                  <a:lnTo>
                    <a:pt x="210" y="480"/>
                  </a:lnTo>
                  <a:lnTo>
                    <a:pt x="204" y="474"/>
                  </a:lnTo>
                  <a:lnTo>
                    <a:pt x="198" y="462"/>
                  </a:lnTo>
                  <a:lnTo>
                    <a:pt x="192" y="456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50"/>
                  </a:lnTo>
                  <a:lnTo>
                    <a:pt x="132" y="426"/>
                  </a:lnTo>
                  <a:lnTo>
                    <a:pt x="132" y="396"/>
                  </a:lnTo>
                  <a:lnTo>
                    <a:pt x="132" y="378"/>
                  </a:lnTo>
                  <a:lnTo>
                    <a:pt x="126" y="348"/>
                  </a:lnTo>
                  <a:lnTo>
                    <a:pt x="132" y="312"/>
                  </a:lnTo>
                  <a:lnTo>
                    <a:pt x="126" y="288"/>
                  </a:lnTo>
                  <a:lnTo>
                    <a:pt x="138" y="282"/>
                  </a:lnTo>
                  <a:lnTo>
                    <a:pt x="126" y="264"/>
                  </a:lnTo>
                  <a:lnTo>
                    <a:pt x="126" y="258"/>
                  </a:lnTo>
                  <a:lnTo>
                    <a:pt x="120" y="246"/>
                  </a:lnTo>
                  <a:lnTo>
                    <a:pt x="126" y="234"/>
                  </a:lnTo>
                  <a:lnTo>
                    <a:pt x="114" y="228"/>
                  </a:lnTo>
                  <a:lnTo>
                    <a:pt x="114" y="222"/>
                  </a:lnTo>
                  <a:lnTo>
                    <a:pt x="96" y="204"/>
                  </a:lnTo>
                  <a:lnTo>
                    <a:pt x="84" y="180"/>
                  </a:lnTo>
                  <a:lnTo>
                    <a:pt x="78" y="168"/>
                  </a:lnTo>
                  <a:lnTo>
                    <a:pt x="72" y="162"/>
                  </a:lnTo>
                  <a:lnTo>
                    <a:pt x="66" y="144"/>
                  </a:lnTo>
                  <a:lnTo>
                    <a:pt x="60" y="138"/>
                  </a:lnTo>
                  <a:lnTo>
                    <a:pt x="66" y="126"/>
                  </a:lnTo>
                  <a:lnTo>
                    <a:pt x="66" y="114"/>
                  </a:lnTo>
                  <a:lnTo>
                    <a:pt x="72" y="114"/>
                  </a:lnTo>
                  <a:lnTo>
                    <a:pt x="72" y="108"/>
                  </a:lnTo>
                  <a:lnTo>
                    <a:pt x="78" y="102"/>
                  </a:lnTo>
                  <a:lnTo>
                    <a:pt x="78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120" y="78"/>
                  </a:lnTo>
                  <a:lnTo>
                    <a:pt x="144" y="84"/>
                  </a:lnTo>
                  <a:lnTo>
                    <a:pt x="150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74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92" y="102"/>
                  </a:lnTo>
                  <a:lnTo>
                    <a:pt x="198" y="96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16" y="96"/>
                  </a:lnTo>
                  <a:lnTo>
                    <a:pt x="222" y="96"/>
                  </a:lnTo>
                  <a:lnTo>
                    <a:pt x="228" y="96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94" y="114"/>
                  </a:lnTo>
                  <a:lnTo>
                    <a:pt x="312" y="120"/>
                  </a:lnTo>
                  <a:lnTo>
                    <a:pt x="318" y="126"/>
                  </a:lnTo>
                  <a:lnTo>
                    <a:pt x="330" y="132"/>
                  </a:lnTo>
                  <a:lnTo>
                    <a:pt x="342" y="132"/>
                  </a:lnTo>
                  <a:lnTo>
                    <a:pt x="348" y="132"/>
                  </a:lnTo>
                  <a:lnTo>
                    <a:pt x="354" y="138"/>
                  </a:lnTo>
                  <a:lnTo>
                    <a:pt x="366" y="138"/>
                  </a:lnTo>
                  <a:lnTo>
                    <a:pt x="372" y="144"/>
                  </a:lnTo>
                  <a:lnTo>
                    <a:pt x="378" y="150"/>
                  </a:lnTo>
                  <a:lnTo>
                    <a:pt x="384" y="150"/>
                  </a:lnTo>
                  <a:lnTo>
                    <a:pt x="390" y="150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14" y="156"/>
                  </a:lnTo>
                  <a:lnTo>
                    <a:pt x="420" y="156"/>
                  </a:lnTo>
                  <a:lnTo>
                    <a:pt x="426" y="162"/>
                  </a:lnTo>
                  <a:lnTo>
                    <a:pt x="438" y="168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62" y="174"/>
                  </a:lnTo>
                  <a:lnTo>
                    <a:pt x="468" y="174"/>
                  </a:lnTo>
                  <a:lnTo>
                    <a:pt x="474" y="174"/>
                  </a:lnTo>
                  <a:lnTo>
                    <a:pt x="474" y="180"/>
                  </a:lnTo>
                  <a:lnTo>
                    <a:pt x="480" y="192"/>
                  </a:lnTo>
                  <a:lnTo>
                    <a:pt x="498" y="198"/>
                  </a:lnTo>
                  <a:lnTo>
                    <a:pt x="510" y="210"/>
                  </a:lnTo>
                  <a:lnTo>
                    <a:pt x="516" y="210"/>
                  </a:lnTo>
                  <a:lnTo>
                    <a:pt x="522" y="210"/>
                  </a:lnTo>
                  <a:lnTo>
                    <a:pt x="534" y="216"/>
                  </a:lnTo>
                  <a:lnTo>
                    <a:pt x="540" y="216"/>
                  </a:lnTo>
                  <a:lnTo>
                    <a:pt x="546" y="222"/>
                  </a:lnTo>
                  <a:lnTo>
                    <a:pt x="552" y="222"/>
                  </a:lnTo>
                  <a:lnTo>
                    <a:pt x="558" y="228"/>
                  </a:lnTo>
                  <a:lnTo>
                    <a:pt x="564" y="228"/>
                  </a:lnTo>
                  <a:lnTo>
                    <a:pt x="570" y="234"/>
                  </a:lnTo>
                  <a:lnTo>
                    <a:pt x="576" y="240"/>
                  </a:lnTo>
                  <a:lnTo>
                    <a:pt x="582" y="240"/>
                  </a:lnTo>
                  <a:lnTo>
                    <a:pt x="588" y="240"/>
                  </a:lnTo>
                  <a:lnTo>
                    <a:pt x="594" y="240"/>
                  </a:lnTo>
                  <a:lnTo>
                    <a:pt x="600" y="228"/>
                  </a:lnTo>
                  <a:lnTo>
                    <a:pt x="588" y="216"/>
                  </a:lnTo>
                  <a:lnTo>
                    <a:pt x="588" y="198"/>
                  </a:lnTo>
                  <a:lnTo>
                    <a:pt x="582" y="198"/>
                  </a:lnTo>
                  <a:lnTo>
                    <a:pt x="588" y="192"/>
                  </a:lnTo>
                  <a:lnTo>
                    <a:pt x="582" y="168"/>
                  </a:lnTo>
                  <a:lnTo>
                    <a:pt x="558" y="114"/>
                  </a:lnTo>
                  <a:lnTo>
                    <a:pt x="552" y="90"/>
                  </a:lnTo>
                  <a:lnTo>
                    <a:pt x="558" y="60"/>
                  </a:lnTo>
                  <a:lnTo>
                    <a:pt x="564" y="48"/>
                  </a:lnTo>
                  <a:lnTo>
                    <a:pt x="582" y="42"/>
                  </a:lnTo>
                  <a:lnTo>
                    <a:pt x="624" y="6"/>
                  </a:lnTo>
                  <a:lnTo>
                    <a:pt x="648" y="0"/>
                  </a:lnTo>
                  <a:lnTo>
                    <a:pt x="678" y="0"/>
                  </a:lnTo>
                  <a:lnTo>
                    <a:pt x="720" y="12"/>
                  </a:lnTo>
                  <a:lnTo>
                    <a:pt x="744" y="24"/>
                  </a:lnTo>
                  <a:lnTo>
                    <a:pt x="768" y="42"/>
                  </a:lnTo>
                  <a:lnTo>
                    <a:pt x="816" y="48"/>
                  </a:lnTo>
                  <a:lnTo>
                    <a:pt x="834" y="48"/>
                  </a:lnTo>
                  <a:lnTo>
                    <a:pt x="852" y="54"/>
                  </a:lnTo>
                  <a:lnTo>
                    <a:pt x="906" y="60"/>
                  </a:lnTo>
                  <a:lnTo>
                    <a:pt x="948" y="54"/>
                  </a:lnTo>
                  <a:lnTo>
                    <a:pt x="978" y="42"/>
                  </a:lnTo>
                  <a:lnTo>
                    <a:pt x="984" y="48"/>
                  </a:lnTo>
                  <a:lnTo>
                    <a:pt x="990" y="60"/>
                  </a:lnTo>
                  <a:lnTo>
                    <a:pt x="996" y="66"/>
                  </a:lnTo>
                  <a:lnTo>
                    <a:pt x="1002" y="72"/>
                  </a:lnTo>
                  <a:lnTo>
                    <a:pt x="1014" y="78"/>
                  </a:lnTo>
                  <a:lnTo>
                    <a:pt x="1014" y="84"/>
                  </a:lnTo>
                  <a:lnTo>
                    <a:pt x="1032" y="84"/>
                  </a:lnTo>
                  <a:lnTo>
                    <a:pt x="1032" y="90"/>
                  </a:lnTo>
                  <a:lnTo>
                    <a:pt x="1032" y="96"/>
                  </a:lnTo>
                  <a:lnTo>
                    <a:pt x="1032" y="108"/>
                  </a:lnTo>
                  <a:lnTo>
                    <a:pt x="1056" y="126"/>
                  </a:lnTo>
                  <a:lnTo>
                    <a:pt x="1068" y="138"/>
                  </a:lnTo>
                  <a:lnTo>
                    <a:pt x="1068" y="156"/>
                  </a:lnTo>
                  <a:lnTo>
                    <a:pt x="1080" y="150"/>
                  </a:lnTo>
                  <a:lnTo>
                    <a:pt x="1086" y="150"/>
                  </a:lnTo>
                  <a:lnTo>
                    <a:pt x="1092" y="156"/>
                  </a:lnTo>
                  <a:lnTo>
                    <a:pt x="1092" y="162"/>
                  </a:lnTo>
                  <a:lnTo>
                    <a:pt x="1092" y="168"/>
                  </a:lnTo>
                  <a:lnTo>
                    <a:pt x="1098" y="168"/>
                  </a:lnTo>
                  <a:lnTo>
                    <a:pt x="1092" y="180"/>
                  </a:lnTo>
                  <a:lnTo>
                    <a:pt x="1092" y="186"/>
                  </a:lnTo>
                  <a:lnTo>
                    <a:pt x="1086" y="192"/>
                  </a:lnTo>
                  <a:lnTo>
                    <a:pt x="1068" y="210"/>
                  </a:lnTo>
                  <a:lnTo>
                    <a:pt x="1068" y="216"/>
                  </a:lnTo>
                  <a:lnTo>
                    <a:pt x="1074" y="228"/>
                  </a:lnTo>
                  <a:lnTo>
                    <a:pt x="1092" y="234"/>
                  </a:lnTo>
                  <a:lnTo>
                    <a:pt x="1122" y="216"/>
                  </a:lnTo>
                  <a:lnTo>
                    <a:pt x="1188" y="204"/>
                  </a:lnTo>
                  <a:lnTo>
                    <a:pt x="1212" y="204"/>
                  </a:lnTo>
                  <a:lnTo>
                    <a:pt x="1230" y="198"/>
                  </a:lnTo>
                  <a:lnTo>
                    <a:pt x="1236" y="204"/>
                  </a:lnTo>
                  <a:lnTo>
                    <a:pt x="1242" y="210"/>
                  </a:lnTo>
                  <a:lnTo>
                    <a:pt x="1242" y="204"/>
                  </a:lnTo>
                  <a:lnTo>
                    <a:pt x="1248" y="198"/>
                  </a:lnTo>
                  <a:lnTo>
                    <a:pt x="1308" y="204"/>
                  </a:lnTo>
                  <a:lnTo>
                    <a:pt x="1338" y="204"/>
                  </a:lnTo>
                  <a:lnTo>
                    <a:pt x="1374" y="228"/>
                  </a:lnTo>
                  <a:lnTo>
                    <a:pt x="1380" y="234"/>
                  </a:lnTo>
                  <a:lnTo>
                    <a:pt x="1380" y="240"/>
                  </a:lnTo>
                  <a:lnTo>
                    <a:pt x="1386" y="252"/>
                  </a:lnTo>
                  <a:lnTo>
                    <a:pt x="1392" y="252"/>
                  </a:lnTo>
                  <a:lnTo>
                    <a:pt x="1416" y="270"/>
                  </a:lnTo>
                  <a:lnTo>
                    <a:pt x="1428" y="294"/>
                  </a:lnTo>
                  <a:lnTo>
                    <a:pt x="1440" y="312"/>
                  </a:lnTo>
                  <a:lnTo>
                    <a:pt x="1452" y="330"/>
                  </a:lnTo>
                  <a:lnTo>
                    <a:pt x="1464" y="330"/>
                  </a:lnTo>
                  <a:lnTo>
                    <a:pt x="1464" y="336"/>
                  </a:lnTo>
                  <a:lnTo>
                    <a:pt x="1470" y="336"/>
                  </a:lnTo>
                  <a:lnTo>
                    <a:pt x="1470" y="342"/>
                  </a:lnTo>
                  <a:lnTo>
                    <a:pt x="1476" y="342"/>
                  </a:lnTo>
                  <a:lnTo>
                    <a:pt x="1488" y="336"/>
                  </a:lnTo>
                  <a:lnTo>
                    <a:pt x="1494" y="342"/>
                  </a:lnTo>
                  <a:lnTo>
                    <a:pt x="1500" y="342"/>
                  </a:lnTo>
                  <a:lnTo>
                    <a:pt x="1512" y="366"/>
                  </a:lnTo>
                  <a:lnTo>
                    <a:pt x="1530" y="396"/>
                  </a:lnTo>
                  <a:lnTo>
                    <a:pt x="1536" y="444"/>
                  </a:lnTo>
                  <a:lnTo>
                    <a:pt x="1530" y="480"/>
                  </a:lnTo>
                  <a:lnTo>
                    <a:pt x="1506" y="510"/>
                  </a:lnTo>
                  <a:lnTo>
                    <a:pt x="1500" y="546"/>
                  </a:lnTo>
                  <a:lnTo>
                    <a:pt x="1494" y="564"/>
                  </a:lnTo>
                  <a:lnTo>
                    <a:pt x="1494" y="576"/>
                  </a:lnTo>
                  <a:lnTo>
                    <a:pt x="1500" y="582"/>
                  </a:lnTo>
                  <a:lnTo>
                    <a:pt x="1494" y="612"/>
                  </a:lnTo>
                  <a:lnTo>
                    <a:pt x="1476" y="630"/>
                  </a:lnTo>
                  <a:lnTo>
                    <a:pt x="1434" y="672"/>
                  </a:lnTo>
                  <a:lnTo>
                    <a:pt x="1392" y="756"/>
                  </a:lnTo>
                  <a:lnTo>
                    <a:pt x="1380" y="792"/>
                  </a:lnTo>
                  <a:lnTo>
                    <a:pt x="1374" y="798"/>
                  </a:lnTo>
                  <a:lnTo>
                    <a:pt x="1368" y="798"/>
                  </a:lnTo>
                  <a:lnTo>
                    <a:pt x="1380" y="804"/>
                  </a:lnTo>
                  <a:lnTo>
                    <a:pt x="1386" y="804"/>
                  </a:lnTo>
                  <a:lnTo>
                    <a:pt x="1380" y="822"/>
                  </a:lnTo>
                  <a:lnTo>
                    <a:pt x="1380" y="852"/>
                  </a:lnTo>
                  <a:lnTo>
                    <a:pt x="1374" y="858"/>
                  </a:lnTo>
                  <a:lnTo>
                    <a:pt x="1380" y="858"/>
                  </a:lnTo>
                  <a:lnTo>
                    <a:pt x="1374" y="864"/>
                  </a:lnTo>
                  <a:lnTo>
                    <a:pt x="1374" y="870"/>
                  </a:lnTo>
                  <a:lnTo>
                    <a:pt x="1374" y="876"/>
                  </a:lnTo>
                  <a:lnTo>
                    <a:pt x="1368" y="900"/>
                  </a:lnTo>
                  <a:lnTo>
                    <a:pt x="1362" y="906"/>
                  </a:lnTo>
                  <a:lnTo>
                    <a:pt x="1362" y="918"/>
                  </a:lnTo>
                  <a:lnTo>
                    <a:pt x="1362" y="924"/>
                  </a:lnTo>
                  <a:lnTo>
                    <a:pt x="1356" y="942"/>
                  </a:lnTo>
                  <a:lnTo>
                    <a:pt x="1350" y="972"/>
                  </a:lnTo>
                  <a:lnTo>
                    <a:pt x="1350" y="1014"/>
                  </a:lnTo>
                  <a:lnTo>
                    <a:pt x="1350" y="10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3" name="Freeform 18">
              <a:extLst>
                <a:ext uri="{FF2B5EF4-FFF2-40B4-BE49-F238E27FC236}">
                  <a16:creationId xmlns:a16="http://schemas.microsoft.com/office/drawing/2014/main" id="{EC11F2E0-3C06-46E2-8AD2-66EBE00FFE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32346" y="3837389"/>
              <a:ext cx="556811" cy="818559"/>
            </a:xfrm>
            <a:custGeom>
              <a:avLst/>
              <a:gdLst>
                <a:gd name="T0" fmla="*/ 12 w 1044"/>
                <a:gd name="T1" fmla="*/ 95 h 1542"/>
                <a:gd name="T2" fmla="*/ 7 w 1044"/>
                <a:gd name="T3" fmla="*/ 93 h 1542"/>
                <a:gd name="T4" fmla="*/ 0 w 1044"/>
                <a:gd name="T5" fmla="*/ 88 h 1542"/>
                <a:gd name="T6" fmla="*/ 3 w 1044"/>
                <a:gd name="T7" fmla="*/ 74 h 1542"/>
                <a:gd name="T8" fmla="*/ 4 w 1044"/>
                <a:gd name="T9" fmla="*/ 59 h 1542"/>
                <a:gd name="T10" fmla="*/ 7 w 1044"/>
                <a:gd name="T11" fmla="*/ 52 h 1542"/>
                <a:gd name="T12" fmla="*/ 20 w 1044"/>
                <a:gd name="T13" fmla="*/ 50 h 1542"/>
                <a:gd name="T14" fmla="*/ 24 w 1044"/>
                <a:gd name="T15" fmla="*/ 46 h 1542"/>
                <a:gd name="T16" fmla="*/ 29 w 1044"/>
                <a:gd name="T17" fmla="*/ 33 h 1542"/>
                <a:gd name="T18" fmla="*/ 32 w 1044"/>
                <a:gd name="T19" fmla="*/ 26 h 1542"/>
                <a:gd name="T20" fmla="*/ 30 w 1044"/>
                <a:gd name="T21" fmla="*/ 20 h 1542"/>
                <a:gd name="T22" fmla="*/ 26 w 1044"/>
                <a:gd name="T23" fmla="*/ 17 h 1542"/>
                <a:gd name="T24" fmla="*/ 28 w 1044"/>
                <a:gd name="T25" fmla="*/ 12 h 1542"/>
                <a:gd name="T26" fmla="*/ 44 w 1044"/>
                <a:gd name="T27" fmla="*/ 5 h 1542"/>
                <a:gd name="T28" fmla="*/ 57 w 1044"/>
                <a:gd name="T29" fmla="*/ 2 h 1542"/>
                <a:gd name="T30" fmla="*/ 65 w 1044"/>
                <a:gd name="T31" fmla="*/ 12 h 1542"/>
                <a:gd name="T32" fmla="*/ 81 w 1044"/>
                <a:gd name="T33" fmla="*/ 9 h 1542"/>
                <a:gd name="T34" fmla="*/ 91 w 1044"/>
                <a:gd name="T35" fmla="*/ 20 h 1542"/>
                <a:gd name="T36" fmla="*/ 89 w 1044"/>
                <a:gd name="T37" fmla="*/ 28 h 1542"/>
                <a:gd name="T38" fmla="*/ 83 w 1044"/>
                <a:gd name="T39" fmla="*/ 33 h 1542"/>
                <a:gd name="T40" fmla="*/ 74 w 1044"/>
                <a:gd name="T41" fmla="*/ 42 h 1542"/>
                <a:gd name="T42" fmla="*/ 58 w 1044"/>
                <a:gd name="T43" fmla="*/ 57 h 1542"/>
                <a:gd name="T44" fmla="*/ 54 w 1044"/>
                <a:gd name="T45" fmla="*/ 65 h 1542"/>
                <a:gd name="T46" fmla="*/ 59 w 1044"/>
                <a:gd name="T47" fmla="*/ 74 h 1542"/>
                <a:gd name="T48" fmla="*/ 55 w 1044"/>
                <a:gd name="T49" fmla="*/ 84 h 1542"/>
                <a:gd name="T50" fmla="*/ 52 w 1044"/>
                <a:gd name="T51" fmla="*/ 98 h 1542"/>
                <a:gd name="T52" fmla="*/ 47 w 1044"/>
                <a:gd name="T53" fmla="*/ 105 h 1542"/>
                <a:gd name="T54" fmla="*/ 42 w 1044"/>
                <a:gd name="T55" fmla="*/ 111 h 1542"/>
                <a:gd name="T56" fmla="*/ 43 w 1044"/>
                <a:gd name="T57" fmla="*/ 120 h 1542"/>
                <a:gd name="T58" fmla="*/ 45 w 1044"/>
                <a:gd name="T59" fmla="*/ 125 h 1542"/>
                <a:gd name="T60" fmla="*/ 44 w 1044"/>
                <a:gd name="T61" fmla="*/ 130 h 1542"/>
                <a:gd name="T62" fmla="*/ 45 w 1044"/>
                <a:gd name="T63" fmla="*/ 131 h 1542"/>
                <a:gd name="T64" fmla="*/ 48 w 1044"/>
                <a:gd name="T65" fmla="*/ 133 h 1542"/>
                <a:gd name="T66" fmla="*/ 39 w 1044"/>
                <a:gd name="T67" fmla="*/ 133 h 1542"/>
                <a:gd name="T68" fmla="*/ 42 w 1044"/>
                <a:gd name="T69" fmla="*/ 132 h 1542"/>
                <a:gd name="T70" fmla="*/ 38 w 1044"/>
                <a:gd name="T71" fmla="*/ 133 h 1542"/>
                <a:gd name="T72" fmla="*/ 37 w 1044"/>
                <a:gd name="T73" fmla="*/ 129 h 1542"/>
                <a:gd name="T74" fmla="*/ 40 w 1044"/>
                <a:gd name="T75" fmla="*/ 125 h 1542"/>
                <a:gd name="T76" fmla="*/ 40 w 1044"/>
                <a:gd name="T77" fmla="*/ 120 h 1542"/>
                <a:gd name="T78" fmla="*/ 40 w 1044"/>
                <a:gd name="T79" fmla="*/ 117 h 1542"/>
                <a:gd name="T80" fmla="*/ 37 w 1044"/>
                <a:gd name="T81" fmla="*/ 120 h 1542"/>
                <a:gd name="T82" fmla="*/ 34 w 1044"/>
                <a:gd name="T83" fmla="*/ 122 h 1542"/>
                <a:gd name="T84" fmla="*/ 36 w 1044"/>
                <a:gd name="T85" fmla="*/ 120 h 1542"/>
                <a:gd name="T86" fmla="*/ 30 w 1044"/>
                <a:gd name="T87" fmla="*/ 120 h 1542"/>
                <a:gd name="T88" fmla="*/ 31 w 1044"/>
                <a:gd name="T89" fmla="*/ 113 h 1542"/>
                <a:gd name="T90" fmla="*/ 29 w 1044"/>
                <a:gd name="T91" fmla="*/ 112 h 1542"/>
                <a:gd name="T92" fmla="*/ 31 w 1044"/>
                <a:gd name="T93" fmla="*/ 117 h 1542"/>
                <a:gd name="T94" fmla="*/ 27 w 1044"/>
                <a:gd name="T95" fmla="*/ 116 h 1542"/>
                <a:gd name="T96" fmla="*/ 25 w 1044"/>
                <a:gd name="T97" fmla="*/ 112 h 1542"/>
                <a:gd name="T98" fmla="*/ 21 w 1044"/>
                <a:gd name="T99" fmla="*/ 109 h 1542"/>
                <a:gd name="T100" fmla="*/ 21 w 1044"/>
                <a:gd name="T101" fmla="*/ 113 h 1542"/>
                <a:gd name="T102" fmla="*/ 40 w 1044"/>
                <a:gd name="T103" fmla="*/ 120 h 1542"/>
                <a:gd name="T104" fmla="*/ 40 w 1044"/>
                <a:gd name="T105" fmla="*/ 121 h 1542"/>
                <a:gd name="T106" fmla="*/ 40 w 1044"/>
                <a:gd name="T107" fmla="*/ 116 h 1542"/>
                <a:gd name="T108" fmla="*/ 38 w 1044"/>
                <a:gd name="T109" fmla="*/ 120 h 1542"/>
                <a:gd name="T110" fmla="*/ 23 w 1044"/>
                <a:gd name="T111" fmla="*/ 110 h 1542"/>
                <a:gd name="T112" fmla="*/ 37 w 1044"/>
                <a:gd name="T113" fmla="*/ 124 h 1542"/>
                <a:gd name="T114" fmla="*/ 40 w 1044"/>
                <a:gd name="T115" fmla="*/ 125 h 1542"/>
                <a:gd name="T116" fmla="*/ 38 w 1044"/>
                <a:gd name="T117" fmla="*/ 128 h 1542"/>
                <a:gd name="T118" fmla="*/ 25 w 1044"/>
                <a:gd name="T119" fmla="*/ 117 h 1542"/>
                <a:gd name="T120" fmla="*/ 27 w 1044"/>
                <a:gd name="T121" fmla="*/ 127 h 1542"/>
                <a:gd name="T122" fmla="*/ 24 w 1044"/>
                <a:gd name="T123" fmla="*/ 113 h 15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4"/>
                <a:gd name="T187" fmla="*/ 0 h 1542"/>
                <a:gd name="T188" fmla="*/ 1044 w 1044"/>
                <a:gd name="T189" fmla="*/ 1542 h 154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4" h="1542">
                  <a:moveTo>
                    <a:pt x="234" y="1278"/>
                  </a:moveTo>
                  <a:lnTo>
                    <a:pt x="228" y="1272"/>
                  </a:lnTo>
                  <a:lnTo>
                    <a:pt x="222" y="1266"/>
                  </a:lnTo>
                  <a:lnTo>
                    <a:pt x="222" y="1260"/>
                  </a:lnTo>
                  <a:lnTo>
                    <a:pt x="204" y="1248"/>
                  </a:lnTo>
                  <a:lnTo>
                    <a:pt x="192" y="1248"/>
                  </a:lnTo>
                  <a:lnTo>
                    <a:pt x="186" y="1236"/>
                  </a:lnTo>
                  <a:lnTo>
                    <a:pt x="174" y="1218"/>
                  </a:lnTo>
                  <a:lnTo>
                    <a:pt x="162" y="1194"/>
                  </a:lnTo>
                  <a:lnTo>
                    <a:pt x="156" y="1182"/>
                  </a:lnTo>
                  <a:lnTo>
                    <a:pt x="162" y="1146"/>
                  </a:lnTo>
                  <a:lnTo>
                    <a:pt x="156" y="1134"/>
                  </a:lnTo>
                  <a:lnTo>
                    <a:pt x="138" y="1122"/>
                  </a:lnTo>
                  <a:lnTo>
                    <a:pt x="132" y="1116"/>
                  </a:lnTo>
                  <a:lnTo>
                    <a:pt x="138" y="1098"/>
                  </a:lnTo>
                  <a:lnTo>
                    <a:pt x="138" y="1092"/>
                  </a:lnTo>
                  <a:lnTo>
                    <a:pt x="138" y="1086"/>
                  </a:lnTo>
                  <a:lnTo>
                    <a:pt x="132" y="1074"/>
                  </a:lnTo>
                  <a:lnTo>
                    <a:pt x="126" y="1074"/>
                  </a:lnTo>
                  <a:lnTo>
                    <a:pt x="126" y="1068"/>
                  </a:lnTo>
                  <a:lnTo>
                    <a:pt x="120" y="1062"/>
                  </a:lnTo>
                  <a:lnTo>
                    <a:pt x="120" y="1056"/>
                  </a:lnTo>
                  <a:lnTo>
                    <a:pt x="114" y="1050"/>
                  </a:lnTo>
                  <a:lnTo>
                    <a:pt x="108" y="1050"/>
                  </a:lnTo>
                  <a:lnTo>
                    <a:pt x="102" y="1056"/>
                  </a:lnTo>
                  <a:lnTo>
                    <a:pt x="102" y="1062"/>
                  </a:lnTo>
                  <a:lnTo>
                    <a:pt x="96" y="1062"/>
                  </a:lnTo>
                  <a:lnTo>
                    <a:pt x="96" y="1068"/>
                  </a:lnTo>
                  <a:lnTo>
                    <a:pt x="96" y="1074"/>
                  </a:lnTo>
                  <a:lnTo>
                    <a:pt x="90" y="1074"/>
                  </a:lnTo>
                  <a:lnTo>
                    <a:pt x="84" y="1080"/>
                  </a:lnTo>
                  <a:lnTo>
                    <a:pt x="78" y="1074"/>
                  </a:lnTo>
                  <a:lnTo>
                    <a:pt x="72" y="1074"/>
                  </a:lnTo>
                  <a:lnTo>
                    <a:pt x="72" y="1068"/>
                  </a:lnTo>
                  <a:lnTo>
                    <a:pt x="72" y="1062"/>
                  </a:lnTo>
                  <a:lnTo>
                    <a:pt x="60" y="1056"/>
                  </a:lnTo>
                  <a:lnTo>
                    <a:pt x="60" y="1044"/>
                  </a:lnTo>
                  <a:lnTo>
                    <a:pt x="60" y="1032"/>
                  </a:lnTo>
                  <a:lnTo>
                    <a:pt x="60" y="1026"/>
                  </a:lnTo>
                  <a:lnTo>
                    <a:pt x="54" y="1026"/>
                  </a:lnTo>
                  <a:lnTo>
                    <a:pt x="48" y="1014"/>
                  </a:lnTo>
                  <a:lnTo>
                    <a:pt x="42" y="1008"/>
                  </a:lnTo>
                  <a:lnTo>
                    <a:pt x="30" y="1008"/>
                  </a:lnTo>
                  <a:lnTo>
                    <a:pt x="30" y="1002"/>
                  </a:lnTo>
                  <a:lnTo>
                    <a:pt x="24" y="1008"/>
                  </a:lnTo>
                  <a:lnTo>
                    <a:pt x="12" y="1008"/>
                  </a:lnTo>
                  <a:lnTo>
                    <a:pt x="6" y="1008"/>
                  </a:lnTo>
                  <a:lnTo>
                    <a:pt x="0" y="1008"/>
                  </a:lnTo>
                  <a:lnTo>
                    <a:pt x="0" y="1002"/>
                  </a:lnTo>
                  <a:lnTo>
                    <a:pt x="6" y="990"/>
                  </a:lnTo>
                  <a:lnTo>
                    <a:pt x="6" y="984"/>
                  </a:lnTo>
                  <a:lnTo>
                    <a:pt x="0" y="978"/>
                  </a:lnTo>
                  <a:lnTo>
                    <a:pt x="6" y="972"/>
                  </a:lnTo>
                  <a:lnTo>
                    <a:pt x="12" y="972"/>
                  </a:lnTo>
                  <a:lnTo>
                    <a:pt x="72" y="978"/>
                  </a:lnTo>
                  <a:lnTo>
                    <a:pt x="78" y="972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30"/>
                  </a:lnTo>
                  <a:lnTo>
                    <a:pt x="54" y="912"/>
                  </a:lnTo>
                  <a:lnTo>
                    <a:pt x="42" y="906"/>
                  </a:lnTo>
                  <a:lnTo>
                    <a:pt x="36" y="894"/>
                  </a:lnTo>
                  <a:lnTo>
                    <a:pt x="30" y="876"/>
                  </a:lnTo>
                  <a:lnTo>
                    <a:pt x="30" y="858"/>
                  </a:lnTo>
                  <a:lnTo>
                    <a:pt x="30" y="840"/>
                  </a:lnTo>
                  <a:lnTo>
                    <a:pt x="36" y="816"/>
                  </a:lnTo>
                  <a:lnTo>
                    <a:pt x="36" y="792"/>
                  </a:lnTo>
                  <a:lnTo>
                    <a:pt x="36" y="780"/>
                  </a:lnTo>
                  <a:lnTo>
                    <a:pt x="12" y="774"/>
                  </a:lnTo>
                  <a:lnTo>
                    <a:pt x="24" y="756"/>
                  </a:lnTo>
                  <a:lnTo>
                    <a:pt x="24" y="744"/>
                  </a:lnTo>
                  <a:lnTo>
                    <a:pt x="30" y="738"/>
                  </a:lnTo>
                  <a:lnTo>
                    <a:pt x="30" y="732"/>
                  </a:lnTo>
                  <a:lnTo>
                    <a:pt x="36" y="720"/>
                  </a:lnTo>
                  <a:lnTo>
                    <a:pt x="42" y="714"/>
                  </a:lnTo>
                  <a:lnTo>
                    <a:pt x="54" y="708"/>
                  </a:lnTo>
                  <a:lnTo>
                    <a:pt x="60" y="702"/>
                  </a:lnTo>
                  <a:lnTo>
                    <a:pt x="48" y="690"/>
                  </a:lnTo>
                  <a:lnTo>
                    <a:pt x="48" y="684"/>
                  </a:lnTo>
                  <a:lnTo>
                    <a:pt x="48" y="678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66"/>
                  </a:lnTo>
                  <a:lnTo>
                    <a:pt x="72" y="654"/>
                  </a:lnTo>
                  <a:lnTo>
                    <a:pt x="72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84" y="630"/>
                  </a:lnTo>
                  <a:lnTo>
                    <a:pt x="90" y="630"/>
                  </a:lnTo>
                  <a:lnTo>
                    <a:pt x="96" y="630"/>
                  </a:lnTo>
                  <a:lnTo>
                    <a:pt x="96" y="624"/>
                  </a:lnTo>
                  <a:lnTo>
                    <a:pt x="90" y="624"/>
                  </a:lnTo>
                  <a:lnTo>
                    <a:pt x="84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90" y="600"/>
                  </a:lnTo>
                  <a:lnTo>
                    <a:pt x="84" y="600"/>
                  </a:lnTo>
                  <a:lnTo>
                    <a:pt x="78" y="594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126" y="564"/>
                  </a:lnTo>
                  <a:lnTo>
                    <a:pt x="144" y="564"/>
                  </a:lnTo>
                  <a:lnTo>
                    <a:pt x="156" y="582"/>
                  </a:lnTo>
                  <a:lnTo>
                    <a:pt x="162" y="600"/>
                  </a:lnTo>
                  <a:lnTo>
                    <a:pt x="180" y="588"/>
                  </a:lnTo>
                  <a:lnTo>
                    <a:pt x="192" y="588"/>
                  </a:lnTo>
                  <a:lnTo>
                    <a:pt x="198" y="588"/>
                  </a:lnTo>
                  <a:lnTo>
                    <a:pt x="210" y="582"/>
                  </a:lnTo>
                  <a:lnTo>
                    <a:pt x="216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58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46" y="558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58" y="570"/>
                  </a:lnTo>
                  <a:lnTo>
                    <a:pt x="264" y="570"/>
                  </a:lnTo>
                  <a:lnTo>
                    <a:pt x="270" y="564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46"/>
                  </a:lnTo>
                  <a:lnTo>
                    <a:pt x="276" y="540"/>
                  </a:lnTo>
                  <a:lnTo>
                    <a:pt x="276" y="534"/>
                  </a:lnTo>
                  <a:lnTo>
                    <a:pt x="276" y="528"/>
                  </a:lnTo>
                  <a:lnTo>
                    <a:pt x="282" y="528"/>
                  </a:lnTo>
                  <a:lnTo>
                    <a:pt x="282" y="522"/>
                  </a:lnTo>
                  <a:lnTo>
                    <a:pt x="282" y="516"/>
                  </a:lnTo>
                  <a:lnTo>
                    <a:pt x="282" y="510"/>
                  </a:lnTo>
                  <a:lnTo>
                    <a:pt x="282" y="504"/>
                  </a:lnTo>
                  <a:lnTo>
                    <a:pt x="282" y="492"/>
                  </a:lnTo>
                  <a:lnTo>
                    <a:pt x="288" y="486"/>
                  </a:lnTo>
                  <a:lnTo>
                    <a:pt x="300" y="480"/>
                  </a:lnTo>
                  <a:lnTo>
                    <a:pt x="306" y="462"/>
                  </a:lnTo>
                  <a:lnTo>
                    <a:pt x="318" y="444"/>
                  </a:lnTo>
                  <a:lnTo>
                    <a:pt x="330" y="444"/>
                  </a:lnTo>
                  <a:lnTo>
                    <a:pt x="330" y="432"/>
                  </a:lnTo>
                  <a:lnTo>
                    <a:pt x="342" y="432"/>
                  </a:lnTo>
                  <a:lnTo>
                    <a:pt x="354" y="402"/>
                  </a:lnTo>
                  <a:lnTo>
                    <a:pt x="348" y="390"/>
                  </a:lnTo>
                  <a:lnTo>
                    <a:pt x="336" y="384"/>
                  </a:lnTo>
                  <a:lnTo>
                    <a:pt x="336" y="360"/>
                  </a:lnTo>
                  <a:lnTo>
                    <a:pt x="336" y="354"/>
                  </a:lnTo>
                  <a:lnTo>
                    <a:pt x="336" y="342"/>
                  </a:lnTo>
                  <a:lnTo>
                    <a:pt x="342" y="336"/>
                  </a:lnTo>
                  <a:lnTo>
                    <a:pt x="342" y="324"/>
                  </a:lnTo>
                  <a:lnTo>
                    <a:pt x="372" y="324"/>
                  </a:lnTo>
                  <a:lnTo>
                    <a:pt x="378" y="324"/>
                  </a:lnTo>
                  <a:lnTo>
                    <a:pt x="378" y="318"/>
                  </a:lnTo>
                  <a:lnTo>
                    <a:pt x="372" y="312"/>
                  </a:lnTo>
                  <a:lnTo>
                    <a:pt x="378" y="312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84" y="300"/>
                  </a:lnTo>
                  <a:lnTo>
                    <a:pt x="384" y="294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66" y="294"/>
                  </a:lnTo>
                  <a:lnTo>
                    <a:pt x="366" y="288"/>
                  </a:lnTo>
                  <a:lnTo>
                    <a:pt x="372" y="288"/>
                  </a:lnTo>
                  <a:lnTo>
                    <a:pt x="372" y="282"/>
                  </a:lnTo>
                  <a:lnTo>
                    <a:pt x="366" y="276"/>
                  </a:lnTo>
                  <a:lnTo>
                    <a:pt x="360" y="270"/>
                  </a:lnTo>
                  <a:lnTo>
                    <a:pt x="360" y="264"/>
                  </a:lnTo>
                  <a:lnTo>
                    <a:pt x="354" y="264"/>
                  </a:lnTo>
                  <a:lnTo>
                    <a:pt x="348" y="258"/>
                  </a:lnTo>
                  <a:lnTo>
                    <a:pt x="354" y="258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40"/>
                  </a:lnTo>
                  <a:lnTo>
                    <a:pt x="354" y="240"/>
                  </a:lnTo>
                  <a:lnTo>
                    <a:pt x="342" y="234"/>
                  </a:lnTo>
                  <a:lnTo>
                    <a:pt x="342" y="228"/>
                  </a:lnTo>
                  <a:lnTo>
                    <a:pt x="348" y="228"/>
                  </a:lnTo>
                  <a:lnTo>
                    <a:pt x="342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6" y="216"/>
                  </a:lnTo>
                  <a:lnTo>
                    <a:pt x="330" y="222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24" y="210"/>
                  </a:lnTo>
                  <a:lnTo>
                    <a:pt x="318" y="210"/>
                  </a:lnTo>
                  <a:lnTo>
                    <a:pt x="318" y="204"/>
                  </a:lnTo>
                  <a:lnTo>
                    <a:pt x="312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294" y="192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300" y="174"/>
                  </a:lnTo>
                  <a:lnTo>
                    <a:pt x="300" y="168"/>
                  </a:lnTo>
                  <a:lnTo>
                    <a:pt x="300" y="162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88" y="150"/>
                  </a:lnTo>
                  <a:lnTo>
                    <a:pt x="288" y="144"/>
                  </a:lnTo>
                  <a:lnTo>
                    <a:pt x="282" y="144"/>
                  </a:lnTo>
                  <a:lnTo>
                    <a:pt x="282" y="138"/>
                  </a:lnTo>
                  <a:lnTo>
                    <a:pt x="312" y="132"/>
                  </a:lnTo>
                  <a:lnTo>
                    <a:pt x="324" y="120"/>
                  </a:lnTo>
                  <a:lnTo>
                    <a:pt x="330" y="114"/>
                  </a:lnTo>
                  <a:lnTo>
                    <a:pt x="336" y="102"/>
                  </a:lnTo>
                  <a:lnTo>
                    <a:pt x="348" y="90"/>
                  </a:lnTo>
                  <a:lnTo>
                    <a:pt x="360" y="84"/>
                  </a:lnTo>
                  <a:lnTo>
                    <a:pt x="372" y="84"/>
                  </a:lnTo>
                  <a:lnTo>
                    <a:pt x="378" y="84"/>
                  </a:lnTo>
                  <a:lnTo>
                    <a:pt x="384" y="90"/>
                  </a:lnTo>
                  <a:lnTo>
                    <a:pt x="402" y="90"/>
                  </a:lnTo>
                  <a:lnTo>
                    <a:pt x="438" y="84"/>
                  </a:lnTo>
                  <a:lnTo>
                    <a:pt x="456" y="84"/>
                  </a:lnTo>
                  <a:lnTo>
                    <a:pt x="462" y="78"/>
                  </a:lnTo>
                  <a:lnTo>
                    <a:pt x="486" y="72"/>
                  </a:lnTo>
                  <a:lnTo>
                    <a:pt x="492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04" y="54"/>
                  </a:lnTo>
                  <a:lnTo>
                    <a:pt x="510" y="42"/>
                  </a:lnTo>
                  <a:lnTo>
                    <a:pt x="504" y="42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498" y="30"/>
                  </a:lnTo>
                  <a:lnTo>
                    <a:pt x="492" y="30"/>
                  </a:lnTo>
                  <a:lnTo>
                    <a:pt x="492" y="24"/>
                  </a:lnTo>
                  <a:lnTo>
                    <a:pt x="486" y="18"/>
                  </a:lnTo>
                  <a:lnTo>
                    <a:pt x="498" y="18"/>
                  </a:lnTo>
                  <a:lnTo>
                    <a:pt x="510" y="18"/>
                  </a:lnTo>
                  <a:lnTo>
                    <a:pt x="522" y="12"/>
                  </a:lnTo>
                  <a:lnTo>
                    <a:pt x="528" y="6"/>
                  </a:lnTo>
                  <a:lnTo>
                    <a:pt x="570" y="0"/>
                  </a:lnTo>
                  <a:lnTo>
                    <a:pt x="606" y="6"/>
                  </a:lnTo>
                  <a:lnTo>
                    <a:pt x="654" y="24"/>
                  </a:lnTo>
                  <a:lnTo>
                    <a:pt x="666" y="36"/>
                  </a:lnTo>
                  <a:lnTo>
                    <a:pt x="672" y="30"/>
                  </a:lnTo>
                  <a:lnTo>
                    <a:pt x="690" y="42"/>
                  </a:lnTo>
                  <a:lnTo>
                    <a:pt x="702" y="48"/>
                  </a:lnTo>
                  <a:lnTo>
                    <a:pt x="714" y="60"/>
                  </a:lnTo>
                  <a:lnTo>
                    <a:pt x="714" y="66"/>
                  </a:lnTo>
                  <a:lnTo>
                    <a:pt x="720" y="72"/>
                  </a:lnTo>
                  <a:lnTo>
                    <a:pt x="720" y="78"/>
                  </a:lnTo>
                  <a:lnTo>
                    <a:pt x="720" y="102"/>
                  </a:lnTo>
                  <a:lnTo>
                    <a:pt x="720" y="108"/>
                  </a:lnTo>
                  <a:lnTo>
                    <a:pt x="714" y="108"/>
                  </a:lnTo>
                  <a:lnTo>
                    <a:pt x="714" y="126"/>
                  </a:lnTo>
                  <a:lnTo>
                    <a:pt x="732" y="126"/>
                  </a:lnTo>
                  <a:lnTo>
                    <a:pt x="726" y="132"/>
                  </a:lnTo>
                  <a:lnTo>
                    <a:pt x="738" y="132"/>
                  </a:lnTo>
                  <a:lnTo>
                    <a:pt x="738" y="138"/>
                  </a:lnTo>
                  <a:lnTo>
                    <a:pt x="738" y="144"/>
                  </a:lnTo>
                  <a:lnTo>
                    <a:pt x="744" y="144"/>
                  </a:lnTo>
                  <a:lnTo>
                    <a:pt x="744" y="150"/>
                  </a:lnTo>
                  <a:lnTo>
                    <a:pt x="756" y="156"/>
                  </a:lnTo>
                  <a:lnTo>
                    <a:pt x="768" y="156"/>
                  </a:lnTo>
                  <a:lnTo>
                    <a:pt x="780" y="156"/>
                  </a:lnTo>
                  <a:lnTo>
                    <a:pt x="792" y="150"/>
                  </a:lnTo>
                  <a:lnTo>
                    <a:pt x="786" y="150"/>
                  </a:lnTo>
                  <a:lnTo>
                    <a:pt x="786" y="144"/>
                  </a:lnTo>
                  <a:lnTo>
                    <a:pt x="804" y="144"/>
                  </a:lnTo>
                  <a:lnTo>
                    <a:pt x="816" y="132"/>
                  </a:lnTo>
                  <a:lnTo>
                    <a:pt x="822" y="126"/>
                  </a:lnTo>
                  <a:lnTo>
                    <a:pt x="828" y="132"/>
                  </a:lnTo>
                  <a:lnTo>
                    <a:pt x="834" y="126"/>
                  </a:lnTo>
                  <a:lnTo>
                    <a:pt x="834" y="120"/>
                  </a:lnTo>
                  <a:lnTo>
                    <a:pt x="924" y="108"/>
                  </a:lnTo>
                  <a:lnTo>
                    <a:pt x="942" y="144"/>
                  </a:lnTo>
                  <a:lnTo>
                    <a:pt x="948" y="144"/>
                  </a:lnTo>
                  <a:lnTo>
                    <a:pt x="960" y="168"/>
                  </a:lnTo>
                  <a:lnTo>
                    <a:pt x="972" y="186"/>
                  </a:lnTo>
                  <a:lnTo>
                    <a:pt x="984" y="192"/>
                  </a:lnTo>
                  <a:lnTo>
                    <a:pt x="996" y="192"/>
                  </a:lnTo>
                  <a:lnTo>
                    <a:pt x="996" y="198"/>
                  </a:lnTo>
                  <a:lnTo>
                    <a:pt x="1008" y="204"/>
                  </a:lnTo>
                  <a:lnTo>
                    <a:pt x="1008" y="210"/>
                  </a:lnTo>
                  <a:lnTo>
                    <a:pt x="1002" y="210"/>
                  </a:lnTo>
                  <a:lnTo>
                    <a:pt x="1008" y="216"/>
                  </a:lnTo>
                  <a:lnTo>
                    <a:pt x="1014" y="210"/>
                  </a:lnTo>
                  <a:lnTo>
                    <a:pt x="1014" y="216"/>
                  </a:lnTo>
                  <a:lnTo>
                    <a:pt x="1020" y="222"/>
                  </a:lnTo>
                  <a:lnTo>
                    <a:pt x="1014" y="228"/>
                  </a:lnTo>
                  <a:lnTo>
                    <a:pt x="1032" y="234"/>
                  </a:lnTo>
                  <a:lnTo>
                    <a:pt x="1044" y="240"/>
                  </a:lnTo>
                  <a:lnTo>
                    <a:pt x="1038" y="246"/>
                  </a:lnTo>
                  <a:lnTo>
                    <a:pt x="1038" y="252"/>
                  </a:lnTo>
                  <a:lnTo>
                    <a:pt x="1038" y="258"/>
                  </a:lnTo>
                  <a:lnTo>
                    <a:pt x="1032" y="264"/>
                  </a:lnTo>
                  <a:lnTo>
                    <a:pt x="1032" y="270"/>
                  </a:lnTo>
                  <a:lnTo>
                    <a:pt x="1032" y="276"/>
                  </a:lnTo>
                  <a:lnTo>
                    <a:pt x="1032" y="282"/>
                  </a:lnTo>
                  <a:lnTo>
                    <a:pt x="1026" y="282"/>
                  </a:lnTo>
                  <a:lnTo>
                    <a:pt x="1026" y="288"/>
                  </a:lnTo>
                  <a:lnTo>
                    <a:pt x="1026" y="294"/>
                  </a:lnTo>
                  <a:lnTo>
                    <a:pt x="1026" y="300"/>
                  </a:lnTo>
                  <a:lnTo>
                    <a:pt x="1026" y="306"/>
                  </a:lnTo>
                  <a:lnTo>
                    <a:pt x="1020" y="318"/>
                  </a:lnTo>
                  <a:lnTo>
                    <a:pt x="1020" y="324"/>
                  </a:lnTo>
                  <a:lnTo>
                    <a:pt x="1014" y="324"/>
                  </a:lnTo>
                  <a:lnTo>
                    <a:pt x="1014" y="330"/>
                  </a:lnTo>
                  <a:lnTo>
                    <a:pt x="1014" y="336"/>
                  </a:lnTo>
                  <a:lnTo>
                    <a:pt x="1008" y="366"/>
                  </a:lnTo>
                  <a:lnTo>
                    <a:pt x="1002" y="366"/>
                  </a:lnTo>
                  <a:lnTo>
                    <a:pt x="984" y="354"/>
                  </a:lnTo>
                  <a:lnTo>
                    <a:pt x="978" y="354"/>
                  </a:lnTo>
                  <a:lnTo>
                    <a:pt x="972" y="354"/>
                  </a:lnTo>
                  <a:lnTo>
                    <a:pt x="966" y="348"/>
                  </a:lnTo>
                  <a:lnTo>
                    <a:pt x="954" y="348"/>
                  </a:lnTo>
                  <a:lnTo>
                    <a:pt x="948" y="348"/>
                  </a:lnTo>
                  <a:lnTo>
                    <a:pt x="948" y="360"/>
                  </a:lnTo>
                  <a:lnTo>
                    <a:pt x="948" y="366"/>
                  </a:lnTo>
                  <a:lnTo>
                    <a:pt x="948" y="372"/>
                  </a:lnTo>
                  <a:lnTo>
                    <a:pt x="948" y="378"/>
                  </a:lnTo>
                  <a:lnTo>
                    <a:pt x="948" y="384"/>
                  </a:lnTo>
                  <a:lnTo>
                    <a:pt x="942" y="384"/>
                  </a:lnTo>
                  <a:lnTo>
                    <a:pt x="942" y="390"/>
                  </a:lnTo>
                  <a:lnTo>
                    <a:pt x="936" y="390"/>
                  </a:lnTo>
                  <a:lnTo>
                    <a:pt x="942" y="390"/>
                  </a:lnTo>
                  <a:lnTo>
                    <a:pt x="936" y="396"/>
                  </a:lnTo>
                  <a:lnTo>
                    <a:pt x="930" y="402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2" y="432"/>
                  </a:lnTo>
                  <a:lnTo>
                    <a:pt x="900" y="450"/>
                  </a:lnTo>
                  <a:lnTo>
                    <a:pt x="894" y="456"/>
                  </a:lnTo>
                  <a:lnTo>
                    <a:pt x="888" y="456"/>
                  </a:lnTo>
                  <a:lnTo>
                    <a:pt x="882" y="456"/>
                  </a:lnTo>
                  <a:lnTo>
                    <a:pt x="876" y="456"/>
                  </a:lnTo>
                  <a:lnTo>
                    <a:pt x="864" y="462"/>
                  </a:lnTo>
                  <a:lnTo>
                    <a:pt x="852" y="474"/>
                  </a:lnTo>
                  <a:lnTo>
                    <a:pt x="846" y="480"/>
                  </a:lnTo>
                  <a:lnTo>
                    <a:pt x="840" y="486"/>
                  </a:lnTo>
                  <a:lnTo>
                    <a:pt x="834" y="498"/>
                  </a:lnTo>
                  <a:lnTo>
                    <a:pt x="828" y="510"/>
                  </a:lnTo>
                  <a:lnTo>
                    <a:pt x="816" y="522"/>
                  </a:lnTo>
                  <a:lnTo>
                    <a:pt x="798" y="540"/>
                  </a:lnTo>
                  <a:lnTo>
                    <a:pt x="780" y="558"/>
                  </a:lnTo>
                  <a:lnTo>
                    <a:pt x="774" y="558"/>
                  </a:lnTo>
                  <a:lnTo>
                    <a:pt x="756" y="576"/>
                  </a:lnTo>
                  <a:lnTo>
                    <a:pt x="732" y="600"/>
                  </a:lnTo>
                  <a:lnTo>
                    <a:pt x="726" y="600"/>
                  </a:lnTo>
                  <a:lnTo>
                    <a:pt x="720" y="606"/>
                  </a:lnTo>
                  <a:lnTo>
                    <a:pt x="714" y="612"/>
                  </a:lnTo>
                  <a:lnTo>
                    <a:pt x="690" y="630"/>
                  </a:lnTo>
                  <a:lnTo>
                    <a:pt x="678" y="636"/>
                  </a:lnTo>
                  <a:lnTo>
                    <a:pt x="672" y="642"/>
                  </a:lnTo>
                  <a:lnTo>
                    <a:pt x="660" y="660"/>
                  </a:lnTo>
                  <a:lnTo>
                    <a:pt x="642" y="666"/>
                  </a:lnTo>
                  <a:lnTo>
                    <a:pt x="636" y="678"/>
                  </a:lnTo>
                  <a:lnTo>
                    <a:pt x="630" y="678"/>
                  </a:lnTo>
                  <a:lnTo>
                    <a:pt x="630" y="684"/>
                  </a:lnTo>
                  <a:lnTo>
                    <a:pt x="630" y="690"/>
                  </a:lnTo>
                  <a:lnTo>
                    <a:pt x="636" y="696"/>
                  </a:lnTo>
                  <a:lnTo>
                    <a:pt x="642" y="696"/>
                  </a:lnTo>
                  <a:lnTo>
                    <a:pt x="648" y="702"/>
                  </a:lnTo>
                  <a:lnTo>
                    <a:pt x="648" y="708"/>
                  </a:lnTo>
                  <a:lnTo>
                    <a:pt x="642" y="708"/>
                  </a:lnTo>
                  <a:lnTo>
                    <a:pt x="636" y="714"/>
                  </a:lnTo>
                  <a:lnTo>
                    <a:pt x="636" y="720"/>
                  </a:lnTo>
                  <a:lnTo>
                    <a:pt x="642" y="726"/>
                  </a:lnTo>
                  <a:lnTo>
                    <a:pt x="636" y="738"/>
                  </a:lnTo>
                  <a:lnTo>
                    <a:pt x="618" y="756"/>
                  </a:lnTo>
                  <a:lnTo>
                    <a:pt x="612" y="750"/>
                  </a:lnTo>
                  <a:lnTo>
                    <a:pt x="612" y="756"/>
                  </a:lnTo>
                  <a:lnTo>
                    <a:pt x="618" y="762"/>
                  </a:lnTo>
                  <a:lnTo>
                    <a:pt x="618" y="768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36" y="786"/>
                  </a:lnTo>
                  <a:lnTo>
                    <a:pt x="642" y="792"/>
                  </a:lnTo>
                  <a:lnTo>
                    <a:pt x="642" y="798"/>
                  </a:lnTo>
                  <a:lnTo>
                    <a:pt x="648" y="804"/>
                  </a:lnTo>
                  <a:lnTo>
                    <a:pt x="654" y="810"/>
                  </a:lnTo>
                  <a:lnTo>
                    <a:pt x="660" y="816"/>
                  </a:lnTo>
                  <a:lnTo>
                    <a:pt x="666" y="816"/>
                  </a:lnTo>
                  <a:lnTo>
                    <a:pt x="666" y="822"/>
                  </a:lnTo>
                  <a:lnTo>
                    <a:pt x="672" y="828"/>
                  </a:lnTo>
                  <a:lnTo>
                    <a:pt x="672" y="840"/>
                  </a:lnTo>
                  <a:lnTo>
                    <a:pt x="672" y="846"/>
                  </a:lnTo>
                  <a:lnTo>
                    <a:pt x="666" y="852"/>
                  </a:lnTo>
                  <a:lnTo>
                    <a:pt x="660" y="864"/>
                  </a:lnTo>
                  <a:lnTo>
                    <a:pt x="654" y="876"/>
                  </a:lnTo>
                  <a:lnTo>
                    <a:pt x="648" y="882"/>
                  </a:lnTo>
                  <a:lnTo>
                    <a:pt x="642" y="888"/>
                  </a:lnTo>
                  <a:lnTo>
                    <a:pt x="642" y="894"/>
                  </a:lnTo>
                  <a:lnTo>
                    <a:pt x="642" y="906"/>
                  </a:lnTo>
                  <a:lnTo>
                    <a:pt x="630" y="918"/>
                  </a:lnTo>
                  <a:lnTo>
                    <a:pt x="630" y="924"/>
                  </a:lnTo>
                  <a:lnTo>
                    <a:pt x="624" y="930"/>
                  </a:lnTo>
                  <a:lnTo>
                    <a:pt x="630" y="936"/>
                  </a:lnTo>
                  <a:lnTo>
                    <a:pt x="630" y="942"/>
                  </a:lnTo>
                  <a:lnTo>
                    <a:pt x="630" y="948"/>
                  </a:lnTo>
                  <a:lnTo>
                    <a:pt x="630" y="954"/>
                  </a:lnTo>
                  <a:lnTo>
                    <a:pt x="630" y="960"/>
                  </a:lnTo>
                  <a:lnTo>
                    <a:pt x="624" y="966"/>
                  </a:lnTo>
                  <a:lnTo>
                    <a:pt x="618" y="990"/>
                  </a:lnTo>
                  <a:lnTo>
                    <a:pt x="618" y="1008"/>
                  </a:lnTo>
                  <a:lnTo>
                    <a:pt x="612" y="1026"/>
                  </a:lnTo>
                  <a:lnTo>
                    <a:pt x="612" y="1038"/>
                  </a:lnTo>
                  <a:lnTo>
                    <a:pt x="612" y="1050"/>
                  </a:lnTo>
                  <a:lnTo>
                    <a:pt x="612" y="1056"/>
                  </a:lnTo>
                  <a:lnTo>
                    <a:pt x="612" y="1062"/>
                  </a:lnTo>
                  <a:lnTo>
                    <a:pt x="612" y="1068"/>
                  </a:lnTo>
                  <a:lnTo>
                    <a:pt x="612" y="1086"/>
                  </a:lnTo>
                  <a:lnTo>
                    <a:pt x="612" y="1092"/>
                  </a:lnTo>
                  <a:lnTo>
                    <a:pt x="606" y="1098"/>
                  </a:lnTo>
                  <a:lnTo>
                    <a:pt x="600" y="1110"/>
                  </a:lnTo>
                  <a:lnTo>
                    <a:pt x="600" y="1116"/>
                  </a:lnTo>
                  <a:lnTo>
                    <a:pt x="594" y="1122"/>
                  </a:lnTo>
                  <a:lnTo>
                    <a:pt x="594" y="1128"/>
                  </a:lnTo>
                  <a:lnTo>
                    <a:pt x="588" y="1134"/>
                  </a:lnTo>
                  <a:lnTo>
                    <a:pt x="582" y="1140"/>
                  </a:lnTo>
                  <a:lnTo>
                    <a:pt x="570" y="1140"/>
                  </a:lnTo>
                  <a:lnTo>
                    <a:pt x="564" y="1146"/>
                  </a:lnTo>
                  <a:lnTo>
                    <a:pt x="570" y="1146"/>
                  </a:lnTo>
                  <a:lnTo>
                    <a:pt x="564" y="1152"/>
                  </a:lnTo>
                  <a:lnTo>
                    <a:pt x="558" y="1158"/>
                  </a:lnTo>
                  <a:lnTo>
                    <a:pt x="552" y="1164"/>
                  </a:lnTo>
                  <a:lnTo>
                    <a:pt x="552" y="1170"/>
                  </a:lnTo>
                  <a:lnTo>
                    <a:pt x="546" y="1176"/>
                  </a:lnTo>
                  <a:lnTo>
                    <a:pt x="546" y="1182"/>
                  </a:lnTo>
                  <a:lnTo>
                    <a:pt x="546" y="1188"/>
                  </a:lnTo>
                  <a:lnTo>
                    <a:pt x="540" y="1188"/>
                  </a:lnTo>
                  <a:lnTo>
                    <a:pt x="540" y="1194"/>
                  </a:lnTo>
                  <a:lnTo>
                    <a:pt x="528" y="1206"/>
                  </a:lnTo>
                  <a:lnTo>
                    <a:pt x="528" y="1212"/>
                  </a:lnTo>
                  <a:lnTo>
                    <a:pt x="534" y="1212"/>
                  </a:lnTo>
                  <a:lnTo>
                    <a:pt x="540" y="1218"/>
                  </a:lnTo>
                  <a:lnTo>
                    <a:pt x="534" y="1218"/>
                  </a:lnTo>
                  <a:lnTo>
                    <a:pt x="528" y="1218"/>
                  </a:lnTo>
                  <a:lnTo>
                    <a:pt x="528" y="1224"/>
                  </a:lnTo>
                  <a:lnTo>
                    <a:pt x="522" y="1230"/>
                  </a:lnTo>
                  <a:lnTo>
                    <a:pt x="516" y="1236"/>
                  </a:lnTo>
                  <a:lnTo>
                    <a:pt x="522" y="1236"/>
                  </a:lnTo>
                  <a:lnTo>
                    <a:pt x="516" y="1242"/>
                  </a:lnTo>
                  <a:lnTo>
                    <a:pt x="510" y="1242"/>
                  </a:lnTo>
                  <a:lnTo>
                    <a:pt x="504" y="1248"/>
                  </a:lnTo>
                  <a:lnTo>
                    <a:pt x="510" y="1260"/>
                  </a:lnTo>
                  <a:lnTo>
                    <a:pt x="504" y="1266"/>
                  </a:lnTo>
                  <a:lnTo>
                    <a:pt x="492" y="1266"/>
                  </a:lnTo>
                  <a:lnTo>
                    <a:pt x="486" y="1272"/>
                  </a:lnTo>
                  <a:lnTo>
                    <a:pt x="486" y="1278"/>
                  </a:lnTo>
                  <a:lnTo>
                    <a:pt x="480" y="1278"/>
                  </a:lnTo>
                  <a:lnTo>
                    <a:pt x="480" y="1284"/>
                  </a:lnTo>
                  <a:lnTo>
                    <a:pt x="480" y="1290"/>
                  </a:lnTo>
                  <a:lnTo>
                    <a:pt x="480" y="1296"/>
                  </a:lnTo>
                  <a:lnTo>
                    <a:pt x="492" y="1302"/>
                  </a:lnTo>
                  <a:lnTo>
                    <a:pt x="492" y="1308"/>
                  </a:lnTo>
                  <a:lnTo>
                    <a:pt x="492" y="1320"/>
                  </a:lnTo>
                  <a:lnTo>
                    <a:pt x="492" y="1332"/>
                  </a:lnTo>
                  <a:lnTo>
                    <a:pt x="498" y="1344"/>
                  </a:lnTo>
                  <a:lnTo>
                    <a:pt x="498" y="1350"/>
                  </a:lnTo>
                  <a:lnTo>
                    <a:pt x="498" y="1356"/>
                  </a:lnTo>
                  <a:lnTo>
                    <a:pt x="504" y="1362"/>
                  </a:lnTo>
                  <a:lnTo>
                    <a:pt x="498" y="1362"/>
                  </a:lnTo>
                  <a:lnTo>
                    <a:pt x="498" y="1368"/>
                  </a:lnTo>
                  <a:lnTo>
                    <a:pt x="492" y="1368"/>
                  </a:lnTo>
                  <a:lnTo>
                    <a:pt x="492" y="1374"/>
                  </a:lnTo>
                  <a:lnTo>
                    <a:pt x="492" y="1380"/>
                  </a:lnTo>
                  <a:lnTo>
                    <a:pt x="498" y="1380"/>
                  </a:lnTo>
                  <a:lnTo>
                    <a:pt x="504" y="1380"/>
                  </a:lnTo>
                  <a:lnTo>
                    <a:pt x="498" y="1386"/>
                  </a:lnTo>
                  <a:lnTo>
                    <a:pt x="498" y="1392"/>
                  </a:lnTo>
                  <a:lnTo>
                    <a:pt x="498" y="1398"/>
                  </a:lnTo>
                  <a:lnTo>
                    <a:pt x="498" y="1404"/>
                  </a:lnTo>
                  <a:lnTo>
                    <a:pt x="498" y="1410"/>
                  </a:lnTo>
                  <a:lnTo>
                    <a:pt x="498" y="1416"/>
                  </a:lnTo>
                  <a:lnTo>
                    <a:pt x="492" y="1416"/>
                  </a:lnTo>
                  <a:lnTo>
                    <a:pt x="498" y="1416"/>
                  </a:lnTo>
                  <a:lnTo>
                    <a:pt x="504" y="1416"/>
                  </a:lnTo>
                  <a:lnTo>
                    <a:pt x="504" y="1422"/>
                  </a:lnTo>
                  <a:lnTo>
                    <a:pt x="510" y="1428"/>
                  </a:lnTo>
                  <a:lnTo>
                    <a:pt x="510" y="1434"/>
                  </a:lnTo>
                  <a:lnTo>
                    <a:pt x="510" y="1440"/>
                  </a:lnTo>
                  <a:lnTo>
                    <a:pt x="516" y="1446"/>
                  </a:lnTo>
                  <a:lnTo>
                    <a:pt x="516" y="1452"/>
                  </a:lnTo>
                  <a:lnTo>
                    <a:pt x="516" y="1458"/>
                  </a:lnTo>
                  <a:lnTo>
                    <a:pt x="516" y="1464"/>
                  </a:lnTo>
                  <a:lnTo>
                    <a:pt x="516" y="1482"/>
                  </a:lnTo>
                  <a:lnTo>
                    <a:pt x="516" y="1488"/>
                  </a:lnTo>
                  <a:lnTo>
                    <a:pt x="522" y="1488"/>
                  </a:lnTo>
                  <a:lnTo>
                    <a:pt x="522" y="1494"/>
                  </a:lnTo>
                  <a:lnTo>
                    <a:pt x="522" y="1500"/>
                  </a:lnTo>
                  <a:lnTo>
                    <a:pt x="516" y="1506"/>
                  </a:lnTo>
                  <a:lnTo>
                    <a:pt x="510" y="1500"/>
                  </a:lnTo>
                  <a:lnTo>
                    <a:pt x="504" y="1500"/>
                  </a:lnTo>
                  <a:lnTo>
                    <a:pt x="504" y="1494"/>
                  </a:lnTo>
                  <a:lnTo>
                    <a:pt x="504" y="1488"/>
                  </a:lnTo>
                  <a:lnTo>
                    <a:pt x="504" y="1482"/>
                  </a:lnTo>
                  <a:lnTo>
                    <a:pt x="504" y="1488"/>
                  </a:lnTo>
                  <a:lnTo>
                    <a:pt x="504" y="1494"/>
                  </a:lnTo>
                  <a:lnTo>
                    <a:pt x="504" y="1500"/>
                  </a:lnTo>
                  <a:lnTo>
                    <a:pt x="498" y="1500"/>
                  </a:lnTo>
                  <a:lnTo>
                    <a:pt x="492" y="1500"/>
                  </a:lnTo>
                  <a:lnTo>
                    <a:pt x="492" y="1494"/>
                  </a:lnTo>
                  <a:lnTo>
                    <a:pt x="492" y="1488"/>
                  </a:lnTo>
                  <a:lnTo>
                    <a:pt x="492" y="1494"/>
                  </a:lnTo>
                  <a:lnTo>
                    <a:pt x="492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00"/>
                  </a:lnTo>
                  <a:lnTo>
                    <a:pt x="510" y="1500"/>
                  </a:lnTo>
                  <a:lnTo>
                    <a:pt x="510" y="1506"/>
                  </a:lnTo>
                  <a:lnTo>
                    <a:pt x="516" y="1506"/>
                  </a:lnTo>
                  <a:lnTo>
                    <a:pt x="510" y="1506"/>
                  </a:lnTo>
                  <a:lnTo>
                    <a:pt x="510" y="1512"/>
                  </a:lnTo>
                  <a:lnTo>
                    <a:pt x="516" y="1506"/>
                  </a:lnTo>
                  <a:lnTo>
                    <a:pt x="522" y="1506"/>
                  </a:lnTo>
                  <a:lnTo>
                    <a:pt x="528" y="1506"/>
                  </a:lnTo>
                  <a:lnTo>
                    <a:pt x="528" y="1500"/>
                  </a:lnTo>
                  <a:lnTo>
                    <a:pt x="534" y="1500"/>
                  </a:lnTo>
                  <a:lnTo>
                    <a:pt x="534" y="1506"/>
                  </a:lnTo>
                  <a:lnTo>
                    <a:pt x="540" y="1512"/>
                  </a:lnTo>
                  <a:lnTo>
                    <a:pt x="540" y="1518"/>
                  </a:lnTo>
                  <a:lnTo>
                    <a:pt x="546" y="1518"/>
                  </a:lnTo>
                  <a:lnTo>
                    <a:pt x="540" y="1518"/>
                  </a:lnTo>
                  <a:lnTo>
                    <a:pt x="540" y="1524"/>
                  </a:lnTo>
                  <a:lnTo>
                    <a:pt x="534" y="1524"/>
                  </a:lnTo>
                  <a:lnTo>
                    <a:pt x="540" y="1524"/>
                  </a:lnTo>
                  <a:lnTo>
                    <a:pt x="546" y="1524"/>
                  </a:lnTo>
                  <a:lnTo>
                    <a:pt x="546" y="1530"/>
                  </a:lnTo>
                  <a:lnTo>
                    <a:pt x="540" y="1530"/>
                  </a:lnTo>
                  <a:lnTo>
                    <a:pt x="540" y="1536"/>
                  </a:lnTo>
                  <a:lnTo>
                    <a:pt x="534" y="1542"/>
                  </a:lnTo>
                  <a:lnTo>
                    <a:pt x="528" y="1542"/>
                  </a:lnTo>
                  <a:lnTo>
                    <a:pt x="522" y="1542"/>
                  </a:lnTo>
                  <a:lnTo>
                    <a:pt x="516" y="1542"/>
                  </a:lnTo>
                  <a:lnTo>
                    <a:pt x="510" y="1542"/>
                  </a:lnTo>
                  <a:lnTo>
                    <a:pt x="504" y="1542"/>
                  </a:lnTo>
                  <a:lnTo>
                    <a:pt x="492" y="1542"/>
                  </a:lnTo>
                  <a:lnTo>
                    <a:pt x="486" y="1536"/>
                  </a:lnTo>
                  <a:lnTo>
                    <a:pt x="480" y="1536"/>
                  </a:lnTo>
                  <a:lnTo>
                    <a:pt x="468" y="1536"/>
                  </a:lnTo>
                  <a:lnTo>
                    <a:pt x="468" y="1542"/>
                  </a:lnTo>
                  <a:lnTo>
                    <a:pt x="462" y="1542"/>
                  </a:lnTo>
                  <a:lnTo>
                    <a:pt x="456" y="1542"/>
                  </a:lnTo>
                  <a:lnTo>
                    <a:pt x="450" y="1542"/>
                  </a:lnTo>
                  <a:lnTo>
                    <a:pt x="444" y="1542"/>
                  </a:lnTo>
                  <a:lnTo>
                    <a:pt x="444" y="1536"/>
                  </a:lnTo>
                  <a:lnTo>
                    <a:pt x="450" y="1536"/>
                  </a:lnTo>
                  <a:lnTo>
                    <a:pt x="456" y="1536"/>
                  </a:lnTo>
                  <a:lnTo>
                    <a:pt x="450" y="1536"/>
                  </a:lnTo>
                  <a:lnTo>
                    <a:pt x="444" y="1536"/>
                  </a:lnTo>
                  <a:lnTo>
                    <a:pt x="444" y="1530"/>
                  </a:lnTo>
                  <a:lnTo>
                    <a:pt x="450" y="1530"/>
                  </a:lnTo>
                  <a:lnTo>
                    <a:pt x="456" y="1524"/>
                  </a:lnTo>
                  <a:lnTo>
                    <a:pt x="456" y="1518"/>
                  </a:lnTo>
                  <a:lnTo>
                    <a:pt x="462" y="1518"/>
                  </a:lnTo>
                  <a:lnTo>
                    <a:pt x="462" y="1524"/>
                  </a:lnTo>
                  <a:lnTo>
                    <a:pt x="468" y="1524"/>
                  </a:lnTo>
                  <a:lnTo>
                    <a:pt x="474" y="1524"/>
                  </a:lnTo>
                  <a:lnTo>
                    <a:pt x="474" y="1518"/>
                  </a:lnTo>
                  <a:lnTo>
                    <a:pt x="480" y="1518"/>
                  </a:lnTo>
                  <a:lnTo>
                    <a:pt x="474" y="1518"/>
                  </a:lnTo>
                  <a:lnTo>
                    <a:pt x="474" y="1524"/>
                  </a:lnTo>
                  <a:lnTo>
                    <a:pt x="468" y="1524"/>
                  </a:lnTo>
                  <a:lnTo>
                    <a:pt x="462" y="1518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62" y="1512"/>
                  </a:lnTo>
                  <a:lnTo>
                    <a:pt x="462" y="1506"/>
                  </a:lnTo>
                  <a:lnTo>
                    <a:pt x="456" y="1506"/>
                  </a:lnTo>
                  <a:lnTo>
                    <a:pt x="456" y="1512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50" y="1518"/>
                  </a:lnTo>
                  <a:lnTo>
                    <a:pt x="444" y="1518"/>
                  </a:lnTo>
                  <a:lnTo>
                    <a:pt x="444" y="1524"/>
                  </a:lnTo>
                  <a:lnTo>
                    <a:pt x="438" y="1524"/>
                  </a:lnTo>
                  <a:lnTo>
                    <a:pt x="438" y="1530"/>
                  </a:lnTo>
                  <a:lnTo>
                    <a:pt x="432" y="1530"/>
                  </a:lnTo>
                  <a:lnTo>
                    <a:pt x="432" y="1536"/>
                  </a:lnTo>
                  <a:lnTo>
                    <a:pt x="426" y="1530"/>
                  </a:lnTo>
                  <a:lnTo>
                    <a:pt x="420" y="1530"/>
                  </a:lnTo>
                  <a:lnTo>
                    <a:pt x="414" y="1530"/>
                  </a:lnTo>
                  <a:lnTo>
                    <a:pt x="414" y="1524"/>
                  </a:lnTo>
                  <a:lnTo>
                    <a:pt x="408" y="1518"/>
                  </a:lnTo>
                  <a:lnTo>
                    <a:pt x="414" y="1512"/>
                  </a:lnTo>
                  <a:lnTo>
                    <a:pt x="408" y="1512"/>
                  </a:lnTo>
                  <a:lnTo>
                    <a:pt x="408" y="1506"/>
                  </a:lnTo>
                  <a:lnTo>
                    <a:pt x="408" y="1500"/>
                  </a:lnTo>
                  <a:lnTo>
                    <a:pt x="408" y="1494"/>
                  </a:lnTo>
                  <a:lnTo>
                    <a:pt x="408" y="1488"/>
                  </a:lnTo>
                  <a:lnTo>
                    <a:pt x="408" y="1494"/>
                  </a:lnTo>
                  <a:lnTo>
                    <a:pt x="414" y="1494"/>
                  </a:lnTo>
                  <a:lnTo>
                    <a:pt x="420" y="1494"/>
                  </a:lnTo>
                  <a:lnTo>
                    <a:pt x="420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82"/>
                  </a:lnTo>
                  <a:lnTo>
                    <a:pt x="426" y="1476"/>
                  </a:lnTo>
                  <a:lnTo>
                    <a:pt x="432" y="1476"/>
                  </a:lnTo>
                  <a:lnTo>
                    <a:pt x="432" y="1470"/>
                  </a:lnTo>
                  <a:lnTo>
                    <a:pt x="438" y="1470"/>
                  </a:lnTo>
                  <a:lnTo>
                    <a:pt x="444" y="1464"/>
                  </a:lnTo>
                  <a:lnTo>
                    <a:pt x="450" y="1458"/>
                  </a:lnTo>
                  <a:lnTo>
                    <a:pt x="456" y="1458"/>
                  </a:lnTo>
                  <a:lnTo>
                    <a:pt x="462" y="1452"/>
                  </a:lnTo>
                  <a:lnTo>
                    <a:pt x="468" y="1452"/>
                  </a:lnTo>
                  <a:lnTo>
                    <a:pt x="468" y="1446"/>
                  </a:lnTo>
                  <a:lnTo>
                    <a:pt x="462" y="1440"/>
                  </a:lnTo>
                  <a:lnTo>
                    <a:pt x="456" y="1434"/>
                  </a:lnTo>
                  <a:lnTo>
                    <a:pt x="456" y="1428"/>
                  </a:lnTo>
                  <a:lnTo>
                    <a:pt x="456" y="1422"/>
                  </a:lnTo>
                  <a:lnTo>
                    <a:pt x="456" y="1416"/>
                  </a:lnTo>
                  <a:lnTo>
                    <a:pt x="450" y="1410"/>
                  </a:lnTo>
                  <a:lnTo>
                    <a:pt x="444" y="1410"/>
                  </a:lnTo>
                  <a:lnTo>
                    <a:pt x="450" y="1410"/>
                  </a:lnTo>
                  <a:lnTo>
                    <a:pt x="450" y="1404"/>
                  </a:lnTo>
                  <a:lnTo>
                    <a:pt x="456" y="1404"/>
                  </a:lnTo>
                  <a:lnTo>
                    <a:pt x="462" y="1404"/>
                  </a:lnTo>
                  <a:lnTo>
                    <a:pt x="468" y="1398"/>
                  </a:lnTo>
                  <a:lnTo>
                    <a:pt x="462" y="1398"/>
                  </a:lnTo>
                  <a:lnTo>
                    <a:pt x="462" y="1392"/>
                  </a:lnTo>
                  <a:lnTo>
                    <a:pt x="456" y="1392"/>
                  </a:lnTo>
                  <a:lnTo>
                    <a:pt x="456" y="1386"/>
                  </a:lnTo>
                  <a:lnTo>
                    <a:pt x="462" y="1386"/>
                  </a:lnTo>
                  <a:lnTo>
                    <a:pt x="468" y="1386"/>
                  </a:lnTo>
                  <a:lnTo>
                    <a:pt x="474" y="1386"/>
                  </a:lnTo>
                  <a:lnTo>
                    <a:pt x="468" y="1386"/>
                  </a:lnTo>
                  <a:lnTo>
                    <a:pt x="462" y="1386"/>
                  </a:lnTo>
                  <a:lnTo>
                    <a:pt x="456" y="1380"/>
                  </a:lnTo>
                  <a:lnTo>
                    <a:pt x="456" y="1374"/>
                  </a:lnTo>
                  <a:lnTo>
                    <a:pt x="462" y="1374"/>
                  </a:lnTo>
                  <a:lnTo>
                    <a:pt x="462" y="1368"/>
                  </a:lnTo>
                  <a:lnTo>
                    <a:pt x="456" y="1374"/>
                  </a:lnTo>
                  <a:lnTo>
                    <a:pt x="456" y="1368"/>
                  </a:lnTo>
                  <a:lnTo>
                    <a:pt x="456" y="1362"/>
                  </a:lnTo>
                  <a:lnTo>
                    <a:pt x="450" y="1362"/>
                  </a:lnTo>
                  <a:lnTo>
                    <a:pt x="450" y="1356"/>
                  </a:lnTo>
                  <a:lnTo>
                    <a:pt x="450" y="1350"/>
                  </a:lnTo>
                  <a:lnTo>
                    <a:pt x="450" y="1344"/>
                  </a:lnTo>
                  <a:lnTo>
                    <a:pt x="456" y="1344"/>
                  </a:lnTo>
                  <a:lnTo>
                    <a:pt x="456" y="1338"/>
                  </a:lnTo>
                  <a:lnTo>
                    <a:pt x="462" y="1338"/>
                  </a:lnTo>
                  <a:lnTo>
                    <a:pt x="462" y="1332"/>
                  </a:lnTo>
                  <a:lnTo>
                    <a:pt x="456" y="1332"/>
                  </a:lnTo>
                  <a:lnTo>
                    <a:pt x="456" y="1326"/>
                  </a:lnTo>
                  <a:lnTo>
                    <a:pt x="450" y="1326"/>
                  </a:lnTo>
                  <a:lnTo>
                    <a:pt x="444" y="1326"/>
                  </a:lnTo>
                  <a:lnTo>
                    <a:pt x="444" y="1332"/>
                  </a:lnTo>
                  <a:lnTo>
                    <a:pt x="438" y="1332"/>
                  </a:lnTo>
                  <a:lnTo>
                    <a:pt x="438" y="1338"/>
                  </a:lnTo>
                  <a:lnTo>
                    <a:pt x="432" y="1338"/>
                  </a:lnTo>
                  <a:lnTo>
                    <a:pt x="432" y="1344"/>
                  </a:lnTo>
                  <a:lnTo>
                    <a:pt x="432" y="1350"/>
                  </a:lnTo>
                  <a:lnTo>
                    <a:pt x="426" y="1356"/>
                  </a:lnTo>
                  <a:lnTo>
                    <a:pt x="426" y="1368"/>
                  </a:lnTo>
                  <a:lnTo>
                    <a:pt x="426" y="1374"/>
                  </a:lnTo>
                  <a:lnTo>
                    <a:pt x="426" y="1380"/>
                  </a:lnTo>
                  <a:lnTo>
                    <a:pt x="432" y="1386"/>
                  </a:lnTo>
                  <a:lnTo>
                    <a:pt x="432" y="1392"/>
                  </a:lnTo>
                  <a:lnTo>
                    <a:pt x="432" y="1398"/>
                  </a:lnTo>
                  <a:lnTo>
                    <a:pt x="426" y="1398"/>
                  </a:lnTo>
                  <a:lnTo>
                    <a:pt x="420" y="1398"/>
                  </a:lnTo>
                  <a:lnTo>
                    <a:pt x="414" y="1398"/>
                  </a:lnTo>
                  <a:lnTo>
                    <a:pt x="420" y="1398"/>
                  </a:lnTo>
                  <a:lnTo>
                    <a:pt x="414" y="1404"/>
                  </a:lnTo>
                  <a:lnTo>
                    <a:pt x="420" y="1404"/>
                  </a:lnTo>
                  <a:lnTo>
                    <a:pt x="414" y="1404"/>
                  </a:lnTo>
                  <a:lnTo>
                    <a:pt x="408" y="1404"/>
                  </a:lnTo>
                  <a:lnTo>
                    <a:pt x="402" y="1410"/>
                  </a:lnTo>
                  <a:lnTo>
                    <a:pt x="402" y="1404"/>
                  </a:lnTo>
                  <a:lnTo>
                    <a:pt x="396" y="1404"/>
                  </a:lnTo>
                  <a:lnTo>
                    <a:pt x="390" y="1404"/>
                  </a:lnTo>
                  <a:lnTo>
                    <a:pt x="384" y="1404"/>
                  </a:lnTo>
                  <a:lnTo>
                    <a:pt x="384" y="1398"/>
                  </a:lnTo>
                  <a:lnTo>
                    <a:pt x="384" y="1392"/>
                  </a:lnTo>
                  <a:lnTo>
                    <a:pt x="390" y="1392"/>
                  </a:lnTo>
                  <a:lnTo>
                    <a:pt x="390" y="1386"/>
                  </a:lnTo>
                  <a:lnTo>
                    <a:pt x="390" y="1380"/>
                  </a:lnTo>
                  <a:lnTo>
                    <a:pt x="396" y="1380"/>
                  </a:lnTo>
                  <a:lnTo>
                    <a:pt x="402" y="1380"/>
                  </a:lnTo>
                  <a:lnTo>
                    <a:pt x="408" y="1380"/>
                  </a:lnTo>
                  <a:lnTo>
                    <a:pt x="408" y="1374"/>
                  </a:lnTo>
                  <a:lnTo>
                    <a:pt x="414" y="1374"/>
                  </a:lnTo>
                  <a:lnTo>
                    <a:pt x="414" y="1368"/>
                  </a:lnTo>
                  <a:lnTo>
                    <a:pt x="414" y="1362"/>
                  </a:lnTo>
                  <a:lnTo>
                    <a:pt x="414" y="1368"/>
                  </a:lnTo>
                  <a:lnTo>
                    <a:pt x="414" y="1374"/>
                  </a:lnTo>
                  <a:lnTo>
                    <a:pt x="408" y="1374"/>
                  </a:lnTo>
                  <a:lnTo>
                    <a:pt x="402" y="1380"/>
                  </a:lnTo>
                  <a:lnTo>
                    <a:pt x="396" y="1380"/>
                  </a:lnTo>
                  <a:lnTo>
                    <a:pt x="396" y="1374"/>
                  </a:lnTo>
                  <a:lnTo>
                    <a:pt x="390" y="1374"/>
                  </a:lnTo>
                  <a:lnTo>
                    <a:pt x="390" y="1368"/>
                  </a:lnTo>
                  <a:lnTo>
                    <a:pt x="384" y="1368"/>
                  </a:lnTo>
                  <a:lnTo>
                    <a:pt x="384" y="1374"/>
                  </a:lnTo>
                  <a:lnTo>
                    <a:pt x="378" y="1374"/>
                  </a:lnTo>
                  <a:lnTo>
                    <a:pt x="378" y="1380"/>
                  </a:lnTo>
                  <a:lnTo>
                    <a:pt x="372" y="1380"/>
                  </a:lnTo>
                  <a:lnTo>
                    <a:pt x="366" y="1386"/>
                  </a:lnTo>
                  <a:lnTo>
                    <a:pt x="360" y="1386"/>
                  </a:lnTo>
                  <a:lnTo>
                    <a:pt x="354" y="1386"/>
                  </a:lnTo>
                  <a:lnTo>
                    <a:pt x="354" y="1380"/>
                  </a:lnTo>
                  <a:lnTo>
                    <a:pt x="348" y="1380"/>
                  </a:lnTo>
                  <a:lnTo>
                    <a:pt x="342" y="1380"/>
                  </a:lnTo>
                  <a:lnTo>
                    <a:pt x="342" y="1374"/>
                  </a:lnTo>
                  <a:lnTo>
                    <a:pt x="336" y="1368"/>
                  </a:lnTo>
                  <a:lnTo>
                    <a:pt x="342" y="1368"/>
                  </a:lnTo>
                  <a:lnTo>
                    <a:pt x="342" y="1362"/>
                  </a:lnTo>
                  <a:lnTo>
                    <a:pt x="348" y="1362"/>
                  </a:lnTo>
                  <a:lnTo>
                    <a:pt x="354" y="1362"/>
                  </a:lnTo>
                  <a:lnTo>
                    <a:pt x="354" y="1356"/>
                  </a:lnTo>
                  <a:lnTo>
                    <a:pt x="348" y="1356"/>
                  </a:lnTo>
                  <a:lnTo>
                    <a:pt x="348" y="1350"/>
                  </a:lnTo>
                  <a:lnTo>
                    <a:pt x="348" y="1344"/>
                  </a:lnTo>
                  <a:lnTo>
                    <a:pt x="354" y="1338"/>
                  </a:lnTo>
                  <a:lnTo>
                    <a:pt x="354" y="1332"/>
                  </a:lnTo>
                  <a:lnTo>
                    <a:pt x="354" y="1326"/>
                  </a:lnTo>
                  <a:lnTo>
                    <a:pt x="354" y="1320"/>
                  </a:lnTo>
                  <a:lnTo>
                    <a:pt x="354" y="1314"/>
                  </a:lnTo>
                  <a:lnTo>
                    <a:pt x="354" y="1308"/>
                  </a:lnTo>
                  <a:lnTo>
                    <a:pt x="348" y="1308"/>
                  </a:lnTo>
                  <a:lnTo>
                    <a:pt x="348" y="1302"/>
                  </a:lnTo>
                  <a:lnTo>
                    <a:pt x="342" y="1296"/>
                  </a:lnTo>
                  <a:lnTo>
                    <a:pt x="336" y="1296"/>
                  </a:lnTo>
                  <a:lnTo>
                    <a:pt x="336" y="1290"/>
                  </a:lnTo>
                  <a:lnTo>
                    <a:pt x="330" y="1290"/>
                  </a:lnTo>
                  <a:lnTo>
                    <a:pt x="324" y="1290"/>
                  </a:lnTo>
                  <a:lnTo>
                    <a:pt x="324" y="1284"/>
                  </a:lnTo>
                  <a:lnTo>
                    <a:pt x="318" y="1284"/>
                  </a:lnTo>
                  <a:lnTo>
                    <a:pt x="318" y="1278"/>
                  </a:lnTo>
                  <a:lnTo>
                    <a:pt x="312" y="1278"/>
                  </a:lnTo>
                  <a:lnTo>
                    <a:pt x="312" y="1272"/>
                  </a:lnTo>
                  <a:lnTo>
                    <a:pt x="312" y="1278"/>
                  </a:lnTo>
                  <a:lnTo>
                    <a:pt x="318" y="1284"/>
                  </a:lnTo>
                  <a:lnTo>
                    <a:pt x="324" y="1290"/>
                  </a:lnTo>
                  <a:lnTo>
                    <a:pt x="330" y="1290"/>
                  </a:lnTo>
                  <a:lnTo>
                    <a:pt x="330" y="1296"/>
                  </a:lnTo>
                  <a:lnTo>
                    <a:pt x="336" y="1296"/>
                  </a:lnTo>
                  <a:lnTo>
                    <a:pt x="336" y="1302"/>
                  </a:lnTo>
                  <a:lnTo>
                    <a:pt x="342" y="1302"/>
                  </a:lnTo>
                  <a:lnTo>
                    <a:pt x="348" y="1302"/>
                  </a:lnTo>
                  <a:lnTo>
                    <a:pt x="348" y="1308"/>
                  </a:lnTo>
                  <a:lnTo>
                    <a:pt x="348" y="1314"/>
                  </a:lnTo>
                  <a:lnTo>
                    <a:pt x="354" y="1314"/>
                  </a:lnTo>
                  <a:lnTo>
                    <a:pt x="354" y="1320"/>
                  </a:lnTo>
                  <a:lnTo>
                    <a:pt x="354" y="1326"/>
                  </a:lnTo>
                  <a:lnTo>
                    <a:pt x="348" y="1326"/>
                  </a:lnTo>
                  <a:lnTo>
                    <a:pt x="348" y="1332"/>
                  </a:lnTo>
                  <a:lnTo>
                    <a:pt x="348" y="1338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2" y="1350"/>
                  </a:lnTo>
                  <a:lnTo>
                    <a:pt x="336" y="1350"/>
                  </a:lnTo>
                  <a:lnTo>
                    <a:pt x="330" y="1350"/>
                  </a:lnTo>
                  <a:lnTo>
                    <a:pt x="330" y="1356"/>
                  </a:lnTo>
                  <a:lnTo>
                    <a:pt x="330" y="1350"/>
                  </a:lnTo>
                  <a:lnTo>
                    <a:pt x="324" y="1350"/>
                  </a:lnTo>
                  <a:lnTo>
                    <a:pt x="318" y="1344"/>
                  </a:lnTo>
                  <a:lnTo>
                    <a:pt x="318" y="1350"/>
                  </a:lnTo>
                  <a:lnTo>
                    <a:pt x="312" y="1344"/>
                  </a:lnTo>
                  <a:lnTo>
                    <a:pt x="312" y="1338"/>
                  </a:lnTo>
                  <a:lnTo>
                    <a:pt x="306" y="1338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6" y="1326"/>
                  </a:lnTo>
                  <a:lnTo>
                    <a:pt x="306" y="1320"/>
                  </a:lnTo>
                  <a:lnTo>
                    <a:pt x="306" y="1326"/>
                  </a:lnTo>
                  <a:lnTo>
                    <a:pt x="312" y="1326"/>
                  </a:lnTo>
                  <a:lnTo>
                    <a:pt x="312" y="1320"/>
                  </a:lnTo>
                  <a:lnTo>
                    <a:pt x="306" y="1320"/>
                  </a:lnTo>
                  <a:lnTo>
                    <a:pt x="300" y="1320"/>
                  </a:lnTo>
                  <a:lnTo>
                    <a:pt x="294" y="1320"/>
                  </a:lnTo>
                  <a:lnTo>
                    <a:pt x="294" y="1314"/>
                  </a:lnTo>
                  <a:lnTo>
                    <a:pt x="288" y="1314"/>
                  </a:lnTo>
                  <a:lnTo>
                    <a:pt x="288" y="1308"/>
                  </a:lnTo>
                  <a:lnTo>
                    <a:pt x="288" y="1302"/>
                  </a:lnTo>
                  <a:lnTo>
                    <a:pt x="294" y="1302"/>
                  </a:lnTo>
                  <a:lnTo>
                    <a:pt x="294" y="1296"/>
                  </a:lnTo>
                  <a:lnTo>
                    <a:pt x="288" y="1296"/>
                  </a:lnTo>
                  <a:lnTo>
                    <a:pt x="288" y="1290"/>
                  </a:lnTo>
                  <a:lnTo>
                    <a:pt x="288" y="1296"/>
                  </a:lnTo>
                  <a:lnTo>
                    <a:pt x="294" y="1302"/>
                  </a:lnTo>
                  <a:lnTo>
                    <a:pt x="288" y="1302"/>
                  </a:lnTo>
                  <a:lnTo>
                    <a:pt x="282" y="1296"/>
                  </a:lnTo>
                  <a:lnTo>
                    <a:pt x="276" y="1296"/>
                  </a:lnTo>
                  <a:lnTo>
                    <a:pt x="276" y="1290"/>
                  </a:lnTo>
                  <a:lnTo>
                    <a:pt x="270" y="1290"/>
                  </a:lnTo>
                  <a:lnTo>
                    <a:pt x="264" y="1284"/>
                  </a:lnTo>
                  <a:lnTo>
                    <a:pt x="264" y="1278"/>
                  </a:lnTo>
                  <a:lnTo>
                    <a:pt x="264" y="1272"/>
                  </a:lnTo>
                  <a:lnTo>
                    <a:pt x="264" y="1266"/>
                  </a:lnTo>
                  <a:lnTo>
                    <a:pt x="258" y="1266"/>
                  </a:lnTo>
                  <a:lnTo>
                    <a:pt x="252" y="1266"/>
                  </a:lnTo>
                  <a:lnTo>
                    <a:pt x="246" y="1260"/>
                  </a:lnTo>
                  <a:lnTo>
                    <a:pt x="240" y="1254"/>
                  </a:lnTo>
                  <a:lnTo>
                    <a:pt x="240" y="1260"/>
                  </a:lnTo>
                  <a:lnTo>
                    <a:pt x="240" y="1266"/>
                  </a:lnTo>
                  <a:lnTo>
                    <a:pt x="240" y="1272"/>
                  </a:lnTo>
                  <a:lnTo>
                    <a:pt x="246" y="1272"/>
                  </a:lnTo>
                  <a:lnTo>
                    <a:pt x="246" y="1278"/>
                  </a:lnTo>
                  <a:lnTo>
                    <a:pt x="246" y="1284"/>
                  </a:lnTo>
                  <a:lnTo>
                    <a:pt x="252" y="1284"/>
                  </a:lnTo>
                  <a:lnTo>
                    <a:pt x="252" y="1290"/>
                  </a:lnTo>
                  <a:lnTo>
                    <a:pt x="258" y="1296"/>
                  </a:lnTo>
                  <a:lnTo>
                    <a:pt x="264" y="1302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58" y="1314"/>
                  </a:lnTo>
                  <a:lnTo>
                    <a:pt x="258" y="1308"/>
                  </a:lnTo>
                  <a:lnTo>
                    <a:pt x="252" y="1308"/>
                  </a:lnTo>
                  <a:lnTo>
                    <a:pt x="252" y="1302"/>
                  </a:lnTo>
                  <a:lnTo>
                    <a:pt x="246" y="1302"/>
                  </a:lnTo>
                  <a:lnTo>
                    <a:pt x="246" y="1296"/>
                  </a:lnTo>
                  <a:lnTo>
                    <a:pt x="240" y="1296"/>
                  </a:lnTo>
                  <a:lnTo>
                    <a:pt x="240" y="1290"/>
                  </a:lnTo>
                  <a:lnTo>
                    <a:pt x="234" y="1284"/>
                  </a:lnTo>
                  <a:lnTo>
                    <a:pt x="234" y="1278"/>
                  </a:lnTo>
                  <a:close/>
                  <a:moveTo>
                    <a:pt x="444" y="1332"/>
                  </a:moveTo>
                  <a:lnTo>
                    <a:pt x="450" y="1326"/>
                  </a:lnTo>
                  <a:lnTo>
                    <a:pt x="456" y="1326"/>
                  </a:lnTo>
                  <a:lnTo>
                    <a:pt x="456" y="1332"/>
                  </a:lnTo>
                  <a:lnTo>
                    <a:pt x="456" y="1338"/>
                  </a:lnTo>
                  <a:lnTo>
                    <a:pt x="450" y="1338"/>
                  </a:lnTo>
                  <a:lnTo>
                    <a:pt x="444" y="1338"/>
                  </a:lnTo>
                  <a:lnTo>
                    <a:pt x="444" y="1332"/>
                  </a:lnTo>
                  <a:close/>
                  <a:moveTo>
                    <a:pt x="444" y="1368"/>
                  </a:moveTo>
                  <a:lnTo>
                    <a:pt x="456" y="1368"/>
                  </a:lnTo>
                  <a:lnTo>
                    <a:pt x="456" y="1374"/>
                  </a:lnTo>
                  <a:lnTo>
                    <a:pt x="444" y="1374"/>
                  </a:lnTo>
                  <a:lnTo>
                    <a:pt x="444" y="1368"/>
                  </a:lnTo>
                  <a:close/>
                  <a:moveTo>
                    <a:pt x="444" y="1386"/>
                  </a:moveTo>
                  <a:lnTo>
                    <a:pt x="444" y="1380"/>
                  </a:lnTo>
                  <a:lnTo>
                    <a:pt x="444" y="1374"/>
                  </a:lnTo>
                  <a:lnTo>
                    <a:pt x="444" y="1380"/>
                  </a:lnTo>
                  <a:lnTo>
                    <a:pt x="450" y="1380"/>
                  </a:lnTo>
                  <a:lnTo>
                    <a:pt x="456" y="1380"/>
                  </a:lnTo>
                  <a:lnTo>
                    <a:pt x="456" y="1386"/>
                  </a:lnTo>
                  <a:lnTo>
                    <a:pt x="456" y="1392"/>
                  </a:lnTo>
                  <a:lnTo>
                    <a:pt x="462" y="1392"/>
                  </a:lnTo>
                  <a:lnTo>
                    <a:pt x="462" y="1398"/>
                  </a:lnTo>
                  <a:lnTo>
                    <a:pt x="462" y="1404"/>
                  </a:lnTo>
                  <a:lnTo>
                    <a:pt x="456" y="1404"/>
                  </a:lnTo>
                  <a:lnTo>
                    <a:pt x="450" y="1404"/>
                  </a:lnTo>
                  <a:lnTo>
                    <a:pt x="450" y="1398"/>
                  </a:lnTo>
                  <a:lnTo>
                    <a:pt x="444" y="1398"/>
                  </a:lnTo>
                  <a:lnTo>
                    <a:pt x="444" y="1392"/>
                  </a:lnTo>
                  <a:lnTo>
                    <a:pt x="444" y="1386"/>
                  </a:lnTo>
                  <a:close/>
                  <a:moveTo>
                    <a:pt x="438" y="1362"/>
                  </a:moveTo>
                  <a:lnTo>
                    <a:pt x="444" y="1356"/>
                  </a:lnTo>
                  <a:lnTo>
                    <a:pt x="450" y="1356"/>
                  </a:lnTo>
                  <a:lnTo>
                    <a:pt x="450" y="1362"/>
                  </a:lnTo>
                  <a:lnTo>
                    <a:pt x="450" y="1368"/>
                  </a:lnTo>
                  <a:lnTo>
                    <a:pt x="444" y="1368"/>
                  </a:lnTo>
                  <a:lnTo>
                    <a:pt x="444" y="1362"/>
                  </a:lnTo>
                  <a:lnTo>
                    <a:pt x="438" y="1362"/>
                  </a:lnTo>
                  <a:close/>
                  <a:moveTo>
                    <a:pt x="438" y="1350"/>
                  </a:moveTo>
                  <a:lnTo>
                    <a:pt x="438" y="1344"/>
                  </a:lnTo>
                  <a:lnTo>
                    <a:pt x="438" y="1338"/>
                  </a:lnTo>
                  <a:lnTo>
                    <a:pt x="444" y="1338"/>
                  </a:lnTo>
                  <a:lnTo>
                    <a:pt x="450" y="1338"/>
                  </a:lnTo>
                  <a:lnTo>
                    <a:pt x="456" y="1338"/>
                  </a:lnTo>
                  <a:lnTo>
                    <a:pt x="450" y="1344"/>
                  </a:lnTo>
                  <a:lnTo>
                    <a:pt x="444" y="1350"/>
                  </a:lnTo>
                  <a:lnTo>
                    <a:pt x="438" y="1350"/>
                  </a:lnTo>
                  <a:close/>
                  <a:moveTo>
                    <a:pt x="432" y="1380"/>
                  </a:moveTo>
                  <a:lnTo>
                    <a:pt x="432" y="1368"/>
                  </a:lnTo>
                  <a:lnTo>
                    <a:pt x="432" y="1362"/>
                  </a:lnTo>
                  <a:lnTo>
                    <a:pt x="432" y="1356"/>
                  </a:lnTo>
                  <a:lnTo>
                    <a:pt x="438" y="1356"/>
                  </a:lnTo>
                  <a:lnTo>
                    <a:pt x="438" y="1362"/>
                  </a:lnTo>
                  <a:lnTo>
                    <a:pt x="438" y="1368"/>
                  </a:lnTo>
                  <a:lnTo>
                    <a:pt x="438" y="1374"/>
                  </a:lnTo>
                  <a:lnTo>
                    <a:pt x="438" y="1380"/>
                  </a:lnTo>
                  <a:lnTo>
                    <a:pt x="438" y="1386"/>
                  </a:lnTo>
                  <a:lnTo>
                    <a:pt x="438" y="1380"/>
                  </a:lnTo>
                  <a:lnTo>
                    <a:pt x="432" y="1380"/>
                  </a:lnTo>
                  <a:close/>
                  <a:moveTo>
                    <a:pt x="246" y="1272"/>
                  </a:moveTo>
                  <a:lnTo>
                    <a:pt x="252" y="1272"/>
                  </a:lnTo>
                  <a:lnTo>
                    <a:pt x="252" y="1278"/>
                  </a:lnTo>
                  <a:lnTo>
                    <a:pt x="246" y="1278"/>
                  </a:lnTo>
                  <a:lnTo>
                    <a:pt x="246" y="1272"/>
                  </a:lnTo>
                  <a:close/>
                  <a:moveTo>
                    <a:pt x="426" y="1416"/>
                  </a:moveTo>
                  <a:lnTo>
                    <a:pt x="432" y="1410"/>
                  </a:lnTo>
                  <a:lnTo>
                    <a:pt x="438" y="1410"/>
                  </a:lnTo>
                  <a:lnTo>
                    <a:pt x="438" y="1416"/>
                  </a:lnTo>
                  <a:lnTo>
                    <a:pt x="438" y="1422"/>
                  </a:lnTo>
                  <a:lnTo>
                    <a:pt x="432" y="1422"/>
                  </a:lnTo>
                  <a:lnTo>
                    <a:pt x="426" y="1422"/>
                  </a:lnTo>
                  <a:lnTo>
                    <a:pt x="426" y="1416"/>
                  </a:lnTo>
                  <a:close/>
                  <a:moveTo>
                    <a:pt x="246" y="1266"/>
                  </a:moveTo>
                  <a:lnTo>
                    <a:pt x="252" y="1266"/>
                  </a:lnTo>
                  <a:lnTo>
                    <a:pt x="258" y="1272"/>
                  </a:lnTo>
                  <a:lnTo>
                    <a:pt x="258" y="1278"/>
                  </a:lnTo>
                  <a:lnTo>
                    <a:pt x="258" y="1284"/>
                  </a:lnTo>
                  <a:lnTo>
                    <a:pt x="252" y="1284"/>
                  </a:lnTo>
                  <a:lnTo>
                    <a:pt x="252" y="1278"/>
                  </a:lnTo>
                  <a:lnTo>
                    <a:pt x="252" y="1272"/>
                  </a:lnTo>
                  <a:lnTo>
                    <a:pt x="252" y="1266"/>
                  </a:lnTo>
                  <a:lnTo>
                    <a:pt x="246" y="1266"/>
                  </a:lnTo>
                  <a:close/>
                  <a:moveTo>
                    <a:pt x="408" y="1458"/>
                  </a:moveTo>
                  <a:lnTo>
                    <a:pt x="408" y="1452"/>
                  </a:lnTo>
                  <a:lnTo>
                    <a:pt x="414" y="1452"/>
                  </a:lnTo>
                  <a:lnTo>
                    <a:pt x="414" y="1446"/>
                  </a:lnTo>
                  <a:lnTo>
                    <a:pt x="414" y="1440"/>
                  </a:lnTo>
                  <a:lnTo>
                    <a:pt x="420" y="1440"/>
                  </a:lnTo>
                  <a:lnTo>
                    <a:pt x="420" y="1434"/>
                  </a:lnTo>
                  <a:lnTo>
                    <a:pt x="420" y="1428"/>
                  </a:lnTo>
                  <a:lnTo>
                    <a:pt x="420" y="1422"/>
                  </a:lnTo>
                  <a:lnTo>
                    <a:pt x="426" y="1422"/>
                  </a:lnTo>
                  <a:lnTo>
                    <a:pt x="432" y="1428"/>
                  </a:lnTo>
                  <a:lnTo>
                    <a:pt x="438" y="1428"/>
                  </a:lnTo>
                  <a:lnTo>
                    <a:pt x="438" y="1434"/>
                  </a:lnTo>
                  <a:lnTo>
                    <a:pt x="438" y="1428"/>
                  </a:lnTo>
                  <a:lnTo>
                    <a:pt x="438" y="1422"/>
                  </a:lnTo>
                  <a:lnTo>
                    <a:pt x="444" y="1416"/>
                  </a:lnTo>
                  <a:lnTo>
                    <a:pt x="444" y="1410"/>
                  </a:lnTo>
                  <a:lnTo>
                    <a:pt x="450" y="1416"/>
                  </a:lnTo>
                  <a:lnTo>
                    <a:pt x="456" y="1416"/>
                  </a:lnTo>
                  <a:lnTo>
                    <a:pt x="456" y="1422"/>
                  </a:lnTo>
                  <a:lnTo>
                    <a:pt x="456" y="1428"/>
                  </a:lnTo>
                  <a:lnTo>
                    <a:pt x="456" y="1434"/>
                  </a:lnTo>
                  <a:lnTo>
                    <a:pt x="456" y="1440"/>
                  </a:lnTo>
                  <a:lnTo>
                    <a:pt x="462" y="1440"/>
                  </a:lnTo>
                  <a:lnTo>
                    <a:pt x="462" y="1446"/>
                  </a:lnTo>
                  <a:lnTo>
                    <a:pt x="462" y="1452"/>
                  </a:lnTo>
                  <a:lnTo>
                    <a:pt x="456" y="1452"/>
                  </a:lnTo>
                  <a:lnTo>
                    <a:pt x="450" y="1452"/>
                  </a:lnTo>
                  <a:lnTo>
                    <a:pt x="444" y="1446"/>
                  </a:lnTo>
                  <a:lnTo>
                    <a:pt x="444" y="1452"/>
                  </a:lnTo>
                  <a:lnTo>
                    <a:pt x="450" y="1452"/>
                  </a:lnTo>
                  <a:lnTo>
                    <a:pt x="450" y="1458"/>
                  </a:lnTo>
                  <a:lnTo>
                    <a:pt x="444" y="1458"/>
                  </a:lnTo>
                  <a:lnTo>
                    <a:pt x="438" y="1464"/>
                  </a:lnTo>
                  <a:lnTo>
                    <a:pt x="438" y="1458"/>
                  </a:lnTo>
                  <a:lnTo>
                    <a:pt x="432" y="1458"/>
                  </a:lnTo>
                  <a:lnTo>
                    <a:pt x="426" y="1458"/>
                  </a:lnTo>
                  <a:lnTo>
                    <a:pt x="432" y="1458"/>
                  </a:lnTo>
                  <a:lnTo>
                    <a:pt x="438" y="1464"/>
                  </a:lnTo>
                  <a:lnTo>
                    <a:pt x="432" y="1464"/>
                  </a:lnTo>
                  <a:lnTo>
                    <a:pt x="432" y="1470"/>
                  </a:lnTo>
                  <a:lnTo>
                    <a:pt x="426" y="1470"/>
                  </a:lnTo>
                  <a:lnTo>
                    <a:pt x="420" y="1476"/>
                  </a:lnTo>
                  <a:lnTo>
                    <a:pt x="420" y="1470"/>
                  </a:lnTo>
                  <a:lnTo>
                    <a:pt x="414" y="1470"/>
                  </a:lnTo>
                  <a:lnTo>
                    <a:pt x="414" y="1464"/>
                  </a:lnTo>
                  <a:lnTo>
                    <a:pt x="414" y="1458"/>
                  </a:lnTo>
                  <a:lnTo>
                    <a:pt x="408" y="1458"/>
                  </a:lnTo>
                  <a:close/>
                  <a:moveTo>
                    <a:pt x="270" y="1326"/>
                  </a:moveTo>
                  <a:lnTo>
                    <a:pt x="270" y="1320"/>
                  </a:lnTo>
                  <a:lnTo>
                    <a:pt x="276" y="1320"/>
                  </a:lnTo>
                  <a:lnTo>
                    <a:pt x="282" y="1326"/>
                  </a:lnTo>
                  <a:lnTo>
                    <a:pt x="288" y="1326"/>
                  </a:lnTo>
                  <a:lnTo>
                    <a:pt x="288" y="1332"/>
                  </a:lnTo>
                  <a:lnTo>
                    <a:pt x="288" y="1338"/>
                  </a:lnTo>
                  <a:lnTo>
                    <a:pt x="288" y="1344"/>
                  </a:lnTo>
                  <a:lnTo>
                    <a:pt x="282" y="1344"/>
                  </a:lnTo>
                  <a:lnTo>
                    <a:pt x="282" y="1338"/>
                  </a:lnTo>
                  <a:lnTo>
                    <a:pt x="276" y="1338"/>
                  </a:lnTo>
                  <a:lnTo>
                    <a:pt x="276" y="1332"/>
                  </a:lnTo>
                  <a:lnTo>
                    <a:pt x="270" y="1332"/>
                  </a:lnTo>
                  <a:lnTo>
                    <a:pt x="270" y="1326"/>
                  </a:lnTo>
                  <a:close/>
                  <a:moveTo>
                    <a:pt x="288" y="1458"/>
                  </a:moveTo>
                  <a:lnTo>
                    <a:pt x="294" y="1458"/>
                  </a:lnTo>
                  <a:lnTo>
                    <a:pt x="294" y="1452"/>
                  </a:lnTo>
                  <a:lnTo>
                    <a:pt x="294" y="1446"/>
                  </a:lnTo>
                  <a:lnTo>
                    <a:pt x="300" y="1446"/>
                  </a:lnTo>
                  <a:lnTo>
                    <a:pt x="300" y="1440"/>
                  </a:lnTo>
                  <a:lnTo>
                    <a:pt x="306" y="1440"/>
                  </a:lnTo>
                  <a:lnTo>
                    <a:pt x="306" y="1446"/>
                  </a:lnTo>
                  <a:lnTo>
                    <a:pt x="312" y="1452"/>
                  </a:lnTo>
                  <a:lnTo>
                    <a:pt x="306" y="1452"/>
                  </a:lnTo>
                  <a:lnTo>
                    <a:pt x="306" y="1458"/>
                  </a:lnTo>
                  <a:lnTo>
                    <a:pt x="312" y="1464"/>
                  </a:lnTo>
                  <a:lnTo>
                    <a:pt x="306" y="1464"/>
                  </a:lnTo>
                  <a:lnTo>
                    <a:pt x="306" y="1470"/>
                  </a:lnTo>
                  <a:lnTo>
                    <a:pt x="300" y="1476"/>
                  </a:lnTo>
                  <a:lnTo>
                    <a:pt x="294" y="1476"/>
                  </a:lnTo>
                  <a:lnTo>
                    <a:pt x="294" y="1470"/>
                  </a:lnTo>
                  <a:lnTo>
                    <a:pt x="288" y="1470"/>
                  </a:lnTo>
                  <a:lnTo>
                    <a:pt x="288" y="1464"/>
                  </a:lnTo>
                  <a:lnTo>
                    <a:pt x="288" y="1458"/>
                  </a:lnTo>
                  <a:close/>
                  <a:moveTo>
                    <a:pt x="270" y="1296"/>
                  </a:moveTo>
                  <a:lnTo>
                    <a:pt x="276" y="1296"/>
                  </a:lnTo>
                  <a:lnTo>
                    <a:pt x="282" y="1296"/>
                  </a:lnTo>
                  <a:lnTo>
                    <a:pt x="288" y="1296"/>
                  </a:lnTo>
                  <a:lnTo>
                    <a:pt x="288" y="1302"/>
                  </a:lnTo>
                  <a:lnTo>
                    <a:pt x="282" y="1308"/>
                  </a:lnTo>
                  <a:lnTo>
                    <a:pt x="276" y="1308"/>
                  </a:lnTo>
                  <a:lnTo>
                    <a:pt x="276" y="1302"/>
                  </a:lnTo>
                  <a:lnTo>
                    <a:pt x="270" y="12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4" name="Freeform 19">
              <a:extLst>
                <a:ext uri="{FF2B5EF4-FFF2-40B4-BE49-F238E27FC236}">
                  <a16:creationId xmlns:a16="http://schemas.microsoft.com/office/drawing/2014/main" id="{5B9020B8-E1C1-4611-A248-9642BBD69C9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7043" y="3765821"/>
              <a:ext cx="333193" cy="398097"/>
            </a:xfrm>
            <a:custGeom>
              <a:avLst/>
              <a:gdLst>
                <a:gd name="T0" fmla="*/ 30 w 624"/>
                <a:gd name="T1" fmla="*/ 61 h 750"/>
                <a:gd name="T2" fmla="*/ 27 w 624"/>
                <a:gd name="T3" fmla="*/ 62 h 750"/>
                <a:gd name="T4" fmla="*/ 23 w 624"/>
                <a:gd name="T5" fmla="*/ 59 h 750"/>
                <a:gd name="T6" fmla="*/ 20 w 624"/>
                <a:gd name="T7" fmla="*/ 58 h 750"/>
                <a:gd name="T8" fmla="*/ 19 w 624"/>
                <a:gd name="T9" fmla="*/ 56 h 750"/>
                <a:gd name="T10" fmla="*/ 17 w 624"/>
                <a:gd name="T11" fmla="*/ 55 h 750"/>
                <a:gd name="T12" fmla="*/ 16 w 624"/>
                <a:gd name="T13" fmla="*/ 51 h 750"/>
                <a:gd name="T14" fmla="*/ 14 w 624"/>
                <a:gd name="T15" fmla="*/ 48 h 750"/>
                <a:gd name="T16" fmla="*/ 12 w 624"/>
                <a:gd name="T17" fmla="*/ 46 h 750"/>
                <a:gd name="T18" fmla="*/ 12 w 624"/>
                <a:gd name="T19" fmla="*/ 44 h 750"/>
                <a:gd name="T20" fmla="*/ 11 w 624"/>
                <a:gd name="T21" fmla="*/ 41 h 750"/>
                <a:gd name="T22" fmla="*/ 8 w 624"/>
                <a:gd name="T23" fmla="*/ 38 h 750"/>
                <a:gd name="T24" fmla="*/ 6 w 624"/>
                <a:gd name="T25" fmla="*/ 38 h 750"/>
                <a:gd name="T26" fmla="*/ 6 w 624"/>
                <a:gd name="T27" fmla="*/ 35 h 750"/>
                <a:gd name="T28" fmla="*/ 7 w 624"/>
                <a:gd name="T29" fmla="*/ 31 h 750"/>
                <a:gd name="T30" fmla="*/ 10 w 624"/>
                <a:gd name="T31" fmla="*/ 27 h 750"/>
                <a:gd name="T32" fmla="*/ 8 w 624"/>
                <a:gd name="T33" fmla="*/ 23 h 750"/>
                <a:gd name="T34" fmla="*/ 6 w 624"/>
                <a:gd name="T35" fmla="*/ 23 h 750"/>
                <a:gd name="T36" fmla="*/ 3 w 624"/>
                <a:gd name="T37" fmla="*/ 22 h 750"/>
                <a:gd name="T38" fmla="*/ 0 w 624"/>
                <a:gd name="T39" fmla="*/ 22 h 750"/>
                <a:gd name="T40" fmla="*/ 0 w 624"/>
                <a:gd name="T41" fmla="*/ 19 h 750"/>
                <a:gd name="T42" fmla="*/ 1 w 624"/>
                <a:gd name="T43" fmla="*/ 18 h 750"/>
                <a:gd name="T44" fmla="*/ 2 w 624"/>
                <a:gd name="T45" fmla="*/ 14 h 750"/>
                <a:gd name="T46" fmla="*/ 4 w 624"/>
                <a:gd name="T47" fmla="*/ 17 h 750"/>
                <a:gd name="T48" fmla="*/ 6 w 624"/>
                <a:gd name="T49" fmla="*/ 17 h 750"/>
                <a:gd name="T50" fmla="*/ 7 w 624"/>
                <a:gd name="T51" fmla="*/ 17 h 750"/>
                <a:gd name="T52" fmla="*/ 9 w 624"/>
                <a:gd name="T53" fmla="*/ 15 h 750"/>
                <a:gd name="T54" fmla="*/ 10 w 624"/>
                <a:gd name="T55" fmla="*/ 14 h 750"/>
                <a:gd name="T56" fmla="*/ 11 w 624"/>
                <a:gd name="T57" fmla="*/ 12 h 750"/>
                <a:gd name="T58" fmla="*/ 13 w 624"/>
                <a:gd name="T59" fmla="*/ 12 h 750"/>
                <a:gd name="T60" fmla="*/ 18 w 624"/>
                <a:gd name="T61" fmla="*/ 10 h 750"/>
                <a:gd name="T62" fmla="*/ 22 w 624"/>
                <a:gd name="T63" fmla="*/ 4 h 750"/>
                <a:gd name="T64" fmla="*/ 24 w 624"/>
                <a:gd name="T65" fmla="*/ 4 h 750"/>
                <a:gd name="T66" fmla="*/ 26 w 624"/>
                <a:gd name="T67" fmla="*/ 2 h 750"/>
                <a:gd name="T68" fmla="*/ 29 w 624"/>
                <a:gd name="T69" fmla="*/ 0 h 750"/>
                <a:gd name="T70" fmla="*/ 32 w 624"/>
                <a:gd name="T71" fmla="*/ 2 h 750"/>
                <a:gd name="T72" fmla="*/ 34 w 624"/>
                <a:gd name="T73" fmla="*/ 5 h 750"/>
                <a:gd name="T74" fmla="*/ 35 w 624"/>
                <a:gd name="T75" fmla="*/ 8 h 750"/>
                <a:gd name="T76" fmla="*/ 39 w 624"/>
                <a:gd name="T77" fmla="*/ 11 h 750"/>
                <a:gd name="T78" fmla="*/ 42 w 624"/>
                <a:gd name="T79" fmla="*/ 14 h 750"/>
                <a:gd name="T80" fmla="*/ 46 w 624"/>
                <a:gd name="T81" fmla="*/ 12 h 750"/>
                <a:gd name="T82" fmla="*/ 49 w 624"/>
                <a:gd name="T83" fmla="*/ 12 h 750"/>
                <a:gd name="T84" fmla="*/ 51 w 624"/>
                <a:gd name="T85" fmla="*/ 12 h 750"/>
                <a:gd name="T86" fmla="*/ 53 w 624"/>
                <a:gd name="T87" fmla="*/ 12 h 750"/>
                <a:gd name="T88" fmla="*/ 53 w 624"/>
                <a:gd name="T89" fmla="*/ 17 h 750"/>
                <a:gd name="T90" fmla="*/ 51 w 624"/>
                <a:gd name="T91" fmla="*/ 20 h 750"/>
                <a:gd name="T92" fmla="*/ 49 w 624"/>
                <a:gd name="T93" fmla="*/ 26 h 750"/>
                <a:gd name="T94" fmla="*/ 47 w 624"/>
                <a:gd name="T95" fmla="*/ 26 h 750"/>
                <a:gd name="T96" fmla="*/ 44 w 624"/>
                <a:gd name="T97" fmla="*/ 26 h 750"/>
                <a:gd name="T98" fmla="*/ 43 w 624"/>
                <a:gd name="T99" fmla="*/ 27 h 750"/>
                <a:gd name="T100" fmla="*/ 45 w 624"/>
                <a:gd name="T101" fmla="*/ 32 h 750"/>
                <a:gd name="T102" fmla="*/ 44 w 624"/>
                <a:gd name="T103" fmla="*/ 43 h 750"/>
                <a:gd name="T104" fmla="*/ 44 w 624"/>
                <a:gd name="T105" fmla="*/ 47 h 750"/>
                <a:gd name="T106" fmla="*/ 44 w 624"/>
                <a:gd name="T107" fmla="*/ 54 h 750"/>
                <a:gd name="T108" fmla="*/ 41 w 624"/>
                <a:gd name="T109" fmla="*/ 60 h 750"/>
                <a:gd name="T110" fmla="*/ 42 w 624"/>
                <a:gd name="T111" fmla="*/ 62 h 750"/>
                <a:gd name="T112" fmla="*/ 43 w 624"/>
                <a:gd name="T113" fmla="*/ 65 h 750"/>
                <a:gd name="T114" fmla="*/ 39 w 624"/>
                <a:gd name="T115" fmla="*/ 63 h 750"/>
                <a:gd name="T116" fmla="*/ 35 w 624"/>
                <a:gd name="T117" fmla="*/ 62 h 75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24"/>
                <a:gd name="T178" fmla="*/ 0 h 750"/>
                <a:gd name="T179" fmla="*/ 624 w 624"/>
                <a:gd name="T180" fmla="*/ 750 h 75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24" h="750">
                  <a:moveTo>
                    <a:pt x="390" y="702"/>
                  </a:moveTo>
                  <a:lnTo>
                    <a:pt x="372" y="696"/>
                  </a:lnTo>
                  <a:lnTo>
                    <a:pt x="360" y="702"/>
                  </a:lnTo>
                  <a:lnTo>
                    <a:pt x="348" y="702"/>
                  </a:lnTo>
                  <a:lnTo>
                    <a:pt x="336" y="702"/>
                  </a:lnTo>
                  <a:lnTo>
                    <a:pt x="330" y="702"/>
                  </a:lnTo>
                  <a:lnTo>
                    <a:pt x="318" y="708"/>
                  </a:lnTo>
                  <a:lnTo>
                    <a:pt x="306" y="708"/>
                  </a:lnTo>
                  <a:lnTo>
                    <a:pt x="294" y="690"/>
                  </a:lnTo>
                  <a:lnTo>
                    <a:pt x="294" y="684"/>
                  </a:lnTo>
                  <a:lnTo>
                    <a:pt x="276" y="684"/>
                  </a:lnTo>
                  <a:lnTo>
                    <a:pt x="270" y="678"/>
                  </a:lnTo>
                  <a:lnTo>
                    <a:pt x="240" y="672"/>
                  </a:lnTo>
                  <a:lnTo>
                    <a:pt x="234" y="672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6"/>
                  </a:lnTo>
                  <a:lnTo>
                    <a:pt x="216" y="660"/>
                  </a:lnTo>
                  <a:lnTo>
                    <a:pt x="216" y="654"/>
                  </a:lnTo>
                  <a:lnTo>
                    <a:pt x="216" y="642"/>
                  </a:lnTo>
                  <a:lnTo>
                    <a:pt x="210" y="642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36"/>
                  </a:lnTo>
                  <a:lnTo>
                    <a:pt x="192" y="624"/>
                  </a:lnTo>
                  <a:lnTo>
                    <a:pt x="186" y="612"/>
                  </a:lnTo>
                  <a:lnTo>
                    <a:pt x="186" y="600"/>
                  </a:lnTo>
                  <a:lnTo>
                    <a:pt x="186" y="588"/>
                  </a:lnTo>
                  <a:lnTo>
                    <a:pt x="180" y="582"/>
                  </a:lnTo>
                  <a:lnTo>
                    <a:pt x="180" y="570"/>
                  </a:lnTo>
                  <a:lnTo>
                    <a:pt x="174" y="558"/>
                  </a:lnTo>
                  <a:lnTo>
                    <a:pt x="162" y="558"/>
                  </a:lnTo>
                  <a:lnTo>
                    <a:pt x="144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38" y="534"/>
                  </a:lnTo>
                  <a:lnTo>
                    <a:pt x="138" y="528"/>
                  </a:lnTo>
                  <a:lnTo>
                    <a:pt x="132" y="522"/>
                  </a:lnTo>
                  <a:lnTo>
                    <a:pt x="144" y="522"/>
                  </a:lnTo>
                  <a:lnTo>
                    <a:pt x="144" y="510"/>
                  </a:lnTo>
                  <a:lnTo>
                    <a:pt x="144" y="504"/>
                  </a:lnTo>
                  <a:lnTo>
                    <a:pt x="138" y="492"/>
                  </a:lnTo>
                  <a:lnTo>
                    <a:pt x="138" y="474"/>
                  </a:lnTo>
                  <a:lnTo>
                    <a:pt x="126" y="468"/>
                  </a:lnTo>
                  <a:lnTo>
                    <a:pt x="120" y="456"/>
                  </a:lnTo>
                  <a:lnTo>
                    <a:pt x="114" y="450"/>
                  </a:lnTo>
                  <a:lnTo>
                    <a:pt x="108" y="438"/>
                  </a:lnTo>
                  <a:lnTo>
                    <a:pt x="96" y="432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60" y="426"/>
                  </a:lnTo>
                  <a:lnTo>
                    <a:pt x="66" y="420"/>
                  </a:lnTo>
                  <a:lnTo>
                    <a:pt x="66" y="408"/>
                  </a:lnTo>
                  <a:lnTo>
                    <a:pt x="72" y="408"/>
                  </a:lnTo>
                  <a:lnTo>
                    <a:pt x="72" y="384"/>
                  </a:lnTo>
                  <a:lnTo>
                    <a:pt x="72" y="366"/>
                  </a:lnTo>
                  <a:lnTo>
                    <a:pt x="78" y="354"/>
                  </a:lnTo>
                  <a:lnTo>
                    <a:pt x="84" y="354"/>
                  </a:lnTo>
                  <a:lnTo>
                    <a:pt x="90" y="348"/>
                  </a:lnTo>
                  <a:lnTo>
                    <a:pt x="102" y="336"/>
                  </a:lnTo>
                  <a:lnTo>
                    <a:pt x="114" y="324"/>
                  </a:lnTo>
                  <a:lnTo>
                    <a:pt x="120" y="312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20" y="276"/>
                  </a:lnTo>
                  <a:lnTo>
                    <a:pt x="96" y="270"/>
                  </a:lnTo>
                  <a:lnTo>
                    <a:pt x="84" y="270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72" y="264"/>
                  </a:lnTo>
                  <a:lnTo>
                    <a:pt x="60" y="252"/>
                  </a:lnTo>
                  <a:lnTo>
                    <a:pt x="42" y="252"/>
                  </a:lnTo>
                  <a:lnTo>
                    <a:pt x="42" y="258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18" y="252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42" y="156"/>
                  </a:lnTo>
                  <a:lnTo>
                    <a:pt x="48" y="198"/>
                  </a:lnTo>
                  <a:lnTo>
                    <a:pt x="48" y="204"/>
                  </a:lnTo>
                  <a:lnTo>
                    <a:pt x="54" y="198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204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192"/>
                  </a:lnTo>
                  <a:lnTo>
                    <a:pt x="96" y="186"/>
                  </a:lnTo>
                  <a:lnTo>
                    <a:pt x="102" y="180"/>
                  </a:lnTo>
                  <a:lnTo>
                    <a:pt x="102" y="174"/>
                  </a:lnTo>
                  <a:lnTo>
                    <a:pt x="108" y="168"/>
                  </a:lnTo>
                  <a:lnTo>
                    <a:pt x="108" y="162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0"/>
                  </a:lnTo>
                  <a:lnTo>
                    <a:pt x="132" y="144"/>
                  </a:lnTo>
                  <a:lnTo>
                    <a:pt x="138" y="138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0" y="132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74" y="126"/>
                  </a:lnTo>
                  <a:lnTo>
                    <a:pt x="204" y="120"/>
                  </a:lnTo>
                  <a:lnTo>
                    <a:pt x="210" y="78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54"/>
                  </a:lnTo>
                  <a:lnTo>
                    <a:pt x="276" y="54"/>
                  </a:lnTo>
                  <a:lnTo>
                    <a:pt x="276" y="48"/>
                  </a:lnTo>
                  <a:lnTo>
                    <a:pt x="282" y="48"/>
                  </a:lnTo>
                  <a:lnTo>
                    <a:pt x="288" y="42"/>
                  </a:lnTo>
                  <a:lnTo>
                    <a:pt x="294" y="42"/>
                  </a:lnTo>
                  <a:lnTo>
                    <a:pt x="294" y="18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0"/>
                  </a:lnTo>
                  <a:lnTo>
                    <a:pt x="336" y="0"/>
                  </a:lnTo>
                  <a:lnTo>
                    <a:pt x="342" y="0"/>
                  </a:lnTo>
                  <a:lnTo>
                    <a:pt x="354" y="6"/>
                  </a:lnTo>
                  <a:lnTo>
                    <a:pt x="366" y="18"/>
                  </a:lnTo>
                  <a:lnTo>
                    <a:pt x="378" y="36"/>
                  </a:lnTo>
                  <a:lnTo>
                    <a:pt x="390" y="42"/>
                  </a:lnTo>
                  <a:lnTo>
                    <a:pt x="390" y="48"/>
                  </a:lnTo>
                  <a:lnTo>
                    <a:pt x="396" y="60"/>
                  </a:lnTo>
                  <a:lnTo>
                    <a:pt x="402" y="72"/>
                  </a:lnTo>
                  <a:lnTo>
                    <a:pt x="408" y="78"/>
                  </a:lnTo>
                  <a:lnTo>
                    <a:pt x="402" y="84"/>
                  </a:lnTo>
                  <a:lnTo>
                    <a:pt x="408" y="90"/>
                  </a:lnTo>
                  <a:lnTo>
                    <a:pt x="414" y="102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50" y="126"/>
                  </a:lnTo>
                  <a:lnTo>
                    <a:pt x="456" y="126"/>
                  </a:lnTo>
                  <a:lnTo>
                    <a:pt x="462" y="144"/>
                  </a:lnTo>
                  <a:lnTo>
                    <a:pt x="480" y="156"/>
                  </a:lnTo>
                  <a:lnTo>
                    <a:pt x="492" y="156"/>
                  </a:lnTo>
                  <a:lnTo>
                    <a:pt x="516" y="150"/>
                  </a:lnTo>
                  <a:lnTo>
                    <a:pt x="516" y="144"/>
                  </a:lnTo>
                  <a:lnTo>
                    <a:pt x="516" y="138"/>
                  </a:lnTo>
                  <a:lnTo>
                    <a:pt x="528" y="138"/>
                  </a:lnTo>
                  <a:lnTo>
                    <a:pt x="546" y="144"/>
                  </a:lnTo>
                  <a:lnTo>
                    <a:pt x="546" y="138"/>
                  </a:lnTo>
                  <a:lnTo>
                    <a:pt x="552" y="138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76" y="138"/>
                  </a:lnTo>
                  <a:lnTo>
                    <a:pt x="582" y="138"/>
                  </a:lnTo>
                  <a:lnTo>
                    <a:pt x="588" y="138"/>
                  </a:lnTo>
                  <a:lnTo>
                    <a:pt x="594" y="138"/>
                  </a:lnTo>
                  <a:lnTo>
                    <a:pt x="594" y="144"/>
                  </a:lnTo>
                  <a:lnTo>
                    <a:pt x="600" y="138"/>
                  </a:lnTo>
                  <a:lnTo>
                    <a:pt x="606" y="138"/>
                  </a:lnTo>
                  <a:lnTo>
                    <a:pt x="606" y="144"/>
                  </a:lnTo>
                  <a:lnTo>
                    <a:pt x="612" y="144"/>
                  </a:lnTo>
                  <a:lnTo>
                    <a:pt x="618" y="156"/>
                  </a:lnTo>
                  <a:lnTo>
                    <a:pt x="612" y="198"/>
                  </a:lnTo>
                  <a:lnTo>
                    <a:pt x="624" y="198"/>
                  </a:lnTo>
                  <a:lnTo>
                    <a:pt x="624" y="204"/>
                  </a:lnTo>
                  <a:lnTo>
                    <a:pt x="612" y="216"/>
                  </a:lnTo>
                  <a:lnTo>
                    <a:pt x="594" y="234"/>
                  </a:lnTo>
                  <a:lnTo>
                    <a:pt x="588" y="252"/>
                  </a:lnTo>
                  <a:lnTo>
                    <a:pt x="576" y="270"/>
                  </a:lnTo>
                  <a:lnTo>
                    <a:pt x="564" y="282"/>
                  </a:lnTo>
                  <a:lnTo>
                    <a:pt x="564" y="294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8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34" y="294"/>
                  </a:lnTo>
                  <a:lnTo>
                    <a:pt x="522" y="300"/>
                  </a:lnTo>
                  <a:lnTo>
                    <a:pt x="510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498" y="324"/>
                  </a:lnTo>
                  <a:lnTo>
                    <a:pt x="504" y="336"/>
                  </a:lnTo>
                  <a:lnTo>
                    <a:pt x="510" y="348"/>
                  </a:lnTo>
                  <a:lnTo>
                    <a:pt x="516" y="366"/>
                  </a:lnTo>
                  <a:lnTo>
                    <a:pt x="522" y="432"/>
                  </a:lnTo>
                  <a:lnTo>
                    <a:pt x="522" y="456"/>
                  </a:lnTo>
                  <a:lnTo>
                    <a:pt x="504" y="492"/>
                  </a:lnTo>
                  <a:lnTo>
                    <a:pt x="504" y="498"/>
                  </a:lnTo>
                  <a:lnTo>
                    <a:pt x="498" y="504"/>
                  </a:lnTo>
                  <a:lnTo>
                    <a:pt x="498" y="522"/>
                  </a:lnTo>
                  <a:lnTo>
                    <a:pt x="504" y="534"/>
                  </a:lnTo>
                  <a:lnTo>
                    <a:pt x="510" y="546"/>
                  </a:lnTo>
                  <a:lnTo>
                    <a:pt x="516" y="558"/>
                  </a:lnTo>
                  <a:lnTo>
                    <a:pt x="516" y="588"/>
                  </a:lnTo>
                  <a:lnTo>
                    <a:pt x="516" y="600"/>
                  </a:lnTo>
                  <a:lnTo>
                    <a:pt x="510" y="618"/>
                  </a:lnTo>
                  <a:lnTo>
                    <a:pt x="504" y="636"/>
                  </a:lnTo>
                  <a:lnTo>
                    <a:pt x="504" y="642"/>
                  </a:lnTo>
                  <a:lnTo>
                    <a:pt x="474" y="654"/>
                  </a:lnTo>
                  <a:lnTo>
                    <a:pt x="474" y="690"/>
                  </a:lnTo>
                  <a:lnTo>
                    <a:pt x="474" y="696"/>
                  </a:lnTo>
                  <a:lnTo>
                    <a:pt x="480" y="702"/>
                  </a:lnTo>
                  <a:lnTo>
                    <a:pt x="486" y="708"/>
                  </a:lnTo>
                  <a:lnTo>
                    <a:pt x="492" y="708"/>
                  </a:lnTo>
                  <a:lnTo>
                    <a:pt x="498" y="726"/>
                  </a:lnTo>
                  <a:lnTo>
                    <a:pt x="504" y="726"/>
                  </a:lnTo>
                  <a:lnTo>
                    <a:pt x="504" y="738"/>
                  </a:lnTo>
                  <a:lnTo>
                    <a:pt x="498" y="744"/>
                  </a:lnTo>
                  <a:lnTo>
                    <a:pt x="486" y="750"/>
                  </a:lnTo>
                  <a:lnTo>
                    <a:pt x="474" y="744"/>
                  </a:lnTo>
                  <a:lnTo>
                    <a:pt x="462" y="744"/>
                  </a:lnTo>
                  <a:lnTo>
                    <a:pt x="456" y="732"/>
                  </a:lnTo>
                  <a:lnTo>
                    <a:pt x="444" y="732"/>
                  </a:lnTo>
                  <a:lnTo>
                    <a:pt x="432" y="726"/>
                  </a:lnTo>
                  <a:lnTo>
                    <a:pt x="420" y="720"/>
                  </a:lnTo>
                  <a:lnTo>
                    <a:pt x="408" y="708"/>
                  </a:lnTo>
                  <a:lnTo>
                    <a:pt x="402" y="708"/>
                  </a:lnTo>
                  <a:lnTo>
                    <a:pt x="390" y="70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5" name="Freeform 20">
              <a:extLst>
                <a:ext uri="{FF2B5EF4-FFF2-40B4-BE49-F238E27FC236}">
                  <a16:creationId xmlns:a16="http://schemas.microsoft.com/office/drawing/2014/main" id="{B8342C3B-ECEC-465F-AAFF-4815B8AC392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870937"/>
              <a:ext cx="313067" cy="377968"/>
            </a:xfrm>
            <a:custGeom>
              <a:avLst/>
              <a:gdLst>
                <a:gd name="T0" fmla="*/ 15 w 588"/>
                <a:gd name="T1" fmla="*/ 59 h 714"/>
                <a:gd name="T2" fmla="*/ 14 w 588"/>
                <a:gd name="T3" fmla="*/ 58 h 714"/>
                <a:gd name="T4" fmla="*/ 9 w 588"/>
                <a:gd name="T5" fmla="*/ 54 h 714"/>
                <a:gd name="T6" fmla="*/ 4 w 588"/>
                <a:gd name="T7" fmla="*/ 54 h 714"/>
                <a:gd name="T8" fmla="*/ 0 w 588"/>
                <a:gd name="T9" fmla="*/ 50 h 714"/>
                <a:gd name="T10" fmla="*/ 0 w 588"/>
                <a:gd name="T11" fmla="*/ 44 h 714"/>
                <a:gd name="T12" fmla="*/ 4 w 588"/>
                <a:gd name="T13" fmla="*/ 46 h 714"/>
                <a:gd name="T14" fmla="*/ 7 w 588"/>
                <a:gd name="T15" fmla="*/ 47 h 714"/>
                <a:gd name="T16" fmla="*/ 10 w 588"/>
                <a:gd name="T17" fmla="*/ 46 h 714"/>
                <a:gd name="T18" fmla="*/ 8 w 588"/>
                <a:gd name="T19" fmla="*/ 44 h 714"/>
                <a:gd name="T20" fmla="*/ 10 w 588"/>
                <a:gd name="T21" fmla="*/ 39 h 714"/>
                <a:gd name="T22" fmla="*/ 11 w 588"/>
                <a:gd name="T23" fmla="*/ 34 h 714"/>
                <a:gd name="T24" fmla="*/ 9 w 588"/>
                <a:gd name="T25" fmla="*/ 28 h 714"/>
                <a:gd name="T26" fmla="*/ 11 w 588"/>
                <a:gd name="T27" fmla="*/ 22 h 714"/>
                <a:gd name="T28" fmla="*/ 10 w 588"/>
                <a:gd name="T29" fmla="*/ 12 h 714"/>
                <a:gd name="T30" fmla="*/ 9 w 588"/>
                <a:gd name="T31" fmla="*/ 9 h 714"/>
                <a:gd name="T32" fmla="*/ 12 w 588"/>
                <a:gd name="T33" fmla="*/ 8 h 714"/>
                <a:gd name="T34" fmla="*/ 14 w 588"/>
                <a:gd name="T35" fmla="*/ 7 h 714"/>
                <a:gd name="T36" fmla="*/ 17 w 588"/>
                <a:gd name="T37" fmla="*/ 10 h 714"/>
                <a:gd name="T38" fmla="*/ 23 w 588"/>
                <a:gd name="T39" fmla="*/ 14 h 714"/>
                <a:gd name="T40" fmla="*/ 28 w 588"/>
                <a:gd name="T41" fmla="*/ 4 h 714"/>
                <a:gd name="T42" fmla="*/ 35 w 588"/>
                <a:gd name="T43" fmla="*/ 2 h 714"/>
                <a:gd name="T44" fmla="*/ 38 w 588"/>
                <a:gd name="T45" fmla="*/ 0 h 714"/>
                <a:gd name="T46" fmla="*/ 40 w 588"/>
                <a:gd name="T47" fmla="*/ 2 h 714"/>
                <a:gd name="T48" fmla="*/ 39 w 588"/>
                <a:gd name="T49" fmla="*/ 4 h 714"/>
                <a:gd name="T50" fmla="*/ 41 w 588"/>
                <a:gd name="T51" fmla="*/ 5 h 714"/>
                <a:gd name="T52" fmla="*/ 42 w 588"/>
                <a:gd name="T53" fmla="*/ 7 h 714"/>
                <a:gd name="T54" fmla="*/ 43 w 588"/>
                <a:gd name="T55" fmla="*/ 9 h 714"/>
                <a:gd name="T56" fmla="*/ 43 w 588"/>
                <a:gd name="T57" fmla="*/ 10 h 714"/>
                <a:gd name="T58" fmla="*/ 43 w 588"/>
                <a:gd name="T59" fmla="*/ 12 h 714"/>
                <a:gd name="T60" fmla="*/ 44 w 588"/>
                <a:gd name="T61" fmla="*/ 12 h 714"/>
                <a:gd name="T62" fmla="*/ 46 w 588"/>
                <a:gd name="T63" fmla="*/ 13 h 714"/>
                <a:gd name="T64" fmla="*/ 47 w 588"/>
                <a:gd name="T65" fmla="*/ 14 h 714"/>
                <a:gd name="T66" fmla="*/ 48 w 588"/>
                <a:gd name="T67" fmla="*/ 15 h 714"/>
                <a:gd name="T68" fmla="*/ 49 w 588"/>
                <a:gd name="T69" fmla="*/ 15 h 714"/>
                <a:gd name="T70" fmla="*/ 48 w 588"/>
                <a:gd name="T71" fmla="*/ 17 h 714"/>
                <a:gd name="T72" fmla="*/ 49 w 588"/>
                <a:gd name="T73" fmla="*/ 19 h 714"/>
                <a:gd name="T74" fmla="*/ 49 w 588"/>
                <a:gd name="T75" fmla="*/ 20 h 714"/>
                <a:gd name="T76" fmla="*/ 51 w 588"/>
                <a:gd name="T77" fmla="*/ 21 h 714"/>
                <a:gd name="T78" fmla="*/ 50 w 588"/>
                <a:gd name="T79" fmla="*/ 22 h 714"/>
                <a:gd name="T80" fmla="*/ 47 w 588"/>
                <a:gd name="T81" fmla="*/ 23 h 714"/>
                <a:gd name="T82" fmla="*/ 47 w 588"/>
                <a:gd name="T83" fmla="*/ 26 h 714"/>
                <a:gd name="T84" fmla="*/ 47 w 588"/>
                <a:gd name="T85" fmla="*/ 32 h 714"/>
                <a:gd name="T86" fmla="*/ 44 w 588"/>
                <a:gd name="T87" fmla="*/ 35 h 714"/>
                <a:gd name="T88" fmla="*/ 42 w 588"/>
                <a:gd name="T89" fmla="*/ 39 h 714"/>
                <a:gd name="T90" fmla="*/ 42 w 588"/>
                <a:gd name="T91" fmla="*/ 41 h 714"/>
                <a:gd name="T92" fmla="*/ 42 w 588"/>
                <a:gd name="T93" fmla="*/ 42 h 714"/>
                <a:gd name="T94" fmla="*/ 41 w 588"/>
                <a:gd name="T95" fmla="*/ 44 h 714"/>
                <a:gd name="T96" fmla="*/ 39 w 588"/>
                <a:gd name="T97" fmla="*/ 43 h 714"/>
                <a:gd name="T98" fmla="*/ 37 w 588"/>
                <a:gd name="T99" fmla="*/ 44 h 714"/>
                <a:gd name="T100" fmla="*/ 35 w 588"/>
                <a:gd name="T101" fmla="*/ 46 h 714"/>
                <a:gd name="T102" fmla="*/ 31 w 588"/>
                <a:gd name="T103" fmla="*/ 45 h 714"/>
                <a:gd name="T104" fmla="*/ 24 w 588"/>
                <a:gd name="T105" fmla="*/ 45 h 714"/>
                <a:gd name="T106" fmla="*/ 25 w 588"/>
                <a:gd name="T107" fmla="*/ 47 h 714"/>
                <a:gd name="T108" fmla="*/ 25 w 588"/>
                <a:gd name="T109" fmla="*/ 49 h 714"/>
                <a:gd name="T110" fmla="*/ 25 w 588"/>
                <a:gd name="T111" fmla="*/ 50 h 714"/>
                <a:gd name="T112" fmla="*/ 24 w 588"/>
                <a:gd name="T113" fmla="*/ 51 h 714"/>
                <a:gd name="T114" fmla="*/ 22 w 588"/>
                <a:gd name="T115" fmla="*/ 53 h 714"/>
                <a:gd name="T116" fmla="*/ 23 w 588"/>
                <a:gd name="T117" fmla="*/ 56 h 714"/>
                <a:gd name="T118" fmla="*/ 20 w 588"/>
                <a:gd name="T119" fmla="*/ 58 h 714"/>
                <a:gd name="T120" fmla="*/ 19 w 588"/>
                <a:gd name="T121" fmla="*/ 62 h 7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8"/>
                <a:gd name="T184" fmla="*/ 0 h 714"/>
                <a:gd name="T185" fmla="*/ 588 w 588"/>
                <a:gd name="T186" fmla="*/ 714 h 7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8" h="714">
                  <a:moveTo>
                    <a:pt x="216" y="714"/>
                  </a:moveTo>
                  <a:lnTo>
                    <a:pt x="198" y="702"/>
                  </a:lnTo>
                  <a:lnTo>
                    <a:pt x="186" y="696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74" y="678"/>
                  </a:lnTo>
                  <a:lnTo>
                    <a:pt x="168" y="672"/>
                  </a:lnTo>
                  <a:lnTo>
                    <a:pt x="162" y="666"/>
                  </a:lnTo>
                  <a:lnTo>
                    <a:pt x="156" y="636"/>
                  </a:lnTo>
                  <a:lnTo>
                    <a:pt x="144" y="630"/>
                  </a:lnTo>
                  <a:lnTo>
                    <a:pt x="108" y="630"/>
                  </a:lnTo>
                  <a:lnTo>
                    <a:pt x="102" y="624"/>
                  </a:lnTo>
                  <a:lnTo>
                    <a:pt x="96" y="624"/>
                  </a:lnTo>
                  <a:lnTo>
                    <a:pt x="72" y="624"/>
                  </a:lnTo>
                  <a:lnTo>
                    <a:pt x="54" y="624"/>
                  </a:lnTo>
                  <a:lnTo>
                    <a:pt x="42" y="618"/>
                  </a:lnTo>
                  <a:lnTo>
                    <a:pt x="30" y="612"/>
                  </a:lnTo>
                  <a:lnTo>
                    <a:pt x="6" y="606"/>
                  </a:lnTo>
                  <a:lnTo>
                    <a:pt x="0" y="606"/>
                  </a:lnTo>
                  <a:lnTo>
                    <a:pt x="0" y="570"/>
                  </a:lnTo>
                  <a:lnTo>
                    <a:pt x="6" y="552"/>
                  </a:lnTo>
                  <a:lnTo>
                    <a:pt x="6" y="522"/>
                  </a:lnTo>
                  <a:lnTo>
                    <a:pt x="0" y="510"/>
                  </a:lnTo>
                  <a:lnTo>
                    <a:pt x="0" y="504"/>
                  </a:lnTo>
                  <a:lnTo>
                    <a:pt x="12" y="510"/>
                  </a:lnTo>
                  <a:lnTo>
                    <a:pt x="18" y="510"/>
                  </a:lnTo>
                  <a:lnTo>
                    <a:pt x="30" y="522"/>
                  </a:lnTo>
                  <a:lnTo>
                    <a:pt x="42" y="528"/>
                  </a:lnTo>
                  <a:lnTo>
                    <a:pt x="54" y="534"/>
                  </a:lnTo>
                  <a:lnTo>
                    <a:pt x="66" y="534"/>
                  </a:lnTo>
                  <a:lnTo>
                    <a:pt x="72" y="546"/>
                  </a:lnTo>
                  <a:lnTo>
                    <a:pt x="84" y="546"/>
                  </a:lnTo>
                  <a:lnTo>
                    <a:pt x="96" y="552"/>
                  </a:lnTo>
                  <a:lnTo>
                    <a:pt x="108" y="546"/>
                  </a:lnTo>
                  <a:lnTo>
                    <a:pt x="114" y="540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90" y="504"/>
                  </a:lnTo>
                  <a:lnTo>
                    <a:pt x="84" y="498"/>
                  </a:lnTo>
                  <a:lnTo>
                    <a:pt x="84" y="492"/>
                  </a:lnTo>
                  <a:lnTo>
                    <a:pt x="84" y="456"/>
                  </a:lnTo>
                  <a:lnTo>
                    <a:pt x="114" y="444"/>
                  </a:lnTo>
                  <a:lnTo>
                    <a:pt x="114" y="438"/>
                  </a:lnTo>
                  <a:lnTo>
                    <a:pt x="120" y="420"/>
                  </a:lnTo>
                  <a:lnTo>
                    <a:pt x="126" y="402"/>
                  </a:lnTo>
                  <a:lnTo>
                    <a:pt x="126" y="390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14" y="336"/>
                  </a:lnTo>
                  <a:lnTo>
                    <a:pt x="108" y="324"/>
                  </a:lnTo>
                  <a:lnTo>
                    <a:pt x="108" y="306"/>
                  </a:lnTo>
                  <a:lnTo>
                    <a:pt x="114" y="300"/>
                  </a:lnTo>
                  <a:lnTo>
                    <a:pt x="114" y="294"/>
                  </a:lnTo>
                  <a:lnTo>
                    <a:pt x="132" y="258"/>
                  </a:lnTo>
                  <a:lnTo>
                    <a:pt x="132" y="234"/>
                  </a:lnTo>
                  <a:lnTo>
                    <a:pt x="126" y="168"/>
                  </a:lnTo>
                  <a:lnTo>
                    <a:pt x="120" y="150"/>
                  </a:lnTo>
                  <a:lnTo>
                    <a:pt x="114" y="138"/>
                  </a:lnTo>
                  <a:lnTo>
                    <a:pt x="108" y="126"/>
                  </a:lnTo>
                  <a:lnTo>
                    <a:pt x="108" y="120"/>
                  </a:lnTo>
                  <a:lnTo>
                    <a:pt x="108" y="114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20" y="96"/>
                  </a:lnTo>
                  <a:lnTo>
                    <a:pt x="132" y="102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56" y="90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96"/>
                  </a:lnTo>
                  <a:lnTo>
                    <a:pt x="186" y="96"/>
                  </a:lnTo>
                  <a:lnTo>
                    <a:pt x="192" y="114"/>
                  </a:lnTo>
                  <a:lnTo>
                    <a:pt x="204" y="132"/>
                  </a:lnTo>
                  <a:lnTo>
                    <a:pt x="216" y="144"/>
                  </a:lnTo>
                  <a:lnTo>
                    <a:pt x="240" y="162"/>
                  </a:lnTo>
                  <a:lnTo>
                    <a:pt x="270" y="156"/>
                  </a:lnTo>
                  <a:lnTo>
                    <a:pt x="282" y="126"/>
                  </a:lnTo>
                  <a:lnTo>
                    <a:pt x="282" y="96"/>
                  </a:lnTo>
                  <a:lnTo>
                    <a:pt x="294" y="54"/>
                  </a:lnTo>
                  <a:lnTo>
                    <a:pt x="324" y="48"/>
                  </a:lnTo>
                  <a:lnTo>
                    <a:pt x="342" y="48"/>
                  </a:lnTo>
                  <a:lnTo>
                    <a:pt x="384" y="48"/>
                  </a:lnTo>
                  <a:lnTo>
                    <a:pt x="390" y="30"/>
                  </a:lnTo>
                  <a:lnTo>
                    <a:pt x="402" y="18"/>
                  </a:lnTo>
                  <a:lnTo>
                    <a:pt x="438" y="6"/>
                  </a:lnTo>
                  <a:lnTo>
                    <a:pt x="438" y="0"/>
                  </a:lnTo>
                  <a:lnTo>
                    <a:pt x="444" y="0"/>
                  </a:lnTo>
                  <a:lnTo>
                    <a:pt x="444" y="6"/>
                  </a:lnTo>
                  <a:lnTo>
                    <a:pt x="450" y="6"/>
                  </a:lnTo>
                  <a:lnTo>
                    <a:pt x="456" y="12"/>
                  </a:lnTo>
                  <a:lnTo>
                    <a:pt x="456" y="18"/>
                  </a:lnTo>
                  <a:lnTo>
                    <a:pt x="462" y="24"/>
                  </a:lnTo>
                  <a:lnTo>
                    <a:pt x="462" y="30"/>
                  </a:lnTo>
                  <a:lnTo>
                    <a:pt x="468" y="36"/>
                  </a:lnTo>
                  <a:lnTo>
                    <a:pt x="462" y="36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74" y="60"/>
                  </a:lnTo>
                  <a:lnTo>
                    <a:pt x="486" y="78"/>
                  </a:lnTo>
                  <a:lnTo>
                    <a:pt x="486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8" y="102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498" y="114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504" y="126"/>
                  </a:lnTo>
                  <a:lnTo>
                    <a:pt x="498" y="132"/>
                  </a:lnTo>
                  <a:lnTo>
                    <a:pt x="504" y="138"/>
                  </a:lnTo>
                  <a:lnTo>
                    <a:pt x="504" y="132"/>
                  </a:lnTo>
                  <a:lnTo>
                    <a:pt x="510" y="132"/>
                  </a:lnTo>
                  <a:lnTo>
                    <a:pt x="510" y="138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56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6" y="168"/>
                  </a:lnTo>
                  <a:lnTo>
                    <a:pt x="552" y="168"/>
                  </a:lnTo>
                  <a:lnTo>
                    <a:pt x="546" y="168"/>
                  </a:lnTo>
                  <a:lnTo>
                    <a:pt x="546" y="174"/>
                  </a:lnTo>
                  <a:lnTo>
                    <a:pt x="558" y="180"/>
                  </a:lnTo>
                  <a:lnTo>
                    <a:pt x="564" y="180"/>
                  </a:lnTo>
                  <a:lnTo>
                    <a:pt x="564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52" y="198"/>
                  </a:lnTo>
                  <a:lnTo>
                    <a:pt x="558" y="204"/>
                  </a:lnTo>
                  <a:lnTo>
                    <a:pt x="564" y="204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22"/>
                  </a:lnTo>
                  <a:lnTo>
                    <a:pt x="576" y="228"/>
                  </a:lnTo>
                  <a:lnTo>
                    <a:pt x="570" y="228"/>
                  </a:lnTo>
                  <a:lnTo>
                    <a:pt x="570" y="234"/>
                  </a:lnTo>
                  <a:lnTo>
                    <a:pt x="576" y="234"/>
                  </a:lnTo>
                  <a:lnTo>
                    <a:pt x="582" y="234"/>
                  </a:lnTo>
                  <a:lnTo>
                    <a:pt x="588" y="234"/>
                  </a:lnTo>
                  <a:lnTo>
                    <a:pt x="588" y="240"/>
                  </a:lnTo>
                  <a:lnTo>
                    <a:pt x="588" y="246"/>
                  </a:lnTo>
                  <a:lnTo>
                    <a:pt x="588" y="252"/>
                  </a:lnTo>
                  <a:lnTo>
                    <a:pt x="582" y="252"/>
                  </a:lnTo>
                  <a:lnTo>
                    <a:pt x="576" y="252"/>
                  </a:lnTo>
                  <a:lnTo>
                    <a:pt x="582" y="258"/>
                  </a:lnTo>
                  <a:lnTo>
                    <a:pt x="582" y="264"/>
                  </a:lnTo>
                  <a:lnTo>
                    <a:pt x="576" y="264"/>
                  </a:lnTo>
                  <a:lnTo>
                    <a:pt x="546" y="264"/>
                  </a:lnTo>
                  <a:lnTo>
                    <a:pt x="546" y="276"/>
                  </a:lnTo>
                  <a:lnTo>
                    <a:pt x="540" y="282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40" y="324"/>
                  </a:lnTo>
                  <a:lnTo>
                    <a:pt x="552" y="330"/>
                  </a:lnTo>
                  <a:lnTo>
                    <a:pt x="558" y="342"/>
                  </a:lnTo>
                  <a:lnTo>
                    <a:pt x="546" y="372"/>
                  </a:lnTo>
                  <a:lnTo>
                    <a:pt x="534" y="372"/>
                  </a:lnTo>
                  <a:lnTo>
                    <a:pt x="534" y="384"/>
                  </a:lnTo>
                  <a:lnTo>
                    <a:pt x="522" y="384"/>
                  </a:lnTo>
                  <a:lnTo>
                    <a:pt x="510" y="402"/>
                  </a:lnTo>
                  <a:lnTo>
                    <a:pt x="504" y="420"/>
                  </a:lnTo>
                  <a:lnTo>
                    <a:pt x="492" y="426"/>
                  </a:lnTo>
                  <a:lnTo>
                    <a:pt x="486" y="432"/>
                  </a:lnTo>
                  <a:lnTo>
                    <a:pt x="486" y="444"/>
                  </a:lnTo>
                  <a:lnTo>
                    <a:pt x="486" y="450"/>
                  </a:lnTo>
                  <a:lnTo>
                    <a:pt x="486" y="456"/>
                  </a:lnTo>
                  <a:lnTo>
                    <a:pt x="486" y="462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80" y="474"/>
                  </a:lnTo>
                  <a:lnTo>
                    <a:pt x="480" y="480"/>
                  </a:lnTo>
                  <a:lnTo>
                    <a:pt x="480" y="486"/>
                  </a:lnTo>
                  <a:lnTo>
                    <a:pt x="480" y="492"/>
                  </a:lnTo>
                  <a:lnTo>
                    <a:pt x="480" y="498"/>
                  </a:lnTo>
                  <a:lnTo>
                    <a:pt x="474" y="504"/>
                  </a:lnTo>
                  <a:lnTo>
                    <a:pt x="468" y="510"/>
                  </a:lnTo>
                  <a:lnTo>
                    <a:pt x="462" y="510"/>
                  </a:lnTo>
                  <a:lnTo>
                    <a:pt x="456" y="504"/>
                  </a:lnTo>
                  <a:lnTo>
                    <a:pt x="456" y="498"/>
                  </a:lnTo>
                  <a:lnTo>
                    <a:pt x="450" y="498"/>
                  </a:lnTo>
                  <a:lnTo>
                    <a:pt x="444" y="498"/>
                  </a:lnTo>
                  <a:lnTo>
                    <a:pt x="438" y="498"/>
                  </a:lnTo>
                  <a:lnTo>
                    <a:pt x="432" y="498"/>
                  </a:lnTo>
                  <a:lnTo>
                    <a:pt x="426" y="504"/>
                  </a:lnTo>
                  <a:lnTo>
                    <a:pt x="426" y="510"/>
                  </a:lnTo>
                  <a:lnTo>
                    <a:pt x="420" y="516"/>
                  </a:lnTo>
                  <a:lnTo>
                    <a:pt x="414" y="522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84" y="528"/>
                  </a:lnTo>
                  <a:lnTo>
                    <a:pt x="366" y="540"/>
                  </a:lnTo>
                  <a:lnTo>
                    <a:pt x="360" y="522"/>
                  </a:lnTo>
                  <a:lnTo>
                    <a:pt x="348" y="504"/>
                  </a:lnTo>
                  <a:lnTo>
                    <a:pt x="330" y="504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34"/>
                  </a:lnTo>
                  <a:lnTo>
                    <a:pt x="288" y="540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2" y="540"/>
                  </a:lnTo>
                  <a:lnTo>
                    <a:pt x="282" y="546"/>
                  </a:lnTo>
                  <a:lnTo>
                    <a:pt x="288" y="552"/>
                  </a:lnTo>
                  <a:lnTo>
                    <a:pt x="294" y="564"/>
                  </a:lnTo>
                  <a:lnTo>
                    <a:pt x="300" y="564"/>
                  </a:lnTo>
                  <a:lnTo>
                    <a:pt x="300" y="570"/>
                  </a:lnTo>
                  <a:lnTo>
                    <a:pt x="294" y="570"/>
                  </a:lnTo>
                  <a:lnTo>
                    <a:pt x="288" y="570"/>
                  </a:lnTo>
                  <a:lnTo>
                    <a:pt x="288" y="576"/>
                  </a:lnTo>
                  <a:lnTo>
                    <a:pt x="288" y="582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606"/>
                  </a:lnTo>
                  <a:lnTo>
                    <a:pt x="264" y="612"/>
                  </a:lnTo>
                  <a:lnTo>
                    <a:pt x="258" y="612"/>
                  </a:lnTo>
                  <a:lnTo>
                    <a:pt x="252" y="612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52" y="630"/>
                  </a:lnTo>
                  <a:lnTo>
                    <a:pt x="264" y="642"/>
                  </a:lnTo>
                  <a:lnTo>
                    <a:pt x="258" y="648"/>
                  </a:lnTo>
                  <a:lnTo>
                    <a:pt x="246" y="654"/>
                  </a:lnTo>
                  <a:lnTo>
                    <a:pt x="240" y="660"/>
                  </a:lnTo>
                  <a:lnTo>
                    <a:pt x="234" y="672"/>
                  </a:lnTo>
                  <a:lnTo>
                    <a:pt x="234" y="678"/>
                  </a:lnTo>
                  <a:lnTo>
                    <a:pt x="228" y="684"/>
                  </a:lnTo>
                  <a:lnTo>
                    <a:pt x="228" y="696"/>
                  </a:lnTo>
                  <a:lnTo>
                    <a:pt x="216" y="71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6" name="Freeform 21">
              <a:extLst>
                <a:ext uri="{FF2B5EF4-FFF2-40B4-BE49-F238E27FC236}">
                  <a16:creationId xmlns:a16="http://schemas.microsoft.com/office/drawing/2014/main" id="{DCB1E808-522D-4C19-B741-CC5DD56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4178" y="3866464"/>
              <a:ext cx="250453" cy="371259"/>
            </a:xfrm>
            <a:custGeom>
              <a:avLst/>
              <a:gdLst>
                <a:gd name="T0" fmla="*/ 0 w 468"/>
                <a:gd name="T1" fmla="*/ 61 h 696"/>
                <a:gd name="T2" fmla="*/ 1 w 468"/>
                <a:gd name="T3" fmla="*/ 58 h 696"/>
                <a:gd name="T4" fmla="*/ 2 w 468"/>
                <a:gd name="T5" fmla="*/ 54 h 696"/>
                <a:gd name="T6" fmla="*/ 3 w 468"/>
                <a:gd name="T7" fmla="*/ 51 h 696"/>
                <a:gd name="T8" fmla="*/ 4 w 468"/>
                <a:gd name="T9" fmla="*/ 48 h 696"/>
                <a:gd name="T10" fmla="*/ 6 w 468"/>
                <a:gd name="T11" fmla="*/ 44 h 696"/>
                <a:gd name="T12" fmla="*/ 5 w 468"/>
                <a:gd name="T13" fmla="*/ 41 h 696"/>
                <a:gd name="T14" fmla="*/ 7 w 468"/>
                <a:gd name="T15" fmla="*/ 38 h 696"/>
                <a:gd name="T16" fmla="*/ 8 w 468"/>
                <a:gd name="T17" fmla="*/ 36 h 696"/>
                <a:gd name="T18" fmla="*/ 7 w 468"/>
                <a:gd name="T19" fmla="*/ 33 h 696"/>
                <a:gd name="T20" fmla="*/ 6 w 468"/>
                <a:gd name="T21" fmla="*/ 29 h 696"/>
                <a:gd name="T22" fmla="*/ 4 w 468"/>
                <a:gd name="T23" fmla="*/ 22 h 696"/>
                <a:gd name="T24" fmla="*/ 2 w 468"/>
                <a:gd name="T25" fmla="*/ 14 h 696"/>
                <a:gd name="T26" fmla="*/ 12 w 468"/>
                <a:gd name="T27" fmla="*/ 11 h 696"/>
                <a:gd name="T28" fmla="*/ 14 w 468"/>
                <a:gd name="T29" fmla="*/ 2 h 696"/>
                <a:gd name="T30" fmla="*/ 16 w 468"/>
                <a:gd name="T31" fmla="*/ 0 h 696"/>
                <a:gd name="T32" fmla="*/ 17 w 468"/>
                <a:gd name="T33" fmla="*/ 0 h 696"/>
                <a:gd name="T34" fmla="*/ 18 w 468"/>
                <a:gd name="T35" fmla="*/ 1 h 696"/>
                <a:gd name="T36" fmla="*/ 17 w 468"/>
                <a:gd name="T37" fmla="*/ 2 h 696"/>
                <a:gd name="T38" fmla="*/ 17 w 468"/>
                <a:gd name="T39" fmla="*/ 4 h 696"/>
                <a:gd name="T40" fmla="*/ 17 w 468"/>
                <a:gd name="T41" fmla="*/ 6 h 696"/>
                <a:gd name="T42" fmla="*/ 20 w 468"/>
                <a:gd name="T43" fmla="*/ 6 h 696"/>
                <a:gd name="T44" fmla="*/ 22 w 468"/>
                <a:gd name="T45" fmla="*/ 5 h 696"/>
                <a:gd name="T46" fmla="*/ 24 w 468"/>
                <a:gd name="T47" fmla="*/ 7 h 696"/>
                <a:gd name="T48" fmla="*/ 28 w 468"/>
                <a:gd name="T49" fmla="*/ 7 h 696"/>
                <a:gd name="T50" fmla="*/ 28 w 468"/>
                <a:gd name="T51" fmla="*/ 11 h 696"/>
                <a:gd name="T52" fmla="*/ 25 w 468"/>
                <a:gd name="T53" fmla="*/ 14 h 696"/>
                <a:gd name="T54" fmla="*/ 23 w 468"/>
                <a:gd name="T55" fmla="*/ 15 h 696"/>
                <a:gd name="T56" fmla="*/ 23 w 468"/>
                <a:gd name="T57" fmla="*/ 19 h 696"/>
                <a:gd name="T58" fmla="*/ 23 w 468"/>
                <a:gd name="T59" fmla="*/ 21 h 696"/>
                <a:gd name="T60" fmla="*/ 24 w 468"/>
                <a:gd name="T61" fmla="*/ 21 h 696"/>
                <a:gd name="T62" fmla="*/ 27 w 468"/>
                <a:gd name="T63" fmla="*/ 23 h 696"/>
                <a:gd name="T64" fmla="*/ 29 w 468"/>
                <a:gd name="T65" fmla="*/ 24 h 696"/>
                <a:gd name="T66" fmla="*/ 29 w 468"/>
                <a:gd name="T67" fmla="*/ 28 h 696"/>
                <a:gd name="T68" fmla="*/ 29 w 468"/>
                <a:gd name="T69" fmla="*/ 29 h 696"/>
                <a:gd name="T70" fmla="*/ 29 w 468"/>
                <a:gd name="T71" fmla="*/ 32 h 696"/>
                <a:gd name="T72" fmla="*/ 32 w 468"/>
                <a:gd name="T73" fmla="*/ 32 h 696"/>
                <a:gd name="T74" fmla="*/ 33 w 468"/>
                <a:gd name="T75" fmla="*/ 35 h 696"/>
                <a:gd name="T76" fmla="*/ 34 w 468"/>
                <a:gd name="T77" fmla="*/ 38 h 696"/>
                <a:gd name="T78" fmla="*/ 35 w 468"/>
                <a:gd name="T79" fmla="*/ 39 h 696"/>
                <a:gd name="T80" fmla="*/ 36 w 468"/>
                <a:gd name="T81" fmla="*/ 40 h 696"/>
                <a:gd name="T82" fmla="*/ 37 w 468"/>
                <a:gd name="T83" fmla="*/ 41 h 696"/>
                <a:gd name="T84" fmla="*/ 38 w 468"/>
                <a:gd name="T85" fmla="*/ 42 h 696"/>
                <a:gd name="T86" fmla="*/ 41 w 468"/>
                <a:gd name="T87" fmla="*/ 44 h 696"/>
                <a:gd name="T88" fmla="*/ 40 w 468"/>
                <a:gd name="T89" fmla="*/ 44 h 696"/>
                <a:gd name="T90" fmla="*/ 37 w 468"/>
                <a:gd name="T91" fmla="*/ 45 h 696"/>
                <a:gd name="T92" fmla="*/ 36 w 468"/>
                <a:gd name="T93" fmla="*/ 48 h 696"/>
                <a:gd name="T94" fmla="*/ 34 w 468"/>
                <a:gd name="T95" fmla="*/ 49 h 696"/>
                <a:gd name="T96" fmla="*/ 32 w 468"/>
                <a:gd name="T97" fmla="*/ 51 h 696"/>
                <a:gd name="T98" fmla="*/ 31 w 468"/>
                <a:gd name="T99" fmla="*/ 51 h 696"/>
                <a:gd name="T100" fmla="*/ 26 w 468"/>
                <a:gd name="T101" fmla="*/ 49 h 696"/>
                <a:gd name="T102" fmla="*/ 23 w 468"/>
                <a:gd name="T103" fmla="*/ 51 h 696"/>
                <a:gd name="T104" fmla="*/ 21 w 468"/>
                <a:gd name="T105" fmla="*/ 51 h 696"/>
                <a:gd name="T106" fmla="*/ 20 w 468"/>
                <a:gd name="T107" fmla="*/ 52 h 696"/>
                <a:gd name="T108" fmla="*/ 17 w 468"/>
                <a:gd name="T109" fmla="*/ 55 h 696"/>
                <a:gd name="T110" fmla="*/ 15 w 468"/>
                <a:gd name="T111" fmla="*/ 56 h 696"/>
                <a:gd name="T112" fmla="*/ 15 w 468"/>
                <a:gd name="T113" fmla="*/ 59 h 696"/>
                <a:gd name="T114" fmla="*/ 14 w 468"/>
                <a:gd name="T115" fmla="*/ 59 h 696"/>
                <a:gd name="T116" fmla="*/ 12 w 468"/>
                <a:gd name="T117" fmla="*/ 59 h 696"/>
                <a:gd name="T118" fmla="*/ 11 w 468"/>
                <a:gd name="T119" fmla="*/ 57 h 696"/>
                <a:gd name="T120" fmla="*/ 9 w 468"/>
                <a:gd name="T121" fmla="*/ 57 h 696"/>
                <a:gd name="T122" fmla="*/ 6 w 468"/>
                <a:gd name="T123" fmla="*/ 58 h 696"/>
                <a:gd name="T124" fmla="*/ 4 w 468"/>
                <a:gd name="T125" fmla="*/ 60 h 69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8"/>
                <a:gd name="T190" fmla="*/ 0 h 696"/>
                <a:gd name="T191" fmla="*/ 468 w 468"/>
                <a:gd name="T192" fmla="*/ 696 h 69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8" h="696">
                  <a:moveTo>
                    <a:pt x="30" y="696"/>
                  </a:moveTo>
                  <a:lnTo>
                    <a:pt x="18" y="696"/>
                  </a:lnTo>
                  <a:lnTo>
                    <a:pt x="6" y="696"/>
                  </a:lnTo>
                  <a:lnTo>
                    <a:pt x="0" y="690"/>
                  </a:lnTo>
                  <a:lnTo>
                    <a:pt x="6" y="678"/>
                  </a:lnTo>
                  <a:lnTo>
                    <a:pt x="12" y="666"/>
                  </a:lnTo>
                  <a:lnTo>
                    <a:pt x="18" y="654"/>
                  </a:lnTo>
                  <a:lnTo>
                    <a:pt x="18" y="642"/>
                  </a:lnTo>
                  <a:lnTo>
                    <a:pt x="18" y="618"/>
                  </a:lnTo>
                  <a:lnTo>
                    <a:pt x="24" y="606"/>
                  </a:lnTo>
                  <a:lnTo>
                    <a:pt x="30" y="594"/>
                  </a:lnTo>
                  <a:lnTo>
                    <a:pt x="30" y="582"/>
                  </a:lnTo>
                  <a:lnTo>
                    <a:pt x="36" y="576"/>
                  </a:lnTo>
                  <a:lnTo>
                    <a:pt x="42" y="564"/>
                  </a:lnTo>
                  <a:lnTo>
                    <a:pt x="48" y="546"/>
                  </a:lnTo>
                  <a:lnTo>
                    <a:pt x="48" y="528"/>
                  </a:lnTo>
                  <a:lnTo>
                    <a:pt x="60" y="516"/>
                  </a:lnTo>
                  <a:lnTo>
                    <a:pt x="66" y="504"/>
                  </a:lnTo>
                  <a:lnTo>
                    <a:pt x="66" y="492"/>
                  </a:lnTo>
                  <a:lnTo>
                    <a:pt x="60" y="480"/>
                  </a:lnTo>
                  <a:lnTo>
                    <a:pt x="54" y="468"/>
                  </a:lnTo>
                  <a:lnTo>
                    <a:pt x="60" y="456"/>
                  </a:lnTo>
                  <a:lnTo>
                    <a:pt x="72" y="450"/>
                  </a:lnTo>
                  <a:lnTo>
                    <a:pt x="84" y="438"/>
                  </a:lnTo>
                  <a:lnTo>
                    <a:pt x="90" y="426"/>
                  </a:lnTo>
                  <a:lnTo>
                    <a:pt x="90" y="420"/>
                  </a:lnTo>
                  <a:lnTo>
                    <a:pt x="90" y="408"/>
                  </a:lnTo>
                  <a:lnTo>
                    <a:pt x="90" y="402"/>
                  </a:lnTo>
                  <a:lnTo>
                    <a:pt x="84" y="396"/>
                  </a:lnTo>
                  <a:lnTo>
                    <a:pt x="78" y="378"/>
                  </a:lnTo>
                  <a:lnTo>
                    <a:pt x="72" y="360"/>
                  </a:lnTo>
                  <a:lnTo>
                    <a:pt x="66" y="348"/>
                  </a:lnTo>
                  <a:lnTo>
                    <a:pt x="72" y="336"/>
                  </a:lnTo>
                  <a:lnTo>
                    <a:pt x="66" y="306"/>
                  </a:lnTo>
                  <a:lnTo>
                    <a:pt x="54" y="276"/>
                  </a:lnTo>
                  <a:lnTo>
                    <a:pt x="42" y="252"/>
                  </a:lnTo>
                  <a:lnTo>
                    <a:pt x="36" y="222"/>
                  </a:lnTo>
                  <a:lnTo>
                    <a:pt x="30" y="192"/>
                  </a:lnTo>
                  <a:lnTo>
                    <a:pt x="24" y="162"/>
                  </a:lnTo>
                  <a:lnTo>
                    <a:pt x="42" y="174"/>
                  </a:lnTo>
                  <a:lnTo>
                    <a:pt x="120" y="138"/>
                  </a:lnTo>
                  <a:lnTo>
                    <a:pt x="132" y="126"/>
                  </a:lnTo>
                  <a:lnTo>
                    <a:pt x="120" y="54"/>
                  </a:lnTo>
                  <a:lnTo>
                    <a:pt x="156" y="30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0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8" y="18"/>
                  </a:lnTo>
                  <a:lnTo>
                    <a:pt x="198" y="24"/>
                  </a:lnTo>
                  <a:lnTo>
                    <a:pt x="198" y="30"/>
                  </a:lnTo>
                  <a:lnTo>
                    <a:pt x="198" y="42"/>
                  </a:lnTo>
                  <a:lnTo>
                    <a:pt x="198" y="48"/>
                  </a:lnTo>
                  <a:lnTo>
                    <a:pt x="192" y="60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28" y="60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34" y="60"/>
                  </a:lnTo>
                  <a:lnTo>
                    <a:pt x="252" y="60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312" y="84"/>
                  </a:lnTo>
                  <a:lnTo>
                    <a:pt x="318" y="96"/>
                  </a:lnTo>
                  <a:lnTo>
                    <a:pt x="318" y="102"/>
                  </a:lnTo>
                  <a:lnTo>
                    <a:pt x="312" y="120"/>
                  </a:lnTo>
                  <a:lnTo>
                    <a:pt x="306" y="132"/>
                  </a:lnTo>
                  <a:lnTo>
                    <a:pt x="294" y="144"/>
                  </a:lnTo>
                  <a:lnTo>
                    <a:pt x="282" y="156"/>
                  </a:lnTo>
                  <a:lnTo>
                    <a:pt x="276" y="162"/>
                  </a:lnTo>
                  <a:lnTo>
                    <a:pt x="270" y="162"/>
                  </a:lnTo>
                  <a:lnTo>
                    <a:pt x="264" y="174"/>
                  </a:lnTo>
                  <a:lnTo>
                    <a:pt x="264" y="192"/>
                  </a:lnTo>
                  <a:lnTo>
                    <a:pt x="264" y="216"/>
                  </a:lnTo>
                  <a:lnTo>
                    <a:pt x="258" y="216"/>
                  </a:lnTo>
                  <a:lnTo>
                    <a:pt x="258" y="228"/>
                  </a:lnTo>
                  <a:lnTo>
                    <a:pt x="252" y="234"/>
                  </a:lnTo>
                  <a:lnTo>
                    <a:pt x="258" y="240"/>
                  </a:lnTo>
                  <a:lnTo>
                    <a:pt x="264" y="240"/>
                  </a:lnTo>
                  <a:lnTo>
                    <a:pt x="270" y="240"/>
                  </a:lnTo>
                  <a:lnTo>
                    <a:pt x="276" y="240"/>
                  </a:lnTo>
                  <a:lnTo>
                    <a:pt x="288" y="240"/>
                  </a:lnTo>
                  <a:lnTo>
                    <a:pt x="300" y="246"/>
                  </a:lnTo>
                  <a:lnTo>
                    <a:pt x="306" y="258"/>
                  </a:lnTo>
                  <a:lnTo>
                    <a:pt x="312" y="264"/>
                  </a:lnTo>
                  <a:lnTo>
                    <a:pt x="318" y="276"/>
                  </a:lnTo>
                  <a:lnTo>
                    <a:pt x="330" y="282"/>
                  </a:lnTo>
                  <a:lnTo>
                    <a:pt x="330" y="300"/>
                  </a:lnTo>
                  <a:lnTo>
                    <a:pt x="336" y="312"/>
                  </a:lnTo>
                  <a:lnTo>
                    <a:pt x="336" y="318"/>
                  </a:lnTo>
                  <a:lnTo>
                    <a:pt x="336" y="330"/>
                  </a:lnTo>
                  <a:lnTo>
                    <a:pt x="324" y="330"/>
                  </a:lnTo>
                  <a:lnTo>
                    <a:pt x="330" y="336"/>
                  </a:lnTo>
                  <a:lnTo>
                    <a:pt x="330" y="342"/>
                  </a:lnTo>
                  <a:lnTo>
                    <a:pt x="336" y="348"/>
                  </a:lnTo>
                  <a:lnTo>
                    <a:pt x="330" y="360"/>
                  </a:lnTo>
                  <a:lnTo>
                    <a:pt x="336" y="372"/>
                  </a:lnTo>
                  <a:lnTo>
                    <a:pt x="354" y="366"/>
                  </a:lnTo>
                  <a:lnTo>
                    <a:pt x="366" y="366"/>
                  </a:lnTo>
                  <a:lnTo>
                    <a:pt x="372" y="378"/>
                  </a:lnTo>
                  <a:lnTo>
                    <a:pt x="372" y="390"/>
                  </a:lnTo>
                  <a:lnTo>
                    <a:pt x="378" y="396"/>
                  </a:lnTo>
                  <a:lnTo>
                    <a:pt x="378" y="408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44"/>
                  </a:lnTo>
                  <a:lnTo>
                    <a:pt x="390" y="444"/>
                  </a:lnTo>
                  <a:lnTo>
                    <a:pt x="396" y="444"/>
                  </a:lnTo>
                  <a:lnTo>
                    <a:pt x="402" y="450"/>
                  </a:lnTo>
                  <a:lnTo>
                    <a:pt x="408" y="450"/>
                  </a:lnTo>
                  <a:lnTo>
                    <a:pt x="408" y="462"/>
                  </a:lnTo>
                  <a:lnTo>
                    <a:pt x="408" y="468"/>
                  </a:lnTo>
                  <a:lnTo>
                    <a:pt x="414" y="474"/>
                  </a:lnTo>
                  <a:lnTo>
                    <a:pt x="420" y="474"/>
                  </a:lnTo>
                  <a:lnTo>
                    <a:pt x="420" y="480"/>
                  </a:lnTo>
                  <a:lnTo>
                    <a:pt x="426" y="480"/>
                  </a:lnTo>
                  <a:lnTo>
                    <a:pt x="432" y="480"/>
                  </a:lnTo>
                  <a:lnTo>
                    <a:pt x="462" y="486"/>
                  </a:lnTo>
                  <a:lnTo>
                    <a:pt x="468" y="492"/>
                  </a:lnTo>
                  <a:lnTo>
                    <a:pt x="468" y="498"/>
                  </a:lnTo>
                  <a:lnTo>
                    <a:pt x="462" y="498"/>
                  </a:lnTo>
                  <a:lnTo>
                    <a:pt x="456" y="498"/>
                  </a:lnTo>
                  <a:lnTo>
                    <a:pt x="456" y="504"/>
                  </a:lnTo>
                  <a:lnTo>
                    <a:pt x="456" y="510"/>
                  </a:lnTo>
                  <a:lnTo>
                    <a:pt x="450" y="516"/>
                  </a:lnTo>
                  <a:lnTo>
                    <a:pt x="426" y="516"/>
                  </a:lnTo>
                  <a:lnTo>
                    <a:pt x="408" y="528"/>
                  </a:lnTo>
                  <a:lnTo>
                    <a:pt x="408" y="546"/>
                  </a:lnTo>
                  <a:lnTo>
                    <a:pt x="414" y="552"/>
                  </a:lnTo>
                  <a:lnTo>
                    <a:pt x="408" y="558"/>
                  </a:lnTo>
                  <a:lnTo>
                    <a:pt x="402" y="564"/>
                  </a:lnTo>
                  <a:lnTo>
                    <a:pt x="384" y="564"/>
                  </a:lnTo>
                  <a:lnTo>
                    <a:pt x="372" y="564"/>
                  </a:lnTo>
                  <a:lnTo>
                    <a:pt x="372" y="576"/>
                  </a:lnTo>
                  <a:lnTo>
                    <a:pt x="366" y="576"/>
                  </a:lnTo>
                  <a:lnTo>
                    <a:pt x="366" y="582"/>
                  </a:lnTo>
                  <a:lnTo>
                    <a:pt x="360" y="582"/>
                  </a:lnTo>
                  <a:lnTo>
                    <a:pt x="348" y="576"/>
                  </a:lnTo>
                  <a:lnTo>
                    <a:pt x="336" y="570"/>
                  </a:lnTo>
                  <a:lnTo>
                    <a:pt x="324" y="570"/>
                  </a:lnTo>
                  <a:lnTo>
                    <a:pt x="300" y="564"/>
                  </a:lnTo>
                  <a:lnTo>
                    <a:pt x="282" y="564"/>
                  </a:lnTo>
                  <a:lnTo>
                    <a:pt x="270" y="570"/>
                  </a:lnTo>
                  <a:lnTo>
                    <a:pt x="264" y="576"/>
                  </a:lnTo>
                  <a:lnTo>
                    <a:pt x="258" y="576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34" y="594"/>
                  </a:lnTo>
                  <a:lnTo>
                    <a:pt x="228" y="600"/>
                  </a:lnTo>
                  <a:lnTo>
                    <a:pt x="210" y="618"/>
                  </a:lnTo>
                  <a:lnTo>
                    <a:pt x="210" y="624"/>
                  </a:lnTo>
                  <a:lnTo>
                    <a:pt x="192" y="630"/>
                  </a:lnTo>
                  <a:lnTo>
                    <a:pt x="186" y="630"/>
                  </a:lnTo>
                  <a:lnTo>
                    <a:pt x="180" y="636"/>
                  </a:lnTo>
                  <a:lnTo>
                    <a:pt x="174" y="642"/>
                  </a:lnTo>
                  <a:lnTo>
                    <a:pt x="168" y="642"/>
                  </a:lnTo>
                  <a:lnTo>
                    <a:pt x="168" y="654"/>
                  </a:lnTo>
                  <a:lnTo>
                    <a:pt x="168" y="678"/>
                  </a:lnTo>
                  <a:lnTo>
                    <a:pt x="162" y="684"/>
                  </a:lnTo>
                  <a:lnTo>
                    <a:pt x="156" y="684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72"/>
                  </a:lnTo>
                  <a:lnTo>
                    <a:pt x="138" y="672"/>
                  </a:lnTo>
                  <a:lnTo>
                    <a:pt x="138" y="666"/>
                  </a:lnTo>
                  <a:lnTo>
                    <a:pt x="132" y="660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48"/>
                  </a:lnTo>
                  <a:lnTo>
                    <a:pt x="102" y="654"/>
                  </a:lnTo>
                  <a:lnTo>
                    <a:pt x="90" y="654"/>
                  </a:lnTo>
                  <a:lnTo>
                    <a:pt x="84" y="654"/>
                  </a:lnTo>
                  <a:lnTo>
                    <a:pt x="72" y="660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36" y="684"/>
                  </a:lnTo>
                  <a:lnTo>
                    <a:pt x="30" y="6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7" name="Freeform 22">
              <a:extLst>
                <a:ext uri="{FF2B5EF4-FFF2-40B4-BE49-F238E27FC236}">
                  <a16:creationId xmlns:a16="http://schemas.microsoft.com/office/drawing/2014/main" id="{2F7A477D-6CF8-44B3-8B32-64EE03DC4D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2895" y="3967106"/>
              <a:ext cx="610479" cy="507686"/>
            </a:xfrm>
            <a:custGeom>
              <a:avLst/>
              <a:gdLst>
                <a:gd name="T0" fmla="*/ 87 w 1146"/>
                <a:gd name="T1" fmla="*/ 56 h 954"/>
                <a:gd name="T2" fmla="*/ 83 w 1146"/>
                <a:gd name="T3" fmla="*/ 66 h 954"/>
                <a:gd name="T4" fmla="*/ 74 w 1146"/>
                <a:gd name="T5" fmla="*/ 69 h 954"/>
                <a:gd name="T6" fmla="*/ 67 w 1146"/>
                <a:gd name="T7" fmla="*/ 75 h 954"/>
                <a:gd name="T8" fmla="*/ 59 w 1146"/>
                <a:gd name="T9" fmla="*/ 78 h 954"/>
                <a:gd name="T10" fmla="*/ 52 w 1146"/>
                <a:gd name="T11" fmla="*/ 77 h 954"/>
                <a:gd name="T12" fmla="*/ 48 w 1146"/>
                <a:gd name="T13" fmla="*/ 79 h 954"/>
                <a:gd name="T14" fmla="*/ 41 w 1146"/>
                <a:gd name="T15" fmla="*/ 82 h 954"/>
                <a:gd name="T16" fmla="*/ 29 w 1146"/>
                <a:gd name="T17" fmla="*/ 78 h 954"/>
                <a:gd name="T18" fmla="*/ 28 w 1146"/>
                <a:gd name="T19" fmla="*/ 76 h 954"/>
                <a:gd name="T20" fmla="*/ 28 w 1146"/>
                <a:gd name="T21" fmla="*/ 72 h 954"/>
                <a:gd name="T22" fmla="*/ 28 w 1146"/>
                <a:gd name="T23" fmla="*/ 74 h 954"/>
                <a:gd name="T24" fmla="*/ 21 w 1146"/>
                <a:gd name="T25" fmla="*/ 74 h 954"/>
                <a:gd name="T26" fmla="*/ 20 w 1146"/>
                <a:gd name="T27" fmla="*/ 67 h 954"/>
                <a:gd name="T28" fmla="*/ 23 w 1146"/>
                <a:gd name="T29" fmla="*/ 64 h 954"/>
                <a:gd name="T30" fmla="*/ 28 w 1146"/>
                <a:gd name="T31" fmla="*/ 65 h 954"/>
                <a:gd name="T32" fmla="*/ 32 w 1146"/>
                <a:gd name="T33" fmla="*/ 62 h 954"/>
                <a:gd name="T34" fmla="*/ 31 w 1146"/>
                <a:gd name="T35" fmla="*/ 56 h 954"/>
                <a:gd name="T36" fmla="*/ 36 w 1146"/>
                <a:gd name="T37" fmla="*/ 54 h 954"/>
                <a:gd name="T38" fmla="*/ 38 w 1146"/>
                <a:gd name="T39" fmla="*/ 54 h 954"/>
                <a:gd name="T40" fmla="*/ 32 w 1146"/>
                <a:gd name="T41" fmla="*/ 54 h 954"/>
                <a:gd name="T42" fmla="*/ 29 w 1146"/>
                <a:gd name="T43" fmla="*/ 59 h 954"/>
                <a:gd name="T44" fmla="*/ 26 w 1146"/>
                <a:gd name="T45" fmla="*/ 59 h 954"/>
                <a:gd name="T46" fmla="*/ 25 w 1146"/>
                <a:gd name="T47" fmla="*/ 61 h 954"/>
                <a:gd name="T48" fmla="*/ 20 w 1146"/>
                <a:gd name="T49" fmla="*/ 61 h 954"/>
                <a:gd name="T50" fmla="*/ 11 w 1146"/>
                <a:gd name="T51" fmla="*/ 54 h 954"/>
                <a:gd name="T52" fmla="*/ 14 w 1146"/>
                <a:gd name="T53" fmla="*/ 50 h 954"/>
                <a:gd name="T54" fmla="*/ 21 w 1146"/>
                <a:gd name="T55" fmla="*/ 51 h 954"/>
                <a:gd name="T56" fmla="*/ 24 w 1146"/>
                <a:gd name="T57" fmla="*/ 50 h 954"/>
                <a:gd name="T58" fmla="*/ 28 w 1146"/>
                <a:gd name="T59" fmla="*/ 48 h 954"/>
                <a:gd name="T60" fmla="*/ 30 w 1146"/>
                <a:gd name="T61" fmla="*/ 49 h 954"/>
                <a:gd name="T62" fmla="*/ 26 w 1146"/>
                <a:gd name="T63" fmla="*/ 47 h 954"/>
                <a:gd name="T64" fmla="*/ 20 w 1146"/>
                <a:gd name="T65" fmla="*/ 50 h 954"/>
                <a:gd name="T66" fmla="*/ 20 w 1146"/>
                <a:gd name="T67" fmla="*/ 44 h 954"/>
                <a:gd name="T68" fmla="*/ 19 w 1146"/>
                <a:gd name="T69" fmla="*/ 46 h 954"/>
                <a:gd name="T70" fmla="*/ 15 w 1146"/>
                <a:gd name="T71" fmla="*/ 49 h 954"/>
                <a:gd name="T72" fmla="*/ 8 w 1146"/>
                <a:gd name="T73" fmla="*/ 48 h 954"/>
                <a:gd name="T74" fmla="*/ 6 w 1146"/>
                <a:gd name="T75" fmla="*/ 41 h 954"/>
                <a:gd name="T76" fmla="*/ 10 w 1146"/>
                <a:gd name="T77" fmla="*/ 41 h 954"/>
                <a:gd name="T78" fmla="*/ 9 w 1146"/>
                <a:gd name="T79" fmla="*/ 39 h 954"/>
                <a:gd name="T80" fmla="*/ 14 w 1146"/>
                <a:gd name="T81" fmla="*/ 35 h 954"/>
                <a:gd name="T82" fmla="*/ 19 w 1146"/>
                <a:gd name="T83" fmla="*/ 32 h 954"/>
                <a:gd name="T84" fmla="*/ 20 w 1146"/>
                <a:gd name="T85" fmla="*/ 29 h 954"/>
                <a:gd name="T86" fmla="*/ 27 w 1146"/>
                <a:gd name="T87" fmla="*/ 27 h 954"/>
                <a:gd name="T88" fmla="*/ 33 w 1146"/>
                <a:gd name="T89" fmla="*/ 28 h 954"/>
                <a:gd name="T90" fmla="*/ 44 w 1146"/>
                <a:gd name="T91" fmla="*/ 27 h 954"/>
                <a:gd name="T92" fmla="*/ 52 w 1146"/>
                <a:gd name="T93" fmla="*/ 41 h 954"/>
                <a:gd name="T94" fmla="*/ 61 w 1146"/>
                <a:gd name="T95" fmla="*/ 40 h 954"/>
                <a:gd name="T96" fmla="*/ 69 w 1146"/>
                <a:gd name="T97" fmla="*/ 34 h 954"/>
                <a:gd name="T98" fmla="*/ 62 w 1146"/>
                <a:gd name="T99" fmla="*/ 12 h 954"/>
                <a:gd name="T100" fmla="*/ 74 w 1146"/>
                <a:gd name="T101" fmla="*/ 8 h 954"/>
                <a:gd name="T102" fmla="*/ 87 w 1146"/>
                <a:gd name="T103" fmla="*/ 1 h 954"/>
                <a:gd name="T104" fmla="*/ 99 w 1146"/>
                <a:gd name="T105" fmla="*/ 12 h 954"/>
                <a:gd name="T106" fmla="*/ 98 w 1146"/>
                <a:gd name="T107" fmla="*/ 27 h 954"/>
                <a:gd name="T108" fmla="*/ 16 w 1146"/>
                <a:gd name="T109" fmla="*/ 33 h 954"/>
                <a:gd name="T110" fmla="*/ 11 w 1146"/>
                <a:gd name="T111" fmla="*/ 36 h 954"/>
                <a:gd name="T112" fmla="*/ 5 w 1146"/>
                <a:gd name="T113" fmla="*/ 41 h 954"/>
                <a:gd name="T114" fmla="*/ 2 w 1146"/>
                <a:gd name="T115" fmla="*/ 36 h 954"/>
                <a:gd name="T116" fmla="*/ 5 w 1146"/>
                <a:gd name="T117" fmla="*/ 26 h 954"/>
                <a:gd name="T118" fmla="*/ 10 w 1146"/>
                <a:gd name="T119" fmla="*/ 20 h 954"/>
                <a:gd name="T120" fmla="*/ 13 w 1146"/>
                <a:gd name="T121" fmla="*/ 20 h 954"/>
                <a:gd name="T122" fmla="*/ 15 w 1146"/>
                <a:gd name="T123" fmla="*/ 27 h 95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46"/>
                <a:gd name="T187" fmla="*/ 0 h 954"/>
                <a:gd name="T188" fmla="*/ 1146 w 1146"/>
                <a:gd name="T189" fmla="*/ 954 h 95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46" h="954">
                  <a:moveTo>
                    <a:pt x="1056" y="498"/>
                  </a:moveTo>
                  <a:lnTo>
                    <a:pt x="1044" y="510"/>
                  </a:lnTo>
                  <a:lnTo>
                    <a:pt x="1032" y="516"/>
                  </a:lnTo>
                  <a:lnTo>
                    <a:pt x="1038" y="528"/>
                  </a:lnTo>
                  <a:lnTo>
                    <a:pt x="1050" y="540"/>
                  </a:lnTo>
                  <a:lnTo>
                    <a:pt x="1050" y="546"/>
                  </a:lnTo>
                  <a:lnTo>
                    <a:pt x="1050" y="564"/>
                  </a:lnTo>
                  <a:lnTo>
                    <a:pt x="1038" y="576"/>
                  </a:lnTo>
                  <a:lnTo>
                    <a:pt x="1032" y="588"/>
                  </a:lnTo>
                  <a:lnTo>
                    <a:pt x="1020" y="594"/>
                  </a:lnTo>
                  <a:lnTo>
                    <a:pt x="1008" y="594"/>
                  </a:lnTo>
                  <a:lnTo>
                    <a:pt x="1002" y="600"/>
                  </a:lnTo>
                  <a:lnTo>
                    <a:pt x="996" y="612"/>
                  </a:lnTo>
                  <a:lnTo>
                    <a:pt x="996" y="624"/>
                  </a:lnTo>
                  <a:lnTo>
                    <a:pt x="996" y="648"/>
                  </a:lnTo>
                  <a:lnTo>
                    <a:pt x="996" y="660"/>
                  </a:lnTo>
                  <a:lnTo>
                    <a:pt x="1002" y="672"/>
                  </a:lnTo>
                  <a:lnTo>
                    <a:pt x="1002" y="684"/>
                  </a:lnTo>
                  <a:lnTo>
                    <a:pt x="996" y="684"/>
                  </a:lnTo>
                  <a:lnTo>
                    <a:pt x="984" y="690"/>
                  </a:lnTo>
                  <a:lnTo>
                    <a:pt x="972" y="690"/>
                  </a:lnTo>
                  <a:lnTo>
                    <a:pt x="966" y="696"/>
                  </a:lnTo>
                  <a:lnTo>
                    <a:pt x="966" y="702"/>
                  </a:lnTo>
                  <a:lnTo>
                    <a:pt x="966" y="714"/>
                  </a:lnTo>
                  <a:lnTo>
                    <a:pt x="972" y="726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2" y="756"/>
                  </a:lnTo>
                  <a:lnTo>
                    <a:pt x="966" y="756"/>
                  </a:lnTo>
                  <a:lnTo>
                    <a:pt x="942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18" y="768"/>
                  </a:lnTo>
                  <a:lnTo>
                    <a:pt x="906" y="768"/>
                  </a:lnTo>
                  <a:lnTo>
                    <a:pt x="894" y="762"/>
                  </a:lnTo>
                  <a:lnTo>
                    <a:pt x="882" y="756"/>
                  </a:lnTo>
                  <a:lnTo>
                    <a:pt x="876" y="756"/>
                  </a:lnTo>
                  <a:lnTo>
                    <a:pt x="876" y="762"/>
                  </a:lnTo>
                  <a:lnTo>
                    <a:pt x="864" y="768"/>
                  </a:lnTo>
                  <a:lnTo>
                    <a:pt x="858" y="774"/>
                  </a:lnTo>
                  <a:lnTo>
                    <a:pt x="852" y="774"/>
                  </a:lnTo>
                  <a:lnTo>
                    <a:pt x="840" y="780"/>
                  </a:lnTo>
                  <a:lnTo>
                    <a:pt x="840" y="786"/>
                  </a:lnTo>
                  <a:lnTo>
                    <a:pt x="840" y="792"/>
                  </a:lnTo>
                  <a:lnTo>
                    <a:pt x="840" y="804"/>
                  </a:lnTo>
                  <a:lnTo>
                    <a:pt x="840" y="810"/>
                  </a:lnTo>
                  <a:lnTo>
                    <a:pt x="828" y="816"/>
                  </a:lnTo>
                  <a:lnTo>
                    <a:pt x="810" y="810"/>
                  </a:lnTo>
                  <a:lnTo>
                    <a:pt x="792" y="810"/>
                  </a:lnTo>
                  <a:lnTo>
                    <a:pt x="786" y="816"/>
                  </a:lnTo>
                  <a:lnTo>
                    <a:pt x="780" y="816"/>
                  </a:lnTo>
                  <a:lnTo>
                    <a:pt x="780" y="822"/>
                  </a:lnTo>
                  <a:lnTo>
                    <a:pt x="780" y="828"/>
                  </a:lnTo>
                  <a:lnTo>
                    <a:pt x="780" y="834"/>
                  </a:lnTo>
                  <a:lnTo>
                    <a:pt x="786" y="840"/>
                  </a:lnTo>
                  <a:lnTo>
                    <a:pt x="786" y="846"/>
                  </a:lnTo>
                  <a:lnTo>
                    <a:pt x="786" y="852"/>
                  </a:lnTo>
                  <a:lnTo>
                    <a:pt x="780" y="858"/>
                  </a:lnTo>
                  <a:lnTo>
                    <a:pt x="768" y="858"/>
                  </a:lnTo>
                  <a:lnTo>
                    <a:pt x="762" y="864"/>
                  </a:lnTo>
                  <a:lnTo>
                    <a:pt x="756" y="864"/>
                  </a:lnTo>
                  <a:lnTo>
                    <a:pt x="750" y="870"/>
                  </a:lnTo>
                  <a:lnTo>
                    <a:pt x="744" y="876"/>
                  </a:lnTo>
                  <a:lnTo>
                    <a:pt x="732" y="876"/>
                  </a:lnTo>
                  <a:lnTo>
                    <a:pt x="726" y="876"/>
                  </a:lnTo>
                  <a:lnTo>
                    <a:pt x="720" y="870"/>
                  </a:lnTo>
                  <a:lnTo>
                    <a:pt x="714" y="864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6" y="876"/>
                  </a:lnTo>
                  <a:lnTo>
                    <a:pt x="696" y="882"/>
                  </a:lnTo>
                  <a:lnTo>
                    <a:pt x="696" y="894"/>
                  </a:lnTo>
                  <a:lnTo>
                    <a:pt x="690" y="900"/>
                  </a:lnTo>
                  <a:lnTo>
                    <a:pt x="684" y="900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54" y="888"/>
                  </a:lnTo>
                  <a:lnTo>
                    <a:pt x="654" y="882"/>
                  </a:lnTo>
                  <a:lnTo>
                    <a:pt x="642" y="876"/>
                  </a:lnTo>
                  <a:lnTo>
                    <a:pt x="636" y="876"/>
                  </a:lnTo>
                  <a:lnTo>
                    <a:pt x="630" y="876"/>
                  </a:lnTo>
                  <a:lnTo>
                    <a:pt x="630" y="870"/>
                  </a:lnTo>
                  <a:lnTo>
                    <a:pt x="618" y="858"/>
                  </a:lnTo>
                  <a:lnTo>
                    <a:pt x="612" y="858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06" y="876"/>
                  </a:lnTo>
                  <a:lnTo>
                    <a:pt x="606" y="882"/>
                  </a:lnTo>
                  <a:lnTo>
                    <a:pt x="606" y="888"/>
                  </a:lnTo>
                  <a:lnTo>
                    <a:pt x="600" y="894"/>
                  </a:lnTo>
                  <a:lnTo>
                    <a:pt x="594" y="894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76" y="894"/>
                  </a:lnTo>
                  <a:lnTo>
                    <a:pt x="582" y="900"/>
                  </a:lnTo>
                  <a:lnTo>
                    <a:pt x="576" y="906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64" y="918"/>
                  </a:lnTo>
                  <a:lnTo>
                    <a:pt x="558" y="918"/>
                  </a:lnTo>
                  <a:lnTo>
                    <a:pt x="558" y="912"/>
                  </a:lnTo>
                  <a:lnTo>
                    <a:pt x="552" y="906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06"/>
                  </a:lnTo>
                  <a:lnTo>
                    <a:pt x="534" y="906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0" y="924"/>
                  </a:lnTo>
                  <a:lnTo>
                    <a:pt x="504" y="924"/>
                  </a:lnTo>
                  <a:lnTo>
                    <a:pt x="498" y="930"/>
                  </a:lnTo>
                  <a:lnTo>
                    <a:pt x="492" y="924"/>
                  </a:lnTo>
                  <a:lnTo>
                    <a:pt x="486" y="930"/>
                  </a:lnTo>
                  <a:lnTo>
                    <a:pt x="480" y="942"/>
                  </a:lnTo>
                  <a:lnTo>
                    <a:pt x="468" y="948"/>
                  </a:lnTo>
                  <a:lnTo>
                    <a:pt x="444" y="942"/>
                  </a:lnTo>
                  <a:lnTo>
                    <a:pt x="438" y="954"/>
                  </a:lnTo>
                  <a:lnTo>
                    <a:pt x="426" y="954"/>
                  </a:lnTo>
                  <a:lnTo>
                    <a:pt x="420" y="948"/>
                  </a:lnTo>
                  <a:lnTo>
                    <a:pt x="408" y="936"/>
                  </a:lnTo>
                  <a:lnTo>
                    <a:pt x="396" y="936"/>
                  </a:lnTo>
                  <a:lnTo>
                    <a:pt x="390" y="930"/>
                  </a:lnTo>
                  <a:lnTo>
                    <a:pt x="390" y="924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66" y="924"/>
                  </a:lnTo>
                  <a:lnTo>
                    <a:pt x="360" y="924"/>
                  </a:lnTo>
                  <a:lnTo>
                    <a:pt x="348" y="918"/>
                  </a:lnTo>
                  <a:lnTo>
                    <a:pt x="342" y="906"/>
                  </a:lnTo>
                  <a:lnTo>
                    <a:pt x="336" y="906"/>
                  </a:lnTo>
                  <a:lnTo>
                    <a:pt x="330" y="906"/>
                  </a:lnTo>
                  <a:lnTo>
                    <a:pt x="312" y="906"/>
                  </a:lnTo>
                  <a:lnTo>
                    <a:pt x="312" y="900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888"/>
                  </a:lnTo>
                  <a:lnTo>
                    <a:pt x="312" y="882"/>
                  </a:lnTo>
                  <a:lnTo>
                    <a:pt x="306" y="876"/>
                  </a:lnTo>
                  <a:lnTo>
                    <a:pt x="312" y="876"/>
                  </a:lnTo>
                  <a:lnTo>
                    <a:pt x="312" y="870"/>
                  </a:lnTo>
                  <a:lnTo>
                    <a:pt x="318" y="876"/>
                  </a:lnTo>
                  <a:lnTo>
                    <a:pt x="318" y="870"/>
                  </a:lnTo>
                  <a:lnTo>
                    <a:pt x="324" y="876"/>
                  </a:lnTo>
                  <a:lnTo>
                    <a:pt x="330" y="876"/>
                  </a:lnTo>
                  <a:lnTo>
                    <a:pt x="336" y="876"/>
                  </a:lnTo>
                  <a:lnTo>
                    <a:pt x="342" y="876"/>
                  </a:lnTo>
                  <a:lnTo>
                    <a:pt x="336" y="876"/>
                  </a:lnTo>
                  <a:lnTo>
                    <a:pt x="330" y="870"/>
                  </a:lnTo>
                  <a:lnTo>
                    <a:pt x="324" y="870"/>
                  </a:lnTo>
                  <a:lnTo>
                    <a:pt x="318" y="870"/>
                  </a:lnTo>
                  <a:lnTo>
                    <a:pt x="312" y="870"/>
                  </a:lnTo>
                  <a:lnTo>
                    <a:pt x="318" y="864"/>
                  </a:lnTo>
                  <a:lnTo>
                    <a:pt x="318" y="858"/>
                  </a:lnTo>
                  <a:lnTo>
                    <a:pt x="318" y="852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6" y="846"/>
                  </a:lnTo>
                  <a:lnTo>
                    <a:pt x="312" y="828"/>
                  </a:lnTo>
                  <a:lnTo>
                    <a:pt x="312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06" y="816"/>
                  </a:lnTo>
                  <a:lnTo>
                    <a:pt x="306" y="810"/>
                  </a:lnTo>
                  <a:lnTo>
                    <a:pt x="306" y="816"/>
                  </a:lnTo>
                  <a:lnTo>
                    <a:pt x="312" y="822"/>
                  </a:lnTo>
                  <a:lnTo>
                    <a:pt x="306" y="822"/>
                  </a:lnTo>
                  <a:lnTo>
                    <a:pt x="306" y="828"/>
                  </a:lnTo>
                  <a:lnTo>
                    <a:pt x="306" y="834"/>
                  </a:lnTo>
                  <a:lnTo>
                    <a:pt x="300" y="840"/>
                  </a:lnTo>
                  <a:lnTo>
                    <a:pt x="300" y="846"/>
                  </a:lnTo>
                  <a:lnTo>
                    <a:pt x="306" y="852"/>
                  </a:lnTo>
                  <a:lnTo>
                    <a:pt x="306" y="858"/>
                  </a:lnTo>
                  <a:lnTo>
                    <a:pt x="312" y="858"/>
                  </a:lnTo>
                  <a:lnTo>
                    <a:pt x="312" y="864"/>
                  </a:lnTo>
                  <a:lnTo>
                    <a:pt x="306" y="864"/>
                  </a:lnTo>
                  <a:lnTo>
                    <a:pt x="300" y="864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82" y="870"/>
                  </a:lnTo>
                  <a:lnTo>
                    <a:pt x="276" y="870"/>
                  </a:lnTo>
                  <a:lnTo>
                    <a:pt x="270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8" y="870"/>
                  </a:lnTo>
                  <a:lnTo>
                    <a:pt x="252" y="870"/>
                  </a:lnTo>
                  <a:lnTo>
                    <a:pt x="252" y="864"/>
                  </a:lnTo>
                  <a:lnTo>
                    <a:pt x="246" y="858"/>
                  </a:lnTo>
                  <a:lnTo>
                    <a:pt x="246" y="852"/>
                  </a:lnTo>
                  <a:lnTo>
                    <a:pt x="246" y="846"/>
                  </a:lnTo>
                  <a:lnTo>
                    <a:pt x="246" y="840"/>
                  </a:lnTo>
                  <a:lnTo>
                    <a:pt x="246" y="834"/>
                  </a:lnTo>
                  <a:lnTo>
                    <a:pt x="246" y="828"/>
                  </a:lnTo>
                  <a:lnTo>
                    <a:pt x="246" y="822"/>
                  </a:lnTo>
                  <a:lnTo>
                    <a:pt x="240" y="816"/>
                  </a:lnTo>
                  <a:lnTo>
                    <a:pt x="240" y="810"/>
                  </a:lnTo>
                  <a:lnTo>
                    <a:pt x="240" y="804"/>
                  </a:lnTo>
                  <a:lnTo>
                    <a:pt x="240" y="798"/>
                  </a:lnTo>
                  <a:lnTo>
                    <a:pt x="234" y="798"/>
                  </a:lnTo>
                  <a:lnTo>
                    <a:pt x="234" y="792"/>
                  </a:lnTo>
                  <a:lnTo>
                    <a:pt x="234" y="786"/>
                  </a:lnTo>
                  <a:lnTo>
                    <a:pt x="234" y="780"/>
                  </a:lnTo>
                  <a:lnTo>
                    <a:pt x="228" y="780"/>
                  </a:lnTo>
                  <a:lnTo>
                    <a:pt x="228" y="774"/>
                  </a:lnTo>
                  <a:lnTo>
                    <a:pt x="228" y="768"/>
                  </a:lnTo>
                  <a:lnTo>
                    <a:pt x="222" y="762"/>
                  </a:lnTo>
                  <a:lnTo>
                    <a:pt x="222" y="756"/>
                  </a:lnTo>
                  <a:lnTo>
                    <a:pt x="222" y="750"/>
                  </a:lnTo>
                  <a:lnTo>
                    <a:pt x="222" y="744"/>
                  </a:lnTo>
                  <a:lnTo>
                    <a:pt x="222" y="738"/>
                  </a:lnTo>
                  <a:lnTo>
                    <a:pt x="216" y="732"/>
                  </a:lnTo>
                  <a:lnTo>
                    <a:pt x="222" y="732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32"/>
                  </a:lnTo>
                  <a:lnTo>
                    <a:pt x="246" y="732"/>
                  </a:lnTo>
                  <a:lnTo>
                    <a:pt x="246" y="738"/>
                  </a:lnTo>
                  <a:lnTo>
                    <a:pt x="252" y="738"/>
                  </a:lnTo>
                  <a:lnTo>
                    <a:pt x="258" y="738"/>
                  </a:lnTo>
                  <a:lnTo>
                    <a:pt x="258" y="732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8" y="732"/>
                  </a:lnTo>
                  <a:lnTo>
                    <a:pt x="294" y="732"/>
                  </a:lnTo>
                  <a:lnTo>
                    <a:pt x="300" y="732"/>
                  </a:lnTo>
                  <a:lnTo>
                    <a:pt x="300" y="738"/>
                  </a:lnTo>
                  <a:lnTo>
                    <a:pt x="306" y="738"/>
                  </a:lnTo>
                  <a:lnTo>
                    <a:pt x="306" y="744"/>
                  </a:lnTo>
                  <a:lnTo>
                    <a:pt x="306" y="750"/>
                  </a:lnTo>
                  <a:lnTo>
                    <a:pt x="312" y="750"/>
                  </a:lnTo>
                  <a:lnTo>
                    <a:pt x="312" y="756"/>
                  </a:lnTo>
                  <a:lnTo>
                    <a:pt x="318" y="756"/>
                  </a:lnTo>
                  <a:lnTo>
                    <a:pt x="318" y="750"/>
                  </a:lnTo>
                  <a:lnTo>
                    <a:pt x="312" y="750"/>
                  </a:lnTo>
                  <a:lnTo>
                    <a:pt x="312" y="744"/>
                  </a:lnTo>
                  <a:lnTo>
                    <a:pt x="318" y="738"/>
                  </a:lnTo>
                  <a:lnTo>
                    <a:pt x="324" y="738"/>
                  </a:lnTo>
                  <a:lnTo>
                    <a:pt x="330" y="738"/>
                  </a:lnTo>
                  <a:lnTo>
                    <a:pt x="336" y="738"/>
                  </a:lnTo>
                  <a:lnTo>
                    <a:pt x="342" y="738"/>
                  </a:lnTo>
                  <a:lnTo>
                    <a:pt x="348" y="732"/>
                  </a:lnTo>
                  <a:lnTo>
                    <a:pt x="354" y="732"/>
                  </a:lnTo>
                  <a:lnTo>
                    <a:pt x="360" y="732"/>
                  </a:lnTo>
                  <a:lnTo>
                    <a:pt x="360" y="726"/>
                  </a:lnTo>
                  <a:lnTo>
                    <a:pt x="366" y="726"/>
                  </a:lnTo>
                  <a:lnTo>
                    <a:pt x="366" y="720"/>
                  </a:lnTo>
                  <a:lnTo>
                    <a:pt x="366" y="714"/>
                  </a:lnTo>
                  <a:lnTo>
                    <a:pt x="360" y="708"/>
                  </a:lnTo>
                  <a:lnTo>
                    <a:pt x="354" y="708"/>
                  </a:lnTo>
                  <a:lnTo>
                    <a:pt x="348" y="702"/>
                  </a:lnTo>
                  <a:lnTo>
                    <a:pt x="354" y="702"/>
                  </a:lnTo>
                  <a:lnTo>
                    <a:pt x="354" y="696"/>
                  </a:lnTo>
                  <a:lnTo>
                    <a:pt x="348" y="696"/>
                  </a:lnTo>
                  <a:lnTo>
                    <a:pt x="348" y="690"/>
                  </a:lnTo>
                  <a:lnTo>
                    <a:pt x="342" y="690"/>
                  </a:lnTo>
                  <a:lnTo>
                    <a:pt x="342" y="684"/>
                  </a:lnTo>
                  <a:lnTo>
                    <a:pt x="342" y="678"/>
                  </a:lnTo>
                  <a:lnTo>
                    <a:pt x="342" y="666"/>
                  </a:lnTo>
                  <a:lnTo>
                    <a:pt x="342" y="660"/>
                  </a:lnTo>
                  <a:lnTo>
                    <a:pt x="348" y="654"/>
                  </a:lnTo>
                  <a:lnTo>
                    <a:pt x="348" y="642"/>
                  </a:lnTo>
                  <a:lnTo>
                    <a:pt x="354" y="642"/>
                  </a:lnTo>
                  <a:lnTo>
                    <a:pt x="360" y="642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66" y="642"/>
                  </a:lnTo>
                  <a:lnTo>
                    <a:pt x="372" y="642"/>
                  </a:lnTo>
                  <a:lnTo>
                    <a:pt x="378" y="642"/>
                  </a:lnTo>
                  <a:lnTo>
                    <a:pt x="384" y="642"/>
                  </a:lnTo>
                  <a:lnTo>
                    <a:pt x="390" y="642"/>
                  </a:lnTo>
                  <a:lnTo>
                    <a:pt x="396" y="642"/>
                  </a:lnTo>
                  <a:lnTo>
                    <a:pt x="396" y="636"/>
                  </a:lnTo>
                  <a:lnTo>
                    <a:pt x="402" y="636"/>
                  </a:lnTo>
                  <a:lnTo>
                    <a:pt x="408" y="636"/>
                  </a:lnTo>
                  <a:lnTo>
                    <a:pt x="402" y="636"/>
                  </a:lnTo>
                  <a:lnTo>
                    <a:pt x="402" y="630"/>
                  </a:lnTo>
                  <a:lnTo>
                    <a:pt x="408" y="630"/>
                  </a:lnTo>
                  <a:lnTo>
                    <a:pt x="408" y="624"/>
                  </a:lnTo>
                  <a:lnTo>
                    <a:pt x="408" y="618"/>
                  </a:lnTo>
                  <a:lnTo>
                    <a:pt x="414" y="618"/>
                  </a:lnTo>
                  <a:lnTo>
                    <a:pt x="420" y="618"/>
                  </a:lnTo>
                  <a:lnTo>
                    <a:pt x="426" y="624"/>
                  </a:lnTo>
                  <a:lnTo>
                    <a:pt x="432" y="624"/>
                  </a:lnTo>
                  <a:lnTo>
                    <a:pt x="438" y="624"/>
                  </a:lnTo>
                  <a:lnTo>
                    <a:pt x="438" y="618"/>
                  </a:lnTo>
                  <a:lnTo>
                    <a:pt x="444" y="618"/>
                  </a:lnTo>
                  <a:lnTo>
                    <a:pt x="450" y="618"/>
                  </a:lnTo>
                  <a:lnTo>
                    <a:pt x="444" y="618"/>
                  </a:lnTo>
                  <a:lnTo>
                    <a:pt x="438" y="618"/>
                  </a:lnTo>
                  <a:lnTo>
                    <a:pt x="438" y="612"/>
                  </a:lnTo>
                  <a:lnTo>
                    <a:pt x="438" y="618"/>
                  </a:lnTo>
                  <a:lnTo>
                    <a:pt x="432" y="624"/>
                  </a:lnTo>
                  <a:lnTo>
                    <a:pt x="426" y="618"/>
                  </a:lnTo>
                  <a:lnTo>
                    <a:pt x="420" y="612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402" y="624"/>
                  </a:lnTo>
                  <a:lnTo>
                    <a:pt x="396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78" y="630"/>
                  </a:lnTo>
                  <a:lnTo>
                    <a:pt x="378" y="636"/>
                  </a:lnTo>
                  <a:lnTo>
                    <a:pt x="372" y="630"/>
                  </a:lnTo>
                  <a:lnTo>
                    <a:pt x="366" y="630"/>
                  </a:lnTo>
                  <a:lnTo>
                    <a:pt x="360" y="630"/>
                  </a:lnTo>
                  <a:lnTo>
                    <a:pt x="354" y="630"/>
                  </a:lnTo>
                  <a:lnTo>
                    <a:pt x="354" y="636"/>
                  </a:lnTo>
                  <a:lnTo>
                    <a:pt x="348" y="636"/>
                  </a:lnTo>
                  <a:lnTo>
                    <a:pt x="348" y="642"/>
                  </a:lnTo>
                  <a:lnTo>
                    <a:pt x="342" y="642"/>
                  </a:lnTo>
                  <a:lnTo>
                    <a:pt x="342" y="648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6" y="660"/>
                  </a:lnTo>
                  <a:lnTo>
                    <a:pt x="336" y="666"/>
                  </a:lnTo>
                  <a:lnTo>
                    <a:pt x="330" y="672"/>
                  </a:lnTo>
                  <a:lnTo>
                    <a:pt x="330" y="678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24" y="696"/>
                  </a:lnTo>
                  <a:lnTo>
                    <a:pt x="324" y="702"/>
                  </a:lnTo>
                  <a:lnTo>
                    <a:pt x="318" y="702"/>
                  </a:lnTo>
                  <a:lnTo>
                    <a:pt x="318" y="708"/>
                  </a:lnTo>
                  <a:lnTo>
                    <a:pt x="312" y="708"/>
                  </a:lnTo>
                  <a:lnTo>
                    <a:pt x="312" y="702"/>
                  </a:lnTo>
                  <a:lnTo>
                    <a:pt x="306" y="702"/>
                  </a:lnTo>
                  <a:lnTo>
                    <a:pt x="300" y="702"/>
                  </a:lnTo>
                  <a:lnTo>
                    <a:pt x="294" y="696"/>
                  </a:lnTo>
                  <a:lnTo>
                    <a:pt x="288" y="696"/>
                  </a:lnTo>
                  <a:lnTo>
                    <a:pt x="282" y="690"/>
                  </a:lnTo>
                  <a:lnTo>
                    <a:pt x="288" y="684"/>
                  </a:lnTo>
                  <a:lnTo>
                    <a:pt x="294" y="684"/>
                  </a:lnTo>
                  <a:lnTo>
                    <a:pt x="294" y="678"/>
                  </a:lnTo>
                  <a:lnTo>
                    <a:pt x="300" y="678"/>
                  </a:lnTo>
                  <a:lnTo>
                    <a:pt x="294" y="678"/>
                  </a:lnTo>
                  <a:lnTo>
                    <a:pt x="294" y="672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94" y="672"/>
                  </a:lnTo>
                  <a:lnTo>
                    <a:pt x="288" y="678"/>
                  </a:lnTo>
                  <a:lnTo>
                    <a:pt x="282" y="684"/>
                  </a:lnTo>
                  <a:lnTo>
                    <a:pt x="282" y="678"/>
                  </a:lnTo>
                  <a:lnTo>
                    <a:pt x="276" y="678"/>
                  </a:lnTo>
                  <a:lnTo>
                    <a:pt x="282" y="684"/>
                  </a:lnTo>
                  <a:lnTo>
                    <a:pt x="282" y="690"/>
                  </a:lnTo>
                  <a:lnTo>
                    <a:pt x="282" y="696"/>
                  </a:lnTo>
                  <a:lnTo>
                    <a:pt x="288" y="702"/>
                  </a:lnTo>
                  <a:lnTo>
                    <a:pt x="294" y="708"/>
                  </a:lnTo>
                  <a:lnTo>
                    <a:pt x="294" y="714"/>
                  </a:lnTo>
                  <a:lnTo>
                    <a:pt x="288" y="714"/>
                  </a:lnTo>
                  <a:lnTo>
                    <a:pt x="282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64" y="714"/>
                  </a:lnTo>
                  <a:lnTo>
                    <a:pt x="258" y="714"/>
                  </a:lnTo>
                  <a:lnTo>
                    <a:pt x="252" y="714"/>
                  </a:lnTo>
                  <a:lnTo>
                    <a:pt x="246" y="714"/>
                  </a:lnTo>
                  <a:lnTo>
                    <a:pt x="240" y="714"/>
                  </a:lnTo>
                  <a:lnTo>
                    <a:pt x="240" y="708"/>
                  </a:lnTo>
                  <a:lnTo>
                    <a:pt x="234" y="708"/>
                  </a:lnTo>
                  <a:lnTo>
                    <a:pt x="228" y="708"/>
                  </a:lnTo>
                  <a:lnTo>
                    <a:pt x="222" y="702"/>
                  </a:lnTo>
                  <a:lnTo>
                    <a:pt x="216" y="702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2" y="690"/>
                  </a:lnTo>
                  <a:lnTo>
                    <a:pt x="186" y="690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68" y="684"/>
                  </a:lnTo>
                  <a:lnTo>
                    <a:pt x="168" y="678"/>
                  </a:lnTo>
                  <a:lnTo>
                    <a:pt x="156" y="672"/>
                  </a:lnTo>
                  <a:lnTo>
                    <a:pt x="150" y="660"/>
                  </a:lnTo>
                  <a:lnTo>
                    <a:pt x="126" y="630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12"/>
                  </a:lnTo>
                  <a:lnTo>
                    <a:pt x="126" y="606"/>
                  </a:lnTo>
                  <a:lnTo>
                    <a:pt x="126" y="600"/>
                  </a:lnTo>
                  <a:lnTo>
                    <a:pt x="132" y="594"/>
                  </a:lnTo>
                  <a:lnTo>
                    <a:pt x="138" y="594"/>
                  </a:lnTo>
                  <a:lnTo>
                    <a:pt x="144" y="588"/>
                  </a:lnTo>
                  <a:lnTo>
                    <a:pt x="144" y="582"/>
                  </a:lnTo>
                  <a:lnTo>
                    <a:pt x="150" y="582"/>
                  </a:lnTo>
                  <a:lnTo>
                    <a:pt x="150" y="576"/>
                  </a:lnTo>
                  <a:lnTo>
                    <a:pt x="156" y="576"/>
                  </a:lnTo>
                  <a:lnTo>
                    <a:pt x="156" y="582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8" y="576"/>
                  </a:lnTo>
                  <a:lnTo>
                    <a:pt x="174" y="576"/>
                  </a:lnTo>
                  <a:lnTo>
                    <a:pt x="180" y="582"/>
                  </a:lnTo>
                  <a:lnTo>
                    <a:pt x="192" y="582"/>
                  </a:lnTo>
                  <a:lnTo>
                    <a:pt x="198" y="582"/>
                  </a:lnTo>
                  <a:lnTo>
                    <a:pt x="204" y="582"/>
                  </a:lnTo>
                  <a:lnTo>
                    <a:pt x="210" y="582"/>
                  </a:lnTo>
                  <a:lnTo>
                    <a:pt x="216" y="588"/>
                  </a:lnTo>
                  <a:lnTo>
                    <a:pt x="222" y="588"/>
                  </a:lnTo>
                  <a:lnTo>
                    <a:pt x="234" y="588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46" y="594"/>
                  </a:lnTo>
                  <a:lnTo>
                    <a:pt x="252" y="588"/>
                  </a:lnTo>
                  <a:lnTo>
                    <a:pt x="258" y="588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52" y="600"/>
                  </a:lnTo>
                  <a:lnTo>
                    <a:pt x="246" y="600"/>
                  </a:lnTo>
                  <a:lnTo>
                    <a:pt x="246" y="606"/>
                  </a:lnTo>
                  <a:lnTo>
                    <a:pt x="246" y="600"/>
                  </a:lnTo>
                  <a:lnTo>
                    <a:pt x="252" y="600"/>
                  </a:lnTo>
                  <a:lnTo>
                    <a:pt x="258" y="594"/>
                  </a:lnTo>
                  <a:lnTo>
                    <a:pt x="264" y="594"/>
                  </a:lnTo>
                  <a:lnTo>
                    <a:pt x="264" y="588"/>
                  </a:lnTo>
                  <a:lnTo>
                    <a:pt x="270" y="588"/>
                  </a:lnTo>
                  <a:lnTo>
                    <a:pt x="270" y="582"/>
                  </a:lnTo>
                  <a:lnTo>
                    <a:pt x="270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76" y="564"/>
                  </a:lnTo>
                  <a:lnTo>
                    <a:pt x="270" y="558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58"/>
                  </a:lnTo>
                  <a:lnTo>
                    <a:pt x="282" y="558"/>
                  </a:lnTo>
                  <a:lnTo>
                    <a:pt x="288" y="558"/>
                  </a:lnTo>
                  <a:lnTo>
                    <a:pt x="294" y="558"/>
                  </a:lnTo>
                  <a:lnTo>
                    <a:pt x="300" y="558"/>
                  </a:lnTo>
                  <a:lnTo>
                    <a:pt x="306" y="558"/>
                  </a:lnTo>
                  <a:lnTo>
                    <a:pt x="312" y="558"/>
                  </a:lnTo>
                  <a:lnTo>
                    <a:pt x="318" y="558"/>
                  </a:lnTo>
                  <a:lnTo>
                    <a:pt x="318" y="564"/>
                  </a:lnTo>
                  <a:lnTo>
                    <a:pt x="324" y="564"/>
                  </a:lnTo>
                  <a:lnTo>
                    <a:pt x="324" y="570"/>
                  </a:lnTo>
                  <a:lnTo>
                    <a:pt x="330" y="570"/>
                  </a:lnTo>
                  <a:lnTo>
                    <a:pt x="336" y="570"/>
                  </a:lnTo>
                  <a:lnTo>
                    <a:pt x="342" y="570"/>
                  </a:lnTo>
                  <a:lnTo>
                    <a:pt x="348" y="570"/>
                  </a:lnTo>
                  <a:lnTo>
                    <a:pt x="354" y="570"/>
                  </a:lnTo>
                  <a:lnTo>
                    <a:pt x="360" y="570"/>
                  </a:lnTo>
                  <a:lnTo>
                    <a:pt x="366" y="570"/>
                  </a:lnTo>
                  <a:lnTo>
                    <a:pt x="360" y="570"/>
                  </a:lnTo>
                  <a:lnTo>
                    <a:pt x="360" y="564"/>
                  </a:lnTo>
                  <a:lnTo>
                    <a:pt x="354" y="564"/>
                  </a:lnTo>
                  <a:lnTo>
                    <a:pt x="348" y="564"/>
                  </a:lnTo>
                  <a:lnTo>
                    <a:pt x="342" y="564"/>
                  </a:lnTo>
                  <a:lnTo>
                    <a:pt x="342" y="570"/>
                  </a:lnTo>
                  <a:lnTo>
                    <a:pt x="336" y="564"/>
                  </a:lnTo>
                  <a:lnTo>
                    <a:pt x="336" y="570"/>
                  </a:lnTo>
                  <a:lnTo>
                    <a:pt x="336" y="564"/>
                  </a:lnTo>
                  <a:lnTo>
                    <a:pt x="330" y="564"/>
                  </a:lnTo>
                  <a:lnTo>
                    <a:pt x="324" y="558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18" y="558"/>
                  </a:lnTo>
                  <a:lnTo>
                    <a:pt x="312" y="552"/>
                  </a:lnTo>
                  <a:lnTo>
                    <a:pt x="312" y="558"/>
                  </a:lnTo>
                  <a:lnTo>
                    <a:pt x="312" y="552"/>
                  </a:lnTo>
                  <a:lnTo>
                    <a:pt x="306" y="552"/>
                  </a:lnTo>
                  <a:lnTo>
                    <a:pt x="300" y="546"/>
                  </a:lnTo>
                  <a:lnTo>
                    <a:pt x="294" y="546"/>
                  </a:lnTo>
                  <a:lnTo>
                    <a:pt x="288" y="546"/>
                  </a:lnTo>
                  <a:lnTo>
                    <a:pt x="282" y="546"/>
                  </a:lnTo>
                  <a:lnTo>
                    <a:pt x="276" y="546"/>
                  </a:lnTo>
                  <a:lnTo>
                    <a:pt x="276" y="552"/>
                  </a:lnTo>
                  <a:lnTo>
                    <a:pt x="270" y="552"/>
                  </a:lnTo>
                  <a:lnTo>
                    <a:pt x="270" y="558"/>
                  </a:lnTo>
                  <a:lnTo>
                    <a:pt x="270" y="564"/>
                  </a:lnTo>
                  <a:lnTo>
                    <a:pt x="264" y="570"/>
                  </a:lnTo>
                  <a:lnTo>
                    <a:pt x="258" y="576"/>
                  </a:lnTo>
                  <a:lnTo>
                    <a:pt x="258" y="582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34" y="576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16" y="552"/>
                  </a:lnTo>
                  <a:lnTo>
                    <a:pt x="216" y="546"/>
                  </a:lnTo>
                  <a:lnTo>
                    <a:pt x="216" y="540"/>
                  </a:lnTo>
                  <a:lnTo>
                    <a:pt x="222" y="534"/>
                  </a:lnTo>
                  <a:lnTo>
                    <a:pt x="222" y="528"/>
                  </a:lnTo>
                  <a:lnTo>
                    <a:pt x="228" y="522"/>
                  </a:lnTo>
                  <a:lnTo>
                    <a:pt x="228" y="516"/>
                  </a:lnTo>
                  <a:lnTo>
                    <a:pt x="228" y="510"/>
                  </a:lnTo>
                  <a:lnTo>
                    <a:pt x="234" y="510"/>
                  </a:lnTo>
                  <a:lnTo>
                    <a:pt x="240" y="516"/>
                  </a:lnTo>
                  <a:lnTo>
                    <a:pt x="246" y="522"/>
                  </a:lnTo>
                  <a:lnTo>
                    <a:pt x="246" y="516"/>
                  </a:lnTo>
                  <a:lnTo>
                    <a:pt x="240" y="516"/>
                  </a:lnTo>
                  <a:lnTo>
                    <a:pt x="240" y="510"/>
                  </a:lnTo>
                  <a:lnTo>
                    <a:pt x="234" y="510"/>
                  </a:lnTo>
                  <a:lnTo>
                    <a:pt x="234" y="504"/>
                  </a:lnTo>
                  <a:lnTo>
                    <a:pt x="228" y="504"/>
                  </a:lnTo>
                  <a:lnTo>
                    <a:pt x="222" y="504"/>
                  </a:lnTo>
                  <a:lnTo>
                    <a:pt x="222" y="498"/>
                  </a:lnTo>
                  <a:lnTo>
                    <a:pt x="222" y="504"/>
                  </a:lnTo>
                  <a:lnTo>
                    <a:pt x="222" y="510"/>
                  </a:lnTo>
                  <a:lnTo>
                    <a:pt x="222" y="516"/>
                  </a:lnTo>
                  <a:lnTo>
                    <a:pt x="216" y="522"/>
                  </a:lnTo>
                  <a:lnTo>
                    <a:pt x="216" y="528"/>
                  </a:lnTo>
                  <a:lnTo>
                    <a:pt x="210" y="528"/>
                  </a:lnTo>
                  <a:lnTo>
                    <a:pt x="216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04" y="546"/>
                  </a:lnTo>
                  <a:lnTo>
                    <a:pt x="204" y="552"/>
                  </a:lnTo>
                  <a:lnTo>
                    <a:pt x="204" y="558"/>
                  </a:lnTo>
                  <a:lnTo>
                    <a:pt x="204" y="564"/>
                  </a:lnTo>
                  <a:lnTo>
                    <a:pt x="198" y="570"/>
                  </a:lnTo>
                  <a:lnTo>
                    <a:pt x="192" y="564"/>
                  </a:lnTo>
                  <a:lnTo>
                    <a:pt x="186" y="564"/>
                  </a:lnTo>
                  <a:lnTo>
                    <a:pt x="180" y="564"/>
                  </a:lnTo>
                  <a:lnTo>
                    <a:pt x="174" y="564"/>
                  </a:lnTo>
                  <a:lnTo>
                    <a:pt x="168" y="564"/>
                  </a:lnTo>
                  <a:lnTo>
                    <a:pt x="162" y="564"/>
                  </a:lnTo>
                  <a:lnTo>
                    <a:pt x="156" y="570"/>
                  </a:lnTo>
                  <a:lnTo>
                    <a:pt x="150" y="570"/>
                  </a:lnTo>
                  <a:lnTo>
                    <a:pt x="150" y="564"/>
                  </a:lnTo>
                  <a:lnTo>
                    <a:pt x="150" y="570"/>
                  </a:lnTo>
                  <a:lnTo>
                    <a:pt x="150" y="576"/>
                  </a:lnTo>
                  <a:lnTo>
                    <a:pt x="144" y="576"/>
                  </a:lnTo>
                  <a:lnTo>
                    <a:pt x="138" y="576"/>
                  </a:lnTo>
                  <a:lnTo>
                    <a:pt x="132" y="582"/>
                  </a:lnTo>
                  <a:lnTo>
                    <a:pt x="126" y="582"/>
                  </a:lnTo>
                  <a:lnTo>
                    <a:pt x="120" y="582"/>
                  </a:lnTo>
                  <a:lnTo>
                    <a:pt x="114" y="576"/>
                  </a:lnTo>
                  <a:lnTo>
                    <a:pt x="108" y="564"/>
                  </a:lnTo>
                  <a:lnTo>
                    <a:pt x="102" y="558"/>
                  </a:lnTo>
                  <a:lnTo>
                    <a:pt x="96" y="552"/>
                  </a:lnTo>
                  <a:lnTo>
                    <a:pt x="90" y="546"/>
                  </a:lnTo>
                  <a:lnTo>
                    <a:pt x="90" y="540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2"/>
                  </a:lnTo>
                  <a:lnTo>
                    <a:pt x="78" y="516"/>
                  </a:lnTo>
                  <a:lnTo>
                    <a:pt x="72" y="510"/>
                  </a:lnTo>
                  <a:lnTo>
                    <a:pt x="66" y="504"/>
                  </a:lnTo>
                  <a:lnTo>
                    <a:pt x="66" y="498"/>
                  </a:lnTo>
                  <a:lnTo>
                    <a:pt x="66" y="492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6" y="474"/>
                  </a:lnTo>
                  <a:lnTo>
                    <a:pt x="72" y="474"/>
                  </a:lnTo>
                  <a:lnTo>
                    <a:pt x="72" y="468"/>
                  </a:lnTo>
                  <a:lnTo>
                    <a:pt x="78" y="462"/>
                  </a:lnTo>
                  <a:lnTo>
                    <a:pt x="78" y="456"/>
                  </a:lnTo>
                  <a:lnTo>
                    <a:pt x="84" y="456"/>
                  </a:lnTo>
                  <a:lnTo>
                    <a:pt x="84" y="450"/>
                  </a:lnTo>
                  <a:lnTo>
                    <a:pt x="84" y="444"/>
                  </a:lnTo>
                  <a:lnTo>
                    <a:pt x="90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02" y="450"/>
                  </a:lnTo>
                  <a:lnTo>
                    <a:pt x="108" y="450"/>
                  </a:lnTo>
                  <a:lnTo>
                    <a:pt x="108" y="456"/>
                  </a:lnTo>
                  <a:lnTo>
                    <a:pt x="108" y="462"/>
                  </a:lnTo>
                  <a:lnTo>
                    <a:pt x="114" y="462"/>
                  </a:lnTo>
                  <a:lnTo>
                    <a:pt x="114" y="468"/>
                  </a:lnTo>
                  <a:lnTo>
                    <a:pt x="114" y="474"/>
                  </a:lnTo>
                  <a:lnTo>
                    <a:pt x="114" y="480"/>
                  </a:lnTo>
                  <a:lnTo>
                    <a:pt x="114" y="486"/>
                  </a:lnTo>
                  <a:lnTo>
                    <a:pt x="120" y="486"/>
                  </a:lnTo>
                  <a:lnTo>
                    <a:pt x="126" y="486"/>
                  </a:lnTo>
                  <a:lnTo>
                    <a:pt x="132" y="486"/>
                  </a:lnTo>
                  <a:lnTo>
                    <a:pt x="126" y="480"/>
                  </a:lnTo>
                  <a:lnTo>
                    <a:pt x="120" y="480"/>
                  </a:lnTo>
                  <a:lnTo>
                    <a:pt x="114" y="480"/>
                  </a:lnTo>
                  <a:lnTo>
                    <a:pt x="120" y="480"/>
                  </a:lnTo>
                  <a:lnTo>
                    <a:pt x="120" y="474"/>
                  </a:lnTo>
                  <a:lnTo>
                    <a:pt x="120" y="468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108" y="450"/>
                  </a:lnTo>
                  <a:lnTo>
                    <a:pt x="108" y="444"/>
                  </a:lnTo>
                  <a:lnTo>
                    <a:pt x="114" y="438"/>
                  </a:lnTo>
                  <a:lnTo>
                    <a:pt x="120" y="438"/>
                  </a:lnTo>
                  <a:lnTo>
                    <a:pt x="120" y="432"/>
                  </a:lnTo>
                  <a:lnTo>
                    <a:pt x="132" y="426"/>
                  </a:lnTo>
                  <a:lnTo>
                    <a:pt x="138" y="420"/>
                  </a:lnTo>
                  <a:lnTo>
                    <a:pt x="144" y="420"/>
                  </a:lnTo>
                  <a:lnTo>
                    <a:pt x="144" y="414"/>
                  </a:lnTo>
                  <a:lnTo>
                    <a:pt x="144" y="420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6" y="414"/>
                  </a:lnTo>
                  <a:lnTo>
                    <a:pt x="162" y="414"/>
                  </a:lnTo>
                  <a:lnTo>
                    <a:pt x="162" y="408"/>
                  </a:lnTo>
                  <a:lnTo>
                    <a:pt x="168" y="408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86" y="396"/>
                  </a:lnTo>
                  <a:lnTo>
                    <a:pt x="186" y="390"/>
                  </a:lnTo>
                  <a:lnTo>
                    <a:pt x="192" y="390"/>
                  </a:lnTo>
                  <a:lnTo>
                    <a:pt x="198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210" y="378"/>
                  </a:lnTo>
                  <a:lnTo>
                    <a:pt x="210" y="372"/>
                  </a:lnTo>
                  <a:lnTo>
                    <a:pt x="216" y="372"/>
                  </a:lnTo>
                  <a:lnTo>
                    <a:pt x="222" y="366"/>
                  </a:lnTo>
                  <a:lnTo>
                    <a:pt x="228" y="360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6" y="348"/>
                  </a:lnTo>
                  <a:lnTo>
                    <a:pt x="252" y="348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0" y="342"/>
                  </a:lnTo>
                  <a:lnTo>
                    <a:pt x="234" y="342"/>
                  </a:lnTo>
                  <a:lnTo>
                    <a:pt x="228" y="336"/>
                  </a:lnTo>
                  <a:lnTo>
                    <a:pt x="222" y="336"/>
                  </a:lnTo>
                  <a:lnTo>
                    <a:pt x="216" y="336"/>
                  </a:lnTo>
                  <a:lnTo>
                    <a:pt x="222" y="324"/>
                  </a:lnTo>
                  <a:lnTo>
                    <a:pt x="222" y="318"/>
                  </a:lnTo>
                  <a:lnTo>
                    <a:pt x="222" y="312"/>
                  </a:lnTo>
                  <a:lnTo>
                    <a:pt x="234" y="318"/>
                  </a:lnTo>
                  <a:lnTo>
                    <a:pt x="246" y="318"/>
                  </a:lnTo>
                  <a:lnTo>
                    <a:pt x="258" y="318"/>
                  </a:lnTo>
                  <a:lnTo>
                    <a:pt x="270" y="312"/>
                  </a:lnTo>
                  <a:lnTo>
                    <a:pt x="276" y="312"/>
                  </a:lnTo>
                  <a:lnTo>
                    <a:pt x="288" y="324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94" y="306"/>
                  </a:lnTo>
                  <a:lnTo>
                    <a:pt x="300" y="300"/>
                  </a:lnTo>
                  <a:lnTo>
                    <a:pt x="306" y="306"/>
                  </a:lnTo>
                  <a:lnTo>
                    <a:pt x="312" y="318"/>
                  </a:lnTo>
                  <a:lnTo>
                    <a:pt x="318" y="312"/>
                  </a:lnTo>
                  <a:lnTo>
                    <a:pt x="324" y="312"/>
                  </a:lnTo>
                  <a:lnTo>
                    <a:pt x="330" y="312"/>
                  </a:lnTo>
                  <a:lnTo>
                    <a:pt x="342" y="306"/>
                  </a:lnTo>
                  <a:lnTo>
                    <a:pt x="348" y="306"/>
                  </a:lnTo>
                  <a:lnTo>
                    <a:pt x="348" y="312"/>
                  </a:lnTo>
                  <a:lnTo>
                    <a:pt x="348" y="318"/>
                  </a:lnTo>
                  <a:lnTo>
                    <a:pt x="354" y="318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60" y="336"/>
                  </a:lnTo>
                  <a:lnTo>
                    <a:pt x="366" y="330"/>
                  </a:lnTo>
                  <a:lnTo>
                    <a:pt x="378" y="324"/>
                  </a:lnTo>
                  <a:lnTo>
                    <a:pt x="384" y="324"/>
                  </a:lnTo>
                  <a:lnTo>
                    <a:pt x="384" y="318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6"/>
                  </a:lnTo>
                  <a:lnTo>
                    <a:pt x="402" y="306"/>
                  </a:lnTo>
                  <a:lnTo>
                    <a:pt x="408" y="306"/>
                  </a:lnTo>
                  <a:lnTo>
                    <a:pt x="414" y="300"/>
                  </a:lnTo>
                  <a:lnTo>
                    <a:pt x="420" y="300"/>
                  </a:lnTo>
                  <a:lnTo>
                    <a:pt x="426" y="300"/>
                  </a:lnTo>
                  <a:lnTo>
                    <a:pt x="432" y="300"/>
                  </a:lnTo>
                  <a:lnTo>
                    <a:pt x="444" y="288"/>
                  </a:lnTo>
                  <a:lnTo>
                    <a:pt x="450" y="294"/>
                  </a:lnTo>
                  <a:lnTo>
                    <a:pt x="468" y="300"/>
                  </a:lnTo>
                  <a:lnTo>
                    <a:pt x="498" y="312"/>
                  </a:lnTo>
                  <a:lnTo>
                    <a:pt x="504" y="324"/>
                  </a:lnTo>
                  <a:lnTo>
                    <a:pt x="516" y="330"/>
                  </a:lnTo>
                  <a:lnTo>
                    <a:pt x="516" y="336"/>
                  </a:lnTo>
                  <a:lnTo>
                    <a:pt x="540" y="342"/>
                  </a:lnTo>
                  <a:lnTo>
                    <a:pt x="558" y="372"/>
                  </a:lnTo>
                  <a:lnTo>
                    <a:pt x="594" y="384"/>
                  </a:lnTo>
                  <a:lnTo>
                    <a:pt x="606" y="402"/>
                  </a:lnTo>
                  <a:lnTo>
                    <a:pt x="600" y="420"/>
                  </a:lnTo>
                  <a:lnTo>
                    <a:pt x="588" y="444"/>
                  </a:lnTo>
                  <a:lnTo>
                    <a:pt x="588" y="450"/>
                  </a:lnTo>
                  <a:lnTo>
                    <a:pt x="588" y="456"/>
                  </a:lnTo>
                  <a:lnTo>
                    <a:pt x="594" y="456"/>
                  </a:lnTo>
                  <a:lnTo>
                    <a:pt x="594" y="462"/>
                  </a:lnTo>
                  <a:lnTo>
                    <a:pt x="594" y="468"/>
                  </a:lnTo>
                  <a:lnTo>
                    <a:pt x="594" y="474"/>
                  </a:lnTo>
                  <a:lnTo>
                    <a:pt x="600" y="474"/>
                  </a:lnTo>
                  <a:lnTo>
                    <a:pt x="606" y="480"/>
                  </a:lnTo>
                  <a:lnTo>
                    <a:pt x="606" y="486"/>
                  </a:lnTo>
                  <a:lnTo>
                    <a:pt x="612" y="486"/>
                  </a:lnTo>
                  <a:lnTo>
                    <a:pt x="618" y="486"/>
                  </a:lnTo>
                  <a:lnTo>
                    <a:pt x="624" y="486"/>
                  </a:lnTo>
                  <a:lnTo>
                    <a:pt x="636" y="486"/>
                  </a:lnTo>
                  <a:lnTo>
                    <a:pt x="642" y="486"/>
                  </a:lnTo>
                  <a:lnTo>
                    <a:pt x="648" y="480"/>
                  </a:lnTo>
                  <a:lnTo>
                    <a:pt x="654" y="474"/>
                  </a:lnTo>
                  <a:lnTo>
                    <a:pt x="660" y="468"/>
                  </a:lnTo>
                  <a:lnTo>
                    <a:pt x="666" y="468"/>
                  </a:lnTo>
                  <a:lnTo>
                    <a:pt x="684" y="468"/>
                  </a:lnTo>
                  <a:lnTo>
                    <a:pt x="696" y="468"/>
                  </a:lnTo>
                  <a:lnTo>
                    <a:pt x="696" y="462"/>
                  </a:lnTo>
                  <a:lnTo>
                    <a:pt x="702" y="456"/>
                  </a:lnTo>
                  <a:lnTo>
                    <a:pt x="708" y="450"/>
                  </a:lnTo>
                  <a:lnTo>
                    <a:pt x="714" y="450"/>
                  </a:lnTo>
                  <a:lnTo>
                    <a:pt x="720" y="450"/>
                  </a:lnTo>
                  <a:lnTo>
                    <a:pt x="720" y="438"/>
                  </a:lnTo>
                  <a:lnTo>
                    <a:pt x="726" y="432"/>
                  </a:lnTo>
                  <a:lnTo>
                    <a:pt x="738" y="420"/>
                  </a:lnTo>
                  <a:lnTo>
                    <a:pt x="744" y="420"/>
                  </a:lnTo>
                  <a:lnTo>
                    <a:pt x="750" y="414"/>
                  </a:lnTo>
                  <a:lnTo>
                    <a:pt x="762" y="408"/>
                  </a:lnTo>
                  <a:lnTo>
                    <a:pt x="768" y="408"/>
                  </a:lnTo>
                  <a:lnTo>
                    <a:pt x="768" y="402"/>
                  </a:lnTo>
                  <a:lnTo>
                    <a:pt x="780" y="396"/>
                  </a:lnTo>
                  <a:lnTo>
                    <a:pt x="786" y="396"/>
                  </a:lnTo>
                  <a:lnTo>
                    <a:pt x="786" y="390"/>
                  </a:lnTo>
                  <a:lnTo>
                    <a:pt x="792" y="384"/>
                  </a:lnTo>
                  <a:lnTo>
                    <a:pt x="792" y="378"/>
                  </a:lnTo>
                  <a:lnTo>
                    <a:pt x="798" y="366"/>
                  </a:lnTo>
                  <a:lnTo>
                    <a:pt x="804" y="360"/>
                  </a:lnTo>
                  <a:lnTo>
                    <a:pt x="816" y="342"/>
                  </a:lnTo>
                  <a:lnTo>
                    <a:pt x="816" y="312"/>
                  </a:lnTo>
                  <a:lnTo>
                    <a:pt x="804" y="300"/>
                  </a:lnTo>
                  <a:lnTo>
                    <a:pt x="798" y="288"/>
                  </a:lnTo>
                  <a:lnTo>
                    <a:pt x="762" y="264"/>
                  </a:lnTo>
                  <a:lnTo>
                    <a:pt x="738" y="234"/>
                  </a:lnTo>
                  <a:lnTo>
                    <a:pt x="738" y="222"/>
                  </a:lnTo>
                  <a:lnTo>
                    <a:pt x="744" y="210"/>
                  </a:lnTo>
                  <a:lnTo>
                    <a:pt x="732" y="174"/>
                  </a:lnTo>
                  <a:lnTo>
                    <a:pt x="714" y="156"/>
                  </a:lnTo>
                  <a:lnTo>
                    <a:pt x="708" y="144"/>
                  </a:lnTo>
                  <a:lnTo>
                    <a:pt x="714" y="126"/>
                  </a:lnTo>
                  <a:lnTo>
                    <a:pt x="720" y="114"/>
                  </a:lnTo>
                  <a:lnTo>
                    <a:pt x="732" y="102"/>
                  </a:lnTo>
                  <a:lnTo>
                    <a:pt x="744" y="102"/>
                  </a:lnTo>
                  <a:lnTo>
                    <a:pt x="762" y="108"/>
                  </a:lnTo>
                  <a:lnTo>
                    <a:pt x="774" y="114"/>
                  </a:lnTo>
                  <a:lnTo>
                    <a:pt x="780" y="138"/>
                  </a:lnTo>
                  <a:lnTo>
                    <a:pt x="786" y="144"/>
                  </a:lnTo>
                  <a:lnTo>
                    <a:pt x="798" y="138"/>
                  </a:lnTo>
                  <a:lnTo>
                    <a:pt x="804" y="132"/>
                  </a:lnTo>
                  <a:lnTo>
                    <a:pt x="816" y="120"/>
                  </a:lnTo>
                  <a:lnTo>
                    <a:pt x="816" y="108"/>
                  </a:lnTo>
                  <a:lnTo>
                    <a:pt x="828" y="102"/>
                  </a:lnTo>
                  <a:lnTo>
                    <a:pt x="828" y="96"/>
                  </a:lnTo>
                  <a:lnTo>
                    <a:pt x="840" y="96"/>
                  </a:lnTo>
                  <a:lnTo>
                    <a:pt x="840" y="84"/>
                  </a:lnTo>
                  <a:lnTo>
                    <a:pt x="852" y="90"/>
                  </a:lnTo>
                  <a:lnTo>
                    <a:pt x="852" y="96"/>
                  </a:lnTo>
                  <a:lnTo>
                    <a:pt x="870" y="90"/>
                  </a:lnTo>
                  <a:lnTo>
                    <a:pt x="894" y="78"/>
                  </a:lnTo>
                  <a:lnTo>
                    <a:pt x="912" y="78"/>
                  </a:lnTo>
                  <a:lnTo>
                    <a:pt x="942" y="66"/>
                  </a:lnTo>
                  <a:lnTo>
                    <a:pt x="942" y="60"/>
                  </a:lnTo>
                  <a:lnTo>
                    <a:pt x="954" y="48"/>
                  </a:lnTo>
                  <a:lnTo>
                    <a:pt x="966" y="30"/>
                  </a:lnTo>
                  <a:lnTo>
                    <a:pt x="978" y="30"/>
                  </a:lnTo>
                  <a:lnTo>
                    <a:pt x="978" y="24"/>
                  </a:lnTo>
                  <a:lnTo>
                    <a:pt x="984" y="12"/>
                  </a:lnTo>
                  <a:lnTo>
                    <a:pt x="990" y="12"/>
                  </a:lnTo>
                  <a:lnTo>
                    <a:pt x="996" y="12"/>
                  </a:lnTo>
                  <a:lnTo>
                    <a:pt x="1014" y="6"/>
                  </a:lnTo>
                  <a:lnTo>
                    <a:pt x="1026" y="6"/>
                  </a:lnTo>
                  <a:lnTo>
                    <a:pt x="1044" y="6"/>
                  </a:lnTo>
                  <a:lnTo>
                    <a:pt x="1050" y="6"/>
                  </a:lnTo>
                  <a:lnTo>
                    <a:pt x="1056" y="6"/>
                  </a:lnTo>
                  <a:lnTo>
                    <a:pt x="1062" y="6"/>
                  </a:lnTo>
                  <a:lnTo>
                    <a:pt x="1068" y="6"/>
                  </a:lnTo>
                  <a:lnTo>
                    <a:pt x="1074" y="6"/>
                  </a:lnTo>
                  <a:lnTo>
                    <a:pt x="1080" y="6"/>
                  </a:lnTo>
                  <a:lnTo>
                    <a:pt x="1086" y="0"/>
                  </a:lnTo>
                  <a:lnTo>
                    <a:pt x="1092" y="30"/>
                  </a:lnTo>
                  <a:lnTo>
                    <a:pt x="1098" y="60"/>
                  </a:lnTo>
                  <a:lnTo>
                    <a:pt x="1110" y="84"/>
                  </a:lnTo>
                  <a:lnTo>
                    <a:pt x="1122" y="114"/>
                  </a:lnTo>
                  <a:lnTo>
                    <a:pt x="1128" y="144"/>
                  </a:lnTo>
                  <a:lnTo>
                    <a:pt x="1122" y="156"/>
                  </a:lnTo>
                  <a:lnTo>
                    <a:pt x="1128" y="168"/>
                  </a:lnTo>
                  <a:lnTo>
                    <a:pt x="1134" y="186"/>
                  </a:lnTo>
                  <a:lnTo>
                    <a:pt x="1140" y="204"/>
                  </a:lnTo>
                  <a:lnTo>
                    <a:pt x="1146" y="210"/>
                  </a:lnTo>
                  <a:lnTo>
                    <a:pt x="1146" y="216"/>
                  </a:lnTo>
                  <a:lnTo>
                    <a:pt x="1146" y="228"/>
                  </a:lnTo>
                  <a:lnTo>
                    <a:pt x="1146" y="234"/>
                  </a:lnTo>
                  <a:lnTo>
                    <a:pt x="1140" y="246"/>
                  </a:lnTo>
                  <a:lnTo>
                    <a:pt x="1128" y="258"/>
                  </a:lnTo>
                  <a:lnTo>
                    <a:pt x="1116" y="264"/>
                  </a:lnTo>
                  <a:lnTo>
                    <a:pt x="1110" y="276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2" y="312"/>
                  </a:lnTo>
                  <a:lnTo>
                    <a:pt x="1116" y="324"/>
                  </a:lnTo>
                  <a:lnTo>
                    <a:pt x="1104" y="336"/>
                  </a:lnTo>
                  <a:lnTo>
                    <a:pt x="1104" y="354"/>
                  </a:lnTo>
                  <a:lnTo>
                    <a:pt x="1098" y="372"/>
                  </a:lnTo>
                  <a:lnTo>
                    <a:pt x="1092" y="384"/>
                  </a:lnTo>
                  <a:lnTo>
                    <a:pt x="1086" y="390"/>
                  </a:lnTo>
                  <a:lnTo>
                    <a:pt x="1086" y="402"/>
                  </a:lnTo>
                  <a:lnTo>
                    <a:pt x="1080" y="414"/>
                  </a:lnTo>
                  <a:lnTo>
                    <a:pt x="1074" y="426"/>
                  </a:lnTo>
                  <a:lnTo>
                    <a:pt x="1074" y="450"/>
                  </a:lnTo>
                  <a:lnTo>
                    <a:pt x="1074" y="462"/>
                  </a:lnTo>
                  <a:lnTo>
                    <a:pt x="1068" y="474"/>
                  </a:lnTo>
                  <a:lnTo>
                    <a:pt x="1062" y="486"/>
                  </a:lnTo>
                  <a:lnTo>
                    <a:pt x="1056" y="498"/>
                  </a:lnTo>
                  <a:close/>
                  <a:moveTo>
                    <a:pt x="186" y="378"/>
                  </a:moveTo>
                  <a:lnTo>
                    <a:pt x="186" y="384"/>
                  </a:lnTo>
                  <a:lnTo>
                    <a:pt x="180" y="390"/>
                  </a:lnTo>
                  <a:lnTo>
                    <a:pt x="174" y="396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14"/>
                  </a:lnTo>
                  <a:lnTo>
                    <a:pt x="126" y="414"/>
                  </a:lnTo>
                  <a:lnTo>
                    <a:pt x="120" y="414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2" y="426"/>
                  </a:lnTo>
                  <a:lnTo>
                    <a:pt x="102" y="432"/>
                  </a:lnTo>
                  <a:lnTo>
                    <a:pt x="96" y="432"/>
                  </a:lnTo>
                  <a:lnTo>
                    <a:pt x="90" y="432"/>
                  </a:lnTo>
                  <a:lnTo>
                    <a:pt x="84" y="438"/>
                  </a:lnTo>
                  <a:lnTo>
                    <a:pt x="78" y="438"/>
                  </a:lnTo>
                  <a:lnTo>
                    <a:pt x="78" y="444"/>
                  </a:lnTo>
                  <a:lnTo>
                    <a:pt x="72" y="444"/>
                  </a:lnTo>
                  <a:lnTo>
                    <a:pt x="72" y="450"/>
                  </a:lnTo>
                  <a:lnTo>
                    <a:pt x="66" y="456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48" y="468"/>
                  </a:lnTo>
                  <a:lnTo>
                    <a:pt x="42" y="468"/>
                  </a:lnTo>
                  <a:lnTo>
                    <a:pt x="42" y="462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8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0" y="396"/>
                  </a:lnTo>
                  <a:lnTo>
                    <a:pt x="6" y="384"/>
                  </a:lnTo>
                  <a:lnTo>
                    <a:pt x="18" y="372"/>
                  </a:lnTo>
                  <a:lnTo>
                    <a:pt x="30" y="348"/>
                  </a:lnTo>
                  <a:lnTo>
                    <a:pt x="30" y="342"/>
                  </a:lnTo>
                  <a:lnTo>
                    <a:pt x="42" y="330"/>
                  </a:lnTo>
                  <a:lnTo>
                    <a:pt x="42" y="324"/>
                  </a:lnTo>
                  <a:lnTo>
                    <a:pt x="48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60" y="282"/>
                  </a:lnTo>
                  <a:lnTo>
                    <a:pt x="60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2" y="258"/>
                  </a:lnTo>
                  <a:lnTo>
                    <a:pt x="84" y="246"/>
                  </a:lnTo>
                  <a:lnTo>
                    <a:pt x="90" y="234"/>
                  </a:lnTo>
                  <a:lnTo>
                    <a:pt x="96" y="234"/>
                  </a:lnTo>
                  <a:lnTo>
                    <a:pt x="96" y="228"/>
                  </a:lnTo>
                  <a:lnTo>
                    <a:pt x="102" y="222"/>
                  </a:lnTo>
                  <a:lnTo>
                    <a:pt x="102" y="228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14" y="228"/>
                  </a:lnTo>
                  <a:lnTo>
                    <a:pt x="114" y="234"/>
                  </a:lnTo>
                  <a:lnTo>
                    <a:pt x="120" y="228"/>
                  </a:lnTo>
                  <a:lnTo>
                    <a:pt x="120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26" y="228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8" y="234"/>
                  </a:lnTo>
                  <a:lnTo>
                    <a:pt x="144" y="234"/>
                  </a:lnTo>
                  <a:lnTo>
                    <a:pt x="144" y="228"/>
                  </a:lnTo>
                  <a:lnTo>
                    <a:pt x="150" y="228"/>
                  </a:lnTo>
                  <a:lnTo>
                    <a:pt x="156" y="228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46"/>
                  </a:lnTo>
                  <a:lnTo>
                    <a:pt x="162" y="240"/>
                  </a:lnTo>
                  <a:lnTo>
                    <a:pt x="162" y="246"/>
                  </a:lnTo>
                  <a:lnTo>
                    <a:pt x="162" y="258"/>
                  </a:lnTo>
                  <a:lnTo>
                    <a:pt x="162" y="264"/>
                  </a:lnTo>
                  <a:lnTo>
                    <a:pt x="156" y="270"/>
                  </a:lnTo>
                  <a:lnTo>
                    <a:pt x="162" y="270"/>
                  </a:lnTo>
                  <a:lnTo>
                    <a:pt x="162" y="282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86" y="288"/>
                  </a:lnTo>
                  <a:lnTo>
                    <a:pt x="186" y="294"/>
                  </a:lnTo>
                  <a:lnTo>
                    <a:pt x="180" y="300"/>
                  </a:lnTo>
                  <a:lnTo>
                    <a:pt x="174" y="318"/>
                  </a:lnTo>
                  <a:lnTo>
                    <a:pt x="174" y="324"/>
                  </a:lnTo>
                  <a:lnTo>
                    <a:pt x="168" y="330"/>
                  </a:lnTo>
                  <a:lnTo>
                    <a:pt x="168" y="342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74" y="360"/>
                  </a:lnTo>
                  <a:lnTo>
                    <a:pt x="180" y="366"/>
                  </a:lnTo>
                  <a:lnTo>
                    <a:pt x="186" y="3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8" name="Freeform 23">
              <a:extLst>
                <a:ext uri="{FF2B5EF4-FFF2-40B4-BE49-F238E27FC236}">
                  <a16:creationId xmlns:a16="http://schemas.microsoft.com/office/drawing/2014/main" id="{A539A33E-3F6E-4AF7-BD88-1853165307F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6312" y="3604793"/>
              <a:ext cx="581410" cy="621747"/>
            </a:xfrm>
            <a:custGeom>
              <a:avLst/>
              <a:gdLst>
                <a:gd name="T0" fmla="*/ 90 w 1092"/>
                <a:gd name="T1" fmla="*/ 60 h 1170"/>
                <a:gd name="T2" fmla="*/ 83 w 1092"/>
                <a:gd name="T3" fmla="*/ 62 h 1170"/>
                <a:gd name="T4" fmla="*/ 72 w 1092"/>
                <a:gd name="T5" fmla="*/ 68 h 1170"/>
                <a:gd name="T6" fmla="*/ 68 w 1092"/>
                <a:gd name="T7" fmla="*/ 71 h 1170"/>
                <a:gd name="T8" fmla="*/ 61 w 1092"/>
                <a:gd name="T9" fmla="*/ 69 h 1170"/>
                <a:gd name="T10" fmla="*/ 64 w 1092"/>
                <a:gd name="T11" fmla="*/ 82 h 1170"/>
                <a:gd name="T12" fmla="*/ 67 w 1092"/>
                <a:gd name="T13" fmla="*/ 93 h 1170"/>
                <a:gd name="T14" fmla="*/ 62 w 1092"/>
                <a:gd name="T15" fmla="*/ 96 h 1170"/>
                <a:gd name="T16" fmla="*/ 59 w 1092"/>
                <a:gd name="T17" fmla="*/ 99 h 1170"/>
                <a:gd name="T18" fmla="*/ 53 w 1092"/>
                <a:gd name="T19" fmla="*/ 101 h 1170"/>
                <a:gd name="T20" fmla="*/ 50 w 1092"/>
                <a:gd name="T21" fmla="*/ 100 h 1170"/>
                <a:gd name="T22" fmla="*/ 50 w 1092"/>
                <a:gd name="T23" fmla="*/ 93 h 1170"/>
                <a:gd name="T24" fmla="*/ 37 w 1092"/>
                <a:gd name="T25" fmla="*/ 85 h 1170"/>
                <a:gd name="T26" fmla="*/ 32 w 1092"/>
                <a:gd name="T27" fmla="*/ 86 h 1170"/>
                <a:gd name="T28" fmla="*/ 29 w 1092"/>
                <a:gd name="T29" fmla="*/ 88 h 1170"/>
                <a:gd name="T30" fmla="*/ 27 w 1092"/>
                <a:gd name="T31" fmla="*/ 86 h 1170"/>
                <a:gd name="T32" fmla="*/ 23 w 1092"/>
                <a:gd name="T33" fmla="*/ 87 h 1170"/>
                <a:gd name="T34" fmla="*/ 17 w 1092"/>
                <a:gd name="T35" fmla="*/ 87 h 1170"/>
                <a:gd name="T36" fmla="*/ 18 w 1092"/>
                <a:gd name="T37" fmla="*/ 89 h 1170"/>
                <a:gd name="T38" fmla="*/ 16 w 1092"/>
                <a:gd name="T39" fmla="*/ 92 h 1170"/>
                <a:gd name="T40" fmla="*/ 12 w 1092"/>
                <a:gd name="T41" fmla="*/ 89 h 1170"/>
                <a:gd name="T42" fmla="*/ 13 w 1092"/>
                <a:gd name="T43" fmla="*/ 84 h 1170"/>
                <a:gd name="T44" fmla="*/ 12 w 1092"/>
                <a:gd name="T45" fmla="*/ 80 h 1170"/>
                <a:gd name="T46" fmla="*/ 10 w 1092"/>
                <a:gd name="T47" fmla="*/ 80 h 1170"/>
                <a:gd name="T48" fmla="*/ 8 w 1092"/>
                <a:gd name="T49" fmla="*/ 79 h 1170"/>
                <a:gd name="T50" fmla="*/ 6 w 1092"/>
                <a:gd name="T51" fmla="*/ 78 h 1170"/>
                <a:gd name="T52" fmla="*/ 6 w 1092"/>
                <a:gd name="T53" fmla="*/ 77 h 1170"/>
                <a:gd name="T54" fmla="*/ 4 w 1092"/>
                <a:gd name="T55" fmla="*/ 75 h 1170"/>
                <a:gd name="T56" fmla="*/ 0 w 1092"/>
                <a:gd name="T57" fmla="*/ 72 h 1170"/>
                <a:gd name="T58" fmla="*/ 0 w 1092"/>
                <a:gd name="T59" fmla="*/ 69 h 1170"/>
                <a:gd name="T60" fmla="*/ 3 w 1092"/>
                <a:gd name="T61" fmla="*/ 67 h 1170"/>
                <a:gd name="T62" fmla="*/ 6 w 1092"/>
                <a:gd name="T63" fmla="*/ 62 h 1170"/>
                <a:gd name="T64" fmla="*/ 8 w 1092"/>
                <a:gd name="T65" fmla="*/ 58 h 1170"/>
                <a:gd name="T66" fmla="*/ 5 w 1092"/>
                <a:gd name="T67" fmla="*/ 54 h 1170"/>
                <a:gd name="T68" fmla="*/ 6 w 1092"/>
                <a:gd name="T69" fmla="*/ 50 h 1170"/>
                <a:gd name="T70" fmla="*/ 8 w 1092"/>
                <a:gd name="T71" fmla="*/ 46 h 1170"/>
                <a:gd name="T72" fmla="*/ 10 w 1092"/>
                <a:gd name="T73" fmla="*/ 43 h 1170"/>
                <a:gd name="T74" fmla="*/ 14 w 1092"/>
                <a:gd name="T75" fmla="*/ 38 h 1170"/>
                <a:gd name="T76" fmla="*/ 31 w 1092"/>
                <a:gd name="T77" fmla="*/ 40 h 1170"/>
                <a:gd name="T78" fmla="*/ 30 w 1092"/>
                <a:gd name="T79" fmla="*/ 46 h 1170"/>
                <a:gd name="T80" fmla="*/ 36 w 1092"/>
                <a:gd name="T81" fmla="*/ 47 h 1170"/>
                <a:gd name="T82" fmla="*/ 41 w 1092"/>
                <a:gd name="T83" fmla="*/ 44 h 1170"/>
                <a:gd name="T84" fmla="*/ 43 w 1092"/>
                <a:gd name="T85" fmla="*/ 39 h 1170"/>
                <a:gd name="T86" fmla="*/ 44 w 1092"/>
                <a:gd name="T87" fmla="*/ 35 h 1170"/>
                <a:gd name="T88" fmla="*/ 44 w 1092"/>
                <a:gd name="T89" fmla="*/ 29 h 1170"/>
                <a:gd name="T90" fmla="*/ 48 w 1092"/>
                <a:gd name="T91" fmla="*/ 24 h 1170"/>
                <a:gd name="T92" fmla="*/ 49 w 1092"/>
                <a:gd name="T93" fmla="*/ 19 h 1170"/>
                <a:gd name="T94" fmla="*/ 51 w 1092"/>
                <a:gd name="T95" fmla="*/ 14 h 1170"/>
                <a:gd name="T96" fmla="*/ 54 w 1092"/>
                <a:gd name="T97" fmla="*/ 10 h 1170"/>
                <a:gd name="T98" fmla="*/ 53 w 1092"/>
                <a:gd name="T99" fmla="*/ 7 h 1170"/>
                <a:gd name="T100" fmla="*/ 55 w 1092"/>
                <a:gd name="T101" fmla="*/ 3 h 1170"/>
                <a:gd name="T102" fmla="*/ 58 w 1092"/>
                <a:gd name="T103" fmla="*/ 0 h 1170"/>
                <a:gd name="T104" fmla="*/ 65 w 1092"/>
                <a:gd name="T105" fmla="*/ 2 h 1170"/>
                <a:gd name="T106" fmla="*/ 61 w 1092"/>
                <a:gd name="T107" fmla="*/ 6 h 1170"/>
                <a:gd name="T108" fmla="*/ 67 w 1092"/>
                <a:gd name="T109" fmla="*/ 7 h 1170"/>
                <a:gd name="T110" fmla="*/ 71 w 1092"/>
                <a:gd name="T111" fmla="*/ 6 h 1170"/>
                <a:gd name="T112" fmla="*/ 75 w 1092"/>
                <a:gd name="T113" fmla="*/ 9 h 1170"/>
                <a:gd name="T114" fmla="*/ 82 w 1092"/>
                <a:gd name="T115" fmla="*/ 12 h 1170"/>
                <a:gd name="T116" fmla="*/ 84 w 1092"/>
                <a:gd name="T117" fmla="*/ 17 h 1170"/>
                <a:gd name="T118" fmla="*/ 94 w 1092"/>
                <a:gd name="T119" fmla="*/ 23 h 1170"/>
                <a:gd name="T120" fmla="*/ 94 w 1092"/>
                <a:gd name="T121" fmla="*/ 34 h 1170"/>
                <a:gd name="T122" fmla="*/ 90 w 1092"/>
                <a:gd name="T123" fmla="*/ 41 h 1170"/>
                <a:gd name="T124" fmla="*/ 91 w 1092"/>
                <a:gd name="T125" fmla="*/ 51 h 11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92"/>
                <a:gd name="T190" fmla="*/ 0 h 1170"/>
                <a:gd name="T191" fmla="*/ 1092 w 1092"/>
                <a:gd name="T192" fmla="*/ 1170 h 117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92" h="1170">
                  <a:moveTo>
                    <a:pt x="1056" y="654"/>
                  </a:moveTo>
                  <a:lnTo>
                    <a:pt x="1062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0"/>
                  </a:lnTo>
                  <a:lnTo>
                    <a:pt x="1038" y="690"/>
                  </a:lnTo>
                  <a:lnTo>
                    <a:pt x="1032" y="690"/>
                  </a:lnTo>
                  <a:lnTo>
                    <a:pt x="1026" y="690"/>
                  </a:lnTo>
                  <a:lnTo>
                    <a:pt x="1020" y="690"/>
                  </a:lnTo>
                  <a:lnTo>
                    <a:pt x="1002" y="690"/>
                  </a:lnTo>
                  <a:lnTo>
                    <a:pt x="990" y="690"/>
                  </a:lnTo>
                  <a:lnTo>
                    <a:pt x="972" y="696"/>
                  </a:lnTo>
                  <a:lnTo>
                    <a:pt x="966" y="696"/>
                  </a:lnTo>
                  <a:lnTo>
                    <a:pt x="960" y="696"/>
                  </a:lnTo>
                  <a:lnTo>
                    <a:pt x="954" y="708"/>
                  </a:lnTo>
                  <a:lnTo>
                    <a:pt x="954" y="714"/>
                  </a:lnTo>
                  <a:lnTo>
                    <a:pt x="942" y="714"/>
                  </a:lnTo>
                  <a:lnTo>
                    <a:pt x="930" y="732"/>
                  </a:lnTo>
                  <a:lnTo>
                    <a:pt x="918" y="744"/>
                  </a:lnTo>
                  <a:lnTo>
                    <a:pt x="918" y="750"/>
                  </a:lnTo>
                  <a:lnTo>
                    <a:pt x="888" y="762"/>
                  </a:lnTo>
                  <a:lnTo>
                    <a:pt x="870" y="762"/>
                  </a:lnTo>
                  <a:lnTo>
                    <a:pt x="846" y="774"/>
                  </a:lnTo>
                  <a:lnTo>
                    <a:pt x="828" y="780"/>
                  </a:lnTo>
                  <a:lnTo>
                    <a:pt x="828" y="774"/>
                  </a:lnTo>
                  <a:lnTo>
                    <a:pt x="816" y="768"/>
                  </a:lnTo>
                  <a:lnTo>
                    <a:pt x="816" y="780"/>
                  </a:lnTo>
                  <a:lnTo>
                    <a:pt x="804" y="780"/>
                  </a:lnTo>
                  <a:lnTo>
                    <a:pt x="804" y="786"/>
                  </a:lnTo>
                  <a:lnTo>
                    <a:pt x="792" y="792"/>
                  </a:lnTo>
                  <a:lnTo>
                    <a:pt x="792" y="804"/>
                  </a:lnTo>
                  <a:lnTo>
                    <a:pt x="780" y="816"/>
                  </a:lnTo>
                  <a:lnTo>
                    <a:pt x="774" y="822"/>
                  </a:lnTo>
                  <a:lnTo>
                    <a:pt x="762" y="828"/>
                  </a:lnTo>
                  <a:lnTo>
                    <a:pt x="756" y="822"/>
                  </a:lnTo>
                  <a:lnTo>
                    <a:pt x="750" y="798"/>
                  </a:lnTo>
                  <a:lnTo>
                    <a:pt x="738" y="792"/>
                  </a:lnTo>
                  <a:lnTo>
                    <a:pt x="720" y="786"/>
                  </a:lnTo>
                  <a:lnTo>
                    <a:pt x="708" y="786"/>
                  </a:lnTo>
                  <a:lnTo>
                    <a:pt x="696" y="798"/>
                  </a:lnTo>
                  <a:lnTo>
                    <a:pt x="690" y="810"/>
                  </a:lnTo>
                  <a:lnTo>
                    <a:pt x="684" y="828"/>
                  </a:lnTo>
                  <a:lnTo>
                    <a:pt x="690" y="840"/>
                  </a:lnTo>
                  <a:lnTo>
                    <a:pt x="708" y="858"/>
                  </a:lnTo>
                  <a:lnTo>
                    <a:pt x="720" y="894"/>
                  </a:lnTo>
                  <a:lnTo>
                    <a:pt x="714" y="906"/>
                  </a:lnTo>
                  <a:lnTo>
                    <a:pt x="714" y="918"/>
                  </a:lnTo>
                  <a:lnTo>
                    <a:pt x="738" y="948"/>
                  </a:lnTo>
                  <a:lnTo>
                    <a:pt x="774" y="972"/>
                  </a:lnTo>
                  <a:lnTo>
                    <a:pt x="780" y="984"/>
                  </a:lnTo>
                  <a:lnTo>
                    <a:pt x="792" y="996"/>
                  </a:lnTo>
                  <a:lnTo>
                    <a:pt x="792" y="1026"/>
                  </a:lnTo>
                  <a:lnTo>
                    <a:pt x="780" y="1044"/>
                  </a:lnTo>
                  <a:lnTo>
                    <a:pt x="774" y="1050"/>
                  </a:lnTo>
                  <a:lnTo>
                    <a:pt x="768" y="1062"/>
                  </a:lnTo>
                  <a:lnTo>
                    <a:pt x="768" y="1068"/>
                  </a:lnTo>
                  <a:lnTo>
                    <a:pt x="762" y="1074"/>
                  </a:lnTo>
                  <a:lnTo>
                    <a:pt x="762" y="1080"/>
                  </a:lnTo>
                  <a:lnTo>
                    <a:pt x="756" y="1080"/>
                  </a:lnTo>
                  <a:lnTo>
                    <a:pt x="744" y="1086"/>
                  </a:lnTo>
                  <a:lnTo>
                    <a:pt x="744" y="1092"/>
                  </a:lnTo>
                  <a:lnTo>
                    <a:pt x="738" y="1092"/>
                  </a:lnTo>
                  <a:lnTo>
                    <a:pt x="726" y="1098"/>
                  </a:lnTo>
                  <a:lnTo>
                    <a:pt x="720" y="1104"/>
                  </a:lnTo>
                  <a:lnTo>
                    <a:pt x="714" y="1104"/>
                  </a:lnTo>
                  <a:lnTo>
                    <a:pt x="702" y="1116"/>
                  </a:lnTo>
                  <a:lnTo>
                    <a:pt x="696" y="1122"/>
                  </a:lnTo>
                  <a:lnTo>
                    <a:pt x="696" y="1134"/>
                  </a:lnTo>
                  <a:lnTo>
                    <a:pt x="690" y="1134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72" y="1146"/>
                  </a:lnTo>
                  <a:lnTo>
                    <a:pt x="672" y="1152"/>
                  </a:lnTo>
                  <a:lnTo>
                    <a:pt x="660" y="1152"/>
                  </a:lnTo>
                  <a:lnTo>
                    <a:pt x="642" y="1152"/>
                  </a:lnTo>
                  <a:lnTo>
                    <a:pt x="636" y="1152"/>
                  </a:lnTo>
                  <a:lnTo>
                    <a:pt x="630" y="1158"/>
                  </a:lnTo>
                  <a:lnTo>
                    <a:pt x="624" y="1164"/>
                  </a:lnTo>
                  <a:lnTo>
                    <a:pt x="618" y="1170"/>
                  </a:lnTo>
                  <a:lnTo>
                    <a:pt x="612" y="1170"/>
                  </a:lnTo>
                  <a:lnTo>
                    <a:pt x="600" y="1170"/>
                  </a:lnTo>
                  <a:lnTo>
                    <a:pt x="594" y="1170"/>
                  </a:lnTo>
                  <a:lnTo>
                    <a:pt x="588" y="1170"/>
                  </a:lnTo>
                  <a:lnTo>
                    <a:pt x="582" y="1170"/>
                  </a:lnTo>
                  <a:lnTo>
                    <a:pt x="582" y="1164"/>
                  </a:lnTo>
                  <a:lnTo>
                    <a:pt x="576" y="1158"/>
                  </a:lnTo>
                  <a:lnTo>
                    <a:pt x="570" y="1158"/>
                  </a:lnTo>
                  <a:lnTo>
                    <a:pt x="570" y="1152"/>
                  </a:lnTo>
                  <a:lnTo>
                    <a:pt x="570" y="1146"/>
                  </a:lnTo>
                  <a:lnTo>
                    <a:pt x="570" y="1140"/>
                  </a:lnTo>
                  <a:lnTo>
                    <a:pt x="564" y="1140"/>
                  </a:lnTo>
                  <a:lnTo>
                    <a:pt x="564" y="1134"/>
                  </a:lnTo>
                  <a:lnTo>
                    <a:pt x="564" y="1128"/>
                  </a:lnTo>
                  <a:lnTo>
                    <a:pt x="576" y="1104"/>
                  </a:lnTo>
                  <a:lnTo>
                    <a:pt x="582" y="1086"/>
                  </a:lnTo>
                  <a:lnTo>
                    <a:pt x="570" y="1068"/>
                  </a:lnTo>
                  <a:lnTo>
                    <a:pt x="534" y="1056"/>
                  </a:lnTo>
                  <a:lnTo>
                    <a:pt x="516" y="1026"/>
                  </a:lnTo>
                  <a:lnTo>
                    <a:pt x="492" y="1020"/>
                  </a:lnTo>
                  <a:lnTo>
                    <a:pt x="492" y="1014"/>
                  </a:lnTo>
                  <a:lnTo>
                    <a:pt x="480" y="1008"/>
                  </a:lnTo>
                  <a:lnTo>
                    <a:pt x="474" y="996"/>
                  </a:lnTo>
                  <a:lnTo>
                    <a:pt x="444" y="984"/>
                  </a:lnTo>
                  <a:lnTo>
                    <a:pt x="426" y="978"/>
                  </a:lnTo>
                  <a:lnTo>
                    <a:pt x="420" y="972"/>
                  </a:lnTo>
                  <a:lnTo>
                    <a:pt x="408" y="984"/>
                  </a:lnTo>
                  <a:lnTo>
                    <a:pt x="402" y="984"/>
                  </a:lnTo>
                  <a:lnTo>
                    <a:pt x="396" y="984"/>
                  </a:lnTo>
                  <a:lnTo>
                    <a:pt x="390" y="984"/>
                  </a:lnTo>
                  <a:lnTo>
                    <a:pt x="384" y="990"/>
                  </a:lnTo>
                  <a:lnTo>
                    <a:pt x="378" y="990"/>
                  </a:lnTo>
                  <a:lnTo>
                    <a:pt x="372" y="990"/>
                  </a:lnTo>
                  <a:lnTo>
                    <a:pt x="372" y="996"/>
                  </a:lnTo>
                  <a:lnTo>
                    <a:pt x="366" y="996"/>
                  </a:lnTo>
                  <a:lnTo>
                    <a:pt x="360" y="1002"/>
                  </a:lnTo>
                  <a:lnTo>
                    <a:pt x="360" y="1008"/>
                  </a:lnTo>
                  <a:lnTo>
                    <a:pt x="354" y="1008"/>
                  </a:lnTo>
                  <a:lnTo>
                    <a:pt x="342" y="1014"/>
                  </a:lnTo>
                  <a:lnTo>
                    <a:pt x="336" y="1020"/>
                  </a:lnTo>
                  <a:lnTo>
                    <a:pt x="336" y="1014"/>
                  </a:lnTo>
                  <a:lnTo>
                    <a:pt x="330" y="1014"/>
                  </a:lnTo>
                  <a:lnTo>
                    <a:pt x="330" y="1008"/>
                  </a:lnTo>
                  <a:lnTo>
                    <a:pt x="330" y="1002"/>
                  </a:lnTo>
                  <a:lnTo>
                    <a:pt x="324" y="1002"/>
                  </a:lnTo>
                  <a:lnTo>
                    <a:pt x="324" y="996"/>
                  </a:lnTo>
                  <a:lnTo>
                    <a:pt x="324" y="990"/>
                  </a:lnTo>
                  <a:lnTo>
                    <a:pt x="318" y="990"/>
                  </a:lnTo>
                  <a:lnTo>
                    <a:pt x="306" y="996"/>
                  </a:lnTo>
                  <a:lnTo>
                    <a:pt x="300" y="996"/>
                  </a:lnTo>
                  <a:lnTo>
                    <a:pt x="294" y="996"/>
                  </a:lnTo>
                  <a:lnTo>
                    <a:pt x="288" y="1002"/>
                  </a:lnTo>
                  <a:lnTo>
                    <a:pt x="282" y="990"/>
                  </a:lnTo>
                  <a:lnTo>
                    <a:pt x="276" y="984"/>
                  </a:lnTo>
                  <a:lnTo>
                    <a:pt x="270" y="990"/>
                  </a:lnTo>
                  <a:lnTo>
                    <a:pt x="270" y="996"/>
                  </a:lnTo>
                  <a:lnTo>
                    <a:pt x="270" y="1002"/>
                  </a:lnTo>
                  <a:lnTo>
                    <a:pt x="264" y="1008"/>
                  </a:lnTo>
                  <a:lnTo>
                    <a:pt x="252" y="996"/>
                  </a:lnTo>
                  <a:lnTo>
                    <a:pt x="246" y="996"/>
                  </a:lnTo>
                  <a:lnTo>
                    <a:pt x="234" y="1002"/>
                  </a:lnTo>
                  <a:lnTo>
                    <a:pt x="222" y="1002"/>
                  </a:lnTo>
                  <a:lnTo>
                    <a:pt x="210" y="1002"/>
                  </a:lnTo>
                  <a:lnTo>
                    <a:pt x="198" y="996"/>
                  </a:lnTo>
                  <a:lnTo>
                    <a:pt x="198" y="1002"/>
                  </a:lnTo>
                  <a:lnTo>
                    <a:pt x="198" y="1008"/>
                  </a:lnTo>
                  <a:lnTo>
                    <a:pt x="192" y="1020"/>
                  </a:lnTo>
                  <a:lnTo>
                    <a:pt x="198" y="1020"/>
                  </a:lnTo>
                  <a:lnTo>
                    <a:pt x="204" y="1020"/>
                  </a:lnTo>
                  <a:lnTo>
                    <a:pt x="210" y="1026"/>
                  </a:lnTo>
                  <a:lnTo>
                    <a:pt x="216" y="1026"/>
                  </a:lnTo>
                  <a:lnTo>
                    <a:pt x="216" y="1032"/>
                  </a:lnTo>
                  <a:lnTo>
                    <a:pt x="210" y="1032"/>
                  </a:lnTo>
                  <a:lnTo>
                    <a:pt x="210" y="1038"/>
                  </a:lnTo>
                  <a:lnTo>
                    <a:pt x="204" y="1038"/>
                  </a:lnTo>
                  <a:lnTo>
                    <a:pt x="204" y="1044"/>
                  </a:lnTo>
                  <a:lnTo>
                    <a:pt x="198" y="1044"/>
                  </a:lnTo>
                  <a:lnTo>
                    <a:pt x="192" y="1044"/>
                  </a:lnTo>
                  <a:lnTo>
                    <a:pt x="186" y="1050"/>
                  </a:lnTo>
                  <a:lnTo>
                    <a:pt x="186" y="1056"/>
                  </a:lnTo>
                  <a:lnTo>
                    <a:pt x="180" y="1056"/>
                  </a:lnTo>
                  <a:lnTo>
                    <a:pt x="180" y="1062"/>
                  </a:lnTo>
                  <a:lnTo>
                    <a:pt x="174" y="1062"/>
                  </a:lnTo>
                  <a:lnTo>
                    <a:pt x="168" y="1062"/>
                  </a:lnTo>
                  <a:lnTo>
                    <a:pt x="162" y="1062"/>
                  </a:lnTo>
                  <a:lnTo>
                    <a:pt x="156" y="1050"/>
                  </a:lnTo>
                  <a:lnTo>
                    <a:pt x="150" y="1044"/>
                  </a:lnTo>
                  <a:lnTo>
                    <a:pt x="150" y="1038"/>
                  </a:lnTo>
                  <a:lnTo>
                    <a:pt x="144" y="1032"/>
                  </a:lnTo>
                  <a:lnTo>
                    <a:pt x="144" y="1026"/>
                  </a:lnTo>
                  <a:lnTo>
                    <a:pt x="144" y="1014"/>
                  </a:lnTo>
                  <a:lnTo>
                    <a:pt x="150" y="1008"/>
                  </a:lnTo>
                  <a:lnTo>
                    <a:pt x="150" y="1002"/>
                  </a:lnTo>
                  <a:lnTo>
                    <a:pt x="156" y="984"/>
                  </a:lnTo>
                  <a:lnTo>
                    <a:pt x="162" y="978"/>
                  </a:lnTo>
                  <a:lnTo>
                    <a:pt x="162" y="972"/>
                  </a:lnTo>
                  <a:lnTo>
                    <a:pt x="150" y="966"/>
                  </a:lnTo>
                  <a:lnTo>
                    <a:pt x="144" y="966"/>
                  </a:lnTo>
                  <a:lnTo>
                    <a:pt x="138" y="966"/>
                  </a:lnTo>
                  <a:lnTo>
                    <a:pt x="138" y="954"/>
                  </a:lnTo>
                  <a:lnTo>
                    <a:pt x="132" y="954"/>
                  </a:lnTo>
                  <a:lnTo>
                    <a:pt x="138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8" y="924"/>
                  </a:lnTo>
                  <a:lnTo>
                    <a:pt x="132" y="930"/>
                  </a:lnTo>
                  <a:lnTo>
                    <a:pt x="132" y="924"/>
                  </a:lnTo>
                  <a:lnTo>
                    <a:pt x="126" y="918"/>
                  </a:lnTo>
                  <a:lnTo>
                    <a:pt x="132" y="918"/>
                  </a:lnTo>
                  <a:lnTo>
                    <a:pt x="132" y="912"/>
                  </a:lnTo>
                  <a:lnTo>
                    <a:pt x="126" y="912"/>
                  </a:lnTo>
                  <a:lnTo>
                    <a:pt x="120" y="912"/>
                  </a:lnTo>
                  <a:lnTo>
                    <a:pt x="120" y="918"/>
                  </a:lnTo>
                  <a:lnTo>
                    <a:pt x="114" y="918"/>
                  </a:lnTo>
                  <a:lnTo>
                    <a:pt x="114" y="912"/>
                  </a:lnTo>
                  <a:lnTo>
                    <a:pt x="108" y="912"/>
                  </a:lnTo>
                  <a:lnTo>
                    <a:pt x="102" y="912"/>
                  </a:lnTo>
                  <a:lnTo>
                    <a:pt x="108" y="906"/>
                  </a:lnTo>
                  <a:lnTo>
                    <a:pt x="102" y="906"/>
                  </a:lnTo>
                  <a:lnTo>
                    <a:pt x="96" y="906"/>
                  </a:lnTo>
                  <a:lnTo>
                    <a:pt x="96" y="912"/>
                  </a:lnTo>
                  <a:lnTo>
                    <a:pt x="90" y="918"/>
                  </a:lnTo>
                  <a:lnTo>
                    <a:pt x="90" y="912"/>
                  </a:lnTo>
                  <a:lnTo>
                    <a:pt x="84" y="912"/>
                  </a:lnTo>
                  <a:lnTo>
                    <a:pt x="84" y="918"/>
                  </a:lnTo>
                  <a:lnTo>
                    <a:pt x="78" y="918"/>
                  </a:lnTo>
                  <a:lnTo>
                    <a:pt x="78" y="912"/>
                  </a:lnTo>
                  <a:lnTo>
                    <a:pt x="78" y="906"/>
                  </a:lnTo>
                  <a:lnTo>
                    <a:pt x="72" y="900"/>
                  </a:lnTo>
                  <a:lnTo>
                    <a:pt x="78" y="900"/>
                  </a:lnTo>
                  <a:lnTo>
                    <a:pt x="72" y="900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8" y="888"/>
                  </a:lnTo>
                  <a:lnTo>
                    <a:pt x="72" y="888"/>
                  </a:lnTo>
                  <a:lnTo>
                    <a:pt x="72" y="882"/>
                  </a:lnTo>
                  <a:lnTo>
                    <a:pt x="66" y="876"/>
                  </a:lnTo>
                  <a:lnTo>
                    <a:pt x="60" y="882"/>
                  </a:lnTo>
                  <a:lnTo>
                    <a:pt x="54" y="876"/>
                  </a:lnTo>
                  <a:lnTo>
                    <a:pt x="54" y="882"/>
                  </a:lnTo>
                  <a:lnTo>
                    <a:pt x="48" y="882"/>
                  </a:lnTo>
                  <a:lnTo>
                    <a:pt x="42" y="870"/>
                  </a:lnTo>
                  <a:lnTo>
                    <a:pt x="42" y="864"/>
                  </a:lnTo>
                  <a:lnTo>
                    <a:pt x="36" y="858"/>
                  </a:lnTo>
                  <a:lnTo>
                    <a:pt x="36" y="852"/>
                  </a:lnTo>
                  <a:lnTo>
                    <a:pt x="30" y="852"/>
                  </a:lnTo>
                  <a:lnTo>
                    <a:pt x="30" y="846"/>
                  </a:lnTo>
                  <a:lnTo>
                    <a:pt x="24" y="846"/>
                  </a:lnTo>
                  <a:lnTo>
                    <a:pt x="18" y="840"/>
                  </a:lnTo>
                  <a:lnTo>
                    <a:pt x="12" y="834"/>
                  </a:lnTo>
                  <a:lnTo>
                    <a:pt x="0" y="828"/>
                  </a:lnTo>
                  <a:lnTo>
                    <a:pt x="0" y="822"/>
                  </a:lnTo>
                  <a:lnTo>
                    <a:pt x="0" y="816"/>
                  </a:lnTo>
                  <a:lnTo>
                    <a:pt x="0" y="810"/>
                  </a:lnTo>
                  <a:lnTo>
                    <a:pt x="6" y="804"/>
                  </a:lnTo>
                  <a:lnTo>
                    <a:pt x="12" y="804"/>
                  </a:lnTo>
                  <a:lnTo>
                    <a:pt x="12" y="798"/>
                  </a:lnTo>
                  <a:lnTo>
                    <a:pt x="12" y="792"/>
                  </a:lnTo>
                  <a:lnTo>
                    <a:pt x="6" y="792"/>
                  </a:lnTo>
                  <a:lnTo>
                    <a:pt x="6" y="786"/>
                  </a:lnTo>
                  <a:lnTo>
                    <a:pt x="6" y="780"/>
                  </a:lnTo>
                  <a:lnTo>
                    <a:pt x="18" y="780"/>
                  </a:lnTo>
                  <a:lnTo>
                    <a:pt x="18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0" y="774"/>
                  </a:lnTo>
                  <a:lnTo>
                    <a:pt x="36" y="768"/>
                  </a:lnTo>
                  <a:lnTo>
                    <a:pt x="42" y="768"/>
                  </a:lnTo>
                  <a:lnTo>
                    <a:pt x="60" y="750"/>
                  </a:lnTo>
                  <a:lnTo>
                    <a:pt x="60" y="744"/>
                  </a:lnTo>
                  <a:lnTo>
                    <a:pt x="54" y="738"/>
                  </a:lnTo>
                  <a:lnTo>
                    <a:pt x="60" y="732"/>
                  </a:lnTo>
                  <a:lnTo>
                    <a:pt x="54" y="732"/>
                  </a:lnTo>
                  <a:lnTo>
                    <a:pt x="60" y="726"/>
                  </a:lnTo>
                  <a:lnTo>
                    <a:pt x="66" y="720"/>
                  </a:lnTo>
                  <a:lnTo>
                    <a:pt x="72" y="714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84" y="696"/>
                  </a:lnTo>
                  <a:lnTo>
                    <a:pt x="90" y="684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66"/>
                  </a:lnTo>
                  <a:lnTo>
                    <a:pt x="90" y="660"/>
                  </a:lnTo>
                  <a:lnTo>
                    <a:pt x="84" y="654"/>
                  </a:lnTo>
                  <a:lnTo>
                    <a:pt x="84" y="648"/>
                  </a:lnTo>
                  <a:lnTo>
                    <a:pt x="78" y="636"/>
                  </a:lnTo>
                  <a:lnTo>
                    <a:pt x="66" y="630"/>
                  </a:lnTo>
                  <a:lnTo>
                    <a:pt x="66" y="624"/>
                  </a:lnTo>
                  <a:lnTo>
                    <a:pt x="60" y="624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60" y="600"/>
                  </a:lnTo>
                  <a:lnTo>
                    <a:pt x="66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6" y="588"/>
                  </a:lnTo>
                  <a:lnTo>
                    <a:pt x="66" y="582"/>
                  </a:lnTo>
                  <a:lnTo>
                    <a:pt x="72" y="582"/>
                  </a:lnTo>
                  <a:lnTo>
                    <a:pt x="78" y="576"/>
                  </a:lnTo>
                  <a:lnTo>
                    <a:pt x="72" y="576"/>
                  </a:lnTo>
                  <a:lnTo>
                    <a:pt x="66" y="570"/>
                  </a:lnTo>
                  <a:lnTo>
                    <a:pt x="72" y="564"/>
                  </a:lnTo>
                  <a:lnTo>
                    <a:pt x="78" y="558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90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102" y="516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0" y="504"/>
                  </a:lnTo>
                  <a:lnTo>
                    <a:pt x="120" y="498"/>
                  </a:lnTo>
                  <a:lnTo>
                    <a:pt x="120" y="492"/>
                  </a:lnTo>
                  <a:lnTo>
                    <a:pt x="126" y="480"/>
                  </a:lnTo>
                  <a:lnTo>
                    <a:pt x="132" y="474"/>
                  </a:lnTo>
                  <a:lnTo>
                    <a:pt x="132" y="468"/>
                  </a:lnTo>
                  <a:lnTo>
                    <a:pt x="138" y="462"/>
                  </a:lnTo>
                  <a:lnTo>
                    <a:pt x="138" y="456"/>
                  </a:lnTo>
                  <a:lnTo>
                    <a:pt x="138" y="450"/>
                  </a:lnTo>
                  <a:lnTo>
                    <a:pt x="144" y="444"/>
                  </a:lnTo>
                  <a:lnTo>
                    <a:pt x="162" y="438"/>
                  </a:lnTo>
                  <a:lnTo>
                    <a:pt x="186" y="438"/>
                  </a:lnTo>
                  <a:lnTo>
                    <a:pt x="210" y="444"/>
                  </a:lnTo>
                  <a:lnTo>
                    <a:pt x="276" y="450"/>
                  </a:lnTo>
                  <a:lnTo>
                    <a:pt x="342" y="450"/>
                  </a:lnTo>
                  <a:lnTo>
                    <a:pt x="348" y="450"/>
                  </a:lnTo>
                  <a:lnTo>
                    <a:pt x="354" y="450"/>
                  </a:lnTo>
                  <a:lnTo>
                    <a:pt x="360" y="456"/>
                  </a:lnTo>
                  <a:lnTo>
                    <a:pt x="354" y="462"/>
                  </a:lnTo>
                  <a:lnTo>
                    <a:pt x="354" y="468"/>
                  </a:lnTo>
                  <a:lnTo>
                    <a:pt x="354" y="474"/>
                  </a:lnTo>
                  <a:lnTo>
                    <a:pt x="348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48" y="498"/>
                  </a:lnTo>
                  <a:lnTo>
                    <a:pt x="342" y="510"/>
                  </a:lnTo>
                  <a:lnTo>
                    <a:pt x="348" y="528"/>
                  </a:lnTo>
                  <a:lnTo>
                    <a:pt x="348" y="534"/>
                  </a:lnTo>
                  <a:lnTo>
                    <a:pt x="354" y="552"/>
                  </a:lnTo>
                  <a:lnTo>
                    <a:pt x="366" y="546"/>
                  </a:lnTo>
                  <a:lnTo>
                    <a:pt x="372" y="540"/>
                  </a:lnTo>
                  <a:lnTo>
                    <a:pt x="384" y="540"/>
                  </a:lnTo>
                  <a:lnTo>
                    <a:pt x="396" y="534"/>
                  </a:lnTo>
                  <a:lnTo>
                    <a:pt x="402" y="534"/>
                  </a:lnTo>
                  <a:lnTo>
                    <a:pt x="414" y="546"/>
                  </a:lnTo>
                  <a:lnTo>
                    <a:pt x="432" y="540"/>
                  </a:lnTo>
                  <a:lnTo>
                    <a:pt x="450" y="534"/>
                  </a:lnTo>
                  <a:lnTo>
                    <a:pt x="450" y="528"/>
                  </a:lnTo>
                  <a:lnTo>
                    <a:pt x="456" y="528"/>
                  </a:lnTo>
                  <a:lnTo>
                    <a:pt x="456" y="522"/>
                  </a:lnTo>
                  <a:lnTo>
                    <a:pt x="456" y="516"/>
                  </a:lnTo>
                  <a:lnTo>
                    <a:pt x="462" y="516"/>
                  </a:lnTo>
                  <a:lnTo>
                    <a:pt x="468" y="510"/>
                  </a:lnTo>
                  <a:lnTo>
                    <a:pt x="468" y="504"/>
                  </a:lnTo>
                  <a:lnTo>
                    <a:pt x="474" y="504"/>
                  </a:lnTo>
                  <a:lnTo>
                    <a:pt x="480" y="504"/>
                  </a:lnTo>
                  <a:lnTo>
                    <a:pt x="486" y="498"/>
                  </a:lnTo>
                  <a:lnTo>
                    <a:pt x="492" y="498"/>
                  </a:lnTo>
                  <a:lnTo>
                    <a:pt x="486" y="480"/>
                  </a:lnTo>
                  <a:lnTo>
                    <a:pt x="492" y="462"/>
                  </a:lnTo>
                  <a:lnTo>
                    <a:pt x="498" y="444"/>
                  </a:lnTo>
                  <a:lnTo>
                    <a:pt x="498" y="426"/>
                  </a:lnTo>
                  <a:lnTo>
                    <a:pt x="498" y="420"/>
                  </a:lnTo>
                  <a:lnTo>
                    <a:pt x="504" y="426"/>
                  </a:lnTo>
                  <a:lnTo>
                    <a:pt x="504" y="420"/>
                  </a:lnTo>
                  <a:lnTo>
                    <a:pt x="510" y="420"/>
                  </a:lnTo>
                  <a:lnTo>
                    <a:pt x="510" y="414"/>
                  </a:lnTo>
                  <a:lnTo>
                    <a:pt x="510" y="408"/>
                  </a:lnTo>
                  <a:lnTo>
                    <a:pt x="504" y="402"/>
                  </a:lnTo>
                  <a:lnTo>
                    <a:pt x="504" y="396"/>
                  </a:lnTo>
                  <a:lnTo>
                    <a:pt x="504" y="384"/>
                  </a:lnTo>
                  <a:lnTo>
                    <a:pt x="504" y="378"/>
                  </a:lnTo>
                  <a:lnTo>
                    <a:pt x="504" y="360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510" y="348"/>
                  </a:lnTo>
                  <a:lnTo>
                    <a:pt x="510" y="336"/>
                  </a:lnTo>
                  <a:lnTo>
                    <a:pt x="516" y="330"/>
                  </a:lnTo>
                  <a:lnTo>
                    <a:pt x="522" y="324"/>
                  </a:lnTo>
                  <a:lnTo>
                    <a:pt x="528" y="318"/>
                  </a:lnTo>
                  <a:lnTo>
                    <a:pt x="534" y="312"/>
                  </a:lnTo>
                  <a:lnTo>
                    <a:pt x="534" y="300"/>
                  </a:lnTo>
                  <a:lnTo>
                    <a:pt x="540" y="294"/>
                  </a:lnTo>
                  <a:lnTo>
                    <a:pt x="546" y="288"/>
                  </a:lnTo>
                  <a:lnTo>
                    <a:pt x="552" y="276"/>
                  </a:lnTo>
                  <a:lnTo>
                    <a:pt x="558" y="264"/>
                  </a:lnTo>
                  <a:lnTo>
                    <a:pt x="558" y="258"/>
                  </a:lnTo>
                  <a:lnTo>
                    <a:pt x="558" y="252"/>
                  </a:lnTo>
                  <a:lnTo>
                    <a:pt x="558" y="246"/>
                  </a:lnTo>
                  <a:lnTo>
                    <a:pt x="564" y="246"/>
                  </a:lnTo>
                  <a:lnTo>
                    <a:pt x="564" y="240"/>
                  </a:lnTo>
                  <a:lnTo>
                    <a:pt x="570" y="234"/>
                  </a:lnTo>
                  <a:lnTo>
                    <a:pt x="564" y="216"/>
                  </a:lnTo>
                  <a:lnTo>
                    <a:pt x="564" y="210"/>
                  </a:lnTo>
                  <a:lnTo>
                    <a:pt x="570" y="210"/>
                  </a:lnTo>
                  <a:lnTo>
                    <a:pt x="570" y="204"/>
                  </a:lnTo>
                  <a:lnTo>
                    <a:pt x="570" y="198"/>
                  </a:lnTo>
                  <a:lnTo>
                    <a:pt x="582" y="180"/>
                  </a:lnTo>
                  <a:lnTo>
                    <a:pt x="582" y="174"/>
                  </a:lnTo>
                  <a:lnTo>
                    <a:pt x="582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606" y="150"/>
                  </a:lnTo>
                  <a:lnTo>
                    <a:pt x="612" y="150"/>
                  </a:lnTo>
                  <a:lnTo>
                    <a:pt x="618" y="150"/>
                  </a:lnTo>
                  <a:lnTo>
                    <a:pt x="624" y="138"/>
                  </a:lnTo>
                  <a:lnTo>
                    <a:pt x="618" y="132"/>
                  </a:lnTo>
                  <a:lnTo>
                    <a:pt x="618" y="126"/>
                  </a:lnTo>
                  <a:lnTo>
                    <a:pt x="618" y="120"/>
                  </a:lnTo>
                  <a:lnTo>
                    <a:pt x="618" y="114"/>
                  </a:lnTo>
                  <a:lnTo>
                    <a:pt x="612" y="108"/>
                  </a:lnTo>
                  <a:lnTo>
                    <a:pt x="612" y="102"/>
                  </a:lnTo>
                  <a:lnTo>
                    <a:pt x="618" y="90"/>
                  </a:lnTo>
                  <a:lnTo>
                    <a:pt x="624" y="84"/>
                  </a:lnTo>
                  <a:lnTo>
                    <a:pt x="618" y="84"/>
                  </a:lnTo>
                  <a:lnTo>
                    <a:pt x="618" y="78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0" y="72"/>
                  </a:lnTo>
                  <a:lnTo>
                    <a:pt x="600" y="66"/>
                  </a:lnTo>
                  <a:lnTo>
                    <a:pt x="600" y="60"/>
                  </a:lnTo>
                  <a:lnTo>
                    <a:pt x="600" y="48"/>
                  </a:lnTo>
                  <a:lnTo>
                    <a:pt x="612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36"/>
                  </a:lnTo>
                  <a:lnTo>
                    <a:pt x="630" y="30"/>
                  </a:lnTo>
                  <a:lnTo>
                    <a:pt x="636" y="24"/>
                  </a:lnTo>
                  <a:lnTo>
                    <a:pt x="642" y="24"/>
                  </a:lnTo>
                  <a:lnTo>
                    <a:pt x="648" y="24"/>
                  </a:lnTo>
                  <a:lnTo>
                    <a:pt x="648" y="18"/>
                  </a:lnTo>
                  <a:lnTo>
                    <a:pt x="654" y="12"/>
                  </a:lnTo>
                  <a:lnTo>
                    <a:pt x="660" y="0"/>
                  </a:lnTo>
                  <a:lnTo>
                    <a:pt x="678" y="0"/>
                  </a:lnTo>
                  <a:lnTo>
                    <a:pt x="696" y="0"/>
                  </a:lnTo>
                  <a:lnTo>
                    <a:pt x="702" y="0"/>
                  </a:lnTo>
                  <a:lnTo>
                    <a:pt x="714" y="0"/>
                  </a:lnTo>
                  <a:lnTo>
                    <a:pt x="720" y="6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44" y="24"/>
                  </a:lnTo>
                  <a:lnTo>
                    <a:pt x="744" y="30"/>
                  </a:lnTo>
                  <a:lnTo>
                    <a:pt x="732" y="42"/>
                  </a:lnTo>
                  <a:lnTo>
                    <a:pt x="726" y="42"/>
                  </a:lnTo>
                  <a:lnTo>
                    <a:pt x="720" y="42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54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90"/>
                  </a:lnTo>
                  <a:lnTo>
                    <a:pt x="726" y="84"/>
                  </a:lnTo>
                  <a:lnTo>
                    <a:pt x="738" y="84"/>
                  </a:lnTo>
                  <a:lnTo>
                    <a:pt x="750" y="96"/>
                  </a:lnTo>
                  <a:lnTo>
                    <a:pt x="768" y="96"/>
                  </a:lnTo>
                  <a:lnTo>
                    <a:pt x="768" y="90"/>
                  </a:lnTo>
                  <a:lnTo>
                    <a:pt x="774" y="84"/>
                  </a:lnTo>
                  <a:lnTo>
                    <a:pt x="780" y="78"/>
                  </a:lnTo>
                  <a:lnTo>
                    <a:pt x="786" y="78"/>
                  </a:lnTo>
                  <a:lnTo>
                    <a:pt x="792" y="72"/>
                  </a:lnTo>
                  <a:lnTo>
                    <a:pt x="804" y="72"/>
                  </a:lnTo>
                  <a:lnTo>
                    <a:pt x="804" y="66"/>
                  </a:lnTo>
                  <a:lnTo>
                    <a:pt x="810" y="66"/>
                  </a:lnTo>
                  <a:lnTo>
                    <a:pt x="810" y="72"/>
                  </a:lnTo>
                  <a:lnTo>
                    <a:pt x="816" y="66"/>
                  </a:lnTo>
                  <a:lnTo>
                    <a:pt x="828" y="66"/>
                  </a:lnTo>
                  <a:lnTo>
                    <a:pt x="834" y="72"/>
                  </a:lnTo>
                  <a:lnTo>
                    <a:pt x="840" y="72"/>
                  </a:lnTo>
                  <a:lnTo>
                    <a:pt x="840" y="78"/>
                  </a:lnTo>
                  <a:lnTo>
                    <a:pt x="840" y="84"/>
                  </a:lnTo>
                  <a:lnTo>
                    <a:pt x="852" y="84"/>
                  </a:lnTo>
                  <a:lnTo>
                    <a:pt x="858" y="96"/>
                  </a:lnTo>
                  <a:lnTo>
                    <a:pt x="864" y="108"/>
                  </a:lnTo>
                  <a:lnTo>
                    <a:pt x="876" y="114"/>
                  </a:lnTo>
                  <a:lnTo>
                    <a:pt x="894" y="114"/>
                  </a:lnTo>
                  <a:lnTo>
                    <a:pt x="906" y="114"/>
                  </a:lnTo>
                  <a:lnTo>
                    <a:pt x="906" y="126"/>
                  </a:lnTo>
                  <a:lnTo>
                    <a:pt x="912" y="144"/>
                  </a:lnTo>
                  <a:lnTo>
                    <a:pt x="930" y="138"/>
                  </a:lnTo>
                  <a:lnTo>
                    <a:pt x="936" y="138"/>
                  </a:lnTo>
                  <a:lnTo>
                    <a:pt x="942" y="144"/>
                  </a:lnTo>
                  <a:lnTo>
                    <a:pt x="948" y="150"/>
                  </a:lnTo>
                  <a:lnTo>
                    <a:pt x="954" y="156"/>
                  </a:lnTo>
                  <a:lnTo>
                    <a:pt x="954" y="168"/>
                  </a:lnTo>
                  <a:lnTo>
                    <a:pt x="954" y="174"/>
                  </a:lnTo>
                  <a:lnTo>
                    <a:pt x="960" y="180"/>
                  </a:lnTo>
                  <a:lnTo>
                    <a:pt x="966" y="186"/>
                  </a:lnTo>
                  <a:lnTo>
                    <a:pt x="960" y="186"/>
                  </a:lnTo>
                  <a:lnTo>
                    <a:pt x="966" y="192"/>
                  </a:lnTo>
                  <a:lnTo>
                    <a:pt x="966" y="198"/>
                  </a:lnTo>
                  <a:lnTo>
                    <a:pt x="978" y="204"/>
                  </a:lnTo>
                  <a:lnTo>
                    <a:pt x="1050" y="186"/>
                  </a:lnTo>
                  <a:lnTo>
                    <a:pt x="1056" y="198"/>
                  </a:lnTo>
                  <a:lnTo>
                    <a:pt x="1068" y="210"/>
                  </a:lnTo>
                  <a:lnTo>
                    <a:pt x="1074" y="216"/>
                  </a:lnTo>
                  <a:lnTo>
                    <a:pt x="1080" y="252"/>
                  </a:lnTo>
                  <a:lnTo>
                    <a:pt x="1086" y="270"/>
                  </a:lnTo>
                  <a:lnTo>
                    <a:pt x="1092" y="282"/>
                  </a:lnTo>
                  <a:lnTo>
                    <a:pt x="1086" y="300"/>
                  </a:lnTo>
                  <a:lnTo>
                    <a:pt x="1074" y="330"/>
                  </a:lnTo>
                  <a:lnTo>
                    <a:pt x="1068" y="336"/>
                  </a:lnTo>
                  <a:lnTo>
                    <a:pt x="1062" y="348"/>
                  </a:lnTo>
                  <a:lnTo>
                    <a:pt x="1062" y="360"/>
                  </a:lnTo>
                  <a:lnTo>
                    <a:pt x="1068" y="378"/>
                  </a:lnTo>
                  <a:lnTo>
                    <a:pt x="1074" y="390"/>
                  </a:lnTo>
                  <a:lnTo>
                    <a:pt x="1068" y="396"/>
                  </a:lnTo>
                  <a:lnTo>
                    <a:pt x="1068" y="408"/>
                  </a:lnTo>
                  <a:lnTo>
                    <a:pt x="1062" y="414"/>
                  </a:lnTo>
                  <a:lnTo>
                    <a:pt x="1050" y="432"/>
                  </a:lnTo>
                  <a:lnTo>
                    <a:pt x="1044" y="450"/>
                  </a:lnTo>
                  <a:lnTo>
                    <a:pt x="1038" y="456"/>
                  </a:lnTo>
                  <a:lnTo>
                    <a:pt x="1026" y="468"/>
                  </a:lnTo>
                  <a:lnTo>
                    <a:pt x="1026" y="474"/>
                  </a:lnTo>
                  <a:lnTo>
                    <a:pt x="1026" y="480"/>
                  </a:lnTo>
                  <a:lnTo>
                    <a:pt x="1032" y="492"/>
                  </a:lnTo>
                  <a:lnTo>
                    <a:pt x="1044" y="504"/>
                  </a:lnTo>
                  <a:lnTo>
                    <a:pt x="1044" y="516"/>
                  </a:lnTo>
                  <a:lnTo>
                    <a:pt x="1038" y="528"/>
                  </a:lnTo>
                  <a:lnTo>
                    <a:pt x="1032" y="546"/>
                  </a:lnTo>
                  <a:lnTo>
                    <a:pt x="1032" y="570"/>
                  </a:lnTo>
                  <a:lnTo>
                    <a:pt x="1050" y="594"/>
                  </a:lnTo>
                  <a:lnTo>
                    <a:pt x="1056" y="624"/>
                  </a:lnTo>
                  <a:lnTo>
                    <a:pt x="1056" y="65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9" name="Freeform 24">
              <a:extLst>
                <a:ext uri="{FF2B5EF4-FFF2-40B4-BE49-F238E27FC236}">
                  <a16:creationId xmlns:a16="http://schemas.microsoft.com/office/drawing/2014/main" id="{CAE689DA-332A-4F73-BDE6-8865C9170AA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84829" y="3213406"/>
              <a:ext cx="851989" cy="744754"/>
            </a:xfrm>
            <a:custGeom>
              <a:avLst/>
              <a:gdLst>
                <a:gd name="T0" fmla="*/ 116 w 1602"/>
                <a:gd name="T1" fmla="*/ 91 h 1404"/>
                <a:gd name="T2" fmla="*/ 111 w 1602"/>
                <a:gd name="T3" fmla="*/ 95 h 1404"/>
                <a:gd name="T4" fmla="*/ 102 w 1602"/>
                <a:gd name="T5" fmla="*/ 101 h 1404"/>
                <a:gd name="T6" fmla="*/ 99 w 1602"/>
                <a:gd name="T7" fmla="*/ 103 h 1404"/>
                <a:gd name="T8" fmla="*/ 96 w 1602"/>
                <a:gd name="T9" fmla="*/ 106 h 1404"/>
                <a:gd name="T10" fmla="*/ 93 w 1602"/>
                <a:gd name="T11" fmla="*/ 108 h 1404"/>
                <a:gd name="T12" fmla="*/ 88 w 1602"/>
                <a:gd name="T13" fmla="*/ 106 h 1404"/>
                <a:gd name="T14" fmla="*/ 86 w 1602"/>
                <a:gd name="T15" fmla="*/ 108 h 1404"/>
                <a:gd name="T16" fmla="*/ 81 w 1602"/>
                <a:gd name="T17" fmla="*/ 119 h 1404"/>
                <a:gd name="T18" fmla="*/ 71 w 1602"/>
                <a:gd name="T19" fmla="*/ 109 h 1404"/>
                <a:gd name="T20" fmla="*/ 72 w 1602"/>
                <a:gd name="T21" fmla="*/ 101 h 1404"/>
                <a:gd name="T22" fmla="*/ 74 w 1602"/>
                <a:gd name="T23" fmla="*/ 93 h 1404"/>
                <a:gd name="T24" fmla="*/ 73 w 1602"/>
                <a:gd name="T25" fmla="*/ 82 h 1404"/>
                <a:gd name="T26" fmla="*/ 64 w 1602"/>
                <a:gd name="T27" fmla="*/ 79 h 1404"/>
                <a:gd name="T28" fmla="*/ 59 w 1602"/>
                <a:gd name="T29" fmla="*/ 75 h 1404"/>
                <a:gd name="T30" fmla="*/ 54 w 1602"/>
                <a:gd name="T31" fmla="*/ 71 h 1404"/>
                <a:gd name="T32" fmla="*/ 51 w 1602"/>
                <a:gd name="T33" fmla="*/ 70 h 1404"/>
                <a:gd name="T34" fmla="*/ 45 w 1602"/>
                <a:gd name="T35" fmla="*/ 71 h 1404"/>
                <a:gd name="T36" fmla="*/ 43 w 1602"/>
                <a:gd name="T37" fmla="*/ 68 h 1404"/>
                <a:gd name="T38" fmla="*/ 43 w 1602"/>
                <a:gd name="T39" fmla="*/ 64 h 1404"/>
                <a:gd name="T40" fmla="*/ 36 w 1602"/>
                <a:gd name="T41" fmla="*/ 66 h 1404"/>
                <a:gd name="T42" fmla="*/ 31 w 1602"/>
                <a:gd name="T43" fmla="*/ 55 h 1404"/>
                <a:gd name="T44" fmla="*/ 25 w 1602"/>
                <a:gd name="T45" fmla="*/ 53 h 1404"/>
                <a:gd name="T46" fmla="*/ 19 w 1602"/>
                <a:gd name="T47" fmla="*/ 51 h 1404"/>
                <a:gd name="T48" fmla="*/ 17 w 1602"/>
                <a:gd name="T49" fmla="*/ 43 h 1404"/>
                <a:gd name="T50" fmla="*/ 17 w 1602"/>
                <a:gd name="T51" fmla="*/ 39 h 1404"/>
                <a:gd name="T52" fmla="*/ 12 w 1602"/>
                <a:gd name="T53" fmla="*/ 39 h 1404"/>
                <a:gd name="T54" fmla="*/ 10 w 1602"/>
                <a:gd name="T55" fmla="*/ 35 h 1404"/>
                <a:gd name="T56" fmla="*/ 5 w 1602"/>
                <a:gd name="T57" fmla="*/ 30 h 1404"/>
                <a:gd name="T58" fmla="*/ 3 w 1602"/>
                <a:gd name="T59" fmla="*/ 27 h 1404"/>
                <a:gd name="T60" fmla="*/ 2 w 1602"/>
                <a:gd name="T61" fmla="*/ 25 h 1404"/>
                <a:gd name="T62" fmla="*/ 0 w 1602"/>
                <a:gd name="T63" fmla="*/ 22 h 1404"/>
                <a:gd name="T64" fmla="*/ 8 w 1602"/>
                <a:gd name="T65" fmla="*/ 14 h 1404"/>
                <a:gd name="T66" fmla="*/ 16 w 1602"/>
                <a:gd name="T67" fmla="*/ 16 h 1404"/>
                <a:gd name="T68" fmla="*/ 31 w 1602"/>
                <a:gd name="T69" fmla="*/ 18 h 1404"/>
                <a:gd name="T70" fmla="*/ 43 w 1602"/>
                <a:gd name="T71" fmla="*/ 17 h 1404"/>
                <a:gd name="T72" fmla="*/ 47 w 1602"/>
                <a:gd name="T73" fmla="*/ 6 h 1404"/>
                <a:gd name="T74" fmla="*/ 52 w 1602"/>
                <a:gd name="T75" fmla="*/ 0 h 1404"/>
                <a:gd name="T76" fmla="*/ 55 w 1602"/>
                <a:gd name="T77" fmla="*/ 3 h 1404"/>
                <a:gd name="T78" fmla="*/ 59 w 1602"/>
                <a:gd name="T79" fmla="*/ 9 h 1404"/>
                <a:gd name="T80" fmla="*/ 62 w 1602"/>
                <a:gd name="T81" fmla="*/ 16 h 1404"/>
                <a:gd name="T82" fmla="*/ 66 w 1602"/>
                <a:gd name="T83" fmla="*/ 20 h 1404"/>
                <a:gd name="T84" fmla="*/ 70 w 1602"/>
                <a:gd name="T85" fmla="*/ 25 h 1404"/>
                <a:gd name="T86" fmla="*/ 74 w 1602"/>
                <a:gd name="T87" fmla="*/ 30 h 1404"/>
                <a:gd name="T88" fmla="*/ 76 w 1602"/>
                <a:gd name="T89" fmla="*/ 27 h 1404"/>
                <a:gd name="T90" fmla="*/ 78 w 1602"/>
                <a:gd name="T91" fmla="*/ 27 h 1404"/>
                <a:gd name="T92" fmla="*/ 78 w 1602"/>
                <a:gd name="T93" fmla="*/ 23 h 1404"/>
                <a:gd name="T94" fmla="*/ 82 w 1602"/>
                <a:gd name="T95" fmla="*/ 20 h 1404"/>
                <a:gd name="T96" fmla="*/ 82 w 1602"/>
                <a:gd name="T97" fmla="*/ 18 h 1404"/>
                <a:gd name="T98" fmla="*/ 90 w 1602"/>
                <a:gd name="T99" fmla="*/ 24 h 1404"/>
                <a:gd name="T100" fmla="*/ 90 w 1602"/>
                <a:gd name="T101" fmla="*/ 45 h 1404"/>
                <a:gd name="T102" fmla="*/ 104 w 1602"/>
                <a:gd name="T103" fmla="*/ 41 h 1404"/>
                <a:gd name="T104" fmla="*/ 117 w 1602"/>
                <a:gd name="T105" fmla="*/ 39 h 1404"/>
                <a:gd name="T106" fmla="*/ 125 w 1602"/>
                <a:gd name="T107" fmla="*/ 39 h 1404"/>
                <a:gd name="T108" fmla="*/ 127 w 1602"/>
                <a:gd name="T109" fmla="*/ 43 h 1404"/>
                <a:gd name="T110" fmla="*/ 131 w 1602"/>
                <a:gd name="T111" fmla="*/ 53 h 1404"/>
                <a:gd name="T112" fmla="*/ 133 w 1602"/>
                <a:gd name="T113" fmla="*/ 60 h 1404"/>
                <a:gd name="T114" fmla="*/ 138 w 1602"/>
                <a:gd name="T115" fmla="*/ 73 h 1404"/>
                <a:gd name="T116" fmla="*/ 136 w 1602"/>
                <a:gd name="T117" fmla="*/ 80 h 1404"/>
                <a:gd name="T118" fmla="*/ 129 w 1602"/>
                <a:gd name="T119" fmla="*/ 87 h 1404"/>
                <a:gd name="T120" fmla="*/ 123 w 1602"/>
                <a:gd name="T121" fmla="*/ 95 h 14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02"/>
                <a:gd name="T184" fmla="*/ 0 h 1404"/>
                <a:gd name="T185" fmla="*/ 1602 w 1602"/>
                <a:gd name="T186" fmla="*/ 1404 h 14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02" h="1404">
                  <a:moveTo>
                    <a:pt x="1392" y="1080"/>
                  </a:moveTo>
                  <a:lnTo>
                    <a:pt x="1380" y="1074"/>
                  </a:lnTo>
                  <a:lnTo>
                    <a:pt x="1368" y="1056"/>
                  </a:lnTo>
                  <a:lnTo>
                    <a:pt x="1356" y="1044"/>
                  </a:lnTo>
                  <a:lnTo>
                    <a:pt x="1344" y="1038"/>
                  </a:lnTo>
                  <a:lnTo>
                    <a:pt x="1338" y="1038"/>
                  </a:lnTo>
                  <a:lnTo>
                    <a:pt x="1332" y="1038"/>
                  </a:lnTo>
                  <a:lnTo>
                    <a:pt x="1326" y="1044"/>
                  </a:lnTo>
                  <a:lnTo>
                    <a:pt x="1320" y="1044"/>
                  </a:lnTo>
                  <a:lnTo>
                    <a:pt x="1314" y="1044"/>
                  </a:lnTo>
                  <a:lnTo>
                    <a:pt x="1296" y="1056"/>
                  </a:lnTo>
                  <a:lnTo>
                    <a:pt x="1296" y="1080"/>
                  </a:lnTo>
                  <a:lnTo>
                    <a:pt x="1290" y="1080"/>
                  </a:lnTo>
                  <a:lnTo>
                    <a:pt x="1284" y="1086"/>
                  </a:lnTo>
                  <a:lnTo>
                    <a:pt x="1278" y="1086"/>
                  </a:lnTo>
                  <a:lnTo>
                    <a:pt x="1278" y="1092"/>
                  </a:lnTo>
                  <a:lnTo>
                    <a:pt x="1272" y="1092"/>
                  </a:lnTo>
                  <a:lnTo>
                    <a:pt x="1266" y="1086"/>
                  </a:lnTo>
                  <a:lnTo>
                    <a:pt x="1260" y="1086"/>
                  </a:lnTo>
                  <a:lnTo>
                    <a:pt x="1260" y="1098"/>
                  </a:lnTo>
                  <a:lnTo>
                    <a:pt x="1248" y="1098"/>
                  </a:lnTo>
                  <a:lnTo>
                    <a:pt x="1212" y="1116"/>
                  </a:lnTo>
                  <a:lnTo>
                    <a:pt x="1206" y="1158"/>
                  </a:lnTo>
                  <a:lnTo>
                    <a:pt x="1176" y="1164"/>
                  </a:lnTo>
                  <a:lnTo>
                    <a:pt x="1158" y="1164"/>
                  </a:lnTo>
                  <a:lnTo>
                    <a:pt x="1152" y="1164"/>
                  </a:lnTo>
                  <a:lnTo>
                    <a:pt x="1152" y="1170"/>
                  </a:lnTo>
                  <a:lnTo>
                    <a:pt x="1152" y="1176"/>
                  </a:lnTo>
                  <a:lnTo>
                    <a:pt x="1146" y="1176"/>
                  </a:lnTo>
                  <a:lnTo>
                    <a:pt x="1140" y="1176"/>
                  </a:lnTo>
                  <a:lnTo>
                    <a:pt x="1134" y="1182"/>
                  </a:lnTo>
                  <a:lnTo>
                    <a:pt x="1134" y="1188"/>
                  </a:lnTo>
                  <a:lnTo>
                    <a:pt x="1128" y="1194"/>
                  </a:lnTo>
                  <a:lnTo>
                    <a:pt x="1122" y="1194"/>
                  </a:lnTo>
                  <a:lnTo>
                    <a:pt x="1116" y="1194"/>
                  </a:lnTo>
                  <a:lnTo>
                    <a:pt x="1110" y="1200"/>
                  </a:lnTo>
                  <a:lnTo>
                    <a:pt x="1110" y="1206"/>
                  </a:lnTo>
                  <a:lnTo>
                    <a:pt x="1104" y="1212"/>
                  </a:lnTo>
                  <a:lnTo>
                    <a:pt x="1104" y="1218"/>
                  </a:lnTo>
                  <a:lnTo>
                    <a:pt x="1098" y="1224"/>
                  </a:lnTo>
                  <a:lnTo>
                    <a:pt x="1092" y="1230"/>
                  </a:lnTo>
                  <a:lnTo>
                    <a:pt x="1086" y="1230"/>
                  </a:lnTo>
                  <a:lnTo>
                    <a:pt x="1080" y="1230"/>
                  </a:lnTo>
                  <a:lnTo>
                    <a:pt x="1080" y="1242"/>
                  </a:lnTo>
                  <a:lnTo>
                    <a:pt x="1074" y="1242"/>
                  </a:lnTo>
                  <a:lnTo>
                    <a:pt x="1068" y="1242"/>
                  </a:lnTo>
                  <a:lnTo>
                    <a:pt x="1068" y="1236"/>
                  </a:lnTo>
                  <a:lnTo>
                    <a:pt x="1062" y="1242"/>
                  </a:lnTo>
                  <a:lnTo>
                    <a:pt x="1056" y="1236"/>
                  </a:lnTo>
                  <a:lnTo>
                    <a:pt x="1050" y="1242"/>
                  </a:lnTo>
                  <a:lnTo>
                    <a:pt x="1050" y="1236"/>
                  </a:lnTo>
                  <a:lnTo>
                    <a:pt x="1044" y="1194"/>
                  </a:lnTo>
                  <a:lnTo>
                    <a:pt x="1032" y="1194"/>
                  </a:lnTo>
                  <a:lnTo>
                    <a:pt x="1032" y="1200"/>
                  </a:lnTo>
                  <a:lnTo>
                    <a:pt x="1026" y="1200"/>
                  </a:lnTo>
                  <a:lnTo>
                    <a:pt x="1014" y="1218"/>
                  </a:lnTo>
                  <a:lnTo>
                    <a:pt x="1014" y="1224"/>
                  </a:lnTo>
                  <a:lnTo>
                    <a:pt x="1014" y="1236"/>
                  </a:lnTo>
                  <a:lnTo>
                    <a:pt x="1014" y="1242"/>
                  </a:lnTo>
                  <a:lnTo>
                    <a:pt x="1008" y="1242"/>
                  </a:lnTo>
                  <a:lnTo>
                    <a:pt x="1002" y="1236"/>
                  </a:lnTo>
                  <a:lnTo>
                    <a:pt x="1002" y="1230"/>
                  </a:lnTo>
                  <a:lnTo>
                    <a:pt x="996" y="1236"/>
                  </a:lnTo>
                  <a:lnTo>
                    <a:pt x="990" y="1236"/>
                  </a:lnTo>
                  <a:lnTo>
                    <a:pt x="990" y="1230"/>
                  </a:lnTo>
                  <a:lnTo>
                    <a:pt x="984" y="1236"/>
                  </a:lnTo>
                  <a:lnTo>
                    <a:pt x="978" y="1248"/>
                  </a:lnTo>
                  <a:lnTo>
                    <a:pt x="972" y="1254"/>
                  </a:lnTo>
                  <a:lnTo>
                    <a:pt x="966" y="1260"/>
                  </a:lnTo>
                  <a:lnTo>
                    <a:pt x="930" y="1284"/>
                  </a:lnTo>
                  <a:lnTo>
                    <a:pt x="942" y="1356"/>
                  </a:lnTo>
                  <a:lnTo>
                    <a:pt x="930" y="1368"/>
                  </a:lnTo>
                  <a:lnTo>
                    <a:pt x="852" y="1404"/>
                  </a:lnTo>
                  <a:lnTo>
                    <a:pt x="834" y="1392"/>
                  </a:lnTo>
                  <a:lnTo>
                    <a:pt x="834" y="1362"/>
                  </a:lnTo>
                  <a:lnTo>
                    <a:pt x="828" y="1332"/>
                  </a:lnTo>
                  <a:lnTo>
                    <a:pt x="810" y="1308"/>
                  </a:lnTo>
                  <a:lnTo>
                    <a:pt x="810" y="1284"/>
                  </a:lnTo>
                  <a:lnTo>
                    <a:pt x="816" y="1266"/>
                  </a:lnTo>
                  <a:lnTo>
                    <a:pt x="822" y="1254"/>
                  </a:lnTo>
                  <a:lnTo>
                    <a:pt x="822" y="1242"/>
                  </a:lnTo>
                  <a:lnTo>
                    <a:pt x="810" y="1230"/>
                  </a:lnTo>
                  <a:lnTo>
                    <a:pt x="804" y="1218"/>
                  </a:lnTo>
                  <a:lnTo>
                    <a:pt x="804" y="1212"/>
                  </a:lnTo>
                  <a:lnTo>
                    <a:pt x="804" y="1206"/>
                  </a:lnTo>
                  <a:lnTo>
                    <a:pt x="816" y="1194"/>
                  </a:lnTo>
                  <a:lnTo>
                    <a:pt x="822" y="1188"/>
                  </a:lnTo>
                  <a:lnTo>
                    <a:pt x="828" y="1170"/>
                  </a:lnTo>
                  <a:lnTo>
                    <a:pt x="840" y="1152"/>
                  </a:lnTo>
                  <a:lnTo>
                    <a:pt x="846" y="1146"/>
                  </a:lnTo>
                  <a:lnTo>
                    <a:pt x="846" y="1134"/>
                  </a:lnTo>
                  <a:lnTo>
                    <a:pt x="852" y="1128"/>
                  </a:lnTo>
                  <a:lnTo>
                    <a:pt x="846" y="1116"/>
                  </a:lnTo>
                  <a:lnTo>
                    <a:pt x="840" y="1098"/>
                  </a:lnTo>
                  <a:lnTo>
                    <a:pt x="840" y="1086"/>
                  </a:lnTo>
                  <a:lnTo>
                    <a:pt x="846" y="1074"/>
                  </a:lnTo>
                  <a:lnTo>
                    <a:pt x="852" y="1068"/>
                  </a:lnTo>
                  <a:lnTo>
                    <a:pt x="864" y="1038"/>
                  </a:lnTo>
                  <a:lnTo>
                    <a:pt x="870" y="1020"/>
                  </a:lnTo>
                  <a:lnTo>
                    <a:pt x="864" y="1008"/>
                  </a:lnTo>
                  <a:lnTo>
                    <a:pt x="858" y="990"/>
                  </a:lnTo>
                  <a:lnTo>
                    <a:pt x="852" y="954"/>
                  </a:lnTo>
                  <a:lnTo>
                    <a:pt x="846" y="948"/>
                  </a:lnTo>
                  <a:lnTo>
                    <a:pt x="834" y="936"/>
                  </a:lnTo>
                  <a:lnTo>
                    <a:pt x="828" y="924"/>
                  </a:lnTo>
                  <a:lnTo>
                    <a:pt x="756" y="942"/>
                  </a:lnTo>
                  <a:lnTo>
                    <a:pt x="744" y="936"/>
                  </a:lnTo>
                  <a:lnTo>
                    <a:pt x="744" y="930"/>
                  </a:lnTo>
                  <a:lnTo>
                    <a:pt x="738" y="924"/>
                  </a:lnTo>
                  <a:lnTo>
                    <a:pt x="744" y="924"/>
                  </a:lnTo>
                  <a:lnTo>
                    <a:pt x="738" y="918"/>
                  </a:lnTo>
                  <a:lnTo>
                    <a:pt x="732" y="912"/>
                  </a:lnTo>
                  <a:lnTo>
                    <a:pt x="732" y="906"/>
                  </a:lnTo>
                  <a:lnTo>
                    <a:pt x="732" y="894"/>
                  </a:lnTo>
                  <a:lnTo>
                    <a:pt x="726" y="888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6"/>
                  </a:lnTo>
                  <a:lnTo>
                    <a:pt x="690" y="882"/>
                  </a:lnTo>
                  <a:lnTo>
                    <a:pt x="684" y="864"/>
                  </a:lnTo>
                  <a:lnTo>
                    <a:pt x="684" y="852"/>
                  </a:lnTo>
                  <a:lnTo>
                    <a:pt x="672" y="852"/>
                  </a:lnTo>
                  <a:lnTo>
                    <a:pt x="654" y="852"/>
                  </a:lnTo>
                  <a:lnTo>
                    <a:pt x="642" y="846"/>
                  </a:lnTo>
                  <a:lnTo>
                    <a:pt x="636" y="834"/>
                  </a:lnTo>
                  <a:lnTo>
                    <a:pt x="630" y="822"/>
                  </a:lnTo>
                  <a:lnTo>
                    <a:pt x="618" y="822"/>
                  </a:lnTo>
                  <a:lnTo>
                    <a:pt x="618" y="816"/>
                  </a:lnTo>
                  <a:lnTo>
                    <a:pt x="618" y="810"/>
                  </a:lnTo>
                  <a:lnTo>
                    <a:pt x="612" y="810"/>
                  </a:lnTo>
                  <a:lnTo>
                    <a:pt x="606" y="804"/>
                  </a:lnTo>
                  <a:lnTo>
                    <a:pt x="594" y="804"/>
                  </a:lnTo>
                  <a:lnTo>
                    <a:pt x="588" y="810"/>
                  </a:lnTo>
                  <a:lnTo>
                    <a:pt x="588" y="804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70" y="810"/>
                  </a:lnTo>
                  <a:lnTo>
                    <a:pt x="564" y="816"/>
                  </a:lnTo>
                  <a:lnTo>
                    <a:pt x="558" y="816"/>
                  </a:lnTo>
                  <a:lnTo>
                    <a:pt x="552" y="822"/>
                  </a:lnTo>
                  <a:lnTo>
                    <a:pt x="546" y="828"/>
                  </a:lnTo>
                  <a:lnTo>
                    <a:pt x="546" y="834"/>
                  </a:lnTo>
                  <a:lnTo>
                    <a:pt x="528" y="834"/>
                  </a:lnTo>
                  <a:lnTo>
                    <a:pt x="516" y="822"/>
                  </a:lnTo>
                  <a:lnTo>
                    <a:pt x="504" y="822"/>
                  </a:lnTo>
                  <a:lnTo>
                    <a:pt x="492" y="82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6" y="792"/>
                  </a:lnTo>
                  <a:lnTo>
                    <a:pt x="492" y="786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504" y="780"/>
                  </a:lnTo>
                  <a:lnTo>
                    <a:pt x="510" y="780"/>
                  </a:lnTo>
                  <a:lnTo>
                    <a:pt x="522" y="768"/>
                  </a:lnTo>
                  <a:lnTo>
                    <a:pt x="522" y="762"/>
                  </a:lnTo>
                  <a:lnTo>
                    <a:pt x="504" y="756"/>
                  </a:lnTo>
                  <a:lnTo>
                    <a:pt x="498" y="756"/>
                  </a:lnTo>
                  <a:lnTo>
                    <a:pt x="498" y="744"/>
                  </a:lnTo>
                  <a:lnTo>
                    <a:pt x="492" y="738"/>
                  </a:lnTo>
                  <a:lnTo>
                    <a:pt x="480" y="738"/>
                  </a:lnTo>
                  <a:lnTo>
                    <a:pt x="474" y="738"/>
                  </a:lnTo>
                  <a:lnTo>
                    <a:pt x="456" y="738"/>
                  </a:lnTo>
                  <a:lnTo>
                    <a:pt x="438" y="738"/>
                  </a:lnTo>
                  <a:lnTo>
                    <a:pt x="432" y="750"/>
                  </a:lnTo>
                  <a:lnTo>
                    <a:pt x="426" y="756"/>
                  </a:lnTo>
                  <a:lnTo>
                    <a:pt x="426" y="762"/>
                  </a:lnTo>
                  <a:lnTo>
                    <a:pt x="420" y="762"/>
                  </a:lnTo>
                  <a:lnTo>
                    <a:pt x="408" y="744"/>
                  </a:lnTo>
                  <a:lnTo>
                    <a:pt x="408" y="732"/>
                  </a:lnTo>
                  <a:lnTo>
                    <a:pt x="390" y="714"/>
                  </a:lnTo>
                  <a:lnTo>
                    <a:pt x="384" y="702"/>
                  </a:lnTo>
                  <a:lnTo>
                    <a:pt x="384" y="690"/>
                  </a:lnTo>
                  <a:lnTo>
                    <a:pt x="372" y="690"/>
                  </a:lnTo>
                  <a:lnTo>
                    <a:pt x="366" y="660"/>
                  </a:lnTo>
                  <a:lnTo>
                    <a:pt x="354" y="630"/>
                  </a:lnTo>
                  <a:lnTo>
                    <a:pt x="348" y="630"/>
                  </a:lnTo>
                  <a:lnTo>
                    <a:pt x="336" y="630"/>
                  </a:lnTo>
                  <a:lnTo>
                    <a:pt x="330" y="630"/>
                  </a:lnTo>
                  <a:lnTo>
                    <a:pt x="318" y="630"/>
                  </a:lnTo>
                  <a:lnTo>
                    <a:pt x="312" y="624"/>
                  </a:lnTo>
                  <a:lnTo>
                    <a:pt x="306" y="624"/>
                  </a:lnTo>
                  <a:lnTo>
                    <a:pt x="294" y="618"/>
                  </a:lnTo>
                  <a:lnTo>
                    <a:pt x="288" y="612"/>
                  </a:lnTo>
                  <a:lnTo>
                    <a:pt x="276" y="600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58" y="588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8"/>
                  </a:lnTo>
                  <a:lnTo>
                    <a:pt x="216" y="582"/>
                  </a:lnTo>
                  <a:lnTo>
                    <a:pt x="210" y="588"/>
                  </a:lnTo>
                  <a:lnTo>
                    <a:pt x="198" y="582"/>
                  </a:lnTo>
                  <a:lnTo>
                    <a:pt x="180" y="582"/>
                  </a:lnTo>
                  <a:lnTo>
                    <a:pt x="174" y="552"/>
                  </a:lnTo>
                  <a:lnTo>
                    <a:pt x="168" y="504"/>
                  </a:lnTo>
                  <a:lnTo>
                    <a:pt x="186" y="504"/>
                  </a:lnTo>
                  <a:lnTo>
                    <a:pt x="192" y="504"/>
                  </a:lnTo>
                  <a:lnTo>
                    <a:pt x="192" y="498"/>
                  </a:lnTo>
                  <a:lnTo>
                    <a:pt x="192" y="492"/>
                  </a:lnTo>
                  <a:lnTo>
                    <a:pt x="192" y="486"/>
                  </a:lnTo>
                  <a:lnTo>
                    <a:pt x="198" y="486"/>
                  </a:lnTo>
                  <a:lnTo>
                    <a:pt x="198" y="480"/>
                  </a:lnTo>
                  <a:lnTo>
                    <a:pt x="204" y="474"/>
                  </a:lnTo>
                  <a:lnTo>
                    <a:pt x="210" y="468"/>
                  </a:lnTo>
                  <a:lnTo>
                    <a:pt x="198" y="462"/>
                  </a:lnTo>
                  <a:lnTo>
                    <a:pt x="192" y="444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32"/>
                  </a:lnTo>
                  <a:lnTo>
                    <a:pt x="168" y="438"/>
                  </a:lnTo>
                  <a:lnTo>
                    <a:pt x="150" y="450"/>
                  </a:lnTo>
                  <a:lnTo>
                    <a:pt x="144" y="456"/>
                  </a:lnTo>
                  <a:lnTo>
                    <a:pt x="132" y="456"/>
                  </a:lnTo>
                  <a:lnTo>
                    <a:pt x="126" y="468"/>
                  </a:lnTo>
                  <a:lnTo>
                    <a:pt x="114" y="468"/>
                  </a:lnTo>
                  <a:lnTo>
                    <a:pt x="108" y="468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14"/>
                  </a:lnTo>
                  <a:lnTo>
                    <a:pt x="108" y="396"/>
                  </a:lnTo>
                  <a:lnTo>
                    <a:pt x="120" y="396"/>
                  </a:lnTo>
                  <a:lnTo>
                    <a:pt x="126" y="384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84" y="354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0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60" y="318"/>
                  </a:lnTo>
                  <a:lnTo>
                    <a:pt x="42" y="324"/>
                  </a:lnTo>
                  <a:lnTo>
                    <a:pt x="36" y="318"/>
                  </a:lnTo>
                  <a:lnTo>
                    <a:pt x="36" y="312"/>
                  </a:lnTo>
                  <a:lnTo>
                    <a:pt x="36" y="306"/>
                  </a:lnTo>
                  <a:lnTo>
                    <a:pt x="36" y="300"/>
                  </a:lnTo>
                  <a:lnTo>
                    <a:pt x="30" y="300"/>
                  </a:lnTo>
                  <a:lnTo>
                    <a:pt x="30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24" y="276"/>
                  </a:lnTo>
                  <a:lnTo>
                    <a:pt x="18" y="276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18" y="234"/>
                  </a:lnTo>
                  <a:lnTo>
                    <a:pt x="30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42" y="192"/>
                  </a:lnTo>
                  <a:lnTo>
                    <a:pt x="66" y="186"/>
                  </a:lnTo>
                  <a:lnTo>
                    <a:pt x="90" y="156"/>
                  </a:lnTo>
                  <a:lnTo>
                    <a:pt x="102" y="144"/>
                  </a:lnTo>
                  <a:lnTo>
                    <a:pt x="138" y="150"/>
                  </a:lnTo>
                  <a:lnTo>
                    <a:pt x="162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0" y="180"/>
                  </a:lnTo>
                  <a:lnTo>
                    <a:pt x="174" y="180"/>
                  </a:lnTo>
                  <a:lnTo>
                    <a:pt x="180" y="186"/>
                  </a:lnTo>
                  <a:lnTo>
                    <a:pt x="186" y="186"/>
                  </a:lnTo>
                  <a:lnTo>
                    <a:pt x="198" y="192"/>
                  </a:lnTo>
                  <a:lnTo>
                    <a:pt x="216" y="198"/>
                  </a:lnTo>
                  <a:lnTo>
                    <a:pt x="252" y="204"/>
                  </a:lnTo>
                  <a:lnTo>
                    <a:pt x="258" y="210"/>
                  </a:lnTo>
                  <a:lnTo>
                    <a:pt x="306" y="216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84" y="210"/>
                  </a:lnTo>
                  <a:lnTo>
                    <a:pt x="408" y="222"/>
                  </a:lnTo>
                  <a:lnTo>
                    <a:pt x="438" y="228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86" y="222"/>
                  </a:lnTo>
                  <a:lnTo>
                    <a:pt x="492" y="210"/>
                  </a:lnTo>
                  <a:lnTo>
                    <a:pt x="492" y="198"/>
                  </a:lnTo>
                  <a:lnTo>
                    <a:pt x="486" y="180"/>
                  </a:lnTo>
                  <a:lnTo>
                    <a:pt x="492" y="162"/>
                  </a:lnTo>
                  <a:lnTo>
                    <a:pt x="510" y="96"/>
                  </a:lnTo>
                  <a:lnTo>
                    <a:pt x="516" y="84"/>
                  </a:lnTo>
                  <a:lnTo>
                    <a:pt x="522" y="84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34" y="72"/>
                  </a:lnTo>
                  <a:lnTo>
                    <a:pt x="534" y="60"/>
                  </a:lnTo>
                  <a:lnTo>
                    <a:pt x="540" y="36"/>
                  </a:lnTo>
                  <a:lnTo>
                    <a:pt x="546" y="6"/>
                  </a:lnTo>
                  <a:lnTo>
                    <a:pt x="558" y="6"/>
                  </a:lnTo>
                  <a:lnTo>
                    <a:pt x="564" y="0"/>
                  </a:lnTo>
                  <a:lnTo>
                    <a:pt x="582" y="0"/>
                  </a:lnTo>
                  <a:lnTo>
                    <a:pt x="588" y="0"/>
                  </a:lnTo>
                  <a:lnTo>
                    <a:pt x="594" y="6"/>
                  </a:lnTo>
                  <a:lnTo>
                    <a:pt x="600" y="12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24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36" y="36"/>
                  </a:lnTo>
                  <a:lnTo>
                    <a:pt x="642" y="36"/>
                  </a:lnTo>
                  <a:lnTo>
                    <a:pt x="642" y="42"/>
                  </a:lnTo>
                  <a:lnTo>
                    <a:pt x="648" y="54"/>
                  </a:lnTo>
                  <a:lnTo>
                    <a:pt x="660" y="72"/>
                  </a:lnTo>
                  <a:lnTo>
                    <a:pt x="666" y="78"/>
                  </a:lnTo>
                  <a:lnTo>
                    <a:pt x="672" y="90"/>
                  </a:lnTo>
                  <a:lnTo>
                    <a:pt x="678" y="102"/>
                  </a:lnTo>
                  <a:lnTo>
                    <a:pt x="678" y="114"/>
                  </a:lnTo>
                  <a:lnTo>
                    <a:pt x="684" y="132"/>
                  </a:lnTo>
                  <a:lnTo>
                    <a:pt x="684" y="144"/>
                  </a:lnTo>
                  <a:lnTo>
                    <a:pt x="690" y="162"/>
                  </a:lnTo>
                  <a:lnTo>
                    <a:pt x="696" y="168"/>
                  </a:lnTo>
                  <a:lnTo>
                    <a:pt x="696" y="180"/>
                  </a:lnTo>
                  <a:lnTo>
                    <a:pt x="702" y="186"/>
                  </a:lnTo>
                  <a:lnTo>
                    <a:pt x="708" y="186"/>
                  </a:lnTo>
                  <a:lnTo>
                    <a:pt x="714" y="198"/>
                  </a:lnTo>
                  <a:lnTo>
                    <a:pt x="720" y="198"/>
                  </a:lnTo>
                  <a:lnTo>
                    <a:pt x="732" y="204"/>
                  </a:lnTo>
                  <a:lnTo>
                    <a:pt x="738" y="210"/>
                  </a:lnTo>
                  <a:lnTo>
                    <a:pt x="738" y="216"/>
                  </a:lnTo>
                  <a:lnTo>
                    <a:pt x="744" y="222"/>
                  </a:lnTo>
                  <a:lnTo>
                    <a:pt x="750" y="228"/>
                  </a:lnTo>
                  <a:lnTo>
                    <a:pt x="756" y="228"/>
                  </a:lnTo>
                  <a:lnTo>
                    <a:pt x="768" y="240"/>
                  </a:lnTo>
                  <a:lnTo>
                    <a:pt x="774" y="252"/>
                  </a:lnTo>
                  <a:lnTo>
                    <a:pt x="780" y="258"/>
                  </a:lnTo>
                  <a:lnTo>
                    <a:pt x="786" y="258"/>
                  </a:lnTo>
                  <a:lnTo>
                    <a:pt x="798" y="264"/>
                  </a:lnTo>
                  <a:lnTo>
                    <a:pt x="798" y="270"/>
                  </a:lnTo>
                  <a:lnTo>
                    <a:pt x="798" y="276"/>
                  </a:lnTo>
                  <a:lnTo>
                    <a:pt x="810" y="288"/>
                  </a:lnTo>
                  <a:lnTo>
                    <a:pt x="816" y="288"/>
                  </a:lnTo>
                  <a:lnTo>
                    <a:pt x="816" y="300"/>
                  </a:lnTo>
                  <a:lnTo>
                    <a:pt x="816" y="306"/>
                  </a:lnTo>
                  <a:lnTo>
                    <a:pt x="822" y="318"/>
                  </a:lnTo>
                  <a:lnTo>
                    <a:pt x="828" y="324"/>
                  </a:lnTo>
                  <a:lnTo>
                    <a:pt x="834" y="330"/>
                  </a:lnTo>
                  <a:lnTo>
                    <a:pt x="846" y="336"/>
                  </a:lnTo>
                  <a:lnTo>
                    <a:pt x="846" y="342"/>
                  </a:lnTo>
                  <a:lnTo>
                    <a:pt x="852" y="348"/>
                  </a:lnTo>
                  <a:lnTo>
                    <a:pt x="852" y="354"/>
                  </a:lnTo>
                  <a:lnTo>
                    <a:pt x="858" y="354"/>
                  </a:lnTo>
                  <a:lnTo>
                    <a:pt x="858" y="348"/>
                  </a:lnTo>
                  <a:lnTo>
                    <a:pt x="864" y="342"/>
                  </a:lnTo>
                  <a:lnTo>
                    <a:pt x="864" y="336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76" y="306"/>
                  </a:lnTo>
                  <a:lnTo>
                    <a:pt x="870" y="300"/>
                  </a:lnTo>
                  <a:lnTo>
                    <a:pt x="870" y="294"/>
                  </a:lnTo>
                  <a:lnTo>
                    <a:pt x="876" y="294"/>
                  </a:lnTo>
                  <a:lnTo>
                    <a:pt x="882" y="300"/>
                  </a:lnTo>
                  <a:lnTo>
                    <a:pt x="888" y="300"/>
                  </a:lnTo>
                  <a:lnTo>
                    <a:pt x="888" y="306"/>
                  </a:lnTo>
                  <a:lnTo>
                    <a:pt x="894" y="300"/>
                  </a:lnTo>
                  <a:lnTo>
                    <a:pt x="900" y="294"/>
                  </a:lnTo>
                  <a:lnTo>
                    <a:pt x="894" y="288"/>
                  </a:lnTo>
                  <a:lnTo>
                    <a:pt x="888" y="282"/>
                  </a:lnTo>
                  <a:lnTo>
                    <a:pt x="888" y="276"/>
                  </a:lnTo>
                  <a:lnTo>
                    <a:pt x="894" y="276"/>
                  </a:lnTo>
                  <a:lnTo>
                    <a:pt x="900" y="276"/>
                  </a:lnTo>
                  <a:lnTo>
                    <a:pt x="900" y="270"/>
                  </a:lnTo>
                  <a:lnTo>
                    <a:pt x="906" y="264"/>
                  </a:lnTo>
                  <a:lnTo>
                    <a:pt x="906" y="258"/>
                  </a:lnTo>
                  <a:lnTo>
                    <a:pt x="918" y="264"/>
                  </a:lnTo>
                  <a:lnTo>
                    <a:pt x="918" y="258"/>
                  </a:lnTo>
                  <a:lnTo>
                    <a:pt x="924" y="252"/>
                  </a:lnTo>
                  <a:lnTo>
                    <a:pt x="930" y="252"/>
                  </a:lnTo>
                  <a:lnTo>
                    <a:pt x="930" y="246"/>
                  </a:lnTo>
                  <a:lnTo>
                    <a:pt x="936" y="234"/>
                  </a:lnTo>
                  <a:lnTo>
                    <a:pt x="942" y="228"/>
                  </a:lnTo>
                  <a:lnTo>
                    <a:pt x="942" y="222"/>
                  </a:lnTo>
                  <a:lnTo>
                    <a:pt x="948" y="222"/>
                  </a:lnTo>
                  <a:lnTo>
                    <a:pt x="948" y="216"/>
                  </a:lnTo>
                  <a:lnTo>
                    <a:pt x="942" y="216"/>
                  </a:lnTo>
                  <a:lnTo>
                    <a:pt x="936" y="216"/>
                  </a:lnTo>
                  <a:lnTo>
                    <a:pt x="936" y="210"/>
                  </a:lnTo>
                  <a:lnTo>
                    <a:pt x="942" y="210"/>
                  </a:lnTo>
                  <a:lnTo>
                    <a:pt x="972" y="210"/>
                  </a:lnTo>
                  <a:lnTo>
                    <a:pt x="1032" y="216"/>
                  </a:lnTo>
                  <a:lnTo>
                    <a:pt x="1068" y="216"/>
                  </a:lnTo>
                  <a:lnTo>
                    <a:pt x="1056" y="234"/>
                  </a:lnTo>
                  <a:lnTo>
                    <a:pt x="1050" y="240"/>
                  </a:lnTo>
                  <a:lnTo>
                    <a:pt x="1044" y="246"/>
                  </a:lnTo>
                  <a:lnTo>
                    <a:pt x="1038" y="246"/>
                  </a:lnTo>
                  <a:lnTo>
                    <a:pt x="1026" y="282"/>
                  </a:lnTo>
                  <a:lnTo>
                    <a:pt x="1032" y="306"/>
                  </a:lnTo>
                  <a:lnTo>
                    <a:pt x="1044" y="324"/>
                  </a:lnTo>
                  <a:lnTo>
                    <a:pt x="1044" y="342"/>
                  </a:lnTo>
                  <a:lnTo>
                    <a:pt x="1062" y="366"/>
                  </a:lnTo>
                  <a:lnTo>
                    <a:pt x="1056" y="396"/>
                  </a:lnTo>
                  <a:lnTo>
                    <a:pt x="1038" y="462"/>
                  </a:lnTo>
                  <a:lnTo>
                    <a:pt x="1038" y="498"/>
                  </a:lnTo>
                  <a:lnTo>
                    <a:pt x="1038" y="522"/>
                  </a:lnTo>
                  <a:lnTo>
                    <a:pt x="1038" y="534"/>
                  </a:lnTo>
                  <a:lnTo>
                    <a:pt x="1056" y="522"/>
                  </a:lnTo>
                  <a:lnTo>
                    <a:pt x="1098" y="504"/>
                  </a:lnTo>
                  <a:lnTo>
                    <a:pt x="1104" y="498"/>
                  </a:lnTo>
                  <a:lnTo>
                    <a:pt x="1128" y="492"/>
                  </a:lnTo>
                  <a:lnTo>
                    <a:pt x="1152" y="480"/>
                  </a:lnTo>
                  <a:lnTo>
                    <a:pt x="1170" y="474"/>
                  </a:lnTo>
                  <a:lnTo>
                    <a:pt x="1188" y="468"/>
                  </a:lnTo>
                  <a:lnTo>
                    <a:pt x="1200" y="462"/>
                  </a:lnTo>
                  <a:lnTo>
                    <a:pt x="1224" y="450"/>
                  </a:lnTo>
                  <a:lnTo>
                    <a:pt x="1248" y="450"/>
                  </a:lnTo>
                  <a:lnTo>
                    <a:pt x="1266" y="450"/>
                  </a:lnTo>
                  <a:lnTo>
                    <a:pt x="1296" y="456"/>
                  </a:lnTo>
                  <a:lnTo>
                    <a:pt x="1308" y="456"/>
                  </a:lnTo>
                  <a:lnTo>
                    <a:pt x="1326" y="456"/>
                  </a:lnTo>
                  <a:lnTo>
                    <a:pt x="1338" y="456"/>
                  </a:lnTo>
                  <a:lnTo>
                    <a:pt x="1350" y="462"/>
                  </a:lnTo>
                  <a:lnTo>
                    <a:pt x="1356" y="462"/>
                  </a:lnTo>
                  <a:lnTo>
                    <a:pt x="1374" y="456"/>
                  </a:lnTo>
                  <a:lnTo>
                    <a:pt x="1386" y="456"/>
                  </a:lnTo>
                  <a:lnTo>
                    <a:pt x="1392" y="456"/>
                  </a:lnTo>
                  <a:lnTo>
                    <a:pt x="1398" y="456"/>
                  </a:lnTo>
                  <a:lnTo>
                    <a:pt x="1422" y="456"/>
                  </a:lnTo>
                  <a:lnTo>
                    <a:pt x="1440" y="456"/>
                  </a:lnTo>
                  <a:lnTo>
                    <a:pt x="1446" y="456"/>
                  </a:lnTo>
                  <a:lnTo>
                    <a:pt x="1476" y="456"/>
                  </a:lnTo>
                  <a:lnTo>
                    <a:pt x="1470" y="468"/>
                  </a:lnTo>
                  <a:lnTo>
                    <a:pt x="1470" y="474"/>
                  </a:lnTo>
                  <a:lnTo>
                    <a:pt x="1470" y="486"/>
                  </a:lnTo>
                  <a:lnTo>
                    <a:pt x="1464" y="492"/>
                  </a:lnTo>
                  <a:lnTo>
                    <a:pt x="1464" y="498"/>
                  </a:lnTo>
                  <a:lnTo>
                    <a:pt x="1458" y="498"/>
                  </a:lnTo>
                  <a:lnTo>
                    <a:pt x="1458" y="510"/>
                  </a:lnTo>
                  <a:lnTo>
                    <a:pt x="1452" y="522"/>
                  </a:lnTo>
                  <a:lnTo>
                    <a:pt x="1458" y="528"/>
                  </a:lnTo>
                  <a:lnTo>
                    <a:pt x="1464" y="546"/>
                  </a:lnTo>
                  <a:lnTo>
                    <a:pt x="1470" y="552"/>
                  </a:lnTo>
                  <a:lnTo>
                    <a:pt x="1476" y="564"/>
                  </a:lnTo>
                  <a:lnTo>
                    <a:pt x="1488" y="588"/>
                  </a:lnTo>
                  <a:lnTo>
                    <a:pt x="1506" y="606"/>
                  </a:lnTo>
                  <a:lnTo>
                    <a:pt x="1506" y="612"/>
                  </a:lnTo>
                  <a:lnTo>
                    <a:pt x="1518" y="618"/>
                  </a:lnTo>
                  <a:lnTo>
                    <a:pt x="1512" y="630"/>
                  </a:lnTo>
                  <a:lnTo>
                    <a:pt x="1518" y="642"/>
                  </a:lnTo>
                  <a:lnTo>
                    <a:pt x="1518" y="648"/>
                  </a:lnTo>
                  <a:lnTo>
                    <a:pt x="1530" y="666"/>
                  </a:lnTo>
                  <a:lnTo>
                    <a:pt x="1518" y="672"/>
                  </a:lnTo>
                  <a:lnTo>
                    <a:pt x="1524" y="696"/>
                  </a:lnTo>
                  <a:lnTo>
                    <a:pt x="1518" y="732"/>
                  </a:lnTo>
                  <a:lnTo>
                    <a:pt x="1524" y="762"/>
                  </a:lnTo>
                  <a:lnTo>
                    <a:pt x="1524" y="780"/>
                  </a:lnTo>
                  <a:lnTo>
                    <a:pt x="1524" y="810"/>
                  </a:lnTo>
                  <a:lnTo>
                    <a:pt x="1530" y="834"/>
                  </a:lnTo>
                  <a:lnTo>
                    <a:pt x="1536" y="846"/>
                  </a:lnTo>
                  <a:lnTo>
                    <a:pt x="1542" y="846"/>
                  </a:lnTo>
                  <a:lnTo>
                    <a:pt x="1584" y="840"/>
                  </a:lnTo>
                  <a:lnTo>
                    <a:pt x="1590" y="846"/>
                  </a:lnTo>
                  <a:lnTo>
                    <a:pt x="1596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90" y="864"/>
                  </a:lnTo>
                  <a:lnTo>
                    <a:pt x="1578" y="882"/>
                  </a:lnTo>
                  <a:lnTo>
                    <a:pt x="1572" y="906"/>
                  </a:lnTo>
                  <a:lnTo>
                    <a:pt x="1560" y="924"/>
                  </a:lnTo>
                  <a:lnTo>
                    <a:pt x="1560" y="936"/>
                  </a:lnTo>
                  <a:lnTo>
                    <a:pt x="1548" y="960"/>
                  </a:lnTo>
                  <a:lnTo>
                    <a:pt x="1542" y="978"/>
                  </a:lnTo>
                  <a:lnTo>
                    <a:pt x="1536" y="990"/>
                  </a:lnTo>
                  <a:lnTo>
                    <a:pt x="1530" y="990"/>
                  </a:lnTo>
                  <a:lnTo>
                    <a:pt x="1506" y="996"/>
                  </a:lnTo>
                  <a:lnTo>
                    <a:pt x="1494" y="1002"/>
                  </a:lnTo>
                  <a:lnTo>
                    <a:pt x="1482" y="1002"/>
                  </a:lnTo>
                  <a:lnTo>
                    <a:pt x="1464" y="1008"/>
                  </a:lnTo>
                  <a:lnTo>
                    <a:pt x="1446" y="1026"/>
                  </a:lnTo>
                  <a:lnTo>
                    <a:pt x="1440" y="1026"/>
                  </a:lnTo>
                  <a:lnTo>
                    <a:pt x="1434" y="1038"/>
                  </a:lnTo>
                  <a:lnTo>
                    <a:pt x="1428" y="1044"/>
                  </a:lnTo>
                  <a:lnTo>
                    <a:pt x="1428" y="1062"/>
                  </a:lnTo>
                  <a:lnTo>
                    <a:pt x="1428" y="1086"/>
                  </a:lnTo>
                  <a:lnTo>
                    <a:pt x="1416" y="1092"/>
                  </a:lnTo>
                  <a:lnTo>
                    <a:pt x="1410" y="1080"/>
                  </a:lnTo>
                  <a:lnTo>
                    <a:pt x="1392" y="10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0" name="Freeform 25">
              <a:extLst>
                <a:ext uri="{FF2B5EF4-FFF2-40B4-BE49-F238E27FC236}">
                  <a16:creationId xmlns:a16="http://schemas.microsoft.com/office/drawing/2014/main" id="{39FDFF90-5ACF-4D65-81AD-C44D2CBE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70228" y="3063559"/>
              <a:ext cx="644023" cy="704498"/>
            </a:xfrm>
            <a:custGeom>
              <a:avLst/>
              <a:gdLst>
                <a:gd name="T0" fmla="*/ 74 w 1212"/>
                <a:gd name="T1" fmla="*/ 113 h 1326"/>
                <a:gd name="T2" fmla="*/ 60 w 1212"/>
                <a:gd name="T3" fmla="*/ 116 h 1326"/>
                <a:gd name="T4" fmla="*/ 62 w 1212"/>
                <a:gd name="T5" fmla="*/ 110 h 1326"/>
                <a:gd name="T6" fmla="*/ 60 w 1212"/>
                <a:gd name="T7" fmla="*/ 105 h 1326"/>
                <a:gd name="T8" fmla="*/ 52 w 1212"/>
                <a:gd name="T9" fmla="*/ 96 h 1326"/>
                <a:gd name="T10" fmla="*/ 47 w 1212"/>
                <a:gd name="T11" fmla="*/ 98 h 1326"/>
                <a:gd name="T12" fmla="*/ 44 w 1212"/>
                <a:gd name="T13" fmla="*/ 93 h 1326"/>
                <a:gd name="T14" fmla="*/ 40 w 1212"/>
                <a:gd name="T15" fmla="*/ 96 h 1326"/>
                <a:gd name="T16" fmla="*/ 35 w 1212"/>
                <a:gd name="T17" fmla="*/ 102 h 1326"/>
                <a:gd name="T18" fmla="*/ 27 w 1212"/>
                <a:gd name="T19" fmla="*/ 100 h 1326"/>
                <a:gd name="T20" fmla="*/ 23 w 1212"/>
                <a:gd name="T21" fmla="*/ 96 h 1326"/>
                <a:gd name="T22" fmla="*/ 20 w 1212"/>
                <a:gd name="T23" fmla="*/ 90 h 1326"/>
                <a:gd name="T24" fmla="*/ 18 w 1212"/>
                <a:gd name="T25" fmla="*/ 89 h 1326"/>
                <a:gd name="T26" fmla="*/ 18 w 1212"/>
                <a:gd name="T27" fmla="*/ 85 h 1326"/>
                <a:gd name="T28" fmla="*/ 19 w 1212"/>
                <a:gd name="T29" fmla="*/ 83 h 1326"/>
                <a:gd name="T30" fmla="*/ 19 w 1212"/>
                <a:gd name="T31" fmla="*/ 82 h 1326"/>
                <a:gd name="T32" fmla="*/ 20 w 1212"/>
                <a:gd name="T33" fmla="*/ 79 h 1326"/>
                <a:gd name="T34" fmla="*/ 19 w 1212"/>
                <a:gd name="T35" fmla="*/ 75 h 1326"/>
                <a:gd name="T36" fmla="*/ 17 w 1212"/>
                <a:gd name="T37" fmla="*/ 77 h 1326"/>
                <a:gd name="T38" fmla="*/ 14 w 1212"/>
                <a:gd name="T39" fmla="*/ 76 h 1326"/>
                <a:gd name="T40" fmla="*/ 12 w 1212"/>
                <a:gd name="T41" fmla="*/ 71 h 1326"/>
                <a:gd name="T42" fmla="*/ 8 w 1212"/>
                <a:gd name="T43" fmla="*/ 69 h 1326"/>
                <a:gd name="T44" fmla="*/ 0 w 1212"/>
                <a:gd name="T45" fmla="*/ 72 h 1326"/>
                <a:gd name="T46" fmla="*/ 2 w 1212"/>
                <a:gd name="T47" fmla="*/ 67 h 1326"/>
                <a:gd name="T48" fmla="*/ 3 w 1212"/>
                <a:gd name="T49" fmla="*/ 61 h 1326"/>
                <a:gd name="T50" fmla="*/ 4 w 1212"/>
                <a:gd name="T51" fmla="*/ 56 h 1326"/>
                <a:gd name="T52" fmla="*/ 4 w 1212"/>
                <a:gd name="T53" fmla="*/ 52 h 1326"/>
                <a:gd name="T54" fmla="*/ 2 w 1212"/>
                <a:gd name="T55" fmla="*/ 47 h 1326"/>
                <a:gd name="T56" fmla="*/ 2 w 1212"/>
                <a:gd name="T57" fmla="*/ 42 h 1326"/>
                <a:gd name="T58" fmla="*/ 5 w 1212"/>
                <a:gd name="T59" fmla="*/ 39 h 1326"/>
                <a:gd name="T60" fmla="*/ 5 w 1212"/>
                <a:gd name="T61" fmla="*/ 35 h 1326"/>
                <a:gd name="T62" fmla="*/ 7 w 1212"/>
                <a:gd name="T63" fmla="*/ 31 h 1326"/>
                <a:gd name="T64" fmla="*/ 14 w 1212"/>
                <a:gd name="T65" fmla="*/ 31 h 1326"/>
                <a:gd name="T66" fmla="*/ 18 w 1212"/>
                <a:gd name="T67" fmla="*/ 27 h 1326"/>
                <a:gd name="T68" fmla="*/ 22 w 1212"/>
                <a:gd name="T69" fmla="*/ 24 h 1326"/>
                <a:gd name="T70" fmla="*/ 27 w 1212"/>
                <a:gd name="T71" fmla="*/ 20 h 1326"/>
                <a:gd name="T72" fmla="*/ 35 w 1212"/>
                <a:gd name="T73" fmla="*/ 21 h 1326"/>
                <a:gd name="T74" fmla="*/ 61 w 1212"/>
                <a:gd name="T75" fmla="*/ 8 h 1326"/>
                <a:gd name="T76" fmla="*/ 73 w 1212"/>
                <a:gd name="T77" fmla="*/ 4 h 1326"/>
                <a:gd name="T78" fmla="*/ 86 w 1212"/>
                <a:gd name="T79" fmla="*/ 12 h 1326"/>
                <a:gd name="T80" fmla="*/ 92 w 1212"/>
                <a:gd name="T81" fmla="*/ 13 h 1326"/>
                <a:gd name="T82" fmla="*/ 86 w 1212"/>
                <a:gd name="T83" fmla="*/ 18 h 1326"/>
                <a:gd name="T84" fmla="*/ 88 w 1212"/>
                <a:gd name="T85" fmla="*/ 33 h 1326"/>
                <a:gd name="T86" fmla="*/ 97 w 1212"/>
                <a:gd name="T87" fmla="*/ 49 h 1326"/>
                <a:gd name="T88" fmla="*/ 102 w 1212"/>
                <a:gd name="T89" fmla="*/ 57 h 1326"/>
                <a:gd name="T90" fmla="*/ 104 w 1212"/>
                <a:gd name="T91" fmla="*/ 67 h 1326"/>
                <a:gd name="T92" fmla="*/ 101 w 1212"/>
                <a:gd name="T93" fmla="*/ 69 h 1326"/>
                <a:gd name="T94" fmla="*/ 97 w 1212"/>
                <a:gd name="T95" fmla="*/ 69 h 1326"/>
                <a:gd name="T96" fmla="*/ 96 w 1212"/>
                <a:gd name="T97" fmla="*/ 71 h 1326"/>
                <a:gd name="T98" fmla="*/ 93 w 1212"/>
                <a:gd name="T99" fmla="*/ 70 h 1326"/>
                <a:gd name="T100" fmla="*/ 86 w 1212"/>
                <a:gd name="T101" fmla="*/ 69 h 1326"/>
                <a:gd name="T102" fmla="*/ 82 w 1212"/>
                <a:gd name="T103" fmla="*/ 73 h 1326"/>
                <a:gd name="T104" fmla="*/ 79 w 1212"/>
                <a:gd name="T105" fmla="*/ 74 h 1326"/>
                <a:gd name="T106" fmla="*/ 78 w 1212"/>
                <a:gd name="T107" fmla="*/ 79 h 1326"/>
                <a:gd name="T108" fmla="*/ 78 w 1212"/>
                <a:gd name="T109" fmla="*/ 83 h 1326"/>
                <a:gd name="T110" fmla="*/ 82 w 1212"/>
                <a:gd name="T111" fmla="*/ 87 h 1326"/>
                <a:gd name="T112" fmla="*/ 83 w 1212"/>
                <a:gd name="T113" fmla="*/ 90 h 1326"/>
                <a:gd name="T114" fmla="*/ 82 w 1212"/>
                <a:gd name="T115" fmla="*/ 94 h 1326"/>
                <a:gd name="T116" fmla="*/ 82 w 1212"/>
                <a:gd name="T117" fmla="*/ 98 h 1326"/>
                <a:gd name="T118" fmla="*/ 82 w 1212"/>
                <a:gd name="T119" fmla="*/ 104 h 1326"/>
                <a:gd name="T120" fmla="*/ 78 w 1212"/>
                <a:gd name="T121" fmla="*/ 110 h 132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12"/>
                <a:gd name="T184" fmla="*/ 0 h 1326"/>
                <a:gd name="T185" fmla="*/ 1212 w 1212"/>
                <a:gd name="T186" fmla="*/ 1326 h 132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12" h="1326">
                  <a:moveTo>
                    <a:pt x="906" y="1290"/>
                  </a:moveTo>
                  <a:lnTo>
                    <a:pt x="906" y="1296"/>
                  </a:lnTo>
                  <a:lnTo>
                    <a:pt x="900" y="1296"/>
                  </a:lnTo>
                  <a:lnTo>
                    <a:pt x="876" y="1290"/>
                  </a:lnTo>
                  <a:lnTo>
                    <a:pt x="870" y="1290"/>
                  </a:lnTo>
                  <a:lnTo>
                    <a:pt x="864" y="1296"/>
                  </a:lnTo>
                  <a:lnTo>
                    <a:pt x="852" y="1296"/>
                  </a:lnTo>
                  <a:lnTo>
                    <a:pt x="840" y="1302"/>
                  </a:lnTo>
                  <a:lnTo>
                    <a:pt x="834" y="1308"/>
                  </a:lnTo>
                  <a:lnTo>
                    <a:pt x="822" y="1320"/>
                  </a:lnTo>
                  <a:lnTo>
                    <a:pt x="816" y="1320"/>
                  </a:lnTo>
                  <a:lnTo>
                    <a:pt x="732" y="1320"/>
                  </a:lnTo>
                  <a:lnTo>
                    <a:pt x="696" y="1320"/>
                  </a:lnTo>
                  <a:lnTo>
                    <a:pt x="690" y="1326"/>
                  </a:lnTo>
                  <a:lnTo>
                    <a:pt x="678" y="1326"/>
                  </a:lnTo>
                  <a:lnTo>
                    <a:pt x="672" y="1308"/>
                  </a:lnTo>
                  <a:lnTo>
                    <a:pt x="696" y="1302"/>
                  </a:lnTo>
                  <a:lnTo>
                    <a:pt x="708" y="1296"/>
                  </a:lnTo>
                  <a:lnTo>
                    <a:pt x="720" y="1284"/>
                  </a:lnTo>
                  <a:lnTo>
                    <a:pt x="714" y="1278"/>
                  </a:lnTo>
                  <a:lnTo>
                    <a:pt x="714" y="1266"/>
                  </a:lnTo>
                  <a:lnTo>
                    <a:pt x="708" y="1260"/>
                  </a:lnTo>
                  <a:lnTo>
                    <a:pt x="708" y="1254"/>
                  </a:lnTo>
                  <a:lnTo>
                    <a:pt x="708" y="1248"/>
                  </a:lnTo>
                  <a:lnTo>
                    <a:pt x="702" y="1236"/>
                  </a:lnTo>
                  <a:lnTo>
                    <a:pt x="702" y="1230"/>
                  </a:lnTo>
                  <a:lnTo>
                    <a:pt x="702" y="1218"/>
                  </a:lnTo>
                  <a:lnTo>
                    <a:pt x="696" y="1200"/>
                  </a:lnTo>
                  <a:lnTo>
                    <a:pt x="696" y="1182"/>
                  </a:lnTo>
                  <a:lnTo>
                    <a:pt x="666" y="1182"/>
                  </a:lnTo>
                  <a:lnTo>
                    <a:pt x="672" y="1134"/>
                  </a:lnTo>
                  <a:lnTo>
                    <a:pt x="666" y="1128"/>
                  </a:lnTo>
                  <a:lnTo>
                    <a:pt x="660" y="1092"/>
                  </a:lnTo>
                  <a:lnTo>
                    <a:pt x="654" y="1098"/>
                  </a:lnTo>
                  <a:lnTo>
                    <a:pt x="594" y="1098"/>
                  </a:lnTo>
                  <a:lnTo>
                    <a:pt x="576" y="1098"/>
                  </a:lnTo>
                  <a:lnTo>
                    <a:pt x="570" y="1104"/>
                  </a:lnTo>
                  <a:lnTo>
                    <a:pt x="564" y="1110"/>
                  </a:lnTo>
                  <a:lnTo>
                    <a:pt x="558" y="1110"/>
                  </a:lnTo>
                  <a:lnTo>
                    <a:pt x="552" y="1110"/>
                  </a:lnTo>
                  <a:lnTo>
                    <a:pt x="546" y="1110"/>
                  </a:lnTo>
                  <a:lnTo>
                    <a:pt x="546" y="1116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10" y="1128"/>
                  </a:lnTo>
                  <a:lnTo>
                    <a:pt x="522" y="1104"/>
                  </a:lnTo>
                  <a:lnTo>
                    <a:pt x="510" y="1098"/>
                  </a:lnTo>
                  <a:lnTo>
                    <a:pt x="510" y="1074"/>
                  </a:lnTo>
                  <a:lnTo>
                    <a:pt x="504" y="1068"/>
                  </a:lnTo>
                  <a:lnTo>
                    <a:pt x="498" y="1068"/>
                  </a:lnTo>
                  <a:lnTo>
                    <a:pt x="492" y="1068"/>
                  </a:lnTo>
                  <a:lnTo>
                    <a:pt x="474" y="1080"/>
                  </a:lnTo>
                  <a:lnTo>
                    <a:pt x="474" y="1086"/>
                  </a:lnTo>
                  <a:lnTo>
                    <a:pt x="474" y="1092"/>
                  </a:lnTo>
                  <a:lnTo>
                    <a:pt x="468" y="1098"/>
                  </a:lnTo>
                  <a:lnTo>
                    <a:pt x="462" y="1104"/>
                  </a:lnTo>
                  <a:lnTo>
                    <a:pt x="456" y="1110"/>
                  </a:lnTo>
                  <a:lnTo>
                    <a:pt x="456" y="1122"/>
                  </a:lnTo>
                  <a:lnTo>
                    <a:pt x="456" y="1128"/>
                  </a:lnTo>
                  <a:lnTo>
                    <a:pt x="450" y="1140"/>
                  </a:lnTo>
                  <a:lnTo>
                    <a:pt x="444" y="1146"/>
                  </a:lnTo>
                  <a:lnTo>
                    <a:pt x="426" y="1170"/>
                  </a:lnTo>
                  <a:lnTo>
                    <a:pt x="408" y="1176"/>
                  </a:lnTo>
                  <a:lnTo>
                    <a:pt x="402" y="1170"/>
                  </a:lnTo>
                  <a:lnTo>
                    <a:pt x="396" y="1170"/>
                  </a:lnTo>
                  <a:lnTo>
                    <a:pt x="396" y="1158"/>
                  </a:lnTo>
                  <a:lnTo>
                    <a:pt x="384" y="1152"/>
                  </a:lnTo>
                  <a:lnTo>
                    <a:pt x="372" y="1140"/>
                  </a:lnTo>
                  <a:lnTo>
                    <a:pt x="354" y="1140"/>
                  </a:lnTo>
                  <a:lnTo>
                    <a:pt x="306" y="1146"/>
                  </a:lnTo>
                  <a:lnTo>
                    <a:pt x="294" y="1134"/>
                  </a:lnTo>
                  <a:lnTo>
                    <a:pt x="294" y="1128"/>
                  </a:lnTo>
                  <a:lnTo>
                    <a:pt x="288" y="1122"/>
                  </a:lnTo>
                  <a:lnTo>
                    <a:pt x="276" y="1122"/>
                  </a:lnTo>
                  <a:lnTo>
                    <a:pt x="276" y="1110"/>
                  </a:lnTo>
                  <a:lnTo>
                    <a:pt x="276" y="1104"/>
                  </a:lnTo>
                  <a:lnTo>
                    <a:pt x="270" y="1098"/>
                  </a:lnTo>
                  <a:lnTo>
                    <a:pt x="264" y="1086"/>
                  </a:lnTo>
                  <a:lnTo>
                    <a:pt x="264" y="1074"/>
                  </a:lnTo>
                  <a:lnTo>
                    <a:pt x="258" y="1068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34" y="1038"/>
                  </a:lnTo>
                  <a:lnTo>
                    <a:pt x="228" y="1038"/>
                  </a:lnTo>
                  <a:lnTo>
                    <a:pt x="222" y="1038"/>
                  </a:lnTo>
                  <a:lnTo>
                    <a:pt x="216" y="1038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0"/>
                  </a:lnTo>
                  <a:lnTo>
                    <a:pt x="204" y="1014"/>
                  </a:lnTo>
                  <a:lnTo>
                    <a:pt x="204" y="1008"/>
                  </a:lnTo>
                  <a:lnTo>
                    <a:pt x="198" y="1002"/>
                  </a:lnTo>
                  <a:lnTo>
                    <a:pt x="198" y="996"/>
                  </a:lnTo>
                  <a:lnTo>
                    <a:pt x="198" y="990"/>
                  </a:lnTo>
                  <a:lnTo>
                    <a:pt x="204" y="990"/>
                  </a:lnTo>
                  <a:lnTo>
                    <a:pt x="204" y="984"/>
                  </a:lnTo>
                  <a:lnTo>
                    <a:pt x="210" y="978"/>
                  </a:lnTo>
                  <a:lnTo>
                    <a:pt x="210" y="972"/>
                  </a:lnTo>
                  <a:lnTo>
                    <a:pt x="210" y="966"/>
                  </a:lnTo>
                  <a:lnTo>
                    <a:pt x="216" y="960"/>
                  </a:lnTo>
                  <a:lnTo>
                    <a:pt x="216" y="954"/>
                  </a:lnTo>
                  <a:lnTo>
                    <a:pt x="210" y="954"/>
                  </a:lnTo>
                  <a:lnTo>
                    <a:pt x="204" y="954"/>
                  </a:lnTo>
                  <a:lnTo>
                    <a:pt x="216" y="954"/>
                  </a:lnTo>
                  <a:lnTo>
                    <a:pt x="216" y="948"/>
                  </a:lnTo>
                  <a:lnTo>
                    <a:pt x="210" y="948"/>
                  </a:lnTo>
                  <a:lnTo>
                    <a:pt x="210" y="942"/>
                  </a:lnTo>
                  <a:lnTo>
                    <a:pt x="216" y="942"/>
                  </a:lnTo>
                  <a:lnTo>
                    <a:pt x="222" y="942"/>
                  </a:lnTo>
                  <a:lnTo>
                    <a:pt x="222" y="936"/>
                  </a:lnTo>
                  <a:lnTo>
                    <a:pt x="216" y="936"/>
                  </a:lnTo>
                  <a:lnTo>
                    <a:pt x="210" y="936"/>
                  </a:lnTo>
                  <a:lnTo>
                    <a:pt x="210" y="930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22" y="918"/>
                  </a:lnTo>
                  <a:lnTo>
                    <a:pt x="228" y="912"/>
                  </a:lnTo>
                  <a:lnTo>
                    <a:pt x="228" y="906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2" y="888"/>
                  </a:lnTo>
                  <a:lnTo>
                    <a:pt x="222" y="882"/>
                  </a:lnTo>
                  <a:lnTo>
                    <a:pt x="222" y="876"/>
                  </a:lnTo>
                  <a:lnTo>
                    <a:pt x="222" y="858"/>
                  </a:lnTo>
                  <a:lnTo>
                    <a:pt x="216" y="858"/>
                  </a:lnTo>
                  <a:lnTo>
                    <a:pt x="216" y="852"/>
                  </a:lnTo>
                  <a:lnTo>
                    <a:pt x="210" y="852"/>
                  </a:lnTo>
                  <a:lnTo>
                    <a:pt x="210" y="840"/>
                  </a:lnTo>
                  <a:lnTo>
                    <a:pt x="198" y="840"/>
                  </a:lnTo>
                  <a:lnTo>
                    <a:pt x="198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0" y="894"/>
                  </a:lnTo>
                  <a:lnTo>
                    <a:pt x="180" y="906"/>
                  </a:lnTo>
                  <a:lnTo>
                    <a:pt x="156" y="912"/>
                  </a:lnTo>
                  <a:lnTo>
                    <a:pt x="156" y="894"/>
                  </a:lnTo>
                  <a:lnTo>
                    <a:pt x="156" y="882"/>
                  </a:lnTo>
                  <a:lnTo>
                    <a:pt x="156" y="876"/>
                  </a:lnTo>
                  <a:lnTo>
                    <a:pt x="150" y="876"/>
                  </a:lnTo>
                  <a:lnTo>
                    <a:pt x="144" y="876"/>
                  </a:lnTo>
                  <a:lnTo>
                    <a:pt x="138" y="870"/>
                  </a:lnTo>
                  <a:lnTo>
                    <a:pt x="132" y="864"/>
                  </a:lnTo>
                  <a:lnTo>
                    <a:pt x="138" y="840"/>
                  </a:lnTo>
                  <a:lnTo>
                    <a:pt x="132" y="840"/>
                  </a:lnTo>
                  <a:lnTo>
                    <a:pt x="138" y="810"/>
                  </a:lnTo>
                  <a:lnTo>
                    <a:pt x="144" y="804"/>
                  </a:lnTo>
                  <a:lnTo>
                    <a:pt x="144" y="798"/>
                  </a:lnTo>
                  <a:lnTo>
                    <a:pt x="156" y="798"/>
                  </a:lnTo>
                  <a:lnTo>
                    <a:pt x="156" y="792"/>
                  </a:lnTo>
                  <a:lnTo>
                    <a:pt x="120" y="792"/>
                  </a:lnTo>
                  <a:lnTo>
                    <a:pt x="108" y="786"/>
                  </a:lnTo>
                  <a:lnTo>
                    <a:pt x="96" y="786"/>
                  </a:lnTo>
                  <a:lnTo>
                    <a:pt x="96" y="780"/>
                  </a:lnTo>
                  <a:lnTo>
                    <a:pt x="78" y="780"/>
                  </a:lnTo>
                  <a:lnTo>
                    <a:pt x="72" y="804"/>
                  </a:lnTo>
                  <a:lnTo>
                    <a:pt x="60" y="816"/>
                  </a:lnTo>
                  <a:lnTo>
                    <a:pt x="36" y="828"/>
                  </a:lnTo>
                  <a:lnTo>
                    <a:pt x="18" y="840"/>
                  </a:lnTo>
                  <a:lnTo>
                    <a:pt x="0" y="822"/>
                  </a:lnTo>
                  <a:lnTo>
                    <a:pt x="6" y="816"/>
                  </a:lnTo>
                  <a:lnTo>
                    <a:pt x="12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18" y="786"/>
                  </a:lnTo>
                  <a:lnTo>
                    <a:pt x="24" y="780"/>
                  </a:lnTo>
                  <a:lnTo>
                    <a:pt x="24" y="768"/>
                  </a:lnTo>
                  <a:lnTo>
                    <a:pt x="24" y="762"/>
                  </a:lnTo>
                  <a:lnTo>
                    <a:pt x="24" y="750"/>
                  </a:lnTo>
                  <a:lnTo>
                    <a:pt x="36" y="714"/>
                  </a:lnTo>
                  <a:lnTo>
                    <a:pt x="36" y="708"/>
                  </a:lnTo>
                  <a:lnTo>
                    <a:pt x="42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6" y="690"/>
                  </a:lnTo>
                  <a:lnTo>
                    <a:pt x="42" y="684"/>
                  </a:lnTo>
                  <a:lnTo>
                    <a:pt x="42" y="672"/>
                  </a:lnTo>
                  <a:lnTo>
                    <a:pt x="42" y="666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48" y="648"/>
                  </a:lnTo>
                  <a:lnTo>
                    <a:pt x="54" y="642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54" y="612"/>
                  </a:lnTo>
                  <a:lnTo>
                    <a:pt x="48" y="606"/>
                  </a:lnTo>
                  <a:lnTo>
                    <a:pt x="48" y="600"/>
                  </a:lnTo>
                  <a:lnTo>
                    <a:pt x="42" y="600"/>
                  </a:lnTo>
                  <a:lnTo>
                    <a:pt x="36" y="594"/>
                  </a:lnTo>
                  <a:lnTo>
                    <a:pt x="36" y="588"/>
                  </a:lnTo>
                  <a:lnTo>
                    <a:pt x="30" y="582"/>
                  </a:lnTo>
                  <a:lnTo>
                    <a:pt x="30" y="570"/>
                  </a:lnTo>
                  <a:lnTo>
                    <a:pt x="18" y="552"/>
                  </a:lnTo>
                  <a:lnTo>
                    <a:pt x="18" y="546"/>
                  </a:lnTo>
                  <a:lnTo>
                    <a:pt x="18" y="540"/>
                  </a:lnTo>
                  <a:lnTo>
                    <a:pt x="18" y="528"/>
                  </a:lnTo>
                  <a:lnTo>
                    <a:pt x="18" y="522"/>
                  </a:lnTo>
                  <a:lnTo>
                    <a:pt x="24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30" y="474"/>
                  </a:lnTo>
                  <a:lnTo>
                    <a:pt x="36" y="474"/>
                  </a:lnTo>
                  <a:lnTo>
                    <a:pt x="42" y="468"/>
                  </a:lnTo>
                  <a:lnTo>
                    <a:pt x="48" y="468"/>
                  </a:lnTo>
                  <a:lnTo>
                    <a:pt x="48" y="462"/>
                  </a:lnTo>
                  <a:lnTo>
                    <a:pt x="48" y="456"/>
                  </a:lnTo>
                  <a:lnTo>
                    <a:pt x="54" y="450"/>
                  </a:lnTo>
                  <a:lnTo>
                    <a:pt x="60" y="438"/>
                  </a:lnTo>
                  <a:lnTo>
                    <a:pt x="54" y="438"/>
                  </a:lnTo>
                  <a:lnTo>
                    <a:pt x="54" y="432"/>
                  </a:ln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54" y="402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6" y="384"/>
                  </a:lnTo>
                  <a:lnTo>
                    <a:pt x="72" y="372"/>
                  </a:lnTo>
                  <a:lnTo>
                    <a:pt x="78" y="366"/>
                  </a:lnTo>
                  <a:lnTo>
                    <a:pt x="84" y="360"/>
                  </a:lnTo>
                  <a:lnTo>
                    <a:pt x="102" y="360"/>
                  </a:lnTo>
                  <a:lnTo>
                    <a:pt x="114" y="36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8" y="360"/>
                  </a:lnTo>
                  <a:lnTo>
                    <a:pt x="156" y="360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74" y="342"/>
                  </a:lnTo>
                  <a:lnTo>
                    <a:pt x="180" y="342"/>
                  </a:lnTo>
                  <a:lnTo>
                    <a:pt x="186" y="336"/>
                  </a:lnTo>
                  <a:lnTo>
                    <a:pt x="192" y="330"/>
                  </a:lnTo>
                  <a:lnTo>
                    <a:pt x="204" y="312"/>
                  </a:lnTo>
                  <a:lnTo>
                    <a:pt x="210" y="312"/>
                  </a:lnTo>
                  <a:lnTo>
                    <a:pt x="216" y="306"/>
                  </a:lnTo>
                  <a:lnTo>
                    <a:pt x="216" y="300"/>
                  </a:lnTo>
                  <a:lnTo>
                    <a:pt x="222" y="288"/>
                  </a:lnTo>
                  <a:lnTo>
                    <a:pt x="234" y="288"/>
                  </a:lnTo>
                  <a:lnTo>
                    <a:pt x="240" y="282"/>
                  </a:lnTo>
                  <a:lnTo>
                    <a:pt x="246" y="282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70" y="270"/>
                  </a:lnTo>
                  <a:lnTo>
                    <a:pt x="276" y="264"/>
                  </a:lnTo>
                  <a:lnTo>
                    <a:pt x="282" y="26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8" y="234"/>
                  </a:lnTo>
                  <a:lnTo>
                    <a:pt x="330" y="234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72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14" y="240"/>
                  </a:lnTo>
                  <a:lnTo>
                    <a:pt x="444" y="216"/>
                  </a:lnTo>
                  <a:lnTo>
                    <a:pt x="480" y="204"/>
                  </a:lnTo>
                  <a:lnTo>
                    <a:pt x="600" y="150"/>
                  </a:lnTo>
                  <a:lnTo>
                    <a:pt x="648" y="126"/>
                  </a:lnTo>
                  <a:lnTo>
                    <a:pt x="702" y="96"/>
                  </a:lnTo>
                  <a:lnTo>
                    <a:pt x="708" y="54"/>
                  </a:lnTo>
                  <a:lnTo>
                    <a:pt x="720" y="24"/>
                  </a:lnTo>
                  <a:lnTo>
                    <a:pt x="738" y="12"/>
                  </a:lnTo>
                  <a:lnTo>
                    <a:pt x="768" y="0"/>
                  </a:lnTo>
                  <a:lnTo>
                    <a:pt x="792" y="6"/>
                  </a:lnTo>
                  <a:lnTo>
                    <a:pt x="804" y="12"/>
                  </a:lnTo>
                  <a:lnTo>
                    <a:pt x="834" y="48"/>
                  </a:lnTo>
                  <a:lnTo>
                    <a:pt x="834" y="60"/>
                  </a:lnTo>
                  <a:lnTo>
                    <a:pt x="852" y="84"/>
                  </a:lnTo>
                  <a:lnTo>
                    <a:pt x="864" y="96"/>
                  </a:lnTo>
                  <a:lnTo>
                    <a:pt x="888" y="102"/>
                  </a:lnTo>
                  <a:lnTo>
                    <a:pt x="978" y="120"/>
                  </a:lnTo>
                  <a:lnTo>
                    <a:pt x="984" y="126"/>
                  </a:lnTo>
                  <a:lnTo>
                    <a:pt x="984" y="132"/>
                  </a:lnTo>
                  <a:lnTo>
                    <a:pt x="996" y="138"/>
                  </a:lnTo>
                  <a:lnTo>
                    <a:pt x="1038" y="126"/>
                  </a:lnTo>
                  <a:lnTo>
                    <a:pt x="1056" y="114"/>
                  </a:lnTo>
                  <a:lnTo>
                    <a:pt x="1068" y="126"/>
                  </a:lnTo>
                  <a:lnTo>
                    <a:pt x="1074" y="132"/>
                  </a:lnTo>
                  <a:lnTo>
                    <a:pt x="1068" y="138"/>
                  </a:lnTo>
                  <a:lnTo>
                    <a:pt x="1056" y="150"/>
                  </a:lnTo>
                  <a:lnTo>
                    <a:pt x="1038" y="162"/>
                  </a:lnTo>
                  <a:lnTo>
                    <a:pt x="1038" y="168"/>
                  </a:lnTo>
                  <a:lnTo>
                    <a:pt x="1020" y="174"/>
                  </a:lnTo>
                  <a:lnTo>
                    <a:pt x="1014" y="180"/>
                  </a:lnTo>
                  <a:lnTo>
                    <a:pt x="1008" y="186"/>
                  </a:lnTo>
                  <a:lnTo>
                    <a:pt x="1002" y="198"/>
                  </a:lnTo>
                  <a:lnTo>
                    <a:pt x="984" y="204"/>
                  </a:lnTo>
                  <a:lnTo>
                    <a:pt x="984" y="246"/>
                  </a:lnTo>
                  <a:lnTo>
                    <a:pt x="978" y="270"/>
                  </a:lnTo>
                  <a:lnTo>
                    <a:pt x="990" y="306"/>
                  </a:lnTo>
                  <a:lnTo>
                    <a:pt x="990" y="324"/>
                  </a:lnTo>
                  <a:lnTo>
                    <a:pt x="1002" y="336"/>
                  </a:lnTo>
                  <a:lnTo>
                    <a:pt x="1020" y="372"/>
                  </a:lnTo>
                  <a:lnTo>
                    <a:pt x="1014" y="378"/>
                  </a:lnTo>
                  <a:lnTo>
                    <a:pt x="1014" y="384"/>
                  </a:lnTo>
                  <a:lnTo>
                    <a:pt x="1020" y="384"/>
                  </a:lnTo>
                  <a:lnTo>
                    <a:pt x="1020" y="396"/>
                  </a:lnTo>
                  <a:lnTo>
                    <a:pt x="1062" y="468"/>
                  </a:lnTo>
                  <a:lnTo>
                    <a:pt x="1092" y="522"/>
                  </a:lnTo>
                  <a:lnTo>
                    <a:pt x="1110" y="546"/>
                  </a:lnTo>
                  <a:lnTo>
                    <a:pt x="1122" y="564"/>
                  </a:lnTo>
                  <a:lnTo>
                    <a:pt x="1134" y="576"/>
                  </a:lnTo>
                  <a:lnTo>
                    <a:pt x="1146" y="582"/>
                  </a:lnTo>
                  <a:lnTo>
                    <a:pt x="1146" y="588"/>
                  </a:lnTo>
                  <a:lnTo>
                    <a:pt x="1164" y="600"/>
                  </a:lnTo>
                  <a:lnTo>
                    <a:pt x="1170" y="612"/>
                  </a:lnTo>
                  <a:lnTo>
                    <a:pt x="1170" y="624"/>
                  </a:lnTo>
                  <a:lnTo>
                    <a:pt x="1176" y="654"/>
                  </a:lnTo>
                  <a:lnTo>
                    <a:pt x="1176" y="666"/>
                  </a:lnTo>
                  <a:lnTo>
                    <a:pt x="1182" y="684"/>
                  </a:lnTo>
                  <a:lnTo>
                    <a:pt x="1194" y="696"/>
                  </a:lnTo>
                  <a:lnTo>
                    <a:pt x="1212" y="696"/>
                  </a:lnTo>
                  <a:lnTo>
                    <a:pt x="1206" y="762"/>
                  </a:lnTo>
                  <a:lnTo>
                    <a:pt x="1200" y="768"/>
                  </a:lnTo>
                  <a:lnTo>
                    <a:pt x="1194" y="768"/>
                  </a:lnTo>
                  <a:lnTo>
                    <a:pt x="1194" y="774"/>
                  </a:lnTo>
                  <a:lnTo>
                    <a:pt x="1188" y="774"/>
                  </a:lnTo>
                  <a:lnTo>
                    <a:pt x="1182" y="780"/>
                  </a:lnTo>
                  <a:lnTo>
                    <a:pt x="1176" y="780"/>
                  </a:lnTo>
                  <a:lnTo>
                    <a:pt x="1170" y="780"/>
                  </a:lnTo>
                  <a:lnTo>
                    <a:pt x="1164" y="786"/>
                  </a:lnTo>
                  <a:lnTo>
                    <a:pt x="1158" y="786"/>
                  </a:lnTo>
                  <a:lnTo>
                    <a:pt x="1152" y="786"/>
                  </a:lnTo>
                  <a:lnTo>
                    <a:pt x="1140" y="786"/>
                  </a:lnTo>
                  <a:lnTo>
                    <a:pt x="1134" y="786"/>
                  </a:lnTo>
                  <a:lnTo>
                    <a:pt x="1134" y="780"/>
                  </a:lnTo>
                  <a:lnTo>
                    <a:pt x="1122" y="780"/>
                  </a:lnTo>
                  <a:lnTo>
                    <a:pt x="1116" y="786"/>
                  </a:lnTo>
                  <a:lnTo>
                    <a:pt x="1116" y="792"/>
                  </a:lnTo>
                  <a:lnTo>
                    <a:pt x="1122" y="804"/>
                  </a:lnTo>
                  <a:lnTo>
                    <a:pt x="1128" y="804"/>
                  </a:lnTo>
                  <a:lnTo>
                    <a:pt x="1128" y="816"/>
                  </a:lnTo>
                  <a:lnTo>
                    <a:pt x="1122" y="822"/>
                  </a:lnTo>
                  <a:lnTo>
                    <a:pt x="1116" y="816"/>
                  </a:lnTo>
                  <a:lnTo>
                    <a:pt x="1110" y="816"/>
                  </a:lnTo>
                  <a:lnTo>
                    <a:pt x="1104" y="816"/>
                  </a:lnTo>
                  <a:lnTo>
                    <a:pt x="1098" y="816"/>
                  </a:lnTo>
                  <a:lnTo>
                    <a:pt x="1098" y="822"/>
                  </a:lnTo>
                  <a:lnTo>
                    <a:pt x="1092" y="834"/>
                  </a:lnTo>
                  <a:lnTo>
                    <a:pt x="1092" y="840"/>
                  </a:lnTo>
                  <a:lnTo>
                    <a:pt x="1074" y="840"/>
                  </a:lnTo>
                  <a:lnTo>
                    <a:pt x="1074" y="828"/>
                  </a:lnTo>
                  <a:lnTo>
                    <a:pt x="1062" y="804"/>
                  </a:lnTo>
                  <a:lnTo>
                    <a:pt x="1056" y="792"/>
                  </a:lnTo>
                  <a:lnTo>
                    <a:pt x="1056" y="786"/>
                  </a:lnTo>
                  <a:lnTo>
                    <a:pt x="1026" y="780"/>
                  </a:lnTo>
                  <a:lnTo>
                    <a:pt x="1026" y="768"/>
                  </a:lnTo>
                  <a:lnTo>
                    <a:pt x="1008" y="768"/>
                  </a:lnTo>
                  <a:lnTo>
                    <a:pt x="1002" y="780"/>
                  </a:lnTo>
                  <a:lnTo>
                    <a:pt x="996" y="792"/>
                  </a:lnTo>
                  <a:lnTo>
                    <a:pt x="978" y="798"/>
                  </a:lnTo>
                  <a:lnTo>
                    <a:pt x="972" y="810"/>
                  </a:lnTo>
                  <a:lnTo>
                    <a:pt x="972" y="822"/>
                  </a:lnTo>
                  <a:lnTo>
                    <a:pt x="978" y="828"/>
                  </a:lnTo>
                  <a:lnTo>
                    <a:pt x="978" y="834"/>
                  </a:lnTo>
                  <a:lnTo>
                    <a:pt x="960" y="840"/>
                  </a:lnTo>
                  <a:lnTo>
                    <a:pt x="936" y="840"/>
                  </a:lnTo>
                  <a:lnTo>
                    <a:pt x="918" y="846"/>
                  </a:lnTo>
                  <a:lnTo>
                    <a:pt x="912" y="840"/>
                  </a:lnTo>
                  <a:lnTo>
                    <a:pt x="912" y="834"/>
                  </a:lnTo>
                  <a:lnTo>
                    <a:pt x="906" y="834"/>
                  </a:lnTo>
                  <a:lnTo>
                    <a:pt x="906" y="840"/>
                  </a:lnTo>
                  <a:lnTo>
                    <a:pt x="900" y="846"/>
                  </a:lnTo>
                  <a:lnTo>
                    <a:pt x="906" y="852"/>
                  </a:lnTo>
                  <a:lnTo>
                    <a:pt x="900" y="864"/>
                  </a:lnTo>
                  <a:lnTo>
                    <a:pt x="900" y="876"/>
                  </a:lnTo>
                  <a:lnTo>
                    <a:pt x="900" y="882"/>
                  </a:lnTo>
                  <a:lnTo>
                    <a:pt x="894" y="888"/>
                  </a:lnTo>
                  <a:lnTo>
                    <a:pt x="900" y="900"/>
                  </a:lnTo>
                  <a:lnTo>
                    <a:pt x="900" y="906"/>
                  </a:lnTo>
                  <a:lnTo>
                    <a:pt x="894" y="906"/>
                  </a:lnTo>
                  <a:lnTo>
                    <a:pt x="894" y="912"/>
                  </a:lnTo>
                  <a:lnTo>
                    <a:pt x="900" y="918"/>
                  </a:lnTo>
                  <a:lnTo>
                    <a:pt x="900" y="924"/>
                  </a:lnTo>
                  <a:lnTo>
                    <a:pt x="900" y="948"/>
                  </a:lnTo>
                  <a:lnTo>
                    <a:pt x="888" y="948"/>
                  </a:lnTo>
                  <a:lnTo>
                    <a:pt x="888" y="954"/>
                  </a:lnTo>
                  <a:lnTo>
                    <a:pt x="894" y="954"/>
                  </a:lnTo>
                  <a:lnTo>
                    <a:pt x="900" y="960"/>
                  </a:lnTo>
                  <a:lnTo>
                    <a:pt x="900" y="972"/>
                  </a:lnTo>
                  <a:lnTo>
                    <a:pt x="906" y="984"/>
                  </a:lnTo>
                  <a:lnTo>
                    <a:pt x="912" y="984"/>
                  </a:lnTo>
                  <a:lnTo>
                    <a:pt x="918" y="990"/>
                  </a:lnTo>
                  <a:lnTo>
                    <a:pt x="936" y="990"/>
                  </a:lnTo>
                  <a:lnTo>
                    <a:pt x="936" y="996"/>
                  </a:lnTo>
                  <a:lnTo>
                    <a:pt x="942" y="996"/>
                  </a:lnTo>
                  <a:lnTo>
                    <a:pt x="942" y="1002"/>
                  </a:lnTo>
                  <a:lnTo>
                    <a:pt x="942" y="1008"/>
                  </a:lnTo>
                  <a:lnTo>
                    <a:pt x="948" y="1008"/>
                  </a:lnTo>
                  <a:lnTo>
                    <a:pt x="948" y="1014"/>
                  </a:lnTo>
                  <a:lnTo>
                    <a:pt x="948" y="1020"/>
                  </a:lnTo>
                  <a:lnTo>
                    <a:pt x="954" y="1032"/>
                  </a:lnTo>
                  <a:lnTo>
                    <a:pt x="948" y="1038"/>
                  </a:lnTo>
                  <a:lnTo>
                    <a:pt x="954" y="1044"/>
                  </a:lnTo>
                  <a:lnTo>
                    <a:pt x="954" y="1056"/>
                  </a:lnTo>
                  <a:lnTo>
                    <a:pt x="960" y="1056"/>
                  </a:lnTo>
                  <a:lnTo>
                    <a:pt x="960" y="1062"/>
                  </a:lnTo>
                  <a:lnTo>
                    <a:pt x="954" y="1068"/>
                  </a:lnTo>
                  <a:lnTo>
                    <a:pt x="948" y="1074"/>
                  </a:lnTo>
                  <a:lnTo>
                    <a:pt x="948" y="1080"/>
                  </a:lnTo>
                  <a:lnTo>
                    <a:pt x="948" y="1086"/>
                  </a:lnTo>
                  <a:lnTo>
                    <a:pt x="942" y="1092"/>
                  </a:lnTo>
                  <a:lnTo>
                    <a:pt x="942" y="1098"/>
                  </a:lnTo>
                  <a:lnTo>
                    <a:pt x="942" y="1104"/>
                  </a:lnTo>
                  <a:lnTo>
                    <a:pt x="942" y="1110"/>
                  </a:lnTo>
                  <a:lnTo>
                    <a:pt x="936" y="1116"/>
                  </a:lnTo>
                  <a:lnTo>
                    <a:pt x="936" y="1122"/>
                  </a:lnTo>
                  <a:lnTo>
                    <a:pt x="936" y="1128"/>
                  </a:lnTo>
                  <a:lnTo>
                    <a:pt x="936" y="1134"/>
                  </a:lnTo>
                  <a:lnTo>
                    <a:pt x="942" y="1146"/>
                  </a:lnTo>
                  <a:lnTo>
                    <a:pt x="936" y="1158"/>
                  </a:lnTo>
                  <a:lnTo>
                    <a:pt x="936" y="1170"/>
                  </a:lnTo>
                  <a:lnTo>
                    <a:pt x="936" y="1194"/>
                  </a:lnTo>
                  <a:lnTo>
                    <a:pt x="930" y="1200"/>
                  </a:lnTo>
                  <a:lnTo>
                    <a:pt x="930" y="1212"/>
                  </a:lnTo>
                  <a:lnTo>
                    <a:pt x="918" y="1218"/>
                  </a:lnTo>
                  <a:lnTo>
                    <a:pt x="918" y="1230"/>
                  </a:lnTo>
                  <a:lnTo>
                    <a:pt x="906" y="1230"/>
                  </a:lnTo>
                  <a:lnTo>
                    <a:pt x="900" y="1254"/>
                  </a:lnTo>
                  <a:lnTo>
                    <a:pt x="900" y="1260"/>
                  </a:lnTo>
                  <a:lnTo>
                    <a:pt x="900" y="1266"/>
                  </a:lnTo>
                  <a:lnTo>
                    <a:pt x="900" y="1272"/>
                  </a:lnTo>
                  <a:lnTo>
                    <a:pt x="900" y="1278"/>
                  </a:lnTo>
                  <a:lnTo>
                    <a:pt x="900" y="1284"/>
                  </a:lnTo>
                  <a:lnTo>
                    <a:pt x="906" y="129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1" name="Freeform 26">
              <a:extLst>
                <a:ext uri="{FF2B5EF4-FFF2-40B4-BE49-F238E27FC236}">
                  <a16:creationId xmlns:a16="http://schemas.microsoft.com/office/drawing/2014/main" id="{25725EFE-FE00-49A8-A87A-6752B785C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79173" y="3477313"/>
              <a:ext cx="650731" cy="559125"/>
            </a:xfrm>
            <a:custGeom>
              <a:avLst/>
              <a:gdLst>
                <a:gd name="T0" fmla="*/ 95 w 1224"/>
                <a:gd name="T1" fmla="*/ 89 h 1050"/>
                <a:gd name="T2" fmla="*/ 90 w 1224"/>
                <a:gd name="T3" fmla="*/ 84 h 1050"/>
                <a:gd name="T4" fmla="*/ 84 w 1224"/>
                <a:gd name="T5" fmla="*/ 83 h 1050"/>
                <a:gd name="T6" fmla="*/ 82 w 1224"/>
                <a:gd name="T7" fmla="*/ 80 h 1050"/>
                <a:gd name="T8" fmla="*/ 85 w 1224"/>
                <a:gd name="T9" fmla="*/ 77 h 1050"/>
                <a:gd name="T10" fmla="*/ 81 w 1224"/>
                <a:gd name="T11" fmla="*/ 76 h 1050"/>
                <a:gd name="T12" fmla="*/ 77 w 1224"/>
                <a:gd name="T13" fmla="*/ 77 h 1050"/>
                <a:gd name="T14" fmla="*/ 78 w 1224"/>
                <a:gd name="T15" fmla="*/ 73 h 1050"/>
                <a:gd name="T16" fmla="*/ 59 w 1224"/>
                <a:gd name="T17" fmla="*/ 71 h 1050"/>
                <a:gd name="T18" fmla="*/ 41 w 1224"/>
                <a:gd name="T19" fmla="*/ 73 h 1050"/>
                <a:gd name="T20" fmla="*/ 33 w 1224"/>
                <a:gd name="T21" fmla="*/ 71 h 1050"/>
                <a:gd name="T22" fmla="*/ 30 w 1224"/>
                <a:gd name="T23" fmla="*/ 75 h 1050"/>
                <a:gd name="T24" fmla="*/ 27 w 1224"/>
                <a:gd name="T25" fmla="*/ 80 h 1050"/>
                <a:gd name="T26" fmla="*/ 12 w 1224"/>
                <a:gd name="T27" fmla="*/ 81 h 1050"/>
                <a:gd name="T28" fmla="*/ 9 w 1224"/>
                <a:gd name="T29" fmla="*/ 84 h 1050"/>
                <a:gd name="T30" fmla="*/ 6 w 1224"/>
                <a:gd name="T31" fmla="*/ 83 h 1050"/>
                <a:gd name="T32" fmla="*/ 1 w 1224"/>
                <a:gd name="T33" fmla="*/ 83 h 1050"/>
                <a:gd name="T34" fmla="*/ 3 w 1224"/>
                <a:gd name="T35" fmla="*/ 77 h 1050"/>
                <a:gd name="T36" fmla="*/ 5 w 1224"/>
                <a:gd name="T37" fmla="*/ 70 h 1050"/>
                <a:gd name="T38" fmla="*/ 2 w 1224"/>
                <a:gd name="T39" fmla="*/ 65 h 1050"/>
                <a:gd name="T40" fmla="*/ 3 w 1224"/>
                <a:gd name="T41" fmla="*/ 58 h 1050"/>
                <a:gd name="T42" fmla="*/ 4 w 1224"/>
                <a:gd name="T43" fmla="*/ 51 h 1050"/>
                <a:gd name="T44" fmla="*/ 3 w 1224"/>
                <a:gd name="T45" fmla="*/ 47 h 1050"/>
                <a:gd name="T46" fmla="*/ 4 w 1224"/>
                <a:gd name="T47" fmla="*/ 39 h 1050"/>
                <a:gd name="T48" fmla="*/ 6 w 1224"/>
                <a:gd name="T49" fmla="*/ 29 h 1050"/>
                <a:gd name="T50" fmla="*/ 3 w 1224"/>
                <a:gd name="T51" fmla="*/ 22 h 1050"/>
                <a:gd name="T52" fmla="*/ 2 w 1224"/>
                <a:gd name="T53" fmla="*/ 14 h 1050"/>
                <a:gd name="T54" fmla="*/ 0 w 1224"/>
                <a:gd name="T55" fmla="*/ 6 h 1050"/>
                <a:gd name="T56" fmla="*/ 9 w 1224"/>
                <a:gd name="T57" fmla="*/ 1 h 1050"/>
                <a:gd name="T58" fmla="*/ 11 w 1224"/>
                <a:gd name="T59" fmla="*/ 8 h 1050"/>
                <a:gd name="T60" fmla="*/ 15 w 1224"/>
                <a:gd name="T61" fmla="*/ 9 h 1050"/>
                <a:gd name="T62" fmla="*/ 18 w 1224"/>
                <a:gd name="T63" fmla="*/ 8 h 1050"/>
                <a:gd name="T64" fmla="*/ 18 w 1224"/>
                <a:gd name="T65" fmla="*/ 13 h 1050"/>
                <a:gd name="T66" fmla="*/ 17 w 1224"/>
                <a:gd name="T67" fmla="*/ 15 h 1050"/>
                <a:gd name="T68" fmla="*/ 17 w 1224"/>
                <a:gd name="T69" fmla="*/ 17 h 1050"/>
                <a:gd name="T70" fmla="*/ 17 w 1224"/>
                <a:gd name="T71" fmla="*/ 21 h 1050"/>
                <a:gd name="T72" fmla="*/ 21 w 1224"/>
                <a:gd name="T73" fmla="*/ 25 h 1050"/>
                <a:gd name="T74" fmla="*/ 24 w 1224"/>
                <a:gd name="T75" fmla="*/ 31 h 1050"/>
                <a:gd name="T76" fmla="*/ 35 w 1224"/>
                <a:gd name="T77" fmla="*/ 34 h 1050"/>
                <a:gd name="T78" fmla="*/ 40 w 1224"/>
                <a:gd name="T79" fmla="*/ 27 h 1050"/>
                <a:gd name="T80" fmla="*/ 46 w 1224"/>
                <a:gd name="T81" fmla="*/ 30 h 1050"/>
                <a:gd name="T82" fmla="*/ 51 w 1224"/>
                <a:gd name="T83" fmla="*/ 27 h 1050"/>
                <a:gd name="T84" fmla="*/ 59 w 1224"/>
                <a:gd name="T85" fmla="*/ 39 h 1050"/>
                <a:gd name="T86" fmla="*/ 59 w 1224"/>
                <a:gd name="T87" fmla="*/ 45 h 1050"/>
                <a:gd name="T88" fmla="*/ 72 w 1224"/>
                <a:gd name="T89" fmla="*/ 45 h 1050"/>
                <a:gd name="T90" fmla="*/ 79 w 1224"/>
                <a:gd name="T91" fmla="*/ 44 h 1050"/>
                <a:gd name="T92" fmla="*/ 87 w 1224"/>
                <a:gd name="T93" fmla="*/ 48 h 1050"/>
                <a:gd name="T94" fmla="*/ 93 w 1224"/>
                <a:gd name="T95" fmla="*/ 50 h 1050"/>
                <a:gd name="T96" fmla="*/ 98 w 1224"/>
                <a:gd name="T97" fmla="*/ 51 h 1050"/>
                <a:gd name="T98" fmla="*/ 106 w 1224"/>
                <a:gd name="T99" fmla="*/ 50 h 1050"/>
                <a:gd name="T100" fmla="*/ 104 w 1224"/>
                <a:gd name="T101" fmla="*/ 54 h 1050"/>
                <a:gd name="T102" fmla="*/ 104 w 1224"/>
                <a:gd name="T103" fmla="*/ 60 h 1050"/>
                <a:gd name="T104" fmla="*/ 101 w 1224"/>
                <a:gd name="T105" fmla="*/ 63 h 1050"/>
                <a:gd name="T106" fmla="*/ 98 w 1224"/>
                <a:gd name="T107" fmla="*/ 66 h 1050"/>
                <a:gd name="T108" fmla="*/ 95 w 1224"/>
                <a:gd name="T109" fmla="*/ 68 h 1050"/>
                <a:gd name="T110" fmla="*/ 93 w 1224"/>
                <a:gd name="T111" fmla="*/ 72 h 1050"/>
                <a:gd name="T112" fmla="*/ 98 w 1224"/>
                <a:gd name="T113" fmla="*/ 75 h 1050"/>
                <a:gd name="T114" fmla="*/ 102 w 1224"/>
                <a:gd name="T115" fmla="*/ 77 h 1050"/>
                <a:gd name="T116" fmla="*/ 107 w 1224"/>
                <a:gd name="T117" fmla="*/ 76 h 1050"/>
                <a:gd name="T118" fmla="*/ 104 w 1224"/>
                <a:gd name="T119" fmla="*/ 84 h 1050"/>
                <a:gd name="T120" fmla="*/ 103 w 1224"/>
                <a:gd name="T121" fmla="*/ 87 h 1050"/>
                <a:gd name="T122" fmla="*/ 104 w 1224"/>
                <a:gd name="T123" fmla="*/ 91 h 105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24"/>
                <a:gd name="T187" fmla="*/ 0 h 1050"/>
                <a:gd name="T188" fmla="*/ 1224 w 1224"/>
                <a:gd name="T189" fmla="*/ 1050 h 105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24" h="1050">
                  <a:moveTo>
                    <a:pt x="1128" y="1032"/>
                  </a:moveTo>
                  <a:lnTo>
                    <a:pt x="1122" y="1026"/>
                  </a:lnTo>
                  <a:lnTo>
                    <a:pt x="1116" y="1026"/>
                  </a:lnTo>
                  <a:lnTo>
                    <a:pt x="1110" y="1026"/>
                  </a:lnTo>
                  <a:lnTo>
                    <a:pt x="1104" y="1026"/>
                  </a:lnTo>
                  <a:lnTo>
                    <a:pt x="1104" y="1020"/>
                  </a:lnTo>
                  <a:lnTo>
                    <a:pt x="1098" y="1020"/>
                  </a:lnTo>
                  <a:lnTo>
                    <a:pt x="1092" y="1020"/>
                  </a:lnTo>
                  <a:lnTo>
                    <a:pt x="1086" y="1020"/>
                  </a:lnTo>
                  <a:lnTo>
                    <a:pt x="1080" y="1014"/>
                  </a:lnTo>
                  <a:lnTo>
                    <a:pt x="1068" y="1014"/>
                  </a:lnTo>
                  <a:lnTo>
                    <a:pt x="1062" y="1014"/>
                  </a:lnTo>
                  <a:lnTo>
                    <a:pt x="1062" y="1008"/>
                  </a:lnTo>
                  <a:lnTo>
                    <a:pt x="1062" y="990"/>
                  </a:lnTo>
                  <a:lnTo>
                    <a:pt x="1062" y="984"/>
                  </a:lnTo>
                  <a:lnTo>
                    <a:pt x="1062" y="972"/>
                  </a:lnTo>
                  <a:lnTo>
                    <a:pt x="1044" y="966"/>
                  </a:lnTo>
                  <a:lnTo>
                    <a:pt x="1026" y="966"/>
                  </a:lnTo>
                  <a:lnTo>
                    <a:pt x="1014" y="966"/>
                  </a:lnTo>
                  <a:lnTo>
                    <a:pt x="996" y="966"/>
                  </a:lnTo>
                  <a:lnTo>
                    <a:pt x="996" y="972"/>
                  </a:lnTo>
                  <a:lnTo>
                    <a:pt x="990" y="972"/>
                  </a:lnTo>
                  <a:lnTo>
                    <a:pt x="984" y="966"/>
                  </a:lnTo>
                  <a:lnTo>
                    <a:pt x="978" y="966"/>
                  </a:lnTo>
                  <a:lnTo>
                    <a:pt x="978" y="960"/>
                  </a:lnTo>
                  <a:lnTo>
                    <a:pt x="972" y="954"/>
                  </a:lnTo>
                  <a:lnTo>
                    <a:pt x="966" y="954"/>
                  </a:lnTo>
                  <a:lnTo>
                    <a:pt x="960" y="954"/>
                  </a:lnTo>
                  <a:lnTo>
                    <a:pt x="954" y="954"/>
                  </a:lnTo>
                  <a:lnTo>
                    <a:pt x="954" y="948"/>
                  </a:lnTo>
                  <a:lnTo>
                    <a:pt x="942" y="942"/>
                  </a:lnTo>
                  <a:lnTo>
                    <a:pt x="936" y="942"/>
                  </a:lnTo>
                  <a:lnTo>
                    <a:pt x="936" y="936"/>
                  </a:lnTo>
                  <a:lnTo>
                    <a:pt x="936" y="930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42" y="918"/>
                  </a:lnTo>
                  <a:lnTo>
                    <a:pt x="948" y="918"/>
                  </a:lnTo>
                  <a:lnTo>
                    <a:pt x="960" y="918"/>
                  </a:lnTo>
                  <a:lnTo>
                    <a:pt x="966" y="912"/>
                  </a:lnTo>
                  <a:lnTo>
                    <a:pt x="978" y="906"/>
                  </a:lnTo>
                  <a:lnTo>
                    <a:pt x="978" y="900"/>
                  </a:lnTo>
                  <a:lnTo>
                    <a:pt x="978" y="894"/>
                  </a:lnTo>
                  <a:lnTo>
                    <a:pt x="978" y="888"/>
                  </a:lnTo>
                  <a:lnTo>
                    <a:pt x="972" y="888"/>
                  </a:lnTo>
                  <a:lnTo>
                    <a:pt x="978" y="888"/>
                  </a:lnTo>
                  <a:lnTo>
                    <a:pt x="978" y="882"/>
                  </a:lnTo>
                  <a:lnTo>
                    <a:pt x="972" y="876"/>
                  </a:lnTo>
                  <a:lnTo>
                    <a:pt x="966" y="870"/>
                  </a:lnTo>
                  <a:lnTo>
                    <a:pt x="954" y="876"/>
                  </a:lnTo>
                  <a:lnTo>
                    <a:pt x="948" y="876"/>
                  </a:lnTo>
                  <a:lnTo>
                    <a:pt x="942" y="870"/>
                  </a:lnTo>
                  <a:lnTo>
                    <a:pt x="936" y="876"/>
                  </a:lnTo>
                  <a:lnTo>
                    <a:pt x="930" y="876"/>
                  </a:lnTo>
                  <a:lnTo>
                    <a:pt x="924" y="882"/>
                  </a:lnTo>
                  <a:lnTo>
                    <a:pt x="912" y="888"/>
                  </a:lnTo>
                  <a:lnTo>
                    <a:pt x="906" y="894"/>
                  </a:lnTo>
                  <a:lnTo>
                    <a:pt x="900" y="900"/>
                  </a:lnTo>
                  <a:lnTo>
                    <a:pt x="894" y="888"/>
                  </a:lnTo>
                  <a:lnTo>
                    <a:pt x="888" y="894"/>
                  </a:lnTo>
                  <a:lnTo>
                    <a:pt x="882" y="888"/>
                  </a:lnTo>
                  <a:lnTo>
                    <a:pt x="876" y="894"/>
                  </a:lnTo>
                  <a:lnTo>
                    <a:pt x="876" y="888"/>
                  </a:lnTo>
                  <a:lnTo>
                    <a:pt x="876" y="882"/>
                  </a:lnTo>
                  <a:lnTo>
                    <a:pt x="876" y="876"/>
                  </a:lnTo>
                  <a:lnTo>
                    <a:pt x="870" y="858"/>
                  </a:lnTo>
                  <a:lnTo>
                    <a:pt x="864" y="858"/>
                  </a:lnTo>
                  <a:lnTo>
                    <a:pt x="870" y="852"/>
                  </a:lnTo>
                  <a:lnTo>
                    <a:pt x="870" y="846"/>
                  </a:lnTo>
                  <a:lnTo>
                    <a:pt x="876" y="846"/>
                  </a:lnTo>
                  <a:lnTo>
                    <a:pt x="882" y="846"/>
                  </a:lnTo>
                  <a:lnTo>
                    <a:pt x="888" y="840"/>
                  </a:lnTo>
                  <a:lnTo>
                    <a:pt x="894" y="834"/>
                  </a:lnTo>
                  <a:lnTo>
                    <a:pt x="894" y="828"/>
                  </a:lnTo>
                  <a:lnTo>
                    <a:pt x="894" y="816"/>
                  </a:lnTo>
                  <a:lnTo>
                    <a:pt x="858" y="810"/>
                  </a:lnTo>
                  <a:lnTo>
                    <a:pt x="858" y="816"/>
                  </a:lnTo>
                  <a:lnTo>
                    <a:pt x="852" y="816"/>
                  </a:lnTo>
                  <a:lnTo>
                    <a:pt x="780" y="816"/>
                  </a:lnTo>
                  <a:lnTo>
                    <a:pt x="750" y="816"/>
                  </a:lnTo>
                  <a:lnTo>
                    <a:pt x="684" y="816"/>
                  </a:lnTo>
                  <a:lnTo>
                    <a:pt x="636" y="816"/>
                  </a:lnTo>
                  <a:lnTo>
                    <a:pt x="612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0" y="816"/>
                  </a:lnTo>
                  <a:lnTo>
                    <a:pt x="480" y="822"/>
                  </a:lnTo>
                  <a:lnTo>
                    <a:pt x="480" y="834"/>
                  </a:lnTo>
                  <a:lnTo>
                    <a:pt x="474" y="840"/>
                  </a:lnTo>
                  <a:lnTo>
                    <a:pt x="468" y="840"/>
                  </a:lnTo>
                  <a:lnTo>
                    <a:pt x="432" y="840"/>
                  </a:lnTo>
                  <a:lnTo>
                    <a:pt x="426" y="834"/>
                  </a:lnTo>
                  <a:lnTo>
                    <a:pt x="420" y="834"/>
                  </a:lnTo>
                  <a:lnTo>
                    <a:pt x="420" y="828"/>
                  </a:lnTo>
                  <a:lnTo>
                    <a:pt x="414" y="822"/>
                  </a:lnTo>
                  <a:lnTo>
                    <a:pt x="408" y="822"/>
                  </a:lnTo>
                  <a:lnTo>
                    <a:pt x="396" y="822"/>
                  </a:lnTo>
                  <a:lnTo>
                    <a:pt x="396" y="816"/>
                  </a:lnTo>
                  <a:lnTo>
                    <a:pt x="384" y="816"/>
                  </a:lnTo>
                  <a:lnTo>
                    <a:pt x="372" y="810"/>
                  </a:lnTo>
                  <a:lnTo>
                    <a:pt x="372" y="804"/>
                  </a:lnTo>
                  <a:lnTo>
                    <a:pt x="366" y="804"/>
                  </a:lnTo>
                  <a:lnTo>
                    <a:pt x="360" y="804"/>
                  </a:lnTo>
                  <a:lnTo>
                    <a:pt x="348" y="828"/>
                  </a:lnTo>
                  <a:lnTo>
                    <a:pt x="348" y="834"/>
                  </a:lnTo>
                  <a:lnTo>
                    <a:pt x="348" y="852"/>
                  </a:lnTo>
                  <a:lnTo>
                    <a:pt x="348" y="858"/>
                  </a:lnTo>
                  <a:lnTo>
                    <a:pt x="342" y="864"/>
                  </a:lnTo>
                  <a:lnTo>
                    <a:pt x="342" y="870"/>
                  </a:lnTo>
                  <a:lnTo>
                    <a:pt x="330" y="876"/>
                  </a:lnTo>
                  <a:lnTo>
                    <a:pt x="324" y="888"/>
                  </a:lnTo>
                  <a:lnTo>
                    <a:pt x="324" y="894"/>
                  </a:lnTo>
                  <a:lnTo>
                    <a:pt x="330" y="900"/>
                  </a:lnTo>
                  <a:lnTo>
                    <a:pt x="330" y="906"/>
                  </a:lnTo>
                  <a:lnTo>
                    <a:pt x="324" y="906"/>
                  </a:lnTo>
                  <a:lnTo>
                    <a:pt x="318" y="912"/>
                  </a:lnTo>
                  <a:lnTo>
                    <a:pt x="312" y="918"/>
                  </a:lnTo>
                  <a:lnTo>
                    <a:pt x="306" y="924"/>
                  </a:lnTo>
                  <a:lnTo>
                    <a:pt x="288" y="924"/>
                  </a:lnTo>
                  <a:lnTo>
                    <a:pt x="282" y="924"/>
                  </a:lnTo>
                  <a:lnTo>
                    <a:pt x="276" y="930"/>
                  </a:lnTo>
                  <a:lnTo>
                    <a:pt x="270" y="930"/>
                  </a:lnTo>
                  <a:lnTo>
                    <a:pt x="264" y="930"/>
                  </a:lnTo>
                  <a:lnTo>
                    <a:pt x="198" y="930"/>
                  </a:lnTo>
                  <a:lnTo>
                    <a:pt x="132" y="930"/>
                  </a:lnTo>
                  <a:lnTo>
                    <a:pt x="132" y="936"/>
                  </a:lnTo>
                  <a:lnTo>
                    <a:pt x="132" y="942"/>
                  </a:lnTo>
                  <a:lnTo>
                    <a:pt x="132" y="948"/>
                  </a:lnTo>
                  <a:lnTo>
                    <a:pt x="126" y="948"/>
                  </a:lnTo>
                  <a:lnTo>
                    <a:pt x="120" y="948"/>
                  </a:lnTo>
                  <a:lnTo>
                    <a:pt x="120" y="954"/>
                  </a:lnTo>
                  <a:lnTo>
                    <a:pt x="114" y="954"/>
                  </a:lnTo>
                  <a:lnTo>
                    <a:pt x="114" y="960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02" y="966"/>
                  </a:lnTo>
                  <a:lnTo>
                    <a:pt x="102" y="972"/>
                  </a:lnTo>
                  <a:lnTo>
                    <a:pt x="96" y="972"/>
                  </a:lnTo>
                  <a:lnTo>
                    <a:pt x="96" y="966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78" y="960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60"/>
                  </a:lnTo>
                  <a:lnTo>
                    <a:pt x="54" y="966"/>
                  </a:lnTo>
                  <a:lnTo>
                    <a:pt x="48" y="966"/>
                  </a:lnTo>
                  <a:lnTo>
                    <a:pt x="42" y="966"/>
                  </a:lnTo>
                  <a:lnTo>
                    <a:pt x="36" y="966"/>
                  </a:lnTo>
                  <a:lnTo>
                    <a:pt x="30" y="966"/>
                  </a:lnTo>
                  <a:lnTo>
                    <a:pt x="24" y="960"/>
                  </a:lnTo>
                  <a:lnTo>
                    <a:pt x="18" y="960"/>
                  </a:lnTo>
                  <a:lnTo>
                    <a:pt x="12" y="960"/>
                  </a:lnTo>
                  <a:lnTo>
                    <a:pt x="12" y="948"/>
                  </a:lnTo>
                  <a:lnTo>
                    <a:pt x="18" y="942"/>
                  </a:lnTo>
                  <a:lnTo>
                    <a:pt x="18" y="936"/>
                  </a:lnTo>
                  <a:lnTo>
                    <a:pt x="18" y="930"/>
                  </a:lnTo>
                  <a:lnTo>
                    <a:pt x="18" y="924"/>
                  </a:lnTo>
                  <a:lnTo>
                    <a:pt x="18" y="912"/>
                  </a:lnTo>
                  <a:lnTo>
                    <a:pt x="24" y="906"/>
                  </a:lnTo>
                  <a:lnTo>
                    <a:pt x="30" y="900"/>
                  </a:lnTo>
                  <a:lnTo>
                    <a:pt x="36" y="894"/>
                  </a:lnTo>
                  <a:lnTo>
                    <a:pt x="36" y="882"/>
                  </a:lnTo>
                  <a:lnTo>
                    <a:pt x="30" y="876"/>
                  </a:lnTo>
                  <a:lnTo>
                    <a:pt x="30" y="870"/>
                  </a:lnTo>
                  <a:lnTo>
                    <a:pt x="24" y="858"/>
                  </a:lnTo>
                  <a:lnTo>
                    <a:pt x="24" y="846"/>
                  </a:lnTo>
                  <a:lnTo>
                    <a:pt x="36" y="822"/>
                  </a:lnTo>
                  <a:lnTo>
                    <a:pt x="42" y="816"/>
                  </a:lnTo>
                  <a:lnTo>
                    <a:pt x="48" y="816"/>
                  </a:lnTo>
                  <a:lnTo>
                    <a:pt x="60" y="804"/>
                  </a:lnTo>
                  <a:lnTo>
                    <a:pt x="60" y="786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54" y="762"/>
                  </a:lnTo>
                  <a:lnTo>
                    <a:pt x="42" y="762"/>
                  </a:lnTo>
                  <a:lnTo>
                    <a:pt x="36" y="762"/>
                  </a:lnTo>
                  <a:lnTo>
                    <a:pt x="30" y="762"/>
                  </a:lnTo>
                  <a:lnTo>
                    <a:pt x="30" y="756"/>
                  </a:lnTo>
                  <a:lnTo>
                    <a:pt x="24" y="750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702"/>
                  </a:lnTo>
                  <a:lnTo>
                    <a:pt x="36" y="684"/>
                  </a:lnTo>
                  <a:lnTo>
                    <a:pt x="36" y="678"/>
                  </a:lnTo>
                  <a:lnTo>
                    <a:pt x="36" y="666"/>
                  </a:lnTo>
                  <a:lnTo>
                    <a:pt x="36" y="654"/>
                  </a:lnTo>
                  <a:lnTo>
                    <a:pt x="18" y="654"/>
                  </a:lnTo>
                  <a:lnTo>
                    <a:pt x="18" y="648"/>
                  </a:lnTo>
                  <a:lnTo>
                    <a:pt x="18" y="618"/>
                  </a:lnTo>
                  <a:lnTo>
                    <a:pt x="18" y="612"/>
                  </a:lnTo>
                  <a:lnTo>
                    <a:pt x="24" y="612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54" y="588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76"/>
                  </a:lnTo>
                  <a:lnTo>
                    <a:pt x="48" y="564"/>
                  </a:lnTo>
                  <a:lnTo>
                    <a:pt x="42" y="564"/>
                  </a:lnTo>
                  <a:lnTo>
                    <a:pt x="36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6" y="540"/>
                  </a:lnTo>
                  <a:lnTo>
                    <a:pt x="48" y="534"/>
                  </a:lnTo>
                  <a:lnTo>
                    <a:pt x="54" y="528"/>
                  </a:lnTo>
                  <a:lnTo>
                    <a:pt x="60" y="504"/>
                  </a:lnTo>
                  <a:lnTo>
                    <a:pt x="60" y="492"/>
                  </a:lnTo>
                  <a:lnTo>
                    <a:pt x="54" y="492"/>
                  </a:lnTo>
                  <a:lnTo>
                    <a:pt x="54" y="480"/>
                  </a:lnTo>
                  <a:lnTo>
                    <a:pt x="48" y="456"/>
                  </a:lnTo>
                  <a:lnTo>
                    <a:pt x="42" y="450"/>
                  </a:lnTo>
                  <a:lnTo>
                    <a:pt x="36" y="444"/>
                  </a:lnTo>
                  <a:lnTo>
                    <a:pt x="36" y="420"/>
                  </a:lnTo>
                  <a:lnTo>
                    <a:pt x="36" y="408"/>
                  </a:lnTo>
                  <a:lnTo>
                    <a:pt x="36" y="37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60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6" y="300"/>
                  </a:lnTo>
                  <a:lnTo>
                    <a:pt x="60" y="294"/>
                  </a:lnTo>
                  <a:lnTo>
                    <a:pt x="60" y="288"/>
                  </a:lnTo>
                  <a:lnTo>
                    <a:pt x="54" y="282"/>
                  </a:lnTo>
                  <a:lnTo>
                    <a:pt x="42" y="276"/>
                  </a:lnTo>
                  <a:lnTo>
                    <a:pt x="36" y="276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0" y="252"/>
                  </a:lnTo>
                  <a:lnTo>
                    <a:pt x="24" y="246"/>
                  </a:lnTo>
                  <a:lnTo>
                    <a:pt x="24" y="240"/>
                  </a:lnTo>
                  <a:lnTo>
                    <a:pt x="24" y="228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62"/>
                  </a:lnTo>
                  <a:lnTo>
                    <a:pt x="24" y="144"/>
                  </a:lnTo>
                  <a:lnTo>
                    <a:pt x="24" y="132"/>
                  </a:lnTo>
                  <a:lnTo>
                    <a:pt x="24" y="114"/>
                  </a:lnTo>
                  <a:lnTo>
                    <a:pt x="24" y="102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18" y="48"/>
                  </a:lnTo>
                  <a:lnTo>
                    <a:pt x="42" y="36"/>
                  </a:lnTo>
                  <a:lnTo>
                    <a:pt x="54" y="24"/>
                  </a:lnTo>
                  <a:lnTo>
                    <a:pt x="60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10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14" y="60"/>
                  </a:lnTo>
                  <a:lnTo>
                    <a:pt x="120" y="60"/>
                  </a:lnTo>
                  <a:lnTo>
                    <a:pt x="114" y="84"/>
                  </a:lnTo>
                  <a:lnTo>
                    <a:pt x="120" y="90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38" y="114"/>
                  </a:lnTo>
                  <a:lnTo>
                    <a:pt x="138" y="132"/>
                  </a:lnTo>
                  <a:lnTo>
                    <a:pt x="162" y="126"/>
                  </a:lnTo>
                  <a:lnTo>
                    <a:pt x="162" y="114"/>
                  </a:lnTo>
                  <a:lnTo>
                    <a:pt x="174" y="108"/>
                  </a:lnTo>
                  <a:lnTo>
                    <a:pt x="174" y="102"/>
                  </a:lnTo>
                  <a:lnTo>
                    <a:pt x="180" y="96"/>
                  </a:lnTo>
                  <a:lnTo>
                    <a:pt x="180" y="60"/>
                  </a:lnTo>
                  <a:lnTo>
                    <a:pt x="192" y="60"/>
                  </a:lnTo>
                  <a:lnTo>
                    <a:pt x="192" y="72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04" y="108"/>
                  </a:lnTo>
                  <a:lnTo>
                    <a:pt x="204" y="114"/>
                  </a:lnTo>
                  <a:lnTo>
                    <a:pt x="204" y="120"/>
                  </a:lnTo>
                  <a:lnTo>
                    <a:pt x="204" y="126"/>
                  </a:lnTo>
                  <a:lnTo>
                    <a:pt x="210" y="126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8" y="174"/>
                  </a:lnTo>
                  <a:lnTo>
                    <a:pt x="198" y="180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86" y="204"/>
                  </a:lnTo>
                  <a:lnTo>
                    <a:pt x="186" y="210"/>
                  </a:lnTo>
                  <a:lnTo>
                    <a:pt x="180" y="210"/>
                  </a:lnTo>
                  <a:lnTo>
                    <a:pt x="180" y="216"/>
                  </a:lnTo>
                  <a:lnTo>
                    <a:pt x="180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92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8" y="258"/>
                  </a:lnTo>
                  <a:lnTo>
                    <a:pt x="204" y="258"/>
                  </a:lnTo>
                  <a:lnTo>
                    <a:pt x="210" y="258"/>
                  </a:lnTo>
                  <a:lnTo>
                    <a:pt x="216" y="258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34" y="276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46" y="306"/>
                  </a:lnTo>
                  <a:lnTo>
                    <a:pt x="252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42"/>
                  </a:lnTo>
                  <a:lnTo>
                    <a:pt x="270" y="342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88" y="366"/>
                  </a:lnTo>
                  <a:lnTo>
                    <a:pt x="336" y="360"/>
                  </a:lnTo>
                  <a:lnTo>
                    <a:pt x="354" y="360"/>
                  </a:lnTo>
                  <a:lnTo>
                    <a:pt x="366" y="372"/>
                  </a:lnTo>
                  <a:lnTo>
                    <a:pt x="378" y="378"/>
                  </a:lnTo>
                  <a:lnTo>
                    <a:pt x="378" y="390"/>
                  </a:lnTo>
                  <a:lnTo>
                    <a:pt x="384" y="390"/>
                  </a:lnTo>
                  <a:lnTo>
                    <a:pt x="390" y="396"/>
                  </a:lnTo>
                  <a:lnTo>
                    <a:pt x="408" y="390"/>
                  </a:lnTo>
                  <a:lnTo>
                    <a:pt x="426" y="366"/>
                  </a:lnTo>
                  <a:lnTo>
                    <a:pt x="432" y="360"/>
                  </a:lnTo>
                  <a:lnTo>
                    <a:pt x="438" y="348"/>
                  </a:lnTo>
                  <a:lnTo>
                    <a:pt x="438" y="342"/>
                  </a:lnTo>
                  <a:lnTo>
                    <a:pt x="438" y="330"/>
                  </a:lnTo>
                  <a:lnTo>
                    <a:pt x="444" y="324"/>
                  </a:lnTo>
                  <a:lnTo>
                    <a:pt x="450" y="318"/>
                  </a:lnTo>
                  <a:lnTo>
                    <a:pt x="456" y="312"/>
                  </a:lnTo>
                  <a:lnTo>
                    <a:pt x="456" y="306"/>
                  </a:lnTo>
                  <a:lnTo>
                    <a:pt x="456" y="300"/>
                  </a:lnTo>
                  <a:lnTo>
                    <a:pt x="474" y="288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92" y="294"/>
                  </a:lnTo>
                  <a:lnTo>
                    <a:pt x="492" y="318"/>
                  </a:lnTo>
                  <a:lnTo>
                    <a:pt x="504" y="324"/>
                  </a:lnTo>
                  <a:lnTo>
                    <a:pt x="492" y="348"/>
                  </a:lnTo>
                  <a:lnTo>
                    <a:pt x="522" y="348"/>
                  </a:lnTo>
                  <a:lnTo>
                    <a:pt x="528" y="342"/>
                  </a:lnTo>
                  <a:lnTo>
                    <a:pt x="528" y="336"/>
                  </a:lnTo>
                  <a:lnTo>
                    <a:pt x="528" y="330"/>
                  </a:lnTo>
                  <a:lnTo>
                    <a:pt x="534" y="330"/>
                  </a:lnTo>
                  <a:lnTo>
                    <a:pt x="540" y="330"/>
                  </a:lnTo>
                  <a:lnTo>
                    <a:pt x="546" y="330"/>
                  </a:lnTo>
                  <a:lnTo>
                    <a:pt x="552" y="324"/>
                  </a:lnTo>
                  <a:lnTo>
                    <a:pt x="558" y="318"/>
                  </a:lnTo>
                  <a:lnTo>
                    <a:pt x="576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8" y="348"/>
                  </a:lnTo>
                  <a:lnTo>
                    <a:pt x="654" y="354"/>
                  </a:lnTo>
                  <a:lnTo>
                    <a:pt x="648" y="402"/>
                  </a:lnTo>
                  <a:lnTo>
                    <a:pt x="678" y="402"/>
                  </a:lnTo>
                  <a:lnTo>
                    <a:pt x="678" y="420"/>
                  </a:lnTo>
                  <a:lnTo>
                    <a:pt x="684" y="438"/>
                  </a:lnTo>
                  <a:lnTo>
                    <a:pt x="684" y="450"/>
                  </a:lnTo>
                  <a:lnTo>
                    <a:pt x="684" y="456"/>
                  </a:lnTo>
                  <a:lnTo>
                    <a:pt x="690" y="468"/>
                  </a:lnTo>
                  <a:lnTo>
                    <a:pt x="690" y="474"/>
                  </a:lnTo>
                  <a:lnTo>
                    <a:pt x="690" y="480"/>
                  </a:lnTo>
                  <a:lnTo>
                    <a:pt x="696" y="486"/>
                  </a:lnTo>
                  <a:lnTo>
                    <a:pt x="696" y="498"/>
                  </a:lnTo>
                  <a:lnTo>
                    <a:pt x="702" y="504"/>
                  </a:lnTo>
                  <a:lnTo>
                    <a:pt x="690" y="516"/>
                  </a:lnTo>
                  <a:lnTo>
                    <a:pt x="678" y="522"/>
                  </a:lnTo>
                  <a:lnTo>
                    <a:pt x="654" y="528"/>
                  </a:lnTo>
                  <a:lnTo>
                    <a:pt x="660" y="546"/>
                  </a:lnTo>
                  <a:lnTo>
                    <a:pt x="672" y="546"/>
                  </a:lnTo>
                  <a:lnTo>
                    <a:pt x="678" y="540"/>
                  </a:lnTo>
                  <a:lnTo>
                    <a:pt x="714" y="540"/>
                  </a:lnTo>
                  <a:lnTo>
                    <a:pt x="798" y="540"/>
                  </a:lnTo>
                  <a:lnTo>
                    <a:pt x="804" y="540"/>
                  </a:lnTo>
                  <a:lnTo>
                    <a:pt x="816" y="528"/>
                  </a:lnTo>
                  <a:lnTo>
                    <a:pt x="822" y="522"/>
                  </a:lnTo>
                  <a:lnTo>
                    <a:pt x="834" y="516"/>
                  </a:lnTo>
                  <a:lnTo>
                    <a:pt x="846" y="516"/>
                  </a:lnTo>
                  <a:lnTo>
                    <a:pt x="852" y="510"/>
                  </a:lnTo>
                  <a:lnTo>
                    <a:pt x="858" y="510"/>
                  </a:lnTo>
                  <a:lnTo>
                    <a:pt x="882" y="516"/>
                  </a:lnTo>
                  <a:lnTo>
                    <a:pt x="888" y="516"/>
                  </a:lnTo>
                  <a:lnTo>
                    <a:pt x="888" y="510"/>
                  </a:lnTo>
                  <a:lnTo>
                    <a:pt x="894" y="510"/>
                  </a:lnTo>
                  <a:lnTo>
                    <a:pt x="906" y="504"/>
                  </a:lnTo>
                  <a:lnTo>
                    <a:pt x="918" y="498"/>
                  </a:lnTo>
                  <a:lnTo>
                    <a:pt x="930" y="492"/>
                  </a:lnTo>
                  <a:lnTo>
                    <a:pt x="936" y="492"/>
                  </a:lnTo>
                  <a:lnTo>
                    <a:pt x="948" y="492"/>
                  </a:lnTo>
                  <a:lnTo>
                    <a:pt x="954" y="528"/>
                  </a:lnTo>
                  <a:lnTo>
                    <a:pt x="954" y="564"/>
                  </a:lnTo>
                  <a:lnTo>
                    <a:pt x="972" y="564"/>
                  </a:lnTo>
                  <a:lnTo>
                    <a:pt x="978" y="558"/>
                  </a:lnTo>
                  <a:lnTo>
                    <a:pt x="990" y="552"/>
                  </a:lnTo>
                  <a:lnTo>
                    <a:pt x="1002" y="540"/>
                  </a:lnTo>
                  <a:lnTo>
                    <a:pt x="1026" y="534"/>
                  </a:lnTo>
                  <a:lnTo>
                    <a:pt x="1032" y="540"/>
                  </a:lnTo>
                  <a:lnTo>
                    <a:pt x="1044" y="546"/>
                  </a:lnTo>
                  <a:lnTo>
                    <a:pt x="1062" y="552"/>
                  </a:lnTo>
                  <a:lnTo>
                    <a:pt x="1068" y="552"/>
                  </a:lnTo>
                  <a:lnTo>
                    <a:pt x="1068" y="570"/>
                  </a:lnTo>
                  <a:lnTo>
                    <a:pt x="1068" y="576"/>
                  </a:lnTo>
                  <a:lnTo>
                    <a:pt x="1068" y="582"/>
                  </a:lnTo>
                  <a:lnTo>
                    <a:pt x="1068" y="588"/>
                  </a:lnTo>
                  <a:lnTo>
                    <a:pt x="1068" y="594"/>
                  </a:lnTo>
                  <a:lnTo>
                    <a:pt x="1080" y="600"/>
                  </a:lnTo>
                  <a:lnTo>
                    <a:pt x="1086" y="606"/>
                  </a:lnTo>
                  <a:lnTo>
                    <a:pt x="1092" y="594"/>
                  </a:lnTo>
                  <a:lnTo>
                    <a:pt x="1104" y="588"/>
                  </a:lnTo>
                  <a:lnTo>
                    <a:pt x="1116" y="588"/>
                  </a:lnTo>
                  <a:lnTo>
                    <a:pt x="1122" y="588"/>
                  </a:lnTo>
                  <a:lnTo>
                    <a:pt x="1122" y="594"/>
                  </a:lnTo>
                  <a:lnTo>
                    <a:pt x="1128" y="594"/>
                  </a:lnTo>
                  <a:lnTo>
                    <a:pt x="1134" y="594"/>
                  </a:lnTo>
                  <a:lnTo>
                    <a:pt x="1140" y="594"/>
                  </a:lnTo>
                  <a:lnTo>
                    <a:pt x="1146" y="588"/>
                  </a:lnTo>
                  <a:lnTo>
                    <a:pt x="1158" y="582"/>
                  </a:lnTo>
                  <a:lnTo>
                    <a:pt x="1164" y="576"/>
                  </a:lnTo>
                  <a:lnTo>
                    <a:pt x="1176" y="576"/>
                  </a:lnTo>
                  <a:lnTo>
                    <a:pt x="1194" y="576"/>
                  </a:lnTo>
                  <a:lnTo>
                    <a:pt x="1218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24" y="594"/>
                  </a:lnTo>
                  <a:lnTo>
                    <a:pt x="1212" y="600"/>
                  </a:lnTo>
                  <a:lnTo>
                    <a:pt x="1206" y="606"/>
                  </a:lnTo>
                  <a:lnTo>
                    <a:pt x="1200" y="606"/>
                  </a:lnTo>
                  <a:lnTo>
                    <a:pt x="1200" y="612"/>
                  </a:lnTo>
                  <a:lnTo>
                    <a:pt x="1194" y="612"/>
                  </a:lnTo>
                  <a:lnTo>
                    <a:pt x="1194" y="618"/>
                  </a:lnTo>
                  <a:lnTo>
                    <a:pt x="1194" y="624"/>
                  </a:lnTo>
                  <a:lnTo>
                    <a:pt x="1194" y="630"/>
                  </a:lnTo>
                  <a:lnTo>
                    <a:pt x="1194" y="648"/>
                  </a:lnTo>
                  <a:lnTo>
                    <a:pt x="1194" y="660"/>
                  </a:lnTo>
                  <a:lnTo>
                    <a:pt x="1194" y="666"/>
                  </a:lnTo>
                  <a:lnTo>
                    <a:pt x="1194" y="672"/>
                  </a:lnTo>
                  <a:lnTo>
                    <a:pt x="1194" y="678"/>
                  </a:lnTo>
                  <a:lnTo>
                    <a:pt x="1188" y="684"/>
                  </a:lnTo>
                  <a:lnTo>
                    <a:pt x="1188" y="690"/>
                  </a:lnTo>
                  <a:lnTo>
                    <a:pt x="1188" y="696"/>
                  </a:lnTo>
                  <a:lnTo>
                    <a:pt x="1188" y="702"/>
                  </a:lnTo>
                  <a:lnTo>
                    <a:pt x="1188" y="708"/>
                  </a:lnTo>
                  <a:lnTo>
                    <a:pt x="1188" y="714"/>
                  </a:lnTo>
                  <a:lnTo>
                    <a:pt x="1182" y="720"/>
                  </a:lnTo>
                  <a:lnTo>
                    <a:pt x="1170" y="720"/>
                  </a:lnTo>
                  <a:lnTo>
                    <a:pt x="1158" y="726"/>
                  </a:lnTo>
                  <a:lnTo>
                    <a:pt x="1152" y="726"/>
                  </a:lnTo>
                  <a:lnTo>
                    <a:pt x="1152" y="732"/>
                  </a:lnTo>
                  <a:lnTo>
                    <a:pt x="1146" y="738"/>
                  </a:lnTo>
                  <a:lnTo>
                    <a:pt x="1140" y="738"/>
                  </a:lnTo>
                  <a:lnTo>
                    <a:pt x="1140" y="744"/>
                  </a:lnTo>
                  <a:lnTo>
                    <a:pt x="1134" y="744"/>
                  </a:lnTo>
                  <a:lnTo>
                    <a:pt x="1128" y="744"/>
                  </a:lnTo>
                  <a:lnTo>
                    <a:pt x="1122" y="750"/>
                  </a:lnTo>
                  <a:lnTo>
                    <a:pt x="1128" y="750"/>
                  </a:lnTo>
                  <a:lnTo>
                    <a:pt x="1122" y="756"/>
                  </a:lnTo>
                  <a:lnTo>
                    <a:pt x="1116" y="756"/>
                  </a:lnTo>
                  <a:lnTo>
                    <a:pt x="1110" y="762"/>
                  </a:lnTo>
                  <a:lnTo>
                    <a:pt x="1104" y="762"/>
                  </a:lnTo>
                  <a:lnTo>
                    <a:pt x="1104" y="768"/>
                  </a:lnTo>
                  <a:lnTo>
                    <a:pt x="1098" y="768"/>
                  </a:lnTo>
                  <a:lnTo>
                    <a:pt x="1098" y="774"/>
                  </a:lnTo>
                  <a:lnTo>
                    <a:pt x="1092" y="774"/>
                  </a:lnTo>
                  <a:lnTo>
                    <a:pt x="1092" y="780"/>
                  </a:lnTo>
                  <a:lnTo>
                    <a:pt x="1086" y="780"/>
                  </a:lnTo>
                  <a:lnTo>
                    <a:pt x="1086" y="786"/>
                  </a:lnTo>
                  <a:lnTo>
                    <a:pt x="1080" y="786"/>
                  </a:lnTo>
                  <a:lnTo>
                    <a:pt x="1080" y="792"/>
                  </a:lnTo>
                  <a:lnTo>
                    <a:pt x="1080" y="798"/>
                  </a:lnTo>
                  <a:lnTo>
                    <a:pt x="1080" y="804"/>
                  </a:lnTo>
                  <a:lnTo>
                    <a:pt x="1086" y="810"/>
                  </a:lnTo>
                  <a:lnTo>
                    <a:pt x="1080" y="816"/>
                  </a:lnTo>
                  <a:lnTo>
                    <a:pt x="1080" y="822"/>
                  </a:lnTo>
                  <a:lnTo>
                    <a:pt x="1074" y="822"/>
                  </a:lnTo>
                  <a:lnTo>
                    <a:pt x="1068" y="828"/>
                  </a:lnTo>
                  <a:lnTo>
                    <a:pt x="1074" y="828"/>
                  </a:lnTo>
                  <a:lnTo>
                    <a:pt x="1074" y="834"/>
                  </a:lnTo>
                  <a:lnTo>
                    <a:pt x="1080" y="846"/>
                  </a:lnTo>
                  <a:lnTo>
                    <a:pt x="1086" y="846"/>
                  </a:lnTo>
                  <a:lnTo>
                    <a:pt x="1092" y="852"/>
                  </a:lnTo>
                  <a:lnTo>
                    <a:pt x="1092" y="858"/>
                  </a:lnTo>
                  <a:lnTo>
                    <a:pt x="1098" y="858"/>
                  </a:lnTo>
                  <a:lnTo>
                    <a:pt x="1110" y="864"/>
                  </a:lnTo>
                  <a:lnTo>
                    <a:pt x="1116" y="864"/>
                  </a:lnTo>
                  <a:lnTo>
                    <a:pt x="1122" y="864"/>
                  </a:lnTo>
                  <a:lnTo>
                    <a:pt x="1128" y="864"/>
                  </a:lnTo>
                  <a:lnTo>
                    <a:pt x="1134" y="876"/>
                  </a:lnTo>
                  <a:lnTo>
                    <a:pt x="1140" y="882"/>
                  </a:lnTo>
                  <a:lnTo>
                    <a:pt x="1140" y="888"/>
                  </a:lnTo>
                  <a:lnTo>
                    <a:pt x="1152" y="918"/>
                  </a:lnTo>
                  <a:lnTo>
                    <a:pt x="1158" y="894"/>
                  </a:lnTo>
                  <a:lnTo>
                    <a:pt x="1164" y="888"/>
                  </a:lnTo>
                  <a:lnTo>
                    <a:pt x="1164" y="882"/>
                  </a:lnTo>
                  <a:lnTo>
                    <a:pt x="1176" y="864"/>
                  </a:lnTo>
                  <a:lnTo>
                    <a:pt x="1182" y="858"/>
                  </a:lnTo>
                  <a:lnTo>
                    <a:pt x="1188" y="846"/>
                  </a:lnTo>
                  <a:lnTo>
                    <a:pt x="1200" y="840"/>
                  </a:lnTo>
                  <a:lnTo>
                    <a:pt x="1212" y="840"/>
                  </a:lnTo>
                  <a:lnTo>
                    <a:pt x="1218" y="846"/>
                  </a:lnTo>
                  <a:lnTo>
                    <a:pt x="1224" y="858"/>
                  </a:lnTo>
                  <a:lnTo>
                    <a:pt x="1224" y="864"/>
                  </a:lnTo>
                  <a:lnTo>
                    <a:pt x="1224" y="876"/>
                  </a:lnTo>
                  <a:lnTo>
                    <a:pt x="1212" y="912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00" y="930"/>
                  </a:lnTo>
                  <a:lnTo>
                    <a:pt x="1200" y="942"/>
                  </a:lnTo>
                  <a:lnTo>
                    <a:pt x="1194" y="948"/>
                  </a:lnTo>
                  <a:lnTo>
                    <a:pt x="1194" y="960"/>
                  </a:lnTo>
                  <a:lnTo>
                    <a:pt x="1194" y="966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70" y="984"/>
                  </a:lnTo>
                  <a:lnTo>
                    <a:pt x="1164" y="984"/>
                  </a:lnTo>
                  <a:lnTo>
                    <a:pt x="1158" y="984"/>
                  </a:lnTo>
                  <a:lnTo>
                    <a:pt x="1146" y="984"/>
                  </a:lnTo>
                  <a:lnTo>
                    <a:pt x="1140" y="990"/>
                  </a:lnTo>
                  <a:lnTo>
                    <a:pt x="1140" y="996"/>
                  </a:lnTo>
                  <a:lnTo>
                    <a:pt x="1152" y="996"/>
                  </a:lnTo>
                  <a:lnTo>
                    <a:pt x="1176" y="1002"/>
                  </a:lnTo>
                  <a:lnTo>
                    <a:pt x="1194" y="1008"/>
                  </a:lnTo>
                  <a:lnTo>
                    <a:pt x="1206" y="1008"/>
                  </a:lnTo>
                  <a:lnTo>
                    <a:pt x="1218" y="1014"/>
                  </a:lnTo>
                  <a:lnTo>
                    <a:pt x="1212" y="1038"/>
                  </a:lnTo>
                  <a:lnTo>
                    <a:pt x="1212" y="1044"/>
                  </a:lnTo>
                  <a:lnTo>
                    <a:pt x="1206" y="1044"/>
                  </a:lnTo>
                  <a:lnTo>
                    <a:pt x="1206" y="1050"/>
                  </a:lnTo>
                  <a:lnTo>
                    <a:pt x="1194" y="1050"/>
                  </a:lnTo>
                  <a:lnTo>
                    <a:pt x="1188" y="1044"/>
                  </a:lnTo>
                  <a:lnTo>
                    <a:pt x="1158" y="1020"/>
                  </a:lnTo>
                  <a:lnTo>
                    <a:pt x="1152" y="1020"/>
                  </a:lnTo>
                  <a:lnTo>
                    <a:pt x="1140" y="1020"/>
                  </a:lnTo>
                  <a:lnTo>
                    <a:pt x="1134" y="1020"/>
                  </a:lnTo>
                  <a:lnTo>
                    <a:pt x="1134" y="1026"/>
                  </a:lnTo>
                  <a:lnTo>
                    <a:pt x="1134" y="1032"/>
                  </a:lnTo>
                  <a:lnTo>
                    <a:pt x="1128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2" name="Freeform 27">
              <a:extLst>
                <a:ext uri="{FF2B5EF4-FFF2-40B4-BE49-F238E27FC236}">
                  <a16:creationId xmlns:a16="http://schemas.microsoft.com/office/drawing/2014/main" id="{CE95C9DF-B651-4085-946F-65424BC51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2063" y="3421400"/>
              <a:ext cx="342138" cy="377969"/>
            </a:xfrm>
            <a:custGeom>
              <a:avLst/>
              <a:gdLst>
                <a:gd name="T0" fmla="*/ 43 w 642"/>
                <a:gd name="T1" fmla="*/ 41 h 708"/>
                <a:gd name="T2" fmla="*/ 39 w 642"/>
                <a:gd name="T3" fmla="*/ 41 h 708"/>
                <a:gd name="T4" fmla="*/ 38 w 642"/>
                <a:gd name="T5" fmla="*/ 47 h 708"/>
                <a:gd name="T6" fmla="*/ 38 w 642"/>
                <a:gd name="T7" fmla="*/ 49 h 708"/>
                <a:gd name="T8" fmla="*/ 38 w 642"/>
                <a:gd name="T9" fmla="*/ 50 h 708"/>
                <a:gd name="T10" fmla="*/ 36 w 642"/>
                <a:gd name="T11" fmla="*/ 52 h 708"/>
                <a:gd name="T12" fmla="*/ 35 w 642"/>
                <a:gd name="T13" fmla="*/ 53 h 708"/>
                <a:gd name="T14" fmla="*/ 33 w 642"/>
                <a:gd name="T15" fmla="*/ 55 h 708"/>
                <a:gd name="T16" fmla="*/ 32 w 642"/>
                <a:gd name="T17" fmla="*/ 56 h 708"/>
                <a:gd name="T18" fmla="*/ 31 w 642"/>
                <a:gd name="T19" fmla="*/ 59 h 708"/>
                <a:gd name="T20" fmla="*/ 26 w 642"/>
                <a:gd name="T21" fmla="*/ 59 h 708"/>
                <a:gd name="T22" fmla="*/ 23 w 642"/>
                <a:gd name="T23" fmla="*/ 61 h 708"/>
                <a:gd name="T24" fmla="*/ 20 w 642"/>
                <a:gd name="T25" fmla="*/ 61 h 708"/>
                <a:gd name="T26" fmla="*/ 17 w 642"/>
                <a:gd name="T27" fmla="*/ 59 h 708"/>
                <a:gd name="T28" fmla="*/ 15 w 642"/>
                <a:gd name="T29" fmla="*/ 56 h 708"/>
                <a:gd name="T30" fmla="*/ 9 w 642"/>
                <a:gd name="T31" fmla="*/ 58 h 708"/>
                <a:gd name="T32" fmla="*/ 6 w 642"/>
                <a:gd name="T33" fmla="*/ 52 h 708"/>
                <a:gd name="T34" fmla="*/ 2 w 642"/>
                <a:gd name="T35" fmla="*/ 53 h 708"/>
                <a:gd name="T36" fmla="*/ 1 w 642"/>
                <a:gd name="T37" fmla="*/ 51 h 708"/>
                <a:gd name="T38" fmla="*/ 4 w 642"/>
                <a:gd name="T39" fmla="*/ 47 h 708"/>
                <a:gd name="T40" fmla="*/ 5 w 642"/>
                <a:gd name="T41" fmla="*/ 41 h 708"/>
                <a:gd name="T42" fmla="*/ 5 w 642"/>
                <a:gd name="T43" fmla="*/ 38 h 708"/>
                <a:gd name="T44" fmla="*/ 5 w 642"/>
                <a:gd name="T45" fmla="*/ 35 h 708"/>
                <a:gd name="T46" fmla="*/ 6 w 642"/>
                <a:gd name="T47" fmla="*/ 33 h 708"/>
                <a:gd name="T48" fmla="*/ 5 w 642"/>
                <a:gd name="T49" fmla="*/ 29 h 708"/>
                <a:gd name="T50" fmla="*/ 4 w 642"/>
                <a:gd name="T51" fmla="*/ 28 h 708"/>
                <a:gd name="T52" fmla="*/ 1 w 642"/>
                <a:gd name="T53" fmla="*/ 26 h 708"/>
                <a:gd name="T54" fmla="*/ 1 w 642"/>
                <a:gd name="T55" fmla="*/ 24 h 708"/>
                <a:gd name="T56" fmla="*/ 1 w 642"/>
                <a:gd name="T57" fmla="*/ 20 h 708"/>
                <a:gd name="T58" fmla="*/ 1 w 642"/>
                <a:gd name="T59" fmla="*/ 16 h 708"/>
                <a:gd name="T60" fmla="*/ 2 w 642"/>
                <a:gd name="T61" fmla="*/ 14 h 708"/>
                <a:gd name="T62" fmla="*/ 8 w 642"/>
                <a:gd name="T63" fmla="*/ 14 h 708"/>
                <a:gd name="T64" fmla="*/ 9 w 642"/>
                <a:gd name="T65" fmla="*/ 10 h 708"/>
                <a:gd name="T66" fmla="*/ 15 w 642"/>
                <a:gd name="T67" fmla="*/ 9 h 708"/>
                <a:gd name="T68" fmla="*/ 18 w 642"/>
                <a:gd name="T69" fmla="*/ 14 h 708"/>
                <a:gd name="T70" fmla="*/ 20 w 642"/>
                <a:gd name="T71" fmla="*/ 12 h 708"/>
                <a:gd name="T72" fmla="*/ 20 w 642"/>
                <a:gd name="T73" fmla="*/ 11 h 708"/>
                <a:gd name="T74" fmla="*/ 21 w 642"/>
                <a:gd name="T75" fmla="*/ 9 h 708"/>
                <a:gd name="T76" fmla="*/ 24 w 642"/>
                <a:gd name="T77" fmla="*/ 9 h 708"/>
                <a:gd name="T78" fmla="*/ 27 w 642"/>
                <a:gd name="T79" fmla="*/ 8 h 708"/>
                <a:gd name="T80" fmla="*/ 33 w 642"/>
                <a:gd name="T81" fmla="*/ 2 h 708"/>
                <a:gd name="T82" fmla="*/ 42 w 642"/>
                <a:gd name="T83" fmla="*/ 2 h 708"/>
                <a:gd name="T84" fmla="*/ 49 w 642"/>
                <a:gd name="T85" fmla="*/ 1 h 708"/>
                <a:gd name="T86" fmla="*/ 53 w 642"/>
                <a:gd name="T87" fmla="*/ 4 h 708"/>
                <a:gd name="T88" fmla="*/ 55 w 642"/>
                <a:gd name="T89" fmla="*/ 4 h 708"/>
                <a:gd name="T90" fmla="*/ 55 w 642"/>
                <a:gd name="T91" fmla="*/ 7 h 708"/>
                <a:gd name="T92" fmla="*/ 52 w 642"/>
                <a:gd name="T93" fmla="*/ 9 h 708"/>
                <a:gd name="T94" fmla="*/ 49 w 642"/>
                <a:gd name="T95" fmla="*/ 12 h 708"/>
                <a:gd name="T96" fmla="*/ 47 w 642"/>
                <a:gd name="T97" fmla="*/ 14 h 708"/>
                <a:gd name="T98" fmla="*/ 47 w 642"/>
                <a:gd name="T99" fmla="*/ 17 h 708"/>
                <a:gd name="T100" fmla="*/ 45 w 642"/>
                <a:gd name="T101" fmla="*/ 26 h 708"/>
                <a:gd name="T102" fmla="*/ 50 w 642"/>
                <a:gd name="T103" fmla="*/ 37 h 70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42"/>
                <a:gd name="T157" fmla="*/ 0 h 708"/>
                <a:gd name="T158" fmla="*/ 642 w 642"/>
                <a:gd name="T159" fmla="*/ 708 h 70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42" h="708">
                  <a:moveTo>
                    <a:pt x="576" y="468"/>
                  </a:moveTo>
                  <a:lnTo>
                    <a:pt x="564" y="468"/>
                  </a:lnTo>
                  <a:lnTo>
                    <a:pt x="516" y="468"/>
                  </a:lnTo>
                  <a:lnTo>
                    <a:pt x="498" y="474"/>
                  </a:lnTo>
                  <a:lnTo>
                    <a:pt x="492" y="468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68" y="474"/>
                  </a:lnTo>
                  <a:lnTo>
                    <a:pt x="456" y="468"/>
                  </a:lnTo>
                  <a:lnTo>
                    <a:pt x="444" y="474"/>
                  </a:lnTo>
                  <a:lnTo>
                    <a:pt x="438" y="492"/>
                  </a:lnTo>
                  <a:lnTo>
                    <a:pt x="438" y="504"/>
                  </a:lnTo>
                  <a:lnTo>
                    <a:pt x="432" y="516"/>
                  </a:lnTo>
                  <a:lnTo>
                    <a:pt x="432" y="528"/>
                  </a:lnTo>
                  <a:lnTo>
                    <a:pt x="432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52"/>
                  </a:lnTo>
                  <a:lnTo>
                    <a:pt x="432" y="558"/>
                  </a:lnTo>
                  <a:lnTo>
                    <a:pt x="438" y="564"/>
                  </a:lnTo>
                  <a:lnTo>
                    <a:pt x="444" y="564"/>
                  </a:lnTo>
                  <a:lnTo>
                    <a:pt x="438" y="564"/>
                  </a:lnTo>
                  <a:lnTo>
                    <a:pt x="438" y="570"/>
                  </a:lnTo>
                  <a:lnTo>
                    <a:pt x="432" y="570"/>
                  </a:lnTo>
                  <a:lnTo>
                    <a:pt x="432" y="576"/>
                  </a:lnTo>
                  <a:lnTo>
                    <a:pt x="426" y="588"/>
                  </a:lnTo>
                  <a:lnTo>
                    <a:pt x="420" y="594"/>
                  </a:lnTo>
                  <a:lnTo>
                    <a:pt x="420" y="600"/>
                  </a:lnTo>
                  <a:lnTo>
                    <a:pt x="414" y="600"/>
                  </a:lnTo>
                  <a:lnTo>
                    <a:pt x="414" y="606"/>
                  </a:lnTo>
                  <a:lnTo>
                    <a:pt x="408" y="606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396" y="612"/>
                  </a:lnTo>
                  <a:lnTo>
                    <a:pt x="390" y="612"/>
                  </a:lnTo>
                  <a:lnTo>
                    <a:pt x="390" y="618"/>
                  </a:lnTo>
                  <a:lnTo>
                    <a:pt x="384" y="618"/>
                  </a:lnTo>
                  <a:lnTo>
                    <a:pt x="378" y="618"/>
                  </a:lnTo>
                  <a:lnTo>
                    <a:pt x="378" y="624"/>
                  </a:lnTo>
                  <a:lnTo>
                    <a:pt x="384" y="630"/>
                  </a:lnTo>
                  <a:lnTo>
                    <a:pt x="384" y="636"/>
                  </a:lnTo>
                  <a:lnTo>
                    <a:pt x="378" y="630"/>
                  </a:lnTo>
                  <a:lnTo>
                    <a:pt x="372" y="636"/>
                  </a:lnTo>
                  <a:lnTo>
                    <a:pt x="372" y="642"/>
                  </a:lnTo>
                  <a:lnTo>
                    <a:pt x="366" y="642"/>
                  </a:lnTo>
                  <a:lnTo>
                    <a:pt x="360" y="654"/>
                  </a:lnTo>
                  <a:lnTo>
                    <a:pt x="354" y="666"/>
                  </a:lnTo>
                  <a:lnTo>
                    <a:pt x="354" y="672"/>
                  </a:lnTo>
                  <a:lnTo>
                    <a:pt x="354" y="678"/>
                  </a:lnTo>
                  <a:lnTo>
                    <a:pt x="354" y="684"/>
                  </a:lnTo>
                  <a:lnTo>
                    <a:pt x="348" y="678"/>
                  </a:lnTo>
                  <a:lnTo>
                    <a:pt x="324" y="678"/>
                  </a:lnTo>
                  <a:lnTo>
                    <a:pt x="306" y="678"/>
                  </a:lnTo>
                  <a:lnTo>
                    <a:pt x="294" y="678"/>
                  </a:lnTo>
                  <a:lnTo>
                    <a:pt x="288" y="684"/>
                  </a:lnTo>
                  <a:lnTo>
                    <a:pt x="276" y="690"/>
                  </a:lnTo>
                  <a:lnTo>
                    <a:pt x="270" y="696"/>
                  </a:lnTo>
                  <a:lnTo>
                    <a:pt x="264" y="696"/>
                  </a:lnTo>
                  <a:lnTo>
                    <a:pt x="258" y="696"/>
                  </a:lnTo>
                  <a:lnTo>
                    <a:pt x="252" y="696"/>
                  </a:lnTo>
                  <a:lnTo>
                    <a:pt x="252" y="690"/>
                  </a:lnTo>
                  <a:lnTo>
                    <a:pt x="246" y="690"/>
                  </a:lnTo>
                  <a:lnTo>
                    <a:pt x="234" y="690"/>
                  </a:lnTo>
                  <a:lnTo>
                    <a:pt x="222" y="696"/>
                  </a:lnTo>
                  <a:lnTo>
                    <a:pt x="216" y="708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8" y="690"/>
                  </a:lnTo>
                  <a:lnTo>
                    <a:pt x="198" y="684"/>
                  </a:lnTo>
                  <a:lnTo>
                    <a:pt x="198" y="678"/>
                  </a:lnTo>
                  <a:lnTo>
                    <a:pt x="198" y="672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74" y="648"/>
                  </a:lnTo>
                  <a:lnTo>
                    <a:pt x="162" y="642"/>
                  </a:lnTo>
                  <a:lnTo>
                    <a:pt x="156" y="636"/>
                  </a:lnTo>
                  <a:lnTo>
                    <a:pt x="132" y="642"/>
                  </a:lnTo>
                  <a:lnTo>
                    <a:pt x="120" y="654"/>
                  </a:lnTo>
                  <a:lnTo>
                    <a:pt x="108" y="660"/>
                  </a:lnTo>
                  <a:lnTo>
                    <a:pt x="102" y="666"/>
                  </a:lnTo>
                  <a:lnTo>
                    <a:pt x="84" y="666"/>
                  </a:lnTo>
                  <a:lnTo>
                    <a:pt x="84" y="630"/>
                  </a:lnTo>
                  <a:lnTo>
                    <a:pt x="78" y="594"/>
                  </a:lnTo>
                  <a:lnTo>
                    <a:pt x="66" y="594"/>
                  </a:lnTo>
                  <a:lnTo>
                    <a:pt x="60" y="594"/>
                  </a:lnTo>
                  <a:lnTo>
                    <a:pt x="48" y="600"/>
                  </a:lnTo>
                  <a:lnTo>
                    <a:pt x="36" y="606"/>
                  </a:lnTo>
                  <a:lnTo>
                    <a:pt x="24" y="612"/>
                  </a:lnTo>
                  <a:lnTo>
                    <a:pt x="18" y="612"/>
                  </a:lnTo>
                  <a:lnTo>
                    <a:pt x="12" y="606"/>
                  </a:lnTo>
                  <a:lnTo>
                    <a:pt x="12" y="600"/>
                  </a:lnTo>
                  <a:lnTo>
                    <a:pt x="12" y="594"/>
                  </a:lnTo>
                  <a:lnTo>
                    <a:pt x="12" y="588"/>
                  </a:lnTo>
                  <a:lnTo>
                    <a:pt x="12" y="582"/>
                  </a:lnTo>
                  <a:lnTo>
                    <a:pt x="12" y="576"/>
                  </a:lnTo>
                  <a:lnTo>
                    <a:pt x="18" y="552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42" y="534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48" y="492"/>
                  </a:lnTo>
                  <a:lnTo>
                    <a:pt x="48" y="480"/>
                  </a:lnTo>
                  <a:lnTo>
                    <a:pt x="54" y="468"/>
                  </a:lnTo>
                  <a:lnTo>
                    <a:pt x="48" y="456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66" y="390"/>
                  </a:lnTo>
                  <a:lnTo>
                    <a:pt x="72" y="384"/>
                  </a:lnTo>
                  <a:lnTo>
                    <a:pt x="72" y="378"/>
                  </a:lnTo>
                  <a:lnTo>
                    <a:pt x="66" y="378"/>
                  </a:lnTo>
                  <a:lnTo>
                    <a:pt x="66" y="366"/>
                  </a:lnTo>
                  <a:lnTo>
                    <a:pt x="60" y="360"/>
                  </a:lnTo>
                  <a:lnTo>
                    <a:pt x="66" y="354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48" y="312"/>
                  </a:lnTo>
                  <a:lnTo>
                    <a:pt x="30" y="312"/>
                  </a:lnTo>
                  <a:lnTo>
                    <a:pt x="24" y="306"/>
                  </a:lnTo>
                  <a:lnTo>
                    <a:pt x="18" y="306"/>
                  </a:lnTo>
                  <a:lnTo>
                    <a:pt x="12" y="294"/>
                  </a:lnTo>
                  <a:lnTo>
                    <a:pt x="12" y="282"/>
                  </a:lnTo>
                  <a:lnTo>
                    <a:pt x="6" y="276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12" y="270"/>
                  </a:lnTo>
                  <a:lnTo>
                    <a:pt x="12" y="246"/>
                  </a:lnTo>
                  <a:lnTo>
                    <a:pt x="12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8" y="174"/>
                  </a:lnTo>
                  <a:lnTo>
                    <a:pt x="12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48" y="162"/>
                  </a:lnTo>
                  <a:lnTo>
                    <a:pt x="72" y="162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84" y="132"/>
                  </a:lnTo>
                  <a:lnTo>
                    <a:pt x="90" y="120"/>
                  </a:lnTo>
                  <a:lnTo>
                    <a:pt x="108" y="114"/>
                  </a:lnTo>
                  <a:lnTo>
                    <a:pt x="114" y="102"/>
                  </a:lnTo>
                  <a:lnTo>
                    <a:pt x="120" y="90"/>
                  </a:lnTo>
                  <a:lnTo>
                    <a:pt x="138" y="90"/>
                  </a:lnTo>
                  <a:lnTo>
                    <a:pt x="138" y="102"/>
                  </a:lnTo>
                  <a:lnTo>
                    <a:pt x="168" y="108"/>
                  </a:lnTo>
                  <a:lnTo>
                    <a:pt x="168" y="114"/>
                  </a:lnTo>
                  <a:lnTo>
                    <a:pt x="174" y="126"/>
                  </a:lnTo>
                  <a:lnTo>
                    <a:pt x="186" y="150"/>
                  </a:lnTo>
                  <a:lnTo>
                    <a:pt x="186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34" y="144"/>
                  </a:lnTo>
                  <a:lnTo>
                    <a:pt x="240" y="138"/>
                  </a:lnTo>
                  <a:lnTo>
                    <a:pt x="240" y="126"/>
                  </a:lnTo>
                  <a:lnTo>
                    <a:pt x="234" y="126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34" y="102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82" y="102"/>
                  </a:lnTo>
                  <a:lnTo>
                    <a:pt x="288" y="102"/>
                  </a:lnTo>
                  <a:lnTo>
                    <a:pt x="294" y="102"/>
                  </a:lnTo>
                  <a:lnTo>
                    <a:pt x="300" y="96"/>
                  </a:lnTo>
                  <a:lnTo>
                    <a:pt x="306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84"/>
                  </a:lnTo>
                  <a:lnTo>
                    <a:pt x="324" y="18"/>
                  </a:lnTo>
                  <a:lnTo>
                    <a:pt x="360" y="18"/>
                  </a:lnTo>
                  <a:lnTo>
                    <a:pt x="378" y="18"/>
                  </a:lnTo>
                  <a:lnTo>
                    <a:pt x="378" y="30"/>
                  </a:lnTo>
                  <a:lnTo>
                    <a:pt x="390" y="30"/>
                  </a:lnTo>
                  <a:lnTo>
                    <a:pt x="432" y="30"/>
                  </a:lnTo>
                  <a:lnTo>
                    <a:pt x="456" y="24"/>
                  </a:lnTo>
                  <a:lnTo>
                    <a:pt x="480" y="24"/>
                  </a:lnTo>
                  <a:lnTo>
                    <a:pt x="498" y="30"/>
                  </a:lnTo>
                  <a:lnTo>
                    <a:pt x="522" y="18"/>
                  </a:lnTo>
                  <a:lnTo>
                    <a:pt x="528" y="0"/>
                  </a:lnTo>
                  <a:lnTo>
                    <a:pt x="558" y="6"/>
                  </a:lnTo>
                  <a:lnTo>
                    <a:pt x="558" y="12"/>
                  </a:lnTo>
                  <a:lnTo>
                    <a:pt x="570" y="18"/>
                  </a:lnTo>
                  <a:lnTo>
                    <a:pt x="576" y="24"/>
                  </a:lnTo>
                  <a:lnTo>
                    <a:pt x="588" y="36"/>
                  </a:lnTo>
                  <a:lnTo>
                    <a:pt x="594" y="48"/>
                  </a:lnTo>
                  <a:lnTo>
                    <a:pt x="606" y="48"/>
                  </a:lnTo>
                  <a:lnTo>
                    <a:pt x="606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42"/>
                  </a:lnTo>
                  <a:lnTo>
                    <a:pt x="636" y="42"/>
                  </a:lnTo>
                  <a:lnTo>
                    <a:pt x="636" y="48"/>
                  </a:lnTo>
                  <a:lnTo>
                    <a:pt x="642" y="54"/>
                  </a:lnTo>
                  <a:lnTo>
                    <a:pt x="636" y="60"/>
                  </a:lnTo>
                  <a:lnTo>
                    <a:pt x="636" y="66"/>
                  </a:lnTo>
                  <a:lnTo>
                    <a:pt x="636" y="78"/>
                  </a:lnTo>
                  <a:lnTo>
                    <a:pt x="624" y="84"/>
                  </a:lnTo>
                  <a:lnTo>
                    <a:pt x="618" y="90"/>
                  </a:lnTo>
                  <a:lnTo>
                    <a:pt x="612" y="90"/>
                  </a:lnTo>
                  <a:lnTo>
                    <a:pt x="600" y="102"/>
                  </a:lnTo>
                  <a:lnTo>
                    <a:pt x="594" y="108"/>
                  </a:lnTo>
                  <a:lnTo>
                    <a:pt x="582" y="114"/>
                  </a:lnTo>
                  <a:lnTo>
                    <a:pt x="570" y="132"/>
                  </a:lnTo>
                  <a:lnTo>
                    <a:pt x="564" y="132"/>
                  </a:lnTo>
                  <a:lnTo>
                    <a:pt x="564" y="138"/>
                  </a:lnTo>
                  <a:lnTo>
                    <a:pt x="558" y="144"/>
                  </a:lnTo>
                  <a:lnTo>
                    <a:pt x="558" y="150"/>
                  </a:lnTo>
                  <a:lnTo>
                    <a:pt x="552" y="150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0" y="162"/>
                  </a:lnTo>
                  <a:lnTo>
                    <a:pt x="534" y="168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6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28" y="234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16" y="294"/>
                  </a:lnTo>
                  <a:lnTo>
                    <a:pt x="516" y="312"/>
                  </a:lnTo>
                  <a:lnTo>
                    <a:pt x="528" y="318"/>
                  </a:lnTo>
                  <a:lnTo>
                    <a:pt x="540" y="360"/>
                  </a:lnTo>
                  <a:lnTo>
                    <a:pt x="558" y="408"/>
                  </a:lnTo>
                  <a:lnTo>
                    <a:pt x="570" y="426"/>
                  </a:lnTo>
                  <a:lnTo>
                    <a:pt x="576" y="432"/>
                  </a:lnTo>
                  <a:lnTo>
                    <a:pt x="576" y="438"/>
                  </a:lnTo>
                  <a:lnTo>
                    <a:pt x="576" y="444"/>
                  </a:lnTo>
                  <a:lnTo>
                    <a:pt x="576" y="46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3" name="Freeform 28">
              <a:extLst>
                <a:ext uri="{FF2B5EF4-FFF2-40B4-BE49-F238E27FC236}">
                  <a16:creationId xmlns:a16="http://schemas.microsoft.com/office/drawing/2014/main" id="{CF9B4F31-BF73-448E-83AA-188F6CF1BDC5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4879" y="3432583"/>
              <a:ext cx="324248" cy="270616"/>
            </a:xfrm>
            <a:custGeom>
              <a:avLst/>
              <a:gdLst>
                <a:gd name="T0" fmla="*/ 5 w 606"/>
                <a:gd name="T1" fmla="*/ 36 h 510"/>
                <a:gd name="T2" fmla="*/ 4 w 606"/>
                <a:gd name="T3" fmla="*/ 34 h 510"/>
                <a:gd name="T4" fmla="*/ 0 w 606"/>
                <a:gd name="T5" fmla="*/ 25 h 510"/>
                <a:gd name="T6" fmla="*/ 1 w 606"/>
                <a:gd name="T7" fmla="*/ 20 h 510"/>
                <a:gd name="T8" fmla="*/ 2 w 606"/>
                <a:gd name="T9" fmla="*/ 15 h 510"/>
                <a:gd name="T10" fmla="*/ 2 w 606"/>
                <a:gd name="T11" fmla="*/ 13 h 510"/>
                <a:gd name="T12" fmla="*/ 3 w 606"/>
                <a:gd name="T13" fmla="*/ 12 h 510"/>
                <a:gd name="T14" fmla="*/ 4 w 606"/>
                <a:gd name="T15" fmla="*/ 11 h 510"/>
                <a:gd name="T16" fmla="*/ 4 w 606"/>
                <a:gd name="T17" fmla="*/ 10 h 510"/>
                <a:gd name="T18" fmla="*/ 7 w 606"/>
                <a:gd name="T19" fmla="*/ 8 h 510"/>
                <a:gd name="T20" fmla="*/ 9 w 606"/>
                <a:gd name="T21" fmla="*/ 6 h 510"/>
                <a:gd name="T22" fmla="*/ 11 w 606"/>
                <a:gd name="T23" fmla="*/ 4 h 510"/>
                <a:gd name="T24" fmla="*/ 12 w 606"/>
                <a:gd name="T25" fmla="*/ 3 h 510"/>
                <a:gd name="T26" fmla="*/ 13 w 606"/>
                <a:gd name="T27" fmla="*/ 4 h 510"/>
                <a:gd name="T28" fmla="*/ 15 w 606"/>
                <a:gd name="T29" fmla="*/ 2 h 510"/>
                <a:gd name="T30" fmla="*/ 17 w 606"/>
                <a:gd name="T31" fmla="*/ 2 h 510"/>
                <a:gd name="T32" fmla="*/ 19 w 606"/>
                <a:gd name="T33" fmla="*/ 5 h 510"/>
                <a:gd name="T34" fmla="*/ 22 w 606"/>
                <a:gd name="T35" fmla="*/ 5 h 510"/>
                <a:gd name="T36" fmla="*/ 25 w 606"/>
                <a:gd name="T37" fmla="*/ 6 h 510"/>
                <a:gd name="T38" fmla="*/ 29 w 606"/>
                <a:gd name="T39" fmla="*/ 1 h 510"/>
                <a:gd name="T40" fmla="*/ 38 w 606"/>
                <a:gd name="T41" fmla="*/ 0 h 510"/>
                <a:gd name="T42" fmla="*/ 38 w 606"/>
                <a:gd name="T43" fmla="*/ 5 h 510"/>
                <a:gd name="T44" fmla="*/ 41 w 606"/>
                <a:gd name="T45" fmla="*/ 4 h 510"/>
                <a:gd name="T46" fmla="*/ 45 w 606"/>
                <a:gd name="T47" fmla="*/ 2 h 510"/>
                <a:gd name="T48" fmla="*/ 46 w 606"/>
                <a:gd name="T49" fmla="*/ 2 h 510"/>
                <a:gd name="T50" fmla="*/ 47 w 606"/>
                <a:gd name="T51" fmla="*/ 5 h 510"/>
                <a:gd name="T52" fmla="*/ 45 w 606"/>
                <a:gd name="T53" fmla="*/ 6 h 510"/>
                <a:gd name="T54" fmla="*/ 45 w 606"/>
                <a:gd name="T55" fmla="*/ 7 h 510"/>
                <a:gd name="T56" fmla="*/ 43 w 606"/>
                <a:gd name="T57" fmla="*/ 8 h 510"/>
                <a:gd name="T58" fmla="*/ 45 w 606"/>
                <a:gd name="T59" fmla="*/ 15 h 510"/>
                <a:gd name="T60" fmla="*/ 49 w 606"/>
                <a:gd name="T61" fmla="*/ 15 h 510"/>
                <a:gd name="T62" fmla="*/ 51 w 606"/>
                <a:gd name="T63" fmla="*/ 15 h 510"/>
                <a:gd name="T64" fmla="*/ 53 w 606"/>
                <a:gd name="T65" fmla="*/ 16 h 510"/>
                <a:gd name="T66" fmla="*/ 52 w 606"/>
                <a:gd name="T67" fmla="*/ 20 h 510"/>
                <a:gd name="T68" fmla="*/ 48 w 606"/>
                <a:gd name="T69" fmla="*/ 23 h 510"/>
                <a:gd name="T70" fmla="*/ 45 w 606"/>
                <a:gd name="T71" fmla="*/ 25 h 510"/>
                <a:gd name="T72" fmla="*/ 44 w 606"/>
                <a:gd name="T73" fmla="*/ 28 h 510"/>
                <a:gd name="T74" fmla="*/ 43 w 606"/>
                <a:gd name="T75" fmla="*/ 33 h 510"/>
                <a:gd name="T76" fmla="*/ 39 w 606"/>
                <a:gd name="T77" fmla="*/ 38 h 510"/>
                <a:gd name="T78" fmla="*/ 37 w 606"/>
                <a:gd name="T79" fmla="*/ 41 h 510"/>
                <a:gd name="T80" fmla="*/ 31 w 606"/>
                <a:gd name="T81" fmla="*/ 44 h 510"/>
                <a:gd name="T82" fmla="*/ 28 w 606"/>
                <a:gd name="T83" fmla="*/ 43 h 510"/>
                <a:gd name="T84" fmla="*/ 28 w 606"/>
                <a:gd name="T85" fmla="*/ 41 h 510"/>
                <a:gd name="T86" fmla="*/ 28 w 606"/>
                <a:gd name="T87" fmla="*/ 40 h 510"/>
                <a:gd name="T88" fmla="*/ 27 w 606"/>
                <a:gd name="T89" fmla="*/ 38 h 510"/>
                <a:gd name="T90" fmla="*/ 27 w 606"/>
                <a:gd name="T91" fmla="*/ 36 h 510"/>
                <a:gd name="T92" fmla="*/ 24 w 606"/>
                <a:gd name="T93" fmla="*/ 35 h 510"/>
                <a:gd name="T94" fmla="*/ 16 w 606"/>
                <a:gd name="T95" fmla="*/ 34 h 510"/>
                <a:gd name="T96" fmla="*/ 13 w 606"/>
                <a:gd name="T97" fmla="*/ 34 h 510"/>
                <a:gd name="T98" fmla="*/ 9 w 606"/>
                <a:gd name="T99" fmla="*/ 36 h 510"/>
                <a:gd name="T100" fmla="*/ 8 w 606"/>
                <a:gd name="T101" fmla="*/ 38 h 510"/>
                <a:gd name="T102" fmla="*/ 7 w 606"/>
                <a:gd name="T103" fmla="*/ 39 h 51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06"/>
                <a:gd name="T157" fmla="*/ 0 h 510"/>
                <a:gd name="T158" fmla="*/ 606 w 606"/>
                <a:gd name="T159" fmla="*/ 510 h 51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06" h="510">
                  <a:moveTo>
                    <a:pt x="60" y="450"/>
                  </a:move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42" y="390"/>
                  </a:lnTo>
                  <a:lnTo>
                    <a:pt x="24" y="342"/>
                  </a:lnTo>
                  <a:lnTo>
                    <a:pt x="12" y="300"/>
                  </a:lnTo>
                  <a:lnTo>
                    <a:pt x="0" y="294"/>
                  </a:lnTo>
                  <a:lnTo>
                    <a:pt x="0" y="276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24" y="192"/>
                  </a:lnTo>
                  <a:lnTo>
                    <a:pt x="24" y="180"/>
                  </a:lnTo>
                  <a:lnTo>
                    <a:pt x="24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6" y="96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108" y="66"/>
                  </a:lnTo>
                  <a:lnTo>
                    <a:pt x="120" y="60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36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62" y="36"/>
                  </a:lnTo>
                  <a:lnTo>
                    <a:pt x="162" y="30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0" y="54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46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76" y="66"/>
                  </a:lnTo>
                  <a:lnTo>
                    <a:pt x="312" y="66"/>
                  </a:lnTo>
                  <a:lnTo>
                    <a:pt x="318" y="60"/>
                  </a:lnTo>
                  <a:lnTo>
                    <a:pt x="330" y="12"/>
                  </a:lnTo>
                  <a:lnTo>
                    <a:pt x="414" y="6"/>
                  </a:lnTo>
                  <a:lnTo>
                    <a:pt x="420" y="0"/>
                  </a:lnTo>
                  <a:lnTo>
                    <a:pt x="426" y="6"/>
                  </a:lnTo>
                  <a:lnTo>
                    <a:pt x="426" y="12"/>
                  </a:lnTo>
                  <a:lnTo>
                    <a:pt x="426" y="54"/>
                  </a:lnTo>
                  <a:lnTo>
                    <a:pt x="432" y="54"/>
                  </a:lnTo>
                  <a:lnTo>
                    <a:pt x="444" y="54"/>
                  </a:lnTo>
                  <a:lnTo>
                    <a:pt x="450" y="42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86" y="24"/>
                  </a:lnTo>
                  <a:lnTo>
                    <a:pt x="504" y="18"/>
                  </a:lnTo>
                  <a:lnTo>
                    <a:pt x="510" y="12"/>
                  </a:lnTo>
                  <a:lnTo>
                    <a:pt x="516" y="18"/>
                  </a:lnTo>
                  <a:lnTo>
                    <a:pt x="522" y="24"/>
                  </a:lnTo>
                  <a:lnTo>
                    <a:pt x="510" y="30"/>
                  </a:lnTo>
                  <a:lnTo>
                    <a:pt x="516" y="48"/>
                  </a:lnTo>
                  <a:lnTo>
                    <a:pt x="528" y="54"/>
                  </a:lnTo>
                  <a:lnTo>
                    <a:pt x="522" y="60"/>
                  </a:lnTo>
                  <a:lnTo>
                    <a:pt x="516" y="66"/>
                  </a:lnTo>
                  <a:lnTo>
                    <a:pt x="516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0" y="84"/>
                  </a:lnTo>
                  <a:lnTo>
                    <a:pt x="510" y="90"/>
                  </a:lnTo>
                  <a:lnTo>
                    <a:pt x="504" y="90"/>
                  </a:lnTo>
                  <a:lnTo>
                    <a:pt x="486" y="90"/>
                  </a:lnTo>
                  <a:lnTo>
                    <a:pt x="492" y="138"/>
                  </a:lnTo>
                  <a:lnTo>
                    <a:pt x="498" y="168"/>
                  </a:lnTo>
                  <a:lnTo>
                    <a:pt x="516" y="168"/>
                  </a:lnTo>
                  <a:lnTo>
                    <a:pt x="528" y="174"/>
                  </a:lnTo>
                  <a:lnTo>
                    <a:pt x="534" y="168"/>
                  </a:lnTo>
                  <a:lnTo>
                    <a:pt x="558" y="174"/>
                  </a:lnTo>
                  <a:lnTo>
                    <a:pt x="564" y="168"/>
                  </a:lnTo>
                  <a:lnTo>
                    <a:pt x="570" y="168"/>
                  </a:lnTo>
                  <a:lnTo>
                    <a:pt x="576" y="174"/>
                  </a:lnTo>
                  <a:lnTo>
                    <a:pt x="588" y="168"/>
                  </a:lnTo>
                  <a:lnTo>
                    <a:pt x="594" y="168"/>
                  </a:lnTo>
                  <a:lnTo>
                    <a:pt x="594" y="186"/>
                  </a:lnTo>
                  <a:lnTo>
                    <a:pt x="606" y="198"/>
                  </a:lnTo>
                  <a:lnTo>
                    <a:pt x="600" y="210"/>
                  </a:lnTo>
                  <a:lnTo>
                    <a:pt x="588" y="234"/>
                  </a:lnTo>
                  <a:lnTo>
                    <a:pt x="564" y="246"/>
                  </a:lnTo>
                  <a:lnTo>
                    <a:pt x="546" y="258"/>
                  </a:lnTo>
                  <a:lnTo>
                    <a:pt x="540" y="270"/>
                  </a:lnTo>
                  <a:lnTo>
                    <a:pt x="534" y="294"/>
                  </a:lnTo>
                  <a:lnTo>
                    <a:pt x="528" y="300"/>
                  </a:lnTo>
                  <a:lnTo>
                    <a:pt x="516" y="294"/>
                  </a:lnTo>
                  <a:lnTo>
                    <a:pt x="510" y="300"/>
                  </a:lnTo>
                  <a:lnTo>
                    <a:pt x="498" y="318"/>
                  </a:lnTo>
                  <a:lnTo>
                    <a:pt x="492" y="324"/>
                  </a:lnTo>
                  <a:lnTo>
                    <a:pt x="486" y="336"/>
                  </a:lnTo>
                  <a:lnTo>
                    <a:pt x="486" y="354"/>
                  </a:lnTo>
                  <a:lnTo>
                    <a:pt x="486" y="384"/>
                  </a:lnTo>
                  <a:lnTo>
                    <a:pt x="474" y="408"/>
                  </a:lnTo>
                  <a:lnTo>
                    <a:pt x="450" y="426"/>
                  </a:lnTo>
                  <a:lnTo>
                    <a:pt x="444" y="444"/>
                  </a:lnTo>
                  <a:lnTo>
                    <a:pt x="426" y="474"/>
                  </a:lnTo>
                  <a:lnTo>
                    <a:pt x="420" y="486"/>
                  </a:lnTo>
                  <a:lnTo>
                    <a:pt x="414" y="486"/>
                  </a:lnTo>
                  <a:lnTo>
                    <a:pt x="414" y="498"/>
                  </a:lnTo>
                  <a:lnTo>
                    <a:pt x="378" y="504"/>
                  </a:lnTo>
                  <a:lnTo>
                    <a:pt x="348" y="510"/>
                  </a:lnTo>
                  <a:lnTo>
                    <a:pt x="330" y="510"/>
                  </a:lnTo>
                  <a:lnTo>
                    <a:pt x="324" y="504"/>
                  </a:lnTo>
                  <a:lnTo>
                    <a:pt x="318" y="504"/>
                  </a:lnTo>
                  <a:lnTo>
                    <a:pt x="312" y="504"/>
                  </a:lnTo>
                  <a:lnTo>
                    <a:pt x="312" y="498"/>
                  </a:lnTo>
                  <a:lnTo>
                    <a:pt x="312" y="486"/>
                  </a:lnTo>
                  <a:lnTo>
                    <a:pt x="312" y="480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56"/>
                  </a:lnTo>
                  <a:lnTo>
                    <a:pt x="312" y="450"/>
                  </a:lnTo>
                  <a:lnTo>
                    <a:pt x="306" y="444"/>
                  </a:lnTo>
                  <a:lnTo>
                    <a:pt x="306" y="438"/>
                  </a:lnTo>
                  <a:lnTo>
                    <a:pt x="300" y="426"/>
                  </a:lnTo>
                  <a:lnTo>
                    <a:pt x="300" y="420"/>
                  </a:lnTo>
                  <a:lnTo>
                    <a:pt x="294" y="414"/>
                  </a:lnTo>
                  <a:lnTo>
                    <a:pt x="294" y="408"/>
                  </a:lnTo>
                  <a:lnTo>
                    <a:pt x="270" y="408"/>
                  </a:lnTo>
                  <a:lnTo>
                    <a:pt x="246" y="408"/>
                  </a:lnTo>
                  <a:lnTo>
                    <a:pt x="222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56" y="402"/>
                  </a:lnTo>
                  <a:lnTo>
                    <a:pt x="144" y="396"/>
                  </a:lnTo>
                  <a:lnTo>
                    <a:pt x="126" y="396"/>
                  </a:lnTo>
                  <a:lnTo>
                    <a:pt x="108" y="408"/>
                  </a:lnTo>
                  <a:lnTo>
                    <a:pt x="102" y="414"/>
                  </a:lnTo>
                  <a:lnTo>
                    <a:pt x="102" y="420"/>
                  </a:lnTo>
                  <a:lnTo>
                    <a:pt x="96" y="426"/>
                  </a:lnTo>
                  <a:lnTo>
                    <a:pt x="96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78" y="450"/>
                  </a:lnTo>
                  <a:lnTo>
                    <a:pt x="60" y="45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4" name="Freeform 29">
              <a:extLst>
                <a:ext uri="{FF2B5EF4-FFF2-40B4-BE49-F238E27FC236}">
                  <a16:creationId xmlns:a16="http://schemas.microsoft.com/office/drawing/2014/main" id="{B6AC2B96-1504-4082-8778-17130FDA021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401" y="3537698"/>
              <a:ext cx="559048" cy="641876"/>
            </a:xfrm>
            <a:custGeom>
              <a:avLst/>
              <a:gdLst>
                <a:gd name="T0" fmla="*/ 39 w 1056"/>
                <a:gd name="T1" fmla="*/ 94 h 1206"/>
                <a:gd name="T2" fmla="*/ 35 w 1056"/>
                <a:gd name="T3" fmla="*/ 103 h 1206"/>
                <a:gd name="T4" fmla="*/ 29 w 1056"/>
                <a:gd name="T5" fmla="*/ 99 h 1206"/>
                <a:gd name="T6" fmla="*/ 23 w 1056"/>
                <a:gd name="T7" fmla="*/ 94 h 1206"/>
                <a:gd name="T8" fmla="*/ 21 w 1056"/>
                <a:gd name="T9" fmla="*/ 91 h 1206"/>
                <a:gd name="T10" fmla="*/ 18 w 1056"/>
                <a:gd name="T11" fmla="*/ 89 h 1206"/>
                <a:gd name="T12" fmla="*/ 15 w 1056"/>
                <a:gd name="T13" fmla="*/ 86 h 1206"/>
                <a:gd name="T14" fmla="*/ 11 w 1056"/>
                <a:gd name="T15" fmla="*/ 83 h 1206"/>
                <a:gd name="T16" fmla="*/ 8 w 1056"/>
                <a:gd name="T17" fmla="*/ 81 h 1206"/>
                <a:gd name="T18" fmla="*/ 6 w 1056"/>
                <a:gd name="T19" fmla="*/ 79 h 1206"/>
                <a:gd name="T20" fmla="*/ 13 w 1056"/>
                <a:gd name="T21" fmla="*/ 78 h 1206"/>
                <a:gd name="T22" fmla="*/ 8 w 1056"/>
                <a:gd name="T23" fmla="*/ 75 h 1206"/>
                <a:gd name="T24" fmla="*/ 13 w 1056"/>
                <a:gd name="T25" fmla="*/ 71 h 1206"/>
                <a:gd name="T26" fmla="*/ 10 w 1056"/>
                <a:gd name="T27" fmla="*/ 63 h 1206"/>
                <a:gd name="T28" fmla="*/ 6 w 1056"/>
                <a:gd name="T29" fmla="*/ 66 h 1206"/>
                <a:gd name="T30" fmla="*/ 1 w 1056"/>
                <a:gd name="T31" fmla="*/ 63 h 1206"/>
                <a:gd name="T32" fmla="*/ 1 w 1056"/>
                <a:gd name="T33" fmla="*/ 59 h 1206"/>
                <a:gd name="T34" fmla="*/ 3 w 1056"/>
                <a:gd name="T35" fmla="*/ 57 h 1206"/>
                <a:gd name="T36" fmla="*/ 6 w 1056"/>
                <a:gd name="T37" fmla="*/ 55 h 1206"/>
                <a:gd name="T38" fmla="*/ 10 w 1056"/>
                <a:gd name="T39" fmla="*/ 51 h 1206"/>
                <a:gd name="T40" fmla="*/ 11 w 1056"/>
                <a:gd name="T41" fmla="*/ 46 h 1206"/>
                <a:gd name="T42" fmla="*/ 14 w 1056"/>
                <a:gd name="T43" fmla="*/ 42 h 1206"/>
                <a:gd name="T44" fmla="*/ 15 w 1056"/>
                <a:gd name="T45" fmla="*/ 36 h 1206"/>
                <a:gd name="T46" fmla="*/ 17 w 1056"/>
                <a:gd name="T47" fmla="*/ 34 h 1206"/>
                <a:gd name="T48" fmla="*/ 20 w 1056"/>
                <a:gd name="T49" fmla="*/ 31 h 1206"/>
                <a:gd name="T50" fmla="*/ 21 w 1056"/>
                <a:gd name="T51" fmla="*/ 29 h 1206"/>
                <a:gd name="T52" fmla="*/ 23 w 1056"/>
                <a:gd name="T53" fmla="*/ 22 h 1206"/>
                <a:gd name="T54" fmla="*/ 35 w 1056"/>
                <a:gd name="T55" fmla="*/ 22 h 1206"/>
                <a:gd name="T56" fmla="*/ 41 w 1056"/>
                <a:gd name="T57" fmla="*/ 18 h 1206"/>
                <a:gd name="T58" fmla="*/ 54 w 1056"/>
                <a:gd name="T59" fmla="*/ 20 h 1206"/>
                <a:gd name="T60" fmla="*/ 54 w 1056"/>
                <a:gd name="T61" fmla="*/ 26 h 1206"/>
                <a:gd name="T62" fmla="*/ 64 w 1056"/>
                <a:gd name="T63" fmla="*/ 25 h 1206"/>
                <a:gd name="T64" fmla="*/ 71 w 1056"/>
                <a:gd name="T65" fmla="*/ 10 h 1206"/>
                <a:gd name="T66" fmla="*/ 80 w 1056"/>
                <a:gd name="T67" fmla="*/ 1 h 1206"/>
                <a:gd name="T68" fmla="*/ 86 w 1056"/>
                <a:gd name="T69" fmla="*/ 2 h 1206"/>
                <a:gd name="T70" fmla="*/ 91 w 1056"/>
                <a:gd name="T71" fmla="*/ 13 h 1206"/>
                <a:gd name="T72" fmla="*/ 88 w 1056"/>
                <a:gd name="T73" fmla="*/ 17 h 1206"/>
                <a:gd name="T74" fmla="*/ 89 w 1056"/>
                <a:gd name="T75" fmla="*/ 21 h 1206"/>
                <a:gd name="T76" fmla="*/ 86 w 1056"/>
                <a:gd name="T77" fmla="*/ 25 h 1206"/>
                <a:gd name="T78" fmla="*/ 85 w 1056"/>
                <a:gd name="T79" fmla="*/ 31 h 1206"/>
                <a:gd name="T80" fmla="*/ 83 w 1056"/>
                <a:gd name="T81" fmla="*/ 36 h 1206"/>
                <a:gd name="T82" fmla="*/ 80 w 1056"/>
                <a:gd name="T83" fmla="*/ 42 h 1206"/>
                <a:gd name="T84" fmla="*/ 80 w 1056"/>
                <a:gd name="T85" fmla="*/ 47 h 1206"/>
                <a:gd name="T86" fmla="*/ 77 w 1056"/>
                <a:gd name="T87" fmla="*/ 55 h 1206"/>
                <a:gd name="T88" fmla="*/ 75 w 1056"/>
                <a:gd name="T89" fmla="*/ 57 h 1206"/>
                <a:gd name="T90" fmla="*/ 66 w 1056"/>
                <a:gd name="T91" fmla="*/ 57 h 1206"/>
                <a:gd name="T92" fmla="*/ 66 w 1056"/>
                <a:gd name="T93" fmla="*/ 51 h 1206"/>
                <a:gd name="T94" fmla="*/ 48 w 1056"/>
                <a:gd name="T95" fmla="*/ 50 h 1206"/>
                <a:gd name="T96" fmla="*/ 46 w 1056"/>
                <a:gd name="T97" fmla="*/ 55 h 1206"/>
                <a:gd name="T98" fmla="*/ 42 w 1056"/>
                <a:gd name="T99" fmla="*/ 59 h 1206"/>
                <a:gd name="T100" fmla="*/ 41 w 1056"/>
                <a:gd name="T101" fmla="*/ 62 h 1206"/>
                <a:gd name="T102" fmla="*/ 43 w 1056"/>
                <a:gd name="T103" fmla="*/ 67 h 1206"/>
                <a:gd name="T104" fmla="*/ 42 w 1056"/>
                <a:gd name="T105" fmla="*/ 72 h 1206"/>
                <a:gd name="T106" fmla="*/ 39 w 1056"/>
                <a:gd name="T107" fmla="*/ 77 h 1206"/>
                <a:gd name="T108" fmla="*/ 36 w 1056"/>
                <a:gd name="T109" fmla="*/ 80 h 1206"/>
                <a:gd name="T110" fmla="*/ 37 w 1056"/>
                <a:gd name="T111" fmla="*/ 83 h 1206"/>
                <a:gd name="T112" fmla="*/ 40 w 1056"/>
                <a:gd name="T113" fmla="*/ 87 h 1206"/>
                <a:gd name="T114" fmla="*/ 42 w 1056"/>
                <a:gd name="T115" fmla="*/ 89 h 12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56"/>
                <a:gd name="T175" fmla="*/ 0 h 1206"/>
                <a:gd name="T176" fmla="*/ 1056 w 1056"/>
                <a:gd name="T177" fmla="*/ 1206 h 12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56" h="1206">
                  <a:moveTo>
                    <a:pt x="492" y="1032"/>
                  </a:moveTo>
                  <a:lnTo>
                    <a:pt x="486" y="1038"/>
                  </a:lnTo>
                  <a:lnTo>
                    <a:pt x="486" y="1044"/>
                  </a:lnTo>
                  <a:lnTo>
                    <a:pt x="480" y="1044"/>
                  </a:lnTo>
                  <a:lnTo>
                    <a:pt x="474" y="1056"/>
                  </a:lnTo>
                  <a:lnTo>
                    <a:pt x="462" y="1068"/>
                  </a:lnTo>
                  <a:lnTo>
                    <a:pt x="456" y="1080"/>
                  </a:lnTo>
                  <a:lnTo>
                    <a:pt x="450" y="1080"/>
                  </a:lnTo>
                  <a:lnTo>
                    <a:pt x="450" y="1086"/>
                  </a:lnTo>
                  <a:lnTo>
                    <a:pt x="450" y="1092"/>
                  </a:lnTo>
                  <a:lnTo>
                    <a:pt x="444" y="1104"/>
                  </a:lnTo>
                  <a:lnTo>
                    <a:pt x="444" y="1116"/>
                  </a:lnTo>
                  <a:lnTo>
                    <a:pt x="438" y="1128"/>
                  </a:lnTo>
                  <a:lnTo>
                    <a:pt x="432" y="1134"/>
                  </a:lnTo>
                  <a:lnTo>
                    <a:pt x="432" y="1140"/>
                  </a:lnTo>
                  <a:lnTo>
                    <a:pt x="420" y="1152"/>
                  </a:lnTo>
                  <a:lnTo>
                    <a:pt x="420" y="1158"/>
                  </a:lnTo>
                  <a:lnTo>
                    <a:pt x="408" y="1182"/>
                  </a:lnTo>
                  <a:lnTo>
                    <a:pt x="396" y="1194"/>
                  </a:lnTo>
                  <a:lnTo>
                    <a:pt x="390" y="1206"/>
                  </a:lnTo>
                  <a:lnTo>
                    <a:pt x="390" y="1200"/>
                  </a:lnTo>
                  <a:lnTo>
                    <a:pt x="384" y="1194"/>
                  </a:lnTo>
                  <a:lnTo>
                    <a:pt x="378" y="1188"/>
                  </a:lnTo>
                  <a:lnTo>
                    <a:pt x="366" y="1176"/>
                  </a:lnTo>
                  <a:lnTo>
                    <a:pt x="366" y="1170"/>
                  </a:lnTo>
                  <a:lnTo>
                    <a:pt x="348" y="1152"/>
                  </a:lnTo>
                  <a:lnTo>
                    <a:pt x="336" y="1140"/>
                  </a:lnTo>
                  <a:lnTo>
                    <a:pt x="330" y="1134"/>
                  </a:lnTo>
                  <a:lnTo>
                    <a:pt x="324" y="1128"/>
                  </a:lnTo>
                  <a:lnTo>
                    <a:pt x="318" y="1122"/>
                  </a:lnTo>
                  <a:lnTo>
                    <a:pt x="312" y="1116"/>
                  </a:lnTo>
                  <a:lnTo>
                    <a:pt x="306" y="1110"/>
                  </a:lnTo>
                  <a:lnTo>
                    <a:pt x="300" y="1104"/>
                  </a:lnTo>
                  <a:lnTo>
                    <a:pt x="294" y="1098"/>
                  </a:lnTo>
                  <a:lnTo>
                    <a:pt x="276" y="1080"/>
                  </a:lnTo>
                  <a:lnTo>
                    <a:pt x="270" y="1080"/>
                  </a:lnTo>
                  <a:lnTo>
                    <a:pt x="270" y="1074"/>
                  </a:lnTo>
                  <a:lnTo>
                    <a:pt x="264" y="1068"/>
                  </a:lnTo>
                  <a:lnTo>
                    <a:pt x="258" y="1062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40" y="1050"/>
                  </a:lnTo>
                  <a:lnTo>
                    <a:pt x="234" y="1044"/>
                  </a:lnTo>
                  <a:lnTo>
                    <a:pt x="228" y="1044"/>
                  </a:lnTo>
                  <a:lnTo>
                    <a:pt x="222" y="1038"/>
                  </a:lnTo>
                  <a:lnTo>
                    <a:pt x="222" y="1032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6"/>
                  </a:lnTo>
                  <a:lnTo>
                    <a:pt x="204" y="1020"/>
                  </a:lnTo>
                  <a:lnTo>
                    <a:pt x="204" y="1014"/>
                  </a:lnTo>
                  <a:lnTo>
                    <a:pt x="198" y="1014"/>
                  </a:lnTo>
                  <a:lnTo>
                    <a:pt x="192" y="1014"/>
                  </a:lnTo>
                  <a:lnTo>
                    <a:pt x="192" y="1008"/>
                  </a:lnTo>
                  <a:lnTo>
                    <a:pt x="186" y="1008"/>
                  </a:lnTo>
                  <a:lnTo>
                    <a:pt x="186" y="1002"/>
                  </a:lnTo>
                  <a:lnTo>
                    <a:pt x="180" y="1002"/>
                  </a:lnTo>
                  <a:lnTo>
                    <a:pt x="174" y="996"/>
                  </a:lnTo>
                  <a:lnTo>
                    <a:pt x="168" y="996"/>
                  </a:lnTo>
                  <a:lnTo>
                    <a:pt x="168" y="990"/>
                  </a:lnTo>
                  <a:lnTo>
                    <a:pt x="162" y="990"/>
                  </a:lnTo>
                  <a:lnTo>
                    <a:pt x="162" y="984"/>
                  </a:lnTo>
                  <a:lnTo>
                    <a:pt x="150" y="978"/>
                  </a:lnTo>
                  <a:lnTo>
                    <a:pt x="144" y="972"/>
                  </a:lnTo>
                  <a:lnTo>
                    <a:pt x="138" y="972"/>
                  </a:lnTo>
                  <a:lnTo>
                    <a:pt x="138" y="966"/>
                  </a:lnTo>
                  <a:lnTo>
                    <a:pt x="132" y="966"/>
                  </a:lnTo>
                  <a:lnTo>
                    <a:pt x="126" y="960"/>
                  </a:lnTo>
                  <a:lnTo>
                    <a:pt x="126" y="954"/>
                  </a:lnTo>
                  <a:lnTo>
                    <a:pt x="120" y="954"/>
                  </a:lnTo>
                  <a:lnTo>
                    <a:pt x="114" y="948"/>
                  </a:lnTo>
                  <a:lnTo>
                    <a:pt x="108" y="948"/>
                  </a:lnTo>
                  <a:lnTo>
                    <a:pt x="108" y="942"/>
                  </a:lnTo>
                  <a:lnTo>
                    <a:pt x="102" y="942"/>
                  </a:lnTo>
                  <a:lnTo>
                    <a:pt x="96" y="942"/>
                  </a:lnTo>
                  <a:lnTo>
                    <a:pt x="96" y="936"/>
                  </a:lnTo>
                  <a:lnTo>
                    <a:pt x="90" y="936"/>
                  </a:lnTo>
                  <a:lnTo>
                    <a:pt x="90" y="930"/>
                  </a:lnTo>
                  <a:lnTo>
                    <a:pt x="84" y="930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18"/>
                  </a:lnTo>
                  <a:lnTo>
                    <a:pt x="66" y="918"/>
                  </a:lnTo>
                  <a:lnTo>
                    <a:pt x="66" y="912"/>
                  </a:lnTo>
                  <a:lnTo>
                    <a:pt x="66" y="906"/>
                  </a:lnTo>
                  <a:lnTo>
                    <a:pt x="72" y="906"/>
                  </a:lnTo>
                  <a:lnTo>
                    <a:pt x="84" y="906"/>
                  </a:lnTo>
                  <a:lnTo>
                    <a:pt x="90" y="906"/>
                  </a:lnTo>
                  <a:lnTo>
                    <a:pt x="120" y="930"/>
                  </a:lnTo>
                  <a:lnTo>
                    <a:pt x="126" y="936"/>
                  </a:lnTo>
                  <a:lnTo>
                    <a:pt x="138" y="936"/>
                  </a:lnTo>
                  <a:lnTo>
                    <a:pt x="138" y="930"/>
                  </a:lnTo>
                  <a:lnTo>
                    <a:pt x="144" y="930"/>
                  </a:lnTo>
                  <a:lnTo>
                    <a:pt x="144" y="924"/>
                  </a:lnTo>
                  <a:lnTo>
                    <a:pt x="150" y="900"/>
                  </a:lnTo>
                  <a:lnTo>
                    <a:pt x="138" y="894"/>
                  </a:lnTo>
                  <a:lnTo>
                    <a:pt x="126" y="894"/>
                  </a:lnTo>
                  <a:lnTo>
                    <a:pt x="108" y="888"/>
                  </a:lnTo>
                  <a:lnTo>
                    <a:pt x="84" y="882"/>
                  </a:lnTo>
                  <a:lnTo>
                    <a:pt x="72" y="882"/>
                  </a:lnTo>
                  <a:lnTo>
                    <a:pt x="72" y="876"/>
                  </a:lnTo>
                  <a:lnTo>
                    <a:pt x="78" y="870"/>
                  </a:lnTo>
                  <a:lnTo>
                    <a:pt x="90" y="870"/>
                  </a:lnTo>
                  <a:lnTo>
                    <a:pt x="96" y="870"/>
                  </a:lnTo>
                  <a:lnTo>
                    <a:pt x="102" y="870"/>
                  </a:lnTo>
                  <a:lnTo>
                    <a:pt x="114" y="870"/>
                  </a:lnTo>
                  <a:lnTo>
                    <a:pt x="120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34"/>
                  </a:lnTo>
                  <a:lnTo>
                    <a:pt x="132" y="828"/>
                  </a:lnTo>
                  <a:lnTo>
                    <a:pt x="132" y="816"/>
                  </a:lnTo>
                  <a:lnTo>
                    <a:pt x="150" y="816"/>
                  </a:lnTo>
                  <a:lnTo>
                    <a:pt x="150" y="804"/>
                  </a:lnTo>
                  <a:lnTo>
                    <a:pt x="144" y="798"/>
                  </a:lnTo>
                  <a:lnTo>
                    <a:pt x="156" y="762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32"/>
                  </a:lnTo>
                  <a:lnTo>
                    <a:pt x="144" y="726"/>
                  </a:lnTo>
                  <a:lnTo>
                    <a:pt x="132" y="726"/>
                  </a:lnTo>
                  <a:lnTo>
                    <a:pt x="120" y="732"/>
                  </a:lnTo>
                  <a:lnTo>
                    <a:pt x="114" y="744"/>
                  </a:lnTo>
                  <a:lnTo>
                    <a:pt x="108" y="750"/>
                  </a:lnTo>
                  <a:lnTo>
                    <a:pt x="96" y="768"/>
                  </a:lnTo>
                  <a:lnTo>
                    <a:pt x="96" y="774"/>
                  </a:lnTo>
                  <a:lnTo>
                    <a:pt x="90" y="780"/>
                  </a:lnTo>
                  <a:lnTo>
                    <a:pt x="84" y="804"/>
                  </a:lnTo>
                  <a:lnTo>
                    <a:pt x="72" y="774"/>
                  </a:lnTo>
                  <a:lnTo>
                    <a:pt x="72" y="768"/>
                  </a:lnTo>
                  <a:lnTo>
                    <a:pt x="66" y="762"/>
                  </a:lnTo>
                  <a:lnTo>
                    <a:pt x="60" y="750"/>
                  </a:lnTo>
                  <a:lnTo>
                    <a:pt x="54" y="750"/>
                  </a:lnTo>
                  <a:lnTo>
                    <a:pt x="48" y="750"/>
                  </a:lnTo>
                  <a:lnTo>
                    <a:pt x="42" y="750"/>
                  </a:lnTo>
                  <a:lnTo>
                    <a:pt x="30" y="744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12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2" y="702"/>
                  </a:lnTo>
                  <a:lnTo>
                    <a:pt x="18" y="696"/>
                  </a:lnTo>
                  <a:lnTo>
                    <a:pt x="12" y="690"/>
                  </a:lnTo>
                  <a:lnTo>
                    <a:pt x="12" y="684"/>
                  </a:lnTo>
                  <a:lnTo>
                    <a:pt x="12" y="678"/>
                  </a:lnTo>
                  <a:lnTo>
                    <a:pt x="12" y="672"/>
                  </a:lnTo>
                  <a:lnTo>
                    <a:pt x="18" y="672"/>
                  </a:lnTo>
                  <a:lnTo>
                    <a:pt x="18" y="666"/>
                  </a:lnTo>
                  <a:lnTo>
                    <a:pt x="24" y="666"/>
                  </a:lnTo>
                  <a:lnTo>
                    <a:pt x="24" y="660"/>
                  </a:lnTo>
                  <a:lnTo>
                    <a:pt x="30" y="660"/>
                  </a:lnTo>
                  <a:lnTo>
                    <a:pt x="30" y="654"/>
                  </a:lnTo>
                  <a:lnTo>
                    <a:pt x="36" y="654"/>
                  </a:lnTo>
                  <a:lnTo>
                    <a:pt x="36" y="648"/>
                  </a:lnTo>
                  <a:lnTo>
                    <a:pt x="42" y="648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60" y="630"/>
                  </a:lnTo>
                  <a:lnTo>
                    <a:pt x="66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78" y="624"/>
                  </a:lnTo>
                  <a:lnTo>
                    <a:pt x="84" y="618"/>
                  </a:lnTo>
                  <a:lnTo>
                    <a:pt x="84" y="612"/>
                  </a:lnTo>
                  <a:lnTo>
                    <a:pt x="90" y="612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20" y="588"/>
                  </a:lnTo>
                  <a:lnTo>
                    <a:pt x="120" y="582"/>
                  </a:lnTo>
                  <a:lnTo>
                    <a:pt x="120" y="576"/>
                  </a:lnTo>
                  <a:lnTo>
                    <a:pt x="120" y="570"/>
                  </a:lnTo>
                  <a:lnTo>
                    <a:pt x="126" y="564"/>
                  </a:lnTo>
                  <a:lnTo>
                    <a:pt x="126" y="558"/>
                  </a:lnTo>
                  <a:lnTo>
                    <a:pt x="126" y="552"/>
                  </a:lnTo>
                  <a:lnTo>
                    <a:pt x="126" y="546"/>
                  </a:lnTo>
                  <a:lnTo>
                    <a:pt x="126" y="534"/>
                  </a:lnTo>
                  <a:lnTo>
                    <a:pt x="126" y="516"/>
                  </a:lnTo>
                  <a:lnTo>
                    <a:pt x="126" y="510"/>
                  </a:lnTo>
                  <a:lnTo>
                    <a:pt x="126" y="504"/>
                  </a:lnTo>
                  <a:lnTo>
                    <a:pt x="126" y="498"/>
                  </a:lnTo>
                  <a:lnTo>
                    <a:pt x="132" y="498"/>
                  </a:lnTo>
                  <a:lnTo>
                    <a:pt x="132" y="492"/>
                  </a:lnTo>
                  <a:lnTo>
                    <a:pt x="138" y="492"/>
                  </a:lnTo>
                  <a:lnTo>
                    <a:pt x="144" y="486"/>
                  </a:lnTo>
                  <a:lnTo>
                    <a:pt x="156" y="480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6" y="462"/>
                  </a:lnTo>
                  <a:lnTo>
                    <a:pt x="156" y="456"/>
                  </a:lnTo>
                  <a:lnTo>
                    <a:pt x="156" y="450"/>
                  </a:lnTo>
                  <a:lnTo>
                    <a:pt x="162" y="438"/>
                  </a:lnTo>
                  <a:lnTo>
                    <a:pt x="168" y="426"/>
                  </a:lnTo>
                  <a:lnTo>
                    <a:pt x="174" y="426"/>
                  </a:lnTo>
                  <a:lnTo>
                    <a:pt x="174" y="420"/>
                  </a:lnTo>
                  <a:lnTo>
                    <a:pt x="180" y="414"/>
                  </a:lnTo>
                  <a:lnTo>
                    <a:pt x="186" y="420"/>
                  </a:lnTo>
                  <a:lnTo>
                    <a:pt x="186" y="414"/>
                  </a:lnTo>
                  <a:lnTo>
                    <a:pt x="180" y="408"/>
                  </a:lnTo>
                  <a:lnTo>
                    <a:pt x="180" y="402"/>
                  </a:lnTo>
                  <a:lnTo>
                    <a:pt x="186" y="402"/>
                  </a:lnTo>
                  <a:lnTo>
                    <a:pt x="192" y="402"/>
                  </a:lnTo>
                  <a:lnTo>
                    <a:pt x="192" y="396"/>
                  </a:lnTo>
                  <a:lnTo>
                    <a:pt x="198" y="396"/>
                  </a:lnTo>
                  <a:lnTo>
                    <a:pt x="204" y="396"/>
                  </a:lnTo>
                  <a:lnTo>
                    <a:pt x="210" y="396"/>
                  </a:lnTo>
                  <a:lnTo>
                    <a:pt x="210" y="390"/>
                  </a:lnTo>
                  <a:lnTo>
                    <a:pt x="216" y="390"/>
                  </a:lnTo>
                  <a:lnTo>
                    <a:pt x="216" y="384"/>
                  </a:lnTo>
                  <a:lnTo>
                    <a:pt x="222" y="384"/>
                  </a:lnTo>
                  <a:lnTo>
                    <a:pt x="222" y="378"/>
                  </a:lnTo>
                  <a:lnTo>
                    <a:pt x="228" y="372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0" y="348"/>
                  </a:lnTo>
                  <a:lnTo>
                    <a:pt x="234" y="342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46" y="330"/>
                  </a:lnTo>
                  <a:lnTo>
                    <a:pt x="246" y="324"/>
                  </a:lnTo>
                  <a:lnTo>
                    <a:pt x="234" y="318"/>
                  </a:lnTo>
                  <a:lnTo>
                    <a:pt x="234" y="312"/>
                  </a:lnTo>
                  <a:lnTo>
                    <a:pt x="234" y="300"/>
                  </a:lnTo>
                  <a:lnTo>
                    <a:pt x="240" y="288"/>
                  </a:lnTo>
                  <a:lnTo>
                    <a:pt x="240" y="276"/>
                  </a:lnTo>
                  <a:lnTo>
                    <a:pt x="246" y="258"/>
                  </a:lnTo>
                  <a:lnTo>
                    <a:pt x="258" y="252"/>
                  </a:lnTo>
                  <a:lnTo>
                    <a:pt x="270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294" y="252"/>
                  </a:lnTo>
                  <a:lnTo>
                    <a:pt x="300" y="258"/>
                  </a:lnTo>
                  <a:lnTo>
                    <a:pt x="318" y="252"/>
                  </a:lnTo>
                  <a:lnTo>
                    <a:pt x="366" y="252"/>
                  </a:lnTo>
                  <a:lnTo>
                    <a:pt x="378" y="252"/>
                  </a:lnTo>
                  <a:lnTo>
                    <a:pt x="396" y="252"/>
                  </a:lnTo>
                  <a:lnTo>
                    <a:pt x="408" y="252"/>
                  </a:lnTo>
                  <a:lnTo>
                    <a:pt x="408" y="246"/>
                  </a:lnTo>
                  <a:lnTo>
                    <a:pt x="414" y="240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20" y="216"/>
                  </a:lnTo>
                  <a:lnTo>
                    <a:pt x="426" y="210"/>
                  </a:lnTo>
                  <a:lnTo>
                    <a:pt x="444" y="198"/>
                  </a:lnTo>
                  <a:lnTo>
                    <a:pt x="462" y="198"/>
                  </a:lnTo>
                  <a:lnTo>
                    <a:pt x="474" y="204"/>
                  </a:lnTo>
                  <a:lnTo>
                    <a:pt x="498" y="198"/>
                  </a:lnTo>
                  <a:lnTo>
                    <a:pt x="498" y="204"/>
                  </a:lnTo>
                  <a:lnTo>
                    <a:pt x="540" y="210"/>
                  </a:lnTo>
                  <a:lnTo>
                    <a:pt x="564" y="210"/>
                  </a:lnTo>
                  <a:lnTo>
                    <a:pt x="588" y="210"/>
                  </a:lnTo>
                  <a:lnTo>
                    <a:pt x="612" y="210"/>
                  </a:lnTo>
                  <a:lnTo>
                    <a:pt x="612" y="216"/>
                  </a:lnTo>
                  <a:lnTo>
                    <a:pt x="618" y="222"/>
                  </a:lnTo>
                  <a:lnTo>
                    <a:pt x="618" y="228"/>
                  </a:lnTo>
                  <a:lnTo>
                    <a:pt x="624" y="240"/>
                  </a:lnTo>
                  <a:lnTo>
                    <a:pt x="624" y="246"/>
                  </a:lnTo>
                  <a:lnTo>
                    <a:pt x="630" y="252"/>
                  </a:lnTo>
                  <a:lnTo>
                    <a:pt x="630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0" y="282"/>
                  </a:lnTo>
                  <a:lnTo>
                    <a:pt x="630" y="288"/>
                  </a:lnTo>
                  <a:lnTo>
                    <a:pt x="630" y="300"/>
                  </a:lnTo>
                  <a:lnTo>
                    <a:pt x="630" y="306"/>
                  </a:lnTo>
                  <a:lnTo>
                    <a:pt x="636" y="306"/>
                  </a:lnTo>
                  <a:lnTo>
                    <a:pt x="642" y="306"/>
                  </a:lnTo>
                  <a:lnTo>
                    <a:pt x="648" y="312"/>
                  </a:lnTo>
                  <a:lnTo>
                    <a:pt x="666" y="312"/>
                  </a:lnTo>
                  <a:lnTo>
                    <a:pt x="696" y="306"/>
                  </a:lnTo>
                  <a:lnTo>
                    <a:pt x="732" y="300"/>
                  </a:lnTo>
                  <a:lnTo>
                    <a:pt x="732" y="288"/>
                  </a:lnTo>
                  <a:lnTo>
                    <a:pt x="738" y="288"/>
                  </a:lnTo>
                  <a:lnTo>
                    <a:pt x="744" y="276"/>
                  </a:lnTo>
                  <a:lnTo>
                    <a:pt x="762" y="246"/>
                  </a:lnTo>
                  <a:lnTo>
                    <a:pt x="768" y="228"/>
                  </a:lnTo>
                  <a:lnTo>
                    <a:pt x="792" y="210"/>
                  </a:lnTo>
                  <a:lnTo>
                    <a:pt x="804" y="186"/>
                  </a:lnTo>
                  <a:lnTo>
                    <a:pt x="804" y="156"/>
                  </a:lnTo>
                  <a:lnTo>
                    <a:pt x="804" y="138"/>
                  </a:lnTo>
                  <a:lnTo>
                    <a:pt x="810" y="126"/>
                  </a:lnTo>
                  <a:lnTo>
                    <a:pt x="816" y="120"/>
                  </a:lnTo>
                  <a:lnTo>
                    <a:pt x="828" y="102"/>
                  </a:lnTo>
                  <a:lnTo>
                    <a:pt x="834" y="96"/>
                  </a:lnTo>
                  <a:lnTo>
                    <a:pt x="846" y="102"/>
                  </a:lnTo>
                  <a:lnTo>
                    <a:pt x="852" y="96"/>
                  </a:lnTo>
                  <a:lnTo>
                    <a:pt x="858" y="72"/>
                  </a:lnTo>
                  <a:lnTo>
                    <a:pt x="864" y="60"/>
                  </a:lnTo>
                  <a:lnTo>
                    <a:pt x="882" y="48"/>
                  </a:lnTo>
                  <a:lnTo>
                    <a:pt x="906" y="36"/>
                  </a:lnTo>
                  <a:lnTo>
                    <a:pt x="918" y="12"/>
                  </a:lnTo>
                  <a:lnTo>
                    <a:pt x="924" y="0"/>
                  </a:lnTo>
                  <a:lnTo>
                    <a:pt x="930" y="6"/>
                  </a:lnTo>
                  <a:lnTo>
                    <a:pt x="942" y="12"/>
                  </a:lnTo>
                  <a:lnTo>
                    <a:pt x="948" y="12"/>
                  </a:lnTo>
                  <a:lnTo>
                    <a:pt x="954" y="18"/>
                  </a:lnTo>
                  <a:lnTo>
                    <a:pt x="966" y="18"/>
                  </a:lnTo>
                  <a:lnTo>
                    <a:pt x="972" y="18"/>
                  </a:lnTo>
                  <a:lnTo>
                    <a:pt x="984" y="18"/>
                  </a:lnTo>
                  <a:lnTo>
                    <a:pt x="990" y="18"/>
                  </a:lnTo>
                  <a:lnTo>
                    <a:pt x="1002" y="48"/>
                  </a:lnTo>
                  <a:lnTo>
                    <a:pt x="1008" y="78"/>
                  </a:lnTo>
                  <a:lnTo>
                    <a:pt x="1020" y="78"/>
                  </a:lnTo>
                  <a:lnTo>
                    <a:pt x="1020" y="90"/>
                  </a:lnTo>
                  <a:lnTo>
                    <a:pt x="1026" y="102"/>
                  </a:lnTo>
                  <a:lnTo>
                    <a:pt x="1044" y="120"/>
                  </a:lnTo>
                  <a:lnTo>
                    <a:pt x="1044" y="132"/>
                  </a:lnTo>
                  <a:lnTo>
                    <a:pt x="1056" y="150"/>
                  </a:lnTo>
                  <a:lnTo>
                    <a:pt x="1050" y="150"/>
                  </a:lnTo>
                  <a:lnTo>
                    <a:pt x="1044" y="156"/>
                  </a:lnTo>
                  <a:lnTo>
                    <a:pt x="1044" y="162"/>
                  </a:lnTo>
                  <a:lnTo>
                    <a:pt x="1038" y="162"/>
                  </a:lnTo>
                  <a:lnTo>
                    <a:pt x="1032" y="162"/>
                  </a:lnTo>
                  <a:lnTo>
                    <a:pt x="1026" y="168"/>
                  </a:lnTo>
                  <a:lnTo>
                    <a:pt x="1014" y="174"/>
                  </a:lnTo>
                  <a:lnTo>
                    <a:pt x="1014" y="186"/>
                  </a:lnTo>
                  <a:lnTo>
                    <a:pt x="1014" y="192"/>
                  </a:lnTo>
                  <a:lnTo>
                    <a:pt x="1014" y="198"/>
                  </a:lnTo>
                  <a:lnTo>
                    <a:pt x="1020" y="204"/>
                  </a:lnTo>
                  <a:lnTo>
                    <a:pt x="1026" y="204"/>
                  </a:lnTo>
                  <a:lnTo>
                    <a:pt x="1032" y="204"/>
                  </a:lnTo>
                  <a:lnTo>
                    <a:pt x="1032" y="210"/>
                  </a:lnTo>
                  <a:lnTo>
                    <a:pt x="1038" y="210"/>
                  </a:lnTo>
                  <a:lnTo>
                    <a:pt x="1032" y="216"/>
                  </a:lnTo>
                  <a:lnTo>
                    <a:pt x="1026" y="228"/>
                  </a:lnTo>
                  <a:lnTo>
                    <a:pt x="1026" y="234"/>
                  </a:lnTo>
                  <a:lnTo>
                    <a:pt x="1032" y="240"/>
                  </a:lnTo>
                  <a:lnTo>
                    <a:pt x="1032" y="246"/>
                  </a:lnTo>
                  <a:lnTo>
                    <a:pt x="1032" y="252"/>
                  </a:lnTo>
                  <a:lnTo>
                    <a:pt x="1032" y="258"/>
                  </a:lnTo>
                  <a:lnTo>
                    <a:pt x="1038" y="264"/>
                  </a:lnTo>
                  <a:lnTo>
                    <a:pt x="1032" y="276"/>
                  </a:lnTo>
                  <a:lnTo>
                    <a:pt x="1026" y="276"/>
                  </a:lnTo>
                  <a:lnTo>
                    <a:pt x="1020" y="276"/>
                  </a:lnTo>
                  <a:lnTo>
                    <a:pt x="996" y="282"/>
                  </a:lnTo>
                  <a:lnTo>
                    <a:pt x="996" y="288"/>
                  </a:lnTo>
                  <a:lnTo>
                    <a:pt x="996" y="294"/>
                  </a:lnTo>
                  <a:lnTo>
                    <a:pt x="996" y="300"/>
                  </a:lnTo>
                  <a:lnTo>
                    <a:pt x="996" y="306"/>
                  </a:lnTo>
                  <a:lnTo>
                    <a:pt x="984" y="324"/>
                  </a:lnTo>
                  <a:lnTo>
                    <a:pt x="984" y="330"/>
                  </a:lnTo>
                  <a:lnTo>
                    <a:pt x="984" y="336"/>
                  </a:lnTo>
                  <a:lnTo>
                    <a:pt x="978" y="336"/>
                  </a:lnTo>
                  <a:lnTo>
                    <a:pt x="978" y="342"/>
                  </a:lnTo>
                  <a:lnTo>
                    <a:pt x="984" y="360"/>
                  </a:lnTo>
                  <a:lnTo>
                    <a:pt x="978" y="366"/>
                  </a:lnTo>
                  <a:lnTo>
                    <a:pt x="978" y="372"/>
                  </a:lnTo>
                  <a:lnTo>
                    <a:pt x="972" y="372"/>
                  </a:lnTo>
                  <a:lnTo>
                    <a:pt x="972" y="378"/>
                  </a:lnTo>
                  <a:lnTo>
                    <a:pt x="972" y="384"/>
                  </a:lnTo>
                  <a:lnTo>
                    <a:pt x="972" y="390"/>
                  </a:lnTo>
                  <a:lnTo>
                    <a:pt x="966" y="402"/>
                  </a:lnTo>
                  <a:lnTo>
                    <a:pt x="960" y="414"/>
                  </a:lnTo>
                  <a:lnTo>
                    <a:pt x="954" y="420"/>
                  </a:lnTo>
                  <a:lnTo>
                    <a:pt x="948" y="426"/>
                  </a:lnTo>
                  <a:lnTo>
                    <a:pt x="948" y="438"/>
                  </a:lnTo>
                  <a:lnTo>
                    <a:pt x="942" y="444"/>
                  </a:lnTo>
                  <a:lnTo>
                    <a:pt x="936" y="450"/>
                  </a:lnTo>
                  <a:lnTo>
                    <a:pt x="930" y="456"/>
                  </a:lnTo>
                  <a:lnTo>
                    <a:pt x="924" y="462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18" y="522"/>
                  </a:lnTo>
                  <a:lnTo>
                    <a:pt x="918" y="528"/>
                  </a:lnTo>
                  <a:lnTo>
                    <a:pt x="924" y="534"/>
                  </a:lnTo>
                  <a:lnTo>
                    <a:pt x="924" y="540"/>
                  </a:lnTo>
                  <a:lnTo>
                    <a:pt x="924" y="546"/>
                  </a:lnTo>
                  <a:lnTo>
                    <a:pt x="918" y="546"/>
                  </a:lnTo>
                  <a:lnTo>
                    <a:pt x="918" y="552"/>
                  </a:lnTo>
                  <a:lnTo>
                    <a:pt x="912" y="546"/>
                  </a:lnTo>
                  <a:lnTo>
                    <a:pt x="912" y="552"/>
                  </a:lnTo>
                  <a:lnTo>
                    <a:pt x="912" y="570"/>
                  </a:lnTo>
                  <a:lnTo>
                    <a:pt x="906" y="588"/>
                  </a:lnTo>
                  <a:lnTo>
                    <a:pt x="900" y="606"/>
                  </a:lnTo>
                  <a:lnTo>
                    <a:pt x="906" y="624"/>
                  </a:lnTo>
                  <a:lnTo>
                    <a:pt x="900" y="624"/>
                  </a:lnTo>
                  <a:lnTo>
                    <a:pt x="894" y="630"/>
                  </a:lnTo>
                  <a:lnTo>
                    <a:pt x="888" y="630"/>
                  </a:lnTo>
                  <a:lnTo>
                    <a:pt x="882" y="630"/>
                  </a:lnTo>
                  <a:lnTo>
                    <a:pt x="882" y="636"/>
                  </a:lnTo>
                  <a:lnTo>
                    <a:pt x="876" y="642"/>
                  </a:lnTo>
                  <a:lnTo>
                    <a:pt x="870" y="642"/>
                  </a:lnTo>
                  <a:lnTo>
                    <a:pt x="870" y="648"/>
                  </a:lnTo>
                  <a:lnTo>
                    <a:pt x="870" y="654"/>
                  </a:lnTo>
                  <a:lnTo>
                    <a:pt x="864" y="654"/>
                  </a:lnTo>
                  <a:lnTo>
                    <a:pt x="864" y="660"/>
                  </a:lnTo>
                  <a:lnTo>
                    <a:pt x="846" y="666"/>
                  </a:lnTo>
                  <a:lnTo>
                    <a:pt x="828" y="672"/>
                  </a:lnTo>
                  <a:lnTo>
                    <a:pt x="816" y="660"/>
                  </a:lnTo>
                  <a:lnTo>
                    <a:pt x="810" y="660"/>
                  </a:lnTo>
                  <a:lnTo>
                    <a:pt x="798" y="666"/>
                  </a:lnTo>
                  <a:lnTo>
                    <a:pt x="786" y="666"/>
                  </a:lnTo>
                  <a:lnTo>
                    <a:pt x="780" y="672"/>
                  </a:lnTo>
                  <a:lnTo>
                    <a:pt x="768" y="678"/>
                  </a:lnTo>
                  <a:lnTo>
                    <a:pt x="762" y="660"/>
                  </a:lnTo>
                  <a:lnTo>
                    <a:pt x="762" y="654"/>
                  </a:lnTo>
                  <a:lnTo>
                    <a:pt x="756" y="636"/>
                  </a:lnTo>
                  <a:lnTo>
                    <a:pt x="762" y="624"/>
                  </a:lnTo>
                  <a:lnTo>
                    <a:pt x="756" y="606"/>
                  </a:lnTo>
                  <a:lnTo>
                    <a:pt x="756" y="600"/>
                  </a:lnTo>
                  <a:lnTo>
                    <a:pt x="762" y="594"/>
                  </a:lnTo>
                  <a:lnTo>
                    <a:pt x="768" y="600"/>
                  </a:lnTo>
                  <a:lnTo>
                    <a:pt x="768" y="594"/>
                  </a:lnTo>
                  <a:lnTo>
                    <a:pt x="768" y="588"/>
                  </a:lnTo>
                  <a:lnTo>
                    <a:pt x="774" y="582"/>
                  </a:lnTo>
                  <a:lnTo>
                    <a:pt x="768" y="576"/>
                  </a:lnTo>
                  <a:lnTo>
                    <a:pt x="762" y="576"/>
                  </a:lnTo>
                  <a:lnTo>
                    <a:pt x="756" y="576"/>
                  </a:lnTo>
                  <a:lnTo>
                    <a:pt x="690" y="576"/>
                  </a:lnTo>
                  <a:lnTo>
                    <a:pt x="624" y="570"/>
                  </a:lnTo>
                  <a:lnTo>
                    <a:pt x="600" y="564"/>
                  </a:lnTo>
                  <a:lnTo>
                    <a:pt x="576" y="564"/>
                  </a:lnTo>
                  <a:lnTo>
                    <a:pt x="558" y="570"/>
                  </a:lnTo>
                  <a:lnTo>
                    <a:pt x="552" y="576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46" y="594"/>
                  </a:lnTo>
                  <a:lnTo>
                    <a:pt x="546" y="600"/>
                  </a:lnTo>
                  <a:lnTo>
                    <a:pt x="540" y="606"/>
                  </a:lnTo>
                  <a:lnTo>
                    <a:pt x="534" y="618"/>
                  </a:lnTo>
                  <a:lnTo>
                    <a:pt x="534" y="624"/>
                  </a:lnTo>
                  <a:lnTo>
                    <a:pt x="534" y="630"/>
                  </a:lnTo>
                  <a:lnTo>
                    <a:pt x="534" y="636"/>
                  </a:lnTo>
                  <a:lnTo>
                    <a:pt x="528" y="636"/>
                  </a:lnTo>
                  <a:lnTo>
                    <a:pt x="516" y="642"/>
                  </a:lnTo>
                  <a:lnTo>
                    <a:pt x="516" y="648"/>
                  </a:lnTo>
                  <a:lnTo>
                    <a:pt x="510" y="648"/>
                  </a:lnTo>
                  <a:lnTo>
                    <a:pt x="504" y="654"/>
                  </a:lnTo>
                  <a:lnTo>
                    <a:pt x="492" y="666"/>
                  </a:lnTo>
                  <a:lnTo>
                    <a:pt x="492" y="672"/>
                  </a:lnTo>
                  <a:lnTo>
                    <a:pt x="492" y="684"/>
                  </a:lnTo>
                  <a:lnTo>
                    <a:pt x="486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92" y="702"/>
                  </a:lnTo>
                  <a:lnTo>
                    <a:pt x="486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74" y="720"/>
                  </a:lnTo>
                  <a:lnTo>
                    <a:pt x="480" y="726"/>
                  </a:lnTo>
                  <a:lnTo>
                    <a:pt x="474" y="726"/>
                  </a:lnTo>
                  <a:lnTo>
                    <a:pt x="474" y="738"/>
                  </a:lnTo>
                  <a:lnTo>
                    <a:pt x="474" y="744"/>
                  </a:lnTo>
                  <a:lnTo>
                    <a:pt x="474" y="750"/>
                  </a:lnTo>
                  <a:lnTo>
                    <a:pt x="480" y="750"/>
                  </a:lnTo>
                  <a:lnTo>
                    <a:pt x="480" y="756"/>
                  </a:lnTo>
                  <a:lnTo>
                    <a:pt x="492" y="762"/>
                  </a:lnTo>
                  <a:lnTo>
                    <a:pt x="498" y="774"/>
                  </a:lnTo>
                  <a:lnTo>
                    <a:pt x="498" y="780"/>
                  </a:lnTo>
                  <a:lnTo>
                    <a:pt x="504" y="786"/>
                  </a:lnTo>
                  <a:lnTo>
                    <a:pt x="510" y="792"/>
                  </a:lnTo>
                  <a:lnTo>
                    <a:pt x="504" y="798"/>
                  </a:lnTo>
                  <a:lnTo>
                    <a:pt x="504" y="804"/>
                  </a:lnTo>
                  <a:lnTo>
                    <a:pt x="504" y="810"/>
                  </a:lnTo>
                  <a:lnTo>
                    <a:pt x="498" y="822"/>
                  </a:lnTo>
                  <a:lnTo>
                    <a:pt x="492" y="828"/>
                  </a:lnTo>
                  <a:lnTo>
                    <a:pt x="492" y="834"/>
                  </a:lnTo>
                  <a:lnTo>
                    <a:pt x="486" y="840"/>
                  </a:lnTo>
                  <a:lnTo>
                    <a:pt x="480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74" y="858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876"/>
                  </a:lnTo>
                  <a:lnTo>
                    <a:pt x="456" y="894"/>
                  </a:lnTo>
                  <a:lnTo>
                    <a:pt x="450" y="894"/>
                  </a:lnTo>
                  <a:lnTo>
                    <a:pt x="444" y="900"/>
                  </a:lnTo>
                  <a:lnTo>
                    <a:pt x="444" y="894"/>
                  </a:lnTo>
                  <a:lnTo>
                    <a:pt x="438" y="894"/>
                  </a:lnTo>
                  <a:lnTo>
                    <a:pt x="432" y="900"/>
                  </a:lnTo>
                  <a:lnTo>
                    <a:pt x="432" y="906"/>
                  </a:lnTo>
                  <a:lnTo>
                    <a:pt x="420" y="906"/>
                  </a:lnTo>
                  <a:lnTo>
                    <a:pt x="420" y="912"/>
                  </a:lnTo>
                  <a:lnTo>
                    <a:pt x="420" y="918"/>
                  </a:lnTo>
                  <a:lnTo>
                    <a:pt x="426" y="918"/>
                  </a:lnTo>
                  <a:lnTo>
                    <a:pt x="426" y="924"/>
                  </a:lnTo>
                  <a:lnTo>
                    <a:pt x="426" y="930"/>
                  </a:lnTo>
                  <a:lnTo>
                    <a:pt x="420" y="930"/>
                  </a:lnTo>
                  <a:lnTo>
                    <a:pt x="414" y="936"/>
                  </a:lnTo>
                  <a:lnTo>
                    <a:pt x="414" y="942"/>
                  </a:lnTo>
                  <a:lnTo>
                    <a:pt x="414" y="948"/>
                  </a:lnTo>
                  <a:lnTo>
                    <a:pt x="414" y="954"/>
                  </a:lnTo>
                  <a:lnTo>
                    <a:pt x="426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44" y="972"/>
                  </a:lnTo>
                  <a:lnTo>
                    <a:pt x="444" y="978"/>
                  </a:lnTo>
                  <a:lnTo>
                    <a:pt x="450" y="978"/>
                  </a:lnTo>
                  <a:lnTo>
                    <a:pt x="450" y="984"/>
                  </a:lnTo>
                  <a:lnTo>
                    <a:pt x="456" y="990"/>
                  </a:lnTo>
                  <a:lnTo>
                    <a:pt x="456" y="996"/>
                  </a:lnTo>
                  <a:lnTo>
                    <a:pt x="462" y="1008"/>
                  </a:lnTo>
                  <a:lnTo>
                    <a:pt x="468" y="1008"/>
                  </a:lnTo>
                  <a:lnTo>
                    <a:pt x="468" y="1002"/>
                  </a:lnTo>
                  <a:lnTo>
                    <a:pt x="474" y="1008"/>
                  </a:lnTo>
                  <a:lnTo>
                    <a:pt x="480" y="1002"/>
                  </a:lnTo>
                  <a:lnTo>
                    <a:pt x="486" y="1008"/>
                  </a:lnTo>
                  <a:lnTo>
                    <a:pt x="486" y="1014"/>
                  </a:lnTo>
                  <a:lnTo>
                    <a:pt x="492" y="1014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86" y="1026"/>
                  </a:lnTo>
                  <a:lnTo>
                    <a:pt x="492" y="1026"/>
                  </a:lnTo>
                  <a:lnTo>
                    <a:pt x="486" y="1026"/>
                  </a:lnTo>
                  <a:lnTo>
                    <a:pt x="492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5" name="Freeform 30">
              <a:extLst>
                <a:ext uri="{FF2B5EF4-FFF2-40B4-BE49-F238E27FC236}">
                  <a16:creationId xmlns:a16="http://schemas.microsoft.com/office/drawing/2014/main" id="{85C7B827-0C1A-4D72-AEBD-F01CFE7EC12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3645" y="3904484"/>
              <a:ext cx="559048" cy="111825"/>
            </a:xfrm>
            <a:custGeom>
              <a:avLst/>
              <a:gdLst>
                <a:gd name="T0" fmla="*/ 69 w 1056"/>
                <a:gd name="T1" fmla="*/ 7 h 210"/>
                <a:gd name="T2" fmla="*/ 63 w 1056"/>
                <a:gd name="T3" fmla="*/ 5 h 210"/>
                <a:gd name="T4" fmla="*/ 57 w 1056"/>
                <a:gd name="T5" fmla="*/ 5 h 210"/>
                <a:gd name="T6" fmla="*/ 54 w 1056"/>
                <a:gd name="T7" fmla="*/ 6 h 210"/>
                <a:gd name="T8" fmla="*/ 51 w 1056"/>
                <a:gd name="T9" fmla="*/ 7 h 210"/>
                <a:gd name="T10" fmla="*/ 46 w 1056"/>
                <a:gd name="T11" fmla="*/ 9 h 210"/>
                <a:gd name="T12" fmla="*/ 42 w 1056"/>
                <a:gd name="T13" fmla="*/ 8 h 210"/>
                <a:gd name="T14" fmla="*/ 42 w 1056"/>
                <a:gd name="T15" fmla="*/ 5 h 210"/>
                <a:gd name="T16" fmla="*/ 41 w 1056"/>
                <a:gd name="T17" fmla="*/ 7 h 210"/>
                <a:gd name="T18" fmla="*/ 38 w 1056"/>
                <a:gd name="T19" fmla="*/ 10 h 210"/>
                <a:gd name="T20" fmla="*/ 37 w 1056"/>
                <a:gd name="T21" fmla="*/ 12 h 210"/>
                <a:gd name="T22" fmla="*/ 37 w 1056"/>
                <a:gd name="T23" fmla="*/ 15 h 210"/>
                <a:gd name="T24" fmla="*/ 37 w 1056"/>
                <a:gd name="T25" fmla="*/ 16 h 210"/>
                <a:gd name="T26" fmla="*/ 38 w 1056"/>
                <a:gd name="T27" fmla="*/ 16 h 210"/>
                <a:gd name="T28" fmla="*/ 34 w 1056"/>
                <a:gd name="T29" fmla="*/ 16 h 210"/>
                <a:gd name="T30" fmla="*/ 26 w 1056"/>
                <a:gd name="T31" fmla="*/ 16 h 210"/>
                <a:gd name="T32" fmla="*/ 20 w 1056"/>
                <a:gd name="T33" fmla="*/ 17 h 210"/>
                <a:gd name="T34" fmla="*/ 13 w 1056"/>
                <a:gd name="T35" fmla="*/ 17 h 210"/>
                <a:gd name="T36" fmla="*/ 6 w 1056"/>
                <a:gd name="T37" fmla="*/ 17 h 210"/>
                <a:gd name="T38" fmla="*/ 1 w 1056"/>
                <a:gd name="T39" fmla="*/ 18 h 210"/>
                <a:gd name="T40" fmla="*/ 3 w 1056"/>
                <a:gd name="T41" fmla="*/ 14 h 210"/>
                <a:gd name="T42" fmla="*/ 8 w 1056"/>
                <a:gd name="T43" fmla="*/ 15 h 210"/>
                <a:gd name="T44" fmla="*/ 11 w 1056"/>
                <a:gd name="T45" fmla="*/ 12 h 210"/>
                <a:gd name="T46" fmla="*/ 26 w 1056"/>
                <a:gd name="T47" fmla="*/ 10 h 210"/>
                <a:gd name="T48" fmla="*/ 29 w 1056"/>
                <a:gd name="T49" fmla="*/ 5 h 210"/>
                <a:gd name="T50" fmla="*/ 34 w 1056"/>
                <a:gd name="T51" fmla="*/ 1 h 210"/>
                <a:gd name="T52" fmla="*/ 41 w 1056"/>
                <a:gd name="T53" fmla="*/ 3 h 210"/>
                <a:gd name="T54" fmla="*/ 73 w 1056"/>
                <a:gd name="T55" fmla="*/ 1 h 210"/>
                <a:gd name="T56" fmla="*/ 75 w 1056"/>
                <a:gd name="T57" fmla="*/ 4 h 210"/>
                <a:gd name="T58" fmla="*/ 85 w 1056"/>
                <a:gd name="T59" fmla="*/ 15 h 210"/>
                <a:gd name="T60" fmla="*/ 91 w 1056"/>
                <a:gd name="T61" fmla="*/ 18 h 210"/>
                <a:gd name="T62" fmla="*/ 85 w 1056"/>
                <a:gd name="T63" fmla="*/ 18 h 210"/>
                <a:gd name="T64" fmla="*/ 79 w 1056"/>
                <a:gd name="T65" fmla="*/ 16 h 210"/>
                <a:gd name="T66" fmla="*/ 74 w 1056"/>
                <a:gd name="T67" fmla="*/ 16 h 210"/>
                <a:gd name="T68" fmla="*/ 69 w 1056"/>
                <a:gd name="T69" fmla="*/ 15 h 210"/>
                <a:gd name="T70" fmla="*/ 65 w 1056"/>
                <a:gd name="T71" fmla="*/ 14 h 210"/>
                <a:gd name="T72" fmla="*/ 59 w 1056"/>
                <a:gd name="T73" fmla="*/ 15 h 210"/>
                <a:gd name="T74" fmla="*/ 54 w 1056"/>
                <a:gd name="T75" fmla="*/ 15 h 210"/>
                <a:gd name="T76" fmla="*/ 49 w 1056"/>
                <a:gd name="T77" fmla="*/ 15 h 210"/>
                <a:gd name="T78" fmla="*/ 42 w 1056"/>
                <a:gd name="T79" fmla="*/ 15 h 210"/>
                <a:gd name="T80" fmla="*/ 38 w 1056"/>
                <a:gd name="T81" fmla="*/ 16 h 210"/>
                <a:gd name="T82" fmla="*/ 41 w 1056"/>
                <a:gd name="T83" fmla="*/ 14 h 210"/>
                <a:gd name="T84" fmla="*/ 42 w 1056"/>
                <a:gd name="T85" fmla="*/ 13 h 210"/>
                <a:gd name="T86" fmla="*/ 45 w 1056"/>
                <a:gd name="T87" fmla="*/ 13 h 210"/>
                <a:gd name="T88" fmla="*/ 48 w 1056"/>
                <a:gd name="T89" fmla="*/ 12 h 210"/>
                <a:gd name="T90" fmla="*/ 51 w 1056"/>
                <a:gd name="T91" fmla="*/ 11 h 210"/>
                <a:gd name="T92" fmla="*/ 54 w 1056"/>
                <a:gd name="T93" fmla="*/ 9 h 210"/>
                <a:gd name="T94" fmla="*/ 57 w 1056"/>
                <a:gd name="T95" fmla="*/ 8 h 210"/>
                <a:gd name="T96" fmla="*/ 60 w 1056"/>
                <a:gd name="T97" fmla="*/ 5 h 210"/>
                <a:gd name="T98" fmla="*/ 65 w 1056"/>
                <a:gd name="T99" fmla="*/ 5 h 210"/>
                <a:gd name="T100" fmla="*/ 72 w 1056"/>
                <a:gd name="T101" fmla="*/ 7 h 210"/>
                <a:gd name="T102" fmla="*/ 77 w 1056"/>
                <a:gd name="T103" fmla="*/ 11 h 210"/>
                <a:gd name="T104" fmla="*/ 69 w 1056"/>
                <a:gd name="T105" fmla="*/ 10 h 210"/>
                <a:gd name="T106" fmla="*/ 72 w 1056"/>
                <a:gd name="T107" fmla="*/ 12 h 210"/>
                <a:gd name="T108" fmla="*/ 78 w 1056"/>
                <a:gd name="T109" fmla="*/ 15 h 210"/>
                <a:gd name="T110" fmla="*/ 84 w 1056"/>
                <a:gd name="T111" fmla="*/ 14 h 210"/>
                <a:gd name="T112" fmla="*/ 84 w 1056"/>
                <a:gd name="T113" fmla="*/ 14 h 210"/>
                <a:gd name="T114" fmla="*/ 78 w 1056"/>
                <a:gd name="T115" fmla="*/ 13 h 210"/>
                <a:gd name="T116" fmla="*/ 76 w 1056"/>
                <a:gd name="T117" fmla="*/ 14 h 210"/>
                <a:gd name="T118" fmla="*/ 38 w 1056"/>
                <a:gd name="T119" fmla="*/ 12 h 210"/>
                <a:gd name="T120" fmla="*/ 41 w 1056"/>
                <a:gd name="T121" fmla="*/ 12 h 210"/>
                <a:gd name="T122" fmla="*/ 40 w 1056"/>
                <a:gd name="T123" fmla="*/ 14 h 2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6"/>
                <a:gd name="T187" fmla="*/ 0 h 210"/>
                <a:gd name="T188" fmla="*/ 1056 w 1056"/>
                <a:gd name="T189" fmla="*/ 210 h 21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6" h="210">
                  <a:moveTo>
                    <a:pt x="870" y="90"/>
                  </a:moveTo>
                  <a:lnTo>
                    <a:pt x="864" y="90"/>
                  </a:lnTo>
                  <a:lnTo>
                    <a:pt x="852" y="84"/>
                  </a:lnTo>
                  <a:lnTo>
                    <a:pt x="846" y="84"/>
                  </a:lnTo>
                  <a:lnTo>
                    <a:pt x="846" y="78"/>
                  </a:lnTo>
                  <a:lnTo>
                    <a:pt x="840" y="78"/>
                  </a:lnTo>
                  <a:lnTo>
                    <a:pt x="834" y="78"/>
                  </a:lnTo>
                  <a:lnTo>
                    <a:pt x="834" y="72"/>
                  </a:lnTo>
                  <a:lnTo>
                    <a:pt x="804" y="78"/>
                  </a:lnTo>
                  <a:lnTo>
                    <a:pt x="798" y="78"/>
                  </a:lnTo>
                  <a:lnTo>
                    <a:pt x="792" y="72"/>
                  </a:lnTo>
                  <a:lnTo>
                    <a:pt x="780" y="60"/>
                  </a:lnTo>
                  <a:lnTo>
                    <a:pt x="768" y="54"/>
                  </a:lnTo>
                  <a:lnTo>
                    <a:pt x="756" y="54"/>
                  </a:lnTo>
                  <a:lnTo>
                    <a:pt x="750" y="54"/>
                  </a:lnTo>
                  <a:lnTo>
                    <a:pt x="750" y="48"/>
                  </a:lnTo>
                  <a:lnTo>
                    <a:pt x="744" y="48"/>
                  </a:lnTo>
                  <a:lnTo>
                    <a:pt x="738" y="48"/>
                  </a:lnTo>
                  <a:lnTo>
                    <a:pt x="732" y="48"/>
                  </a:lnTo>
                  <a:lnTo>
                    <a:pt x="732" y="54"/>
                  </a:lnTo>
                  <a:lnTo>
                    <a:pt x="726" y="48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48"/>
                  </a:lnTo>
                  <a:lnTo>
                    <a:pt x="702" y="48"/>
                  </a:lnTo>
                  <a:lnTo>
                    <a:pt x="696" y="48"/>
                  </a:lnTo>
                  <a:lnTo>
                    <a:pt x="684" y="48"/>
                  </a:lnTo>
                  <a:lnTo>
                    <a:pt x="678" y="48"/>
                  </a:lnTo>
                  <a:lnTo>
                    <a:pt x="672" y="48"/>
                  </a:lnTo>
                  <a:lnTo>
                    <a:pt x="666" y="54"/>
                  </a:lnTo>
                  <a:lnTo>
                    <a:pt x="660" y="54"/>
                  </a:lnTo>
                  <a:lnTo>
                    <a:pt x="660" y="48"/>
                  </a:lnTo>
                  <a:lnTo>
                    <a:pt x="654" y="48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42" y="54"/>
                  </a:lnTo>
                  <a:lnTo>
                    <a:pt x="63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30" y="66"/>
                  </a:lnTo>
                  <a:lnTo>
                    <a:pt x="624" y="66"/>
                  </a:lnTo>
                  <a:lnTo>
                    <a:pt x="618" y="66"/>
                  </a:lnTo>
                  <a:lnTo>
                    <a:pt x="618" y="72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6" y="84"/>
                  </a:lnTo>
                  <a:lnTo>
                    <a:pt x="600" y="84"/>
                  </a:lnTo>
                  <a:lnTo>
                    <a:pt x="594" y="90"/>
                  </a:lnTo>
                  <a:lnTo>
                    <a:pt x="588" y="90"/>
                  </a:lnTo>
                  <a:lnTo>
                    <a:pt x="588" y="84"/>
                  </a:lnTo>
                  <a:lnTo>
                    <a:pt x="582" y="84"/>
                  </a:lnTo>
                  <a:lnTo>
                    <a:pt x="576" y="84"/>
                  </a:lnTo>
                  <a:lnTo>
                    <a:pt x="570" y="84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58" y="96"/>
                  </a:lnTo>
                  <a:lnTo>
                    <a:pt x="552" y="96"/>
                  </a:lnTo>
                  <a:lnTo>
                    <a:pt x="546" y="102"/>
                  </a:lnTo>
                  <a:lnTo>
                    <a:pt x="540" y="102"/>
                  </a:lnTo>
                  <a:lnTo>
                    <a:pt x="534" y="102"/>
                  </a:lnTo>
                  <a:lnTo>
                    <a:pt x="528" y="102"/>
                  </a:lnTo>
                  <a:lnTo>
                    <a:pt x="528" y="108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16" y="102"/>
                  </a:lnTo>
                  <a:lnTo>
                    <a:pt x="510" y="102"/>
                  </a:lnTo>
                  <a:lnTo>
                    <a:pt x="504" y="102"/>
                  </a:lnTo>
                  <a:lnTo>
                    <a:pt x="498" y="102"/>
                  </a:lnTo>
                  <a:lnTo>
                    <a:pt x="498" y="96"/>
                  </a:lnTo>
                  <a:lnTo>
                    <a:pt x="492" y="96"/>
                  </a:lnTo>
                  <a:lnTo>
                    <a:pt x="492" y="90"/>
                  </a:lnTo>
                  <a:lnTo>
                    <a:pt x="492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498" y="66"/>
                  </a:lnTo>
                  <a:lnTo>
                    <a:pt x="504" y="60"/>
                  </a:lnTo>
                  <a:lnTo>
                    <a:pt x="498" y="60"/>
                  </a:lnTo>
                  <a:lnTo>
                    <a:pt x="498" y="54"/>
                  </a:lnTo>
                  <a:lnTo>
                    <a:pt x="492" y="54"/>
                  </a:lnTo>
                  <a:lnTo>
                    <a:pt x="492" y="60"/>
                  </a:lnTo>
                  <a:lnTo>
                    <a:pt x="486" y="60"/>
                  </a:lnTo>
                  <a:lnTo>
                    <a:pt x="486" y="66"/>
                  </a:lnTo>
                  <a:lnTo>
                    <a:pt x="480" y="66"/>
                  </a:lnTo>
                  <a:lnTo>
                    <a:pt x="474" y="72"/>
                  </a:lnTo>
                  <a:lnTo>
                    <a:pt x="474" y="66"/>
                  </a:lnTo>
                  <a:lnTo>
                    <a:pt x="474" y="72"/>
                  </a:lnTo>
                  <a:lnTo>
                    <a:pt x="468" y="72"/>
                  </a:lnTo>
                  <a:lnTo>
                    <a:pt x="468" y="78"/>
                  </a:lnTo>
                  <a:lnTo>
                    <a:pt x="468" y="84"/>
                  </a:lnTo>
                  <a:lnTo>
                    <a:pt x="462" y="90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0" y="84"/>
                  </a:lnTo>
                  <a:lnTo>
                    <a:pt x="450" y="90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44" y="102"/>
                  </a:lnTo>
                  <a:lnTo>
                    <a:pt x="444" y="108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38" y="126"/>
                  </a:lnTo>
                  <a:lnTo>
                    <a:pt x="438" y="132"/>
                  </a:lnTo>
                  <a:lnTo>
                    <a:pt x="438" y="138"/>
                  </a:lnTo>
                  <a:lnTo>
                    <a:pt x="438" y="144"/>
                  </a:lnTo>
                  <a:lnTo>
                    <a:pt x="432" y="144"/>
                  </a:lnTo>
                  <a:lnTo>
                    <a:pt x="432" y="150"/>
                  </a:lnTo>
                  <a:lnTo>
                    <a:pt x="432" y="144"/>
                  </a:lnTo>
                  <a:lnTo>
                    <a:pt x="426" y="144"/>
                  </a:lnTo>
                  <a:lnTo>
                    <a:pt x="426" y="150"/>
                  </a:lnTo>
                  <a:lnTo>
                    <a:pt x="426" y="156"/>
                  </a:lnTo>
                  <a:lnTo>
                    <a:pt x="432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2"/>
                  </a:lnTo>
                  <a:lnTo>
                    <a:pt x="432" y="168"/>
                  </a:lnTo>
                  <a:lnTo>
                    <a:pt x="426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44" y="168"/>
                  </a:lnTo>
                  <a:lnTo>
                    <a:pt x="444" y="174"/>
                  </a:lnTo>
                  <a:lnTo>
                    <a:pt x="444" y="180"/>
                  </a:lnTo>
                  <a:lnTo>
                    <a:pt x="444" y="186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2" y="192"/>
                  </a:lnTo>
                  <a:lnTo>
                    <a:pt x="426" y="192"/>
                  </a:lnTo>
                  <a:lnTo>
                    <a:pt x="420" y="186"/>
                  </a:lnTo>
                  <a:lnTo>
                    <a:pt x="414" y="186"/>
                  </a:lnTo>
                  <a:lnTo>
                    <a:pt x="408" y="186"/>
                  </a:lnTo>
                  <a:lnTo>
                    <a:pt x="402" y="186"/>
                  </a:lnTo>
                  <a:lnTo>
                    <a:pt x="396" y="186"/>
                  </a:lnTo>
                  <a:lnTo>
                    <a:pt x="390" y="186"/>
                  </a:lnTo>
                  <a:lnTo>
                    <a:pt x="384" y="186"/>
                  </a:lnTo>
                  <a:lnTo>
                    <a:pt x="378" y="186"/>
                  </a:lnTo>
                  <a:lnTo>
                    <a:pt x="372" y="186"/>
                  </a:lnTo>
                  <a:lnTo>
                    <a:pt x="354" y="186"/>
                  </a:lnTo>
                  <a:lnTo>
                    <a:pt x="342" y="186"/>
                  </a:lnTo>
                  <a:lnTo>
                    <a:pt x="324" y="186"/>
                  </a:lnTo>
                  <a:lnTo>
                    <a:pt x="312" y="186"/>
                  </a:lnTo>
                  <a:lnTo>
                    <a:pt x="306" y="186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82" y="186"/>
                  </a:lnTo>
                  <a:lnTo>
                    <a:pt x="270" y="186"/>
                  </a:lnTo>
                  <a:lnTo>
                    <a:pt x="264" y="186"/>
                  </a:lnTo>
                  <a:lnTo>
                    <a:pt x="258" y="192"/>
                  </a:lnTo>
                  <a:lnTo>
                    <a:pt x="258" y="186"/>
                  </a:lnTo>
                  <a:lnTo>
                    <a:pt x="246" y="186"/>
                  </a:lnTo>
                  <a:lnTo>
                    <a:pt x="240" y="186"/>
                  </a:lnTo>
                  <a:lnTo>
                    <a:pt x="234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2"/>
                  </a:lnTo>
                  <a:lnTo>
                    <a:pt x="204" y="192"/>
                  </a:lnTo>
                  <a:lnTo>
                    <a:pt x="198" y="192"/>
                  </a:lnTo>
                  <a:lnTo>
                    <a:pt x="192" y="192"/>
                  </a:lnTo>
                  <a:lnTo>
                    <a:pt x="180" y="192"/>
                  </a:lnTo>
                  <a:lnTo>
                    <a:pt x="168" y="192"/>
                  </a:lnTo>
                  <a:lnTo>
                    <a:pt x="162" y="192"/>
                  </a:lnTo>
                  <a:lnTo>
                    <a:pt x="150" y="192"/>
                  </a:lnTo>
                  <a:lnTo>
                    <a:pt x="138" y="192"/>
                  </a:lnTo>
                  <a:lnTo>
                    <a:pt x="132" y="192"/>
                  </a:lnTo>
                  <a:lnTo>
                    <a:pt x="120" y="192"/>
                  </a:lnTo>
                  <a:lnTo>
                    <a:pt x="114" y="192"/>
                  </a:lnTo>
                  <a:lnTo>
                    <a:pt x="108" y="192"/>
                  </a:lnTo>
                  <a:lnTo>
                    <a:pt x="102" y="192"/>
                  </a:lnTo>
                  <a:lnTo>
                    <a:pt x="90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2" y="198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36" y="198"/>
                  </a:lnTo>
                  <a:lnTo>
                    <a:pt x="30" y="204"/>
                  </a:lnTo>
                  <a:lnTo>
                    <a:pt x="24" y="204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6" y="210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54" y="156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56"/>
                  </a:lnTo>
                  <a:lnTo>
                    <a:pt x="78" y="162"/>
                  </a:lnTo>
                  <a:lnTo>
                    <a:pt x="84" y="162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9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0" y="126"/>
                  </a:lnTo>
                  <a:lnTo>
                    <a:pt x="276" y="120"/>
                  </a:lnTo>
                  <a:lnTo>
                    <a:pt x="282" y="120"/>
                  </a:lnTo>
                  <a:lnTo>
                    <a:pt x="300" y="120"/>
                  </a:lnTo>
                  <a:lnTo>
                    <a:pt x="306" y="114"/>
                  </a:lnTo>
                  <a:lnTo>
                    <a:pt x="312" y="108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8"/>
                  </a:lnTo>
                  <a:lnTo>
                    <a:pt x="342" y="30"/>
                  </a:lnTo>
                  <a:lnTo>
                    <a:pt x="342" y="24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8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24"/>
                  </a:lnTo>
                  <a:lnTo>
                    <a:pt x="414" y="30"/>
                  </a:lnTo>
                  <a:lnTo>
                    <a:pt x="420" y="30"/>
                  </a:lnTo>
                  <a:lnTo>
                    <a:pt x="42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74" y="30"/>
                  </a:lnTo>
                  <a:lnTo>
                    <a:pt x="474" y="18"/>
                  </a:lnTo>
                  <a:lnTo>
                    <a:pt x="474" y="12"/>
                  </a:lnTo>
                  <a:lnTo>
                    <a:pt x="480" y="12"/>
                  </a:lnTo>
                  <a:lnTo>
                    <a:pt x="486" y="12"/>
                  </a:lnTo>
                  <a:lnTo>
                    <a:pt x="606" y="12"/>
                  </a:lnTo>
                  <a:lnTo>
                    <a:pt x="630" y="12"/>
                  </a:lnTo>
                  <a:lnTo>
                    <a:pt x="678" y="12"/>
                  </a:lnTo>
                  <a:lnTo>
                    <a:pt x="744" y="12"/>
                  </a:lnTo>
                  <a:lnTo>
                    <a:pt x="774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2" y="6"/>
                  </a:lnTo>
                  <a:lnTo>
                    <a:pt x="888" y="12"/>
                  </a:lnTo>
                  <a:lnTo>
                    <a:pt x="888" y="24"/>
                  </a:lnTo>
                  <a:lnTo>
                    <a:pt x="888" y="30"/>
                  </a:lnTo>
                  <a:lnTo>
                    <a:pt x="882" y="36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64" y="42"/>
                  </a:lnTo>
                  <a:lnTo>
                    <a:pt x="864" y="48"/>
                  </a:lnTo>
                  <a:lnTo>
                    <a:pt x="858" y="54"/>
                  </a:lnTo>
                  <a:lnTo>
                    <a:pt x="864" y="54"/>
                  </a:lnTo>
                  <a:lnTo>
                    <a:pt x="870" y="72"/>
                  </a:lnTo>
                  <a:lnTo>
                    <a:pt x="870" y="78"/>
                  </a:lnTo>
                  <a:lnTo>
                    <a:pt x="870" y="84"/>
                  </a:lnTo>
                  <a:lnTo>
                    <a:pt x="870" y="90"/>
                  </a:lnTo>
                  <a:close/>
                  <a:moveTo>
                    <a:pt x="972" y="156"/>
                  </a:moveTo>
                  <a:lnTo>
                    <a:pt x="972" y="162"/>
                  </a:lnTo>
                  <a:lnTo>
                    <a:pt x="978" y="162"/>
                  </a:lnTo>
                  <a:lnTo>
                    <a:pt x="984" y="168"/>
                  </a:lnTo>
                  <a:lnTo>
                    <a:pt x="990" y="168"/>
                  </a:lnTo>
                  <a:lnTo>
                    <a:pt x="990" y="162"/>
                  </a:lnTo>
                  <a:lnTo>
                    <a:pt x="1008" y="162"/>
                  </a:lnTo>
                  <a:lnTo>
                    <a:pt x="1020" y="162"/>
                  </a:lnTo>
                  <a:lnTo>
                    <a:pt x="1038" y="162"/>
                  </a:lnTo>
                  <a:lnTo>
                    <a:pt x="1056" y="168"/>
                  </a:lnTo>
                  <a:lnTo>
                    <a:pt x="1056" y="180"/>
                  </a:lnTo>
                  <a:lnTo>
                    <a:pt x="1056" y="186"/>
                  </a:lnTo>
                  <a:lnTo>
                    <a:pt x="1056" y="204"/>
                  </a:lnTo>
                  <a:lnTo>
                    <a:pt x="1050" y="204"/>
                  </a:lnTo>
                  <a:lnTo>
                    <a:pt x="1044" y="204"/>
                  </a:lnTo>
                  <a:lnTo>
                    <a:pt x="1038" y="204"/>
                  </a:lnTo>
                  <a:lnTo>
                    <a:pt x="1032" y="204"/>
                  </a:lnTo>
                  <a:lnTo>
                    <a:pt x="1026" y="204"/>
                  </a:lnTo>
                  <a:lnTo>
                    <a:pt x="1020" y="204"/>
                  </a:lnTo>
                  <a:lnTo>
                    <a:pt x="1014" y="204"/>
                  </a:lnTo>
                  <a:lnTo>
                    <a:pt x="1008" y="204"/>
                  </a:lnTo>
                  <a:lnTo>
                    <a:pt x="1002" y="204"/>
                  </a:lnTo>
                  <a:lnTo>
                    <a:pt x="996" y="204"/>
                  </a:lnTo>
                  <a:lnTo>
                    <a:pt x="984" y="204"/>
                  </a:lnTo>
                  <a:lnTo>
                    <a:pt x="984" y="198"/>
                  </a:lnTo>
                  <a:lnTo>
                    <a:pt x="978" y="198"/>
                  </a:lnTo>
                  <a:lnTo>
                    <a:pt x="966" y="198"/>
                  </a:lnTo>
                  <a:lnTo>
                    <a:pt x="948" y="192"/>
                  </a:lnTo>
                  <a:lnTo>
                    <a:pt x="942" y="192"/>
                  </a:lnTo>
                  <a:lnTo>
                    <a:pt x="936" y="192"/>
                  </a:lnTo>
                  <a:lnTo>
                    <a:pt x="924" y="192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12" y="186"/>
                  </a:lnTo>
                  <a:lnTo>
                    <a:pt x="906" y="186"/>
                  </a:lnTo>
                  <a:lnTo>
                    <a:pt x="900" y="186"/>
                  </a:lnTo>
                  <a:lnTo>
                    <a:pt x="894" y="186"/>
                  </a:lnTo>
                  <a:lnTo>
                    <a:pt x="888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76" y="180"/>
                  </a:lnTo>
                  <a:lnTo>
                    <a:pt x="870" y="180"/>
                  </a:lnTo>
                  <a:lnTo>
                    <a:pt x="864" y="180"/>
                  </a:lnTo>
                  <a:lnTo>
                    <a:pt x="858" y="180"/>
                  </a:lnTo>
                  <a:lnTo>
                    <a:pt x="852" y="180"/>
                  </a:lnTo>
                  <a:lnTo>
                    <a:pt x="852" y="174"/>
                  </a:lnTo>
                  <a:lnTo>
                    <a:pt x="846" y="174"/>
                  </a:lnTo>
                  <a:lnTo>
                    <a:pt x="840" y="174"/>
                  </a:lnTo>
                  <a:lnTo>
                    <a:pt x="834" y="174"/>
                  </a:lnTo>
                  <a:lnTo>
                    <a:pt x="828" y="174"/>
                  </a:lnTo>
                  <a:lnTo>
                    <a:pt x="822" y="174"/>
                  </a:lnTo>
                  <a:lnTo>
                    <a:pt x="816" y="174"/>
                  </a:lnTo>
                  <a:lnTo>
                    <a:pt x="810" y="168"/>
                  </a:lnTo>
                  <a:lnTo>
                    <a:pt x="804" y="168"/>
                  </a:lnTo>
                  <a:lnTo>
                    <a:pt x="798" y="168"/>
                  </a:lnTo>
                  <a:lnTo>
                    <a:pt x="792" y="168"/>
                  </a:lnTo>
                  <a:lnTo>
                    <a:pt x="786" y="168"/>
                  </a:lnTo>
                  <a:lnTo>
                    <a:pt x="780" y="168"/>
                  </a:lnTo>
                  <a:lnTo>
                    <a:pt x="774" y="168"/>
                  </a:lnTo>
                  <a:lnTo>
                    <a:pt x="768" y="168"/>
                  </a:lnTo>
                  <a:lnTo>
                    <a:pt x="762" y="168"/>
                  </a:lnTo>
                  <a:lnTo>
                    <a:pt x="756" y="168"/>
                  </a:lnTo>
                  <a:lnTo>
                    <a:pt x="750" y="168"/>
                  </a:lnTo>
                  <a:lnTo>
                    <a:pt x="750" y="162"/>
                  </a:lnTo>
                  <a:lnTo>
                    <a:pt x="744" y="168"/>
                  </a:lnTo>
                  <a:lnTo>
                    <a:pt x="738" y="162"/>
                  </a:lnTo>
                  <a:lnTo>
                    <a:pt x="732" y="162"/>
                  </a:lnTo>
                  <a:lnTo>
                    <a:pt x="726" y="162"/>
                  </a:lnTo>
                  <a:lnTo>
                    <a:pt x="714" y="162"/>
                  </a:lnTo>
                  <a:lnTo>
                    <a:pt x="702" y="162"/>
                  </a:lnTo>
                  <a:lnTo>
                    <a:pt x="696" y="168"/>
                  </a:lnTo>
                  <a:lnTo>
                    <a:pt x="690" y="168"/>
                  </a:lnTo>
                  <a:lnTo>
                    <a:pt x="684" y="168"/>
                  </a:lnTo>
                  <a:lnTo>
                    <a:pt x="678" y="168"/>
                  </a:lnTo>
                  <a:lnTo>
                    <a:pt x="672" y="168"/>
                  </a:lnTo>
                  <a:lnTo>
                    <a:pt x="666" y="168"/>
                  </a:lnTo>
                  <a:lnTo>
                    <a:pt x="660" y="168"/>
                  </a:lnTo>
                  <a:lnTo>
                    <a:pt x="654" y="168"/>
                  </a:lnTo>
                  <a:lnTo>
                    <a:pt x="648" y="174"/>
                  </a:lnTo>
                  <a:lnTo>
                    <a:pt x="648" y="168"/>
                  </a:lnTo>
                  <a:lnTo>
                    <a:pt x="642" y="174"/>
                  </a:lnTo>
                  <a:lnTo>
                    <a:pt x="636" y="174"/>
                  </a:lnTo>
                  <a:lnTo>
                    <a:pt x="630" y="174"/>
                  </a:lnTo>
                  <a:lnTo>
                    <a:pt x="624" y="174"/>
                  </a:lnTo>
                  <a:lnTo>
                    <a:pt x="618" y="174"/>
                  </a:lnTo>
                  <a:lnTo>
                    <a:pt x="612" y="174"/>
                  </a:lnTo>
                  <a:lnTo>
                    <a:pt x="606" y="174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74"/>
                  </a:lnTo>
                  <a:lnTo>
                    <a:pt x="582" y="174"/>
                  </a:lnTo>
                  <a:lnTo>
                    <a:pt x="576" y="174"/>
                  </a:lnTo>
                  <a:lnTo>
                    <a:pt x="570" y="174"/>
                  </a:lnTo>
                  <a:lnTo>
                    <a:pt x="564" y="174"/>
                  </a:lnTo>
                  <a:lnTo>
                    <a:pt x="558" y="174"/>
                  </a:lnTo>
                  <a:lnTo>
                    <a:pt x="552" y="174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0" y="174"/>
                  </a:lnTo>
                  <a:lnTo>
                    <a:pt x="504" y="174"/>
                  </a:lnTo>
                  <a:lnTo>
                    <a:pt x="498" y="174"/>
                  </a:lnTo>
                  <a:lnTo>
                    <a:pt x="492" y="174"/>
                  </a:lnTo>
                  <a:lnTo>
                    <a:pt x="486" y="174"/>
                  </a:lnTo>
                  <a:lnTo>
                    <a:pt x="480" y="174"/>
                  </a:lnTo>
                  <a:lnTo>
                    <a:pt x="474" y="174"/>
                  </a:lnTo>
                  <a:lnTo>
                    <a:pt x="468" y="174"/>
                  </a:lnTo>
                  <a:lnTo>
                    <a:pt x="462" y="174"/>
                  </a:lnTo>
                  <a:lnTo>
                    <a:pt x="456" y="174"/>
                  </a:lnTo>
                  <a:lnTo>
                    <a:pt x="450" y="180"/>
                  </a:lnTo>
                  <a:lnTo>
                    <a:pt x="450" y="186"/>
                  </a:lnTo>
                  <a:lnTo>
                    <a:pt x="450" y="192"/>
                  </a:lnTo>
                  <a:lnTo>
                    <a:pt x="444" y="192"/>
                  </a:lnTo>
                  <a:lnTo>
                    <a:pt x="444" y="186"/>
                  </a:lnTo>
                  <a:lnTo>
                    <a:pt x="444" y="180"/>
                  </a:lnTo>
                  <a:lnTo>
                    <a:pt x="450" y="180"/>
                  </a:lnTo>
                  <a:lnTo>
                    <a:pt x="450" y="174"/>
                  </a:lnTo>
                  <a:lnTo>
                    <a:pt x="450" y="168"/>
                  </a:lnTo>
                  <a:lnTo>
                    <a:pt x="450" y="162"/>
                  </a:lnTo>
                  <a:lnTo>
                    <a:pt x="456" y="162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62" y="162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74" y="168"/>
                  </a:lnTo>
                  <a:lnTo>
                    <a:pt x="480" y="168"/>
                  </a:lnTo>
                  <a:lnTo>
                    <a:pt x="480" y="162"/>
                  </a:lnTo>
                  <a:lnTo>
                    <a:pt x="480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56"/>
                  </a:lnTo>
                  <a:lnTo>
                    <a:pt x="492" y="156"/>
                  </a:lnTo>
                  <a:lnTo>
                    <a:pt x="486" y="150"/>
                  </a:lnTo>
                  <a:lnTo>
                    <a:pt x="492" y="150"/>
                  </a:lnTo>
                  <a:lnTo>
                    <a:pt x="498" y="150"/>
                  </a:lnTo>
                  <a:lnTo>
                    <a:pt x="498" y="156"/>
                  </a:lnTo>
                  <a:lnTo>
                    <a:pt x="504" y="156"/>
                  </a:lnTo>
                  <a:lnTo>
                    <a:pt x="504" y="162"/>
                  </a:lnTo>
                  <a:lnTo>
                    <a:pt x="504" y="156"/>
                  </a:lnTo>
                  <a:lnTo>
                    <a:pt x="510" y="156"/>
                  </a:lnTo>
                  <a:lnTo>
                    <a:pt x="510" y="150"/>
                  </a:lnTo>
                  <a:lnTo>
                    <a:pt x="516" y="150"/>
                  </a:lnTo>
                  <a:lnTo>
                    <a:pt x="522" y="150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28" y="150"/>
                  </a:lnTo>
                  <a:lnTo>
                    <a:pt x="528" y="144"/>
                  </a:lnTo>
                  <a:lnTo>
                    <a:pt x="540" y="144"/>
                  </a:lnTo>
                  <a:lnTo>
                    <a:pt x="546" y="144"/>
                  </a:lnTo>
                  <a:lnTo>
                    <a:pt x="552" y="138"/>
                  </a:lnTo>
                  <a:lnTo>
                    <a:pt x="552" y="132"/>
                  </a:lnTo>
                  <a:lnTo>
                    <a:pt x="558" y="132"/>
                  </a:lnTo>
                  <a:lnTo>
                    <a:pt x="558" y="126"/>
                  </a:lnTo>
                  <a:lnTo>
                    <a:pt x="558" y="120"/>
                  </a:lnTo>
                  <a:lnTo>
                    <a:pt x="558" y="114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6" y="114"/>
                  </a:lnTo>
                  <a:lnTo>
                    <a:pt x="582" y="120"/>
                  </a:lnTo>
                  <a:lnTo>
                    <a:pt x="588" y="120"/>
                  </a:lnTo>
                  <a:lnTo>
                    <a:pt x="588" y="126"/>
                  </a:lnTo>
                  <a:lnTo>
                    <a:pt x="588" y="120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600" y="114"/>
                  </a:lnTo>
                  <a:lnTo>
                    <a:pt x="606" y="114"/>
                  </a:lnTo>
                  <a:lnTo>
                    <a:pt x="618" y="114"/>
                  </a:lnTo>
                  <a:lnTo>
                    <a:pt x="618" y="108"/>
                  </a:lnTo>
                  <a:lnTo>
                    <a:pt x="624" y="108"/>
                  </a:lnTo>
                  <a:lnTo>
                    <a:pt x="624" y="102"/>
                  </a:lnTo>
                  <a:lnTo>
                    <a:pt x="630" y="102"/>
                  </a:lnTo>
                  <a:lnTo>
                    <a:pt x="636" y="102"/>
                  </a:lnTo>
                  <a:lnTo>
                    <a:pt x="636" y="108"/>
                  </a:lnTo>
                  <a:lnTo>
                    <a:pt x="642" y="108"/>
                  </a:lnTo>
                  <a:lnTo>
                    <a:pt x="648" y="108"/>
                  </a:lnTo>
                  <a:lnTo>
                    <a:pt x="648" y="102"/>
                  </a:lnTo>
                  <a:lnTo>
                    <a:pt x="654" y="102"/>
                  </a:lnTo>
                  <a:lnTo>
                    <a:pt x="660" y="102"/>
                  </a:lnTo>
                  <a:lnTo>
                    <a:pt x="660" y="96"/>
                  </a:lnTo>
                  <a:lnTo>
                    <a:pt x="660" y="90"/>
                  </a:lnTo>
                  <a:lnTo>
                    <a:pt x="666" y="90"/>
                  </a:lnTo>
                  <a:lnTo>
                    <a:pt x="666" y="84"/>
                  </a:lnTo>
                  <a:lnTo>
                    <a:pt x="672" y="78"/>
                  </a:lnTo>
                  <a:lnTo>
                    <a:pt x="672" y="72"/>
                  </a:lnTo>
                  <a:lnTo>
                    <a:pt x="678" y="66"/>
                  </a:lnTo>
                  <a:lnTo>
                    <a:pt x="684" y="66"/>
                  </a:lnTo>
                  <a:lnTo>
                    <a:pt x="684" y="60"/>
                  </a:lnTo>
                  <a:lnTo>
                    <a:pt x="690" y="60"/>
                  </a:lnTo>
                  <a:lnTo>
                    <a:pt x="696" y="60"/>
                  </a:lnTo>
                  <a:lnTo>
                    <a:pt x="702" y="60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66"/>
                  </a:lnTo>
                  <a:lnTo>
                    <a:pt x="720" y="66"/>
                  </a:lnTo>
                  <a:lnTo>
                    <a:pt x="720" y="60"/>
                  </a:lnTo>
                  <a:lnTo>
                    <a:pt x="726" y="60"/>
                  </a:lnTo>
                  <a:lnTo>
                    <a:pt x="732" y="60"/>
                  </a:lnTo>
                  <a:lnTo>
                    <a:pt x="744" y="60"/>
                  </a:lnTo>
                  <a:lnTo>
                    <a:pt x="750" y="54"/>
                  </a:lnTo>
                  <a:lnTo>
                    <a:pt x="762" y="60"/>
                  </a:lnTo>
                  <a:lnTo>
                    <a:pt x="774" y="60"/>
                  </a:lnTo>
                  <a:lnTo>
                    <a:pt x="774" y="66"/>
                  </a:lnTo>
                  <a:lnTo>
                    <a:pt x="780" y="72"/>
                  </a:lnTo>
                  <a:lnTo>
                    <a:pt x="786" y="78"/>
                  </a:lnTo>
                  <a:lnTo>
                    <a:pt x="792" y="78"/>
                  </a:lnTo>
                  <a:lnTo>
                    <a:pt x="810" y="84"/>
                  </a:lnTo>
                  <a:lnTo>
                    <a:pt x="822" y="84"/>
                  </a:lnTo>
                  <a:lnTo>
                    <a:pt x="828" y="84"/>
                  </a:lnTo>
                  <a:lnTo>
                    <a:pt x="834" y="84"/>
                  </a:lnTo>
                  <a:lnTo>
                    <a:pt x="840" y="96"/>
                  </a:lnTo>
                  <a:lnTo>
                    <a:pt x="846" y="102"/>
                  </a:lnTo>
                  <a:lnTo>
                    <a:pt x="858" y="102"/>
                  </a:lnTo>
                  <a:lnTo>
                    <a:pt x="864" y="102"/>
                  </a:lnTo>
                  <a:lnTo>
                    <a:pt x="876" y="96"/>
                  </a:lnTo>
                  <a:lnTo>
                    <a:pt x="882" y="102"/>
                  </a:lnTo>
                  <a:lnTo>
                    <a:pt x="888" y="108"/>
                  </a:lnTo>
                  <a:lnTo>
                    <a:pt x="888" y="114"/>
                  </a:lnTo>
                  <a:lnTo>
                    <a:pt x="888" y="120"/>
                  </a:lnTo>
                  <a:lnTo>
                    <a:pt x="888" y="126"/>
                  </a:lnTo>
                  <a:lnTo>
                    <a:pt x="888" y="132"/>
                  </a:lnTo>
                  <a:lnTo>
                    <a:pt x="882" y="132"/>
                  </a:lnTo>
                  <a:lnTo>
                    <a:pt x="864" y="126"/>
                  </a:lnTo>
                  <a:lnTo>
                    <a:pt x="852" y="120"/>
                  </a:lnTo>
                  <a:lnTo>
                    <a:pt x="840" y="126"/>
                  </a:lnTo>
                  <a:lnTo>
                    <a:pt x="834" y="120"/>
                  </a:lnTo>
                  <a:lnTo>
                    <a:pt x="828" y="120"/>
                  </a:lnTo>
                  <a:lnTo>
                    <a:pt x="822" y="120"/>
                  </a:lnTo>
                  <a:lnTo>
                    <a:pt x="810" y="114"/>
                  </a:lnTo>
                  <a:lnTo>
                    <a:pt x="804" y="114"/>
                  </a:lnTo>
                  <a:lnTo>
                    <a:pt x="798" y="114"/>
                  </a:lnTo>
                  <a:lnTo>
                    <a:pt x="792" y="114"/>
                  </a:lnTo>
                  <a:lnTo>
                    <a:pt x="786" y="114"/>
                  </a:lnTo>
                  <a:lnTo>
                    <a:pt x="780" y="114"/>
                  </a:lnTo>
                  <a:lnTo>
                    <a:pt x="780" y="126"/>
                  </a:lnTo>
                  <a:lnTo>
                    <a:pt x="786" y="126"/>
                  </a:lnTo>
                  <a:lnTo>
                    <a:pt x="798" y="126"/>
                  </a:lnTo>
                  <a:lnTo>
                    <a:pt x="804" y="126"/>
                  </a:lnTo>
                  <a:lnTo>
                    <a:pt x="822" y="132"/>
                  </a:lnTo>
                  <a:lnTo>
                    <a:pt x="828" y="132"/>
                  </a:lnTo>
                  <a:lnTo>
                    <a:pt x="834" y="132"/>
                  </a:lnTo>
                  <a:lnTo>
                    <a:pt x="840" y="144"/>
                  </a:lnTo>
                  <a:lnTo>
                    <a:pt x="846" y="150"/>
                  </a:lnTo>
                  <a:lnTo>
                    <a:pt x="858" y="150"/>
                  </a:lnTo>
                  <a:lnTo>
                    <a:pt x="864" y="162"/>
                  </a:lnTo>
                  <a:lnTo>
                    <a:pt x="870" y="162"/>
                  </a:lnTo>
                  <a:lnTo>
                    <a:pt x="876" y="168"/>
                  </a:lnTo>
                  <a:lnTo>
                    <a:pt x="888" y="168"/>
                  </a:lnTo>
                  <a:lnTo>
                    <a:pt x="894" y="174"/>
                  </a:lnTo>
                  <a:lnTo>
                    <a:pt x="900" y="174"/>
                  </a:lnTo>
                  <a:lnTo>
                    <a:pt x="918" y="174"/>
                  </a:lnTo>
                  <a:lnTo>
                    <a:pt x="924" y="174"/>
                  </a:lnTo>
                  <a:lnTo>
                    <a:pt x="930" y="174"/>
                  </a:lnTo>
                  <a:lnTo>
                    <a:pt x="942" y="174"/>
                  </a:lnTo>
                  <a:lnTo>
                    <a:pt x="954" y="174"/>
                  </a:lnTo>
                  <a:lnTo>
                    <a:pt x="960" y="174"/>
                  </a:lnTo>
                  <a:lnTo>
                    <a:pt x="966" y="174"/>
                  </a:lnTo>
                  <a:lnTo>
                    <a:pt x="966" y="168"/>
                  </a:lnTo>
                  <a:lnTo>
                    <a:pt x="972" y="162"/>
                  </a:lnTo>
                  <a:lnTo>
                    <a:pt x="972" y="156"/>
                  </a:lnTo>
                  <a:close/>
                  <a:moveTo>
                    <a:pt x="942" y="174"/>
                  </a:moveTo>
                  <a:lnTo>
                    <a:pt x="936" y="174"/>
                  </a:lnTo>
                  <a:lnTo>
                    <a:pt x="936" y="168"/>
                  </a:lnTo>
                  <a:lnTo>
                    <a:pt x="936" y="162"/>
                  </a:lnTo>
                  <a:lnTo>
                    <a:pt x="948" y="162"/>
                  </a:lnTo>
                  <a:lnTo>
                    <a:pt x="948" y="156"/>
                  </a:lnTo>
                  <a:lnTo>
                    <a:pt x="954" y="156"/>
                  </a:lnTo>
                  <a:lnTo>
                    <a:pt x="960" y="156"/>
                  </a:lnTo>
                  <a:lnTo>
                    <a:pt x="966" y="156"/>
                  </a:lnTo>
                  <a:lnTo>
                    <a:pt x="966" y="162"/>
                  </a:lnTo>
                  <a:lnTo>
                    <a:pt x="960" y="168"/>
                  </a:lnTo>
                  <a:lnTo>
                    <a:pt x="942" y="174"/>
                  </a:lnTo>
                  <a:close/>
                  <a:moveTo>
                    <a:pt x="900" y="168"/>
                  </a:moveTo>
                  <a:lnTo>
                    <a:pt x="894" y="168"/>
                  </a:lnTo>
                  <a:lnTo>
                    <a:pt x="882" y="156"/>
                  </a:lnTo>
                  <a:lnTo>
                    <a:pt x="882" y="150"/>
                  </a:lnTo>
                  <a:lnTo>
                    <a:pt x="888" y="156"/>
                  </a:lnTo>
                  <a:lnTo>
                    <a:pt x="894" y="150"/>
                  </a:lnTo>
                  <a:lnTo>
                    <a:pt x="900" y="150"/>
                  </a:lnTo>
                  <a:lnTo>
                    <a:pt x="906" y="150"/>
                  </a:lnTo>
                  <a:lnTo>
                    <a:pt x="912" y="150"/>
                  </a:lnTo>
                  <a:lnTo>
                    <a:pt x="924" y="150"/>
                  </a:lnTo>
                  <a:lnTo>
                    <a:pt x="924" y="156"/>
                  </a:lnTo>
                  <a:lnTo>
                    <a:pt x="924" y="162"/>
                  </a:lnTo>
                  <a:lnTo>
                    <a:pt x="924" y="168"/>
                  </a:lnTo>
                  <a:lnTo>
                    <a:pt x="918" y="168"/>
                  </a:lnTo>
                  <a:lnTo>
                    <a:pt x="906" y="168"/>
                  </a:lnTo>
                  <a:lnTo>
                    <a:pt x="900" y="168"/>
                  </a:lnTo>
                  <a:close/>
                  <a:moveTo>
                    <a:pt x="870" y="162"/>
                  </a:moveTo>
                  <a:lnTo>
                    <a:pt x="876" y="162"/>
                  </a:lnTo>
                  <a:lnTo>
                    <a:pt x="876" y="168"/>
                  </a:lnTo>
                  <a:lnTo>
                    <a:pt x="870" y="168"/>
                  </a:lnTo>
                  <a:lnTo>
                    <a:pt x="870" y="162"/>
                  </a:lnTo>
                  <a:close/>
                  <a:moveTo>
                    <a:pt x="450" y="162"/>
                  </a:moveTo>
                  <a:lnTo>
                    <a:pt x="444" y="162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2" y="150"/>
                  </a:lnTo>
                  <a:lnTo>
                    <a:pt x="438" y="150"/>
                  </a:lnTo>
                  <a:lnTo>
                    <a:pt x="438" y="144"/>
                  </a:lnTo>
                  <a:lnTo>
                    <a:pt x="438" y="150"/>
                  </a:lnTo>
                  <a:lnTo>
                    <a:pt x="444" y="150"/>
                  </a:lnTo>
                  <a:lnTo>
                    <a:pt x="450" y="150"/>
                  </a:lnTo>
                  <a:lnTo>
                    <a:pt x="450" y="156"/>
                  </a:lnTo>
                  <a:lnTo>
                    <a:pt x="456" y="156"/>
                  </a:lnTo>
                  <a:lnTo>
                    <a:pt x="456" y="150"/>
                  </a:lnTo>
                  <a:lnTo>
                    <a:pt x="456" y="156"/>
                  </a:lnTo>
                  <a:lnTo>
                    <a:pt x="462" y="150"/>
                  </a:lnTo>
                  <a:lnTo>
                    <a:pt x="462" y="144"/>
                  </a:lnTo>
                  <a:lnTo>
                    <a:pt x="468" y="144"/>
                  </a:lnTo>
                  <a:lnTo>
                    <a:pt x="468" y="150"/>
                  </a:lnTo>
                  <a:lnTo>
                    <a:pt x="474" y="150"/>
                  </a:lnTo>
                  <a:lnTo>
                    <a:pt x="480" y="150"/>
                  </a:lnTo>
                  <a:lnTo>
                    <a:pt x="480" y="156"/>
                  </a:lnTo>
                  <a:lnTo>
                    <a:pt x="480" y="162"/>
                  </a:lnTo>
                  <a:lnTo>
                    <a:pt x="474" y="162"/>
                  </a:lnTo>
                  <a:lnTo>
                    <a:pt x="474" y="168"/>
                  </a:lnTo>
                  <a:lnTo>
                    <a:pt x="474" y="162"/>
                  </a:lnTo>
                  <a:lnTo>
                    <a:pt x="468" y="162"/>
                  </a:lnTo>
                  <a:lnTo>
                    <a:pt x="462" y="162"/>
                  </a:lnTo>
                  <a:lnTo>
                    <a:pt x="456" y="162"/>
                  </a:lnTo>
                  <a:lnTo>
                    <a:pt x="450" y="16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6" name="Freeform 31">
              <a:extLst>
                <a:ext uri="{FF2B5EF4-FFF2-40B4-BE49-F238E27FC236}">
                  <a16:creationId xmlns:a16="http://schemas.microsoft.com/office/drawing/2014/main" id="{0989F057-38E8-4AA5-8B73-27F6355E235C}"/>
                </a:ext>
              </a:extLst>
            </p:cNvPr>
            <p:cNvSpPr>
              <a:spLocks/>
            </p:cNvSpPr>
            <p:nvPr/>
          </p:nvSpPr>
          <p:spPr bwMode="gray">
            <a:xfrm>
              <a:off x="792590" y="2728084"/>
              <a:ext cx="1182944" cy="740282"/>
            </a:xfrm>
            <a:custGeom>
              <a:avLst/>
              <a:gdLst>
                <a:gd name="T0" fmla="*/ 138 w 2226"/>
                <a:gd name="T1" fmla="*/ 121 h 1392"/>
                <a:gd name="T2" fmla="*/ 133 w 2226"/>
                <a:gd name="T3" fmla="*/ 119 h 1392"/>
                <a:gd name="T4" fmla="*/ 128 w 2226"/>
                <a:gd name="T5" fmla="*/ 117 h 1392"/>
                <a:gd name="T6" fmla="*/ 119 w 2226"/>
                <a:gd name="T7" fmla="*/ 116 h 1392"/>
                <a:gd name="T8" fmla="*/ 101 w 2226"/>
                <a:gd name="T9" fmla="*/ 116 h 1392"/>
                <a:gd name="T10" fmla="*/ 94 w 2226"/>
                <a:gd name="T11" fmla="*/ 104 h 1392"/>
                <a:gd name="T12" fmla="*/ 82 w 2226"/>
                <a:gd name="T13" fmla="*/ 83 h 1392"/>
                <a:gd name="T14" fmla="*/ 87 w 2226"/>
                <a:gd name="T15" fmla="*/ 69 h 1392"/>
                <a:gd name="T16" fmla="*/ 82 w 2226"/>
                <a:gd name="T17" fmla="*/ 65 h 1392"/>
                <a:gd name="T18" fmla="*/ 59 w 2226"/>
                <a:gd name="T19" fmla="*/ 57 h 1392"/>
                <a:gd name="T20" fmla="*/ 29 w 2226"/>
                <a:gd name="T21" fmla="*/ 77 h 1392"/>
                <a:gd name="T22" fmla="*/ 20 w 2226"/>
                <a:gd name="T23" fmla="*/ 78 h 1392"/>
                <a:gd name="T24" fmla="*/ 15 w 2226"/>
                <a:gd name="T25" fmla="*/ 82 h 1392"/>
                <a:gd name="T26" fmla="*/ 8 w 2226"/>
                <a:gd name="T27" fmla="*/ 86 h 1392"/>
                <a:gd name="T28" fmla="*/ 1 w 2226"/>
                <a:gd name="T29" fmla="*/ 88 h 1392"/>
                <a:gd name="T30" fmla="*/ 0 w 2226"/>
                <a:gd name="T31" fmla="*/ 82 h 1392"/>
                <a:gd name="T32" fmla="*/ 0 w 2226"/>
                <a:gd name="T33" fmla="*/ 76 h 1392"/>
                <a:gd name="T34" fmla="*/ 2 w 2226"/>
                <a:gd name="T35" fmla="*/ 70 h 1392"/>
                <a:gd name="T36" fmla="*/ 3 w 2226"/>
                <a:gd name="T37" fmla="*/ 65 h 1392"/>
                <a:gd name="T38" fmla="*/ 2 w 2226"/>
                <a:gd name="T39" fmla="*/ 63 h 1392"/>
                <a:gd name="T40" fmla="*/ 9 w 2226"/>
                <a:gd name="T41" fmla="*/ 60 h 1392"/>
                <a:gd name="T42" fmla="*/ 17 w 2226"/>
                <a:gd name="T43" fmla="*/ 59 h 1392"/>
                <a:gd name="T44" fmla="*/ 22 w 2226"/>
                <a:gd name="T45" fmla="*/ 51 h 1392"/>
                <a:gd name="T46" fmla="*/ 23 w 2226"/>
                <a:gd name="T47" fmla="*/ 43 h 1392"/>
                <a:gd name="T48" fmla="*/ 27 w 2226"/>
                <a:gd name="T49" fmla="*/ 34 h 1392"/>
                <a:gd name="T50" fmla="*/ 30 w 2226"/>
                <a:gd name="T51" fmla="*/ 27 h 1392"/>
                <a:gd name="T52" fmla="*/ 33 w 2226"/>
                <a:gd name="T53" fmla="*/ 22 h 1392"/>
                <a:gd name="T54" fmla="*/ 42 w 2226"/>
                <a:gd name="T55" fmla="*/ 17 h 1392"/>
                <a:gd name="T56" fmla="*/ 47 w 2226"/>
                <a:gd name="T57" fmla="*/ 14 h 1392"/>
                <a:gd name="T58" fmla="*/ 49 w 2226"/>
                <a:gd name="T59" fmla="*/ 5 h 1392"/>
                <a:gd name="T60" fmla="*/ 53 w 2226"/>
                <a:gd name="T61" fmla="*/ 0 h 1392"/>
                <a:gd name="T62" fmla="*/ 55 w 2226"/>
                <a:gd name="T63" fmla="*/ 4 h 1392"/>
                <a:gd name="T64" fmla="*/ 59 w 2226"/>
                <a:gd name="T65" fmla="*/ 7 h 1392"/>
                <a:gd name="T66" fmla="*/ 63 w 2226"/>
                <a:gd name="T67" fmla="*/ 7 h 1392"/>
                <a:gd name="T68" fmla="*/ 66 w 2226"/>
                <a:gd name="T69" fmla="*/ 9 h 1392"/>
                <a:gd name="T70" fmla="*/ 67 w 2226"/>
                <a:gd name="T71" fmla="*/ 12 h 1392"/>
                <a:gd name="T72" fmla="*/ 67 w 2226"/>
                <a:gd name="T73" fmla="*/ 13 h 1392"/>
                <a:gd name="T74" fmla="*/ 70 w 2226"/>
                <a:gd name="T75" fmla="*/ 15 h 1392"/>
                <a:gd name="T76" fmla="*/ 74 w 2226"/>
                <a:gd name="T77" fmla="*/ 17 h 1392"/>
                <a:gd name="T78" fmla="*/ 78 w 2226"/>
                <a:gd name="T79" fmla="*/ 18 h 1392"/>
                <a:gd name="T80" fmla="*/ 97 w 2226"/>
                <a:gd name="T81" fmla="*/ 40 h 1392"/>
                <a:gd name="T82" fmla="*/ 102 w 2226"/>
                <a:gd name="T83" fmla="*/ 44 h 1392"/>
                <a:gd name="T84" fmla="*/ 110 w 2226"/>
                <a:gd name="T85" fmla="*/ 49 h 1392"/>
                <a:gd name="T86" fmla="*/ 113 w 2226"/>
                <a:gd name="T87" fmla="*/ 53 h 1392"/>
                <a:gd name="T88" fmla="*/ 118 w 2226"/>
                <a:gd name="T89" fmla="*/ 57 h 1392"/>
                <a:gd name="T90" fmla="*/ 124 w 2226"/>
                <a:gd name="T91" fmla="*/ 54 h 1392"/>
                <a:gd name="T92" fmla="*/ 133 w 2226"/>
                <a:gd name="T93" fmla="*/ 58 h 1392"/>
                <a:gd name="T94" fmla="*/ 137 w 2226"/>
                <a:gd name="T95" fmla="*/ 64 h 1392"/>
                <a:gd name="T96" fmla="*/ 145 w 2226"/>
                <a:gd name="T97" fmla="*/ 65 h 1392"/>
                <a:gd name="T98" fmla="*/ 152 w 2226"/>
                <a:gd name="T99" fmla="*/ 67 h 1392"/>
                <a:gd name="T100" fmla="*/ 161 w 2226"/>
                <a:gd name="T101" fmla="*/ 72 h 1392"/>
                <a:gd name="T102" fmla="*/ 168 w 2226"/>
                <a:gd name="T103" fmla="*/ 76 h 1392"/>
                <a:gd name="T104" fmla="*/ 177 w 2226"/>
                <a:gd name="T105" fmla="*/ 78 h 1392"/>
                <a:gd name="T106" fmla="*/ 184 w 2226"/>
                <a:gd name="T107" fmla="*/ 78 h 1392"/>
                <a:gd name="T108" fmla="*/ 190 w 2226"/>
                <a:gd name="T109" fmla="*/ 81 h 1392"/>
                <a:gd name="T110" fmla="*/ 192 w 2226"/>
                <a:gd name="T111" fmla="*/ 86 h 1392"/>
                <a:gd name="T112" fmla="*/ 187 w 2226"/>
                <a:gd name="T113" fmla="*/ 99 h 1392"/>
                <a:gd name="T114" fmla="*/ 165 w 2226"/>
                <a:gd name="T115" fmla="*/ 97 h 1392"/>
                <a:gd name="T116" fmla="*/ 155 w 2226"/>
                <a:gd name="T117" fmla="*/ 92 h 1392"/>
                <a:gd name="T118" fmla="*/ 146 w 2226"/>
                <a:gd name="T119" fmla="*/ 102 h 1392"/>
                <a:gd name="T120" fmla="*/ 149 w 2226"/>
                <a:gd name="T121" fmla="*/ 106 h 1392"/>
                <a:gd name="T122" fmla="*/ 151 w 2226"/>
                <a:gd name="T123" fmla="*/ 108 h 1392"/>
                <a:gd name="T124" fmla="*/ 157 w 2226"/>
                <a:gd name="T125" fmla="*/ 113 h 13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1392"/>
                <a:gd name="T191" fmla="*/ 2226 w 2226"/>
                <a:gd name="T192" fmla="*/ 1392 h 13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1392">
                  <a:moveTo>
                    <a:pt x="1782" y="1326"/>
                  </a:moveTo>
                  <a:lnTo>
                    <a:pt x="1776" y="1332"/>
                  </a:lnTo>
                  <a:lnTo>
                    <a:pt x="1692" y="1338"/>
                  </a:lnTo>
                  <a:lnTo>
                    <a:pt x="1680" y="1386"/>
                  </a:lnTo>
                  <a:lnTo>
                    <a:pt x="1674" y="1392"/>
                  </a:lnTo>
                  <a:lnTo>
                    <a:pt x="1638" y="1392"/>
                  </a:lnTo>
                  <a:lnTo>
                    <a:pt x="1620" y="1392"/>
                  </a:lnTo>
                  <a:lnTo>
                    <a:pt x="1614" y="1392"/>
                  </a:lnTo>
                  <a:lnTo>
                    <a:pt x="1608" y="1386"/>
                  </a:lnTo>
                  <a:lnTo>
                    <a:pt x="1584" y="1386"/>
                  </a:lnTo>
                  <a:lnTo>
                    <a:pt x="1578" y="1386"/>
                  </a:lnTo>
                  <a:lnTo>
                    <a:pt x="1572" y="1380"/>
                  </a:lnTo>
                  <a:lnTo>
                    <a:pt x="1578" y="1356"/>
                  </a:lnTo>
                  <a:lnTo>
                    <a:pt x="1572" y="1356"/>
                  </a:lnTo>
                  <a:lnTo>
                    <a:pt x="1560" y="1350"/>
                  </a:lnTo>
                  <a:lnTo>
                    <a:pt x="1554" y="1350"/>
                  </a:lnTo>
                  <a:lnTo>
                    <a:pt x="1542" y="1350"/>
                  </a:lnTo>
                  <a:lnTo>
                    <a:pt x="1530" y="1350"/>
                  </a:lnTo>
                  <a:lnTo>
                    <a:pt x="1524" y="1356"/>
                  </a:lnTo>
                  <a:lnTo>
                    <a:pt x="1524" y="1362"/>
                  </a:lnTo>
                  <a:lnTo>
                    <a:pt x="1512" y="1374"/>
                  </a:lnTo>
                  <a:lnTo>
                    <a:pt x="1506" y="1374"/>
                  </a:lnTo>
                  <a:lnTo>
                    <a:pt x="1500" y="1368"/>
                  </a:lnTo>
                  <a:lnTo>
                    <a:pt x="1500" y="1362"/>
                  </a:lnTo>
                  <a:lnTo>
                    <a:pt x="1488" y="1362"/>
                  </a:lnTo>
                  <a:lnTo>
                    <a:pt x="1482" y="1356"/>
                  </a:lnTo>
                  <a:lnTo>
                    <a:pt x="1482" y="1350"/>
                  </a:lnTo>
                  <a:lnTo>
                    <a:pt x="1476" y="1350"/>
                  </a:lnTo>
                  <a:lnTo>
                    <a:pt x="1470" y="1344"/>
                  </a:lnTo>
                  <a:lnTo>
                    <a:pt x="1464" y="1344"/>
                  </a:lnTo>
                  <a:lnTo>
                    <a:pt x="1452" y="1350"/>
                  </a:lnTo>
                  <a:lnTo>
                    <a:pt x="1452" y="1356"/>
                  </a:lnTo>
                  <a:lnTo>
                    <a:pt x="1440" y="1356"/>
                  </a:lnTo>
                  <a:lnTo>
                    <a:pt x="1434" y="1344"/>
                  </a:lnTo>
                  <a:lnTo>
                    <a:pt x="1422" y="1332"/>
                  </a:lnTo>
                  <a:lnTo>
                    <a:pt x="1416" y="1326"/>
                  </a:lnTo>
                  <a:lnTo>
                    <a:pt x="1404" y="1320"/>
                  </a:lnTo>
                  <a:lnTo>
                    <a:pt x="1404" y="1314"/>
                  </a:lnTo>
                  <a:lnTo>
                    <a:pt x="1374" y="1308"/>
                  </a:lnTo>
                  <a:lnTo>
                    <a:pt x="1368" y="1326"/>
                  </a:lnTo>
                  <a:lnTo>
                    <a:pt x="1344" y="1338"/>
                  </a:lnTo>
                  <a:lnTo>
                    <a:pt x="1326" y="1332"/>
                  </a:lnTo>
                  <a:lnTo>
                    <a:pt x="1302" y="1332"/>
                  </a:lnTo>
                  <a:lnTo>
                    <a:pt x="1278" y="1338"/>
                  </a:lnTo>
                  <a:lnTo>
                    <a:pt x="1236" y="1338"/>
                  </a:lnTo>
                  <a:lnTo>
                    <a:pt x="1224" y="1338"/>
                  </a:lnTo>
                  <a:lnTo>
                    <a:pt x="1224" y="1326"/>
                  </a:lnTo>
                  <a:lnTo>
                    <a:pt x="1206" y="1326"/>
                  </a:lnTo>
                  <a:lnTo>
                    <a:pt x="1170" y="1326"/>
                  </a:lnTo>
                  <a:lnTo>
                    <a:pt x="1152" y="1326"/>
                  </a:lnTo>
                  <a:lnTo>
                    <a:pt x="1140" y="1314"/>
                  </a:lnTo>
                  <a:lnTo>
                    <a:pt x="1134" y="1296"/>
                  </a:lnTo>
                  <a:lnTo>
                    <a:pt x="1134" y="1284"/>
                  </a:lnTo>
                  <a:lnTo>
                    <a:pt x="1128" y="1254"/>
                  </a:lnTo>
                  <a:lnTo>
                    <a:pt x="1128" y="1242"/>
                  </a:lnTo>
                  <a:lnTo>
                    <a:pt x="1122" y="1230"/>
                  </a:lnTo>
                  <a:lnTo>
                    <a:pt x="1104" y="1218"/>
                  </a:lnTo>
                  <a:lnTo>
                    <a:pt x="1104" y="1212"/>
                  </a:lnTo>
                  <a:lnTo>
                    <a:pt x="1092" y="1206"/>
                  </a:lnTo>
                  <a:lnTo>
                    <a:pt x="1080" y="1194"/>
                  </a:lnTo>
                  <a:lnTo>
                    <a:pt x="1068" y="1176"/>
                  </a:lnTo>
                  <a:lnTo>
                    <a:pt x="1050" y="1152"/>
                  </a:lnTo>
                  <a:lnTo>
                    <a:pt x="1020" y="1098"/>
                  </a:lnTo>
                  <a:lnTo>
                    <a:pt x="978" y="1026"/>
                  </a:lnTo>
                  <a:lnTo>
                    <a:pt x="978" y="1014"/>
                  </a:lnTo>
                  <a:lnTo>
                    <a:pt x="972" y="1014"/>
                  </a:lnTo>
                  <a:lnTo>
                    <a:pt x="972" y="1008"/>
                  </a:lnTo>
                  <a:lnTo>
                    <a:pt x="978" y="1002"/>
                  </a:lnTo>
                  <a:lnTo>
                    <a:pt x="960" y="966"/>
                  </a:lnTo>
                  <a:lnTo>
                    <a:pt x="948" y="954"/>
                  </a:lnTo>
                  <a:lnTo>
                    <a:pt x="948" y="936"/>
                  </a:lnTo>
                  <a:lnTo>
                    <a:pt x="936" y="900"/>
                  </a:lnTo>
                  <a:lnTo>
                    <a:pt x="942" y="876"/>
                  </a:lnTo>
                  <a:lnTo>
                    <a:pt x="942" y="834"/>
                  </a:lnTo>
                  <a:lnTo>
                    <a:pt x="960" y="828"/>
                  </a:lnTo>
                  <a:lnTo>
                    <a:pt x="966" y="816"/>
                  </a:lnTo>
                  <a:lnTo>
                    <a:pt x="972" y="810"/>
                  </a:lnTo>
                  <a:lnTo>
                    <a:pt x="978" y="804"/>
                  </a:lnTo>
                  <a:lnTo>
                    <a:pt x="996" y="798"/>
                  </a:lnTo>
                  <a:lnTo>
                    <a:pt x="996" y="792"/>
                  </a:lnTo>
                  <a:lnTo>
                    <a:pt x="1014" y="780"/>
                  </a:lnTo>
                  <a:lnTo>
                    <a:pt x="1026" y="768"/>
                  </a:lnTo>
                  <a:lnTo>
                    <a:pt x="1032" y="762"/>
                  </a:lnTo>
                  <a:lnTo>
                    <a:pt x="1026" y="756"/>
                  </a:lnTo>
                  <a:lnTo>
                    <a:pt x="1014" y="744"/>
                  </a:lnTo>
                  <a:lnTo>
                    <a:pt x="996" y="756"/>
                  </a:lnTo>
                  <a:lnTo>
                    <a:pt x="954" y="768"/>
                  </a:lnTo>
                  <a:lnTo>
                    <a:pt x="942" y="762"/>
                  </a:lnTo>
                  <a:lnTo>
                    <a:pt x="942" y="756"/>
                  </a:lnTo>
                  <a:lnTo>
                    <a:pt x="936" y="750"/>
                  </a:lnTo>
                  <a:lnTo>
                    <a:pt x="846" y="732"/>
                  </a:lnTo>
                  <a:lnTo>
                    <a:pt x="822" y="726"/>
                  </a:lnTo>
                  <a:lnTo>
                    <a:pt x="810" y="714"/>
                  </a:lnTo>
                  <a:lnTo>
                    <a:pt x="792" y="690"/>
                  </a:lnTo>
                  <a:lnTo>
                    <a:pt x="792" y="678"/>
                  </a:lnTo>
                  <a:lnTo>
                    <a:pt x="762" y="642"/>
                  </a:lnTo>
                  <a:lnTo>
                    <a:pt x="750" y="636"/>
                  </a:lnTo>
                  <a:lnTo>
                    <a:pt x="726" y="630"/>
                  </a:lnTo>
                  <a:lnTo>
                    <a:pt x="696" y="642"/>
                  </a:lnTo>
                  <a:lnTo>
                    <a:pt x="678" y="654"/>
                  </a:lnTo>
                  <a:lnTo>
                    <a:pt x="666" y="684"/>
                  </a:lnTo>
                  <a:lnTo>
                    <a:pt x="660" y="726"/>
                  </a:lnTo>
                  <a:lnTo>
                    <a:pt x="606" y="756"/>
                  </a:lnTo>
                  <a:lnTo>
                    <a:pt x="558" y="780"/>
                  </a:lnTo>
                  <a:lnTo>
                    <a:pt x="438" y="834"/>
                  </a:lnTo>
                  <a:lnTo>
                    <a:pt x="402" y="846"/>
                  </a:lnTo>
                  <a:lnTo>
                    <a:pt x="372" y="870"/>
                  </a:lnTo>
                  <a:lnTo>
                    <a:pt x="360" y="876"/>
                  </a:lnTo>
                  <a:lnTo>
                    <a:pt x="354" y="876"/>
                  </a:lnTo>
                  <a:lnTo>
                    <a:pt x="330" y="882"/>
                  </a:lnTo>
                  <a:lnTo>
                    <a:pt x="306" y="882"/>
                  </a:lnTo>
                  <a:lnTo>
                    <a:pt x="300" y="876"/>
                  </a:lnTo>
                  <a:lnTo>
                    <a:pt x="294" y="876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76" y="864"/>
                  </a:lnTo>
                  <a:lnTo>
                    <a:pt x="270" y="870"/>
                  </a:lnTo>
                  <a:lnTo>
                    <a:pt x="264" y="870"/>
                  </a:lnTo>
                  <a:lnTo>
                    <a:pt x="240" y="894"/>
                  </a:lnTo>
                  <a:lnTo>
                    <a:pt x="234" y="894"/>
                  </a:lnTo>
                  <a:lnTo>
                    <a:pt x="228" y="900"/>
                  </a:lnTo>
                  <a:lnTo>
                    <a:pt x="222" y="906"/>
                  </a:lnTo>
                  <a:lnTo>
                    <a:pt x="210" y="912"/>
                  </a:lnTo>
                  <a:lnTo>
                    <a:pt x="204" y="912"/>
                  </a:lnTo>
                  <a:lnTo>
                    <a:pt x="198" y="912"/>
                  </a:lnTo>
                  <a:lnTo>
                    <a:pt x="192" y="918"/>
                  </a:lnTo>
                  <a:lnTo>
                    <a:pt x="180" y="918"/>
                  </a:lnTo>
                  <a:lnTo>
                    <a:pt x="174" y="930"/>
                  </a:lnTo>
                  <a:lnTo>
                    <a:pt x="174" y="936"/>
                  </a:lnTo>
                  <a:lnTo>
                    <a:pt x="168" y="942"/>
                  </a:lnTo>
                  <a:lnTo>
                    <a:pt x="162" y="942"/>
                  </a:lnTo>
                  <a:lnTo>
                    <a:pt x="150" y="960"/>
                  </a:lnTo>
                  <a:lnTo>
                    <a:pt x="144" y="966"/>
                  </a:lnTo>
                  <a:lnTo>
                    <a:pt x="138" y="972"/>
                  </a:lnTo>
                  <a:lnTo>
                    <a:pt x="132" y="972"/>
                  </a:lnTo>
                  <a:lnTo>
                    <a:pt x="126" y="984"/>
                  </a:lnTo>
                  <a:lnTo>
                    <a:pt x="120" y="984"/>
                  </a:lnTo>
                  <a:lnTo>
                    <a:pt x="114" y="990"/>
                  </a:lnTo>
                  <a:lnTo>
                    <a:pt x="96" y="990"/>
                  </a:lnTo>
                  <a:lnTo>
                    <a:pt x="90" y="990"/>
                  </a:lnTo>
                  <a:lnTo>
                    <a:pt x="78" y="990"/>
                  </a:lnTo>
                  <a:lnTo>
                    <a:pt x="72" y="990"/>
                  </a:lnTo>
                  <a:lnTo>
                    <a:pt x="60" y="990"/>
                  </a:lnTo>
                  <a:lnTo>
                    <a:pt x="42" y="990"/>
                  </a:lnTo>
                  <a:lnTo>
                    <a:pt x="36" y="996"/>
                  </a:lnTo>
                  <a:lnTo>
                    <a:pt x="30" y="1002"/>
                  </a:lnTo>
                  <a:lnTo>
                    <a:pt x="24" y="1014"/>
                  </a:lnTo>
                  <a:lnTo>
                    <a:pt x="24" y="1020"/>
                  </a:lnTo>
                  <a:lnTo>
                    <a:pt x="18" y="1020"/>
                  </a:lnTo>
                  <a:lnTo>
                    <a:pt x="12" y="1014"/>
                  </a:lnTo>
                  <a:lnTo>
                    <a:pt x="12" y="1008"/>
                  </a:lnTo>
                  <a:lnTo>
                    <a:pt x="12" y="990"/>
                  </a:lnTo>
                  <a:lnTo>
                    <a:pt x="12" y="984"/>
                  </a:lnTo>
                  <a:lnTo>
                    <a:pt x="12" y="972"/>
                  </a:lnTo>
                  <a:lnTo>
                    <a:pt x="12" y="966"/>
                  </a:lnTo>
                  <a:lnTo>
                    <a:pt x="6" y="966"/>
                  </a:lnTo>
                  <a:lnTo>
                    <a:pt x="6" y="960"/>
                  </a:lnTo>
                  <a:lnTo>
                    <a:pt x="6" y="954"/>
                  </a:lnTo>
                  <a:lnTo>
                    <a:pt x="6" y="948"/>
                  </a:lnTo>
                  <a:lnTo>
                    <a:pt x="6" y="942"/>
                  </a:lnTo>
                  <a:lnTo>
                    <a:pt x="12" y="930"/>
                  </a:lnTo>
                  <a:lnTo>
                    <a:pt x="6" y="924"/>
                  </a:lnTo>
                  <a:lnTo>
                    <a:pt x="6" y="918"/>
                  </a:lnTo>
                  <a:lnTo>
                    <a:pt x="6" y="912"/>
                  </a:lnTo>
                  <a:lnTo>
                    <a:pt x="6" y="906"/>
                  </a:lnTo>
                  <a:lnTo>
                    <a:pt x="6" y="900"/>
                  </a:lnTo>
                  <a:lnTo>
                    <a:pt x="0" y="894"/>
                  </a:lnTo>
                  <a:lnTo>
                    <a:pt x="0" y="888"/>
                  </a:lnTo>
                  <a:lnTo>
                    <a:pt x="0" y="882"/>
                  </a:lnTo>
                  <a:lnTo>
                    <a:pt x="6" y="876"/>
                  </a:lnTo>
                  <a:lnTo>
                    <a:pt x="6" y="870"/>
                  </a:lnTo>
                  <a:lnTo>
                    <a:pt x="18" y="864"/>
                  </a:lnTo>
                  <a:lnTo>
                    <a:pt x="18" y="858"/>
                  </a:lnTo>
                  <a:lnTo>
                    <a:pt x="18" y="846"/>
                  </a:lnTo>
                  <a:lnTo>
                    <a:pt x="18" y="834"/>
                  </a:lnTo>
                  <a:lnTo>
                    <a:pt x="18" y="828"/>
                  </a:lnTo>
                  <a:lnTo>
                    <a:pt x="24" y="828"/>
                  </a:lnTo>
                  <a:lnTo>
                    <a:pt x="24" y="810"/>
                  </a:lnTo>
                  <a:lnTo>
                    <a:pt x="24" y="804"/>
                  </a:lnTo>
                  <a:lnTo>
                    <a:pt x="18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24" y="792"/>
                  </a:lnTo>
                  <a:lnTo>
                    <a:pt x="30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6" y="762"/>
                  </a:lnTo>
                  <a:lnTo>
                    <a:pt x="36" y="756"/>
                  </a:lnTo>
                  <a:lnTo>
                    <a:pt x="30" y="756"/>
                  </a:lnTo>
                  <a:lnTo>
                    <a:pt x="30" y="750"/>
                  </a:lnTo>
                  <a:lnTo>
                    <a:pt x="36" y="750"/>
                  </a:lnTo>
                  <a:lnTo>
                    <a:pt x="36" y="744"/>
                  </a:lnTo>
                  <a:lnTo>
                    <a:pt x="30" y="744"/>
                  </a:lnTo>
                  <a:lnTo>
                    <a:pt x="30" y="738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0" y="732"/>
                  </a:lnTo>
                  <a:lnTo>
                    <a:pt x="36" y="726"/>
                  </a:lnTo>
                  <a:lnTo>
                    <a:pt x="30" y="726"/>
                  </a:lnTo>
                  <a:lnTo>
                    <a:pt x="24" y="726"/>
                  </a:lnTo>
                  <a:lnTo>
                    <a:pt x="30" y="720"/>
                  </a:lnTo>
                  <a:lnTo>
                    <a:pt x="30" y="714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696"/>
                  </a:lnTo>
                  <a:lnTo>
                    <a:pt x="66" y="702"/>
                  </a:lnTo>
                  <a:lnTo>
                    <a:pt x="78" y="702"/>
                  </a:lnTo>
                  <a:lnTo>
                    <a:pt x="84" y="702"/>
                  </a:lnTo>
                  <a:lnTo>
                    <a:pt x="96" y="696"/>
                  </a:lnTo>
                  <a:lnTo>
                    <a:pt x="102" y="690"/>
                  </a:lnTo>
                  <a:lnTo>
                    <a:pt x="102" y="684"/>
                  </a:lnTo>
                  <a:lnTo>
                    <a:pt x="114" y="684"/>
                  </a:lnTo>
                  <a:lnTo>
                    <a:pt x="144" y="684"/>
                  </a:lnTo>
                  <a:lnTo>
                    <a:pt x="150" y="690"/>
                  </a:lnTo>
                  <a:lnTo>
                    <a:pt x="162" y="696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6" y="690"/>
                  </a:lnTo>
                  <a:lnTo>
                    <a:pt x="192" y="690"/>
                  </a:lnTo>
                  <a:lnTo>
                    <a:pt x="198" y="684"/>
                  </a:lnTo>
                  <a:lnTo>
                    <a:pt x="204" y="684"/>
                  </a:lnTo>
                  <a:lnTo>
                    <a:pt x="210" y="684"/>
                  </a:lnTo>
                  <a:lnTo>
                    <a:pt x="222" y="678"/>
                  </a:lnTo>
                  <a:lnTo>
                    <a:pt x="228" y="678"/>
                  </a:lnTo>
                  <a:lnTo>
                    <a:pt x="228" y="660"/>
                  </a:lnTo>
                  <a:lnTo>
                    <a:pt x="234" y="642"/>
                  </a:lnTo>
                  <a:lnTo>
                    <a:pt x="246" y="618"/>
                  </a:lnTo>
                  <a:lnTo>
                    <a:pt x="252" y="618"/>
                  </a:lnTo>
                  <a:lnTo>
                    <a:pt x="252" y="600"/>
                  </a:lnTo>
                  <a:lnTo>
                    <a:pt x="252" y="588"/>
                  </a:lnTo>
                  <a:lnTo>
                    <a:pt x="252" y="582"/>
                  </a:lnTo>
                  <a:lnTo>
                    <a:pt x="258" y="576"/>
                  </a:lnTo>
                  <a:lnTo>
                    <a:pt x="270" y="564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70" y="522"/>
                  </a:lnTo>
                  <a:lnTo>
                    <a:pt x="270" y="510"/>
                  </a:lnTo>
                  <a:lnTo>
                    <a:pt x="270" y="498"/>
                  </a:lnTo>
                  <a:lnTo>
                    <a:pt x="258" y="468"/>
                  </a:lnTo>
                  <a:lnTo>
                    <a:pt x="252" y="456"/>
                  </a:lnTo>
                  <a:lnTo>
                    <a:pt x="258" y="444"/>
                  </a:lnTo>
                  <a:lnTo>
                    <a:pt x="264" y="432"/>
                  </a:lnTo>
                  <a:lnTo>
                    <a:pt x="270" y="426"/>
                  </a:lnTo>
                  <a:lnTo>
                    <a:pt x="276" y="420"/>
                  </a:lnTo>
                  <a:lnTo>
                    <a:pt x="288" y="420"/>
                  </a:lnTo>
                  <a:lnTo>
                    <a:pt x="288" y="414"/>
                  </a:lnTo>
                  <a:lnTo>
                    <a:pt x="294" y="414"/>
                  </a:lnTo>
                  <a:lnTo>
                    <a:pt x="306" y="390"/>
                  </a:lnTo>
                  <a:lnTo>
                    <a:pt x="312" y="384"/>
                  </a:lnTo>
                  <a:lnTo>
                    <a:pt x="318" y="378"/>
                  </a:lnTo>
                  <a:lnTo>
                    <a:pt x="318" y="372"/>
                  </a:lnTo>
                  <a:lnTo>
                    <a:pt x="324" y="366"/>
                  </a:lnTo>
                  <a:lnTo>
                    <a:pt x="330" y="354"/>
                  </a:lnTo>
                  <a:lnTo>
                    <a:pt x="336" y="348"/>
                  </a:lnTo>
                  <a:lnTo>
                    <a:pt x="336" y="330"/>
                  </a:lnTo>
                  <a:lnTo>
                    <a:pt x="342" y="324"/>
                  </a:lnTo>
                  <a:lnTo>
                    <a:pt x="342" y="318"/>
                  </a:lnTo>
                  <a:lnTo>
                    <a:pt x="348" y="318"/>
                  </a:lnTo>
                  <a:lnTo>
                    <a:pt x="360" y="318"/>
                  </a:lnTo>
                  <a:lnTo>
                    <a:pt x="372" y="318"/>
                  </a:lnTo>
                  <a:lnTo>
                    <a:pt x="384" y="306"/>
                  </a:lnTo>
                  <a:lnTo>
                    <a:pt x="396" y="300"/>
                  </a:lnTo>
                  <a:lnTo>
                    <a:pt x="396" y="294"/>
                  </a:lnTo>
                  <a:lnTo>
                    <a:pt x="396" y="288"/>
                  </a:lnTo>
                  <a:lnTo>
                    <a:pt x="390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2"/>
                  </a:lnTo>
                  <a:lnTo>
                    <a:pt x="378" y="246"/>
                  </a:lnTo>
                  <a:lnTo>
                    <a:pt x="384" y="228"/>
                  </a:lnTo>
                  <a:lnTo>
                    <a:pt x="390" y="216"/>
                  </a:lnTo>
                  <a:lnTo>
                    <a:pt x="402" y="210"/>
                  </a:lnTo>
                  <a:lnTo>
                    <a:pt x="408" y="210"/>
                  </a:lnTo>
                  <a:lnTo>
                    <a:pt x="420" y="204"/>
                  </a:lnTo>
                  <a:lnTo>
                    <a:pt x="444" y="198"/>
                  </a:lnTo>
                  <a:lnTo>
                    <a:pt x="462" y="192"/>
                  </a:lnTo>
                  <a:lnTo>
                    <a:pt x="474" y="186"/>
                  </a:lnTo>
                  <a:lnTo>
                    <a:pt x="480" y="192"/>
                  </a:lnTo>
                  <a:lnTo>
                    <a:pt x="492" y="192"/>
                  </a:lnTo>
                  <a:lnTo>
                    <a:pt x="498" y="192"/>
                  </a:lnTo>
                  <a:lnTo>
                    <a:pt x="504" y="192"/>
                  </a:lnTo>
                  <a:lnTo>
                    <a:pt x="510" y="192"/>
                  </a:lnTo>
                  <a:lnTo>
                    <a:pt x="516" y="186"/>
                  </a:lnTo>
                  <a:lnTo>
                    <a:pt x="522" y="180"/>
                  </a:lnTo>
                  <a:lnTo>
                    <a:pt x="522" y="174"/>
                  </a:lnTo>
                  <a:lnTo>
                    <a:pt x="528" y="168"/>
                  </a:lnTo>
                  <a:lnTo>
                    <a:pt x="534" y="168"/>
                  </a:lnTo>
                  <a:lnTo>
                    <a:pt x="534" y="156"/>
                  </a:lnTo>
                  <a:lnTo>
                    <a:pt x="534" y="150"/>
                  </a:lnTo>
                  <a:lnTo>
                    <a:pt x="552" y="138"/>
                  </a:lnTo>
                  <a:lnTo>
                    <a:pt x="558" y="126"/>
                  </a:lnTo>
                  <a:lnTo>
                    <a:pt x="558" y="114"/>
                  </a:lnTo>
                  <a:lnTo>
                    <a:pt x="564" y="102"/>
                  </a:lnTo>
                  <a:lnTo>
                    <a:pt x="564" y="96"/>
                  </a:lnTo>
                  <a:lnTo>
                    <a:pt x="564" y="90"/>
                  </a:lnTo>
                  <a:lnTo>
                    <a:pt x="564" y="72"/>
                  </a:lnTo>
                  <a:lnTo>
                    <a:pt x="564" y="60"/>
                  </a:lnTo>
                  <a:lnTo>
                    <a:pt x="564" y="54"/>
                  </a:lnTo>
                  <a:lnTo>
                    <a:pt x="570" y="42"/>
                  </a:lnTo>
                  <a:lnTo>
                    <a:pt x="576" y="42"/>
                  </a:lnTo>
                  <a:lnTo>
                    <a:pt x="582" y="36"/>
                  </a:lnTo>
                  <a:lnTo>
                    <a:pt x="594" y="36"/>
                  </a:lnTo>
                  <a:lnTo>
                    <a:pt x="594" y="30"/>
                  </a:lnTo>
                  <a:lnTo>
                    <a:pt x="600" y="24"/>
                  </a:lnTo>
                  <a:lnTo>
                    <a:pt x="600" y="12"/>
                  </a:lnTo>
                  <a:lnTo>
                    <a:pt x="606" y="6"/>
                  </a:lnTo>
                  <a:lnTo>
                    <a:pt x="606" y="0"/>
                  </a:lnTo>
                  <a:lnTo>
                    <a:pt x="612" y="0"/>
                  </a:lnTo>
                  <a:lnTo>
                    <a:pt x="618" y="0"/>
                  </a:lnTo>
                  <a:lnTo>
                    <a:pt x="624" y="6"/>
                  </a:lnTo>
                  <a:lnTo>
                    <a:pt x="624" y="12"/>
                  </a:lnTo>
                  <a:lnTo>
                    <a:pt x="624" y="18"/>
                  </a:lnTo>
                  <a:lnTo>
                    <a:pt x="624" y="24"/>
                  </a:lnTo>
                  <a:lnTo>
                    <a:pt x="624" y="30"/>
                  </a:lnTo>
                  <a:lnTo>
                    <a:pt x="630" y="30"/>
                  </a:lnTo>
                  <a:lnTo>
                    <a:pt x="630" y="36"/>
                  </a:lnTo>
                  <a:lnTo>
                    <a:pt x="630" y="42"/>
                  </a:lnTo>
                  <a:lnTo>
                    <a:pt x="630" y="48"/>
                  </a:lnTo>
                  <a:lnTo>
                    <a:pt x="636" y="54"/>
                  </a:lnTo>
                  <a:lnTo>
                    <a:pt x="642" y="48"/>
                  </a:lnTo>
                  <a:lnTo>
                    <a:pt x="648" y="48"/>
                  </a:lnTo>
                  <a:lnTo>
                    <a:pt x="648" y="60"/>
                  </a:lnTo>
                  <a:lnTo>
                    <a:pt x="654" y="66"/>
                  </a:lnTo>
                  <a:lnTo>
                    <a:pt x="660" y="72"/>
                  </a:lnTo>
                  <a:lnTo>
                    <a:pt x="666" y="72"/>
                  </a:lnTo>
                  <a:lnTo>
                    <a:pt x="666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72" y="66"/>
                  </a:lnTo>
                  <a:lnTo>
                    <a:pt x="678" y="66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6" y="66"/>
                  </a:lnTo>
                  <a:lnTo>
                    <a:pt x="696" y="72"/>
                  </a:lnTo>
                  <a:lnTo>
                    <a:pt x="702" y="72"/>
                  </a:lnTo>
                  <a:lnTo>
                    <a:pt x="708" y="72"/>
                  </a:lnTo>
                  <a:lnTo>
                    <a:pt x="720" y="66"/>
                  </a:lnTo>
                  <a:lnTo>
                    <a:pt x="726" y="78"/>
                  </a:lnTo>
                  <a:lnTo>
                    <a:pt x="744" y="84"/>
                  </a:lnTo>
                  <a:lnTo>
                    <a:pt x="744" y="90"/>
                  </a:lnTo>
                  <a:lnTo>
                    <a:pt x="744" y="96"/>
                  </a:lnTo>
                  <a:lnTo>
                    <a:pt x="738" y="96"/>
                  </a:lnTo>
                  <a:lnTo>
                    <a:pt x="738" y="102"/>
                  </a:lnTo>
                  <a:lnTo>
                    <a:pt x="732" y="102"/>
                  </a:lnTo>
                  <a:lnTo>
                    <a:pt x="732" y="108"/>
                  </a:lnTo>
                  <a:lnTo>
                    <a:pt x="738" y="108"/>
                  </a:lnTo>
                  <a:lnTo>
                    <a:pt x="744" y="114"/>
                  </a:lnTo>
                  <a:lnTo>
                    <a:pt x="750" y="108"/>
                  </a:lnTo>
                  <a:lnTo>
                    <a:pt x="756" y="108"/>
                  </a:lnTo>
                  <a:lnTo>
                    <a:pt x="762" y="108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80" y="120"/>
                  </a:lnTo>
                  <a:lnTo>
                    <a:pt x="774" y="120"/>
                  </a:lnTo>
                  <a:lnTo>
                    <a:pt x="768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74" y="138"/>
                  </a:lnTo>
                  <a:lnTo>
                    <a:pt x="774" y="132"/>
                  </a:lnTo>
                  <a:lnTo>
                    <a:pt x="780" y="132"/>
                  </a:lnTo>
                  <a:lnTo>
                    <a:pt x="786" y="132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44"/>
                  </a:lnTo>
                  <a:lnTo>
                    <a:pt x="786" y="150"/>
                  </a:lnTo>
                  <a:lnTo>
                    <a:pt x="780" y="150"/>
                  </a:lnTo>
                  <a:lnTo>
                    <a:pt x="774" y="150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74" y="162"/>
                  </a:lnTo>
                  <a:lnTo>
                    <a:pt x="780" y="162"/>
                  </a:lnTo>
                  <a:lnTo>
                    <a:pt x="786" y="168"/>
                  </a:lnTo>
                  <a:lnTo>
                    <a:pt x="792" y="162"/>
                  </a:lnTo>
                  <a:lnTo>
                    <a:pt x="798" y="168"/>
                  </a:lnTo>
                  <a:lnTo>
                    <a:pt x="798" y="174"/>
                  </a:lnTo>
                  <a:lnTo>
                    <a:pt x="804" y="168"/>
                  </a:lnTo>
                  <a:lnTo>
                    <a:pt x="810" y="168"/>
                  </a:lnTo>
                  <a:lnTo>
                    <a:pt x="810" y="174"/>
                  </a:lnTo>
                  <a:lnTo>
                    <a:pt x="816" y="168"/>
                  </a:lnTo>
                  <a:lnTo>
                    <a:pt x="822" y="162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74"/>
                  </a:lnTo>
                  <a:lnTo>
                    <a:pt x="834" y="192"/>
                  </a:lnTo>
                  <a:lnTo>
                    <a:pt x="834" y="198"/>
                  </a:lnTo>
                  <a:lnTo>
                    <a:pt x="840" y="192"/>
                  </a:lnTo>
                  <a:lnTo>
                    <a:pt x="846" y="192"/>
                  </a:lnTo>
                  <a:lnTo>
                    <a:pt x="852" y="186"/>
                  </a:lnTo>
                  <a:lnTo>
                    <a:pt x="858" y="192"/>
                  </a:lnTo>
                  <a:lnTo>
                    <a:pt x="864" y="192"/>
                  </a:lnTo>
                  <a:lnTo>
                    <a:pt x="870" y="198"/>
                  </a:lnTo>
                  <a:lnTo>
                    <a:pt x="876" y="180"/>
                  </a:lnTo>
                  <a:lnTo>
                    <a:pt x="882" y="180"/>
                  </a:lnTo>
                  <a:lnTo>
                    <a:pt x="888" y="180"/>
                  </a:lnTo>
                  <a:lnTo>
                    <a:pt x="894" y="186"/>
                  </a:lnTo>
                  <a:lnTo>
                    <a:pt x="888" y="198"/>
                  </a:lnTo>
                  <a:lnTo>
                    <a:pt x="894" y="204"/>
                  </a:lnTo>
                  <a:lnTo>
                    <a:pt x="906" y="210"/>
                  </a:lnTo>
                  <a:lnTo>
                    <a:pt x="918" y="246"/>
                  </a:lnTo>
                  <a:lnTo>
                    <a:pt x="930" y="258"/>
                  </a:lnTo>
                  <a:lnTo>
                    <a:pt x="942" y="282"/>
                  </a:lnTo>
                  <a:lnTo>
                    <a:pt x="966" y="288"/>
                  </a:lnTo>
                  <a:lnTo>
                    <a:pt x="972" y="300"/>
                  </a:lnTo>
                  <a:lnTo>
                    <a:pt x="972" y="318"/>
                  </a:lnTo>
                  <a:lnTo>
                    <a:pt x="996" y="336"/>
                  </a:lnTo>
                  <a:lnTo>
                    <a:pt x="1050" y="390"/>
                  </a:lnTo>
                  <a:lnTo>
                    <a:pt x="1116" y="462"/>
                  </a:lnTo>
                  <a:lnTo>
                    <a:pt x="1122" y="468"/>
                  </a:lnTo>
                  <a:lnTo>
                    <a:pt x="1128" y="474"/>
                  </a:lnTo>
                  <a:lnTo>
                    <a:pt x="1140" y="474"/>
                  </a:lnTo>
                  <a:lnTo>
                    <a:pt x="1152" y="486"/>
                  </a:lnTo>
                  <a:lnTo>
                    <a:pt x="1152" y="492"/>
                  </a:lnTo>
                  <a:lnTo>
                    <a:pt x="1158" y="492"/>
                  </a:lnTo>
                  <a:lnTo>
                    <a:pt x="1164" y="492"/>
                  </a:lnTo>
                  <a:lnTo>
                    <a:pt x="1170" y="504"/>
                  </a:lnTo>
                  <a:lnTo>
                    <a:pt x="1176" y="504"/>
                  </a:lnTo>
                  <a:lnTo>
                    <a:pt x="1176" y="510"/>
                  </a:lnTo>
                  <a:lnTo>
                    <a:pt x="1200" y="516"/>
                  </a:lnTo>
                  <a:lnTo>
                    <a:pt x="1200" y="522"/>
                  </a:lnTo>
                  <a:lnTo>
                    <a:pt x="1212" y="534"/>
                  </a:lnTo>
                  <a:lnTo>
                    <a:pt x="1218" y="540"/>
                  </a:lnTo>
                  <a:lnTo>
                    <a:pt x="1224" y="552"/>
                  </a:lnTo>
                  <a:lnTo>
                    <a:pt x="1230" y="552"/>
                  </a:lnTo>
                  <a:lnTo>
                    <a:pt x="1242" y="552"/>
                  </a:lnTo>
                  <a:lnTo>
                    <a:pt x="1248" y="558"/>
                  </a:lnTo>
                  <a:lnTo>
                    <a:pt x="1254" y="558"/>
                  </a:lnTo>
                  <a:lnTo>
                    <a:pt x="1260" y="564"/>
                  </a:lnTo>
                  <a:lnTo>
                    <a:pt x="1266" y="564"/>
                  </a:lnTo>
                  <a:lnTo>
                    <a:pt x="1272" y="564"/>
                  </a:lnTo>
                  <a:lnTo>
                    <a:pt x="1284" y="564"/>
                  </a:lnTo>
                  <a:lnTo>
                    <a:pt x="1290" y="570"/>
                  </a:lnTo>
                  <a:lnTo>
                    <a:pt x="1296" y="576"/>
                  </a:lnTo>
                  <a:lnTo>
                    <a:pt x="1302" y="588"/>
                  </a:lnTo>
                  <a:lnTo>
                    <a:pt x="1296" y="594"/>
                  </a:lnTo>
                  <a:lnTo>
                    <a:pt x="1296" y="600"/>
                  </a:lnTo>
                  <a:lnTo>
                    <a:pt x="1296" y="606"/>
                  </a:lnTo>
                  <a:lnTo>
                    <a:pt x="1290" y="612"/>
                  </a:lnTo>
                  <a:lnTo>
                    <a:pt x="1290" y="624"/>
                  </a:lnTo>
                  <a:lnTo>
                    <a:pt x="1290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308" y="654"/>
                  </a:lnTo>
                  <a:lnTo>
                    <a:pt x="1320" y="654"/>
                  </a:lnTo>
                  <a:lnTo>
                    <a:pt x="1326" y="660"/>
                  </a:lnTo>
                  <a:lnTo>
                    <a:pt x="1338" y="654"/>
                  </a:lnTo>
                  <a:lnTo>
                    <a:pt x="1344" y="654"/>
                  </a:lnTo>
                  <a:lnTo>
                    <a:pt x="1356" y="654"/>
                  </a:lnTo>
                  <a:lnTo>
                    <a:pt x="1362" y="648"/>
                  </a:lnTo>
                  <a:lnTo>
                    <a:pt x="1368" y="642"/>
                  </a:lnTo>
                  <a:lnTo>
                    <a:pt x="1374" y="636"/>
                  </a:lnTo>
                  <a:lnTo>
                    <a:pt x="1380" y="636"/>
                  </a:lnTo>
                  <a:lnTo>
                    <a:pt x="1392" y="636"/>
                  </a:lnTo>
                  <a:lnTo>
                    <a:pt x="1398" y="636"/>
                  </a:lnTo>
                  <a:lnTo>
                    <a:pt x="1404" y="636"/>
                  </a:lnTo>
                  <a:lnTo>
                    <a:pt x="1410" y="630"/>
                  </a:lnTo>
                  <a:lnTo>
                    <a:pt x="1410" y="624"/>
                  </a:lnTo>
                  <a:lnTo>
                    <a:pt x="1422" y="618"/>
                  </a:lnTo>
                  <a:lnTo>
                    <a:pt x="1428" y="618"/>
                  </a:lnTo>
                  <a:lnTo>
                    <a:pt x="1440" y="612"/>
                  </a:lnTo>
                  <a:lnTo>
                    <a:pt x="1446" y="612"/>
                  </a:lnTo>
                  <a:lnTo>
                    <a:pt x="1458" y="612"/>
                  </a:lnTo>
                  <a:lnTo>
                    <a:pt x="1470" y="624"/>
                  </a:lnTo>
                  <a:lnTo>
                    <a:pt x="1488" y="642"/>
                  </a:lnTo>
                  <a:lnTo>
                    <a:pt x="1500" y="648"/>
                  </a:lnTo>
                  <a:lnTo>
                    <a:pt x="1512" y="654"/>
                  </a:lnTo>
                  <a:lnTo>
                    <a:pt x="1518" y="660"/>
                  </a:lnTo>
                  <a:lnTo>
                    <a:pt x="1524" y="660"/>
                  </a:lnTo>
                  <a:lnTo>
                    <a:pt x="1530" y="660"/>
                  </a:lnTo>
                  <a:lnTo>
                    <a:pt x="1536" y="666"/>
                  </a:lnTo>
                  <a:lnTo>
                    <a:pt x="1542" y="672"/>
                  </a:lnTo>
                  <a:lnTo>
                    <a:pt x="1548" y="672"/>
                  </a:lnTo>
                  <a:lnTo>
                    <a:pt x="1554" y="684"/>
                  </a:lnTo>
                  <a:lnTo>
                    <a:pt x="1554" y="690"/>
                  </a:lnTo>
                  <a:lnTo>
                    <a:pt x="1566" y="702"/>
                  </a:lnTo>
                  <a:lnTo>
                    <a:pt x="1572" y="720"/>
                  </a:lnTo>
                  <a:lnTo>
                    <a:pt x="1572" y="726"/>
                  </a:lnTo>
                  <a:lnTo>
                    <a:pt x="1578" y="732"/>
                  </a:lnTo>
                  <a:lnTo>
                    <a:pt x="1584" y="738"/>
                  </a:lnTo>
                  <a:lnTo>
                    <a:pt x="1590" y="738"/>
                  </a:lnTo>
                  <a:lnTo>
                    <a:pt x="1596" y="738"/>
                  </a:lnTo>
                  <a:lnTo>
                    <a:pt x="1602" y="744"/>
                  </a:lnTo>
                  <a:lnTo>
                    <a:pt x="1608" y="744"/>
                  </a:lnTo>
                  <a:lnTo>
                    <a:pt x="1614" y="744"/>
                  </a:lnTo>
                  <a:lnTo>
                    <a:pt x="1626" y="744"/>
                  </a:lnTo>
                  <a:lnTo>
                    <a:pt x="1638" y="744"/>
                  </a:lnTo>
                  <a:lnTo>
                    <a:pt x="1650" y="744"/>
                  </a:lnTo>
                  <a:lnTo>
                    <a:pt x="1662" y="744"/>
                  </a:lnTo>
                  <a:lnTo>
                    <a:pt x="1668" y="744"/>
                  </a:lnTo>
                  <a:lnTo>
                    <a:pt x="1674" y="744"/>
                  </a:lnTo>
                  <a:lnTo>
                    <a:pt x="1686" y="744"/>
                  </a:lnTo>
                  <a:lnTo>
                    <a:pt x="1698" y="750"/>
                  </a:lnTo>
                  <a:lnTo>
                    <a:pt x="1704" y="750"/>
                  </a:lnTo>
                  <a:lnTo>
                    <a:pt x="1716" y="756"/>
                  </a:lnTo>
                  <a:lnTo>
                    <a:pt x="1722" y="756"/>
                  </a:lnTo>
                  <a:lnTo>
                    <a:pt x="1728" y="756"/>
                  </a:lnTo>
                  <a:lnTo>
                    <a:pt x="1734" y="762"/>
                  </a:lnTo>
                  <a:lnTo>
                    <a:pt x="1740" y="768"/>
                  </a:lnTo>
                  <a:lnTo>
                    <a:pt x="1758" y="780"/>
                  </a:lnTo>
                  <a:lnTo>
                    <a:pt x="1770" y="780"/>
                  </a:lnTo>
                  <a:lnTo>
                    <a:pt x="1776" y="780"/>
                  </a:lnTo>
                  <a:lnTo>
                    <a:pt x="1782" y="780"/>
                  </a:lnTo>
                  <a:lnTo>
                    <a:pt x="1800" y="798"/>
                  </a:lnTo>
                  <a:lnTo>
                    <a:pt x="1818" y="810"/>
                  </a:lnTo>
                  <a:lnTo>
                    <a:pt x="1830" y="816"/>
                  </a:lnTo>
                  <a:lnTo>
                    <a:pt x="1836" y="822"/>
                  </a:lnTo>
                  <a:lnTo>
                    <a:pt x="1836" y="828"/>
                  </a:lnTo>
                  <a:lnTo>
                    <a:pt x="1842" y="828"/>
                  </a:lnTo>
                  <a:lnTo>
                    <a:pt x="1848" y="834"/>
                  </a:lnTo>
                  <a:lnTo>
                    <a:pt x="1854" y="840"/>
                  </a:lnTo>
                  <a:lnTo>
                    <a:pt x="1860" y="846"/>
                  </a:lnTo>
                  <a:lnTo>
                    <a:pt x="1872" y="852"/>
                  </a:lnTo>
                  <a:lnTo>
                    <a:pt x="1884" y="852"/>
                  </a:lnTo>
                  <a:lnTo>
                    <a:pt x="1896" y="852"/>
                  </a:lnTo>
                  <a:lnTo>
                    <a:pt x="1902" y="846"/>
                  </a:lnTo>
                  <a:lnTo>
                    <a:pt x="1908" y="852"/>
                  </a:lnTo>
                  <a:lnTo>
                    <a:pt x="1920" y="858"/>
                  </a:lnTo>
                  <a:lnTo>
                    <a:pt x="1926" y="870"/>
                  </a:lnTo>
                  <a:lnTo>
                    <a:pt x="1938" y="888"/>
                  </a:lnTo>
                  <a:lnTo>
                    <a:pt x="1944" y="900"/>
                  </a:lnTo>
                  <a:lnTo>
                    <a:pt x="1950" y="900"/>
                  </a:lnTo>
                  <a:lnTo>
                    <a:pt x="1962" y="906"/>
                  </a:lnTo>
                  <a:lnTo>
                    <a:pt x="1968" y="906"/>
                  </a:lnTo>
                  <a:lnTo>
                    <a:pt x="1980" y="906"/>
                  </a:lnTo>
                  <a:lnTo>
                    <a:pt x="1998" y="906"/>
                  </a:lnTo>
                  <a:lnTo>
                    <a:pt x="2010" y="900"/>
                  </a:lnTo>
                  <a:lnTo>
                    <a:pt x="2022" y="900"/>
                  </a:lnTo>
                  <a:lnTo>
                    <a:pt x="2028" y="900"/>
                  </a:lnTo>
                  <a:lnTo>
                    <a:pt x="2034" y="906"/>
                  </a:lnTo>
                  <a:lnTo>
                    <a:pt x="2046" y="906"/>
                  </a:lnTo>
                  <a:lnTo>
                    <a:pt x="2052" y="900"/>
                  </a:lnTo>
                  <a:lnTo>
                    <a:pt x="2058" y="900"/>
                  </a:lnTo>
                  <a:lnTo>
                    <a:pt x="2064" y="900"/>
                  </a:lnTo>
                  <a:lnTo>
                    <a:pt x="2070" y="900"/>
                  </a:lnTo>
                  <a:lnTo>
                    <a:pt x="2076" y="900"/>
                  </a:lnTo>
                  <a:lnTo>
                    <a:pt x="2076" y="906"/>
                  </a:lnTo>
                  <a:lnTo>
                    <a:pt x="2088" y="906"/>
                  </a:lnTo>
                  <a:lnTo>
                    <a:pt x="2106" y="900"/>
                  </a:lnTo>
                  <a:lnTo>
                    <a:pt x="2118" y="900"/>
                  </a:lnTo>
                  <a:lnTo>
                    <a:pt x="2130" y="900"/>
                  </a:lnTo>
                  <a:lnTo>
                    <a:pt x="2142" y="900"/>
                  </a:lnTo>
                  <a:lnTo>
                    <a:pt x="2148" y="906"/>
                  </a:lnTo>
                  <a:lnTo>
                    <a:pt x="2154" y="906"/>
                  </a:lnTo>
                  <a:lnTo>
                    <a:pt x="2160" y="906"/>
                  </a:lnTo>
                  <a:lnTo>
                    <a:pt x="2166" y="906"/>
                  </a:lnTo>
                  <a:lnTo>
                    <a:pt x="2178" y="918"/>
                  </a:lnTo>
                  <a:lnTo>
                    <a:pt x="2178" y="924"/>
                  </a:lnTo>
                  <a:lnTo>
                    <a:pt x="2184" y="924"/>
                  </a:lnTo>
                  <a:lnTo>
                    <a:pt x="2190" y="924"/>
                  </a:lnTo>
                  <a:lnTo>
                    <a:pt x="2196" y="924"/>
                  </a:lnTo>
                  <a:lnTo>
                    <a:pt x="2202" y="918"/>
                  </a:lnTo>
                  <a:lnTo>
                    <a:pt x="2208" y="918"/>
                  </a:lnTo>
                  <a:lnTo>
                    <a:pt x="2214" y="918"/>
                  </a:lnTo>
                  <a:lnTo>
                    <a:pt x="2226" y="918"/>
                  </a:lnTo>
                  <a:lnTo>
                    <a:pt x="2220" y="948"/>
                  </a:lnTo>
                  <a:lnTo>
                    <a:pt x="2214" y="972"/>
                  </a:lnTo>
                  <a:lnTo>
                    <a:pt x="2214" y="984"/>
                  </a:lnTo>
                  <a:lnTo>
                    <a:pt x="2208" y="990"/>
                  </a:lnTo>
                  <a:lnTo>
                    <a:pt x="2208" y="996"/>
                  </a:lnTo>
                  <a:lnTo>
                    <a:pt x="2202" y="996"/>
                  </a:lnTo>
                  <a:lnTo>
                    <a:pt x="2196" y="996"/>
                  </a:lnTo>
                  <a:lnTo>
                    <a:pt x="2190" y="1008"/>
                  </a:lnTo>
                  <a:lnTo>
                    <a:pt x="2172" y="1074"/>
                  </a:lnTo>
                  <a:lnTo>
                    <a:pt x="2166" y="1092"/>
                  </a:lnTo>
                  <a:lnTo>
                    <a:pt x="2172" y="1110"/>
                  </a:lnTo>
                  <a:lnTo>
                    <a:pt x="2172" y="1122"/>
                  </a:lnTo>
                  <a:lnTo>
                    <a:pt x="2166" y="1134"/>
                  </a:lnTo>
                  <a:lnTo>
                    <a:pt x="2148" y="1140"/>
                  </a:lnTo>
                  <a:lnTo>
                    <a:pt x="2148" y="1134"/>
                  </a:lnTo>
                  <a:lnTo>
                    <a:pt x="2118" y="1140"/>
                  </a:lnTo>
                  <a:lnTo>
                    <a:pt x="2088" y="1134"/>
                  </a:lnTo>
                  <a:lnTo>
                    <a:pt x="2064" y="1122"/>
                  </a:lnTo>
                  <a:lnTo>
                    <a:pt x="2034" y="1122"/>
                  </a:lnTo>
                  <a:lnTo>
                    <a:pt x="2022" y="1128"/>
                  </a:lnTo>
                  <a:lnTo>
                    <a:pt x="1986" y="1128"/>
                  </a:lnTo>
                  <a:lnTo>
                    <a:pt x="1938" y="1122"/>
                  </a:lnTo>
                  <a:lnTo>
                    <a:pt x="1932" y="1116"/>
                  </a:lnTo>
                  <a:lnTo>
                    <a:pt x="1896" y="1110"/>
                  </a:lnTo>
                  <a:lnTo>
                    <a:pt x="1878" y="1104"/>
                  </a:lnTo>
                  <a:lnTo>
                    <a:pt x="1866" y="1098"/>
                  </a:lnTo>
                  <a:lnTo>
                    <a:pt x="1860" y="1098"/>
                  </a:lnTo>
                  <a:lnTo>
                    <a:pt x="1854" y="1092"/>
                  </a:lnTo>
                  <a:lnTo>
                    <a:pt x="1860" y="1092"/>
                  </a:lnTo>
                  <a:lnTo>
                    <a:pt x="1860" y="1086"/>
                  </a:lnTo>
                  <a:lnTo>
                    <a:pt x="1854" y="1086"/>
                  </a:lnTo>
                  <a:lnTo>
                    <a:pt x="1842" y="1080"/>
                  </a:lnTo>
                  <a:lnTo>
                    <a:pt x="1818" y="1062"/>
                  </a:lnTo>
                  <a:lnTo>
                    <a:pt x="1782" y="1056"/>
                  </a:lnTo>
                  <a:lnTo>
                    <a:pt x="1770" y="1068"/>
                  </a:lnTo>
                  <a:lnTo>
                    <a:pt x="1746" y="1098"/>
                  </a:lnTo>
                  <a:lnTo>
                    <a:pt x="1722" y="1104"/>
                  </a:lnTo>
                  <a:lnTo>
                    <a:pt x="1710" y="1122"/>
                  </a:lnTo>
                  <a:lnTo>
                    <a:pt x="1710" y="1128"/>
                  </a:lnTo>
                  <a:lnTo>
                    <a:pt x="1710" y="1140"/>
                  </a:lnTo>
                  <a:lnTo>
                    <a:pt x="1698" y="1146"/>
                  </a:lnTo>
                  <a:lnTo>
                    <a:pt x="1686" y="1152"/>
                  </a:lnTo>
                  <a:lnTo>
                    <a:pt x="1680" y="1164"/>
                  </a:lnTo>
                  <a:lnTo>
                    <a:pt x="1680" y="1170"/>
                  </a:lnTo>
                  <a:lnTo>
                    <a:pt x="1686" y="1170"/>
                  </a:lnTo>
                  <a:lnTo>
                    <a:pt x="1686" y="1176"/>
                  </a:lnTo>
                  <a:lnTo>
                    <a:pt x="1698" y="1188"/>
                  </a:lnTo>
                  <a:lnTo>
                    <a:pt x="1704" y="1188"/>
                  </a:lnTo>
                  <a:lnTo>
                    <a:pt x="1698" y="1194"/>
                  </a:lnTo>
                  <a:lnTo>
                    <a:pt x="1704" y="1194"/>
                  </a:lnTo>
                  <a:lnTo>
                    <a:pt x="1704" y="1200"/>
                  </a:lnTo>
                  <a:lnTo>
                    <a:pt x="1704" y="1206"/>
                  </a:lnTo>
                  <a:lnTo>
                    <a:pt x="1704" y="1212"/>
                  </a:lnTo>
                  <a:lnTo>
                    <a:pt x="1704" y="1218"/>
                  </a:lnTo>
                  <a:lnTo>
                    <a:pt x="1710" y="1218"/>
                  </a:lnTo>
                  <a:lnTo>
                    <a:pt x="1710" y="1212"/>
                  </a:lnTo>
                  <a:lnTo>
                    <a:pt x="1716" y="1212"/>
                  </a:lnTo>
                  <a:lnTo>
                    <a:pt x="1716" y="1218"/>
                  </a:lnTo>
                  <a:lnTo>
                    <a:pt x="1716" y="1224"/>
                  </a:lnTo>
                  <a:lnTo>
                    <a:pt x="1716" y="1230"/>
                  </a:lnTo>
                  <a:lnTo>
                    <a:pt x="1722" y="1236"/>
                  </a:lnTo>
                  <a:lnTo>
                    <a:pt x="1740" y="1230"/>
                  </a:lnTo>
                  <a:lnTo>
                    <a:pt x="1734" y="1236"/>
                  </a:lnTo>
                  <a:lnTo>
                    <a:pt x="1734" y="1242"/>
                  </a:lnTo>
                  <a:lnTo>
                    <a:pt x="1734" y="1248"/>
                  </a:lnTo>
                  <a:lnTo>
                    <a:pt x="1734" y="1254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52" y="1266"/>
                  </a:lnTo>
                  <a:lnTo>
                    <a:pt x="1764" y="1266"/>
                  </a:lnTo>
                  <a:lnTo>
                    <a:pt x="1788" y="1260"/>
                  </a:lnTo>
                  <a:lnTo>
                    <a:pt x="1800" y="1260"/>
                  </a:lnTo>
                  <a:lnTo>
                    <a:pt x="1806" y="1272"/>
                  </a:lnTo>
                  <a:lnTo>
                    <a:pt x="1806" y="1296"/>
                  </a:lnTo>
                  <a:lnTo>
                    <a:pt x="1800" y="1308"/>
                  </a:lnTo>
                  <a:lnTo>
                    <a:pt x="1788" y="1308"/>
                  </a:lnTo>
                  <a:lnTo>
                    <a:pt x="1782" y="13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7" name="Freeform 32">
              <a:extLst>
                <a:ext uri="{FF2B5EF4-FFF2-40B4-BE49-F238E27FC236}">
                  <a16:creationId xmlns:a16="http://schemas.microsoft.com/office/drawing/2014/main" id="{1EF84438-BF7A-47D2-9156-E231EA2A279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3295" y="2316568"/>
              <a:ext cx="1290281" cy="1084704"/>
            </a:xfrm>
            <a:custGeom>
              <a:avLst/>
              <a:gdLst>
                <a:gd name="T0" fmla="*/ 177 w 2430"/>
                <a:gd name="T1" fmla="*/ 169 h 2040"/>
                <a:gd name="T2" fmla="*/ 174 w 2430"/>
                <a:gd name="T3" fmla="*/ 173 h 2040"/>
                <a:gd name="T4" fmla="*/ 169 w 2430"/>
                <a:gd name="T5" fmla="*/ 171 h 2040"/>
                <a:gd name="T6" fmla="*/ 160 w 2430"/>
                <a:gd name="T7" fmla="*/ 163 h 2040"/>
                <a:gd name="T8" fmla="*/ 154 w 2430"/>
                <a:gd name="T9" fmla="*/ 149 h 2040"/>
                <a:gd name="T10" fmla="*/ 144 w 2430"/>
                <a:gd name="T11" fmla="*/ 147 h 2040"/>
                <a:gd name="T12" fmla="*/ 133 w 2430"/>
                <a:gd name="T13" fmla="*/ 146 h 2040"/>
                <a:gd name="T14" fmla="*/ 121 w 2430"/>
                <a:gd name="T15" fmla="*/ 145 h 2040"/>
                <a:gd name="T16" fmla="*/ 110 w 2430"/>
                <a:gd name="T17" fmla="*/ 137 h 2040"/>
                <a:gd name="T18" fmla="*/ 97 w 2430"/>
                <a:gd name="T19" fmla="*/ 131 h 2040"/>
                <a:gd name="T20" fmla="*/ 87 w 2430"/>
                <a:gd name="T21" fmla="*/ 125 h 2040"/>
                <a:gd name="T22" fmla="*/ 75 w 2430"/>
                <a:gd name="T23" fmla="*/ 122 h 2040"/>
                <a:gd name="T24" fmla="*/ 65 w 2430"/>
                <a:gd name="T25" fmla="*/ 122 h 2040"/>
                <a:gd name="T26" fmla="*/ 59 w 2430"/>
                <a:gd name="T27" fmla="*/ 115 h 2040"/>
                <a:gd name="T28" fmla="*/ 50 w 2430"/>
                <a:gd name="T29" fmla="*/ 107 h 2040"/>
                <a:gd name="T30" fmla="*/ 28 w 2430"/>
                <a:gd name="T31" fmla="*/ 84 h 2040"/>
                <a:gd name="T32" fmla="*/ 22 w 2430"/>
                <a:gd name="T33" fmla="*/ 82 h 2040"/>
                <a:gd name="T34" fmla="*/ 20 w 2430"/>
                <a:gd name="T35" fmla="*/ 79 h 2040"/>
                <a:gd name="T36" fmla="*/ 16 w 2430"/>
                <a:gd name="T37" fmla="*/ 76 h 2040"/>
                <a:gd name="T38" fmla="*/ 11 w 2430"/>
                <a:gd name="T39" fmla="*/ 74 h 2040"/>
                <a:gd name="T40" fmla="*/ 7 w 2430"/>
                <a:gd name="T41" fmla="*/ 69 h 2040"/>
                <a:gd name="T42" fmla="*/ 0 w 2430"/>
                <a:gd name="T43" fmla="*/ 60 h 2040"/>
                <a:gd name="T44" fmla="*/ 10 w 2430"/>
                <a:gd name="T45" fmla="*/ 53 h 2040"/>
                <a:gd name="T46" fmla="*/ 15 w 2430"/>
                <a:gd name="T47" fmla="*/ 40 h 2040"/>
                <a:gd name="T48" fmla="*/ 9 w 2430"/>
                <a:gd name="T49" fmla="*/ 29 h 2040"/>
                <a:gd name="T50" fmla="*/ 7 w 2430"/>
                <a:gd name="T51" fmla="*/ 16 h 2040"/>
                <a:gd name="T52" fmla="*/ 18 w 2430"/>
                <a:gd name="T53" fmla="*/ 21 h 2040"/>
                <a:gd name="T54" fmla="*/ 48 w 2430"/>
                <a:gd name="T55" fmla="*/ 27 h 2040"/>
                <a:gd name="T56" fmla="*/ 62 w 2430"/>
                <a:gd name="T57" fmla="*/ 25 h 2040"/>
                <a:gd name="T58" fmla="*/ 59 w 2430"/>
                <a:gd name="T59" fmla="*/ 42 h 2040"/>
                <a:gd name="T60" fmla="*/ 54 w 2430"/>
                <a:gd name="T61" fmla="*/ 65 h 2040"/>
                <a:gd name="T62" fmla="*/ 65 w 2430"/>
                <a:gd name="T63" fmla="*/ 60 h 2040"/>
                <a:gd name="T64" fmla="*/ 68 w 2430"/>
                <a:gd name="T65" fmla="*/ 40 h 2040"/>
                <a:gd name="T66" fmla="*/ 75 w 2430"/>
                <a:gd name="T67" fmla="*/ 36 h 2040"/>
                <a:gd name="T68" fmla="*/ 83 w 2430"/>
                <a:gd name="T69" fmla="*/ 29 h 2040"/>
                <a:gd name="T70" fmla="*/ 81 w 2430"/>
                <a:gd name="T71" fmla="*/ 17 h 2040"/>
                <a:gd name="T72" fmla="*/ 66 w 2430"/>
                <a:gd name="T73" fmla="*/ 7 h 2040"/>
                <a:gd name="T74" fmla="*/ 80 w 2430"/>
                <a:gd name="T75" fmla="*/ 5 h 2040"/>
                <a:gd name="T76" fmla="*/ 89 w 2430"/>
                <a:gd name="T77" fmla="*/ 1 h 2040"/>
                <a:gd name="T78" fmla="*/ 101 w 2430"/>
                <a:gd name="T79" fmla="*/ 10 h 2040"/>
                <a:gd name="T80" fmla="*/ 103 w 2430"/>
                <a:gd name="T81" fmla="*/ 18 h 2040"/>
                <a:gd name="T82" fmla="*/ 110 w 2430"/>
                <a:gd name="T83" fmla="*/ 23 h 2040"/>
                <a:gd name="T84" fmla="*/ 121 w 2430"/>
                <a:gd name="T85" fmla="*/ 20 h 2040"/>
                <a:gd name="T86" fmla="*/ 129 w 2430"/>
                <a:gd name="T87" fmla="*/ 15 h 2040"/>
                <a:gd name="T88" fmla="*/ 142 w 2430"/>
                <a:gd name="T89" fmla="*/ 23 h 2040"/>
                <a:gd name="T90" fmla="*/ 141 w 2430"/>
                <a:gd name="T91" fmla="*/ 30 h 2040"/>
                <a:gd name="T92" fmla="*/ 140 w 2430"/>
                <a:gd name="T93" fmla="*/ 38 h 2040"/>
                <a:gd name="T94" fmla="*/ 139 w 2430"/>
                <a:gd name="T95" fmla="*/ 46 h 2040"/>
                <a:gd name="T96" fmla="*/ 147 w 2430"/>
                <a:gd name="T97" fmla="*/ 54 h 2040"/>
                <a:gd name="T98" fmla="*/ 152 w 2430"/>
                <a:gd name="T99" fmla="*/ 50 h 2040"/>
                <a:gd name="T100" fmla="*/ 159 w 2430"/>
                <a:gd name="T101" fmla="*/ 43 h 2040"/>
                <a:gd name="T102" fmla="*/ 174 w 2430"/>
                <a:gd name="T103" fmla="*/ 41 h 2040"/>
                <a:gd name="T104" fmla="*/ 190 w 2430"/>
                <a:gd name="T105" fmla="*/ 57 h 2040"/>
                <a:gd name="T106" fmla="*/ 187 w 2430"/>
                <a:gd name="T107" fmla="*/ 66 h 2040"/>
                <a:gd name="T108" fmla="*/ 183 w 2430"/>
                <a:gd name="T109" fmla="*/ 72 h 2040"/>
                <a:gd name="T110" fmla="*/ 194 w 2430"/>
                <a:gd name="T111" fmla="*/ 73 h 2040"/>
                <a:gd name="T112" fmla="*/ 202 w 2430"/>
                <a:gd name="T113" fmla="*/ 74 h 2040"/>
                <a:gd name="T114" fmla="*/ 204 w 2430"/>
                <a:gd name="T115" fmla="*/ 89 h 2040"/>
                <a:gd name="T116" fmla="*/ 208 w 2430"/>
                <a:gd name="T117" fmla="*/ 99 h 2040"/>
                <a:gd name="T118" fmla="*/ 203 w 2430"/>
                <a:gd name="T119" fmla="*/ 103 h 2040"/>
                <a:gd name="T120" fmla="*/ 209 w 2430"/>
                <a:gd name="T121" fmla="*/ 111 h 2040"/>
                <a:gd name="T122" fmla="*/ 204 w 2430"/>
                <a:gd name="T123" fmla="*/ 124 h 2040"/>
                <a:gd name="T124" fmla="*/ 190 w 2430"/>
                <a:gd name="T125" fmla="*/ 117 h 20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30"/>
                <a:gd name="T190" fmla="*/ 0 h 2040"/>
                <a:gd name="T191" fmla="*/ 2430 w 2430"/>
                <a:gd name="T192" fmla="*/ 2040 h 20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30" h="2040">
                  <a:moveTo>
                    <a:pt x="2076" y="1896"/>
                  </a:moveTo>
                  <a:lnTo>
                    <a:pt x="2070" y="1896"/>
                  </a:lnTo>
                  <a:lnTo>
                    <a:pt x="2070" y="1902"/>
                  </a:lnTo>
                  <a:lnTo>
                    <a:pt x="2076" y="1902"/>
                  </a:lnTo>
                  <a:lnTo>
                    <a:pt x="2082" y="1902"/>
                  </a:lnTo>
                  <a:lnTo>
                    <a:pt x="2082" y="1908"/>
                  </a:lnTo>
                  <a:lnTo>
                    <a:pt x="2076" y="1908"/>
                  </a:lnTo>
                  <a:lnTo>
                    <a:pt x="2076" y="1914"/>
                  </a:lnTo>
                  <a:lnTo>
                    <a:pt x="2070" y="1920"/>
                  </a:lnTo>
                  <a:lnTo>
                    <a:pt x="2064" y="1932"/>
                  </a:lnTo>
                  <a:lnTo>
                    <a:pt x="2064" y="1938"/>
                  </a:lnTo>
                  <a:lnTo>
                    <a:pt x="2058" y="1938"/>
                  </a:lnTo>
                  <a:lnTo>
                    <a:pt x="2052" y="1944"/>
                  </a:lnTo>
                  <a:lnTo>
                    <a:pt x="2052" y="1950"/>
                  </a:lnTo>
                  <a:lnTo>
                    <a:pt x="2040" y="1944"/>
                  </a:lnTo>
                  <a:lnTo>
                    <a:pt x="2040" y="1950"/>
                  </a:lnTo>
                  <a:lnTo>
                    <a:pt x="2034" y="1956"/>
                  </a:lnTo>
                  <a:lnTo>
                    <a:pt x="2034" y="1962"/>
                  </a:lnTo>
                  <a:lnTo>
                    <a:pt x="2028" y="1962"/>
                  </a:lnTo>
                  <a:lnTo>
                    <a:pt x="2022" y="1962"/>
                  </a:lnTo>
                  <a:lnTo>
                    <a:pt x="2022" y="1968"/>
                  </a:lnTo>
                  <a:lnTo>
                    <a:pt x="2028" y="1974"/>
                  </a:lnTo>
                  <a:lnTo>
                    <a:pt x="2034" y="1980"/>
                  </a:lnTo>
                  <a:lnTo>
                    <a:pt x="2028" y="1986"/>
                  </a:lnTo>
                  <a:lnTo>
                    <a:pt x="2022" y="1992"/>
                  </a:lnTo>
                  <a:lnTo>
                    <a:pt x="2022" y="1986"/>
                  </a:lnTo>
                  <a:lnTo>
                    <a:pt x="2016" y="1986"/>
                  </a:lnTo>
                  <a:lnTo>
                    <a:pt x="2010" y="1980"/>
                  </a:lnTo>
                  <a:lnTo>
                    <a:pt x="2004" y="1980"/>
                  </a:lnTo>
                  <a:lnTo>
                    <a:pt x="2004" y="1986"/>
                  </a:lnTo>
                  <a:lnTo>
                    <a:pt x="2010" y="1992"/>
                  </a:lnTo>
                  <a:lnTo>
                    <a:pt x="2010" y="1998"/>
                  </a:lnTo>
                  <a:lnTo>
                    <a:pt x="2004" y="2004"/>
                  </a:lnTo>
                  <a:lnTo>
                    <a:pt x="1998" y="2004"/>
                  </a:lnTo>
                  <a:lnTo>
                    <a:pt x="1998" y="2022"/>
                  </a:lnTo>
                  <a:lnTo>
                    <a:pt x="1998" y="2028"/>
                  </a:lnTo>
                  <a:lnTo>
                    <a:pt x="1992" y="2034"/>
                  </a:lnTo>
                  <a:lnTo>
                    <a:pt x="1992" y="2040"/>
                  </a:lnTo>
                  <a:lnTo>
                    <a:pt x="1986" y="2040"/>
                  </a:lnTo>
                  <a:lnTo>
                    <a:pt x="1986" y="2034"/>
                  </a:lnTo>
                  <a:lnTo>
                    <a:pt x="1980" y="2028"/>
                  </a:lnTo>
                  <a:lnTo>
                    <a:pt x="1980" y="2022"/>
                  </a:lnTo>
                  <a:lnTo>
                    <a:pt x="1968" y="2016"/>
                  </a:lnTo>
                  <a:lnTo>
                    <a:pt x="1962" y="2010"/>
                  </a:lnTo>
                  <a:lnTo>
                    <a:pt x="1956" y="2004"/>
                  </a:lnTo>
                  <a:lnTo>
                    <a:pt x="1950" y="1992"/>
                  </a:lnTo>
                  <a:lnTo>
                    <a:pt x="1950" y="1986"/>
                  </a:lnTo>
                  <a:lnTo>
                    <a:pt x="1950" y="1974"/>
                  </a:lnTo>
                  <a:lnTo>
                    <a:pt x="1944" y="1974"/>
                  </a:lnTo>
                  <a:lnTo>
                    <a:pt x="1932" y="1962"/>
                  </a:lnTo>
                  <a:lnTo>
                    <a:pt x="1932" y="1956"/>
                  </a:lnTo>
                  <a:lnTo>
                    <a:pt x="1932" y="1950"/>
                  </a:lnTo>
                  <a:lnTo>
                    <a:pt x="1920" y="1944"/>
                  </a:lnTo>
                  <a:lnTo>
                    <a:pt x="1914" y="1944"/>
                  </a:lnTo>
                  <a:lnTo>
                    <a:pt x="1908" y="1938"/>
                  </a:lnTo>
                  <a:lnTo>
                    <a:pt x="1902" y="1926"/>
                  </a:lnTo>
                  <a:lnTo>
                    <a:pt x="1890" y="1914"/>
                  </a:lnTo>
                  <a:lnTo>
                    <a:pt x="1884" y="1914"/>
                  </a:lnTo>
                  <a:lnTo>
                    <a:pt x="1878" y="1908"/>
                  </a:lnTo>
                  <a:lnTo>
                    <a:pt x="1872" y="1902"/>
                  </a:lnTo>
                  <a:lnTo>
                    <a:pt x="1872" y="1896"/>
                  </a:lnTo>
                  <a:lnTo>
                    <a:pt x="1866" y="1890"/>
                  </a:lnTo>
                  <a:lnTo>
                    <a:pt x="1854" y="1884"/>
                  </a:lnTo>
                  <a:lnTo>
                    <a:pt x="1848" y="1884"/>
                  </a:lnTo>
                  <a:lnTo>
                    <a:pt x="1842" y="1872"/>
                  </a:lnTo>
                  <a:lnTo>
                    <a:pt x="1836" y="1872"/>
                  </a:lnTo>
                  <a:lnTo>
                    <a:pt x="1830" y="1866"/>
                  </a:lnTo>
                  <a:lnTo>
                    <a:pt x="1830" y="1854"/>
                  </a:lnTo>
                  <a:lnTo>
                    <a:pt x="1824" y="1848"/>
                  </a:lnTo>
                  <a:lnTo>
                    <a:pt x="1818" y="1830"/>
                  </a:lnTo>
                  <a:lnTo>
                    <a:pt x="1818" y="1818"/>
                  </a:lnTo>
                  <a:lnTo>
                    <a:pt x="1812" y="1800"/>
                  </a:lnTo>
                  <a:lnTo>
                    <a:pt x="1812" y="1788"/>
                  </a:lnTo>
                  <a:lnTo>
                    <a:pt x="1806" y="1776"/>
                  </a:lnTo>
                  <a:lnTo>
                    <a:pt x="1800" y="1764"/>
                  </a:lnTo>
                  <a:lnTo>
                    <a:pt x="1794" y="1758"/>
                  </a:lnTo>
                  <a:lnTo>
                    <a:pt x="1782" y="1740"/>
                  </a:lnTo>
                  <a:lnTo>
                    <a:pt x="1776" y="1728"/>
                  </a:lnTo>
                  <a:lnTo>
                    <a:pt x="1776" y="1722"/>
                  </a:lnTo>
                  <a:lnTo>
                    <a:pt x="1770" y="1722"/>
                  </a:lnTo>
                  <a:lnTo>
                    <a:pt x="1770" y="1716"/>
                  </a:lnTo>
                  <a:lnTo>
                    <a:pt x="1764" y="1716"/>
                  </a:lnTo>
                  <a:lnTo>
                    <a:pt x="1758" y="1710"/>
                  </a:lnTo>
                  <a:lnTo>
                    <a:pt x="1752" y="1704"/>
                  </a:lnTo>
                  <a:lnTo>
                    <a:pt x="1746" y="1704"/>
                  </a:lnTo>
                  <a:lnTo>
                    <a:pt x="1740" y="1704"/>
                  </a:lnTo>
                  <a:lnTo>
                    <a:pt x="1734" y="1704"/>
                  </a:lnTo>
                  <a:lnTo>
                    <a:pt x="1734" y="1698"/>
                  </a:lnTo>
                  <a:lnTo>
                    <a:pt x="1728" y="1692"/>
                  </a:lnTo>
                  <a:lnTo>
                    <a:pt x="1722" y="1686"/>
                  </a:lnTo>
                  <a:lnTo>
                    <a:pt x="1716" y="1686"/>
                  </a:lnTo>
                  <a:lnTo>
                    <a:pt x="1698" y="1686"/>
                  </a:lnTo>
                  <a:lnTo>
                    <a:pt x="1692" y="1692"/>
                  </a:lnTo>
                  <a:lnTo>
                    <a:pt x="1680" y="1692"/>
                  </a:lnTo>
                  <a:lnTo>
                    <a:pt x="1668" y="1692"/>
                  </a:lnTo>
                  <a:lnTo>
                    <a:pt x="1662" y="1692"/>
                  </a:lnTo>
                  <a:lnTo>
                    <a:pt x="1656" y="1692"/>
                  </a:lnTo>
                  <a:lnTo>
                    <a:pt x="1650" y="1698"/>
                  </a:lnTo>
                  <a:lnTo>
                    <a:pt x="1644" y="1698"/>
                  </a:lnTo>
                  <a:lnTo>
                    <a:pt x="1638" y="1698"/>
                  </a:lnTo>
                  <a:lnTo>
                    <a:pt x="1632" y="1698"/>
                  </a:lnTo>
                  <a:lnTo>
                    <a:pt x="1632" y="1692"/>
                  </a:lnTo>
                  <a:lnTo>
                    <a:pt x="1620" y="1680"/>
                  </a:lnTo>
                  <a:lnTo>
                    <a:pt x="1614" y="1680"/>
                  </a:lnTo>
                  <a:lnTo>
                    <a:pt x="1608" y="1680"/>
                  </a:lnTo>
                  <a:lnTo>
                    <a:pt x="1602" y="1680"/>
                  </a:lnTo>
                  <a:lnTo>
                    <a:pt x="1596" y="1674"/>
                  </a:lnTo>
                  <a:lnTo>
                    <a:pt x="1584" y="1674"/>
                  </a:lnTo>
                  <a:lnTo>
                    <a:pt x="1572" y="1674"/>
                  </a:lnTo>
                  <a:lnTo>
                    <a:pt x="1560" y="1674"/>
                  </a:lnTo>
                  <a:lnTo>
                    <a:pt x="1542" y="1680"/>
                  </a:lnTo>
                  <a:lnTo>
                    <a:pt x="1530" y="1680"/>
                  </a:lnTo>
                  <a:lnTo>
                    <a:pt x="1530" y="1674"/>
                  </a:lnTo>
                  <a:lnTo>
                    <a:pt x="1524" y="1674"/>
                  </a:lnTo>
                  <a:lnTo>
                    <a:pt x="1518" y="1674"/>
                  </a:lnTo>
                  <a:lnTo>
                    <a:pt x="1512" y="1674"/>
                  </a:lnTo>
                  <a:lnTo>
                    <a:pt x="1506" y="1674"/>
                  </a:lnTo>
                  <a:lnTo>
                    <a:pt x="1500" y="1680"/>
                  </a:lnTo>
                  <a:lnTo>
                    <a:pt x="1488" y="1680"/>
                  </a:lnTo>
                  <a:lnTo>
                    <a:pt x="1482" y="1674"/>
                  </a:lnTo>
                  <a:lnTo>
                    <a:pt x="1476" y="1674"/>
                  </a:lnTo>
                  <a:lnTo>
                    <a:pt x="1464" y="1674"/>
                  </a:lnTo>
                  <a:lnTo>
                    <a:pt x="1452" y="1680"/>
                  </a:lnTo>
                  <a:lnTo>
                    <a:pt x="1434" y="1680"/>
                  </a:lnTo>
                  <a:lnTo>
                    <a:pt x="1422" y="1680"/>
                  </a:lnTo>
                  <a:lnTo>
                    <a:pt x="1416" y="1680"/>
                  </a:lnTo>
                  <a:lnTo>
                    <a:pt x="1404" y="1674"/>
                  </a:lnTo>
                  <a:lnTo>
                    <a:pt x="1398" y="1674"/>
                  </a:lnTo>
                  <a:lnTo>
                    <a:pt x="1392" y="1662"/>
                  </a:lnTo>
                  <a:lnTo>
                    <a:pt x="1380" y="1644"/>
                  </a:lnTo>
                  <a:lnTo>
                    <a:pt x="1374" y="1632"/>
                  </a:lnTo>
                  <a:lnTo>
                    <a:pt x="1362" y="1626"/>
                  </a:lnTo>
                  <a:lnTo>
                    <a:pt x="1356" y="1620"/>
                  </a:lnTo>
                  <a:lnTo>
                    <a:pt x="1350" y="1626"/>
                  </a:lnTo>
                  <a:lnTo>
                    <a:pt x="1338" y="1626"/>
                  </a:lnTo>
                  <a:lnTo>
                    <a:pt x="1326" y="1626"/>
                  </a:lnTo>
                  <a:lnTo>
                    <a:pt x="1314" y="1620"/>
                  </a:lnTo>
                  <a:lnTo>
                    <a:pt x="1308" y="1614"/>
                  </a:lnTo>
                  <a:lnTo>
                    <a:pt x="1302" y="1608"/>
                  </a:lnTo>
                  <a:lnTo>
                    <a:pt x="1296" y="1602"/>
                  </a:lnTo>
                  <a:lnTo>
                    <a:pt x="1290" y="1602"/>
                  </a:lnTo>
                  <a:lnTo>
                    <a:pt x="1290" y="1596"/>
                  </a:lnTo>
                  <a:lnTo>
                    <a:pt x="1284" y="1590"/>
                  </a:lnTo>
                  <a:lnTo>
                    <a:pt x="1272" y="1584"/>
                  </a:lnTo>
                  <a:lnTo>
                    <a:pt x="1254" y="1572"/>
                  </a:lnTo>
                  <a:lnTo>
                    <a:pt x="1236" y="1554"/>
                  </a:lnTo>
                  <a:lnTo>
                    <a:pt x="1230" y="1554"/>
                  </a:lnTo>
                  <a:lnTo>
                    <a:pt x="1224" y="1554"/>
                  </a:lnTo>
                  <a:lnTo>
                    <a:pt x="1212" y="1554"/>
                  </a:lnTo>
                  <a:lnTo>
                    <a:pt x="1194" y="1542"/>
                  </a:lnTo>
                  <a:lnTo>
                    <a:pt x="1188" y="1536"/>
                  </a:lnTo>
                  <a:lnTo>
                    <a:pt x="1182" y="1530"/>
                  </a:lnTo>
                  <a:lnTo>
                    <a:pt x="1176" y="1530"/>
                  </a:lnTo>
                  <a:lnTo>
                    <a:pt x="1170" y="1530"/>
                  </a:lnTo>
                  <a:lnTo>
                    <a:pt x="1158" y="1524"/>
                  </a:lnTo>
                  <a:lnTo>
                    <a:pt x="1152" y="1524"/>
                  </a:lnTo>
                  <a:lnTo>
                    <a:pt x="1140" y="1518"/>
                  </a:lnTo>
                  <a:lnTo>
                    <a:pt x="1128" y="1518"/>
                  </a:lnTo>
                  <a:lnTo>
                    <a:pt x="1122" y="1518"/>
                  </a:lnTo>
                  <a:lnTo>
                    <a:pt x="1116" y="1518"/>
                  </a:lnTo>
                  <a:lnTo>
                    <a:pt x="1104" y="1518"/>
                  </a:lnTo>
                  <a:lnTo>
                    <a:pt x="1092" y="1518"/>
                  </a:lnTo>
                  <a:lnTo>
                    <a:pt x="1080" y="1518"/>
                  </a:lnTo>
                  <a:lnTo>
                    <a:pt x="1068" y="1518"/>
                  </a:lnTo>
                  <a:lnTo>
                    <a:pt x="1062" y="1518"/>
                  </a:lnTo>
                  <a:lnTo>
                    <a:pt x="1056" y="1518"/>
                  </a:lnTo>
                  <a:lnTo>
                    <a:pt x="1050" y="1512"/>
                  </a:lnTo>
                  <a:lnTo>
                    <a:pt x="1044" y="1512"/>
                  </a:lnTo>
                  <a:lnTo>
                    <a:pt x="1038" y="1512"/>
                  </a:lnTo>
                  <a:lnTo>
                    <a:pt x="1032" y="1506"/>
                  </a:lnTo>
                  <a:lnTo>
                    <a:pt x="1026" y="1500"/>
                  </a:lnTo>
                  <a:lnTo>
                    <a:pt x="1026" y="1494"/>
                  </a:lnTo>
                  <a:lnTo>
                    <a:pt x="1020" y="1476"/>
                  </a:lnTo>
                  <a:lnTo>
                    <a:pt x="1008" y="1464"/>
                  </a:lnTo>
                  <a:lnTo>
                    <a:pt x="1008" y="1458"/>
                  </a:lnTo>
                  <a:lnTo>
                    <a:pt x="1002" y="1446"/>
                  </a:lnTo>
                  <a:lnTo>
                    <a:pt x="996" y="1446"/>
                  </a:lnTo>
                  <a:lnTo>
                    <a:pt x="990" y="1440"/>
                  </a:lnTo>
                  <a:lnTo>
                    <a:pt x="984" y="1434"/>
                  </a:lnTo>
                  <a:lnTo>
                    <a:pt x="978" y="1434"/>
                  </a:lnTo>
                  <a:lnTo>
                    <a:pt x="972" y="1434"/>
                  </a:lnTo>
                  <a:lnTo>
                    <a:pt x="966" y="1428"/>
                  </a:lnTo>
                  <a:lnTo>
                    <a:pt x="954" y="1422"/>
                  </a:lnTo>
                  <a:lnTo>
                    <a:pt x="942" y="1416"/>
                  </a:lnTo>
                  <a:lnTo>
                    <a:pt x="924" y="1398"/>
                  </a:lnTo>
                  <a:lnTo>
                    <a:pt x="912" y="1386"/>
                  </a:lnTo>
                  <a:lnTo>
                    <a:pt x="900" y="1386"/>
                  </a:lnTo>
                  <a:lnTo>
                    <a:pt x="894" y="1386"/>
                  </a:lnTo>
                  <a:lnTo>
                    <a:pt x="882" y="1392"/>
                  </a:lnTo>
                  <a:lnTo>
                    <a:pt x="876" y="1392"/>
                  </a:lnTo>
                  <a:lnTo>
                    <a:pt x="864" y="1398"/>
                  </a:lnTo>
                  <a:lnTo>
                    <a:pt x="864" y="1404"/>
                  </a:lnTo>
                  <a:lnTo>
                    <a:pt x="858" y="1410"/>
                  </a:lnTo>
                  <a:lnTo>
                    <a:pt x="852" y="1410"/>
                  </a:lnTo>
                  <a:lnTo>
                    <a:pt x="846" y="1410"/>
                  </a:lnTo>
                  <a:lnTo>
                    <a:pt x="834" y="1410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10" y="1428"/>
                  </a:lnTo>
                  <a:lnTo>
                    <a:pt x="798" y="1428"/>
                  </a:lnTo>
                  <a:lnTo>
                    <a:pt x="792" y="1428"/>
                  </a:lnTo>
                  <a:lnTo>
                    <a:pt x="780" y="1434"/>
                  </a:lnTo>
                  <a:lnTo>
                    <a:pt x="774" y="1428"/>
                  </a:lnTo>
                  <a:lnTo>
                    <a:pt x="762" y="1428"/>
                  </a:lnTo>
                  <a:lnTo>
                    <a:pt x="756" y="1422"/>
                  </a:lnTo>
                  <a:lnTo>
                    <a:pt x="750" y="1416"/>
                  </a:lnTo>
                  <a:lnTo>
                    <a:pt x="744" y="1410"/>
                  </a:lnTo>
                  <a:lnTo>
                    <a:pt x="744" y="1398"/>
                  </a:lnTo>
                  <a:lnTo>
                    <a:pt x="744" y="1386"/>
                  </a:lnTo>
                  <a:lnTo>
                    <a:pt x="750" y="1380"/>
                  </a:lnTo>
                  <a:lnTo>
                    <a:pt x="750" y="1374"/>
                  </a:lnTo>
                  <a:lnTo>
                    <a:pt x="750" y="1368"/>
                  </a:lnTo>
                  <a:lnTo>
                    <a:pt x="756" y="1362"/>
                  </a:lnTo>
                  <a:lnTo>
                    <a:pt x="750" y="1350"/>
                  </a:lnTo>
                  <a:lnTo>
                    <a:pt x="744" y="1344"/>
                  </a:lnTo>
                  <a:lnTo>
                    <a:pt x="738" y="1338"/>
                  </a:lnTo>
                  <a:lnTo>
                    <a:pt x="726" y="1338"/>
                  </a:lnTo>
                  <a:lnTo>
                    <a:pt x="720" y="1338"/>
                  </a:lnTo>
                  <a:lnTo>
                    <a:pt x="714" y="1338"/>
                  </a:lnTo>
                  <a:lnTo>
                    <a:pt x="708" y="1332"/>
                  </a:lnTo>
                  <a:lnTo>
                    <a:pt x="702" y="1332"/>
                  </a:lnTo>
                  <a:lnTo>
                    <a:pt x="696" y="1326"/>
                  </a:lnTo>
                  <a:lnTo>
                    <a:pt x="684" y="1326"/>
                  </a:lnTo>
                  <a:lnTo>
                    <a:pt x="678" y="1326"/>
                  </a:lnTo>
                  <a:lnTo>
                    <a:pt x="672" y="1314"/>
                  </a:lnTo>
                  <a:lnTo>
                    <a:pt x="666" y="1308"/>
                  </a:lnTo>
                  <a:lnTo>
                    <a:pt x="654" y="1296"/>
                  </a:lnTo>
                  <a:lnTo>
                    <a:pt x="654" y="1290"/>
                  </a:lnTo>
                  <a:lnTo>
                    <a:pt x="630" y="1284"/>
                  </a:lnTo>
                  <a:lnTo>
                    <a:pt x="630" y="1278"/>
                  </a:lnTo>
                  <a:lnTo>
                    <a:pt x="624" y="1278"/>
                  </a:lnTo>
                  <a:lnTo>
                    <a:pt x="618" y="1266"/>
                  </a:lnTo>
                  <a:lnTo>
                    <a:pt x="612" y="1266"/>
                  </a:lnTo>
                  <a:lnTo>
                    <a:pt x="606" y="1266"/>
                  </a:lnTo>
                  <a:lnTo>
                    <a:pt x="606" y="1260"/>
                  </a:lnTo>
                  <a:lnTo>
                    <a:pt x="594" y="1248"/>
                  </a:lnTo>
                  <a:lnTo>
                    <a:pt x="582" y="1248"/>
                  </a:lnTo>
                  <a:lnTo>
                    <a:pt x="576" y="1242"/>
                  </a:lnTo>
                  <a:lnTo>
                    <a:pt x="570" y="1236"/>
                  </a:lnTo>
                  <a:lnTo>
                    <a:pt x="504" y="1164"/>
                  </a:lnTo>
                  <a:lnTo>
                    <a:pt x="450" y="1110"/>
                  </a:lnTo>
                  <a:lnTo>
                    <a:pt x="426" y="1092"/>
                  </a:lnTo>
                  <a:lnTo>
                    <a:pt x="426" y="1074"/>
                  </a:lnTo>
                  <a:lnTo>
                    <a:pt x="420" y="1062"/>
                  </a:lnTo>
                  <a:lnTo>
                    <a:pt x="396" y="1056"/>
                  </a:lnTo>
                  <a:lnTo>
                    <a:pt x="384" y="1032"/>
                  </a:lnTo>
                  <a:lnTo>
                    <a:pt x="372" y="1020"/>
                  </a:lnTo>
                  <a:lnTo>
                    <a:pt x="360" y="984"/>
                  </a:lnTo>
                  <a:lnTo>
                    <a:pt x="348" y="978"/>
                  </a:lnTo>
                  <a:lnTo>
                    <a:pt x="342" y="972"/>
                  </a:lnTo>
                  <a:lnTo>
                    <a:pt x="348" y="960"/>
                  </a:lnTo>
                  <a:lnTo>
                    <a:pt x="342" y="954"/>
                  </a:lnTo>
                  <a:lnTo>
                    <a:pt x="336" y="954"/>
                  </a:lnTo>
                  <a:lnTo>
                    <a:pt x="330" y="954"/>
                  </a:lnTo>
                  <a:lnTo>
                    <a:pt x="324" y="972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0" y="966"/>
                  </a:lnTo>
                  <a:lnTo>
                    <a:pt x="294" y="966"/>
                  </a:lnTo>
                  <a:lnTo>
                    <a:pt x="288" y="972"/>
                  </a:lnTo>
                  <a:lnTo>
                    <a:pt x="288" y="966"/>
                  </a:lnTo>
                  <a:lnTo>
                    <a:pt x="282" y="948"/>
                  </a:lnTo>
                  <a:lnTo>
                    <a:pt x="282" y="942"/>
                  </a:lnTo>
                  <a:lnTo>
                    <a:pt x="276" y="942"/>
                  </a:lnTo>
                  <a:lnTo>
                    <a:pt x="276" y="936"/>
                  </a:lnTo>
                  <a:lnTo>
                    <a:pt x="270" y="942"/>
                  </a:lnTo>
                  <a:lnTo>
                    <a:pt x="264" y="948"/>
                  </a:lnTo>
                  <a:lnTo>
                    <a:pt x="264" y="942"/>
                  </a:lnTo>
                  <a:lnTo>
                    <a:pt x="258" y="942"/>
                  </a:lnTo>
                  <a:lnTo>
                    <a:pt x="252" y="948"/>
                  </a:lnTo>
                  <a:lnTo>
                    <a:pt x="252" y="942"/>
                  </a:lnTo>
                  <a:lnTo>
                    <a:pt x="246" y="936"/>
                  </a:lnTo>
                  <a:lnTo>
                    <a:pt x="240" y="942"/>
                  </a:lnTo>
                  <a:lnTo>
                    <a:pt x="234" y="936"/>
                  </a:lnTo>
                  <a:lnTo>
                    <a:pt x="228" y="936"/>
                  </a:lnTo>
                  <a:lnTo>
                    <a:pt x="222" y="936"/>
                  </a:lnTo>
                  <a:lnTo>
                    <a:pt x="222" y="930"/>
                  </a:lnTo>
                  <a:lnTo>
                    <a:pt x="222" y="924"/>
                  </a:lnTo>
                  <a:lnTo>
                    <a:pt x="228" y="924"/>
                  </a:lnTo>
                  <a:lnTo>
                    <a:pt x="234" y="924"/>
                  </a:lnTo>
                  <a:lnTo>
                    <a:pt x="240" y="924"/>
                  </a:lnTo>
                  <a:lnTo>
                    <a:pt x="240" y="918"/>
                  </a:lnTo>
                  <a:lnTo>
                    <a:pt x="246" y="918"/>
                  </a:lnTo>
                  <a:lnTo>
                    <a:pt x="246" y="912"/>
                  </a:lnTo>
                  <a:lnTo>
                    <a:pt x="240" y="906"/>
                  </a:lnTo>
                  <a:lnTo>
                    <a:pt x="234" y="906"/>
                  </a:lnTo>
                  <a:lnTo>
                    <a:pt x="228" y="906"/>
                  </a:lnTo>
                  <a:lnTo>
                    <a:pt x="228" y="912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8" y="894"/>
                  </a:lnTo>
                  <a:lnTo>
                    <a:pt x="234" y="894"/>
                  </a:lnTo>
                  <a:lnTo>
                    <a:pt x="228" y="888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198" y="888"/>
                  </a:lnTo>
                  <a:lnTo>
                    <a:pt x="192" y="882"/>
                  </a:lnTo>
                  <a:lnTo>
                    <a:pt x="186" y="882"/>
                  </a:lnTo>
                  <a:lnTo>
                    <a:pt x="186" y="876"/>
                  </a:lnTo>
                  <a:lnTo>
                    <a:pt x="192" y="876"/>
                  </a:lnTo>
                  <a:lnTo>
                    <a:pt x="192" y="870"/>
                  </a:lnTo>
                  <a:lnTo>
                    <a:pt x="198" y="870"/>
                  </a:lnTo>
                  <a:lnTo>
                    <a:pt x="198" y="864"/>
                  </a:lnTo>
                  <a:lnTo>
                    <a:pt x="198" y="858"/>
                  </a:lnTo>
                  <a:lnTo>
                    <a:pt x="180" y="852"/>
                  </a:lnTo>
                  <a:lnTo>
                    <a:pt x="174" y="840"/>
                  </a:lnTo>
                  <a:lnTo>
                    <a:pt x="162" y="846"/>
                  </a:lnTo>
                  <a:lnTo>
                    <a:pt x="156" y="846"/>
                  </a:lnTo>
                  <a:lnTo>
                    <a:pt x="150" y="846"/>
                  </a:lnTo>
                  <a:lnTo>
                    <a:pt x="150" y="840"/>
                  </a:lnTo>
                  <a:lnTo>
                    <a:pt x="138" y="834"/>
                  </a:lnTo>
                  <a:lnTo>
                    <a:pt x="132" y="834"/>
                  </a:lnTo>
                  <a:lnTo>
                    <a:pt x="132" y="840"/>
                  </a:lnTo>
                  <a:lnTo>
                    <a:pt x="126" y="840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58"/>
                  </a:lnTo>
                  <a:lnTo>
                    <a:pt x="120" y="846"/>
                  </a:lnTo>
                  <a:lnTo>
                    <a:pt x="114" y="846"/>
                  </a:lnTo>
                  <a:lnTo>
                    <a:pt x="108" y="840"/>
                  </a:lnTo>
                  <a:lnTo>
                    <a:pt x="102" y="834"/>
                  </a:lnTo>
                  <a:lnTo>
                    <a:pt x="102" y="822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78" y="804"/>
                  </a:lnTo>
                  <a:lnTo>
                    <a:pt x="78" y="798"/>
                  </a:lnTo>
                  <a:lnTo>
                    <a:pt x="78" y="792"/>
                  </a:lnTo>
                  <a:lnTo>
                    <a:pt x="78" y="786"/>
                  </a:lnTo>
                  <a:lnTo>
                    <a:pt x="78" y="780"/>
                  </a:lnTo>
                  <a:lnTo>
                    <a:pt x="72" y="774"/>
                  </a:lnTo>
                  <a:lnTo>
                    <a:pt x="66" y="774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60" y="762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6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2" y="666"/>
                  </a:lnTo>
                  <a:lnTo>
                    <a:pt x="18" y="648"/>
                  </a:lnTo>
                  <a:lnTo>
                    <a:pt x="24" y="636"/>
                  </a:lnTo>
                  <a:lnTo>
                    <a:pt x="30" y="630"/>
                  </a:lnTo>
                  <a:lnTo>
                    <a:pt x="30" y="624"/>
                  </a:lnTo>
                  <a:lnTo>
                    <a:pt x="30" y="612"/>
                  </a:lnTo>
                  <a:lnTo>
                    <a:pt x="30" y="606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66" y="582"/>
                  </a:lnTo>
                  <a:lnTo>
                    <a:pt x="72" y="588"/>
                  </a:lnTo>
                  <a:lnTo>
                    <a:pt x="84" y="594"/>
                  </a:lnTo>
                  <a:lnTo>
                    <a:pt x="90" y="600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14" y="612"/>
                  </a:lnTo>
                  <a:lnTo>
                    <a:pt x="120" y="612"/>
                  </a:lnTo>
                  <a:lnTo>
                    <a:pt x="126" y="618"/>
                  </a:lnTo>
                  <a:lnTo>
                    <a:pt x="138" y="594"/>
                  </a:lnTo>
                  <a:lnTo>
                    <a:pt x="138" y="582"/>
                  </a:lnTo>
                  <a:lnTo>
                    <a:pt x="138" y="570"/>
                  </a:lnTo>
                  <a:lnTo>
                    <a:pt x="138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50" y="528"/>
                  </a:lnTo>
                  <a:lnTo>
                    <a:pt x="156" y="510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62"/>
                  </a:lnTo>
                  <a:lnTo>
                    <a:pt x="168" y="450"/>
                  </a:lnTo>
                  <a:lnTo>
                    <a:pt x="168" y="444"/>
                  </a:lnTo>
                  <a:lnTo>
                    <a:pt x="162" y="432"/>
                  </a:lnTo>
                  <a:lnTo>
                    <a:pt x="162" y="426"/>
                  </a:lnTo>
                  <a:lnTo>
                    <a:pt x="156" y="420"/>
                  </a:lnTo>
                  <a:lnTo>
                    <a:pt x="144" y="414"/>
                  </a:lnTo>
                  <a:lnTo>
                    <a:pt x="132" y="402"/>
                  </a:lnTo>
                  <a:lnTo>
                    <a:pt x="126" y="390"/>
                  </a:lnTo>
                  <a:lnTo>
                    <a:pt x="120" y="384"/>
                  </a:lnTo>
                  <a:lnTo>
                    <a:pt x="120" y="372"/>
                  </a:lnTo>
                  <a:lnTo>
                    <a:pt x="114" y="360"/>
                  </a:lnTo>
                  <a:lnTo>
                    <a:pt x="108" y="360"/>
                  </a:lnTo>
                  <a:lnTo>
                    <a:pt x="108" y="354"/>
                  </a:lnTo>
                  <a:lnTo>
                    <a:pt x="102" y="348"/>
                  </a:lnTo>
                  <a:lnTo>
                    <a:pt x="102" y="342"/>
                  </a:lnTo>
                  <a:lnTo>
                    <a:pt x="108" y="330"/>
                  </a:lnTo>
                  <a:lnTo>
                    <a:pt x="114" y="312"/>
                  </a:lnTo>
                  <a:lnTo>
                    <a:pt x="114" y="300"/>
                  </a:lnTo>
                  <a:lnTo>
                    <a:pt x="120" y="288"/>
                  </a:lnTo>
                  <a:lnTo>
                    <a:pt x="120" y="282"/>
                  </a:lnTo>
                  <a:lnTo>
                    <a:pt x="114" y="270"/>
                  </a:lnTo>
                  <a:lnTo>
                    <a:pt x="114" y="258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84" y="222"/>
                  </a:lnTo>
                  <a:lnTo>
                    <a:pt x="84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84" y="186"/>
                  </a:lnTo>
                  <a:lnTo>
                    <a:pt x="84" y="180"/>
                  </a:lnTo>
                  <a:lnTo>
                    <a:pt x="108" y="174"/>
                  </a:lnTo>
                  <a:lnTo>
                    <a:pt x="132" y="186"/>
                  </a:lnTo>
                  <a:lnTo>
                    <a:pt x="138" y="192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56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74" y="204"/>
                  </a:lnTo>
                  <a:lnTo>
                    <a:pt x="180" y="216"/>
                  </a:lnTo>
                  <a:lnTo>
                    <a:pt x="186" y="228"/>
                  </a:lnTo>
                  <a:lnTo>
                    <a:pt x="192" y="234"/>
                  </a:lnTo>
                  <a:lnTo>
                    <a:pt x="198" y="234"/>
                  </a:lnTo>
                  <a:lnTo>
                    <a:pt x="204" y="240"/>
                  </a:lnTo>
                  <a:lnTo>
                    <a:pt x="210" y="240"/>
                  </a:lnTo>
                  <a:lnTo>
                    <a:pt x="216" y="240"/>
                  </a:lnTo>
                  <a:lnTo>
                    <a:pt x="222" y="240"/>
                  </a:lnTo>
                  <a:lnTo>
                    <a:pt x="228" y="246"/>
                  </a:lnTo>
                  <a:lnTo>
                    <a:pt x="234" y="246"/>
                  </a:lnTo>
                  <a:lnTo>
                    <a:pt x="240" y="246"/>
                  </a:lnTo>
                  <a:lnTo>
                    <a:pt x="252" y="252"/>
                  </a:lnTo>
                  <a:lnTo>
                    <a:pt x="330" y="246"/>
                  </a:lnTo>
                  <a:lnTo>
                    <a:pt x="360" y="228"/>
                  </a:lnTo>
                  <a:lnTo>
                    <a:pt x="396" y="228"/>
                  </a:lnTo>
                  <a:lnTo>
                    <a:pt x="402" y="240"/>
                  </a:lnTo>
                  <a:lnTo>
                    <a:pt x="432" y="240"/>
                  </a:lnTo>
                  <a:lnTo>
                    <a:pt x="450" y="258"/>
                  </a:lnTo>
                  <a:lnTo>
                    <a:pt x="468" y="258"/>
                  </a:lnTo>
                  <a:lnTo>
                    <a:pt x="474" y="294"/>
                  </a:lnTo>
                  <a:lnTo>
                    <a:pt x="558" y="318"/>
                  </a:lnTo>
                  <a:lnTo>
                    <a:pt x="588" y="318"/>
                  </a:lnTo>
                  <a:lnTo>
                    <a:pt x="588" y="312"/>
                  </a:lnTo>
                  <a:lnTo>
                    <a:pt x="594" y="306"/>
                  </a:lnTo>
                  <a:lnTo>
                    <a:pt x="600" y="306"/>
                  </a:lnTo>
                  <a:lnTo>
                    <a:pt x="612" y="300"/>
                  </a:lnTo>
                  <a:lnTo>
                    <a:pt x="618" y="300"/>
                  </a:lnTo>
                  <a:lnTo>
                    <a:pt x="630" y="300"/>
                  </a:lnTo>
                  <a:lnTo>
                    <a:pt x="642" y="306"/>
                  </a:lnTo>
                  <a:lnTo>
                    <a:pt x="660" y="306"/>
                  </a:lnTo>
                  <a:lnTo>
                    <a:pt x="666" y="306"/>
                  </a:lnTo>
                  <a:lnTo>
                    <a:pt x="672" y="306"/>
                  </a:lnTo>
                  <a:lnTo>
                    <a:pt x="684" y="300"/>
                  </a:lnTo>
                  <a:lnTo>
                    <a:pt x="696" y="294"/>
                  </a:lnTo>
                  <a:lnTo>
                    <a:pt x="702" y="288"/>
                  </a:lnTo>
                  <a:lnTo>
                    <a:pt x="714" y="282"/>
                  </a:lnTo>
                  <a:lnTo>
                    <a:pt x="714" y="288"/>
                  </a:lnTo>
                  <a:lnTo>
                    <a:pt x="726" y="300"/>
                  </a:lnTo>
                  <a:lnTo>
                    <a:pt x="732" y="306"/>
                  </a:lnTo>
                  <a:lnTo>
                    <a:pt x="732" y="318"/>
                  </a:lnTo>
                  <a:lnTo>
                    <a:pt x="732" y="330"/>
                  </a:lnTo>
                  <a:lnTo>
                    <a:pt x="726" y="342"/>
                  </a:lnTo>
                  <a:lnTo>
                    <a:pt x="720" y="354"/>
                  </a:lnTo>
                  <a:lnTo>
                    <a:pt x="720" y="360"/>
                  </a:lnTo>
                  <a:lnTo>
                    <a:pt x="714" y="372"/>
                  </a:lnTo>
                  <a:lnTo>
                    <a:pt x="714" y="378"/>
                  </a:lnTo>
                  <a:lnTo>
                    <a:pt x="714" y="408"/>
                  </a:lnTo>
                  <a:lnTo>
                    <a:pt x="708" y="420"/>
                  </a:lnTo>
                  <a:lnTo>
                    <a:pt x="714" y="432"/>
                  </a:lnTo>
                  <a:lnTo>
                    <a:pt x="708" y="450"/>
                  </a:lnTo>
                  <a:lnTo>
                    <a:pt x="708" y="468"/>
                  </a:lnTo>
                  <a:lnTo>
                    <a:pt x="696" y="480"/>
                  </a:lnTo>
                  <a:lnTo>
                    <a:pt x="684" y="486"/>
                  </a:lnTo>
                  <a:lnTo>
                    <a:pt x="672" y="492"/>
                  </a:lnTo>
                  <a:lnTo>
                    <a:pt x="660" y="498"/>
                  </a:lnTo>
                  <a:lnTo>
                    <a:pt x="654" y="510"/>
                  </a:lnTo>
                  <a:lnTo>
                    <a:pt x="648" y="516"/>
                  </a:lnTo>
                  <a:lnTo>
                    <a:pt x="642" y="522"/>
                  </a:lnTo>
                  <a:lnTo>
                    <a:pt x="630" y="522"/>
                  </a:lnTo>
                  <a:lnTo>
                    <a:pt x="624" y="528"/>
                  </a:lnTo>
                  <a:lnTo>
                    <a:pt x="618" y="540"/>
                  </a:lnTo>
                  <a:lnTo>
                    <a:pt x="618" y="558"/>
                  </a:lnTo>
                  <a:lnTo>
                    <a:pt x="612" y="576"/>
                  </a:lnTo>
                  <a:lnTo>
                    <a:pt x="612" y="684"/>
                  </a:lnTo>
                  <a:lnTo>
                    <a:pt x="618" y="696"/>
                  </a:lnTo>
                  <a:lnTo>
                    <a:pt x="636" y="696"/>
                  </a:lnTo>
                  <a:lnTo>
                    <a:pt x="636" y="720"/>
                  </a:lnTo>
                  <a:lnTo>
                    <a:pt x="636" y="732"/>
                  </a:lnTo>
                  <a:lnTo>
                    <a:pt x="618" y="750"/>
                  </a:lnTo>
                  <a:lnTo>
                    <a:pt x="606" y="762"/>
                  </a:lnTo>
                  <a:lnTo>
                    <a:pt x="600" y="774"/>
                  </a:lnTo>
                  <a:lnTo>
                    <a:pt x="594" y="798"/>
                  </a:lnTo>
                  <a:lnTo>
                    <a:pt x="606" y="798"/>
                  </a:lnTo>
                  <a:lnTo>
                    <a:pt x="660" y="792"/>
                  </a:lnTo>
                  <a:lnTo>
                    <a:pt x="696" y="798"/>
                  </a:lnTo>
                  <a:lnTo>
                    <a:pt x="720" y="798"/>
                  </a:lnTo>
                  <a:lnTo>
                    <a:pt x="720" y="786"/>
                  </a:lnTo>
                  <a:lnTo>
                    <a:pt x="720" y="774"/>
                  </a:lnTo>
                  <a:lnTo>
                    <a:pt x="702" y="762"/>
                  </a:lnTo>
                  <a:lnTo>
                    <a:pt x="702" y="750"/>
                  </a:lnTo>
                  <a:lnTo>
                    <a:pt x="702" y="726"/>
                  </a:lnTo>
                  <a:lnTo>
                    <a:pt x="714" y="714"/>
                  </a:lnTo>
                  <a:lnTo>
                    <a:pt x="720" y="702"/>
                  </a:lnTo>
                  <a:lnTo>
                    <a:pt x="720" y="696"/>
                  </a:lnTo>
                  <a:lnTo>
                    <a:pt x="744" y="690"/>
                  </a:lnTo>
                  <a:lnTo>
                    <a:pt x="744" y="696"/>
                  </a:lnTo>
                  <a:lnTo>
                    <a:pt x="756" y="696"/>
                  </a:lnTo>
                  <a:lnTo>
                    <a:pt x="762" y="690"/>
                  </a:lnTo>
                  <a:lnTo>
                    <a:pt x="768" y="690"/>
                  </a:lnTo>
                  <a:lnTo>
                    <a:pt x="774" y="696"/>
                  </a:lnTo>
                  <a:lnTo>
                    <a:pt x="780" y="696"/>
                  </a:lnTo>
                  <a:lnTo>
                    <a:pt x="786" y="696"/>
                  </a:lnTo>
                  <a:lnTo>
                    <a:pt x="804" y="684"/>
                  </a:lnTo>
                  <a:lnTo>
                    <a:pt x="810" y="684"/>
                  </a:lnTo>
                  <a:lnTo>
                    <a:pt x="810" y="654"/>
                  </a:lnTo>
                  <a:lnTo>
                    <a:pt x="816" y="588"/>
                  </a:lnTo>
                  <a:lnTo>
                    <a:pt x="804" y="582"/>
                  </a:lnTo>
                  <a:lnTo>
                    <a:pt x="798" y="552"/>
                  </a:lnTo>
                  <a:lnTo>
                    <a:pt x="798" y="480"/>
                  </a:lnTo>
                  <a:lnTo>
                    <a:pt x="780" y="468"/>
                  </a:lnTo>
                  <a:lnTo>
                    <a:pt x="780" y="462"/>
                  </a:lnTo>
                  <a:lnTo>
                    <a:pt x="774" y="450"/>
                  </a:lnTo>
                  <a:lnTo>
                    <a:pt x="762" y="444"/>
                  </a:lnTo>
                  <a:lnTo>
                    <a:pt x="762" y="438"/>
                  </a:lnTo>
                  <a:lnTo>
                    <a:pt x="768" y="432"/>
                  </a:lnTo>
                  <a:lnTo>
                    <a:pt x="774" y="426"/>
                  </a:lnTo>
                  <a:lnTo>
                    <a:pt x="780" y="426"/>
                  </a:lnTo>
                  <a:lnTo>
                    <a:pt x="780" y="414"/>
                  </a:lnTo>
                  <a:lnTo>
                    <a:pt x="834" y="414"/>
                  </a:lnTo>
                  <a:lnTo>
                    <a:pt x="834" y="426"/>
                  </a:lnTo>
                  <a:lnTo>
                    <a:pt x="840" y="432"/>
                  </a:lnTo>
                  <a:lnTo>
                    <a:pt x="846" y="432"/>
                  </a:lnTo>
                  <a:lnTo>
                    <a:pt x="852" y="432"/>
                  </a:lnTo>
                  <a:lnTo>
                    <a:pt x="858" y="432"/>
                  </a:lnTo>
                  <a:lnTo>
                    <a:pt x="870" y="432"/>
                  </a:lnTo>
                  <a:lnTo>
                    <a:pt x="870" y="426"/>
                  </a:lnTo>
                  <a:lnTo>
                    <a:pt x="870" y="420"/>
                  </a:lnTo>
                  <a:lnTo>
                    <a:pt x="876" y="420"/>
                  </a:lnTo>
                  <a:lnTo>
                    <a:pt x="882" y="420"/>
                  </a:lnTo>
                  <a:lnTo>
                    <a:pt x="894" y="414"/>
                  </a:lnTo>
                  <a:lnTo>
                    <a:pt x="900" y="414"/>
                  </a:lnTo>
                  <a:lnTo>
                    <a:pt x="906" y="408"/>
                  </a:lnTo>
                  <a:lnTo>
                    <a:pt x="918" y="408"/>
                  </a:lnTo>
                  <a:lnTo>
                    <a:pt x="924" y="402"/>
                  </a:lnTo>
                  <a:lnTo>
                    <a:pt x="930" y="384"/>
                  </a:lnTo>
                  <a:lnTo>
                    <a:pt x="948" y="396"/>
                  </a:lnTo>
                  <a:lnTo>
                    <a:pt x="954" y="384"/>
                  </a:lnTo>
                  <a:lnTo>
                    <a:pt x="960" y="384"/>
                  </a:lnTo>
                  <a:lnTo>
                    <a:pt x="972" y="384"/>
                  </a:lnTo>
                  <a:lnTo>
                    <a:pt x="978" y="378"/>
                  </a:lnTo>
                  <a:lnTo>
                    <a:pt x="972" y="366"/>
                  </a:lnTo>
                  <a:lnTo>
                    <a:pt x="966" y="342"/>
                  </a:lnTo>
                  <a:lnTo>
                    <a:pt x="960" y="330"/>
                  </a:lnTo>
                  <a:lnTo>
                    <a:pt x="942" y="324"/>
                  </a:lnTo>
                  <a:lnTo>
                    <a:pt x="936" y="318"/>
                  </a:lnTo>
                  <a:lnTo>
                    <a:pt x="936" y="294"/>
                  </a:lnTo>
                  <a:lnTo>
                    <a:pt x="942" y="294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282"/>
                  </a:lnTo>
                  <a:lnTo>
                    <a:pt x="954" y="276"/>
                  </a:lnTo>
                  <a:lnTo>
                    <a:pt x="960" y="276"/>
                  </a:lnTo>
                  <a:lnTo>
                    <a:pt x="966" y="276"/>
                  </a:lnTo>
                  <a:lnTo>
                    <a:pt x="960" y="258"/>
                  </a:lnTo>
                  <a:lnTo>
                    <a:pt x="954" y="240"/>
                  </a:lnTo>
                  <a:lnTo>
                    <a:pt x="948" y="204"/>
                  </a:lnTo>
                  <a:lnTo>
                    <a:pt x="954" y="204"/>
                  </a:lnTo>
                  <a:lnTo>
                    <a:pt x="960" y="198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00" y="186"/>
                  </a:lnTo>
                  <a:lnTo>
                    <a:pt x="876" y="180"/>
                  </a:lnTo>
                  <a:lnTo>
                    <a:pt x="858" y="180"/>
                  </a:lnTo>
                  <a:lnTo>
                    <a:pt x="852" y="168"/>
                  </a:lnTo>
                  <a:lnTo>
                    <a:pt x="834" y="156"/>
                  </a:lnTo>
                  <a:lnTo>
                    <a:pt x="822" y="156"/>
                  </a:lnTo>
                  <a:lnTo>
                    <a:pt x="804" y="156"/>
                  </a:lnTo>
                  <a:lnTo>
                    <a:pt x="804" y="150"/>
                  </a:lnTo>
                  <a:lnTo>
                    <a:pt x="792" y="144"/>
                  </a:lnTo>
                  <a:lnTo>
                    <a:pt x="762" y="138"/>
                  </a:lnTo>
                  <a:lnTo>
                    <a:pt x="768" y="120"/>
                  </a:lnTo>
                  <a:lnTo>
                    <a:pt x="756" y="120"/>
                  </a:lnTo>
                  <a:lnTo>
                    <a:pt x="744" y="108"/>
                  </a:lnTo>
                  <a:lnTo>
                    <a:pt x="744" y="96"/>
                  </a:lnTo>
                  <a:lnTo>
                    <a:pt x="762" y="84"/>
                  </a:lnTo>
                  <a:lnTo>
                    <a:pt x="768" y="84"/>
                  </a:lnTo>
                  <a:lnTo>
                    <a:pt x="768" y="72"/>
                  </a:lnTo>
                  <a:lnTo>
                    <a:pt x="780" y="66"/>
                  </a:lnTo>
                  <a:lnTo>
                    <a:pt x="798" y="54"/>
                  </a:lnTo>
                  <a:lnTo>
                    <a:pt x="792" y="54"/>
                  </a:lnTo>
                  <a:lnTo>
                    <a:pt x="798" y="36"/>
                  </a:lnTo>
                  <a:lnTo>
                    <a:pt x="804" y="36"/>
                  </a:lnTo>
                  <a:lnTo>
                    <a:pt x="816" y="30"/>
                  </a:lnTo>
                  <a:lnTo>
                    <a:pt x="828" y="30"/>
                  </a:lnTo>
                  <a:lnTo>
                    <a:pt x="846" y="12"/>
                  </a:lnTo>
                  <a:lnTo>
                    <a:pt x="876" y="0"/>
                  </a:lnTo>
                  <a:lnTo>
                    <a:pt x="882" y="6"/>
                  </a:lnTo>
                  <a:lnTo>
                    <a:pt x="900" y="6"/>
                  </a:lnTo>
                  <a:lnTo>
                    <a:pt x="912" y="36"/>
                  </a:lnTo>
                  <a:lnTo>
                    <a:pt x="918" y="42"/>
                  </a:lnTo>
                  <a:lnTo>
                    <a:pt x="924" y="54"/>
                  </a:lnTo>
                  <a:lnTo>
                    <a:pt x="930" y="54"/>
                  </a:lnTo>
                  <a:lnTo>
                    <a:pt x="930" y="78"/>
                  </a:lnTo>
                  <a:lnTo>
                    <a:pt x="954" y="72"/>
                  </a:lnTo>
                  <a:lnTo>
                    <a:pt x="954" y="60"/>
                  </a:lnTo>
                  <a:lnTo>
                    <a:pt x="966" y="66"/>
                  </a:lnTo>
                  <a:lnTo>
                    <a:pt x="966" y="78"/>
                  </a:lnTo>
                  <a:lnTo>
                    <a:pt x="960" y="84"/>
                  </a:lnTo>
                  <a:lnTo>
                    <a:pt x="954" y="102"/>
                  </a:lnTo>
                  <a:lnTo>
                    <a:pt x="972" y="102"/>
                  </a:lnTo>
                  <a:lnTo>
                    <a:pt x="978" y="84"/>
                  </a:lnTo>
                  <a:lnTo>
                    <a:pt x="984" y="72"/>
                  </a:lnTo>
                  <a:lnTo>
                    <a:pt x="990" y="72"/>
                  </a:lnTo>
                  <a:lnTo>
                    <a:pt x="996" y="18"/>
                  </a:lnTo>
                  <a:lnTo>
                    <a:pt x="990" y="12"/>
                  </a:lnTo>
                  <a:lnTo>
                    <a:pt x="1014" y="12"/>
                  </a:lnTo>
                  <a:lnTo>
                    <a:pt x="1026" y="12"/>
                  </a:lnTo>
                  <a:lnTo>
                    <a:pt x="1026" y="24"/>
                  </a:lnTo>
                  <a:lnTo>
                    <a:pt x="1050" y="24"/>
                  </a:lnTo>
                  <a:lnTo>
                    <a:pt x="1050" y="36"/>
                  </a:lnTo>
                  <a:lnTo>
                    <a:pt x="1062" y="66"/>
                  </a:lnTo>
                  <a:lnTo>
                    <a:pt x="1074" y="66"/>
                  </a:lnTo>
                  <a:lnTo>
                    <a:pt x="1080" y="60"/>
                  </a:lnTo>
                  <a:lnTo>
                    <a:pt x="1074" y="24"/>
                  </a:lnTo>
                  <a:lnTo>
                    <a:pt x="1086" y="18"/>
                  </a:lnTo>
                  <a:lnTo>
                    <a:pt x="1086" y="12"/>
                  </a:lnTo>
                  <a:lnTo>
                    <a:pt x="1104" y="6"/>
                  </a:lnTo>
                  <a:lnTo>
                    <a:pt x="1122" y="0"/>
                  </a:lnTo>
                  <a:lnTo>
                    <a:pt x="1134" y="6"/>
                  </a:lnTo>
                  <a:lnTo>
                    <a:pt x="1134" y="42"/>
                  </a:lnTo>
                  <a:lnTo>
                    <a:pt x="1140" y="72"/>
                  </a:lnTo>
                  <a:lnTo>
                    <a:pt x="1158" y="114"/>
                  </a:lnTo>
                  <a:lnTo>
                    <a:pt x="1170" y="114"/>
                  </a:lnTo>
                  <a:lnTo>
                    <a:pt x="1170" y="126"/>
                  </a:lnTo>
                  <a:lnTo>
                    <a:pt x="1182" y="126"/>
                  </a:lnTo>
                  <a:lnTo>
                    <a:pt x="1182" y="138"/>
                  </a:lnTo>
                  <a:lnTo>
                    <a:pt x="1194" y="144"/>
                  </a:lnTo>
                  <a:lnTo>
                    <a:pt x="1194" y="156"/>
                  </a:lnTo>
                  <a:lnTo>
                    <a:pt x="1188" y="156"/>
                  </a:lnTo>
                  <a:lnTo>
                    <a:pt x="1194" y="162"/>
                  </a:lnTo>
                  <a:lnTo>
                    <a:pt x="1194" y="168"/>
                  </a:lnTo>
                  <a:lnTo>
                    <a:pt x="1188" y="168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82" y="180"/>
                  </a:lnTo>
                  <a:lnTo>
                    <a:pt x="1188" y="186"/>
                  </a:lnTo>
                  <a:lnTo>
                    <a:pt x="1188" y="192"/>
                  </a:lnTo>
                  <a:lnTo>
                    <a:pt x="1182" y="198"/>
                  </a:lnTo>
                  <a:lnTo>
                    <a:pt x="1182" y="204"/>
                  </a:lnTo>
                  <a:lnTo>
                    <a:pt x="1182" y="210"/>
                  </a:lnTo>
                  <a:lnTo>
                    <a:pt x="1188" y="210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2"/>
                  </a:lnTo>
                  <a:lnTo>
                    <a:pt x="1194" y="264"/>
                  </a:lnTo>
                  <a:lnTo>
                    <a:pt x="1200" y="264"/>
                  </a:lnTo>
                  <a:lnTo>
                    <a:pt x="1212" y="264"/>
                  </a:lnTo>
                  <a:lnTo>
                    <a:pt x="1212" y="258"/>
                  </a:lnTo>
                  <a:lnTo>
                    <a:pt x="1224" y="258"/>
                  </a:lnTo>
                  <a:lnTo>
                    <a:pt x="1248" y="252"/>
                  </a:lnTo>
                  <a:lnTo>
                    <a:pt x="1248" y="264"/>
                  </a:lnTo>
                  <a:lnTo>
                    <a:pt x="1254" y="264"/>
                  </a:lnTo>
                  <a:lnTo>
                    <a:pt x="1254" y="270"/>
                  </a:lnTo>
                  <a:lnTo>
                    <a:pt x="1260" y="270"/>
                  </a:lnTo>
                  <a:lnTo>
                    <a:pt x="1266" y="270"/>
                  </a:lnTo>
                  <a:lnTo>
                    <a:pt x="1272" y="270"/>
                  </a:lnTo>
                  <a:lnTo>
                    <a:pt x="1272" y="264"/>
                  </a:lnTo>
                  <a:lnTo>
                    <a:pt x="1272" y="258"/>
                  </a:lnTo>
                  <a:lnTo>
                    <a:pt x="1278" y="258"/>
                  </a:lnTo>
                  <a:lnTo>
                    <a:pt x="1278" y="252"/>
                  </a:lnTo>
                  <a:lnTo>
                    <a:pt x="1290" y="252"/>
                  </a:lnTo>
                  <a:lnTo>
                    <a:pt x="1296" y="246"/>
                  </a:lnTo>
                  <a:lnTo>
                    <a:pt x="1308" y="246"/>
                  </a:lnTo>
                  <a:lnTo>
                    <a:pt x="1308" y="240"/>
                  </a:lnTo>
                  <a:lnTo>
                    <a:pt x="1320" y="240"/>
                  </a:lnTo>
                  <a:lnTo>
                    <a:pt x="1326" y="246"/>
                  </a:lnTo>
                  <a:lnTo>
                    <a:pt x="1338" y="246"/>
                  </a:lnTo>
                  <a:lnTo>
                    <a:pt x="1338" y="240"/>
                  </a:lnTo>
                  <a:lnTo>
                    <a:pt x="1350" y="240"/>
                  </a:lnTo>
                  <a:lnTo>
                    <a:pt x="1386" y="234"/>
                  </a:lnTo>
                  <a:lnTo>
                    <a:pt x="1398" y="228"/>
                  </a:lnTo>
                  <a:lnTo>
                    <a:pt x="1404" y="216"/>
                  </a:lnTo>
                  <a:lnTo>
                    <a:pt x="1416" y="204"/>
                  </a:lnTo>
                  <a:lnTo>
                    <a:pt x="1434" y="192"/>
                  </a:lnTo>
                  <a:lnTo>
                    <a:pt x="1446" y="198"/>
                  </a:lnTo>
                  <a:lnTo>
                    <a:pt x="1446" y="204"/>
                  </a:lnTo>
                  <a:lnTo>
                    <a:pt x="1452" y="210"/>
                  </a:lnTo>
                  <a:lnTo>
                    <a:pt x="1464" y="222"/>
                  </a:lnTo>
                  <a:lnTo>
                    <a:pt x="1464" y="228"/>
                  </a:lnTo>
                  <a:lnTo>
                    <a:pt x="1464" y="234"/>
                  </a:lnTo>
                  <a:lnTo>
                    <a:pt x="1470" y="240"/>
                  </a:lnTo>
                  <a:lnTo>
                    <a:pt x="1476" y="228"/>
                  </a:lnTo>
                  <a:lnTo>
                    <a:pt x="1476" y="222"/>
                  </a:lnTo>
                  <a:lnTo>
                    <a:pt x="1482" y="210"/>
                  </a:lnTo>
                  <a:lnTo>
                    <a:pt x="1488" y="192"/>
                  </a:lnTo>
                  <a:lnTo>
                    <a:pt x="1488" y="186"/>
                  </a:lnTo>
                  <a:lnTo>
                    <a:pt x="1488" y="180"/>
                  </a:lnTo>
                  <a:lnTo>
                    <a:pt x="1500" y="180"/>
                  </a:lnTo>
                  <a:lnTo>
                    <a:pt x="1500" y="174"/>
                  </a:lnTo>
                  <a:lnTo>
                    <a:pt x="1518" y="162"/>
                  </a:lnTo>
                  <a:lnTo>
                    <a:pt x="1536" y="150"/>
                  </a:lnTo>
                  <a:lnTo>
                    <a:pt x="1554" y="168"/>
                  </a:lnTo>
                  <a:lnTo>
                    <a:pt x="1572" y="180"/>
                  </a:lnTo>
                  <a:lnTo>
                    <a:pt x="1596" y="216"/>
                  </a:lnTo>
                  <a:lnTo>
                    <a:pt x="1602" y="216"/>
                  </a:lnTo>
                  <a:lnTo>
                    <a:pt x="1614" y="228"/>
                  </a:lnTo>
                  <a:lnTo>
                    <a:pt x="1614" y="234"/>
                  </a:lnTo>
                  <a:lnTo>
                    <a:pt x="1620" y="240"/>
                  </a:lnTo>
                  <a:lnTo>
                    <a:pt x="1620" y="246"/>
                  </a:lnTo>
                  <a:lnTo>
                    <a:pt x="1626" y="252"/>
                  </a:lnTo>
                  <a:lnTo>
                    <a:pt x="1632" y="258"/>
                  </a:lnTo>
                  <a:lnTo>
                    <a:pt x="1632" y="264"/>
                  </a:lnTo>
                  <a:lnTo>
                    <a:pt x="1638" y="264"/>
                  </a:lnTo>
                  <a:lnTo>
                    <a:pt x="1638" y="270"/>
                  </a:lnTo>
                  <a:lnTo>
                    <a:pt x="1638" y="276"/>
                  </a:lnTo>
                  <a:lnTo>
                    <a:pt x="1638" y="282"/>
                  </a:lnTo>
                  <a:lnTo>
                    <a:pt x="1644" y="288"/>
                  </a:lnTo>
                  <a:lnTo>
                    <a:pt x="1644" y="294"/>
                  </a:lnTo>
                  <a:lnTo>
                    <a:pt x="1644" y="300"/>
                  </a:lnTo>
                  <a:lnTo>
                    <a:pt x="1644" y="306"/>
                  </a:lnTo>
                  <a:lnTo>
                    <a:pt x="1650" y="306"/>
                  </a:lnTo>
                  <a:lnTo>
                    <a:pt x="1650" y="312"/>
                  </a:lnTo>
                  <a:lnTo>
                    <a:pt x="1650" y="318"/>
                  </a:lnTo>
                  <a:lnTo>
                    <a:pt x="1650" y="324"/>
                  </a:lnTo>
                  <a:lnTo>
                    <a:pt x="1644" y="330"/>
                  </a:lnTo>
                  <a:lnTo>
                    <a:pt x="1626" y="330"/>
                  </a:lnTo>
                  <a:lnTo>
                    <a:pt x="1626" y="336"/>
                  </a:lnTo>
                  <a:lnTo>
                    <a:pt x="1626" y="342"/>
                  </a:lnTo>
                  <a:lnTo>
                    <a:pt x="1626" y="348"/>
                  </a:lnTo>
                  <a:lnTo>
                    <a:pt x="1620" y="354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14" y="390"/>
                  </a:lnTo>
                  <a:lnTo>
                    <a:pt x="1614" y="396"/>
                  </a:lnTo>
                  <a:lnTo>
                    <a:pt x="1614" y="402"/>
                  </a:lnTo>
                  <a:lnTo>
                    <a:pt x="1614" y="408"/>
                  </a:lnTo>
                  <a:lnTo>
                    <a:pt x="1614" y="414"/>
                  </a:lnTo>
                  <a:lnTo>
                    <a:pt x="1602" y="420"/>
                  </a:lnTo>
                  <a:lnTo>
                    <a:pt x="1602" y="426"/>
                  </a:lnTo>
                  <a:lnTo>
                    <a:pt x="1608" y="432"/>
                  </a:lnTo>
                  <a:lnTo>
                    <a:pt x="1614" y="426"/>
                  </a:lnTo>
                  <a:lnTo>
                    <a:pt x="1620" y="438"/>
                  </a:lnTo>
                  <a:lnTo>
                    <a:pt x="1626" y="438"/>
                  </a:lnTo>
                  <a:lnTo>
                    <a:pt x="1632" y="444"/>
                  </a:lnTo>
                  <a:lnTo>
                    <a:pt x="1626" y="456"/>
                  </a:lnTo>
                  <a:lnTo>
                    <a:pt x="1626" y="468"/>
                  </a:lnTo>
                  <a:lnTo>
                    <a:pt x="1620" y="474"/>
                  </a:lnTo>
                  <a:lnTo>
                    <a:pt x="1614" y="474"/>
                  </a:lnTo>
                  <a:lnTo>
                    <a:pt x="1614" y="486"/>
                  </a:lnTo>
                  <a:lnTo>
                    <a:pt x="1614" y="492"/>
                  </a:lnTo>
                  <a:lnTo>
                    <a:pt x="1620" y="492"/>
                  </a:lnTo>
                  <a:lnTo>
                    <a:pt x="1626" y="498"/>
                  </a:lnTo>
                  <a:lnTo>
                    <a:pt x="1626" y="504"/>
                  </a:lnTo>
                  <a:lnTo>
                    <a:pt x="1626" y="510"/>
                  </a:lnTo>
                  <a:lnTo>
                    <a:pt x="1620" y="516"/>
                  </a:lnTo>
                  <a:lnTo>
                    <a:pt x="1620" y="522"/>
                  </a:lnTo>
                  <a:lnTo>
                    <a:pt x="1614" y="522"/>
                  </a:lnTo>
                  <a:lnTo>
                    <a:pt x="1608" y="528"/>
                  </a:lnTo>
                  <a:lnTo>
                    <a:pt x="1602" y="522"/>
                  </a:lnTo>
                  <a:lnTo>
                    <a:pt x="1602" y="528"/>
                  </a:lnTo>
                  <a:lnTo>
                    <a:pt x="1602" y="540"/>
                  </a:lnTo>
                  <a:lnTo>
                    <a:pt x="1602" y="558"/>
                  </a:lnTo>
                  <a:lnTo>
                    <a:pt x="1602" y="564"/>
                  </a:lnTo>
                  <a:lnTo>
                    <a:pt x="1602" y="570"/>
                  </a:lnTo>
                  <a:lnTo>
                    <a:pt x="1602" y="576"/>
                  </a:lnTo>
                  <a:lnTo>
                    <a:pt x="1596" y="576"/>
                  </a:lnTo>
                  <a:lnTo>
                    <a:pt x="1632" y="582"/>
                  </a:lnTo>
                  <a:lnTo>
                    <a:pt x="1644" y="618"/>
                  </a:lnTo>
                  <a:lnTo>
                    <a:pt x="1650" y="648"/>
                  </a:lnTo>
                  <a:lnTo>
                    <a:pt x="1662" y="636"/>
                  </a:lnTo>
                  <a:lnTo>
                    <a:pt x="1668" y="636"/>
                  </a:lnTo>
                  <a:lnTo>
                    <a:pt x="1674" y="636"/>
                  </a:lnTo>
                  <a:lnTo>
                    <a:pt x="1680" y="630"/>
                  </a:lnTo>
                  <a:lnTo>
                    <a:pt x="1686" y="630"/>
                  </a:lnTo>
                  <a:lnTo>
                    <a:pt x="1692" y="630"/>
                  </a:lnTo>
                  <a:lnTo>
                    <a:pt x="1698" y="630"/>
                  </a:lnTo>
                  <a:lnTo>
                    <a:pt x="1704" y="630"/>
                  </a:lnTo>
                  <a:lnTo>
                    <a:pt x="1704" y="624"/>
                  </a:lnTo>
                  <a:lnTo>
                    <a:pt x="1710" y="624"/>
                  </a:lnTo>
                  <a:lnTo>
                    <a:pt x="1716" y="624"/>
                  </a:lnTo>
                  <a:lnTo>
                    <a:pt x="1722" y="624"/>
                  </a:lnTo>
                  <a:lnTo>
                    <a:pt x="1728" y="624"/>
                  </a:lnTo>
                  <a:lnTo>
                    <a:pt x="1722" y="618"/>
                  </a:lnTo>
                  <a:lnTo>
                    <a:pt x="1728" y="606"/>
                  </a:lnTo>
                  <a:lnTo>
                    <a:pt x="1734" y="606"/>
                  </a:lnTo>
                  <a:lnTo>
                    <a:pt x="1740" y="600"/>
                  </a:lnTo>
                  <a:lnTo>
                    <a:pt x="1746" y="594"/>
                  </a:lnTo>
                  <a:lnTo>
                    <a:pt x="1752" y="588"/>
                  </a:lnTo>
                  <a:lnTo>
                    <a:pt x="1752" y="582"/>
                  </a:lnTo>
                  <a:lnTo>
                    <a:pt x="1758" y="576"/>
                  </a:lnTo>
                  <a:lnTo>
                    <a:pt x="1764" y="576"/>
                  </a:lnTo>
                  <a:lnTo>
                    <a:pt x="1770" y="570"/>
                  </a:lnTo>
                  <a:lnTo>
                    <a:pt x="1776" y="564"/>
                  </a:lnTo>
                  <a:lnTo>
                    <a:pt x="1788" y="558"/>
                  </a:lnTo>
                  <a:lnTo>
                    <a:pt x="1788" y="546"/>
                  </a:lnTo>
                  <a:lnTo>
                    <a:pt x="1788" y="540"/>
                  </a:lnTo>
                  <a:lnTo>
                    <a:pt x="1794" y="540"/>
                  </a:lnTo>
                  <a:lnTo>
                    <a:pt x="1788" y="534"/>
                  </a:lnTo>
                  <a:lnTo>
                    <a:pt x="1788" y="528"/>
                  </a:lnTo>
                  <a:lnTo>
                    <a:pt x="1794" y="516"/>
                  </a:lnTo>
                  <a:lnTo>
                    <a:pt x="1800" y="510"/>
                  </a:lnTo>
                  <a:lnTo>
                    <a:pt x="1812" y="510"/>
                  </a:lnTo>
                  <a:lnTo>
                    <a:pt x="1818" y="504"/>
                  </a:lnTo>
                  <a:lnTo>
                    <a:pt x="1824" y="504"/>
                  </a:lnTo>
                  <a:lnTo>
                    <a:pt x="1830" y="498"/>
                  </a:lnTo>
                  <a:lnTo>
                    <a:pt x="1836" y="498"/>
                  </a:lnTo>
                  <a:lnTo>
                    <a:pt x="1848" y="492"/>
                  </a:lnTo>
                  <a:lnTo>
                    <a:pt x="1848" y="480"/>
                  </a:lnTo>
                  <a:lnTo>
                    <a:pt x="1854" y="480"/>
                  </a:lnTo>
                  <a:lnTo>
                    <a:pt x="1890" y="504"/>
                  </a:lnTo>
                  <a:lnTo>
                    <a:pt x="1908" y="534"/>
                  </a:lnTo>
                  <a:lnTo>
                    <a:pt x="1902" y="534"/>
                  </a:lnTo>
                  <a:lnTo>
                    <a:pt x="1920" y="528"/>
                  </a:lnTo>
                  <a:lnTo>
                    <a:pt x="1920" y="516"/>
                  </a:lnTo>
                  <a:lnTo>
                    <a:pt x="1944" y="516"/>
                  </a:lnTo>
                  <a:lnTo>
                    <a:pt x="2004" y="516"/>
                  </a:lnTo>
                  <a:lnTo>
                    <a:pt x="2010" y="510"/>
                  </a:lnTo>
                  <a:lnTo>
                    <a:pt x="2004" y="510"/>
                  </a:lnTo>
                  <a:lnTo>
                    <a:pt x="2010" y="498"/>
                  </a:lnTo>
                  <a:lnTo>
                    <a:pt x="2004" y="486"/>
                  </a:lnTo>
                  <a:lnTo>
                    <a:pt x="2004" y="480"/>
                  </a:lnTo>
                  <a:lnTo>
                    <a:pt x="2004" y="474"/>
                  </a:lnTo>
                  <a:lnTo>
                    <a:pt x="2004" y="462"/>
                  </a:lnTo>
                  <a:lnTo>
                    <a:pt x="2004" y="456"/>
                  </a:lnTo>
                  <a:lnTo>
                    <a:pt x="2058" y="462"/>
                  </a:lnTo>
                  <a:lnTo>
                    <a:pt x="2076" y="474"/>
                  </a:lnTo>
                  <a:lnTo>
                    <a:pt x="2082" y="522"/>
                  </a:lnTo>
                  <a:lnTo>
                    <a:pt x="2088" y="516"/>
                  </a:lnTo>
                  <a:lnTo>
                    <a:pt x="2094" y="522"/>
                  </a:lnTo>
                  <a:lnTo>
                    <a:pt x="2100" y="528"/>
                  </a:lnTo>
                  <a:lnTo>
                    <a:pt x="2130" y="540"/>
                  </a:lnTo>
                  <a:lnTo>
                    <a:pt x="2160" y="564"/>
                  </a:lnTo>
                  <a:lnTo>
                    <a:pt x="2166" y="600"/>
                  </a:lnTo>
                  <a:lnTo>
                    <a:pt x="2160" y="618"/>
                  </a:lnTo>
                  <a:lnTo>
                    <a:pt x="2142" y="636"/>
                  </a:lnTo>
                  <a:lnTo>
                    <a:pt x="2148" y="648"/>
                  </a:lnTo>
                  <a:lnTo>
                    <a:pt x="2154" y="660"/>
                  </a:lnTo>
                  <a:lnTo>
                    <a:pt x="2196" y="654"/>
                  </a:lnTo>
                  <a:lnTo>
                    <a:pt x="2214" y="660"/>
                  </a:lnTo>
                  <a:lnTo>
                    <a:pt x="2214" y="666"/>
                  </a:lnTo>
                  <a:lnTo>
                    <a:pt x="2220" y="672"/>
                  </a:lnTo>
                  <a:lnTo>
                    <a:pt x="2214" y="678"/>
                  </a:lnTo>
                  <a:lnTo>
                    <a:pt x="2214" y="684"/>
                  </a:lnTo>
                  <a:lnTo>
                    <a:pt x="2214" y="690"/>
                  </a:lnTo>
                  <a:lnTo>
                    <a:pt x="2208" y="690"/>
                  </a:lnTo>
                  <a:lnTo>
                    <a:pt x="2202" y="696"/>
                  </a:lnTo>
                  <a:lnTo>
                    <a:pt x="2196" y="702"/>
                  </a:lnTo>
                  <a:lnTo>
                    <a:pt x="2190" y="708"/>
                  </a:lnTo>
                  <a:lnTo>
                    <a:pt x="2190" y="720"/>
                  </a:lnTo>
                  <a:lnTo>
                    <a:pt x="2184" y="720"/>
                  </a:lnTo>
                  <a:lnTo>
                    <a:pt x="2178" y="726"/>
                  </a:lnTo>
                  <a:lnTo>
                    <a:pt x="2166" y="732"/>
                  </a:lnTo>
                  <a:lnTo>
                    <a:pt x="2160" y="744"/>
                  </a:lnTo>
                  <a:lnTo>
                    <a:pt x="2154" y="756"/>
                  </a:lnTo>
                  <a:lnTo>
                    <a:pt x="2148" y="762"/>
                  </a:lnTo>
                  <a:lnTo>
                    <a:pt x="2124" y="762"/>
                  </a:lnTo>
                  <a:lnTo>
                    <a:pt x="2124" y="768"/>
                  </a:lnTo>
                  <a:lnTo>
                    <a:pt x="2118" y="768"/>
                  </a:lnTo>
                  <a:lnTo>
                    <a:pt x="2124" y="774"/>
                  </a:lnTo>
                  <a:lnTo>
                    <a:pt x="2118" y="774"/>
                  </a:lnTo>
                  <a:lnTo>
                    <a:pt x="2112" y="774"/>
                  </a:lnTo>
                  <a:lnTo>
                    <a:pt x="2106" y="780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06" y="798"/>
                  </a:lnTo>
                  <a:lnTo>
                    <a:pt x="2106" y="810"/>
                  </a:lnTo>
                  <a:lnTo>
                    <a:pt x="2112" y="828"/>
                  </a:lnTo>
                  <a:lnTo>
                    <a:pt x="2112" y="834"/>
                  </a:lnTo>
                  <a:lnTo>
                    <a:pt x="2112" y="840"/>
                  </a:lnTo>
                  <a:lnTo>
                    <a:pt x="2112" y="834"/>
                  </a:lnTo>
                  <a:lnTo>
                    <a:pt x="2124" y="834"/>
                  </a:lnTo>
                  <a:lnTo>
                    <a:pt x="2130" y="834"/>
                  </a:lnTo>
                  <a:lnTo>
                    <a:pt x="2136" y="840"/>
                  </a:lnTo>
                  <a:lnTo>
                    <a:pt x="2142" y="840"/>
                  </a:lnTo>
                  <a:lnTo>
                    <a:pt x="2154" y="852"/>
                  </a:lnTo>
                  <a:lnTo>
                    <a:pt x="2160" y="852"/>
                  </a:lnTo>
                  <a:lnTo>
                    <a:pt x="2172" y="846"/>
                  </a:lnTo>
                  <a:lnTo>
                    <a:pt x="2178" y="846"/>
                  </a:lnTo>
                  <a:lnTo>
                    <a:pt x="2184" y="846"/>
                  </a:lnTo>
                  <a:lnTo>
                    <a:pt x="2190" y="846"/>
                  </a:lnTo>
                  <a:lnTo>
                    <a:pt x="2196" y="852"/>
                  </a:lnTo>
                  <a:lnTo>
                    <a:pt x="2196" y="858"/>
                  </a:lnTo>
                  <a:lnTo>
                    <a:pt x="2202" y="852"/>
                  </a:lnTo>
                  <a:lnTo>
                    <a:pt x="2208" y="846"/>
                  </a:lnTo>
                  <a:lnTo>
                    <a:pt x="2214" y="846"/>
                  </a:lnTo>
                  <a:lnTo>
                    <a:pt x="2226" y="846"/>
                  </a:lnTo>
                  <a:lnTo>
                    <a:pt x="2232" y="852"/>
                  </a:lnTo>
                  <a:lnTo>
                    <a:pt x="2238" y="852"/>
                  </a:lnTo>
                  <a:lnTo>
                    <a:pt x="2244" y="858"/>
                  </a:lnTo>
                  <a:lnTo>
                    <a:pt x="2250" y="858"/>
                  </a:lnTo>
                  <a:lnTo>
                    <a:pt x="2256" y="858"/>
                  </a:lnTo>
                  <a:lnTo>
                    <a:pt x="2262" y="858"/>
                  </a:lnTo>
                  <a:lnTo>
                    <a:pt x="2268" y="852"/>
                  </a:lnTo>
                  <a:lnTo>
                    <a:pt x="2274" y="852"/>
                  </a:lnTo>
                  <a:lnTo>
                    <a:pt x="2280" y="852"/>
                  </a:lnTo>
                  <a:lnTo>
                    <a:pt x="2286" y="852"/>
                  </a:lnTo>
                  <a:lnTo>
                    <a:pt x="2298" y="858"/>
                  </a:lnTo>
                  <a:lnTo>
                    <a:pt x="2304" y="858"/>
                  </a:lnTo>
                  <a:lnTo>
                    <a:pt x="2310" y="858"/>
                  </a:lnTo>
                  <a:lnTo>
                    <a:pt x="2316" y="852"/>
                  </a:lnTo>
                  <a:lnTo>
                    <a:pt x="2322" y="858"/>
                  </a:lnTo>
                  <a:lnTo>
                    <a:pt x="2328" y="858"/>
                  </a:lnTo>
                  <a:lnTo>
                    <a:pt x="2328" y="852"/>
                  </a:lnTo>
                  <a:lnTo>
                    <a:pt x="2364" y="858"/>
                  </a:lnTo>
                  <a:lnTo>
                    <a:pt x="2376" y="876"/>
                  </a:lnTo>
                  <a:lnTo>
                    <a:pt x="2382" y="936"/>
                  </a:lnTo>
                  <a:lnTo>
                    <a:pt x="2388" y="966"/>
                  </a:lnTo>
                  <a:lnTo>
                    <a:pt x="2382" y="972"/>
                  </a:lnTo>
                  <a:lnTo>
                    <a:pt x="2382" y="978"/>
                  </a:lnTo>
                  <a:lnTo>
                    <a:pt x="2382" y="984"/>
                  </a:lnTo>
                  <a:lnTo>
                    <a:pt x="2388" y="990"/>
                  </a:lnTo>
                  <a:lnTo>
                    <a:pt x="2382" y="990"/>
                  </a:lnTo>
                  <a:lnTo>
                    <a:pt x="2382" y="996"/>
                  </a:lnTo>
                  <a:lnTo>
                    <a:pt x="2376" y="996"/>
                  </a:lnTo>
                  <a:lnTo>
                    <a:pt x="2376" y="1020"/>
                  </a:lnTo>
                  <a:lnTo>
                    <a:pt x="2370" y="1032"/>
                  </a:lnTo>
                  <a:lnTo>
                    <a:pt x="2352" y="1032"/>
                  </a:lnTo>
                  <a:lnTo>
                    <a:pt x="2346" y="1020"/>
                  </a:lnTo>
                  <a:lnTo>
                    <a:pt x="2328" y="1032"/>
                  </a:lnTo>
                  <a:lnTo>
                    <a:pt x="2316" y="1038"/>
                  </a:lnTo>
                  <a:lnTo>
                    <a:pt x="2328" y="1044"/>
                  </a:lnTo>
                  <a:lnTo>
                    <a:pt x="2340" y="1056"/>
                  </a:lnTo>
                  <a:lnTo>
                    <a:pt x="2376" y="1062"/>
                  </a:lnTo>
                  <a:lnTo>
                    <a:pt x="2376" y="1068"/>
                  </a:lnTo>
                  <a:lnTo>
                    <a:pt x="2382" y="1086"/>
                  </a:lnTo>
                  <a:lnTo>
                    <a:pt x="2376" y="1086"/>
                  </a:lnTo>
                  <a:lnTo>
                    <a:pt x="2370" y="1086"/>
                  </a:lnTo>
                  <a:lnTo>
                    <a:pt x="2364" y="1086"/>
                  </a:lnTo>
                  <a:lnTo>
                    <a:pt x="2364" y="1098"/>
                  </a:lnTo>
                  <a:lnTo>
                    <a:pt x="2388" y="1104"/>
                  </a:lnTo>
                  <a:lnTo>
                    <a:pt x="2400" y="1122"/>
                  </a:lnTo>
                  <a:lnTo>
                    <a:pt x="2400" y="1134"/>
                  </a:lnTo>
                  <a:lnTo>
                    <a:pt x="2400" y="1146"/>
                  </a:lnTo>
                  <a:lnTo>
                    <a:pt x="2394" y="1146"/>
                  </a:lnTo>
                  <a:lnTo>
                    <a:pt x="2394" y="1152"/>
                  </a:lnTo>
                  <a:lnTo>
                    <a:pt x="2388" y="1152"/>
                  </a:lnTo>
                  <a:lnTo>
                    <a:pt x="2388" y="1146"/>
                  </a:lnTo>
                  <a:lnTo>
                    <a:pt x="2382" y="1152"/>
                  </a:lnTo>
                  <a:lnTo>
                    <a:pt x="2376" y="1152"/>
                  </a:lnTo>
                  <a:lnTo>
                    <a:pt x="2370" y="1158"/>
                  </a:lnTo>
                  <a:lnTo>
                    <a:pt x="2370" y="1164"/>
                  </a:lnTo>
                  <a:lnTo>
                    <a:pt x="2364" y="1170"/>
                  </a:lnTo>
                  <a:lnTo>
                    <a:pt x="2370" y="1170"/>
                  </a:lnTo>
                  <a:lnTo>
                    <a:pt x="2376" y="1170"/>
                  </a:lnTo>
                  <a:lnTo>
                    <a:pt x="2370" y="1176"/>
                  </a:lnTo>
                  <a:lnTo>
                    <a:pt x="2364" y="1176"/>
                  </a:lnTo>
                  <a:lnTo>
                    <a:pt x="2358" y="1182"/>
                  </a:lnTo>
                  <a:lnTo>
                    <a:pt x="2352" y="1182"/>
                  </a:lnTo>
                  <a:lnTo>
                    <a:pt x="2346" y="1188"/>
                  </a:lnTo>
                  <a:lnTo>
                    <a:pt x="2340" y="1182"/>
                  </a:lnTo>
                  <a:lnTo>
                    <a:pt x="2334" y="1182"/>
                  </a:lnTo>
                  <a:lnTo>
                    <a:pt x="2334" y="1188"/>
                  </a:lnTo>
                  <a:lnTo>
                    <a:pt x="2328" y="1194"/>
                  </a:lnTo>
                  <a:lnTo>
                    <a:pt x="2328" y="1200"/>
                  </a:lnTo>
                  <a:lnTo>
                    <a:pt x="2322" y="1224"/>
                  </a:lnTo>
                  <a:lnTo>
                    <a:pt x="2328" y="1230"/>
                  </a:lnTo>
                  <a:lnTo>
                    <a:pt x="2358" y="1230"/>
                  </a:lnTo>
                  <a:lnTo>
                    <a:pt x="2358" y="1242"/>
                  </a:lnTo>
                  <a:lnTo>
                    <a:pt x="2358" y="1254"/>
                  </a:lnTo>
                  <a:lnTo>
                    <a:pt x="2346" y="1254"/>
                  </a:lnTo>
                  <a:lnTo>
                    <a:pt x="2346" y="1278"/>
                  </a:lnTo>
                  <a:lnTo>
                    <a:pt x="2358" y="1278"/>
                  </a:lnTo>
                  <a:lnTo>
                    <a:pt x="2358" y="1284"/>
                  </a:lnTo>
                  <a:lnTo>
                    <a:pt x="2376" y="1284"/>
                  </a:lnTo>
                  <a:lnTo>
                    <a:pt x="2388" y="1278"/>
                  </a:lnTo>
                  <a:lnTo>
                    <a:pt x="2406" y="1278"/>
                  </a:lnTo>
                  <a:lnTo>
                    <a:pt x="2430" y="1284"/>
                  </a:lnTo>
                  <a:lnTo>
                    <a:pt x="2430" y="1302"/>
                  </a:lnTo>
                  <a:lnTo>
                    <a:pt x="2430" y="1314"/>
                  </a:lnTo>
                  <a:lnTo>
                    <a:pt x="2424" y="1326"/>
                  </a:lnTo>
                  <a:lnTo>
                    <a:pt x="2412" y="1326"/>
                  </a:lnTo>
                  <a:lnTo>
                    <a:pt x="2412" y="1344"/>
                  </a:lnTo>
                  <a:lnTo>
                    <a:pt x="2406" y="1344"/>
                  </a:lnTo>
                  <a:lnTo>
                    <a:pt x="2400" y="1362"/>
                  </a:lnTo>
                  <a:lnTo>
                    <a:pt x="2394" y="1368"/>
                  </a:lnTo>
                  <a:lnTo>
                    <a:pt x="2388" y="1374"/>
                  </a:lnTo>
                  <a:lnTo>
                    <a:pt x="2382" y="1380"/>
                  </a:lnTo>
                  <a:lnTo>
                    <a:pt x="2376" y="1386"/>
                  </a:lnTo>
                  <a:lnTo>
                    <a:pt x="2376" y="1392"/>
                  </a:lnTo>
                  <a:lnTo>
                    <a:pt x="2370" y="1404"/>
                  </a:lnTo>
                  <a:lnTo>
                    <a:pt x="2364" y="1416"/>
                  </a:lnTo>
                  <a:lnTo>
                    <a:pt x="2346" y="1434"/>
                  </a:lnTo>
                  <a:lnTo>
                    <a:pt x="2328" y="1440"/>
                  </a:lnTo>
                  <a:lnTo>
                    <a:pt x="2328" y="1446"/>
                  </a:lnTo>
                  <a:lnTo>
                    <a:pt x="2322" y="1452"/>
                  </a:lnTo>
                  <a:lnTo>
                    <a:pt x="2316" y="1452"/>
                  </a:lnTo>
                  <a:lnTo>
                    <a:pt x="2304" y="1446"/>
                  </a:lnTo>
                  <a:lnTo>
                    <a:pt x="2298" y="1446"/>
                  </a:lnTo>
                  <a:lnTo>
                    <a:pt x="2298" y="1434"/>
                  </a:lnTo>
                  <a:lnTo>
                    <a:pt x="2292" y="1434"/>
                  </a:lnTo>
                  <a:lnTo>
                    <a:pt x="2286" y="1428"/>
                  </a:lnTo>
                  <a:lnTo>
                    <a:pt x="2274" y="1416"/>
                  </a:lnTo>
                  <a:lnTo>
                    <a:pt x="2256" y="1404"/>
                  </a:lnTo>
                  <a:lnTo>
                    <a:pt x="2244" y="1386"/>
                  </a:lnTo>
                  <a:lnTo>
                    <a:pt x="2220" y="1368"/>
                  </a:lnTo>
                  <a:lnTo>
                    <a:pt x="2208" y="1362"/>
                  </a:lnTo>
                  <a:lnTo>
                    <a:pt x="2202" y="1350"/>
                  </a:lnTo>
                  <a:lnTo>
                    <a:pt x="2196" y="1350"/>
                  </a:lnTo>
                  <a:lnTo>
                    <a:pt x="2190" y="1356"/>
                  </a:lnTo>
                  <a:lnTo>
                    <a:pt x="2184" y="1356"/>
                  </a:lnTo>
                  <a:lnTo>
                    <a:pt x="2094" y="1350"/>
                  </a:lnTo>
                  <a:lnTo>
                    <a:pt x="2058" y="1350"/>
                  </a:lnTo>
                  <a:lnTo>
                    <a:pt x="2034" y="1890"/>
                  </a:lnTo>
                  <a:lnTo>
                    <a:pt x="2064" y="1890"/>
                  </a:lnTo>
                  <a:lnTo>
                    <a:pt x="2070" y="1896"/>
                  </a:lnTo>
                  <a:lnTo>
                    <a:pt x="2076" y="18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8" name="Freeform 33">
              <a:extLst>
                <a:ext uri="{FF2B5EF4-FFF2-40B4-BE49-F238E27FC236}">
                  <a16:creationId xmlns:a16="http://schemas.microsoft.com/office/drawing/2014/main" id="{0E96F118-1F4D-4E52-AF27-149259451CD6}"/>
                </a:ext>
              </a:extLst>
            </p:cNvPr>
            <p:cNvSpPr>
              <a:spLocks/>
            </p:cNvSpPr>
            <p:nvPr/>
          </p:nvSpPr>
          <p:spPr bwMode="gray">
            <a:xfrm>
              <a:off x="1266662" y="1459989"/>
              <a:ext cx="903421" cy="778302"/>
            </a:xfrm>
            <a:custGeom>
              <a:avLst/>
              <a:gdLst>
                <a:gd name="T0" fmla="*/ 143 w 1698"/>
                <a:gd name="T1" fmla="*/ 43 h 1464"/>
                <a:gd name="T2" fmla="*/ 131 w 1698"/>
                <a:gd name="T3" fmla="*/ 44 h 1464"/>
                <a:gd name="T4" fmla="*/ 126 w 1698"/>
                <a:gd name="T5" fmla="*/ 41 h 1464"/>
                <a:gd name="T6" fmla="*/ 119 w 1698"/>
                <a:gd name="T7" fmla="*/ 45 h 1464"/>
                <a:gd name="T8" fmla="*/ 111 w 1698"/>
                <a:gd name="T9" fmla="*/ 46 h 1464"/>
                <a:gd name="T10" fmla="*/ 107 w 1698"/>
                <a:gd name="T11" fmla="*/ 50 h 1464"/>
                <a:gd name="T12" fmla="*/ 107 w 1698"/>
                <a:gd name="T13" fmla="*/ 60 h 1464"/>
                <a:gd name="T14" fmla="*/ 104 w 1698"/>
                <a:gd name="T15" fmla="*/ 62 h 1464"/>
                <a:gd name="T16" fmla="*/ 97 w 1698"/>
                <a:gd name="T17" fmla="*/ 59 h 1464"/>
                <a:gd name="T18" fmla="*/ 92 w 1698"/>
                <a:gd name="T19" fmla="*/ 59 h 1464"/>
                <a:gd name="T20" fmla="*/ 90 w 1698"/>
                <a:gd name="T21" fmla="*/ 62 h 1464"/>
                <a:gd name="T22" fmla="*/ 93 w 1698"/>
                <a:gd name="T23" fmla="*/ 77 h 1464"/>
                <a:gd name="T24" fmla="*/ 85 w 1698"/>
                <a:gd name="T25" fmla="*/ 88 h 1464"/>
                <a:gd name="T26" fmla="*/ 70 w 1698"/>
                <a:gd name="T27" fmla="*/ 89 h 1464"/>
                <a:gd name="T28" fmla="*/ 65 w 1698"/>
                <a:gd name="T29" fmla="*/ 88 h 1464"/>
                <a:gd name="T30" fmla="*/ 50 w 1698"/>
                <a:gd name="T31" fmla="*/ 88 h 1464"/>
                <a:gd name="T32" fmla="*/ 48 w 1698"/>
                <a:gd name="T33" fmla="*/ 107 h 1464"/>
                <a:gd name="T34" fmla="*/ 47 w 1698"/>
                <a:gd name="T35" fmla="*/ 120 h 1464"/>
                <a:gd name="T36" fmla="*/ 43 w 1698"/>
                <a:gd name="T37" fmla="*/ 121 h 1464"/>
                <a:gd name="T38" fmla="*/ 40 w 1698"/>
                <a:gd name="T39" fmla="*/ 120 h 1464"/>
                <a:gd name="T40" fmla="*/ 35 w 1698"/>
                <a:gd name="T41" fmla="*/ 122 h 1464"/>
                <a:gd name="T42" fmla="*/ 29 w 1698"/>
                <a:gd name="T43" fmla="*/ 123 h 1464"/>
                <a:gd name="T44" fmla="*/ 24 w 1698"/>
                <a:gd name="T45" fmla="*/ 125 h 1464"/>
                <a:gd name="T46" fmla="*/ 20 w 1698"/>
                <a:gd name="T47" fmla="*/ 125 h 1464"/>
                <a:gd name="T48" fmla="*/ 18 w 1698"/>
                <a:gd name="T49" fmla="*/ 122 h 1464"/>
                <a:gd name="T50" fmla="*/ 26 w 1698"/>
                <a:gd name="T51" fmla="*/ 108 h 1464"/>
                <a:gd name="T52" fmla="*/ 24 w 1698"/>
                <a:gd name="T53" fmla="*/ 89 h 1464"/>
                <a:gd name="T54" fmla="*/ 28 w 1698"/>
                <a:gd name="T55" fmla="*/ 85 h 1464"/>
                <a:gd name="T56" fmla="*/ 32 w 1698"/>
                <a:gd name="T57" fmla="*/ 80 h 1464"/>
                <a:gd name="T58" fmla="*/ 36 w 1698"/>
                <a:gd name="T59" fmla="*/ 86 h 1464"/>
                <a:gd name="T60" fmla="*/ 39 w 1698"/>
                <a:gd name="T61" fmla="*/ 80 h 1464"/>
                <a:gd name="T62" fmla="*/ 41 w 1698"/>
                <a:gd name="T63" fmla="*/ 73 h 1464"/>
                <a:gd name="T64" fmla="*/ 38 w 1698"/>
                <a:gd name="T65" fmla="*/ 64 h 1464"/>
                <a:gd name="T66" fmla="*/ 39 w 1698"/>
                <a:gd name="T67" fmla="*/ 59 h 1464"/>
                <a:gd name="T68" fmla="*/ 32 w 1698"/>
                <a:gd name="T69" fmla="*/ 54 h 1464"/>
                <a:gd name="T70" fmla="*/ 32 w 1698"/>
                <a:gd name="T71" fmla="*/ 45 h 1464"/>
                <a:gd name="T72" fmla="*/ 31 w 1698"/>
                <a:gd name="T73" fmla="*/ 41 h 1464"/>
                <a:gd name="T74" fmla="*/ 24 w 1698"/>
                <a:gd name="T75" fmla="*/ 43 h 1464"/>
                <a:gd name="T76" fmla="*/ 17 w 1698"/>
                <a:gd name="T77" fmla="*/ 40 h 1464"/>
                <a:gd name="T78" fmla="*/ 11 w 1698"/>
                <a:gd name="T79" fmla="*/ 38 h 1464"/>
                <a:gd name="T80" fmla="*/ 2 w 1698"/>
                <a:gd name="T81" fmla="*/ 36 h 1464"/>
                <a:gd name="T82" fmla="*/ 0 w 1698"/>
                <a:gd name="T83" fmla="*/ 24 h 1464"/>
                <a:gd name="T84" fmla="*/ 11 w 1698"/>
                <a:gd name="T85" fmla="*/ 18 h 1464"/>
                <a:gd name="T86" fmla="*/ 19 w 1698"/>
                <a:gd name="T87" fmla="*/ 10 h 1464"/>
                <a:gd name="T88" fmla="*/ 28 w 1698"/>
                <a:gd name="T89" fmla="*/ 9 h 1464"/>
                <a:gd name="T90" fmla="*/ 40 w 1698"/>
                <a:gd name="T91" fmla="*/ 6 h 1464"/>
                <a:gd name="T92" fmla="*/ 49 w 1698"/>
                <a:gd name="T93" fmla="*/ 8 h 1464"/>
                <a:gd name="T94" fmla="*/ 56 w 1698"/>
                <a:gd name="T95" fmla="*/ 8 h 1464"/>
                <a:gd name="T96" fmla="*/ 64 w 1698"/>
                <a:gd name="T97" fmla="*/ 7 h 1464"/>
                <a:gd name="T98" fmla="*/ 74 w 1698"/>
                <a:gd name="T99" fmla="*/ 1 h 1464"/>
                <a:gd name="T100" fmla="*/ 83 w 1698"/>
                <a:gd name="T101" fmla="*/ 3 h 1464"/>
                <a:gd name="T102" fmla="*/ 99 w 1698"/>
                <a:gd name="T103" fmla="*/ 9 h 1464"/>
                <a:gd name="T104" fmla="*/ 112 w 1698"/>
                <a:gd name="T105" fmla="*/ 14 h 1464"/>
                <a:gd name="T106" fmla="*/ 119 w 1698"/>
                <a:gd name="T107" fmla="*/ 12 h 1464"/>
                <a:gd name="T108" fmla="*/ 128 w 1698"/>
                <a:gd name="T109" fmla="*/ 17 h 1464"/>
                <a:gd name="T110" fmla="*/ 141 w 1698"/>
                <a:gd name="T111" fmla="*/ 29 h 1464"/>
                <a:gd name="T112" fmla="*/ 145 w 1698"/>
                <a:gd name="T113" fmla="*/ 35 h 14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98"/>
                <a:gd name="T172" fmla="*/ 0 h 1464"/>
                <a:gd name="T173" fmla="*/ 1698 w 1698"/>
                <a:gd name="T174" fmla="*/ 1464 h 14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98" h="1464">
                  <a:moveTo>
                    <a:pt x="1698" y="462"/>
                  </a:moveTo>
                  <a:lnTo>
                    <a:pt x="1686" y="468"/>
                  </a:lnTo>
                  <a:lnTo>
                    <a:pt x="1680" y="474"/>
                  </a:lnTo>
                  <a:lnTo>
                    <a:pt x="1674" y="480"/>
                  </a:lnTo>
                  <a:lnTo>
                    <a:pt x="1668" y="480"/>
                  </a:lnTo>
                  <a:lnTo>
                    <a:pt x="1662" y="486"/>
                  </a:lnTo>
                  <a:lnTo>
                    <a:pt x="1656" y="492"/>
                  </a:lnTo>
                  <a:lnTo>
                    <a:pt x="1644" y="498"/>
                  </a:lnTo>
                  <a:lnTo>
                    <a:pt x="1626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0" y="516"/>
                  </a:lnTo>
                  <a:lnTo>
                    <a:pt x="1590" y="522"/>
                  </a:lnTo>
                  <a:lnTo>
                    <a:pt x="1566" y="522"/>
                  </a:lnTo>
                  <a:lnTo>
                    <a:pt x="1506" y="510"/>
                  </a:lnTo>
                  <a:lnTo>
                    <a:pt x="1500" y="510"/>
                  </a:lnTo>
                  <a:lnTo>
                    <a:pt x="1488" y="504"/>
                  </a:lnTo>
                  <a:lnTo>
                    <a:pt x="1482" y="498"/>
                  </a:lnTo>
                  <a:lnTo>
                    <a:pt x="1476" y="498"/>
                  </a:lnTo>
                  <a:lnTo>
                    <a:pt x="1476" y="492"/>
                  </a:lnTo>
                  <a:lnTo>
                    <a:pt x="1470" y="492"/>
                  </a:lnTo>
                  <a:lnTo>
                    <a:pt x="1464" y="486"/>
                  </a:lnTo>
                  <a:lnTo>
                    <a:pt x="1452" y="486"/>
                  </a:lnTo>
                  <a:lnTo>
                    <a:pt x="1446" y="474"/>
                  </a:lnTo>
                  <a:lnTo>
                    <a:pt x="1434" y="468"/>
                  </a:lnTo>
                  <a:lnTo>
                    <a:pt x="1416" y="468"/>
                  </a:lnTo>
                  <a:lnTo>
                    <a:pt x="1392" y="468"/>
                  </a:lnTo>
                  <a:lnTo>
                    <a:pt x="1374" y="474"/>
                  </a:lnTo>
                  <a:lnTo>
                    <a:pt x="1368" y="474"/>
                  </a:lnTo>
                  <a:lnTo>
                    <a:pt x="1368" y="486"/>
                  </a:lnTo>
                  <a:lnTo>
                    <a:pt x="1368" y="498"/>
                  </a:lnTo>
                  <a:lnTo>
                    <a:pt x="1368" y="522"/>
                  </a:lnTo>
                  <a:lnTo>
                    <a:pt x="1368" y="534"/>
                  </a:lnTo>
                  <a:lnTo>
                    <a:pt x="1362" y="546"/>
                  </a:lnTo>
                  <a:lnTo>
                    <a:pt x="1356" y="546"/>
                  </a:lnTo>
                  <a:lnTo>
                    <a:pt x="1344" y="540"/>
                  </a:lnTo>
                  <a:lnTo>
                    <a:pt x="1338" y="534"/>
                  </a:lnTo>
                  <a:lnTo>
                    <a:pt x="1308" y="522"/>
                  </a:lnTo>
                  <a:lnTo>
                    <a:pt x="1296" y="522"/>
                  </a:lnTo>
                  <a:lnTo>
                    <a:pt x="1278" y="528"/>
                  </a:lnTo>
                  <a:lnTo>
                    <a:pt x="1260" y="534"/>
                  </a:lnTo>
                  <a:lnTo>
                    <a:pt x="1242" y="546"/>
                  </a:lnTo>
                  <a:lnTo>
                    <a:pt x="1236" y="552"/>
                  </a:lnTo>
                  <a:lnTo>
                    <a:pt x="1224" y="558"/>
                  </a:lnTo>
                  <a:lnTo>
                    <a:pt x="1218" y="558"/>
                  </a:lnTo>
                  <a:lnTo>
                    <a:pt x="1218" y="564"/>
                  </a:lnTo>
                  <a:lnTo>
                    <a:pt x="1224" y="570"/>
                  </a:lnTo>
                  <a:lnTo>
                    <a:pt x="1224" y="582"/>
                  </a:lnTo>
                  <a:lnTo>
                    <a:pt x="1224" y="594"/>
                  </a:lnTo>
                  <a:lnTo>
                    <a:pt x="1212" y="618"/>
                  </a:lnTo>
                  <a:lnTo>
                    <a:pt x="1212" y="624"/>
                  </a:lnTo>
                  <a:lnTo>
                    <a:pt x="1212" y="630"/>
                  </a:lnTo>
                  <a:lnTo>
                    <a:pt x="1212" y="636"/>
                  </a:lnTo>
                  <a:lnTo>
                    <a:pt x="1218" y="654"/>
                  </a:lnTo>
                  <a:lnTo>
                    <a:pt x="1224" y="672"/>
                  </a:lnTo>
                  <a:lnTo>
                    <a:pt x="1230" y="696"/>
                  </a:lnTo>
                  <a:lnTo>
                    <a:pt x="1236" y="708"/>
                  </a:lnTo>
                  <a:lnTo>
                    <a:pt x="1236" y="714"/>
                  </a:lnTo>
                  <a:lnTo>
                    <a:pt x="1236" y="720"/>
                  </a:lnTo>
                  <a:lnTo>
                    <a:pt x="1218" y="726"/>
                  </a:lnTo>
                  <a:lnTo>
                    <a:pt x="1212" y="726"/>
                  </a:lnTo>
                  <a:lnTo>
                    <a:pt x="1206" y="726"/>
                  </a:lnTo>
                  <a:lnTo>
                    <a:pt x="1194" y="720"/>
                  </a:lnTo>
                  <a:lnTo>
                    <a:pt x="1194" y="714"/>
                  </a:lnTo>
                  <a:lnTo>
                    <a:pt x="1176" y="714"/>
                  </a:lnTo>
                  <a:lnTo>
                    <a:pt x="1164" y="708"/>
                  </a:lnTo>
                  <a:lnTo>
                    <a:pt x="1158" y="708"/>
                  </a:lnTo>
                  <a:lnTo>
                    <a:pt x="1140" y="702"/>
                  </a:lnTo>
                  <a:lnTo>
                    <a:pt x="1134" y="696"/>
                  </a:lnTo>
                  <a:lnTo>
                    <a:pt x="1128" y="690"/>
                  </a:lnTo>
                  <a:lnTo>
                    <a:pt x="1116" y="678"/>
                  </a:lnTo>
                  <a:lnTo>
                    <a:pt x="1110" y="678"/>
                  </a:lnTo>
                  <a:lnTo>
                    <a:pt x="1104" y="672"/>
                  </a:lnTo>
                  <a:lnTo>
                    <a:pt x="1092" y="672"/>
                  </a:lnTo>
                  <a:lnTo>
                    <a:pt x="1086" y="672"/>
                  </a:lnTo>
                  <a:lnTo>
                    <a:pt x="1080" y="672"/>
                  </a:lnTo>
                  <a:lnTo>
                    <a:pt x="1074" y="672"/>
                  </a:lnTo>
                  <a:lnTo>
                    <a:pt x="1068" y="672"/>
                  </a:lnTo>
                  <a:lnTo>
                    <a:pt x="1062" y="678"/>
                  </a:lnTo>
                  <a:lnTo>
                    <a:pt x="1056" y="678"/>
                  </a:lnTo>
                  <a:lnTo>
                    <a:pt x="1056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6"/>
                  </a:lnTo>
                  <a:lnTo>
                    <a:pt x="1032" y="708"/>
                  </a:lnTo>
                  <a:lnTo>
                    <a:pt x="1026" y="708"/>
                  </a:lnTo>
                  <a:lnTo>
                    <a:pt x="1032" y="714"/>
                  </a:lnTo>
                  <a:lnTo>
                    <a:pt x="1026" y="720"/>
                  </a:lnTo>
                  <a:lnTo>
                    <a:pt x="1020" y="720"/>
                  </a:lnTo>
                  <a:lnTo>
                    <a:pt x="1014" y="732"/>
                  </a:lnTo>
                  <a:lnTo>
                    <a:pt x="1014" y="744"/>
                  </a:lnTo>
                  <a:lnTo>
                    <a:pt x="1038" y="810"/>
                  </a:lnTo>
                  <a:lnTo>
                    <a:pt x="1050" y="834"/>
                  </a:lnTo>
                  <a:lnTo>
                    <a:pt x="1056" y="858"/>
                  </a:lnTo>
                  <a:lnTo>
                    <a:pt x="1062" y="876"/>
                  </a:lnTo>
                  <a:lnTo>
                    <a:pt x="1068" y="882"/>
                  </a:lnTo>
                  <a:lnTo>
                    <a:pt x="1062" y="972"/>
                  </a:lnTo>
                  <a:lnTo>
                    <a:pt x="1056" y="972"/>
                  </a:lnTo>
                  <a:lnTo>
                    <a:pt x="1050" y="996"/>
                  </a:lnTo>
                  <a:lnTo>
                    <a:pt x="1044" y="1014"/>
                  </a:lnTo>
                  <a:lnTo>
                    <a:pt x="1008" y="1014"/>
                  </a:lnTo>
                  <a:lnTo>
                    <a:pt x="1008" y="1008"/>
                  </a:lnTo>
                  <a:lnTo>
                    <a:pt x="990" y="1008"/>
                  </a:lnTo>
                  <a:lnTo>
                    <a:pt x="972" y="1014"/>
                  </a:lnTo>
                  <a:lnTo>
                    <a:pt x="948" y="1020"/>
                  </a:lnTo>
                  <a:lnTo>
                    <a:pt x="918" y="1026"/>
                  </a:lnTo>
                  <a:lnTo>
                    <a:pt x="840" y="1032"/>
                  </a:lnTo>
                  <a:lnTo>
                    <a:pt x="834" y="1032"/>
                  </a:lnTo>
                  <a:lnTo>
                    <a:pt x="834" y="1026"/>
                  </a:lnTo>
                  <a:lnTo>
                    <a:pt x="822" y="1026"/>
                  </a:lnTo>
                  <a:lnTo>
                    <a:pt x="816" y="1032"/>
                  </a:lnTo>
                  <a:lnTo>
                    <a:pt x="804" y="1032"/>
                  </a:lnTo>
                  <a:lnTo>
                    <a:pt x="798" y="1026"/>
                  </a:lnTo>
                  <a:lnTo>
                    <a:pt x="780" y="1026"/>
                  </a:lnTo>
                  <a:lnTo>
                    <a:pt x="762" y="1026"/>
                  </a:lnTo>
                  <a:lnTo>
                    <a:pt x="756" y="1026"/>
                  </a:lnTo>
                  <a:lnTo>
                    <a:pt x="750" y="1026"/>
                  </a:lnTo>
                  <a:lnTo>
                    <a:pt x="756" y="1020"/>
                  </a:lnTo>
                  <a:lnTo>
                    <a:pt x="750" y="1020"/>
                  </a:lnTo>
                  <a:lnTo>
                    <a:pt x="744" y="1014"/>
                  </a:lnTo>
                  <a:lnTo>
                    <a:pt x="684" y="1020"/>
                  </a:lnTo>
                  <a:lnTo>
                    <a:pt x="648" y="1020"/>
                  </a:lnTo>
                  <a:lnTo>
                    <a:pt x="630" y="1020"/>
                  </a:lnTo>
                  <a:lnTo>
                    <a:pt x="618" y="1020"/>
                  </a:lnTo>
                  <a:lnTo>
                    <a:pt x="606" y="1014"/>
                  </a:lnTo>
                  <a:lnTo>
                    <a:pt x="582" y="1014"/>
                  </a:lnTo>
                  <a:lnTo>
                    <a:pt x="576" y="1014"/>
                  </a:lnTo>
                  <a:lnTo>
                    <a:pt x="570" y="1014"/>
                  </a:lnTo>
                  <a:lnTo>
                    <a:pt x="564" y="1020"/>
                  </a:lnTo>
                  <a:lnTo>
                    <a:pt x="558" y="1026"/>
                  </a:lnTo>
                  <a:lnTo>
                    <a:pt x="552" y="1032"/>
                  </a:lnTo>
                  <a:lnTo>
                    <a:pt x="552" y="1038"/>
                  </a:lnTo>
                  <a:lnTo>
                    <a:pt x="558" y="1194"/>
                  </a:lnTo>
                  <a:lnTo>
                    <a:pt x="558" y="1206"/>
                  </a:lnTo>
                  <a:lnTo>
                    <a:pt x="552" y="1218"/>
                  </a:lnTo>
                  <a:lnTo>
                    <a:pt x="552" y="1236"/>
                  </a:lnTo>
                  <a:lnTo>
                    <a:pt x="546" y="1272"/>
                  </a:lnTo>
                  <a:lnTo>
                    <a:pt x="546" y="1308"/>
                  </a:lnTo>
                  <a:lnTo>
                    <a:pt x="540" y="1332"/>
                  </a:lnTo>
                  <a:lnTo>
                    <a:pt x="546" y="1356"/>
                  </a:lnTo>
                  <a:lnTo>
                    <a:pt x="546" y="1362"/>
                  </a:lnTo>
                  <a:lnTo>
                    <a:pt x="546" y="1374"/>
                  </a:lnTo>
                  <a:lnTo>
                    <a:pt x="546" y="1380"/>
                  </a:lnTo>
                  <a:lnTo>
                    <a:pt x="540" y="1380"/>
                  </a:lnTo>
                  <a:lnTo>
                    <a:pt x="522" y="1380"/>
                  </a:lnTo>
                  <a:lnTo>
                    <a:pt x="516" y="1380"/>
                  </a:lnTo>
                  <a:lnTo>
                    <a:pt x="516" y="1386"/>
                  </a:lnTo>
                  <a:lnTo>
                    <a:pt x="516" y="1392"/>
                  </a:lnTo>
                  <a:lnTo>
                    <a:pt x="510" y="1392"/>
                  </a:lnTo>
                  <a:lnTo>
                    <a:pt x="504" y="1386"/>
                  </a:lnTo>
                  <a:lnTo>
                    <a:pt x="498" y="1392"/>
                  </a:lnTo>
                  <a:lnTo>
                    <a:pt x="492" y="1398"/>
                  </a:lnTo>
                  <a:lnTo>
                    <a:pt x="486" y="1398"/>
                  </a:lnTo>
                  <a:lnTo>
                    <a:pt x="486" y="1392"/>
                  </a:lnTo>
                  <a:lnTo>
                    <a:pt x="486" y="1380"/>
                  </a:lnTo>
                  <a:lnTo>
                    <a:pt x="486" y="1374"/>
                  </a:lnTo>
                  <a:lnTo>
                    <a:pt x="480" y="1374"/>
                  </a:lnTo>
                  <a:lnTo>
                    <a:pt x="474" y="1374"/>
                  </a:lnTo>
                  <a:lnTo>
                    <a:pt x="468" y="1380"/>
                  </a:lnTo>
                  <a:lnTo>
                    <a:pt x="462" y="1380"/>
                  </a:lnTo>
                  <a:lnTo>
                    <a:pt x="456" y="1380"/>
                  </a:lnTo>
                  <a:lnTo>
                    <a:pt x="450" y="1386"/>
                  </a:lnTo>
                  <a:lnTo>
                    <a:pt x="444" y="1386"/>
                  </a:lnTo>
                  <a:lnTo>
                    <a:pt x="444" y="1392"/>
                  </a:lnTo>
                  <a:lnTo>
                    <a:pt x="432" y="1398"/>
                  </a:lnTo>
                  <a:lnTo>
                    <a:pt x="426" y="1404"/>
                  </a:lnTo>
                  <a:lnTo>
                    <a:pt x="420" y="1404"/>
                  </a:lnTo>
                  <a:lnTo>
                    <a:pt x="408" y="1404"/>
                  </a:lnTo>
                  <a:lnTo>
                    <a:pt x="378" y="1410"/>
                  </a:lnTo>
                  <a:lnTo>
                    <a:pt x="372" y="1410"/>
                  </a:lnTo>
                  <a:lnTo>
                    <a:pt x="360" y="1410"/>
                  </a:lnTo>
                  <a:lnTo>
                    <a:pt x="354" y="1416"/>
                  </a:lnTo>
                  <a:lnTo>
                    <a:pt x="348" y="1416"/>
                  </a:lnTo>
                  <a:lnTo>
                    <a:pt x="342" y="1410"/>
                  </a:lnTo>
                  <a:lnTo>
                    <a:pt x="336" y="1410"/>
                  </a:lnTo>
                  <a:lnTo>
                    <a:pt x="336" y="1416"/>
                  </a:lnTo>
                  <a:lnTo>
                    <a:pt x="330" y="1422"/>
                  </a:lnTo>
                  <a:lnTo>
                    <a:pt x="324" y="1422"/>
                  </a:lnTo>
                  <a:lnTo>
                    <a:pt x="318" y="1422"/>
                  </a:lnTo>
                  <a:lnTo>
                    <a:pt x="312" y="1428"/>
                  </a:lnTo>
                  <a:lnTo>
                    <a:pt x="312" y="1434"/>
                  </a:lnTo>
                  <a:lnTo>
                    <a:pt x="300" y="1428"/>
                  </a:lnTo>
                  <a:lnTo>
                    <a:pt x="288" y="1434"/>
                  </a:lnTo>
                  <a:lnTo>
                    <a:pt x="282" y="1440"/>
                  </a:lnTo>
                  <a:lnTo>
                    <a:pt x="282" y="1446"/>
                  </a:lnTo>
                  <a:lnTo>
                    <a:pt x="276" y="1446"/>
                  </a:lnTo>
                  <a:lnTo>
                    <a:pt x="276" y="1452"/>
                  </a:lnTo>
                  <a:lnTo>
                    <a:pt x="270" y="1452"/>
                  </a:lnTo>
                  <a:lnTo>
                    <a:pt x="258" y="1464"/>
                  </a:lnTo>
                  <a:lnTo>
                    <a:pt x="240" y="1458"/>
                  </a:lnTo>
                  <a:lnTo>
                    <a:pt x="234" y="1452"/>
                  </a:lnTo>
                  <a:lnTo>
                    <a:pt x="234" y="1446"/>
                  </a:lnTo>
                  <a:lnTo>
                    <a:pt x="228" y="1446"/>
                  </a:lnTo>
                  <a:lnTo>
                    <a:pt x="222" y="1440"/>
                  </a:lnTo>
                  <a:lnTo>
                    <a:pt x="216" y="1440"/>
                  </a:lnTo>
                  <a:lnTo>
                    <a:pt x="210" y="1428"/>
                  </a:lnTo>
                  <a:lnTo>
                    <a:pt x="210" y="1422"/>
                  </a:lnTo>
                  <a:lnTo>
                    <a:pt x="198" y="1416"/>
                  </a:lnTo>
                  <a:lnTo>
                    <a:pt x="204" y="1410"/>
                  </a:lnTo>
                  <a:lnTo>
                    <a:pt x="210" y="1404"/>
                  </a:lnTo>
                  <a:lnTo>
                    <a:pt x="210" y="1398"/>
                  </a:lnTo>
                  <a:lnTo>
                    <a:pt x="252" y="1368"/>
                  </a:lnTo>
                  <a:lnTo>
                    <a:pt x="276" y="1350"/>
                  </a:lnTo>
                  <a:lnTo>
                    <a:pt x="300" y="1338"/>
                  </a:lnTo>
                  <a:lnTo>
                    <a:pt x="294" y="1314"/>
                  </a:lnTo>
                  <a:lnTo>
                    <a:pt x="288" y="1308"/>
                  </a:lnTo>
                  <a:lnTo>
                    <a:pt x="300" y="1266"/>
                  </a:lnTo>
                  <a:lnTo>
                    <a:pt x="300" y="1242"/>
                  </a:lnTo>
                  <a:lnTo>
                    <a:pt x="300" y="1206"/>
                  </a:lnTo>
                  <a:lnTo>
                    <a:pt x="300" y="1164"/>
                  </a:lnTo>
                  <a:lnTo>
                    <a:pt x="294" y="1134"/>
                  </a:lnTo>
                  <a:lnTo>
                    <a:pt x="282" y="1086"/>
                  </a:lnTo>
                  <a:lnTo>
                    <a:pt x="276" y="1074"/>
                  </a:lnTo>
                  <a:lnTo>
                    <a:pt x="276" y="1056"/>
                  </a:lnTo>
                  <a:lnTo>
                    <a:pt x="270" y="1038"/>
                  </a:lnTo>
                  <a:lnTo>
                    <a:pt x="270" y="1020"/>
                  </a:lnTo>
                  <a:lnTo>
                    <a:pt x="282" y="1020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94" y="1002"/>
                  </a:lnTo>
                  <a:lnTo>
                    <a:pt x="306" y="996"/>
                  </a:lnTo>
                  <a:lnTo>
                    <a:pt x="312" y="990"/>
                  </a:lnTo>
                  <a:lnTo>
                    <a:pt x="318" y="990"/>
                  </a:lnTo>
                  <a:lnTo>
                    <a:pt x="324" y="984"/>
                  </a:lnTo>
                  <a:lnTo>
                    <a:pt x="324" y="978"/>
                  </a:lnTo>
                  <a:lnTo>
                    <a:pt x="324" y="972"/>
                  </a:lnTo>
                  <a:lnTo>
                    <a:pt x="324" y="954"/>
                  </a:lnTo>
                  <a:lnTo>
                    <a:pt x="336" y="948"/>
                  </a:lnTo>
                  <a:lnTo>
                    <a:pt x="342" y="936"/>
                  </a:lnTo>
                  <a:lnTo>
                    <a:pt x="348" y="924"/>
                  </a:lnTo>
                  <a:lnTo>
                    <a:pt x="354" y="924"/>
                  </a:lnTo>
                  <a:lnTo>
                    <a:pt x="372" y="924"/>
                  </a:lnTo>
                  <a:lnTo>
                    <a:pt x="372" y="930"/>
                  </a:lnTo>
                  <a:lnTo>
                    <a:pt x="378" y="930"/>
                  </a:lnTo>
                  <a:lnTo>
                    <a:pt x="378" y="936"/>
                  </a:lnTo>
                  <a:lnTo>
                    <a:pt x="384" y="936"/>
                  </a:lnTo>
                  <a:lnTo>
                    <a:pt x="384" y="942"/>
                  </a:lnTo>
                  <a:lnTo>
                    <a:pt x="402" y="942"/>
                  </a:lnTo>
                  <a:lnTo>
                    <a:pt x="402" y="996"/>
                  </a:lnTo>
                  <a:lnTo>
                    <a:pt x="414" y="996"/>
                  </a:lnTo>
                  <a:lnTo>
                    <a:pt x="420" y="996"/>
                  </a:lnTo>
                  <a:lnTo>
                    <a:pt x="426" y="996"/>
                  </a:lnTo>
                  <a:lnTo>
                    <a:pt x="432" y="996"/>
                  </a:lnTo>
                  <a:lnTo>
                    <a:pt x="438" y="996"/>
                  </a:lnTo>
                  <a:lnTo>
                    <a:pt x="438" y="942"/>
                  </a:lnTo>
                  <a:lnTo>
                    <a:pt x="444" y="930"/>
                  </a:lnTo>
                  <a:lnTo>
                    <a:pt x="444" y="924"/>
                  </a:lnTo>
                  <a:lnTo>
                    <a:pt x="444" y="918"/>
                  </a:lnTo>
                  <a:lnTo>
                    <a:pt x="462" y="918"/>
                  </a:lnTo>
                  <a:lnTo>
                    <a:pt x="474" y="906"/>
                  </a:lnTo>
                  <a:lnTo>
                    <a:pt x="480" y="900"/>
                  </a:lnTo>
                  <a:lnTo>
                    <a:pt x="486" y="888"/>
                  </a:lnTo>
                  <a:lnTo>
                    <a:pt x="492" y="876"/>
                  </a:lnTo>
                  <a:lnTo>
                    <a:pt x="492" y="858"/>
                  </a:lnTo>
                  <a:lnTo>
                    <a:pt x="480" y="858"/>
                  </a:lnTo>
                  <a:lnTo>
                    <a:pt x="474" y="840"/>
                  </a:lnTo>
                  <a:lnTo>
                    <a:pt x="450" y="834"/>
                  </a:lnTo>
                  <a:lnTo>
                    <a:pt x="438" y="816"/>
                  </a:lnTo>
                  <a:lnTo>
                    <a:pt x="432" y="792"/>
                  </a:lnTo>
                  <a:lnTo>
                    <a:pt x="432" y="786"/>
                  </a:lnTo>
                  <a:lnTo>
                    <a:pt x="432" y="774"/>
                  </a:lnTo>
                  <a:lnTo>
                    <a:pt x="432" y="762"/>
                  </a:lnTo>
                  <a:lnTo>
                    <a:pt x="438" y="750"/>
                  </a:lnTo>
                  <a:lnTo>
                    <a:pt x="438" y="738"/>
                  </a:lnTo>
                  <a:lnTo>
                    <a:pt x="444" y="732"/>
                  </a:lnTo>
                  <a:lnTo>
                    <a:pt x="450" y="732"/>
                  </a:lnTo>
                  <a:lnTo>
                    <a:pt x="456" y="732"/>
                  </a:lnTo>
                  <a:lnTo>
                    <a:pt x="456" y="726"/>
                  </a:lnTo>
                  <a:lnTo>
                    <a:pt x="456" y="714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44" y="684"/>
                  </a:lnTo>
                  <a:lnTo>
                    <a:pt x="438" y="666"/>
                  </a:lnTo>
                  <a:lnTo>
                    <a:pt x="426" y="666"/>
                  </a:lnTo>
                  <a:lnTo>
                    <a:pt x="432" y="666"/>
                  </a:lnTo>
                  <a:lnTo>
                    <a:pt x="420" y="666"/>
                  </a:lnTo>
                  <a:lnTo>
                    <a:pt x="414" y="660"/>
                  </a:lnTo>
                  <a:lnTo>
                    <a:pt x="396" y="654"/>
                  </a:lnTo>
                  <a:lnTo>
                    <a:pt x="384" y="642"/>
                  </a:lnTo>
                  <a:lnTo>
                    <a:pt x="366" y="624"/>
                  </a:lnTo>
                  <a:lnTo>
                    <a:pt x="354" y="606"/>
                  </a:lnTo>
                  <a:lnTo>
                    <a:pt x="342" y="588"/>
                  </a:lnTo>
                  <a:lnTo>
                    <a:pt x="342" y="582"/>
                  </a:lnTo>
                  <a:lnTo>
                    <a:pt x="360" y="564"/>
                  </a:lnTo>
                  <a:lnTo>
                    <a:pt x="372" y="540"/>
                  </a:lnTo>
                  <a:lnTo>
                    <a:pt x="366" y="528"/>
                  </a:lnTo>
                  <a:lnTo>
                    <a:pt x="366" y="522"/>
                  </a:lnTo>
                  <a:lnTo>
                    <a:pt x="372" y="516"/>
                  </a:lnTo>
                  <a:lnTo>
                    <a:pt x="384" y="504"/>
                  </a:lnTo>
                  <a:lnTo>
                    <a:pt x="378" y="492"/>
                  </a:lnTo>
                  <a:lnTo>
                    <a:pt x="378" y="486"/>
                  </a:lnTo>
                  <a:lnTo>
                    <a:pt x="378" y="480"/>
                  </a:lnTo>
                  <a:lnTo>
                    <a:pt x="378" y="474"/>
                  </a:lnTo>
                  <a:lnTo>
                    <a:pt x="378" y="468"/>
                  </a:lnTo>
                  <a:lnTo>
                    <a:pt x="366" y="468"/>
                  </a:lnTo>
                  <a:lnTo>
                    <a:pt x="360" y="474"/>
                  </a:lnTo>
                  <a:lnTo>
                    <a:pt x="354" y="480"/>
                  </a:lnTo>
                  <a:lnTo>
                    <a:pt x="348" y="486"/>
                  </a:lnTo>
                  <a:lnTo>
                    <a:pt x="348" y="492"/>
                  </a:lnTo>
                  <a:lnTo>
                    <a:pt x="336" y="510"/>
                  </a:lnTo>
                  <a:lnTo>
                    <a:pt x="300" y="516"/>
                  </a:lnTo>
                  <a:lnTo>
                    <a:pt x="300" y="510"/>
                  </a:lnTo>
                  <a:lnTo>
                    <a:pt x="282" y="504"/>
                  </a:lnTo>
                  <a:lnTo>
                    <a:pt x="282" y="498"/>
                  </a:lnTo>
                  <a:lnTo>
                    <a:pt x="264" y="486"/>
                  </a:lnTo>
                  <a:lnTo>
                    <a:pt x="258" y="492"/>
                  </a:lnTo>
                  <a:lnTo>
                    <a:pt x="234" y="492"/>
                  </a:lnTo>
                  <a:lnTo>
                    <a:pt x="222" y="486"/>
                  </a:lnTo>
                  <a:lnTo>
                    <a:pt x="204" y="480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92" y="462"/>
                  </a:lnTo>
                  <a:lnTo>
                    <a:pt x="186" y="462"/>
                  </a:lnTo>
                  <a:lnTo>
                    <a:pt x="180" y="468"/>
                  </a:lnTo>
                  <a:lnTo>
                    <a:pt x="150" y="450"/>
                  </a:lnTo>
                  <a:lnTo>
                    <a:pt x="144" y="438"/>
                  </a:lnTo>
                  <a:lnTo>
                    <a:pt x="138" y="438"/>
                  </a:lnTo>
                  <a:lnTo>
                    <a:pt x="132" y="432"/>
                  </a:lnTo>
                  <a:lnTo>
                    <a:pt x="126" y="432"/>
                  </a:lnTo>
                  <a:lnTo>
                    <a:pt x="120" y="432"/>
                  </a:lnTo>
                  <a:lnTo>
                    <a:pt x="102" y="426"/>
                  </a:lnTo>
                  <a:lnTo>
                    <a:pt x="96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2" y="414"/>
                  </a:lnTo>
                  <a:lnTo>
                    <a:pt x="60" y="414"/>
                  </a:lnTo>
                  <a:lnTo>
                    <a:pt x="30" y="414"/>
                  </a:lnTo>
                  <a:lnTo>
                    <a:pt x="24" y="414"/>
                  </a:lnTo>
                  <a:lnTo>
                    <a:pt x="12" y="414"/>
                  </a:lnTo>
                  <a:lnTo>
                    <a:pt x="0" y="420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0" y="336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30" y="270"/>
                  </a:lnTo>
                  <a:lnTo>
                    <a:pt x="42" y="270"/>
                  </a:lnTo>
                  <a:lnTo>
                    <a:pt x="54" y="264"/>
                  </a:lnTo>
                  <a:lnTo>
                    <a:pt x="78" y="240"/>
                  </a:lnTo>
                  <a:lnTo>
                    <a:pt x="102" y="216"/>
                  </a:lnTo>
                  <a:lnTo>
                    <a:pt x="114" y="210"/>
                  </a:lnTo>
                  <a:lnTo>
                    <a:pt x="120" y="204"/>
                  </a:lnTo>
                  <a:lnTo>
                    <a:pt x="126" y="198"/>
                  </a:lnTo>
                  <a:lnTo>
                    <a:pt x="138" y="18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38"/>
                  </a:lnTo>
                  <a:lnTo>
                    <a:pt x="210" y="126"/>
                  </a:lnTo>
                  <a:lnTo>
                    <a:pt x="216" y="120"/>
                  </a:lnTo>
                  <a:lnTo>
                    <a:pt x="222" y="120"/>
                  </a:lnTo>
                  <a:lnTo>
                    <a:pt x="258" y="114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300" y="102"/>
                  </a:lnTo>
                  <a:lnTo>
                    <a:pt x="312" y="102"/>
                  </a:lnTo>
                  <a:lnTo>
                    <a:pt x="318" y="102"/>
                  </a:lnTo>
                  <a:lnTo>
                    <a:pt x="348" y="96"/>
                  </a:lnTo>
                  <a:lnTo>
                    <a:pt x="366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408" y="84"/>
                  </a:lnTo>
                  <a:lnTo>
                    <a:pt x="420" y="84"/>
                  </a:lnTo>
                  <a:lnTo>
                    <a:pt x="462" y="72"/>
                  </a:lnTo>
                  <a:lnTo>
                    <a:pt x="474" y="72"/>
                  </a:lnTo>
                  <a:lnTo>
                    <a:pt x="474" y="78"/>
                  </a:lnTo>
                  <a:lnTo>
                    <a:pt x="492" y="90"/>
                  </a:lnTo>
                  <a:lnTo>
                    <a:pt x="498" y="90"/>
                  </a:lnTo>
                  <a:lnTo>
                    <a:pt x="522" y="96"/>
                  </a:lnTo>
                  <a:lnTo>
                    <a:pt x="540" y="96"/>
                  </a:lnTo>
                  <a:lnTo>
                    <a:pt x="546" y="96"/>
                  </a:lnTo>
                  <a:lnTo>
                    <a:pt x="558" y="96"/>
                  </a:lnTo>
                  <a:lnTo>
                    <a:pt x="564" y="96"/>
                  </a:lnTo>
                  <a:lnTo>
                    <a:pt x="576" y="96"/>
                  </a:lnTo>
                  <a:lnTo>
                    <a:pt x="588" y="96"/>
                  </a:lnTo>
                  <a:lnTo>
                    <a:pt x="612" y="90"/>
                  </a:lnTo>
                  <a:lnTo>
                    <a:pt x="624" y="90"/>
                  </a:lnTo>
                  <a:lnTo>
                    <a:pt x="636" y="90"/>
                  </a:lnTo>
                  <a:lnTo>
                    <a:pt x="642" y="90"/>
                  </a:lnTo>
                  <a:lnTo>
                    <a:pt x="648" y="96"/>
                  </a:lnTo>
                  <a:lnTo>
                    <a:pt x="660" y="96"/>
                  </a:lnTo>
                  <a:lnTo>
                    <a:pt x="666" y="96"/>
                  </a:lnTo>
                  <a:lnTo>
                    <a:pt x="672" y="96"/>
                  </a:lnTo>
                  <a:lnTo>
                    <a:pt x="684" y="96"/>
                  </a:lnTo>
                  <a:lnTo>
                    <a:pt x="708" y="96"/>
                  </a:lnTo>
                  <a:lnTo>
                    <a:pt x="714" y="96"/>
                  </a:lnTo>
                  <a:lnTo>
                    <a:pt x="726" y="96"/>
                  </a:lnTo>
                  <a:lnTo>
                    <a:pt x="738" y="84"/>
                  </a:lnTo>
                  <a:lnTo>
                    <a:pt x="744" y="78"/>
                  </a:lnTo>
                  <a:lnTo>
                    <a:pt x="756" y="66"/>
                  </a:lnTo>
                  <a:lnTo>
                    <a:pt x="774" y="42"/>
                  </a:lnTo>
                  <a:lnTo>
                    <a:pt x="780" y="30"/>
                  </a:lnTo>
                  <a:lnTo>
                    <a:pt x="816" y="24"/>
                  </a:lnTo>
                  <a:lnTo>
                    <a:pt x="840" y="18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64" y="6"/>
                  </a:lnTo>
                  <a:lnTo>
                    <a:pt x="870" y="6"/>
                  </a:lnTo>
                  <a:lnTo>
                    <a:pt x="894" y="0"/>
                  </a:lnTo>
                  <a:lnTo>
                    <a:pt x="900" y="6"/>
                  </a:lnTo>
                  <a:lnTo>
                    <a:pt x="930" y="18"/>
                  </a:lnTo>
                  <a:lnTo>
                    <a:pt x="942" y="24"/>
                  </a:lnTo>
                  <a:lnTo>
                    <a:pt x="954" y="30"/>
                  </a:lnTo>
                  <a:lnTo>
                    <a:pt x="1026" y="60"/>
                  </a:lnTo>
                  <a:lnTo>
                    <a:pt x="1032" y="60"/>
                  </a:lnTo>
                  <a:lnTo>
                    <a:pt x="1038" y="66"/>
                  </a:lnTo>
                  <a:lnTo>
                    <a:pt x="1068" y="72"/>
                  </a:lnTo>
                  <a:lnTo>
                    <a:pt x="1098" y="84"/>
                  </a:lnTo>
                  <a:lnTo>
                    <a:pt x="1122" y="90"/>
                  </a:lnTo>
                  <a:lnTo>
                    <a:pt x="1122" y="96"/>
                  </a:lnTo>
                  <a:lnTo>
                    <a:pt x="1140" y="102"/>
                  </a:lnTo>
                  <a:lnTo>
                    <a:pt x="1182" y="114"/>
                  </a:lnTo>
                  <a:lnTo>
                    <a:pt x="1188" y="114"/>
                  </a:lnTo>
                  <a:lnTo>
                    <a:pt x="1200" y="120"/>
                  </a:lnTo>
                  <a:lnTo>
                    <a:pt x="1212" y="126"/>
                  </a:lnTo>
                  <a:lnTo>
                    <a:pt x="1224" y="126"/>
                  </a:lnTo>
                  <a:lnTo>
                    <a:pt x="1248" y="138"/>
                  </a:lnTo>
                  <a:lnTo>
                    <a:pt x="1272" y="150"/>
                  </a:lnTo>
                  <a:lnTo>
                    <a:pt x="1284" y="156"/>
                  </a:lnTo>
                  <a:lnTo>
                    <a:pt x="1290" y="162"/>
                  </a:lnTo>
                  <a:lnTo>
                    <a:pt x="1296" y="162"/>
                  </a:lnTo>
                  <a:lnTo>
                    <a:pt x="1308" y="156"/>
                  </a:lnTo>
                  <a:lnTo>
                    <a:pt x="1320" y="150"/>
                  </a:lnTo>
                  <a:lnTo>
                    <a:pt x="1326" y="150"/>
                  </a:lnTo>
                  <a:lnTo>
                    <a:pt x="1338" y="144"/>
                  </a:lnTo>
                  <a:lnTo>
                    <a:pt x="1362" y="144"/>
                  </a:lnTo>
                  <a:lnTo>
                    <a:pt x="1368" y="144"/>
                  </a:lnTo>
                  <a:lnTo>
                    <a:pt x="1374" y="144"/>
                  </a:lnTo>
                  <a:lnTo>
                    <a:pt x="1386" y="150"/>
                  </a:lnTo>
                  <a:lnTo>
                    <a:pt x="1392" y="150"/>
                  </a:lnTo>
                  <a:lnTo>
                    <a:pt x="1398" y="150"/>
                  </a:lnTo>
                  <a:lnTo>
                    <a:pt x="1416" y="162"/>
                  </a:lnTo>
                  <a:lnTo>
                    <a:pt x="1458" y="186"/>
                  </a:lnTo>
                  <a:lnTo>
                    <a:pt x="1464" y="186"/>
                  </a:lnTo>
                  <a:lnTo>
                    <a:pt x="1470" y="192"/>
                  </a:lnTo>
                  <a:lnTo>
                    <a:pt x="1482" y="204"/>
                  </a:lnTo>
                  <a:lnTo>
                    <a:pt x="1512" y="234"/>
                  </a:lnTo>
                  <a:lnTo>
                    <a:pt x="1554" y="276"/>
                  </a:lnTo>
                  <a:lnTo>
                    <a:pt x="1560" y="276"/>
                  </a:lnTo>
                  <a:lnTo>
                    <a:pt x="1566" y="282"/>
                  </a:lnTo>
                  <a:lnTo>
                    <a:pt x="1578" y="294"/>
                  </a:lnTo>
                  <a:lnTo>
                    <a:pt x="1602" y="318"/>
                  </a:lnTo>
                  <a:lnTo>
                    <a:pt x="1614" y="330"/>
                  </a:lnTo>
                  <a:lnTo>
                    <a:pt x="1620" y="336"/>
                  </a:lnTo>
                  <a:lnTo>
                    <a:pt x="1626" y="342"/>
                  </a:lnTo>
                  <a:lnTo>
                    <a:pt x="1632" y="354"/>
                  </a:lnTo>
                  <a:lnTo>
                    <a:pt x="1644" y="366"/>
                  </a:lnTo>
                  <a:lnTo>
                    <a:pt x="1650" y="378"/>
                  </a:lnTo>
                  <a:lnTo>
                    <a:pt x="1650" y="384"/>
                  </a:lnTo>
                  <a:lnTo>
                    <a:pt x="1656" y="384"/>
                  </a:lnTo>
                  <a:lnTo>
                    <a:pt x="1662" y="402"/>
                  </a:lnTo>
                  <a:lnTo>
                    <a:pt x="1668" y="408"/>
                  </a:lnTo>
                  <a:lnTo>
                    <a:pt x="1674" y="426"/>
                  </a:lnTo>
                  <a:lnTo>
                    <a:pt x="1686" y="438"/>
                  </a:lnTo>
                  <a:lnTo>
                    <a:pt x="1698" y="46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9" name="Freeform 34">
              <a:extLst>
                <a:ext uri="{FF2B5EF4-FFF2-40B4-BE49-F238E27FC236}">
                  <a16:creationId xmlns:a16="http://schemas.microsoft.com/office/drawing/2014/main" id="{94603F24-8CF7-4226-A433-00D18CA7D9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1988" y="1681402"/>
              <a:ext cx="869877" cy="1060101"/>
            </a:xfrm>
            <a:custGeom>
              <a:avLst/>
              <a:gdLst>
                <a:gd name="T0" fmla="*/ 4 w 1638"/>
                <a:gd name="T1" fmla="*/ 111 h 1998"/>
                <a:gd name="T2" fmla="*/ 6 w 1638"/>
                <a:gd name="T3" fmla="*/ 87 h 1998"/>
                <a:gd name="T4" fmla="*/ 10 w 1638"/>
                <a:gd name="T5" fmla="*/ 80 h 1998"/>
                <a:gd name="T6" fmla="*/ 10 w 1638"/>
                <a:gd name="T7" fmla="*/ 71 h 1998"/>
                <a:gd name="T8" fmla="*/ 9 w 1638"/>
                <a:gd name="T9" fmla="*/ 56 h 1998"/>
                <a:gd name="T10" fmla="*/ 8 w 1638"/>
                <a:gd name="T11" fmla="*/ 40 h 1998"/>
                <a:gd name="T12" fmla="*/ 20 w 1638"/>
                <a:gd name="T13" fmla="*/ 30 h 1998"/>
                <a:gd name="T14" fmla="*/ 30 w 1638"/>
                <a:gd name="T15" fmla="*/ 19 h 1998"/>
                <a:gd name="T16" fmla="*/ 35 w 1638"/>
                <a:gd name="T17" fmla="*/ 2 h 1998"/>
                <a:gd name="T18" fmla="*/ 47 w 1638"/>
                <a:gd name="T19" fmla="*/ 2 h 1998"/>
                <a:gd name="T20" fmla="*/ 56 w 1638"/>
                <a:gd name="T21" fmla="*/ 7 h 1998"/>
                <a:gd name="T22" fmla="*/ 67 w 1638"/>
                <a:gd name="T23" fmla="*/ 5 h 1998"/>
                <a:gd name="T24" fmla="*/ 65 w 1638"/>
                <a:gd name="T25" fmla="*/ 15 h 1998"/>
                <a:gd name="T26" fmla="*/ 74 w 1638"/>
                <a:gd name="T27" fmla="*/ 24 h 1998"/>
                <a:gd name="T28" fmla="*/ 73 w 1638"/>
                <a:gd name="T29" fmla="*/ 33 h 1998"/>
                <a:gd name="T30" fmla="*/ 74 w 1638"/>
                <a:gd name="T31" fmla="*/ 44 h 1998"/>
                <a:gd name="T32" fmla="*/ 68 w 1638"/>
                <a:gd name="T33" fmla="*/ 45 h 1998"/>
                <a:gd name="T34" fmla="*/ 63 w 1638"/>
                <a:gd name="T35" fmla="*/ 50 h 1998"/>
                <a:gd name="T36" fmla="*/ 61 w 1638"/>
                <a:gd name="T37" fmla="*/ 62 h 1998"/>
                <a:gd name="T38" fmla="*/ 53 w 1638"/>
                <a:gd name="T39" fmla="*/ 86 h 1998"/>
                <a:gd name="T40" fmla="*/ 59 w 1638"/>
                <a:gd name="T41" fmla="*/ 90 h 1998"/>
                <a:gd name="T42" fmla="*/ 65 w 1638"/>
                <a:gd name="T43" fmla="*/ 86 h 1998"/>
                <a:gd name="T44" fmla="*/ 74 w 1638"/>
                <a:gd name="T45" fmla="*/ 84 h 1998"/>
                <a:gd name="T46" fmla="*/ 79 w 1638"/>
                <a:gd name="T47" fmla="*/ 85 h 1998"/>
                <a:gd name="T48" fmla="*/ 84 w 1638"/>
                <a:gd name="T49" fmla="*/ 84 h 1998"/>
                <a:gd name="T50" fmla="*/ 91 w 1638"/>
                <a:gd name="T51" fmla="*/ 84 h 1998"/>
                <a:gd name="T52" fmla="*/ 94 w 1638"/>
                <a:gd name="T53" fmla="*/ 81 h 1998"/>
                <a:gd name="T54" fmla="*/ 100 w 1638"/>
                <a:gd name="T55" fmla="*/ 81 h 1998"/>
                <a:gd name="T56" fmla="*/ 102 w 1638"/>
                <a:gd name="T57" fmla="*/ 84 h 1998"/>
                <a:gd name="T58" fmla="*/ 108 w 1638"/>
                <a:gd name="T59" fmla="*/ 85 h 1998"/>
                <a:gd name="T60" fmla="*/ 113 w 1638"/>
                <a:gd name="T61" fmla="*/ 88 h 1998"/>
                <a:gd name="T62" fmla="*/ 116 w 1638"/>
                <a:gd name="T63" fmla="*/ 88 h 1998"/>
                <a:gd name="T64" fmla="*/ 123 w 1638"/>
                <a:gd name="T65" fmla="*/ 87 h 1998"/>
                <a:gd name="T66" fmla="*/ 128 w 1638"/>
                <a:gd name="T67" fmla="*/ 86 h 1998"/>
                <a:gd name="T68" fmla="*/ 132 w 1638"/>
                <a:gd name="T69" fmla="*/ 90 h 1998"/>
                <a:gd name="T70" fmla="*/ 138 w 1638"/>
                <a:gd name="T71" fmla="*/ 96 h 1998"/>
                <a:gd name="T72" fmla="*/ 138 w 1638"/>
                <a:gd name="T73" fmla="*/ 110 h 1998"/>
                <a:gd name="T74" fmla="*/ 137 w 1638"/>
                <a:gd name="T75" fmla="*/ 118 h 1998"/>
                <a:gd name="T76" fmla="*/ 133 w 1638"/>
                <a:gd name="T77" fmla="*/ 124 h 1998"/>
                <a:gd name="T78" fmla="*/ 122 w 1638"/>
                <a:gd name="T79" fmla="*/ 125 h 1998"/>
                <a:gd name="T80" fmla="*/ 116 w 1638"/>
                <a:gd name="T81" fmla="*/ 127 h 1998"/>
                <a:gd name="T82" fmla="*/ 108 w 1638"/>
                <a:gd name="T83" fmla="*/ 123 h 1998"/>
                <a:gd name="T84" fmla="*/ 109 w 1638"/>
                <a:gd name="T85" fmla="*/ 119 h 1998"/>
                <a:gd name="T86" fmla="*/ 104 w 1638"/>
                <a:gd name="T87" fmla="*/ 104 h 1998"/>
                <a:gd name="T88" fmla="*/ 94 w 1638"/>
                <a:gd name="T89" fmla="*/ 105 h 1998"/>
                <a:gd name="T90" fmla="*/ 88 w 1638"/>
                <a:gd name="T91" fmla="*/ 109 h 1998"/>
                <a:gd name="T92" fmla="*/ 76 w 1638"/>
                <a:gd name="T93" fmla="*/ 107 h 1998"/>
                <a:gd name="T94" fmla="*/ 72 w 1638"/>
                <a:gd name="T95" fmla="*/ 114 h 1998"/>
                <a:gd name="T96" fmla="*/ 86 w 1638"/>
                <a:gd name="T97" fmla="*/ 121 h 1998"/>
                <a:gd name="T98" fmla="*/ 87 w 1638"/>
                <a:gd name="T99" fmla="*/ 129 h 1998"/>
                <a:gd name="T100" fmla="*/ 86 w 1638"/>
                <a:gd name="T101" fmla="*/ 137 h 1998"/>
                <a:gd name="T102" fmla="*/ 79 w 1638"/>
                <a:gd name="T103" fmla="*/ 141 h 1998"/>
                <a:gd name="T104" fmla="*/ 73 w 1638"/>
                <a:gd name="T105" fmla="*/ 144 h 1998"/>
                <a:gd name="T106" fmla="*/ 72 w 1638"/>
                <a:gd name="T107" fmla="*/ 164 h 1998"/>
                <a:gd name="T108" fmla="*/ 68 w 1638"/>
                <a:gd name="T109" fmla="*/ 172 h 1998"/>
                <a:gd name="T110" fmla="*/ 59 w 1638"/>
                <a:gd name="T111" fmla="*/ 164 h 1998"/>
                <a:gd name="T112" fmla="*/ 65 w 1638"/>
                <a:gd name="T113" fmla="*/ 146 h 1998"/>
                <a:gd name="T114" fmla="*/ 69 w 1638"/>
                <a:gd name="T115" fmla="*/ 133 h 1998"/>
                <a:gd name="T116" fmla="*/ 61 w 1638"/>
                <a:gd name="T117" fmla="*/ 131 h 1998"/>
                <a:gd name="T118" fmla="*/ 43 w 1638"/>
                <a:gd name="T119" fmla="*/ 125 h 1998"/>
                <a:gd name="T120" fmla="*/ 23 w 1638"/>
                <a:gd name="T121" fmla="*/ 125 h 1998"/>
                <a:gd name="T122" fmla="*/ 17 w 1638"/>
                <a:gd name="T123" fmla="*/ 121 h 19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638"/>
                <a:gd name="T187" fmla="*/ 0 h 1998"/>
                <a:gd name="T188" fmla="*/ 1638 w 1638"/>
                <a:gd name="T189" fmla="*/ 1998 h 19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638" h="1998">
                  <a:moveTo>
                    <a:pt x="144" y="1380"/>
                  </a:moveTo>
                  <a:lnTo>
                    <a:pt x="150" y="1368"/>
                  </a:lnTo>
                  <a:lnTo>
                    <a:pt x="150" y="1362"/>
                  </a:lnTo>
                  <a:lnTo>
                    <a:pt x="150" y="1356"/>
                  </a:lnTo>
                  <a:lnTo>
                    <a:pt x="144" y="1356"/>
                  </a:lnTo>
                  <a:lnTo>
                    <a:pt x="138" y="1356"/>
                  </a:lnTo>
                  <a:lnTo>
                    <a:pt x="126" y="1356"/>
                  </a:lnTo>
                  <a:lnTo>
                    <a:pt x="114" y="1344"/>
                  </a:lnTo>
                  <a:lnTo>
                    <a:pt x="84" y="1320"/>
                  </a:lnTo>
                  <a:lnTo>
                    <a:pt x="54" y="1296"/>
                  </a:lnTo>
                  <a:lnTo>
                    <a:pt x="48" y="1290"/>
                  </a:lnTo>
                  <a:lnTo>
                    <a:pt x="42" y="1278"/>
                  </a:lnTo>
                  <a:lnTo>
                    <a:pt x="30" y="1272"/>
                  </a:lnTo>
                  <a:lnTo>
                    <a:pt x="0" y="1248"/>
                  </a:lnTo>
                  <a:lnTo>
                    <a:pt x="6" y="1230"/>
                  </a:lnTo>
                  <a:lnTo>
                    <a:pt x="12" y="1194"/>
                  </a:lnTo>
                  <a:lnTo>
                    <a:pt x="18" y="1170"/>
                  </a:lnTo>
                  <a:lnTo>
                    <a:pt x="30" y="1134"/>
                  </a:lnTo>
                  <a:lnTo>
                    <a:pt x="36" y="1086"/>
                  </a:lnTo>
                  <a:lnTo>
                    <a:pt x="42" y="1050"/>
                  </a:lnTo>
                  <a:lnTo>
                    <a:pt x="48" y="1044"/>
                  </a:lnTo>
                  <a:lnTo>
                    <a:pt x="54" y="1026"/>
                  </a:lnTo>
                  <a:lnTo>
                    <a:pt x="60" y="1014"/>
                  </a:lnTo>
                  <a:lnTo>
                    <a:pt x="66" y="1002"/>
                  </a:lnTo>
                  <a:lnTo>
                    <a:pt x="66" y="996"/>
                  </a:lnTo>
                  <a:lnTo>
                    <a:pt x="72" y="996"/>
                  </a:lnTo>
                  <a:lnTo>
                    <a:pt x="72" y="990"/>
                  </a:lnTo>
                  <a:lnTo>
                    <a:pt x="78" y="990"/>
                  </a:lnTo>
                  <a:lnTo>
                    <a:pt x="90" y="978"/>
                  </a:lnTo>
                  <a:lnTo>
                    <a:pt x="96" y="966"/>
                  </a:lnTo>
                  <a:lnTo>
                    <a:pt x="102" y="966"/>
                  </a:lnTo>
                  <a:lnTo>
                    <a:pt x="114" y="954"/>
                  </a:lnTo>
                  <a:lnTo>
                    <a:pt x="120" y="954"/>
                  </a:lnTo>
                  <a:lnTo>
                    <a:pt x="120" y="948"/>
                  </a:lnTo>
                  <a:lnTo>
                    <a:pt x="114" y="930"/>
                  </a:lnTo>
                  <a:lnTo>
                    <a:pt x="114" y="924"/>
                  </a:lnTo>
                  <a:lnTo>
                    <a:pt x="108" y="918"/>
                  </a:lnTo>
                  <a:lnTo>
                    <a:pt x="102" y="912"/>
                  </a:lnTo>
                  <a:lnTo>
                    <a:pt x="90" y="906"/>
                  </a:lnTo>
                  <a:lnTo>
                    <a:pt x="84" y="900"/>
                  </a:lnTo>
                  <a:lnTo>
                    <a:pt x="84" y="888"/>
                  </a:lnTo>
                  <a:lnTo>
                    <a:pt x="84" y="882"/>
                  </a:lnTo>
                  <a:lnTo>
                    <a:pt x="78" y="858"/>
                  </a:lnTo>
                  <a:lnTo>
                    <a:pt x="78" y="852"/>
                  </a:lnTo>
                  <a:lnTo>
                    <a:pt x="84" y="846"/>
                  </a:lnTo>
                  <a:lnTo>
                    <a:pt x="84" y="840"/>
                  </a:lnTo>
                  <a:lnTo>
                    <a:pt x="96" y="828"/>
                  </a:lnTo>
                  <a:lnTo>
                    <a:pt x="114" y="816"/>
                  </a:lnTo>
                  <a:lnTo>
                    <a:pt x="114" y="810"/>
                  </a:lnTo>
                  <a:lnTo>
                    <a:pt x="114" y="804"/>
                  </a:lnTo>
                  <a:lnTo>
                    <a:pt x="108" y="780"/>
                  </a:lnTo>
                  <a:lnTo>
                    <a:pt x="96" y="756"/>
                  </a:lnTo>
                  <a:lnTo>
                    <a:pt x="96" y="750"/>
                  </a:lnTo>
                  <a:lnTo>
                    <a:pt x="90" y="720"/>
                  </a:lnTo>
                  <a:lnTo>
                    <a:pt x="90" y="708"/>
                  </a:lnTo>
                  <a:lnTo>
                    <a:pt x="90" y="690"/>
                  </a:lnTo>
                  <a:lnTo>
                    <a:pt x="96" y="672"/>
                  </a:lnTo>
                  <a:lnTo>
                    <a:pt x="90" y="666"/>
                  </a:lnTo>
                  <a:lnTo>
                    <a:pt x="96" y="666"/>
                  </a:lnTo>
                  <a:lnTo>
                    <a:pt x="102" y="642"/>
                  </a:lnTo>
                  <a:lnTo>
                    <a:pt x="108" y="624"/>
                  </a:lnTo>
                  <a:lnTo>
                    <a:pt x="102" y="618"/>
                  </a:lnTo>
                  <a:lnTo>
                    <a:pt x="102" y="588"/>
                  </a:lnTo>
                  <a:lnTo>
                    <a:pt x="102" y="564"/>
                  </a:lnTo>
                  <a:lnTo>
                    <a:pt x="102" y="546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0"/>
                  </a:lnTo>
                  <a:lnTo>
                    <a:pt x="96" y="498"/>
                  </a:lnTo>
                  <a:lnTo>
                    <a:pt x="96" y="486"/>
                  </a:lnTo>
                  <a:lnTo>
                    <a:pt x="96" y="474"/>
                  </a:lnTo>
                  <a:lnTo>
                    <a:pt x="96" y="462"/>
                  </a:lnTo>
                  <a:lnTo>
                    <a:pt x="114" y="450"/>
                  </a:lnTo>
                  <a:lnTo>
                    <a:pt x="126" y="438"/>
                  </a:lnTo>
                  <a:lnTo>
                    <a:pt x="132" y="432"/>
                  </a:lnTo>
                  <a:lnTo>
                    <a:pt x="144" y="426"/>
                  </a:lnTo>
                  <a:lnTo>
                    <a:pt x="144" y="420"/>
                  </a:lnTo>
                  <a:lnTo>
                    <a:pt x="156" y="414"/>
                  </a:lnTo>
                  <a:lnTo>
                    <a:pt x="162" y="408"/>
                  </a:lnTo>
                  <a:lnTo>
                    <a:pt x="180" y="396"/>
                  </a:lnTo>
                  <a:lnTo>
                    <a:pt x="210" y="372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34" y="348"/>
                  </a:lnTo>
                  <a:lnTo>
                    <a:pt x="240" y="348"/>
                  </a:lnTo>
                  <a:lnTo>
                    <a:pt x="246" y="342"/>
                  </a:lnTo>
                  <a:lnTo>
                    <a:pt x="276" y="318"/>
                  </a:lnTo>
                  <a:lnTo>
                    <a:pt x="282" y="312"/>
                  </a:lnTo>
                  <a:lnTo>
                    <a:pt x="288" y="306"/>
                  </a:lnTo>
                  <a:lnTo>
                    <a:pt x="300" y="288"/>
                  </a:lnTo>
                  <a:lnTo>
                    <a:pt x="306" y="276"/>
                  </a:lnTo>
                  <a:lnTo>
                    <a:pt x="324" y="246"/>
                  </a:lnTo>
                  <a:lnTo>
                    <a:pt x="330" y="240"/>
                  </a:lnTo>
                  <a:lnTo>
                    <a:pt x="336" y="234"/>
                  </a:lnTo>
                  <a:lnTo>
                    <a:pt x="342" y="228"/>
                  </a:lnTo>
                  <a:lnTo>
                    <a:pt x="342" y="216"/>
                  </a:lnTo>
                  <a:lnTo>
                    <a:pt x="354" y="204"/>
                  </a:lnTo>
                  <a:lnTo>
                    <a:pt x="360" y="204"/>
                  </a:lnTo>
                  <a:lnTo>
                    <a:pt x="366" y="186"/>
                  </a:lnTo>
                  <a:lnTo>
                    <a:pt x="384" y="162"/>
                  </a:lnTo>
                  <a:lnTo>
                    <a:pt x="390" y="144"/>
                  </a:lnTo>
                  <a:lnTo>
                    <a:pt x="396" y="114"/>
                  </a:lnTo>
                  <a:lnTo>
                    <a:pt x="396" y="102"/>
                  </a:lnTo>
                  <a:lnTo>
                    <a:pt x="402" y="90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08" y="36"/>
                  </a:lnTo>
                  <a:lnTo>
                    <a:pt x="408" y="24"/>
                  </a:lnTo>
                  <a:lnTo>
                    <a:pt x="408" y="6"/>
                  </a:lnTo>
                  <a:lnTo>
                    <a:pt x="420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68" y="0"/>
                  </a:lnTo>
                  <a:lnTo>
                    <a:pt x="480" y="0"/>
                  </a:lnTo>
                  <a:lnTo>
                    <a:pt x="492" y="0"/>
                  </a:lnTo>
                  <a:lnTo>
                    <a:pt x="498" y="0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8" y="18"/>
                  </a:lnTo>
                  <a:lnTo>
                    <a:pt x="534" y="18"/>
                  </a:lnTo>
                  <a:lnTo>
                    <a:pt x="540" y="18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8" y="36"/>
                  </a:lnTo>
                  <a:lnTo>
                    <a:pt x="588" y="54"/>
                  </a:lnTo>
                  <a:lnTo>
                    <a:pt x="594" y="48"/>
                  </a:lnTo>
                  <a:lnTo>
                    <a:pt x="600" y="48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12" y="66"/>
                  </a:lnTo>
                  <a:lnTo>
                    <a:pt x="630" y="72"/>
                  </a:lnTo>
                  <a:lnTo>
                    <a:pt x="642" y="78"/>
                  </a:lnTo>
                  <a:lnTo>
                    <a:pt x="666" y="78"/>
                  </a:lnTo>
                  <a:lnTo>
                    <a:pt x="672" y="72"/>
                  </a:lnTo>
                  <a:lnTo>
                    <a:pt x="690" y="84"/>
                  </a:lnTo>
                  <a:lnTo>
                    <a:pt x="690" y="90"/>
                  </a:lnTo>
                  <a:lnTo>
                    <a:pt x="708" y="96"/>
                  </a:lnTo>
                  <a:lnTo>
                    <a:pt x="708" y="102"/>
                  </a:lnTo>
                  <a:lnTo>
                    <a:pt x="744" y="96"/>
                  </a:lnTo>
                  <a:lnTo>
                    <a:pt x="756" y="78"/>
                  </a:lnTo>
                  <a:lnTo>
                    <a:pt x="756" y="72"/>
                  </a:lnTo>
                  <a:lnTo>
                    <a:pt x="762" y="66"/>
                  </a:lnTo>
                  <a:lnTo>
                    <a:pt x="768" y="60"/>
                  </a:lnTo>
                  <a:lnTo>
                    <a:pt x="774" y="54"/>
                  </a:lnTo>
                  <a:lnTo>
                    <a:pt x="786" y="54"/>
                  </a:lnTo>
                  <a:lnTo>
                    <a:pt x="786" y="60"/>
                  </a:lnTo>
                  <a:lnTo>
                    <a:pt x="786" y="66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92" y="90"/>
                  </a:lnTo>
                  <a:lnTo>
                    <a:pt x="780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26"/>
                  </a:lnTo>
                  <a:lnTo>
                    <a:pt x="768" y="150"/>
                  </a:lnTo>
                  <a:lnTo>
                    <a:pt x="750" y="168"/>
                  </a:lnTo>
                  <a:lnTo>
                    <a:pt x="750" y="174"/>
                  </a:lnTo>
                  <a:lnTo>
                    <a:pt x="762" y="192"/>
                  </a:lnTo>
                  <a:lnTo>
                    <a:pt x="774" y="210"/>
                  </a:lnTo>
                  <a:lnTo>
                    <a:pt x="792" y="228"/>
                  </a:lnTo>
                  <a:lnTo>
                    <a:pt x="804" y="240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40" y="252"/>
                  </a:lnTo>
                  <a:lnTo>
                    <a:pt x="834" y="252"/>
                  </a:lnTo>
                  <a:lnTo>
                    <a:pt x="846" y="252"/>
                  </a:lnTo>
                  <a:lnTo>
                    <a:pt x="852" y="270"/>
                  </a:lnTo>
                  <a:lnTo>
                    <a:pt x="858" y="282"/>
                  </a:lnTo>
                  <a:lnTo>
                    <a:pt x="858" y="288"/>
                  </a:lnTo>
                  <a:lnTo>
                    <a:pt x="864" y="300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58" y="318"/>
                  </a:lnTo>
                  <a:lnTo>
                    <a:pt x="852" y="318"/>
                  </a:lnTo>
                  <a:lnTo>
                    <a:pt x="846" y="324"/>
                  </a:lnTo>
                  <a:lnTo>
                    <a:pt x="846" y="336"/>
                  </a:lnTo>
                  <a:lnTo>
                    <a:pt x="840" y="348"/>
                  </a:lnTo>
                  <a:lnTo>
                    <a:pt x="840" y="360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46" y="402"/>
                  </a:lnTo>
                  <a:lnTo>
                    <a:pt x="858" y="420"/>
                  </a:lnTo>
                  <a:lnTo>
                    <a:pt x="882" y="426"/>
                  </a:lnTo>
                  <a:lnTo>
                    <a:pt x="888" y="444"/>
                  </a:lnTo>
                  <a:lnTo>
                    <a:pt x="900" y="444"/>
                  </a:lnTo>
                  <a:lnTo>
                    <a:pt x="900" y="462"/>
                  </a:lnTo>
                  <a:lnTo>
                    <a:pt x="894" y="474"/>
                  </a:lnTo>
                  <a:lnTo>
                    <a:pt x="888" y="486"/>
                  </a:lnTo>
                  <a:lnTo>
                    <a:pt x="882" y="492"/>
                  </a:lnTo>
                  <a:lnTo>
                    <a:pt x="870" y="504"/>
                  </a:lnTo>
                  <a:lnTo>
                    <a:pt x="852" y="504"/>
                  </a:lnTo>
                  <a:lnTo>
                    <a:pt x="852" y="510"/>
                  </a:lnTo>
                  <a:lnTo>
                    <a:pt x="852" y="516"/>
                  </a:lnTo>
                  <a:lnTo>
                    <a:pt x="846" y="528"/>
                  </a:lnTo>
                  <a:lnTo>
                    <a:pt x="846" y="582"/>
                  </a:lnTo>
                  <a:lnTo>
                    <a:pt x="840" y="582"/>
                  </a:lnTo>
                  <a:lnTo>
                    <a:pt x="834" y="582"/>
                  </a:lnTo>
                  <a:lnTo>
                    <a:pt x="828" y="582"/>
                  </a:lnTo>
                  <a:lnTo>
                    <a:pt x="822" y="582"/>
                  </a:lnTo>
                  <a:lnTo>
                    <a:pt x="810" y="582"/>
                  </a:lnTo>
                  <a:lnTo>
                    <a:pt x="810" y="528"/>
                  </a:lnTo>
                  <a:lnTo>
                    <a:pt x="792" y="528"/>
                  </a:lnTo>
                  <a:lnTo>
                    <a:pt x="792" y="522"/>
                  </a:lnTo>
                  <a:lnTo>
                    <a:pt x="786" y="522"/>
                  </a:lnTo>
                  <a:lnTo>
                    <a:pt x="786" y="516"/>
                  </a:lnTo>
                  <a:lnTo>
                    <a:pt x="780" y="516"/>
                  </a:lnTo>
                  <a:lnTo>
                    <a:pt x="780" y="510"/>
                  </a:lnTo>
                  <a:lnTo>
                    <a:pt x="762" y="510"/>
                  </a:lnTo>
                  <a:lnTo>
                    <a:pt x="756" y="510"/>
                  </a:lnTo>
                  <a:lnTo>
                    <a:pt x="750" y="522"/>
                  </a:lnTo>
                  <a:lnTo>
                    <a:pt x="744" y="534"/>
                  </a:lnTo>
                  <a:lnTo>
                    <a:pt x="732" y="540"/>
                  </a:lnTo>
                  <a:lnTo>
                    <a:pt x="732" y="558"/>
                  </a:lnTo>
                  <a:lnTo>
                    <a:pt x="732" y="564"/>
                  </a:lnTo>
                  <a:lnTo>
                    <a:pt x="732" y="570"/>
                  </a:lnTo>
                  <a:lnTo>
                    <a:pt x="726" y="576"/>
                  </a:lnTo>
                  <a:lnTo>
                    <a:pt x="720" y="576"/>
                  </a:lnTo>
                  <a:lnTo>
                    <a:pt x="714" y="582"/>
                  </a:lnTo>
                  <a:lnTo>
                    <a:pt x="702" y="588"/>
                  </a:lnTo>
                  <a:lnTo>
                    <a:pt x="696" y="594"/>
                  </a:lnTo>
                  <a:lnTo>
                    <a:pt x="690" y="600"/>
                  </a:lnTo>
                  <a:lnTo>
                    <a:pt x="690" y="606"/>
                  </a:lnTo>
                  <a:lnTo>
                    <a:pt x="678" y="606"/>
                  </a:lnTo>
                  <a:lnTo>
                    <a:pt x="678" y="624"/>
                  </a:lnTo>
                  <a:lnTo>
                    <a:pt x="684" y="642"/>
                  </a:lnTo>
                  <a:lnTo>
                    <a:pt x="684" y="660"/>
                  </a:lnTo>
                  <a:lnTo>
                    <a:pt x="690" y="672"/>
                  </a:lnTo>
                  <a:lnTo>
                    <a:pt x="702" y="720"/>
                  </a:lnTo>
                  <a:lnTo>
                    <a:pt x="708" y="750"/>
                  </a:lnTo>
                  <a:lnTo>
                    <a:pt x="708" y="792"/>
                  </a:lnTo>
                  <a:lnTo>
                    <a:pt x="708" y="828"/>
                  </a:lnTo>
                  <a:lnTo>
                    <a:pt x="708" y="852"/>
                  </a:lnTo>
                  <a:lnTo>
                    <a:pt x="696" y="894"/>
                  </a:lnTo>
                  <a:lnTo>
                    <a:pt x="702" y="900"/>
                  </a:lnTo>
                  <a:lnTo>
                    <a:pt x="708" y="924"/>
                  </a:lnTo>
                  <a:lnTo>
                    <a:pt x="684" y="936"/>
                  </a:lnTo>
                  <a:lnTo>
                    <a:pt x="660" y="954"/>
                  </a:lnTo>
                  <a:lnTo>
                    <a:pt x="618" y="984"/>
                  </a:lnTo>
                  <a:lnTo>
                    <a:pt x="618" y="990"/>
                  </a:lnTo>
                  <a:lnTo>
                    <a:pt x="612" y="996"/>
                  </a:lnTo>
                  <a:lnTo>
                    <a:pt x="606" y="1002"/>
                  </a:lnTo>
                  <a:lnTo>
                    <a:pt x="618" y="1008"/>
                  </a:lnTo>
                  <a:lnTo>
                    <a:pt x="618" y="1014"/>
                  </a:lnTo>
                  <a:lnTo>
                    <a:pt x="624" y="1026"/>
                  </a:lnTo>
                  <a:lnTo>
                    <a:pt x="630" y="1026"/>
                  </a:lnTo>
                  <a:lnTo>
                    <a:pt x="636" y="1032"/>
                  </a:lnTo>
                  <a:lnTo>
                    <a:pt x="642" y="1032"/>
                  </a:lnTo>
                  <a:lnTo>
                    <a:pt x="642" y="1038"/>
                  </a:lnTo>
                  <a:lnTo>
                    <a:pt x="648" y="1044"/>
                  </a:lnTo>
                  <a:lnTo>
                    <a:pt x="666" y="1050"/>
                  </a:lnTo>
                  <a:lnTo>
                    <a:pt x="678" y="1038"/>
                  </a:lnTo>
                  <a:lnTo>
                    <a:pt x="684" y="1038"/>
                  </a:lnTo>
                  <a:lnTo>
                    <a:pt x="684" y="1032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20"/>
                  </a:lnTo>
                  <a:lnTo>
                    <a:pt x="708" y="1014"/>
                  </a:lnTo>
                  <a:lnTo>
                    <a:pt x="720" y="1020"/>
                  </a:lnTo>
                  <a:lnTo>
                    <a:pt x="720" y="1014"/>
                  </a:lnTo>
                  <a:lnTo>
                    <a:pt x="726" y="1008"/>
                  </a:lnTo>
                  <a:lnTo>
                    <a:pt x="732" y="1008"/>
                  </a:lnTo>
                  <a:lnTo>
                    <a:pt x="738" y="1008"/>
                  </a:lnTo>
                  <a:lnTo>
                    <a:pt x="744" y="1002"/>
                  </a:lnTo>
                  <a:lnTo>
                    <a:pt x="744" y="996"/>
                  </a:lnTo>
                  <a:lnTo>
                    <a:pt x="750" y="996"/>
                  </a:lnTo>
                  <a:lnTo>
                    <a:pt x="756" y="1002"/>
                  </a:lnTo>
                  <a:lnTo>
                    <a:pt x="762" y="1002"/>
                  </a:lnTo>
                  <a:lnTo>
                    <a:pt x="768" y="996"/>
                  </a:lnTo>
                  <a:lnTo>
                    <a:pt x="780" y="996"/>
                  </a:lnTo>
                  <a:lnTo>
                    <a:pt x="786" y="996"/>
                  </a:lnTo>
                  <a:lnTo>
                    <a:pt x="816" y="990"/>
                  </a:lnTo>
                  <a:lnTo>
                    <a:pt x="828" y="990"/>
                  </a:lnTo>
                  <a:lnTo>
                    <a:pt x="834" y="990"/>
                  </a:lnTo>
                  <a:lnTo>
                    <a:pt x="840" y="984"/>
                  </a:lnTo>
                  <a:lnTo>
                    <a:pt x="852" y="978"/>
                  </a:lnTo>
                  <a:lnTo>
                    <a:pt x="852" y="972"/>
                  </a:lnTo>
                  <a:lnTo>
                    <a:pt x="858" y="972"/>
                  </a:lnTo>
                  <a:lnTo>
                    <a:pt x="864" y="966"/>
                  </a:lnTo>
                  <a:lnTo>
                    <a:pt x="870" y="966"/>
                  </a:lnTo>
                  <a:lnTo>
                    <a:pt x="876" y="966"/>
                  </a:lnTo>
                  <a:lnTo>
                    <a:pt x="882" y="960"/>
                  </a:lnTo>
                  <a:lnTo>
                    <a:pt x="888" y="960"/>
                  </a:lnTo>
                  <a:lnTo>
                    <a:pt x="894" y="960"/>
                  </a:lnTo>
                  <a:lnTo>
                    <a:pt x="894" y="966"/>
                  </a:lnTo>
                  <a:lnTo>
                    <a:pt x="894" y="978"/>
                  </a:lnTo>
                  <a:lnTo>
                    <a:pt x="894" y="984"/>
                  </a:lnTo>
                  <a:lnTo>
                    <a:pt x="900" y="984"/>
                  </a:lnTo>
                  <a:lnTo>
                    <a:pt x="906" y="978"/>
                  </a:lnTo>
                  <a:lnTo>
                    <a:pt x="912" y="972"/>
                  </a:lnTo>
                  <a:lnTo>
                    <a:pt x="918" y="978"/>
                  </a:lnTo>
                  <a:lnTo>
                    <a:pt x="924" y="978"/>
                  </a:lnTo>
                  <a:lnTo>
                    <a:pt x="924" y="972"/>
                  </a:lnTo>
                  <a:lnTo>
                    <a:pt x="924" y="966"/>
                  </a:lnTo>
                  <a:lnTo>
                    <a:pt x="930" y="966"/>
                  </a:lnTo>
                  <a:lnTo>
                    <a:pt x="948" y="966"/>
                  </a:lnTo>
                  <a:lnTo>
                    <a:pt x="954" y="966"/>
                  </a:lnTo>
                  <a:lnTo>
                    <a:pt x="954" y="960"/>
                  </a:lnTo>
                  <a:lnTo>
                    <a:pt x="960" y="960"/>
                  </a:lnTo>
                  <a:lnTo>
                    <a:pt x="966" y="960"/>
                  </a:lnTo>
                  <a:lnTo>
                    <a:pt x="966" y="966"/>
                  </a:lnTo>
                  <a:lnTo>
                    <a:pt x="978" y="972"/>
                  </a:lnTo>
                  <a:lnTo>
                    <a:pt x="978" y="978"/>
                  </a:lnTo>
                  <a:lnTo>
                    <a:pt x="978" y="984"/>
                  </a:lnTo>
                  <a:lnTo>
                    <a:pt x="984" y="978"/>
                  </a:lnTo>
                  <a:lnTo>
                    <a:pt x="990" y="978"/>
                  </a:lnTo>
                  <a:lnTo>
                    <a:pt x="996" y="984"/>
                  </a:lnTo>
                  <a:lnTo>
                    <a:pt x="1002" y="990"/>
                  </a:lnTo>
                  <a:lnTo>
                    <a:pt x="1008" y="972"/>
                  </a:lnTo>
                  <a:lnTo>
                    <a:pt x="1026" y="972"/>
                  </a:lnTo>
                  <a:lnTo>
                    <a:pt x="1032" y="972"/>
                  </a:lnTo>
                  <a:lnTo>
                    <a:pt x="1038" y="972"/>
                  </a:lnTo>
                  <a:lnTo>
                    <a:pt x="1050" y="972"/>
                  </a:lnTo>
                  <a:lnTo>
                    <a:pt x="1056" y="972"/>
                  </a:lnTo>
                  <a:lnTo>
                    <a:pt x="1062" y="966"/>
                  </a:lnTo>
                  <a:lnTo>
                    <a:pt x="1074" y="966"/>
                  </a:lnTo>
                  <a:lnTo>
                    <a:pt x="1074" y="960"/>
                  </a:lnTo>
                  <a:lnTo>
                    <a:pt x="1080" y="954"/>
                  </a:lnTo>
                  <a:lnTo>
                    <a:pt x="1080" y="948"/>
                  </a:lnTo>
                  <a:lnTo>
                    <a:pt x="1074" y="948"/>
                  </a:lnTo>
                  <a:lnTo>
                    <a:pt x="1068" y="948"/>
                  </a:lnTo>
                  <a:lnTo>
                    <a:pt x="1062" y="942"/>
                  </a:lnTo>
                  <a:lnTo>
                    <a:pt x="1068" y="936"/>
                  </a:lnTo>
                  <a:lnTo>
                    <a:pt x="1074" y="936"/>
                  </a:lnTo>
                  <a:lnTo>
                    <a:pt x="1080" y="936"/>
                  </a:lnTo>
                  <a:lnTo>
                    <a:pt x="1086" y="942"/>
                  </a:lnTo>
                  <a:lnTo>
                    <a:pt x="1092" y="942"/>
                  </a:lnTo>
                  <a:lnTo>
                    <a:pt x="1098" y="948"/>
                  </a:lnTo>
                  <a:lnTo>
                    <a:pt x="1104" y="954"/>
                  </a:lnTo>
                  <a:lnTo>
                    <a:pt x="1110" y="954"/>
                  </a:lnTo>
                  <a:lnTo>
                    <a:pt x="1116" y="948"/>
                  </a:lnTo>
                  <a:lnTo>
                    <a:pt x="1122" y="942"/>
                  </a:lnTo>
                  <a:lnTo>
                    <a:pt x="1128" y="942"/>
                  </a:lnTo>
                  <a:lnTo>
                    <a:pt x="1134" y="942"/>
                  </a:lnTo>
                  <a:lnTo>
                    <a:pt x="1140" y="948"/>
                  </a:lnTo>
                  <a:lnTo>
                    <a:pt x="1146" y="942"/>
                  </a:lnTo>
                  <a:lnTo>
                    <a:pt x="1152" y="942"/>
                  </a:lnTo>
                  <a:lnTo>
                    <a:pt x="1152" y="930"/>
                  </a:lnTo>
                  <a:lnTo>
                    <a:pt x="1164" y="936"/>
                  </a:lnTo>
                  <a:lnTo>
                    <a:pt x="1158" y="942"/>
                  </a:lnTo>
                  <a:lnTo>
                    <a:pt x="1158" y="948"/>
                  </a:lnTo>
                  <a:lnTo>
                    <a:pt x="1146" y="954"/>
                  </a:lnTo>
                  <a:lnTo>
                    <a:pt x="1152" y="954"/>
                  </a:lnTo>
                  <a:lnTo>
                    <a:pt x="1158" y="954"/>
                  </a:lnTo>
                  <a:lnTo>
                    <a:pt x="1158" y="948"/>
                  </a:lnTo>
                  <a:lnTo>
                    <a:pt x="1164" y="948"/>
                  </a:lnTo>
                  <a:lnTo>
                    <a:pt x="1170" y="948"/>
                  </a:lnTo>
                  <a:lnTo>
                    <a:pt x="1176" y="954"/>
                  </a:lnTo>
                  <a:lnTo>
                    <a:pt x="1176" y="966"/>
                  </a:lnTo>
                  <a:lnTo>
                    <a:pt x="1182" y="972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88" y="984"/>
                  </a:lnTo>
                  <a:lnTo>
                    <a:pt x="1194" y="984"/>
                  </a:lnTo>
                  <a:lnTo>
                    <a:pt x="1200" y="984"/>
                  </a:lnTo>
                  <a:lnTo>
                    <a:pt x="1212" y="984"/>
                  </a:lnTo>
                  <a:lnTo>
                    <a:pt x="1218" y="990"/>
                  </a:lnTo>
                  <a:lnTo>
                    <a:pt x="1224" y="990"/>
                  </a:lnTo>
                  <a:lnTo>
                    <a:pt x="1224" y="984"/>
                  </a:lnTo>
                  <a:lnTo>
                    <a:pt x="1230" y="990"/>
                  </a:lnTo>
                  <a:lnTo>
                    <a:pt x="1236" y="984"/>
                  </a:lnTo>
                  <a:lnTo>
                    <a:pt x="1242" y="984"/>
                  </a:lnTo>
                  <a:lnTo>
                    <a:pt x="1248" y="990"/>
                  </a:lnTo>
                  <a:lnTo>
                    <a:pt x="1254" y="990"/>
                  </a:lnTo>
                  <a:lnTo>
                    <a:pt x="1254" y="996"/>
                  </a:lnTo>
                  <a:lnTo>
                    <a:pt x="1254" y="1002"/>
                  </a:lnTo>
                  <a:lnTo>
                    <a:pt x="1254" y="1008"/>
                  </a:lnTo>
                  <a:lnTo>
                    <a:pt x="1260" y="1014"/>
                  </a:lnTo>
                  <a:lnTo>
                    <a:pt x="1266" y="1014"/>
                  </a:lnTo>
                  <a:lnTo>
                    <a:pt x="1272" y="1014"/>
                  </a:lnTo>
                  <a:lnTo>
                    <a:pt x="1278" y="1020"/>
                  </a:lnTo>
                  <a:lnTo>
                    <a:pt x="1284" y="1020"/>
                  </a:lnTo>
                  <a:lnTo>
                    <a:pt x="1290" y="1014"/>
                  </a:lnTo>
                  <a:lnTo>
                    <a:pt x="1290" y="1008"/>
                  </a:lnTo>
                  <a:lnTo>
                    <a:pt x="1296" y="1008"/>
                  </a:lnTo>
                  <a:lnTo>
                    <a:pt x="1302" y="1014"/>
                  </a:lnTo>
                  <a:lnTo>
                    <a:pt x="1308" y="1014"/>
                  </a:lnTo>
                  <a:lnTo>
                    <a:pt x="1314" y="1008"/>
                  </a:lnTo>
                  <a:lnTo>
                    <a:pt x="1320" y="1008"/>
                  </a:lnTo>
                  <a:lnTo>
                    <a:pt x="1320" y="1002"/>
                  </a:lnTo>
                  <a:lnTo>
                    <a:pt x="1320" y="996"/>
                  </a:lnTo>
                  <a:lnTo>
                    <a:pt x="1332" y="1002"/>
                  </a:lnTo>
                  <a:lnTo>
                    <a:pt x="1332" y="1008"/>
                  </a:lnTo>
                  <a:lnTo>
                    <a:pt x="1326" y="1014"/>
                  </a:lnTo>
                  <a:lnTo>
                    <a:pt x="1332" y="1014"/>
                  </a:lnTo>
                  <a:lnTo>
                    <a:pt x="1338" y="1014"/>
                  </a:lnTo>
                  <a:lnTo>
                    <a:pt x="1338" y="1008"/>
                  </a:lnTo>
                  <a:lnTo>
                    <a:pt x="1344" y="1008"/>
                  </a:lnTo>
                  <a:lnTo>
                    <a:pt x="1350" y="1008"/>
                  </a:lnTo>
                  <a:lnTo>
                    <a:pt x="1356" y="1014"/>
                  </a:lnTo>
                  <a:lnTo>
                    <a:pt x="1356" y="1008"/>
                  </a:lnTo>
                  <a:lnTo>
                    <a:pt x="1362" y="1014"/>
                  </a:lnTo>
                  <a:lnTo>
                    <a:pt x="1392" y="1014"/>
                  </a:lnTo>
                  <a:lnTo>
                    <a:pt x="1398" y="1014"/>
                  </a:lnTo>
                  <a:lnTo>
                    <a:pt x="1404" y="1008"/>
                  </a:lnTo>
                  <a:lnTo>
                    <a:pt x="1404" y="1014"/>
                  </a:lnTo>
                  <a:lnTo>
                    <a:pt x="1410" y="1008"/>
                  </a:lnTo>
                  <a:lnTo>
                    <a:pt x="1416" y="1008"/>
                  </a:lnTo>
                  <a:lnTo>
                    <a:pt x="1422" y="1002"/>
                  </a:lnTo>
                  <a:lnTo>
                    <a:pt x="1428" y="1002"/>
                  </a:lnTo>
                  <a:lnTo>
                    <a:pt x="1428" y="996"/>
                  </a:lnTo>
                  <a:lnTo>
                    <a:pt x="1428" y="990"/>
                  </a:lnTo>
                  <a:lnTo>
                    <a:pt x="1440" y="1002"/>
                  </a:lnTo>
                  <a:lnTo>
                    <a:pt x="1446" y="1002"/>
                  </a:lnTo>
                  <a:lnTo>
                    <a:pt x="1452" y="1002"/>
                  </a:lnTo>
                  <a:lnTo>
                    <a:pt x="1446" y="996"/>
                  </a:lnTo>
                  <a:lnTo>
                    <a:pt x="1452" y="996"/>
                  </a:lnTo>
                  <a:lnTo>
                    <a:pt x="1458" y="996"/>
                  </a:lnTo>
                  <a:lnTo>
                    <a:pt x="1464" y="996"/>
                  </a:lnTo>
                  <a:lnTo>
                    <a:pt x="1464" y="1002"/>
                  </a:lnTo>
                  <a:lnTo>
                    <a:pt x="1476" y="1014"/>
                  </a:lnTo>
                  <a:lnTo>
                    <a:pt x="1476" y="1008"/>
                  </a:lnTo>
                  <a:lnTo>
                    <a:pt x="1482" y="1008"/>
                  </a:lnTo>
                  <a:lnTo>
                    <a:pt x="1488" y="1020"/>
                  </a:lnTo>
                  <a:lnTo>
                    <a:pt x="1494" y="1020"/>
                  </a:lnTo>
                  <a:lnTo>
                    <a:pt x="1500" y="1014"/>
                  </a:lnTo>
                  <a:lnTo>
                    <a:pt x="1500" y="1020"/>
                  </a:lnTo>
                  <a:lnTo>
                    <a:pt x="1506" y="1026"/>
                  </a:lnTo>
                  <a:lnTo>
                    <a:pt x="1512" y="1032"/>
                  </a:lnTo>
                  <a:lnTo>
                    <a:pt x="1518" y="1032"/>
                  </a:lnTo>
                  <a:lnTo>
                    <a:pt x="1518" y="1038"/>
                  </a:lnTo>
                  <a:lnTo>
                    <a:pt x="1518" y="1044"/>
                  </a:lnTo>
                  <a:lnTo>
                    <a:pt x="1524" y="1044"/>
                  </a:lnTo>
                  <a:lnTo>
                    <a:pt x="1524" y="1050"/>
                  </a:lnTo>
                  <a:lnTo>
                    <a:pt x="1530" y="1056"/>
                  </a:lnTo>
                  <a:lnTo>
                    <a:pt x="1548" y="1062"/>
                  </a:lnTo>
                  <a:lnTo>
                    <a:pt x="1560" y="1074"/>
                  </a:lnTo>
                  <a:lnTo>
                    <a:pt x="1560" y="1080"/>
                  </a:lnTo>
                  <a:lnTo>
                    <a:pt x="1560" y="1086"/>
                  </a:lnTo>
                  <a:lnTo>
                    <a:pt x="1566" y="1086"/>
                  </a:lnTo>
                  <a:lnTo>
                    <a:pt x="1572" y="1098"/>
                  </a:lnTo>
                  <a:lnTo>
                    <a:pt x="1572" y="1104"/>
                  </a:lnTo>
                  <a:lnTo>
                    <a:pt x="1584" y="1110"/>
                  </a:lnTo>
                  <a:lnTo>
                    <a:pt x="1590" y="1116"/>
                  </a:lnTo>
                  <a:lnTo>
                    <a:pt x="1596" y="1116"/>
                  </a:lnTo>
                  <a:lnTo>
                    <a:pt x="1608" y="1122"/>
                  </a:lnTo>
                  <a:lnTo>
                    <a:pt x="1620" y="1140"/>
                  </a:lnTo>
                  <a:lnTo>
                    <a:pt x="1626" y="1158"/>
                  </a:lnTo>
                  <a:lnTo>
                    <a:pt x="1638" y="1200"/>
                  </a:lnTo>
                  <a:lnTo>
                    <a:pt x="1638" y="1218"/>
                  </a:lnTo>
                  <a:lnTo>
                    <a:pt x="1620" y="1230"/>
                  </a:lnTo>
                  <a:lnTo>
                    <a:pt x="1554" y="1230"/>
                  </a:lnTo>
                  <a:lnTo>
                    <a:pt x="1560" y="1248"/>
                  </a:lnTo>
                  <a:lnTo>
                    <a:pt x="1584" y="1260"/>
                  </a:lnTo>
                  <a:lnTo>
                    <a:pt x="1584" y="1266"/>
                  </a:lnTo>
                  <a:lnTo>
                    <a:pt x="1578" y="1272"/>
                  </a:lnTo>
                  <a:lnTo>
                    <a:pt x="1572" y="1272"/>
                  </a:lnTo>
                  <a:lnTo>
                    <a:pt x="1566" y="1278"/>
                  </a:lnTo>
                  <a:lnTo>
                    <a:pt x="1566" y="1284"/>
                  </a:lnTo>
                  <a:lnTo>
                    <a:pt x="1560" y="1290"/>
                  </a:lnTo>
                  <a:lnTo>
                    <a:pt x="1554" y="1290"/>
                  </a:lnTo>
                  <a:lnTo>
                    <a:pt x="1554" y="1296"/>
                  </a:lnTo>
                  <a:lnTo>
                    <a:pt x="1554" y="1302"/>
                  </a:lnTo>
                  <a:lnTo>
                    <a:pt x="1560" y="1332"/>
                  </a:lnTo>
                  <a:lnTo>
                    <a:pt x="1566" y="1356"/>
                  </a:lnTo>
                  <a:lnTo>
                    <a:pt x="1572" y="1356"/>
                  </a:lnTo>
                  <a:lnTo>
                    <a:pt x="1572" y="1362"/>
                  </a:lnTo>
                  <a:lnTo>
                    <a:pt x="1578" y="1362"/>
                  </a:lnTo>
                  <a:lnTo>
                    <a:pt x="1560" y="1374"/>
                  </a:lnTo>
                  <a:lnTo>
                    <a:pt x="1560" y="1380"/>
                  </a:lnTo>
                  <a:lnTo>
                    <a:pt x="1548" y="1380"/>
                  </a:lnTo>
                  <a:lnTo>
                    <a:pt x="1548" y="1386"/>
                  </a:lnTo>
                  <a:lnTo>
                    <a:pt x="1548" y="1392"/>
                  </a:lnTo>
                  <a:lnTo>
                    <a:pt x="1542" y="1410"/>
                  </a:lnTo>
                  <a:lnTo>
                    <a:pt x="1536" y="1422"/>
                  </a:lnTo>
                  <a:lnTo>
                    <a:pt x="1536" y="1428"/>
                  </a:lnTo>
                  <a:lnTo>
                    <a:pt x="1530" y="1440"/>
                  </a:lnTo>
                  <a:lnTo>
                    <a:pt x="1524" y="1434"/>
                  </a:lnTo>
                  <a:lnTo>
                    <a:pt x="1524" y="1428"/>
                  </a:lnTo>
                  <a:lnTo>
                    <a:pt x="1524" y="1422"/>
                  </a:lnTo>
                  <a:lnTo>
                    <a:pt x="1512" y="1410"/>
                  </a:lnTo>
                  <a:lnTo>
                    <a:pt x="1506" y="1404"/>
                  </a:lnTo>
                  <a:lnTo>
                    <a:pt x="1506" y="1398"/>
                  </a:lnTo>
                  <a:lnTo>
                    <a:pt x="1494" y="1392"/>
                  </a:lnTo>
                  <a:lnTo>
                    <a:pt x="1476" y="1404"/>
                  </a:lnTo>
                  <a:lnTo>
                    <a:pt x="1464" y="1416"/>
                  </a:lnTo>
                  <a:lnTo>
                    <a:pt x="1458" y="1428"/>
                  </a:lnTo>
                  <a:lnTo>
                    <a:pt x="1446" y="1434"/>
                  </a:lnTo>
                  <a:lnTo>
                    <a:pt x="1410" y="1440"/>
                  </a:lnTo>
                  <a:lnTo>
                    <a:pt x="1398" y="1440"/>
                  </a:lnTo>
                  <a:lnTo>
                    <a:pt x="1398" y="1446"/>
                  </a:lnTo>
                  <a:lnTo>
                    <a:pt x="1386" y="1446"/>
                  </a:lnTo>
                  <a:lnTo>
                    <a:pt x="1380" y="1440"/>
                  </a:lnTo>
                  <a:lnTo>
                    <a:pt x="1368" y="1440"/>
                  </a:lnTo>
                  <a:lnTo>
                    <a:pt x="1368" y="1446"/>
                  </a:lnTo>
                  <a:lnTo>
                    <a:pt x="1356" y="1446"/>
                  </a:lnTo>
                  <a:lnTo>
                    <a:pt x="1350" y="1452"/>
                  </a:lnTo>
                  <a:lnTo>
                    <a:pt x="1338" y="1452"/>
                  </a:lnTo>
                  <a:lnTo>
                    <a:pt x="1338" y="1458"/>
                  </a:lnTo>
                  <a:lnTo>
                    <a:pt x="1332" y="1458"/>
                  </a:lnTo>
                  <a:lnTo>
                    <a:pt x="1332" y="1464"/>
                  </a:lnTo>
                  <a:lnTo>
                    <a:pt x="1332" y="1470"/>
                  </a:lnTo>
                  <a:lnTo>
                    <a:pt x="1326" y="1470"/>
                  </a:lnTo>
                  <a:lnTo>
                    <a:pt x="1320" y="1470"/>
                  </a:lnTo>
                  <a:lnTo>
                    <a:pt x="1314" y="1470"/>
                  </a:lnTo>
                  <a:lnTo>
                    <a:pt x="1314" y="1464"/>
                  </a:lnTo>
                  <a:lnTo>
                    <a:pt x="1308" y="1464"/>
                  </a:lnTo>
                  <a:lnTo>
                    <a:pt x="1308" y="1452"/>
                  </a:lnTo>
                  <a:lnTo>
                    <a:pt x="1284" y="1458"/>
                  </a:lnTo>
                  <a:lnTo>
                    <a:pt x="1272" y="1458"/>
                  </a:lnTo>
                  <a:lnTo>
                    <a:pt x="1272" y="1464"/>
                  </a:lnTo>
                  <a:lnTo>
                    <a:pt x="1260" y="1464"/>
                  </a:lnTo>
                  <a:lnTo>
                    <a:pt x="1254" y="1464"/>
                  </a:lnTo>
                  <a:lnTo>
                    <a:pt x="1242" y="1422"/>
                  </a:lnTo>
                  <a:lnTo>
                    <a:pt x="1242" y="1416"/>
                  </a:lnTo>
                  <a:lnTo>
                    <a:pt x="1242" y="1410"/>
                  </a:lnTo>
                  <a:lnTo>
                    <a:pt x="1248" y="1410"/>
                  </a:lnTo>
                  <a:lnTo>
                    <a:pt x="1242" y="1410"/>
                  </a:lnTo>
                  <a:lnTo>
                    <a:pt x="1242" y="1404"/>
                  </a:lnTo>
                  <a:lnTo>
                    <a:pt x="1242" y="1398"/>
                  </a:lnTo>
                  <a:lnTo>
                    <a:pt x="1248" y="1392"/>
                  </a:lnTo>
                  <a:lnTo>
                    <a:pt x="1248" y="1386"/>
                  </a:lnTo>
                  <a:lnTo>
                    <a:pt x="1242" y="1380"/>
                  </a:lnTo>
                  <a:lnTo>
                    <a:pt x="1248" y="1380"/>
                  </a:lnTo>
                  <a:lnTo>
                    <a:pt x="1248" y="1374"/>
                  </a:lnTo>
                  <a:lnTo>
                    <a:pt x="1248" y="1368"/>
                  </a:lnTo>
                  <a:lnTo>
                    <a:pt x="1254" y="1368"/>
                  </a:lnTo>
                  <a:lnTo>
                    <a:pt x="1254" y="1362"/>
                  </a:lnTo>
                  <a:lnTo>
                    <a:pt x="1248" y="1356"/>
                  </a:lnTo>
                  <a:lnTo>
                    <a:pt x="1254" y="1356"/>
                  </a:lnTo>
                  <a:lnTo>
                    <a:pt x="1254" y="1344"/>
                  </a:lnTo>
                  <a:lnTo>
                    <a:pt x="1242" y="1338"/>
                  </a:lnTo>
                  <a:lnTo>
                    <a:pt x="1242" y="1326"/>
                  </a:lnTo>
                  <a:lnTo>
                    <a:pt x="1230" y="1326"/>
                  </a:lnTo>
                  <a:lnTo>
                    <a:pt x="1230" y="1314"/>
                  </a:lnTo>
                  <a:lnTo>
                    <a:pt x="1218" y="1314"/>
                  </a:lnTo>
                  <a:lnTo>
                    <a:pt x="1200" y="1272"/>
                  </a:lnTo>
                  <a:lnTo>
                    <a:pt x="1194" y="1242"/>
                  </a:lnTo>
                  <a:lnTo>
                    <a:pt x="1194" y="1206"/>
                  </a:lnTo>
                  <a:lnTo>
                    <a:pt x="1182" y="1200"/>
                  </a:lnTo>
                  <a:lnTo>
                    <a:pt x="1164" y="1206"/>
                  </a:lnTo>
                  <a:lnTo>
                    <a:pt x="1146" y="1212"/>
                  </a:lnTo>
                  <a:lnTo>
                    <a:pt x="1146" y="1218"/>
                  </a:lnTo>
                  <a:lnTo>
                    <a:pt x="1134" y="1224"/>
                  </a:lnTo>
                  <a:lnTo>
                    <a:pt x="1140" y="1260"/>
                  </a:lnTo>
                  <a:lnTo>
                    <a:pt x="1134" y="1266"/>
                  </a:lnTo>
                  <a:lnTo>
                    <a:pt x="1122" y="1266"/>
                  </a:lnTo>
                  <a:lnTo>
                    <a:pt x="1110" y="1236"/>
                  </a:lnTo>
                  <a:lnTo>
                    <a:pt x="1110" y="1224"/>
                  </a:lnTo>
                  <a:lnTo>
                    <a:pt x="1086" y="1224"/>
                  </a:lnTo>
                  <a:lnTo>
                    <a:pt x="1086" y="1212"/>
                  </a:lnTo>
                  <a:lnTo>
                    <a:pt x="1074" y="1212"/>
                  </a:lnTo>
                  <a:lnTo>
                    <a:pt x="1050" y="1212"/>
                  </a:lnTo>
                  <a:lnTo>
                    <a:pt x="1056" y="1218"/>
                  </a:lnTo>
                  <a:lnTo>
                    <a:pt x="1050" y="1272"/>
                  </a:lnTo>
                  <a:lnTo>
                    <a:pt x="1044" y="1272"/>
                  </a:lnTo>
                  <a:lnTo>
                    <a:pt x="1038" y="1284"/>
                  </a:lnTo>
                  <a:lnTo>
                    <a:pt x="1032" y="1302"/>
                  </a:lnTo>
                  <a:lnTo>
                    <a:pt x="1014" y="1302"/>
                  </a:lnTo>
                  <a:lnTo>
                    <a:pt x="1020" y="1284"/>
                  </a:lnTo>
                  <a:lnTo>
                    <a:pt x="1026" y="1278"/>
                  </a:lnTo>
                  <a:lnTo>
                    <a:pt x="1026" y="1266"/>
                  </a:lnTo>
                  <a:lnTo>
                    <a:pt x="1014" y="1260"/>
                  </a:lnTo>
                  <a:lnTo>
                    <a:pt x="1014" y="1272"/>
                  </a:lnTo>
                  <a:lnTo>
                    <a:pt x="990" y="1278"/>
                  </a:lnTo>
                  <a:lnTo>
                    <a:pt x="990" y="1254"/>
                  </a:lnTo>
                  <a:lnTo>
                    <a:pt x="984" y="1254"/>
                  </a:lnTo>
                  <a:lnTo>
                    <a:pt x="978" y="1242"/>
                  </a:lnTo>
                  <a:lnTo>
                    <a:pt x="972" y="1236"/>
                  </a:lnTo>
                  <a:lnTo>
                    <a:pt x="960" y="1206"/>
                  </a:lnTo>
                  <a:lnTo>
                    <a:pt x="942" y="1206"/>
                  </a:lnTo>
                  <a:lnTo>
                    <a:pt x="936" y="1200"/>
                  </a:lnTo>
                  <a:lnTo>
                    <a:pt x="906" y="1212"/>
                  </a:lnTo>
                  <a:lnTo>
                    <a:pt x="888" y="1230"/>
                  </a:lnTo>
                  <a:lnTo>
                    <a:pt x="876" y="1230"/>
                  </a:lnTo>
                  <a:lnTo>
                    <a:pt x="864" y="1236"/>
                  </a:lnTo>
                  <a:lnTo>
                    <a:pt x="858" y="1236"/>
                  </a:lnTo>
                  <a:lnTo>
                    <a:pt x="852" y="1254"/>
                  </a:lnTo>
                  <a:lnTo>
                    <a:pt x="858" y="1254"/>
                  </a:lnTo>
                  <a:lnTo>
                    <a:pt x="840" y="1266"/>
                  </a:lnTo>
                  <a:lnTo>
                    <a:pt x="828" y="1272"/>
                  </a:lnTo>
                  <a:lnTo>
                    <a:pt x="828" y="1284"/>
                  </a:lnTo>
                  <a:lnTo>
                    <a:pt x="822" y="1284"/>
                  </a:lnTo>
                  <a:lnTo>
                    <a:pt x="804" y="1296"/>
                  </a:lnTo>
                  <a:lnTo>
                    <a:pt x="804" y="1308"/>
                  </a:lnTo>
                  <a:lnTo>
                    <a:pt x="816" y="1320"/>
                  </a:lnTo>
                  <a:lnTo>
                    <a:pt x="828" y="1320"/>
                  </a:lnTo>
                  <a:lnTo>
                    <a:pt x="822" y="1338"/>
                  </a:lnTo>
                  <a:lnTo>
                    <a:pt x="852" y="1344"/>
                  </a:lnTo>
                  <a:lnTo>
                    <a:pt x="864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94" y="1356"/>
                  </a:lnTo>
                  <a:lnTo>
                    <a:pt x="912" y="1368"/>
                  </a:lnTo>
                  <a:lnTo>
                    <a:pt x="918" y="1380"/>
                  </a:lnTo>
                  <a:lnTo>
                    <a:pt x="936" y="1380"/>
                  </a:lnTo>
                  <a:lnTo>
                    <a:pt x="960" y="1386"/>
                  </a:lnTo>
                  <a:lnTo>
                    <a:pt x="990" y="1386"/>
                  </a:lnTo>
                  <a:lnTo>
                    <a:pt x="990" y="1392"/>
                  </a:lnTo>
                  <a:lnTo>
                    <a:pt x="1020" y="1398"/>
                  </a:lnTo>
                  <a:lnTo>
                    <a:pt x="1014" y="1404"/>
                  </a:lnTo>
                  <a:lnTo>
                    <a:pt x="1008" y="1404"/>
                  </a:lnTo>
                  <a:lnTo>
                    <a:pt x="1014" y="1440"/>
                  </a:lnTo>
                  <a:lnTo>
                    <a:pt x="1020" y="1458"/>
                  </a:lnTo>
                  <a:lnTo>
                    <a:pt x="1026" y="1476"/>
                  </a:lnTo>
                  <a:lnTo>
                    <a:pt x="1020" y="1476"/>
                  </a:lnTo>
                  <a:lnTo>
                    <a:pt x="1014" y="1476"/>
                  </a:lnTo>
                  <a:lnTo>
                    <a:pt x="1014" y="1482"/>
                  </a:lnTo>
                  <a:lnTo>
                    <a:pt x="1014" y="1488"/>
                  </a:lnTo>
                  <a:lnTo>
                    <a:pt x="1002" y="1488"/>
                  </a:lnTo>
                  <a:lnTo>
                    <a:pt x="1002" y="1494"/>
                  </a:lnTo>
                  <a:lnTo>
                    <a:pt x="996" y="1494"/>
                  </a:lnTo>
                  <a:lnTo>
                    <a:pt x="996" y="1518"/>
                  </a:lnTo>
                  <a:lnTo>
                    <a:pt x="1002" y="1524"/>
                  </a:lnTo>
                  <a:lnTo>
                    <a:pt x="1020" y="1530"/>
                  </a:lnTo>
                  <a:lnTo>
                    <a:pt x="1026" y="1542"/>
                  </a:lnTo>
                  <a:lnTo>
                    <a:pt x="1032" y="1566"/>
                  </a:lnTo>
                  <a:lnTo>
                    <a:pt x="1038" y="1578"/>
                  </a:lnTo>
                  <a:lnTo>
                    <a:pt x="1032" y="1584"/>
                  </a:lnTo>
                  <a:lnTo>
                    <a:pt x="1020" y="1584"/>
                  </a:lnTo>
                  <a:lnTo>
                    <a:pt x="1014" y="1584"/>
                  </a:lnTo>
                  <a:lnTo>
                    <a:pt x="1008" y="1596"/>
                  </a:lnTo>
                  <a:lnTo>
                    <a:pt x="990" y="1584"/>
                  </a:lnTo>
                  <a:lnTo>
                    <a:pt x="984" y="1602"/>
                  </a:lnTo>
                  <a:lnTo>
                    <a:pt x="978" y="1608"/>
                  </a:lnTo>
                  <a:lnTo>
                    <a:pt x="966" y="1608"/>
                  </a:lnTo>
                  <a:lnTo>
                    <a:pt x="960" y="1614"/>
                  </a:lnTo>
                  <a:lnTo>
                    <a:pt x="954" y="1614"/>
                  </a:lnTo>
                  <a:lnTo>
                    <a:pt x="942" y="1620"/>
                  </a:lnTo>
                  <a:lnTo>
                    <a:pt x="936" y="1620"/>
                  </a:lnTo>
                  <a:lnTo>
                    <a:pt x="930" y="1620"/>
                  </a:lnTo>
                  <a:lnTo>
                    <a:pt x="930" y="1626"/>
                  </a:lnTo>
                  <a:lnTo>
                    <a:pt x="930" y="1632"/>
                  </a:lnTo>
                  <a:lnTo>
                    <a:pt x="918" y="1632"/>
                  </a:lnTo>
                  <a:lnTo>
                    <a:pt x="912" y="1632"/>
                  </a:lnTo>
                  <a:lnTo>
                    <a:pt x="906" y="1632"/>
                  </a:lnTo>
                  <a:lnTo>
                    <a:pt x="900" y="1632"/>
                  </a:lnTo>
                  <a:lnTo>
                    <a:pt x="894" y="1626"/>
                  </a:lnTo>
                  <a:lnTo>
                    <a:pt x="894" y="1614"/>
                  </a:lnTo>
                  <a:lnTo>
                    <a:pt x="840" y="1614"/>
                  </a:lnTo>
                  <a:lnTo>
                    <a:pt x="840" y="1626"/>
                  </a:lnTo>
                  <a:lnTo>
                    <a:pt x="834" y="1626"/>
                  </a:lnTo>
                  <a:lnTo>
                    <a:pt x="828" y="1632"/>
                  </a:lnTo>
                  <a:lnTo>
                    <a:pt x="822" y="1638"/>
                  </a:lnTo>
                  <a:lnTo>
                    <a:pt x="822" y="1644"/>
                  </a:lnTo>
                  <a:lnTo>
                    <a:pt x="834" y="1650"/>
                  </a:lnTo>
                  <a:lnTo>
                    <a:pt x="840" y="1662"/>
                  </a:lnTo>
                  <a:lnTo>
                    <a:pt x="840" y="1668"/>
                  </a:lnTo>
                  <a:lnTo>
                    <a:pt x="858" y="1680"/>
                  </a:lnTo>
                  <a:lnTo>
                    <a:pt x="858" y="1752"/>
                  </a:lnTo>
                  <a:lnTo>
                    <a:pt x="864" y="1782"/>
                  </a:lnTo>
                  <a:lnTo>
                    <a:pt x="876" y="1788"/>
                  </a:lnTo>
                  <a:lnTo>
                    <a:pt x="870" y="1854"/>
                  </a:lnTo>
                  <a:lnTo>
                    <a:pt x="870" y="1884"/>
                  </a:lnTo>
                  <a:lnTo>
                    <a:pt x="864" y="1884"/>
                  </a:lnTo>
                  <a:lnTo>
                    <a:pt x="846" y="1896"/>
                  </a:lnTo>
                  <a:lnTo>
                    <a:pt x="840" y="1896"/>
                  </a:lnTo>
                  <a:lnTo>
                    <a:pt x="834" y="1896"/>
                  </a:lnTo>
                  <a:lnTo>
                    <a:pt x="828" y="1890"/>
                  </a:lnTo>
                  <a:lnTo>
                    <a:pt x="822" y="1890"/>
                  </a:lnTo>
                  <a:lnTo>
                    <a:pt x="816" y="1896"/>
                  </a:lnTo>
                  <a:lnTo>
                    <a:pt x="804" y="1896"/>
                  </a:lnTo>
                  <a:lnTo>
                    <a:pt x="804" y="1890"/>
                  </a:lnTo>
                  <a:lnTo>
                    <a:pt x="780" y="1896"/>
                  </a:lnTo>
                  <a:lnTo>
                    <a:pt x="780" y="1902"/>
                  </a:lnTo>
                  <a:lnTo>
                    <a:pt x="774" y="1914"/>
                  </a:lnTo>
                  <a:lnTo>
                    <a:pt x="762" y="1926"/>
                  </a:lnTo>
                  <a:lnTo>
                    <a:pt x="762" y="1950"/>
                  </a:lnTo>
                  <a:lnTo>
                    <a:pt x="762" y="1962"/>
                  </a:lnTo>
                  <a:lnTo>
                    <a:pt x="780" y="1974"/>
                  </a:lnTo>
                  <a:lnTo>
                    <a:pt x="780" y="1986"/>
                  </a:lnTo>
                  <a:lnTo>
                    <a:pt x="780" y="1998"/>
                  </a:lnTo>
                  <a:lnTo>
                    <a:pt x="756" y="1998"/>
                  </a:lnTo>
                  <a:lnTo>
                    <a:pt x="720" y="1992"/>
                  </a:lnTo>
                  <a:lnTo>
                    <a:pt x="666" y="1998"/>
                  </a:lnTo>
                  <a:lnTo>
                    <a:pt x="654" y="1998"/>
                  </a:lnTo>
                  <a:lnTo>
                    <a:pt x="660" y="1974"/>
                  </a:lnTo>
                  <a:lnTo>
                    <a:pt x="666" y="1962"/>
                  </a:lnTo>
                  <a:lnTo>
                    <a:pt x="678" y="1950"/>
                  </a:lnTo>
                  <a:lnTo>
                    <a:pt x="696" y="1932"/>
                  </a:lnTo>
                  <a:lnTo>
                    <a:pt x="696" y="1920"/>
                  </a:lnTo>
                  <a:lnTo>
                    <a:pt x="696" y="1896"/>
                  </a:lnTo>
                  <a:lnTo>
                    <a:pt x="678" y="1896"/>
                  </a:lnTo>
                  <a:lnTo>
                    <a:pt x="672" y="1884"/>
                  </a:lnTo>
                  <a:lnTo>
                    <a:pt x="672" y="1776"/>
                  </a:lnTo>
                  <a:lnTo>
                    <a:pt x="678" y="1758"/>
                  </a:lnTo>
                  <a:lnTo>
                    <a:pt x="678" y="1740"/>
                  </a:lnTo>
                  <a:lnTo>
                    <a:pt x="684" y="1728"/>
                  </a:lnTo>
                  <a:lnTo>
                    <a:pt x="690" y="1722"/>
                  </a:lnTo>
                  <a:lnTo>
                    <a:pt x="702" y="1722"/>
                  </a:lnTo>
                  <a:lnTo>
                    <a:pt x="708" y="1716"/>
                  </a:lnTo>
                  <a:lnTo>
                    <a:pt x="714" y="1710"/>
                  </a:lnTo>
                  <a:lnTo>
                    <a:pt x="720" y="1698"/>
                  </a:lnTo>
                  <a:lnTo>
                    <a:pt x="732" y="1692"/>
                  </a:lnTo>
                  <a:lnTo>
                    <a:pt x="744" y="1686"/>
                  </a:lnTo>
                  <a:lnTo>
                    <a:pt x="756" y="1680"/>
                  </a:lnTo>
                  <a:lnTo>
                    <a:pt x="768" y="1668"/>
                  </a:lnTo>
                  <a:lnTo>
                    <a:pt x="768" y="1650"/>
                  </a:lnTo>
                  <a:lnTo>
                    <a:pt x="774" y="1632"/>
                  </a:lnTo>
                  <a:lnTo>
                    <a:pt x="768" y="1620"/>
                  </a:lnTo>
                  <a:lnTo>
                    <a:pt x="774" y="1608"/>
                  </a:lnTo>
                  <a:lnTo>
                    <a:pt x="774" y="1578"/>
                  </a:lnTo>
                  <a:lnTo>
                    <a:pt x="774" y="1572"/>
                  </a:lnTo>
                  <a:lnTo>
                    <a:pt x="780" y="1560"/>
                  </a:lnTo>
                  <a:lnTo>
                    <a:pt x="780" y="1554"/>
                  </a:lnTo>
                  <a:lnTo>
                    <a:pt x="786" y="1542"/>
                  </a:lnTo>
                  <a:lnTo>
                    <a:pt x="792" y="1530"/>
                  </a:lnTo>
                  <a:lnTo>
                    <a:pt x="792" y="1518"/>
                  </a:lnTo>
                  <a:lnTo>
                    <a:pt x="792" y="1506"/>
                  </a:lnTo>
                  <a:lnTo>
                    <a:pt x="786" y="1500"/>
                  </a:lnTo>
                  <a:lnTo>
                    <a:pt x="774" y="1488"/>
                  </a:lnTo>
                  <a:lnTo>
                    <a:pt x="774" y="1482"/>
                  </a:lnTo>
                  <a:lnTo>
                    <a:pt x="762" y="1488"/>
                  </a:lnTo>
                  <a:lnTo>
                    <a:pt x="756" y="1494"/>
                  </a:lnTo>
                  <a:lnTo>
                    <a:pt x="744" y="1500"/>
                  </a:lnTo>
                  <a:lnTo>
                    <a:pt x="732" y="1506"/>
                  </a:lnTo>
                  <a:lnTo>
                    <a:pt x="726" y="1506"/>
                  </a:lnTo>
                  <a:lnTo>
                    <a:pt x="720" y="1506"/>
                  </a:lnTo>
                  <a:lnTo>
                    <a:pt x="702" y="1506"/>
                  </a:lnTo>
                  <a:lnTo>
                    <a:pt x="690" y="1500"/>
                  </a:lnTo>
                  <a:lnTo>
                    <a:pt x="678" y="1500"/>
                  </a:lnTo>
                  <a:lnTo>
                    <a:pt x="672" y="1500"/>
                  </a:lnTo>
                  <a:lnTo>
                    <a:pt x="660" y="1506"/>
                  </a:lnTo>
                  <a:lnTo>
                    <a:pt x="654" y="1506"/>
                  </a:lnTo>
                  <a:lnTo>
                    <a:pt x="648" y="1512"/>
                  </a:lnTo>
                  <a:lnTo>
                    <a:pt x="648" y="1518"/>
                  </a:lnTo>
                  <a:lnTo>
                    <a:pt x="618" y="1518"/>
                  </a:lnTo>
                  <a:lnTo>
                    <a:pt x="534" y="1494"/>
                  </a:lnTo>
                  <a:lnTo>
                    <a:pt x="528" y="1458"/>
                  </a:lnTo>
                  <a:lnTo>
                    <a:pt x="510" y="1458"/>
                  </a:lnTo>
                  <a:lnTo>
                    <a:pt x="492" y="1440"/>
                  </a:lnTo>
                  <a:lnTo>
                    <a:pt x="462" y="1440"/>
                  </a:lnTo>
                  <a:lnTo>
                    <a:pt x="456" y="1428"/>
                  </a:lnTo>
                  <a:lnTo>
                    <a:pt x="420" y="1428"/>
                  </a:lnTo>
                  <a:lnTo>
                    <a:pt x="390" y="1446"/>
                  </a:lnTo>
                  <a:lnTo>
                    <a:pt x="312" y="1452"/>
                  </a:lnTo>
                  <a:lnTo>
                    <a:pt x="300" y="1446"/>
                  </a:lnTo>
                  <a:lnTo>
                    <a:pt x="294" y="1446"/>
                  </a:lnTo>
                  <a:lnTo>
                    <a:pt x="288" y="1446"/>
                  </a:lnTo>
                  <a:lnTo>
                    <a:pt x="282" y="1440"/>
                  </a:lnTo>
                  <a:lnTo>
                    <a:pt x="276" y="1440"/>
                  </a:lnTo>
                  <a:lnTo>
                    <a:pt x="270" y="1440"/>
                  </a:lnTo>
                  <a:lnTo>
                    <a:pt x="264" y="1440"/>
                  </a:lnTo>
                  <a:lnTo>
                    <a:pt x="258" y="1434"/>
                  </a:lnTo>
                  <a:lnTo>
                    <a:pt x="252" y="1434"/>
                  </a:lnTo>
                  <a:lnTo>
                    <a:pt x="246" y="1428"/>
                  </a:lnTo>
                  <a:lnTo>
                    <a:pt x="240" y="1416"/>
                  </a:lnTo>
                  <a:lnTo>
                    <a:pt x="234" y="1404"/>
                  </a:lnTo>
                  <a:lnTo>
                    <a:pt x="228" y="1398"/>
                  </a:lnTo>
                  <a:lnTo>
                    <a:pt x="222" y="1398"/>
                  </a:lnTo>
                  <a:lnTo>
                    <a:pt x="216" y="1404"/>
                  </a:lnTo>
                  <a:lnTo>
                    <a:pt x="210" y="1404"/>
                  </a:lnTo>
                  <a:lnTo>
                    <a:pt x="204" y="1404"/>
                  </a:lnTo>
                  <a:lnTo>
                    <a:pt x="204" y="1398"/>
                  </a:lnTo>
                  <a:lnTo>
                    <a:pt x="198" y="1392"/>
                  </a:lnTo>
                  <a:lnTo>
                    <a:pt x="192" y="1386"/>
                  </a:lnTo>
                  <a:lnTo>
                    <a:pt x="168" y="1374"/>
                  </a:lnTo>
                  <a:lnTo>
                    <a:pt x="144" y="13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0" name="Freeform 35">
              <a:extLst>
                <a:ext uri="{FF2B5EF4-FFF2-40B4-BE49-F238E27FC236}">
                  <a16:creationId xmlns:a16="http://schemas.microsoft.com/office/drawing/2014/main" id="{F64BF16E-9D62-438E-A1CC-CD4088AC7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2895" y="1706004"/>
              <a:ext cx="767013" cy="785011"/>
            </a:xfrm>
            <a:custGeom>
              <a:avLst/>
              <a:gdLst>
                <a:gd name="T0" fmla="*/ 102 w 1440"/>
                <a:gd name="T1" fmla="*/ 104 h 1476"/>
                <a:gd name="T2" fmla="*/ 99 w 1440"/>
                <a:gd name="T3" fmla="*/ 108 h 1476"/>
                <a:gd name="T4" fmla="*/ 98 w 1440"/>
                <a:gd name="T5" fmla="*/ 112 h 1476"/>
                <a:gd name="T6" fmla="*/ 96 w 1440"/>
                <a:gd name="T7" fmla="*/ 116 h 1476"/>
                <a:gd name="T8" fmla="*/ 91 w 1440"/>
                <a:gd name="T9" fmla="*/ 118 h 1476"/>
                <a:gd name="T10" fmla="*/ 87 w 1440"/>
                <a:gd name="T11" fmla="*/ 120 h 1476"/>
                <a:gd name="T12" fmla="*/ 75 w 1440"/>
                <a:gd name="T13" fmla="*/ 120 h 1476"/>
                <a:gd name="T14" fmla="*/ 72 w 1440"/>
                <a:gd name="T15" fmla="*/ 123 h 1476"/>
                <a:gd name="T16" fmla="*/ 69 w 1440"/>
                <a:gd name="T17" fmla="*/ 128 h 1476"/>
                <a:gd name="T18" fmla="*/ 67 w 1440"/>
                <a:gd name="T19" fmla="*/ 127 h 1476"/>
                <a:gd name="T20" fmla="*/ 66 w 1440"/>
                <a:gd name="T21" fmla="*/ 123 h 1476"/>
                <a:gd name="T22" fmla="*/ 63 w 1440"/>
                <a:gd name="T23" fmla="*/ 119 h 1476"/>
                <a:gd name="T24" fmla="*/ 54 w 1440"/>
                <a:gd name="T25" fmla="*/ 114 h 1476"/>
                <a:gd name="T26" fmla="*/ 55 w 1440"/>
                <a:gd name="T27" fmla="*/ 106 h 1476"/>
                <a:gd name="T28" fmla="*/ 60 w 1440"/>
                <a:gd name="T29" fmla="*/ 100 h 1476"/>
                <a:gd name="T30" fmla="*/ 55 w 1440"/>
                <a:gd name="T31" fmla="*/ 91 h 1476"/>
                <a:gd name="T32" fmla="*/ 51 w 1440"/>
                <a:gd name="T33" fmla="*/ 86 h 1476"/>
                <a:gd name="T34" fmla="*/ 47 w 1440"/>
                <a:gd name="T35" fmla="*/ 85 h 1476"/>
                <a:gd name="T36" fmla="*/ 44 w 1440"/>
                <a:gd name="T37" fmla="*/ 82 h 1476"/>
                <a:gd name="T38" fmla="*/ 41 w 1440"/>
                <a:gd name="T39" fmla="*/ 83 h 1476"/>
                <a:gd name="T40" fmla="*/ 36 w 1440"/>
                <a:gd name="T41" fmla="*/ 83 h 1476"/>
                <a:gd name="T42" fmla="*/ 33 w 1440"/>
                <a:gd name="T43" fmla="*/ 83 h 1476"/>
                <a:gd name="T44" fmla="*/ 30 w 1440"/>
                <a:gd name="T45" fmla="*/ 83 h 1476"/>
                <a:gd name="T46" fmla="*/ 27 w 1440"/>
                <a:gd name="T47" fmla="*/ 83 h 1476"/>
                <a:gd name="T48" fmla="*/ 24 w 1440"/>
                <a:gd name="T49" fmla="*/ 82 h 1476"/>
                <a:gd name="T50" fmla="*/ 21 w 1440"/>
                <a:gd name="T51" fmla="*/ 80 h 1476"/>
                <a:gd name="T52" fmla="*/ 18 w 1440"/>
                <a:gd name="T53" fmla="*/ 79 h 1476"/>
                <a:gd name="T54" fmla="*/ 17 w 1440"/>
                <a:gd name="T55" fmla="*/ 78 h 1476"/>
                <a:gd name="T56" fmla="*/ 12 w 1440"/>
                <a:gd name="T57" fmla="*/ 78 h 1476"/>
                <a:gd name="T58" fmla="*/ 12 w 1440"/>
                <a:gd name="T59" fmla="*/ 78 h 1476"/>
                <a:gd name="T60" fmla="*/ 7 w 1440"/>
                <a:gd name="T61" fmla="*/ 80 h 1476"/>
                <a:gd name="T62" fmla="*/ 3 w 1440"/>
                <a:gd name="T63" fmla="*/ 81 h 1476"/>
                <a:gd name="T64" fmla="*/ 0 w 1440"/>
                <a:gd name="T65" fmla="*/ 76 h 1476"/>
                <a:gd name="T66" fmla="*/ 1 w 1440"/>
                <a:gd name="T67" fmla="*/ 50 h 1476"/>
                <a:gd name="T68" fmla="*/ 8 w 1440"/>
                <a:gd name="T69" fmla="*/ 48 h 1476"/>
                <a:gd name="T70" fmla="*/ 20 w 1440"/>
                <a:gd name="T71" fmla="*/ 49 h 1476"/>
                <a:gd name="T72" fmla="*/ 26 w 1440"/>
                <a:gd name="T73" fmla="*/ 50 h 1476"/>
                <a:gd name="T74" fmla="*/ 44 w 1440"/>
                <a:gd name="T75" fmla="*/ 47 h 1476"/>
                <a:gd name="T76" fmla="*/ 41 w 1440"/>
                <a:gd name="T77" fmla="*/ 24 h 1476"/>
                <a:gd name="T78" fmla="*/ 44 w 1440"/>
                <a:gd name="T79" fmla="*/ 20 h 1476"/>
                <a:gd name="T80" fmla="*/ 47 w 1440"/>
                <a:gd name="T81" fmla="*/ 18 h 1476"/>
                <a:gd name="T82" fmla="*/ 54 w 1440"/>
                <a:gd name="T83" fmla="*/ 21 h 1476"/>
                <a:gd name="T84" fmla="*/ 61 w 1440"/>
                <a:gd name="T85" fmla="*/ 23 h 1476"/>
                <a:gd name="T86" fmla="*/ 59 w 1440"/>
                <a:gd name="T87" fmla="*/ 14 h 1476"/>
                <a:gd name="T88" fmla="*/ 61 w 1440"/>
                <a:gd name="T89" fmla="*/ 8 h 1476"/>
                <a:gd name="T90" fmla="*/ 71 w 1440"/>
                <a:gd name="T91" fmla="*/ 7 h 1476"/>
                <a:gd name="T92" fmla="*/ 75 w 1440"/>
                <a:gd name="T93" fmla="*/ 0 h 1476"/>
                <a:gd name="T94" fmla="*/ 82 w 1440"/>
                <a:gd name="T95" fmla="*/ 3 h 1476"/>
                <a:gd name="T96" fmla="*/ 93 w 1440"/>
                <a:gd name="T97" fmla="*/ 5 h 1476"/>
                <a:gd name="T98" fmla="*/ 100 w 1440"/>
                <a:gd name="T99" fmla="*/ 1 h 1476"/>
                <a:gd name="T100" fmla="*/ 104 w 1440"/>
                <a:gd name="T101" fmla="*/ 4 h 1476"/>
                <a:gd name="T102" fmla="*/ 110 w 1440"/>
                <a:gd name="T103" fmla="*/ 10 h 1476"/>
                <a:gd name="T104" fmla="*/ 115 w 1440"/>
                <a:gd name="T105" fmla="*/ 23 h 1476"/>
                <a:gd name="T106" fmla="*/ 117 w 1440"/>
                <a:gd name="T107" fmla="*/ 42 h 1476"/>
                <a:gd name="T108" fmla="*/ 121 w 1440"/>
                <a:gd name="T109" fmla="*/ 52 h 1476"/>
                <a:gd name="T110" fmla="*/ 118 w 1440"/>
                <a:gd name="T111" fmla="*/ 62 h 1476"/>
                <a:gd name="T112" fmla="*/ 124 w 1440"/>
                <a:gd name="T113" fmla="*/ 66 h 1476"/>
                <a:gd name="T114" fmla="*/ 121 w 1440"/>
                <a:gd name="T115" fmla="*/ 71 h 1476"/>
                <a:gd name="T116" fmla="*/ 115 w 1440"/>
                <a:gd name="T117" fmla="*/ 76 h 1476"/>
                <a:gd name="T118" fmla="*/ 109 w 1440"/>
                <a:gd name="T119" fmla="*/ 76 h 1476"/>
                <a:gd name="T120" fmla="*/ 105 w 1440"/>
                <a:gd name="T121" fmla="*/ 86 h 1476"/>
                <a:gd name="T122" fmla="*/ 107 w 1440"/>
                <a:gd name="T123" fmla="*/ 97 h 147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40"/>
                <a:gd name="T187" fmla="*/ 0 h 1476"/>
                <a:gd name="T188" fmla="*/ 1440 w 1440"/>
                <a:gd name="T189" fmla="*/ 1476 h 147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40" h="1476">
                  <a:moveTo>
                    <a:pt x="1212" y="1164"/>
                  </a:moveTo>
                  <a:lnTo>
                    <a:pt x="1206" y="1170"/>
                  </a:lnTo>
                  <a:lnTo>
                    <a:pt x="1200" y="1176"/>
                  </a:lnTo>
                  <a:lnTo>
                    <a:pt x="1194" y="1176"/>
                  </a:lnTo>
                  <a:lnTo>
                    <a:pt x="1188" y="1188"/>
                  </a:lnTo>
                  <a:lnTo>
                    <a:pt x="1182" y="1194"/>
                  </a:lnTo>
                  <a:lnTo>
                    <a:pt x="1176" y="1194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64" y="1206"/>
                  </a:lnTo>
                  <a:lnTo>
                    <a:pt x="1158" y="1206"/>
                  </a:lnTo>
                  <a:lnTo>
                    <a:pt x="1152" y="1212"/>
                  </a:lnTo>
                  <a:lnTo>
                    <a:pt x="1146" y="1212"/>
                  </a:lnTo>
                  <a:lnTo>
                    <a:pt x="1140" y="1224"/>
                  </a:lnTo>
                  <a:lnTo>
                    <a:pt x="1134" y="1230"/>
                  </a:lnTo>
                  <a:lnTo>
                    <a:pt x="1128" y="1236"/>
                  </a:lnTo>
                  <a:lnTo>
                    <a:pt x="1128" y="1242"/>
                  </a:lnTo>
                  <a:lnTo>
                    <a:pt x="1128" y="1254"/>
                  </a:lnTo>
                  <a:lnTo>
                    <a:pt x="1128" y="1260"/>
                  </a:lnTo>
                  <a:lnTo>
                    <a:pt x="1122" y="1260"/>
                  </a:lnTo>
                  <a:lnTo>
                    <a:pt x="1122" y="1266"/>
                  </a:lnTo>
                  <a:lnTo>
                    <a:pt x="1128" y="1278"/>
                  </a:lnTo>
                  <a:lnTo>
                    <a:pt x="1122" y="1278"/>
                  </a:lnTo>
                  <a:lnTo>
                    <a:pt x="1122" y="1284"/>
                  </a:lnTo>
                  <a:lnTo>
                    <a:pt x="1128" y="1290"/>
                  </a:lnTo>
                  <a:lnTo>
                    <a:pt x="1122" y="1296"/>
                  </a:lnTo>
                  <a:lnTo>
                    <a:pt x="1122" y="1302"/>
                  </a:lnTo>
                  <a:lnTo>
                    <a:pt x="1116" y="1302"/>
                  </a:lnTo>
                  <a:lnTo>
                    <a:pt x="1110" y="1314"/>
                  </a:lnTo>
                  <a:lnTo>
                    <a:pt x="1110" y="1320"/>
                  </a:lnTo>
                  <a:lnTo>
                    <a:pt x="1110" y="1326"/>
                  </a:lnTo>
                  <a:lnTo>
                    <a:pt x="1098" y="1332"/>
                  </a:lnTo>
                  <a:lnTo>
                    <a:pt x="1092" y="1338"/>
                  </a:lnTo>
                  <a:lnTo>
                    <a:pt x="1092" y="1344"/>
                  </a:lnTo>
                  <a:lnTo>
                    <a:pt x="1086" y="1350"/>
                  </a:lnTo>
                  <a:lnTo>
                    <a:pt x="1080" y="1350"/>
                  </a:lnTo>
                  <a:lnTo>
                    <a:pt x="1074" y="1350"/>
                  </a:lnTo>
                  <a:lnTo>
                    <a:pt x="1068" y="1356"/>
                  </a:lnTo>
                  <a:lnTo>
                    <a:pt x="1062" y="1356"/>
                  </a:lnTo>
                  <a:lnTo>
                    <a:pt x="1044" y="1356"/>
                  </a:lnTo>
                  <a:lnTo>
                    <a:pt x="1038" y="1362"/>
                  </a:lnTo>
                  <a:lnTo>
                    <a:pt x="1032" y="1368"/>
                  </a:lnTo>
                  <a:lnTo>
                    <a:pt x="1026" y="1368"/>
                  </a:lnTo>
                  <a:lnTo>
                    <a:pt x="1020" y="1374"/>
                  </a:lnTo>
                  <a:lnTo>
                    <a:pt x="1008" y="1374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74"/>
                  </a:lnTo>
                  <a:lnTo>
                    <a:pt x="978" y="1380"/>
                  </a:lnTo>
                  <a:lnTo>
                    <a:pt x="972" y="1380"/>
                  </a:lnTo>
                  <a:lnTo>
                    <a:pt x="954" y="1368"/>
                  </a:lnTo>
                  <a:lnTo>
                    <a:pt x="930" y="1368"/>
                  </a:lnTo>
                  <a:lnTo>
                    <a:pt x="918" y="1368"/>
                  </a:lnTo>
                  <a:lnTo>
                    <a:pt x="906" y="1368"/>
                  </a:lnTo>
                  <a:lnTo>
                    <a:pt x="894" y="1368"/>
                  </a:lnTo>
                  <a:lnTo>
                    <a:pt x="864" y="1374"/>
                  </a:lnTo>
                  <a:lnTo>
                    <a:pt x="852" y="1374"/>
                  </a:lnTo>
                  <a:lnTo>
                    <a:pt x="846" y="1386"/>
                  </a:lnTo>
                  <a:lnTo>
                    <a:pt x="846" y="1392"/>
                  </a:lnTo>
                  <a:lnTo>
                    <a:pt x="840" y="1398"/>
                  </a:lnTo>
                  <a:lnTo>
                    <a:pt x="840" y="1404"/>
                  </a:lnTo>
                  <a:lnTo>
                    <a:pt x="834" y="1416"/>
                  </a:lnTo>
                  <a:lnTo>
                    <a:pt x="828" y="1416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04" y="1428"/>
                  </a:lnTo>
                  <a:lnTo>
                    <a:pt x="804" y="1434"/>
                  </a:lnTo>
                  <a:lnTo>
                    <a:pt x="804" y="1440"/>
                  </a:lnTo>
                  <a:lnTo>
                    <a:pt x="798" y="1446"/>
                  </a:lnTo>
                  <a:lnTo>
                    <a:pt x="798" y="1458"/>
                  </a:lnTo>
                  <a:lnTo>
                    <a:pt x="792" y="1464"/>
                  </a:lnTo>
                  <a:lnTo>
                    <a:pt x="786" y="1476"/>
                  </a:lnTo>
                  <a:lnTo>
                    <a:pt x="780" y="1470"/>
                  </a:lnTo>
                  <a:lnTo>
                    <a:pt x="774" y="1470"/>
                  </a:lnTo>
                  <a:lnTo>
                    <a:pt x="768" y="1470"/>
                  </a:lnTo>
                  <a:lnTo>
                    <a:pt x="762" y="1476"/>
                  </a:lnTo>
                  <a:lnTo>
                    <a:pt x="762" y="1470"/>
                  </a:lnTo>
                  <a:lnTo>
                    <a:pt x="762" y="1464"/>
                  </a:lnTo>
                  <a:lnTo>
                    <a:pt x="762" y="1458"/>
                  </a:lnTo>
                  <a:lnTo>
                    <a:pt x="756" y="1458"/>
                  </a:lnTo>
                  <a:lnTo>
                    <a:pt x="756" y="1452"/>
                  </a:lnTo>
                  <a:lnTo>
                    <a:pt x="756" y="1446"/>
                  </a:lnTo>
                  <a:lnTo>
                    <a:pt x="756" y="1440"/>
                  </a:lnTo>
                  <a:lnTo>
                    <a:pt x="750" y="1434"/>
                  </a:lnTo>
                  <a:lnTo>
                    <a:pt x="750" y="1428"/>
                  </a:lnTo>
                  <a:lnTo>
                    <a:pt x="750" y="1422"/>
                  </a:lnTo>
                  <a:lnTo>
                    <a:pt x="750" y="1416"/>
                  </a:lnTo>
                  <a:lnTo>
                    <a:pt x="744" y="1416"/>
                  </a:lnTo>
                  <a:lnTo>
                    <a:pt x="744" y="1410"/>
                  </a:lnTo>
                  <a:lnTo>
                    <a:pt x="738" y="1404"/>
                  </a:lnTo>
                  <a:lnTo>
                    <a:pt x="732" y="1398"/>
                  </a:lnTo>
                  <a:lnTo>
                    <a:pt x="732" y="1392"/>
                  </a:lnTo>
                  <a:lnTo>
                    <a:pt x="726" y="1386"/>
                  </a:lnTo>
                  <a:lnTo>
                    <a:pt x="726" y="1380"/>
                  </a:lnTo>
                  <a:lnTo>
                    <a:pt x="714" y="1368"/>
                  </a:lnTo>
                  <a:lnTo>
                    <a:pt x="708" y="1368"/>
                  </a:lnTo>
                  <a:lnTo>
                    <a:pt x="684" y="1332"/>
                  </a:lnTo>
                  <a:lnTo>
                    <a:pt x="666" y="1320"/>
                  </a:lnTo>
                  <a:lnTo>
                    <a:pt x="648" y="1302"/>
                  </a:lnTo>
                  <a:lnTo>
                    <a:pt x="630" y="1314"/>
                  </a:lnTo>
                  <a:lnTo>
                    <a:pt x="624" y="1314"/>
                  </a:lnTo>
                  <a:lnTo>
                    <a:pt x="624" y="1308"/>
                  </a:lnTo>
                  <a:lnTo>
                    <a:pt x="618" y="1308"/>
                  </a:lnTo>
                  <a:lnTo>
                    <a:pt x="612" y="1284"/>
                  </a:lnTo>
                  <a:lnTo>
                    <a:pt x="606" y="1254"/>
                  </a:lnTo>
                  <a:lnTo>
                    <a:pt x="606" y="1248"/>
                  </a:lnTo>
                  <a:lnTo>
                    <a:pt x="606" y="1242"/>
                  </a:lnTo>
                  <a:lnTo>
                    <a:pt x="612" y="1242"/>
                  </a:lnTo>
                  <a:lnTo>
                    <a:pt x="618" y="1236"/>
                  </a:lnTo>
                  <a:lnTo>
                    <a:pt x="618" y="1230"/>
                  </a:lnTo>
                  <a:lnTo>
                    <a:pt x="624" y="1224"/>
                  </a:lnTo>
                  <a:lnTo>
                    <a:pt x="630" y="1224"/>
                  </a:lnTo>
                  <a:lnTo>
                    <a:pt x="636" y="1218"/>
                  </a:lnTo>
                  <a:lnTo>
                    <a:pt x="636" y="1212"/>
                  </a:lnTo>
                  <a:lnTo>
                    <a:pt x="612" y="1200"/>
                  </a:lnTo>
                  <a:lnTo>
                    <a:pt x="606" y="1182"/>
                  </a:lnTo>
                  <a:lnTo>
                    <a:pt x="672" y="1182"/>
                  </a:lnTo>
                  <a:lnTo>
                    <a:pt x="690" y="1170"/>
                  </a:lnTo>
                  <a:lnTo>
                    <a:pt x="690" y="1152"/>
                  </a:lnTo>
                  <a:lnTo>
                    <a:pt x="678" y="1110"/>
                  </a:lnTo>
                  <a:lnTo>
                    <a:pt x="672" y="1092"/>
                  </a:lnTo>
                  <a:lnTo>
                    <a:pt x="660" y="1074"/>
                  </a:lnTo>
                  <a:lnTo>
                    <a:pt x="648" y="1068"/>
                  </a:lnTo>
                  <a:lnTo>
                    <a:pt x="642" y="1068"/>
                  </a:lnTo>
                  <a:lnTo>
                    <a:pt x="636" y="1062"/>
                  </a:lnTo>
                  <a:lnTo>
                    <a:pt x="624" y="1056"/>
                  </a:lnTo>
                  <a:lnTo>
                    <a:pt x="624" y="1050"/>
                  </a:lnTo>
                  <a:lnTo>
                    <a:pt x="618" y="1038"/>
                  </a:lnTo>
                  <a:lnTo>
                    <a:pt x="612" y="1038"/>
                  </a:lnTo>
                  <a:lnTo>
                    <a:pt x="612" y="1032"/>
                  </a:lnTo>
                  <a:lnTo>
                    <a:pt x="612" y="1026"/>
                  </a:lnTo>
                  <a:lnTo>
                    <a:pt x="600" y="1014"/>
                  </a:lnTo>
                  <a:lnTo>
                    <a:pt x="582" y="1008"/>
                  </a:lnTo>
                  <a:lnTo>
                    <a:pt x="576" y="1002"/>
                  </a:lnTo>
                  <a:lnTo>
                    <a:pt x="576" y="996"/>
                  </a:lnTo>
                  <a:lnTo>
                    <a:pt x="570" y="996"/>
                  </a:lnTo>
                  <a:lnTo>
                    <a:pt x="570" y="990"/>
                  </a:lnTo>
                  <a:lnTo>
                    <a:pt x="570" y="984"/>
                  </a:lnTo>
                  <a:lnTo>
                    <a:pt x="564" y="984"/>
                  </a:lnTo>
                  <a:lnTo>
                    <a:pt x="558" y="978"/>
                  </a:lnTo>
                  <a:lnTo>
                    <a:pt x="552" y="972"/>
                  </a:lnTo>
                  <a:lnTo>
                    <a:pt x="552" y="966"/>
                  </a:lnTo>
                  <a:lnTo>
                    <a:pt x="546" y="972"/>
                  </a:lnTo>
                  <a:lnTo>
                    <a:pt x="540" y="972"/>
                  </a:lnTo>
                  <a:lnTo>
                    <a:pt x="534" y="960"/>
                  </a:lnTo>
                  <a:lnTo>
                    <a:pt x="528" y="960"/>
                  </a:lnTo>
                  <a:lnTo>
                    <a:pt x="528" y="966"/>
                  </a:lnTo>
                  <a:lnTo>
                    <a:pt x="516" y="954"/>
                  </a:lnTo>
                  <a:lnTo>
                    <a:pt x="516" y="948"/>
                  </a:lnTo>
                  <a:lnTo>
                    <a:pt x="510" y="948"/>
                  </a:lnTo>
                  <a:lnTo>
                    <a:pt x="504" y="948"/>
                  </a:lnTo>
                  <a:lnTo>
                    <a:pt x="498" y="948"/>
                  </a:lnTo>
                  <a:lnTo>
                    <a:pt x="504" y="954"/>
                  </a:lnTo>
                  <a:lnTo>
                    <a:pt x="498" y="954"/>
                  </a:lnTo>
                  <a:lnTo>
                    <a:pt x="492" y="954"/>
                  </a:lnTo>
                  <a:lnTo>
                    <a:pt x="480" y="942"/>
                  </a:lnTo>
                  <a:lnTo>
                    <a:pt x="480" y="948"/>
                  </a:lnTo>
                  <a:lnTo>
                    <a:pt x="480" y="954"/>
                  </a:lnTo>
                  <a:lnTo>
                    <a:pt x="474" y="954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56" y="966"/>
                  </a:lnTo>
                  <a:lnTo>
                    <a:pt x="456" y="960"/>
                  </a:lnTo>
                  <a:lnTo>
                    <a:pt x="450" y="966"/>
                  </a:lnTo>
                  <a:lnTo>
                    <a:pt x="444" y="966"/>
                  </a:lnTo>
                  <a:lnTo>
                    <a:pt x="414" y="966"/>
                  </a:lnTo>
                  <a:lnTo>
                    <a:pt x="408" y="960"/>
                  </a:lnTo>
                  <a:lnTo>
                    <a:pt x="408" y="966"/>
                  </a:lnTo>
                  <a:lnTo>
                    <a:pt x="402" y="960"/>
                  </a:lnTo>
                  <a:lnTo>
                    <a:pt x="396" y="960"/>
                  </a:lnTo>
                  <a:lnTo>
                    <a:pt x="390" y="960"/>
                  </a:lnTo>
                  <a:lnTo>
                    <a:pt x="390" y="966"/>
                  </a:lnTo>
                  <a:lnTo>
                    <a:pt x="384" y="966"/>
                  </a:lnTo>
                  <a:lnTo>
                    <a:pt x="378" y="966"/>
                  </a:lnTo>
                  <a:lnTo>
                    <a:pt x="384" y="960"/>
                  </a:lnTo>
                  <a:lnTo>
                    <a:pt x="384" y="954"/>
                  </a:lnTo>
                  <a:lnTo>
                    <a:pt x="372" y="948"/>
                  </a:lnTo>
                  <a:lnTo>
                    <a:pt x="372" y="954"/>
                  </a:lnTo>
                  <a:lnTo>
                    <a:pt x="372" y="960"/>
                  </a:lnTo>
                  <a:lnTo>
                    <a:pt x="366" y="960"/>
                  </a:lnTo>
                  <a:lnTo>
                    <a:pt x="360" y="966"/>
                  </a:lnTo>
                  <a:lnTo>
                    <a:pt x="354" y="966"/>
                  </a:lnTo>
                  <a:lnTo>
                    <a:pt x="348" y="960"/>
                  </a:lnTo>
                  <a:lnTo>
                    <a:pt x="342" y="960"/>
                  </a:lnTo>
                  <a:lnTo>
                    <a:pt x="342" y="966"/>
                  </a:lnTo>
                  <a:lnTo>
                    <a:pt x="336" y="972"/>
                  </a:lnTo>
                  <a:lnTo>
                    <a:pt x="330" y="972"/>
                  </a:lnTo>
                  <a:lnTo>
                    <a:pt x="324" y="966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6" y="954"/>
                  </a:lnTo>
                  <a:lnTo>
                    <a:pt x="306" y="948"/>
                  </a:lnTo>
                  <a:lnTo>
                    <a:pt x="306" y="942"/>
                  </a:lnTo>
                  <a:lnTo>
                    <a:pt x="300" y="942"/>
                  </a:lnTo>
                  <a:lnTo>
                    <a:pt x="294" y="936"/>
                  </a:lnTo>
                  <a:lnTo>
                    <a:pt x="288" y="936"/>
                  </a:lnTo>
                  <a:lnTo>
                    <a:pt x="282" y="942"/>
                  </a:lnTo>
                  <a:lnTo>
                    <a:pt x="276" y="936"/>
                  </a:lnTo>
                  <a:lnTo>
                    <a:pt x="276" y="942"/>
                  </a:lnTo>
                  <a:lnTo>
                    <a:pt x="270" y="942"/>
                  </a:lnTo>
                  <a:lnTo>
                    <a:pt x="264" y="936"/>
                  </a:lnTo>
                  <a:lnTo>
                    <a:pt x="252" y="936"/>
                  </a:lnTo>
                  <a:lnTo>
                    <a:pt x="246" y="936"/>
                  </a:lnTo>
                  <a:lnTo>
                    <a:pt x="240" y="936"/>
                  </a:lnTo>
                  <a:lnTo>
                    <a:pt x="234" y="936"/>
                  </a:lnTo>
                  <a:lnTo>
                    <a:pt x="240" y="924"/>
                  </a:lnTo>
                  <a:lnTo>
                    <a:pt x="234" y="924"/>
                  </a:lnTo>
                  <a:lnTo>
                    <a:pt x="228" y="918"/>
                  </a:lnTo>
                  <a:lnTo>
                    <a:pt x="228" y="906"/>
                  </a:lnTo>
                  <a:lnTo>
                    <a:pt x="222" y="900"/>
                  </a:lnTo>
                  <a:lnTo>
                    <a:pt x="216" y="900"/>
                  </a:lnTo>
                  <a:lnTo>
                    <a:pt x="210" y="900"/>
                  </a:lnTo>
                  <a:lnTo>
                    <a:pt x="210" y="906"/>
                  </a:lnTo>
                  <a:lnTo>
                    <a:pt x="204" y="906"/>
                  </a:lnTo>
                  <a:lnTo>
                    <a:pt x="198" y="906"/>
                  </a:lnTo>
                  <a:lnTo>
                    <a:pt x="210" y="900"/>
                  </a:lnTo>
                  <a:lnTo>
                    <a:pt x="210" y="894"/>
                  </a:lnTo>
                  <a:lnTo>
                    <a:pt x="216" y="888"/>
                  </a:lnTo>
                  <a:lnTo>
                    <a:pt x="204" y="882"/>
                  </a:lnTo>
                  <a:lnTo>
                    <a:pt x="204" y="894"/>
                  </a:lnTo>
                  <a:lnTo>
                    <a:pt x="198" y="894"/>
                  </a:lnTo>
                  <a:lnTo>
                    <a:pt x="192" y="900"/>
                  </a:lnTo>
                  <a:lnTo>
                    <a:pt x="186" y="894"/>
                  </a:lnTo>
                  <a:lnTo>
                    <a:pt x="180" y="894"/>
                  </a:lnTo>
                  <a:lnTo>
                    <a:pt x="174" y="894"/>
                  </a:lnTo>
                  <a:lnTo>
                    <a:pt x="168" y="900"/>
                  </a:lnTo>
                  <a:lnTo>
                    <a:pt x="162" y="906"/>
                  </a:lnTo>
                  <a:lnTo>
                    <a:pt x="156" y="906"/>
                  </a:lnTo>
                  <a:lnTo>
                    <a:pt x="150" y="900"/>
                  </a:lnTo>
                  <a:lnTo>
                    <a:pt x="144" y="894"/>
                  </a:lnTo>
                  <a:lnTo>
                    <a:pt x="138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0" y="888"/>
                  </a:lnTo>
                  <a:lnTo>
                    <a:pt x="114" y="894"/>
                  </a:lnTo>
                  <a:lnTo>
                    <a:pt x="120" y="900"/>
                  </a:lnTo>
                  <a:lnTo>
                    <a:pt x="126" y="900"/>
                  </a:lnTo>
                  <a:lnTo>
                    <a:pt x="132" y="900"/>
                  </a:lnTo>
                  <a:lnTo>
                    <a:pt x="132" y="906"/>
                  </a:lnTo>
                  <a:lnTo>
                    <a:pt x="126" y="912"/>
                  </a:lnTo>
                  <a:lnTo>
                    <a:pt x="126" y="918"/>
                  </a:lnTo>
                  <a:lnTo>
                    <a:pt x="114" y="918"/>
                  </a:lnTo>
                  <a:lnTo>
                    <a:pt x="108" y="924"/>
                  </a:lnTo>
                  <a:lnTo>
                    <a:pt x="102" y="924"/>
                  </a:lnTo>
                  <a:lnTo>
                    <a:pt x="90" y="924"/>
                  </a:lnTo>
                  <a:lnTo>
                    <a:pt x="84" y="924"/>
                  </a:lnTo>
                  <a:lnTo>
                    <a:pt x="78" y="924"/>
                  </a:lnTo>
                  <a:lnTo>
                    <a:pt x="60" y="924"/>
                  </a:lnTo>
                  <a:lnTo>
                    <a:pt x="54" y="942"/>
                  </a:lnTo>
                  <a:lnTo>
                    <a:pt x="48" y="936"/>
                  </a:lnTo>
                  <a:lnTo>
                    <a:pt x="42" y="930"/>
                  </a:lnTo>
                  <a:lnTo>
                    <a:pt x="36" y="930"/>
                  </a:lnTo>
                  <a:lnTo>
                    <a:pt x="30" y="936"/>
                  </a:lnTo>
                  <a:lnTo>
                    <a:pt x="30" y="930"/>
                  </a:lnTo>
                  <a:lnTo>
                    <a:pt x="30" y="924"/>
                  </a:lnTo>
                  <a:lnTo>
                    <a:pt x="18" y="918"/>
                  </a:lnTo>
                  <a:lnTo>
                    <a:pt x="18" y="912"/>
                  </a:lnTo>
                  <a:lnTo>
                    <a:pt x="12" y="912"/>
                  </a:lnTo>
                  <a:lnTo>
                    <a:pt x="6" y="912"/>
                  </a:lnTo>
                  <a:lnTo>
                    <a:pt x="6" y="900"/>
                  </a:lnTo>
                  <a:lnTo>
                    <a:pt x="6" y="894"/>
                  </a:lnTo>
                  <a:lnTo>
                    <a:pt x="0" y="870"/>
                  </a:lnTo>
                  <a:lnTo>
                    <a:pt x="6" y="846"/>
                  </a:lnTo>
                  <a:lnTo>
                    <a:pt x="6" y="810"/>
                  </a:lnTo>
                  <a:lnTo>
                    <a:pt x="12" y="774"/>
                  </a:lnTo>
                  <a:lnTo>
                    <a:pt x="12" y="756"/>
                  </a:lnTo>
                  <a:lnTo>
                    <a:pt x="18" y="744"/>
                  </a:lnTo>
                  <a:lnTo>
                    <a:pt x="18" y="732"/>
                  </a:lnTo>
                  <a:lnTo>
                    <a:pt x="12" y="576"/>
                  </a:lnTo>
                  <a:lnTo>
                    <a:pt x="12" y="570"/>
                  </a:lnTo>
                  <a:lnTo>
                    <a:pt x="18" y="564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42" y="552"/>
                  </a:lnTo>
                  <a:lnTo>
                    <a:pt x="66" y="552"/>
                  </a:lnTo>
                  <a:lnTo>
                    <a:pt x="78" y="558"/>
                  </a:lnTo>
                  <a:lnTo>
                    <a:pt x="90" y="558"/>
                  </a:lnTo>
                  <a:lnTo>
                    <a:pt x="108" y="558"/>
                  </a:lnTo>
                  <a:lnTo>
                    <a:pt x="144" y="558"/>
                  </a:lnTo>
                  <a:lnTo>
                    <a:pt x="204" y="552"/>
                  </a:lnTo>
                  <a:lnTo>
                    <a:pt x="210" y="558"/>
                  </a:lnTo>
                  <a:lnTo>
                    <a:pt x="216" y="558"/>
                  </a:lnTo>
                  <a:lnTo>
                    <a:pt x="210" y="564"/>
                  </a:lnTo>
                  <a:lnTo>
                    <a:pt x="216" y="564"/>
                  </a:lnTo>
                  <a:lnTo>
                    <a:pt x="222" y="564"/>
                  </a:lnTo>
                  <a:lnTo>
                    <a:pt x="240" y="564"/>
                  </a:lnTo>
                  <a:lnTo>
                    <a:pt x="258" y="564"/>
                  </a:lnTo>
                  <a:lnTo>
                    <a:pt x="264" y="570"/>
                  </a:lnTo>
                  <a:lnTo>
                    <a:pt x="276" y="570"/>
                  </a:lnTo>
                  <a:lnTo>
                    <a:pt x="282" y="564"/>
                  </a:lnTo>
                  <a:lnTo>
                    <a:pt x="294" y="564"/>
                  </a:lnTo>
                  <a:lnTo>
                    <a:pt x="294" y="570"/>
                  </a:lnTo>
                  <a:lnTo>
                    <a:pt x="300" y="570"/>
                  </a:lnTo>
                  <a:lnTo>
                    <a:pt x="378" y="564"/>
                  </a:lnTo>
                  <a:lnTo>
                    <a:pt x="408" y="558"/>
                  </a:lnTo>
                  <a:lnTo>
                    <a:pt x="432" y="552"/>
                  </a:lnTo>
                  <a:lnTo>
                    <a:pt x="450" y="546"/>
                  </a:lnTo>
                  <a:lnTo>
                    <a:pt x="468" y="546"/>
                  </a:lnTo>
                  <a:lnTo>
                    <a:pt x="468" y="552"/>
                  </a:lnTo>
                  <a:lnTo>
                    <a:pt x="504" y="552"/>
                  </a:lnTo>
                  <a:lnTo>
                    <a:pt x="510" y="534"/>
                  </a:lnTo>
                  <a:lnTo>
                    <a:pt x="516" y="510"/>
                  </a:lnTo>
                  <a:lnTo>
                    <a:pt x="522" y="510"/>
                  </a:lnTo>
                  <a:lnTo>
                    <a:pt x="528" y="420"/>
                  </a:lnTo>
                  <a:lnTo>
                    <a:pt x="522" y="414"/>
                  </a:lnTo>
                  <a:lnTo>
                    <a:pt x="516" y="396"/>
                  </a:lnTo>
                  <a:lnTo>
                    <a:pt x="510" y="372"/>
                  </a:lnTo>
                  <a:lnTo>
                    <a:pt x="498" y="348"/>
                  </a:lnTo>
                  <a:lnTo>
                    <a:pt x="474" y="282"/>
                  </a:lnTo>
                  <a:lnTo>
                    <a:pt x="474" y="270"/>
                  </a:lnTo>
                  <a:lnTo>
                    <a:pt x="480" y="258"/>
                  </a:lnTo>
                  <a:lnTo>
                    <a:pt x="486" y="258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92" y="246"/>
                  </a:lnTo>
                  <a:lnTo>
                    <a:pt x="504" y="234"/>
                  </a:lnTo>
                  <a:lnTo>
                    <a:pt x="510" y="228"/>
                  </a:lnTo>
                  <a:lnTo>
                    <a:pt x="516" y="228"/>
                  </a:lnTo>
                  <a:lnTo>
                    <a:pt x="516" y="222"/>
                  </a:lnTo>
                  <a:lnTo>
                    <a:pt x="516" y="216"/>
                  </a:lnTo>
                  <a:lnTo>
                    <a:pt x="522" y="216"/>
                  </a:lnTo>
                  <a:lnTo>
                    <a:pt x="528" y="210"/>
                  </a:lnTo>
                  <a:lnTo>
                    <a:pt x="534" y="210"/>
                  </a:lnTo>
                  <a:lnTo>
                    <a:pt x="540" y="210"/>
                  </a:lnTo>
                  <a:lnTo>
                    <a:pt x="546" y="210"/>
                  </a:lnTo>
                  <a:lnTo>
                    <a:pt x="552" y="210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16"/>
                  </a:lnTo>
                  <a:lnTo>
                    <a:pt x="588" y="228"/>
                  </a:lnTo>
                  <a:lnTo>
                    <a:pt x="594" y="234"/>
                  </a:lnTo>
                  <a:lnTo>
                    <a:pt x="600" y="240"/>
                  </a:lnTo>
                  <a:lnTo>
                    <a:pt x="618" y="246"/>
                  </a:lnTo>
                  <a:lnTo>
                    <a:pt x="624" y="246"/>
                  </a:lnTo>
                  <a:lnTo>
                    <a:pt x="636" y="252"/>
                  </a:lnTo>
                  <a:lnTo>
                    <a:pt x="654" y="252"/>
                  </a:lnTo>
                  <a:lnTo>
                    <a:pt x="654" y="258"/>
                  </a:lnTo>
                  <a:lnTo>
                    <a:pt x="666" y="264"/>
                  </a:lnTo>
                  <a:lnTo>
                    <a:pt x="672" y="264"/>
                  </a:lnTo>
                  <a:lnTo>
                    <a:pt x="678" y="264"/>
                  </a:lnTo>
                  <a:lnTo>
                    <a:pt x="696" y="258"/>
                  </a:lnTo>
                  <a:lnTo>
                    <a:pt x="696" y="252"/>
                  </a:lnTo>
                  <a:lnTo>
                    <a:pt x="696" y="246"/>
                  </a:lnTo>
                  <a:lnTo>
                    <a:pt x="690" y="234"/>
                  </a:lnTo>
                  <a:lnTo>
                    <a:pt x="684" y="210"/>
                  </a:lnTo>
                  <a:lnTo>
                    <a:pt x="678" y="192"/>
                  </a:lnTo>
                  <a:lnTo>
                    <a:pt x="672" y="174"/>
                  </a:lnTo>
                  <a:lnTo>
                    <a:pt x="672" y="168"/>
                  </a:lnTo>
                  <a:lnTo>
                    <a:pt x="672" y="162"/>
                  </a:lnTo>
                  <a:lnTo>
                    <a:pt x="672" y="156"/>
                  </a:lnTo>
                  <a:lnTo>
                    <a:pt x="684" y="132"/>
                  </a:lnTo>
                  <a:lnTo>
                    <a:pt x="684" y="120"/>
                  </a:lnTo>
                  <a:lnTo>
                    <a:pt x="684" y="108"/>
                  </a:lnTo>
                  <a:lnTo>
                    <a:pt x="678" y="102"/>
                  </a:lnTo>
                  <a:lnTo>
                    <a:pt x="678" y="96"/>
                  </a:lnTo>
                  <a:lnTo>
                    <a:pt x="684" y="96"/>
                  </a:lnTo>
                  <a:lnTo>
                    <a:pt x="696" y="90"/>
                  </a:lnTo>
                  <a:lnTo>
                    <a:pt x="702" y="84"/>
                  </a:lnTo>
                  <a:lnTo>
                    <a:pt x="720" y="72"/>
                  </a:lnTo>
                  <a:lnTo>
                    <a:pt x="738" y="66"/>
                  </a:lnTo>
                  <a:lnTo>
                    <a:pt x="756" y="60"/>
                  </a:lnTo>
                  <a:lnTo>
                    <a:pt x="768" y="60"/>
                  </a:lnTo>
                  <a:lnTo>
                    <a:pt x="798" y="72"/>
                  </a:lnTo>
                  <a:lnTo>
                    <a:pt x="804" y="78"/>
                  </a:lnTo>
                  <a:lnTo>
                    <a:pt x="816" y="84"/>
                  </a:lnTo>
                  <a:lnTo>
                    <a:pt x="822" y="84"/>
                  </a:lnTo>
                  <a:lnTo>
                    <a:pt x="828" y="72"/>
                  </a:lnTo>
                  <a:lnTo>
                    <a:pt x="828" y="60"/>
                  </a:lnTo>
                  <a:lnTo>
                    <a:pt x="828" y="36"/>
                  </a:lnTo>
                  <a:lnTo>
                    <a:pt x="828" y="24"/>
                  </a:lnTo>
                  <a:lnTo>
                    <a:pt x="828" y="12"/>
                  </a:lnTo>
                  <a:lnTo>
                    <a:pt x="834" y="12"/>
                  </a:lnTo>
                  <a:lnTo>
                    <a:pt x="852" y="6"/>
                  </a:lnTo>
                  <a:lnTo>
                    <a:pt x="876" y="6"/>
                  </a:lnTo>
                  <a:lnTo>
                    <a:pt x="894" y="6"/>
                  </a:lnTo>
                  <a:lnTo>
                    <a:pt x="906" y="12"/>
                  </a:lnTo>
                  <a:lnTo>
                    <a:pt x="912" y="24"/>
                  </a:lnTo>
                  <a:lnTo>
                    <a:pt x="924" y="24"/>
                  </a:lnTo>
                  <a:lnTo>
                    <a:pt x="930" y="30"/>
                  </a:lnTo>
                  <a:lnTo>
                    <a:pt x="936" y="30"/>
                  </a:lnTo>
                  <a:lnTo>
                    <a:pt x="936" y="36"/>
                  </a:lnTo>
                  <a:lnTo>
                    <a:pt x="942" y="36"/>
                  </a:lnTo>
                  <a:lnTo>
                    <a:pt x="948" y="42"/>
                  </a:lnTo>
                  <a:lnTo>
                    <a:pt x="960" y="48"/>
                  </a:lnTo>
                  <a:lnTo>
                    <a:pt x="966" y="48"/>
                  </a:lnTo>
                  <a:lnTo>
                    <a:pt x="1026" y="60"/>
                  </a:lnTo>
                  <a:lnTo>
                    <a:pt x="1050" y="60"/>
                  </a:lnTo>
                  <a:lnTo>
                    <a:pt x="1050" y="54"/>
                  </a:lnTo>
                  <a:lnTo>
                    <a:pt x="1062" y="54"/>
                  </a:lnTo>
                  <a:lnTo>
                    <a:pt x="1074" y="48"/>
                  </a:lnTo>
                  <a:lnTo>
                    <a:pt x="1086" y="42"/>
                  </a:lnTo>
                  <a:lnTo>
                    <a:pt x="1104" y="36"/>
                  </a:lnTo>
                  <a:lnTo>
                    <a:pt x="1116" y="30"/>
                  </a:lnTo>
                  <a:lnTo>
                    <a:pt x="1122" y="24"/>
                  </a:lnTo>
                  <a:lnTo>
                    <a:pt x="1128" y="18"/>
                  </a:lnTo>
                  <a:lnTo>
                    <a:pt x="1134" y="18"/>
                  </a:lnTo>
                  <a:lnTo>
                    <a:pt x="1140" y="12"/>
                  </a:lnTo>
                  <a:lnTo>
                    <a:pt x="1146" y="6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24"/>
                  </a:lnTo>
                  <a:lnTo>
                    <a:pt x="1176" y="36"/>
                  </a:lnTo>
                  <a:lnTo>
                    <a:pt x="1188" y="42"/>
                  </a:lnTo>
                  <a:lnTo>
                    <a:pt x="1200" y="54"/>
                  </a:lnTo>
                  <a:lnTo>
                    <a:pt x="1224" y="84"/>
                  </a:lnTo>
                  <a:lnTo>
                    <a:pt x="1224" y="90"/>
                  </a:lnTo>
                  <a:lnTo>
                    <a:pt x="1236" y="96"/>
                  </a:lnTo>
                  <a:lnTo>
                    <a:pt x="1236" y="108"/>
                  </a:lnTo>
                  <a:lnTo>
                    <a:pt x="1248" y="114"/>
                  </a:lnTo>
                  <a:lnTo>
                    <a:pt x="1254" y="114"/>
                  </a:lnTo>
                  <a:lnTo>
                    <a:pt x="1260" y="114"/>
                  </a:lnTo>
                  <a:lnTo>
                    <a:pt x="1296" y="114"/>
                  </a:lnTo>
                  <a:lnTo>
                    <a:pt x="1302" y="114"/>
                  </a:lnTo>
                  <a:lnTo>
                    <a:pt x="1320" y="108"/>
                  </a:lnTo>
                  <a:lnTo>
                    <a:pt x="1326" y="108"/>
                  </a:lnTo>
                  <a:lnTo>
                    <a:pt x="1326" y="138"/>
                  </a:lnTo>
                  <a:lnTo>
                    <a:pt x="1326" y="210"/>
                  </a:lnTo>
                  <a:lnTo>
                    <a:pt x="1320" y="252"/>
                  </a:lnTo>
                  <a:lnTo>
                    <a:pt x="1320" y="270"/>
                  </a:lnTo>
                  <a:lnTo>
                    <a:pt x="1320" y="288"/>
                  </a:lnTo>
                  <a:lnTo>
                    <a:pt x="1320" y="318"/>
                  </a:lnTo>
                  <a:lnTo>
                    <a:pt x="1326" y="354"/>
                  </a:lnTo>
                  <a:lnTo>
                    <a:pt x="1326" y="372"/>
                  </a:lnTo>
                  <a:lnTo>
                    <a:pt x="1332" y="420"/>
                  </a:lnTo>
                  <a:lnTo>
                    <a:pt x="1332" y="450"/>
                  </a:lnTo>
                  <a:lnTo>
                    <a:pt x="1338" y="480"/>
                  </a:lnTo>
                  <a:lnTo>
                    <a:pt x="1344" y="486"/>
                  </a:lnTo>
                  <a:lnTo>
                    <a:pt x="1338" y="492"/>
                  </a:lnTo>
                  <a:lnTo>
                    <a:pt x="1344" y="492"/>
                  </a:lnTo>
                  <a:lnTo>
                    <a:pt x="1344" y="498"/>
                  </a:lnTo>
                  <a:lnTo>
                    <a:pt x="1350" y="498"/>
                  </a:lnTo>
                  <a:lnTo>
                    <a:pt x="1350" y="522"/>
                  </a:lnTo>
                  <a:lnTo>
                    <a:pt x="1362" y="564"/>
                  </a:lnTo>
                  <a:lnTo>
                    <a:pt x="1368" y="582"/>
                  </a:lnTo>
                  <a:lnTo>
                    <a:pt x="1380" y="600"/>
                  </a:lnTo>
                  <a:lnTo>
                    <a:pt x="1386" y="636"/>
                  </a:lnTo>
                  <a:lnTo>
                    <a:pt x="1380" y="660"/>
                  </a:lnTo>
                  <a:lnTo>
                    <a:pt x="1380" y="678"/>
                  </a:lnTo>
                  <a:lnTo>
                    <a:pt x="1380" y="684"/>
                  </a:lnTo>
                  <a:lnTo>
                    <a:pt x="1374" y="684"/>
                  </a:lnTo>
                  <a:lnTo>
                    <a:pt x="1368" y="690"/>
                  </a:lnTo>
                  <a:lnTo>
                    <a:pt x="1356" y="702"/>
                  </a:lnTo>
                  <a:lnTo>
                    <a:pt x="1350" y="708"/>
                  </a:lnTo>
                  <a:lnTo>
                    <a:pt x="1356" y="714"/>
                  </a:lnTo>
                  <a:lnTo>
                    <a:pt x="1368" y="726"/>
                  </a:lnTo>
                  <a:lnTo>
                    <a:pt x="1380" y="738"/>
                  </a:lnTo>
                  <a:lnTo>
                    <a:pt x="1386" y="744"/>
                  </a:lnTo>
                  <a:lnTo>
                    <a:pt x="1392" y="744"/>
                  </a:lnTo>
                  <a:lnTo>
                    <a:pt x="1410" y="750"/>
                  </a:lnTo>
                  <a:lnTo>
                    <a:pt x="1416" y="756"/>
                  </a:lnTo>
                  <a:lnTo>
                    <a:pt x="1422" y="756"/>
                  </a:lnTo>
                  <a:lnTo>
                    <a:pt x="1422" y="762"/>
                  </a:lnTo>
                  <a:lnTo>
                    <a:pt x="1428" y="774"/>
                  </a:lnTo>
                  <a:lnTo>
                    <a:pt x="1428" y="780"/>
                  </a:lnTo>
                  <a:lnTo>
                    <a:pt x="1434" y="780"/>
                  </a:lnTo>
                  <a:lnTo>
                    <a:pt x="1440" y="798"/>
                  </a:lnTo>
                  <a:lnTo>
                    <a:pt x="1422" y="816"/>
                  </a:lnTo>
                  <a:lnTo>
                    <a:pt x="1386" y="810"/>
                  </a:lnTo>
                  <a:lnTo>
                    <a:pt x="1380" y="816"/>
                  </a:lnTo>
                  <a:lnTo>
                    <a:pt x="1374" y="840"/>
                  </a:lnTo>
                  <a:lnTo>
                    <a:pt x="1350" y="852"/>
                  </a:lnTo>
                  <a:lnTo>
                    <a:pt x="1350" y="858"/>
                  </a:lnTo>
                  <a:lnTo>
                    <a:pt x="1350" y="864"/>
                  </a:lnTo>
                  <a:lnTo>
                    <a:pt x="1344" y="864"/>
                  </a:lnTo>
                  <a:lnTo>
                    <a:pt x="1338" y="870"/>
                  </a:lnTo>
                  <a:lnTo>
                    <a:pt x="1332" y="876"/>
                  </a:lnTo>
                  <a:lnTo>
                    <a:pt x="1314" y="876"/>
                  </a:lnTo>
                  <a:lnTo>
                    <a:pt x="1314" y="870"/>
                  </a:lnTo>
                  <a:lnTo>
                    <a:pt x="1308" y="870"/>
                  </a:lnTo>
                  <a:lnTo>
                    <a:pt x="1302" y="864"/>
                  </a:lnTo>
                  <a:lnTo>
                    <a:pt x="1296" y="864"/>
                  </a:lnTo>
                  <a:lnTo>
                    <a:pt x="1284" y="870"/>
                  </a:lnTo>
                  <a:lnTo>
                    <a:pt x="1266" y="870"/>
                  </a:lnTo>
                  <a:lnTo>
                    <a:pt x="1260" y="870"/>
                  </a:lnTo>
                  <a:lnTo>
                    <a:pt x="1248" y="876"/>
                  </a:lnTo>
                  <a:lnTo>
                    <a:pt x="1236" y="876"/>
                  </a:lnTo>
                  <a:lnTo>
                    <a:pt x="1230" y="882"/>
                  </a:lnTo>
                  <a:lnTo>
                    <a:pt x="1224" y="894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18" y="942"/>
                  </a:lnTo>
                  <a:lnTo>
                    <a:pt x="1212" y="948"/>
                  </a:lnTo>
                  <a:lnTo>
                    <a:pt x="1200" y="984"/>
                  </a:lnTo>
                  <a:lnTo>
                    <a:pt x="1194" y="1008"/>
                  </a:lnTo>
                  <a:lnTo>
                    <a:pt x="1218" y="1038"/>
                  </a:lnTo>
                  <a:lnTo>
                    <a:pt x="1224" y="1044"/>
                  </a:lnTo>
                  <a:lnTo>
                    <a:pt x="1224" y="1062"/>
                  </a:lnTo>
                  <a:lnTo>
                    <a:pt x="1236" y="1080"/>
                  </a:lnTo>
                  <a:lnTo>
                    <a:pt x="1236" y="1086"/>
                  </a:lnTo>
                  <a:lnTo>
                    <a:pt x="1230" y="1092"/>
                  </a:lnTo>
                  <a:lnTo>
                    <a:pt x="1224" y="1110"/>
                  </a:lnTo>
                  <a:lnTo>
                    <a:pt x="1218" y="1122"/>
                  </a:lnTo>
                  <a:lnTo>
                    <a:pt x="1224" y="1140"/>
                  </a:lnTo>
                  <a:lnTo>
                    <a:pt x="1218" y="1146"/>
                  </a:lnTo>
                  <a:lnTo>
                    <a:pt x="1218" y="1152"/>
                  </a:lnTo>
                  <a:lnTo>
                    <a:pt x="1212" y="116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1" name="Freeform 36">
              <a:extLst>
                <a:ext uri="{FF2B5EF4-FFF2-40B4-BE49-F238E27FC236}">
                  <a16:creationId xmlns:a16="http://schemas.microsoft.com/office/drawing/2014/main" id="{B9C0D6BE-CB1C-4E69-B224-1ABF097AA8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90208" y="1647855"/>
              <a:ext cx="742415" cy="758173"/>
            </a:xfrm>
            <a:custGeom>
              <a:avLst/>
              <a:gdLst>
                <a:gd name="T0" fmla="*/ 75 w 1398"/>
                <a:gd name="T1" fmla="*/ 48 h 1428"/>
                <a:gd name="T2" fmla="*/ 68 w 1398"/>
                <a:gd name="T3" fmla="*/ 54 h 1428"/>
                <a:gd name="T4" fmla="*/ 57 w 1398"/>
                <a:gd name="T5" fmla="*/ 59 h 1428"/>
                <a:gd name="T6" fmla="*/ 55 w 1398"/>
                <a:gd name="T7" fmla="*/ 68 h 1428"/>
                <a:gd name="T8" fmla="*/ 55 w 1398"/>
                <a:gd name="T9" fmla="*/ 77 h 1428"/>
                <a:gd name="T10" fmla="*/ 57 w 1398"/>
                <a:gd name="T11" fmla="*/ 81 h 1428"/>
                <a:gd name="T12" fmla="*/ 56 w 1398"/>
                <a:gd name="T13" fmla="*/ 86 h 1428"/>
                <a:gd name="T14" fmla="*/ 57 w 1398"/>
                <a:gd name="T15" fmla="*/ 89 h 1428"/>
                <a:gd name="T16" fmla="*/ 58 w 1398"/>
                <a:gd name="T17" fmla="*/ 92 h 1428"/>
                <a:gd name="T18" fmla="*/ 58 w 1398"/>
                <a:gd name="T19" fmla="*/ 96 h 1428"/>
                <a:gd name="T20" fmla="*/ 49 w 1398"/>
                <a:gd name="T21" fmla="*/ 100 h 1428"/>
                <a:gd name="T22" fmla="*/ 47 w 1398"/>
                <a:gd name="T23" fmla="*/ 108 h 1428"/>
                <a:gd name="T24" fmla="*/ 48 w 1398"/>
                <a:gd name="T25" fmla="*/ 113 h 1428"/>
                <a:gd name="T26" fmla="*/ 43 w 1398"/>
                <a:gd name="T27" fmla="*/ 114 h 1428"/>
                <a:gd name="T28" fmla="*/ 39 w 1398"/>
                <a:gd name="T29" fmla="*/ 113 h 1428"/>
                <a:gd name="T30" fmla="*/ 33 w 1398"/>
                <a:gd name="T31" fmla="*/ 109 h 1428"/>
                <a:gd name="T32" fmla="*/ 29 w 1398"/>
                <a:gd name="T33" fmla="*/ 114 h 1428"/>
                <a:gd name="T34" fmla="*/ 22 w 1398"/>
                <a:gd name="T35" fmla="*/ 115 h 1428"/>
                <a:gd name="T36" fmla="*/ 21 w 1398"/>
                <a:gd name="T37" fmla="*/ 121 h 1428"/>
                <a:gd name="T38" fmla="*/ 12 w 1398"/>
                <a:gd name="T39" fmla="*/ 119 h 1428"/>
                <a:gd name="T40" fmla="*/ 9 w 1398"/>
                <a:gd name="T41" fmla="*/ 113 h 1428"/>
                <a:gd name="T42" fmla="*/ 2 w 1398"/>
                <a:gd name="T43" fmla="*/ 109 h 1428"/>
                <a:gd name="T44" fmla="*/ 4 w 1398"/>
                <a:gd name="T45" fmla="*/ 103 h 1428"/>
                <a:gd name="T46" fmla="*/ 2 w 1398"/>
                <a:gd name="T47" fmla="*/ 91 h 1428"/>
                <a:gd name="T48" fmla="*/ 6 w 1398"/>
                <a:gd name="T49" fmla="*/ 85 h 1428"/>
                <a:gd name="T50" fmla="*/ 10 w 1398"/>
                <a:gd name="T51" fmla="*/ 85 h 1428"/>
                <a:gd name="T52" fmla="*/ 15 w 1398"/>
                <a:gd name="T53" fmla="*/ 82 h 1428"/>
                <a:gd name="T54" fmla="*/ 20 w 1398"/>
                <a:gd name="T55" fmla="*/ 77 h 1428"/>
                <a:gd name="T56" fmla="*/ 16 w 1398"/>
                <a:gd name="T57" fmla="*/ 73 h 1428"/>
                <a:gd name="T58" fmla="*/ 16 w 1398"/>
                <a:gd name="T59" fmla="*/ 69 h 1428"/>
                <a:gd name="T60" fmla="*/ 14 w 1398"/>
                <a:gd name="T61" fmla="*/ 54 h 1428"/>
                <a:gd name="T62" fmla="*/ 12 w 1398"/>
                <a:gd name="T63" fmla="*/ 48 h 1428"/>
                <a:gd name="T64" fmla="*/ 11 w 1398"/>
                <a:gd name="T65" fmla="*/ 31 h 1428"/>
                <a:gd name="T66" fmla="*/ 14 w 1398"/>
                <a:gd name="T67" fmla="*/ 18 h 1428"/>
                <a:gd name="T68" fmla="*/ 19 w 1398"/>
                <a:gd name="T69" fmla="*/ 15 h 1428"/>
                <a:gd name="T70" fmla="*/ 26 w 1398"/>
                <a:gd name="T71" fmla="*/ 13 h 1428"/>
                <a:gd name="T72" fmla="*/ 34 w 1398"/>
                <a:gd name="T73" fmla="*/ 12 h 1428"/>
                <a:gd name="T74" fmla="*/ 39 w 1398"/>
                <a:gd name="T75" fmla="*/ 9 h 1428"/>
                <a:gd name="T76" fmla="*/ 43 w 1398"/>
                <a:gd name="T77" fmla="*/ 7 h 1428"/>
                <a:gd name="T78" fmla="*/ 48 w 1398"/>
                <a:gd name="T79" fmla="*/ 3 h 1428"/>
                <a:gd name="T80" fmla="*/ 54 w 1398"/>
                <a:gd name="T81" fmla="*/ 0 h 1428"/>
                <a:gd name="T82" fmla="*/ 58 w 1398"/>
                <a:gd name="T83" fmla="*/ 0 h 1428"/>
                <a:gd name="T84" fmla="*/ 66 w 1398"/>
                <a:gd name="T85" fmla="*/ 2 h 1428"/>
                <a:gd name="T86" fmla="*/ 70 w 1398"/>
                <a:gd name="T87" fmla="*/ 3 h 1428"/>
                <a:gd name="T88" fmla="*/ 75 w 1398"/>
                <a:gd name="T89" fmla="*/ 6 h 1428"/>
                <a:gd name="T90" fmla="*/ 80 w 1398"/>
                <a:gd name="T91" fmla="*/ 9 h 1428"/>
                <a:gd name="T92" fmla="*/ 83 w 1398"/>
                <a:gd name="T93" fmla="*/ 12 h 1428"/>
                <a:gd name="T94" fmla="*/ 87 w 1398"/>
                <a:gd name="T95" fmla="*/ 15 h 1428"/>
                <a:gd name="T96" fmla="*/ 94 w 1398"/>
                <a:gd name="T97" fmla="*/ 15 h 1428"/>
                <a:gd name="T98" fmla="*/ 99 w 1398"/>
                <a:gd name="T99" fmla="*/ 21 h 1428"/>
                <a:gd name="T100" fmla="*/ 103 w 1398"/>
                <a:gd name="T101" fmla="*/ 23 h 1428"/>
                <a:gd name="T102" fmla="*/ 110 w 1398"/>
                <a:gd name="T103" fmla="*/ 26 h 1428"/>
                <a:gd name="T104" fmla="*/ 116 w 1398"/>
                <a:gd name="T105" fmla="*/ 27 h 1428"/>
                <a:gd name="T106" fmla="*/ 120 w 1398"/>
                <a:gd name="T107" fmla="*/ 27 h 1428"/>
                <a:gd name="T108" fmla="*/ 116 w 1398"/>
                <a:gd name="T109" fmla="*/ 35 h 1428"/>
                <a:gd name="T110" fmla="*/ 104 w 1398"/>
                <a:gd name="T111" fmla="*/ 37 h 1428"/>
                <a:gd name="T112" fmla="*/ 97 w 1398"/>
                <a:gd name="T113" fmla="*/ 34 h 1428"/>
                <a:gd name="T114" fmla="*/ 91 w 1398"/>
                <a:gd name="T115" fmla="*/ 29 h 1428"/>
                <a:gd name="T116" fmla="*/ 75 w 1398"/>
                <a:gd name="T117" fmla="*/ 29 h 1428"/>
                <a:gd name="T118" fmla="*/ 72 w 1398"/>
                <a:gd name="T119" fmla="*/ 39 h 1428"/>
                <a:gd name="T120" fmla="*/ 80 w 1398"/>
                <a:gd name="T121" fmla="*/ 41 h 142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98"/>
                <a:gd name="T184" fmla="*/ 0 h 1428"/>
                <a:gd name="T185" fmla="*/ 1398 w 1398"/>
                <a:gd name="T186" fmla="*/ 1428 h 142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98" h="1428">
                  <a:moveTo>
                    <a:pt x="924" y="474"/>
                  </a:moveTo>
                  <a:lnTo>
                    <a:pt x="900" y="480"/>
                  </a:lnTo>
                  <a:lnTo>
                    <a:pt x="864" y="486"/>
                  </a:lnTo>
                  <a:lnTo>
                    <a:pt x="864" y="504"/>
                  </a:lnTo>
                  <a:lnTo>
                    <a:pt x="858" y="522"/>
                  </a:lnTo>
                  <a:lnTo>
                    <a:pt x="864" y="528"/>
                  </a:lnTo>
                  <a:lnTo>
                    <a:pt x="864" y="552"/>
                  </a:lnTo>
                  <a:lnTo>
                    <a:pt x="852" y="552"/>
                  </a:lnTo>
                  <a:lnTo>
                    <a:pt x="846" y="564"/>
                  </a:lnTo>
                  <a:lnTo>
                    <a:pt x="840" y="582"/>
                  </a:lnTo>
                  <a:lnTo>
                    <a:pt x="834" y="594"/>
                  </a:lnTo>
                  <a:lnTo>
                    <a:pt x="828" y="606"/>
                  </a:lnTo>
                  <a:lnTo>
                    <a:pt x="828" y="618"/>
                  </a:lnTo>
                  <a:lnTo>
                    <a:pt x="786" y="630"/>
                  </a:lnTo>
                  <a:lnTo>
                    <a:pt x="774" y="636"/>
                  </a:lnTo>
                  <a:lnTo>
                    <a:pt x="762" y="642"/>
                  </a:lnTo>
                  <a:lnTo>
                    <a:pt x="744" y="648"/>
                  </a:lnTo>
                  <a:lnTo>
                    <a:pt x="714" y="660"/>
                  </a:lnTo>
                  <a:lnTo>
                    <a:pt x="696" y="666"/>
                  </a:lnTo>
                  <a:lnTo>
                    <a:pt x="666" y="672"/>
                  </a:lnTo>
                  <a:lnTo>
                    <a:pt x="654" y="684"/>
                  </a:lnTo>
                  <a:lnTo>
                    <a:pt x="648" y="684"/>
                  </a:lnTo>
                  <a:lnTo>
                    <a:pt x="642" y="696"/>
                  </a:lnTo>
                  <a:lnTo>
                    <a:pt x="636" y="696"/>
                  </a:lnTo>
                  <a:lnTo>
                    <a:pt x="630" y="714"/>
                  </a:lnTo>
                  <a:lnTo>
                    <a:pt x="624" y="738"/>
                  </a:lnTo>
                  <a:lnTo>
                    <a:pt x="624" y="762"/>
                  </a:lnTo>
                  <a:lnTo>
                    <a:pt x="630" y="780"/>
                  </a:lnTo>
                  <a:lnTo>
                    <a:pt x="636" y="804"/>
                  </a:lnTo>
                  <a:lnTo>
                    <a:pt x="642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6" y="834"/>
                  </a:lnTo>
                  <a:lnTo>
                    <a:pt x="636" y="870"/>
                  </a:lnTo>
                  <a:lnTo>
                    <a:pt x="636" y="882"/>
                  </a:lnTo>
                  <a:lnTo>
                    <a:pt x="636" y="906"/>
                  </a:lnTo>
                  <a:lnTo>
                    <a:pt x="630" y="906"/>
                  </a:lnTo>
                  <a:lnTo>
                    <a:pt x="636" y="918"/>
                  </a:lnTo>
                  <a:lnTo>
                    <a:pt x="642" y="918"/>
                  </a:lnTo>
                  <a:lnTo>
                    <a:pt x="642" y="930"/>
                  </a:lnTo>
                  <a:lnTo>
                    <a:pt x="648" y="936"/>
                  </a:lnTo>
                  <a:lnTo>
                    <a:pt x="654" y="936"/>
                  </a:lnTo>
                  <a:lnTo>
                    <a:pt x="654" y="942"/>
                  </a:lnTo>
                  <a:lnTo>
                    <a:pt x="654" y="948"/>
                  </a:lnTo>
                  <a:lnTo>
                    <a:pt x="648" y="954"/>
                  </a:lnTo>
                  <a:lnTo>
                    <a:pt x="648" y="960"/>
                  </a:lnTo>
                  <a:lnTo>
                    <a:pt x="648" y="966"/>
                  </a:lnTo>
                  <a:lnTo>
                    <a:pt x="648" y="972"/>
                  </a:lnTo>
                  <a:lnTo>
                    <a:pt x="648" y="990"/>
                  </a:lnTo>
                  <a:lnTo>
                    <a:pt x="654" y="996"/>
                  </a:lnTo>
                  <a:lnTo>
                    <a:pt x="648" y="1002"/>
                  </a:lnTo>
                  <a:lnTo>
                    <a:pt x="648" y="1008"/>
                  </a:lnTo>
                  <a:lnTo>
                    <a:pt x="654" y="1014"/>
                  </a:lnTo>
                  <a:lnTo>
                    <a:pt x="654" y="1020"/>
                  </a:lnTo>
                  <a:lnTo>
                    <a:pt x="654" y="1026"/>
                  </a:lnTo>
                  <a:lnTo>
                    <a:pt x="660" y="1026"/>
                  </a:lnTo>
                  <a:lnTo>
                    <a:pt x="660" y="1032"/>
                  </a:lnTo>
                  <a:lnTo>
                    <a:pt x="660" y="1038"/>
                  </a:lnTo>
                  <a:lnTo>
                    <a:pt x="666" y="1044"/>
                  </a:lnTo>
                  <a:lnTo>
                    <a:pt x="672" y="1050"/>
                  </a:lnTo>
                  <a:lnTo>
                    <a:pt x="672" y="1056"/>
                  </a:lnTo>
                  <a:lnTo>
                    <a:pt x="672" y="1062"/>
                  </a:lnTo>
                  <a:lnTo>
                    <a:pt x="672" y="1068"/>
                  </a:lnTo>
                  <a:lnTo>
                    <a:pt x="672" y="1074"/>
                  </a:lnTo>
                  <a:lnTo>
                    <a:pt x="678" y="1074"/>
                  </a:lnTo>
                  <a:lnTo>
                    <a:pt x="678" y="1080"/>
                  </a:lnTo>
                  <a:lnTo>
                    <a:pt x="678" y="1086"/>
                  </a:lnTo>
                  <a:lnTo>
                    <a:pt x="672" y="1092"/>
                  </a:lnTo>
                  <a:lnTo>
                    <a:pt x="672" y="1098"/>
                  </a:lnTo>
                  <a:lnTo>
                    <a:pt x="672" y="1104"/>
                  </a:lnTo>
                  <a:lnTo>
                    <a:pt x="666" y="1116"/>
                  </a:lnTo>
                  <a:lnTo>
                    <a:pt x="624" y="1122"/>
                  </a:lnTo>
                  <a:lnTo>
                    <a:pt x="576" y="1134"/>
                  </a:lnTo>
                  <a:lnTo>
                    <a:pt x="570" y="1140"/>
                  </a:lnTo>
                  <a:lnTo>
                    <a:pt x="570" y="1146"/>
                  </a:lnTo>
                  <a:lnTo>
                    <a:pt x="564" y="1146"/>
                  </a:lnTo>
                  <a:lnTo>
                    <a:pt x="564" y="1152"/>
                  </a:lnTo>
                  <a:lnTo>
                    <a:pt x="564" y="1164"/>
                  </a:lnTo>
                  <a:lnTo>
                    <a:pt x="564" y="1170"/>
                  </a:lnTo>
                  <a:lnTo>
                    <a:pt x="564" y="1176"/>
                  </a:lnTo>
                  <a:lnTo>
                    <a:pt x="546" y="1176"/>
                  </a:lnTo>
                  <a:lnTo>
                    <a:pt x="540" y="1212"/>
                  </a:lnTo>
                  <a:lnTo>
                    <a:pt x="540" y="1230"/>
                  </a:lnTo>
                  <a:lnTo>
                    <a:pt x="546" y="1242"/>
                  </a:lnTo>
                  <a:lnTo>
                    <a:pt x="546" y="1254"/>
                  </a:lnTo>
                  <a:lnTo>
                    <a:pt x="558" y="1266"/>
                  </a:lnTo>
                  <a:lnTo>
                    <a:pt x="576" y="1272"/>
                  </a:lnTo>
                  <a:lnTo>
                    <a:pt x="570" y="1278"/>
                  </a:lnTo>
                  <a:lnTo>
                    <a:pt x="576" y="1284"/>
                  </a:lnTo>
                  <a:lnTo>
                    <a:pt x="570" y="1296"/>
                  </a:lnTo>
                  <a:lnTo>
                    <a:pt x="558" y="1302"/>
                  </a:lnTo>
                  <a:lnTo>
                    <a:pt x="540" y="1308"/>
                  </a:lnTo>
                  <a:lnTo>
                    <a:pt x="522" y="1314"/>
                  </a:lnTo>
                  <a:lnTo>
                    <a:pt x="516" y="1314"/>
                  </a:lnTo>
                  <a:lnTo>
                    <a:pt x="510" y="1314"/>
                  </a:lnTo>
                  <a:lnTo>
                    <a:pt x="504" y="1314"/>
                  </a:lnTo>
                  <a:lnTo>
                    <a:pt x="498" y="1320"/>
                  </a:lnTo>
                  <a:lnTo>
                    <a:pt x="492" y="1320"/>
                  </a:lnTo>
                  <a:lnTo>
                    <a:pt x="492" y="1326"/>
                  </a:lnTo>
                  <a:lnTo>
                    <a:pt x="486" y="1326"/>
                  </a:lnTo>
                  <a:lnTo>
                    <a:pt x="480" y="1326"/>
                  </a:lnTo>
                  <a:lnTo>
                    <a:pt x="480" y="1320"/>
                  </a:lnTo>
                  <a:lnTo>
                    <a:pt x="468" y="1314"/>
                  </a:lnTo>
                  <a:lnTo>
                    <a:pt x="462" y="1308"/>
                  </a:lnTo>
                  <a:lnTo>
                    <a:pt x="456" y="1302"/>
                  </a:lnTo>
                  <a:lnTo>
                    <a:pt x="444" y="1296"/>
                  </a:lnTo>
                  <a:lnTo>
                    <a:pt x="420" y="1290"/>
                  </a:lnTo>
                  <a:lnTo>
                    <a:pt x="414" y="1278"/>
                  </a:lnTo>
                  <a:lnTo>
                    <a:pt x="408" y="1278"/>
                  </a:lnTo>
                  <a:lnTo>
                    <a:pt x="408" y="1266"/>
                  </a:lnTo>
                  <a:lnTo>
                    <a:pt x="402" y="1260"/>
                  </a:lnTo>
                  <a:lnTo>
                    <a:pt x="384" y="1260"/>
                  </a:lnTo>
                  <a:lnTo>
                    <a:pt x="372" y="1266"/>
                  </a:lnTo>
                  <a:lnTo>
                    <a:pt x="360" y="1272"/>
                  </a:lnTo>
                  <a:lnTo>
                    <a:pt x="348" y="1272"/>
                  </a:lnTo>
                  <a:lnTo>
                    <a:pt x="342" y="1284"/>
                  </a:lnTo>
                  <a:lnTo>
                    <a:pt x="336" y="1290"/>
                  </a:lnTo>
                  <a:lnTo>
                    <a:pt x="336" y="1308"/>
                  </a:lnTo>
                  <a:lnTo>
                    <a:pt x="336" y="1314"/>
                  </a:lnTo>
                  <a:lnTo>
                    <a:pt x="336" y="1320"/>
                  </a:lnTo>
                  <a:lnTo>
                    <a:pt x="330" y="1326"/>
                  </a:lnTo>
                  <a:lnTo>
                    <a:pt x="330" y="1332"/>
                  </a:lnTo>
                  <a:lnTo>
                    <a:pt x="330" y="1338"/>
                  </a:lnTo>
                  <a:lnTo>
                    <a:pt x="300" y="1338"/>
                  </a:lnTo>
                  <a:lnTo>
                    <a:pt x="288" y="1338"/>
                  </a:lnTo>
                  <a:lnTo>
                    <a:pt x="258" y="1326"/>
                  </a:lnTo>
                  <a:lnTo>
                    <a:pt x="246" y="1332"/>
                  </a:lnTo>
                  <a:lnTo>
                    <a:pt x="240" y="1338"/>
                  </a:lnTo>
                  <a:lnTo>
                    <a:pt x="234" y="1338"/>
                  </a:lnTo>
                  <a:lnTo>
                    <a:pt x="228" y="1350"/>
                  </a:lnTo>
                  <a:lnTo>
                    <a:pt x="228" y="1374"/>
                  </a:lnTo>
                  <a:lnTo>
                    <a:pt x="234" y="1392"/>
                  </a:lnTo>
                  <a:lnTo>
                    <a:pt x="246" y="1398"/>
                  </a:lnTo>
                  <a:lnTo>
                    <a:pt x="246" y="1410"/>
                  </a:lnTo>
                  <a:lnTo>
                    <a:pt x="216" y="1428"/>
                  </a:lnTo>
                  <a:lnTo>
                    <a:pt x="198" y="1428"/>
                  </a:lnTo>
                  <a:lnTo>
                    <a:pt x="192" y="1422"/>
                  </a:lnTo>
                  <a:lnTo>
                    <a:pt x="174" y="1410"/>
                  </a:lnTo>
                  <a:lnTo>
                    <a:pt x="156" y="1386"/>
                  </a:lnTo>
                  <a:lnTo>
                    <a:pt x="132" y="1374"/>
                  </a:lnTo>
                  <a:lnTo>
                    <a:pt x="108" y="1368"/>
                  </a:lnTo>
                  <a:lnTo>
                    <a:pt x="84" y="1368"/>
                  </a:lnTo>
                  <a:lnTo>
                    <a:pt x="96" y="1356"/>
                  </a:lnTo>
                  <a:lnTo>
                    <a:pt x="102" y="1344"/>
                  </a:lnTo>
                  <a:lnTo>
                    <a:pt x="102" y="1332"/>
                  </a:lnTo>
                  <a:lnTo>
                    <a:pt x="108" y="1320"/>
                  </a:lnTo>
                  <a:lnTo>
                    <a:pt x="108" y="1302"/>
                  </a:lnTo>
                  <a:lnTo>
                    <a:pt x="96" y="1278"/>
                  </a:lnTo>
                  <a:lnTo>
                    <a:pt x="66" y="1284"/>
                  </a:lnTo>
                  <a:lnTo>
                    <a:pt x="54" y="1278"/>
                  </a:lnTo>
                  <a:lnTo>
                    <a:pt x="36" y="1278"/>
                  </a:lnTo>
                  <a:lnTo>
                    <a:pt x="18" y="1284"/>
                  </a:lnTo>
                  <a:lnTo>
                    <a:pt x="18" y="1272"/>
                  </a:lnTo>
                  <a:lnTo>
                    <a:pt x="24" y="1260"/>
                  </a:lnTo>
                  <a:lnTo>
                    <a:pt x="24" y="1254"/>
                  </a:lnTo>
                  <a:lnTo>
                    <a:pt x="30" y="1248"/>
                  </a:lnTo>
                  <a:lnTo>
                    <a:pt x="24" y="1230"/>
                  </a:lnTo>
                  <a:lnTo>
                    <a:pt x="30" y="1218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30" y="1170"/>
                  </a:lnTo>
                  <a:lnTo>
                    <a:pt x="30" y="1152"/>
                  </a:lnTo>
                  <a:lnTo>
                    <a:pt x="24" y="1146"/>
                  </a:lnTo>
                  <a:lnTo>
                    <a:pt x="0" y="1116"/>
                  </a:lnTo>
                  <a:lnTo>
                    <a:pt x="6" y="1092"/>
                  </a:lnTo>
                  <a:lnTo>
                    <a:pt x="18" y="1056"/>
                  </a:lnTo>
                  <a:lnTo>
                    <a:pt x="24" y="1050"/>
                  </a:lnTo>
                  <a:lnTo>
                    <a:pt x="24" y="1038"/>
                  </a:lnTo>
                  <a:lnTo>
                    <a:pt x="24" y="1026"/>
                  </a:lnTo>
                  <a:lnTo>
                    <a:pt x="30" y="1002"/>
                  </a:lnTo>
                  <a:lnTo>
                    <a:pt x="36" y="990"/>
                  </a:lnTo>
                  <a:lnTo>
                    <a:pt x="42" y="984"/>
                  </a:lnTo>
                  <a:lnTo>
                    <a:pt x="54" y="984"/>
                  </a:lnTo>
                  <a:lnTo>
                    <a:pt x="66" y="978"/>
                  </a:lnTo>
                  <a:lnTo>
                    <a:pt x="72" y="978"/>
                  </a:lnTo>
                  <a:lnTo>
                    <a:pt x="90" y="978"/>
                  </a:lnTo>
                  <a:lnTo>
                    <a:pt x="102" y="972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78"/>
                  </a:lnTo>
                  <a:lnTo>
                    <a:pt x="120" y="984"/>
                  </a:lnTo>
                  <a:lnTo>
                    <a:pt x="138" y="984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6" y="972"/>
                  </a:lnTo>
                  <a:lnTo>
                    <a:pt x="156" y="966"/>
                  </a:lnTo>
                  <a:lnTo>
                    <a:pt x="156" y="960"/>
                  </a:lnTo>
                  <a:lnTo>
                    <a:pt x="180" y="948"/>
                  </a:lnTo>
                  <a:lnTo>
                    <a:pt x="186" y="924"/>
                  </a:lnTo>
                  <a:lnTo>
                    <a:pt x="192" y="918"/>
                  </a:lnTo>
                  <a:lnTo>
                    <a:pt x="228" y="924"/>
                  </a:lnTo>
                  <a:lnTo>
                    <a:pt x="246" y="906"/>
                  </a:lnTo>
                  <a:lnTo>
                    <a:pt x="240" y="888"/>
                  </a:lnTo>
                  <a:lnTo>
                    <a:pt x="234" y="888"/>
                  </a:lnTo>
                  <a:lnTo>
                    <a:pt x="234" y="882"/>
                  </a:lnTo>
                  <a:lnTo>
                    <a:pt x="228" y="870"/>
                  </a:lnTo>
                  <a:lnTo>
                    <a:pt x="228" y="864"/>
                  </a:lnTo>
                  <a:lnTo>
                    <a:pt x="222" y="864"/>
                  </a:lnTo>
                  <a:lnTo>
                    <a:pt x="216" y="858"/>
                  </a:lnTo>
                  <a:lnTo>
                    <a:pt x="198" y="852"/>
                  </a:lnTo>
                  <a:lnTo>
                    <a:pt x="192" y="852"/>
                  </a:lnTo>
                  <a:lnTo>
                    <a:pt x="186" y="846"/>
                  </a:lnTo>
                  <a:lnTo>
                    <a:pt x="174" y="834"/>
                  </a:lnTo>
                  <a:lnTo>
                    <a:pt x="162" y="822"/>
                  </a:lnTo>
                  <a:lnTo>
                    <a:pt x="156" y="816"/>
                  </a:lnTo>
                  <a:lnTo>
                    <a:pt x="162" y="810"/>
                  </a:lnTo>
                  <a:lnTo>
                    <a:pt x="174" y="798"/>
                  </a:lnTo>
                  <a:lnTo>
                    <a:pt x="180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68"/>
                  </a:lnTo>
                  <a:lnTo>
                    <a:pt x="192" y="744"/>
                  </a:lnTo>
                  <a:lnTo>
                    <a:pt x="186" y="708"/>
                  </a:lnTo>
                  <a:lnTo>
                    <a:pt x="174" y="690"/>
                  </a:lnTo>
                  <a:lnTo>
                    <a:pt x="168" y="672"/>
                  </a:lnTo>
                  <a:lnTo>
                    <a:pt x="156" y="630"/>
                  </a:lnTo>
                  <a:lnTo>
                    <a:pt x="156" y="606"/>
                  </a:lnTo>
                  <a:lnTo>
                    <a:pt x="150" y="606"/>
                  </a:lnTo>
                  <a:lnTo>
                    <a:pt x="150" y="600"/>
                  </a:lnTo>
                  <a:lnTo>
                    <a:pt x="144" y="600"/>
                  </a:lnTo>
                  <a:lnTo>
                    <a:pt x="150" y="594"/>
                  </a:lnTo>
                  <a:lnTo>
                    <a:pt x="144" y="588"/>
                  </a:lnTo>
                  <a:lnTo>
                    <a:pt x="138" y="558"/>
                  </a:lnTo>
                  <a:lnTo>
                    <a:pt x="138" y="528"/>
                  </a:lnTo>
                  <a:lnTo>
                    <a:pt x="132" y="480"/>
                  </a:lnTo>
                  <a:lnTo>
                    <a:pt x="132" y="462"/>
                  </a:lnTo>
                  <a:lnTo>
                    <a:pt x="126" y="426"/>
                  </a:lnTo>
                  <a:lnTo>
                    <a:pt x="126" y="396"/>
                  </a:lnTo>
                  <a:lnTo>
                    <a:pt x="126" y="378"/>
                  </a:lnTo>
                  <a:lnTo>
                    <a:pt x="126" y="360"/>
                  </a:lnTo>
                  <a:lnTo>
                    <a:pt x="132" y="318"/>
                  </a:lnTo>
                  <a:lnTo>
                    <a:pt x="132" y="24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2" y="210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92" y="198"/>
                  </a:lnTo>
                  <a:lnTo>
                    <a:pt x="198" y="198"/>
                  </a:lnTo>
                  <a:lnTo>
                    <a:pt x="216" y="180"/>
                  </a:lnTo>
                  <a:lnTo>
                    <a:pt x="222" y="174"/>
                  </a:lnTo>
                  <a:lnTo>
                    <a:pt x="222" y="168"/>
                  </a:lnTo>
                  <a:lnTo>
                    <a:pt x="228" y="168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44"/>
                  </a:lnTo>
                  <a:lnTo>
                    <a:pt x="258" y="144"/>
                  </a:lnTo>
                  <a:lnTo>
                    <a:pt x="276" y="150"/>
                  </a:lnTo>
                  <a:lnTo>
                    <a:pt x="300" y="150"/>
                  </a:lnTo>
                  <a:lnTo>
                    <a:pt x="312" y="150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8" y="156"/>
                  </a:lnTo>
                  <a:lnTo>
                    <a:pt x="354" y="150"/>
                  </a:lnTo>
                  <a:lnTo>
                    <a:pt x="372" y="144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08" y="126"/>
                  </a:lnTo>
                  <a:lnTo>
                    <a:pt x="414" y="120"/>
                  </a:lnTo>
                  <a:lnTo>
                    <a:pt x="420" y="120"/>
                  </a:lnTo>
                  <a:lnTo>
                    <a:pt x="426" y="120"/>
                  </a:lnTo>
                  <a:lnTo>
                    <a:pt x="432" y="114"/>
                  </a:lnTo>
                  <a:lnTo>
                    <a:pt x="450" y="102"/>
                  </a:lnTo>
                  <a:lnTo>
                    <a:pt x="456" y="96"/>
                  </a:lnTo>
                  <a:lnTo>
                    <a:pt x="468" y="90"/>
                  </a:lnTo>
                  <a:lnTo>
                    <a:pt x="474" y="90"/>
                  </a:lnTo>
                  <a:lnTo>
                    <a:pt x="480" y="84"/>
                  </a:lnTo>
                  <a:lnTo>
                    <a:pt x="486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504" y="72"/>
                  </a:lnTo>
                  <a:lnTo>
                    <a:pt x="510" y="66"/>
                  </a:lnTo>
                  <a:lnTo>
                    <a:pt x="516" y="66"/>
                  </a:lnTo>
                  <a:lnTo>
                    <a:pt x="522" y="60"/>
                  </a:lnTo>
                  <a:lnTo>
                    <a:pt x="552" y="42"/>
                  </a:lnTo>
                  <a:lnTo>
                    <a:pt x="558" y="36"/>
                  </a:lnTo>
                  <a:lnTo>
                    <a:pt x="576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94" y="18"/>
                  </a:lnTo>
                  <a:lnTo>
                    <a:pt x="600" y="12"/>
                  </a:lnTo>
                  <a:lnTo>
                    <a:pt x="612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6"/>
                  </a:lnTo>
                  <a:lnTo>
                    <a:pt x="648" y="6"/>
                  </a:lnTo>
                  <a:lnTo>
                    <a:pt x="660" y="6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38" y="18"/>
                  </a:lnTo>
                  <a:lnTo>
                    <a:pt x="744" y="18"/>
                  </a:lnTo>
                  <a:lnTo>
                    <a:pt x="756" y="18"/>
                  </a:lnTo>
                  <a:lnTo>
                    <a:pt x="762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80" y="24"/>
                  </a:lnTo>
                  <a:lnTo>
                    <a:pt x="792" y="24"/>
                  </a:lnTo>
                  <a:lnTo>
                    <a:pt x="792" y="30"/>
                  </a:lnTo>
                  <a:lnTo>
                    <a:pt x="810" y="30"/>
                  </a:lnTo>
                  <a:lnTo>
                    <a:pt x="822" y="36"/>
                  </a:lnTo>
                  <a:lnTo>
                    <a:pt x="834" y="42"/>
                  </a:lnTo>
                  <a:lnTo>
                    <a:pt x="840" y="48"/>
                  </a:lnTo>
                  <a:lnTo>
                    <a:pt x="846" y="54"/>
                  </a:lnTo>
                  <a:lnTo>
                    <a:pt x="852" y="60"/>
                  </a:lnTo>
                  <a:lnTo>
                    <a:pt x="858" y="66"/>
                  </a:lnTo>
                  <a:lnTo>
                    <a:pt x="864" y="66"/>
                  </a:lnTo>
                  <a:lnTo>
                    <a:pt x="864" y="72"/>
                  </a:lnTo>
                  <a:lnTo>
                    <a:pt x="876" y="78"/>
                  </a:lnTo>
                  <a:lnTo>
                    <a:pt x="900" y="84"/>
                  </a:lnTo>
                  <a:lnTo>
                    <a:pt x="906" y="90"/>
                  </a:lnTo>
                  <a:lnTo>
                    <a:pt x="912" y="90"/>
                  </a:lnTo>
                  <a:lnTo>
                    <a:pt x="912" y="96"/>
                  </a:lnTo>
                  <a:lnTo>
                    <a:pt x="924" y="108"/>
                  </a:lnTo>
                  <a:lnTo>
                    <a:pt x="930" y="108"/>
                  </a:lnTo>
                  <a:lnTo>
                    <a:pt x="936" y="114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60" y="138"/>
                  </a:lnTo>
                  <a:lnTo>
                    <a:pt x="966" y="144"/>
                  </a:lnTo>
                  <a:lnTo>
                    <a:pt x="972" y="156"/>
                  </a:lnTo>
                  <a:lnTo>
                    <a:pt x="978" y="162"/>
                  </a:lnTo>
                  <a:lnTo>
                    <a:pt x="984" y="162"/>
                  </a:lnTo>
                  <a:lnTo>
                    <a:pt x="990" y="168"/>
                  </a:lnTo>
                  <a:lnTo>
                    <a:pt x="996" y="174"/>
                  </a:lnTo>
                  <a:lnTo>
                    <a:pt x="1002" y="180"/>
                  </a:lnTo>
                  <a:lnTo>
                    <a:pt x="1008" y="180"/>
                  </a:lnTo>
                  <a:lnTo>
                    <a:pt x="1020" y="180"/>
                  </a:lnTo>
                  <a:lnTo>
                    <a:pt x="1038" y="174"/>
                  </a:lnTo>
                  <a:lnTo>
                    <a:pt x="1050" y="174"/>
                  </a:lnTo>
                  <a:lnTo>
                    <a:pt x="1056" y="174"/>
                  </a:lnTo>
                  <a:lnTo>
                    <a:pt x="1068" y="180"/>
                  </a:lnTo>
                  <a:lnTo>
                    <a:pt x="1080" y="180"/>
                  </a:lnTo>
                  <a:lnTo>
                    <a:pt x="1086" y="186"/>
                  </a:lnTo>
                  <a:lnTo>
                    <a:pt x="1098" y="192"/>
                  </a:lnTo>
                  <a:lnTo>
                    <a:pt x="1116" y="204"/>
                  </a:lnTo>
                  <a:lnTo>
                    <a:pt x="1122" y="210"/>
                  </a:lnTo>
                  <a:lnTo>
                    <a:pt x="1134" y="222"/>
                  </a:lnTo>
                  <a:lnTo>
                    <a:pt x="1146" y="234"/>
                  </a:lnTo>
                  <a:lnTo>
                    <a:pt x="1146" y="240"/>
                  </a:lnTo>
                  <a:lnTo>
                    <a:pt x="1152" y="246"/>
                  </a:lnTo>
                  <a:lnTo>
                    <a:pt x="1152" y="252"/>
                  </a:lnTo>
                  <a:lnTo>
                    <a:pt x="1152" y="258"/>
                  </a:lnTo>
                  <a:lnTo>
                    <a:pt x="1164" y="258"/>
                  </a:lnTo>
                  <a:lnTo>
                    <a:pt x="1170" y="264"/>
                  </a:lnTo>
                  <a:lnTo>
                    <a:pt x="1182" y="270"/>
                  </a:lnTo>
                  <a:lnTo>
                    <a:pt x="1188" y="270"/>
                  </a:lnTo>
                  <a:lnTo>
                    <a:pt x="1194" y="270"/>
                  </a:lnTo>
                  <a:lnTo>
                    <a:pt x="1206" y="276"/>
                  </a:lnTo>
                  <a:lnTo>
                    <a:pt x="1224" y="282"/>
                  </a:lnTo>
                  <a:lnTo>
                    <a:pt x="1236" y="282"/>
                  </a:lnTo>
                  <a:lnTo>
                    <a:pt x="1242" y="288"/>
                  </a:lnTo>
                  <a:lnTo>
                    <a:pt x="1254" y="288"/>
                  </a:lnTo>
                  <a:lnTo>
                    <a:pt x="1266" y="294"/>
                  </a:lnTo>
                  <a:lnTo>
                    <a:pt x="1272" y="294"/>
                  </a:lnTo>
                  <a:lnTo>
                    <a:pt x="1284" y="300"/>
                  </a:lnTo>
                  <a:lnTo>
                    <a:pt x="1290" y="300"/>
                  </a:lnTo>
                  <a:lnTo>
                    <a:pt x="1296" y="300"/>
                  </a:lnTo>
                  <a:lnTo>
                    <a:pt x="1302" y="306"/>
                  </a:lnTo>
                  <a:lnTo>
                    <a:pt x="1326" y="312"/>
                  </a:lnTo>
                  <a:lnTo>
                    <a:pt x="1338" y="312"/>
                  </a:lnTo>
                  <a:lnTo>
                    <a:pt x="1338" y="318"/>
                  </a:lnTo>
                  <a:lnTo>
                    <a:pt x="1344" y="318"/>
                  </a:lnTo>
                  <a:lnTo>
                    <a:pt x="1350" y="318"/>
                  </a:lnTo>
                  <a:lnTo>
                    <a:pt x="1362" y="324"/>
                  </a:lnTo>
                  <a:lnTo>
                    <a:pt x="1368" y="318"/>
                  </a:lnTo>
                  <a:lnTo>
                    <a:pt x="1374" y="318"/>
                  </a:lnTo>
                  <a:lnTo>
                    <a:pt x="1386" y="318"/>
                  </a:lnTo>
                  <a:lnTo>
                    <a:pt x="1398" y="324"/>
                  </a:lnTo>
                  <a:lnTo>
                    <a:pt x="1398" y="342"/>
                  </a:lnTo>
                  <a:lnTo>
                    <a:pt x="1356" y="342"/>
                  </a:lnTo>
                  <a:lnTo>
                    <a:pt x="1350" y="348"/>
                  </a:lnTo>
                  <a:lnTo>
                    <a:pt x="1350" y="372"/>
                  </a:lnTo>
                  <a:lnTo>
                    <a:pt x="1338" y="384"/>
                  </a:lnTo>
                  <a:lnTo>
                    <a:pt x="1332" y="408"/>
                  </a:lnTo>
                  <a:lnTo>
                    <a:pt x="1320" y="420"/>
                  </a:lnTo>
                  <a:lnTo>
                    <a:pt x="1254" y="426"/>
                  </a:lnTo>
                  <a:lnTo>
                    <a:pt x="1248" y="432"/>
                  </a:lnTo>
                  <a:lnTo>
                    <a:pt x="1230" y="432"/>
                  </a:lnTo>
                  <a:lnTo>
                    <a:pt x="1212" y="432"/>
                  </a:lnTo>
                  <a:lnTo>
                    <a:pt x="1212" y="426"/>
                  </a:lnTo>
                  <a:lnTo>
                    <a:pt x="1200" y="426"/>
                  </a:lnTo>
                  <a:lnTo>
                    <a:pt x="1182" y="414"/>
                  </a:lnTo>
                  <a:lnTo>
                    <a:pt x="1182" y="420"/>
                  </a:lnTo>
                  <a:lnTo>
                    <a:pt x="1164" y="420"/>
                  </a:lnTo>
                  <a:lnTo>
                    <a:pt x="1158" y="414"/>
                  </a:lnTo>
                  <a:lnTo>
                    <a:pt x="1152" y="408"/>
                  </a:lnTo>
                  <a:lnTo>
                    <a:pt x="1146" y="402"/>
                  </a:lnTo>
                  <a:lnTo>
                    <a:pt x="1122" y="396"/>
                  </a:lnTo>
                  <a:lnTo>
                    <a:pt x="1116" y="366"/>
                  </a:lnTo>
                  <a:lnTo>
                    <a:pt x="1116" y="348"/>
                  </a:lnTo>
                  <a:lnTo>
                    <a:pt x="1110" y="342"/>
                  </a:lnTo>
                  <a:lnTo>
                    <a:pt x="1104" y="336"/>
                  </a:lnTo>
                  <a:lnTo>
                    <a:pt x="1092" y="330"/>
                  </a:lnTo>
                  <a:lnTo>
                    <a:pt x="1074" y="330"/>
                  </a:lnTo>
                  <a:lnTo>
                    <a:pt x="1044" y="330"/>
                  </a:lnTo>
                  <a:lnTo>
                    <a:pt x="1014" y="336"/>
                  </a:lnTo>
                  <a:lnTo>
                    <a:pt x="984" y="342"/>
                  </a:lnTo>
                  <a:lnTo>
                    <a:pt x="978" y="330"/>
                  </a:lnTo>
                  <a:lnTo>
                    <a:pt x="966" y="324"/>
                  </a:lnTo>
                  <a:lnTo>
                    <a:pt x="888" y="336"/>
                  </a:lnTo>
                  <a:lnTo>
                    <a:pt x="888" y="330"/>
                  </a:lnTo>
                  <a:lnTo>
                    <a:pt x="870" y="336"/>
                  </a:lnTo>
                  <a:lnTo>
                    <a:pt x="858" y="336"/>
                  </a:lnTo>
                  <a:lnTo>
                    <a:pt x="852" y="354"/>
                  </a:lnTo>
                  <a:lnTo>
                    <a:pt x="852" y="402"/>
                  </a:lnTo>
                  <a:lnTo>
                    <a:pt x="840" y="414"/>
                  </a:lnTo>
                  <a:lnTo>
                    <a:pt x="834" y="420"/>
                  </a:lnTo>
                  <a:lnTo>
                    <a:pt x="834" y="444"/>
                  </a:lnTo>
                  <a:lnTo>
                    <a:pt x="834" y="450"/>
                  </a:lnTo>
                  <a:lnTo>
                    <a:pt x="852" y="456"/>
                  </a:lnTo>
                  <a:lnTo>
                    <a:pt x="864" y="462"/>
                  </a:lnTo>
                  <a:lnTo>
                    <a:pt x="894" y="456"/>
                  </a:lnTo>
                  <a:lnTo>
                    <a:pt x="900" y="468"/>
                  </a:lnTo>
                  <a:lnTo>
                    <a:pt x="918" y="462"/>
                  </a:lnTo>
                  <a:lnTo>
                    <a:pt x="924" y="468"/>
                  </a:lnTo>
                  <a:lnTo>
                    <a:pt x="924" y="47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2" name="Freeform 37">
              <a:extLst>
                <a:ext uri="{FF2B5EF4-FFF2-40B4-BE49-F238E27FC236}">
                  <a16:creationId xmlns:a16="http://schemas.microsoft.com/office/drawing/2014/main" id="{DED8A1FF-B656-4D37-BD26-5B0A7B1A4A6D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441" y="1898343"/>
              <a:ext cx="567992" cy="686605"/>
            </a:xfrm>
            <a:custGeom>
              <a:avLst/>
              <a:gdLst>
                <a:gd name="T0" fmla="*/ 79 w 1068"/>
                <a:gd name="T1" fmla="*/ 72 h 1290"/>
                <a:gd name="T2" fmla="*/ 75 w 1068"/>
                <a:gd name="T3" fmla="*/ 73 h 1290"/>
                <a:gd name="T4" fmla="*/ 72 w 1068"/>
                <a:gd name="T5" fmla="*/ 76 h 1290"/>
                <a:gd name="T6" fmla="*/ 70 w 1068"/>
                <a:gd name="T7" fmla="*/ 78 h 1290"/>
                <a:gd name="T8" fmla="*/ 67 w 1068"/>
                <a:gd name="T9" fmla="*/ 82 h 1290"/>
                <a:gd name="T10" fmla="*/ 61 w 1068"/>
                <a:gd name="T11" fmla="*/ 86 h 1290"/>
                <a:gd name="T12" fmla="*/ 60 w 1068"/>
                <a:gd name="T13" fmla="*/ 93 h 1290"/>
                <a:gd name="T14" fmla="*/ 59 w 1068"/>
                <a:gd name="T15" fmla="*/ 97 h 1290"/>
                <a:gd name="T16" fmla="*/ 61 w 1068"/>
                <a:gd name="T17" fmla="*/ 101 h 1290"/>
                <a:gd name="T18" fmla="*/ 63 w 1068"/>
                <a:gd name="T19" fmla="*/ 104 h 1290"/>
                <a:gd name="T20" fmla="*/ 62 w 1068"/>
                <a:gd name="T21" fmla="*/ 108 h 1290"/>
                <a:gd name="T22" fmla="*/ 60 w 1068"/>
                <a:gd name="T23" fmla="*/ 111 h 1290"/>
                <a:gd name="T24" fmla="*/ 56 w 1068"/>
                <a:gd name="T25" fmla="*/ 111 h 1290"/>
                <a:gd name="T26" fmla="*/ 53 w 1068"/>
                <a:gd name="T27" fmla="*/ 110 h 1290"/>
                <a:gd name="T28" fmla="*/ 50 w 1068"/>
                <a:gd name="T29" fmla="*/ 109 h 1290"/>
                <a:gd name="T30" fmla="*/ 47 w 1068"/>
                <a:gd name="T31" fmla="*/ 110 h 1290"/>
                <a:gd name="T32" fmla="*/ 51 w 1068"/>
                <a:gd name="T33" fmla="*/ 104 h 1290"/>
                <a:gd name="T34" fmla="*/ 50 w 1068"/>
                <a:gd name="T35" fmla="*/ 95 h 1290"/>
                <a:gd name="T36" fmla="*/ 51 w 1068"/>
                <a:gd name="T37" fmla="*/ 90 h 1290"/>
                <a:gd name="T38" fmla="*/ 47 w 1068"/>
                <a:gd name="T39" fmla="*/ 84 h 1290"/>
                <a:gd name="T40" fmla="*/ 42 w 1068"/>
                <a:gd name="T41" fmla="*/ 78 h 1290"/>
                <a:gd name="T42" fmla="*/ 33 w 1068"/>
                <a:gd name="T43" fmla="*/ 73 h 1290"/>
                <a:gd name="T44" fmla="*/ 26 w 1068"/>
                <a:gd name="T45" fmla="*/ 68 h 1290"/>
                <a:gd name="T46" fmla="*/ 22 w 1068"/>
                <a:gd name="T47" fmla="*/ 63 h 1290"/>
                <a:gd name="T48" fmla="*/ 11 w 1068"/>
                <a:gd name="T49" fmla="*/ 67 h 1290"/>
                <a:gd name="T50" fmla="*/ 0 w 1068"/>
                <a:gd name="T51" fmla="*/ 68 h 1290"/>
                <a:gd name="T52" fmla="*/ 2 w 1068"/>
                <a:gd name="T53" fmla="*/ 59 h 1290"/>
                <a:gd name="T54" fmla="*/ 12 w 1068"/>
                <a:gd name="T55" fmla="*/ 55 h 1290"/>
                <a:gd name="T56" fmla="*/ 12 w 1068"/>
                <a:gd name="T57" fmla="*/ 51 h 1290"/>
                <a:gd name="T58" fmla="*/ 10 w 1068"/>
                <a:gd name="T59" fmla="*/ 47 h 1290"/>
                <a:gd name="T60" fmla="*/ 9 w 1068"/>
                <a:gd name="T61" fmla="*/ 42 h 1290"/>
                <a:gd name="T62" fmla="*/ 8 w 1068"/>
                <a:gd name="T63" fmla="*/ 38 h 1290"/>
                <a:gd name="T64" fmla="*/ 8 w 1068"/>
                <a:gd name="T65" fmla="*/ 29 h 1290"/>
                <a:gd name="T66" fmla="*/ 10 w 1068"/>
                <a:gd name="T67" fmla="*/ 18 h 1290"/>
                <a:gd name="T68" fmla="*/ 25 w 1068"/>
                <a:gd name="T69" fmla="*/ 12 h 1290"/>
                <a:gd name="T70" fmla="*/ 27 w 1068"/>
                <a:gd name="T71" fmla="*/ 4 h 1290"/>
                <a:gd name="T72" fmla="*/ 35 w 1068"/>
                <a:gd name="T73" fmla="*/ 6 h 1290"/>
                <a:gd name="T74" fmla="*/ 39 w 1068"/>
                <a:gd name="T75" fmla="*/ 8 h 1290"/>
                <a:gd name="T76" fmla="*/ 41 w 1068"/>
                <a:gd name="T77" fmla="*/ 3 h 1290"/>
                <a:gd name="T78" fmla="*/ 45 w 1068"/>
                <a:gd name="T79" fmla="*/ 0 h 1290"/>
                <a:gd name="T80" fmla="*/ 51 w 1068"/>
                <a:gd name="T81" fmla="*/ 0 h 1290"/>
                <a:gd name="T82" fmla="*/ 56 w 1068"/>
                <a:gd name="T83" fmla="*/ 4 h 1290"/>
                <a:gd name="T84" fmla="*/ 62 w 1068"/>
                <a:gd name="T85" fmla="*/ 12 h 1290"/>
                <a:gd name="T86" fmla="*/ 58 w 1068"/>
                <a:gd name="T87" fmla="*/ 17 h 1290"/>
                <a:gd name="T88" fmla="*/ 60 w 1068"/>
                <a:gd name="T89" fmla="*/ 18 h 1290"/>
                <a:gd name="T90" fmla="*/ 64 w 1068"/>
                <a:gd name="T91" fmla="*/ 16 h 1290"/>
                <a:gd name="T92" fmla="*/ 68 w 1068"/>
                <a:gd name="T93" fmla="*/ 18 h 1290"/>
                <a:gd name="T94" fmla="*/ 71 w 1068"/>
                <a:gd name="T95" fmla="*/ 27 h 1290"/>
                <a:gd name="T96" fmla="*/ 74 w 1068"/>
                <a:gd name="T97" fmla="*/ 30 h 1290"/>
                <a:gd name="T98" fmla="*/ 82 w 1068"/>
                <a:gd name="T99" fmla="*/ 30 h 1290"/>
                <a:gd name="T100" fmla="*/ 87 w 1068"/>
                <a:gd name="T101" fmla="*/ 35 h 1290"/>
                <a:gd name="T102" fmla="*/ 85 w 1068"/>
                <a:gd name="T103" fmla="*/ 42 h 1290"/>
                <a:gd name="T104" fmla="*/ 81 w 1068"/>
                <a:gd name="T105" fmla="*/ 46 h 1290"/>
                <a:gd name="T106" fmla="*/ 86 w 1068"/>
                <a:gd name="T107" fmla="*/ 50 h 1290"/>
                <a:gd name="T108" fmla="*/ 89 w 1068"/>
                <a:gd name="T109" fmla="*/ 58 h 1290"/>
                <a:gd name="T110" fmla="*/ 92 w 1068"/>
                <a:gd name="T111" fmla="*/ 61 h 1290"/>
                <a:gd name="T112" fmla="*/ 86 w 1068"/>
                <a:gd name="T113" fmla="*/ 66 h 1290"/>
                <a:gd name="T114" fmla="*/ 85 w 1068"/>
                <a:gd name="T115" fmla="*/ 70 h 129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68"/>
                <a:gd name="T175" fmla="*/ 0 h 1290"/>
                <a:gd name="T176" fmla="*/ 1068 w 1068"/>
                <a:gd name="T177" fmla="*/ 1290 h 129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68" h="1290">
                  <a:moveTo>
                    <a:pt x="978" y="804"/>
                  </a:moveTo>
                  <a:lnTo>
                    <a:pt x="972" y="810"/>
                  </a:lnTo>
                  <a:lnTo>
                    <a:pt x="966" y="810"/>
                  </a:lnTo>
                  <a:lnTo>
                    <a:pt x="966" y="816"/>
                  </a:lnTo>
                  <a:lnTo>
                    <a:pt x="936" y="828"/>
                  </a:lnTo>
                  <a:lnTo>
                    <a:pt x="924" y="822"/>
                  </a:lnTo>
                  <a:lnTo>
                    <a:pt x="912" y="822"/>
                  </a:lnTo>
                  <a:lnTo>
                    <a:pt x="906" y="828"/>
                  </a:lnTo>
                  <a:lnTo>
                    <a:pt x="900" y="828"/>
                  </a:lnTo>
                  <a:lnTo>
                    <a:pt x="900" y="822"/>
                  </a:lnTo>
                  <a:lnTo>
                    <a:pt x="894" y="822"/>
                  </a:lnTo>
                  <a:lnTo>
                    <a:pt x="888" y="828"/>
                  </a:lnTo>
                  <a:lnTo>
                    <a:pt x="882" y="834"/>
                  </a:lnTo>
                  <a:lnTo>
                    <a:pt x="876" y="834"/>
                  </a:lnTo>
                  <a:lnTo>
                    <a:pt x="870" y="840"/>
                  </a:lnTo>
                  <a:lnTo>
                    <a:pt x="864" y="840"/>
                  </a:lnTo>
                  <a:lnTo>
                    <a:pt x="864" y="846"/>
                  </a:lnTo>
                  <a:lnTo>
                    <a:pt x="858" y="846"/>
                  </a:lnTo>
                  <a:lnTo>
                    <a:pt x="852" y="846"/>
                  </a:lnTo>
                  <a:lnTo>
                    <a:pt x="852" y="858"/>
                  </a:lnTo>
                  <a:lnTo>
                    <a:pt x="846" y="864"/>
                  </a:lnTo>
                  <a:lnTo>
                    <a:pt x="840" y="870"/>
                  </a:lnTo>
                  <a:lnTo>
                    <a:pt x="834" y="870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34" y="876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10" y="894"/>
                  </a:lnTo>
                  <a:lnTo>
                    <a:pt x="810" y="900"/>
                  </a:lnTo>
                  <a:lnTo>
                    <a:pt x="804" y="900"/>
                  </a:lnTo>
                  <a:lnTo>
                    <a:pt x="798" y="900"/>
                  </a:lnTo>
                  <a:lnTo>
                    <a:pt x="798" y="906"/>
                  </a:lnTo>
                  <a:lnTo>
                    <a:pt x="792" y="906"/>
                  </a:lnTo>
                  <a:lnTo>
                    <a:pt x="792" y="912"/>
                  </a:lnTo>
                  <a:lnTo>
                    <a:pt x="792" y="924"/>
                  </a:lnTo>
                  <a:lnTo>
                    <a:pt x="786" y="930"/>
                  </a:lnTo>
                  <a:lnTo>
                    <a:pt x="774" y="942"/>
                  </a:lnTo>
                  <a:lnTo>
                    <a:pt x="774" y="948"/>
                  </a:lnTo>
                  <a:lnTo>
                    <a:pt x="768" y="954"/>
                  </a:lnTo>
                  <a:lnTo>
                    <a:pt x="762" y="954"/>
                  </a:lnTo>
                  <a:lnTo>
                    <a:pt x="750" y="972"/>
                  </a:lnTo>
                  <a:lnTo>
                    <a:pt x="720" y="978"/>
                  </a:lnTo>
                  <a:lnTo>
                    <a:pt x="714" y="978"/>
                  </a:lnTo>
                  <a:lnTo>
                    <a:pt x="708" y="978"/>
                  </a:lnTo>
                  <a:lnTo>
                    <a:pt x="702" y="990"/>
                  </a:lnTo>
                  <a:lnTo>
                    <a:pt x="696" y="990"/>
                  </a:lnTo>
                  <a:lnTo>
                    <a:pt x="696" y="1008"/>
                  </a:lnTo>
                  <a:lnTo>
                    <a:pt x="690" y="1008"/>
                  </a:lnTo>
                  <a:lnTo>
                    <a:pt x="690" y="1014"/>
                  </a:lnTo>
                  <a:lnTo>
                    <a:pt x="684" y="1032"/>
                  </a:lnTo>
                  <a:lnTo>
                    <a:pt x="690" y="1050"/>
                  </a:lnTo>
                  <a:lnTo>
                    <a:pt x="690" y="1062"/>
                  </a:lnTo>
                  <a:lnTo>
                    <a:pt x="690" y="1068"/>
                  </a:lnTo>
                  <a:lnTo>
                    <a:pt x="690" y="1074"/>
                  </a:lnTo>
                  <a:lnTo>
                    <a:pt x="684" y="1074"/>
                  </a:lnTo>
                  <a:lnTo>
                    <a:pt x="684" y="1080"/>
                  </a:lnTo>
                  <a:lnTo>
                    <a:pt x="678" y="1086"/>
                  </a:lnTo>
                  <a:lnTo>
                    <a:pt x="678" y="1104"/>
                  </a:lnTo>
                  <a:lnTo>
                    <a:pt x="678" y="1110"/>
                  </a:lnTo>
                  <a:lnTo>
                    <a:pt x="678" y="1116"/>
                  </a:lnTo>
                  <a:lnTo>
                    <a:pt x="684" y="1116"/>
                  </a:lnTo>
                  <a:lnTo>
                    <a:pt x="678" y="1128"/>
                  </a:lnTo>
                  <a:lnTo>
                    <a:pt x="684" y="1128"/>
                  </a:lnTo>
                  <a:lnTo>
                    <a:pt x="690" y="1134"/>
                  </a:lnTo>
                  <a:lnTo>
                    <a:pt x="690" y="1140"/>
                  </a:lnTo>
                  <a:lnTo>
                    <a:pt x="696" y="1140"/>
                  </a:lnTo>
                  <a:lnTo>
                    <a:pt x="696" y="1146"/>
                  </a:lnTo>
                  <a:lnTo>
                    <a:pt x="696" y="1152"/>
                  </a:lnTo>
                  <a:lnTo>
                    <a:pt x="702" y="1152"/>
                  </a:lnTo>
                  <a:lnTo>
                    <a:pt x="708" y="1152"/>
                  </a:lnTo>
                  <a:lnTo>
                    <a:pt x="714" y="1158"/>
                  </a:lnTo>
                  <a:lnTo>
                    <a:pt x="714" y="1164"/>
                  </a:lnTo>
                  <a:lnTo>
                    <a:pt x="720" y="1170"/>
                  </a:lnTo>
                  <a:lnTo>
                    <a:pt x="720" y="1176"/>
                  </a:lnTo>
                  <a:lnTo>
                    <a:pt x="720" y="1182"/>
                  </a:lnTo>
                  <a:lnTo>
                    <a:pt x="726" y="1188"/>
                  </a:lnTo>
                  <a:lnTo>
                    <a:pt x="726" y="1194"/>
                  </a:lnTo>
                  <a:lnTo>
                    <a:pt x="732" y="1194"/>
                  </a:lnTo>
                  <a:lnTo>
                    <a:pt x="732" y="1200"/>
                  </a:lnTo>
                  <a:lnTo>
                    <a:pt x="738" y="1212"/>
                  </a:lnTo>
                  <a:lnTo>
                    <a:pt x="732" y="1218"/>
                  </a:lnTo>
                  <a:lnTo>
                    <a:pt x="732" y="1224"/>
                  </a:lnTo>
                  <a:lnTo>
                    <a:pt x="726" y="1230"/>
                  </a:lnTo>
                  <a:lnTo>
                    <a:pt x="720" y="1230"/>
                  </a:lnTo>
                  <a:lnTo>
                    <a:pt x="720" y="1236"/>
                  </a:lnTo>
                  <a:lnTo>
                    <a:pt x="720" y="1242"/>
                  </a:lnTo>
                  <a:lnTo>
                    <a:pt x="720" y="1248"/>
                  </a:lnTo>
                  <a:lnTo>
                    <a:pt x="714" y="1248"/>
                  </a:lnTo>
                  <a:lnTo>
                    <a:pt x="714" y="1254"/>
                  </a:lnTo>
                  <a:lnTo>
                    <a:pt x="708" y="1260"/>
                  </a:lnTo>
                  <a:lnTo>
                    <a:pt x="702" y="1272"/>
                  </a:lnTo>
                  <a:lnTo>
                    <a:pt x="696" y="1272"/>
                  </a:lnTo>
                  <a:lnTo>
                    <a:pt x="696" y="1278"/>
                  </a:lnTo>
                  <a:lnTo>
                    <a:pt x="690" y="1284"/>
                  </a:lnTo>
                  <a:lnTo>
                    <a:pt x="690" y="1290"/>
                  </a:lnTo>
                  <a:lnTo>
                    <a:pt x="684" y="1290"/>
                  </a:lnTo>
                  <a:lnTo>
                    <a:pt x="660" y="1284"/>
                  </a:lnTo>
                  <a:lnTo>
                    <a:pt x="660" y="1278"/>
                  </a:lnTo>
                  <a:lnTo>
                    <a:pt x="654" y="1272"/>
                  </a:lnTo>
                  <a:lnTo>
                    <a:pt x="648" y="1272"/>
                  </a:lnTo>
                  <a:lnTo>
                    <a:pt x="642" y="1272"/>
                  </a:lnTo>
                  <a:lnTo>
                    <a:pt x="642" y="1266"/>
                  </a:lnTo>
                  <a:lnTo>
                    <a:pt x="636" y="1266"/>
                  </a:lnTo>
                  <a:lnTo>
                    <a:pt x="630" y="1266"/>
                  </a:lnTo>
                  <a:lnTo>
                    <a:pt x="624" y="1266"/>
                  </a:lnTo>
                  <a:lnTo>
                    <a:pt x="624" y="1260"/>
                  </a:lnTo>
                  <a:lnTo>
                    <a:pt x="618" y="1260"/>
                  </a:lnTo>
                  <a:lnTo>
                    <a:pt x="612" y="1260"/>
                  </a:lnTo>
                  <a:lnTo>
                    <a:pt x="606" y="1260"/>
                  </a:lnTo>
                  <a:lnTo>
                    <a:pt x="600" y="1260"/>
                  </a:lnTo>
                  <a:lnTo>
                    <a:pt x="600" y="1254"/>
                  </a:lnTo>
                  <a:lnTo>
                    <a:pt x="594" y="1254"/>
                  </a:lnTo>
                  <a:lnTo>
                    <a:pt x="588" y="1248"/>
                  </a:lnTo>
                  <a:lnTo>
                    <a:pt x="588" y="1254"/>
                  </a:lnTo>
                  <a:lnTo>
                    <a:pt x="582" y="1254"/>
                  </a:lnTo>
                  <a:lnTo>
                    <a:pt x="582" y="1248"/>
                  </a:lnTo>
                  <a:lnTo>
                    <a:pt x="576" y="1248"/>
                  </a:lnTo>
                  <a:lnTo>
                    <a:pt x="576" y="1254"/>
                  </a:lnTo>
                  <a:lnTo>
                    <a:pt x="570" y="1248"/>
                  </a:lnTo>
                  <a:lnTo>
                    <a:pt x="564" y="1248"/>
                  </a:lnTo>
                  <a:lnTo>
                    <a:pt x="564" y="1254"/>
                  </a:lnTo>
                  <a:lnTo>
                    <a:pt x="558" y="1254"/>
                  </a:lnTo>
                  <a:lnTo>
                    <a:pt x="552" y="1254"/>
                  </a:lnTo>
                  <a:lnTo>
                    <a:pt x="552" y="1260"/>
                  </a:lnTo>
                  <a:lnTo>
                    <a:pt x="546" y="1260"/>
                  </a:lnTo>
                  <a:lnTo>
                    <a:pt x="540" y="1260"/>
                  </a:lnTo>
                  <a:lnTo>
                    <a:pt x="540" y="1254"/>
                  </a:lnTo>
                  <a:lnTo>
                    <a:pt x="534" y="1254"/>
                  </a:lnTo>
                  <a:lnTo>
                    <a:pt x="528" y="1224"/>
                  </a:lnTo>
                  <a:lnTo>
                    <a:pt x="534" y="1212"/>
                  </a:lnTo>
                  <a:lnTo>
                    <a:pt x="546" y="1206"/>
                  </a:lnTo>
                  <a:lnTo>
                    <a:pt x="582" y="1206"/>
                  </a:lnTo>
                  <a:lnTo>
                    <a:pt x="588" y="1188"/>
                  </a:lnTo>
                  <a:lnTo>
                    <a:pt x="582" y="1188"/>
                  </a:lnTo>
                  <a:lnTo>
                    <a:pt x="582" y="1182"/>
                  </a:lnTo>
                  <a:lnTo>
                    <a:pt x="576" y="1176"/>
                  </a:lnTo>
                  <a:lnTo>
                    <a:pt x="558" y="1128"/>
                  </a:lnTo>
                  <a:lnTo>
                    <a:pt x="558" y="1122"/>
                  </a:lnTo>
                  <a:lnTo>
                    <a:pt x="576" y="1098"/>
                  </a:lnTo>
                  <a:lnTo>
                    <a:pt x="576" y="1092"/>
                  </a:lnTo>
                  <a:lnTo>
                    <a:pt x="582" y="1092"/>
                  </a:lnTo>
                  <a:lnTo>
                    <a:pt x="582" y="1086"/>
                  </a:lnTo>
                  <a:lnTo>
                    <a:pt x="582" y="1080"/>
                  </a:lnTo>
                  <a:lnTo>
                    <a:pt x="582" y="1074"/>
                  </a:lnTo>
                  <a:lnTo>
                    <a:pt x="588" y="1074"/>
                  </a:lnTo>
                  <a:lnTo>
                    <a:pt x="588" y="1062"/>
                  </a:lnTo>
                  <a:lnTo>
                    <a:pt x="588" y="1056"/>
                  </a:lnTo>
                  <a:lnTo>
                    <a:pt x="588" y="1044"/>
                  </a:lnTo>
                  <a:lnTo>
                    <a:pt x="588" y="1038"/>
                  </a:lnTo>
                  <a:lnTo>
                    <a:pt x="588" y="1032"/>
                  </a:lnTo>
                  <a:lnTo>
                    <a:pt x="582" y="1026"/>
                  </a:lnTo>
                  <a:lnTo>
                    <a:pt x="582" y="1020"/>
                  </a:lnTo>
                  <a:lnTo>
                    <a:pt x="582" y="1008"/>
                  </a:lnTo>
                  <a:lnTo>
                    <a:pt x="576" y="990"/>
                  </a:lnTo>
                  <a:lnTo>
                    <a:pt x="570" y="972"/>
                  </a:lnTo>
                  <a:lnTo>
                    <a:pt x="552" y="972"/>
                  </a:lnTo>
                  <a:lnTo>
                    <a:pt x="540" y="960"/>
                  </a:lnTo>
                  <a:lnTo>
                    <a:pt x="534" y="954"/>
                  </a:lnTo>
                  <a:lnTo>
                    <a:pt x="534" y="948"/>
                  </a:lnTo>
                  <a:lnTo>
                    <a:pt x="516" y="948"/>
                  </a:lnTo>
                  <a:lnTo>
                    <a:pt x="522" y="936"/>
                  </a:lnTo>
                  <a:lnTo>
                    <a:pt x="522" y="930"/>
                  </a:lnTo>
                  <a:lnTo>
                    <a:pt x="504" y="918"/>
                  </a:lnTo>
                  <a:lnTo>
                    <a:pt x="492" y="906"/>
                  </a:lnTo>
                  <a:lnTo>
                    <a:pt x="486" y="894"/>
                  </a:lnTo>
                  <a:lnTo>
                    <a:pt x="468" y="876"/>
                  </a:lnTo>
                  <a:lnTo>
                    <a:pt x="450" y="876"/>
                  </a:lnTo>
                  <a:lnTo>
                    <a:pt x="414" y="882"/>
                  </a:lnTo>
                  <a:lnTo>
                    <a:pt x="402" y="870"/>
                  </a:lnTo>
                  <a:lnTo>
                    <a:pt x="390" y="864"/>
                  </a:lnTo>
                  <a:lnTo>
                    <a:pt x="384" y="852"/>
                  </a:lnTo>
                  <a:lnTo>
                    <a:pt x="378" y="840"/>
                  </a:lnTo>
                  <a:lnTo>
                    <a:pt x="378" y="834"/>
                  </a:lnTo>
                  <a:lnTo>
                    <a:pt x="360" y="822"/>
                  </a:lnTo>
                  <a:lnTo>
                    <a:pt x="342" y="828"/>
                  </a:lnTo>
                  <a:lnTo>
                    <a:pt x="324" y="816"/>
                  </a:lnTo>
                  <a:lnTo>
                    <a:pt x="318" y="816"/>
                  </a:lnTo>
                  <a:lnTo>
                    <a:pt x="306" y="810"/>
                  </a:lnTo>
                  <a:lnTo>
                    <a:pt x="306" y="804"/>
                  </a:lnTo>
                  <a:lnTo>
                    <a:pt x="300" y="804"/>
                  </a:lnTo>
                  <a:lnTo>
                    <a:pt x="300" y="780"/>
                  </a:lnTo>
                  <a:lnTo>
                    <a:pt x="300" y="774"/>
                  </a:lnTo>
                  <a:lnTo>
                    <a:pt x="306" y="774"/>
                  </a:lnTo>
                  <a:lnTo>
                    <a:pt x="312" y="756"/>
                  </a:lnTo>
                  <a:lnTo>
                    <a:pt x="312" y="732"/>
                  </a:lnTo>
                  <a:lnTo>
                    <a:pt x="300" y="720"/>
                  </a:lnTo>
                  <a:lnTo>
                    <a:pt x="288" y="702"/>
                  </a:lnTo>
                  <a:lnTo>
                    <a:pt x="276" y="702"/>
                  </a:lnTo>
                  <a:lnTo>
                    <a:pt x="258" y="714"/>
                  </a:lnTo>
                  <a:lnTo>
                    <a:pt x="246" y="726"/>
                  </a:lnTo>
                  <a:lnTo>
                    <a:pt x="222" y="726"/>
                  </a:lnTo>
                  <a:lnTo>
                    <a:pt x="192" y="726"/>
                  </a:lnTo>
                  <a:lnTo>
                    <a:pt x="174" y="738"/>
                  </a:lnTo>
                  <a:lnTo>
                    <a:pt x="162" y="750"/>
                  </a:lnTo>
                  <a:lnTo>
                    <a:pt x="144" y="762"/>
                  </a:lnTo>
                  <a:lnTo>
                    <a:pt x="138" y="768"/>
                  </a:lnTo>
                  <a:lnTo>
                    <a:pt x="126" y="774"/>
                  </a:lnTo>
                  <a:lnTo>
                    <a:pt x="114" y="780"/>
                  </a:lnTo>
                  <a:lnTo>
                    <a:pt x="108" y="786"/>
                  </a:lnTo>
                  <a:lnTo>
                    <a:pt x="102" y="786"/>
                  </a:lnTo>
                  <a:lnTo>
                    <a:pt x="54" y="786"/>
                  </a:lnTo>
                  <a:lnTo>
                    <a:pt x="48" y="792"/>
                  </a:lnTo>
                  <a:lnTo>
                    <a:pt x="36" y="798"/>
                  </a:lnTo>
                  <a:lnTo>
                    <a:pt x="18" y="792"/>
                  </a:lnTo>
                  <a:lnTo>
                    <a:pt x="6" y="780"/>
                  </a:lnTo>
                  <a:lnTo>
                    <a:pt x="6" y="768"/>
                  </a:lnTo>
                  <a:lnTo>
                    <a:pt x="0" y="756"/>
                  </a:lnTo>
                  <a:lnTo>
                    <a:pt x="0" y="738"/>
                  </a:lnTo>
                  <a:lnTo>
                    <a:pt x="6" y="702"/>
                  </a:lnTo>
                  <a:lnTo>
                    <a:pt x="24" y="702"/>
                  </a:lnTo>
                  <a:lnTo>
                    <a:pt x="24" y="696"/>
                  </a:lnTo>
                  <a:lnTo>
                    <a:pt x="24" y="690"/>
                  </a:lnTo>
                  <a:lnTo>
                    <a:pt x="24" y="678"/>
                  </a:lnTo>
                  <a:lnTo>
                    <a:pt x="24" y="672"/>
                  </a:lnTo>
                  <a:lnTo>
                    <a:pt x="30" y="672"/>
                  </a:lnTo>
                  <a:lnTo>
                    <a:pt x="30" y="666"/>
                  </a:lnTo>
                  <a:lnTo>
                    <a:pt x="36" y="660"/>
                  </a:lnTo>
                  <a:lnTo>
                    <a:pt x="84" y="648"/>
                  </a:lnTo>
                  <a:lnTo>
                    <a:pt x="126" y="642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32" y="618"/>
                  </a:lnTo>
                  <a:lnTo>
                    <a:pt x="138" y="612"/>
                  </a:lnTo>
                  <a:lnTo>
                    <a:pt x="138" y="606"/>
                  </a:lnTo>
                  <a:lnTo>
                    <a:pt x="138" y="600"/>
                  </a:lnTo>
                  <a:lnTo>
                    <a:pt x="132" y="600"/>
                  </a:lnTo>
                  <a:lnTo>
                    <a:pt x="132" y="594"/>
                  </a:lnTo>
                  <a:lnTo>
                    <a:pt x="132" y="588"/>
                  </a:lnTo>
                  <a:lnTo>
                    <a:pt x="132" y="582"/>
                  </a:lnTo>
                  <a:lnTo>
                    <a:pt x="132" y="576"/>
                  </a:lnTo>
                  <a:lnTo>
                    <a:pt x="126" y="570"/>
                  </a:lnTo>
                  <a:lnTo>
                    <a:pt x="120" y="564"/>
                  </a:lnTo>
                  <a:lnTo>
                    <a:pt x="120" y="558"/>
                  </a:lnTo>
                  <a:lnTo>
                    <a:pt x="120" y="552"/>
                  </a:lnTo>
                  <a:lnTo>
                    <a:pt x="114" y="552"/>
                  </a:lnTo>
                  <a:lnTo>
                    <a:pt x="114" y="546"/>
                  </a:lnTo>
                  <a:lnTo>
                    <a:pt x="114" y="540"/>
                  </a:lnTo>
                  <a:lnTo>
                    <a:pt x="108" y="534"/>
                  </a:lnTo>
                  <a:lnTo>
                    <a:pt x="108" y="528"/>
                  </a:lnTo>
                  <a:lnTo>
                    <a:pt x="114" y="522"/>
                  </a:lnTo>
                  <a:lnTo>
                    <a:pt x="108" y="516"/>
                  </a:lnTo>
                  <a:lnTo>
                    <a:pt x="108" y="498"/>
                  </a:lnTo>
                  <a:lnTo>
                    <a:pt x="108" y="492"/>
                  </a:lnTo>
                  <a:lnTo>
                    <a:pt x="108" y="486"/>
                  </a:lnTo>
                  <a:lnTo>
                    <a:pt x="108" y="480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08" y="462"/>
                  </a:lnTo>
                  <a:lnTo>
                    <a:pt x="102" y="456"/>
                  </a:lnTo>
                  <a:lnTo>
                    <a:pt x="102" y="444"/>
                  </a:lnTo>
                  <a:lnTo>
                    <a:pt x="96" y="444"/>
                  </a:lnTo>
                  <a:lnTo>
                    <a:pt x="90" y="432"/>
                  </a:lnTo>
                  <a:lnTo>
                    <a:pt x="96" y="432"/>
                  </a:lnTo>
                  <a:lnTo>
                    <a:pt x="96" y="408"/>
                  </a:lnTo>
                  <a:lnTo>
                    <a:pt x="96" y="396"/>
                  </a:lnTo>
                  <a:lnTo>
                    <a:pt x="96" y="360"/>
                  </a:lnTo>
                  <a:lnTo>
                    <a:pt x="96" y="354"/>
                  </a:lnTo>
                  <a:lnTo>
                    <a:pt x="102" y="354"/>
                  </a:lnTo>
                  <a:lnTo>
                    <a:pt x="102" y="348"/>
                  </a:lnTo>
                  <a:lnTo>
                    <a:pt x="96" y="330"/>
                  </a:lnTo>
                  <a:lnTo>
                    <a:pt x="90" y="306"/>
                  </a:lnTo>
                  <a:lnTo>
                    <a:pt x="84" y="288"/>
                  </a:lnTo>
                  <a:lnTo>
                    <a:pt x="84" y="264"/>
                  </a:lnTo>
                  <a:lnTo>
                    <a:pt x="90" y="240"/>
                  </a:lnTo>
                  <a:lnTo>
                    <a:pt x="96" y="222"/>
                  </a:lnTo>
                  <a:lnTo>
                    <a:pt x="102" y="222"/>
                  </a:lnTo>
                  <a:lnTo>
                    <a:pt x="108" y="210"/>
                  </a:lnTo>
                  <a:lnTo>
                    <a:pt x="114" y="210"/>
                  </a:lnTo>
                  <a:lnTo>
                    <a:pt x="126" y="198"/>
                  </a:lnTo>
                  <a:lnTo>
                    <a:pt x="156" y="192"/>
                  </a:lnTo>
                  <a:lnTo>
                    <a:pt x="174" y="186"/>
                  </a:lnTo>
                  <a:lnTo>
                    <a:pt x="204" y="174"/>
                  </a:lnTo>
                  <a:lnTo>
                    <a:pt x="222" y="168"/>
                  </a:lnTo>
                  <a:lnTo>
                    <a:pt x="234" y="162"/>
                  </a:lnTo>
                  <a:lnTo>
                    <a:pt x="246" y="156"/>
                  </a:lnTo>
                  <a:lnTo>
                    <a:pt x="288" y="144"/>
                  </a:lnTo>
                  <a:lnTo>
                    <a:pt x="288" y="132"/>
                  </a:lnTo>
                  <a:lnTo>
                    <a:pt x="294" y="120"/>
                  </a:lnTo>
                  <a:lnTo>
                    <a:pt x="300" y="108"/>
                  </a:lnTo>
                  <a:lnTo>
                    <a:pt x="306" y="90"/>
                  </a:lnTo>
                  <a:lnTo>
                    <a:pt x="312" y="78"/>
                  </a:lnTo>
                  <a:lnTo>
                    <a:pt x="324" y="78"/>
                  </a:lnTo>
                  <a:lnTo>
                    <a:pt x="324" y="54"/>
                  </a:lnTo>
                  <a:lnTo>
                    <a:pt x="318" y="48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60" y="6"/>
                  </a:lnTo>
                  <a:lnTo>
                    <a:pt x="384" y="0"/>
                  </a:lnTo>
                  <a:lnTo>
                    <a:pt x="390" y="6"/>
                  </a:lnTo>
                  <a:lnTo>
                    <a:pt x="390" y="18"/>
                  </a:lnTo>
                  <a:lnTo>
                    <a:pt x="390" y="54"/>
                  </a:lnTo>
                  <a:lnTo>
                    <a:pt x="396" y="66"/>
                  </a:lnTo>
                  <a:lnTo>
                    <a:pt x="414" y="84"/>
                  </a:lnTo>
                  <a:lnTo>
                    <a:pt x="426" y="90"/>
                  </a:lnTo>
                  <a:lnTo>
                    <a:pt x="432" y="96"/>
                  </a:lnTo>
                  <a:lnTo>
                    <a:pt x="426" y="102"/>
                  </a:lnTo>
                  <a:lnTo>
                    <a:pt x="438" y="102"/>
                  </a:lnTo>
                  <a:lnTo>
                    <a:pt x="444" y="108"/>
                  </a:lnTo>
                  <a:lnTo>
                    <a:pt x="444" y="102"/>
                  </a:lnTo>
                  <a:lnTo>
                    <a:pt x="450" y="90"/>
                  </a:lnTo>
                  <a:lnTo>
                    <a:pt x="450" y="84"/>
                  </a:lnTo>
                  <a:lnTo>
                    <a:pt x="450" y="78"/>
                  </a:lnTo>
                  <a:lnTo>
                    <a:pt x="456" y="72"/>
                  </a:lnTo>
                  <a:lnTo>
                    <a:pt x="462" y="66"/>
                  </a:lnTo>
                  <a:lnTo>
                    <a:pt x="462" y="60"/>
                  </a:lnTo>
                  <a:lnTo>
                    <a:pt x="462" y="54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74" y="24"/>
                  </a:lnTo>
                  <a:lnTo>
                    <a:pt x="480" y="18"/>
                  </a:lnTo>
                  <a:lnTo>
                    <a:pt x="486" y="12"/>
                  </a:lnTo>
                  <a:lnTo>
                    <a:pt x="492" y="12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2" y="6"/>
                  </a:lnTo>
                  <a:lnTo>
                    <a:pt x="534" y="6"/>
                  </a:lnTo>
                  <a:lnTo>
                    <a:pt x="540" y="6"/>
                  </a:lnTo>
                  <a:lnTo>
                    <a:pt x="546" y="6"/>
                  </a:lnTo>
                  <a:lnTo>
                    <a:pt x="564" y="0"/>
                  </a:lnTo>
                  <a:lnTo>
                    <a:pt x="570" y="0"/>
                  </a:lnTo>
                  <a:lnTo>
                    <a:pt x="576" y="6"/>
                  </a:lnTo>
                  <a:lnTo>
                    <a:pt x="582" y="6"/>
                  </a:lnTo>
                  <a:lnTo>
                    <a:pt x="594" y="6"/>
                  </a:lnTo>
                  <a:lnTo>
                    <a:pt x="600" y="6"/>
                  </a:lnTo>
                  <a:lnTo>
                    <a:pt x="606" y="6"/>
                  </a:lnTo>
                  <a:lnTo>
                    <a:pt x="624" y="0"/>
                  </a:lnTo>
                  <a:lnTo>
                    <a:pt x="636" y="0"/>
                  </a:lnTo>
                  <a:lnTo>
                    <a:pt x="636" y="6"/>
                  </a:lnTo>
                  <a:lnTo>
                    <a:pt x="654" y="18"/>
                  </a:lnTo>
                  <a:lnTo>
                    <a:pt x="654" y="30"/>
                  </a:lnTo>
                  <a:lnTo>
                    <a:pt x="642" y="42"/>
                  </a:lnTo>
                  <a:lnTo>
                    <a:pt x="630" y="66"/>
                  </a:lnTo>
                  <a:lnTo>
                    <a:pt x="636" y="84"/>
                  </a:lnTo>
                  <a:lnTo>
                    <a:pt x="636" y="96"/>
                  </a:lnTo>
                  <a:lnTo>
                    <a:pt x="648" y="102"/>
                  </a:lnTo>
                  <a:lnTo>
                    <a:pt x="672" y="114"/>
                  </a:lnTo>
                  <a:lnTo>
                    <a:pt x="702" y="120"/>
                  </a:lnTo>
                  <a:lnTo>
                    <a:pt x="714" y="126"/>
                  </a:lnTo>
                  <a:lnTo>
                    <a:pt x="720" y="144"/>
                  </a:lnTo>
                  <a:lnTo>
                    <a:pt x="720" y="156"/>
                  </a:lnTo>
                  <a:lnTo>
                    <a:pt x="708" y="156"/>
                  </a:lnTo>
                  <a:lnTo>
                    <a:pt x="702" y="162"/>
                  </a:lnTo>
                  <a:lnTo>
                    <a:pt x="702" y="174"/>
                  </a:lnTo>
                  <a:lnTo>
                    <a:pt x="696" y="174"/>
                  </a:lnTo>
                  <a:lnTo>
                    <a:pt x="690" y="180"/>
                  </a:lnTo>
                  <a:lnTo>
                    <a:pt x="678" y="186"/>
                  </a:lnTo>
                  <a:lnTo>
                    <a:pt x="672" y="192"/>
                  </a:lnTo>
                  <a:lnTo>
                    <a:pt x="654" y="210"/>
                  </a:lnTo>
                  <a:lnTo>
                    <a:pt x="654" y="216"/>
                  </a:lnTo>
                  <a:lnTo>
                    <a:pt x="648" y="246"/>
                  </a:lnTo>
                  <a:lnTo>
                    <a:pt x="660" y="246"/>
                  </a:lnTo>
                  <a:lnTo>
                    <a:pt x="666" y="234"/>
                  </a:lnTo>
                  <a:lnTo>
                    <a:pt x="678" y="240"/>
                  </a:lnTo>
                  <a:lnTo>
                    <a:pt x="684" y="228"/>
                  </a:lnTo>
                  <a:lnTo>
                    <a:pt x="690" y="210"/>
                  </a:lnTo>
                  <a:lnTo>
                    <a:pt x="696" y="204"/>
                  </a:lnTo>
                  <a:lnTo>
                    <a:pt x="702" y="204"/>
                  </a:lnTo>
                  <a:lnTo>
                    <a:pt x="708" y="192"/>
                  </a:lnTo>
                  <a:lnTo>
                    <a:pt x="714" y="192"/>
                  </a:lnTo>
                  <a:lnTo>
                    <a:pt x="714" y="186"/>
                  </a:lnTo>
                  <a:lnTo>
                    <a:pt x="726" y="186"/>
                  </a:lnTo>
                  <a:lnTo>
                    <a:pt x="732" y="186"/>
                  </a:lnTo>
                  <a:lnTo>
                    <a:pt x="738" y="186"/>
                  </a:lnTo>
                  <a:lnTo>
                    <a:pt x="744" y="216"/>
                  </a:lnTo>
                  <a:lnTo>
                    <a:pt x="750" y="210"/>
                  </a:lnTo>
                  <a:lnTo>
                    <a:pt x="750" y="204"/>
                  </a:lnTo>
                  <a:lnTo>
                    <a:pt x="756" y="192"/>
                  </a:lnTo>
                  <a:lnTo>
                    <a:pt x="762" y="192"/>
                  </a:lnTo>
                  <a:lnTo>
                    <a:pt x="768" y="192"/>
                  </a:lnTo>
                  <a:lnTo>
                    <a:pt x="780" y="186"/>
                  </a:lnTo>
                  <a:lnTo>
                    <a:pt x="786" y="204"/>
                  </a:lnTo>
                  <a:lnTo>
                    <a:pt x="774" y="210"/>
                  </a:lnTo>
                  <a:lnTo>
                    <a:pt x="774" y="234"/>
                  </a:lnTo>
                  <a:lnTo>
                    <a:pt x="780" y="246"/>
                  </a:lnTo>
                  <a:lnTo>
                    <a:pt x="804" y="264"/>
                  </a:lnTo>
                  <a:lnTo>
                    <a:pt x="816" y="276"/>
                  </a:lnTo>
                  <a:lnTo>
                    <a:pt x="822" y="288"/>
                  </a:lnTo>
                  <a:lnTo>
                    <a:pt x="822" y="312"/>
                  </a:lnTo>
                  <a:lnTo>
                    <a:pt x="816" y="312"/>
                  </a:lnTo>
                  <a:lnTo>
                    <a:pt x="810" y="318"/>
                  </a:lnTo>
                  <a:lnTo>
                    <a:pt x="810" y="348"/>
                  </a:lnTo>
                  <a:lnTo>
                    <a:pt x="816" y="348"/>
                  </a:lnTo>
                  <a:lnTo>
                    <a:pt x="816" y="342"/>
                  </a:lnTo>
                  <a:lnTo>
                    <a:pt x="834" y="342"/>
                  </a:lnTo>
                  <a:lnTo>
                    <a:pt x="834" y="348"/>
                  </a:lnTo>
                  <a:lnTo>
                    <a:pt x="846" y="348"/>
                  </a:lnTo>
                  <a:lnTo>
                    <a:pt x="846" y="342"/>
                  </a:lnTo>
                  <a:lnTo>
                    <a:pt x="882" y="342"/>
                  </a:lnTo>
                  <a:lnTo>
                    <a:pt x="894" y="366"/>
                  </a:lnTo>
                  <a:lnTo>
                    <a:pt x="900" y="372"/>
                  </a:lnTo>
                  <a:lnTo>
                    <a:pt x="906" y="384"/>
                  </a:lnTo>
                  <a:lnTo>
                    <a:pt x="924" y="384"/>
                  </a:lnTo>
                  <a:lnTo>
                    <a:pt x="930" y="372"/>
                  </a:lnTo>
                  <a:lnTo>
                    <a:pt x="936" y="372"/>
                  </a:lnTo>
                  <a:lnTo>
                    <a:pt x="942" y="348"/>
                  </a:lnTo>
                  <a:lnTo>
                    <a:pt x="954" y="348"/>
                  </a:lnTo>
                  <a:lnTo>
                    <a:pt x="954" y="342"/>
                  </a:lnTo>
                  <a:lnTo>
                    <a:pt x="984" y="342"/>
                  </a:lnTo>
                  <a:lnTo>
                    <a:pt x="978" y="390"/>
                  </a:lnTo>
                  <a:lnTo>
                    <a:pt x="984" y="390"/>
                  </a:lnTo>
                  <a:lnTo>
                    <a:pt x="990" y="396"/>
                  </a:lnTo>
                  <a:lnTo>
                    <a:pt x="996" y="396"/>
                  </a:lnTo>
                  <a:lnTo>
                    <a:pt x="1002" y="396"/>
                  </a:lnTo>
                  <a:lnTo>
                    <a:pt x="1002" y="408"/>
                  </a:lnTo>
                  <a:lnTo>
                    <a:pt x="990" y="414"/>
                  </a:lnTo>
                  <a:lnTo>
                    <a:pt x="984" y="426"/>
                  </a:lnTo>
                  <a:lnTo>
                    <a:pt x="990" y="444"/>
                  </a:lnTo>
                  <a:lnTo>
                    <a:pt x="996" y="450"/>
                  </a:lnTo>
                  <a:lnTo>
                    <a:pt x="990" y="462"/>
                  </a:lnTo>
                  <a:lnTo>
                    <a:pt x="990" y="468"/>
                  </a:lnTo>
                  <a:lnTo>
                    <a:pt x="984" y="480"/>
                  </a:lnTo>
                  <a:lnTo>
                    <a:pt x="978" y="486"/>
                  </a:lnTo>
                  <a:lnTo>
                    <a:pt x="972" y="486"/>
                  </a:lnTo>
                  <a:lnTo>
                    <a:pt x="966" y="492"/>
                  </a:lnTo>
                  <a:lnTo>
                    <a:pt x="966" y="498"/>
                  </a:lnTo>
                  <a:lnTo>
                    <a:pt x="954" y="510"/>
                  </a:lnTo>
                  <a:lnTo>
                    <a:pt x="948" y="510"/>
                  </a:lnTo>
                  <a:lnTo>
                    <a:pt x="942" y="516"/>
                  </a:lnTo>
                  <a:lnTo>
                    <a:pt x="936" y="528"/>
                  </a:lnTo>
                  <a:lnTo>
                    <a:pt x="936" y="534"/>
                  </a:lnTo>
                  <a:lnTo>
                    <a:pt x="936" y="546"/>
                  </a:lnTo>
                  <a:lnTo>
                    <a:pt x="936" y="558"/>
                  </a:lnTo>
                  <a:lnTo>
                    <a:pt x="948" y="558"/>
                  </a:lnTo>
                  <a:lnTo>
                    <a:pt x="954" y="558"/>
                  </a:lnTo>
                  <a:lnTo>
                    <a:pt x="996" y="558"/>
                  </a:lnTo>
                  <a:lnTo>
                    <a:pt x="1002" y="570"/>
                  </a:lnTo>
                  <a:lnTo>
                    <a:pt x="996" y="576"/>
                  </a:lnTo>
                  <a:lnTo>
                    <a:pt x="996" y="588"/>
                  </a:lnTo>
                  <a:lnTo>
                    <a:pt x="984" y="588"/>
                  </a:lnTo>
                  <a:lnTo>
                    <a:pt x="990" y="612"/>
                  </a:lnTo>
                  <a:lnTo>
                    <a:pt x="1014" y="606"/>
                  </a:lnTo>
                  <a:lnTo>
                    <a:pt x="1014" y="636"/>
                  </a:lnTo>
                  <a:lnTo>
                    <a:pt x="1014" y="648"/>
                  </a:lnTo>
                  <a:lnTo>
                    <a:pt x="1020" y="648"/>
                  </a:lnTo>
                  <a:lnTo>
                    <a:pt x="1026" y="660"/>
                  </a:lnTo>
                  <a:lnTo>
                    <a:pt x="1038" y="654"/>
                  </a:lnTo>
                  <a:lnTo>
                    <a:pt x="1050" y="654"/>
                  </a:lnTo>
                  <a:lnTo>
                    <a:pt x="1062" y="654"/>
                  </a:lnTo>
                  <a:lnTo>
                    <a:pt x="1068" y="660"/>
                  </a:lnTo>
                  <a:lnTo>
                    <a:pt x="1068" y="678"/>
                  </a:lnTo>
                  <a:lnTo>
                    <a:pt x="1068" y="684"/>
                  </a:lnTo>
                  <a:lnTo>
                    <a:pt x="1062" y="690"/>
                  </a:lnTo>
                  <a:lnTo>
                    <a:pt x="1056" y="696"/>
                  </a:lnTo>
                  <a:lnTo>
                    <a:pt x="1056" y="702"/>
                  </a:lnTo>
                  <a:lnTo>
                    <a:pt x="1038" y="714"/>
                  </a:lnTo>
                  <a:lnTo>
                    <a:pt x="1026" y="720"/>
                  </a:lnTo>
                  <a:lnTo>
                    <a:pt x="1008" y="726"/>
                  </a:lnTo>
                  <a:lnTo>
                    <a:pt x="1008" y="732"/>
                  </a:lnTo>
                  <a:lnTo>
                    <a:pt x="990" y="732"/>
                  </a:lnTo>
                  <a:lnTo>
                    <a:pt x="984" y="744"/>
                  </a:lnTo>
                  <a:lnTo>
                    <a:pt x="990" y="750"/>
                  </a:lnTo>
                  <a:lnTo>
                    <a:pt x="984" y="762"/>
                  </a:lnTo>
                  <a:lnTo>
                    <a:pt x="984" y="768"/>
                  </a:lnTo>
                  <a:lnTo>
                    <a:pt x="984" y="774"/>
                  </a:lnTo>
                  <a:lnTo>
                    <a:pt x="984" y="780"/>
                  </a:lnTo>
                  <a:lnTo>
                    <a:pt x="984" y="786"/>
                  </a:lnTo>
                  <a:lnTo>
                    <a:pt x="984" y="792"/>
                  </a:lnTo>
                  <a:lnTo>
                    <a:pt x="978" y="798"/>
                  </a:lnTo>
                  <a:lnTo>
                    <a:pt x="978" y="80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3" name="Freeform 38">
              <a:extLst>
                <a:ext uri="{FF2B5EF4-FFF2-40B4-BE49-F238E27FC236}">
                  <a16:creationId xmlns:a16="http://schemas.microsoft.com/office/drawing/2014/main" id="{819B99CE-D972-4530-8964-A992C1EC87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2825" y="1634436"/>
              <a:ext cx="959326" cy="959458"/>
            </a:xfrm>
            <a:custGeom>
              <a:avLst/>
              <a:gdLst>
                <a:gd name="T0" fmla="*/ 105 w 1806"/>
                <a:gd name="T1" fmla="*/ 155 h 1806"/>
                <a:gd name="T2" fmla="*/ 103 w 1806"/>
                <a:gd name="T3" fmla="*/ 155 h 1806"/>
                <a:gd name="T4" fmla="*/ 103 w 1806"/>
                <a:gd name="T5" fmla="*/ 150 h 1806"/>
                <a:gd name="T6" fmla="*/ 104 w 1806"/>
                <a:gd name="T7" fmla="*/ 141 h 1806"/>
                <a:gd name="T8" fmla="*/ 104 w 1806"/>
                <a:gd name="T9" fmla="*/ 136 h 1806"/>
                <a:gd name="T10" fmla="*/ 100 w 1806"/>
                <a:gd name="T11" fmla="*/ 131 h 1806"/>
                <a:gd name="T12" fmla="*/ 96 w 1806"/>
                <a:gd name="T13" fmla="*/ 127 h 1806"/>
                <a:gd name="T14" fmla="*/ 91 w 1806"/>
                <a:gd name="T15" fmla="*/ 121 h 1806"/>
                <a:gd name="T16" fmla="*/ 87 w 1806"/>
                <a:gd name="T17" fmla="*/ 120 h 1806"/>
                <a:gd name="T18" fmla="*/ 81 w 1806"/>
                <a:gd name="T19" fmla="*/ 117 h 1806"/>
                <a:gd name="T20" fmla="*/ 65 w 1806"/>
                <a:gd name="T21" fmla="*/ 113 h 1806"/>
                <a:gd name="T22" fmla="*/ 69 w 1806"/>
                <a:gd name="T23" fmla="*/ 105 h 1806"/>
                <a:gd name="T24" fmla="*/ 66 w 1806"/>
                <a:gd name="T25" fmla="*/ 89 h 1806"/>
                <a:gd name="T26" fmla="*/ 63 w 1806"/>
                <a:gd name="T27" fmla="*/ 84 h 1806"/>
                <a:gd name="T28" fmla="*/ 62 w 1806"/>
                <a:gd name="T29" fmla="*/ 74 h 1806"/>
                <a:gd name="T30" fmla="*/ 58 w 1806"/>
                <a:gd name="T31" fmla="*/ 52 h 1806"/>
                <a:gd name="T32" fmla="*/ 53 w 1806"/>
                <a:gd name="T33" fmla="*/ 49 h 1806"/>
                <a:gd name="T34" fmla="*/ 51 w 1806"/>
                <a:gd name="T35" fmla="*/ 36 h 1806"/>
                <a:gd name="T36" fmla="*/ 43 w 1806"/>
                <a:gd name="T37" fmla="*/ 32 h 1806"/>
                <a:gd name="T38" fmla="*/ 33 w 1806"/>
                <a:gd name="T39" fmla="*/ 30 h 1806"/>
                <a:gd name="T40" fmla="*/ 30 w 1806"/>
                <a:gd name="T41" fmla="*/ 21 h 1806"/>
                <a:gd name="T42" fmla="*/ 17 w 1806"/>
                <a:gd name="T43" fmla="*/ 25 h 1806"/>
                <a:gd name="T44" fmla="*/ 4 w 1806"/>
                <a:gd name="T45" fmla="*/ 33 h 1806"/>
                <a:gd name="T46" fmla="*/ 7 w 1806"/>
                <a:gd name="T47" fmla="*/ 26 h 1806"/>
                <a:gd name="T48" fmla="*/ 11 w 1806"/>
                <a:gd name="T49" fmla="*/ 20 h 1806"/>
                <a:gd name="T50" fmla="*/ 18 w 1806"/>
                <a:gd name="T51" fmla="*/ 12 h 1806"/>
                <a:gd name="T52" fmla="*/ 26 w 1806"/>
                <a:gd name="T53" fmla="*/ 8 h 1806"/>
                <a:gd name="T54" fmla="*/ 35 w 1806"/>
                <a:gd name="T55" fmla="*/ 6 h 1806"/>
                <a:gd name="T56" fmla="*/ 44 w 1806"/>
                <a:gd name="T57" fmla="*/ 5 h 1806"/>
                <a:gd name="T58" fmla="*/ 54 w 1806"/>
                <a:gd name="T59" fmla="*/ 2 h 1806"/>
                <a:gd name="T60" fmla="*/ 65 w 1806"/>
                <a:gd name="T61" fmla="*/ 0 h 1806"/>
                <a:gd name="T62" fmla="*/ 76 w 1806"/>
                <a:gd name="T63" fmla="*/ 0 h 1806"/>
                <a:gd name="T64" fmla="*/ 85 w 1806"/>
                <a:gd name="T65" fmla="*/ 0 h 1806"/>
                <a:gd name="T66" fmla="*/ 97 w 1806"/>
                <a:gd name="T67" fmla="*/ 0 h 1806"/>
                <a:gd name="T68" fmla="*/ 108 w 1806"/>
                <a:gd name="T69" fmla="*/ 3 h 1806"/>
                <a:gd name="T70" fmla="*/ 115 w 1806"/>
                <a:gd name="T71" fmla="*/ 5 h 1806"/>
                <a:gd name="T72" fmla="*/ 123 w 1806"/>
                <a:gd name="T73" fmla="*/ 7 h 1806"/>
                <a:gd name="T74" fmla="*/ 133 w 1806"/>
                <a:gd name="T75" fmla="*/ 14 h 1806"/>
                <a:gd name="T76" fmla="*/ 138 w 1806"/>
                <a:gd name="T77" fmla="*/ 16 h 1806"/>
                <a:gd name="T78" fmla="*/ 140 w 1806"/>
                <a:gd name="T79" fmla="*/ 14 h 1806"/>
                <a:gd name="T80" fmla="*/ 145 w 1806"/>
                <a:gd name="T81" fmla="*/ 16 h 1806"/>
                <a:gd name="T82" fmla="*/ 147 w 1806"/>
                <a:gd name="T83" fmla="*/ 16 h 1806"/>
                <a:gd name="T84" fmla="*/ 150 w 1806"/>
                <a:gd name="T85" fmla="*/ 17 h 1806"/>
                <a:gd name="T86" fmla="*/ 152 w 1806"/>
                <a:gd name="T87" fmla="*/ 18 h 1806"/>
                <a:gd name="T88" fmla="*/ 155 w 1806"/>
                <a:gd name="T89" fmla="*/ 37 h 1806"/>
                <a:gd name="T90" fmla="*/ 146 w 1806"/>
                <a:gd name="T91" fmla="*/ 66 h 1806"/>
                <a:gd name="T92" fmla="*/ 143 w 1806"/>
                <a:gd name="T93" fmla="*/ 88 h 1806"/>
                <a:gd name="T94" fmla="*/ 144 w 1806"/>
                <a:gd name="T95" fmla="*/ 98 h 1806"/>
                <a:gd name="T96" fmla="*/ 137 w 1806"/>
                <a:gd name="T97" fmla="*/ 118 h 1806"/>
                <a:gd name="T98" fmla="*/ 132 w 1806"/>
                <a:gd name="T99" fmla="*/ 129 h 1806"/>
                <a:gd name="T100" fmla="*/ 124 w 1806"/>
                <a:gd name="T101" fmla="*/ 135 h 1806"/>
                <a:gd name="T102" fmla="*/ 119 w 1806"/>
                <a:gd name="T103" fmla="*/ 136 h 1806"/>
                <a:gd name="T104" fmla="*/ 116 w 1806"/>
                <a:gd name="T105" fmla="*/ 137 h 1806"/>
                <a:gd name="T106" fmla="*/ 112 w 1806"/>
                <a:gd name="T107" fmla="*/ 139 h 1806"/>
                <a:gd name="T108" fmla="*/ 112 w 1806"/>
                <a:gd name="T109" fmla="*/ 141 h 1806"/>
                <a:gd name="T110" fmla="*/ 116 w 1806"/>
                <a:gd name="T111" fmla="*/ 146 h 1806"/>
                <a:gd name="T112" fmla="*/ 116 w 1806"/>
                <a:gd name="T113" fmla="*/ 151 h 1806"/>
                <a:gd name="T114" fmla="*/ 113 w 1806"/>
                <a:gd name="T115" fmla="*/ 153 h 18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6"/>
                <a:gd name="T175" fmla="*/ 0 h 1806"/>
                <a:gd name="T176" fmla="*/ 1806 w 1806"/>
                <a:gd name="T177" fmla="*/ 1806 h 18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6" h="1806">
                  <a:moveTo>
                    <a:pt x="1260" y="1776"/>
                  </a:moveTo>
                  <a:lnTo>
                    <a:pt x="1254" y="1776"/>
                  </a:lnTo>
                  <a:lnTo>
                    <a:pt x="1248" y="1776"/>
                  </a:lnTo>
                  <a:lnTo>
                    <a:pt x="1242" y="1782"/>
                  </a:lnTo>
                  <a:lnTo>
                    <a:pt x="1236" y="1782"/>
                  </a:lnTo>
                  <a:lnTo>
                    <a:pt x="1230" y="1788"/>
                  </a:lnTo>
                  <a:lnTo>
                    <a:pt x="1224" y="1782"/>
                  </a:lnTo>
                  <a:lnTo>
                    <a:pt x="1218" y="1782"/>
                  </a:lnTo>
                  <a:lnTo>
                    <a:pt x="1218" y="1788"/>
                  </a:lnTo>
                  <a:lnTo>
                    <a:pt x="1212" y="1788"/>
                  </a:lnTo>
                  <a:lnTo>
                    <a:pt x="1206" y="1788"/>
                  </a:lnTo>
                  <a:lnTo>
                    <a:pt x="1206" y="1794"/>
                  </a:lnTo>
                  <a:lnTo>
                    <a:pt x="1200" y="1806"/>
                  </a:lnTo>
                  <a:lnTo>
                    <a:pt x="1194" y="1800"/>
                  </a:lnTo>
                  <a:lnTo>
                    <a:pt x="1194" y="1794"/>
                  </a:lnTo>
                  <a:lnTo>
                    <a:pt x="1194" y="1788"/>
                  </a:lnTo>
                  <a:lnTo>
                    <a:pt x="1188" y="1788"/>
                  </a:lnTo>
                  <a:lnTo>
                    <a:pt x="1188" y="1782"/>
                  </a:lnTo>
                  <a:lnTo>
                    <a:pt x="1188" y="1776"/>
                  </a:lnTo>
                  <a:lnTo>
                    <a:pt x="1194" y="1770"/>
                  </a:lnTo>
                  <a:lnTo>
                    <a:pt x="1194" y="1764"/>
                  </a:lnTo>
                  <a:lnTo>
                    <a:pt x="1194" y="1758"/>
                  </a:lnTo>
                  <a:lnTo>
                    <a:pt x="1194" y="1752"/>
                  </a:lnTo>
                  <a:lnTo>
                    <a:pt x="1200" y="1746"/>
                  </a:lnTo>
                  <a:lnTo>
                    <a:pt x="1200" y="1740"/>
                  </a:lnTo>
                  <a:lnTo>
                    <a:pt x="1200" y="1734"/>
                  </a:lnTo>
                  <a:lnTo>
                    <a:pt x="1188" y="1722"/>
                  </a:lnTo>
                  <a:lnTo>
                    <a:pt x="1188" y="1716"/>
                  </a:lnTo>
                  <a:lnTo>
                    <a:pt x="1194" y="1704"/>
                  </a:lnTo>
                  <a:lnTo>
                    <a:pt x="1194" y="1692"/>
                  </a:lnTo>
                  <a:lnTo>
                    <a:pt x="1200" y="1680"/>
                  </a:lnTo>
                  <a:lnTo>
                    <a:pt x="1200" y="1662"/>
                  </a:lnTo>
                  <a:lnTo>
                    <a:pt x="1200" y="1650"/>
                  </a:lnTo>
                  <a:lnTo>
                    <a:pt x="1206" y="1644"/>
                  </a:lnTo>
                  <a:lnTo>
                    <a:pt x="1206" y="1638"/>
                  </a:lnTo>
                  <a:lnTo>
                    <a:pt x="1206" y="1626"/>
                  </a:lnTo>
                  <a:lnTo>
                    <a:pt x="1206" y="1620"/>
                  </a:lnTo>
                  <a:lnTo>
                    <a:pt x="1206" y="1614"/>
                  </a:lnTo>
                  <a:lnTo>
                    <a:pt x="1200" y="1608"/>
                  </a:lnTo>
                  <a:lnTo>
                    <a:pt x="1200" y="1602"/>
                  </a:lnTo>
                  <a:lnTo>
                    <a:pt x="1200" y="1596"/>
                  </a:lnTo>
                  <a:lnTo>
                    <a:pt x="1200" y="1590"/>
                  </a:lnTo>
                  <a:lnTo>
                    <a:pt x="1200" y="1572"/>
                  </a:lnTo>
                  <a:lnTo>
                    <a:pt x="1200" y="1566"/>
                  </a:lnTo>
                  <a:lnTo>
                    <a:pt x="1200" y="1560"/>
                  </a:lnTo>
                  <a:lnTo>
                    <a:pt x="1194" y="1554"/>
                  </a:lnTo>
                  <a:lnTo>
                    <a:pt x="1188" y="1548"/>
                  </a:lnTo>
                  <a:lnTo>
                    <a:pt x="1188" y="1542"/>
                  </a:lnTo>
                  <a:lnTo>
                    <a:pt x="1176" y="1536"/>
                  </a:lnTo>
                  <a:lnTo>
                    <a:pt x="1176" y="1530"/>
                  </a:lnTo>
                  <a:lnTo>
                    <a:pt x="1170" y="1524"/>
                  </a:lnTo>
                  <a:lnTo>
                    <a:pt x="1170" y="1518"/>
                  </a:lnTo>
                  <a:lnTo>
                    <a:pt x="1164" y="1512"/>
                  </a:lnTo>
                  <a:lnTo>
                    <a:pt x="1158" y="1506"/>
                  </a:lnTo>
                  <a:lnTo>
                    <a:pt x="1152" y="1500"/>
                  </a:lnTo>
                  <a:lnTo>
                    <a:pt x="1146" y="1494"/>
                  </a:lnTo>
                  <a:lnTo>
                    <a:pt x="1140" y="1488"/>
                  </a:lnTo>
                  <a:lnTo>
                    <a:pt x="1134" y="1482"/>
                  </a:lnTo>
                  <a:lnTo>
                    <a:pt x="1128" y="1476"/>
                  </a:lnTo>
                  <a:lnTo>
                    <a:pt x="1122" y="1470"/>
                  </a:lnTo>
                  <a:lnTo>
                    <a:pt x="1116" y="1464"/>
                  </a:lnTo>
                  <a:lnTo>
                    <a:pt x="1110" y="1464"/>
                  </a:lnTo>
                  <a:lnTo>
                    <a:pt x="1104" y="1458"/>
                  </a:lnTo>
                  <a:lnTo>
                    <a:pt x="1098" y="1464"/>
                  </a:lnTo>
                  <a:lnTo>
                    <a:pt x="1092" y="1464"/>
                  </a:lnTo>
                  <a:lnTo>
                    <a:pt x="1086" y="1446"/>
                  </a:lnTo>
                  <a:lnTo>
                    <a:pt x="1086" y="1440"/>
                  </a:lnTo>
                  <a:lnTo>
                    <a:pt x="1080" y="1416"/>
                  </a:lnTo>
                  <a:lnTo>
                    <a:pt x="1068" y="1404"/>
                  </a:lnTo>
                  <a:lnTo>
                    <a:pt x="1062" y="1398"/>
                  </a:lnTo>
                  <a:lnTo>
                    <a:pt x="1056" y="1398"/>
                  </a:lnTo>
                  <a:lnTo>
                    <a:pt x="1050" y="1398"/>
                  </a:lnTo>
                  <a:lnTo>
                    <a:pt x="1044" y="1398"/>
                  </a:lnTo>
                  <a:lnTo>
                    <a:pt x="1044" y="1392"/>
                  </a:lnTo>
                  <a:lnTo>
                    <a:pt x="1038" y="1392"/>
                  </a:lnTo>
                  <a:lnTo>
                    <a:pt x="1032" y="1392"/>
                  </a:lnTo>
                  <a:lnTo>
                    <a:pt x="1020" y="1386"/>
                  </a:lnTo>
                  <a:lnTo>
                    <a:pt x="1014" y="1386"/>
                  </a:lnTo>
                  <a:lnTo>
                    <a:pt x="1014" y="1380"/>
                  </a:lnTo>
                  <a:lnTo>
                    <a:pt x="1008" y="1380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62"/>
                  </a:lnTo>
                  <a:lnTo>
                    <a:pt x="984" y="1356"/>
                  </a:lnTo>
                  <a:lnTo>
                    <a:pt x="978" y="1356"/>
                  </a:lnTo>
                  <a:lnTo>
                    <a:pt x="972" y="1356"/>
                  </a:lnTo>
                  <a:lnTo>
                    <a:pt x="966" y="1356"/>
                  </a:lnTo>
                  <a:lnTo>
                    <a:pt x="966" y="1350"/>
                  </a:lnTo>
                  <a:lnTo>
                    <a:pt x="948" y="1350"/>
                  </a:lnTo>
                  <a:lnTo>
                    <a:pt x="936" y="1344"/>
                  </a:lnTo>
                  <a:lnTo>
                    <a:pt x="930" y="1338"/>
                  </a:lnTo>
                  <a:lnTo>
                    <a:pt x="918" y="1332"/>
                  </a:lnTo>
                  <a:lnTo>
                    <a:pt x="900" y="1326"/>
                  </a:lnTo>
                  <a:lnTo>
                    <a:pt x="864" y="1332"/>
                  </a:lnTo>
                  <a:lnTo>
                    <a:pt x="828" y="1332"/>
                  </a:lnTo>
                  <a:lnTo>
                    <a:pt x="792" y="1314"/>
                  </a:lnTo>
                  <a:lnTo>
                    <a:pt x="780" y="1314"/>
                  </a:lnTo>
                  <a:lnTo>
                    <a:pt x="780" y="1308"/>
                  </a:lnTo>
                  <a:lnTo>
                    <a:pt x="756" y="1296"/>
                  </a:lnTo>
                  <a:lnTo>
                    <a:pt x="756" y="1278"/>
                  </a:lnTo>
                  <a:lnTo>
                    <a:pt x="768" y="1278"/>
                  </a:lnTo>
                  <a:lnTo>
                    <a:pt x="774" y="1272"/>
                  </a:lnTo>
                  <a:lnTo>
                    <a:pt x="780" y="1266"/>
                  </a:lnTo>
                  <a:lnTo>
                    <a:pt x="786" y="1260"/>
                  </a:lnTo>
                  <a:lnTo>
                    <a:pt x="792" y="1254"/>
                  </a:lnTo>
                  <a:lnTo>
                    <a:pt x="798" y="1242"/>
                  </a:lnTo>
                  <a:lnTo>
                    <a:pt x="804" y="1242"/>
                  </a:lnTo>
                  <a:lnTo>
                    <a:pt x="804" y="1206"/>
                  </a:lnTo>
                  <a:lnTo>
                    <a:pt x="804" y="1182"/>
                  </a:lnTo>
                  <a:lnTo>
                    <a:pt x="804" y="1158"/>
                  </a:lnTo>
                  <a:lnTo>
                    <a:pt x="804" y="1134"/>
                  </a:lnTo>
                  <a:lnTo>
                    <a:pt x="798" y="1116"/>
                  </a:lnTo>
                  <a:lnTo>
                    <a:pt x="792" y="1092"/>
                  </a:lnTo>
                  <a:lnTo>
                    <a:pt x="786" y="1062"/>
                  </a:lnTo>
                  <a:lnTo>
                    <a:pt x="768" y="1032"/>
                  </a:lnTo>
                  <a:lnTo>
                    <a:pt x="762" y="1032"/>
                  </a:lnTo>
                  <a:lnTo>
                    <a:pt x="762" y="1020"/>
                  </a:lnTo>
                  <a:lnTo>
                    <a:pt x="762" y="1014"/>
                  </a:lnTo>
                  <a:lnTo>
                    <a:pt x="756" y="1008"/>
                  </a:lnTo>
                  <a:lnTo>
                    <a:pt x="750" y="1002"/>
                  </a:lnTo>
                  <a:lnTo>
                    <a:pt x="738" y="1002"/>
                  </a:lnTo>
                  <a:lnTo>
                    <a:pt x="738" y="990"/>
                  </a:lnTo>
                  <a:lnTo>
                    <a:pt x="726" y="990"/>
                  </a:lnTo>
                  <a:lnTo>
                    <a:pt x="726" y="978"/>
                  </a:lnTo>
                  <a:lnTo>
                    <a:pt x="732" y="972"/>
                  </a:lnTo>
                  <a:lnTo>
                    <a:pt x="732" y="966"/>
                  </a:lnTo>
                  <a:lnTo>
                    <a:pt x="726" y="966"/>
                  </a:lnTo>
                  <a:lnTo>
                    <a:pt x="732" y="948"/>
                  </a:lnTo>
                  <a:lnTo>
                    <a:pt x="726" y="942"/>
                  </a:lnTo>
                  <a:lnTo>
                    <a:pt x="726" y="930"/>
                  </a:lnTo>
                  <a:lnTo>
                    <a:pt x="720" y="924"/>
                  </a:lnTo>
                  <a:lnTo>
                    <a:pt x="714" y="912"/>
                  </a:lnTo>
                  <a:lnTo>
                    <a:pt x="714" y="882"/>
                  </a:lnTo>
                  <a:lnTo>
                    <a:pt x="714" y="870"/>
                  </a:lnTo>
                  <a:lnTo>
                    <a:pt x="714" y="858"/>
                  </a:lnTo>
                  <a:lnTo>
                    <a:pt x="714" y="846"/>
                  </a:lnTo>
                  <a:lnTo>
                    <a:pt x="708" y="822"/>
                  </a:lnTo>
                  <a:lnTo>
                    <a:pt x="702" y="798"/>
                  </a:lnTo>
                  <a:lnTo>
                    <a:pt x="696" y="792"/>
                  </a:lnTo>
                  <a:lnTo>
                    <a:pt x="684" y="726"/>
                  </a:lnTo>
                  <a:lnTo>
                    <a:pt x="678" y="666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66" y="600"/>
                  </a:lnTo>
                  <a:lnTo>
                    <a:pt x="660" y="594"/>
                  </a:lnTo>
                  <a:lnTo>
                    <a:pt x="654" y="594"/>
                  </a:lnTo>
                  <a:lnTo>
                    <a:pt x="636" y="582"/>
                  </a:lnTo>
                  <a:lnTo>
                    <a:pt x="630" y="576"/>
                  </a:lnTo>
                  <a:lnTo>
                    <a:pt x="624" y="576"/>
                  </a:lnTo>
                  <a:lnTo>
                    <a:pt x="618" y="570"/>
                  </a:lnTo>
                  <a:lnTo>
                    <a:pt x="612" y="564"/>
                  </a:lnTo>
                  <a:lnTo>
                    <a:pt x="606" y="558"/>
                  </a:lnTo>
                  <a:lnTo>
                    <a:pt x="606" y="564"/>
                  </a:lnTo>
                  <a:lnTo>
                    <a:pt x="600" y="564"/>
                  </a:lnTo>
                  <a:lnTo>
                    <a:pt x="594" y="558"/>
                  </a:lnTo>
                  <a:lnTo>
                    <a:pt x="594" y="540"/>
                  </a:lnTo>
                  <a:lnTo>
                    <a:pt x="594" y="528"/>
                  </a:lnTo>
                  <a:lnTo>
                    <a:pt x="594" y="516"/>
                  </a:lnTo>
                  <a:lnTo>
                    <a:pt x="594" y="510"/>
                  </a:lnTo>
                  <a:lnTo>
                    <a:pt x="594" y="492"/>
                  </a:lnTo>
                  <a:lnTo>
                    <a:pt x="594" y="456"/>
                  </a:lnTo>
                  <a:lnTo>
                    <a:pt x="588" y="414"/>
                  </a:lnTo>
                  <a:lnTo>
                    <a:pt x="588" y="408"/>
                  </a:lnTo>
                  <a:lnTo>
                    <a:pt x="582" y="396"/>
                  </a:lnTo>
                  <a:lnTo>
                    <a:pt x="582" y="384"/>
                  </a:lnTo>
                  <a:lnTo>
                    <a:pt x="582" y="372"/>
                  </a:lnTo>
                  <a:lnTo>
                    <a:pt x="564" y="372"/>
                  </a:lnTo>
                  <a:lnTo>
                    <a:pt x="552" y="366"/>
                  </a:lnTo>
                  <a:lnTo>
                    <a:pt x="552" y="372"/>
                  </a:lnTo>
                  <a:lnTo>
                    <a:pt x="498" y="372"/>
                  </a:lnTo>
                  <a:lnTo>
                    <a:pt x="498" y="366"/>
                  </a:lnTo>
                  <a:lnTo>
                    <a:pt x="474" y="360"/>
                  </a:lnTo>
                  <a:lnTo>
                    <a:pt x="456" y="354"/>
                  </a:lnTo>
                  <a:lnTo>
                    <a:pt x="438" y="348"/>
                  </a:lnTo>
                  <a:lnTo>
                    <a:pt x="426" y="354"/>
                  </a:lnTo>
                  <a:lnTo>
                    <a:pt x="408" y="360"/>
                  </a:lnTo>
                  <a:lnTo>
                    <a:pt x="378" y="360"/>
                  </a:lnTo>
                  <a:lnTo>
                    <a:pt x="378" y="354"/>
                  </a:lnTo>
                  <a:lnTo>
                    <a:pt x="378" y="348"/>
                  </a:lnTo>
                  <a:lnTo>
                    <a:pt x="378" y="342"/>
                  </a:lnTo>
                  <a:lnTo>
                    <a:pt x="390" y="330"/>
                  </a:lnTo>
                  <a:lnTo>
                    <a:pt x="396" y="312"/>
                  </a:lnTo>
                  <a:lnTo>
                    <a:pt x="396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8"/>
                  </a:lnTo>
                  <a:lnTo>
                    <a:pt x="372" y="234"/>
                  </a:lnTo>
                  <a:lnTo>
                    <a:pt x="354" y="234"/>
                  </a:lnTo>
                  <a:lnTo>
                    <a:pt x="342" y="246"/>
                  </a:lnTo>
                  <a:lnTo>
                    <a:pt x="330" y="252"/>
                  </a:lnTo>
                  <a:lnTo>
                    <a:pt x="318" y="252"/>
                  </a:lnTo>
                  <a:lnTo>
                    <a:pt x="276" y="258"/>
                  </a:lnTo>
                  <a:lnTo>
                    <a:pt x="276" y="264"/>
                  </a:lnTo>
                  <a:lnTo>
                    <a:pt x="252" y="270"/>
                  </a:lnTo>
                  <a:lnTo>
                    <a:pt x="240" y="270"/>
                  </a:lnTo>
                  <a:lnTo>
                    <a:pt x="228" y="276"/>
                  </a:lnTo>
                  <a:lnTo>
                    <a:pt x="210" y="282"/>
                  </a:lnTo>
                  <a:lnTo>
                    <a:pt x="198" y="288"/>
                  </a:lnTo>
                  <a:lnTo>
                    <a:pt x="186" y="294"/>
                  </a:lnTo>
                  <a:lnTo>
                    <a:pt x="174" y="330"/>
                  </a:lnTo>
                  <a:lnTo>
                    <a:pt x="162" y="342"/>
                  </a:lnTo>
                  <a:lnTo>
                    <a:pt x="156" y="354"/>
                  </a:lnTo>
                  <a:lnTo>
                    <a:pt x="150" y="360"/>
                  </a:lnTo>
                  <a:lnTo>
                    <a:pt x="150" y="366"/>
                  </a:lnTo>
                  <a:lnTo>
                    <a:pt x="108" y="372"/>
                  </a:lnTo>
                  <a:lnTo>
                    <a:pt x="60" y="378"/>
                  </a:lnTo>
                  <a:lnTo>
                    <a:pt x="42" y="378"/>
                  </a:lnTo>
                  <a:lnTo>
                    <a:pt x="12" y="378"/>
                  </a:lnTo>
                  <a:lnTo>
                    <a:pt x="6" y="378"/>
                  </a:lnTo>
                  <a:lnTo>
                    <a:pt x="0" y="366"/>
                  </a:lnTo>
                  <a:lnTo>
                    <a:pt x="12" y="360"/>
                  </a:lnTo>
                  <a:lnTo>
                    <a:pt x="24" y="348"/>
                  </a:lnTo>
                  <a:lnTo>
                    <a:pt x="30" y="342"/>
                  </a:lnTo>
                  <a:lnTo>
                    <a:pt x="36" y="330"/>
                  </a:lnTo>
                  <a:lnTo>
                    <a:pt x="72" y="300"/>
                  </a:lnTo>
                  <a:lnTo>
                    <a:pt x="78" y="294"/>
                  </a:lnTo>
                  <a:lnTo>
                    <a:pt x="78" y="288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96" y="270"/>
                  </a:lnTo>
                  <a:lnTo>
                    <a:pt x="102" y="264"/>
                  </a:lnTo>
                  <a:lnTo>
                    <a:pt x="108" y="258"/>
                  </a:lnTo>
                  <a:lnTo>
                    <a:pt x="114" y="246"/>
                  </a:lnTo>
                  <a:lnTo>
                    <a:pt x="120" y="240"/>
                  </a:lnTo>
                  <a:lnTo>
                    <a:pt x="126" y="234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0" y="210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86" y="174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22" y="138"/>
                  </a:lnTo>
                  <a:lnTo>
                    <a:pt x="234" y="132"/>
                  </a:lnTo>
                  <a:lnTo>
                    <a:pt x="246" y="126"/>
                  </a:lnTo>
                  <a:lnTo>
                    <a:pt x="246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88" y="102"/>
                  </a:lnTo>
                  <a:lnTo>
                    <a:pt x="300" y="96"/>
                  </a:lnTo>
                  <a:lnTo>
                    <a:pt x="306" y="90"/>
                  </a:lnTo>
                  <a:lnTo>
                    <a:pt x="318" y="90"/>
                  </a:lnTo>
                  <a:lnTo>
                    <a:pt x="324" y="84"/>
                  </a:lnTo>
                  <a:lnTo>
                    <a:pt x="348" y="72"/>
                  </a:lnTo>
                  <a:lnTo>
                    <a:pt x="354" y="72"/>
                  </a:lnTo>
                  <a:lnTo>
                    <a:pt x="384" y="66"/>
                  </a:lnTo>
                  <a:lnTo>
                    <a:pt x="390" y="66"/>
                  </a:lnTo>
                  <a:lnTo>
                    <a:pt x="396" y="66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66"/>
                  </a:lnTo>
                  <a:lnTo>
                    <a:pt x="438" y="66"/>
                  </a:lnTo>
                  <a:lnTo>
                    <a:pt x="468" y="66"/>
                  </a:lnTo>
                  <a:lnTo>
                    <a:pt x="480" y="66"/>
                  </a:lnTo>
                  <a:lnTo>
                    <a:pt x="486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22" y="60"/>
                  </a:lnTo>
                  <a:lnTo>
                    <a:pt x="534" y="54"/>
                  </a:lnTo>
                  <a:lnTo>
                    <a:pt x="564" y="42"/>
                  </a:lnTo>
                  <a:lnTo>
                    <a:pt x="570" y="42"/>
                  </a:lnTo>
                  <a:lnTo>
                    <a:pt x="582" y="36"/>
                  </a:lnTo>
                  <a:lnTo>
                    <a:pt x="588" y="36"/>
                  </a:lnTo>
                  <a:lnTo>
                    <a:pt x="600" y="30"/>
                  </a:lnTo>
                  <a:lnTo>
                    <a:pt x="606" y="30"/>
                  </a:lnTo>
                  <a:lnTo>
                    <a:pt x="618" y="24"/>
                  </a:lnTo>
                  <a:lnTo>
                    <a:pt x="642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72" y="12"/>
                  </a:lnTo>
                  <a:lnTo>
                    <a:pt x="696" y="12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50" y="6"/>
                  </a:lnTo>
                  <a:lnTo>
                    <a:pt x="768" y="6"/>
                  </a:lnTo>
                  <a:lnTo>
                    <a:pt x="774" y="6"/>
                  </a:lnTo>
                  <a:lnTo>
                    <a:pt x="786" y="6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6" y="6"/>
                  </a:lnTo>
                  <a:lnTo>
                    <a:pt x="846" y="6"/>
                  </a:lnTo>
                  <a:lnTo>
                    <a:pt x="852" y="0"/>
                  </a:lnTo>
                  <a:lnTo>
                    <a:pt x="876" y="0"/>
                  </a:lnTo>
                  <a:lnTo>
                    <a:pt x="876" y="6"/>
                  </a:lnTo>
                  <a:lnTo>
                    <a:pt x="888" y="0"/>
                  </a:lnTo>
                  <a:lnTo>
                    <a:pt x="900" y="0"/>
                  </a:lnTo>
                  <a:lnTo>
                    <a:pt x="906" y="0"/>
                  </a:lnTo>
                  <a:lnTo>
                    <a:pt x="912" y="0"/>
                  </a:lnTo>
                  <a:lnTo>
                    <a:pt x="948" y="0"/>
                  </a:lnTo>
                  <a:lnTo>
                    <a:pt x="954" y="0"/>
                  </a:lnTo>
                  <a:lnTo>
                    <a:pt x="972" y="0"/>
                  </a:lnTo>
                  <a:lnTo>
                    <a:pt x="978" y="0"/>
                  </a:lnTo>
                  <a:lnTo>
                    <a:pt x="996" y="0"/>
                  </a:lnTo>
                  <a:lnTo>
                    <a:pt x="1032" y="0"/>
                  </a:lnTo>
                  <a:lnTo>
                    <a:pt x="1044" y="0"/>
                  </a:lnTo>
                  <a:lnTo>
                    <a:pt x="1050" y="0"/>
                  </a:lnTo>
                  <a:lnTo>
                    <a:pt x="1056" y="6"/>
                  </a:lnTo>
                  <a:lnTo>
                    <a:pt x="1056" y="0"/>
                  </a:lnTo>
                  <a:lnTo>
                    <a:pt x="1074" y="0"/>
                  </a:lnTo>
                  <a:lnTo>
                    <a:pt x="1098" y="6"/>
                  </a:lnTo>
                  <a:lnTo>
                    <a:pt x="1116" y="6"/>
                  </a:lnTo>
                  <a:lnTo>
                    <a:pt x="1140" y="12"/>
                  </a:lnTo>
                  <a:lnTo>
                    <a:pt x="1152" y="12"/>
                  </a:lnTo>
                  <a:lnTo>
                    <a:pt x="1158" y="12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6" y="12"/>
                  </a:lnTo>
                  <a:lnTo>
                    <a:pt x="1194" y="18"/>
                  </a:lnTo>
                  <a:lnTo>
                    <a:pt x="1206" y="18"/>
                  </a:lnTo>
                  <a:lnTo>
                    <a:pt x="1242" y="36"/>
                  </a:lnTo>
                  <a:lnTo>
                    <a:pt x="1248" y="36"/>
                  </a:lnTo>
                  <a:lnTo>
                    <a:pt x="1254" y="36"/>
                  </a:lnTo>
                  <a:lnTo>
                    <a:pt x="1260" y="42"/>
                  </a:lnTo>
                  <a:lnTo>
                    <a:pt x="1272" y="48"/>
                  </a:lnTo>
                  <a:lnTo>
                    <a:pt x="1278" y="48"/>
                  </a:lnTo>
                  <a:lnTo>
                    <a:pt x="1284" y="48"/>
                  </a:lnTo>
                  <a:lnTo>
                    <a:pt x="1290" y="54"/>
                  </a:lnTo>
                  <a:lnTo>
                    <a:pt x="1308" y="60"/>
                  </a:lnTo>
                  <a:lnTo>
                    <a:pt x="1326" y="60"/>
                  </a:lnTo>
                  <a:lnTo>
                    <a:pt x="1338" y="66"/>
                  </a:lnTo>
                  <a:lnTo>
                    <a:pt x="1344" y="66"/>
                  </a:lnTo>
                  <a:lnTo>
                    <a:pt x="1350" y="66"/>
                  </a:lnTo>
                  <a:lnTo>
                    <a:pt x="1356" y="66"/>
                  </a:lnTo>
                  <a:lnTo>
                    <a:pt x="1362" y="72"/>
                  </a:lnTo>
                  <a:lnTo>
                    <a:pt x="1368" y="72"/>
                  </a:lnTo>
                  <a:lnTo>
                    <a:pt x="1380" y="72"/>
                  </a:lnTo>
                  <a:lnTo>
                    <a:pt x="1386" y="72"/>
                  </a:lnTo>
                  <a:lnTo>
                    <a:pt x="1422" y="84"/>
                  </a:lnTo>
                  <a:lnTo>
                    <a:pt x="1428" y="84"/>
                  </a:lnTo>
                  <a:lnTo>
                    <a:pt x="1446" y="90"/>
                  </a:lnTo>
                  <a:lnTo>
                    <a:pt x="1458" y="102"/>
                  </a:lnTo>
                  <a:lnTo>
                    <a:pt x="1494" y="126"/>
                  </a:lnTo>
                  <a:lnTo>
                    <a:pt x="1500" y="132"/>
                  </a:lnTo>
                  <a:lnTo>
                    <a:pt x="1512" y="138"/>
                  </a:lnTo>
                  <a:lnTo>
                    <a:pt x="1512" y="144"/>
                  </a:lnTo>
                  <a:lnTo>
                    <a:pt x="1518" y="150"/>
                  </a:lnTo>
                  <a:lnTo>
                    <a:pt x="1530" y="156"/>
                  </a:lnTo>
                  <a:lnTo>
                    <a:pt x="1530" y="162"/>
                  </a:lnTo>
                  <a:lnTo>
                    <a:pt x="1548" y="168"/>
                  </a:lnTo>
                  <a:lnTo>
                    <a:pt x="1566" y="180"/>
                  </a:lnTo>
                  <a:lnTo>
                    <a:pt x="1578" y="186"/>
                  </a:lnTo>
                  <a:lnTo>
                    <a:pt x="1578" y="180"/>
                  </a:lnTo>
                  <a:lnTo>
                    <a:pt x="1584" y="186"/>
                  </a:lnTo>
                  <a:lnTo>
                    <a:pt x="1584" y="174"/>
                  </a:lnTo>
                  <a:lnTo>
                    <a:pt x="1590" y="174"/>
                  </a:lnTo>
                  <a:lnTo>
                    <a:pt x="1590" y="180"/>
                  </a:lnTo>
                  <a:lnTo>
                    <a:pt x="1596" y="180"/>
                  </a:lnTo>
                  <a:lnTo>
                    <a:pt x="1596" y="174"/>
                  </a:lnTo>
                  <a:lnTo>
                    <a:pt x="1602" y="174"/>
                  </a:lnTo>
                  <a:lnTo>
                    <a:pt x="1608" y="174"/>
                  </a:lnTo>
                  <a:lnTo>
                    <a:pt x="1614" y="180"/>
                  </a:lnTo>
                  <a:lnTo>
                    <a:pt x="1620" y="174"/>
                  </a:lnTo>
                  <a:lnTo>
                    <a:pt x="1614" y="168"/>
                  </a:lnTo>
                  <a:lnTo>
                    <a:pt x="1614" y="162"/>
                  </a:lnTo>
                  <a:lnTo>
                    <a:pt x="1620" y="162"/>
                  </a:lnTo>
                  <a:lnTo>
                    <a:pt x="1626" y="162"/>
                  </a:lnTo>
                  <a:lnTo>
                    <a:pt x="1632" y="162"/>
                  </a:lnTo>
                  <a:lnTo>
                    <a:pt x="1638" y="168"/>
                  </a:lnTo>
                  <a:lnTo>
                    <a:pt x="1644" y="168"/>
                  </a:lnTo>
                  <a:lnTo>
                    <a:pt x="1650" y="174"/>
                  </a:lnTo>
                  <a:lnTo>
                    <a:pt x="1656" y="168"/>
                  </a:lnTo>
                  <a:lnTo>
                    <a:pt x="1668" y="168"/>
                  </a:lnTo>
                  <a:lnTo>
                    <a:pt x="1674" y="174"/>
                  </a:lnTo>
                  <a:lnTo>
                    <a:pt x="1674" y="180"/>
                  </a:lnTo>
                  <a:lnTo>
                    <a:pt x="1674" y="186"/>
                  </a:lnTo>
                  <a:lnTo>
                    <a:pt x="1680" y="186"/>
                  </a:lnTo>
                  <a:lnTo>
                    <a:pt x="1680" y="192"/>
                  </a:lnTo>
                  <a:lnTo>
                    <a:pt x="1686" y="192"/>
                  </a:lnTo>
                  <a:lnTo>
                    <a:pt x="1686" y="186"/>
                  </a:lnTo>
                  <a:lnTo>
                    <a:pt x="1680" y="186"/>
                  </a:lnTo>
                  <a:lnTo>
                    <a:pt x="1686" y="180"/>
                  </a:lnTo>
                  <a:lnTo>
                    <a:pt x="1692" y="180"/>
                  </a:lnTo>
                  <a:lnTo>
                    <a:pt x="1698" y="180"/>
                  </a:lnTo>
                  <a:lnTo>
                    <a:pt x="1704" y="180"/>
                  </a:lnTo>
                  <a:lnTo>
                    <a:pt x="1704" y="186"/>
                  </a:lnTo>
                  <a:lnTo>
                    <a:pt x="1710" y="186"/>
                  </a:lnTo>
                  <a:lnTo>
                    <a:pt x="1716" y="186"/>
                  </a:lnTo>
                  <a:lnTo>
                    <a:pt x="1716" y="192"/>
                  </a:lnTo>
                  <a:lnTo>
                    <a:pt x="1716" y="198"/>
                  </a:lnTo>
                  <a:lnTo>
                    <a:pt x="1722" y="192"/>
                  </a:lnTo>
                  <a:lnTo>
                    <a:pt x="1722" y="186"/>
                  </a:lnTo>
                  <a:lnTo>
                    <a:pt x="1728" y="192"/>
                  </a:lnTo>
                  <a:lnTo>
                    <a:pt x="1734" y="192"/>
                  </a:lnTo>
                  <a:lnTo>
                    <a:pt x="1734" y="186"/>
                  </a:lnTo>
                  <a:lnTo>
                    <a:pt x="1740" y="186"/>
                  </a:lnTo>
                  <a:lnTo>
                    <a:pt x="1740" y="192"/>
                  </a:lnTo>
                  <a:lnTo>
                    <a:pt x="1746" y="192"/>
                  </a:lnTo>
                  <a:lnTo>
                    <a:pt x="1758" y="192"/>
                  </a:lnTo>
                  <a:lnTo>
                    <a:pt x="1764" y="192"/>
                  </a:lnTo>
                  <a:lnTo>
                    <a:pt x="1764" y="198"/>
                  </a:lnTo>
                  <a:lnTo>
                    <a:pt x="1758" y="204"/>
                  </a:lnTo>
                  <a:lnTo>
                    <a:pt x="1752" y="210"/>
                  </a:lnTo>
                  <a:lnTo>
                    <a:pt x="1746" y="216"/>
                  </a:lnTo>
                  <a:lnTo>
                    <a:pt x="1746" y="222"/>
                  </a:lnTo>
                  <a:lnTo>
                    <a:pt x="1734" y="228"/>
                  </a:lnTo>
                  <a:lnTo>
                    <a:pt x="1734" y="234"/>
                  </a:lnTo>
                  <a:lnTo>
                    <a:pt x="1734" y="258"/>
                  </a:lnTo>
                  <a:lnTo>
                    <a:pt x="1740" y="330"/>
                  </a:lnTo>
                  <a:lnTo>
                    <a:pt x="1746" y="372"/>
                  </a:lnTo>
                  <a:lnTo>
                    <a:pt x="1788" y="426"/>
                  </a:lnTo>
                  <a:lnTo>
                    <a:pt x="1806" y="438"/>
                  </a:lnTo>
                  <a:lnTo>
                    <a:pt x="1794" y="480"/>
                  </a:lnTo>
                  <a:lnTo>
                    <a:pt x="1770" y="516"/>
                  </a:lnTo>
                  <a:lnTo>
                    <a:pt x="1746" y="546"/>
                  </a:lnTo>
                  <a:lnTo>
                    <a:pt x="1716" y="570"/>
                  </a:lnTo>
                  <a:lnTo>
                    <a:pt x="1680" y="594"/>
                  </a:lnTo>
                  <a:lnTo>
                    <a:pt x="1668" y="630"/>
                  </a:lnTo>
                  <a:lnTo>
                    <a:pt x="1680" y="684"/>
                  </a:lnTo>
                  <a:lnTo>
                    <a:pt x="1686" y="756"/>
                  </a:lnTo>
                  <a:lnTo>
                    <a:pt x="1662" y="870"/>
                  </a:lnTo>
                  <a:lnTo>
                    <a:pt x="1656" y="888"/>
                  </a:lnTo>
                  <a:lnTo>
                    <a:pt x="1650" y="972"/>
                  </a:lnTo>
                  <a:lnTo>
                    <a:pt x="1656" y="978"/>
                  </a:lnTo>
                  <a:lnTo>
                    <a:pt x="1650" y="984"/>
                  </a:lnTo>
                  <a:lnTo>
                    <a:pt x="1650" y="990"/>
                  </a:lnTo>
                  <a:lnTo>
                    <a:pt x="1650" y="1002"/>
                  </a:lnTo>
                  <a:lnTo>
                    <a:pt x="1656" y="1008"/>
                  </a:lnTo>
                  <a:lnTo>
                    <a:pt x="1656" y="1014"/>
                  </a:lnTo>
                  <a:lnTo>
                    <a:pt x="1662" y="1026"/>
                  </a:lnTo>
                  <a:lnTo>
                    <a:pt x="1650" y="1032"/>
                  </a:lnTo>
                  <a:lnTo>
                    <a:pt x="1638" y="1044"/>
                  </a:lnTo>
                  <a:lnTo>
                    <a:pt x="1626" y="1080"/>
                  </a:lnTo>
                  <a:lnTo>
                    <a:pt x="1614" y="1116"/>
                  </a:lnTo>
                  <a:lnTo>
                    <a:pt x="1614" y="1128"/>
                  </a:lnTo>
                  <a:lnTo>
                    <a:pt x="1626" y="1134"/>
                  </a:lnTo>
                  <a:lnTo>
                    <a:pt x="1644" y="1134"/>
                  </a:lnTo>
                  <a:lnTo>
                    <a:pt x="1662" y="1134"/>
                  </a:lnTo>
                  <a:lnTo>
                    <a:pt x="1680" y="1140"/>
                  </a:lnTo>
                  <a:lnTo>
                    <a:pt x="1698" y="1170"/>
                  </a:lnTo>
                  <a:lnTo>
                    <a:pt x="1704" y="1194"/>
                  </a:lnTo>
                  <a:lnTo>
                    <a:pt x="1692" y="1206"/>
                  </a:lnTo>
                  <a:lnTo>
                    <a:pt x="1662" y="1242"/>
                  </a:lnTo>
                  <a:lnTo>
                    <a:pt x="1632" y="1266"/>
                  </a:lnTo>
                  <a:lnTo>
                    <a:pt x="1620" y="1314"/>
                  </a:lnTo>
                  <a:lnTo>
                    <a:pt x="1584" y="1356"/>
                  </a:lnTo>
                  <a:lnTo>
                    <a:pt x="1578" y="1356"/>
                  </a:lnTo>
                  <a:lnTo>
                    <a:pt x="1578" y="1362"/>
                  </a:lnTo>
                  <a:lnTo>
                    <a:pt x="1572" y="1410"/>
                  </a:lnTo>
                  <a:lnTo>
                    <a:pt x="1584" y="1452"/>
                  </a:lnTo>
                  <a:lnTo>
                    <a:pt x="1608" y="1476"/>
                  </a:lnTo>
                  <a:lnTo>
                    <a:pt x="1596" y="1476"/>
                  </a:lnTo>
                  <a:lnTo>
                    <a:pt x="1584" y="1482"/>
                  </a:lnTo>
                  <a:lnTo>
                    <a:pt x="1560" y="1482"/>
                  </a:lnTo>
                  <a:lnTo>
                    <a:pt x="1536" y="1482"/>
                  </a:lnTo>
                  <a:lnTo>
                    <a:pt x="1524" y="1482"/>
                  </a:lnTo>
                  <a:lnTo>
                    <a:pt x="1506" y="1500"/>
                  </a:lnTo>
                  <a:lnTo>
                    <a:pt x="1482" y="1530"/>
                  </a:lnTo>
                  <a:lnTo>
                    <a:pt x="1452" y="1542"/>
                  </a:lnTo>
                  <a:lnTo>
                    <a:pt x="1446" y="1542"/>
                  </a:lnTo>
                  <a:lnTo>
                    <a:pt x="1440" y="1542"/>
                  </a:lnTo>
                  <a:lnTo>
                    <a:pt x="1440" y="1548"/>
                  </a:lnTo>
                  <a:lnTo>
                    <a:pt x="1434" y="1548"/>
                  </a:lnTo>
                  <a:lnTo>
                    <a:pt x="1428" y="1548"/>
                  </a:lnTo>
                  <a:lnTo>
                    <a:pt x="1428" y="1554"/>
                  </a:lnTo>
                  <a:lnTo>
                    <a:pt x="1422" y="1560"/>
                  </a:lnTo>
                  <a:lnTo>
                    <a:pt x="1416" y="1560"/>
                  </a:lnTo>
                  <a:lnTo>
                    <a:pt x="1410" y="1566"/>
                  </a:lnTo>
                  <a:lnTo>
                    <a:pt x="1410" y="1560"/>
                  </a:lnTo>
                  <a:lnTo>
                    <a:pt x="1404" y="1560"/>
                  </a:lnTo>
                  <a:lnTo>
                    <a:pt x="1392" y="1560"/>
                  </a:lnTo>
                  <a:lnTo>
                    <a:pt x="1386" y="1560"/>
                  </a:lnTo>
                  <a:lnTo>
                    <a:pt x="1380" y="1566"/>
                  </a:lnTo>
                  <a:lnTo>
                    <a:pt x="1374" y="1560"/>
                  </a:lnTo>
                  <a:lnTo>
                    <a:pt x="1368" y="1566"/>
                  </a:lnTo>
                  <a:lnTo>
                    <a:pt x="1362" y="1566"/>
                  </a:lnTo>
                  <a:lnTo>
                    <a:pt x="1362" y="1572"/>
                  </a:lnTo>
                  <a:lnTo>
                    <a:pt x="1356" y="1572"/>
                  </a:lnTo>
                  <a:lnTo>
                    <a:pt x="1356" y="1578"/>
                  </a:lnTo>
                  <a:lnTo>
                    <a:pt x="1350" y="1578"/>
                  </a:lnTo>
                  <a:lnTo>
                    <a:pt x="1350" y="1572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32" y="1584"/>
                  </a:lnTo>
                  <a:lnTo>
                    <a:pt x="1326" y="1590"/>
                  </a:lnTo>
                  <a:lnTo>
                    <a:pt x="1320" y="1584"/>
                  </a:lnTo>
                  <a:lnTo>
                    <a:pt x="1314" y="1590"/>
                  </a:lnTo>
                  <a:lnTo>
                    <a:pt x="1308" y="1596"/>
                  </a:lnTo>
                  <a:lnTo>
                    <a:pt x="1302" y="1596"/>
                  </a:lnTo>
                  <a:lnTo>
                    <a:pt x="1296" y="1596"/>
                  </a:lnTo>
                  <a:lnTo>
                    <a:pt x="1290" y="1596"/>
                  </a:lnTo>
                  <a:lnTo>
                    <a:pt x="1284" y="1596"/>
                  </a:lnTo>
                  <a:lnTo>
                    <a:pt x="1278" y="1602"/>
                  </a:lnTo>
                  <a:lnTo>
                    <a:pt x="1266" y="1602"/>
                  </a:lnTo>
                  <a:lnTo>
                    <a:pt x="1272" y="1608"/>
                  </a:lnTo>
                  <a:lnTo>
                    <a:pt x="1278" y="1608"/>
                  </a:lnTo>
                  <a:lnTo>
                    <a:pt x="1284" y="1608"/>
                  </a:lnTo>
                  <a:lnTo>
                    <a:pt x="1290" y="1614"/>
                  </a:lnTo>
                  <a:lnTo>
                    <a:pt x="1296" y="1620"/>
                  </a:lnTo>
                  <a:lnTo>
                    <a:pt x="1302" y="1626"/>
                  </a:lnTo>
                  <a:lnTo>
                    <a:pt x="1308" y="1632"/>
                  </a:lnTo>
                  <a:lnTo>
                    <a:pt x="1314" y="1638"/>
                  </a:lnTo>
                  <a:lnTo>
                    <a:pt x="1314" y="1644"/>
                  </a:lnTo>
                  <a:lnTo>
                    <a:pt x="1320" y="1644"/>
                  </a:lnTo>
                  <a:lnTo>
                    <a:pt x="1320" y="1650"/>
                  </a:lnTo>
                  <a:lnTo>
                    <a:pt x="1326" y="1656"/>
                  </a:lnTo>
                  <a:lnTo>
                    <a:pt x="1332" y="1668"/>
                  </a:lnTo>
                  <a:lnTo>
                    <a:pt x="1338" y="1680"/>
                  </a:lnTo>
                  <a:lnTo>
                    <a:pt x="1338" y="1698"/>
                  </a:lnTo>
                  <a:lnTo>
                    <a:pt x="1350" y="1710"/>
                  </a:lnTo>
                  <a:lnTo>
                    <a:pt x="1350" y="1716"/>
                  </a:lnTo>
                  <a:lnTo>
                    <a:pt x="1350" y="1722"/>
                  </a:lnTo>
                  <a:lnTo>
                    <a:pt x="1350" y="1728"/>
                  </a:lnTo>
                  <a:lnTo>
                    <a:pt x="1356" y="1728"/>
                  </a:lnTo>
                  <a:lnTo>
                    <a:pt x="1356" y="1734"/>
                  </a:lnTo>
                  <a:lnTo>
                    <a:pt x="1350" y="1734"/>
                  </a:lnTo>
                  <a:lnTo>
                    <a:pt x="1344" y="1740"/>
                  </a:lnTo>
                  <a:lnTo>
                    <a:pt x="1338" y="1740"/>
                  </a:lnTo>
                  <a:lnTo>
                    <a:pt x="1332" y="1746"/>
                  </a:lnTo>
                  <a:lnTo>
                    <a:pt x="1326" y="1746"/>
                  </a:lnTo>
                  <a:lnTo>
                    <a:pt x="1326" y="1752"/>
                  </a:lnTo>
                  <a:lnTo>
                    <a:pt x="1320" y="1752"/>
                  </a:lnTo>
                  <a:lnTo>
                    <a:pt x="1320" y="1758"/>
                  </a:lnTo>
                  <a:lnTo>
                    <a:pt x="1314" y="1758"/>
                  </a:lnTo>
                  <a:lnTo>
                    <a:pt x="1308" y="1758"/>
                  </a:lnTo>
                  <a:lnTo>
                    <a:pt x="1302" y="1758"/>
                  </a:lnTo>
                  <a:lnTo>
                    <a:pt x="1296" y="1758"/>
                  </a:lnTo>
                  <a:lnTo>
                    <a:pt x="1290" y="1764"/>
                  </a:lnTo>
                  <a:lnTo>
                    <a:pt x="1284" y="1770"/>
                  </a:lnTo>
                  <a:lnTo>
                    <a:pt x="1278" y="1770"/>
                  </a:lnTo>
                  <a:lnTo>
                    <a:pt x="1272" y="1770"/>
                  </a:lnTo>
                  <a:lnTo>
                    <a:pt x="1266" y="1770"/>
                  </a:lnTo>
                  <a:lnTo>
                    <a:pt x="1266" y="1776"/>
                  </a:lnTo>
                  <a:lnTo>
                    <a:pt x="1260" y="177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4" name="Freeform 39">
              <a:extLst>
                <a:ext uri="{FF2B5EF4-FFF2-40B4-BE49-F238E27FC236}">
                  <a16:creationId xmlns:a16="http://schemas.microsoft.com/office/drawing/2014/main" id="{E01CDA8B-32C7-421A-B23E-968CAC7F78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2974" y="1759680"/>
              <a:ext cx="825155" cy="700024"/>
            </a:xfrm>
            <a:custGeom>
              <a:avLst/>
              <a:gdLst>
                <a:gd name="T0" fmla="*/ 60 w 1554"/>
                <a:gd name="T1" fmla="*/ 86 h 1320"/>
                <a:gd name="T2" fmla="*/ 66 w 1554"/>
                <a:gd name="T3" fmla="*/ 80 h 1320"/>
                <a:gd name="T4" fmla="*/ 61 w 1554"/>
                <a:gd name="T5" fmla="*/ 73 h 1320"/>
                <a:gd name="T6" fmla="*/ 57 w 1554"/>
                <a:gd name="T7" fmla="*/ 67 h 1320"/>
                <a:gd name="T8" fmla="*/ 60 w 1554"/>
                <a:gd name="T9" fmla="*/ 59 h 1320"/>
                <a:gd name="T10" fmla="*/ 56 w 1554"/>
                <a:gd name="T11" fmla="*/ 55 h 1320"/>
                <a:gd name="T12" fmla="*/ 45 w 1554"/>
                <a:gd name="T13" fmla="*/ 53 h 1320"/>
                <a:gd name="T14" fmla="*/ 42 w 1554"/>
                <a:gd name="T15" fmla="*/ 41 h 1320"/>
                <a:gd name="T16" fmla="*/ 37 w 1554"/>
                <a:gd name="T17" fmla="*/ 39 h 1320"/>
                <a:gd name="T18" fmla="*/ 31 w 1554"/>
                <a:gd name="T19" fmla="*/ 44 h 1320"/>
                <a:gd name="T20" fmla="*/ 37 w 1554"/>
                <a:gd name="T21" fmla="*/ 35 h 1320"/>
                <a:gd name="T22" fmla="*/ 30 w 1554"/>
                <a:gd name="T23" fmla="*/ 23 h 1320"/>
                <a:gd name="T24" fmla="*/ 21 w 1554"/>
                <a:gd name="T25" fmla="*/ 23 h 1320"/>
                <a:gd name="T26" fmla="*/ 15 w 1554"/>
                <a:gd name="T27" fmla="*/ 27 h 1320"/>
                <a:gd name="T28" fmla="*/ 11 w 1554"/>
                <a:gd name="T29" fmla="*/ 32 h 1320"/>
                <a:gd name="T30" fmla="*/ 6 w 1554"/>
                <a:gd name="T31" fmla="*/ 22 h 1320"/>
                <a:gd name="T32" fmla="*/ 3 w 1554"/>
                <a:gd name="T33" fmla="*/ 11 h 1320"/>
                <a:gd name="T34" fmla="*/ 24 w 1554"/>
                <a:gd name="T35" fmla="*/ 12 h 1320"/>
                <a:gd name="T36" fmla="*/ 33 w 1554"/>
                <a:gd name="T37" fmla="*/ 19 h 1320"/>
                <a:gd name="T38" fmla="*/ 49 w 1554"/>
                <a:gd name="T39" fmla="*/ 12 h 1320"/>
                <a:gd name="T40" fmla="*/ 58 w 1554"/>
                <a:gd name="T41" fmla="*/ 10 h 1320"/>
                <a:gd name="T42" fmla="*/ 68 w 1554"/>
                <a:gd name="T43" fmla="*/ 11 h 1320"/>
                <a:gd name="T44" fmla="*/ 79 w 1554"/>
                <a:gd name="T45" fmla="*/ 12 h 1320"/>
                <a:gd name="T46" fmla="*/ 96 w 1554"/>
                <a:gd name="T47" fmla="*/ 11 h 1320"/>
                <a:gd name="T48" fmla="*/ 107 w 1554"/>
                <a:gd name="T49" fmla="*/ 2 h 1320"/>
                <a:gd name="T50" fmla="*/ 117 w 1554"/>
                <a:gd name="T51" fmla="*/ 8 h 1320"/>
                <a:gd name="T52" fmla="*/ 126 w 1554"/>
                <a:gd name="T53" fmla="*/ 12 h 1320"/>
                <a:gd name="T54" fmla="*/ 134 w 1554"/>
                <a:gd name="T55" fmla="*/ 24 h 1320"/>
                <a:gd name="T56" fmla="*/ 133 w 1554"/>
                <a:gd name="T57" fmla="*/ 29 h 1320"/>
                <a:gd name="T58" fmla="*/ 129 w 1554"/>
                <a:gd name="T59" fmla="*/ 31 h 1320"/>
                <a:gd name="T60" fmla="*/ 125 w 1554"/>
                <a:gd name="T61" fmla="*/ 32 h 1320"/>
                <a:gd name="T62" fmla="*/ 115 w 1554"/>
                <a:gd name="T63" fmla="*/ 34 h 1320"/>
                <a:gd name="T64" fmla="*/ 113 w 1554"/>
                <a:gd name="T65" fmla="*/ 44 h 1320"/>
                <a:gd name="T66" fmla="*/ 111 w 1554"/>
                <a:gd name="T67" fmla="*/ 54 h 1320"/>
                <a:gd name="T68" fmla="*/ 107 w 1554"/>
                <a:gd name="T69" fmla="*/ 56 h 1320"/>
                <a:gd name="T70" fmla="*/ 102 w 1554"/>
                <a:gd name="T71" fmla="*/ 58 h 1320"/>
                <a:gd name="T72" fmla="*/ 99 w 1554"/>
                <a:gd name="T73" fmla="*/ 60 h 1320"/>
                <a:gd name="T74" fmla="*/ 93 w 1554"/>
                <a:gd name="T75" fmla="*/ 62 h 1320"/>
                <a:gd name="T76" fmla="*/ 87 w 1554"/>
                <a:gd name="T77" fmla="*/ 64 h 1320"/>
                <a:gd name="T78" fmla="*/ 84 w 1554"/>
                <a:gd name="T79" fmla="*/ 65 h 1320"/>
                <a:gd name="T80" fmla="*/ 81 w 1554"/>
                <a:gd name="T81" fmla="*/ 69 h 1320"/>
                <a:gd name="T82" fmla="*/ 83 w 1554"/>
                <a:gd name="T83" fmla="*/ 72 h 1320"/>
                <a:gd name="T84" fmla="*/ 92 w 1554"/>
                <a:gd name="T85" fmla="*/ 73 h 1320"/>
                <a:gd name="T86" fmla="*/ 93 w 1554"/>
                <a:gd name="T87" fmla="*/ 87 h 1320"/>
                <a:gd name="T88" fmla="*/ 104 w 1554"/>
                <a:gd name="T89" fmla="*/ 98 h 1320"/>
                <a:gd name="T90" fmla="*/ 108 w 1554"/>
                <a:gd name="T91" fmla="*/ 98 h 1320"/>
                <a:gd name="T92" fmla="*/ 112 w 1554"/>
                <a:gd name="T93" fmla="*/ 100 h 1320"/>
                <a:gd name="T94" fmla="*/ 118 w 1554"/>
                <a:gd name="T95" fmla="*/ 100 h 1320"/>
                <a:gd name="T96" fmla="*/ 122 w 1554"/>
                <a:gd name="T97" fmla="*/ 102 h 1320"/>
                <a:gd name="T98" fmla="*/ 118 w 1554"/>
                <a:gd name="T99" fmla="*/ 105 h 1320"/>
                <a:gd name="T100" fmla="*/ 114 w 1554"/>
                <a:gd name="T101" fmla="*/ 107 h 1320"/>
                <a:gd name="T102" fmla="*/ 113 w 1554"/>
                <a:gd name="T103" fmla="*/ 113 h 1320"/>
                <a:gd name="T104" fmla="*/ 104 w 1554"/>
                <a:gd name="T105" fmla="*/ 113 h 1320"/>
                <a:gd name="T106" fmla="*/ 93 w 1554"/>
                <a:gd name="T107" fmla="*/ 109 h 1320"/>
                <a:gd name="T108" fmla="*/ 96 w 1554"/>
                <a:gd name="T109" fmla="*/ 103 h 1320"/>
                <a:gd name="T110" fmla="*/ 95 w 1554"/>
                <a:gd name="T111" fmla="*/ 97 h 1320"/>
                <a:gd name="T112" fmla="*/ 87 w 1554"/>
                <a:gd name="T113" fmla="*/ 98 h 1320"/>
                <a:gd name="T114" fmla="*/ 81 w 1554"/>
                <a:gd name="T115" fmla="*/ 98 h 1320"/>
                <a:gd name="T116" fmla="*/ 78 w 1554"/>
                <a:gd name="T117" fmla="*/ 93 h 1320"/>
                <a:gd name="T118" fmla="*/ 65 w 1554"/>
                <a:gd name="T119" fmla="*/ 92 h 1320"/>
                <a:gd name="T120" fmla="*/ 59 w 1554"/>
                <a:gd name="T121" fmla="*/ 92 h 13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54"/>
                <a:gd name="T184" fmla="*/ 0 h 1320"/>
                <a:gd name="T185" fmla="*/ 1554 w 1554"/>
                <a:gd name="T186" fmla="*/ 1320 h 132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54" h="1320">
                  <a:moveTo>
                    <a:pt x="684" y="1068"/>
                  </a:moveTo>
                  <a:lnTo>
                    <a:pt x="684" y="1062"/>
                  </a:lnTo>
                  <a:lnTo>
                    <a:pt x="690" y="1056"/>
                  </a:lnTo>
                  <a:lnTo>
                    <a:pt x="690" y="1050"/>
                  </a:lnTo>
                  <a:lnTo>
                    <a:pt x="690" y="1044"/>
                  </a:lnTo>
                  <a:lnTo>
                    <a:pt x="690" y="1038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14"/>
                  </a:lnTo>
                  <a:lnTo>
                    <a:pt x="690" y="1008"/>
                  </a:lnTo>
                  <a:lnTo>
                    <a:pt x="696" y="996"/>
                  </a:lnTo>
                  <a:lnTo>
                    <a:pt x="714" y="996"/>
                  </a:lnTo>
                  <a:lnTo>
                    <a:pt x="714" y="990"/>
                  </a:lnTo>
                  <a:lnTo>
                    <a:pt x="732" y="984"/>
                  </a:lnTo>
                  <a:lnTo>
                    <a:pt x="744" y="978"/>
                  </a:lnTo>
                  <a:lnTo>
                    <a:pt x="762" y="966"/>
                  </a:lnTo>
                  <a:lnTo>
                    <a:pt x="762" y="960"/>
                  </a:lnTo>
                  <a:lnTo>
                    <a:pt x="768" y="954"/>
                  </a:lnTo>
                  <a:lnTo>
                    <a:pt x="774" y="948"/>
                  </a:lnTo>
                  <a:lnTo>
                    <a:pt x="774" y="942"/>
                  </a:lnTo>
                  <a:lnTo>
                    <a:pt x="774" y="924"/>
                  </a:lnTo>
                  <a:lnTo>
                    <a:pt x="768" y="918"/>
                  </a:lnTo>
                  <a:lnTo>
                    <a:pt x="756" y="918"/>
                  </a:lnTo>
                  <a:lnTo>
                    <a:pt x="744" y="918"/>
                  </a:lnTo>
                  <a:lnTo>
                    <a:pt x="732" y="924"/>
                  </a:lnTo>
                  <a:lnTo>
                    <a:pt x="726" y="912"/>
                  </a:lnTo>
                  <a:lnTo>
                    <a:pt x="720" y="912"/>
                  </a:lnTo>
                  <a:lnTo>
                    <a:pt x="720" y="900"/>
                  </a:lnTo>
                  <a:lnTo>
                    <a:pt x="720" y="870"/>
                  </a:lnTo>
                  <a:lnTo>
                    <a:pt x="696" y="876"/>
                  </a:lnTo>
                  <a:lnTo>
                    <a:pt x="690" y="852"/>
                  </a:lnTo>
                  <a:lnTo>
                    <a:pt x="702" y="852"/>
                  </a:lnTo>
                  <a:lnTo>
                    <a:pt x="702" y="840"/>
                  </a:lnTo>
                  <a:lnTo>
                    <a:pt x="708" y="834"/>
                  </a:lnTo>
                  <a:lnTo>
                    <a:pt x="702" y="822"/>
                  </a:lnTo>
                  <a:lnTo>
                    <a:pt x="660" y="822"/>
                  </a:lnTo>
                  <a:lnTo>
                    <a:pt x="654" y="822"/>
                  </a:lnTo>
                  <a:lnTo>
                    <a:pt x="642" y="822"/>
                  </a:lnTo>
                  <a:lnTo>
                    <a:pt x="642" y="810"/>
                  </a:lnTo>
                  <a:lnTo>
                    <a:pt x="642" y="798"/>
                  </a:lnTo>
                  <a:lnTo>
                    <a:pt x="642" y="792"/>
                  </a:lnTo>
                  <a:lnTo>
                    <a:pt x="648" y="780"/>
                  </a:lnTo>
                  <a:lnTo>
                    <a:pt x="654" y="774"/>
                  </a:lnTo>
                  <a:lnTo>
                    <a:pt x="660" y="774"/>
                  </a:lnTo>
                  <a:lnTo>
                    <a:pt x="672" y="762"/>
                  </a:lnTo>
                  <a:lnTo>
                    <a:pt x="672" y="756"/>
                  </a:lnTo>
                  <a:lnTo>
                    <a:pt x="678" y="750"/>
                  </a:lnTo>
                  <a:lnTo>
                    <a:pt x="684" y="750"/>
                  </a:lnTo>
                  <a:lnTo>
                    <a:pt x="690" y="744"/>
                  </a:lnTo>
                  <a:lnTo>
                    <a:pt x="696" y="732"/>
                  </a:lnTo>
                  <a:lnTo>
                    <a:pt x="696" y="726"/>
                  </a:lnTo>
                  <a:lnTo>
                    <a:pt x="702" y="714"/>
                  </a:lnTo>
                  <a:lnTo>
                    <a:pt x="696" y="708"/>
                  </a:lnTo>
                  <a:lnTo>
                    <a:pt x="690" y="690"/>
                  </a:lnTo>
                  <a:lnTo>
                    <a:pt x="696" y="678"/>
                  </a:lnTo>
                  <a:lnTo>
                    <a:pt x="708" y="672"/>
                  </a:lnTo>
                  <a:lnTo>
                    <a:pt x="708" y="660"/>
                  </a:lnTo>
                  <a:lnTo>
                    <a:pt x="702" y="660"/>
                  </a:lnTo>
                  <a:lnTo>
                    <a:pt x="696" y="660"/>
                  </a:lnTo>
                  <a:lnTo>
                    <a:pt x="690" y="654"/>
                  </a:lnTo>
                  <a:lnTo>
                    <a:pt x="684" y="654"/>
                  </a:lnTo>
                  <a:lnTo>
                    <a:pt x="690" y="606"/>
                  </a:lnTo>
                  <a:lnTo>
                    <a:pt x="660" y="606"/>
                  </a:lnTo>
                  <a:lnTo>
                    <a:pt x="660" y="612"/>
                  </a:lnTo>
                  <a:lnTo>
                    <a:pt x="648" y="612"/>
                  </a:lnTo>
                  <a:lnTo>
                    <a:pt x="642" y="636"/>
                  </a:lnTo>
                  <a:lnTo>
                    <a:pt x="636" y="636"/>
                  </a:lnTo>
                  <a:lnTo>
                    <a:pt x="630" y="648"/>
                  </a:lnTo>
                  <a:lnTo>
                    <a:pt x="612" y="648"/>
                  </a:lnTo>
                  <a:lnTo>
                    <a:pt x="606" y="636"/>
                  </a:lnTo>
                  <a:lnTo>
                    <a:pt x="600" y="630"/>
                  </a:lnTo>
                  <a:lnTo>
                    <a:pt x="588" y="606"/>
                  </a:lnTo>
                  <a:lnTo>
                    <a:pt x="552" y="606"/>
                  </a:lnTo>
                  <a:lnTo>
                    <a:pt x="552" y="612"/>
                  </a:lnTo>
                  <a:lnTo>
                    <a:pt x="540" y="612"/>
                  </a:lnTo>
                  <a:lnTo>
                    <a:pt x="540" y="606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16" y="612"/>
                  </a:lnTo>
                  <a:lnTo>
                    <a:pt x="516" y="582"/>
                  </a:lnTo>
                  <a:lnTo>
                    <a:pt x="522" y="576"/>
                  </a:lnTo>
                  <a:lnTo>
                    <a:pt x="528" y="576"/>
                  </a:lnTo>
                  <a:lnTo>
                    <a:pt x="528" y="552"/>
                  </a:lnTo>
                  <a:lnTo>
                    <a:pt x="522" y="540"/>
                  </a:lnTo>
                  <a:lnTo>
                    <a:pt x="510" y="528"/>
                  </a:lnTo>
                  <a:lnTo>
                    <a:pt x="486" y="510"/>
                  </a:lnTo>
                  <a:lnTo>
                    <a:pt x="480" y="498"/>
                  </a:lnTo>
                  <a:lnTo>
                    <a:pt x="480" y="474"/>
                  </a:lnTo>
                  <a:lnTo>
                    <a:pt x="492" y="468"/>
                  </a:lnTo>
                  <a:lnTo>
                    <a:pt x="486" y="450"/>
                  </a:lnTo>
                  <a:lnTo>
                    <a:pt x="474" y="456"/>
                  </a:lnTo>
                  <a:lnTo>
                    <a:pt x="468" y="456"/>
                  </a:lnTo>
                  <a:lnTo>
                    <a:pt x="462" y="456"/>
                  </a:lnTo>
                  <a:lnTo>
                    <a:pt x="456" y="468"/>
                  </a:lnTo>
                  <a:lnTo>
                    <a:pt x="456" y="474"/>
                  </a:lnTo>
                  <a:lnTo>
                    <a:pt x="450" y="480"/>
                  </a:lnTo>
                  <a:lnTo>
                    <a:pt x="444" y="450"/>
                  </a:lnTo>
                  <a:lnTo>
                    <a:pt x="438" y="450"/>
                  </a:lnTo>
                  <a:lnTo>
                    <a:pt x="432" y="450"/>
                  </a:lnTo>
                  <a:lnTo>
                    <a:pt x="420" y="450"/>
                  </a:lnTo>
                  <a:lnTo>
                    <a:pt x="420" y="456"/>
                  </a:lnTo>
                  <a:lnTo>
                    <a:pt x="414" y="456"/>
                  </a:lnTo>
                  <a:lnTo>
                    <a:pt x="408" y="468"/>
                  </a:lnTo>
                  <a:lnTo>
                    <a:pt x="402" y="468"/>
                  </a:lnTo>
                  <a:lnTo>
                    <a:pt x="396" y="474"/>
                  </a:lnTo>
                  <a:lnTo>
                    <a:pt x="390" y="492"/>
                  </a:lnTo>
                  <a:lnTo>
                    <a:pt x="384" y="504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54" y="510"/>
                  </a:lnTo>
                  <a:lnTo>
                    <a:pt x="360" y="480"/>
                  </a:lnTo>
                  <a:lnTo>
                    <a:pt x="360" y="474"/>
                  </a:lnTo>
                  <a:lnTo>
                    <a:pt x="378" y="456"/>
                  </a:lnTo>
                  <a:lnTo>
                    <a:pt x="384" y="450"/>
                  </a:lnTo>
                  <a:lnTo>
                    <a:pt x="396" y="444"/>
                  </a:lnTo>
                  <a:lnTo>
                    <a:pt x="402" y="438"/>
                  </a:lnTo>
                  <a:lnTo>
                    <a:pt x="408" y="438"/>
                  </a:lnTo>
                  <a:lnTo>
                    <a:pt x="408" y="426"/>
                  </a:lnTo>
                  <a:lnTo>
                    <a:pt x="414" y="420"/>
                  </a:lnTo>
                  <a:lnTo>
                    <a:pt x="426" y="420"/>
                  </a:lnTo>
                  <a:lnTo>
                    <a:pt x="426" y="408"/>
                  </a:lnTo>
                  <a:lnTo>
                    <a:pt x="420" y="390"/>
                  </a:lnTo>
                  <a:lnTo>
                    <a:pt x="408" y="384"/>
                  </a:lnTo>
                  <a:lnTo>
                    <a:pt x="378" y="378"/>
                  </a:lnTo>
                  <a:lnTo>
                    <a:pt x="354" y="366"/>
                  </a:lnTo>
                  <a:lnTo>
                    <a:pt x="342" y="360"/>
                  </a:lnTo>
                  <a:lnTo>
                    <a:pt x="342" y="348"/>
                  </a:lnTo>
                  <a:lnTo>
                    <a:pt x="336" y="330"/>
                  </a:lnTo>
                  <a:lnTo>
                    <a:pt x="348" y="306"/>
                  </a:lnTo>
                  <a:lnTo>
                    <a:pt x="360" y="294"/>
                  </a:lnTo>
                  <a:lnTo>
                    <a:pt x="360" y="282"/>
                  </a:lnTo>
                  <a:lnTo>
                    <a:pt x="342" y="270"/>
                  </a:lnTo>
                  <a:lnTo>
                    <a:pt x="342" y="264"/>
                  </a:lnTo>
                  <a:lnTo>
                    <a:pt x="330" y="264"/>
                  </a:lnTo>
                  <a:lnTo>
                    <a:pt x="312" y="270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88" y="270"/>
                  </a:lnTo>
                  <a:lnTo>
                    <a:pt x="282" y="270"/>
                  </a:lnTo>
                  <a:lnTo>
                    <a:pt x="276" y="264"/>
                  </a:lnTo>
                  <a:lnTo>
                    <a:pt x="270" y="264"/>
                  </a:lnTo>
                  <a:lnTo>
                    <a:pt x="252" y="270"/>
                  </a:lnTo>
                  <a:lnTo>
                    <a:pt x="246" y="270"/>
                  </a:lnTo>
                  <a:lnTo>
                    <a:pt x="240" y="270"/>
                  </a:lnTo>
                  <a:lnTo>
                    <a:pt x="228" y="270"/>
                  </a:lnTo>
                  <a:lnTo>
                    <a:pt x="216" y="276"/>
                  </a:lnTo>
                  <a:lnTo>
                    <a:pt x="210" y="270"/>
                  </a:lnTo>
                  <a:lnTo>
                    <a:pt x="204" y="270"/>
                  </a:lnTo>
                  <a:lnTo>
                    <a:pt x="198" y="276"/>
                  </a:lnTo>
                  <a:lnTo>
                    <a:pt x="192" y="276"/>
                  </a:lnTo>
                  <a:lnTo>
                    <a:pt x="186" y="282"/>
                  </a:lnTo>
                  <a:lnTo>
                    <a:pt x="180" y="288"/>
                  </a:lnTo>
                  <a:lnTo>
                    <a:pt x="174" y="300"/>
                  </a:lnTo>
                  <a:lnTo>
                    <a:pt x="168" y="306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8" y="330"/>
                  </a:lnTo>
                  <a:lnTo>
                    <a:pt x="162" y="336"/>
                  </a:lnTo>
                  <a:lnTo>
                    <a:pt x="156" y="342"/>
                  </a:lnTo>
                  <a:lnTo>
                    <a:pt x="156" y="348"/>
                  </a:lnTo>
                  <a:lnTo>
                    <a:pt x="156" y="354"/>
                  </a:lnTo>
                  <a:lnTo>
                    <a:pt x="150" y="366"/>
                  </a:lnTo>
                  <a:lnTo>
                    <a:pt x="150" y="372"/>
                  </a:lnTo>
                  <a:lnTo>
                    <a:pt x="144" y="366"/>
                  </a:lnTo>
                  <a:lnTo>
                    <a:pt x="132" y="366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20" y="348"/>
                  </a:lnTo>
                  <a:lnTo>
                    <a:pt x="102" y="330"/>
                  </a:lnTo>
                  <a:lnTo>
                    <a:pt x="96" y="318"/>
                  </a:lnTo>
                  <a:lnTo>
                    <a:pt x="96" y="282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0" y="258"/>
                  </a:lnTo>
                  <a:lnTo>
                    <a:pt x="84" y="252"/>
                  </a:lnTo>
                  <a:lnTo>
                    <a:pt x="66" y="258"/>
                  </a:lnTo>
                  <a:lnTo>
                    <a:pt x="60" y="246"/>
                  </a:lnTo>
                  <a:lnTo>
                    <a:pt x="30" y="252"/>
                  </a:lnTo>
                  <a:lnTo>
                    <a:pt x="18" y="246"/>
                  </a:lnTo>
                  <a:lnTo>
                    <a:pt x="0" y="240"/>
                  </a:lnTo>
                  <a:lnTo>
                    <a:pt x="0" y="234"/>
                  </a:lnTo>
                  <a:lnTo>
                    <a:pt x="0" y="210"/>
                  </a:lnTo>
                  <a:lnTo>
                    <a:pt x="6" y="204"/>
                  </a:lnTo>
                  <a:lnTo>
                    <a:pt x="18" y="192"/>
                  </a:lnTo>
                  <a:lnTo>
                    <a:pt x="18" y="144"/>
                  </a:lnTo>
                  <a:lnTo>
                    <a:pt x="24" y="126"/>
                  </a:lnTo>
                  <a:lnTo>
                    <a:pt x="36" y="126"/>
                  </a:lnTo>
                  <a:lnTo>
                    <a:pt x="54" y="120"/>
                  </a:lnTo>
                  <a:lnTo>
                    <a:pt x="54" y="126"/>
                  </a:lnTo>
                  <a:lnTo>
                    <a:pt x="132" y="114"/>
                  </a:lnTo>
                  <a:lnTo>
                    <a:pt x="144" y="120"/>
                  </a:lnTo>
                  <a:lnTo>
                    <a:pt x="150" y="132"/>
                  </a:lnTo>
                  <a:lnTo>
                    <a:pt x="180" y="126"/>
                  </a:lnTo>
                  <a:lnTo>
                    <a:pt x="210" y="120"/>
                  </a:lnTo>
                  <a:lnTo>
                    <a:pt x="240" y="120"/>
                  </a:lnTo>
                  <a:lnTo>
                    <a:pt x="258" y="120"/>
                  </a:lnTo>
                  <a:lnTo>
                    <a:pt x="270" y="126"/>
                  </a:lnTo>
                  <a:lnTo>
                    <a:pt x="276" y="132"/>
                  </a:lnTo>
                  <a:lnTo>
                    <a:pt x="282" y="138"/>
                  </a:lnTo>
                  <a:lnTo>
                    <a:pt x="282" y="156"/>
                  </a:lnTo>
                  <a:lnTo>
                    <a:pt x="288" y="186"/>
                  </a:lnTo>
                  <a:lnTo>
                    <a:pt x="312" y="192"/>
                  </a:lnTo>
                  <a:lnTo>
                    <a:pt x="318" y="198"/>
                  </a:lnTo>
                  <a:lnTo>
                    <a:pt x="324" y="204"/>
                  </a:lnTo>
                  <a:lnTo>
                    <a:pt x="330" y="210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66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86" y="210"/>
                  </a:lnTo>
                  <a:lnTo>
                    <a:pt x="498" y="198"/>
                  </a:lnTo>
                  <a:lnTo>
                    <a:pt x="504" y="174"/>
                  </a:lnTo>
                  <a:lnTo>
                    <a:pt x="516" y="162"/>
                  </a:lnTo>
                  <a:lnTo>
                    <a:pt x="516" y="138"/>
                  </a:lnTo>
                  <a:lnTo>
                    <a:pt x="522" y="132"/>
                  </a:lnTo>
                  <a:lnTo>
                    <a:pt x="564" y="132"/>
                  </a:lnTo>
                  <a:lnTo>
                    <a:pt x="564" y="114"/>
                  </a:lnTo>
                  <a:lnTo>
                    <a:pt x="582" y="114"/>
                  </a:lnTo>
                  <a:lnTo>
                    <a:pt x="594" y="114"/>
                  </a:lnTo>
                  <a:lnTo>
                    <a:pt x="606" y="114"/>
                  </a:lnTo>
                  <a:lnTo>
                    <a:pt x="612" y="114"/>
                  </a:lnTo>
                  <a:lnTo>
                    <a:pt x="630" y="114"/>
                  </a:lnTo>
                  <a:lnTo>
                    <a:pt x="636" y="114"/>
                  </a:lnTo>
                  <a:lnTo>
                    <a:pt x="648" y="114"/>
                  </a:lnTo>
                  <a:lnTo>
                    <a:pt x="654" y="114"/>
                  </a:lnTo>
                  <a:lnTo>
                    <a:pt x="660" y="120"/>
                  </a:lnTo>
                  <a:lnTo>
                    <a:pt x="672" y="120"/>
                  </a:lnTo>
                  <a:lnTo>
                    <a:pt x="684" y="120"/>
                  </a:lnTo>
                  <a:lnTo>
                    <a:pt x="690" y="120"/>
                  </a:lnTo>
                  <a:lnTo>
                    <a:pt x="702" y="120"/>
                  </a:lnTo>
                  <a:lnTo>
                    <a:pt x="708" y="120"/>
                  </a:lnTo>
                  <a:lnTo>
                    <a:pt x="726" y="126"/>
                  </a:lnTo>
                  <a:lnTo>
                    <a:pt x="732" y="126"/>
                  </a:lnTo>
                  <a:lnTo>
                    <a:pt x="738" y="126"/>
                  </a:lnTo>
                  <a:lnTo>
                    <a:pt x="750" y="126"/>
                  </a:lnTo>
                  <a:lnTo>
                    <a:pt x="756" y="126"/>
                  </a:lnTo>
                  <a:lnTo>
                    <a:pt x="768" y="126"/>
                  </a:lnTo>
                  <a:lnTo>
                    <a:pt x="780" y="126"/>
                  </a:lnTo>
                  <a:lnTo>
                    <a:pt x="786" y="120"/>
                  </a:lnTo>
                  <a:lnTo>
                    <a:pt x="792" y="120"/>
                  </a:lnTo>
                  <a:lnTo>
                    <a:pt x="810" y="120"/>
                  </a:lnTo>
                  <a:lnTo>
                    <a:pt x="822" y="120"/>
                  </a:lnTo>
                  <a:lnTo>
                    <a:pt x="846" y="126"/>
                  </a:lnTo>
                  <a:lnTo>
                    <a:pt x="858" y="126"/>
                  </a:lnTo>
                  <a:lnTo>
                    <a:pt x="870" y="132"/>
                  </a:lnTo>
                  <a:lnTo>
                    <a:pt x="882" y="132"/>
                  </a:lnTo>
                  <a:lnTo>
                    <a:pt x="894" y="132"/>
                  </a:lnTo>
                  <a:lnTo>
                    <a:pt x="900" y="132"/>
                  </a:lnTo>
                  <a:lnTo>
                    <a:pt x="912" y="132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36" y="132"/>
                  </a:lnTo>
                  <a:lnTo>
                    <a:pt x="960" y="132"/>
                  </a:lnTo>
                  <a:lnTo>
                    <a:pt x="966" y="144"/>
                  </a:lnTo>
                  <a:lnTo>
                    <a:pt x="972" y="144"/>
                  </a:lnTo>
                  <a:lnTo>
                    <a:pt x="1002" y="144"/>
                  </a:lnTo>
                  <a:lnTo>
                    <a:pt x="1020" y="144"/>
                  </a:lnTo>
                  <a:lnTo>
                    <a:pt x="1068" y="138"/>
                  </a:lnTo>
                  <a:lnTo>
                    <a:pt x="1110" y="132"/>
                  </a:lnTo>
                  <a:lnTo>
                    <a:pt x="1110" y="126"/>
                  </a:lnTo>
                  <a:lnTo>
                    <a:pt x="1116" y="120"/>
                  </a:lnTo>
                  <a:lnTo>
                    <a:pt x="1122" y="108"/>
                  </a:lnTo>
                  <a:lnTo>
                    <a:pt x="1134" y="96"/>
                  </a:lnTo>
                  <a:lnTo>
                    <a:pt x="1146" y="60"/>
                  </a:lnTo>
                  <a:lnTo>
                    <a:pt x="1158" y="54"/>
                  </a:lnTo>
                  <a:lnTo>
                    <a:pt x="1170" y="48"/>
                  </a:lnTo>
                  <a:lnTo>
                    <a:pt x="1188" y="42"/>
                  </a:lnTo>
                  <a:lnTo>
                    <a:pt x="1200" y="36"/>
                  </a:lnTo>
                  <a:lnTo>
                    <a:pt x="1212" y="36"/>
                  </a:lnTo>
                  <a:lnTo>
                    <a:pt x="1236" y="30"/>
                  </a:lnTo>
                  <a:lnTo>
                    <a:pt x="1236" y="24"/>
                  </a:lnTo>
                  <a:lnTo>
                    <a:pt x="1278" y="18"/>
                  </a:lnTo>
                  <a:lnTo>
                    <a:pt x="1290" y="18"/>
                  </a:lnTo>
                  <a:lnTo>
                    <a:pt x="1302" y="12"/>
                  </a:lnTo>
                  <a:lnTo>
                    <a:pt x="1314" y="0"/>
                  </a:lnTo>
                  <a:lnTo>
                    <a:pt x="1332" y="0"/>
                  </a:lnTo>
                  <a:lnTo>
                    <a:pt x="1338" y="24"/>
                  </a:lnTo>
                  <a:lnTo>
                    <a:pt x="1344" y="30"/>
                  </a:lnTo>
                  <a:lnTo>
                    <a:pt x="1350" y="42"/>
                  </a:lnTo>
                  <a:lnTo>
                    <a:pt x="1356" y="48"/>
                  </a:lnTo>
                  <a:lnTo>
                    <a:pt x="1356" y="78"/>
                  </a:lnTo>
                  <a:lnTo>
                    <a:pt x="1350" y="96"/>
                  </a:lnTo>
                  <a:lnTo>
                    <a:pt x="1338" y="108"/>
                  </a:lnTo>
                  <a:lnTo>
                    <a:pt x="1338" y="114"/>
                  </a:lnTo>
                  <a:lnTo>
                    <a:pt x="1338" y="120"/>
                  </a:lnTo>
                  <a:lnTo>
                    <a:pt x="1338" y="126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398" y="114"/>
                  </a:lnTo>
                  <a:lnTo>
                    <a:pt x="1416" y="120"/>
                  </a:lnTo>
                  <a:lnTo>
                    <a:pt x="1434" y="126"/>
                  </a:lnTo>
                  <a:lnTo>
                    <a:pt x="1458" y="132"/>
                  </a:lnTo>
                  <a:lnTo>
                    <a:pt x="1458" y="138"/>
                  </a:lnTo>
                  <a:lnTo>
                    <a:pt x="1512" y="138"/>
                  </a:lnTo>
                  <a:lnTo>
                    <a:pt x="1512" y="132"/>
                  </a:lnTo>
                  <a:lnTo>
                    <a:pt x="1524" y="138"/>
                  </a:lnTo>
                  <a:lnTo>
                    <a:pt x="1542" y="138"/>
                  </a:lnTo>
                  <a:lnTo>
                    <a:pt x="1542" y="150"/>
                  </a:lnTo>
                  <a:lnTo>
                    <a:pt x="1542" y="162"/>
                  </a:lnTo>
                  <a:lnTo>
                    <a:pt x="1548" y="174"/>
                  </a:lnTo>
                  <a:lnTo>
                    <a:pt x="1548" y="180"/>
                  </a:lnTo>
                  <a:lnTo>
                    <a:pt x="1554" y="222"/>
                  </a:lnTo>
                  <a:lnTo>
                    <a:pt x="1554" y="258"/>
                  </a:lnTo>
                  <a:lnTo>
                    <a:pt x="1554" y="276"/>
                  </a:lnTo>
                  <a:lnTo>
                    <a:pt x="1554" y="282"/>
                  </a:lnTo>
                  <a:lnTo>
                    <a:pt x="1554" y="294"/>
                  </a:lnTo>
                  <a:lnTo>
                    <a:pt x="1554" y="306"/>
                  </a:lnTo>
                  <a:lnTo>
                    <a:pt x="1554" y="324"/>
                  </a:lnTo>
                  <a:lnTo>
                    <a:pt x="1554" y="330"/>
                  </a:lnTo>
                  <a:lnTo>
                    <a:pt x="1548" y="330"/>
                  </a:lnTo>
                  <a:lnTo>
                    <a:pt x="1548" y="336"/>
                  </a:lnTo>
                  <a:lnTo>
                    <a:pt x="1548" y="342"/>
                  </a:lnTo>
                  <a:lnTo>
                    <a:pt x="1542" y="336"/>
                  </a:lnTo>
                  <a:lnTo>
                    <a:pt x="1542" y="330"/>
                  </a:lnTo>
                  <a:lnTo>
                    <a:pt x="1536" y="330"/>
                  </a:lnTo>
                  <a:lnTo>
                    <a:pt x="1530" y="330"/>
                  </a:lnTo>
                  <a:lnTo>
                    <a:pt x="1530" y="336"/>
                  </a:lnTo>
                  <a:lnTo>
                    <a:pt x="1536" y="342"/>
                  </a:lnTo>
                  <a:lnTo>
                    <a:pt x="1530" y="342"/>
                  </a:lnTo>
                  <a:lnTo>
                    <a:pt x="1518" y="348"/>
                  </a:lnTo>
                  <a:lnTo>
                    <a:pt x="1512" y="354"/>
                  </a:lnTo>
                  <a:lnTo>
                    <a:pt x="1506" y="354"/>
                  </a:lnTo>
                  <a:lnTo>
                    <a:pt x="1500" y="354"/>
                  </a:lnTo>
                  <a:lnTo>
                    <a:pt x="1494" y="354"/>
                  </a:lnTo>
                  <a:lnTo>
                    <a:pt x="1494" y="360"/>
                  </a:lnTo>
                  <a:lnTo>
                    <a:pt x="1488" y="360"/>
                  </a:lnTo>
                  <a:lnTo>
                    <a:pt x="1488" y="366"/>
                  </a:lnTo>
                  <a:lnTo>
                    <a:pt x="1488" y="372"/>
                  </a:lnTo>
                  <a:lnTo>
                    <a:pt x="1482" y="372"/>
                  </a:lnTo>
                  <a:lnTo>
                    <a:pt x="1476" y="372"/>
                  </a:lnTo>
                  <a:lnTo>
                    <a:pt x="1470" y="372"/>
                  </a:lnTo>
                  <a:lnTo>
                    <a:pt x="1470" y="378"/>
                  </a:lnTo>
                  <a:lnTo>
                    <a:pt x="1470" y="384"/>
                  </a:lnTo>
                  <a:lnTo>
                    <a:pt x="1470" y="390"/>
                  </a:lnTo>
                  <a:lnTo>
                    <a:pt x="1464" y="402"/>
                  </a:lnTo>
                  <a:lnTo>
                    <a:pt x="1446" y="402"/>
                  </a:lnTo>
                  <a:lnTo>
                    <a:pt x="1440" y="372"/>
                  </a:lnTo>
                  <a:lnTo>
                    <a:pt x="1410" y="372"/>
                  </a:lnTo>
                  <a:lnTo>
                    <a:pt x="1380" y="372"/>
                  </a:lnTo>
                  <a:lnTo>
                    <a:pt x="1374" y="372"/>
                  </a:lnTo>
                  <a:lnTo>
                    <a:pt x="1368" y="378"/>
                  </a:lnTo>
                  <a:lnTo>
                    <a:pt x="1362" y="378"/>
                  </a:lnTo>
                  <a:lnTo>
                    <a:pt x="1356" y="378"/>
                  </a:lnTo>
                  <a:lnTo>
                    <a:pt x="1350" y="384"/>
                  </a:lnTo>
                  <a:lnTo>
                    <a:pt x="1350" y="390"/>
                  </a:lnTo>
                  <a:lnTo>
                    <a:pt x="1344" y="390"/>
                  </a:lnTo>
                  <a:lnTo>
                    <a:pt x="1338" y="390"/>
                  </a:lnTo>
                  <a:lnTo>
                    <a:pt x="1332" y="390"/>
                  </a:lnTo>
                  <a:lnTo>
                    <a:pt x="1332" y="396"/>
                  </a:lnTo>
                  <a:lnTo>
                    <a:pt x="1332" y="390"/>
                  </a:lnTo>
                  <a:lnTo>
                    <a:pt x="1326" y="402"/>
                  </a:lnTo>
                  <a:lnTo>
                    <a:pt x="1320" y="402"/>
                  </a:lnTo>
                  <a:lnTo>
                    <a:pt x="1302" y="474"/>
                  </a:lnTo>
                  <a:lnTo>
                    <a:pt x="1308" y="480"/>
                  </a:lnTo>
                  <a:lnTo>
                    <a:pt x="1314" y="480"/>
                  </a:lnTo>
                  <a:lnTo>
                    <a:pt x="1308" y="498"/>
                  </a:lnTo>
                  <a:lnTo>
                    <a:pt x="1308" y="504"/>
                  </a:lnTo>
                  <a:lnTo>
                    <a:pt x="1314" y="510"/>
                  </a:lnTo>
                  <a:lnTo>
                    <a:pt x="1308" y="510"/>
                  </a:lnTo>
                  <a:lnTo>
                    <a:pt x="1308" y="516"/>
                  </a:lnTo>
                  <a:lnTo>
                    <a:pt x="1302" y="516"/>
                  </a:lnTo>
                  <a:lnTo>
                    <a:pt x="1296" y="510"/>
                  </a:lnTo>
                  <a:lnTo>
                    <a:pt x="1296" y="516"/>
                  </a:lnTo>
                  <a:lnTo>
                    <a:pt x="1290" y="540"/>
                  </a:lnTo>
                  <a:lnTo>
                    <a:pt x="1290" y="552"/>
                  </a:lnTo>
                  <a:lnTo>
                    <a:pt x="1284" y="558"/>
                  </a:lnTo>
                  <a:lnTo>
                    <a:pt x="1290" y="576"/>
                  </a:lnTo>
                  <a:lnTo>
                    <a:pt x="1290" y="600"/>
                  </a:lnTo>
                  <a:lnTo>
                    <a:pt x="1284" y="618"/>
                  </a:lnTo>
                  <a:lnTo>
                    <a:pt x="1290" y="624"/>
                  </a:lnTo>
                  <a:lnTo>
                    <a:pt x="1284" y="630"/>
                  </a:lnTo>
                  <a:lnTo>
                    <a:pt x="1278" y="630"/>
                  </a:lnTo>
                  <a:lnTo>
                    <a:pt x="1272" y="630"/>
                  </a:lnTo>
                  <a:lnTo>
                    <a:pt x="1266" y="636"/>
                  </a:lnTo>
                  <a:lnTo>
                    <a:pt x="1260" y="642"/>
                  </a:lnTo>
                  <a:lnTo>
                    <a:pt x="1260" y="636"/>
                  </a:lnTo>
                  <a:lnTo>
                    <a:pt x="1254" y="636"/>
                  </a:lnTo>
                  <a:lnTo>
                    <a:pt x="1248" y="636"/>
                  </a:lnTo>
                  <a:lnTo>
                    <a:pt x="1248" y="642"/>
                  </a:lnTo>
                  <a:lnTo>
                    <a:pt x="1242" y="642"/>
                  </a:lnTo>
                  <a:lnTo>
                    <a:pt x="1242" y="648"/>
                  </a:lnTo>
                  <a:lnTo>
                    <a:pt x="1236" y="654"/>
                  </a:lnTo>
                  <a:lnTo>
                    <a:pt x="1230" y="654"/>
                  </a:lnTo>
                  <a:lnTo>
                    <a:pt x="1224" y="654"/>
                  </a:lnTo>
                  <a:lnTo>
                    <a:pt x="1218" y="660"/>
                  </a:lnTo>
                  <a:lnTo>
                    <a:pt x="1212" y="660"/>
                  </a:lnTo>
                  <a:lnTo>
                    <a:pt x="1206" y="660"/>
                  </a:lnTo>
                  <a:lnTo>
                    <a:pt x="1200" y="660"/>
                  </a:lnTo>
                  <a:lnTo>
                    <a:pt x="1200" y="666"/>
                  </a:lnTo>
                  <a:lnTo>
                    <a:pt x="1194" y="666"/>
                  </a:lnTo>
                  <a:lnTo>
                    <a:pt x="1188" y="666"/>
                  </a:lnTo>
                  <a:lnTo>
                    <a:pt x="1182" y="672"/>
                  </a:lnTo>
                  <a:lnTo>
                    <a:pt x="1176" y="672"/>
                  </a:lnTo>
                  <a:lnTo>
                    <a:pt x="1170" y="672"/>
                  </a:lnTo>
                  <a:lnTo>
                    <a:pt x="1164" y="678"/>
                  </a:lnTo>
                  <a:lnTo>
                    <a:pt x="1170" y="678"/>
                  </a:lnTo>
                  <a:lnTo>
                    <a:pt x="1164" y="684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52" y="684"/>
                  </a:lnTo>
                  <a:lnTo>
                    <a:pt x="1152" y="690"/>
                  </a:lnTo>
                  <a:lnTo>
                    <a:pt x="1146" y="690"/>
                  </a:lnTo>
                  <a:lnTo>
                    <a:pt x="1140" y="690"/>
                  </a:lnTo>
                  <a:lnTo>
                    <a:pt x="1134" y="696"/>
                  </a:lnTo>
                  <a:lnTo>
                    <a:pt x="1128" y="696"/>
                  </a:lnTo>
                  <a:lnTo>
                    <a:pt x="1122" y="702"/>
                  </a:lnTo>
                  <a:lnTo>
                    <a:pt x="1116" y="702"/>
                  </a:lnTo>
                  <a:lnTo>
                    <a:pt x="1110" y="708"/>
                  </a:lnTo>
                  <a:lnTo>
                    <a:pt x="1104" y="708"/>
                  </a:lnTo>
                  <a:lnTo>
                    <a:pt x="1098" y="708"/>
                  </a:lnTo>
                  <a:lnTo>
                    <a:pt x="1092" y="708"/>
                  </a:lnTo>
                  <a:lnTo>
                    <a:pt x="1092" y="714"/>
                  </a:lnTo>
                  <a:lnTo>
                    <a:pt x="1086" y="720"/>
                  </a:lnTo>
                  <a:lnTo>
                    <a:pt x="1080" y="720"/>
                  </a:lnTo>
                  <a:lnTo>
                    <a:pt x="1074" y="720"/>
                  </a:lnTo>
                  <a:lnTo>
                    <a:pt x="1068" y="720"/>
                  </a:lnTo>
                  <a:lnTo>
                    <a:pt x="1062" y="720"/>
                  </a:lnTo>
                  <a:lnTo>
                    <a:pt x="1050" y="726"/>
                  </a:lnTo>
                  <a:lnTo>
                    <a:pt x="1044" y="726"/>
                  </a:lnTo>
                  <a:lnTo>
                    <a:pt x="1038" y="732"/>
                  </a:lnTo>
                  <a:lnTo>
                    <a:pt x="1026" y="732"/>
                  </a:lnTo>
                  <a:lnTo>
                    <a:pt x="1020" y="732"/>
                  </a:lnTo>
                  <a:lnTo>
                    <a:pt x="1014" y="738"/>
                  </a:lnTo>
                  <a:lnTo>
                    <a:pt x="1008" y="738"/>
                  </a:lnTo>
                  <a:lnTo>
                    <a:pt x="1002" y="738"/>
                  </a:lnTo>
                  <a:lnTo>
                    <a:pt x="996" y="738"/>
                  </a:lnTo>
                  <a:lnTo>
                    <a:pt x="990" y="738"/>
                  </a:lnTo>
                  <a:lnTo>
                    <a:pt x="990" y="732"/>
                  </a:lnTo>
                  <a:lnTo>
                    <a:pt x="984" y="732"/>
                  </a:lnTo>
                  <a:lnTo>
                    <a:pt x="978" y="738"/>
                  </a:lnTo>
                  <a:lnTo>
                    <a:pt x="978" y="744"/>
                  </a:lnTo>
                  <a:lnTo>
                    <a:pt x="984" y="744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8" y="756"/>
                  </a:lnTo>
                  <a:lnTo>
                    <a:pt x="972" y="756"/>
                  </a:lnTo>
                  <a:lnTo>
                    <a:pt x="972" y="762"/>
                  </a:lnTo>
                  <a:lnTo>
                    <a:pt x="966" y="768"/>
                  </a:lnTo>
                  <a:lnTo>
                    <a:pt x="966" y="762"/>
                  </a:lnTo>
                  <a:lnTo>
                    <a:pt x="960" y="762"/>
                  </a:lnTo>
                  <a:lnTo>
                    <a:pt x="954" y="768"/>
                  </a:lnTo>
                  <a:lnTo>
                    <a:pt x="954" y="774"/>
                  </a:lnTo>
                  <a:lnTo>
                    <a:pt x="948" y="774"/>
                  </a:lnTo>
                  <a:lnTo>
                    <a:pt x="948" y="780"/>
                  </a:lnTo>
                  <a:lnTo>
                    <a:pt x="948" y="786"/>
                  </a:lnTo>
                  <a:lnTo>
                    <a:pt x="942" y="786"/>
                  </a:lnTo>
                  <a:lnTo>
                    <a:pt x="942" y="792"/>
                  </a:lnTo>
                  <a:lnTo>
                    <a:pt x="936" y="792"/>
                  </a:lnTo>
                  <a:lnTo>
                    <a:pt x="942" y="798"/>
                  </a:lnTo>
                  <a:lnTo>
                    <a:pt x="942" y="804"/>
                  </a:lnTo>
                  <a:lnTo>
                    <a:pt x="942" y="810"/>
                  </a:lnTo>
                  <a:lnTo>
                    <a:pt x="948" y="810"/>
                  </a:lnTo>
                  <a:lnTo>
                    <a:pt x="942" y="816"/>
                  </a:lnTo>
                  <a:lnTo>
                    <a:pt x="948" y="816"/>
                  </a:lnTo>
                  <a:lnTo>
                    <a:pt x="948" y="822"/>
                  </a:lnTo>
                  <a:lnTo>
                    <a:pt x="954" y="822"/>
                  </a:lnTo>
                  <a:lnTo>
                    <a:pt x="960" y="828"/>
                  </a:lnTo>
                  <a:lnTo>
                    <a:pt x="960" y="834"/>
                  </a:lnTo>
                  <a:lnTo>
                    <a:pt x="966" y="834"/>
                  </a:lnTo>
                  <a:lnTo>
                    <a:pt x="960" y="840"/>
                  </a:lnTo>
                  <a:lnTo>
                    <a:pt x="966" y="846"/>
                  </a:lnTo>
                  <a:lnTo>
                    <a:pt x="966" y="840"/>
                  </a:lnTo>
                  <a:lnTo>
                    <a:pt x="972" y="840"/>
                  </a:lnTo>
                  <a:lnTo>
                    <a:pt x="990" y="840"/>
                  </a:lnTo>
                  <a:lnTo>
                    <a:pt x="1002" y="834"/>
                  </a:lnTo>
                  <a:lnTo>
                    <a:pt x="1020" y="828"/>
                  </a:lnTo>
                  <a:lnTo>
                    <a:pt x="1032" y="828"/>
                  </a:lnTo>
                  <a:lnTo>
                    <a:pt x="1050" y="828"/>
                  </a:lnTo>
                  <a:lnTo>
                    <a:pt x="1062" y="846"/>
                  </a:lnTo>
                  <a:lnTo>
                    <a:pt x="1074" y="876"/>
                  </a:lnTo>
                  <a:lnTo>
                    <a:pt x="1068" y="900"/>
                  </a:lnTo>
                  <a:lnTo>
                    <a:pt x="1074" y="912"/>
                  </a:lnTo>
                  <a:lnTo>
                    <a:pt x="1074" y="936"/>
                  </a:lnTo>
                  <a:lnTo>
                    <a:pt x="1068" y="942"/>
                  </a:lnTo>
                  <a:lnTo>
                    <a:pt x="1062" y="954"/>
                  </a:lnTo>
                  <a:lnTo>
                    <a:pt x="1056" y="978"/>
                  </a:lnTo>
                  <a:lnTo>
                    <a:pt x="1056" y="996"/>
                  </a:lnTo>
                  <a:lnTo>
                    <a:pt x="1068" y="990"/>
                  </a:lnTo>
                  <a:lnTo>
                    <a:pt x="1074" y="990"/>
                  </a:lnTo>
                  <a:lnTo>
                    <a:pt x="1074" y="1008"/>
                  </a:lnTo>
                  <a:lnTo>
                    <a:pt x="1080" y="1008"/>
                  </a:lnTo>
                  <a:lnTo>
                    <a:pt x="1092" y="1014"/>
                  </a:lnTo>
                  <a:lnTo>
                    <a:pt x="1110" y="1044"/>
                  </a:lnTo>
                  <a:lnTo>
                    <a:pt x="1110" y="1062"/>
                  </a:lnTo>
                  <a:lnTo>
                    <a:pt x="1128" y="1068"/>
                  </a:lnTo>
                  <a:lnTo>
                    <a:pt x="1128" y="1092"/>
                  </a:lnTo>
                  <a:lnTo>
                    <a:pt x="1134" y="1098"/>
                  </a:lnTo>
                  <a:lnTo>
                    <a:pt x="1158" y="1122"/>
                  </a:lnTo>
                  <a:lnTo>
                    <a:pt x="1188" y="1122"/>
                  </a:lnTo>
                  <a:lnTo>
                    <a:pt x="1188" y="1128"/>
                  </a:lnTo>
                  <a:lnTo>
                    <a:pt x="1200" y="1134"/>
                  </a:lnTo>
                  <a:lnTo>
                    <a:pt x="1206" y="1134"/>
                  </a:lnTo>
                  <a:lnTo>
                    <a:pt x="1206" y="1128"/>
                  </a:lnTo>
                  <a:lnTo>
                    <a:pt x="1212" y="1128"/>
                  </a:lnTo>
                  <a:lnTo>
                    <a:pt x="1218" y="1128"/>
                  </a:lnTo>
                  <a:lnTo>
                    <a:pt x="1224" y="1122"/>
                  </a:lnTo>
                  <a:lnTo>
                    <a:pt x="1224" y="1128"/>
                  </a:lnTo>
                  <a:lnTo>
                    <a:pt x="1230" y="1128"/>
                  </a:lnTo>
                  <a:lnTo>
                    <a:pt x="1236" y="1128"/>
                  </a:lnTo>
                  <a:lnTo>
                    <a:pt x="1236" y="1122"/>
                  </a:lnTo>
                  <a:lnTo>
                    <a:pt x="1242" y="1122"/>
                  </a:lnTo>
                  <a:lnTo>
                    <a:pt x="1248" y="1128"/>
                  </a:lnTo>
                  <a:lnTo>
                    <a:pt x="1254" y="1128"/>
                  </a:lnTo>
                  <a:lnTo>
                    <a:pt x="1260" y="1134"/>
                  </a:lnTo>
                  <a:lnTo>
                    <a:pt x="1260" y="1140"/>
                  </a:lnTo>
                  <a:lnTo>
                    <a:pt x="1266" y="1140"/>
                  </a:lnTo>
                  <a:lnTo>
                    <a:pt x="1272" y="1140"/>
                  </a:lnTo>
                  <a:lnTo>
                    <a:pt x="1278" y="1140"/>
                  </a:lnTo>
                  <a:lnTo>
                    <a:pt x="1284" y="1140"/>
                  </a:lnTo>
                  <a:lnTo>
                    <a:pt x="1290" y="1146"/>
                  </a:lnTo>
                  <a:lnTo>
                    <a:pt x="1290" y="1152"/>
                  </a:lnTo>
                  <a:lnTo>
                    <a:pt x="1296" y="1146"/>
                  </a:lnTo>
                  <a:lnTo>
                    <a:pt x="1296" y="1152"/>
                  </a:lnTo>
                  <a:lnTo>
                    <a:pt x="1308" y="1152"/>
                  </a:lnTo>
                  <a:lnTo>
                    <a:pt x="1314" y="1152"/>
                  </a:lnTo>
                  <a:lnTo>
                    <a:pt x="1320" y="1152"/>
                  </a:lnTo>
                  <a:lnTo>
                    <a:pt x="1332" y="1152"/>
                  </a:lnTo>
                  <a:lnTo>
                    <a:pt x="1338" y="1152"/>
                  </a:lnTo>
                  <a:lnTo>
                    <a:pt x="1344" y="1152"/>
                  </a:lnTo>
                  <a:lnTo>
                    <a:pt x="1344" y="1158"/>
                  </a:lnTo>
                  <a:lnTo>
                    <a:pt x="1350" y="1158"/>
                  </a:lnTo>
                  <a:lnTo>
                    <a:pt x="1356" y="1158"/>
                  </a:lnTo>
                  <a:lnTo>
                    <a:pt x="1362" y="1158"/>
                  </a:lnTo>
                  <a:lnTo>
                    <a:pt x="1368" y="1158"/>
                  </a:lnTo>
                  <a:lnTo>
                    <a:pt x="1374" y="1164"/>
                  </a:lnTo>
                  <a:lnTo>
                    <a:pt x="1380" y="1164"/>
                  </a:lnTo>
                  <a:lnTo>
                    <a:pt x="1386" y="1170"/>
                  </a:lnTo>
                  <a:lnTo>
                    <a:pt x="1392" y="1170"/>
                  </a:lnTo>
                  <a:lnTo>
                    <a:pt x="1398" y="1164"/>
                  </a:lnTo>
                  <a:lnTo>
                    <a:pt x="1404" y="1164"/>
                  </a:lnTo>
                  <a:lnTo>
                    <a:pt x="1410" y="1164"/>
                  </a:lnTo>
                  <a:lnTo>
                    <a:pt x="1416" y="1164"/>
                  </a:lnTo>
                  <a:lnTo>
                    <a:pt x="1416" y="1170"/>
                  </a:lnTo>
                  <a:lnTo>
                    <a:pt x="1422" y="1176"/>
                  </a:lnTo>
                  <a:lnTo>
                    <a:pt x="1416" y="1176"/>
                  </a:lnTo>
                  <a:lnTo>
                    <a:pt x="1416" y="1182"/>
                  </a:lnTo>
                  <a:lnTo>
                    <a:pt x="1410" y="1188"/>
                  </a:lnTo>
                  <a:lnTo>
                    <a:pt x="1404" y="1194"/>
                  </a:lnTo>
                  <a:lnTo>
                    <a:pt x="1404" y="1200"/>
                  </a:lnTo>
                  <a:lnTo>
                    <a:pt x="1404" y="1206"/>
                  </a:lnTo>
                  <a:lnTo>
                    <a:pt x="1398" y="1212"/>
                  </a:lnTo>
                  <a:lnTo>
                    <a:pt x="1398" y="1206"/>
                  </a:lnTo>
                  <a:lnTo>
                    <a:pt x="1392" y="1206"/>
                  </a:lnTo>
                  <a:lnTo>
                    <a:pt x="1386" y="1206"/>
                  </a:lnTo>
                  <a:lnTo>
                    <a:pt x="1380" y="1212"/>
                  </a:lnTo>
                  <a:lnTo>
                    <a:pt x="1374" y="1212"/>
                  </a:lnTo>
                  <a:lnTo>
                    <a:pt x="1368" y="1218"/>
                  </a:lnTo>
                  <a:lnTo>
                    <a:pt x="1362" y="1218"/>
                  </a:lnTo>
                  <a:lnTo>
                    <a:pt x="1362" y="1224"/>
                  </a:lnTo>
                  <a:lnTo>
                    <a:pt x="1356" y="1230"/>
                  </a:lnTo>
                  <a:lnTo>
                    <a:pt x="1350" y="1230"/>
                  </a:lnTo>
                  <a:lnTo>
                    <a:pt x="1344" y="1236"/>
                  </a:lnTo>
                  <a:lnTo>
                    <a:pt x="1338" y="1230"/>
                  </a:lnTo>
                  <a:lnTo>
                    <a:pt x="1332" y="1230"/>
                  </a:lnTo>
                  <a:lnTo>
                    <a:pt x="1326" y="1230"/>
                  </a:lnTo>
                  <a:lnTo>
                    <a:pt x="1320" y="1230"/>
                  </a:lnTo>
                  <a:lnTo>
                    <a:pt x="1314" y="1230"/>
                  </a:lnTo>
                  <a:lnTo>
                    <a:pt x="1296" y="1242"/>
                  </a:lnTo>
                  <a:lnTo>
                    <a:pt x="1296" y="1248"/>
                  </a:lnTo>
                  <a:lnTo>
                    <a:pt x="1290" y="1248"/>
                  </a:lnTo>
                  <a:lnTo>
                    <a:pt x="1290" y="1260"/>
                  </a:lnTo>
                  <a:lnTo>
                    <a:pt x="1278" y="1272"/>
                  </a:lnTo>
                  <a:lnTo>
                    <a:pt x="1278" y="1278"/>
                  </a:lnTo>
                  <a:lnTo>
                    <a:pt x="1278" y="1284"/>
                  </a:lnTo>
                  <a:lnTo>
                    <a:pt x="1278" y="1290"/>
                  </a:lnTo>
                  <a:lnTo>
                    <a:pt x="1284" y="1296"/>
                  </a:lnTo>
                  <a:lnTo>
                    <a:pt x="1302" y="1302"/>
                  </a:lnTo>
                  <a:lnTo>
                    <a:pt x="1308" y="1308"/>
                  </a:lnTo>
                  <a:lnTo>
                    <a:pt x="1308" y="1314"/>
                  </a:lnTo>
                  <a:lnTo>
                    <a:pt x="1302" y="1320"/>
                  </a:lnTo>
                  <a:lnTo>
                    <a:pt x="1278" y="1314"/>
                  </a:lnTo>
                  <a:lnTo>
                    <a:pt x="1266" y="1308"/>
                  </a:lnTo>
                  <a:lnTo>
                    <a:pt x="1260" y="1296"/>
                  </a:lnTo>
                  <a:lnTo>
                    <a:pt x="1236" y="1296"/>
                  </a:lnTo>
                  <a:lnTo>
                    <a:pt x="1224" y="1308"/>
                  </a:lnTo>
                  <a:lnTo>
                    <a:pt x="1218" y="1308"/>
                  </a:lnTo>
                  <a:lnTo>
                    <a:pt x="1218" y="1302"/>
                  </a:lnTo>
                  <a:lnTo>
                    <a:pt x="1212" y="1302"/>
                  </a:lnTo>
                  <a:lnTo>
                    <a:pt x="1206" y="1302"/>
                  </a:lnTo>
                  <a:lnTo>
                    <a:pt x="1170" y="1314"/>
                  </a:lnTo>
                  <a:lnTo>
                    <a:pt x="1134" y="1296"/>
                  </a:lnTo>
                  <a:lnTo>
                    <a:pt x="1122" y="1290"/>
                  </a:lnTo>
                  <a:lnTo>
                    <a:pt x="1104" y="1290"/>
                  </a:lnTo>
                  <a:lnTo>
                    <a:pt x="1098" y="1278"/>
                  </a:lnTo>
                  <a:lnTo>
                    <a:pt x="1092" y="1242"/>
                  </a:lnTo>
                  <a:lnTo>
                    <a:pt x="1086" y="1242"/>
                  </a:lnTo>
                  <a:lnTo>
                    <a:pt x="1086" y="1248"/>
                  </a:lnTo>
                  <a:lnTo>
                    <a:pt x="1086" y="1254"/>
                  </a:lnTo>
                  <a:lnTo>
                    <a:pt x="1080" y="1254"/>
                  </a:lnTo>
                  <a:lnTo>
                    <a:pt x="1080" y="1260"/>
                  </a:lnTo>
                  <a:lnTo>
                    <a:pt x="1074" y="1260"/>
                  </a:lnTo>
                  <a:lnTo>
                    <a:pt x="1068" y="1236"/>
                  </a:lnTo>
                  <a:lnTo>
                    <a:pt x="1068" y="1206"/>
                  </a:lnTo>
                  <a:lnTo>
                    <a:pt x="1080" y="1194"/>
                  </a:lnTo>
                  <a:lnTo>
                    <a:pt x="1086" y="1194"/>
                  </a:lnTo>
                  <a:lnTo>
                    <a:pt x="1092" y="1200"/>
                  </a:lnTo>
                  <a:lnTo>
                    <a:pt x="1098" y="1206"/>
                  </a:lnTo>
                  <a:lnTo>
                    <a:pt x="1104" y="1200"/>
                  </a:lnTo>
                  <a:lnTo>
                    <a:pt x="1104" y="1194"/>
                  </a:lnTo>
                  <a:lnTo>
                    <a:pt x="1110" y="1194"/>
                  </a:lnTo>
                  <a:lnTo>
                    <a:pt x="1110" y="1188"/>
                  </a:lnTo>
                  <a:lnTo>
                    <a:pt x="1116" y="1182"/>
                  </a:lnTo>
                  <a:lnTo>
                    <a:pt x="1110" y="1182"/>
                  </a:lnTo>
                  <a:lnTo>
                    <a:pt x="1110" y="1170"/>
                  </a:lnTo>
                  <a:lnTo>
                    <a:pt x="1110" y="1158"/>
                  </a:lnTo>
                  <a:lnTo>
                    <a:pt x="1110" y="1152"/>
                  </a:lnTo>
                  <a:lnTo>
                    <a:pt x="1104" y="1146"/>
                  </a:lnTo>
                  <a:lnTo>
                    <a:pt x="1098" y="1140"/>
                  </a:lnTo>
                  <a:lnTo>
                    <a:pt x="1098" y="1134"/>
                  </a:lnTo>
                  <a:lnTo>
                    <a:pt x="1098" y="1128"/>
                  </a:lnTo>
                  <a:lnTo>
                    <a:pt x="1092" y="1128"/>
                  </a:lnTo>
                  <a:lnTo>
                    <a:pt x="1092" y="1122"/>
                  </a:lnTo>
                  <a:lnTo>
                    <a:pt x="1092" y="1116"/>
                  </a:lnTo>
                  <a:lnTo>
                    <a:pt x="1092" y="1110"/>
                  </a:lnTo>
                  <a:lnTo>
                    <a:pt x="1056" y="1122"/>
                  </a:lnTo>
                  <a:lnTo>
                    <a:pt x="1038" y="1128"/>
                  </a:lnTo>
                  <a:lnTo>
                    <a:pt x="1032" y="1128"/>
                  </a:lnTo>
                  <a:lnTo>
                    <a:pt x="1026" y="1128"/>
                  </a:lnTo>
                  <a:lnTo>
                    <a:pt x="1020" y="1128"/>
                  </a:lnTo>
                  <a:lnTo>
                    <a:pt x="1014" y="1128"/>
                  </a:lnTo>
                  <a:lnTo>
                    <a:pt x="1014" y="1122"/>
                  </a:lnTo>
                  <a:lnTo>
                    <a:pt x="1008" y="1122"/>
                  </a:lnTo>
                  <a:lnTo>
                    <a:pt x="1002" y="1128"/>
                  </a:lnTo>
                  <a:lnTo>
                    <a:pt x="1002" y="1134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84" y="1140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66" y="1140"/>
                  </a:lnTo>
                  <a:lnTo>
                    <a:pt x="954" y="1140"/>
                  </a:lnTo>
                  <a:lnTo>
                    <a:pt x="954" y="1134"/>
                  </a:lnTo>
                  <a:lnTo>
                    <a:pt x="948" y="1134"/>
                  </a:lnTo>
                  <a:lnTo>
                    <a:pt x="942" y="1134"/>
                  </a:lnTo>
                  <a:lnTo>
                    <a:pt x="936" y="1134"/>
                  </a:lnTo>
                  <a:lnTo>
                    <a:pt x="930" y="1134"/>
                  </a:lnTo>
                  <a:lnTo>
                    <a:pt x="924" y="1134"/>
                  </a:lnTo>
                  <a:lnTo>
                    <a:pt x="918" y="1134"/>
                  </a:lnTo>
                  <a:lnTo>
                    <a:pt x="918" y="1128"/>
                  </a:lnTo>
                  <a:lnTo>
                    <a:pt x="918" y="1104"/>
                  </a:lnTo>
                  <a:lnTo>
                    <a:pt x="906" y="1104"/>
                  </a:lnTo>
                  <a:lnTo>
                    <a:pt x="900" y="1098"/>
                  </a:lnTo>
                  <a:lnTo>
                    <a:pt x="900" y="1092"/>
                  </a:lnTo>
                  <a:lnTo>
                    <a:pt x="900" y="1086"/>
                  </a:lnTo>
                  <a:lnTo>
                    <a:pt x="900" y="1080"/>
                  </a:lnTo>
                  <a:lnTo>
                    <a:pt x="894" y="1080"/>
                  </a:lnTo>
                  <a:lnTo>
                    <a:pt x="858" y="1074"/>
                  </a:lnTo>
                  <a:lnTo>
                    <a:pt x="852" y="1080"/>
                  </a:lnTo>
                  <a:lnTo>
                    <a:pt x="846" y="1086"/>
                  </a:lnTo>
                  <a:lnTo>
                    <a:pt x="840" y="1086"/>
                  </a:lnTo>
                  <a:lnTo>
                    <a:pt x="840" y="1092"/>
                  </a:lnTo>
                  <a:lnTo>
                    <a:pt x="834" y="1092"/>
                  </a:lnTo>
                  <a:lnTo>
                    <a:pt x="828" y="1098"/>
                  </a:lnTo>
                  <a:lnTo>
                    <a:pt x="822" y="1098"/>
                  </a:lnTo>
                  <a:lnTo>
                    <a:pt x="762" y="1074"/>
                  </a:lnTo>
                  <a:lnTo>
                    <a:pt x="756" y="1068"/>
                  </a:lnTo>
                  <a:lnTo>
                    <a:pt x="750" y="1068"/>
                  </a:lnTo>
                  <a:lnTo>
                    <a:pt x="744" y="1062"/>
                  </a:lnTo>
                  <a:lnTo>
                    <a:pt x="744" y="1068"/>
                  </a:lnTo>
                  <a:lnTo>
                    <a:pt x="744" y="1074"/>
                  </a:lnTo>
                  <a:lnTo>
                    <a:pt x="738" y="1074"/>
                  </a:lnTo>
                  <a:lnTo>
                    <a:pt x="738" y="1068"/>
                  </a:lnTo>
                  <a:lnTo>
                    <a:pt x="732" y="1068"/>
                  </a:lnTo>
                  <a:lnTo>
                    <a:pt x="726" y="1068"/>
                  </a:lnTo>
                  <a:lnTo>
                    <a:pt x="726" y="1074"/>
                  </a:lnTo>
                  <a:lnTo>
                    <a:pt x="720" y="1074"/>
                  </a:lnTo>
                  <a:lnTo>
                    <a:pt x="684" y="106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5" name="Freeform 40">
              <a:extLst>
                <a:ext uri="{FF2B5EF4-FFF2-40B4-BE49-F238E27FC236}">
                  <a16:creationId xmlns:a16="http://schemas.microsoft.com/office/drawing/2014/main" id="{37EC2F22-BDB9-4162-8FA4-08493F6898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3558" y="1520374"/>
              <a:ext cx="1057717" cy="1252440"/>
            </a:xfrm>
            <a:custGeom>
              <a:avLst/>
              <a:gdLst>
                <a:gd name="T0" fmla="*/ 98 w 1992"/>
                <a:gd name="T1" fmla="*/ 162 h 2358"/>
                <a:gd name="T2" fmla="*/ 93 w 1992"/>
                <a:gd name="T3" fmla="*/ 172 h 2358"/>
                <a:gd name="T4" fmla="*/ 82 w 1992"/>
                <a:gd name="T5" fmla="*/ 179 h 2358"/>
                <a:gd name="T6" fmla="*/ 70 w 1992"/>
                <a:gd name="T7" fmla="*/ 174 h 2358"/>
                <a:gd name="T8" fmla="*/ 62 w 1992"/>
                <a:gd name="T9" fmla="*/ 182 h 2358"/>
                <a:gd name="T10" fmla="*/ 45 w 1992"/>
                <a:gd name="T11" fmla="*/ 189 h 2358"/>
                <a:gd name="T12" fmla="*/ 24 w 1992"/>
                <a:gd name="T13" fmla="*/ 205 h 2358"/>
                <a:gd name="T14" fmla="*/ 17 w 1992"/>
                <a:gd name="T15" fmla="*/ 204 h 2358"/>
                <a:gd name="T16" fmla="*/ 7 w 1992"/>
                <a:gd name="T17" fmla="*/ 197 h 2358"/>
                <a:gd name="T18" fmla="*/ 1 w 1992"/>
                <a:gd name="T19" fmla="*/ 191 h 2358"/>
                <a:gd name="T20" fmla="*/ 4 w 1992"/>
                <a:gd name="T21" fmla="*/ 175 h 2358"/>
                <a:gd name="T22" fmla="*/ 7 w 1992"/>
                <a:gd name="T23" fmla="*/ 172 h 2358"/>
                <a:gd name="T24" fmla="*/ 11 w 1992"/>
                <a:gd name="T25" fmla="*/ 168 h 2358"/>
                <a:gd name="T26" fmla="*/ 5 w 1992"/>
                <a:gd name="T27" fmla="*/ 159 h 2358"/>
                <a:gd name="T28" fmla="*/ 10 w 1992"/>
                <a:gd name="T29" fmla="*/ 156 h 2358"/>
                <a:gd name="T30" fmla="*/ 15 w 1992"/>
                <a:gd name="T31" fmla="*/ 155 h 2358"/>
                <a:gd name="T32" fmla="*/ 24 w 1992"/>
                <a:gd name="T33" fmla="*/ 149 h 2358"/>
                <a:gd name="T34" fmla="*/ 38 w 1992"/>
                <a:gd name="T35" fmla="*/ 127 h 2358"/>
                <a:gd name="T36" fmla="*/ 38 w 1992"/>
                <a:gd name="T37" fmla="*/ 107 h 2358"/>
                <a:gd name="T38" fmla="*/ 45 w 1992"/>
                <a:gd name="T39" fmla="*/ 66 h 2358"/>
                <a:gd name="T40" fmla="*/ 47 w 1992"/>
                <a:gd name="T41" fmla="*/ 36 h 2358"/>
                <a:gd name="T42" fmla="*/ 51 w 1992"/>
                <a:gd name="T43" fmla="*/ 35 h 2358"/>
                <a:gd name="T44" fmla="*/ 55 w 1992"/>
                <a:gd name="T45" fmla="*/ 30 h 2358"/>
                <a:gd name="T46" fmla="*/ 56 w 1992"/>
                <a:gd name="T47" fmla="*/ 27 h 2358"/>
                <a:gd name="T48" fmla="*/ 60 w 1992"/>
                <a:gd name="T49" fmla="*/ 23 h 2358"/>
                <a:gd name="T50" fmla="*/ 63 w 1992"/>
                <a:gd name="T51" fmla="*/ 23 h 2358"/>
                <a:gd name="T52" fmla="*/ 70 w 1992"/>
                <a:gd name="T53" fmla="*/ 18 h 2358"/>
                <a:gd name="T54" fmla="*/ 71 w 1992"/>
                <a:gd name="T55" fmla="*/ 15 h 2358"/>
                <a:gd name="T56" fmla="*/ 72 w 1992"/>
                <a:gd name="T57" fmla="*/ 13 h 2358"/>
                <a:gd name="T58" fmla="*/ 77 w 1992"/>
                <a:gd name="T59" fmla="*/ 12 h 2358"/>
                <a:gd name="T60" fmla="*/ 83 w 1992"/>
                <a:gd name="T61" fmla="*/ 10 h 2358"/>
                <a:gd name="T62" fmla="*/ 87 w 1992"/>
                <a:gd name="T63" fmla="*/ 10 h 2358"/>
                <a:gd name="T64" fmla="*/ 89 w 1992"/>
                <a:gd name="T65" fmla="*/ 10 h 2358"/>
                <a:gd name="T66" fmla="*/ 93 w 1992"/>
                <a:gd name="T67" fmla="*/ 8 h 2358"/>
                <a:gd name="T68" fmla="*/ 95 w 1992"/>
                <a:gd name="T69" fmla="*/ 4 h 2358"/>
                <a:gd name="T70" fmla="*/ 99 w 1992"/>
                <a:gd name="T71" fmla="*/ 0 h 2358"/>
                <a:gd name="T72" fmla="*/ 111 w 1992"/>
                <a:gd name="T73" fmla="*/ 0 h 2358"/>
                <a:gd name="T74" fmla="*/ 121 w 1992"/>
                <a:gd name="T75" fmla="*/ 9 h 2358"/>
                <a:gd name="T76" fmla="*/ 128 w 1992"/>
                <a:gd name="T77" fmla="*/ 19 h 2358"/>
                <a:gd name="T78" fmla="*/ 138 w 1992"/>
                <a:gd name="T79" fmla="*/ 33 h 2358"/>
                <a:gd name="T80" fmla="*/ 142 w 1992"/>
                <a:gd name="T81" fmla="*/ 47 h 2358"/>
                <a:gd name="T82" fmla="*/ 145 w 1992"/>
                <a:gd name="T83" fmla="*/ 62 h 2358"/>
                <a:gd name="T84" fmla="*/ 145 w 1992"/>
                <a:gd name="T85" fmla="*/ 70 h 2358"/>
                <a:gd name="T86" fmla="*/ 147 w 1992"/>
                <a:gd name="T87" fmla="*/ 75 h 2358"/>
                <a:gd name="T88" fmla="*/ 153 w 1992"/>
                <a:gd name="T89" fmla="*/ 75 h 2358"/>
                <a:gd name="T90" fmla="*/ 160 w 1992"/>
                <a:gd name="T91" fmla="*/ 76 h 2358"/>
                <a:gd name="T92" fmla="*/ 164 w 1992"/>
                <a:gd name="T93" fmla="*/ 79 h 2358"/>
                <a:gd name="T94" fmla="*/ 168 w 1992"/>
                <a:gd name="T95" fmla="*/ 83 h 2358"/>
                <a:gd name="T96" fmla="*/ 172 w 1992"/>
                <a:gd name="T97" fmla="*/ 86 h 2358"/>
                <a:gd name="T98" fmla="*/ 170 w 1992"/>
                <a:gd name="T99" fmla="*/ 93 h 2358"/>
                <a:gd name="T100" fmla="*/ 170 w 1992"/>
                <a:gd name="T101" fmla="*/ 99 h 2358"/>
                <a:gd name="T102" fmla="*/ 169 w 1992"/>
                <a:gd name="T103" fmla="*/ 106 h 2358"/>
                <a:gd name="T104" fmla="*/ 166 w 1992"/>
                <a:gd name="T105" fmla="*/ 113 h 2358"/>
                <a:gd name="T106" fmla="*/ 170 w 1992"/>
                <a:gd name="T107" fmla="*/ 122 h 2358"/>
                <a:gd name="T108" fmla="*/ 159 w 1992"/>
                <a:gd name="T109" fmla="*/ 128 h 2358"/>
                <a:gd name="T110" fmla="*/ 148 w 1992"/>
                <a:gd name="T111" fmla="*/ 134 h 2358"/>
                <a:gd name="T112" fmla="*/ 139 w 1992"/>
                <a:gd name="T113" fmla="*/ 136 h 2358"/>
                <a:gd name="T114" fmla="*/ 132 w 1992"/>
                <a:gd name="T115" fmla="*/ 138 h 2358"/>
                <a:gd name="T116" fmla="*/ 128 w 1992"/>
                <a:gd name="T117" fmla="*/ 145 h 2358"/>
                <a:gd name="T118" fmla="*/ 124 w 1992"/>
                <a:gd name="T119" fmla="*/ 150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92"/>
                <a:gd name="T181" fmla="*/ 0 h 2358"/>
                <a:gd name="T182" fmla="*/ 1992 w 1992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92" h="2358">
                  <a:moveTo>
                    <a:pt x="1356" y="1782"/>
                  </a:moveTo>
                  <a:lnTo>
                    <a:pt x="1350" y="1788"/>
                  </a:lnTo>
                  <a:lnTo>
                    <a:pt x="1266" y="1788"/>
                  </a:lnTo>
                  <a:lnTo>
                    <a:pt x="1260" y="1800"/>
                  </a:lnTo>
                  <a:lnTo>
                    <a:pt x="1242" y="1806"/>
                  </a:lnTo>
                  <a:lnTo>
                    <a:pt x="1218" y="1812"/>
                  </a:lnTo>
                  <a:lnTo>
                    <a:pt x="1182" y="1812"/>
                  </a:lnTo>
                  <a:lnTo>
                    <a:pt x="1158" y="1806"/>
                  </a:lnTo>
                  <a:lnTo>
                    <a:pt x="1134" y="1800"/>
                  </a:lnTo>
                  <a:lnTo>
                    <a:pt x="1134" y="1806"/>
                  </a:lnTo>
                  <a:lnTo>
                    <a:pt x="1134" y="1830"/>
                  </a:lnTo>
                  <a:lnTo>
                    <a:pt x="1128" y="1842"/>
                  </a:lnTo>
                  <a:lnTo>
                    <a:pt x="1128" y="1854"/>
                  </a:lnTo>
                  <a:lnTo>
                    <a:pt x="1128" y="1860"/>
                  </a:lnTo>
                  <a:lnTo>
                    <a:pt x="1128" y="1866"/>
                  </a:lnTo>
                  <a:lnTo>
                    <a:pt x="1128" y="1872"/>
                  </a:lnTo>
                  <a:lnTo>
                    <a:pt x="1128" y="1884"/>
                  </a:lnTo>
                  <a:lnTo>
                    <a:pt x="1128" y="1890"/>
                  </a:lnTo>
                  <a:lnTo>
                    <a:pt x="1128" y="1896"/>
                  </a:lnTo>
                  <a:lnTo>
                    <a:pt x="1122" y="1902"/>
                  </a:lnTo>
                  <a:lnTo>
                    <a:pt x="1122" y="1920"/>
                  </a:lnTo>
                  <a:lnTo>
                    <a:pt x="1116" y="1920"/>
                  </a:lnTo>
                  <a:lnTo>
                    <a:pt x="1110" y="1926"/>
                  </a:lnTo>
                  <a:lnTo>
                    <a:pt x="1110" y="1932"/>
                  </a:lnTo>
                  <a:lnTo>
                    <a:pt x="1104" y="1938"/>
                  </a:lnTo>
                  <a:lnTo>
                    <a:pt x="1086" y="1962"/>
                  </a:lnTo>
                  <a:lnTo>
                    <a:pt x="1074" y="1974"/>
                  </a:lnTo>
                  <a:lnTo>
                    <a:pt x="1074" y="1980"/>
                  </a:lnTo>
                  <a:lnTo>
                    <a:pt x="1068" y="1986"/>
                  </a:lnTo>
                  <a:lnTo>
                    <a:pt x="1062" y="1998"/>
                  </a:lnTo>
                  <a:lnTo>
                    <a:pt x="1062" y="2004"/>
                  </a:lnTo>
                  <a:lnTo>
                    <a:pt x="1068" y="2004"/>
                  </a:lnTo>
                  <a:lnTo>
                    <a:pt x="1056" y="2034"/>
                  </a:lnTo>
                  <a:lnTo>
                    <a:pt x="1050" y="2076"/>
                  </a:lnTo>
                  <a:lnTo>
                    <a:pt x="1056" y="2100"/>
                  </a:lnTo>
                  <a:lnTo>
                    <a:pt x="1038" y="2106"/>
                  </a:lnTo>
                  <a:lnTo>
                    <a:pt x="1002" y="2106"/>
                  </a:lnTo>
                  <a:lnTo>
                    <a:pt x="978" y="2094"/>
                  </a:lnTo>
                  <a:lnTo>
                    <a:pt x="972" y="2082"/>
                  </a:lnTo>
                  <a:lnTo>
                    <a:pt x="966" y="2070"/>
                  </a:lnTo>
                  <a:lnTo>
                    <a:pt x="954" y="2064"/>
                  </a:lnTo>
                  <a:lnTo>
                    <a:pt x="942" y="2058"/>
                  </a:lnTo>
                  <a:lnTo>
                    <a:pt x="936" y="2058"/>
                  </a:lnTo>
                  <a:lnTo>
                    <a:pt x="918" y="2046"/>
                  </a:lnTo>
                  <a:lnTo>
                    <a:pt x="906" y="2028"/>
                  </a:lnTo>
                  <a:lnTo>
                    <a:pt x="900" y="2022"/>
                  </a:lnTo>
                  <a:lnTo>
                    <a:pt x="894" y="2022"/>
                  </a:lnTo>
                  <a:lnTo>
                    <a:pt x="882" y="2022"/>
                  </a:lnTo>
                  <a:lnTo>
                    <a:pt x="870" y="2016"/>
                  </a:lnTo>
                  <a:lnTo>
                    <a:pt x="864" y="2016"/>
                  </a:lnTo>
                  <a:lnTo>
                    <a:pt x="852" y="2010"/>
                  </a:lnTo>
                  <a:lnTo>
                    <a:pt x="846" y="2004"/>
                  </a:lnTo>
                  <a:lnTo>
                    <a:pt x="840" y="2004"/>
                  </a:lnTo>
                  <a:lnTo>
                    <a:pt x="828" y="1998"/>
                  </a:lnTo>
                  <a:lnTo>
                    <a:pt x="816" y="1998"/>
                  </a:lnTo>
                  <a:lnTo>
                    <a:pt x="810" y="1998"/>
                  </a:lnTo>
                  <a:lnTo>
                    <a:pt x="804" y="1998"/>
                  </a:lnTo>
                  <a:lnTo>
                    <a:pt x="798" y="1998"/>
                  </a:lnTo>
                  <a:lnTo>
                    <a:pt x="792" y="2004"/>
                  </a:lnTo>
                  <a:lnTo>
                    <a:pt x="786" y="2010"/>
                  </a:lnTo>
                  <a:lnTo>
                    <a:pt x="762" y="2010"/>
                  </a:lnTo>
                  <a:lnTo>
                    <a:pt x="756" y="2010"/>
                  </a:lnTo>
                  <a:lnTo>
                    <a:pt x="744" y="2022"/>
                  </a:lnTo>
                  <a:lnTo>
                    <a:pt x="738" y="2034"/>
                  </a:lnTo>
                  <a:lnTo>
                    <a:pt x="732" y="2040"/>
                  </a:lnTo>
                  <a:lnTo>
                    <a:pt x="732" y="2046"/>
                  </a:lnTo>
                  <a:lnTo>
                    <a:pt x="726" y="2058"/>
                  </a:lnTo>
                  <a:lnTo>
                    <a:pt x="720" y="2064"/>
                  </a:lnTo>
                  <a:lnTo>
                    <a:pt x="714" y="2070"/>
                  </a:lnTo>
                  <a:lnTo>
                    <a:pt x="708" y="2088"/>
                  </a:lnTo>
                  <a:lnTo>
                    <a:pt x="702" y="2100"/>
                  </a:lnTo>
                  <a:lnTo>
                    <a:pt x="690" y="2100"/>
                  </a:lnTo>
                  <a:lnTo>
                    <a:pt x="684" y="2094"/>
                  </a:lnTo>
                  <a:lnTo>
                    <a:pt x="666" y="2100"/>
                  </a:lnTo>
                  <a:lnTo>
                    <a:pt x="636" y="2106"/>
                  </a:lnTo>
                  <a:lnTo>
                    <a:pt x="636" y="2112"/>
                  </a:lnTo>
                  <a:lnTo>
                    <a:pt x="636" y="2118"/>
                  </a:lnTo>
                  <a:lnTo>
                    <a:pt x="636" y="2124"/>
                  </a:lnTo>
                  <a:lnTo>
                    <a:pt x="630" y="2124"/>
                  </a:lnTo>
                  <a:lnTo>
                    <a:pt x="630" y="2148"/>
                  </a:lnTo>
                  <a:lnTo>
                    <a:pt x="612" y="2160"/>
                  </a:lnTo>
                  <a:lnTo>
                    <a:pt x="576" y="2172"/>
                  </a:lnTo>
                  <a:lnTo>
                    <a:pt x="546" y="2172"/>
                  </a:lnTo>
                  <a:lnTo>
                    <a:pt x="516" y="2172"/>
                  </a:lnTo>
                  <a:lnTo>
                    <a:pt x="486" y="2172"/>
                  </a:lnTo>
                  <a:lnTo>
                    <a:pt x="462" y="2172"/>
                  </a:lnTo>
                  <a:lnTo>
                    <a:pt x="444" y="2196"/>
                  </a:lnTo>
                  <a:lnTo>
                    <a:pt x="432" y="2232"/>
                  </a:lnTo>
                  <a:lnTo>
                    <a:pt x="408" y="2238"/>
                  </a:lnTo>
                  <a:lnTo>
                    <a:pt x="390" y="2256"/>
                  </a:lnTo>
                  <a:lnTo>
                    <a:pt x="372" y="2274"/>
                  </a:lnTo>
                  <a:lnTo>
                    <a:pt x="360" y="2274"/>
                  </a:lnTo>
                  <a:lnTo>
                    <a:pt x="336" y="2328"/>
                  </a:lnTo>
                  <a:lnTo>
                    <a:pt x="324" y="2340"/>
                  </a:lnTo>
                  <a:lnTo>
                    <a:pt x="300" y="2346"/>
                  </a:lnTo>
                  <a:lnTo>
                    <a:pt x="294" y="2352"/>
                  </a:lnTo>
                  <a:lnTo>
                    <a:pt x="288" y="2352"/>
                  </a:lnTo>
                  <a:lnTo>
                    <a:pt x="282" y="2352"/>
                  </a:lnTo>
                  <a:lnTo>
                    <a:pt x="276" y="2352"/>
                  </a:lnTo>
                  <a:lnTo>
                    <a:pt x="270" y="2352"/>
                  </a:lnTo>
                  <a:lnTo>
                    <a:pt x="270" y="2346"/>
                  </a:lnTo>
                  <a:lnTo>
                    <a:pt x="264" y="2346"/>
                  </a:lnTo>
                  <a:lnTo>
                    <a:pt x="258" y="2352"/>
                  </a:lnTo>
                  <a:lnTo>
                    <a:pt x="252" y="2352"/>
                  </a:lnTo>
                  <a:lnTo>
                    <a:pt x="240" y="2352"/>
                  </a:lnTo>
                  <a:lnTo>
                    <a:pt x="228" y="2352"/>
                  </a:lnTo>
                  <a:lnTo>
                    <a:pt x="222" y="2352"/>
                  </a:lnTo>
                  <a:lnTo>
                    <a:pt x="216" y="2358"/>
                  </a:lnTo>
                  <a:lnTo>
                    <a:pt x="216" y="2352"/>
                  </a:lnTo>
                  <a:lnTo>
                    <a:pt x="210" y="2346"/>
                  </a:lnTo>
                  <a:lnTo>
                    <a:pt x="204" y="2346"/>
                  </a:lnTo>
                  <a:lnTo>
                    <a:pt x="198" y="2340"/>
                  </a:lnTo>
                  <a:lnTo>
                    <a:pt x="192" y="2340"/>
                  </a:lnTo>
                  <a:lnTo>
                    <a:pt x="186" y="2340"/>
                  </a:lnTo>
                  <a:lnTo>
                    <a:pt x="180" y="2340"/>
                  </a:lnTo>
                  <a:lnTo>
                    <a:pt x="174" y="2340"/>
                  </a:lnTo>
                  <a:lnTo>
                    <a:pt x="162" y="2328"/>
                  </a:lnTo>
                  <a:lnTo>
                    <a:pt x="156" y="2322"/>
                  </a:lnTo>
                  <a:lnTo>
                    <a:pt x="156" y="2316"/>
                  </a:lnTo>
                  <a:lnTo>
                    <a:pt x="156" y="2310"/>
                  </a:lnTo>
                  <a:lnTo>
                    <a:pt x="132" y="2286"/>
                  </a:lnTo>
                  <a:lnTo>
                    <a:pt x="120" y="2280"/>
                  </a:lnTo>
                  <a:lnTo>
                    <a:pt x="96" y="2274"/>
                  </a:lnTo>
                  <a:lnTo>
                    <a:pt x="84" y="2268"/>
                  </a:lnTo>
                  <a:lnTo>
                    <a:pt x="78" y="2268"/>
                  </a:lnTo>
                  <a:lnTo>
                    <a:pt x="78" y="2262"/>
                  </a:lnTo>
                  <a:lnTo>
                    <a:pt x="78" y="2256"/>
                  </a:lnTo>
                  <a:lnTo>
                    <a:pt x="78" y="2250"/>
                  </a:lnTo>
                  <a:lnTo>
                    <a:pt x="72" y="2250"/>
                  </a:lnTo>
                  <a:lnTo>
                    <a:pt x="66" y="2250"/>
                  </a:lnTo>
                  <a:lnTo>
                    <a:pt x="60" y="2250"/>
                  </a:lnTo>
                  <a:lnTo>
                    <a:pt x="48" y="2244"/>
                  </a:lnTo>
                  <a:lnTo>
                    <a:pt x="36" y="2238"/>
                  </a:lnTo>
                  <a:lnTo>
                    <a:pt x="36" y="2226"/>
                  </a:lnTo>
                  <a:lnTo>
                    <a:pt x="30" y="2226"/>
                  </a:lnTo>
                  <a:lnTo>
                    <a:pt x="30" y="2220"/>
                  </a:lnTo>
                  <a:lnTo>
                    <a:pt x="24" y="2208"/>
                  </a:lnTo>
                  <a:lnTo>
                    <a:pt x="18" y="2202"/>
                  </a:lnTo>
                  <a:lnTo>
                    <a:pt x="18" y="2196"/>
                  </a:lnTo>
                  <a:lnTo>
                    <a:pt x="12" y="2190"/>
                  </a:lnTo>
                  <a:lnTo>
                    <a:pt x="0" y="2190"/>
                  </a:lnTo>
                  <a:lnTo>
                    <a:pt x="6" y="2184"/>
                  </a:lnTo>
                  <a:lnTo>
                    <a:pt x="12" y="2178"/>
                  </a:lnTo>
                  <a:lnTo>
                    <a:pt x="18" y="2172"/>
                  </a:lnTo>
                  <a:lnTo>
                    <a:pt x="24" y="2166"/>
                  </a:lnTo>
                  <a:lnTo>
                    <a:pt x="30" y="2166"/>
                  </a:lnTo>
                  <a:lnTo>
                    <a:pt x="24" y="2160"/>
                  </a:lnTo>
                  <a:lnTo>
                    <a:pt x="30" y="2160"/>
                  </a:lnTo>
                  <a:lnTo>
                    <a:pt x="36" y="2154"/>
                  </a:lnTo>
                  <a:lnTo>
                    <a:pt x="36" y="2136"/>
                  </a:lnTo>
                  <a:lnTo>
                    <a:pt x="36" y="2118"/>
                  </a:lnTo>
                  <a:lnTo>
                    <a:pt x="48" y="2058"/>
                  </a:lnTo>
                  <a:lnTo>
                    <a:pt x="48" y="2022"/>
                  </a:lnTo>
                  <a:lnTo>
                    <a:pt x="48" y="2016"/>
                  </a:lnTo>
                  <a:lnTo>
                    <a:pt x="48" y="2010"/>
                  </a:lnTo>
                  <a:lnTo>
                    <a:pt x="48" y="2004"/>
                  </a:lnTo>
                  <a:lnTo>
                    <a:pt x="42" y="2004"/>
                  </a:lnTo>
                  <a:lnTo>
                    <a:pt x="42" y="1998"/>
                  </a:lnTo>
                  <a:lnTo>
                    <a:pt x="36" y="1992"/>
                  </a:lnTo>
                  <a:lnTo>
                    <a:pt x="42" y="1992"/>
                  </a:lnTo>
                  <a:lnTo>
                    <a:pt x="42" y="1986"/>
                  </a:lnTo>
                  <a:lnTo>
                    <a:pt x="48" y="1986"/>
                  </a:lnTo>
                  <a:lnTo>
                    <a:pt x="54" y="1986"/>
                  </a:lnTo>
                  <a:lnTo>
                    <a:pt x="60" y="1986"/>
                  </a:lnTo>
                  <a:lnTo>
                    <a:pt x="66" y="1980"/>
                  </a:lnTo>
                  <a:lnTo>
                    <a:pt x="72" y="1974"/>
                  </a:lnTo>
                  <a:lnTo>
                    <a:pt x="78" y="1974"/>
                  </a:lnTo>
                  <a:lnTo>
                    <a:pt x="84" y="1974"/>
                  </a:lnTo>
                  <a:lnTo>
                    <a:pt x="90" y="1974"/>
                  </a:lnTo>
                  <a:lnTo>
                    <a:pt x="96" y="1974"/>
                  </a:lnTo>
                  <a:lnTo>
                    <a:pt x="96" y="1968"/>
                  </a:lnTo>
                  <a:lnTo>
                    <a:pt x="102" y="1968"/>
                  </a:lnTo>
                  <a:lnTo>
                    <a:pt x="102" y="1962"/>
                  </a:lnTo>
                  <a:lnTo>
                    <a:pt x="108" y="1962"/>
                  </a:lnTo>
                  <a:lnTo>
                    <a:pt x="114" y="1956"/>
                  </a:lnTo>
                  <a:lnTo>
                    <a:pt x="120" y="1956"/>
                  </a:lnTo>
                  <a:lnTo>
                    <a:pt x="126" y="1950"/>
                  </a:lnTo>
                  <a:lnTo>
                    <a:pt x="132" y="1950"/>
                  </a:lnTo>
                  <a:lnTo>
                    <a:pt x="132" y="1944"/>
                  </a:lnTo>
                  <a:lnTo>
                    <a:pt x="126" y="1944"/>
                  </a:lnTo>
                  <a:lnTo>
                    <a:pt x="126" y="1938"/>
                  </a:lnTo>
                  <a:lnTo>
                    <a:pt x="126" y="1932"/>
                  </a:lnTo>
                  <a:lnTo>
                    <a:pt x="126" y="1926"/>
                  </a:lnTo>
                  <a:lnTo>
                    <a:pt x="114" y="1914"/>
                  </a:lnTo>
                  <a:lnTo>
                    <a:pt x="114" y="1896"/>
                  </a:lnTo>
                  <a:lnTo>
                    <a:pt x="108" y="1884"/>
                  </a:lnTo>
                  <a:lnTo>
                    <a:pt x="102" y="1872"/>
                  </a:lnTo>
                  <a:lnTo>
                    <a:pt x="96" y="1866"/>
                  </a:lnTo>
                  <a:lnTo>
                    <a:pt x="96" y="1860"/>
                  </a:lnTo>
                  <a:lnTo>
                    <a:pt x="90" y="1860"/>
                  </a:lnTo>
                  <a:lnTo>
                    <a:pt x="90" y="1854"/>
                  </a:lnTo>
                  <a:lnTo>
                    <a:pt x="84" y="1848"/>
                  </a:lnTo>
                  <a:lnTo>
                    <a:pt x="78" y="1842"/>
                  </a:lnTo>
                  <a:lnTo>
                    <a:pt x="72" y="1836"/>
                  </a:lnTo>
                  <a:lnTo>
                    <a:pt x="66" y="1830"/>
                  </a:lnTo>
                  <a:lnTo>
                    <a:pt x="60" y="1824"/>
                  </a:lnTo>
                  <a:lnTo>
                    <a:pt x="54" y="1824"/>
                  </a:lnTo>
                  <a:lnTo>
                    <a:pt x="48" y="1824"/>
                  </a:lnTo>
                  <a:lnTo>
                    <a:pt x="42" y="1818"/>
                  </a:lnTo>
                  <a:lnTo>
                    <a:pt x="54" y="1818"/>
                  </a:lnTo>
                  <a:lnTo>
                    <a:pt x="60" y="1812"/>
                  </a:lnTo>
                  <a:lnTo>
                    <a:pt x="66" y="1812"/>
                  </a:lnTo>
                  <a:lnTo>
                    <a:pt x="72" y="1812"/>
                  </a:lnTo>
                  <a:lnTo>
                    <a:pt x="78" y="1812"/>
                  </a:lnTo>
                  <a:lnTo>
                    <a:pt x="84" y="1812"/>
                  </a:lnTo>
                  <a:lnTo>
                    <a:pt x="90" y="1806"/>
                  </a:lnTo>
                  <a:lnTo>
                    <a:pt x="96" y="1800"/>
                  </a:lnTo>
                  <a:lnTo>
                    <a:pt x="102" y="1806"/>
                  </a:lnTo>
                  <a:lnTo>
                    <a:pt x="108" y="1800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26" y="1788"/>
                  </a:lnTo>
                  <a:lnTo>
                    <a:pt x="126" y="1794"/>
                  </a:lnTo>
                  <a:lnTo>
                    <a:pt x="132" y="1794"/>
                  </a:lnTo>
                  <a:lnTo>
                    <a:pt x="132" y="1788"/>
                  </a:lnTo>
                  <a:lnTo>
                    <a:pt x="138" y="1788"/>
                  </a:lnTo>
                  <a:lnTo>
                    <a:pt x="138" y="1782"/>
                  </a:lnTo>
                  <a:lnTo>
                    <a:pt x="144" y="1782"/>
                  </a:lnTo>
                  <a:lnTo>
                    <a:pt x="150" y="1776"/>
                  </a:lnTo>
                  <a:lnTo>
                    <a:pt x="156" y="1782"/>
                  </a:lnTo>
                  <a:lnTo>
                    <a:pt x="162" y="1776"/>
                  </a:lnTo>
                  <a:lnTo>
                    <a:pt x="168" y="1776"/>
                  </a:lnTo>
                  <a:lnTo>
                    <a:pt x="180" y="1776"/>
                  </a:lnTo>
                  <a:lnTo>
                    <a:pt x="186" y="1776"/>
                  </a:lnTo>
                  <a:lnTo>
                    <a:pt x="186" y="1782"/>
                  </a:lnTo>
                  <a:lnTo>
                    <a:pt x="192" y="1776"/>
                  </a:lnTo>
                  <a:lnTo>
                    <a:pt x="198" y="1776"/>
                  </a:lnTo>
                  <a:lnTo>
                    <a:pt x="204" y="1770"/>
                  </a:lnTo>
                  <a:lnTo>
                    <a:pt x="204" y="1764"/>
                  </a:lnTo>
                  <a:lnTo>
                    <a:pt x="210" y="1764"/>
                  </a:lnTo>
                  <a:lnTo>
                    <a:pt x="216" y="1764"/>
                  </a:lnTo>
                  <a:lnTo>
                    <a:pt x="216" y="1758"/>
                  </a:lnTo>
                  <a:lnTo>
                    <a:pt x="222" y="1758"/>
                  </a:lnTo>
                  <a:lnTo>
                    <a:pt x="228" y="1758"/>
                  </a:lnTo>
                  <a:lnTo>
                    <a:pt x="258" y="1746"/>
                  </a:lnTo>
                  <a:lnTo>
                    <a:pt x="282" y="1716"/>
                  </a:lnTo>
                  <a:lnTo>
                    <a:pt x="300" y="1698"/>
                  </a:lnTo>
                  <a:lnTo>
                    <a:pt x="312" y="1698"/>
                  </a:lnTo>
                  <a:lnTo>
                    <a:pt x="336" y="1698"/>
                  </a:lnTo>
                  <a:lnTo>
                    <a:pt x="360" y="1698"/>
                  </a:lnTo>
                  <a:lnTo>
                    <a:pt x="372" y="1692"/>
                  </a:lnTo>
                  <a:lnTo>
                    <a:pt x="384" y="1692"/>
                  </a:lnTo>
                  <a:lnTo>
                    <a:pt x="360" y="1668"/>
                  </a:lnTo>
                  <a:lnTo>
                    <a:pt x="348" y="1626"/>
                  </a:lnTo>
                  <a:lnTo>
                    <a:pt x="354" y="1578"/>
                  </a:lnTo>
                  <a:lnTo>
                    <a:pt x="354" y="1572"/>
                  </a:lnTo>
                  <a:lnTo>
                    <a:pt x="360" y="1572"/>
                  </a:lnTo>
                  <a:lnTo>
                    <a:pt x="396" y="1530"/>
                  </a:lnTo>
                  <a:lnTo>
                    <a:pt x="408" y="1482"/>
                  </a:lnTo>
                  <a:lnTo>
                    <a:pt x="438" y="1458"/>
                  </a:lnTo>
                  <a:lnTo>
                    <a:pt x="468" y="1422"/>
                  </a:lnTo>
                  <a:lnTo>
                    <a:pt x="480" y="1410"/>
                  </a:lnTo>
                  <a:lnTo>
                    <a:pt x="474" y="1386"/>
                  </a:lnTo>
                  <a:lnTo>
                    <a:pt x="456" y="1356"/>
                  </a:lnTo>
                  <a:lnTo>
                    <a:pt x="438" y="1350"/>
                  </a:lnTo>
                  <a:lnTo>
                    <a:pt x="420" y="1350"/>
                  </a:lnTo>
                  <a:lnTo>
                    <a:pt x="402" y="1350"/>
                  </a:lnTo>
                  <a:lnTo>
                    <a:pt x="390" y="1344"/>
                  </a:lnTo>
                  <a:lnTo>
                    <a:pt x="390" y="1332"/>
                  </a:lnTo>
                  <a:lnTo>
                    <a:pt x="402" y="1296"/>
                  </a:lnTo>
                  <a:lnTo>
                    <a:pt x="414" y="1260"/>
                  </a:lnTo>
                  <a:lnTo>
                    <a:pt x="426" y="1248"/>
                  </a:lnTo>
                  <a:lnTo>
                    <a:pt x="438" y="1242"/>
                  </a:lnTo>
                  <a:lnTo>
                    <a:pt x="432" y="1230"/>
                  </a:lnTo>
                  <a:lnTo>
                    <a:pt x="432" y="1224"/>
                  </a:lnTo>
                  <a:lnTo>
                    <a:pt x="426" y="1218"/>
                  </a:lnTo>
                  <a:lnTo>
                    <a:pt x="426" y="1206"/>
                  </a:lnTo>
                  <a:lnTo>
                    <a:pt x="426" y="1200"/>
                  </a:lnTo>
                  <a:lnTo>
                    <a:pt x="432" y="1194"/>
                  </a:lnTo>
                  <a:lnTo>
                    <a:pt x="426" y="1188"/>
                  </a:lnTo>
                  <a:lnTo>
                    <a:pt x="432" y="1104"/>
                  </a:lnTo>
                  <a:lnTo>
                    <a:pt x="438" y="1086"/>
                  </a:lnTo>
                  <a:lnTo>
                    <a:pt x="462" y="972"/>
                  </a:lnTo>
                  <a:lnTo>
                    <a:pt x="456" y="900"/>
                  </a:lnTo>
                  <a:lnTo>
                    <a:pt x="444" y="846"/>
                  </a:lnTo>
                  <a:lnTo>
                    <a:pt x="456" y="810"/>
                  </a:lnTo>
                  <a:lnTo>
                    <a:pt x="492" y="786"/>
                  </a:lnTo>
                  <a:lnTo>
                    <a:pt x="522" y="762"/>
                  </a:lnTo>
                  <a:lnTo>
                    <a:pt x="546" y="732"/>
                  </a:lnTo>
                  <a:lnTo>
                    <a:pt x="570" y="696"/>
                  </a:lnTo>
                  <a:lnTo>
                    <a:pt x="582" y="654"/>
                  </a:lnTo>
                  <a:lnTo>
                    <a:pt x="564" y="642"/>
                  </a:lnTo>
                  <a:lnTo>
                    <a:pt x="522" y="588"/>
                  </a:lnTo>
                  <a:lnTo>
                    <a:pt x="516" y="546"/>
                  </a:lnTo>
                  <a:lnTo>
                    <a:pt x="510" y="474"/>
                  </a:lnTo>
                  <a:lnTo>
                    <a:pt x="510" y="450"/>
                  </a:lnTo>
                  <a:lnTo>
                    <a:pt x="510" y="444"/>
                  </a:lnTo>
                  <a:lnTo>
                    <a:pt x="522" y="438"/>
                  </a:lnTo>
                  <a:lnTo>
                    <a:pt x="522" y="432"/>
                  </a:lnTo>
                  <a:lnTo>
                    <a:pt x="528" y="426"/>
                  </a:lnTo>
                  <a:lnTo>
                    <a:pt x="534" y="420"/>
                  </a:lnTo>
                  <a:lnTo>
                    <a:pt x="540" y="414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08"/>
                  </a:lnTo>
                  <a:lnTo>
                    <a:pt x="546" y="408"/>
                  </a:lnTo>
                  <a:lnTo>
                    <a:pt x="558" y="414"/>
                  </a:lnTo>
                  <a:lnTo>
                    <a:pt x="564" y="414"/>
                  </a:lnTo>
                  <a:lnTo>
                    <a:pt x="570" y="414"/>
                  </a:lnTo>
                  <a:lnTo>
                    <a:pt x="582" y="414"/>
                  </a:lnTo>
                  <a:lnTo>
                    <a:pt x="582" y="420"/>
                  </a:lnTo>
                  <a:lnTo>
                    <a:pt x="588" y="414"/>
                  </a:lnTo>
                  <a:lnTo>
                    <a:pt x="582" y="408"/>
                  </a:lnTo>
                  <a:lnTo>
                    <a:pt x="588" y="402"/>
                  </a:lnTo>
                  <a:lnTo>
                    <a:pt x="594" y="402"/>
                  </a:lnTo>
                  <a:lnTo>
                    <a:pt x="594" y="396"/>
                  </a:lnTo>
                  <a:lnTo>
                    <a:pt x="594" y="390"/>
                  </a:lnTo>
                  <a:lnTo>
                    <a:pt x="594" y="384"/>
                  </a:lnTo>
                  <a:lnTo>
                    <a:pt x="594" y="378"/>
                  </a:lnTo>
                  <a:lnTo>
                    <a:pt x="600" y="366"/>
                  </a:lnTo>
                  <a:lnTo>
                    <a:pt x="606" y="366"/>
                  </a:lnTo>
                  <a:lnTo>
                    <a:pt x="612" y="360"/>
                  </a:lnTo>
                  <a:lnTo>
                    <a:pt x="612" y="366"/>
                  </a:lnTo>
                  <a:lnTo>
                    <a:pt x="618" y="366"/>
                  </a:lnTo>
                  <a:lnTo>
                    <a:pt x="624" y="366"/>
                  </a:lnTo>
                  <a:lnTo>
                    <a:pt x="630" y="360"/>
                  </a:lnTo>
                  <a:lnTo>
                    <a:pt x="636" y="354"/>
                  </a:lnTo>
                  <a:lnTo>
                    <a:pt x="630" y="354"/>
                  </a:lnTo>
                  <a:lnTo>
                    <a:pt x="630" y="348"/>
                  </a:lnTo>
                  <a:lnTo>
                    <a:pt x="630" y="342"/>
                  </a:lnTo>
                  <a:lnTo>
                    <a:pt x="636" y="342"/>
                  </a:lnTo>
                  <a:lnTo>
                    <a:pt x="642" y="336"/>
                  </a:lnTo>
                  <a:lnTo>
                    <a:pt x="636" y="330"/>
                  </a:lnTo>
                  <a:lnTo>
                    <a:pt x="630" y="336"/>
                  </a:lnTo>
                  <a:lnTo>
                    <a:pt x="624" y="336"/>
                  </a:lnTo>
                  <a:lnTo>
                    <a:pt x="624" y="330"/>
                  </a:lnTo>
                  <a:lnTo>
                    <a:pt x="624" y="324"/>
                  </a:lnTo>
                  <a:lnTo>
                    <a:pt x="618" y="324"/>
                  </a:lnTo>
                  <a:lnTo>
                    <a:pt x="624" y="324"/>
                  </a:lnTo>
                  <a:lnTo>
                    <a:pt x="630" y="330"/>
                  </a:lnTo>
                  <a:lnTo>
                    <a:pt x="630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2" y="306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8" y="288"/>
                  </a:lnTo>
                  <a:lnTo>
                    <a:pt x="648" y="282"/>
                  </a:lnTo>
                  <a:lnTo>
                    <a:pt x="654" y="288"/>
                  </a:lnTo>
                  <a:lnTo>
                    <a:pt x="654" y="282"/>
                  </a:lnTo>
                  <a:lnTo>
                    <a:pt x="660" y="282"/>
                  </a:lnTo>
                  <a:lnTo>
                    <a:pt x="666" y="282"/>
                  </a:lnTo>
                  <a:lnTo>
                    <a:pt x="672" y="282"/>
                  </a:lnTo>
                  <a:lnTo>
                    <a:pt x="678" y="282"/>
                  </a:lnTo>
                  <a:lnTo>
                    <a:pt x="684" y="276"/>
                  </a:lnTo>
                  <a:lnTo>
                    <a:pt x="690" y="270"/>
                  </a:lnTo>
                  <a:lnTo>
                    <a:pt x="690" y="264"/>
                  </a:lnTo>
                  <a:lnTo>
                    <a:pt x="690" y="270"/>
                  </a:lnTo>
                  <a:lnTo>
                    <a:pt x="690" y="276"/>
                  </a:lnTo>
                  <a:lnTo>
                    <a:pt x="696" y="276"/>
                  </a:lnTo>
                  <a:lnTo>
                    <a:pt x="702" y="276"/>
                  </a:lnTo>
                  <a:lnTo>
                    <a:pt x="702" y="282"/>
                  </a:lnTo>
                  <a:lnTo>
                    <a:pt x="708" y="282"/>
                  </a:lnTo>
                  <a:lnTo>
                    <a:pt x="720" y="270"/>
                  </a:lnTo>
                  <a:lnTo>
                    <a:pt x="720" y="264"/>
                  </a:lnTo>
                  <a:lnTo>
                    <a:pt x="720" y="258"/>
                  </a:lnTo>
                  <a:lnTo>
                    <a:pt x="726" y="258"/>
                  </a:lnTo>
                  <a:lnTo>
                    <a:pt x="732" y="258"/>
                  </a:lnTo>
                  <a:lnTo>
                    <a:pt x="732" y="264"/>
                  </a:lnTo>
                  <a:lnTo>
                    <a:pt x="738" y="264"/>
                  </a:lnTo>
                  <a:lnTo>
                    <a:pt x="738" y="258"/>
                  </a:lnTo>
                  <a:lnTo>
                    <a:pt x="732" y="258"/>
                  </a:lnTo>
                  <a:lnTo>
                    <a:pt x="732" y="252"/>
                  </a:lnTo>
                  <a:lnTo>
                    <a:pt x="744" y="252"/>
                  </a:lnTo>
                  <a:lnTo>
                    <a:pt x="750" y="252"/>
                  </a:lnTo>
                  <a:lnTo>
                    <a:pt x="750" y="246"/>
                  </a:lnTo>
                  <a:lnTo>
                    <a:pt x="750" y="240"/>
                  </a:lnTo>
                  <a:lnTo>
                    <a:pt x="762" y="234"/>
                  </a:lnTo>
                  <a:lnTo>
                    <a:pt x="768" y="234"/>
                  </a:lnTo>
                  <a:lnTo>
                    <a:pt x="774" y="234"/>
                  </a:lnTo>
                  <a:lnTo>
                    <a:pt x="780" y="228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16"/>
                  </a:lnTo>
                  <a:lnTo>
                    <a:pt x="792" y="210"/>
                  </a:lnTo>
                  <a:lnTo>
                    <a:pt x="804" y="204"/>
                  </a:lnTo>
                  <a:lnTo>
                    <a:pt x="804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0" y="192"/>
                  </a:lnTo>
                  <a:lnTo>
                    <a:pt x="798" y="186"/>
                  </a:lnTo>
                  <a:lnTo>
                    <a:pt x="810" y="186"/>
                  </a:lnTo>
                  <a:lnTo>
                    <a:pt x="810" y="180"/>
                  </a:lnTo>
                  <a:lnTo>
                    <a:pt x="810" y="186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0" y="180"/>
                  </a:lnTo>
                  <a:lnTo>
                    <a:pt x="816" y="174"/>
                  </a:lnTo>
                  <a:lnTo>
                    <a:pt x="822" y="174"/>
                  </a:lnTo>
                  <a:lnTo>
                    <a:pt x="822" y="180"/>
                  </a:lnTo>
                  <a:lnTo>
                    <a:pt x="828" y="180"/>
                  </a:lnTo>
                  <a:lnTo>
                    <a:pt x="828" y="174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62"/>
                  </a:lnTo>
                  <a:lnTo>
                    <a:pt x="828" y="156"/>
                  </a:lnTo>
                  <a:lnTo>
                    <a:pt x="822" y="156"/>
                  </a:lnTo>
                  <a:lnTo>
                    <a:pt x="828" y="156"/>
                  </a:lnTo>
                  <a:lnTo>
                    <a:pt x="828" y="150"/>
                  </a:lnTo>
                  <a:lnTo>
                    <a:pt x="834" y="150"/>
                  </a:lnTo>
                  <a:lnTo>
                    <a:pt x="840" y="156"/>
                  </a:lnTo>
                  <a:lnTo>
                    <a:pt x="840" y="150"/>
                  </a:lnTo>
                  <a:lnTo>
                    <a:pt x="834" y="150"/>
                  </a:lnTo>
                  <a:lnTo>
                    <a:pt x="834" y="144"/>
                  </a:lnTo>
                  <a:lnTo>
                    <a:pt x="840" y="138"/>
                  </a:lnTo>
                  <a:lnTo>
                    <a:pt x="846" y="144"/>
                  </a:lnTo>
                  <a:lnTo>
                    <a:pt x="846" y="150"/>
                  </a:lnTo>
                  <a:lnTo>
                    <a:pt x="852" y="150"/>
                  </a:lnTo>
                  <a:lnTo>
                    <a:pt x="858" y="150"/>
                  </a:lnTo>
                  <a:lnTo>
                    <a:pt x="870" y="150"/>
                  </a:lnTo>
                  <a:lnTo>
                    <a:pt x="870" y="144"/>
                  </a:lnTo>
                  <a:lnTo>
                    <a:pt x="876" y="138"/>
                  </a:lnTo>
                  <a:lnTo>
                    <a:pt x="882" y="138"/>
                  </a:lnTo>
                  <a:lnTo>
                    <a:pt x="888" y="132"/>
                  </a:lnTo>
                  <a:lnTo>
                    <a:pt x="888" y="138"/>
                  </a:lnTo>
                  <a:lnTo>
                    <a:pt x="894" y="138"/>
                  </a:lnTo>
                  <a:lnTo>
                    <a:pt x="894" y="132"/>
                  </a:lnTo>
                  <a:lnTo>
                    <a:pt x="900" y="126"/>
                  </a:lnTo>
                  <a:lnTo>
                    <a:pt x="900" y="132"/>
                  </a:lnTo>
                  <a:lnTo>
                    <a:pt x="906" y="132"/>
                  </a:lnTo>
                  <a:lnTo>
                    <a:pt x="912" y="132"/>
                  </a:lnTo>
                  <a:lnTo>
                    <a:pt x="918" y="126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24" y="126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8" y="120"/>
                  </a:lnTo>
                  <a:lnTo>
                    <a:pt x="948" y="114"/>
                  </a:lnTo>
                  <a:lnTo>
                    <a:pt x="948" y="108"/>
                  </a:lnTo>
                  <a:lnTo>
                    <a:pt x="954" y="114"/>
                  </a:lnTo>
                  <a:lnTo>
                    <a:pt x="960" y="108"/>
                  </a:lnTo>
                  <a:lnTo>
                    <a:pt x="966" y="108"/>
                  </a:lnTo>
                  <a:lnTo>
                    <a:pt x="972" y="108"/>
                  </a:lnTo>
                  <a:lnTo>
                    <a:pt x="966" y="114"/>
                  </a:lnTo>
                  <a:lnTo>
                    <a:pt x="960" y="114"/>
                  </a:lnTo>
                  <a:lnTo>
                    <a:pt x="960" y="120"/>
                  </a:lnTo>
                  <a:lnTo>
                    <a:pt x="966" y="126"/>
                  </a:lnTo>
                  <a:lnTo>
                    <a:pt x="972" y="126"/>
                  </a:lnTo>
                  <a:lnTo>
                    <a:pt x="978" y="126"/>
                  </a:lnTo>
                  <a:lnTo>
                    <a:pt x="984" y="120"/>
                  </a:lnTo>
                  <a:lnTo>
                    <a:pt x="984" y="114"/>
                  </a:lnTo>
                  <a:lnTo>
                    <a:pt x="996" y="126"/>
                  </a:lnTo>
                  <a:lnTo>
                    <a:pt x="996" y="120"/>
                  </a:lnTo>
                  <a:lnTo>
                    <a:pt x="1002" y="120"/>
                  </a:lnTo>
                  <a:lnTo>
                    <a:pt x="996" y="114"/>
                  </a:lnTo>
                  <a:lnTo>
                    <a:pt x="1002" y="114"/>
                  </a:lnTo>
                  <a:lnTo>
                    <a:pt x="1008" y="114"/>
                  </a:lnTo>
                  <a:lnTo>
                    <a:pt x="1008" y="108"/>
                  </a:lnTo>
                  <a:lnTo>
                    <a:pt x="1014" y="108"/>
                  </a:lnTo>
                  <a:lnTo>
                    <a:pt x="1008" y="114"/>
                  </a:lnTo>
                  <a:lnTo>
                    <a:pt x="1008" y="120"/>
                  </a:lnTo>
                  <a:lnTo>
                    <a:pt x="1008" y="126"/>
                  </a:lnTo>
                  <a:lnTo>
                    <a:pt x="1014" y="126"/>
                  </a:lnTo>
                  <a:lnTo>
                    <a:pt x="1014" y="132"/>
                  </a:lnTo>
                  <a:lnTo>
                    <a:pt x="1020" y="132"/>
                  </a:lnTo>
                  <a:lnTo>
                    <a:pt x="1020" y="126"/>
                  </a:lnTo>
                  <a:lnTo>
                    <a:pt x="1020" y="120"/>
                  </a:lnTo>
                  <a:lnTo>
                    <a:pt x="1032" y="120"/>
                  </a:lnTo>
                  <a:lnTo>
                    <a:pt x="1038" y="120"/>
                  </a:lnTo>
                  <a:lnTo>
                    <a:pt x="1038" y="126"/>
                  </a:lnTo>
                  <a:lnTo>
                    <a:pt x="1044" y="132"/>
                  </a:lnTo>
                  <a:lnTo>
                    <a:pt x="1044" y="126"/>
                  </a:lnTo>
                  <a:lnTo>
                    <a:pt x="1050" y="120"/>
                  </a:lnTo>
                  <a:lnTo>
                    <a:pt x="1050" y="114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68" y="102"/>
                  </a:lnTo>
                  <a:lnTo>
                    <a:pt x="1074" y="96"/>
                  </a:lnTo>
                  <a:lnTo>
                    <a:pt x="1074" y="90"/>
                  </a:lnTo>
                  <a:lnTo>
                    <a:pt x="1068" y="90"/>
                  </a:lnTo>
                  <a:lnTo>
                    <a:pt x="1068" y="84"/>
                  </a:lnTo>
                  <a:lnTo>
                    <a:pt x="1080" y="84"/>
                  </a:lnTo>
                  <a:lnTo>
                    <a:pt x="1086" y="78"/>
                  </a:lnTo>
                  <a:lnTo>
                    <a:pt x="1086" y="72"/>
                  </a:lnTo>
                  <a:lnTo>
                    <a:pt x="1080" y="78"/>
                  </a:lnTo>
                  <a:lnTo>
                    <a:pt x="1080" y="72"/>
                  </a:lnTo>
                  <a:lnTo>
                    <a:pt x="1080" y="66"/>
                  </a:lnTo>
                  <a:lnTo>
                    <a:pt x="1074" y="66"/>
                  </a:lnTo>
                  <a:lnTo>
                    <a:pt x="1080" y="66"/>
                  </a:lnTo>
                  <a:lnTo>
                    <a:pt x="1080" y="60"/>
                  </a:lnTo>
                  <a:lnTo>
                    <a:pt x="1086" y="60"/>
                  </a:lnTo>
                  <a:lnTo>
                    <a:pt x="1086" y="54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2" y="42"/>
                  </a:lnTo>
                  <a:lnTo>
                    <a:pt x="1098" y="42"/>
                  </a:lnTo>
                  <a:lnTo>
                    <a:pt x="1104" y="36"/>
                  </a:lnTo>
                  <a:lnTo>
                    <a:pt x="1110" y="36"/>
                  </a:lnTo>
                  <a:lnTo>
                    <a:pt x="1110" y="30"/>
                  </a:lnTo>
                  <a:lnTo>
                    <a:pt x="1110" y="24"/>
                  </a:lnTo>
                  <a:lnTo>
                    <a:pt x="1116" y="24"/>
                  </a:lnTo>
                  <a:lnTo>
                    <a:pt x="1116" y="18"/>
                  </a:lnTo>
                  <a:lnTo>
                    <a:pt x="1122" y="18"/>
                  </a:lnTo>
                  <a:lnTo>
                    <a:pt x="1128" y="18"/>
                  </a:lnTo>
                  <a:lnTo>
                    <a:pt x="1134" y="12"/>
                  </a:lnTo>
                  <a:lnTo>
                    <a:pt x="1134" y="6"/>
                  </a:lnTo>
                  <a:lnTo>
                    <a:pt x="1140" y="6"/>
                  </a:lnTo>
                  <a:lnTo>
                    <a:pt x="1146" y="0"/>
                  </a:lnTo>
                  <a:lnTo>
                    <a:pt x="1152" y="0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70" y="0"/>
                  </a:lnTo>
                  <a:lnTo>
                    <a:pt x="1176" y="6"/>
                  </a:lnTo>
                  <a:lnTo>
                    <a:pt x="1182" y="6"/>
                  </a:lnTo>
                  <a:lnTo>
                    <a:pt x="1194" y="6"/>
                  </a:lnTo>
                  <a:lnTo>
                    <a:pt x="1200" y="6"/>
                  </a:lnTo>
                  <a:lnTo>
                    <a:pt x="1212" y="0"/>
                  </a:lnTo>
                  <a:lnTo>
                    <a:pt x="1212" y="6"/>
                  </a:lnTo>
                  <a:lnTo>
                    <a:pt x="1218" y="6"/>
                  </a:lnTo>
                  <a:lnTo>
                    <a:pt x="1266" y="6"/>
                  </a:lnTo>
                  <a:lnTo>
                    <a:pt x="1272" y="0"/>
                  </a:lnTo>
                  <a:lnTo>
                    <a:pt x="1278" y="6"/>
                  </a:lnTo>
                  <a:lnTo>
                    <a:pt x="1290" y="6"/>
                  </a:lnTo>
                  <a:lnTo>
                    <a:pt x="1296" y="6"/>
                  </a:lnTo>
                  <a:lnTo>
                    <a:pt x="1308" y="6"/>
                  </a:lnTo>
                  <a:lnTo>
                    <a:pt x="1314" y="6"/>
                  </a:lnTo>
                  <a:lnTo>
                    <a:pt x="1320" y="6"/>
                  </a:lnTo>
                  <a:lnTo>
                    <a:pt x="1326" y="12"/>
                  </a:lnTo>
                  <a:lnTo>
                    <a:pt x="1338" y="30"/>
                  </a:lnTo>
                  <a:lnTo>
                    <a:pt x="1344" y="36"/>
                  </a:lnTo>
                  <a:lnTo>
                    <a:pt x="1356" y="48"/>
                  </a:lnTo>
                  <a:lnTo>
                    <a:pt x="1362" y="60"/>
                  </a:lnTo>
                  <a:lnTo>
                    <a:pt x="1368" y="66"/>
                  </a:lnTo>
                  <a:lnTo>
                    <a:pt x="1374" y="72"/>
                  </a:lnTo>
                  <a:lnTo>
                    <a:pt x="1374" y="78"/>
                  </a:lnTo>
                  <a:lnTo>
                    <a:pt x="1398" y="108"/>
                  </a:lnTo>
                  <a:lnTo>
                    <a:pt x="1398" y="114"/>
                  </a:lnTo>
                  <a:lnTo>
                    <a:pt x="1404" y="114"/>
                  </a:lnTo>
                  <a:lnTo>
                    <a:pt x="1404" y="120"/>
                  </a:lnTo>
                  <a:lnTo>
                    <a:pt x="1410" y="132"/>
                  </a:lnTo>
                  <a:lnTo>
                    <a:pt x="1416" y="132"/>
                  </a:lnTo>
                  <a:lnTo>
                    <a:pt x="1416" y="138"/>
                  </a:lnTo>
                  <a:lnTo>
                    <a:pt x="1422" y="144"/>
                  </a:lnTo>
                  <a:lnTo>
                    <a:pt x="1428" y="150"/>
                  </a:lnTo>
                  <a:lnTo>
                    <a:pt x="1428" y="156"/>
                  </a:lnTo>
                  <a:lnTo>
                    <a:pt x="1458" y="192"/>
                  </a:lnTo>
                  <a:lnTo>
                    <a:pt x="1458" y="198"/>
                  </a:lnTo>
                  <a:lnTo>
                    <a:pt x="1464" y="204"/>
                  </a:lnTo>
                  <a:lnTo>
                    <a:pt x="1470" y="210"/>
                  </a:lnTo>
                  <a:lnTo>
                    <a:pt x="1476" y="216"/>
                  </a:lnTo>
                  <a:lnTo>
                    <a:pt x="1482" y="228"/>
                  </a:lnTo>
                  <a:lnTo>
                    <a:pt x="1488" y="234"/>
                  </a:lnTo>
                  <a:lnTo>
                    <a:pt x="1512" y="270"/>
                  </a:lnTo>
                  <a:lnTo>
                    <a:pt x="1512" y="276"/>
                  </a:lnTo>
                  <a:lnTo>
                    <a:pt x="1530" y="300"/>
                  </a:lnTo>
                  <a:lnTo>
                    <a:pt x="1536" y="306"/>
                  </a:lnTo>
                  <a:lnTo>
                    <a:pt x="1542" y="312"/>
                  </a:lnTo>
                  <a:lnTo>
                    <a:pt x="1542" y="318"/>
                  </a:lnTo>
                  <a:lnTo>
                    <a:pt x="1560" y="336"/>
                  </a:lnTo>
                  <a:lnTo>
                    <a:pt x="1566" y="348"/>
                  </a:lnTo>
                  <a:lnTo>
                    <a:pt x="1572" y="354"/>
                  </a:lnTo>
                  <a:lnTo>
                    <a:pt x="1578" y="360"/>
                  </a:lnTo>
                  <a:lnTo>
                    <a:pt x="1584" y="378"/>
                  </a:lnTo>
                  <a:lnTo>
                    <a:pt x="1590" y="378"/>
                  </a:lnTo>
                  <a:lnTo>
                    <a:pt x="1596" y="390"/>
                  </a:lnTo>
                  <a:lnTo>
                    <a:pt x="1602" y="396"/>
                  </a:lnTo>
                  <a:lnTo>
                    <a:pt x="1608" y="408"/>
                  </a:lnTo>
                  <a:lnTo>
                    <a:pt x="1614" y="408"/>
                  </a:lnTo>
                  <a:lnTo>
                    <a:pt x="1614" y="432"/>
                  </a:lnTo>
                  <a:lnTo>
                    <a:pt x="1620" y="438"/>
                  </a:lnTo>
                  <a:lnTo>
                    <a:pt x="1620" y="450"/>
                  </a:lnTo>
                  <a:lnTo>
                    <a:pt x="1620" y="462"/>
                  </a:lnTo>
                  <a:lnTo>
                    <a:pt x="1626" y="474"/>
                  </a:lnTo>
                  <a:lnTo>
                    <a:pt x="1626" y="480"/>
                  </a:lnTo>
                  <a:lnTo>
                    <a:pt x="1626" y="486"/>
                  </a:lnTo>
                  <a:lnTo>
                    <a:pt x="1632" y="522"/>
                  </a:lnTo>
                  <a:lnTo>
                    <a:pt x="1632" y="528"/>
                  </a:lnTo>
                  <a:lnTo>
                    <a:pt x="1632" y="534"/>
                  </a:lnTo>
                  <a:lnTo>
                    <a:pt x="1638" y="540"/>
                  </a:lnTo>
                  <a:lnTo>
                    <a:pt x="1638" y="558"/>
                  </a:lnTo>
                  <a:lnTo>
                    <a:pt x="1638" y="570"/>
                  </a:lnTo>
                  <a:lnTo>
                    <a:pt x="1644" y="582"/>
                  </a:lnTo>
                  <a:lnTo>
                    <a:pt x="1650" y="618"/>
                  </a:lnTo>
                  <a:lnTo>
                    <a:pt x="1650" y="624"/>
                  </a:lnTo>
                  <a:lnTo>
                    <a:pt x="1650" y="636"/>
                  </a:lnTo>
                  <a:lnTo>
                    <a:pt x="1656" y="642"/>
                  </a:lnTo>
                  <a:lnTo>
                    <a:pt x="1656" y="648"/>
                  </a:lnTo>
                  <a:lnTo>
                    <a:pt x="1656" y="654"/>
                  </a:lnTo>
                  <a:lnTo>
                    <a:pt x="1656" y="660"/>
                  </a:lnTo>
                  <a:lnTo>
                    <a:pt x="1662" y="696"/>
                  </a:lnTo>
                  <a:lnTo>
                    <a:pt x="1668" y="708"/>
                  </a:lnTo>
                  <a:lnTo>
                    <a:pt x="1668" y="714"/>
                  </a:lnTo>
                  <a:lnTo>
                    <a:pt x="1668" y="732"/>
                  </a:lnTo>
                  <a:lnTo>
                    <a:pt x="1668" y="744"/>
                  </a:lnTo>
                  <a:lnTo>
                    <a:pt x="1674" y="756"/>
                  </a:lnTo>
                  <a:lnTo>
                    <a:pt x="1680" y="762"/>
                  </a:lnTo>
                  <a:lnTo>
                    <a:pt x="1680" y="768"/>
                  </a:lnTo>
                  <a:lnTo>
                    <a:pt x="1680" y="774"/>
                  </a:lnTo>
                  <a:lnTo>
                    <a:pt x="1680" y="780"/>
                  </a:lnTo>
                  <a:lnTo>
                    <a:pt x="1674" y="786"/>
                  </a:lnTo>
                  <a:lnTo>
                    <a:pt x="1668" y="792"/>
                  </a:lnTo>
                  <a:lnTo>
                    <a:pt x="1668" y="798"/>
                  </a:lnTo>
                  <a:lnTo>
                    <a:pt x="1668" y="804"/>
                  </a:lnTo>
                  <a:lnTo>
                    <a:pt x="1674" y="804"/>
                  </a:lnTo>
                  <a:lnTo>
                    <a:pt x="1668" y="810"/>
                  </a:lnTo>
                  <a:lnTo>
                    <a:pt x="1674" y="810"/>
                  </a:lnTo>
                  <a:lnTo>
                    <a:pt x="1680" y="810"/>
                  </a:lnTo>
                  <a:lnTo>
                    <a:pt x="1680" y="816"/>
                  </a:lnTo>
                  <a:lnTo>
                    <a:pt x="1680" y="822"/>
                  </a:lnTo>
                  <a:lnTo>
                    <a:pt x="1674" y="822"/>
                  </a:lnTo>
                  <a:lnTo>
                    <a:pt x="1674" y="828"/>
                  </a:lnTo>
                  <a:lnTo>
                    <a:pt x="1668" y="828"/>
                  </a:lnTo>
                  <a:lnTo>
                    <a:pt x="1674" y="834"/>
                  </a:lnTo>
                  <a:lnTo>
                    <a:pt x="1668" y="834"/>
                  </a:lnTo>
                  <a:lnTo>
                    <a:pt x="1668" y="840"/>
                  </a:lnTo>
                  <a:lnTo>
                    <a:pt x="1674" y="840"/>
                  </a:lnTo>
                  <a:lnTo>
                    <a:pt x="1686" y="852"/>
                  </a:lnTo>
                  <a:lnTo>
                    <a:pt x="1692" y="858"/>
                  </a:lnTo>
                  <a:lnTo>
                    <a:pt x="1698" y="858"/>
                  </a:lnTo>
                  <a:lnTo>
                    <a:pt x="1698" y="864"/>
                  </a:lnTo>
                  <a:lnTo>
                    <a:pt x="1698" y="870"/>
                  </a:lnTo>
                  <a:lnTo>
                    <a:pt x="1704" y="864"/>
                  </a:lnTo>
                  <a:lnTo>
                    <a:pt x="1716" y="864"/>
                  </a:lnTo>
                  <a:lnTo>
                    <a:pt x="1722" y="864"/>
                  </a:lnTo>
                  <a:lnTo>
                    <a:pt x="1728" y="864"/>
                  </a:lnTo>
                  <a:lnTo>
                    <a:pt x="1734" y="864"/>
                  </a:lnTo>
                  <a:lnTo>
                    <a:pt x="1740" y="864"/>
                  </a:lnTo>
                  <a:lnTo>
                    <a:pt x="1746" y="876"/>
                  </a:lnTo>
                  <a:lnTo>
                    <a:pt x="1746" y="870"/>
                  </a:lnTo>
                  <a:lnTo>
                    <a:pt x="1740" y="864"/>
                  </a:lnTo>
                  <a:lnTo>
                    <a:pt x="1746" y="864"/>
                  </a:lnTo>
                  <a:lnTo>
                    <a:pt x="1752" y="870"/>
                  </a:lnTo>
                  <a:lnTo>
                    <a:pt x="1758" y="864"/>
                  </a:lnTo>
                  <a:lnTo>
                    <a:pt x="1764" y="864"/>
                  </a:lnTo>
                  <a:lnTo>
                    <a:pt x="1770" y="858"/>
                  </a:lnTo>
                  <a:lnTo>
                    <a:pt x="1782" y="864"/>
                  </a:lnTo>
                  <a:lnTo>
                    <a:pt x="1782" y="870"/>
                  </a:lnTo>
                  <a:lnTo>
                    <a:pt x="1788" y="864"/>
                  </a:lnTo>
                  <a:lnTo>
                    <a:pt x="1794" y="864"/>
                  </a:lnTo>
                  <a:lnTo>
                    <a:pt x="1800" y="870"/>
                  </a:lnTo>
                  <a:lnTo>
                    <a:pt x="1818" y="864"/>
                  </a:lnTo>
                  <a:lnTo>
                    <a:pt x="1824" y="870"/>
                  </a:lnTo>
                  <a:lnTo>
                    <a:pt x="1830" y="864"/>
                  </a:lnTo>
                  <a:lnTo>
                    <a:pt x="1836" y="864"/>
                  </a:lnTo>
                  <a:lnTo>
                    <a:pt x="1842" y="870"/>
                  </a:lnTo>
                  <a:lnTo>
                    <a:pt x="1842" y="876"/>
                  </a:lnTo>
                  <a:lnTo>
                    <a:pt x="1848" y="876"/>
                  </a:lnTo>
                  <a:lnTo>
                    <a:pt x="1848" y="870"/>
                  </a:lnTo>
                  <a:lnTo>
                    <a:pt x="1854" y="870"/>
                  </a:lnTo>
                  <a:lnTo>
                    <a:pt x="1860" y="870"/>
                  </a:lnTo>
                  <a:lnTo>
                    <a:pt x="1860" y="876"/>
                  </a:lnTo>
                  <a:lnTo>
                    <a:pt x="1866" y="876"/>
                  </a:lnTo>
                  <a:lnTo>
                    <a:pt x="1866" y="882"/>
                  </a:lnTo>
                  <a:lnTo>
                    <a:pt x="1872" y="882"/>
                  </a:lnTo>
                  <a:lnTo>
                    <a:pt x="1878" y="888"/>
                  </a:lnTo>
                  <a:lnTo>
                    <a:pt x="1890" y="888"/>
                  </a:lnTo>
                  <a:lnTo>
                    <a:pt x="1890" y="894"/>
                  </a:lnTo>
                  <a:lnTo>
                    <a:pt x="1890" y="900"/>
                  </a:lnTo>
                  <a:lnTo>
                    <a:pt x="1884" y="900"/>
                  </a:lnTo>
                  <a:lnTo>
                    <a:pt x="1884" y="906"/>
                  </a:lnTo>
                  <a:lnTo>
                    <a:pt x="1884" y="912"/>
                  </a:lnTo>
                  <a:lnTo>
                    <a:pt x="1890" y="912"/>
                  </a:lnTo>
                  <a:lnTo>
                    <a:pt x="1896" y="912"/>
                  </a:lnTo>
                  <a:lnTo>
                    <a:pt x="1902" y="912"/>
                  </a:lnTo>
                  <a:lnTo>
                    <a:pt x="1908" y="918"/>
                  </a:lnTo>
                  <a:lnTo>
                    <a:pt x="1908" y="924"/>
                  </a:lnTo>
                  <a:lnTo>
                    <a:pt x="1908" y="930"/>
                  </a:lnTo>
                  <a:lnTo>
                    <a:pt x="1908" y="936"/>
                  </a:lnTo>
                  <a:lnTo>
                    <a:pt x="1914" y="936"/>
                  </a:lnTo>
                  <a:lnTo>
                    <a:pt x="1914" y="942"/>
                  </a:lnTo>
                  <a:lnTo>
                    <a:pt x="1908" y="948"/>
                  </a:lnTo>
                  <a:lnTo>
                    <a:pt x="1914" y="948"/>
                  </a:lnTo>
                  <a:lnTo>
                    <a:pt x="1920" y="954"/>
                  </a:lnTo>
                  <a:lnTo>
                    <a:pt x="1926" y="954"/>
                  </a:lnTo>
                  <a:lnTo>
                    <a:pt x="1932" y="954"/>
                  </a:lnTo>
                  <a:lnTo>
                    <a:pt x="1938" y="954"/>
                  </a:lnTo>
                  <a:lnTo>
                    <a:pt x="1938" y="960"/>
                  </a:lnTo>
                  <a:lnTo>
                    <a:pt x="1944" y="966"/>
                  </a:lnTo>
                  <a:lnTo>
                    <a:pt x="1944" y="972"/>
                  </a:lnTo>
                  <a:lnTo>
                    <a:pt x="1944" y="978"/>
                  </a:lnTo>
                  <a:lnTo>
                    <a:pt x="1950" y="978"/>
                  </a:lnTo>
                  <a:lnTo>
                    <a:pt x="1950" y="984"/>
                  </a:lnTo>
                  <a:lnTo>
                    <a:pt x="1956" y="984"/>
                  </a:lnTo>
                  <a:lnTo>
                    <a:pt x="1962" y="984"/>
                  </a:lnTo>
                  <a:lnTo>
                    <a:pt x="1962" y="978"/>
                  </a:lnTo>
                  <a:lnTo>
                    <a:pt x="1968" y="978"/>
                  </a:lnTo>
                  <a:lnTo>
                    <a:pt x="1974" y="978"/>
                  </a:lnTo>
                  <a:lnTo>
                    <a:pt x="1980" y="972"/>
                  </a:lnTo>
                  <a:lnTo>
                    <a:pt x="1980" y="978"/>
                  </a:lnTo>
                  <a:lnTo>
                    <a:pt x="1980" y="984"/>
                  </a:lnTo>
                  <a:lnTo>
                    <a:pt x="1986" y="984"/>
                  </a:lnTo>
                  <a:lnTo>
                    <a:pt x="1992" y="990"/>
                  </a:lnTo>
                  <a:lnTo>
                    <a:pt x="1992" y="996"/>
                  </a:lnTo>
                  <a:lnTo>
                    <a:pt x="1992" y="1002"/>
                  </a:lnTo>
                  <a:lnTo>
                    <a:pt x="1974" y="1008"/>
                  </a:lnTo>
                  <a:lnTo>
                    <a:pt x="1974" y="1014"/>
                  </a:lnTo>
                  <a:lnTo>
                    <a:pt x="1974" y="1020"/>
                  </a:lnTo>
                  <a:lnTo>
                    <a:pt x="1974" y="1026"/>
                  </a:lnTo>
                  <a:lnTo>
                    <a:pt x="1968" y="1038"/>
                  </a:lnTo>
                  <a:lnTo>
                    <a:pt x="1968" y="1044"/>
                  </a:lnTo>
                  <a:lnTo>
                    <a:pt x="1974" y="1056"/>
                  </a:lnTo>
                  <a:lnTo>
                    <a:pt x="1968" y="1062"/>
                  </a:lnTo>
                  <a:lnTo>
                    <a:pt x="1962" y="1062"/>
                  </a:lnTo>
                  <a:lnTo>
                    <a:pt x="1956" y="1068"/>
                  </a:lnTo>
                  <a:lnTo>
                    <a:pt x="1956" y="1074"/>
                  </a:lnTo>
                  <a:lnTo>
                    <a:pt x="1956" y="1080"/>
                  </a:lnTo>
                  <a:lnTo>
                    <a:pt x="1956" y="1086"/>
                  </a:lnTo>
                  <a:lnTo>
                    <a:pt x="1956" y="1092"/>
                  </a:lnTo>
                  <a:lnTo>
                    <a:pt x="1962" y="1092"/>
                  </a:lnTo>
                  <a:lnTo>
                    <a:pt x="1962" y="1104"/>
                  </a:lnTo>
                  <a:lnTo>
                    <a:pt x="1968" y="1110"/>
                  </a:lnTo>
                  <a:lnTo>
                    <a:pt x="1968" y="1116"/>
                  </a:lnTo>
                  <a:lnTo>
                    <a:pt x="1974" y="1116"/>
                  </a:lnTo>
                  <a:lnTo>
                    <a:pt x="1974" y="1122"/>
                  </a:lnTo>
                  <a:lnTo>
                    <a:pt x="1980" y="1122"/>
                  </a:lnTo>
                  <a:lnTo>
                    <a:pt x="1974" y="1128"/>
                  </a:lnTo>
                  <a:lnTo>
                    <a:pt x="1968" y="1134"/>
                  </a:lnTo>
                  <a:lnTo>
                    <a:pt x="1962" y="1140"/>
                  </a:lnTo>
                  <a:lnTo>
                    <a:pt x="1962" y="1146"/>
                  </a:lnTo>
                  <a:lnTo>
                    <a:pt x="1968" y="1152"/>
                  </a:lnTo>
                  <a:lnTo>
                    <a:pt x="1968" y="1158"/>
                  </a:lnTo>
                  <a:lnTo>
                    <a:pt x="1962" y="1158"/>
                  </a:lnTo>
                  <a:lnTo>
                    <a:pt x="1962" y="1164"/>
                  </a:lnTo>
                  <a:lnTo>
                    <a:pt x="1956" y="1164"/>
                  </a:lnTo>
                  <a:lnTo>
                    <a:pt x="1956" y="1170"/>
                  </a:lnTo>
                  <a:lnTo>
                    <a:pt x="1944" y="1182"/>
                  </a:lnTo>
                  <a:lnTo>
                    <a:pt x="1944" y="1188"/>
                  </a:lnTo>
                  <a:lnTo>
                    <a:pt x="1950" y="1188"/>
                  </a:lnTo>
                  <a:lnTo>
                    <a:pt x="1944" y="1200"/>
                  </a:lnTo>
                  <a:lnTo>
                    <a:pt x="1944" y="1206"/>
                  </a:lnTo>
                  <a:lnTo>
                    <a:pt x="1944" y="1212"/>
                  </a:lnTo>
                  <a:lnTo>
                    <a:pt x="1944" y="1218"/>
                  </a:lnTo>
                  <a:lnTo>
                    <a:pt x="1944" y="1230"/>
                  </a:lnTo>
                  <a:lnTo>
                    <a:pt x="1944" y="1236"/>
                  </a:lnTo>
                  <a:lnTo>
                    <a:pt x="1944" y="1242"/>
                  </a:lnTo>
                  <a:lnTo>
                    <a:pt x="1938" y="1248"/>
                  </a:lnTo>
                  <a:lnTo>
                    <a:pt x="1938" y="1254"/>
                  </a:lnTo>
                  <a:lnTo>
                    <a:pt x="1932" y="1254"/>
                  </a:lnTo>
                  <a:lnTo>
                    <a:pt x="1926" y="1260"/>
                  </a:lnTo>
                  <a:lnTo>
                    <a:pt x="1920" y="1266"/>
                  </a:lnTo>
                  <a:lnTo>
                    <a:pt x="1914" y="1272"/>
                  </a:lnTo>
                  <a:lnTo>
                    <a:pt x="1908" y="1272"/>
                  </a:lnTo>
                  <a:lnTo>
                    <a:pt x="1908" y="1278"/>
                  </a:lnTo>
                  <a:lnTo>
                    <a:pt x="1914" y="1278"/>
                  </a:lnTo>
                  <a:lnTo>
                    <a:pt x="1914" y="1290"/>
                  </a:lnTo>
                  <a:lnTo>
                    <a:pt x="1920" y="1296"/>
                  </a:lnTo>
                  <a:lnTo>
                    <a:pt x="1938" y="1302"/>
                  </a:lnTo>
                  <a:lnTo>
                    <a:pt x="1944" y="1308"/>
                  </a:lnTo>
                  <a:lnTo>
                    <a:pt x="1950" y="1314"/>
                  </a:lnTo>
                  <a:lnTo>
                    <a:pt x="1956" y="1314"/>
                  </a:lnTo>
                  <a:lnTo>
                    <a:pt x="1962" y="1320"/>
                  </a:lnTo>
                  <a:lnTo>
                    <a:pt x="1962" y="1326"/>
                  </a:lnTo>
                  <a:lnTo>
                    <a:pt x="1968" y="1326"/>
                  </a:lnTo>
                  <a:lnTo>
                    <a:pt x="1968" y="1332"/>
                  </a:lnTo>
                  <a:lnTo>
                    <a:pt x="1968" y="1344"/>
                  </a:lnTo>
                  <a:lnTo>
                    <a:pt x="1968" y="1350"/>
                  </a:lnTo>
                  <a:lnTo>
                    <a:pt x="1968" y="1368"/>
                  </a:lnTo>
                  <a:lnTo>
                    <a:pt x="1962" y="1380"/>
                  </a:lnTo>
                  <a:lnTo>
                    <a:pt x="1968" y="1392"/>
                  </a:lnTo>
                  <a:lnTo>
                    <a:pt x="1962" y="1398"/>
                  </a:lnTo>
                  <a:lnTo>
                    <a:pt x="1956" y="1404"/>
                  </a:lnTo>
                  <a:lnTo>
                    <a:pt x="1950" y="1410"/>
                  </a:lnTo>
                  <a:lnTo>
                    <a:pt x="1944" y="1410"/>
                  </a:lnTo>
                  <a:lnTo>
                    <a:pt x="1932" y="1416"/>
                  </a:lnTo>
                  <a:lnTo>
                    <a:pt x="1926" y="1416"/>
                  </a:lnTo>
                  <a:lnTo>
                    <a:pt x="1896" y="1428"/>
                  </a:lnTo>
                  <a:lnTo>
                    <a:pt x="1884" y="1434"/>
                  </a:lnTo>
                  <a:lnTo>
                    <a:pt x="1878" y="1434"/>
                  </a:lnTo>
                  <a:lnTo>
                    <a:pt x="1866" y="1434"/>
                  </a:lnTo>
                  <a:lnTo>
                    <a:pt x="1854" y="1440"/>
                  </a:lnTo>
                  <a:lnTo>
                    <a:pt x="1848" y="1440"/>
                  </a:lnTo>
                  <a:lnTo>
                    <a:pt x="1842" y="1446"/>
                  </a:lnTo>
                  <a:lnTo>
                    <a:pt x="1842" y="1458"/>
                  </a:lnTo>
                  <a:lnTo>
                    <a:pt x="1836" y="1470"/>
                  </a:lnTo>
                  <a:lnTo>
                    <a:pt x="1830" y="1476"/>
                  </a:lnTo>
                  <a:lnTo>
                    <a:pt x="1824" y="1476"/>
                  </a:lnTo>
                  <a:lnTo>
                    <a:pt x="1806" y="1482"/>
                  </a:lnTo>
                  <a:lnTo>
                    <a:pt x="1800" y="1488"/>
                  </a:lnTo>
                  <a:lnTo>
                    <a:pt x="1794" y="1488"/>
                  </a:lnTo>
                  <a:lnTo>
                    <a:pt x="1788" y="1488"/>
                  </a:lnTo>
                  <a:lnTo>
                    <a:pt x="1776" y="1494"/>
                  </a:lnTo>
                  <a:lnTo>
                    <a:pt x="1764" y="1494"/>
                  </a:lnTo>
                  <a:lnTo>
                    <a:pt x="1758" y="1500"/>
                  </a:lnTo>
                  <a:lnTo>
                    <a:pt x="1746" y="1506"/>
                  </a:lnTo>
                  <a:lnTo>
                    <a:pt x="1728" y="1518"/>
                  </a:lnTo>
                  <a:lnTo>
                    <a:pt x="1716" y="1524"/>
                  </a:lnTo>
                  <a:lnTo>
                    <a:pt x="1710" y="1530"/>
                  </a:lnTo>
                  <a:lnTo>
                    <a:pt x="1704" y="1536"/>
                  </a:lnTo>
                  <a:lnTo>
                    <a:pt x="1698" y="1542"/>
                  </a:lnTo>
                  <a:lnTo>
                    <a:pt x="1692" y="1554"/>
                  </a:lnTo>
                  <a:lnTo>
                    <a:pt x="1686" y="1560"/>
                  </a:lnTo>
                  <a:lnTo>
                    <a:pt x="1680" y="1560"/>
                  </a:lnTo>
                  <a:lnTo>
                    <a:pt x="1674" y="1560"/>
                  </a:lnTo>
                  <a:lnTo>
                    <a:pt x="1656" y="1572"/>
                  </a:lnTo>
                  <a:lnTo>
                    <a:pt x="1650" y="1572"/>
                  </a:lnTo>
                  <a:lnTo>
                    <a:pt x="1644" y="1572"/>
                  </a:lnTo>
                  <a:lnTo>
                    <a:pt x="1638" y="1578"/>
                  </a:lnTo>
                  <a:lnTo>
                    <a:pt x="1632" y="1578"/>
                  </a:lnTo>
                  <a:lnTo>
                    <a:pt x="1626" y="1578"/>
                  </a:lnTo>
                  <a:lnTo>
                    <a:pt x="1620" y="1572"/>
                  </a:lnTo>
                  <a:lnTo>
                    <a:pt x="1614" y="1572"/>
                  </a:lnTo>
                  <a:lnTo>
                    <a:pt x="1608" y="1566"/>
                  </a:lnTo>
                  <a:lnTo>
                    <a:pt x="1602" y="1560"/>
                  </a:lnTo>
                  <a:lnTo>
                    <a:pt x="1596" y="1554"/>
                  </a:lnTo>
                  <a:lnTo>
                    <a:pt x="1590" y="1548"/>
                  </a:lnTo>
                  <a:lnTo>
                    <a:pt x="1578" y="1548"/>
                  </a:lnTo>
                  <a:lnTo>
                    <a:pt x="1572" y="1548"/>
                  </a:lnTo>
                  <a:lnTo>
                    <a:pt x="1566" y="1548"/>
                  </a:lnTo>
                  <a:lnTo>
                    <a:pt x="1554" y="1536"/>
                  </a:lnTo>
                  <a:lnTo>
                    <a:pt x="1548" y="1536"/>
                  </a:lnTo>
                  <a:lnTo>
                    <a:pt x="1542" y="1542"/>
                  </a:lnTo>
                  <a:lnTo>
                    <a:pt x="1536" y="1548"/>
                  </a:lnTo>
                  <a:lnTo>
                    <a:pt x="1536" y="1566"/>
                  </a:lnTo>
                  <a:lnTo>
                    <a:pt x="1530" y="1572"/>
                  </a:lnTo>
                  <a:lnTo>
                    <a:pt x="1524" y="1578"/>
                  </a:lnTo>
                  <a:lnTo>
                    <a:pt x="1518" y="1584"/>
                  </a:lnTo>
                  <a:lnTo>
                    <a:pt x="1512" y="1596"/>
                  </a:lnTo>
                  <a:lnTo>
                    <a:pt x="1506" y="1602"/>
                  </a:lnTo>
                  <a:lnTo>
                    <a:pt x="1506" y="1608"/>
                  </a:lnTo>
                  <a:lnTo>
                    <a:pt x="1506" y="1614"/>
                  </a:lnTo>
                  <a:lnTo>
                    <a:pt x="1500" y="1614"/>
                  </a:lnTo>
                  <a:lnTo>
                    <a:pt x="1500" y="1620"/>
                  </a:lnTo>
                  <a:lnTo>
                    <a:pt x="1500" y="1626"/>
                  </a:lnTo>
                  <a:lnTo>
                    <a:pt x="1494" y="1632"/>
                  </a:lnTo>
                  <a:lnTo>
                    <a:pt x="1488" y="1638"/>
                  </a:lnTo>
                  <a:lnTo>
                    <a:pt x="1482" y="1638"/>
                  </a:lnTo>
                  <a:lnTo>
                    <a:pt x="1482" y="1644"/>
                  </a:lnTo>
                  <a:lnTo>
                    <a:pt x="1482" y="1650"/>
                  </a:lnTo>
                  <a:lnTo>
                    <a:pt x="1482" y="1656"/>
                  </a:lnTo>
                  <a:lnTo>
                    <a:pt x="1476" y="1662"/>
                  </a:lnTo>
                  <a:lnTo>
                    <a:pt x="1470" y="1668"/>
                  </a:lnTo>
                  <a:lnTo>
                    <a:pt x="1464" y="1674"/>
                  </a:lnTo>
                  <a:lnTo>
                    <a:pt x="1464" y="1680"/>
                  </a:lnTo>
                  <a:lnTo>
                    <a:pt x="1458" y="1680"/>
                  </a:lnTo>
                  <a:lnTo>
                    <a:pt x="1452" y="1686"/>
                  </a:lnTo>
                  <a:lnTo>
                    <a:pt x="1446" y="1686"/>
                  </a:lnTo>
                  <a:lnTo>
                    <a:pt x="1440" y="1698"/>
                  </a:lnTo>
                  <a:lnTo>
                    <a:pt x="1440" y="1704"/>
                  </a:lnTo>
                  <a:lnTo>
                    <a:pt x="1434" y="1710"/>
                  </a:lnTo>
                  <a:lnTo>
                    <a:pt x="1434" y="1716"/>
                  </a:lnTo>
                  <a:lnTo>
                    <a:pt x="1428" y="1716"/>
                  </a:lnTo>
                  <a:lnTo>
                    <a:pt x="1428" y="1722"/>
                  </a:lnTo>
                  <a:lnTo>
                    <a:pt x="1428" y="1728"/>
                  </a:lnTo>
                  <a:lnTo>
                    <a:pt x="1422" y="1728"/>
                  </a:lnTo>
                  <a:lnTo>
                    <a:pt x="1422" y="1734"/>
                  </a:lnTo>
                  <a:lnTo>
                    <a:pt x="1416" y="1734"/>
                  </a:lnTo>
                  <a:lnTo>
                    <a:pt x="1410" y="1734"/>
                  </a:lnTo>
                  <a:lnTo>
                    <a:pt x="1392" y="1746"/>
                  </a:lnTo>
                  <a:lnTo>
                    <a:pt x="1386" y="1746"/>
                  </a:lnTo>
                  <a:lnTo>
                    <a:pt x="1368" y="1752"/>
                  </a:lnTo>
                  <a:lnTo>
                    <a:pt x="1362" y="1758"/>
                  </a:lnTo>
                  <a:lnTo>
                    <a:pt x="1362" y="1770"/>
                  </a:lnTo>
                  <a:lnTo>
                    <a:pt x="1356" y="1782"/>
                  </a:lnTo>
                  <a:close/>
                </a:path>
              </a:pathLst>
            </a:custGeom>
            <a:solidFill>
              <a:srgbClr val="2A4F1D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</p:grpSp>
      <p:graphicFrame>
        <p:nvGraphicFramePr>
          <p:cNvPr id="357" name="Group 76">
            <a:extLst>
              <a:ext uri="{FF2B5EF4-FFF2-40B4-BE49-F238E27FC236}">
                <a16:creationId xmlns:a16="http://schemas.microsoft.com/office/drawing/2014/main" id="{57830D68-CF73-4A3E-9D36-141B03AADB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8732125"/>
              </p:ext>
            </p:extLst>
          </p:nvPr>
        </p:nvGraphicFramePr>
        <p:xfrm>
          <a:off x="541338" y="3402013"/>
          <a:ext cx="3735387" cy="1827306"/>
        </p:xfrm>
        <a:graphic>
          <a:graphicData uri="http://schemas.openxmlformats.org/drawingml/2006/table">
            <a:tbl>
              <a:tblPr/>
              <a:tblGrid>
                <a:gridCol w="1316931">
                  <a:extLst>
                    <a:ext uri="{9D8B030D-6E8A-4147-A177-3AD203B41FA5}">
                      <a16:colId xmlns:a16="http://schemas.microsoft.com/office/drawing/2014/main" val="2027704273"/>
                    </a:ext>
                  </a:extLst>
                </a:gridCol>
                <a:gridCol w="603796">
                  <a:extLst>
                    <a:ext uri="{9D8B030D-6E8A-4147-A177-3AD203B41FA5}">
                      <a16:colId xmlns:a16="http://schemas.microsoft.com/office/drawing/2014/main" val="3432768286"/>
                    </a:ext>
                  </a:extLst>
                </a:gridCol>
                <a:gridCol w="744015">
                  <a:extLst>
                    <a:ext uri="{9D8B030D-6E8A-4147-A177-3AD203B41FA5}">
                      <a16:colId xmlns:a16="http://schemas.microsoft.com/office/drawing/2014/main" val="3730294207"/>
                    </a:ext>
                  </a:extLst>
                </a:gridCol>
                <a:gridCol w="1070645">
                  <a:extLst>
                    <a:ext uri="{9D8B030D-6E8A-4147-A177-3AD203B41FA5}">
                      <a16:colId xmlns:a16="http://schemas.microsoft.com/office/drawing/2014/main" val="2258321117"/>
                    </a:ext>
                  </a:extLst>
                </a:gridCol>
              </a:tblGrid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apital</a:t>
                      </a:r>
                      <a:endParaRPr kumimoji="0" lang="en-SG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292929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SG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Maiduguri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703009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nd Are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72,609 km</a:t>
                      </a:r>
                      <a:r>
                        <a:rPr kumimoji="0" lang="en-US" altLang="en-US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1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603614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Population (2017E)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5,827,153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8 of 37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505851"/>
                  </a:ext>
                </a:extLst>
              </a:tr>
              <a:tr h="203024">
                <a:tc row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Dem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0-14: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,698,166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46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130093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5-64: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,980,093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51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387564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65+: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   168,894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[3%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38801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bour force 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,271,462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16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797882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limate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ropical savanna, hot desert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3942226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op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Desert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32899"/>
                  </a:ext>
                </a:extLst>
              </a:tr>
            </a:tbl>
          </a:graphicData>
        </a:graphic>
      </p:graphicFrame>
      <p:pic>
        <p:nvPicPr>
          <p:cNvPr id="23609" name="Picture 13">
            <a:extLst>
              <a:ext uri="{FF2B5EF4-FFF2-40B4-BE49-F238E27FC236}">
                <a16:creationId xmlns:a16="http://schemas.microsoft.com/office/drawing/2014/main" id="{952964D5-F0ED-4CAE-B71C-DB4A723FA5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0" y="3006725"/>
            <a:ext cx="1116013" cy="155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9" name="TextBox 378">
            <a:extLst>
              <a:ext uri="{FF2B5EF4-FFF2-40B4-BE49-F238E27FC236}">
                <a16:creationId xmlns:a16="http://schemas.microsoft.com/office/drawing/2014/main" id="{1B3FD4BF-4685-4C74-821F-10048D6246BF}"/>
              </a:ext>
            </a:extLst>
          </p:cNvPr>
          <p:cNvSpPr txBox="1"/>
          <p:nvPr/>
        </p:nvSpPr>
        <p:spPr>
          <a:xfrm>
            <a:off x="6124575" y="957263"/>
            <a:ext cx="3475038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mpetitive Advantages</a:t>
            </a: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455FE7A1-ADE5-4F7B-A489-00196671A53E}"/>
              </a:ext>
            </a:extLst>
          </p:cNvPr>
          <p:cNvSpPr/>
          <p:nvPr/>
        </p:nvSpPr>
        <p:spPr>
          <a:xfrm>
            <a:off x="4267248" y="1187511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4.9bn/$16.3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EBB25788-D073-4A78-9D6C-DF3836CFFFBB}"/>
              </a:ext>
            </a:extLst>
          </p:cNvPr>
          <p:cNvSpPr txBox="1"/>
          <p:nvPr/>
        </p:nvSpPr>
        <p:spPr>
          <a:xfrm>
            <a:off x="4267200" y="955675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GR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6F07DF39-553B-44F0-8864-1F897C2BD79A}"/>
              </a:ext>
            </a:extLst>
          </p:cNvPr>
          <p:cNvSpPr/>
          <p:nvPr/>
        </p:nvSpPr>
        <p:spPr>
          <a:xfrm>
            <a:off x="4267252" y="1809750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181.2bn/$594.1bn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2508695A-2D2C-45A3-80FE-9C2CB18200C2}"/>
              </a:ext>
            </a:extLst>
          </p:cNvPr>
          <p:cNvSpPr txBox="1"/>
          <p:nvPr/>
        </p:nvSpPr>
        <p:spPr>
          <a:xfrm>
            <a:off x="4267200" y="1576388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Budget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8)</a:t>
            </a: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86A33ABE-3AE3-40A7-A6A6-1B757A6A9B0F}"/>
              </a:ext>
            </a:extLst>
          </p:cNvPr>
          <p:cNvSpPr/>
          <p:nvPr/>
        </p:nvSpPr>
        <p:spPr>
          <a:xfrm>
            <a:off x="4256076" y="2667155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2.5tn /$8.3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1E919764-A18B-4532-A533-A84A31D7FEFE}"/>
              </a:ext>
            </a:extLst>
          </p:cNvPr>
          <p:cNvSpPr txBox="1"/>
          <p:nvPr/>
        </p:nvSpPr>
        <p:spPr>
          <a:xfrm>
            <a:off x="4256088" y="2185988"/>
            <a:ext cx="1811337" cy="50641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Household </a:t>
            </a:r>
          </a:p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nsumption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96" name="Plaque 95">
            <a:extLst>
              <a:ext uri="{FF2B5EF4-FFF2-40B4-BE49-F238E27FC236}">
                <a16:creationId xmlns:a16="http://schemas.microsoft.com/office/drawing/2014/main" id="{E3BE1182-17B4-4194-8641-F1EA2CCBB757}"/>
              </a:ext>
            </a:extLst>
          </p:cNvPr>
          <p:cNvSpPr/>
          <p:nvPr/>
        </p:nvSpPr>
        <p:spPr>
          <a:xfrm>
            <a:off x="5656263" y="2805113"/>
            <a:ext cx="411162" cy="153987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6 of 36</a:t>
            </a:r>
          </a:p>
        </p:txBody>
      </p:sp>
      <p:sp>
        <p:nvSpPr>
          <p:cNvPr id="99" name="Plaque 98">
            <a:extLst>
              <a:ext uri="{FF2B5EF4-FFF2-40B4-BE49-F238E27FC236}">
                <a16:creationId xmlns:a16="http://schemas.microsoft.com/office/drawing/2014/main" id="{8620E393-1C52-4CE1-9888-20922FA6DFEA}"/>
              </a:ext>
            </a:extLst>
          </p:cNvPr>
          <p:cNvSpPr/>
          <p:nvPr/>
        </p:nvSpPr>
        <p:spPr>
          <a:xfrm>
            <a:off x="5648325" y="1960612"/>
            <a:ext cx="428625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7 of 36</a:t>
            </a:r>
          </a:p>
        </p:txBody>
      </p:sp>
      <p:sp>
        <p:nvSpPr>
          <p:cNvPr id="100" name="Plaque 99">
            <a:extLst>
              <a:ext uri="{FF2B5EF4-FFF2-40B4-BE49-F238E27FC236}">
                <a16:creationId xmlns:a16="http://schemas.microsoft.com/office/drawing/2014/main" id="{3BFA6D28-9A42-4459-8BF1-090CE1B45216}"/>
              </a:ext>
            </a:extLst>
          </p:cNvPr>
          <p:cNvSpPr/>
          <p:nvPr/>
        </p:nvSpPr>
        <p:spPr>
          <a:xfrm>
            <a:off x="5638800" y="1333500"/>
            <a:ext cx="430213" cy="1539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latin typeface="Calibri" panose="020F0502020204030204" pitchFamily="34" charset="0"/>
                <a:cs typeface="Calibri" panose="020F0502020204030204" pitchFamily="34" charset="0"/>
              </a:rPr>
              <a:t>32 of 36</a:t>
            </a:r>
          </a:p>
        </p:txBody>
      </p:sp>
      <p:sp>
        <p:nvSpPr>
          <p:cNvPr id="101" name="Pentagon 19">
            <a:extLst>
              <a:ext uri="{FF2B5EF4-FFF2-40B4-BE49-F238E27FC236}">
                <a16:creationId xmlns:a16="http://schemas.microsoft.com/office/drawing/2014/main" id="{CCD74FA4-19D0-4356-90C9-B3B49BCC3F54}"/>
              </a:ext>
            </a:extLst>
          </p:cNvPr>
          <p:cNvSpPr>
            <a:spLocks/>
          </p:cNvSpPr>
          <p:nvPr/>
        </p:nvSpPr>
        <p:spPr bwMode="auto">
          <a:xfrm>
            <a:off x="688340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3 of 37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12EE735-1E43-4799-A46A-5D0787F375CE}"/>
              </a:ext>
            </a:extLst>
          </p:cNvPr>
          <p:cNvSpPr/>
          <p:nvPr/>
        </p:nvSpPr>
        <p:spPr>
          <a:xfrm>
            <a:off x="6880225" y="5726113"/>
            <a:ext cx="642938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Starting a Business</a:t>
            </a:r>
          </a:p>
        </p:txBody>
      </p:sp>
      <p:pic>
        <p:nvPicPr>
          <p:cNvPr id="23622" name="Picture 3">
            <a:extLst>
              <a:ext uri="{FF2B5EF4-FFF2-40B4-BE49-F238E27FC236}">
                <a16:creationId xmlns:a16="http://schemas.microsoft.com/office/drawing/2014/main" id="{53FAD0C6-8FFE-437B-B7E4-F2A938D3BE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350" y="5249863"/>
            <a:ext cx="41910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23" name="Freeform 15">
            <a:extLst>
              <a:ext uri="{FF2B5EF4-FFF2-40B4-BE49-F238E27FC236}">
                <a16:creationId xmlns:a16="http://schemas.microsoft.com/office/drawing/2014/main" id="{183A3C8B-011E-4D99-9165-3FF03A2D3207}"/>
              </a:ext>
            </a:extLst>
          </p:cNvPr>
          <p:cNvSpPr>
            <a:spLocks noEditPoints="1"/>
          </p:cNvSpPr>
          <p:nvPr/>
        </p:nvSpPr>
        <p:spPr bwMode="auto">
          <a:xfrm>
            <a:off x="9093200" y="5257800"/>
            <a:ext cx="276225" cy="347663"/>
          </a:xfrm>
          <a:custGeom>
            <a:avLst/>
            <a:gdLst>
              <a:gd name="T0" fmla="*/ 2147483646 w 3556"/>
              <a:gd name="T1" fmla="*/ 2147483646 h 3950"/>
              <a:gd name="T2" fmla="*/ 2147483646 w 3556"/>
              <a:gd name="T3" fmla="*/ 2147483646 h 3950"/>
              <a:gd name="T4" fmla="*/ 2147483646 w 3556"/>
              <a:gd name="T5" fmla="*/ 2147483646 h 3950"/>
              <a:gd name="T6" fmla="*/ 2147483646 w 3556"/>
              <a:gd name="T7" fmla="*/ 2147483646 h 3950"/>
              <a:gd name="T8" fmla="*/ 2147483646 w 3556"/>
              <a:gd name="T9" fmla="*/ 2147483646 h 3950"/>
              <a:gd name="T10" fmla="*/ 2147483646 w 3556"/>
              <a:gd name="T11" fmla="*/ 2147483646 h 3950"/>
              <a:gd name="T12" fmla="*/ 2147483646 w 3556"/>
              <a:gd name="T13" fmla="*/ 2147483646 h 3950"/>
              <a:gd name="T14" fmla="*/ 2147483646 w 3556"/>
              <a:gd name="T15" fmla="*/ 2147483646 h 3950"/>
              <a:gd name="T16" fmla="*/ 2147483646 w 3556"/>
              <a:gd name="T17" fmla="*/ 2147483646 h 3950"/>
              <a:gd name="T18" fmla="*/ 2147483646 w 3556"/>
              <a:gd name="T19" fmla="*/ 2147483646 h 3950"/>
              <a:gd name="T20" fmla="*/ 2147483646 w 3556"/>
              <a:gd name="T21" fmla="*/ 2147483646 h 3950"/>
              <a:gd name="T22" fmla="*/ 0 w 3556"/>
              <a:gd name="T23" fmla="*/ 2147483646 h 3950"/>
              <a:gd name="T24" fmla="*/ 2147483646 w 3556"/>
              <a:gd name="T25" fmla="*/ 2147483646 h 3950"/>
              <a:gd name="T26" fmla="*/ 2147483646 w 3556"/>
              <a:gd name="T27" fmla="*/ 2147483646 h 3950"/>
              <a:gd name="T28" fmla="*/ 2147483646 w 3556"/>
              <a:gd name="T29" fmla="*/ 2147483646 h 3950"/>
              <a:gd name="T30" fmla="*/ 2147483646 w 3556"/>
              <a:gd name="T31" fmla="*/ 2147483646 h 3950"/>
              <a:gd name="T32" fmla="*/ 2147483646 w 3556"/>
              <a:gd name="T33" fmla="*/ 2147483646 h 3950"/>
              <a:gd name="T34" fmla="*/ 2147483646 w 3556"/>
              <a:gd name="T35" fmla="*/ 2147483646 h 3950"/>
              <a:gd name="T36" fmla="*/ 2147483646 w 3556"/>
              <a:gd name="T37" fmla="*/ 2147483646 h 3950"/>
              <a:gd name="T38" fmla="*/ 2147483646 w 3556"/>
              <a:gd name="T39" fmla="*/ 2147483646 h 3950"/>
              <a:gd name="T40" fmla="*/ 2147483646 w 3556"/>
              <a:gd name="T41" fmla="*/ 2147483646 h 3950"/>
              <a:gd name="T42" fmla="*/ 2147483646 w 3556"/>
              <a:gd name="T43" fmla="*/ 2147483646 h 3950"/>
              <a:gd name="T44" fmla="*/ 2147483646 w 3556"/>
              <a:gd name="T45" fmla="*/ 2147483646 h 3950"/>
              <a:gd name="T46" fmla="*/ 2147483646 w 3556"/>
              <a:gd name="T47" fmla="*/ 2147483646 h 3950"/>
              <a:gd name="T48" fmla="*/ 2147483646 w 3556"/>
              <a:gd name="T49" fmla="*/ 2147483646 h 3950"/>
              <a:gd name="T50" fmla="*/ 2147483646 w 3556"/>
              <a:gd name="T51" fmla="*/ 2147483646 h 3950"/>
              <a:gd name="T52" fmla="*/ 2147483646 w 3556"/>
              <a:gd name="T53" fmla="*/ 2147483646 h 3950"/>
              <a:gd name="T54" fmla="*/ 2147483646 w 3556"/>
              <a:gd name="T55" fmla="*/ 2147483646 h 3950"/>
              <a:gd name="T56" fmla="*/ 2147483646 w 3556"/>
              <a:gd name="T57" fmla="*/ 2147483646 h 3950"/>
              <a:gd name="T58" fmla="*/ 2147483646 w 3556"/>
              <a:gd name="T59" fmla="*/ 2147483646 h 3950"/>
              <a:gd name="T60" fmla="*/ 2147483646 w 3556"/>
              <a:gd name="T61" fmla="*/ 2147483646 h 3950"/>
              <a:gd name="T62" fmla="*/ 2147483646 w 3556"/>
              <a:gd name="T63" fmla="*/ 2147483646 h 3950"/>
              <a:gd name="T64" fmla="*/ 2147483646 w 3556"/>
              <a:gd name="T65" fmla="*/ 2147483646 h 3950"/>
              <a:gd name="T66" fmla="*/ 2147483646 w 3556"/>
              <a:gd name="T67" fmla="*/ 2147483646 h 3950"/>
              <a:gd name="T68" fmla="*/ 2147483646 w 3556"/>
              <a:gd name="T69" fmla="*/ 2147483646 h 3950"/>
              <a:gd name="T70" fmla="*/ 2147483646 w 3556"/>
              <a:gd name="T71" fmla="*/ 2147483646 h 3950"/>
              <a:gd name="T72" fmla="*/ 2147483646 w 3556"/>
              <a:gd name="T73" fmla="*/ 2147483646 h 3950"/>
              <a:gd name="T74" fmla="*/ 2147483646 w 3556"/>
              <a:gd name="T75" fmla="*/ 2147483646 h 3950"/>
              <a:gd name="T76" fmla="*/ 2147483646 w 3556"/>
              <a:gd name="T77" fmla="*/ 2147483646 h 3950"/>
              <a:gd name="T78" fmla="*/ 2147483646 w 3556"/>
              <a:gd name="T79" fmla="*/ 2147483646 h 3950"/>
              <a:gd name="T80" fmla="*/ 2147483646 w 3556"/>
              <a:gd name="T81" fmla="*/ 0 h 3950"/>
              <a:gd name="T82" fmla="*/ 2147483646 w 3556"/>
              <a:gd name="T83" fmla="*/ 2147483646 h 3950"/>
              <a:gd name="T84" fmla="*/ 2147483646 w 3556"/>
              <a:gd name="T85" fmla="*/ 2147483646 h 3950"/>
              <a:gd name="T86" fmla="*/ 2147483646 w 3556"/>
              <a:gd name="T87" fmla="*/ 2147483646 h 395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556"/>
              <a:gd name="T133" fmla="*/ 0 h 3950"/>
              <a:gd name="T134" fmla="*/ 3556 w 3556"/>
              <a:gd name="T135" fmla="*/ 3950 h 395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556" h="3950">
                <a:moveTo>
                  <a:pt x="909" y="3917"/>
                </a:moveTo>
                <a:cubicBezTo>
                  <a:pt x="824" y="3832"/>
                  <a:pt x="894" y="3725"/>
                  <a:pt x="1036" y="3725"/>
                </a:cubicBezTo>
                <a:cubicBezTo>
                  <a:pt x="1119" y="3725"/>
                  <a:pt x="1129" y="3717"/>
                  <a:pt x="1129" y="3645"/>
                </a:cubicBezTo>
                <a:cubicBezTo>
                  <a:pt x="1129" y="3472"/>
                  <a:pt x="1135" y="3471"/>
                  <a:pt x="2192" y="3471"/>
                </a:cubicBezTo>
                <a:cubicBezTo>
                  <a:pt x="3086" y="3471"/>
                  <a:pt x="3155" y="3475"/>
                  <a:pt x="3199" y="3523"/>
                </a:cubicBezTo>
                <a:cubicBezTo>
                  <a:pt x="3225" y="3551"/>
                  <a:pt x="3246" y="3608"/>
                  <a:pt x="3246" y="3648"/>
                </a:cubicBezTo>
                <a:cubicBezTo>
                  <a:pt x="3246" y="3712"/>
                  <a:pt x="3259" y="3723"/>
                  <a:pt x="3349" y="3730"/>
                </a:cubicBezTo>
                <a:cubicBezTo>
                  <a:pt x="3470" y="3741"/>
                  <a:pt x="3530" y="3811"/>
                  <a:pt x="3482" y="3887"/>
                </a:cubicBezTo>
                <a:cubicBezTo>
                  <a:pt x="3453" y="3933"/>
                  <a:pt x="3356" y="3937"/>
                  <a:pt x="2197" y="3944"/>
                </a:cubicBezTo>
                <a:cubicBezTo>
                  <a:pt x="1245" y="3950"/>
                  <a:pt x="935" y="3943"/>
                  <a:pt x="909" y="3917"/>
                </a:cubicBezTo>
                <a:close/>
                <a:moveTo>
                  <a:pt x="87" y="3370"/>
                </a:moveTo>
                <a:cubicBezTo>
                  <a:pt x="24" y="3317"/>
                  <a:pt x="0" y="3272"/>
                  <a:pt x="0" y="3209"/>
                </a:cubicBezTo>
                <a:cubicBezTo>
                  <a:pt x="0" y="3132"/>
                  <a:pt x="86" y="3035"/>
                  <a:pt x="705" y="2414"/>
                </a:cubicBezTo>
                <a:lnTo>
                  <a:pt x="1411" y="1706"/>
                </a:lnTo>
                <a:lnTo>
                  <a:pt x="1235" y="1530"/>
                </a:lnTo>
                <a:lnTo>
                  <a:pt x="1059" y="1355"/>
                </a:lnTo>
                <a:lnTo>
                  <a:pt x="1510" y="903"/>
                </a:lnTo>
                <a:lnTo>
                  <a:pt x="1960" y="452"/>
                </a:lnTo>
                <a:lnTo>
                  <a:pt x="2135" y="624"/>
                </a:lnTo>
                <a:cubicBezTo>
                  <a:pt x="2305" y="793"/>
                  <a:pt x="2310" y="796"/>
                  <a:pt x="2374" y="751"/>
                </a:cubicBezTo>
                <a:cubicBezTo>
                  <a:pt x="2469" y="685"/>
                  <a:pt x="2547" y="695"/>
                  <a:pt x="2633" y="785"/>
                </a:cubicBezTo>
                <a:cubicBezTo>
                  <a:pt x="2720" y="875"/>
                  <a:pt x="2731" y="974"/>
                  <a:pt x="2662" y="1050"/>
                </a:cubicBezTo>
                <a:cubicBezTo>
                  <a:pt x="2616" y="1100"/>
                  <a:pt x="2624" y="1112"/>
                  <a:pt x="2823" y="1313"/>
                </a:cubicBezTo>
                <a:lnTo>
                  <a:pt x="3033" y="1524"/>
                </a:lnTo>
                <a:lnTo>
                  <a:pt x="2582" y="1975"/>
                </a:lnTo>
                <a:lnTo>
                  <a:pt x="2132" y="2427"/>
                </a:lnTo>
                <a:lnTo>
                  <a:pt x="1933" y="2229"/>
                </a:lnTo>
                <a:cubicBezTo>
                  <a:pt x="1824" y="2121"/>
                  <a:pt x="1722" y="2032"/>
                  <a:pt x="1707" y="2032"/>
                </a:cubicBezTo>
                <a:cubicBezTo>
                  <a:pt x="1693" y="2032"/>
                  <a:pt x="1362" y="2349"/>
                  <a:pt x="973" y="2737"/>
                </a:cubicBezTo>
                <a:cubicBezTo>
                  <a:pt x="584" y="3125"/>
                  <a:pt x="245" y="3443"/>
                  <a:pt x="220" y="3443"/>
                </a:cubicBezTo>
                <a:cubicBezTo>
                  <a:pt x="194" y="3443"/>
                  <a:pt x="135" y="3410"/>
                  <a:pt x="87" y="3370"/>
                </a:cubicBezTo>
                <a:close/>
                <a:moveTo>
                  <a:pt x="2258" y="2887"/>
                </a:moveTo>
                <a:cubicBezTo>
                  <a:pt x="2196" y="2865"/>
                  <a:pt x="2145" y="2792"/>
                  <a:pt x="2145" y="2725"/>
                </a:cubicBezTo>
                <a:cubicBezTo>
                  <a:pt x="2145" y="2686"/>
                  <a:pt x="2337" y="2474"/>
                  <a:pt x="2703" y="2109"/>
                </a:cubicBezTo>
                <a:cubicBezTo>
                  <a:pt x="3289" y="1523"/>
                  <a:pt x="3346" y="1485"/>
                  <a:pt x="3453" y="1604"/>
                </a:cubicBezTo>
                <a:cubicBezTo>
                  <a:pt x="3556" y="1717"/>
                  <a:pt x="3522" y="1766"/>
                  <a:pt x="2956" y="2331"/>
                </a:cubicBezTo>
                <a:cubicBezTo>
                  <a:pt x="2657" y="2630"/>
                  <a:pt x="2388" y="2880"/>
                  <a:pt x="2357" y="2888"/>
                </a:cubicBezTo>
                <a:cubicBezTo>
                  <a:pt x="2326" y="2895"/>
                  <a:pt x="2281" y="2895"/>
                  <a:pt x="2258" y="2887"/>
                </a:cubicBezTo>
                <a:close/>
                <a:moveTo>
                  <a:pt x="637" y="1282"/>
                </a:moveTo>
                <a:cubicBezTo>
                  <a:pt x="528" y="1172"/>
                  <a:pt x="568" y="1113"/>
                  <a:pt x="1137" y="544"/>
                </a:cubicBezTo>
                <a:cubicBezTo>
                  <a:pt x="1607" y="74"/>
                  <a:pt x="1693" y="0"/>
                  <a:pt x="1767" y="0"/>
                </a:cubicBezTo>
                <a:cubicBezTo>
                  <a:pt x="1862" y="0"/>
                  <a:pt x="1947" y="73"/>
                  <a:pt x="1947" y="156"/>
                </a:cubicBezTo>
                <a:cubicBezTo>
                  <a:pt x="1947" y="186"/>
                  <a:pt x="1715" y="442"/>
                  <a:pt x="1391" y="767"/>
                </a:cubicBezTo>
                <a:cubicBezTo>
                  <a:pt x="808" y="1353"/>
                  <a:pt x="749" y="1393"/>
                  <a:pt x="637" y="12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4" name="Group 118">
            <a:extLst>
              <a:ext uri="{FF2B5EF4-FFF2-40B4-BE49-F238E27FC236}">
                <a16:creationId xmlns:a16="http://schemas.microsoft.com/office/drawing/2014/main" id="{FB3D6A90-C4FD-433A-A1C1-A4B3864804A5}"/>
              </a:ext>
            </a:extLst>
          </p:cNvPr>
          <p:cNvGrpSpPr/>
          <p:nvPr/>
        </p:nvGrpSpPr>
        <p:grpSpPr>
          <a:xfrm>
            <a:off x="8409631" y="5248358"/>
            <a:ext cx="346498" cy="347472"/>
            <a:chOff x="1468138" y="5997240"/>
            <a:chExt cx="283642" cy="307072"/>
          </a:xfrm>
          <a:solidFill>
            <a:schemeClr val="bg1"/>
          </a:solidFill>
        </p:grpSpPr>
        <p:sp>
          <p:nvSpPr>
            <p:cNvPr id="120" name="Freeform 16">
              <a:extLst>
                <a:ext uri="{FF2B5EF4-FFF2-40B4-BE49-F238E27FC236}">
                  <a16:creationId xmlns:a16="http://schemas.microsoft.com/office/drawing/2014/main" id="{D6134FC8-4249-4088-8AE8-003C8AAC7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6136" y="6255221"/>
              <a:ext cx="26428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1 w 349"/>
                <a:gd name="T25" fmla="*/ 226 h 350"/>
                <a:gd name="T26" fmla="*/ 225 w 349"/>
                <a:gd name="T27" fmla="*/ 213 h 350"/>
                <a:gd name="T28" fmla="*/ 234 w 349"/>
                <a:gd name="T29" fmla="*/ 194 h 350"/>
                <a:gd name="T30" fmla="*/ 237 w 349"/>
                <a:gd name="T31" fmla="*/ 175 h 350"/>
                <a:gd name="T32" fmla="*/ 235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5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4 w 349"/>
                <a:gd name="T47" fmla="*/ 3 h 350"/>
                <a:gd name="T48" fmla="*/ 234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8 w 349"/>
                <a:gd name="T55" fmla="*/ 63 h 350"/>
                <a:gd name="T56" fmla="*/ 325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5 w 349"/>
                <a:gd name="T65" fmla="*/ 210 h 350"/>
                <a:gd name="T66" fmla="*/ 335 w 349"/>
                <a:gd name="T67" fmla="*/ 243 h 350"/>
                <a:gd name="T68" fmla="*/ 319 w 349"/>
                <a:gd name="T69" fmla="*/ 273 h 350"/>
                <a:gd name="T70" fmla="*/ 297 w 349"/>
                <a:gd name="T71" fmla="*/ 299 h 350"/>
                <a:gd name="T72" fmla="*/ 272 w 349"/>
                <a:gd name="T73" fmla="*/ 319 h 350"/>
                <a:gd name="T74" fmla="*/ 242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39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29 w 349"/>
                <a:gd name="T89" fmla="*/ 273 h 350"/>
                <a:gd name="T90" fmla="*/ 14 w 349"/>
                <a:gd name="T91" fmla="*/ 243 h 350"/>
                <a:gd name="T92" fmla="*/ 3 w 349"/>
                <a:gd name="T93" fmla="*/ 210 h 350"/>
                <a:gd name="T94" fmla="*/ 0 w 349"/>
                <a:gd name="T95" fmla="*/ 175 h 350"/>
                <a:gd name="T96" fmla="*/ 3 w 349"/>
                <a:gd name="T97" fmla="*/ 140 h 350"/>
                <a:gd name="T98" fmla="*/ 14 w 349"/>
                <a:gd name="T99" fmla="*/ 107 h 350"/>
                <a:gd name="T100" fmla="*/ 29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39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1" y="226"/>
                  </a:lnTo>
                  <a:lnTo>
                    <a:pt x="225" y="213"/>
                  </a:lnTo>
                  <a:lnTo>
                    <a:pt x="234" y="194"/>
                  </a:lnTo>
                  <a:lnTo>
                    <a:pt x="237" y="175"/>
                  </a:lnTo>
                  <a:lnTo>
                    <a:pt x="235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5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4" y="3"/>
                  </a:lnTo>
                  <a:lnTo>
                    <a:pt x="234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8" y="63"/>
                  </a:lnTo>
                  <a:lnTo>
                    <a:pt x="325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5" y="210"/>
                  </a:lnTo>
                  <a:lnTo>
                    <a:pt x="335" y="243"/>
                  </a:lnTo>
                  <a:lnTo>
                    <a:pt x="319" y="273"/>
                  </a:lnTo>
                  <a:lnTo>
                    <a:pt x="297" y="299"/>
                  </a:lnTo>
                  <a:lnTo>
                    <a:pt x="272" y="319"/>
                  </a:lnTo>
                  <a:lnTo>
                    <a:pt x="242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39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29" y="273"/>
                  </a:lnTo>
                  <a:lnTo>
                    <a:pt x="14" y="243"/>
                  </a:lnTo>
                  <a:lnTo>
                    <a:pt x="3" y="210"/>
                  </a:lnTo>
                  <a:lnTo>
                    <a:pt x="0" y="175"/>
                  </a:lnTo>
                  <a:lnTo>
                    <a:pt x="3" y="140"/>
                  </a:lnTo>
                  <a:lnTo>
                    <a:pt x="14" y="107"/>
                  </a:lnTo>
                  <a:lnTo>
                    <a:pt x="29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39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1" name="Freeform 17">
              <a:extLst>
                <a:ext uri="{FF2B5EF4-FFF2-40B4-BE49-F238E27FC236}">
                  <a16:creationId xmlns:a16="http://schemas.microsoft.com/office/drawing/2014/main" id="{67A5F0B0-C078-4A85-9E32-409FF0B3D5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2133" y="6255221"/>
              <a:ext cx="26656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2 w 349"/>
                <a:gd name="T25" fmla="*/ 226 h 350"/>
                <a:gd name="T26" fmla="*/ 226 w 349"/>
                <a:gd name="T27" fmla="*/ 213 h 350"/>
                <a:gd name="T28" fmla="*/ 235 w 349"/>
                <a:gd name="T29" fmla="*/ 194 h 350"/>
                <a:gd name="T30" fmla="*/ 237 w 349"/>
                <a:gd name="T31" fmla="*/ 175 h 350"/>
                <a:gd name="T32" fmla="*/ 236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7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5 w 349"/>
                <a:gd name="T47" fmla="*/ 3 h 350"/>
                <a:gd name="T48" fmla="*/ 235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9 w 349"/>
                <a:gd name="T55" fmla="*/ 63 h 350"/>
                <a:gd name="T56" fmla="*/ 326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6 w 349"/>
                <a:gd name="T65" fmla="*/ 210 h 350"/>
                <a:gd name="T66" fmla="*/ 336 w 349"/>
                <a:gd name="T67" fmla="*/ 243 h 350"/>
                <a:gd name="T68" fmla="*/ 319 w 349"/>
                <a:gd name="T69" fmla="*/ 273 h 350"/>
                <a:gd name="T70" fmla="*/ 298 w 349"/>
                <a:gd name="T71" fmla="*/ 299 h 350"/>
                <a:gd name="T72" fmla="*/ 272 w 349"/>
                <a:gd name="T73" fmla="*/ 319 h 350"/>
                <a:gd name="T74" fmla="*/ 243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40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30 w 349"/>
                <a:gd name="T89" fmla="*/ 273 h 350"/>
                <a:gd name="T90" fmla="*/ 14 w 349"/>
                <a:gd name="T91" fmla="*/ 243 h 350"/>
                <a:gd name="T92" fmla="*/ 4 w 349"/>
                <a:gd name="T93" fmla="*/ 210 h 350"/>
                <a:gd name="T94" fmla="*/ 0 w 349"/>
                <a:gd name="T95" fmla="*/ 175 h 350"/>
                <a:gd name="T96" fmla="*/ 4 w 349"/>
                <a:gd name="T97" fmla="*/ 140 h 350"/>
                <a:gd name="T98" fmla="*/ 14 w 349"/>
                <a:gd name="T99" fmla="*/ 107 h 350"/>
                <a:gd name="T100" fmla="*/ 30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40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7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7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5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19" y="273"/>
                  </a:lnTo>
                  <a:lnTo>
                    <a:pt x="298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2" name="Freeform 18">
              <a:extLst>
                <a:ext uri="{FF2B5EF4-FFF2-40B4-BE49-F238E27FC236}">
                  <a16:creationId xmlns:a16="http://schemas.microsoft.com/office/drawing/2014/main" id="{BF1784DA-3E40-44FD-998D-DB1DD379C0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8357" y="6255221"/>
              <a:ext cx="26428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7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1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7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8 w 350"/>
                <a:gd name="T31" fmla="*/ 175 h 350"/>
                <a:gd name="T32" fmla="*/ 236 w 350"/>
                <a:gd name="T33" fmla="*/ 158 h 350"/>
                <a:gd name="T34" fmla="*/ 229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7 w 350"/>
                <a:gd name="T53" fmla="*/ 41 h 350"/>
                <a:gd name="T54" fmla="*/ 309 w 350"/>
                <a:gd name="T55" fmla="*/ 63 h 350"/>
                <a:gd name="T56" fmla="*/ 326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2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7 w 350"/>
                <a:gd name="T85" fmla="*/ 319 h 350"/>
                <a:gd name="T86" fmla="*/ 51 w 350"/>
                <a:gd name="T87" fmla="*/ 299 h 350"/>
                <a:gd name="T88" fmla="*/ 30 w 350"/>
                <a:gd name="T89" fmla="*/ 273 h 350"/>
                <a:gd name="T90" fmla="*/ 14 w 350"/>
                <a:gd name="T91" fmla="*/ 243 h 350"/>
                <a:gd name="T92" fmla="*/ 4 w 350"/>
                <a:gd name="T93" fmla="*/ 210 h 350"/>
                <a:gd name="T94" fmla="*/ 0 w 350"/>
                <a:gd name="T95" fmla="*/ 175 h 350"/>
                <a:gd name="T96" fmla="*/ 4 w 350"/>
                <a:gd name="T97" fmla="*/ 140 h 350"/>
                <a:gd name="T98" fmla="*/ 14 w 350"/>
                <a:gd name="T99" fmla="*/ 107 h 350"/>
                <a:gd name="T100" fmla="*/ 30 w 350"/>
                <a:gd name="T101" fmla="*/ 78 h 350"/>
                <a:gd name="T102" fmla="*/ 51 w 350"/>
                <a:gd name="T103" fmla="*/ 52 h 350"/>
                <a:gd name="T104" fmla="*/ 77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8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3" name="Freeform 19">
              <a:extLst>
                <a:ext uri="{FF2B5EF4-FFF2-40B4-BE49-F238E27FC236}">
                  <a16:creationId xmlns:a16="http://schemas.microsoft.com/office/drawing/2014/main" id="{FF26547B-24B3-4108-8095-A2794E966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4353" y="6255221"/>
              <a:ext cx="26656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8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3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8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9 w 350"/>
                <a:gd name="T31" fmla="*/ 175 h 350"/>
                <a:gd name="T32" fmla="*/ 236 w 350"/>
                <a:gd name="T33" fmla="*/ 158 h 350"/>
                <a:gd name="T34" fmla="*/ 231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8 w 350"/>
                <a:gd name="T53" fmla="*/ 41 h 350"/>
                <a:gd name="T54" fmla="*/ 309 w 350"/>
                <a:gd name="T55" fmla="*/ 63 h 350"/>
                <a:gd name="T56" fmla="*/ 327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3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8 w 350"/>
                <a:gd name="T85" fmla="*/ 319 h 350"/>
                <a:gd name="T86" fmla="*/ 53 w 350"/>
                <a:gd name="T87" fmla="*/ 299 h 350"/>
                <a:gd name="T88" fmla="*/ 31 w 350"/>
                <a:gd name="T89" fmla="*/ 273 h 350"/>
                <a:gd name="T90" fmla="*/ 15 w 350"/>
                <a:gd name="T91" fmla="*/ 243 h 350"/>
                <a:gd name="T92" fmla="*/ 5 w 350"/>
                <a:gd name="T93" fmla="*/ 210 h 350"/>
                <a:gd name="T94" fmla="*/ 0 w 350"/>
                <a:gd name="T95" fmla="*/ 175 h 350"/>
                <a:gd name="T96" fmla="*/ 5 w 350"/>
                <a:gd name="T97" fmla="*/ 140 h 350"/>
                <a:gd name="T98" fmla="*/ 15 w 350"/>
                <a:gd name="T99" fmla="*/ 107 h 350"/>
                <a:gd name="T100" fmla="*/ 31 w 350"/>
                <a:gd name="T101" fmla="*/ 78 h 350"/>
                <a:gd name="T102" fmla="*/ 53 w 350"/>
                <a:gd name="T103" fmla="*/ 52 h 350"/>
                <a:gd name="T104" fmla="*/ 78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8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3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8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9" y="175"/>
                  </a:lnTo>
                  <a:lnTo>
                    <a:pt x="236" y="158"/>
                  </a:lnTo>
                  <a:lnTo>
                    <a:pt x="231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8" y="41"/>
                  </a:lnTo>
                  <a:lnTo>
                    <a:pt x="309" y="63"/>
                  </a:lnTo>
                  <a:lnTo>
                    <a:pt x="327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3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8" y="319"/>
                  </a:lnTo>
                  <a:lnTo>
                    <a:pt x="53" y="299"/>
                  </a:lnTo>
                  <a:lnTo>
                    <a:pt x="31" y="273"/>
                  </a:lnTo>
                  <a:lnTo>
                    <a:pt x="15" y="243"/>
                  </a:lnTo>
                  <a:lnTo>
                    <a:pt x="5" y="210"/>
                  </a:lnTo>
                  <a:lnTo>
                    <a:pt x="0" y="175"/>
                  </a:lnTo>
                  <a:lnTo>
                    <a:pt x="5" y="140"/>
                  </a:lnTo>
                  <a:lnTo>
                    <a:pt x="15" y="107"/>
                  </a:lnTo>
                  <a:lnTo>
                    <a:pt x="31" y="78"/>
                  </a:lnTo>
                  <a:lnTo>
                    <a:pt x="53" y="52"/>
                  </a:lnTo>
                  <a:lnTo>
                    <a:pt x="78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4" name="Freeform 20">
              <a:extLst>
                <a:ext uri="{FF2B5EF4-FFF2-40B4-BE49-F238E27FC236}">
                  <a16:creationId xmlns:a16="http://schemas.microsoft.com/office/drawing/2014/main" id="{6F553FA1-4728-401A-8C20-F18E165CA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80832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2 h 111"/>
                <a:gd name="T10" fmla="*/ 168 w 171"/>
                <a:gd name="T11" fmla="*/ 37 h 111"/>
                <a:gd name="T12" fmla="*/ 171 w 171"/>
                <a:gd name="T13" fmla="*/ 55 h 111"/>
                <a:gd name="T14" fmla="*/ 168 w 171"/>
                <a:gd name="T15" fmla="*/ 72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8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8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2 h 111"/>
                <a:gd name="T34" fmla="*/ 0 w 171"/>
                <a:gd name="T35" fmla="*/ 55 h 111"/>
                <a:gd name="T36" fmla="*/ 2 w 171"/>
                <a:gd name="T37" fmla="*/ 37 h 111"/>
                <a:gd name="T38" fmla="*/ 10 w 171"/>
                <a:gd name="T39" fmla="*/ 22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2"/>
                  </a:lnTo>
                  <a:lnTo>
                    <a:pt x="168" y="37"/>
                  </a:lnTo>
                  <a:lnTo>
                    <a:pt x="171" y="55"/>
                  </a:lnTo>
                  <a:lnTo>
                    <a:pt x="168" y="72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8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8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2"/>
                  </a:lnTo>
                  <a:lnTo>
                    <a:pt x="0" y="55"/>
                  </a:lnTo>
                  <a:lnTo>
                    <a:pt x="2" y="37"/>
                  </a:lnTo>
                  <a:lnTo>
                    <a:pt x="10" y="22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5" name="Freeform 21">
              <a:extLst>
                <a:ext uri="{FF2B5EF4-FFF2-40B4-BE49-F238E27FC236}">
                  <a16:creationId xmlns:a16="http://schemas.microsoft.com/office/drawing/2014/main" id="{2A783787-5E9B-43C9-9BF4-073950C97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95860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3 h 111"/>
                <a:gd name="T10" fmla="*/ 168 w 171"/>
                <a:gd name="T11" fmla="*/ 38 h 111"/>
                <a:gd name="T12" fmla="*/ 171 w 171"/>
                <a:gd name="T13" fmla="*/ 55 h 111"/>
                <a:gd name="T14" fmla="*/ 168 w 171"/>
                <a:gd name="T15" fmla="*/ 74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9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9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4 h 111"/>
                <a:gd name="T34" fmla="*/ 0 w 171"/>
                <a:gd name="T35" fmla="*/ 55 h 111"/>
                <a:gd name="T36" fmla="*/ 2 w 171"/>
                <a:gd name="T37" fmla="*/ 38 h 111"/>
                <a:gd name="T38" fmla="*/ 10 w 171"/>
                <a:gd name="T39" fmla="*/ 23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3"/>
                  </a:lnTo>
                  <a:lnTo>
                    <a:pt x="168" y="38"/>
                  </a:lnTo>
                  <a:lnTo>
                    <a:pt x="171" y="55"/>
                  </a:lnTo>
                  <a:lnTo>
                    <a:pt x="168" y="74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9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9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4"/>
                  </a:lnTo>
                  <a:lnTo>
                    <a:pt x="0" y="55"/>
                  </a:lnTo>
                  <a:lnTo>
                    <a:pt x="2" y="38"/>
                  </a:lnTo>
                  <a:lnTo>
                    <a:pt x="10" y="23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6" name="Freeform 22">
              <a:extLst>
                <a:ext uri="{FF2B5EF4-FFF2-40B4-BE49-F238E27FC236}">
                  <a16:creationId xmlns:a16="http://schemas.microsoft.com/office/drawing/2014/main" id="{6465D05A-ED22-49B3-924E-6DFC4C8C8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8138" y="5997240"/>
              <a:ext cx="283642" cy="307072"/>
            </a:xfrm>
            <a:custGeom>
              <a:avLst/>
              <a:gdLst>
                <a:gd name="T0" fmla="*/ 185 w 3736"/>
                <a:gd name="T1" fmla="*/ 3069 h 3678"/>
                <a:gd name="T2" fmla="*/ 125 w 3736"/>
                <a:gd name="T3" fmla="*/ 3352 h 3678"/>
                <a:gd name="T4" fmla="*/ 325 w 3736"/>
                <a:gd name="T5" fmla="*/ 3554 h 3678"/>
                <a:gd name="T6" fmla="*/ 2002 w 3736"/>
                <a:gd name="T7" fmla="*/ 3518 h 3678"/>
                <a:gd name="T8" fmla="*/ 2140 w 3736"/>
                <a:gd name="T9" fmla="*/ 3266 h 3678"/>
                <a:gd name="T10" fmla="*/ 2002 w 3736"/>
                <a:gd name="T11" fmla="*/ 3013 h 3678"/>
                <a:gd name="T12" fmla="*/ 943 w 3736"/>
                <a:gd name="T13" fmla="*/ 2853 h 3678"/>
                <a:gd name="T14" fmla="*/ 2970 w 3736"/>
                <a:gd name="T15" fmla="*/ 2765 h 3678"/>
                <a:gd name="T16" fmla="*/ 3240 w 3736"/>
                <a:gd name="T17" fmla="*/ 2787 h 3678"/>
                <a:gd name="T18" fmla="*/ 3506 w 3736"/>
                <a:gd name="T19" fmla="*/ 2599 h 3678"/>
                <a:gd name="T20" fmla="*/ 302 w 3736"/>
                <a:gd name="T21" fmla="*/ 2099 h 3678"/>
                <a:gd name="T22" fmla="*/ 333 w 3736"/>
                <a:gd name="T23" fmla="*/ 2613 h 3678"/>
                <a:gd name="T24" fmla="*/ 3524 w 3736"/>
                <a:gd name="T25" fmla="*/ 1966 h 3678"/>
                <a:gd name="T26" fmla="*/ 3542 w 3736"/>
                <a:gd name="T27" fmla="*/ 2077 h 3678"/>
                <a:gd name="T28" fmla="*/ 3622 w 3736"/>
                <a:gd name="T29" fmla="*/ 1998 h 3678"/>
                <a:gd name="T30" fmla="*/ 893 w 3736"/>
                <a:gd name="T31" fmla="*/ 1458 h 3678"/>
                <a:gd name="T32" fmla="*/ 1843 w 3736"/>
                <a:gd name="T33" fmla="*/ 2616 h 3678"/>
                <a:gd name="T34" fmla="*/ 1132 w 3736"/>
                <a:gd name="T35" fmla="*/ 2414 h 3678"/>
                <a:gd name="T36" fmla="*/ 954 w 3736"/>
                <a:gd name="T37" fmla="*/ 2256 h 3678"/>
                <a:gd name="T38" fmla="*/ 1082 w 3736"/>
                <a:gd name="T39" fmla="*/ 2271 h 3678"/>
                <a:gd name="T40" fmla="*/ 1271 w 3736"/>
                <a:gd name="T41" fmla="*/ 1557 h 3678"/>
                <a:gd name="T42" fmla="*/ 1360 w 3736"/>
                <a:gd name="T43" fmla="*/ 1601 h 3678"/>
                <a:gd name="T44" fmla="*/ 1958 w 3736"/>
                <a:gd name="T45" fmla="*/ 2171 h 3678"/>
                <a:gd name="T46" fmla="*/ 1525 w 3736"/>
                <a:gd name="T47" fmla="*/ 1457 h 3678"/>
                <a:gd name="T48" fmla="*/ 2749 w 3736"/>
                <a:gd name="T49" fmla="*/ 361 h 3678"/>
                <a:gd name="T50" fmla="*/ 3541 w 3736"/>
                <a:gd name="T51" fmla="*/ 1844 h 3678"/>
                <a:gd name="T52" fmla="*/ 1658 w 3736"/>
                <a:gd name="T53" fmla="*/ 1439 h 3678"/>
                <a:gd name="T54" fmla="*/ 2419 w 3736"/>
                <a:gd name="T55" fmla="*/ 427 h 3678"/>
                <a:gd name="T56" fmla="*/ 2498 w 3736"/>
                <a:gd name="T57" fmla="*/ 124 h 3678"/>
                <a:gd name="T58" fmla="*/ 2441 w 3736"/>
                <a:gd name="T59" fmla="*/ 287 h 3678"/>
                <a:gd name="T60" fmla="*/ 2599 w 3736"/>
                <a:gd name="T61" fmla="*/ 347 h 3678"/>
                <a:gd name="T62" fmla="*/ 2672 w 3736"/>
                <a:gd name="T63" fmla="*/ 256 h 3678"/>
                <a:gd name="T64" fmla="*/ 2625 w 3736"/>
                <a:gd name="T65" fmla="*/ 136 h 3678"/>
                <a:gd name="T66" fmla="*/ 2665 w 3736"/>
                <a:gd name="T67" fmla="*/ 28 h 3678"/>
                <a:gd name="T68" fmla="*/ 3734 w 3736"/>
                <a:gd name="T69" fmla="*/ 1986 h 3678"/>
                <a:gd name="T70" fmla="*/ 3646 w 3736"/>
                <a:gd name="T71" fmla="*/ 2170 h 3678"/>
                <a:gd name="T72" fmla="*/ 3580 w 3736"/>
                <a:gd name="T73" fmla="*/ 2724 h 3678"/>
                <a:gd name="T74" fmla="*/ 3180 w 3736"/>
                <a:gd name="T75" fmla="*/ 2918 h 3678"/>
                <a:gd name="T76" fmla="*/ 2865 w 3736"/>
                <a:gd name="T77" fmla="*/ 2826 h 3678"/>
                <a:gd name="T78" fmla="*/ 2459 w 3736"/>
                <a:gd name="T79" fmla="*/ 2397 h 3678"/>
                <a:gd name="T80" fmla="*/ 3431 w 3736"/>
                <a:gd name="T81" fmla="*/ 2200 h 3678"/>
                <a:gd name="T82" fmla="*/ 3506 w 3736"/>
                <a:gd name="T83" fmla="*/ 2183 h 3678"/>
                <a:gd name="T84" fmla="*/ 1983 w 3736"/>
                <a:gd name="T85" fmla="*/ 1926 h 3678"/>
                <a:gd name="T86" fmla="*/ 2073 w 3736"/>
                <a:gd name="T87" fmla="*/ 2433 h 3678"/>
                <a:gd name="T88" fmla="*/ 2059 w 3736"/>
                <a:gd name="T89" fmla="*/ 2469 h 3678"/>
                <a:gd name="T90" fmla="*/ 2043 w 3736"/>
                <a:gd name="T91" fmla="*/ 2482 h 3678"/>
                <a:gd name="T92" fmla="*/ 2024 w 3736"/>
                <a:gd name="T93" fmla="*/ 2489 h 3678"/>
                <a:gd name="T94" fmla="*/ 1942 w 3736"/>
                <a:gd name="T95" fmla="*/ 2705 h 3678"/>
                <a:gd name="T96" fmla="*/ 1890 w 3736"/>
                <a:gd name="T97" fmla="*/ 2857 h 3678"/>
                <a:gd name="T98" fmla="*/ 2177 w 3736"/>
                <a:gd name="T99" fmla="*/ 3030 h 3678"/>
                <a:gd name="T100" fmla="*/ 2238 w 3736"/>
                <a:gd name="T101" fmla="*/ 3367 h 3678"/>
                <a:gd name="T102" fmla="*/ 2032 w 3736"/>
                <a:gd name="T103" fmla="*/ 3630 h 3678"/>
                <a:gd name="T104" fmla="*/ 311 w 3736"/>
                <a:gd name="T105" fmla="*/ 3666 h 3678"/>
                <a:gd name="T106" fmla="*/ 49 w 3736"/>
                <a:gd name="T107" fmla="*/ 3460 h 3678"/>
                <a:gd name="T108" fmla="*/ 28 w 3736"/>
                <a:gd name="T109" fmla="*/ 3116 h 3678"/>
                <a:gd name="T110" fmla="*/ 263 w 3736"/>
                <a:gd name="T111" fmla="*/ 2882 h 3678"/>
                <a:gd name="T112" fmla="*/ 317 w 3736"/>
                <a:gd name="T113" fmla="*/ 2724 h 3678"/>
                <a:gd name="T114" fmla="*/ 178 w 3736"/>
                <a:gd name="T115" fmla="*/ 2553 h 3678"/>
                <a:gd name="T116" fmla="*/ 284 w 3736"/>
                <a:gd name="T117" fmla="*/ 1975 h 3678"/>
                <a:gd name="T118" fmla="*/ 740 w 3736"/>
                <a:gd name="T119" fmla="*/ 1477 h 3678"/>
                <a:gd name="T120" fmla="*/ 963 w 3736"/>
                <a:gd name="T121" fmla="*/ 1310 h 3678"/>
                <a:gd name="T122" fmla="*/ 2410 w 3736"/>
                <a:gd name="T123" fmla="*/ 48 h 3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6" h="3678">
                  <a:moveTo>
                    <a:pt x="413" y="2964"/>
                  </a:moveTo>
                  <a:lnTo>
                    <a:pt x="367" y="2968"/>
                  </a:lnTo>
                  <a:lnTo>
                    <a:pt x="325" y="2978"/>
                  </a:lnTo>
                  <a:lnTo>
                    <a:pt x="286" y="2993"/>
                  </a:lnTo>
                  <a:lnTo>
                    <a:pt x="248" y="3013"/>
                  </a:lnTo>
                  <a:lnTo>
                    <a:pt x="215" y="3039"/>
                  </a:lnTo>
                  <a:lnTo>
                    <a:pt x="185" y="3069"/>
                  </a:lnTo>
                  <a:lnTo>
                    <a:pt x="160" y="3102"/>
                  </a:lnTo>
                  <a:lnTo>
                    <a:pt x="139" y="3139"/>
                  </a:lnTo>
                  <a:lnTo>
                    <a:pt x="125" y="3179"/>
                  </a:lnTo>
                  <a:lnTo>
                    <a:pt x="114" y="3222"/>
                  </a:lnTo>
                  <a:lnTo>
                    <a:pt x="111" y="3266"/>
                  </a:lnTo>
                  <a:lnTo>
                    <a:pt x="114" y="3310"/>
                  </a:lnTo>
                  <a:lnTo>
                    <a:pt x="125" y="3352"/>
                  </a:lnTo>
                  <a:lnTo>
                    <a:pt x="139" y="3393"/>
                  </a:lnTo>
                  <a:lnTo>
                    <a:pt x="160" y="3430"/>
                  </a:lnTo>
                  <a:lnTo>
                    <a:pt x="185" y="3464"/>
                  </a:lnTo>
                  <a:lnTo>
                    <a:pt x="215" y="3493"/>
                  </a:lnTo>
                  <a:lnTo>
                    <a:pt x="248" y="3518"/>
                  </a:lnTo>
                  <a:lnTo>
                    <a:pt x="286" y="3538"/>
                  </a:lnTo>
                  <a:lnTo>
                    <a:pt x="325" y="3554"/>
                  </a:lnTo>
                  <a:lnTo>
                    <a:pt x="367" y="3563"/>
                  </a:lnTo>
                  <a:lnTo>
                    <a:pt x="413" y="3567"/>
                  </a:lnTo>
                  <a:lnTo>
                    <a:pt x="1838" y="3567"/>
                  </a:lnTo>
                  <a:lnTo>
                    <a:pt x="1882" y="3563"/>
                  </a:lnTo>
                  <a:lnTo>
                    <a:pt x="1925" y="3554"/>
                  </a:lnTo>
                  <a:lnTo>
                    <a:pt x="1965" y="3538"/>
                  </a:lnTo>
                  <a:lnTo>
                    <a:pt x="2002" y="3518"/>
                  </a:lnTo>
                  <a:lnTo>
                    <a:pt x="2035" y="3493"/>
                  </a:lnTo>
                  <a:lnTo>
                    <a:pt x="2065" y="3464"/>
                  </a:lnTo>
                  <a:lnTo>
                    <a:pt x="2091" y="3430"/>
                  </a:lnTo>
                  <a:lnTo>
                    <a:pt x="2111" y="3393"/>
                  </a:lnTo>
                  <a:lnTo>
                    <a:pt x="2126" y="3352"/>
                  </a:lnTo>
                  <a:lnTo>
                    <a:pt x="2136" y="3310"/>
                  </a:lnTo>
                  <a:lnTo>
                    <a:pt x="2140" y="3266"/>
                  </a:lnTo>
                  <a:lnTo>
                    <a:pt x="2136" y="3222"/>
                  </a:lnTo>
                  <a:lnTo>
                    <a:pt x="2126" y="3179"/>
                  </a:lnTo>
                  <a:lnTo>
                    <a:pt x="2111" y="3139"/>
                  </a:lnTo>
                  <a:lnTo>
                    <a:pt x="2091" y="3102"/>
                  </a:lnTo>
                  <a:lnTo>
                    <a:pt x="2065" y="3069"/>
                  </a:lnTo>
                  <a:lnTo>
                    <a:pt x="2035" y="3039"/>
                  </a:lnTo>
                  <a:lnTo>
                    <a:pt x="2002" y="3013"/>
                  </a:lnTo>
                  <a:lnTo>
                    <a:pt x="1965" y="2993"/>
                  </a:lnTo>
                  <a:lnTo>
                    <a:pt x="1925" y="2978"/>
                  </a:lnTo>
                  <a:lnTo>
                    <a:pt x="1882" y="2968"/>
                  </a:lnTo>
                  <a:lnTo>
                    <a:pt x="1838" y="2964"/>
                  </a:lnTo>
                  <a:lnTo>
                    <a:pt x="413" y="2964"/>
                  </a:lnTo>
                  <a:close/>
                  <a:moveTo>
                    <a:pt x="943" y="2727"/>
                  </a:moveTo>
                  <a:lnTo>
                    <a:pt x="943" y="2853"/>
                  </a:lnTo>
                  <a:lnTo>
                    <a:pt x="1307" y="2853"/>
                  </a:lnTo>
                  <a:lnTo>
                    <a:pt x="1307" y="2727"/>
                  </a:lnTo>
                  <a:lnTo>
                    <a:pt x="943" y="2727"/>
                  </a:lnTo>
                  <a:close/>
                  <a:moveTo>
                    <a:pt x="3407" y="2328"/>
                  </a:moveTo>
                  <a:lnTo>
                    <a:pt x="2754" y="2590"/>
                  </a:lnTo>
                  <a:lnTo>
                    <a:pt x="2936" y="2741"/>
                  </a:lnTo>
                  <a:lnTo>
                    <a:pt x="2970" y="2765"/>
                  </a:lnTo>
                  <a:lnTo>
                    <a:pt x="3005" y="2783"/>
                  </a:lnTo>
                  <a:lnTo>
                    <a:pt x="3042" y="2797"/>
                  </a:lnTo>
                  <a:lnTo>
                    <a:pt x="3081" y="2806"/>
                  </a:lnTo>
                  <a:lnTo>
                    <a:pt x="3121" y="2809"/>
                  </a:lnTo>
                  <a:lnTo>
                    <a:pt x="3161" y="2808"/>
                  </a:lnTo>
                  <a:lnTo>
                    <a:pt x="3201" y="2800"/>
                  </a:lnTo>
                  <a:lnTo>
                    <a:pt x="3240" y="2787"/>
                  </a:lnTo>
                  <a:lnTo>
                    <a:pt x="3429" y="2711"/>
                  </a:lnTo>
                  <a:lnTo>
                    <a:pt x="3452" y="2700"/>
                  </a:lnTo>
                  <a:lnTo>
                    <a:pt x="3470" y="2684"/>
                  </a:lnTo>
                  <a:lnTo>
                    <a:pt x="3485" y="2666"/>
                  </a:lnTo>
                  <a:lnTo>
                    <a:pt x="3496" y="2646"/>
                  </a:lnTo>
                  <a:lnTo>
                    <a:pt x="3504" y="2623"/>
                  </a:lnTo>
                  <a:lnTo>
                    <a:pt x="3506" y="2599"/>
                  </a:lnTo>
                  <a:lnTo>
                    <a:pt x="3504" y="2575"/>
                  </a:lnTo>
                  <a:lnTo>
                    <a:pt x="3497" y="2551"/>
                  </a:lnTo>
                  <a:lnTo>
                    <a:pt x="3407" y="2328"/>
                  </a:lnTo>
                  <a:close/>
                  <a:moveTo>
                    <a:pt x="353" y="2073"/>
                  </a:moveTo>
                  <a:lnTo>
                    <a:pt x="333" y="2076"/>
                  </a:lnTo>
                  <a:lnTo>
                    <a:pt x="315" y="2085"/>
                  </a:lnTo>
                  <a:lnTo>
                    <a:pt x="302" y="2099"/>
                  </a:lnTo>
                  <a:lnTo>
                    <a:pt x="292" y="2116"/>
                  </a:lnTo>
                  <a:lnTo>
                    <a:pt x="289" y="2136"/>
                  </a:lnTo>
                  <a:lnTo>
                    <a:pt x="289" y="2553"/>
                  </a:lnTo>
                  <a:lnTo>
                    <a:pt x="292" y="2572"/>
                  </a:lnTo>
                  <a:lnTo>
                    <a:pt x="302" y="2590"/>
                  </a:lnTo>
                  <a:lnTo>
                    <a:pt x="315" y="2604"/>
                  </a:lnTo>
                  <a:lnTo>
                    <a:pt x="333" y="2613"/>
                  </a:lnTo>
                  <a:lnTo>
                    <a:pt x="353" y="2616"/>
                  </a:lnTo>
                  <a:lnTo>
                    <a:pt x="713" y="2616"/>
                  </a:lnTo>
                  <a:lnTo>
                    <a:pt x="713" y="2073"/>
                  </a:lnTo>
                  <a:lnTo>
                    <a:pt x="353" y="2073"/>
                  </a:lnTo>
                  <a:close/>
                  <a:moveTo>
                    <a:pt x="3562" y="1955"/>
                  </a:moveTo>
                  <a:lnTo>
                    <a:pt x="3542" y="1957"/>
                  </a:lnTo>
                  <a:lnTo>
                    <a:pt x="3524" y="1966"/>
                  </a:lnTo>
                  <a:lnTo>
                    <a:pt x="3511" y="1980"/>
                  </a:lnTo>
                  <a:lnTo>
                    <a:pt x="3502" y="1998"/>
                  </a:lnTo>
                  <a:lnTo>
                    <a:pt x="3498" y="2017"/>
                  </a:lnTo>
                  <a:lnTo>
                    <a:pt x="3502" y="2038"/>
                  </a:lnTo>
                  <a:lnTo>
                    <a:pt x="3511" y="2055"/>
                  </a:lnTo>
                  <a:lnTo>
                    <a:pt x="3524" y="2068"/>
                  </a:lnTo>
                  <a:lnTo>
                    <a:pt x="3542" y="2077"/>
                  </a:lnTo>
                  <a:lnTo>
                    <a:pt x="3562" y="2081"/>
                  </a:lnTo>
                  <a:lnTo>
                    <a:pt x="3582" y="2077"/>
                  </a:lnTo>
                  <a:lnTo>
                    <a:pt x="3599" y="2068"/>
                  </a:lnTo>
                  <a:lnTo>
                    <a:pt x="3613" y="2055"/>
                  </a:lnTo>
                  <a:lnTo>
                    <a:pt x="3622" y="2038"/>
                  </a:lnTo>
                  <a:lnTo>
                    <a:pt x="3625" y="2017"/>
                  </a:lnTo>
                  <a:lnTo>
                    <a:pt x="3622" y="1998"/>
                  </a:lnTo>
                  <a:lnTo>
                    <a:pt x="3613" y="1980"/>
                  </a:lnTo>
                  <a:lnTo>
                    <a:pt x="3599" y="1966"/>
                  </a:lnTo>
                  <a:lnTo>
                    <a:pt x="3582" y="1957"/>
                  </a:lnTo>
                  <a:lnTo>
                    <a:pt x="3562" y="1955"/>
                  </a:lnTo>
                  <a:close/>
                  <a:moveTo>
                    <a:pt x="950" y="1428"/>
                  </a:moveTo>
                  <a:lnTo>
                    <a:pt x="921" y="1441"/>
                  </a:lnTo>
                  <a:lnTo>
                    <a:pt x="893" y="1458"/>
                  </a:lnTo>
                  <a:lnTo>
                    <a:pt x="871" y="1481"/>
                  </a:lnTo>
                  <a:lnTo>
                    <a:pt x="851" y="1507"/>
                  </a:lnTo>
                  <a:lnTo>
                    <a:pt x="837" y="1536"/>
                  </a:lnTo>
                  <a:lnTo>
                    <a:pt x="828" y="1568"/>
                  </a:lnTo>
                  <a:lnTo>
                    <a:pt x="824" y="1601"/>
                  </a:lnTo>
                  <a:lnTo>
                    <a:pt x="824" y="2616"/>
                  </a:lnTo>
                  <a:lnTo>
                    <a:pt x="1843" y="2616"/>
                  </a:lnTo>
                  <a:lnTo>
                    <a:pt x="1843" y="2489"/>
                  </a:lnTo>
                  <a:lnTo>
                    <a:pt x="1556" y="2489"/>
                  </a:lnTo>
                  <a:lnTo>
                    <a:pt x="1468" y="2487"/>
                  </a:lnTo>
                  <a:lnTo>
                    <a:pt x="1382" y="2478"/>
                  </a:lnTo>
                  <a:lnTo>
                    <a:pt x="1297" y="2462"/>
                  </a:lnTo>
                  <a:lnTo>
                    <a:pt x="1213" y="2441"/>
                  </a:lnTo>
                  <a:lnTo>
                    <a:pt x="1132" y="2414"/>
                  </a:lnTo>
                  <a:lnTo>
                    <a:pt x="1050" y="2382"/>
                  </a:lnTo>
                  <a:lnTo>
                    <a:pt x="1026" y="2369"/>
                  </a:lnTo>
                  <a:lnTo>
                    <a:pt x="1005" y="2352"/>
                  </a:lnTo>
                  <a:lnTo>
                    <a:pt x="985" y="2331"/>
                  </a:lnTo>
                  <a:lnTo>
                    <a:pt x="971" y="2309"/>
                  </a:lnTo>
                  <a:lnTo>
                    <a:pt x="960" y="2284"/>
                  </a:lnTo>
                  <a:lnTo>
                    <a:pt x="954" y="2256"/>
                  </a:lnTo>
                  <a:lnTo>
                    <a:pt x="950" y="2228"/>
                  </a:lnTo>
                  <a:lnTo>
                    <a:pt x="950" y="1428"/>
                  </a:lnTo>
                  <a:close/>
                  <a:moveTo>
                    <a:pt x="1062" y="1419"/>
                  </a:moveTo>
                  <a:lnTo>
                    <a:pt x="1062" y="2228"/>
                  </a:lnTo>
                  <a:lnTo>
                    <a:pt x="1065" y="2245"/>
                  </a:lnTo>
                  <a:lnTo>
                    <a:pt x="1071" y="2259"/>
                  </a:lnTo>
                  <a:lnTo>
                    <a:pt x="1082" y="2271"/>
                  </a:lnTo>
                  <a:lnTo>
                    <a:pt x="1095" y="2280"/>
                  </a:lnTo>
                  <a:lnTo>
                    <a:pt x="1171" y="2311"/>
                  </a:lnTo>
                  <a:lnTo>
                    <a:pt x="1248" y="2335"/>
                  </a:lnTo>
                  <a:lnTo>
                    <a:pt x="1248" y="1601"/>
                  </a:lnTo>
                  <a:lnTo>
                    <a:pt x="1251" y="1584"/>
                  </a:lnTo>
                  <a:lnTo>
                    <a:pt x="1259" y="1568"/>
                  </a:lnTo>
                  <a:lnTo>
                    <a:pt x="1271" y="1557"/>
                  </a:lnTo>
                  <a:lnTo>
                    <a:pt x="1286" y="1549"/>
                  </a:lnTo>
                  <a:lnTo>
                    <a:pt x="1304" y="1545"/>
                  </a:lnTo>
                  <a:lnTo>
                    <a:pt x="1321" y="1549"/>
                  </a:lnTo>
                  <a:lnTo>
                    <a:pt x="1337" y="1557"/>
                  </a:lnTo>
                  <a:lnTo>
                    <a:pt x="1348" y="1568"/>
                  </a:lnTo>
                  <a:lnTo>
                    <a:pt x="1356" y="1584"/>
                  </a:lnTo>
                  <a:lnTo>
                    <a:pt x="1360" y="1601"/>
                  </a:lnTo>
                  <a:lnTo>
                    <a:pt x="1360" y="2361"/>
                  </a:lnTo>
                  <a:lnTo>
                    <a:pt x="1424" y="2370"/>
                  </a:lnTo>
                  <a:lnTo>
                    <a:pt x="1490" y="2376"/>
                  </a:lnTo>
                  <a:lnTo>
                    <a:pt x="1556" y="2378"/>
                  </a:lnTo>
                  <a:lnTo>
                    <a:pt x="1961" y="2378"/>
                  </a:lnTo>
                  <a:lnTo>
                    <a:pt x="1961" y="2221"/>
                  </a:lnTo>
                  <a:lnTo>
                    <a:pt x="1958" y="2171"/>
                  </a:lnTo>
                  <a:lnTo>
                    <a:pt x="1949" y="2123"/>
                  </a:lnTo>
                  <a:lnTo>
                    <a:pt x="1936" y="2076"/>
                  </a:lnTo>
                  <a:lnTo>
                    <a:pt x="1915" y="2031"/>
                  </a:lnTo>
                  <a:lnTo>
                    <a:pt x="1890" y="1988"/>
                  </a:lnTo>
                  <a:lnTo>
                    <a:pt x="1566" y="1500"/>
                  </a:lnTo>
                  <a:lnTo>
                    <a:pt x="1547" y="1477"/>
                  </a:lnTo>
                  <a:lnTo>
                    <a:pt x="1525" y="1457"/>
                  </a:lnTo>
                  <a:lnTo>
                    <a:pt x="1500" y="1441"/>
                  </a:lnTo>
                  <a:lnTo>
                    <a:pt x="1473" y="1428"/>
                  </a:lnTo>
                  <a:lnTo>
                    <a:pt x="1445" y="1422"/>
                  </a:lnTo>
                  <a:lnTo>
                    <a:pt x="1414" y="1419"/>
                  </a:lnTo>
                  <a:lnTo>
                    <a:pt x="1062" y="1419"/>
                  </a:lnTo>
                  <a:close/>
                  <a:moveTo>
                    <a:pt x="2753" y="353"/>
                  </a:moveTo>
                  <a:lnTo>
                    <a:pt x="2749" y="361"/>
                  </a:lnTo>
                  <a:lnTo>
                    <a:pt x="2571" y="659"/>
                  </a:lnTo>
                  <a:lnTo>
                    <a:pt x="3419" y="1917"/>
                  </a:lnTo>
                  <a:lnTo>
                    <a:pt x="3437" y="1895"/>
                  </a:lnTo>
                  <a:lnTo>
                    <a:pt x="3460" y="1876"/>
                  </a:lnTo>
                  <a:lnTo>
                    <a:pt x="3485" y="1861"/>
                  </a:lnTo>
                  <a:lnTo>
                    <a:pt x="3512" y="1850"/>
                  </a:lnTo>
                  <a:lnTo>
                    <a:pt x="3541" y="1844"/>
                  </a:lnTo>
                  <a:lnTo>
                    <a:pt x="2753" y="353"/>
                  </a:lnTo>
                  <a:close/>
                  <a:moveTo>
                    <a:pt x="2334" y="320"/>
                  </a:moveTo>
                  <a:lnTo>
                    <a:pt x="1562" y="1348"/>
                  </a:lnTo>
                  <a:lnTo>
                    <a:pt x="1590" y="1366"/>
                  </a:lnTo>
                  <a:lnTo>
                    <a:pt x="1616" y="1387"/>
                  </a:lnTo>
                  <a:lnTo>
                    <a:pt x="1638" y="1411"/>
                  </a:lnTo>
                  <a:lnTo>
                    <a:pt x="1658" y="1439"/>
                  </a:lnTo>
                  <a:lnTo>
                    <a:pt x="1827" y="1690"/>
                  </a:lnTo>
                  <a:lnTo>
                    <a:pt x="2555" y="467"/>
                  </a:lnTo>
                  <a:lnTo>
                    <a:pt x="2551" y="467"/>
                  </a:lnTo>
                  <a:lnTo>
                    <a:pt x="2515" y="465"/>
                  </a:lnTo>
                  <a:lnTo>
                    <a:pt x="2481" y="457"/>
                  </a:lnTo>
                  <a:lnTo>
                    <a:pt x="2448" y="444"/>
                  </a:lnTo>
                  <a:lnTo>
                    <a:pt x="2419" y="427"/>
                  </a:lnTo>
                  <a:lnTo>
                    <a:pt x="2391" y="405"/>
                  </a:lnTo>
                  <a:lnTo>
                    <a:pt x="2369" y="380"/>
                  </a:lnTo>
                  <a:lnTo>
                    <a:pt x="2349" y="351"/>
                  </a:lnTo>
                  <a:lnTo>
                    <a:pt x="2334" y="320"/>
                  </a:lnTo>
                  <a:close/>
                  <a:moveTo>
                    <a:pt x="2551" y="111"/>
                  </a:moveTo>
                  <a:lnTo>
                    <a:pt x="2523" y="115"/>
                  </a:lnTo>
                  <a:lnTo>
                    <a:pt x="2498" y="124"/>
                  </a:lnTo>
                  <a:lnTo>
                    <a:pt x="2475" y="138"/>
                  </a:lnTo>
                  <a:lnTo>
                    <a:pt x="2456" y="157"/>
                  </a:lnTo>
                  <a:lnTo>
                    <a:pt x="2441" y="180"/>
                  </a:lnTo>
                  <a:lnTo>
                    <a:pt x="2432" y="205"/>
                  </a:lnTo>
                  <a:lnTo>
                    <a:pt x="2429" y="234"/>
                  </a:lnTo>
                  <a:lnTo>
                    <a:pt x="2432" y="262"/>
                  </a:lnTo>
                  <a:lnTo>
                    <a:pt x="2441" y="287"/>
                  </a:lnTo>
                  <a:lnTo>
                    <a:pt x="2456" y="311"/>
                  </a:lnTo>
                  <a:lnTo>
                    <a:pt x="2475" y="329"/>
                  </a:lnTo>
                  <a:lnTo>
                    <a:pt x="2498" y="344"/>
                  </a:lnTo>
                  <a:lnTo>
                    <a:pt x="2523" y="353"/>
                  </a:lnTo>
                  <a:lnTo>
                    <a:pt x="2551" y="356"/>
                  </a:lnTo>
                  <a:lnTo>
                    <a:pt x="2576" y="354"/>
                  </a:lnTo>
                  <a:lnTo>
                    <a:pt x="2599" y="347"/>
                  </a:lnTo>
                  <a:lnTo>
                    <a:pt x="2619" y="336"/>
                  </a:lnTo>
                  <a:lnTo>
                    <a:pt x="2638" y="321"/>
                  </a:lnTo>
                  <a:lnTo>
                    <a:pt x="2653" y="303"/>
                  </a:lnTo>
                  <a:lnTo>
                    <a:pt x="2656" y="298"/>
                  </a:lnTo>
                  <a:lnTo>
                    <a:pt x="2657" y="297"/>
                  </a:lnTo>
                  <a:lnTo>
                    <a:pt x="2666" y="278"/>
                  </a:lnTo>
                  <a:lnTo>
                    <a:pt x="2672" y="256"/>
                  </a:lnTo>
                  <a:lnTo>
                    <a:pt x="2674" y="234"/>
                  </a:lnTo>
                  <a:lnTo>
                    <a:pt x="2672" y="210"/>
                  </a:lnTo>
                  <a:lnTo>
                    <a:pt x="2665" y="187"/>
                  </a:lnTo>
                  <a:lnTo>
                    <a:pt x="2661" y="180"/>
                  </a:lnTo>
                  <a:lnTo>
                    <a:pt x="2658" y="174"/>
                  </a:lnTo>
                  <a:lnTo>
                    <a:pt x="2643" y="153"/>
                  </a:lnTo>
                  <a:lnTo>
                    <a:pt x="2625" y="136"/>
                  </a:lnTo>
                  <a:lnTo>
                    <a:pt x="2603" y="123"/>
                  </a:lnTo>
                  <a:lnTo>
                    <a:pt x="2579" y="115"/>
                  </a:lnTo>
                  <a:lnTo>
                    <a:pt x="2551" y="111"/>
                  </a:lnTo>
                  <a:close/>
                  <a:moveTo>
                    <a:pt x="2551" y="0"/>
                  </a:moveTo>
                  <a:lnTo>
                    <a:pt x="2591" y="3"/>
                  </a:lnTo>
                  <a:lnTo>
                    <a:pt x="2630" y="12"/>
                  </a:lnTo>
                  <a:lnTo>
                    <a:pt x="2665" y="28"/>
                  </a:lnTo>
                  <a:lnTo>
                    <a:pt x="2696" y="50"/>
                  </a:lnTo>
                  <a:lnTo>
                    <a:pt x="2724" y="75"/>
                  </a:lnTo>
                  <a:lnTo>
                    <a:pt x="2747" y="106"/>
                  </a:lnTo>
                  <a:lnTo>
                    <a:pt x="2766" y="138"/>
                  </a:lnTo>
                  <a:lnTo>
                    <a:pt x="3713" y="1930"/>
                  </a:lnTo>
                  <a:lnTo>
                    <a:pt x="3726" y="1957"/>
                  </a:lnTo>
                  <a:lnTo>
                    <a:pt x="3734" y="1986"/>
                  </a:lnTo>
                  <a:lnTo>
                    <a:pt x="3736" y="2017"/>
                  </a:lnTo>
                  <a:lnTo>
                    <a:pt x="3733" y="2050"/>
                  </a:lnTo>
                  <a:lnTo>
                    <a:pt x="3725" y="2080"/>
                  </a:lnTo>
                  <a:lnTo>
                    <a:pt x="3711" y="2108"/>
                  </a:lnTo>
                  <a:lnTo>
                    <a:pt x="3693" y="2132"/>
                  </a:lnTo>
                  <a:lnTo>
                    <a:pt x="3672" y="2153"/>
                  </a:lnTo>
                  <a:lnTo>
                    <a:pt x="3646" y="2170"/>
                  </a:lnTo>
                  <a:lnTo>
                    <a:pt x="3617" y="2183"/>
                  </a:lnTo>
                  <a:lnTo>
                    <a:pt x="3617" y="2612"/>
                  </a:lnTo>
                  <a:lnTo>
                    <a:pt x="3617" y="2620"/>
                  </a:lnTo>
                  <a:lnTo>
                    <a:pt x="3616" y="2626"/>
                  </a:lnTo>
                  <a:lnTo>
                    <a:pt x="3609" y="2660"/>
                  </a:lnTo>
                  <a:lnTo>
                    <a:pt x="3597" y="2693"/>
                  </a:lnTo>
                  <a:lnTo>
                    <a:pt x="3580" y="2724"/>
                  </a:lnTo>
                  <a:lnTo>
                    <a:pt x="3559" y="2752"/>
                  </a:lnTo>
                  <a:lnTo>
                    <a:pt x="3533" y="2777"/>
                  </a:lnTo>
                  <a:lnTo>
                    <a:pt x="3504" y="2799"/>
                  </a:lnTo>
                  <a:lnTo>
                    <a:pt x="3471" y="2815"/>
                  </a:lnTo>
                  <a:lnTo>
                    <a:pt x="3282" y="2891"/>
                  </a:lnTo>
                  <a:lnTo>
                    <a:pt x="3231" y="2908"/>
                  </a:lnTo>
                  <a:lnTo>
                    <a:pt x="3180" y="2918"/>
                  </a:lnTo>
                  <a:lnTo>
                    <a:pt x="3127" y="2920"/>
                  </a:lnTo>
                  <a:lnTo>
                    <a:pt x="3081" y="2918"/>
                  </a:lnTo>
                  <a:lnTo>
                    <a:pt x="3034" y="2910"/>
                  </a:lnTo>
                  <a:lnTo>
                    <a:pt x="2989" y="2896"/>
                  </a:lnTo>
                  <a:lnTo>
                    <a:pt x="2946" y="2878"/>
                  </a:lnTo>
                  <a:lnTo>
                    <a:pt x="2904" y="2855"/>
                  </a:lnTo>
                  <a:lnTo>
                    <a:pt x="2865" y="2826"/>
                  </a:lnTo>
                  <a:lnTo>
                    <a:pt x="2454" y="2487"/>
                  </a:lnTo>
                  <a:lnTo>
                    <a:pt x="2442" y="2474"/>
                  </a:lnTo>
                  <a:lnTo>
                    <a:pt x="2436" y="2458"/>
                  </a:lnTo>
                  <a:lnTo>
                    <a:pt x="2433" y="2441"/>
                  </a:lnTo>
                  <a:lnTo>
                    <a:pt x="2438" y="2424"/>
                  </a:lnTo>
                  <a:lnTo>
                    <a:pt x="2447" y="2409"/>
                  </a:lnTo>
                  <a:lnTo>
                    <a:pt x="2459" y="2397"/>
                  </a:lnTo>
                  <a:lnTo>
                    <a:pt x="2475" y="2390"/>
                  </a:lnTo>
                  <a:lnTo>
                    <a:pt x="2492" y="2388"/>
                  </a:lnTo>
                  <a:lnTo>
                    <a:pt x="2509" y="2393"/>
                  </a:lnTo>
                  <a:lnTo>
                    <a:pt x="2525" y="2402"/>
                  </a:lnTo>
                  <a:lnTo>
                    <a:pt x="2656" y="2509"/>
                  </a:lnTo>
                  <a:lnTo>
                    <a:pt x="3418" y="2203"/>
                  </a:lnTo>
                  <a:lnTo>
                    <a:pt x="3431" y="2200"/>
                  </a:lnTo>
                  <a:lnTo>
                    <a:pt x="3446" y="2200"/>
                  </a:lnTo>
                  <a:lnTo>
                    <a:pt x="3460" y="2204"/>
                  </a:lnTo>
                  <a:lnTo>
                    <a:pt x="3472" y="2211"/>
                  </a:lnTo>
                  <a:lnTo>
                    <a:pt x="3482" y="2221"/>
                  </a:lnTo>
                  <a:lnTo>
                    <a:pt x="3490" y="2235"/>
                  </a:lnTo>
                  <a:lnTo>
                    <a:pt x="3506" y="2275"/>
                  </a:lnTo>
                  <a:lnTo>
                    <a:pt x="3506" y="2183"/>
                  </a:lnTo>
                  <a:lnTo>
                    <a:pt x="3478" y="2170"/>
                  </a:lnTo>
                  <a:lnTo>
                    <a:pt x="3452" y="2152"/>
                  </a:lnTo>
                  <a:lnTo>
                    <a:pt x="3429" y="2131"/>
                  </a:lnTo>
                  <a:lnTo>
                    <a:pt x="3411" y="2106"/>
                  </a:lnTo>
                  <a:lnTo>
                    <a:pt x="2507" y="766"/>
                  </a:lnTo>
                  <a:lnTo>
                    <a:pt x="1895" y="1794"/>
                  </a:lnTo>
                  <a:lnTo>
                    <a:pt x="1983" y="1926"/>
                  </a:lnTo>
                  <a:lnTo>
                    <a:pt x="2010" y="1971"/>
                  </a:lnTo>
                  <a:lnTo>
                    <a:pt x="2032" y="2018"/>
                  </a:lnTo>
                  <a:lnTo>
                    <a:pt x="2050" y="2067"/>
                  </a:lnTo>
                  <a:lnTo>
                    <a:pt x="2063" y="2117"/>
                  </a:lnTo>
                  <a:lnTo>
                    <a:pt x="2069" y="2168"/>
                  </a:lnTo>
                  <a:lnTo>
                    <a:pt x="2073" y="2221"/>
                  </a:lnTo>
                  <a:lnTo>
                    <a:pt x="2073" y="2433"/>
                  </a:lnTo>
                  <a:lnTo>
                    <a:pt x="2072" y="2441"/>
                  </a:lnTo>
                  <a:lnTo>
                    <a:pt x="2069" y="2452"/>
                  </a:lnTo>
                  <a:lnTo>
                    <a:pt x="2066" y="2460"/>
                  </a:lnTo>
                  <a:lnTo>
                    <a:pt x="2064" y="2463"/>
                  </a:lnTo>
                  <a:lnTo>
                    <a:pt x="2063" y="2465"/>
                  </a:lnTo>
                  <a:lnTo>
                    <a:pt x="2060" y="2469"/>
                  </a:lnTo>
                  <a:lnTo>
                    <a:pt x="2059" y="2469"/>
                  </a:lnTo>
                  <a:lnTo>
                    <a:pt x="2058" y="2471"/>
                  </a:lnTo>
                  <a:lnTo>
                    <a:pt x="2056" y="2473"/>
                  </a:lnTo>
                  <a:lnTo>
                    <a:pt x="2055" y="2474"/>
                  </a:lnTo>
                  <a:lnTo>
                    <a:pt x="2052" y="2477"/>
                  </a:lnTo>
                  <a:lnTo>
                    <a:pt x="2050" y="2478"/>
                  </a:lnTo>
                  <a:lnTo>
                    <a:pt x="2048" y="2480"/>
                  </a:lnTo>
                  <a:lnTo>
                    <a:pt x="2043" y="2482"/>
                  </a:lnTo>
                  <a:lnTo>
                    <a:pt x="2039" y="2485"/>
                  </a:lnTo>
                  <a:lnTo>
                    <a:pt x="2039" y="2485"/>
                  </a:lnTo>
                  <a:lnTo>
                    <a:pt x="2035" y="2486"/>
                  </a:lnTo>
                  <a:lnTo>
                    <a:pt x="2033" y="2487"/>
                  </a:lnTo>
                  <a:lnTo>
                    <a:pt x="2031" y="2488"/>
                  </a:lnTo>
                  <a:lnTo>
                    <a:pt x="2027" y="2488"/>
                  </a:lnTo>
                  <a:lnTo>
                    <a:pt x="2024" y="2489"/>
                  </a:lnTo>
                  <a:lnTo>
                    <a:pt x="2023" y="2489"/>
                  </a:lnTo>
                  <a:lnTo>
                    <a:pt x="2019" y="2489"/>
                  </a:lnTo>
                  <a:lnTo>
                    <a:pt x="2017" y="2489"/>
                  </a:lnTo>
                  <a:lnTo>
                    <a:pt x="1954" y="2489"/>
                  </a:lnTo>
                  <a:lnTo>
                    <a:pt x="1954" y="2672"/>
                  </a:lnTo>
                  <a:lnTo>
                    <a:pt x="1950" y="2689"/>
                  </a:lnTo>
                  <a:lnTo>
                    <a:pt x="1942" y="2705"/>
                  </a:lnTo>
                  <a:lnTo>
                    <a:pt x="1931" y="2716"/>
                  </a:lnTo>
                  <a:lnTo>
                    <a:pt x="1915" y="2724"/>
                  </a:lnTo>
                  <a:lnTo>
                    <a:pt x="1898" y="2727"/>
                  </a:lnTo>
                  <a:lnTo>
                    <a:pt x="1418" y="2727"/>
                  </a:lnTo>
                  <a:lnTo>
                    <a:pt x="1418" y="2853"/>
                  </a:lnTo>
                  <a:lnTo>
                    <a:pt x="1838" y="2853"/>
                  </a:lnTo>
                  <a:lnTo>
                    <a:pt x="1890" y="2857"/>
                  </a:lnTo>
                  <a:lnTo>
                    <a:pt x="1940" y="2866"/>
                  </a:lnTo>
                  <a:lnTo>
                    <a:pt x="1988" y="2882"/>
                  </a:lnTo>
                  <a:lnTo>
                    <a:pt x="2032" y="2902"/>
                  </a:lnTo>
                  <a:lnTo>
                    <a:pt x="2074" y="2927"/>
                  </a:lnTo>
                  <a:lnTo>
                    <a:pt x="2112" y="2958"/>
                  </a:lnTo>
                  <a:lnTo>
                    <a:pt x="2146" y="2992"/>
                  </a:lnTo>
                  <a:lnTo>
                    <a:pt x="2177" y="3030"/>
                  </a:lnTo>
                  <a:lnTo>
                    <a:pt x="2202" y="3072"/>
                  </a:lnTo>
                  <a:lnTo>
                    <a:pt x="2222" y="3116"/>
                  </a:lnTo>
                  <a:lnTo>
                    <a:pt x="2238" y="3164"/>
                  </a:lnTo>
                  <a:lnTo>
                    <a:pt x="2247" y="3214"/>
                  </a:lnTo>
                  <a:lnTo>
                    <a:pt x="2251" y="3266"/>
                  </a:lnTo>
                  <a:lnTo>
                    <a:pt x="2247" y="3317"/>
                  </a:lnTo>
                  <a:lnTo>
                    <a:pt x="2238" y="3367"/>
                  </a:lnTo>
                  <a:lnTo>
                    <a:pt x="2222" y="3415"/>
                  </a:lnTo>
                  <a:lnTo>
                    <a:pt x="2202" y="3460"/>
                  </a:lnTo>
                  <a:lnTo>
                    <a:pt x="2177" y="3501"/>
                  </a:lnTo>
                  <a:lnTo>
                    <a:pt x="2146" y="3540"/>
                  </a:lnTo>
                  <a:lnTo>
                    <a:pt x="2112" y="3574"/>
                  </a:lnTo>
                  <a:lnTo>
                    <a:pt x="2074" y="3604"/>
                  </a:lnTo>
                  <a:lnTo>
                    <a:pt x="2032" y="3630"/>
                  </a:lnTo>
                  <a:lnTo>
                    <a:pt x="1988" y="3651"/>
                  </a:lnTo>
                  <a:lnTo>
                    <a:pt x="1940" y="3666"/>
                  </a:lnTo>
                  <a:lnTo>
                    <a:pt x="1890" y="3676"/>
                  </a:lnTo>
                  <a:lnTo>
                    <a:pt x="1838" y="3678"/>
                  </a:lnTo>
                  <a:lnTo>
                    <a:pt x="413" y="3678"/>
                  </a:lnTo>
                  <a:lnTo>
                    <a:pt x="360" y="3676"/>
                  </a:lnTo>
                  <a:lnTo>
                    <a:pt x="311" y="3666"/>
                  </a:lnTo>
                  <a:lnTo>
                    <a:pt x="263" y="3651"/>
                  </a:lnTo>
                  <a:lnTo>
                    <a:pt x="219" y="3630"/>
                  </a:lnTo>
                  <a:lnTo>
                    <a:pt x="177" y="3604"/>
                  </a:lnTo>
                  <a:lnTo>
                    <a:pt x="138" y="3574"/>
                  </a:lnTo>
                  <a:lnTo>
                    <a:pt x="104" y="3540"/>
                  </a:lnTo>
                  <a:lnTo>
                    <a:pt x="74" y="3501"/>
                  </a:lnTo>
                  <a:lnTo>
                    <a:pt x="49" y="3460"/>
                  </a:lnTo>
                  <a:lnTo>
                    <a:pt x="28" y="3415"/>
                  </a:lnTo>
                  <a:lnTo>
                    <a:pt x="12" y="3367"/>
                  </a:lnTo>
                  <a:lnTo>
                    <a:pt x="3" y="3317"/>
                  </a:lnTo>
                  <a:lnTo>
                    <a:pt x="0" y="3266"/>
                  </a:lnTo>
                  <a:lnTo>
                    <a:pt x="3" y="3214"/>
                  </a:lnTo>
                  <a:lnTo>
                    <a:pt x="12" y="3164"/>
                  </a:lnTo>
                  <a:lnTo>
                    <a:pt x="28" y="3116"/>
                  </a:lnTo>
                  <a:lnTo>
                    <a:pt x="49" y="3072"/>
                  </a:lnTo>
                  <a:lnTo>
                    <a:pt x="74" y="3030"/>
                  </a:lnTo>
                  <a:lnTo>
                    <a:pt x="104" y="2992"/>
                  </a:lnTo>
                  <a:lnTo>
                    <a:pt x="138" y="2958"/>
                  </a:lnTo>
                  <a:lnTo>
                    <a:pt x="177" y="2927"/>
                  </a:lnTo>
                  <a:lnTo>
                    <a:pt x="219" y="2902"/>
                  </a:lnTo>
                  <a:lnTo>
                    <a:pt x="263" y="2882"/>
                  </a:lnTo>
                  <a:lnTo>
                    <a:pt x="311" y="2866"/>
                  </a:lnTo>
                  <a:lnTo>
                    <a:pt x="360" y="2857"/>
                  </a:lnTo>
                  <a:lnTo>
                    <a:pt x="413" y="2853"/>
                  </a:lnTo>
                  <a:lnTo>
                    <a:pt x="832" y="2853"/>
                  </a:lnTo>
                  <a:lnTo>
                    <a:pt x="832" y="2727"/>
                  </a:lnTo>
                  <a:lnTo>
                    <a:pt x="353" y="2727"/>
                  </a:lnTo>
                  <a:lnTo>
                    <a:pt x="317" y="2724"/>
                  </a:lnTo>
                  <a:lnTo>
                    <a:pt x="284" y="2714"/>
                  </a:lnTo>
                  <a:lnTo>
                    <a:pt x="255" y="2698"/>
                  </a:lnTo>
                  <a:lnTo>
                    <a:pt x="229" y="2676"/>
                  </a:lnTo>
                  <a:lnTo>
                    <a:pt x="209" y="2650"/>
                  </a:lnTo>
                  <a:lnTo>
                    <a:pt x="192" y="2621"/>
                  </a:lnTo>
                  <a:lnTo>
                    <a:pt x="181" y="2588"/>
                  </a:lnTo>
                  <a:lnTo>
                    <a:pt x="178" y="2553"/>
                  </a:lnTo>
                  <a:lnTo>
                    <a:pt x="178" y="2136"/>
                  </a:lnTo>
                  <a:lnTo>
                    <a:pt x="181" y="2101"/>
                  </a:lnTo>
                  <a:lnTo>
                    <a:pt x="192" y="2068"/>
                  </a:lnTo>
                  <a:lnTo>
                    <a:pt x="209" y="2039"/>
                  </a:lnTo>
                  <a:lnTo>
                    <a:pt x="229" y="2013"/>
                  </a:lnTo>
                  <a:lnTo>
                    <a:pt x="255" y="1991"/>
                  </a:lnTo>
                  <a:lnTo>
                    <a:pt x="284" y="1975"/>
                  </a:lnTo>
                  <a:lnTo>
                    <a:pt x="317" y="1965"/>
                  </a:lnTo>
                  <a:lnTo>
                    <a:pt x="353" y="1962"/>
                  </a:lnTo>
                  <a:lnTo>
                    <a:pt x="713" y="1962"/>
                  </a:lnTo>
                  <a:lnTo>
                    <a:pt x="713" y="1601"/>
                  </a:lnTo>
                  <a:lnTo>
                    <a:pt x="717" y="1558"/>
                  </a:lnTo>
                  <a:lnTo>
                    <a:pt x="726" y="1517"/>
                  </a:lnTo>
                  <a:lnTo>
                    <a:pt x="740" y="1477"/>
                  </a:lnTo>
                  <a:lnTo>
                    <a:pt x="761" y="1442"/>
                  </a:lnTo>
                  <a:lnTo>
                    <a:pt x="785" y="1409"/>
                  </a:lnTo>
                  <a:lnTo>
                    <a:pt x="814" y="1380"/>
                  </a:lnTo>
                  <a:lnTo>
                    <a:pt x="847" y="1355"/>
                  </a:lnTo>
                  <a:lnTo>
                    <a:pt x="883" y="1335"/>
                  </a:lnTo>
                  <a:lnTo>
                    <a:pt x="922" y="1321"/>
                  </a:lnTo>
                  <a:lnTo>
                    <a:pt x="963" y="1310"/>
                  </a:lnTo>
                  <a:lnTo>
                    <a:pt x="1007" y="1308"/>
                  </a:lnTo>
                  <a:lnTo>
                    <a:pt x="1414" y="1308"/>
                  </a:lnTo>
                  <a:lnTo>
                    <a:pt x="1452" y="1310"/>
                  </a:lnTo>
                  <a:lnTo>
                    <a:pt x="2359" y="101"/>
                  </a:lnTo>
                  <a:lnTo>
                    <a:pt x="2359" y="101"/>
                  </a:lnTo>
                  <a:lnTo>
                    <a:pt x="2382" y="73"/>
                  </a:lnTo>
                  <a:lnTo>
                    <a:pt x="2410" y="48"/>
                  </a:lnTo>
                  <a:lnTo>
                    <a:pt x="2441" y="27"/>
                  </a:lnTo>
                  <a:lnTo>
                    <a:pt x="2475" y="12"/>
                  </a:lnTo>
                  <a:lnTo>
                    <a:pt x="2513" y="3"/>
                  </a:lnTo>
                  <a:lnTo>
                    <a:pt x="2551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</p:grpSp>
      <p:sp>
        <p:nvSpPr>
          <p:cNvPr id="23625" name="TextBox 158">
            <a:extLst>
              <a:ext uri="{FF2B5EF4-FFF2-40B4-BE49-F238E27FC236}">
                <a16:creationId xmlns:a16="http://schemas.microsoft.com/office/drawing/2014/main" id="{E039C87F-72AD-4054-B63A-554ACFFB9E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4663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6" name="TextBox 159">
            <a:extLst>
              <a:ext uri="{FF2B5EF4-FFF2-40B4-BE49-F238E27FC236}">
                <a16:creationId xmlns:a16="http://schemas.microsoft.com/office/drawing/2014/main" id="{C89D28E8-6E73-4458-A352-42A749EC09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3488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7" name="TextBox 127">
            <a:extLst>
              <a:ext uri="{FF2B5EF4-FFF2-40B4-BE49-F238E27FC236}">
                <a16:creationId xmlns:a16="http://schemas.microsoft.com/office/drawing/2014/main" id="{D2C4F5E9-E854-4896-8355-45DEC69063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7813" y="6378575"/>
            <a:ext cx="426243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Sources: National Bureau of Statistics, World Bank Report on Doing Business in Nigeria 2018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climate-</a:t>
            </a:r>
            <a:r>
              <a:rPr lang="en-GB" altLang="en-US" sz="800" dirty="0" err="1">
                <a:latin typeface="Calibri" panose="020F0502020204030204" pitchFamily="34" charset="0"/>
              </a:rPr>
              <a:t>data.org</a:t>
            </a:r>
            <a:r>
              <a:rPr lang="en-GB" altLang="en-US" sz="800" dirty="0">
                <a:latin typeface="Calibri" panose="020F0502020204030204" pitchFamily="34" charset="0"/>
              </a:rPr>
              <a:t>, State Government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Exchange rate= $1/N305 (Central Bank of Nigeria)</a:t>
            </a:r>
          </a:p>
        </p:txBody>
      </p:sp>
      <p:sp>
        <p:nvSpPr>
          <p:cNvPr id="23628" name="TextBox 128">
            <a:extLst>
              <a:ext uri="{FF2B5EF4-FFF2-40B4-BE49-F238E27FC236}">
                <a16:creationId xmlns:a16="http://schemas.microsoft.com/office/drawing/2014/main" id="{409BCC6F-A5F0-4C79-BB4A-38A1ABC14F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65149" y="3649889"/>
            <a:ext cx="70083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Groundnut</a:t>
            </a:r>
          </a:p>
        </p:txBody>
      </p:sp>
      <p:sp>
        <p:nvSpPr>
          <p:cNvPr id="23629" name="TextBox 129">
            <a:extLst>
              <a:ext uri="{FF2B5EF4-FFF2-40B4-BE49-F238E27FC236}">
                <a16:creationId xmlns:a16="http://schemas.microsoft.com/office/drawing/2014/main" id="{489E7B41-20C9-4493-8E7D-07238EB8FA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2892" y="3654980"/>
            <a:ext cx="516488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Onions</a:t>
            </a:r>
          </a:p>
        </p:txBody>
      </p:sp>
      <p:sp>
        <p:nvSpPr>
          <p:cNvPr id="23630" name="TextBox 130">
            <a:extLst>
              <a:ext uri="{FF2B5EF4-FFF2-40B4-BE49-F238E27FC236}">
                <a16:creationId xmlns:a16="http://schemas.microsoft.com/office/drawing/2014/main" id="{048DE5D8-5309-42DA-9D97-2935A10CB7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31" name="TextBox 131">
            <a:extLst>
              <a:ext uri="{FF2B5EF4-FFF2-40B4-BE49-F238E27FC236}">
                <a16:creationId xmlns:a16="http://schemas.microsoft.com/office/drawing/2014/main" id="{FF8B6C80-43E2-43AF-A364-A31845F05C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5388" y="3656613"/>
            <a:ext cx="37061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Fish</a:t>
            </a:r>
          </a:p>
        </p:txBody>
      </p:sp>
      <p:sp>
        <p:nvSpPr>
          <p:cNvPr id="23632" name="TextBox 132">
            <a:extLst>
              <a:ext uri="{FF2B5EF4-FFF2-40B4-BE49-F238E27FC236}">
                <a16:creationId xmlns:a16="http://schemas.microsoft.com/office/drawing/2014/main" id="{A1C640C1-61D1-4BA5-8A76-E684397E8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75264" y="3650683"/>
            <a:ext cx="39786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Beef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238751" y="3833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23638" name="TextBox 141">
            <a:extLst>
              <a:ext uri="{FF2B5EF4-FFF2-40B4-BE49-F238E27FC236}">
                <a16:creationId xmlns:a16="http://schemas.microsoft.com/office/drawing/2014/main" id="{EE481231-8673-4FD7-B5CC-900AEE7A9F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8233" y="3652271"/>
            <a:ext cx="48923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Honey</a:t>
            </a:r>
          </a:p>
        </p:txBody>
      </p:sp>
      <p:sp>
        <p:nvSpPr>
          <p:cNvPr id="23649" name="TextBox 165">
            <a:extLst>
              <a:ext uri="{FF2B5EF4-FFF2-40B4-BE49-F238E27FC236}">
                <a16:creationId xmlns:a16="http://schemas.microsoft.com/office/drawing/2014/main" id="{1242633E-9CB1-48ED-83F4-2223DFC7ED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05036" y="4459560"/>
            <a:ext cx="73449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Health Care</a:t>
            </a:r>
          </a:p>
        </p:txBody>
      </p:sp>
      <p:sp>
        <p:nvSpPr>
          <p:cNvPr id="23650" name="TextBox 166">
            <a:extLst>
              <a:ext uri="{FF2B5EF4-FFF2-40B4-BE49-F238E27FC236}">
                <a16:creationId xmlns:a16="http://schemas.microsoft.com/office/drawing/2014/main" id="{6B51369B-8FA6-464A-B908-12B0FFE6B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94691" y="4458812"/>
            <a:ext cx="61587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Livestock</a:t>
            </a:r>
          </a:p>
        </p:txBody>
      </p:sp>
      <p:sp>
        <p:nvSpPr>
          <p:cNvPr id="23651" name="TextBox 167">
            <a:extLst>
              <a:ext uri="{FF2B5EF4-FFF2-40B4-BE49-F238E27FC236}">
                <a16:creationId xmlns:a16="http://schemas.microsoft.com/office/drawing/2014/main" id="{4F9404E1-8339-401B-8B10-4C7D1A8CEC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01686" y="4457881"/>
            <a:ext cx="70243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Real Estate</a:t>
            </a:r>
          </a:p>
        </p:txBody>
      </p:sp>
      <p:sp>
        <p:nvSpPr>
          <p:cNvPr id="23652" name="TextBox 168">
            <a:extLst>
              <a:ext uri="{FF2B5EF4-FFF2-40B4-BE49-F238E27FC236}">
                <a16:creationId xmlns:a16="http://schemas.microsoft.com/office/drawing/2014/main" id="{1C04917D-B2C3-4C21-8CC2-A45C349B4B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36881" y="4457133"/>
            <a:ext cx="62068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Feed Mill</a:t>
            </a:r>
          </a:p>
        </p:txBody>
      </p:sp>
      <p:sp>
        <p:nvSpPr>
          <p:cNvPr id="23653" name="TextBox 169">
            <a:extLst>
              <a:ext uri="{FF2B5EF4-FFF2-40B4-BE49-F238E27FC236}">
                <a16:creationId xmlns:a16="http://schemas.microsoft.com/office/drawing/2014/main" id="{4BADA327-4F2D-4897-B7C0-4647A1484B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3926" y="4457973"/>
            <a:ext cx="468398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Maize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8A28B48-1841-45BB-BFBC-EADE77B37C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6566756"/>
              </p:ext>
            </p:extLst>
          </p:nvPr>
        </p:nvGraphicFramePr>
        <p:xfrm>
          <a:off x="2779712" y="2589213"/>
          <a:ext cx="1482725" cy="812800"/>
        </p:xfrm>
        <a:graphic>
          <a:graphicData uri="http://schemas.openxmlformats.org/drawingml/2006/table">
            <a:tbl>
              <a:tblPr/>
              <a:tblGrid>
                <a:gridCol w="11367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9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32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GB" sz="1000" b="1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Domestic</a:t>
                      </a:r>
                      <a:r>
                        <a:rPr lang="en-GB" sz="10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US" sz="1000" b="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International 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Railway</a:t>
                      </a:r>
                      <a:r>
                        <a:rPr lang="en-GB" sz="1000" b="1" kern="1200" baseline="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 Station</a:t>
                      </a:r>
                      <a:endParaRPr lang="en-GB" sz="1000" b="1" kern="1200" dirty="0">
                        <a:solidFill>
                          <a:srgbClr val="292929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32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Sea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7" name="TextBox 136">
            <a:extLst>
              <a:ext uri="{FF2B5EF4-FFF2-40B4-BE49-F238E27FC236}">
                <a16:creationId xmlns:a16="http://schemas.microsoft.com/office/drawing/2014/main" id="{2F4C4876-7073-4C13-A183-127A8909BDC0}"/>
              </a:ext>
            </a:extLst>
          </p:cNvPr>
          <p:cNvSpPr txBox="1"/>
          <p:nvPr/>
        </p:nvSpPr>
        <p:spPr>
          <a:xfrm>
            <a:off x="538163" y="5268913"/>
            <a:ext cx="373856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For further details</a:t>
            </a:r>
          </a:p>
        </p:txBody>
      </p:sp>
      <p:sp>
        <p:nvSpPr>
          <p:cNvPr id="23676" name="TextBox 156">
            <a:extLst>
              <a:ext uri="{FF2B5EF4-FFF2-40B4-BE49-F238E27FC236}">
                <a16:creationId xmlns:a16="http://schemas.microsoft.com/office/drawing/2014/main" id="{95D66AAF-6B48-4B9E-9E5B-F1BB063A89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6300" y="6342063"/>
            <a:ext cx="37306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Abbreviations: </a:t>
            </a:r>
            <a:r>
              <a:rPr lang="en-GB" altLang="en-US" sz="800" b="1" dirty="0">
                <a:latin typeface="Calibri" panose="020F0502020204030204" pitchFamily="34" charset="0"/>
              </a:rPr>
              <a:t>	NICPS</a:t>
            </a:r>
            <a:r>
              <a:rPr lang="en-GB" altLang="en-US" sz="800" dirty="0">
                <a:latin typeface="Calibri" panose="020F0502020204030204" pitchFamily="34" charset="0"/>
              </a:rPr>
              <a:t>: Nigerian Investment Certification Programme for States                  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	</a:t>
            </a:r>
            <a:r>
              <a:rPr lang="en-GB" altLang="en-US" sz="800" b="1" dirty="0">
                <a:latin typeface="Calibri" panose="020F0502020204030204" pitchFamily="34" charset="0"/>
              </a:rPr>
              <a:t>IGR</a:t>
            </a:r>
            <a:r>
              <a:rPr lang="en-GB" altLang="en-US" sz="800" dirty="0">
                <a:latin typeface="Calibri" panose="020F0502020204030204" pitchFamily="34" charset="0"/>
              </a:rPr>
              <a:t>:     Internal Generated Revenue</a:t>
            </a:r>
          </a:p>
        </p:txBody>
      </p:sp>
      <p:sp>
        <p:nvSpPr>
          <p:cNvPr id="23678" name="TextBox 152">
            <a:extLst>
              <a:ext uri="{FF2B5EF4-FFF2-40B4-BE49-F238E27FC236}">
                <a16:creationId xmlns:a16="http://schemas.microsoft.com/office/drawing/2014/main" id="{BFAF6896-F732-45FC-AC47-950DF99D9E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4575" y="1134048"/>
            <a:ext cx="3446463" cy="16927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15888" indent="-11588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</a:rPr>
              <a:t>Largest state in Nigeria,</a:t>
            </a:r>
            <a:r>
              <a:rPr lang="en-MY" sz="1300" dirty="0">
                <a:solidFill>
                  <a:prstClr val="black"/>
                </a:solidFill>
                <a:latin typeface="Calibri" panose="020F0502020204030204" pitchFamily="34" charset="0"/>
                <a:cs typeface="Arial" charset="0"/>
              </a:rPr>
              <a:t> with ~10% of land mass</a:t>
            </a:r>
            <a:endParaRPr lang="en-US" sz="1300" dirty="0">
              <a:latin typeface="Calibri" panose="020F050202020403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</a:rPr>
              <a:t>Major soybean, groundnut and cowpeas producing stat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</a:rPr>
              <a:t>Major producers of gum </a:t>
            </a:r>
            <a:r>
              <a:rPr lang="en-US" sz="1300" dirty="0" err="1">
                <a:latin typeface="Calibri" panose="020F0502020204030204" pitchFamily="34" charset="0"/>
              </a:rPr>
              <a:t>arabic</a:t>
            </a:r>
            <a:endParaRPr lang="en-US" sz="1300" dirty="0">
              <a:latin typeface="Calibri" panose="020F050202020403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</a:rPr>
              <a:t>Tourist attraction (Lake </a:t>
            </a:r>
            <a:r>
              <a:rPr lang="en-US" sz="1300" dirty="0" err="1">
                <a:latin typeface="Calibri" panose="020F0502020204030204" pitchFamily="34" charset="0"/>
              </a:rPr>
              <a:t>Tilla</a:t>
            </a:r>
            <a:r>
              <a:rPr lang="en-US" sz="1300" dirty="0">
                <a:latin typeface="Calibri" panose="020F0502020204030204" pitchFamily="34" charset="0"/>
              </a:rPr>
              <a:t>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 err="1">
                <a:latin typeface="Calibri" panose="020F0502020204030204" pitchFamily="34" charset="0"/>
              </a:rPr>
              <a:t>Biatomite</a:t>
            </a:r>
            <a:r>
              <a:rPr lang="en-US" sz="1300" dirty="0">
                <a:latin typeface="Calibri" panose="020F0502020204030204" pitchFamily="34" charset="0"/>
              </a:rPr>
              <a:t>, bentonite and gypsum deposi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</a:rPr>
              <a:t>1m hectares reserved for livestock cultivation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D4E23C6-26A0-4545-B8F7-7007C8EEBFE4}"/>
              </a:ext>
            </a:extLst>
          </p:cNvPr>
          <p:cNvSpPr txBox="1"/>
          <p:nvPr/>
        </p:nvSpPr>
        <p:spPr>
          <a:xfrm>
            <a:off x="4338638" y="5265738"/>
            <a:ext cx="247491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id you know?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132" name="Text Placeholder 42">
            <a:extLst>
              <a:ext uri="{FF2B5EF4-FFF2-40B4-BE49-F238E27FC236}">
                <a16:creationId xmlns:a16="http://schemas.microsoft.com/office/drawing/2014/main" id="{D510D0DC-1548-4249-8DB1-9A1055126D07}"/>
              </a:ext>
            </a:extLst>
          </p:cNvPr>
          <p:cNvSpPr txBox="1">
            <a:spLocks/>
          </p:cNvSpPr>
          <p:nvPr/>
        </p:nvSpPr>
        <p:spPr>
          <a:xfrm>
            <a:off x="522288" y="5511800"/>
            <a:ext cx="3733800" cy="701675"/>
          </a:xfrm>
          <a:prstGeom prst="rect">
            <a:avLst/>
          </a:prstGeom>
        </p:spPr>
        <p:txBody>
          <a:bodyPr lIns="36576" tIns="0" rIns="36576" bIns="0"/>
          <a:lstStyle>
            <a:lvl1pPr marL="0" indent="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/>
              <a:buNone/>
              <a:defRPr sz="800" b="1" baseline="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6575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93763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 charset="0"/>
              <a:buChar char="►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50950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619250" indent="-188913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0764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25336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29908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34480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NIGERIAN INVESTMENT PROMOTION COMMISSION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>
                <a:solidFill>
                  <a:schemeClr val="tx1"/>
                </a:solidFill>
                <a:hlinkClick r:id="rId7"/>
              </a:rPr>
              <a:t>statesco@nipc.gov.ng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endParaRPr lang="en-US" sz="5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BORNO STATE INVESTMENT COMPANY LIMITED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 err="1">
                <a:solidFill>
                  <a:schemeClr val="tx1"/>
                </a:solidFill>
                <a:hlinkClick r:id="rId8"/>
              </a:rPr>
              <a:t>mmzarma@gmail.com</a:t>
            </a:r>
            <a:r>
              <a:rPr lang="en-US" sz="1000" b="0" kern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FF015425-7997-4612-9D0E-1F6C433DFCC7}"/>
              </a:ext>
            </a:extLst>
          </p:cNvPr>
          <p:cNvSpPr/>
          <p:nvPr/>
        </p:nvSpPr>
        <p:spPr>
          <a:xfrm>
            <a:off x="6080877" y="3040856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4C0B7457-CABD-4AC8-8A1A-1FD468581E4D}"/>
              </a:ext>
            </a:extLst>
          </p:cNvPr>
          <p:cNvSpPr/>
          <p:nvPr/>
        </p:nvSpPr>
        <p:spPr>
          <a:xfrm>
            <a:off x="6784796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2D626A89-F50C-45A3-9271-5D3F2EEA9C83}"/>
              </a:ext>
            </a:extLst>
          </p:cNvPr>
          <p:cNvSpPr/>
          <p:nvPr/>
        </p:nvSpPr>
        <p:spPr>
          <a:xfrm>
            <a:off x="7518399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240713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A62E850A-D87D-46D0-9257-0071E677FCF0}"/>
              </a:ext>
            </a:extLst>
          </p:cNvPr>
          <p:cNvSpPr/>
          <p:nvPr/>
        </p:nvSpPr>
        <p:spPr>
          <a:xfrm>
            <a:off x="8947150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4D1FAA17-3EFF-404B-B4C4-B468BCE2E9A5}"/>
              </a:ext>
            </a:extLst>
          </p:cNvPr>
          <p:cNvSpPr/>
          <p:nvPr/>
        </p:nvSpPr>
        <p:spPr>
          <a:xfrm>
            <a:off x="6078265" y="3836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E861211D-5D09-4577-8A09-FD96D972A5D4}"/>
              </a:ext>
            </a:extLst>
          </p:cNvPr>
          <p:cNvSpPr/>
          <p:nvPr/>
        </p:nvSpPr>
        <p:spPr>
          <a:xfrm>
            <a:off x="6780509" y="3833831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D9F8790B-E97D-4D8F-AD51-26FAFBF8CA40}"/>
              </a:ext>
            </a:extLst>
          </p:cNvPr>
          <p:cNvSpPr/>
          <p:nvPr/>
        </p:nvSpPr>
        <p:spPr>
          <a:xfrm>
            <a:off x="8946402" y="3833630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3CBEFD1C-6360-47CD-AEDD-DFB49FC0E0C7}"/>
              </a:ext>
            </a:extLst>
          </p:cNvPr>
          <p:cNvSpPr/>
          <p:nvPr/>
        </p:nvSpPr>
        <p:spPr>
          <a:xfrm>
            <a:off x="7518603" y="3830834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pic>
        <p:nvPicPr>
          <p:cNvPr id="127" name="Picture 126" descr="feedmill.png">
            <a:extLst>
              <a:ext uri="{FF2B5EF4-FFF2-40B4-BE49-F238E27FC236}">
                <a16:creationId xmlns:a16="http://schemas.microsoft.com/office/drawing/2014/main" id="{E020AE62-B307-450C-9CED-D7B7E4313D12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26534"/>
          <a:stretch/>
        </p:blipFill>
        <p:spPr>
          <a:xfrm>
            <a:off x="8328831" y="3819541"/>
            <a:ext cx="384979" cy="528992"/>
          </a:xfrm>
          <a:prstGeom prst="rect">
            <a:avLst/>
          </a:prstGeom>
        </p:spPr>
      </p:pic>
      <p:pic>
        <p:nvPicPr>
          <p:cNvPr id="134" name="Picture 133">
            <a:extLst>
              <a:ext uri="{FF2B5EF4-FFF2-40B4-BE49-F238E27FC236}">
                <a16:creationId xmlns:a16="http://schemas.microsoft.com/office/drawing/2014/main" id="{8908912B-A2A0-460C-A9A1-93DB792426BD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16" t="17956" b="25500"/>
          <a:stretch/>
        </p:blipFill>
        <p:spPr>
          <a:xfrm>
            <a:off x="7554479" y="3122343"/>
            <a:ext cx="490673" cy="437866"/>
          </a:xfrm>
          <a:prstGeom prst="rect">
            <a:avLst/>
          </a:prstGeom>
        </p:spPr>
      </p:pic>
      <p:pic>
        <p:nvPicPr>
          <p:cNvPr id="135" name="Picture 2">
            <a:extLst>
              <a:ext uri="{FF2B5EF4-FFF2-40B4-BE49-F238E27FC236}">
                <a16:creationId xmlns:a16="http://schemas.microsoft.com/office/drawing/2014/main" id="{92C6BD26-8765-422B-AF33-58FEA1214B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4575" y="3145403"/>
            <a:ext cx="387085" cy="422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6" name="Picture 3">
            <a:extLst>
              <a:ext uri="{FF2B5EF4-FFF2-40B4-BE49-F238E27FC236}">
                <a16:creationId xmlns:a16="http://schemas.microsoft.com/office/drawing/2014/main" id="{D0D1F45B-09FB-4AEB-BC64-32A90861026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7" t="11059" r="50000" b="58904"/>
          <a:stretch/>
        </p:blipFill>
        <p:spPr bwMode="auto">
          <a:xfrm>
            <a:off x="9008820" y="3125863"/>
            <a:ext cx="470182" cy="492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9" name="Picture 4">
            <a:extLst>
              <a:ext uri="{FF2B5EF4-FFF2-40B4-BE49-F238E27FC236}">
                <a16:creationId xmlns:a16="http://schemas.microsoft.com/office/drawing/2014/main" id="{B1A64871-7C6A-4A5F-96F4-59CECF4DCB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9927" y="3090110"/>
            <a:ext cx="433215" cy="4691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2" name="Picture 141">
            <a:extLst>
              <a:ext uri="{FF2B5EF4-FFF2-40B4-BE49-F238E27FC236}">
                <a16:creationId xmlns:a16="http://schemas.microsoft.com/office/drawing/2014/main" id="{53EC517A-A7A8-48EA-A65D-3434029713BD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3" r="11713"/>
          <a:stretch/>
        </p:blipFill>
        <p:spPr>
          <a:xfrm>
            <a:off x="6207799" y="3153016"/>
            <a:ext cx="332448" cy="405164"/>
          </a:xfrm>
          <a:prstGeom prst="rect">
            <a:avLst/>
          </a:prstGeom>
        </p:spPr>
      </p:pic>
      <p:pic>
        <p:nvPicPr>
          <p:cNvPr id="149" name="Picture 7">
            <a:extLst>
              <a:ext uri="{FF2B5EF4-FFF2-40B4-BE49-F238E27FC236}">
                <a16:creationId xmlns:a16="http://schemas.microsoft.com/office/drawing/2014/main" id="{384B3574-0AB4-426D-B816-B911FACEF0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4651" y="3893913"/>
            <a:ext cx="684855" cy="473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0" name="Picture 8">
            <a:extLst>
              <a:ext uri="{FF2B5EF4-FFF2-40B4-BE49-F238E27FC236}">
                <a16:creationId xmlns:a16="http://schemas.microsoft.com/office/drawing/2014/main" id="{25BAD6BA-40C1-4231-8557-3B79F17B40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8438" y="3947365"/>
            <a:ext cx="432955" cy="3581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1" name="Picture 9">
            <a:extLst>
              <a:ext uri="{FF2B5EF4-FFF2-40B4-BE49-F238E27FC236}">
                <a16:creationId xmlns:a16="http://schemas.microsoft.com/office/drawing/2014/main" id="{A51E875C-93CD-4530-8A96-3077A97D41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30057" y="3924470"/>
            <a:ext cx="427706" cy="443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3" name="Picture 152" descr="Maize.jpg">
            <a:extLst>
              <a:ext uri="{FF2B5EF4-FFF2-40B4-BE49-F238E27FC236}">
                <a16:creationId xmlns:a16="http://schemas.microsoft.com/office/drawing/2014/main" id="{53125ACD-5D8E-4B53-9E16-A57BE0A3B985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120940" y="3926060"/>
            <a:ext cx="549919" cy="537806"/>
          </a:xfrm>
          <a:prstGeom prst="rect">
            <a:avLst/>
          </a:prstGeom>
        </p:spPr>
      </p:pic>
      <p:sp>
        <p:nvSpPr>
          <p:cNvPr id="141" name="TextBox 140">
            <a:extLst>
              <a:ext uri="{FF2B5EF4-FFF2-40B4-BE49-F238E27FC236}">
                <a16:creationId xmlns:a16="http://schemas.microsoft.com/office/drawing/2014/main" id="{D0A41506-8873-4C2F-B45B-4459F0229CA3}"/>
              </a:ext>
            </a:extLst>
          </p:cNvPr>
          <p:cNvSpPr txBox="1"/>
          <p:nvPr/>
        </p:nvSpPr>
        <p:spPr>
          <a:xfrm>
            <a:off x="4374578" y="4541674"/>
            <a:ext cx="17988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te Investment Certification Process Not Started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288412" y="5428622"/>
            <a:ext cx="2552125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‘Borno’ is the alternative name of the </a:t>
            </a:r>
            <a:r>
              <a:rPr lang="en-US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Kanuris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, the predominant ethnic group in the state</a:t>
            </a:r>
          </a:p>
        </p:txBody>
      </p:sp>
    </p:spTree>
    <p:extLst>
      <p:ext uri="{BB962C8B-B14F-4D97-AF65-F5344CB8AC3E}">
        <p14:creationId xmlns:p14="http://schemas.microsoft.com/office/powerpoint/2010/main" val="13273012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Pentagon 19">
            <a:extLst>
              <a:ext uri="{FF2B5EF4-FFF2-40B4-BE49-F238E27FC236}">
                <a16:creationId xmlns:a16="http://schemas.microsoft.com/office/drawing/2014/main" id="{CAD93C59-72A9-4F6D-A654-02B9F8A5EFF9}"/>
              </a:ext>
            </a:extLst>
          </p:cNvPr>
          <p:cNvSpPr>
            <a:spLocks/>
          </p:cNvSpPr>
          <p:nvPr/>
        </p:nvSpPr>
        <p:spPr bwMode="auto">
          <a:xfrm>
            <a:off x="756602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37 of 37</a:t>
            </a:r>
          </a:p>
        </p:txBody>
      </p:sp>
      <p:sp>
        <p:nvSpPr>
          <p:cNvPr id="376" name="Pentagon 19">
            <a:extLst>
              <a:ext uri="{FF2B5EF4-FFF2-40B4-BE49-F238E27FC236}">
                <a16:creationId xmlns:a16="http://schemas.microsoft.com/office/drawing/2014/main" id="{1BDC5465-6022-4404-B4D8-ED55CF961B8A}"/>
              </a:ext>
            </a:extLst>
          </p:cNvPr>
          <p:cNvSpPr>
            <a:spLocks/>
          </p:cNvSpPr>
          <p:nvPr/>
        </p:nvSpPr>
        <p:spPr bwMode="auto">
          <a:xfrm>
            <a:off x="824865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6 of 3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57F1EBC-D01A-4083-B657-63AFB1490839}"/>
              </a:ext>
            </a:extLst>
          </p:cNvPr>
          <p:cNvSpPr txBox="1"/>
          <p:nvPr/>
        </p:nvSpPr>
        <p:spPr>
          <a:xfrm>
            <a:off x="6122988" y="2749550"/>
            <a:ext cx="3475037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nvestment Opportunit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D251BD-538A-4F4F-847E-620EEDA298A0}"/>
              </a:ext>
            </a:extLst>
          </p:cNvPr>
          <p:cNvSpPr txBox="1"/>
          <p:nvPr/>
        </p:nvSpPr>
        <p:spPr>
          <a:xfrm>
            <a:off x="6881813" y="4632911"/>
            <a:ext cx="2697162" cy="33855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oing Business Ranking(2018)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1B8F13C-F732-4DA1-9250-DB02936E7688}"/>
              </a:ext>
            </a:extLst>
          </p:cNvPr>
          <p:cNvSpPr/>
          <p:nvPr/>
        </p:nvSpPr>
        <p:spPr>
          <a:xfrm>
            <a:off x="756602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Registering Propert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6BA1818-32ED-44D1-975C-958200BDD124}"/>
              </a:ext>
            </a:extLst>
          </p:cNvPr>
          <p:cNvSpPr/>
          <p:nvPr/>
        </p:nvSpPr>
        <p:spPr>
          <a:xfrm>
            <a:off x="8248650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Dealing with Construction Permits</a:t>
            </a:r>
          </a:p>
        </p:txBody>
      </p:sp>
      <p:sp>
        <p:nvSpPr>
          <p:cNvPr id="23560" name="TextBox 174">
            <a:extLst>
              <a:ext uri="{FF2B5EF4-FFF2-40B4-BE49-F238E27FC236}">
                <a16:creationId xmlns:a16="http://schemas.microsoft.com/office/drawing/2014/main" id="{1573FD4E-62B9-45E8-8F28-CED990ED2D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0B63A6C-2A5E-4CA3-BC66-4CBC6008BC9A}"/>
              </a:ext>
            </a:extLst>
          </p:cNvPr>
          <p:cNvSpPr/>
          <p:nvPr/>
        </p:nvSpPr>
        <p:spPr>
          <a:xfrm>
            <a:off x="893127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Enforcing Contracts</a:t>
            </a:r>
          </a:p>
        </p:txBody>
      </p:sp>
      <p:pic>
        <p:nvPicPr>
          <p:cNvPr id="23562" name="Picture 4">
            <a:extLst>
              <a:ext uri="{FF2B5EF4-FFF2-40B4-BE49-F238E27FC236}">
                <a16:creationId xmlns:a16="http://schemas.microsoft.com/office/drawing/2014/main" id="{7C8EEAB2-0239-4BB5-94B3-23E319AF1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513" y="5249863"/>
            <a:ext cx="439737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6" name="Pentagon 19">
            <a:extLst>
              <a:ext uri="{FF2B5EF4-FFF2-40B4-BE49-F238E27FC236}">
                <a16:creationId xmlns:a16="http://schemas.microsoft.com/office/drawing/2014/main" id="{5F8E9670-D71A-4765-B6B5-D711BC9AD6E1}"/>
              </a:ext>
            </a:extLst>
          </p:cNvPr>
          <p:cNvSpPr>
            <a:spLocks/>
          </p:cNvSpPr>
          <p:nvPr/>
        </p:nvSpPr>
        <p:spPr bwMode="auto">
          <a:xfrm>
            <a:off x="893127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35</a:t>
            </a:r>
            <a:r>
              <a:rPr lang="en-GB" sz="1000" baseline="3000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of 37</a:t>
            </a:r>
          </a:p>
        </p:txBody>
      </p:sp>
      <p:sp>
        <p:nvSpPr>
          <p:cNvPr id="23564" name="Title 3">
            <a:extLst>
              <a:ext uri="{FF2B5EF4-FFF2-40B4-BE49-F238E27FC236}">
                <a16:creationId xmlns:a16="http://schemas.microsoft.com/office/drawing/2014/main" id="{C62A749B-CFC7-4224-A789-D20A772AC33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77813" y="222250"/>
            <a:ext cx="8543925" cy="5619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en-GB" alt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ross River State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6882DF2C-9120-4A66-8487-575D9494F4D6}"/>
              </a:ext>
            </a:extLst>
          </p:cNvPr>
          <p:cNvSpPr txBox="1"/>
          <p:nvPr/>
        </p:nvSpPr>
        <p:spPr>
          <a:xfrm rot="16200000">
            <a:off x="-2290084" y="3478372"/>
            <a:ext cx="5303837" cy="2743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The Nation’s Paradise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grpSp>
        <p:nvGrpSpPr>
          <p:cNvPr id="23566" name="Group 9">
            <a:extLst>
              <a:ext uri="{FF2B5EF4-FFF2-40B4-BE49-F238E27FC236}">
                <a16:creationId xmlns:a16="http://schemas.microsoft.com/office/drawing/2014/main" id="{5B6131BD-3CE3-4FC4-B13A-FA9B797C1EF5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41338" y="963613"/>
            <a:ext cx="2897187" cy="2319337"/>
            <a:chOff x="770228" y="1459989"/>
            <a:chExt cx="4081047" cy="3267527"/>
          </a:xfrm>
        </p:grpSpPr>
        <p:sp>
          <p:nvSpPr>
            <p:cNvPr id="299" name="Freeform 4">
              <a:extLst>
                <a:ext uri="{FF2B5EF4-FFF2-40B4-BE49-F238E27FC236}">
                  <a16:creationId xmlns:a16="http://schemas.microsoft.com/office/drawing/2014/main" id="{B6150C82-CBE5-48B4-B60C-C210BB7B26A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91538" y="4349548"/>
              <a:ext cx="418167" cy="377968"/>
            </a:xfrm>
            <a:custGeom>
              <a:avLst/>
              <a:gdLst>
                <a:gd name="T0" fmla="*/ 12 w 786"/>
                <a:gd name="T1" fmla="*/ 19 h 714"/>
                <a:gd name="T2" fmla="*/ 22 w 786"/>
                <a:gd name="T3" fmla="*/ 18 h 714"/>
                <a:gd name="T4" fmla="*/ 27 w 786"/>
                <a:gd name="T5" fmla="*/ 17 h 714"/>
                <a:gd name="T6" fmla="*/ 30 w 786"/>
                <a:gd name="T7" fmla="*/ 14 h 714"/>
                <a:gd name="T8" fmla="*/ 37 w 786"/>
                <a:gd name="T9" fmla="*/ 16 h 714"/>
                <a:gd name="T10" fmla="*/ 43 w 786"/>
                <a:gd name="T11" fmla="*/ 13 h 714"/>
                <a:gd name="T12" fmla="*/ 48 w 786"/>
                <a:gd name="T13" fmla="*/ 8 h 714"/>
                <a:gd name="T14" fmla="*/ 55 w 786"/>
                <a:gd name="T15" fmla="*/ 4 h 714"/>
                <a:gd name="T16" fmla="*/ 66 w 786"/>
                <a:gd name="T17" fmla="*/ 0 h 714"/>
                <a:gd name="T18" fmla="*/ 63 w 786"/>
                <a:gd name="T19" fmla="*/ 12 h 714"/>
                <a:gd name="T20" fmla="*/ 59 w 786"/>
                <a:gd name="T21" fmla="*/ 19 h 714"/>
                <a:gd name="T22" fmla="*/ 57 w 786"/>
                <a:gd name="T23" fmla="*/ 29 h 714"/>
                <a:gd name="T24" fmla="*/ 59 w 786"/>
                <a:gd name="T25" fmla="*/ 36 h 714"/>
                <a:gd name="T26" fmla="*/ 66 w 786"/>
                <a:gd name="T27" fmla="*/ 35 h 714"/>
                <a:gd name="T28" fmla="*/ 64 w 786"/>
                <a:gd name="T29" fmla="*/ 41 h 714"/>
                <a:gd name="T30" fmla="*/ 64 w 786"/>
                <a:gd name="T31" fmla="*/ 48 h 714"/>
                <a:gd name="T32" fmla="*/ 63 w 786"/>
                <a:gd name="T33" fmla="*/ 56 h 714"/>
                <a:gd name="T34" fmla="*/ 60 w 786"/>
                <a:gd name="T35" fmla="*/ 60 h 714"/>
                <a:gd name="T36" fmla="*/ 57 w 786"/>
                <a:gd name="T37" fmla="*/ 58 h 714"/>
                <a:gd name="T38" fmla="*/ 54 w 786"/>
                <a:gd name="T39" fmla="*/ 54 h 714"/>
                <a:gd name="T40" fmla="*/ 53 w 786"/>
                <a:gd name="T41" fmla="*/ 51 h 714"/>
                <a:gd name="T42" fmla="*/ 51 w 786"/>
                <a:gd name="T43" fmla="*/ 53 h 714"/>
                <a:gd name="T44" fmla="*/ 49 w 786"/>
                <a:gd name="T45" fmla="*/ 54 h 714"/>
                <a:gd name="T46" fmla="*/ 47 w 786"/>
                <a:gd name="T47" fmla="*/ 50 h 714"/>
                <a:gd name="T48" fmla="*/ 48 w 786"/>
                <a:gd name="T49" fmla="*/ 54 h 714"/>
                <a:gd name="T50" fmla="*/ 47 w 786"/>
                <a:gd name="T51" fmla="*/ 54 h 714"/>
                <a:gd name="T52" fmla="*/ 46 w 786"/>
                <a:gd name="T53" fmla="*/ 59 h 714"/>
                <a:gd name="T54" fmla="*/ 47 w 786"/>
                <a:gd name="T55" fmla="*/ 62 h 714"/>
                <a:gd name="T56" fmla="*/ 42 w 786"/>
                <a:gd name="T57" fmla="*/ 62 h 714"/>
                <a:gd name="T58" fmla="*/ 39 w 786"/>
                <a:gd name="T59" fmla="*/ 57 h 714"/>
                <a:gd name="T60" fmla="*/ 40 w 786"/>
                <a:gd name="T61" fmla="*/ 54 h 714"/>
                <a:gd name="T62" fmla="*/ 43 w 786"/>
                <a:gd name="T63" fmla="*/ 55 h 714"/>
                <a:gd name="T64" fmla="*/ 40 w 786"/>
                <a:gd name="T65" fmla="*/ 53 h 714"/>
                <a:gd name="T66" fmla="*/ 38 w 786"/>
                <a:gd name="T67" fmla="*/ 57 h 714"/>
                <a:gd name="T68" fmla="*/ 37 w 786"/>
                <a:gd name="T69" fmla="*/ 57 h 714"/>
                <a:gd name="T70" fmla="*/ 37 w 786"/>
                <a:gd name="T71" fmla="*/ 60 h 714"/>
                <a:gd name="T72" fmla="*/ 33 w 786"/>
                <a:gd name="T73" fmla="*/ 56 h 714"/>
                <a:gd name="T74" fmla="*/ 32 w 786"/>
                <a:gd name="T75" fmla="*/ 58 h 714"/>
                <a:gd name="T76" fmla="*/ 26 w 786"/>
                <a:gd name="T77" fmla="*/ 54 h 714"/>
                <a:gd name="T78" fmla="*/ 26 w 786"/>
                <a:gd name="T79" fmla="*/ 54 h 714"/>
                <a:gd name="T80" fmla="*/ 24 w 786"/>
                <a:gd name="T81" fmla="*/ 51 h 714"/>
                <a:gd name="T82" fmla="*/ 22 w 786"/>
                <a:gd name="T83" fmla="*/ 51 h 714"/>
                <a:gd name="T84" fmla="*/ 20 w 786"/>
                <a:gd name="T85" fmla="*/ 50 h 714"/>
                <a:gd name="T86" fmla="*/ 20 w 786"/>
                <a:gd name="T87" fmla="*/ 48 h 714"/>
                <a:gd name="T88" fmla="*/ 18 w 786"/>
                <a:gd name="T89" fmla="*/ 47 h 714"/>
                <a:gd name="T90" fmla="*/ 15 w 786"/>
                <a:gd name="T91" fmla="*/ 45 h 714"/>
                <a:gd name="T92" fmla="*/ 11 w 786"/>
                <a:gd name="T93" fmla="*/ 39 h 714"/>
                <a:gd name="T94" fmla="*/ 12 w 786"/>
                <a:gd name="T95" fmla="*/ 36 h 714"/>
                <a:gd name="T96" fmla="*/ 7 w 786"/>
                <a:gd name="T97" fmla="*/ 33 h 714"/>
                <a:gd name="T98" fmla="*/ 5 w 786"/>
                <a:gd name="T99" fmla="*/ 28 h 714"/>
                <a:gd name="T100" fmla="*/ 7 w 786"/>
                <a:gd name="T101" fmla="*/ 30 h 714"/>
                <a:gd name="T102" fmla="*/ 4 w 786"/>
                <a:gd name="T103" fmla="*/ 24 h 714"/>
                <a:gd name="T104" fmla="*/ 2 w 786"/>
                <a:gd name="T105" fmla="*/ 20 h 714"/>
                <a:gd name="T106" fmla="*/ 0 w 786"/>
                <a:gd name="T107" fmla="*/ 15 h 714"/>
                <a:gd name="T108" fmla="*/ 4 w 786"/>
                <a:gd name="T109" fmla="*/ 16 h 714"/>
                <a:gd name="T110" fmla="*/ 55 w 786"/>
                <a:gd name="T111" fmla="*/ 60 h 714"/>
                <a:gd name="T112" fmla="*/ 47 w 786"/>
                <a:gd name="T113" fmla="*/ 60 h 714"/>
                <a:gd name="T114" fmla="*/ 51 w 786"/>
                <a:gd name="T115" fmla="*/ 54 h 714"/>
                <a:gd name="T116" fmla="*/ 54 w 786"/>
                <a:gd name="T117" fmla="*/ 56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86"/>
                <a:gd name="T178" fmla="*/ 0 h 714"/>
                <a:gd name="T179" fmla="*/ 786 w 786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86" h="714">
                  <a:moveTo>
                    <a:pt x="54" y="186"/>
                  </a:moveTo>
                  <a:lnTo>
                    <a:pt x="54" y="192"/>
                  </a:lnTo>
                  <a:lnTo>
                    <a:pt x="72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204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20" y="210"/>
                  </a:lnTo>
                  <a:lnTo>
                    <a:pt x="126" y="210"/>
                  </a:lnTo>
                  <a:lnTo>
                    <a:pt x="132" y="210"/>
                  </a:lnTo>
                  <a:lnTo>
                    <a:pt x="132" y="216"/>
                  </a:lnTo>
                  <a:lnTo>
                    <a:pt x="138" y="222"/>
                  </a:lnTo>
                  <a:lnTo>
                    <a:pt x="150" y="222"/>
                  </a:lnTo>
                  <a:lnTo>
                    <a:pt x="162" y="234"/>
                  </a:lnTo>
                  <a:lnTo>
                    <a:pt x="168" y="240"/>
                  </a:lnTo>
                  <a:lnTo>
                    <a:pt x="180" y="240"/>
                  </a:lnTo>
                  <a:lnTo>
                    <a:pt x="186" y="228"/>
                  </a:lnTo>
                  <a:lnTo>
                    <a:pt x="210" y="234"/>
                  </a:lnTo>
                  <a:lnTo>
                    <a:pt x="222" y="228"/>
                  </a:lnTo>
                  <a:lnTo>
                    <a:pt x="228" y="216"/>
                  </a:lnTo>
                  <a:lnTo>
                    <a:pt x="234" y="210"/>
                  </a:lnTo>
                  <a:lnTo>
                    <a:pt x="240" y="216"/>
                  </a:lnTo>
                  <a:lnTo>
                    <a:pt x="246" y="210"/>
                  </a:lnTo>
                  <a:lnTo>
                    <a:pt x="252" y="210"/>
                  </a:lnTo>
                  <a:lnTo>
                    <a:pt x="258" y="210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192"/>
                  </a:lnTo>
                  <a:lnTo>
                    <a:pt x="270" y="192"/>
                  </a:lnTo>
                  <a:lnTo>
                    <a:pt x="276" y="192"/>
                  </a:lnTo>
                  <a:lnTo>
                    <a:pt x="282" y="192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192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198"/>
                  </a:lnTo>
                  <a:lnTo>
                    <a:pt x="312" y="198"/>
                  </a:lnTo>
                  <a:lnTo>
                    <a:pt x="312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24" y="186"/>
                  </a:lnTo>
                  <a:lnTo>
                    <a:pt x="318" y="180"/>
                  </a:lnTo>
                  <a:lnTo>
                    <a:pt x="324" y="180"/>
                  </a:lnTo>
                  <a:lnTo>
                    <a:pt x="330" y="186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74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54" y="144"/>
                  </a:lnTo>
                  <a:lnTo>
                    <a:pt x="360" y="144"/>
                  </a:lnTo>
                  <a:lnTo>
                    <a:pt x="372" y="156"/>
                  </a:lnTo>
                  <a:lnTo>
                    <a:pt x="372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96" y="168"/>
                  </a:lnTo>
                  <a:lnTo>
                    <a:pt x="396" y="174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26" y="186"/>
                  </a:lnTo>
                  <a:lnTo>
                    <a:pt x="432" y="186"/>
                  </a:lnTo>
                  <a:lnTo>
                    <a:pt x="438" y="180"/>
                  </a:lnTo>
                  <a:lnTo>
                    <a:pt x="438" y="168"/>
                  </a:lnTo>
                  <a:lnTo>
                    <a:pt x="438" y="162"/>
                  </a:lnTo>
                  <a:lnTo>
                    <a:pt x="444" y="156"/>
                  </a:lnTo>
                  <a:lnTo>
                    <a:pt x="450" y="156"/>
                  </a:lnTo>
                  <a:lnTo>
                    <a:pt x="456" y="150"/>
                  </a:lnTo>
                  <a:lnTo>
                    <a:pt x="462" y="156"/>
                  </a:lnTo>
                  <a:lnTo>
                    <a:pt x="468" y="162"/>
                  </a:lnTo>
                  <a:lnTo>
                    <a:pt x="474" y="162"/>
                  </a:lnTo>
                  <a:lnTo>
                    <a:pt x="486" y="162"/>
                  </a:lnTo>
                  <a:lnTo>
                    <a:pt x="492" y="156"/>
                  </a:lnTo>
                  <a:lnTo>
                    <a:pt x="498" y="150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28" y="126"/>
                  </a:lnTo>
                  <a:lnTo>
                    <a:pt x="522" y="120"/>
                  </a:lnTo>
                  <a:lnTo>
                    <a:pt x="522" y="114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28" y="102"/>
                  </a:lnTo>
                  <a:lnTo>
                    <a:pt x="534" y="96"/>
                  </a:lnTo>
                  <a:lnTo>
                    <a:pt x="552" y="96"/>
                  </a:lnTo>
                  <a:lnTo>
                    <a:pt x="570" y="102"/>
                  </a:lnTo>
                  <a:lnTo>
                    <a:pt x="582" y="96"/>
                  </a:lnTo>
                  <a:lnTo>
                    <a:pt x="582" y="90"/>
                  </a:lnTo>
                  <a:lnTo>
                    <a:pt x="582" y="78"/>
                  </a:lnTo>
                  <a:lnTo>
                    <a:pt x="582" y="72"/>
                  </a:lnTo>
                  <a:lnTo>
                    <a:pt x="582" y="66"/>
                  </a:lnTo>
                  <a:lnTo>
                    <a:pt x="594" y="60"/>
                  </a:lnTo>
                  <a:lnTo>
                    <a:pt x="600" y="60"/>
                  </a:lnTo>
                  <a:lnTo>
                    <a:pt x="606" y="54"/>
                  </a:lnTo>
                  <a:lnTo>
                    <a:pt x="618" y="48"/>
                  </a:lnTo>
                  <a:lnTo>
                    <a:pt x="618" y="42"/>
                  </a:lnTo>
                  <a:lnTo>
                    <a:pt x="624" y="42"/>
                  </a:lnTo>
                  <a:lnTo>
                    <a:pt x="636" y="48"/>
                  </a:lnTo>
                  <a:lnTo>
                    <a:pt x="648" y="54"/>
                  </a:lnTo>
                  <a:lnTo>
                    <a:pt x="660" y="54"/>
                  </a:lnTo>
                  <a:lnTo>
                    <a:pt x="666" y="60"/>
                  </a:lnTo>
                  <a:lnTo>
                    <a:pt x="672" y="54"/>
                  </a:lnTo>
                  <a:lnTo>
                    <a:pt x="684" y="48"/>
                  </a:lnTo>
                  <a:lnTo>
                    <a:pt x="708" y="42"/>
                  </a:lnTo>
                  <a:lnTo>
                    <a:pt x="714" y="42"/>
                  </a:lnTo>
                  <a:lnTo>
                    <a:pt x="720" y="36"/>
                  </a:lnTo>
                  <a:lnTo>
                    <a:pt x="720" y="30"/>
                  </a:lnTo>
                  <a:lnTo>
                    <a:pt x="714" y="12"/>
                  </a:lnTo>
                  <a:lnTo>
                    <a:pt x="708" y="0"/>
                  </a:lnTo>
                  <a:lnTo>
                    <a:pt x="738" y="6"/>
                  </a:lnTo>
                  <a:lnTo>
                    <a:pt x="756" y="6"/>
                  </a:lnTo>
                  <a:lnTo>
                    <a:pt x="762" y="42"/>
                  </a:lnTo>
                  <a:lnTo>
                    <a:pt x="738" y="72"/>
                  </a:lnTo>
                  <a:lnTo>
                    <a:pt x="750" y="90"/>
                  </a:lnTo>
                  <a:lnTo>
                    <a:pt x="762" y="96"/>
                  </a:lnTo>
                  <a:lnTo>
                    <a:pt x="756" y="102"/>
                  </a:lnTo>
                  <a:lnTo>
                    <a:pt x="750" y="108"/>
                  </a:lnTo>
                  <a:lnTo>
                    <a:pt x="750" y="114"/>
                  </a:lnTo>
                  <a:lnTo>
                    <a:pt x="750" y="120"/>
                  </a:lnTo>
                  <a:lnTo>
                    <a:pt x="750" y="126"/>
                  </a:lnTo>
                  <a:lnTo>
                    <a:pt x="750" y="132"/>
                  </a:lnTo>
                  <a:lnTo>
                    <a:pt x="738" y="132"/>
                  </a:lnTo>
                  <a:lnTo>
                    <a:pt x="732" y="138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14" y="144"/>
                  </a:lnTo>
                  <a:lnTo>
                    <a:pt x="714" y="150"/>
                  </a:lnTo>
                  <a:lnTo>
                    <a:pt x="720" y="156"/>
                  </a:lnTo>
                  <a:lnTo>
                    <a:pt x="720" y="162"/>
                  </a:lnTo>
                  <a:lnTo>
                    <a:pt x="714" y="162"/>
                  </a:lnTo>
                  <a:lnTo>
                    <a:pt x="708" y="168"/>
                  </a:lnTo>
                  <a:lnTo>
                    <a:pt x="708" y="180"/>
                  </a:lnTo>
                  <a:lnTo>
                    <a:pt x="708" y="192"/>
                  </a:lnTo>
                  <a:lnTo>
                    <a:pt x="696" y="198"/>
                  </a:lnTo>
                  <a:lnTo>
                    <a:pt x="696" y="204"/>
                  </a:lnTo>
                  <a:lnTo>
                    <a:pt x="684" y="210"/>
                  </a:lnTo>
                  <a:lnTo>
                    <a:pt x="684" y="216"/>
                  </a:lnTo>
                  <a:lnTo>
                    <a:pt x="684" y="222"/>
                  </a:lnTo>
                  <a:lnTo>
                    <a:pt x="678" y="228"/>
                  </a:lnTo>
                  <a:lnTo>
                    <a:pt x="678" y="234"/>
                  </a:lnTo>
                  <a:lnTo>
                    <a:pt x="672" y="240"/>
                  </a:lnTo>
                  <a:lnTo>
                    <a:pt x="672" y="252"/>
                  </a:lnTo>
                  <a:lnTo>
                    <a:pt x="672" y="258"/>
                  </a:lnTo>
                  <a:lnTo>
                    <a:pt x="666" y="264"/>
                  </a:lnTo>
                  <a:lnTo>
                    <a:pt x="678" y="264"/>
                  </a:lnTo>
                  <a:lnTo>
                    <a:pt x="684" y="276"/>
                  </a:lnTo>
                  <a:lnTo>
                    <a:pt x="684" y="288"/>
                  </a:lnTo>
                  <a:lnTo>
                    <a:pt x="672" y="300"/>
                  </a:lnTo>
                  <a:lnTo>
                    <a:pt x="660" y="318"/>
                  </a:lnTo>
                  <a:lnTo>
                    <a:pt x="660" y="336"/>
                  </a:lnTo>
                  <a:lnTo>
                    <a:pt x="654" y="342"/>
                  </a:lnTo>
                  <a:lnTo>
                    <a:pt x="660" y="354"/>
                  </a:lnTo>
                  <a:lnTo>
                    <a:pt x="660" y="366"/>
                  </a:lnTo>
                  <a:lnTo>
                    <a:pt x="666" y="378"/>
                  </a:lnTo>
                  <a:lnTo>
                    <a:pt x="672" y="390"/>
                  </a:lnTo>
                  <a:lnTo>
                    <a:pt x="678" y="396"/>
                  </a:lnTo>
                  <a:lnTo>
                    <a:pt x="684" y="390"/>
                  </a:lnTo>
                  <a:lnTo>
                    <a:pt x="690" y="390"/>
                  </a:lnTo>
                  <a:lnTo>
                    <a:pt x="690" y="396"/>
                  </a:lnTo>
                  <a:lnTo>
                    <a:pt x="684" y="396"/>
                  </a:lnTo>
                  <a:lnTo>
                    <a:pt x="684" y="402"/>
                  </a:lnTo>
                  <a:lnTo>
                    <a:pt x="684" y="408"/>
                  </a:lnTo>
                  <a:lnTo>
                    <a:pt x="678" y="414"/>
                  </a:lnTo>
                  <a:lnTo>
                    <a:pt x="684" y="414"/>
                  </a:lnTo>
                  <a:lnTo>
                    <a:pt x="684" y="420"/>
                  </a:lnTo>
                  <a:lnTo>
                    <a:pt x="684" y="426"/>
                  </a:lnTo>
                  <a:lnTo>
                    <a:pt x="690" y="420"/>
                  </a:lnTo>
                  <a:lnTo>
                    <a:pt x="696" y="420"/>
                  </a:lnTo>
                  <a:lnTo>
                    <a:pt x="696" y="426"/>
                  </a:lnTo>
                  <a:lnTo>
                    <a:pt x="690" y="426"/>
                  </a:lnTo>
                  <a:lnTo>
                    <a:pt x="696" y="426"/>
                  </a:lnTo>
                  <a:lnTo>
                    <a:pt x="708" y="426"/>
                  </a:lnTo>
                  <a:lnTo>
                    <a:pt x="726" y="414"/>
                  </a:lnTo>
                  <a:lnTo>
                    <a:pt x="732" y="408"/>
                  </a:lnTo>
                  <a:lnTo>
                    <a:pt x="744" y="402"/>
                  </a:lnTo>
                  <a:lnTo>
                    <a:pt x="756" y="402"/>
                  </a:lnTo>
                  <a:lnTo>
                    <a:pt x="768" y="402"/>
                  </a:lnTo>
                  <a:lnTo>
                    <a:pt x="786" y="408"/>
                  </a:lnTo>
                  <a:lnTo>
                    <a:pt x="786" y="414"/>
                  </a:lnTo>
                  <a:lnTo>
                    <a:pt x="774" y="420"/>
                  </a:lnTo>
                  <a:lnTo>
                    <a:pt x="774" y="426"/>
                  </a:lnTo>
                  <a:lnTo>
                    <a:pt x="768" y="432"/>
                  </a:lnTo>
                  <a:lnTo>
                    <a:pt x="762" y="438"/>
                  </a:lnTo>
                  <a:lnTo>
                    <a:pt x="756" y="438"/>
                  </a:lnTo>
                  <a:lnTo>
                    <a:pt x="756" y="444"/>
                  </a:lnTo>
                  <a:lnTo>
                    <a:pt x="756" y="450"/>
                  </a:lnTo>
                  <a:lnTo>
                    <a:pt x="762" y="450"/>
                  </a:lnTo>
                  <a:lnTo>
                    <a:pt x="750" y="456"/>
                  </a:lnTo>
                  <a:lnTo>
                    <a:pt x="738" y="468"/>
                  </a:lnTo>
                  <a:lnTo>
                    <a:pt x="726" y="480"/>
                  </a:lnTo>
                  <a:lnTo>
                    <a:pt x="726" y="486"/>
                  </a:lnTo>
                  <a:lnTo>
                    <a:pt x="732" y="486"/>
                  </a:lnTo>
                  <a:lnTo>
                    <a:pt x="732" y="492"/>
                  </a:lnTo>
                  <a:lnTo>
                    <a:pt x="732" y="504"/>
                  </a:lnTo>
                  <a:lnTo>
                    <a:pt x="738" y="504"/>
                  </a:lnTo>
                  <a:lnTo>
                    <a:pt x="744" y="510"/>
                  </a:lnTo>
                  <a:lnTo>
                    <a:pt x="738" y="522"/>
                  </a:lnTo>
                  <a:lnTo>
                    <a:pt x="744" y="528"/>
                  </a:lnTo>
                  <a:lnTo>
                    <a:pt x="756" y="534"/>
                  </a:lnTo>
                  <a:lnTo>
                    <a:pt x="756" y="540"/>
                  </a:lnTo>
                  <a:lnTo>
                    <a:pt x="744" y="552"/>
                  </a:lnTo>
                  <a:lnTo>
                    <a:pt x="738" y="552"/>
                  </a:lnTo>
                  <a:lnTo>
                    <a:pt x="738" y="558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64"/>
                  </a:lnTo>
                  <a:lnTo>
                    <a:pt x="744" y="576"/>
                  </a:lnTo>
                  <a:lnTo>
                    <a:pt x="738" y="588"/>
                  </a:lnTo>
                  <a:lnTo>
                    <a:pt x="738" y="594"/>
                  </a:lnTo>
                  <a:lnTo>
                    <a:pt x="738" y="600"/>
                  </a:lnTo>
                  <a:lnTo>
                    <a:pt x="738" y="606"/>
                  </a:lnTo>
                  <a:lnTo>
                    <a:pt x="732" y="612"/>
                  </a:lnTo>
                  <a:lnTo>
                    <a:pt x="726" y="624"/>
                  </a:lnTo>
                  <a:lnTo>
                    <a:pt x="726" y="636"/>
                  </a:lnTo>
                  <a:lnTo>
                    <a:pt x="726" y="648"/>
                  </a:lnTo>
                  <a:lnTo>
                    <a:pt x="738" y="654"/>
                  </a:lnTo>
                  <a:lnTo>
                    <a:pt x="750" y="660"/>
                  </a:lnTo>
                  <a:lnTo>
                    <a:pt x="750" y="666"/>
                  </a:lnTo>
                  <a:lnTo>
                    <a:pt x="750" y="678"/>
                  </a:lnTo>
                  <a:lnTo>
                    <a:pt x="744" y="678"/>
                  </a:lnTo>
                  <a:lnTo>
                    <a:pt x="738" y="684"/>
                  </a:lnTo>
                  <a:lnTo>
                    <a:pt x="732" y="684"/>
                  </a:lnTo>
                  <a:lnTo>
                    <a:pt x="720" y="678"/>
                  </a:lnTo>
                  <a:lnTo>
                    <a:pt x="714" y="684"/>
                  </a:lnTo>
                  <a:lnTo>
                    <a:pt x="708" y="684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0" y="690"/>
                  </a:lnTo>
                  <a:lnTo>
                    <a:pt x="690" y="684"/>
                  </a:lnTo>
                  <a:lnTo>
                    <a:pt x="690" y="690"/>
                  </a:lnTo>
                  <a:lnTo>
                    <a:pt x="684" y="690"/>
                  </a:lnTo>
                  <a:lnTo>
                    <a:pt x="684" y="684"/>
                  </a:lnTo>
                  <a:lnTo>
                    <a:pt x="678" y="684"/>
                  </a:lnTo>
                  <a:lnTo>
                    <a:pt x="672" y="678"/>
                  </a:lnTo>
                  <a:lnTo>
                    <a:pt x="672" y="672"/>
                  </a:lnTo>
                  <a:lnTo>
                    <a:pt x="678" y="672"/>
                  </a:lnTo>
                  <a:lnTo>
                    <a:pt x="672" y="672"/>
                  </a:lnTo>
                  <a:lnTo>
                    <a:pt x="666" y="672"/>
                  </a:lnTo>
                  <a:lnTo>
                    <a:pt x="660" y="672"/>
                  </a:lnTo>
                  <a:lnTo>
                    <a:pt x="654" y="672"/>
                  </a:lnTo>
                  <a:lnTo>
                    <a:pt x="654" y="666"/>
                  </a:lnTo>
                  <a:lnTo>
                    <a:pt x="648" y="666"/>
                  </a:lnTo>
                  <a:lnTo>
                    <a:pt x="642" y="660"/>
                  </a:lnTo>
                  <a:lnTo>
                    <a:pt x="642" y="654"/>
                  </a:lnTo>
                  <a:lnTo>
                    <a:pt x="642" y="648"/>
                  </a:lnTo>
                  <a:lnTo>
                    <a:pt x="636" y="648"/>
                  </a:lnTo>
                  <a:lnTo>
                    <a:pt x="630" y="648"/>
                  </a:lnTo>
                  <a:lnTo>
                    <a:pt x="624" y="648"/>
                  </a:lnTo>
                  <a:lnTo>
                    <a:pt x="624" y="642"/>
                  </a:lnTo>
                  <a:lnTo>
                    <a:pt x="618" y="636"/>
                  </a:lnTo>
                  <a:lnTo>
                    <a:pt x="624" y="636"/>
                  </a:lnTo>
                  <a:lnTo>
                    <a:pt x="624" y="630"/>
                  </a:lnTo>
                  <a:lnTo>
                    <a:pt x="618" y="630"/>
                  </a:lnTo>
                  <a:lnTo>
                    <a:pt x="618" y="624"/>
                  </a:lnTo>
                  <a:lnTo>
                    <a:pt x="618" y="618"/>
                  </a:lnTo>
                  <a:lnTo>
                    <a:pt x="618" y="612"/>
                  </a:lnTo>
                  <a:lnTo>
                    <a:pt x="618" y="606"/>
                  </a:lnTo>
                  <a:lnTo>
                    <a:pt x="624" y="606"/>
                  </a:lnTo>
                  <a:lnTo>
                    <a:pt x="624" y="600"/>
                  </a:lnTo>
                  <a:lnTo>
                    <a:pt x="618" y="600"/>
                  </a:lnTo>
                  <a:lnTo>
                    <a:pt x="618" y="594"/>
                  </a:lnTo>
                  <a:lnTo>
                    <a:pt x="618" y="588"/>
                  </a:lnTo>
                  <a:lnTo>
                    <a:pt x="618" y="582"/>
                  </a:lnTo>
                  <a:lnTo>
                    <a:pt x="612" y="582"/>
                  </a:lnTo>
                  <a:lnTo>
                    <a:pt x="606" y="582"/>
                  </a:lnTo>
                  <a:lnTo>
                    <a:pt x="612" y="582"/>
                  </a:lnTo>
                  <a:lnTo>
                    <a:pt x="612" y="588"/>
                  </a:lnTo>
                  <a:lnTo>
                    <a:pt x="612" y="594"/>
                  </a:lnTo>
                  <a:lnTo>
                    <a:pt x="618" y="594"/>
                  </a:lnTo>
                  <a:lnTo>
                    <a:pt x="618" y="600"/>
                  </a:lnTo>
                  <a:lnTo>
                    <a:pt x="618" y="606"/>
                  </a:lnTo>
                  <a:lnTo>
                    <a:pt x="618" y="612"/>
                  </a:lnTo>
                  <a:lnTo>
                    <a:pt x="612" y="612"/>
                  </a:lnTo>
                  <a:lnTo>
                    <a:pt x="612" y="618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94" y="612"/>
                  </a:lnTo>
                  <a:lnTo>
                    <a:pt x="588" y="606"/>
                  </a:lnTo>
                  <a:lnTo>
                    <a:pt x="588" y="612"/>
                  </a:lnTo>
                  <a:lnTo>
                    <a:pt x="594" y="612"/>
                  </a:lnTo>
                  <a:lnTo>
                    <a:pt x="594" y="618"/>
                  </a:lnTo>
                  <a:lnTo>
                    <a:pt x="588" y="618"/>
                  </a:lnTo>
                  <a:lnTo>
                    <a:pt x="588" y="624"/>
                  </a:lnTo>
                  <a:lnTo>
                    <a:pt x="582" y="624"/>
                  </a:lnTo>
                  <a:lnTo>
                    <a:pt x="582" y="630"/>
                  </a:lnTo>
                  <a:lnTo>
                    <a:pt x="576" y="630"/>
                  </a:lnTo>
                  <a:lnTo>
                    <a:pt x="576" y="636"/>
                  </a:lnTo>
                  <a:lnTo>
                    <a:pt x="570" y="636"/>
                  </a:lnTo>
                  <a:lnTo>
                    <a:pt x="570" y="642"/>
                  </a:lnTo>
                  <a:lnTo>
                    <a:pt x="564" y="642"/>
                  </a:lnTo>
                  <a:lnTo>
                    <a:pt x="564" y="636"/>
                  </a:lnTo>
                  <a:lnTo>
                    <a:pt x="564" y="630"/>
                  </a:lnTo>
                  <a:lnTo>
                    <a:pt x="564" y="624"/>
                  </a:lnTo>
                  <a:lnTo>
                    <a:pt x="564" y="618"/>
                  </a:lnTo>
                  <a:lnTo>
                    <a:pt x="570" y="612"/>
                  </a:lnTo>
                  <a:lnTo>
                    <a:pt x="564" y="606"/>
                  </a:lnTo>
                  <a:lnTo>
                    <a:pt x="564" y="600"/>
                  </a:lnTo>
                  <a:lnTo>
                    <a:pt x="564" y="594"/>
                  </a:lnTo>
                  <a:lnTo>
                    <a:pt x="558" y="594"/>
                  </a:lnTo>
                  <a:lnTo>
                    <a:pt x="558" y="588"/>
                  </a:lnTo>
                  <a:lnTo>
                    <a:pt x="552" y="582"/>
                  </a:lnTo>
                  <a:lnTo>
                    <a:pt x="552" y="576"/>
                  </a:lnTo>
                  <a:lnTo>
                    <a:pt x="552" y="570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6" y="582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58" y="588"/>
                  </a:lnTo>
                  <a:lnTo>
                    <a:pt x="558" y="594"/>
                  </a:lnTo>
                  <a:lnTo>
                    <a:pt x="558" y="600"/>
                  </a:lnTo>
                  <a:lnTo>
                    <a:pt x="558" y="606"/>
                  </a:lnTo>
                  <a:lnTo>
                    <a:pt x="552" y="612"/>
                  </a:lnTo>
                  <a:lnTo>
                    <a:pt x="558" y="612"/>
                  </a:lnTo>
                  <a:lnTo>
                    <a:pt x="558" y="618"/>
                  </a:lnTo>
                  <a:lnTo>
                    <a:pt x="558" y="624"/>
                  </a:lnTo>
                  <a:lnTo>
                    <a:pt x="558" y="630"/>
                  </a:lnTo>
                  <a:lnTo>
                    <a:pt x="552" y="630"/>
                  </a:lnTo>
                  <a:lnTo>
                    <a:pt x="552" y="624"/>
                  </a:lnTo>
                  <a:lnTo>
                    <a:pt x="546" y="624"/>
                  </a:lnTo>
                  <a:lnTo>
                    <a:pt x="546" y="618"/>
                  </a:lnTo>
                  <a:lnTo>
                    <a:pt x="546" y="612"/>
                  </a:lnTo>
                  <a:lnTo>
                    <a:pt x="540" y="612"/>
                  </a:lnTo>
                  <a:lnTo>
                    <a:pt x="534" y="612"/>
                  </a:lnTo>
                  <a:lnTo>
                    <a:pt x="528" y="612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28" y="618"/>
                  </a:lnTo>
                  <a:lnTo>
                    <a:pt x="534" y="618"/>
                  </a:lnTo>
                  <a:lnTo>
                    <a:pt x="540" y="618"/>
                  </a:lnTo>
                  <a:lnTo>
                    <a:pt x="540" y="624"/>
                  </a:lnTo>
                  <a:lnTo>
                    <a:pt x="546" y="624"/>
                  </a:lnTo>
                  <a:lnTo>
                    <a:pt x="546" y="630"/>
                  </a:lnTo>
                  <a:lnTo>
                    <a:pt x="552" y="630"/>
                  </a:lnTo>
                  <a:lnTo>
                    <a:pt x="552" y="636"/>
                  </a:lnTo>
                  <a:lnTo>
                    <a:pt x="546" y="642"/>
                  </a:lnTo>
                  <a:lnTo>
                    <a:pt x="546" y="648"/>
                  </a:lnTo>
                  <a:lnTo>
                    <a:pt x="540" y="648"/>
                  </a:lnTo>
                  <a:lnTo>
                    <a:pt x="540" y="654"/>
                  </a:lnTo>
                  <a:lnTo>
                    <a:pt x="540" y="660"/>
                  </a:lnTo>
                  <a:lnTo>
                    <a:pt x="534" y="666"/>
                  </a:lnTo>
                  <a:lnTo>
                    <a:pt x="534" y="672"/>
                  </a:lnTo>
                  <a:lnTo>
                    <a:pt x="534" y="678"/>
                  </a:lnTo>
                  <a:lnTo>
                    <a:pt x="534" y="684"/>
                  </a:lnTo>
                  <a:lnTo>
                    <a:pt x="534" y="678"/>
                  </a:lnTo>
                  <a:lnTo>
                    <a:pt x="528" y="678"/>
                  </a:lnTo>
                  <a:lnTo>
                    <a:pt x="528" y="684"/>
                  </a:lnTo>
                  <a:lnTo>
                    <a:pt x="522" y="690"/>
                  </a:lnTo>
                  <a:lnTo>
                    <a:pt x="528" y="690"/>
                  </a:lnTo>
                  <a:lnTo>
                    <a:pt x="528" y="684"/>
                  </a:lnTo>
                  <a:lnTo>
                    <a:pt x="534" y="684"/>
                  </a:lnTo>
                  <a:lnTo>
                    <a:pt x="534" y="690"/>
                  </a:lnTo>
                  <a:lnTo>
                    <a:pt x="534" y="696"/>
                  </a:lnTo>
                  <a:lnTo>
                    <a:pt x="540" y="696"/>
                  </a:lnTo>
                  <a:lnTo>
                    <a:pt x="540" y="702"/>
                  </a:lnTo>
                  <a:lnTo>
                    <a:pt x="540" y="708"/>
                  </a:lnTo>
                  <a:lnTo>
                    <a:pt x="534" y="708"/>
                  </a:lnTo>
                  <a:lnTo>
                    <a:pt x="528" y="708"/>
                  </a:lnTo>
                  <a:lnTo>
                    <a:pt x="522" y="708"/>
                  </a:lnTo>
                  <a:lnTo>
                    <a:pt x="516" y="708"/>
                  </a:lnTo>
                  <a:lnTo>
                    <a:pt x="510" y="708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2" y="708"/>
                  </a:lnTo>
                  <a:lnTo>
                    <a:pt x="486" y="714"/>
                  </a:lnTo>
                  <a:lnTo>
                    <a:pt x="480" y="708"/>
                  </a:lnTo>
                  <a:lnTo>
                    <a:pt x="474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68" y="714"/>
                  </a:lnTo>
                  <a:lnTo>
                    <a:pt x="456" y="714"/>
                  </a:lnTo>
                  <a:lnTo>
                    <a:pt x="450" y="714"/>
                  </a:lnTo>
                  <a:lnTo>
                    <a:pt x="450" y="708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50" y="690"/>
                  </a:lnTo>
                  <a:lnTo>
                    <a:pt x="450" y="684"/>
                  </a:lnTo>
                  <a:lnTo>
                    <a:pt x="450" y="678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56" y="660"/>
                  </a:lnTo>
                  <a:lnTo>
                    <a:pt x="462" y="660"/>
                  </a:lnTo>
                  <a:lnTo>
                    <a:pt x="462" y="654"/>
                  </a:lnTo>
                  <a:lnTo>
                    <a:pt x="456" y="654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48"/>
                  </a:lnTo>
                  <a:lnTo>
                    <a:pt x="444" y="648"/>
                  </a:lnTo>
                  <a:lnTo>
                    <a:pt x="444" y="642"/>
                  </a:lnTo>
                  <a:lnTo>
                    <a:pt x="444" y="636"/>
                  </a:lnTo>
                  <a:lnTo>
                    <a:pt x="450" y="636"/>
                  </a:lnTo>
                  <a:lnTo>
                    <a:pt x="450" y="630"/>
                  </a:lnTo>
                  <a:lnTo>
                    <a:pt x="456" y="630"/>
                  </a:lnTo>
                  <a:lnTo>
                    <a:pt x="462" y="630"/>
                  </a:lnTo>
                  <a:lnTo>
                    <a:pt x="462" y="624"/>
                  </a:lnTo>
                  <a:lnTo>
                    <a:pt x="468" y="624"/>
                  </a:lnTo>
                  <a:lnTo>
                    <a:pt x="474" y="624"/>
                  </a:lnTo>
                  <a:lnTo>
                    <a:pt x="474" y="618"/>
                  </a:lnTo>
                  <a:lnTo>
                    <a:pt x="480" y="618"/>
                  </a:lnTo>
                  <a:lnTo>
                    <a:pt x="486" y="618"/>
                  </a:lnTo>
                  <a:lnTo>
                    <a:pt x="486" y="624"/>
                  </a:lnTo>
                  <a:lnTo>
                    <a:pt x="486" y="636"/>
                  </a:lnTo>
                  <a:lnTo>
                    <a:pt x="486" y="642"/>
                  </a:lnTo>
                  <a:lnTo>
                    <a:pt x="486" y="648"/>
                  </a:lnTo>
                  <a:lnTo>
                    <a:pt x="492" y="648"/>
                  </a:lnTo>
                  <a:lnTo>
                    <a:pt x="492" y="642"/>
                  </a:lnTo>
                  <a:lnTo>
                    <a:pt x="498" y="636"/>
                  </a:lnTo>
                  <a:lnTo>
                    <a:pt x="492" y="636"/>
                  </a:lnTo>
                  <a:lnTo>
                    <a:pt x="492" y="630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6" y="618"/>
                  </a:lnTo>
                  <a:lnTo>
                    <a:pt x="486" y="612"/>
                  </a:lnTo>
                  <a:lnTo>
                    <a:pt x="486" y="606"/>
                  </a:lnTo>
                  <a:lnTo>
                    <a:pt x="480" y="606"/>
                  </a:lnTo>
                  <a:lnTo>
                    <a:pt x="480" y="612"/>
                  </a:lnTo>
                  <a:lnTo>
                    <a:pt x="474" y="618"/>
                  </a:lnTo>
                  <a:lnTo>
                    <a:pt x="468" y="618"/>
                  </a:lnTo>
                  <a:lnTo>
                    <a:pt x="462" y="618"/>
                  </a:lnTo>
                  <a:lnTo>
                    <a:pt x="462" y="612"/>
                  </a:lnTo>
                  <a:lnTo>
                    <a:pt x="456" y="612"/>
                  </a:lnTo>
                  <a:lnTo>
                    <a:pt x="456" y="618"/>
                  </a:lnTo>
                  <a:lnTo>
                    <a:pt x="462" y="618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30"/>
                  </a:lnTo>
                  <a:lnTo>
                    <a:pt x="444" y="630"/>
                  </a:lnTo>
                  <a:lnTo>
                    <a:pt x="444" y="636"/>
                  </a:lnTo>
                  <a:lnTo>
                    <a:pt x="444" y="642"/>
                  </a:lnTo>
                  <a:lnTo>
                    <a:pt x="444" y="654"/>
                  </a:lnTo>
                  <a:lnTo>
                    <a:pt x="444" y="660"/>
                  </a:lnTo>
                  <a:lnTo>
                    <a:pt x="438" y="660"/>
                  </a:lnTo>
                  <a:lnTo>
                    <a:pt x="432" y="660"/>
                  </a:lnTo>
                  <a:lnTo>
                    <a:pt x="432" y="654"/>
                  </a:lnTo>
                  <a:lnTo>
                    <a:pt x="438" y="654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48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26" y="660"/>
                  </a:lnTo>
                  <a:lnTo>
                    <a:pt x="432" y="666"/>
                  </a:lnTo>
                  <a:lnTo>
                    <a:pt x="432" y="672"/>
                  </a:lnTo>
                  <a:lnTo>
                    <a:pt x="438" y="672"/>
                  </a:lnTo>
                  <a:lnTo>
                    <a:pt x="438" y="678"/>
                  </a:lnTo>
                  <a:lnTo>
                    <a:pt x="444" y="678"/>
                  </a:lnTo>
                  <a:lnTo>
                    <a:pt x="444" y="684"/>
                  </a:lnTo>
                  <a:lnTo>
                    <a:pt x="438" y="690"/>
                  </a:lnTo>
                  <a:lnTo>
                    <a:pt x="438" y="696"/>
                  </a:lnTo>
                  <a:lnTo>
                    <a:pt x="438" y="702"/>
                  </a:lnTo>
                  <a:lnTo>
                    <a:pt x="432" y="702"/>
                  </a:lnTo>
                  <a:lnTo>
                    <a:pt x="426" y="702"/>
                  </a:lnTo>
                  <a:lnTo>
                    <a:pt x="426" y="696"/>
                  </a:lnTo>
                  <a:lnTo>
                    <a:pt x="414" y="696"/>
                  </a:lnTo>
                  <a:lnTo>
                    <a:pt x="402" y="696"/>
                  </a:lnTo>
                  <a:lnTo>
                    <a:pt x="402" y="690"/>
                  </a:lnTo>
                  <a:lnTo>
                    <a:pt x="396" y="690"/>
                  </a:lnTo>
                  <a:lnTo>
                    <a:pt x="390" y="690"/>
                  </a:lnTo>
                  <a:lnTo>
                    <a:pt x="384" y="690"/>
                  </a:lnTo>
                  <a:lnTo>
                    <a:pt x="384" y="684"/>
                  </a:lnTo>
                  <a:lnTo>
                    <a:pt x="384" y="678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390" y="660"/>
                  </a:lnTo>
                  <a:lnTo>
                    <a:pt x="390" y="654"/>
                  </a:lnTo>
                  <a:lnTo>
                    <a:pt x="384" y="648"/>
                  </a:lnTo>
                  <a:lnTo>
                    <a:pt x="384" y="642"/>
                  </a:lnTo>
                  <a:lnTo>
                    <a:pt x="378" y="636"/>
                  </a:lnTo>
                  <a:lnTo>
                    <a:pt x="378" y="642"/>
                  </a:lnTo>
                  <a:lnTo>
                    <a:pt x="378" y="648"/>
                  </a:lnTo>
                  <a:lnTo>
                    <a:pt x="372" y="648"/>
                  </a:lnTo>
                  <a:lnTo>
                    <a:pt x="378" y="654"/>
                  </a:lnTo>
                  <a:lnTo>
                    <a:pt x="378" y="660"/>
                  </a:lnTo>
                  <a:lnTo>
                    <a:pt x="378" y="666"/>
                  </a:lnTo>
                  <a:lnTo>
                    <a:pt x="372" y="672"/>
                  </a:lnTo>
                  <a:lnTo>
                    <a:pt x="378" y="672"/>
                  </a:lnTo>
                  <a:lnTo>
                    <a:pt x="378" y="678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54" y="666"/>
                  </a:lnTo>
                  <a:lnTo>
                    <a:pt x="354" y="660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0" y="654"/>
                  </a:lnTo>
                  <a:lnTo>
                    <a:pt x="324" y="648"/>
                  </a:lnTo>
                  <a:lnTo>
                    <a:pt x="318" y="648"/>
                  </a:lnTo>
                  <a:lnTo>
                    <a:pt x="318" y="642"/>
                  </a:lnTo>
                  <a:lnTo>
                    <a:pt x="312" y="642"/>
                  </a:lnTo>
                  <a:lnTo>
                    <a:pt x="306" y="636"/>
                  </a:lnTo>
                  <a:lnTo>
                    <a:pt x="300" y="636"/>
                  </a:lnTo>
                  <a:lnTo>
                    <a:pt x="300" y="630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0" y="618"/>
                  </a:lnTo>
                  <a:lnTo>
                    <a:pt x="306" y="612"/>
                  </a:lnTo>
                  <a:lnTo>
                    <a:pt x="300" y="612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294" y="612"/>
                  </a:lnTo>
                  <a:lnTo>
                    <a:pt x="288" y="618"/>
                  </a:lnTo>
                  <a:lnTo>
                    <a:pt x="288" y="612"/>
                  </a:lnTo>
                  <a:lnTo>
                    <a:pt x="288" y="618"/>
                  </a:lnTo>
                  <a:lnTo>
                    <a:pt x="294" y="618"/>
                  </a:lnTo>
                  <a:lnTo>
                    <a:pt x="300" y="624"/>
                  </a:lnTo>
                  <a:lnTo>
                    <a:pt x="294" y="624"/>
                  </a:lnTo>
                  <a:lnTo>
                    <a:pt x="288" y="624"/>
                  </a:lnTo>
                  <a:lnTo>
                    <a:pt x="282" y="61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70" y="600"/>
                  </a:lnTo>
                  <a:lnTo>
                    <a:pt x="270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82" y="588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594"/>
                  </a:lnTo>
                  <a:lnTo>
                    <a:pt x="264" y="600"/>
                  </a:lnTo>
                  <a:lnTo>
                    <a:pt x="264" y="594"/>
                  </a:lnTo>
                  <a:lnTo>
                    <a:pt x="270" y="594"/>
                  </a:lnTo>
                  <a:lnTo>
                    <a:pt x="270" y="588"/>
                  </a:lnTo>
                  <a:lnTo>
                    <a:pt x="264" y="594"/>
                  </a:lnTo>
                  <a:lnTo>
                    <a:pt x="258" y="594"/>
                  </a:lnTo>
                  <a:lnTo>
                    <a:pt x="258" y="588"/>
                  </a:lnTo>
                  <a:lnTo>
                    <a:pt x="252" y="588"/>
                  </a:lnTo>
                  <a:lnTo>
                    <a:pt x="246" y="588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52" y="588"/>
                  </a:lnTo>
                  <a:lnTo>
                    <a:pt x="252" y="594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46" y="594"/>
                  </a:lnTo>
                  <a:lnTo>
                    <a:pt x="246" y="588"/>
                  </a:lnTo>
                  <a:lnTo>
                    <a:pt x="240" y="588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2" y="570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64"/>
                  </a:lnTo>
                  <a:lnTo>
                    <a:pt x="234" y="564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34" y="558"/>
                  </a:lnTo>
                  <a:lnTo>
                    <a:pt x="228" y="558"/>
                  </a:lnTo>
                  <a:lnTo>
                    <a:pt x="222" y="558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2" y="564"/>
                  </a:lnTo>
                  <a:lnTo>
                    <a:pt x="222" y="558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04" y="546"/>
                  </a:lnTo>
                  <a:lnTo>
                    <a:pt x="204" y="540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10" y="540"/>
                  </a:lnTo>
                  <a:lnTo>
                    <a:pt x="210" y="534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8"/>
                  </a:lnTo>
                  <a:lnTo>
                    <a:pt x="174" y="516"/>
                  </a:lnTo>
                  <a:lnTo>
                    <a:pt x="168" y="510"/>
                  </a:lnTo>
                  <a:lnTo>
                    <a:pt x="162" y="504"/>
                  </a:lnTo>
                  <a:lnTo>
                    <a:pt x="156" y="498"/>
                  </a:lnTo>
                  <a:lnTo>
                    <a:pt x="156" y="492"/>
                  </a:lnTo>
                  <a:lnTo>
                    <a:pt x="150" y="486"/>
                  </a:lnTo>
                  <a:lnTo>
                    <a:pt x="144" y="480"/>
                  </a:lnTo>
                  <a:lnTo>
                    <a:pt x="144" y="474"/>
                  </a:lnTo>
                  <a:lnTo>
                    <a:pt x="138" y="474"/>
                  </a:lnTo>
                  <a:lnTo>
                    <a:pt x="138" y="468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26" y="450"/>
                  </a:lnTo>
                  <a:lnTo>
                    <a:pt x="126" y="444"/>
                  </a:lnTo>
                  <a:lnTo>
                    <a:pt x="114" y="438"/>
                  </a:lnTo>
                  <a:lnTo>
                    <a:pt x="114" y="432"/>
                  </a:lnTo>
                  <a:lnTo>
                    <a:pt x="114" y="426"/>
                  </a:lnTo>
                  <a:lnTo>
                    <a:pt x="114" y="432"/>
                  </a:lnTo>
                  <a:lnTo>
                    <a:pt x="120" y="432"/>
                  </a:lnTo>
                  <a:lnTo>
                    <a:pt x="120" y="438"/>
                  </a:lnTo>
                  <a:lnTo>
                    <a:pt x="120" y="444"/>
                  </a:lnTo>
                  <a:lnTo>
                    <a:pt x="126" y="444"/>
                  </a:lnTo>
                  <a:lnTo>
                    <a:pt x="126" y="438"/>
                  </a:lnTo>
                  <a:lnTo>
                    <a:pt x="120" y="438"/>
                  </a:lnTo>
                  <a:lnTo>
                    <a:pt x="126" y="432"/>
                  </a:lnTo>
                  <a:lnTo>
                    <a:pt x="126" y="426"/>
                  </a:lnTo>
                  <a:lnTo>
                    <a:pt x="132" y="420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08" y="414"/>
                  </a:lnTo>
                  <a:lnTo>
                    <a:pt x="102" y="414"/>
                  </a:lnTo>
                  <a:lnTo>
                    <a:pt x="102" y="408"/>
                  </a:lnTo>
                  <a:lnTo>
                    <a:pt x="96" y="402"/>
                  </a:lnTo>
                  <a:lnTo>
                    <a:pt x="96" y="396"/>
                  </a:lnTo>
                  <a:lnTo>
                    <a:pt x="96" y="390"/>
                  </a:lnTo>
                  <a:lnTo>
                    <a:pt x="90" y="390"/>
                  </a:lnTo>
                  <a:lnTo>
                    <a:pt x="90" y="384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78" y="372"/>
                  </a:lnTo>
                  <a:lnTo>
                    <a:pt x="78" y="366"/>
                  </a:lnTo>
                  <a:lnTo>
                    <a:pt x="78" y="360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6" y="348"/>
                  </a:lnTo>
                  <a:lnTo>
                    <a:pt x="66" y="342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6" y="336"/>
                  </a:lnTo>
                  <a:lnTo>
                    <a:pt x="66" y="342"/>
                  </a:lnTo>
                  <a:lnTo>
                    <a:pt x="72" y="348"/>
                  </a:lnTo>
                  <a:lnTo>
                    <a:pt x="78" y="354"/>
                  </a:lnTo>
                  <a:lnTo>
                    <a:pt x="84" y="360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0" y="360"/>
                  </a:lnTo>
                  <a:lnTo>
                    <a:pt x="84" y="360"/>
                  </a:lnTo>
                  <a:lnTo>
                    <a:pt x="84" y="354"/>
                  </a:lnTo>
                  <a:lnTo>
                    <a:pt x="78" y="348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66" y="330"/>
                  </a:lnTo>
                  <a:lnTo>
                    <a:pt x="66" y="324"/>
                  </a:lnTo>
                  <a:lnTo>
                    <a:pt x="60" y="318"/>
                  </a:lnTo>
                  <a:lnTo>
                    <a:pt x="60" y="312"/>
                  </a:lnTo>
                  <a:lnTo>
                    <a:pt x="54" y="306"/>
                  </a:lnTo>
                  <a:lnTo>
                    <a:pt x="54" y="300"/>
                  </a:lnTo>
                  <a:lnTo>
                    <a:pt x="54" y="294"/>
                  </a:lnTo>
                  <a:lnTo>
                    <a:pt x="48" y="288"/>
                  </a:lnTo>
                  <a:lnTo>
                    <a:pt x="48" y="294"/>
                  </a:lnTo>
                  <a:lnTo>
                    <a:pt x="48" y="288"/>
                  </a:lnTo>
                  <a:lnTo>
                    <a:pt x="48" y="282"/>
                  </a:lnTo>
                  <a:lnTo>
                    <a:pt x="48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18" y="216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62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68"/>
                  </a:lnTo>
                  <a:lnTo>
                    <a:pt x="42" y="168"/>
                  </a:lnTo>
                  <a:lnTo>
                    <a:pt x="42" y="174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86"/>
                  </a:lnTo>
                  <a:close/>
                  <a:moveTo>
                    <a:pt x="642" y="660"/>
                  </a:moveTo>
                  <a:lnTo>
                    <a:pt x="642" y="666"/>
                  </a:lnTo>
                  <a:lnTo>
                    <a:pt x="648" y="666"/>
                  </a:lnTo>
                  <a:lnTo>
                    <a:pt x="648" y="672"/>
                  </a:lnTo>
                  <a:lnTo>
                    <a:pt x="648" y="678"/>
                  </a:lnTo>
                  <a:lnTo>
                    <a:pt x="654" y="678"/>
                  </a:lnTo>
                  <a:lnTo>
                    <a:pt x="654" y="684"/>
                  </a:lnTo>
                  <a:lnTo>
                    <a:pt x="660" y="684"/>
                  </a:lnTo>
                  <a:lnTo>
                    <a:pt x="660" y="690"/>
                  </a:lnTo>
                  <a:lnTo>
                    <a:pt x="654" y="690"/>
                  </a:lnTo>
                  <a:lnTo>
                    <a:pt x="648" y="690"/>
                  </a:lnTo>
                  <a:lnTo>
                    <a:pt x="636" y="696"/>
                  </a:lnTo>
                  <a:lnTo>
                    <a:pt x="630" y="696"/>
                  </a:lnTo>
                  <a:lnTo>
                    <a:pt x="624" y="696"/>
                  </a:lnTo>
                  <a:lnTo>
                    <a:pt x="618" y="696"/>
                  </a:lnTo>
                  <a:lnTo>
                    <a:pt x="612" y="696"/>
                  </a:lnTo>
                  <a:lnTo>
                    <a:pt x="594" y="696"/>
                  </a:lnTo>
                  <a:lnTo>
                    <a:pt x="588" y="696"/>
                  </a:lnTo>
                  <a:lnTo>
                    <a:pt x="582" y="696"/>
                  </a:lnTo>
                  <a:lnTo>
                    <a:pt x="570" y="702"/>
                  </a:lnTo>
                  <a:lnTo>
                    <a:pt x="564" y="702"/>
                  </a:lnTo>
                  <a:lnTo>
                    <a:pt x="558" y="702"/>
                  </a:lnTo>
                  <a:lnTo>
                    <a:pt x="552" y="702"/>
                  </a:lnTo>
                  <a:lnTo>
                    <a:pt x="552" y="696"/>
                  </a:lnTo>
                  <a:lnTo>
                    <a:pt x="546" y="696"/>
                  </a:lnTo>
                  <a:lnTo>
                    <a:pt x="546" y="690"/>
                  </a:lnTo>
                  <a:lnTo>
                    <a:pt x="552" y="684"/>
                  </a:lnTo>
                  <a:lnTo>
                    <a:pt x="552" y="678"/>
                  </a:lnTo>
                  <a:lnTo>
                    <a:pt x="558" y="672"/>
                  </a:lnTo>
                  <a:lnTo>
                    <a:pt x="558" y="666"/>
                  </a:lnTo>
                  <a:lnTo>
                    <a:pt x="564" y="666"/>
                  </a:lnTo>
                  <a:lnTo>
                    <a:pt x="570" y="666"/>
                  </a:lnTo>
                  <a:lnTo>
                    <a:pt x="570" y="654"/>
                  </a:lnTo>
                  <a:lnTo>
                    <a:pt x="570" y="648"/>
                  </a:lnTo>
                  <a:lnTo>
                    <a:pt x="582" y="642"/>
                  </a:lnTo>
                  <a:lnTo>
                    <a:pt x="582" y="636"/>
                  </a:lnTo>
                  <a:lnTo>
                    <a:pt x="588" y="636"/>
                  </a:lnTo>
                  <a:lnTo>
                    <a:pt x="588" y="630"/>
                  </a:lnTo>
                  <a:lnTo>
                    <a:pt x="594" y="624"/>
                  </a:lnTo>
                  <a:lnTo>
                    <a:pt x="594" y="618"/>
                  </a:lnTo>
                  <a:lnTo>
                    <a:pt x="600" y="618"/>
                  </a:lnTo>
                  <a:lnTo>
                    <a:pt x="600" y="612"/>
                  </a:lnTo>
                  <a:lnTo>
                    <a:pt x="606" y="612"/>
                  </a:lnTo>
                  <a:lnTo>
                    <a:pt x="606" y="618"/>
                  </a:lnTo>
                  <a:lnTo>
                    <a:pt x="612" y="618"/>
                  </a:lnTo>
                  <a:lnTo>
                    <a:pt x="618" y="618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18" y="636"/>
                  </a:lnTo>
                  <a:lnTo>
                    <a:pt x="618" y="642"/>
                  </a:lnTo>
                  <a:lnTo>
                    <a:pt x="618" y="648"/>
                  </a:lnTo>
                  <a:lnTo>
                    <a:pt x="624" y="648"/>
                  </a:lnTo>
                  <a:lnTo>
                    <a:pt x="630" y="648"/>
                  </a:lnTo>
                  <a:lnTo>
                    <a:pt x="636" y="654"/>
                  </a:lnTo>
                  <a:lnTo>
                    <a:pt x="642" y="654"/>
                  </a:lnTo>
                  <a:lnTo>
                    <a:pt x="642" y="66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0" name="Freeform 5">
              <a:extLst>
                <a:ext uri="{FF2B5EF4-FFF2-40B4-BE49-F238E27FC236}">
                  <a16:creationId xmlns:a16="http://schemas.microsoft.com/office/drawing/2014/main" id="{5577BDCA-F2C7-42E0-A391-018D79AA29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0384" y="4231013"/>
              <a:ext cx="404750" cy="480848"/>
            </a:xfrm>
            <a:custGeom>
              <a:avLst/>
              <a:gdLst>
                <a:gd name="T0" fmla="*/ 9 w 762"/>
                <a:gd name="T1" fmla="*/ 58 h 900"/>
                <a:gd name="T2" fmla="*/ 4 w 762"/>
                <a:gd name="T3" fmla="*/ 56 h 900"/>
                <a:gd name="T4" fmla="*/ 0 w 762"/>
                <a:gd name="T5" fmla="*/ 49 h 900"/>
                <a:gd name="T6" fmla="*/ 4 w 762"/>
                <a:gd name="T7" fmla="*/ 36 h 900"/>
                <a:gd name="T8" fmla="*/ 8 w 762"/>
                <a:gd name="T9" fmla="*/ 28 h 900"/>
                <a:gd name="T10" fmla="*/ 7 w 762"/>
                <a:gd name="T11" fmla="*/ 13 h 900"/>
                <a:gd name="T12" fmla="*/ 15 w 762"/>
                <a:gd name="T13" fmla="*/ 0 h 900"/>
                <a:gd name="T14" fmla="*/ 16 w 762"/>
                <a:gd name="T15" fmla="*/ 13 h 900"/>
                <a:gd name="T16" fmla="*/ 31 w 762"/>
                <a:gd name="T17" fmla="*/ 28 h 900"/>
                <a:gd name="T18" fmla="*/ 49 w 762"/>
                <a:gd name="T19" fmla="*/ 33 h 900"/>
                <a:gd name="T20" fmla="*/ 42 w 762"/>
                <a:gd name="T21" fmla="*/ 48 h 900"/>
                <a:gd name="T22" fmla="*/ 51 w 762"/>
                <a:gd name="T23" fmla="*/ 48 h 900"/>
                <a:gd name="T24" fmla="*/ 61 w 762"/>
                <a:gd name="T25" fmla="*/ 51 h 900"/>
                <a:gd name="T26" fmla="*/ 63 w 762"/>
                <a:gd name="T27" fmla="*/ 60 h 900"/>
                <a:gd name="T28" fmla="*/ 63 w 762"/>
                <a:gd name="T29" fmla="*/ 66 h 900"/>
                <a:gd name="T30" fmla="*/ 65 w 762"/>
                <a:gd name="T31" fmla="*/ 69 h 900"/>
                <a:gd name="T32" fmla="*/ 66 w 762"/>
                <a:gd name="T33" fmla="*/ 72 h 900"/>
                <a:gd name="T34" fmla="*/ 56 w 762"/>
                <a:gd name="T35" fmla="*/ 73 h 900"/>
                <a:gd name="T36" fmla="*/ 55 w 762"/>
                <a:gd name="T37" fmla="*/ 69 h 900"/>
                <a:gd name="T38" fmla="*/ 57 w 762"/>
                <a:gd name="T39" fmla="*/ 67 h 900"/>
                <a:gd name="T40" fmla="*/ 55 w 762"/>
                <a:gd name="T41" fmla="*/ 65 h 900"/>
                <a:gd name="T42" fmla="*/ 53 w 762"/>
                <a:gd name="T43" fmla="*/ 68 h 900"/>
                <a:gd name="T44" fmla="*/ 49 w 762"/>
                <a:gd name="T45" fmla="*/ 68 h 900"/>
                <a:gd name="T46" fmla="*/ 44 w 762"/>
                <a:gd name="T47" fmla="*/ 63 h 900"/>
                <a:gd name="T48" fmla="*/ 40 w 762"/>
                <a:gd name="T49" fmla="*/ 59 h 900"/>
                <a:gd name="T50" fmla="*/ 38 w 762"/>
                <a:gd name="T51" fmla="*/ 57 h 900"/>
                <a:gd name="T52" fmla="*/ 43 w 762"/>
                <a:gd name="T53" fmla="*/ 62 h 900"/>
                <a:gd name="T54" fmla="*/ 43 w 762"/>
                <a:gd name="T55" fmla="*/ 66 h 900"/>
                <a:gd name="T56" fmla="*/ 41 w 762"/>
                <a:gd name="T57" fmla="*/ 71 h 900"/>
                <a:gd name="T58" fmla="*/ 37 w 762"/>
                <a:gd name="T59" fmla="*/ 69 h 900"/>
                <a:gd name="T60" fmla="*/ 35 w 762"/>
                <a:gd name="T61" fmla="*/ 64 h 900"/>
                <a:gd name="T62" fmla="*/ 31 w 762"/>
                <a:gd name="T63" fmla="*/ 57 h 900"/>
                <a:gd name="T64" fmla="*/ 30 w 762"/>
                <a:gd name="T65" fmla="*/ 62 h 900"/>
                <a:gd name="T66" fmla="*/ 29 w 762"/>
                <a:gd name="T67" fmla="*/ 61 h 900"/>
                <a:gd name="T68" fmla="*/ 31 w 762"/>
                <a:gd name="T69" fmla="*/ 66 h 900"/>
                <a:gd name="T70" fmla="*/ 33 w 762"/>
                <a:gd name="T71" fmla="*/ 72 h 900"/>
                <a:gd name="T72" fmla="*/ 32 w 762"/>
                <a:gd name="T73" fmla="*/ 76 h 900"/>
                <a:gd name="T74" fmla="*/ 28 w 762"/>
                <a:gd name="T75" fmla="*/ 75 h 900"/>
                <a:gd name="T76" fmla="*/ 24 w 762"/>
                <a:gd name="T77" fmla="*/ 69 h 900"/>
                <a:gd name="T78" fmla="*/ 24 w 762"/>
                <a:gd name="T79" fmla="*/ 62 h 900"/>
                <a:gd name="T80" fmla="*/ 23 w 762"/>
                <a:gd name="T81" fmla="*/ 62 h 900"/>
                <a:gd name="T82" fmla="*/ 23 w 762"/>
                <a:gd name="T83" fmla="*/ 68 h 900"/>
                <a:gd name="T84" fmla="*/ 25 w 762"/>
                <a:gd name="T85" fmla="*/ 77 h 900"/>
                <a:gd name="T86" fmla="*/ 17 w 762"/>
                <a:gd name="T87" fmla="*/ 74 h 900"/>
                <a:gd name="T88" fmla="*/ 17 w 762"/>
                <a:gd name="T89" fmla="*/ 67 h 900"/>
                <a:gd name="T90" fmla="*/ 16 w 762"/>
                <a:gd name="T91" fmla="*/ 67 h 900"/>
                <a:gd name="T92" fmla="*/ 15 w 762"/>
                <a:gd name="T93" fmla="*/ 71 h 900"/>
                <a:gd name="T94" fmla="*/ 12 w 762"/>
                <a:gd name="T95" fmla="*/ 68 h 900"/>
                <a:gd name="T96" fmla="*/ 15 w 762"/>
                <a:gd name="T97" fmla="*/ 72 h 900"/>
                <a:gd name="T98" fmla="*/ 17 w 762"/>
                <a:gd name="T99" fmla="*/ 77 h 900"/>
                <a:gd name="T100" fmla="*/ 11 w 762"/>
                <a:gd name="T101" fmla="*/ 77 h 900"/>
                <a:gd name="T102" fmla="*/ 10 w 762"/>
                <a:gd name="T103" fmla="*/ 69 h 900"/>
                <a:gd name="T104" fmla="*/ 11 w 762"/>
                <a:gd name="T105" fmla="*/ 72 h 900"/>
                <a:gd name="T106" fmla="*/ 9 w 762"/>
                <a:gd name="T107" fmla="*/ 78 h 900"/>
                <a:gd name="T108" fmla="*/ 43 w 762"/>
                <a:gd name="T109" fmla="*/ 71 h 900"/>
                <a:gd name="T110" fmla="*/ 51 w 762"/>
                <a:gd name="T111" fmla="*/ 69 h 900"/>
                <a:gd name="T112" fmla="*/ 43 w 762"/>
                <a:gd name="T113" fmla="*/ 76 h 900"/>
                <a:gd name="T114" fmla="*/ 36 w 762"/>
                <a:gd name="T115" fmla="*/ 65 h 900"/>
                <a:gd name="T116" fmla="*/ 38 w 762"/>
                <a:gd name="T117" fmla="*/ 72 h 900"/>
                <a:gd name="T118" fmla="*/ 34 w 762"/>
                <a:gd name="T119" fmla="*/ 69 h 900"/>
                <a:gd name="T120" fmla="*/ 29 w 762"/>
                <a:gd name="T121" fmla="*/ 64 h 900"/>
                <a:gd name="T122" fmla="*/ 32 w 762"/>
                <a:gd name="T123" fmla="*/ 66 h 9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900"/>
                <a:gd name="T188" fmla="*/ 762 w 762"/>
                <a:gd name="T189" fmla="*/ 900 h 90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900">
                  <a:moveTo>
                    <a:pt x="90" y="768"/>
                  </a:moveTo>
                  <a:lnTo>
                    <a:pt x="102" y="756"/>
                  </a:lnTo>
                  <a:lnTo>
                    <a:pt x="102" y="750"/>
                  </a:lnTo>
                  <a:lnTo>
                    <a:pt x="90" y="744"/>
                  </a:lnTo>
                  <a:lnTo>
                    <a:pt x="84" y="738"/>
                  </a:lnTo>
                  <a:lnTo>
                    <a:pt x="90" y="726"/>
                  </a:lnTo>
                  <a:lnTo>
                    <a:pt x="84" y="720"/>
                  </a:lnTo>
                  <a:lnTo>
                    <a:pt x="78" y="720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72" y="702"/>
                  </a:lnTo>
                  <a:lnTo>
                    <a:pt x="72" y="696"/>
                  </a:lnTo>
                  <a:lnTo>
                    <a:pt x="84" y="684"/>
                  </a:lnTo>
                  <a:lnTo>
                    <a:pt x="96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102" y="654"/>
                  </a:lnTo>
                  <a:lnTo>
                    <a:pt x="108" y="654"/>
                  </a:lnTo>
                  <a:lnTo>
                    <a:pt x="114" y="648"/>
                  </a:lnTo>
                  <a:lnTo>
                    <a:pt x="120" y="642"/>
                  </a:lnTo>
                  <a:lnTo>
                    <a:pt x="120" y="636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14" y="618"/>
                  </a:lnTo>
                  <a:lnTo>
                    <a:pt x="102" y="618"/>
                  </a:lnTo>
                  <a:lnTo>
                    <a:pt x="90" y="618"/>
                  </a:lnTo>
                  <a:lnTo>
                    <a:pt x="78" y="624"/>
                  </a:lnTo>
                  <a:lnTo>
                    <a:pt x="72" y="630"/>
                  </a:lnTo>
                  <a:lnTo>
                    <a:pt x="54" y="642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42" y="642"/>
                  </a:lnTo>
                  <a:lnTo>
                    <a:pt x="42" y="636"/>
                  </a:lnTo>
                  <a:lnTo>
                    <a:pt x="36" y="636"/>
                  </a:lnTo>
                  <a:lnTo>
                    <a:pt x="30" y="642"/>
                  </a:lnTo>
                  <a:lnTo>
                    <a:pt x="30" y="636"/>
                  </a:lnTo>
                  <a:lnTo>
                    <a:pt x="30" y="630"/>
                  </a:lnTo>
                  <a:lnTo>
                    <a:pt x="24" y="630"/>
                  </a:lnTo>
                  <a:lnTo>
                    <a:pt x="30" y="624"/>
                  </a:lnTo>
                  <a:lnTo>
                    <a:pt x="30" y="618"/>
                  </a:lnTo>
                  <a:lnTo>
                    <a:pt x="30" y="612"/>
                  </a:lnTo>
                  <a:lnTo>
                    <a:pt x="36" y="612"/>
                  </a:lnTo>
                  <a:lnTo>
                    <a:pt x="36" y="606"/>
                  </a:lnTo>
                  <a:lnTo>
                    <a:pt x="30" y="606"/>
                  </a:lnTo>
                  <a:lnTo>
                    <a:pt x="24" y="612"/>
                  </a:lnTo>
                  <a:lnTo>
                    <a:pt x="18" y="606"/>
                  </a:lnTo>
                  <a:lnTo>
                    <a:pt x="12" y="594"/>
                  </a:lnTo>
                  <a:lnTo>
                    <a:pt x="6" y="582"/>
                  </a:lnTo>
                  <a:lnTo>
                    <a:pt x="6" y="570"/>
                  </a:lnTo>
                  <a:lnTo>
                    <a:pt x="0" y="558"/>
                  </a:lnTo>
                  <a:lnTo>
                    <a:pt x="6" y="552"/>
                  </a:lnTo>
                  <a:lnTo>
                    <a:pt x="6" y="534"/>
                  </a:lnTo>
                  <a:lnTo>
                    <a:pt x="18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12" y="480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54" y="408"/>
                  </a:lnTo>
                  <a:lnTo>
                    <a:pt x="54" y="396"/>
                  </a:lnTo>
                  <a:lnTo>
                    <a:pt x="54" y="384"/>
                  </a:lnTo>
                  <a:lnTo>
                    <a:pt x="60" y="378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66"/>
                  </a:lnTo>
                  <a:lnTo>
                    <a:pt x="60" y="360"/>
                  </a:lnTo>
                  <a:lnTo>
                    <a:pt x="66" y="360"/>
                  </a:lnTo>
                  <a:lnTo>
                    <a:pt x="72" y="354"/>
                  </a:lnTo>
                  <a:lnTo>
                    <a:pt x="78" y="354"/>
                  </a:lnTo>
                  <a:lnTo>
                    <a:pt x="84" y="348"/>
                  </a:lnTo>
                  <a:lnTo>
                    <a:pt x="96" y="348"/>
                  </a:lnTo>
                  <a:lnTo>
                    <a:pt x="96" y="342"/>
                  </a:lnTo>
                  <a:lnTo>
                    <a:pt x="96" y="336"/>
                  </a:lnTo>
                  <a:lnTo>
                    <a:pt x="96" y="330"/>
                  </a:lnTo>
                  <a:lnTo>
                    <a:pt x="96" y="324"/>
                  </a:lnTo>
                  <a:lnTo>
                    <a:pt x="102" y="318"/>
                  </a:lnTo>
                  <a:lnTo>
                    <a:pt x="108" y="312"/>
                  </a:lnTo>
                  <a:lnTo>
                    <a:pt x="96" y="306"/>
                  </a:lnTo>
                  <a:lnTo>
                    <a:pt x="84" y="288"/>
                  </a:lnTo>
                  <a:lnTo>
                    <a:pt x="108" y="258"/>
                  </a:lnTo>
                  <a:lnTo>
                    <a:pt x="102" y="222"/>
                  </a:lnTo>
                  <a:lnTo>
                    <a:pt x="84" y="222"/>
                  </a:lnTo>
                  <a:lnTo>
                    <a:pt x="54" y="216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2"/>
                  </a:lnTo>
                  <a:lnTo>
                    <a:pt x="72" y="192"/>
                  </a:lnTo>
                  <a:lnTo>
                    <a:pt x="84" y="186"/>
                  </a:lnTo>
                  <a:lnTo>
                    <a:pt x="90" y="186"/>
                  </a:lnTo>
                  <a:lnTo>
                    <a:pt x="90" y="174"/>
                  </a:lnTo>
                  <a:lnTo>
                    <a:pt x="84" y="162"/>
                  </a:lnTo>
                  <a:lnTo>
                    <a:pt x="84" y="150"/>
                  </a:lnTo>
                  <a:lnTo>
                    <a:pt x="84" y="126"/>
                  </a:lnTo>
                  <a:lnTo>
                    <a:pt x="84" y="114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8" y="96"/>
                  </a:lnTo>
                  <a:lnTo>
                    <a:pt x="120" y="90"/>
                  </a:lnTo>
                  <a:lnTo>
                    <a:pt x="126" y="78"/>
                  </a:lnTo>
                  <a:lnTo>
                    <a:pt x="138" y="66"/>
                  </a:lnTo>
                  <a:lnTo>
                    <a:pt x="138" y="48"/>
                  </a:lnTo>
                  <a:lnTo>
                    <a:pt x="138" y="42"/>
                  </a:lnTo>
                  <a:lnTo>
                    <a:pt x="126" y="30"/>
                  </a:lnTo>
                  <a:lnTo>
                    <a:pt x="120" y="18"/>
                  </a:lnTo>
                  <a:lnTo>
                    <a:pt x="132" y="12"/>
                  </a:lnTo>
                  <a:lnTo>
                    <a:pt x="144" y="0"/>
                  </a:lnTo>
                  <a:lnTo>
                    <a:pt x="150" y="6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6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74" y="66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68" y="72"/>
                  </a:lnTo>
                  <a:lnTo>
                    <a:pt x="156" y="150"/>
                  </a:lnTo>
                  <a:lnTo>
                    <a:pt x="168" y="144"/>
                  </a:lnTo>
                  <a:lnTo>
                    <a:pt x="180" y="150"/>
                  </a:lnTo>
                  <a:lnTo>
                    <a:pt x="186" y="150"/>
                  </a:lnTo>
                  <a:lnTo>
                    <a:pt x="186" y="144"/>
                  </a:lnTo>
                  <a:lnTo>
                    <a:pt x="192" y="150"/>
                  </a:lnTo>
                  <a:lnTo>
                    <a:pt x="222" y="150"/>
                  </a:lnTo>
                  <a:lnTo>
                    <a:pt x="222" y="168"/>
                  </a:lnTo>
                  <a:lnTo>
                    <a:pt x="222" y="186"/>
                  </a:lnTo>
                  <a:lnTo>
                    <a:pt x="234" y="198"/>
                  </a:lnTo>
                  <a:lnTo>
                    <a:pt x="234" y="234"/>
                  </a:lnTo>
                  <a:lnTo>
                    <a:pt x="228" y="270"/>
                  </a:lnTo>
                  <a:lnTo>
                    <a:pt x="246" y="282"/>
                  </a:lnTo>
                  <a:lnTo>
                    <a:pt x="258" y="294"/>
                  </a:lnTo>
                  <a:lnTo>
                    <a:pt x="270" y="300"/>
                  </a:lnTo>
                  <a:lnTo>
                    <a:pt x="294" y="300"/>
                  </a:lnTo>
                  <a:lnTo>
                    <a:pt x="288" y="306"/>
                  </a:lnTo>
                  <a:lnTo>
                    <a:pt x="300" y="312"/>
                  </a:lnTo>
                  <a:lnTo>
                    <a:pt x="306" y="318"/>
                  </a:lnTo>
                  <a:lnTo>
                    <a:pt x="324" y="324"/>
                  </a:lnTo>
                  <a:lnTo>
                    <a:pt x="354" y="318"/>
                  </a:lnTo>
                  <a:lnTo>
                    <a:pt x="354" y="312"/>
                  </a:lnTo>
                  <a:lnTo>
                    <a:pt x="366" y="312"/>
                  </a:lnTo>
                  <a:lnTo>
                    <a:pt x="384" y="312"/>
                  </a:lnTo>
                  <a:lnTo>
                    <a:pt x="390" y="306"/>
                  </a:lnTo>
                  <a:lnTo>
                    <a:pt x="396" y="306"/>
                  </a:lnTo>
                  <a:lnTo>
                    <a:pt x="408" y="306"/>
                  </a:lnTo>
                  <a:lnTo>
                    <a:pt x="426" y="312"/>
                  </a:lnTo>
                  <a:lnTo>
                    <a:pt x="456" y="324"/>
                  </a:lnTo>
                  <a:lnTo>
                    <a:pt x="504" y="330"/>
                  </a:lnTo>
                  <a:lnTo>
                    <a:pt x="510" y="336"/>
                  </a:lnTo>
                  <a:lnTo>
                    <a:pt x="534" y="336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58" y="330"/>
                  </a:lnTo>
                  <a:lnTo>
                    <a:pt x="564" y="330"/>
                  </a:lnTo>
                  <a:lnTo>
                    <a:pt x="570" y="354"/>
                  </a:lnTo>
                  <a:lnTo>
                    <a:pt x="564" y="378"/>
                  </a:lnTo>
                  <a:lnTo>
                    <a:pt x="558" y="396"/>
                  </a:lnTo>
                  <a:lnTo>
                    <a:pt x="546" y="414"/>
                  </a:lnTo>
                  <a:lnTo>
                    <a:pt x="546" y="438"/>
                  </a:lnTo>
                  <a:lnTo>
                    <a:pt x="540" y="456"/>
                  </a:lnTo>
                  <a:lnTo>
                    <a:pt x="540" y="474"/>
                  </a:lnTo>
                  <a:lnTo>
                    <a:pt x="528" y="480"/>
                  </a:lnTo>
                  <a:lnTo>
                    <a:pt x="522" y="492"/>
                  </a:lnTo>
                  <a:lnTo>
                    <a:pt x="504" y="498"/>
                  </a:lnTo>
                  <a:lnTo>
                    <a:pt x="498" y="498"/>
                  </a:lnTo>
                  <a:lnTo>
                    <a:pt x="492" y="504"/>
                  </a:lnTo>
                  <a:lnTo>
                    <a:pt x="486" y="510"/>
                  </a:lnTo>
                  <a:lnTo>
                    <a:pt x="480" y="510"/>
                  </a:lnTo>
                  <a:lnTo>
                    <a:pt x="480" y="516"/>
                  </a:lnTo>
                  <a:lnTo>
                    <a:pt x="474" y="522"/>
                  </a:lnTo>
                  <a:lnTo>
                    <a:pt x="474" y="528"/>
                  </a:lnTo>
                  <a:lnTo>
                    <a:pt x="474" y="534"/>
                  </a:lnTo>
                  <a:lnTo>
                    <a:pt x="480" y="540"/>
                  </a:lnTo>
                  <a:lnTo>
                    <a:pt x="492" y="540"/>
                  </a:lnTo>
                  <a:lnTo>
                    <a:pt x="498" y="546"/>
                  </a:lnTo>
                  <a:lnTo>
                    <a:pt x="504" y="552"/>
                  </a:lnTo>
                  <a:lnTo>
                    <a:pt x="510" y="552"/>
                  </a:lnTo>
                  <a:lnTo>
                    <a:pt x="516" y="558"/>
                  </a:lnTo>
                  <a:lnTo>
                    <a:pt x="528" y="558"/>
                  </a:lnTo>
                  <a:lnTo>
                    <a:pt x="534" y="552"/>
                  </a:lnTo>
                  <a:lnTo>
                    <a:pt x="540" y="552"/>
                  </a:lnTo>
                  <a:lnTo>
                    <a:pt x="546" y="552"/>
                  </a:lnTo>
                  <a:lnTo>
                    <a:pt x="558" y="546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70" y="546"/>
                  </a:lnTo>
                  <a:lnTo>
                    <a:pt x="570" y="540"/>
                  </a:lnTo>
                  <a:lnTo>
                    <a:pt x="570" y="546"/>
                  </a:lnTo>
                  <a:lnTo>
                    <a:pt x="576" y="546"/>
                  </a:lnTo>
                  <a:lnTo>
                    <a:pt x="582" y="546"/>
                  </a:lnTo>
                  <a:lnTo>
                    <a:pt x="588" y="540"/>
                  </a:lnTo>
                  <a:lnTo>
                    <a:pt x="594" y="546"/>
                  </a:lnTo>
                  <a:lnTo>
                    <a:pt x="606" y="546"/>
                  </a:lnTo>
                  <a:lnTo>
                    <a:pt x="612" y="546"/>
                  </a:lnTo>
                  <a:lnTo>
                    <a:pt x="612" y="552"/>
                  </a:lnTo>
                  <a:lnTo>
                    <a:pt x="618" y="552"/>
                  </a:lnTo>
                  <a:lnTo>
                    <a:pt x="624" y="552"/>
                  </a:lnTo>
                  <a:lnTo>
                    <a:pt x="630" y="552"/>
                  </a:lnTo>
                  <a:lnTo>
                    <a:pt x="648" y="546"/>
                  </a:lnTo>
                  <a:lnTo>
                    <a:pt x="654" y="546"/>
                  </a:lnTo>
                  <a:lnTo>
                    <a:pt x="654" y="552"/>
                  </a:lnTo>
                  <a:lnTo>
                    <a:pt x="660" y="558"/>
                  </a:lnTo>
                  <a:lnTo>
                    <a:pt x="666" y="564"/>
                  </a:lnTo>
                  <a:lnTo>
                    <a:pt x="672" y="564"/>
                  </a:lnTo>
                  <a:lnTo>
                    <a:pt x="678" y="564"/>
                  </a:lnTo>
                  <a:lnTo>
                    <a:pt x="696" y="576"/>
                  </a:lnTo>
                  <a:lnTo>
                    <a:pt x="696" y="582"/>
                  </a:lnTo>
                  <a:lnTo>
                    <a:pt x="708" y="588"/>
                  </a:lnTo>
                  <a:lnTo>
                    <a:pt x="708" y="594"/>
                  </a:lnTo>
                  <a:lnTo>
                    <a:pt x="720" y="606"/>
                  </a:lnTo>
                  <a:lnTo>
                    <a:pt x="720" y="618"/>
                  </a:lnTo>
                  <a:lnTo>
                    <a:pt x="720" y="624"/>
                  </a:lnTo>
                  <a:lnTo>
                    <a:pt x="726" y="630"/>
                  </a:lnTo>
                  <a:lnTo>
                    <a:pt x="732" y="636"/>
                  </a:lnTo>
                  <a:lnTo>
                    <a:pt x="732" y="642"/>
                  </a:lnTo>
                  <a:lnTo>
                    <a:pt x="732" y="648"/>
                  </a:lnTo>
                  <a:lnTo>
                    <a:pt x="726" y="654"/>
                  </a:lnTo>
                  <a:lnTo>
                    <a:pt x="720" y="660"/>
                  </a:lnTo>
                  <a:lnTo>
                    <a:pt x="714" y="666"/>
                  </a:lnTo>
                  <a:lnTo>
                    <a:pt x="714" y="672"/>
                  </a:lnTo>
                  <a:lnTo>
                    <a:pt x="714" y="678"/>
                  </a:lnTo>
                  <a:lnTo>
                    <a:pt x="720" y="678"/>
                  </a:lnTo>
                  <a:lnTo>
                    <a:pt x="720" y="684"/>
                  </a:lnTo>
                  <a:lnTo>
                    <a:pt x="714" y="690"/>
                  </a:lnTo>
                  <a:lnTo>
                    <a:pt x="714" y="696"/>
                  </a:lnTo>
                  <a:lnTo>
                    <a:pt x="714" y="702"/>
                  </a:lnTo>
                  <a:lnTo>
                    <a:pt x="714" y="708"/>
                  </a:lnTo>
                  <a:lnTo>
                    <a:pt x="720" y="708"/>
                  </a:lnTo>
                  <a:lnTo>
                    <a:pt x="720" y="720"/>
                  </a:lnTo>
                  <a:lnTo>
                    <a:pt x="720" y="726"/>
                  </a:lnTo>
                  <a:lnTo>
                    <a:pt x="726" y="726"/>
                  </a:lnTo>
                  <a:lnTo>
                    <a:pt x="726" y="732"/>
                  </a:lnTo>
                  <a:lnTo>
                    <a:pt x="732" y="732"/>
                  </a:lnTo>
                  <a:lnTo>
                    <a:pt x="732" y="738"/>
                  </a:lnTo>
                  <a:lnTo>
                    <a:pt x="726" y="738"/>
                  </a:lnTo>
                  <a:lnTo>
                    <a:pt x="720" y="738"/>
                  </a:lnTo>
                  <a:lnTo>
                    <a:pt x="720" y="744"/>
                  </a:lnTo>
                  <a:lnTo>
                    <a:pt x="720" y="750"/>
                  </a:lnTo>
                  <a:lnTo>
                    <a:pt x="714" y="750"/>
                  </a:lnTo>
                  <a:lnTo>
                    <a:pt x="714" y="756"/>
                  </a:lnTo>
                  <a:lnTo>
                    <a:pt x="720" y="756"/>
                  </a:lnTo>
                  <a:lnTo>
                    <a:pt x="714" y="762"/>
                  </a:lnTo>
                  <a:lnTo>
                    <a:pt x="720" y="762"/>
                  </a:lnTo>
                  <a:lnTo>
                    <a:pt x="726" y="768"/>
                  </a:lnTo>
                  <a:lnTo>
                    <a:pt x="726" y="774"/>
                  </a:lnTo>
                  <a:lnTo>
                    <a:pt x="732" y="774"/>
                  </a:lnTo>
                  <a:lnTo>
                    <a:pt x="732" y="780"/>
                  </a:lnTo>
                  <a:lnTo>
                    <a:pt x="726" y="780"/>
                  </a:lnTo>
                  <a:lnTo>
                    <a:pt x="726" y="786"/>
                  </a:lnTo>
                  <a:lnTo>
                    <a:pt x="720" y="786"/>
                  </a:lnTo>
                  <a:lnTo>
                    <a:pt x="726" y="786"/>
                  </a:lnTo>
                  <a:lnTo>
                    <a:pt x="732" y="780"/>
                  </a:lnTo>
                  <a:lnTo>
                    <a:pt x="738" y="780"/>
                  </a:lnTo>
                  <a:lnTo>
                    <a:pt x="744" y="780"/>
                  </a:lnTo>
                  <a:lnTo>
                    <a:pt x="744" y="786"/>
                  </a:lnTo>
                  <a:lnTo>
                    <a:pt x="750" y="786"/>
                  </a:lnTo>
                  <a:lnTo>
                    <a:pt x="744" y="786"/>
                  </a:lnTo>
                  <a:lnTo>
                    <a:pt x="744" y="792"/>
                  </a:lnTo>
                  <a:lnTo>
                    <a:pt x="744" y="786"/>
                  </a:lnTo>
                  <a:lnTo>
                    <a:pt x="738" y="792"/>
                  </a:lnTo>
                  <a:lnTo>
                    <a:pt x="744" y="792"/>
                  </a:lnTo>
                  <a:lnTo>
                    <a:pt x="750" y="792"/>
                  </a:lnTo>
                  <a:lnTo>
                    <a:pt x="750" y="786"/>
                  </a:lnTo>
                  <a:lnTo>
                    <a:pt x="756" y="786"/>
                  </a:lnTo>
                  <a:lnTo>
                    <a:pt x="756" y="792"/>
                  </a:lnTo>
                  <a:lnTo>
                    <a:pt x="762" y="792"/>
                  </a:lnTo>
                  <a:lnTo>
                    <a:pt x="756" y="798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0" y="810"/>
                  </a:lnTo>
                  <a:lnTo>
                    <a:pt x="756" y="810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6" y="816"/>
                  </a:lnTo>
                  <a:lnTo>
                    <a:pt x="750" y="816"/>
                  </a:lnTo>
                  <a:lnTo>
                    <a:pt x="738" y="810"/>
                  </a:lnTo>
                  <a:lnTo>
                    <a:pt x="732" y="810"/>
                  </a:lnTo>
                  <a:lnTo>
                    <a:pt x="732" y="816"/>
                  </a:lnTo>
                  <a:lnTo>
                    <a:pt x="726" y="810"/>
                  </a:lnTo>
                  <a:lnTo>
                    <a:pt x="714" y="816"/>
                  </a:lnTo>
                  <a:lnTo>
                    <a:pt x="708" y="816"/>
                  </a:lnTo>
                  <a:lnTo>
                    <a:pt x="702" y="816"/>
                  </a:lnTo>
                  <a:lnTo>
                    <a:pt x="696" y="816"/>
                  </a:lnTo>
                  <a:lnTo>
                    <a:pt x="690" y="822"/>
                  </a:lnTo>
                  <a:lnTo>
                    <a:pt x="684" y="822"/>
                  </a:lnTo>
                  <a:lnTo>
                    <a:pt x="678" y="822"/>
                  </a:lnTo>
                  <a:lnTo>
                    <a:pt x="672" y="822"/>
                  </a:lnTo>
                  <a:lnTo>
                    <a:pt x="666" y="822"/>
                  </a:lnTo>
                  <a:lnTo>
                    <a:pt x="666" y="828"/>
                  </a:lnTo>
                  <a:lnTo>
                    <a:pt x="654" y="828"/>
                  </a:lnTo>
                  <a:lnTo>
                    <a:pt x="648" y="828"/>
                  </a:lnTo>
                  <a:lnTo>
                    <a:pt x="642" y="828"/>
                  </a:lnTo>
                  <a:lnTo>
                    <a:pt x="630" y="828"/>
                  </a:lnTo>
                  <a:lnTo>
                    <a:pt x="624" y="822"/>
                  </a:lnTo>
                  <a:lnTo>
                    <a:pt x="618" y="822"/>
                  </a:lnTo>
                  <a:lnTo>
                    <a:pt x="612" y="822"/>
                  </a:lnTo>
                  <a:lnTo>
                    <a:pt x="606" y="822"/>
                  </a:lnTo>
                  <a:lnTo>
                    <a:pt x="600" y="822"/>
                  </a:lnTo>
                  <a:lnTo>
                    <a:pt x="594" y="822"/>
                  </a:lnTo>
                  <a:lnTo>
                    <a:pt x="594" y="816"/>
                  </a:lnTo>
                  <a:lnTo>
                    <a:pt x="594" y="810"/>
                  </a:lnTo>
                  <a:lnTo>
                    <a:pt x="600" y="804"/>
                  </a:lnTo>
                  <a:lnTo>
                    <a:pt x="600" y="798"/>
                  </a:lnTo>
                  <a:lnTo>
                    <a:pt x="600" y="792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2" y="786"/>
                  </a:lnTo>
                  <a:lnTo>
                    <a:pt x="618" y="786"/>
                  </a:lnTo>
                  <a:lnTo>
                    <a:pt x="624" y="786"/>
                  </a:lnTo>
                  <a:lnTo>
                    <a:pt x="624" y="780"/>
                  </a:lnTo>
                  <a:lnTo>
                    <a:pt x="630" y="780"/>
                  </a:lnTo>
                  <a:lnTo>
                    <a:pt x="630" y="774"/>
                  </a:lnTo>
                  <a:lnTo>
                    <a:pt x="636" y="774"/>
                  </a:lnTo>
                  <a:lnTo>
                    <a:pt x="642" y="780"/>
                  </a:lnTo>
                  <a:lnTo>
                    <a:pt x="642" y="786"/>
                  </a:lnTo>
                  <a:lnTo>
                    <a:pt x="642" y="792"/>
                  </a:lnTo>
                  <a:lnTo>
                    <a:pt x="648" y="792"/>
                  </a:lnTo>
                  <a:lnTo>
                    <a:pt x="648" y="786"/>
                  </a:lnTo>
                  <a:lnTo>
                    <a:pt x="642" y="786"/>
                  </a:lnTo>
                  <a:lnTo>
                    <a:pt x="642" y="780"/>
                  </a:lnTo>
                  <a:lnTo>
                    <a:pt x="642" y="774"/>
                  </a:lnTo>
                  <a:lnTo>
                    <a:pt x="648" y="768"/>
                  </a:lnTo>
                  <a:lnTo>
                    <a:pt x="642" y="768"/>
                  </a:lnTo>
                  <a:lnTo>
                    <a:pt x="648" y="768"/>
                  </a:lnTo>
                  <a:lnTo>
                    <a:pt x="648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66" y="762"/>
                  </a:lnTo>
                  <a:lnTo>
                    <a:pt x="672" y="756"/>
                  </a:lnTo>
                  <a:lnTo>
                    <a:pt x="666" y="756"/>
                  </a:lnTo>
                  <a:lnTo>
                    <a:pt x="660" y="756"/>
                  </a:lnTo>
                  <a:lnTo>
                    <a:pt x="660" y="750"/>
                  </a:lnTo>
                  <a:lnTo>
                    <a:pt x="654" y="750"/>
                  </a:lnTo>
                  <a:lnTo>
                    <a:pt x="648" y="750"/>
                  </a:lnTo>
                  <a:lnTo>
                    <a:pt x="648" y="756"/>
                  </a:lnTo>
                  <a:lnTo>
                    <a:pt x="642" y="756"/>
                  </a:lnTo>
                  <a:lnTo>
                    <a:pt x="642" y="750"/>
                  </a:lnTo>
                  <a:lnTo>
                    <a:pt x="642" y="744"/>
                  </a:lnTo>
                  <a:lnTo>
                    <a:pt x="642" y="750"/>
                  </a:lnTo>
                  <a:lnTo>
                    <a:pt x="636" y="750"/>
                  </a:lnTo>
                  <a:lnTo>
                    <a:pt x="636" y="744"/>
                  </a:lnTo>
                  <a:lnTo>
                    <a:pt x="630" y="744"/>
                  </a:lnTo>
                  <a:lnTo>
                    <a:pt x="630" y="738"/>
                  </a:lnTo>
                  <a:lnTo>
                    <a:pt x="630" y="744"/>
                  </a:lnTo>
                  <a:lnTo>
                    <a:pt x="630" y="750"/>
                  </a:lnTo>
                  <a:lnTo>
                    <a:pt x="636" y="750"/>
                  </a:lnTo>
                  <a:lnTo>
                    <a:pt x="636" y="756"/>
                  </a:lnTo>
                  <a:lnTo>
                    <a:pt x="630" y="756"/>
                  </a:lnTo>
                  <a:lnTo>
                    <a:pt x="636" y="762"/>
                  </a:lnTo>
                  <a:lnTo>
                    <a:pt x="630" y="762"/>
                  </a:lnTo>
                  <a:lnTo>
                    <a:pt x="624" y="762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24" y="786"/>
                  </a:lnTo>
                  <a:lnTo>
                    <a:pt x="618" y="786"/>
                  </a:lnTo>
                  <a:lnTo>
                    <a:pt x="618" y="78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12" y="774"/>
                  </a:lnTo>
                  <a:lnTo>
                    <a:pt x="612" y="780"/>
                  </a:lnTo>
                  <a:lnTo>
                    <a:pt x="606" y="780"/>
                  </a:lnTo>
                  <a:lnTo>
                    <a:pt x="600" y="780"/>
                  </a:lnTo>
                  <a:lnTo>
                    <a:pt x="600" y="774"/>
                  </a:lnTo>
                  <a:lnTo>
                    <a:pt x="594" y="768"/>
                  </a:lnTo>
                  <a:lnTo>
                    <a:pt x="594" y="762"/>
                  </a:lnTo>
                  <a:lnTo>
                    <a:pt x="594" y="756"/>
                  </a:lnTo>
                  <a:lnTo>
                    <a:pt x="594" y="762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594" y="780"/>
                  </a:lnTo>
                  <a:lnTo>
                    <a:pt x="588" y="780"/>
                  </a:lnTo>
                  <a:lnTo>
                    <a:pt x="582" y="780"/>
                  </a:lnTo>
                  <a:lnTo>
                    <a:pt x="576" y="780"/>
                  </a:lnTo>
                  <a:lnTo>
                    <a:pt x="570" y="780"/>
                  </a:lnTo>
                  <a:lnTo>
                    <a:pt x="564" y="780"/>
                  </a:lnTo>
                  <a:lnTo>
                    <a:pt x="564" y="786"/>
                  </a:lnTo>
                  <a:lnTo>
                    <a:pt x="558" y="786"/>
                  </a:lnTo>
                  <a:lnTo>
                    <a:pt x="552" y="786"/>
                  </a:lnTo>
                  <a:lnTo>
                    <a:pt x="552" y="780"/>
                  </a:lnTo>
                  <a:lnTo>
                    <a:pt x="552" y="774"/>
                  </a:lnTo>
                  <a:lnTo>
                    <a:pt x="552" y="768"/>
                  </a:lnTo>
                  <a:lnTo>
                    <a:pt x="546" y="768"/>
                  </a:lnTo>
                  <a:lnTo>
                    <a:pt x="540" y="762"/>
                  </a:lnTo>
                  <a:lnTo>
                    <a:pt x="540" y="756"/>
                  </a:lnTo>
                  <a:lnTo>
                    <a:pt x="534" y="756"/>
                  </a:lnTo>
                  <a:lnTo>
                    <a:pt x="534" y="750"/>
                  </a:lnTo>
                  <a:lnTo>
                    <a:pt x="534" y="744"/>
                  </a:lnTo>
                  <a:lnTo>
                    <a:pt x="528" y="738"/>
                  </a:lnTo>
                  <a:lnTo>
                    <a:pt x="522" y="738"/>
                  </a:lnTo>
                  <a:lnTo>
                    <a:pt x="522" y="732"/>
                  </a:lnTo>
                  <a:lnTo>
                    <a:pt x="510" y="726"/>
                  </a:lnTo>
                  <a:lnTo>
                    <a:pt x="510" y="720"/>
                  </a:lnTo>
                  <a:lnTo>
                    <a:pt x="504" y="720"/>
                  </a:lnTo>
                  <a:lnTo>
                    <a:pt x="504" y="714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8" y="702"/>
                  </a:lnTo>
                  <a:lnTo>
                    <a:pt x="498" y="696"/>
                  </a:lnTo>
                  <a:lnTo>
                    <a:pt x="492" y="690"/>
                  </a:lnTo>
                  <a:lnTo>
                    <a:pt x="492" y="684"/>
                  </a:lnTo>
                  <a:lnTo>
                    <a:pt x="486" y="684"/>
                  </a:lnTo>
                  <a:lnTo>
                    <a:pt x="486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74" y="678"/>
                  </a:lnTo>
                  <a:lnTo>
                    <a:pt x="468" y="678"/>
                  </a:lnTo>
                  <a:lnTo>
                    <a:pt x="462" y="678"/>
                  </a:lnTo>
                  <a:lnTo>
                    <a:pt x="462" y="672"/>
                  </a:lnTo>
                  <a:lnTo>
                    <a:pt x="456" y="672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44" y="666"/>
                  </a:lnTo>
                  <a:lnTo>
                    <a:pt x="438" y="660"/>
                  </a:lnTo>
                  <a:lnTo>
                    <a:pt x="438" y="648"/>
                  </a:lnTo>
                  <a:lnTo>
                    <a:pt x="438" y="642"/>
                  </a:lnTo>
                  <a:lnTo>
                    <a:pt x="438" y="636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36"/>
                  </a:lnTo>
                  <a:lnTo>
                    <a:pt x="420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60"/>
                  </a:lnTo>
                  <a:lnTo>
                    <a:pt x="432" y="666"/>
                  </a:lnTo>
                  <a:lnTo>
                    <a:pt x="438" y="666"/>
                  </a:lnTo>
                  <a:lnTo>
                    <a:pt x="438" y="672"/>
                  </a:lnTo>
                  <a:lnTo>
                    <a:pt x="444" y="672"/>
                  </a:lnTo>
                  <a:lnTo>
                    <a:pt x="444" y="678"/>
                  </a:lnTo>
                  <a:lnTo>
                    <a:pt x="450" y="678"/>
                  </a:lnTo>
                  <a:lnTo>
                    <a:pt x="456" y="678"/>
                  </a:lnTo>
                  <a:lnTo>
                    <a:pt x="456" y="684"/>
                  </a:lnTo>
                  <a:lnTo>
                    <a:pt x="462" y="684"/>
                  </a:lnTo>
                  <a:lnTo>
                    <a:pt x="468" y="684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80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86" y="708"/>
                  </a:lnTo>
                  <a:lnTo>
                    <a:pt x="492" y="714"/>
                  </a:lnTo>
                  <a:lnTo>
                    <a:pt x="492" y="720"/>
                  </a:lnTo>
                  <a:lnTo>
                    <a:pt x="492" y="726"/>
                  </a:lnTo>
                  <a:lnTo>
                    <a:pt x="498" y="732"/>
                  </a:lnTo>
                  <a:lnTo>
                    <a:pt x="492" y="738"/>
                  </a:lnTo>
                  <a:lnTo>
                    <a:pt x="492" y="744"/>
                  </a:lnTo>
                  <a:lnTo>
                    <a:pt x="492" y="750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68" y="738"/>
                  </a:lnTo>
                  <a:lnTo>
                    <a:pt x="468" y="744"/>
                  </a:lnTo>
                  <a:lnTo>
                    <a:pt x="474" y="750"/>
                  </a:lnTo>
                  <a:lnTo>
                    <a:pt x="480" y="756"/>
                  </a:lnTo>
                  <a:lnTo>
                    <a:pt x="486" y="756"/>
                  </a:lnTo>
                  <a:lnTo>
                    <a:pt x="492" y="762"/>
                  </a:lnTo>
                  <a:lnTo>
                    <a:pt x="498" y="768"/>
                  </a:lnTo>
                  <a:lnTo>
                    <a:pt x="492" y="774"/>
                  </a:lnTo>
                  <a:lnTo>
                    <a:pt x="492" y="780"/>
                  </a:lnTo>
                  <a:lnTo>
                    <a:pt x="498" y="780"/>
                  </a:lnTo>
                  <a:lnTo>
                    <a:pt x="492" y="786"/>
                  </a:lnTo>
                  <a:lnTo>
                    <a:pt x="492" y="792"/>
                  </a:lnTo>
                  <a:lnTo>
                    <a:pt x="492" y="79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0" y="810"/>
                  </a:lnTo>
                  <a:lnTo>
                    <a:pt x="480" y="804"/>
                  </a:lnTo>
                  <a:lnTo>
                    <a:pt x="474" y="804"/>
                  </a:lnTo>
                  <a:lnTo>
                    <a:pt x="474" y="798"/>
                  </a:lnTo>
                  <a:lnTo>
                    <a:pt x="474" y="804"/>
                  </a:lnTo>
                  <a:lnTo>
                    <a:pt x="468" y="804"/>
                  </a:lnTo>
                  <a:lnTo>
                    <a:pt x="468" y="810"/>
                  </a:lnTo>
                  <a:lnTo>
                    <a:pt x="462" y="810"/>
                  </a:lnTo>
                  <a:lnTo>
                    <a:pt x="456" y="810"/>
                  </a:lnTo>
                  <a:lnTo>
                    <a:pt x="450" y="810"/>
                  </a:lnTo>
                  <a:lnTo>
                    <a:pt x="450" y="816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50" y="822"/>
                  </a:lnTo>
                  <a:lnTo>
                    <a:pt x="450" y="816"/>
                  </a:lnTo>
                  <a:lnTo>
                    <a:pt x="444" y="816"/>
                  </a:lnTo>
                  <a:lnTo>
                    <a:pt x="438" y="810"/>
                  </a:lnTo>
                  <a:lnTo>
                    <a:pt x="432" y="810"/>
                  </a:lnTo>
                  <a:lnTo>
                    <a:pt x="426" y="804"/>
                  </a:lnTo>
                  <a:lnTo>
                    <a:pt x="426" y="798"/>
                  </a:lnTo>
                  <a:lnTo>
                    <a:pt x="420" y="798"/>
                  </a:lnTo>
                  <a:lnTo>
                    <a:pt x="426" y="798"/>
                  </a:lnTo>
                  <a:lnTo>
                    <a:pt x="426" y="792"/>
                  </a:lnTo>
                  <a:lnTo>
                    <a:pt x="426" y="786"/>
                  </a:lnTo>
                  <a:lnTo>
                    <a:pt x="432" y="786"/>
                  </a:lnTo>
                  <a:lnTo>
                    <a:pt x="432" y="780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0" y="756"/>
                  </a:lnTo>
                  <a:lnTo>
                    <a:pt x="420" y="750"/>
                  </a:lnTo>
                  <a:lnTo>
                    <a:pt x="414" y="750"/>
                  </a:lnTo>
                  <a:lnTo>
                    <a:pt x="420" y="750"/>
                  </a:lnTo>
                  <a:lnTo>
                    <a:pt x="420" y="744"/>
                  </a:lnTo>
                  <a:lnTo>
                    <a:pt x="414" y="744"/>
                  </a:lnTo>
                  <a:lnTo>
                    <a:pt x="414" y="738"/>
                  </a:lnTo>
                  <a:lnTo>
                    <a:pt x="414" y="732"/>
                  </a:lnTo>
                  <a:lnTo>
                    <a:pt x="408" y="732"/>
                  </a:lnTo>
                  <a:lnTo>
                    <a:pt x="408" y="726"/>
                  </a:lnTo>
                  <a:lnTo>
                    <a:pt x="402" y="726"/>
                  </a:lnTo>
                  <a:lnTo>
                    <a:pt x="396" y="726"/>
                  </a:lnTo>
                  <a:lnTo>
                    <a:pt x="390" y="726"/>
                  </a:lnTo>
                  <a:lnTo>
                    <a:pt x="390" y="720"/>
                  </a:lnTo>
                  <a:lnTo>
                    <a:pt x="390" y="714"/>
                  </a:lnTo>
                  <a:lnTo>
                    <a:pt x="384" y="708"/>
                  </a:lnTo>
                  <a:lnTo>
                    <a:pt x="384" y="702"/>
                  </a:lnTo>
                  <a:lnTo>
                    <a:pt x="378" y="702"/>
                  </a:lnTo>
                  <a:lnTo>
                    <a:pt x="378" y="696"/>
                  </a:lnTo>
                  <a:lnTo>
                    <a:pt x="378" y="690"/>
                  </a:lnTo>
                  <a:lnTo>
                    <a:pt x="372" y="684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66" y="666"/>
                  </a:lnTo>
                  <a:lnTo>
                    <a:pt x="366" y="660"/>
                  </a:lnTo>
                  <a:lnTo>
                    <a:pt x="366" y="654"/>
                  </a:lnTo>
                  <a:lnTo>
                    <a:pt x="360" y="648"/>
                  </a:lnTo>
                  <a:lnTo>
                    <a:pt x="360" y="654"/>
                  </a:lnTo>
                  <a:lnTo>
                    <a:pt x="360" y="660"/>
                  </a:lnTo>
                  <a:lnTo>
                    <a:pt x="360" y="666"/>
                  </a:lnTo>
                  <a:lnTo>
                    <a:pt x="360" y="672"/>
                  </a:lnTo>
                  <a:lnTo>
                    <a:pt x="360" y="678"/>
                  </a:lnTo>
                  <a:lnTo>
                    <a:pt x="366" y="678"/>
                  </a:lnTo>
                  <a:lnTo>
                    <a:pt x="366" y="684"/>
                  </a:lnTo>
                  <a:lnTo>
                    <a:pt x="366" y="690"/>
                  </a:lnTo>
                  <a:lnTo>
                    <a:pt x="372" y="696"/>
                  </a:lnTo>
                  <a:lnTo>
                    <a:pt x="372" y="702"/>
                  </a:lnTo>
                  <a:lnTo>
                    <a:pt x="372" y="708"/>
                  </a:lnTo>
                  <a:lnTo>
                    <a:pt x="372" y="714"/>
                  </a:lnTo>
                  <a:lnTo>
                    <a:pt x="366" y="714"/>
                  </a:lnTo>
                  <a:lnTo>
                    <a:pt x="360" y="714"/>
                  </a:lnTo>
                  <a:lnTo>
                    <a:pt x="354" y="714"/>
                  </a:lnTo>
                  <a:lnTo>
                    <a:pt x="348" y="714"/>
                  </a:lnTo>
                  <a:lnTo>
                    <a:pt x="348" y="708"/>
                  </a:lnTo>
                  <a:lnTo>
                    <a:pt x="342" y="708"/>
                  </a:lnTo>
                  <a:lnTo>
                    <a:pt x="342" y="702"/>
                  </a:lnTo>
                  <a:lnTo>
                    <a:pt x="342" y="696"/>
                  </a:lnTo>
                  <a:lnTo>
                    <a:pt x="336" y="696"/>
                  </a:lnTo>
                  <a:lnTo>
                    <a:pt x="336" y="690"/>
                  </a:lnTo>
                  <a:lnTo>
                    <a:pt x="336" y="684"/>
                  </a:lnTo>
                  <a:lnTo>
                    <a:pt x="330" y="684"/>
                  </a:lnTo>
                  <a:lnTo>
                    <a:pt x="330" y="678"/>
                  </a:lnTo>
                  <a:lnTo>
                    <a:pt x="324" y="672"/>
                  </a:lnTo>
                  <a:lnTo>
                    <a:pt x="324" y="666"/>
                  </a:lnTo>
                  <a:lnTo>
                    <a:pt x="318" y="666"/>
                  </a:lnTo>
                  <a:lnTo>
                    <a:pt x="318" y="672"/>
                  </a:lnTo>
                  <a:lnTo>
                    <a:pt x="324" y="672"/>
                  </a:lnTo>
                  <a:lnTo>
                    <a:pt x="324" y="678"/>
                  </a:lnTo>
                  <a:lnTo>
                    <a:pt x="324" y="684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30" y="696"/>
                  </a:lnTo>
                  <a:lnTo>
                    <a:pt x="336" y="702"/>
                  </a:lnTo>
                  <a:lnTo>
                    <a:pt x="342" y="708"/>
                  </a:lnTo>
                  <a:lnTo>
                    <a:pt x="342" y="714"/>
                  </a:lnTo>
                  <a:lnTo>
                    <a:pt x="348" y="720"/>
                  </a:lnTo>
                  <a:lnTo>
                    <a:pt x="342" y="720"/>
                  </a:lnTo>
                  <a:lnTo>
                    <a:pt x="336" y="720"/>
                  </a:lnTo>
                  <a:lnTo>
                    <a:pt x="330" y="720"/>
                  </a:lnTo>
                  <a:lnTo>
                    <a:pt x="330" y="726"/>
                  </a:lnTo>
                  <a:lnTo>
                    <a:pt x="336" y="726"/>
                  </a:lnTo>
                  <a:lnTo>
                    <a:pt x="330" y="732"/>
                  </a:lnTo>
                  <a:lnTo>
                    <a:pt x="330" y="738"/>
                  </a:lnTo>
                  <a:lnTo>
                    <a:pt x="330" y="744"/>
                  </a:lnTo>
                  <a:lnTo>
                    <a:pt x="336" y="744"/>
                  </a:lnTo>
                  <a:lnTo>
                    <a:pt x="342" y="744"/>
                  </a:lnTo>
                  <a:lnTo>
                    <a:pt x="348" y="744"/>
                  </a:lnTo>
                  <a:lnTo>
                    <a:pt x="348" y="750"/>
                  </a:lnTo>
                  <a:lnTo>
                    <a:pt x="354" y="750"/>
                  </a:lnTo>
                  <a:lnTo>
                    <a:pt x="360" y="756"/>
                  </a:lnTo>
                  <a:lnTo>
                    <a:pt x="360" y="762"/>
                  </a:lnTo>
                  <a:lnTo>
                    <a:pt x="366" y="762"/>
                  </a:lnTo>
                  <a:lnTo>
                    <a:pt x="366" y="768"/>
                  </a:lnTo>
                  <a:lnTo>
                    <a:pt x="366" y="774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72" y="792"/>
                  </a:lnTo>
                  <a:lnTo>
                    <a:pt x="372" y="798"/>
                  </a:lnTo>
                  <a:lnTo>
                    <a:pt x="372" y="804"/>
                  </a:lnTo>
                  <a:lnTo>
                    <a:pt x="378" y="804"/>
                  </a:lnTo>
                  <a:lnTo>
                    <a:pt x="378" y="810"/>
                  </a:lnTo>
                  <a:lnTo>
                    <a:pt x="378" y="816"/>
                  </a:lnTo>
                  <a:lnTo>
                    <a:pt x="372" y="816"/>
                  </a:lnTo>
                  <a:lnTo>
                    <a:pt x="378" y="816"/>
                  </a:lnTo>
                  <a:lnTo>
                    <a:pt x="378" y="822"/>
                  </a:lnTo>
                  <a:lnTo>
                    <a:pt x="378" y="828"/>
                  </a:lnTo>
                  <a:lnTo>
                    <a:pt x="378" y="834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0" y="864"/>
                  </a:lnTo>
                  <a:lnTo>
                    <a:pt x="384" y="864"/>
                  </a:lnTo>
                  <a:lnTo>
                    <a:pt x="384" y="870"/>
                  </a:lnTo>
                  <a:lnTo>
                    <a:pt x="378" y="864"/>
                  </a:lnTo>
                  <a:lnTo>
                    <a:pt x="372" y="864"/>
                  </a:lnTo>
                  <a:lnTo>
                    <a:pt x="366" y="858"/>
                  </a:lnTo>
                  <a:lnTo>
                    <a:pt x="366" y="852"/>
                  </a:lnTo>
                  <a:lnTo>
                    <a:pt x="360" y="852"/>
                  </a:lnTo>
                  <a:lnTo>
                    <a:pt x="360" y="858"/>
                  </a:lnTo>
                  <a:lnTo>
                    <a:pt x="366" y="858"/>
                  </a:lnTo>
                  <a:lnTo>
                    <a:pt x="366" y="864"/>
                  </a:lnTo>
                  <a:lnTo>
                    <a:pt x="360" y="864"/>
                  </a:lnTo>
                  <a:lnTo>
                    <a:pt x="354" y="864"/>
                  </a:lnTo>
                  <a:lnTo>
                    <a:pt x="354" y="870"/>
                  </a:lnTo>
                  <a:lnTo>
                    <a:pt x="354" y="864"/>
                  </a:lnTo>
                  <a:lnTo>
                    <a:pt x="348" y="864"/>
                  </a:lnTo>
                  <a:lnTo>
                    <a:pt x="342" y="864"/>
                  </a:lnTo>
                  <a:lnTo>
                    <a:pt x="342" y="858"/>
                  </a:lnTo>
                  <a:lnTo>
                    <a:pt x="336" y="858"/>
                  </a:lnTo>
                  <a:lnTo>
                    <a:pt x="330" y="858"/>
                  </a:lnTo>
                  <a:lnTo>
                    <a:pt x="324" y="858"/>
                  </a:lnTo>
                  <a:lnTo>
                    <a:pt x="318" y="858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0" y="852"/>
                  </a:lnTo>
                  <a:lnTo>
                    <a:pt x="294" y="852"/>
                  </a:lnTo>
                  <a:lnTo>
                    <a:pt x="294" y="846"/>
                  </a:lnTo>
                  <a:lnTo>
                    <a:pt x="288" y="840"/>
                  </a:lnTo>
                  <a:lnTo>
                    <a:pt x="288" y="828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2" y="816"/>
                  </a:lnTo>
                  <a:lnTo>
                    <a:pt x="282" y="810"/>
                  </a:lnTo>
                  <a:lnTo>
                    <a:pt x="276" y="810"/>
                  </a:lnTo>
                  <a:lnTo>
                    <a:pt x="276" y="804"/>
                  </a:lnTo>
                  <a:lnTo>
                    <a:pt x="276" y="798"/>
                  </a:lnTo>
                  <a:lnTo>
                    <a:pt x="276" y="792"/>
                  </a:lnTo>
                  <a:lnTo>
                    <a:pt x="270" y="786"/>
                  </a:lnTo>
                  <a:lnTo>
                    <a:pt x="270" y="780"/>
                  </a:lnTo>
                  <a:lnTo>
                    <a:pt x="270" y="774"/>
                  </a:lnTo>
                  <a:lnTo>
                    <a:pt x="264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64" y="750"/>
                  </a:lnTo>
                  <a:lnTo>
                    <a:pt x="264" y="744"/>
                  </a:lnTo>
                  <a:lnTo>
                    <a:pt x="264" y="738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26"/>
                  </a:lnTo>
                  <a:lnTo>
                    <a:pt x="276" y="720"/>
                  </a:lnTo>
                  <a:lnTo>
                    <a:pt x="282" y="720"/>
                  </a:lnTo>
                  <a:lnTo>
                    <a:pt x="282" y="714"/>
                  </a:lnTo>
                  <a:lnTo>
                    <a:pt x="282" y="708"/>
                  </a:lnTo>
                  <a:lnTo>
                    <a:pt x="276" y="708"/>
                  </a:lnTo>
                  <a:lnTo>
                    <a:pt x="276" y="702"/>
                  </a:lnTo>
                  <a:lnTo>
                    <a:pt x="270" y="702"/>
                  </a:lnTo>
                  <a:lnTo>
                    <a:pt x="270" y="696"/>
                  </a:lnTo>
                  <a:lnTo>
                    <a:pt x="264" y="690"/>
                  </a:lnTo>
                  <a:lnTo>
                    <a:pt x="258" y="690"/>
                  </a:lnTo>
                  <a:lnTo>
                    <a:pt x="258" y="684"/>
                  </a:lnTo>
                  <a:lnTo>
                    <a:pt x="252" y="684"/>
                  </a:lnTo>
                  <a:lnTo>
                    <a:pt x="252" y="678"/>
                  </a:lnTo>
                  <a:lnTo>
                    <a:pt x="246" y="678"/>
                  </a:lnTo>
                  <a:lnTo>
                    <a:pt x="240" y="678"/>
                  </a:lnTo>
                  <a:lnTo>
                    <a:pt x="240" y="684"/>
                  </a:lnTo>
                  <a:lnTo>
                    <a:pt x="246" y="684"/>
                  </a:lnTo>
                  <a:lnTo>
                    <a:pt x="252" y="690"/>
                  </a:lnTo>
                  <a:lnTo>
                    <a:pt x="258" y="690"/>
                  </a:lnTo>
                  <a:lnTo>
                    <a:pt x="258" y="696"/>
                  </a:lnTo>
                  <a:lnTo>
                    <a:pt x="258" y="702"/>
                  </a:lnTo>
                  <a:lnTo>
                    <a:pt x="264" y="702"/>
                  </a:lnTo>
                  <a:lnTo>
                    <a:pt x="270" y="708"/>
                  </a:lnTo>
                  <a:lnTo>
                    <a:pt x="270" y="714"/>
                  </a:lnTo>
                  <a:lnTo>
                    <a:pt x="270" y="720"/>
                  </a:lnTo>
                  <a:lnTo>
                    <a:pt x="276" y="720"/>
                  </a:lnTo>
                  <a:lnTo>
                    <a:pt x="270" y="720"/>
                  </a:lnTo>
                  <a:lnTo>
                    <a:pt x="270" y="726"/>
                  </a:lnTo>
                  <a:lnTo>
                    <a:pt x="264" y="726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52" y="738"/>
                  </a:lnTo>
                  <a:lnTo>
                    <a:pt x="252" y="744"/>
                  </a:lnTo>
                  <a:lnTo>
                    <a:pt x="252" y="750"/>
                  </a:lnTo>
                  <a:lnTo>
                    <a:pt x="252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58" y="774"/>
                  </a:lnTo>
                  <a:lnTo>
                    <a:pt x="258" y="780"/>
                  </a:lnTo>
                  <a:lnTo>
                    <a:pt x="264" y="786"/>
                  </a:lnTo>
                  <a:lnTo>
                    <a:pt x="264" y="792"/>
                  </a:lnTo>
                  <a:lnTo>
                    <a:pt x="264" y="798"/>
                  </a:lnTo>
                  <a:lnTo>
                    <a:pt x="270" y="810"/>
                  </a:lnTo>
                  <a:lnTo>
                    <a:pt x="270" y="816"/>
                  </a:lnTo>
                  <a:lnTo>
                    <a:pt x="270" y="822"/>
                  </a:lnTo>
                  <a:lnTo>
                    <a:pt x="276" y="822"/>
                  </a:lnTo>
                  <a:lnTo>
                    <a:pt x="276" y="828"/>
                  </a:lnTo>
                  <a:lnTo>
                    <a:pt x="276" y="834"/>
                  </a:lnTo>
                  <a:lnTo>
                    <a:pt x="276" y="840"/>
                  </a:lnTo>
                  <a:lnTo>
                    <a:pt x="276" y="846"/>
                  </a:lnTo>
                  <a:lnTo>
                    <a:pt x="282" y="852"/>
                  </a:lnTo>
                  <a:lnTo>
                    <a:pt x="282" y="858"/>
                  </a:lnTo>
                  <a:lnTo>
                    <a:pt x="294" y="864"/>
                  </a:lnTo>
                  <a:lnTo>
                    <a:pt x="300" y="870"/>
                  </a:lnTo>
                  <a:lnTo>
                    <a:pt x="300" y="876"/>
                  </a:lnTo>
                  <a:lnTo>
                    <a:pt x="288" y="876"/>
                  </a:lnTo>
                  <a:lnTo>
                    <a:pt x="282" y="876"/>
                  </a:lnTo>
                  <a:lnTo>
                    <a:pt x="276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2" y="882"/>
                  </a:lnTo>
                  <a:lnTo>
                    <a:pt x="246" y="882"/>
                  </a:lnTo>
                  <a:lnTo>
                    <a:pt x="240" y="882"/>
                  </a:lnTo>
                  <a:lnTo>
                    <a:pt x="234" y="882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204" y="876"/>
                  </a:lnTo>
                  <a:lnTo>
                    <a:pt x="198" y="876"/>
                  </a:lnTo>
                  <a:lnTo>
                    <a:pt x="198" y="870"/>
                  </a:lnTo>
                  <a:lnTo>
                    <a:pt x="198" y="852"/>
                  </a:lnTo>
                  <a:lnTo>
                    <a:pt x="198" y="846"/>
                  </a:lnTo>
                  <a:lnTo>
                    <a:pt x="204" y="846"/>
                  </a:lnTo>
                  <a:lnTo>
                    <a:pt x="198" y="840"/>
                  </a:lnTo>
                  <a:lnTo>
                    <a:pt x="198" y="834"/>
                  </a:lnTo>
                  <a:lnTo>
                    <a:pt x="198" y="828"/>
                  </a:lnTo>
                  <a:lnTo>
                    <a:pt x="198" y="822"/>
                  </a:lnTo>
                  <a:lnTo>
                    <a:pt x="198" y="816"/>
                  </a:lnTo>
                  <a:lnTo>
                    <a:pt x="198" y="810"/>
                  </a:lnTo>
                  <a:lnTo>
                    <a:pt x="192" y="810"/>
                  </a:lnTo>
                  <a:lnTo>
                    <a:pt x="192" y="804"/>
                  </a:lnTo>
                  <a:lnTo>
                    <a:pt x="192" y="798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2" y="774"/>
                  </a:lnTo>
                  <a:lnTo>
                    <a:pt x="192" y="768"/>
                  </a:lnTo>
                  <a:lnTo>
                    <a:pt x="198" y="768"/>
                  </a:lnTo>
                  <a:lnTo>
                    <a:pt x="198" y="762"/>
                  </a:lnTo>
                  <a:lnTo>
                    <a:pt x="198" y="756"/>
                  </a:lnTo>
                  <a:lnTo>
                    <a:pt x="204" y="756"/>
                  </a:lnTo>
                  <a:lnTo>
                    <a:pt x="204" y="750"/>
                  </a:lnTo>
                  <a:lnTo>
                    <a:pt x="210" y="744"/>
                  </a:lnTo>
                  <a:lnTo>
                    <a:pt x="210" y="738"/>
                  </a:lnTo>
                  <a:lnTo>
                    <a:pt x="210" y="732"/>
                  </a:lnTo>
                  <a:lnTo>
                    <a:pt x="210" y="726"/>
                  </a:lnTo>
                  <a:lnTo>
                    <a:pt x="210" y="720"/>
                  </a:lnTo>
                  <a:lnTo>
                    <a:pt x="204" y="714"/>
                  </a:lnTo>
                  <a:lnTo>
                    <a:pt x="204" y="720"/>
                  </a:lnTo>
                  <a:lnTo>
                    <a:pt x="204" y="732"/>
                  </a:lnTo>
                  <a:lnTo>
                    <a:pt x="204" y="738"/>
                  </a:lnTo>
                  <a:lnTo>
                    <a:pt x="198" y="738"/>
                  </a:lnTo>
                  <a:lnTo>
                    <a:pt x="198" y="744"/>
                  </a:lnTo>
                  <a:lnTo>
                    <a:pt x="198" y="750"/>
                  </a:lnTo>
                  <a:lnTo>
                    <a:pt x="192" y="756"/>
                  </a:lnTo>
                  <a:lnTo>
                    <a:pt x="186" y="762"/>
                  </a:lnTo>
                  <a:lnTo>
                    <a:pt x="186" y="768"/>
                  </a:lnTo>
                  <a:lnTo>
                    <a:pt x="186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98"/>
                  </a:lnTo>
                  <a:lnTo>
                    <a:pt x="186" y="804"/>
                  </a:lnTo>
                  <a:lnTo>
                    <a:pt x="186" y="810"/>
                  </a:lnTo>
                  <a:lnTo>
                    <a:pt x="192" y="816"/>
                  </a:lnTo>
                  <a:lnTo>
                    <a:pt x="192" y="828"/>
                  </a:lnTo>
                  <a:lnTo>
                    <a:pt x="192" y="834"/>
                  </a:lnTo>
                  <a:lnTo>
                    <a:pt x="186" y="834"/>
                  </a:lnTo>
                  <a:lnTo>
                    <a:pt x="186" y="828"/>
                  </a:lnTo>
                  <a:lnTo>
                    <a:pt x="180" y="822"/>
                  </a:lnTo>
                  <a:lnTo>
                    <a:pt x="180" y="816"/>
                  </a:lnTo>
                  <a:lnTo>
                    <a:pt x="180" y="810"/>
                  </a:lnTo>
                  <a:lnTo>
                    <a:pt x="174" y="810"/>
                  </a:lnTo>
                  <a:lnTo>
                    <a:pt x="174" y="804"/>
                  </a:lnTo>
                  <a:lnTo>
                    <a:pt x="174" y="798"/>
                  </a:lnTo>
                  <a:lnTo>
                    <a:pt x="174" y="792"/>
                  </a:lnTo>
                  <a:lnTo>
                    <a:pt x="168" y="786"/>
                  </a:lnTo>
                  <a:lnTo>
                    <a:pt x="168" y="780"/>
                  </a:lnTo>
                  <a:lnTo>
                    <a:pt x="162" y="780"/>
                  </a:lnTo>
                  <a:lnTo>
                    <a:pt x="168" y="774"/>
                  </a:lnTo>
                  <a:lnTo>
                    <a:pt x="168" y="768"/>
                  </a:lnTo>
                  <a:lnTo>
                    <a:pt x="174" y="768"/>
                  </a:lnTo>
                  <a:lnTo>
                    <a:pt x="168" y="768"/>
                  </a:lnTo>
                  <a:lnTo>
                    <a:pt x="162" y="774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50" y="774"/>
                  </a:lnTo>
                  <a:lnTo>
                    <a:pt x="144" y="774"/>
                  </a:lnTo>
                  <a:lnTo>
                    <a:pt x="144" y="768"/>
                  </a:lnTo>
                  <a:lnTo>
                    <a:pt x="144" y="762"/>
                  </a:lnTo>
                  <a:lnTo>
                    <a:pt x="138" y="756"/>
                  </a:lnTo>
                  <a:lnTo>
                    <a:pt x="132" y="756"/>
                  </a:lnTo>
                  <a:lnTo>
                    <a:pt x="138" y="756"/>
                  </a:lnTo>
                  <a:lnTo>
                    <a:pt x="138" y="762"/>
                  </a:lnTo>
                  <a:lnTo>
                    <a:pt x="138" y="768"/>
                  </a:lnTo>
                  <a:lnTo>
                    <a:pt x="144" y="768"/>
                  </a:lnTo>
                  <a:lnTo>
                    <a:pt x="144" y="774"/>
                  </a:lnTo>
                  <a:lnTo>
                    <a:pt x="150" y="780"/>
                  </a:lnTo>
                  <a:lnTo>
                    <a:pt x="156" y="780"/>
                  </a:lnTo>
                  <a:lnTo>
                    <a:pt x="156" y="786"/>
                  </a:lnTo>
                  <a:lnTo>
                    <a:pt x="162" y="786"/>
                  </a:lnTo>
                  <a:lnTo>
                    <a:pt x="168" y="792"/>
                  </a:lnTo>
                  <a:lnTo>
                    <a:pt x="168" y="798"/>
                  </a:lnTo>
                  <a:lnTo>
                    <a:pt x="168" y="804"/>
                  </a:lnTo>
                  <a:lnTo>
                    <a:pt x="174" y="810"/>
                  </a:lnTo>
                  <a:lnTo>
                    <a:pt x="174" y="816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68" y="828"/>
                  </a:lnTo>
                  <a:lnTo>
                    <a:pt x="168" y="834"/>
                  </a:lnTo>
                  <a:lnTo>
                    <a:pt x="174" y="840"/>
                  </a:lnTo>
                  <a:lnTo>
                    <a:pt x="180" y="840"/>
                  </a:lnTo>
                  <a:lnTo>
                    <a:pt x="180" y="846"/>
                  </a:lnTo>
                  <a:lnTo>
                    <a:pt x="186" y="846"/>
                  </a:lnTo>
                  <a:lnTo>
                    <a:pt x="186" y="852"/>
                  </a:lnTo>
                  <a:lnTo>
                    <a:pt x="186" y="858"/>
                  </a:lnTo>
                  <a:lnTo>
                    <a:pt x="186" y="864"/>
                  </a:lnTo>
                  <a:lnTo>
                    <a:pt x="192" y="864"/>
                  </a:lnTo>
                  <a:lnTo>
                    <a:pt x="192" y="870"/>
                  </a:lnTo>
                  <a:lnTo>
                    <a:pt x="192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6" y="888"/>
                  </a:lnTo>
                  <a:lnTo>
                    <a:pt x="180" y="888"/>
                  </a:lnTo>
                  <a:lnTo>
                    <a:pt x="174" y="888"/>
                  </a:lnTo>
                  <a:lnTo>
                    <a:pt x="168" y="894"/>
                  </a:lnTo>
                  <a:lnTo>
                    <a:pt x="162" y="894"/>
                  </a:lnTo>
                  <a:lnTo>
                    <a:pt x="156" y="894"/>
                  </a:lnTo>
                  <a:lnTo>
                    <a:pt x="150" y="894"/>
                  </a:lnTo>
                  <a:lnTo>
                    <a:pt x="144" y="894"/>
                  </a:lnTo>
                  <a:lnTo>
                    <a:pt x="144" y="900"/>
                  </a:lnTo>
                  <a:lnTo>
                    <a:pt x="138" y="894"/>
                  </a:lnTo>
                  <a:lnTo>
                    <a:pt x="138" y="900"/>
                  </a:lnTo>
                  <a:lnTo>
                    <a:pt x="132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6" y="882"/>
                  </a:lnTo>
                  <a:lnTo>
                    <a:pt x="126" y="876"/>
                  </a:lnTo>
                  <a:lnTo>
                    <a:pt x="120" y="876"/>
                  </a:lnTo>
                  <a:lnTo>
                    <a:pt x="126" y="870"/>
                  </a:lnTo>
                  <a:lnTo>
                    <a:pt x="126" y="864"/>
                  </a:lnTo>
                  <a:lnTo>
                    <a:pt x="126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26" y="828"/>
                  </a:lnTo>
                  <a:lnTo>
                    <a:pt x="126" y="822"/>
                  </a:lnTo>
                  <a:lnTo>
                    <a:pt x="126" y="816"/>
                  </a:lnTo>
                  <a:lnTo>
                    <a:pt x="126" y="810"/>
                  </a:lnTo>
                  <a:lnTo>
                    <a:pt x="126" y="804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20" y="792"/>
                  </a:lnTo>
                  <a:lnTo>
                    <a:pt x="114" y="792"/>
                  </a:lnTo>
                  <a:lnTo>
                    <a:pt x="114" y="786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96" y="780"/>
                  </a:lnTo>
                  <a:lnTo>
                    <a:pt x="96" y="774"/>
                  </a:lnTo>
                  <a:lnTo>
                    <a:pt x="90" y="774"/>
                  </a:lnTo>
                  <a:lnTo>
                    <a:pt x="90" y="768"/>
                  </a:lnTo>
                  <a:close/>
                  <a:moveTo>
                    <a:pt x="96" y="780"/>
                  </a:moveTo>
                  <a:lnTo>
                    <a:pt x="102" y="780"/>
                  </a:lnTo>
                  <a:lnTo>
                    <a:pt x="102" y="786"/>
                  </a:lnTo>
                  <a:lnTo>
                    <a:pt x="108" y="786"/>
                  </a:lnTo>
                  <a:lnTo>
                    <a:pt x="114" y="792"/>
                  </a:lnTo>
                  <a:lnTo>
                    <a:pt x="120" y="798"/>
                  </a:lnTo>
                  <a:lnTo>
                    <a:pt x="120" y="804"/>
                  </a:lnTo>
                  <a:lnTo>
                    <a:pt x="126" y="810"/>
                  </a:lnTo>
                  <a:lnTo>
                    <a:pt x="126" y="816"/>
                  </a:lnTo>
                  <a:lnTo>
                    <a:pt x="126" y="822"/>
                  </a:lnTo>
                  <a:lnTo>
                    <a:pt x="120" y="828"/>
                  </a:lnTo>
                  <a:lnTo>
                    <a:pt x="120" y="840"/>
                  </a:lnTo>
                  <a:lnTo>
                    <a:pt x="120" y="852"/>
                  </a:lnTo>
                  <a:lnTo>
                    <a:pt x="120" y="858"/>
                  </a:lnTo>
                  <a:lnTo>
                    <a:pt x="120" y="864"/>
                  </a:lnTo>
                  <a:lnTo>
                    <a:pt x="120" y="870"/>
                  </a:lnTo>
                  <a:lnTo>
                    <a:pt x="114" y="870"/>
                  </a:lnTo>
                  <a:lnTo>
                    <a:pt x="108" y="870"/>
                  </a:lnTo>
                  <a:lnTo>
                    <a:pt x="108" y="876"/>
                  </a:lnTo>
                  <a:lnTo>
                    <a:pt x="114" y="876"/>
                  </a:lnTo>
                  <a:lnTo>
                    <a:pt x="120" y="876"/>
                  </a:lnTo>
                  <a:lnTo>
                    <a:pt x="120" y="882"/>
                  </a:lnTo>
                  <a:lnTo>
                    <a:pt x="114" y="888"/>
                  </a:lnTo>
                  <a:lnTo>
                    <a:pt x="120" y="888"/>
                  </a:lnTo>
                  <a:lnTo>
                    <a:pt x="120" y="894"/>
                  </a:lnTo>
                  <a:lnTo>
                    <a:pt x="114" y="894"/>
                  </a:lnTo>
                  <a:lnTo>
                    <a:pt x="108" y="894"/>
                  </a:lnTo>
                  <a:lnTo>
                    <a:pt x="96" y="894"/>
                  </a:lnTo>
                  <a:lnTo>
                    <a:pt x="96" y="882"/>
                  </a:lnTo>
                  <a:lnTo>
                    <a:pt x="96" y="876"/>
                  </a:lnTo>
                  <a:lnTo>
                    <a:pt x="84" y="870"/>
                  </a:lnTo>
                  <a:lnTo>
                    <a:pt x="72" y="864"/>
                  </a:lnTo>
                  <a:lnTo>
                    <a:pt x="72" y="852"/>
                  </a:lnTo>
                  <a:lnTo>
                    <a:pt x="72" y="840"/>
                  </a:lnTo>
                  <a:lnTo>
                    <a:pt x="78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90" y="792"/>
                  </a:lnTo>
                  <a:lnTo>
                    <a:pt x="96" y="780"/>
                  </a:lnTo>
                  <a:close/>
                  <a:moveTo>
                    <a:pt x="492" y="810"/>
                  </a:moveTo>
                  <a:lnTo>
                    <a:pt x="498" y="810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510" y="792"/>
                  </a:lnTo>
                  <a:lnTo>
                    <a:pt x="516" y="786"/>
                  </a:lnTo>
                  <a:lnTo>
                    <a:pt x="522" y="780"/>
                  </a:lnTo>
                  <a:lnTo>
                    <a:pt x="522" y="774"/>
                  </a:lnTo>
                  <a:lnTo>
                    <a:pt x="528" y="768"/>
                  </a:lnTo>
                  <a:lnTo>
                    <a:pt x="528" y="762"/>
                  </a:lnTo>
                  <a:lnTo>
                    <a:pt x="534" y="762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46" y="780"/>
                  </a:lnTo>
                  <a:lnTo>
                    <a:pt x="552" y="786"/>
                  </a:lnTo>
                  <a:lnTo>
                    <a:pt x="558" y="786"/>
                  </a:lnTo>
                  <a:lnTo>
                    <a:pt x="564" y="786"/>
                  </a:lnTo>
                  <a:lnTo>
                    <a:pt x="576" y="786"/>
                  </a:lnTo>
                  <a:lnTo>
                    <a:pt x="582" y="786"/>
                  </a:lnTo>
                  <a:lnTo>
                    <a:pt x="588" y="786"/>
                  </a:lnTo>
                  <a:lnTo>
                    <a:pt x="594" y="786"/>
                  </a:lnTo>
                  <a:lnTo>
                    <a:pt x="588" y="792"/>
                  </a:lnTo>
                  <a:lnTo>
                    <a:pt x="588" y="798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82" y="822"/>
                  </a:lnTo>
                  <a:lnTo>
                    <a:pt x="588" y="828"/>
                  </a:lnTo>
                  <a:lnTo>
                    <a:pt x="588" y="834"/>
                  </a:lnTo>
                  <a:lnTo>
                    <a:pt x="582" y="840"/>
                  </a:lnTo>
                  <a:lnTo>
                    <a:pt x="570" y="840"/>
                  </a:lnTo>
                  <a:lnTo>
                    <a:pt x="558" y="846"/>
                  </a:lnTo>
                  <a:lnTo>
                    <a:pt x="552" y="846"/>
                  </a:lnTo>
                  <a:lnTo>
                    <a:pt x="534" y="852"/>
                  </a:lnTo>
                  <a:lnTo>
                    <a:pt x="522" y="858"/>
                  </a:lnTo>
                  <a:lnTo>
                    <a:pt x="510" y="858"/>
                  </a:lnTo>
                  <a:lnTo>
                    <a:pt x="498" y="864"/>
                  </a:lnTo>
                  <a:lnTo>
                    <a:pt x="474" y="864"/>
                  </a:lnTo>
                  <a:lnTo>
                    <a:pt x="468" y="858"/>
                  </a:lnTo>
                  <a:lnTo>
                    <a:pt x="468" y="852"/>
                  </a:lnTo>
                  <a:lnTo>
                    <a:pt x="468" y="846"/>
                  </a:lnTo>
                  <a:lnTo>
                    <a:pt x="474" y="840"/>
                  </a:lnTo>
                  <a:lnTo>
                    <a:pt x="474" y="834"/>
                  </a:lnTo>
                  <a:lnTo>
                    <a:pt x="480" y="828"/>
                  </a:lnTo>
                  <a:lnTo>
                    <a:pt x="492" y="822"/>
                  </a:lnTo>
                  <a:lnTo>
                    <a:pt x="492" y="810"/>
                  </a:lnTo>
                  <a:close/>
                  <a:moveTo>
                    <a:pt x="384" y="720"/>
                  </a:moveTo>
                  <a:lnTo>
                    <a:pt x="384" y="726"/>
                  </a:lnTo>
                  <a:lnTo>
                    <a:pt x="390" y="726"/>
                  </a:lnTo>
                  <a:lnTo>
                    <a:pt x="396" y="726"/>
                  </a:lnTo>
                  <a:lnTo>
                    <a:pt x="402" y="732"/>
                  </a:lnTo>
                  <a:lnTo>
                    <a:pt x="408" y="732"/>
                  </a:lnTo>
                  <a:lnTo>
                    <a:pt x="414" y="732"/>
                  </a:lnTo>
                  <a:lnTo>
                    <a:pt x="414" y="738"/>
                  </a:lnTo>
                  <a:lnTo>
                    <a:pt x="414" y="744"/>
                  </a:lnTo>
                  <a:lnTo>
                    <a:pt x="414" y="750"/>
                  </a:lnTo>
                  <a:lnTo>
                    <a:pt x="414" y="756"/>
                  </a:lnTo>
                  <a:lnTo>
                    <a:pt x="414" y="762"/>
                  </a:lnTo>
                  <a:lnTo>
                    <a:pt x="420" y="768"/>
                  </a:lnTo>
                  <a:lnTo>
                    <a:pt x="420" y="774"/>
                  </a:lnTo>
                  <a:lnTo>
                    <a:pt x="426" y="780"/>
                  </a:lnTo>
                  <a:lnTo>
                    <a:pt x="426" y="786"/>
                  </a:lnTo>
                  <a:lnTo>
                    <a:pt x="420" y="786"/>
                  </a:lnTo>
                  <a:lnTo>
                    <a:pt x="420" y="792"/>
                  </a:lnTo>
                  <a:lnTo>
                    <a:pt x="420" y="798"/>
                  </a:lnTo>
                  <a:lnTo>
                    <a:pt x="420" y="804"/>
                  </a:lnTo>
                  <a:lnTo>
                    <a:pt x="426" y="804"/>
                  </a:lnTo>
                  <a:lnTo>
                    <a:pt x="426" y="810"/>
                  </a:lnTo>
                  <a:lnTo>
                    <a:pt x="426" y="816"/>
                  </a:lnTo>
                  <a:lnTo>
                    <a:pt x="432" y="816"/>
                  </a:lnTo>
                  <a:lnTo>
                    <a:pt x="438" y="816"/>
                  </a:lnTo>
                  <a:lnTo>
                    <a:pt x="438" y="822"/>
                  </a:lnTo>
                  <a:lnTo>
                    <a:pt x="432" y="822"/>
                  </a:lnTo>
                  <a:lnTo>
                    <a:pt x="426" y="828"/>
                  </a:lnTo>
                  <a:lnTo>
                    <a:pt x="420" y="828"/>
                  </a:lnTo>
                  <a:lnTo>
                    <a:pt x="414" y="828"/>
                  </a:lnTo>
                  <a:lnTo>
                    <a:pt x="408" y="828"/>
                  </a:lnTo>
                  <a:lnTo>
                    <a:pt x="402" y="828"/>
                  </a:lnTo>
                  <a:lnTo>
                    <a:pt x="402" y="822"/>
                  </a:lnTo>
                  <a:lnTo>
                    <a:pt x="396" y="822"/>
                  </a:lnTo>
                  <a:lnTo>
                    <a:pt x="402" y="822"/>
                  </a:lnTo>
                  <a:lnTo>
                    <a:pt x="402" y="816"/>
                  </a:lnTo>
                  <a:lnTo>
                    <a:pt x="396" y="816"/>
                  </a:lnTo>
                  <a:lnTo>
                    <a:pt x="396" y="810"/>
                  </a:lnTo>
                  <a:lnTo>
                    <a:pt x="396" y="804"/>
                  </a:lnTo>
                  <a:lnTo>
                    <a:pt x="390" y="798"/>
                  </a:lnTo>
                  <a:lnTo>
                    <a:pt x="390" y="792"/>
                  </a:lnTo>
                  <a:lnTo>
                    <a:pt x="390" y="786"/>
                  </a:lnTo>
                  <a:lnTo>
                    <a:pt x="390" y="780"/>
                  </a:lnTo>
                  <a:lnTo>
                    <a:pt x="390" y="774"/>
                  </a:lnTo>
                  <a:lnTo>
                    <a:pt x="390" y="768"/>
                  </a:lnTo>
                  <a:lnTo>
                    <a:pt x="390" y="762"/>
                  </a:lnTo>
                  <a:lnTo>
                    <a:pt x="384" y="756"/>
                  </a:lnTo>
                  <a:lnTo>
                    <a:pt x="384" y="750"/>
                  </a:lnTo>
                  <a:lnTo>
                    <a:pt x="384" y="744"/>
                  </a:lnTo>
                  <a:lnTo>
                    <a:pt x="378" y="744"/>
                  </a:lnTo>
                  <a:lnTo>
                    <a:pt x="384" y="744"/>
                  </a:lnTo>
                  <a:lnTo>
                    <a:pt x="384" y="738"/>
                  </a:lnTo>
                  <a:lnTo>
                    <a:pt x="378" y="738"/>
                  </a:lnTo>
                  <a:lnTo>
                    <a:pt x="378" y="732"/>
                  </a:lnTo>
                  <a:lnTo>
                    <a:pt x="378" y="726"/>
                  </a:lnTo>
                  <a:lnTo>
                    <a:pt x="378" y="720"/>
                  </a:lnTo>
                  <a:lnTo>
                    <a:pt x="384" y="720"/>
                  </a:lnTo>
                  <a:close/>
                  <a:moveTo>
                    <a:pt x="330" y="738"/>
                  </a:moveTo>
                  <a:lnTo>
                    <a:pt x="336" y="732"/>
                  </a:lnTo>
                  <a:lnTo>
                    <a:pt x="336" y="726"/>
                  </a:lnTo>
                  <a:lnTo>
                    <a:pt x="342" y="720"/>
                  </a:lnTo>
                  <a:lnTo>
                    <a:pt x="348" y="720"/>
                  </a:lnTo>
                  <a:lnTo>
                    <a:pt x="360" y="720"/>
                  </a:lnTo>
                  <a:lnTo>
                    <a:pt x="366" y="726"/>
                  </a:lnTo>
                  <a:lnTo>
                    <a:pt x="372" y="732"/>
                  </a:lnTo>
                  <a:lnTo>
                    <a:pt x="372" y="738"/>
                  </a:lnTo>
                  <a:lnTo>
                    <a:pt x="366" y="750"/>
                  </a:lnTo>
                  <a:lnTo>
                    <a:pt x="372" y="756"/>
                  </a:lnTo>
                  <a:lnTo>
                    <a:pt x="372" y="762"/>
                  </a:lnTo>
                  <a:lnTo>
                    <a:pt x="372" y="768"/>
                  </a:lnTo>
                  <a:lnTo>
                    <a:pt x="372" y="774"/>
                  </a:lnTo>
                  <a:lnTo>
                    <a:pt x="372" y="780"/>
                  </a:lnTo>
                  <a:lnTo>
                    <a:pt x="372" y="774"/>
                  </a:lnTo>
                  <a:lnTo>
                    <a:pt x="366" y="768"/>
                  </a:lnTo>
                  <a:lnTo>
                    <a:pt x="366" y="762"/>
                  </a:lnTo>
                  <a:lnTo>
                    <a:pt x="366" y="756"/>
                  </a:lnTo>
                  <a:lnTo>
                    <a:pt x="360" y="756"/>
                  </a:lnTo>
                  <a:lnTo>
                    <a:pt x="360" y="750"/>
                  </a:lnTo>
                  <a:lnTo>
                    <a:pt x="354" y="750"/>
                  </a:lnTo>
                  <a:lnTo>
                    <a:pt x="348" y="744"/>
                  </a:lnTo>
                  <a:lnTo>
                    <a:pt x="342" y="744"/>
                  </a:lnTo>
                  <a:lnTo>
                    <a:pt x="336" y="744"/>
                  </a:lnTo>
                  <a:lnTo>
                    <a:pt x="330" y="73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1" name="Freeform 6">
              <a:extLst>
                <a:ext uri="{FF2B5EF4-FFF2-40B4-BE49-F238E27FC236}">
                  <a16:creationId xmlns:a16="http://schemas.microsoft.com/office/drawing/2014/main" id="{0656C385-F30A-4AC8-AE9F-B1F66208B38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3123" y="4163918"/>
              <a:ext cx="266107" cy="248252"/>
            </a:xfrm>
            <a:custGeom>
              <a:avLst/>
              <a:gdLst>
                <a:gd name="T0" fmla="*/ 33 w 504"/>
                <a:gd name="T1" fmla="*/ 41 h 468"/>
                <a:gd name="T2" fmla="*/ 26 w 504"/>
                <a:gd name="T3" fmla="*/ 39 h 468"/>
                <a:gd name="T4" fmla="*/ 21 w 504"/>
                <a:gd name="T5" fmla="*/ 38 h 468"/>
                <a:gd name="T6" fmla="*/ 18 w 504"/>
                <a:gd name="T7" fmla="*/ 38 h 468"/>
                <a:gd name="T8" fmla="*/ 15 w 504"/>
                <a:gd name="T9" fmla="*/ 39 h 468"/>
                <a:gd name="T10" fmla="*/ 12 w 504"/>
                <a:gd name="T11" fmla="*/ 38 h 468"/>
                <a:gd name="T12" fmla="*/ 9 w 504"/>
                <a:gd name="T13" fmla="*/ 37 h 468"/>
                <a:gd name="T14" fmla="*/ 7 w 504"/>
                <a:gd name="T15" fmla="*/ 32 h 468"/>
                <a:gd name="T16" fmla="*/ 6 w 504"/>
                <a:gd name="T17" fmla="*/ 26 h 468"/>
                <a:gd name="T18" fmla="*/ 3 w 504"/>
                <a:gd name="T19" fmla="*/ 24 h 468"/>
                <a:gd name="T20" fmla="*/ 1 w 504"/>
                <a:gd name="T21" fmla="*/ 24 h 468"/>
                <a:gd name="T22" fmla="*/ 2 w 504"/>
                <a:gd name="T23" fmla="*/ 18 h 468"/>
                <a:gd name="T24" fmla="*/ 1 w 504"/>
                <a:gd name="T25" fmla="*/ 17 h 468"/>
                <a:gd name="T26" fmla="*/ 0 w 504"/>
                <a:gd name="T27" fmla="*/ 17 h 468"/>
                <a:gd name="T28" fmla="*/ 0 w 504"/>
                <a:gd name="T29" fmla="*/ 15 h 468"/>
                <a:gd name="T30" fmla="*/ 2 w 504"/>
                <a:gd name="T31" fmla="*/ 12 h 468"/>
                <a:gd name="T32" fmla="*/ 4 w 504"/>
                <a:gd name="T33" fmla="*/ 10 h 468"/>
                <a:gd name="T34" fmla="*/ 6 w 504"/>
                <a:gd name="T35" fmla="*/ 8 h 468"/>
                <a:gd name="T36" fmla="*/ 8 w 504"/>
                <a:gd name="T37" fmla="*/ 8 h 468"/>
                <a:gd name="T38" fmla="*/ 10 w 504"/>
                <a:gd name="T39" fmla="*/ 9 h 468"/>
                <a:gd name="T40" fmla="*/ 12 w 504"/>
                <a:gd name="T41" fmla="*/ 10 h 468"/>
                <a:gd name="T42" fmla="*/ 12 w 504"/>
                <a:gd name="T43" fmla="*/ 11 h 468"/>
                <a:gd name="T44" fmla="*/ 14 w 504"/>
                <a:gd name="T45" fmla="*/ 8 h 468"/>
                <a:gd name="T46" fmla="*/ 15 w 504"/>
                <a:gd name="T47" fmla="*/ 7 h 468"/>
                <a:gd name="T48" fmla="*/ 17 w 504"/>
                <a:gd name="T49" fmla="*/ 6 h 468"/>
                <a:gd name="T50" fmla="*/ 19 w 504"/>
                <a:gd name="T51" fmla="*/ 3 h 468"/>
                <a:gd name="T52" fmla="*/ 20 w 504"/>
                <a:gd name="T53" fmla="*/ 2 h 468"/>
                <a:gd name="T54" fmla="*/ 22 w 504"/>
                <a:gd name="T55" fmla="*/ 1 h 468"/>
                <a:gd name="T56" fmla="*/ 27 w 504"/>
                <a:gd name="T57" fmla="*/ 1 h 468"/>
                <a:gd name="T58" fmla="*/ 30 w 504"/>
                <a:gd name="T59" fmla="*/ 2 h 468"/>
                <a:gd name="T60" fmla="*/ 31 w 504"/>
                <a:gd name="T61" fmla="*/ 2 h 468"/>
                <a:gd name="T62" fmla="*/ 34 w 504"/>
                <a:gd name="T63" fmla="*/ 0 h 468"/>
                <a:gd name="T64" fmla="*/ 37 w 504"/>
                <a:gd name="T65" fmla="*/ 1 h 468"/>
                <a:gd name="T66" fmla="*/ 41 w 504"/>
                <a:gd name="T67" fmla="*/ 2 h 468"/>
                <a:gd name="T68" fmla="*/ 42 w 504"/>
                <a:gd name="T69" fmla="*/ 4 h 468"/>
                <a:gd name="T70" fmla="*/ 42 w 504"/>
                <a:gd name="T71" fmla="*/ 10 h 468"/>
                <a:gd name="T72" fmla="*/ 41 w 504"/>
                <a:gd name="T73" fmla="*/ 14 h 468"/>
                <a:gd name="T74" fmla="*/ 42 w 504"/>
                <a:gd name="T75" fmla="*/ 15 h 468"/>
                <a:gd name="T76" fmla="*/ 44 w 504"/>
                <a:gd name="T77" fmla="*/ 18 h 468"/>
                <a:gd name="T78" fmla="*/ 43 w 504"/>
                <a:gd name="T79" fmla="*/ 19 h 468"/>
                <a:gd name="T80" fmla="*/ 42 w 504"/>
                <a:gd name="T81" fmla="*/ 21 h 468"/>
                <a:gd name="T82" fmla="*/ 42 w 504"/>
                <a:gd name="T83" fmla="*/ 23 h 468"/>
                <a:gd name="T84" fmla="*/ 39 w 504"/>
                <a:gd name="T85" fmla="*/ 27 h 468"/>
                <a:gd name="T86" fmla="*/ 38 w 504"/>
                <a:gd name="T87" fmla="*/ 29 h 468"/>
                <a:gd name="T88" fmla="*/ 38 w 504"/>
                <a:gd name="T89" fmla="*/ 31 h 468"/>
                <a:gd name="T90" fmla="*/ 36 w 504"/>
                <a:gd name="T91" fmla="*/ 32 h 468"/>
                <a:gd name="T92" fmla="*/ 35 w 504"/>
                <a:gd name="T93" fmla="*/ 34 h 468"/>
                <a:gd name="T94" fmla="*/ 34 w 504"/>
                <a:gd name="T95" fmla="*/ 38 h 46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04"/>
                <a:gd name="T145" fmla="*/ 0 h 468"/>
                <a:gd name="T146" fmla="*/ 504 w 504"/>
                <a:gd name="T147" fmla="*/ 468 h 46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04" h="468">
                  <a:moveTo>
                    <a:pt x="390" y="456"/>
                  </a:moveTo>
                  <a:lnTo>
                    <a:pt x="384" y="468"/>
                  </a:lnTo>
                  <a:lnTo>
                    <a:pt x="378" y="468"/>
                  </a:lnTo>
                  <a:lnTo>
                    <a:pt x="354" y="468"/>
                  </a:lnTo>
                  <a:lnTo>
                    <a:pt x="348" y="462"/>
                  </a:lnTo>
                  <a:lnTo>
                    <a:pt x="300" y="456"/>
                  </a:lnTo>
                  <a:lnTo>
                    <a:pt x="270" y="444"/>
                  </a:lnTo>
                  <a:lnTo>
                    <a:pt x="252" y="438"/>
                  </a:lnTo>
                  <a:lnTo>
                    <a:pt x="240" y="438"/>
                  </a:lnTo>
                  <a:lnTo>
                    <a:pt x="234" y="438"/>
                  </a:lnTo>
                  <a:lnTo>
                    <a:pt x="228" y="444"/>
                  </a:lnTo>
                  <a:lnTo>
                    <a:pt x="210" y="444"/>
                  </a:lnTo>
                  <a:lnTo>
                    <a:pt x="198" y="444"/>
                  </a:lnTo>
                  <a:lnTo>
                    <a:pt x="198" y="450"/>
                  </a:lnTo>
                  <a:lnTo>
                    <a:pt x="168" y="456"/>
                  </a:lnTo>
                  <a:lnTo>
                    <a:pt x="150" y="450"/>
                  </a:lnTo>
                  <a:lnTo>
                    <a:pt x="144" y="444"/>
                  </a:lnTo>
                  <a:lnTo>
                    <a:pt x="132" y="438"/>
                  </a:lnTo>
                  <a:lnTo>
                    <a:pt x="138" y="432"/>
                  </a:lnTo>
                  <a:lnTo>
                    <a:pt x="114" y="432"/>
                  </a:lnTo>
                  <a:lnTo>
                    <a:pt x="102" y="426"/>
                  </a:lnTo>
                  <a:lnTo>
                    <a:pt x="90" y="414"/>
                  </a:lnTo>
                  <a:lnTo>
                    <a:pt x="72" y="402"/>
                  </a:lnTo>
                  <a:lnTo>
                    <a:pt x="78" y="366"/>
                  </a:lnTo>
                  <a:lnTo>
                    <a:pt x="78" y="330"/>
                  </a:lnTo>
                  <a:lnTo>
                    <a:pt x="66" y="318"/>
                  </a:lnTo>
                  <a:lnTo>
                    <a:pt x="66" y="300"/>
                  </a:lnTo>
                  <a:lnTo>
                    <a:pt x="66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30" y="282"/>
                  </a:lnTo>
                  <a:lnTo>
                    <a:pt x="24" y="282"/>
                  </a:lnTo>
                  <a:lnTo>
                    <a:pt x="12" y="276"/>
                  </a:lnTo>
                  <a:lnTo>
                    <a:pt x="0" y="282"/>
                  </a:lnTo>
                  <a:lnTo>
                    <a:pt x="12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2" y="198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6" y="180"/>
                  </a:lnTo>
                  <a:lnTo>
                    <a:pt x="12" y="186"/>
                  </a:lnTo>
                  <a:lnTo>
                    <a:pt x="18" y="138"/>
                  </a:lnTo>
                  <a:lnTo>
                    <a:pt x="24" y="126"/>
                  </a:lnTo>
                  <a:lnTo>
                    <a:pt x="30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20" y="102"/>
                  </a:lnTo>
                  <a:lnTo>
                    <a:pt x="126" y="108"/>
                  </a:lnTo>
                  <a:lnTo>
                    <a:pt x="126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0"/>
                  </a:lnTo>
                  <a:lnTo>
                    <a:pt x="156" y="96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16" y="42"/>
                  </a:lnTo>
                  <a:lnTo>
                    <a:pt x="222" y="36"/>
                  </a:lnTo>
                  <a:lnTo>
                    <a:pt x="228" y="36"/>
                  </a:lnTo>
                  <a:lnTo>
                    <a:pt x="228" y="30"/>
                  </a:lnTo>
                  <a:lnTo>
                    <a:pt x="228" y="24"/>
                  </a:lnTo>
                  <a:lnTo>
                    <a:pt x="246" y="18"/>
                  </a:lnTo>
                  <a:lnTo>
                    <a:pt x="252" y="18"/>
                  </a:lnTo>
                  <a:lnTo>
                    <a:pt x="258" y="12"/>
                  </a:lnTo>
                  <a:lnTo>
                    <a:pt x="270" y="6"/>
                  </a:lnTo>
                  <a:lnTo>
                    <a:pt x="288" y="6"/>
                  </a:lnTo>
                  <a:lnTo>
                    <a:pt x="312" y="12"/>
                  </a:lnTo>
                  <a:lnTo>
                    <a:pt x="324" y="12"/>
                  </a:lnTo>
                  <a:lnTo>
                    <a:pt x="336" y="18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14" y="12"/>
                  </a:lnTo>
                  <a:lnTo>
                    <a:pt x="426" y="12"/>
                  </a:lnTo>
                  <a:lnTo>
                    <a:pt x="444" y="18"/>
                  </a:lnTo>
                  <a:lnTo>
                    <a:pt x="462" y="18"/>
                  </a:lnTo>
                  <a:lnTo>
                    <a:pt x="474" y="18"/>
                  </a:lnTo>
                  <a:lnTo>
                    <a:pt x="480" y="18"/>
                  </a:lnTo>
                  <a:lnTo>
                    <a:pt x="486" y="36"/>
                  </a:lnTo>
                  <a:lnTo>
                    <a:pt x="480" y="42"/>
                  </a:lnTo>
                  <a:lnTo>
                    <a:pt x="480" y="54"/>
                  </a:lnTo>
                  <a:lnTo>
                    <a:pt x="486" y="78"/>
                  </a:lnTo>
                  <a:lnTo>
                    <a:pt x="486" y="114"/>
                  </a:lnTo>
                  <a:lnTo>
                    <a:pt x="486" y="150"/>
                  </a:lnTo>
                  <a:lnTo>
                    <a:pt x="468" y="150"/>
                  </a:lnTo>
                  <a:lnTo>
                    <a:pt x="474" y="162"/>
                  </a:lnTo>
                  <a:lnTo>
                    <a:pt x="480" y="162"/>
                  </a:lnTo>
                  <a:lnTo>
                    <a:pt x="486" y="174"/>
                  </a:lnTo>
                  <a:lnTo>
                    <a:pt x="492" y="174"/>
                  </a:lnTo>
                  <a:lnTo>
                    <a:pt x="492" y="192"/>
                  </a:lnTo>
                  <a:lnTo>
                    <a:pt x="498" y="198"/>
                  </a:lnTo>
                  <a:lnTo>
                    <a:pt x="504" y="204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8" y="222"/>
                  </a:lnTo>
                  <a:lnTo>
                    <a:pt x="492" y="228"/>
                  </a:lnTo>
                  <a:lnTo>
                    <a:pt x="492" y="234"/>
                  </a:lnTo>
                  <a:lnTo>
                    <a:pt x="492" y="240"/>
                  </a:lnTo>
                  <a:lnTo>
                    <a:pt x="486" y="246"/>
                  </a:lnTo>
                  <a:lnTo>
                    <a:pt x="486" y="258"/>
                  </a:lnTo>
                  <a:lnTo>
                    <a:pt x="480" y="264"/>
                  </a:lnTo>
                  <a:lnTo>
                    <a:pt x="474" y="276"/>
                  </a:lnTo>
                  <a:lnTo>
                    <a:pt x="468" y="288"/>
                  </a:lnTo>
                  <a:lnTo>
                    <a:pt x="456" y="306"/>
                  </a:lnTo>
                  <a:lnTo>
                    <a:pt x="456" y="312"/>
                  </a:lnTo>
                  <a:lnTo>
                    <a:pt x="444" y="318"/>
                  </a:lnTo>
                  <a:lnTo>
                    <a:pt x="432" y="336"/>
                  </a:lnTo>
                  <a:lnTo>
                    <a:pt x="432" y="342"/>
                  </a:lnTo>
                  <a:lnTo>
                    <a:pt x="432" y="348"/>
                  </a:lnTo>
                  <a:lnTo>
                    <a:pt x="432" y="354"/>
                  </a:lnTo>
                  <a:lnTo>
                    <a:pt x="426" y="366"/>
                  </a:lnTo>
                  <a:lnTo>
                    <a:pt x="420" y="366"/>
                  </a:lnTo>
                  <a:lnTo>
                    <a:pt x="420" y="372"/>
                  </a:lnTo>
                  <a:lnTo>
                    <a:pt x="414" y="378"/>
                  </a:lnTo>
                  <a:lnTo>
                    <a:pt x="414" y="390"/>
                  </a:lnTo>
                  <a:lnTo>
                    <a:pt x="408" y="390"/>
                  </a:lnTo>
                  <a:lnTo>
                    <a:pt x="408" y="402"/>
                  </a:lnTo>
                  <a:lnTo>
                    <a:pt x="402" y="414"/>
                  </a:lnTo>
                  <a:lnTo>
                    <a:pt x="396" y="438"/>
                  </a:lnTo>
                  <a:lnTo>
                    <a:pt x="396" y="444"/>
                  </a:lnTo>
                  <a:lnTo>
                    <a:pt x="390" y="45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11" name="Freeform 7">
              <a:extLst>
                <a:ext uri="{FF2B5EF4-FFF2-40B4-BE49-F238E27FC236}">
                  <a16:creationId xmlns:a16="http://schemas.microsoft.com/office/drawing/2014/main" id="{0D8DE62D-4554-4314-9F3A-7208D89B4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90838" y="4128134"/>
              <a:ext cx="283995" cy="411516"/>
            </a:xfrm>
            <a:custGeom>
              <a:avLst/>
              <a:gdLst>
                <a:gd name="T0" fmla="*/ 39 w 534"/>
                <a:gd name="T1" fmla="*/ 35 h 774"/>
                <a:gd name="T2" fmla="*/ 35 w 534"/>
                <a:gd name="T3" fmla="*/ 31 h 774"/>
                <a:gd name="T4" fmla="*/ 32 w 534"/>
                <a:gd name="T5" fmla="*/ 29 h 774"/>
                <a:gd name="T6" fmla="*/ 32 w 534"/>
                <a:gd name="T7" fmla="*/ 31 h 774"/>
                <a:gd name="T8" fmla="*/ 29 w 534"/>
                <a:gd name="T9" fmla="*/ 33 h 774"/>
                <a:gd name="T10" fmla="*/ 27 w 534"/>
                <a:gd name="T11" fmla="*/ 36 h 774"/>
                <a:gd name="T12" fmla="*/ 30 w 534"/>
                <a:gd name="T13" fmla="*/ 38 h 774"/>
                <a:gd name="T14" fmla="*/ 29 w 534"/>
                <a:gd name="T15" fmla="*/ 40 h 774"/>
                <a:gd name="T16" fmla="*/ 25 w 534"/>
                <a:gd name="T17" fmla="*/ 40 h 774"/>
                <a:gd name="T18" fmla="*/ 23 w 534"/>
                <a:gd name="T19" fmla="*/ 42 h 774"/>
                <a:gd name="T20" fmla="*/ 22 w 534"/>
                <a:gd name="T21" fmla="*/ 47 h 774"/>
                <a:gd name="T22" fmla="*/ 22 w 534"/>
                <a:gd name="T23" fmla="*/ 51 h 774"/>
                <a:gd name="T24" fmla="*/ 22 w 534"/>
                <a:gd name="T25" fmla="*/ 54 h 774"/>
                <a:gd name="T26" fmla="*/ 21 w 534"/>
                <a:gd name="T27" fmla="*/ 56 h 774"/>
                <a:gd name="T28" fmla="*/ 19 w 534"/>
                <a:gd name="T29" fmla="*/ 58 h 774"/>
                <a:gd name="T30" fmla="*/ 20 w 534"/>
                <a:gd name="T31" fmla="*/ 59 h 774"/>
                <a:gd name="T32" fmla="*/ 19 w 534"/>
                <a:gd name="T33" fmla="*/ 62 h 774"/>
                <a:gd name="T34" fmla="*/ 19 w 534"/>
                <a:gd name="T35" fmla="*/ 64 h 774"/>
                <a:gd name="T36" fmla="*/ 20 w 534"/>
                <a:gd name="T37" fmla="*/ 66 h 774"/>
                <a:gd name="T38" fmla="*/ 17 w 534"/>
                <a:gd name="T39" fmla="*/ 66 h 774"/>
                <a:gd name="T40" fmla="*/ 16 w 534"/>
                <a:gd name="T41" fmla="*/ 65 h 774"/>
                <a:gd name="T42" fmla="*/ 13 w 534"/>
                <a:gd name="T43" fmla="*/ 65 h 774"/>
                <a:gd name="T44" fmla="*/ 11 w 534"/>
                <a:gd name="T45" fmla="*/ 65 h 774"/>
                <a:gd name="T46" fmla="*/ 8 w 534"/>
                <a:gd name="T47" fmla="*/ 65 h 774"/>
                <a:gd name="T48" fmla="*/ 8 w 534"/>
                <a:gd name="T49" fmla="*/ 64 h 774"/>
                <a:gd name="T50" fmla="*/ 5 w 534"/>
                <a:gd name="T51" fmla="*/ 65 h 774"/>
                <a:gd name="T52" fmla="*/ 3 w 534"/>
                <a:gd name="T53" fmla="*/ 65 h 774"/>
                <a:gd name="T54" fmla="*/ 0 w 534"/>
                <a:gd name="T55" fmla="*/ 64 h 774"/>
                <a:gd name="T56" fmla="*/ 0 w 534"/>
                <a:gd name="T57" fmla="*/ 62 h 774"/>
                <a:gd name="T58" fmla="*/ 3 w 534"/>
                <a:gd name="T59" fmla="*/ 60 h 774"/>
                <a:gd name="T60" fmla="*/ 6 w 534"/>
                <a:gd name="T61" fmla="*/ 57 h 774"/>
                <a:gd name="T62" fmla="*/ 8 w 534"/>
                <a:gd name="T63" fmla="*/ 50 h 774"/>
                <a:gd name="T64" fmla="*/ 6 w 534"/>
                <a:gd name="T65" fmla="*/ 45 h 774"/>
                <a:gd name="T66" fmla="*/ 8 w 534"/>
                <a:gd name="T67" fmla="*/ 41 h 774"/>
                <a:gd name="T68" fmla="*/ 9 w 534"/>
                <a:gd name="T69" fmla="*/ 38 h 774"/>
                <a:gd name="T70" fmla="*/ 10 w 534"/>
                <a:gd name="T71" fmla="*/ 36 h 774"/>
                <a:gd name="T72" fmla="*/ 12 w 534"/>
                <a:gd name="T73" fmla="*/ 33 h 774"/>
                <a:gd name="T74" fmla="*/ 14 w 534"/>
                <a:gd name="T75" fmla="*/ 29 h 774"/>
                <a:gd name="T76" fmla="*/ 16 w 534"/>
                <a:gd name="T77" fmla="*/ 26 h 774"/>
                <a:gd name="T78" fmla="*/ 16 w 534"/>
                <a:gd name="T79" fmla="*/ 24 h 774"/>
                <a:gd name="T80" fmla="*/ 16 w 534"/>
                <a:gd name="T81" fmla="*/ 21 h 774"/>
                <a:gd name="T82" fmla="*/ 13 w 534"/>
                <a:gd name="T83" fmla="*/ 19 h 774"/>
                <a:gd name="T84" fmla="*/ 14 w 534"/>
                <a:gd name="T85" fmla="*/ 10 h 774"/>
                <a:gd name="T86" fmla="*/ 14 w 534"/>
                <a:gd name="T87" fmla="*/ 7 h 774"/>
                <a:gd name="T88" fmla="*/ 8 w 534"/>
                <a:gd name="T89" fmla="*/ 7 h 774"/>
                <a:gd name="T90" fmla="*/ 7 w 534"/>
                <a:gd name="T91" fmla="*/ 3 h 774"/>
                <a:gd name="T92" fmla="*/ 11 w 534"/>
                <a:gd name="T93" fmla="*/ 1 h 774"/>
                <a:gd name="T94" fmla="*/ 12 w 534"/>
                <a:gd name="T95" fmla="*/ 0 h 774"/>
                <a:gd name="T96" fmla="*/ 16 w 534"/>
                <a:gd name="T97" fmla="*/ 2 h 774"/>
                <a:gd name="T98" fmla="*/ 20 w 534"/>
                <a:gd name="T99" fmla="*/ 2 h 774"/>
                <a:gd name="T100" fmla="*/ 23 w 534"/>
                <a:gd name="T101" fmla="*/ 3 h 774"/>
                <a:gd name="T102" fmla="*/ 23 w 534"/>
                <a:gd name="T103" fmla="*/ 10 h 774"/>
                <a:gd name="T104" fmla="*/ 29 w 534"/>
                <a:gd name="T105" fmla="*/ 12 h 774"/>
                <a:gd name="T106" fmla="*/ 35 w 534"/>
                <a:gd name="T107" fmla="*/ 12 h 774"/>
                <a:gd name="T108" fmla="*/ 38 w 534"/>
                <a:gd name="T109" fmla="*/ 17 h 774"/>
                <a:gd name="T110" fmla="*/ 40 w 534"/>
                <a:gd name="T111" fmla="*/ 19 h 774"/>
                <a:gd name="T112" fmla="*/ 44 w 534"/>
                <a:gd name="T113" fmla="*/ 23 h 774"/>
                <a:gd name="T114" fmla="*/ 44 w 534"/>
                <a:gd name="T115" fmla="*/ 30 h 774"/>
                <a:gd name="T116" fmla="*/ 46 w 534"/>
                <a:gd name="T117" fmla="*/ 36 h 774"/>
                <a:gd name="T118" fmla="*/ 41 w 534"/>
                <a:gd name="T119" fmla="*/ 37 h 77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34"/>
                <a:gd name="T181" fmla="*/ 0 h 774"/>
                <a:gd name="T182" fmla="*/ 534 w 534"/>
                <a:gd name="T183" fmla="*/ 774 h 77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34" h="774">
                  <a:moveTo>
                    <a:pt x="462" y="426"/>
                  </a:moveTo>
                  <a:lnTo>
                    <a:pt x="462" y="414"/>
                  </a:lnTo>
                  <a:lnTo>
                    <a:pt x="450" y="402"/>
                  </a:lnTo>
                  <a:lnTo>
                    <a:pt x="444" y="396"/>
                  </a:lnTo>
                  <a:lnTo>
                    <a:pt x="420" y="396"/>
                  </a:lnTo>
                  <a:lnTo>
                    <a:pt x="408" y="390"/>
                  </a:lnTo>
                  <a:lnTo>
                    <a:pt x="402" y="366"/>
                  </a:lnTo>
                  <a:lnTo>
                    <a:pt x="390" y="354"/>
                  </a:lnTo>
                  <a:lnTo>
                    <a:pt x="384" y="336"/>
                  </a:lnTo>
                  <a:lnTo>
                    <a:pt x="378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8" y="348"/>
                  </a:lnTo>
                  <a:lnTo>
                    <a:pt x="360" y="354"/>
                  </a:lnTo>
                  <a:lnTo>
                    <a:pt x="360" y="390"/>
                  </a:lnTo>
                  <a:lnTo>
                    <a:pt x="348" y="390"/>
                  </a:lnTo>
                  <a:lnTo>
                    <a:pt x="342" y="384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90"/>
                  </a:lnTo>
                  <a:lnTo>
                    <a:pt x="312" y="402"/>
                  </a:lnTo>
                  <a:lnTo>
                    <a:pt x="306" y="420"/>
                  </a:lnTo>
                  <a:lnTo>
                    <a:pt x="324" y="414"/>
                  </a:lnTo>
                  <a:lnTo>
                    <a:pt x="330" y="414"/>
                  </a:lnTo>
                  <a:lnTo>
                    <a:pt x="336" y="420"/>
                  </a:lnTo>
                  <a:lnTo>
                    <a:pt x="336" y="432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6"/>
                  </a:lnTo>
                  <a:lnTo>
                    <a:pt x="318" y="456"/>
                  </a:lnTo>
                  <a:lnTo>
                    <a:pt x="300" y="456"/>
                  </a:lnTo>
                  <a:lnTo>
                    <a:pt x="288" y="462"/>
                  </a:lnTo>
                  <a:lnTo>
                    <a:pt x="276" y="462"/>
                  </a:lnTo>
                  <a:lnTo>
                    <a:pt x="270" y="462"/>
                  </a:lnTo>
                  <a:lnTo>
                    <a:pt x="270" y="468"/>
                  </a:lnTo>
                  <a:lnTo>
                    <a:pt x="252" y="468"/>
                  </a:lnTo>
                  <a:lnTo>
                    <a:pt x="258" y="480"/>
                  </a:lnTo>
                  <a:lnTo>
                    <a:pt x="258" y="492"/>
                  </a:lnTo>
                  <a:lnTo>
                    <a:pt x="258" y="498"/>
                  </a:lnTo>
                  <a:lnTo>
                    <a:pt x="258" y="510"/>
                  </a:lnTo>
                  <a:lnTo>
                    <a:pt x="252" y="540"/>
                  </a:lnTo>
                  <a:lnTo>
                    <a:pt x="246" y="564"/>
                  </a:lnTo>
                  <a:lnTo>
                    <a:pt x="246" y="570"/>
                  </a:lnTo>
                  <a:lnTo>
                    <a:pt x="252" y="576"/>
                  </a:lnTo>
                  <a:lnTo>
                    <a:pt x="246" y="582"/>
                  </a:lnTo>
                  <a:lnTo>
                    <a:pt x="252" y="600"/>
                  </a:lnTo>
                  <a:lnTo>
                    <a:pt x="258" y="606"/>
                  </a:lnTo>
                  <a:lnTo>
                    <a:pt x="258" y="612"/>
                  </a:lnTo>
                  <a:lnTo>
                    <a:pt x="252" y="618"/>
                  </a:lnTo>
                  <a:lnTo>
                    <a:pt x="246" y="624"/>
                  </a:lnTo>
                  <a:lnTo>
                    <a:pt x="246" y="630"/>
                  </a:lnTo>
                  <a:lnTo>
                    <a:pt x="246" y="636"/>
                  </a:lnTo>
                  <a:lnTo>
                    <a:pt x="240" y="642"/>
                  </a:lnTo>
                  <a:lnTo>
                    <a:pt x="234" y="654"/>
                  </a:lnTo>
                  <a:lnTo>
                    <a:pt x="228" y="654"/>
                  </a:lnTo>
                  <a:lnTo>
                    <a:pt x="222" y="660"/>
                  </a:lnTo>
                  <a:lnTo>
                    <a:pt x="216" y="666"/>
                  </a:lnTo>
                  <a:lnTo>
                    <a:pt x="210" y="666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22" y="684"/>
                  </a:lnTo>
                  <a:lnTo>
                    <a:pt x="222" y="690"/>
                  </a:lnTo>
                  <a:lnTo>
                    <a:pt x="222" y="696"/>
                  </a:lnTo>
                  <a:lnTo>
                    <a:pt x="222" y="702"/>
                  </a:lnTo>
                  <a:lnTo>
                    <a:pt x="216" y="708"/>
                  </a:lnTo>
                  <a:lnTo>
                    <a:pt x="210" y="720"/>
                  </a:lnTo>
                  <a:lnTo>
                    <a:pt x="216" y="732"/>
                  </a:lnTo>
                  <a:lnTo>
                    <a:pt x="210" y="732"/>
                  </a:lnTo>
                  <a:lnTo>
                    <a:pt x="216" y="738"/>
                  </a:lnTo>
                  <a:lnTo>
                    <a:pt x="216" y="744"/>
                  </a:lnTo>
                  <a:lnTo>
                    <a:pt x="222" y="750"/>
                  </a:lnTo>
                  <a:lnTo>
                    <a:pt x="228" y="756"/>
                  </a:lnTo>
                  <a:lnTo>
                    <a:pt x="222" y="762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04" y="762"/>
                  </a:lnTo>
                  <a:lnTo>
                    <a:pt x="198" y="762"/>
                  </a:lnTo>
                  <a:lnTo>
                    <a:pt x="192" y="762"/>
                  </a:lnTo>
                  <a:lnTo>
                    <a:pt x="186" y="756"/>
                  </a:lnTo>
                  <a:lnTo>
                    <a:pt x="180" y="750"/>
                  </a:lnTo>
                  <a:lnTo>
                    <a:pt x="180" y="744"/>
                  </a:lnTo>
                  <a:lnTo>
                    <a:pt x="174" y="744"/>
                  </a:lnTo>
                  <a:lnTo>
                    <a:pt x="156" y="750"/>
                  </a:lnTo>
                  <a:lnTo>
                    <a:pt x="150" y="750"/>
                  </a:lnTo>
                  <a:lnTo>
                    <a:pt x="144" y="750"/>
                  </a:lnTo>
                  <a:lnTo>
                    <a:pt x="138" y="750"/>
                  </a:lnTo>
                  <a:lnTo>
                    <a:pt x="138" y="744"/>
                  </a:lnTo>
                  <a:lnTo>
                    <a:pt x="132" y="744"/>
                  </a:lnTo>
                  <a:lnTo>
                    <a:pt x="120" y="744"/>
                  </a:lnTo>
                  <a:lnTo>
                    <a:pt x="114" y="738"/>
                  </a:lnTo>
                  <a:lnTo>
                    <a:pt x="108" y="744"/>
                  </a:lnTo>
                  <a:lnTo>
                    <a:pt x="102" y="744"/>
                  </a:lnTo>
                  <a:lnTo>
                    <a:pt x="96" y="744"/>
                  </a:lnTo>
                  <a:lnTo>
                    <a:pt x="96" y="738"/>
                  </a:lnTo>
                  <a:lnTo>
                    <a:pt x="96" y="744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44"/>
                  </a:lnTo>
                  <a:lnTo>
                    <a:pt x="72" y="750"/>
                  </a:lnTo>
                  <a:lnTo>
                    <a:pt x="66" y="750"/>
                  </a:lnTo>
                  <a:lnTo>
                    <a:pt x="60" y="750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0"/>
                  </a:lnTo>
                  <a:lnTo>
                    <a:pt x="30" y="750"/>
                  </a:lnTo>
                  <a:lnTo>
                    <a:pt x="24" y="744"/>
                  </a:lnTo>
                  <a:lnTo>
                    <a:pt x="18" y="738"/>
                  </a:lnTo>
                  <a:lnTo>
                    <a:pt x="6" y="738"/>
                  </a:lnTo>
                  <a:lnTo>
                    <a:pt x="0" y="732"/>
                  </a:lnTo>
                  <a:lnTo>
                    <a:pt x="0" y="726"/>
                  </a:lnTo>
                  <a:lnTo>
                    <a:pt x="0" y="720"/>
                  </a:lnTo>
                  <a:lnTo>
                    <a:pt x="6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8" y="702"/>
                  </a:lnTo>
                  <a:lnTo>
                    <a:pt x="24" y="696"/>
                  </a:lnTo>
                  <a:lnTo>
                    <a:pt x="30" y="696"/>
                  </a:lnTo>
                  <a:lnTo>
                    <a:pt x="48" y="690"/>
                  </a:lnTo>
                  <a:lnTo>
                    <a:pt x="54" y="678"/>
                  </a:lnTo>
                  <a:lnTo>
                    <a:pt x="66" y="672"/>
                  </a:lnTo>
                  <a:lnTo>
                    <a:pt x="66" y="654"/>
                  </a:lnTo>
                  <a:lnTo>
                    <a:pt x="72" y="636"/>
                  </a:lnTo>
                  <a:lnTo>
                    <a:pt x="72" y="612"/>
                  </a:lnTo>
                  <a:lnTo>
                    <a:pt x="84" y="594"/>
                  </a:lnTo>
                  <a:lnTo>
                    <a:pt x="90" y="576"/>
                  </a:lnTo>
                  <a:lnTo>
                    <a:pt x="96" y="552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72" y="522"/>
                  </a:lnTo>
                  <a:lnTo>
                    <a:pt x="78" y="510"/>
                  </a:lnTo>
                  <a:lnTo>
                    <a:pt x="78" y="504"/>
                  </a:lnTo>
                  <a:lnTo>
                    <a:pt x="84" y="480"/>
                  </a:lnTo>
                  <a:lnTo>
                    <a:pt x="90" y="468"/>
                  </a:lnTo>
                  <a:lnTo>
                    <a:pt x="90" y="456"/>
                  </a:lnTo>
                  <a:lnTo>
                    <a:pt x="96" y="456"/>
                  </a:lnTo>
                  <a:lnTo>
                    <a:pt x="96" y="444"/>
                  </a:lnTo>
                  <a:lnTo>
                    <a:pt x="102" y="438"/>
                  </a:lnTo>
                  <a:lnTo>
                    <a:pt x="102" y="432"/>
                  </a:lnTo>
                  <a:lnTo>
                    <a:pt x="108" y="432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14" y="408"/>
                  </a:lnTo>
                  <a:lnTo>
                    <a:pt x="114" y="402"/>
                  </a:lnTo>
                  <a:lnTo>
                    <a:pt x="126" y="384"/>
                  </a:lnTo>
                  <a:lnTo>
                    <a:pt x="138" y="378"/>
                  </a:lnTo>
                  <a:lnTo>
                    <a:pt x="138" y="372"/>
                  </a:lnTo>
                  <a:lnTo>
                    <a:pt x="150" y="354"/>
                  </a:lnTo>
                  <a:lnTo>
                    <a:pt x="156" y="342"/>
                  </a:lnTo>
                  <a:lnTo>
                    <a:pt x="162" y="330"/>
                  </a:lnTo>
                  <a:lnTo>
                    <a:pt x="168" y="324"/>
                  </a:lnTo>
                  <a:lnTo>
                    <a:pt x="168" y="312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74" y="294"/>
                  </a:lnTo>
                  <a:lnTo>
                    <a:pt x="180" y="288"/>
                  </a:lnTo>
                  <a:lnTo>
                    <a:pt x="180" y="276"/>
                  </a:lnTo>
                  <a:lnTo>
                    <a:pt x="186" y="276"/>
                  </a:lnTo>
                  <a:lnTo>
                    <a:pt x="186" y="270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40"/>
                  </a:lnTo>
                  <a:lnTo>
                    <a:pt x="168" y="240"/>
                  </a:lnTo>
                  <a:lnTo>
                    <a:pt x="162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68" y="216"/>
                  </a:lnTo>
                  <a:lnTo>
                    <a:pt x="168" y="180"/>
                  </a:lnTo>
                  <a:lnTo>
                    <a:pt x="168" y="144"/>
                  </a:lnTo>
                  <a:lnTo>
                    <a:pt x="162" y="120"/>
                  </a:lnTo>
                  <a:lnTo>
                    <a:pt x="162" y="108"/>
                  </a:lnTo>
                  <a:lnTo>
                    <a:pt x="168" y="102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44" y="84"/>
                  </a:lnTo>
                  <a:lnTo>
                    <a:pt x="126" y="84"/>
                  </a:lnTo>
                  <a:lnTo>
                    <a:pt x="108" y="78"/>
                  </a:lnTo>
                  <a:lnTo>
                    <a:pt x="96" y="78"/>
                  </a:lnTo>
                  <a:lnTo>
                    <a:pt x="78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8" y="36"/>
                  </a:lnTo>
                  <a:lnTo>
                    <a:pt x="96" y="24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56" y="0"/>
                  </a:lnTo>
                  <a:lnTo>
                    <a:pt x="156" y="6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18"/>
                  </a:lnTo>
                  <a:lnTo>
                    <a:pt x="198" y="18"/>
                  </a:lnTo>
                  <a:lnTo>
                    <a:pt x="210" y="18"/>
                  </a:lnTo>
                  <a:lnTo>
                    <a:pt x="222" y="18"/>
                  </a:lnTo>
                  <a:lnTo>
                    <a:pt x="234" y="12"/>
                  </a:lnTo>
                  <a:lnTo>
                    <a:pt x="252" y="18"/>
                  </a:lnTo>
                  <a:lnTo>
                    <a:pt x="252" y="24"/>
                  </a:lnTo>
                  <a:lnTo>
                    <a:pt x="258" y="36"/>
                  </a:lnTo>
                  <a:lnTo>
                    <a:pt x="258" y="66"/>
                  </a:lnTo>
                  <a:lnTo>
                    <a:pt x="252" y="84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82" y="126"/>
                  </a:lnTo>
                  <a:lnTo>
                    <a:pt x="294" y="132"/>
                  </a:lnTo>
                  <a:lnTo>
                    <a:pt x="306" y="138"/>
                  </a:lnTo>
                  <a:lnTo>
                    <a:pt x="324" y="138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60" y="144"/>
                  </a:lnTo>
                  <a:lnTo>
                    <a:pt x="396" y="144"/>
                  </a:lnTo>
                  <a:lnTo>
                    <a:pt x="408" y="150"/>
                  </a:lnTo>
                  <a:lnTo>
                    <a:pt x="414" y="180"/>
                  </a:lnTo>
                  <a:lnTo>
                    <a:pt x="420" y="186"/>
                  </a:lnTo>
                  <a:lnTo>
                    <a:pt x="426" y="192"/>
                  </a:lnTo>
                  <a:lnTo>
                    <a:pt x="426" y="198"/>
                  </a:lnTo>
                  <a:lnTo>
                    <a:pt x="432" y="198"/>
                  </a:lnTo>
                  <a:lnTo>
                    <a:pt x="438" y="210"/>
                  </a:lnTo>
                  <a:lnTo>
                    <a:pt x="450" y="216"/>
                  </a:lnTo>
                  <a:lnTo>
                    <a:pt x="468" y="228"/>
                  </a:lnTo>
                  <a:lnTo>
                    <a:pt x="492" y="234"/>
                  </a:lnTo>
                  <a:lnTo>
                    <a:pt x="492" y="246"/>
                  </a:lnTo>
                  <a:lnTo>
                    <a:pt x="492" y="270"/>
                  </a:lnTo>
                  <a:lnTo>
                    <a:pt x="486" y="294"/>
                  </a:lnTo>
                  <a:lnTo>
                    <a:pt x="486" y="312"/>
                  </a:lnTo>
                  <a:lnTo>
                    <a:pt x="486" y="330"/>
                  </a:lnTo>
                  <a:lnTo>
                    <a:pt x="492" y="348"/>
                  </a:lnTo>
                  <a:lnTo>
                    <a:pt x="498" y="360"/>
                  </a:lnTo>
                  <a:lnTo>
                    <a:pt x="510" y="366"/>
                  </a:lnTo>
                  <a:lnTo>
                    <a:pt x="516" y="384"/>
                  </a:lnTo>
                  <a:lnTo>
                    <a:pt x="522" y="414"/>
                  </a:lnTo>
                  <a:lnTo>
                    <a:pt x="528" y="414"/>
                  </a:lnTo>
                  <a:lnTo>
                    <a:pt x="534" y="426"/>
                  </a:lnTo>
                  <a:lnTo>
                    <a:pt x="528" y="432"/>
                  </a:lnTo>
                  <a:lnTo>
                    <a:pt x="468" y="426"/>
                  </a:lnTo>
                  <a:lnTo>
                    <a:pt x="462" y="4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3" name="Freeform 8">
              <a:extLst>
                <a:ext uri="{FF2B5EF4-FFF2-40B4-BE49-F238E27FC236}">
                  <a16:creationId xmlns:a16="http://schemas.microsoft.com/office/drawing/2014/main" id="{D473457C-872E-4E31-888A-D60FD52063A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98175" y="4307054"/>
              <a:ext cx="295177" cy="348894"/>
            </a:xfrm>
            <a:custGeom>
              <a:avLst/>
              <a:gdLst>
                <a:gd name="T0" fmla="*/ 3 w 552"/>
                <a:gd name="T1" fmla="*/ 46 h 660"/>
                <a:gd name="T2" fmla="*/ 4 w 552"/>
                <a:gd name="T3" fmla="*/ 42 h 660"/>
                <a:gd name="T4" fmla="*/ 2 w 552"/>
                <a:gd name="T5" fmla="*/ 38 h 660"/>
                <a:gd name="T6" fmla="*/ 0 w 552"/>
                <a:gd name="T7" fmla="*/ 34 h 660"/>
                <a:gd name="T8" fmla="*/ 2 w 552"/>
                <a:gd name="T9" fmla="*/ 30 h 660"/>
                <a:gd name="T10" fmla="*/ 3 w 552"/>
                <a:gd name="T11" fmla="*/ 27 h 660"/>
                <a:gd name="T12" fmla="*/ 5 w 552"/>
                <a:gd name="T13" fmla="*/ 23 h 660"/>
                <a:gd name="T14" fmla="*/ 5 w 552"/>
                <a:gd name="T15" fmla="*/ 15 h 660"/>
                <a:gd name="T16" fmla="*/ 6 w 552"/>
                <a:gd name="T17" fmla="*/ 11 h 660"/>
                <a:gd name="T18" fmla="*/ 11 w 552"/>
                <a:gd name="T19" fmla="*/ 9 h 660"/>
                <a:gd name="T20" fmla="*/ 10 w 552"/>
                <a:gd name="T21" fmla="*/ 5 h 660"/>
                <a:gd name="T22" fmla="*/ 12 w 552"/>
                <a:gd name="T23" fmla="*/ 1 h 660"/>
                <a:gd name="T24" fmla="*/ 16 w 552"/>
                <a:gd name="T25" fmla="*/ 2 h 660"/>
                <a:gd name="T26" fmla="*/ 23 w 552"/>
                <a:gd name="T27" fmla="*/ 8 h 660"/>
                <a:gd name="T28" fmla="*/ 23 w 552"/>
                <a:gd name="T29" fmla="*/ 11 h 660"/>
                <a:gd name="T30" fmla="*/ 27 w 552"/>
                <a:gd name="T31" fmla="*/ 12 h 660"/>
                <a:gd name="T32" fmla="*/ 29 w 552"/>
                <a:gd name="T33" fmla="*/ 17 h 660"/>
                <a:gd name="T34" fmla="*/ 31 w 552"/>
                <a:gd name="T35" fmla="*/ 15 h 660"/>
                <a:gd name="T36" fmla="*/ 33 w 552"/>
                <a:gd name="T37" fmla="*/ 17 h 660"/>
                <a:gd name="T38" fmla="*/ 36 w 552"/>
                <a:gd name="T39" fmla="*/ 23 h 660"/>
                <a:gd name="T40" fmla="*/ 41 w 552"/>
                <a:gd name="T41" fmla="*/ 33 h 660"/>
                <a:gd name="T42" fmla="*/ 43 w 552"/>
                <a:gd name="T43" fmla="*/ 36 h 660"/>
                <a:gd name="T44" fmla="*/ 43 w 552"/>
                <a:gd name="T45" fmla="*/ 37 h 660"/>
                <a:gd name="T46" fmla="*/ 41 w 552"/>
                <a:gd name="T47" fmla="*/ 35 h 660"/>
                <a:gd name="T48" fmla="*/ 43 w 552"/>
                <a:gd name="T49" fmla="*/ 37 h 660"/>
                <a:gd name="T50" fmla="*/ 44 w 552"/>
                <a:gd name="T51" fmla="*/ 39 h 660"/>
                <a:gd name="T52" fmla="*/ 47 w 552"/>
                <a:gd name="T53" fmla="*/ 41 h 660"/>
                <a:gd name="T54" fmla="*/ 47 w 552"/>
                <a:gd name="T55" fmla="*/ 44 h 660"/>
                <a:gd name="T56" fmla="*/ 48 w 552"/>
                <a:gd name="T57" fmla="*/ 46 h 660"/>
                <a:gd name="T58" fmla="*/ 47 w 552"/>
                <a:gd name="T59" fmla="*/ 46 h 660"/>
                <a:gd name="T60" fmla="*/ 44 w 552"/>
                <a:gd name="T61" fmla="*/ 46 h 660"/>
                <a:gd name="T62" fmla="*/ 47 w 552"/>
                <a:gd name="T63" fmla="*/ 47 h 660"/>
                <a:gd name="T64" fmla="*/ 47 w 552"/>
                <a:gd name="T65" fmla="*/ 49 h 660"/>
                <a:gd name="T66" fmla="*/ 47 w 552"/>
                <a:gd name="T67" fmla="*/ 52 h 660"/>
                <a:gd name="T68" fmla="*/ 46 w 552"/>
                <a:gd name="T69" fmla="*/ 53 h 660"/>
                <a:gd name="T70" fmla="*/ 43 w 552"/>
                <a:gd name="T71" fmla="*/ 54 h 660"/>
                <a:gd name="T72" fmla="*/ 37 w 552"/>
                <a:gd name="T73" fmla="*/ 54 h 660"/>
                <a:gd name="T74" fmla="*/ 30 w 552"/>
                <a:gd name="T75" fmla="*/ 54 h 660"/>
                <a:gd name="T76" fmla="*/ 29 w 552"/>
                <a:gd name="T77" fmla="*/ 53 h 660"/>
                <a:gd name="T78" fmla="*/ 27 w 552"/>
                <a:gd name="T79" fmla="*/ 53 h 660"/>
                <a:gd name="T80" fmla="*/ 29 w 552"/>
                <a:gd name="T81" fmla="*/ 53 h 660"/>
                <a:gd name="T82" fmla="*/ 28 w 552"/>
                <a:gd name="T83" fmla="*/ 54 h 660"/>
                <a:gd name="T84" fmla="*/ 24 w 552"/>
                <a:gd name="T85" fmla="*/ 54 h 660"/>
                <a:gd name="T86" fmla="*/ 20 w 552"/>
                <a:gd name="T87" fmla="*/ 55 h 660"/>
                <a:gd name="T88" fmla="*/ 15 w 552"/>
                <a:gd name="T89" fmla="*/ 56 h 660"/>
                <a:gd name="T90" fmla="*/ 12 w 552"/>
                <a:gd name="T91" fmla="*/ 56 h 660"/>
                <a:gd name="T92" fmla="*/ 11 w 552"/>
                <a:gd name="T93" fmla="*/ 57 h 660"/>
                <a:gd name="T94" fmla="*/ 9 w 552"/>
                <a:gd name="T95" fmla="*/ 57 h 660"/>
                <a:gd name="T96" fmla="*/ 7 w 552"/>
                <a:gd name="T97" fmla="*/ 56 h 660"/>
                <a:gd name="T98" fmla="*/ 5 w 552"/>
                <a:gd name="T99" fmla="*/ 55 h 660"/>
                <a:gd name="T100" fmla="*/ 7 w 552"/>
                <a:gd name="T101" fmla="*/ 54 h 660"/>
                <a:gd name="T102" fmla="*/ 5 w 552"/>
                <a:gd name="T103" fmla="*/ 54 h 660"/>
                <a:gd name="T104" fmla="*/ 5 w 552"/>
                <a:gd name="T105" fmla="*/ 53 h 660"/>
                <a:gd name="T106" fmla="*/ 4 w 552"/>
                <a:gd name="T107" fmla="*/ 49 h 660"/>
                <a:gd name="T108" fmla="*/ 45 w 552"/>
                <a:gd name="T109" fmla="*/ 38 h 66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52"/>
                <a:gd name="T166" fmla="*/ 0 h 660"/>
                <a:gd name="T167" fmla="*/ 552 w 552"/>
                <a:gd name="T168" fmla="*/ 660 h 66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52" h="660">
                  <a:moveTo>
                    <a:pt x="36" y="564"/>
                  </a:moveTo>
                  <a:lnTo>
                    <a:pt x="36" y="558"/>
                  </a:lnTo>
                  <a:lnTo>
                    <a:pt x="36" y="552"/>
                  </a:lnTo>
                  <a:lnTo>
                    <a:pt x="42" y="546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34"/>
                  </a:lnTo>
                  <a:lnTo>
                    <a:pt x="36" y="528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54" y="510"/>
                  </a:lnTo>
                  <a:lnTo>
                    <a:pt x="54" y="504"/>
                  </a:lnTo>
                  <a:lnTo>
                    <a:pt x="54" y="498"/>
                  </a:lnTo>
                  <a:lnTo>
                    <a:pt x="48" y="492"/>
                  </a:lnTo>
                  <a:lnTo>
                    <a:pt x="42" y="486"/>
                  </a:lnTo>
                  <a:lnTo>
                    <a:pt x="42" y="480"/>
                  </a:lnTo>
                  <a:lnTo>
                    <a:pt x="42" y="468"/>
                  </a:lnTo>
                  <a:lnTo>
                    <a:pt x="30" y="456"/>
                  </a:lnTo>
                  <a:lnTo>
                    <a:pt x="30" y="450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2"/>
                  </a:lnTo>
                  <a:lnTo>
                    <a:pt x="18" y="426"/>
                  </a:lnTo>
                  <a:lnTo>
                    <a:pt x="24" y="420"/>
                  </a:lnTo>
                  <a:lnTo>
                    <a:pt x="18" y="414"/>
                  </a:lnTo>
                  <a:lnTo>
                    <a:pt x="12" y="408"/>
                  </a:lnTo>
                  <a:lnTo>
                    <a:pt x="12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6" y="384"/>
                  </a:lnTo>
                  <a:lnTo>
                    <a:pt x="12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8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36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54" y="270"/>
                  </a:lnTo>
                  <a:lnTo>
                    <a:pt x="48" y="264"/>
                  </a:lnTo>
                  <a:lnTo>
                    <a:pt x="42" y="246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8" y="204"/>
                  </a:lnTo>
                  <a:lnTo>
                    <a:pt x="54" y="174"/>
                  </a:lnTo>
                  <a:lnTo>
                    <a:pt x="54" y="162"/>
                  </a:lnTo>
                  <a:lnTo>
                    <a:pt x="54" y="156"/>
                  </a:lnTo>
                  <a:lnTo>
                    <a:pt x="54" y="144"/>
                  </a:lnTo>
                  <a:lnTo>
                    <a:pt x="48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72" y="126"/>
                  </a:lnTo>
                  <a:lnTo>
                    <a:pt x="84" y="126"/>
                  </a:lnTo>
                  <a:lnTo>
                    <a:pt x="96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2" y="84"/>
                  </a:lnTo>
                  <a:lnTo>
                    <a:pt x="126" y="78"/>
                  </a:lnTo>
                  <a:lnTo>
                    <a:pt x="120" y="78"/>
                  </a:lnTo>
                  <a:lnTo>
                    <a:pt x="102" y="84"/>
                  </a:lnTo>
                  <a:lnTo>
                    <a:pt x="108" y="66"/>
                  </a:lnTo>
                  <a:lnTo>
                    <a:pt x="114" y="54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8" y="4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6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74" y="0"/>
                  </a:lnTo>
                  <a:lnTo>
                    <a:pt x="180" y="0"/>
                  </a:lnTo>
                  <a:lnTo>
                    <a:pt x="186" y="18"/>
                  </a:lnTo>
                  <a:lnTo>
                    <a:pt x="198" y="30"/>
                  </a:lnTo>
                  <a:lnTo>
                    <a:pt x="204" y="54"/>
                  </a:lnTo>
                  <a:lnTo>
                    <a:pt x="216" y="60"/>
                  </a:lnTo>
                  <a:lnTo>
                    <a:pt x="240" y="60"/>
                  </a:lnTo>
                  <a:lnTo>
                    <a:pt x="246" y="66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2" y="120"/>
                  </a:lnTo>
                  <a:lnTo>
                    <a:pt x="25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6" y="126"/>
                  </a:lnTo>
                  <a:lnTo>
                    <a:pt x="282" y="120"/>
                  </a:lnTo>
                  <a:lnTo>
                    <a:pt x="282" y="126"/>
                  </a:lnTo>
                  <a:lnTo>
                    <a:pt x="294" y="126"/>
                  </a:lnTo>
                  <a:lnTo>
                    <a:pt x="300" y="132"/>
                  </a:lnTo>
                  <a:lnTo>
                    <a:pt x="306" y="144"/>
                  </a:lnTo>
                  <a:lnTo>
                    <a:pt x="312" y="144"/>
                  </a:lnTo>
                  <a:lnTo>
                    <a:pt x="312" y="150"/>
                  </a:lnTo>
                  <a:lnTo>
                    <a:pt x="312" y="162"/>
                  </a:lnTo>
                  <a:lnTo>
                    <a:pt x="312" y="174"/>
                  </a:lnTo>
                  <a:lnTo>
                    <a:pt x="324" y="180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30" y="192"/>
                  </a:lnTo>
                  <a:lnTo>
                    <a:pt x="336" y="198"/>
                  </a:lnTo>
                  <a:lnTo>
                    <a:pt x="342" y="192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54" y="180"/>
                  </a:lnTo>
                  <a:lnTo>
                    <a:pt x="354" y="174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84" y="192"/>
                  </a:lnTo>
                  <a:lnTo>
                    <a:pt x="390" y="204"/>
                  </a:lnTo>
                  <a:lnTo>
                    <a:pt x="390" y="210"/>
                  </a:lnTo>
                  <a:lnTo>
                    <a:pt x="390" y="216"/>
                  </a:lnTo>
                  <a:lnTo>
                    <a:pt x="384" y="234"/>
                  </a:lnTo>
                  <a:lnTo>
                    <a:pt x="390" y="240"/>
                  </a:lnTo>
                  <a:lnTo>
                    <a:pt x="408" y="252"/>
                  </a:lnTo>
                  <a:lnTo>
                    <a:pt x="414" y="264"/>
                  </a:lnTo>
                  <a:lnTo>
                    <a:pt x="408" y="300"/>
                  </a:lnTo>
                  <a:lnTo>
                    <a:pt x="414" y="312"/>
                  </a:lnTo>
                  <a:lnTo>
                    <a:pt x="426" y="336"/>
                  </a:lnTo>
                  <a:lnTo>
                    <a:pt x="438" y="354"/>
                  </a:lnTo>
                  <a:lnTo>
                    <a:pt x="444" y="366"/>
                  </a:lnTo>
                  <a:lnTo>
                    <a:pt x="456" y="366"/>
                  </a:lnTo>
                  <a:lnTo>
                    <a:pt x="474" y="378"/>
                  </a:lnTo>
                  <a:lnTo>
                    <a:pt x="474" y="384"/>
                  </a:lnTo>
                  <a:lnTo>
                    <a:pt x="480" y="390"/>
                  </a:lnTo>
                  <a:lnTo>
                    <a:pt x="486" y="396"/>
                  </a:lnTo>
                  <a:lnTo>
                    <a:pt x="486" y="402"/>
                  </a:lnTo>
                  <a:lnTo>
                    <a:pt x="480" y="408"/>
                  </a:lnTo>
                  <a:lnTo>
                    <a:pt x="486" y="408"/>
                  </a:lnTo>
                  <a:lnTo>
                    <a:pt x="486" y="414"/>
                  </a:lnTo>
                  <a:lnTo>
                    <a:pt x="492" y="414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32"/>
                  </a:lnTo>
                  <a:lnTo>
                    <a:pt x="498" y="438"/>
                  </a:lnTo>
                  <a:lnTo>
                    <a:pt x="492" y="432"/>
                  </a:lnTo>
                  <a:lnTo>
                    <a:pt x="486" y="426"/>
                  </a:lnTo>
                  <a:lnTo>
                    <a:pt x="486" y="420"/>
                  </a:lnTo>
                  <a:lnTo>
                    <a:pt x="486" y="414"/>
                  </a:lnTo>
                  <a:lnTo>
                    <a:pt x="480" y="414"/>
                  </a:lnTo>
                  <a:lnTo>
                    <a:pt x="480" y="408"/>
                  </a:lnTo>
                  <a:lnTo>
                    <a:pt x="474" y="408"/>
                  </a:lnTo>
                  <a:lnTo>
                    <a:pt x="468" y="408"/>
                  </a:lnTo>
                  <a:lnTo>
                    <a:pt x="468" y="402"/>
                  </a:lnTo>
                  <a:lnTo>
                    <a:pt x="462" y="402"/>
                  </a:lnTo>
                  <a:lnTo>
                    <a:pt x="462" y="408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80" y="426"/>
                  </a:lnTo>
                  <a:lnTo>
                    <a:pt x="486" y="426"/>
                  </a:lnTo>
                  <a:lnTo>
                    <a:pt x="486" y="432"/>
                  </a:lnTo>
                  <a:lnTo>
                    <a:pt x="492" y="438"/>
                  </a:lnTo>
                  <a:lnTo>
                    <a:pt x="498" y="438"/>
                  </a:lnTo>
                  <a:lnTo>
                    <a:pt x="504" y="444"/>
                  </a:lnTo>
                  <a:lnTo>
                    <a:pt x="510" y="444"/>
                  </a:lnTo>
                  <a:lnTo>
                    <a:pt x="510" y="450"/>
                  </a:lnTo>
                  <a:lnTo>
                    <a:pt x="510" y="456"/>
                  </a:lnTo>
                  <a:lnTo>
                    <a:pt x="516" y="456"/>
                  </a:lnTo>
                  <a:lnTo>
                    <a:pt x="516" y="462"/>
                  </a:lnTo>
                  <a:lnTo>
                    <a:pt x="522" y="462"/>
                  </a:lnTo>
                  <a:lnTo>
                    <a:pt x="522" y="468"/>
                  </a:lnTo>
                  <a:lnTo>
                    <a:pt x="528" y="468"/>
                  </a:lnTo>
                  <a:lnTo>
                    <a:pt x="534" y="468"/>
                  </a:lnTo>
                  <a:lnTo>
                    <a:pt x="534" y="474"/>
                  </a:lnTo>
                  <a:lnTo>
                    <a:pt x="540" y="474"/>
                  </a:lnTo>
                  <a:lnTo>
                    <a:pt x="540" y="480"/>
                  </a:lnTo>
                  <a:lnTo>
                    <a:pt x="546" y="486"/>
                  </a:lnTo>
                  <a:lnTo>
                    <a:pt x="546" y="492"/>
                  </a:lnTo>
                  <a:lnTo>
                    <a:pt x="546" y="498"/>
                  </a:lnTo>
                  <a:lnTo>
                    <a:pt x="546" y="504"/>
                  </a:lnTo>
                  <a:lnTo>
                    <a:pt x="540" y="504"/>
                  </a:lnTo>
                  <a:lnTo>
                    <a:pt x="546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10"/>
                  </a:lnTo>
                  <a:lnTo>
                    <a:pt x="552" y="516"/>
                  </a:lnTo>
                  <a:lnTo>
                    <a:pt x="552" y="522"/>
                  </a:lnTo>
                  <a:lnTo>
                    <a:pt x="552" y="528"/>
                  </a:lnTo>
                  <a:lnTo>
                    <a:pt x="552" y="534"/>
                  </a:lnTo>
                  <a:lnTo>
                    <a:pt x="552" y="540"/>
                  </a:lnTo>
                  <a:lnTo>
                    <a:pt x="546" y="540"/>
                  </a:lnTo>
                  <a:lnTo>
                    <a:pt x="546" y="546"/>
                  </a:lnTo>
                  <a:lnTo>
                    <a:pt x="546" y="540"/>
                  </a:lnTo>
                  <a:lnTo>
                    <a:pt x="546" y="534"/>
                  </a:lnTo>
                  <a:lnTo>
                    <a:pt x="540" y="534"/>
                  </a:lnTo>
                  <a:lnTo>
                    <a:pt x="540" y="528"/>
                  </a:lnTo>
                  <a:lnTo>
                    <a:pt x="534" y="528"/>
                  </a:lnTo>
                  <a:lnTo>
                    <a:pt x="528" y="528"/>
                  </a:lnTo>
                  <a:lnTo>
                    <a:pt x="522" y="528"/>
                  </a:lnTo>
                  <a:lnTo>
                    <a:pt x="516" y="528"/>
                  </a:lnTo>
                  <a:lnTo>
                    <a:pt x="510" y="528"/>
                  </a:lnTo>
                  <a:lnTo>
                    <a:pt x="510" y="534"/>
                  </a:lnTo>
                  <a:lnTo>
                    <a:pt x="510" y="528"/>
                  </a:lnTo>
                  <a:lnTo>
                    <a:pt x="516" y="528"/>
                  </a:lnTo>
                  <a:lnTo>
                    <a:pt x="522" y="528"/>
                  </a:lnTo>
                  <a:lnTo>
                    <a:pt x="528" y="528"/>
                  </a:lnTo>
                  <a:lnTo>
                    <a:pt x="534" y="534"/>
                  </a:lnTo>
                  <a:lnTo>
                    <a:pt x="540" y="534"/>
                  </a:lnTo>
                  <a:lnTo>
                    <a:pt x="540" y="540"/>
                  </a:lnTo>
                  <a:lnTo>
                    <a:pt x="540" y="546"/>
                  </a:lnTo>
                  <a:lnTo>
                    <a:pt x="546" y="546"/>
                  </a:lnTo>
                  <a:lnTo>
                    <a:pt x="546" y="552"/>
                  </a:lnTo>
                  <a:lnTo>
                    <a:pt x="552" y="552"/>
                  </a:lnTo>
                  <a:lnTo>
                    <a:pt x="552" y="558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0" y="576"/>
                  </a:lnTo>
                  <a:lnTo>
                    <a:pt x="540" y="582"/>
                  </a:lnTo>
                  <a:lnTo>
                    <a:pt x="540" y="588"/>
                  </a:lnTo>
                  <a:lnTo>
                    <a:pt x="534" y="594"/>
                  </a:lnTo>
                  <a:lnTo>
                    <a:pt x="534" y="600"/>
                  </a:lnTo>
                  <a:lnTo>
                    <a:pt x="528" y="600"/>
                  </a:lnTo>
                  <a:lnTo>
                    <a:pt x="522" y="594"/>
                  </a:lnTo>
                  <a:lnTo>
                    <a:pt x="528" y="600"/>
                  </a:lnTo>
                  <a:lnTo>
                    <a:pt x="534" y="600"/>
                  </a:lnTo>
                  <a:lnTo>
                    <a:pt x="534" y="606"/>
                  </a:lnTo>
                  <a:lnTo>
                    <a:pt x="528" y="606"/>
                  </a:lnTo>
                  <a:lnTo>
                    <a:pt x="528" y="612"/>
                  </a:lnTo>
                  <a:lnTo>
                    <a:pt x="522" y="612"/>
                  </a:lnTo>
                  <a:lnTo>
                    <a:pt x="522" y="618"/>
                  </a:lnTo>
                  <a:lnTo>
                    <a:pt x="522" y="624"/>
                  </a:lnTo>
                  <a:lnTo>
                    <a:pt x="510" y="624"/>
                  </a:lnTo>
                  <a:lnTo>
                    <a:pt x="498" y="624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0" y="624"/>
                  </a:lnTo>
                  <a:lnTo>
                    <a:pt x="474" y="624"/>
                  </a:lnTo>
                  <a:lnTo>
                    <a:pt x="468" y="618"/>
                  </a:lnTo>
                  <a:lnTo>
                    <a:pt x="456" y="618"/>
                  </a:lnTo>
                  <a:lnTo>
                    <a:pt x="450" y="618"/>
                  </a:lnTo>
                  <a:lnTo>
                    <a:pt x="426" y="618"/>
                  </a:lnTo>
                  <a:lnTo>
                    <a:pt x="420" y="618"/>
                  </a:lnTo>
                  <a:lnTo>
                    <a:pt x="414" y="618"/>
                  </a:lnTo>
                  <a:lnTo>
                    <a:pt x="408" y="618"/>
                  </a:lnTo>
                  <a:lnTo>
                    <a:pt x="396" y="618"/>
                  </a:lnTo>
                  <a:lnTo>
                    <a:pt x="366" y="618"/>
                  </a:lnTo>
                  <a:lnTo>
                    <a:pt x="348" y="624"/>
                  </a:lnTo>
                  <a:lnTo>
                    <a:pt x="342" y="624"/>
                  </a:lnTo>
                  <a:lnTo>
                    <a:pt x="342" y="618"/>
                  </a:lnTo>
                  <a:lnTo>
                    <a:pt x="336" y="618"/>
                  </a:lnTo>
                  <a:lnTo>
                    <a:pt x="336" y="612"/>
                  </a:lnTo>
                  <a:lnTo>
                    <a:pt x="342" y="612"/>
                  </a:lnTo>
                  <a:lnTo>
                    <a:pt x="348" y="612"/>
                  </a:lnTo>
                  <a:lnTo>
                    <a:pt x="342" y="612"/>
                  </a:lnTo>
                  <a:lnTo>
                    <a:pt x="336" y="612"/>
                  </a:lnTo>
                  <a:lnTo>
                    <a:pt x="336" y="606"/>
                  </a:lnTo>
                  <a:lnTo>
                    <a:pt x="330" y="606"/>
                  </a:lnTo>
                  <a:lnTo>
                    <a:pt x="330" y="600"/>
                  </a:lnTo>
                  <a:lnTo>
                    <a:pt x="324" y="600"/>
                  </a:lnTo>
                  <a:lnTo>
                    <a:pt x="324" y="606"/>
                  </a:lnTo>
                  <a:lnTo>
                    <a:pt x="318" y="606"/>
                  </a:lnTo>
                  <a:lnTo>
                    <a:pt x="318" y="612"/>
                  </a:lnTo>
                  <a:lnTo>
                    <a:pt x="312" y="612"/>
                  </a:lnTo>
                  <a:lnTo>
                    <a:pt x="306" y="606"/>
                  </a:lnTo>
                  <a:lnTo>
                    <a:pt x="306" y="612"/>
                  </a:lnTo>
                  <a:lnTo>
                    <a:pt x="312" y="612"/>
                  </a:lnTo>
                  <a:lnTo>
                    <a:pt x="318" y="612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30" y="606"/>
                  </a:lnTo>
                  <a:lnTo>
                    <a:pt x="336" y="612"/>
                  </a:lnTo>
                  <a:lnTo>
                    <a:pt x="336" y="618"/>
                  </a:lnTo>
                  <a:lnTo>
                    <a:pt x="330" y="618"/>
                  </a:lnTo>
                  <a:lnTo>
                    <a:pt x="336" y="618"/>
                  </a:lnTo>
                  <a:lnTo>
                    <a:pt x="336" y="624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288" y="624"/>
                  </a:lnTo>
                  <a:lnTo>
                    <a:pt x="282" y="624"/>
                  </a:lnTo>
                  <a:lnTo>
                    <a:pt x="270" y="630"/>
                  </a:lnTo>
                  <a:lnTo>
                    <a:pt x="264" y="630"/>
                  </a:lnTo>
                  <a:lnTo>
                    <a:pt x="258" y="630"/>
                  </a:lnTo>
                  <a:lnTo>
                    <a:pt x="252" y="630"/>
                  </a:lnTo>
                  <a:lnTo>
                    <a:pt x="246" y="630"/>
                  </a:lnTo>
                  <a:lnTo>
                    <a:pt x="240" y="630"/>
                  </a:lnTo>
                  <a:lnTo>
                    <a:pt x="228" y="636"/>
                  </a:lnTo>
                  <a:lnTo>
                    <a:pt x="222" y="636"/>
                  </a:lnTo>
                  <a:lnTo>
                    <a:pt x="210" y="636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42"/>
                  </a:lnTo>
                  <a:lnTo>
                    <a:pt x="186" y="642"/>
                  </a:lnTo>
                  <a:lnTo>
                    <a:pt x="180" y="642"/>
                  </a:lnTo>
                  <a:lnTo>
                    <a:pt x="168" y="642"/>
                  </a:lnTo>
                  <a:lnTo>
                    <a:pt x="162" y="642"/>
                  </a:lnTo>
                  <a:lnTo>
                    <a:pt x="162" y="648"/>
                  </a:lnTo>
                  <a:lnTo>
                    <a:pt x="156" y="648"/>
                  </a:lnTo>
                  <a:lnTo>
                    <a:pt x="150" y="648"/>
                  </a:lnTo>
                  <a:lnTo>
                    <a:pt x="144" y="648"/>
                  </a:lnTo>
                  <a:lnTo>
                    <a:pt x="138" y="648"/>
                  </a:lnTo>
                  <a:lnTo>
                    <a:pt x="132" y="648"/>
                  </a:lnTo>
                  <a:lnTo>
                    <a:pt x="126" y="642"/>
                  </a:lnTo>
                  <a:lnTo>
                    <a:pt x="126" y="636"/>
                  </a:lnTo>
                  <a:lnTo>
                    <a:pt x="120" y="636"/>
                  </a:lnTo>
                  <a:lnTo>
                    <a:pt x="126" y="642"/>
                  </a:lnTo>
                  <a:lnTo>
                    <a:pt x="126" y="648"/>
                  </a:lnTo>
                  <a:lnTo>
                    <a:pt x="132" y="648"/>
                  </a:lnTo>
                  <a:lnTo>
                    <a:pt x="126" y="654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54"/>
                  </a:lnTo>
                  <a:lnTo>
                    <a:pt x="108" y="660"/>
                  </a:lnTo>
                  <a:lnTo>
                    <a:pt x="108" y="654"/>
                  </a:lnTo>
                  <a:lnTo>
                    <a:pt x="102" y="654"/>
                  </a:lnTo>
                  <a:lnTo>
                    <a:pt x="102" y="660"/>
                  </a:lnTo>
                  <a:lnTo>
                    <a:pt x="108" y="660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0" y="660"/>
                  </a:lnTo>
                  <a:lnTo>
                    <a:pt x="90" y="654"/>
                  </a:lnTo>
                  <a:lnTo>
                    <a:pt x="84" y="648"/>
                  </a:lnTo>
                  <a:lnTo>
                    <a:pt x="84" y="642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72" y="636"/>
                  </a:lnTo>
                  <a:lnTo>
                    <a:pt x="78" y="636"/>
                  </a:lnTo>
                  <a:lnTo>
                    <a:pt x="72" y="636"/>
                  </a:lnTo>
                  <a:lnTo>
                    <a:pt x="66" y="636"/>
                  </a:lnTo>
                  <a:lnTo>
                    <a:pt x="60" y="636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60" y="618"/>
                  </a:lnTo>
                  <a:lnTo>
                    <a:pt x="66" y="618"/>
                  </a:lnTo>
                  <a:lnTo>
                    <a:pt x="72" y="618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2" y="612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12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54" y="618"/>
                  </a:lnTo>
                  <a:lnTo>
                    <a:pt x="54" y="624"/>
                  </a:lnTo>
                  <a:lnTo>
                    <a:pt x="48" y="618"/>
                  </a:lnTo>
                  <a:lnTo>
                    <a:pt x="42" y="618"/>
                  </a:lnTo>
                  <a:lnTo>
                    <a:pt x="42" y="612"/>
                  </a:lnTo>
                  <a:lnTo>
                    <a:pt x="48" y="606"/>
                  </a:lnTo>
                  <a:lnTo>
                    <a:pt x="54" y="606"/>
                  </a:lnTo>
                  <a:lnTo>
                    <a:pt x="54" y="600"/>
                  </a:lnTo>
                  <a:lnTo>
                    <a:pt x="54" y="594"/>
                  </a:lnTo>
                  <a:lnTo>
                    <a:pt x="54" y="588"/>
                  </a:lnTo>
                  <a:lnTo>
                    <a:pt x="48" y="588"/>
                  </a:lnTo>
                  <a:lnTo>
                    <a:pt x="48" y="582"/>
                  </a:lnTo>
                  <a:lnTo>
                    <a:pt x="42" y="582"/>
                  </a:lnTo>
                  <a:lnTo>
                    <a:pt x="42" y="570"/>
                  </a:lnTo>
                  <a:lnTo>
                    <a:pt x="42" y="564"/>
                  </a:lnTo>
                  <a:lnTo>
                    <a:pt x="36" y="564"/>
                  </a:lnTo>
                  <a:close/>
                  <a:moveTo>
                    <a:pt x="498" y="420"/>
                  </a:moveTo>
                  <a:lnTo>
                    <a:pt x="504" y="426"/>
                  </a:lnTo>
                  <a:lnTo>
                    <a:pt x="510" y="432"/>
                  </a:lnTo>
                  <a:lnTo>
                    <a:pt x="516" y="432"/>
                  </a:lnTo>
                  <a:lnTo>
                    <a:pt x="516" y="438"/>
                  </a:lnTo>
                  <a:lnTo>
                    <a:pt x="510" y="438"/>
                  </a:lnTo>
                  <a:lnTo>
                    <a:pt x="504" y="438"/>
                  </a:lnTo>
                  <a:lnTo>
                    <a:pt x="504" y="432"/>
                  </a:lnTo>
                  <a:lnTo>
                    <a:pt x="498" y="432"/>
                  </a:lnTo>
                  <a:lnTo>
                    <a:pt x="498" y="426"/>
                  </a:lnTo>
                  <a:lnTo>
                    <a:pt x="498" y="42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4" name="Freeform 9">
              <a:extLst>
                <a:ext uri="{FF2B5EF4-FFF2-40B4-BE49-F238E27FC236}">
                  <a16:creationId xmlns:a16="http://schemas.microsoft.com/office/drawing/2014/main" id="{E0116D32-BD2E-45EA-B818-A3082585D5F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3055" y="2468650"/>
              <a:ext cx="800556" cy="1207710"/>
            </a:xfrm>
            <a:custGeom>
              <a:avLst/>
              <a:gdLst>
                <a:gd name="T0" fmla="*/ 24 w 1506"/>
                <a:gd name="T1" fmla="*/ 190 h 2274"/>
                <a:gd name="T2" fmla="*/ 25 w 1506"/>
                <a:gd name="T3" fmla="*/ 180 h 2274"/>
                <a:gd name="T4" fmla="*/ 21 w 1506"/>
                <a:gd name="T5" fmla="*/ 174 h 2274"/>
                <a:gd name="T6" fmla="*/ 17 w 1506"/>
                <a:gd name="T7" fmla="*/ 170 h 2274"/>
                <a:gd name="T8" fmla="*/ 12 w 1506"/>
                <a:gd name="T9" fmla="*/ 168 h 2274"/>
                <a:gd name="T10" fmla="*/ 10 w 1506"/>
                <a:gd name="T11" fmla="*/ 173 h 2274"/>
                <a:gd name="T12" fmla="*/ 7 w 1506"/>
                <a:gd name="T13" fmla="*/ 174 h 2274"/>
                <a:gd name="T14" fmla="*/ 0 w 1506"/>
                <a:gd name="T15" fmla="*/ 163 h 2274"/>
                <a:gd name="T16" fmla="*/ 16 w 1506"/>
                <a:gd name="T17" fmla="*/ 140 h 2274"/>
                <a:gd name="T18" fmla="*/ 19 w 1506"/>
                <a:gd name="T19" fmla="*/ 137 h 2274"/>
                <a:gd name="T20" fmla="*/ 24 w 1506"/>
                <a:gd name="T21" fmla="*/ 126 h 2274"/>
                <a:gd name="T22" fmla="*/ 23 w 1506"/>
                <a:gd name="T23" fmla="*/ 105 h 2274"/>
                <a:gd name="T24" fmla="*/ 14 w 1506"/>
                <a:gd name="T25" fmla="*/ 86 h 2274"/>
                <a:gd name="T26" fmla="*/ 8 w 1506"/>
                <a:gd name="T27" fmla="*/ 84 h 2274"/>
                <a:gd name="T28" fmla="*/ 5 w 1506"/>
                <a:gd name="T29" fmla="*/ 79 h 2274"/>
                <a:gd name="T30" fmla="*/ 16 w 1506"/>
                <a:gd name="T31" fmla="*/ 71 h 2274"/>
                <a:gd name="T32" fmla="*/ 28 w 1506"/>
                <a:gd name="T33" fmla="*/ 55 h 2274"/>
                <a:gd name="T34" fmla="*/ 29 w 1506"/>
                <a:gd name="T35" fmla="*/ 48 h 2274"/>
                <a:gd name="T36" fmla="*/ 35 w 1506"/>
                <a:gd name="T37" fmla="*/ 50 h 2274"/>
                <a:gd name="T38" fmla="*/ 42 w 1506"/>
                <a:gd name="T39" fmla="*/ 47 h 2274"/>
                <a:gd name="T40" fmla="*/ 63 w 1506"/>
                <a:gd name="T41" fmla="*/ 34 h 2274"/>
                <a:gd name="T42" fmla="*/ 74 w 1506"/>
                <a:gd name="T43" fmla="*/ 27 h 2274"/>
                <a:gd name="T44" fmla="*/ 81 w 1506"/>
                <a:gd name="T45" fmla="*/ 20 h 2274"/>
                <a:gd name="T46" fmla="*/ 89 w 1506"/>
                <a:gd name="T47" fmla="*/ 20 h 2274"/>
                <a:gd name="T48" fmla="*/ 98 w 1506"/>
                <a:gd name="T49" fmla="*/ 27 h 2274"/>
                <a:gd name="T50" fmla="*/ 106 w 1506"/>
                <a:gd name="T51" fmla="*/ 17 h 2274"/>
                <a:gd name="T52" fmla="*/ 111 w 1506"/>
                <a:gd name="T53" fmla="*/ 8 h 2274"/>
                <a:gd name="T54" fmla="*/ 121 w 1506"/>
                <a:gd name="T55" fmla="*/ 2 h 2274"/>
                <a:gd name="T56" fmla="*/ 129 w 1506"/>
                <a:gd name="T57" fmla="*/ 5 h 2274"/>
                <a:gd name="T58" fmla="*/ 125 w 1506"/>
                <a:gd name="T59" fmla="*/ 12 h 2274"/>
                <a:gd name="T60" fmla="*/ 122 w 1506"/>
                <a:gd name="T61" fmla="*/ 20 h 2274"/>
                <a:gd name="T62" fmla="*/ 122 w 1506"/>
                <a:gd name="T63" fmla="*/ 27 h 2274"/>
                <a:gd name="T64" fmla="*/ 120 w 1506"/>
                <a:gd name="T65" fmla="*/ 36 h 2274"/>
                <a:gd name="T66" fmla="*/ 116 w 1506"/>
                <a:gd name="T67" fmla="*/ 43 h 2274"/>
                <a:gd name="T68" fmla="*/ 109 w 1506"/>
                <a:gd name="T69" fmla="*/ 47 h 2274"/>
                <a:gd name="T70" fmla="*/ 108 w 1506"/>
                <a:gd name="T71" fmla="*/ 54 h 2274"/>
                <a:gd name="T72" fmla="*/ 106 w 1506"/>
                <a:gd name="T73" fmla="*/ 59 h 2274"/>
                <a:gd name="T74" fmla="*/ 109 w 1506"/>
                <a:gd name="T75" fmla="*/ 64 h 2274"/>
                <a:gd name="T76" fmla="*/ 106 w 1506"/>
                <a:gd name="T77" fmla="*/ 70 h 2274"/>
                <a:gd name="T78" fmla="*/ 105 w 1506"/>
                <a:gd name="T79" fmla="*/ 75 h 2274"/>
                <a:gd name="T80" fmla="*/ 101 w 1506"/>
                <a:gd name="T81" fmla="*/ 78 h 2274"/>
                <a:gd name="T82" fmla="*/ 92 w 1506"/>
                <a:gd name="T83" fmla="*/ 81 h 2274"/>
                <a:gd name="T84" fmla="*/ 85 w 1506"/>
                <a:gd name="T85" fmla="*/ 85 h 2274"/>
                <a:gd name="T86" fmla="*/ 87 w 1506"/>
                <a:gd name="T87" fmla="*/ 91 h 2274"/>
                <a:gd name="T88" fmla="*/ 86 w 1506"/>
                <a:gd name="T89" fmla="*/ 98 h 2274"/>
                <a:gd name="T90" fmla="*/ 86 w 1506"/>
                <a:gd name="T91" fmla="*/ 103 h 2274"/>
                <a:gd name="T92" fmla="*/ 82 w 1506"/>
                <a:gd name="T93" fmla="*/ 111 h 2274"/>
                <a:gd name="T94" fmla="*/ 81 w 1506"/>
                <a:gd name="T95" fmla="*/ 116 h 2274"/>
                <a:gd name="T96" fmla="*/ 78 w 1506"/>
                <a:gd name="T97" fmla="*/ 120 h 2274"/>
                <a:gd name="T98" fmla="*/ 76 w 1506"/>
                <a:gd name="T99" fmla="*/ 126 h 2274"/>
                <a:gd name="T100" fmla="*/ 68 w 1506"/>
                <a:gd name="T101" fmla="*/ 129 h 2274"/>
                <a:gd name="T102" fmla="*/ 62 w 1506"/>
                <a:gd name="T103" fmla="*/ 131 h 2274"/>
                <a:gd name="T104" fmla="*/ 58 w 1506"/>
                <a:gd name="T105" fmla="*/ 136 h 2274"/>
                <a:gd name="T106" fmla="*/ 51 w 1506"/>
                <a:gd name="T107" fmla="*/ 138 h 2274"/>
                <a:gd name="T108" fmla="*/ 51 w 1506"/>
                <a:gd name="T109" fmla="*/ 147 h 2274"/>
                <a:gd name="T110" fmla="*/ 49 w 1506"/>
                <a:gd name="T111" fmla="*/ 159 h 2274"/>
                <a:gd name="T112" fmla="*/ 48 w 1506"/>
                <a:gd name="T113" fmla="*/ 166 h 2274"/>
                <a:gd name="T114" fmla="*/ 41 w 1506"/>
                <a:gd name="T115" fmla="*/ 174 h 2274"/>
                <a:gd name="T116" fmla="*/ 39 w 1506"/>
                <a:gd name="T117" fmla="*/ 181 h 2274"/>
                <a:gd name="T118" fmla="*/ 37 w 1506"/>
                <a:gd name="T119" fmla="*/ 190 h 2274"/>
                <a:gd name="T120" fmla="*/ 29 w 1506"/>
                <a:gd name="T121" fmla="*/ 198 h 22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06"/>
                <a:gd name="T184" fmla="*/ 0 h 2274"/>
                <a:gd name="T185" fmla="*/ 1506 w 1506"/>
                <a:gd name="T186" fmla="*/ 2274 h 227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06" h="2274">
                  <a:moveTo>
                    <a:pt x="330" y="2274"/>
                  </a:moveTo>
                  <a:lnTo>
                    <a:pt x="318" y="2262"/>
                  </a:lnTo>
                  <a:lnTo>
                    <a:pt x="312" y="2238"/>
                  </a:lnTo>
                  <a:lnTo>
                    <a:pt x="312" y="2232"/>
                  </a:lnTo>
                  <a:lnTo>
                    <a:pt x="294" y="2214"/>
                  </a:lnTo>
                  <a:lnTo>
                    <a:pt x="288" y="2208"/>
                  </a:lnTo>
                  <a:lnTo>
                    <a:pt x="288" y="2202"/>
                  </a:lnTo>
                  <a:lnTo>
                    <a:pt x="276" y="2196"/>
                  </a:lnTo>
                  <a:lnTo>
                    <a:pt x="276" y="2190"/>
                  </a:lnTo>
                  <a:lnTo>
                    <a:pt x="282" y="2190"/>
                  </a:lnTo>
                  <a:lnTo>
                    <a:pt x="282" y="2184"/>
                  </a:lnTo>
                  <a:lnTo>
                    <a:pt x="276" y="2172"/>
                  </a:lnTo>
                  <a:lnTo>
                    <a:pt x="276" y="2166"/>
                  </a:lnTo>
                  <a:lnTo>
                    <a:pt x="282" y="2166"/>
                  </a:lnTo>
                  <a:lnTo>
                    <a:pt x="282" y="2154"/>
                  </a:lnTo>
                  <a:lnTo>
                    <a:pt x="276" y="2136"/>
                  </a:lnTo>
                  <a:lnTo>
                    <a:pt x="276" y="2112"/>
                  </a:lnTo>
                  <a:lnTo>
                    <a:pt x="282" y="2088"/>
                  </a:lnTo>
                  <a:lnTo>
                    <a:pt x="282" y="2082"/>
                  </a:lnTo>
                  <a:lnTo>
                    <a:pt x="282" y="2076"/>
                  </a:lnTo>
                  <a:lnTo>
                    <a:pt x="282" y="2070"/>
                  </a:lnTo>
                  <a:lnTo>
                    <a:pt x="288" y="2070"/>
                  </a:lnTo>
                  <a:lnTo>
                    <a:pt x="288" y="2064"/>
                  </a:lnTo>
                  <a:lnTo>
                    <a:pt x="282" y="2052"/>
                  </a:lnTo>
                  <a:lnTo>
                    <a:pt x="282" y="2046"/>
                  </a:lnTo>
                  <a:lnTo>
                    <a:pt x="276" y="2040"/>
                  </a:lnTo>
                  <a:lnTo>
                    <a:pt x="270" y="2034"/>
                  </a:lnTo>
                  <a:lnTo>
                    <a:pt x="264" y="2022"/>
                  </a:lnTo>
                  <a:lnTo>
                    <a:pt x="258" y="2022"/>
                  </a:lnTo>
                  <a:lnTo>
                    <a:pt x="258" y="2016"/>
                  </a:lnTo>
                  <a:lnTo>
                    <a:pt x="252" y="2016"/>
                  </a:lnTo>
                  <a:lnTo>
                    <a:pt x="246" y="2016"/>
                  </a:lnTo>
                  <a:lnTo>
                    <a:pt x="240" y="2010"/>
                  </a:lnTo>
                  <a:lnTo>
                    <a:pt x="234" y="2004"/>
                  </a:lnTo>
                  <a:lnTo>
                    <a:pt x="228" y="2004"/>
                  </a:lnTo>
                  <a:lnTo>
                    <a:pt x="228" y="1998"/>
                  </a:lnTo>
                  <a:lnTo>
                    <a:pt x="228" y="1992"/>
                  </a:lnTo>
                  <a:lnTo>
                    <a:pt x="222" y="1992"/>
                  </a:lnTo>
                  <a:lnTo>
                    <a:pt x="222" y="1986"/>
                  </a:lnTo>
                  <a:lnTo>
                    <a:pt x="216" y="1986"/>
                  </a:lnTo>
                  <a:lnTo>
                    <a:pt x="210" y="1980"/>
                  </a:lnTo>
                  <a:lnTo>
                    <a:pt x="216" y="1974"/>
                  </a:lnTo>
                  <a:lnTo>
                    <a:pt x="210" y="1968"/>
                  </a:lnTo>
                  <a:lnTo>
                    <a:pt x="198" y="1956"/>
                  </a:lnTo>
                  <a:lnTo>
                    <a:pt x="192" y="1956"/>
                  </a:lnTo>
                  <a:lnTo>
                    <a:pt x="186" y="1956"/>
                  </a:lnTo>
                  <a:lnTo>
                    <a:pt x="180" y="1944"/>
                  </a:lnTo>
                  <a:lnTo>
                    <a:pt x="180" y="1938"/>
                  </a:lnTo>
                  <a:lnTo>
                    <a:pt x="174" y="1932"/>
                  </a:lnTo>
                  <a:lnTo>
                    <a:pt x="168" y="1932"/>
                  </a:lnTo>
                  <a:lnTo>
                    <a:pt x="162" y="1932"/>
                  </a:lnTo>
                  <a:lnTo>
                    <a:pt x="150" y="1932"/>
                  </a:lnTo>
                  <a:lnTo>
                    <a:pt x="150" y="1926"/>
                  </a:lnTo>
                  <a:lnTo>
                    <a:pt x="150" y="1932"/>
                  </a:lnTo>
                  <a:lnTo>
                    <a:pt x="144" y="1932"/>
                  </a:lnTo>
                  <a:lnTo>
                    <a:pt x="138" y="1932"/>
                  </a:lnTo>
                  <a:lnTo>
                    <a:pt x="132" y="1932"/>
                  </a:lnTo>
                  <a:lnTo>
                    <a:pt x="132" y="1938"/>
                  </a:lnTo>
                  <a:lnTo>
                    <a:pt x="126" y="1944"/>
                  </a:lnTo>
                  <a:lnTo>
                    <a:pt x="126" y="1956"/>
                  </a:lnTo>
                  <a:lnTo>
                    <a:pt x="120" y="1968"/>
                  </a:lnTo>
                  <a:lnTo>
                    <a:pt x="120" y="1974"/>
                  </a:lnTo>
                  <a:lnTo>
                    <a:pt x="120" y="1980"/>
                  </a:lnTo>
                  <a:lnTo>
                    <a:pt x="126" y="1980"/>
                  </a:lnTo>
                  <a:lnTo>
                    <a:pt x="120" y="1986"/>
                  </a:lnTo>
                  <a:lnTo>
                    <a:pt x="120" y="1992"/>
                  </a:lnTo>
                  <a:lnTo>
                    <a:pt x="114" y="1992"/>
                  </a:lnTo>
                  <a:lnTo>
                    <a:pt x="114" y="1986"/>
                  </a:lnTo>
                  <a:lnTo>
                    <a:pt x="108" y="1992"/>
                  </a:lnTo>
                  <a:lnTo>
                    <a:pt x="108" y="1998"/>
                  </a:lnTo>
                  <a:lnTo>
                    <a:pt x="114" y="2004"/>
                  </a:lnTo>
                  <a:lnTo>
                    <a:pt x="108" y="2004"/>
                  </a:lnTo>
                  <a:lnTo>
                    <a:pt x="102" y="2010"/>
                  </a:lnTo>
                  <a:lnTo>
                    <a:pt x="102" y="2004"/>
                  </a:lnTo>
                  <a:lnTo>
                    <a:pt x="90" y="2004"/>
                  </a:lnTo>
                  <a:lnTo>
                    <a:pt x="84" y="2004"/>
                  </a:lnTo>
                  <a:lnTo>
                    <a:pt x="78" y="1998"/>
                  </a:lnTo>
                  <a:lnTo>
                    <a:pt x="78" y="1992"/>
                  </a:lnTo>
                  <a:lnTo>
                    <a:pt x="78" y="1986"/>
                  </a:lnTo>
                  <a:lnTo>
                    <a:pt x="72" y="1986"/>
                  </a:lnTo>
                  <a:lnTo>
                    <a:pt x="66" y="1980"/>
                  </a:lnTo>
                  <a:lnTo>
                    <a:pt x="66" y="1968"/>
                  </a:lnTo>
                  <a:lnTo>
                    <a:pt x="60" y="1956"/>
                  </a:lnTo>
                  <a:lnTo>
                    <a:pt x="60" y="1950"/>
                  </a:lnTo>
                  <a:lnTo>
                    <a:pt x="48" y="1944"/>
                  </a:lnTo>
                  <a:lnTo>
                    <a:pt x="30" y="1926"/>
                  </a:lnTo>
                  <a:lnTo>
                    <a:pt x="12" y="1890"/>
                  </a:lnTo>
                  <a:lnTo>
                    <a:pt x="6" y="1872"/>
                  </a:lnTo>
                  <a:lnTo>
                    <a:pt x="0" y="1854"/>
                  </a:lnTo>
                  <a:lnTo>
                    <a:pt x="6" y="1824"/>
                  </a:lnTo>
                  <a:lnTo>
                    <a:pt x="30" y="1794"/>
                  </a:lnTo>
                  <a:lnTo>
                    <a:pt x="66" y="1752"/>
                  </a:lnTo>
                  <a:lnTo>
                    <a:pt x="72" y="1752"/>
                  </a:lnTo>
                  <a:lnTo>
                    <a:pt x="78" y="1746"/>
                  </a:lnTo>
                  <a:lnTo>
                    <a:pt x="84" y="1746"/>
                  </a:lnTo>
                  <a:lnTo>
                    <a:pt x="90" y="1746"/>
                  </a:lnTo>
                  <a:lnTo>
                    <a:pt x="138" y="1674"/>
                  </a:lnTo>
                  <a:lnTo>
                    <a:pt x="186" y="1620"/>
                  </a:lnTo>
                  <a:lnTo>
                    <a:pt x="186" y="1614"/>
                  </a:lnTo>
                  <a:lnTo>
                    <a:pt x="186" y="1608"/>
                  </a:lnTo>
                  <a:lnTo>
                    <a:pt x="192" y="1608"/>
                  </a:lnTo>
                  <a:lnTo>
                    <a:pt x="192" y="1614"/>
                  </a:lnTo>
                  <a:lnTo>
                    <a:pt x="198" y="1614"/>
                  </a:lnTo>
                  <a:lnTo>
                    <a:pt x="198" y="1608"/>
                  </a:lnTo>
                  <a:lnTo>
                    <a:pt x="198" y="1602"/>
                  </a:lnTo>
                  <a:lnTo>
                    <a:pt x="204" y="1602"/>
                  </a:lnTo>
                  <a:lnTo>
                    <a:pt x="204" y="1596"/>
                  </a:lnTo>
                  <a:lnTo>
                    <a:pt x="210" y="1590"/>
                  </a:lnTo>
                  <a:lnTo>
                    <a:pt x="216" y="1590"/>
                  </a:lnTo>
                  <a:lnTo>
                    <a:pt x="216" y="1584"/>
                  </a:lnTo>
                  <a:lnTo>
                    <a:pt x="222" y="1584"/>
                  </a:lnTo>
                  <a:lnTo>
                    <a:pt x="228" y="1572"/>
                  </a:lnTo>
                  <a:lnTo>
                    <a:pt x="222" y="1572"/>
                  </a:lnTo>
                  <a:lnTo>
                    <a:pt x="228" y="1566"/>
                  </a:lnTo>
                  <a:lnTo>
                    <a:pt x="228" y="1560"/>
                  </a:lnTo>
                  <a:lnTo>
                    <a:pt x="252" y="1548"/>
                  </a:lnTo>
                  <a:lnTo>
                    <a:pt x="276" y="1530"/>
                  </a:lnTo>
                  <a:lnTo>
                    <a:pt x="282" y="1512"/>
                  </a:lnTo>
                  <a:lnTo>
                    <a:pt x="282" y="1506"/>
                  </a:lnTo>
                  <a:lnTo>
                    <a:pt x="282" y="1494"/>
                  </a:lnTo>
                  <a:lnTo>
                    <a:pt x="282" y="1452"/>
                  </a:lnTo>
                  <a:lnTo>
                    <a:pt x="288" y="1440"/>
                  </a:lnTo>
                  <a:lnTo>
                    <a:pt x="294" y="1440"/>
                  </a:lnTo>
                  <a:lnTo>
                    <a:pt x="294" y="1428"/>
                  </a:lnTo>
                  <a:lnTo>
                    <a:pt x="324" y="1368"/>
                  </a:lnTo>
                  <a:lnTo>
                    <a:pt x="330" y="1362"/>
                  </a:lnTo>
                  <a:lnTo>
                    <a:pt x="330" y="1356"/>
                  </a:lnTo>
                  <a:lnTo>
                    <a:pt x="360" y="1338"/>
                  </a:lnTo>
                  <a:lnTo>
                    <a:pt x="366" y="1296"/>
                  </a:lnTo>
                  <a:lnTo>
                    <a:pt x="354" y="1278"/>
                  </a:lnTo>
                  <a:lnTo>
                    <a:pt x="336" y="1230"/>
                  </a:lnTo>
                  <a:lnTo>
                    <a:pt x="270" y="1212"/>
                  </a:lnTo>
                  <a:lnTo>
                    <a:pt x="264" y="1212"/>
                  </a:lnTo>
                  <a:lnTo>
                    <a:pt x="252" y="1200"/>
                  </a:lnTo>
                  <a:lnTo>
                    <a:pt x="234" y="1188"/>
                  </a:lnTo>
                  <a:lnTo>
                    <a:pt x="222" y="1182"/>
                  </a:lnTo>
                  <a:lnTo>
                    <a:pt x="228" y="1104"/>
                  </a:lnTo>
                  <a:lnTo>
                    <a:pt x="228" y="1098"/>
                  </a:lnTo>
                  <a:lnTo>
                    <a:pt x="198" y="1038"/>
                  </a:lnTo>
                  <a:lnTo>
                    <a:pt x="192" y="1032"/>
                  </a:lnTo>
                  <a:lnTo>
                    <a:pt x="180" y="1020"/>
                  </a:lnTo>
                  <a:lnTo>
                    <a:pt x="168" y="996"/>
                  </a:lnTo>
                  <a:lnTo>
                    <a:pt x="162" y="990"/>
                  </a:lnTo>
                  <a:lnTo>
                    <a:pt x="156" y="990"/>
                  </a:lnTo>
                  <a:lnTo>
                    <a:pt x="150" y="990"/>
                  </a:lnTo>
                  <a:lnTo>
                    <a:pt x="132" y="990"/>
                  </a:lnTo>
                  <a:lnTo>
                    <a:pt x="120" y="984"/>
                  </a:lnTo>
                  <a:lnTo>
                    <a:pt x="120" y="990"/>
                  </a:lnTo>
                  <a:lnTo>
                    <a:pt x="114" y="990"/>
                  </a:lnTo>
                  <a:lnTo>
                    <a:pt x="102" y="984"/>
                  </a:lnTo>
                  <a:lnTo>
                    <a:pt x="96" y="984"/>
                  </a:lnTo>
                  <a:lnTo>
                    <a:pt x="96" y="978"/>
                  </a:lnTo>
                  <a:lnTo>
                    <a:pt x="90" y="978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84" y="960"/>
                  </a:lnTo>
                  <a:lnTo>
                    <a:pt x="84" y="954"/>
                  </a:lnTo>
                  <a:lnTo>
                    <a:pt x="78" y="948"/>
                  </a:lnTo>
                  <a:lnTo>
                    <a:pt x="72" y="948"/>
                  </a:lnTo>
                  <a:lnTo>
                    <a:pt x="72" y="942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06"/>
                  </a:lnTo>
                  <a:lnTo>
                    <a:pt x="60" y="888"/>
                  </a:lnTo>
                  <a:lnTo>
                    <a:pt x="54" y="882"/>
                  </a:lnTo>
                  <a:lnTo>
                    <a:pt x="60" y="882"/>
                  </a:lnTo>
                  <a:lnTo>
                    <a:pt x="72" y="876"/>
                  </a:lnTo>
                  <a:lnTo>
                    <a:pt x="78" y="876"/>
                  </a:lnTo>
                  <a:lnTo>
                    <a:pt x="90" y="870"/>
                  </a:lnTo>
                  <a:lnTo>
                    <a:pt x="90" y="864"/>
                  </a:lnTo>
                  <a:lnTo>
                    <a:pt x="96" y="840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80" y="822"/>
                  </a:lnTo>
                  <a:lnTo>
                    <a:pt x="204" y="798"/>
                  </a:lnTo>
                  <a:lnTo>
                    <a:pt x="222" y="786"/>
                  </a:lnTo>
                  <a:lnTo>
                    <a:pt x="252" y="780"/>
                  </a:lnTo>
                  <a:lnTo>
                    <a:pt x="264" y="762"/>
                  </a:lnTo>
                  <a:lnTo>
                    <a:pt x="276" y="762"/>
                  </a:lnTo>
                  <a:lnTo>
                    <a:pt x="288" y="744"/>
                  </a:lnTo>
                  <a:lnTo>
                    <a:pt x="306" y="738"/>
                  </a:lnTo>
                  <a:lnTo>
                    <a:pt x="318" y="732"/>
                  </a:lnTo>
                  <a:lnTo>
                    <a:pt x="324" y="648"/>
                  </a:lnTo>
                  <a:lnTo>
                    <a:pt x="324" y="636"/>
                  </a:lnTo>
                  <a:lnTo>
                    <a:pt x="324" y="630"/>
                  </a:lnTo>
                  <a:lnTo>
                    <a:pt x="330" y="624"/>
                  </a:lnTo>
                  <a:lnTo>
                    <a:pt x="324" y="618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24" y="588"/>
                  </a:lnTo>
                  <a:lnTo>
                    <a:pt x="318" y="576"/>
                  </a:lnTo>
                  <a:lnTo>
                    <a:pt x="318" y="570"/>
                  </a:lnTo>
                  <a:lnTo>
                    <a:pt x="324" y="570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30" y="558"/>
                  </a:lnTo>
                  <a:lnTo>
                    <a:pt x="336" y="558"/>
                  </a:lnTo>
                  <a:lnTo>
                    <a:pt x="342" y="558"/>
                  </a:lnTo>
                  <a:lnTo>
                    <a:pt x="348" y="558"/>
                  </a:lnTo>
                  <a:lnTo>
                    <a:pt x="354" y="564"/>
                  </a:lnTo>
                  <a:lnTo>
                    <a:pt x="360" y="564"/>
                  </a:lnTo>
                  <a:lnTo>
                    <a:pt x="366" y="570"/>
                  </a:lnTo>
                  <a:lnTo>
                    <a:pt x="366" y="576"/>
                  </a:lnTo>
                  <a:lnTo>
                    <a:pt x="372" y="570"/>
                  </a:lnTo>
                  <a:lnTo>
                    <a:pt x="378" y="570"/>
                  </a:lnTo>
                  <a:lnTo>
                    <a:pt x="390" y="570"/>
                  </a:lnTo>
                  <a:lnTo>
                    <a:pt x="402" y="570"/>
                  </a:lnTo>
                  <a:lnTo>
                    <a:pt x="408" y="570"/>
                  </a:lnTo>
                  <a:lnTo>
                    <a:pt x="414" y="564"/>
                  </a:lnTo>
                  <a:lnTo>
                    <a:pt x="420" y="564"/>
                  </a:lnTo>
                  <a:lnTo>
                    <a:pt x="420" y="570"/>
                  </a:lnTo>
                  <a:lnTo>
                    <a:pt x="426" y="570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44" y="570"/>
                  </a:lnTo>
                  <a:lnTo>
                    <a:pt x="450" y="564"/>
                  </a:lnTo>
                  <a:lnTo>
                    <a:pt x="474" y="558"/>
                  </a:lnTo>
                  <a:lnTo>
                    <a:pt x="486" y="54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40" y="474"/>
                  </a:lnTo>
                  <a:lnTo>
                    <a:pt x="558" y="456"/>
                  </a:lnTo>
                  <a:lnTo>
                    <a:pt x="582" y="450"/>
                  </a:lnTo>
                  <a:lnTo>
                    <a:pt x="594" y="414"/>
                  </a:lnTo>
                  <a:lnTo>
                    <a:pt x="612" y="390"/>
                  </a:lnTo>
                  <a:lnTo>
                    <a:pt x="636" y="390"/>
                  </a:lnTo>
                  <a:lnTo>
                    <a:pt x="666" y="390"/>
                  </a:lnTo>
                  <a:lnTo>
                    <a:pt x="696" y="390"/>
                  </a:lnTo>
                  <a:lnTo>
                    <a:pt x="726" y="390"/>
                  </a:lnTo>
                  <a:lnTo>
                    <a:pt x="762" y="378"/>
                  </a:lnTo>
                  <a:lnTo>
                    <a:pt x="780" y="366"/>
                  </a:lnTo>
                  <a:lnTo>
                    <a:pt x="780" y="342"/>
                  </a:lnTo>
                  <a:lnTo>
                    <a:pt x="786" y="342"/>
                  </a:lnTo>
                  <a:lnTo>
                    <a:pt x="786" y="336"/>
                  </a:lnTo>
                  <a:lnTo>
                    <a:pt x="786" y="330"/>
                  </a:lnTo>
                  <a:lnTo>
                    <a:pt x="786" y="324"/>
                  </a:lnTo>
                  <a:lnTo>
                    <a:pt x="816" y="318"/>
                  </a:lnTo>
                  <a:lnTo>
                    <a:pt x="834" y="312"/>
                  </a:lnTo>
                  <a:lnTo>
                    <a:pt x="840" y="318"/>
                  </a:lnTo>
                  <a:lnTo>
                    <a:pt x="852" y="318"/>
                  </a:lnTo>
                  <a:lnTo>
                    <a:pt x="858" y="306"/>
                  </a:lnTo>
                  <a:lnTo>
                    <a:pt x="864" y="288"/>
                  </a:lnTo>
                  <a:lnTo>
                    <a:pt x="870" y="282"/>
                  </a:lnTo>
                  <a:lnTo>
                    <a:pt x="876" y="276"/>
                  </a:lnTo>
                  <a:lnTo>
                    <a:pt x="882" y="264"/>
                  </a:lnTo>
                  <a:lnTo>
                    <a:pt x="882" y="258"/>
                  </a:lnTo>
                  <a:lnTo>
                    <a:pt x="888" y="252"/>
                  </a:lnTo>
                  <a:lnTo>
                    <a:pt x="894" y="240"/>
                  </a:lnTo>
                  <a:lnTo>
                    <a:pt x="906" y="228"/>
                  </a:lnTo>
                  <a:lnTo>
                    <a:pt x="912" y="228"/>
                  </a:lnTo>
                  <a:lnTo>
                    <a:pt x="936" y="228"/>
                  </a:lnTo>
                  <a:lnTo>
                    <a:pt x="942" y="222"/>
                  </a:lnTo>
                  <a:lnTo>
                    <a:pt x="948" y="216"/>
                  </a:lnTo>
                  <a:lnTo>
                    <a:pt x="954" y="216"/>
                  </a:lnTo>
                  <a:lnTo>
                    <a:pt x="960" y="216"/>
                  </a:lnTo>
                  <a:lnTo>
                    <a:pt x="966" y="216"/>
                  </a:lnTo>
                  <a:lnTo>
                    <a:pt x="978" y="216"/>
                  </a:lnTo>
                  <a:lnTo>
                    <a:pt x="990" y="222"/>
                  </a:lnTo>
                  <a:lnTo>
                    <a:pt x="996" y="222"/>
                  </a:lnTo>
                  <a:lnTo>
                    <a:pt x="1002" y="228"/>
                  </a:lnTo>
                  <a:lnTo>
                    <a:pt x="1014" y="234"/>
                  </a:lnTo>
                  <a:lnTo>
                    <a:pt x="1020" y="234"/>
                  </a:lnTo>
                  <a:lnTo>
                    <a:pt x="1032" y="240"/>
                  </a:lnTo>
                  <a:lnTo>
                    <a:pt x="1044" y="240"/>
                  </a:lnTo>
                  <a:lnTo>
                    <a:pt x="1050" y="240"/>
                  </a:lnTo>
                  <a:lnTo>
                    <a:pt x="1056" y="246"/>
                  </a:lnTo>
                  <a:lnTo>
                    <a:pt x="1068" y="264"/>
                  </a:lnTo>
                  <a:lnTo>
                    <a:pt x="1086" y="276"/>
                  </a:lnTo>
                  <a:lnTo>
                    <a:pt x="1092" y="276"/>
                  </a:lnTo>
                  <a:lnTo>
                    <a:pt x="1104" y="282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8" y="312"/>
                  </a:lnTo>
                  <a:lnTo>
                    <a:pt x="1152" y="324"/>
                  </a:lnTo>
                  <a:lnTo>
                    <a:pt x="1188" y="324"/>
                  </a:lnTo>
                  <a:lnTo>
                    <a:pt x="1206" y="318"/>
                  </a:lnTo>
                  <a:lnTo>
                    <a:pt x="1200" y="294"/>
                  </a:lnTo>
                  <a:lnTo>
                    <a:pt x="1206" y="252"/>
                  </a:lnTo>
                  <a:lnTo>
                    <a:pt x="1218" y="222"/>
                  </a:lnTo>
                  <a:lnTo>
                    <a:pt x="1212" y="222"/>
                  </a:lnTo>
                  <a:lnTo>
                    <a:pt x="1212" y="216"/>
                  </a:lnTo>
                  <a:lnTo>
                    <a:pt x="1218" y="204"/>
                  </a:lnTo>
                  <a:lnTo>
                    <a:pt x="1224" y="198"/>
                  </a:lnTo>
                  <a:lnTo>
                    <a:pt x="1224" y="192"/>
                  </a:lnTo>
                  <a:lnTo>
                    <a:pt x="1236" y="180"/>
                  </a:lnTo>
                  <a:lnTo>
                    <a:pt x="1254" y="156"/>
                  </a:lnTo>
                  <a:lnTo>
                    <a:pt x="1260" y="150"/>
                  </a:lnTo>
                  <a:lnTo>
                    <a:pt x="1260" y="144"/>
                  </a:lnTo>
                  <a:lnTo>
                    <a:pt x="1266" y="138"/>
                  </a:lnTo>
                  <a:lnTo>
                    <a:pt x="1272" y="138"/>
                  </a:lnTo>
                  <a:lnTo>
                    <a:pt x="1272" y="120"/>
                  </a:lnTo>
                  <a:lnTo>
                    <a:pt x="1278" y="114"/>
                  </a:lnTo>
                  <a:lnTo>
                    <a:pt x="1278" y="108"/>
                  </a:lnTo>
                  <a:lnTo>
                    <a:pt x="1278" y="102"/>
                  </a:lnTo>
                  <a:lnTo>
                    <a:pt x="1278" y="90"/>
                  </a:lnTo>
                  <a:lnTo>
                    <a:pt x="1278" y="84"/>
                  </a:lnTo>
                  <a:lnTo>
                    <a:pt x="1278" y="78"/>
                  </a:lnTo>
                  <a:lnTo>
                    <a:pt x="1278" y="72"/>
                  </a:lnTo>
                  <a:lnTo>
                    <a:pt x="1278" y="60"/>
                  </a:lnTo>
                  <a:lnTo>
                    <a:pt x="1284" y="48"/>
                  </a:lnTo>
                  <a:lnTo>
                    <a:pt x="1284" y="24"/>
                  </a:lnTo>
                  <a:lnTo>
                    <a:pt x="1284" y="18"/>
                  </a:lnTo>
                  <a:lnTo>
                    <a:pt x="1308" y="24"/>
                  </a:lnTo>
                  <a:lnTo>
                    <a:pt x="1332" y="30"/>
                  </a:lnTo>
                  <a:lnTo>
                    <a:pt x="1368" y="30"/>
                  </a:lnTo>
                  <a:lnTo>
                    <a:pt x="1392" y="24"/>
                  </a:lnTo>
                  <a:lnTo>
                    <a:pt x="1410" y="18"/>
                  </a:lnTo>
                  <a:lnTo>
                    <a:pt x="1416" y="6"/>
                  </a:lnTo>
                  <a:lnTo>
                    <a:pt x="1500" y="6"/>
                  </a:lnTo>
                  <a:lnTo>
                    <a:pt x="1506" y="0"/>
                  </a:lnTo>
                  <a:lnTo>
                    <a:pt x="1506" y="6"/>
                  </a:lnTo>
                  <a:lnTo>
                    <a:pt x="1506" y="18"/>
                  </a:lnTo>
                  <a:lnTo>
                    <a:pt x="1506" y="24"/>
                  </a:lnTo>
                  <a:lnTo>
                    <a:pt x="1500" y="30"/>
                  </a:lnTo>
                  <a:lnTo>
                    <a:pt x="1500" y="42"/>
                  </a:lnTo>
                  <a:lnTo>
                    <a:pt x="1494" y="54"/>
                  </a:lnTo>
                  <a:lnTo>
                    <a:pt x="1488" y="60"/>
                  </a:lnTo>
                  <a:lnTo>
                    <a:pt x="1482" y="60"/>
                  </a:lnTo>
                  <a:lnTo>
                    <a:pt x="1476" y="66"/>
                  </a:lnTo>
                  <a:lnTo>
                    <a:pt x="1476" y="72"/>
                  </a:lnTo>
                  <a:lnTo>
                    <a:pt x="1476" y="78"/>
                  </a:lnTo>
                  <a:lnTo>
                    <a:pt x="1470" y="78"/>
                  </a:lnTo>
                  <a:lnTo>
                    <a:pt x="1464" y="90"/>
                  </a:lnTo>
                  <a:lnTo>
                    <a:pt x="1458" y="96"/>
                  </a:lnTo>
                  <a:lnTo>
                    <a:pt x="1458" y="102"/>
                  </a:lnTo>
                  <a:lnTo>
                    <a:pt x="1452" y="120"/>
                  </a:lnTo>
                  <a:lnTo>
                    <a:pt x="1452" y="132"/>
                  </a:lnTo>
                  <a:lnTo>
                    <a:pt x="1446" y="144"/>
                  </a:lnTo>
                  <a:lnTo>
                    <a:pt x="1446" y="150"/>
                  </a:lnTo>
                  <a:lnTo>
                    <a:pt x="1440" y="150"/>
                  </a:lnTo>
                  <a:lnTo>
                    <a:pt x="1434" y="156"/>
                  </a:lnTo>
                  <a:lnTo>
                    <a:pt x="1428" y="168"/>
                  </a:lnTo>
                  <a:lnTo>
                    <a:pt x="1422" y="168"/>
                  </a:lnTo>
                  <a:lnTo>
                    <a:pt x="1416" y="174"/>
                  </a:lnTo>
                  <a:lnTo>
                    <a:pt x="1410" y="186"/>
                  </a:lnTo>
                  <a:lnTo>
                    <a:pt x="1410" y="204"/>
                  </a:lnTo>
                  <a:lnTo>
                    <a:pt x="1404" y="210"/>
                  </a:lnTo>
                  <a:lnTo>
                    <a:pt x="1404" y="216"/>
                  </a:lnTo>
                  <a:lnTo>
                    <a:pt x="1410" y="228"/>
                  </a:lnTo>
                  <a:lnTo>
                    <a:pt x="1410" y="234"/>
                  </a:lnTo>
                  <a:lnTo>
                    <a:pt x="1410" y="240"/>
                  </a:lnTo>
                  <a:lnTo>
                    <a:pt x="1416" y="252"/>
                  </a:lnTo>
                  <a:lnTo>
                    <a:pt x="1416" y="258"/>
                  </a:lnTo>
                  <a:lnTo>
                    <a:pt x="1422" y="264"/>
                  </a:lnTo>
                  <a:lnTo>
                    <a:pt x="1422" y="270"/>
                  </a:lnTo>
                  <a:lnTo>
                    <a:pt x="1422" y="282"/>
                  </a:lnTo>
                  <a:lnTo>
                    <a:pt x="1416" y="288"/>
                  </a:lnTo>
                  <a:lnTo>
                    <a:pt x="1410" y="294"/>
                  </a:lnTo>
                  <a:lnTo>
                    <a:pt x="1404" y="300"/>
                  </a:lnTo>
                  <a:lnTo>
                    <a:pt x="1404" y="306"/>
                  </a:lnTo>
                  <a:lnTo>
                    <a:pt x="1398" y="324"/>
                  </a:lnTo>
                  <a:lnTo>
                    <a:pt x="1404" y="330"/>
                  </a:lnTo>
                  <a:lnTo>
                    <a:pt x="1404" y="342"/>
                  </a:lnTo>
                  <a:lnTo>
                    <a:pt x="1392" y="354"/>
                  </a:lnTo>
                  <a:lnTo>
                    <a:pt x="1392" y="360"/>
                  </a:lnTo>
                  <a:lnTo>
                    <a:pt x="1392" y="372"/>
                  </a:lnTo>
                  <a:lnTo>
                    <a:pt x="1392" y="384"/>
                  </a:lnTo>
                  <a:lnTo>
                    <a:pt x="1392" y="396"/>
                  </a:lnTo>
                  <a:lnTo>
                    <a:pt x="1392" y="408"/>
                  </a:lnTo>
                  <a:lnTo>
                    <a:pt x="1386" y="414"/>
                  </a:lnTo>
                  <a:lnTo>
                    <a:pt x="1380" y="420"/>
                  </a:lnTo>
                  <a:lnTo>
                    <a:pt x="1380" y="426"/>
                  </a:lnTo>
                  <a:lnTo>
                    <a:pt x="1368" y="432"/>
                  </a:lnTo>
                  <a:lnTo>
                    <a:pt x="1362" y="444"/>
                  </a:lnTo>
                  <a:lnTo>
                    <a:pt x="1362" y="450"/>
                  </a:lnTo>
                  <a:lnTo>
                    <a:pt x="1362" y="462"/>
                  </a:lnTo>
                  <a:lnTo>
                    <a:pt x="1362" y="468"/>
                  </a:lnTo>
                  <a:lnTo>
                    <a:pt x="1362" y="474"/>
                  </a:lnTo>
                  <a:lnTo>
                    <a:pt x="1356" y="474"/>
                  </a:lnTo>
                  <a:lnTo>
                    <a:pt x="1350" y="480"/>
                  </a:lnTo>
                  <a:lnTo>
                    <a:pt x="1344" y="486"/>
                  </a:lnTo>
                  <a:lnTo>
                    <a:pt x="1338" y="498"/>
                  </a:lnTo>
                  <a:lnTo>
                    <a:pt x="1332" y="510"/>
                  </a:lnTo>
                  <a:lnTo>
                    <a:pt x="1320" y="510"/>
                  </a:lnTo>
                  <a:lnTo>
                    <a:pt x="1314" y="516"/>
                  </a:lnTo>
                  <a:lnTo>
                    <a:pt x="1302" y="522"/>
                  </a:lnTo>
                  <a:lnTo>
                    <a:pt x="1296" y="522"/>
                  </a:lnTo>
                  <a:lnTo>
                    <a:pt x="1284" y="516"/>
                  </a:lnTo>
                  <a:lnTo>
                    <a:pt x="1278" y="516"/>
                  </a:lnTo>
                  <a:lnTo>
                    <a:pt x="1272" y="522"/>
                  </a:lnTo>
                  <a:lnTo>
                    <a:pt x="1266" y="522"/>
                  </a:lnTo>
                  <a:lnTo>
                    <a:pt x="1266" y="528"/>
                  </a:lnTo>
                  <a:lnTo>
                    <a:pt x="1254" y="540"/>
                  </a:lnTo>
                  <a:lnTo>
                    <a:pt x="1248" y="546"/>
                  </a:lnTo>
                  <a:lnTo>
                    <a:pt x="1242" y="558"/>
                  </a:lnTo>
                  <a:lnTo>
                    <a:pt x="1230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30" y="594"/>
                  </a:lnTo>
                  <a:lnTo>
                    <a:pt x="1230" y="600"/>
                  </a:lnTo>
                  <a:lnTo>
                    <a:pt x="1236" y="606"/>
                  </a:lnTo>
                  <a:lnTo>
                    <a:pt x="1242" y="606"/>
                  </a:lnTo>
                  <a:lnTo>
                    <a:pt x="1242" y="612"/>
                  </a:lnTo>
                  <a:lnTo>
                    <a:pt x="1242" y="618"/>
                  </a:lnTo>
                  <a:lnTo>
                    <a:pt x="1242" y="624"/>
                  </a:lnTo>
                  <a:lnTo>
                    <a:pt x="1236" y="630"/>
                  </a:lnTo>
                  <a:lnTo>
                    <a:pt x="1230" y="642"/>
                  </a:lnTo>
                  <a:lnTo>
                    <a:pt x="1230" y="648"/>
                  </a:lnTo>
                  <a:lnTo>
                    <a:pt x="1218" y="654"/>
                  </a:lnTo>
                  <a:lnTo>
                    <a:pt x="1212" y="654"/>
                  </a:lnTo>
                  <a:lnTo>
                    <a:pt x="1212" y="660"/>
                  </a:lnTo>
                  <a:lnTo>
                    <a:pt x="1212" y="666"/>
                  </a:lnTo>
                  <a:lnTo>
                    <a:pt x="1212" y="672"/>
                  </a:lnTo>
                  <a:lnTo>
                    <a:pt x="1212" y="678"/>
                  </a:lnTo>
                  <a:lnTo>
                    <a:pt x="1218" y="684"/>
                  </a:lnTo>
                  <a:lnTo>
                    <a:pt x="1218" y="690"/>
                  </a:lnTo>
                  <a:lnTo>
                    <a:pt x="1224" y="696"/>
                  </a:lnTo>
                  <a:lnTo>
                    <a:pt x="1230" y="702"/>
                  </a:lnTo>
                  <a:lnTo>
                    <a:pt x="1236" y="696"/>
                  </a:lnTo>
                  <a:lnTo>
                    <a:pt x="1242" y="702"/>
                  </a:lnTo>
                  <a:lnTo>
                    <a:pt x="1248" y="708"/>
                  </a:lnTo>
                  <a:lnTo>
                    <a:pt x="1254" y="714"/>
                  </a:lnTo>
                  <a:lnTo>
                    <a:pt x="1254" y="720"/>
                  </a:lnTo>
                  <a:lnTo>
                    <a:pt x="1260" y="720"/>
                  </a:lnTo>
                  <a:lnTo>
                    <a:pt x="1254" y="732"/>
                  </a:lnTo>
                  <a:lnTo>
                    <a:pt x="1248" y="738"/>
                  </a:lnTo>
                  <a:lnTo>
                    <a:pt x="1242" y="744"/>
                  </a:lnTo>
                  <a:lnTo>
                    <a:pt x="1236" y="750"/>
                  </a:lnTo>
                  <a:lnTo>
                    <a:pt x="1236" y="756"/>
                  </a:lnTo>
                  <a:lnTo>
                    <a:pt x="1236" y="762"/>
                  </a:lnTo>
                  <a:lnTo>
                    <a:pt x="1236" y="768"/>
                  </a:lnTo>
                  <a:lnTo>
                    <a:pt x="1236" y="780"/>
                  </a:lnTo>
                  <a:lnTo>
                    <a:pt x="1230" y="780"/>
                  </a:lnTo>
                  <a:lnTo>
                    <a:pt x="1230" y="786"/>
                  </a:lnTo>
                  <a:lnTo>
                    <a:pt x="1230" y="792"/>
                  </a:lnTo>
                  <a:lnTo>
                    <a:pt x="1230" y="804"/>
                  </a:lnTo>
                  <a:lnTo>
                    <a:pt x="1224" y="810"/>
                  </a:lnTo>
                  <a:lnTo>
                    <a:pt x="1218" y="816"/>
                  </a:lnTo>
                  <a:lnTo>
                    <a:pt x="1224" y="822"/>
                  </a:lnTo>
                  <a:lnTo>
                    <a:pt x="1224" y="828"/>
                  </a:lnTo>
                  <a:lnTo>
                    <a:pt x="1218" y="834"/>
                  </a:lnTo>
                  <a:lnTo>
                    <a:pt x="1224" y="834"/>
                  </a:lnTo>
                  <a:lnTo>
                    <a:pt x="1224" y="840"/>
                  </a:lnTo>
                  <a:lnTo>
                    <a:pt x="1224" y="846"/>
                  </a:lnTo>
                  <a:lnTo>
                    <a:pt x="1224" y="852"/>
                  </a:lnTo>
                  <a:lnTo>
                    <a:pt x="1218" y="858"/>
                  </a:lnTo>
                  <a:lnTo>
                    <a:pt x="1218" y="870"/>
                  </a:lnTo>
                  <a:lnTo>
                    <a:pt x="1212" y="870"/>
                  </a:lnTo>
                  <a:lnTo>
                    <a:pt x="1212" y="876"/>
                  </a:lnTo>
                  <a:lnTo>
                    <a:pt x="1206" y="888"/>
                  </a:lnTo>
                  <a:lnTo>
                    <a:pt x="1200" y="882"/>
                  </a:lnTo>
                  <a:lnTo>
                    <a:pt x="1194" y="888"/>
                  </a:lnTo>
                  <a:lnTo>
                    <a:pt x="1188" y="894"/>
                  </a:lnTo>
                  <a:lnTo>
                    <a:pt x="1182" y="894"/>
                  </a:lnTo>
                  <a:lnTo>
                    <a:pt x="1182" y="900"/>
                  </a:lnTo>
                  <a:lnTo>
                    <a:pt x="1176" y="900"/>
                  </a:lnTo>
                  <a:lnTo>
                    <a:pt x="1170" y="894"/>
                  </a:lnTo>
                  <a:lnTo>
                    <a:pt x="1164" y="900"/>
                  </a:lnTo>
                  <a:lnTo>
                    <a:pt x="1158" y="900"/>
                  </a:lnTo>
                  <a:lnTo>
                    <a:pt x="1152" y="900"/>
                  </a:lnTo>
                  <a:lnTo>
                    <a:pt x="1140" y="900"/>
                  </a:lnTo>
                  <a:lnTo>
                    <a:pt x="1134" y="900"/>
                  </a:lnTo>
                  <a:lnTo>
                    <a:pt x="1128" y="906"/>
                  </a:lnTo>
                  <a:lnTo>
                    <a:pt x="1110" y="906"/>
                  </a:lnTo>
                  <a:lnTo>
                    <a:pt x="1104" y="906"/>
                  </a:lnTo>
                  <a:lnTo>
                    <a:pt x="1098" y="906"/>
                  </a:lnTo>
                  <a:lnTo>
                    <a:pt x="1092" y="912"/>
                  </a:lnTo>
                  <a:lnTo>
                    <a:pt x="1080" y="918"/>
                  </a:lnTo>
                  <a:lnTo>
                    <a:pt x="1068" y="930"/>
                  </a:lnTo>
                  <a:lnTo>
                    <a:pt x="1062" y="930"/>
                  </a:lnTo>
                  <a:lnTo>
                    <a:pt x="1056" y="930"/>
                  </a:lnTo>
                  <a:lnTo>
                    <a:pt x="1050" y="930"/>
                  </a:lnTo>
                  <a:lnTo>
                    <a:pt x="1050" y="936"/>
                  </a:lnTo>
                  <a:lnTo>
                    <a:pt x="1038" y="942"/>
                  </a:lnTo>
                  <a:lnTo>
                    <a:pt x="1032" y="948"/>
                  </a:lnTo>
                  <a:lnTo>
                    <a:pt x="1026" y="954"/>
                  </a:lnTo>
                  <a:lnTo>
                    <a:pt x="1020" y="960"/>
                  </a:lnTo>
                  <a:lnTo>
                    <a:pt x="1014" y="966"/>
                  </a:lnTo>
                  <a:lnTo>
                    <a:pt x="1002" y="966"/>
                  </a:lnTo>
                  <a:lnTo>
                    <a:pt x="990" y="978"/>
                  </a:lnTo>
                  <a:lnTo>
                    <a:pt x="984" y="978"/>
                  </a:lnTo>
                  <a:lnTo>
                    <a:pt x="978" y="984"/>
                  </a:lnTo>
                  <a:lnTo>
                    <a:pt x="972" y="984"/>
                  </a:lnTo>
                  <a:lnTo>
                    <a:pt x="978" y="990"/>
                  </a:lnTo>
                  <a:lnTo>
                    <a:pt x="972" y="996"/>
                  </a:lnTo>
                  <a:lnTo>
                    <a:pt x="978" y="1002"/>
                  </a:lnTo>
                  <a:lnTo>
                    <a:pt x="1002" y="1002"/>
                  </a:lnTo>
                  <a:lnTo>
                    <a:pt x="1002" y="1008"/>
                  </a:lnTo>
                  <a:lnTo>
                    <a:pt x="1008" y="1020"/>
                  </a:lnTo>
                  <a:lnTo>
                    <a:pt x="1002" y="1026"/>
                  </a:lnTo>
                  <a:lnTo>
                    <a:pt x="1002" y="1032"/>
                  </a:lnTo>
                  <a:lnTo>
                    <a:pt x="1002" y="1050"/>
                  </a:lnTo>
                  <a:lnTo>
                    <a:pt x="1002" y="1056"/>
                  </a:lnTo>
                  <a:lnTo>
                    <a:pt x="1008" y="1062"/>
                  </a:lnTo>
                  <a:lnTo>
                    <a:pt x="1008" y="1074"/>
                  </a:lnTo>
                  <a:lnTo>
                    <a:pt x="1008" y="1086"/>
                  </a:lnTo>
                  <a:lnTo>
                    <a:pt x="996" y="1092"/>
                  </a:lnTo>
                  <a:lnTo>
                    <a:pt x="996" y="1098"/>
                  </a:lnTo>
                  <a:lnTo>
                    <a:pt x="996" y="1104"/>
                  </a:lnTo>
                  <a:lnTo>
                    <a:pt x="990" y="1110"/>
                  </a:lnTo>
                  <a:lnTo>
                    <a:pt x="990" y="1116"/>
                  </a:lnTo>
                  <a:lnTo>
                    <a:pt x="996" y="1122"/>
                  </a:lnTo>
                  <a:lnTo>
                    <a:pt x="990" y="1128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96" y="1140"/>
                  </a:lnTo>
                  <a:lnTo>
                    <a:pt x="996" y="1146"/>
                  </a:lnTo>
                  <a:lnTo>
                    <a:pt x="996" y="1152"/>
                  </a:lnTo>
                  <a:lnTo>
                    <a:pt x="996" y="1158"/>
                  </a:lnTo>
                  <a:lnTo>
                    <a:pt x="996" y="1164"/>
                  </a:lnTo>
                  <a:lnTo>
                    <a:pt x="996" y="1170"/>
                  </a:lnTo>
                  <a:lnTo>
                    <a:pt x="996" y="1176"/>
                  </a:lnTo>
                  <a:lnTo>
                    <a:pt x="990" y="1182"/>
                  </a:lnTo>
                  <a:lnTo>
                    <a:pt x="990" y="1188"/>
                  </a:lnTo>
                  <a:lnTo>
                    <a:pt x="984" y="1200"/>
                  </a:lnTo>
                  <a:lnTo>
                    <a:pt x="990" y="1206"/>
                  </a:lnTo>
                  <a:lnTo>
                    <a:pt x="990" y="1212"/>
                  </a:lnTo>
                  <a:lnTo>
                    <a:pt x="990" y="1218"/>
                  </a:lnTo>
                  <a:lnTo>
                    <a:pt x="978" y="1230"/>
                  </a:lnTo>
                  <a:lnTo>
                    <a:pt x="972" y="1236"/>
                  </a:lnTo>
                  <a:lnTo>
                    <a:pt x="972" y="1242"/>
                  </a:lnTo>
                  <a:lnTo>
                    <a:pt x="966" y="1248"/>
                  </a:lnTo>
                  <a:lnTo>
                    <a:pt x="960" y="1260"/>
                  </a:lnTo>
                  <a:lnTo>
                    <a:pt x="954" y="1266"/>
                  </a:lnTo>
                  <a:lnTo>
                    <a:pt x="942" y="1278"/>
                  </a:lnTo>
                  <a:lnTo>
                    <a:pt x="936" y="1278"/>
                  </a:lnTo>
                  <a:lnTo>
                    <a:pt x="936" y="1284"/>
                  </a:lnTo>
                  <a:lnTo>
                    <a:pt x="936" y="1296"/>
                  </a:lnTo>
                  <a:lnTo>
                    <a:pt x="936" y="1302"/>
                  </a:lnTo>
                  <a:lnTo>
                    <a:pt x="942" y="1302"/>
                  </a:lnTo>
                  <a:lnTo>
                    <a:pt x="942" y="1308"/>
                  </a:lnTo>
                  <a:lnTo>
                    <a:pt x="936" y="1314"/>
                  </a:lnTo>
                  <a:lnTo>
                    <a:pt x="930" y="1320"/>
                  </a:lnTo>
                  <a:lnTo>
                    <a:pt x="930" y="1326"/>
                  </a:lnTo>
                  <a:lnTo>
                    <a:pt x="930" y="1332"/>
                  </a:lnTo>
                  <a:lnTo>
                    <a:pt x="936" y="1338"/>
                  </a:lnTo>
                  <a:lnTo>
                    <a:pt x="936" y="1344"/>
                  </a:lnTo>
                  <a:lnTo>
                    <a:pt x="942" y="1356"/>
                  </a:lnTo>
                  <a:lnTo>
                    <a:pt x="948" y="1368"/>
                  </a:lnTo>
                  <a:lnTo>
                    <a:pt x="942" y="1380"/>
                  </a:lnTo>
                  <a:lnTo>
                    <a:pt x="936" y="1386"/>
                  </a:lnTo>
                  <a:lnTo>
                    <a:pt x="930" y="1392"/>
                  </a:lnTo>
                  <a:lnTo>
                    <a:pt x="924" y="1392"/>
                  </a:lnTo>
                  <a:lnTo>
                    <a:pt x="918" y="1386"/>
                  </a:lnTo>
                  <a:lnTo>
                    <a:pt x="912" y="1386"/>
                  </a:lnTo>
                  <a:lnTo>
                    <a:pt x="906" y="1386"/>
                  </a:lnTo>
                  <a:lnTo>
                    <a:pt x="900" y="1386"/>
                  </a:lnTo>
                  <a:lnTo>
                    <a:pt x="900" y="1392"/>
                  </a:lnTo>
                  <a:lnTo>
                    <a:pt x="894" y="1392"/>
                  </a:lnTo>
                  <a:lnTo>
                    <a:pt x="888" y="1392"/>
                  </a:lnTo>
                  <a:lnTo>
                    <a:pt x="888" y="1398"/>
                  </a:lnTo>
                  <a:lnTo>
                    <a:pt x="882" y="1404"/>
                  </a:lnTo>
                  <a:lnTo>
                    <a:pt x="882" y="1416"/>
                  </a:lnTo>
                  <a:lnTo>
                    <a:pt x="882" y="1428"/>
                  </a:lnTo>
                  <a:lnTo>
                    <a:pt x="882" y="1434"/>
                  </a:lnTo>
                  <a:lnTo>
                    <a:pt x="870" y="1440"/>
                  </a:lnTo>
                  <a:lnTo>
                    <a:pt x="864" y="1452"/>
                  </a:lnTo>
                  <a:lnTo>
                    <a:pt x="870" y="1452"/>
                  </a:lnTo>
                  <a:lnTo>
                    <a:pt x="864" y="1458"/>
                  </a:lnTo>
                  <a:lnTo>
                    <a:pt x="858" y="1464"/>
                  </a:lnTo>
                  <a:lnTo>
                    <a:pt x="852" y="1464"/>
                  </a:lnTo>
                  <a:lnTo>
                    <a:pt x="846" y="1458"/>
                  </a:lnTo>
                  <a:lnTo>
                    <a:pt x="840" y="1458"/>
                  </a:lnTo>
                  <a:lnTo>
                    <a:pt x="828" y="1470"/>
                  </a:lnTo>
                  <a:lnTo>
                    <a:pt x="810" y="1482"/>
                  </a:lnTo>
                  <a:lnTo>
                    <a:pt x="804" y="1488"/>
                  </a:lnTo>
                  <a:lnTo>
                    <a:pt x="798" y="1488"/>
                  </a:lnTo>
                  <a:lnTo>
                    <a:pt x="792" y="1488"/>
                  </a:lnTo>
                  <a:lnTo>
                    <a:pt x="786" y="1488"/>
                  </a:lnTo>
                  <a:lnTo>
                    <a:pt x="768" y="1482"/>
                  </a:lnTo>
                  <a:lnTo>
                    <a:pt x="762" y="1476"/>
                  </a:lnTo>
                  <a:lnTo>
                    <a:pt x="744" y="1476"/>
                  </a:lnTo>
                  <a:lnTo>
                    <a:pt x="738" y="1476"/>
                  </a:lnTo>
                  <a:lnTo>
                    <a:pt x="732" y="1476"/>
                  </a:lnTo>
                  <a:lnTo>
                    <a:pt x="726" y="1482"/>
                  </a:lnTo>
                  <a:lnTo>
                    <a:pt x="726" y="1488"/>
                  </a:lnTo>
                  <a:lnTo>
                    <a:pt x="726" y="1494"/>
                  </a:lnTo>
                  <a:lnTo>
                    <a:pt x="726" y="1500"/>
                  </a:lnTo>
                  <a:lnTo>
                    <a:pt x="720" y="1500"/>
                  </a:lnTo>
                  <a:lnTo>
                    <a:pt x="720" y="1506"/>
                  </a:lnTo>
                  <a:lnTo>
                    <a:pt x="714" y="1512"/>
                  </a:lnTo>
                  <a:lnTo>
                    <a:pt x="714" y="1518"/>
                  </a:lnTo>
                  <a:lnTo>
                    <a:pt x="708" y="1518"/>
                  </a:lnTo>
                  <a:lnTo>
                    <a:pt x="708" y="1530"/>
                  </a:lnTo>
                  <a:lnTo>
                    <a:pt x="708" y="1536"/>
                  </a:lnTo>
                  <a:lnTo>
                    <a:pt x="708" y="1542"/>
                  </a:lnTo>
                  <a:lnTo>
                    <a:pt x="696" y="1554"/>
                  </a:lnTo>
                  <a:lnTo>
                    <a:pt x="690" y="1560"/>
                  </a:lnTo>
                  <a:lnTo>
                    <a:pt x="684" y="1566"/>
                  </a:lnTo>
                  <a:lnTo>
                    <a:pt x="672" y="1566"/>
                  </a:lnTo>
                  <a:lnTo>
                    <a:pt x="666" y="1566"/>
                  </a:lnTo>
                  <a:lnTo>
                    <a:pt x="660" y="1566"/>
                  </a:lnTo>
                  <a:lnTo>
                    <a:pt x="654" y="1572"/>
                  </a:lnTo>
                  <a:lnTo>
                    <a:pt x="654" y="1578"/>
                  </a:lnTo>
                  <a:lnTo>
                    <a:pt x="642" y="1578"/>
                  </a:lnTo>
                  <a:lnTo>
                    <a:pt x="630" y="1572"/>
                  </a:lnTo>
                  <a:lnTo>
                    <a:pt x="624" y="1572"/>
                  </a:lnTo>
                  <a:lnTo>
                    <a:pt x="618" y="1578"/>
                  </a:lnTo>
                  <a:lnTo>
                    <a:pt x="612" y="1584"/>
                  </a:lnTo>
                  <a:lnTo>
                    <a:pt x="606" y="1584"/>
                  </a:lnTo>
                  <a:lnTo>
                    <a:pt x="600" y="1590"/>
                  </a:lnTo>
                  <a:lnTo>
                    <a:pt x="594" y="1590"/>
                  </a:lnTo>
                  <a:lnTo>
                    <a:pt x="588" y="1590"/>
                  </a:lnTo>
                  <a:lnTo>
                    <a:pt x="582" y="1590"/>
                  </a:lnTo>
                  <a:lnTo>
                    <a:pt x="582" y="1596"/>
                  </a:lnTo>
                  <a:lnTo>
                    <a:pt x="576" y="1614"/>
                  </a:lnTo>
                  <a:lnTo>
                    <a:pt x="570" y="1632"/>
                  </a:lnTo>
                  <a:lnTo>
                    <a:pt x="570" y="1638"/>
                  </a:lnTo>
                  <a:lnTo>
                    <a:pt x="576" y="1644"/>
                  </a:lnTo>
                  <a:lnTo>
                    <a:pt x="576" y="1650"/>
                  </a:lnTo>
                  <a:lnTo>
                    <a:pt x="582" y="1662"/>
                  </a:lnTo>
                  <a:lnTo>
                    <a:pt x="582" y="1668"/>
                  </a:lnTo>
                  <a:lnTo>
                    <a:pt x="588" y="1692"/>
                  </a:lnTo>
                  <a:lnTo>
                    <a:pt x="594" y="1728"/>
                  </a:lnTo>
                  <a:lnTo>
                    <a:pt x="594" y="1752"/>
                  </a:lnTo>
                  <a:lnTo>
                    <a:pt x="594" y="1764"/>
                  </a:lnTo>
                  <a:lnTo>
                    <a:pt x="582" y="1770"/>
                  </a:lnTo>
                  <a:lnTo>
                    <a:pt x="582" y="1782"/>
                  </a:lnTo>
                  <a:lnTo>
                    <a:pt x="576" y="1788"/>
                  </a:lnTo>
                  <a:lnTo>
                    <a:pt x="570" y="1794"/>
                  </a:lnTo>
                  <a:lnTo>
                    <a:pt x="564" y="1806"/>
                  </a:lnTo>
                  <a:lnTo>
                    <a:pt x="564" y="1812"/>
                  </a:lnTo>
                  <a:lnTo>
                    <a:pt x="558" y="1812"/>
                  </a:lnTo>
                  <a:lnTo>
                    <a:pt x="564" y="1824"/>
                  </a:lnTo>
                  <a:lnTo>
                    <a:pt x="564" y="1830"/>
                  </a:lnTo>
                  <a:lnTo>
                    <a:pt x="564" y="1842"/>
                  </a:lnTo>
                  <a:lnTo>
                    <a:pt x="564" y="1848"/>
                  </a:lnTo>
                  <a:lnTo>
                    <a:pt x="564" y="1854"/>
                  </a:lnTo>
                  <a:lnTo>
                    <a:pt x="570" y="1860"/>
                  </a:lnTo>
                  <a:lnTo>
                    <a:pt x="570" y="1866"/>
                  </a:lnTo>
                  <a:lnTo>
                    <a:pt x="570" y="1872"/>
                  </a:lnTo>
                  <a:lnTo>
                    <a:pt x="570" y="1878"/>
                  </a:lnTo>
                  <a:lnTo>
                    <a:pt x="564" y="1890"/>
                  </a:lnTo>
                  <a:lnTo>
                    <a:pt x="558" y="1896"/>
                  </a:lnTo>
                  <a:lnTo>
                    <a:pt x="552" y="1908"/>
                  </a:lnTo>
                  <a:lnTo>
                    <a:pt x="546" y="1914"/>
                  </a:lnTo>
                  <a:lnTo>
                    <a:pt x="540" y="1920"/>
                  </a:lnTo>
                  <a:lnTo>
                    <a:pt x="534" y="1932"/>
                  </a:lnTo>
                  <a:lnTo>
                    <a:pt x="528" y="1944"/>
                  </a:lnTo>
                  <a:lnTo>
                    <a:pt x="516" y="1950"/>
                  </a:lnTo>
                  <a:lnTo>
                    <a:pt x="510" y="1956"/>
                  </a:lnTo>
                  <a:lnTo>
                    <a:pt x="498" y="1962"/>
                  </a:lnTo>
                  <a:lnTo>
                    <a:pt x="492" y="1974"/>
                  </a:lnTo>
                  <a:lnTo>
                    <a:pt x="486" y="1980"/>
                  </a:lnTo>
                  <a:lnTo>
                    <a:pt x="480" y="1998"/>
                  </a:lnTo>
                  <a:lnTo>
                    <a:pt x="474" y="2004"/>
                  </a:lnTo>
                  <a:lnTo>
                    <a:pt x="474" y="2010"/>
                  </a:lnTo>
                  <a:lnTo>
                    <a:pt x="474" y="2016"/>
                  </a:lnTo>
                  <a:lnTo>
                    <a:pt x="468" y="2016"/>
                  </a:lnTo>
                  <a:lnTo>
                    <a:pt x="468" y="2028"/>
                  </a:lnTo>
                  <a:lnTo>
                    <a:pt x="462" y="2034"/>
                  </a:lnTo>
                  <a:lnTo>
                    <a:pt x="456" y="2040"/>
                  </a:lnTo>
                  <a:lnTo>
                    <a:pt x="456" y="2052"/>
                  </a:lnTo>
                  <a:lnTo>
                    <a:pt x="450" y="2058"/>
                  </a:lnTo>
                  <a:lnTo>
                    <a:pt x="450" y="2070"/>
                  </a:lnTo>
                  <a:lnTo>
                    <a:pt x="450" y="2076"/>
                  </a:lnTo>
                  <a:lnTo>
                    <a:pt x="450" y="2082"/>
                  </a:lnTo>
                  <a:lnTo>
                    <a:pt x="444" y="2088"/>
                  </a:lnTo>
                  <a:lnTo>
                    <a:pt x="438" y="2094"/>
                  </a:lnTo>
                  <a:lnTo>
                    <a:pt x="444" y="2100"/>
                  </a:lnTo>
                  <a:lnTo>
                    <a:pt x="444" y="2124"/>
                  </a:lnTo>
                  <a:lnTo>
                    <a:pt x="444" y="2142"/>
                  </a:lnTo>
                  <a:lnTo>
                    <a:pt x="444" y="2160"/>
                  </a:lnTo>
                  <a:lnTo>
                    <a:pt x="450" y="2166"/>
                  </a:lnTo>
                  <a:lnTo>
                    <a:pt x="456" y="2178"/>
                  </a:lnTo>
                  <a:lnTo>
                    <a:pt x="438" y="2184"/>
                  </a:lnTo>
                  <a:lnTo>
                    <a:pt x="432" y="2184"/>
                  </a:lnTo>
                  <a:lnTo>
                    <a:pt x="426" y="2190"/>
                  </a:lnTo>
                  <a:lnTo>
                    <a:pt x="408" y="2190"/>
                  </a:lnTo>
                  <a:lnTo>
                    <a:pt x="402" y="2196"/>
                  </a:lnTo>
                  <a:lnTo>
                    <a:pt x="396" y="2196"/>
                  </a:lnTo>
                  <a:lnTo>
                    <a:pt x="384" y="2208"/>
                  </a:lnTo>
                  <a:lnTo>
                    <a:pt x="378" y="2220"/>
                  </a:lnTo>
                  <a:lnTo>
                    <a:pt x="366" y="2232"/>
                  </a:lnTo>
                  <a:lnTo>
                    <a:pt x="366" y="2238"/>
                  </a:lnTo>
                  <a:lnTo>
                    <a:pt x="360" y="2238"/>
                  </a:lnTo>
                  <a:lnTo>
                    <a:pt x="360" y="2244"/>
                  </a:lnTo>
                  <a:lnTo>
                    <a:pt x="354" y="2244"/>
                  </a:lnTo>
                  <a:lnTo>
                    <a:pt x="330" y="227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5" name="Freeform 10">
              <a:extLst>
                <a:ext uri="{FF2B5EF4-FFF2-40B4-BE49-F238E27FC236}">
                  <a16:creationId xmlns:a16="http://schemas.microsoft.com/office/drawing/2014/main" id="{3AD2FC58-3490-4B7F-A8BE-621F3CDD69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1996" y="1931890"/>
              <a:ext cx="805029" cy="1037736"/>
            </a:xfrm>
            <a:custGeom>
              <a:avLst/>
              <a:gdLst>
                <a:gd name="T0" fmla="*/ 124 w 1512"/>
                <a:gd name="T1" fmla="*/ 76 h 1956"/>
                <a:gd name="T2" fmla="*/ 120 w 1512"/>
                <a:gd name="T3" fmla="*/ 80 h 1956"/>
                <a:gd name="T4" fmla="*/ 106 w 1512"/>
                <a:gd name="T5" fmla="*/ 84 h 1956"/>
                <a:gd name="T6" fmla="*/ 105 w 1512"/>
                <a:gd name="T7" fmla="*/ 91 h 1956"/>
                <a:gd name="T8" fmla="*/ 101 w 1512"/>
                <a:gd name="T9" fmla="*/ 99 h 1956"/>
                <a:gd name="T10" fmla="*/ 105 w 1512"/>
                <a:gd name="T11" fmla="*/ 107 h 1956"/>
                <a:gd name="T12" fmla="*/ 119 w 1512"/>
                <a:gd name="T13" fmla="*/ 116 h 1956"/>
                <a:gd name="T14" fmla="*/ 121 w 1512"/>
                <a:gd name="T15" fmla="*/ 128 h 1956"/>
                <a:gd name="T16" fmla="*/ 112 w 1512"/>
                <a:gd name="T17" fmla="*/ 136 h 1956"/>
                <a:gd name="T18" fmla="*/ 119 w 1512"/>
                <a:gd name="T19" fmla="*/ 143 h 1956"/>
                <a:gd name="T20" fmla="*/ 126 w 1512"/>
                <a:gd name="T21" fmla="*/ 148 h 1956"/>
                <a:gd name="T22" fmla="*/ 126 w 1512"/>
                <a:gd name="T23" fmla="*/ 160 h 1956"/>
                <a:gd name="T24" fmla="*/ 104 w 1512"/>
                <a:gd name="T25" fmla="*/ 170 h 1956"/>
                <a:gd name="T26" fmla="*/ 99 w 1512"/>
                <a:gd name="T27" fmla="*/ 164 h 1956"/>
                <a:gd name="T28" fmla="*/ 73 w 1512"/>
                <a:gd name="T29" fmla="*/ 152 h 1956"/>
                <a:gd name="T30" fmla="*/ 56 w 1512"/>
                <a:gd name="T31" fmla="*/ 165 h 1956"/>
                <a:gd name="T32" fmla="*/ 33 w 1512"/>
                <a:gd name="T33" fmla="*/ 162 h 1956"/>
                <a:gd name="T34" fmla="*/ 25 w 1512"/>
                <a:gd name="T35" fmla="*/ 155 h 1956"/>
                <a:gd name="T36" fmla="*/ 31 w 1512"/>
                <a:gd name="T37" fmla="*/ 142 h 1956"/>
                <a:gd name="T38" fmla="*/ 24 w 1512"/>
                <a:gd name="T39" fmla="*/ 137 h 1956"/>
                <a:gd name="T40" fmla="*/ 14 w 1512"/>
                <a:gd name="T41" fmla="*/ 136 h 1956"/>
                <a:gd name="T42" fmla="*/ 11 w 1512"/>
                <a:gd name="T43" fmla="*/ 125 h 1956"/>
                <a:gd name="T44" fmla="*/ 3 w 1512"/>
                <a:gd name="T45" fmla="*/ 116 h 1956"/>
                <a:gd name="T46" fmla="*/ 2 w 1512"/>
                <a:gd name="T47" fmla="*/ 106 h 1956"/>
                <a:gd name="T48" fmla="*/ 5 w 1512"/>
                <a:gd name="T49" fmla="*/ 101 h 1956"/>
                <a:gd name="T50" fmla="*/ 2 w 1512"/>
                <a:gd name="T51" fmla="*/ 95 h 1956"/>
                <a:gd name="T52" fmla="*/ 1 w 1512"/>
                <a:gd name="T53" fmla="*/ 88 h 1956"/>
                <a:gd name="T54" fmla="*/ 4 w 1512"/>
                <a:gd name="T55" fmla="*/ 80 h 1956"/>
                <a:gd name="T56" fmla="*/ 12 w 1512"/>
                <a:gd name="T57" fmla="*/ 73 h 1956"/>
                <a:gd name="T58" fmla="*/ 16 w 1512"/>
                <a:gd name="T59" fmla="*/ 68 h 1956"/>
                <a:gd name="T60" fmla="*/ 22 w 1512"/>
                <a:gd name="T61" fmla="*/ 66 h 1956"/>
                <a:gd name="T62" fmla="*/ 32 w 1512"/>
                <a:gd name="T63" fmla="*/ 65 h 1956"/>
                <a:gd name="T64" fmla="*/ 45 w 1512"/>
                <a:gd name="T65" fmla="*/ 66 h 1956"/>
                <a:gd name="T66" fmla="*/ 50 w 1512"/>
                <a:gd name="T67" fmla="*/ 70 h 1956"/>
                <a:gd name="T68" fmla="*/ 55 w 1512"/>
                <a:gd name="T69" fmla="*/ 70 h 1956"/>
                <a:gd name="T70" fmla="*/ 63 w 1512"/>
                <a:gd name="T71" fmla="*/ 71 h 1956"/>
                <a:gd name="T72" fmla="*/ 61 w 1512"/>
                <a:gd name="T73" fmla="*/ 75 h 1956"/>
                <a:gd name="T74" fmla="*/ 66 w 1512"/>
                <a:gd name="T75" fmla="*/ 84 h 1956"/>
                <a:gd name="T76" fmla="*/ 81 w 1512"/>
                <a:gd name="T77" fmla="*/ 85 h 1956"/>
                <a:gd name="T78" fmla="*/ 83 w 1512"/>
                <a:gd name="T79" fmla="*/ 79 h 1956"/>
                <a:gd name="T80" fmla="*/ 89 w 1512"/>
                <a:gd name="T81" fmla="*/ 77 h 1956"/>
                <a:gd name="T82" fmla="*/ 89 w 1512"/>
                <a:gd name="T83" fmla="*/ 73 h 1956"/>
                <a:gd name="T84" fmla="*/ 83 w 1512"/>
                <a:gd name="T85" fmla="*/ 72 h 1956"/>
                <a:gd name="T86" fmla="*/ 77 w 1512"/>
                <a:gd name="T87" fmla="*/ 70 h 1956"/>
                <a:gd name="T88" fmla="*/ 71 w 1512"/>
                <a:gd name="T89" fmla="*/ 70 h 1956"/>
                <a:gd name="T90" fmla="*/ 59 w 1512"/>
                <a:gd name="T91" fmla="*/ 58 h 1956"/>
                <a:gd name="T92" fmla="*/ 54 w 1512"/>
                <a:gd name="T93" fmla="*/ 45 h 1956"/>
                <a:gd name="T94" fmla="*/ 49 w 1512"/>
                <a:gd name="T95" fmla="*/ 42 h 1956"/>
                <a:gd name="T96" fmla="*/ 51 w 1512"/>
                <a:gd name="T97" fmla="*/ 39 h 1956"/>
                <a:gd name="T98" fmla="*/ 55 w 1512"/>
                <a:gd name="T99" fmla="*/ 36 h 1956"/>
                <a:gd name="T100" fmla="*/ 63 w 1512"/>
                <a:gd name="T101" fmla="*/ 34 h 1956"/>
                <a:gd name="T102" fmla="*/ 68 w 1512"/>
                <a:gd name="T103" fmla="*/ 32 h 1956"/>
                <a:gd name="T104" fmla="*/ 73 w 1512"/>
                <a:gd name="T105" fmla="*/ 29 h 1956"/>
                <a:gd name="T106" fmla="*/ 78 w 1512"/>
                <a:gd name="T107" fmla="*/ 27 h 1956"/>
                <a:gd name="T108" fmla="*/ 81 w 1512"/>
                <a:gd name="T109" fmla="*/ 17 h 1956"/>
                <a:gd name="T110" fmla="*/ 84 w 1512"/>
                <a:gd name="T111" fmla="*/ 6 h 1956"/>
                <a:gd name="T112" fmla="*/ 95 w 1512"/>
                <a:gd name="T113" fmla="*/ 6 h 1956"/>
                <a:gd name="T114" fmla="*/ 99 w 1512"/>
                <a:gd name="T115" fmla="*/ 3 h 1956"/>
                <a:gd name="T116" fmla="*/ 103 w 1512"/>
                <a:gd name="T117" fmla="*/ 0 h 1956"/>
                <a:gd name="T118" fmla="*/ 110 w 1512"/>
                <a:gd name="T119" fmla="*/ 4 h 1956"/>
                <a:gd name="T120" fmla="*/ 114 w 1512"/>
                <a:gd name="T121" fmla="*/ 33 h 1956"/>
                <a:gd name="T122" fmla="*/ 117 w 1512"/>
                <a:gd name="T123" fmla="*/ 41 h 1956"/>
                <a:gd name="T124" fmla="*/ 119 w 1512"/>
                <a:gd name="T125" fmla="*/ 62 h 195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12"/>
                <a:gd name="T190" fmla="*/ 0 h 1956"/>
                <a:gd name="T191" fmla="*/ 1512 w 1512"/>
                <a:gd name="T192" fmla="*/ 1956 h 195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12" h="1956">
                  <a:moveTo>
                    <a:pt x="1512" y="780"/>
                  </a:moveTo>
                  <a:lnTo>
                    <a:pt x="1482" y="786"/>
                  </a:lnTo>
                  <a:lnTo>
                    <a:pt x="1476" y="792"/>
                  </a:lnTo>
                  <a:lnTo>
                    <a:pt x="1476" y="798"/>
                  </a:lnTo>
                  <a:lnTo>
                    <a:pt x="1476" y="804"/>
                  </a:lnTo>
                  <a:lnTo>
                    <a:pt x="1476" y="816"/>
                  </a:lnTo>
                  <a:lnTo>
                    <a:pt x="1470" y="834"/>
                  </a:lnTo>
                  <a:lnTo>
                    <a:pt x="1464" y="840"/>
                  </a:lnTo>
                  <a:lnTo>
                    <a:pt x="1452" y="852"/>
                  </a:lnTo>
                  <a:lnTo>
                    <a:pt x="1440" y="864"/>
                  </a:lnTo>
                  <a:lnTo>
                    <a:pt x="1434" y="864"/>
                  </a:lnTo>
                  <a:lnTo>
                    <a:pt x="1434" y="870"/>
                  </a:lnTo>
                  <a:lnTo>
                    <a:pt x="1422" y="876"/>
                  </a:lnTo>
                  <a:lnTo>
                    <a:pt x="1410" y="894"/>
                  </a:lnTo>
                  <a:lnTo>
                    <a:pt x="1404" y="894"/>
                  </a:lnTo>
                  <a:lnTo>
                    <a:pt x="1404" y="900"/>
                  </a:lnTo>
                  <a:lnTo>
                    <a:pt x="1404" y="906"/>
                  </a:lnTo>
                  <a:lnTo>
                    <a:pt x="1410" y="918"/>
                  </a:lnTo>
                  <a:lnTo>
                    <a:pt x="1404" y="918"/>
                  </a:lnTo>
                  <a:lnTo>
                    <a:pt x="1392" y="924"/>
                  </a:lnTo>
                  <a:lnTo>
                    <a:pt x="1386" y="924"/>
                  </a:lnTo>
                  <a:lnTo>
                    <a:pt x="1380" y="924"/>
                  </a:lnTo>
                  <a:lnTo>
                    <a:pt x="1380" y="930"/>
                  </a:lnTo>
                  <a:lnTo>
                    <a:pt x="1374" y="930"/>
                  </a:lnTo>
                  <a:lnTo>
                    <a:pt x="1374" y="924"/>
                  </a:lnTo>
                  <a:lnTo>
                    <a:pt x="1374" y="918"/>
                  </a:lnTo>
                  <a:lnTo>
                    <a:pt x="1368" y="912"/>
                  </a:lnTo>
                  <a:lnTo>
                    <a:pt x="1368" y="906"/>
                  </a:lnTo>
                  <a:lnTo>
                    <a:pt x="1368" y="900"/>
                  </a:lnTo>
                  <a:lnTo>
                    <a:pt x="1368" y="894"/>
                  </a:lnTo>
                  <a:lnTo>
                    <a:pt x="1362" y="894"/>
                  </a:lnTo>
                  <a:lnTo>
                    <a:pt x="1326" y="894"/>
                  </a:lnTo>
                  <a:lnTo>
                    <a:pt x="1302" y="906"/>
                  </a:lnTo>
                  <a:lnTo>
                    <a:pt x="1284" y="918"/>
                  </a:lnTo>
                  <a:lnTo>
                    <a:pt x="1284" y="924"/>
                  </a:lnTo>
                  <a:lnTo>
                    <a:pt x="1278" y="930"/>
                  </a:lnTo>
                  <a:lnTo>
                    <a:pt x="1266" y="930"/>
                  </a:lnTo>
                  <a:lnTo>
                    <a:pt x="1236" y="954"/>
                  </a:lnTo>
                  <a:lnTo>
                    <a:pt x="1212" y="972"/>
                  </a:lnTo>
                  <a:lnTo>
                    <a:pt x="1218" y="996"/>
                  </a:lnTo>
                  <a:lnTo>
                    <a:pt x="1224" y="1008"/>
                  </a:lnTo>
                  <a:lnTo>
                    <a:pt x="1236" y="1014"/>
                  </a:lnTo>
                  <a:lnTo>
                    <a:pt x="1242" y="1026"/>
                  </a:lnTo>
                  <a:lnTo>
                    <a:pt x="1248" y="1038"/>
                  </a:lnTo>
                  <a:lnTo>
                    <a:pt x="1260" y="1050"/>
                  </a:lnTo>
                  <a:lnTo>
                    <a:pt x="1260" y="1056"/>
                  </a:lnTo>
                  <a:lnTo>
                    <a:pt x="1260" y="1074"/>
                  </a:lnTo>
                  <a:lnTo>
                    <a:pt x="1254" y="1074"/>
                  </a:lnTo>
                  <a:lnTo>
                    <a:pt x="1236" y="1056"/>
                  </a:lnTo>
                  <a:lnTo>
                    <a:pt x="1224" y="1050"/>
                  </a:lnTo>
                  <a:lnTo>
                    <a:pt x="1212" y="1050"/>
                  </a:lnTo>
                  <a:lnTo>
                    <a:pt x="1206" y="1050"/>
                  </a:lnTo>
                  <a:lnTo>
                    <a:pt x="1200" y="1056"/>
                  </a:lnTo>
                  <a:lnTo>
                    <a:pt x="1194" y="1062"/>
                  </a:lnTo>
                  <a:lnTo>
                    <a:pt x="1188" y="1068"/>
                  </a:lnTo>
                  <a:lnTo>
                    <a:pt x="1188" y="1074"/>
                  </a:lnTo>
                  <a:lnTo>
                    <a:pt x="1176" y="1086"/>
                  </a:lnTo>
                  <a:lnTo>
                    <a:pt x="1170" y="1086"/>
                  </a:lnTo>
                  <a:lnTo>
                    <a:pt x="1170" y="1092"/>
                  </a:lnTo>
                  <a:lnTo>
                    <a:pt x="1164" y="1098"/>
                  </a:lnTo>
                  <a:lnTo>
                    <a:pt x="1158" y="1110"/>
                  </a:lnTo>
                  <a:lnTo>
                    <a:pt x="1152" y="1116"/>
                  </a:lnTo>
                  <a:lnTo>
                    <a:pt x="1152" y="1122"/>
                  </a:lnTo>
                  <a:lnTo>
                    <a:pt x="1146" y="1128"/>
                  </a:lnTo>
                  <a:lnTo>
                    <a:pt x="1152" y="1140"/>
                  </a:lnTo>
                  <a:lnTo>
                    <a:pt x="1158" y="1140"/>
                  </a:lnTo>
                  <a:lnTo>
                    <a:pt x="1164" y="1146"/>
                  </a:lnTo>
                  <a:lnTo>
                    <a:pt x="1164" y="1152"/>
                  </a:lnTo>
                  <a:lnTo>
                    <a:pt x="1170" y="1164"/>
                  </a:lnTo>
                  <a:lnTo>
                    <a:pt x="1164" y="1176"/>
                  </a:lnTo>
                  <a:lnTo>
                    <a:pt x="1170" y="1182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82" y="1218"/>
                  </a:lnTo>
                  <a:lnTo>
                    <a:pt x="1188" y="1218"/>
                  </a:lnTo>
                  <a:lnTo>
                    <a:pt x="1194" y="1218"/>
                  </a:lnTo>
                  <a:lnTo>
                    <a:pt x="1194" y="1224"/>
                  </a:lnTo>
                  <a:lnTo>
                    <a:pt x="1200" y="1230"/>
                  </a:lnTo>
                  <a:lnTo>
                    <a:pt x="1200" y="1248"/>
                  </a:lnTo>
                  <a:lnTo>
                    <a:pt x="1212" y="1266"/>
                  </a:lnTo>
                  <a:lnTo>
                    <a:pt x="1218" y="1278"/>
                  </a:lnTo>
                  <a:lnTo>
                    <a:pt x="1224" y="1284"/>
                  </a:lnTo>
                  <a:lnTo>
                    <a:pt x="1236" y="1296"/>
                  </a:lnTo>
                  <a:lnTo>
                    <a:pt x="1242" y="1302"/>
                  </a:lnTo>
                  <a:lnTo>
                    <a:pt x="1242" y="1308"/>
                  </a:lnTo>
                  <a:lnTo>
                    <a:pt x="1272" y="1308"/>
                  </a:lnTo>
                  <a:lnTo>
                    <a:pt x="1296" y="1314"/>
                  </a:lnTo>
                  <a:lnTo>
                    <a:pt x="1320" y="1320"/>
                  </a:lnTo>
                  <a:lnTo>
                    <a:pt x="1338" y="1320"/>
                  </a:lnTo>
                  <a:lnTo>
                    <a:pt x="1356" y="1332"/>
                  </a:lnTo>
                  <a:lnTo>
                    <a:pt x="1368" y="1344"/>
                  </a:lnTo>
                  <a:lnTo>
                    <a:pt x="1374" y="1362"/>
                  </a:lnTo>
                  <a:lnTo>
                    <a:pt x="1368" y="1362"/>
                  </a:lnTo>
                  <a:lnTo>
                    <a:pt x="1368" y="1398"/>
                  </a:lnTo>
                  <a:lnTo>
                    <a:pt x="1368" y="1410"/>
                  </a:lnTo>
                  <a:lnTo>
                    <a:pt x="1368" y="1428"/>
                  </a:lnTo>
                  <a:lnTo>
                    <a:pt x="1368" y="1434"/>
                  </a:lnTo>
                  <a:lnTo>
                    <a:pt x="1368" y="1440"/>
                  </a:lnTo>
                  <a:lnTo>
                    <a:pt x="1374" y="1446"/>
                  </a:lnTo>
                  <a:lnTo>
                    <a:pt x="1374" y="1452"/>
                  </a:lnTo>
                  <a:lnTo>
                    <a:pt x="1380" y="1458"/>
                  </a:lnTo>
                  <a:lnTo>
                    <a:pt x="1386" y="1464"/>
                  </a:lnTo>
                  <a:lnTo>
                    <a:pt x="1386" y="1470"/>
                  </a:lnTo>
                  <a:lnTo>
                    <a:pt x="1380" y="1476"/>
                  </a:lnTo>
                  <a:lnTo>
                    <a:pt x="1374" y="1482"/>
                  </a:lnTo>
                  <a:lnTo>
                    <a:pt x="1362" y="1500"/>
                  </a:lnTo>
                  <a:lnTo>
                    <a:pt x="1362" y="1506"/>
                  </a:lnTo>
                  <a:lnTo>
                    <a:pt x="1362" y="1512"/>
                  </a:lnTo>
                  <a:lnTo>
                    <a:pt x="1362" y="1518"/>
                  </a:lnTo>
                  <a:lnTo>
                    <a:pt x="1362" y="1524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38" y="1548"/>
                  </a:lnTo>
                  <a:lnTo>
                    <a:pt x="1296" y="1548"/>
                  </a:lnTo>
                  <a:lnTo>
                    <a:pt x="1290" y="1554"/>
                  </a:lnTo>
                  <a:lnTo>
                    <a:pt x="1284" y="1560"/>
                  </a:lnTo>
                  <a:lnTo>
                    <a:pt x="1284" y="1566"/>
                  </a:lnTo>
                  <a:lnTo>
                    <a:pt x="1290" y="1578"/>
                  </a:lnTo>
                  <a:lnTo>
                    <a:pt x="1296" y="1590"/>
                  </a:lnTo>
                  <a:lnTo>
                    <a:pt x="1302" y="1590"/>
                  </a:lnTo>
                  <a:lnTo>
                    <a:pt x="1308" y="1596"/>
                  </a:lnTo>
                  <a:lnTo>
                    <a:pt x="1320" y="1602"/>
                  </a:lnTo>
                  <a:lnTo>
                    <a:pt x="1326" y="1602"/>
                  </a:lnTo>
                  <a:lnTo>
                    <a:pt x="1326" y="1608"/>
                  </a:lnTo>
                  <a:lnTo>
                    <a:pt x="1332" y="1614"/>
                  </a:lnTo>
                  <a:lnTo>
                    <a:pt x="1344" y="1620"/>
                  </a:lnTo>
                  <a:lnTo>
                    <a:pt x="1356" y="1626"/>
                  </a:lnTo>
                  <a:lnTo>
                    <a:pt x="1356" y="1632"/>
                  </a:lnTo>
                  <a:lnTo>
                    <a:pt x="1356" y="1638"/>
                  </a:lnTo>
                  <a:lnTo>
                    <a:pt x="1362" y="1644"/>
                  </a:lnTo>
                  <a:lnTo>
                    <a:pt x="1368" y="1644"/>
                  </a:lnTo>
                  <a:lnTo>
                    <a:pt x="1380" y="1650"/>
                  </a:lnTo>
                  <a:lnTo>
                    <a:pt x="1386" y="1650"/>
                  </a:lnTo>
                  <a:lnTo>
                    <a:pt x="1386" y="1656"/>
                  </a:lnTo>
                  <a:lnTo>
                    <a:pt x="1392" y="1656"/>
                  </a:lnTo>
                  <a:lnTo>
                    <a:pt x="1398" y="1662"/>
                  </a:lnTo>
                  <a:lnTo>
                    <a:pt x="1410" y="1674"/>
                  </a:lnTo>
                  <a:lnTo>
                    <a:pt x="1428" y="1680"/>
                  </a:lnTo>
                  <a:lnTo>
                    <a:pt x="1428" y="1686"/>
                  </a:lnTo>
                  <a:lnTo>
                    <a:pt x="1428" y="1698"/>
                  </a:lnTo>
                  <a:lnTo>
                    <a:pt x="1434" y="1704"/>
                  </a:lnTo>
                  <a:lnTo>
                    <a:pt x="1434" y="1710"/>
                  </a:lnTo>
                  <a:lnTo>
                    <a:pt x="1440" y="1710"/>
                  </a:lnTo>
                  <a:lnTo>
                    <a:pt x="1446" y="1710"/>
                  </a:lnTo>
                  <a:lnTo>
                    <a:pt x="1446" y="1716"/>
                  </a:lnTo>
                  <a:lnTo>
                    <a:pt x="1440" y="1722"/>
                  </a:lnTo>
                  <a:lnTo>
                    <a:pt x="1440" y="1728"/>
                  </a:lnTo>
                  <a:lnTo>
                    <a:pt x="1440" y="1734"/>
                  </a:lnTo>
                  <a:lnTo>
                    <a:pt x="1440" y="1740"/>
                  </a:lnTo>
                  <a:lnTo>
                    <a:pt x="1440" y="1746"/>
                  </a:lnTo>
                  <a:lnTo>
                    <a:pt x="1440" y="1788"/>
                  </a:lnTo>
                  <a:lnTo>
                    <a:pt x="1440" y="1800"/>
                  </a:lnTo>
                  <a:lnTo>
                    <a:pt x="1440" y="1806"/>
                  </a:lnTo>
                  <a:lnTo>
                    <a:pt x="1440" y="1836"/>
                  </a:lnTo>
                  <a:lnTo>
                    <a:pt x="1440" y="1848"/>
                  </a:lnTo>
                  <a:lnTo>
                    <a:pt x="1446" y="1848"/>
                  </a:lnTo>
                  <a:lnTo>
                    <a:pt x="1446" y="1854"/>
                  </a:lnTo>
                  <a:lnTo>
                    <a:pt x="1452" y="1848"/>
                  </a:lnTo>
                  <a:lnTo>
                    <a:pt x="1458" y="1854"/>
                  </a:lnTo>
                  <a:lnTo>
                    <a:pt x="1452" y="1860"/>
                  </a:lnTo>
                  <a:lnTo>
                    <a:pt x="1452" y="1866"/>
                  </a:lnTo>
                  <a:lnTo>
                    <a:pt x="1458" y="1872"/>
                  </a:lnTo>
                  <a:lnTo>
                    <a:pt x="1464" y="1884"/>
                  </a:lnTo>
                  <a:lnTo>
                    <a:pt x="1428" y="1878"/>
                  </a:lnTo>
                  <a:lnTo>
                    <a:pt x="1356" y="1890"/>
                  </a:lnTo>
                  <a:lnTo>
                    <a:pt x="1296" y="1926"/>
                  </a:lnTo>
                  <a:lnTo>
                    <a:pt x="1266" y="1944"/>
                  </a:lnTo>
                  <a:lnTo>
                    <a:pt x="1224" y="1944"/>
                  </a:lnTo>
                  <a:lnTo>
                    <a:pt x="1188" y="1956"/>
                  </a:lnTo>
                  <a:lnTo>
                    <a:pt x="1188" y="1950"/>
                  </a:lnTo>
                  <a:lnTo>
                    <a:pt x="1176" y="1944"/>
                  </a:lnTo>
                  <a:lnTo>
                    <a:pt x="1176" y="1938"/>
                  </a:lnTo>
                  <a:lnTo>
                    <a:pt x="1170" y="1938"/>
                  </a:lnTo>
                  <a:lnTo>
                    <a:pt x="1164" y="1932"/>
                  </a:lnTo>
                  <a:lnTo>
                    <a:pt x="1158" y="1926"/>
                  </a:lnTo>
                  <a:lnTo>
                    <a:pt x="1158" y="1920"/>
                  </a:lnTo>
                  <a:lnTo>
                    <a:pt x="1152" y="1920"/>
                  </a:lnTo>
                  <a:lnTo>
                    <a:pt x="1146" y="1914"/>
                  </a:lnTo>
                  <a:lnTo>
                    <a:pt x="1146" y="1908"/>
                  </a:lnTo>
                  <a:lnTo>
                    <a:pt x="1140" y="1908"/>
                  </a:lnTo>
                  <a:lnTo>
                    <a:pt x="1134" y="1902"/>
                  </a:lnTo>
                  <a:lnTo>
                    <a:pt x="1134" y="1896"/>
                  </a:lnTo>
                  <a:lnTo>
                    <a:pt x="1116" y="1896"/>
                  </a:lnTo>
                  <a:lnTo>
                    <a:pt x="1104" y="1884"/>
                  </a:lnTo>
                  <a:lnTo>
                    <a:pt x="1092" y="1860"/>
                  </a:lnTo>
                  <a:lnTo>
                    <a:pt x="1068" y="1854"/>
                  </a:lnTo>
                  <a:lnTo>
                    <a:pt x="1032" y="1842"/>
                  </a:lnTo>
                  <a:lnTo>
                    <a:pt x="1008" y="1836"/>
                  </a:lnTo>
                  <a:lnTo>
                    <a:pt x="978" y="1824"/>
                  </a:lnTo>
                  <a:lnTo>
                    <a:pt x="942" y="1818"/>
                  </a:lnTo>
                  <a:lnTo>
                    <a:pt x="924" y="1806"/>
                  </a:lnTo>
                  <a:lnTo>
                    <a:pt x="906" y="1788"/>
                  </a:lnTo>
                  <a:lnTo>
                    <a:pt x="894" y="1776"/>
                  </a:lnTo>
                  <a:lnTo>
                    <a:pt x="864" y="1758"/>
                  </a:lnTo>
                  <a:lnTo>
                    <a:pt x="834" y="1752"/>
                  </a:lnTo>
                  <a:lnTo>
                    <a:pt x="798" y="1746"/>
                  </a:lnTo>
                  <a:lnTo>
                    <a:pt x="792" y="1806"/>
                  </a:lnTo>
                  <a:lnTo>
                    <a:pt x="798" y="1812"/>
                  </a:lnTo>
                  <a:lnTo>
                    <a:pt x="810" y="1830"/>
                  </a:lnTo>
                  <a:lnTo>
                    <a:pt x="792" y="1842"/>
                  </a:lnTo>
                  <a:lnTo>
                    <a:pt x="768" y="1842"/>
                  </a:lnTo>
                  <a:lnTo>
                    <a:pt x="708" y="1848"/>
                  </a:lnTo>
                  <a:lnTo>
                    <a:pt x="690" y="1860"/>
                  </a:lnTo>
                  <a:lnTo>
                    <a:pt x="690" y="1866"/>
                  </a:lnTo>
                  <a:lnTo>
                    <a:pt x="678" y="1878"/>
                  </a:lnTo>
                  <a:lnTo>
                    <a:pt x="660" y="1884"/>
                  </a:lnTo>
                  <a:lnTo>
                    <a:pt x="660" y="1902"/>
                  </a:lnTo>
                  <a:lnTo>
                    <a:pt x="642" y="1902"/>
                  </a:lnTo>
                  <a:lnTo>
                    <a:pt x="582" y="1914"/>
                  </a:lnTo>
                  <a:lnTo>
                    <a:pt x="534" y="1908"/>
                  </a:lnTo>
                  <a:lnTo>
                    <a:pt x="510" y="1908"/>
                  </a:lnTo>
                  <a:lnTo>
                    <a:pt x="510" y="1896"/>
                  </a:lnTo>
                  <a:lnTo>
                    <a:pt x="492" y="1896"/>
                  </a:lnTo>
                  <a:lnTo>
                    <a:pt x="486" y="1902"/>
                  </a:lnTo>
                  <a:lnTo>
                    <a:pt x="474" y="1908"/>
                  </a:lnTo>
                  <a:lnTo>
                    <a:pt x="450" y="1908"/>
                  </a:lnTo>
                  <a:lnTo>
                    <a:pt x="432" y="1902"/>
                  </a:lnTo>
                  <a:lnTo>
                    <a:pt x="426" y="1896"/>
                  </a:lnTo>
                  <a:lnTo>
                    <a:pt x="402" y="1884"/>
                  </a:lnTo>
                  <a:lnTo>
                    <a:pt x="390" y="1872"/>
                  </a:lnTo>
                  <a:lnTo>
                    <a:pt x="384" y="1872"/>
                  </a:lnTo>
                  <a:lnTo>
                    <a:pt x="378" y="1872"/>
                  </a:lnTo>
                  <a:lnTo>
                    <a:pt x="378" y="1866"/>
                  </a:lnTo>
                  <a:lnTo>
                    <a:pt x="372" y="1860"/>
                  </a:lnTo>
                  <a:lnTo>
                    <a:pt x="372" y="1854"/>
                  </a:lnTo>
                  <a:lnTo>
                    <a:pt x="366" y="1842"/>
                  </a:lnTo>
                  <a:lnTo>
                    <a:pt x="366" y="1836"/>
                  </a:lnTo>
                  <a:lnTo>
                    <a:pt x="348" y="1830"/>
                  </a:lnTo>
                  <a:lnTo>
                    <a:pt x="348" y="1806"/>
                  </a:lnTo>
                  <a:lnTo>
                    <a:pt x="348" y="1800"/>
                  </a:lnTo>
                  <a:lnTo>
                    <a:pt x="348" y="1782"/>
                  </a:lnTo>
                  <a:lnTo>
                    <a:pt x="336" y="1788"/>
                  </a:lnTo>
                  <a:lnTo>
                    <a:pt x="312" y="1794"/>
                  </a:lnTo>
                  <a:lnTo>
                    <a:pt x="288" y="1788"/>
                  </a:lnTo>
                  <a:lnTo>
                    <a:pt x="264" y="1758"/>
                  </a:lnTo>
                  <a:lnTo>
                    <a:pt x="270" y="1758"/>
                  </a:lnTo>
                  <a:lnTo>
                    <a:pt x="270" y="1752"/>
                  </a:lnTo>
                  <a:lnTo>
                    <a:pt x="276" y="1752"/>
                  </a:lnTo>
                  <a:lnTo>
                    <a:pt x="282" y="1746"/>
                  </a:lnTo>
                  <a:lnTo>
                    <a:pt x="300" y="1746"/>
                  </a:lnTo>
                  <a:lnTo>
                    <a:pt x="312" y="1746"/>
                  </a:lnTo>
                  <a:lnTo>
                    <a:pt x="336" y="1710"/>
                  </a:lnTo>
                  <a:lnTo>
                    <a:pt x="342" y="1692"/>
                  </a:lnTo>
                  <a:lnTo>
                    <a:pt x="348" y="1680"/>
                  </a:lnTo>
                  <a:lnTo>
                    <a:pt x="342" y="1650"/>
                  </a:lnTo>
                  <a:lnTo>
                    <a:pt x="354" y="1644"/>
                  </a:lnTo>
                  <a:lnTo>
                    <a:pt x="354" y="1638"/>
                  </a:lnTo>
                  <a:lnTo>
                    <a:pt x="360" y="1632"/>
                  </a:lnTo>
                  <a:lnTo>
                    <a:pt x="354" y="1626"/>
                  </a:lnTo>
                  <a:lnTo>
                    <a:pt x="348" y="1626"/>
                  </a:lnTo>
                  <a:lnTo>
                    <a:pt x="348" y="1620"/>
                  </a:lnTo>
                  <a:lnTo>
                    <a:pt x="342" y="1620"/>
                  </a:lnTo>
                  <a:lnTo>
                    <a:pt x="348" y="1614"/>
                  </a:lnTo>
                  <a:lnTo>
                    <a:pt x="324" y="1566"/>
                  </a:lnTo>
                  <a:lnTo>
                    <a:pt x="318" y="1566"/>
                  </a:lnTo>
                  <a:lnTo>
                    <a:pt x="306" y="1572"/>
                  </a:lnTo>
                  <a:lnTo>
                    <a:pt x="300" y="1572"/>
                  </a:lnTo>
                  <a:lnTo>
                    <a:pt x="294" y="1578"/>
                  </a:lnTo>
                  <a:lnTo>
                    <a:pt x="288" y="1584"/>
                  </a:lnTo>
                  <a:lnTo>
                    <a:pt x="282" y="1584"/>
                  </a:lnTo>
                  <a:lnTo>
                    <a:pt x="282" y="1578"/>
                  </a:lnTo>
                  <a:lnTo>
                    <a:pt x="276" y="1578"/>
                  </a:lnTo>
                  <a:lnTo>
                    <a:pt x="270" y="1578"/>
                  </a:lnTo>
                  <a:lnTo>
                    <a:pt x="264" y="1578"/>
                  </a:lnTo>
                  <a:lnTo>
                    <a:pt x="258" y="1578"/>
                  </a:lnTo>
                  <a:lnTo>
                    <a:pt x="252" y="1578"/>
                  </a:lnTo>
                  <a:lnTo>
                    <a:pt x="252" y="1584"/>
                  </a:lnTo>
                  <a:lnTo>
                    <a:pt x="246" y="1584"/>
                  </a:lnTo>
                  <a:lnTo>
                    <a:pt x="210" y="1584"/>
                  </a:lnTo>
                  <a:lnTo>
                    <a:pt x="204" y="1584"/>
                  </a:lnTo>
                  <a:lnTo>
                    <a:pt x="192" y="1584"/>
                  </a:lnTo>
                  <a:lnTo>
                    <a:pt x="168" y="1596"/>
                  </a:lnTo>
                  <a:lnTo>
                    <a:pt x="156" y="1572"/>
                  </a:lnTo>
                  <a:lnTo>
                    <a:pt x="156" y="1566"/>
                  </a:lnTo>
                  <a:lnTo>
                    <a:pt x="156" y="1560"/>
                  </a:lnTo>
                  <a:lnTo>
                    <a:pt x="162" y="1548"/>
                  </a:lnTo>
                  <a:lnTo>
                    <a:pt x="162" y="1542"/>
                  </a:lnTo>
                  <a:lnTo>
                    <a:pt x="162" y="1536"/>
                  </a:lnTo>
                  <a:lnTo>
                    <a:pt x="168" y="1530"/>
                  </a:lnTo>
                  <a:lnTo>
                    <a:pt x="168" y="1524"/>
                  </a:lnTo>
                  <a:lnTo>
                    <a:pt x="168" y="1518"/>
                  </a:lnTo>
                  <a:lnTo>
                    <a:pt x="174" y="1518"/>
                  </a:lnTo>
                  <a:lnTo>
                    <a:pt x="174" y="1506"/>
                  </a:lnTo>
                  <a:lnTo>
                    <a:pt x="156" y="1470"/>
                  </a:lnTo>
                  <a:lnTo>
                    <a:pt x="138" y="1464"/>
                  </a:lnTo>
                  <a:lnTo>
                    <a:pt x="126" y="1446"/>
                  </a:lnTo>
                  <a:lnTo>
                    <a:pt x="126" y="1440"/>
                  </a:lnTo>
                  <a:lnTo>
                    <a:pt x="126" y="1434"/>
                  </a:lnTo>
                  <a:lnTo>
                    <a:pt x="120" y="1428"/>
                  </a:lnTo>
                  <a:lnTo>
                    <a:pt x="126" y="1398"/>
                  </a:lnTo>
                  <a:lnTo>
                    <a:pt x="120" y="1374"/>
                  </a:lnTo>
                  <a:lnTo>
                    <a:pt x="60" y="1374"/>
                  </a:lnTo>
                  <a:lnTo>
                    <a:pt x="60" y="1368"/>
                  </a:lnTo>
                  <a:lnTo>
                    <a:pt x="54" y="1362"/>
                  </a:lnTo>
                  <a:lnTo>
                    <a:pt x="48" y="1356"/>
                  </a:lnTo>
                  <a:lnTo>
                    <a:pt x="42" y="1356"/>
                  </a:lnTo>
                  <a:lnTo>
                    <a:pt x="42" y="1350"/>
                  </a:lnTo>
                  <a:lnTo>
                    <a:pt x="36" y="1344"/>
                  </a:lnTo>
                  <a:lnTo>
                    <a:pt x="36" y="1338"/>
                  </a:lnTo>
                  <a:lnTo>
                    <a:pt x="30" y="1332"/>
                  </a:lnTo>
                  <a:lnTo>
                    <a:pt x="30" y="1326"/>
                  </a:lnTo>
                  <a:lnTo>
                    <a:pt x="18" y="1326"/>
                  </a:lnTo>
                  <a:lnTo>
                    <a:pt x="18" y="1320"/>
                  </a:lnTo>
                  <a:lnTo>
                    <a:pt x="18" y="1326"/>
                  </a:lnTo>
                  <a:lnTo>
                    <a:pt x="6" y="1320"/>
                  </a:lnTo>
                  <a:lnTo>
                    <a:pt x="0" y="1314"/>
                  </a:lnTo>
                  <a:lnTo>
                    <a:pt x="12" y="1266"/>
                  </a:lnTo>
                  <a:lnTo>
                    <a:pt x="6" y="1242"/>
                  </a:lnTo>
                  <a:lnTo>
                    <a:pt x="12" y="1236"/>
                  </a:lnTo>
                  <a:lnTo>
                    <a:pt x="12" y="1230"/>
                  </a:lnTo>
                  <a:lnTo>
                    <a:pt x="18" y="1230"/>
                  </a:lnTo>
                  <a:lnTo>
                    <a:pt x="18" y="1224"/>
                  </a:lnTo>
                  <a:lnTo>
                    <a:pt x="24" y="1218"/>
                  </a:lnTo>
                  <a:lnTo>
                    <a:pt x="24" y="1212"/>
                  </a:lnTo>
                  <a:lnTo>
                    <a:pt x="30" y="1212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48" y="1188"/>
                  </a:lnTo>
                  <a:lnTo>
                    <a:pt x="48" y="1182"/>
                  </a:lnTo>
                  <a:lnTo>
                    <a:pt x="48" y="1176"/>
                  </a:lnTo>
                  <a:lnTo>
                    <a:pt x="48" y="1170"/>
                  </a:lnTo>
                  <a:lnTo>
                    <a:pt x="54" y="1170"/>
                  </a:lnTo>
                  <a:lnTo>
                    <a:pt x="60" y="1164"/>
                  </a:lnTo>
                  <a:lnTo>
                    <a:pt x="60" y="1158"/>
                  </a:lnTo>
                  <a:lnTo>
                    <a:pt x="66" y="1152"/>
                  </a:lnTo>
                  <a:lnTo>
                    <a:pt x="60" y="1140"/>
                  </a:lnTo>
                  <a:lnTo>
                    <a:pt x="60" y="1134"/>
                  </a:lnTo>
                  <a:lnTo>
                    <a:pt x="54" y="1134"/>
                  </a:lnTo>
                  <a:lnTo>
                    <a:pt x="54" y="1128"/>
                  </a:lnTo>
                  <a:lnTo>
                    <a:pt x="48" y="1122"/>
                  </a:lnTo>
                  <a:lnTo>
                    <a:pt x="48" y="1116"/>
                  </a:lnTo>
                  <a:lnTo>
                    <a:pt x="48" y="1110"/>
                  </a:lnTo>
                  <a:lnTo>
                    <a:pt x="42" y="1104"/>
                  </a:lnTo>
                  <a:lnTo>
                    <a:pt x="42" y="1098"/>
                  </a:lnTo>
                  <a:lnTo>
                    <a:pt x="36" y="1092"/>
                  </a:lnTo>
                  <a:lnTo>
                    <a:pt x="30" y="1092"/>
                  </a:lnTo>
                  <a:lnTo>
                    <a:pt x="24" y="1092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18" y="1080"/>
                  </a:lnTo>
                  <a:lnTo>
                    <a:pt x="18" y="1074"/>
                  </a:lnTo>
                  <a:lnTo>
                    <a:pt x="12" y="1068"/>
                  </a:lnTo>
                  <a:lnTo>
                    <a:pt x="6" y="1068"/>
                  </a:lnTo>
                  <a:lnTo>
                    <a:pt x="12" y="1056"/>
                  </a:lnTo>
                  <a:lnTo>
                    <a:pt x="6" y="1056"/>
                  </a:lnTo>
                  <a:lnTo>
                    <a:pt x="6" y="1050"/>
                  </a:lnTo>
                  <a:lnTo>
                    <a:pt x="6" y="1044"/>
                  </a:lnTo>
                  <a:lnTo>
                    <a:pt x="6" y="1026"/>
                  </a:lnTo>
                  <a:lnTo>
                    <a:pt x="12" y="1020"/>
                  </a:lnTo>
                  <a:lnTo>
                    <a:pt x="12" y="1014"/>
                  </a:lnTo>
                  <a:lnTo>
                    <a:pt x="18" y="1014"/>
                  </a:lnTo>
                  <a:lnTo>
                    <a:pt x="18" y="1008"/>
                  </a:lnTo>
                  <a:lnTo>
                    <a:pt x="18" y="1002"/>
                  </a:lnTo>
                  <a:lnTo>
                    <a:pt x="18" y="990"/>
                  </a:lnTo>
                  <a:lnTo>
                    <a:pt x="12" y="972"/>
                  </a:lnTo>
                  <a:lnTo>
                    <a:pt x="18" y="954"/>
                  </a:lnTo>
                  <a:lnTo>
                    <a:pt x="18" y="948"/>
                  </a:lnTo>
                  <a:lnTo>
                    <a:pt x="24" y="948"/>
                  </a:lnTo>
                  <a:lnTo>
                    <a:pt x="24" y="930"/>
                  </a:lnTo>
                  <a:lnTo>
                    <a:pt x="30" y="930"/>
                  </a:lnTo>
                  <a:lnTo>
                    <a:pt x="36" y="918"/>
                  </a:lnTo>
                  <a:lnTo>
                    <a:pt x="42" y="918"/>
                  </a:lnTo>
                  <a:lnTo>
                    <a:pt x="48" y="918"/>
                  </a:lnTo>
                  <a:lnTo>
                    <a:pt x="78" y="912"/>
                  </a:lnTo>
                  <a:lnTo>
                    <a:pt x="90" y="894"/>
                  </a:lnTo>
                  <a:lnTo>
                    <a:pt x="96" y="894"/>
                  </a:lnTo>
                  <a:lnTo>
                    <a:pt x="102" y="888"/>
                  </a:lnTo>
                  <a:lnTo>
                    <a:pt x="102" y="882"/>
                  </a:lnTo>
                  <a:lnTo>
                    <a:pt x="114" y="870"/>
                  </a:lnTo>
                  <a:lnTo>
                    <a:pt x="120" y="864"/>
                  </a:lnTo>
                  <a:lnTo>
                    <a:pt x="120" y="852"/>
                  </a:lnTo>
                  <a:lnTo>
                    <a:pt x="120" y="846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32" y="840"/>
                  </a:lnTo>
                  <a:lnTo>
                    <a:pt x="138" y="840"/>
                  </a:lnTo>
                  <a:lnTo>
                    <a:pt x="138" y="834"/>
                  </a:lnTo>
                  <a:lnTo>
                    <a:pt x="144" y="834"/>
                  </a:lnTo>
                  <a:lnTo>
                    <a:pt x="144" y="828"/>
                  </a:lnTo>
                  <a:lnTo>
                    <a:pt x="150" y="828"/>
                  </a:lnTo>
                  <a:lnTo>
                    <a:pt x="156" y="822"/>
                  </a:lnTo>
                  <a:lnTo>
                    <a:pt x="162" y="816"/>
                  </a:lnTo>
                  <a:lnTo>
                    <a:pt x="162" y="822"/>
                  </a:lnTo>
                  <a:lnTo>
                    <a:pt x="162" y="816"/>
                  </a:lnTo>
                  <a:lnTo>
                    <a:pt x="162" y="810"/>
                  </a:lnTo>
                  <a:lnTo>
                    <a:pt x="168" y="810"/>
                  </a:lnTo>
                  <a:lnTo>
                    <a:pt x="174" y="804"/>
                  </a:lnTo>
                  <a:lnTo>
                    <a:pt x="180" y="798"/>
                  </a:lnTo>
                  <a:lnTo>
                    <a:pt x="180" y="786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8" y="780"/>
                  </a:lnTo>
                  <a:lnTo>
                    <a:pt x="204" y="774"/>
                  </a:lnTo>
                  <a:lnTo>
                    <a:pt x="210" y="774"/>
                  </a:lnTo>
                  <a:lnTo>
                    <a:pt x="216" y="768"/>
                  </a:lnTo>
                  <a:lnTo>
                    <a:pt x="222" y="762"/>
                  </a:lnTo>
                  <a:lnTo>
                    <a:pt x="228" y="762"/>
                  </a:lnTo>
                  <a:lnTo>
                    <a:pt x="228" y="768"/>
                  </a:lnTo>
                  <a:lnTo>
                    <a:pt x="234" y="768"/>
                  </a:lnTo>
                  <a:lnTo>
                    <a:pt x="240" y="762"/>
                  </a:lnTo>
                  <a:lnTo>
                    <a:pt x="252" y="762"/>
                  </a:lnTo>
                  <a:lnTo>
                    <a:pt x="264" y="768"/>
                  </a:lnTo>
                  <a:lnTo>
                    <a:pt x="294" y="756"/>
                  </a:lnTo>
                  <a:lnTo>
                    <a:pt x="294" y="750"/>
                  </a:lnTo>
                  <a:lnTo>
                    <a:pt x="300" y="750"/>
                  </a:lnTo>
                  <a:lnTo>
                    <a:pt x="306" y="744"/>
                  </a:lnTo>
                  <a:lnTo>
                    <a:pt x="342" y="750"/>
                  </a:lnTo>
                  <a:lnTo>
                    <a:pt x="348" y="750"/>
                  </a:lnTo>
                  <a:lnTo>
                    <a:pt x="348" y="744"/>
                  </a:lnTo>
                  <a:lnTo>
                    <a:pt x="354" y="744"/>
                  </a:lnTo>
                  <a:lnTo>
                    <a:pt x="360" y="744"/>
                  </a:lnTo>
                  <a:lnTo>
                    <a:pt x="360" y="750"/>
                  </a:lnTo>
                  <a:lnTo>
                    <a:pt x="366" y="750"/>
                  </a:lnTo>
                  <a:lnTo>
                    <a:pt x="366" y="744"/>
                  </a:lnTo>
                  <a:lnTo>
                    <a:pt x="366" y="738"/>
                  </a:lnTo>
                  <a:lnTo>
                    <a:pt x="372" y="744"/>
                  </a:lnTo>
                  <a:lnTo>
                    <a:pt x="378" y="744"/>
                  </a:lnTo>
                  <a:lnTo>
                    <a:pt x="384" y="750"/>
                  </a:lnTo>
                  <a:lnTo>
                    <a:pt x="444" y="774"/>
                  </a:lnTo>
                  <a:lnTo>
                    <a:pt x="450" y="774"/>
                  </a:lnTo>
                  <a:lnTo>
                    <a:pt x="456" y="768"/>
                  </a:lnTo>
                  <a:lnTo>
                    <a:pt x="462" y="768"/>
                  </a:lnTo>
                  <a:lnTo>
                    <a:pt x="462" y="762"/>
                  </a:lnTo>
                  <a:lnTo>
                    <a:pt x="468" y="762"/>
                  </a:lnTo>
                  <a:lnTo>
                    <a:pt x="474" y="756"/>
                  </a:lnTo>
                  <a:lnTo>
                    <a:pt x="480" y="750"/>
                  </a:lnTo>
                  <a:lnTo>
                    <a:pt x="516" y="756"/>
                  </a:lnTo>
                  <a:lnTo>
                    <a:pt x="522" y="756"/>
                  </a:lnTo>
                  <a:lnTo>
                    <a:pt x="522" y="762"/>
                  </a:lnTo>
                  <a:lnTo>
                    <a:pt x="522" y="768"/>
                  </a:lnTo>
                  <a:lnTo>
                    <a:pt x="522" y="774"/>
                  </a:lnTo>
                  <a:lnTo>
                    <a:pt x="528" y="780"/>
                  </a:lnTo>
                  <a:lnTo>
                    <a:pt x="540" y="780"/>
                  </a:lnTo>
                  <a:lnTo>
                    <a:pt x="540" y="804"/>
                  </a:lnTo>
                  <a:lnTo>
                    <a:pt x="540" y="810"/>
                  </a:lnTo>
                  <a:lnTo>
                    <a:pt x="546" y="810"/>
                  </a:lnTo>
                  <a:lnTo>
                    <a:pt x="552" y="810"/>
                  </a:lnTo>
                  <a:lnTo>
                    <a:pt x="558" y="810"/>
                  </a:lnTo>
                  <a:lnTo>
                    <a:pt x="564" y="810"/>
                  </a:lnTo>
                  <a:lnTo>
                    <a:pt x="570" y="810"/>
                  </a:lnTo>
                  <a:lnTo>
                    <a:pt x="576" y="810"/>
                  </a:lnTo>
                  <a:lnTo>
                    <a:pt x="576" y="816"/>
                  </a:lnTo>
                  <a:lnTo>
                    <a:pt x="588" y="816"/>
                  </a:lnTo>
                  <a:lnTo>
                    <a:pt x="594" y="816"/>
                  </a:lnTo>
                  <a:lnTo>
                    <a:pt x="600" y="822"/>
                  </a:lnTo>
                  <a:lnTo>
                    <a:pt x="606" y="816"/>
                  </a:lnTo>
                  <a:lnTo>
                    <a:pt x="612" y="816"/>
                  </a:lnTo>
                  <a:lnTo>
                    <a:pt x="612" y="810"/>
                  </a:lnTo>
                  <a:lnTo>
                    <a:pt x="624" y="810"/>
                  </a:lnTo>
                  <a:lnTo>
                    <a:pt x="624" y="804"/>
                  </a:lnTo>
                  <a:lnTo>
                    <a:pt x="630" y="798"/>
                  </a:lnTo>
                  <a:lnTo>
                    <a:pt x="636" y="798"/>
                  </a:lnTo>
                  <a:lnTo>
                    <a:pt x="636" y="804"/>
                  </a:lnTo>
                  <a:lnTo>
                    <a:pt x="642" y="804"/>
                  </a:lnTo>
                  <a:lnTo>
                    <a:pt x="648" y="804"/>
                  </a:lnTo>
                  <a:lnTo>
                    <a:pt x="654" y="804"/>
                  </a:lnTo>
                  <a:lnTo>
                    <a:pt x="660" y="804"/>
                  </a:lnTo>
                  <a:lnTo>
                    <a:pt x="678" y="798"/>
                  </a:lnTo>
                  <a:lnTo>
                    <a:pt x="714" y="786"/>
                  </a:lnTo>
                  <a:lnTo>
                    <a:pt x="714" y="792"/>
                  </a:lnTo>
                  <a:lnTo>
                    <a:pt x="714" y="798"/>
                  </a:lnTo>
                  <a:lnTo>
                    <a:pt x="714" y="804"/>
                  </a:lnTo>
                  <a:lnTo>
                    <a:pt x="720" y="804"/>
                  </a:lnTo>
                  <a:lnTo>
                    <a:pt x="720" y="810"/>
                  </a:lnTo>
                  <a:lnTo>
                    <a:pt x="720" y="816"/>
                  </a:lnTo>
                  <a:lnTo>
                    <a:pt x="726" y="822"/>
                  </a:lnTo>
                  <a:lnTo>
                    <a:pt x="732" y="828"/>
                  </a:lnTo>
                  <a:lnTo>
                    <a:pt x="732" y="834"/>
                  </a:lnTo>
                  <a:lnTo>
                    <a:pt x="732" y="846"/>
                  </a:lnTo>
                  <a:lnTo>
                    <a:pt x="732" y="858"/>
                  </a:lnTo>
                  <a:lnTo>
                    <a:pt x="738" y="858"/>
                  </a:lnTo>
                  <a:lnTo>
                    <a:pt x="732" y="864"/>
                  </a:lnTo>
                  <a:lnTo>
                    <a:pt x="732" y="870"/>
                  </a:lnTo>
                  <a:lnTo>
                    <a:pt x="726" y="870"/>
                  </a:lnTo>
                  <a:lnTo>
                    <a:pt x="726" y="876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0" y="882"/>
                  </a:lnTo>
                  <a:lnTo>
                    <a:pt x="690" y="912"/>
                  </a:lnTo>
                  <a:lnTo>
                    <a:pt x="696" y="936"/>
                  </a:lnTo>
                  <a:lnTo>
                    <a:pt x="702" y="936"/>
                  </a:lnTo>
                  <a:lnTo>
                    <a:pt x="702" y="930"/>
                  </a:lnTo>
                  <a:lnTo>
                    <a:pt x="708" y="930"/>
                  </a:lnTo>
                  <a:lnTo>
                    <a:pt x="708" y="924"/>
                  </a:lnTo>
                  <a:lnTo>
                    <a:pt x="708" y="918"/>
                  </a:lnTo>
                  <a:lnTo>
                    <a:pt x="714" y="918"/>
                  </a:lnTo>
                  <a:lnTo>
                    <a:pt x="720" y="954"/>
                  </a:lnTo>
                  <a:lnTo>
                    <a:pt x="726" y="966"/>
                  </a:lnTo>
                  <a:lnTo>
                    <a:pt x="744" y="966"/>
                  </a:lnTo>
                  <a:lnTo>
                    <a:pt x="756" y="972"/>
                  </a:lnTo>
                  <a:lnTo>
                    <a:pt x="792" y="990"/>
                  </a:lnTo>
                  <a:lnTo>
                    <a:pt x="828" y="978"/>
                  </a:lnTo>
                  <a:lnTo>
                    <a:pt x="834" y="978"/>
                  </a:lnTo>
                  <a:lnTo>
                    <a:pt x="840" y="978"/>
                  </a:lnTo>
                  <a:lnTo>
                    <a:pt x="840" y="984"/>
                  </a:lnTo>
                  <a:lnTo>
                    <a:pt x="846" y="984"/>
                  </a:lnTo>
                  <a:lnTo>
                    <a:pt x="858" y="972"/>
                  </a:lnTo>
                  <a:lnTo>
                    <a:pt x="882" y="972"/>
                  </a:lnTo>
                  <a:lnTo>
                    <a:pt x="888" y="984"/>
                  </a:lnTo>
                  <a:lnTo>
                    <a:pt x="900" y="990"/>
                  </a:lnTo>
                  <a:lnTo>
                    <a:pt x="924" y="996"/>
                  </a:lnTo>
                  <a:lnTo>
                    <a:pt x="930" y="990"/>
                  </a:lnTo>
                  <a:lnTo>
                    <a:pt x="930" y="984"/>
                  </a:lnTo>
                  <a:lnTo>
                    <a:pt x="924" y="978"/>
                  </a:lnTo>
                  <a:lnTo>
                    <a:pt x="906" y="972"/>
                  </a:lnTo>
                  <a:lnTo>
                    <a:pt x="900" y="966"/>
                  </a:lnTo>
                  <a:lnTo>
                    <a:pt x="900" y="960"/>
                  </a:lnTo>
                  <a:lnTo>
                    <a:pt x="900" y="954"/>
                  </a:lnTo>
                  <a:lnTo>
                    <a:pt x="900" y="948"/>
                  </a:lnTo>
                  <a:lnTo>
                    <a:pt x="912" y="936"/>
                  </a:lnTo>
                  <a:lnTo>
                    <a:pt x="912" y="924"/>
                  </a:lnTo>
                  <a:lnTo>
                    <a:pt x="918" y="924"/>
                  </a:lnTo>
                  <a:lnTo>
                    <a:pt x="918" y="918"/>
                  </a:lnTo>
                  <a:lnTo>
                    <a:pt x="936" y="906"/>
                  </a:lnTo>
                  <a:lnTo>
                    <a:pt x="942" y="906"/>
                  </a:lnTo>
                  <a:lnTo>
                    <a:pt x="948" y="906"/>
                  </a:lnTo>
                  <a:lnTo>
                    <a:pt x="954" y="906"/>
                  </a:lnTo>
                  <a:lnTo>
                    <a:pt x="960" y="906"/>
                  </a:lnTo>
                  <a:lnTo>
                    <a:pt x="966" y="912"/>
                  </a:lnTo>
                  <a:lnTo>
                    <a:pt x="972" y="906"/>
                  </a:lnTo>
                  <a:lnTo>
                    <a:pt x="978" y="906"/>
                  </a:lnTo>
                  <a:lnTo>
                    <a:pt x="984" y="900"/>
                  </a:lnTo>
                  <a:lnTo>
                    <a:pt x="984" y="894"/>
                  </a:lnTo>
                  <a:lnTo>
                    <a:pt x="990" y="894"/>
                  </a:lnTo>
                  <a:lnTo>
                    <a:pt x="996" y="888"/>
                  </a:lnTo>
                  <a:lnTo>
                    <a:pt x="1002" y="888"/>
                  </a:lnTo>
                  <a:lnTo>
                    <a:pt x="1008" y="882"/>
                  </a:lnTo>
                  <a:lnTo>
                    <a:pt x="1014" y="882"/>
                  </a:lnTo>
                  <a:lnTo>
                    <a:pt x="1020" y="882"/>
                  </a:lnTo>
                  <a:lnTo>
                    <a:pt x="1020" y="888"/>
                  </a:lnTo>
                  <a:lnTo>
                    <a:pt x="1026" y="882"/>
                  </a:lnTo>
                  <a:lnTo>
                    <a:pt x="1026" y="876"/>
                  </a:lnTo>
                  <a:lnTo>
                    <a:pt x="1026" y="870"/>
                  </a:lnTo>
                  <a:lnTo>
                    <a:pt x="1032" y="864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44" y="852"/>
                  </a:lnTo>
                  <a:lnTo>
                    <a:pt x="1038" y="846"/>
                  </a:lnTo>
                  <a:lnTo>
                    <a:pt x="1038" y="840"/>
                  </a:lnTo>
                  <a:lnTo>
                    <a:pt x="1032" y="840"/>
                  </a:lnTo>
                  <a:lnTo>
                    <a:pt x="1026" y="840"/>
                  </a:lnTo>
                  <a:lnTo>
                    <a:pt x="1020" y="840"/>
                  </a:lnTo>
                  <a:lnTo>
                    <a:pt x="1014" y="846"/>
                  </a:lnTo>
                  <a:lnTo>
                    <a:pt x="1008" y="846"/>
                  </a:lnTo>
                  <a:lnTo>
                    <a:pt x="1002" y="840"/>
                  </a:lnTo>
                  <a:lnTo>
                    <a:pt x="996" y="840"/>
                  </a:lnTo>
                  <a:lnTo>
                    <a:pt x="990" y="834"/>
                  </a:lnTo>
                  <a:lnTo>
                    <a:pt x="984" y="834"/>
                  </a:lnTo>
                  <a:lnTo>
                    <a:pt x="978" y="834"/>
                  </a:lnTo>
                  <a:lnTo>
                    <a:pt x="972" y="834"/>
                  </a:lnTo>
                  <a:lnTo>
                    <a:pt x="966" y="834"/>
                  </a:lnTo>
                  <a:lnTo>
                    <a:pt x="966" y="828"/>
                  </a:lnTo>
                  <a:lnTo>
                    <a:pt x="960" y="828"/>
                  </a:lnTo>
                  <a:lnTo>
                    <a:pt x="954" y="828"/>
                  </a:lnTo>
                  <a:lnTo>
                    <a:pt x="942" y="828"/>
                  </a:lnTo>
                  <a:lnTo>
                    <a:pt x="936" y="828"/>
                  </a:lnTo>
                  <a:lnTo>
                    <a:pt x="930" y="828"/>
                  </a:lnTo>
                  <a:lnTo>
                    <a:pt x="918" y="828"/>
                  </a:lnTo>
                  <a:lnTo>
                    <a:pt x="918" y="822"/>
                  </a:lnTo>
                  <a:lnTo>
                    <a:pt x="912" y="828"/>
                  </a:lnTo>
                  <a:lnTo>
                    <a:pt x="912" y="822"/>
                  </a:lnTo>
                  <a:lnTo>
                    <a:pt x="906" y="816"/>
                  </a:lnTo>
                  <a:lnTo>
                    <a:pt x="900" y="816"/>
                  </a:lnTo>
                  <a:lnTo>
                    <a:pt x="894" y="816"/>
                  </a:lnTo>
                  <a:lnTo>
                    <a:pt x="888" y="816"/>
                  </a:lnTo>
                  <a:lnTo>
                    <a:pt x="882" y="816"/>
                  </a:lnTo>
                  <a:lnTo>
                    <a:pt x="882" y="810"/>
                  </a:lnTo>
                  <a:lnTo>
                    <a:pt x="876" y="804"/>
                  </a:lnTo>
                  <a:lnTo>
                    <a:pt x="870" y="804"/>
                  </a:lnTo>
                  <a:lnTo>
                    <a:pt x="864" y="798"/>
                  </a:lnTo>
                  <a:lnTo>
                    <a:pt x="858" y="798"/>
                  </a:lnTo>
                  <a:lnTo>
                    <a:pt x="858" y="804"/>
                  </a:lnTo>
                  <a:lnTo>
                    <a:pt x="852" y="804"/>
                  </a:lnTo>
                  <a:lnTo>
                    <a:pt x="846" y="804"/>
                  </a:lnTo>
                  <a:lnTo>
                    <a:pt x="846" y="798"/>
                  </a:lnTo>
                  <a:lnTo>
                    <a:pt x="840" y="804"/>
                  </a:lnTo>
                  <a:lnTo>
                    <a:pt x="834" y="804"/>
                  </a:lnTo>
                  <a:lnTo>
                    <a:pt x="828" y="804"/>
                  </a:lnTo>
                  <a:lnTo>
                    <a:pt x="828" y="810"/>
                  </a:lnTo>
                  <a:lnTo>
                    <a:pt x="822" y="810"/>
                  </a:lnTo>
                  <a:lnTo>
                    <a:pt x="810" y="804"/>
                  </a:lnTo>
                  <a:lnTo>
                    <a:pt x="810" y="798"/>
                  </a:lnTo>
                  <a:lnTo>
                    <a:pt x="780" y="798"/>
                  </a:lnTo>
                  <a:lnTo>
                    <a:pt x="756" y="774"/>
                  </a:lnTo>
                  <a:lnTo>
                    <a:pt x="750" y="768"/>
                  </a:lnTo>
                  <a:lnTo>
                    <a:pt x="750" y="744"/>
                  </a:lnTo>
                  <a:lnTo>
                    <a:pt x="732" y="738"/>
                  </a:lnTo>
                  <a:lnTo>
                    <a:pt x="732" y="720"/>
                  </a:lnTo>
                  <a:lnTo>
                    <a:pt x="714" y="690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6" y="666"/>
                  </a:lnTo>
                  <a:lnTo>
                    <a:pt x="690" y="666"/>
                  </a:lnTo>
                  <a:lnTo>
                    <a:pt x="678" y="672"/>
                  </a:lnTo>
                  <a:lnTo>
                    <a:pt x="678" y="654"/>
                  </a:lnTo>
                  <a:lnTo>
                    <a:pt x="684" y="630"/>
                  </a:lnTo>
                  <a:lnTo>
                    <a:pt x="690" y="618"/>
                  </a:lnTo>
                  <a:lnTo>
                    <a:pt x="696" y="612"/>
                  </a:lnTo>
                  <a:lnTo>
                    <a:pt x="696" y="588"/>
                  </a:lnTo>
                  <a:lnTo>
                    <a:pt x="690" y="576"/>
                  </a:lnTo>
                  <a:lnTo>
                    <a:pt x="696" y="552"/>
                  </a:lnTo>
                  <a:lnTo>
                    <a:pt x="684" y="522"/>
                  </a:lnTo>
                  <a:lnTo>
                    <a:pt x="672" y="504"/>
                  </a:lnTo>
                  <a:lnTo>
                    <a:pt x="654" y="504"/>
                  </a:lnTo>
                  <a:lnTo>
                    <a:pt x="642" y="504"/>
                  </a:lnTo>
                  <a:lnTo>
                    <a:pt x="624" y="510"/>
                  </a:lnTo>
                  <a:lnTo>
                    <a:pt x="612" y="516"/>
                  </a:lnTo>
                  <a:lnTo>
                    <a:pt x="594" y="516"/>
                  </a:lnTo>
                  <a:lnTo>
                    <a:pt x="588" y="516"/>
                  </a:lnTo>
                  <a:lnTo>
                    <a:pt x="588" y="522"/>
                  </a:lnTo>
                  <a:lnTo>
                    <a:pt x="582" y="516"/>
                  </a:lnTo>
                  <a:lnTo>
                    <a:pt x="588" y="510"/>
                  </a:lnTo>
                  <a:lnTo>
                    <a:pt x="582" y="510"/>
                  </a:lnTo>
                  <a:lnTo>
                    <a:pt x="582" y="504"/>
                  </a:lnTo>
                  <a:lnTo>
                    <a:pt x="576" y="498"/>
                  </a:lnTo>
                  <a:lnTo>
                    <a:pt x="570" y="498"/>
                  </a:lnTo>
                  <a:lnTo>
                    <a:pt x="570" y="492"/>
                  </a:lnTo>
                  <a:lnTo>
                    <a:pt x="564" y="492"/>
                  </a:lnTo>
                  <a:lnTo>
                    <a:pt x="570" y="486"/>
                  </a:lnTo>
                  <a:lnTo>
                    <a:pt x="564" y="486"/>
                  </a:lnTo>
                  <a:lnTo>
                    <a:pt x="564" y="480"/>
                  </a:lnTo>
                  <a:lnTo>
                    <a:pt x="564" y="474"/>
                  </a:lnTo>
                  <a:lnTo>
                    <a:pt x="558" y="468"/>
                  </a:lnTo>
                  <a:lnTo>
                    <a:pt x="564" y="468"/>
                  </a:lnTo>
                  <a:lnTo>
                    <a:pt x="564" y="462"/>
                  </a:lnTo>
                  <a:lnTo>
                    <a:pt x="570" y="462"/>
                  </a:lnTo>
                  <a:lnTo>
                    <a:pt x="570" y="456"/>
                  </a:lnTo>
                  <a:lnTo>
                    <a:pt x="570" y="450"/>
                  </a:lnTo>
                  <a:lnTo>
                    <a:pt x="576" y="450"/>
                  </a:lnTo>
                  <a:lnTo>
                    <a:pt x="576" y="444"/>
                  </a:lnTo>
                  <a:lnTo>
                    <a:pt x="582" y="438"/>
                  </a:lnTo>
                  <a:lnTo>
                    <a:pt x="588" y="438"/>
                  </a:lnTo>
                  <a:lnTo>
                    <a:pt x="588" y="444"/>
                  </a:lnTo>
                  <a:lnTo>
                    <a:pt x="594" y="438"/>
                  </a:lnTo>
                  <a:lnTo>
                    <a:pt x="594" y="432"/>
                  </a:lnTo>
                  <a:lnTo>
                    <a:pt x="600" y="432"/>
                  </a:lnTo>
                  <a:lnTo>
                    <a:pt x="600" y="426"/>
                  </a:lnTo>
                  <a:lnTo>
                    <a:pt x="600" y="420"/>
                  </a:lnTo>
                  <a:lnTo>
                    <a:pt x="606" y="420"/>
                  </a:lnTo>
                  <a:lnTo>
                    <a:pt x="600" y="420"/>
                  </a:lnTo>
                  <a:lnTo>
                    <a:pt x="600" y="414"/>
                  </a:lnTo>
                  <a:lnTo>
                    <a:pt x="606" y="408"/>
                  </a:lnTo>
                  <a:lnTo>
                    <a:pt x="612" y="408"/>
                  </a:lnTo>
                  <a:lnTo>
                    <a:pt x="612" y="414"/>
                  </a:lnTo>
                  <a:lnTo>
                    <a:pt x="618" y="414"/>
                  </a:lnTo>
                  <a:lnTo>
                    <a:pt x="624" y="414"/>
                  </a:lnTo>
                  <a:lnTo>
                    <a:pt x="630" y="414"/>
                  </a:lnTo>
                  <a:lnTo>
                    <a:pt x="636" y="414"/>
                  </a:lnTo>
                  <a:lnTo>
                    <a:pt x="642" y="408"/>
                  </a:lnTo>
                  <a:lnTo>
                    <a:pt x="648" y="408"/>
                  </a:lnTo>
                  <a:lnTo>
                    <a:pt x="660" y="408"/>
                  </a:lnTo>
                  <a:lnTo>
                    <a:pt x="666" y="402"/>
                  </a:lnTo>
                  <a:lnTo>
                    <a:pt x="672" y="402"/>
                  </a:lnTo>
                  <a:lnTo>
                    <a:pt x="684" y="396"/>
                  </a:lnTo>
                  <a:lnTo>
                    <a:pt x="690" y="396"/>
                  </a:lnTo>
                  <a:lnTo>
                    <a:pt x="696" y="396"/>
                  </a:lnTo>
                  <a:lnTo>
                    <a:pt x="702" y="396"/>
                  </a:lnTo>
                  <a:lnTo>
                    <a:pt x="708" y="396"/>
                  </a:lnTo>
                  <a:lnTo>
                    <a:pt x="714" y="390"/>
                  </a:lnTo>
                  <a:lnTo>
                    <a:pt x="714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32" y="384"/>
                  </a:lnTo>
                  <a:lnTo>
                    <a:pt x="738" y="378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56" y="372"/>
                  </a:lnTo>
                  <a:lnTo>
                    <a:pt x="762" y="366"/>
                  </a:lnTo>
                  <a:lnTo>
                    <a:pt x="768" y="366"/>
                  </a:lnTo>
                  <a:lnTo>
                    <a:pt x="774" y="366"/>
                  </a:lnTo>
                  <a:lnTo>
                    <a:pt x="774" y="360"/>
                  </a:lnTo>
                  <a:lnTo>
                    <a:pt x="780" y="366"/>
                  </a:lnTo>
                  <a:lnTo>
                    <a:pt x="786" y="366"/>
                  </a:lnTo>
                  <a:lnTo>
                    <a:pt x="786" y="360"/>
                  </a:lnTo>
                  <a:lnTo>
                    <a:pt x="792" y="354"/>
                  </a:lnTo>
                  <a:lnTo>
                    <a:pt x="786" y="354"/>
                  </a:lnTo>
                  <a:lnTo>
                    <a:pt x="792" y="348"/>
                  </a:lnTo>
                  <a:lnTo>
                    <a:pt x="798" y="348"/>
                  </a:lnTo>
                  <a:lnTo>
                    <a:pt x="804" y="348"/>
                  </a:lnTo>
                  <a:lnTo>
                    <a:pt x="810" y="342"/>
                  </a:lnTo>
                  <a:lnTo>
                    <a:pt x="816" y="342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28" y="336"/>
                  </a:lnTo>
                  <a:lnTo>
                    <a:pt x="834" y="336"/>
                  </a:lnTo>
                  <a:lnTo>
                    <a:pt x="840" y="336"/>
                  </a:lnTo>
                  <a:lnTo>
                    <a:pt x="846" y="330"/>
                  </a:lnTo>
                  <a:lnTo>
                    <a:pt x="852" y="330"/>
                  </a:lnTo>
                  <a:lnTo>
                    <a:pt x="858" y="330"/>
                  </a:lnTo>
                  <a:lnTo>
                    <a:pt x="864" y="324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0" y="312"/>
                  </a:lnTo>
                  <a:lnTo>
                    <a:pt x="876" y="312"/>
                  </a:lnTo>
                  <a:lnTo>
                    <a:pt x="882" y="312"/>
                  </a:lnTo>
                  <a:lnTo>
                    <a:pt x="882" y="318"/>
                  </a:lnTo>
                  <a:lnTo>
                    <a:pt x="888" y="312"/>
                  </a:lnTo>
                  <a:lnTo>
                    <a:pt x="894" y="306"/>
                  </a:lnTo>
                  <a:lnTo>
                    <a:pt x="900" y="306"/>
                  </a:lnTo>
                  <a:lnTo>
                    <a:pt x="906" y="306"/>
                  </a:lnTo>
                  <a:lnTo>
                    <a:pt x="912" y="300"/>
                  </a:lnTo>
                  <a:lnTo>
                    <a:pt x="906" y="294"/>
                  </a:lnTo>
                  <a:lnTo>
                    <a:pt x="912" y="276"/>
                  </a:lnTo>
                  <a:lnTo>
                    <a:pt x="912" y="252"/>
                  </a:lnTo>
                  <a:lnTo>
                    <a:pt x="906" y="234"/>
                  </a:lnTo>
                  <a:lnTo>
                    <a:pt x="912" y="228"/>
                  </a:lnTo>
                  <a:lnTo>
                    <a:pt x="912" y="216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24" y="192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36" y="186"/>
                  </a:lnTo>
                  <a:lnTo>
                    <a:pt x="930" y="180"/>
                  </a:lnTo>
                  <a:lnTo>
                    <a:pt x="930" y="174"/>
                  </a:lnTo>
                  <a:lnTo>
                    <a:pt x="936" y="156"/>
                  </a:lnTo>
                  <a:lnTo>
                    <a:pt x="930" y="156"/>
                  </a:lnTo>
                  <a:lnTo>
                    <a:pt x="924" y="150"/>
                  </a:lnTo>
                  <a:lnTo>
                    <a:pt x="942" y="78"/>
                  </a:lnTo>
                  <a:lnTo>
                    <a:pt x="948" y="78"/>
                  </a:lnTo>
                  <a:lnTo>
                    <a:pt x="954" y="66"/>
                  </a:lnTo>
                  <a:lnTo>
                    <a:pt x="954" y="72"/>
                  </a:lnTo>
                  <a:lnTo>
                    <a:pt x="954" y="66"/>
                  </a:lnTo>
                  <a:lnTo>
                    <a:pt x="960" y="66"/>
                  </a:lnTo>
                  <a:lnTo>
                    <a:pt x="966" y="66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54"/>
                  </a:lnTo>
                  <a:lnTo>
                    <a:pt x="990" y="54"/>
                  </a:lnTo>
                  <a:lnTo>
                    <a:pt x="996" y="48"/>
                  </a:lnTo>
                  <a:lnTo>
                    <a:pt x="1002" y="48"/>
                  </a:lnTo>
                  <a:lnTo>
                    <a:pt x="1032" y="48"/>
                  </a:lnTo>
                  <a:lnTo>
                    <a:pt x="1062" y="48"/>
                  </a:lnTo>
                  <a:lnTo>
                    <a:pt x="1068" y="78"/>
                  </a:lnTo>
                  <a:lnTo>
                    <a:pt x="1086" y="78"/>
                  </a:lnTo>
                  <a:lnTo>
                    <a:pt x="1092" y="66"/>
                  </a:lnTo>
                  <a:lnTo>
                    <a:pt x="1092" y="60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8" y="48"/>
                  </a:lnTo>
                  <a:lnTo>
                    <a:pt x="1104" y="48"/>
                  </a:lnTo>
                  <a:lnTo>
                    <a:pt x="1110" y="48"/>
                  </a:lnTo>
                  <a:lnTo>
                    <a:pt x="1110" y="42"/>
                  </a:lnTo>
                  <a:lnTo>
                    <a:pt x="1110" y="36"/>
                  </a:lnTo>
                  <a:lnTo>
                    <a:pt x="1116" y="36"/>
                  </a:lnTo>
                  <a:lnTo>
                    <a:pt x="1116" y="30"/>
                  </a:lnTo>
                  <a:lnTo>
                    <a:pt x="1122" y="30"/>
                  </a:lnTo>
                  <a:lnTo>
                    <a:pt x="1128" y="30"/>
                  </a:lnTo>
                  <a:lnTo>
                    <a:pt x="1134" y="30"/>
                  </a:lnTo>
                  <a:lnTo>
                    <a:pt x="1140" y="24"/>
                  </a:lnTo>
                  <a:lnTo>
                    <a:pt x="1152" y="18"/>
                  </a:lnTo>
                  <a:lnTo>
                    <a:pt x="1158" y="18"/>
                  </a:lnTo>
                  <a:lnTo>
                    <a:pt x="1152" y="12"/>
                  </a:lnTo>
                  <a:lnTo>
                    <a:pt x="1152" y="6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8"/>
                  </a:lnTo>
                  <a:lnTo>
                    <a:pt x="1170" y="12"/>
                  </a:lnTo>
                  <a:lnTo>
                    <a:pt x="1170" y="6"/>
                  </a:lnTo>
                  <a:lnTo>
                    <a:pt x="1176" y="6"/>
                  </a:lnTo>
                  <a:lnTo>
                    <a:pt x="1176" y="0"/>
                  </a:lnTo>
                  <a:lnTo>
                    <a:pt x="1182" y="6"/>
                  </a:lnTo>
                  <a:lnTo>
                    <a:pt x="1188" y="6"/>
                  </a:lnTo>
                  <a:lnTo>
                    <a:pt x="1188" y="0"/>
                  </a:lnTo>
                  <a:lnTo>
                    <a:pt x="1194" y="6"/>
                  </a:lnTo>
                  <a:lnTo>
                    <a:pt x="1200" y="12"/>
                  </a:lnTo>
                  <a:lnTo>
                    <a:pt x="1206" y="18"/>
                  </a:lnTo>
                  <a:lnTo>
                    <a:pt x="1212" y="18"/>
                  </a:lnTo>
                  <a:lnTo>
                    <a:pt x="1218" y="24"/>
                  </a:lnTo>
                  <a:lnTo>
                    <a:pt x="1236" y="36"/>
                  </a:lnTo>
                  <a:lnTo>
                    <a:pt x="1242" y="36"/>
                  </a:lnTo>
                  <a:lnTo>
                    <a:pt x="1248" y="42"/>
                  </a:lnTo>
                  <a:lnTo>
                    <a:pt x="1248" y="48"/>
                  </a:lnTo>
                  <a:lnTo>
                    <a:pt x="1260" y="48"/>
                  </a:lnTo>
                  <a:lnTo>
                    <a:pt x="1260" y="108"/>
                  </a:lnTo>
                  <a:lnTo>
                    <a:pt x="1266" y="168"/>
                  </a:lnTo>
                  <a:lnTo>
                    <a:pt x="1278" y="234"/>
                  </a:lnTo>
                  <a:lnTo>
                    <a:pt x="1284" y="240"/>
                  </a:lnTo>
                  <a:lnTo>
                    <a:pt x="1290" y="264"/>
                  </a:lnTo>
                  <a:lnTo>
                    <a:pt x="1296" y="288"/>
                  </a:lnTo>
                  <a:lnTo>
                    <a:pt x="1296" y="300"/>
                  </a:lnTo>
                  <a:lnTo>
                    <a:pt x="1296" y="312"/>
                  </a:lnTo>
                  <a:lnTo>
                    <a:pt x="1296" y="324"/>
                  </a:lnTo>
                  <a:lnTo>
                    <a:pt x="1296" y="354"/>
                  </a:lnTo>
                  <a:lnTo>
                    <a:pt x="1302" y="366"/>
                  </a:lnTo>
                  <a:lnTo>
                    <a:pt x="1308" y="372"/>
                  </a:lnTo>
                  <a:lnTo>
                    <a:pt x="1308" y="384"/>
                  </a:lnTo>
                  <a:lnTo>
                    <a:pt x="1314" y="390"/>
                  </a:lnTo>
                  <a:lnTo>
                    <a:pt x="1308" y="408"/>
                  </a:lnTo>
                  <a:lnTo>
                    <a:pt x="1314" y="408"/>
                  </a:lnTo>
                  <a:lnTo>
                    <a:pt x="1314" y="414"/>
                  </a:lnTo>
                  <a:lnTo>
                    <a:pt x="1308" y="420"/>
                  </a:lnTo>
                  <a:lnTo>
                    <a:pt x="1308" y="432"/>
                  </a:lnTo>
                  <a:lnTo>
                    <a:pt x="1320" y="432"/>
                  </a:lnTo>
                  <a:lnTo>
                    <a:pt x="1320" y="444"/>
                  </a:lnTo>
                  <a:lnTo>
                    <a:pt x="1332" y="444"/>
                  </a:lnTo>
                  <a:lnTo>
                    <a:pt x="1338" y="450"/>
                  </a:lnTo>
                  <a:lnTo>
                    <a:pt x="1344" y="456"/>
                  </a:lnTo>
                  <a:lnTo>
                    <a:pt x="1344" y="462"/>
                  </a:lnTo>
                  <a:lnTo>
                    <a:pt x="1344" y="474"/>
                  </a:lnTo>
                  <a:lnTo>
                    <a:pt x="1350" y="474"/>
                  </a:lnTo>
                  <a:lnTo>
                    <a:pt x="1368" y="504"/>
                  </a:lnTo>
                  <a:lnTo>
                    <a:pt x="1374" y="534"/>
                  </a:lnTo>
                  <a:lnTo>
                    <a:pt x="1380" y="558"/>
                  </a:lnTo>
                  <a:lnTo>
                    <a:pt x="1386" y="576"/>
                  </a:lnTo>
                  <a:lnTo>
                    <a:pt x="1386" y="600"/>
                  </a:lnTo>
                  <a:lnTo>
                    <a:pt x="1386" y="624"/>
                  </a:lnTo>
                  <a:lnTo>
                    <a:pt x="1386" y="648"/>
                  </a:lnTo>
                  <a:lnTo>
                    <a:pt x="1386" y="684"/>
                  </a:lnTo>
                  <a:lnTo>
                    <a:pt x="1380" y="684"/>
                  </a:lnTo>
                  <a:lnTo>
                    <a:pt x="1374" y="696"/>
                  </a:lnTo>
                  <a:lnTo>
                    <a:pt x="1368" y="702"/>
                  </a:lnTo>
                  <a:lnTo>
                    <a:pt x="1362" y="708"/>
                  </a:lnTo>
                  <a:lnTo>
                    <a:pt x="1356" y="714"/>
                  </a:lnTo>
                  <a:lnTo>
                    <a:pt x="1350" y="720"/>
                  </a:lnTo>
                  <a:lnTo>
                    <a:pt x="1338" y="720"/>
                  </a:lnTo>
                  <a:lnTo>
                    <a:pt x="1338" y="738"/>
                  </a:lnTo>
                  <a:lnTo>
                    <a:pt x="1362" y="750"/>
                  </a:lnTo>
                  <a:lnTo>
                    <a:pt x="1362" y="756"/>
                  </a:lnTo>
                  <a:lnTo>
                    <a:pt x="1374" y="756"/>
                  </a:lnTo>
                  <a:lnTo>
                    <a:pt x="1410" y="774"/>
                  </a:lnTo>
                  <a:lnTo>
                    <a:pt x="1446" y="774"/>
                  </a:lnTo>
                  <a:lnTo>
                    <a:pt x="1482" y="768"/>
                  </a:lnTo>
                  <a:lnTo>
                    <a:pt x="1500" y="774"/>
                  </a:lnTo>
                  <a:lnTo>
                    <a:pt x="1512" y="78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6" name="Freeform 11">
              <a:extLst>
                <a:ext uri="{FF2B5EF4-FFF2-40B4-BE49-F238E27FC236}">
                  <a16:creationId xmlns:a16="http://schemas.microsoft.com/office/drawing/2014/main" id="{1FF8E66F-B850-456A-B132-C45FEEDE95C6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2475" y="2345643"/>
              <a:ext cx="445003" cy="603855"/>
            </a:xfrm>
            <a:custGeom>
              <a:avLst/>
              <a:gdLst>
                <a:gd name="T0" fmla="*/ 47 w 840"/>
                <a:gd name="T1" fmla="*/ 98 h 1134"/>
                <a:gd name="T2" fmla="*/ 41 w 840"/>
                <a:gd name="T3" fmla="*/ 98 h 1134"/>
                <a:gd name="T4" fmla="*/ 37 w 840"/>
                <a:gd name="T5" fmla="*/ 98 h 1134"/>
                <a:gd name="T6" fmla="*/ 29 w 840"/>
                <a:gd name="T7" fmla="*/ 97 h 1134"/>
                <a:gd name="T8" fmla="*/ 27 w 840"/>
                <a:gd name="T9" fmla="*/ 94 h 1134"/>
                <a:gd name="T10" fmla="*/ 26 w 840"/>
                <a:gd name="T11" fmla="*/ 93 h 1134"/>
                <a:gd name="T12" fmla="*/ 26 w 840"/>
                <a:gd name="T13" fmla="*/ 83 h 1134"/>
                <a:gd name="T14" fmla="*/ 26 w 840"/>
                <a:gd name="T15" fmla="*/ 81 h 1134"/>
                <a:gd name="T16" fmla="*/ 23 w 840"/>
                <a:gd name="T17" fmla="*/ 77 h 1134"/>
                <a:gd name="T18" fmla="*/ 19 w 840"/>
                <a:gd name="T19" fmla="*/ 75 h 1134"/>
                <a:gd name="T20" fmla="*/ 16 w 840"/>
                <a:gd name="T21" fmla="*/ 72 h 1134"/>
                <a:gd name="T22" fmla="*/ 13 w 840"/>
                <a:gd name="T23" fmla="*/ 70 h 1134"/>
                <a:gd name="T24" fmla="*/ 17 w 840"/>
                <a:gd name="T25" fmla="*/ 67 h 1134"/>
                <a:gd name="T26" fmla="*/ 19 w 840"/>
                <a:gd name="T27" fmla="*/ 63 h 1134"/>
                <a:gd name="T28" fmla="*/ 20 w 840"/>
                <a:gd name="T29" fmla="*/ 59 h 1134"/>
                <a:gd name="T30" fmla="*/ 19 w 840"/>
                <a:gd name="T31" fmla="*/ 55 h 1134"/>
                <a:gd name="T32" fmla="*/ 17 w 840"/>
                <a:gd name="T33" fmla="*/ 47 h 1134"/>
                <a:gd name="T34" fmla="*/ 8 w 840"/>
                <a:gd name="T35" fmla="*/ 45 h 1134"/>
                <a:gd name="T36" fmla="*/ 4 w 840"/>
                <a:gd name="T37" fmla="*/ 39 h 1134"/>
                <a:gd name="T38" fmla="*/ 2 w 840"/>
                <a:gd name="T39" fmla="*/ 35 h 1134"/>
                <a:gd name="T40" fmla="*/ 0 w 840"/>
                <a:gd name="T41" fmla="*/ 31 h 1134"/>
                <a:gd name="T42" fmla="*/ 2 w 840"/>
                <a:gd name="T43" fmla="*/ 27 h 1134"/>
                <a:gd name="T44" fmla="*/ 5 w 840"/>
                <a:gd name="T45" fmla="*/ 24 h 1134"/>
                <a:gd name="T46" fmla="*/ 10 w 840"/>
                <a:gd name="T47" fmla="*/ 26 h 1134"/>
                <a:gd name="T48" fmla="*/ 7 w 840"/>
                <a:gd name="T49" fmla="*/ 20 h 1134"/>
                <a:gd name="T50" fmla="*/ 12 w 840"/>
                <a:gd name="T51" fmla="*/ 12 h 1134"/>
                <a:gd name="T52" fmla="*/ 19 w 840"/>
                <a:gd name="T53" fmla="*/ 10 h 1134"/>
                <a:gd name="T54" fmla="*/ 20 w 840"/>
                <a:gd name="T55" fmla="*/ 13 h 1134"/>
                <a:gd name="T56" fmla="*/ 22 w 840"/>
                <a:gd name="T57" fmla="*/ 11 h 1134"/>
                <a:gd name="T58" fmla="*/ 25 w 840"/>
                <a:gd name="T59" fmla="*/ 7 h 1134"/>
                <a:gd name="T60" fmla="*/ 29 w 840"/>
                <a:gd name="T61" fmla="*/ 2 h 1134"/>
                <a:gd name="T62" fmla="*/ 33 w 840"/>
                <a:gd name="T63" fmla="*/ 1 h 1134"/>
                <a:gd name="T64" fmla="*/ 37 w 840"/>
                <a:gd name="T65" fmla="*/ 2 h 1134"/>
                <a:gd name="T66" fmla="*/ 39 w 840"/>
                <a:gd name="T67" fmla="*/ 4 h 1134"/>
                <a:gd name="T68" fmla="*/ 43 w 840"/>
                <a:gd name="T69" fmla="*/ 5 h 1134"/>
                <a:gd name="T70" fmla="*/ 46 w 840"/>
                <a:gd name="T71" fmla="*/ 11 h 1134"/>
                <a:gd name="T72" fmla="*/ 49 w 840"/>
                <a:gd name="T73" fmla="*/ 12 h 1134"/>
                <a:gd name="T74" fmla="*/ 52 w 840"/>
                <a:gd name="T75" fmla="*/ 15 h 1134"/>
                <a:gd name="T76" fmla="*/ 54 w 840"/>
                <a:gd name="T77" fmla="*/ 18 h 1134"/>
                <a:gd name="T78" fmla="*/ 55 w 840"/>
                <a:gd name="T79" fmla="*/ 22 h 1134"/>
                <a:gd name="T80" fmla="*/ 56 w 840"/>
                <a:gd name="T81" fmla="*/ 26 h 1134"/>
                <a:gd name="T82" fmla="*/ 55 w 840"/>
                <a:gd name="T83" fmla="*/ 32 h 1134"/>
                <a:gd name="T84" fmla="*/ 55 w 840"/>
                <a:gd name="T85" fmla="*/ 36 h 1134"/>
                <a:gd name="T86" fmla="*/ 54 w 840"/>
                <a:gd name="T87" fmla="*/ 39 h 1134"/>
                <a:gd name="T88" fmla="*/ 56 w 840"/>
                <a:gd name="T89" fmla="*/ 39 h 1134"/>
                <a:gd name="T90" fmla="*/ 58 w 840"/>
                <a:gd name="T91" fmla="*/ 39 h 1134"/>
                <a:gd name="T92" fmla="*/ 61 w 840"/>
                <a:gd name="T93" fmla="*/ 39 h 1134"/>
                <a:gd name="T94" fmla="*/ 60 w 840"/>
                <a:gd name="T95" fmla="*/ 49 h 1134"/>
                <a:gd name="T96" fmla="*/ 59 w 840"/>
                <a:gd name="T97" fmla="*/ 53 h 1134"/>
                <a:gd name="T98" fmla="*/ 59 w 840"/>
                <a:gd name="T99" fmla="*/ 56 h 1134"/>
                <a:gd name="T100" fmla="*/ 60 w 840"/>
                <a:gd name="T101" fmla="*/ 59 h 1134"/>
                <a:gd name="T102" fmla="*/ 64 w 840"/>
                <a:gd name="T103" fmla="*/ 61 h 1134"/>
                <a:gd name="T104" fmla="*/ 69 w 840"/>
                <a:gd name="T105" fmla="*/ 63 h 1134"/>
                <a:gd name="T106" fmla="*/ 72 w 840"/>
                <a:gd name="T107" fmla="*/ 69 h 1134"/>
                <a:gd name="T108" fmla="*/ 72 w 840"/>
                <a:gd name="T109" fmla="*/ 73 h 1134"/>
                <a:gd name="T110" fmla="*/ 72 w 840"/>
                <a:gd name="T111" fmla="*/ 83 h 1134"/>
                <a:gd name="T112" fmla="*/ 63 w 840"/>
                <a:gd name="T113" fmla="*/ 88 h 1134"/>
                <a:gd name="T114" fmla="*/ 52 w 840"/>
                <a:gd name="T115" fmla="*/ 95 h 11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40"/>
                <a:gd name="T175" fmla="*/ 0 h 1134"/>
                <a:gd name="T176" fmla="*/ 840 w 840"/>
                <a:gd name="T177" fmla="*/ 1134 h 11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40" h="1134">
                  <a:moveTo>
                    <a:pt x="564" y="1110"/>
                  </a:moveTo>
                  <a:lnTo>
                    <a:pt x="564" y="1104"/>
                  </a:lnTo>
                  <a:lnTo>
                    <a:pt x="558" y="1104"/>
                  </a:lnTo>
                  <a:lnTo>
                    <a:pt x="552" y="1110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28" y="1128"/>
                  </a:lnTo>
                  <a:lnTo>
                    <a:pt x="498" y="1128"/>
                  </a:lnTo>
                  <a:lnTo>
                    <a:pt x="492" y="1128"/>
                  </a:lnTo>
                  <a:lnTo>
                    <a:pt x="486" y="1128"/>
                  </a:lnTo>
                  <a:lnTo>
                    <a:pt x="480" y="1128"/>
                  </a:lnTo>
                  <a:lnTo>
                    <a:pt x="474" y="1134"/>
                  </a:lnTo>
                  <a:lnTo>
                    <a:pt x="468" y="1134"/>
                  </a:lnTo>
                  <a:lnTo>
                    <a:pt x="462" y="1134"/>
                  </a:lnTo>
                  <a:lnTo>
                    <a:pt x="456" y="1134"/>
                  </a:lnTo>
                  <a:lnTo>
                    <a:pt x="456" y="1128"/>
                  </a:lnTo>
                  <a:lnTo>
                    <a:pt x="450" y="1122"/>
                  </a:lnTo>
                  <a:lnTo>
                    <a:pt x="426" y="1128"/>
                  </a:lnTo>
                  <a:lnTo>
                    <a:pt x="414" y="1128"/>
                  </a:lnTo>
                  <a:lnTo>
                    <a:pt x="348" y="1134"/>
                  </a:lnTo>
                  <a:lnTo>
                    <a:pt x="348" y="1128"/>
                  </a:lnTo>
                  <a:lnTo>
                    <a:pt x="342" y="1128"/>
                  </a:lnTo>
                  <a:lnTo>
                    <a:pt x="336" y="1122"/>
                  </a:lnTo>
                  <a:lnTo>
                    <a:pt x="330" y="1122"/>
                  </a:lnTo>
                  <a:lnTo>
                    <a:pt x="324" y="1116"/>
                  </a:lnTo>
                  <a:lnTo>
                    <a:pt x="324" y="1110"/>
                  </a:lnTo>
                  <a:lnTo>
                    <a:pt x="318" y="1110"/>
                  </a:lnTo>
                  <a:lnTo>
                    <a:pt x="318" y="1104"/>
                  </a:lnTo>
                  <a:lnTo>
                    <a:pt x="312" y="1092"/>
                  </a:lnTo>
                  <a:lnTo>
                    <a:pt x="306" y="1086"/>
                  </a:lnTo>
                  <a:lnTo>
                    <a:pt x="306" y="1080"/>
                  </a:lnTo>
                  <a:lnTo>
                    <a:pt x="312" y="1074"/>
                  </a:lnTo>
                  <a:lnTo>
                    <a:pt x="306" y="1068"/>
                  </a:lnTo>
                  <a:lnTo>
                    <a:pt x="300" y="1074"/>
                  </a:lnTo>
                  <a:lnTo>
                    <a:pt x="300" y="1068"/>
                  </a:lnTo>
                  <a:lnTo>
                    <a:pt x="294" y="1068"/>
                  </a:lnTo>
                  <a:lnTo>
                    <a:pt x="294" y="1056"/>
                  </a:lnTo>
                  <a:lnTo>
                    <a:pt x="294" y="1026"/>
                  </a:lnTo>
                  <a:lnTo>
                    <a:pt x="294" y="1020"/>
                  </a:lnTo>
                  <a:lnTo>
                    <a:pt x="294" y="1008"/>
                  </a:lnTo>
                  <a:lnTo>
                    <a:pt x="294" y="966"/>
                  </a:lnTo>
                  <a:lnTo>
                    <a:pt x="294" y="960"/>
                  </a:lnTo>
                  <a:lnTo>
                    <a:pt x="294" y="954"/>
                  </a:lnTo>
                  <a:lnTo>
                    <a:pt x="294" y="948"/>
                  </a:lnTo>
                  <a:lnTo>
                    <a:pt x="294" y="942"/>
                  </a:lnTo>
                  <a:lnTo>
                    <a:pt x="300" y="936"/>
                  </a:lnTo>
                  <a:lnTo>
                    <a:pt x="300" y="930"/>
                  </a:lnTo>
                  <a:lnTo>
                    <a:pt x="294" y="930"/>
                  </a:lnTo>
                  <a:lnTo>
                    <a:pt x="288" y="930"/>
                  </a:lnTo>
                  <a:lnTo>
                    <a:pt x="288" y="924"/>
                  </a:lnTo>
                  <a:lnTo>
                    <a:pt x="282" y="918"/>
                  </a:lnTo>
                  <a:lnTo>
                    <a:pt x="282" y="906"/>
                  </a:lnTo>
                  <a:lnTo>
                    <a:pt x="282" y="900"/>
                  </a:lnTo>
                  <a:lnTo>
                    <a:pt x="264" y="894"/>
                  </a:lnTo>
                  <a:lnTo>
                    <a:pt x="252" y="882"/>
                  </a:lnTo>
                  <a:lnTo>
                    <a:pt x="246" y="876"/>
                  </a:lnTo>
                  <a:lnTo>
                    <a:pt x="240" y="876"/>
                  </a:lnTo>
                  <a:lnTo>
                    <a:pt x="240" y="870"/>
                  </a:lnTo>
                  <a:lnTo>
                    <a:pt x="234" y="870"/>
                  </a:lnTo>
                  <a:lnTo>
                    <a:pt x="222" y="864"/>
                  </a:lnTo>
                  <a:lnTo>
                    <a:pt x="216" y="864"/>
                  </a:lnTo>
                  <a:lnTo>
                    <a:pt x="210" y="858"/>
                  </a:lnTo>
                  <a:lnTo>
                    <a:pt x="210" y="852"/>
                  </a:lnTo>
                  <a:lnTo>
                    <a:pt x="210" y="846"/>
                  </a:lnTo>
                  <a:lnTo>
                    <a:pt x="198" y="840"/>
                  </a:lnTo>
                  <a:lnTo>
                    <a:pt x="186" y="834"/>
                  </a:lnTo>
                  <a:lnTo>
                    <a:pt x="180" y="828"/>
                  </a:lnTo>
                  <a:lnTo>
                    <a:pt x="180" y="822"/>
                  </a:lnTo>
                  <a:lnTo>
                    <a:pt x="174" y="822"/>
                  </a:lnTo>
                  <a:lnTo>
                    <a:pt x="162" y="816"/>
                  </a:lnTo>
                  <a:lnTo>
                    <a:pt x="156" y="810"/>
                  </a:lnTo>
                  <a:lnTo>
                    <a:pt x="150" y="810"/>
                  </a:lnTo>
                  <a:lnTo>
                    <a:pt x="144" y="798"/>
                  </a:lnTo>
                  <a:lnTo>
                    <a:pt x="138" y="786"/>
                  </a:lnTo>
                  <a:lnTo>
                    <a:pt x="138" y="780"/>
                  </a:lnTo>
                  <a:lnTo>
                    <a:pt x="144" y="774"/>
                  </a:lnTo>
                  <a:lnTo>
                    <a:pt x="150" y="768"/>
                  </a:lnTo>
                  <a:lnTo>
                    <a:pt x="192" y="768"/>
                  </a:lnTo>
                  <a:lnTo>
                    <a:pt x="210" y="762"/>
                  </a:lnTo>
                  <a:lnTo>
                    <a:pt x="216" y="756"/>
                  </a:lnTo>
                  <a:lnTo>
                    <a:pt x="216" y="744"/>
                  </a:lnTo>
                  <a:lnTo>
                    <a:pt x="216" y="738"/>
                  </a:lnTo>
                  <a:lnTo>
                    <a:pt x="216" y="732"/>
                  </a:lnTo>
                  <a:lnTo>
                    <a:pt x="216" y="726"/>
                  </a:lnTo>
                  <a:lnTo>
                    <a:pt x="216" y="720"/>
                  </a:lnTo>
                  <a:lnTo>
                    <a:pt x="228" y="702"/>
                  </a:lnTo>
                  <a:lnTo>
                    <a:pt x="234" y="696"/>
                  </a:lnTo>
                  <a:lnTo>
                    <a:pt x="240" y="690"/>
                  </a:lnTo>
                  <a:lnTo>
                    <a:pt x="240" y="684"/>
                  </a:lnTo>
                  <a:lnTo>
                    <a:pt x="234" y="678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0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22" y="630"/>
                  </a:lnTo>
                  <a:lnTo>
                    <a:pt x="222" y="618"/>
                  </a:lnTo>
                  <a:lnTo>
                    <a:pt x="222" y="582"/>
                  </a:lnTo>
                  <a:lnTo>
                    <a:pt x="228" y="582"/>
                  </a:lnTo>
                  <a:lnTo>
                    <a:pt x="222" y="564"/>
                  </a:lnTo>
                  <a:lnTo>
                    <a:pt x="210" y="552"/>
                  </a:lnTo>
                  <a:lnTo>
                    <a:pt x="192" y="540"/>
                  </a:lnTo>
                  <a:lnTo>
                    <a:pt x="174" y="540"/>
                  </a:lnTo>
                  <a:lnTo>
                    <a:pt x="150" y="534"/>
                  </a:lnTo>
                  <a:lnTo>
                    <a:pt x="126" y="528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90" y="516"/>
                  </a:lnTo>
                  <a:lnTo>
                    <a:pt x="78" y="504"/>
                  </a:lnTo>
                  <a:lnTo>
                    <a:pt x="72" y="498"/>
                  </a:lnTo>
                  <a:lnTo>
                    <a:pt x="66" y="486"/>
                  </a:lnTo>
                  <a:lnTo>
                    <a:pt x="54" y="468"/>
                  </a:lnTo>
                  <a:lnTo>
                    <a:pt x="54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42" y="438"/>
                  </a:lnTo>
                  <a:lnTo>
                    <a:pt x="36" y="438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24" y="384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2" y="360"/>
                  </a:lnTo>
                  <a:lnTo>
                    <a:pt x="6" y="360"/>
                  </a:lnTo>
                  <a:lnTo>
                    <a:pt x="0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0"/>
                  </a:lnTo>
                  <a:lnTo>
                    <a:pt x="18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8" y="270"/>
                  </a:lnTo>
                  <a:lnTo>
                    <a:pt x="90" y="276"/>
                  </a:lnTo>
                  <a:lnTo>
                    <a:pt x="108" y="294"/>
                  </a:lnTo>
                  <a:lnTo>
                    <a:pt x="114" y="294"/>
                  </a:lnTo>
                  <a:lnTo>
                    <a:pt x="114" y="276"/>
                  </a:lnTo>
                  <a:lnTo>
                    <a:pt x="114" y="270"/>
                  </a:lnTo>
                  <a:lnTo>
                    <a:pt x="102" y="258"/>
                  </a:lnTo>
                  <a:lnTo>
                    <a:pt x="96" y="246"/>
                  </a:lnTo>
                  <a:lnTo>
                    <a:pt x="90" y="234"/>
                  </a:lnTo>
                  <a:lnTo>
                    <a:pt x="78" y="228"/>
                  </a:lnTo>
                  <a:lnTo>
                    <a:pt x="72" y="216"/>
                  </a:lnTo>
                  <a:lnTo>
                    <a:pt x="66" y="192"/>
                  </a:lnTo>
                  <a:lnTo>
                    <a:pt x="90" y="174"/>
                  </a:lnTo>
                  <a:lnTo>
                    <a:pt x="120" y="150"/>
                  </a:lnTo>
                  <a:lnTo>
                    <a:pt x="132" y="150"/>
                  </a:lnTo>
                  <a:lnTo>
                    <a:pt x="138" y="144"/>
                  </a:lnTo>
                  <a:lnTo>
                    <a:pt x="138" y="138"/>
                  </a:lnTo>
                  <a:lnTo>
                    <a:pt x="156" y="126"/>
                  </a:lnTo>
                  <a:lnTo>
                    <a:pt x="180" y="114"/>
                  </a:lnTo>
                  <a:lnTo>
                    <a:pt x="216" y="114"/>
                  </a:lnTo>
                  <a:lnTo>
                    <a:pt x="222" y="114"/>
                  </a:lnTo>
                  <a:lnTo>
                    <a:pt x="222" y="120"/>
                  </a:lnTo>
                  <a:lnTo>
                    <a:pt x="222" y="126"/>
                  </a:lnTo>
                  <a:lnTo>
                    <a:pt x="222" y="132"/>
                  </a:lnTo>
                  <a:lnTo>
                    <a:pt x="228" y="138"/>
                  </a:lnTo>
                  <a:lnTo>
                    <a:pt x="228" y="144"/>
                  </a:lnTo>
                  <a:lnTo>
                    <a:pt x="228" y="150"/>
                  </a:lnTo>
                  <a:lnTo>
                    <a:pt x="234" y="150"/>
                  </a:lnTo>
                  <a:lnTo>
                    <a:pt x="234" y="144"/>
                  </a:lnTo>
                  <a:lnTo>
                    <a:pt x="240" y="144"/>
                  </a:lnTo>
                  <a:lnTo>
                    <a:pt x="246" y="144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58" y="126"/>
                  </a:lnTo>
                  <a:lnTo>
                    <a:pt x="258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76" y="96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6" y="72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36"/>
                  </a:lnTo>
                  <a:lnTo>
                    <a:pt x="330" y="24"/>
                  </a:lnTo>
                  <a:lnTo>
                    <a:pt x="330" y="18"/>
                  </a:lnTo>
                  <a:lnTo>
                    <a:pt x="330" y="12"/>
                  </a:lnTo>
                  <a:lnTo>
                    <a:pt x="336" y="6"/>
                  </a:lnTo>
                  <a:lnTo>
                    <a:pt x="366" y="0"/>
                  </a:lnTo>
                  <a:lnTo>
                    <a:pt x="372" y="6"/>
                  </a:lnTo>
                  <a:lnTo>
                    <a:pt x="384" y="12"/>
                  </a:lnTo>
                  <a:lnTo>
                    <a:pt x="402" y="12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18"/>
                  </a:lnTo>
                  <a:lnTo>
                    <a:pt x="420" y="18"/>
                  </a:lnTo>
                  <a:lnTo>
                    <a:pt x="426" y="24"/>
                  </a:lnTo>
                  <a:lnTo>
                    <a:pt x="432" y="30"/>
                  </a:lnTo>
                  <a:lnTo>
                    <a:pt x="438" y="36"/>
                  </a:lnTo>
                  <a:lnTo>
                    <a:pt x="444" y="42"/>
                  </a:lnTo>
                  <a:lnTo>
                    <a:pt x="450" y="42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16" y="78"/>
                  </a:lnTo>
                  <a:lnTo>
                    <a:pt x="522" y="102"/>
                  </a:lnTo>
                  <a:lnTo>
                    <a:pt x="522" y="108"/>
                  </a:lnTo>
                  <a:lnTo>
                    <a:pt x="528" y="126"/>
                  </a:lnTo>
                  <a:lnTo>
                    <a:pt x="534" y="126"/>
                  </a:lnTo>
                  <a:lnTo>
                    <a:pt x="540" y="120"/>
                  </a:lnTo>
                  <a:lnTo>
                    <a:pt x="546" y="126"/>
                  </a:lnTo>
                  <a:lnTo>
                    <a:pt x="552" y="126"/>
                  </a:lnTo>
                  <a:lnTo>
                    <a:pt x="558" y="132"/>
                  </a:lnTo>
                  <a:lnTo>
                    <a:pt x="564" y="138"/>
                  </a:lnTo>
                  <a:lnTo>
                    <a:pt x="570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594" y="168"/>
                  </a:lnTo>
                  <a:lnTo>
                    <a:pt x="600" y="174"/>
                  </a:lnTo>
                  <a:lnTo>
                    <a:pt x="606" y="180"/>
                  </a:lnTo>
                  <a:lnTo>
                    <a:pt x="606" y="186"/>
                  </a:lnTo>
                  <a:lnTo>
                    <a:pt x="612" y="192"/>
                  </a:lnTo>
                  <a:lnTo>
                    <a:pt x="612" y="198"/>
                  </a:lnTo>
                  <a:lnTo>
                    <a:pt x="624" y="204"/>
                  </a:lnTo>
                  <a:lnTo>
                    <a:pt x="624" y="210"/>
                  </a:lnTo>
                  <a:lnTo>
                    <a:pt x="630" y="216"/>
                  </a:lnTo>
                  <a:lnTo>
                    <a:pt x="636" y="222"/>
                  </a:lnTo>
                  <a:lnTo>
                    <a:pt x="636" y="228"/>
                  </a:lnTo>
                  <a:lnTo>
                    <a:pt x="636" y="234"/>
                  </a:lnTo>
                  <a:lnTo>
                    <a:pt x="636" y="252"/>
                  </a:lnTo>
                  <a:lnTo>
                    <a:pt x="636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42" y="276"/>
                  </a:lnTo>
                  <a:lnTo>
                    <a:pt x="642" y="282"/>
                  </a:lnTo>
                  <a:lnTo>
                    <a:pt x="642" y="288"/>
                  </a:lnTo>
                  <a:lnTo>
                    <a:pt x="642" y="300"/>
                  </a:lnTo>
                  <a:lnTo>
                    <a:pt x="642" y="306"/>
                  </a:lnTo>
                  <a:lnTo>
                    <a:pt x="636" y="312"/>
                  </a:lnTo>
                  <a:lnTo>
                    <a:pt x="636" y="324"/>
                  </a:lnTo>
                  <a:lnTo>
                    <a:pt x="636" y="342"/>
                  </a:lnTo>
                  <a:lnTo>
                    <a:pt x="630" y="354"/>
                  </a:lnTo>
                  <a:lnTo>
                    <a:pt x="630" y="366"/>
                  </a:lnTo>
                  <a:lnTo>
                    <a:pt x="624" y="378"/>
                  </a:lnTo>
                  <a:lnTo>
                    <a:pt x="624" y="384"/>
                  </a:lnTo>
                  <a:lnTo>
                    <a:pt x="636" y="396"/>
                  </a:lnTo>
                  <a:lnTo>
                    <a:pt x="636" y="402"/>
                  </a:lnTo>
                  <a:lnTo>
                    <a:pt x="636" y="408"/>
                  </a:lnTo>
                  <a:lnTo>
                    <a:pt x="630" y="414"/>
                  </a:lnTo>
                  <a:lnTo>
                    <a:pt x="630" y="420"/>
                  </a:lnTo>
                  <a:lnTo>
                    <a:pt x="630" y="426"/>
                  </a:lnTo>
                  <a:lnTo>
                    <a:pt x="630" y="432"/>
                  </a:lnTo>
                  <a:lnTo>
                    <a:pt x="624" y="438"/>
                  </a:lnTo>
                  <a:lnTo>
                    <a:pt x="624" y="444"/>
                  </a:lnTo>
                  <a:lnTo>
                    <a:pt x="624" y="450"/>
                  </a:lnTo>
                  <a:lnTo>
                    <a:pt x="630" y="450"/>
                  </a:lnTo>
                  <a:lnTo>
                    <a:pt x="630" y="456"/>
                  </a:lnTo>
                  <a:lnTo>
                    <a:pt x="630" y="462"/>
                  </a:lnTo>
                  <a:lnTo>
                    <a:pt x="636" y="468"/>
                  </a:lnTo>
                  <a:lnTo>
                    <a:pt x="642" y="456"/>
                  </a:lnTo>
                  <a:lnTo>
                    <a:pt x="642" y="450"/>
                  </a:lnTo>
                  <a:lnTo>
                    <a:pt x="648" y="450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60" y="444"/>
                  </a:lnTo>
                  <a:lnTo>
                    <a:pt x="666" y="450"/>
                  </a:lnTo>
                  <a:lnTo>
                    <a:pt x="672" y="444"/>
                  </a:lnTo>
                  <a:lnTo>
                    <a:pt x="678" y="444"/>
                  </a:lnTo>
                  <a:lnTo>
                    <a:pt x="684" y="438"/>
                  </a:lnTo>
                  <a:lnTo>
                    <a:pt x="690" y="438"/>
                  </a:lnTo>
                  <a:lnTo>
                    <a:pt x="696" y="438"/>
                  </a:lnTo>
                  <a:lnTo>
                    <a:pt x="702" y="444"/>
                  </a:lnTo>
                  <a:lnTo>
                    <a:pt x="702" y="450"/>
                  </a:lnTo>
                  <a:lnTo>
                    <a:pt x="708" y="450"/>
                  </a:lnTo>
                  <a:lnTo>
                    <a:pt x="708" y="456"/>
                  </a:lnTo>
                  <a:lnTo>
                    <a:pt x="708" y="462"/>
                  </a:lnTo>
                  <a:lnTo>
                    <a:pt x="708" y="468"/>
                  </a:lnTo>
                  <a:lnTo>
                    <a:pt x="708" y="504"/>
                  </a:lnTo>
                  <a:lnTo>
                    <a:pt x="696" y="564"/>
                  </a:lnTo>
                  <a:lnTo>
                    <a:pt x="696" y="582"/>
                  </a:lnTo>
                  <a:lnTo>
                    <a:pt x="696" y="600"/>
                  </a:lnTo>
                  <a:lnTo>
                    <a:pt x="690" y="606"/>
                  </a:lnTo>
                  <a:lnTo>
                    <a:pt x="684" y="606"/>
                  </a:lnTo>
                  <a:lnTo>
                    <a:pt x="690" y="612"/>
                  </a:lnTo>
                  <a:lnTo>
                    <a:pt x="684" y="612"/>
                  </a:lnTo>
                  <a:lnTo>
                    <a:pt x="678" y="618"/>
                  </a:lnTo>
                  <a:lnTo>
                    <a:pt x="672" y="624"/>
                  </a:lnTo>
                  <a:lnTo>
                    <a:pt x="666" y="630"/>
                  </a:lnTo>
                  <a:lnTo>
                    <a:pt x="660" y="636"/>
                  </a:lnTo>
                  <a:lnTo>
                    <a:pt x="672" y="636"/>
                  </a:lnTo>
                  <a:lnTo>
                    <a:pt x="678" y="642"/>
                  </a:lnTo>
                  <a:lnTo>
                    <a:pt x="678" y="648"/>
                  </a:lnTo>
                  <a:lnTo>
                    <a:pt x="684" y="654"/>
                  </a:lnTo>
                  <a:lnTo>
                    <a:pt x="690" y="666"/>
                  </a:lnTo>
                  <a:lnTo>
                    <a:pt x="690" y="672"/>
                  </a:lnTo>
                  <a:lnTo>
                    <a:pt x="696" y="672"/>
                  </a:lnTo>
                  <a:lnTo>
                    <a:pt x="696" y="684"/>
                  </a:lnTo>
                  <a:lnTo>
                    <a:pt x="708" y="690"/>
                  </a:lnTo>
                  <a:lnTo>
                    <a:pt x="720" y="696"/>
                  </a:lnTo>
                  <a:lnTo>
                    <a:pt x="726" y="696"/>
                  </a:lnTo>
                  <a:lnTo>
                    <a:pt x="732" y="696"/>
                  </a:lnTo>
                  <a:lnTo>
                    <a:pt x="738" y="696"/>
                  </a:lnTo>
                  <a:lnTo>
                    <a:pt x="738" y="702"/>
                  </a:lnTo>
                  <a:lnTo>
                    <a:pt x="738" y="708"/>
                  </a:lnTo>
                  <a:lnTo>
                    <a:pt x="738" y="714"/>
                  </a:lnTo>
                  <a:lnTo>
                    <a:pt x="744" y="714"/>
                  </a:lnTo>
                  <a:lnTo>
                    <a:pt x="756" y="720"/>
                  </a:lnTo>
                  <a:lnTo>
                    <a:pt x="780" y="726"/>
                  </a:lnTo>
                  <a:lnTo>
                    <a:pt x="792" y="732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22" y="774"/>
                  </a:lnTo>
                  <a:lnTo>
                    <a:pt x="834" y="786"/>
                  </a:lnTo>
                  <a:lnTo>
                    <a:pt x="834" y="792"/>
                  </a:lnTo>
                  <a:lnTo>
                    <a:pt x="834" y="798"/>
                  </a:lnTo>
                  <a:lnTo>
                    <a:pt x="828" y="798"/>
                  </a:lnTo>
                  <a:lnTo>
                    <a:pt x="828" y="804"/>
                  </a:lnTo>
                  <a:lnTo>
                    <a:pt x="834" y="816"/>
                  </a:lnTo>
                  <a:lnTo>
                    <a:pt x="834" y="834"/>
                  </a:lnTo>
                  <a:lnTo>
                    <a:pt x="834" y="840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34" y="858"/>
                  </a:lnTo>
                  <a:lnTo>
                    <a:pt x="834" y="864"/>
                  </a:lnTo>
                  <a:lnTo>
                    <a:pt x="834" y="876"/>
                  </a:lnTo>
                  <a:lnTo>
                    <a:pt x="828" y="960"/>
                  </a:lnTo>
                  <a:lnTo>
                    <a:pt x="816" y="966"/>
                  </a:lnTo>
                  <a:lnTo>
                    <a:pt x="798" y="972"/>
                  </a:lnTo>
                  <a:lnTo>
                    <a:pt x="786" y="990"/>
                  </a:lnTo>
                  <a:lnTo>
                    <a:pt x="774" y="990"/>
                  </a:lnTo>
                  <a:lnTo>
                    <a:pt x="762" y="1008"/>
                  </a:lnTo>
                  <a:lnTo>
                    <a:pt x="732" y="1014"/>
                  </a:lnTo>
                  <a:lnTo>
                    <a:pt x="714" y="1026"/>
                  </a:lnTo>
                  <a:lnTo>
                    <a:pt x="690" y="1050"/>
                  </a:lnTo>
                  <a:lnTo>
                    <a:pt x="654" y="1056"/>
                  </a:lnTo>
                  <a:lnTo>
                    <a:pt x="630" y="1056"/>
                  </a:lnTo>
                  <a:lnTo>
                    <a:pt x="606" y="1068"/>
                  </a:lnTo>
                  <a:lnTo>
                    <a:pt x="600" y="1092"/>
                  </a:lnTo>
                  <a:lnTo>
                    <a:pt x="600" y="1098"/>
                  </a:lnTo>
                  <a:lnTo>
                    <a:pt x="588" y="1104"/>
                  </a:lnTo>
                  <a:lnTo>
                    <a:pt x="582" y="1104"/>
                  </a:lnTo>
                  <a:lnTo>
                    <a:pt x="570" y="1110"/>
                  </a:lnTo>
                  <a:lnTo>
                    <a:pt x="564" y="111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7" name="Freeform 12">
              <a:extLst>
                <a:ext uri="{FF2B5EF4-FFF2-40B4-BE49-F238E27FC236}">
                  <a16:creationId xmlns:a16="http://schemas.microsoft.com/office/drawing/2014/main" id="{6C93C114-E5D0-49BB-A44C-A127CE01CFE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810" y="2271838"/>
              <a:ext cx="923547" cy="845397"/>
            </a:xfrm>
            <a:custGeom>
              <a:avLst/>
              <a:gdLst>
                <a:gd name="T0" fmla="*/ 138 w 1740"/>
                <a:gd name="T1" fmla="*/ 134 h 1590"/>
                <a:gd name="T2" fmla="*/ 128 w 1740"/>
                <a:gd name="T3" fmla="*/ 131 h 1590"/>
                <a:gd name="T4" fmla="*/ 121 w 1740"/>
                <a:gd name="T5" fmla="*/ 130 h 1590"/>
                <a:gd name="T6" fmla="*/ 119 w 1740"/>
                <a:gd name="T7" fmla="*/ 134 h 1590"/>
                <a:gd name="T8" fmla="*/ 110 w 1740"/>
                <a:gd name="T9" fmla="*/ 132 h 1590"/>
                <a:gd name="T10" fmla="*/ 111 w 1740"/>
                <a:gd name="T11" fmla="*/ 127 h 1590"/>
                <a:gd name="T12" fmla="*/ 103 w 1740"/>
                <a:gd name="T13" fmla="*/ 117 h 1590"/>
                <a:gd name="T14" fmla="*/ 93 w 1740"/>
                <a:gd name="T15" fmla="*/ 123 h 1590"/>
                <a:gd name="T16" fmla="*/ 80 w 1740"/>
                <a:gd name="T17" fmla="*/ 118 h 1590"/>
                <a:gd name="T18" fmla="*/ 66 w 1740"/>
                <a:gd name="T19" fmla="*/ 117 h 1590"/>
                <a:gd name="T20" fmla="*/ 66 w 1740"/>
                <a:gd name="T21" fmla="*/ 110 h 1590"/>
                <a:gd name="T22" fmla="*/ 69 w 1740"/>
                <a:gd name="T23" fmla="*/ 107 h 1590"/>
                <a:gd name="T24" fmla="*/ 68 w 1740"/>
                <a:gd name="T25" fmla="*/ 102 h 1590"/>
                <a:gd name="T26" fmla="*/ 68 w 1740"/>
                <a:gd name="T27" fmla="*/ 96 h 1590"/>
                <a:gd name="T28" fmla="*/ 67 w 1740"/>
                <a:gd name="T29" fmla="*/ 82 h 1590"/>
                <a:gd name="T30" fmla="*/ 58 w 1740"/>
                <a:gd name="T31" fmla="*/ 82 h 1590"/>
                <a:gd name="T32" fmla="*/ 52 w 1740"/>
                <a:gd name="T33" fmla="*/ 82 h 1590"/>
                <a:gd name="T34" fmla="*/ 46 w 1740"/>
                <a:gd name="T35" fmla="*/ 80 h 1590"/>
                <a:gd name="T36" fmla="*/ 45 w 1740"/>
                <a:gd name="T37" fmla="*/ 74 h 1590"/>
                <a:gd name="T38" fmla="*/ 52 w 1740"/>
                <a:gd name="T39" fmla="*/ 70 h 1590"/>
                <a:gd name="T40" fmla="*/ 52 w 1740"/>
                <a:gd name="T41" fmla="*/ 64 h 1590"/>
                <a:gd name="T42" fmla="*/ 42 w 1740"/>
                <a:gd name="T43" fmla="*/ 53 h 1590"/>
                <a:gd name="T44" fmla="*/ 35 w 1740"/>
                <a:gd name="T45" fmla="*/ 52 h 1590"/>
                <a:gd name="T46" fmla="*/ 20 w 1740"/>
                <a:gd name="T47" fmla="*/ 51 h 1590"/>
                <a:gd name="T48" fmla="*/ 17 w 1740"/>
                <a:gd name="T49" fmla="*/ 56 h 1590"/>
                <a:gd name="T50" fmla="*/ 11 w 1740"/>
                <a:gd name="T51" fmla="*/ 61 h 1590"/>
                <a:gd name="T52" fmla="*/ 7 w 1740"/>
                <a:gd name="T53" fmla="*/ 63 h 1590"/>
                <a:gd name="T54" fmla="*/ 0 w 1740"/>
                <a:gd name="T55" fmla="*/ 55 h 1590"/>
                <a:gd name="T56" fmla="*/ 2 w 1740"/>
                <a:gd name="T57" fmla="*/ 50 h 1590"/>
                <a:gd name="T58" fmla="*/ 0 w 1740"/>
                <a:gd name="T59" fmla="*/ 44 h 1590"/>
                <a:gd name="T60" fmla="*/ 2 w 1740"/>
                <a:gd name="T61" fmla="*/ 38 h 1590"/>
                <a:gd name="T62" fmla="*/ 7 w 1740"/>
                <a:gd name="T63" fmla="*/ 35 h 1590"/>
                <a:gd name="T64" fmla="*/ 11 w 1740"/>
                <a:gd name="T65" fmla="*/ 30 h 1590"/>
                <a:gd name="T66" fmla="*/ 21 w 1740"/>
                <a:gd name="T67" fmla="*/ 26 h 1590"/>
                <a:gd name="T68" fmla="*/ 29 w 1740"/>
                <a:gd name="T69" fmla="*/ 25 h 1590"/>
                <a:gd name="T70" fmla="*/ 35 w 1740"/>
                <a:gd name="T71" fmla="*/ 21 h 1590"/>
                <a:gd name="T72" fmla="*/ 36 w 1740"/>
                <a:gd name="T73" fmla="*/ 16 h 1590"/>
                <a:gd name="T74" fmla="*/ 41 w 1740"/>
                <a:gd name="T75" fmla="*/ 11 h 1590"/>
                <a:gd name="T76" fmla="*/ 51 w 1740"/>
                <a:gd name="T77" fmla="*/ 9 h 1590"/>
                <a:gd name="T78" fmla="*/ 59 w 1740"/>
                <a:gd name="T79" fmla="*/ 21 h 1590"/>
                <a:gd name="T80" fmla="*/ 65 w 1740"/>
                <a:gd name="T81" fmla="*/ 13 h 1590"/>
                <a:gd name="T82" fmla="*/ 73 w 1740"/>
                <a:gd name="T83" fmla="*/ 8 h 1590"/>
                <a:gd name="T84" fmla="*/ 82 w 1740"/>
                <a:gd name="T85" fmla="*/ 12 h 1590"/>
                <a:gd name="T86" fmla="*/ 88 w 1740"/>
                <a:gd name="T87" fmla="*/ 12 h 1590"/>
                <a:gd name="T88" fmla="*/ 99 w 1740"/>
                <a:gd name="T89" fmla="*/ 7 h 1590"/>
                <a:gd name="T90" fmla="*/ 114 w 1740"/>
                <a:gd name="T91" fmla="*/ 0 h 1590"/>
                <a:gd name="T92" fmla="*/ 117 w 1740"/>
                <a:gd name="T93" fmla="*/ 10 h 1590"/>
                <a:gd name="T94" fmla="*/ 132 w 1740"/>
                <a:gd name="T95" fmla="*/ 17 h 1590"/>
                <a:gd name="T96" fmla="*/ 140 w 1740"/>
                <a:gd name="T97" fmla="*/ 25 h 1590"/>
                <a:gd name="T98" fmla="*/ 140 w 1740"/>
                <a:gd name="T99" fmla="*/ 33 h 1590"/>
                <a:gd name="T100" fmla="*/ 140 w 1740"/>
                <a:gd name="T101" fmla="*/ 44 h 1590"/>
                <a:gd name="T102" fmla="*/ 138 w 1740"/>
                <a:gd name="T103" fmla="*/ 48 h 1590"/>
                <a:gd name="T104" fmla="*/ 141 w 1740"/>
                <a:gd name="T105" fmla="*/ 49 h 1590"/>
                <a:gd name="T106" fmla="*/ 146 w 1740"/>
                <a:gd name="T107" fmla="*/ 50 h 1590"/>
                <a:gd name="T108" fmla="*/ 149 w 1740"/>
                <a:gd name="T109" fmla="*/ 59 h 1590"/>
                <a:gd name="T110" fmla="*/ 148 w 1740"/>
                <a:gd name="T111" fmla="*/ 67 h 1590"/>
                <a:gd name="T112" fmla="*/ 141 w 1740"/>
                <a:gd name="T113" fmla="*/ 78 h 1590"/>
                <a:gd name="T114" fmla="*/ 141 w 1740"/>
                <a:gd name="T115" fmla="*/ 91 h 1590"/>
                <a:gd name="T116" fmla="*/ 138 w 1740"/>
                <a:gd name="T117" fmla="*/ 102 h 1590"/>
                <a:gd name="T118" fmla="*/ 138 w 1740"/>
                <a:gd name="T119" fmla="*/ 110 h 1590"/>
                <a:gd name="T120" fmla="*/ 144 w 1740"/>
                <a:gd name="T121" fmla="*/ 118 h 1590"/>
                <a:gd name="T122" fmla="*/ 143 w 1740"/>
                <a:gd name="T123" fmla="*/ 125 h 159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740"/>
                <a:gd name="T187" fmla="*/ 0 h 1590"/>
                <a:gd name="T188" fmla="*/ 1740 w 1740"/>
                <a:gd name="T189" fmla="*/ 1590 h 159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740" h="1590">
                  <a:moveTo>
                    <a:pt x="1638" y="1458"/>
                  </a:moveTo>
                  <a:lnTo>
                    <a:pt x="1638" y="1482"/>
                  </a:lnTo>
                  <a:lnTo>
                    <a:pt x="1638" y="1500"/>
                  </a:lnTo>
                  <a:lnTo>
                    <a:pt x="1626" y="1500"/>
                  </a:lnTo>
                  <a:lnTo>
                    <a:pt x="1620" y="1500"/>
                  </a:lnTo>
                  <a:lnTo>
                    <a:pt x="1614" y="1500"/>
                  </a:lnTo>
                  <a:lnTo>
                    <a:pt x="1614" y="1506"/>
                  </a:lnTo>
                  <a:lnTo>
                    <a:pt x="1614" y="1512"/>
                  </a:lnTo>
                  <a:lnTo>
                    <a:pt x="1620" y="1518"/>
                  </a:lnTo>
                  <a:lnTo>
                    <a:pt x="1614" y="1524"/>
                  </a:lnTo>
                  <a:lnTo>
                    <a:pt x="1590" y="1536"/>
                  </a:lnTo>
                  <a:lnTo>
                    <a:pt x="1584" y="1566"/>
                  </a:lnTo>
                  <a:lnTo>
                    <a:pt x="1578" y="1590"/>
                  </a:lnTo>
                  <a:lnTo>
                    <a:pt x="1548" y="1590"/>
                  </a:lnTo>
                  <a:lnTo>
                    <a:pt x="1542" y="1584"/>
                  </a:lnTo>
                  <a:lnTo>
                    <a:pt x="1542" y="1572"/>
                  </a:lnTo>
                  <a:lnTo>
                    <a:pt x="1536" y="1566"/>
                  </a:lnTo>
                  <a:lnTo>
                    <a:pt x="1536" y="1554"/>
                  </a:lnTo>
                  <a:lnTo>
                    <a:pt x="1536" y="1548"/>
                  </a:lnTo>
                  <a:lnTo>
                    <a:pt x="1506" y="1530"/>
                  </a:lnTo>
                  <a:lnTo>
                    <a:pt x="1488" y="1506"/>
                  </a:lnTo>
                  <a:lnTo>
                    <a:pt x="1464" y="1500"/>
                  </a:lnTo>
                  <a:lnTo>
                    <a:pt x="1470" y="1494"/>
                  </a:lnTo>
                  <a:lnTo>
                    <a:pt x="1470" y="1488"/>
                  </a:lnTo>
                  <a:lnTo>
                    <a:pt x="1470" y="1482"/>
                  </a:lnTo>
                  <a:lnTo>
                    <a:pt x="1428" y="1464"/>
                  </a:lnTo>
                  <a:lnTo>
                    <a:pt x="1404" y="1470"/>
                  </a:lnTo>
                  <a:lnTo>
                    <a:pt x="1398" y="1470"/>
                  </a:lnTo>
                  <a:lnTo>
                    <a:pt x="1392" y="1476"/>
                  </a:lnTo>
                  <a:lnTo>
                    <a:pt x="1386" y="1476"/>
                  </a:lnTo>
                  <a:lnTo>
                    <a:pt x="1386" y="1482"/>
                  </a:lnTo>
                  <a:lnTo>
                    <a:pt x="1392" y="1482"/>
                  </a:lnTo>
                  <a:lnTo>
                    <a:pt x="1386" y="1488"/>
                  </a:lnTo>
                  <a:lnTo>
                    <a:pt x="1386" y="1494"/>
                  </a:lnTo>
                  <a:lnTo>
                    <a:pt x="1380" y="1494"/>
                  </a:lnTo>
                  <a:lnTo>
                    <a:pt x="1380" y="1500"/>
                  </a:lnTo>
                  <a:lnTo>
                    <a:pt x="1380" y="1512"/>
                  </a:lnTo>
                  <a:lnTo>
                    <a:pt x="1380" y="1518"/>
                  </a:lnTo>
                  <a:lnTo>
                    <a:pt x="1380" y="1524"/>
                  </a:lnTo>
                  <a:lnTo>
                    <a:pt x="1380" y="1530"/>
                  </a:lnTo>
                  <a:lnTo>
                    <a:pt x="1374" y="1536"/>
                  </a:lnTo>
                  <a:lnTo>
                    <a:pt x="1374" y="1542"/>
                  </a:lnTo>
                  <a:lnTo>
                    <a:pt x="1368" y="1542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44" y="1554"/>
                  </a:lnTo>
                  <a:lnTo>
                    <a:pt x="1332" y="1560"/>
                  </a:lnTo>
                  <a:lnTo>
                    <a:pt x="1302" y="1554"/>
                  </a:lnTo>
                  <a:lnTo>
                    <a:pt x="1290" y="1554"/>
                  </a:lnTo>
                  <a:lnTo>
                    <a:pt x="1278" y="1542"/>
                  </a:lnTo>
                  <a:lnTo>
                    <a:pt x="1272" y="1530"/>
                  </a:lnTo>
                  <a:lnTo>
                    <a:pt x="1272" y="1524"/>
                  </a:lnTo>
                  <a:lnTo>
                    <a:pt x="1272" y="1518"/>
                  </a:lnTo>
                  <a:lnTo>
                    <a:pt x="1266" y="1518"/>
                  </a:lnTo>
                  <a:lnTo>
                    <a:pt x="1266" y="1512"/>
                  </a:lnTo>
                  <a:lnTo>
                    <a:pt x="1266" y="1506"/>
                  </a:lnTo>
                  <a:lnTo>
                    <a:pt x="1272" y="1506"/>
                  </a:lnTo>
                  <a:lnTo>
                    <a:pt x="1272" y="1500"/>
                  </a:lnTo>
                  <a:lnTo>
                    <a:pt x="1278" y="1500"/>
                  </a:lnTo>
                  <a:lnTo>
                    <a:pt x="1278" y="1494"/>
                  </a:lnTo>
                  <a:lnTo>
                    <a:pt x="1278" y="1488"/>
                  </a:lnTo>
                  <a:lnTo>
                    <a:pt x="1284" y="1488"/>
                  </a:lnTo>
                  <a:lnTo>
                    <a:pt x="1284" y="1482"/>
                  </a:lnTo>
                  <a:lnTo>
                    <a:pt x="1290" y="1476"/>
                  </a:lnTo>
                  <a:lnTo>
                    <a:pt x="1284" y="1470"/>
                  </a:lnTo>
                  <a:lnTo>
                    <a:pt x="1278" y="1458"/>
                  </a:lnTo>
                  <a:lnTo>
                    <a:pt x="1278" y="1452"/>
                  </a:lnTo>
                  <a:lnTo>
                    <a:pt x="1260" y="1428"/>
                  </a:lnTo>
                  <a:lnTo>
                    <a:pt x="1254" y="1416"/>
                  </a:lnTo>
                  <a:lnTo>
                    <a:pt x="1254" y="1410"/>
                  </a:lnTo>
                  <a:lnTo>
                    <a:pt x="1248" y="1398"/>
                  </a:lnTo>
                  <a:lnTo>
                    <a:pt x="1242" y="1398"/>
                  </a:lnTo>
                  <a:lnTo>
                    <a:pt x="1236" y="1398"/>
                  </a:lnTo>
                  <a:lnTo>
                    <a:pt x="1218" y="1386"/>
                  </a:lnTo>
                  <a:lnTo>
                    <a:pt x="1212" y="1362"/>
                  </a:lnTo>
                  <a:lnTo>
                    <a:pt x="1200" y="1344"/>
                  </a:lnTo>
                  <a:lnTo>
                    <a:pt x="1188" y="1338"/>
                  </a:lnTo>
                  <a:lnTo>
                    <a:pt x="1164" y="1338"/>
                  </a:lnTo>
                  <a:lnTo>
                    <a:pt x="1158" y="1344"/>
                  </a:lnTo>
                  <a:lnTo>
                    <a:pt x="1152" y="1350"/>
                  </a:lnTo>
                  <a:lnTo>
                    <a:pt x="1152" y="1356"/>
                  </a:lnTo>
                  <a:lnTo>
                    <a:pt x="1140" y="1362"/>
                  </a:lnTo>
                  <a:lnTo>
                    <a:pt x="1134" y="1380"/>
                  </a:lnTo>
                  <a:lnTo>
                    <a:pt x="1116" y="1398"/>
                  </a:lnTo>
                  <a:lnTo>
                    <a:pt x="1110" y="1416"/>
                  </a:lnTo>
                  <a:lnTo>
                    <a:pt x="1086" y="1416"/>
                  </a:lnTo>
                  <a:lnTo>
                    <a:pt x="1080" y="1410"/>
                  </a:lnTo>
                  <a:lnTo>
                    <a:pt x="1074" y="1410"/>
                  </a:lnTo>
                  <a:lnTo>
                    <a:pt x="1074" y="1404"/>
                  </a:lnTo>
                  <a:lnTo>
                    <a:pt x="1062" y="1404"/>
                  </a:lnTo>
                  <a:lnTo>
                    <a:pt x="1062" y="1380"/>
                  </a:lnTo>
                  <a:lnTo>
                    <a:pt x="1038" y="1380"/>
                  </a:lnTo>
                  <a:lnTo>
                    <a:pt x="1026" y="1350"/>
                  </a:lnTo>
                  <a:lnTo>
                    <a:pt x="996" y="1326"/>
                  </a:lnTo>
                  <a:lnTo>
                    <a:pt x="966" y="1314"/>
                  </a:lnTo>
                  <a:lnTo>
                    <a:pt x="954" y="1320"/>
                  </a:lnTo>
                  <a:lnTo>
                    <a:pt x="942" y="1338"/>
                  </a:lnTo>
                  <a:lnTo>
                    <a:pt x="930" y="1338"/>
                  </a:lnTo>
                  <a:lnTo>
                    <a:pt x="924" y="1350"/>
                  </a:lnTo>
                  <a:lnTo>
                    <a:pt x="906" y="1356"/>
                  </a:lnTo>
                  <a:lnTo>
                    <a:pt x="846" y="1356"/>
                  </a:lnTo>
                  <a:lnTo>
                    <a:pt x="834" y="1368"/>
                  </a:lnTo>
                  <a:lnTo>
                    <a:pt x="810" y="1362"/>
                  </a:lnTo>
                  <a:lnTo>
                    <a:pt x="792" y="1362"/>
                  </a:lnTo>
                  <a:lnTo>
                    <a:pt x="780" y="1368"/>
                  </a:lnTo>
                  <a:lnTo>
                    <a:pt x="762" y="1368"/>
                  </a:lnTo>
                  <a:lnTo>
                    <a:pt x="762" y="1362"/>
                  </a:lnTo>
                  <a:lnTo>
                    <a:pt x="750" y="1362"/>
                  </a:lnTo>
                  <a:lnTo>
                    <a:pt x="750" y="1338"/>
                  </a:lnTo>
                  <a:lnTo>
                    <a:pt x="762" y="1338"/>
                  </a:lnTo>
                  <a:lnTo>
                    <a:pt x="762" y="1326"/>
                  </a:lnTo>
                  <a:lnTo>
                    <a:pt x="762" y="1314"/>
                  </a:lnTo>
                  <a:lnTo>
                    <a:pt x="732" y="1314"/>
                  </a:lnTo>
                  <a:lnTo>
                    <a:pt x="726" y="1308"/>
                  </a:lnTo>
                  <a:lnTo>
                    <a:pt x="732" y="1284"/>
                  </a:lnTo>
                  <a:lnTo>
                    <a:pt x="732" y="1278"/>
                  </a:lnTo>
                  <a:lnTo>
                    <a:pt x="738" y="1272"/>
                  </a:lnTo>
                  <a:lnTo>
                    <a:pt x="738" y="1266"/>
                  </a:lnTo>
                  <a:lnTo>
                    <a:pt x="744" y="1266"/>
                  </a:lnTo>
                  <a:lnTo>
                    <a:pt x="750" y="1272"/>
                  </a:lnTo>
                  <a:lnTo>
                    <a:pt x="756" y="1266"/>
                  </a:lnTo>
                  <a:lnTo>
                    <a:pt x="762" y="1266"/>
                  </a:lnTo>
                  <a:lnTo>
                    <a:pt x="768" y="1260"/>
                  </a:lnTo>
                  <a:lnTo>
                    <a:pt x="774" y="1260"/>
                  </a:lnTo>
                  <a:lnTo>
                    <a:pt x="780" y="1254"/>
                  </a:lnTo>
                  <a:lnTo>
                    <a:pt x="774" y="1254"/>
                  </a:lnTo>
                  <a:lnTo>
                    <a:pt x="768" y="1254"/>
                  </a:lnTo>
                  <a:lnTo>
                    <a:pt x="774" y="1248"/>
                  </a:lnTo>
                  <a:lnTo>
                    <a:pt x="774" y="1242"/>
                  </a:lnTo>
                  <a:lnTo>
                    <a:pt x="780" y="1236"/>
                  </a:lnTo>
                  <a:lnTo>
                    <a:pt x="786" y="1236"/>
                  </a:lnTo>
                  <a:lnTo>
                    <a:pt x="792" y="1230"/>
                  </a:lnTo>
                  <a:lnTo>
                    <a:pt x="792" y="1236"/>
                  </a:lnTo>
                  <a:lnTo>
                    <a:pt x="798" y="1236"/>
                  </a:lnTo>
                  <a:lnTo>
                    <a:pt x="798" y="1230"/>
                  </a:lnTo>
                  <a:lnTo>
                    <a:pt x="804" y="1230"/>
                  </a:lnTo>
                  <a:lnTo>
                    <a:pt x="804" y="1218"/>
                  </a:lnTo>
                  <a:lnTo>
                    <a:pt x="804" y="1206"/>
                  </a:lnTo>
                  <a:lnTo>
                    <a:pt x="792" y="1188"/>
                  </a:lnTo>
                  <a:lnTo>
                    <a:pt x="768" y="1182"/>
                  </a:lnTo>
                  <a:lnTo>
                    <a:pt x="768" y="1170"/>
                  </a:lnTo>
                  <a:lnTo>
                    <a:pt x="774" y="1170"/>
                  </a:lnTo>
                  <a:lnTo>
                    <a:pt x="780" y="1170"/>
                  </a:lnTo>
                  <a:lnTo>
                    <a:pt x="786" y="1170"/>
                  </a:lnTo>
                  <a:lnTo>
                    <a:pt x="780" y="1152"/>
                  </a:lnTo>
                  <a:lnTo>
                    <a:pt x="780" y="1146"/>
                  </a:lnTo>
                  <a:lnTo>
                    <a:pt x="744" y="1140"/>
                  </a:lnTo>
                  <a:lnTo>
                    <a:pt x="732" y="1128"/>
                  </a:lnTo>
                  <a:lnTo>
                    <a:pt x="720" y="1122"/>
                  </a:lnTo>
                  <a:lnTo>
                    <a:pt x="732" y="1116"/>
                  </a:lnTo>
                  <a:lnTo>
                    <a:pt x="750" y="1104"/>
                  </a:lnTo>
                  <a:lnTo>
                    <a:pt x="756" y="1116"/>
                  </a:lnTo>
                  <a:lnTo>
                    <a:pt x="774" y="1116"/>
                  </a:lnTo>
                  <a:lnTo>
                    <a:pt x="780" y="1104"/>
                  </a:lnTo>
                  <a:lnTo>
                    <a:pt x="780" y="1080"/>
                  </a:lnTo>
                  <a:lnTo>
                    <a:pt x="786" y="1080"/>
                  </a:lnTo>
                  <a:lnTo>
                    <a:pt x="786" y="1074"/>
                  </a:lnTo>
                  <a:lnTo>
                    <a:pt x="792" y="1074"/>
                  </a:lnTo>
                  <a:lnTo>
                    <a:pt x="786" y="1068"/>
                  </a:lnTo>
                  <a:lnTo>
                    <a:pt x="786" y="1062"/>
                  </a:lnTo>
                  <a:lnTo>
                    <a:pt x="786" y="1056"/>
                  </a:lnTo>
                  <a:lnTo>
                    <a:pt x="792" y="1050"/>
                  </a:lnTo>
                  <a:lnTo>
                    <a:pt x="786" y="1020"/>
                  </a:lnTo>
                  <a:lnTo>
                    <a:pt x="780" y="960"/>
                  </a:lnTo>
                  <a:lnTo>
                    <a:pt x="768" y="942"/>
                  </a:lnTo>
                  <a:lnTo>
                    <a:pt x="732" y="936"/>
                  </a:lnTo>
                  <a:lnTo>
                    <a:pt x="732" y="942"/>
                  </a:lnTo>
                  <a:lnTo>
                    <a:pt x="726" y="942"/>
                  </a:lnTo>
                  <a:lnTo>
                    <a:pt x="720" y="936"/>
                  </a:lnTo>
                  <a:lnTo>
                    <a:pt x="714" y="942"/>
                  </a:lnTo>
                  <a:lnTo>
                    <a:pt x="708" y="942"/>
                  </a:lnTo>
                  <a:lnTo>
                    <a:pt x="702" y="942"/>
                  </a:lnTo>
                  <a:lnTo>
                    <a:pt x="690" y="936"/>
                  </a:lnTo>
                  <a:lnTo>
                    <a:pt x="684" y="936"/>
                  </a:lnTo>
                  <a:lnTo>
                    <a:pt x="678" y="936"/>
                  </a:lnTo>
                  <a:lnTo>
                    <a:pt x="672" y="936"/>
                  </a:lnTo>
                  <a:lnTo>
                    <a:pt x="666" y="942"/>
                  </a:lnTo>
                  <a:lnTo>
                    <a:pt x="660" y="942"/>
                  </a:lnTo>
                  <a:lnTo>
                    <a:pt x="654" y="942"/>
                  </a:lnTo>
                  <a:lnTo>
                    <a:pt x="648" y="942"/>
                  </a:lnTo>
                  <a:lnTo>
                    <a:pt x="642" y="936"/>
                  </a:lnTo>
                  <a:lnTo>
                    <a:pt x="636" y="936"/>
                  </a:lnTo>
                  <a:lnTo>
                    <a:pt x="630" y="930"/>
                  </a:lnTo>
                  <a:lnTo>
                    <a:pt x="618" y="930"/>
                  </a:lnTo>
                  <a:lnTo>
                    <a:pt x="612" y="930"/>
                  </a:lnTo>
                  <a:lnTo>
                    <a:pt x="606" y="936"/>
                  </a:lnTo>
                  <a:lnTo>
                    <a:pt x="600" y="942"/>
                  </a:lnTo>
                  <a:lnTo>
                    <a:pt x="600" y="936"/>
                  </a:lnTo>
                  <a:lnTo>
                    <a:pt x="594" y="930"/>
                  </a:lnTo>
                  <a:lnTo>
                    <a:pt x="588" y="930"/>
                  </a:lnTo>
                  <a:lnTo>
                    <a:pt x="582" y="930"/>
                  </a:lnTo>
                  <a:lnTo>
                    <a:pt x="576" y="930"/>
                  </a:lnTo>
                  <a:lnTo>
                    <a:pt x="564" y="936"/>
                  </a:lnTo>
                  <a:lnTo>
                    <a:pt x="558" y="936"/>
                  </a:lnTo>
                  <a:lnTo>
                    <a:pt x="546" y="924"/>
                  </a:lnTo>
                  <a:lnTo>
                    <a:pt x="540" y="924"/>
                  </a:lnTo>
                  <a:lnTo>
                    <a:pt x="534" y="918"/>
                  </a:lnTo>
                  <a:lnTo>
                    <a:pt x="528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6" y="918"/>
                  </a:lnTo>
                  <a:lnTo>
                    <a:pt x="516" y="912"/>
                  </a:lnTo>
                  <a:lnTo>
                    <a:pt x="510" y="894"/>
                  </a:lnTo>
                  <a:lnTo>
                    <a:pt x="510" y="882"/>
                  </a:lnTo>
                  <a:lnTo>
                    <a:pt x="510" y="876"/>
                  </a:lnTo>
                  <a:lnTo>
                    <a:pt x="516" y="870"/>
                  </a:lnTo>
                  <a:lnTo>
                    <a:pt x="510" y="864"/>
                  </a:lnTo>
                  <a:lnTo>
                    <a:pt x="516" y="858"/>
                  </a:lnTo>
                  <a:lnTo>
                    <a:pt x="522" y="858"/>
                  </a:lnTo>
                  <a:lnTo>
                    <a:pt x="528" y="858"/>
                  </a:lnTo>
                  <a:lnTo>
                    <a:pt x="522" y="852"/>
                  </a:lnTo>
                  <a:lnTo>
                    <a:pt x="528" y="852"/>
                  </a:lnTo>
                  <a:lnTo>
                    <a:pt x="528" y="846"/>
                  </a:lnTo>
                  <a:lnTo>
                    <a:pt x="552" y="846"/>
                  </a:lnTo>
                  <a:lnTo>
                    <a:pt x="558" y="840"/>
                  </a:lnTo>
                  <a:lnTo>
                    <a:pt x="564" y="828"/>
                  </a:lnTo>
                  <a:lnTo>
                    <a:pt x="570" y="816"/>
                  </a:lnTo>
                  <a:lnTo>
                    <a:pt x="582" y="810"/>
                  </a:lnTo>
                  <a:lnTo>
                    <a:pt x="588" y="804"/>
                  </a:lnTo>
                  <a:lnTo>
                    <a:pt x="594" y="804"/>
                  </a:lnTo>
                  <a:lnTo>
                    <a:pt x="594" y="792"/>
                  </a:lnTo>
                  <a:lnTo>
                    <a:pt x="600" y="786"/>
                  </a:lnTo>
                  <a:lnTo>
                    <a:pt x="606" y="780"/>
                  </a:lnTo>
                  <a:lnTo>
                    <a:pt x="612" y="774"/>
                  </a:lnTo>
                  <a:lnTo>
                    <a:pt x="618" y="774"/>
                  </a:lnTo>
                  <a:lnTo>
                    <a:pt x="618" y="768"/>
                  </a:lnTo>
                  <a:lnTo>
                    <a:pt x="618" y="762"/>
                  </a:lnTo>
                  <a:lnTo>
                    <a:pt x="624" y="756"/>
                  </a:lnTo>
                  <a:lnTo>
                    <a:pt x="618" y="750"/>
                  </a:lnTo>
                  <a:lnTo>
                    <a:pt x="618" y="744"/>
                  </a:lnTo>
                  <a:lnTo>
                    <a:pt x="600" y="738"/>
                  </a:lnTo>
                  <a:lnTo>
                    <a:pt x="558" y="744"/>
                  </a:lnTo>
                  <a:lnTo>
                    <a:pt x="552" y="732"/>
                  </a:lnTo>
                  <a:lnTo>
                    <a:pt x="546" y="720"/>
                  </a:lnTo>
                  <a:lnTo>
                    <a:pt x="564" y="702"/>
                  </a:lnTo>
                  <a:lnTo>
                    <a:pt x="570" y="684"/>
                  </a:lnTo>
                  <a:lnTo>
                    <a:pt x="564" y="648"/>
                  </a:lnTo>
                  <a:lnTo>
                    <a:pt x="534" y="624"/>
                  </a:lnTo>
                  <a:lnTo>
                    <a:pt x="504" y="612"/>
                  </a:lnTo>
                  <a:lnTo>
                    <a:pt x="498" y="606"/>
                  </a:lnTo>
                  <a:lnTo>
                    <a:pt x="492" y="600"/>
                  </a:lnTo>
                  <a:lnTo>
                    <a:pt x="486" y="606"/>
                  </a:lnTo>
                  <a:lnTo>
                    <a:pt x="480" y="558"/>
                  </a:lnTo>
                  <a:lnTo>
                    <a:pt x="462" y="546"/>
                  </a:lnTo>
                  <a:lnTo>
                    <a:pt x="408" y="540"/>
                  </a:lnTo>
                  <a:lnTo>
                    <a:pt x="408" y="546"/>
                  </a:lnTo>
                  <a:lnTo>
                    <a:pt x="408" y="558"/>
                  </a:lnTo>
                  <a:lnTo>
                    <a:pt x="408" y="564"/>
                  </a:lnTo>
                  <a:lnTo>
                    <a:pt x="408" y="570"/>
                  </a:lnTo>
                  <a:lnTo>
                    <a:pt x="414" y="582"/>
                  </a:lnTo>
                  <a:lnTo>
                    <a:pt x="408" y="594"/>
                  </a:lnTo>
                  <a:lnTo>
                    <a:pt x="414" y="594"/>
                  </a:lnTo>
                  <a:lnTo>
                    <a:pt x="408" y="600"/>
                  </a:lnTo>
                  <a:lnTo>
                    <a:pt x="348" y="600"/>
                  </a:lnTo>
                  <a:lnTo>
                    <a:pt x="324" y="600"/>
                  </a:lnTo>
                  <a:lnTo>
                    <a:pt x="324" y="612"/>
                  </a:lnTo>
                  <a:lnTo>
                    <a:pt x="306" y="618"/>
                  </a:lnTo>
                  <a:lnTo>
                    <a:pt x="312" y="618"/>
                  </a:lnTo>
                  <a:lnTo>
                    <a:pt x="294" y="588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76"/>
                  </a:lnTo>
                  <a:lnTo>
                    <a:pt x="240" y="582"/>
                  </a:lnTo>
                  <a:lnTo>
                    <a:pt x="234" y="582"/>
                  </a:lnTo>
                  <a:lnTo>
                    <a:pt x="228" y="588"/>
                  </a:lnTo>
                  <a:lnTo>
                    <a:pt x="222" y="588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8" y="600"/>
                  </a:lnTo>
                  <a:lnTo>
                    <a:pt x="192" y="612"/>
                  </a:lnTo>
                  <a:lnTo>
                    <a:pt x="192" y="618"/>
                  </a:lnTo>
                  <a:lnTo>
                    <a:pt x="198" y="624"/>
                  </a:lnTo>
                  <a:lnTo>
                    <a:pt x="192" y="624"/>
                  </a:lnTo>
                  <a:lnTo>
                    <a:pt x="192" y="630"/>
                  </a:lnTo>
                  <a:lnTo>
                    <a:pt x="192" y="642"/>
                  </a:lnTo>
                  <a:lnTo>
                    <a:pt x="180" y="648"/>
                  </a:lnTo>
                  <a:lnTo>
                    <a:pt x="174" y="654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6"/>
                  </a:lnTo>
                  <a:lnTo>
                    <a:pt x="156" y="672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90"/>
                  </a:lnTo>
                  <a:lnTo>
                    <a:pt x="132" y="690"/>
                  </a:lnTo>
                  <a:lnTo>
                    <a:pt x="126" y="702"/>
                  </a:lnTo>
                  <a:lnTo>
                    <a:pt x="132" y="708"/>
                  </a:lnTo>
                  <a:lnTo>
                    <a:pt x="126" y="708"/>
                  </a:lnTo>
                  <a:lnTo>
                    <a:pt x="120" y="708"/>
                  </a:lnTo>
                  <a:lnTo>
                    <a:pt x="114" y="708"/>
                  </a:lnTo>
                  <a:lnTo>
                    <a:pt x="108" y="708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78" y="720"/>
                  </a:lnTo>
                  <a:lnTo>
                    <a:pt x="72" y="720"/>
                  </a:lnTo>
                  <a:lnTo>
                    <a:pt x="66" y="720"/>
                  </a:lnTo>
                  <a:lnTo>
                    <a:pt x="54" y="732"/>
                  </a:lnTo>
                  <a:lnTo>
                    <a:pt x="48" y="702"/>
                  </a:lnTo>
                  <a:lnTo>
                    <a:pt x="36" y="666"/>
                  </a:lnTo>
                  <a:lnTo>
                    <a:pt x="0" y="660"/>
                  </a:lnTo>
                  <a:lnTo>
                    <a:pt x="6" y="660"/>
                  </a:lnTo>
                  <a:lnTo>
                    <a:pt x="6" y="654"/>
                  </a:lnTo>
                  <a:lnTo>
                    <a:pt x="6" y="648"/>
                  </a:lnTo>
                  <a:lnTo>
                    <a:pt x="6" y="642"/>
                  </a:lnTo>
                  <a:lnTo>
                    <a:pt x="6" y="624"/>
                  </a:lnTo>
                  <a:lnTo>
                    <a:pt x="6" y="612"/>
                  </a:lnTo>
                  <a:lnTo>
                    <a:pt x="6" y="606"/>
                  </a:lnTo>
                  <a:lnTo>
                    <a:pt x="12" y="612"/>
                  </a:lnTo>
                  <a:lnTo>
                    <a:pt x="18" y="606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30" y="594"/>
                  </a:lnTo>
                  <a:lnTo>
                    <a:pt x="30" y="588"/>
                  </a:lnTo>
                  <a:lnTo>
                    <a:pt x="30" y="582"/>
                  </a:lnTo>
                  <a:lnTo>
                    <a:pt x="24" y="576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18" y="558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36" y="528"/>
                  </a:lnTo>
                  <a:lnTo>
                    <a:pt x="30" y="522"/>
                  </a:lnTo>
                  <a:lnTo>
                    <a:pt x="24" y="522"/>
                  </a:lnTo>
                  <a:lnTo>
                    <a:pt x="18" y="510"/>
                  </a:lnTo>
                  <a:lnTo>
                    <a:pt x="12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8" y="474"/>
                  </a:lnTo>
                  <a:lnTo>
                    <a:pt x="12" y="468"/>
                  </a:lnTo>
                  <a:lnTo>
                    <a:pt x="12" y="462"/>
                  </a:lnTo>
                  <a:lnTo>
                    <a:pt x="18" y="456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0" y="420"/>
                  </a:lnTo>
                  <a:lnTo>
                    <a:pt x="30" y="414"/>
                  </a:lnTo>
                  <a:lnTo>
                    <a:pt x="48" y="414"/>
                  </a:lnTo>
                  <a:lnTo>
                    <a:pt x="54" y="408"/>
                  </a:lnTo>
                  <a:lnTo>
                    <a:pt x="60" y="402"/>
                  </a:lnTo>
                  <a:lnTo>
                    <a:pt x="66" y="402"/>
                  </a:lnTo>
                  <a:lnTo>
                    <a:pt x="72" y="402"/>
                  </a:lnTo>
                  <a:lnTo>
                    <a:pt x="78" y="408"/>
                  </a:lnTo>
                  <a:lnTo>
                    <a:pt x="84" y="396"/>
                  </a:lnTo>
                  <a:lnTo>
                    <a:pt x="90" y="390"/>
                  </a:lnTo>
                  <a:lnTo>
                    <a:pt x="90" y="378"/>
                  </a:lnTo>
                  <a:lnTo>
                    <a:pt x="96" y="372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8" y="354"/>
                  </a:lnTo>
                  <a:lnTo>
                    <a:pt x="114" y="348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32" y="336"/>
                  </a:lnTo>
                  <a:lnTo>
                    <a:pt x="132" y="330"/>
                  </a:lnTo>
                  <a:lnTo>
                    <a:pt x="138" y="324"/>
                  </a:lnTo>
                  <a:lnTo>
                    <a:pt x="138" y="318"/>
                  </a:lnTo>
                  <a:lnTo>
                    <a:pt x="144" y="306"/>
                  </a:lnTo>
                  <a:lnTo>
                    <a:pt x="156" y="306"/>
                  </a:lnTo>
                  <a:lnTo>
                    <a:pt x="186" y="300"/>
                  </a:lnTo>
                  <a:lnTo>
                    <a:pt x="198" y="300"/>
                  </a:lnTo>
                  <a:lnTo>
                    <a:pt x="210" y="300"/>
                  </a:lnTo>
                  <a:lnTo>
                    <a:pt x="222" y="300"/>
                  </a:lnTo>
                  <a:lnTo>
                    <a:pt x="246" y="300"/>
                  </a:lnTo>
                  <a:lnTo>
                    <a:pt x="264" y="312"/>
                  </a:lnTo>
                  <a:lnTo>
                    <a:pt x="270" y="312"/>
                  </a:lnTo>
                  <a:lnTo>
                    <a:pt x="282" y="306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300" y="306"/>
                  </a:lnTo>
                  <a:lnTo>
                    <a:pt x="312" y="306"/>
                  </a:lnTo>
                  <a:lnTo>
                    <a:pt x="318" y="300"/>
                  </a:lnTo>
                  <a:lnTo>
                    <a:pt x="324" y="300"/>
                  </a:lnTo>
                  <a:lnTo>
                    <a:pt x="330" y="294"/>
                  </a:lnTo>
                  <a:lnTo>
                    <a:pt x="336" y="288"/>
                  </a:lnTo>
                  <a:lnTo>
                    <a:pt x="354" y="288"/>
                  </a:lnTo>
                  <a:lnTo>
                    <a:pt x="360" y="288"/>
                  </a:lnTo>
                  <a:lnTo>
                    <a:pt x="366" y="282"/>
                  </a:lnTo>
                  <a:lnTo>
                    <a:pt x="372" y="282"/>
                  </a:lnTo>
                  <a:lnTo>
                    <a:pt x="378" y="282"/>
                  </a:lnTo>
                  <a:lnTo>
                    <a:pt x="384" y="276"/>
                  </a:lnTo>
                  <a:lnTo>
                    <a:pt x="384" y="270"/>
                  </a:lnTo>
                  <a:lnTo>
                    <a:pt x="390" y="264"/>
                  </a:lnTo>
                  <a:lnTo>
                    <a:pt x="402" y="258"/>
                  </a:lnTo>
                  <a:lnTo>
                    <a:pt x="402" y="252"/>
                  </a:lnTo>
                  <a:lnTo>
                    <a:pt x="402" y="246"/>
                  </a:lnTo>
                  <a:lnTo>
                    <a:pt x="408" y="234"/>
                  </a:lnTo>
                  <a:lnTo>
                    <a:pt x="414" y="234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14" y="216"/>
                  </a:lnTo>
                  <a:lnTo>
                    <a:pt x="414" y="210"/>
                  </a:lnTo>
                  <a:lnTo>
                    <a:pt x="420" y="210"/>
                  </a:lnTo>
                  <a:lnTo>
                    <a:pt x="414" y="198"/>
                  </a:lnTo>
                  <a:lnTo>
                    <a:pt x="414" y="192"/>
                  </a:lnTo>
                  <a:lnTo>
                    <a:pt x="420" y="192"/>
                  </a:lnTo>
                  <a:lnTo>
                    <a:pt x="420" y="186"/>
                  </a:lnTo>
                  <a:lnTo>
                    <a:pt x="420" y="174"/>
                  </a:lnTo>
                  <a:lnTo>
                    <a:pt x="420" y="168"/>
                  </a:lnTo>
                  <a:lnTo>
                    <a:pt x="426" y="162"/>
                  </a:lnTo>
                  <a:lnTo>
                    <a:pt x="432" y="156"/>
                  </a:lnTo>
                  <a:lnTo>
                    <a:pt x="438" y="144"/>
                  </a:lnTo>
                  <a:lnTo>
                    <a:pt x="444" y="144"/>
                  </a:lnTo>
                  <a:lnTo>
                    <a:pt x="450" y="138"/>
                  </a:lnTo>
                  <a:lnTo>
                    <a:pt x="456" y="138"/>
                  </a:lnTo>
                  <a:lnTo>
                    <a:pt x="462" y="132"/>
                  </a:lnTo>
                  <a:lnTo>
                    <a:pt x="462" y="126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0"/>
                  </a:lnTo>
                  <a:lnTo>
                    <a:pt x="486" y="108"/>
                  </a:lnTo>
                  <a:lnTo>
                    <a:pt x="492" y="108"/>
                  </a:lnTo>
                  <a:lnTo>
                    <a:pt x="498" y="102"/>
                  </a:lnTo>
                  <a:lnTo>
                    <a:pt x="504" y="96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40" y="102"/>
                  </a:lnTo>
                  <a:lnTo>
                    <a:pt x="552" y="108"/>
                  </a:lnTo>
                  <a:lnTo>
                    <a:pt x="582" y="102"/>
                  </a:lnTo>
                  <a:lnTo>
                    <a:pt x="594" y="126"/>
                  </a:lnTo>
                  <a:lnTo>
                    <a:pt x="594" y="144"/>
                  </a:lnTo>
                  <a:lnTo>
                    <a:pt x="588" y="156"/>
                  </a:lnTo>
                  <a:lnTo>
                    <a:pt x="588" y="168"/>
                  </a:lnTo>
                  <a:lnTo>
                    <a:pt x="582" y="180"/>
                  </a:lnTo>
                  <a:lnTo>
                    <a:pt x="570" y="192"/>
                  </a:lnTo>
                  <a:lnTo>
                    <a:pt x="594" y="192"/>
                  </a:lnTo>
                  <a:lnTo>
                    <a:pt x="618" y="198"/>
                  </a:lnTo>
                  <a:lnTo>
                    <a:pt x="642" y="210"/>
                  </a:lnTo>
                  <a:lnTo>
                    <a:pt x="660" y="234"/>
                  </a:lnTo>
                  <a:lnTo>
                    <a:pt x="678" y="246"/>
                  </a:lnTo>
                  <a:lnTo>
                    <a:pt x="684" y="252"/>
                  </a:lnTo>
                  <a:lnTo>
                    <a:pt x="702" y="252"/>
                  </a:lnTo>
                  <a:lnTo>
                    <a:pt x="732" y="234"/>
                  </a:lnTo>
                  <a:lnTo>
                    <a:pt x="732" y="222"/>
                  </a:lnTo>
                  <a:lnTo>
                    <a:pt x="720" y="216"/>
                  </a:lnTo>
                  <a:lnTo>
                    <a:pt x="714" y="198"/>
                  </a:lnTo>
                  <a:lnTo>
                    <a:pt x="714" y="174"/>
                  </a:lnTo>
                  <a:lnTo>
                    <a:pt x="720" y="162"/>
                  </a:lnTo>
                  <a:lnTo>
                    <a:pt x="726" y="162"/>
                  </a:lnTo>
                  <a:lnTo>
                    <a:pt x="732" y="156"/>
                  </a:lnTo>
                  <a:lnTo>
                    <a:pt x="744" y="150"/>
                  </a:lnTo>
                  <a:lnTo>
                    <a:pt x="774" y="162"/>
                  </a:lnTo>
                  <a:lnTo>
                    <a:pt x="786" y="162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16" y="150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2" y="132"/>
                  </a:lnTo>
                  <a:lnTo>
                    <a:pt x="822" y="114"/>
                  </a:lnTo>
                  <a:lnTo>
                    <a:pt x="828" y="108"/>
                  </a:lnTo>
                  <a:lnTo>
                    <a:pt x="834" y="96"/>
                  </a:lnTo>
                  <a:lnTo>
                    <a:pt x="846" y="96"/>
                  </a:lnTo>
                  <a:lnTo>
                    <a:pt x="858" y="90"/>
                  </a:lnTo>
                  <a:lnTo>
                    <a:pt x="870" y="84"/>
                  </a:lnTo>
                  <a:lnTo>
                    <a:pt x="888" y="84"/>
                  </a:lnTo>
                  <a:lnTo>
                    <a:pt x="894" y="90"/>
                  </a:lnTo>
                  <a:lnTo>
                    <a:pt x="894" y="102"/>
                  </a:lnTo>
                  <a:lnTo>
                    <a:pt x="900" y="102"/>
                  </a:lnTo>
                  <a:lnTo>
                    <a:pt x="906" y="114"/>
                  </a:lnTo>
                  <a:lnTo>
                    <a:pt x="930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54" y="138"/>
                  </a:lnTo>
                  <a:lnTo>
                    <a:pt x="966" y="144"/>
                  </a:lnTo>
                  <a:lnTo>
                    <a:pt x="966" y="150"/>
                  </a:lnTo>
                  <a:lnTo>
                    <a:pt x="972" y="150"/>
                  </a:lnTo>
                  <a:lnTo>
                    <a:pt x="978" y="150"/>
                  </a:lnTo>
                  <a:lnTo>
                    <a:pt x="978" y="144"/>
                  </a:lnTo>
                  <a:lnTo>
                    <a:pt x="984" y="144"/>
                  </a:lnTo>
                  <a:lnTo>
                    <a:pt x="990" y="138"/>
                  </a:lnTo>
                  <a:lnTo>
                    <a:pt x="996" y="138"/>
                  </a:lnTo>
                  <a:lnTo>
                    <a:pt x="1002" y="138"/>
                  </a:lnTo>
                  <a:lnTo>
                    <a:pt x="1008" y="138"/>
                  </a:lnTo>
                  <a:lnTo>
                    <a:pt x="1026" y="132"/>
                  </a:lnTo>
                  <a:lnTo>
                    <a:pt x="1044" y="126"/>
                  </a:lnTo>
                  <a:lnTo>
                    <a:pt x="1056" y="120"/>
                  </a:lnTo>
                  <a:lnTo>
                    <a:pt x="1062" y="108"/>
                  </a:lnTo>
                  <a:lnTo>
                    <a:pt x="1056" y="102"/>
                  </a:lnTo>
                  <a:lnTo>
                    <a:pt x="1062" y="96"/>
                  </a:lnTo>
                  <a:lnTo>
                    <a:pt x="1074" y="90"/>
                  </a:lnTo>
                  <a:lnTo>
                    <a:pt x="1080" y="84"/>
                  </a:lnTo>
                  <a:lnTo>
                    <a:pt x="1128" y="84"/>
                  </a:lnTo>
                  <a:lnTo>
                    <a:pt x="1134" y="84"/>
                  </a:lnTo>
                  <a:lnTo>
                    <a:pt x="1140" y="78"/>
                  </a:lnTo>
                  <a:lnTo>
                    <a:pt x="1152" y="72"/>
                  </a:lnTo>
                  <a:lnTo>
                    <a:pt x="1164" y="66"/>
                  </a:lnTo>
                  <a:lnTo>
                    <a:pt x="1170" y="60"/>
                  </a:lnTo>
                  <a:lnTo>
                    <a:pt x="1188" y="48"/>
                  </a:lnTo>
                  <a:lnTo>
                    <a:pt x="1200" y="36"/>
                  </a:lnTo>
                  <a:lnTo>
                    <a:pt x="1218" y="24"/>
                  </a:lnTo>
                  <a:lnTo>
                    <a:pt x="1248" y="24"/>
                  </a:lnTo>
                  <a:lnTo>
                    <a:pt x="1272" y="24"/>
                  </a:lnTo>
                  <a:lnTo>
                    <a:pt x="1284" y="12"/>
                  </a:lnTo>
                  <a:lnTo>
                    <a:pt x="1302" y="0"/>
                  </a:lnTo>
                  <a:lnTo>
                    <a:pt x="1314" y="0"/>
                  </a:lnTo>
                  <a:lnTo>
                    <a:pt x="1326" y="18"/>
                  </a:lnTo>
                  <a:lnTo>
                    <a:pt x="1338" y="30"/>
                  </a:lnTo>
                  <a:lnTo>
                    <a:pt x="1338" y="54"/>
                  </a:lnTo>
                  <a:lnTo>
                    <a:pt x="1332" y="72"/>
                  </a:lnTo>
                  <a:lnTo>
                    <a:pt x="1326" y="72"/>
                  </a:lnTo>
                  <a:lnTo>
                    <a:pt x="1326" y="78"/>
                  </a:lnTo>
                  <a:lnTo>
                    <a:pt x="1326" y="102"/>
                  </a:lnTo>
                  <a:lnTo>
                    <a:pt x="1332" y="102"/>
                  </a:lnTo>
                  <a:lnTo>
                    <a:pt x="1332" y="108"/>
                  </a:lnTo>
                  <a:lnTo>
                    <a:pt x="1344" y="114"/>
                  </a:lnTo>
                  <a:lnTo>
                    <a:pt x="1350" y="114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404" y="132"/>
                  </a:lnTo>
                  <a:lnTo>
                    <a:pt x="1404" y="138"/>
                  </a:lnTo>
                  <a:lnTo>
                    <a:pt x="1410" y="150"/>
                  </a:lnTo>
                  <a:lnTo>
                    <a:pt x="1416" y="162"/>
                  </a:lnTo>
                  <a:lnTo>
                    <a:pt x="1428" y="168"/>
                  </a:lnTo>
                  <a:lnTo>
                    <a:pt x="1440" y="180"/>
                  </a:lnTo>
                  <a:lnTo>
                    <a:pt x="1476" y="174"/>
                  </a:lnTo>
                  <a:lnTo>
                    <a:pt x="1494" y="174"/>
                  </a:lnTo>
                  <a:lnTo>
                    <a:pt x="1512" y="192"/>
                  </a:lnTo>
                  <a:lnTo>
                    <a:pt x="1518" y="204"/>
                  </a:lnTo>
                  <a:lnTo>
                    <a:pt x="1530" y="216"/>
                  </a:lnTo>
                  <a:lnTo>
                    <a:pt x="1548" y="228"/>
                  </a:lnTo>
                  <a:lnTo>
                    <a:pt x="1548" y="234"/>
                  </a:lnTo>
                  <a:lnTo>
                    <a:pt x="1542" y="246"/>
                  </a:lnTo>
                  <a:lnTo>
                    <a:pt x="1560" y="246"/>
                  </a:lnTo>
                  <a:lnTo>
                    <a:pt x="1560" y="252"/>
                  </a:lnTo>
                  <a:lnTo>
                    <a:pt x="1566" y="258"/>
                  </a:lnTo>
                  <a:lnTo>
                    <a:pt x="1578" y="270"/>
                  </a:lnTo>
                  <a:lnTo>
                    <a:pt x="1596" y="270"/>
                  </a:lnTo>
                  <a:lnTo>
                    <a:pt x="1602" y="288"/>
                  </a:lnTo>
                  <a:lnTo>
                    <a:pt x="1608" y="306"/>
                  </a:lnTo>
                  <a:lnTo>
                    <a:pt x="1608" y="318"/>
                  </a:lnTo>
                  <a:lnTo>
                    <a:pt x="1608" y="324"/>
                  </a:lnTo>
                  <a:lnTo>
                    <a:pt x="1614" y="330"/>
                  </a:lnTo>
                  <a:lnTo>
                    <a:pt x="1614" y="336"/>
                  </a:lnTo>
                  <a:lnTo>
                    <a:pt x="1614" y="342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08" y="390"/>
                  </a:lnTo>
                  <a:lnTo>
                    <a:pt x="1602" y="390"/>
                  </a:lnTo>
                  <a:lnTo>
                    <a:pt x="1602" y="396"/>
                  </a:lnTo>
                  <a:lnTo>
                    <a:pt x="1584" y="420"/>
                  </a:lnTo>
                  <a:lnTo>
                    <a:pt x="1584" y="426"/>
                  </a:lnTo>
                  <a:lnTo>
                    <a:pt x="1602" y="474"/>
                  </a:lnTo>
                  <a:lnTo>
                    <a:pt x="1608" y="480"/>
                  </a:lnTo>
                  <a:lnTo>
                    <a:pt x="1608" y="486"/>
                  </a:lnTo>
                  <a:lnTo>
                    <a:pt x="1614" y="486"/>
                  </a:lnTo>
                  <a:lnTo>
                    <a:pt x="1608" y="504"/>
                  </a:lnTo>
                  <a:lnTo>
                    <a:pt x="1572" y="504"/>
                  </a:lnTo>
                  <a:lnTo>
                    <a:pt x="1560" y="510"/>
                  </a:lnTo>
                  <a:lnTo>
                    <a:pt x="1554" y="522"/>
                  </a:lnTo>
                  <a:lnTo>
                    <a:pt x="1560" y="552"/>
                  </a:lnTo>
                  <a:lnTo>
                    <a:pt x="1566" y="552"/>
                  </a:lnTo>
                  <a:lnTo>
                    <a:pt x="1566" y="558"/>
                  </a:lnTo>
                  <a:lnTo>
                    <a:pt x="1572" y="558"/>
                  </a:lnTo>
                  <a:lnTo>
                    <a:pt x="1578" y="558"/>
                  </a:lnTo>
                  <a:lnTo>
                    <a:pt x="1578" y="552"/>
                  </a:lnTo>
                  <a:lnTo>
                    <a:pt x="1584" y="552"/>
                  </a:lnTo>
                  <a:lnTo>
                    <a:pt x="1590" y="552"/>
                  </a:lnTo>
                  <a:lnTo>
                    <a:pt x="1590" y="546"/>
                  </a:lnTo>
                  <a:lnTo>
                    <a:pt x="1596" y="546"/>
                  </a:lnTo>
                  <a:lnTo>
                    <a:pt x="1602" y="552"/>
                  </a:lnTo>
                  <a:lnTo>
                    <a:pt x="1602" y="546"/>
                  </a:lnTo>
                  <a:lnTo>
                    <a:pt x="1608" y="546"/>
                  </a:lnTo>
                  <a:lnTo>
                    <a:pt x="1608" y="552"/>
                  </a:lnTo>
                  <a:lnTo>
                    <a:pt x="1614" y="552"/>
                  </a:lnTo>
                  <a:lnTo>
                    <a:pt x="1614" y="546"/>
                  </a:lnTo>
                  <a:lnTo>
                    <a:pt x="1620" y="552"/>
                  </a:lnTo>
                  <a:lnTo>
                    <a:pt x="1626" y="552"/>
                  </a:lnTo>
                  <a:lnTo>
                    <a:pt x="1626" y="558"/>
                  </a:lnTo>
                  <a:lnTo>
                    <a:pt x="1632" y="558"/>
                  </a:lnTo>
                  <a:lnTo>
                    <a:pt x="1638" y="558"/>
                  </a:lnTo>
                  <a:lnTo>
                    <a:pt x="1644" y="558"/>
                  </a:lnTo>
                  <a:lnTo>
                    <a:pt x="1650" y="558"/>
                  </a:lnTo>
                  <a:lnTo>
                    <a:pt x="1650" y="564"/>
                  </a:lnTo>
                  <a:lnTo>
                    <a:pt x="1656" y="564"/>
                  </a:lnTo>
                  <a:lnTo>
                    <a:pt x="1662" y="564"/>
                  </a:lnTo>
                  <a:lnTo>
                    <a:pt x="1668" y="564"/>
                  </a:lnTo>
                  <a:lnTo>
                    <a:pt x="1668" y="570"/>
                  </a:lnTo>
                  <a:lnTo>
                    <a:pt x="1674" y="570"/>
                  </a:lnTo>
                  <a:lnTo>
                    <a:pt x="1680" y="570"/>
                  </a:lnTo>
                  <a:lnTo>
                    <a:pt x="1686" y="576"/>
                  </a:lnTo>
                  <a:lnTo>
                    <a:pt x="1686" y="582"/>
                  </a:lnTo>
                  <a:lnTo>
                    <a:pt x="1710" y="588"/>
                  </a:lnTo>
                  <a:lnTo>
                    <a:pt x="1710" y="594"/>
                  </a:lnTo>
                  <a:lnTo>
                    <a:pt x="1704" y="600"/>
                  </a:lnTo>
                  <a:lnTo>
                    <a:pt x="1710" y="624"/>
                  </a:lnTo>
                  <a:lnTo>
                    <a:pt x="1698" y="672"/>
                  </a:lnTo>
                  <a:lnTo>
                    <a:pt x="1704" y="678"/>
                  </a:lnTo>
                  <a:lnTo>
                    <a:pt x="1716" y="684"/>
                  </a:lnTo>
                  <a:lnTo>
                    <a:pt x="1716" y="678"/>
                  </a:lnTo>
                  <a:lnTo>
                    <a:pt x="1716" y="684"/>
                  </a:lnTo>
                  <a:lnTo>
                    <a:pt x="1728" y="684"/>
                  </a:lnTo>
                  <a:lnTo>
                    <a:pt x="1728" y="690"/>
                  </a:lnTo>
                  <a:lnTo>
                    <a:pt x="1734" y="696"/>
                  </a:lnTo>
                  <a:lnTo>
                    <a:pt x="1734" y="702"/>
                  </a:lnTo>
                  <a:lnTo>
                    <a:pt x="1740" y="708"/>
                  </a:lnTo>
                  <a:lnTo>
                    <a:pt x="1740" y="714"/>
                  </a:lnTo>
                  <a:lnTo>
                    <a:pt x="1710" y="714"/>
                  </a:lnTo>
                  <a:lnTo>
                    <a:pt x="1710" y="756"/>
                  </a:lnTo>
                  <a:lnTo>
                    <a:pt x="1704" y="762"/>
                  </a:lnTo>
                  <a:lnTo>
                    <a:pt x="1698" y="762"/>
                  </a:lnTo>
                  <a:lnTo>
                    <a:pt x="1698" y="768"/>
                  </a:lnTo>
                  <a:lnTo>
                    <a:pt x="1698" y="774"/>
                  </a:lnTo>
                  <a:lnTo>
                    <a:pt x="1692" y="780"/>
                  </a:lnTo>
                  <a:lnTo>
                    <a:pt x="1692" y="786"/>
                  </a:lnTo>
                  <a:lnTo>
                    <a:pt x="1686" y="786"/>
                  </a:lnTo>
                  <a:lnTo>
                    <a:pt x="1668" y="798"/>
                  </a:lnTo>
                  <a:lnTo>
                    <a:pt x="1662" y="810"/>
                  </a:lnTo>
                  <a:lnTo>
                    <a:pt x="1650" y="810"/>
                  </a:lnTo>
                  <a:lnTo>
                    <a:pt x="1644" y="816"/>
                  </a:lnTo>
                  <a:lnTo>
                    <a:pt x="1638" y="816"/>
                  </a:lnTo>
                  <a:lnTo>
                    <a:pt x="1626" y="852"/>
                  </a:lnTo>
                  <a:lnTo>
                    <a:pt x="1620" y="888"/>
                  </a:lnTo>
                  <a:lnTo>
                    <a:pt x="1626" y="888"/>
                  </a:lnTo>
                  <a:lnTo>
                    <a:pt x="1638" y="912"/>
                  </a:lnTo>
                  <a:lnTo>
                    <a:pt x="1644" y="918"/>
                  </a:lnTo>
                  <a:lnTo>
                    <a:pt x="1650" y="966"/>
                  </a:lnTo>
                  <a:lnTo>
                    <a:pt x="1626" y="972"/>
                  </a:lnTo>
                  <a:lnTo>
                    <a:pt x="1608" y="978"/>
                  </a:lnTo>
                  <a:lnTo>
                    <a:pt x="1614" y="984"/>
                  </a:lnTo>
                  <a:lnTo>
                    <a:pt x="1620" y="984"/>
                  </a:lnTo>
                  <a:lnTo>
                    <a:pt x="1620" y="1020"/>
                  </a:lnTo>
                  <a:lnTo>
                    <a:pt x="1614" y="1038"/>
                  </a:lnTo>
                  <a:lnTo>
                    <a:pt x="1620" y="1044"/>
                  </a:lnTo>
                  <a:lnTo>
                    <a:pt x="1626" y="1056"/>
                  </a:lnTo>
                  <a:lnTo>
                    <a:pt x="1626" y="1074"/>
                  </a:lnTo>
                  <a:lnTo>
                    <a:pt x="1620" y="1080"/>
                  </a:lnTo>
                  <a:lnTo>
                    <a:pt x="1620" y="1104"/>
                  </a:lnTo>
                  <a:lnTo>
                    <a:pt x="1620" y="1110"/>
                  </a:lnTo>
                  <a:lnTo>
                    <a:pt x="1614" y="1116"/>
                  </a:lnTo>
                  <a:lnTo>
                    <a:pt x="1608" y="1140"/>
                  </a:lnTo>
                  <a:lnTo>
                    <a:pt x="1602" y="1146"/>
                  </a:lnTo>
                  <a:lnTo>
                    <a:pt x="1602" y="1164"/>
                  </a:lnTo>
                  <a:lnTo>
                    <a:pt x="1596" y="1170"/>
                  </a:lnTo>
                  <a:lnTo>
                    <a:pt x="1590" y="1164"/>
                  </a:lnTo>
                  <a:lnTo>
                    <a:pt x="1584" y="1164"/>
                  </a:lnTo>
                  <a:lnTo>
                    <a:pt x="1578" y="1164"/>
                  </a:lnTo>
                  <a:lnTo>
                    <a:pt x="1578" y="1188"/>
                  </a:lnTo>
                  <a:lnTo>
                    <a:pt x="1584" y="1194"/>
                  </a:lnTo>
                  <a:lnTo>
                    <a:pt x="1590" y="1194"/>
                  </a:lnTo>
                  <a:lnTo>
                    <a:pt x="1590" y="1212"/>
                  </a:lnTo>
                  <a:lnTo>
                    <a:pt x="1584" y="1212"/>
                  </a:lnTo>
                  <a:lnTo>
                    <a:pt x="1584" y="1224"/>
                  </a:lnTo>
                  <a:lnTo>
                    <a:pt x="1578" y="1224"/>
                  </a:lnTo>
                  <a:lnTo>
                    <a:pt x="1578" y="1236"/>
                  </a:lnTo>
                  <a:lnTo>
                    <a:pt x="1584" y="1254"/>
                  </a:lnTo>
                  <a:lnTo>
                    <a:pt x="1584" y="1260"/>
                  </a:lnTo>
                  <a:lnTo>
                    <a:pt x="1590" y="1260"/>
                  </a:lnTo>
                  <a:lnTo>
                    <a:pt x="1590" y="1266"/>
                  </a:lnTo>
                  <a:lnTo>
                    <a:pt x="1596" y="1284"/>
                  </a:lnTo>
                  <a:lnTo>
                    <a:pt x="1602" y="1278"/>
                  </a:lnTo>
                  <a:lnTo>
                    <a:pt x="1608" y="1284"/>
                  </a:lnTo>
                  <a:lnTo>
                    <a:pt x="1632" y="1350"/>
                  </a:lnTo>
                  <a:lnTo>
                    <a:pt x="1638" y="1356"/>
                  </a:lnTo>
                  <a:lnTo>
                    <a:pt x="1644" y="1356"/>
                  </a:lnTo>
                  <a:lnTo>
                    <a:pt x="1650" y="1356"/>
                  </a:lnTo>
                  <a:lnTo>
                    <a:pt x="1656" y="1356"/>
                  </a:lnTo>
                  <a:lnTo>
                    <a:pt x="1662" y="1362"/>
                  </a:lnTo>
                  <a:lnTo>
                    <a:pt x="1668" y="1356"/>
                  </a:lnTo>
                  <a:lnTo>
                    <a:pt x="1668" y="1380"/>
                  </a:lnTo>
                  <a:lnTo>
                    <a:pt x="1662" y="1392"/>
                  </a:lnTo>
                  <a:lnTo>
                    <a:pt x="1656" y="1404"/>
                  </a:lnTo>
                  <a:lnTo>
                    <a:pt x="1656" y="1410"/>
                  </a:lnTo>
                  <a:lnTo>
                    <a:pt x="1656" y="1416"/>
                  </a:lnTo>
                  <a:lnTo>
                    <a:pt x="1650" y="1422"/>
                  </a:lnTo>
                  <a:lnTo>
                    <a:pt x="1650" y="1428"/>
                  </a:lnTo>
                  <a:lnTo>
                    <a:pt x="1644" y="1428"/>
                  </a:lnTo>
                  <a:lnTo>
                    <a:pt x="1644" y="1434"/>
                  </a:lnTo>
                  <a:lnTo>
                    <a:pt x="1638" y="1434"/>
                  </a:lnTo>
                  <a:lnTo>
                    <a:pt x="1638" y="1440"/>
                  </a:lnTo>
                  <a:lnTo>
                    <a:pt x="1632" y="1440"/>
                  </a:lnTo>
                  <a:lnTo>
                    <a:pt x="1638" y="145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8" name="Freeform 13">
              <a:extLst>
                <a:ext uri="{FF2B5EF4-FFF2-40B4-BE49-F238E27FC236}">
                  <a16:creationId xmlns:a16="http://schemas.microsoft.com/office/drawing/2014/main" id="{66308D9B-1739-4227-AAC3-BB866CD1F5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63374" y="2969626"/>
              <a:ext cx="330956" cy="357840"/>
            </a:xfrm>
            <a:custGeom>
              <a:avLst/>
              <a:gdLst>
                <a:gd name="T0" fmla="*/ 11 w 624"/>
                <a:gd name="T1" fmla="*/ 59 h 672"/>
                <a:gd name="T2" fmla="*/ 4 w 624"/>
                <a:gd name="T3" fmla="*/ 58 h 672"/>
                <a:gd name="T4" fmla="*/ 3 w 624"/>
                <a:gd name="T5" fmla="*/ 58 h 672"/>
                <a:gd name="T6" fmla="*/ 2 w 624"/>
                <a:gd name="T7" fmla="*/ 11 h 672"/>
                <a:gd name="T8" fmla="*/ 13 w 624"/>
                <a:gd name="T9" fmla="*/ 11 h 672"/>
                <a:gd name="T10" fmla="*/ 14 w 624"/>
                <a:gd name="T11" fmla="*/ 11 h 672"/>
                <a:gd name="T12" fmla="*/ 15 w 624"/>
                <a:gd name="T13" fmla="*/ 12 h 672"/>
                <a:gd name="T14" fmla="*/ 18 w 624"/>
                <a:gd name="T15" fmla="*/ 14 h 672"/>
                <a:gd name="T16" fmla="*/ 21 w 624"/>
                <a:gd name="T17" fmla="*/ 16 h 672"/>
                <a:gd name="T18" fmla="*/ 22 w 624"/>
                <a:gd name="T19" fmla="*/ 18 h 672"/>
                <a:gd name="T20" fmla="*/ 23 w 624"/>
                <a:gd name="T21" fmla="*/ 19 h 672"/>
                <a:gd name="T22" fmla="*/ 24 w 624"/>
                <a:gd name="T23" fmla="*/ 19 h 672"/>
                <a:gd name="T24" fmla="*/ 26 w 624"/>
                <a:gd name="T25" fmla="*/ 19 h 672"/>
                <a:gd name="T26" fmla="*/ 27 w 624"/>
                <a:gd name="T27" fmla="*/ 18 h 672"/>
                <a:gd name="T28" fmla="*/ 29 w 624"/>
                <a:gd name="T29" fmla="*/ 15 h 672"/>
                <a:gd name="T30" fmla="*/ 30 w 624"/>
                <a:gd name="T31" fmla="*/ 14 h 672"/>
                <a:gd name="T32" fmla="*/ 31 w 624"/>
                <a:gd name="T33" fmla="*/ 12 h 672"/>
                <a:gd name="T34" fmla="*/ 32 w 624"/>
                <a:gd name="T35" fmla="*/ 12 h 672"/>
                <a:gd name="T36" fmla="*/ 33 w 624"/>
                <a:gd name="T37" fmla="*/ 10 h 672"/>
                <a:gd name="T38" fmla="*/ 34 w 624"/>
                <a:gd name="T39" fmla="*/ 8 h 672"/>
                <a:gd name="T40" fmla="*/ 34 w 624"/>
                <a:gd name="T41" fmla="*/ 6 h 672"/>
                <a:gd name="T42" fmla="*/ 35 w 624"/>
                <a:gd name="T43" fmla="*/ 4 h 672"/>
                <a:gd name="T44" fmla="*/ 42 w 624"/>
                <a:gd name="T45" fmla="*/ 3 h 672"/>
                <a:gd name="T46" fmla="*/ 44 w 624"/>
                <a:gd name="T47" fmla="*/ 2 h 672"/>
                <a:gd name="T48" fmla="*/ 46 w 624"/>
                <a:gd name="T49" fmla="*/ 0 h 672"/>
                <a:gd name="T50" fmla="*/ 51 w 624"/>
                <a:gd name="T51" fmla="*/ 3 h 672"/>
                <a:gd name="T52" fmla="*/ 54 w 624"/>
                <a:gd name="T53" fmla="*/ 6 h 672"/>
                <a:gd name="T54" fmla="*/ 54 w 624"/>
                <a:gd name="T55" fmla="*/ 8 h 672"/>
                <a:gd name="T56" fmla="*/ 52 w 624"/>
                <a:gd name="T57" fmla="*/ 9 h 672"/>
                <a:gd name="T58" fmla="*/ 49 w 624"/>
                <a:gd name="T59" fmla="*/ 11 h 672"/>
                <a:gd name="T60" fmla="*/ 48 w 624"/>
                <a:gd name="T61" fmla="*/ 14 h 672"/>
                <a:gd name="T62" fmla="*/ 46 w 624"/>
                <a:gd name="T63" fmla="*/ 22 h 672"/>
                <a:gd name="T64" fmla="*/ 45 w 624"/>
                <a:gd name="T65" fmla="*/ 39 h 672"/>
                <a:gd name="T66" fmla="*/ 43 w 624"/>
                <a:gd name="T67" fmla="*/ 43 h 672"/>
                <a:gd name="T68" fmla="*/ 39 w 624"/>
                <a:gd name="T69" fmla="*/ 50 h 672"/>
                <a:gd name="T70" fmla="*/ 36 w 624"/>
                <a:gd name="T71" fmla="*/ 53 h 672"/>
                <a:gd name="T72" fmla="*/ 32 w 624"/>
                <a:gd name="T73" fmla="*/ 56 h 672"/>
                <a:gd name="T74" fmla="*/ 30 w 624"/>
                <a:gd name="T75" fmla="*/ 58 h 672"/>
                <a:gd name="T76" fmla="*/ 20 w 624"/>
                <a:gd name="T77" fmla="*/ 59 h 672"/>
                <a:gd name="T78" fmla="*/ 15 w 624"/>
                <a:gd name="T79" fmla="*/ 59 h 67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24"/>
                <a:gd name="T121" fmla="*/ 0 h 672"/>
                <a:gd name="T122" fmla="*/ 624 w 624"/>
                <a:gd name="T123" fmla="*/ 672 h 67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24" h="672">
                  <a:moveTo>
                    <a:pt x="168" y="672"/>
                  </a:moveTo>
                  <a:lnTo>
                    <a:pt x="132" y="672"/>
                  </a:lnTo>
                  <a:lnTo>
                    <a:pt x="72" y="666"/>
                  </a:lnTo>
                  <a:lnTo>
                    <a:pt x="42" y="666"/>
                  </a:lnTo>
                  <a:lnTo>
                    <a:pt x="36" y="666"/>
                  </a:lnTo>
                  <a:lnTo>
                    <a:pt x="30" y="660"/>
                  </a:lnTo>
                  <a:lnTo>
                    <a:pt x="0" y="660"/>
                  </a:lnTo>
                  <a:lnTo>
                    <a:pt x="24" y="120"/>
                  </a:lnTo>
                  <a:lnTo>
                    <a:pt x="60" y="120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62" y="120"/>
                  </a:lnTo>
                  <a:lnTo>
                    <a:pt x="168" y="120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10" y="156"/>
                  </a:lnTo>
                  <a:lnTo>
                    <a:pt x="222" y="174"/>
                  </a:lnTo>
                  <a:lnTo>
                    <a:pt x="240" y="186"/>
                  </a:lnTo>
                  <a:lnTo>
                    <a:pt x="252" y="198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216"/>
                  </a:lnTo>
                  <a:lnTo>
                    <a:pt x="270" y="216"/>
                  </a:lnTo>
                  <a:lnTo>
                    <a:pt x="282" y="222"/>
                  </a:lnTo>
                  <a:lnTo>
                    <a:pt x="288" y="222"/>
                  </a:lnTo>
                  <a:lnTo>
                    <a:pt x="294" y="216"/>
                  </a:lnTo>
                  <a:lnTo>
                    <a:pt x="294" y="210"/>
                  </a:lnTo>
                  <a:lnTo>
                    <a:pt x="312" y="204"/>
                  </a:lnTo>
                  <a:lnTo>
                    <a:pt x="330" y="186"/>
                  </a:lnTo>
                  <a:lnTo>
                    <a:pt x="336" y="174"/>
                  </a:lnTo>
                  <a:lnTo>
                    <a:pt x="342" y="162"/>
                  </a:lnTo>
                  <a:lnTo>
                    <a:pt x="342" y="156"/>
                  </a:lnTo>
                  <a:lnTo>
                    <a:pt x="348" y="150"/>
                  </a:lnTo>
                  <a:lnTo>
                    <a:pt x="354" y="144"/>
                  </a:lnTo>
                  <a:lnTo>
                    <a:pt x="360" y="138"/>
                  </a:lnTo>
                  <a:lnTo>
                    <a:pt x="366" y="132"/>
                  </a:lnTo>
                  <a:lnTo>
                    <a:pt x="372" y="114"/>
                  </a:lnTo>
                  <a:lnTo>
                    <a:pt x="378" y="114"/>
                  </a:lnTo>
                  <a:lnTo>
                    <a:pt x="378" y="96"/>
                  </a:lnTo>
                  <a:lnTo>
                    <a:pt x="390" y="96"/>
                  </a:lnTo>
                  <a:lnTo>
                    <a:pt x="396" y="84"/>
                  </a:lnTo>
                  <a:lnTo>
                    <a:pt x="396" y="72"/>
                  </a:lnTo>
                  <a:lnTo>
                    <a:pt x="396" y="54"/>
                  </a:lnTo>
                  <a:lnTo>
                    <a:pt x="408" y="42"/>
                  </a:lnTo>
                  <a:lnTo>
                    <a:pt x="468" y="42"/>
                  </a:lnTo>
                  <a:lnTo>
                    <a:pt x="486" y="36"/>
                  </a:lnTo>
                  <a:lnTo>
                    <a:pt x="492" y="24"/>
                  </a:lnTo>
                  <a:lnTo>
                    <a:pt x="504" y="24"/>
                  </a:lnTo>
                  <a:lnTo>
                    <a:pt x="516" y="6"/>
                  </a:lnTo>
                  <a:lnTo>
                    <a:pt x="528" y="0"/>
                  </a:lnTo>
                  <a:lnTo>
                    <a:pt x="558" y="12"/>
                  </a:lnTo>
                  <a:lnTo>
                    <a:pt x="588" y="36"/>
                  </a:lnTo>
                  <a:lnTo>
                    <a:pt x="600" y="66"/>
                  </a:lnTo>
                  <a:lnTo>
                    <a:pt x="624" y="66"/>
                  </a:lnTo>
                  <a:lnTo>
                    <a:pt x="624" y="90"/>
                  </a:lnTo>
                  <a:lnTo>
                    <a:pt x="618" y="90"/>
                  </a:lnTo>
                  <a:lnTo>
                    <a:pt x="618" y="96"/>
                  </a:lnTo>
                  <a:lnTo>
                    <a:pt x="600" y="102"/>
                  </a:lnTo>
                  <a:lnTo>
                    <a:pt x="588" y="108"/>
                  </a:lnTo>
                  <a:lnTo>
                    <a:pt x="570" y="120"/>
                  </a:lnTo>
                  <a:lnTo>
                    <a:pt x="564" y="138"/>
                  </a:lnTo>
                  <a:lnTo>
                    <a:pt x="558" y="162"/>
                  </a:lnTo>
                  <a:lnTo>
                    <a:pt x="540" y="210"/>
                  </a:lnTo>
                  <a:lnTo>
                    <a:pt x="528" y="252"/>
                  </a:lnTo>
                  <a:lnTo>
                    <a:pt x="528" y="402"/>
                  </a:lnTo>
                  <a:lnTo>
                    <a:pt x="522" y="444"/>
                  </a:lnTo>
                  <a:lnTo>
                    <a:pt x="510" y="468"/>
                  </a:lnTo>
                  <a:lnTo>
                    <a:pt x="498" y="498"/>
                  </a:lnTo>
                  <a:lnTo>
                    <a:pt x="474" y="534"/>
                  </a:lnTo>
                  <a:lnTo>
                    <a:pt x="456" y="570"/>
                  </a:lnTo>
                  <a:lnTo>
                    <a:pt x="444" y="576"/>
                  </a:lnTo>
                  <a:lnTo>
                    <a:pt x="420" y="606"/>
                  </a:lnTo>
                  <a:lnTo>
                    <a:pt x="390" y="624"/>
                  </a:lnTo>
                  <a:lnTo>
                    <a:pt x="372" y="642"/>
                  </a:lnTo>
                  <a:lnTo>
                    <a:pt x="366" y="654"/>
                  </a:lnTo>
                  <a:lnTo>
                    <a:pt x="342" y="660"/>
                  </a:lnTo>
                  <a:lnTo>
                    <a:pt x="300" y="666"/>
                  </a:lnTo>
                  <a:lnTo>
                    <a:pt x="234" y="672"/>
                  </a:lnTo>
                  <a:lnTo>
                    <a:pt x="192" y="672"/>
                  </a:lnTo>
                  <a:lnTo>
                    <a:pt x="168" y="67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9" name="Freeform 14">
              <a:extLst>
                <a:ext uri="{FF2B5EF4-FFF2-40B4-BE49-F238E27FC236}">
                  <a16:creationId xmlns:a16="http://schemas.microsoft.com/office/drawing/2014/main" id="{2EA1E999-9CDF-4391-8BC9-7DE71AF9C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0460" y="2983045"/>
              <a:ext cx="905658" cy="561362"/>
            </a:xfrm>
            <a:custGeom>
              <a:avLst/>
              <a:gdLst>
                <a:gd name="T0" fmla="*/ 31 w 1704"/>
                <a:gd name="T1" fmla="*/ 78 h 1056"/>
                <a:gd name="T2" fmla="*/ 23 w 1704"/>
                <a:gd name="T3" fmla="*/ 78 h 1056"/>
                <a:gd name="T4" fmla="*/ 11 w 1704"/>
                <a:gd name="T5" fmla="*/ 79 h 1056"/>
                <a:gd name="T6" fmla="*/ 1 w 1704"/>
                <a:gd name="T7" fmla="*/ 81 h 1056"/>
                <a:gd name="T8" fmla="*/ 0 w 1704"/>
                <a:gd name="T9" fmla="*/ 62 h 1056"/>
                <a:gd name="T10" fmla="*/ 9 w 1704"/>
                <a:gd name="T11" fmla="*/ 56 h 1056"/>
                <a:gd name="T12" fmla="*/ 27 w 1704"/>
                <a:gd name="T13" fmla="*/ 48 h 1056"/>
                <a:gd name="T14" fmla="*/ 35 w 1704"/>
                <a:gd name="T15" fmla="*/ 20 h 1056"/>
                <a:gd name="T16" fmla="*/ 43 w 1704"/>
                <a:gd name="T17" fmla="*/ 6 h 1056"/>
                <a:gd name="T18" fmla="*/ 47 w 1704"/>
                <a:gd name="T19" fmla="*/ 7 h 1056"/>
                <a:gd name="T20" fmla="*/ 52 w 1704"/>
                <a:gd name="T21" fmla="*/ 0 h 1056"/>
                <a:gd name="T22" fmla="*/ 59 w 1704"/>
                <a:gd name="T23" fmla="*/ 5 h 1056"/>
                <a:gd name="T24" fmla="*/ 63 w 1704"/>
                <a:gd name="T25" fmla="*/ 12 h 1056"/>
                <a:gd name="T26" fmla="*/ 62 w 1704"/>
                <a:gd name="T27" fmla="*/ 15 h 1056"/>
                <a:gd name="T28" fmla="*/ 62 w 1704"/>
                <a:gd name="T29" fmla="*/ 18 h 1056"/>
                <a:gd name="T30" fmla="*/ 70 w 1704"/>
                <a:gd name="T31" fmla="*/ 18 h 1056"/>
                <a:gd name="T32" fmla="*/ 71 w 1704"/>
                <a:gd name="T33" fmla="*/ 14 h 1056"/>
                <a:gd name="T34" fmla="*/ 72 w 1704"/>
                <a:gd name="T35" fmla="*/ 12 h 1056"/>
                <a:gd name="T36" fmla="*/ 78 w 1704"/>
                <a:gd name="T37" fmla="*/ 14 h 1056"/>
                <a:gd name="T38" fmla="*/ 85 w 1704"/>
                <a:gd name="T39" fmla="*/ 21 h 1056"/>
                <a:gd name="T40" fmla="*/ 91 w 1704"/>
                <a:gd name="T41" fmla="*/ 15 h 1056"/>
                <a:gd name="T42" fmla="*/ 93 w 1704"/>
                <a:gd name="T43" fmla="*/ 10 h 1056"/>
                <a:gd name="T44" fmla="*/ 101 w 1704"/>
                <a:gd name="T45" fmla="*/ 14 h 1056"/>
                <a:gd name="T46" fmla="*/ 103 w 1704"/>
                <a:gd name="T47" fmla="*/ 19 h 1056"/>
                <a:gd name="T48" fmla="*/ 115 w 1704"/>
                <a:gd name="T49" fmla="*/ 20 h 1056"/>
                <a:gd name="T50" fmla="*/ 118 w 1704"/>
                <a:gd name="T51" fmla="*/ 23 h 1056"/>
                <a:gd name="T52" fmla="*/ 117 w 1704"/>
                <a:gd name="T53" fmla="*/ 27 h 1056"/>
                <a:gd name="T54" fmla="*/ 111 w 1704"/>
                <a:gd name="T55" fmla="*/ 33 h 1056"/>
                <a:gd name="T56" fmla="*/ 108 w 1704"/>
                <a:gd name="T57" fmla="*/ 36 h 1056"/>
                <a:gd name="T58" fmla="*/ 109 w 1704"/>
                <a:gd name="T59" fmla="*/ 40 h 1056"/>
                <a:gd name="T60" fmla="*/ 111 w 1704"/>
                <a:gd name="T61" fmla="*/ 43 h 1056"/>
                <a:gd name="T62" fmla="*/ 113 w 1704"/>
                <a:gd name="T63" fmla="*/ 50 h 1056"/>
                <a:gd name="T64" fmla="*/ 121 w 1704"/>
                <a:gd name="T65" fmla="*/ 55 h 1056"/>
                <a:gd name="T66" fmla="*/ 132 w 1704"/>
                <a:gd name="T67" fmla="*/ 52 h 1056"/>
                <a:gd name="T68" fmla="*/ 148 w 1704"/>
                <a:gd name="T69" fmla="*/ 58 h 1056"/>
                <a:gd name="T70" fmla="*/ 148 w 1704"/>
                <a:gd name="T71" fmla="*/ 61 h 1056"/>
                <a:gd name="T72" fmla="*/ 148 w 1704"/>
                <a:gd name="T73" fmla="*/ 64 h 1056"/>
                <a:gd name="T74" fmla="*/ 135 w 1704"/>
                <a:gd name="T75" fmla="*/ 61 h 1056"/>
                <a:gd name="T76" fmla="*/ 135 w 1704"/>
                <a:gd name="T77" fmla="*/ 66 h 1056"/>
                <a:gd name="T78" fmla="*/ 137 w 1704"/>
                <a:gd name="T79" fmla="*/ 71 h 1056"/>
                <a:gd name="T80" fmla="*/ 136 w 1704"/>
                <a:gd name="T81" fmla="*/ 79 h 1056"/>
                <a:gd name="T82" fmla="*/ 126 w 1704"/>
                <a:gd name="T83" fmla="*/ 84 h 1056"/>
                <a:gd name="T84" fmla="*/ 121 w 1704"/>
                <a:gd name="T85" fmla="*/ 79 h 1056"/>
                <a:gd name="T86" fmla="*/ 117 w 1704"/>
                <a:gd name="T87" fmla="*/ 75 h 1056"/>
                <a:gd name="T88" fmla="*/ 98 w 1704"/>
                <a:gd name="T89" fmla="*/ 74 h 1056"/>
                <a:gd name="T90" fmla="*/ 81 w 1704"/>
                <a:gd name="T91" fmla="*/ 75 h 1056"/>
                <a:gd name="T92" fmla="*/ 83 w 1704"/>
                <a:gd name="T93" fmla="*/ 88 h 1056"/>
                <a:gd name="T94" fmla="*/ 82 w 1704"/>
                <a:gd name="T95" fmla="*/ 91 h 1056"/>
                <a:gd name="T96" fmla="*/ 77 w 1704"/>
                <a:gd name="T97" fmla="*/ 90 h 1056"/>
                <a:gd name="T98" fmla="*/ 73 w 1704"/>
                <a:gd name="T99" fmla="*/ 86 h 1056"/>
                <a:gd name="T100" fmla="*/ 68 w 1704"/>
                <a:gd name="T101" fmla="*/ 85 h 1056"/>
                <a:gd name="T102" fmla="*/ 64 w 1704"/>
                <a:gd name="T103" fmla="*/ 83 h 1056"/>
                <a:gd name="T104" fmla="*/ 57 w 1704"/>
                <a:gd name="T105" fmla="*/ 81 h 1056"/>
                <a:gd name="T106" fmla="*/ 52 w 1704"/>
                <a:gd name="T107" fmla="*/ 80 h 1056"/>
                <a:gd name="T108" fmla="*/ 50 w 1704"/>
                <a:gd name="T109" fmla="*/ 80 h 1056"/>
                <a:gd name="T110" fmla="*/ 46 w 1704"/>
                <a:gd name="T111" fmla="*/ 79 h 1056"/>
                <a:gd name="T112" fmla="*/ 41 w 1704"/>
                <a:gd name="T113" fmla="*/ 78 h 10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04"/>
                <a:gd name="T172" fmla="*/ 0 h 1056"/>
                <a:gd name="T173" fmla="*/ 1704 w 1704"/>
                <a:gd name="T174" fmla="*/ 1056 h 10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04" h="1056">
                  <a:moveTo>
                    <a:pt x="450" y="888"/>
                  </a:moveTo>
                  <a:lnTo>
                    <a:pt x="420" y="888"/>
                  </a:lnTo>
                  <a:lnTo>
                    <a:pt x="414" y="888"/>
                  </a:lnTo>
                  <a:lnTo>
                    <a:pt x="396" y="888"/>
                  </a:lnTo>
                  <a:lnTo>
                    <a:pt x="372" y="888"/>
                  </a:lnTo>
                  <a:lnTo>
                    <a:pt x="366" y="888"/>
                  </a:lnTo>
                  <a:lnTo>
                    <a:pt x="360" y="888"/>
                  </a:lnTo>
                  <a:lnTo>
                    <a:pt x="348" y="888"/>
                  </a:lnTo>
                  <a:lnTo>
                    <a:pt x="330" y="894"/>
                  </a:lnTo>
                  <a:lnTo>
                    <a:pt x="324" y="894"/>
                  </a:lnTo>
                  <a:lnTo>
                    <a:pt x="312" y="888"/>
                  </a:lnTo>
                  <a:lnTo>
                    <a:pt x="300" y="888"/>
                  </a:lnTo>
                  <a:lnTo>
                    <a:pt x="282" y="888"/>
                  </a:lnTo>
                  <a:lnTo>
                    <a:pt x="270" y="888"/>
                  </a:lnTo>
                  <a:lnTo>
                    <a:pt x="240" y="882"/>
                  </a:lnTo>
                  <a:lnTo>
                    <a:pt x="222" y="882"/>
                  </a:lnTo>
                  <a:lnTo>
                    <a:pt x="198" y="882"/>
                  </a:lnTo>
                  <a:lnTo>
                    <a:pt x="174" y="894"/>
                  </a:lnTo>
                  <a:lnTo>
                    <a:pt x="162" y="900"/>
                  </a:lnTo>
                  <a:lnTo>
                    <a:pt x="144" y="906"/>
                  </a:lnTo>
                  <a:lnTo>
                    <a:pt x="126" y="912"/>
                  </a:lnTo>
                  <a:lnTo>
                    <a:pt x="102" y="924"/>
                  </a:lnTo>
                  <a:lnTo>
                    <a:pt x="78" y="930"/>
                  </a:lnTo>
                  <a:lnTo>
                    <a:pt x="72" y="936"/>
                  </a:lnTo>
                  <a:lnTo>
                    <a:pt x="30" y="954"/>
                  </a:lnTo>
                  <a:lnTo>
                    <a:pt x="12" y="966"/>
                  </a:lnTo>
                  <a:lnTo>
                    <a:pt x="12" y="954"/>
                  </a:lnTo>
                  <a:lnTo>
                    <a:pt x="12" y="930"/>
                  </a:lnTo>
                  <a:lnTo>
                    <a:pt x="12" y="894"/>
                  </a:lnTo>
                  <a:lnTo>
                    <a:pt x="30" y="828"/>
                  </a:lnTo>
                  <a:lnTo>
                    <a:pt x="36" y="798"/>
                  </a:lnTo>
                  <a:lnTo>
                    <a:pt x="18" y="774"/>
                  </a:lnTo>
                  <a:lnTo>
                    <a:pt x="18" y="756"/>
                  </a:lnTo>
                  <a:lnTo>
                    <a:pt x="6" y="738"/>
                  </a:lnTo>
                  <a:lnTo>
                    <a:pt x="0" y="714"/>
                  </a:lnTo>
                  <a:lnTo>
                    <a:pt x="12" y="678"/>
                  </a:lnTo>
                  <a:lnTo>
                    <a:pt x="18" y="678"/>
                  </a:lnTo>
                  <a:lnTo>
                    <a:pt x="24" y="672"/>
                  </a:lnTo>
                  <a:lnTo>
                    <a:pt x="30" y="666"/>
                  </a:lnTo>
                  <a:lnTo>
                    <a:pt x="42" y="648"/>
                  </a:lnTo>
                  <a:lnTo>
                    <a:pt x="66" y="648"/>
                  </a:lnTo>
                  <a:lnTo>
                    <a:pt x="108" y="648"/>
                  </a:lnTo>
                  <a:lnTo>
                    <a:pt x="174" y="642"/>
                  </a:lnTo>
                  <a:lnTo>
                    <a:pt x="216" y="636"/>
                  </a:lnTo>
                  <a:lnTo>
                    <a:pt x="240" y="630"/>
                  </a:lnTo>
                  <a:lnTo>
                    <a:pt x="246" y="618"/>
                  </a:lnTo>
                  <a:lnTo>
                    <a:pt x="264" y="600"/>
                  </a:lnTo>
                  <a:lnTo>
                    <a:pt x="294" y="582"/>
                  </a:lnTo>
                  <a:lnTo>
                    <a:pt x="318" y="552"/>
                  </a:lnTo>
                  <a:lnTo>
                    <a:pt x="330" y="546"/>
                  </a:lnTo>
                  <a:lnTo>
                    <a:pt x="348" y="510"/>
                  </a:lnTo>
                  <a:lnTo>
                    <a:pt x="372" y="474"/>
                  </a:lnTo>
                  <a:lnTo>
                    <a:pt x="384" y="444"/>
                  </a:lnTo>
                  <a:lnTo>
                    <a:pt x="396" y="420"/>
                  </a:lnTo>
                  <a:lnTo>
                    <a:pt x="402" y="378"/>
                  </a:lnTo>
                  <a:lnTo>
                    <a:pt x="402" y="228"/>
                  </a:lnTo>
                  <a:lnTo>
                    <a:pt x="414" y="186"/>
                  </a:lnTo>
                  <a:lnTo>
                    <a:pt x="432" y="138"/>
                  </a:lnTo>
                  <a:lnTo>
                    <a:pt x="438" y="114"/>
                  </a:lnTo>
                  <a:lnTo>
                    <a:pt x="444" y="96"/>
                  </a:lnTo>
                  <a:lnTo>
                    <a:pt x="462" y="84"/>
                  </a:lnTo>
                  <a:lnTo>
                    <a:pt x="474" y="78"/>
                  </a:lnTo>
                  <a:lnTo>
                    <a:pt x="492" y="72"/>
                  </a:lnTo>
                  <a:lnTo>
                    <a:pt x="492" y="66"/>
                  </a:lnTo>
                  <a:lnTo>
                    <a:pt x="498" y="66"/>
                  </a:lnTo>
                  <a:lnTo>
                    <a:pt x="510" y="66"/>
                  </a:lnTo>
                  <a:lnTo>
                    <a:pt x="510" y="72"/>
                  </a:lnTo>
                  <a:lnTo>
                    <a:pt x="516" y="72"/>
                  </a:lnTo>
                  <a:lnTo>
                    <a:pt x="522" y="78"/>
                  </a:lnTo>
                  <a:lnTo>
                    <a:pt x="546" y="78"/>
                  </a:lnTo>
                  <a:lnTo>
                    <a:pt x="552" y="60"/>
                  </a:lnTo>
                  <a:lnTo>
                    <a:pt x="570" y="42"/>
                  </a:lnTo>
                  <a:lnTo>
                    <a:pt x="576" y="24"/>
                  </a:lnTo>
                  <a:lnTo>
                    <a:pt x="588" y="18"/>
                  </a:lnTo>
                  <a:lnTo>
                    <a:pt x="588" y="12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624" y="0"/>
                  </a:lnTo>
                  <a:lnTo>
                    <a:pt x="636" y="6"/>
                  </a:lnTo>
                  <a:lnTo>
                    <a:pt x="648" y="24"/>
                  </a:lnTo>
                  <a:lnTo>
                    <a:pt x="654" y="48"/>
                  </a:lnTo>
                  <a:lnTo>
                    <a:pt x="672" y="60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0" y="72"/>
                  </a:lnTo>
                  <a:lnTo>
                    <a:pt x="690" y="78"/>
                  </a:lnTo>
                  <a:lnTo>
                    <a:pt x="696" y="90"/>
                  </a:lnTo>
                  <a:lnTo>
                    <a:pt x="714" y="114"/>
                  </a:lnTo>
                  <a:lnTo>
                    <a:pt x="714" y="120"/>
                  </a:lnTo>
                  <a:lnTo>
                    <a:pt x="720" y="132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20" y="150"/>
                  </a:lnTo>
                  <a:lnTo>
                    <a:pt x="714" y="150"/>
                  </a:lnTo>
                  <a:lnTo>
                    <a:pt x="714" y="156"/>
                  </a:lnTo>
                  <a:lnTo>
                    <a:pt x="714" y="162"/>
                  </a:lnTo>
                  <a:lnTo>
                    <a:pt x="708" y="162"/>
                  </a:lnTo>
                  <a:lnTo>
                    <a:pt x="708" y="168"/>
                  </a:lnTo>
                  <a:lnTo>
                    <a:pt x="702" y="168"/>
                  </a:lnTo>
                  <a:lnTo>
                    <a:pt x="702" y="174"/>
                  </a:lnTo>
                  <a:lnTo>
                    <a:pt x="702" y="180"/>
                  </a:lnTo>
                  <a:lnTo>
                    <a:pt x="708" y="180"/>
                  </a:lnTo>
                  <a:lnTo>
                    <a:pt x="708" y="186"/>
                  </a:lnTo>
                  <a:lnTo>
                    <a:pt x="708" y="192"/>
                  </a:lnTo>
                  <a:lnTo>
                    <a:pt x="714" y="204"/>
                  </a:lnTo>
                  <a:lnTo>
                    <a:pt x="726" y="216"/>
                  </a:lnTo>
                  <a:lnTo>
                    <a:pt x="738" y="216"/>
                  </a:lnTo>
                  <a:lnTo>
                    <a:pt x="768" y="222"/>
                  </a:lnTo>
                  <a:lnTo>
                    <a:pt x="780" y="216"/>
                  </a:lnTo>
                  <a:lnTo>
                    <a:pt x="792" y="204"/>
                  </a:lnTo>
                  <a:lnTo>
                    <a:pt x="798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6" y="192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6" y="174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22" y="156"/>
                  </a:lnTo>
                  <a:lnTo>
                    <a:pt x="822" y="150"/>
                  </a:lnTo>
                  <a:lnTo>
                    <a:pt x="828" y="144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8" y="138"/>
                  </a:lnTo>
                  <a:lnTo>
                    <a:pt x="834" y="132"/>
                  </a:lnTo>
                  <a:lnTo>
                    <a:pt x="840" y="132"/>
                  </a:lnTo>
                  <a:lnTo>
                    <a:pt x="864" y="126"/>
                  </a:lnTo>
                  <a:lnTo>
                    <a:pt x="906" y="144"/>
                  </a:lnTo>
                  <a:lnTo>
                    <a:pt x="906" y="150"/>
                  </a:lnTo>
                  <a:lnTo>
                    <a:pt x="906" y="156"/>
                  </a:lnTo>
                  <a:lnTo>
                    <a:pt x="900" y="162"/>
                  </a:lnTo>
                  <a:lnTo>
                    <a:pt x="924" y="168"/>
                  </a:lnTo>
                  <a:lnTo>
                    <a:pt x="942" y="192"/>
                  </a:lnTo>
                  <a:lnTo>
                    <a:pt x="972" y="210"/>
                  </a:lnTo>
                  <a:lnTo>
                    <a:pt x="972" y="216"/>
                  </a:lnTo>
                  <a:lnTo>
                    <a:pt x="972" y="228"/>
                  </a:lnTo>
                  <a:lnTo>
                    <a:pt x="978" y="234"/>
                  </a:lnTo>
                  <a:lnTo>
                    <a:pt x="978" y="246"/>
                  </a:lnTo>
                  <a:lnTo>
                    <a:pt x="984" y="252"/>
                  </a:lnTo>
                  <a:lnTo>
                    <a:pt x="1014" y="252"/>
                  </a:lnTo>
                  <a:lnTo>
                    <a:pt x="1020" y="228"/>
                  </a:lnTo>
                  <a:lnTo>
                    <a:pt x="1026" y="198"/>
                  </a:lnTo>
                  <a:lnTo>
                    <a:pt x="1050" y="186"/>
                  </a:lnTo>
                  <a:lnTo>
                    <a:pt x="1056" y="180"/>
                  </a:lnTo>
                  <a:lnTo>
                    <a:pt x="1050" y="174"/>
                  </a:lnTo>
                  <a:lnTo>
                    <a:pt x="1050" y="168"/>
                  </a:lnTo>
                  <a:lnTo>
                    <a:pt x="1050" y="162"/>
                  </a:lnTo>
                  <a:lnTo>
                    <a:pt x="1056" y="162"/>
                  </a:lnTo>
                  <a:lnTo>
                    <a:pt x="1062" y="162"/>
                  </a:lnTo>
                  <a:lnTo>
                    <a:pt x="1074" y="162"/>
                  </a:lnTo>
                  <a:lnTo>
                    <a:pt x="1074" y="144"/>
                  </a:lnTo>
                  <a:lnTo>
                    <a:pt x="1074" y="120"/>
                  </a:lnTo>
                  <a:lnTo>
                    <a:pt x="1092" y="120"/>
                  </a:lnTo>
                  <a:lnTo>
                    <a:pt x="1098" y="126"/>
                  </a:lnTo>
                  <a:lnTo>
                    <a:pt x="1134" y="132"/>
                  </a:lnTo>
                  <a:lnTo>
                    <a:pt x="1146" y="132"/>
                  </a:lnTo>
                  <a:lnTo>
                    <a:pt x="1158" y="150"/>
                  </a:lnTo>
                  <a:lnTo>
                    <a:pt x="1158" y="156"/>
                  </a:lnTo>
                  <a:lnTo>
                    <a:pt x="1158" y="162"/>
                  </a:lnTo>
                  <a:lnTo>
                    <a:pt x="1158" y="180"/>
                  </a:lnTo>
                  <a:lnTo>
                    <a:pt x="1158" y="186"/>
                  </a:lnTo>
                  <a:lnTo>
                    <a:pt x="1164" y="192"/>
                  </a:lnTo>
                  <a:lnTo>
                    <a:pt x="1176" y="198"/>
                  </a:lnTo>
                  <a:lnTo>
                    <a:pt x="1182" y="198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8"/>
                  </a:lnTo>
                  <a:lnTo>
                    <a:pt x="1188" y="234"/>
                  </a:lnTo>
                  <a:lnTo>
                    <a:pt x="1212" y="234"/>
                  </a:lnTo>
                  <a:lnTo>
                    <a:pt x="1242" y="234"/>
                  </a:lnTo>
                  <a:lnTo>
                    <a:pt x="1248" y="234"/>
                  </a:lnTo>
                  <a:lnTo>
                    <a:pt x="1278" y="240"/>
                  </a:lnTo>
                  <a:lnTo>
                    <a:pt x="1320" y="234"/>
                  </a:lnTo>
                  <a:lnTo>
                    <a:pt x="1332" y="228"/>
                  </a:lnTo>
                  <a:lnTo>
                    <a:pt x="1344" y="228"/>
                  </a:lnTo>
                  <a:lnTo>
                    <a:pt x="1350" y="234"/>
                  </a:lnTo>
                  <a:lnTo>
                    <a:pt x="1350" y="240"/>
                  </a:lnTo>
                  <a:lnTo>
                    <a:pt x="1356" y="246"/>
                  </a:lnTo>
                  <a:lnTo>
                    <a:pt x="1350" y="252"/>
                  </a:lnTo>
                  <a:lnTo>
                    <a:pt x="1356" y="264"/>
                  </a:lnTo>
                  <a:lnTo>
                    <a:pt x="1356" y="270"/>
                  </a:lnTo>
                  <a:lnTo>
                    <a:pt x="1356" y="276"/>
                  </a:lnTo>
                  <a:lnTo>
                    <a:pt x="1356" y="282"/>
                  </a:lnTo>
                  <a:lnTo>
                    <a:pt x="1356" y="288"/>
                  </a:lnTo>
                  <a:lnTo>
                    <a:pt x="1350" y="294"/>
                  </a:lnTo>
                  <a:lnTo>
                    <a:pt x="1344" y="300"/>
                  </a:lnTo>
                  <a:lnTo>
                    <a:pt x="1344" y="306"/>
                  </a:lnTo>
                  <a:lnTo>
                    <a:pt x="1338" y="312"/>
                  </a:lnTo>
                  <a:lnTo>
                    <a:pt x="1326" y="342"/>
                  </a:lnTo>
                  <a:lnTo>
                    <a:pt x="1320" y="348"/>
                  </a:lnTo>
                  <a:lnTo>
                    <a:pt x="1314" y="354"/>
                  </a:lnTo>
                  <a:lnTo>
                    <a:pt x="1290" y="354"/>
                  </a:lnTo>
                  <a:lnTo>
                    <a:pt x="1284" y="360"/>
                  </a:lnTo>
                  <a:lnTo>
                    <a:pt x="1278" y="378"/>
                  </a:lnTo>
                  <a:lnTo>
                    <a:pt x="1278" y="384"/>
                  </a:lnTo>
                  <a:lnTo>
                    <a:pt x="1272" y="390"/>
                  </a:lnTo>
                  <a:lnTo>
                    <a:pt x="1266" y="396"/>
                  </a:lnTo>
                  <a:lnTo>
                    <a:pt x="1260" y="396"/>
                  </a:lnTo>
                  <a:lnTo>
                    <a:pt x="1248" y="402"/>
                  </a:lnTo>
                  <a:lnTo>
                    <a:pt x="1242" y="408"/>
                  </a:lnTo>
                  <a:lnTo>
                    <a:pt x="1242" y="414"/>
                  </a:lnTo>
                  <a:lnTo>
                    <a:pt x="1242" y="420"/>
                  </a:lnTo>
                  <a:lnTo>
                    <a:pt x="1236" y="432"/>
                  </a:lnTo>
                  <a:lnTo>
                    <a:pt x="1242" y="432"/>
                  </a:lnTo>
                  <a:lnTo>
                    <a:pt x="1242" y="444"/>
                  </a:lnTo>
                  <a:lnTo>
                    <a:pt x="1242" y="456"/>
                  </a:lnTo>
                  <a:lnTo>
                    <a:pt x="1248" y="456"/>
                  </a:lnTo>
                  <a:lnTo>
                    <a:pt x="1254" y="462"/>
                  </a:lnTo>
                  <a:lnTo>
                    <a:pt x="1248" y="468"/>
                  </a:lnTo>
                  <a:lnTo>
                    <a:pt x="1254" y="468"/>
                  </a:lnTo>
                  <a:lnTo>
                    <a:pt x="1266" y="474"/>
                  </a:lnTo>
                  <a:lnTo>
                    <a:pt x="1266" y="480"/>
                  </a:lnTo>
                  <a:lnTo>
                    <a:pt x="1266" y="486"/>
                  </a:lnTo>
                  <a:lnTo>
                    <a:pt x="1272" y="486"/>
                  </a:lnTo>
                  <a:lnTo>
                    <a:pt x="1272" y="492"/>
                  </a:lnTo>
                  <a:lnTo>
                    <a:pt x="1290" y="510"/>
                  </a:lnTo>
                  <a:lnTo>
                    <a:pt x="1296" y="516"/>
                  </a:lnTo>
                  <a:lnTo>
                    <a:pt x="1302" y="540"/>
                  </a:lnTo>
                  <a:lnTo>
                    <a:pt x="1302" y="546"/>
                  </a:lnTo>
                  <a:lnTo>
                    <a:pt x="1302" y="558"/>
                  </a:lnTo>
                  <a:lnTo>
                    <a:pt x="1302" y="570"/>
                  </a:lnTo>
                  <a:lnTo>
                    <a:pt x="1302" y="576"/>
                  </a:lnTo>
                  <a:lnTo>
                    <a:pt x="1344" y="570"/>
                  </a:lnTo>
                  <a:lnTo>
                    <a:pt x="1350" y="582"/>
                  </a:lnTo>
                  <a:lnTo>
                    <a:pt x="1368" y="594"/>
                  </a:lnTo>
                  <a:lnTo>
                    <a:pt x="1374" y="600"/>
                  </a:lnTo>
                  <a:lnTo>
                    <a:pt x="1380" y="600"/>
                  </a:lnTo>
                  <a:lnTo>
                    <a:pt x="1380" y="618"/>
                  </a:lnTo>
                  <a:lnTo>
                    <a:pt x="1386" y="624"/>
                  </a:lnTo>
                  <a:lnTo>
                    <a:pt x="1404" y="624"/>
                  </a:lnTo>
                  <a:lnTo>
                    <a:pt x="1410" y="612"/>
                  </a:lnTo>
                  <a:lnTo>
                    <a:pt x="1428" y="606"/>
                  </a:lnTo>
                  <a:lnTo>
                    <a:pt x="1488" y="606"/>
                  </a:lnTo>
                  <a:lnTo>
                    <a:pt x="1506" y="606"/>
                  </a:lnTo>
                  <a:lnTo>
                    <a:pt x="1512" y="600"/>
                  </a:lnTo>
                  <a:lnTo>
                    <a:pt x="1524" y="594"/>
                  </a:lnTo>
                  <a:lnTo>
                    <a:pt x="1554" y="594"/>
                  </a:lnTo>
                  <a:lnTo>
                    <a:pt x="1578" y="606"/>
                  </a:lnTo>
                  <a:lnTo>
                    <a:pt x="1596" y="624"/>
                  </a:lnTo>
                  <a:lnTo>
                    <a:pt x="1650" y="642"/>
                  </a:lnTo>
                  <a:lnTo>
                    <a:pt x="1686" y="648"/>
                  </a:lnTo>
                  <a:lnTo>
                    <a:pt x="1698" y="654"/>
                  </a:lnTo>
                  <a:lnTo>
                    <a:pt x="1698" y="660"/>
                  </a:lnTo>
                  <a:lnTo>
                    <a:pt x="1692" y="666"/>
                  </a:lnTo>
                  <a:lnTo>
                    <a:pt x="1692" y="672"/>
                  </a:lnTo>
                  <a:lnTo>
                    <a:pt x="1698" y="678"/>
                  </a:lnTo>
                  <a:lnTo>
                    <a:pt x="1698" y="684"/>
                  </a:lnTo>
                  <a:lnTo>
                    <a:pt x="1692" y="684"/>
                  </a:lnTo>
                  <a:lnTo>
                    <a:pt x="1692" y="690"/>
                  </a:lnTo>
                  <a:lnTo>
                    <a:pt x="1698" y="696"/>
                  </a:lnTo>
                  <a:lnTo>
                    <a:pt x="1698" y="702"/>
                  </a:lnTo>
                  <a:lnTo>
                    <a:pt x="1698" y="708"/>
                  </a:lnTo>
                  <a:lnTo>
                    <a:pt x="1704" y="714"/>
                  </a:lnTo>
                  <a:lnTo>
                    <a:pt x="1704" y="720"/>
                  </a:lnTo>
                  <a:lnTo>
                    <a:pt x="1704" y="726"/>
                  </a:lnTo>
                  <a:lnTo>
                    <a:pt x="1704" y="732"/>
                  </a:lnTo>
                  <a:lnTo>
                    <a:pt x="1704" y="738"/>
                  </a:lnTo>
                  <a:lnTo>
                    <a:pt x="1698" y="726"/>
                  </a:lnTo>
                  <a:lnTo>
                    <a:pt x="1668" y="720"/>
                  </a:lnTo>
                  <a:lnTo>
                    <a:pt x="1626" y="714"/>
                  </a:lnTo>
                  <a:lnTo>
                    <a:pt x="1614" y="708"/>
                  </a:lnTo>
                  <a:lnTo>
                    <a:pt x="1578" y="696"/>
                  </a:lnTo>
                  <a:lnTo>
                    <a:pt x="1566" y="696"/>
                  </a:lnTo>
                  <a:lnTo>
                    <a:pt x="1548" y="702"/>
                  </a:lnTo>
                  <a:lnTo>
                    <a:pt x="1542" y="714"/>
                  </a:lnTo>
                  <a:lnTo>
                    <a:pt x="1536" y="732"/>
                  </a:lnTo>
                  <a:lnTo>
                    <a:pt x="1530" y="750"/>
                  </a:lnTo>
                  <a:lnTo>
                    <a:pt x="1536" y="750"/>
                  </a:lnTo>
                  <a:lnTo>
                    <a:pt x="1542" y="756"/>
                  </a:lnTo>
                  <a:lnTo>
                    <a:pt x="1542" y="762"/>
                  </a:lnTo>
                  <a:lnTo>
                    <a:pt x="1548" y="762"/>
                  </a:lnTo>
                  <a:lnTo>
                    <a:pt x="1554" y="762"/>
                  </a:lnTo>
                  <a:lnTo>
                    <a:pt x="1554" y="768"/>
                  </a:lnTo>
                  <a:lnTo>
                    <a:pt x="1560" y="774"/>
                  </a:lnTo>
                  <a:lnTo>
                    <a:pt x="1566" y="774"/>
                  </a:lnTo>
                  <a:lnTo>
                    <a:pt x="1584" y="792"/>
                  </a:lnTo>
                  <a:lnTo>
                    <a:pt x="1584" y="810"/>
                  </a:lnTo>
                  <a:lnTo>
                    <a:pt x="1572" y="816"/>
                  </a:lnTo>
                  <a:lnTo>
                    <a:pt x="1578" y="834"/>
                  </a:lnTo>
                  <a:lnTo>
                    <a:pt x="1578" y="846"/>
                  </a:lnTo>
                  <a:lnTo>
                    <a:pt x="1584" y="858"/>
                  </a:lnTo>
                  <a:lnTo>
                    <a:pt x="1590" y="864"/>
                  </a:lnTo>
                  <a:lnTo>
                    <a:pt x="1590" y="876"/>
                  </a:lnTo>
                  <a:lnTo>
                    <a:pt x="1578" y="888"/>
                  </a:lnTo>
                  <a:lnTo>
                    <a:pt x="1560" y="906"/>
                  </a:lnTo>
                  <a:lnTo>
                    <a:pt x="1536" y="930"/>
                  </a:lnTo>
                  <a:lnTo>
                    <a:pt x="1530" y="930"/>
                  </a:lnTo>
                  <a:lnTo>
                    <a:pt x="1506" y="942"/>
                  </a:lnTo>
                  <a:lnTo>
                    <a:pt x="1488" y="948"/>
                  </a:lnTo>
                  <a:lnTo>
                    <a:pt x="1476" y="954"/>
                  </a:lnTo>
                  <a:lnTo>
                    <a:pt x="1458" y="960"/>
                  </a:lnTo>
                  <a:lnTo>
                    <a:pt x="1452" y="966"/>
                  </a:lnTo>
                  <a:lnTo>
                    <a:pt x="1446" y="966"/>
                  </a:lnTo>
                  <a:lnTo>
                    <a:pt x="1434" y="972"/>
                  </a:lnTo>
                  <a:lnTo>
                    <a:pt x="1434" y="954"/>
                  </a:lnTo>
                  <a:lnTo>
                    <a:pt x="1422" y="942"/>
                  </a:lnTo>
                  <a:lnTo>
                    <a:pt x="1398" y="924"/>
                  </a:lnTo>
                  <a:lnTo>
                    <a:pt x="1398" y="912"/>
                  </a:lnTo>
                  <a:lnTo>
                    <a:pt x="1398" y="906"/>
                  </a:lnTo>
                  <a:lnTo>
                    <a:pt x="1398" y="900"/>
                  </a:lnTo>
                  <a:lnTo>
                    <a:pt x="1380" y="900"/>
                  </a:lnTo>
                  <a:lnTo>
                    <a:pt x="1380" y="894"/>
                  </a:lnTo>
                  <a:lnTo>
                    <a:pt x="1368" y="888"/>
                  </a:lnTo>
                  <a:lnTo>
                    <a:pt x="1362" y="882"/>
                  </a:lnTo>
                  <a:lnTo>
                    <a:pt x="1356" y="876"/>
                  </a:lnTo>
                  <a:lnTo>
                    <a:pt x="1350" y="864"/>
                  </a:lnTo>
                  <a:lnTo>
                    <a:pt x="1344" y="858"/>
                  </a:lnTo>
                  <a:lnTo>
                    <a:pt x="1314" y="870"/>
                  </a:lnTo>
                  <a:lnTo>
                    <a:pt x="1272" y="876"/>
                  </a:lnTo>
                  <a:lnTo>
                    <a:pt x="1218" y="870"/>
                  </a:lnTo>
                  <a:lnTo>
                    <a:pt x="1200" y="864"/>
                  </a:lnTo>
                  <a:lnTo>
                    <a:pt x="1182" y="864"/>
                  </a:lnTo>
                  <a:lnTo>
                    <a:pt x="1134" y="858"/>
                  </a:lnTo>
                  <a:lnTo>
                    <a:pt x="1110" y="840"/>
                  </a:lnTo>
                  <a:lnTo>
                    <a:pt x="1086" y="828"/>
                  </a:lnTo>
                  <a:lnTo>
                    <a:pt x="1044" y="816"/>
                  </a:lnTo>
                  <a:lnTo>
                    <a:pt x="1014" y="816"/>
                  </a:lnTo>
                  <a:lnTo>
                    <a:pt x="990" y="822"/>
                  </a:lnTo>
                  <a:lnTo>
                    <a:pt x="948" y="858"/>
                  </a:lnTo>
                  <a:lnTo>
                    <a:pt x="930" y="864"/>
                  </a:lnTo>
                  <a:lnTo>
                    <a:pt x="924" y="876"/>
                  </a:lnTo>
                  <a:lnTo>
                    <a:pt x="918" y="906"/>
                  </a:lnTo>
                  <a:lnTo>
                    <a:pt x="924" y="930"/>
                  </a:lnTo>
                  <a:lnTo>
                    <a:pt x="948" y="984"/>
                  </a:lnTo>
                  <a:lnTo>
                    <a:pt x="954" y="1008"/>
                  </a:lnTo>
                  <a:lnTo>
                    <a:pt x="948" y="1014"/>
                  </a:lnTo>
                  <a:lnTo>
                    <a:pt x="954" y="1014"/>
                  </a:lnTo>
                  <a:lnTo>
                    <a:pt x="954" y="1032"/>
                  </a:lnTo>
                  <a:lnTo>
                    <a:pt x="966" y="1044"/>
                  </a:lnTo>
                  <a:lnTo>
                    <a:pt x="960" y="1056"/>
                  </a:lnTo>
                  <a:lnTo>
                    <a:pt x="954" y="1056"/>
                  </a:lnTo>
                  <a:lnTo>
                    <a:pt x="948" y="1056"/>
                  </a:lnTo>
                  <a:lnTo>
                    <a:pt x="942" y="1056"/>
                  </a:lnTo>
                  <a:lnTo>
                    <a:pt x="936" y="1050"/>
                  </a:lnTo>
                  <a:lnTo>
                    <a:pt x="930" y="1044"/>
                  </a:lnTo>
                  <a:lnTo>
                    <a:pt x="924" y="1044"/>
                  </a:lnTo>
                  <a:lnTo>
                    <a:pt x="918" y="1038"/>
                  </a:lnTo>
                  <a:lnTo>
                    <a:pt x="912" y="1038"/>
                  </a:lnTo>
                  <a:lnTo>
                    <a:pt x="906" y="1032"/>
                  </a:lnTo>
                  <a:lnTo>
                    <a:pt x="900" y="1032"/>
                  </a:lnTo>
                  <a:lnTo>
                    <a:pt x="888" y="1026"/>
                  </a:lnTo>
                  <a:lnTo>
                    <a:pt x="882" y="1026"/>
                  </a:lnTo>
                  <a:lnTo>
                    <a:pt x="876" y="1026"/>
                  </a:lnTo>
                  <a:lnTo>
                    <a:pt x="864" y="1014"/>
                  </a:lnTo>
                  <a:lnTo>
                    <a:pt x="846" y="1008"/>
                  </a:lnTo>
                  <a:lnTo>
                    <a:pt x="840" y="996"/>
                  </a:lnTo>
                  <a:lnTo>
                    <a:pt x="840" y="990"/>
                  </a:lnTo>
                  <a:lnTo>
                    <a:pt x="834" y="990"/>
                  </a:lnTo>
                  <a:lnTo>
                    <a:pt x="828" y="990"/>
                  </a:lnTo>
                  <a:lnTo>
                    <a:pt x="816" y="990"/>
                  </a:lnTo>
                  <a:lnTo>
                    <a:pt x="810" y="990"/>
                  </a:lnTo>
                  <a:lnTo>
                    <a:pt x="804" y="984"/>
                  </a:lnTo>
                  <a:lnTo>
                    <a:pt x="792" y="978"/>
                  </a:lnTo>
                  <a:lnTo>
                    <a:pt x="786" y="972"/>
                  </a:lnTo>
                  <a:lnTo>
                    <a:pt x="780" y="972"/>
                  </a:lnTo>
                  <a:lnTo>
                    <a:pt x="768" y="966"/>
                  </a:lnTo>
                  <a:lnTo>
                    <a:pt x="762" y="966"/>
                  </a:lnTo>
                  <a:lnTo>
                    <a:pt x="756" y="966"/>
                  </a:lnTo>
                  <a:lnTo>
                    <a:pt x="750" y="966"/>
                  </a:lnTo>
                  <a:lnTo>
                    <a:pt x="744" y="966"/>
                  </a:lnTo>
                  <a:lnTo>
                    <a:pt x="738" y="960"/>
                  </a:lnTo>
                  <a:lnTo>
                    <a:pt x="732" y="954"/>
                  </a:lnTo>
                  <a:lnTo>
                    <a:pt x="720" y="954"/>
                  </a:lnTo>
                  <a:lnTo>
                    <a:pt x="714" y="948"/>
                  </a:lnTo>
                  <a:lnTo>
                    <a:pt x="708" y="948"/>
                  </a:lnTo>
                  <a:lnTo>
                    <a:pt x="696" y="948"/>
                  </a:lnTo>
                  <a:lnTo>
                    <a:pt x="684" y="942"/>
                  </a:lnTo>
                  <a:lnTo>
                    <a:pt x="678" y="936"/>
                  </a:lnTo>
                  <a:lnTo>
                    <a:pt x="660" y="930"/>
                  </a:lnTo>
                  <a:lnTo>
                    <a:pt x="642" y="924"/>
                  </a:lnTo>
                  <a:lnTo>
                    <a:pt x="636" y="924"/>
                  </a:lnTo>
                  <a:lnTo>
                    <a:pt x="630" y="924"/>
                  </a:lnTo>
                  <a:lnTo>
                    <a:pt x="618" y="924"/>
                  </a:lnTo>
                  <a:lnTo>
                    <a:pt x="618" y="918"/>
                  </a:lnTo>
                  <a:lnTo>
                    <a:pt x="606" y="918"/>
                  </a:lnTo>
                  <a:lnTo>
                    <a:pt x="600" y="918"/>
                  </a:lnTo>
                  <a:lnTo>
                    <a:pt x="594" y="918"/>
                  </a:lnTo>
                  <a:lnTo>
                    <a:pt x="594" y="912"/>
                  </a:lnTo>
                  <a:lnTo>
                    <a:pt x="588" y="912"/>
                  </a:lnTo>
                  <a:lnTo>
                    <a:pt x="582" y="912"/>
                  </a:lnTo>
                  <a:lnTo>
                    <a:pt x="582" y="918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58" y="918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12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00"/>
                  </a:lnTo>
                  <a:lnTo>
                    <a:pt x="516" y="900"/>
                  </a:lnTo>
                  <a:lnTo>
                    <a:pt x="510" y="900"/>
                  </a:lnTo>
                  <a:lnTo>
                    <a:pt x="486" y="894"/>
                  </a:lnTo>
                  <a:lnTo>
                    <a:pt x="474" y="888"/>
                  </a:lnTo>
                  <a:lnTo>
                    <a:pt x="468" y="888"/>
                  </a:lnTo>
                  <a:lnTo>
                    <a:pt x="450" y="88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0" name="Freeform 15">
              <a:extLst>
                <a:ext uri="{FF2B5EF4-FFF2-40B4-BE49-F238E27FC236}">
                  <a16:creationId xmlns:a16="http://schemas.microsoft.com/office/drawing/2014/main" id="{8B991D7A-45C6-40F6-A035-24DFC733305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382" y="2652043"/>
              <a:ext cx="724526" cy="695552"/>
            </a:xfrm>
            <a:custGeom>
              <a:avLst/>
              <a:gdLst>
                <a:gd name="T0" fmla="*/ 44 w 1362"/>
                <a:gd name="T1" fmla="*/ 106 h 1308"/>
                <a:gd name="T2" fmla="*/ 32 w 1362"/>
                <a:gd name="T3" fmla="*/ 109 h 1308"/>
                <a:gd name="T4" fmla="*/ 25 w 1362"/>
                <a:gd name="T5" fmla="*/ 105 h 1308"/>
                <a:gd name="T6" fmla="*/ 22 w 1362"/>
                <a:gd name="T7" fmla="*/ 97 h 1308"/>
                <a:gd name="T8" fmla="*/ 21 w 1362"/>
                <a:gd name="T9" fmla="*/ 95 h 1308"/>
                <a:gd name="T10" fmla="*/ 20 w 1362"/>
                <a:gd name="T11" fmla="*/ 90 h 1308"/>
                <a:gd name="T12" fmla="*/ 23 w 1362"/>
                <a:gd name="T13" fmla="*/ 87 h 1308"/>
                <a:gd name="T14" fmla="*/ 29 w 1362"/>
                <a:gd name="T15" fmla="*/ 81 h 1308"/>
                <a:gd name="T16" fmla="*/ 30 w 1362"/>
                <a:gd name="T17" fmla="*/ 78 h 1308"/>
                <a:gd name="T18" fmla="*/ 27 w 1362"/>
                <a:gd name="T19" fmla="*/ 75 h 1308"/>
                <a:gd name="T20" fmla="*/ 15 w 1362"/>
                <a:gd name="T21" fmla="*/ 73 h 1308"/>
                <a:gd name="T22" fmla="*/ 12 w 1362"/>
                <a:gd name="T23" fmla="*/ 69 h 1308"/>
                <a:gd name="T24" fmla="*/ 5 w 1362"/>
                <a:gd name="T25" fmla="*/ 65 h 1308"/>
                <a:gd name="T26" fmla="*/ 6 w 1362"/>
                <a:gd name="T27" fmla="*/ 62 h 1308"/>
                <a:gd name="T28" fmla="*/ 7 w 1362"/>
                <a:gd name="T29" fmla="*/ 56 h 1308"/>
                <a:gd name="T30" fmla="*/ 2 w 1362"/>
                <a:gd name="T31" fmla="*/ 49 h 1308"/>
                <a:gd name="T32" fmla="*/ 0 w 1362"/>
                <a:gd name="T33" fmla="*/ 44 h 1308"/>
                <a:gd name="T34" fmla="*/ 0 w 1362"/>
                <a:gd name="T35" fmla="*/ 39 h 1308"/>
                <a:gd name="T36" fmla="*/ 3 w 1362"/>
                <a:gd name="T37" fmla="*/ 35 h 1308"/>
                <a:gd name="T38" fmla="*/ 3 w 1362"/>
                <a:gd name="T39" fmla="*/ 28 h 1308"/>
                <a:gd name="T40" fmla="*/ 6 w 1362"/>
                <a:gd name="T41" fmla="*/ 18 h 1308"/>
                <a:gd name="T42" fmla="*/ 6 w 1362"/>
                <a:gd name="T43" fmla="*/ 8 h 1308"/>
                <a:gd name="T44" fmla="*/ 10 w 1362"/>
                <a:gd name="T45" fmla="*/ 5 h 1308"/>
                <a:gd name="T46" fmla="*/ 15 w 1362"/>
                <a:gd name="T47" fmla="*/ 0 h 1308"/>
                <a:gd name="T48" fmla="*/ 21 w 1362"/>
                <a:gd name="T49" fmla="*/ 7 h 1308"/>
                <a:gd name="T50" fmla="*/ 25 w 1362"/>
                <a:gd name="T51" fmla="*/ 15 h 1308"/>
                <a:gd name="T52" fmla="*/ 24 w 1362"/>
                <a:gd name="T53" fmla="*/ 19 h 1308"/>
                <a:gd name="T54" fmla="*/ 32 w 1362"/>
                <a:gd name="T55" fmla="*/ 19 h 1308"/>
                <a:gd name="T56" fmla="*/ 35 w 1362"/>
                <a:gd name="T57" fmla="*/ 20 h 1308"/>
                <a:gd name="T58" fmla="*/ 40 w 1362"/>
                <a:gd name="T59" fmla="*/ 23 h 1308"/>
                <a:gd name="T60" fmla="*/ 40 w 1362"/>
                <a:gd name="T61" fmla="*/ 26 h 1308"/>
                <a:gd name="T62" fmla="*/ 34 w 1362"/>
                <a:gd name="T63" fmla="*/ 35 h 1308"/>
                <a:gd name="T64" fmla="*/ 41 w 1362"/>
                <a:gd name="T65" fmla="*/ 37 h 1308"/>
                <a:gd name="T66" fmla="*/ 43 w 1362"/>
                <a:gd name="T67" fmla="*/ 44 h 1308"/>
                <a:gd name="T68" fmla="*/ 48 w 1362"/>
                <a:gd name="T69" fmla="*/ 47 h 1308"/>
                <a:gd name="T70" fmla="*/ 57 w 1362"/>
                <a:gd name="T71" fmla="*/ 48 h 1308"/>
                <a:gd name="T72" fmla="*/ 70 w 1362"/>
                <a:gd name="T73" fmla="*/ 44 h 1308"/>
                <a:gd name="T74" fmla="*/ 80 w 1362"/>
                <a:gd name="T75" fmla="*/ 34 h 1308"/>
                <a:gd name="T76" fmla="*/ 95 w 1362"/>
                <a:gd name="T77" fmla="*/ 41 h 1308"/>
                <a:gd name="T78" fmla="*/ 109 w 1362"/>
                <a:gd name="T79" fmla="*/ 47 h 1308"/>
                <a:gd name="T80" fmla="*/ 111 w 1362"/>
                <a:gd name="T81" fmla="*/ 50 h 1308"/>
                <a:gd name="T82" fmla="*/ 113 w 1362"/>
                <a:gd name="T83" fmla="*/ 53 h 1308"/>
                <a:gd name="T84" fmla="*/ 113 w 1362"/>
                <a:gd name="T85" fmla="*/ 55 h 1308"/>
                <a:gd name="T86" fmla="*/ 113 w 1362"/>
                <a:gd name="T87" fmla="*/ 59 h 1308"/>
                <a:gd name="T88" fmla="*/ 113 w 1362"/>
                <a:gd name="T89" fmla="*/ 62 h 1308"/>
                <a:gd name="T90" fmla="*/ 115 w 1362"/>
                <a:gd name="T91" fmla="*/ 65 h 1308"/>
                <a:gd name="T92" fmla="*/ 115 w 1362"/>
                <a:gd name="T93" fmla="*/ 67 h 1308"/>
                <a:gd name="T94" fmla="*/ 116 w 1362"/>
                <a:gd name="T95" fmla="*/ 69 h 1308"/>
                <a:gd name="T96" fmla="*/ 116 w 1362"/>
                <a:gd name="T97" fmla="*/ 71 h 1308"/>
                <a:gd name="T98" fmla="*/ 118 w 1362"/>
                <a:gd name="T99" fmla="*/ 75 h 1308"/>
                <a:gd name="T100" fmla="*/ 116 w 1362"/>
                <a:gd name="T101" fmla="*/ 77 h 1308"/>
                <a:gd name="T102" fmla="*/ 116 w 1362"/>
                <a:gd name="T103" fmla="*/ 79 h 1308"/>
                <a:gd name="T104" fmla="*/ 101 w 1362"/>
                <a:gd name="T105" fmla="*/ 87 h 1308"/>
                <a:gd name="T106" fmla="*/ 85 w 1362"/>
                <a:gd name="T107" fmla="*/ 103 h 1308"/>
                <a:gd name="T108" fmla="*/ 67 w 1362"/>
                <a:gd name="T109" fmla="*/ 114 h 130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62"/>
                <a:gd name="T166" fmla="*/ 0 h 1308"/>
                <a:gd name="T167" fmla="*/ 1362 w 1362"/>
                <a:gd name="T168" fmla="*/ 1308 h 130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62" h="1308">
                  <a:moveTo>
                    <a:pt x="684" y="1278"/>
                  </a:moveTo>
                  <a:lnTo>
                    <a:pt x="672" y="1272"/>
                  </a:lnTo>
                  <a:lnTo>
                    <a:pt x="636" y="1266"/>
                  </a:lnTo>
                  <a:lnTo>
                    <a:pt x="582" y="1248"/>
                  </a:lnTo>
                  <a:lnTo>
                    <a:pt x="564" y="1230"/>
                  </a:lnTo>
                  <a:lnTo>
                    <a:pt x="540" y="1218"/>
                  </a:lnTo>
                  <a:lnTo>
                    <a:pt x="510" y="1218"/>
                  </a:lnTo>
                  <a:lnTo>
                    <a:pt x="498" y="1224"/>
                  </a:lnTo>
                  <a:lnTo>
                    <a:pt x="492" y="1230"/>
                  </a:lnTo>
                  <a:lnTo>
                    <a:pt x="474" y="1230"/>
                  </a:lnTo>
                  <a:lnTo>
                    <a:pt x="414" y="1230"/>
                  </a:lnTo>
                  <a:lnTo>
                    <a:pt x="396" y="1236"/>
                  </a:lnTo>
                  <a:lnTo>
                    <a:pt x="390" y="1248"/>
                  </a:lnTo>
                  <a:lnTo>
                    <a:pt x="372" y="1248"/>
                  </a:lnTo>
                  <a:lnTo>
                    <a:pt x="366" y="1242"/>
                  </a:lnTo>
                  <a:lnTo>
                    <a:pt x="366" y="1224"/>
                  </a:lnTo>
                  <a:lnTo>
                    <a:pt x="360" y="1224"/>
                  </a:lnTo>
                  <a:lnTo>
                    <a:pt x="354" y="1218"/>
                  </a:lnTo>
                  <a:lnTo>
                    <a:pt x="336" y="1206"/>
                  </a:lnTo>
                  <a:lnTo>
                    <a:pt x="330" y="1194"/>
                  </a:lnTo>
                  <a:lnTo>
                    <a:pt x="288" y="1200"/>
                  </a:lnTo>
                  <a:lnTo>
                    <a:pt x="288" y="1194"/>
                  </a:lnTo>
                  <a:lnTo>
                    <a:pt x="288" y="1182"/>
                  </a:lnTo>
                  <a:lnTo>
                    <a:pt x="288" y="1170"/>
                  </a:lnTo>
                  <a:lnTo>
                    <a:pt x="288" y="1164"/>
                  </a:lnTo>
                  <a:lnTo>
                    <a:pt x="282" y="1140"/>
                  </a:lnTo>
                  <a:lnTo>
                    <a:pt x="276" y="1134"/>
                  </a:lnTo>
                  <a:lnTo>
                    <a:pt x="258" y="1116"/>
                  </a:lnTo>
                  <a:lnTo>
                    <a:pt x="258" y="1110"/>
                  </a:lnTo>
                  <a:lnTo>
                    <a:pt x="252" y="1110"/>
                  </a:lnTo>
                  <a:lnTo>
                    <a:pt x="252" y="1104"/>
                  </a:lnTo>
                  <a:lnTo>
                    <a:pt x="252" y="1098"/>
                  </a:lnTo>
                  <a:lnTo>
                    <a:pt x="240" y="1092"/>
                  </a:lnTo>
                  <a:lnTo>
                    <a:pt x="234" y="1092"/>
                  </a:lnTo>
                  <a:lnTo>
                    <a:pt x="240" y="1086"/>
                  </a:lnTo>
                  <a:lnTo>
                    <a:pt x="234" y="1080"/>
                  </a:lnTo>
                  <a:lnTo>
                    <a:pt x="228" y="1080"/>
                  </a:lnTo>
                  <a:lnTo>
                    <a:pt x="228" y="1068"/>
                  </a:lnTo>
                  <a:lnTo>
                    <a:pt x="228" y="1056"/>
                  </a:lnTo>
                  <a:lnTo>
                    <a:pt x="222" y="1056"/>
                  </a:lnTo>
                  <a:lnTo>
                    <a:pt x="228" y="1044"/>
                  </a:lnTo>
                  <a:lnTo>
                    <a:pt x="228" y="1038"/>
                  </a:lnTo>
                  <a:lnTo>
                    <a:pt x="228" y="1032"/>
                  </a:lnTo>
                  <a:lnTo>
                    <a:pt x="234" y="1026"/>
                  </a:lnTo>
                  <a:lnTo>
                    <a:pt x="246" y="1020"/>
                  </a:lnTo>
                  <a:lnTo>
                    <a:pt x="252" y="1020"/>
                  </a:lnTo>
                  <a:lnTo>
                    <a:pt x="258" y="1014"/>
                  </a:lnTo>
                  <a:lnTo>
                    <a:pt x="264" y="1008"/>
                  </a:lnTo>
                  <a:lnTo>
                    <a:pt x="264" y="1002"/>
                  </a:lnTo>
                  <a:lnTo>
                    <a:pt x="270" y="984"/>
                  </a:lnTo>
                  <a:lnTo>
                    <a:pt x="276" y="978"/>
                  </a:lnTo>
                  <a:lnTo>
                    <a:pt x="300" y="978"/>
                  </a:lnTo>
                  <a:lnTo>
                    <a:pt x="306" y="972"/>
                  </a:lnTo>
                  <a:lnTo>
                    <a:pt x="312" y="966"/>
                  </a:lnTo>
                  <a:lnTo>
                    <a:pt x="324" y="936"/>
                  </a:lnTo>
                  <a:lnTo>
                    <a:pt x="330" y="930"/>
                  </a:lnTo>
                  <a:lnTo>
                    <a:pt x="330" y="924"/>
                  </a:lnTo>
                  <a:lnTo>
                    <a:pt x="336" y="918"/>
                  </a:lnTo>
                  <a:lnTo>
                    <a:pt x="342" y="912"/>
                  </a:lnTo>
                  <a:lnTo>
                    <a:pt x="342" y="906"/>
                  </a:lnTo>
                  <a:lnTo>
                    <a:pt x="342" y="900"/>
                  </a:lnTo>
                  <a:lnTo>
                    <a:pt x="342" y="894"/>
                  </a:lnTo>
                  <a:lnTo>
                    <a:pt x="342" y="888"/>
                  </a:lnTo>
                  <a:lnTo>
                    <a:pt x="336" y="876"/>
                  </a:lnTo>
                  <a:lnTo>
                    <a:pt x="342" y="870"/>
                  </a:lnTo>
                  <a:lnTo>
                    <a:pt x="336" y="864"/>
                  </a:lnTo>
                  <a:lnTo>
                    <a:pt x="336" y="858"/>
                  </a:lnTo>
                  <a:lnTo>
                    <a:pt x="330" y="852"/>
                  </a:lnTo>
                  <a:lnTo>
                    <a:pt x="318" y="852"/>
                  </a:lnTo>
                  <a:lnTo>
                    <a:pt x="306" y="858"/>
                  </a:lnTo>
                  <a:lnTo>
                    <a:pt x="264" y="864"/>
                  </a:lnTo>
                  <a:lnTo>
                    <a:pt x="234" y="858"/>
                  </a:lnTo>
                  <a:lnTo>
                    <a:pt x="228" y="858"/>
                  </a:lnTo>
                  <a:lnTo>
                    <a:pt x="198" y="858"/>
                  </a:lnTo>
                  <a:lnTo>
                    <a:pt x="174" y="858"/>
                  </a:lnTo>
                  <a:lnTo>
                    <a:pt x="168" y="852"/>
                  </a:lnTo>
                  <a:lnTo>
                    <a:pt x="168" y="840"/>
                  </a:lnTo>
                  <a:lnTo>
                    <a:pt x="168" y="834"/>
                  </a:lnTo>
                  <a:lnTo>
                    <a:pt x="168" y="822"/>
                  </a:lnTo>
                  <a:lnTo>
                    <a:pt x="162" y="822"/>
                  </a:lnTo>
                  <a:lnTo>
                    <a:pt x="150" y="816"/>
                  </a:lnTo>
                  <a:lnTo>
                    <a:pt x="144" y="810"/>
                  </a:lnTo>
                  <a:lnTo>
                    <a:pt x="144" y="804"/>
                  </a:lnTo>
                  <a:lnTo>
                    <a:pt x="144" y="786"/>
                  </a:lnTo>
                  <a:lnTo>
                    <a:pt x="144" y="780"/>
                  </a:lnTo>
                  <a:lnTo>
                    <a:pt x="144" y="774"/>
                  </a:lnTo>
                  <a:lnTo>
                    <a:pt x="132" y="756"/>
                  </a:lnTo>
                  <a:lnTo>
                    <a:pt x="120" y="756"/>
                  </a:lnTo>
                  <a:lnTo>
                    <a:pt x="84" y="750"/>
                  </a:lnTo>
                  <a:lnTo>
                    <a:pt x="78" y="744"/>
                  </a:lnTo>
                  <a:lnTo>
                    <a:pt x="60" y="744"/>
                  </a:lnTo>
                  <a:lnTo>
                    <a:pt x="54" y="726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66" y="720"/>
                  </a:lnTo>
                  <a:lnTo>
                    <a:pt x="66" y="714"/>
                  </a:lnTo>
                  <a:lnTo>
                    <a:pt x="72" y="714"/>
                  </a:lnTo>
                  <a:lnTo>
                    <a:pt x="72" y="708"/>
                  </a:lnTo>
                  <a:lnTo>
                    <a:pt x="78" y="702"/>
                  </a:lnTo>
                  <a:lnTo>
                    <a:pt x="78" y="696"/>
                  </a:lnTo>
                  <a:lnTo>
                    <a:pt x="78" y="690"/>
                  </a:lnTo>
                  <a:lnTo>
                    <a:pt x="84" y="678"/>
                  </a:lnTo>
                  <a:lnTo>
                    <a:pt x="90" y="666"/>
                  </a:lnTo>
                  <a:lnTo>
                    <a:pt x="90" y="642"/>
                  </a:lnTo>
                  <a:lnTo>
                    <a:pt x="84" y="648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66" y="642"/>
                  </a:lnTo>
                  <a:lnTo>
                    <a:pt x="60" y="642"/>
                  </a:lnTo>
                  <a:lnTo>
                    <a:pt x="54" y="636"/>
                  </a:lnTo>
                  <a:lnTo>
                    <a:pt x="30" y="570"/>
                  </a:lnTo>
                  <a:lnTo>
                    <a:pt x="24" y="564"/>
                  </a:lnTo>
                  <a:lnTo>
                    <a:pt x="18" y="570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6"/>
                  </a:lnTo>
                  <a:lnTo>
                    <a:pt x="6" y="540"/>
                  </a:lnTo>
                  <a:lnTo>
                    <a:pt x="0" y="522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2" y="480"/>
                  </a:lnTo>
                  <a:lnTo>
                    <a:pt x="6" y="480"/>
                  </a:lnTo>
                  <a:lnTo>
                    <a:pt x="0" y="474"/>
                  </a:lnTo>
                  <a:lnTo>
                    <a:pt x="0" y="450"/>
                  </a:lnTo>
                  <a:lnTo>
                    <a:pt x="6" y="450"/>
                  </a:lnTo>
                  <a:lnTo>
                    <a:pt x="12" y="450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32"/>
                  </a:lnTo>
                  <a:lnTo>
                    <a:pt x="30" y="426"/>
                  </a:lnTo>
                  <a:lnTo>
                    <a:pt x="36" y="402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2" y="366"/>
                  </a:lnTo>
                  <a:lnTo>
                    <a:pt x="48" y="360"/>
                  </a:lnTo>
                  <a:lnTo>
                    <a:pt x="48" y="342"/>
                  </a:lnTo>
                  <a:lnTo>
                    <a:pt x="42" y="330"/>
                  </a:lnTo>
                  <a:lnTo>
                    <a:pt x="36" y="324"/>
                  </a:lnTo>
                  <a:lnTo>
                    <a:pt x="42" y="306"/>
                  </a:lnTo>
                  <a:lnTo>
                    <a:pt x="42" y="270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48" y="258"/>
                  </a:lnTo>
                  <a:lnTo>
                    <a:pt x="72" y="252"/>
                  </a:lnTo>
                  <a:lnTo>
                    <a:pt x="66" y="204"/>
                  </a:lnTo>
                  <a:lnTo>
                    <a:pt x="60" y="198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8" y="13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84" y="96"/>
                  </a:lnTo>
                  <a:lnTo>
                    <a:pt x="90" y="84"/>
                  </a:lnTo>
                  <a:lnTo>
                    <a:pt x="108" y="72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20" y="60"/>
                  </a:lnTo>
                  <a:lnTo>
                    <a:pt x="120" y="54"/>
                  </a:lnTo>
                  <a:lnTo>
                    <a:pt x="120" y="48"/>
                  </a:lnTo>
                  <a:lnTo>
                    <a:pt x="126" y="48"/>
                  </a:lnTo>
                  <a:lnTo>
                    <a:pt x="132" y="42"/>
                  </a:lnTo>
                  <a:lnTo>
                    <a:pt x="132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240" y="18"/>
                  </a:lnTo>
                  <a:lnTo>
                    <a:pt x="246" y="42"/>
                  </a:lnTo>
                  <a:lnTo>
                    <a:pt x="240" y="72"/>
                  </a:lnTo>
                  <a:lnTo>
                    <a:pt x="246" y="78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8" y="108"/>
                  </a:lnTo>
                  <a:lnTo>
                    <a:pt x="276" y="114"/>
                  </a:lnTo>
                  <a:lnTo>
                    <a:pt x="294" y="150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82" y="186"/>
                  </a:lnTo>
                  <a:lnTo>
                    <a:pt x="282" y="192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76" y="216"/>
                  </a:lnTo>
                  <a:lnTo>
                    <a:pt x="288" y="240"/>
                  </a:lnTo>
                  <a:lnTo>
                    <a:pt x="312" y="228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66" y="228"/>
                  </a:lnTo>
                  <a:lnTo>
                    <a:pt x="372" y="228"/>
                  </a:lnTo>
                  <a:lnTo>
                    <a:pt x="372" y="222"/>
                  </a:lnTo>
                  <a:lnTo>
                    <a:pt x="378" y="222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6" y="222"/>
                  </a:lnTo>
                  <a:lnTo>
                    <a:pt x="402" y="222"/>
                  </a:lnTo>
                  <a:lnTo>
                    <a:pt x="402" y="228"/>
                  </a:lnTo>
                  <a:lnTo>
                    <a:pt x="408" y="228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26" y="216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68" y="258"/>
                  </a:lnTo>
                  <a:lnTo>
                    <a:pt x="462" y="264"/>
                  </a:lnTo>
                  <a:lnTo>
                    <a:pt x="468" y="264"/>
                  </a:lnTo>
                  <a:lnTo>
                    <a:pt x="468" y="270"/>
                  </a:lnTo>
                  <a:lnTo>
                    <a:pt x="474" y="270"/>
                  </a:lnTo>
                  <a:lnTo>
                    <a:pt x="480" y="276"/>
                  </a:lnTo>
                  <a:lnTo>
                    <a:pt x="474" y="282"/>
                  </a:lnTo>
                  <a:lnTo>
                    <a:pt x="474" y="288"/>
                  </a:lnTo>
                  <a:lnTo>
                    <a:pt x="462" y="294"/>
                  </a:lnTo>
                  <a:lnTo>
                    <a:pt x="468" y="324"/>
                  </a:lnTo>
                  <a:lnTo>
                    <a:pt x="462" y="336"/>
                  </a:lnTo>
                  <a:lnTo>
                    <a:pt x="456" y="354"/>
                  </a:lnTo>
                  <a:lnTo>
                    <a:pt x="432" y="390"/>
                  </a:lnTo>
                  <a:lnTo>
                    <a:pt x="420" y="390"/>
                  </a:lnTo>
                  <a:lnTo>
                    <a:pt x="402" y="390"/>
                  </a:lnTo>
                  <a:lnTo>
                    <a:pt x="396" y="396"/>
                  </a:lnTo>
                  <a:lnTo>
                    <a:pt x="390" y="396"/>
                  </a:lnTo>
                  <a:lnTo>
                    <a:pt x="390" y="402"/>
                  </a:lnTo>
                  <a:lnTo>
                    <a:pt x="384" y="402"/>
                  </a:lnTo>
                  <a:lnTo>
                    <a:pt x="408" y="432"/>
                  </a:lnTo>
                  <a:lnTo>
                    <a:pt x="432" y="438"/>
                  </a:lnTo>
                  <a:lnTo>
                    <a:pt x="456" y="432"/>
                  </a:lnTo>
                  <a:lnTo>
                    <a:pt x="468" y="426"/>
                  </a:lnTo>
                  <a:lnTo>
                    <a:pt x="468" y="444"/>
                  </a:lnTo>
                  <a:lnTo>
                    <a:pt x="468" y="450"/>
                  </a:lnTo>
                  <a:lnTo>
                    <a:pt x="468" y="474"/>
                  </a:lnTo>
                  <a:lnTo>
                    <a:pt x="486" y="480"/>
                  </a:lnTo>
                  <a:lnTo>
                    <a:pt x="486" y="486"/>
                  </a:lnTo>
                  <a:lnTo>
                    <a:pt x="492" y="498"/>
                  </a:lnTo>
                  <a:lnTo>
                    <a:pt x="492" y="504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504" y="516"/>
                  </a:lnTo>
                  <a:lnTo>
                    <a:pt x="510" y="516"/>
                  </a:lnTo>
                  <a:lnTo>
                    <a:pt x="522" y="528"/>
                  </a:lnTo>
                  <a:lnTo>
                    <a:pt x="546" y="540"/>
                  </a:lnTo>
                  <a:lnTo>
                    <a:pt x="552" y="546"/>
                  </a:lnTo>
                  <a:lnTo>
                    <a:pt x="570" y="552"/>
                  </a:lnTo>
                  <a:lnTo>
                    <a:pt x="594" y="552"/>
                  </a:lnTo>
                  <a:lnTo>
                    <a:pt x="606" y="546"/>
                  </a:lnTo>
                  <a:lnTo>
                    <a:pt x="612" y="540"/>
                  </a:lnTo>
                  <a:lnTo>
                    <a:pt x="630" y="540"/>
                  </a:lnTo>
                  <a:lnTo>
                    <a:pt x="630" y="552"/>
                  </a:lnTo>
                  <a:lnTo>
                    <a:pt x="654" y="552"/>
                  </a:lnTo>
                  <a:lnTo>
                    <a:pt x="702" y="558"/>
                  </a:lnTo>
                  <a:lnTo>
                    <a:pt x="762" y="546"/>
                  </a:lnTo>
                  <a:lnTo>
                    <a:pt x="780" y="546"/>
                  </a:lnTo>
                  <a:lnTo>
                    <a:pt x="780" y="528"/>
                  </a:lnTo>
                  <a:lnTo>
                    <a:pt x="798" y="522"/>
                  </a:lnTo>
                  <a:lnTo>
                    <a:pt x="810" y="510"/>
                  </a:lnTo>
                  <a:lnTo>
                    <a:pt x="810" y="504"/>
                  </a:lnTo>
                  <a:lnTo>
                    <a:pt x="828" y="492"/>
                  </a:lnTo>
                  <a:lnTo>
                    <a:pt x="888" y="486"/>
                  </a:lnTo>
                  <a:lnTo>
                    <a:pt x="912" y="486"/>
                  </a:lnTo>
                  <a:lnTo>
                    <a:pt x="930" y="474"/>
                  </a:lnTo>
                  <a:lnTo>
                    <a:pt x="918" y="456"/>
                  </a:lnTo>
                  <a:lnTo>
                    <a:pt x="912" y="450"/>
                  </a:lnTo>
                  <a:lnTo>
                    <a:pt x="918" y="390"/>
                  </a:lnTo>
                  <a:lnTo>
                    <a:pt x="954" y="396"/>
                  </a:lnTo>
                  <a:lnTo>
                    <a:pt x="984" y="402"/>
                  </a:lnTo>
                  <a:lnTo>
                    <a:pt x="1014" y="420"/>
                  </a:lnTo>
                  <a:lnTo>
                    <a:pt x="1026" y="432"/>
                  </a:lnTo>
                  <a:lnTo>
                    <a:pt x="1044" y="450"/>
                  </a:lnTo>
                  <a:lnTo>
                    <a:pt x="1062" y="462"/>
                  </a:lnTo>
                  <a:lnTo>
                    <a:pt x="1098" y="468"/>
                  </a:lnTo>
                  <a:lnTo>
                    <a:pt x="1128" y="480"/>
                  </a:lnTo>
                  <a:lnTo>
                    <a:pt x="1152" y="486"/>
                  </a:lnTo>
                  <a:lnTo>
                    <a:pt x="1188" y="498"/>
                  </a:lnTo>
                  <a:lnTo>
                    <a:pt x="1212" y="504"/>
                  </a:lnTo>
                  <a:lnTo>
                    <a:pt x="1224" y="528"/>
                  </a:lnTo>
                  <a:lnTo>
                    <a:pt x="1236" y="540"/>
                  </a:lnTo>
                  <a:lnTo>
                    <a:pt x="1254" y="540"/>
                  </a:lnTo>
                  <a:lnTo>
                    <a:pt x="1254" y="546"/>
                  </a:lnTo>
                  <a:lnTo>
                    <a:pt x="1260" y="552"/>
                  </a:lnTo>
                  <a:lnTo>
                    <a:pt x="1266" y="552"/>
                  </a:lnTo>
                  <a:lnTo>
                    <a:pt x="1266" y="558"/>
                  </a:lnTo>
                  <a:lnTo>
                    <a:pt x="1272" y="564"/>
                  </a:lnTo>
                  <a:lnTo>
                    <a:pt x="1278" y="564"/>
                  </a:lnTo>
                  <a:lnTo>
                    <a:pt x="1278" y="570"/>
                  </a:lnTo>
                  <a:lnTo>
                    <a:pt x="1284" y="576"/>
                  </a:lnTo>
                  <a:lnTo>
                    <a:pt x="1290" y="582"/>
                  </a:lnTo>
                  <a:lnTo>
                    <a:pt x="1296" y="582"/>
                  </a:lnTo>
                  <a:lnTo>
                    <a:pt x="1296" y="588"/>
                  </a:lnTo>
                  <a:lnTo>
                    <a:pt x="1308" y="594"/>
                  </a:lnTo>
                  <a:lnTo>
                    <a:pt x="1308" y="600"/>
                  </a:lnTo>
                  <a:lnTo>
                    <a:pt x="1308" y="606"/>
                  </a:lnTo>
                  <a:lnTo>
                    <a:pt x="1314" y="612"/>
                  </a:lnTo>
                  <a:lnTo>
                    <a:pt x="1308" y="618"/>
                  </a:lnTo>
                  <a:lnTo>
                    <a:pt x="1314" y="618"/>
                  </a:lnTo>
                  <a:lnTo>
                    <a:pt x="1314" y="624"/>
                  </a:lnTo>
                  <a:lnTo>
                    <a:pt x="1308" y="624"/>
                  </a:lnTo>
                  <a:lnTo>
                    <a:pt x="1302" y="630"/>
                  </a:lnTo>
                  <a:lnTo>
                    <a:pt x="1302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296" y="654"/>
                  </a:lnTo>
                  <a:lnTo>
                    <a:pt x="1302" y="660"/>
                  </a:lnTo>
                  <a:lnTo>
                    <a:pt x="1302" y="666"/>
                  </a:lnTo>
                  <a:lnTo>
                    <a:pt x="1308" y="666"/>
                  </a:lnTo>
                  <a:lnTo>
                    <a:pt x="1308" y="672"/>
                  </a:lnTo>
                  <a:lnTo>
                    <a:pt x="1308" y="678"/>
                  </a:lnTo>
                  <a:lnTo>
                    <a:pt x="1308" y="684"/>
                  </a:lnTo>
                  <a:lnTo>
                    <a:pt x="1308" y="690"/>
                  </a:lnTo>
                  <a:lnTo>
                    <a:pt x="1302" y="696"/>
                  </a:lnTo>
                  <a:lnTo>
                    <a:pt x="1302" y="702"/>
                  </a:lnTo>
                  <a:lnTo>
                    <a:pt x="1308" y="702"/>
                  </a:lnTo>
                  <a:lnTo>
                    <a:pt x="1302" y="708"/>
                  </a:lnTo>
                  <a:lnTo>
                    <a:pt x="1308" y="714"/>
                  </a:lnTo>
                  <a:lnTo>
                    <a:pt x="1308" y="720"/>
                  </a:lnTo>
                  <a:lnTo>
                    <a:pt x="1308" y="726"/>
                  </a:lnTo>
                  <a:lnTo>
                    <a:pt x="1308" y="732"/>
                  </a:lnTo>
                  <a:lnTo>
                    <a:pt x="1314" y="732"/>
                  </a:lnTo>
                  <a:lnTo>
                    <a:pt x="1314" y="738"/>
                  </a:lnTo>
                  <a:lnTo>
                    <a:pt x="1320" y="744"/>
                  </a:lnTo>
                  <a:lnTo>
                    <a:pt x="1326" y="750"/>
                  </a:lnTo>
                  <a:lnTo>
                    <a:pt x="1320" y="750"/>
                  </a:lnTo>
                  <a:lnTo>
                    <a:pt x="1320" y="756"/>
                  </a:lnTo>
                  <a:lnTo>
                    <a:pt x="1314" y="756"/>
                  </a:lnTo>
                  <a:lnTo>
                    <a:pt x="1314" y="762"/>
                  </a:lnTo>
                  <a:lnTo>
                    <a:pt x="1314" y="768"/>
                  </a:lnTo>
                  <a:lnTo>
                    <a:pt x="1320" y="768"/>
                  </a:lnTo>
                  <a:lnTo>
                    <a:pt x="1320" y="762"/>
                  </a:lnTo>
                  <a:lnTo>
                    <a:pt x="1320" y="768"/>
                  </a:lnTo>
                  <a:lnTo>
                    <a:pt x="1326" y="774"/>
                  </a:lnTo>
                  <a:lnTo>
                    <a:pt x="1332" y="774"/>
                  </a:lnTo>
                  <a:lnTo>
                    <a:pt x="1332" y="780"/>
                  </a:lnTo>
                  <a:lnTo>
                    <a:pt x="1332" y="786"/>
                  </a:lnTo>
                  <a:lnTo>
                    <a:pt x="1332" y="792"/>
                  </a:lnTo>
                  <a:lnTo>
                    <a:pt x="1338" y="786"/>
                  </a:lnTo>
                  <a:lnTo>
                    <a:pt x="1338" y="792"/>
                  </a:lnTo>
                  <a:lnTo>
                    <a:pt x="1344" y="798"/>
                  </a:lnTo>
                  <a:lnTo>
                    <a:pt x="1344" y="804"/>
                  </a:lnTo>
                  <a:lnTo>
                    <a:pt x="1344" y="810"/>
                  </a:lnTo>
                  <a:lnTo>
                    <a:pt x="1344" y="816"/>
                  </a:lnTo>
                  <a:lnTo>
                    <a:pt x="1344" y="822"/>
                  </a:lnTo>
                  <a:lnTo>
                    <a:pt x="1338" y="828"/>
                  </a:lnTo>
                  <a:lnTo>
                    <a:pt x="1332" y="828"/>
                  </a:lnTo>
                  <a:lnTo>
                    <a:pt x="1338" y="840"/>
                  </a:lnTo>
                  <a:lnTo>
                    <a:pt x="1344" y="846"/>
                  </a:lnTo>
                  <a:lnTo>
                    <a:pt x="1344" y="852"/>
                  </a:lnTo>
                  <a:lnTo>
                    <a:pt x="1350" y="852"/>
                  </a:lnTo>
                  <a:lnTo>
                    <a:pt x="1356" y="858"/>
                  </a:lnTo>
                  <a:lnTo>
                    <a:pt x="1362" y="858"/>
                  </a:lnTo>
                  <a:lnTo>
                    <a:pt x="1362" y="870"/>
                  </a:lnTo>
                  <a:lnTo>
                    <a:pt x="1356" y="870"/>
                  </a:lnTo>
                  <a:lnTo>
                    <a:pt x="1356" y="876"/>
                  </a:lnTo>
                  <a:lnTo>
                    <a:pt x="1350" y="876"/>
                  </a:lnTo>
                  <a:lnTo>
                    <a:pt x="1344" y="876"/>
                  </a:lnTo>
                  <a:lnTo>
                    <a:pt x="1344" y="882"/>
                  </a:lnTo>
                  <a:lnTo>
                    <a:pt x="1338" y="882"/>
                  </a:lnTo>
                  <a:lnTo>
                    <a:pt x="1338" y="888"/>
                  </a:lnTo>
                  <a:lnTo>
                    <a:pt x="1338" y="894"/>
                  </a:lnTo>
                  <a:lnTo>
                    <a:pt x="1344" y="900"/>
                  </a:lnTo>
                  <a:lnTo>
                    <a:pt x="1344" y="906"/>
                  </a:lnTo>
                  <a:lnTo>
                    <a:pt x="1338" y="906"/>
                  </a:lnTo>
                  <a:lnTo>
                    <a:pt x="1332" y="912"/>
                  </a:lnTo>
                  <a:lnTo>
                    <a:pt x="1332" y="918"/>
                  </a:lnTo>
                  <a:lnTo>
                    <a:pt x="1326" y="918"/>
                  </a:lnTo>
                  <a:lnTo>
                    <a:pt x="1332" y="924"/>
                  </a:lnTo>
                  <a:lnTo>
                    <a:pt x="1284" y="942"/>
                  </a:lnTo>
                  <a:lnTo>
                    <a:pt x="1236" y="948"/>
                  </a:lnTo>
                  <a:lnTo>
                    <a:pt x="1194" y="966"/>
                  </a:lnTo>
                  <a:lnTo>
                    <a:pt x="1170" y="1002"/>
                  </a:lnTo>
                  <a:lnTo>
                    <a:pt x="1134" y="1020"/>
                  </a:lnTo>
                  <a:lnTo>
                    <a:pt x="1116" y="1032"/>
                  </a:lnTo>
                  <a:lnTo>
                    <a:pt x="1098" y="1050"/>
                  </a:lnTo>
                  <a:lnTo>
                    <a:pt x="1074" y="1074"/>
                  </a:lnTo>
                  <a:lnTo>
                    <a:pt x="1008" y="1134"/>
                  </a:lnTo>
                  <a:lnTo>
                    <a:pt x="990" y="1158"/>
                  </a:lnTo>
                  <a:lnTo>
                    <a:pt x="978" y="1182"/>
                  </a:lnTo>
                  <a:lnTo>
                    <a:pt x="960" y="1194"/>
                  </a:lnTo>
                  <a:lnTo>
                    <a:pt x="942" y="1212"/>
                  </a:lnTo>
                  <a:lnTo>
                    <a:pt x="912" y="1242"/>
                  </a:lnTo>
                  <a:lnTo>
                    <a:pt x="888" y="1254"/>
                  </a:lnTo>
                  <a:lnTo>
                    <a:pt x="864" y="1278"/>
                  </a:lnTo>
                  <a:lnTo>
                    <a:pt x="828" y="1296"/>
                  </a:lnTo>
                  <a:lnTo>
                    <a:pt x="774" y="1308"/>
                  </a:lnTo>
                  <a:lnTo>
                    <a:pt x="732" y="1302"/>
                  </a:lnTo>
                  <a:lnTo>
                    <a:pt x="702" y="1284"/>
                  </a:lnTo>
                  <a:lnTo>
                    <a:pt x="684" y="12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1" name="Freeform 16">
              <a:extLst>
                <a:ext uri="{FF2B5EF4-FFF2-40B4-BE49-F238E27FC236}">
                  <a16:creationId xmlns:a16="http://schemas.microsoft.com/office/drawing/2014/main" id="{D8D8591A-D9DB-4301-BEBD-D8F5A26DA9E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3001" y="2929369"/>
              <a:ext cx="914601" cy="1037736"/>
            </a:xfrm>
            <a:custGeom>
              <a:avLst/>
              <a:gdLst>
                <a:gd name="T0" fmla="*/ 144 w 1722"/>
                <a:gd name="T1" fmla="*/ 131 h 1956"/>
                <a:gd name="T2" fmla="*/ 142 w 1722"/>
                <a:gd name="T3" fmla="*/ 139 h 1956"/>
                <a:gd name="T4" fmla="*/ 137 w 1722"/>
                <a:gd name="T5" fmla="*/ 143 h 1956"/>
                <a:gd name="T6" fmla="*/ 133 w 1722"/>
                <a:gd name="T7" fmla="*/ 147 h 1956"/>
                <a:gd name="T8" fmla="*/ 132 w 1722"/>
                <a:gd name="T9" fmla="*/ 152 h 1956"/>
                <a:gd name="T10" fmla="*/ 130 w 1722"/>
                <a:gd name="T11" fmla="*/ 159 h 1956"/>
                <a:gd name="T12" fmla="*/ 127 w 1722"/>
                <a:gd name="T13" fmla="*/ 164 h 1956"/>
                <a:gd name="T14" fmla="*/ 123 w 1722"/>
                <a:gd name="T15" fmla="*/ 168 h 1956"/>
                <a:gd name="T16" fmla="*/ 117 w 1722"/>
                <a:gd name="T17" fmla="*/ 169 h 1956"/>
                <a:gd name="T18" fmla="*/ 110 w 1722"/>
                <a:gd name="T19" fmla="*/ 168 h 1956"/>
                <a:gd name="T20" fmla="*/ 104 w 1722"/>
                <a:gd name="T21" fmla="*/ 166 h 1956"/>
                <a:gd name="T22" fmla="*/ 101 w 1722"/>
                <a:gd name="T23" fmla="*/ 159 h 1956"/>
                <a:gd name="T24" fmla="*/ 95 w 1722"/>
                <a:gd name="T25" fmla="*/ 156 h 1956"/>
                <a:gd name="T26" fmla="*/ 89 w 1722"/>
                <a:gd name="T27" fmla="*/ 151 h 1956"/>
                <a:gd name="T28" fmla="*/ 87 w 1722"/>
                <a:gd name="T29" fmla="*/ 144 h 1956"/>
                <a:gd name="T30" fmla="*/ 82 w 1722"/>
                <a:gd name="T31" fmla="*/ 141 h 1956"/>
                <a:gd name="T32" fmla="*/ 76 w 1722"/>
                <a:gd name="T33" fmla="*/ 134 h 1956"/>
                <a:gd name="T34" fmla="*/ 74 w 1722"/>
                <a:gd name="T35" fmla="*/ 143 h 1956"/>
                <a:gd name="T36" fmla="*/ 68 w 1722"/>
                <a:gd name="T37" fmla="*/ 147 h 1956"/>
                <a:gd name="T38" fmla="*/ 54 w 1722"/>
                <a:gd name="T39" fmla="*/ 144 h 1956"/>
                <a:gd name="T40" fmla="*/ 51 w 1722"/>
                <a:gd name="T41" fmla="*/ 142 h 1956"/>
                <a:gd name="T42" fmla="*/ 42 w 1722"/>
                <a:gd name="T43" fmla="*/ 151 h 1956"/>
                <a:gd name="T44" fmla="*/ 33 w 1722"/>
                <a:gd name="T45" fmla="*/ 154 h 1956"/>
                <a:gd name="T46" fmla="*/ 31 w 1722"/>
                <a:gd name="T47" fmla="*/ 159 h 1956"/>
                <a:gd name="T48" fmla="*/ 29 w 1722"/>
                <a:gd name="T49" fmla="*/ 166 h 1956"/>
                <a:gd name="T50" fmla="*/ 25 w 1722"/>
                <a:gd name="T51" fmla="*/ 169 h 1956"/>
                <a:gd name="T52" fmla="*/ 27 w 1722"/>
                <a:gd name="T53" fmla="*/ 154 h 1956"/>
                <a:gd name="T54" fmla="*/ 37 w 1722"/>
                <a:gd name="T55" fmla="*/ 133 h 1956"/>
                <a:gd name="T56" fmla="*/ 36 w 1722"/>
                <a:gd name="T57" fmla="*/ 109 h 1956"/>
                <a:gd name="T58" fmla="*/ 27 w 1722"/>
                <a:gd name="T59" fmla="*/ 101 h 1956"/>
                <a:gd name="T60" fmla="*/ 5 w 1722"/>
                <a:gd name="T61" fmla="*/ 98 h 1956"/>
                <a:gd name="T62" fmla="*/ 2 w 1722"/>
                <a:gd name="T63" fmla="*/ 93 h 1956"/>
                <a:gd name="T64" fmla="*/ 12 w 1722"/>
                <a:gd name="T65" fmla="*/ 82 h 1956"/>
                <a:gd name="T66" fmla="*/ 9 w 1722"/>
                <a:gd name="T67" fmla="*/ 74 h 1956"/>
                <a:gd name="T68" fmla="*/ 23 w 1722"/>
                <a:gd name="T69" fmla="*/ 72 h 1956"/>
                <a:gd name="T70" fmla="*/ 22 w 1722"/>
                <a:gd name="T71" fmla="*/ 67 h 1956"/>
                <a:gd name="T72" fmla="*/ 48 w 1722"/>
                <a:gd name="T73" fmla="*/ 57 h 1956"/>
                <a:gd name="T74" fmla="*/ 78 w 1722"/>
                <a:gd name="T75" fmla="*/ 34 h 1956"/>
                <a:gd name="T76" fmla="*/ 81 w 1722"/>
                <a:gd name="T77" fmla="*/ 31 h 1956"/>
                <a:gd name="T78" fmla="*/ 80 w 1722"/>
                <a:gd name="T79" fmla="*/ 26 h 1956"/>
                <a:gd name="T80" fmla="*/ 78 w 1722"/>
                <a:gd name="T81" fmla="*/ 21 h 1956"/>
                <a:gd name="T82" fmla="*/ 77 w 1722"/>
                <a:gd name="T83" fmla="*/ 18 h 1956"/>
                <a:gd name="T84" fmla="*/ 77 w 1722"/>
                <a:gd name="T85" fmla="*/ 12 h 1956"/>
                <a:gd name="T86" fmla="*/ 77 w 1722"/>
                <a:gd name="T87" fmla="*/ 7 h 1956"/>
                <a:gd name="T88" fmla="*/ 102 w 1722"/>
                <a:gd name="T89" fmla="*/ 2 h 1956"/>
                <a:gd name="T90" fmla="*/ 115 w 1722"/>
                <a:gd name="T91" fmla="*/ 3 h 1956"/>
                <a:gd name="T92" fmla="*/ 123 w 1722"/>
                <a:gd name="T93" fmla="*/ 3 h 1956"/>
                <a:gd name="T94" fmla="*/ 125 w 1722"/>
                <a:gd name="T95" fmla="*/ 9 h 1956"/>
                <a:gd name="T96" fmla="*/ 133 w 1722"/>
                <a:gd name="T97" fmla="*/ 13 h 1956"/>
                <a:gd name="T98" fmla="*/ 149 w 1722"/>
                <a:gd name="T99" fmla="*/ 37 h 1956"/>
                <a:gd name="T100" fmla="*/ 141 w 1722"/>
                <a:gd name="T101" fmla="*/ 57 h 1956"/>
                <a:gd name="T102" fmla="*/ 135 w 1722"/>
                <a:gd name="T103" fmla="*/ 63 h 1956"/>
                <a:gd name="T104" fmla="*/ 124 w 1722"/>
                <a:gd name="T105" fmla="*/ 77 h 1956"/>
                <a:gd name="T106" fmla="*/ 123 w 1722"/>
                <a:gd name="T107" fmla="*/ 96 h 1956"/>
                <a:gd name="T108" fmla="*/ 127 w 1722"/>
                <a:gd name="T109" fmla="*/ 97 h 1956"/>
                <a:gd name="T110" fmla="*/ 129 w 1722"/>
                <a:gd name="T111" fmla="*/ 92 h 1956"/>
                <a:gd name="T112" fmla="*/ 134 w 1722"/>
                <a:gd name="T113" fmla="*/ 94 h 1956"/>
                <a:gd name="T114" fmla="*/ 138 w 1722"/>
                <a:gd name="T115" fmla="*/ 99 h 1956"/>
                <a:gd name="T116" fmla="*/ 142 w 1722"/>
                <a:gd name="T117" fmla="*/ 104 h 1956"/>
                <a:gd name="T118" fmla="*/ 141 w 1722"/>
                <a:gd name="T119" fmla="*/ 115 h 19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722"/>
                <a:gd name="T181" fmla="*/ 0 h 1956"/>
                <a:gd name="T182" fmla="*/ 1722 w 1722"/>
                <a:gd name="T183" fmla="*/ 1956 h 19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722" h="1956">
                  <a:moveTo>
                    <a:pt x="1686" y="1404"/>
                  </a:moveTo>
                  <a:lnTo>
                    <a:pt x="1680" y="1416"/>
                  </a:lnTo>
                  <a:lnTo>
                    <a:pt x="1674" y="1422"/>
                  </a:lnTo>
                  <a:lnTo>
                    <a:pt x="1674" y="1428"/>
                  </a:lnTo>
                  <a:lnTo>
                    <a:pt x="1668" y="1428"/>
                  </a:lnTo>
                  <a:lnTo>
                    <a:pt x="1668" y="1434"/>
                  </a:lnTo>
                  <a:lnTo>
                    <a:pt x="1662" y="1446"/>
                  </a:lnTo>
                  <a:lnTo>
                    <a:pt x="1656" y="1464"/>
                  </a:lnTo>
                  <a:lnTo>
                    <a:pt x="1656" y="1476"/>
                  </a:lnTo>
                  <a:lnTo>
                    <a:pt x="1656" y="1488"/>
                  </a:lnTo>
                  <a:lnTo>
                    <a:pt x="1662" y="1500"/>
                  </a:lnTo>
                  <a:lnTo>
                    <a:pt x="1662" y="1506"/>
                  </a:lnTo>
                  <a:lnTo>
                    <a:pt x="1662" y="1524"/>
                  </a:lnTo>
                  <a:lnTo>
                    <a:pt x="1668" y="1542"/>
                  </a:lnTo>
                  <a:lnTo>
                    <a:pt x="1674" y="1560"/>
                  </a:lnTo>
                  <a:lnTo>
                    <a:pt x="1680" y="1578"/>
                  </a:lnTo>
                  <a:lnTo>
                    <a:pt x="1686" y="1578"/>
                  </a:lnTo>
                  <a:lnTo>
                    <a:pt x="1686" y="1584"/>
                  </a:lnTo>
                  <a:lnTo>
                    <a:pt x="1686" y="1590"/>
                  </a:lnTo>
                  <a:lnTo>
                    <a:pt x="1686" y="1596"/>
                  </a:lnTo>
                  <a:lnTo>
                    <a:pt x="1680" y="1596"/>
                  </a:lnTo>
                  <a:lnTo>
                    <a:pt x="1674" y="1602"/>
                  </a:lnTo>
                  <a:lnTo>
                    <a:pt x="1662" y="1602"/>
                  </a:lnTo>
                  <a:lnTo>
                    <a:pt x="1638" y="1596"/>
                  </a:lnTo>
                  <a:lnTo>
                    <a:pt x="1632" y="1596"/>
                  </a:lnTo>
                  <a:lnTo>
                    <a:pt x="1626" y="1602"/>
                  </a:lnTo>
                  <a:lnTo>
                    <a:pt x="1620" y="1602"/>
                  </a:lnTo>
                  <a:lnTo>
                    <a:pt x="1614" y="1602"/>
                  </a:lnTo>
                  <a:lnTo>
                    <a:pt x="1602" y="1602"/>
                  </a:lnTo>
                  <a:lnTo>
                    <a:pt x="1602" y="1608"/>
                  </a:lnTo>
                  <a:lnTo>
                    <a:pt x="1602" y="1620"/>
                  </a:lnTo>
                  <a:lnTo>
                    <a:pt x="1596" y="1620"/>
                  </a:lnTo>
                  <a:lnTo>
                    <a:pt x="1590" y="1620"/>
                  </a:lnTo>
                  <a:lnTo>
                    <a:pt x="1584" y="1626"/>
                  </a:lnTo>
                  <a:lnTo>
                    <a:pt x="1584" y="1632"/>
                  </a:lnTo>
                  <a:lnTo>
                    <a:pt x="1578" y="1644"/>
                  </a:lnTo>
                  <a:lnTo>
                    <a:pt x="1572" y="1644"/>
                  </a:lnTo>
                  <a:lnTo>
                    <a:pt x="1566" y="1644"/>
                  </a:lnTo>
                  <a:lnTo>
                    <a:pt x="1566" y="1650"/>
                  </a:lnTo>
                  <a:lnTo>
                    <a:pt x="1560" y="1650"/>
                  </a:lnTo>
                  <a:lnTo>
                    <a:pt x="1554" y="1650"/>
                  </a:lnTo>
                  <a:lnTo>
                    <a:pt x="1548" y="1650"/>
                  </a:lnTo>
                  <a:lnTo>
                    <a:pt x="1548" y="1656"/>
                  </a:lnTo>
                  <a:lnTo>
                    <a:pt x="1542" y="1668"/>
                  </a:lnTo>
                  <a:lnTo>
                    <a:pt x="1542" y="1674"/>
                  </a:lnTo>
                  <a:lnTo>
                    <a:pt x="1542" y="1692"/>
                  </a:lnTo>
                  <a:lnTo>
                    <a:pt x="1536" y="1698"/>
                  </a:lnTo>
                  <a:lnTo>
                    <a:pt x="1530" y="1698"/>
                  </a:lnTo>
                  <a:lnTo>
                    <a:pt x="1524" y="1698"/>
                  </a:lnTo>
                  <a:lnTo>
                    <a:pt x="1518" y="1704"/>
                  </a:lnTo>
                  <a:lnTo>
                    <a:pt x="1512" y="1710"/>
                  </a:lnTo>
                  <a:lnTo>
                    <a:pt x="1506" y="1722"/>
                  </a:lnTo>
                  <a:lnTo>
                    <a:pt x="1500" y="1728"/>
                  </a:lnTo>
                  <a:lnTo>
                    <a:pt x="1500" y="1734"/>
                  </a:lnTo>
                  <a:lnTo>
                    <a:pt x="1512" y="1734"/>
                  </a:lnTo>
                  <a:lnTo>
                    <a:pt x="1518" y="1740"/>
                  </a:lnTo>
                  <a:lnTo>
                    <a:pt x="1518" y="1746"/>
                  </a:lnTo>
                  <a:lnTo>
                    <a:pt x="1518" y="1752"/>
                  </a:lnTo>
                  <a:lnTo>
                    <a:pt x="1518" y="1758"/>
                  </a:lnTo>
                  <a:lnTo>
                    <a:pt x="1524" y="1758"/>
                  </a:lnTo>
                  <a:lnTo>
                    <a:pt x="1524" y="1764"/>
                  </a:lnTo>
                  <a:lnTo>
                    <a:pt x="1530" y="1770"/>
                  </a:lnTo>
                  <a:lnTo>
                    <a:pt x="1518" y="1770"/>
                  </a:lnTo>
                  <a:lnTo>
                    <a:pt x="1512" y="1782"/>
                  </a:lnTo>
                  <a:lnTo>
                    <a:pt x="1512" y="1788"/>
                  </a:lnTo>
                  <a:lnTo>
                    <a:pt x="1518" y="1788"/>
                  </a:lnTo>
                  <a:lnTo>
                    <a:pt x="1524" y="1800"/>
                  </a:lnTo>
                  <a:lnTo>
                    <a:pt x="1524" y="1806"/>
                  </a:lnTo>
                  <a:lnTo>
                    <a:pt x="1518" y="1812"/>
                  </a:lnTo>
                  <a:lnTo>
                    <a:pt x="1512" y="1818"/>
                  </a:lnTo>
                  <a:lnTo>
                    <a:pt x="1506" y="1818"/>
                  </a:lnTo>
                  <a:lnTo>
                    <a:pt x="1500" y="1824"/>
                  </a:lnTo>
                  <a:lnTo>
                    <a:pt x="1500" y="1836"/>
                  </a:lnTo>
                  <a:lnTo>
                    <a:pt x="1500" y="1842"/>
                  </a:lnTo>
                  <a:lnTo>
                    <a:pt x="1500" y="1848"/>
                  </a:lnTo>
                  <a:lnTo>
                    <a:pt x="1500" y="1854"/>
                  </a:lnTo>
                  <a:lnTo>
                    <a:pt x="1494" y="1860"/>
                  </a:lnTo>
                  <a:lnTo>
                    <a:pt x="1488" y="1860"/>
                  </a:lnTo>
                  <a:lnTo>
                    <a:pt x="1488" y="1866"/>
                  </a:lnTo>
                  <a:lnTo>
                    <a:pt x="1482" y="1872"/>
                  </a:lnTo>
                  <a:lnTo>
                    <a:pt x="1482" y="1878"/>
                  </a:lnTo>
                  <a:lnTo>
                    <a:pt x="1482" y="1884"/>
                  </a:lnTo>
                  <a:lnTo>
                    <a:pt x="1476" y="1890"/>
                  </a:lnTo>
                  <a:lnTo>
                    <a:pt x="1470" y="1890"/>
                  </a:lnTo>
                  <a:lnTo>
                    <a:pt x="1470" y="1896"/>
                  </a:lnTo>
                  <a:lnTo>
                    <a:pt x="1464" y="1896"/>
                  </a:lnTo>
                  <a:lnTo>
                    <a:pt x="1458" y="1896"/>
                  </a:lnTo>
                  <a:lnTo>
                    <a:pt x="1452" y="1896"/>
                  </a:lnTo>
                  <a:lnTo>
                    <a:pt x="1440" y="1890"/>
                  </a:lnTo>
                  <a:lnTo>
                    <a:pt x="1434" y="1896"/>
                  </a:lnTo>
                  <a:lnTo>
                    <a:pt x="1428" y="1896"/>
                  </a:lnTo>
                  <a:lnTo>
                    <a:pt x="1422" y="1896"/>
                  </a:lnTo>
                  <a:lnTo>
                    <a:pt x="1422" y="1902"/>
                  </a:lnTo>
                  <a:lnTo>
                    <a:pt x="1416" y="1902"/>
                  </a:lnTo>
                  <a:lnTo>
                    <a:pt x="1422" y="1914"/>
                  </a:lnTo>
                  <a:lnTo>
                    <a:pt x="1422" y="1932"/>
                  </a:lnTo>
                  <a:lnTo>
                    <a:pt x="1416" y="1938"/>
                  </a:lnTo>
                  <a:lnTo>
                    <a:pt x="1422" y="1938"/>
                  </a:lnTo>
                  <a:lnTo>
                    <a:pt x="1404" y="1938"/>
                  </a:lnTo>
                  <a:lnTo>
                    <a:pt x="1392" y="1944"/>
                  </a:lnTo>
                  <a:lnTo>
                    <a:pt x="1386" y="1944"/>
                  </a:lnTo>
                  <a:lnTo>
                    <a:pt x="1374" y="1944"/>
                  </a:lnTo>
                  <a:lnTo>
                    <a:pt x="1368" y="1950"/>
                  </a:lnTo>
                  <a:lnTo>
                    <a:pt x="1374" y="1956"/>
                  </a:lnTo>
                  <a:lnTo>
                    <a:pt x="1368" y="1956"/>
                  </a:lnTo>
                  <a:lnTo>
                    <a:pt x="1356" y="1956"/>
                  </a:lnTo>
                  <a:lnTo>
                    <a:pt x="1350" y="1956"/>
                  </a:lnTo>
                  <a:lnTo>
                    <a:pt x="1350" y="1950"/>
                  </a:lnTo>
                  <a:lnTo>
                    <a:pt x="1344" y="1944"/>
                  </a:lnTo>
                  <a:lnTo>
                    <a:pt x="1332" y="1938"/>
                  </a:lnTo>
                  <a:lnTo>
                    <a:pt x="1326" y="1938"/>
                  </a:lnTo>
                  <a:lnTo>
                    <a:pt x="1320" y="1938"/>
                  </a:lnTo>
                  <a:lnTo>
                    <a:pt x="1314" y="1944"/>
                  </a:lnTo>
                  <a:lnTo>
                    <a:pt x="1308" y="1944"/>
                  </a:lnTo>
                  <a:lnTo>
                    <a:pt x="1302" y="1944"/>
                  </a:lnTo>
                  <a:lnTo>
                    <a:pt x="1296" y="1938"/>
                  </a:lnTo>
                  <a:lnTo>
                    <a:pt x="1284" y="1938"/>
                  </a:lnTo>
                  <a:lnTo>
                    <a:pt x="1278" y="1938"/>
                  </a:lnTo>
                  <a:lnTo>
                    <a:pt x="1272" y="1938"/>
                  </a:lnTo>
                  <a:lnTo>
                    <a:pt x="1266" y="1932"/>
                  </a:lnTo>
                  <a:lnTo>
                    <a:pt x="1260" y="1932"/>
                  </a:lnTo>
                  <a:lnTo>
                    <a:pt x="1254" y="1920"/>
                  </a:lnTo>
                  <a:lnTo>
                    <a:pt x="1248" y="1920"/>
                  </a:lnTo>
                  <a:lnTo>
                    <a:pt x="1242" y="1920"/>
                  </a:lnTo>
                  <a:lnTo>
                    <a:pt x="1236" y="1926"/>
                  </a:lnTo>
                  <a:lnTo>
                    <a:pt x="1236" y="1932"/>
                  </a:lnTo>
                  <a:lnTo>
                    <a:pt x="1230" y="1932"/>
                  </a:lnTo>
                  <a:lnTo>
                    <a:pt x="1224" y="1932"/>
                  </a:lnTo>
                  <a:lnTo>
                    <a:pt x="1218" y="1938"/>
                  </a:lnTo>
                  <a:lnTo>
                    <a:pt x="1212" y="1932"/>
                  </a:lnTo>
                  <a:lnTo>
                    <a:pt x="1206" y="1926"/>
                  </a:lnTo>
                  <a:lnTo>
                    <a:pt x="1206" y="1908"/>
                  </a:lnTo>
                  <a:lnTo>
                    <a:pt x="1206" y="1884"/>
                  </a:lnTo>
                  <a:lnTo>
                    <a:pt x="1206" y="1866"/>
                  </a:lnTo>
                  <a:lnTo>
                    <a:pt x="1212" y="1848"/>
                  </a:lnTo>
                  <a:lnTo>
                    <a:pt x="1212" y="1842"/>
                  </a:lnTo>
                  <a:lnTo>
                    <a:pt x="1206" y="1836"/>
                  </a:lnTo>
                  <a:lnTo>
                    <a:pt x="1200" y="1830"/>
                  </a:lnTo>
                  <a:lnTo>
                    <a:pt x="1194" y="1824"/>
                  </a:lnTo>
                  <a:lnTo>
                    <a:pt x="1188" y="1824"/>
                  </a:lnTo>
                  <a:lnTo>
                    <a:pt x="1182" y="1824"/>
                  </a:lnTo>
                  <a:lnTo>
                    <a:pt x="1176" y="1824"/>
                  </a:lnTo>
                  <a:lnTo>
                    <a:pt x="1170" y="1818"/>
                  </a:lnTo>
                  <a:lnTo>
                    <a:pt x="1164" y="1830"/>
                  </a:lnTo>
                  <a:lnTo>
                    <a:pt x="1152" y="1836"/>
                  </a:lnTo>
                  <a:lnTo>
                    <a:pt x="1146" y="1842"/>
                  </a:lnTo>
                  <a:lnTo>
                    <a:pt x="1140" y="1842"/>
                  </a:lnTo>
                  <a:lnTo>
                    <a:pt x="1134" y="1842"/>
                  </a:lnTo>
                  <a:lnTo>
                    <a:pt x="1128" y="1842"/>
                  </a:lnTo>
                  <a:lnTo>
                    <a:pt x="1116" y="1836"/>
                  </a:lnTo>
                  <a:lnTo>
                    <a:pt x="1110" y="1842"/>
                  </a:lnTo>
                  <a:lnTo>
                    <a:pt x="1092" y="1830"/>
                  </a:lnTo>
                  <a:lnTo>
                    <a:pt x="1092" y="1824"/>
                  </a:lnTo>
                  <a:lnTo>
                    <a:pt x="1092" y="1806"/>
                  </a:lnTo>
                  <a:lnTo>
                    <a:pt x="1092" y="1800"/>
                  </a:lnTo>
                  <a:lnTo>
                    <a:pt x="1092" y="1794"/>
                  </a:lnTo>
                  <a:lnTo>
                    <a:pt x="1086" y="1788"/>
                  </a:lnTo>
                  <a:lnTo>
                    <a:pt x="1080" y="1794"/>
                  </a:lnTo>
                  <a:lnTo>
                    <a:pt x="1074" y="1788"/>
                  </a:lnTo>
                  <a:lnTo>
                    <a:pt x="1068" y="1770"/>
                  </a:lnTo>
                  <a:lnTo>
                    <a:pt x="1056" y="1764"/>
                  </a:lnTo>
                  <a:lnTo>
                    <a:pt x="1050" y="1764"/>
                  </a:lnTo>
                  <a:lnTo>
                    <a:pt x="1044" y="1764"/>
                  </a:lnTo>
                  <a:lnTo>
                    <a:pt x="1038" y="1758"/>
                  </a:lnTo>
                  <a:lnTo>
                    <a:pt x="1032" y="1752"/>
                  </a:lnTo>
                  <a:lnTo>
                    <a:pt x="1032" y="1746"/>
                  </a:lnTo>
                  <a:lnTo>
                    <a:pt x="1032" y="1740"/>
                  </a:lnTo>
                  <a:lnTo>
                    <a:pt x="1032" y="1734"/>
                  </a:lnTo>
                  <a:lnTo>
                    <a:pt x="1026" y="1734"/>
                  </a:lnTo>
                  <a:lnTo>
                    <a:pt x="1032" y="1728"/>
                  </a:lnTo>
                  <a:lnTo>
                    <a:pt x="1032" y="1722"/>
                  </a:lnTo>
                  <a:lnTo>
                    <a:pt x="1044" y="1686"/>
                  </a:lnTo>
                  <a:lnTo>
                    <a:pt x="1044" y="1680"/>
                  </a:lnTo>
                  <a:lnTo>
                    <a:pt x="1032" y="1674"/>
                  </a:lnTo>
                  <a:lnTo>
                    <a:pt x="1026" y="1674"/>
                  </a:lnTo>
                  <a:lnTo>
                    <a:pt x="1026" y="1668"/>
                  </a:lnTo>
                  <a:lnTo>
                    <a:pt x="1020" y="1662"/>
                  </a:lnTo>
                  <a:lnTo>
                    <a:pt x="1014" y="1668"/>
                  </a:lnTo>
                  <a:lnTo>
                    <a:pt x="1008" y="1662"/>
                  </a:lnTo>
                  <a:lnTo>
                    <a:pt x="1002" y="1662"/>
                  </a:lnTo>
                  <a:lnTo>
                    <a:pt x="1002" y="1668"/>
                  </a:lnTo>
                  <a:lnTo>
                    <a:pt x="996" y="1668"/>
                  </a:lnTo>
                  <a:lnTo>
                    <a:pt x="996" y="1662"/>
                  </a:lnTo>
                  <a:lnTo>
                    <a:pt x="984" y="1662"/>
                  </a:lnTo>
                  <a:lnTo>
                    <a:pt x="984" y="1656"/>
                  </a:lnTo>
                  <a:lnTo>
                    <a:pt x="978" y="1650"/>
                  </a:lnTo>
                  <a:lnTo>
                    <a:pt x="978" y="1644"/>
                  </a:lnTo>
                  <a:lnTo>
                    <a:pt x="966" y="1650"/>
                  </a:lnTo>
                  <a:lnTo>
                    <a:pt x="960" y="1638"/>
                  </a:lnTo>
                  <a:lnTo>
                    <a:pt x="954" y="1632"/>
                  </a:lnTo>
                  <a:lnTo>
                    <a:pt x="948" y="1632"/>
                  </a:lnTo>
                  <a:lnTo>
                    <a:pt x="942" y="1626"/>
                  </a:lnTo>
                  <a:lnTo>
                    <a:pt x="942" y="1614"/>
                  </a:lnTo>
                  <a:lnTo>
                    <a:pt x="930" y="1608"/>
                  </a:lnTo>
                  <a:lnTo>
                    <a:pt x="924" y="1614"/>
                  </a:lnTo>
                  <a:lnTo>
                    <a:pt x="912" y="1608"/>
                  </a:lnTo>
                  <a:lnTo>
                    <a:pt x="888" y="1590"/>
                  </a:lnTo>
                  <a:lnTo>
                    <a:pt x="894" y="1578"/>
                  </a:lnTo>
                  <a:lnTo>
                    <a:pt x="894" y="1572"/>
                  </a:lnTo>
                  <a:lnTo>
                    <a:pt x="894" y="1566"/>
                  </a:lnTo>
                  <a:lnTo>
                    <a:pt x="894" y="1548"/>
                  </a:lnTo>
                  <a:lnTo>
                    <a:pt x="888" y="1548"/>
                  </a:lnTo>
                  <a:lnTo>
                    <a:pt x="882" y="1542"/>
                  </a:lnTo>
                  <a:lnTo>
                    <a:pt x="876" y="1542"/>
                  </a:lnTo>
                  <a:lnTo>
                    <a:pt x="876" y="1536"/>
                  </a:lnTo>
                  <a:lnTo>
                    <a:pt x="870" y="1542"/>
                  </a:lnTo>
                  <a:lnTo>
                    <a:pt x="870" y="1554"/>
                  </a:lnTo>
                  <a:lnTo>
                    <a:pt x="870" y="1566"/>
                  </a:lnTo>
                  <a:lnTo>
                    <a:pt x="870" y="1578"/>
                  </a:lnTo>
                  <a:lnTo>
                    <a:pt x="870" y="1584"/>
                  </a:lnTo>
                  <a:lnTo>
                    <a:pt x="864" y="1584"/>
                  </a:lnTo>
                  <a:lnTo>
                    <a:pt x="870" y="1602"/>
                  </a:lnTo>
                  <a:lnTo>
                    <a:pt x="864" y="1608"/>
                  </a:lnTo>
                  <a:lnTo>
                    <a:pt x="870" y="1614"/>
                  </a:lnTo>
                  <a:lnTo>
                    <a:pt x="864" y="1644"/>
                  </a:lnTo>
                  <a:lnTo>
                    <a:pt x="858" y="1650"/>
                  </a:lnTo>
                  <a:lnTo>
                    <a:pt x="858" y="1656"/>
                  </a:lnTo>
                  <a:lnTo>
                    <a:pt x="852" y="1662"/>
                  </a:lnTo>
                  <a:lnTo>
                    <a:pt x="852" y="1680"/>
                  </a:lnTo>
                  <a:lnTo>
                    <a:pt x="846" y="1686"/>
                  </a:lnTo>
                  <a:lnTo>
                    <a:pt x="834" y="1692"/>
                  </a:lnTo>
                  <a:lnTo>
                    <a:pt x="828" y="1692"/>
                  </a:lnTo>
                  <a:lnTo>
                    <a:pt x="822" y="1698"/>
                  </a:lnTo>
                  <a:lnTo>
                    <a:pt x="822" y="1704"/>
                  </a:lnTo>
                  <a:lnTo>
                    <a:pt x="816" y="1704"/>
                  </a:lnTo>
                  <a:lnTo>
                    <a:pt x="804" y="1692"/>
                  </a:lnTo>
                  <a:lnTo>
                    <a:pt x="786" y="1698"/>
                  </a:lnTo>
                  <a:lnTo>
                    <a:pt x="780" y="1698"/>
                  </a:lnTo>
                  <a:lnTo>
                    <a:pt x="756" y="1698"/>
                  </a:lnTo>
                  <a:lnTo>
                    <a:pt x="744" y="1698"/>
                  </a:lnTo>
                  <a:lnTo>
                    <a:pt x="738" y="1698"/>
                  </a:lnTo>
                  <a:lnTo>
                    <a:pt x="732" y="1704"/>
                  </a:lnTo>
                  <a:lnTo>
                    <a:pt x="726" y="1704"/>
                  </a:lnTo>
                  <a:lnTo>
                    <a:pt x="678" y="1710"/>
                  </a:lnTo>
                  <a:lnTo>
                    <a:pt x="642" y="1710"/>
                  </a:lnTo>
                  <a:lnTo>
                    <a:pt x="618" y="1680"/>
                  </a:lnTo>
                  <a:lnTo>
                    <a:pt x="618" y="1674"/>
                  </a:lnTo>
                  <a:lnTo>
                    <a:pt x="618" y="1668"/>
                  </a:lnTo>
                  <a:lnTo>
                    <a:pt x="624" y="1662"/>
                  </a:lnTo>
                  <a:lnTo>
                    <a:pt x="624" y="1656"/>
                  </a:lnTo>
                  <a:lnTo>
                    <a:pt x="624" y="1650"/>
                  </a:lnTo>
                  <a:lnTo>
                    <a:pt x="618" y="1650"/>
                  </a:lnTo>
                  <a:lnTo>
                    <a:pt x="618" y="1644"/>
                  </a:lnTo>
                  <a:lnTo>
                    <a:pt x="618" y="1638"/>
                  </a:lnTo>
                  <a:lnTo>
                    <a:pt x="618" y="1632"/>
                  </a:lnTo>
                  <a:lnTo>
                    <a:pt x="618" y="1626"/>
                  </a:lnTo>
                  <a:lnTo>
                    <a:pt x="612" y="1626"/>
                  </a:lnTo>
                  <a:lnTo>
                    <a:pt x="612" y="1620"/>
                  </a:lnTo>
                  <a:lnTo>
                    <a:pt x="606" y="1614"/>
                  </a:lnTo>
                  <a:lnTo>
                    <a:pt x="594" y="1626"/>
                  </a:lnTo>
                  <a:lnTo>
                    <a:pt x="594" y="1632"/>
                  </a:lnTo>
                  <a:lnTo>
                    <a:pt x="588" y="1638"/>
                  </a:lnTo>
                  <a:lnTo>
                    <a:pt x="582" y="1638"/>
                  </a:lnTo>
                  <a:lnTo>
                    <a:pt x="564" y="1656"/>
                  </a:lnTo>
                  <a:lnTo>
                    <a:pt x="558" y="1662"/>
                  </a:lnTo>
                  <a:lnTo>
                    <a:pt x="552" y="1662"/>
                  </a:lnTo>
                  <a:lnTo>
                    <a:pt x="540" y="1674"/>
                  </a:lnTo>
                  <a:lnTo>
                    <a:pt x="534" y="1680"/>
                  </a:lnTo>
                  <a:lnTo>
                    <a:pt x="522" y="1692"/>
                  </a:lnTo>
                  <a:lnTo>
                    <a:pt x="516" y="1704"/>
                  </a:lnTo>
                  <a:lnTo>
                    <a:pt x="510" y="1704"/>
                  </a:lnTo>
                  <a:lnTo>
                    <a:pt x="504" y="1704"/>
                  </a:lnTo>
                  <a:lnTo>
                    <a:pt x="486" y="1722"/>
                  </a:lnTo>
                  <a:lnTo>
                    <a:pt x="480" y="1740"/>
                  </a:lnTo>
                  <a:lnTo>
                    <a:pt x="474" y="1740"/>
                  </a:lnTo>
                  <a:lnTo>
                    <a:pt x="468" y="1746"/>
                  </a:lnTo>
                  <a:lnTo>
                    <a:pt x="456" y="1758"/>
                  </a:lnTo>
                  <a:lnTo>
                    <a:pt x="444" y="1770"/>
                  </a:lnTo>
                  <a:lnTo>
                    <a:pt x="438" y="1782"/>
                  </a:lnTo>
                  <a:lnTo>
                    <a:pt x="426" y="1788"/>
                  </a:lnTo>
                  <a:lnTo>
                    <a:pt x="420" y="1788"/>
                  </a:lnTo>
                  <a:lnTo>
                    <a:pt x="420" y="1782"/>
                  </a:lnTo>
                  <a:lnTo>
                    <a:pt x="414" y="1782"/>
                  </a:lnTo>
                  <a:lnTo>
                    <a:pt x="390" y="1782"/>
                  </a:lnTo>
                  <a:lnTo>
                    <a:pt x="390" y="1776"/>
                  </a:lnTo>
                  <a:lnTo>
                    <a:pt x="384" y="1776"/>
                  </a:lnTo>
                  <a:lnTo>
                    <a:pt x="378" y="1776"/>
                  </a:lnTo>
                  <a:lnTo>
                    <a:pt x="372" y="1776"/>
                  </a:lnTo>
                  <a:lnTo>
                    <a:pt x="366" y="1770"/>
                  </a:lnTo>
                  <a:lnTo>
                    <a:pt x="366" y="1776"/>
                  </a:lnTo>
                  <a:lnTo>
                    <a:pt x="360" y="1788"/>
                  </a:lnTo>
                  <a:lnTo>
                    <a:pt x="360" y="1794"/>
                  </a:lnTo>
                  <a:lnTo>
                    <a:pt x="360" y="1800"/>
                  </a:lnTo>
                  <a:lnTo>
                    <a:pt x="354" y="1806"/>
                  </a:lnTo>
                  <a:lnTo>
                    <a:pt x="354" y="1812"/>
                  </a:lnTo>
                  <a:lnTo>
                    <a:pt x="354" y="1824"/>
                  </a:lnTo>
                  <a:lnTo>
                    <a:pt x="348" y="1830"/>
                  </a:lnTo>
                  <a:lnTo>
                    <a:pt x="354" y="1836"/>
                  </a:lnTo>
                  <a:lnTo>
                    <a:pt x="348" y="1842"/>
                  </a:lnTo>
                  <a:lnTo>
                    <a:pt x="354" y="1848"/>
                  </a:lnTo>
                  <a:lnTo>
                    <a:pt x="348" y="1854"/>
                  </a:lnTo>
                  <a:lnTo>
                    <a:pt x="354" y="1854"/>
                  </a:lnTo>
                  <a:lnTo>
                    <a:pt x="348" y="1860"/>
                  </a:lnTo>
                  <a:lnTo>
                    <a:pt x="348" y="1866"/>
                  </a:lnTo>
                  <a:lnTo>
                    <a:pt x="342" y="1866"/>
                  </a:lnTo>
                  <a:lnTo>
                    <a:pt x="342" y="1872"/>
                  </a:lnTo>
                  <a:lnTo>
                    <a:pt x="342" y="1878"/>
                  </a:lnTo>
                  <a:lnTo>
                    <a:pt x="342" y="1884"/>
                  </a:lnTo>
                  <a:lnTo>
                    <a:pt x="336" y="1896"/>
                  </a:lnTo>
                  <a:lnTo>
                    <a:pt x="330" y="1914"/>
                  </a:lnTo>
                  <a:lnTo>
                    <a:pt x="324" y="1920"/>
                  </a:lnTo>
                  <a:lnTo>
                    <a:pt x="324" y="1926"/>
                  </a:lnTo>
                  <a:lnTo>
                    <a:pt x="318" y="1944"/>
                  </a:lnTo>
                  <a:lnTo>
                    <a:pt x="318" y="1950"/>
                  </a:lnTo>
                  <a:lnTo>
                    <a:pt x="312" y="1956"/>
                  </a:lnTo>
                  <a:lnTo>
                    <a:pt x="312" y="1950"/>
                  </a:lnTo>
                  <a:lnTo>
                    <a:pt x="306" y="1950"/>
                  </a:lnTo>
                  <a:lnTo>
                    <a:pt x="306" y="1956"/>
                  </a:lnTo>
                  <a:lnTo>
                    <a:pt x="300" y="1950"/>
                  </a:lnTo>
                  <a:lnTo>
                    <a:pt x="294" y="1956"/>
                  </a:lnTo>
                  <a:lnTo>
                    <a:pt x="288" y="1950"/>
                  </a:lnTo>
                  <a:lnTo>
                    <a:pt x="288" y="1944"/>
                  </a:lnTo>
                  <a:lnTo>
                    <a:pt x="282" y="1938"/>
                  </a:lnTo>
                  <a:lnTo>
                    <a:pt x="282" y="1932"/>
                  </a:lnTo>
                  <a:lnTo>
                    <a:pt x="282" y="1890"/>
                  </a:lnTo>
                  <a:lnTo>
                    <a:pt x="288" y="1860"/>
                  </a:lnTo>
                  <a:lnTo>
                    <a:pt x="294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300" y="1818"/>
                  </a:lnTo>
                  <a:lnTo>
                    <a:pt x="306" y="1794"/>
                  </a:lnTo>
                  <a:lnTo>
                    <a:pt x="306" y="1788"/>
                  </a:lnTo>
                  <a:lnTo>
                    <a:pt x="306" y="1782"/>
                  </a:lnTo>
                  <a:lnTo>
                    <a:pt x="312" y="1776"/>
                  </a:lnTo>
                  <a:lnTo>
                    <a:pt x="306" y="1776"/>
                  </a:lnTo>
                  <a:lnTo>
                    <a:pt x="312" y="1770"/>
                  </a:lnTo>
                  <a:lnTo>
                    <a:pt x="312" y="1740"/>
                  </a:lnTo>
                  <a:lnTo>
                    <a:pt x="318" y="1722"/>
                  </a:lnTo>
                  <a:lnTo>
                    <a:pt x="312" y="1722"/>
                  </a:lnTo>
                  <a:lnTo>
                    <a:pt x="300" y="1716"/>
                  </a:lnTo>
                  <a:lnTo>
                    <a:pt x="306" y="1716"/>
                  </a:lnTo>
                  <a:lnTo>
                    <a:pt x="312" y="1710"/>
                  </a:lnTo>
                  <a:lnTo>
                    <a:pt x="324" y="1674"/>
                  </a:lnTo>
                  <a:lnTo>
                    <a:pt x="366" y="1590"/>
                  </a:lnTo>
                  <a:lnTo>
                    <a:pt x="408" y="1548"/>
                  </a:lnTo>
                  <a:lnTo>
                    <a:pt x="426" y="1530"/>
                  </a:lnTo>
                  <a:lnTo>
                    <a:pt x="432" y="1500"/>
                  </a:lnTo>
                  <a:lnTo>
                    <a:pt x="426" y="1494"/>
                  </a:lnTo>
                  <a:lnTo>
                    <a:pt x="426" y="1482"/>
                  </a:lnTo>
                  <a:lnTo>
                    <a:pt x="432" y="1464"/>
                  </a:lnTo>
                  <a:lnTo>
                    <a:pt x="438" y="1428"/>
                  </a:lnTo>
                  <a:lnTo>
                    <a:pt x="462" y="1398"/>
                  </a:lnTo>
                  <a:lnTo>
                    <a:pt x="468" y="1362"/>
                  </a:lnTo>
                  <a:lnTo>
                    <a:pt x="462" y="1314"/>
                  </a:lnTo>
                  <a:lnTo>
                    <a:pt x="444" y="1284"/>
                  </a:lnTo>
                  <a:lnTo>
                    <a:pt x="432" y="1260"/>
                  </a:lnTo>
                  <a:lnTo>
                    <a:pt x="426" y="1260"/>
                  </a:lnTo>
                  <a:lnTo>
                    <a:pt x="420" y="1254"/>
                  </a:lnTo>
                  <a:lnTo>
                    <a:pt x="408" y="1260"/>
                  </a:lnTo>
                  <a:lnTo>
                    <a:pt x="402" y="1260"/>
                  </a:lnTo>
                  <a:lnTo>
                    <a:pt x="402" y="1254"/>
                  </a:lnTo>
                  <a:lnTo>
                    <a:pt x="396" y="1254"/>
                  </a:lnTo>
                  <a:lnTo>
                    <a:pt x="396" y="1248"/>
                  </a:lnTo>
                  <a:lnTo>
                    <a:pt x="384" y="1248"/>
                  </a:lnTo>
                  <a:lnTo>
                    <a:pt x="372" y="1230"/>
                  </a:lnTo>
                  <a:lnTo>
                    <a:pt x="360" y="1212"/>
                  </a:lnTo>
                  <a:lnTo>
                    <a:pt x="348" y="1188"/>
                  </a:lnTo>
                  <a:lnTo>
                    <a:pt x="324" y="1170"/>
                  </a:lnTo>
                  <a:lnTo>
                    <a:pt x="318" y="1170"/>
                  </a:lnTo>
                  <a:lnTo>
                    <a:pt x="312" y="1158"/>
                  </a:lnTo>
                  <a:lnTo>
                    <a:pt x="312" y="1152"/>
                  </a:lnTo>
                  <a:lnTo>
                    <a:pt x="306" y="1146"/>
                  </a:lnTo>
                  <a:lnTo>
                    <a:pt x="270" y="1122"/>
                  </a:lnTo>
                  <a:lnTo>
                    <a:pt x="240" y="1122"/>
                  </a:lnTo>
                  <a:lnTo>
                    <a:pt x="180" y="1116"/>
                  </a:lnTo>
                  <a:lnTo>
                    <a:pt x="174" y="1122"/>
                  </a:lnTo>
                  <a:lnTo>
                    <a:pt x="174" y="1128"/>
                  </a:lnTo>
                  <a:lnTo>
                    <a:pt x="168" y="1122"/>
                  </a:lnTo>
                  <a:lnTo>
                    <a:pt x="162" y="1116"/>
                  </a:lnTo>
                  <a:lnTo>
                    <a:pt x="144" y="1122"/>
                  </a:lnTo>
                  <a:lnTo>
                    <a:pt x="120" y="1122"/>
                  </a:lnTo>
                  <a:lnTo>
                    <a:pt x="54" y="1134"/>
                  </a:lnTo>
                  <a:lnTo>
                    <a:pt x="24" y="1152"/>
                  </a:lnTo>
                  <a:lnTo>
                    <a:pt x="6" y="1146"/>
                  </a:lnTo>
                  <a:lnTo>
                    <a:pt x="0" y="1134"/>
                  </a:lnTo>
                  <a:lnTo>
                    <a:pt x="0" y="1128"/>
                  </a:lnTo>
                  <a:lnTo>
                    <a:pt x="18" y="1110"/>
                  </a:lnTo>
                  <a:lnTo>
                    <a:pt x="24" y="1104"/>
                  </a:lnTo>
                  <a:lnTo>
                    <a:pt x="24" y="1098"/>
                  </a:lnTo>
                  <a:lnTo>
                    <a:pt x="30" y="1086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24" y="1074"/>
                  </a:lnTo>
                  <a:lnTo>
                    <a:pt x="18" y="1068"/>
                  </a:lnTo>
                  <a:lnTo>
                    <a:pt x="24" y="1062"/>
                  </a:lnTo>
                  <a:lnTo>
                    <a:pt x="42" y="1056"/>
                  </a:lnTo>
                  <a:lnTo>
                    <a:pt x="54" y="1050"/>
                  </a:lnTo>
                  <a:lnTo>
                    <a:pt x="72" y="1044"/>
                  </a:lnTo>
                  <a:lnTo>
                    <a:pt x="96" y="1032"/>
                  </a:lnTo>
                  <a:lnTo>
                    <a:pt x="102" y="1032"/>
                  </a:lnTo>
                  <a:lnTo>
                    <a:pt x="126" y="1008"/>
                  </a:lnTo>
                  <a:lnTo>
                    <a:pt x="144" y="990"/>
                  </a:lnTo>
                  <a:lnTo>
                    <a:pt x="156" y="978"/>
                  </a:lnTo>
                  <a:lnTo>
                    <a:pt x="156" y="966"/>
                  </a:lnTo>
                  <a:lnTo>
                    <a:pt x="150" y="960"/>
                  </a:lnTo>
                  <a:lnTo>
                    <a:pt x="144" y="948"/>
                  </a:lnTo>
                  <a:lnTo>
                    <a:pt x="144" y="936"/>
                  </a:lnTo>
                  <a:lnTo>
                    <a:pt x="138" y="918"/>
                  </a:lnTo>
                  <a:lnTo>
                    <a:pt x="150" y="912"/>
                  </a:lnTo>
                  <a:lnTo>
                    <a:pt x="150" y="894"/>
                  </a:lnTo>
                  <a:lnTo>
                    <a:pt x="132" y="876"/>
                  </a:lnTo>
                  <a:lnTo>
                    <a:pt x="126" y="876"/>
                  </a:lnTo>
                  <a:lnTo>
                    <a:pt x="120" y="870"/>
                  </a:lnTo>
                  <a:lnTo>
                    <a:pt x="120" y="864"/>
                  </a:lnTo>
                  <a:lnTo>
                    <a:pt x="114" y="864"/>
                  </a:lnTo>
                  <a:lnTo>
                    <a:pt x="108" y="864"/>
                  </a:lnTo>
                  <a:lnTo>
                    <a:pt x="108" y="858"/>
                  </a:lnTo>
                  <a:lnTo>
                    <a:pt x="102" y="852"/>
                  </a:lnTo>
                  <a:lnTo>
                    <a:pt x="96" y="852"/>
                  </a:lnTo>
                  <a:lnTo>
                    <a:pt x="102" y="834"/>
                  </a:lnTo>
                  <a:lnTo>
                    <a:pt x="108" y="816"/>
                  </a:lnTo>
                  <a:lnTo>
                    <a:pt x="114" y="804"/>
                  </a:lnTo>
                  <a:lnTo>
                    <a:pt x="132" y="798"/>
                  </a:lnTo>
                  <a:lnTo>
                    <a:pt x="144" y="798"/>
                  </a:lnTo>
                  <a:lnTo>
                    <a:pt x="180" y="810"/>
                  </a:lnTo>
                  <a:lnTo>
                    <a:pt x="192" y="816"/>
                  </a:lnTo>
                  <a:lnTo>
                    <a:pt x="234" y="822"/>
                  </a:lnTo>
                  <a:lnTo>
                    <a:pt x="264" y="828"/>
                  </a:lnTo>
                  <a:lnTo>
                    <a:pt x="270" y="840"/>
                  </a:lnTo>
                  <a:lnTo>
                    <a:pt x="270" y="834"/>
                  </a:lnTo>
                  <a:lnTo>
                    <a:pt x="270" y="828"/>
                  </a:lnTo>
                  <a:lnTo>
                    <a:pt x="270" y="822"/>
                  </a:lnTo>
                  <a:lnTo>
                    <a:pt x="270" y="816"/>
                  </a:lnTo>
                  <a:lnTo>
                    <a:pt x="264" y="810"/>
                  </a:lnTo>
                  <a:lnTo>
                    <a:pt x="264" y="804"/>
                  </a:lnTo>
                  <a:lnTo>
                    <a:pt x="264" y="798"/>
                  </a:lnTo>
                  <a:lnTo>
                    <a:pt x="258" y="792"/>
                  </a:lnTo>
                  <a:lnTo>
                    <a:pt x="258" y="786"/>
                  </a:lnTo>
                  <a:lnTo>
                    <a:pt x="264" y="786"/>
                  </a:lnTo>
                  <a:lnTo>
                    <a:pt x="264" y="780"/>
                  </a:lnTo>
                  <a:lnTo>
                    <a:pt x="258" y="774"/>
                  </a:lnTo>
                  <a:lnTo>
                    <a:pt x="258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82" y="762"/>
                  </a:lnTo>
                  <a:lnTo>
                    <a:pt x="312" y="780"/>
                  </a:lnTo>
                  <a:lnTo>
                    <a:pt x="354" y="786"/>
                  </a:lnTo>
                  <a:lnTo>
                    <a:pt x="408" y="774"/>
                  </a:lnTo>
                  <a:lnTo>
                    <a:pt x="444" y="756"/>
                  </a:lnTo>
                  <a:lnTo>
                    <a:pt x="468" y="732"/>
                  </a:lnTo>
                  <a:lnTo>
                    <a:pt x="492" y="720"/>
                  </a:lnTo>
                  <a:lnTo>
                    <a:pt x="522" y="690"/>
                  </a:lnTo>
                  <a:lnTo>
                    <a:pt x="540" y="672"/>
                  </a:lnTo>
                  <a:lnTo>
                    <a:pt x="558" y="660"/>
                  </a:lnTo>
                  <a:lnTo>
                    <a:pt x="570" y="636"/>
                  </a:lnTo>
                  <a:lnTo>
                    <a:pt x="588" y="612"/>
                  </a:lnTo>
                  <a:lnTo>
                    <a:pt x="654" y="552"/>
                  </a:lnTo>
                  <a:lnTo>
                    <a:pt x="678" y="528"/>
                  </a:lnTo>
                  <a:lnTo>
                    <a:pt x="696" y="510"/>
                  </a:lnTo>
                  <a:lnTo>
                    <a:pt x="714" y="498"/>
                  </a:lnTo>
                  <a:lnTo>
                    <a:pt x="750" y="480"/>
                  </a:lnTo>
                  <a:lnTo>
                    <a:pt x="774" y="444"/>
                  </a:lnTo>
                  <a:lnTo>
                    <a:pt x="816" y="426"/>
                  </a:lnTo>
                  <a:lnTo>
                    <a:pt x="864" y="420"/>
                  </a:lnTo>
                  <a:lnTo>
                    <a:pt x="912" y="402"/>
                  </a:lnTo>
                  <a:lnTo>
                    <a:pt x="906" y="396"/>
                  </a:lnTo>
                  <a:lnTo>
                    <a:pt x="912" y="396"/>
                  </a:lnTo>
                  <a:lnTo>
                    <a:pt x="912" y="390"/>
                  </a:lnTo>
                  <a:lnTo>
                    <a:pt x="918" y="384"/>
                  </a:lnTo>
                  <a:lnTo>
                    <a:pt x="924" y="384"/>
                  </a:lnTo>
                  <a:lnTo>
                    <a:pt x="924" y="378"/>
                  </a:lnTo>
                  <a:lnTo>
                    <a:pt x="918" y="372"/>
                  </a:lnTo>
                  <a:lnTo>
                    <a:pt x="918" y="366"/>
                  </a:lnTo>
                  <a:lnTo>
                    <a:pt x="918" y="360"/>
                  </a:lnTo>
                  <a:lnTo>
                    <a:pt x="924" y="360"/>
                  </a:lnTo>
                  <a:lnTo>
                    <a:pt x="924" y="354"/>
                  </a:lnTo>
                  <a:lnTo>
                    <a:pt x="930" y="354"/>
                  </a:lnTo>
                  <a:lnTo>
                    <a:pt x="936" y="354"/>
                  </a:lnTo>
                  <a:lnTo>
                    <a:pt x="936" y="348"/>
                  </a:lnTo>
                  <a:lnTo>
                    <a:pt x="942" y="348"/>
                  </a:lnTo>
                  <a:lnTo>
                    <a:pt x="942" y="336"/>
                  </a:lnTo>
                  <a:lnTo>
                    <a:pt x="936" y="336"/>
                  </a:lnTo>
                  <a:lnTo>
                    <a:pt x="930" y="330"/>
                  </a:lnTo>
                  <a:lnTo>
                    <a:pt x="924" y="330"/>
                  </a:lnTo>
                  <a:lnTo>
                    <a:pt x="924" y="324"/>
                  </a:lnTo>
                  <a:lnTo>
                    <a:pt x="918" y="318"/>
                  </a:lnTo>
                  <a:lnTo>
                    <a:pt x="912" y="306"/>
                  </a:lnTo>
                  <a:lnTo>
                    <a:pt x="918" y="306"/>
                  </a:lnTo>
                  <a:lnTo>
                    <a:pt x="924" y="300"/>
                  </a:lnTo>
                  <a:lnTo>
                    <a:pt x="924" y="294"/>
                  </a:lnTo>
                  <a:lnTo>
                    <a:pt x="924" y="288"/>
                  </a:lnTo>
                  <a:lnTo>
                    <a:pt x="924" y="282"/>
                  </a:lnTo>
                  <a:lnTo>
                    <a:pt x="924" y="276"/>
                  </a:lnTo>
                  <a:lnTo>
                    <a:pt x="918" y="270"/>
                  </a:lnTo>
                  <a:lnTo>
                    <a:pt x="918" y="264"/>
                  </a:lnTo>
                  <a:lnTo>
                    <a:pt x="912" y="270"/>
                  </a:lnTo>
                  <a:lnTo>
                    <a:pt x="912" y="264"/>
                  </a:lnTo>
                  <a:lnTo>
                    <a:pt x="912" y="258"/>
                  </a:lnTo>
                  <a:lnTo>
                    <a:pt x="912" y="252"/>
                  </a:lnTo>
                  <a:lnTo>
                    <a:pt x="906" y="252"/>
                  </a:lnTo>
                  <a:lnTo>
                    <a:pt x="900" y="246"/>
                  </a:lnTo>
                  <a:lnTo>
                    <a:pt x="900" y="240"/>
                  </a:lnTo>
                  <a:lnTo>
                    <a:pt x="900" y="246"/>
                  </a:lnTo>
                  <a:lnTo>
                    <a:pt x="894" y="246"/>
                  </a:lnTo>
                  <a:lnTo>
                    <a:pt x="894" y="240"/>
                  </a:lnTo>
                  <a:lnTo>
                    <a:pt x="894" y="234"/>
                  </a:lnTo>
                  <a:lnTo>
                    <a:pt x="900" y="234"/>
                  </a:lnTo>
                  <a:lnTo>
                    <a:pt x="900" y="228"/>
                  </a:lnTo>
                  <a:lnTo>
                    <a:pt x="906" y="228"/>
                  </a:lnTo>
                  <a:lnTo>
                    <a:pt x="900" y="222"/>
                  </a:lnTo>
                  <a:lnTo>
                    <a:pt x="894" y="216"/>
                  </a:lnTo>
                  <a:lnTo>
                    <a:pt x="894" y="210"/>
                  </a:lnTo>
                  <a:lnTo>
                    <a:pt x="888" y="210"/>
                  </a:lnTo>
                  <a:lnTo>
                    <a:pt x="888" y="204"/>
                  </a:lnTo>
                  <a:lnTo>
                    <a:pt x="888" y="198"/>
                  </a:lnTo>
                  <a:lnTo>
                    <a:pt x="888" y="192"/>
                  </a:lnTo>
                  <a:lnTo>
                    <a:pt x="882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82" y="174"/>
                  </a:lnTo>
                  <a:lnTo>
                    <a:pt x="888" y="168"/>
                  </a:lnTo>
                  <a:lnTo>
                    <a:pt x="888" y="162"/>
                  </a:lnTo>
                  <a:lnTo>
                    <a:pt x="888" y="156"/>
                  </a:lnTo>
                  <a:lnTo>
                    <a:pt x="888" y="150"/>
                  </a:lnTo>
                  <a:lnTo>
                    <a:pt x="888" y="144"/>
                  </a:lnTo>
                  <a:lnTo>
                    <a:pt x="882" y="144"/>
                  </a:lnTo>
                  <a:lnTo>
                    <a:pt x="882" y="138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76" y="120"/>
                  </a:lnTo>
                  <a:lnTo>
                    <a:pt x="882" y="114"/>
                  </a:lnTo>
                  <a:lnTo>
                    <a:pt x="882" y="108"/>
                  </a:lnTo>
                  <a:lnTo>
                    <a:pt x="888" y="102"/>
                  </a:lnTo>
                  <a:lnTo>
                    <a:pt x="894" y="102"/>
                  </a:lnTo>
                  <a:lnTo>
                    <a:pt x="894" y="96"/>
                  </a:lnTo>
                  <a:lnTo>
                    <a:pt x="888" y="96"/>
                  </a:lnTo>
                  <a:lnTo>
                    <a:pt x="894" y="90"/>
                  </a:lnTo>
                  <a:lnTo>
                    <a:pt x="888" y="84"/>
                  </a:lnTo>
                  <a:lnTo>
                    <a:pt x="888" y="78"/>
                  </a:lnTo>
                  <a:lnTo>
                    <a:pt x="924" y="66"/>
                  </a:lnTo>
                  <a:lnTo>
                    <a:pt x="966" y="66"/>
                  </a:lnTo>
                  <a:lnTo>
                    <a:pt x="996" y="48"/>
                  </a:lnTo>
                  <a:lnTo>
                    <a:pt x="1056" y="12"/>
                  </a:lnTo>
                  <a:lnTo>
                    <a:pt x="1128" y="0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0" y="18"/>
                  </a:lnTo>
                  <a:lnTo>
                    <a:pt x="1176" y="24"/>
                  </a:lnTo>
                  <a:lnTo>
                    <a:pt x="1182" y="24"/>
                  </a:lnTo>
                  <a:lnTo>
                    <a:pt x="1188" y="30"/>
                  </a:lnTo>
                  <a:lnTo>
                    <a:pt x="1194" y="30"/>
                  </a:lnTo>
                  <a:lnTo>
                    <a:pt x="1194" y="36"/>
                  </a:lnTo>
                  <a:lnTo>
                    <a:pt x="1260" y="30"/>
                  </a:lnTo>
                  <a:lnTo>
                    <a:pt x="1272" y="30"/>
                  </a:lnTo>
                  <a:lnTo>
                    <a:pt x="1296" y="24"/>
                  </a:lnTo>
                  <a:lnTo>
                    <a:pt x="1302" y="30"/>
                  </a:lnTo>
                  <a:lnTo>
                    <a:pt x="1302" y="36"/>
                  </a:lnTo>
                  <a:lnTo>
                    <a:pt x="1308" y="36"/>
                  </a:lnTo>
                  <a:lnTo>
                    <a:pt x="1314" y="36"/>
                  </a:lnTo>
                  <a:lnTo>
                    <a:pt x="1320" y="36"/>
                  </a:lnTo>
                  <a:lnTo>
                    <a:pt x="1326" y="30"/>
                  </a:lnTo>
                  <a:lnTo>
                    <a:pt x="1332" y="30"/>
                  </a:lnTo>
                  <a:lnTo>
                    <a:pt x="1338" y="30"/>
                  </a:lnTo>
                  <a:lnTo>
                    <a:pt x="1344" y="30"/>
                  </a:lnTo>
                  <a:lnTo>
                    <a:pt x="1374" y="30"/>
                  </a:lnTo>
                  <a:lnTo>
                    <a:pt x="1386" y="30"/>
                  </a:lnTo>
                  <a:lnTo>
                    <a:pt x="1392" y="24"/>
                  </a:lnTo>
                  <a:lnTo>
                    <a:pt x="1398" y="12"/>
                  </a:lnTo>
                  <a:lnTo>
                    <a:pt x="1404" y="6"/>
                  </a:lnTo>
                  <a:lnTo>
                    <a:pt x="1410" y="6"/>
                  </a:lnTo>
                  <a:lnTo>
                    <a:pt x="1410" y="12"/>
                  </a:lnTo>
                  <a:lnTo>
                    <a:pt x="1416" y="18"/>
                  </a:lnTo>
                  <a:lnTo>
                    <a:pt x="1416" y="36"/>
                  </a:lnTo>
                  <a:lnTo>
                    <a:pt x="1434" y="54"/>
                  </a:lnTo>
                  <a:lnTo>
                    <a:pt x="1434" y="60"/>
                  </a:lnTo>
                  <a:lnTo>
                    <a:pt x="1434" y="66"/>
                  </a:lnTo>
                  <a:lnTo>
                    <a:pt x="1434" y="72"/>
                  </a:lnTo>
                  <a:lnTo>
                    <a:pt x="1428" y="72"/>
                  </a:lnTo>
                  <a:lnTo>
                    <a:pt x="1428" y="78"/>
                  </a:lnTo>
                  <a:lnTo>
                    <a:pt x="1434" y="78"/>
                  </a:lnTo>
                  <a:lnTo>
                    <a:pt x="1440" y="84"/>
                  </a:lnTo>
                  <a:lnTo>
                    <a:pt x="1440" y="90"/>
                  </a:lnTo>
                  <a:lnTo>
                    <a:pt x="1440" y="96"/>
                  </a:lnTo>
                  <a:lnTo>
                    <a:pt x="1446" y="96"/>
                  </a:lnTo>
                  <a:lnTo>
                    <a:pt x="1446" y="108"/>
                  </a:lnTo>
                  <a:lnTo>
                    <a:pt x="1452" y="108"/>
                  </a:lnTo>
                  <a:lnTo>
                    <a:pt x="1452" y="114"/>
                  </a:lnTo>
                  <a:lnTo>
                    <a:pt x="1458" y="114"/>
                  </a:lnTo>
                  <a:lnTo>
                    <a:pt x="1470" y="120"/>
                  </a:lnTo>
                  <a:lnTo>
                    <a:pt x="1476" y="120"/>
                  </a:lnTo>
                  <a:lnTo>
                    <a:pt x="1476" y="114"/>
                  </a:lnTo>
                  <a:lnTo>
                    <a:pt x="1488" y="120"/>
                  </a:lnTo>
                  <a:lnTo>
                    <a:pt x="1506" y="120"/>
                  </a:lnTo>
                  <a:lnTo>
                    <a:pt x="1512" y="120"/>
                  </a:lnTo>
                  <a:lnTo>
                    <a:pt x="1518" y="120"/>
                  </a:lnTo>
                  <a:lnTo>
                    <a:pt x="1524" y="126"/>
                  </a:lnTo>
                  <a:lnTo>
                    <a:pt x="1536" y="150"/>
                  </a:lnTo>
                  <a:lnTo>
                    <a:pt x="1548" y="162"/>
                  </a:lnTo>
                  <a:lnTo>
                    <a:pt x="1554" y="168"/>
                  </a:lnTo>
                  <a:lnTo>
                    <a:pt x="1584" y="228"/>
                  </a:lnTo>
                  <a:lnTo>
                    <a:pt x="1584" y="234"/>
                  </a:lnTo>
                  <a:lnTo>
                    <a:pt x="1578" y="312"/>
                  </a:lnTo>
                  <a:lnTo>
                    <a:pt x="1590" y="318"/>
                  </a:lnTo>
                  <a:lnTo>
                    <a:pt x="1608" y="330"/>
                  </a:lnTo>
                  <a:lnTo>
                    <a:pt x="1620" y="342"/>
                  </a:lnTo>
                  <a:lnTo>
                    <a:pt x="1626" y="342"/>
                  </a:lnTo>
                  <a:lnTo>
                    <a:pt x="1692" y="360"/>
                  </a:lnTo>
                  <a:lnTo>
                    <a:pt x="1710" y="408"/>
                  </a:lnTo>
                  <a:lnTo>
                    <a:pt x="1722" y="426"/>
                  </a:lnTo>
                  <a:lnTo>
                    <a:pt x="1716" y="468"/>
                  </a:lnTo>
                  <a:lnTo>
                    <a:pt x="1686" y="486"/>
                  </a:lnTo>
                  <a:lnTo>
                    <a:pt x="1686" y="492"/>
                  </a:lnTo>
                  <a:lnTo>
                    <a:pt x="1680" y="498"/>
                  </a:lnTo>
                  <a:lnTo>
                    <a:pt x="1650" y="558"/>
                  </a:lnTo>
                  <a:lnTo>
                    <a:pt x="1650" y="570"/>
                  </a:lnTo>
                  <a:lnTo>
                    <a:pt x="1644" y="570"/>
                  </a:lnTo>
                  <a:lnTo>
                    <a:pt x="1638" y="582"/>
                  </a:lnTo>
                  <a:lnTo>
                    <a:pt x="1638" y="624"/>
                  </a:lnTo>
                  <a:lnTo>
                    <a:pt x="1638" y="636"/>
                  </a:lnTo>
                  <a:lnTo>
                    <a:pt x="1638" y="642"/>
                  </a:lnTo>
                  <a:lnTo>
                    <a:pt x="1632" y="660"/>
                  </a:lnTo>
                  <a:lnTo>
                    <a:pt x="1608" y="678"/>
                  </a:lnTo>
                  <a:lnTo>
                    <a:pt x="1584" y="690"/>
                  </a:lnTo>
                  <a:lnTo>
                    <a:pt x="1584" y="696"/>
                  </a:lnTo>
                  <a:lnTo>
                    <a:pt x="1578" y="702"/>
                  </a:lnTo>
                  <a:lnTo>
                    <a:pt x="1584" y="702"/>
                  </a:lnTo>
                  <a:lnTo>
                    <a:pt x="1578" y="714"/>
                  </a:lnTo>
                  <a:lnTo>
                    <a:pt x="1572" y="714"/>
                  </a:lnTo>
                  <a:lnTo>
                    <a:pt x="1572" y="720"/>
                  </a:lnTo>
                  <a:lnTo>
                    <a:pt x="1566" y="720"/>
                  </a:lnTo>
                  <a:lnTo>
                    <a:pt x="1560" y="726"/>
                  </a:lnTo>
                  <a:lnTo>
                    <a:pt x="1560" y="732"/>
                  </a:lnTo>
                  <a:lnTo>
                    <a:pt x="1554" y="732"/>
                  </a:lnTo>
                  <a:lnTo>
                    <a:pt x="1554" y="738"/>
                  </a:lnTo>
                  <a:lnTo>
                    <a:pt x="1554" y="744"/>
                  </a:lnTo>
                  <a:lnTo>
                    <a:pt x="1548" y="744"/>
                  </a:lnTo>
                  <a:lnTo>
                    <a:pt x="1548" y="738"/>
                  </a:lnTo>
                  <a:lnTo>
                    <a:pt x="1542" y="738"/>
                  </a:lnTo>
                  <a:lnTo>
                    <a:pt x="1542" y="744"/>
                  </a:lnTo>
                  <a:lnTo>
                    <a:pt x="1542" y="750"/>
                  </a:lnTo>
                  <a:lnTo>
                    <a:pt x="1494" y="804"/>
                  </a:lnTo>
                  <a:lnTo>
                    <a:pt x="1446" y="876"/>
                  </a:lnTo>
                  <a:lnTo>
                    <a:pt x="1440" y="876"/>
                  </a:lnTo>
                  <a:lnTo>
                    <a:pt x="1434" y="876"/>
                  </a:lnTo>
                  <a:lnTo>
                    <a:pt x="1428" y="882"/>
                  </a:lnTo>
                  <a:lnTo>
                    <a:pt x="1422" y="882"/>
                  </a:lnTo>
                  <a:lnTo>
                    <a:pt x="1386" y="924"/>
                  </a:lnTo>
                  <a:lnTo>
                    <a:pt x="1362" y="954"/>
                  </a:lnTo>
                  <a:lnTo>
                    <a:pt x="1356" y="984"/>
                  </a:lnTo>
                  <a:lnTo>
                    <a:pt x="1362" y="1002"/>
                  </a:lnTo>
                  <a:lnTo>
                    <a:pt x="1368" y="1020"/>
                  </a:lnTo>
                  <a:lnTo>
                    <a:pt x="1386" y="1056"/>
                  </a:lnTo>
                  <a:lnTo>
                    <a:pt x="1404" y="1074"/>
                  </a:lnTo>
                  <a:lnTo>
                    <a:pt x="1416" y="1080"/>
                  </a:lnTo>
                  <a:lnTo>
                    <a:pt x="1416" y="1086"/>
                  </a:lnTo>
                  <a:lnTo>
                    <a:pt x="1422" y="1098"/>
                  </a:lnTo>
                  <a:lnTo>
                    <a:pt x="1422" y="1110"/>
                  </a:lnTo>
                  <a:lnTo>
                    <a:pt x="1428" y="1116"/>
                  </a:lnTo>
                  <a:lnTo>
                    <a:pt x="1434" y="1116"/>
                  </a:lnTo>
                  <a:lnTo>
                    <a:pt x="1434" y="1122"/>
                  </a:lnTo>
                  <a:lnTo>
                    <a:pt x="1434" y="1128"/>
                  </a:lnTo>
                  <a:lnTo>
                    <a:pt x="1440" y="1134"/>
                  </a:lnTo>
                  <a:lnTo>
                    <a:pt x="1446" y="1134"/>
                  </a:lnTo>
                  <a:lnTo>
                    <a:pt x="1458" y="1134"/>
                  </a:lnTo>
                  <a:lnTo>
                    <a:pt x="1458" y="1140"/>
                  </a:lnTo>
                  <a:lnTo>
                    <a:pt x="1464" y="1134"/>
                  </a:lnTo>
                  <a:lnTo>
                    <a:pt x="1470" y="1134"/>
                  </a:lnTo>
                  <a:lnTo>
                    <a:pt x="1464" y="1128"/>
                  </a:lnTo>
                  <a:lnTo>
                    <a:pt x="1464" y="1122"/>
                  </a:lnTo>
                  <a:lnTo>
                    <a:pt x="1470" y="1116"/>
                  </a:lnTo>
                  <a:lnTo>
                    <a:pt x="1470" y="1122"/>
                  </a:lnTo>
                  <a:lnTo>
                    <a:pt x="1476" y="1122"/>
                  </a:lnTo>
                  <a:lnTo>
                    <a:pt x="1476" y="1116"/>
                  </a:lnTo>
                  <a:lnTo>
                    <a:pt x="1482" y="1110"/>
                  </a:lnTo>
                  <a:lnTo>
                    <a:pt x="1476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82" y="1086"/>
                  </a:lnTo>
                  <a:lnTo>
                    <a:pt x="1482" y="1074"/>
                  </a:lnTo>
                  <a:lnTo>
                    <a:pt x="1488" y="1068"/>
                  </a:lnTo>
                  <a:lnTo>
                    <a:pt x="1488" y="1062"/>
                  </a:lnTo>
                  <a:lnTo>
                    <a:pt x="1494" y="1062"/>
                  </a:lnTo>
                  <a:lnTo>
                    <a:pt x="1500" y="1062"/>
                  </a:lnTo>
                  <a:lnTo>
                    <a:pt x="1506" y="1062"/>
                  </a:lnTo>
                  <a:lnTo>
                    <a:pt x="1506" y="1056"/>
                  </a:lnTo>
                  <a:lnTo>
                    <a:pt x="1506" y="1062"/>
                  </a:lnTo>
                  <a:lnTo>
                    <a:pt x="1518" y="1062"/>
                  </a:lnTo>
                  <a:lnTo>
                    <a:pt x="1524" y="1062"/>
                  </a:lnTo>
                  <a:lnTo>
                    <a:pt x="1530" y="1062"/>
                  </a:lnTo>
                  <a:lnTo>
                    <a:pt x="1536" y="1068"/>
                  </a:lnTo>
                  <a:lnTo>
                    <a:pt x="1536" y="1074"/>
                  </a:lnTo>
                  <a:lnTo>
                    <a:pt x="1542" y="1086"/>
                  </a:lnTo>
                  <a:lnTo>
                    <a:pt x="1548" y="1086"/>
                  </a:lnTo>
                  <a:lnTo>
                    <a:pt x="1554" y="1086"/>
                  </a:lnTo>
                  <a:lnTo>
                    <a:pt x="1566" y="1098"/>
                  </a:lnTo>
                  <a:lnTo>
                    <a:pt x="1572" y="1104"/>
                  </a:lnTo>
                  <a:lnTo>
                    <a:pt x="1566" y="1110"/>
                  </a:lnTo>
                  <a:lnTo>
                    <a:pt x="1572" y="1116"/>
                  </a:lnTo>
                  <a:lnTo>
                    <a:pt x="1578" y="1116"/>
                  </a:lnTo>
                  <a:lnTo>
                    <a:pt x="1578" y="1122"/>
                  </a:lnTo>
                  <a:lnTo>
                    <a:pt x="1584" y="1122"/>
                  </a:lnTo>
                  <a:lnTo>
                    <a:pt x="1584" y="1128"/>
                  </a:lnTo>
                  <a:lnTo>
                    <a:pt x="1584" y="1134"/>
                  </a:lnTo>
                  <a:lnTo>
                    <a:pt x="1590" y="1134"/>
                  </a:lnTo>
                  <a:lnTo>
                    <a:pt x="1596" y="1140"/>
                  </a:lnTo>
                  <a:lnTo>
                    <a:pt x="1602" y="1146"/>
                  </a:lnTo>
                  <a:lnTo>
                    <a:pt x="1608" y="1146"/>
                  </a:lnTo>
                  <a:lnTo>
                    <a:pt x="1614" y="1146"/>
                  </a:lnTo>
                  <a:lnTo>
                    <a:pt x="1614" y="1152"/>
                  </a:lnTo>
                  <a:lnTo>
                    <a:pt x="1620" y="1152"/>
                  </a:lnTo>
                  <a:lnTo>
                    <a:pt x="1626" y="1164"/>
                  </a:lnTo>
                  <a:lnTo>
                    <a:pt x="1632" y="1170"/>
                  </a:lnTo>
                  <a:lnTo>
                    <a:pt x="1638" y="1176"/>
                  </a:lnTo>
                  <a:lnTo>
                    <a:pt x="1638" y="1182"/>
                  </a:lnTo>
                  <a:lnTo>
                    <a:pt x="1644" y="1194"/>
                  </a:lnTo>
                  <a:lnTo>
                    <a:pt x="1644" y="1200"/>
                  </a:lnTo>
                  <a:lnTo>
                    <a:pt x="1638" y="1200"/>
                  </a:lnTo>
                  <a:lnTo>
                    <a:pt x="1638" y="1206"/>
                  </a:lnTo>
                  <a:lnTo>
                    <a:pt x="1638" y="1212"/>
                  </a:lnTo>
                  <a:lnTo>
                    <a:pt x="1638" y="1218"/>
                  </a:lnTo>
                  <a:lnTo>
                    <a:pt x="1632" y="1242"/>
                  </a:lnTo>
                  <a:lnTo>
                    <a:pt x="1632" y="1266"/>
                  </a:lnTo>
                  <a:lnTo>
                    <a:pt x="1638" y="1284"/>
                  </a:lnTo>
                  <a:lnTo>
                    <a:pt x="1638" y="1296"/>
                  </a:lnTo>
                  <a:lnTo>
                    <a:pt x="1632" y="1296"/>
                  </a:lnTo>
                  <a:lnTo>
                    <a:pt x="1632" y="1302"/>
                  </a:lnTo>
                  <a:lnTo>
                    <a:pt x="1638" y="1314"/>
                  </a:lnTo>
                  <a:lnTo>
                    <a:pt x="1638" y="1320"/>
                  </a:lnTo>
                  <a:lnTo>
                    <a:pt x="1632" y="1320"/>
                  </a:lnTo>
                  <a:lnTo>
                    <a:pt x="1632" y="1326"/>
                  </a:lnTo>
                  <a:lnTo>
                    <a:pt x="1644" y="1332"/>
                  </a:lnTo>
                  <a:lnTo>
                    <a:pt x="1644" y="1338"/>
                  </a:lnTo>
                  <a:lnTo>
                    <a:pt x="1650" y="1344"/>
                  </a:lnTo>
                  <a:lnTo>
                    <a:pt x="1668" y="1362"/>
                  </a:lnTo>
                  <a:lnTo>
                    <a:pt x="1668" y="1368"/>
                  </a:lnTo>
                  <a:lnTo>
                    <a:pt x="1674" y="1392"/>
                  </a:lnTo>
                  <a:lnTo>
                    <a:pt x="1686" y="140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2" name="Freeform 17">
              <a:extLst>
                <a:ext uri="{FF2B5EF4-FFF2-40B4-BE49-F238E27FC236}">
                  <a16:creationId xmlns:a16="http://schemas.microsoft.com/office/drawing/2014/main" id="{9F9DF7AF-2203-4CCB-AF1B-32CDAF87CC5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416927"/>
              <a:ext cx="816209" cy="574781"/>
            </a:xfrm>
            <a:custGeom>
              <a:avLst/>
              <a:gdLst>
                <a:gd name="T0" fmla="*/ 115 w 1536"/>
                <a:gd name="T1" fmla="*/ 89 h 1080"/>
                <a:gd name="T2" fmla="*/ 113 w 1536"/>
                <a:gd name="T3" fmla="*/ 92 h 1080"/>
                <a:gd name="T4" fmla="*/ 107 w 1536"/>
                <a:gd name="T5" fmla="*/ 93 h 1080"/>
                <a:gd name="T6" fmla="*/ 108 w 1536"/>
                <a:gd name="T7" fmla="*/ 90 h 1080"/>
                <a:gd name="T8" fmla="*/ 105 w 1536"/>
                <a:gd name="T9" fmla="*/ 87 h 1080"/>
                <a:gd name="T10" fmla="*/ 102 w 1536"/>
                <a:gd name="T11" fmla="*/ 85 h 1080"/>
                <a:gd name="T12" fmla="*/ 89 w 1536"/>
                <a:gd name="T13" fmla="*/ 80 h 1080"/>
                <a:gd name="T14" fmla="*/ 85 w 1536"/>
                <a:gd name="T15" fmla="*/ 82 h 1080"/>
                <a:gd name="T16" fmla="*/ 82 w 1536"/>
                <a:gd name="T17" fmla="*/ 80 h 1080"/>
                <a:gd name="T18" fmla="*/ 80 w 1536"/>
                <a:gd name="T19" fmla="*/ 75 h 1080"/>
                <a:gd name="T20" fmla="*/ 75 w 1536"/>
                <a:gd name="T21" fmla="*/ 72 h 1080"/>
                <a:gd name="T22" fmla="*/ 61 w 1536"/>
                <a:gd name="T23" fmla="*/ 70 h 1080"/>
                <a:gd name="T24" fmla="*/ 62 w 1536"/>
                <a:gd name="T25" fmla="*/ 72 h 1080"/>
                <a:gd name="T26" fmla="*/ 58 w 1536"/>
                <a:gd name="T27" fmla="*/ 75 h 1080"/>
                <a:gd name="T28" fmla="*/ 49 w 1536"/>
                <a:gd name="T29" fmla="*/ 76 h 1080"/>
                <a:gd name="T30" fmla="*/ 41 w 1536"/>
                <a:gd name="T31" fmla="*/ 79 h 1080"/>
                <a:gd name="T32" fmla="*/ 41 w 1536"/>
                <a:gd name="T33" fmla="*/ 77 h 1080"/>
                <a:gd name="T34" fmla="*/ 39 w 1536"/>
                <a:gd name="T35" fmla="*/ 74 h 1080"/>
                <a:gd name="T36" fmla="*/ 28 w 1536"/>
                <a:gd name="T37" fmla="*/ 78 h 1080"/>
                <a:gd name="T38" fmla="*/ 18 w 1536"/>
                <a:gd name="T39" fmla="*/ 85 h 1080"/>
                <a:gd name="T40" fmla="*/ 18 w 1536"/>
                <a:gd name="T41" fmla="*/ 77 h 1080"/>
                <a:gd name="T42" fmla="*/ 19 w 1536"/>
                <a:gd name="T43" fmla="*/ 69 h 1080"/>
                <a:gd name="T44" fmla="*/ 16 w 1536"/>
                <a:gd name="T45" fmla="*/ 69 h 1080"/>
                <a:gd name="T46" fmla="*/ 11 w 1536"/>
                <a:gd name="T47" fmla="*/ 69 h 1080"/>
                <a:gd name="T48" fmla="*/ 5 w 1536"/>
                <a:gd name="T49" fmla="*/ 68 h 1080"/>
                <a:gd name="T50" fmla="*/ 1 w 1536"/>
                <a:gd name="T51" fmla="*/ 63 h 1080"/>
                <a:gd name="T52" fmla="*/ 3 w 1536"/>
                <a:gd name="T53" fmla="*/ 59 h 1080"/>
                <a:gd name="T54" fmla="*/ 9 w 1536"/>
                <a:gd name="T55" fmla="*/ 54 h 1080"/>
                <a:gd name="T56" fmla="*/ 15 w 1536"/>
                <a:gd name="T57" fmla="*/ 47 h 1080"/>
                <a:gd name="T58" fmla="*/ 17 w 1536"/>
                <a:gd name="T59" fmla="*/ 40 h 1080"/>
                <a:gd name="T60" fmla="*/ 12 w 1536"/>
                <a:gd name="T61" fmla="*/ 33 h 1080"/>
                <a:gd name="T62" fmla="*/ 10 w 1536"/>
                <a:gd name="T63" fmla="*/ 21 h 1080"/>
                <a:gd name="T64" fmla="*/ 6 w 1536"/>
                <a:gd name="T65" fmla="*/ 14 h 1080"/>
                <a:gd name="T66" fmla="*/ 7 w 1536"/>
                <a:gd name="T67" fmla="*/ 9 h 1080"/>
                <a:gd name="T68" fmla="*/ 12 w 1536"/>
                <a:gd name="T69" fmla="*/ 7 h 1080"/>
                <a:gd name="T70" fmla="*/ 16 w 1536"/>
                <a:gd name="T71" fmla="*/ 8 h 1080"/>
                <a:gd name="T72" fmla="*/ 19 w 1536"/>
                <a:gd name="T73" fmla="*/ 8 h 1080"/>
                <a:gd name="T74" fmla="*/ 22 w 1536"/>
                <a:gd name="T75" fmla="*/ 9 h 1080"/>
                <a:gd name="T76" fmla="*/ 29 w 1536"/>
                <a:gd name="T77" fmla="*/ 12 h 1080"/>
                <a:gd name="T78" fmla="*/ 33 w 1536"/>
                <a:gd name="T79" fmla="*/ 13 h 1080"/>
                <a:gd name="T80" fmla="*/ 38 w 1536"/>
                <a:gd name="T81" fmla="*/ 15 h 1080"/>
                <a:gd name="T82" fmla="*/ 42 w 1536"/>
                <a:gd name="T83" fmla="*/ 17 h 1080"/>
                <a:gd name="T84" fmla="*/ 47 w 1536"/>
                <a:gd name="T85" fmla="*/ 19 h 1080"/>
                <a:gd name="T86" fmla="*/ 51 w 1536"/>
                <a:gd name="T87" fmla="*/ 21 h 1080"/>
                <a:gd name="T88" fmla="*/ 50 w 1536"/>
                <a:gd name="T89" fmla="*/ 15 h 1080"/>
                <a:gd name="T90" fmla="*/ 56 w 1536"/>
                <a:gd name="T91" fmla="*/ 0 h 1080"/>
                <a:gd name="T92" fmla="*/ 74 w 1536"/>
                <a:gd name="T93" fmla="*/ 5 h 1080"/>
                <a:gd name="T94" fmla="*/ 87 w 1536"/>
                <a:gd name="T95" fmla="*/ 6 h 1080"/>
                <a:gd name="T96" fmla="*/ 92 w 1536"/>
                <a:gd name="T97" fmla="*/ 11 h 1080"/>
                <a:gd name="T98" fmla="*/ 95 w 1536"/>
                <a:gd name="T99" fmla="*/ 15 h 1080"/>
                <a:gd name="T100" fmla="*/ 93 w 1536"/>
                <a:gd name="T101" fmla="*/ 20 h 1080"/>
                <a:gd name="T102" fmla="*/ 108 w 1536"/>
                <a:gd name="T103" fmla="*/ 18 h 1080"/>
                <a:gd name="T104" fmla="*/ 120 w 1536"/>
                <a:gd name="T105" fmla="*/ 21 h 1080"/>
                <a:gd name="T106" fmla="*/ 127 w 1536"/>
                <a:gd name="T107" fmla="*/ 29 h 1080"/>
                <a:gd name="T108" fmla="*/ 130 w 1536"/>
                <a:gd name="T109" fmla="*/ 30 h 1080"/>
                <a:gd name="T110" fmla="*/ 130 w 1536"/>
                <a:gd name="T111" fmla="*/ 49 h 1080"/>
                <a:gd name="T112" fmla="*/ 120 w 1536"/>
                <a:gd name="T113" fmla="*/ 69 h 1080"/>
                <a:gd name="T114" fmla="*/ 119 w 1536"/>
                <a:gd name="T115" fmla="*/ 74 h 1080"/>
                <a:gd name="T116" fmla="*/ 118 w 1536"/>
                <a:gd name="T117" fmla="*/ 80 h 108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536"/>
                <a:gd name="T178" fmla="*/ 0 h 1080"/>
                <a:gd name="T179" fmla="*/ 1536 w 1536"/>
                <a:gd name="T180" fmla="*/ 1080 h 108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536" h="1080">
                  <a:moveTo>
                    <a:pt x="1350" y="1020"/>
                  </a:moveTo>
                  <a:lnTo>
                    <a:pt x="1350" y="1026"/>
                  </a:lnTo>
                  <a:lnTo>
                    <a:pt x="1344" y="1026"/>
                  </a:lnTo>
                  <a:lnTo>
                    <a:pt x="1338" y="1032"/>
                  </a:lnTo>
                  <a:lnTo>
                    <a:pt x="1332" y="1026"/>
                  </a:lnTo>
                  <a:lnTo>
                    <a:pt x="1326" y="1026"/>
                  </a:lnTo>
                  <a:lnTo>
                    <a:pt x="1320" y="1020"/>
                  </a:lnTo>
                  <a:lnTo>
                    <a:pt x="1314" y="1026"/>
                  </a:lnTo>
                  <a:lnTo>
                    <a:pt x="1314" y="1032"/>
                  </a:lnTo>
                  <a:lnTo>
                    <a:pt x="1308" y="1038"/>
                  </a:lnTo>
                  <a:lnTo>
                    <a:pt x="1308" y="1044"/>
                  </a:lnTo>
                  <a:lnTo>
                    <a:pt x="1308" y="1050"/>
                  </a:lnTo>
                  <a:lnTo>
                    <a:pt x="1308" y="1056"/>
                  </a:lnTo>
                  <a:lnTo>
                    <a:pt x="1308" y="1062"/>
                  </a:lnTo>
                  <a:lnTo>
                    <a:pt x="1296" y="1068"/>
                  </a:lnTo>
                  <a:lnTo>
                    <a:pt x="1284" y="1074"/>
                  </a:lnTo>
                  <a:lnTo>
                    <a:pt x="1272" y="1080"/>
                  </a:lnTo>
                  <a:lnTo>
                    <a:pt x="1260" y="1080"/>
                  </a:lnTo>
                  <a:lnTo>
                    <a:pt x="1254" y="1074"/>
                  </a:lnTo>
                  <a:lnTo>
                    <a:pt x="1236" y="1074"/>
                  </a:lnTo>
                  <a:lnTo>
                    <a:pt x="1230" y="1074"/>
                  </a:lnTo>
                  <a:lnTo>
                    <a:pt x="1236" y="1074"/>
                  </a:lnTo>
                  <a:lnTo>
                    <a:pt x="1236" y="1068"/>
                  </a:lnTo>
                  <a:lnTo>
                    <a:pt x="1236" y="1062"/>
                  </a:lnTo>
                  <a:lnTo>
                    <a:pt x="1236" y="1056"/>
                  </a:lnTo>
                  <a:lnTo>
                    <a:pt x="1242" y="1050"/>
                  </a:lnTo>
                  <a:lnTo>
                    <a:pt x="1242" y="1044"/>
                  </a:lnTo>
                  <a:lnTo>
                    <a:pt x="1242" y="1038"/>
                  </a:lnTo>
                  <a:lnTo>
                    <a:pt x="1248" y="1032"/>
                  </a:lnTo>
                  <a:lnTo>
                    <a:pt x="1236" y="1026"/>
                  </a:lnTo>
                  <a:lnTo>
                    <a:pt x="1218" y="1020"/>
                  </a:lnTo>
                  <a:lnTo>
                    <a:pt x="1224" y="1014"/>
                  </a:lnTo>
                  <a:lnTo>
                    <a:pt x="1218" y="1008"/>
                  </a:lnTo>
                  <a:lnTo>
                    <a:pt x="1218" y="1002"/>
                  </a:lnTo>
                  <a:lnTo>
                    <a:pt x="1212" y="1008"/>
                  </a:lnTo>
                  <a:lnTo>
                    <a:pt x="1206" y="1002"/>
                  </a:lnTo>
                  <a:lnTo>
                    <a:pt x="1212" y="1002"/>
                  </a:lnTo>
                  <a:lnTo>
                    <a:pt x="1212" y="996"/>
                  </a:lnTo>
                  <a:lnTo>
                    <a:pt x="1200" y="990"/>
                  </a:lnTo>
                  <a:lnTo>
                    <a:pt x="1200" y="984"/>
                  </a:lnTo>
                  <a:lnTo>
                    <a:pt x="1188" y="984"/>
                  </a:lnTo>
                  <a:lnTo>
                    <a:pt x="1176" y="978"/>
                  </a:lnTo>
                  <a:lnTo>
                    <a:pt x="1164" y="960"/>
                  </a:lnTo>
                  <a:lnTo>
                    <a:pt x="1152" y="936"/>
                  </a:lnTo>
                  <a:lnTo>
                    <a:pt x="1146" y="936"/>
                  </a:lnTo>
                  <a:lnTo>
                    <a:pt x="1128" y="900"/>
                  </a:lnTo>
                  <a:lnTo>
                    <a:pt x="1038" y="912"/>
                  </a:lnTo>
                  <a:lnTo>
                    <a:pt x="1038" y="918"/>
                  </a:lnTo>
                  <a:lnTo>
                    <a:pt x="1032" y="924"/>
                  </a:lnTo>
                  <a:lnTo>
                    <a:pt x="1026" y="918"/>
                  </a:lnTo>
                  <a:lnTo>
                    <a:pt x="1020" y="924"/>
                  </a:lnTo>
                  <a:lnTo>
                    <a:pt x="1008" y="936"/>
                  </a:lnTo>
                  <a:lnTo>
                    <a:pt x="990" y="936"/>
                  </a:lnTo>
                  <a:lnTo>
                    <a:pt x="990" y="942"/>
                  </a:lnTo>
                  <a:lnTo>
                    <a:pt x="996" y="942"/>
                  </a:lnTo>
                  <a:lnTo>
                    <a:pt x="984" y="948"/>
                  </a:lnTo>
                  <a:lnTo>
                    <a:pt x="972" y="948"/>
                  </a:lnTo>
                  <a:lnTo>
                    <a:pt x="960" y="948"/>
                  </a:lnTo>
                  <a:lnTo>
                    <a:pt x="948" y="942"/>
                  </a:lnTo>
                  <a:lnTo>
                    <a:pt x="948" y="936"/>
                  </a:lnTo>
                  <a:lnTo>
                    <a:pt x="942" y="936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30" y="924"/>
                  </a:lnTo>
                  <a:lnTo>
                    <a:pt x="936" y="918"/>
                  </a:lnTo>
                  <a:lnTo>
                    <a:pt x="918" y="918"/>
                  </a:lnTo>
                  <a:lnTo>
                    <a:pt x="918" y="900"/>
                  </a:lnTo>
                  <a:lnTo>
                    <a:pt x="924" y="900"/>
                  </a:lnTo>
                  <a:lnTo>
                    <a:pt x="924" y="894"/>
                  </a:lnTo>
                  <a:lnTo>
                    <a:pt x="924" y="870"/>
                  </a:lnTo>
                  <a:lnTo>
                    <a:pt x="924" y="864"/>
                  </a:lnTo>
                  <a:lnTo>
                    <a:pt x="918" y="858"/>
                  </a:lnTo>
                  <a:lnTo>
                    <a:pt x="918" y="852"/>
                  </a:lnTo>
                  <a:lnTo>
                    <a:pt x="906" y="840"/>
                  </a:lnTo>
                  <a:lnTo>
                    <a:pt x="894" y="834"/>
                  </a:lnTo>
                  <a:lnTo>
                    <a:pt x="876" y="822"/>
                  </a:lnTo>
                  <a:lnTo>
                    <a:pt x="870" y="828"/>
                  </a:lnTo>
                  <a:lnTo>
                    <a:pt x="858" y="816"/>
                  </a:lnTo>
                  <a:lnTo>
                    <a:pt x="810" y="798"/>
                  </a:lnTo>
                  <a:lnTo>
                    <a:pt x="774" y="792"/>
                  </a:lnTo>
                  <a:lnTo>
                    <a:pt x="732" y="798"/>
                  </a:lnTo>
                  <a:lnTo>
                    <a:pt x="726" y="804"/>
                  </a:lnTo>
                  <a:lnTo>
                    <a:pt x="714" y="810"/>
                  </a:lnTo>
                  <a:lnTo>
                    <a:pt x="702" y="810"/>
                  </a:lnTo>
                  <a:lnTo>
                    <a:pt x="690" y="810"/>
                  </a:lnTo>
                  <a:lnTo>
                    <a:pt x="696" y="816"/>
                  </a:lnTo>
                  <a:lnTo>
                    <a:pt x="696" y="822"/>
                  </a:lnTo>
                  <a:lnTo>
                    <a:pt x="702" y="822"/>
                  </a:lnTo>
                  <a:lnTo>
                    <a:pt x="708" y="822"/>
                  </a:lnTo>
                  <a:lnTo>
                    <a:pt x="708" y="828"/>
                  </a:lnTo>
                  <a:lnTo>
                    <a:pt x="708" y="834"/>
                  </a:lnTo>
                  <a:lnTo>
                    <a:pt x="714" y="834"/>
                  </a:lnTo>
                  <a:lnTo>
                    <a:pt x="708" y="846"/>
                  </a:lnTo>
                  <a:lnTo>
                    <a:pt x="708" y="852"/>
                  </a:lnTo>
                  <a:lnTo>
                    <a:pt x="702" y="852"/>
                  </a:lnTo>
                  <a:lnTo>
                    <a:pt x="696" y="858"/>
                  </a:lnTo>
                  <a:lnTo>
                    <a:pt x="690" y="864"/>
                  </a:lnTo>
                  <a:lnTo>
                    <a:pt x="666" y="870"/>
                  </a:lnTo>
                  <a:lnTo>
                    <a:pt x="660" y="876"/>
                  </a:lnTo>
                  <a:lnTo>
                    <a:pt x="642" y="876"/>
                  </a:lnTo>
                  <a:lnTo>
                    <a:pt x="606" y="882"/>
                  </a:lnTo>
                  <a:lnTo>
                    <a:pt x="588" y="882"/>
                  </a:lnTo>
                  <a:lnTo>
                    <a:pt x="582" y="876"/>
                  </a:lnTo>
                  <a:lnTo>
                    <a:pt x="576" y="876"/>
                  </a:lnTo>
                  <a:lnTo>
                    <a:pt x="564" y="876"/>
                  </a:lnTo>
                  <a:lnTo>
                    <a:pt x="552" y="882"/>
                  </a:lnTo>
                  <a:lnTo>
                    <a:pt x="540" y="894"/>
                  </a:lnTo>
                  <a:lnTo>
                    <a:pt x="534" y="906"/>
                  </a:lnTo>
                  <a:lnTo>
                    <a:pt x="528" y="912"/>
                  </a:lnTo>
                  <a:lnTo>
                    <a:pt x="516" y="924"/>
                  </a:lnTo>
                  <a:lnTo>
                    <a:pt x="486" y="930"/>
                  </a:lnTo>
                  <a:lnTo>
                    <a:pt x="474" y="912"/>
                  </a:lnTo>
                  <a:lnTo>
                    <a:pt x="474" y="906"/>
                  </a:lnTo>
                  <a:lnTo>
                    <a:pt x="468" y="906"/>
                  </a:lnTo>
                  <a:lnTo>
                    <a:pt x="468" y="900"/>
                  </a:lnTo>
                  <a:lnTo>
                    <a:pt x="462" y="894"/>
                  </a:lnTo>
                  <a:lnTo>
                    <a:pt x="456" y="894"/>
                  </a:lnTo>
                  <a:lnTo>
                    <a:pt x="462" y="888"/>
                  </a:lnTo>
                  <a:lnTo>
                    <a:pt x="468" y="888"/>
                  </a:lnTo>
                  <a:lnTo>
                    <a:pt x="462" y="882"/>
                  </a:lnTo>
                  <a:lnTo>
                    <a:pt x="462" y="876"/>
                  </a:lnTo>
                  <a:lnTo>
                    <a:pt x="456" y="870"/>
                  </a:lnTo>
                  <a:lnTo>
                    <a:pt x="456" y="864"/>
                  </a:lnTo>
                  <a:lnTo>
                    <a:pt x="450" y="858"/>
                  </a:lnTo>
                  <a:lnTo>
                    <a:pt x="444" y="858"/>
                  </a:lnTo>
                  <a:lnTo>
                    <a:pt x="444" y="852"/>
                  </a:lnTo>
                  <a:lnTo>
                    <a:pt x="438" y="852"/>
                  </a:lnTo>
                  <a:lnTo>
                    <a:pt x="438" y="858"/>
                  </a:lnTo>
                  <a:lnTo>
                    <a:pt x="402" y="870"/>
                  </a:lnTo>
                  <a:lnTo>
                    <a:pt x="390" y="882"/>
                  </a:lnTo>
                  <a:lnTo>
                    <a:pt x="384" y="900"/>
                  </a:lnTo>
                  <a:lnTo>
                    <a:pt x="342" y="900"/>
                  </a:lnTo>
                  <a:lnTo>
                    <a:pt x="324" y="900"/>
                  </a:lnTo>
                  <a:lnTo>
                    <a:pt x="294" y="906"/>
                  </a:lnTo>
                  <a:lnTo>
                    <a:pt x="282" y="948"/>
                  </a:lnTo>
                  <a:lnTo>
                    <a:pt x="282" y="978"/>
                  </a:lnTo>
                  <a:lnTo>
                    <a:pt x="270" y="1008"/>
                  </a:lnTo>
                  <a:lnTo>
                    <a:pt x="240" y="1014"/>
                  </a:lnTo>
                  <a:lnTo>
                    <a:pt x="216" y="996"/>
                  </a:lnTo>
                  <a:lnTo>
                    <a:pt x="204" y="984"/>
                  </a:lnTo>
                  <a:lnTo>
                    <a:pt x="192" y="966"/>
                  </a:lnTo>
                  <a:lnTo>
                    <a:pt x="186" y="948"/>
                  </a:lnTo>
                  <a:lnTo>
                    <a:pt x="174" y="948"/>
                  </a:lnTo>
                  <a:lnTo>
                    <a:pt x="174" y="936"/>
                  </a:lnTo>
                  <a:lnTo>
                    <a:pt x="186" y="924"/>
                  </a:lnTo>
                  <a:lnTo>
                    <a:pt x="198" y="906"/>
                  </a:lnTo>
                  <a:lnTo>
                    <a:pt x="204" y="888"/>
                  </a:lnTo>
                  <a:lnTo>
                    <a:pt x="222" y="870"/>
                  </a:lnTo>
                  <a:lnTo>
                    <a:pt x="234" y="858"/>
                  </a:lnTo>
                  <a:lnTo>
                    <a:pt x="234" y="852"/>
                  </a:lnTo>
                  <a:lnTo>
                    <a:pt x="222" y="852"/>
                  </a:lnTo>
                  <a:lnTo>
                    <a:pt x="228" y="810"/>
                  </a:lnTo>
                  <a:lnTo>
                    <a:pt x="222" y="798"/>
                  </a:lnTo>
                  <a:lnTo>
                    <a:pt x="216" y="798"/>
                  </a:lnTo>
                  <a:lnTo>
                    <a:pt x="216" y="792"/>
                  </a:lnTo>
                  <a:lnTo>
                    <a:pt x="210" y="792"/>
                  </a:lnTo>
                  <a:lnTo>
                    <a:pt x="204" y="798"/>
                  </a:lnTo>
                  <a:lnTo>
                    <a:pt x="204" y="792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0" y="786"/>
                  </a:lnTo>
                  <a:lnTo>
                    <a:pt x="174" y="792"/>
                  </a:lnTo>
                  <a:lnTo>
                    <a:pt x="162" y="792"/>
                  </a:lnTo>
                  <a:lnTo>
                    <a:pt x="156" y="792"/>
                  </a:lnTo>
                  <a:lnTo>
                    <a:pt x="156" y="798"/>
                  </a:lnTo>
                  <a:lnTo>
                    <a:pt x="138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6" y="804"/>
                  </a:lnTo>
                  <a:lnTo>
                    <a:pt x="102" y="810"/>
                  </a:lnTo>
                  <a:lnTo>
                    <a:pt x="90" y="810"/>
                  </a:lnTo>
                  <a:lnTo>
                    <a:pt x="72" y="798"/>
                  </a:lnTo>
                  <a:lnTo>
                    <a:pt x="66" y="780"/>
                  </a:lnTo>
                  <a:lnTo>
                    <a:pt x="60" y="780"/>
                  </a:lnTo>
                  <a:lnTo>
                    <a:pt x="60" y="768"/>
                  </a:lnTo>
                  <a:lnTo>
                    <a:pt x="54" y="768"/>
                  </a:lnTo>
                  <a:lnTo>
                    <a:pt x="24" y="756"/>
                  </a:lnTo>
                  <a:lnTo>
                    <a:pt x="18" y="744"/>
                  </a:lnTo>
                  <a:lnTo>
                    <a:pt x="12" y="738"/>
                  </a:lnTo>
                  <a:lnTo>
                    <a:pt x="18" y="732"/>
                  </a:lnTo>
                  <a:lnTo>
                    <a:pt x="12" y="726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8" y="696"/>
                  </a:lnTo>
                  <a:lnTo>
                    <a:pt x="24" y="708"/>
                  </a:lnTo>
                  <a:lnTo>
                    <a:pt x="36" y="702"/>
                  </a:lnTo>
                  <a:lnTo>
                    <a:pt x="36" y="678"/>
                  </a:lnTo>
                  <a:lnTo>
                    <a:pt x="36" y="660"/>
                  </a:lnTo>
                  <a:lnTo>
                    <a:pt x="42" y="654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72" y="624"/>
                  </a:lnTo>
                  <a:lnTo>
                    <a:pt x="90" y="618"/>
                  </a:lnTo>
                  <a:lnTo>
                    <a:pt x="102" y="618"/>
                  </a:lnTo>
                  <a:lnTo>
                    <a:pt x="114" y="612"/>
                  </a:lnTo>
                  <a:lnTo>
                    <a:pt x="138" y="606"/>
                  </a:lnTo>
                  <a:lnTo>
                    <a:pt x="144" y="606"/>
                  </a:lnTo>
                  <a:lnTo>
                    <a:pt x="150" y="594"/>
                  </a:lnTo>
                  <a:lnTo>
                    <a:pt x="156" y="576"/>
                  </a:lnTo>
                  <a:lnTo>
                    <a:pt x="168" y="552"/>
                  </a:lnTo>
                  <a:lnTo>
                    <a:pt x="168" y="540"/>
                  </a:lnTo>
                  <a:lnTo>
                    <a:pt x="180" y="522"/>
                  </a:lnTo>
                  <a:lnTo>
                    <a:pt x="186" y="498"/>
                  </a:lnTo>
                  <a:lnTo>
                    <a:pt x="198" y="480"/>
                  </a:lnTo>
                  <a:lnTo>
                    <a:pt x="204" y="486"/>
                  </a:lnTo>
                  <a:lnTo>
                    <a:pt x="210" y="480"/>
                  </a:lnTo>
                  <a:lnTo>
                    <a:pt x="204" y="474"/>
                  </a:lnTo>
                  <a:lnTo>
                    <a:pt x="198" y="462"/>
                  </a:lnTo>
                  <a:lnTo>
                    <a:pt x="192" y="456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50"/>
                  </a:lnTo>
                  <a:lnTo>
                    <a:pt x="132" y="426"/>
                  </a:lnTo>
                  <a:lnTo>
                    <a:pt x="132" y="396"/>
                  </a:lnTo>
                  <a:lnTo>
                    <a:pt x="132" y="378"/>
                  </a:lnTo>
                  <a:lnTo>
                    <a:pt x="126" y="348"/>
                  </a:lnTo>
                  <a:lnTo>
                    <a:pt x="132" y="312"/>
                  </a:lnTo>
                  <a:lnTo>
                    <a:pt x="126" y="288"/>
                  </a:lnTo>
                  <a:lnTo>
                    <a:pt x="138" y="282"/>
                  </a:lnTo>
                  <a:lnTo>
                    <a:pt x="126" y="264"/>
                  </a:lnTo>
                  <a:lnTo>
                    <a:pt x="126" y="258"/>
                  </a:lnTo>
                  <a:lnTo>
                    <a:pt x="120" y="246"/>
                  </a:lnTo>
                  <a:lnTo>
                    <a:pt x="126" y="234"/>
                  </a:lnTo>
                  <a:lnTo>
                    <a:pt x="114" y="228"/>
                  </a:lnTo>
                  <a:lnTo>
                    <a:pt x="114" y="222"/>
                  </a:lnTo>
                  <a:lnTo>
                    <a:pt x="96" y="204"/>
                  </a:lnTo>
                  <a:lnTo>
                    <a:pt x="84" y="180"/>
                  </a:lnTo>
                  <a:lnTo>
                    <a:pt x="78" y="168"/>
                  </a:lnTo>
                  <a:lnTo>
                    <a:pt x="72" y="162"/>
                  </a:lnTo>
                  <a:lnTo>
                    <a:pt x="66" y="144"/>
                  </a:lnTo>
                  <a:lnTo>
                    <a:pt x="60" y="138"/>
                  </a:lnTo>
                  <a:lnTo>
                    <a:pt x="66" y="126"/>
                  </a:lnTo>
                  <a:lnTo>
                    <a:pt x="66" y="114"/>
                  </a:lnTo>
                  <a:lnTo>
                    <a:pt x="72" y="114"/>
                  </a:lnTo>
                  <a:lnTo>
                    <a:pt x="72" y="108"/>
                  </a:lnTo>
                  <a:lnTo>
                    <a:pt x="78" y="102"/>
                  </a:lnTo>
                  <a:lnTo>
                    <a:pt x="78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120" y="78"/>
                  </a:lnTo>
                  <a:lnTo>
                    <a:pt x="144" y="84"/>
                  </a:lnTo>
                  <a:lnTo>
                    <a:pt x="150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74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92" y="102"/>
                  </a:lnTo>
                  <a:lnTo>
                    <a:pt x="198" y="96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16" y="96"/>
                  </a:lnTo>
                  <a:lnTo>
                    <a:pt x="222" y="96"/>
                  </a:lnTo>
                  <a:lnTo>
                    <a:pt x="228" y="96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94" y="114"/>
                  </a:lnTo>
                  <a:lnTo>
                    <a:pt x="312" y="120"/>
                  </a:lnTo>
                  <a:lnTo>
                    <a:pt x="318" y="126"/>
                  </a:lnTo>
                  <a:lnTo>
                    <a:pt x="330" y="132"/>
                  </a:lnTo>
                  <a:lnTo>
                    <a:pt x="342" y="132"/>
                  </a:lnTo>
                  <a:lnTo>
                    <a:pt x="348" y="132"/>
                  </a:lnTo>
                  <a:lnTo>
                    <a:pt x="354" y="138"/>
                  </a:lnTo>
                  <a:lnTo>
                    <a:pt x="366" y="138"/>
                  </a:lnTo>
                  <a:lnTo>
                    <a:pt x="372" y="144"/>
                  </a:lnTo>
                  <a:lnTo>
                    <a:pt x="378" y="150"/>
                  </a:lnTo>
                  <a:lnTo>
                    <a:pt x="384" y="150"/>
                  </a:lnTo>
                  <a:lnTo>
                    <a:pt x="390" y="150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14" y="156"/>
                  </a:lnTo>
                  <a:lnTo>
                    <a:pt x="420" y="156"/>
                  </a:lnTo>
                  <a:lnTo>
                    <a:pt x="426" y="162"/>
                  </a:lnTo>
                  <a:lnTo>
                    <a:pt x="438" y="168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62" y="174"/>
                  </a:lnTo>
                  <a:lnTo>
                    <a:pt x="468" y="174"/>
                  </a:lnTo>
                  <a:lnTo>
                    <a:pt x="474" y="174"/>
                  </a:lnTo>
                  <a:lnTo>
                    <a:pt x="474" y="180"/>
                  </a:lnTo>
                  <a:lnTo>
                    <a:pt x="480" y="192"/>
                  </a:lnTo>
                  <a:lnTo>
                    <a:pt x="498" y="198"/>
                  </a:lnTo>
                  <a:lnTo>
                    <a:pt x="510" y="210"/>
                  </a:lnTo>
                  <a:lnTo>
                    <a:pt x="516" y="210"/>
                  </a:lnTo>
                  <a:lnTo>
                    <a:pt x="522" y="210"/>
                  </a:lnTo>
                  <a:lnTo>
                    <a:pt x="534" y="216"/>
                  </a:lnTo>
                  <a:lnTo>
                    <a:pt x="540" y="216"/>
                  </a:lnTo>
                  <a:lnTo>
                    <a:pt x="546" y="222"/>
                  </a:lnTo>
                  <a:lnTo>
                    <a:pt x="552" y="222"/>
                  </a:lnTo>
                  <a:lnTo>
                    <a:pt x="558" y="228"/>
                  </a:lnTo>
                  <a:lnTo>
                    <a:pt x="564" y="228"/>
                  </a:lnTo>
                  <a:lnTo>
                    <a:pt x="570" y="234"/>
                  </a:lnTo>
                  <a:lnTo>
                    <a:pt x="576" y="240"/>
                  </a:lnTo>
                  <a:lnTo>
                    <a:pt x="582" y="240"/>
                  </a:lnTo>
                  <a:lnTo>
                    <a:pt x="588" y="240"/>
                  </a:lnTo>
                  <a:lnTo>
                    <a:pt x="594" y="240"/>
                  </a:lnTo>
                  <a:lnTo>
                    <a:pt x="600" y="228"/>
                  </a:lnTo>
                  <a:lnTo>
                    <a:pt x="588" y="216"/>
                  </a:lnTo>
                  <a:lnTo>
                    <a:pt x="588" y="198"/>
                  </a:lnTo>
                  <a:lnTo>
                    <a:pt x="582" y="198"/>
                  </a:lnTo>
                  <a:lnTo>
                    <a:pt x="588" y="192"/>
                  </a:lnTo>
                  <a:lnTo>
                    <a:pt x="582" y="168"/>
                  </a:lnTo>
                  <a:lnTo>
                    <a:pt x="558" y="114"/>
                  </a:lnTo>
                  <a:lnTo>
                    <a:pt x="552" y="90"/>
                  </a:lnTo>
                  <a:lnTo>
                    <a:pt x="558" y="60"/>
                  </a:lnTo>
                  <a:lnTo>
                    <a:pt x="564" y="48"/>
                  </a:lnTo>
                  <a:lnTo>
                    <a:pt x="582" y="42"/>
                  </a:lnTo>
                  <a:lnTo>
                    <a:pt x="624" y="6"/>
                  </a:lnTo>
                  <a:lnTo>
                    <a:pt x="648" y="0"/>
                  </a:lnTo>
                  <a:lnTo>
                    <a:pt x="678" y="0"/>
                  </a:lnTo>
                  <a:lnTo>
                    <a:pt x="720" y="12"/>
                  </a:lnTo>
                  <a:lnTo>
                    <a:pt x="744" y="24"/>
                  </a:lnTo>
                  <a:lnTo>
                    <a:pt x="768" y="42"/>
                  </a:lnTo>
                  <a:lnTo>
                    <a:pt x="816" y="48"/>
                  </a:lnTo>
                  <a:lnTo>
                    <a:pt x="834" y="48"/>
                  </a:lnTo>
                  <a:lnTo>
                    <a:pt x="852" y="54"/>
                  </a:lnTo>
                  <a:lnTo>
                    <a:pt x="906" y="60"/>
                  </a:lnTo>
                  <a:lnTo>
                    <a:pt x="948" y="54"/>
                  </a:lnTo>
                  <a:lnTo>
                    <a:pt x="978" y="42"/>
                  </a:lnTo>
                  <a:lnTo>
                    <a:pt x="984" y="48"/>
                  </a:lnTo>
                  <a:lnTo>
                    <a:pt x="990" y="60"/>
                  </a:lnTo>
                  <a:lnTo>
                    <a:pt x="996" y="66"/>
                  </a:lnTo>
                  <a:lnTo>
                    <a:pt x="1002" y="72"/>
                  </a:lnTo>
                  <a:lnTo>
                    <a:pt x="1014" y="78"/>
                  </a:lnTo>
                  <a:lnTo>
                    <a:pt x="1014" y="84"/>
                  </a:lnTo>
                  <a:lnTo>
                    <a:pt x="1032" y="84"/>
                  </a:lnTo>
                  <a:lnTo>
                    <a:pt x="1032" y="90"/>
                  </a:lnTo>
                  <a:lnTo>
                    <a:pt x="1032" y="96"/>
                  </a:lnTo>
                  <a:lnTo>
                    <a:pt x="1032" y="108"/>
                  </a:lnTo>
                  <a:lnTo>
                    <a:pt x="1056" y="126"/>
                  </a:lnTo>
                  <a:lnTo>
                    <a:pt x="1068" y="138"/>
                  </a:lnTo>
                  <a:lnTo>
                    <a:pt x="1068" y="156"/>
                  </a:lnTo>
                  <a:lnTo>
                    <a:pt x="1080" y="150"/>
                  </a:lnTo>
                  <a:lnTo>
                    <a:pt x="1086" y="150"/>
                  </a:lnTo>
                  <a:lnTo>
                    <a:pt x="1092" y="156"/>
                  </a:lnTo>
                  <a:lnTo>
                    <a:pt x="1092" y="162"/>
                  </a:lnTo>
                  <a:lnTo>
                    <a:pt x="1092" y="168"/>
                  </a:lnTo>
                  <a:lnTo>
                    <a:pt x="1098" y="168"/>
                  </a:lnTo>
                  <a:lnTo>
                    <a:pt x="1092" y="180"/>
                  </a:lnTo>
                  <a:lnTo>
                    <a:pt x="1092" y="186"/>
                  </a:lnTo>
                  <a:lnTo>
                    <a:pt x="1086" y="192"/>
                  </a:lnTo>
                  <a:lnTo>
                    <a:pt x="1068" y="210"/>
                  </a:lnTo>
                  <a:lnTo>
                    <a:pt x="1068" y="216"/>
                  </a:lnTo>
                  <a:lnTo>
                    <a:pt x="1074" y="228"/>
                  </a:lnTo>
                  <a:lnTo>
                    <a:pt x="1092" y="234"/>
                  </a:lnTo>
                  <a:lnTo>
                    <a:pt x="1122" y="216"/>
                  </a:lnTo>
                  <a:lnTo>
                    <a:pt x="1188" y="204"/>
                  </a:lnTo>
                  <a:lnTo>
                    <a:pt x="1212" y="204"/>
                  </a:lnTo>
                  <a:lnTo>
                    <a:pt x="1230" y="198"/>
                  </a:lnTo>
                  <a:lnTo>
                    <a:pt x="1236" y="204"/>
                  </a:lnTo>
                  <a:lnTo>
                    <a:pt x="1242" y="210"/>
                  </a:lnTo>
                  <a:lnTo>
                    <a:pt x="1242" y="204"/>
                  </a:lnTo>
                  <a:lnTo>
                    <a:pt x="1248" y="198"/>
                  </a:lnTo>
                  <a:lnTo>
                    <a:pt x="1308" y="204"/>
                  </a:lnTo>
                  <a:lnTo>
                    <a:pt x="1338" y="204"/>
                  </a:lnTo>
                  <a:lnTo>
                    <a:pt x="1374" y="228"/>
                  </a:lnTo>
                  <a:lnTo>
                    <a:pt x="1380" y="234"/>
                  </a:lnTo>
                  <a:lnTo>
                    <a:pt x="1380" y="240"/>
                  </a:lnTo>
                  <a:lnTo>
                    <a:pt x="1386" y="252"/>
                  </a:lnTo>
                  <a:lnTo>
                    <a:pt x="1392" y="252"/>
                  </a:lnTo>
                  <a:lnTo>
                    <a:pt x="1416" y="270"/>
                  </a:lnTo>
                  <a:lnTo>
                    <a:pt x="1428" y="294"/>
                  </a:lnTo>
                  <a:lnTo>
                    <a:pt x="1440" y="312"/>
                  </a:lnTo>
                  <a:lnTo>
                    <a:pt x="1452" y="330"/>
                  </a:lnTo>
                  <a:lnTo>
                    <a:pt x="1464" y="330"/>
                  </a:lnTo>
                  <a:lnTo>
                    <a:pt x="1464" y="336"/>
                  </a:lnTo>
                  <a:lnTo>
                    <a:pt x="1470" y="336"/>
                  </a:lnTo>
                  <a:lnTo>
                    <a:pt x="1470" y="342"/>
                  </a:lnTo>
                  <a:lnTo>
                    <a:pt x="1476" y="342"/>
                  </a:lnTo>
                  <a:lnTo>
                    <a:pt x="1488" y="336"/>
                  </a:lnTo>
                  <a:lnTo>
                    <a:pt x="1494" y="342"/>
                  </a:lnTo>
                  <a:lnTo>
                    <a:pt x="1500" y="342"/>
                  </a:lnTo>
                  <a:lnTo>
                    <a:pt x="1512" y="366"/>
                  </a:lnTo>
                  <a:lnTo>
                    <a:pt x="1530" y="396"/>
                  </a:lnTo>
                  <a:lnTo>
                    <a:pt x="1536" y="444"/>
                  </a:lnTo>
                  <a:lnTo>
                    <a:pt x="1530" y="480"/>
                  </a:lnTo>
                  <a:lnTo>
                    <a:pt x="1506" y="510"/>
                  </a:lnTo>
                  <a:lnTo>
                    <a:pt x="1500" y="546"/>
                  </a:lnTo>
                  <a:lnTo>
                    <a:pt x="1494" y="564"/>
                  </a:lnTo>
                  <a:lnTo>
                    <a:pt x="1494" y="576"/>
                  </a:lnTo>
                  <a:lnTo>
                    <a:pt x="1500" y="582"/>
                  </a:lnTo>
                  <a:lnTo>
                    <a:pt x="1494" y="612"/>
                  </a:lnTo>
                  <a:lnTo>
                    <a:pt x="1476" y="630"/>
                  </a:lnTo>
                  <a:lnTo>
                    <a:pt x="1434" y="672"/>
                  </a:lnTo>
                  <a:lnTo>
                    <a:pt x="1392" y="756"/>
                  </a:lnTo>
                  <a:lnTo>
                    <a:pt x="1380" y="792"/>
                  </a:lnTo>
                  <a:lnTo>
                    <a:pt x="1374" y="798"/>
                  </a:lnTo>
                  <a:lnTo>
                    <a:pt x="1368" y="798"/>
                  </a:lnTo>
                  <a:lnTo>
                    <a:pt x="1380" y="804"/>
                  </a:lnTo>
                  <a:lnTo>
                    <a:pt x="1386" y="804"/>
                  </a:lnTo>
                  <a:lnTo>
                    <a:pt x="1380" y="822"/>
                  </a:lnTo>
                  <a:lnTo>
                    <a:pt x="1380" y="852"/>
                  </a:lnTo>
                  <a:lnTo>
                    <a:pt x="1374" y="858"/>
                  </a:lnTo>
                  <a:lnTo>
                    <a:pt x="1380" y="858"/>
                  </a:lnTo>
                  <a:lnTo>
                    <a:pt x="1374" y="864"/>
                  </a:lnTo>
                  <a:lnTo>
                    <a:pt x="1374" y="870"/>
                  </a:lnTo>
                  <a:lnTo>
                    <a:pt x="1374" y="876"/>
                  </a:lnTo>
                  <a:lnTo>
                    <a:pt x="1368" y="900"/>
                  </a:lnTo>
                  <a:lnTo>
                    <a:pt x="1362" y="906"/>
                  </a:lnTo>
                  <a:lnTo>
                    <a:pt x="1362" y="918"/>
                  </a:lnTo>
                  <a:lnTo>
                    <a:pt x="1362" y="924"/>
                  </a:lnTo>
                  <a:lnTo>
                    <a:pt x="1356" y="942"/>
                  </a:lnTo>
                  <a:lnTo>
                    <a:pt x="1350" y="972"/>
                  </a:lnTo>
                  <a:lnTo>
                    <a:pt x="1350" y="1014"/>
                  </a:lnTo>
                  <a:lnTo>
                    <a:pt x="1350" y="10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3" name="Freeform 18">
              <a:extLst>
                <a:ext uri="{FF2B5EF4-FFF2-40B4-BE49-F238E27FC236}">
                  <a16:creationId xmlns:a16="http://schemas.microsoft.com/office/drawing/2014/main" id="{EC11F2E0-3C06-46E2-8AD2-66EBE00FFE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32346" y="3837389"/>
              <a:ext cx="556811" cy="818559"/>
            </a:xfrm>
            <a:custGeom>
              <a:avLst/>
              <a:gdLst>
                <a:gd name="T0" fmla="*/ 12 w 1044"/>
                <a:gd name="T1" fmla="*/ 95 h 1542"/>
                <a:gd name="T2" fmla="*/ 7 w 1044"/>
                <a:gd name="T3" fmla="*/ 93 h 1542"/>
                <a:gd name="T4" fmla="*/ 0 w 1044"/>
                <a:gd name="T5" fmla="*/ 88 h 1542"/>
                <a:gd name="T6" fmla="*/ 3 w 1044"/>
                <a:gd name="T7" fmla="*/ 74 h 1542"/>
                <a:gd name="T8" fmla="*/ 4 w 1044"/>
                <a:gd name="T9" fmla="*/ 59 h 1542"/>
                <a:gd name="T10" fmla="*/ 7 w 1044"/>
                <a:gd name="T11" fmla="*/ 52 h 1542"/>
                <a:gd name="T12" fmla="*/ 20 w 1044"/>
                <a:gd name="T13" fmla="*/ 50 h 1542"/>
                <a:gd name="T14" fmla="*/ 24 w 1044"/>
                <a:gd name="T15" fmla="*/ 46 h 1542"/>
                <a:gd name="T16" fmla="*/ 29 w 1044"/>
                <a:gd name="T17" fmla="*/ 33 h 1542"/>
                <a:gd name="T18" fmla="*/ 32 w 1044"/>
                <a:gd name="T19" fmla="*/ 26 h 1542"/>
                <a:gd name="T20" fmla="*/ 30 w 1044"/>
                <a:gd name="T21" fmla="*/ 20 h 1542"/>
                <a:gd name="T22" fmla="*/ 26 w 1044"/>
                <a:gd name="T23" fmla="*/ 17 h 1542"/>
                <a:gd name="T24" fmla="*/ 28 w 1044"/>
                <a:gd name="T25" fmla="*/ 12 h 1542"/>
                <a:gd name="T26" fmla="*/ 44 w 1044"/>
                <a:gd name="T27" fmla="*/ 5 h 1542"/>
                <a:gd name="T28" fmla="*/ 57 w 1044"/>
                <a:gd name="T29" fmla="*/ 2 h 1542"/>
                <a:gd name="T30" fmla="*/ 65 w 1044"/>
                <a:gd name="T31" fmla="*/ 12 h 1542"/>
                <a:gd name="T32" fmla="*/ 81 w 1044"/>
                <a:gd name="T33" fmla="*/ 9 h 1542"/>
                <a:gd name="T34" fmla="*/ 91 w 1044"/>
                <a:gd name="T35" fmla="*/ 20 h 1542"/>
                <a:gd name="T36" fmla="*/ 89 w 1044"/>
                <a:gd name="T37" fmla="*/ 28 h 1542"/>
                <a:gd name="T38" fmla="*/ 83 w 1044"/>
                <a:gd name="T39" fmla="*/ 33 h 1542"/>
                <a:gd name="T40" fmla="*/ 74 w 1044"/>
                <a:gd name="T41" fmla="*/ 42 h 1542"/>
                <a:gd name="T42" fmla="*/ 58 w 1044"/>
                <a:gd name="T43" fmla="*/ 57 h 1542"/>
                <a:gd name="T44" fmla="*/ 54 w 1044"/>
                <a:gd name="T45" fmla="*/ 65 h 1542"/>
                <a:gd name="T46" fmla="*/ 59 w 1044"/>
                <a:gd name="T47" fmla="*/ 74 h 1542"/>
                <a:gd name="T48" fmla="*/ 55 w 1044"/>
                <a:gd name="T49" fmla="*/ 84 h 1542"/>
                <a:gd name="T50" fmla="*/ 52 w 1044"/>
                <a:gd name="T51" fmla="*/ 98 h 1542"/>
                <a:gd name="T52" fmla="*/ 47 w 1044"/>
                <a:gd name="T53" fmla="*/ 105 h 1542"/>
                <a:gd name="T54" fmla="*/ 42 w 1044"/>
                <a:gd name="T55" fmla="*/ 111 h 1542"/>
                <a:gd name="T56" fmla="*/ 43 w 1044"/>
                <a:gd name="T57" fmla="*/ 120 h 1542"/>
                <a:gd name="T58" fmla="*/ 45 w 1044"/>
                <a:gd name="T59" fmla="*/ 125 h 1542"/>
                <a:gd name="T60" fmla="*/ 44 w 1044"/>
                <a:gd name="T61" fmla="*/ 130 h 1542"/>
                <a:gd name="T62" fmla="*/ 45 w 1044"/>
                <a:gd name="T63" fmla="*/ 131 h 1542"/>
                <a:gd name="T64" fmla="*/ 48 w 1044"/>
                <a:gd name="T65" fmla="*/ 133 h 1542"/>
                <a:gd name="T66" fmla="*/ 39 w 1044"/>
                <a:gd name="T67" fmla="*/ 133 h 1542"/>
                <a:gd name="T68" fmla="*/ 42 w 1044"/>
                <a:gd name="T69" fmla="*/ 132 h 1542"/>
                <a:gd name="T70" fmla="*/ 38 w 1044"/>
                <a:gd name="T71" fmla="*/ 133 h 1542"/>
                <a:gd name="T72" fmla="*/ 37 w 1044"/>
                <a:gd name="T73" fmla="*/ 129 h 1542"/>
                <a:gd name="T74" fmla="*/ 40 w 1044"/>
                <a:gd name="T75" fmla="*/ 125 h 1542"/>
                <a:gd name="T76" fmla="*/ 40 w 1044"/>
                <a:gd name="T77" fmla="*/ 120 h 1542"/>
                <a:gd name="T78" fmla="*/ 40 w 1044"/>
                <a:gd name="T79" fmla="*/ 117 h 1542"/>
                <a:gd name="T80" fmla="*/ 37 w 1044"/>
                <a:gd name="T81" fmla="*/ 120 h 1542"/>
                <a:gd name="T82" fmla="*/ 34 w 1044"/>
                <a:gd name="T83" fmla="*/ 122 h 1542"/>
                <a:gd name="T84" fmla="*/ 36 w 1044"/>
                <a:gd name="T85" fmla="*/ 120 h 1542"/>
                <a:gd name="T86" fmla="*/ 30 w 1044"/>
                <a:gd name="T87" fmla="*/ 120 h 1542"/>
                <a:gd name="T88" fmla="*/ 31 w 1044"/>
                <a:gd name="T89" fmla="*/ 113 h 1542"/>
                <a:gd name="T90" fmla="*/ 29 w 1044"/>
                <a:gd name="T91" fmla="*/ 112 h 1542"/>
                <a:gd name="T92" fmla="*/ 31 w 1044"/>
                <a:gd name="T93" fmla="*/ 117 h 1542"/>
                <a:gd name="T94" fmla="*/ 27 w 1044"/>
                <a:gd name="T95" fmla="*/ 116 h 1542"/>
                <a:gd name="T96" fmla="*/ 25 w 1044"/>
                <a:gd name="T97" fmla="*/ 112 h 1542"/>
                <a:gd name="T98" fmla="*/ 21 w 1044"/>
                <a:gd name="T99" fmla="*/ 109 h 1542"/>
                <a:gd name="T100" fmla="*/ 21 w 1044"/>
                <a:gd name="T101" fmla="*/ 113 h 1542"/>
                <a:gd name="T102" fmla="*/ 40 w 1044"/>
                <a:gd name="T103" fmla="*/ 120 h 1542"/>
                <a:gd name="T104" fmla="*/ 40 w 1044"/>
                <a:gd name="T105" fmla="*/ 121 h 1542"/>
                <a:gd name="T106" fmla="*/ 40 w 1044"/>
                <a:gd name="T107" fmla="*/ 116 h 1542"/>
                <a:gd name="T108" fmla="*/ 38 w 1044"/>
                <a:gd name="T109" fmla="*/ 120 h 1542"/>
                <a:gd name="T110" fmla="*/ 23 w 1044"/>
                <a:gd name="T111" fmla="*/ 110 h 1542"/>
                <a:gd name="T112" fmla="*/ 37 w 1044"/>
                <a:gd name="T113" fmla="*/ 124 h 1542"/>
                <a:gd name="T114" fmla="*/ 40 w 1044"/>
                <a:gd name="T115" fmla="*/ 125 h 1542"/>
                <a:gd name="T116" fmla="*/ 38 w 1044"/>
                <a:gd name="T117" fmla="*/ 128 h 1542"/>
                <a:gd name="T118" fmla="*/ 25 w 1044"/>
                <a:gd name="T119" fmla="*/ 117 h 1542"/>
                <a:gd name="T120" fmla="*/ 27 w 1044"/>
                <a:gd name="T121" fmla="*/ 127 h 1542"/>
                <a:gd name="T122" fmla="*/ 24 w 1044"/>
                <a:gd name="T123" fmla="*/ 113 h 15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4"/>
                <a:gd name="T187" fmla="*/ 0 h 1542"/>
                <a:gd name="T188" fmla="*/ 1044 w 1044"/>
                <a:gd name="T189" fmla="*/ 1542 h 154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4" h="1542">
                  <a:moveTo>
                    <a:pt x="234" y="1278"/>
                  </a:moveTo>
                  <a:lnTo>
                    <a:pt x="228" y="1272"/>
                  </a:lnTo>
                  <a:lnTo>
                    <a:pt x="222" y="1266"/>
                  </a:lnTo>
                  <a:lnTo>
                    <a:pt x="222" y="1260"/>
                  </a:lnTo>
                  <a:lnTo>
                    <a:pt x="204" y="1248"/>
                  </a:lnTo>
                  <a:lnTo>
                    <a:pt x="192" y="1248"/>
                  </a:lnTo>
                  <a:lnTo>
                    <a:pt x="186" y="1236"/>
                  </a:lnTo>
                  <a:lnTo>
                    <a:pt x="174" y="1218"/>
                  </a:lnTo>
                  <a:lnTo>
                    <a:pt x="162" y="1194"/>
                  </a:lnTo>
                  <a:lnTo>
                    <a:pt x="156" y="1182"/>
                  </a:lnTo>
                  <a:lnTo>
                    <a:pt x="162" y="1146"/>
                  </a:lnTo>
                  <a:lnTo>
                    <a:pt x="156" y="1134"/>
                  </a:lnTo>
                  <a:lnTo>
                    <a:pt x="138" y="1122"/>
                  </a:lnTo>
                  <a:lnTo>
                    <a:pt x="132" y="1116"/>
                  </a:lnTo>
                  <a:lnTo>
                    <a:pt x="138" y="1098"/>
                  </a:lnTo>
                  <a:lnTo>
                    <a:pt x="138" y="1092"/>
                  </a:lnTo>
                  <a:lnTo>
                    <a:pt x="138" y="1086"/>
                  </a:lnTo>
                  <a:lnTo>
                    <a:pt x="132" y="1074"/>
                  </a:lnTo>
                  <a:lnTo>
                    <a:pt x="126" y="1074"/>
                  </a:lnTo>
                  <a:lnTo>
                    <a:pt x="126" y="1068"/>
                  </a:lnTo>
                  <a:lnTo>
                    <a:pt x="120" y="1062"/>
                  </a:lnTo>
                  <a:lnTo>
                    <a:pt x="120" y="1056"/>
                  </a:lnTo>
                  <a:lnTo>
                    <a:pt x="114" y="1050"/>
                  </a:lnTo>
                  <a:lnTo>
                    <a:pt x="108" y="1050"/>
                  </a:lnTo>
                  <a:lnTo>
                    <a:pt x="102" y="1056"/>
                  </a:lnTo>
                  <a:lnTo>
                    <a:pt x="102" y="1062"/>
                  </a:lnTo>
                  <a:lnTo>
                    <a:pt x="96" y="1062"/>
                  </a:lnTo>
                  <a:lnTo>
                    <a:pt x="96" y="1068"/>
                  </a:lnTo>
                  <a:lnTo>
                    <a:pt x="96" y="1074"/>
                  </a:lnTo>
                  <a:lnTo>
                    <a:pt x="90" y="1074"/>
                  </a:lnTo>
                  <a:lnTo>
                    <a:pt x="84" y="1080"/>
                  </a:lnTo>
                  <a:lnTo>
                    <a:pt x="78" y="1074"/>
                  </a:lnTo>
                  <a:lnTo>
                    <a:pt x="72" y="1074"/>
                  </a:lnTo>
                  <a:lnTo>
                    <a:pt x="72" y="1068"/>
                  </a:lnTo>
                  <a:lnTo>
                    <a:pt x="72" y="1062"/>
                  </a:lnTo>
                  <a:lnTo>
                    <a:pt x="60" y="1056"/>
                  </a:lnTo>
                  <a:lnTo>
                    <a:pt x="60" y="1044"/>
                  </a:lnTo>
                  <a:lnTo>
                    <a:pt x="60" y="1032"/>
                  </a:lnTo>
                  <a:lnTo>
                    <a:pt x="60" y="1026"/>
                  </a:lnTo>
                  <a:lnTo>
                    <a:pt x="54" y="1026"/>
                  </a:lnTo>
                  <a:lnTo>
                    <a:pt x="48" y="1014"/>
                  </a:lnTo>
                  <a:lnTo>
                    <a:pt x="42" y="1008"/>
                  </a:lnTo>
                  <a:lnTo>
                    <a:pt x="30" y="1008"/>
                  </a:lnTo>
                  <a:lnTo>
                    <a:pt x="30" y="1002"/>
                  </a:lnTo>
                  <a:lnTo>
                    <a:pt x="24" y="1008"/>
                  </a:lnTo>
                  <a:lnTo>
                    <a:pt x="12" y="1008"/>
                  </a:lnTo>
                  <a:lnTo>
                    <a:pt x="6" y="1008"/>
                  </a:lnTo>
                  <a:lnTo>
                    <a:pt x="0" y="1008"/>
                  </a:lnTo>
                  <a:lnTo>
                    <a:pt x="0" y="1002"/>
                  </a:lnTo>
                  <a:lnTo>
                    <a:pt x="6" y="990"/>
                  </a:lnTo>
                  <a:lnTo>
                    <a:pt x="6" y="984"/>
                  </a:lnTo>
                  <a:lnTo>
                    <a:pt x="0" y="978"/>
                  </a:lnTo>
                  <a:lnTo>
                    <a:pt x="6" y="972"/>
                  </a:lnTo>
                  <a:lnTo>
                    <a:pt x="12" y="972"/>
                  </a:lnTo>
                  <a:lnTo>
                    <a:pt x="72" y="978"/>
                  </a:lnTo>
                  <a:lnTo>
                    <a:pt x="78" y="972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30"/>
                  </a:lnTo>
                  <a:lnTo>
                    <a:pt x="54" y="912"/>
                  </a:lnTo>
                  <a:lnTo>
                    <a:pt x="42" y="906"/>
                  </a:lnTo>
                  <a:lnTo>
                    <a:pt x="36" y="894"/>
                  </a:lnTo>
                  <a:lnTo>
                    <a:pt x="30" y="876"/>
                  </a:lnTo>
                  <a:lnTo>
                    <a:pt x="30" y="858"/>
                  </a:lnTo>
                  <a:lnTo>
                    <a:pt x="30" y="840"/>
                  </a:lnTo>
                  <a:lnTo>
                    <a:pt x="36" y="816"/>
                  </a:lnTo>
                  <a:lnTo>
                    <a:pt x="36" y="792"/>
                  </a:lnTo>
                  <a:lnTo>
                    <a:pt x="36" y="780"/>
                  </a:lnTo>
                  <a:lnTo>
                    <a:pt x="12" y="774"/>
                  </a:lnTo>
                  <a:lnTo>
                    <a:pt x="24" y="756"/>
                  </a:lnTo>
                  <a:lnTo>
                    <a:pt x="24" y="744"/>
                  </a:lnTo>
                  <a:lnTo>
                    <a:pt x="30" y="738"/>
                  </a:lnTo>
                  <a:lnTo>
                    <a:pt x="30" y="732"/>
                  </a:lnTo>
                  <a:lnTo>
                    <a:pt x="36" y="720"/>
                  </a:lnTo>
                  <a:lnTo>
                    <a:pt x="42" y="714"/>
                  </a:lnTo>
                  <a:lnTo>
                    <a:pt x="54" y="708"/>
                  </a:lnTo>
                  <a:lnTo>
                    <a:pt x="60" y="702"/>
                  </a:lnTo>
                  <a:lnTo>
                    <a:pt x="48" y="690"/>
                  </a:lnTo>
                  <a:lnTo>
                    <a:pt x="48" y="684"/>
                  </a:lnTo>
                  <a:lnTo>
                    <a:pt x="48" y="678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66"/>
                  </a:lnTo>
                  <a:lnTo>
                    <a:pt x="72" y="654"/>
                  </a:lnTo>
                  <a:lnTo>
                    <a:pt x="72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84" y="630"/>
                  </a:lnTo>
                  <a:lnTo>
                    <a:pt x="90" y="630"/>
                  </a:lnTo>
                  <a:lnTo>
                    <a:pt x="96" y="630"/>
                  </a:lnTo>
                  <a:lnTo>
                    <a:pt x="96" y="624"/>
                  </a:lnTo>
                  <a:lnTo>
                    <a:pt x="90" y="624"/>
                  </a:lnTo>
                  <a:lnTo>
                    <a:pt x="84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90" y="600"/>
                  </a:lnTo>
                  <a:lnTo>
                    <a:pt x="84" y="600"/>
                  </a:lnTo>
                  <a:lnTo>
                    <a:pt x="78" y="594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126" y="564"/>
                  </a:lnTo>
                  <a:lnTo>
                    <a:pt x="144" y="564"/>
                  </a:lnTo>
                  <a:lnTo>
                    <a:pt x="156" y="582"/>
                  </a:lnTo>
                  <a:lnTo>
                    <a:pt x="162" y="600"/>
                  </a:lnTo>
                  <a:lnTo>
                    <a:pt x="180" y="588"/>
                  </a:lnTo>
                  <a:lnTo>
                    <a:pt x="192" y="588"/>
                  </a:lnTo>
                  <a:lnTo>
                    <a:pt x="198" y="588"/>
                  </a:lnTo>
                  <a:lnTo>
                    <a:pt x="210" y="582"/>
                  </a:lnTo>
                  <a:lnTo>
                    <a:pt x="216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58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46" y="558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58" y="570"/>
                  </a:lnTo>
                  <a:lnTo>
                    <a:pt x="264" y="570"/>
                  </a:lnTo>
                  <a:lnTo>
                    <a:pt x="270" y="564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46"/>
                  </a:lnTo>
                  <a:lnTo>
                    <a:pt x="276" y="540"/>
                  </a:lnTo>
                  <a:lnTo>
                    <a:pt x="276" y="534"/>
                  </a:lnTo>
                  <a:lnTo>
                    <a:pt x="276" y="528"/>
                  </a:lnTo>
                  <a:lnTo>
                    <a:pt x="282" y="528"/>
                  </a:lnTo>
                  <a:lnTo>
                    <a:pt x="282" y="522"/>
                  </a:lnTo>
                  <a:lnTo>
                    <a:pt x="282" y="516"/>
                  </a:lnTo>
                  <a:lnTo>
                    <a:pt x="282" y="510"/>
                  </a:lnTo>
                  <a:lnTo>
                    <a:pt x="282" y="504"/>
                  </a:lnTo>
                  <a:lnTo>
                    <a:pt x="282" y="492"/>
                  </a:lnTo>
                  <a:lnTo>
                    <a:pt x="288" y="486"/>
                  </a:lnTo>
                  <a:lnTo>
                    <a:pt x="300" y="480"/>
                  </a:lnTo>
                  <a:lnTo>
                    <a:pt x="306" y="462"/>
                  </a:lnTo>
                  <a:lnTo>
                    <a:pt x="318" y="444"/>
                  </a:lnTo>
                  <a:lnTo>
                    <a:pt x="330" y="444"/>
                  </a:lnTo>
                  <a:lnTo>
                    <a:pt x="330" y="432"/>
                  </a:lnTo>
                  <a:lnTo>
                    <a:pt x="342" y="432"/>
                  </a:lnTo>
                  <a:lnTo>
                    <a:pt x="354" y="402"/>
                  </a:lnTo>
                  <a:lnTo>
                    <a:pt x="348" y="390"/>
                  </a:lnTo>
                  <a:lnTo>
                    <a:pt x="336" y="384"/>
                  </a:lnTo>
                  <a:lnTo>
                    <a:pt x="336" y="360"/>
                  </a:lnTo>
                  <a:lnTo>
                    <a:pt x="336" y="354"/>
                  </a:lnTo>
                  <a:lnTo>
                    <a:pt x="336" y="342"/>
                  </a:lnTo>
                  <a:lnTo>
                    <a:pt x="342" y="336"/>
                  </a:lnTo>
                  <a:lnTo>
                    <a:pt x="342" y="324"/>
                  </a:lnTo>
                  <a:lnTo>
                    <a:pt x="372" y="324"/>
                  </a:lnTo>
                  <a:lnTo>
                    <a:pt x="378" y="324"/>
                  </a:lnTo>
                  <a:lnTo>
                    <a:pt x="378" y="318"/>
                  </a:lnTo>
                  <a:lnTo>
                    <a:pt x="372" y="312"/>
                  </a:lnTo>
                  <a:lnTo>
                    <a:pt x="378" y="312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84" y="300"/>
                  </a:lnTo>
                  <a:lnTo>
                    <a:pt x="384" y="294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66" y="294"/>
                  </a:lnTo>
                  <a:lnTo>
                    <a:pt x="366" y="288"/>
                  </a:lnTo>
                  <a:lnTo>
                    <a:pt x="372" y="288"/>
                  </a:lnTo>
                  <a:lnTo>
                    <a:pt x="372" y="282"/>
                  </a:lnTo>
                  <a:lnTo>
                    <a:pt x="366" y="276"/>
                  </a:lnTo>
                  <a:lnTo>
                    <a:pt x="360" y="270"/>
                  </a:lnTo>
                  <a:lnTo>
                    <a:pt x="360" y="264"/>
                  </a:lnTo>
                  <a:lnTo>
                    <a:pt x="354" y="264"/>
                  </a:lnTo>
                  <a:lnTo>
                    <a:pt x="348" y="258"/>
                  </a:lnTo>
                  <a:lnTo>
                    <a:pt x="354" y="258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40"/>
                  </a:lnTo>
                  <a:lnTo>
                    <a:pt x="354" y="240"/>
                  </a:lnTo>
                  <a:lnTo>
                    <a:pt x="342" y="234"/>
                  </a:lnTo>
                  <a:lnTo>
                    <a:pt x="342" y="228"/>
                  </a:lnTo>
                  <a:lnTo>
                    <a:pt x="348" y="228"/>
                  </a:lnTo>
                  <a:lnTo>
                    <a:pt x="342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6" y="216"/>
                  </a:lnTo>
                  <a:lnTo>
                    <a:pt x="330" y="222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24" y="210"/>
                  </a:lnTo>
                  <a:lnTo>
                    <a:pt x="318" y="210"/>
                  </a:lnTo>
                  <a:lnTo>
                    <a:pt x="318" y="204"/>
                  </a:lnTo>
                  <a:lnTo>
                    <a:pt x="312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294" y="192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300" y="174"/>
                  </a:lnTo>
                  <a:lnTo>
                    <a:pt x="300" y="168"/>
                  </a:lnTo>
                  <a:lnTo>
                    <a:pt x="300" y="162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88" y="150"/>
                  </a:lnTo>
                  <a:lnTo>
                    <a:pt x="288" y="144"/>
                  </a:lnTo>
                  <a:lnTo>
                    <a:pt x="282" y="144"/>
                  </a:lnTo>
                  <a:lnTo>
                    <a:pt x="282" y="138"/>
                  </a:lnTo>
                  <a:lnTo>
                    <a:pt x="312" y="132"/>
                  </a:lnTo>
                  <a:lnTo>
                    <a:pt x="324" y="120"/>
                  </a:lnTo>
                  <a:lnTo>
                    <a:pt x="330" y="114"/>
                  </a:lnTo>
                  <a:lnTo>
                    <a:pt x="336" y="102"/>
                  </a:lnTo>
                  <a:lnTo>
                    <a:pt x="348" y="90"/>
                  </a:lnTo>
                  <a:lnTo>
                    <a:pt x="360" y="84"/>
                  </a:lnTo>
                  <a:lnTo>
                    <a:pt x="372" y="84"/>
                  </a:lnTo>
                  <a:lnTo>
                    <a:pt x="378" y="84"/>
                  </a:lnTo>
                  <a:lnTo>
                    <a:pt x="384" y="90"/>
                  </a:lnTo>
                  <a:lnTo>
                    <a:pt x="402" y="90"/>
                  </a:lnTo>
                  <a:lnTo>
                    <a:pt x="438" y="84"/>
                  </a:lnTo>
                  <a:lnTo>
                    <a:pt x="456" y="84"/>
                  </a:lnTo>
                  <a:lnTo>
                    <a:pt x="462" y="78"/>
                  </a:lnTo>
                  <a:lnTo>
                    <a:pt x="486" y="72"/>
                  </a:lnTo>
                  <a:lnTo>
                    <a:pt x="492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04" y="54"/>
                  </a:lnTo>
                  <a:lnTo>
                    <a:pt x="510" y="42"/>
                  </a:lnTo>
                  <a:lnTo>
                    <a:pt x="504" y="42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498" y="30"/>
                  </a:lnTo>
                  <a:lnTo>
                    <a:pt x="492" y="30"/>
                  </a:lnTo>
                  <a:lnTo>
                    <a:pt x="492" y="24"/>
                  </a:lnTo>
                  <a:lnTo>
                    <a:pt x="486" y="18"/>
                  </a:lnTo>
                  <a:lnTo>
                    <a:pt x="498" y="18"/>
                  </a:lnTo>
                  <a:lnTo>
                    <a:pt x="510" y="18"/>
                  </a:lnTo>
                  <a:lnTo>
                    <a:pt x="522" y="12"/>
                  </a:lnTo>
                  <a:lnTo>
                    <a:pt x="528" y="6"/>
                  </a:lnTo>
                  <a:lnTo>
                    <a:pt x="570" y="0"/>
                  </a:lnTo>
                  <a:lnTo>
                    <a:pt x="606" y="6"/>
                  </a:lnTo>
                  <a:lnTo>
                    <a:pt x="654" y="24"/>
                  </a:lnTo>
                  <a:lnTo>
                    <a:pt x="666" y="36"/>
                  </a:lnTo>
                  <a:lnTo>
                    <a:pt x="672" y="30"/>
                  </a:lnTo>
                  <a:lnTo>
                    <a:pt x="690" y="42"/>
                  </a:lnTo>
                  <a:lnTo>
                    <a:pt x="702" y="48"/>
                  </a:lnTo>
                  <a:lnTo>
                    <a:pt x="714" y="60"/>
                  </a:lnTo>
                  <a:lnTo>
                    <a:pt x="714" y="66"/>
                  </a:lnTo>
                  <a:lnTo>
                    <a:pt x="720" y="72"/>
                  </a:lnTo>
                  <a:lnTo>
                    <a:pt x="720" y="78"/>
                  </a:lnTo>
                  <a:lnTo>
                    <a:pt x="720" y="102"/>
                  </a:lnTo>
                  <a:lnTo>
                    <a:pt x="720" y="108"/>
                  </a:lnTo>
                  <a:lnTo>
                    <a:pt x="714" y="108"/>
                  </a:lnTo>
                  <a:lnTo>
                    <a:pt x="714" y="126"/>
                  </a:lnTo>
                  <a:lnTo>
                    <a:pt x="732" y="126"/>
                  </a:lnTo>
                  <a:lnTo>
                    <a:pt x="726" y="132"/>
                  </a:lnTo>
                  <a:lnTo>
                    <a:pt x="738" y="132"/>
                  </a:lnTo>
                  <a:lnTo>
                    <a:pt x="738" y="138"/>
                  </a:lnTo>
                  <a:lnTo>
                    <a:pt x="738" y="144"/>
                  </a:lnTo>
                  <a:lnTo>
                    <a:pt x="744" y="144"/>
                  </a:lnTo>
                  <a:lnTo>
                    <a:pt x="744" y="150"/>
                  </a:lnTo>
                  <a:lnTo>
                    <a:pt x="756" y="156"/>
                  </a:lnTo>
                  <a:lnTo>
                    <a:pt x="768" y="156"/>
                  </a:lnTo>
                  <a:lnTo>
                    <a:pt x="780" y="156"/>
                  </a:lnTo>
                  <a:lnTo>
                    <a:pt x="792" y="150"/>
                  </a:lnTo>
                  <a:lnTo>
                    <a:pt x="786" y="150"/>
                  </a:lnTo>
                  <a:lnTo>
                    <a:pt x="786" y="144"/>
                  </a:lnTo>
                  <a:lnTo>
                    <a:pt x="804" y="144"/>
                  </a:lnTo>
                  <a:lnTo>
                    <a:pt x="816" y="132"/>
                  </a:lnTo>
                  <a:lnTo>
                    <a:pt x="822" y="126"/>
                  </a:lnTo>
                  <a:lnTo>
                    <a:pt x="828" y="132"/>
                  </a:lnTo>
                  <a:lnTo>
                    <a:pt x="834" y="126"/>
                  </a:lnTo>
                  <a:lnTo>
                    <a:pt x="834" y="120"/>
                  </a:lnTo>
                  <a:lnTo>
                    <a:pt x="924" y="108"/>
                  </a:lnTo>
                  <a:lnTo>
                    <a:pt x="942" y="144"/>
                  </a:lnTo>
                  <a:lnTo>
                    <a:pt x="948" y="144"/>
                  </a:lnTo>
                  <a:lnTo>
                    <a:pt x="960" y="168"/>
                  </a:lnTo>
                  <a:lnTo>
                    <a:pt x="972" y="186"/>
                  </a:lnTo>
                  <a:lnTo>
                    <a:pt x="984" y="192"/>
                  </a:lnTo>
                  <a:lnTo>
                    <a:pt x="996" y="192"/>
                  </a:lnTo>
                  <a:lnTo>
                    <a:pt x="996" y="198"/>
                  </a:lnTo>
                  <a:lnTo>
                    <a:pt x="1008" y="204"/>
                  </a:lnTo>
                  <a:lnTo>
                    <a:pt x="1008" y="210"/>
                  </a:lnTo>
                  <a:lnTo>
                    <a:pt x="1002" y="210"/>
                  </a:lnTo>
                  <a:lnTo>
                    <a:pt x="1008" y="216"/>
                  </a:lnTo>
                  <a:lnTo>
                    <a:pt x="1014" y="210"/>
                  </a:lnTo>
                  <a:lnTo>
                    <a:pt x="1014" y="216"/>
                  </a:lnTo>
                  <a:lnTo>
                    <a:pt x="1020" y="222"/>
                  </a:lnTo>
                  <a:lnTo>
                    <a:pt x="1014" y="228"/>
                  </a:lnTo>
                  <a:lnTo>
                    <a:pt x="1032" y="234"/>
                  </a:lnTo>
                  <a:lnTo>
                    <a:pt x="1044" y="240"/>
                  </a:lnTo>
                  <a:lnTo>
                    <a:pt x="1038" y="246"/>
                  </a:lnTo>
                  <a:lnTo>
                    <a:pt x="1038" y="252"/>
                  </a:lnTo>
                  <a:lnTo>
                    <a:pt x="1038" y="258"/>
                  </a:lnTo>
                  <a:lnTo>
                    <a:pt x="1032" y="264"/>
                  </a:lnTo>
                  <a:lnTo>
                    <a:pt x="1032" y="270"/>
                  </a:lnTo>
                  <a:lnTo>
                    <a:pt x="1032" y="276"/>
                  </a:lnTo>
                  <a:lnTo>
                    <a:pt x="1032" y="282"/>
                  </a:lnTo>
                  <a:lnTo>
                    <a:pt x="1026" y="282"/>
                  </a:lnTo>
                  <a:lnTo>
                    <a:pt x="1026" y="288"/>
                  </a:lnTo>
                  <a:lnTo>
                    <a:pt x="1026" y="294"/>
                  </a:lnTo>
                  <a:lnTo>
                    <a:pt x="1026" y="300"/>
                  </a:lnTo>
                  <a:lnTo>
                    <a:pt x="1026" y="306"/>
                  </a:lnTo>
                  <a:lnTo>
                    <a:pt x="1020" y="318"/>
                  </a:lnTo>
                  <a:lnTo>
                    <a:pt x="1020" y="324"/>
                  </a:lnTo>
                  <a:lnTo>
                    <a:pt x="1014" y="324"/>
                  </a:lnTo>
                  <a:lnTo>
                    <a:pt x="1014" y="330"/>
                  </a:lnTo>
                  <a:lnTo>
                    <a:pt x="1014" y="336"/>
                  </a:lnTo>
                  <a:lnTo>
                    <a:pt x="1008" y="366"/>
                  </a:lnTo>
                  <a:lnTo>
                    <a:pt x="1002" y="366"/>
                  </a:lnTo>
                  <a:lnTo>
                    <a:pt x="984" y="354"/>
                  </a:lnTo>
                  <a:lnTo>
                    <a:pt x="978" y="354"/>
                  </a:lnTo>
                  <a:lnTo>
                    <a:pt x="972" y="354"/>
                  </a:lnTo>
                  <a:lnTo>
                    <a:pt x="966" y="348"/>
                  </a:lnTo>
                  <a:lnTo>
                    <a:pt x="954" y="348"/>
                  </a:lnTo>
                  <a:lnTo>
                    <a:pt x="948" y="348"/>
                  </a:lnTo>
                  <a:lnTo>
                    <a:pt x="948" y="360"/>
                  </a:lnTo>
                  <a:lnTo>
                    <a:pt x="948" y="366"/>
                  </a:lnTo>
                  <a:lnTo>
                    <a:pt x="948" y="372"/>
                  </a:lnTo>
                  <a:lnTo>
                    <a:pt x="948" y="378"/>
                  </a:lnTo>
                  <a:lnTo>
                    <a:pt x="948" y="384"/>
                  </a:lnTo>
                  <a:lnTo>
                    <a:pt x="942" y="384"/>
                  </a:lnTo>
                  <a:lnTo>
                    <a:pt x="942" y="390"/>
                  </a:lnTo>
                  <a:lnTo>
                    <a:pt x="936" y="390"/>
                  </a:lnTo>
                  <a:lnTo>
                    <a:pt x="942" y="390"/>
                  </a:lnTo>
                  <a:lnTo>
                    <a:pt x="936" y="396"/>
                  </a:lnTo>
                  <a:lnTo>
                    <a:pt x="930" y="402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2" y="432"/>
                  </a:lnTo>
                  <a:lnTo>
                    <a:pt x="900" y="450"/>
                  </a:lnTo>
                  <a:lnTo>
                    <a:pt x="894" y="456"/>
                  </a:lnTo>
                  <a:lnTo>
                    <a:pt x="888" y="456"/>
                  </a:lnTo>
                  <a:lnTo>
                    <a:pt x="882" y="456"/>
                  </a:lnTo>
                  <a:lnTo>
                    <a:pt x="876" y="456"/>
                  </a:lnTo>
                  <a:lnTo>
                    <a:pt x="864" y="462"/>
                  </a:lnTo>
                  <a:lnTo>
                    <a:pt x="852" y="474"/>
                  </a:lnTo>
                  <a:lnTo>
                    <a:pt x="846" y="480"/>
                  </a:lnTo>
                  <a:lnTo>
                    <a:pt x="840" y="486"/>
                  </a:lnTo>
                  <a:lnTo>
                    <a:pt x="834" y="498"/>
                  </a:lnTo>
                  <a:lnTo>
                    <a:pt x="828" y="510"/>
                  </a:lnTo>
                  <a:lnTo>
                    <a:pt x="816" y="522"/>
                  </a:lnTo>
                  <a:lnTo>
                    <a:pt x="798" y="540"/>
                  </a:lnTo>
                  <a:lnTo>
                    <a:pt x="780" y="558"/>
                  </a:lnTo>
                  <a:lnTo>
                    <a:pt x="774" y="558"/>
                  </a:lnTo>
                  <a:lnTo>
                    <a:pt x="756" y="576"/>
                  </a:lnTo>
                  <a:lnTo>
                    <a:pt x="732" y="600"/>
                  </a:lnTo>
                  <a:lnTo>
                    <a:pt x="726" y="600"/>
                  </a:lnTo>
                  <a:lnTo>
                    <a:pt x="720" y="606"/>
                  </a:lnTo>
                  <a:lnTo>
                    <a:pt x="714" y="612"/>
                  </a:lnTo>
                  <a:lnTo>
                    <a:pt x="690" y="630"/>
                  </a:lnTo>
                  <a:lnTo>
                    <a:pt x="678" y="636"/>
                  </a:lnTo>
                  <a:lnTo>
                    <a:pt x="672" y="642"/>
                  </a:lnTo>
                  <a:lnTo>
                    <a:pt x="660" y="660"/>
                  </a:lnTo>
                  <a:lnTo>
                    <a:pt x="642" y="666"/>
                  </a:lnTo>
                  <a:lnTo>
                    <a:pt x="636" y="678"/>
                  </a:lnTo>
                  <a:lnTo>
                    <a:pt x="630" y="678"/>
                  </a:lnTo>
                  <a:lnTo>
                    <a:pt x="630" y="684"/>
                  </a:lnTo>
                  <a:lnTo>
                    <a:pt x="630" y="690"/>
                  </a:lnTo>
                  <a:lnTo>
                    <a:pt x="636" y="696"/>
                  </a:lnTo>
                  <a:lnTo>
                    <a:pt x="642" y="696"/>
                  </a:lnTo>
                  <a:lnTo>
                    <a:pt x="648" y="702"/>
                  </a:lnTo>
                  <a:lnTo>
                    <a:pt x="648" y="708"/>
                  </a:lnTo>
                  <a:lnTo>
                    <a:pt x="642" y="708"/>
                  </a:lnTo>
                  <a:lnTo>
                    <a:pt x="636" y="714"/>
                  </a:lnTo>
                  <a:lnTo>
                    <a:pt x="636" y="720"/>
                  </a:lnTo>
                  <a:lnTo>
                    <a:pt x="642" y="726"/>
                  </a:lnTo>
                  <a:lnTo>
                    <a:pt x="636" y="738"/>
                  </a:lnTo>
                  <a:lnTo>
                    <a:pt x="618" y="756"/>
                  </a:lnTo>
                  <a:lnTo>
                    <a:pt x="612" y="750"/>
                  </a:lnTo>
                  <a:lnTo>
                    <a:pt x="612" y="756"/>
                  </a:lnTo>
                  <a:lnTo>
                    <a:pt x="618" y="762"/>
                  </a:lnTo>
                  <a:lnTo>
                    <a:pt x="618" y="768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36" y="786"/>
                  </a:lnTo>
                  <a:lnTo>
                    <a:pt x="642" y="792"/>
                  </a:lnTo>
                  <a:lnTo>
                    <a:pt x="642" y="798"/>
                  </a:lnTo>
                  <a:lnTo>
                    <a:pt x="648" y="804"/>
                  </a:lnTo>
                  <a:lnTo>
                    <a:pt x="654" y="810"/>
                  </a:lnTo>
                  <a:lnTo>
                    <a:pt x="660" y="816"/>
                  </a:lnTo>
                  <a:lnTo>
                    <a:pt x="666" y="816"/>
                  </a:lnTo>
                  <a:lnTo>
                    <a:pt x="666" y="822"/>
                  </a:lnTo>
                  <a:lnTo>
                    <a:pt x="672" y="828"/>
                  </a:lnTo>
                  <a:lnTo>
                    <a:pt x="672" y="840"/>
                  </a:lnTo>
                  <a:lnTo>
                    <a:pt x="672" y="846"/>
                  </a:lnTo>
                  <a:lnTo>
                    <a:pt x="666" y="852"/>
                  </a:lnTo>
                  <a:lnTo>
                    <a:pt x="660" y="864"/>
                  </a:lnTo>
                  <a:lnTo>
                    <a:pt x="654" y="876"/>
                  </a:lnTo>
                  <a:lnTo>
                    <a:pt x="648" y="882"/>
                  </a:lnTo>
                  <a:lnTo>
                    <a:pt x="642" y="888"/>
                  </a:lnTo>
                  <a:lnTo>
                    <a:pt x="642" y="894"/>
                  </a:lnTo>
                  <a:lnTo>
                    <a:pt x="642" y="906"/>
                  </a:lnTo>
                  <a:lnTo>
                    <a:pt x="630" y="918"/>
                  </a:lnTo>
                  <a:lnTo>
                    <a:pt x="630" y="924"/>
                  </a:lnTo>
                  <a:lnTo>
                    <a:pt x="624" y="930"/>
                  </a:lnTo>
                  <a:lnTo>
                    <a:pt x="630" y="936"/>
                  </a:lnTo>
                  <a:lnTo>
                    <a:pt x="630" y="942"/>
                  </a:lnTo>
                  <a:lnTo>
                    <a:pt x="630" y="948"/>
                  </a:lnTo>
                  <a:lnTo>
                    <a:pt x="630" y="954"/>
                  </a:lnTo>
                  <a:lnTo>
                    <a:pt x="630" y="960"/>
                  </a:lnTo>
                  <a:lnTo>
                    <a:pt x="624" y="966"/>
                  </a:lnTo>
                  <a:lnTo>
                    <a:pt x="618" y="990"/>
                  </a:lnTo>
                  <a:lnTo>
                    <a:pt x="618" y="1008"/>
                  </a:lnTo>
                  <a:lnTo>
                    <a:pt x="612" y="1026"/>
                  </a:lnTo>
                  <a:lnTo>
                    <a:pt x="612" y="1038"/>
                  </a:lnTo>
                  <a:lnTo>
                    <a:pt x="612" y="1050"/>
                  </a:lnTo>
                  <a:lnTo>
                    <a:pt x="612" y="1056"/>
                  </a:lnTo>
                  <a:lnTo>
                    <a:pt x="612" y="1062"/>
                  </a:lnTo>
                  <a:lnTo>
                    <a:pt x="612" y="1068"/>
                  </a:lnTo>
                  <a:lnTo>
                    <a:pt x="612" y="1086"/>
                  </a:lnTo>
                  <a:lnTo>
                    <a:pt x="612" y="1092"/>
                  </a:lnTo>
                  <a:lnTo>
                    <a:pt x="606" y="1098"/>
                  </a:lnTo>
                  <a:lnTo>
                    <a:pt x="600" y="1110"/>
                  </a:lnTo>
                  <a:lnTo>
                    <a:pt x="600" y="1116"/>
                  </a:lnTo>
                  <a:lnTo>
                    <a:pt x="594" y="1122"/>
                  </a:lnTo>
                  <a:lnTo>
                    <a:pt x="594" y="1128"/>
                  </a:lnTo>
                  <a:lnTo>
                    <a:pt x="588" y="1134"/>
                  </a:lnTo>
                  <a:lnTo>
                    <a:pt x="582" y="1140"/>
                  </a:lnTo>
                  <a:lnTo>
                    <a:pt x="570" y="1140"/>
                  </a:lnTo>
                  <a:lnTo>
                    <a:pt x="564" y="1146"/>
                  </a:lnTo>
                  <a:lnTo>
                    <a:pt x="570" y="1146"/>
                  </a:lnTo>
                  <a:lnTo>
                    <a:pt x="564" y="1152"/>
                  </a:lnTo>
                  <a:lnTo>
                    <a:pt x="558" y="1158"/>
                  </a:lnTo>
                  <a:lnTo>
                    <a:pt x="552" y="1164"/>
                  </a:lnTo>
                  <a:lnTo>
                    <a:pt x="552" y="1170"/>
                  </a:lnTo>
                  <a:lnTo>
                    <a:pt x="546" y="1176"/>
                  </a:lnTo>
                  <a:lnTo>
                    <a:pt x="546" y="1182"/>
                  </a:lnTo>
                  <a:lnTo>
                    <a:pt x="546" y="1188"/>
                  </a:lnTo>
                  <a:lnTo>
                    <a:pt x="540" y="1188"/>
                  </a:lnTo>
                  <a:lnTo>
                    <a:pt x="540" y="1194"/>
                  </a:lnTo>
                  <a:lnTo>
                    <a:pt x="528" y="1206"/>
                  </a:lnTo>
                  <a:lnTo>
                    <a:pt x="528" y="1212"/>
                  </a:lnTo>
                  <a:lnTo>
                    <a:pt x="534" y="1212"/>
                  </a:lnTo>
                  <a:lnTo>
                    <a:pt x="540" y="1218"/>
                  </a:lnTo>
                  <a:lnTo>
                    <a:pt x="534" y="1218"/>
                  </a:lnTo>
                  <a:lnTo>
                    <a:pt x="528" y="1218"/>
                  </a:lnTo>
                  <a:lnTo>
                    <a:pt x="528" y="1224"/>
                  </a:lnTo>
                  <a:lnTo>
                    <a:pt x="522" y="1230"/>
                  </a:lnTo>
                  <a:lnTo>
                    <a:pt x="516" y="1236"/>
                  </a:lnTo>
                  <a:lnTo>
                    <a:pt x="522" y="1236"/>
                  </a:lnTo>
                  <a:lnTo>
                    <a:pt x="516" y="1242"/>
                  </a:lnTo>
                  <a:lnTo>
                    <a:pt x="510" y="1242"/>
                  </a:lnTo>
                  <a:lnTo>
                    <a:pt x="504" y="1248"/>
                  </a:lnTo>
                  <a:lnTo>
                    <a:pt x="510" y="1260"/>
                  </a:lnTo>
                  <a:lnTo>
                    <a:pt x="504" y="1266"/>
                  </a:lnTo>
                  <a:lnTo>
                    <a:pt x="492" y="1266"/>
                  </a:lnTo>
                  <a:lnTo>
                    <a:pt x="486" y="1272"/>
                  </a:lnTo>
                  <a:lnTo>
                    <a:pt x="486" y="1278"/>
                  </a:lnTo>
                  <a:lnTo>
                    <a:pt x="480" y="1278"/>
                  </a:lnTo>
                  <a:lnTo>
                    <a:pt x="480" y="1284"/>
                  </a:lnTo>
                  <a:lnTo>
                    <a:pt x="480" y="1290"/>
                  </a:lnTo>
                  <a:lnTo>
                    <a:pt x="480" y="1296"/>
                  </a:lnTo>
                  <a:lnTo>
                    <a:pt x="492" y="1302"/>
                  </a:lnTo>
                  <a:lnTo>
                    <a:pt x="492" y="1308"/>
                  </a:lnTo>
                  <a:lnTo>
                    <a:pt x="492" y="1320"/>
                  </a:lnTo>
                  <a:lnTo>
                    <a:pt x="492" y="1332"/>
                  </a:lnTo>
                  <a:lnTo>
                    <a:pt x="498" y="1344"/>
                  </a:lnTo>
                  <a:lnTo>
                    <a:pt x="498" y="1350"/>
                  </a:lnTo>
                  <a:lnTo>
                    <a:pt x="498" y="1356"/>
                  </a:lnTo>
                  <a:lnTo>
                    <a:pt x="504" y="1362"/>
                  </a:lnTo>
                  <a:lnTo>
                    <a:pt x="498" y="1362"/>
                  </a:lnTo>
                  <a:lnTo>
                    <a:pt x="498" y="1368"/>
                  </a:lnTo>
                  <a:lnTo>
                    <a:pt x="492" y="1368"/>
                  </a:lnTo>
                  <a:lnTo>
                    <a:pt x="492" y="1374"/>
                  </a:lnTo>
                  <a:lnTo>
                    <a:pt x="492" y="1380"/>
                  </a:lnTo>
                  <a:lnTo>
                    <a:pt x="498" y="1380"/>
                  </a:lnTo>
                  <a:lnTo>
                    <a:pt x="504" y="1380"/>
                  </a:lnTo>
                  <a:lnTo>
                    <a:pt x="498" y="1386"/>
                  </a:lnTo>
                  <a:lnTo>
                    <a:pt x="498" y="1392"/>
                  </a:lnTo>
                  <a:lnTo>
                    <a:pt x="498" y="1398"/>
                  </a:lnTo>
                  <a:lnTo>
                    <a:pt x="498" y="1404"/>
                  </a:lnTo>
                  <a:lnTo>
                    <a:pt x="498" y="1410"/>
                  </a:lnTo>
                  <a:lnTo>
                    <a:pt x="498" y="1416"/>
                  </a:lnTo>
                  <a:lnTo>
                    <a:pt x="492" y="1416"/>
                  </a:lnTo>
                  <a:lnTo>
                    <a:pt x="498" y="1416"/>
                  </a:lnTo>
                  <a:lnTo>
                    <a:pt x="504" y="1416"/>
                  </a:lnTo>
                  <a:lnTo>
                    <a:pt x="504" y="1422"/>
                  </a:lnTo>
                  <a:lnTo>
                    <a:pt x="510" y="1428"/>
                  </a:lnTo>
                  <a:lnTo>
                    <a:pt x="510" y="1434"/>
                  </a:lnTo>
                  <a:lnTo>
                    <a:pt x="510" y="1440"/>
                  </a:lnTo>
                  <a:lnTo>
                    <a:pt x="516" y="1446"/>
                  </a:lnTo>
                  <a:lnTo>
                    <a:pt x="516" y="1452"/>
                  </a:lnTo>
                  <a:lnTo>
                    <a:pt x="516" y="1458"/>
                  </a:lnTo>
                  <a:lnTo>
                    <a:pt x="516" y="1464"/>
                  </a:lnTo>
                  <a:lnTo>
                    <a:pt x="516" y="1482"/>
                  </a:lnTo>
                  <a:lnTo>
                    <a:pt x="516" y="1488"/>
                  </a:lnTo>
                  <a:lnTo>
                    <a:pt x="522" y="1488"/>
                  </a:lnTo>
                  <a:lnTo>
                    <a:pt x="522" y="1494"/>
                  </a:lnTo>
                  <a:lnTo>
                    <a:pt x="522" y="1500"/>
                  </a:lnTo>
                  <a:lnTo>
                    <a:pt x="516" y="1506"/>
                  </a:lnTo>
                  <a:lnTo>
                    <a:pt x="510" y="1500"/>
                  </a:lnTo>
                  <a:lnTo>
                    <a:pt x="504" y="1500"/>
                  </a:lnTo>
                  <a:lnTo>
                    <a:pt x="504" y="1494"/>
                  </a:lnTo>
                  <a:lnTo>
                    <a:pt x="504" y="1488"/>
                  </a:lnTo>
                  <a:lnTo>
                    <a:pt x="504" y="1482"/>
                  </a:lnTo>
                  <a:lnTo>
                    <a:pt x="504" y="1488"/>
                  </a:lnTo>
                  <a:lnTo>
                    <a:pt x="504" y="1494"/>
                  </a:lnTo>
                  <a:lnTo>
                    <a:pt x="504" y="1500"/>
                  </a:lnTo>
                  <a:lnTo>
                    <a:pt x="498" y="1500"/>
                  </a:lnTo>
                  <a:lnTo>
                    <a:pt x="492" y="1500"/>
                  </a:lnTo>
                  <a:lnTo>
                    <a:pt x="492" y="1494"/>
                  </a:lnTo>
                  <a:lnTo>
                    <a:pt x="492" y="1488"/>
                  </a:lnTo>
                  <a:lnTo>
                    <a:pt x="492" y="1494"/>
                  </a:lnTo>
                  <a:lnTo>
                    <a:pt x="492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00"/>
                  </a:lnTo>
                  <a:lnTo>
                    <a:pt x="510" y="1500"/>
                  </a:lnTo>
                  <a:lnTo>
                    <a:pt x="510" y="1506"/>
                  </a:lnTo>
                  <a:lnTo>
                    <a:pt x="516" y="1506"/>
                  </a:lnTo>
                  <a:lnTo>
                    <a:pt x="510" y="1506"/>
                  </a:lnTo>
                  <a:lnTo>
                    <a:pt x="510" y="1512"/>
                  </a:lnTo>
                  <a:lnTo>
                    <a:pt x="516" y="1506"/>
                  </a:lnTo>
                  <a:lnTo>
                    <a:pt x="522" y="1506"/>
                  </a:lnTo>
                  <a:lnTo>
                    <a:pt x="528" y="1506"/>
                  </a:lnTo>
                  <a:lnTo>
                    <a:pt x="528" y="1500"/>
                  </a:lnTo>
                  <a:lnTo>
                    <a:pt x="534" y="1500"/>
                  </a:lnTo>
                  <a:lnTo>
                    <a:pt x="534" y="1506"/>
                  </a:lnTo>
                  <a:lnTo>
                    <a:pt x="540" y="1512"/>
                  </a:lnTo>
                  <a:lnTo>
                    <a:pt x="540" y="1518"/>
                  </a:lnTo>
                  <a:lnTo>
                    <a:pt x="546" y="1518"/>
                  </a:lnTo>
                  <a:lnTo>
                    <a:pt x="540" y="1518"/>
                  </a:lnTo>
                  <a:lnTo>
                    <a:pt x="540" y="1524"/>
                  </a:lnTo>
                  <a:lnTo>
                    <a:pt x="534" y="1524"/>
                  </a:lnTo>
                  <a:lnTo>
                    <a:pt x="540" y="1524"/>
                  </a:lnTo>
                  <a:lnTo>
                    <a:pt x="546" y="1524"/>
                  </a:lnTo>
                  <a:lnTo>
                    <a:pt x="546" y="1530"/>
                  </a:lnTo>
                  <a:lnTo>
                    <a:pt x="540" y="1530"/>
                  </a:lnTo>
                  <a:lnTo>
                    <a:pt x="540" y="1536"/>
                  </a:lnTo>
                  <a:lnTo>
                    <a:pt x="534" y="1542"/>
                  </a:lnTo>
                  <a:lnTo>
                    <a:pt x="528" y="1542"/>
                  </a:lnTo>
                  <a:lnTo>
                    <a:pt x="522" y="1542"/>
                  </a:lnTo>
                  <a:lnTo>
                    <a:pt x="516" y="1542"/>
                  </a:lnTo>
                  <a:lnTo>
                    <a:pt x="510" y="1542"/>
                  </a:lnTo>
                  <a:lnTo>
                    <a:pt x="504" y="1542"/>
                  </a:lnTo>
                  <a:lnTo>
                    <a:pt x="492" y="1542"/>
                  </a:lnTo>
                  <a:lnTo>
                    <a:pt x="486" y="1536"/>
                  </a:lnTo>
                  <a:lnTo>
                    <a:pt x="480" y="1536"/>
                  </a:lnTo>
                  <a:lnTo>
                    <a:pt x="468" y="1536"/>
                  </a:lnTo>
                  <a:lnTo>
                    <a:pt x="468" y="1542"/>
                  </a:lnTo>
                  <a:lnTo>
                    <a:pt x="462" y="1542"/>
                  </a:lnTo>
                  <a:lnTo>
                    <a:pt x="456" y="1542"/>
                  </a:lnTo>
                  <a:lnTo>
                    <a:pt x="450" y="1542"/>
                  </a:lnTo>
                  <a:lnTo>
                    <a:pt x="444" y="1542"/>
                  </a:lnTo>
                  <a:lnTo>
                    <a:pt x="444" y="1536"/>
                  </a:lnTo>
                  <a:lnTo>
                    <a:pt x="450" y="1536"/>
                  </a:lnTo>
                  <a:lnTo>
                    <a:pt x="456" y="1536"/>
                  </a:lnTo>
                  <a:lnTo>
                    <a:pt x="450" y="1536"/>
                  </a:lnTo>
                  <a:lnTo>
                    <a:pt x="444" y="1536"/>
                  </a:lnTo>
                  <a:lnTo>
                    <a:pt x="444" y="1530"/>
                  </a:lnTo>
                  <a:lnTo>
                    <a:pt x="450" y="1530"/>
                  </a:lnTo>
                  <a:lnTo>
                    <a:pt x="456" y="1524"/>
                  </a:lnTo>
                  <a:lnTo>
                    <a:pt x="456" y="1518"/>
                  </a:lnTo>
                  <a:lnTo>
                    <a:pt x="462" y="1518"/>
                  </a:lnTo>
                  <a:lnTo>
                    <a:pt x="462" y="1524"/>
                  </a:lnTo>
                  <a:lnTo>
                    <a:pt x="468" y="1524"/>
                  </a:lnTo>
                  <a:lnTo>
                    <a:pt x="474" y="1524"/>
                  </a:lnTo>
                  <a:lnTo>
                    <a:pt x="474" y="1518"/>
                  </a:lnTo>
                  <a:lnTo>
                    <a:pt x="480" y="1518"/>
                  </a:lnTo>
                  <a:lnTo>
                    <a:pt x="474" y="1518"/>
                  </a:lnTo>
                  <a:lnTo>
                    <a:pt x="474" y="1524"/>
                  </a:lnTo>
                  <a:lnTo>
                    <a:pt x="468" y="1524"/>
                  </a:lnTo>
                  <a:lnTo>
                    <a:pt x="462" y="1518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62" y="1512"/>
                  </a:lnTo>
                  <a:lnTo>
                    <a:pt x="462" y="1506"/>
                  </a:lnTo>
                  <a:lnTo>
                    <a:pt x="456" y="1506"/>
                  </a:lnTo>
                  <a:lnTo>
                    <a:pt x="456" y="1512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50" y="1518"/>
                  </a:lnTo>
                  <a:lnTo>
                    <a:pt x="444" y="1518"/>
                  </a:lnTo>
                  <a:lnTo>
                    <a:pt x="444" y="1524"/>
                  </a:lnTo>
                  <a:lnTo>
                    <a:pt x="438" y="1524"/>
                  </a:lnTo>
                  <a:lnTo>
                    <a:pt x="438" y="1530"/>
                  </a:lnTo>
                  <a:lnTo>
                    <a:pt x="432" y="1530"/>
                  </a:lnTo>
                  <a:lnTo>
                    <a:pt x="432" y="1536"/>
                  </a:lnTo>
                  <a:lnTo>
                    <a:pt x="426" y="1530"/>
                  </a:lnTo>
                  <a:lnTo>
                    <a:pt x="420" y="1530"/>
                  </a:lnTo>
                  <a:lnTo>
                    <a:pt x="414" y="1530"/>
                  </a:lnTo>
                  <a:lnTo>
                    <a:pt x="414" y="1524"/>
                  </a:lnTo>
                  <a:lnTo>
                    <a:pt x="408" y="1518"/>
                  </a:lnTo>
                  <a:lnTo>
                    <a:pt x="414" y="1512"/>
                  </a:lnTo>
                  <a:lnTo>
                    <a:pt x="408" y="1512"/>
                  </a:lnTo>
                  <a:lnTo>
                    <a:pt x="408" y="1506"/>
                  </a:lnTo>
                  <a:lnTo>
                    <a:pt x="408" y="1500"/>
                  </a:lnTo>
                  <a:lnTo>
                    <a:pt x="408" y="1494"/>
                  </a:lnTo>
                  <a:lnTo>
                    <a:pt x="408" y="1488"/>
                  </a:lnTo>
                  <a:lnTo>
                    <a:pt x="408" y="1494"/>
                  </a:lnTo>
                  <a:lnTo>
                    <a:pt x="414" y="1494"/>
                  </a:lnTo>
                  <a:lnTo>
                    <a:pt x="420" y="1494"/>
                  </a:lnTo>
                  <a:lnTo>
                    <a:pt x="420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82"/>
                  </a:lnTo>
                  <a:lnTo>
                    <a:pt x="426" y="1476"/>
                  </a:lnTo>
                  <a:lnTo>
                    <a:pt x="432" y="1476"/>
                  </a:lnTo>
                  <a:lnTo>
                    <a:pt x="432" y="1470"/>
                  </a:lnTo>
                  <a:lnTo>
                    <a:pt x="438" y="1470"/>
                  </a:lnTo>
                  <a:lnTo>
                    <a:pt x="444" y="1464"/>
                  </a:lnTo>
                  <a:lnTo>
                    <a:pt x="450" y="1458"/>
                  </a:lnTo>
                  <a:lnTo>
                    <a:pt x="456" y="1458"/>
                  </a:lnTo>
                  <a:lnTo>
                    <a:pt x="462" y="1452"/>
                  </a:lnTo>
                  <a:lnTo>
                    <a:pt x="468" y="1452"/>
                  </a:lnTo>
                  <a:lnTo>
                    <a:pt x="468" y="1446"/>
                  </a:lnTo>
                  <a:lnTo>
                    <a:pt x="462" y="1440"/>
                  </a:lnTo>
                  <a:lnTo>
                    <a:pt x="456" y="1434"/>
                  </a:lnTo>
                  <a:lnTo>
                    <a:pt x="456" y="1428"/>
                  </a:lnTo>
                  <a:lnTo>
                    <a:pt x="456" y="1422"/>
                  </a:lnTo>
                  <a:lnTo>
                    <a:pt x="456" y="1416"/>
                  </a:lnTo>
                  <a:lnTo>
                    <a:pt x="450" y="1410"/>
                  </a:lnTo>
                  <a:lnTo>
                    <a:pt x="444" y="1410"/>
                  </a:lnTo>
                  <a:lnTo>
                    <a:pt x="450" y="1410"/>
                  </a:lnTo>
                  <a:lnTo>
                    <a:pt x="450" y="1404"/>
                  </a:lnTo>
                  <a:lnTo>
                    <a:pt x="456" y="1404"/>
                  </a:lnTo>
                  <a:lnTo>
                    <a:pt x="462" y="1404"/>
                  </a:lnTo>
                  <a:lnTo>
                    <a:pt x="468" y="1398"/>
                  </a:lnTo>
                  <a:lnTo>
                    <a:pt x="462" y="1398"/>
                  </a:lnTo>
                  <a:lnTo>
                    <a:pt x="462" y="1392"/>
                  </a:lnTo>
                  <a:lnTo>
                    <a:pt x="456" y="1392"/>
                  </a:lnTo>
                  <a:lnTo>
                    <a:pt x="456" y="1386"/>
                  </a:lnTo>
                  <a:lnTo>
                    <a:pt x="462" y="1386"/>
                  </a:lnTo>
                  <a:lnTo>
                    <a:pt x="468" y="1386"/>
                  </a:lnTo>
                  <a:lnTo>
                    <a:pt x="474" y="1386"/>
                  </a:lnTo>
                  <a:lnTo>
                    <a:pt x="468" y="1386"/>
                  </a:lnTo>
                  <a:lnTo>
                    <a:pt x="462" y="1386"/>
                  </a:lnTo>
                  <a:lnTo>
                    <a:pt x="456" y="1380"/>
                  </a:lnTo>
                  <a:lnTo>
                    <a:pt x="456" y="1374"/>
                  </a:lnTo>
                  <a:lnTo>
                    <a:pt x="462" y="1374"/>
                  </a:lnTo>
                  <a:lnTo>
                    <a:pt x="462" y="1368"/>
                  </a:lnTo>
                  <a:lnTo>
                    <a:pt x="456" y="1374"/>
                  </a:lnTo>
                  <a:lnTo>
                    <a:pt x="456" y="1368"/>
                  </a:lnTo>
                  <a:lnTo>
                    <a:pt x="456" y="1362"/>
                  </a:lnTo>
                  <a:lnTo>
                    <a:pt x="450" y="1362"/>
                  </a:lnTo>
                  <a:lnTo>
                    <a:pt x="450" y="1356"/>
                  </a:lnTo>
                  <a:lnTo>
                    <a:pt x="450" y="1350"/>
                  </a:lnTo>
                  <a:lnTo>
                    <a:pt x="450" y="1344"/>
                  </a:lnTo>
                  <a:lnTo>
                    <a:pt x="456" y="1344"/>
                  </a:lnTo>
                  <a:lnTo>
                    <a:pt x="456" y="1338"/>
                  </a:lnTo>
                  <a:lnTo>
                    <a:pt x="462" y="1338"/>
                  </a:lnTo>
                  <a:lnTo>
                    <a:pt x="462" y="1332"/>
                  </a:lnTo>
                  <a:lnTo>
                    <a:pt x="456" y="1332"/>
                  </a:lnTo>
                  <a:lnTo>
                    <a:pt x="456" y="1326"/>
                  </a:lnTo>
                  <a:lnTo>
                    <a:pt x="450" y="1326"/>
                  </a:lnTo>
                  <a:lnTo>
                    <a:pt x="444" y="1326"/>
                  </a:lnTo>
                  <a:lnTo>
                    <a:pt x="444" y="1332"/>
                  </a:lnTo>
                  <a:lnTo>
                    <a:pt x="438" y="1332"/>
                  </a:lnTo>
                  <a:lnTo>
                    <a:pt x="438" y="1338"/>
                  </a:lnTo>
                  <a:lnTo>
                    <a:pt x="432" y="1338"/>
                  </a:lnTo>
                  <a:lnTo>
                    <a:pt x="432" y="1344"/>
                  </a:lnTo>
                  <a:lnTo>
                    <a:pt x="432" y="1350"/>
                  </a:lnTo>
                  <a:lnTo>
                    <a:pt x="426" y="1356"/>
                  </a:lnTo>
                  <a:lnTo>
                    <a:pt x="426" y="1368"/>
                  </a:lnTo>
                  <a:lnTo>
                    <a:pt x="426" y="1374"/>
                  </a:lnTo>
                  <a:lnTo>
                    <a:pt x="426" y="1380"/>
                  </a:lnTo>
                  <a:lnTo>
                    <a:pt x="432" y="1386"/>
                  </a:lnTo>
                  <a:lnTo>
                    <a:pt x="432" y="1392"/>
                  </a:lnTo>
                  <a:lnTo>
                    <a:pt x="432" y="1398"/>
                  </a:lnTo>
                  <a:lnTo>
                    <a:pt x="426" y="1398"/>
                  </a:lnTo>
                  <a:lnTo>
                    <a:pt x="420" y="1398"/>
                  </a:lnTo>
                  <a:lnTo>
                    <a:pt x="414" y="1398"/>
                  </a:lnTo>
                  <a:lnTo>
                    <a:pt x="420" y="1398"/>
                  </a:lnTo>
                  <a:lnTo>
                    <a:pt x="414" y="1404"/>
                  </a:lnTo>
                  <a:lnTo>
                    <a:pt x="420" y="1404"/>
                  </a:lnTo>
                  <a:lnTo>
                    <a:pt x="414" y="1404"/>
                  </a:lnTo>
                  <a:lnTo>
                    <a:pt x="408" y="1404"/>
                  </a:lnTo>
                  <a:lnTo>
                    <a:pt x="402" y="1410"/>
                  </a:lnTo>
                  <a:lnTo>
                    <a:pt x="402" y="1404"/>
                  </a:lnTo>
                  <a:lnTo>
                    <a:pt x="396" y="1404"/>
                  </a:lnTo>
                  <a:lnTo>
                    <a:pt x="390" y="1404"/>
                  </a:lnTo>
                  <a:lnTo>
                    <a:pt x="384" y="1404"/>
                  </a:lnTo>
                  <a:lnTo>
                    <a:pt x="384" y="1398"/>
                  </a:lnTo>
                  <a:lnTo>
                    <a:pt x="384" y="1392"/>
                  </a:lnTo>
                  <a:lnTo>
                    <a:pt x="390" y="1392"/>
                  </a:lnTo>
                  <a:lnTo>
                    <a:pt x="390" y="1386"/>
                  </a:lnTo>
                  <a:lnTo>
                    <a:pt x="390" y="1380"/>
                  </a:lnTo>
                  <a:lnTo>
                    <a:pt x="396" y="1380"/>
                  </a:lnTo>
                  <a:lnTo>
                    <a:pt x="402" y="1380"/>
                  </a:lnTo>
                  <a:lnTo>
                    <a:pt x="408" y="1380"/>
                  </a:lnTo>
                  <a:lnTo>
                    <a:pt x="408" y="1374"/>
                  </a:lnTo>
                  <a:lnTo>
                    <a:pt x="414" y="1374"/>
                  </a:lnTo>
                  <a:lnTo>
                    <a:pt x="414" y="1368"/>
                  </a:lnTo>
                  <a:lnTo>
                    <a:pt x="414" y="1362"/>
                  </a:lnTo>
                  <a:lnTo>
                    <a:pt x="414" y="1368"/>
                  </a:lnTo>
                  <a:lnTo>
                    <a:pt x="414" y="1374"/>
                  </a:lnTo>
                  <a:lnTo>
                    <a:pt x="408" y="1374"/>
                  </a:lnTo>
                  <a:lnTo>
                    <a:pt x="402" y="1380"/>
                  </a:lnTo>
                  <a:lnTo>
                    <a:pt x="396" y="1380"/>
                  </a:lnTo>
                  <a:lnTo>
                    <a:pt x="396" y="1374"/>
                  </a:lnTo>
                  <a:lnTo>
                    <a:pt x="390" y="1374"/>
                  </a:lnTo>
                  <a:lnTo>
                    <a:pt x="390" y="1368"/>
                  </a:lnTo>
                  <a:lnTo>
                    <a:pt x="384" y="1368"/>
                  </a:lnTo>
                  <a:lnTo>
                    <a:pt x="384" y="1374"/>
                  </a:lnTo>
                  <a:lnTo>
                    <a:pt x="378" y="1374"/>
                  </a:lnTo>
                  <a:lnTo>
                    <a:pt x="378" y="1380"/>
                  </a:lnTo>
                  <a:lnTo>
                    <a:pt x="372" y="1380"/>
                  </a:lnTo>
                  <a:lnTo>
                    <a:pt x="366" y="1386"/>
                  </a:lnTo>
                  <a:lnTo>
                    <a:pt x="360" y="1386"/>
                  </a:lnTo>
                  <a:lnTo>
                    <a:pt x="354" y="1386"/>
                  </a:lnTo>
                  <a:lnTo>
                    <a:pt x="354" y="1380"/>
                  </a:lnTo>
                  <a:lnTo>
                    <a:pt x="348" y="1380"/>
                  </a:lnTo>
                  <a:lnTo>
                    <a:pt x="342" y="1380"/>
                  </a:lnTo>
                  <a:lnTo>
                    <a:pt x="342" y="1374"/>
                  </a:lnTo>
                  <a:lnTo>
                    <a:pt x="336" y="1368"/>
                  </a:lnTo>
                  <a:lnTo>
                    <a:pt x="342" y="1368"/>
                  </a:lnTo>
                  <a:lnTo>
                    <a:pt x="342" y="1362"/>
                  </a:lnTo>
                  <a:lnTo>
                    <a:pt x="348" y="1362"/>
                  </a:lnTo>
                  <a:lnTo>
                    <a:pt x="354" y="1362"/>
                  </a:lnTo>
                  <a:lnTo>
                    <a:pt x="354" y="1356"/>
                  </a:lnTo>
                  <a:lnTo>
                    <a:pt x="348" y="1356"/>
                  </a:lnTo>
                  <a:lnTo>
                    <a:pt x="348" y="1350"/>
                  </a:lnTo>
                  <a:lnTo>
                    <a:pt x="348" y="1344"/>
                  </a:lnTo>
                  <a:lnTo>
                    <a:pt x="354" y="1338"/>
                  </a:lnTo>
                  <a:lnTo>
                    <a:pt x="354" y="1332"/>
                  </a:lnTo>
                  <a:lnTo>
                    <a:pt x="354" y="1326"/>
                  </a:lnTo>
                  <a:lnTo>
                    <a:pt x="354" y="1320"/>
                  </a:lnTo>
                  <a:lnTo>
                    <a:pt x="354" y="1314"/>
                  </a:lnTo>
                  <a:lnTo>
                    <a:pt x="354" y="1308"/>
                  </a:lnTo>
                  <a:lnTo>
                    <a:pt x="348" y="1308"/>
                  </a:lnTo>
                  <a:lnTo>
                    <a:pt x="348" y="1302"/>
                  </a:lnTo>
                  <a:lnTo>
                    <a:pt x="342" y="1296"/>
                  </a:lnTo>
                  <a:lnTo>
                    <a:pt x="336" y="1296"/>
                  </a:lnTo>
                  <a:lnTo>
                    <a:pt x="336" y="1290"/>
                  </a:lnTo>
                  <a:lnTo>
                    <a:pt x="330" y="1290"/>
                  </a:lnTo>
                  <a:lnTo>
                    <a:pt x="324" y="1290"/>
                  </a:lnTo>
                  <a:lnTo>
                    <a:pt x="324" y="1284"/>
                  </a:lnTo>
                  <a:lnTo>
                    <a:pt x="318" y="1284"/>
                  </a:lnTo>
                  <a:lnTo>
                    <a:pt x="318" y="1278"/>
                  </a:lnTo>
                  <a:lnTo>
                    <a:pt x="312" y="1278"/>
                  </a:lnTo>
                  <a:lnTo>
                    <a:pt x="312" y="1272"/>
                  </a:lnTo>
                  <a:lnTo>
                    <a:pt x="312" y="1278"/>
                  </a:lnTo>
                  <a:lnTo>
                    <a:pt x="318" y="1284"/>
                  </a:lnTo>
                  <a:lnTo>
                    <a:pt x="324" y="1290"/>
                  </a:lnTo>
                  <a:lnTo>
                    <a:pt x="330" y="1290"/>
                  </a:lnTo>
                  <a:lnTo>
                    <a:pt x="330" y="1296"/>
                  </a:lnTo>
                  <a:lnTo>
                    <a:pt x="336" y="1296"/>
                  </a:lnTo>
                  <a:lnTo>
                    <a:pt x="336" y="1302"/>
                  </a:lnTo>
                  <a:lnTo>
                    <a:pt x="342" y="1302"/>
                  </a:lnTo>
                  <a:lnTo>
                    <a:pt x="348" y="1302"/>
                  </a:lnTo>
                  <a:lnTo>
                    <a:pt x="348" y="1308"/>
                  </a:lnTo>
                  <a:lnTo>
                    <a:pt x="348" y="1314"/>
                  </a:lnTo>
                  <a:lnTo>
                    <a:pt x="354" y="1314"/>
                  </a:lnTo>
                  <a:lnTo>
                    <a:pt x="354" y="1320"/>
                  </a:lnTo>
                  <a:lnTo>
                    <a:pt x="354" y="1326"/>
                  </a:lnTo>
                  <a:lnTo>
                    <a:pt x="348" y="1326"/>
                  </a:lnTo>
                  <a:lnTo>
                    <a:pt x="348" y="1332"/>
                  </a:lnTo>
                  <a:lnTo>
                    <a:pt x="348" y="1338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2" y="1350"/>
                  </a:lnTo>
                  <a:lnTo>
                    <a:pt x="336" y="1350"/>
                  </a:lnTo>
                  <a:lnTo>
                    <a:pt x="330" y="1350"/>
                  </a:lnTo>
                  <a:lnTo>
                    <a:pt x="330" y="1356"/>
                  </a:lnTo>
                  <a:lnTo>
                    <a:pt x="330" y="1350"/>
                  </a:lnTo>
                  <a:lnTo>
                    <a:pt x="324" y="1350"/>
                  </a:lnTo>
                  <a:lnTo>
                    <a:pt x="318" y="1344"/>
                  </a:lnTo>
                  <a:lnTo>
                    <a:pt x="318" y="1350"/>
                  </a:lnTo>
                  <a:lnTo>
                    <a:pt x="312" y="1344"/>
                  </a:lnTo>
                  <a:lnTo>
                    <a:pt x="312" y="1338"/>
                  </a:lnTo>
                  <a:lnTo>
                    <a:pt x="306" y="1338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6" y="1326"/>
                  </a:lnTo>
                  <a:lnTo>
                    <a:pt x="306" y="1320"/>
                  </a:lnTo>
                  <a:lnTo>
                    <a:pt x="306" y="1326"/>
                  </a:lnTo>
                  <a:lnTo>
                    <a:pt x="312" y="1326"/>
                  </a:lnTo>
                  <a:lnTo>
                    <a:pt x="312" y="1320"/>
                  </a:lnTo>
                  <a:lnTo>
                    <a:pt x="306" y="1320"/>
                  </a:lnTo>
                  <a:lnTo>
                    <a:pt x="300" y="1320"/>
                  </a:lnTo>
                  <a:lnTo>
                    <a:pt x="294" y="1320"/>
                  </a:lnTo>
                  <a:lnTo>
                    <a:pt x="294" y="1314"/>
                  </a:lnTo>
                  <a:lnTo>
                    <a:pt x="288" y="1314"/>
                  </a:lnTo>
                  <a:lnTo>
                    <a:pt x="288" y="1308"/>
                  </a:lnTo>
                  <a:lnTo>
                    <a:pt x="288" y="1302"/>
                  </a:lnTo>
                  <a:lnTo>
                    <a:pt x="294" y="1302"/>
                  </a:lnTo>
                  <a:lnTo>
                    <a:pt x="294" y="1296"/>
                  </a:lnTo>
                  <a:lnTo>
                    <a:pt x="288" y="1296"/>
                  </a:lnTo>
                  <a:lnTo>
                    <a:pt x="288" y="1290"/>
                  </a:lnTo>
                  <a:lnTo>
                    <a:pt x="288" y="1296"/>
                  </a:lnTo>
                  <a:lnTo>
                    <a:pt x="294" y="1302"/>
                  </a:lnTo>
                  <a:lnTo>
                    <a:pt x="288" y="1302"/>
                  </a:lnTo>
                  <a:lnTo>
                    <a:pt x="282" y="1296"/>
                  </a:lnTo>
                  <a:lnTo>
                    <a:pt x="276" y="1296"/>
                  </a:lnTo>
                  <a:lnTo>
                    <a:pt x="276" y="1290"/>
                  </a:lnTo>
                  <a:lnTo>
                    <a:pt x="270" y="1290"/>
                  </a:lnTo>
                  <a:lnTo>
                    <a:pt x="264" y="1284"/>
                  </a:lnTo>
                  <a:lnTo>
                    <a:pt x="264" y="1278"/>
                  </a:lnTo>
                  <a:lnTo>
                    <a:pt x="264" y="1272"/>
                  </a:lnTo>
                  <a:lnTo>
                    <a:pt x="264" y="1266"/>
                  </a:lnTo>
                  <a:lnTo>
                    <a:pt x="258" y="1266"/>
                  </a:lnTo>
                  <a:lnTo>
                    <a:pt x="252" y="1266"/>
                  </a:lnTo>
                  <a:lnTo>
                    <a:pt x="246" y="1260"/>
                  </a:lnTo>
                  <a:lnTo>
                    <a:pt x="240" y="1254"/>
                  </a:lnTo>
                  <a:lnTo>
                    <a:pt x="240" y="1260"/>
                  </a:lnTo>
                  <a:lnTo>
                    <a:pt x="240" y="1266"/>
                  </a:lnTo>
                  <a:lnTo>
                    <a:pt x="240" y="1272"/>
                  </a:lnTo>
                  <a:lnTo>
                    <a:pt x="246" y="1272"/>
                  </a:lnTo>
                  <a:lnTo>
                    <a:pt x="246" y="1278"/>
                  </a:lnTo>
                  <a:lnTo>
                    <a:pt x="246" y="1284"/>
                  </a:lnTo>
                  <a:lnTo>
                    <a:pt x="252" y="1284"/>
                  </a:lnTo>
                  <a:lnTo>
                    <a:pt x="252" y="1290"/>
                  </a:lnTo>
                  <a:lnTo>
                    <a:pt x="258" y="1296"/>
                  </a:lnTo>
                  <a:lnTo>
                    <a:pt x="264" y="1302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58" y="1314"/>
                  </a:lnTo>
                  <a:lnTo>
                    <a:pt x="258" y="1308"/>
                  </a:lnTo>
                  <a:lnTo>
                    <a:pt x="252" y="1308"/>
                  </a:lnTo>
                  <a:lnTo>
                    <a:pt x="252" y="1302"/>
                  </a:lnTo>
                  <a:lnTo>
                    <a:pt x="246" y="1302"/>
                  </a:lnTo>
                  <a:lnTo>
                    <a:pt x="246" y="1296"/>
                  </a:lnTo>
                  <a:lnTo>
                    <a:pt x="240" y="1296"/>
                  </a:lnTo>
                  <a:lnTo>
                    <a:pt x="240" y="1290"/>
                  </a:lnTo>
                  <a:lnTo>
                    <a:pt x="234" y="1284"/>
                  </a:lnTo>
                  <a:lnTo>
                    <a:pt x="234" y="1278"/>
                  </a:lnTo>
                  <a:close/>
                  <a:moveTo>
                    <a:pt x="444" y="1332"/>
                  </a:moveTo>
                  <a:lnTo>
                    <a:pt x="450" y="1326"/>
                  </a:lnTo>
                  <a:lnTo>
                    <a:pt x="456" y="1326"/>
                  </a:lnTo>
                  <a:lnTo>
                    <a:pt x="456" y="1332"/>
                  </a:lnTo>
                  <a:lnTo>
                    <a:pt x="456" y="1338"/>
                  </a:lnTo>
                  <a:lnTo>
                    <a:pt x="450" y="1338"/>
                  </a:lnTo>
                  <a:lnTo>
                    <a:pt x="444" y="1338"/>
                  </a:lnTo>
                  <a:lnTo>
                    <a:pt x="444" y="1332"/>
                  </a:lnTo>
                  <a:close/>
                  <a:moveTo>
                    <a:pt x="444" y="1368"/>
                  </a:moveTo>
                  <a:lnTo>
                    <a:pt x="456" y="1368"/>
                  </a:lnTo>
                  <a:lnTo>
                    <a:pt x="456" y="1374"/>
                  </a:lnTo>
                  <a:lnTo>
                    <a:pt x="444" y="1374"/>
                  </a:lnTo>
                  <a:lnTo>
                    <a:pt x="444" y="1368"/>
                  </a:lnTo>
                  <a:close/>
                  <a:moveTo>
                    <a:pt x="444" y="1386"/>
                  </a:moveTo>
                  <a:lnTo>
                    <a:pt x="444" y="1380"/>
                  </a:lnTo>
                  <a:lnTo>
                    <a:pt x="444" y="1374"/>
                  </a:lnTo>
                  <a:lnTo>
                    <a:pt x="444" y="1380"/>
                  </a:lnTo>
                  <a:lnTo>
                    <a:pt x="450" y="1380"/>
                  </a:lnTo>
                  <a:lnTo>
                    <a:pt x="456" y="1380"/>
                  </a:lnTo>
                  <a:lnTo>
                    <a:pt x="456" y="1386"/>
                  </a:lnTo>
                  <a:lnTo>
                    <a:pt x="456" y="1392"/>
                  </a:lnTo>
                  <a:lnTo>
                    <a:pt x="462" y="1392"/>
                  </a:lnTo>
                  <a:lnTo>
                    <a:pt x="462" y="1398"/>
                  </a:lnTo>
                  <a:lnTo>
                    <a:pt x="462" y="1404"/>
                  </a:lnTo>
                  <a:lnTo>
                    <a:pt x="456" y="1404"/>
                  </a:lnTo>
                  <a:lnTo>
                    <a:pt x="450" y="1404"/>
                  </a:lnTo>
                  <a:lnTo>
                    <a:pt x="450" y="1398"/>
                  </a:lnTo>
                  <a:lnTo>
                    <a:pt x="444" y="1398"/>
                  </a:lnTo>
                  <a:lnTo>
                    <a:pt x="444" y="1392"/>
                  </a:lnTo>
                  <a:lnTo>
                    <a:pt x="444" y="1386"/>
                  </a:lnTo>
                  <a:close/>
                  <a:moveTo>
                    <a:pt x="438" y="1362"/>
                  </a:moveTo>
                  <a:lnTo>
                    <a:pt x="444" y="1356"/>
                  </a:lnTo>
                  <a:lnTo>
                    <a:pt x="450" y="1356"/>
                  </a:lnTo>
                  <a:lnTo>
                    <a:pt x="450" y="1362"/>
                  </a:lnTo>
                  <a:lnTo>
                    <a:pt x="450" y="1368"/>
                  </a:lnTo>
                  <a:lnTo>
                    <a:pt x="444" y="1368"/>
                  </a:lnTo>
                  <a:lnTo>
                    <a:pt x="444" y="1362"/>
                  </a:lnTo>
                  <a:lnTo>
                    <a:pt x="438" y="1362"/>
                  </a:lnTo>
                  <a:close/>
                  <a:moveTo>
                    <a:pt x="438" y="1350"/>
                  </a:moveTo>
                  <a:lnTo>
                    <a:pt x="438" y="1344"/>
                  </a:lnTo>
                  <a:lnTo>
                    <a:pt x="438" y="1338"/>
                  </a:lnTo>
                  <a:lnTo>
                    <a:pt x="444" y="1338"/>
                  </a:lnTo>
                  <a:lnTo>
                    <a:pt x="450" y="1338"/>
                  </a:lnTo>
                  <a:lnTo>
                    <a:pt x="456" y="1338"/>
                  </a:lnTo>
                  <a:lnTo>
                    <a:pt x="450" y="1344"/>
                  </a:lnTo>
                  <a:lnTo>
                    <a:pt x="444" y="1350"/>
                  </a:lnTo>
                  <a:lnTo>
                    <a:pt x="438" y="1350"/>
                  </a:lnTo>
                  <a:close/>
                  <a:moveTo>
                    <a:pt x="432" y="1380"/>
                  </a:moveTo>
                  <a:lnTo>
                    <a:pt x="432" y="1368"/>
                  </a:lnTo>
                  <a:lnTo>
                    <a:pt x="432" y="1362"/>
                  </a:lnTo>
                  <a:lnTo>
                    <a:pt x="432" y="1356"/>
                  </a:lnTo>
                  <a:lnTo>
                    <a:pt x="438" y="1356"/>
                  </a:lnTo>
                  <a:lnTo>
                    <a:pt x="438" y="1362"/>
                  </a:lnTo>
                  <a:lnTo>
                    <a:pt x="438" y="1368"/>
                  </a:lnTo>
                  <a:lnTo>
                    <a:pt x="438" y="1374"/>
                  </a:lnTo>
                  <a:lnTo>
                    <a:pt x="438" y="1380"/>
                  </a:lnTo>
                  <a:lnTo>
                    <a:pt x="438" y="1386"/>
                  </a:lnTo>
                  <a:lnTo>
                    <a:pt x="438" y="1380"/>
                  </a:lnTo>
                  <a:lnTo>
                    <a:pt x="432" y="1380"/>
                  </a:lnTo>
                  <a:close/>
                  <a:moveTo>
                    <a:pt x="246" y="1272"/>
                  </a:moveTo>
                  <a:lnTo>
                    <a:pt x="252" y="1272"/>
                  </a:lnTo>
                  <a:lnTo>
                    <a:pt x="252" y="1278"/>
                  </a:lnTo>
                  <a:lnTo>
                    <a:pt x="246" y="1278"/>
                  </a:lnTo>
                  <a:lnTo>
                    <a:pt x="246" y="1272"/>
                  </a:lnTo>
                  <a:close/>
                  <a:moveTo>
                    <a:pt x="426" y="1416"/>
                  </a:moveTo>
                  <a:lnTo>
                    <a:pt x="432" y="1410"/>
                  </a:lnTo>
                  <a:lnTo>
                    <a:pt x="438" y="1410"/>
                  </a:lnTo>
                  <a:lnTo>
                    <a:pt x="438" y="1416"/>
                  </a:lnTo>
                  <a:lnTo>
                    <a:pt x="438" y="1422"/>
                  </a:lnTo>
                  <a:lnTo>
                    <a:pt x="432" y="1422"/>
                  </a:lnTo>
                  <a:lnTo>
                    <a:pt x="426" y="1422"/>
                  </a:lnTo>
                  <a:lnTo>
                    <a:pt x="426" y="1416"/>
                  </a:lnTo>
                  <a:close/>
                  <a:moveTo>
                    <a:pt x="246" y="1266"/>
                  </a:moveTo>
                  <a:lnTo>
                    <a:pt x="252" y="1266"/>
                  </a:lnTo>
                  <a:lnTo>
                    <a:pt x="258" y="1272"/>
                  </a:lnTo>
                  <a:lnTo>
                    <a:pt x="258" y="1278"/>
                  </a:lnTo>
                  <a:lnTo>
                    <a:pt x="258" y="1284"/>
                  </a:lnTo>
                  <a:lnTo>
                    <a:pt x="252" y="1284"/>
                  </a:lnTo>
                  <a:lnTo>
                    <a:pt x="252" y="1278"/>
                  </a:lnTo>
                  <a:lnTo>
                    <a:pt x="252" y="1272"/>
                  </a:lnTo>
                  <a:lnTo>
                    <a:pt x="252" y="1266"/>
                  </a:lnTo>
                  <a:lnTo>
                    <a:pt x="246" y="1266"/>
                  </a:lnTo>
                  <a:close/>
                  <a:moveTo>
                    <a:pt x="408" y="1458"/>
                  </a:moveTo>
                  <a:lnTo>
                    <a:pt x="408" y="1452"/>
                  </a:lnTo>
                  <a:lnTo>
                    <a:pt x="414" y="1452"/>
                  </a:lnTo>
                  <a:lnTo>
                    <a:pt x="414" y="1446"/>
                  </a:lnTo>
                  <a:lnTo>
                    <a:pt x="414" y="1440"/>
                  </a:lnTo>
                  <a:lnTo>
                    <a:pt x="420" y="1440"/>
                  </a:lnTo>
                  <a:lnTo>
                    <a:pt x="420" y="1434"/>
                  </a:lnTo>
                  <a:lnTo>
                    <a:pt x="420" y="1428"/>
                  </a:lnTo>
                  <a:lnTo>
                    <a:pt x="420" y="1422"/>
                  </a:lnTo>
                  <a:lnTo>
                    <a:pt x="426" y="1422"/>
                  </a:lnTo>
                  <a:lnTo>
                    <a:pt x="432" y="1428"/>
                  </a:lnTo>
                  <a:lnTo>
                    <a:pt x="438" y="1428"/>
                  </a:lnTo>
                  <a:lnTo>
                    <a:pt x="438" y="1434"/>
                  </a:lnTo>
                  <a:lnTo>
                    <a:pt x="438" y="1428"/>
                  </a:lnTo>
                  <a:lnTo>
                    <a:pt x="438" y="1422"/>
                  </a:lnTo>
                  <a:lnTo>
                    <a:pt x="444" y="1416"/>
                  </a:lnTo>
                  <a:lnTo>
                    <a:pt x="444" y="1410"/>
                  </a:lnTo>
                  <a:lnTo>
                    <a:pt x="450" y="1416"/>
                  </a:lnTo>
                  <a:lnTo>
                    <a:pt x="456" y="1416"/>
                  </a:lnTo>
                  <a:lnTo>
                    <a:pt x="456" y="1422"/>
                  </a:lnTo>
                  <a:lnTo>
                    <a:pt x="456" y="1428"/>
                  </a:lnTo>
                  <a:lnTo>
                    <a:pt x="456" y="1434"/>
                  </a:lnTo>
                  <a:lnTo>
                    <a:pt x="456" y="1440"/>
                  </a:lnTo>
                  <a:lnTo>
                    <a:pt x="462" y="1440"/>
                  </a:lnTo>
                  <a:lnTo>
                    <a:pt x="462" y="1446"/>
                  </a:lnTo>
                  <a:lnTo>
                    <a:pt x="462" y="1452"/>
                  </a:lnTo>
                  <a:lnTo>
                    <a:pt x="456" y="1452"/>
                  </a:lnTo>
                  <a:lnTo>
                    <a:pt x="450" y="1452"/>
                  </a:lnTo>
                  <a:lnTo>
                    <a:pt x="444" y="1446"/>
                  </a:lnTo>
                  <a:lnTo>
                    <a:pt x="444" y="1452"/>
                  </a:lnTo>
                  <a:lnTo>
                    <a:pt x="450" y="1452"/>
                  </a:lnTo>
                  <a:lnTo>
                    <a:pt x="450" y="1458"/>
                  </a:lnTo>
                  <a:lnTo>
                    <a:pt x="444" y="1458"/>
                  </a:lnTo>
                  <a:lnTo>
                    <a:pt x="438" y="1464"/>
                  </a:lnTo>
                  <a:lnTo>
                    <a:pt x="438" y="1458"/>
                  </a:lnTo>
                  <a:lnTo>
                    <a:pt x="432" y="1458"/>
                  </a:lnTo>
                  <a:lnTo>
                    <a:pt x="426" y="1458"/>
                  </a:lnTo>
                  <a:lnTo>
                    <a:pt x="432" y="1458"/>
                  </a:lnTo>
                  <a:lnTo>
                    <a:pt x="438" y="1464"/>
                  </a:lnTo>
                  <a:lnTo>
                    <a:pt x="432" y="1464"/>
                  </a:lnTo>
                  <a:lnTo>
                    <a:pt x="432" y="1470"/>
                  </a:lnTo>
                  <a:lnTo>
                    <a:pt x="426" y="1470"/>
                  </a:lnTo>
                  <a:lnTo>
                    <a:pt x="420" y="1476"/>
                  </a:lnTo>
                  <a:lnTo>
                    <a:pt x="420" y="1470"/>
                  </a:lnTo>
                  <a:lnTo>
                    <a:pt x="414" y="1470"/>
                  </a:lnTo>
                  <a:lnTo>
                    <a:pt x="414" y="1464"/>
                  </a:lnTo>
                  <a:lnTo>
                    <a:pt x="414" y="1458"/>
                  </a:lnTo>
                  <a:lnTo>
                    <a:pt x="408" y="1458"/>
                  </a:lnTo>
                  <a:close/>
                  <a:moveTo>
                    <a:pt x="270" y="1326"/>
                  </a:moveTo>
                  <a:lnTo>
                    <a:pt x="270" y="1320"/>
                  </a:lnTo>
                  <a:lnTo>
                    <a:pt x="276" y="1320"/>
                  </a:lnTo>
                  <a:lnTo>
                    <a:pt x="282" y="1326"/>
                  </a:lnTo>
                  <a:lnTo>
                    <a:pt x="288" y="1326"/>
                  </a:lnTo>
                  <a:lnTo>
                    <a:pt x="288" y="1332"/>
                  </a:lnTo>
                  <a:lnTo>
                    <a:pt x="288" y="1338"/>
                  </a:lnTo>
                  <a:lnTo>
                    <a:pt x="288" y="1344"/>
                  </a:lnTo>
                  <a:lnTo>
                    <a:pt x="282" y="1344"/>
                  </a:lnTo>
                  <a:lnTo>
                    <a:pt x="282" y="1338"/>
                  </a:lnTo>
                  <a:lnTo>
                    <a:pt x="276" y="1338"/>
                  </a:lnTo>
                  <a:lnTo>
                    <a:pt x="276" y="1332"/>
                  </a:lnTo>
                  <a:lnTo>
                    <a:pt x="270" y="1332"/>
                  </a:lnTo>
                  <a:lnTo>
                    <a:pt x="270" y="1326"/>
                  </a:lnTo>
                  <a:close/>
                  <a:moveTo>
                    <a:pt x="288" y="1458"/>
                  </a:moveTo>
                  <a:lnTo>
                    <a:pt x="294" y="1458"/>
                  </a:lnTo>
                  <a:lnTo>
                    <a:pt x="294" y="1452"/>
                  </a:lnTo>
                  <a:lnTo>
                    <a:pt x="294" y="1446"/>
                  </a:lnTo>
                  <a:lnTo>
                    <a:pt x="300" y="1446"/>
                  </a:lnTo>
                  <a:lnTo>
                    <a:pt x="300" y="1440"/>
                  </a:lnTo>
                  <a:lnTo>
                    <a:pt x="306" y="1440"/>
                  </a:lnTo>
                  <a:lnTo>
                    <a:pt x="306" y="1446"/>
                  </a:lnTo>
                  <a:lnTo>
                    <a:pt x="312" y="1452"/>
                  </a:lnTo>
                  <a:lnTo>
                    <a:pt x="306" y="1452"/>
                  </a:lnTo>
                  <a:lnTo>
                    <a:pt x="306" y="1458"/>
                  </a:lnTo>
                  <a:lnTo>
                    <a:pt x="312" y="1464"/>
                  </a:lnTo>
                  <a:lnTo>
                    <a:pt x="306" y="1464"/>
                  </a:lnTo>
                  <a:lnTo>
                    <a:pt x="306" y="1470"/>
                  </a:lnTo>
                  <a:lnTo>
                    <a:pt x="300" y="1476"/>
                  </a:lnTo>
                  <a:lnTo>
                    <a:pt x="294" y="1476"/>
                  </a:lnTo>
                  <a:lnTo>
                    <a:pt x="294" y="1470"/>
                  </a:lnTo>
                  <a:lnTo>
                    <a:pt x="288" y="1470"/>
                  </a:lnTo>
                  <a:lnTo>
                    <a:pt x="288" y="1464"/>
                  </a:lnTo>
                  <a:lnTo>
                    <a:pt x="288" y="1458"/>
                  </a:lnTo>
                  <a:close/>
                  <a:moveTo>
                    <a:pt x="270" y="1296"/>
                  </a:moveTo>
                  <a:lnTo>
                    <a:pt x="276" y="1296"/>
                  </a:lnTo>
                  <a:lnTo>
                    <a:pt x="282" y="1296"/>
                  </a:lnTo>
                  <a:lnTo>
                    <a:pt x="288" y="1296"/>
                  </a:lnTo>
                  <a:lnTo>
                    <a:pt x="288" y="1302"/>
                  </a:lnTo>
                  <a:lnTo>
                    <a:pt x="282" y="1308"/>
                  </a:lnTo>
                  <a:lnTo>
                    <a:pt x="276" y="1308"/>
                  </a:lnTo>
                  <a:lnTo>
                    <a:pt x="276" y="1302"/>
                  </a:lnTo>
                  <a:lnTo>
                    <a:pt x="270" y="1296"/>
                  </a:lnTo>
                  <a:close/>
                </a:path>
              </a:pathLst>
            </a:custGeom>
            <a:solidFill>
              <a:srgbClr val="2A4F1D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4" name="Freeform 19">
              <a:extLst>
                <a:ext uri="{FF2B5EF4-FFF2-40B4-BE49-F238E27FC236}">
                  <a16:creationId xmlns:a16="http://schemas.microsoft.com/office/drawing/2014/main" id="{5B9020B8-E1C1-4611-A248-9642BBD69C9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7043" y="3765821"/>
              <a:ext cx="333193" cy="398097"/>
            </a:xfrm>
            <a:custGeom>
              <a:avLst/>
              <a:gdLst>
                <a:gd name="T0" fmla="*/ 30 w 624"/>
                <a:gd name="T1" fmla="*/ 61 h 750"/>
                <a:gd name="T2" fmla="*/ 27 w 624"/>
                <a:gd name="T3" fmla="*/ 62 h 750"/>
                <a:gd name="T4" fmla="*/ 23 w 624"/>
                <a:gd name="T5" fmla="*/ 59 h 750"/>
                <a:gd name="T6" fmla="*/ 20 w 624"/>
                <a:gd name="T7" fmla="*/ 58 h 750"/>
                <a:gd name="T8" fmla="*/ 19 w 624"/>
                <a:gd name="T9" fmla="*/ 56 h 750"/>
                <a:gd name="T10" fmla="*/ 17 w 624"/>
                <a:gd name="T11" fmla="*/ 55 h 750"/>
                <a:gd name="T12" fmla="*/ 16 w 624"/>
                <a:gd name="T13" fmla="*/ 51 h 750"/>
                <a:gd name="T14" fmla="*/ 14 w 624"/>
                <a:gd name="T15" fmla="*/ 48 h 750"/>
                <a:gd name="T16" fmla="*/ 12 w 624"/>
                <a:gd name="T17" fmla="*/ 46 h 750"/>
                <a:gd name="T18" fmla="*/ 12 w 624"/>
                <a:gd name="T19" fmla="*/ 44 h 750"/>
                <a:gd name="T20" fmla="*/ 11 w 624"/>
                <a:gd name="T21" fmla="*/ 41 h 750"/>
                <a:gd name="T22" fmla="*/ 8 w 624"/>
                <a:gd name="T23" fmla="*/ 38 h 750"/>
                <a:gd name="T24" fmla="*/ 6 w 624"/>
                <a:gd name="T25" fmla="*/ 38 h 750"/>
                <a:gd name="T26" fmla="*/ 6 w 624"/>
                <a:gd name="T27" fmla="*/ 35 h 750"/>
                <a:gd name="T28" fmla="*/ 7 w 624"/>
                <a:gd name="T29" fmla="*/ 31 h 750"/>
                <a:gd name="T30" fmla="*/ 10 w 624"/>
                <a:gd name="T31" fmla="*/ 27 h 750"/>
                <a:gd name="T32" fmla="*/ 8 w 624"/>
                <a:gd name="T33" fmla="*/ 23 h 750"/>
                <a:gd name="T34" fmla="*/ 6 w 624"/>
                <a:gd name="T35" fmla="*/ 23 h 750"/>
                <a:gd name="T36" fmla="*/ 3 w 624"/>
                <a:gd name="T37" fmla="*/ 22 h 750"/>
                <a:gd name="T38" fmla="*/ 0 w 624"/>
                <a:gd name="T39" fmla="*/ 22 h 750"/>
                <a:gd name="T40" fmla="*/ 0 w 624"/>
                <a:gd name="T41" fmla="*/ 19 h 750"/>
                <a:gd name="T42" fmla="*/ 1 w 624"/>
                <a:gd name="T43" fmla="*/ 18 h 750"/>
                <a:gd name="T44" fmla="*/ 2 w 624"/>
                <a:gd name="T45" fmla="*/ 14 h 750"/>
                <a:gd name="T46" fmla="*/ 4 w 624"/>
                <a:gd name="T47" fmla="*/ 17 h 750"/>
                <a:gd name="T48" fmla="*/ 6 w 624"/>
                <a:gd name="T49" fmla="*/ 17 h 750"/>
                <a:gd name="T50" fmla="*/ 7 w 624"/>
                <a:gd name="T51" fmla="*/ 17 h 750"/>
                <a:gd name="T52" fmla="*/ 9 w 624"/>
                <a:gd name="T53" fmla="*/ 15 h 750"/>
                <a:gd name="T54" fmla="*/ 10 w 624"/>
                <a:gd name="T55" fmla="*/ 14 h 750"/>
                <a:gd name="T56" fmla="*/ 11 w 624"/>
                <a:gd name="T57" fmla="*/ 12 h 750"/>
                <a:gd name="T58" fmla="*/ 13 w 624"/>
                <a:gd name="T59" fmla="*/ 12 h 750"/>
                <a:gd name="T60" fmla="*/ 18 w 624"/>
                <a:gd name="T61" fmla="*/ 10 h 750"/>
                <a:gd name="T62" fmla="*/ 22 w 624"/>
                <a:gd name="T63" fmla="*/ 4 h 750"/>
                <a:gd name="T64" fmla="*/ 24 w 624"/>
                <a:gd name="T65" fmla="*/ 4 h 750"/>
                <a:gd name="T66" fmla="*/ 26 w 624"/>
                <a:gd name="T67" fmla="*/ 2 h 750"/>
                <a:gd name="T68" fmla="*/ 29 w 624"/>
                <a:gd name="T69" fmla="*/ 0 h 750"/>
                <a:gd name="T70" fmla="*/ 32 w 624"/>
                <a:gd name="T71" fmla="*/ 2 h 750"/>
                <a:gd name="T72" fmla="*/ 34 w 624"/>
                <a:gd name="T73" fmla="*/ 5 h 750"/>
                <a:gd name="T74" fmla="*/ 35 w 624"/>
                <a:gd name="T75" fmla="*/ 8 h 750"/>
                <a:gd name="T76" fmla="*/ 39 w 624"/>
                <a:gd name="T77" fmla="*/ 11 h 750"/>
                <a:gd name="T78" fmla="*/ 42 w 624"/>
                <a:gd name="T79" fmla="*/ 14 h 750"/>
                <a:gd name="T80" fmla="*/ 46 w 624"/>
                <a:gd name="T81" fmla="*/ 12 h 750"/>
                <a:gd name="T82" fmla="*/ 49 w 624"/>
                <a:gd name="T83" fmla="*/ 12 h 750"/>
                <a:gd name="T84" fmla="*/ 51 w 624"/>
                <a:gd name="T85" fmla="*/ 12 h 750"/>
                <a:gd name="T86" fmla="*/ 53 w 624"/>
                <a:gd name="T87" fmla="*/ 12 h 750"/>
                <a:gd name="T88" fmla="*/ 53 w 624"/>
                <a:gd name="T89" fmla="*/ 17 h 750"/>
                <a:gd name="T90" fmla="*/ 51 w 624"/>
                <a:gd name="T91" fmla="*/ 20 h 750"/>
                <a:gd name="T92" fmla="*/ 49 w 624"/>
                <a:gd name="T93" fmla="*/ 26 h 750"/>
                <a:gd name="T94" fmla="*/ 47 w 624"/>
                <a:gd name="T95" fmla="*/ 26 h 750"/>
                <a:gd name="T96" fmla="*/ 44 w 624"/>
                <a:gd name="T97" fmla="*/ 26 h 750"/>
                <a:gd name="T98" fmla="*/ 43 w 624"/>
                <a:gd name="T99" fmla="*/ 27 h 750"/>
                <a:gd name="T100" fmla="*/ 45 w 624"/>
                <a:gd name="T101" fmla="*/ 32 h 750"/>
                <a:gd name="T102" fmla="*/ 44 w 624"/>
                <a:gd name="T103" fmla="*/ 43 h 750"/>
                <a:gd name="T104" fmla="*/ 44 w 624"/>
                <a:gd name="T105" fmla="*/ 47 h 750"/>
                <a:gd name="T106" fmla="*/ 44 w 624"/>
                <a:gd name="T107" fmla="*/ 54 h 750"/>
                <a:gd name="T108" fmla="*/ 41 w 624"/>
                <a:gd name="T109" fmla="*/ 60 h 750"/>
                <a:gd name="T110" fmla="*/ 42 w 624"/>
                <a:gd name="T111" fmla="*/ 62 h 750"/>
                <a:gd name="T112" fmla="*/ 43 w 624"/>
                <a:gd name="T113" fmla="*/ 65 h 750"/>
                <a:gd name="T114" fmla="*/ 39 w 624"/>
                <a:gd name="T115" fmla="*/ 63 h 750"/>
                <a:gd name="T116" fmla="*/ 35 w 624"/>
                <a:gd name="T117" fmla="*/ 62 h 75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24"/>
                <a:gd name="T178" fmla="*/ 0 h 750"/>
                <a:gd name="T179" fmla="*/ 624 w 624"/>
                <a:gd name="T180" fmla="*/ 750 h 75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24" h="750">
                  <a:moveTo>
                    <a:pt x="390" y="702"/>
                  </a:moveTo>
                  <a:lnTo>
                    <a:pt x="372" y="696"/>
                  </a:lnTo>
                  <a:lnTo>
                    <a:pt x="360" y="702"/>
                  </a:lnTo>
                  <a:lnTo>
                    <a:pt x="348" y="702"/>
                  </a:lnTo>
                  <a:lnTo>
                    <a:pt x="336" y="702"/>
                  </a:lnTo>
                  <a:lnTo>
                    <a:pt x="330" y="702"/>
                  </a:lnTo>
                  <a:lnTo>
                    <a:pt x="318" y="708"/>
                  </a:lnTo>
                  <a:lnTo>
                    <a:pt x="306" y="708"/>
                  </a:lnTo>
                  <a:lnTo>
                    <a:pt x="294" y="690"/>
                  </a:lnTo>
                  <a:lnTo>
                    <a:pt x="294" y="684"/>
                  </a:lnTo>
                  <a:lnTo>
                    <a:pt x="276" y="684"/>
                  </a:lnTo>
                  <a:lnTo>
                    <a:pt x="270" y="678"/>
                  </a:lnTo>
                  <a:lnTo>
                    <a:pt x="240" y="672"/>
                  </a:lnTo>
                  <a:lnTo>
                    <a:pt x="234" y="672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6"/>
                  </a:lnTo>
                  <a:lnTo>
                    <a:pt x="216" y="660"/>
                  </a:lnTo>
                  <a:lnTo>
                    <a:pt x="216" y="654"/>
                  </a:lnTo>
                  <a:lnTo>
                    <a:pt x="216" y="642"/>
                  </a:lnTo>
                  <a:lnTo>
                    <a:pt x="210" y="642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36"/>
                  </a:lnTo>
                  <a:lnTo>
                    <a:pt x="192" y="624"/>
                  </a:lnTo>
                  <a:lnTo>
                    <a:pt x="186" y="612"/>
                  </a:lnTo>
                  <a:lnTo>
                    <a:pt x="186" y="600"/>
                  </a:lnTo>
                  <a:lnTo>
                    <a:pt x="186" y="588"/>
                  </a:lnTo>
                  <a:lnTo>
                    <a:pt x="180" y="582"/>
                  </a:lnTo>
                  <a:lnTo>
                    <a:pt x="180" y="570"/>
                  </a:lnTo>
                  <a:lnTo>
                    <a:pt x="174" y="558"/>
                  </a:lnTo>
                  <a:lnTo>
                    <a:pt x="162" y="558"/>
                  </a:lnTo>
                  <a:lnTo>
                    <a:pt x="144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38" y="534"/>
                  </a:lnTo>
                  <a:lnTo>
                    <a:pt x="138" y="528"/>
                  </a:lnTo>
                  <a:lnTo>
                    <a:pt x="132" y="522"/>
                  </a:lnTo>
                  <a:lnTo>
                    <a:pt x="144" y="522"/>
                  </a:lnTo>
                  <a:lnTo>
                    <a:pt x="144" y="510"/>
                  </a:lnTo>
                  <a:lnTo>
                    <a:pt x="144" y="504"/>
                  </a:lnTo>
                  <a:lnTo>
                    <a:pt x="138" y="492"/>
                  </a:lnTo>
                  <a:lnTo>
                    <a:pt x="138" y="474"/>
                  </a:lnTo>
                  <a:lnTo>
                    <a:pt x="126" y="468"/>
                  </a:lnTo>
                  <a:lnTo>
                    <a:pt x="120" y="456"/>
                  </a:lnTo>
                  <a:lnTo>
                    <a:pt x="114" y="450"/>
                  </a:lnTo>
                  <a:lnTo>
                    <a:pt x="108" y="438"/>
                  </a:lnTo>
                  <a:lnTo>
                    <a:pt x="96" y="432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60" y="426"/>
                  </a:lnTo>
                  <a:lnTo>
                    <a:pt x="66" y="420"/>
                  </a:lnTo>
                  <a:lnTo>
                    <a:pt x="66" y="408"/>
                  </a:lnTo>
                  <a:lnTo>
                    <a:pt x="72" y="408"/>
                  </a:lnTo>
                  <a:lnTo>
                    <a:pt x="72" y="384"/>
                  </a:lnTo>
                  <a:lnTo>
                    <a:pt x="72" y="366"/>
                  </a:lnTo>
                  <a:lnTo>
                    <a:pt x="78" y="354"/>
                  </a:lnTo>
                  <a:lnTo>
                    <a:pt x="84" y="354"/>
                  </a:lnTo>
                  <a:lnTo>
                    <a:pt x="90" y="348"/>
                  </a:lnTo>
                  <a:lnTo>
                    <a:pt x="102" y="336"/>
                  </a:lnTo>
                  <a:lnTo>
                    <a:pt x="114" y="324"/>
                  </a:lnTo>
                  <a:lnTo>
                    <a:pt x="120" y="312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20" y="276"/>
                  </a:lnTo>
                  <a:lnTo>
                    <a:pt x="96" y="270"/>
                  </a:lnTo>
                  <a:lnTo>
                    <a:pt x="84" y="270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72" y="264"/>
                  </a:lnTo>
                  <a:lnTo>
                    <a:pt x="60" y="252"/>
                  </a:lnTo>
                  <a:lnTo>
                    <a:pt x="42" y="252"/>
                  </a:lnTo>
                  <a:lnTo>
                    <a:pt x="42" y="258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18" y="252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42" y="156"/>
                  </a:lnTo>
                  <a:lnTo>
                    <a:pt x="48" y="198"/>
                  </a:lnTo>
                  <a:lnTo>
                    <a:pt x="48" y="204"/>
                  </a:lnTo>
                  <a:lnTo>
                    <a:pt x="54" y="198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204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192"/>
                  </a:lnTo>
                  <a:lnTo>
                    <a:pt x="96" y="186"/>
                  </a:lnTo>
                  <a:lnTo>
                    <a:pt x="102" y="180"/>
                  </a:lnTo>
                  <a:lnTo>
                    <a:pt x="102" y="174"/>
                  </a:lnTo>
                  <a:lnTo>
                    <a:pt x="108" y="168"/>
                  </a:lnTo>
                  <a:lnTo>
                    <a:pt x="108" y="162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0"/>
                  </a:lnTo>
                  <a:lnTo>
                    <a:pt x="132" y="144"/>
                  </a:lnTo>
                  <a:lnTo>
                    <a:pt x="138" y="138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0" y="132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74" y="126"/>
                  </a:lnTo>
                  <a:lnTo>
                    <a:pt x="204" y="120"/>
                  </a:lnTo>
                  <a:lnTo>
                    <a:pt x="210" y="78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54"/>
                  </a:lnTo>
                  <a:lnTo>
                    <a:pt x="276" y="54"/>
                  </a:lnTo>
                  <a:lnTo>
                    <a:pt x="276" y="48"/>
                  </a:lnTo>
                  <a:lnTo>
                    <a:pt x="282" y="48"/>
                  </a:lnTo>
                  <a:lnTo>
                    <a:pt x="288" y="42"/>
                  </a:lnTo>
                  <a:lnTo>
                    <a:pt x="294" y="42"/>
                  </a:lnTo>
                  <a:lnTo>
                    <a:pt x="294" y="18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0"/>
                  </a:lnTo>
                  <a:lnTo>
                    <a:pt x="336" y="0"/>
                  </a:lnTo>
                  <a:lnTo>
                    <a:pt x="342" y="0"/>
                  </a:lnTo>
                  <a:lnTo>
                    <a:pt x="354" y="6"/>
                  </a:lnTo>
                  <a:lnTo>
                    <a:pt x="366" y="18"/>
                  </a:lnTo>
                  <a:lnTo>
                    <a:pt x="378" y="36"/>
                  </a:lnTo>
                  <a:lnTo>
                    <a:pt x="390" y="42"/>
                  </a:lnTo>
                  <a:lnTo>
                    <a:pt x="390" y="48"/>
                  </a:lnTo>
                  <a:lnTo>
                    <a:pt x="396" y="60"/>
                  </a:lnTo>
                  <a:lnTo>
                    <a:pt x="402" y="72"/>
                  </a:lnTo>
                  <a:lnTo>
                    <a:pt x="408" y="78"/>
                  </a:lnTo>
                  <a:lnTo>
                    <a:pt x="402" y="84"/>
                  </a:lnTo>
                  <a:lnTo>
                    <a:pt x="408" y="90"/>
                  </a:lnTo>
                  <a:lnTo>
                    <a:pt x="414" y="102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50" y="126"/>
                  </a:lnTo>
                  <a:lnTo>
                    <a:pt x="456" y="126"/>
                  </a:lnTo>
                  <a:lnTo>
                    <a:pt x="462" y="144"/>
                  </a:lnTo>
                  <a:lnTo>
                    <a:pt x="480" y="156"/>
                  </a:lnTo>
                  <a:lnTo>
                    <a:pt x="492" y="156"/>
                  </a:lnTo>
                  <a:lnTo>
                    <a:pt x="516" y="150"/>
                  </a:lnTo>
                  <a:lnTo>
                    <a:pt x="516" y="144"/>
                  </a:lnTo>
                  <a:lnTo>
                    <a:pt x="516" y="138"/>
                  </a:lnTo>
                  <a:lnTo>
                    <a:pt x="528" y="138"/>
                  </a:lnTo>
                  <a:lnTo>
                    <a:pt x="546" y="144"/>
                  </a:lnTo>
                  <a:lnTo>
                    <a:pt x="546" y="138"/>
                  </a:lnTo>
                  <a:lnTo>
                    <a:pt x="552" y="138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76" y="138"/>
                  </a:lnTo>
                  <a:lnTo>
                    <a:pt x="582" y="138"/>
                  </a:lnTo>
                  <a:lnTo>
                    <a:pt x="588" y="138"/>
                  </a:lnTo>
                  <a:lnTo>
                    <a:pt x="594" y="138"/>
                  </a:lnTo>
                  <a:lnTo>
                    <a:pt x="594" y="144"/>
                  </a:lnTo>
                  <a:lnTo>
                    <a:pt x="600" y="138"/>
                  </a:lnTo>
                  <a:lnTo>
                    <a:pt x="606" y="138"/>
                  </a:lnTo>
                  <a:lnTo>
                    <a:pt x="606" y="144"/>
                  </a:lnTo>
                  <a:lnTo>
                    <a:pt x="612" y="144"/>
                  </a:lnTo>
                  <a:lnTo>
                    <a:pt x="618" y="156"/>
                  </a:lnTo>
                  <a:lnTo>
                    <a:pt x="612" y="198"/>
                  </a:lnTo>
                  <a:lnTo>
                    <a:pt x="624" y="198"/>
                  </a:lnTo>
                  <a:lnTo>
                    <a:pt x="624" y="204"/>
                  </a:lnTo>
                  <a:lnTo>
                    <a:pt x="612" y="216"/>
                  </a:lnTo>
                  <a:lnTo>
                    <a:pt x="594" y="234"/>
                  </a:lnTo>
                  <a:lnTo>
                    <a:pt x="588" y="252"/>
                  </a:lnTo>
                  <a:lnTo>
                    <a:pt x="576" y="270"/>
                  </a:lnTo>
                  <a:lnTo>
                    <a:pt x="564" y="282"/>
                  </a:lnTo>
                  <a:lnTo>
                    <a:pt x="564" y="294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8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34" y="294"/>
                  </a:lnTo>
                  <a:lnTo>
                    <a:pt x="522" y="300"/>
                  </a:lnTo>
                  <a:lnTo>
                    <a:pt x="510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498" y="324"/>
                  </a:lnTo>
                  <a:lnTo>
                    <a:pt x="504" y="336"/>
                  </a:lnTo>
                  <a:lnTo>
                    <a:pt x="510" y="348"/>
                  </a:lnTo>
                  <a:lnTo>
                    <a:pt x="516" y="366"/>
                  </a:lnTo>
                  <a:lnTo>
                    <a:pt x="522" y="432"/>
                  </a:lnTo>
                  <a:lnTo>
                    <a:pt x="522" y="456"/>
                  </a:lnTo>
                  <a:lnTo>
                    <a:pt x="504" y="492"/>
                  </a:lnTo>
                  <a:lnTo>
                    <a:pt x="504" y="498"/>
                  </a:lnTo>
                  <a:lnTo>
                    <a:pt x="498" y="504"/>
                  </a:lnTo>
                  <a:lnTo>
                    <a:pt x="498" y="522"/>
                  </a:lnTo>
                  <a:lnTo>
                    <a:pt x="504" y="534"/>
                  </a:lnTo>
                  <a:lnTo>
                    <a:pt x="510" y="546"/>
                  </a:lnTo>
                  <a:lnTo>
                    <a:pt x="516" y="558"/>
                  </a:lnTo>
                  <a:lnTo>
                    <a:pt x="516" y="588"/>
                  </a:lnTo>
                  <a:lnTo>
                    <a:pt x="516" y="600"/>
                  </a:lnTo>
                  <a:lnTo>
                    <a:pt x="510" y="618"/>
                  </a:lnTo>
                  <a:lnTo>
                    <a:pt x="504" y="636"/>
                  </a:lnTo>
                  <a:lnTo>
                    <a:pt x="504" y="642"/>
                  </a:lnTo>
                  <a:lnTo>
                    <a:pt x="474" y="654"/>
                  </a:lnTo>
                  <a:lnTo>
                    <a:pt x="474" y="690"/>
                  </a:lnTo>
                  <a:lnTo>
                    <a:pt x="474" y="696"/>
                  </a:lnTo>
                  <a:lnTo>
                    <a:pt x="480" y="702"/>
                  </a:lnTo>
                  <a:lnTo>
                    <a:pt x="486" y="708"/>
                  </a:lnTo>
                  <a:lnTo>
                    <a:pt x="492" y="708"/>
                  </a:lnTo>
                  <a:lnTo>
                    <a:pt x="498" y="726"/>
                  </a:lnTo>
                  <a:lnTo>
                    <a:pt x="504" y="726"/>
                  </a:lnTo>
                  <a:lnTo>
                    <a:pt x="504" y="738"/>
                  </a:lnTo>
                  <a:lnTo>
                    <a:pt x="498" y="744"/>
                  </a:lnTo>
                  <a:lnTo>
                    <a:pt x="486" y="750"/>
                  </a:lnTo>
                  <a:lnTo>
                    <a:pt x="474" y="744"/>
                  </a:lnTo>
                  <a:lnTo>
                    <a:pt x="462" y="744"/>
                  </a:lnTo>
                  <a:lnTo>
                    <a:pt x="456" y="732"/>
                  </a:lnTo>
                  <a:lnTo>
                    <a:pt x="444" y="732"/>
                  </a:lnTo>
                  <a:lnTo>
                    <a:pt x="432" y="726"/>
                  </a:lnTo>
                  <a:lnTo>
                    <a:pt x="420" y="720"/>
                  </a:lnTo>
                  <a:lnTo>
                    <a:pt x="408" y="708"/>
                  </a:lnTo>
                  <a:lnTo>
                    <a:pt x="402" y="708"/>
                  </a:lnTo>
                  <a:lnTo>
                    <a:pt x="390" y="70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5" name="Freeform 20">
              <a:extLst>
                <a:ext uri="{FF2B5EF4-FFF2-40B4-BE49-F238E27FC236}">
                  <a16:creationId xmlns:a16="http://schemas.microsoft.com/office/drawing/2014/main" id="{B8342C3B-ECEC-465F-AAFF-4815B8AC392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870937"/>
              <a:ext cx="313067" cy="377968"/>
            </a:xfrm>
            <a:custGeom>
              <a:avLst/>
              <a:gdLst>
                <a:gd name="T0" fmla="*/ 15 w 588"/>
                <a:gd name="T1" fmla="*/ 59 h 714"/>
                <a:gd name="T2" fmla="*/ 14 w 588"/>
                <a:gd name="T3" fmla="*/ 58 h 714"/>
                <a:gd name="T4" fmla="*/ 9 w 588"/>
                <a:gd name="T5" fmla="*/ 54 h 714"/>
                <a:gd name="T6" fmla="*/ 4 w 588"/>
                <a:gd name="T7" fmla="*/ 54 h 714"/>
                <a:gd name="T8" fmla="*/ 0 w 588"/>
                <a:gd name="T9" fmla="*/ 50 h 714"/>
                <a:gd name="T10" fmla="*/ 0 w 588"/>
                <a:gd name="T11" fmla="*/ 44 h 714"/>
                <a:gd name="T12" fmla="*/ 4 w 588"/>
                <a:gd name="T13" fmla="*/ 46 h 714"/>
                <a:gd name="T14" fmla="*/ 7 w 588"/>
                <a:gd name="T15" fmla="*/ 47 h 714"/>
                <a:gd name="T16" fmla="*/ 10 w 588"/>
                <a:gd name="T17" fmla="*/ 46 h 714"/>
                <a:gd name="T18" fmla="*/ 8 w 588"/>
                <a:gd name="T19" fmla="*/ 44 h 714"/>
                <a:gd name="T20" fmla="*/ 10 w 588"/>
                <a:gd name="T21" fmla="*/ 39 h 714"/>
                <a:gd name="T22" fmla="*/ 11 w 588"/>
                <a:gd name="T23" fmla="*/ 34 h 714"/>
                <a:gd name="T24" fmla="*/ 9 w 588"/>
                <a:gd name="T25" fmla="*/ 28 h 714"/>
                <a:gd name="T26" fmla="*/ 11 w 588"/>
                <a:gd name="T27" fmla="*/ 22 h 714"/>
                <a:gd name="T28" fmla="*/ 10 w 588"/>
                <a:gd name="T29" fmla="*/ 12 h 714"/>
                <a:gd name="T30" fmla="*/ 9 w 588"/>
                <a:gd name="T31" fmla="*/ 9 h 714"/>
                <a:gd name="T32" fmla="*/ 12 w 588"/>
                <a:gd name="T33" fmla="*/ 8 h 714"/>
                <a:gd name="T34" fmla="*/ 14 w 588"/>
                <a:gd name="T35" fmla="*/ 7 h 714"/>
                <a:gd name="T36" fmla="*/ 17 w 588"/>
                <a:gd name="T37" fmla="*/ 10 h 714"/>
                <a:gd name="T38" fmla="*/ 23 w 588"/>
                <a:gd name="T39" fmla="*/ 14 h 714"/>
                <a:gd name="T40" fmla="*/ 28 w 588"/>
                <a:gd name="T41" fmla="*/ 4 h 714"/>
                <a:gd name="T42" fmla="*/ 35 w 588"/>
                <a:gd name="T43" fmla="*/ 2 h 714"/>
                <a:gd name="T44" fmla="*/ 38 w 588"/>
                <a:gd name="T45" fmla="*/ 0 h 714"/>
                <a:gd name="T46" fmla="*/ 40 w 588"/>
                <a:gd name="T47" fmla="*/ 2 h 714"/>
                <a:gd name="T48" fmla="*/ 39 w 588"/>
                <a:gd name="T49" fmla="*/ 4 h 714"/>
                <a:gd name="T50" fmla="*/ 41 w 588"/>
                <a:gd name="T51" fmla="*/ 5 h 714"/>
                <a:gd name="T52" fmla="*/ 42 w 588"/>
                <a:gd name="T53" fmla="*/ 7 h 714"/>
                <a:gd name="T54" fmla="*/ 43 w 588"/>
                <a:gd name="T55" fmla="*/ 9 h 714"/>
                <a:gd name="T56" fmla="*/ 43 w 588"/>
                <a:gd name="T57" fmla="*/ 10 h 714"/>
                <a:gd name="T58" fmla="*/ 43 w 588"/>
                <a:gd name="T59" fmla="*/ 12 h 714"/>
                <a:gd name="T60" fmla="*/ 44 w 588"/>
                <a:gd name="T61" fmla="*/ 12 h 714"/>
                <a:gd name="T62" fmla="*/ 46 w 588"/>
                <a:gd name="T63" fmla="*/ 13 h 714"/>
                <a:gd name="T64" fmla="*/ 47 w 588"/>
                <a:gd name="T65" fmla="*/ 14 h 714"/>
                <a:gd name="T66" fmla="*/ 48 w 588"/>
                <a:gd name="T67" fmla="*/ 15 h 714"/>
                <a:gd name="T68" fmla="*/ 49 w 588"/>
                <a:gd name="T69" fmla="*/ 15 h 714"/>
                <a:gd name="T70" fmla="*/ 48 w 588"/>
                <a:gd name="T71" fmla="*/ 17 h 714"/>
                <a:gd name="T72" fmla="*/ 49 w 588"/>
                <a:gd name="T73" fmla="*/ 19 h 714"/>
                <a:gd name="T74" fmla="*/ 49 w 588"/>
                <a:gd name="T75" fmla="*/ 20 h 714"/>
                <a:gd name="T76" fmla="*/ 51 w 588"/>
                <a:gd name="T77" fmla="*/ 21 h 714"/>
                <a:gd name="T78" fmla="*/ 50 w 588"/>
                <a:gd name="T79" fmla="*/ 22 h 714"/>
                <a:gd name="T80" fmla="*/ 47 w 588"/>
                <a:gd name="T81" fmla="*/ 23 h 714"/>
                <a:gd name="T82" fmla="*/ 47 w 588"/>
                <a:gd name="T83" fmla="*/ 26 h 714"/>
                <a:gd name="T84" fmla="*/ 47 w 588"/>
                <a:gd name="T85" fmla="*/ 32 h 714"/>
                <a:gd name="T86" fmla="*/ 44 w 588"/>
                <a:gd name="T87" fmla="*/ 35 h 714"/>
                <a:gd name="T88" fmla="*/ 42 w 588"/>
                <a:gd name="T89" fmla="*/ 39 h 714"/>
                <a:gd name="T90" fmla="*/ 42 w 588"/>
                <a:gd name="T91" fmla="*/ 41 h 714"/>
                <a:gd name="T92" fmla="*/ 42 w 588"/>
                <a:gd name="T93" fmla="*/ 42 h 714"/>
                <a:gd name="T94" fmla="*/ 41 w 588"/>
                <a:gd name="T95" fmla="*/ 44 h 714"/>
                <a:gd name="T96" fmla="*/ 39 w 588"/>
                <a:gd name="T97" fmla="*/ 43 h 714"/>
                <a:gd name="T98" fmla="*/ 37 w 588"/>
                <a:gd name="T99" fmla="*/ 44 h 714"/>
                <a:gd name="T100" fmla="*/ 35 w 588"/>
                <a:gd name="T101" fmla="*/ 46 h 714"/>
                <a:gd name="T102" fmla="*/ 31 w 588"/>
                <a:gd name="T103" fmla="*/ 45 h 714"/>
                <a:gd name="T104" fmla="*/ 24 w 588"/>
                <a:gd name="T105" fmla="*/ 45 h 714"/>
                <a:gd name="T106" fmla="*/ 25 w 588"/>
                <a:gd name="T107" fmla="*/ 47 h 714"/>
                <a:gd name="T108" fmla="*/ 25 w 588"/>
                <a:gd name="T109" fmla="*/ 49 h 714"/>
                <a:gd name="T110" fmla="*/ 25 w 588"/>
                <a:gd name="T111" fmla="*/ 50 h 714"/>
                <a:gd name="T112" fmla="*/ 24 w 588"/>
                <a:gd name="T113" fmla="*/ 51 h 714"/>
                <a:gd name="T114" fmla="*/ 22 w 588"/>
                <a:gd name="T115" fmla="*/ 53 h 714"/>
                <a:gd name="T116" fmla="*/ 23 w 588"/>
                <a:gd name="T117" fmla="*/ 56 h 714"/>
                <a:gd name="T118" fmla="*/ 20 w 588"/>
                <a:gd name="T119" fmla="*/ 58 h 714"/>
                <a:gd name="T120" fmla="*/ 19 w 588"/>
                <a:gd name="T121" fmla="*/ 62 h 7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8"/>
                <a:gd name="T184" fmla="*/ 0 h 714"/>
                <a:gd name="T185" fmla="*/ 588 w 588"/>
                <a:gd name="T186" fmla="*/ 714 h 7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8" h="714">
                  <a:moveTo>
                    <a:pt x="216" y="714"/>
                  </a:moveTo>
                  <a:lnTo>
                    <a:pt x="198" y="702"/>
                  </a:lnTo>
                  <a:lnTo>
                    <a:pt x="186" y="696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74" y="678"/>
                  </a:lnTo>
                  <a:lnTo>
                    <a:pt x="168" y="672"/>
                  </a:lnTo>
                  <a:lnTo>
                    <a:pt x="162" y="666"/>
                  </a:lnTo>
                  <a:lnTo>
                    <a:pt x="156" y="636"/>
                  </a:lnTo>
                  <a:lnTo>
                    <a:pt x="144" y="630"/>
                  </a:lnTo>
                  <a:lnTo>
                    <a:pt x="108" y="630"/>
                  </a:lnTo>
                  <a:lnTo>
                    <a:pt x="102" y="624"/>
                  </a:lnTo>
                  <a:lnTo>
                    <a:pt x="96" y="624"/>
                  </a:lnTo>
                  <a:lnTo>
                    <a:pt x="72" y="624"/>
                  </a:lnTo>
                  <a:lnTo>
                    <a:pt x="54" y="624"/>
                  </a:lnTo>
                  <a:lnTo>
                    <a:pt x="42" y="618"/>
                  </a:lnTo>
                  <a:lnTo>
                    <a:pt x="30" y="612"/>
                  </a:lnTo>
                  <a:lnTo>
                    <a:pt x="6" y="606"/>
                  </a:lnTo>
                  <a:lnTo>
                    <a:pt x="0" y="606"/>
                  </a:lnTo>
                  <a:lnTo>
                    <a:pt x="0" y="570"/>
                  </a:lnTo>
                  <a:lnTo>
                    <a:pt x="6" y="552"/>
                  </a:lnTo>
                  <a:lnTo>
                    <a:pt x="6" y="522"/>
                  </a:lnTo>
                  <a:lnTo>
                    <a:pt x="0" y="510"/>
                  </a:lnTo>
                  <a:lnTo>
                    <a:pt x="0" y="504"/>
                  </a:lnTo>
                  <a:lnTo>
                    <a:pt x="12" y="510"/>
                  </a:lnTo>
                  <a:lnTo>
                    <a:pt x="18" y="510"/>
                  </a:lnTo>
                  <a:lnTo>
                    <a:pt x="30" y="522"/>
                  </a:lnTo>
                  <a:lnTo>
                    <a:pt x="42" y="528"/>
                  </a:lnTo>
                  <a:lnTo>
                    <a:pt x="54" y="534"/>
                  </a:lnTo>
                  <a:lnTo>
                    <a:pt x="66" y="534"/>
                  </a:lnTo>
                  <a:lnTo>
                    <a:pt x="72" y="546"/>
                  </a:lnTo>
                  <a:lnTo>
                    <a:pt x="84" y="546"/>
                  </a:lnTo>
                  <a:lnTo>
                    <a:pt x="96" y="552"/>
                  </a:lnTo>
                  <a:lnTo>
                    <a:pt x="108" y="546"/>
                  </a:lnTo>
                  <a:lnTo>
                    <a:pt x="114" y="540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90" y="504"/>
                  </a:lnTo>
                  <a:lnTo>
                    <a:pt x="84" y="498"/>
                  </a:lnTo>
                  <a:lnTo>
                    <a:pt x="84" y="492"/>
                  </a:lnTo>
                  <a:lnTo>
                    <a:pt x="84" y="456"/>
                  </a:lnTo>
                  <a:lnTo>
                    <a:pt x="114" y="444"/>
                  </a:lnTo>
                  <a:lnTo>
                    <a:pt x="114" y="438"/>
                  </a:lnTo>
                  <a:lnTo>
                    <a:pt x="120" y="420"/>
                  </a:lnTo>
                  <a:lnTo>
                    <a:pt x="126" y="402"/>
                  </a:lnTo>
                  <a:lnTo>
                    <a:pt x="126" y="390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14" y="336"/>
                  </a:lnTo>
                  <a:lnTo>
                    <a:pt x="108" y="324"/>
                  </a:lnTo>
                  <a:lnTo>
                    <a:pt x="108" y="306"/>
                  </a:lnTo>
                  <a:lnTo>
                    <a:pt x="114" y="300"/>
                  </a:lnTo>
                  <a:lnTo>
                    <a:pt x="114" y="294"/>
                  </a:lnTo>
                  <a:lnTo>
                    <a:pt x="132" y="258"/>
                  </a:lnTo>
                  <a:lnTo>
                    <a:pt x="132" y="234"/>
                  </a:lnTo>
                  <a:lnTo>
                    <a:pt x="126" y="168"/>
                  </a:lnTo>
                  <a:lnTo>
                    <a:pt x="120" y="150"/>
                  </a:lnTo>
                  <a:lnTo>
                    <a:pt x="114" y="138"/>
                  </a:lnTo>
                  <a:lnTo>
                    <a:pt x="108" y="126"/>
                  </a:lnTo>
                  <a:lnTo>
                    <a:pt x="108" y="120"/>
                  </a:lnTo>
                  <a:lnTo>
                    <a:pt x="108" y="114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20" y="96"/>
                  </a:lnTo>
                  <a:lnTo>
                    <a:pt x="132" y="102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56" y="90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96"/>
                  </a:lnTo>
                  <a:lnTo>
                    <a:pt x="186" y="96"/>
                  </a:lnTo>
                  <a:lnTo>
                    <a:pt x="192" y="114"/>
                  </a:lnTo>
                  <a:lnTo>
                    <a:pt x="204" y="132"/>
                  </a:lnTo>
                  <a:lnTo>
                    <a:pt x="216" y="144"/>
                  </a:lnTo>
                  <a:lnTo>
                    <a:pt x="240" y="162"/>
                  </a:lnTo>
                  <a:lnTo>
                    <a:pt x="270" y="156"/>
                  </a:lnTo>
                  <a:lnTo>
                    <a:pt x="282" y="126"/>
                  </a:lnTo>
                  <a:lnTo>
                    <a:pt x="282" y="96"/>
                  </a:lnTo>
                  <a:lnTo>
                    <a:pt x="294" y="54"/>
                  </a:lnTo>
                  <a:lnTo>
                    <a:pt x="324" y="48"/>
                  </a:lnTo>
                  <a:lnTo>
                    <a:pt x="342" y="48"/>
                  </a:lnTo>
                  <a:lnTo>
                    <a:pt x="384" y="48"/>
                  </a:lnTo>
                  <a:lnTo>
                    <a:pt x="390" y="30"/>
                  </a:lnTo>
                  <a:lnTo>
                    <a:pt x="402" y="18"/>
                  </a:lnTo>
                  <a:lnTo>
                    <a:pt x="438" y="6"/>
                  </a:lnTo>
                  <a:lnTo>
                    <a:pt x="438" y="0"/>
                  </a:lnTo>
                  <a:lnTo>
                    <a:pt x="444" y="0"/>
                  </a:lnTo>
                  <a:lnTo>
                    <a:pt x="444" y="6"/>
                  </a:lnTo>
                  <a:lnTo>
                    <a:pt x="450" y="6"/>
                  </a:lnTo>
                  <a:lnTo>
                    <a:pt x="456" y="12"/>
                  </a:lnTo>
                  <a:lnTo>
                    <a:pt x="456" y="18"/>
                  </a:lnTo>
                  <a:lnTo>
                    <a:pt x="462" y="24"/>
                  </a:lnTo>
                  <a:lnTo>
                    <a:pt x="462" y="30"/>
                  </a:lnTo>
                  <a:lnTo>
                    <a:pt x="468" y="36"/>
                  </a:lnTo>
                  <a:lnTo>
                    <a:pt x="462" y="36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74" y="60"/>
                  </a:lnTo>
                  <a:lnTo>
                    <a:pt x="486" y="78"/>
                  </a:lnTo>
                  <a:lnTo>
                    <a:pt x="486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8" y="102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498" y="114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504" y="126"/>
                  </a:lnTo>
                  <a:lnTo>
                    <a:pt x="498" y="132"/>
                  </a:lnTo>
                  <a:lnTo>
                    <a:pt x="504" y="138"/>
                  </a:lnTo>
                  <a:lnTo>
                    <a:pt x="504" y="132"/>
                  </a:lnTo>
                  <a:lnTo>
                    <a:pt x="510" y="132"/>
                  </a:lnTo>
                  <a:lnTo>
                    <a:pt x="510" y="138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56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6" y="168"/>
                  </a:lnTo>
                  <a:lnTo>
                    <a:pt x="552" y="168"/>
                  </a:lnTo>
                  <a:lnTo>
                    <a:pt x="546" y="168"/>
                  </a:lnTo>
                  <a:lnTo>
                    <a:pt x="546" y="174"/>
                  </a:lnTo>
                  <a:lnTo>
                    <a:pt x="558" y="180"/>
                  </a:lnTo>
                  <a:lnTo>
                    <a:pt x="564" y="180"/>
                  </a:lnTo>
                  <a:lnTo>
                    <a:pt x="564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52" y="198"/>
                  </a:lnTo>
                  <a:lnTo>
                    <a:pt x="558" y="204"/>
                  </a:lnTo>
                  <a:lnTo>
                    <a:pt x="564" y="204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22"/>
                  </a:lnTo>
                  <a:lnTo>
                    <a:pt x="576" y="228"/>
                  </a:lnTo>
                  <a:lnTo>
                    <a:pt x="570" y="228"/>
                  </a:lnTo>
                  <a:lnTo>
                    <a:pt x="570" y="234"/>
                  </a:lnTo>
                  <a:lnTo>
                    <a:pt x="576" y="234"/>
                  </a:lnTo>
                  <a:lnTo>
                    <a:pt x="582" y="234"/>
                  </a:lnTo>
                  <a:lnTo>
                    <a:pt x="588" y="234"/>
                  </a:lnTo>
                  <a:lnTo>
                    <a:pt x="588" y="240"/>
                  </a:lnTo>
                  <a:lnTo>
                    <a:pt x="588" y="246"/>
                  </a:lnTo>
                  <a:lnTo>
                    <a:pt x="588" y="252"/>
                  </a:lnTo>
                  <a:lnTo>
                    <a:pt x="582" y="252"/>
                  </a:lnTo>
                  <a:lnTo>
                    <a:pt x="576" y="252"/>
                  </a:lnTo>
                  <a:lnTo>
                    <a:pt x="582" y="258"/>
                  </a:lnTo>
                  <a:lnTo>
                    <a:pt x="582" y="264"/>
                  </a:lnTo>
                  <a:lnTo>
                    <a:pt x="576" y="264"/>
                  </a:lnTo>
                  <a:lnTo>
                    <a:pt x="546" y="264"/>
                  </a:lnTo>
                  <a:lnTo>
                    <a:pt x="546" y="276"/>
                  </a:lnTo>
                  <a:lnTo>
                    <a:pt x="540" y="282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40" y="324"/>
                  </a:lnTo>
                  <a:lnTo>
                    <a:pt x="552" y="330"/>
                  </a:lnTo>
                  <a:lnTo>
                    <a:pt x="558" y="342"/>
                  </a:lnTo>
                  <a:lnTo>
                    <a:pt x="546" y="372"/>
                  </a:lnTo>
                  <a:lnTo>
                    <a:pt x="534" y="372"/>
                  </a:lnTo>
                  <a:lnTo>
                    <a:pt x="534" y="384"/>
                  </a:lnTo>
                  <a:lnTo>
                    <a:pt x="522" y="384"/>
                  </a:lnTo>
                  <a:lnTo>
                    <a:pt x="510" y="402"/>
                  </a:lnTo>
                  <a:lnTo>
                    <a:pt x="504" y="420"/>
                  </a:lnTo>
                  <a:lnTo>
                    <a:pt x="492" y="426"/>
                  </a:lnTo>
                  <a:lnTo>
                    <a:pt x="486" y="432"/>
                  </a:lnTo>
                  <a:lnTo>
                    <a:pt x="486" y="444"/>
                  </a:lnTo>
                  <a:lnTo>
                    <a:pt x="486" y="450"/>
                  </a:lnTo>
                  <a:lnTo>
                    <a:pt x="486" y="456"/>
                  </a:lnTo>
                  <a:lnTo>
                    <a:pt x="486" y="462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80" y="474"/>
                  </a:lnTo>
                  <a:lnTo>
                    <a:pt x="480" y="480"/>
                  </a:lnTo>
                  <a:lnTo>
                    <a:pt x="480" y="486"/>
                  </a:lnTo>
                  <a:lnTo>
                    <a:pt x="480" y="492"/>
                  </a:lnTo>
                  <a:lnTo>
                    <a:pt x="480" y="498"/>
                  </a:lnTo>
                  <a:lnTo>
                    <a:pt x="474" y="504"/>
                  </a:lnTo>
                  <a:lnTo>
                    <a:pt x="468" y="510"/>
                  </a:lnTo>
                  <a:lnTo>
                    <a:pt x="462" y="510"/>
                  </a:lnTo>
                  <a:lnTo>
                    <a:pt x="456" y="504"/>
                  </a:lnTo>
                  <a:lnTo>
                    <a:pt x="456" y="498"/>
                  </a:lnTo>
                  <a:lnTo>
                    <a:pt x="450" y="498"/>
                  </a:lnTo>
                  <a:lnTo>
                    <a:pt x="444" y="498"/>
                  </a:lnTo>
                  <a:lnTo>
                    <a:pt x="438" y="498"/>
                  </a:lnTo>
                  <a:lnTo>
                    <a:pt x="432" y="498"/>
                  </a:lnTo>
                  <a:lnTo>
                    <a:pt x="426" y="504"/>
                  </a:lnTo>
                  <a:lnTo>
                    <a:pt x="426" y="510"/>
                  </a:lnTo>
                  <a:lnTo>
                    <a:pt x="420" y="516"/>
                  </a:lnTo>
                  <a:lnTo>
                    <a:pt x="414" y="522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84" y="528"/>
                  </a:lnTo>
                  <a:lnTo>
                    <a:pt x="366" y="540"/>
                  </a:lnTo>
                  <a:lnTo>
                    <a:pt x="360" y="522"/>
                  </a:lnTo>
                  <a:lnTo>
                    <a:pt x="348" y="504"/>
                  </a:lnTo>
                  <a:lnTo>
                    <a:pt x="330" y="504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34"/>
                  </a:lnTo>
                  <a:lnTo>
                    <a:pt x="288" y="540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2" y="540"/>
                  </a:lnTo>
                  <a:lnTo>
                    <a:pt x="282" y="546"/>
                  </a:lnTo>
                  <a:lnTo>
                    <a:pt x="288" y="552"/>
                  </a:lnTo>
                  <a:lnTo>
                    <a:pt x="294" y="564"/>
                  </a:lnTo>
                  <a:lnTo>
                    <a:pt x="300" y="564"/>
                  </a:lnTo>
                  <a:lnTo>
                    <a:pt x="300" y="570"/>
                  </a:lnTo>
                  <a:lnTo>
                    <a:pt x="294" y="570"/>
                  </a:lnTo>
                  <a:lnTo>
                    <a:pt x="288" y="570"/>
                  </a:lnTo>
                  <a:lnTo>
                    <a:pt x="288" y="576"/>
                  </a:lnTo>
                  <a:lnTo>
                    <a:pt x="288" y="582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606"/>
                  </a:lnTo>
                  <a:lnTo>
                    <a:pt x="264" y="612"/>
                  </a:lnTo>
                  <a:lnTo>
                    <a:pt x="258" y="612"/>
                  </a:lnTo>
                  <a:lnTo>
                    <a:pt x="252" y="612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52" y="630"/>
                  </a:lnTo>
                  <a:lnTo>
                    <a:pt x="264" y="642"/>
                  </a:lnTo>
                  <a:lnTo>
                    <a:pt x="258" y="648"/>
                  </a:lnTo>
                  <a:lnTo>
                    <a:pt x="246" y="654"/>
                  </a:lnTo>
                  <a:lnTo>
                    <a:pt x="240" y="660"/>
                  </a:lnTo>
                  <a:lnTo>
                    <a:pt x="234" y="672"/>
                  </a:lnTo>
                  <a:lnTo>
                    <a:pt x="234" y="678"/>
                  </a:lnTo>
                  <a:lnTo>
                    <a:pt x="228" y="684"/>
                  </a:lnTo>
                  <a:lnTo>
                    <a:pt x="228" y="696"/>
                  </a:lnTo>
                  <a:lnTo>
                    <a:pt x="216" y="71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6" name="Freeform 21">
              <a:extLst>
                <a:ext uri="{FF2B5EF4-FFF2-40B4-BE49-F238E27FC236}">
                  <a16:creationId xmlns:a16="http://schemas.microsoft.com/office/drawing/2014/main" id="{DCB1E808-522D-4C19-B741-CC5DD56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4178" y="3866464"/>
              <a:ext cx="250453" cy="371259"/>
            </a:xfrm>
            <a:custGeom>
              <a:avLst/>
              <a:gdLst>
                <a:gd name="T0" fmla="*/ 0 w 468"/>
                <a:gd name="T1" fmla="*/ 61 h 696"/>
                <a:gd name="T2" fmla="*/ 1 w 468"/>
                <a:gd name="T3" fmla="*/ 58 h 696"/>
                <a:gd name="T4" fmla="*/ 2 w 468"/>
                <a:gd name="T5" fmla="*/ 54 h 696"/>
                <a:gd name="T6" fmla="*/ 3 w 468"/>
                <a:gd name="T7" fmla="*/ 51 h 696"/>
                <a:gd name="T8" fmla="*/ 4 w 468"/>
                <a:gd name="T9" fmla="*/ 48 h 696"/>
                <a:gd name="T10" fmla="*/ 6 w 468"/>
                <a:gd name="T11" fmla="*/ 44 h 696"/>
                <a:gd name="T12" fmla="*/ 5 w 468"/>
                <a:gd name="T13" fmla="*/ 41 h 696"/>
                <a:gd name="T14" fmla="*/ 7 w 468"/>
                <a:gd name="T15" fmla="*/ 38 h 696"/>
                <a:gd name="T16" fmla="*/ 8 w 468"/>
                <a:gd name="T17" fmla="*/ 36 h 696"/>
                <a:gd name="T18" fmla="*/ 7 w 468"/>
                <a:gd name="T19" fmla="*/ 33 h 696"/>
                <a:gd name="T20" fmla="*/ 6 w 468"/>
                <a:gd name="T21" fmla="*/ 29 h 696"/>
                <a:gd name="T22" fmla="*/ 4 w 468"/>
                <a:gd name="T23" fmla="*/ 22 h 696"/>
                <a:gd name="T24" fmla="*/ 2 w 468"/>
                <a:gd name="T25" fmla="*/ 14 h 696"/>
                <a:gd name="T26" fmla="*/ 12 w 468"/>
                <a:gd name="T27" fmla="*/ 11 h 696"/>
                <a:gd name="T28" fmla="*/ 14 w 468"/>
                <a:gd name="T29" fmla="*/ 2 h 696"/>
                <a:gd name="T30" fmla="*/ 16 w 468"/>
                <a:gd name="T31" fmla="*/ 0 h 696"/>
                <a:gd name="T32" fmla="*/ 17 w 468"/>
                <a:gd name="T33" fmla="*/ 0 h 696"/>
                <a:gd name="T34" fmla="*/ 18 w 468"/>
                <a:gd name="T35" fmla="*/ 1 h 696"/>
                <a:gd name="T36" fmla="*/ 17 w 468"/>
                <a:gd name="T37" fmla="*/ 2 h 696"/>
                <a:gd name="T38" fmla="*/ 17 w 468"/>
                <a:gd name="T39" fmla="*/ 4 h 696"/>
                <a:gd name="T40" fmla="*/ 17 w 468"/>
                <a:gd name="T41" fmla="*/ 6 h 696"/>
                <a:gd name="T42" fmla="*/ 20 w 468"/>
                <a:gd name="T43" fmla="*/ 6 h 696"/>
                <a:gd name="T44" fmla="*/ 22 w 468"/>
                <a:gd name="T45" fmla="*/ 5 h 696"/>
                <a:gd name="T46" fmla="*/ 24 w 468"/>
                <a:gd name="T47" fmla="*/ 7 h 696"/>
                <a:gd name="T48" fmla="*/ 28 w 468"/>
                <a:gd name="T49" fmla="*/ 7 h 696"/>
                <a:gd name="T50" fmla="*/ 28 w 468"/>
                <a:gd name="T51" fmla="*/ 11 h 696"/>
                <a:gd name="T52" fmla="*/ 25 w 468"/>
                <a:gd name="T53" fmla="*/ 14 h 696"/>
                <a:gd name="T54" fmla="*/ 23 w 468"/>
                <a:gd name="T55" fmla="*/ 15 h 696"/>
                <a:gd name="T56" fmla="*/ 23 w 468"/>
                <a:gd name="T57" fmla="*/ 19 h 696"/>
                <a:gd name="T58" fmla="*/ 23 w 468"/>
                <a:gd name="T59" fmla="*/ 21 h 696"/>
                <a:gd name="T60" fmla="*/ 24 w 468"/>
                <a:gd name="T61" fmla="*/ 21 h 696"/>
                <a:gd name="T62" fmla="*/ 27 w 468"/>
                <a:gd name="T63" fmla="*/ 23 h 696"/>
                <a:gd name="T64" fmla="*/ 29 w 468"/>
                <a:gd name="T65" fmla="*/ 24 h 696"/>
                <a:gd name="T66" fmla="*/ 29 w 468"/>
                <a:gd name="T67" fmla="*/ 28 h 696"/>
                <a:gd name="T68" fmla="*/ 29 w 468"/>
                <a:gd name="T69" fmla="*/ 29 h 696"/>
                <a:gd name="T70" fmla="*/ 29 w 468"/>
                <a:gd name="T71" fmla="*/ 32 h 696"/>
                <a:gd name="T72" fmla="*/ 32 w 468"/>
                <a:gd name="T73" fmla="*/ 32 h 696"/>
                <a:gd name="T74" fmla="*/ 33 w 468"/>
                <a:gd name="T75" fmla="*/ 35 h 696"/>
                <a:gd name="T76" fmla="*/ 34 w 468"/>
                <a:gd name="T77" fmla="*/ 38 h 696"/>
                <a:gd name="T78" fmla="*/ 35 w 468"/>
                <a:gd name="T79" fmla="*/ 39 h 696"/>
                <a:gd name="T80" fmla="*/ 36 w 468"/>
                <a:gd name="T81" fmla="*/ 40 h 696"/>
                <a:gd name="T82" fmla="*/ 37 w 468"/>
                <a:gd name="T83" fmla="*/ 41 h 696"/>
                <a:gd name="T84" fmla="*/ 38 w 468"/>
                <a:gd name="T85" fmla="*/ 42 h 696"/>
                <a:gd name="T86" fmla="*/ 41 w 468"/>
                <a:gd name="T87" fmla="*/ 44 h 696"/>
                <a:gd name="T88" fmla="*/ 40 w 468"/>
                <a:gd name="T89" fmla="*/ 44 h 696"/>
                <a:gd name="T90" fmla="*/ 37 w 468"/>
                <a:gd name="T91" fmla="*/ 45 h 696"/>
                <a:gd name="T92" fmla="*/ 36 w 468"/>
                <a:gd name="T93" fmla="*/ 48 h 696"/>
                <a:gd name="T94" fmla="*/ 34 w 468"/>
                <a:gd name="T95" fmla="*/ 49 h 696"/>
                <a:gd name="T96" fmla="*/ 32 w 468"/>
                <a:gd name="T97" fmla="*/ 51 h 696"/>
                <a:gd name="T98" fmla="*/ 31 w 468"/>
                <a:gd name="T99" fmla="*/ 51 h 696"/>
                <a:gd name="T100" fmla="*/ 26 w 468"/>
                <a:gd name="T101" fmla="*/ 49 h 696"/>
                <a:gd name="T102" fmla="*/ 23 w 468"/>
                <a:gd name="T103" fmla="*/ 51 h 696"/>
                <a:gd name="T104" fmla="*/ 21 w 468"/>
                <a:gd name="T105" fmla="*/ 51 h 696"/>
                <a:gd name="T106" fmla="*/ 20 w 468"/>
                <a:gd name="T107" fmla="*/ 52 h 696"/>
                <a:gd name="T108" fmla="*/ 17 w 468"/>
                <a:gd name="T109" fmla="*/ 55 h 696"/>
                <a:gd name="T110" fmla="*/ 15 w 468"/>
                <a:gd name="T111" fmla="*/ 56 h 696"/>
                <a:gd name="T112" fmla="*/ 15 w 468"/>
                <a:gd name="T113" fmla="*/ 59 h 696"/>
                <a:gd name="T114" fmla="*/ 14 w 468"/>
                <a:gd name="T115" fmla="*/ 59 h 696"/>
                <a:gd name="T116" fmla="*/ 12 w 468"/>
                <a:gd name="T117" fmla="*/ 59 h 696"/>
                <a:gd name="T118" fmla="*/ 11 w 468"/>
                <a:gd name="T119" fmla="*/ 57 h 696"/>
                <a:gd name="T120" fmla="*/ 9 w 468"/>
                <a:gd name="T121" fmla="*/ 57 h 696"/>
                <a:gd name="T122" fmla="*/ 6 w 468"/>
                <a:gd name="T123" fmla="*/ 58 h 696"/>
                <a:gd name="T124" fmla="*/ 4 w 468"/>
                <a:gd name="T125" fmla="*/ 60 h 69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8"/>
                <a:gd name="T190" fmla="*/ 0 h 696"/>
                <a:gd name="T191" fmla="*/ 468 w 468"/>
                <a:gd name="T192" fmla="*/ 696 h 69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8" h="696">
                  <a:moveTo>
                    <a:pt x="30" y="696"/>
                  </a:moveTo>
                  <a:lnTo>
                    <a:pt x="18" y="696"/>
                  </a:lnTo>
                  <a:lnTo>
                    <a:pt x="6" y="696"/>
                  </a:lnTo>
                  <a:lnTo>
                    <a:pt x="0" y="690"/>
                  </a:lnTo>
                  <a:lnTo>
                    <a:pt x="6" y="678"/>
                  </a:lnTo>
                  <a:lnTo>
                    <a:pt x="12" y="666"/>
                  </a:lnTo>
                  <a:lnTo>
                    <a:pt x="18" y="654"/>
                  </a:lnTo>
                  <a:lnTo>
                    <a:pt x="18" y="642"/>
                  </a:lnTo>
                  <a:lnTo>
                    <a:pt x="18" y="618"/>
                  </a:lnTo>
                  <a:lnTo>
                    <a:pt x="24" y="606"/>
                  </a:lnTo>
                  <a:lnTo>
                    <a:pt x="30" y="594"/>
                  </a:lnTo>
                  <a:lnTo>
                    <a:pt x="30" y="582"/>
                  </a:lnTo>
                  <a:lnTo>
                    <a:pt x="36" y="576"/>
                  </a:lnTo>
                  <a:lnTo>
                    <a:pt x="42" y="564"/>
                  </a:lnTo>
                  <a:lnTo>
                    <a:pt x="48" y="546"/>
                  </a:lnTo>
                  <a:lnTo>
                    <a:pt x="48" y="528"/>
                  </a:lnTo>
                  <a:lnTo>
                    <a:pt x="60" y="516"/>
                  </a:lnTo>
                  <a:lnTo>
                    <a:pt x="66" y="504"/>
                  </a:lnTo>
                  <a:lnTo>
                    <a:pt x="66" y="492"/>
                  </a:lnTo>
                  <a:lnTo>
                    <a:pt x="60" y="480"/>
                  </a:lnTo>
                  <a:lnTo>
                    <a:pt x="54" y="468"/>
                  </a:lnTo>
                  <a:lnTo>
                    <a:pt x="60" y="456"/>
                  </a:lnTo>
                  <a:lnTo>
                    <a:pt x="72" y="450"/>
                  </a:lnTo>
                  <a:lnTo>
                    <a:pt x="84" y="438"/>
                  </a:lnTo>
                  <a:lnTo>
                    <a:pt x="90" y="426"/>
                  </a:lnTo>
                  <a:lnTo>
                    <a:pt x="90" y="420"/>
                  </a:lnTo>
                  <a:lnTo>
                    <a:pt x="90" y="408"/>
                  </a:lnTo>
                  <a:lnTo>
                    <a:pt x="90" y="402"/>
                  </a:lnTo>
                  <a:lnTo>
                    <a:pt x="84" y="396"/>
                  </a:lnTo>
                  <a:lnTo>
                    <a:pt x="78" y="378"/>
                  </a:lnTo>
                  <a:lnTo>
                    <a:pt x="72" y="360"/>
                  </a:lnTo>
                  <a:lnTo>
                    <a:pt x="66" y="348"/>
                  </a:lnTo>
                  <a:lnTo>
                    <a:pt x="72" y="336"/>
                  </a:lnTo>
                  <a:lnTo>
                    <a:pt x="66" y="306"/>
                  </a:lnTo>
                  <a:lnTo>
                    <a:pt x="54" y="276"/>
                  </a:lnTo>
                  <a:lnTo>
                    <a:pt x="42" y="252"/>
                  </a:lnTo>
                  <a:lnTo>
                    <a:pt x="36" y="222"/>
                  </a:lnTo>
                  <a:lnTo>
                    <a:pt x="30" y="192"/>
                  </a:lnTo>
                  <a:lnTo>
                    <a:pt x="24" y="162"/>
                  </a:lnTo>
                  <a:lnTo>
                    <a:pt x="42" y="174"/>
                  </a:lnTo>
                  <a:lnTo>
                    <a:pt x="120" y="138"/>
                  </a:lnTo>
                  <a:lnTo>
                    <a:pt x="132" y="126"/>
                  </a:lnTo>
                  <a:lnTo>
                    <a:pt x="120" y="54"/>
                  </a:lnTo>
                  <a:lnTo>
                    <a:pt x="156" y="30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0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8" y="18"/>
                  </a:lnTo>
                  <a:lnTo>
                    <a:pt x="198" y="24"/>
                  </a:lnTo>
                  <a:lnTo>
                    <a:pt x="198" y="30"/>
                  </a:lnTo>
                  <a:lnTo>
                    <a:pt x="198" y="42"/>
                  </a:lnTo>
                  <a:lnTo>
                    <a:pt x="198" y="48"/>
                  </a:lnTo>
                  <a:lnTo>
                    <a:pt x="192" y="60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28" y="60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34" y="60"/>
                  </a:lnTo>
                  <a:lnTo>
                    <a:pt x="252" y="60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312" y="84"/>
                  </a:lnTo>
                  <a:lnTo>
                    <a:pt x="318" y="96"/>
                  </a:lnTo>
                  <a:lnTo>
                    <a:pt x="318" y="102"/>
                  </a:lnTo>
                  <a:lnTo>
                    <a:pt x="312" y="120"/>
                  </a:lnTo>
                  <a:lnTo>
                    <a:pt x="306" y="132"/>
                  </a:lnTo>
                  <a:lnTo>
                    <a:pt x="294" y="144"/>
                  </a:lnTo>
                  <a:lnTo>
                    <a:pt x="282" y="156"/>
                  </a:lnTo>
                  <a:lnTo>
                    <a:pt x="276" y="162"/>
                  </a:lnTo>
                  <a:lnTo>
                    <a:pt x="270" y="162"/>
                  </a:lnTo>
                  <a:lnTo>
                    <a:pt x="264" y="174"/>
                  </a:lnTo>
                  <a:lnTo>
                    <a:pt x="264" y="192"/>
                  </a:lnTo>
                  <a:lnTo>
                    <a:pt x="264" y="216"/>
                  </a:lnTo>
                  <a:lnTo>
                    <a:pt x="258" y="216"/>
                  </a:lnTo>
                  <a:lnTo>
                    <a:pt x="258" y="228"/>
                  </a:lnTo>
                  <a:lnTo>
                    <a:pt x="252" y="234"/>
                  </a:lnTo>
                  <a:lnTo>
                    <a:pt x="258" y="240"/>
                  </a:lnTo>
                  <a:lnTo>
                    <a:pt x="264" y="240"/>
                  </a:lnTo>
                  <a:lnTo>
                    <a:pt x="270" y="240"/>
                  </a:lnTo>
                  <a:lnTo>
                    <a:pt x="276" y="240"/>
                  </a:lnTo>
                  <a:lnTo>
                    <a:pt x="288" y="240"/>
                  </a:lnTo>
                  <a:lnTo>
                    <a:pt x="300" y="246"/>
                  </a:lnTo>
                  <a:lnTo>
                    <a:pt x="306" y="258"/>
                  </a:lnTo>
                  <a:lnTo>
                    <a:pt x="312" y="264"/>
                  </a:lnTo>
                  <a:lnTo>
                    <a:pt x="318" y="276"/>
                  </a:lnTo>
                  <a:lnTo>
                    <a:pt x="330" y="282"/>
                  </a:lnTo>
                  <a:lnTo>
                    <a:pt x="330" y="300"/>
                  </a:lnTo>
                  <a:lnTo>
                    <a:pt x="336" y="312"/>
                  </a:lnTo>
                  <a:lnTo>
                    <a:pt x="336" y="318"/>
                  </a:lnTo>
                  <a:lnTo>
                    <a:pt x="336" y="330"/>
                  </a:lnTo>
                  <a:lnTo>
                    <a:pt x="324" y="330"/>
                  </a:lnTo>
                  <a:lnTo>
                    <a:pt x="330" y="336"/>
                  </a:lnTo>
                  <a:lnTo>
                    <a:pt x="330" y="342"/>
                  </a:lnTo>
                  <a:lnTo>
                    <a:pt x="336" y="348"/>
                  </a:lnTo>
                  <a:lnTo>
                    <a:pt x="330" y="360"/>
                  </a:lnTo>
                  <a:lnTo>
                    <a:pt x="336" y="372"/>
                  </a:lnTo>
                  <a:lnTo>
                    <a:pt x="354" y="366"/>
                  </a:lnTo>
                  <a:lnTo>
                    <a:pt x="366" y="366"/>
                  </a:lnTo>
                  <a:lnTo>
                    <a:pt x="372" y="378"/>
                  </a:lnTo>
                  <a:lnTo>
                    <a:pt x="372" y="390"/>
                  </a:lnTo>
                  <a:lnTo>
                    <a:pt x="378" y="396"/>
                  </a:lnTo>
                  <a:lnTo>
                    <a:pt x="378" y="408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44"/>
                  </a:lnTo>
                  <a:lnTo>
                    <a:pt x="390" y="444"/>
                  </a:lnTo>
                  <a:lnTo>
                    <a:pt x="396" y="444"/>
                  </a:lnTo>
                  <a:lnTo>
                    <a:pt x="402" y="450"/>
                  </a:lnTo>
                  <a:lnTo>
                    <a:pt x="408" y="450"/>
                  </a:lnTo>
                  <a:lnTo>
                    <a:pt x="408" y="462"/>
                  </a:lnTo>
                  <a:lnTo>
                    <a:pt x="408" y="468"/>
                  </a:lnTo>
                  <a:lnTo>
                    <a:pt x="414" y="474"/>
                  </a:lnTo>
                  <a:lnTo>
                    <a:pt x="420" y="474"/>
                  </a:lnTo>
                  <a:lnTo>
                    <a:pt x="420" y="480"/>
                  </a:lnTo>
                  <a:lnTo>
                    <a:pt x="426" y="480"/>
                  </a:lnTo>
                  <a:lnTo>
                    <a:pt x="432" y="480"/>
                  </a:lnTo>
                  <a:lnTo>
                    <a:pt x="462" y="486"/>
                  </a:lnTo>
                  <a:lnTo>
                    <a:pt x="468" y="492"/>
                  </a:lnTo>
                  <a:lnTo>
                    <a:pt x="468" y="498"/>
                  </a:lnTo>
                  <a:lnTo>
                    <a:pt x="462" y="498"/>
                  </a:lnTo>
                  <a:lnTo>
                    <a:pt x="456" y="498"/>
                  </a:lnTo>
                  <a:lnTo>
                    <a:pt x="456" y="504"/>
                  </a:lnTo>
                  <a:lnTo>
                    <a:pt x="456" y="510"/>
                  </a:lnTo>
                  <a:lnTo>
                    <a:pt x="450" y="516"/>
                  </a:lnTo>
                  <a:lnTo>
                    <a:pt x="426" y="516"/>
                  </a:lnTo>
                  <a:lnTo>
                    <a:pt x="408" y="528"/>
                  </a:lnTo>
                  <a:lnTo>
                    <a:pt x="408" y="546"/>
                  </a:lnTo>
                  <a:lnTo>
                    <a:pt x="414" y="552"/>
                  </a:lnTo>
                  <a:lnTo>
                    <a:pt x="408" y="558"/>
                  </a:lnTo>
                  <a:lnTo>
                    <a:pt x="402" y="564"/>
                  </a:lnTo>
                  <a:lnTo>
                    <a:pt x="384" y="564"/>
                  </a:lnTo>
                  <a:lnTo>
                    <a:pt x="372" y="564"/>
                  </a:lnTo>
                  <a:lnTo>
                    <a:pt x="372" y="576"/>
                  </a:lnTo>
                  <a:lnTo>
                    <a:pt x="366" y="576"/>
                  </a:lnTo>
                  <a:lnTo>
                    <a:pt x="366" y="582"/>
                  </a:lnTo>
                  <a:lnTo>
                    <a:pt x="360" y="582"/>
                  </a:lnTo>
                  <a:lnTo>
                    <a:pt x="348" y="576"/>
                  </a:lnTo>
                  <a:lnTo>
                    <a:pt x="336" y="570"/>
                  </a:lnTo>
                  <a:lnTo>
                    <a:pt x="324" y="570"/>
                  </a:lnTo>
                  <a:lnTo>
                    <a:pt x="300" y="564"/>
                  </a:lnTo>
                  <a:lnTo>
                    <a:pt x="282" y="564"/>
                  </a:lnTo>
                  <a:lnTo>
                    <a:pt x="270" y="570"/>
                  </a:lnTo>
                  <a:lnTo>
                    <a:pt x="264" y="576"/>
                  </a:lnTo>
                  <a:lnTo>
                    <a:pt x="258" y="576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34" y="594"/>
                  </a:lnTo>
                  <a:lnTo>
                    <a:pt x="228" y="600"/>
                  </a:lnTo>
                  <a:lnTo>
                    <a:pt x="210" y="618"/>
                  </a:lnTo>
                  <a:lnTo>
                    <a:pt x="210" y="624"/>
                  </a:lnTo>
                  <a:lnTo>
                    <a:pt x="192" y="630"/>
                  </a:lnTo>
                  <a:lnTo>
                    <a:pt x="186" y="630"/>
                  </a:lnTo>
                  <a:lnTo>
                    <a:pt x="180" y="636"/>
                  </a:lnTo>
                  <a:lnTo>
                    <a:pt x="174" y="642"/>
                  </a:lnTo>
                  <a:lnTo>
                    <a:pt x="168" y="642"/>
                  </a:lnTo>
                  <a:lnTo>
                    <a:pt x="168" y="654"/>
                  </a:lnTo>
                  <a:lnTo>
                    <a:pt x="168" y="678"/>
                  </a:lnTo>
                  <a:lnTo>
                    <a:pt x="162" y="684"/>
                  </a:lnTo>
                  <a:lnTo>
                    <a:pt x="156" y="684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72"/>
                  </a:lnTo>
                  <a:lnTo>
                    <a:pt x="138" y="672"/>
                  </a:lnTo>
                  <a:lnTo>
                    <a:pt x="138" y="666"/>
                  </a:lnTo>
                  <a:lnTo>
                    <a:pt x="132" y="660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48"/>
                  </a:lnTo>
                  <a:lnTo>
                    <a:pt x="102" y="654"/>
                  </a:lnTo>
                  <a:lnTo>
                    <a:pt x="90" y="654"/>
                  </a:lnTo>
                  <a:lnTo>
                    <a:pt x="84" y="654"/>
                  </a:lnTo>
                  <a:lnTo>
                    <a:pt x="72" y="660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36" y="684"/>
                  </a:lnTo>
                  <a:lnTo>
                    <a:pt x="30" y="6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7" name="Freeform 22">
              <a:extLst>
                <a:ext uri="{FF2B5EF4-FFF2-40B4-BE49-F238E27FC236}">
                  <a16:creationId xmlns:a16="http://schemas.microsoft.com/office/drawing/2014/main" id="{2F7A477D-6CF8-44B3-8B32-64EE03DC4D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2895" y="3967106"/>
              <a:ext cx="610479" cy="507686"/>
            </a:xfrm>
            <a:custGeom>
              <a:avLst/>
              <a:gdLst>
                <a:gd name="T0" fmla="*/ 87 w 1146"/>
                <a:gd name="T1" fmla="*/ 56 h 954"/>
                <a:gd name="T2" fmla="*/ 83 w 1146"/>
                <a:gd name="T3" fmla="*/ 66 h 954"/>
                <a:gd name="T4" fmla="*/ 74 w 1146"/>
                <a:gd name="T5" fmla="*/ 69 h 954"/>
                <a:gd name="T6" fmla="*/ 67 w 1146"/>
                <a:gd name="T7" fmla="*/ 75 h 954"/>
                <a:gd name="T8" fmla="*/ 59 w 1146"/>
                <a:gd name="T9" fmla="*/ 78 h 954"/>
                <a:gd name="T10" fmla="*/ 52 w 1146"/>
                <a:gd name="T11" fmla="*/ 77 h 954"/>
                <a:gd name="T12" fmla="*/ 48 w 1146"/>
                <a:gd name="T13" fmla="*/ 79 h 954"/>
                <a:gd name="T14" fmla="*/ 41 w 1146"/>
                <a:gd name="T15" fmla="*/ 82 h 954"/>
                <a:gd name="T16" fmla="*/ 29 w 1146"/>
                <a:gd name="T17" fmla="*/ 78 h 954"/>
                <a:gd name="T18" fmla="*/ 28 w 1146"/>
                <a:gd name="T19" fmla="*/ 76 h 954"/>
                <a:gd name="T20" fmla="*/ 28 w 1146"/>
                <a:gd name="T21" fmla="*/ 72 h 954"/>
                <a:gd name="T22" fmla="*/ 28 w 1146"/>
                <a:gd name="T23" fmla="*/ 74 h 954"/>
                <a:gd name="T24" fmla="*/ 21 w 1146"/>
                <a:gd name="T25" fmla="*/ 74 h 954"/>
                <a:gd name="T26" fmla="*/ 20 w 1146"/>
                <a:gd name="T27" fmla="*/ 67 h 954"/>
                <a:gd name="T28" fmla="*/ 23 w 1146"/>
                <a:gd name="T29" fmla="*/ 64 h 954"/>
                <a:gd name="T30" fmla="*/ 28 w 1146"/>
                <a:gd name="T31" fmla="*/ 65 h 954"/>
                <a:gd name="T32" fmla="*/ 32 w 1146"/>
                <a:gd name="T33" fmla="*/ 62 h 954"/>
                <a:gd name="T34" fmla="*/ 31 w 1146"/>
                <a:gd name="T35" fmla="*/ 56 h 954"/>
                <a:gd name="T36" fmla="*/ 36 w 1146"/>
                <a:gd name="T37" fmla="*/ 54 h 954"/>
                <a:gd name="T38" fmla="*/ 38 w 1146"/>
                <a:gd name="T39" fmla="*/ 54 h 954"/>
                <a:gd name="T40" fmla="*/ 32 w 1146"/>
                <a:gd name="T41" fmla="*/ 54 h 954"/>
                <a:gd name="T42" fmla="*/ 29 w 1146"/>
                <a:gd name="T43" fmla="*/ 59 h 954"/>
                <a:gd name="T44" fmla="*/ 26 w 1146"/>
                <a:gd name="T45" fmla="*/ 59 h 954"/>
                <a:gd name="T46" fmla="*/ 25 w 1146"/>
                <a:gd name="T47" fmla="*/ 61 h 954"/>
                <a:gd name="T48" fmla="*/ 20 w 1146"/>
                <a:gd name="T49" fmla="*/ 61 h 954"/>
                <a:gd name="T50" fmla="*/ 11 w 1146"/>
                <a:gd name="T51" fmla="*/ 54 h 954"/>
                <a:gd name="T52" fmla="*/ 14 w 1146"/>
                <a:gd name="T53" fmla="*/ 50 h 954"/>
                <a:gd name="T54" fmla="*/ 21 w 1146"/>
                <a:gd name="T55" fmla="*/ 51 h 954"/>
                <a:gd name="T56" fmla="*/ 24 w 1146"/>
                <a:gd name="T57" fmla="*/ 50 h 954"/>
                <a:gd name="T58" fmla="*/ 28 w 1146"/>
                <a:gd name="T59" fmla="*/ 48 h 954"/>
                <a:gd name="T60" fmla="*/ 30 w 1146"/>
                <a:gd name="T61" fmla="*/ 49 h 954"/>
                <a:gd name="T62" fmla="*/ 26 w 1146"/>
                <a:gd name="T63" fmla="*/ 47 h 954"/>
                <a:gd name="T64" fmla="*/ 20 w 1146"/>
                <a:gd name="T65" fmla="*/ 50 h 954"/>
                <a:gd name="T66" fmla="*/ 20 w 1146"/>
                <a:gd name="T67" fmla="*/ 44 h 954"/>
                <a:gd name="T68" fmla="*/ 19 w 1146"/>
                <a:gd name="T69" fmla="*/ 46 h 954"/>
                <a:gd name="T70" fmla="*/ 15 w 1146"/>
                <a:gd name="T71" fmla="*/ 49 h 954"/>
                <a:gd name="T72" fmla="*/ 8 w 1146"/>
                <a:gd name="T73" fmla="*/ 48 h 954"/>
                <a:gd name="T74" fmla="*/ 6 w 1146"/>
                <a:gd name="T75" fmla="*/ 41 h 954"/>
                <a:gd name="T76" fmla="*/ 10 w 1146"/>
                <a:gd name="T77" fmla="*/ 41 h 954"/>
                <a:gd name="T78" fmla="*/ 9 w 1146"/>
                <a:gd name="T79" fmla="*/ 39 h 954"/>
                <a:gd name="T80" fmla="*/ 14 w 1146"/>
                <a:gd name="T81" fmla="*/ 35 h 954"/>
                <a:gd name="T82" fmla="*/ 19 w 1146"/>
                <a:gd name="T83" fmla="*/ 32 h 954"/>
                <a:gd name="T84" fmla="*/ 20 w 1146"/>
                <a:gd name="T85" fmla="*/ 29 h 954"/>
                <a:gd name="T86" fmla="*/ 27 w 1146"/>
                <a:gd name="T87" fmla="*/ 27 h 954"/>
                <a:gd name="T88" fmla="*/ 33 w 1146"/>
                <a:gd name="T89" fmla="*/ 28 h 954"/>
                <a:gd name="T90" fmla="*/ 44 w 1146"/>
                <a:gd name="T91" fmla="*/ 27 h 954"/>
                <a:gd name="T92" fmla="*/ 52 w 1146"/>
                <a:gd name="T93" fmla="*/ 41 h 954"/>
                <a:gd name="T94" fmla="*/ 61 w 1146"/>
                <a:gd name="T95" fmla="*/ 40 h 954"/>
                <a:gd name="T96" fmla="*/ 69 w 1146"/>
                <a:gd name="T97" fmla="*/ 34 h 954"/>
                <a:gd name="T98" fmla="*/ 62 w 1146"/>
                <a:gd name="T99" fmla="*/ 12 h 954"/>
                <a:gd name="T100" fmla="*/ 74 w 1146"/>
                <a:gd name="T101" fmla="*/ 8 h 954"/>
                <a:gd name="T102" fmla="*/ 87 w 1146"/>
                <a:gd name="T103" fmla="*/ 1 h 954"/>
                <a:gd name="T104" fmla="*/ 99 w 1146"/>
                <a:gd name="T105" fmla="*/ 12 h 954"/>
                <a:gd name="T106" fmla="*/ 98 w 1146"/>
                <a:gd name="T107" fmla="*/ 27 h 954"/>
                <a:gd name="T108" fmla="*/ 16 w 1146"/>
                <a:gd name="T109" fmla="*/ 33 h 954"/>
                <a:gd name="T110" fmla="*/ 11 w 1146"/>
                <a:gd name="T111" fmla="*/ 36 h 954"/>
                <a:gd name="T112" fmla="*/ 5 w 1146"/>
                <a:gd name="T113" fmla="*/ 41 h 954"/>
                <a:gd name="T114" fmla="*/ 2 w 1146"/>
                <a:gd name="T115" fmla="*/ 36 h 954"/>
                <a:gd name="T116" fmla="*/ 5 w 1146"/>
                <a:gd name="T117" fmla="*/ 26 h 954"/>
                <a:gd name="T118" fmla="*/ 10 w 1146"/>
                <a:gd name="T119" fmla="*/ 20 h 954"/>
                <a:gd name="T120" fmla="*/ 13 w 1146"/>
                <a:gd name="T121" fmla="*/ 20 h 954"/>
                <a:gd name="T122" fmla="*/ 15 w 1146"/>
                <a:gd name="T123" fmla="*/ 27 h 95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46"/>
                <a:gd name="T187" fmla="*/ 0 h 954"/>
                <a:gd name="T188" fmla="*/ 1146 w 1146"/>
                <a:gd name="T189" fmla="*/ 954 h 95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46" h="954">
                  <a:moveTo>
                    <a:pt x="1056" y="498"/>
                  </a:moveTo>
                  <a:lnTo>
                    <a:pt x="1044" y="510"/>
                  </a:lnTo>
                  <a:lnTo>
                    <a:pt x="1032" y="516"/>
                  </a:lnTo>
                  <a:lnTo>
                    <a:pt x="1038" y="528"/>
                  </a:lnTo>
                  <a:lnTo>
                    <a:pt x="1050" y="540"/>
                  </a:lnTo>
                  <a:lnTo>
                    <a:pt x="1050" y="546"/>
                  </a:lnTo>
                  <a:lnTo>
                    <a:pt x="1050" y="564"/>
                  </a:lnTo>
                  <a:lnTo>
                    <a:pt x="1038" y="576"/>
                  </a:lnTo>
                  <a:lnTo>
                    <a:pt x="1032" y="588"/>
                  </a:lnTo>
                  <a:lnTo>
                    <a:pt x="1020" y="594"/>
                  </a:lnTo>
                  <a:lnTo>
                    <a:pt x="1008" y="594"/>
                  </a:lnTo>
                  <a:lnTo>
                    <a:pt x="1002" y="600"/>
                  </a:lnTo>
                  <a:lnTo>
                    <a:pt x="996" y="612"/>
                  </a:lnTo>
                  <a:lnTo>
                    <a:pt x="996" y="624"/>
                  </a:lnTo>
                  <a:lnTo>
                    <a:pt x="996" y="648"/>
                  </a:lnTo>
                  <a:lnTo>
                    <a:pt x="996" y="660"/>
                  </a:lnTo>
                  <a:lnTo>
                    <a:pt x="1002" y="672"/>
                  </a:lnTo>
                  <a:lnTo>
                    <a:pt x="1002" y="684"/>
                  </a:lnTo>
                  <a:lnTo>
                    <a:pt x="996" y="684"/>
                  </a:lnTo>
                  <a:lnTo>
                    <a:pt x="984" y="690"/>
                  </a:lnTo>
                  <a:lnTo>
                    <a:pt x="972" y="690"/>
                  </a:lnTo>
                  <a:lnTo>
                    <a:pt x="966" y="696"/>
                  </a:lnTo>
                  <a:lnTo>
                    <a:pt x="966" y="702"/>
                  </a:lnTo>
                  <a:lnTo>
                    <a:pt x="966" y="714"/>
                  </a:lnTo>
                  <a:lnTo>
                    <a:pt x="972" y="726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2" y="756"/>
                  </a:lnTo>
                  <a:lnTo>
                    <a:pt x="966" y="756"/>
                  </a:lnTo>
                  <a:lnTo>
                    <a:pt x="942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18" y="768"/>
                  </a:lnTo>
                  <a:lnTo>
                    <a:pt x="906" y="768"/>
                  </a:lnTo>
                  <a:lnTo>
                    <a:pt x="894" y="762"/>
                  </a:lnTo>
                  <a:lnTo>
                    <a:pt x="882" y="756"/>
                  </a:lnTo>
                  <a:lnTo>
                    <a:pt x="876" y="756"/>
                  </a:lnTo>
                  <a:lnTo>
                    <a:pt x="876" y="762"/>
                  </a:lnTo>
                  <a:lnTo>
                    <a:pt x="864" y="768"/>
                  </a:lnTo>
                  <a:lnTo>
                    <a:pt x="858" y="774"/>
                  </a:lnTo>
                  <a:lnTo>
                    <a:pt x="852" y="774"/>
                  </a:lnTo>
                  <a:lnTo>
                    <a:pt x="840" y="780"/>
                  </a:lnTo>
                  <a:lnTo>
                    <a:pt x="840" y="786"/>
                  </a:lnTo>
                  <a:lnTo>
                    <a:pt x="840" y="792"/>
                  </a:lnTo>
                  <a:lnTo>
                    <a:pt x="840" y="804"/>
                  </a:lnTo>
                  <a:lnTo>
                    <a:pt x="840" y="810"/>
                  </a:lnTo>
                  <a:lnTo>
                    <a:pt x="828" y="816"/>
                  </a:lnTo>
                  <a:lnTo>
                    <a:pt x="810" y="810"/>
                  </a:lnTo>
                  <a:lnTo>
                    <a:pt x="792" y="810"/>
                  </a:lnTo>
                  <a:lnTo>
                    <a:pt x="786" y="816"/>
                  </a:lnTo>
                  <a:lnTo>
                    <a:pt x="780" y="816"/>
                  </a:lnTo>
                  <a:lnTo>
                    <a:pt x="780" y="822"/>
                  </a:lnTo>
                  <a:lnTo>
                    <a:pt x="780" y="828"/>
                  </a:lnTo>
                  <a:lnTo>
                    <a:pt x="780" y="834"/>
                  </a:lnTo>
                  <a:lnTo>
                    <a:pt x="786" y="840"/>
                  </a:lnTo>
                  <a:lnTo>
                    <a:pt x="786" y="846"/>
                  </a:lnTo>
                  <a:lnTo>
                    <a:pt x="786" y="852"/>
                  </a:lnTo>
                  <a:lnTo>
                    <a:pt x="780" y="858"/>
                  </a:lnTo>
                  <a:lnTo>
                    <a:pt x="768" y="858"/>
                  </a:lnTo>
                  <a:lnTo>
                    <a:pt x="762" y="864"/>
                  </a:lnTo>
                  <a:lnTo>
                    <a:pt x="756" y="864"/>
                  </a:lnTo>
                  <a:lnTo>
                    <a:pt x="750" y="870"/>
                  </a:lnTo>
                  <a:lnTo>
                    <a:pt x="744" y="876"/>
                  </a:lnTo>
                  <a:lnTo>
                    <a:pt x="732" y="876"/>
                  </a:lnTo>
                  <a:lnTo>
                    <a:pt x="726" y="876"/>
                  </a:lnTo>
                  <a:lnTo>
                    <a:pt x="720" y="870"/>
                  </a:lnTo>
                  <a:lnTo>
                    <a:pt x="714" y="864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6" y="876"/>
                  </a:lnTo>
                  <a:lnTo>
                    <a:pt x="696" y="882"/>
                  </a:lnTo>
                  <a:lnTo>
                    <a:pt x="696" y="894"/>
                  </a:lnTo>
                  <a:lnTo>
                    <a:pt x="690" y="900"/>
                  </a:lnTo>
                  <a:lnTo>
                    <a:pt x="684" y="900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54" y="888"/>
                  </a:lnTo>
                  <a:lnTo>
                    <a:pt x="654" y="882"/>
                  </a:lnTo>
                  <a:lnTo>
                    <a:pt x="642" y="876"/>
                  </a:lnTo>
                  <a:lnTo>
                    <a:pt x="636" y="876"/>
                  </a:lnTo>
                  <a:lnTo>
                    <a:pt x="630" y="876"/>
                  </a:lnTo>
                  <a:lnTo>
                    <a:pt x="630" y="870"/>
                  </a:lnTo>
                  <a:lnTo>
                    <a:pt x="618" y="858"/>
                  </a:lnTo>
                  <a:lnTo>
                    <a:pt x="612" y="858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06" y="876"/>
                  </a:lnTo>
                  <a:lnTo>
                    <a:pt x="606" y="882"/>
                  </a:lnTo>
                  <a:lnTo>
                    <a:pt x="606" y="888"/>
                  </a:lnTo>
                  <a:lnTo>
                    <a:pt x="600" y="894"/>
                  </a:lnTo>
                  <a:lnTo>
                    <a:pt x="594" y="894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76" y="894"/>
                  </a:lnTo>
                  <a:lnTo>
                    <a:pt x="582" y="900"/>
                  </a:lnTo>
                  <a:lnTo>
                    <a:pt x="576" y="906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64" y="918"/>
                  </a:lnTo>
                  <a:lnTo>
                    <a:pt x="558" y="918"/>
                  </a:lnTo>
                  <a:lnTo>
                    <a:pt x="558" y="912"/>
                  </a:lnTo>
                  <a:lnTo>
                    <a:pt x="552" y="906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06"/>
                  </a:lnTo>
                  <a:lnTo>
                    <a:pt x="534" y="906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0" y="924"/>
                  </a:lnTo>
                  <a:lnTo>
                    <a:pt x="504" y="924"/>
                  </a:lnTo>
                  <a:lnTo>
                    <a:pt x="498" y="930"/>
                  </a:lnTo>
                  <a:lnTo>
                    <a:pt x="492" y="924"/>
                  </a:lnTo>
                  <a:lnTo>
                    <a:pt x="486" y="930"/>
                  </a:lnTo>
                  <a:lnTo>
                    <a:pt x="480" y="942"/>
                  </a:lnTo>
                  <a:lnTo>
                    <a:pt x="468" y="948"/>
                  </a:lnTo>
                  <a:lnTo>
                    <a:pt x="444" y="942"/>
                  </a:lnTo>
                  <a:lnTo>
                    <a:pt x="438" y="954"/>
                  </a:lnTo>
                  <a:lnTo>
                    <a:pt x="426" y="954"/>
                  </a:lnTo>
                  <a:lnTo>
                    <a:pt x="420" y="948"/>
                  </a:lnTo>
                  <a:lnTo>
                    <a:pt x="408" y="936"/>
                  </a:lnTo>
                  <a:lnTo>
                    <a:pt x="396" y="936"/>
                  </a:lnTo>
                  <a:lnTo>
                    <a:pt x="390" y="930"/>
                  </a:lnTo>
                  <a:lnTo>
                    <a:pt x="390" y="924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66" y="924"/>
                  </a:lnTo>
                  <a:lnTo>
                    <a:pt x="360" y="924"/>
                  </a:lnTo>
                  <a:lnTo>
                    <a:pt x="348" y="918"/>
                  </a:lnTo>
                  <a:lnTo>
                    <a:pt x="342" y="906"/>
                  </a:lnTo>
                  <a:lnTo>
                    <a:pt x="336" y="906"/>
                  </a:lnTo>
                  <a:lnTo>
                    <a:pt x="330" y="906"/>
                  </a:lnTo>
                  <a:lnTo>
                    <a:pt x="312" y="906"/>
                  </a:lnTo>
                  <a:lnTo>
                    <a:pt x="312" y="900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888"/>
                  </a:lnTo>
                  <a:lnTo>
                    <a:pt x="312" y="882"/>
                  </a:lnTo>
                  <a:lnTo>
                    <a:pt x="306" y="876"/>
                  </a:lnTo>
                  <a:lnTo>
                    <a:pt x="312" y="876"/>
                  </a:lnTo>
                  <a:lnTo>
                    <a:pt x="312" y="870"/>
                  </a:lnTo>
                  <a:lnTo>
                    <a:pt x="318" y="876"/>
                  </a:lnTo>
                  <a:lnTo>
                    <a:pt x="318" y="870"/>
                  </a:lnTo>
                  <a:lnTo>
                    <a:pt x="324" y="876"/>
                  </a:lnTo>
                  <a:lnTo>
                    <a:pt x="330" y="876"/>
                  </a:lnTo>
                  <a:lnTo>
                    <a:pt x="336" y="876"/>
                  </a:lnTo>
                  <a:lnTo>
                    <a:pt x="342" y="876"/>
                  </a:lnTo>
                  <a:lnTo>
                    <a:pt x="336" y="876"/>
                  </a:lnTo>
                  <a:lnTo>
                    <a:pt x="330" y="870"/>
                  </a:lnTo>
                  <a:lnTo>
                    <a:pt x="324" y="870"/>
                  </a:lnTo>
                  <a:lnTo>
                    <a:pt x="318" y="870"/>
                  </a:lnTo>
                  <a:lnTo>
                    <a:pt x="312" y="870"/>
                  </a:lnTo>
                  <a:lnTo>
                    <a:pt x="318" y="864"/>
                  </a:lnTo>
                  <a:lnTo>
                    <a:pt x="318" y="858"/>
                  </a:lnTo>
                  <a:lnTo>
                    <a:pt x="318" y="852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6" y="846"/>
                  </a:lnTo>
                  <a:lnTo>
                    <a:pt x="312" y="828"/>
                  </a:lnTo>
                  <a:lnTo>
                    <a:pt x="312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06" y="816"/>
                  </a:lnTo>
                  <a:lnTo>
                    <a:pt x="306" y="810"/>
                  </a:lnTo>
                  <a:lnTo>
                    <a:pt x="306" y="816"/>
                  </a:lnTo>
                  <a:lnTo>
                    <a:pt x="312" y="822"/>
                  </a:lnTo>
                  <a:lnTo>
                    <a:pt x="306" y="822"/>
                  </a:lnTo>
                  <a:lnTo>
                    <a:pt x="306" y="828"/>
                  </a:lnTo>
                  <a:lnTo>
                    <a:pt x="306" y="834"/>
                  </a:lnTo>
                  <a:lnTo>
                    <a:pt x="300" y="840"/>
                  </a:lnTo>
                  <a:lnTo>
                    <a:pt x="300" y="846"/>
                  </a:lnTo>
                  <a:lnTo>
                    <a:pt x="306" y="852"/>
                  </a:lnTo>
                  <a:lnTo>
                    <a:pt x="306" y="858"/>
                  </a:lnTo>
                  <a:lnTo>
                    <a:pt x="312" y="858"/>
                  </a:lnTo>
                  <a:lnTo>
                    <a:pt x="312" y="864"/>
                  </a:lnTo>
                  <a:lnTo>
                    <a:pt x="306" y="864"/>
                  </a:lnTo>
                  <a:lnTo>
                    <a:pt x="300" y="864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82" y="870"/>
                  </a:lnTo>
                  <a:lnTo>
                    <a:pt x="276" y="870"/>
                  </a:lnTo>
                  <a:lnTo>
                    <a:pt x="270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8" y="870"/>
                  </a:lnTo>
                  <a:lnTo>
                    <a:pt x="252" y="870"/>
                  </a:lnTo>
                  <a:lnTo>
                    <a:pt x="252" y="864"/>
                  </a:lnTo>
                  <a:lnTo>
                    <a:pt x="246" y="858"/>
                  </a:lnTo>
                  <a:lnTo>
                    <a:pt x="246" y="852"/>
                  </a:lnTo>
                  <a:lnTo>
                    <a:pt x="246" y="846"/>
                  </a:lnTo>
                  <a:lnTo>
                    <a:pt x="246" y="840"/>
                  </a:lnTo>
                  <a:lnTo>
                    <a:pt x="246" y="834"/>
                  </a:lnTo>
                  <a:lnTo>
                    <a:pt x="246" y="828"/>
                  </a:lnTo>
                  <a:lnTo>
                    <a:pt x="246" y="822"/>
                  </a:lnTo>
                  <a:lnTo>
                    <a:pt x="240" y="816"/>
                  </a:lnTo>
                  <a:lnTo>
                    <a:pt x="240" y="810"/>
                  </a:lnTo>
                  <a:lnTo>
                    <a:pt x="240" y="804"/>
                  </a:lnTo>
                  <a:lnTo>
                    <a:pt x="240" y="798"/>
                  </a:lnTo>
                  <a:lnTo>
                    <a:pt x="234" y="798"/>
                  </a:lnTo>
                  <a:lnTo>
                    <a:pt x="234" y="792"/>
                  </a:lnTo>
                  <a:lnTo>
                    <a:pt x="234" y="786"/>
                  </a:lnTo>
                  <a:lnTo>
                    <a:pt x="234" y="780"/>
                  </a:lnTo>
                  <a:lnTo>
                    <a:pt x="228" y="780"/>
                  </a:lnTo>
                  <a:lnTo>
                    <a:pt x="228" y="774"/>
                  </a:lnTo>
                  <a:lnTo>
                    <a:pt x="228" y="768"/>
                  </a:lnTo>
                  <a:lnTo>
                    <a:pt x="222" y="762"/>
                  </a:lnTo>
                  <a:lnTo>
                    <a:pt x="222" y="756"/>
                  </a:lnTo>
                  <a:lnTo>
                    <a:pt x="222" y="750"/>
                  </a:lnTo>
                  <a:lnTo>
                    <a:pt x="222" y="744"/>
                  </a:lnTo>
                  <a:lnTo>
                    <a:pt x="222" y="738"/>
                  </a:lnTo>
                  <a:lnTo>
                    <a:pt x="216" y="732"/>
                  </a:lnTo>
                  <a:lnTo>
                    <a:pt x="222" y="732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32"/>
                  </a:lnTo>
                  <a:lnTo>
                    <a:pt x="246" y="732"/>
                  </a:lnTo>
                  <a:lnTo>
                    <a:pt x="246" y="738"/>
                  </a:lnTo>
                  <a:lnTo>
                    <a:pt x="252" y="738"/>
                  </a:lnTo>
                  <a:lnTo>
                    <a:pt x="258" y="738"/>
                  </a:lnTo>
                  <a:lnTo>
                    <a:pt x="258" y="732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8" y="732"/>
                  </a:lnTo>
                  <a:lnTo>
                    <a:pt x="294" y="732"/>
                  </a:lnTo>
                  <a:lnTo>
                    <a:pt x="300" y="732"/>
                  </a:lnTo>
                  <a:lnTo>
                    <a:pt x="300" y="738"/>
                  </a:lnTo>
                  <a:lnTo>
                    <a:pt x="306" y="738"/>
                  </a:lnTo>
                  <a:lnTo>
                    <a:pt x="306" y="744"/>
                  </a:lnTo>
                  <a:lnTo>
                    <a:pt x="306" y="750"/>
                  </a:lnTo>
                  <a:lnTo>
                    <a:pt x="312" y="750"/>
                  </a:lnTo>
                  <a:lnTo>
                    <a:pt x="312" y="756"/>
                  </a:lnTo>
                  <a:lnTo>
                    <a:pt x="318" y="756"/>
                  </a:lnTo>
                  <a:lnTo>
                    <a:pt x="318" y="750"/>
                  </a:lnTo>
                  <a:lnTo>
                    <a:pt x="312" y="750"/>
                  </a:lnTo>
                  <a:lnTo>
                    <a:pt x="312" y="744"/>
                  </a:lnTo>
                  <a:lnTo>
                    <a:pt x="318" y="738"/>
                  </a:lnTo>
                  <a:lnTo>
                    <a:pt x="324" y="738"/>
                  </a:lnTo>
                  <a:lnTo>
                    <a:pt x="330" y="738"/>
                  </a:lnTo>
                  <a:lnTo>
                    <a:pt x="336" y="738"/>
                  </a:lnTo>
                  <a:lnTo>
                    <a:pt x="342" y="738"/>
                  </a:lnTo>
                  <a:lnTo>
                    <a:pt x="348" y="732"/>
                  </a:lnTo>
                  <a:lnTo>
                    <a:pt x="354" y="732"/>
                  </a:lnTo>
                  <a:lnTo>
                    <a:pt x="360" y="732"/>
                  </a:lnTo>
                  <a:lnTo>
                    <a:pt x="360" y="726"/>
                  </a:lnTo>
                  <a:lnTo>
                    <a:pt x="366" y="726"/>
                  </a:lnTo>
                  <a:lnTo>
                    <a:pt x="366" y="720"/>
                  </a:lnTo>
                  <a:lnTo>
                    <a:pt x="366" y="714"/>
                  </a:lnTo>
                  <a:lnTo>
                    <a:pt x="360" y="708"/>
                  </a:lnTo>
                  <a:lnTo>
                    <a:pt x="354" y="708"/>
                  </a:lnTo>
                  <a:lnTo>
                    <a:pt x="348" y="702"/>
                  </a:lnTo>
                  <a:lnTo>
                    <a:pt x="354" y="702"/>
                  </a:lnTo>
                  <a:lnTo>
                    <a:pt x="354" y="696"/>
                  </a:lnTo>
                  <a:lnTo>
                    <a:pt x="348" y="696"/>
                  </a:lnTo>
                  <a:lnTo>
                    <a:pt x="348" y="690"/>
                  </a:lnTo>
                  <a:lnTo>
                    <a:pt x="342" y="690"/>
                  </a:lnTo>
                  <a:lnTo>
                    <a:pt x="342" y="684"/>
                  </a:lnTo>
                  <a:lnTo>
                    <a:pt x="342" y="678"/>
                  </a:lnTo>
                  <a:lnTo>
                    <a:pt x="342" y="666"/>
                  </a:lnTo>
                  <a:lnTo>
                    <a:pt x="342" y="660"/>
                  </a:lnTo>
                  <a:lnTo>
                    <a:pt x="348" y="654"/>
                  </a:lnTo>
                  <a:lnTo>
                    <a:pt x="348" y="642"/>
                  </a:lnTo>
                  <a:lnTo>
                    <a:pt x="354" y="642"/>
                  </a:lnTo>
                  <a:lnTo>
                    <a:pt x="360" y="642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66" y="642"/>
                  </a:lnTo>
                  <a:lnTo>
                    <a:pt x="372" y="642"/>
                  </a:lnTo>
                  <a:lnTo>
                    <a:pt x="378" y="642"/>
                  </a:lnTo>
                  <a:lnTo>
                    <a:pt x="384" y="642"/>
                  </a:lnTo>
                  <a:lnTo>
                    <a:pt x="390" y="642"/>
                  </a:lnTo>
                  <a:lnTo>
                    <a:pt x="396" y="642"/>
                  </a:lnTo>
                  <a:lnTo>
                    <a:pt x="396" y="636"/>
                  </a:lnTo>
                  <a:lnTo>
                    <a:pt x="402" y="636"/>
                  </a:lnTo>
                  <a:lnTo>
                    <a:pt x="408" y="636"/>
                  </a:lnTo>
                  <a:lnTo>
                    <a:pt x="402" y="636"/>
                  </a:lnTo>
                  <a:lnTo>
                    <a:pt x="402" y="630"/>
                  </a:lnTo>
                  <a:lnTo>
                    <a:pt x="408" y="630"/>
                  </a:lnTo>
                  <a:lnTo>
                    <a:pt x="408" y="624"/>
                  </a:lnTo>
                  <a:lnTo>
                    <a:pt x="408" y="618"/>
                  </a:lnTo>
                  <a:lnTo>
                    <a:pt x="414" y="618"/>
                  </a:lnTo>
                  <a:lnTo>
                    <a:pt x="420" y="618"/>
                  </a:lnTo>
                  <a:lnTo>
                    <a:pt x="426" y="624"/>
                  </a:lnTo>
                  <a:lnTo>
                    <a:pt x="432" y="624"/>
                  </a:lnTo>
                  <a:lnTo>
                    <a:pt x="438" y="624"/>
                  </a:lnTo>
                  <a:lnTo>
                    <a:pt x="438" y="618"/>
                  </a:lnTo>
                  <a:lnTo>
                    <a:pt x="444" y="618"/>
                  </a:lnTo>
                  <a:lnTo>
                    <a:pt x="450" y="618"/>
                  </a:lnTo>
                  <a:lnTo>
                    <a:pt x="444" y="618"/>
                  </a:lnTo>
                  <a:lnTo>
                    <a:pt x="438" y="618"/>
                  </a:lnTo>
                  <a:lnTo>
                    <a:pt x="438" y="612"/>
                  </a:lnTo>
                  <a:lnTo>
                    <a:pt x="438" y="618"/>
                  </a:lnTo>
                  <a:lnTo>
                    <a:pt x="432" y="624"/>
                  </a:lnTo>
                  <a:lnTo>
                    <a:pt x="426" y="618"/>
                  </a:lnTo>
                  <a:lnTo>
                    <a:pt x="420" y="612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402" y="624"/>
                  </a:lnTo>
                  <a:lnTo>
                    <a:pt x="396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78" y="630"/>
                  </a:lnTo>
                  <a:lnTo>
                    <a:pt x="378" y="636"/>
                  </a:lnTo>
                  <a:lnTo>
                    <a:pt x="372" y="630"/>
                  </a:lnTo>
                  <a:lnTo>
                    <a:pt x="366" y="630"/>
                  </a:lnTo>
                  <a:lnTo>
                    <a:pt x="360" y="630"/>
                  </a:lnTo>
                  <a:lnTo>
                    <a:pt x="354" y="630"/>
                  </a:lnTo>
                  <a:lnTo>
                    <a:pt x="354" y="636"/>
                  </a:lnTo>
                  <a:lnTo>
                    <a:pt x="348" y="636"/>
                  </a:lnTo>
                  <a:lnTo>
                    <a:pt x="348" y="642"/>
                  </a:lnTo>
                  <a:lnTo>
                    <a:pt x="342" y="642"/>
                  </a:lnTo>
                  <a:lnTo>
                    <a:pt x="342" y="648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6" y="660"/>
                  </a:lnTo>
                  <a:lnTo>
                    <a:pt x="336" y="666"/>
                  </a:lnTo>
                  <a:lnTo>
                    <a:pt x="330" y="672"/>
                  </a:lnTo>
                  <a:lnTo>
                    <a:pt x="330" y="678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24" y="696"/>
                  </a:lnTo>
                  <a:lnTo>
                    <a:pt x="324" y="702"/>
                  </a:lnTo>
                  <a:lnTo>
                    <a:pt x="318" y="702"/>
                  </a:lnTo>
                  <a:lnTo>
                    <a:pt x="318" y="708"/>
                  </a:lnTo>
                  <a:lnTo>
                    <a:pt x="312" y="708"/>
                  </a:lnTo>
                  <a:lnTo>
                    <a:pt x="312" y="702"/>
                  </a:lnTo>
                  <a:lnTo>
                    <a:pt x="306" y="702"/>
                  </a:lnTo>
                  <a:lnTo>
                    <a:pt x="300" y="702"/>
                  </a:lnTo>
                  <a:lnTo>
                    <a:pt x="294" y="696"/>
                  </a:lnTo>
                  <a:lnTo>
                    <a:pt x="288" y="696"/>
                  </a:lnTo>
                  <a:lnTo>
                    <a:pt x="282" y="690"/>
                  </a:lnTo>
                  <a:lnTo>
                    <a:pt x="288" y="684"/>
                  </a:lnTo>
                  <a:lnTo>
                    <a:pt x="294" y="684"/>
                  </a:lnTo>
                  <a:lnTo>
                    <a:pt x="294" y="678"/>
                  </a:lnTo>
                  <a:lnTo>
                    <a:pt x="300" y="678"/>
                  </a:lnTo>
                  <a:lnTo>
                    <a:pt x="294" y="678"/>
                  </a:lnTo>
                  <a:lnTo>
                    <a:pt x="294" y="672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94" y="672"/>
                  </a:lnTo>
                  <a:lnTo>
                    <a:pt x="288" y="678"/>
                  </a:lnTo>
                  <a:lnTo>
                    <a:pt x="282" y="684"/>
                  </a:lnTo>
                  <a:lnTo>
                    <a:pt x="282" y="678"/>
                  </a:lnTo>
                  <a:lnTo>
                    <a:pt x="276" y="678"/>
                  </a:lnTo>
                  <a:lnTo>
                    <a:pt x="282" y="684"/>
                  </a:lnTo>
                  <a:lnTo>
                    <a:pt x="282" y="690"/>
                  </a:lnTo>
                  <a:lnTo>
                    <a:pt x="282" y="696"/>
                  </a:lnTo>
                  <a:lnTo>
                    <a:pt x="288" y="702"/>
                  </a:lnTo>
                  <a:lnTo>
                    <a:pt x="294" y="708"/>
                  </a:lnTo>
                  <a:lnTo>
                    <a:pt x="294" y="714"/>
                  </a:lnTo>
                  <a:lnTo>
                    <a:pt x="288" y="714"/>
                  </a:lnTo>
                  <a:lnTo>
                    <a:pt x="282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64" y="714"/>
                  </a:lnTo>
                  <a:lnTo>
                    <a:pt x="258" y="714"/>
                  </a:lnTo>
                  <a:lnTo>
                    <a:pt x="252" y="714"/>
                  </a:lnTo>
                  <a:lnTo>
                    <a:pt x="246" y="714"/>
                  </a:lnTo>
                  <a:lnTo>
                    <a:pt x="240" y="714"/>
                  </a:lnTo>
                  <a:lnTo>
                    <a:pt x="240" y="708"/>
                  </a:lnTo>
                  <a:lnTo>
                    <a:pt x="234" y="708"/>
                  </a:lnTo>
                  <a:lnTo>
                    <a:pt x="228" y="708"/>
                  </a:lnTo>
                  <a:lnTo>
                    <a:pt x="222" y="702"/>
                  </a:lnTo>
                  <a:lnTo>
                    <a:pt x="216" y="702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2" y="690"/>
                  </a:lnTo>
                  <a:lnTo>
                    <a:pt x="186" y="690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68" y="684"/>
                  </a:lnTo>
                  <a:lnTo>
                    <a:pt x="168" y="678"/>
                  </a:lnTo>
                  <a:lnTo>
                    <a:pt x="156" y="672"/>
                  </a:lnTo>
                  <a:lnTo>
                    <a:pt x="150" y="660"/>
                  </a:lnTo>
                  <a:lnTo>
                    <a:pt x="126" y="630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12"/>
                  </a:lnTo>
                  <a:lnTo>
                    <a:pt x="126" y="606"/>
                  </a:lnTo>
                  <a:lnTo>
                    <a:pt x="126" y="600"/>
                  </a:lnTo>
                  <a:lnTo>
                    <a:pt x="132" y="594"/>
                  </a:lnTo>
                  <a:lnTo>
                    <a:pt x="138" y="594"/>
                  </a:lnTo>
                  <a:lnTo>
                    <a:pt x="144" y="588"/>
                  </a:lnTo>
                  <a:lnTo>
                    <a:pt x="144" y="582"/>
                  </a:lnTo>
                  <a:lnTo>
                    <a:pt x="150" y="582"/>
                  </a:lnTo>
                  <a:lnTo>
                    <a:pt x="150" y="576"/>
                  </a:lnTo>
                  <a:lnTo>
                    <a:pt x="156" y="576"/>
                  </a:lnTo>
                  <a:lnTo>
                    <a:pt x="156" y="582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8" y="576"/>
                  </a:lnTo>
                  <a:lnTo>
                    <a:pt x="174" y="576"/>
                  </a:lnTo>
                  <a:lnTo>
                    <a:pt x="180" y="582"/>
                  </a:lnTo>
                  <a:lnTo>
                    <a:pt x="192" y="582"/>
                  </a:lnTo>
                  <a:lnTo>
                    <a:pt x="198" y="582"/>
                  </a:lnTo>
                  <a:lnTo>
                    <a:pt x="204" y="582"/>
                  </a:lnTo>
                  <a:lnTo>
                    <a:pt x="210" y="582"/>
                  </a:lnTo>
                  <a:lnTo>
                    <a:pt x="216" y="588"/>
                  </a:lnTo>
                  <a:lnTo>
                    <a:pt x="222" y="588"/>
                  </a:lnTo>
                  <a:lnTo>
                    <a:pt x="234" y="588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46" y="594"/>
                  </a:lnTo>
                  <a:lnTo>
                    <a:pt x="252" y="588"/>
                  </a:lnTo>
                  <a:lnTo>
                    <a:pt x="258" y="588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52" y="600"/>
                  </a:lnTo>
                  <a:lnTo>
                    <a:pt x="246" y="600"/>
                  </a:lnTo>
                  <a:lnTo>
                    <a:pt x="246" y="606"/>
                  </a:lnTo>
                  <a:lnTo>
                    <a:pt x="246" y="600"/>
                  </a:lnTo>
                  <a:lnTo>
                    <a:pt x="252" y="600"/>
                  </a:lnTo>
                  <a:lnTo>
                    <a:pt x="258" y="594"/>
                  </a:lnTo>
                  <a:lnTo>
                    <a:pt x="264" y="594"/>
                  </a:lnTo>
                  <a:lnTo>
                    <a:pt x="264" y="588"/>
                  </a:lnTo>
                  <a:lnTo>
                    <a:pt x="270" y="588"/>
                  </a:lnTo>
                  <a:lnTo>
                    <a:pt x="270" y="582"/>
                  </a:lnTo>
                  <a:lnTo>
                    <a:pt x="270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76" y="564"/>
                  </a:lnTo>
                  <a:lnTo>
                    <a:pt x="270" y="558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58"/>
                  </a:lnTo>
                  <a:lnTo>
                    <a:pt x="282" y="558"/>
                  </a:lnTo>
                  <a:lnTo>
                    <a:pt x="288" y="558"/>
                  </a:lnTo>
                  <a:lnTo>
                    <a:pt x="294" y="558"/>
                  </a:lnTo>
                  <a:lnTo>
                    <a:pt x="300" y="558"/>
                  </a:lnTo>
                  <a:lnTo>
                    <a:pt x="306" y="558"/>
                  </a:lnTo>
                  <a:lnTo>
                    <a:pt x="312" y="558"/>
                  </a:lnTo>
                  <a:lnTo>
                    <a:pt x="318" y="558"/>
                  </a:lnTo>
                  <a:lnTo>
                    <a:pt x="318" y="564"/>
                  </a:lnTo>
                  <a:lnTo>
                    <a:pt x="324" y="564"/>
                  </a:lnTo>
                  <a:lnTo>
                    <a:pt x="324" y="570"/>
                  </a:lnTo>
                  <a:lnTo>
                    <a:pt x="330" y="570"/>
                  </a:lnTo>
                  <a:lnTo>
                    <a:pt x="336" y="570"/>
                  </a:lnTo>
                  <a:lnTo>
                    <a:pt x="342" y="570"/>
                  </a:lnTo>
                  <a:lnTo>
                    <a:pt x="348" y="570"/>
                  </a:lnTo>
                  <a:lnTo>
                    <a:pt x="354" y="570"/>
                  </a:lnTo>
                  <a:lnTo>
                    <a:pt x="360" y="570"/>
                  </a:lnTo>
                  <a:lnTo>
                    <a:pt x="366" y="570"/>
                  </a:lnTo>
                  <a:lnTo>
                    <a:pt x="360" y="570"/>
                  </a:lnTo>
                  <a:lnTo>
                    <a:pt x="360" y="564"/>
                  </a:lnTo>
                  <a:lnTo>
                    <a:pt x="354" y="564"/>
                  </a:lnTo>
                  <a:lnTo>
                    <a:pt x="348" y="564"/>
                  </a:lnTo>
                  <a:lnTo>
                    <a:pt x="342" y="564"/>
                  </a:lnTo>
                  <a:lnTo>
                    <a:pt x="342" y="570"/>
                  </a:lnTo>
                  <a:lnTo>
                    <a:pt x="336" y="564"/>
                  </a:lnTo>
                  <a:lnTo>
                    <a:pt x="336" y="570"/>
                  </a:lnTo>
                  <a:lnTo>
                    <a:pt x="336" y="564"/>
                  </a:lnTo>
                  <a:lnTo>
                    <a:pt x="330" y="564"/>
                  </a:lnTo>
                  <a:lnTo>
                    <a:pt x="324" y="558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18" y="558"/>
                  </a:lnTo>
                  <a:lnTo>
                    <a:pt x="312" y="552"/>
                  </a:lnTo>
                  <a:lnTo>
                    <a:pt x="312" y="558"/>
                  </a:lnTo>
                  <a:lnTo>
                    <a:pt x="312" y="552"/>
                  </a:lnTo>
                  <a:lnTo>
                    <a:pt x="306" y="552"/>
                  </a:lnTo>
                  <a:lnTo>
                    <a:pt x="300" y="546"/>
                  </a:lnTo>
                  <a:lnTo>
                    <a:pt x="294" y="546"/>
                  </a:lnTo>
                  <a:lnTo>
                    <a:pt x="288" y="546"/>
                  </a:lnTo>
                  <a:lnTo>
                    <a:pt x="282" y="546"/>
                  </a:lnTo>
                  <a:lnTo>
                    <a:pt x="276" y="546"/>
                  </a:lnTo>
                  <a:lnTo>
                    <a:pt x="276" y="552"/>
                  </a:lnTo>
                  <a:lnTo>
                    <a:pt x="270" y="552"/>
                  </a:lnTo>
                  <a:lnTo>
                    <a:pt x="270" y="558"/>
                  </a:lnTo>
                  <a:lnTo>
                    <a:pt x="270" y="564"/>
                  </a:lnTo>
                  <a:lnTo>
                    <a:pt x="264" y="570"/>
                  </a:lnTo>
                  <a:lnTo>
                    <a:pt x="258" y="576"/>
                  </a:lnTo>
                  <a:lnTo>
                    <a:pt x="258" y="582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34" y="576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16" y="552"/>
                  </a:lnTo>
                  <a:lnTo>
                    <a:pt x="216" y="546"/>
                  </a:lnTo>
                  <a:lnTo>
                    <a:pt x="216" y="540"/>
                  </a:lnTo>
                  <a:lnTo>
                    <a:pt x="222" y="534"/>
                  </a:lnTo>
                  <a:lnTo>
                    <a:pt x="222" y="528"/>
                  </a:lnTo>
                  <a:lnTo>
                    <a:pt x="228" y="522"/>
                  </a:lnTo>
                  <a:lnTo>
                    <a:pt x="228" y="516"/>
                  </a:lnTo>
                  <a:lnTo>
                    <a:pt x="228" y="510"/>
                  </a:lnTo>
                  <a:lnTo>
                    <a:pt x="234" y="510"/>
                  </a:lnTo>
                  <a:lnTo>
                    <a:pt x="240" y="516"/>
                  </a:lnTo>
                  <a:lnTo>
                    <a:pt x="246" y="522"/>
                  </a:lnTo>
                  <a:lnTo>
                    <a:pt x="246" y="516"/>
                  </a:lnTo>
                  <a:lnTo>
                    <a:pt x="240" y="516"/>
                  </a:lnTo>
                  <a:lnTo>
                    <a:pt x="240" y="510"/>
                  </a:lnTo>
                  <a:lnTo>
                    <a:pt x="234" y="510"/>
                  </a:lnTo>
                  <a:lnTo>
                    <a:pt x="234" y="504"/>
                  </a:lnTo>
                  <a:lnTo>
                    <a:pt x="228" y="504"/>
                  </a:lnTo>
                  <a:lnTo>
                    <a:pt x="222" y="504"/>
                  </a:lnTo>
                  <a:lnTo>
                    <a:pt x="222" y="498"/>
                  </a:lnTo>
                  <a:lnTo>
                    <a:pt x="222" y="504"/>
                  </a:lnTo>
                  <a:lnTo>
                    <a:pt x="222" y="510"/>
                  </a:lnTo>
                  <a:lnTo>
                    <a:pt x="222" y="516"/>
                  </a:lnTo>
                  <a:lnTo>
                    <a:pt x="216" y="522"/>
                  </a:lnTo>
                  <a:lnTo>
                    <a:pt x="216" y="528"/>
                  </a:lnTo>
                  <a:lnTo>
                    <a:pt x="210" y="528"/>
                  </a:lnTo>
                  <a:lnTo>
                    <a:pt x="216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04" y="546"/>
                  </a:lnTo>
                  <a:lnTo>
                    <a:pt x="204" y="552"/>
                  </a:lnTo>
                  <a:lnTo>
                    <a:pt x="204" y="558"/>
                  </a:lnTo>
                  <a:lnTo>
                    <a:pt x="204" y="564"/>
                  </a:lnTo>
                  <a:lnTo>
                    <a:pt x="198" y="570"/>
                  </a:lnTo>
                  <a:lnTo>
                    <a:pt x="192" y="564"/>
                  </a:lnTo>
                  <a:lnTo>
                    <a:pt x="186" y="564"/>
                  </a:lnTo>
                  <a:lnTo>
                    <a:pt x="180" y="564"/>
                  </a:lnTo>
                  <a:lnTo>
                    <a:pt x="174" y="564"/>
                  </a:lnTo>
                  <a:lnTo>
                    <a:pt x="168" y="564"/>
                  </a:lnTo>
                  <a:lnTo>
                    <a:pt x="162" y="564"/>
                  </a:lnTo>
                  <a:lnTo>
                    <a:pt x="156" y="570"/>
                  </a:lnTo>
                  <a:lnTo>
                    <a:pt x="150" y="570"/>
                  </a:lnTo>
                  <a:lnTo>
                    <a:pt x="150" y="564"/>
                  </a:lnTo>
                  <a:lnTo>
                    <a:pt x="150" y="570"/>
                  </a:lnTo>
                  <a:lnTo>
                    <a:pt x="150" y="576"/>
                  </a:lnTo>
                  <a:lnTo>
                    <a:pt x="144" y="576"/>
                  </a:lnTo>
                  <a:lnTo>
                    <a:pt x="138" y="576"/>
                  </a:lnTo>
                  <a:lnTo>
                    <a:pt x="132" y="582"/>
                  </a:lnTo>
                  <a:lnTo>
                    <a:pt x="126" y="582"/>
                  </a:lnTo>
                  <a:lnTo>
                    <a:pt x="120" y="582"/>
                  </a:lnTo>
                  <a:lnTo>
                    <a:pt x="114" y="576"/>
                  </a:lnTo>
                  <a:lnTo>
                    <a:pt x="108" y="564"/>
                  </a:lnTo>
                  <a:lnTo>
                    <a:pt x="102" y="558"/>
                  </a:lnTo>
                  <a:lnTo>
                    <a:pt x="96" y="552"/>
                  </a:lnTo>
                  <a:lnTo>
                    <a:pt x="90" y="546"/>
                  </a:lnTo>
                  <a:lnTo>
                    <a:pt x="90" y="540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2"/>
                  </a:lnTo>
                  <a:lnTo>
                    <a:pt x="78" y="516"/>
                  </a:lnTo>
                  <a:lnTo>
                    <a:pt x="72" y="510"/>
                  </a:lnTo>
                  <a:lnTo>
                    <a:pt x="66" y="504"/>
                  </a:lnTo>
                  <a:lnTo>
                    <a:pt x="66" y="498"/>
                  </a:lnTo>
                  <a:lnTo>
                    <a:pt x="66" y="492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6" y="474"/>
                  </a:lnTo>
                  <a:lnTo>
                    <a:pt x="72" y="474"/>
                  </a:lnTo>
                  <a:lnTo>
                    <a:pt x="72" y="468"/>
                  </a:lnTo>
                  <a:lnTo>
                    <a:pt x="78" y="462"/>
                  </a:lnTo>
                  <a:lnTo>
                    <a:pt x="78" y="456"/>
                  </a:lnTo>
                  <a:lnTo>
                    <a:pt x="84" y="456"/>
                  </a:lnTo>
                  <a:lnTo>
                    <a:pt x="84" y="450"/>
                  </a:lnTo>
                  <a:lnTo>
                    <a:pt x="84" y="444"/>
                  </a:lnTo>
                  <a:lnTo>
                    <a:pt x="90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02" y="450"/>
                  </a:lnTo>
                  <a:lnTo>
                    <a:pt x="108" y="450"/>
                  </a:lnTo>
                  <a:lnTo>
                    <a:pt x="108" y="456"/>
                  </a:lnTo>
                  <a:lnTo>
                    <a:pt x="108" y="462"/>
                  </a:lnTo>
                  <a:lnTo>
                    <a:pt x="114" y="462"/>
                  </a:lnTo>
                  <a:lnTo>
                    <a:pt x="114" y="468"/>
                  </a:lnTo>
                  <a:lnTo>
                    <a:pt x="114" y="474"/>
                  </a:lnTo>
                  <a:lnTo>
                    <a:pt x="114" y="480"/>
                  </a:lnTo>
                  <a:lnTo>
                    <a:pt x="114" y="486"/>
                  </a:lnTo>
                  <a:lnTo>
                    <a:pt x="120" y="486"/>
                  </a:lnTo>
                  <a:lnTo>
                    <a:pt x="126" y="486"/>
                  </a:lnTo>
                  <a:lnTo>
                    <a:pt x="132" y="486"/>
                  </a:lnTo>
                  <a:lnTo>
                    <a:pt x="126" y="480"/>
                  </a:lnTo>
                  <a:lnTo>
                    <a:pt x="120" y="480"/>
                  </a:lnTo>
                  <a:lnTo>
                    <a:pt x="114" y="480"/>
                  </a:lnTo>
                  <a:lnTo>
                    <a:pt x="120" y="480"/>
                  </a:lnTo>
                  <a:lnTo>
                    <a:pt x="120" y="474"/>
                  </a:lnTo>
                  <a:lnTo>
                    <a:pt x="120" y="468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108" y="450"/>
                  </a:lnTo>
                  <a:lnTo>
                    <a:pt x="108" y="444"/>
                  </a:lnTo>
                  <a:lnTo>
                    <a:pt x="114" y="438"/>
                  </a:lnTo>
                  <a:lnTo>
                    <a:pt x="120" y="438"/>
                  </a:lnTo>
                  <a:lnTo>
                    <a:pt x="120" y="432"/>
                  </a:lnTo>
                  <a:lnTo>
                    <a:pt x="132" y="426"/>
                  </a:lnTo>
                  <a:lnTo>
                    <a:pt x="138" y="420"/>
                  </a:lnTo>
                  <a:lnTo>
                    <a:pt x="144" y="420"/>
                  </a:lnTo>
                  <a:lnTo>
                    <a:pt x="144" y="414"/>
                  </a:lnTo>
                  <a:lnTo>
                    <a:pt x="144" y="420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6" y="414"/>
                  </a:lnTo>
                  <a:lnTo>
                    <a:pt x="162" y="414"/>
                  </a:lnTo>
                  <a:lnTo>
                    <a:pt x="162" y="408"/>
                  </a:lnTo>
                  <a:lnTo>
                    <a:pt x="168" y="408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86" y="396"/>
                  </a:lnTo>
                  <a:lnTo>
                    <a:pt x="186" y="390"/>
                  </a:lnTo>
                  <a:lnTo>
                    <a:pt x="192" y="390"/>
                  </a:lnTo>
                  <a:lnTo>
                    <a:pt x="198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210" y="378"/>
                  </a:lnTo>
                  <a:lnTo>
                    <a:pt x="210" y="372"/>
                  </a:lnTo>
                  <a:lnTo>
                    <a:pt x="216" y="372"/>
                  </a:lnTo>
                  <a:lnTo>
                    <a:pt x="222" y="366"/>
                  </a:lnTo>
                  <a:lnTo>
                    <a:pt x="228" y="360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6" y="348"/>
                  </a:lnTo>
                  <a:lnTo>
                    <a:pt x="252" y="348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0" y="342"/>
                  </a:lnTo>
                  <a:lnTo>
                    <a:pt x="234" y="342"/>
                  </a:lnTo>
                  <a:lnTo>
                    <a:pt x="228" y="336"/>
                  </a:lnTo>
                  <a:lnTo>
                    <a:pt x="222" y="336"/>
                  </a:lnTo>
                  <a:lnTo>
                    <a:pt x="216" y="336"/>
                  </a:lnTo>
                  <a:lnTo>
                    <a:pt x="222" y="324"/>
                  </a:lnTo>
                  <a:lnTo>
                    <a:pt x="222" y="318"/>
                  </a:lnTo>
                  <a:lnTo>
                    <a:pt x="222" y="312"/>
                  </a:lnTo>
                  <a:lnTo>
                    <a:pt x="234" y="318"/>
                  </a:lnTo>
                  <a:lnTo>
                    <a:pt x="246" y="318"/>
                  </a:lnTo>
                  <a:lnTo>
                    <a:pt x="258" y="318"/>
                  </a:lnTo>
                  <a:lnTo>
                    <a:pt x="270" y="312"/>
                  </a:lnTo>
                  <a:lnTo>
                    <a:pt x="276" y="312"/>
                  </a:lnTo>
                  <a:lnTo>
                    <a:pt x="288" y="324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94" y="306"/>
                  </a:lnTo>
                  <a:lnTo>
                    <a:pt x="300" y="300"/>
                  </a:lnTo>
                  <a:lnTo>
                    <a:pt x="306" y="306"/>
                  </a:lnTo>
                  <a:lnTo>
                    <a:pt x="312" y="318"/>
                  </a:lnTo>
                  <a:lnTo>
                    <a:pt x="318" y="312"/>
                  </a:lnTo>
                  <a:lnTo>
                    <a:pt x="324" y="312"/>
                  </a:lnTo>
                  <a:lnTo>
                    <a:pt x="330" y="312"/>
                  </a:lnTo>
                  <a:lnTo>
                    <a:pt x="342" y="306"/>
                  </a:lnTo>
                  <a:lnTo>
                    <a:pt x="348" y="306"/>
                  </a:lnTo>
                  <a:lnTo>
                    <a:pt x="348" y="312"/>
                  </a:lnTo>
                  <a:lnTo>
                    <a:pt x="348" y="318"/>
                  </a:lnTo>
                  <a:lnTo>
                    <a:pt x="354" y="318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60" y="336"/>
                  </a:lnTo>
                  <a:lnTo>
                    <a:pt x="366" y="330"/>
                  </a:lnTo>
                  <a:lnTo>
                    <a:pt x="378" y="324"/>
                  </a:lnTo>
                  <a:lnTo>
                    <a:pt x="384" y="324"/>
                  </a:lnTo>
                  <a:lnTo>
                    <a:pt x="384" y="318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6"/>
                  </a:lnTo>
                  <a:lnTo>
                    <a:pt x="402" y="306"/>
                  </a:lnTo>
                  <a:lnTo>
                    <a:pt x="408" y="306"/>
                  </a:lnTo>
                  <a:lnTo>
                    <a:pt x="414" y="300"/>
                  </a:lnTo>
                  <a:lnTo>
                    <a:pt x="420" y="300"/>
                  </a:lnTo>
                  <a:lnTo>
                    <a:pt x="426" y="300"/>
                  </a:lnTo>
                  <a:lnTo>
                    <a:pt x="432" y="300"/>
                  </a:lnTo>
                  <a:lnTo>
                    <a:pt x="444" y="288"/>
                  </a:lnTo>
                  <a:lnTo>
                    <a:pt x="450" y="294"/>
                  </a:lnTo>
                  <a:lnTo>
                    <a:pt x="468" y="300"/>
                  </a:lnTo>
                  <a:lnTo>
                    <a:pt x="498" y="312"/>
                  </a:lnTo>
                  <a:lnTo>
                    <a:pt x="504" y="324"/>
                  </a:lnTo>
                  <a:lnTo>
                    <a:pt x="516" y="330"/>
                  </a:lnTo>
                  <a:lnTo>
                    <a:pt x="516" y="336"/>
                  </a:lnTo>
                  <a:lnTo>
                    <a:pt x="540" y="342"/>
                  </a:lnTo>
                  <a:lnTo>
                    <a:pt x="558" y="372"/>
                  </a:lnTo>
                  <a:lnTo>
                    <a:pt x="594" y="384"/>
                  </a:lnTo>
                  <a:lnTo>
                    <a:pt x="606" y="402"/>
                  </a:lnTo>
                  <a:lnTo>
                    <a:pt x="600" y="420"/>
                  </a:lnTo>
                  <a:lnTo>
                    <a:pt x="588" y="444"/>
                  </a:lnTo>
                  <a:lnTo>
                    <a:pt x="588" y="450"/>
                  </a:lnTo>
                  <a:lnTo>
                    <a:pt x="588" y="456"/>
                  </a:lnTo>
                  <a:lnTo>
                    <a:pt x="594" y="456"/>
                  </a:lnTo>
                  <a:lnTo>
                    <a:pt x="594" y="462"/>
                  </a:lnTo>
                  <a:lnTo>
                    <a:pt x="594" y="468"/>
                  </a:lnTo>
                  <a:lnTo>
                    <a:pt x="594" y="474"/>
                  </a:lnTo>
                  <a:lnTo>
                    <a:pt x="600" y="474"/>
                  </a:lnTo>
                  <a:lnTo>
                    <a:pt x="606" y="480"/>
                  </a:lnTo>
                  <a:lnTo>
                    <a:pt x="606" y="486"/>
                  </a:lnTo>
                  <a:lnTo>
                    <a:pt x="612" y="486"/>
                  </a:lnTo>
                  <a:lnTo>
                    <a:pt x="618" y="486"/>
                  </a:lnTo>
                  <a:lnTo>
                    <a:pt x="624" y="486"/>
                  </a:lnTo>
                  <a:lnTo>
                    <a:pt x="636" y="486"/>
                  </a:lnTo>
                  <a:lnTo>
                    <a:pt x="642" y="486"/>
                  </a:lnTo>
                  <a:lnTo>
                    <a:pt x="648" y="480"/>
                  </a:lnTo>
                  <a:lnTo>
                    <a:pt x="654" y="474"/>
                  </a:lnTo>
                  <a:lnTo>
                    <a:pt x="660" y="468"/>
                  </a:lnTo>
                  <a:lnTo>
                    <a:pt x="666" y="468"/>
                  </a:lnTo>
                  <a:lnTo>
                    <a:pt x="684" y="468"/>
                  </a:lnTo>
                  <a:lnTo>
                    <a:pt x="696" y="468"/>
                  </a:lnTo>
                  <a:lnTo>
                    <a:pt x="696" y="462"/>
                  </a:lnTo>
                  <a:lnTo>
                    <a:pt x="702" y="456"/>
                  </a:lnTo>
                  <a:lnTo>
                    <a:pt x="708" y="450"/>
                  </a:lnTo>
                  <a:lnTo>
                    <a:pt x="714" y="450"/>
                  </a:lnTo>
                  <a:lnTo>
                    <a:pt x="720" y="450"/>
                  </a:lnTo>
                  <a:lnTo>
                    <a:pt x="720" y="438"/>
                  </a:lnTo>
                  <a:lnTo>
                    <a:pt x="726" y="432"/>
                  </a:lnTo>
                  <a:lnTo>
                    <a:pt x="738" y="420"/>
                  </a:lnTo>
                  <a:lnTo>
                    <a:pt x="744" y="420"/>
                  </a:lnTo>
                  <a:lnTo>
                    <a:pt x="750" y="414"/>
                  </a:lnTo>
                  <a:lnTo>
                    <a:pt x="762" y="408"/>
                  </a:lnTo>
                  <a:lnTo>
                    <a:pt x="768" y="408"/>
                  </a:lnTo>
                  <a:lnTo>
                    <a:pt x="768" y="402"/>
                  </a:lnTo>
                  <a:lnTo>
                    <a:pt x="780" y="396"/>
                  </a:lnTo>
                  <a:lnTo>
                    <a:pt x="786" y="396"/>
                  </a:lnTo>
                  <a:lnTo>
                    <a:pt x="786" y="390"/>
                  </a:lnTo>
                  <a:lnTo>
                    <a:pt x="792" y="384"/>
                  </a:lnTo>
                  <a:lnTo>
                    <a:pt x="792" y="378"/>
                  </a:lnTo>
                  <a:lnTo>
                    <a:pt x="798" y="366"/>
                  </a:lnTo>
                  <a:lnTo>
                    <a:pt x="804" y="360"/>
                  </a:lnTo>
                  <a:lnTo>
                    <a:pt x="816" y="342"/>
                  </a:lnTo>
                  <a:lnTo>
                    <a:pt x="816" y="312"/>
                  </a:lnTo>
                  <a:lnTo>
                    <a:pt x="804" y="300"/>
                  </a:lnTo>
                  <a:lnTo>
                    <a:pt x="798" y="288"/>
                  </a:lnTo>
                  <a:lnTo>
                    <a:pt x="762" y="264"/>
                  </a:lnTo>
                  <a:lnTo>
                    <a:pt x="738" y="234"/>
                  </a:lnTo>
                  <a:lnTo>
                    <a:pt x="738" y="222"/>
                  </a:lnTo>
                  <a:lnTo>
                    <a:pt x="744" y="210"/>
                  </a:lnTo>
                  <a:lnTo>
                    <a:pt x="732" y="174"/>
                  </a:lnTo>
                  <a:lnTo>
                    <a:pt x="714" y="156"/>
                  </a:lnTo>
                  <a:lnTo>
                    <a:pt x="708" y="144"/>
                  </a:lnTo>
                  <a:lnTo>
                    <a:pt x="714" y="126"/>
                  </a:lnTo>
                  <a:lnTo>
                    <a:pt x="720" y="114"/>
                  </a:lnTo>
                  <a:lnTo>
                    <a:pt x="732" y="102"/>
                  </a:lnTo>
                  <a:lnTo>
                    <a:pt x="744" y="102"/>
                  </a:lnTo>
                  <a:lnTo>
                    <a:pt x="762" y="108"/>
                  </a:lnTo>
                  <a:lnTo>
                    <a:pt x="774" y="114"/>
                  </a:lnTo>
                  <a:lnTo>
                    <a:pt x="780" y="138"/>
                  </a:lnTo>
                  <a:lnTo>
                    <a:pt x="786" y="144"/>
                  </a:lnTo>
                  <a:lnTo>
                    <a:pt x="798" y="138"/>
                  </a:lnTo>
                  <a:lnTo>
                    <a:pt x="804" y="132"/>
                  </a:lnTo>
                  <a:lnTo>
                    <a:pt x="816" y="120"/>
                  </a:lnTo>
                  <a:lnTo>
                    <a:pt x="816" y="108"/>
                  </a:lnTo>
                  <a:lnTo>
                    <a:pt x="828" y="102"/>
                  </a:lnTo>
                  <a:lnTo>
                    <a:pt x="828" y="96"/>
                  </a:lnTo>
                  <a:lnTo>
                    <a:pt x="840" y="96"/>
                  </a:lnTo>
                  <a:lnTo>
                    <a:pt x="840" y="84"/>
                  </a:lnTo>
                  <a:lnTo>
                    <a:pt x="852" y="90"/>
                  </a:lnTo>
                  <a:lnTo>
                    <a:pt x="852" y="96"/>
                  </a:lnTo>
                  <a:lnTo>
                    <a:pt x="870" y="90"/>
                  </a:lnTo>
                  <a:lnTo>
                    <a:pt x="894" y="78"/>
                  </a:lnTo>
                  <a:lnTo>
                    <a:pt x="912" y="78"/>
                  </a:lnTo>
                  <a:lnTo>
                    <a:pt x="942" y="66"/>
                  </a:lnTo>
                  <a:lnTo>
                    <a:pt x="942" y="60"/>
                  </a:lnTo>
                  <a:lnTo>
                    <a:pt x="954" y="48"/>
                  </a:lnTo>
                  <a:lnTo>
                    <a:pt x="966" y="30"/>
                  </a:lnTo>
                  <a:lnTo>
                    <a:pt x="978" y="30"/>
                  </a:lnTo>
                  <a:lnTo>
                    <a:pt x="978" y="24"/>
                  </a:lnTo>
                  <a:lnTo>
                    <a:pt x="984" y="12"/>
                  </a:lnTo>
                  <a:lnTo>
                    <a:pt x="990" y="12"/>
                  </a:lnTo>
                  <a:lnTo>
                    <a:pt x="996" y="12"/>
                  </a:lnTo>
                  <a:lnTo>
                    <a:pt x="1014" y="6"/>
                  </a:lnTo>
                  <a:lnTo>
                    <a:pt x="1026" y="6"/>
                  </a:lnTo>
                  <a:lnTo>
                    <a:pt x="1044" y="6"/>
                  </a:lnTo>
                  <a:lnTo>
                    <a:pt x="1050" y="6"/>
                  </a:lnTo>
                  <a:lnTo>
                    <a:pt x="1056" y="6"/>
                  </a:lnTo>
                  <a:lnTo>
                    <a:pt x="1062" y="6"/>
                  </a:lnTo>
                  <a:lnTo>
                    <a:pt x="1068" y="6"/>
                  </a:lnTo>
                  <a:lnTo>
                    <a:pt x="1074" y="6"/>
                  </a:lnTo>
                  <a:lnTo>
                    <a:pt x="1080" y="6"/>
                  </a:lnTo>
                  <a:lnTo>
                    <a:pt x="1086" y="0"/>
                  </a:lnTo>
                  <a:lnTo>
                    <a:pt x="1092" y="30"/>
                  </a:lnTo>
                  <a:lnTo>
                    <a:pt x="1098" y="60"/>
                  </a:lnTo>
                  <a:lnTo>
                    <a:pt x="1110" y="84"/>
                  </a:lnTo>
                  <a:lnTo>
                    <a:pt x="1122" y="114"/>
                  </a:lnTo>
                  <a:lnTo>
                    <a:pt x="1128" y="144"/>
                  </a:lnTo>
                  <a:lnTo>
                    <a:pt x="1122" y="156"/>
                  </a:lnTo>
                  <a:lnTo>
                    <a:pt x="1128" y="168"/>
                  </a:lnTo>
                  <a:lnTo>
                    <a:pt x="1134" y="186"/>
                  </a:lnTo>
                  <a:lnTo>
                    <a:pt x="1140" y="204"/>
                  </a:lnTo>
                  <a:lnTo>
                    <a:pt x="1146" y="210"/>
                  </a:lnTo>
                  <a:lnTo>
                    <a:pt x="1146" y="216"/>
                  </a:lnTo>
                  <a:lnTo>
                    <a:pt x="1146" y="228"/>
                  </a:lnTo>
                  <a:lnTo>
                    <a:pt x="1146" y="234"/>
                  </a:lnTo>
                  <a:lnTo>
                    <a:pt x="1140" y="246"/>
                  </a:lnTo>
                  <a:lnTo>
                    <a:pt x="1128" y="258"/>
                  </a:lnTo>
                  <a:lnTo>
                    <a:pt x="1116" y="264"/>
                  </a:lnTo>
                  <a:lnTo>
                    <a:pt x="1110" y="276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2" y="312"/>
                  </a:lnTo>
                  <a:lnTo>
                    <a:pt x="1116" y="324"/>
                  </a:lnTo>
                  <a:lnTo>
                    <a:pt x="1104" y="336"/>
                  </a:lnTo>
                  <a:lnTo>
                    <a:pt x="1104" y="354"/>
                  </a:lnTo>
                  <a:lnTo>
                    <a:pt x="1098" y="372"/>
                  </a:lnTo>
                  <a:lnTo>
                    <a:pt x="1092" y="384"/>
                  </a:lnTo>
                  <a:lnTo>
                    <a:pt x="1086" y="390"/>
                  </a:lnTo>
                  <a:lnTo>
                    <a:pt x="1086" y="402"/>
                  </a:lnTo>
                  <a:lnTo>
                    <a:pt x="1080" y="414"/>
                  </a:lnTo>
                  <a:lnTo>
                    <a:pt x="1074" y="426"/>
                  </a:lnTo>
                  <a:lnTo>
                    <a:pt x="1074" y="450"/>
                  </a:lnTo>
                  <a:lnTo>
                    <a:pt x="1074" y="462"/>
                  </a:lnTo>
                  <a:lnTo>
                    <a:pt x="1068" y="474"/>
                  </a:lnTo>
                  <a:lnTo>
                    <a:pt x="1062" y="486"/>
                  </a:lnTo>
                  <a:lnTo>
                    <a:pt x="1056" y="498"/>
                  </a:lnTo>
                  <a:close/>
                  <a:moveTo>
                    <a:pt x="186" y="378"/>
                  </a:moveTo>
                  <a:lnTo>
                    <a:pt x="186" y="384"/>
                  </a:lnTo>
                  <a:lnTo>
                    <a:pt x="180" y="390"/>
                  </a:lnTo>
                  <a:lnTo>
                    <a:pt x="174" y="396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14"/>
                  </a:lnTo>
                  <a:lnTo>
                    <a:pt x="126" y="414"/>
                  </a:lnTo>
                  <a:lnTo>
                    <a:pt x="120" y="414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2" y="426"/>
                  </a:lnTo>
                  <a:lnTo>
                    <a:pt x="102" y="432"/>
                  </a:lnTo>
                  <a:lnTo>
                    <a:pt x="96" y="432"/>
                  </a:lnTo>
                  <a:lnTo>
                    <a:pt x="90" y="432"/>
                  </a:lnTo>
                  <a:lnTo>
                    <a:pt x="84" y="438"/>
                  </a:lnTo>
                  <a:lnTo>
                    <a:pt x="78" y="438"/>
                  </a:lnTo>
                  <a:lnTo>
                    <a:pt x="78" y="444"/>
                  </a:lnTo>
                  <a:lnTo>
                    <a:pt x="72" y="444"/>
                  </a:lnTo>
                  <a:lnTo>
                    <a:pt x="72" y="450"/>
                  </a:lnTo>
                  <a:lnTo>
                    <a:pt x="66" y="456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48" y="468"/>
                  </a:lnTo>
                  <a:lnTo>
                    <a:pt x="42" y="468"/>
                  </a:lnTo>
                  <a:lnTo>
                    <a:pt x="42" y="462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8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0" y="396"/>
                  </a:lnTo>
                  <a:lnTo>
                    <a:pt x="6" y="384"/>
                  </a:lnTo>
                  <a:lnTo>
                    <a:pt x="18" y="372"/>
                  </a:lnTo>
                  <a:lnTo>
                    <a:pt x="30" y="348"/>
                  </a:lnTo>
                  <a:lnTo>
                    <a:pt x="30" y="342"/>
                  </a:lnTo>
                  <a:lnTo>
                    <a:pt x="42" y="330"/>
                  </a:lnTo>
                  <a:lnTo>
                    <a:pt x="42" y="324"/>
                  </a:lnTo>
                  <a:lnTo>
                    <a:pt x="48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60" y="282"/>
                  </a:lnTo>
                  <a:lnTo>
                    <a:pt x="60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2" y="258"/>
                  </a:lnTo>
                  <a:lnTo>
                    <a:pt x="84" y="246"/>
                  </a:lnTo>
                  <a:lnTo>
                    <a:pt x="90" y="234"/>
                  </a:lnTo>
                  <a:lnTo>
                    <a:pt x="96" y="234"/>
                  </a:lnTo>
                  <a:lnTo>
                    <a:pt x="96" y="228"/>
                  </a:lnTo>
                  <a:lnTo>
                    <a:pt x="102" y="222"/>
                  </a:lnTo>
                  <a:lnTo>
                    <a:pt x="102" y="228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14" y="228"/>
                  </a:lnTo>
                  <a:lnTo>
                    <a:pt x="114" y="234"/>
                  </a:lnTo>
                  <a:lnTo>
                    <a:pt x="120" y="228"/>
                  </a:lnTo>
                  <a:lnTo>
                    <a:pt x="120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26" y="228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8" y="234"/>
                  </a:lnTo>
                  <a:lnTo>
                    <a:pt x="144" y="234"/>
                  </a:lnTo>
                  <a:lnTo>
                    <a:pt x="144" y="228"/>
                  </a:lnTo>
                  <a:lnTo>
                    <a:pt x="150" y="228"/>
                  </a:lnTo>
                  <a:lnTo>
                    <a:pt x="156" y="228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46"/>
                  </a:lnTo>
                  <a:lnTo>
                    <a:pt x="162" y="240"/>
                  </a:lnTo>
                  <a:lnTo>
                    <a:pt x="162" y="246"/>
                  </a:lnTo>
                  <a:lnTo>
                    <a:pt x="162" y="258"/>
                  </a:lnTo>
                  <a:lnTo>
                    <a:pt x="162" y="264"/>
                  </a:lnTo>
                  <a:lnTo>
                    <a:pt x="156" y="270"/>
                  </a:lnTo>
                  <a:lnTo>
                    <a:pt x="162" y="270"/>
                  </a:lnTo>
                  <a:lnTo>
                    <a:pt x="162" y="282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86" y="288"/>
                  </a:lnTo>
                  <a:lnTo>
                    <a:pt x="186" y="294"/>
                  </a:lnTo>
                  <a:lnTo>
                    <a:pt x="180" y="300"/>
                  </a:lnTo>
                  <a:lnTo>
                    <a:pt x="174" y="318"/>
                  </a:lnTo>
                  <a:lnTo>
                    <a:pt x="174" y="324"/>
                  </a:lnTo>
                  <a:lnTo>
                    <a:pt x="168" y="330"/>
                  </a:lnTo>
                  <a:lnTo>
                    <a:pt x="168" y="342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74" y="360"/>
                  </a:lnTo>
                  <a:lnTo>
                    <a:pt x="180" y="366"/>
                  </a:lnTo>
                  <a:lnTo>
                    <a:pt x="186" y="37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8" name="Freeform 23">
              <a:extLst>
                <a:ext uri="{FF2B5EF4-FFF2-40B4-BE49-F238E27FC236}">
                  <a16:creationId xmlns:a16="http://schemas.microsoft.com/office/drawing/2014/main" id="{A539A33E-3F6E-4AF7-BD88-1853165307F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6312" y="3604793"/>
              <a:ext cx="581410" cy="621747"/>
            </a:xfrm>
            <a:custGeom>
              <a:avLst/>
              <a:gdLst>
                <a:gd name="T0" fmla="*/ 90 w 1092"/>
                <a:gd name="T1" fmla="*/ 60 h 1170"/>
                <a:gd name="T2" fmla="*/ 83 w 1092"/>
                <a:gd name="T3" fmla="*/ 62 h 1170"/>
                <a:gd name="T4" fmla="*/ 72 w 1092"/>
                <a:gd name="T5" fmla="*/ 68 h 1170"/>
                <a:gd name="T6" fmla="*/ 68 w 1092"/>
                <a:gd name="T7" fmla="*/ 71 h 1170"/>
                <a:gd name="T8" fmla="*/ 61 w 1092"/>
                <a:gd name="T9" fmla="*/ 69 h 1170"/>
                <a:gd name="T10" fmla="*/ 64 w 1092"/>
                <a:gd name="T11" fmla="*/ 82 h 1170"/>
                <a:gd name="T12" fmla="*/ 67 w 1092"/>
                <a:gd name="T13" fmla="*/ 93 h 1170"/>
                <a:gd name="T14" fmla="*/ 62 w 1092"/>
                <a:gd name="T15" fmla="*/ 96 h 1170"/>
                <a:gd name="T16" fmla="*/ 59 w 1092"/>
                <a:gd name="T17" fmla="*/ 99 h 1170"/>
                <a:gd name="T18" fmla="*/ 53 w 1092"/>
                <a:gd name="T19" fmla="*/ 101 h 1170"/>
                <a:gd name="T20" fmla="*/ 50 w 1092"/>
                <a:gd name="T21" fmla="*/ 100 h 1170"/>
                <a:gd name="T22" fmla="*/ 50 w 1092"/>
                <a:gd name="T23" fmla="*/ 93 h 1170"/>
                <a:gd name="T24" fmla="*/ 37 w 1092"/>
                <a:gd name="T25" fmla="*/ 85 h 1170"/>
                <a:gd name="T26" fmla="*/ 32 w 1092"/>
                <a:gd name="T27" fmla="*/ 86 h 1170"/>
                <a:gd name="T28" fmla="*/ 29 w 1092"/>
                <a:gd name="T29" fmla="*/ 88 h 1170"/>
                <a:gd name="T30" fmla="*/ 27 w 1092"/>
                <a:gd name="T31" fmla="*/ 86 h 1170"/>
                <a:gd name="T32" fmla="*/ 23 w 1092"/>
                <a:gd name="T33" fmla="*/ 87 h 1170"/>
                <a:gd name="T34" fmla="*/ 17 w 1092"/>
                <a:gd name="T35" fmla="*/ 87 h 1170"/>
                <a:gd name="T36" fmla="*/ 18 w 1092"/>
                <a:gd name="T37" fmla="*/ 89 h 1170"/>
                <a:gd name="T38" fmla="*/ 16 w 1092"/>
                <a:gd name="T39" fmla="*/ 92 h 1170"/>
                <a:gd name="T40" fmla="*/ 12 w 1092"/>
                <a:gd name="T41" fmla="*/ 89 h 1170"/>
                <a:gd name="T42" fmla="*/ 13 w 1092"/>
                <a:gd name="T43" fmla="*/ 84 h 1170"/>
                <a:gd name="T44" fmla="*/ 12 w 1092"/>
                <a:gd name="T45" fmla="*/ 80 h 1170"/>
                <a:gd name="T46" fmla="*/ 10 w 1092"/>
                <a:gd name="T47" fmla="*/ 80 h 1170"/>
                <a:gd name="T48" fmla="*/ 8 w 1092"/>
                <a:gd name="T49" fmla="*/ 79 h 1170"/>
                <a:gd name="T50" fmla="*/ 6 w 1092"/>
                <a:gd name="T51" fmla="*/ 78 h 1170"/>
                <a:gd name="T52" fmla="*/ 6 w 1092"/>
                <a:gd name="T53" fmla="*/ 77 h 1170"/>
                <a:gd name="T54" fmla="*/ 4 w 1092"/>
                <a:gd name="T55" fmla="*/ 75 h 1170"/>
                <a:gd name="T56" fmla="*/ 0 w 1092"/>
                <a:gd name="T57" fmla="*/ 72 h 1170"/>
                <a:gd name="T58" fmla="*/ 0 w 1092"/>
                <a:gd name="T59" fmla="*/ 69 h 1170"/>
                <a:gd name="T60" fmla="*/ 3 w 1092"/>
                <a:gd name="T61" fmla="*/ 67 h 1170"/>
                <a:gd name="T62" fmla="*/ 6 w 1092"/>
                <a:gd name="T63" fmla="*/ 62 h 1170"/>
                <a:gd name="T64" fmla="*/ 8 w 1092"/>
                <a:gd name="T65" fmla="*/ 58 h 1170"/>
                <a:gd name="T66" fmla="*/ 5 w 1092"/>
                <a:gd name="T67" fmla="*/ 54 h 1170"/>
                <a:gd name="T68" fmla="*/ 6 w 1092"/>
                <a:gd name="T69" fmla="*/ 50 h 1170"/>
                <a:gd name="T70" fmla="*/ 8 w 1092"/>
                <a:gd name="T71" fmla="*/ 46 h 1170"/>
                <a:gd name="T72" fmla="*/ 10 w 1092"/>
                <a:gd name="T73" fmla="*/ 43 h 1170"/>
                <a:gd name="T74" fmla="*/ 14 w 1092"/>
                <a:gd name="T75" fmla="*/ 38 h 1170"/>
                <a:gd name="T76" fmla="*/ 31 w 1092"/>
                <a:gd name="T77" fmla="*/ 40 h 1170"/>
                <a:gd name="T78" fmla="*/ 30 w 1092"/>
                <a:gd name="T79" fmla="*/ 46 h 1170"/>
                <a:gd name="T80" fmla="*/ 36 w 1092"/>
                <a:gd name="T81" fmla="*/ 47 h 1170"/>
                <a:gd name="T82" fmla="*/ 41 w 1092"/>
                <a:gd name="T83" fmla="*/ 44 h 1170"/>
                <a:gd name="T84" fmla="*/ 43 w 1092"/>
                <a:gd name="T85" fmla="*/ 39 h 1170"/>
                <a:gd name="T86" fmla="*/ 44 w 1092"/>
                <a:gd name="T87" fmla="*/ 35 h 1170"/>
                <a:gd name="T88" fmla="*/ 44 w 1092"/>
                <a:gd name="T89" fmla="*/ 29 h 1170"/>
                <a:gd name="T90" fmla="*/ 48 w 1092"/>
                <a:gd name="T91" fmla="*/ 24 h 1170"/>
                <a:gd name="T92" fmla="*/ 49 w 1092"/>
                <a:gd name="T93" fmla="*/ 19 h 1170"/>
                <a:gd name="T94" fmla="*/ 51 w 1092"/>
                <a:gd name="T95" fmla="*/ 14 h 1170"/>
                <a:gd name="T96" fmla="*/ 54 w 1092"/>
                <a:gd name="T97" fmla="*/ 10 h 1170"/>
                <a:gd name="T98" fmla="*/ 53 w 1092"/>
                <a:gd name="T99" fmla="*/ 7 h 1170"/>
                <a:gd name="T100" fmla="*/ 55 w 1092"/>
                <a:gd name="T101" fmla="*/ 3 h 1170"/>
                <a:gd name="T102" fmla="*/ 58 w 1092"/>
                <a:gd name="T103" fmla="*/ 0 h 1170"/>
                <a:gd name="T104" fmla="*/ 65 w 1092"/>
                <a:gd name="T105" fmla="*/ 2 h 1170"/>
                <a:gd name="T106" fmla="*/ 61 w 1092"/>
                <a:gd name="T107" fmla="*/ 6 h 1170"/>
                <a:gd name="T108" fmla="*/ 67 w 1092"/>
                <a:gd name="T109" fmla="*/ 7 h 1170"/>
                <a:gd name="T110" fmla="*/ 71 w 1092"/>
                <a:gd name="T111" fmla="*/ 6 h 1170"/>
                <a:gd name="T112" fmla="*/ 75 w 1092"/>
                <a:gd name="T113" fmla="*/ 9 h 1170"/>
                <a:gd name="T114" fmla="*/ 82 w 1092"/>
                <a:gd name="T115" fmla="*/ 12 h 1170"/>
                <a:gd name="T116" fmla="*/ 84 w 1092"/>
                <a:gd name="T117" fmla="*/ 17 h 1170"/>
                <a:gd name="T118" fmla="*/ 94 w 1092"/>
                <a:gd name="T119" fmla="*/ 23 h 1170"/>
                <a:gd name="T120" fmla="*/ 94 w 1092"/>
                <a:gd name="T121" fmla="*/ 34 h 1170"/>
                <a:gd name="T122" fmla="*/ 90 w 1092"/>
                <a:gd name="T123" fmla="*/ 41 h 1170"/>
                <a:gd name="T124" fmla="*/ 91 w 1092"/>
                <a:gd name="T125" fmla="*/ 51 h 11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92"/>
                <a:gd name="T190" fmla="*/ 0 h 1170"/>
                <a:gd name="T191" fmla="*/ 1092 w 1092"/>
                <a:gd name="T192" fmla="*/ 1170 h 117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92" h="1170">
                  <a:moveTo>
                    <a:pt x="1056" y="654"/>
                  </a:moveTo>
                  <a:lnTo>
                    <a:pt x="1062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0"/>
                  </a:lnTo>
                  <a:lnTo>
                    <a:pt x="1038" y="690"/>
                  </a:lnTo>
                  <a:lnTo>
                    <a:pt x="1032" y="690"/>
                  </a:lnTo>
                  <a:lnTo>
                    <a:pt x="1026" y="690"/>
                  </a:lnTo>
                  <a:lnTo>
                    <a:pt x="1020" y="690"/>
                  </a:lnTo>
                  <a:lnTo>
                    <a:pt x="1002" y="690"/>
                  </a:lnTo>
                  <a:lnTo>
                    <a:pt x="990" y="690"/>
                  </a:lnTo>
                  <a:lnTo>
                    <a:pt x="972" y="696"/>
                  </a:lnTo>
                  <a:lnTo>
                    <a:pt x="966" y="696"/>
                  </a:lnTo>
                  <a:lnTo>
                    <a:pt x="960" y="696"/>
                  </a:lnTo>
                  <a:lnTo>
                    <a:pt x="954" y="708"/>
                  </a:lnTo>
                  <a:lnTo>
                    <a:pt x="954" y="714"/>
                  </a:lnTo>
                  <a:lnTo>
                    <a:pt x="942" y="714"/>
                  </a:lnTo>
                  <a:lnTo>
                    <a:pt x="930" y="732"/>
                  </a:lnTo>
                  <a:lnTo>
                    <a:pt x="918" y="744"/>
                  </a:lnTo>
                  <a:lnTo>
                    <a:pt x="918" y="750"/>
                  </a:lnTo>
                  <a:lnTo>
                    <a:pt x="888" y="762"/>
                  </a:lnTo>
                  <a:lnTo>
                    <a:pt x="870" y="762"/>
                  </a:lnTo>
                  <a:lnTo>
                    <a:pt x="846" y="774"/>
                  </a:lnTo>
                  <a:lnTo>
                    <a:pt x="828" y="780"/>
                  </a:lnTo>
                  <a:lnTo>
                    <a:pt x="828" y="774"/>
                  </a:lnTo>
                  <a:lnTo>
                    <a:pt x="816" y="768"/>
                  </a:lnTo>
                  <a:lnTo>
                    <a:pt x="816" y="780"/>
                  </a:lnTo>
                  <a:lnTo>
                    <a:pt x="804" y="780"/>
                  </a:lnTo>
                  <a:lnTo>
                    <a:pt x="804" y="786"/>
                  </a:lnTo>
                  <a:lnTo>
                    <a:pt x="792" y="792"/>
                  </a:lnTo>
                  <a:lnTo>
                    <a:pt x="792" y="804"/>
                  </a:lnTo>
                  <a:lnTo>
                    <a:pt x="780" y="816"/>
                  </a:lnTo>
                  <a:lnTo>
                    <a:pt x="774" y="822"/>
                  </a:lnTo>
                  <a:lnTo>
                    <a:pt x="762" y="828"/>
                  </a:lnTo>
                  <a:lnTo>
                    <a:pt x="756" y="822"/>
                  </a:lnTo>
                  <a:lnTo>
                    <a:pt x="750" y="798"/>
                  </a:lnTo>
                  <a:lnTo>
                    <a:pt x="738" y="792"/>
                  </a:lnTo>
                  <a:lnTo>
                    <a:pt x="720" y="786"/>
                  </a:lnTo>
                  <a:lnTo>
                    <a:pt x="708" y="786"/>
                  </a:lnTo>
                  <a:lnTo>
                    <a:pt x="696" y="798"/>
                  </a:lnTo>
                  <a:lnTo>
                    <a:pt x="690" y="810"/>
                  </a:lnTo>
                  <a:lnTo>
                    <a:pt x="684" y="828"/>
                  </a:lnTo>
                  <a:lnTo>
                    <a:pt x="690" y="840"/>
                  </a:lnTo>
                  <a:lnTo>
                    <a:pt x="708" y="858"/>
                  </a:lnTo>
                  <a:lnTo>
                    <a:pt x="720" y="894"/>
                  </a:lnTo>
                  <a:lnTo>
                    <a:pt x="714" y="906"/>
                  </a:lnTo>
                  <a:lnTo>
                    <a:pt x="714" y="918"/>
                  </a:lnTo>
                  <a:lnTo>
                    <a:pt x="738" y="948"/>
                  </a:lnTo>
                  <a:lnTo>
                    <a:pt x="774" y="972"/>
                  </a:lnTo>
                  <a:lnTo>
                    <a:pt x="780" y="984"/>
                  </a:lnTo>
                  <a:lnTo>
                    <a:pt x="792" y="996"/>
                  </a:lnTo>
                  <a:lnTo>
                    <a:pt x="792" y="1026"/>
                  </a:lnTo>
                  <a:lnTo>
                    <a:pt x="780" y="1044"/>
                  </a:lnTo>
                  <a:lnTo>
                    <a:pt x="774" y="1050"/>
                  </a:lnTo>
                  <a:lnTo>
                    <a:pt x="768" y="1062"/>
                  </a:lnTo>
                  <a:lnTo>
                    <a:pt x="768" y="1068"/>
                  </a:lnTo>
                  <a:lnTo>
                    <a:pt x="762" y="1074"/>
                  </a:lnTo>
                  <a:lnTo>
                    <a:pt x="762" y="1080"/>
                  </a:lnTo>
                  <a:lnTo>
                    <a:pt x="756" y="1080"/>
                  </a:lnTo>
                  <a:lnTo>
                    <a:pt x="744" y="1086"/>
                  </a:lnTo>
                  <a:lnTo>
                    <a:pt x="744" y="1092"/>
                  </a:lnTo>
                  <a:lnTo>
                    <a:pt x="738" y="1092"/>
                  </a:lnTo>
                  <a:lnTo>
                    <a:pt x="726" y="1098"/>
                  </a:lnTo>
                  <a:lnTo>
                    <a:pt x="720" y="1104"/>
                  </a:lnTo>
                  <a:lnTo>
                    <a:pt x="714" y="1104"/>
                  </a:lnTo>
                  <a:lnTo>
                    <a:pt x="702" y="1116"/>
                  </a:lnTo>
                  <a:lnTo>
                    <a:pt x="696" y="1122"/>
                  </a:lnTo>
                  <a:lnTo>
                    <a:pt x="696" y="1134"/>
                  </a:lnTo>
                  <a:lnTo>
                    <a:pt x="690" y="1134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72" y="1146"/>
                  </a:lnTo>
                  <a:lnTo>
                    <a:pt x="672" y="1152"/>
                  </a:lnTo>
                  <a:lnTo>
                    <a:pt x="660" y="1152"/>
                  </a:lnTo>
                  <a:lnTo>
                    <a:pt x="642" y="1152"/>
                  </a:lnTo>
                  <a:lnTo>
                    <a:pt x="636" y="1152"/>
                  </a:lnTo>
                  <a:lnTo>
                    <a:pt x="630" y="1158"/>
                  </a:lnTo>
                  <a:lnTo>
                    <a:pt x="624" y="1164"/>
                  </a:lnTo>
                  <a:lnTo>
                    <a:pt x="618" y="1170"/>
                  </a:lnTo>
                  <a:lnTo>
                    <a:pt x="612" y="1170"/>
                  </a:lnTo>
                  <a:lnTo>
                    <a:pt x="600" y="1170"/>
                  </a:lnTo>
                  <a:lnTo>
                    <a:pt x="594" y="1170"/>
                  </a:lnTo>
                  <a:lnTo>
                    <a:pt x="588" y="1170"/>
                  </a:lnTo>
                  <a:lnTo>
                    <a:pt x="582" y="1170"/>
                  </a:lnTo>
                  <a:lnTo>
                    <a:pt x="582" y="1164"/>
                  </a:lnTo>
                  <a:lnTo>
                    <a:pt x="576" y="1158"/>
                  </a:lnTo>
                  <a:lnTo>
                    <a:pt x="570" y="1158"/>
                  </a:lnTo>
                  <a:lnTo>
                    <a:pt x="570" y="1152"/>
                  </a:lnTo>
                  <a:lnTo>
                    <a:pt x="570" y="1146"/>
                  </a:lnTo>
                  <a:lnTo>
                    <a:pt x="570" y="1140"/>
                  </a:lnTo>
                  <a:lnTo>
                    <a:pt x="564" y="1140"/>
                  </a:lnTo>
                  <a:lnTo>
                    <a:pt x="564" y="1134"/>
                  </a:lnTo>
                  <a:lnTo>
                    <a:pt x="564" y="1128"/>
                  </a:lnTo>
                  <a:lnTo>
                    <a:pt x="576" y="1104"/>
                  </a:lnTo>
                  <a:lnTo>
                    <a:pt x="582" y="1086"/>
                  </a:lnTo>
                  <a:lnTo>
                    <a:pt x="570" y="1068"/>
                  </a:lnTo>
                  <a:lnTo>
                    <a:pt x="534" y="1056"/>
                  </a:lnTo>
                  <a:lnTo>
                    <a:pt x="516" y="1026"/>
                  </a:lnTo>
                  <a:lnTo>
                    <a:pt x="492" y="1020"/>
                  </a:lnTo>
                  <a:lnTo>
                    <a:pt x="492" y="1014"/>
                  </a:lnTo>
                  <a:lnTo>
                    <a:pt x="480" y="1008"/>
                  </a:lnTo>
                  <a:lnTo>
                    <a:pt x="474" y="996"/>
                  </a:lnTo>
                  <a:lnTo>
                    <a:pt x="444" y="984"/>
                  </a:lnTo>
                  <a:lnTo>
                    <a:pt x="426" y="978"/>
                  </a:lnTo>
                  <a:lnTo>
                    <a:pt x="420" y="972"/>
                  </a:lnTo>
                  <a:lnTo>
                    <a:pt x="408" y="984"/>
                  </a:lnTo>
                  <a:lnTo>
                    <a:pt x="402" y="984"/>
                  </a:lnTo>
                  <a:lnTo>
                    <a:pt x="396" y="984"/>
                  </a:lnTo>
                  <a:lnTo>
                    <a:pt x="390" y="984"/>
                  </a:lnTo>
                  <a:lnTo>
                    <a:pt x="384" y="990"/>
                  </a:lnTo>
                  <a:lnTo>
                    <a:pt x="378" y="990"/>
                  </a:lnTo>
                  <a:lnTo>
                    <a:pt x="372" y="990"/>
                  </a:lnTo>
                  <a:lnTo>
                    <a:pt x="372" y="996"/>
                  </a:lnTo>
                  <a:lnTo>
                    <a:pt x="366" y="996"/>
                  </a:lnTo>
                  <a:lnTo>
                    <a:pt x="360" y="1002"/>
                  </a:lnTo>
                  <a:lnTo>
                    <a:pt x="360" y="1008"/>
                  </a:lnTo>
                  <a:lnTo>
                    <a:pt x="354" y="1008"/>
                  </a:lnTo>
                  <a:lnTo>
                    <a:pt x="342" y="1014"/>
                  </a:lnTo>
                  <a:lnTo>
                    <a:pt x="336" y="1020"/>
                  </a:lnTo>
                  <a:lnTo>
                    <a:pt x="336" y="1014"/>
                  </a:lnTo>
                  <a:lnTo>
                    <a:pt x="330" y="1014"/>
                  </a:lnTo>
                  <a:lnTo>
                    <a:pt x="330" y="1008"/>
                  </a:lnTo>
                  <a:lnTo>
                    <a:pt x="330" y="1002"/>
                  </a:lnTo>
                  <a:lnTo>
                    <a:pt x="324" y="1002"/>
                  </a:lnTo>
                  <a:lnTo>
                    <a:pt x="324" y="996"/>
                  </a:lnTo>
                  <a:lnTo>
                    <a:pt x="324" y="990"/>
                  </a:lnTo>
                  <a:lnTo>
                    <a:pt x="318" y="990"/>
                  </a:lnTo>
                  <a:lnTo>
                    <a:pt x="306" y="996"/>
                  </a:lnTo>
                  <a:lnTo>
                    <a:pt x="300" y="996"/>
                  </a:lnTo>
                  <a:lnTo>
                    <a:pt x="294" y="996"/>
                  </a:lnTo>
                  <a:lnTo>
                    <a:pt x="288" y="1002"/>
                  </a:lnTo>
                  <a:lnTo>
                    <a:pt x="282" y="990"/>
                  </a:lnTo>
                  <a:lnTo>
                    <a:pt x="276" y="984"/>
                  </a:lnTo>
                  <a:lnTo>
                    <a:pt x="270" y="990"/>
                  </a:lnTo>
                  <a:lnTo>
                    <a:pt x="270" y="996"/>
                  </a:lnTo>
                  <a:lnTo>
                    <a:pt x="270" y="1002"/>
                  </a:lnTo>
                  <a:lnTo>
                    <a:pt x="264" y="1008"/>
                  </a:lnTo>
                  <a:lnTo>
                    <a:pt x="252" y="996"/>
                  </a:lnTo>
                  <a:lnTo>
                    <a:pt x="246" y="996"/>
                  </a:lnTo>
                  <a:lnTo>
                    <a:pt x="234" y="1002"/>
                  </a:lnTo>
                  <a:lnTo>
                    <a:pt x="222" y="1002"/>
                  </a:lnTo>
                  <a:lnTo>
                    <a:pt x="210" y="1002"/>
                  </a:lnTo>
                  <a:lnTo>
                    <a:pt x="198" y="996"/>
                  </a:lnTo>
                  <a:lnTo>
                    <a:pt x="198" y="1002"/>
                  </a:lnTo>
                  <a:lnTo>
                    <a:pt x="198" y="1008"/>
                  </a:lnTo>
                  <a:lnTo>
                    <a:pt x="192" y="1020"/>
                  </a:lnTo>
                  <a:lnTo>
                    <a:pt x="198" y="1020"/>
                  </a:lnTo>
                  <a:lnTo>
                    <a:pt x="204" y="1020"/>
                  </a:lnTo>
                  <a:lnTo>
                    <a:pt x="210" y="1026"/>
                  </a:lnTo>
                  <a:lnTo>
                    <a:pt x="216" y="1026"/>
                  </a:lnTo>
                  <a:lnTo>
                    <a:pt x="216" y="1032"/>
                  </a:lnTo>
                  <a:lnTo>
                    <a:pt x="210" y="1032"/>
                  </a:lnTo>
                  <a:lnTo>
                    <a:pt x="210" y="1038"/>
                  </a:lnTo>
                  <a:lnTo>
                    <a:pt x="204" y="1038"/>
                  </a:lnTo>
                  <a:lnTo>
                    <a:pt x="204" y="1044"/>
                  </a:lnTo>
                  <a:lnTo>
                    <a:pt x="198" y="1044"/>
                  </a:lnTo>
                  <a:lnTo>
                    <a:pt x="192" y="1044"/>
                  </a:lnTo>
                  <a:lnTo>
                    <a:pt x="186" y="1050"/>
                  </a:lnTo>
                  <a:lnTo>
                    <a:pt x="186" y="1056"/>
                  </a:lnTo>
                  <a:lnTo>
                    <a:pt x="180" y="1056"/>
                  </a:lnTo>
                  <a:lnTo>
                    <a:pt x="180" y="1062"/>
                  </a:lnTo>
                  <a:lnTo>
                    <a:pt x="174" y="1062"/>
                  </a:lnTo>
                  <a:lnTo>
                    <a:pt x="168" y="1062"/>
                  </a:lnTo>
                  <a:lnTo>
                    <a:pt x="162" y="1062"/>
                  </a:lnTo>
                  <a:lnTo>
                    <a:pt x="156" y="1050"/>
                  </a:lnTo>
                  <a:lnTo>
                    <a:pt x="150" y="1044"/>
                  </a:lnTo>
                  <a:lnTo>
                    <a:pt x="150" y="1038"/>
                  </a:lnTo>
                  <a:lnTo>
                    <a:pt x="144" y="1032"/>
                  </a:lnTo>
                  <a:lnTo>
                    <a:pt x="144" y="1026"/>
                  </a:lnTo>
                  <a:lnTo>
                    <a:pt x="144" y="1014"/>
                  </a:lnTo>
                  <a:lnTo>
                    <a:pt x="150" y="1008"/>
                  </a:lnTo>
                  <a:lnTo>
                    <a:pt x="150" y="1002"/>
                  </a:lnTo>
                  <a:lnTo>
                    <a:pt x="156" y="984"/>
                  </a:lnTo>
                  <a:lnTo>
                    <a:pt x="162" y="978"/>
                  </a:lnTo>
                  <a:lnTo>
                    <a:pt x="162" y="972"/>
                  </a:lnTo>
                  <a:lnTo>
                    <a:pt x="150" y="966"/>
                  </a:lnTo>
                  <a:lnTo>
                    <a:pt x="144" y="966"/>
                  </a:lnTo>
                  <a:lnTo>
                    <a:pt x="138" y="966"/>
                  </a:lnTo>
                  <a:lnTo>
                    <a:pt x="138" y="954"/>
                  </a:lnTo>
                  <a:lnTo>
                    <a:pt x="132" y="954"/>
                  </a:lnTo>
                  <a:lnTo>
                    <a:pt x="138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8" y="924"/>
                  </a:lnTo>
                  <a:lnTo>
                    <a:pt x="132" y="930"/>
                  </a:lnTo>
                  <a:lnTo>
                    <a:pt x="132" y="924"/>
                  </a:lnTo>
                  <a:lnTo>
                    <a:pt x="126" y="918"/>
                  </a:lnTo>
                  <a:lnTo>
                    <a:pt x="132" y="918"/>
                  </a:lnTo>
                  <a:lnTo>
                    <a:pt x="132" y="912"/>
                  </a:lnTo>
                  <a:lnTo>
                    <a:pt x="126" y="912"/>
                  </a:lnTo>
                  <a:lnTo>
                    <a:pt x="120" y="912"/>
                  </a:lnTo>
                  <a:lnTo>
                    <a:pt x="120" y="918"/>
                  </a:lnTo>
                  <a:lnTo>
                    <a:pt x="114" y="918"/>
                  </a:lnTo>
                  <a:lnTo>
                    <a:pt x="114" y="912"/>
                  </a:lnTo>
                  <a:lnTo>
                    <a:pt x="108" y="912"/>
                  </a:lnTo>
                  <a:lnTo>
                    <a:pt x="102" y="912"/>
                  </a:lnTo>
                  <a:lnTo>
                    <a:pt x="108" y="906"/>
                  </a:lnTo>
                  <a:lnTo>
                    <a:pt x="102" y="906"/>
                  </a:lnTo>
                  <a:lnTo>
                    <a:pt x="96" y="906"/>
                  </a:lnTo>
                  <a:lnTo>
                    <a:pt x="96" y="912"/>
                  </a:lnTo>
                  <a:lnTo>
                    <a:pt x="90" y="918"/>
                  </a:lnTo>
                  <a:lnTo>
                    <a:pt x="90" y="912"/>
                  </a:lnTo>
                  <a:lnTo>
                    <a:pt x="84" y="912"/>
                  </a:lnTo>
                  <a:lnTo>
                    <a:pt x="84" y="918"/>
                  </a:lnTo>
                  <a:lnTo>
                    <a:pt x="78" y="918"/>
                  </a:lnTo>
                  <a:lnTo>
                    <a:pt x="78" y="912"/>
                  </a:lnTo>
                  <a:lnTo>
                    <a:pt x="78" y="906"/>
                  </a:lnTo>
                  <a:lnTo>
                    <a:pt x="72" y="900"/>
                  </a:lnTo>
                  <a:lnTo>
                    <a:pt x="78" y="900"/>
                  </a:lnTo>
                  <a:lnTo>
                    <a:pt x="72" y="900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8" y="888"/>
                  </a:lnTo>
                  <a:lnTo>
                    <a:pt x="72" y="888"/>
                  </a:lnTo>
                  <a:lnTo>
                    <a:pt x="72" y="882"/>
                  </a:lnTo>
                  <a:lnTo>
                    <a:pt x="66" y="876"/>
                  </a:lnTo>
                  <a:lnTo>
                    <a:pt x="60" y="882"/>
                  </a:lnTo>
                  <a:lnTo>
                    <a:pt x="54" y="876"/>
                  </a:lnTo>
                  <a:lnTo>
                    <a:pt x="54" y="882"/>
                  </a:lnTo>
                  <a:lnTo>
                    <a:pt x="48" y="882"/>
                  </a:lnTo>
                  <a:lnTo>
                    <a:pt x="42" y="870"/>
                  </a:lnTo>
                  <a:lnTo>
                    <a:pt x="42" y="864"/>
                  </a:lnTo>
                  <a:lnTo>
                    <a:pt x="36" y="858"/>
                  </a:lnTo>
                  <a:lnTo>
                    <a:pt x="36" y="852"/>
                  </a:lnTo>
                  <a:lnTo>
                    <a:pt x="30" y="852"/>
                  </a:lnTo>
                  <a:lnTo>
                    <a:pt x="30" y="846"/>
                  </a:lnTo>
                  <a:lnTo>
                    <a:pt x="24" y="846"/>
                  </a:lnTo>
                  <a:lnTo>
                    <a:pt x="18" y="840"/>
                  </a:lnTo>
                  <a:lnTo>
                    <a:pt x="12" y="834"/>
                  </a:lnTo>
                  <a:lnTo>
                    <a:pt x="0" y="828"/>
                  </a:lnTo>
                  <a:lnTo>
                    <a:pt x="0" y="822"/>
                  </a:lnTo>
                  <a:lnTo>
                    <a:pt x="0" y="816"/>
                  </a:lnTo>
                  <a:lnTo>
                    <a:pt x="0" y="810"/>
                  </a:lnTo>
                  <a:lnTo>
                    <a:pt x="6" y="804"/>
                  </a:lnTo>
                  <a:lnTo>
                    <a:pt x="12" y="804"/>
                  </a:lnTo>
                  <a:lnTo>
                    <a:pt x="12" y="798"/>
                  </a:lnTo>
                  <a:lnTo>
                    <a:pt x="12" y="792"/>
                  </a:lnTo>
                  <a:lnTo>
                    <a:pt x="6" y="792"/>
                  </a:lnTo>
                  <a:lnTo>
                    <a:pt x="6" y="786"/>
                  </a:lnTo>
                  <a:lnTo>
                    <a:pt x="6" y="780"/>
                  </a:lnTo>
                  <a:lnTo>
                    <a:pt x="18" y="780"/>
                  </a:lnTo>
                  <a:lnTo>
                    <a:pt x="18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0" y="774"/>
                  </a:lnTo>
                  <a:lnTo>
                    <a:pt x="36" y="768"/>
                  </a:lnTo>
                  <a:lnTo>
                    <a:pt x="42" y="768"/>
                  </a:lnTo>
                  <a:lnTo>
                    <a:pt x="60" y="750"/>
                  </a:lnTo>
                  <a:lnTo>
                    <a:pt x="60" y="744"/>
                  </a:lnTo>
                  <a:lnTo>
                    <a:pt x="54" y="738"/>
                  </a:lnTo>
                  <a:lnTo>
                    <a:pt x="60" y="732"/>
                  </a:lnTo>
                  <a:lnTo>
                    <a:pt x="54" y="732"/>
                  </a:lnTo>
                  <a:lnTo>
                    <a:pt x="60" y="726"/>
                  </a:lnTo>
                  <a:lnTo>
                    <a:pt x="66" y="720"/>
                  </a:lnTo>
                  <a:lnTo>
                    <a:pt x="72" y="714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84" y="696"/>
                  </a:lnTo>
                  <a:lnTo>
                    <a:pt x="90" y="684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66"/>
                  </a:lnTo>
                  <a:lnTo>
                    <a:pt x="90" y="660"/>
                  </a:lnTo>
                  <a:lnTo>
                    <a:pt x="84" y="654"/>
                  </a:lnTo>
                  <a:lnTo>
                    <a:pt x="84" y="648"/>
                  </a:lnTo>
                  <a:lnTo>
                    <a:pt x="78" y="636"/>
                  </a:lnTo>
                  <a:lnTo>
                    <a:pt x="66" y="630"/>
                  </a:lnTo>
                  <a:lnTo>
                    <a:pt x="66" y="624"/>
                  </a:lnTo>
                  <a:lnTo>
                    <a:pt x="60" y="624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60" y="600"/>
                  </a:lnTo>
                  <a:lnTo>
                    <a:pt x="66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6" y="588"/>
                  </a:lnTo>
                  <a:lnTo>
                    <a:pt x="66" y="582"/>
                  </a:lnTo>
                  <a:lnTo>
                    <a:pt x="72" y="582"/>
                  </a:lnTo>
                  <a:lnTo>
                    <a:pt x="78" y="576"/>
                  </a:lnTo>
                  <a:lnTo>
                    <a:pt x="72" y="576"/>
                  </a:lnTo>
                  <a:lnTo>
                    <a:pt x="66" y="570"/>
                  </a:lnTo>
                  <a:lnTo>
                    <a:pt x="72" y="564"/>
                  </a:lnTo>
                  <a:lnTo>
                    <a:pt x="78" y="558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90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102" y="516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0" y="504"/>
                  </a:lnTo>
                  <a:lnTo>
                    <a:pt x="120" y="498"/>
                  </a:lnTo>
                  <a:lnTo>
                    <a:pt x="120" y="492"/>
                  </a:lnTo>
                  <a:lnTo>
                    <a:pt x="126" y="480"/>
                  </a:lnTo>
                  <a:lnTo>
                    <a:pt x="132" y="474"/>
                  </a:lnTo>
                  <a:lnTo>
                    <a:pt x="132" y="468"/>
                  </a:lnTo>
                  <a:lnTo>
                    <a:pt x="138" y="462"/>
                  </a:lnTo>
                  <a:lnTo>
                    <a:pt x="138" y="456"/>
                  </a:lnTo>
                  <a:lnTo>
                    <a:pt x="138" y="450"/>
                  </a:lnTo>
                  <a:lnTo>
                    <a:pt x="144" y="444"/>
                  </a:lnTo>
                  <a:lnTo>
                    <a:pt x="162" y="438"/>
                  </a:lnTo>
                  <a:lnTo>
                    <a:pt x="186" y="438"/>
                  </a:lnTo>
                  <a:lnTo>
                    <a:pt x="210" y="444"/>
                  </a:lnTo>
                  <a:lnTo>
                    <a:pt x="276" y="450"/>
                  </a:lnTo>
                  <a:lnTo>
                    <a:pt x="342" y="450"/>
                  </a:lnTo>
                  <a:lnTo>
                    <a:pt x="348" y="450"/>
                  </a:lnTo>
                  <a:lnTo>
                    <a:pt x="354" y="450"/>
                  </a:lnTo>
                  <a:lnTo>
                    <a:pt x="360" y="456"/>
                  </a:lnTo>
                  <a:lnTo>
                    <a:pt x="354" y="462"/>
                  </a:lnTo>
                  <a:lnTo>
                    <a:pt x="354" y="468"/>
                  </a:lnTo>
                  <a:lnTo>
                    <a:pt x="354" y="474"/>
                  </a:lnTo>
                  <a:lnTo>
                    <a:pt x="348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48" y="498"/>
                  </a:lnTo>
                  <a:lnTo>
                    <a:pt x="342" y="510"/>
                  </a:lnTo>
                  <a:lnTo>
                    <a:pt x="348" y="528"/>
                  </a:lnTo>
                  <a:lnTo>
                    <a:pt x="348" y="534"/>
                  </a:lnTo>
                  <a:lnTo>
                    <a:pt x="354" y="552"/>
                  </a:lnTo>
                  <a:lnTo>
                    <a:pt x="366" y="546"/>
                  </a:lnTo>
                  <a:lnTo>
                    <a:pt x="372" y="540"/>
                  </a:lnTo>
                  <a:lnTo>
                    <a:pt x="384" y="540"/>
                  </a:lnTo>
                  <a:lnTo>
                    <a:pt x="396" y="534"/>
                  </a:lnTo>
                  <a:lnTo>
                    <a:pt x="402" y="534"/>
                  </a:lnTo>
                  <a:lnTo>
                    <a:pt x="414" y="546"/>
                  </a:lnTo>
                  <a:lnTo>
                    <a:pt x="432" y="540"/>
                  </a:lnTo>
                  <a:lnTo>
                    <a:pt x="450" y="534"/>
                  </a:lnTo>
                  <a:lnTo>
                    <a:pt x="450" y="528"/>
                  </a:lnTo>
                  <a:lnTo>
                    <a:pt x="456" y="528"/>
                  </a:lnTo>
                  <a:lnTo>
                    <a:pt x="456" y="522"/>
                  </a:lnTo>
                  <a:lnTo>
                    <a:pt x="456" y="516"/>
                  </a:lnTo>
                  <a:lnTo>
                    <a:pt x="462" y="516"/>
                  </a:lnTo>
                  <a:lnTo>
                    <a:pt x="468" y="510"/>
                  </a:lnTo>
                  <a:lnTo>
                    <a:pt x="468" y="504"/>
                  </a:lnTo>
                  <a:lnTo>
                    <a:pt x="474" y="504"/>
                  </a:lnTo>
                  <a:lnTo>
                    <a:pt x="480" y="504"/>
                  </a:lnTo>
                  <a:lnTo>
                    <a:pt x="486" y="498"/>
                  </a:lnTo>
                  <a:lnTo>
                    <a:pt x="492" y="498"/>
                  </a:lnTo>
                  <a:lnTo>
                    <a:pt x="486" y="480"/>
                  </a:lnTo>
                  <a:lnTo>
                    <a:pt x="492" y="462"/>
                  </a:lnTo>
                  <a:lnTo>
                    <a:pt x="498" y="444"/>
                  </a:lnTo>
                  <a:lnTo>
                    <a:pt x="498" y="426"/>
                  </a:lnTo>
                  <a:lnTo>
                    <a:pt x="498" y="420"/>
                  </a:lnTo>
                  <a:lnTo>
                    <a:pt x="504" y="426"/>
                  </a:lnTo>
                  <a:lnTo>
                    <a:pt x="504" y="420"/>
                  </a:lnTo>
                  <a:lnTo>
                    <a:pt x="510" y="420"/>
                  </a:lnTo>
                  <a:lnTo>
                    <a:pt x="510" y="414"/>
                  </a:lnTo>
                  <a:lnTo>
                    <a:pt x="510" y="408"/>
                  </a:lnTo>
                  <a:lnTo>
                    <a:pt x="504" y="402"/>
                  </a:lnTo>
                  <a:lnTo>
                    <a:pt x="504" y="396"/>
                  </a:lnTo>
                  <a:lnTo>
                    <a:pt x="504" y="384"/>
                  </a:lnTo>
                  <a:lnTo>
                    <a:pt x="504" y="378"/>
                  </a:lnTo>
                  <a:lnTo>
                    <a:pt x="504" y="360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510" y="348"/>
                  </a:lnTo>
                  <a:lnTo>
                    <a:pt x="510" y="336"/>
                  </a:lnTo>
                  <a:lnTo>
                    <a:pt x="516" y="330"/>
                  </a:lnTo>
                  <a:lnTo>
                    <a:pt x="522" y="324"/>
                  </a:lnTo>
                  <a:lnTo>
                    <a:pt x="528" y="318"/>
                  </a:lnTo>
                  <a:lnTo>
                    <a:pt x="534" y="312"/>
                  </a:lnTo>
                  <a:lnTo>
                    <a:pt x="534" y="300"/>
                  </a:lnTo>
                  <a:lnTo>
                    <a:pt x="540" y="294"/>
                  </a:lnTo>
                  <a:lnTo>
                    <a:pt x="546" y="288"/>
                  </a:lnTo>
                  <a:lnTo>
                    <a:pt x="552" y="276"/>
                  </a:lnTo>
                  <a:lnTo>
                    <a:pt x="558" y="264"/>
                  </a:lnTo>
                  <a:lnTo>
                    <a:pt x="558" y="258"/>
                  </a:lnTo>
                  <a:lnTo>
                    <a:pt x="558" y="252"/>
                  </a:lnTo>
                  <a:lnTo>
                    <a:pt x="558" y="246"/>
                  </a:lnTo>
                  <a:lnTo>
                    <a:pt x="564" y="246"/>
                  </a:lnTo>
                  <a:lnTo>
                    <a:pt x="564" y="240"/>
                  </a:lnTo>
                  <a:lnTo>
                    <a:pt x="570" y="234"/>
                  </a:lnTo>
                  <a:lnTo>
                    <a:pt x="564" y="216"/>
                  </a:lnTo>
                  <a:lnTo>
                    <a:pt x="564" y="210"/>
                  </a:lnTo>
                  <a:lnTo>
                    <a:pt x="570" y="210"/>
                  </a:lnTo>
                  <a:lnTo>
                    <a:pt x="570" y="204"/>
                  </a:lnTo>
                  <a:lnTo>
                    <a:pt x="570" y="198"/>
                  </a:lnTo>
                  <a:lnTo>
                    <a:pt x="582" y="180"/>
                  </a:lnTo>
                  <a:lnTo>
                    <a:pt x="582" y="174"/>
                  </a:lnTo>
                  <a:lnTo>
                    <a:pt x="582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606" y="150"/>
                  </a:lnTo>
                  <a:lnTo>
                    <a:pt x="612" y="150"/>
                  </a:lnTo>
                  <a:lnTo>
                    <a:pt x="618" y="150"/>
                  </a:lnTo>
                  <a:lnTo>
                    <a:pt x="624" y="138"/>
                  </a:lnTo>
                  <a:lnTo>
                    <a:pt x="618" y="132"/>
                  </a:lnTo>
                  <a:lnTo>
                    <a:pt x="618" y="126"/>
                  </a:lnTo>
                  <a:lnTo>
                    <a:pt x="618" y="120"/>
                  </a:lnTo>
                  <a:lnTo>
                    <a:pt x="618" y="114"/>
                  </a:lnTo>
                  <a:lnTo>
                    <a:pt x="612" y="108"/>
                  </a:lnTo>
                  <a:lnTo>
                    <a:pt x="612" y="102"/>
                  </a:lnTo>
                  <a:lnTo>
                    <a:pt x="618" y="90"/>
                  </a:lnTo>
                  <a:lnTo>
                    <a:pt x="624" y="84"/>
                  </a:lnTo>
                  <a:lnTo>
                    <a:pt x="618" y="84"/>
                  </a:lnTo>
                  <a:lnTo>
                    <a:pt x="618" y="78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0" y="72"/>
                  </a:lnTo>
                  <a:lnTo>
                    <a:pt x="600" y="66"/>
                  </a:lnTo>
                  <a:lnTo>
                    <a:pt x="600" y="60"/>
                  </a:lnTo>
                  <a:lnTo>
                    <a:pt x="600" y="48"/>
                  </a:lnTo>
                  <a:lnTo>
                    <a:pt x="612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36"/>
                  </a:lnTo>
                  <a:lnTo>
                    <a:pt x="630" y="30"/>
                  </a:lnTo>
                  <a:lnTo>
                    <a:pt x="636" y="24"/>
                  </a:lnTo>
                  <a:lnTo>
                    <a:pt x="642" y="24"/>
                  </a:lnTo>
                  <a:lnTo>
                    <a:pt x="648" y="24"/>
                  </a:lnTo>
                  <a:lnTo>
                    <a:pt x="648" y="18"/>
                  </a:lnTo>
                  <a:lnTo>
                    <a:pt x="654" y="12"/>
                  </a:lnTo>
                  <a:lnTo>
                    <a:pt x="660" y="0"/>
                  </a:lnTo>
                  <a:lnTo>
                    <a:pt x="678" y="0"/>
                  </a:lnTo>
                  <a:lnTo>
                    <a:pt x="696" y="0"/>
                  </a:lnTo>
                  <a:lnTo>
                    <a:pt x="702" y="0"/>
                  </a:lnTo>
                  <a:lnTo>
                    <a:pt x="714" y="0"/>
                  </a:lnTo>
                  <a:lnTo>
                    <a:pt x="720" y="6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44" y="24"/>
                  </a:lnTo>
                  <a:lnTo>
                    <a:pt x="744" y="30"/>
                  </a:lnTo>
                  <a:lnTo>
                    <a:pt x="732" y="42"/>
                  </a:lnTo>
                  <a:lnTo>
                    <a:pt x="726" y="42"/>
                  </a:lnTo>
                  <a:lnTo>
                    <a:pt x="720" y="42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54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90"/>
                  </a:lnTo>
                  <a:lnTo>
                    <a:pt x="726" y="84"/>
                  </a:lnTo>
                  <a:lnTo>
                    <a:pt x="738" y="84"/>
                  </a:lnTo>
                  <a:lnTo>
                    <a:pt x="750" y="96"/>
                  </a:lnTo>
                  <a:lnTo>
                    <a:pt x="768" y="96"/>
                  </a:lnTo>
                  <a:lnTo>
                    <a:pt x="768" y="90"/>
                  </a:lnTo>
                  <a:lnTo>
                    <a:pt x="774" y="84"/>
                  </a:lnTo>
                  <a:lnTo>
                    <a:pt x="780" y="78"/>
                  </a:lnTo>
                  <a:lnTo>
                    <a:pt x="786" y="78"/>
                  </a:lnTo>
                  <a:lnTo>
                    <a:pt x="792" y="72"/>
                  </a:lnTo>
                  <a:lnTo>
                    <a:pt x="804" y="72"/>
                  </a:lnTo>
                  <a:lnTo>
                    <a:pt x="804" y="66"/>
                  </a:lnTo>
                  <a:lnTo>
                    <a:pt x="810" y="66"/>
                  </a:lnTo>
                  <a:lnTo>
                    <a:pt x="810" y="72"/>
                  </a:lnTo>
                  <a:lnTo>
                    <a:pt x="816" y="66"/>
                  </a:lnTo>
                  <a:lnTo>
                    <a:pt x="828" y="66"/>
                  </a:lnTo>
                  <a:lnTo>
                    <a:pt x="834" y="72"/>
                  </a:lnTo>
                  <a:lnTo>
                    <a:pt x="840" y="72"/>
                  </a:lnTo>
                  <a:lnTo>
                    <a:pt x="840" y="78"/>
                  </a:lnTo>
                  <a:lnTo>
                    <a:pt x="840" y="84"/>
                  </a:lnTo>
                  <a:lnTo>
                    <a:pt x="852" y="84"/>
                  </a:lnTo>
                  <a:lnTo>
                    <a:pt x="858" y="96"/>
                  </a:lnTo>
                  <a:lnTo>
                    <a:pt x="864" y="108"/>
                  </a:lnTo>
                  <a:lnTo>
                    <a:pt x="876" y="114"/>
                  </a:lnTo>
                  <a:lnTo>
                    <a:pt x="894" y="114"/>
                  </a:lnTo>
                  <a:lnTo>
                    <a:pt x="906" y="114"/>
                  </a:lnTo>
                  <a:lnTo>
                    <a:pt x="906" y="126"/>
                  </a:lnTo>
                  <a:lnTo>
                    <a:pt x="912" y="144"/>
                  </a:lnTo>
                  <a:lnTo>
                    <a:pt x="930" y="138"/>
                  </a:lnTo>
                  <a:lnTo>
                    <a:pt x="936" y="138"/>
                  </a:lnTo>
                  <a:lnTo>
                    <a:pt x="942" y="144"/>
                  </a:lnTo>
                  <a:lnTo>
                    <a:pt x="948" y="150"/>
                  </a:lnTo>
                  <a:lnTo>
                    <a:pt x="954" y="156"/>
                  </a:lnTo>
                  <a:lnTo>
                    <a:pt x="954" y="168"/>
                  </a:lnTo>
                  <a:lnTo>
                    <a:pt x="954" y="174"/>
                  </a:lnTo>
                  <a:lnTo>
                    <a:pt x="960" y="180"/>
                  </a:lnTo>
                  <a:lnTo>
                    <a:pt x="966" y="186"/>
                  </a:lnTo>
                  <a:lnTo>
                    <a:pt x="960" y="186"/>
                  </a:lnTo>
                  <a:lnTo>
                    <a:pt x="966" y="192"/>
                  </a:lnTo>
                  <a:lnTo>
                    <a:pt x="966" y="198"/>
                  </a:lnTo>
                  <a:lnTo>
                    <a:pt x="978" y="204"/>
                  </a:lnTo>
                  <a:lnTo>
                    <a:pt x="1050" y="186"/>
                  </a:lnTo>
                  <a:lnTo>
                    <a:pt x="1056" y="198"/>
                  </a:lnTo>
                  <a:lnTo>
                    <a:pt x="1068" y="210"/>
                  </a:lnTo>
                  <a:lnTo>
                    <a:pt x="1074" y="216"/>
                  </a:lnTo>
                  <a:lnTo>
                    <a:pt x="1080" y="252"/>
                  </a:lnTo>
                  <a:lnTo>
                    <a:pt x="1086" y="270"/>
                  </a:lnTo>
                  <a:lnTo>
                    <a:pt x="1092" y="282"/>
                  </a:lnTo>
                  <a:lnTo>
                    <a:pt x="1086" y="300"/>
                  </a:lnTo>
                  <a:lnTo>
                    <a:pt x="1074" y="330"/>
                  </a:lnTo>
                  <a:lnTo>
                    <a:pt x="1068" y="336"/>
                  </a:lnTo>
                  <a:lnTo>
                    <a:pt x="1062" y="348"/>
                  </a:lnTo>
                  <a:lnTo>
                    <a:pt x="1062" y="360"/>
                  </a:lnTo>
                  <a:lnTo>
                    <a:pt x="1068" y="378"/>
                  </a:lnTo>
                  <a:lnTo>
                    <a:pt x="1074" y="390"/>
                  </a:lnTo>
                  <a:lnTo>
                    <a:pt x="1068" y="396"/>
                  </a:lnTo>
                  <a:lnTo>
                    <a:pt x="1068" y="408"/>
                  </a:lnTo>
                  <a:lnTo>
                    <a:pt x="1062" y="414"/>
                  </a:lnTo>
                  <a:lnTo>
                    <a:pt x="1050" y="432"/>
                  </a:lnTo>
                  <a:lnTo>
                    <a:pt x="1044" y="450"/>
                  </a:lnTo>
                  <a:lnTo>
                    <a:pt x="1038" y="456"/>
                  </a:lnTo>
                  <a:lnTo>
                    <a:pt x="1026" y="468"/>
                  </a:lnTo>
                  <a:lnTo>
                    <a:pt x="1026" y="474"/>
                  </a:lnTo>
                  <a:lnTo>
                    <a:pt x="1026" y="480"/>
                  </a:lnTo>
                  <a:lnTo>
                    <a:pt x="1032" y="492"/>
                  </a:lnTo>
                  <a:lnTo>
                    <a:pt x="1044" y="504"/>
                  </a:lnTo>
                  <a:lnTo>
                    <a:pt x="1044" y="516"/>
                  </a:lnTo>
                  <a:lnTo>
                    <a:pt x="1038" y="528"/>
                  </a:lnTo>
                  <a:lnTo>
                    <a:pt x="1032" y="546"/>
                  </a:lnTo>
                  <a:lnTo>
                    <a:pt x="1032" y="570"/>
                  </a:lnTo>
                  <a:lnTo>
                    <a:pt x="1050" y="594"/>
                  </a:lnTo>
                  <a:lnTo>
                    <a:pt x="1056" y="624"/>
                  </a:lnTo>
                  <a:lnTo>
                    <a:pt x="1056" y="65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9" name="Freeform 24">
              <a:extLst>
                <a:ext uri="{FF2B5EF4-FFF2-40B4-BE49-F238E27FC236}">
                  <a16:creationId xmlns:a16="http://schemas.microsoft.com/office/drawing/2014/main" id="{CAE689DA-332A-4F73-BDE6-8865C9170AA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84829" y="3213406"/>
              <a:ext cx="851989" cy="744754"/>
            </a:xfrm>
            <a:custGeom>
              <a:avLst/>
              <a:gdLst>
                <a:gd name="T0" fmla="*/ 116 w 1602"/>
                <a:gd name="T1" fmla="*/ 91 h 1404"/>
                <a:gd name="T2" fmla="*/ 111 w 1602"/>
                <a:gd name="T3" fmla="*/ 95 h 1404"/>
                <a:gd name="T4" fmla="*/ 102 w 1602"/>
                <a:gd name="T5" fmla="*/ 101 h 1404"/>
                <a:gd name="T6" fmla="*/ 99 w 1602"/>
                <a:gd name="T7" fmla="*/ 103 h 1404"/>
                <a:gd name="T8" fmla="*/ 96 w 1602"/>
                <a:gd name="T9" fmla="*/ 106 h 1404"/>
                <a:gd name="T10" fmla="*/ 93 w 1602"/>
                <a:gd name="T11" fmla="*/ 108 h 1404"/>
                <a:gd name="T12" fmla="*/ 88 w 1602"/>
                <a:gd name="T13" fmla="*/ 106 h 1404"/>
                <a:gd name="T14" fmla="*/ 86 w 1602"/>
                <a:gd name="T15" fmla="*/ 108 h 1404"/>
                <a:gd name="T16" fmla="*/ 81 w 1602"/>
                <a:gd name="T17" fmla="*/ 119 h 1404"/>
                <a:gd name="T18" fmla="*/ 71 w 1602"/>
                <a:gd name="T19" fmla="*/ 109 h 1404"/>
                <a:gd name="T20" fmla="*/ 72 w 1602"/>
                <a:gd name="T21" fmla="*/ 101 h 1404"/>
                <a:gd name="T22" fmla="*/ 74 w 1602"/>
                <a:gd name="T23" fmla="*/ 93 h 1404"/>
                <a:gd name="T24" fmla="*/ 73 w 1602"/>
                <a:gd name="T25" fmla="*/ 82 h 1404"/>
                <a:gd name="T26" fmla="*/ 64 w 1602"/>
                <a:gd name="T27" fmla="*/ 79 h 1404"/>
                <a:gd name="T28" fmla="*/ 59 w 1602"/>
                <a:gd name="T29" fmla="*/ 75 h 1404"/>
                <a:gd name="T30" fmla="*/ 54 w 1602"/>
                <a:gd name="T31" fmla="*/ 71 h 1404"/>
                <a:gd name="T32" fmla="*/ 51 w 1602"/>
                <a:gd name="T33" fmla="*/ 70 h 1404"/>
                <a:gd name="T34" fmla="*/ 45 w 1602"/>
                <a:gd name="T35" fmla="*/ 71 h 1404"/>
                <a:gd name="T36" fmla="*/ 43 w 1602"/>
                <a:gd name="T37" fmla="*/ 68 h 1404"/>
                <a:gd name="T38" fmla="*/ 43 w 1602"/>
                <a:gd name="T39" fmla="*/ 64 h 1404"/>
                <a:gd name="T40" fmla="*/ 36 w 1602"/>
                <a:gd name="T41" fmla="*/ 66 h 1404"/>
                <a:gd name="T42" fmla="*/ 31 w 1602"/>
                <a:gd name="T43" fmla="*/ 55 h 1404"/>
                <a:gd name="T44" fmla="*/ 25 w 1602"/>
                <a:gd name="T45" fmla="*/ 53 h 1404"/>
                <a:gd name="T46" fmla="*/ 19 w 1602"/>
                <a:gd name="T47" fmla="*/ 51 h 1404"/>
                <a:gd name="T48" fmla="*/ 17 w 1602"/>
                <a:gd name="T49" fmla="*/ 43 h 1404"/>
                <a:gd name="T50" fmla="*/ 17 w 1602"/>
                <a:gd name="T51" fmla="*/ 39 h 1404"/>
                <a:gd name="T52" fmla="*/ 12 w 1602"/>
                <a:gd name="T53" fmla="*/ 39 h 1404"/>
                <a:gd name="T54" fmla="*/ 10 w 1602"/>
                <a:gd name="T55" fmla="*/ 35 h 1404"/>
                <a:gd name="T56" fmla="*/ 5 w 1602"/>
                <a:gd name="T57" fmla="*/ 30 h 1404"/>
                <a:gd name="T58" fmla="*/ 3 w 1602"/>
                <a:gd name="T59" fmla="*/ 27 h 1404"/>
                <a:gd name="T60" fmla="*/ 2 w 1602"/>
                <a:gd name="T61" fmla="*/ 25 h 1404"/>
                <a:gd name="T62" fmla="*/ 0 w 1602"/>
                <a:gd name="T63" fmla="*/ 22 h 1404"/>
                <a:gd name="T64" fmla="*/ 8 w 1602"/>
                <a:gd name="T65" fmla="*/ 14 h 1404"/>
                <a:gd name="T66" fmla="*/ 16 w 1602"/>
                <a:gd name="T67" fmla="*/ 16 h 1404"/>
                <a:gd name="T68" fmla="*/ 31 w 1602"/>
                <a:gd name="T69" fmla="*/ 18 h 1404"/>
                <a:gd name="T70" fmla="*/ 43 w 1602"/>
                <a:gd name="T71" fmla="*/ 17 h 1404"/>
                <a:gd name="T72" fmla="*/ 47 w 1602"/>
                <a:gd name="T73" fmla="*/ 6 h 1404"/>
                <a:gd name="T74" fmla="*/ 52 w 1602"/>
                <a:gd name="T75" fmla="*/ 0 h 1404"/>
                <a:gd name="T76" fmla="*/ 55 w 1602"/>
                <a:gd name="T77" fmla="*/ 3 h 1404"/>
                <a:gd name="T78" fmla="*/ 59 w 1602"/>
                <a:gd name="T79" fmla="*/ 9 h 1404"/>
                <a:gd name="T80" fmla="*/ 62 w 1602"/>
                <a:gd name="T81" fmla="*/ 16 h 1404"/>
                <a:gd name="T82" fmla="*/ 66 w 1602"/>
                <a:gd name="T83" fmla="*/ 20 h 1404"/>
                <a:gd name="T84" fmla="*/ 70 w 1602"/>
                <a:gd name="T85" fmla="*/ 25 h 1404"/>
                <a:gd name="T86" fmla="*/ 74 w 1602"/>
                <a:gd name="T87" fmla="*/ 30 h 1404"/>
                <a:gd name="T88" fmla="*/ 76 w 1602"/>
                <a:gd name="T89" fmla="*/ 27 h 1404"/>
                <a:gd name="T90" fmla="*/ 78 w 1602"/>
                <a:gd name="T91" fmla="*/ 27 h 1404"/>
                <a:gd name="T92" fmla="*/ 78 w 1602"/>
                <a:gd name="T93" fmla="*/ 23 h 1404"/>
                <a:gd name="T94" fmla="*/ 82 w 1602"/>
                <a:gd name="T95" fmla="*/ 20 h 1404"/>
                <a:gd name="T96" fmla="*/ 82 w 1602"/>
                <a:gd name="T97" fmla="*/ 18 h 1404"/>
                <a:gd name="T98" fmla="*/ 90 w 1602"/>
                <a:gd name="T99" fmla="*/ 24 h 1404"/>
                <a:gd name="T100" fmla="*/ 90 w 1602"/>
                <a:gd name="T101" fmla="*/ 45 h 1404"/>
                <a:gd name="T102" fmla="*/ 104 w 1602"/>
                <a:gd name="T103" fmla="*/ 41 h 1404"/>
                <a:gd name="T104" fmla="*/ 117 w 1602"/>
                <a:gd name="T105" fmla="*/ 39 h 1404"/>
                <a:gd name="T106" fmla="*/ 125 w 1602"/>
                <a:gd name="T107" fmla="*/ 39 h 1404"/>
                <a:gd name="T108" fmla="*/ 127 w 1602"/>
                <a:gd name="T109" fmla="*/ 43 h 1404"/>
                <a:gd name="T110" fmla="*/ 131 w 1602"/>
                <a:gd name="T111" fmla="*/ 53 h 1404"/>
                <a:gd name="T112" fmla="*/ 133 w 1602"/>
                <a:gd name="T113" fmla="*/ 60 h 1404"/>
                <a:gd name="T114" fmla="*/ 138 w 1602"/>
                <a:gd name="T115" fmla="*/ 73 h 1404"/>
                <a:gd name="T116" fmla="*/ 136 w 1602"/>
                <a:gd name="T117" fmla="*/ 80 h 1404"/>
                <a:gd name="T118" fmla="*/ 129 w 1602"/>
                <a:gd name="T119" fmla="*/ 87 h 1404"/>
                <a:gd name="T120" fmla="*/ 123 w 1602"/>
                <a:gd name="T121" fmla="*/ 95 h 14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02"/>
                <a:gd name="T184" fmla="*/ 0 h 1404"/>
                <a:gd name="T185" fmla="*/ 1602 w 1602"/>
                <a:gd name="T186" fmla="*/ 1404 h 14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02" h="1404">
                  <a:moveTo>
                    <a:pt x="1392" y="1080"/>
                  </a:moveTo>
                  <a:lnTo>
                    <a:pt x="1380" y="1074"/>
                  </a:lnTo>
                  <a:lnTo>
                    <a:pt x="1368" y="1056"/>
                  </a:lnTo>
                  <a:lnTo>
                    <a:pt x="1356" y="1044"/>
                  </a:lnTo>
                  <a:lnTo>
                    <a:pt x="1344" y="1038"/>
                  </a:lnTo>
                  <a:lnTo>
                    <a:pt x="1338" y="1038"/>
                  </a:lnTo>
                  <a:lnTo>
                    <a:pt x="1332" y="1038"/>
                  </a:lnTo>
                  <a:lnTo>
                    <a:pt x="1326" y="1044"/>
                  </a:lnTo>
                  <a:lnTo>
                    <a:pt x="1320" y="1044"/>
                  </a:lnTo>
                  <a:lnTo>
                    <a:pt x="1314" y="1044"/>
                  </a:lnTo>
                  <a:lnTo>
                    <a:pt x="1296" y="1056"/>
                  </a:lnTo>
                  <a:lnTo>
                    <a:pt x="1296" y="1080"/>
                  </a:lnTo>
                  <a:lnTo>
                    <a:pt x="1290" y="1080"/>
                  </a:lnTo>
                  <a:lnTo>
                    <a:pt x="1284" y="1086"/>
                  </a:lnTo>
                  <a:lnTo>
                    <a:pt x="1278" y="1086"/>
                  </a:lnTo>
                  <a:lnTo>
                    <a:pt x="1278" y="1092"/>
                  </a:lnTo>
                  <a:lnTo>
                    <a:pt x="1272" y="1092"/>
                  </a:lnTo>
                  <a:lnTo>
                    <a:pt x="1266" y="1086"/>
                  </a:lnTo>
                  <a:lnTo>
                    <a:pt x="1260" y="1086"/>
                  </a:lnTo>
                  <a:lnTo>
                    <a:pt x="1260" y="1098"/>
                  </a:lnTo>
                  <a:lnTo>
                    <a:pt x="1248" y="1098"/>
                  </a:lnTo>
                  <a:lnTo>
                    <a:pt x="1212" y="1116"/>
                  </a:lnTo>
                  <a:lnTo>
                    <a:pt x="1206" y="1158"/>
                  </a:lnTo>
                  <a:lnTo>
                    <a:pt x="1176" y="1164"/>
                  </a:lnTo>
                  <a:lnTo>
                    <a:pt x="1158" y="1164"/>
                  </a:lnTo>
                  <a:lnTo>
                    <a:pt x="1152" y="1164"/>
                  </a:lnTo>
                  <a:lnTo>
                    <a:pt x="1152" y="1170"/>
                  </a:lnTo>
                  <a:lnTo>
                    <a:pt x="1152" y="1176"/>
                  </a:lnTo>
                  <a:lnTo>
                    <a:pt x="1146" y="1176"/>
                  </a:lnTo>
                  <a:lnTo>
                    <a:pt x="1140" y="1176"/>
                  </a:lnTo>
                  <a:lnTo>
                    <a:pt x="1134" y="1182"/>
                  </a:lnTo>
                  <a:lnTo>
                    <a:pt x="1134" y="1188"/>
                  </a:lnTo>
                  <a:lnTo>
                    <a:pt x="1128" y="1194"/>
                  </a:lnTo>
                  <a:lnTo>
                    <a:pt x="1122" y="1194"/>
                  </a:lnTo>
                  <a:lnTo>
                    <a:pt x="1116" y="1194"/>
                  </a:lnTo>
                  <a:lnTo>
                    <a:pt x="1110" y="1200"/>
                  </a:lnTo>
                  <a:lnTo>
                    <a:pt x="1110" y="1206"/>
                  </a:lnTo>
                  <a:lnTo>
                    <a:pt x="1104" y="1212"/>
                  </a:lnTo>
                  <a:lnTo>
                    <a:pt x="1104" y="1218"/>
                  </a:lnTo>
                  <a:lnTo>
                    <a:pt x="1098" y="1224"/>
                  </a:lnTo>
                  <a:lnTo>
                    <a:pt x="1092" y="1230"/>
                  </a:lnTo>
                  <a:lnTo>
                    <a:pt x="1086" y="1230"/>
                  </a:lnTo>
                  <a:lnTo>
                    <a:pt x="1080" y="1230"/>
                  </a:lnTo>
                  <a:lnTo>
                    <a:pt x="1080" y="1242"/>
                  </a:lnTo>
                  <a:lnTo>
                    <a:pt x="1074" y="1242"/>
                  </a:lnTo>
                  <a:lnTo>
                    <a:pt x="1068" y="1242"/>
                  </a:lnTo>
                  <a:lnTo>
                    <a:pt x="1068" y="1236"/>
                  </a:lnTo>
                  <a:lnTo>
                    <a:pt x="1062" y="1242"/>
                  </a:lnTo>
                  <a:lnTo>
                    <a:pt x="1056" y="1236"/>
                  </a:lnTo>
                  <a:lnTo>
                    <a:pt x="1050" y="1242"/>
                  </a:lnTo>
                  <a:lnTo>
                    <a:pt x="1050" y="1236"/>
                  </a:lnTo>
                  <a:lnTo>
                    <a:pt x="1044" y="1194"/>
                  </a:lnTo>
                  <a:lnTo>
                    <a:pt x="1032" y="1194"/>
                  </a:lnTo>
                  <a:lnTo>
                    <a:pt x="1032" y="1200"/>
                  </a:lnTo>
                  <a:lnTo>
                    <a:pt x="1026" y="1200"/>
                  </a:lnTo>
                  <a:lnTo>
                    <a:pt x="1014" y="1218"/>
                  </a:lnTo>
                  <a:lnTo>
                    <a:pt x="1014" y="1224"/>
                  </a:lnTo>
                  <a:lnTo>
                    <a:pt x="1014" y="1236"/>
                  </a:lnTo>
                  <a:lnTo>
                    <a:pt x="1014" y="1242"/>
                  </a:lnTo>
                  <a:lnTo>
                    <a:pt x="1008" y="1242"/>
                  </a:lnTo>
                  <a:lnTo>
                    <a:pt x="1002" y="1236"/>
                  </a:lnTo>
                  <a:lnTo>
                    <a:pt x="1002" y="1230"/>
                  </a:lnTo>
                  <a:lnTo>
                    <a:pt x="996" y="1236"/>
                  </a:lnTo>
                  <a:lnTo>
                    <a:pt x="990" y="1236"/>
                  </a:lnTo>
                  <a:lnTo>
                    <a:pt x="990" y="1230"/>
                  </a:lnTo>
                  <a:lnTo>
                    <a:pt x="984" y="1236"/>
                  </a:lnTo>
                  <a:lnTo>
                    <a:pt x="978" y="1248"/>
                  </a:lnTo>
                  <a:lnTo>
                    <a:pt x="972" y="1254"/>
                  </a:lnTo>
                  <a:lnTo>
                    <a:pt x="966" y="1260"/>
                  </a:lnTo>
                  <a:lnTo>
                    <a:pt x="930" y="1284"/>
                  </a:lnTo>
                  <a:lnTo>
                    <a:pt x="942" y="1356"/>
                  </a:lnTo>
                  <a:lnTo>
                    <a:pt x="930" y="1368"/>
                  </a:lnTo>
                  <a:lnTo>
                    <a:pt x="852" y="1404"/>
                  </a:lnTo>
                  <a:lnTo>
                    <a:pt x="834" y="1392"/>
                  </a:lnTo>
                  <a:lnTo>
                    <a:pt x="834" y="1362"/>
                  </a:lnTo>
                  <a:lnTo>
                    <a:pt x="828" y="1332"/>
                  </a:lnTo>
                  <a:lnTo>
                    <a:pt x="810" y="1308"/>
                  </a:lnTo>
                  <a:lnTo>
                    <a:pt x="810" y="1284"/>
                  </a:lnTo>
                  <a:lnTo>
                    <a:pt x="816" y="1266"/>
                  </a:lnTo>
                  <a:lnTo>
                    <a:pt x="822" y="1254"/>
                  </a:lnTo>
                  <a:lnTo>
                    <a:pt x="822" y="1242"/>
                  </a:lnTo>
                  <a:lnTo>
                    <a:pt x="810" y="1230"/>
                  </a:lnTo>
                  <a:lnTo>
                    <a:pt x="804" y="1218"/>
                  </a:lnTo>
                  <a:lnTo>
                    <a:pt x="804" y="1212"/>
                  </a:lnTo>
                  <a:lnTo>
                    <a:pt x="804" y="1206"/>
                  </a:lnTo>
                  <a:lnTo>
                    <a:pt x="816" y="1194"/>
                  </a:lnTo>
                  <a:lnTo>
                    <a:pt x="822" y="1188"/>
                  </a:lnTo>
                  <a:lnTo>
                    <a:pt x="828" y="1170"/>
                  </a:lnTo>
                  <a:lnTo>
                    <a:pt x="840" y="1152"/>
                  </a:lnTo>
                  <a:lnTo>
                    <a:pt x="846" y="1146"/>
                  </a:lnTo>
                  <a:lnTo>
                    <a:pt x="846" y="1134"/>
                  </a:lnTo>
                  <a:lnTo>
                    <a:pt x="852" y="1128"/>
                  </a:lnTo>
                  <a:lnTo>
                    <a:pt x="846" y="1116"/>
                  </a:lnTo>
                  <a:lnTo>
                    <a:pt x="840" y="1098"/>
                  </a:lnTo>
                  <a:lnTo>
                    <a:pt x="840" y="1086"/>
                  </a:lnTo>
                  <a:lnTo>
                    <a:pt x="846" y="1074"/>
                  </a:lnTo>
                  <a:lnTo>
                    <a:pt x="852" y="1068"/>
                  </a:lnTo>
                  <a:lnTo>
                    <a:pt x="864" y="1038"/>
                  </a:lnTo>
                  <a:lnTo>
                    <a:pt x="870" y="1020"/>
                  </a:lnTo>
                  <a:lnTo>
                    <a:pt x="864" y="1008"/>
                  </a:lnTo>
                  <a:lnTo>
                    <a:pt x="858" y="990"/>
                  </a:lnTo>
                  <a:lnTo>
                    <a:pt x="852" y="954"/>
                  </a:lnTo>
                  <a:lnTo>
                    <a:pt x="846" y="948"/>
                  </a:lnTo>
                  <a:lnTo>
                    <a:pt x="834" y="936"/>
                  </a:lnTo>
                  <a:lnTo>
                    <a:pt x="828" y="924"/>
                  </a:lnTo>
                  <a:lnTo>
                    <a:pt x="756" y="942"/>
                  </a:lnTo>
                  <a:lnTo>
                    <a:pt x="744" y="936"/>
                  </a:lnTo>
                  <a:lnTo>
                    <a:pt x="744" y="930"/>
                  </a:lnTo>
                  <a:lnTo>
                    <a:pt x="738" y="924"/>
                  </a:lnTo>
                  <a:lnTo>
                    <a:pt x="744" y="924"/>
                  </a:lnTo>
                  <a:lnTo>
                    <a:pt x="738" y="918"/>
                  </a:lnTo>
                  <a:lnTo>
                    <a:pt x="732" y="912"/>
                  </a:lnTo>
                  <a:lnTo>
                    <a:pt x="732" y="906"/>
                  </a:lnTo>
                  <a:lnTo>
                    <a:pt x="732" y="894"/>
                  </a:lnTo>
                  <a:lnTo>
                    <a:pt x="726" y="888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6"/>
                  </a:lnTo>
                  <a:lnTo>
                    <a:pt x="690" y="882"/>
                  </a:lnTo>
                  <a:lnTo>
                    <a:pt x="684" y="864"/>
                  </a:lnTo>
                  <a:lnTo>
                    <a:pt x="684" y="852"/>
                  </a:lnTo>
                  <a:lnTo>
                    <a:pt x="672" y="852"/>
                  </a:lnTo>
                  <a:lnTo>
                    <a:pt x="654" y="852"/>
                  </a:lnTo>
                  <a:lnTo>
                    <a:pt x="642" y="846"/>
                  </a:lnTo>
                  <a:lnTo>
                    <a:pt x="636" y="834"/>
                  </a:lnTo>
                  <a:lnTo>
                    <a:pt x="630" y="822"/>
                  </a:lnTo>
                  <a:lnTo>
                    <a:pt x="618" y="822"/>
                  </a:lnTo>
                  <a:lnTo>
                    <a:pt x="618" y="816"/>
                  </a:lnTo>
                  <a:lnTo>
                    <a:pt x="618" y="810"/>
                  </a:lnTo>
                  <a:lnTo>
                    <a:pt x="612" y="810"/>
                  </a:lnTo>
                  <a:lnTo>
                    <a:pt x="606" y="804"/>
                  </a:lnTo>
                  <a:lnTo>
                    <a:pt x="594" y="804"/>
                  </a:lnTo>
                  <a:lnTo>
                    <a:pt x="588" y="810"/>
                  </a:lnTo>
                  <a:lnTo>
                    <a:pt x="588" y="804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70" y="810"/>
                  </a:lnTo>
                  <a:lnTo>
                    <a:pt x="564" y="816"/>
                  </a:lnTo>
                  <a:lnTo>
                    <a:pt x="558" y="816"/>
                  </a:lnTo>
                  <a:lnTo>
                    <a:pt x="552" y="822"/>
                  </a:lnTo>
                  <a:lnTo>
                    <a:pt x="546" y="828"/>
                  </a:lnTo>
                  <a:lnTo>
                    <a:pt x="546" y="834"/>
                  </a:lnTo>
                  <a:lnTo>
                    <a:pt x="528" y="834"/>
                  </a:lnTo>
                  <a:lnTo>
                    <a:pt x="516" y="822"/>
                  </a:lnTo>
                  <a:lnTo>
                    <a:pt x="504" y="822"/>
                  </a:lnTo>
                  <a:lnTo>
                    <a:pt x="492" y="82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6" y="792"/>
                  </a:lnTo>
                  <a:lnTo>
                    <a:pt x="492" y="786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504" y="780"/>
                  </a:lnTo>
                  <a:lnTo>
                    <a:pt x="510" y="780"/>
                  </a:lnTo>
                  <a:lnTo>
                    <a:pt x="522" y="768"/>
                  </a:lnTo>
                  <a:lnTo>
                    <a:pt x="522" y="762"/>
                  </a:lnTo>
                  <a:lnTo>
                    <a:pt x="504" y="756"/>
                  </a:lnTo>
                  <a:lnTo>
                    <a:pt x="498" y="756"/>
                  </a:lnTo>
                  <a:lnTo>
                    <a:pt x="498" y="744"/>
                  </a:lnTo>
                  <a:lnTo>
                    <a:pt x="492" y="738"/>
                  </a:lnTo>
                  <a:lnTo>
                    <a:pt x="480" y="738"/>
                  </a:lnTo>
                  <a:lnTo>
                    <a:pt x="474" y="738"/>
                  </a:lnTo>
                  <a:lnTo>
                    <a:pt x="456" y="738"/>
                  </a:lnTo>
                  <a:lnTo>
                    <a:pt x="438" y="738"/>
                  </a:lnTo>
                  <a:lnTo>
                    <a:pt x="432" y="750"/>
                  </a:lnTo>
                  <a:lnTo>
                    <a:pt x="426" y="756"/>
                  </a:lnTo>
                  <a:lnTo>
                    <a:pt x="426" y="762"/>
                  </a:lnTo>
                  <a:lnTo>
                    <a:pt x="420" y="762"/>
                  </a:lnTo>
                  <a:lnTo>
                    <a:pt x="408" y="744"/>
                  </a:lnTo>
                  <a:lnTo>
                    <a:pt x="408" y="732"/>
                  </a:lnTo>
                  <a:lnTo>
                    <a:pt x="390" y="714"/>
                  </a:lnTo>
                  <a:lnTo>
                    <a:pt x="384" y="702"/>
                  </a:lnTo>
                  <a:lnTo>
                    <a:pt x="384" y="690"/>
                  </a:lnTo>
                  <a:lnTo>
                    <a:pt x="372" y="690"/>
                  </a:lnTo>
                  <a:lnTo>
                    <a:pt x="366" y="660"/>
                  </a:lnTo>
                  <a:lnTo>
                    <a:pt x="354" y="630"/>
                  </a:lnTo>
                  <a:lnTo>
                    <a:pt x="348" y="630"/>
                  </a:lnTo>
                  <a:lnTo>
                    <a:pt x="336" y="630"/>
                  </a:lnTo>
                  <a:lnTo>
                    <a:pt x="330" y="630"/>
                  </a:lnTo>
                  <a:lnTo>
                    <a:pt x="318" y="630"/>
                  </a:lnTo>
                  <a:lnTo>
                    <a:pt x="312" y="624"/>
                  </a:lnTo>
                  <a:lnTo>
                    <a:pt x="306" y="624"/>
                  </a:lnTo>
                  <a:lnTo>
                    <a:pt x="294" y="618"/>
                  </a:lnTo>
                  <a:lnTo>
                    <a:pt x="288" y="612"/>
                  </a:lnTo>
                  <a:lnTo>
                    <a:pt x="276" y="600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58" y="588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8"/>
                  </a:lnTo>
                  <a:lnTo>
                    <a:pt x="216" y="582"/>
                  </a:lnTo>
                  <a:lnTo>
                    <a:pt x="210" y="588"/>
                  </a:lnTo>
                  <a:lnTo>
                    <a:pt x="198" y="582"/>
                  </a:lnTo>
                  <a:lnTo>
                    <a:pt x="180" y="582"/>
                  </a:lnTo>
                  <a:lnTo>
                    <a:pt x="174" y="552"/>
                  </a:lnTo>
                  <a:lnTo>
                    <a:pt x="168" y="504"/>
                  </a:lnTo>
                  <a:lnTo>
                    <a:pt x="186" y="504"/>
                  </a:lnTo>
                  <a:lnTo>
                    <a:pt x="192" y="504"/>
                  </a:lnTo>
                  <a:lnTo>
                    <a:pt x="192" y="498"/>
                  </a:lnTo>
                  <a:lnTo>
                    <a:pt x="192" y="492"/>
                  </a:lnTo>
                  <a:lnTo>
                    <a:pt x="192" y="486"/>
                  </a:lnTo>
                  <a:lnTo>
                    <a:pt x="198" y="486"/>
                  </a:lnTo>
                  <a:lnTo>
                    <a:pt x="198" y="480"/>
                  </a:lnTo>
                  <a:lnTo>
                    <a:pt x="204" y="474"/>
                  </a:lnTo>
                  <a:lnTo>
                    <a:pt x="210" y="468"/>
                  </a:lnTo>
                  <a:lnTo>
                    <a:pt x="198" y="462"/>
                  </a:lnTo>
                  <a:lnTo>
                    <a:pt x="192" y="444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32"/>
                  </a:lnTo>
                  <a:lnTo>
                    <a:pt x="168" y="438"/>
                  </a:lnTo>
                  <a:lnTo>
                    <a:pt x="150" y="450"/>
                  </a:lnTo>
                  <a:lnTo>
                    <a:pt x="144" y="456"/>
                  </a:lnTo>
                  <a:lnTo>
                    <a:pt x="132" y="456"/>
                  </a:lnTo>
                  <a:lnTo>
                    <a:pt x="126" y="468"/>
                  </a:lnTo>
                  <a:lnTo>
                    <a:pt x="114" y="468"/>
                  </a:lnTo>
                  <a:lnTo>
                    <a:pt x="108" y="468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14"/>
                  </a:lnTo>
                  <a:lnTo>
                    <a:pt x="108" y="396"/>
                  </a:lnTo>
                  <a:lnTo>
                    <a:pt x="120" y="396"/>
                  </a:lnTo>
                  <a:lnTo>
                    <a:pt x="126" y="384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84" y="354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0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60" y="318"/>
                  </a:lnTo>
                  <a:lnTo>
                    <a:pt x="42" y="324"/>
                  </a:lnTo>
                  <a:lnTo>
                    <a:pt x="36" y="318"/>
                  </a:lnTo>
                  <a:lnTo>
                    <a:pt x="36" y="312"/>
                  </a:lnTo>
                  <a:lnTo>
                    <a:pt x="36" y="306"/>
                  </a:lnTo>
                  <a:lnTo>
                    <a:pt x="36" y="300"/>
                  </a:lnTo>
                  <a:lnTo>
                    <a:pt x="30" y="300"/>
                  </a:lnTo>
                  <a:lnTo>
                    <a:pt x="30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24" y="276"/>
                  </a:lnTo>
                  <a:lnTo>
                    <a:pt x="18" y="276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18" y="234"/>
                  </a:lnTo>
                  <a:lnTo>
                    <a:pt x="30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42" y="192"/>
                  </a:lnTo>
                  <a:lnTo>
                    <a:pt x="66" y="186"/>
                  </a:lnTo>
                  <a:lnTo>
                    <a:pt x="90" y="156"/>
                  </a:lnTo>
                  <a:lnTo>
                    <a:pt x="102" y="144"/>
                  </a:lnTo>
                  <a:lnTo>
                    <a:pt x="138" y="150"/>
                  </a:lnTo>
                  <a:lnTo>
                    <a:pt x="162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0" y="180"/>
                  </a:lnTo>
                  <a:lnTo>
                    <a:pt x="174" y="180"/>
                  </a:lnTo>
                  <a:lnTo>
                    <a:pt x="180" y="186"/>
                  </a:lnTo>
                  <a:lnTo>
                    <a:pt x="186" y="186"/>
                  </a:lnTo>
                  <a:lnTo>
                    <a:pt x="198" y="192"/>
                  </a:lnTo>
                  <a:lnTo>
                    <a:pt x="216" y="198"/>
                  </a:lnTo>
                  <a:lnTo>
                    <a:pt x="252" y="204"/>
                  </a:lnTo>
                  <a:lnTo>
                    <a:pt x="258" y="210"/>
                  </a:lnTo>
                  <a:lnTo>
                    <a:pt x="306" y="216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84" y="210"/>
                  </a:lnTo>
                  <a:lnTo>
                    <a:pt x="408" y="222"/>
                  </a:lnTo>
                  <a:lnTo>
                    <a:pt x="438" y="228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86" y="222"/>
                  </a:lnTo>
                  <a:lnTo>
                    <a:pt x="492" y="210"/>
                  </a:lnTo>
                  <a:lnTo>
                    <a:pt x="492" y="198"/>
                  </a:lnTo>
                  <a:lnTo>
                    <a:pt x="486" y="180"/>
                  </a:lnTo>
                  <a:lnTo>
                    <a:pt x="492" y="162"/>
                  </a:lnTo>
                  <a:lnTo>
                    <a:pt x="510" y="96"/>
                  </a:lnTo>
                  <a:lnTo>
                    <a:pt x="516" y="84"/>
                  </a:lnTo>
                  <a:lnTo>
                    <a:pt x="522" y="84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34" y="72"/>
                  </a:lnTo>
                  <a:lnTo>
                    <a:pt x="534" y="60"/>
                  </a:lnTo>
                  <a:lnTo>
                    <a:pt x="540" y="36"/>
                  </a:lnTo>
                  <a:lnTo>
                    <a:pt x="546" y="6"/>
                  </a:lnTo>
                  <a:lnTo>
                    <a:pt x="558" y="6"/>
                  </a:lnTo>
                  <a:lnTo>
                    <a:pt x="564" y="0"/>
                  </a:lnTo>
                  <a:lnTo>
                    <a:pt x="582" y="0"/>
                  </a:lnTo>
                  <a:lnTo>
                    <a:pt x="588" y="0"/>
                  </a:lnTo>
                  <a:lnTo>
                    <a:pt x="594" y="6"/>
                  </a:lnTo>
                  <a:lnTo>
                    <a:pt x="600" y="12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24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36" y="36"/>
                  </a:lnTo>
                  <a:lnTo>
                    <a:pt x="642" y="36"/>
                  </a:lnTo>
                  <a:lnTo>
                    <a:pt x="642" y="42"/>
                  </a:lnTo>
                  <a:lnTo>
                    <a:pt x="648" y="54"/>
                  </a:lnTo>
                  <a:lnTo>
                    <a:pt x="660" y="72"/>
                  </a:lnTo>
                  <a:lnTo>
                    <a:pt x="666" y="78"/>
                  </a:lnTo>
                  <a:lnTo>
                    <a:pt x="672" y="90"/>
                  </a:lnTo>
                  <a:lnTo>
                    <a:pt x="678" y="102"/>
                  </a:lnTo>
                  <a:lnTo>
                    <a:pt x="678" y="114"/>
                  </a:lnTo>
                  <a:lnTo>
                    <a:pt x="684" y="132"/>
                  </a:lnTo>
                  <a:lnTo>
                    <a:pt x="684" y="144"/>
                  </a:lnTo>
                  <a:lnTo>
                    <a:pt x="690" y="162"/>
                  </a:lnTo>
                  <a:lnTo>
                    <a:pt x="696" y="168"/>
                  </a:lnTo>
                  <a:lnTo>
                    <a:pt x="696" y="180"/>
                  </a:lnTo>
                  <a:lnTo>
                    <a:pt x="702" y="186"/>
                  </a:lnTo>
                  <a:lnTo>
                    <a:pt x="708" y="186"/>
                  </a:lnTo>
                  <a:lnTo>
                    <a:pt x="714" y="198"/>
                  </a:lnTo>
                  <a:lnTo>
                    <a:pt x="720" y="198"/>
                  </a:lnTo>
                  <a:lnTo>
                    <a:pt x="732" y="204"/>
                  </a:lnTo>
                  <a:lnTo>
                    <a:pt x="738" y="210"/>
                  </a:lnTo>
                  <a:lnTo>
                    <a:pt x="738" y="216"/>
                  </a:lnTo>
                  <a:lnTo>
                    <a:pt x="744" y="222"/>
                  </a:lnTo>
                  <a:lnTo>
                    <a:pt x="750" y="228"/>
                  </a:lnTo>
                  <a:lnTo>
                    <a:pt x="756" y="228"/>
                  </a:lnTo>
                  <a:lnTo>
                    <a:pt x="768" y="240"/>
                  </a:lnTo>
                  <a:lnTo>
                    <a:pt x="774" y="252"/>
                  </a:lnTo>
                  <a:lnTo>
                    <a:pt x="780" y="258"/>
                  </a:lnTo>
                  <a:lnTo>
                    <a:pt x="786" y="258"/>
                  </a:lnTo>
                  <a:lnTo>
                    <a:pt x="798" y="264"/>
                  </a:lnTo>
                  <a:lnTo>
                    <a:pt x="798" y="270"/>
                  </a:lnTo>
                  <a:lnTo>
                    <a:pt x="798" y="276"/>
                  </a:lnTo>
                  <a:lnTo>
                    <a:pt x="810" y="288"/>
                  </a:lnTo>
                  <a:lnTo>
                    <a:pt x="816" y="288"/>
                  </a:lnTo>
                  <a:lnTo>
                    <a:pt x="816" y="300"/>
                  </a:lnTo>
                  <a:lnTo>
                    <a:pt x="816" y="306"/>
                  </a:lnTo>
                  <a:lnTo>
                    <a:pt x="822" y="318"/>
                  </a:lnTo>
                  <a:lnTo>
                    <a:pt x="828" y="324"/>
                  </a:lnTo>
                  <a:lnTo>
                    <a:pt x="834" y="330"/>
                  </a:lnTo>
                  <a:lnTo>
                    <a:pt x="846" y="336"/>
                  </a:lnTo>
                  <a:lnTo>
                    <a:pt x="846" y="342"/>
                  </a:lnTo>
                  <a:lnTo>
                    <a:pt x="852" y="348"/>
                  </a:lnTo>
                  <a:lnTo>
                    <a:pt x="852" y="354"/>
                  </a:lnTo>
                  <a:lnTo>
                    <a:pt x="858" y="354"/>
                  </a:lnTo>
                  <a:lnTo>
                    <a:pt x="858" y="348"/>
                  </a:lnTo>
                  <a:lnTo>
                    <a:pt x="864" y="342"/>
                  </a:lnTo>
                  <a:lnTo>
                    <a:pt x="864" y="336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76" y="306"/>
                  </a:lnTo>
                  <a:lnTo>
                    <a:pt x="870" y="300"/>
                  </a:lnTo>
                  <a:lnTo>
                    <a:pt x="870" y="294"/>
                  </a:lnTo>
                  <a:lnTo>
                    <a:pt x="876" y="294"/>
                  </a:lnTo>
                  <a:lnTo>
                    <a:pt x="882" y="300"/>
                  </a:lnTo>
                  <a:lnTo>
                    <a:pt x="888" y="300"/>
                  </a:lnTo>
                  <a:lnTo>
                    <a:pt x="888" y="306"/>
                  </a:lnTo>
                  <a:lnTo>
                    <a:pt x="894" y="300"/>
                  </a:lnTo>
                  <a:lnTo>
                    <a:pt x="900" y="294"/>
                  </a:lnTo>
                  <a:lnTo>
                    <a:pt x="894" y="288"/>
                  </a:lnTo>
                  <a:lnTo>
                    <a:pt x="888" y="282"/>
                  </a:lnTo>
                  <a:lnTo>
                    <a:pt x="888" y="276"/>
                  </a:lnTo>
                  <a:lnTo>
                    <a:pt x="894" y="276"/>
                  </a:lnTo>
                  <a:lnTo>
                    <a:pt x="900" y="276"/>
                  </a:lnTo>
                  <a:lnTo>
                    <a:pt x="900" y="270"/>
                  </a:lnTo>
                  <a:lnTo>
                    <a:pt x="906" y="264"/>
                  </a:lnTo>
                  <a:lnTo>
                    <a:pt x="906" y="258"/>
                  </a:lnTo>
                  <a:lnTo>
                    <a:pt x="918" y="264"/>
                  </a:lnTo>
                  <a:lnTo>
                    <a:pt x="918" y="258"/>
                  </a:lnTo>
                  <a:lnTo>
                    <a:pt x="924" y="252"/>
                  </a:lnTo>
                  <a:lnTo>
                    <a:pt x="930" y="252"/>
                  </a:lnTo>
                  <a:lnTo>
                    <a:pt x="930" y="246"/>
                  </a:lnTo>
                  <a:lnTo>
                    <a:pt x="936" y="234"/>
                  </a:lnTo>
                  <a:lnTo>
                    <a:pt x="942" y="228"/>
                  </a:lnTo>
                  <a:lnTo>
                    <a:pt x="942" y="222"/>
                  </a:lnTo>
                  <a:lnTo>
                    <a:pt x="948" y="222"/>
                  </a:lnTo>
                  <a:lnTo>
                    <a:pt x="948" y="216"/>
                  </a:lnTo>
                  <a:lnTo>
                    <a:pt x="942" y="216"/>
                  </a:lnTo>
                  <a:lnTo>
                    <a:pt x="936" y="216"/>
                  </a:lnTo>
                  <a:lnTo>
                    <a:pt x="936" y="210"/>
                  </a:lnTo>
                  <a:lnTo>
                    <a:pt x="942" y="210"/>
                  </a:lnTo>
                  <a:lnTo>
                    <a:pt x="972" y="210"/>
                  </a:lnTo>
                  <a:lnTo>
                    <a:pt x="1032" y="216"/>
                  </a:lnTo>
                  <a:lnTo>
                    <a:pt x="1068" y="216"/>
                  </a:lnTo>
                  <a:lnTo>
                    <a:pt x="1056" y="234"/>
                  </a:lnTo>
                  <a:lnTo>
                    <a:pt x="1050" y="240"/>
                  </a:lnTo>
                  <a:lnTo>
                    <a:pt x="1044" y="246"/>
                  </a:lnTo>
                  <a:lnTo>
                    <a:pt x="1038" y="246"/>
                  </a:lnTo>
                  <a:lnTo>
                    <a:pt x="1026" y="282"/>
                  </a:lnTo>
                  <a:lnTo>
                    <a:pt x="1032" y="306"/>
                  </a:lnTo>
                  <a:lnTo>
                    <a:pt x="1044" y="324"/>
                  </a:lnTo>
                  <a:lnTo>
                    <a:pt x="1044" y="342"/>
                  </a:lnTo>
                  <a:lnTo>
                    <a:pt x="1062" y="366"/>
                  </a:lnTo>
                  <a:lnTo>
                    <a:pt x="1056" y="396"/>
                  </a:lnTo>
                  <a:lnTo>
                    <a:pt x="1038" y="462"/>
                  </a:lnTo>
                  <a:lnTo>
                    <a:pt x="1038" y="498"/>
                  </a:lnTo>
                  <a:lnTo>
                    <a:pt x="1038" y="522"/>
                  </a:lnTo>
                  <a:lnTo>
                    <a:pt x="1038" y="534"/>
                  </a:lnTo>
                  <a:lnTo>
                    <a:pt x="1056" y="522"/>
                  </a:lnTo>
                  <a:lnTo>
                    <a:pt x="1098" y="504"/>
                  </a:lnTo>
                  <a:lnTo>
                    <a:pt x="1104" y="498"/>
                  </a:lnTo>
                  <a:lnTo>
                    <a:pt x="1128" y="492"/>
                  </a:lnTo>
                  <a:lnTo>
                    <a:pt x="1152" y="480"/>
                  </a:lnTo>
                  <a:lnTo>
                    <a:pt x="1170" y="474"/>
                  </a:lnTo>
                  <a:lnTo>
                    <a:pt x="1188" y="468"/>
                  </a:lnTo>
                  <a:lnTo>
                    <a:pt x="1200" y="462"/>
                  </a:lnTo>
                  <a:lnTo>
                    <a:pt x="1224" y="450"/>
                  </a:lnTo>
                  <a:lnTo>
                    <a:pt x="1248" y="450"/>
                  </a:lnTo>
                  <a:lnTo>
                    <a:pt x="1266" y="450"/>
                  </a:lnTo>
                  <a:lnTo>
                    <a:pt x="1296" y="456"/>
                  </a:lnTo>
                  <a:lnTo>
                    <a:pt x="1308" y="456"/>
                  </a:lnTo>
                  <a:lnTo>
                    <a:pt x="1326" y="456"/>
                  </a:lnTo>
                  <a:lnTo>
                    <a:pt x="1338" y="456"/>
                  </a:lnTo>
                  <a:lnTo>
                    <a:pt x="1350" y="462"/>
                  </a:lnTo>
                  <a:lnTo>
                    <a:pt x="1356" y="462"/>
                  </a:lnTo>
                  <a:lnTo>
                    <a:pt x="1374" y="456"/>
                  </a:lnTo>
                  <a:lnTo>
                    <a:pt x="1386" y="456"/>
                  </a:lnTo>
                  <a:lnTo>
                    <a:pt x="1392" y="456"/>
                  </a:lnTo>
                  <a:lnTo>
                    <a:pt x="1398" y="456"/>
                  </a:lnTo>
                  <a:lnTo>
                    <a:pt x="1422" y="456"/>
                  </a:lnTo>
                  <a:lnTo>
                    <a:pt x="1440" y="456"/>
                  </a:lnTo>
                  <a:lnTo>
                    <a:pt x="1446" y="456"/>
                  </a:lnTo>
                  <a:lnTo>
                    <a:pt x="1476" y="456"/>
                  </a:lnTo>
                  <a:lnTo>
                    <a:pt x="1470" y="468"/>
                  </a:lnTo>
                  <a:lnTo>
                    <a:pt x="1470" y="474"/>
                  </a:lnTo>
                  <a:lnTo>
                    <a:pt x="1470" y="486"/>
                  </a:lnTo>
                  <a:lnTo>
                    <a:pt x="1464" y="492"/>
                  </a:lnTo>
                  <a:lnTo>
                    <a:pt x="1464" y="498"/>
                  </a:lnTo>
                  <a:lnTo>
                    <a:pt x="1458" y="498"/>
                  </a:lnTo>
                  <a:lnTo>
                    <a:pt x="1458" y="510"/>
                  </a:lnTo>
                  <a:lnTo>
                    <a:pt x="1452" y="522"/>
                  </a:lnTo>
                  <a:lnTo>
                    <a:pt x="1458" y="528"/>
                  </a:lnTo>
                  <a:lnTo>
                    <a:pt x="1464" y="546"/>
                  </a:lnTo>
                  <a:lnTo>
                    <a:pt x="1470" y="552"/>
                  </a:lnTo>
                  <a:lnTo>
                    <a:pt x="1476" y="564"/>
                  </a:lnTo>
                  <a:lnTo>
                    <a:pt x="1488" y="588"/>
                  </a:lnTo>
                  <a:lnTo>
                    <a:pt x="1506" y="606"/>
                  </a:lnTo>
                  <a:lnTo>
                    <a:pt x="1506" y="612"/>
                  </a:lnTo>
                  <a:lnTo>
                    <a:pt x="1518" y="618"/>
                  </a:lnTo>
                  <a:lnTo>
                    <a:pt x="1512" y="630"/>
                  </a:lnTo>
                  <a:lnTo>
                    <a:pt x="1518" y="642"/>
                  </a:lnTo>
                  <a:lnTo>
                    <a:pt x="1518" y="648"/>
                  </a:lnTo>
                  <a:lnTo>
                    <a:pt x="1530" y="666"/>
                  </a:lnTo>
                  <a:lnTo>
                    <a:pt x="1518" y="672"/>
                  </a:lnTo>
                  <a:lnTo>
                    <a:pt x="1524" y="696"/>
                  </a:lnTo>
                  <a:lnTo>
                    <a:pt x="1518" y="732"/>
                  </a:lnTo>
                  <a:lnTo>
                    <a:pt x="1524" y="762"/>
                  </a:lnTo>
                  <a:lnTo>
                    <a:pt x="1524" y="780"/>
                  </a:lnTo>
                  <a:lnTo>
                    <a:pt x="1524" y="810"/>
                  </a:lnTo>
                  <a:lnTo>
                    <a:pt x="1530" y="834"/>
                  </a:lnTo>
                  <a:lnTo>
                    <a:pt x="1536" y="846"/>
                  </a:lnTo>
                  <a:lnTo>
                    <a:pt x="1542" y="846"/>
                  </a:lnTo>
                  <a:lnTo>
                    <a:pt x="1584" y="840"/>
                  </a:lnTo>
                  <a:lnTo>
                    <a:pt x="1590" y="846"/>
                  </a:lnTo>
                  <a:lnTo>
                    <a:pt x="1596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90" y="864"/>
                  </a:lnTo>
                  <a:lnTo>
                    <a:pt x="1578" y="882"/>
                  </a:lnTo>
                  <a:lnTo>
                    <a:pt x="1572" y="906"/>
                  </a:lnTo>
                  <a:lnTo>
                    <a:pt x="1560" y="924"/>
                  </a:lnTo>
                  <a:lnTo>
                    <a:pt x="1560" y="936"/>
                  </a:lnTo>
                  <a:lnTo>
                    <a:pt x="1548" y="960"/>
                  </a:lnTo>
                  <a:lnTo>
                    <a:pt x="1542" y="978"/>
                  </a:lnTo>
                  <a:lnTo>
                    <a:pt x="1536" y="990"/>
                  </a:lnTo>
                  <a:lnTo>
                    <a:pt x="1530" y="990"/>
                  </a:lnTo>
                  <a:lnTo>
                    <a:pt x="1506" y="996"/>
                  </a:lnTo>
                  <a:lnTo>
                    <a:pt x="1494" y="1002"/>
                  </a:lnTo>
                  <a:lnTo>
                    <a:pt x="1482" y="1002"/>
                  </a:lnTo>
                  <a:lnTo>
                    <a:pt x="1464" y="1008"/>
                  </a:lnTo>
                  <a:lnTo>
                    <a:pt x="1446" y="1026"/>
                  </a:lnTo>
                  <a:lnTo>
                    <a:pt x="1440" y="1026"/>
                  </a:lnTo>
                  <a:lnTo>
                    <a:pt x="1434" y="1038"/>
                  </a:lnTo>
                  <a:lnTo>
                    <a:pt x="1428" y="1044"/>
                  </a:lnTo>
                  <a:lnTo>
                    <a:pt x="1428" y="1062"/>
                  </a:lnTo>
                  <a:lnTo>
                    <a:pt x="1428" y="1086"/>
                  </a:lnTo>
                  <a:lnTo>
                    <a:pt x="1416" y="1092"/>
                  </a:lnTo>
                  <a:lnTo>
                    <a:pt x="1410" y="1080"/>
                  </a:lnTo>
                  <a:lnTo>
                    <a:pt x="1392" y="10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0" name="Freeform 25">
              <a:extLst>
                <a:ext uri="{FF2B5EF4-FFF2-40B4-BE49-F238E27FC236}">
                  <a16:creationId xmlns:a16="http://schemas.microsoft.com/office/drawing/2014/main" id="{39FDFF90-5ACF-4D65-81AD-C44D2CBE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70228" y="3063559"/>
              <a:ext cx="644023" cy="704498"/>
            </a:xfrm>
            <a:custGeom>
              <a:avLst/>
              <a:gdLst>
                <a:gd name="T0" fmla="*/ 74 w 1212"/>
                <a:gd name="T1" fmla="*/ 113 h 1326"/>
                <a:gd name="T2" fmla="*/ 60 w 1212"/>
                <a:gd name="T3" fmla="*/ 116 h 1326"/>
                <a:gd name="T4" fmla="*/ 62 w 1212"/>
                <a:gd name="T5" fmla="*/ 110 h 1326"/>
                <a:gd name="T6" fmla="*/ 60 w 1212"/>
                <a:gd name="T7" fmla="*/ 105 h 1326"/>
                <a:gd name="T8" fmla="*/ 52 w 1212"/>
                <a:gd name="T9" fmla="*/ 96 h 1326"/>
                <a:gd name="T10" fmla="*/ 47 w 1212"/>
                <a:gd name="T11" fmla="*/ 98 h 1326"/>
                <a:gd name="T12" fmla="*/ 44 w 1212"/>
                <a:gd name="T13" fmla="*/ 93 h 1326"/>
                <a:gd name="T14" fmla="*/ 40 w 1212"/>
                <a:gd name="T15" fmla="*/ 96 h 1326"/>
                <a:gd name="T16" fmla="*/ 35 w 1212"/>
                <a:gd name="T17" fmla="*/ 102 h 1326"/>
                <a:gd name="T18" fmla="*/ 27 w 1212"/>
                <a:gd name="T19" fmla="*/ 100 h 1326"/>
                <a:gd name="T20" fmla="*/ 23 w 1212"/>
                <a:gd name="T21" fmla="*/ 96 h 1326"/>
                <a:gd name="T22" fmla="*/ 20 w 1212"/>
                <a:gd name="T23" fmla="*/ 90 h 1326"/>
                <a:gd name="T24" fmla="*/ 18 w 1212"/>
                <a:gd name="T25" fmla="*/ 89 h 1326"/>
                <a:gd name="T26" fmla="*/ 18 w 1212"/>
                <a:gd name="T27" fmla="*/ 85 h 1326"/>
                <a:gd name="T28" fmla="*/ 19 w 1212"/>
                <a:gd name="T29" fmla="*/ 83 h 1326"/>
                <a:gd name="T30" fmla="*/ 19 w 1212"/>
                <a:gd name="T31" fmla="*/ 82 h 1326"/>
                <a:gd name="T32" fmla="*/ 20 w 1212"/>
                <a:gd name="T33" fmla="*/ 79 h 1326"/>
                <a:gd name="T34" fmla="*/ 19 w 1212"/>
                <a:gd name="T35" fmla="*/ 75 h 1326"/>
                <a:gd name="T36" fmla="*/ 17 w 1212"/>
                <a:gd name="T37" fmla="*/ 77 h 1326"/>
                <a:gd name="T38" fmla="*/ 14 w 1212"/>
                <a:gd name="T39" fmla="*/ 76 h 1326"/>
                <a:gd name="T40" fmla="*/ 12 w 1212"/>
                <a:gd name="T41" fmla="*/ 71 h 1326"/>
                <a:gd name="T42" fmla="*/ 8 w 1212"/>
                <a:gd name="T43" fmla="*/ 69 h 1326"/>
                <a:gd name="T44" fmla="*/ 0 w 1212"/>
                <a:gd name="T45" fmla="*/ 72 h 1326"/>
                <a:gd name="T46" fmla="*/ 2 w 1212"/>
                <a:gd name="T47" fmla="*/ 67 h 1326"/>
                <a:gd name="T48" fmla="*/ 3 w 1212"/>
                <a:gd name="T49" fmla="*/ 61 h 1326"/>
                <a:gd name="T50" fmla="*/ 4 w 1212"/>
                <a:gd name="T51" fmla="*/ 56 h 1326"/>
                <a:gd name="T52" fmla="*/ 4 w 1212"/>
                <a:gd name="T53" fmla="*/ 52 h 1326"/>
                <a:gd name="T54" fmla="*/ 2 w 1212"/>
                <a:gd name="T55" fmla="*/ 47 h 1326"/>
                <a:gd name="T56" fmla="*/ 2 w 1212"/>
                <a:gd name="T57" fmla="*/ 42 h 1326"/>
                <a:gd name="T58" fmla="*/ 5 w 1212"/>
                <a:gd name="T59" fmla="*/ 39 h 1326"/>
                <a:gd name="T60" fmla="*/ 5 w 1212"/>
                <a:gd name="T61" fmla="*/ 35 h 1326"/>
                <a:gd name="T62" fmla="*/ 7 w 1212"/>
                <a:gd name="T63" fmla="*/ 31 h 1326"/>
                <a:gd name="T64" fmla="*/ 14 w 1212"/>
                <a:gd name="T65" fmla="*/ 31 h 1326"/>
                <a:gd name="T66" fmla="*/ 18 w 1212"/>
                <a:gd name="T67" fmla="*/ 27 h 1326"/>
                <a:gd name="T68" fmla="*/ 22 w 1212"/>
                <a:gd name="T69" fmla="*/ 24 h 1326"/>
                <a:gd name="T70" fmla="*/ 27 w 1212"/>
                <a:gd name="T71" fmla="*/ 20 h 1326"/>
                <a:gd name="T72" fmla="*/ 35 w 1212"/>
                <a:gd name="T73" fmla="*/ 21 h 1326"/>
                <a:gd name="T74" fmla="*/ 61 w 1212"/>
                <a:gd name="T75" fmla="*/ 8 h 1326"/>
                <a:gd name="T76" fmla="*/ 73 w 1212"/>
                <a:gd name="T77" fmla="*/ 4 h 1326"/>
                <a:gd name="T78" fmla="*/ 86 w 1212"/>
                <a:gd name="T79" fmla="*/ 12 h 1326"/>
                <a:gd name="T80" fmla="*/ 92 w 1212"/>
                <a:gd name="T81" fmla="*/ 13 h 1326"/>
                <a:gd name="T82" fmla="*/ 86 w 1212"/>
                <a:gd name="T83" fmla="*/ 18 h 1326"/>
                <a:gd name="T84" fmla="*/ 88 w 1212"/>
                <a:gd name="T85" fmla="*/ 33 h 1326"/>
                <a:gd name="T86" fmla="*/ 97 w 1212"/>
                <a:gd name="T87" fmla="*/ 49 h 1326"/>
                <a:gd name="T88" fmla="*/ 102 w 1212"/>
                <a:gd name="T89" fmla="*/ 57 h 1326"/>
                <a:gd name="T90" fmla="*/ 104 w 1212"/>
                <a:gd name="T91" fmla="*/ 67 h 1326"/>
                <a:gd name="T92" fmla="*/ 101 w 1212"/>
                <a:gd name="T93" fmla="*/ 69 h 1326"/>
                <a:gd name="T94" fmla="*/ 97 w 1212"/>
                <a:gd name="T95" fmla="*/ 69 h 1326"/>
                <a:gd name="T96" fmla="*/ 96 w 1212"/>
                <a:gd name="T97" fmla="*/ 71 h 1326"/>
                <a:gd name="T98" fmla="*/ 93 w 1212"/>
                <a:gd name="T99" fmla="*/ 70 h 1326"/>
                <a:gd name="T100" fmla="*/ 86 w 1212"/>
                <a:gd name="T101" fmla="*/ 69 h 1326"/>
                <a:gd name="T102" fmla="*/ 82 w 1212"/>
                <a:gd name="T103" fmla="*/ 73 h 1326"/>
                <a:gd name="T104" fmla="*/ 79 w 1212"/>
                <a:gd name="T105" fmla="*/ 74 h 1326"/>
                <a:gd name="T106" fmla="*/ 78 w 1212"/>
                <a:gd name="T107" fmla="*/ 79 h 1326"/>
                <a:gd name="T108" fmla="*/ 78 w 1212"/>
                <a:gd name="T109" fmla="*/ 83 h 1326"/>
                <a:gd name="T110" fmla="*/ 82 w 1212"/>
                <a:gd name="T111" fmla="*/ 87 h 1326"/>
                <a:gd name="T112" fmla="*/ 83 w 1212"/>
                <a:gd name="T113" fmla="*/ 90 h 1326"/>
                <a:gd name="T114" fmla="*/ 82 w 1212"/>
                <a:gd name="T115" fmla="*/ 94 h 1326"/>
                <a:gd name="T116" fmla="*/ 82 w 1212"/>
                <a:gd name="T117" fmla="*/ 98 h 1326"/>
                <a:gd name="T118" fmla="*/ 82 w 1212"/>
                <a:gd name="T119" fmla="*/ 104 h 1326"/>
                <a:gd name="T120" fmla="*/ 78 w 1212"/>
                <a:gd name="T121" fmla="*/ 110 h 132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12"/>
                <a:gd name="T184" fmla="*/ 0 h 1326"/>
                <a:gd name="T185" fmla="*/ 1212 w 1212"/>
                <a:gd name="T186" fmla="*/ 1326 h 132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12" h="1326">
                  <a:moveTo>
                    <a:pt x="906" y="1290"/>
                  </a:moveTo>
                  <a:lnTo>
                    <a:pt x="906" y="1296"/>
                  </a:lnTo>
                  <a:lnTo>
                    <a:pt x="900" y="1296"/>
                  </a:lnTo>
                  <a:lnTo>
                    <a:pt x="876" y="1290"/>
                  </a:lnTo>
                  <a:lnTo>
                    <a:pt x="870" y="1290"/>
                  </a:lnTo>
                  <a:lnTo>
                    <a:pt x="864" y="1296"/>
                  </a:lnTo>
                  <a:lnTo>
                    <a:pt x="852" y="1296"/>
                  </a:lnTo>
                  <a:lnTo>
                    <a:pt x="840" y="1302"/>
                  </a:lnTo>
                  <a:lnTo>
                    <a:pt x="834" y="1308"/>
                  </a:lnTo>
                  <a:lnTo>
                    <a:pt x="822" y="1320"/>
                  </a:lnTo>
                  <a:lnTo>
                    <a:pt x="816" y="1320"/>
                  </a:lnTo>
                  <a:lnTo>
                    <a:pt x="732" y="1320"/>
                  </a:lnTo>
                  <a:lnTo>
                    <a:pt x="696" y="1320"/>
                  </a:lnTo>
                  <a:lnTo>
                    <a:pt x="690" y="1326"/>
                  </a:lnTo>
                  <a:lnTo>
                    <a:pt x="678" y="1326"/>
                  </a:lnTo>
                  <a:lnTo>
                    <a:pt x="672" y="1308"/>
                  </a:lnTo>
                  <a:lnTo>
                    <a:pt x="696" y="1302"/>
                  </a:lnTo>
                  <a:lnTo>
                    <a:pt x="708" y="1296"/>
                  </a:lnTo>
                  <a:lnTo>
                    <a:pt x="720" y="1284"/>
                  </a:lnTo>
                  <a:lnTo>
                    <a:pt x="714" y="1278"/>
                  </a:lnTo>
                  <a:lnTo>
                    <a:pt x="714" y="1266"/>
                  </a:lnTo>
                  <a:lnTo>
                    <a:pt x="708" y="1260"/>
                  </a:lnTo>
                  <a:lnTo>
                    <a:pt x="708" y="1254"/>
                  </a:lnTo>
                  <a:lnTo>
                    <a:pt x="708" y="1248"/>
                  </a:lnTo>
                  <a:lnTo>
                    <a:pt x="702" y="1236"/>
                  </a:lnTo>
                  <a:lnTo>
                    <a:pt x="702" y="1230"/>
                  </a:lnTo>
                  <a:lnTo>
                    <a:pt x="702" y="1218"/>
                  </a:lnTo>
                  <a:lnTo>
                    <a:pt x="696" y="1200"/>
                  </a:lnTo>
                  <a:lnTo>
                    <a:pt x="696" y="1182"/>
                  </a:lnTo>
                  <a:lnTo>
                    <a:pt x="666" y="1182"/>
                  </a:lnTo>
                  <a:lnTo>
                    <a:pt x="672" y="1134"/>
                  </a:lnTo>
                  <a:lnTo>
                    <a:pt x="666" y="1128"/>
                  </a:lnTo>
                  <a:lnTo>
                    <a:pt x="660" y="1092"/>
                  </a:lnTo>
                  <a:lnTo>
                    <a:pt x="654" y="1098"/>
                  </a:lnTo>
                  <a:lnTo>
                    <a:pt x="594" y="1098"/>
                  </a:lnTo>
                  <a:lnTo>
                    <a:pt x="576" y="1098"/>
                  </a:lnTo>
                  <a:lnTo>
                    <a:pt x="570" y="1104"/>
                  </a:lnTo>
                  <a:lnTo>
                    <a:pt x="564" y="1110"/>
                  </a:lnTo>
                  <a:lnTo>
                    <a:pt x="558" y="1110"/>
                  </a:lnTo>
                  <a:lnTo>
                    <a:pt x="552" y="1110"/>
                  </a:lnTo>
                  <a:lnTo>
                    <a:pt x="546" y="1110"/>
                  </a:lnTo>
                  <a:lnTo>
                    <a:pt x="546" y="1116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10" y="1128"/>
                  </a:lnTo>
                  <a:lnTo>
                    <a:pt x="522" y="1104"/>
                  </a:lnTo>
                  <a:lnTo>
                    <a:pt x="510" y="1098"/>
                  </a:lnTo>
                  <a:lnTo>
                    <a:pt x="510" y="1074"/>
                  </a:lnTo>
                  <a:lnTo>
                    <a:pt x="504" y="1068"/>
                  </a:lnTo>
                  <a:lnTo>
                    <a:pt x="498" y="1068"/>
                  </a:lnTo>
                  <a:lnTo>
                    <a:pt x="492" y="1068"/>
                  </a:lnTo>
                  <a:lnTo>
                    <a:pt x="474" y="1080"/>
                  </a:lnTo>
                  <a:lnTo>
                    <a:pt x="474" y="1086"/>
                  </a:lnTo>
                  <a:lnTo>
                    <a:pt x="474" y="1092"/>
                  </a:lnTo>
                  <a:lnTo>
                    <a:pt x="468" y="1098"/>
                  </a:lnTo>
                  <a:lnTo>
                    <a:pt x="462" y="1104"/>
                  </a:lnTo>
                  <a:lnTo>
                    <a:pt x="456" y="1110"/>
                  </a:lnTo>
                  <a:lnTo>
                    <a:pt x="456" y="1122"/>
                  </a:lnTo>
                  <a:lnTo>
                    <a:pt x="456" y="1128"/>
                  </a:lnTo>
                  <a:lnTo>
                    <a:pt x="450" y="1140"/>
                  </a:lnTo>
                  <a:lnTo>
                    <a:pt x="444" y="1146"/>
                  </a:lnTo>
                  <a:lnTo>
                    <a:pt x="426" y="1170"/>
                  </a:lnTo>
                  <a:lnTo>
                    <a:pt x="408" y="1176"/>
                  </a:lnTo>
                  <a:lnTo>
                    <a:pt x="402" y="1170"/>
                  </a:lnTo>
                  <a:lnTo>
                    <a:pt x="396" y="1170"/>
                  </a:lnTo>
                  <a:lnTo>
                    <a:pt x="396" y="1158"/>
                  </a:lnTo>
                  <a:lnTo>
                    <a:pt x="384" y="1152"/>
                  </a:lnTo>
                  <a:lnTo>
                    <a:pt x="372" y="1140"/>
                  </a:lnTo>
                  <a:lnTo>
                    <a:pt x="354" y="1140"/>
                  </a:lnTo>
                  <a:lnTo>
                    <a:pt x="306" y="1146"/>
                  </a:lnTo>
                  <a:lnTo>
                    <a:pt x="294" y="1134"/>
                  </a:lnTo>
                  <a:lnTo>
                    <a:pt x="294" y="1128"/>
                  </a:lnTo>
                  <a:lnTo>
                    <a:pt x="288" y="1122"/>
                  </a:lnTo>
                  <a:lnTo>
                    <a:pt x="276" y="1122"/>
                  </a:lnTo>
                  <a:lnTo>
                    <a:pt x="276" y="1110"/>
                  </a:lnTo>
                  <a:lnTo>
                    <a:pt x="276" y="1104"/>
                  </a:lnTo>
                  <a:lnTo>
                    <a:pt x="270" y="1098"/>
                  </a:lnTo>
                  <a:lnTo>
                    <a:pt x="264" y="1086"/>
                  </a:lnTo>
                  <a:lnTo>
                    <a:pt x="264" y="1074"/>
                  </a:lnTo>
                  <a:lnTo>
                    <a:pt x="258" y="1068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34" y="1038"/>
                  </a:lnTo>
                  <a:lnTo>
                    <a:pt x="228" y="1038"/>
                  </a:lnTo>
                  <a:lnTo>
                    <a:pt x="222" y="1038"/>
                  </a:lnTo>
                  <a:lnTo>
                    <a:pt x="216" y="1038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0"/>
                  </a:lnTo>
                  <a:lnTo>
                    <a:pt x="204" y="1014"/>
                  </a:lnTo>
                  <a:lnTo>
                    <a:pt x="204" y="1008"/>
                  </a:lnTo>
                  <a:lnTo>
                    <a:pt x="198" y="1002"/>
                  </a:lnTo>
                  <a:lnTo>
                    <a:pt x="198" y="996"/>
                  </a:lnTo>
                  <a:lnTo>
                    <a:pt x="198" y="990"/>
                  </a:lnTo>
                  <a:lnTo>
                    <a:pt x="204" y="990"/>
                  </a:lnTo>
                  <a:lnTo>
                    <a:pt x="204" y="984"/>
                  </a:lnTo>
                  <a:lnTo>
                    <a:pt x="210" y="978"/>
                  </a:lnTo>
                  <a:lnTo>
                    <a:pt x="210" y="972"/>
                  </a:lnTo>
                  <a:lnTo>
                    <a:pt x="210" y="966"/>
                  </a:lnTo>
                  <a:lnTo>
                    <a:pt x="216" y="960"/>
                  </a:lnTo>
                  <a:lnTo>
                    <a:pt x="216" y="954"/>
                  </a:lnTo>
                  <a:lnTo>
                    <a:pt x="210" y="954"/>
                  </a:lnTo>
                  <a:lnTo>
                    <a:pt x="204" y="954"/>
                  </a:lnTo>
                  <a:lnTo>
                    <a:pt x="216" y="954"/>
                  </a:lnTo>
                  <a:lnTo>
                    <a:pt x="216" y="948"/>
                  </a:lnTo>
                  <a:lnTo>
                    <a:pt x="210" y="948"/>
                  </a:lnTo>
                  <a:lnTo>
                    <a:pt x="210" y="942"/>
                  </a:lnTo>
                  <a:lnTo>
                    <a:pt x="216" y="942"/>
                  </a:lnTo>
                  <a:lnTo>
                    <a:pt x="222" y="942"/>
                  </a:lnTo>
                  <a:lnTo>
                    <a:pt x="222" y="936"/>
                  </a:lnTo>
                  <a:lnTo>
                    <a:pt x="216" y="936"/>
                  </a:lnTo>
                  <a:lnTo>
                    <a:pt x="210" y="936"/>
                  </a:lnTo>
                  <a:lnTo>
                    <a:pt x="210" y="930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22" y="918"/>
                  </a:lnTo>
                  <a:lnTo>
                    <a:pt x="228" y="912"/>
                  </a:lnTo>
                  <a:lnTo>
                    <a:pt x="228" y="906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2" y="888"/>
                  </a:lnTo>
                  <a:lnTo>
                    <a:pt x="222" y="882"/>
                  </a:lnTo>
                  <a:lnTo>
                    <a:pt x="222" y="876"/>
                  </a:lnTo>
                  <a:lnTo>
                    <a:pt x="222" y="858"/>
                  </a:lnTo>
                  <a:lnTo>
                    <a:pt x="216" y="858"/>
                  </a:lnTo>
                  <a:lnTo>
                    <a:pt x="216" y="852"/>
                  </a:lnTo>
                  <a:lnTo>
                    <a:pt x="210" y="852"/>
                  </a:lnTo>
                  <a:lnTo>
                    <a:pt x="210" y="840"/>
                  </a:lnTo>
                  <a:lnTo>
                    <a:pt x="198" y="840"/>
                  </a:lnTo>
                  <a:lnTo>
                    <a:pt x="198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0" y="894"/>
                  </a:lnTo>
                  <a:lnTo>
                    <a:pt x="180" y="906"/>
                  </a:lnTo>
                  <a:lnTo>
                    <a:pt x="156" y="912"/>
                  </a:lnTo>
                  <a:lnTo>
                    <a:pt x="156" y="894"/>
                  </a:lnTo>
                  <a:lnTo>
                    <a:pt x="156" y="882"/>
                  </a:lnTo>
                  <a:lnTo>
                    <a:pt x="156" y="876"/>
                  </a:lnTo>
                  <a:lnTo>
                    <a:pt x="150" y="876"/>
                  </a:lnTo>
                  <a:lnTo>
                    <a:pt x="144" y="876"/>
                  </a:lnTo>
                  <a:lnTo>
                    <a:pt x="138" y="870"/>
                  </a:lnTo>
                  <a:lnTo>
                    <a:pt x="132" y="864"/>
                  </a:lnTo>
                  <a:lnTo>
                    <a:pt x="138" y="840"/>
                  </a:lnTo>
                  <a:lnTo>
                    <a:pt x="132" y="840"/>
                  </a:lnTo>
                  <a:lnTo>
                    <a:pt x="138" y="810"/>
                  </a:lnTo>
                  <a:lnTo>
                    <a:pt x="144" y="804"/>
                  </a:lnTo>
                  <a:lnTo>
                    <a:pt x="144" y="798"/>
                  </a:lnTo>
                  <a:lnTo>
                    <a:pt x="156" y="798"/>
                  </a:lnTo>
                  <a:lnTo>
                    <a:pt x="156" y="792"/>
                  </a:lnTo>
                  <a:lnTo>
                    <a:pt x="120" y="792"/>
                  </a:lnTo>
                  <a:lnTo>
                    <a:pt x="108" y="786"/>
                  </a:lnTo>
                  <a:lnTo>
                    <a:pt x="96" y="786"/>
                  </a:lnTo>
                  <a:lnTo>
                    <a:pt x="96" y="780"/>
                  </a:lnTo>
                  <a:lnTo>
                    <a:pt x="78" y="780"/>
                  </a:lnTo>
                  <a:lnTo>
                    <a:pt x="72" y="804"/>
                  </a:lnTo>
                  <a:lnTo>
                    <a:pt x="60" y="816"/>
                  </a:lnTo>
                  <a:lnTo>
                    <a:pt x="36" y="828"/>
                  </a:lnTo>
                  <a:lnTo>
                    <a:pt x="18" y="840"/>
                  </a:lnTo>
                  <a:lnTo>
                    <a:pt x="0" y="822"/>
                  </a:lnTo>
                  <a:lnTo>
                    <a:pt x="6" y="816"/>
                  </a:lnTo>
                  <a:lnTo>
                    <a:pt x="12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18" y="786"/>
                  </a:lnTo>
                  <a:lnTo>
                    <a:pt x="24" y="780"/>
                  </a:lnTo>
                  <a:lnTo>
                    <a:pt x="24" y="768"/>
                  </a:lnTo>
                  <a:lnTo>
                    <a:pt x="24" y="762"/>
                  </a:lnTo>
                  <a:lnTo>
                    <a:pt x="24" y="750"/>
                  </a:lnTo>
                  <a:lnTo>
                    <a:pt x="36" y="714"/>
                  </a:lnTo>
                  <a:lnTo>
                    <a:pt x="36" y="708"/>
                  </a:lnTo>
                  <a:lnTo>
                    <a:pt x="42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6" y="690"/>
                  </a:lnTo>
                  <a:lnTo>
                    <a:pt x="42" y="684"/>
                  </a:lnTo>
                  <a:lnTo>
                    <a:pt x="42" y="672"/>
                  </a:lnTo>
                  <a:lnTo>
                    <a:pt x="42" y="666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48" y="648"/>
                  </a:lnTo>
                  <a:lnTo>
                    <a:pt x="54" y="642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54" y="612"/>
                  </a:lnTo>
                  <a:lnTo>
                    <a:pt x="48" y="606"/>
                  </a:lnTo>
                  <a:lnTo>
                    <a:pt x="48" y="600"/>
                  </a:lnTo>
                  <a:lnTo>
                    <a:pt x="42" y="600"/>
                  </a:lnTo>
                  <a:lnTo>
                    <a:pt x="36" y="594"/>
                  </a:lnTo>
                  <a:lnTo>
                    <a:pt x="36" y="588"/>
                  </a:lnTo>
                  <a:lnTo>
                    <a:pt x="30" y="582"/>
                  </a:lnTo>
                  <a:lnTo>
                    <a:pt x="30" y="570"/>
                  </a:lnTo>
                  <a:lnTo>
                    <a:pt x="18" y="552"/>
                  </a:lnTo>
                  <a:lnTo>
                    <a:pt x="18" y="546"/>
                  </a:lnTo>
                  <a:lnTo>
                    <a:pt x="18" y="540"/>
                  </a:lnTo>
                  <a:lnTo>
                    <a:pt x="18" y="528"/>
                  </a:lnTo>
                  <a:lnTo>
                    <a:pt x="18" y="522"/>
                  </a:lnTo>
                  <a:lnTo>
                    <a:pt x="24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30" y="474"/>
                  </a:lnTo>
                  <a:lnTo>
                    <a:pt x="36" y="474"/>
                  </a:lnTo>
                  <a:lnTo>
                    <a:pt x="42" y="468"/>
                  </a:lnTo>
                  <a:lnTo>
                    <a:pt x="48" y="468"/>
                  </a:lnTo>
                  <a:lnTo>
                    <a:pt x="48" y="462"/>
                  </a:lnTo>
                  <a:lnTo>
                    <a:pt x="48" y="456"/>
                  </a:lnTo>
                  <a:lnTo>
                    <a:pt x="54" y="450"/>
                  </a:lnTo>
                  <a:lnTo>
                    <a:pt x="60" y="438"/>
                  </a:lnTo>
                  <a:lnTo>
                    <a:pt x="54" y="438"/>
                  </a:lnTo>
                  <a:lnTo>
                    <a:pt x="54" y="432"/>
                  </a:ln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54" y="402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6" y="384"/>
                  </a:lnTo>
                  <a:lnTo>
                    <a:pt x="72" y="372"/>
                  </a:lnTo>
                  <a:lnTo>
                    <a:pt x="78" y="366"/>
                  </a:lnTo>
                  <a:lnTo>
                    <a:pt x="84" y="360"/>
                  </a:lnTo>
                  <a:lnTo>
                    <a:pt x="102" y="360"/>
                  </a:lnTo>
                  <a:lnTo>
                    <a:pt x="114" y="36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8" y="360"/>
                  </a:lnTo>
                  <a:lnTo>
                    <a:pt x="156" y="360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74" y="342"/>
                  </a:lnTo>
                  <a:lnTo>
                    <a:pt x="180" y="342"/>
                  </a:lnTo>
                  <a:lnTo>
                    <a:pt x="186" y="336"/>
                  </a:lnTo>
                  <a:lnTo>
                    <a:pt x="192" y="330"/>
                  </a:lnTo>
                  <a:lnTo>
                    <a:pt x="204" y="312"/>
                  </a:lnTo>
                  <a:lnTo>
                    <a:pt x="210" y="312"/>
                  </a:lnTo>
                  <a:lnTo>
                    <a:pt x="216" y="306"/>
                  </a:lnTo>
                  <a:lnTo>
                    <a:pt x="216" y="300"/>
                  </a:lnTo>
                  <a:lnTo>
                    <a:pt x="222" y="288"/>
                  </a:lnTo>
                  <a:lnTo>
                    <a:pt x="234" y="288"/>
                  </a:lnTo>
                  <a:lnTo>
                    <a:pt x="240" y="282"/>
                  </a:lnTo>
                  <a:lnTo>
                    <a:pt x="246" y="282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70" y="270"/>
                  </a:lnTo>
                  <a:lnTo>
                    <a:pt x="276" y="264"/>
                  </a:lnTo>
                  <a:lnTo>
                    <a:pt x="282" y="26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8" y="234"/>
                  </a:lnTo>
                  <a:lnTo>
                    <a:pt x="330" y="234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72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14" y="240"/>
                  </a:lnTo>
                  <a:lnTo>
                    <a:pt x="444" y="216"/>
                  </a:lnTo>
                  <a:lnTo>
                    <a:pt x="480" y="204"/>
                  </a:lnTo>
                  <a:lnTo>
                    <a:pt x="600" y="150"/>
                  </a:lnTo>
                  <a:lnTo>
                    <a:pt x="648" y="126"/>
                  </a:lnTo>
                  <a:lnTo>
                    <a:pt x="702" y="96"/>
                  </a:lnTo>
                  <a:lnTo>
                    <a:pt x="708" y="54"/>
                  </a:lnTo>
                  <a:lnTo>
                    <a:pt x="720" y="24"/>
                  </a:lnTo>
                  <a:lnTo>
                    <a:pt x="738" y="12"/>
                  </a:lnTo>
                  <a:lnTo>
                    <a:pt x="768" y="0"/>
                  </a:lnTo>
                  <a:lnTo>
                    <a:pt x="792" y="6"/>
                  </a:lnTo>
                  <a:lnTo>
                    <a:pt x="804" y="12"/>
                  </a:lnTo>
                  <a:lnTo>
                    <a:pt x="834" y="48"/>
                  </a:lnTo>
                  <a:lnTo>
                    <a:pt x="834" y="60"/>
                  </a:lnTo>
                  <a:lnTo>
                    <a:pt x="852" y="84"/>
                  </a:lnTo>
                  <a:lnTo>
                    <a:pt x="864" y="96"/>
                  </a:lnTo>
                  <a:lnTo>
                    <a:pt x="888" y="102"/>
                  </a:lnTo>
                  <a:lnTo>
                    <a:pt x="978" y="120"/>
                  </a:lnTo>
                  <a:lnTo>
                    <a:pt x="984" y="126"/>
                  </a:lnTo>
                  <a:lnTo>
                    <a:pt x="984" y="132"/>
                  </a:lnTo>
                  <a:lnTo>
                    <a:pt x="996" y="138"/>
                  </a:lnTo>
                  <a:lnTo>
                    <a:pt x="1038" y="126"/>
                  </a:lnTo>
                  <a:lnTo>
                    <a:pt x="1056" y="114"/>
                  </a:lnTo>
                  <a:lnTo>
                    <a:pt x="1068" y="126"/>
                  </a:lnTo>
                  <a:lnTo>
                    <a:pt x="1074" y="132"/>
                  </a:lnTo>
                  <a:lnTo>
                    <a:pt x="1068" y="138"/>
                  </a:lnTo>
                  <a:lnTo>
                    <a:pt x="1056" y="150"/>
                  </a:lnTo>
                  <a:lnTo>
                    <a:pt x="1038" y="162"/>
                  </a:lnTo>
                  <a:lnTo>
                    <a:pt x="1038" y="168"/>
                  </a:lnTo>
                  <a:lnTo>
                    <a:pt x="1020" y="174"/>
                  </a:lnTo>
                  <a:lnTo>
                    <a:pt x="1014" y="180"/>
                  </a:lnTo>
                  <a:lnTo>
                    <a:pt x="1008" y="186"/>
                  </a:lnTo>
                  <a:lnTo>
                    <a:pt x="1002" y="198"/>
                  </a:lnTo>
                  <a:lnTo>
                    <a:pt x="984" y="204"/>
                  </a:lnTo>
                  <a:lnTo>
                    <a:pt x="984" y="246"/>
                  </a:lnTo>
                  <a:lnTo>
                    <a:pt x="978" y="270"/>
                  </a:lnTo>
                  <a:lnTo>
                    <a:pt x="990" y="306"/>
                  </a:lnTo>
                  <a:lnTo>
                    <a:pt x="990" y="324"/>
                  </a:lnTo>
                  <a:lnTo>
                    <a:pt x="1002" y="336"/>
                  </a:lnTo>
                  <a:lnTo>
                    <a:pt x="1020" y="372"/>
                  </a:lnTo>
                  <a:lnTo>
                    <a:pt x="1014" y="378"/>
                  </a:lnTo>
                  <a:lnTo>
                    <a:pt x="1014" y="384"/>
                  </a:lnTo>
                  <a:lnTo>
                    <a:pt x="1020" y="384"/>
                  </a:lnTo>
                  <a:lnTo>
                    <a:pt x="1020" y="396"/>
                  </a:lnTo>
                  <a:lnTo>
                    <a:pt x="1062" y="468"/>
                  </a:lnTo>
                  <a:lnTo>
                    <a:pt x="1092" y="522"/>
                  </a:lnTo>
                  <a:lnTo>
                    <a:pt x="1110" y="546"/>
                  </a:lnTo>
                  <a:lnTo>
                    <a:pt x="1122" y="564"/>
                  </a:lnTo>
                  <a:lnTo>
                    <a:pt x="1134" y="576"/>
                  </a:lnTo>
                  <a:lnTo>
                    <a:pt x="1146" y="582"/>
                  </a:lnTo>
                  <a:lnTo>
                    <a:pt x="1146" y="588"/>
                  </a:lnTo>
                  <a:lnTo>
                    <a:pt x="1164" y="600"/>
                  </a:lnTo>
                  <a:lnTo>
                    <a:pt x="1170" y="612"/>
                  </a:lnTo>
                  <a:lnTo>
                    <a:pt x="1170" y="624"/>
                  </a:lnTo>
                  <a:lnTo>
                    <a:pt x="1176" y="654"/>
                  </a:lnTo>
                  <a:lnTo>
                    <a:pt x="1176" y="666"/>
                  </a:lnTo>
                  <a:lnTo>
                    <a:pt x="1182" y="684"/>
                  </a:lnTo>
                  <a:lnTo>
                    <a:pt x="1194" y="696"/>
                  </a:lnTo>
                  <a:lnTo>
                    <a:pt x="1212" y="696"/>
                  </a:lnTo>
                  <a:lnTo>
                    <a:pt x="1206" y="762"/>
                  </a:lnTo>
                  <a:lnTo>
                    <a:pt x="1200" y="768"/>
                  </a:lnTo>
                  <a:lnTo>
                    <a:pt x="1194" y="768"/>
                  </a:lnTo>
                  <a:lnTo>
                    <a:pt x="1194" y="774"/>
                  </a:lnTo>
                  <a:lnTo>
                    <a:pt x="1188" y="774"/>
                  </a:lnTo>
                  <a:lnTo>
                    <a:pt x="1182" y="780"/>
                  </a:lnTo>
                  <a:lnTo>
                    <a:pt x="1176" y="780"/>
                  </a:lnTo>
                  <a:lnTo>
                    <a:pt x="1170" y="780"/>
                  </a:lnTo>
                  <a:lnTo>
                    <a:pt x="1164" y="786"/>
                  </a:lnTo>
                  <a:lnTo>
                    <a:pt x="1158" y="786"/>
                  </a:lnTo>
                  <a:lnTo>
                    <a:pt x="1152" y="786"/>
                  </a:lnTo>
                  <a:lnTo>
                    <a:pt x="1140" y="786"/>
                  </a:lnTo>
                  <a:lnTo>
                    <a:pt x="1134" y="786"/>
                  </a:lnTo>
                  <a:lnTo>
                    <a:pt x="1134" y="780"/>
                  </a:lnTo>
                  <a:lnTo>
                    <a:pt x="1122" y="780"/>
                  </a:lnTo>
                  <a:lnTo>
                    <a:pt x="1116" y="786"/>
                  </a:lnTo>
                  <a:lnTo>
                    <a:pt x="1116" y="792"/>
                  </a:lnTo>
                  <a:lnTo>
                    <a:pt x="1122" y="804"/>
                  </a:lnTo>
                  <a:lnTo>
                    <a:pt x="1128" y="804"/>
                  </a:lnTo>
                  <a:lnTo>
                    <a:pt x="1128" y="816"/>
                  </a:lnTo>
                  <a:lnTo>
                    <a:pt x="1122" y="822"/>
                  </a:lnTo>
                  <a:lnTo>
                    <a:pt x="1116" y="816"/>
                  </a:lnTo>
                  <a:lnTo>
                    <a:pt x="1110" y="816"/>
                  </a:lnTo>
                  <a:lnTo>
                    <a:pt x="1104" y="816"/>
                  </a:lnTo>
                  <a:lnTo>
                    <a:pt x="1098" y="816"/>
                  </a:lnTo>
                  <a:lnTo>
                    <a:pt x="1098" y="822"/>
                  </a:lnTo>
                  <a:lnTo>
                    <a:pt x="1092" y="834"/>
                  </a:lnTo>
                  <a:lnTo>
                    <a:pt x="1092" y="840"/>
                  </a:lnTo>
                  <a:lnTo>
                    <a:pt x="1074" y="840"/>
                  </a:lnTo>
                  <a:lnTo>
                    <a:pt x="1074" y="828"/>
                  </a:lnTo>
                  <a:lnTo>
                    <a:pt x="1062" y="804"/>
                  </a:lnTo>
                  <a:lnTo>
                    <a:pt x="1056" y="792"/>
                  </a:lnTo>
                  <a:lnTo>
                    <a:pt x="1056" y="786"/>
                  </a:lnTo>
                  <a:lnTo>
                    <a:pt x="1026" y="780"/>
                  </a:lnTo>
                  <a:lnTo>
                    <a:pt x="1026" y="768"/>
                  </a:lnTo>
                  <a:lnTo>
                    <a:pt x="1008" y="768"/>
                  </a:lnTo>
                  <a:lnTo>
                    <a:pt x="1002" y="780"/>
                  </a:lnTo>
                  <a:lnTo>
                    <a:pt x="996" y="792"/>
                  </a:lnTo>
                  <a:lnTo>
                    <a:pt x="978" y="798"/>
                  </a:lnTo>
                  <a:lnTo>
                    <a:pt x="972" y="810"/>
                  </a:lnTo>
                  <a:lnTo>
                    <a:pt x="972" y="822"/>
                  </a:lnTo>
                  <a:lnTo>
                    <a:pt x="978" y="828"/>
                  </a:lnTo>
                  <a:lnTo>
                    <a:pt x="978" y="834"/>
                  </a:lnTo>
                  <a:lnTo>
                    <a:pt x="960" y="840"/>
                  </a:lnTo>
                  <a:lnTo>
                    <a:pt x="936" y="840"/>
                  </a:lnTo>
                  <a:lnTo>
                    <a:pt x="918" y="846"/>
                  </a:lnTo>
                  <a:lnTo>
                    <a:pt x="912" y="840"/>
                  </a:lnTo>
                  <a:lnTo>
                    <a:pt x="912" y="834"/>
                  </a:lnTo>
                  <a:lnTo>
                    <a:pt x="906" y="834"/>
                  </a:lnTo>
                  <a:lnTo>
                    <a:pt x="906" y="840"/>
                  </a:lnTo>
                  <a:lnTo>
                    <a:pt x="900" y="846"/>
                  </a:lnTo>
                  <a:lnTo>
                    <a:pt x="906" y="852"/>
                  </a:lnTo>
                  <a:lnTo>
                    <a:pt x="900" y="864"/>
                  </a:lnTo>
                  <a:lnTo>
                    <a:pt x="900" y="876"/>
                  </a:lnTo>
                  <a:lnTo>
                    <a:pt x="900" y="882"/>
                  </a:lnTo>
                  <a:lnTo>
                    <a:pt x="894" y="888"/>
                  </a:lnTo>
                  <a:lnTo>
                    <a:pt x="900" y="900"/>
                  </a:lnTo>
                  <a:lnTo>
                    <a:pt x="900" y="906"/>
                  </a:lnTo>
                  <a:lnTo>
                    <a:pt x="894" y="906"/>
                  </a:lnTo>
                  <a:lnTo>
                    <a:pt x="894" y="912"/>
                  </a:lnTo>
                  <a:lnTo>
                    <a:pt x="900" y="918"/>
                  </a:lnTo>
                  <a:lnTo>
                    <a:pt x="900" y="924"/>
                  </a:lnTo>
                  <a:lnTo>
                    <a:pt x="900" y="948"/>
                  </a:lnTo>
                  <a:lnTo>
                    <a:pt x="888" y="948"/>
                  </a:lnTo>
                  <a:lnTo>
                    <a:pt x="888" y="954"/>
                  </a:lnTo>
                  <a:lnTo>
                    <a:pt x="894" y="954"/>
                  </a:lnTo>
                  <a:lnTo>
                    <a:pt x="900" y="960"/>
                  </a:lnTo>
                  <a:lnTo>
                    <a:pt x="900" y="972"/>
                  </a:lnTo>
                  <a:lnTo>
                    <a:pt x="906" y="984"/>
                  </a:lnTo>
                  <a:lnTo>
                    <a:pt x="912" y="984"/>
                  </a:lnTo>
                  <a:lnTo>
                    <a:pt x="918" y="990"/>
                  </a:lnTo>
                  <a:lnTo>
                    <a:pt x="936" y="990"/>
                  </a:lnTo>
                  <a:lnTo>
                    <a:pt x="936" y="996"/>
                  </a:lnTo>
                  <a:lnTo>
                    <a:pt x="942" y="996"/>
                  </a:lnTo>
                  <a:lnTo>
                    <a:pt x="942" y="1002"/>
                  </a:lnTo>
                  <a:lnTo>
                    <a:pt x="942" y="1008"/>
                  </a:lnTo>
                  <a:lnTo>
                    <a:pt x="948" y="1008"/>
                  </a:lnTo>
                  <a:lnTo>
                    <a:pt x="948" y="1014"/>
                  </a:lnTo>
                  <a:lnTo>
                    <a:pt x="948" y="1020"/>
                  </a:lnTo>
                  <a:lnTo>
                    <a:pt x="954" y="1032"/>
                  </a:lnTo>
                  <a:lnTo>
                    <a:pt x="948" y="1038"/>
                  </a:lnTo>
                  <a:lnTo>
                    <a:pt x="954" y="1044"/>
                  </a:lnTo>
                  <a:lnTo>
                    <a:pt x="954" y="1056"/>
                  </a:lnTo>
                  <a:lnTo>
                    <a:pt x="960" y="1056"/>
                  </a:lnTo>
                  <a:lnTo>
                    <a:pt x="960" y="1062"/>
                  </a:lnTo>
                  <a:lnTo>
                    <a:pt x="954" y="1068"/>
                  </a:lnTo>
                  <a:lnTo>
                    <a:pt x="948" y="1074"/>
                  </a:lnTo>
                  <a:lnTo>
                    <a:pt x="948" y="1080"/>
                  </a:lnTo>
                  <a:lnTo>
                    <a:pt x="948" y="1086"/>
                  </a:lnTo>
                  <a:lnTo>
                    <a:pt x="942" y="1092"/>
                  </a:lnTo>
                  <a:lnTo>
                    <a:pt x="942" y="1098"/>
                  </a:lnTo>
                  <a:lnTo>
                    <a:pt x="942" y="1104"/>
                  </a:lnTo>
                  <a:lnTo>
                    <a:pt x="942" y="1110"/>
                  </a:lnTo>
                  <a:lnTo>
                    <a:pt x="936" y="1116"/>
                  </a:lnTo>
                  <a:lnTo>
                    <a:pt x="936" y="1122"/>
                  </a:lnTo>
                  <a:lnTo>
                    <a:pt x="936" y="1128"/>
                  </a:lnTo>
                  <a:lnTo>
                    <a:pt x="936" y="1134"/>
                  </a:lnTo>
                  <a:lnTo>
                    <a:pt x="942" y="1146"/>
                  </a:lnTo>
                  <a:lnTo>
                    <a:pt x="936" y="1158"/>
                  </a:lnTo>
                  <a:lnTo>
                    <a:pt x="936" y="1170"/>
                  </a:lnTo>
                  <a:lnTo>
                    <a:pt x="936" y="1194"/>
                  </a:lnTo>
                  <a:lnTo>
                    <a:pt x="930" y="1200"/>
                  </a:lnTo>
                  <a:lnTo>
                    <a:pt x="930" y="1212"/>
                  </a:lnTo>
                  <a:lnTo>
                    <a:pt x="918" y="1218"/>
                  </a:lnTo>
                  <a:lnTo>
                    <a:pt x="918" y="1230"/>
                  </a:lnTo>
                  <a:lnTo>
                    <a:pt x="906" y="1230"/>
                  </a:lnTo>
                  <a:lnTo>
                    <a:pt x="900" y="1254"/>
                  </a:lnTo>
                  <a:lnTo>
                    <a:pt x="900" y="1260"/>
                  </a:lnTo>
                  <a:lnTo>
                    <a:pt x="900" y="1266"/>
                  </a:lnTo>
                  <a:lnTo>
                    <a:pt x="900" y="1272"/>
                  </a:lnTo>
                  <a:lnTo>
                    <a:pt x="900" y="1278"/>
                  </a:lnTo>
                  <a:lnTo>
                    <a:pt x="900" y="1284"/>
                  </a:lnTo>
                  <a:lnTo>
                    <a:pt x="906" y="129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1" name="Freeform 26">
              <a:extLst>
                <a:ext uri="{FF2B5EF4-FFF2-40B4-BE49-F238E27FC236}">
                  <a16:creationId xmlns:a16="http://schemas.microsoft.com/office/drawing/2014/main" id="{25725EFE-FE00-49A8-A87A-6752B785C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79173" y="3477313"/>
              <a:ext cx="650731" cy="559125"/>
            </a:xfrm>
            <a:custGeom>
              <a:avLst/>
              <a:gdLst>
                <a:gd name="T0" fmla="*/ 95 w 1224"/>
                <a:gd name="T1" fmla="*/ 89 h 1050"/>
                <a:gd name="T2" fmla="*/ 90 w 1224"/>
                <a:gd name="T3" fmla="*/ 84 h 1050"/>
                <a:gd name="T4" fmla="*/ 84 w 1224"/>
                <a:gd name="T5" fmla="*/ 83 h 1050"/>
                <a:gd name="T6" fmla="*/ 82 w 1224"/>
                <a:gd name="T7" fmla="*/ 80 h 1050"/>
                <a:gd name="T8" fmla="*/ 85 w 1224"/>
                <a:gd name="T9" fmla="*/ 77 h 1050"/>
                <a:gd name="T10" fmla="*/ 81 w 1224"/>
                <a:gd name="T11" fmla="*/ 76 h 1050"/>
                <a:gd name="T12" fmla="*/ 77 w 1224"/>
                <a:gd name="T13" fmla="*/ 77 h 1050"/>
                <a:gd name="T14" fmla="*/ 78 w 1224"/>
                <a:gd name="T15" fmla="*/ 73 h 1050"/>
                <a:gd name="T16" fmla="*/ 59 w 1224"/>
                <a:gd name="T17" fmla="*/ 71 h 1050"/>
                <a:gd name="T18" fmla="*/ 41 w 1224"/>
                <a:gd name="T19" fmla="*/ 73 h 1050"/>
                <a:gd name="T20" fmla="*/ 33 w 1224"/>
                <a:gd name="T21" fmla="*/ 71 h 1050"/>
                <a:gd name="T22" fmla="*/ 30 w 1224"/>
                <a:gd name="T23" fmla="*/ 75 h 1050"/>
                <a:gd name="T24" fmla="*/ 27 w 1224"/>
                <a:gd name="T25" fmla="*/ 80 h 1050"/>
                <a:gd name="T26" fmla="*/ 12 w 1224"/>
                <a:gd name="T27" fmla="*/ 81 h 1050"/>
                <a:gd name="T28" fmla="*/ 9 w 1224"/>
                <a:gd name="T29" fmla="*/ 84 h 1050"/>
                <a:gd name="T30" fmla="*/ 6 w 1224"/>
                <a:gd name="T31" fmla="*/ 83 h 1050"/>
                <a:gd name="T32" fmla="*/ 1 w 1224"/>
                <a:gd name="T33" fmla="*/ 83 h 1050"/>
                <a:gd name="T34" fmla="*/ 3 w 1224"/>
                <a:gd name="T35" fmla="*/ 77 h 1050"/>
                <a:gd name="T36" fmla="*/ 5 w 1224"/>
                <a:gd name="T37" fmla="*/ 70 h 1050"/>
                <a:gd name="T38" fmla="*/ 2 w 1224"/>
                <a:gd name="T39" fmla="*/ 65 h 1050"/>
                <a:gd name="T40" fmla="*/ 3 w 1224"/>
                <a:gd name="T41" fmla="*/ 58 h 1050"/>
                <a:gd name="T42" fmla="*/ 4 w 1224"/>
                <a:gd name="T43" fmla="*/ 51 h 1050"/>
                <a:gd name="T44" fmla="*/ 3 w 1224"/>
                <a:gd name="T45" fmla="*/ 47 h 1050"/>
                <a:gd name="T46" fmla="*/ 4 w 1224"/>
                <a:gd name="T47" fmla="*/ 39 h 1050"/>
                <a:gd name="T48" fmla="*/ 6 w 1224"/>
                <a:gd name="T49" fmla="*/ 29 h 1050"/>
                <a:gd name="T50" fmla="*/ 3 w 1224"/>
                <a:gd name="T51" fmla="*/ 22 h 1050"/>
                <a:gd name="T52" fmla="*/ 2 w 1224"/>
                <a:gd name="T53" fmla="*/ 14 h 1050"/>
                <a:gd name="T54" fmla="*/ 0 w 1224"/>
                <a:gd name="T55" fmla="*/ 6 h 1050"/>
                <a:gd name="T56" fmla="*/ 9 w 1224"/>
                <a:gd name="T57" fmla="*/ 1 h 1050"/>
                <a:gd name="T58" fmla="*/ 11 w 1224"/>
                <a:gd name="T59" fmla="*/ 8 h 1050"/>
                <a:gd name="T60" fmla="*/ 15 w 1224"/>
                <a:gd name="T61" fmla="*/ 9 h 1050"/>
                <a:gd name="T62" fmla="*/ 18 w 1224"/>
                <a:gd name="T63" fmla="*/ 8 h 1050"/>
                <a:gd name="T64" fmla="*/ 18 w 1224"/>
                <a:gd name="T65" fmla="*/ 13 h 1050"/>
                <a:gd name="T66" fmla="*/ 17 w 1224"/>
                <a:gd name="T67" fmla="*/ 15 h 1050"/>
                <a:gd name="T68" fmla="*/ 17 w 1224"/>
                <a:gd name="T69" fmla="*/ 17 h 1050"/>
                <a:gd name="T70" fmla="*/ 17 w 1224"/>
                <a:gd name="T71" fmla="*/ 21 h 1050"/>
                <a:gd name="T72" fmla="*/ 21 w 1224"/>
                <a:gd name="T73" fmla="*/ 25 h 1050"/>
                <a:gd name="T74" fmla="*/ 24 w 1224"/>
                <a:gd name="T75" fmla="*/ 31 h 1050"/>
                <a:gd name="T76" fmla="*/ 35 w 1224"/>
                <a:gd name="T77" fmla="*/ 34 h 1050"/>
                <a:gd name="T78" fmla="*/ 40 w 1224"/>
                <a:gd name="T79" fmla="*/ 27 h 1050"/>
                <a:gd name="T80" fmla="*/ 46 w 1224"/>
                <a:gd name="T81" fmla="*/ 30 h 1050"/>
                <a:gd name="T82" fmla="*/ 51 w 1224"/>
                <a:gd name="T83" fmla="*/ 27 h 1050"/>
                <a:gd name="T84" fmla="*/ 59 w 1224"/>
                <a:gd name="T85" fmla="*/ 39 h 1050"/>
                <a:gd name="T86" fmla="*/ 59 w 1224"/>
                <a:gd name="T87" fmla="*/ 45 h 1050"/>
                <a:gd name="T88" fmla="*/ 72 w 1224"/>
                <a:gd name="T89" fmla="*/ 45 h 1050"/>
                <a:gd name="T90" fmla="*/ 79 w 1224"/>
                <a:gd name="T91" fmla="*/ 44 h 1050"/>
                <a:gd name="T92" fmla="*/ 87 w 1224"/>
                <a:gd name="T93" fmla="*/ 48 h 1050"/>
                <a:gd name="T94" fmla="*/ 93 w 1224"/>
                <a:gd name="T95" fmla="*/ 50 h 1050"/>
                <a:gd name="T96" fmla="*/ 98 w 1224"/>
                <a:gd name="T97" fmla="*/ 51 h 1050"/>
                <a:gd name="T98" fmla="*/ 106 w 1224"/>
                <a:gd name="T99" fmla="*/ 50 h 1050"/>
                <a:gd name="T100" fmla="*/ 104 w 1224"/>
                <a:gd name="T101" fmla="*/ 54 h 1050"/>
                <a:gd name="T102" fmla="*/ 104 w 1224"/>
                <a:gd name="T103" fmla="*/ 60 h 1050"/>
                <a:gd name="T104" fmla="*/ 101 w 1224"/>
                <a:gd name="T105" fmla="*/ 63 h 1050"/>
                <a:gd name="T106" fmla="*/ 98 w 1224"/>
                <a:gd name="T107" fmla="*/ 66 h 1050"/>
                <a:gd name="T108" fmla="*/ 95 w 1224"/>
                <a:gd name="T109" fmla="*/ 68 h 1050"/>
                <a:gd name="T110" fmla="*/ 93 w 1224"/>
                <a:gd name="T111" fmla="*/ 72 h 1050"/>
                <a:gd name="T112" fmla="*/ 98 w 1224"/>
                <a:gd name="T113" fmla="*/ 75 h 1050"/>
                <a:gd name="T114" fmla="*/ 102 w 1224"/>
                <a:gd name="T115" fmla="*/ 77 h 1050"/>
                <a:gd name="T116" fmla="*/ 107 w 1224"/>
                <a:gd name="T117" fmla="*/ 76 h 1050"/>
                <a:gd name="T118" fmla="*/ 104 w 1224"/>
                <a:gd name="T119" fmla="*/ 84 h 1050"/>
                <a:gd name="T120" fmla="*/ 103 w 1224"/>
                <a:gd name="T121" fmla="*/ 87 h 1050"/>
                <a:gd name="T122" fmla="*/ 104 w 1224"/>
                <a:gd name="T123" fmla="*/ 91 h 105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24"/>
                <a:gd name="T187" fmla="*/ 0 h 1050"/>
                <a:gd name="T188" fmla="*/ 1224 w 1224"/>
                <a:gd name="T189" fmla="*/ 1050 h 105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24" h="1050">
                  <a:moveTo>
                    <a:pt x="1128" y="1032"/>
                  </a:moveTo>
                  <a:lnTo>
                    <a:pt x="1122" y="1026"/>
                  </a:lnTo>
                  <a:lnTo>
                    <a:pt x="1116" y="1026"/>
                  </a:lnTo>
                  <a:lnTo>
                    <a:pt x="1110" y="1026"/>
                  </a:lnTo>
                  <a:lnTo>
                    <a:pt x="1104" y="1026"/>
                  </a:lnTo>
                  <a:lnTo>
                    <a:pt x="1104" y="1020"/>
                  </a:lnTo>
                  <a:lnTo>
                    <a:pt x="1098" y="1020"/>
                  </a:lnTo>
                  <a:lnTo>
                    <a:pt x="1092" y="1020"/>
                  </a:lnTo>
                  <a:lnTo>
                    <a:pt x="1086" y="1020"/>
                  </a:lnTo>
                  <a:lnTo>
                    <a:pt x="1080" y="1014"/>
                  </a:lnTo>
                  <a:lnTo>
                    <a:pt x="1068" y="1014"/>
                  </a:lnTo>
                  <a:lnTo>
                    <a:pt x="1062" y="1014"/>
                  </a:lnTo>
                  <a:lnTo>
                    <a:pt x="1062" y="1008"/>
                  </a:lnTo>
                  <a:lnTo>
                    <a:pt x="1062" y="990"/>
                  </a:lnTo>
                  <a:lnTo>
                    <a:pt x="1062" y="984"/>
                  </a:lnTo>
                  <a:lnTo>
                    <a:pt x="1062" y="972"/>
                  </a:lnTo>
                  <a:lnTo>
                    <a:pt x="1044" y="966"/>
                  </a:lnTo>
                  <a:lnTo>
                    <a:pt x="1026" y="966"/>
                  </a:lnTo>
                  <a:lnTo>
                    <a:pt x="1014" y="966"/>
                  </a:lnTo>
                  <a:lnTo>
                    <a:pt x="996" y="966"/>
                  </a:lnTo>
                  <a:lnTo>
                    <a:pt x="996" y="972"/>
                  </a:lnTo>
                  <a:lnTo>
                    <a:pt x="990" y="972"/>
                  </a:lnTo>
                  <a:lnTo>
                    <a:pt x="984" y="966"/>
                  </a:lnTo>
                  <a:lnTo>
                    <a:pt x="978" y="966"/>
                  </a:lnTo>
                  <a:lnTo>
                    <a:pt x="978" y="960"/>
                  </a:lnTo>
                  <a:lnTo>
                    <a:pt x="972" y="954"/>
                  </a:lnTo>
                  <a:lnTo>
                    <a:pt x="966" y="954"/>
                  </a:lnTo>
                  <a:lnTo>
                    <a:pt x="960" y="954"/>
                  </a:lnTo>
                  <a:lnTo>
                    <a:pt x="954" y="954"/>
                  </a:lnTo>
                  <a:lnTo>
                    <a:pt x="954" y="948"/>
                  </a:lnTo>
                  <a:lnTo>
                    <a:pt x="942" y="942"/>
                  </a:lnTo>
                  <a:lnTo>
                    <a:pt x="936" y="942"/>
                  </a:lnTo>
                  <a:lnTo>
                    <a:pt x="936" y="936"/>
                  </a:lnTo>
                  <a:lnTo>
                    <a:pt x="936" y="930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42" y="918"/>
                  </a:lnTo>
                  <a:lnTo>
                    <a:pt x="948" y="918"/>
                  </a:lnTo>
                  <a:lnTo>
                    <a:pt x="960" y="918"/>
                  </a:lnTo>
                  <a:lnTo>
                    <a:pt x="966" y="912"/>
                  </a:lnTo>
                  <a:lnTo>
                    <a:pt x="978" y="906"/>
                  </a:lnTo>
                  <a:lnTo>
                    <a:pt x="978" y="900"/>
                  </a:lnTo>
                  <a:lnTo>
                    <a:pt x="978" y="894"/>
                  </a:lnTo>
                  <a:lnTo>
                    <a:pt x="978" y="888"/>
                  </a:lnTo>
                  <a:lnTo>
                    <a:pt x="972" y="888"/>
                  </a:lnTo>
                  <a:lnTo>
                    <a:pt x="978" y="888"/>
                  </a:lnTo>
                  <a:lnTo>
                    <a:pt x="978" y="882"/>
                  </a:lnTo>
                  <a:lnTo>
                    <a:pt x="972" y="876"/>
                  </a:lnTo>
                  <a:lnTo>
                    <a:pt x="966" y="870"/>
                  </a:lnTo>
                  <a:lnTo>
                    <a:pt x="954" y="876"/>
                  </a:lnTo>
                  <a:lnTo>
                    <a:pt x="948" y="876"/>
                  </a:lnTo>
                  <a:lnTo>
                    <a:pt x="942" y="870"/>
                  </a:lnTo>
                  <a:lnTo>
                    <a:pt x="936" y="876"/>
                  </a:lnTo>
                  <a:lnTo>
                    <a:pt x="930" y="876"/>
                  </a:lnTo>
                  <a:lnTo>
                    <a:pt x="924" y="882"/>
                  </a:lnTo>
                  <a:lnTo>
                    <a:pt x="912" y="888"/>
                  </a:lnTo>
                  <a:lnTo>
                    <a:pt x="906" y="894"/>
                  </a:lnTo>
                  <a:lnTo>
                    <a:pt x="900" y="900"/>
                  </a:lnTo>
                  <a:lnTo>
                    <a:pt x="894" y="888"/>
                  </a:lnTo>
                  <a:lnTo>
                    <a:pt x="888" y="894"/>
                  </a:lnTo>
                  <a:lnTo>
                    <a:pt x="882" y="888"/>
                  </a:lnTo>
                  <a:lnTo>
                    <a:pt x="876" y="894"/>
                  </a:lnTo>
                  <a:lnTo>
                    <a:pt x="876" y="888"/>
                  </a:lnTo>
                  <a:lnTo>
                    <a:pt x="876" y="882"/>
                  </a:lnTo>
                  <a:lnTo>
                    <a:pt x="876" y="876"/>
                  </a:lnTo>
                  <a:lnTo>
                    <a:pt x="870" y="858"/>
                  </a:lnTo>
                  <a:lnTo>
                    <a:pt x="864" y="858"/>
                  </a:lnTo>
                  <a:lnTo>
                    <a:pt x="870" y="852"/>
                  </a:lnTo>
                  <a:lnTo>
                    <a:pt x="870" y="846"/>
                  </a:lnTo>
                  <a:lnTo>
                    <a:pt x="876" y="846"/>
                  </a:lnTo>
                  <a:lnTo>
                    <a:pt x="882" y="846"/>
                  </a:lnTo>
                  <a:lnTo>
                    <a:pt x="888" y="840"/>
                  </a:lnTo>
                  <a:lnTo>
                    <a:pt x="894" y="834"/>
                  </a:lnTo>
                  <a:lnTo>
                    <a:pt x="894" y="828"/>
                  </a:lnTo>
                  <a:lnTo>
                    <a:pt x="894" y="816"/>
                  </a:lnTo>
                  <a:lnTo>
                    <a:pt x="858" y="810"/>
                  </a:lnTo>
                  <a:lnTo>
                    <a:pt x="858" y="816"/>
                  </a:lnTo>
                  <a:lnTo>
                    <a:pt x="852" y="816"/>
                  </a:lnTo>
                  <a:lnTo>
                    <a:pt x="780" y="816"/>
                  </a:lnTo>
                  <a:lnTo>
                    <a:pt x="750" y="816"/>
                  </a:lnTo>
                  <a:lnTo>
                    <a:pt x="684" y="816"/>
                  </a:lnTo>
                  <a:lnTo>
                    <a:pt x="636" y="816"/>
                  </a:lnTo>
                  <a:lnTo>
                    <a:pt x="612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0" y="816"/>
                  </a:lnTo>
                  <a:lnTo>
                    <a:pt x="480" y="822"/>
                  </a:lnTo>
                  <a:lnTo>
                    <a:pt x="480" y="834"/>
                  </a:lnTo>
                  <a:lnTo>
                    <a:pt x="474" y="840"/>
                  </a:lnTo>
                  <a:lnTo>
                    <a:pt x="468" y="840"/>
                  </a:lnTo>
                  <a:lnTo>
                    <a:pt x="432" y="840"/>
                  </a:lnTo>
                  <a:lnTo>
                    <a:pt x="426" y="834"/>
                  </a:lnTo>
                  <a:lnTo>
                    <a:pt x="420" y="834"/>
                  </a:lnTo>
                  <a:lnTo>
                    <a:pt x="420" y="828"/>
                  </a:lnTo>
                  <a:lnTo>
                    <a:pt x="414" y="822"/>
                  </a:lnTo>
                  <a:lnTo>
                    <a:pt x="408" y="822"/>
                  </a:lnTo>
                  <a:lnTo>
                    <a:pt x="396" y="822"/>
                  </a:lnTo>
                  <a:lnTo>
                    <a:pt x="396" y="816"/>
                  </a:lnTo>
                  <a:lnTo>
                    <a:pt x="384" y="816"/>
                  </a:lnTo>
                  <a:lnTo>
                    <a:pt x="372" y="810"/>
                  </a:lnTo>
                  <a:lnTo>
                    <a:pt x="372" y="804"/>
                  </a:lnTo>
                  <a:lnTo>
                    <a:pt x="366" y="804"/>
                  </a:lnTo>
                  <a:lnTo>
                    <a:pt x="360" y="804"/>
                  </a:lnTo>
                  <a:lnTo>
                    <a:pt x="348" y="828"/>
                  </a:lnTo>
                  <a:lnTo>
                    <a:pt x="348" y="834"/>
                  </a:lnTo>
                  <a:lnTo>
                    <a:pt x="348" y="852"/>
                  </a:lnTo>
                  <a:lnTo>
                    <a:pt x="348" y="858"/>
                  </a:lnTo>
                  <a:lnTo>
                    <a:pt x="342" y="864"/>
                  </a:lnTo>
                  <a:lnTo>
                    <a:pt x="342" y="870"/>
                  </a:lnTo>
                  <a:lnTo>
                    <a:pt x="330" y="876"/>
                  </a:lnTo>
                  <a:lnTo>
                    <a:pt x="324" y="888"/>
                  </a:lnTo>
                  <a:lnTo>
                    <a:pt x="324" y="894"/>
                  </a:lnTo>
                  <a:lnTo>
                    <a:pt x="330" y="900"/>
                  </a:lnTo>
                  <a:lnTo>
                    <a:pt x="330" y="906"/>
                  </a:lnTo>
                  <a:lnTo>
                    <a:pt x="324" y="906"/>
                  </a:lnTo>
                  <a:lnTo>
                    <a:pt x="318" y="912"/>
                  </a:lnTo>
                  <a:lnTo>
                    <a:pt x="312" y="918"/>
                  </a:lnTo>
                  <a:lnTo>
                    <a:pt x="306" y="924"/>
                  </a:lnTo>
                  <a:lnTo>
                    <a:pt x="288" y="924"/>
                  </a:lnTo>
                  <a:lnTo>
                    <a:pt x="282" y="924"/>
                  </a:lnTo>
                  <a:lnTo>
                    <a:pt x="276" y="930"/>
                  </a:lnTo>
                  <a:lnTo>
                    <a:pt x="270" y="930"/>
                  </a:lnTo>
                  <a:lnTo>
                    <a:pt x="264" y="930"/>
                  </a:lnTo>
                  <a:lnTo>
                    <a:pt x="198" y="930"/>
                  </a:lnTo>
                  <a:lnTo>
                    <a:pt x="132" y="930"/>
                  </a:lnTo>
                  <a:lnTo>
                    <a:pt x="132" y="936"/>
                  </a:lnTo>
                  <a:lnTo>
                    <a:pt x="132" y="942"/>
                  </a:lnTo>
                  <a:lnTo>
                    <a:pt x="132" y="948"/>
                  </a:lnTo>
                  <a:lnTo>
                    <a:pt x="126" y="948"/>
                  </a:lnTo>
                  <a:lnTo>
                    <a:pt x="120" y="948"/>
                  </a:lnTo>
                  <a:lnTo>
                    <a:pt x="120" y="954"/>
                  </a:lnTo>
                  <a:lnTo>
                    <a:pt x="114" y="954"/>
                  </a:lnTo>
                  <a:lnTo>
                    <a:pt x="114" y="960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02" y="966"/>
                  </a:lnTo>
                  <a:lnTo>
                    <a:pt x="102" y="972"/>
                  </a:lnTo>
                  <a:lnTo>
                    <a:pt x="96" y="972"/>
                  </a:lnTo>
                  <a:lnTo>
                    <a:pt x="96" y="966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78" y="960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60"/>
                  </a:lnTo>
                  <a:lnTo>
                    <a:pt x="54" y="966"/>
                  </a:lnTo>
                  <a:lnTo>
                    <a:pt x="48" y="966"/>
                  </a:lnTo>
                  <a:lnTo>
                    <a:pt x="42" y="966"/>
                  </a:lnTo>
                  <a:lnTo>
                    <a:pt x="36" y="966"/>
                  </a:lnTo>
                  <a:lnTo>
                    <a:pt x="30" y="966"/>
                  </a:lnTo>
                  <a:lnTo>
                    <a:pt x="24" y="960"/>
                  </a:lnTo>
                  <a:lnTo>
                    <a:pt x="18" y="960"/>
                  </a:lnTo>
                  <a:lnTo>
                    <a:pt x="12" y="960"/>
                  </a:lnTo>
                  <a:lnTo>
                    <a:pt x="12" y="948"/>
                  </a:lnTo>
                  <a:lnTo>
                    <a:pt x="18" y="942"/>
                  </a:lnTo>
                  <a:lnTo>
                    <a:pt x="18" y="936"/>
                  </a:lnTo>
                  <a:lnTo>
                    <a:pt x="18" y="930"/>
                  </a:lnTo>
                  <a:lnTo>
                    <a:pt x="18" y="924"/>
                  </a:lnTo>
                  <a:lnTo>
                    <a:pt x="18" y="912"/>
                  </a:lnTo>
                  <a:lnTo>
                    <a:pt x="24" y="906"/>
                  </a:lnTo>
                  <a:lnTo>
                    <a:pt x="30" y="900"/>
                  </a:lnTo>
                  <a:lnTo>
                    <a:pt x="36" y="894"/>
                  </a:lnTo>
                  <a:lnTo>
                    <a:pt x="36" y="882"/>
                  </a:lnTo>
                  <a:lnTo>
                    <a:pt x="30" y="876"/>
                  </a:lnTo>
                  <a:lnTo>
                    <a:pt x="30" y="870"/>
                  </a:lnTo>
                  <a:lnTo>
                    <a:pt x="24" y="858"/>
                  </a:lnTo>
                  <a:lnTo>
                    <a:pt x="24" y="846"/>
                  </a:lnTo>
                  <a:lnTo>
                    <a:pt x="36" y="822"/>
                  </a:lnTo>
                  <a:lnTo>
                    <a:pt x="42" y="816"/>
                  </a:lnTo>
                  <a:lnTo>
                    <a:pt x="48" y="816"/>
                  </a:lnTo>
                  <a:lnTo>
                    <a:pt x="60" y="804"/>
                  </a:lnTo>
                  <a:lnTo>
                    <a:pt x="60" y="786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54" y="762"/>
                  </a:lnTo>
                  <a:lnTo>
                    <a:pt x="42" y="762"/>
                  </a:lnTo>
                  <a:lnTo>
                    <a:pt x="36" y="762"/>
                  </a:lnTo>
                  <a:lnTo>
                    <a:pt x="30" y="762"/>
                  </a:lnTo>
                  <a:lnTo>
                    <a:pt x="30" y="756"/>
                  </a:lnTo>
                  <a:lnTo>
                    <a:pt x="24" y="750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702"/>
                  </a:lnTo>
                  <a:lnTo>
                    <a:pt x="36" y="684"/>
                  </a:lnTo>
                  <a:lnTo>
                    <a:pt x="36" y="678"/>
                  </a:lnTo>
                  <a:lnTo>
                    <a:pt x="36" y="666"/>
                  </a:lnTo>
                  <a:lnTo>
                    <a:pt x="36" y="654"/>
                  </a:lnTo>
                  <a:lnTo>
                    <a:pt x="18" y="654"/>
                  </a:lnTo>
                  <a:lnTo>
                    <a:pt x="18" y="648"/>
                  </a:lnTo>
                  <a:lnTo>
                    <a:pt x="18" y="618"/>
                  </a:lnTo>
                  <a:lnTo>
                    <a:pt x="18" y="612"/>
                  </a:lnTo>
                  <a:lnTo>
                    <a:pt x="24" y="612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54" y="588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76"/>
                  </a:lnTo>
                  <a:lnTo>
                    <a:pt x="48" y="564"/>
                  </a:lnTo>
                  <a:lnTo>
                    <a:pt x="42" y="564"/>
                  </a:lnTo>
                  <a:lnTo>
                    <a:pt x="36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6" y="540"/>
                  </a:lnTo>
                  <a:lnTo>
                    <a:pt x="48" y="534"/>
                  </a:lnTo>
                  <a:lnTo>
                    <a:pt x="54" y="528"/>
                  </a:lnTo>
                  <a:lnTo>
                    <a:pt x="60" y="504"/>
                  </a:lnTo>
                  <a:lnTo>
                    <a:pt x="60" y="492"/>
                  </a:lnTo>
                  <a:lnTo>
                    <a:pt x="54" y="492"/>
                  </a:lnTo>
                  <a:lnTo>
                    <a:pt x="54" y="480"/>
                  </a:lnTo>
                  <a:lnTo>
                    <a:pt x="48" y="456"/>
                  </a:lnTo>
                  <a:lnTo>
                    <a:pt x="42" y="450"/>
                  </a:lnTo>
                  <a:lnTo>
                    <a:pt x="36" y="444"/>
                  </a:lnTo>
                  <a:lnTo>
                    <a:pt x="36" y="420"/>
                  </a:lnTo>
                  <a:lnTo>
                    <a:pt x="36" y="408"/>
                  </a:lnTo>
                  <a:lnTo>
                    <a:pt x="36" y="37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60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6" y="300"/>
                  </a:lnTo>
                  <a:lnTo>
                    <a:pt x="60" y="294"/>
                  </a:lnTo>
                  <a:lnTo>
                    <a:pt x="60" y="288"/>
                  </a:lnTo>
                  <a:lnTo>
                    <a:pt x="54" y="282"/>
                  </a:lnTo>
                  <a:lnTo>
                    <a:pt x="42" y="276"/>
                  </a:lnTo>
                  <a:lnTo>
                    <a:pt x="36" y="276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0" y="252"/>
                  </a:lnTo>
                  <a:lnTo>
                    <a:pt x="24" y="246"/>
                  </a:lnTo>
                  <a:lnTo>
                    <a:pt x="24" y="240"/>
                  </a:lnTo>
                  <a:lnTo>
                    <a:pt x="24" y="228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62"/>
                  </a:lnTo>
                  <a:lnTo>
                    <a:pt x="24" y="144"/>
                  </a:lnTo>
                  <a:lnTo>
                    <a:pt x="24" y="132"/>
                  </a:lnTo>
                  <a:lnTo>
                    <a:pt x="24" y="114"/>
                  </a:lnTo>
                  <a:lnTo>
                    <a:pt x="24" y="102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18" y="48"/>
                  </a:lnTo>
                  <a:lnTo>
                    <a:pt x="42" y="36"/>
                  </a:lnTo>
                  <a:lnTo>
                    <a:pt x="54" y="24"/>
                  </a:lnTo>
                  <a:lnTo>
                    <a:pt x="60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10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14" y="60"/>
                  </a:lnTo>
                  <a:lnTo>
                    <a:pt x="120" y="60"/>
                  </a:lnTo>
                  <a:lnTo>
                    <a:pt x="114" y="84"/>
                  </a:lnTo>
                  <a:lnTo>
                    <a:pt x="120" y="90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38" y="114"/>
                  </a:lnTo>
                  <a:lnTo>
                    <a:pt x="138" y="132"/>
                  </a:lnTo>
                  <a:lnTo>
                    <a:pt x="162" y="126"/>
                  </a:lnTo>
                  <a:lnTo>
                    <a:pt x="162" y="114"/>
                  </a:lnTo>
                  <a:lnTo>
                    <a:pt x="174" y="108"/>
                  </a:lnTo>
                  <a:lnTo>
                    <a:pt x="174" y="102"/>
                  </a:lnTo>
                  <a:lnTo>
                    <a:pt x="180" y="96"/>
                  </a:lnTo>
                  <a:lnTo>
                    <a:pt x="180" y="60"/>
                  </a:lnTo>
                  <a:lnTo>
                    <a:pt x="192" y="60"/>
                  </a:lnTo>
                  <a:lnTo>
                    <a:pt x="192" y="72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04" y="108"/>
                  </a:lnTo>
                  <a:lnTo>
                    <a:pt x="204" y="114"/>
                  </a:lnTo>
                  <a:lnTo>
                    <a:pt x="204" y="120"/>
                  </a:lnTo>
                  <a:lnTo>
                    <a:pt x="204" y="126"/>
                  </a:lnTo>
                  <a:lnTo>
                    <a:pt x="210" y="126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8" y="174"/>
                  </a:lnTo>
                  <a:lnTo>
                    <a:pt x="198" y="180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86" y="204"/>
                  </a:lnTo>
                  <a:lnTo>
                    <a:pt x="186" y="210"/>
                  </a:lnTo>
                  <a:lnTo>
                    <a:pt x="180" y="210"/>
                  </a:lnTo>
                  <a:lnTo>
                    <a:pt x="180" y="216"/>
                  </a:lnTo>
                  <a:lnTo>
                    <a:pt x="180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92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8" y="258"/>
                  </a:lnTo>
                  <a:lnTo>
                    <a:pt x="204" y="258"/>
                  </a:lnTo>
                  <a:lnTo>
                    <a:pt x="210" y="258"/>
                  </a:lnTo>
                  <a:lnTo>
                    <a:pt x="216" y="258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34" y="276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46" y="306"/>
                  </a:lnTo>
                  <a:lnTo>
                    <a:pt x="252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42"/>
                  </a:lnTo>
                  <a:lnTo>
                    <a:pt x="270" y="342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88" y="366"/>
                  </a:lnTo>
                  <a:lnTo>
                    <a:pt x="336" y="360"/>
                  </a:lnTo>
                  <a:lnTo>
                    <a:pt x="354" y="360"/>
                  </a:lnTo>
                  <a:lnTo>
                    <a:pt x="366" y="372"/>
                  </a:lnTo>
                  <a:lnTo>
                    <a:pt x="378" y="378"/>
                  </a:lnTo>
                  <a:lnTo>
                    <a:pt x="378" y="390"/>
                  </a:lnTo>
                  <a:lnTo>
                    <a:pt x="384" y="390"/>
                  </a:lnTo>
                  <a:lnTo>
                    <a:pt x="390" y="396"/>
                  </a:lnTo>
                  <a:lnTo>
                    <a:pt x="408" y="390"/>
                  </a:lnTo>
                  <a:lnTo>
                    <a:pt x="426" y="366"/>
                  </a:lnTo>
                  <a:lnTo>
                    <a:pt x="432" y="360"/>
                  </a:lnTo>
                  <a:lnTo>
                    <a:pt x="438" y="348"/>
                  </a:lnTo>
                  <a:lnTo>
                    <a:pt x="438" y="342"/>
                  </a:lnTo>
                  <a:lnTo>
                    <a:pt x="438" y="330"/>
                  </a:lnTo>
                  <a:lnTo>
                    <a:pt x="444" y="324"/>
                  </a:lnTo>
                  <a:lnTo>
                    <a:pt x="450" y="318"/>
                  </a:lnTo>
                  <a:lnTo>
                    <a:pt x="456" y="312"/>
                  </a:lnTo>
                  <a:lnTo>
                    <a:pt x="456" y="306"/>
                  </a:lnTo>
                  <a:lnTo>
                    <a:pt x="456" y="300"/>
                  </a:lnTo>
                  <a:lnTo>
                    <a:pt x="474" y="288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92" y="294"/>
                  </a:lnTo>
                  <a:lnTo>
                    <a:pt x="492" y="318"/>
                  </a:lnTo>
                  <a:lnTo>
                    <a:pt x="504" y="324"/>
                  </a:lnTo>
                  <a:lnTo>
                    <a:pt x="492" y="348"/>
                  </a:lnTo>
                  <a:lnTo>
                    <a:pt x="522" y="348"/>
                  </a:lnTo>
                  <a:lnTo>
                    <a:pt x="528" y="342"/>
                  </a:lnTo>
                  <a:lnTo>
                    <a:pt x="528" y="336"/>
                  </a:lnTo>
                  <a:lnTo>
                    <a:pt x="528" y="330"/>
                  </a:lnTo>
                  <a:lnTo>
                    <a:pt x="534" y="330"/>
                  </a:lnTo>
                  <a:lnTo>
                    <a:pt x="540" y="330"/>
                  </a:lnTo>
                  <a:lnTo>
                    <a:pt x="546" y="330"/>
                  </a:lnTo>
                  <a:lnTo>
                    <a:pt x="552" y="324"/>
                  </a:lnTo>
                  <a:lnTo>
                    <a:pt x="558" y="318"/>
                  </a:lnTo>
                  <a:lnTo>
                    <a:pt x="576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8" y="348"/>
                  </a:lnTo>
                  <a:lnTo>
                    <a:pt x="654" y="354"/>
                  </a:lnTo>
                  <a:lnTo>
                    <a:pt x="648" y="402"/>
                  </a:lnTo>
                  <a:lnTo>
                    <a:pt x="678" y="402"/>
                  </a:lnTo>
                  <a:lnTo>
                    <a:pt x="678" y="420"/>
                  </a:lnTo>
                  <a:lnTo>
                    <a:pt x="684" y="438"/>
                  </a:lnTo>
                  <a:lnTo>
                    <a:pt x="684" y="450"/>
                  </a:lnTo>
                  <a:lnTo>
                    <a:pt x="684" y="456"/>
                  </a:lnTo>
                  <a:lnTo>
                    <a:pt x="690" y="468"/>
                  </a:lnTo>
                  <a:lnTo>
                    <a:pt x="690" y="474"/>
                  </a:lnTo>
                  <a:lnTo>
                    <a:pt x="690" y="480"/>
                  </a:lnTo>
                  <a:lnTo>
                    <a:pt x="696" y="486"/>
                  </a:lnTo>
                  <a:lnTo>
                    <a:pt x="696" y="498"/>
                  </a:lnTo>
                  <a:lnTo>
                    <a:pt x="702" y="504"/>
                  </a:lnTo>
                  <a:lnTo>
                    <a:pt x="690" y="516"/>
                  </a:lnTo>
                  <a:lnTo>
                    <a:pt x="678" y="522"/>
                  </a:lnTo>
                  <a:lnTo>
                    <a:pt x="654" y="528"/>
                  </a:lnTo>
                  <a:lnTo>
                    <a:pt x="660" y="546"/>
                  </a:lnTo>
                  <a:lnTo>
                    <a:pt x="672" y="546"/>
                  </a:lnTo>
                  <a:lnTo>
                    <a:pt x="678" y="540"/>
                  </a:lnTo>
                  <a:lnTo>
                    <a:pt x="714" y="540"/>
                  </a:lnTo>
                  <a:lnTo>
                    <a:pt x="798" y="540"/>
                  </a:lnTo>
                  <a:lnTo>
                    <a:pt x="804" y="540"/>
                  </a:lnTo>
                  <a:lnTo>
                    <a:pt x="816" y="528"/>
                  </a:lnTo>
                  <a:lnTo>
                    <a:pt x="822" y="522"/>
                  </a:lnTo>
                  <a:lnTo>
                    <a:pt x="834" y="516"/>
                  </a:lnTo>
                  <a:lnTo>
                    <a:pt x="846" y="516"/>
                  </a:lnTo>
                  <a:lnTo>
                    <a:pt x="852" y="510"/>
                  </a:lnTo>
                  <a:lnTo>
                    <a:pt x="858" y="510"/>
                  </a:lnTo>
                  <a:lnTo>
                    <a:pt x="882" y="516"/>
                  </a:lnTo>
                  <a:lnTo>
                    <a:pt x="888" y="516"/>
                  </a:lnTo>
                  <a:lnTo>
                    <a:pt x="888" y="510"/>
                  </a:lnTo>
                  <a:lnTo>
                    <a:pt x="894" y="510"/>
                  </a:lnTo>
                  <a:lnTo>
                    <a:pt x="906" y="504"/>
                  </a:lnTo>
                  <a:lnTo>
                    <a:pt x="918" y="498"/>
                  </a:lnTo>
                  <a:lnTo>
                    <a:pt x="930" y="492"/>
                  </a:lnTo>
                  <a:lnTo>
                    <a:pt x="936" y="492"/>
                  </a:lnTo>
                  <a:lnTo>
                    <a:pt x="948" y="492"/>
                  </a:lnTo>
                  <a:lnTo>
                    <a:pt x="954" y="528"/>
                  </a:lnTo>
                  <a:lnTo>
                    <a:pt x="954" y="564"/>
                  </a:lnTo>
                  <a:lnTo>
                    <a:pt x="972" y="564"/>
                  </a:lnTo>
                  <a:lnTo>
                    <a:pt x="978" y="558"/>
                  </a:lnTo>
                  <a:lnTo>
                    <a:pt x="990" y="552"/>
                  </a:lnTo>
                  <a:lnTo>
                    <a:pt x="1002" y="540"/>
                  </a:lnTo>
                  <a:lnTo>
                    <a:pt x="1026" y="534"/>
                  </a:lnTo>
                  <a:lnTo>
                    <a:pt x="1032" y="540"/>
                  </a:lnTo>
                  <a:lnTo>
                    <a:pt x="1044" y="546"/>
                  </a:lnTo>
                  <a:lnTo>
                    <a:pt x="1062" y="552"/>
                  </a:lnTo>
                  <a:lnTo>
                    <a:pt x="1068" y="552"/>
                  </a:lnTo>
                  <a:lnTo>
                    <a:pt x="1068" y="570"/>
                  </a:lnTo>
                  <a:lnTo>
                    <a:pt x="1068" y="576"/>
                  </a:lnTo>
                  <a:lnTo>
                    <a:pt x="1068" y="582"/>
                  </a:lnTo>
                  <a:lnTo>
                    <a:pt x="1068" y="588"/>
                  </a:lnTo>
                  <a:lnTo>
                    <a:pt x="1068" y="594"/>
                  </a:lnTo>
                  <a:lnTo>
                    <a:pt x="1080" y="600"/>
                  </a:lnTo>
                  <a:lnTo>
                    <a:pt x="1086" y="606"/>
                  </a:lnTo>
                  <a:lnTo>
                    <a:pt x="1092" y="594"/>
                  </a:lnTo>
                  <a:lnTo>
                    <a:pt x="1104" y="588"/>
                  </a:lnTo>
                  <a:lnTo>
                    <a:pt x="1116" y="588"/>
                  </a:lnTo>
                  <a:lnTo>
                    <a:pt x="1122" y="588"/>
                  </a:lnTo>
                  <a:lnTo>
                    <a:pt x="1122" y="594"/>
                  </a:lnTo>
                  <a:lnTo>
                    <a:pt x="1128" y="594"/>
                  </a:lnTo>
                  <a:lnTo>
                    <a:pt x="1134" y="594"/>
                  </a:lnTo>
                  <a:lnTo>
                    <a:pt x="1140" y="594"/>
                  </a:lnTo>
                  <a:lnTo>
                    <a:pt x="1146" y="588"/>
                  </a:lnTo>
                  <a:lnTo>
                    <a:pt x="1158" y="582"/>
                  </a:lnTo>
                  <a:lnTo>
                    <a:pt x="1164" y="576"/>
                  </a:lnTo>
                  <a:lnTo>
                    <a:pt x="1176" y="576"/>
                  </a:lnTo>
                  <a:lnTo>
                    <a:pt x="1194" y="576"/>
                  </a:lnTo>
                  <a:lnTo>
                    <a:pt x="1218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24" y="594"/>
                  </a:lnTo>
                  <a:lnTo>
                    <a:pt x="1212" y="600"/>
                  </a:lnTo>
                  <a:lnTo>
                    <a:pt x="1206" y="606"/>
                  </a:lnTo>
                  <a:lnTo>
                    <a:pt x="1200" y="606"/>
                  </a:lnTo>
                  <a:lnTo>
                    <a:pt x="1200" y="612"/>
                  </a:lnTo>
                  <a:lnTo>
                    <a:pt x="1194" y="612"/>
                  </a:lnTo>
                  <a:lnTo>
                    <a:pt x="1194" y="618"/>
                  </a:lnTo>
                  <a:lnTo>
                    <a:pt x="1194" y="624"/>
                  </a:lnTo>
                  <a:lnTo>
                    <a:pt x="1194" y="630"/>
                  </a:lnTo>
                  <a:lnTo>
                    <a:pt x="1194" y="648"/>
                  </a:lnTo>
                  <a:lnTo>
                    <a:pt x="1194" y="660"/>
                  </a:lnTo>
                  <a:lnTo>
                    <a:pt x="1194" y="666"/>
                  </a:lnTo>
                  <a:lnTo>
                    <a:pt x="1194" y="672"/>
                  </a:lnTo>
                  <a:lnTo>
                    <a:pt x="1194" y="678"/>
                  </a:lnTo>
                  <a:lnTo>
                    <a:pt x="1188" y="684"/>
                  </a:lnTo>
                  <a:lnTo>
                    <a:pt x="1188" y="690"/>
                  </a:lnTo>
                  <a:lnTo>
                    <a:pt x="1188" y="696"/>
                  </a:lnTo>
                  <a:lnTo>
                    <a:pt x="1188" y="702"/>
                  </a:lnTo>
                  <a:lnTo>
                    <a:pt x="1188" y="708"/>
                  </a:lnTo>
                  <a:lnTo>
                    <a:pt x="1188" y="714"/>
                  </a:lnTo>
                  <a:lnTo>
                    <a:pt x="1182" y="720"/>
                  </a:lnTo>
                  <a:lnTo>
                    <a:pt x="1170" y="720"/>
                  </a:lnTo>
                  <a:lnTo>
                    <a:pt x="1158" y="726"/>
                  </a:lnTo>
                  <a:lnTo>
                    <a:pt x="1152" y="726"/>
                  </a:lnTo>
                  <a:lnTo>
                    <a:pt x="1152" y="732"/>
                  </a:lnTo>
                  <a:lnTo>
                    <a:pt x="1146" y="738"/>
                  </a:lnTo>
                  <a:lnTo>
                    <a:pt x="1140" y="738"/>
                  </a:lnTo>
                  <a:lnTo>
                    <a:pt x="1140" y="744"/>
                  </a:lnTo>
                  <a:lnTo>
                    <a:pt x="1134" y="744"/>
                  </a:lnTo>
                  <a:lnTo>
                    <a:pt x="1128" y="744"/>
                  </a:lnTo>
                  <a:lnTo>
                    <a:pt x="1122" y="750"/>
                  </a:lnTo>
                  <a:lnTo>
                    <a:pt x="1128" y="750"/>
                  </a:lnTo>
                  <a:lnTo>
                    <a:pt x="1122" y="756"/>
                  </a:lnTo>
                  <a:lnTo>
                    <a:pt x="1116" y="756"/>
                  </a:lnTo>
                  <a:lnTo>
                    <a:pt x="1110" y="762"/>
                  </a:lnTo>
                  <a:lnTo>
                    <a:pt x="1104" y="762"/>
                  </a:lnTo>
                  <a:lnTo>
                    <a:pt x="1104" y="768"/>
                  </a:lnTo>
                  <a:lnTo>
                    <a:pt x="1098" y="768"/>
                  </a:lnTo>
                  <a:lnTo>
                    <a:pt x="1098" y="774"/>
                  </a:lnTo>
                  <a:lnTo>
                    <a:pt x="1092" y="774"/>
                  </a:lnTo>
                  <a:lnTo>
                    <a:pt x="1092" y="780"/>
                  </a:lnTo>
                  <a:lnTo>
                    <a:pt x="1086" y="780"/>
                  </a:lnTo>
                  <a:lnTo>
                    <a:pt x="1086" y="786"/>
                  </a:lnTo>
                  <a:lnTo>
                    <a:pt x="1080" y="786"/>
                  </a:lnTo>
                  <a:lnTo>
                    <a:pt x="1080" y="792"/>
                  </a:lnTo>
                  <a:lnTo>
                    <a:pt x="1080" y="798"/>
                  </a:lnTo>
                  <a:lnTo>
                    <a:pt x="1080" y="804"/>
                  </a:lnTo>
                  <a:lnTo>
                    <a:pt x="1086" y="810"/>
                  </a:lnTo>
                  <a:lnTo>
                    <a:pt x="1080" y="816"/>
                  </a:lnTo>
                  <a:lnTo>
                    <a:pt x="1080" y="822"/>
                  </a:lnTo>
                  <a:lnTo>
                    <a:pt x="1074" y="822"/>
                  </a:lnTo>
                  <a:lnTo>
                    <a:pt x="1068" y="828"/>
                  </a:lnTo>
                  <a:lnTo>
                    <a:pt x="1074" y="828"/>
                  </a:lnTo>
                  <a:lnTo>
                    <a:pt x="1074" y="834"/>
                  </a:lnTo>
                  <a:lnTo>
                    <a:pt x="1080" y="846"/>
                  </a:lnTo>
                  <a:lnTo>
                    <a:pt x="1086" y="846"/>
                  </a:lnTo>
                  <a:lnTo>
                    <a:pt x="1092" y="852"/>
                  </a:lnTo>
                  <a:lnTo>
                    <a:pt x="1092" y="858"/>
                  </a:lnTo>
                  <a:lnTo>
                    <a:pt x="1098" y="858"/>
                  </a:lnTo>
                  <a:lnTo>
                    <a:pt x="1110" y="864"/>
                  </a:lnTo>
                  <a:lnTo>
                    <a:pt x="1116" y="864"/>
                  </a:lnTo>
                  <a:lnTo>
                    <a:pt x="1122" y="864"/>
                  </a:lnTo>
                  <a:lnTo>
                    <a:pt x="1128" y="864"/>
                  </a:lnTo>
                  <a:lnTo>
                    <a:pt x="1134" y="876"/>
                  </a:lnTo>
                  <a:lnTo>
                    <a:pt x="1140" y="882"/>
                  </a:lnTo>
                  <a:lnTo>
                    <a:pt x="1140" y="888"/>
                  </a:lnTo>
                  <a:lnTo>
                    <a:pt x="1152" y="918"/>
                  </a:lnTo>
                  <a:lnTo>
                    <a:pt x="1158" y="894"/>
                  </a:lnTo>
                  <a:lnTo>
                    <a:pt x="1164" y="888"/>
                  </a:lnTo>
                  <a:lnTo>
                    <a:pt x="1164" y="882"/>
                  </a:lnTo>
                  <a:lnTo>
                    <a:pt x="1176" y="864"/>
                  </a:lnTo>
                  <a:lnTo>
                    <a:pt x="1182" y="858"/>
                  </a:lnTo>
                  <a:lnTo>
                    <a:pt x="1188" y="846"/>
                  </a:lnTo>
                  <a:lnTo>
                    <a:pt x="1200" y="840"/>
                  </a:lnTo>
                  <a:lnTo>
                    <a:pt x="1212" y="840"/>
                  </a:lnTo>
                  <a:lnTo>
                    <a:pt x="1218" y="846"/>
                  </a:lnTo>
                  <a:lnTo>
                    <a:pt x="1224" y="858"/>
                  </a:lnTo>
                  <a:lnTo>
                    <a:pt x="1224" y="864"/>
                  </a:lnTo>
                  <a:lnTo>
                    <a:pt x="1224" y="876"/>
                  </a:lnTo>
                  <a:lnTo>
                    <a:pt x="1212" y="912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00" y="930"/>
                  </a:lnTo>
                  <a:lnTo>
                    <a:pt x="1200" y="942"/>
                  </a:lnTo>
                  <a:lnTo>
                    <a:pt x="1194" y="948"/>
                  </a:lnTo>
                  <a:lnTo>
                    <a:pt x="1194" y="960"/>
                  </a:lnTo>
                  <a:lnTo>
                    <a:pt x="1194" y="966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70" y="984"/>
                  </a:lnTo>
                  <a:lnTo>
                    <a:pt x="1164" y="984"/>
                  </a:lnTo>
                  <a:lnTo>
                    <a:pt x="1158" y="984"/>
                  </a:lnTo>
                  <a:lnTo>
                    <a:pt x="1146" y="984"/>
                  </a:lnTo>
                  <a:lnTo>
                    <a:pt x="1140" y="990"/>
                  </a:lnTo>
                  <a:lnTo>
                    <a:pt x="1140" y="996"/>
                  </a:lnTo>
                  <a:lnTo>
                    <a:pt x="1152" y="996"/>
                  </a:lnTo>
                  <a:lnTo>
                    <a:pt x="1176" y="1002"/>
                  </a:lnTo>
                  <a:lnTo>
                    <a:pt x="1194" y="1008"/>
                  </a:lnTo>
                  <a:lnTo>
                    <a:pt x="1206" y="1008"/>
                  </a:lnTo>
                  <a:lnTo>
                    <a:pt x="1218" y="1014"/>
                  </a:lnTo>
                  <a:lnTo>
                    <a:pt x="1212" y="1038"/>
                  </a:lnTo>
                  <a:lnTo>
                    <a:pt x="1212" y="1044"/>
                  </a:lnTo>
                  <a:lnTo>
                    <a:pt x="1206" y="1044"/>
                  </a:lnTo>
                  <a:lnTo>
                    <a:pt x="1206" y="1050"/>
                  </a:lnTo>
                  <a:lnTo>
                    <a:pt x="1194" y="1050"/>
                  </a:lnTo>
                  <a:lnTo>
                    <a:pt x="1188" y="1044"/>
                  </a:lnTo>
                  <a:lnTo>
                    <a:pt x="1158" y="1020"/>
                  </a:lnTo>
                  <a:lnTo>
                    <a:pt x="1152" y="1020"/>
                  </a:lnTo>
                  <a:lnTo>
                    <a:pt x="1140" y="1020"/>
                  </a:lnTo>
                  <a:lnTo>
                    <a:pt x="1134" y="1020"/>
                  </a:lnTo>
                  <a:lnTo>
                    <a:pt x="1134" y="1026"/>
                  </a:lnTo>
                  <a:lnTo>
                    <a:pt x="1134" y="1032"/>
                  </a:lnTo>
                  <a:lnTo>
                    <a:pt x="1128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2" name="Freeform 27">
              <a:extLst>
                <a:ext uri="{FF2B5EF4-FFF2-40B4-BE49-F238E27FC236}">
                  <a16:creationId xmlns:a16="http://schemas.microsoft.com/office/drawing/2014/main" id="{CE95C9DF-B651-4085-946F-65424BC51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2063" y="3421400"/>
              <a:ext cx="342138" cy="377969"/>
            </a:xfrm>
            <a:custGeom>
              <a:avLst/>
              <a:gdLst>
                <a:gd name="T0" fmla="*/ 43 w 642"/>
                <a:gd name="T1" fmla="*/ 41 h 708"/>
                <a:gd name="T2" fmla="*/ 39 w 642"/>
                <a:gd name="T3" fmla="*/ 41 h 708"/>
                <a:gd name="T4" fmla="*/ 38 w 642"/>
                <a:gd name="T5" fmla="*/ 47 h 708"/>
                <a:gd name="T6" fmla="*/ 38 w 642"/>
                <a:gd name="T7" fmla="*/ 49 h 708"/>
                <a:gd name="T8" fmla="*/ 38 w 642"/>
                <a:gd name="T9" fmla="*/ 50 h 708"/>
                <a:gd name="T10" fmla="*/ 36 w 642"/>
                <a:gd name="T11" fmla="*/ 52 h 708"/>
                <a:gd name="T12" fmla="*/ 35 w 642"/>
                <a:gd name="T13" fmla="*/ 53 h 708"/>
                <a:gd name="T14" fmla="*/ 33 w 642"/>
                <a:gd name="T15" fmla="*/ 55 h 708"/>
                <a:gd name="T16" fmla="*/ 32 w 642"/>
                <a:gd name="T17" fmla="*/ 56 h 708"/>
                <a:gd name="T18" fmla="*/ 31 w 642"/>
                <a:gd name="T19" fmla="*/ 59 h 708"/>
                <a:gd name="T20" fmla="*/ 26 w 642"/>
                <a:gd name="T21" fmla="*/ 59 h 708"/>
                <a:gd name="T22" fmla="*/ 23 w 642"/>
                <a:gd name="T23" fmla="*/ 61 h 708"/>
                <a:gd name="T24" fmla="*/ 20 w 642"/>
                <a:gd name="T25" fmla="*/ 61 h 708"/>
                <a:gd name="T26" fmla="*/ 17 w 642"/>
                <a:gd name="T27" fmla="*/ 59 h 708"/>
                <a:gd name="T28" fmla="*/ 15 w 642"/>
                <a:gd name="T29" fmla="*/ 56 h 708"/>
                <a:gd name="T30" fmla="*/ 9 w 642"/>
                <a:gd name="T31" fmla="*/ 58 h 708"/>
                <a:gd name="T32" fmla="*/ 6 w 642"/>
                <a:gd name="T33" fmla="*/ 52 h 708"/>
                <a:gd name="T34" fmla="*/ 2 w 642"/>
                <a:gd name="T35" fmla="*/ 53 h 708"/>
                <a:gd name="T36" fmla="*/ 1 w 642"/>
                <a:gd name="T37" fmla="*/ 51 h 708"/>
                <a:gd name="T38" fmla="*/ 4 w 642"/>
                <a:gd name="T39" fmla="*/ 47 h 708"/>
                <a:gd name="T40" fmla="*/ 5 w 642"/>
                <a:gd name="T41" fmla="*/ 41 h 708"/>
                <a:gd name="T42" fmla="*/ 5 w 642"/>
                <a:gd name="T43" fmla="*/ 38 h 708"/>
                <a:gd name="T44" fmla="*/ 5 w 642"/>
                <a:gd name="T45" fmla="*/ 35 h 708"/>
                <a:gd name="T46" fmla="*/ 6 w 642"/>
                <a:gd name="T47" fmla="*/ 33 h 708"/>
                <a:gd name="T48" fmla="*/ 5 w 642"/>
                <a:gd name="T49" fmla="*/ 29 h 708"/>
                <a:gd name="T50" fmla="*/ 4 w 642"/>
                <a:gd name="T51" fmla="*/ 28 h 708"/>
                <a:gd name="T52" fmla="*/ 1 w 642"/>
                <a:gd name="T53" fmla="*/ 26 h 708"/>
                <a:gd name="T54" fmla="*/ 1 w 642"/>
                <a:gd name="T55" fmla="*/ 24 h 708"/>
                <a:gd name="T56" fmla="*/ 1 w 642"/>
                <a:gd name="T57" fmla="*/ 20 h 708"/>
                <a:gd name="T58" fmla="*/ 1 w 642"/>
                <a:gd name="T59" fmla="*/ 16 h 708"/>
                <a:gd name="T60" fmla="*/ 2 w 642"/>
                <a:gd name="T61" fmla="*/ 14 h 708"/>
                <a:gd name="T62" fmla="*/ 8 w 642"/>
                <a:gd name="T63" fmla="*/ 14 h 708"/>
                <a:gd name="T64" fmla="*/ 9 w 642"/>
                <a:gd name="T65" fmla="*/ 10 h 708"/>
                <a:gd name="T66" fmla="*/ 15 w 642"/>
                <a:gd name="T67" fmla="*/ 9 h 708"/>
                <a:gd name="T68" fmla="*/ 18 w 642"/>
                <a:gd name="T69" fmla="*/ 14 h 708"/>
                <a:gd name="T70" fmla="*/ 20 w 642"/>
                <a:gd name="T71" fmla="*/ 12 h 708"/>
                <a:gd name="T72" fmla="*/ 20 w 642"/>
                <a:gd name="T73" fmla="*/ 11 h 708"/>
                <a:gd name="T74" fmla="*/ 21 w 642"/>
                <a:gd name="T75" fmla="*/ 9 h 708"/>
                <a:gd name="T76" fmla="*/ 24 w 642"/>
                <a:gd name="T77" fmla="*/ 9 h 708"/>
                <a:gd name="T78" fmla="*/ 27 w 642"/>
                <a:gd name="T79" fmla="*/ 8 h 708"/>
                <a:gd name="T80" fmla="*/ 33 w 642"/>
                <a:gd name="T81" fmla="*/ 2 h 708"/>
                <a:gd name="T82" fmla="*/ 42 w 642"/>
                <a:gd name="T83" fmla="*/ 2 h 708"/>
                <a:gd name="T84" fmla="*/ 49 w 642"/>
                <a:gd name="T85" fmla="*/ 1 h 708"/>
                <a:gd name="T86" fmla="*/ 53 w 642"/>
                <a:gd name="T87" fmla="*/ 4 h 708"/>
                <a:gd name="T88" fmla="*/ 55 w 642"/>
                <a:gd name="T89" fmla="*/ 4 h 708"/>
                <a:gd name="T90" fmla="*/ 55 w 642"/>
                <a:gd name="T91" fmla="*/ 7 h 708"/>
                <a:gd name="T92" fmla="*/ 52 w 642"/>
                <a:gd name="T93" fmla="*/ 9 h 708"/>
                <a:gd name="T94" fmla="*/ 49 w 642"/>
                <a:gd name="T95" fmla="*/ 12 h 708"/>
                <a:gd name="T96" fmla="*/ 47 w 642"/>
                <a:gd name="T97" fmla="*/ 14 h 708"/>
                <a:gd name="T98" fmla="*/ 47 w 642"/>
                <a:gd name="T99" fmla="*/ 17 h 708"/>
                <a:gd name="T100" fmla="*/ 45 w 642"/>
                <a:gd name="T101" fmla="*/ 26 h 708"/>
                <a:gd name="T102" fmla="*/ 50 w 642"/>
                <a:gd name="T103" fmla="*/ 37 h 70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42"/>
                <a:gd name="T157" fmla="*/ 0 h 708"/>
                <a:gd name="T158" fmla="*/ 642 w 642"/>
                <a:gd name="T159" fmla="*/ 708 h 70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42" h="708">
                  <a:moveTo>
                    <a:pt x="576" y="468"/>
                  </a:moveTo>
                  <a:lnTo>
                    <a:pt x="564" y="468"/>
                  </a:lnTo>
                  <a:lnTo>
                    <a:pt x="516" y="468"/>
                  </a:lnTo>
                  <a:lnTo>
                    <a:pt x="498" y="474"/>
                  </a:lnTo>
                  <a:lnTo>
                    <a:pt x="492" y="468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68" y="474"/>
                  </a:lnTo>
                  <a:lnTo>
                    <a:pt x="456" y="468"/>
                  </a:lnTo>
                  <a:lnTo>
                    <a:pt x="444" y="474"/>
                  </a:lnTo>
                  <a:lnTo>
                    <a:pt x="438" y="492"/>
                  </a:lnTo>
                  <a:lnTo>
                    <a:pt x="438" y="504"/>
                  </a:lnTo>
                  <a:lnTo>
                    <a:pt x="432" y="516"/>
                  </a:lnTo>
                  <a:lnTo>
                    <a:pt x="432" y="528"/>
                  </a:lnTo>
                  <a:lnTo>
                    <a:pt x="432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52"/>
                  </a:lnTo>
                  <a:lnTo>
                    <a:pt x="432" y="558"/>
                  </a:lnTo>
                  <a:lnTo>
                    <a:pt x="438" y="564"/>
                  </a:lnTo>
                  <a:lnTo>
                    <a:pt x="444" y="564"/>
                  </a:lnTo>
                  <a:lnTo>
                    <a:pt x="438" y="564"/>
                  </a:lnTo>
                  <a:lnTo>
                    <a:pt x="438" y="570"/>
                  </a:lnTo>
                  <a:lnTo>
                    <a:pt x="432" y="570"/>
                  </a:lnTo>
                  <a:lnTo>
                    <a:pt x="432" y="576"/>
                  </a:lnTo>
                  <a:lnTo>
                    <a:pt x="426" y="588"/>
                  </a:lnTo>
                  <a:lnTo>
                    <a:pt x="420" y="594"/>
                  </a:lnTo>
                  <a:lnTo>
                    <a:pt x="420" y="600"/>
                  </a:lnTo>
                  <a:lnTo>
                    <a:pt x="414" y="600"/>
                  </a:lnTo>
                  <a:lnTo>
                    <a:pt x="414" y="606"/>
                  </a:lnTo>
                  <a:lnTo>
                    <a:pt x="408" y="606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396" y="612"/>
                  </a:lnTo>
                  <a:lnTo>
                    <a:pt x="390" y="612"/>
                  </a:lnTo>
                  <a:lnTo>
                    <a:pt x="390" y="618"/>
                  </a:lnTo>
                  <a:lnTo>
                    <a:pt x="384" y="618"/>
                  </a:lnTo>
                  <a:lnTo>
                    <a:pt x="378" y="618"/>
                  </a:lnTo>
                  <a:lnTo>
                    <a:pt x="378" y="624"/>
                  </a:lnTo>
                  <a:lnTo>
                    <a:pt x="384" y="630"/>
                  </a:lnTo>
                  <a:lnTo>
                    <a:pt x="384" y="636"/>
                  </a:lnTo>
                  <a:lnTo>
                    <a:pt x="378" y="630"/>
                  </a:lnTo>
                  <a:lnTo>
                    <a:pt x="372" y="636"/>
                  </a:lnTo>
                  <a:lnTo>
                    <a:pt x="372" y="642"/>
                  </a:lnTo>
                  <a:lnTo>
                    <a:pt x="366" y="642"/>
                  </a:lnTo>
                  <a:lnTo>
                    <a:pt x="360" y="654"/>
                  </a:lnTo>
                  <a:lnTo>
                    <a:pt x="354" y="666"/>
                  </a:lnTo>
                  <a:lnTo>
                    <a:pt x="354" y="672"/>
                  </a:lnTo>
                  <a:lnTo>
                    <a:pt x="354" y="678"/>
                  </a:lnTo>
                  <a:lnTo>
                    <a:pt x="354" y="684"/>
                  </a:lnTo>
                  <a:lnTo>
                    <a:pt x="348" y="678"/>
                  </a:lnTo>
                  <a:lnTo>
                    <a:pt x="324" y="678"/>
                  </a:lnTo>
                  <a:lnTo>
                    <a:pt x="306" y="678"/>
                  </a:lnTo>
                  <a:lnTo>
                    <a:pt x="294" y="678"/>
                  </a:lnTo>
                  <a:lnTo>
                    <a:pt x="288" y="684"/>
                  </a:lnTo>
                  <a:lnTo>
                    <a:pt x="276" y="690"/>
                  </a:lnTo>
                  <a:lnTo>
                    <a:pt x="270" y="696"/>
                  </a:lnTo>
                  <a:lnTo>
                    <a:pt x="264" y="696"/>
                  </a:lnTo>
                  <a:lnTo>
                    <a:pt x="258" y="696"/>
                  </a:lnTo>
                  <a:lnTo>
                    <a:pt x="252" y="696"/>
                  </a:lnTo>
                  <a:lnTo>
                    <a:pt x="252" y="690"/>
                  </a:lnTo>
                  <a:lnTo>
                    <a:pt x="246" y="690"/>
                  </a:lnTo>
                  <a:lnTo>
                    <a:pt x="234" y="690"/>
                  </a:lnTo>
                  <a:lnTo>
                    <a:pt x="222" y="696"/>
                  </a:lnTo>
                  <a:lnTo>
                    <a:pt x="216" y="708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8" y="690"/>
                  </a:lnTo>
                  <a:lnTo>
                    <a:pt x="198" y="684"/>
                  </a:lnTo>
                  <a:lnTo>
                    <a:pt x="198" y="678"/>
                  </a:lnTo>
                  <a:lnTo>
                    <a:pt x="198" y="672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74" y="648"/>
                  </a:lnTo>
                  <a:lnTo>
                    <a:pt x="162" y="642"/>
                  </a:lnTo>
                  <a:lnTo>
                    <a:pt x="156" y="636"/>
                  </a:lnTo>
                  <a:lnTo>
                    <a:pt x="132" y="642"/>
                  </a:lnTo>
                  <a:lnTo>
                    <a:pt x="120" y="654"/>
                  </a:lnTo>
                  <a:lnTo>
                    <a:pt x="108" y="660"/>
                  </a:lnTo>
                  <a:lnTo>
                    <a:pt x="102" y="666"/>
                  </a:lnTo>
                  <a:lnTo>
                    <a:pt x="84" y="666"/>
                  </a:lnTo>
                  <a:lnTo>
                    <a:pt x="84" y="630"/>
                  </a:lnTo>
                  <a:lnTo>
                    <a:pt x="78" y="594"/>
                  </a:lnTo>
                  <a:lnTo>
                    <a:pt x="66" y="594"/>
                  </a:lnTo>
                  <a:lnTo>
                    <a:pt x="60" y="594"/>
                  </a:lnTo>
                  <a:lnTo>
                    <a:pt x="48" y="600"/>
                  </a:lnTo>
                  <a:lnTo>
                    <a:pt x="36" y="606"/>
                  </a:lnTo>
                  <a:lnTo>
                    <a:pt x="24" y="612"/>
                  </a:lnTo>
                  <a:lnTo>
                    <a:pt x="18" y="612"/>
                  </a:lnTo>
                  <a:lnTo>
                    <a:pt x="12" y="606"/>
                  </a:lnTo>
                  <a:lnTo>
                    <a:pt x="12" y="600"/>
                  </a:lnTo>
                  <a:lnTo>
                    <a:pt x="12" y="594"/>
                  </a:lnTo>
                  <a:lnTo>
                    <a:pt x="12" y="588"/>
                  </a:lnTo>
                  <a:lnTo>
                    <a:pt x="12" y="582"/>
                  </a:lnTo>
                  <a:lnTo>
                    <a:pt x="12" y="576"/>
                  </a:lnTo>
                  <a:lnTo>
                    <a:pt x="18" y="552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42" y="534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48" y="492"/>
                  </a:lnTo>
                  <a:lnTo>
                    <a:pt x="48" y="480"/>
                  </a:lnTo>
                  <a:lnTo>
                    <a:pt x="54" y="468"/>
                  </a:lnTo>
                  <a:lnTo>
                    <a:pt x="48" y="456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66" y="390"/>
                  </a:lnTo>
                  <a:lnTo>
                    <a:pt x="72" y="384"/>
                  </a:lnTo>
                  <a:lnTo>
                    <a:pt x="72" y="378"/>
                  </a:lnTo>
                  <a:lnTo>
                    <a:pt x="66" y="378"/>
                  </a:lnTo>
                  <a:lnTo>
                    <a:pt x="66" y="366"/>
                  </a:lnTo>
                  <a:lnTo>
                    <a:pt x="60" y="360"/>
                  </a:lnTo>
                  <a:lnTo>
                    <a:pt x="66" y="354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48" y="312"/>
                  </a:lnTo>
                  <a:lnTo>
                    <a:pt x="30" y="312"/>
                  </a:lnTo>
                  <a:lnTo>
                    <a:pt x="24" y="306"/>
                  </a:lnTo>
                  <a:lnTo>
                    <a:pt x="18" y="306"/>
                  </a:lnTo>
                  <a:lnTo>
                    <a:pt x="12" y="294"/>
                  </a:lnTo>
                  <a:lnTo>
                    <a:pt x="12" y="282"/>
                  </a:lnTo>
                  <a:lnTo>
                    <a:pt x="6" y="276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12" y="270"/>
                  </a:lnTo>
                  <a:lnTo>
                    <a:pt x="12" y="246"/>
                  </a:lnTo>
                  <a:lnTo>
                    <a:pt x="12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8" y="174"/>
                  </a:lnTo>
                  <a:lnTo>
                    <a:pt x="12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48" y="162"/>
                  </a:lnTo>
                  <a:lnTo>
                    <a:pt x="72" y="162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84" y="132"/>
                  </a:lnTo>
                  <a:lnTo>
                    <a:pt x="90" y="120"/>
                  </a:lnTo>
                  <a:lnTo>
                    <a:pt x="108" y="114"/>
                  </a:lnTo>
                  <a:lnTo>
                    <a:pt x="114" y="102"/>
                  </a:lnTo>
                  <a:lnTo>
                    <a:pt x="120" y="90"/>
                  </a:lnTo>
                  <a:lnTo>
                    <a:pt x="138" y="90"/>
                  </a:lnTo>
                  <a:lnTo>
                    <a:pt x="138" y="102"/>
                  </a:lnTo>
                  <a:lnTo>
                    <a:pt x="168" y="108"/>
                  </a:lnTo>
                  <a:lnTo>
                    <a:pt x="168" y="114"/>
                  </a:lnTo>
                  <a:lnTo>
                    <a:pt x="174" y="126"/>
                  </a:lnTo>
                  <a:lnTo>
                    <a:pt x="186" y="150"/>
                  </a:lnTo>
                  <a:lnTo>
                    <a:pt x="186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34" y="144"/>
                  </a:lnTo>
                  <a:lnTo>
                    <a:pt x="240" y="138"/>
                  </a:lnTo>
                  <a:lnTo>
                    <a:pt x="240" y="126"/>
                  </a:lnTo>
                  <a:lnTo>
                    <a:pt x="234" y="126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34" y="102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82" y="102"/>
                  </a:lnTo>
                  <a:lnTo>
                    <a:pt x="288" y="102"/>
                  </a:lnTo>
                  <a:lnTo>
                    <a:pt x="294" y="102"/>
                  </a:lnTo>
                  <a:lnTo>
                    <a:pt x="300" y="96"/>
                  </a:lnTo>
                  <a:lnTo>
                    <a:pt x="306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84"/>
                  </a:lnTo>
                  <a:lnTo>
                    <a:pt x="324" y="18"/>
                  </a:lnTo>
                  <a:lnTo>
                    <a:pt x="360" y="18"/>
                  </a:lnTo>
                  <a:lnTo>
                    <a:pt x="378" y="18"/>
                  </a:lnTo>
                  <a:lnTo>
                    <a:pt x="378" y="30"/>
                  </a:lnTo>
                  <a:lnTo>
                    <a:pt x="390" y="30"/>
                  </a:lnTo>
                  <a:lnTo>
                    <a:pt x="432" y="30"/>
                  </a:lnTo>
                  <a:lnTo>
                    <a:pt x="456" y="24"/>
                  </a:lnTo>
                  <a:lnTo>
                    <a:pt x="480" y="24"/>
                  </a:lnTo>
                  <a:lnTo>
                    <a:pt x="498" y="30"/>
                  </a:lnTo>
                  <a:lnTo>
                    <a:pt x="522" y="18"/>
                  </a:lnTo>
                  <a:lnTo>
                    <a:pt x="528" y="0"/>
                  </a:lnTo>
                  <a:lnTo>
                    <a:pt x="558" y="6"/>
                  </a:lnTo>
                  <a:lnTo>
                    <a:pt x="558" y="12"/>
                  </a:lnTo>
                  <a:lnTo>
                    <a:pt x="570" y="18"/>
                  </a:lnTo>
                  <a:lnTo>
                    <a:pt x="576" y="24"/>
                  </a:lnTo>
                  <a:lnTo>
                    <a:pt x="588" y="36"/>
                  </a:lnTo>
                  <a:lnTo>
                    <a:pt x="594" y="48"/>
                  </a:lnTo>
                  <a:lnTo>
                    <a:pt x="606" y="48"/>
                  </a:lnTo>
                  <a:lnTo>
                    <a:pt x="606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42"/>
                  </a:lnTo>
                  <a:lnTo>
                    <a:pt x="636" y="42"/>
                  </a:lnTo>
                  <a:lnTo>
                    <a:pt x="636" y="48"/>
                  </a:lnTo>
                  <a:lnTo>
                    <a:pt x="642" y="54"/>
                  </a:lnTo>
                  <a:lnTo>
                    <a:pt x="636" y="60"/>
                  </a:lnTo>
                  <a:lnTo>
                    <a:pt x="636" y="66"/>
                  </a:lnTo>
                  <a:lnTo>
                    <a:pt x="636" y="78"/>
                  </a:lnTo>
                  <a:lnTo>
                    <a:pt x="624" y="84"/>
                  </a:lnTo>
                  <a:lnTo>
                    <a:pt x="618" y="90"/>
                  </a:lnTo>
                  <a:lnTo>
                    <a:pt x="612" y="90"/>
                  </a:lnTo>
                  <a:lnTo>
                    <a:pt x="600" y="102"/>
                  </a:lnTo>
                  <a:lnTo>
                    <a:pt x="594" y="108"/>
                  </a:lnTo>
                  <a:lnTo>
                    <a:pt x="582" y="114"/>
                  </a:lnTo>
                  <a:lnTo>
                    <a:pt x="570" y="132"/>
                  </a:lnTo>
                  <a:lnTo>
                    <a:pt x="564" y="132"/>
                  </a:lnTo>
                  <a:lnTo>
                    <a:pt x="564" y="138"/>
                  </a:lnTo>
                  <a:lnTo>
                    <a:pt x="558" y="144"/>
                  </a:lnTo>
                  <a:lnTo>
                    <a:pt x="558" y="150"/>
                  </a:lnTo>
                  <a:lnTo>
                    <a:pt x="552" y="150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0" y="162"/>
                  </a:lnTo>
                  <a:lnTo>
                    <a:pt x="534" y="168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6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28" y="234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16" y="294"/>
                  </a:lnTo>
                  <a:lnTo>
                    <a:pt x="516" y="312"/>
                  </a:lnTo>
                  <a:lnTo>
                    <a:pt x="528" y="318"/>
                  </a:lnTo>
                  <a:lnTo>
                    <a:pt x="540" y="360"/>
                  </a:lnTo>
                  <a:lnTo>
                    <a:pt x="558" y="408"/>
                  </a:lnTo>
                  <a:lnTo>
                    <a:pt x="570" y="426"/>
                  </a:lnTo>
                  <a:lnTo>
                    <a:pt x="576" y="432"/>
                  </a:lnTo>
                  <a:lnTo>
                    <a:pt x="576" y="438"/>
                  </a:lnTo>
                  <a:lnTo>
                    <a:pt x="576" y="444"/>
                  </a:lnTo>
                  <a:lnTo>
                    <a:pt x="576" y="46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3" name="Freeform 28">
              <a:extLst>
                <a:ext uri="{FF2B5EF4-FFF2-40B4-BE49-F238E27FC236}">
                  <a16:creationId xmlns:a16="http://schemas.microsoft.com/office/drawing/2014/main" id="{CF9B4F31-BF73-448E-83AA-188F6CF1BDC5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4879" y="3432583"/>
              <a:ext cx="324248" cy="270616"/>
            </a:xfrm>
            <a:custGeom>
              <a:avLst/>
              <a:gdLst>
                <a:gd name="T0" fmla="*/ 5 w 606"/>
                <a:gd name="T1" fmla="*/ 36 h 510"/>
                <a:gd name="T2" fmla="*/ 4 w 606"/>
                <a:gd name="T3" fmla="*/ 34 h 510"/>
                <a:gd name="T4" fmla="*/ 0 w 606"/>
                <a:gd name="T5" fmla="*/ 25 h 510"/>
                <a:gd name="T6" fmla="*/ 1 w 606"/>
                <a:gd name="T7" fmla="*/ 20 h 510"/>
                <a:gd name="T8" fmla="*/ 2 w 606"/>
                <a:gd name="T9" fmla="*/ 15 h 510"/>
                <a:gd name="T10" fmla="*/ 2 w 606"/>
                <a:gd name="T11" fmla="*/ 13 h 510"/>
                <a:gd name="T12" fmla="*/ 3 w 606"/>
                <a:gd name="T13" fmla="*/ 12 h 510"/>
                <a:gd name="T14" fmla="*/ 4 w 606"/>
                <a:gd name="T15" fmla="*/ 11 h 510"/>
                <a:gd name="T16" fmla="*/ 4 w 606"/>
                <a:gd name="T17" fmla="*/ 10 h 510"/>
                <a:gd name="T18" fmla="*/ 7 w 606"/>
                <a:gd name="T19" fmla="*/ 8 h 510"/>
                <a:gd name="T20" fmla="*/ 9 w 606"/>
                <a:gd name="T21" fmla="*/ 6 h 510"/>
                <a:gd name="T22" fmla="*/ 11 w 606"/>
                <a:gd name="T23" fmla="*/ 4 h 510"/>
                <a:gd name="T24" fmla="*/ 12 w 606"/>
                <a:gd name="T25" fmla="*/ 3 h 510"/>
                <a:gd name="T26" fmla="*/ 13 w 606"/>
                <a:gd name="T27" fmla="*/ 4 h 510"/>
                <a:gd name="T28" fmla="*/ 15 w 606"/>
                <a:gd name="T29" fmla="*/ 2 h 510"/>
                <a:gd name="T30" fmla="*/ 17 w 606"/>
                <a:gd name="T31" fmla="*/ 2 h 510"/>
                <a:gd name="T32" fmla="*/ 19 w 606"/>
                <a:gd name="T33" fmla="*/ 5 h 510"/>
                <a:gd name="T34" fmla="*/ 22 w 606"/>
                <a:gd name="T35" fmla="*/ 5 h 510"/>
                <a:gd name="T36" fmla="*/ 25 w 606"/>
                <a:gd name="T37" fmla="*/ 6 h 510"/>
                <a:gd name="T38" fmla="*/ 29 w 606"/>
                <a:gd name="T39" fmla="*/ 1 h 510"/>
                <a:gd name="T40" fmla="*/ 38 w 606"/>
                <a:gd name="T41" fmla="*/ 0 h 510"/>
                <a:gd name="T42" fmla="*/ 38 w 606"/>
                <a:gd name="T43" fmla="*/ 5 h 510"/>
                <a:gd name="T44" fmla="*/ 41 w 606"/>
                <a:gd name="T45" fmla="*/ 4 h 510"/>
                <a:gd name="T46" fmla="*/ 45 w 606"/>
                <a:gd name="T47" fmla="*/ 2 h 510"/>
                <a:gd name="T48" fmla="*/ 46 w 606"/>
                <a:gd name="T49" fmla="*/ 2 h 510"/>
                <a:gd name="T50" fmla="*/ 47 w 606"/>
                <a:gd name="T51" fmla="*/ 5 h 510"/>
                <a:gd name="T52" fmla="*/ 45 w 606"/>
                <a:gd name="T53" fmla="*/ 6 h 510"/>
                <a:gd name="T54" fmla="*/ 45 w 606"/>
                <a:gd name="T55" fmla="*/ 7 h 510"/>
                <a:gd name="T56" fmla="*/ 43 w 606"/>
                <a:gd name="T57" fmla="*/ 8 h 510"/>
                <a:gd name="T58" fmla="*/ 45 w 606"/>
                <a:gd name="T59" fmla="*/ 15 h 510"/>
                <a:gd name="T60" fmla="*/ 49 w 606"/>
                <a:gd name="T61" fmla="*/ 15 h 510"/>
                <a:gd name="T62" fmla="*/ 51 w 606"/>
                <a:gd name="T63" fmla="*/ 15 h 510"/>
                <a:gd name="T64" fmla="*/ 53 w 606"/>
                <a:gd name="T65" fmla="*/ 16 h 510"/>
                <a:gd name="T66" fmla="*/ 52 w 606"/>
                <a:gd name="T67" fmla="*/ 20 h 510"/>
                <a:gd name="T68" fmla="*/ 48 w 606"/>
                <a:gd name="T69" fmla="*/ 23 h 510"/>
                <a:gd name="T70" fmla="*/ 45 w 606"/>
                <a:gd name="T71" fmla="*/ 25 h 510"/>
                <a:gd name="T72" fmla="*/ 44 w 606"/>
                <a:gd name="T73" fmla="*/ 28 h 510"/>
                <a:gd name="T74" fmla="*/ 43 w 606"/>
                <a:gd name="T75" fmla="*/ 33 h 510"/>
                <a:gd name="T76" fmla="*/ 39 w 606"/>
                <a:gd name="T77" fmla="*/ 38 h 510"/>
                <a:gd name="T78" fmla="*/ 37 w 606"/>
                <a:gd name="T79" fmla="*/ 41 h 510"/>
                <a:gd name="T80" fmla="*/ 31 w 606"/>
                <a:gd name="T81" fmla="*/ 44 h 510"/>
                <a:gd name="T82" fmla="*/ 28 w 606"/>
                <a:gd name="T83" fmla="*/ 43 h 510"/>
                <a:gd name="T84" fmla="*/ 28 w 606"/>
                <a:gd name="T85" fmla="*/ 41 h 510"/>
                <a:gd name="T86" fmla="*/ 28 w 606"/>
                <a:gd name="T87" fmla="*/ 40 h 510"/>
                <a:gd name="T88" fmla="*/ 27 w 606"/>
                <a:gd name="T89" fmla="*/ 38 h 510"/>
                <a:gd name="T90" fmla="*/ 27 w 606"/>
                <a:gd name="T91" fmla="*/ 36 h 510"/>
                <a:gd name="T92" fmla="*/ 24 w 606"/>
                <a:gd name="T93" fmla="*/ 35 h 510"/>
                <a:gd name="T94" fmla="*/ 16 w 606"/>
                <a:gd name="T95" fmla="*/ 34 h 510"/>
                <a:gd name="T96" fmla="*/ 13 w 606"/>
                <a:gd name="T97" fmla="*/ 34 h 510"/>
                <a:gd name="T98" fmla="*/ 9 w 606"/>
                <a:gd name="T99" fmla="*/ 36 h 510"/>
                <a:gd name="T100" fmla="*/ 8 w 606"/>
                <a:gd name="T101" fmla="*/ 38 h 510"/>
                <a:gd name="T102" fmla="*/ 7 w 606"/>
                <a:gd name="T103" fmla="*/ 39 h 51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06"/>
                <a:gd name="T157" fmla="*/ 0 h 510"/>
                <a:gd name="T158" fmla="*/ 606 w 606"/>
                <a:gd name="T159" fmla="*/ 510 h 51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06" h="510">
                  <a:moveTo>
                    <a:pt x="60" y="450"/>
                  </a:move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42" y="390"/>
                  </a:lnTo>
                  <a:lnTo>
                    <a:pt x="24" y="342"/>
                  </a:lnTo>
                  <a:lnTo>
                    <a:pt x="12" y="300"/>
                  </a:lnTo>
                  <a:lnTo>
                    <a:pt x="0" y="294"/>
                  </a:lnTo>
                  <a:lnTo>
                    <a:pt x="0" y="276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24" y="192"/>
                  </a:lnTo>
                  <a:lnTo>
                    <a:pt x="24" y="180"/>
                  </a:lnTo>
                  <a:lnTo>
                    <a:pt x="24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6" y="96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108" y="66"/>
                  </a:lnTo>
                  <a:lnTo>
                    <a:pt x="120" y="60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36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62" y="36"/>
                  </a:lnTo>
                  <a:lnTo>
                    <a:pt x="162" y="30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0" y="54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46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76" y="66"/>
                  </a:lnTo>
                  <a:lnTo>
                    <a:pt x="312" y="66"/>
                  </a:lnTo>
                  <a:lnTo>
                    <a:pt x="318" y="60"/>
                  </a:lnTo>
                  <a:lnTo>
                    <a:pt x="330" y="12"/>
                  </a:lnTo>
                  <a:lnTo>
                    <a:pt x="414" y="6"/>
                  </a:lnTo>
                  <a:lnTo>
                    <a:pt x="420" y="0"/>
                  </a:lnTo>
                  <a:lnTo>
                    <a:pt x="426" y="6"/>
                  </a:lnTo>
                  <a:lnTo>
                    <a:pt x="426" y="12"/>
                  </a:lnTo>
                  <a:lnTo>
                    <a:pt x="426" y="54"/>
                  </a:lnTo>
                  <a:lnTo>
                    <a:pt x="432" y="54"/>
                  </a:lnTo>
                  <a:lnTo>
                    <a:pt x="444" y="54"/>
                  </a:lnTo>
                  <a:lnTo>
                    <a:pt x="450" y="42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86" y="24"/>
                  </a:lnTo>
                  <a:lnTo>
                    <a:pt x="504" y="18"/>
                  </a:lnTo>
                  <a:lnTo>
                    <a:pt x="510" y="12"/>
                  </a:lnTo>
                  <a:lnTo>
                    <a:pt x="516" y="18"/>
                  </a:lnTo>
                  <a:lnTo>
                    <a:pt x="522" y="24"/>
                  </a:lnTo>
                  <a:lnTo>
                    <a:pt x="510" y="30"/>
                  </a:lnTo>
                  <a:lnTo>
                    <a:pt x="516" y="48"/>
                  </a:lnTo>
                  <a:lnTo>
                    <a:pt x="528" y="54"/>
                  </a:lnTo>
                  <a:lnTo>
                    <a:pt x="522" y="60"/>
                  </a:lnTo>
                  <a:lnTo>
                    <a:pt x="516" y="66"/>
                  </a:lnTo>
                  <a:lnTo>
                    <a:pt x="516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0" y="84"/>
                  </a:lnTo>
                  <a:lnTo>
                    <a:pt x="510" y="90"/>
                  </a:lnTo>
                  <a:lnTo>
                    <a:pt x="504" y="90"/>
                  </a:lnTo>
                  <a:lnTo>
                    <a:pt x="486" y="90"/>
                  </a:lnTo>
                  <a:lnTo>
                    <a:pt x="492" y="138"/>
                  </a:lnTo>
                  <a:lnTo>
                    <a:pt x="498" y="168"/>
                  </a:lnTo>
                  <a:lnTo>
                    <a:pt x="516" y="168"/>
                  </a:lnTo>
                  <a:lnTo>
                    <a:pt x="528" y="174"/>
                  </a:lnTo>
                  <a:lnTo>
                    <a:pt x="534" y="168"/>
                  </a:lnTo>
                  <a:lnTo>
                    <a:pt x="558" y="174"/>
                  </a:lnTo>
                  <a:lnTo>
                    <a:pt x="564" y="168"/>
                  </a:lnTo>
                  <a:lnTo>
                    <a:pt x="570" y="168"/>
                  </a:lnTo>
                  <a:lnTo>
                    <a:pt x="576" y="174"/>
                  </a:lnTo>
                  <a:lnTo>
                    <a:pt x="588" y="168"/>
                  </a:lnTo>
                  <a:lnTo>
                    <a:pt x="594" y="168"/>
                  </a:lnTo>
                  <a:lnTo>
                    <a:pt x="594" y="186"/>
                  </a:lnTo>
                  <a:lnTo>
                    <a:pt x="606" y="198"/>
                  </a:lnTo>
                  <a:lnTo>
                    <a:pt x="600" y="210"/>
                  </a:lnTo>
                  <a:lnTo>
                    <a:pt x="588" y="234"/>
                  </a:lnTo>
                  <a:lnTo>
                    <a:pt x="564" y="246"/>
                  </a:lnTo>
                  <a:lnTo>
                    <a:pt x="546" y="258"/>
                  </a:lnTo>
                  <a:lnTo>
                    <a:pt x="540" y="270"/>
                  </a:lnTo>
                  <a:lnTo>
                    <a:pt x="534" y="294"/>
                  </a:lnTo>
                  <a:lnTo>
                    <a:pt x="528" y="300"/>
                  </a:lnTo>
                  <a:lnTo>
                    <a:pt x="516" y="294"/>
                  </a:lnTo>
                  <a:lnTo>
                    <a:pt x="510" y="300"/>
                  </a:lnTo>
                  <a:lnTo>
                    <a:pt x="498" y="318"/>
                  </a:lnTo>
                  <a:lnTo>
                    <a:pt x="492" y="324"/>
                  </a:lnTo>
                  <a:lnTo>
                    <a:pt x="486" y="336"/>
                  </a:lnTo>
                  <a:lnTo>
                    <a:pt x="486" y="354"/>
                  </a:lnTo>
                  <a:lnTo>
                    <a:pt x="486" y="384"/>
                  </a:lnTo>
                  <a:lnTo>
                    <a:pt x="474" y="408"/>
                  </a:lnTo>
                  <a:lnTo>
                    <a:pt x="450" y="426"/>
                  </a:lnTo>
                  <a:lnTo>
                    <a:pt x="444" y="444"/>
                  </a:lnTo>
                  <a:lnTo>
                    <a:pt x="426" y="474"/>
                  </a:lnTo>
                  <a:lnTo>
                    <a:pt x="420" y="486"/>
                  </a:lnTo>
                  <a:lnTo>
                    <a:pt x="414" y="486"/>
                  </a:lnTo>
                  <a:lnTo>
                    <a:pt x="414" y="498"/>
                  </a:lnTo>
                  <a:lnTo>
                    <a:pt x="378" y="504"/>
                  </a:lnTo>
                  <a:lnTo>
                    <a:pt x="348" y="510"/>
                  </a:lnTo>
                  <a:lnTo>
                    <a:pt x="330" y="510"/>
                  </a:lnTo>
                  <a:lnTo>
                    <a:pt x="324" y="504"/>
                  </a:lnTo>
                  <a:lnTo>
                    <a:pt x="318" y="504"/>
                  </a:lnTo>
                  <a:lnTo>
                    <a:pt x="312" y="504"/>
                  </a:lnTo>
                  <a:lnTo>
                    <a:pt x="312" y="498"/>
                  </a:lnTo>
                  <a:lnTo>
                    <a:pt x="312" y="486"/>
                  </a:lnTo>
                  <a:lnTo>
                    <a:pt x="312" y="480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56"/>
                  </a:lnTo>
                  <a:lnTo>
                    <a:pt x="312" y="450"/>
                  </a:lnTo>
                  <a:lnTo>
                    <a:pt x="306" y="444"/>
                  </a:lnTo>
                  <a:lnTo>
                    <a:pt x="306" y="438"/>
                  </a:lnTo>
                  <a:lnTo>
                    <a:pt x="300" y="426"/>
                  </a:lnTo>
                  <a:lnTo>
                    <a:pt x="300" y="420"/>
                  </a:lnTo>
                  <a:lnTo>
                    <a:pt x="294" y="414"/>
                  </a:lnTo>
                  <a:lnTo>
                    <a:pt x="294" y="408"/>
                  </a:lnTo>
                  <a:lnTo>
                    <a:pt x="270" y="408"/>
                  </a:lnTo>
                  <a:lnTo>
                    <a:pt x="246" y="408"/>
                  </a:lnTo>
                  <a:lnTo>
                    <a:pt x="222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56" y="402"/>
                  </a:lnTo>
                  <a:lnTo>
                    <a:pt x="144" y="396"/>
                  </a:lnTo>
                  <a:lnTo>
                    <a:pt x="126" y="396"/>
                  </a:lnTo>
                  <a:lnTo>
                    <a:pt x="108" y="408"/>
                  </a:lnTo>
                  <a:lnTo>
                    <a:pt x="102" y="414"/>
                  </a:lnTo>
                  <a:lnTo>
                    <a:pt x="102" y="420"/>
                  </a:lnTo>
                  <a:lnTo>
                    <a:pt x="96" y="426"/>
                  </a:lnTo>
                  <a:lnTo>
                    <a:pt x="96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78" y="450"/>
                  </a:lnTo>
                  <a:lnTo>
                    <a:pt x="60" y="45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4" name="Freeform 29">
              <a:extLst>
                <a:ext uri="{FF2B5EF4-FFF2-40B4-BE49-F238E27FC236}">
                  <a16:creationId xmlns:a16="http://schemas.microsoft.com/office/drawing/2014/main" id="{B6AC2B96-1504-4082-8778-17130FDA021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401" y="3537698"/>
              <a:ext cx="559048" cy="641876"/>
            </a:xfrm>
            <a:custGeom>
              <a:avLst/>
              <a:gdLst>
                <a:gd name="T0" fmla="*/ 39 w 1056"/>
                <a:gd name="T1" fmla="*/ 94 h 1206"/>
                <a:gd name="T2" fmla="*/ 35 w 1056"/>
                <a:gd name="T3" fmla="*/ 103 h 1206"/>
                <a:gd name="T4" fmla="*/ 29 w 1056"/>
                <a:gd name="T5" fmla="*/ 99 h 1206"/>
                <a:gd name="T6" fmla="*/ 23 w 1056"/>
                <a:gd name="T7" fmla="*/ 94 h 1206"/>
                <a:gd name="T8" fmla="*/ 21 w 1056"/>
                <a:gd name="T9" fmla="*/ 91 h 1206"/>
                <a:gd name="T10" fmla="*/ 18 w 1056"/>
                <a:gd name="T11" fmla="*/ 89 h 1206"/>
                <a:gd name="T12" fmla="*/ 15 w 1056"/>
                <a:gd name="T13" fmla="*/ 86 h 1206"/>
                <a:gd name="T14" fmla="*/ 11 w 1056"/>
                <a:gd name="T15" fmla="*/ 83 h 1206"/>
                <a:gd name="T16" fmla="*/ 8 w 1056"/>
                <a:gd name="T17" fmla="*/ 81 h 1206"/>
                <a:gd name="T18" fmla="*/ 6 w 1056"/>
                <a:gd name="T19" fmla="*/ 79 h 1206"/>
                <a:gd name="T20" fmla="*/ 13 w 1056"/>
                <a:gd name="T21" fmla="*/ 78 h 1206"/>
                <a:gd name="T22" fmla="*/ 8 w 1056"/>
                <a:gd name="T23" fmla="*/ 75 h 1206"/>
                <a:gd name="T24" fmla="*/ 13 w 1056"/>
                <a:gd name="T25" fmla="*/ 71 h 1206"/>
                <a:gd name="T26" fmla="*/ 10 w 1056"/>
                <a:gd name="T27" fmla="*/ 63 h 1206"/>
                <a:gd name="T28" fmla="*/ 6 w 1056"/>
                <a:gd name="T29" fmla="*/ 66 h 1206"/>
                <a:gd name="T30" fmla="*/ 1 w 1056"/>
                <a:gd name="T31" fmla="*/ 63 h 1206"/>
                <a:gd name="T32" fmla="*/ 1 w 1056"/>
                <a:gd name="T33" fmla="*/ 59 h 1206"/>
                <a:gd name="T34" fmla="*/ 3 w 1056"/>
                <a:gd name="T35" fmla="*/ 57 h 1206"/>
                <a:gd name="T36" fmla="*/ 6 w 1056"/>
                <a:gd name="T37" fmla="*/ 55 h 1206"/>
                <a:gd name="T38" fmla="*/ 10 w 1056"/>
                <a:gd name="T39" fmla="*/ 51 h 1206"/>
                <a:gd name="T40" fmla="*/ 11 w 1056"/>
                <a:gd name="T41" fmla="*/ 46 h 1206"/>
                <a:gd name="T42" fmla="*/ 14 w 1056"/>
                <a:gd name="T43" fmla="*/ 42 h 1206"/>
                <a:gd name="T44" fmla="*/ 15 w 1056"/>
                <a:gd name="T45" fmla="*/ 36 h 1206"/>
                <a:gd name="T46" fmla="*/ 17 w 1056"/>
                <a:gd name="T47" fmla="*/ 34 h 1206"/>
                <a:gd name="T48" fmla="*/ 20 w 1056"/>
                <a:gd name="T49" fmla="*/ 31 h 1206"/>
                <a:gd name="T50" fmla="*/ 21 w 1056"/>
                <a:gd name="T51" fmla="*/ 29 h 1206"/>
                <a:gd name="T52" fmla="*/ 23 w 1056"/>
                <a:gd name="T53" fmla="*/ 22 h 1206"/>
                <a:gd name="T54" fmla="*/ 35 w 1056"/>
                <a:gd name="T55" fmla="*/ 22 h 1206"/>
                <a:gd name="T56" fmla="*/ 41 w 1056"/>
                <a:gd name="T57" fmla="*/ 18 h 1206"/>
                <a:gd name="T58" fmla="*/ 54 w 1056"/>
                <a:gd name="T59" fmla="*/ 20 h 1206"/>
                <a:gd name="T60" fmla="*/ 54 w 1056"/>
                <a:gd name="T61" fmla="*/ 26 h 1206"/>
                <a:gd name="T62" fmla="*/ 64 w 1056"/>
                <a:gd name="T63" fmla="*/ 25 h 1206"/>
                <a:gd name="T64" fmla="*/ 71 w 1056"/>
                <a:gd name="T65" fmla="*/ 10 h 1206"/>
                <a:gd name="T66" fmla="*/ 80 w 1056"/>
                <a:gd name="T67" fmla="*/ 1 h 1206"/>
                <a:gd name="T68" fmla="*/ 86 w 1056"/>
                <a:gd name="T69" fmla="*/ 2 h 1206"/>
                <a:gd name="T70" fmla="*/ 91 w 1056"/>
                <a:gd name="T71" fmla="*/ 13 h 1206"/>
                <a:gd name="T72" fmla="*/ 88 w 1056"/>
                <a:gd name="T73" fmla="*/ 17 h 1206"/>
                <a:gd name="T74" fmla="*/ 89 w 1056"/>
                <a:gd name="T75" fmla="*/ 21 h 1206"/>
                <a:gd name="T76" fmla="*/ 86 w 1056"/>
                <a:gd name="T77" fmla="*/ 25 h 1206"/>
                <a:gd name="T78" fmla="*/ 85 w 1056"/>
                <a:gd name="T79" fmla="*/ 31 h 1206"/>
                <a:gd name="T80" fmla="*/ 83 w 1056"/>
                <a:gd name="T81" fmla="*/ 36 h 1206"/>
                <a:gd name="T82" fmla="*/ 80 w 1056"/>
                <a:gd name="T83" fmla="*/ 42 h 1206"/>
                <a:gd name="T84" fmla="*/ 80 w 1056"/>
                <a:gd name="T85" fmla="*/ 47 h 1206"/>
                <a:gd name="T86" fmla="*/ 77 w 1056"/>
                <a:gd name="T87" fmla="*/ 55 h 1206"/>
                <a:gd name="T88" fmla="*/ 75 w 1056"/>
                <a:gd name="T89" fmla="*/ 57 h 1206"/>
                <a:gd name="T90" fmla="*/ 66 w 1056"/>
                <a:gd name="T91" fmla="*/ 57 h 1206"/>
                <a:gd name="T92" fmla="*/ 66 w 1056"/>
                <a:gd name="T93" fmla="*/ 51 h 1206"/>
                <a:gd name="T94" fmla="*/ 48 w 1056"/>
                <a:gd name="T95" fmla="*/ 50 h 1206"/>
                <a:gd name="T96" fmla="*/ 46 w 1056"/>
                <a:gd name="T97" fmla="*/ 55 h 1206"/>
                <a:gd name="T98" fmla="*/ 42 w 1056"/>
                <a:gd name="T99" fmla="*/ 59 h 1206"/>
                <a:gd name="T100" fmla="*/ 41 w 1056"/>
                <a:gd name="T101" fmla="*/ 62 h 1206"/>
                <a:gd name="T102" fmla="*/ 43 w 1056"/>
                <a:gd name="T103" fmla="*/ 67 h 1206"/>
                <a:gd name="T104" fmla="*/ 42 w 1056"/>
                <a:gd name="T105" fmla="*/ 72 h 1206"/>
                <a:gd name="T106" fmla="*/ 39 w 1056"/>
                <a:gd name="T107" fmla="*/ 77 h 1206"/>
                <a:gd name="T108" fmla="*/ 36 w 1056"/>
                <a:gd name="T109" fmla="*/ 80 h 1206"/>
                <a:gd name="T110" fmla="*/ 37 w 1056"/>
                <a:gd name="T111" fmla="*/ 83 h 1206"/>
                <a:gd name="T112" fmla="*/ 40 w 1056"/>
                <a:gd name="T113" fmla="*/ 87 h 1206"/>
                <a:gd name="T114" fmla="*/ 42 w 1056"/>
                <a:gd name="T115" fmla="*/ 89 h 12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56"/>
                <a:gd name="T175" fmla="*/ 0 h 1206"/>
                <a:gd name="T176" fmla="*/ 1056 w 1056"/>
                <a:gd name="T177" fmla="*/ 1206 h 12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56" h="1206">
                  <a:moveTo>
                    <a:pt x="492" y="1032"/>
                  </a:moveTo>
                  <a:lnTo>
                    <a:pt x="486" y="1038"/>
                  </a:lnTo>
                  <a:lnTo>
                    <a:pt x="486" y="1044"/>
                  </a:lnTo>
                  <a:lnTo>
                    <a:pt x="480" y="1044"/>
                  </a:lnTo>
                  <a:lnTo>
                    <a:pt x="474" y="1056"/>
                  </a:lnTo>
                  <a:lnTo>
                    <a:pt x="462" y="1068"/>
                  </a:lnTo>
                  <a:lnTo>
                    <a:pt x="456" y="1080"/>
                  </a:lnTo>
                  <a:lnTo>
                    <a:pt x="450" y="1080"/>
                  </a:lnTo>
                  <a:lnTo>
                    <a:pt x="450" y="1086"/>
                  </a:lnTo>
                  <a:lnTo>
                    <a:pt x="450" y="1092"/>
                  </a:lnTo>
                  <a:lnTo>
                    <a:pt x="444" y="1104"/>
                  </a:lnTo>
                  <a:lnTo>
                    <a:pt x="444" y="1116"/>
                  </a:lnTo>
                  <a:lnTo>
                    <a:pt x="438" y="1128"/>
                  </a:lnTo>
                  <a:lnTo>
                    <a:pt x="432" y="1134"/>
                  </a:lnTo>
                  <a:lnTo>
                    <a:pt x="432" y="1140"/>
                  </a:lnTo>
                  <a:lnTo>
                    <a:pt x="420" y="1152"/>
                  </a:lnTo>
                  <a:lnTo>
                    <a:pt x="420" y="1158"/>
                  </a:lnTo>
                  <a:lnTo>
                    <a:pt x="408" y="1182"/>
                  </a:lnTo>
                  <a:lnTo>
                    <a:pt x="396" y="1194"/>
                  </a:lnTo>
                  <a:lnTo>
                    <a:pt x="390" y="1206"/>
                  </a:lnTo>
                  <a:lnTo>
                    <a:pt x="390" y="1200"/>
                  </a:lnTo>
                  <a:lnTo>
                    <a:pt x="384" y="1194"/>
                  </a:lnTo>
                  <a:lnTo>
                    <a:pt x="378" y="1188"/>
                  </a:lnTo>
                  <a:lnTo>
                    <a:pt x="366" y="1176"/>
                  </a:lnTo>
                  <a:lnTo>
                    <a:pt x="366" y="1170"/>
                  </a:lnTo>
                  <a:lnTo>
                    <a:pt x="348" y="1152"/>
                  </a:lnTo>
                  <a:lnTo>
                    <a:pt x="336" y="1140"/>
                  </a:lnTo>
                  <a:lnTo>
                    <a:pt x="330" y="1134"/>
                  </a:lnTo>
                  <a:lnTo>
                    <a:pt x="324" y="1128"/>
                  </a:lnTo>
                  <a:lnTo>
                    <a:pt x="318" y="1122"/>
                  </a:lnTo>
                  <a:lnTo>
                    <a:pt x="312" y="1116"/>
                  </a:lnTo>
                  <a:lnTo>
                    <a:pt x="306" y="1110"/>
                  </a:lnTo>
                  <a:lnTo>
                    <a:pt x="300" y="1104"/>
                  </a:lnTo>
                  <a:lnTo>
                    <a:pt x="294" y="1098"/>
                  </a:lnTo>
                  <a:lnTo>
                    <a:pt x="276" y="1080"/>
                  </a:lnTo>
                  <a:lnTo>
                    <a:pt x="270" y="1080"/>
                  </a:lnTo>
                  <a:lnTo>
                    <a:pt x="270" y="1074"/>
                  </a:lnTo>
                  <a:lnTo>
                    <a:pt x="264" y="1068"/>
                  </a:lnTo>
                  <a:lnTo>
                    <a:pt x="258" y="1062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40" y="1050"/>
                  </a:lnTo>
                  <a:lnTo>
                    <a:pt x="234" y="1044"/>
                  </a:lnTo>
                  <a:lnTo>
                    <a:pt x="228" y="1044"/>
                  </a:lnTo>
                  <a:lnTo>
                    <a:pt x="222" y="1038"/>
                  </a:lnTo>
                  <a:lnTo>
                    <a:pt x="222" y="1032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6"/>
                  </a:lnTo>
                  <a:lnTo>
                    <a:pt x="204" y="1020"/>
                  </a:lnTo>
                  <a:lnTo>
                    <a:pt x="204" y="1014"/>
                  </a:lnTo>
                  <a:lnTo>
                    <a:pt x="198" y="1014"/>
                  </a:lnTo>
                  <a:lnTo>
                    <a:pt x="192" y="1014"/>
                  </a:lnTo>
                  <a:lnTo>
                    <a:pt x="192" y="1008"/>
                  </a:lnTo>
                  <a:lnTo>
                    <a:pt x="186" y="1008"/>
                  </a:lnTo>
                  <a:lnTo>
                    <a:pt x="186" y="1002"/>
                  </a:lnTo>
                  <a:lnTo>
                    <a:pt x="180" y="1002"/>
                  </a:lnTo>
                  <a:lnTo>
                    <a:pt x="174" y="996"/>
                  </a:lnTo>
                  <a:lnTo>
                    <a:pt x="168" y="996"/>
                  </a:lnTo>
                  <a:lnTo>
                    <a:pt x="168" y="990"/>
                  </a:lnTo>
                  <a:lnTo>
                    <a:pt x="162" y="990"/>
                  </a:lnTo>
                  <a:lnTo>
                    <a:pt x="162" y="984"/>
                  </a:lnTo>
                  <a:lnTo>
                    <a:pt x="150" y="978"/>
                  </a:lnTo>
                  <a:lnTo>
                    <a:pt x="144" y="972"/>
                  </a:lnTo>
                  <a:lnTo>
                    <a:pt x="138" y="972"/>
                  </a:lnTo>
                  <a:lnTo>
                    <a:pt x="138" y="966"/>
                  </a:lnTo>
                  <a:lnTo>
                    <a:pt x="132" y="966"/>
                  </a:lnTo>
                  <a:lnTo>
                    <a:pt x="126" y="960"/>
                  </a:lnTo>
                  <a:lnTo>
                    <a:pt x="126" y="954"/>
                  </a:lnTo>
                  <a:lnTo>
                    <a:pt x="120" y="954"/>
                  </a:lnTo>
                  <a:lnTo>
                    <a:pt x="114" y="948"/>
                  </a:lnTo>
                  <a:lnTo>
                    <a:pt x="108" y="948"/>
                  </a:lnTo>
                  <a:lnTo>
                    <a:pt x="108" y="942"/>
                  </a:lnTo>
                  <a:lnTo>
                    <a:pt x="102" y="942"/>
                  </a:lnTo>
                  <a:lnTo>
                    <a:pt x="96" y="942"/>
                  </a:lnTo>
                  <a:lnTo>
                    <a:pt x="96" y="936"/>
                  </a:lnTo>
                  <a:lnTo>
                    <a:pt x="90" y="936"/>
                  </a:lnTo>
                  <a:lnTo>
                    <a:pt x="90" y="930"/>
                  </a:lnTo>
                  <a:lnTo>
                    <a:pt x="84" y="930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18"/>
                  </a:lnTo>
                  <a:lnTo>
                    <a:pt x="66" y="918"/>
                  </a:lnTo>
                  <a:lnTo>
                    <a:pt x="66" y="912"/>
                  </a:lnTo>
                  <a:lnTo>
                    <a:pt x="66" y="906"/>
                  </a:lnTo>
                  <a:lnTo>
                    <a:pt x="72" y="906"/>
                  </a:lnTo>
                  <a:lnTo>
                    <a:pt x="84" y="906"/>
                  </a:lnTo>
                  <a:lnTo>
                    <a:pt x="90" y="906"/>
                  </a:lnTo>
                  <a:lnTo>
                    <a:pt x="120" y="930"/>
                  </a:lnTo>
                  <a:lnTo>
                    <a:pt x="126" y="936"/>
                  </a:lnTo>
                  <a:lnTo>
                    <a:pt x="138" y="936"/>
                  </a:lnTo>
                  <a:lnTo>
                    <a:pt x="138" y="930"/>
                  </a:lnTo>
                  <a:lnTo>
                    <a:pt x="144" y="930"/>
                  </a:lnTo>
                  <a:lnTo>
                    <a:pt x="144" y="924"/>
                  </a:lnTo>
                  <a:lnTo>
                    <a:pt x="150" y="900"/>
                  </a:lnTo>
                  <a:lnTo>
                    <a:pt x="138" y="894"/>
                  </a:lnTo>
                  <a:lnTo>
                    <a:pt x="126" y="894"/>
                  </a:lnTo>
                  <a:lnTo>
                    <a:pt x="108" y="888"/>
                  </a:lnTo>
                  <a:lnTo>
                    <a:pt x="84" y="882"/>
                  </a:lnTo>
                  <a:lnTo>
                    <a:pt x="72" y="882"/>
                  </a:lnTo>
                  <a:lnTo>
                    <a:pt x="72" y="876"/>
                  </a:lnTo>
                  <a:lnTo>
                    <a:pt x="78" y="870"/>
                  </a:lnTo>
                  <a:lnTo>
                    <a:pt x="90" y="870"/>
                  </a:lnTo>
                  <a:lnTo>
                    <a:pt x="96" y="870"/>
                  </a:lnTo>
                  <a:lnTo>
                    <a:pt x="102" y="870"/>
                  </a:lnTo>
                  <a:lnTo>
                    <a:pt x="114" y="870"/>
                  </a:lnTo>
                  <a:lnTo>
                    <a:pt x="120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34"/>
                  </a:lnTo>
                  <a:lnTo>
                    <a:pt x="132" y="828"/>
                  </a:lnTo>
                  <a:lnTo>
                    <a:pt x="132" y="816"/>
                  </a:lnTo>
                  <a:lnTo>
                    <a:pt x="150" y="816"/>
                  </a:lnTo>
                  <a:lnTo>
                    <a:pt x="150" y="804"/>
                  </a:lnTo>
                  <a:lnTo>
                    <a:pt x="144" y="798"/>
                  </a:lnTo>
                  <a:lnTo>
                    <a:pt x="156" y="762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32"/>
                  </a:lnTo>
                  <a:lnTo>
                    <a:pt x="144" y="726"/>
                  </a:lnTo>
                  <a:lnTo>
                    <a:pt x="132" y="726"/>
                  </a:lnTo>
                  <a:lnTo>
                    <a:pt x="120" y="732"/>
                  </a:lnTo>
                  <a:lnTo>
                    <a:pt x="114" y="744"/>
                  </a:lnTo>
                  <a:lnTo>
                    <a:pt x="108" y="750"/>
                  </a:lnTo>
                  <a:lnTo>
                    <a:pt x="96" y="768"/>
                  </a:lnTo>
                  <a:lnTo>
                    <a:pt x="96" y="774"/>
                  </a:lnTo>
                  <a:lnTo>
                    <a:pt x="90" y="780"/>
                  </a:lnTo>
                  <a:lnTo>
                    <a:pt x="84" y="804"/>
                  </a:lnTo>
                  <a:lnTo>
                    <a:pt x="72" y="774"/>
                  </a:lnTo>
                  <a:lnTo>
                    <a:pt x="72" y="768"/>
                  </a:lnTo>
                  <a:lnTo>
                    <a:pt x="66" y="762"/>
                  </a:lnTo>
                  <a:lnTo>
                    <a:pt x="60" y="750"/>
                  </a:lnTo>
                  <a:lnTo>
                    <a:pt x="54" y="750"/>
                  </a:lnTo>
                  <a:lnTo>
                    <a:pt x="48" y="750"/>
                  </a:lnTo>
                  <a:lnTo>
                    <a:pt x="42" y="750"/>
                  </a:lnTo>
                  <a:lnTo>
                    <a:pt x="30" y="744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12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2" y="702"/>
                  </a:lnTo>
                  <a:lnTo>
                    <a:pt x="18" y="696"/>
                  </a:lnTo>
                  <a:lnTo>
                    <a:pt x="12" y="690"/>
                  </a:lnTo>
                  <a:lnTo>
                    <a:pt x="12" y="684"/>
                  </a:lnTo>
                  <a:lnTo>
                    <a:pt x="12" y="678"/>
                  </a:lnTo>
                  <a:lnTo>
                    <a:pt x="12" y="672"/>
                  </a:lnTo>
                  <a:lnTo>
                    <a:pt x="18" y="672"/>
                  </a:lnTo>
                  <a:lnTo>
                    <a:pt x="18" y="666"/>
                  </a:lnTo>
                  <a:lnTo>
                    <a:pt x="24" y="666"/>
                  </a:lnTo>
                  <a:lnTo>
                    <a:pt x="24" y="660"/>
                  </a:lnTo>
                  <a:lnTo>
                    <a:pt x="30" y="660"/>
                  </a:lnTo>
                  <a:lnTo>
                    <a:pt x="30" y="654"/>
                  </a:lnTo>
                  <a:lnTo>
                    <a:pt x="36" y="654"/>
                  </a:lnTo>
                  <a:lnTo>
                    <a:pt x="36" y="648"/>
                  </a:lnTo>
                  <a:lnTo>
                    <a:pt x="42" y="648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60" y="630"/>
                  </a:lnTo>
                  <a:lnTo>
                    <a:pt x="66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78" y="624"/>
                  </a:lnTo>
                  <a:lnTo>
                    <a:pt x="84" y="618"/>
                  </a:lnTo>
                  <a:lnTo>
                    <a:pt x="84" y="612"/>
                  </a:lnTo>
                  <a:lnTo>
                    <a:pt x="90" y="612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20" y="588"/>
                  </a:lnTo>
                  <a:lnTo>
                    <a:pt x="120" y="582"/>
                  </a:lnTo>
                  <a:lnTo>
                    <a:pt x="120" y="576"/>
                  </a:lnTo>
                  <a:lnTo>
                    <a:pt x="120" y="570"/>
                  </a:lnTo>
                  <a:lnTo>
                    <a:pt x="126" y="564"/>
                  </a:lnTo>
                  <a:lnTo>
                    <a:pt x="126" y="558"/>
                  </a:lnTo>
                  <a:lnTo>
                    <a:pt x="126" y="552"/>
                  </a:lnTo>
                  <a:lnTo>
                    <a:pt x="126" y="546"/>
                  </a:lnTo>
                  <a:lnTo>
                    <a:pt x="126" y="534"/>
                  </a:lnTo>
                  <a:lnTo>
                    <a:pt x="126" y="516"/>
                  </a:lnTo>
                  <a:lnTo>
                    <a:pt x="126" y="510"/>
                  </a:lnTo>
                  <a:lnTo>
                    <a:pt x="126" y="504"/>
                  </a:lnTo>
                  <a:lnTo>
                    <a:pt x="126" y="498"/>
                  </a:lnTo>
                  <a:lnTo>
                    <a:pt x="132" y="498"/>
                  </a:lnTo>
                  <a:lnTo>
                    <a:pt x="132" y="492"/>
                  </a:lnTo>
                  <a:lnTo>
                    <a:pt x="138" y="492"/>
                  </a:lnTo>
                  <a:lnTo>
                    <a:pt x="144" y="486"/>
                  </a:lnTo>
                  <a:lnTo>
                    <a:pt x="156" y="480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6" y="462"/>
                  </a:lnTo>
                  <a:lnTo>
                    <a:pt x="156" y="456"/>
                  </a:lnTo>
                  <a:lnTo>
                    <a:pt x="156" y="450"/>
                  </a:lnTo>
                  <a:lnTo>
                    <a:pt x="162" y="438"/>
                  </a:lnTo>
                  <a:lnTo>
                    <a:pt x="168" y="426"/>
                  </a:lnTo>
                  <a:lnTo>
                    <a:pt x="174" y="426"/>
                  </a:lnTo>
                  <a:lnTo>
                    <a:pt x="174" y="420"/>
                  </a:lnTo>
                  <a:lnTo>
                    <a:pt x="180" y="414"/>
                  </a:lnTo>
                  <a:lnTo>
                    <a:pt x="186" y="420"/>
                  </a:lnTo>
                  <a:lnTo>
                    <a:pt x="186" y="414"/>
                  </a:lnTo>
                  <a:lnTo>
                    <a:pt x="180" y="408"/>
                  </a:lnTo>
                  <a:lnTo>
                    <a:pt x="180" y="402"/>
                  </a:lnTo>
                  <a:lnTo>
                    <a:pt x="186" y="402"/>
                  </a:lnTo>
                  <a:lnTo>
                    <a:pt x="192" y="402"/>
                  </a:lnTo>
                  <a:lnTo>
                    <a:pt x="192" y="396"/>
                  </a:lnTo>
                  <a:lnTo>
                    <a:pt x="198" y="396"/>
                  </a:lnTo>
                  <a:lnTo>
                    <a:pt x="204" y="396"/>
                  </a:lnTo>
                  <a:lnTo>
                    <a:pt x="210" y="396"/>
                  </a:lnTo>
                  <a:lnTo>
                    <a:pt x="210" y="390"/>
                  </a:lnTo>
                  <a:lnTo>
                    <a:pt x="216" y="390"/>
                  </a:lnTo>
                  <a:lnTo>
                    <a:pt x="216" y="384"/>
                  </a:lnTo>
                  <a:lnTo>
                    <a:pt x="222" y="384"/>
                  </a:lnTo>
                  <a:lnTo>
                    <a:pt x="222" y="378"/>
                  </a:lnTo>
                  <a:lnTo>
                    <a:pt x="228" y="372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0" y="348"/>
                  </a:lnTo>
                  <a:lnTo>
                    <a:pt x="234" y="342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46" y="330"/>
                  </a:lnTo>
                  <a:lnTo>
                    <a:pt x="246" y="324"/>
                  </a:lnTo>
                  <a:lnTo>
                    <a:pt x="234" y="318"/>
                  </a:lnTo>
                  <a:lnTo>
                    <a:pt x="234" y="312"/>
                  </a:lnTo>
                  <a:lnTo>
                    <a:pt x="234" y="300"/>
                  </a:lnTo>
                  <a:lnTo>
                    <a:pt x="240" y="288"/>
                  </a:lnTo>
                  <a:lnTo>
                    <a:pt x="240" y="276"/>
                  </a:lnTo>
                  <a:lnTo>
                    <a:pt x="246" y="258"/>
                  </a:lnTo>
                  <a:lnTo>
                    <a:pt x="258" y="252"/>
                  </a:lnTo>
                  <a:lnTo>
                    <a:pt x="270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294" y="252"/>
                  </a:lnTo>
                  <a:lnTo>
                    <a:pt x="300" y="258"/>
                  </a:lnTo>
                  <a:lnTo>
                    <a:pt x="318" y="252"/>
                  </a:lnTo>
                  <a:lnTo>
                    <a:pt x="366" y="252"/>
                  </a:lnTo>
                  <a:lnTo>
                    <a:pt x="378" y="252"/>
                  </a:lnTo>
                  <a:lnTo>
                    <a:pt x="396" y="252"/>
                  </a:lnTo>
                  <a:lnTo>
                    <a:pt x="408" y="252"/>
                  </a:lnTo>
                  <a:lnTo>
                    <a:pt x="408" y="246"/>
                  </a:lnTo>
                  <a:lnTo>
                    <a:pt x="414" y="240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20" y="216"/>
                  </a:lnTo>
                  <a:lnTo>
                    <a:pt x="426" y="210"/>
                  </a:lnTo>
                  <a:lnTo>
                    <a:pt x="444" y="198"/>
                  </a:lnTo>
                  <a:lnTo>
                    <a:pt x="462" y="198"/>
                  </a:lnTo>
                  <a:lnTo>
                    <a:pt x="474" y="204"/>
                  </a:lnTo>
                  <a:lnTo>
                    <a:pt x="498" y="198"/>
                  </a:lnTo>
                  <a:lnTo>
                    <a:pt x="498" y="204"/>
                  </a:lnTo>
                  <a:lnTo>
                    <a:pt x="540" y="210"/>
                  </a:lnTo>
                  <a:lnTo>
                    <a:pt x="564" y="210"/>
                  </a:lnTo>
                  <a:lnTo>
                    <a:pt x="588" y="210"/>
                  </a:lnTo>
                  <a:lnTo>
                    <a:pt x="612" y="210"/>
                  </a:lnTo>
                  <a:lnTo>
                    <a:pt x="612" y="216"/>
                  </a:lnTo>
                  <a:lnTo>
                    <a:pt x="618" y="222"/>
                  </a:lnTo>
                  <a:lnTo>
                    <a:pt x="618" y="228"/>
                  </a:lnTo>
                  <a:lnTo>
                    <a:pt x="624" y="240"/>
                  </a:lnTo>
                  <a:lnTo>
                    <a:pt x="624" y="246"/>
                  </a:lnTo>
                  <a:lnTo>
                    <a:pt x="630" y="252"/>
                  </a:lnTo>
                  <a:lnTo>
                    <a:pt x="630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0" y="282"/>
                  </a:lnTo>
                  <a:lnTo>
                    <a:pt x="630" y="288"/>
                  </a:lnTo>
                  <a:lnTo>
                    <a:pt x="630" y="300"/>
                  </a:lnTo>
                  <a:lnTo>
                    <a:pt x="630" y="306"/>
                  </a:lnTo>
                  <a:lnTo>
                    <a:pt x="636" y="306"/>
                  </a:lnTo>
                  <a:lnTo>
                    <a:pt x="642" y="306"/>
                  </a:lnTo>
                  <a:lnTo>
                    <a:pt x="648" y="312"/>
                  </a:lnTo>
                  <a:lnTo>
                    <a:pt x="666" y="312"/>
                  </a:lnTo>
                  <a:lnTo>
                    <a:pt x="696" y="306"/>
                  </a:lnTo>
                  <a:lnTo>
                    <a:pt x="732" y="300"/>
                  </a:lnTo>
                  <a:lnTo>
                    <a:pt x="732" y="288"/>
                  </a:lnTo>
                  <a:lnTo>
                    <a:pt x="738" y="288"/>
                  </a:lnTo>
                  <a:lnTo>
                    <a:pt x="744" y="276"/>
                  </a:lnTo>
                  <a:lnTo>
                    <a:pt x="762" y="246"/>
                  </a:lnTo>
                  <a:lnTo>
                    <a:pt x="768" y="228"/>
                  </a:lnTo>
                  <a:lnTo>
                    <a:pt x="792" y="210"/>
                  </a:lnTo>
                  <a:lnTo>
                    <a:pt x="804" y="186"/>
                  </a:lnTo>
                  <a:lnTo>
                    <a:pt x="804" y="156"/>
                  </a:lnTo>
                  <a:lnTo>
                    <a:pt x="804" y="138"/>
                  </a:lnTo>
                  <a:lnTo>
                    <a:pt x="810" y="126"/>
                  </a:lnTo>
                  <a:lnTo>
                    <a:pt x="816" y="120"/>
                  </a:lnTo>
                  <a:lnTo>
                    <a:pt x="828" y="102"/>
                  </a:lnTo>
                  <a:lnTo>
                    <a:pt x="834" y="96"/>
                  </a:lnTo>
                  <a:lnTo>
                    <a:pt x="846" y="102"/>
                  </a:lnTo>
                  <a:lnTo>
                    <a:pt x="852" y="96"/>
                  </a:lnTo>
                  <a:lnTo>
                    <a:pt x="858" y="72"/>
                  </a:lnTo>
                  <a:lnTo>
                    <a:pt x="864" y="60"/>
                  </a:lnTo>
                  <a:lnTo>
                    <a:pt x="882" y="48"/>
                  </a:lnTo>
                  <a:lnTo>
                    <a:pt x="906" y="36"/>
                  </a:lnTo>
                  <a:lnTo>
                    <a:pt x="918" y="12"/>
                  </a:lnTo>
                  <a:lnTo>
                    <a:pt x="924" y="0"/>
                  </a:lnTo>
                  <a:lnTo>
                    <a:pt x="930" y="6"/>
                  </a:lnTo>
                  <a:lnTo>
                    <a:pt x="942" y="12"/>
                  </a:lnTo>
                  <a:lnTo>
                    <a:pt x="948" y="12"/>
                  </a:lnTo>
                  <a:lnTo>
                    <a:pt x="954" y="18"/>
                  </a:lnTo>
                  <a:lnTo>
                    <a:pt x="966" y="18"/>
                  </a:lnTo>
                  <a:lnTo>
                    <a:pt x="972" y="18"/>
                  </a:lnTo>
                  <a:lnTo>
                    <a:pt x="984" y="18"/>
                  </a:lnTo>
                  <a:lnTo>
                    <a:pt x="990" y="18"/>
                  </a:lnTo>
                  <a:lnTo>
                    <a:pt x="1002" y="48"/>
                  </a:lnTo>
                  <a:lnTo>
                    <a:pt x="1008" y="78"/>
                  </a:lnTo>
                  <a:lnTo>
                    <a:pt x="1020" y="78"/>
                  </a:lnTo>
                  <a:lnTo>
                    <a:pt x="1020" y="90"/>
                  </a:lnTo>
                  <a:lnTo>
                    <a:pt x="1026" y="102"/>
                  </a:lnTo>
                  <a:lnTo>
                    <a:pt x="1044" y="120"/>
                  </a:lnTo>
                  <a:lnTo>
                    <a:pt x="1044" y="132"/>
                  </a:lnTo>
                  <a:lnTo>
                    <a:pt x="1056" y="150"/>
                  </a:lnTo>
                  <a:lnTo>
                    <a:pt x="1050" y="150"/>
                  </a:lnTo>
                  <a:lnTo>
                    <a:pt x="1044" y="156"/>
                  </a:lnTo>
                  <a:lnTo>
                    <a:pt x="1044" y="162"/>
                  </a:lnTo>
                  <a:lnTo>
                    <a:pt x="1038" y="162"/>
                  </a:lnTo>
                  <a:lnTo>
                    <a:pt x="1032" y="162"/>
                  </a:lnTo>
                  <a:lnTo>
                    <a:pt x="1026" y="168"/>
                  </a:lnTo>
                  <a:lnTo>
                    <a:pt x="1014" y="174"/>
                  </a:lnTo>
                  <a:lnTo>
                    <a:pt x="1014" y="186"/>
                  </a:lnTo>
                  <a:lnTo>
                    <a:pt x="1014" y="192"/>
                  </a:lnTo>
                  <a:lnTo>
                    <a:pt x="1014" y="198"/>
                  </a:lnTo>
                  <a:lnTo>
                    <a:pt x="1020" y="204"/>
                  </a:lnTo>
                  <a:lnTo>
                    <a:pt x="1026" y="204"/>
                  </a:lnTo>
                  <a:lnTo>
                    <a:pt x="1032" y="204"/>
                  </a:lnTo>
                  <a:lnTo>
                    <a:pt x="1032" y="210"/>
                  </a:lnTo>
                  <a:lnTo>
                    <a:pt x="1038" y="210"/>
                  </a:lnTo>
                  <a:lnTo>
                    <a:pt x="1032" y="216"/>
                  </a:lnTo>
                  <a:lnTo>
                    <a:pt x="1026" y="228"/>
                  </a:lnTo>
                  <a:lnTo>
                    <a:pt x="1026" y="234"/>
                  </a:lnTo>
                  <a:lnTo>
                    <a:pt x="1032" y="240"/>
                  </a:lnTo>
                  <a:lnTo>
                    <a:pt x="1032" y="246"/>
                  </a:lnTo>
                  <a:lnTo>
                    <a:pt x="1032" y="252"/>
                  </a:lnTo>
                  <a:lnTo>
                    <a:pt x="1032" y="258"/>
                  </a:lnTo>
                  <a:lnTo>
                    <a:pt x="1038" y="264"/>
                  </a:lnTo>
                  <a:lnTo>
                    <a:pt x="1032" y="276"/>
                  </a:lnTo>
                  <a:lnTo>
                    <a:pt x="1026" y="276"/>
                  </a:lnTo>
                  <a:lnTo>
                    <a:pt x="1020" y="276"/>
                  </a:lnTo>
                  <a:lnTo>
                    <a:pt x="996" y="282"/>
                  </a:lnTo>
                  <a:lnTo>
                    <a:pt x="996" y="288"/>
                  </a:lnTo>
                  <a:lnTo>
                    <a:pt x="996" y="294"/>
                  </a:lnTo>
                  <a:lnTo>
                    <a:pt x="996" y="300"/>
                  </a:lnTo>
                  <a:lnTo>
                    <a:pt x="996" y="306"/>
                  </a:lnTo>
                  <a:lnTo>
                    <a:pt x="984" y="324"/>
                  </a:lnTo>
                  <a:lnTo>
                    <a:pt x="984" y="330"/>
                  </a:lnTo>
                  <a:lnTo>
                    <a:pt x="984" y="336"/>
                  </a:lnTo>
                  <a:lnTo>
                    <a:pt x="978" y="336"/>
                  </a:lnTo>
                  <a:lnTo>
                    <a:pt x="978" y="342"/>
                  </a:lnTo>
                  <a:lnTo>
                    <a:pt x="984" y="360"/>
                  </a:lnTo>
                  <a:lnTo>
                    <a:pt x="978" y="366"/>
                  </a:lnTo>
                  <a:lnTo>
                    <a:pt x="978" y="372"/>
                  </a:lnTo>
                  <a:lnTo>
                    <a:pt x="972" y="372"/>
                  </a:lnTo>
                  <a:lnTo>
                    <a:pt x="972" y="378"/>
                  </a:lnTo>
                  <a:lnTo>
                    <a:pt x="972" y="384"/>
                  </a:lnTo>
                  <a:lnTo>
                    <a:pt x="972" y="390"/>
                  </a:lnTo>
                  <a:lnTo>
                    <a:pt x="966" y="402"/>
                  </a:lnTo>
                  <a:lnTo>
                    <a:pt x="960" y="414"/>
                  </a:lnTo>
                  <a:lnTo>
                    <a:pt x="954" y="420"/>
                  </a:lnTo>
                  <a:lnTo>
                    <a:pt x="948" y="426"/>
                  </a:lnTo>
                  <a:lnTo>
                    <a:pt x="948" y="438"/>
                  </a:lnTo>
                  <a:lnTo>
                    <a:pt x="942" y="444"/>
                  </a:lnTo>
                  <a:lnTo>
                    <a:pt x="936" y="450"/>
                  </a:lnTo>
                  <a:lnTo>
                    <a:pt x="930" y="456"/>
                  </a:lnTo>
                  <a:lnTo>
                    <a:pt x="924" y="462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18" y="522"/>
                  </a:lnTo>
                  <a:lnTo>
                    <a:pt x="918" y="528"/>
                  </a:lnTo>
                  <a:lnTo>
                    <a:pt x="924" y="534"/>
                  </a:lnTo>
                  <a:lnTo>
                    <a:pt x="924" y="540"/>
                  </a:lnTo>
                  <a:lnTo>
                    <a:pt x="924" y="546"/>
                  </a:lnTo>
                  <a:lnTo>
                    <a:pt x="918" y="546"/>
                  </a:lnTo>
                  <a:lnTo>
                    <a:pt x="918" y="552"/>
                  </a:lnTo>
                  <a:lnTo>
                    <a:pt x="912" y="546"/>
                  </a:lnTo>
                  <a:lnTo>
                    <a:pt x="912" y="552"/>
                  </a:lnTo>
                  <a:lnTo>
                    <a:pt x="912" y="570"/>
                  </a:lnTo>
                  <a:lnTo>
                    <a:pt x="906" y="588"/>
                  </a:lnTo>
                  <a:lnTo>
                    <a:pt x="900" y="606"/>
                  </a:lnTo>
                  <a:lnTo>
                    <a:pt x="906" y="624"/>
                  </a:lnTo>
                  <a:lnTo>
                    <a:pt x="900" y="624"/>
                  </a:lnTo>
                  <a:lnTo>
                    <a:pt x="894" y="630"/>
                  </a:lnTo>
                  <a:lnTo>
                    <a:pt x="888" y="630"/>
                  </a:lnTo>
                  <a:lnTo>
                    <a:pt x="882" y="630"/>
                  </a:lnTo>
                  <a:lnTo>
                    <a:pt x="882" y="636"/>
                  </a:lnTo>
                  <a:lnTo>
                    <a:pt x="876" y="642"/>
                  </a:lnTo>
                  <a:lnTo>
                    <a:pt x="870" y="642"/>
                  </a:lnTo>
                  <a:lnTo>
                    <a:pt x="870" y="648"/>
                  </a:lnTo>
                  <a:lnTo>
                    <a:pt x="870" y="654"/>
                  </a:lnTo>
                  <a:lnTo>
                    <a:pt x="864" y="654"/>
                  </a:lnTo>
                  <a:lnTo>
                    <a:pt x="864" y="660"/>
                  </a:lnTo>
                  <a:lnTo>
                    <a:pt x="846" y="666"/>
                  </a:lnTo>
                  <a:lnTo>
                    <a:pt x="828" y="672"/>
                  </a:lnTo>
                  <a:lnTo>
                    <a:pt x="816" y="660"/>
                  </a:lnTo>
                  <a:lnTo>
                    <a:pt x="810" y="660"/>
                  </a:lnTo>
                  <a:lnTo>
                    <a:pt x="798" y="666"/>
                  </a:lnTo>
                  <a:lnTo>
                    <a:pt x="786" y="666"/>
                  </a:lnTo>
                  <a:lnTo>
                    <a:pt x="780" y="672"/>
                  </a:lnTo>
                  <a:lnTo>
                    <a:pt x="768" y="678"/>
                  </a:lnTo>
                  <a:lnTo>
                    <a:pt x="762" y="660"/>
                  </a:lnTo>
                  <a:lnTo>
                    <a:pt x="762" y="654"/>
                  </a:lnTo>
                  <a:lnTo>
                    <a:pt x="756" y="636"/>
                  </a:lnTo>
                  <a:lnTo>
                    <a:pt x="762" y="624"/>
                  </a:lnTo>
                  <a:lnTo>
                    <a:pt x="756" y="606"/>
                  </a:lnTo>
                  <a:lnTo>
                    <a:pt x="756" y="600"/>
                  </a:lnTo>
                  <a:lnTo>
                    <a:pt x="762" y="594"/>
                  </a:lnTo>
                  <a:lnTo>
                    <a:pt x="768" y="600"/>
                  </a:lnTo>
                  <a:lnTo>
                    <a:pt x="768" y="594"/>
                  </a:lnTo>
                  <a:lnTo>
                    <a:pt x="768" y="588"/>
                  </a:lnTo>
                  <a:lnTo>
                    <a:pt x="774" y="582"/>
                  </a:lnTo>
                  <a:lnTo>
                    <a:pt x="768" y="576"/>
                  </a:lnTo>
                  <a:lnTo>
                    <a:pt x="762" y="576"/>
                  </a:lnTo>
                  <a:lnTo>
                    <a:pt x="756" y="576"/>
                  </a:lnTo>
                  <a:lnTo>
                    <a:pt x="690" y="576"/>
                  </a:lnTo>
                  <a:lnTo>
                    <a:pt x="624" y="570"/>
                  </a:lnTo>
                  <a:lnTo>
                    <a:pt x="600" y="564"/>
                  </a:lnTo>
                  <a:lnTo>
                    <a:pt x="576" y="564"/>
                  </a:lnTo>
                  <a:lnTo>
                    <a:pt x="558" y="570"/>
                  </a:lnTo>
                  <a:lnTo>
                    <a:pt x="552" y="576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46" y="594"/>
                  </a:lnTo>
                  <a:lnTo>
                    <a:pt x="546" y="600"/>
                  </a:lnTo>
                  <a:lnTo>
                    <a:pt x="540" y="606"/>
                  </a:lnTo>
                  <a:lnTo>
                    <a:pt x="534" y="618"/>
                  </a:lnTo>
                  <a:lnTo>
                    <a:pt x="534" y="624"/>
                  </a:lnTo>
                  <a:lnTo>
                    <a:pt x="534" y="630"/>
                  </a:lnTo>
                  <a:lnTo>
                    <a:pt x="534" y="636"/>
                  </a:lnTo>
                  <a:lnTo>
                    <a:pt x="528" y="636"/>
                  </a:lnTo>
                  <a:lnTo>
                    <a:pt x="516" y="642"/>
                  </a:lnTo>
                  <a:lnTo>
                    <a:pt x="516" y="648"/>
                  </a:lnTo>
                  <a:lnTo>
                    <a:pt x="510" y="648"/>
                  </a:lnTo>
                  <a:lnTo>
                    <a:pt x="504" y="654"/>
                  </a:lnTo>
                  <a:lnTo>
                    <a:pt x="492" y="666"/>
                  </a:lnTo>
                  <a:lnTo>
                    <a:pt x="492" y="672"/>
                  </a:lnTo>
                  <a:lnTo>
                    <a:pt x="492" y="684"/>
                  </a:lnTo>
                  <a:lnTo>
                    <a:pt x="486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92" y="702"/>
                  </a:lnTo>
                  <a:lnTo>
                    <a:pt x="486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74" y="720"/>
                  </a:lnTo>
                  <a:lnTo>
                    <a:pt x="480" y="726"/>
                  </a:lnTo>
                  <a:lnTo>
                    <a:pt x="474" y="726"/>
                  </a:lnTo>
                  <a:lnTo>
                    <a:pt x="474" y="738"/>
                  </a:lnTo>
                  <a:lnTo>
                    <a:pt x="474" y="744"/>
                  </a:lnTo>
                  <a:lnTo>
                    <a:pt x="474" y="750"/>
                  </a:lnTo>
                  <a:lnTo>
                    <a:pt x="480" y="750"/>
                  </a:lnTo>
                  <a:lnTo>
                    <a:pt x="480" y="756"/>
                  </a:lnTo>
                  <a:lnTo>
                    <a:pt x="492" y="762"/>
                  </a:lnTo>
                  <a:lnTo>
                    <a:pt x="498" y="774"/>
                  </a:lnTo>
                  <a:lnTo>
                    <a:pt x="498" y="780"/>
                  </a:lnTo>
                  <a:lnTo>
                    <a:pt x="504" y="786"/>
                  </a:lnTo>
                  <a:lnTo>
                    <a:pt x="510" y="792"/>
                  </a:lnTo>
                  <a:lnTo>
                    <a:pt x="504" y="798"/>
                  </a:lnTo>
                  <a:lnTo>
                    <a:pt x="504" y="804"/>
                  </a:lnTo>
                  <a:lnTo>
                    <a:pt x="504" y="810"/>
                  </a:lnTo>
                  <a:lnTo>
                    <a:pt x="498" y="822"/>
                  </a:lnTo>
                  <a:lnTo>
                    <a:pt x="492" y="828"/>
                  </a:lnTo>
                  <a:lnTo>
                    <a:pt x="492" y="834"/>
                  </a:lnTo>
                  <a:lnTo>
                    <a:pt x="486" y="840"/>
                  </a:lnTo>
                  <a:lnTo>
                    <a:pt x="480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74" y="858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876"/>
                  </a:lnTo>
                  <a:lnTo>
                    <a:pt x="456" y="894"/>
                  </a:lnTo>
                  <a:lnTo>
                    <a:pt x="450" y="894"/>
                  </a:lnTo>
                  <a:lnTo>
                    <a:pt x="444" y="900"/>
                  </a:lnTo>
                  <a:lnTo>
                    <a:pt x="444" y="894"/>
                  </a:lnTo>
                  <a:lnTo>
                    <a:pt x="438" y="894"/>
                  </a:lnTo>
                  <a:lnTo>
                    <a:pt x="432" y="900"/>
                  </a:lnTo>
                  <a:lnTo>
                    <a:pt x="432" y="906"/>
                  </a:lnTo>
                  <a:lnTo>
                    <a:pt x="420" y="906"/>
                  </a:lnTo>
                  <a:lnTo>
                    <a:pt x="420" y="912"/>
                  </a:lnTo>
                  <a:lnTo>
                    <a:pt x="420" y="918"/>
                  </a:lnTo>
                  <a:lnTo>
                    <a:pt x="426" y="918"/>
                  </a:lnTo>
                  <a:lnTo>
                    <a:pt x="426" y="924"/>
                  </a:lnTo>
                  <a:lnTo>
                    <a:pt x="426" y="930"/>
                  </a:lnTo>
                  <a:lnTo>
                    <a:pt x="420" y="930"/>
                  </a:lnTo>
                  <a:lnTo>
                    <a:pt x="414" y="936"/>
                  </a:lnTo>
                  <a:lnTo>
                    <a:pt x="414" y="942"/>
                  </a:lnTo>
                  <a:lnTo>
                    <a:pt x="414" y="948"/>
                  </a:lnTo>
                  <a:lnTo>
                    <a:pt x="414" y="954"/>
                  </a:lnTo>
                  <a:lnTo>
                    <a:pt x="426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44" y="972"/>
                  </a:lnTo>
                  <a:lnTo>
                    <a:pt x="444" y="978"/>
                  </a:lnTo>
                  <a:lnTo>
                    <a:pt x="450" y="978"/>
                  </a:lnTo>
                  <a:lnTo>
                    <a:pt x="450" y="984"/>
                  </a:lnTo>
                  <a:lnTo>
                    <a:pt x="456" y="990"/>
                  </a:lnTo>
                  <a:lnTo>
                    <a:pt x="456" y="996"/>
                  </a:lnTo>
                  <a:lnTo>
                    <a:pt x="462" y="1008"/>
                  </a:lnTo>
                  <a:lnTo>
                    <a:pt x="468" y="1008"/>
                  </a:lnTo>
                  <a:lnTo>
                    <a:pt x="468" y="1002"/>
                  </a:lnTo>
                  <a:lnTo>
                    <a:pt x="474" y="1008"/>
                  </a:lnTo>
                  <a:lnTo>
                    <a:pt x="480" y="1002"/>
                  </a:lnTo>
                  <a:lnTo>
                    <a:pt x="486" y="1008"/>
                  </a:lnTo>
                  <a:lnTo>
                    <a:pt x="486" y="1014"/>
                  </a:lnTo>
                  <a:lnTo>
                    <a:pt x="492" y="1014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86" y="1026"/>
                  </a:lnTo>
                  <a:lnTo>
                    <a:pt x="492" y="1026"/>
                  </a:lnTo>
                  <a:lnTo>
                    <a:pt x="486" y="1026"/>
                  </a:lnTo>
                  <a:lnTo>
                    <a:pt x="492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5" name="Freeform 30">
              <a:extLst>
                <a:ext uri="{FF2B5EF4-FFF2-40B4-BE49-F238E27FC236}">
                  <a16:creationId xmlns:a16="http://schemas.microsoft.com/office/drawing/2014/main" id="{85C7B827-0C1A-4D72-AEBD-F01CFE7EC12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3645" y="3904484"/>
              <a:ext cx="559048" cy="111825"/>
            </a:xfrm>
            <a:custGeom>
              <a:avLst/>
              <a:gdLst>
                <a:gd name="T0" fmla="*/ 69 w 1056"/>
                <a:gd name="T1" fmla="*/ 7 h 210"/>
                <a:gd name="T2" fmla="*/ 63 w 1056"/>
                <a:gd name="T3" fmla="*/ 5 h 210"/>
                <a:gd name="T4" fmla="*/ 57 w 1056"/>
                <a:gd name="T5" fmla="*/ 5 h 210"/>
                <a:gd name="T6" fmla="*/ 54 w 1056"/>
                <a:gd name="T7" fmla="*/ 6 h 210"/>
                <a:gd name="T8" fmla="*/ 51 w 1056"/>
                <a:gd name="T9" fmla="*/ 7 h 210"/>
                <a:gd name="T10" fmla="*/ 46 w 1056"/>
                <a:gd name="T11" fmla="*/ 9 h 210"/>
                <a:gd name="T12" fmla="*/ 42 w 1056"/>
                <a:gd name="T13" fmla="*/ 8 h 210"/>
                <a:gd name="T14" fmla="*/ 42 w 1056"/>
                <a:gd name="T15" fmla="*/ 5 h 210"/>
                <a:gd name="T16" fmla="*/ 41 w 1056"/>
                <a:gd name="T17" fmla="*/ 7 h 210"/>
                <a:gd name="T18" fmla="*/ 38 w 1056"/>
                <a:gd name="T19" fmla="*/ 10 h 210"/>
                <a:gd name="T20" fmla="*/ 37 w 1056"/>
                <a:gd name="T21" fmla="*/ 12 h 210"/>
                <a:gd name="T22" fmla="*/ 37 w 1056"/>
                <a:gd name="T23" fmla="*/ 15 h 210"/>
                <a:gd name="T24" fmla="*/ 37 w 1056"/>
                <a:gd name="T25" fmla="*/ 16 h 210"/>
                <a:gd name="T26" fmla="*/ 38 w 1056"/>
                <a:gd name="T27" fmla="*/ 16 h 210"/>
                <a:gd name="T28" fmla="*/ 34 w 1056"/>
                <a:gd name="T29" fmla="*/ 16 h 210"/>
                <a:gd name="T30" fmla="*/ 26 w 1056"/>
                <a:gd name="T31" fmla="*/ 16 h 210"/>
                <a:gd name="T32" fmla="*/ 20 w 1056"/>
                <a:gd name="T33" fmla="*/ 17 h 210"/>
                <a:gd name="T34" fmla="*/ 13 w 1056"/>
                <a:gd name="T35" fmla="*/ 17 h 210"/>
                <a:gd name="T36" fmla="*/ 6 w 1056"/>
                <a:gd name="T37" fmla="*/ 17 h 210"/>
                <a:gd name="T38" fmla="*/ 1 w 1056"/>
                <a:gd name="T39" fmla="*/ 18 h 210"/>
                <a:gd name="T40" fmla="*/ 3 w 1056"/>
                <a:gd name="T41" fmla="*/ 14 h 210"/>
                <a:gd name="T42" fmla="*/ 8 w 1056"/>
                <a:gd name="T43" fmla="*/ 15 h 210"/>
                <a:gd name="T44" fmla="*/ 11 w 1056"/>
                <a:gd name="T45" fmla="*/ 12 h 210"/>
                <a:gd name="T46" fmla="*/ 26 w 1056"/>
                <a:gd name="T47" fmla="*/ 10 h 210"/>
                <a:gd name="T48" fmla="*/ 29 w 1056"/>
                <a:gd name="T49" fmla="*/ 5 h 210"/>
                <a:gd name="T50" fmla="*/ 34 w 1056"/>
                <a:gd name="T51" fmla="*/ 1 h 210"/>
                <a:gd name="T52" fmla="*/ 41 w 1056"/>
                <a:gd name="T53" fmla="*/ 3 h 210"/>
                <a:gd name="T54" fmla="*/ 73 w 1056"/>
                <a:gd name="T55" fmla="*/ 1 h 210"/>
                <a:gd name="T56" fmla="*/ 75 w 1056"/>
                <a:gd name="T57" fmla="*/ 4 h 210"/>
                <a:gd name="T58" fmla="*/ 85 w 1056"/>
                <a:gd name="T59" fmla="*/ 15 h 210"/>
                <a:gd name="T60" fmla="*/ 91 w 1056"/>
                <a:gd name="T61" fmla="*/ 18 h 210"/>
                <a:gd name="T62" fmla="*/ 85 w 1056"/>
                <a:gd name="T63" fmla="*/ 18 h 210"/>
                <a:gd name="T64" fmla="*/ 79 w 1056"/>
                <a:gd name="T65" fmla="*/ 16 h 210"/>
                <a:gd name="T66" fmla="*/ 74 w 1056"/>
                <a:gd name="T67" fmla="*/ 16 h 210"/>
                <a:gd name="T68" fmla="*/ 69 w 1056"/>
                <a:gd name="T69" fmla="*/ 15 h 210"/>
                <a:gd name="T70" fmla="*/ 65 w 1056"/>
                <a:gd name="T71" fmla="*/ 14 h 210"/>
                <a:gd name="T72" fmla="*/ 59 w 1056"/>
                <a:gd name="T73" fmla="*/ 15 h 210"/>
                <a:gd name="T74" fmla="*/ 54 w 1056"/>
                <a:gd name="T75" fmla="*/ 15 h 210"/>
                <a:gd name="T76" fmla="*/ 49 w 1056"/>
                <a:gd name="T77" fmla="*/ 15 h 210"/>
                <a:gd name="T78" fmla="*/ 42 w 1056"/>
                <a:gd name="T79" fmla="*/ 15 h 210"/>
                <a:gd name="T80" fmla="*/ 38 w 1056"/>
                <a:gd name="T81" fmla="*/ 16 h 210"/>
                <a:gd name="T82" fmla="*/ 41 w 1056"/>
                <a:gd name="T83" fmla="*/ 14 h 210"/>
                <a:gd name="T84" fmla="*/ 42 w 1056"/>
                <a:gd name="T85" fmla="*/ 13 h 210"/>
                <a:gd name="T86" fmla="*/ 45 w 1056"/>
                <a:gd name="T87" fmla="*/ 13 h 210"/>
                <a:gd name="T88" fmla="*/ 48 w 1056"/>
                <a:gd name="T89" fmla="*/ 12 h 210"/>
                <a:gd name="T90" fmla="*/ 51 w 1056"/>
                <a:gd name="T91" fmla="*/ 11 h 210"/>
                <a:gd name="T92" fmla="*/ 54 w 1056"/>
                <a:gd name="T93" fmla="*/ 9 h 210"/>
                <a:gd name="T94" fmla="*/ 57 w 1056"/>
                <a:gd name="T95" fmla="*/ 8 h 210"/>
                <a:gd name="T96" fmla="*/ 60 w 1056"/>
                <a:gd name="T97" fmla="*/ 5 h 210"/>
                <a:gd name="T98" fmla="*/ 65 w 1056"/>
                <a:gd name="T99" fmla="*/ 5 h 210"/>
                <a:gd name="T100" fmla="*/ 72 w 1056"/>
                <a:gd name="T101" fmla="*/ 7 h 210"/>
                <a:gd name="T102" fmla="*/ 77 w 1056"/>
                <a:gd name="T103" fmla="*/ 11 h 210"/>
                <a:gd name="T104" fmla="*/ 69 w 1056"/>
                <a:gd name="T105" fmla="*/ 10 h 210"/>
                <a:gd name="T106" fmla="*/ 72 w 1056"/>
                <a:gd name="T107" fmla="*/ 12 h 210"/>
                <a:gd name="T108" fmla="*/ 78 w 1056"/>
                <a:gd name="T109" fmla="*/ 15 h 210"/>
                <a:gd name="T110" fmla="*/ 84 w 1056"/>
                <a:gd name="T111" fmla="*/ 14 h 210"/>
                <a:gd name="T112" fmla="*/ 84 w 1056"/>
                <a:gd name="T113" fmla="*/ 14 h 210"/>
                <a:gd name="T114" fmla="*/ 78 w 1056"/>
                <a:gd name="T115" fmla="*/ 13 h 210"/>
                <a:gd name="T116" fmla="*/ 76 w 1056"/>
                <a:gd name="T117" fmla="*/ 14 h 210"/>
                <a:gd name="T118" fmla="*/ 38 w 1056"/>
                <a:gd name="T119" fmla="*/ 12 h 210"/>
                <a:gd name="T120" fmla="*/ 41 w 1056"/>
                <a:gd name="T121" fmla="*/ 12 h 210"/>
                <a:gd name="T122" fmla="*/ 40 w 1056"/>
                <a:gd name="T123" fmla="*/ 14 h 2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6"/>
                <a:gd name="T187" fmla="*/ 0 h 210"/>
                <a:gd name="T188" fmla="*/ 1056 w 1056"/>
                <a:gd name="T189" fmla="*/ 210 h 21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6" h="210">
                  <a:moveTo>
                    <a:pt x="870" y="90"/>
                  </a:moveTo>
                  <a:lnTo>
                    <a:pt x="864" y="90"/>
                  </a:lnTo>
                  <a:lnTo>
                    <a:pt x="852" y="84"/>
                  </a:lnTo>
                  <a:lnTo>
                    <a:pt x="846" y="84"/>
                  </a:lnTo>
                  <a:lnTo>
                    <a:pt x="846" y="78"/>
                  </a:lnTo>
                  <a:lnTo>
                    <a:pt x="840" y="78"/>
                  </a:lnTo>
                  <a:lnTo>
                    <a:pt x="834" y="78"/>
                  </a:lnTo>
                  <a:lnTo>
                    <a:pt x="834" y="72"/>
                  </a:lnTo>
                  <a:lnTo>
                    <a:pt x="804" y="78"/>
                  </a:lnTo>
                  <a:lnTo>
                    <a:pt x="798" y="78"/>
                  </a:lnTo>
                  <a:lnTo>
                    <a:pt x="792" y="72"/>
                  </a:lnTo>
                  <a:lnTo>
                    <a:pt x="780" y="60"/>
                  </a:lnTo>
                  <a:lnTo>
                    <a:pt x="768" y="54"/>
                  </a:lnTo>
                  <a:lnTo>
                    <a:pt x="756" y="54"/>
                  </a:lnTo>
                  <a:lnTo>
                    <a:pt x="750" y="54"/>
                  </a:lnTo>
                  <a:lnTo>
                    <a:pt x="750" y="48"/>
                  </a:lnTo>
                  <a:lnTo>
                    <a:pt x="744" y="48"/>
                  </a:lnTo>
                  <a:lnTo>
                    <a:pt x="738" y="48"/>
                  </a:lnTo>
                  <a:lnTo>
                    <a:pt x="732" y="48"/>
                  </a:lnTo>
                  <a:lnTo>
                    <a:pt x="732" y="54"/>
                  </a:lnTo>
                  <a:lnTo>
                    <a:pt x="726" y="48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48"/>
                  </a:lnTo>
                  <a:lnTo>
                    <a:pt x="702" y="48"/>
                  </a:lnTo>
                  <a:lnTo>
                    <a:pt x="696" y="48"/>
                  </a:lnTo>
                  <a:lnTo>
                    <a:pt x="684" y="48"/>
                  </a:lnTo>
                  <a:lnTo>
                    <a:pt x="678" y="48"/>
                  </a:lnTo>
                  <a:lnTo>
                    <a:pt x="672" y="48"/>
                  </a:lnTo>
                  <a:lnTo>
                    <a:pt x="666" y="54"/>
                  </a:lnTo>
                  <a:lnTo>
                    <a:pt x="660" y="54"/>
                  </a:lnTo>
                  <a:lnTo>
                    <a:pt x="660" y="48"/>
                  </a:lnTo>
                  <a:lnTo>
                    <a:pt x="654" y="48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42" y="54"/>
                  </a:lnTo>
                  <a:lnTo>
                    <a:pt x="63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30" y="66"/>
                  </a:lnTo>
                  <a:lnTo>
                    <a:pt x="624" y="66"/>
                  </a:lnTo>
                  <a:lnTo>
                    <a:pt x="618" y="66"/>
                  </a:lnTo>
                  <a:lnTo>
                    <a:pt x="618" y="72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6" y="84"/>
                  </a:lnTo>
                  <a:lnTo>
                    <a:pt x="600" y="84"/>
                  </a:lnTo>
                  <a:lnTo>
                    <a:pt x="594" y="90"/>
                  </a:lnTo>
                  <a:lnTo>
                    <a:pt x="588" y="90"/>
                  </a:lnTo>
                  <a:lnTo>
                    <a:pt x="588" y="84"/>
                  </a:lnTo>
                  <a:lnTo>
                    <a:pt x="582" y="84"/>
                  </a:lnTo>
                  <a:lnTo>
                    <a:pt x="576" y="84"/>
                  </a:lnTo>
                  <a:lnTo>
                    <a:pt x="570" y="84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58" y="96"/>
                  </a:lnTo>
                  <a:lnTo>
                    <a:pt x="552" y="96"/>
                  </a:lnTo>
                  <a:lnTo>
                    <a:pt x="546" y="102"/>
                  </a:lnTo>
                  <a:lnTo>
                    <a:pt x="540" y="102"/>
                  </a:lnTo>
                  <a:lnTo>
                    <a:pt x="534" y="102"/>
                  </a:lnTo>
                  <a:lnTo>
                    <a:pt x="528" y="102"/>
                  </a:lnTo>
                  <a:lnTo>
                    <a:pt x="528" y="108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16" y="102"/>
                  </a:lnTo>
                  <a:lnTo>
                    <a:pt x="510" y="102"/>
                  </a:lnTo>
                  <a:lnTo>
                    <a:pt x="504" y="102"/>
                  </a:lnTo>
                  <a:lnTo>
                    <a:pt x="498" y="102"/>
                  </a:lnTo>
                  <a:lnTo>
                    <a:pt x="498" y="96"/>
                  </a:lnTo>
                  <a:lnTo>
                    <a:pt x="492" y="96"/>
                  </a:lnTo>
                  <a:lnTo>
                    <a:pt x="492" y="90"/>
                  </a:lnTo>
                  <a:lnTo>
                    <a:pt x="492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498" y="66"/>
                  </a:lnTo>
                  <a:lnTo>
                    <a:pt x="504" y="60"/>
                  </a:lnTo>
                  <a:lnTo>
                    <a:pt x="498" y="60"/>
                  </a:lnTo>
                  <a:lnTo>
                    <a:pt x="498" y="54"/>
                  </a:lnTo>
                  <a:lnTo>
                    <a:pt x="492" y="54"/>
                  </a:lnTo>
                  <a:lnTo>
                    <a:pt x="492" y="60"/>
                  </a:lnTo>
                  <a:lnTo>
                    <a:pt x="486" y="60"/>
                  </a:lnTo>
                  <a:lnTo>
                    <a:pt x="486" y="66"/>
                  </a:lnTo>
                  <a:lnTo>
                    <a:pt x="480" y="66"/>
                  </a:lnTo>
                  <a:lnTo>
                    <a:pt x="474" y="72"/>
                  </a:lnTo>
                  <a:lnTo>
                    <a:pt x="474" y="66"/>
                  </a:lnTo>
                  <a:lnTo>
                    <a:pt x="474" y="72"/>
                  </a:lnTo>
                  <a:lnTo>
                    <a:pt x="468" y="72"/>
                  </a:lnTo>
                  <a:lnTo>
                    <a:pt x="468" y="78"/>
                  </a:lnTo>
                  <a:lnTo>
                    <a:pt x="468" y="84"/>
                  </a:lnTo>
                  <a:lnTo>
                    <a:pt x="462" y="90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0" y="84"/>
                  </a:lnTo>
                  <a:lnTo>
                    <a:pt x="450" y="90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44" y="102"/>
                  </a:lnTo>
                  <a:lnTo>
                    <a:pt x="444" y="108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38" y="126"/>
                  </a:lnTo>
                  <a:lnTo>
                    <a:pt x="438" y="132"/>
                  </a:lnTo>
                  <a:lnTo>
                    <a:pt x="438" y="138"/>
                  </a:lnTo>
                  <a:lnTo>
                    <a:pt x="438" y="144"/>
                  </a:lnTo>
                  <a:lnTo>
                    <a:pt x="432" y="144"/>
                  </a:lnTo>
                  <a:lnTo>
                    <a:pt x="432" y="150"/>
                  </a:lnTo>
                  <a:lnTo>
                    <a:pt x="432" y="144"/>
                  </a:lnTo>
                  <a:lnTo>
                    <a:pt x="426" y="144"/>
                  </a:lnTo>
                  <a:lnTo>
                    <a:pt x="426" y="150"/>
                  </a:lnTo>
                  <a:lnTo>
                    <a:pt x="426" y="156"/>
                  </a:lnTo>
                  <a:lnTo>
                    <a:pt x="432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2"/>
                  </a:lnTo>
                  <a:lnTo>
                    <a:pt x="432" y="168"/>
                  </a:lnTo>
                  <a:lnTo>
                    <a:pt x="426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44" y="168"/>
                  </a:lnTo>
                  <a:lnTo>
                    <a:pt x="444" y="174"/>
                  </a:lnTo>
                  <a:lnTo>
                    <a:pt x="444" y="180"/>
                  </a:lnTo>
                  <a:lnTo>
                    <a:pt x="444" y="186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2" y="192"/>
                  </a:lnTo>
                  <a:lnTo>
                    <a:pt x="426" y="192"/>
                  </a:lnTo>
                  <a:lnTo>
                    <a:pt x="420" y="186"/>
                  </a:lnTo>
                  <a:lnTo>
                    <a:pt x="414" y="186"/>
                  </a:lnTo>
                  <a:lnTo>
                    <a:pt x="408" y="186"/>
                  </a:lnTo>
                  <a:lnTo>
                    <a:pt x="402" y="186"/>
                  </a:lnTo>
                  <a:lnTo>
                    <a:pt x="396" y="186"/>
                  </a:lnTo>
                  <a:lnTo>
                    <a:pt x="390" y="186"/>
                  </a:lnTo>
                  <a:lnTo>
                    <a:pt x="384" y="186"/>
                  </a:lnTo>
                  <a:lnTo>
                    <a:pt x="378" y="186"/>
                  </a:lnTo>
                  <a:lnTo>
                    <a:pt x="372" y="186"/>
                  </a:lnTo>
                  <a:lnTo>
                    <a:pt x="354" y="186"/>
                  </a:lnTo>
                  <a:lnTo>
                    <a:pt x="342" y="186"/>
                  </a:lnTo>
                  <a:lnTo>
                    <a:pt x="324" y="186"/>
                  </a:lnTo>
                  <a:lnTo>
                    <a:pt x="312" y="186"/>
                  </a:lnTo>
                  <a:lnTo>
                    <a:pt x="306" y="186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82" y="186"/>
                  </a:lnTo>
                  <a:lnTo>
                    <a:pt x="270" y="186"/>
                  </a:lnTo>
                  <a:lnTo>
                    <a:pt x="264" y="186"/>
                  </a:lnTo>
                  <a:lnTo>
                    <a:pt x="258" y="192"/>
                  </a:lnTo>
                  <a:lnTo>
                    <a:pt x="258" y="186"/>
                  </a:lnTo>
                  <a:lnTo>
                    <a:pt x="246" y="186"/>
                  </a:lnTo>
                  <a:lnTo>
                    <a:pt x="240" y="186"/>
                  </a:lnTo>
                  <a:lnTo>
                    <a:pt x="234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2"/>
                  </a:lnTo>
                  <a:lnTo>
                    <a:pt x="204" y="192"/>
                  </a:lnTo>
                  <a:lnTo>
                    <a:pt x="198" y="192"/>
                  </a:lnTo>
                  <a:lnTo>
                    <a:pt x="192" y="192"/>
                  </a:lnTo>
                  <a:lnTo>
                    <a:pt x="180" y="192"/>
                  </a:lnTo>
                  <a:lnTo>
                    <a:pt x="168" y="192"/>
                  </a:lnTo>
                  <a:lnTo>
                    <a:pt x="162" y="192"/>
                  </a:lnTo>
                  <a:lnTo>
                    <a:pt x="150" y="192"/>
                  </a:lnTo>
                  <a:lnTo>
                    <a:pt x="138" y="192"/>
                  </a:lnTo>
                  <a:lnTo>
                    <a:pt x="132" y="192"/>
                  </a:lnTo>
                  <a:lnTo>
                    <a:pt x="120" y="192"/>
                  </a:lnTo>
                  <a:lnTo>
                    <a:pt x="114" y="192"/>
                  </a:lnTo>
                  <a:lnTo>
                    <a:pt x="108" y="192"/>
                  </a:lnTo>
                  <a:lnTo>
                    <a:pt x="102" y="192"/>
                  </a:lnTo>
                  <a:lnTo>
                    <a:pt x="90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2" y="198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36" y="198"/>
                  </a:lnTo>
                  <a:lnTo>
                    <a:pt x="30" y="204"/>
                  </a:lnTo>
                  <a:lnTo>
                    <a:pt x="24" y="204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6" y="210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54" y="156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56"/>
                  </a:lnTo>
                  <a:lnTo>
                    <a:pt x="78" y="162"/>
                  </a:lnTo>
                  <a:lnTo>
                    <a:pt x="84" y="162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9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0" y="126"/>
                  </a:lnTo>
                  <a:lnTo>
                    <a:pt x="276" y="120"/>
                  </a:lnTo>
                  <a:lnTo>
                    <a:pt x="282" y="120"/>
                  </a:lnTo>
                  <a:lnTo>
                    <a:pt x="300" y="120"/>
                  </a:lnTo>
                  <a:lnTo>
                    <a:pt x="306" y="114"/>
                  </a:lnTo>
                  <a:lnTo>
                    <a:pt x="312" y="108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8"/>
                  </a:lnTo>
                  <a:lnTo>
                    <a:pt x="342" y="30"/>
                  </a:lnTo>
                  <a:lnTo>
                    <a:pt x="342" y="24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8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24"/>
                  </a:lnTo>
                  <a:lnTo>
                    <a:pt x="414" y="30"/>
                  </a:lnTo>
                  <a:lnTo>
                    <a:pt x="420" y="30"/>
                  </a:lnTo>
                  <a:lnTo>
                    <a:pt x="42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74" y="30"/>
                  </a:lnTo>
                  <a:lnTo>
                    <a:pt x="474" y="18"/>
                  </a:lnTo>
                  <a:lnTo>
                    <a:pt x="474" y="12"/>
                  </a:lnTo>
                  <a:lnTo>
                    <a:pt x="480" y="12"/>
                  </a:lnTo>
                  <a:lnTo>
                    <a:pt x="486" y="12"/>
                  </a:lnTo>
                  <a:lnTo>
                    <a:pt x="606" y="12"/>
                  </a:lnTo>
                  <a:lnTo>
                    <a:pt x="630" y="12"/>
                  </a:lnTo>
                  <a:lnTo>
                    <a:pt x="678" y="12"/>
                  </a:lnTo>
                  <a:lnTo>
                    <a:pt x="744" y="12"/>
                  </a:lnTo>
                  <a:lnTo>
                    <a:pt x="774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2" y="6"/>
                  </a:lnTo>
                  <a:lnTo>
                    <a:pt x="888" y="12"/>
                  </a:lnTo>
                  <a:lnTo>
                    <a:pt x="888" y="24"/>
                  </a:lnTo>
                  <a:lnTo>
                    <a:pt x="888" y="30"/>
                  </a:lnTo>
                  <a:lnTo>
                    <a:pt x="882" y="36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64" y="42"/>
                  </a:lnTo>
                  <a:lnTo>
                    <a:pt x="864" y="48"/>
                  </a:lnTo>
                  <a:lnTo>
                    <a:pt x="858" y="54"/>
                  </a:lnTo>
                  <a:lnTo>
                    <a:pt x="864" y="54"/>
                  </a:lnTo>
                  <a:lnTo>
                    <a:pt x="870" y="72"/>
                  </a:lnTo>
                  <a:lnTo>
                    <a:pt x="870" y="78"/>
                  </a:lnTo>
                  <a:lnTo>
                    <a:pt x="870" y="84"/>
                  </a:lnTo>
                  <a:lnTo>
                    <a:pt x="870" y="90"/>
                  </a:lnTo>
                  <a:close/>
                  <a:moveTo>
                    <a:pt x="972" y="156"/>
                  </a:moveTo>
                  <a:lnTo>
                    <a:pt x="972" y="162"/>
                  </a:lnTo>
                  <a:lnTo>
                    <a:pt x="978" y="162"/>
                  </a:lnTo>
                  <a:lnTo>
                    <a:pt x="984" y="168"/>
                  </a:lnTo>
                  <a:lnTo>
                    <a:pt x="990" y="168"/>
                  </a:lnTo>
                  <a:lnTo>
                    <a:pt x="990" y="162"/>
                  </a:lnTo>
                  <a:lnTo>
                    <a:pt x="1008" y="162"/>
                  </a:lnTo>
                  <a:lnTo>
                    <a:pt x="1020" y="162"/>
                  </a:lnTo>
                  <a:lnTo>
                    <a:pt x="1038" y="162"/>
                  </a:lnTo>
                  <a:lnTo>
                    <a:pt x="1056" y="168"/>
                  </a:lnTo>
                  <a:lnTo>
                    <a:pt x="1056" y="180"/>
                  </a:lnTo>
                  <a:lnTo>
                    <a:pt x="1056" y="186"/>
                  </a:lnTo>
                  <a:lnTo>
                    <a:pt x="1056" y="204"/>
                  </a:lnTo>
                  <a:lnTo>
                    <a:pt x="1050" y="204"/>
                  </a:lnTo>
                  <a:lnTo>
                    <a:pt x="1044" y="204"/>
                  </a:lnTo>
                  <a:lnTo>
                    <a:pt x="1038" y="204"/>
                  </a:lnTo>
                  <a:lnTo>
                    <a:pt x="1032" y="204"/>
                  </a:lnTo>
                  <a:lnTo>
                    <a:pt x="1026" y="204"/>
                  </a:lnTo>
                  <a:lnTo>
                    <a:pt x="1020" y="204"/>
                  </a:lnTo>
                  <a:lnTo>
                    <a:pt x="1014" y="204"/>
                  </a:lnTo>
                  <a:lnTo>
                    <a:pt x="1008" y="204"/>
                  </a:lnTo>
                  <a:lnTo>
                    <a:pt x="1002" y="204"/>
                  </a:lnTo>
                  <a:lnTo>
                    <a:pt x="996" y="204"/>
                  </a:lnTo>
                  <a:lnTo>
                    <a:pt x="984" y="204"/>
                  </a:lnTo>
                  <a:lnTo>
                    <a:pt x="984" y="198"/>
                  </a:lnTo>
                  <a:lnTo>
                    <a:pt x="978" y="198"/>
                  </a:lnTo>
                  <a:lnTo>
                    <a:pt x="966" y="198"/>
                  </a:lnTo>
                  <a:lnTo>
                    <a:pt x="948" y="192"/>
                  </a:lnTo>
                  <a:lnTo>
                    <a:pt x="942" y="192"/>
                  </a:lnTo>
                  <a:lnTo>
                    <a:pt x="936" y="192"/>
                  </a:lnTo>
                  <a:lnTo>
                    <a:pt x="924" y="192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12" y="186"/>
                  </a:lnTo>
                  <a:lnTo>
                    <a:pt x="906" y="186"/>
                  </a:lnTo>
                  <a:lnTo>
                    <a:pt x="900" y="186"/>
                  </a:lnTo>
                  <a:lnTo>
                    <a:pt x="894" y="186"/>
                  </a:lnTo>
                  <a:lnTo>
                    <a:pt x="888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76" y="180"/>
                  </a:lnTo>
                  <a:lnTo>
                    <a:pt x="870" y="180"/>
                  </a:lnTo>
                  <a:lnTo>
                    <a:pt x="864" y="180"/>
                  </a:lnTo>
                  <a:lnTo>
                    <a:pt x="858" y="180"/>
                  </a:lnTo>
                  <a:lnTo>
                    <a:pt x="852" y="180"/>
                  </a:lnTo>
                  <a:lnTo>
                    <a:pt x="852" y="174"/>
                  </a:lnTo>
                  <a:lnTo>
                    <a:pt x="846" y="174"/>
                  </a:lnTo>
                  <a:lnTo>
                    <a:pt x="840" y="174"/>
                  </a:lnTo>
                  <a:lnTo>
                    <a:pt x="834" y="174"/>
                  </a:lnTo>
                  <a:lnTo>
                    <a:pt x="828" y="174"/>
                  </a:lnTo>
                  <a:lnTo>
                    <a:pt x="822" y="174"/>
                  </a:lnTo>
                  <a:lnTo>
                    <a:pt x="816" y="174"/>
                  </a:lnTo>
                  <a:lnTo>
                    <a:pt x="810" y="168"/>
                  </a:lnTo>
                  <a:lnTo>
                    <a:pt x="804" y="168"/>
                  </a:lnTo>
                  <a:lnTo>
                    <a:pt x="798" y="168"/>
                  </a:lnTo>
                  <a:lnTo>
                    <a:pt x="792" y="168"/>
                  </a:lnTo>
                  <a:lnTo>
                    <a:pt x="786" y="168"/>
                  </a:lnTo>
                  <a:lnTo>
                    <a:pt x="780" y="168"/>
                  </a:lnTo>
                  <a:lnTo>
                    <a:pt x="774" y="168"/>
                  </a:lnTo>
                  <a:lnTo>
                    <a:pt x="768" y="168"/>
                  </a:lnTo>
                  <a:lnTo>
                    <a:pt x="762" y="168"/>
                  </a:lnTo>
                  <a:lnTo>
                    <a:pt x="756" y="168"/>
                  </a:lnTo>
                  <a:lnTo>
                    <a:pt x="750" y="168"/>
                  </a:lnTo>
                  <a:lnTo>
                    <a:pt x="750" y="162"/>
                  </a:lnTo>
                  <a:lnTo>
                    <a:pt x="744" y="168"/>
                  </a:lnTo>
                  <a:lnTo>
                    <a:pt x="738" y="162"/>
                  </a:lnTo>
                  <a:lnTo>
                    <a:pt x="732" y="162"/>
                  </a:lnTo>
                  <a:lnTo>
                    <a:pt x="726" y="162"/>
                  </a:lnTo>
                  <a:lnTo>
                    <a:pt x="714" y="162"/>
                  </a:lnTo>
                  <a:lnTo>
                    <a:pt x="702" y="162"/>
                  </a:lnTo>
                  <a:lnTo>
                    <a:pt x="696" y="168"/>
                  </a:lnTo>
                  <a:lnTo>
                    <a:pt x="690" y="168"/>
                  </a:lnTo>
                  <a:lnTo>
                    <a:pt x="684" y="168"/>
                  </a:lnTo>
                  <a:lnTo>
                    <a:pt x="678" y="168"/>
                  </a:lnTo>
                  <a:lnTo>
                    <a:pt x="672" y="168"/>
                  </a:lnTo>
                  <a:lnTo>
                    <a:pt x="666" y="168"/>
                  </a:lnTo>
                  <a:lnTo>
                    <a:pt x="660" y="168"/>
                  </a:lnTo>
                  <a:lnTo>
                    <a:pt x="654" y="168"/>
                  </a:lnTo>
                  <a:lnTo>
                    <a:pt x="648" y="174"/>
                  </a:lnTo>
                  <a:lnTo>
                    <a:pt x="648" y="168"/>
                  </a:lnTo>
                  <a:lnTo>
                    <a:pt x="642" y="174"/>
                  </a:lnTo>
                  <a:lnTo>
                    <a:pt x="636" y="174"/>
                  </a:lnTo>
                  <a:lnTo>
                    <a:pt x="630" y="174"/>
                  </a:lnTo>
                  <a:lnTo>
                    <a:pt x="624" y="174"/>
                  </a:lnTo>
                  <a:lnTo>
                    <a:pt x="618" y="174"/>
                  </a:lnTo>
                  <a:lnTo>
                    <a:pt x="612" y="174"/>
                  </a:lnTo>
                  <a:lnTo>
                    <a:pt x="606" y="174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74"/>
                  </a:lnTo>
                  <a:lnTo>
                    <a:pt x="582" y="174"/>
                  </a:lnTo>
                  <a:lnTo>
                    <a:pt x="576" y="174"/>
                  </a:lnTo>
                  <a:lnTo>
                    <a:pt x="570" y="174"/>
                  </a:lnTo>
                  <a:lnTo>
                    <a:pt x="564" y="174"/>
                  </a:lnTo>
                  <a:lnTo>
                    <a:pt x="558" y="174"/>
                  </a:lnTo>
                  <a:lnTo>
                    <a:pt x="552" y="174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0" y="174"/>
                  </a:lnTo>
                  <a:lnTo>
                    <a:pt x="504" y="174"/>
                  </a:lnTo>
                  <a:lnTo>
                    <a:pt x="498" y="174"/>
                  </a:lnTo>
                  <a:lnTo>
                    <a:pt x="492" y="174"/>
                  </a:lnTo>
                  <a:lnTo>
                    <a:pt x="486" y="174"/>
                  </a:lnTo>
                  <a:lnTo>
                    <a:pt x="480" y="174"/>
                  </a:lnTo>
                  <a:lnTo>
                    <a:pt x="474" y="174"/>
                  </a:lnTo>
                  <a:lnTo>
                    <a:pt x="468" y="174"/>
                  </a:lnTo>
                  <a:lnTo>
                    <a:pt x="462" y="174"/>
                  </a:lnTo>
                  <a:lnTo>
                    <a:pt x="456" y="174"/>
                  </a:lnTo>
                  <a:lnTo>
                    <a:pt x="450" y="180"/>
                  </a:lnTo>
                  <a:lnTo>
                    <a:pt x="450" y="186"/>
                  </a:lnTo>
                  <a:lnTo>
                    <a:pt x="450" y="192"/>
                  </a:lnTo>
                  <a:lnTo>
                    <a:pt x="444" y="192"/>
                  </a:lnTo>
                  <a:lnTo>
                    <a:pt x="444" y="186"/>
                  </a:lnTo>
                  <a:lnTo>
                    <a:pt x="444" y="180"/>
                  </a:lnTo>
                  <a:lnTo>
                    <a:pt x="450" y="180"/>
                  </a:lnTo>
                  <a:lnTo>
                    <a:pt x="450" y="174"/>
                  </a:lnTo>
                  <a:lnTo>
                    <a:pt x="450" y="168"/>
                  </a:lnTo>
                  <a:lnTo>
                    <a:pt x="450" y="162"/>
                  </a:lnTo>
                  <a:lnTo>
                    <a:pt x="456" y="162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62" y="162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74" y="168"/>
                  </a:lnTo>
                  <a:lnTo>
                    <a:pt x="480" y="168"/>
                  </a:lnTo>
                  <a:lnTo>
                    <a:pt x="480" y="162"/>
                  </a:lnTo>
                  <a:lnTo>
                    <a:pt x="480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56"/>
                  </a:lnTo>
                  <a:lnTo>
                    <a:pt x="492" y="156"/>
                  </a:lnTo>
                  <a:lnTo>
                    <a:pt x="486" y="150"/>
                  </a:lnTo>
                  <a:lnTo>
                    <a:pt x="492" y="150"/>
                  </a:lnTo>
                  <a:lnTo>
                    <a:pt x="498" y="150"/>
                  </a:lnTo>
                  <a:lnTo>
                    <a:pt x="498" y="156"/>
                  </a:lnTo>
                  <a:lnTo>
                    <a:pt x="504" y="156"/>
                  </a:lnTo>
                  <a:lnTo>
                    <a:pt x="504" y="162"/>
                  </a:lnTo>
                  <a:lnTo>
                    <a:pt x="504" y="156"/>
                  </a:lnTo>
                  <a:lnTo>
                    <a:pt x="510" y="156"/>
                  </a:lnTo>
                  <a:lnTo>
                    <a:pt x="510" y="150"/>
                  </a:lnTo>
                  <a:lnTo>
                    <a:pt x="516" y="150"/>
                  </a:lnTo>
                  <a:lnTo>
                    <a:pt x="522" y="150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28" y="150"/>
                  </a:lnTo>
                  <a:lnTo>
                    <a:pt x="528" y="144"/>
                  </a:lnTo>
                  <a:lnTo>
                    <a:pt x="540" y="144"/>
                  </a:lnTo>
                  <a:lnTo>
                    <a:pt x="546" y="144"/>
                  </a:lnTo>
                  <a:lnTo>
                    <a:pt x="552" y="138"/>
                  </a:lnTo>
                  <a:lnTo>
                    <a:pt x="552" y="132"/>
                  </a:lnTo>
                  <a:lnTo>
                    <a:pt x="558" y="132"/>
                  </a:lnTo>
                  <a:lnTo>
                    <a:pt x="558" y="126"/>
                  </a:lnTo>
                  <a:lnTo>
                    <a:pt x="558" y="120"/>
                  </a:lnTo>
                  <a:lnTo>
                    <a:pt x="558" y="114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6" y="114"/>
                  </a:lnTo>
                  <a:lnTo>
                    <a:pt x="582" y="120"/>
                  </a:lnTo>
                  <a:lnTo>
                    <a:pt x="588" y="120"/>
                  </a:lnTo>
                  <a:lnTo>
                    <a:pt x="588" y="126"/>
                  </a:lnTo>
                  <a:lnTo>
                    <a:pt x="588" y="120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600" y="114"/>
                  </a:lnTo>
                  <a:lnTo>
                    <a:pt x="606" y="114"/>
                  </a:lnTo>
                  <a:lnTo>
                    <a:pt x="618" y="114"/>
                  </a:lnTo>
                  <a:lnTo>
                    <a:pt x="618" y="108"/>
                  </a:lnTo>
                  <a:lnTo>
                    <a:pt x="624" y="108"/>
                  </a:lnTo>
                  <a:lnTo>
                    <a:pt x="624" y="102"/>
                  </a:lnTo>
                  <a:lnTo>
                    <a:pt x="630" y="102"/>
                  </a:lnTo>
                  <a:lnTo>
                    <a:pt x="636" y="102"/>
                  </a:lnTo>
                  <a:lnTo>
                    <a:pt x="636" y="108"/>
                  </a:lnTo>
                  <a:lnTo>
                    <a:pt x="642" y="108"/>
                  </a:lnTo>
                  <a:lnTo>
                    <a:pt x="648" y="108"/>
                  </a:lnTo>
                  <a:lnTo>
                    <a:pt x="648" y="102"/>
                  </a:lnTo>
                  <a:lnTo>
                    <a:pt x="654" y="102"/>
                  </a:lnTo>
                  <a:lnTo>
                    <a:pt x="660" y="102"/>
                  </a:lnTo>
                  <a:lnTo>
                    <a:pt x="660" y="96"/>
                  </a:lnTo>
                  <a:lnTo>
                    <a:pt x="660" y="90"/>
                  </a:lnTo>
                  <a:lnTo>
                    <a:pt x="666" y="90"/>
                  </a:lnTo>
                  <a:lnTo>
                    <a:pt x="666" y="84"/>
                  </a:lnTo>
                  <a:lnTo>
                    <a:pt x="672" y="78"/>
                  </a:lnTo>
                  <a:lnTo>
                    <a:pt x="672" y="72"/>
                  </a:lnTo>
                  <a:lnTo>
                    <a:pt x="678" y="66"/>
                  </a:lnTo>
                  <a:lnTo>
                    <a:pt x="684" y="66"/>
                  </a:lnTo>
                  <a:lnTo>
                    <a:pt x="684" y="60"/>
                  </a:lnTo>
                  <a:lnTo>
                    <a:pt x="690" y="60"/>
                  </a:lnTo>
                  <a:lnTo>
                    <a:pt x="696" y="60"/>
                  </a:lnTo>
                  <a:lnTo>
                    <a:pt x="702" y="60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66"/>
                  </a:lnTo>
                  <a:lnTo>
                    <a:pt x="720" y="66"/>
                  </a:lnTo>
                  <a:lnTo>
                    <a:pt x="720" y="60"/>
                  </a:lnTo>
                  <a:lnTo>
                    <a:pt x="726" y="60"/>
                  </a:lnTo>
                  <a:lnTo>
                    <a:pt x="732" y="60"/>
                  </a:lnTo>
                  <a:lnTo>
                    <a:pt x="744" y="60"/>
                  </a:lnTo>
                  <a:lnTo>
                    <a:pt x="750" y="54"/>
                  </a:lnTo>
                  <a:lnTo>
                    <a:pt x="762" y="60"/>
                  </a:lnTo>
                  <a:lnTo>
                    <a:pt x="774" y="60"/>
                  </a:lnTo>
                  <a:lnTo>
                    <a:pt x="774" y="66"/>
                  </a:lnTo>
                  <a:lnTo>
                    <a:pt x="780" y="72"/>
                  </a:lnTo>
                  <a:lnTo>
                    <a:pt x="786" y="78"/>
                  </a:lnTo>
                  <a:lnTo>
                    <a:pt x="792" y="78"/>
                  </a:lnTo>
                  <a:lnTo>
                    <a:pt x="810" y="84"/>
                  </a:lnTo>
                  <a:lnTo>
                    <a:pt x="822" y="84"/>
                  </a:lnTo>
                  <a:lnTo>
                    <a:pt x="828" y="84"/>
                  </a:lnTo>
                  <a:lnTo>
                    <a:pt x="834" y="84"/>
                  </a:lnTo>
                  <a:lnTo>
                    <a:pt x="840" y="96"/>
                  </a:lnTo>
                  <a:lnTo>
                    <a:pt x="846" y="102"/>
                  </a:lnTo>
                  <a:lnTo>
                    <a:pt x="858" y="102"/>
                  </a:lnTo>
                  <a:lnTo>
                    <a:pt x="864" y="102"/>
                  </a:lnTo>
                  <a:lnTo>
                    <a:pt x="876" y="96"/>
                  </a:lnTo>
                  <a:lnTo>
                    <a:pt x="882" y="102"/>
                  </a:lnTo>
                  <a:lnTo>
                    <a:pt x="888" y="108"/>
                  </a:lnTo>
                  <a:lnTo>
                    <a:pt x="888" y="114"/>
                  </a:lnTo>
                  <a:lnTo>
                    <a:pt x="888" y="120"/>
                  </a:lnTo>
                  <a:lnTo>
                    <a:pt x="888" y="126"/>
                  </a:lnTo>
                  <a:lnTo>
                    <a:pt x="888" y="132"/>
                  </a:lnTo>
                  <a:lnTo>
                    <a:pt x="882" y="132"/>
                  </a:lnTo>
                  <a:lnTo>
                    <a:pt x="864" y="126"/>
                  </a:lnTo>
                  <a:lnTo>
                    <a:pt x="852" y="120"/>
                  </a:lnTo>
                  <a:lnTo>
                    <a:pt x="840" y="126"/>
                  </a:lnTo>
                  <a:lnTo>
                    <a:pt x="834" y="120"/>
                  </a:lnTo>
                  <a:lnTo>
                    <a:pt x="828" y="120"/>
                  </a:lnTo>
                  <a:lnTo>
                    <a:pt x="822" y="120"/>
                  </a:lnTo>
                  <a:lnTo>
                    <a:pt x="810" y="114"/>
                  </a:lnTo>
                  <a:lnTo>
                    <a:pt x="804" y="114"/>
                  </a:lnTo>
                  <a:lnTo>
                    <a:pt x="798" y="114"/>
                  </a:lnTo>
                  <a:lnTo>
                    <a:pt x="792" y="114"/>
                  </a:lnTo>
                  <a:lnTo>
                    <a:pt x="786" y="114"/>
                  </a:lnTo>
                  <a:lnTo>
                    <a:pt x="780" y="114"/>
                  </a:lnTo>
                  <a:lnTo>
                    <a:pt x="780" y="126"/>
                  </a:lnTo>
                  <a:lnTo>
                    <a:pt x="786" y="126"/>
                  </a:lnTo>
                  <a:lnTo>
                    <a:pt x="798" y="126"/>
                  </a:lnTo>
                  <a:lnTo>
                    <a:pt x="804" y="126"/>
                  </a:lnTo>
                  <a:lnTo>
                    <a:pt x="822" y="132"/>
                  </a:lnTo>
                  <a:lnTo>
                    <a:pt x="828" y="132"/>
                  </a:lnTo>
                  <a:lnTo>
                    <a:pt x="834" y="132"/>
                  </a:lnTo>
                  <a:lnTo>
                    <a:pt x="840" y="144"/>
                  </a:lnTo>
                  <a:lnTo>
                    <a:pt x="846" y="150"/>
                  </a:lnTo>
                  <a:lnTo>
                    <a:pt x="858" y="150"/>
                  </a:lnTo>
                  <a:lnTo>
                    <a:pt x="864" y="162"/>
                  </a:lnTo>
                  <a:lnTo>
                    <a:pt x="870" y="162"/>
                  </a:lnTo>
                  <a:lnTo>
                    <a:pt x="876" y="168"/>
                  </a:lnTo>
                  <a:lnTo>
                    <a:pt x="888" y="168"/>
                  </a:lnTo>
                  <a:lnTo>
                    <a:pt x="894" y="174"/>
                  </a:lnTo>
                  <a:lnTo>
                    <a:pt x="900" y="174"/>
                  </a:lnTo>
                  <a:lnTo>
                    <a:pt x="918" y="174"/>
                  </a:lnTo>
                  <a:lnTo>
                    <a:pt x="924" y="174"/>
                  </a:lnTo>
                  <a:lnTo>
                    <a:pt x="930" y="174"/>
                  </a:lnTo>
                  <a:lnTo>
                    <a:pt x="942" y="174"/>
                  </a:lnTo>
                  <a:lnTo>
                    <a:pt x="954" y="174"/>
                  </a:lnTo>
                  <a:lnTo>
                    <a:pt x="960" y="174"/>
                  </a:lnTo>
                  <a:lnTo>
                    <a:pt x="966" y="174"/>
                  </a:lnTo>
                  <a:lnTo>
                    <a:pt x="966" y="168"/>
                  </a:lnTo>
                  <a:lnTo>
                    <a:pt x="972" y="162"/>
                  </a:lnTo>
                  <a:lnTo>
                    <a:pt x="972" y="156"/>
                  </a:lnTo>
                  <a:close/>
                  <a:moveTo>
                    <a:pt x="942" y="174"/>
                  </a:moveTo>
                  <a:lnTo>
                    <a:pt x="936" y="174"/>
                  </a:lnTo>
                  <a:lnTo>
                    <a:pt x="936" y="168"/>
                  </a:lnTo>
                  <a:lnTo>
                    <a:pt x="936" y="162"/>
                  </a:lnTo>
                  <a:lnTo>
                    <a:pt x="948" y="162"/>
                  </a:lnTo>
                  <a:lnTo>
                    <a:pt x="948" y="156"/>
                  </a:lnTo>
                  <a:lnTo>
                    <a:pt x="954" y="156"/>
                  </a:lnTo>
                  <a:lnTo>
                    <a:pt x="960" y="156"/>
                  </a:lnTo>
                  <a:lnTo>
                    <a:pt x="966" y="156"/>
                  </a:lnTo>
                  <a:lnTo>
                    <a:pt x="966" y="162"/>
                  </a:lnTo>
                  <a:lnTo>
                    <a:pt x="960" y="168"/>
                  </a:lnTo>
                  <a:lnTo>
                    <a:pt x="942" y="174"/>
                  </a:lnTo>
                  <a:close/>
                  <a:moveTo>
                    <a:pt x="900" y="168"/>
                  </a:moveTo>
                  <a:lnTo>
                    <a:pt x="894" y="168"/>
                  </a:lnTo>
                  <a:lnTo>
                    <a:pt x="882" y="156"/>
                  </a:lnTo>
                  <a:lnTo>
                    <a:pt x="882" y="150"/>
                  </a:lnTo>
                  <a:lnTo>
                    <a:pt x="888" y="156"/>
                  </a:lnTo>
                  <a:lnTo>
                    <a:pt x="894" y="150"/>
                  </a:lnTo>
                  <a:lnTo>
                    <a:pt x="900" y="150"/>
                  </a:lnTo>
                  <a:lnTo>
                    <a:pt x="906" y="150"/>
                  </a:lnTo>
                  <a:lnTo>
                    <a:pt x="912" y="150"/>
                  </a:lnTo>
                  <a:lnTo>
                    <a:pt x="924" y="150"/>
                  </a:lnTo>
                  <a:lnTo>
                    <a:pt x="924" y="156"/>
                  </a:lnTo>
                  <a:lnTo>
                    <a:pt x="924" y="162"/>
                  </a:lnTo>
                  <a:lnTo>
                    <a:pt x="924" y="168"/>
                  </a:lnTo>
                  <a:lnTo>
                    <a:pt x="918" y="168"/>
                  </a:lnTo>
                  <a:lnTo>
                    <a:pt x="906" y="168"/>
                  </a:lnTo>
                  <a:lnTo>
                    <a:pt x="900" y="168"/>
                  </a:lnTo>
                  <a:close/>
                  <a:moveTo>
                    <a:pt x="870" y="162"/>
                  </a:moveTo>
                  <a:lnTo>
                    <a:pt x="876" y="162"/>
                  </a:lnTo>
                  <a:lnTo>
                    <a:pt x="876" y="168"/>
                  </a:lnTo>
                  <a:lnTo>
                    <a:pt x="870" y="168"/>
                  </a:lnTo>
                  <a:lnTo>
                    <a:pt x="870" y="162"/>
                  </a:lnTo>
                  <a:close/>
                  <a:moveTo>
                    <a:pt x="450" y="162"/>
                  </a:moveTo>
                  <a:lnTo>
                    <a:pt x="444" y="162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2" y="150"/>
                  </a:lnTo>
                  <a:lnTo>
                    <a:pt x="438" y="150"/>
                  </a:lnTo>
                  <a:lnTo>
                    <a:pt x="438" y="144"/>
                  </a:lnTo>
                  <a:lnTo>
                    <a:pt x="438" y="150"/>
                  </a:lnTo>
                  <a:lnTo>
                    <a:pt x="444" y="150"/>
                  </a:lnTo>
                  <a:lnTo>
                    <a:pt x="450" y="150"/>
                  </a:lnTo>
                  <a:lnTo>
                    <a:pt x="450" y="156"/>
                  </a:lnTo>
                  <a:lnTo>
                    <a:pt x="456" y="156"/>
                  </a:lnTo>
                  <a:lnTo>
                    <a:pt x="456" y="150"/>
                  </a:lnTo>
                  <a:lnTo>
                    <a:pt x="456" y="156"/>
                  </a:lnTo>
                  <a:lnTo>
                    <a:pt x="462" y="150"/>
                  </a:lnTo>
                  <a:lnTo>
                    <a:pt x="462" y="144"/>
                  </a:lnTo>
                  <a:lnTo>
                    <a:pt x="468" y="144"/>
                  </a:lnTo>
                  <a:lnTo>
                    <a:pt x="468" y="150"/>
                  </a:lnTo>
                  <a:lnTo>
                    <a:pt x="474" y="150"/>
                  </a:lnTo>
                  <a:lnTo>
                    <a:pt x="480" y="150"/>
                  </a:lnTo>
                  <a:lnTo>
                    <a:pt x="480" y="156"/>
                  </a:lnTo>
                  <a:lnTo>
                    <a:pt x="480" y="162"/>
                  </a:lnTo>
                  <a:lnTo>
                    <a:pt x="474" y="162"/>
                  </a:lnTo>
                  <a:lnTo>
                    <a:pt x="474" y="168"/>
                  </a:lnTo>
                  <a:lnTo>
                    <a:pt x="474" y="162"/>
                  </a:lnTo>
                  <a:lnTo>
                    <a:pt x="468" y="162"/>
                  </a:lnTo>
                  <a:lnTo>
                    <a:pt x="462" y="162"/>
                  </a:lnTo>
                  <a:lnTo>
                    <a:pt x="456" y="162"/>
                  </a:lnTo>
                  <a:lnTo>
                    <a:pt x="450" y="16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6" name="Freeform 31">
              <a:extLst>
                <a:ext uri="{FF2B5EF4-FFF2-40B4-BE49-F238E27FC236}">
                  <a16:creationId xmlns:a16="http://schemas.microsoft.com/office/drawing/2014/main" id="{0989F057-38E8-4AA5-8B73-27F6355E235C}"/>
                </a:ext>
              </a:extLst>
            </p:cNvPr>
            <p:cNvSpPr>
              <a:spLocks/>
            </p:cNvSpPr>
            <p:nvPr/>
          </p:nvSpPr>
          <p:spPr bwMode="gray">
            <a:xfrm>
              <a:off x="792590" y="2728084"/>
              <a:ext cx="1182944" cy="740282"/>
            </a:xfrm>
            <a:custGeom>
              <a:avLst/>
              <a:gdLst>
                <a:gd name="T0" fmla="*/ 138 w 2226"/>
                <a:gd name="T1" fmla="*/ 121 h 1392"/>
                <a:gd name="T2" fmla="*/ 133 w 2226"/>
                <a:gd name="T3" fmla="*/ 119 h 1392"/>
                <a:gd name="T4" fmla="*/ 128 w 2226"/>
                <a:gd name="T5" fmla="*/ 117 h 1392"/>
                <a:gd name="T6" fmla="*/ 119 w 2226"/>
                <a:gd name="T7" fmla="*/ 116 h 1392"/>
                <a:gd name="T8" fmla="*/ 101 w 2226"/>
                <a:gd name="T9" fmla="*/ 116 h 1392"/>
                <a:gd name="T10" fmla="*/ 94 w 2226"/>
                <a:gd name="T11" fmla="*/ 104 h 1392"/>
                <a:gd name="T12" fmla="*/ 82 w 2226"/>
                <a:gd name="T13" fmla="*/ 83 h 1392"/>
                <a:gd name="T14" fmla="*/ 87 w 2226"/>
                <a:gd name="T15" fmla="*/ 69 h 1392"/>
                <a:gd name="T16" fmla="*/ 82 w 2226"/>
                <a:gd name="T17" fmla="*/ 65 h 1392"/>
                <a:gd name="T18" fmla="*/ 59 w 2226"/>
                <a:gd name="T19" fmla="*/ 57 h 1392"/>
                <a:gd name="T20" fmla="*/ 29 w 2226"/>
                <a:gd name="T21" fmla="*/ 77 h 1392"/>
                <a:gd name="T22" fmla="*/ 20 w 2226"/>
                <a:gd name="T23" fmla="*/ 78 h 1392"/>
                <a:gd name="T24" fmla="*/ 15 w 2226"/>
                <a:gd name="T25" fmla="*/ 82 h 1392"/>
                <a:gd name="T26" fmla="*/ 8 w 2226"/>
                <a:gd name="T27" fmla="*/ 86 h 1392"/>
                <a:gd name="T28" fmla="*/ 1 w 2226"/>
                <a:gd name="T29" fmla="*/ 88 h 1392"/>
                <a:gd name="T30" fmla="*/ 0 w 2226"/>
                <a:gd name="T31" fmla="*/ 82 h 1392"/>
                <a:gd name="T32" fmla="*/ 0 w 2226"/>
                <a:gd name="T33" fmla="*/ 76 h 1392"/>
                <a:gd name="T34" fmla="*/ 2 w 2226"/>
                <a:gd name="T35" fmla="*/ 70 h 1392"/>
                <a:gd name="T36" fmla="*/ 3 w 2226"/>
                <a:gd name="T37" fmla="*/ 65 h 1392"/>
                <a:gd name="T38" fmla="*/ 2 w 2226"/>
                <a:gd name="T39" fmla="*/ 63 h 1392"/>
                <a:gd name="T40" fmla="*/ 9 w 2226"/>
                <a:gd name="T41" fmla="*/ 60 h 1392"/>
                <a:gd name="T42" fmla="*/ 17 w 2226"/>
                <a:gd name="T43" fmla="*/ 59 h 1392"/>
                <a:gd name="T44" fmla="*/ 22 w 2226"/>
                <a:gd name="T45" fmla="*/ 51 h 1392"/>
                <a:gd name="T46" fmla="*/ 23 w 2226"/>
                <a:gd name="T47" fmla="*/ 43 h 1392"/>
                <a:gd name="T48" fmla="*/ 27 w 2226"/>
                <a:gd name="T49" fmla="*/ 34 h 1392"/>
                <a:gd name="T50" fmla="*/ 30 w 2226"/>
                <a:gd name="T51" fmla="*/ 27 h 1392"/>
                <a:gd name="T52" fmla="*/ 33 w 2226"/>
                <a:gd name="T53" fmla="*/ 22 h 1392"/>
                <a:gd name="T54" fmla="*/ 42 w 2226"/>
                <a:gd name="T55" fmla="*/ 17 h 1392"/>
                <a:gd name="T56" fmla="*/ 47 w 2226"/>
                <a:gd name="T57" fmla="*/ 14 h 1392"/>
                <a:gd name="T58" fmla="*/ 49 w 2226"/>
                <a:gd name="T59" fmla="*/ 5 h 1392"/>
                <a:gd name="T60" fmla="*/ 53 w 2226"/>
                <a:gd name="T61" fmla="*/ 0 h 1392"/>
                <a:gd name="T62" fmla="*/ 55 w 2226"/>
                <a:gd name="T63" fmla="*/ 4 h 1392"/>
                <a:gd name="T64" fmla="*/ 59 w 2226"/>
                <a:gd name="T65" fmla="*/ 7 h 1392"/>
                <a:gd name="T66" fmla="*/ 63 w 2226"/>
                <a:gd name="T67" fmla="*/ 7 h 1392"/>
                <a:gd name="T68" fmla="*/ 66 w 2226"/>
                <a:gd name="T69" fmla="*/ 9 h 1392"/>
                <a:gd name="T70" fmla="*/ 67 w 2226"/>
                <a:gd name="T71" fmla="*/ 12 h 1392"/>
                <a:gd name="T72" fmla="*/ 67 w 2226"/>
                <a:gd name="T73" fmla="*/ 13 h 1392"/>
                <a:gd name="T74" fmla="*/ 70 w 2226"/>
                <a:gd name="T75" fmla="*/ 15 h 1392"/>
                <a:gd name="T76" fmla="*/ 74 w 2226"/>
                <a:gd name="T77" fmla="*/ 17 h 1392"/>
                <a:gd name="T78" fmla="*/ 78 w 2226"/>
                <a:gd name="T79" fmla="*/ 18 h 1392"/>
                <a:gd name="T80" fmla="*/ 97 w 2226"/>
                <a:gd name="T81" fmla="*/ 40 h 1392"/>
                <a:gd name="T82" fmla="*/ 102 w 2226"/>
                <a:gd name="T83" fmla="*/ 44 h 1392"/>
                <a:gd name="T84" fmla="*/ 110 w 2226"/>
                <a:gd name="T85" fmla="*/ 49 h 1392"/>
                <a:gd name="T86" fmla="*/ 113 w 2226"/>
                <a:gd name="T87" fmla="*/ 53 h 1392"/>
                <a:gd name="T88" fmla="*/ 118 w 2226"/>
                <a:gd name="T89" fmla="*/ 57 h 1392"/>
                <a:gd name="T90" fmla="*/ 124 w 2226"/>
                <a:gd name="T91" fmla="*/ 54 h 1392"/>
                <a:gd name="T92" fmla="*/ 133 w 2226"/>
                <a:gd name="T93" fmla="*/ 58 h 1392"/>
                <a:gd name="T94" fmla="*/ 137 w 2226"/>
                <a:gd name="T95" fmla="*/ 64 h 1392"/>
                <a:gd name="T96" fmla="*/ 145 w 2226"/>
                <a:gd name="T97" fmla="*/ 65 h 1392"/>
                <a:gd name="T98" fmla="*/ 152 w 2226"/>
                <a:gd name="T99" fmla="*/ 67 h 1392"/>
                <a:gd name="T100" fmla="*/ 161 w 2226"/>
                <a:gd name="T101" fmla="*/ 72 h 1392"/>
                <a:gd name="T102" fmla="*/ 168 w 2226"/>
                <a:gd name="T103" fmla="*/ 76 h 1392"/>
                <a:gd name="T104" fmla="*/ 177 w 2226"/>
                <a:gd name="T105" fmla="*/ 78 h 1392"/>
                <a:gd name="T106" fmla="*/ 184 w 2226"/>
                <a:gd name="T107" fmla="*/ 78 h 1392"/>
                <a:gd name="T108" fmla="*/ 190 w 2226"/>
                <a:gd name="T109" fmla="*/ 81 h 1392"/>
                <a:gd name="T110" fmla="*/ 192 w 2226"/>
                <a:gd name="T111" fmla="*/ 86 h 1392"/>
                <a:gd name="T112" fmla="*/ 187 w 2226"/>
                <a:gd name="T113" fmla="*/ 99 h 1392"/>
                <a:gd name="T114" fmla="*/ 165 w 2226"/>
                <a:gd name="T115" fmla="*/ 97 h 1392"/>
                <a:gd name="T116" fmla="*/ 155 w 2226"/>
                <a:gd name="T117" fmla="*/ 92 h 1392"/>
                <a:gd name="T118" fmla="*/ 146 w 2226"/>
                <a:gd name="T119" fmla="*/ 102 h 1392"/>
                <a:gd name="T120" fmla="*/ 149 w 2226"/>
                <a:gd name="T121" fmla="*/ 106 h 1392"/>
                <a:gd name="T122" fmla="*/ 151 w 2226"/>
                <a:gd name="T123" fmla="*/ 108 h 1392"/>
                <a:gd name="T124" fmla="*/ 157 w 2226"/>
                <a:gd name="T125" fmla="*/ 113 h 13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1392"/>
                <a:gd name="T191" fmla="*/ 2226 w 2226"/>
                <a:gd name="T192" fmla="*/ 1392 h 13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1392">
                  <a:moveTo>
                    <a:pt x="1782" y="1326"/>
                  </a:moveTo>
                  <a:lnTo>
                    <a:pt x="1776" y="1332"/>
                  </a:lnTo>
                  <a:lnTo>
                    <a:pt x="1692" y="1338"/>
                  </a:lnTo>
                  <a:lnTo>
                    <a:pt x="1680" y="1386"/>
                  </a:lnTo>
                  <a:lnTo>
                    <a:pt x="1674" y="1392"/>
                  </a:lnTo>
                  <a:lnTo>
                    <a:pt x="1638" y="1392"/>
                  </a:lnTo>
                  <a:lnTo>
                    <a:pt x="1620" y="1392"/>
                  </a:lnTo>
                  <a:lnTo>
                    <a:pt x="1614" y="1392"/>
                  </a:lnTo>
                  <a:lnTo>
                    <a:pt x="1608" y="1386"/>
                  </a:lnTo>
                  <a:lnTo>
                    <a:pt x="1584" y="1386"/>
                  </a:lnTo>
                  <a:lnTo>
                    <a:pt x="1578" y="1386"/>
                  </a:lnTo>
                  <a:lnTo>
                    <a:pt x="1572" y="1380"/>
                  </a:lnTo>
                  <a:lnTo>
                    <a:pt x="1578" y="1356"/>
                  </a:lnTo>
                  <a:lnTo>
                    <a:pt x="1572" y="1356"/>
                  </a:lnTo>
                  <a:lnTo>
                    <a:pt x="1560" y="1350"/>
                  </a:lnTo>
                  <a:lnTo>
                    <a:pt x="1554" y="1350"/>
                  </a:lnTo>
                  <a:lnTo>
                    <a:pt x="1542" y="1350"/>
                  </a:lnTo>
                  <a:lnTo>
                    <a:pt x="1530" y="1350"/>
                  </a:lnTo>
                  <a:lnTo>
                    <a:pt x="1524" y="1356"/>
                  </a:lnTo>
                  <a:lnTo>
                    <a:pt x="1524" y="1362"/>
                  </a:lnTo>
                  <a:lnTo>
                    <a:pt x="1512" y="1374"/>
                  </a:lnTo>
                  <a:lnTo>
                    <a:pt x="1506" y="1374"/>
                  </a:lnTo>
                  <a:lnTo>
                    <a:pt x="1500" y="1368"/>
                  </a:lnTo>
                  <a:lnTo>
                    <a:pt x="1500" y="1362"/>
                  </a:lnTo>
                  <a:lnTo>
                    <a:pt x="1488" y="1362"/>
                  </a:lnTo>
                  <a:lnTo>
                    <a:pt x="1482" y="1356"/>
                  </a:lnTo>
                  <a:lnTo>
                    <a:pt x="1482" y="1350"/>
                  </a:lnTo>
                  <a:lnTo>
                    <a:pt x="1476" y="1350"/>
                  </a:lnTo>
                  <a:lnTo>
                    <a:pt x="1470" y="1344"/>
                  </a:lnTo>
                  <a:lnTo>
                    <a:pt x="1464" y="1344"/>
                  </a:lnTo>
                  <a:lnTo>
                    <a:pt x="1452" y="1350"/>
                  </a:lnTo>
                  <a:lnTo>
                    <a:pt x="1452" y="1356"/>
                  </a:lnTo>
                  <a:lnTo>
                    <a:pt x="1440" y="1356"/>
                  </a:lnTo>
                  <a:lnTo>
                    <a:pt x="1434" y="1344"/>
                  </a:lnTo>
                  <a:lnTo>
                    <a:pt x="1422" y="1332"/>
                  </a:lnTo>
                  <a:lnTo>
                    <a:pt x="1416" y="1326"/>
                  </a:lnTo>
                  <a:lnTo>
                    <a:pt x="1404" y="1320"/>
                  </a:lnTo>
                  <a:lnTo>
                    <a:pt x="1404" y="1314"/>
                  </a:lnTo>
                  <a:lnTo>
                    <a:pt x="1374" y="1308"/>
                  </a:lnTo>
                  <a:lnTo>
                    <a:pt x="1368" y="1326"/>
                  </a:lnTo>
                  <a:lnTo>
                    <a:pt x="1344" y="1338"/>
                  </a:lnTo>
                  <a:lnTo>
                    <a:pt x="1326" y="1332"/>
                  </a:lnTo>
                  <a:lnTo>
                    <a:pt x="1302" y="1332"/>
                  </a:lnTo>
                  <a:lnTo>
                    <a:pt x="1278" y="1338"/>
                  </a:lnTo>
                  <a:lnTo>
                    <a:pt x="1236" y="1338"/>
                  </a:lnTo>
                  <a:lnTo>
                    <a:pt x="1224" y="1338"/>
                  </a:lnTo>
                  <a:lnTo>
                    <a:pt x="1224" y="1326"/>
                  </a:lnTo>
                  <a:lnTo>
                    <a:pt x="1206" y="1326"/>
                  </a:lnTo>
                  <a:lnTo>
                    <a:pt x="1170" y="1326"/>
                  </a:lnTo>
                  <a:lnTo>
                    <a:pt x="1152" y="1326"/>
                  </a:lnTo>
                  <a:lnTo>
                    <a:pt x="1140" y="1314"/>
                  </a:lnTo>
                  <a:lnTo>
                    <a:pt x="1134" y="1296"/>
                  </a:lnTo>
                  <a:lnTo>
                    <a:pt x="1134" y="1284"/>
                  </a:lnTo>
                  <a:lnTo>
                    <a:pt x="1128" y="1254"/>
                  </a:lnTo>
                  <a:lnTo>
                    <a:pt x="1128" y="1242"/>
                  </a:lnTo>
                  <a:lnTo>
                    <a:pt x="1122" y="1230"/>
                  </a:lnTo>
                  <a:lnTo>
                    <a:pt x="1104" y="1218"/>
                  </a:lnTo>
                  <a:lnTo>
                    <a:pt x="1104" y="1212"/>
                  </a:lnTo>
                  <a:lnTo>
                    <a:pt x="1092" y="1206"/>
                  </a:lnTo>
                  <a:lnTo>
                    <a:pt x="1080" y="1194"/>
                  </a:lnTo>
                  <a:lnTo>
                    <a:pt x="1068" y="1176"/>
                  </a:lnTo>
                  <a:lnTo>
                    <a:pt x="1050" y="1152"/>
                  </a:lnTo>
                  <a:lnTo>
                    <a:pt x="1020" y="1098"/>
                  </a:lnTo>
                  <a:lnTo>
                    <a:pt x="978" y="1026"/>
                  </a:lnTo>
                  <a:lnTo>
                    <a:pt x="978" y="1014"/>
                  </a:lnTo>
                  <a:lnTo>
                    <a:pt x="972" y="1014"/>
                  </a:lnTo>
                  <a:lnTo>
                    <a:pt x="972" y="1008"/>
                  </a:lnTo>
                  <a:lnTo>
                    <a:pt x="978" y="1002"/>
                  </a:lnTo>
                  <a:lnTo>
                    <a:pt x="960" y="966"/>
                  </a:lnTo>
                  <a:lnTo>
                    <a:pt x="948" y="954"/>
                  </a:lnTo>
                  <a:lnTo>
                    <a:pt x="948" y="936"/>
                  </a:lnTo>
                  <a:lnTo>
                    <a:pt x="936" y="900"/>
                  </a:lnTo>
                  <a:lnTo>
                    <a:pt x="942" y="876"/>
                  </a:lnTo>
                  <a:lnTo>
                    <a:pt x="942" y="834"/>
                  </a:lnTo>
                  <a:lnTo>
                    <a:pt x="960" y="828"/>
                  </a:lnTo>
                  <a:lnTo>
                    <a:pt x="966" y="816"/>
                  </a:lnTo>
                  <a:lnTo>
                    <a:pt x="972" y="810"/>
                  </a:lnTo>
                  <a:lnTo>
                    <a:pt x="978" y="804"/>
                  </a:lnTo>
                  <a:lnTo>
                    <a:pt x="996" y="798"/>
                  </a:lnTo>
                  <a:lnTo>
                    <a:pt x="996" y="792"/>
                  </a:lnTo>
                  <a:lnTo>
                    <a:pt x="1014" y="780"/>
                  </a:lnTo>
                  <a:lnTo>
                    <a:pt x="1026" y="768"/>
                  </a:lnTo>
                  <a:lnTo>
                    <a:pt x="1032" y="762"/>
                  </a:lnTo>
                  <a:lnTo>
                    <a:pt x="1026" y="756"/>
                  </a:lnTo>
                  <a:lnTo>
                    <a:pt x="1014" y="744"/>
                  </a:lnTo>
                  <a:lnTo>
                    <a:pt x="996" y="756"/>
                  </a:lnTo>
                  <a:lnTo>
                    <a:pt x="954" y="768"/>
                  </a:lnTo>
                  <a:lnTo>
                    <a:pt x="942" y="762"/>
                  </a:lnTo>
                  <a:lnTo>
                    <a:pt x="942" y="756"/>
                  </a:lnTo>
                  <a:lnTo>
                    <a:pt x="936" y="750"/>
                  </a:lnTo>
                  <a:lnTo>
                    <a:pt x="846" y="732"/>
                  </a:lnTo>
                  <a:lnTo>
                    <a:pt x="822" y="726"/>
                  </a:lnTo>
                  <a:lnTo>
                    <a:pt x="810" y="714"/>
                  </a:lnTo>
                  <a:lnTo>
                    <a:pt x="792" y="690"/>
                  </a:lnTo>
                  <a:lnTo>
                    <a:pt x="792" y="678"/>
                  </a:lnTo>
                  <a:lnTo>
                    <a:pt x="762" y="642"/>
                  </a:lnTo>
                  <a:lnTo>
                    <a:pt x="750" y="636"/>
                  </a:lnTo>
                  <a:lnTo>
                    <a:pt x="726" y="630"/>
                  </a:lnTo>
                  <a:lnTo>
                    <a:pt x="696" y="642"/>
                  </a:lnTo>
                  <a:lnTo>
                    <a:pt x="678" y="654"/>
                  </a:lnTo>
                  <a:lnTo>
                    <a:pt x="666" y="684"/>
                  </a:lnTo>
                  <a:lnTo>
                    <a:pt x="660" y="726"/>
                  </a:lnTo>
                  <a:lnTo>
                    <a:pt x="606" y="756"/>
                  </a:lnTo>
                  <a:lnTo>
                    <a:pt x="558" y="780"/>
                  </a:lnTo>
                  <a:lnTo>
                    <a:pt x="438" y="834"/>
                  </a:lnTo>
                  <a:lnTo>
                    <a:pt x="402" y="846"/>
                  </a:lnTo>
                  <a:lnTo>
                    <a:pt x="372" y="870"/>
                  </a:lnTo>
                  <a:lnTo>
                    <a:pt x="360" y="876"/>
                  </a:lnTo>
                  <a:lnTo>
                    <a:pt x="354" y="876"/>
                  </a:lnTo>
                  <a:lnTo>
                    <a:pt x="330" y="882"/>
                  </a:lnTo>
                  <a:lnTo>
                    <a:pt x="306" y="882"/>
                  </a:lnTo>
                  <a:lnTo>
                    <a:pt x="300" y="876"/>
                  </a:lnTo>
                  <a:lnTo>
                    <a:pt x="294" y="876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76" y="864"/>
                  </a:lnTo>
                  <a:lnTo>
                    <a:pt x="270" y="870"/>
                  </a:lnTo>
                  <a:lnTo>
                    <a:pt x="264" y="870"/>
                  </a:lnTo>
                  <a:lnTo>
                    <a:pt x="240" y="894"/>
                  </a:lnTo>
                  <a:lnTo>
                    <a:pt x="234" y="894"/>
                  </a:lnTo>
                  <a:lnTo>
                    <a:pt x="228" y="900"/>
                  </a:lnTo>
                  <a:lnTo>
                    <a:pt x="222" y="906"/>
                  </a:lnTo>
                  <a:lnTo>
                    <a:pt x="210" y="912"/>
                  </a:lnTo>
                  <a:lnTo>
                    <a:pt x="204" y="912"/>
                  </a:lnTo>
                  <a:lnTo>
                    <a:pt x="198" y="912"/>
                  </a:lnTo>
                  <a:lnTo>
                    <a:pt x="192" y="918"/>
                  </a:lnTo>
                  <a:lnTo>
                    <a:pt x="180" y="918"/>
                  </a:lnTo>
                  <a:lnTo>
                    <a:pt x="174" y="930"/>
                  </a:lnTo>
                  <a:lnTo>
                    <a:pt x="174" y="936"/>
                  </a:lnTo>
                  <a:lnTo>
                    <a:pt x="168" y="942"/>
                  </a:lnTo>
                  <a:lnTo>
                    <a:pt x="162" y="942"/>
                  </a:lnTo>
                  <a:lnTo>
                    <a:pt x="150" y="960"/>
                  </a:lnTo>
                  <a:lnTo>
                    <a:pt x="144" y="966"/>
                  </a:lnTo>
                  <a:lnTo>
                    <a:pt x="138" y="972"/>
                  </a:lnTo>
                  <a:lnTo>
                    <a:pt x="132" y="972"/>
                  </a:lnTo>
                  <a:lnTo>
                    <a:pt x="126" y="984"/>
                  </a:lnTo>
                  <a:lnTo>
                    <a:pt x="120" y="984"/>
                  </a:lnTo>
                  <a:lnTo>
                    <a:pt x="114" y="990"/>
                  </a:lnTo>
                  <a:lnTo>
                    <a:pt x="96" y="990"/>
                  </a:lnTo>
                  <a:lnTo>
                    <a:pt x="90" y="990"/>
                  </a:lnTo>
                  <a:lnTo>
                    <a:pt x="78" y="990"/>
                  </a:lnTo>
                  <a:lnTo>
                    <a:pt x="72" y="990"/>
                  </a:lnTo>
                  <a:lnTo>
                    <a:pt x="60" y="990"/>
                  </a:lnTo>
                  <a:lnTo>
                    <a:pt x="42" y="990"/>
                  </a:lnTo>
                  <a:lnTo>
                    <a:pt x="36" y="996"/>
                  </a:lnTo>
                  <a:lnTo>
                    <a:pt x="30" y="1002"/>
                  </a:lnTo>
                  <a:lnTo>
                    <a:pt x="24" y="1014"/>
                  </a:lnTo>
                  <a:lnTo>
                    <a:pt x="24" y="1020"/>
                  </a:lnTo>
                  <a:lnTo>
                    <a:pt x="18" y="1020"/>
                  </a:lnTo>
                  <a:lnTo>
                    <a:pt x="12" y="1014"/>
                  </a:lnTo>
                  <a:lnTo>
                    <a:pt x="12" y="1008"/>
                  </a:lnTo>
                  <a:lnTo>
                    <a:pt x="12" y="990"/>
                  </a:lnTo>
                  <a:lnTo>
                    <a:pt x="12" y="984"/>
                  </a:lnTo>
                  <a:lnTo>
                    <a:pt x="12" y="972"/>
                  </a:lnTo>
                  <a:lnTo>
                    <a:pt x="12" y="966"/>
                  </a:lnTo>
                  <a:lnTo>
                    <a:pt x="6" y="966"/>
                  </a:lnTo>
                  <a:lnTo>
                    <a:pt x="6" y="960"/>
                  </a:lnTo>
                  <a:lnTo>
                    <a:pt x="6" y="954"/>
                  </a:lnTo>
                  <a:lnTo>
                    <a:pt x="6" y="948"/>
                  </a:lnTo>
                  <a:lnTo>
                    <a:pt x="6" y="942"/>
                  </a:lnTo>
                  <a:lnTo>
                    <a:pt x="12" y="930"/>
                  </a:lnTo>
                  <a:lnTo>
                    <a:pt x="6" y="924"/>
                  </a:lnTo>
                  <a:lnTo>
                    <a:pt x="6" y="918"/>
                  </a:lnTo>
                  <a:lnTo>
                    <a:pt x="6" y="912"/>
                  </a:lnTo>
                  <a:lnTo>
                    <a:pt x="6" y="906"/>
                  </a:lnTo>
                  <a:lnTo>
                    <a:pt x="6" y="900"/>
                  </a:lnTo>
                  <a:lnTo>
                    <a:pt x="0" y="894"/>
                  </a:lnTo>
                  <a:lnTo>
                    <a:pt x="0" y="888"/>
                  </a:lnTo>
                  <a:lnTo>
                    <a:pt x="0" y="882"/>
                  </a:lnTo>
                  <a:lnTo>
                    <a:pt x="6" y="876"/>
                  </a:lnTo>
                  <a:lnTo>
                    <a:pt x="6" y="870"/>
                  </a:lnTo>
                  <a:lnTo>
                    <a:pt x="18" y="864"/>
                  </a:lnTo>
                  <a:lnTo>
                    <a:pt x="18" y="858"/>
                  </a:lnTo>
                  <a:lnTo>
                    <a:pt x="18" y="846"/>
                  </a:lnTo>
                  <a:lnTo>
                    <a:pt x="18" y="834"/>
                  </a:lnTo>
                  <a:lnTo>
                    <a:pt x="18" y="828"/>
                  </a:lnTo>
                  <a:lnTo>
                    <a:pt x="24" y="828"/>
                  </a:lnTo>
                  <a:lnTo>
                    <a:pt x="24" y="810"/>
                  </a:lnTo>
                  <a:lnTo>
                    <a:pt x="24" y="804"/>
                  </a:lnTo>
                  <a:lnTo>
                    <a:pt x="18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24" y="792"/>
                  </a:lnTo>
                  <a:lnTo>
                    <a:pt x="30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6" y="762"/>
                  </a:lnTo>
                  <a:lnTo>
                    <a:pt x="36" y="756"/>
                  </a:lnTo>
                  <a:lnTo>
                    <a:pt x="30" y="756"/>
                  </a:lnTo>
                  <a:lnTo>
                    <a:pt x="30" y="750"/>
                  </a:lnTo>
                  <a:lnTo>
                    <a:pt x="36" y="750"/>
                  </a:lnTo>
                  <a:lnTo>
                    <a:pt x="36" y="744"/>
                  </a:lnTo>
                  <a:lnTo>
                    <a:pt x="30" y="744"/>
                  </a:lnTo>
                  <a:lnTo>
                    <a:pt x="30" y="738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0" y="732"/>
                  </a:lnTo>
                  <a:lnTo>
                    <a:pt x="36" y="726"/>
                  </a:lnTo>
                  <a:lnTo>
                    <a:pt x="30" y="726"/>
                  </a:lnTo>
                  <a:lnTo>
                    <a:pt x="24" y="726"/>
                  </a:lnTo>
                  <a:lnTo>
                    <a:pt x="30" y="720"/>
                  </a:lnTo>
                  <a:lnTo>
                    <a:pt x="30" y="714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696"/>
                  </a:lnTo>
                  <a:lnTo>
                    <a:pt x="66" y="702"/>
                  </a:lnTo>
                  <a:lnTo>
                    <a:pt x="78" y="702"/>
                  </a:lnTo>
                  <a:lnTo>
                    <a:pt x="84" y="702"/>
                  </a:lnTo>
                  <a:lnTo>
                    <a:pt x="96" y="696"/>
                  </a:lnTo>
                  <a:lnTo>
                    <a:pt x="102" y="690"/>
                  </a:lnTo>
                  <a:lnTo>
                    <a:pt x="102" y="684"/>
                  </a:lnTo>
                  <a:lnTo>
                    <a:pt x="114" y="684"/>
                  </a:lnTo>
                  <a:lnTo>
                    <a:pt x="144" y="684"/>
                  </a:lnTo>
                  <a:lnTo>
                    <a:pt x="150" y="690"/>
                  </a:lnTo>
                  <a:lnTo>
                    <a:pt x="162" y="696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6" y="690"/>
                  </a:lnTo>
                  <a:lnTo>
                    <a:pt x="192" y="690"/>
                  </a:lnTo>
                  <a:lnTo>
                    <a:pt x="198" y="684"/>
                  </a:lnTo>
                  <a:lnTo>
                    <a:pt x="204" y="684"/>
                  </a:lnTo>
                  <a:lnTo>
                    <a:pt x="210" y="684"/>
                  </a:lnTo>
                  <a:lnTo>
                    <a:pt x="222" y="678"/>
                  </a:lnTo>
                  <a:lnTo>
                    <a:pt x="228" y="678"/>
                  </a:lnTo>
                  <a:lnTo>
                    <a:pt x="228" y="660"/>
                  </a:lnTo>
                  <a:lnTo>
                    <a:pt x="234" y="642"/>
                  </a:lnTo>
                  <a:lnTo>
                    <a:pt x="246" y="618"/>
                  </a:lnTo>
                  <a:lnTo>
                    <a:pt x="252" y="618"/>
                  </a:lnTo>
                  <a:lnTo>
                    <a:pt x="252" y="600"/>
                  </a:lnTo>
                  <a:lnTo>
                    <a:pt x="252" y="588"/>
                  </a:lnTo>
                  <a:lnTo>
                    <a:pt x="252" y="582"/>
                  </a:lnTo>
                  <a:lnTo>
                    <a:pt x="258" y="576"/>
                  </a:lnTo>
                  <a:lnTo>
                    <a:pt x="270" y="564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70" y="522"/>
                  </a:lnTo>
                  <a:lnTo>
                    <a:pt x="270" y="510"/>
                  </a:lnTo>
                  <a:lnTo>
                    <a:pt x="270" y="498"/>
                  </a:lnTo>
                  <a:lnTo>
                    <a:pt x="258" y="468"/>
                  </a:lnTo>
                  <a:lnTo>
                    <a:pt x="252" y="456"/>
                  </a:lnTo>
                  <a:lnTo>
                    <a:pt x="258" y="444"/>
                  </a:lnTo>
                  <a:lnTo>
                    <a:pt x="264" y="432"/>
                  </a:lnTo>
                  <a:lnTo>
                    <a:pt x="270" y="426"/>
                  </a:lnTo>
                  <a:lnTo>
                    <a:pt x="276" y="420"/>
                  </a:lnTo>
                  <a:lnTo>
                    <a:pt x="288" y="420"/>
                  </a:lnTo>
                  <a:lnTo>
                    <a:pt x="288" y="414"/>
                  </a:lnTo>
                  <a:lnTo>
                    <a:pt x="294" y="414"/>
                  </a:lnTo>
                  <a:lnTo>
                    <a:pt x="306" y="390"/>
                  </a:lnTo>
                  <a:lnTo>
                    <a:pt x="312" y="384"/>
                  </a:lnTo>
                  <a:lnTo>
                    <a:pt x="318" y="378"/>
                  </a:lnTo>
                  <a:lnTo>
                    <a:pt x="318" y="372"/>
                  </a:lnTo>
                  <a:lnTo>
                    <a:pt x="324" y="366"/>
                  </a:lnTo>
                  <a:lnTo>
                    <a:pt x="330" y="354"/>
                  </a:lnTo>
                  <a:lnTo>
                    <a:pt x="336" y="348"/>
                  </a:lnTo>
                  <a:lnTo>
                    <a:pt x="336" y="330"/>
                  </a:lnTo>
                  <a:lnTo>
                    <a:pt x="342" y="324"/>
                  </a:lnTo>
                  <a:lnTo>
                    <a:pt x="342" y="318"/>
                  </a:lnTo>
                  <a:lnTo>
                    <a:pt x="348" y="318"/>
                  </a:lnTo>
                  <a:lnTo>
                    <a:pt x="360" y="318"/>
                  </a:lnTo>
                  <a:lnTo>
                    <a:pt x="372" y="318"/>
                  </a:lnTo>
                  <a:lnTo>
                    <a:pt x="384" y="306"/>
                  </a:lnTo>
                  <a:lnTo>
                    <a:pt x="396" y="300"/>
                  </a:lnTo>
                  <a:lnTo>
                    <a:pt x="396" y="294"/>
                  </a:lnTo>
                  <a:lnTo>
                    <a:pt x="396" y="288"/>
                  </a:lnTo>
                  <a:lnTo>
                    <a:pt x="390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2"/>
                  </a:lnTo>
                  <a:lnTo>
                    <a:pt x="378" y="246"/>
                  </a:lnTo>
                  <a:lnTo>
                    <a:pt x="384" y="228"/>
                  </a:lnTo>
                  <a:lnTo>
                    <a:pt x="390" y="216"/>
                  </a:lnTo>
                  <a:lnTo>
                    <a:pt x="402" y="210"/>
                  </a:lnTo>
                  <a:lnTo>
                    <a:pt x="408" y="210"/>
                  </a:lnTo>
                  <a:lnTo>
                    <a:pt x="420" y="204"/>
                  </a:lnTo>
                  <a:lnTo>
                    <a:pt x="444" y="198"/>
                  </a:lnTo>
                  <a:lnTo>
                    <a:pt x="462" y="192"/>
                  </a:lnTo>
                  <a:lnTo>
                    <a:pt x="474" y="186"/>
                  </a:lnTo>
                  <a:lnTo>
                    <a:pt x="480" y="192"/>
                  </a:lnTo>
                  <a:lnTo>
                    <a:pt x="492" y="192"/>
                  </a:lnTo>
                  <a:lnTo>
                    <a:pt x="498" y="192"/>
                  </a:lnTo>
                  <a:lnTo>
                    <a:pt x="504" y="192"/>
                  </a:lnTo>
                  <a:lnTo>
                    <a:pt x="510" y="192"/>
                  </a:lnTo>
                  <a:lnTo>
                    <a:pt x="516" y="186"/>
                  </a:lnTo>
                  <a:lnTo>
                    <a:pt x="522" y="180"/>
                  </a:lnTo>
                  <a:lnTo>
                    <a:pt x="522" y="174"/>
                  </a:lnTo>
                  <a:lnTo>
                    <a:pt x="528" y="168"/>
                  </a:lnTo>
                  <a:lnTo>
                    <a:pt x="534" y="168"/>
                  </a:lnTo>
                  <a:lnTo>
                    <a:pt x="534" y="156"/>
                  </a:lnTo>
                  <a:lnTo>
                    <a:pt x="534" y="150"/>
                  </a:lnTo>
                  <a:lnTo>
                    <a:pt x="552" y="138"/>
                  </a:lnTo>
                  <a:lnTo>
                    <a:pt x="558" y="126"/>
                  </a:lnTo>
                  <a:lnTo>
                    <a:pt x="558" y="114"/>
                  </a:lnTo>
                  <a:lnTo>
                    <a:pt x="564" y="102"/>
                  </a:lnTo>
                  <a:lnTo>
                    <a:pt x="564" y="96"/>
                  </a:lnTo>
                  <a:lnTo>
                    <a:pt x="564" y="90"/>
                  </a:lnTo>
                  <a:lnTo>
                    <a:pt x="564" y="72"/>
                  </a:lnTo>
                  <a:lnTo>
                    <a:pt x="564" y="60"/>
                  </a:lnTo>
                  <a:lnTo>
                    <a:pt x="564" y="54"/>
                  </a:lnTo>
                  <a:lnTo>
                    <a:pt x="570" y="42"/>
                  </a:lnTo>
                  <a:lnTo>
                    <a:pt x="576" y="42"/>
                  </a:lnTo>
                  <a:lnTo>
                    <a:pt x="582" y="36"/>
                  </a:lnTo>
                  <a:lnTo>
                    <a:pt x="594" y="36"/>
                  </a:lnTo>
                  <a:lnTo>
                    <a:pt x="594" y="30"/>
                  </a:lnTo>
                  <a:lnTo>
                    <a:pt x="600" y="24"/>
                  </a:lnTo>
                  <a:lnTo>
                    <a:pt x="600" y="12"/>
                  </a:lnTo>
                  <a:lnTo>
                    <a:pt x="606" y="6"/>
                  </a:lnTo>
                  <a:lnTo>
                    <a:pt x="606" y="0"/>
                  </a:lnTo>
                  <a:lnTo>
                    <a:pt x="612" y="0"/>
                  </a:lnTo>
                  <a:lnTo>
                    <a:pt x="618" y="0"/>
                  </a:lnTo>
                  <a:lnTo>
                    <a:pt x="624" y="6"/>
                  </a:lnTo>
                  <a:lnTo>
                    <a:pt x="624" y="12"/>
                  </a:lnTo>
                  <a:lnTo>
                    <a:pt x="624" y="18"/>
                  </a:lnTo>
                  <a:lnTo>
                    <a:pt x="624" y="24"/>
                  </a:lnTo>
                  <a:lnTo>
                    <a:pt x="624" y="30"/>
                  </a:lnTo>
                  <a:lnTo>
                    <a:pt x="630" y="30"/>
                  </a:lnTo>
                  <a:lnTo>
                    <a:pt x="630" y="36"/>
                  </a:lnTo>
                  <a:lnTo>
                    <a:pt x="630" y="42"/>
                  </a:lnTo>
                  <a:lnTo>
                    <a:pt x="630" y="48"/>
                  </a:lnTo>
                  <a:lnTo>
                    <a:pt x="636" y="54"/>
                  </a:lnTo>
                  <a:lnTo>
                    <a:pt x="642" y="48"/>
                  </a:lnTo>
                  <a:lnTo>
                    <a:pt x="648" y="48"/>
                  </a:lnTo>
                  <a:lnTo>
                    <a:pt x="648" y="60"/>
                  </a:lnTo>
                  <a:lnTo>
                    <a:pt x="654" y="66"/>
                  </a:lnTo>
                  <a:lnTo>
                    <a:pt x="660" y="72"/>
                  </a:lnTo>
                  <a:lnTo>
                    <a:pt x="666" y="72"/>
                  </a:lnTo>
                  <a:lnTo>
                    <a:pt x="666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72" y="66"/>
                  </a:lnTo>
                  <a:lnTo>
                    <a:pt x="678" y="66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6" y="66"/>
                  </a:lnTo>
                  <a:lnTo>
                    <a:pt x="696" y="72"/>
                  </a:lnTo>
                  <a:lnTo>
                    <a:pt x="702" y="72"/>
                  </a:lnTo>
                  <a:lnTo>
                    <a:pt x="708" y="72"/>
                  </a:lnTo>
                  <a:lnTo>
                    <a:pt x="720" y="66"/>
                  </a:lnTo>
                  <a:lnTo>
                    <a:pt x="726" y="78"/>
                  </a:lnTo>
                  <a:lnTo>
                    <a:pt x="744" y="84"/>
                  </a:lnTo>
                  <a:lnTo>
                    <a:pt x="744" y="90"/>
                  </a:lnTo>
                  <a:lnTo>
                    <a:pt x="744" y="96"/>
                  </a:lnTo>
                  <a:lnTo>
                    <a:pt x="738" y="96"/>
                  </a:lnTo>
                  <a:lnTo>
                    <a:pt x="738" y="102"/>
                  </a:lnTo>
                  <a:lnTo>
                    <a:pt x="732" y="102"/>
                  </a:lnTo>
                  <a:lnTo>
                    <a:pt x="732" y="108"/>
                  </a:lnTo>
                  <a:lnTo>
                    <a:pt x="738" y="108"/>
                  </a:lnTo>
                  <a:lnTo>
                    <a:pt x="744" y="114"/>
                  </a:lnTo>
                  <a:lnTo>
                    <a:pt x="750" y="108"/>
                  </a:lnTo>
                  <a:lnTo>
                    <a:pt x="756" y="108"/>
                  </a:lnTo>
                  <a:lnTo>
                    <a:pt x="762" y="108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80" y="120"/>
                  </a:lnTo>
                  <a:lnTo>
                    <a:pt x="774" y="120"/>
                  </a:lnTo>
                  <a:lnTo>
                    <a:pt x="768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74" y="138"/>
                  </a:lnTo>
                  <a:lnTo>
                    <a:pt x="774" y="132"/>
                  </a:lnTo>
                  <a:lnTo>
                    <a:pt x="780" y="132"/>
                  </a:lnTo>
                  <a:lnTo>
                    <a:pt x="786" y="132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44"/>
                  </a:lnTo>
                  <a:lnTo>
                    <a:pt x="786" y="150"/>
                  </a:lnTo>
                  <a:lnTo>
                    <a:pt x="780" y="150"/>
                  </a:lnTo>
                  <a:lnTo>
                    <a:pt x="774" y="150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74" y="162"/>
                  </a:lnTo>
                  <a:lnTo>
                    <a:pt x="780" y="162"/>
                  </a:lnTo>
                  <a:lnTo>
                    <a:pt x="786" y="168"/>
                  </a:lnTo>
                  <a:lnTo>
                    <a:pt x="792" y="162"/>
                  </a:lnTo>
                  <a:lnTo>
                    <a:pt x="798" y="168"/>
                  </a:lnTo>
                  <a:lnTo>
                    <a:pt x="798" y="174"/>
                  </a:lnTo>
                  <a:lnTo>
                    <a:pt x="804" y="168"/>
                  </a:lnTo>
                  <a:lnTo>
                    <a:pt x="810" y="168"/>
                  </a:lnTo>
                  <a:lnTo>
                    <a:pt x="810" y="174"/>
                  </a:lnTo>
                  <a:lnTo>
                    <a:pt x="816" y="168"/>
                  </a:lnTo>
                  <a:lnTo>
                    <a:pt x="822" y="162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74"/>
                  </a:lnTo>
                  <a:lnTo>
                    <a:pt x="834" y="192"/>
                  </a:lnTo>
                  <a:lnTo>
                    <a:pt x="834" y="198"/>
                  </a:lnTo>
                  <a:lnTo>
                    <a:pt x="840" y="192"/>
                  </a:lnTo>
                  <a:lnTo>
                    <a:pt x="846" y="192"/>
                  </a:lnTo>
                  <a:lnTo>
                    <a:pt x="852" y="186"/>
                  </a:lnTo>
                  <a:lnTo>
                    <a:pt x="858" y="192"/>
                  </a:lnTo>
                  <a:lnTo>
                    <a:pt x="864" y="192"/>
                  </a:lnTo>
                  <a:lnTo>
                    <a:pt x="870" y="198"/>
                  </a:lnTo>
                  <a:lnTo>
                    <a:pt x="876" y="180"/>
                  </a:lnTo>
                  <a:lnTo>
                    <a:pt x="882" y="180"/>
                  </a:lnTo>
                  <a:lnTo>
                    <a:pt x="888" y="180"/>
                  </a:lnTo>
                  <a:lnTo>
                    <a:pt x="894" y="186"/>
                  </a:lnTo>
                  <a:lnTo>
                    <a:pt x="888" y="198"/>
                  </a:lnTo>
                  <a:lnTo>
                    <a:pt x="894" y="204"/>
                  </a:lnTo>
                  <a:lnTo>
                    <a:pt x="906" y="210"/>
                  </a:lnTo>
                  <a:lnTo>
                    <a:pt x="918" y="246"/>
                  </a:lnTo>
                  <a:lnTo>
                    <a:pt x="930" y="258"/>
                  </a:lnTo>
                  <a:lnTo>
                    <a:pt x="942" y="282"/>
                  </a:lnTo>
                  <a:lnTo>
                    <a:pt x="966" y="288"/>
                  </a:lnTo>
                  <a:lnTo>
                    <a:pt x="972" y="300"/>
                  </a:lnTo>
                  <a:lnTo>
                    <a:pt x="972" y="318"/>
                  </a:lnTo>
                  <a:lnTo>
                    <a:pt x="996" y="336"/>
                  </a:lnTo>
                  <a:lnTo>
                    <a:pt x="1050" y="390"/>
                  </a:lnTo>
                  <a:lnTo>
                    <a:pt x="1116" y="462"/>
                  </a:lnTo>
                  <a:lnTo>
                    <a:pt x="1122" y="468"/>
                  </a:lnTo>
                  <a:lnTo>
                    <a:pt x="1128" y="474"/>
                  </a:lnTo>
                  <a:lnTo>
                    <a:pt x="1140" y="474"/>
                  </a:lnTo>
                  <a:lnTo>
                    <a:pt x="1152" y="486"/>
                  </a:lnTo>
                  <a:lnTo>
                    <a:pt x="1152" y="492"/>
                  </a:lnTo>
                  <a:lnTo>
                    <a:pt x="1158" y="492"/>
                  </a:lnTo>
                  <a:lnTo>
                    <a:pt x="1164" y="492"/>
                  </a:lnTo>
                  <a:lnTo>
                    <a:pt x="1170" y="504"/>
                  </a:lnTo>
                  <a:lnTo>
                    <a:pt x="1176" y="504"/>
                  </a:lnTo>
                  <a:lnTo>
                    <a:pt x="1176" y="510"/>
                  </a:lnTo>
                  <a:lnTo>
                    <a:pt x="1200" y="516"/>
                  </a:lnTo>
                  <a:lnTo>
                    <a:pt x="1200" y="522"/>
                  </a:lnTo>
                  <a:lnTo>
                    <a:pt x="1212" y="534"/>
                  </a:lnTo>
                  <a:lnTo>
                    <a:pt x="1218" y="540"/>
                  </a:lnTo>
                  <a:lnTo>
                    <a:pt x="1224" y="552"/>
                  </a:lnTo>
                  <a:lnTo>
                    <a:pt x="1230" y="552"/>
                  </a:lnTo>
                  <a:lnTo>
                    <a:pt x="1242" y="552"/>
                  </a:lnTo>
                  <a:lnTo>
                    <a:pt x="1248" y="558"/>
                  </a:lnTo>
                  <a:lnTo>
                    <a:pt x="1254" y="558"/>
                  </a:lnTo>
                  <a:lnTo>
                    <a:pt x="1260" y="564"/>
                  </a:lnTo>
                  <a:lnTo>
                    <a:pt x="1266" y="564"/>
                  </a:lnTo>
                  <a:lnTo>
                    <a:pt x="1272" y="564"/>
                  </a:lnTo>
                  <a:lnTo>
                    <a:pt x="1284" y="564"/>
                  </a:lnTo>
                  <a:lnTo>
                    <a:pt x="1290" y="570"/>
                  </a:lnTo>
                  <a:lnTo>
                    <a:pt x="1296" y="576"/>
                  </a:lnTo>
                  <a:lnTo>
                    <a:pt x="1302" y="588"/>
                  </a:lnTo>
                  <a:lnTo>
                    <a:pt x="1296" y="594"/>
                  </a:lnTo>
                  <a:lnTo>
                    <a:pt x="1296" y="600"/>
                  </a:lnTo>
                  <a:lnTo>
                    <a:pt x="1296" y="606"/>
                  </a:lnTo>
                  <a:lnTo>
                    <a:pt x="1290" y="612"/>
                  </a:lnTo>
                  <a:lnTo>
                    <a:pt x="1290" y="624"/>
                  </a:lnTo>
                  <a:lnTo>
                    <a:pt x="1290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308" y="654"/>
                  </a:lnTo>
                  <a:lnTo>
                    <a:pt x="1320" y="654"/>
                  </a:lnTo>
                  <a:lnTo>
                    <a:pt x="1326" y="660"/>
                  </a:lnTo>
                  <a:lnTo>
                    <a:pt x="1338" y="654"/>
                  </a:lnTo>
                  <a:lnTo>
                    <a:pt x="1344" y="654"/>
                  </a:lnTo>
                  <a:lnTo>
                    <a:pt x="1356" y="654"/>
                  </a:lnTo>
                  <a:lnTo>
                    <a:pt x="1362" y="648"/>
                  </a:lnTo>
                  <a:lnTo>
                    <a:pt x="1368" y="642"/>
                  </a:lnTo>
                  <a:lnTo>
                    <a:pt x="1374" y="636"/>
                  </a:lnTo>
                  <a:lnTo>
                    <a:pt x="1380" y="636"/>
                  </a:lnTo>
                  <a:lnTo>
                    <a:pt x="1392" y="636"/>
                  </a:lnTo>
                  <a:lnTo>
                    <a:pt x="1398" y="636"/>
                  </a:lnTo>
                  <a:lnTo>
                    <a:pt x="1404" y="636"/>
                  </a:lnTo>
                  <a:lnTo>
                    <a:pt x="1410" y="630"/>
                  </a:lnTo>
                  <a:lnTo>
                    <a:pt x="1410" y="624"/>
                  </a:lnTo>
                  <a:lnTo>
                    <a:pt x="1422" y="618"/>
                  </a:lnTo>
                  <a:lnTo>
                    <a:pt x="1428" y="618"/>
                  </a:lnTo>
                  <a:lnTo>
                    <a:pt x="1440" y="612"/>
                  </a:lnTo>
                  <a:lnTo>
                    <a:pt x="1446" y="612"/>
                  </a:lnTo>
                  <a:lnTo>
                    <a:pt x="1458" y="612"/>
                  </a:lnTo>
                  <a:lnTo>
                    <a:pt x="1470" y="624"/>
                  </a:lnTo>
                  <a:lnTo>
                    <a:pt x="1488" y="642"/>
                  </a:lnTo>
                  <a:lnTo>
                    <a:pt x="1500" y="648"/>
                  </a:lnTo>
                  <a:lnTo>
                    <a:pt x="1512" y="654"/>
                  </a:lnTo>
                  <a:lnTo>
                    <a:pt x="1518" y="660"/>
                  </a:lnTo>
                  <a:lnTo>
                    <a:pt x="1524" y="660"/>
                  </a:lnTo>
                  <a:lnTo>
                    <a:pt x="1530" y="660"/>
                  </a:lnTo>
                  <a:lnTo>
                    <a:pt x="1536" y="666"/>
                  </a:lnTo>
                  <a:lnTo>
                    <a:pt x="1542" y="672"/>
                  </a:lnTo>
                  <a:lnTo>
                    <a:pt x="1548" y="672"/>
                  </a:lnTo>
                  <a:lnTo>
                    <a:pt x="1554" y="684"/>
                  </a:lnTo>
                  <a:lnTo>
                    <a:pt x="1554" y="690"/>
                  </a:lnTo>
                  <a:lnTo>
                    <a:pt x="1566" y="702"/>
                  </a:lnTo>
                  <a:lnTo>
                    <a:pt x="1572" y="720"/>
                  </a:lnTo>
                  <a:lnTo>
                    <a:pt x="1572" y="726"/>
                  </a:lnTo>
                  <a:lnTo>
                    <a:pt x="1578" y="732"/>
                  </a:lnTo>
                  <a:lnTo>
                    <a:pt x="1584" y="738"/>
                  </a:lnTo>
                  <a:lnTo>
                    <a:pt x="1590" y="738"/>
                  </a:lnTo>
                  <a:lnTo>
                    <a:pt x="1596" y="738"/>
                  </a:lnTo>
                  <a:lnTo>
                    <a:pt x="1602" y="744"/>
                  </a:lnTo>
                  <a:lnTo>
                    <a:pt x="1608" y="744"/>
                  </a:lnTo>
                  <a:lnTo>
                    <a:pt x="1614" y="744"/>
                  </a:lnTo>
                  <a:lnTo>
                    <a:pt x="1626" y="744"/>
                  </a:lnTo>
                  <a:lnTo>
                    <a:pt x="1638" y="744"/>
                  </a:lnTo>
                  <a:lnTo>
                    <a:pt x="1650" y="744"/>
                  </a:lnTo>
                  <a:lnTo>
                    <a:pt x="1662" y="744"/>
                  </a:lnTo>
                  <a:lnTo>
                    <a:pt x="1668" y="744"/>
                  </a:lnTo>
                  <a:lnTo>
                    <a:pt x="1674" y="744"/>
                  </a:lnTo>
                  <a:lnTo>
                    <a:pt x="1686" y="744"/>
                  </a:lnTo>
                  <a:lnTo>
                    <a:pt x="1698" y="750"/>
                  </a:lnTo>
                  <a:lnTo>
                    <a:pt x="1704" y="750"/>
                  </a:lnTo>
                  <a:lnTo>
                    <a:pt x="1716" y="756"/>
                  </a:lnTo>
                  <a:lnTo>
                    <a:pt x="1722" y="756"/>
                  </a:lnTo>
                  <a:lnTo>
                    <a:pt x="1728" y="756"/>
                  </a:lnTo>
                  <a:lnTo>
                    <a:pt x="1734" y="762"/>
                  </a:lnTo>
                  <a:lnTo>
                    <a:pt x="1740" y="768"/>
                  </a:lnTo>
                  <a:lnTo>
                    <a:pt x="1758" y="780"/>
                  </a:lnTo>
                  <a:lnTo>
                    <a:pt x="1770" y="780"/>
                  </a:lnTo>
                  <a:lnTo>
                    <a:pt x="1776" y="780"/>
                  </a:lnTo>
                  <a:lnTo>
                    <a:pt x="1782" y="780"/>
                  </a:lnTo>
                  <a:lnTo>
                    <a:pt x="1800" y="798"/>
                  </a:lnTo>
                  <a:lnTo>
                    <a:pt x="1818" y="810"/>
                  </a:lnTo>
                  <a:lnTo>
                    <a:pt x="1830" y="816"/>
                  </a:lnTo>
                  <a:lnTo>
                    <a:pt x="1836" y="822"/>
                  </a:lnTo>
                  <a:lnTo>
                    <a:pt x="1836" y="828"/>
                  </a:lnTo>
                  <a:lnTo>
                    <a:pt x="1842" y="828"/>
                  </a:lnTo>
                  <a:lnTo>
                    <a:pt x="1848" y="834"/>
                  </a:lnTo>
                  <a:lnTo>
                    <a:pt x="1854" y="840"/>
                  </a:lnTo>
                  <a:lnTo>
                    <a:pt x="1860" y="846"/>
                  </a:lnTo>
                  <a:lnTo>
                    <a:pt x="1872" y="852"/>
                  </a:lnTo>
                  <a:lnTo>
                    <a:pt x="1884" y="852"/>
                  </a:lnTo>
                  <a:lnTo>
                    <a:pt x="1896" y="852"/>
                  </a:lnTo>
                  <a:lnTo>
                    <a:pt x="1902" y="846"/>
                  </a:lnTo>
                  <a:lnTo>
                    <a:pt x="1908" y="852"/>
                  </a:lnTo>
                  <a:lnTo>
                    <a:pt x="1920" y="858"/>
                  </a:lnTo>
                  <a:lnTo>
                    <a:pt x="1926" y="870"/>
                  </a:lnTo>
                  <a:lnTo>
                    <a:pt x="1938" y="888"/>
                  </a:lnTo>
                  <a:lnTo>
                    <a:pt x="1944" y="900"/>
                  </a:lnTo>
                  <a:lnTo>
                    <a:pt x="1950" y="900"/>
                  </a:lnTo>
                  <a:lnTo>
                    <a:pt x="1962" y="906"/>
                  </a:lnTo>
                  <a:lnTo>
                    <a:pt x="1968" y="906"/>
                  </a:lnTo>
                  <a:lnTo>
                    <a:pt x="1980" y="906"/>
                  </a:lnTo>
                  <a:lnTo>
                    <a:pt x="1998" y="906"/>
                  </a:lnTo>
                  <a:lnTo>
                    <a:pt x="2010" y="900"/>
                  </a:lnTo>
                  <a:lnTo>
                    <a:pt x="2022" y="900"/>
                  </a:lnTo>
                  <a:lnTo>
                    <a:pt x="2028" y="900"/>
                  </a:lnTo>
                  <a:lnTo>
                    <a:pt x="2034" y="906"/>
                  </a:lnTo>
                  <a:lnTo>
                    <a:pt x="2046" y="906"/>
                  </a:lnTo>
                  <a:lnTo>
                    <a:pt x="2052" y="900"/>
                  </a:lnTo>
                  <a:lnTo>
                    <a:pt x="2058" y="900"/>
                  </a:lnTo>
                  <a:lnTo>
                    <a:pt x="2064" y="900"/>
                  </a:lnTo>
                  <a:lnTo>
                    <a:pt x="2070" y="900"/>
                  </a:lnTo>
                  <a:lnTo>
                    <a:pt x="2076" y="900"/>
                  </a:lnTo>
                  <a:lnTo>
                    <a:pt x="2076" y="906"/>
                  </a:lnTo>
                  <a:lnTo>
                    <a:pt x="2088" y="906"/>
                  </a:lnTo>
                  <a:lnTo>
                    <a:pt x="2106" y="900"/>
                  </a:lnTo>
                  <a:lnTo>
                    <a:pt x="2118" y="900"/>
                  </a:lnTo>
                  <a:lnTo>
                    <a:pt x="2130" y="900"/>
                  </a:lnTo>
                  <a:lnTo>
                    <a:pt x="2142" y="900"/>
                  </a:lnTo>
                  <a:lnTo>
                    <a:pt x="2148" y="906"/>
                  </a:lnTo>
                  <a:lnTo>
                    <a:pt x="2154" y="906"/>
                  </a:lnTo>
                  <a:lnTo>
                    <a:pt x="2160" y="906"/>
                  </a:lnTo>
                  <a:lnTo>
                    <a:pt x="2166" y="906"/>
                  </a:lnTo>
                  <a:lnTo>
                    <a:pt x="2178" y="918"/>
                  </a:lnTo>
                  <a:lnTo>
                    <a:pt x="2178" y="924"/>
                  </a:lnTo>
                  <a:lnTo>
                    <a:pt x="2184" y="924"/>
                  </a:lnTo>
                  <a:lnTo>
                    <a:pt x="2190" y="924"/>
                  </a:lnTo>
                  <a:lnTo>
                    <a:pt x="2196" y="924"/>
                  </a:lnTo>
                  <a:lnTo>
                    <a:pt x="2202" y="918"/>
                  </a:lnTo>
                  <a:lnTo>
                    <a:pt x="2208" y="918"/>
                  </a:lnTo>
                  <a:lnTo>
                    <a:pt x="2214" y="918"/>
                  </a:lnTo>
                  <a:lnTo>
                    <a:pt x="2226" y="918"/>
                  </a:lnTo>
                  <a:lnTo>
                    <a:pt x="2220" y="948"/>
                  </a:lnTo>
                  <a:lnTo>
                    <a:pt x="2214" y="972"/>
                  </a:lnTo>
                  <a:lnTo>
                    <a:pt x="2214" y="984"/>
                  </a:lnTo>
                  <a:lnTo>
                    <a:pt x="2208" y="990"/>
                  </a:lnTo>
                  <a:lnTo>
                    <a:pt x="2208" y="996"/>
                  </a:lnTo>
                  <a:lnTo>
                    <a:pt x="2202" y="996"/>
                  </a:lnTo>
                  <a:lnTo>
                    <a:pt x="2196" y="996"/>
                  </a:lnTo>
                  <a:lnTo>
                    <a:pt x="2190" y="1008"/>
                  </a:lnTo>
                  <a:lnTo>
                    <a:pt x="2172" y="1074"/>
                  </a:lnTo>
                  <a:lnTo>
                    <a:pt x="2166" y="1092"/>
                  </a:lnTo>
                  <a:lnTo>
                    <a:pt x="2172" y="1110"/>
                  </a:lnTo>
                  <a:lnTo>
                    <a:pt x="2172" y="1122"/>
                  </a:lnTo>
                  <a:lnTo>
                    <a:pt x="2166" y="1134"/>
                  </a:lnTo>
                  <a:lnTo>
                    <a:pt x="2148" y="1140"/>
                  </a:lnTo>
                  <a:lnTo>
                    <a:pt x="2148" y="1134"/>
                  </a:lnTo>
                  <a:lnTo>
                    <a:pt x="2118" y="1140"/>
                  </a:lnTo>
                  <a:lnTo>
                    <a:pt x="2088" y="1134"/>
                  </a:lnTo>
                  <a:lnTo>
                    <a:pt x="2064" y="1122"/>
                  </a:lnTo>
                  <a:lnTo>
                    <a:pt x="2034" y="1122"/>
                  </a:lnTo>
                  <a:lnTo>
                    <a:pt x="2022" y="1128"/>
                  </a:lnTo>
                  <a:lnTo>
                    <a:pt x="1986" y="1128"/>
                  </a:lnTo>
                  <a:lnTo>
                    <a:pt x="1938" y="1122"/>
                  </a:lnTo>
                  <a:lnTo>
                    <a:pt x="1932" y="1116"/>
                  </a:lnTo>
                  <a:lnTo>
                    <a:pt x="1896" y="1110"/>
                  </a:lnTo>
                  <a:lnTo>
                    <a:pt x="1878" y="1104"/>
                  </a:lnTo>
                  <a:lnTo>
                    <a:pt x="1866" y="1098"/>
                  </a:lnTo>
                  <a:lnTo>
                    <a:pt x="1860" y="1098"/>
                  </a:lnTo>
                  <a:lnTo>
                    <a:pt x="1854" y="1092"/>
                  </a:lnTo>
                  <a:lnTo>
                    <a:pt x="1860" y="1092"/>
                  </a:lnTo>
                  <a:lnTo>
                    <a:pt x="1860" y="1086"/>
                  </a:lnTo>
                  <a:lnTo>
                    <a:pt x="1854" y="1086"/>
                  </a:lnTo>
                  <a:lnTo>
                    <a:pt x="1842" y="1080"/>
                  </a:lnTo>
                  <a:lnTo>
                    <a:pt x="1818" y="1062"/>
                  </a:lnTo>
                  <a:lnTo>
                    <a:pt x="1782" y="1056"/>
                  </a:lnTo>
                  <a:lnTo>
                    <a:pt x="1770" y="1068"/>
                  </a:lnTo>
                  <a:lnTo>
                    <a:pt x="1746" y="1098"/>
                  </a:lnTo>
                  <a:lnTo>
                    <a:pt x="1722" y="1104"/>
                  </a:lnTo>
                  <a:lnTo>
                    <a:pt x="1710" y="1122"/>
                  </a:lnTo>
                  <a:lnTo>
                    <a:pt x="1710" y="1128"/>
                  </a:lnTo>
                  <a:lnTo>
                    <a:pt x="1710" y="1140"/>
                  </a:lnTo>
                  <a:lnTo>
                    <a:pt x="1698" y="1146"/>
                  </a:lnTo>
                  <a:lnTo>
                    <a:pt x="1686" y="1152"/>
                  </a:lnTo>
                  <a:lnTo>
                    <a:pt x="1680" y="1164"/>
                  </a:lnTo>
                  <a:lnTo>
                    <a:pt x="1680" y="1170"/>
                  </a:lnTo>
                  <a:lnTo>
                    <a:pt x="1686" y="1170"/>
                  </a:lnTo>
                  <a:lnTo>
                    <a:pt x="1686" y="1176"/>
                  </a:lnTo>
                  <a:lnTo>
                    <a:pt x="1698" y="1188"/>
                  </a:lnTo>
                  <a:lnTo>
                    <a:pt x="1704" y="1188"/>
                  </a:lnTo>
                  <a:lnTo>
                    <a:pt x="1698" y="1194"/>
                  </a:lnTo>
                  <a:lnTo>
                    <a:pt x="1704" y="1194"/>
                  </a:lnTo>
                  <a:lnTo>
                    <a:pt x="1704" y="1200"/>
                  </a:lnTo>
                  <a:lnTo>
                    <a:pt x="1704" y="1206"/>
                  </a:lnTo>
                  <a:lnTo>
                    <a:pt x="1704" y="1212"/>
                  </a:lnTo>
                  <a:lnTo>
                    <a:pt x="1704" y="1218"/>
                  </a:lnTo>
                  <a:lnTo>
                    <a:pt x="1710" y="1218"/>
                  </a:lnTo>
                  <a:lnTo>
                    <a:pt x="1710" y="1212"/>
                  </a:lnTo>
                  <a:lnTo>
                    <a:pt x="1716" y="1212"/>
                  </a:lnTo>
                  <a:lnTo>
                    <a:pt x="1716" y="1218"/>
                  </a:lnTo>
                  <a:lnTo>
                    <a:pt x="1716" y="1224"/>
                  </a:lnTo>
                  <a:lnTo>
                    <a:pt x="1716" y="1230"/>
                  </a:lnTo>
                  <a:lnTo>
                    <a:pt x="1722" y="1236"/>
                  </a:lnTo>
                  <a:lnTo>
                    <a:pt x="1740" y="1230"/>
                  </a:lnTo>
                  <a:lnTo>
                    <a:pt x="1734" y="1236"/>
                  </a:lnTo>
                  <a:lnTo>
                    <a:pt x="1734" y="1242"/>
                  </a:lnTo>
                  <a:lnTo>
                    <a:pt x="1734" y="1248"/>
                  </a:lnTo>
                  <a:lnTo>
                    <a:pt x="1734" y="1254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52" y="1266"/>
                  </a:lnTo>
                  <a:lnTo>
                    <a:pt x="1764" y="1266"/>
                  </a:lnTo>
                  <a:lnTo>
                    <a:pt x="1788" y="1260"/>
                  </a:lnTo>
                  <a:lnTo>
                    <a:pt x="1800" y="1260"/>
                  </a:lnTo>
                  <a:lnTo>
                    <a:pt x="1806" y="1272"/>
                  </a:lnTo>
                  <a:lnTo>
                    <a:pt x="1806" y="1296"/>
                  </a:lnTo>
                  <a:lnTo>
                    <a:pt x="1800" y="1308"/>
                  </a:lnTo>
                  <a:lnTo>
                    <a:pt x="1788" y="1308"/>
                  </a:lnTo>
                  <a:lnTo>
                    <a:pt x="1782" y="13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7" name="Freeform 32">
              <a:extLst>
                <a:ext uri="{FF2B5EF4-FFF2-40B4-BE49-F238E27FC236}">
                  <a16:creationId xmlns:a16="http://schemas.microsoft.com/office/drawing/2014/main" id="{1EF84438-BF7A-47D2-9156-E231EA2A279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3295" y="2316568"/>
              <a:ext cx="1290281" cy="1084704"/>
            </a:xfrm>
            <a:custGeom>
              <a:avLst/>
              <a:gdLst>
                <a:gd name="T0" fmla="*/ 177 w 2430"/>
                <a:gd name="T1" fmla="*/ 169 h 2040"/>
                <a:gd name="T2" fmla="*/ 174 w 2430"/>
                <a:gd name="T3" fmla="*/ 173 h 2040"/>
                <a:gd name="T4" fmla="*/ 169 w 2430"/>
                <a:gd name="T5" fmla="*/ 171 h 2040"/>
                <a:gd name="T6" fmla="*/ 160 w 2430"/>
                <a:gd name="T7" fmla="*/ 163 h 2040"/>
                <a:gd name="T8" fmla="*/ 154 w 2430"/>
                <a:gd name="T9" fmla="*/ 149 h 2040"/>
                <a:gd name="T10" fmla="*/ 144 w 2430"/>
                <a:gd name="T11" fmla="*/ 147 h 2040"/>
                <a:gd name="T12" fmla="*/ 133 w 2430"/>
                <a:gd name="T13" fmla="*/ 146 h 2040"/>
                <a:gd name="T14" fmla="*/ 121 w 2430"/>
                <a:gd name="T15" fmla="*/ 145 h 2040"/>
                <a:gd name="T16" fmla="*/ 110 w 2430"/>
                <a:gd name="T17" fmla="*/ 137 h 2040"/>
                <a:gd name="T18" fmla="*/ 97 w 2430"/>
                <a:gd name="T19" fmla="*/ 131 h 2040"/>
                <a:gd name="T20" fmla="*/ 87 w 2430"/>
                <a:gd name="T21" fmla="*/ 125 h 2040"/>
                <a:gd name="T22" fmla="*/ 75 w 2430"/>
                <a:gd name="T23" fmla="*/ 122 h 2040"/>
                <a:gd name="T24" fmla="*/ 65 w 2430"/>
                <a:gd name="T25" fmla="*/ 122 h 2040"/>
                <a:gd name="T26" fmla="*/ 59 w 2430"/>
                <a:gd name="T27" fmla="*/ 115 h 2040"/>
                <a:gd name="T28" fmla="*/ 50 w 2430"/>
                <a:gd name="T29" fmla="*/ 107 h 2040"/>
                <a:gd name="T30" fmla="*/ 28 w 2430"/>
                <a:gd name="T31" fmla="*/ 84 h 2040"/>
                <a:gd name="T32" fmla="*/ 22 w 2430"/>
                <a:gd name="T33" fmla="*/ 82 h 2040"/>
                <a:gd name="T34" fmla="*/ 20 w 2430"/>
                <a:gd name="T35" fmla="*/ 79 h 2040"/>
                <a:gd name="T36" fmla="*/ 16 w 2430"/>
                <a:gd name="T37" fmla="*/ 76 h 2040"/>
                <a:gd name="T38" fmla="*/ 11 w 2430"/>
                <a:gd name="T39" fmla="*/ 74 h 2040"/>
                <a:gd name="T40" fmla="*/ 7 w 2430"/>
                <a:gd name="T41" fmla="*/ 69 h 2040"/>
                <a:gd name="T42" fmla="*/ 0 w 2430"/>
                <a:gd name="T43" fmla="*/ 60 h 2040"/>
                <a:gd name="T44" fmla="*/ 10 w 2430"/>
                <a:gd name="T45" fmla="*/ 53 h 2040"/>
                <a:gd name="T46" fmla="*/ 15 w 2430"/>
                <a:gd name="T47" fmla="*/ 40 h 2040"/>
                <a:gd name="T48" fmla="*/ 9 w 2430"/>
                <a:gd name="T49" fmla="*/ 29 h 2040"/>
                <a:gd name="T50" fmla="*/ 7 w 2430"/>
                <a:gd name="T51" fmla="*/ 16 h 2040"/>
                <a:gd name="T52" fmla="*/ 18 w 2430"/>
                <a:gd name="T53" fmla="*/ 21 h 2040"/>
                <a:gd name="T54" fmla="*/ 48 w 2430"/>
                <a:gd name="T55" fmla="*/ 27 h 2040"/>
                <a:gd name="T56" fmla="*/ 62 w 2430"/>
                <a:gd name="T57" fmla="*/ 25 h 2040"/>
                <a:gd name="T58" fmla="*/ 59 w 2430"/>
                <a:gd name="T59" fmla="*/ 42 h 2040"/>
                <a:gd name="T60" fmla="*/ 54 w 2430"/>
                <a:gd name="T61" fmla="*/ 65 h 2040"/>
                <a:gd name="T62" fmla="*/ 65 w 2430"/>
                <a:gd name="T63" fmla="*/ 60 h 2040"/>
                <a:gd name="T64" fmla="*/ 68 w 2430"/>
                <a:gd name="T65" fmla="*/ 40 h 2040"/>
                <a:gd name="T66" fmla="*/ 75 w 2430"/>
                <a:gd name="T67" fmla="*/ 36 h 2040"/>
                <a:gd name="T68" fmla="*/ 83 w 2430"/>
                <a:gd name="T69" fmla="*/ 29 h 2040"/>
                <a:gd name="T70" fmla="*/ 81 w 2430"/>
                <a:gd name="T71" fmla="*/ 17 h 2040"/>
                <a:gd name="T72" fmla="*/ 66 w 2430"/>
                <a:gd name="T73" fmla="*/ 7 h 2040"/>
                <a:gd name="T74" fmla="*/ 80 w 2430"/>
                <a:gd name="T75" fmla="*/ 5 h 2040"/>
                <a:gd name="T76" fmla="*/ 89 w 2430"/>
                <a:gd name="T77" fmla="*/ 1 h 2040"/>
                <a:gd name="T78" fmla="*/ 101 w 2430"/>
                <a:gd name="T79" fmla="*/ 10 h 2040"/>
                <a:gd name="T80" fmla="*/ 103 w 2430"/>
                <a:gd name="T81" fmla="*/ 18 h 2040"/>
                <a:gd name="T82" fmla="*/ 110 w 2430"/>
                <a:gd name="T83" fmla="*/ 23 h 2040"/>
                <a:gd name="T84" fmla="*/ 121 w 2430"/>
                <a:gd name="T85" fmla="*/ 20 h 2040"/>
                <a:gd name="T86" fmla="*/ 129 w 2430"/>
                <a:gd name="T87" fmla="*/ 15 h 2040"/>
                <a:gd name="T88" fmla="*/ 142 w 2430"/>
                <a:gd name="T89" fmla="*/ 23 h 2040"/>
                <a:gd name="T90" fmla="*/ 141 w 2430"/>
                <a:gd name="T91" fmla="*/ 30 h 2040"/>
                <a:gd name="T92" fmla="*/ 140 w 2430"/>
                <a:gd name="T93" fmla="*/ 38 h 2040"/>
                <a:gd name="T94" fmla="*/ 139 w 2430"/>
                <a:gd name="T95" fmla="*/ 46 h 2040"/>
                <a:gd name="T96" fmla="*/ 147 w 2430"/>
                <a:gd name="T97" fmla="*/ 54 h 2040"/>
                <a:gd name="T98" fmla="*/ 152 w 2430"/>
                <a:gd name="T99" fmla="*/ 50 h 2040"/>
                <a:gd name="T100" fmla="*/ 159 w 2430"/>
                <a:gd name="T101" fmla="*/ 43 h 2040"/>
                <a:gd name="T102" fmla="*/ 174 w 2430"/>
                <a:gd name="T103" fmla="*/ 41 h 2040"/>
                <a:gd name="T104" fmla="*/ 190 w 2430"/>
                <a:gd name="T105" fmla="*/ 57 h 2040"/>
                <a:gd name="T106" fmla="*/ 187 w 2430"/>
                <a:gd name="T107" fmla="*/ 66 h 2040"/>
                <a:gd name="T108" fmla="*/ 183 w 2430"/>
                <a:gd name="T109" fmla="*/ 72 h 2040"/>
                <a:gd name="T110" fmla="*/ 194 w 2430"/>
                <a:gd name="T111" fmla="*/ 73 h 2040"/>
                <a:gd name="T112" fmla="*/ 202 w 2430"/>
                <a:gd name="T113" fmla="*/ 74 h 2040"/>
                <a:gd name="T114" fmla="*/ 204 w 2430"/>
                <a:gd name="T115" fmla="*/ 89 h 2040"/>
                <a:gd name="T116" fmla="*/ 208 w 2430"/>
                <a:gd name="T117" fmla="*/ 99 h 2040"/>
                <a:gd name="T118" fmla="*/ 203 w 2430"/>
                <a:gd name="T119" fmla="*/ 103 h 2040"/>
                <a:gd name="T120" fmla="*/ 209 w 2430"/>
                <a:gd name="T121" fmla="*/ 111 h 2040"/>
                <a:gd name="T122" fmla="*/ 204 w 2430"/>
                <a:gd name="T123" fmla="*/ 124 h 2040"/>
                <a:gd name="T124" fmla="*/ 190 w 2430"/>
                <a:gd name="T125" fmla="*/ 117 h 20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30"/>
                <a:gd name="T190" fmla="*/ 0 h 2040"/>
                <a:gd name="T191" fmla="*/ 2430 w 2430"/>
                <a:gd name="T192" fmla="*/ 2040 h 20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30" h="2040">
                  <a:moveTo>
                    <a:pt x="2076" y="1896"/>
                  </a:moveTo>
                  <a:lnTo>
                    <a:pt x="2070" y="1896"/>
                  </a:lnTo>
                  <a:lnTo>
                    <a:pt x="2070" y="1902"/>
                  </a:lnTo>
                  <a:lnTo>
                    <a:pt x="2076" y="1902"/>
                  </a:lnTo>
                  <a:lnTo>
                    <a:pt x="2082" y="1902"/>
                  </a:lnTo>
                  <a:lnTo>
                    <a:pt x="2082" y="1908"/>
                  </a:lnTo>
                  <a:lnTo>
                    <a:pt x="2076" y="1908"/>
                  </a:lnTo>
                  <a:lnTo>
                    <a:pt x="2076" y="1914"/>
                  </a:lnTo>
                  <a:lnTo>
                    <a:pt x="2070" y="1920"/>
                  </a:lnTo>
                  <a:lnTo>
                    <a:pt x="2064" y="1932"/>
                  </a:lnTo>
                  <a:lnTo>
                    <a:pt x="2064" y="1938"/>
                  </a:lnTo>
                  <a:lnTo>
                    <a:pt x="2058" y="1938"/>
                  </a:lnTo>
                  <a:lnTo>
                    <a:pt x="2052" y="1944"/>
                  </a:lnTo>
                  <a:lnTo>
                    <a:pt x="2052" y="1950"/>
                  </a:lnTo>
                  <a:lnTo>
                    <a:pt x="2040" y="1944"/>
                  </a:lnTo>
                  <a:lnTo>
                    <a:pt x="2040" y="1950"/>
                  </a:lnTo>
                  <a:lnTo>
                    <a:pt x="2034" y="1956"/>
                  </a:lnTo>
                  <a:lnTo>
                    <a:pt x="2034" y="1962"/>
                  </a:lnTo>
                  <a:lnTo>
                    <a:pt x="2028" y="1962"/>
                  </a:lnTo>
                  <a:lnTo>
                    <a:pt x="2022" y="1962"/>
                  </a:lnTo>
                  <a:lnTo>
                    <a:pt x="2022" y="1968"/>
                  </a:lnTo>
                  <a:lnTo>
                    <a:pt x="2028" y="1974"/>
                  </a:lnTo>
                  <a:lnTo>
                    <a:pt x="2034" y="1980"/>
                  </a:lnTo>
                  <a:lnTo>
                    <a:pt x="2028" y="1986"/>
                  </a:lnTo>
                  <a:lnTo>
                    <a:pt x="2022" y="1992"/>
                  </a:lnTo>
                  <a:lnTo>
                    <a:pt x="2022" y="1986"/>
                  </a:lnTo>
                  <a:lnTo>
                    <a:pt x="2016" y="1986"/>
                  </a:lnTo>
                  <a:lnTo>
                    <a:pt x="2010" y="1980"/>
                  </a:lnTo>
                  <a:lnTo>
                    <a:pt x="2004" y="1980"/>
                  </a:lnTo>
                  <a:lnTo>
                    <a:pt x="2004" y="1986"/>
                  </a:lnTo>
                  <a:lnTo>
                    <a:pt x="2010" y="1992"/>
                  </a:lnTo>
                  <a:lnTo>
                    <a:pt x="2010" y="1998"/>
                  </a:lnTo>
                  <a:lnTo>
                    <a:pt x="2004" y="2004"/>
                  </a:lnTo>
                  <a:lnTo>
                    <a:pt x="1998" y="2004"/>
                  </a:lnTo>
                  <a:lnTo>
                    <a:pt x="1998" y="2022"/>
                  </a:lnTo>
                  <a:lnTo>
                    <a:pt x="1998" y="2028"/>
                  </a:lnTo>
                  <a:lnTo>
                    <a:pt x="1992" y="2034"/>
                  </a:lnTo>
                  <a:lnTo>
                    <a:pt x="1992" y="2040"/>
                  </a:lnTo>
                  <a:lnTo>
                    <a:pt x="1986" y="2040"/>
                  </a:lnTo>
                  <a:lnTo>
                    <a:pt x="1986" y="2034"/>
                  </a:lnTo>
                  <a:lnTo>
                    <a:pt x="1980" y="2028"/>
                  </a:lnTo>
                  <a:lnTo>
                    <a:pt x="1980" y="2022"/>
                  </a:lnTo>
                  <a:lnTo>
                    <a:pt x="1968" y="2016"/>
                  </a:lnTo>
                  <a:lnTo>
                    <a:pt x="1962" y="2010"/>
                  </a:lnTo>
                  <a:lnTo>
                    <a:pt x="1956" y="2004"/>
                  </a:lnTo>
                  <a:lnTo>
                    <a:pt x="1950" y="1992"/>
                  </a:lnTo>
                  <a:lnTo>
                    <a:pt x="1950" y="1986"/>
                  </a:lnTo>
                  <a:lnTo>
                    <a:pt x="1950" y="1974"/>
                  </a:lnTo>
                  <a:lnTo>
                    <a:pt x="1944" y="1974"/>
                  </a:lnTo>
                  <a:lnTo>
                    <a:pt x="1932" y="1962"/>
                  </a:lnTo>
                  <a:lnTo>
                    <a:pt x="1932" y="1956"/>
                  </a:lnTo>
                  <a:lnTo>
                    <a:pt x="1932" y="1950"/>
                  </a:lnTo>
                  <a:lnTo>
                    <a:pt x="1920" y="1944"/>
                  </a:lnTo>
                  <a:lnTo>
                    <a:pt x="1914" y="1944"/>
                  </a:lnTo>
                  <a:lnTo>
                    <a:pt x="1908" y="1938"/>
                  </a:lnTo>
                  <a:lnTo>
                    <a:pt x="1902" y="1926"/>
                  </a:lnTo>
                  <a:lnTo>
                    <a:pt x="1890" y="1914"/>
                  </a:lnTo>
                  <a:lnTo>
                    <a:pt x="1884" y="1914"/>
                  </a:lnTo>
                  <a:lnTo>
                    <a:pt x="1878" y="1908"/>
                  </a:lnTo>
                  <a:lnTo>
                    <a:pt x="1872" y="1902"/>
                  </a:lnTo>
                  <a:lnTo>
                    <a:pt x="1872" y="1896"/>
                  </a:lnTo>
                  <a:lnTo>
                    <a:pt x="1866" y="1890"/>
                  </a:lnTo>
                  <a:lnTo>
                    <a:pt x="1854" y="1884"/>
                  </a:lnTo>
                  <a:lnTo>
                    <a:pt x="1848" y="1884"/>
                  </a:lnTo>
                  <a:lnTo>
                    <a:pt x="1842" y="1872"/>
                  </a:lnTo>
                  <a:lnTo>
                    <a:pt x="1836" y="1872"/>
                  </a:lnTo>
                  <a:lnTo>
                    <a:pt x="1830" y="1866"/>
                  </a:lnTo>
                  <a:lnTo>
                    <a:pt x="1830" y="1854"/>
                  </a:lnTo>
                  <a:lnTo>
                    <a:pt x="1824" y="1848"/>
                  </a:lnTo>
                  <a:lnTo>
                    <a:pt x="1818" y="1830"/>
                  </a:lnTo>
                  <a:lnTo>
                    <a:pt x="1818" y="1818"/>
                  </a:lnTo>
                  <a:lnTo>
                    <a:pt x="1812" y="1800"/>
                  </a:lnTo>
                  <a:lnTo>
                    <a:pt x="1812" y="1788"/>
                  </a:lnTo>
                  <a:lnTo>
                    <a:pt x="1806" y="1776"/>
                  </a:lnTo>
                  <a:lnTo>
                    <a:pt x="1800" y="1764"/>
                  </a:lnTo>
                  <a:lnTo>
                    <a:pt x="1794" y="1758"/>
                  </a:lnTo>
                  <a:lnTo>
                    <a:pt x="1782" y="1740"/>
                  </a:lnTo>
                  <a:lnTo>
                    <a:pt x="1776" y="1728"/>
                  </a:lnTo>
                  <a:lnTo>
                    <a:pt x="1776" y="1722"/>
                  </a:lnTo>
                  <a:lnTo>
                    <a:pt x="1770" y="1722"/>
                  </a:lnTo>
                  <a:lnTo>
                    <a:pt x="1770" y="1716"/>
                  </a:lnTo>
                  <a:lnTo>
                    <a:pt x="1764" y="1716"/>
                  </a:lnTo>
                  <a:lnTo>
                    <a:pt x="1758" y="1710"/>
                  </a:lnTo>
                  <a:lnTo>
                    <a:pt x="1752" y="1704"/>
                  </a:lnTo>
                  <a:lnTo>
                    <a:pt x="1746" y="1704"/>
                  </a:lnTo>
                  <a:lnTo>
                    <a:pt x="1740" y="1704"/>
                  </a:lnTo>
                  <a:lnTo>
                    <a:pt x="1734" y="1704"/>
                  </a:lnTo>
                  <a:lnTo>
                    <a:pt x="1734" y="1698"/>
                  </a:lnTo>
                  <a:lnTo>
                    <a:pt x="1728" y="1692"/>
                  </a:lnTo>
                  <a:lnTo>
                    <a:pt x="1722" y="1686"/>
                  </a:lnTo>
                  <a:lnTo>
                    <a:pt x="1716" y="1686"/>
                  </a:lnTo>
                  <a:lnTo>
                    <a:pt x="1698" y="1686"/>
                  </a:lnTo>
                  <a:lnTo>
                    <a:pt x="1692" y="1692"/>
                  </a:lnTo>
                  <a:lnTo>
                    <a:pt x="1680" y="1692"/>
                  </a:lnTo>
                  <a:lnTo>
                    <a:pt x="1668" y="1692"/>
                  </a:lnTo>
                  <a:lnTo>
                    <a:pt x="1662" y="1692"/>
                  </a:lnTo>
                  <a:lnTo>
                    <a:pt x="1656" y="1692"/>
                  </a:lnTo>
                  <a:lnTo>
                    <a:pt x="1650" y="1698"/>
                  </a:lnTo>
                  <a:lnTo>
                    <a:pt x="1644" y="1698"/>
                  </a:lnTo>
                  <a:lnTo>
                    <a:pt x="1638" y="1698"/>
                  </a:lnTo>
                  <a:lnTo>
                    <a:pt x="1632" y="1698"/>
                  </a:lnTo>
                  <a:lnTo>
                    <a:pt x="1632" y="1692"/>
                  </a:lnTo>
                  <a:lnTo>
                    <a:pt x="1620" y="1680"/>
                  </a:lnTo>
                  <a:lnTo>
                    <a:pt x="1614" y="1680"/>
                  </a:lnTo>
                  <a:lnTo>
                    <a:pt x="1608" y="1680"/>
                  </a:lnTo>
                  <a:lnTo>
                    <a:pt x="1602" y="1680"/>
                  </a:lnTo>
                  <a:lnTo>
                    <a:pt x="1596" y="1674"/>
                  </a:lnTo>
                  <a:lnTo>
                    <a:pt x="1584" y="1674"/>
                  </a:lnTo>
                  <a:lnTo>
                    <a:pt x="1572" y="1674"/>
                  </a:lnTo>
                  <a:lnTo>
                    <a:pt x="1560" y="1674"/>
                  </a:lnTo>
                  <a:lnTo>
                    <a:pt x="1542" y="1680"/>
                  </a:lnTo>
                  <a:lnTo>
                    <a:pt x="1530" y="1680"/>
                  </a:lnTo>
                  <a:lnTo>
                    <a:pt x="1530" y="1674"/>
                  </a:lnTo>
                  <a:lnTo>
                    <a:pt x="1524" y="1674"/>
                  </a:lnTo>
                  <a:lnTo>
                    <a:pt x="1518" y="1674"/>
                  </a:lnTo>
                  <a:lnTo>
                    <a:pt x="1512" y="1674"/>
                  </a:lnTo>
                  <a:lnTo>
                    <a:pt x="1506" y="1674"/>
                  </a:lnTo>
                  <a:lnTo>
                    <a:pt x="1500" y="1680"/>
                  </a:lnTo>
                  <a:lnTo>
                    <a:pt x="1488" y="1680"/>
                  </a:lnTo>
                  <a:lnTo>
                    <a:pt x="1482" y="1674"/>
                  </a:lnTo>
                  <a:lnTo>
                    <a:pt x="1476" y="1674"/>
                  </a:lnTo>
                  <a:lnTo>
                    <a:pt x="1464" y="1674"/>
                  </a:lnTo>
                  <a:lnTo>
                    <a:pt x="1452" y="1680"/>
                  </a:lnTo>
                  <a:lnTo>
                    <a:pt x="1434" y="1680"/>
                  </a:lnTo>
                  <a:lnTo>
                    <a:pt x="1422" y="1680"/>
                  </a:lnTo>
                  <a:lnTo>
                    <a:pt x="1416" y="1680"/>
                  </a:lnTo>
                  <a:lnTo>
                    <a:pt x="1404" y="1674"/>
                  </a:lnTo>
                  <a:lnTo>
                    <a:pt x="1398" y="1674"/>
                  </a:lnTo>
                  <a:lnTo>
                    <a:pt x="1392" y="1662"/>
                  </a:lnTo>
                  <a:lnTo>
                    <a:pt x="1380" y="1644"/>
                  </a:lnTo>
                  <a:lnTo>
                    <a:pt x="1374" y="1632"/>
                  </a:lnTo>
                  <a:lnTo>
                    <a:pt x="1362" y="1626"/>
                  </a:lnTo>
                  <a:lnTo>
                    <a:pt x="1356" y="1620"/>
                  </a:lnTo>
                  <a:lnTo>
                    <a:pt x="1350" y="1626"/>
                  </a:lnTo>
                  <a:lnTo>
                    <a:pt x="1338" y="1626"/>
                  </a:lnTo>
                  <a:lnTo>
                    <a:pt x="1326" y="1626"/>
                  </a:lnTo>
                  <a:lnTo>
                    <a:pt x="1314" y="1620"/>
                  </a:lnTo>
                  <a:lnTo>
                    <a:pt x="1308" y="1614"/>
                  </a:lnTo>
                  <a:lnTo>
                    <a:pt x="1302" y="1608"/>
                  </a:lnTo>
                  <a:lnTo>
                    <a:pt x="1296" y="1602"/>
                  </a:lnTo>
                  <a:lnTo>
                    <a:pt x="1290" y="1602"/>
                  </a:lnTo>
                  <a:lnTo>
                    <a:pt x="1290" y="1596"/>
                  </a:lnTo>
                  <a:lnTo>
                    <a:pt x="1284" y="1590"/>
                  </a:lnTo>
                  <a:lnTo>
                    <a:pt x="1272" y="1584"/>
                  </a:lnTo>
                  <a:lnTo>
                    <a:pt x="1254" y="1572"/>
                  </a:lnTo>
                  <a:lnTo>
                    <a:pt x="1236" y="1554"/>
                  </a:lnTo>
                  <a:lnTo>
                    <a:pt x="1230" y="1554"/>
                  </a:lnTo>
                  <a:lnTo>
                    <a:pt x="1224" y="1554"/>
                  </a:lnTo>
                  <a:lnTo>
                    <a:pt x="1212" y="1554"/>
                  </a:lnTo>
                  <a:lnTo>
                    <a:pt x="1194" y="1542"/>
                  </a:lnTo>
                  <a:lnTo>
                    <a:pt x="1188" y="1536"/>
                  </a:lnTo>
                  <a:lnTo>
                    <a:pt x="1182" y="1530"/>
                  </a:lnTo>
                  <a:lnTo>
                    <a:pt x="1176" y="1530"/>
                  </a:lnTo>
                  <a:lnTo>
                    <a:pt x="1170" y="1530"/>
                  </a:lnTo>
                  <a:lnTo>
                    <a:pt x="1158" y="1524"/>
                  </a:lnTo>
                  <a:lnTo>
                    <a:pt x="1152" y="1524"/>
                  </a:lnTo>
                  <a:lnTo>
                    <a:pt x="1140" y="1518"/>
                  </a:lnTo>
                  <a:lnTo>
                    <a:pt x="1128" y="1518"/>
                  </a:lnTo>
                  <a:lnTo>
                    <a:pt x="1122" y="1518"/>
                  </a:lnTo>
                  <a:lnTo>
                    <a:pt x="1116" y="1518"/>
                  </a:lnTo>
                  <a:lnTo>
                    <a:pt x="1104" y="1518"/>
                  </a:lnTo>
                  <a:lnTo>
                    <a:pt x="1092" y="1518"/>
                  </a:lnTo>
                  <a:lnTo>
                    <a:pt x="1080" y="1518"/>
                  </a:lnTo>
                  <a:lnTo>
                    <a:pt x="1068" y="1518"/>
                  </a:lnTo>
                  <a:lnTo>
                    <a:pt x="1062" y="1518"/>
                  </a:lnTo>
                  <a:lnTo>
                    <a:pt x="1056" y="1518"/>
                  </a:lnTo>
                  <a:lnTo>
                    <a:pt x="1050" y="1512"/>
                  </a:lnTo>
                  <a:lnTo>
                    <a:pt x="1044" y="1512"/>
                  </a:lnTo>
                  <a:lnTo>
                    <a:pt x="1038" y="1512"/>
                  </a:lnTo>
                  <a:lnTo>
                    <a:pt x="1032" y="1506"/>
                  </a:lnTo>
                  <a:lnTo>
                    <a:pt x="1026" y="1500"/>
                  </a:lnTo>
                  <a:lnTo>
                    <a:pt x="1026" y="1494"/>
                  </a:lnTo>
                  <a:lnTo>
                    <a:pt x="1020" y="1476"/>
                  </a:lnTo>
                  <a:lnTo>
                    <a:pt x="1008" y="1464"/>
                  </a:lnTo>
                  <a:lnTo>
                    <a:pt x="1008" y="1458"/>
                  </a:lnTo>
                  <a:lnTo>
                    <a:pt x="1002" y="1446"/>
                  </a:lnTo>
                  <a:lnTo>
                    <a:pt x="996" y="1446"/>
                  </a:lnTo>
                  <a:lnTo>
                    <a:pt x="990" y="1440"/>
                  </a:lnTo>
                  <a:lnTo>
                    <a:pt x="984" y="1434"/>
                  </a:lnTo>
                  <a:lnTo>
                    <a:pt x="978" y="1434"/>
                  </a:lnTo>
                  <a:lnTo>
                    <a:pt x="972" y="1434"/>
                  </a:lnTo>
                  <a:lnTo>
                    <a:pt x="966" y="1428"/>
                  </a:lnTo>
                  <a:lnTo>
                    <a:pt x="954" y="1422"/>
                  </a:lnTo>
                  <a:lnTo>
                    <a:pt x="942" y="1416"/>
                  </a:lnTo>
                  <a:lnTo>
                    <a:pt x="924" y="1398"/>
                  </a:lnTo>
                  <a:lnTo>
                    <a:pt x="912" y="1386"/>
                  </a:lnTo>
                  <a:lnTo>
                    <a:pt x="900" y="1386"/>
                  </a:lnTo>
                  <a:lnTo>
                    <a:pt x="894" y="1386"/>
                  </a:lnTo>
                  <a:lnTo>
                    <a:pt x="882" y="1392"/>
                  </a:lnTo>
                  <a:lnTo>
                    <a:pt x="876" y="1392"/>
                  </a:lnTo>
                  <a:lnTo>
                    <a:pt x="864" y="1398"/>
                  </a:lnTo>
                  <a:lnTo>
                    <a:pt x="864" y="1404"/>
                  </a:lnTo>
                  <a:lnTo>
                    <a:pt x="858" y="1410"/>
                  </a:lnTo>
                  <a:lnTo>
                    <a:pt x="852" y="1410"/>
                  </a:lnTo>
                  <a:lnTo>
                    <a:pt x="846" y="1410"/>
                  </a:lnTo>
                  <a:lnTo>
                    <a:pt x="834" y="1410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10" y="1428"/>
                  </a:lnTo>
                  <a:lnTo>
                    <a:pt x="798" y="1428"/>
                  </a:lnTo>
                  <a:lnTo>
                    <a:pt x="792" y="1428"/>
                  </a:lnTo>
                  <a:lnTo>
                    <a:pt x="780" y="1434"/>
                  </a:lnTo>
                  <a:lnTo>
                    <a:pt x="774" y="1428"/>
                  </a:lnTo>
                  <a:lnTo>
                    <a:pt x="762" y="1428"/>
                  </a:lnTo>
                  <a:lnTo>
                    <a:pt x="756" y="1422"/>
                  </a:lnTo>
                  <a:lnTo>
                    <a:pt x="750" y="1416"/>
                  </a:lnTo>
                  <a:lnTo>
                    <a:pt x="744" y="1410"/>
                  </a:lnTo>
                  <a:lnTo>
                    <a:pt x="744" y="1398"/>
                  </a:lnTo>
                  <a:lnTo>
                    <a:pt x="744" y="1386"/>
                  </a:lnTo>
                  <a:lnTo>
                    <a:pt x="750" y="1380"/>
                  </a:lnTo>
                  <a:lnTo>
                    <a:pt x="750" y="1374"/>
                  </a:lnTo>
                  <a:lnTo>
                    <a:pt x="750" y="1368"/>
                  </a:lnTo>
                  <a:lnTo>
                    <a:pt x="756" y="1362"/>
                  </a:lnTo>
                  <a:lnTo>
                    <a:pt x="750" y="1350"/>
                  </a:lnTo>
                  <a:lnTo>
                    <a:pt x="744" y="1344"/>
                  </a:lnTo>
                  <a:lnTo>
                    <a:pt x="738" y="1338"/>
                  </a:lnTo>
                  <a:lnTo>
                    <a:pt x="726" y="1338"/>
                  </a:lnTo>
                  <a:lnTo>
                    <a:pt x="720" y="1338"/>
                  </a:lnTo>
                  <a:lnTo>
                    <a:pt x="714" y="1338"/>
                  </a:lnTo>
                  <a:lnTo>
                    <a:pt x="708" y="1332"/>
                  </a:lnTo>
                  <a:lnTo>
                    <a:pt x="702" y="1332"/>
                  </a:lnTo>
                  <a:lnTo>
                    <a:pt x="696" y="1326"/>
                  </a:lnTo>
                  <a:lnTo>
                    <a:pt x="684" y="1326"/>
                  </a:lnTo>
                  <a:lnTo>
                    <a:pt x="678" y="1326"/>
                  </a:lnTo>
                  <a:lnTo>
                    <a:pt x="672" y="1314"/>
                  </a:lnTo>
                  <a:lnTo>
                    <a:pt x="666" y="1308"/>
                  </a:lnTo>
                  <a:lnTo>
                    <a:pt x="654" y="1296"/>
                  </a:lnTo>
                  <a:lnTo>
                    <a:pt x="654" y="1290"/>
                  </a:lnTo>
                  <a:lnTo>
                    <a:pt x="630" y="1284"/>
                  </a:lnTo>
                  <a:lnTo>
                    <a:pt x="630" y="1278"/>
                  </a:lnTo>
                  <a:lnTo>
                    <a:pt x="624" y="1278"/>
                  </a:lnTo>
                  <a:lnTo>
                    <a:pt x="618" y="1266"/>
                  </a:lnTo>
                  <a:lnTo>
                    <a:pt x="612" y="1266"/>
                  </a:lnTo>
                  <a:lnTo>
                    <a:pt x="606" y="1266"/>
                  </a:lnTo>
                  <a:lnTo>
                    <a:pt x="606" y="1260"/>
                  </a:lnTo>
                  <a:lnTo>
                    <a:pt x="594" y="1248"/>
                  </a:lnTo>
                  <a:lnTo>
                    <a:pt x="582" y="1248"/>
                  </a:lnTo>
                  <a:lnTo>
                    <a:pt x="576" y="1242"/>
                  </a:lnTo>
                  <a:lnTo>
                    <a:pt x="570" y="1236"/>
                  </a:lnTo>
                  <a:lnTo>
                    <a:pt x="504" y="1164"/>
                  </a:lnTo>
                  <a:lnTo>
                    <a:pt x="450" y="1110"/>
                  </a:lnTo>
                  <a:lnTo>
                    <a:pt x="426" y="1092"/>
                  </a:lnTo>
                  <a:lnTo>
                    <a:pt x="426" y="1074"/>
                  </a:lnTo>
                  <a:lnTo>
                    <a:pt x="420" y="1062"/>
                  </a:lnTo>
                  <a:lnTo>
                    <a:pt x="396" y="1056"/>
                  </a:lnTo>
                  <a:lnTo>
                    <a:pt x="384" y="1032"/>
                  </a:lnTo>
                  <a:lnTo>
                    <a:pt x="372" y="1020"/>
                  </a:lnTo>
                  <a:lnTo>
                    <a:pt x="360" y="984"/>
                  </a:lnTo>
                  <a:lnTo>
                    <a:pt x="348" y="978"/>
                  </a:lnTo>
                  <a:lnTo>
                    <a:pt x="342" y="972"/>
                  </a:lnTo>
                  <a:lnTo>
                    <a:pt x="348" y="960"/>
                  </a:lnTo>
                  <a:lnTo>
                    <a:pt x="342" y="954"/>
                  </a:lnTo>
                  <a:lnTo>
                    <a:pt x="336" y="954"/>
                  </a:lnTo>
                  <a:lnTo>
                    <a:pt x="330" y="954"/>
                  </a:lnTo>
                  <a:lnTo>
                    <a:pt x="324" y="972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0" y="966"/>
                  </a:lnTo>
                  <a:lnTo>
                    <a:pt x="294" y="966"/>
                  </a:lnTo>
                  <a:lnTo>
                    <a:pt x="288" y="972"/>
                  </a:lnTo>
                  <a:lnTo>
                    <a:pt x="288" y="966"/>
                  </a:lnTo>
                  <a:lnTo>
                    <a:pt x="282" y="948"/>
                  </a:lnTo>
                  <a:lnTo>
                    <a:pt x="282" y="942"/>
                  </a:lnTo>
                  <a:lnTo>
                    <a:pt x="276" y="942"/>
                  </a:lnTo>
                  <a:lnTo>
                    <a:pt x="276" y="936"/>
                  </a:lnTo>
                  <a:lnTo>
                    <a:pt x="270" y="942"/>
                  </a:lnTo>
                  <a:lnTo>
                    <a:pt x="264" y="948"/>
                  </a:lnTo>
                  <a:lnTo>
                    <a:pt x="264" y="942"/>
                  </a:lnTo>
                  <a:lnTo>
                    <a:pt x="258" y="942"/>
                  </a:lnTo>
                  <a:lnTo>
                    <a:pt x="252" y="948"/>
                  </a:lnTo>
                  <a:lnTo>
                    <a:pt x="252" y="942"/>
                  </a:lnTo>
                  <a:lnTo>
                    <a:pt x="246" y="936"/>
                  </a:lnTo>
                  <a:lnTo>
                    <a:pt x="240" y="942"/>
                  </a:lnTo>
                  <a:lnTo>
                    <a:pt x="234" y="936"/>
                  </a:lnTo>
                  <a:lnTo>
                    <a:pt x="228" y="936"/>
                  </a:lnTo>
                  <a:lnTo>
                    <a:pt x="222" y="936"/>
                  </a:lnTo>
                  <a:lnTo>
                    <a:pt x="222" y="930"/>
                  </a:lnTo>
                  <a:lnTo>
                    <a:pt x="222" y="924"/>
                  </a:lnTo>
                  <a:lnTo>
                    <a:pt x="228" y="924"/>
                  </a:lnTo>
                  <a:lnTo>
                    <a:pt x="234" y="924"/>
                  </a:lnTo>
                  <a:lnTo>
                    <a:pt x="240" y="924"/>
                  </a:lnTo>
                  <a:lnTo>
                    <a:pt x="240" y="918"/>
                  </a:lnTo>
                  <a:lnTo>
                    <a:pt x="246" y="918"/>
                  </a:lnTo>
                  <a:lnTo>
                    <a:pt x="246" y="912"/>
                  </a:lnTo>
                  <a:lnTo>
                    <a:pt x="240" y="906"/>
                  </a:lnTo>
                  <a:lnTo>
                    <a:pt x="234" y="906"/>
                  </a:lnTo>
                  <a:lnTo>
                    <a:pt x="228" y="906"/>
                  </a:lnTo>
                  <a:lnTo>
                    <a:pt x="228" y="912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8" y="894"/>
                  </a:lnTo>
                  <a:lnTo>
                    <a:pt x="234" y="894"/>
                  </a:lnTo>
                  <a:lnTo>
                    <a:pt x="228" y="888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198" y="888"/>
                  </a:lnTo>
                  <a:lnTo>
                    <a:pt x="192" y="882"/>
                  </a:lnTo>
                  <a:lnTo>
                    <a:pt x="186" y="882"/>
                  </a:lnTo>
                  <a:lnTo>
                    <a:pt x="186" y="876"/>
                  </a:lnTo>
                  <a:lnTo>
                    <a:pt x="192" y="876"/>
                  </a:lnTo>
                  <a:lnTo>
                    <a:pt x="192" y="870"/>
                  </a:lnTo>
                  <a:lnTo>
                    <a:pt x="198" y="870"/>
                  </a:lnTo>
                  <a:lnTo>
                    <a:pt x="198" y="864"/>
                  </a:lnTo>
                  <a:lnTo>
                    <a:pt x="198" y="858"/>
                  </a:lnTo>
                  <a:lnTo>
                    <a:pt x="180" y="852"/>
                  </a:lnTo>
                  <a:lnTo>
                    <a:pt x="174" y="840"/>
                  </a:lnTo>
                  <a:lnTo>
                    <a:pt x="162" y="846"/>
                  </a:lnTo>
                  <a:lnTo>
                    <a:pt x="156" y="846"/>
                  </a:lnTo>
                  <a:lnTo>
                    <a:pt x="150" y="846"/>
                  </a:lnTo>
                  <a:lnTo>
                    <a:pt x="150" y="840"/>
                  </a:lnTo>
                  <a:lnTo>
                    <a:pt x="138" y="834"/>
                  </a:lnTo>
                  <a:lnTo>
                    <a:pt x="132" y="834"/>
                  </a:lnTo>
                  <a:lnTo>
                    <a:pt x="132" y="840"/>
                  </a:lnTo>
                  <a:lnTo>
                    <a:pt x="126" y="840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58"/>
                  </a:lnTo>
                  <a:lnTo>
                    <a:pt x="120" y="846"/>
                  </a:lnTo>
                  <a:lnTo>
                    <a:pt x="114" y="846"/>
                  </a:lnTo>
                  <a:lnTo>
                    <a:pt x="108" y="840"/>
                  </a:lnTo>
                  <a:lnTo>
                    <a:pt x="102" y="834"/>
                  </a:lnTo>
                  <a:lnTo>
                    <a:pt x="102" y="822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78" y="804"/>
                  </a:lnTo>
                  <a:lnTo>
                    <a:pt x="78" y="798"/>
                  </a:lnTo>
                  <a:lnTo>
                    <a:pt x="78" y="792"/>
                  </a:lnTo>
                  <a:lnTo>
                    <a:pt x="78" y="786"/>
                  </a:lnTo>
                  <a:lnTo>
                    <a:pt x="78" y="780"/>
                  </a:lnTo>
                  <a:lnTo>
                    <a:pt x="72" y="774"/>
                  </a:lnTo>
                  <a:lnTo>
                    <a:pt x="66" y="774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60" y="762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6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2" y="666"/>
                  </a:lnTo>
                  <a:lnTo>
                    <a:pt x="18" y="648"/>
                  </a:lnTo>
                  <a:lnTo>
                    <a:pt x="24" y="636"/>
                  </a:lnTo>
                  <a:lnTo>
                    <a:pt x="30" y="630"/>
                  </a:lnTo>
                  <a:lnTo>
                    <a:pt x="30" y="624"/>
                  </a:lnTo>
                  <a:lnTo>
                    <a:pt x="30" y="612"/>
                  </a:lnTo>
                  <a:lnTo>
                    <a:pt x="30" y="606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66" y="582"/>
                  </a:lnTo>
                  <a:lnTo>
                    <a:pt x="72" y="588"/>
                  </a:lnTo>
                  <a:lnTo>
                    <a:pt x="84" y="594"/>
                  </a:lnTo>
                  <a:lnTo>
                    <a:pt x="90" y="600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14" y="612"/>
                  </a:lnTo>
                  <a:lnTo>
                    <a:pt x="120" y="612"/>
                  </a:lnTo>
                  <a:lnTo>
                    <a:pt x="126" y="618"/>
                  </a:lnTo>
                  <a:lnTo>
                    <a:pt x="138" y="594"/>
                  </a:lnTo>
                  <a:lnTo>
                    <a:pt x="138" y="582"/>
                  </a:lnTo>
                  <a:lnTo>
                    <a:pt x="138" y="570"/>
                  </a:lnTo>
                  <a:lnTo>
                    <a:pt x="138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50" y="528"/>
                  </a:lnTo>
                  <a:lnTo>
                    <a:pt x="156" y="510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62"/>
                  </a:lnTo>
                  <a:lnTo>
                    <a:pt x="168" y="450"/>
                  </a:lnTo>
                  <a:lnTo>
                    <a:pt x="168" y="444"/>
                  </a:lnTo>
                  <a:lnTo>
                    <a:pt x="162" y="432"/>
                  </a:lnTo>
                  <a:lnTo>
                    <a:pt x="162" y="426"/>
                  </a:lnTo>
                  <a:lnTo>
                    <a:pt x="156" y="420"/>
                  </a:lnTo>
                  <a:lnTo>
                    <a:pt x="144" y="414"/>
                  </a:lnTo>
                  <a:lnTo>
                    <a:pt x="132" y="402"/>
                  </a:lnTo>
                  <a:lnTo>
                    <a:pt x="126" y="390"/>
                  </a:lnTo>
                  <a:lnTo>
                    <a:pt x="120" y="384"/>
                  </a:lnTo>
                  <a:lnTo>
                    <a:pt x="120" y="372"/>
                  </a:lnTo>
                  <a:lnTo>
                    <a:pt x="114" y="360"/>
                  </a:lnTo>
                  <a:lnTo>
                    <a:pt x="108" y="360"/>
                  </a:lnTo>
                  <a:lnTo>
                    <a:pt x="108" y="354"/>
                  </a:lnTo>
                  <a:lnTo>
                    <a:pt x="102" y="348"/>
                  </a:lnTo>
                  <a:lnTo>
                    <a:pt x="102" y="342"/>
                  </a:lnTo>
                  <a:lnTo>
                    <a:pt x="108" y="330"/>
                  </a:lnTo>
                  <a:lnTo>
                    <a:pt x="114" y="312"/>
                  </a:lnTo>
                  <a:lnTo>
                    <a:pt x="114" y="300"/>
                  </a:lnTo>
                  <a:lnTo>
                    <a:pt x="120" y="288"/>
                  </a:lnTo>
                  <a:lnTo>
                    <a:pt x="120" y="282"/>
                  </a:lnTo>
                  <a:lnTo>
                    <a:pt x="114" y="270"/>
                  </a:lnTo>
                  <a:lnTo>
                    <a:pt x="114" y="258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84" y="222"/>
                  </a:lnTo>
                  <a:lnTo>
                    <a:pt x="84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84" y="186"/>
                  </a:lnTo>
                  <a:lnTo>
                    <a:pt x="84" y="180"/>
                  </a:lnTo>
                  <a:lnTo>
                    <a:pt x="108" y="174"/>
                  </a:lnTo>
                  <a:lnTo>
                    <a:pt x="132" y="186"/>
                  </a:lnTo>
                  <a:lnTo>
                    <a:pt x="138" y="192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56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74" y="204"/>
                  </a:lnTo>
                  <a:lnTo>
                    <a:pt x="180" y="216"/>
                  </a:lnTo>
                  <a:lnTo>
                    <a:pt x="186" y="228"/>
                  </a:lnTo>
                  <a:lnTo>
                    <a:pt x="192" y="234"/>
                  </a:lnTo>
                  <a:lnTo>
                    <a:pt x="198" y="234"/>
                  </a:lnTo>
                  <a:lnTo>
                    <a:pt x="204" y="240"/>
                  </a:lnTo>
                  <a:lnTo>
                    <a:pt x="210" y="240"/>
                  </a:lnTo>
                  <a:lnTo>
                    <a:pt x="216" y="240"/>
                  </a:lnTo>
                  <a:lnTo>
                    <a:pt x="222" y="240"/>
                  </a:lnTo>
                  <a:lnTo>
                    <a:pt x="228" y="246"/>
                  </a:lnTo>
                  <a:lnTo>
                    <a:pt x="234" y="246"/>
                  </a:lnTo>
                  <a:lnTo>
                    <a:pt x="240" y="246"/>
                  </a:lnTo>
                  <a:lnTo>
                    <a:pt x="252" y="252"/>
                  </a:lnTo>
                  <a:lnTo>
                    <a:pt x="330" y="246"/>
                  </a:lnTo>
                  <a:lnTo>
                    <a:pt x="360" y="228"/>
                  </a:lnTo>
                  <a:lnTo>
                    <a:pt x="396" y="228"/>
                  </a:lnTo>
                  <a:lnTo>
                    <a:pt x="402" y="240"/>
                  </a:lnTo>
                  <a:lnTo>
                    <a:pt x="432" y="240"/>
                  </a:lnTo>
                  <a:lnTo>
                    <a:pt x="450" y="258"/>
                  </a:lnTo>
                  <a:lnTo>
                    <a:pt x="468" y="258"/>
                  </a:lnTo>
                  <a:lnTo>
                    <a:pt x="474" y="294"/>
                  </a:lnTo>
                  <a:lnTo>
                    <a:pt x="558" y="318"/>
                  </a:lnTo>
                  <a:lnTo>
                    <a:pt x="588" y="318"/>
                  </a:lnTo>
                  <a:lnTo>
                    <a:pt x="588" y="312"/>
                  </a:lnTo>
                  <a:lnTo>
                    <a:pt x="594" y="306"/>
                  </a:lnTo>
                  <a:lnTo>
                    <a:pt x="600" y="306"/>
                  </a:lnTo>
                  <a:lnTo>
                    <a:pt x="612" y="300"/>
                  </a:lnTo>
                  <a:lnTo>
                    <a:pt x="618" y="300"/>
                  </a:lnTo>
                  <a:lnTo>
                    <a:pt x="630" y="300"/>
                  </a:lnTo>
                  <a:lnTo>
                    <a:pt x="642" y="306"/>
                  </a:lnTo>
                  <a:lnTo>
                    <a:pt x="660" y="306"/>
                  </a:lnTo>
                  <a:lnTo>
                    <a:pt x="666" y="306"/>
                  </a:lnTo>
                  <a:lnTo>
                    <a:pt x="672" y="306"/>
                  </a:lnTo>
                  <a:lnTo>
                    <a:pt x="684" y="300"/>
                  </a:lnTo>
                  <a:lnTo>
                    <a:pt x="696" y="294"/>
                  </a:lnTo>
                  <a:lnTo>
                    <a:pt x="702" y="288"/>
                  </a:lnTo>
                  <a:lnTo>
                    <a:pt x="714" y="282"/>
                  </a:lnTo>
                  <a:lnTo>
                    <a:pt x="714" y="288"/>
                  </a:lnTo>
                  <a:lnTo>
                    <a:pt x="726" y="300"/>
                  </a:lnTo>
                  <a:lnTo>
                    <a:pt x="732" y="306"/>
                  </a:lnTo>
                  <a:lnTo>
                    <a:pt x="732" y="318"/>
                  </a:lnTo>
                  <a:lnTo>
                    <a:pt x="732" y="330"/>
                  </a:lnTo>
                  <a:lnTo>
                    <a:pt x="726" y="342"/>
                  </a:lnTo>
                  <a:lnTo>
                    <a:pt x="720" y="354"/>
                  </a:lnTo>
                  <a:lnTo>
                    <a:pt x="720" y="360"/>
                  </a:lnTo>
                  <a:lnTo>
                    <a:pt x="714" y="372"/>
                  </a:lnTo>
                  <a:lnTo>
                    <a:pt x="714" y="378"/>
                  </a:lnTo>
                  <a:lnTo>
                    <a:pt x="714" y="408"/>
                  </a:lnTo>
                  <a:lnTo>
                    <a:pt x="708" y="420"/>
                  </a:lnTo>
                  <a:lnTo>
                    <a:pt x="714" y="432"/>
                  </a:lnTo>
                  <a:lnTo>
                    <a:pt x="708" y="450"/>
                  </a:lnTo>
                  <a:lnTo>
                    <a:pt x="708" y="468"/>
                  </a:lnTo>
                  <a:lnTo>
                    <a:pt x="696" y="480"/>
                  </a:lnTo>
                  <a:lnTo>
                    <a:pt x="684" y="486"/>
                  </a:lnTo>
                  <a:lnTo>
                    <a:pt x="672" y="492"/>
                  </a:lnTo>
                  <a:lnTo>
                    <a:pt x="660" y="498"/>
                  </a:lnTo>
                  <a:lnTo>
                    <a:pt x="654" y="510"/>
                  </a:lnTo>
                  <a:lnTo>
                    <a:pt x="648" y="516"/>
                  </a:lnTo>
                  <a:lnTo>
                    <a:pt x="642" y="522"/>
                  </a:lnTo>
                  <a:lnTo>
                    <a:pt x="630" y="522"/>
                  </a:lnTo>
                  <a:lnTo>
                    <a:pt x="624" y="528"/>
                  </a:lnTo>
                  <a:lnTo>
                    <a:pt x="618" y="540"/>
                  </a:lnTo>
                  <a:lnTo>
                    <a:pt x="618" y="558"/>
                  </a:lnTo>
                  <a:lnTo>
                    <a:pt x="612" y="576"/>
                  </a:lnTo>
                  <a:lnTo>
                    <a:pt x="612" y="684"/>
                  </a:lnTo>
                  <a:lnTo>
                    <a:pt x="618" y="696"/>
                  </a:lnTo>
                  <a:lnTo>
                    <a:pt x="636" y="696"/>
                  </a:lnTo>
                  <a:lnTo>
                    <a:pt x="636" y="720"/>
                  </a:lnTo>
                  <a:lnTo>
                    <a:pt x="636" y="732"/>
                  </a:lnTo>
                  <a:lnTo>
                    <a:pt x="618" y="750"/>
                  </a:lnTo>
                  <a:lnTo>
                    <a:pt x="606" y="762"/>
                  </a:lnTo>
                  <a:lnTo>
                    <a:pt x="600" y="774"/>
                  </a:lnTo>
                  <a:lnTo>
                    <a:pt x="594" y="798"/>
                  </a:lnTo>
                  <a:lnTo>
                    <a:pt x="606" y="798"/>
                  </a:lnTo>
                  <a:lnTo>
                    <a:pt x="660" y="792"/>
                  </a:lnTo>
                  <a:lnTo>
                    <a:pt x="696" y="798"/>
                  </a:lnTo>
                  <a:lnTo>
                    <a:pt x="720" y="798"/>
                  </a:lnTo>
                  <a:lnTo>
                    <a:pt x="720" y="786"/>
                  </a:lnTo>
                  <a:lnTo>
                    <a:pt x="720" y="774"/>
                  </a:lnTo>
                  <a:lnTo>
                    <a:pt x="702" y="762"/>
                  </a:lnTo>
                  <a:lnTo>
                    <a:pt x="702" y="750"/>
                  </a:lnTo>
                  <a:lnTo>
                    <a:pt x="702" y="726"/>
                  </a:lnTo>
                  <a:lnTo>
                    <a:pt x="714" y="714"/>
                  </a:lnTo>
                  <a:lnTo>
                    <a:pt x="720" y="702"/>
                  </a:lnTo>
                  <a:lnTo>
                    <a:pt x="720" y="696"/>
                  </a:lnTo>
                  <a:lnTo>
                    <a:pt x="744" y="690"/>
                  </a:lnTo>
                  <a:lnTo>
                    <a:pt x="744" y="696"/>
                  </a:lnTo>
                  <a:lnTo>
                    <a:pt x="756" y="696"/>
                  </a:lnTo>
                  <a:lnTo>
                    <a:pt x="762" y="690"/>
                  </a:lnTo>
                  <a:lnTo>
                    <a:pt x="768" y="690"/>
                  </a:lnTo>
                  <a:lnTo>
                    <a:pt x="774" y="696"/>
                  </a:lnTo>
                  <a:lnTo>
                    <a:pt x="780" y="696"/>
                  </a:lnTo>
                  <a:lnTo>
                    <a:pt x="786" y="696"/>
                  </a:lnTo>
                  <a:lnTo>
                    <a:pt x="804" y="684"/>
                  </a:lnTo>
                  <a:lnTo>
                    <a:pt x="810" y="684"/>
                  </a:lnTo>
                  <a:lnTo>
                    <a:pt x="810" y="654"/>
                  </a:lnTo>
                  <a:lnTo>
                    <a:pt x="816" y="588"/>
                  </a:lnTo>
                  <a:lnTo>
                    <a:pt x="804" y="582"/>
                  </a:lnTo>
                  <a:lnTo>
                    <a:pt x="798" y="552"/>
                  </a:lnTo>
                  <a:lnTo>
                    <a:pt x="798" y="480"/>
                  </a:lnTo>
                  <a:lnTo>
                    <a:pt x="780" y="468"/>
                  </a:lnTo>
                  <a:lnTo>
                    <a:pt x="780" y="462"/>
                  </a:lnTo>
                  <a:lnTo>
                    <a:pt x="774" y="450"/>
                  </a:lnTo>
                  <a:lnTo>
                    <a:pt x="762" y="444"/>
                  </a:lnTo>
                  <a:lnTo>
                    <a:pt x="762" y="438"/>
                  </a:lnTo>
                  <a:lnTo>
                    <a:pt x="768" y="432"/>
                  </a:lnTo>
                  <a:lnTo>
                    <a:pt x="774" y="426"/>
                  </a:lnTo>
                  <a:lnTo>
                    <a:pt x="780" y="426"/>
                  </a:lnTo>
                  <a:lnTo>
                    <a:pt x="780" y="414"/>
                  </a:lnTo>
                  <a:lnTo>
                    <a:pt x="834" y="414"/>
                  </a:lnTo>
                  <a:lnTo>
                    <a:pt x="834" y="426"/>
                  </a:lnTo>
                  <a:lnTo>
                    <a:pt x="840" y="432"/>
                  </a:lnTo>
                  <a:lnTo>
                    <a:pt x="846" y="432"/>
                  </a:lnTo>
                  <a:lnTo>
                    <a:pt x="852" y="432"/>
                  </a:lnTo>
                  <a:lnTo>
                    <a:pt x="858" y="432"/>
                  </a:lnTo>
                  <a:lnTo>
                    <a:pt x="870" y="432"/>
                  </a:lnTo>
                  <a:lnTo>
                    <a:pt x="870" y="426"/>
                  </a:lnTo>
                  <a:lnTo>
                    <a:pt x="870" y="420"/>
                  </a:lnTo>
                  <a:lnTo>
                    <a:pt x="876" y="420"/>
                  </a:lnTo>
                  <a:lnTo>
                    <a:pt x="882" y="420"/>
                  </a:lnTo>
                  <a:lnTo>
                    <a:pt x="894" y="414"/>
                  </a:lnTo>
                  <a:lnTo>
                    <a:pt x="900" y="414"/>
                  </a:lnTo>
                  <a:lnTo>
                    <a:pt x="906" y="408"/>
                  </a:lnTo>
                  <a:lnTo>
                    <a:pt x="918" y="408"/>
                  </a:lnTo>
                  <a:lnTo>
                    <a:pt x="924" y="402"/>
                  </a:lnTo>
                  <a:lnTo>
                    <a:pt x="930" y="384"/>
                  </a:lnTo>
                  <a:lnTo>
                    <a:pt x="948" y="396"/>
                  </a:lnTo>
                  <a:lnTo>
                    <a:pt x="954" y="384"/>
                  </a:lnTo>
                  <a:lnTo>
                    <a:pt x="960" y="384"/>
                  </a:lnTo>
                  <a:lnTo>
                    <a:pt x="972" y="384"/>
                  </a:lnTo>
                  <a:lnTo>
                    <a:pt x="978" y="378"/>
                  </a:lnTo>
                  <a:lnTo>
                    <a:pt x="972" y="366"/>
                  </a:lnTo>
                  <a:lnTo>
                    <a:pt x="966" y="342"/>
                  </a:lnTo>
                  <a:lnTo>
                    <a:pt x="960" y="330"/>
                  </a:lnTo>
                  <a:lnTo>
                    <a:pt x="942" y="324"/>
                  </a:lnTo>
                  <a:lnTo>
                    <a:pt x="936" y="318"/>
                  </a:lnTo>
                  <a:lnTo>
                    <a:pt x="936" y="294"/>
                  </a:lnTo>
                  <a:lnTo>
                    <a:pt x="942" y="294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282"/>
                  </a:lnTo>
                  <a:lnTo>
                    <a:pt x="954" y="276"/>
                  </a:lnTo>
                  <a:lnTo>
                    <a:pt x="960" y="276"/>
                  </a:lnTo>
                  <a:lnTo>
                    <a:pt x="966" y="276"/>
                  </a:lnTo>
                  <a:lnTo>
                    <a:pt x="960" y="258"/>
                  </a:lnTo>
                  <a:lnTo>
                    <a:pt x="954" y="240"/>
                  </a:lnTo>
                  <a:lnTo>
                    <a:pt x="948" y="204"/>
                  </a:lnTo>
                  <a:lnTo>
                    <a:pt x="954" y="204"/>
                  </a:lnTo>
                  <a:lnTo>
                    <a:pt x="960" y="198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00" y="186"/>
                  </a:lnTo>
                  <a:lnTo>
                    <a:pt x="876" y="180"/>
                  </a:lnTo>
                  <a:lnTo>
                    <a:pt x="858" y="180"/>
                  </a:lnTo>
                  <a:lnTo>
                    <a:pt x="852" y="168"/>
                  </a:lnTo>
                  <a:lnTo>
                    <a:pt x="834" y="156"/>
                  </a:lnTo>
                  <a:lnTo>
                    <a:pt x="822" y="156"/>
                  </a:lnTo>
                  <a:lnTo>
                    <a:pt x="804" y="156"/>
                  </a:lnTo>
                  <a:lnTo>
                    <a:pt x="804" y="150"/>
                  </a:lnTo>
                  <a:lnTo>
                    <a:pt x="792" y="144"/>
                  </a:lnTo>
                  <a:lnTo>
                    <a:pt x="762" y="138"/>
                  </a:lnTo>
                  <a:lnTo>
                    <a:pt x="768" y="120"/>
                  </a:lnTo>
                  <a:lnTo>
                    <a:pt x="756" y="120"/>
                  </a:lnTo>
                  <a:lnTo>
                    <a:pt x="744" y="108"/>
                  </a:lnTo>
                  <a:lnTo>
                    <a:pt x="744" y="96"/>
                  </a:lnTo>
                  <a:lnTo>
                    <a:pt x="762" y="84"/>
                  </a:lnTo>
                  <a:lnTo>
                    <a:pt x="768" y="84"/>
                  </a:lnTo>
                  <a:lnTo>
                    <a:pt x="768" y="72"/>
                  </a:lnTo>
                  <a:lnTo>
                    <a:pt x="780" y="66"/>
                  </a:lnTo>
                  <a:lnTo>
                    <a:pt x="798" y="54"/>
                  </a:lnTo>
                  <a:lnTo>
                    <a:pt x="792" y="54"/>
                  </a:lnTo>
                  <a:lnTo>
                    <a:pt x="798" y="36"/>
                  </a:lnTo>
                  <a:lnTo>
                    <a:pt x="804" y="36"/>
                  </a:lnTo>
                  <a:lnTo>
                    <a:pt x="816" y="30"/>
                  </a:lnTo>
                  <a:lnTo>
                    <a:pt x="828" y="30"/>
                  </a:lnTo>
                  <a:lnTo>
                    <a:pt x="846" y="12"/>
                  </a:lnTo>
                  <a:lnTo>
                    <a:pt x="876" y="0"/>
                  </a:lnTo>
                  <a:lnTo>
                    <a:pt x="882" y="6"/>
                  </a:lnTo>
                  <a:lnTo>
                    <a:pt x="900" y="6"/>
                  </a:lnTo>
                  <a:lnTo>
                    <a:pt x="912" y="36"/>
                  </a:lnTo>
                  <a:lnTo>
                    <a:pt x="918" y="42"/>
                  </a:lnTo>
                  <a:lnTo>
                    <a:pt x="924" y="54"/>
                  </a:lnTo>
                  <a:lnTo>
                    <a:pt x="930" y="54"/>
                  </a:lnTo>
                  <a:lnTo>
                    <a:pt x="930" y="78"/>
                  </a:lnTo>
                  <a:lnTo>
                    <a:pt x="954" y="72"/>
                  </a:lnTo>
                  <a:lnTo>
                    <a:pt x="954" y="60"/>
                  </a:lnTo>
                  <a:lnTo>
                    <a:pt x="966" y="66"/>
                  </a:lnTo>
                  <a:lnTo>
                    <a:pt x="966" y="78"/>
                  </a:lnTo>
                  <a:lnTo>
                    <a:pt x="960" y="84"/>
                  </a:lnTo>
                  <a:lnTo>
                    <a:pt x="954" y="102"/>
                  </a:lnTo>
                  <a:lnTo>
                    <a:pt x="972" y="102"/>
                  </a:lnTo>
                  <a:lnTo>
                    <a:pt x="978" y="84"/>
                  </a:lnTo>
                  <a:lnTo>
                    <a:pt x="984" y="72"/>
                  </a:lnTo>
                  <a:lnTo>
                    <a:pt x="990" y="72"/>
                  </a:lnTo>
                  <a:lnTo>
                    <a:pt x="996" y="18"/>
                  </a:lnTo>
                  <a:lnTo>
                    <a:pt x="990" y="12"/>
                  </a:lnTo>
                  <a:lnTo>
                    <a:pt x="1014" y="12"/>
                  </a:lnTo>
                  <a:lnTo>
                    <a:pt x="1026" y="12"/>
                  </a:lnTo>
                  <a:lnTo>
                    <a:pt x="1026" y="24"/>
                  </a:lnTo>
                  <a:lnTo>
                    <a:pt x="1050" y="24"/>
                  </a:lnTo>
                  <a:lnTo>
                    <a:pt x="1050" y="36"/>
                  </a:lnTo>
                  <a:lnTo>
                    <a:pt x="1062" y="66"/>
                  </a:lnTo>
                  <a:lnTo>
                    <a:pt x="1074" y="66"/>
                  </a:lnTo>
                  <a:lnTo>
                    <a:pt x="1080" y="60"/>
                  </a:lnTo>
                  <a:lnTo>
                    <a:pt x="1074" y="24"/>
                  </a:lnTo>
                  <a:lnTo>
                    <a:pt x="1086" y="18"/>
                  </a:lnTo>
                  <a:lnTo>
                    <a:pt x="1086" y="12"/>
                  </a:lnTo>
                  <a:lnTo>
                    <a:pt x="1104" y="6"/>
                  </a:lnTo>
                  <a:lnTo>
                    <a:pt x="1122" y="0"/>
                  </a:lnTo>
                  <a:lnTo>
                    <a:pt x="1134" y="6"/>
                  </a:lnTo>
                  <a:lnTo>
                    <a:pt x="1134" y="42"/>
                  </a:lnTo>
                  <a:lnTo>
                    <a:pt x="1140" y="72"/>
                  </a:lnTo>
                  <a:lnTo>
                    <a:pt x="1158" y="114"/>
                  </a:lnTo>
                  <a:lnTo>
                    <a:pt x="1170" y="114"/>
                  </a:lnTo>
                  <a:lnTo>
                    <a:pt x="1170" y="126"/>
                  </a:lnTo>
                  <a:lnTo>
                    <a:pt x="1182" y="126"/>
                  </a:lnTo>
                  <a:lnTo>
                    <a:pt x="1182" y="138"/>
                  </a:lnTo>
                  <a:lnTo>
                    <a:pt x="1194" y="144"/>
                  </a:lnTo>
                  <a:lnTo>
                    <a:pt x="1194" y="156"/>
                  </a:lnTo>
                  <a:lnTo>
                    <a:pt x="1188" y="156"/>
                  </a:lnTo>
                  <a:lnTo>
                    <a:pt x="1194" y="162"/>
                  </a:lnTo>
                  <a:lnTo>
                    <a:pt x="1194" y="168"/>
                  </a:lnTo>
                  <a:lnTo>
                    <a:pt x="1188" y="168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82" y="180"/>
                  </a:lnTo>
                  <a:lnTo>
                    <a:pt x="1188" y="186"/>
                  </a:lnTo>
                  <a:lnTo>
                    <a:pt x="1188" y="192"/>
                  </a:lnTo>
                  <a:lnTo>
                    <a:pt x="1182" y="198"/>
                  </a:lnTo>
                  <a:lnTo>
                    <a:pt x="1182" y="204"/>
                  </a:lnTo>
                  <a:lnTo>
                    <a:pt x="1182" y="210"/>
                  </a:lnTo>
                  <a:lnTo>
                    <a:pt x="1188" y="210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2"/>
                  </a:lnTo>
                  <a:lnTo>
                    <a:pt x="1194" y="264"/>
                  </a:lnTo>
                  <a:lnTo>
                    <a:pt x="1200" y="264"/>
                  </a:lnTo>
                  <a:lnTo>
                    <a:pt x="1212" y="264"/>
                  </a:lnTo>
                  <a:lnTo>
                    <a:pt x="1212" y="258"/>
                  </a:lnTo>
                  <a:lnTo>
                    <a:pt x="1224" y="258"/>
                  </a:lnTo>
                  <a:lnTo>
                    <a:pt x="1248" y="252"/>
                  </a:lnTo>
                  <a:lnTo>
                    <a:pt x="1248" y="264"/>
                  </a:lnTo>
                  <a:lnTo>
                    <a:pt x="1254" y="264"/>
                  </a:lnTo>
                  <a:lnTo>
                    <a:pt x="1254" y="270"/>
                  </a:lnTo>
                  <a:lnTo>
                    <a:pt x="1260" y="270"/>
                  </a:lnTo>
                  <a:lnTo>
                    <a:pt x="1266" y="270"/>
                  </a:lnTo>
                  <a:lnTo>
                    <a:pt x="1272" y="270"/>
                  </a:lnTo>
                  <a:lnTo>
                    <a:pt x="1272" y="264"/>
                  </a:lnTo>
                  <a:lnTo>
                    <a:pt x="1272" y="258"/>
                  </a:lnTo>
                  <a:lnTo>
                    <a:pt x="1278" y="258"/>
                  </a:lnTo>
                  <a:lnTo>
                    <a:pt x="1278" y="252"/>
                  </a:lnTo>
                  <a:lnTo>
                    <a:pt x="1290" y="252"/>
                  </a:lnTo>
                  <a:lnTo>
                    <a:pt x="1296" y="246"/>
                  </a:lnTo>
                  <a:lnTo>
                    <a:pt x="1308" y="246"/>
                  </a:lnTo>
                  <a:lnTo>
                    <a:pt x="1308" y="240"/>
                  </a:lnTo>
                  <a:lnTo>
                    <a:pt x="1320" y="240"/>
                  </a:lnTo>
                  <a:lnTo>
                    <a:pt x="1326" y="246"/>
                  </a:lnTo>
                  <a:lnTo>
                    <a:pt x="1338" y="246"/>
                  </a:lnTo>
                  <a:lnTo>
                    <a:pt x="1338" y="240"/>
                  </a:lnTo>
                  <a:lnTo>
                    <a:pt x="1350" y="240"/>
                  </a:lnTo>
                  <a:lnTo>
                    <a:pt x="1386" y="234"/>
                  </a:lnTo>
                  <a:lnTo>
                    <a:pt x="1398" y="228"/>
                  </a:lnTo>
                  <a:lnTo>
                    <a:pt x="1404" y="216"/>
                  </a:lnTo>
                  <a:lnTo>
                    <a:pt x="1416" y="204"/>
                  </a:lnTo>
                  <a:lnTo>
                    <a:pt x="1434" y="192"/>
                  </a:lnTo>
                  <a:lnTo>
                    <a:pt x="1446" y="198"/>
                  </a:lnTo>
                  <a:lnTo>
                    <a:pt x="1446" y="204"/>
                  </a:lnTo>
                  <a:lnTo>
                    <a:pt x="1452" y="210"/>
                  </a:lnTo>
                  <a:lnTo>
                    <a:pt x="1464" y="222"/>
                  </a:lnTo>
                  <a:lnTo>
                    <a:pt x="1464" y="228"/>
                  </a:lnTo>
                  <a:lnTo>
                    <a:pt x="1464" y="234"/>
                  </a:lnTo>
                  <a:lnTo>
                    <a:pt x="1470" y="240"/>
                  </a:lnTo>
                  <a:lnTo>
                    <a:pt x="1476" y="228"/>
                  </a:lnTo>
                  <a:lnTo>
                    <a:pt x="1476" y="222"/>
                  </a:lnTo>
                  <a:lnTo>
                    <a:pt x="1482" y="210"/>
                  </a:lnTo>
                  <a:lnTo>
                    <a:pt x="1488" y="192"/>
                  </a:lnTo>
                  <a:lnTo>
                    <a:pt x="1488" y="186"/>
                  </a:lnTo>
                  <a:lnTo>
                    <a:pt x="1488" y="180"/>
                  </a:lnTo>
                  <a:lnTo>
                    <a:pt x="1500" y="180"/>
                  </a:lnTo>
                  <a:lnTo>
                    <a:pt x="1500" y="174"/>
                  </a:lnTo>
                  <a:lnTo>
                    <a:pt x="1518" y="162"/>
                  </a:lnTo>
                  <a:lnTo>
                    <a:pt x="1536" y="150"/>
                  </a:lnTo>
                  <a:lnTo>
                    <a:pt x="1554" y="168"/>
                  </a:lnTo>
                  <a:lnTo>
                    <a:pt x="1572" y="180"/>
                  </a:lnTo>
                  <a:lnTo>
                    <a:pt x="1596" y="216"/>
                  </a:lnTo>
                  <a:lnTo>
                    <a:pt x="1602" y="216"/>
                  </a:lnTo>
                  <a:lnTo>
                    <a:pt x="1614" y="228"/>
                  </a:lnTo>
                  <a:lnTo>
                    <a:pt x="1614" y="234"/>
                  </a:lnTo>
                  <a:lnTo>
                    <a:pt x="1620" y="240"/>
                  </a:lnTo>
                  <a:lnTo>
                    <a:pt x="1620" y="246"/>
                  </a:lnTo>
                  <a:lnTo>
                    <a:pt x="1626" y="252"/>
                  </a:lnTo>
                  <a:lnTo>
                    <a:pt x="1632" y="258"/>
                  </a:lnTo>
                  <a:lnTo>
                    <a:pt x="1632" y="264"/>
                  </a:lnTo>
                  <a:lnTo>
                    <a:pt x="1638" y="264"/>
                  </a:lnTo>
                  <a:lnTo>
                    <a:pt x="1638" y="270"/>
                  </a:lnTo>
                  <a:lnTo>
                    <a:pt x="1638" y="276"/>
                  </a:lnTo>
                  <a:lnTo>
                    <a:pt x="1638" y="282"/>
                  </a:lnTo>
                  <a:lnTo>
                    <a:pt x="1644" y="288"/>
                  </a:lnTo>
                  <a:lnTo>
                    <a:pt x="1644" y="294"/>
                  </a:lnTo>
                  <a:lnTo>
                    <a:pt x="1644" y="300"/>
                  </a:lnTo>
                  <a:lnTo>
                    <a:pt x="1644" y="306"/>
                  </a:lnTo>
                  <a:lnTo>
                    <a:pt x="1650" y="306"/>
                  </a:lnTo>
                  <a:lnTo>
                    <a:pt x="1650" y="312"/>
                  </a:lnTo>
                  <a:lnTo>
                    <a:pt x="1650" y="318"/>
                  </a:lnTo>
                  <a:lnTo>
                    <a:pt x="1650" y="324"/>
                  </a:lnTo>
                  <a:lnTo>
                    <a:pt x="1644" y="330"/>
                  </a:lnTo>
                  <a:lnTo>
                    <a:pt x="1626" y="330"/>
                  </a:lnTo>
                  <a:lnTo>
                    <a:pt x="1626" y="336"/>
                  </a:lnTo>
                  <a:lnTo>
                    <a:pt x="1626" y="342"/>
                  </a:lnTo>
                  <a:lnTo>
                    <a:pt x="1626" y="348"/>
                  </a:lnTo>
                  <a:lnTo>
                    <a:pt x="1620" y="354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14" y="390"/>
                  </a:lnTo>
                  <a:lnTo>
                    <a:pt x="1614" y="396"/>
                  </a:lnTo>
                  <a:lnTo>
                    <a:pt x="1614" y="402"/>
                  </a:lnTo>
                  <a:lnTo>
                    <a:pt x="1614" y="408"/>
                  </a:lnTo>
                  <a:lnTo>
                    <a:pt x="1614" y="414"/>
                  </a:lnTo>
                  <a:lnTo>
                    <a:pt x="1602" y="420"/>
                  </a:lnTo>
                  <a:lnTo>
                    <a:pt x="1602" y="426"/>
                  </a:lnTo>
                  <a:lnTo>
                    <a:pt x="1608" y="432"/>
                  </a:lnTo>
                  <a:lnTo>
                    <a:pt x="1614" y="426"/>
                  </a:lnTo>
                  <a:lnTo>
                    <a:pt x="1620" y="438"/>
                  </a:lnTo>
                  <a:lnTo>
                    <a:pt x="1626" y="438"/>
                  </a:lnTo>
                  <a:lnTo>
                    <a:pt x="1632" y="444"/>
                  </a:lnTo>
                  <a:lnTo>
                    <a:pt x="1626" y="456"/>
                  </a:lnTo>
                  <a:lnTo>
                    <a:pt x="1626" y="468"/>
                  </a:lnTo>
                  <a:lnTo>
                    <a:pt x="1620" y="474"/>
                  </a:lnTo>
                  <a:lnTo>
                    <a:pt x="1614" y="474"/>
                  </a:lnTo>
                  <a:lnTo>
                    <a:pt x="1614" y="486"/>
                  </a:lnTo>
                  <a:lnTo>
                    <a:pt x="1614" y="492"/>
                  </a:lnTo>
                  <a:lnTo>
                    <a:pt x="1620" y="492"/>
                  </a:lnTo>
                  <a:lnTo>
                    <a:pt x="1626" y="498"/>
                  </a:lnTo>
                  <a:lnTo>
                    <a:pt x="1626" y="504"/>
                  </a:lnTo>
                  <a:lnTo>
                    <a:pt x="1626" y="510"/>
                  </a:lnTo>
                  <a:lnTo>
                    <a:pt x="1620" y="516"/>
                  </a:lnTo>
                  <a:lnTo>
                    <a:pt x="1620" y="522"/>
                  </a:lnTo>
                  <a:lnTo>
                    <a:pt x="1614" y="522"/>
                  </a:lnTo>
                  <a:lnTo>
                    <a:pt x="1608" y="528"/>
                  </a:lnTo>
                  <a:lnTo>
                    <a:pt x="1602" y="522"/>
                  </a:lnTo>
                  <a:lnTo>
                    <a:pt x="1602" y="528"/>
                  </a:lnTo>
                  <a:lnTo>
                    <a:pt x="1602" y="540"/>
                  </a:lnTo>
                  <a:lnTo>
                    <a:pt x="1602" y="558"/>
                  </a:lnTo>
                  <a:lnTo>
                    <a:pt x="1602" y="564"/>
                  </a:lnTo>
                  <a:lnTo>
                    <a:pt x="1602" y="570"/>
                  </a:lnTo>
                  <a:lnTo>
                    <a:pt x="1602" y="576"/>
                  </a:lnTo>
                  <a:lnTo>
                    <a:pt x="1596" y="576"/>
                  </a:lnTo>
                  <a:lnTo>
                    <a:pt x="1632" y="582"/>
                  </a:lnTo>
                  <a:lnTo>
                    <a:pt x="1644" y="618"/>
                  </a:lnTo>
                  <a:lnTo>
                    <a:pt x="1650" y="648"/>
                  </a:lnTo>
                  <a:lnTo>
                    <a:pt x="1662" y="636"/>
                  </a:lnTo>
                  <a:lnTo>
                    <a:pt x="1668" y="636"/>
                  </a:lnTo>
                  <a:lnTo>
                    <a:pt x="1674" y="636"/>
                  </a:lnTo>
                  <a:lnTo>
                    <a:pt x="1680" y="630"/>
                  </a:lnTo>
                  <a:lnTo>
                    <a:pt x="1686" y="630"/>
                  </a:lnTo>
                  <a:lnTo>
                    <a:pt x="1692" y="630"/>
                  </a:lnTo>
                  <a:lnTo>
                    <a:pt x="1698" y="630"/>
                  </a:lnTo>
                  <a:lnTo>
                    <a:pt x="1704" y="630"/>
                  </a:lnTo>
                  <a:lnTo>
                    <a:pt x="1704" y="624"/>
                  </a:lnTo>
                  <a:lnTo>
                    <a:pt x="1710" y="624"/>
                  </a:lnTo>
                  <a:lnTo>
                    <a:pt x="1716" y="624"/>
                  </a:lnTo>
                  <a:lnTo>
                    <a:pt x="1722" y="624"/>
                  </a:lnTo>
                  <a:lnTo>
                    <a:pt x="1728" y="624"/>
                  </a:lnTo>
                  <a:lnTo>
                    <a:pt x="1722" y="618"/>
                  </a:lnTo>
                  <a:lnTo>
                    <a:pt x="1728" y="606"/>
                  </a:lnTo>
                  <a:lnTo>
                    <a:pt x="1734" y="606"/>
                  </a:lnTo>
                  <a:lnTo>
                    <a:pt x="1740" y="600"/>
                  </a:lnTo>
                  <a:lnTo>
                    <a:pt x="1746" y="594"/>
                  </a:lnTo>
                  <a:lnTo>
                    <a:pt x="1752" y="588"/>
                  </a:lnTo>
                  <a:lnTo>
                    <a:pt x="1752" y="582"/>
                  </a:lnTo>
                  <a:lnTo>
                    <a:pt x="1758" y="576"/>
                  </a:lnTo>
                  <a:lnTo>
                    <a:pt x="1764" y="576"/>
                  </a:lnTo>
                  <a:lnTo>
                    <a:pt x="1770" y="570"/>
                  </a:lnTo>
                  <a:lnTo>
                    <a:pt x="1776" y="564"/>
                  </a:lnTo>
                  <a:lnTo>
                    <a:pt x="1788" y="558"/>
                  </a:lnTo>
                  <a:lnTo>
                    <a:pt x="1788" y="546"/>
                  </a:lnTo>
                  <a:lnTo>
                    <a:pt x="1788" y="540"/>
                  </a:lnTo>
                  <a:lnTo>
                    <a:pt x="1794" y="540"/>
                  </a:lnTo>
                  <a:lnTo>
                    <a:pt x="1788" y="534"/>
                  </a:lnTo>
                  <a:lnTo>
                    <a:pt x="1788" y="528"/>
                  </a:lnTo>
                  <a:lnTo>
                    <a:pt x="1794" y="516"/>
                  </a:lnTo>
                  <a:lnTo>
                    <a:pt x="1800" y="510"/>
                  </a:lnTo>
                  <a:lnTo>
                    <a:pt x="1812" y="510"/>
                  </a:lnTo>
                  <a:lnTo>
                    <a:pt x="1818" y="504"/>
                  </a:lnTo>
                  <a:lnTo>
                    <a:pt x="1824" y="504"/>
                  </a:lnTo>
                  <a:lnTo>
                    <a:pt x="1830" y="498"/>
                  </a:lnTo>
                  <a:lnTo>
                    <a:pt x="1836" y="498"/>
                  </a:lnTo>
                  <a:lnTo>
                    <a:pt x="1848" y="492"/>
                  </a:lnTo>
                  <a:lnTo>
                    <a:pt x="1848" y="480"/>
                  </a:lnTo>
                  <a:lnTo>
                    <a:pt x="1854" y="480"/>
                  </a:lnTo>
                  <a:lnTo>
                    <a:pt x="1890" y="504"/>
                  </a:lnTo>
                  <a:lnTo>
                    <a:pt x="1908" y="534"/>
                  </a:lnTo>
                  <a:lnTo>
                    <a:pt x="1902" y="534"/>
                  </a:lnTo>
                  <a:lnTo>
                    <a:pt x="1920" y="528"/>
                  </a:lnTo>
                  <a:lnTo>
                    <a:pt x="1920" y="516"/>
                  </a:lnTo>
                  <a:lnTo>
                    <a:pt x="1944" y="516"/>
                  </a:lnTo>
                  <a:lnTo>
                    <a:pt x="2004" y="516"/>
                  </a:lnTo>
                  <a:lnTo>
                    <a:pt x="2010" y="510"/>
                  </a:lnTo>
                  <a:lnTo>
                    <a:pt x="2004" y="510"/>
                  </a:lnTo>
                  <a:lnTo>
                    <a:pt x="2010" y="498"/>
                  </a:lnTo>
                  <a:lnTo>
                    <a:pt x="2004" y="486"/>
                  </a:lnTo>
                  <a:lnTo>
                    <a:pt x="2004" y="480"/>
                  </a:lnTo>
                  <a:lnTo>
                    <a:pt x="2004" y="474"/>
                  </a:lnTo>
                  <a:lnTo>
                    <a:pt x="2004" y="462"/>
                  </a:lnTo>
                  <a:lnTo>
                    <a:pt x="2004" y="456"/>
                  </a:lnTo>
                  <a:lnTo>
                    <a:pt x="2058" y="462"/>
                  </a:lnTo>
                  <a:lnTo>
                    <a:pt x="2076" y="474"/>
                  </a:lnTo>
                  <a:lnTo>
                    <a:pt x="2082" y="522"/>
                  </a:lnTo>
                  <a:lnTo>
                    <a:pt x="2088" y="516"/>
                  </a:lnTo>
                  <a:lnTo>
                    <a:pt x="2094" y="522"/>
                  </a:lnTo>
                  <a:lnTo>
                    <a:pt x="2100" y="528"/>
                  </a:lnTo>
                  <a:lnTo>
                    <a:pt x="2130" y="540"/>
                  </a:lnTo>
                  <a:lnTo>
                    <a:pt x="2160" y="564"/>
                  </a:lnTo>
                  <a:lnTo>
                    <a:pt x="2166" y="600"/>
                  </a:lnTo>
                  <a:lnTo>
                    <a:pt x="2160" y="618"/>
                  </a:lnTo>
                  <a:lnTo>
                    <a:pt x="2142" y="636"/>
                  </a:lnTo>
                  <a:lnTo>
                    <a:pt x="2148" y="648"/>
                  </a:lnTo>
                  <a:lnTo>
                    <a:pt x="2154" y="660"/>
                  </a:lnTo>
                  <a:lnTo>
                    <a:pt x="2196" y="654"/>
                  </a:lnTo>
                  <a:lnTo>
                    <a:pt x="2214" y="660"/>
                  </a:lnTo>
                  <a:lnTo>
                    <a:pt x="2214" y="666"/>
                  </a:lnTo>
                  <a:lnTo>
                    <a:pt x="2220" y="672"/>
                  </a:lnTo>
                  <a:lnTo>
                    <a:pt x="2214" y="678"/>
                  </a:lnTo>
                  <a:lnTo>
                    <a:pt x="2214" y="684"/>
                  </a:lnTo>
                  <a:lnTo>
                    <a:pt x="2214" y="690"/>
                  </a:lnTo>
                  <a:lnTo>
                    <a:pt x="2208" y="690"/>
                  </a:lnTo>
                  <a:lnTo>
                    <a:pt x="2202" y="696"/>
                  </a:lnTo>
                  <a:lnTo>
                    <a:pt x="2196" y="702"/>
                  </a:lnTo>
                  <a:lnTo>
                    <a:pt x="2190" y="708"/>
                  </a:lnTo>
                  <a:lnTo>
                    <a:pt x="2190" y="720"/>
                  </a:lnTo>
                  <a:lnTo>
                    <a:pt x="2184" y="720"/>
                  </a:lnTo>
                  <a:lnTo>
                    <a:pt x="2178" y="726"/>
                  </a:lnTo>
                  <a:lnTo>
                    <a:pt x="2166" y="732"/>
                  </a:lnTo>
                  <a:lnTo>
                    <a:pt x="2160" y="744"/>
                  </a:lnTo>
                  <a:lnTo>
                    <a:pt x="2154" y="756"/>
                  </a:lnTo>
                  <a:lnTo>
                    <a:pt x="2148" y="762"/>
                  </a:lnTo>
                  <a:lnTo>
                    <a:pt x="2124" y="762"/>
                  </a:lnTo>
                  <a:lnTo>
                    <a:pt x="2124" y="768"/>
                  </a:lnTo>
                  <a:lnTo>
                    <a:pt x="2118" y="768"/>
                  </a:lnTo>
                  <a:lnTo>
                    <a:pt x="2124" y="774"/>
                  </a:lnTo>
                  <a:lnTo>
                    <a:pt x="2118" y="774"/>
                  </a:lnTo>
                  <a:lnTo>
                    <a:pt x="2112" y="774"/>
                  </a:lnTo>
                  <a:lnTo>
                    <a:pt x="2106" y="780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06" y="798"/>
                  </a:lnTo>
                  <a:lnTo>
                    <a:pt x="2106" y="810"/>
                  </a:lnTo>
                  <a:lnTo>
                    <a:pt x="2112" y="828"/>
                  </a:lnTo>
                  <a:lnTo>
                    <a:pt x="2112" y="834"/>
                  </a:lnTo>
                  <a:lnTo>
                    <a:pt x="2112" y="840"/>
                  </a:lnTo>
                  <a:lnTo>
                    <a:pt x="2112" y="834"/>
                  </a:lnTo>
                  <a:lnTo>
                    <a:pt x="2124" y="834"/>
                  </a:lnTo>
                  <a:lnTo>
                    <a:pt x="2130" y="834"/>
                  </a:lnTo>
                  <a:lnTo>
                    <a:pt x="2136" y="840"/>
                  </a:lnTo>
                  <a:lnTo>
                    <a:pt x="2142" y="840"/>
                  </a:lnTo>
                  <a:lnTo>
                    <a:pt x="2154" y="852"/>
                  </a:lnTo>
                  <a:lnTo>
                    <a:pt x="2160" y="852"/>
                  </a:lnTo>
                  <a:lnTo>
                    <a:pt x="2172" y="846"/>
                  </a:lnTo>
                  <a:lnTo>
                    <a:pt x="2178" y="846"/>
                  </a:lnTo>
                  <a:lnTo>
                    <a:pt x="2184" y="846"/>
                  </a:lnTo>
                  <a:lnTo>
                    <a:pt x="2190" y="846"/>
                  </a:lnTo>
                  <a:lnTo>
                    <a:pt x="2196" y="852"/>
                  </a:lnTo>
                  <a:lnTo>
                    <a:pt x="2196" y="858"/>
                  </a:lnTo>
                  <a:lnTo>
                    <a:pt x="2202" y="852"/>
                  </a:lnTo>
                  <a:lnTo>
                    <a:pt x="2208" y="846"/>
                  </a:lnTo>
                  <a:lnTo>
                    <a:pt x="2214" y="846"/>
                  </a:lnTo>
                  <a:lnTo>
                    <a:pt x="2226" y="846"/>
                  </a:lnTo>
                  <a:lnTo>
                    <a:pt x="2232" y="852"/>
                  </a:lnTo>
                  <a:lnTo>
                    <a:pt x="2238" y="852"/>
                  </a:lnTo>
                  <a:lnTo>
                    <a:pt x="2244" y="858"/>
                  </a:lnTo>
                  <a:lnTo>
                    <a:pt x="2250" y="858"/>
                  </a:lnTo>
                  <a:lnTo>
                    <a:pt x="2256" y="858"/>
                  </a:lnTo>
                  <a:lnTo>
                    <a:pt x="2262" y="858"/>
                  </a:lnTo>
                  <a:lnTo>
                    <a:pt x="2268" y="852"/>
                  </a:lnTo>
                  <a:lnTo>
                    <a:pt x="2274" y="852"/>
                  </a:lnTo>
                  <a:lnTo>
                    <a:pt x="2280" y="852"/>
                  </a:lnTo>
                  <a:lnTo>
                    <a:pt x="2286" y="852"/>
                  </a:lnTo>
                  <a:lnTo>
                    <a:pt x="2298" y="858"/>
                  </a:lnTo>
                  <a:lnTo>
                    <a:pt x="2304" y="858"/>
                  </a:lnTo>
                  <a:lnTo>
                    <a:pt x="2310" y="858"/>
                  </a:lnTo>
                  <a:lnTo>
                    <a:pt x="2316" y="852"/>
                  </a:lnTo>
                  <a:lnTo>
                    <a:pt x="2322" y="858"/>
                  </a:lnTo>
                  <a:lnTo>
                    <a:pt x="2328" y="858"/>
                  </a:lnTo>
                  <a:lnTo>
                    <a:pt x="2328" y="852"/>
                  </a:lnTo>
                  <a:lnTo>
                    <a:pt x="2364" y="858"/>
                  </a:lnTo>
                  <a:lnTo>
                    <a:pt x="2376" y="876"/>
                  </a:lnTo>
                  <a:lnTo>
                    <a:pt x="2382" y="936"/>
                  </a:lnTo>
                  <a:lnTo>
                    <a:pt x="2388" y="966"/>
                  </a:lnTo>
                  <a:lnTo>
                    <a:pt x="2382" y="972"/>
                  </a:lnTo>
                  <a:lnTo>
                    <a:pt x="2382" y="978"/>
                  </a:lnTo>
                  <a:lnTo>
                    <a:pt x="2382" y="984"/>
                  </a:lnTo>
                  <a:lnTo>
                    <a:pt x="2388" y="990"/>
                  </a:lnTo>
                  <a:lnTo>
                    <a:pt x="2382" y="990"/>
                  </a:lnTo>
                  <a:lnTo>
                    <a:pt x="2382" y="996"/>
                  </a:lnTo>
                  <a:lnTo>
                    <a:pt x="2376" y="996"/>
                  </a:lnTo>
                  <a:lnTo>
                    <a:pt x="2376" y="1020"/>
                  </a:lnTo>
                  <a:lnTo>
                    <a:pt x="2370" y="1032"/>
                  </a:lnTo>
                  <a:lnTo>
                    <a:pt x="2352" y="1032"/>
                  </a:lnTo>
                  <a:lnTo>
                    <a:pt x="2346" y="1020"/>
                  </a:lnTo>
                  <a:lnTo>
                    <a:pt x="2328" y="1032"/>
                  </a:lnTo>
                  <a:lnTo>
                    <a:pt x="2316" y="1038"/>
                  </a:lnTo>
                  <a:lnTo>
                    <a:pt x="2328" y="1044"/>
                  </a:lnTo>
                  <a:lnTo>
                    <a:pt x="2340" y="1056"/>
                  </a:lnTo>
                  <a:lnTo>
                    <a:pt x="2376" y="1062"/>
                  </a:lnTo>
                  <a:lnTo>
                    <a:pt x="2376" y="1068"/>
                  </a:lnTo>
                  <a:lnTo>
                    <a:pt x="2382" y="1086"/>
                  </a:lnTo>
                  <a:lnTo>
                    <a:pt x="2376" y="1086"/>
                  </a:lnTo>
                  <a:lnTo>
                    <a:pt x="2370" y="1086"/>
                  </a:lnTo>
                  <a:lnTo>
                    <a:pt x="2364" y="1086"/>
                  </a:lnTo>
                  <a:lnTo>
                    <a:pt x="2364" y="1098"/>
                  </a:lnTo>
                  <a:lnTo>
                    <a:pt x="2388" y="1104"/>
                  </a:lnTo>
                  <a:lnTo>
                    <a:pt x="2400" y="1122"/>
                  </a:lnTo>
                  <a:lnTo>
                    <a:pt x="2400" y="1134"/>
                  </a:lnTo>
                  <a:lnTo>
                    <a:pt x="2400" y="1146"/>
                  </a:lnTo>
                  <a:lnTo>
                    <a:pt x="2394" y="1146"/>
                  </a:lnTo>
                  <a:lnTo>
                    <a:pt x="2394" y="1152"/>
                  </a:lnTo>
                  <a:lnTo>
                    <a:pt x="2388" y="1152"/>
                  </a:lnTo>
                  <a:lnTo>
                    <a:pt x="2388" y="1146"/>
                  </a:lnTo>
                  <a:lnTo>
                    <a:pt x="2382" y="1152"/>
                  </a:lnTo>
                  <a:lnTo>
                    <a:pt x="2376" y="1152"/>
                  </a:lnTo>
                  <a:lnTo>
                    <a:pt x="2370" y="1158"/>
                  </a:lnTo>
                  <a:lnTo>
                    <a:pt x="2370" y="1164"/>
                  </a:lnTo>
                  <a:lnTo>
                    <a:pt x="2364" y="1170"/>
                  </a:lnTo>
                  <a:lnTo>
                    <a:pt x="2370" y="1170"/>
                  </a:lnTo>
                  <a:lnTo>
                    <a:pt x="2376" y="1170"/>
                  </a:lnTo>
                  <a:lnTo>
                    <a:pt x="2370" y="1176"/>
                  </a:lnTo>
                  <a:lnTo>
                    <a:pt x="2364" y="1176"/>
                  </a:lnTo>
                  <a:lnTo>
                    <a:pt x="2358" y="1182"/>
                  </a:lnTo>
                  <a:lnTo>
                    <a:pt x="2352" y="1182"/>
                  </a:lnTo>
                  <a:lnTo>
                    <a:pt x="2346" y="1188"/>
                  </a:lnTo>
                  <a:lnTo>
                    <a:pt x="2340" y="1182"/>
                  </a:lnTo>
                  <a:lnTo>
                    <a:pt x="2334" y="1182"/>
                  </a:lnTo>
                  <a:lnTo>
                    <a:pt x="2334" y="1188"/>
                  </a:lnTo>
                  <a:lnTo>
                    <a:pt x="2328" y="1194"/>
                  </a:lnTo>
                  <a:lnTo>
                    <a:pt x="2328" y="1200"/>
                  </a:lnTo>
                  <a:lnTo>
                    <a:pt x="2322" y="1224"/>
                  </a:lnTo>
                  <a:lnTo>
                    <a:pt x="2328" y="1230"/>
                  </a:lnTo>
                  <a:lnTo>
                    <a:pt x="2358" y="1230"/>
                  </a:lnTo>
                  <a:lnTo>
                    <a:pt x="2358" y="1242"/>
                  </a:lnTo>
                  <a:lnTo>
                    <a:pt x="2358" y="1254"/>
                  </a:lnTo>
                  <a:lnTo>
                    <a:pt x="2346" y="1254"/>
                  </a:lnTo>
                  <a:lnTo>
                    <a:pt x="2346" y="1278"/>
                  </a:lnTo>
                  <a:lnTo>
                    <a:pt x="2358" y="1278"/>
                  </a:lnTo>
                  <a:lnTo>
                    <a:pt x="2358" y="1284"/>
                  </a:lnTo>
                  <a:lnTo>
                    <a:pt x="2376" y="1284"/>
                  </a:lnTo>
                  <a:lnTo>
                    <a:pt x="2388" y="1278"/>
                  </a:lnTo>
                  <a:lnTo>
                    <a:pt x="2406" y="1278"/>
                  </a:lnTo>
                  <a:lnTo>
                    <a:pt x="2430" y="1284"/>
                  </a:lnTo>
                  <a:lnTo>
                    <a:pt x="2430" y="1302"/>
                  </a:lnTo>
                  <a:lnTo>
                    <a:pt x="2430" y="1314"/>
                  </a:lnTo>
                  <a:lnTo>
                    <a:pt x="2424" y="1326"/>
                  </a:lnTo>
                  <a:lnTo>
                    <a:pt x="2412" y="1326"/>
                  </a:lnTo>
                  <a:lnTo>
                    <a:pt x="2412" y="1344"/>
                  </a:lnTo>
                  <a:lnTo>
                    <a:pt x="2406" y="1344"/>
                  </a:lnTo>
                  <a:lnTo>
                    <a:pt x="2400" y="1362"/>
                  </a:lnTo>
                  <a:lnTo>
                    <a:pt x="2394" y="1368"/>
                  </a:lnTo>
                  <a:lnTo>
                    <a:pt x="2388" y="1374"/>
                  </a:lnTo>
                  <a:lnTo>
                    <a:pt x="2382" y="1380"/>
                  </a:lnTo>
                  <a:lnTo>
                    <a:pt x="2376" y="1386"/>
                  </a:lnTo>
                  <a:lnTo>
                    <a:pt x="2376" y="1392"/>
                  </a:lnTo>
                  <a:lnTo>
                    <a:pt x="2370" y="1404"/>
                  </a:lnTo>
                  <a:lnTo>
                    <a:pt x="2364" y="1416"/>
                  </a:lnTo>
                  <a:lnTo>
                    <a:pt x="2346" y="1434"/>
                  </a:lnTo>
                  <a:lnTo>
                    <a:pt x="2328" y="1440"/>
                  </a:lnTo>
                  <a:lnTo>
                    <a:pt x="2328" y="1446"/>
                  </a:lnTo>
                  <a:lnTo>
                    <a:pt x="2322" y="1452"/>
                  </a:lnTo>
                  <a:lnTo>
                    <a:pt x="2316" y="1452"/>
                  </a:lnTo>
                  <a:lnTo>
                    <a:pt x="2304" y="1446"/>
                  </a:lnTo>
                  <a:lnTo>
                    <a:pt x="2298" y="1446"/>
                  </a:lnTo>
                  <a:lnTo>
                    <a:pt x="2298" y="1434"/>
                  </a:lnTo>
                  <a:lnTo>
                    <a:pt x="2292" y="1434"/>
                  </a:lnTo>
                  <a:lnTo>
                    <a:pt x="2286" y="1428"/>
                  </a:lnTo>
                  <a:lnTo>
                    <a:pt x="2274" y="1416"/>
                  </a:lnTo>
                  <a:lnTo>
                    <a:pt x="2256" y="1404"/>
                  </a:lnTo>
                  <a:lnTo>
                    <a:pt x="2244" y="1386"/>
                  </a:lnTo>
                  <a:lnTo>
                    <a:pt x="2220" y="1368"/>
                  </a:lnTo>
                  <a:lnTo>
                    <a:pt x="2208" y="1362"/>
                  </a:lnTo>
                  <a:lnTo>
                    <a:pt x="2202" y="1350"/>
                  </a:lnTo>
                  <a:lnTo>
                    <a:pt x="2196" y="1350"/>
                  </a:lnTo>
                  <a:lnTo>
                    <a:pt x="2190" y="1356"/>
                  </a:lnTo>
                  <a:lnTo>
                    <a:pt x="2184" y="1356"/>
                  </a:lnTo>
                  <a:lnTo>
                    <a:pt x="2094" y="1350"/>
                  </a:lnTo>
                  <a:lnTo>
                    <a:pt x="2058" y="1350"/>
                  </a:lnTo>
                  <a:lnTo>
                    <a:pt x="2034" y="1890"/>
                  </a:lnTo>
                  <a:lnTo>
                    <a:pt x="2064" y="1890"/>
                  </a:lnTo>
                  <a:lnTo>
                    <a:pt x="2070" y="1896"/>
                  </a:lnTo>
                  <a:lnTo>
                    <a:pt x="2076" y="18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8" name="Freeform 33">
              <a:extLst>
                <a:ext uri="{FF2B5EF4-FFF2-40B4-BE49-F238E27FC236}">
                  <a16:creationId xmlns:a16="http://schemas.microsoft.com/office/drawing/2014/main" id="{0E96F118-1F4D-4E52-AF27-149259451CD6}"/>
                </a:ext>
              </a:extLst>
            </p:cNvPr>
            <p:cNvSpPr>
              <a:spLocks/>
            </p:cNvSpPr>
            <p:nvPr/>
          </p:nvSpPr>
          <p:spPr bwMode="gray">
            <a:xfrm>
              <a:off x="1266662" y="1459989"/>
              <a:ext cx="903421" cy="778302"/>
            </a:xfrm>
            <a:custGeom>
              <a:avLst/>
              <a:gdLst>
                <a:gd name="T0" fmla="*/ 143 w 1698"/>
                <a:gd name="T1" fmla="*/ 43 h 1464"/>
                <a:gd name="T2" fmla="*/ 131 w 1698"/>
                <a:gd name="T3" fmla="*/ 44 h 1464"/>
                <a:gd name="T4" fmla="*/ 126 w 1698"/>
                <a:gd name="T5" fmla="*/ 41 h 1464"/>
                <a:gd name="T6" fmla="*/ 119 w 1698"/>
                <a:gd name="T7" fmla="*/ 45 h 1464"/>
                <a:gd name="T8" fmla="*/ 111 w 1698"/>
                <a:gd name="T9" fmla="*/ 46 h 1464"/>
                <a:gd name="T10" fmla="*/ 107 w 1698"/>
                <a:gd name="T11" fmla="*/ 50 h 1464"/>
                <a:gd name="T12" fmla="*/ 107 w 1698"/>
                <a:gd name="T13" fmla="*/ 60 h 1464"/>
                <a:gd name="T14" fmla="*/ 104 w 1698"/>
                <a:gd name="T15" fmla="*/ 62 h 1464"/>
                <a:gd name="T16" fmla="*/ 97 w 1698"/>
                <a:gd name="T17" fmla="*/ 59 h 1464"/>
                <a:gd name="T18" fmla="*/ 92 w 1698"/>
                <a:gd name="T19" fmla="*/ 59 h 1464"/>
                <a:gd name="T20" fmla="*/ 90 w 1698"/>
                <a:gd name="T21" fmla="*/ 62 h 1464"/>
                <a:gd name="T22" fmla="*/ 93 w 1698"/>
                <a:gd name="T23" fmla="*/ 77 h 1464"/>
                <a:gd name="T24" fmla="*/ 85 w 1698"/>
                <a:gd name="T25" fmla="*/ 88 h 1464"/>
                <a:gd name="T26" fmla="*/ 70 w 1698"/>
                <a:gd name="T27" fmla="*/ 89 h 1464"/>
                <a:gd name="T28" fmla="*/ 65 w 1698"/>
                <a:gd name="T29" fmla="*/ 88 h 1464"/>
                <a:gd name="T30" fmla="*/ 50 w 1698"/>
                <a:gd name="T31" fmla="*/ 88 h 1464"/>
                <a:gd name="T32" fmla="*/ 48 w 1698"/>
                <a:gd name="T33" fmla="*/ 107 h 1464"/>
                <a:gd name="T34" fmla="*/ 47 w 1698"/>
                <a:gd name="T35" fmla="*/ 120 h 1464"/>
                <a:gd name="T36" fmla="*/ 43 w 1698"/>
                <a:gd name="T37" fmla="*/ 121 h 1464"/>
                <a:gd name="T38" fmla="*/ 40 w 1698"/>
                <a:gd name="T39" fmla="*/ 120 h 1464"/>
                <a:gd name="T40" fmla="*/ 35 w 1698"/>
                <a:gd name="T41" fmla="*/ 122 h 1464"/>
                <a:gd name="T42" fmla="*/ 29 w 1698"/>
                <a:gd name="T43" fmla="*/ 123 h 1464"/>
                <a:gd name="T44" fmla="*/ 24 w 1698"/>
                <a:gd name="T45" fmla="*/ 125 h 1464"/>
                <a:gd name="T46" fmla="*/ 20 w 1698"/>
                <a:gd name="T47" fmla="*/ 125 h 1464"/>
                <a:gd name="T48" fmla="*/ 18 w 1698"/>
                <a:gd name="T49" fmla="*/ 122 h 1464"/>
                <a:gd name="T50" fmla="*/ 26 w 1698"/>
                <a:gd name="T51" fmla="*/ 108 h 1464"/>
                <a:gd name="T52" fmla="*/ 24 w 1698"/>
                <a:gd name="T53" fmla="*/ 89 h 1464"/>
                <a:gd name="T54" fmla="*/ 28 w 1698"/>
                <a:gd name="T55" fmla="*/ 85 h 1464"/>
                <a:gd name="T56" fmla="*/ 32 w 1698"/>
                <a:gd name="T57" fmla="*/ 80 h 1464"/>
                <a:gd name="T58" fmla="*/ 36 w 1698"/>
                <a:gd name="T59" fmla="*/ 86 h 1464"/>
                <a:gd name="T60" fmla="*/ 39 w 1698"/>
                <a:gd name="T61" fmla="*/ 80 h 1464"/>
                <a:gd name="T62" fmla="*/ 41 w 1698"/>
                <a:gd name="T63" fmla="*/ 73 h 1464"/>
                <a:gd name="T64" fmla="*/ 38 w 1698"/>
                <a:gd name="T65" fmla="*/ 64 h 1464"/>
                <a:gd name="T66" fmla="*/ 39 w 1698"/>
                <a:gd name="T67" fmla="*/ 59 h 1464"/>
                <a:gd name="T68" fmla="*/ 32 w 1698"/>
                <a:gd name="T69" fmla="*/ 54 h 1464"/>
                <a:gd name="T70" fmla="*/ 32 w 1698"/>
                <a:gd name="T71" fmla="*/ 45 h 1464"/>
                <a:gd name="T72" fmla="*/ 31 w 1698"/>
                <a:gd name="T73" fmla="*/ 41 h 1464"/>
                <a:gd name="T74" fmla="*/ 24 w 1698"/>
                <a:gd name="T75" fmla="*/ 43 h 1464"/>
                <a:gd name="T76" fmla="*/ 17 w 1698"/>
                <a:gd name="T77" fmla="*/ 40 h 1464"/>
                <a:gd name="T78" fmla="*/ 11 w 1698"/>
                <a:gd name="T79" fmla="*/ 38 h 1464"/>
                <a:gd name="T80" fmla="*/ 2 w 1698"/>
                <a:gd name="T81" fmla="*/ 36 h 1464"/>
                <a:gd name="T82" fmla="*/ 0 w 1698"/>
                <a:gd name="T83" fmla="*/ 24 h 1464"/>
                <a:gd name="T84" fmla="*/ 11 w 1698"/>
                <a:gd name="T85" fmla="*/ 18 h 1464"/>
                <a:gd name="T86" fmla="*/ 19 w 1698"/>
                <a:gd name="T87" fmla="*/ 10 h 1464"/>
                <a:gd name="T88" fmla="*/ 28 w 1698"/>
                <a:gd name="T89" fmla="*/ 9 h 1464"/>
                <a:gd name="T90" fmla="*/ 40 w 1698"/>
                <a:gd name="T91" fmla="*/ 6 h 1464"/>
                <a:gd name="T92" fmla="*/ 49 w 1698"/>
                <a:gd name="T93" fmla="*/ 8 h 1464"/>
                <a:gd name="T94" fmla="*/ 56 w 1698"/>
                <a:gd name="T95" fmla="*/ 8 h 1464"/>
                <a:gd name="T96" fmla="*/ 64 w 1698"/>
                <a:gd name="T97" fmla="*/ 7 h 1464"/>
                <a:gd name="T98" fmla="*/ 74 w 1698"/>
                <a:gd name="T99" fmla="*/ 1 h 1464"/>
                <a:gd name="T100" fmla="*/ 83 w 1698"/>
                <a:gd name="T101" fmla="*/ 3 h 1464"/>
                <a:gd name="T102" fmla="*/ 99 w 1698"/>
                <a:gd name="T103" fmla="*/ 9 h 1464"/>
                <a:gd name="T104" fmla="*/ 112 w 1698"/>
                <a:gd name="T105" fmla="*/ 14 h 1464"/>
                <a:gd name="T106" fmla="*/ 119 w 1698"/>
                <a:gd name="T107" fmla="*/ 12 h 1464"/>
                <a:gd name="T108" fmla="*/ 128 w 1698"/>
                <a:gd name="T109" fmla="*/ 17 h 1464"/>
                <a:gd name="T110" fmla="*/ 141 w 1698"/>
                <a:gd name="T111" fmla="*/ 29 h 1464"/>
                <a:gd name="T112" fmla="*/ 145 w 1698"/>
                <a:gd name="T113" fmla="*/ 35 h 14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98"/>
                <a:gd name="T172" fmla="*/ 0 h 1464"/>
                <a:gd name="T173" fmla="*/ 1698 w 1698"/>
                <a:gd name="T174" fmla="*/ 1464 h 14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98" h="1464">
                  <a:moveTo>
                    <a:pt x="1698" y="462"/>
                  </a:moveTo>
                  <a:lnTo>
                    <a:pt x="1686" y="468"/>
                  </a:lnTo>
                  <a:lnTo>
                    <a:pt x="1680" y="474"/>
                  </a:lnTo>
                  <a:lnTo>
                    <a:pt x="1674" y="480"/>
                  </a:lnTo>
                  <a:lnTo>
                    <a:pt x="1668" y="480"/>
                  </a:lnTo>
                  <a:lnTo>
                    <a:pt x="1662" y="486"/>
                  </a:lnTo>
                  <a:lnTo>
                    <a:pt x="1656" y="492"/>
                  </a:lnTo>
                  <a:lnTo>
                    <a:pt x="1644" y="498"/>
                  </a:lnTo>
                  <a:lnTo>
                    <a:pt x="1626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0" y="516"/>
                  </a:lnTo>
                  <a:lnTo>
                    <a:pt x="1590" y="522"/>
                  </a:lnTo>
                  <a:lnTo>
                    <a:pt x="1566" y="522"/>
                  </a:lnTo>
                  <a:lnTo>
                    <a:pt x="1506" y="510"/>
                  </a:lnTo>
                  <a:lnTo>
                    <a:pt x="1500" y="510"/>
                  </a:lnTo>
                  <a:lnTo>
                    <a:pt x="1488" y="504"/>
                  </a:lnTo>
                  <a:lnTo>
                    <a:pt x="1482" y="498"/>
                  </a:lnTo>
                  <a:lnTo>
                    <a:pt x="1476" y="498"/>
                  </a:lnTo>
                  <a:lnTo>
                    <a:pt x="1476" y="492"/>
                  </a:lnTo>
                  <a:lnTo>
                    <a:pt x="1470" y="492"/>
                  </a:lnTo>
                  <a:lnTo>
                    <a:pt x="1464" y="486"/>
                  </a:lnTo>
                  <a:lnTo>
                    <a:pt x="1452" y="486"/>
                  </a:lnTo>
                  <a:lnTo>
                    <a:pt x="1446" y="474"/>
                  </a:lnTo>
                  <a:lnTo>
                    <a:pt x="1434" y="468"/>
                  </a:lnTo>
                  <a:lnTo>
                    <a:pt x="1416" y="468"/>
                  </a:lnTo>
                  <a:lnTo>
                    <a:pt x="1392" y="468"/>
                  </a:lnTo>
                  <a:lnTo>
                    <a:pt x="1374" y="474"/>
                  </a:lnTo>
                  <a:lnTo>
                    <a:pt x="1368" y="474"/>
                  </a:lnTo>
                  <a:lnTo>
                    <a:pt x="1368" y="486"/>
                  </a:lnTo>
                  <a:lnTo>
                    <a:pt x="1368" y="498"/>
                  </a:lnTo>
                  <a:lnTo>
                    <a:pt x="1368" y="522"/>
                  </a:lnTo>
                  <a:lnTo>
                    <a:pt x="1368" y="534"/>
                  </a:lnTo>
                  <a:lnTo>
                    <a:pt x="1362" y="546"/>
                  </a:lnTo>
                  <a:lnTo>
                    <a:pt x="1356" y="546"/>
                  </a:lnTo>
                  <a:lnTo>
                    <a:pt x="1344" y="540"/>
                  </a:lnTo>
                  <a:lnTo>
                    <a:pt x="1338" y="534"/>
                  </a:lnTo>
                  <a:lnTo>
                    <a:pt x="1308" y="522"/>
                  </a:lnTo>
                  <a:lnTo>
                    <a:pt x="1296" y="522"/>
                  </a:lnTo>
                  <a:lnTo>
                    <a:pt x="1278" y="528"/>
                  </a:lnTo>
                  <a:lnTo>
                    <a:pt x="1260" y="534"/>
                  </a:lnTo>
                  <a:lnTo>
                    <a:pt x="1242" y="546"/>
                  </a:lnTo>
                  <a:lnTo>
                    <a:pt x="1236" y="552"/>
                  </a:lnTo>
                  <a:lnTo>
                    <a:pt x="1224" y="558"/>
                  </a:lnTo>
                  <a:lnTo>
                    <a:pt x="1218" y="558"/>
                  </a:lnTo>
                  <a:lnTo>
                    <a:pt x="1218" y="564"/>
                  </a:lnTo>
                  <a:lnTo>
                    <a:pt x="1224" y="570"/>
                  </a:lnTo>
                  <a:lnTo>
                    <a:pt x="1224" y="582"/>
                  </a:lnTo>
                  <a:lnTo>
                    <a:pt x="1224" y="594"/>
                  </a:lnTo>
                  <a:lnTo>
                    <a:pt x="1212" y="618"/>
                  </a:lnTo>
                  <a:lnTo>
                    <a:pt x="1212" y="624"/>
                  </a:lnTo>
                  <a:lnTo>
                    <a:pt x="1212" y="630"/>
                  </a:lnTo>
                  <a:lnTo>
                    <a:pt x="1212" y="636"/>
                  </a:lnTo>
                  <a:lnTo>
                    <a:pt x="1218" y="654"/>
                  </a:lnTo>
                  <a:lnTo>
                    <a:pt x="1224" y="672"/>
                  </a:lnTo>
                  <a:lnTo>
                    <a:pt x="1230" y="696"/>
                  </a:lnTo>
                  <a:lnTo>
                    <a:pt x="1236" y="708"/>
                  </a:lnTo>
                  <a:lnTo>
                    <a:pt x="1236" y="714"/>
                  </a:lnTo>
                  <a:lnTo>
                    <a:pt x="1236" y="720"/>
                  </a:lnTo>
                  <a:lnTo>
                    <a:pt x="1218" y="726"/>
                  </a:lnTo>
                  <a:lnTo>
                    <a:pt x="1212" y="726"/>
                  </a:lnTo>
                  <a:lnTo>
                    <a:pt x="1206" y="726"/>
                  </a:lnTo>
                  <a:lnTo>
                    <a:pt x="1194" y="720"/>
                  </a:lnTo>
                  <a:lnTo>
                    <a:pt x="1194" y="714"/>
                  </a:lnTo>
                  <a:lnTo>
                    <a:pt x="1176" y="714"/>
                  </a:lnTo>
                  <a:lnTo>
                    <a:pt x="1164" y="708"/>
                  </a:lnTo>
                  <a:lnTo>
                    <a:pt x="1158" y="708"/>
                  </a:lnTo>
                  <a:lnTo>
                    <a:pt x="1140" y="702"/>
                  </a:lnTo>
                  <a:lnTo>
                    <a:pt x="1134" y="696"/>
                  </a:lnTo>
                  <a:lnTo>
                    <a:pt x="1128" y="690"/>
                  </a:lnTo>
                  <a:lnTo>
                    <a:pt x="1116" y="678"/>
                  </a:lnTo>
                  <a:lnTo>
                    <a:pt x="1110" y="678"/>
                  </a:lnTo>
                  <a:lnTo>
                    <a:pt x="1104" y="672"/>
                  </a:lnTo>
                  <a:lnTo>
                    <a:pt x="1092" y="672"/>
                  </a:lnTo>
                  <a:lnTo>
                    <a:pt x="1086" y="672"/>
                  </a:lnTo>
                  <a:lnTo>
                    <a:pt x="1080" y="672"/>
                  </a:lnTo>
                  <a:lnTo>
                    <a:pt x="1074" y="672"/>
                  </a:lnTo>
                  <a:lnTo>
                    <a:pt x="1068" y="672"/>
                  </a:lnTo>
                  <a:lnTo>
                    <a:pt x="1062" y="678"/>
                  </a:lnTo>
                  <a:lnTo>
                    <a:pt x="1056" y="678"/>
                  </a:lnTo>
                  <a:lnTo>
                    <a:pt x="1056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6"/>
                  </a:lnTo>
                  <a:lnTo>
                    <a:pt x="1032" y="708"/>
                  </a:lnTo>
                  <a:lnTo>
                    <a:pt x="1026" y="708"/>
                  </a:lnTo>
                  <a:lnTo>
                    <a:pt x="1032" y="714"/>
                  </a:lnTo>
                  <a:lnTo>
                    <a:pt x="1026" y="720"/>
                  </a:lnTo>
                  <a:lnTo>
                    <a:pt x="1020" y="720"/>
                  </a:lnTo>
                  <a:lnTo>
                    <a:pt x="1014" y="732"/>
                  </a:lnTo>
                  <a:lnTo>
                    <a:pt x="1014" y="744"/>
                  </a:lnTo>
                  <a:lnTo>
                    <a:pt x="1038" y="810"/>
                  </a:lnTo>
                  <a:lnTo>
                    <a:pt x="1050" y="834"/>
                  </a:lnTo>
                  <a:lnTo>
                    <a:pt x="1056" y="858"/>
                  </a:lnTo>
                  <a:lnTo>
                    <a:pt x="1062" y="876"/>
                  </a:lnTo>
                  <a:lnTo>
                    <a:pt x="1068" y="882"/>
                  </a:lnTo>
                  <a:lnTo>
                    <a:pt x="1062" y="972"/>
                  </a:lnTo>
                  <a:lnTo>
                    <a:pt x="1056" y="972"/>
                  </a:lnTo>
                  <a:lnTo>
                    <a:pt x="1050" y="996"/>
                  </a:lnTo>
                  <a:lnTo>
                    <a:pt x="1044" y="1014"/>
                  </a:lnTo>
                  <a:lnTo>
                    <a:pt x="1008" y="1014"/>
                  </a:lnTo>
                  <a:lnTo>
                    <a:pt x="1008" y="1008"/>
                  </a:lnTo>
                  <a:lnTo>
                    <a:pt x="990" y="1008"/>
                  </a:lnTo>
                  <a:lnTo>
                    <a:pt x="972" y="1014"/>
                  </a:lnTo>
                  <a:lnTo>
                    <a:pt x="948" y="1020"/>
                  </a:lnTo>
                  <a:lnTo>
                    <a:pt x="918" y="1026"/>
                  </a:lnTo>
                  <a:lnTo>
                    <a:pt x="840" y="1032"/>
                  </a:lnTo>
                  <a:lnTo>
                    <a:pt x="834" y="1032"/>
                  </a:lnTo>
                  <a:lnTo>
                    <a:pt x="834" y="1026"/>
                  </a:lnTo>
                  <a:lnTo>
                    <a:pt x="822" y="1026"/>
                  </a:lnTo>
                  <a:lnTo>
                    <a:pt x="816" y="1032"/>
                  </a:lnTo>
                  <a:lnTo>
                    <a:pt x="804" y="1032"/>
                  </a:lnTo>
                  <a:lnTo>
                    <a:pt x="798" y="1026"/>
                  </a:lnTo>
                  <a:lnTo>
                    <a:pt x="780" y="1026"/>
                  </a:lnTo>
                  <a:lnTo>
                    <a:pt x="762" y="1026"/>
                  </a:lnTo>
                  <a:lnTo>
                    <a:pt x="756" y="1026"/>
                  </a:lnTo>
                  <a:lnTo>
                    <a:pt x="750" y="1026"/>
                  </a:lnTo>
                  <a:lnTo>
                    <a:pt x="756" y="1020"/>
                  </a:lnTo>
                  <a:lnTo>
                    <a:pt x="750" y="1020"/>
                  </a:lnTo>
                  <a:lnTo>
                    <a:pt x="744" y="1014"/>
                  </a:lnTo>
                  <a:lnTo>
                    <a:pt x="684" y="1020"/>
                  </a:lnTo>
                  <a:lnTo>
                    <a:pt x="648" y="1020"/>
                  </a:lnTo>
                  <a:lnTo>
                    <a:pt x="630" y="1020"/>
                  </a:lnTo>
                  <a:lnTo>
                    <a:pt x="618" y="1020"/>
                  </a:lnTo>
                  <a:lnTo>
                    <a:pt x="606" y="1014"/>
                  </a:lnTo>
                  <a:lnTo>
                    <a:pt x="582" y="1014"/>
                  </a:lnTo>
                  <a:lnTo>
                    <a:pt x="576" y="1014"/>
                  </a:lnTo>
                  <a:lnTo>
                    <a:pt x="570" y="1014"/>
                  </a:lnTo>
                  <a:lnTo>
                    <a:pt x="564" y="1020"/>
                  </a:lnTo>
                  <a:lnTo>
                    <a:pt x="558" y="1026"/>
                  </a:lnTo>
                  <a:lnTo>
                    <a:pt x="552" y="1032"/>
                  </a:lnTo>
                  <a:lnTo>
                    <a:pt x="552" y="1038"/>
                  </a:lnTo>
                  <a:lnTo>
                    <a:pt x="558" y="1194"/>
                  </a:lnTo>
                  <a:lnTo>
                    <a:pt x="558" y="1206"/>
                  </a:lnTo>
                  <a:lnTo>
                    <a:pt x="552" y="1218"/>
                  </a:lnTo>
                  <a:lnTo>
                    <a:pt x="552" y="1236"/>
                  </a:lnTo>
                  <a:lnTo>
                    <a:pt x="546" y="1272"/>
                  </a:lnTo>
                  <a:lnTo>
                    <a:pt x="546" y="1308"/>
                  </a:lnTo>
                  <a:lnTo>
                    <a:pt x="540" y="1332"/>
                  </a:lnTo>
                  <a:lnTo>
                    <a:pt x="546" y="1356"/>
                  </a:lnTo>
                  <a:lnTo>
                    <a:pt x="546" y="1362"/>
                  </a:lnTo>
                  <a:lnTo>
                    <a:pt x="546" y="1374"/>
                  </a:lnTo>
                  <a:lnTo>
                    <a:pt x="546" y="1380"/>
                  </a:lnTo>
                  <a:lnTo>
                    <a:pt x="540" y="1380"/>
                  </a:lnTo>
                  <a:lnTo>
                    <a:pt x="522" y="1380"/>
                  </a:lnTo>
                  <a:lnTo>
                    <a:pt x="516" y="1380"/>
                  </a:lnTo>
                  <a:lnTo>
                    <a:pt x="516" y="1386"/>
                  </a:lnTo>
                  <a:lnTo>
                    <a:pt x="516" y="1392"/>
                  </a:lnTo>
                  <a:lnTo>
                    <a:pt x="510" y="1392"/>
                  </a:lnTo>
                  <a:lnTo>
                    <a:pt x="504" y="1386"/>
                  </a:lnTo>
                  <a:lnTo>
                    <a:pt x="498" y="1392"/>
                  </a:lnTo>
                  <a:lnTo>
                    <a:pt x="492" y="1398"/>
                  </a:lnTo>
                  <a:lnTo>
                    <a:pt x="486" y="1398"/>
                  </a:lnTo>
                  <a:lnTo>
                    <a:pt x="486" y="1392"/>
                  </a:lnTo>
                  <a:lnTo>
                    <a:pt x="486" y="1380"/>
                  </a:lnTo>
                  <a:lnTo>
                    <a:pt x="486" y="1374"/>
                  </a:lnTo>
                  <a:lnTo>
                    <a:pt x="480" y="1374"/>
                  </a:lnTo>
                  <a:lnTo>
                    <a:pt x="474" y="1374"/>
                  </a:lnTo>
                  <a:lnTo>
                    <a:pt x="468" y="1380"/>
                  </a:lnTo>
                  <a:lnTo>
                    <a:pt x="462" y="1380"/>
                  </a:lnTo>
                  <a:lnTo>
                    <a:pt x="456" y="1380"/>
                  </a:lnTo>
                  <a:lnTo>
                    <a:pt x="450" y="1386"/>
                  </a:lnTo>
                  <a:lnTo>
                    <a:pt x="444" y="1386"/>
                  </a:lnTo>
                  <a:lnTo>
                    <a:pt x="444" y="1392"/>
                  </a:lnTo>
                  <a:lnTo>
                    <a:pt x="432" y="1398"/>
                  </a:lnTo>
                  <a:lnTo>
                    <a:pt x="426" y="1404"/>
                  </a:lnTo>
                  <a:lnTo>
                    <a:pt x="420" y="1404"/>
                  </a:lnTo>
                  <a:lnTo>
                    <a:pt x="408" y="1404"/>
                  </a:lnTo>
                  <a:lnTo>
                    <a:pt x="378" y="1410"/>
                  </a:lnTo>
                  <a:lnTo>
                    <a:pt x="372" y="1410"/>
                  </a:lnTo>
                  <a:lnTo>
                    <a:pt x="360" y="1410"/>
                  </a:lnTo>
                  <a:lnTo>
                    <a:pt x="354" y="1416"/>
                  </a:lnTo>
                  <a:lnTo>
                    <a:pt x="348" y="1416"/>
                  </a:lnTo>
                  <a:lnTo>
                    <a:pt x="342" y="1410"/>
                  </a:lnTo>
                  <a:lnTo>
                    <a:pt x="336" y="1410"/>
                  </a:lnTo>
                  <a:lnTo>
                    <a:pt x="336" y="1416"/>
                  </a:lnTo>
                  <a:lnTo>
                    <a:pt x="330" y="1422"/>
                  </a:lnTo>
                  <a:lnTo>
                    <a:pt x="324" y="1422"/>
                  </a:lnTo>
                  <a:lnTo>
                    <a:pt x="318" y="1422"/>
                  </a:lnTo>
                  <a:lnTo>
                    <a:pt x="312" y="1428"/>
                  </a:lnTo>
                  <a:lnTo>
                    <a:pt x="312" y="1434"/>
                  </a:lnTo>
                  <a:lnTo>
                    <a:pt x="300" y="1428"/>
                  </a:lnTo>
                  <a:lnTo>
                    <a:pt x="288" y="1434"/>
                  </a:lnTo>
                  <a:lnTo>
                    <a:pt x="282" y="1440"/>
                  </a:lnTo>
                  <a:lnTo>
                    <a:pt x="282" y="1446"/>
                  </a:lnTo>
                  <a:lnTo>
                    <a:pt x="276" y="1446"/>
                  </a:lnTo>
                  <a:lnTo>
                    <a:pt x="276" y="1452"/>
                  </a:lnTo>
                  <a:lnTo>
                    <a:pt x="270" y="1452"/>
                  </a:lnTo>
                  <a:lnTo>
                    <a:pt x="258" y="1464"/>
                  </a:lnTo>
                  <a:lnTo>
                    <a:pt x="240" y="1458"/>
                  </a:lnTo>
                  <a:lnTo>
                    <a:pt x="234" y="1452"/>
                  </a:lnTo>
                  <a:lnTo>
                    <a:pt x="234" y="1446"/>
                  </a:lnTo>
                  <a:lnTo>
                    <a:pt x="228" y="1446"/>
                  </a:lnTo>
                  <a:lnTo>
                    <a:pt x="222" y="1440"/>
                  </a:lnTo>
                  <a:lnTo>
                    <a:pt x="216" y="1440"/>
                  </a:lnTo>
                  <a:lnTo>
                    <a:pt x="210" y="1428"/>
                  </a:lnTo>
                  <a:lnTo>
                    <a:pt x="210" y="1422"/>
                  </a:lnTo>
                  <a:lnTo>
                    <a:pt x="198" y="1416"/>
                  </a:lnTo>
                  <a:lnTo>
                    <a:pt x="204" y="1410"/>
                  </a:lnTo>
                  <a:lnTo>
                    <a:pt x="210" y="1404"/>
                  </a:lnTo>
                  <a:lnTo>
                    <a:pt x="210" y="1398"/>
                  </a:lnTo>
                  <a:lnTo>
                    <a:pt x="252" y="1368"/>
                  </a:lnTo>
                  <a:lnTo>
                    <a:pt x="276" y="1350"/>
                  </a:lnTo>
                  <a:lnTo>
                    <a:pt x="300" y="1338"/>
                  </a:lnTo>
                  <a:lnTo>
                    <a:pt x="294" y="1314"/>
                  </a:lnTo>
                  <a:lnTo>
                    <a:pt x="288" y="1308"/>
                  </a:lnTo>
                  <a:lnTo>
                    <a:pt x="300" y="1266"/>
                  </a:lnTo>
                  <a:lnTo>
                    <a:pt x="300" y="1242"/>
                  </a:lnTo>
                  <a:lnTo>
                    <a:pt x="300" y="1206"/>
                  </a:lnTo>
                  <a:lnTo>
                    <a:pt x="300" y="1164"/>
                  </a:lnTo>
                  <a:lnTo>
                    <a:pt x="294" y="1134"/>
                  </a:lnTo>
                  <a:lnTo>
                    <a:pt x="282" y="1086"/>
                  </a:lnTo>
                  <a:lnTo>
                    <a:pt x="276" y="1074"/>
                  </a:lnTo>
                  <a:lnTo>
                    <a:pt x="276" y="1056"/>
                  </a:lnTo>
                  <a:lnTo>
                    <a:pt x="270" y="1038"/>
                  </a:lnTo>
                  <a:lnTo>
                    <a:pt x="270" y="1020"/>
                  </a:lnTo>
                  <a:lnTo>
                    <a:pt x="282" y="1020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94" y="1002"/>
                  </a:lnTo>
                  <a:lnTo>
                    <a:pt x="306" y="996"/>
                  </a:lnTo>
                  <a:lnTo>
                    <a:pt x="312" y="990"/>
                  </a:lnTo>
                  <a:lnTo>
                    <a:pt x="318" y="990"/>
                  </a:lnTo>
                  <a:lnTo>
                    <a:pt x="324" y="984"/>
                  </a:lnTo>
                  <a:lnTo>
                    <a:pt x="324" y="978"/>
                  </a:lnTo>
                  <a:lnTo>
                    <a:pt x="324" y="972"/>
                  </a:lnTo>
                  <a:lnTo>
                    <a:pt x="324" y="954"/>
                  </a:lnTo>
                  <a:lnTo>
                    <a:pt x="336" y="948"/>
                  </a:lnTo>
                  <a:lnTo>
                    <a:pt x="342" y="936"/>
                  </a:lnTo>
                  <a:lnTo>
                    <a:pt x="348" y="924"/>
                  </a:lnTo>
                  <a:lnTo>
                    <a:pt x="354" y="924"/>
                  </a:lnTo>
                  <a:lnTo>
                    <a:pt x="372" y="924"/>
                  </a:lnTo>
                  <a:lnTo>
                    <a:pt x="372" y="930"/>
                  </a:lnTo>
                  <a:lnTo>
                    <a:pt x="378" y="930"/>
                  </a:lnTo>
                  <a:lnTo>
                    <a:pt x="378" y="936"/>
                  </a:lnTo>
                  <a:lnTo>
                    <a:pt x="384" y="936"/>
                  </a:lnTo>
                  <a:lnTo>
                    <a:pt x="384" y="942"/>
                  </a:lnTo>
                  <a:lnTo>
                    <a:pt x="402" y="942"/>
                  </a:lnTo>
                  <a:lnTo>
                    <a:pt x="402" y="996"/>
                  </a:lnTo>
                  <a:lnTo>
                    <a:pt x="414" y="996"/>
                  </a:lnTo>
                  <a:lnTo>
                    <a:pt x="420" y="996"/>
                  </a:lnTo>
                  <a:lnTo>
                    <a:pt x="426" y="996"/>
                  </a:lnTo>
                  <a:lnTo>
                    <a:pt x="432" y="996"/>
                  </a:lnTo>
                  <a:lnTo>
                    <a:pt x="438" y="996"/>
                  </a:lnTo>
                  <a:lnTo>
                    <a:pt x="438" y="942"/>
                  </a:lnTo>
                  <a:lnTo>
                    <a:pt x="444" y="930"/>
                  </a:lnTo>
                  <a:lnTo>
                    <a:pt x="444" y="924"/>
                  </a:lnTo>
                  <a:lnTo>
                    <a:pt x="444" y="918"/>
                  </a:lnTo>
                  <a:lnTo>
                    <a:pt x="462" y="918"/>
                  </a:lnTo>
                  <a:lnTo>
                    <a:pt x="474" y="906"/>
                  </a:lnTo>
                  <a:lnTo>
                    <a:pt x="480" y="900"/>
                  </a:lnTo>
                  <a:lnTo>
                    <a:pt x="486" y="888"/>
                  </a:lnTo>
                  <a:lnTo>
                    <a:pt x="492" y="876"/>
                  </a:lnTo>
                  <a:lnTo>
                    <a:pt x="492" y="858"/>
                  </a:lnTo>
                  <a:lnTo>
                    <a:pt x="480" y="858"/>
                  </a:lnTo>
                  <a:lnTo>
                    <a:pt x="474" y="840"/>
                  </a:lnTo>
                  <a:lnTo>
                    <a:pt x="450" y="834"/>
                  </a:lnTo>
                  <a:lnTo>
                    <a:pt x="438" y="816"/>
                  </a:lnTo>
                  <a:lnTo>
                    <a:pt x="432" y="792"/>
                  </a:lnTo>
                  <a:lnTo>
                    <a:pt x="432" y="786"/>
                  </a:lnTo>
                  <a:lnTo>
                    <a:pt x="432" y="774"/>
                  </a:lnTo>
                  <a:lnTo>
                    <a:pt x="432" y="762"/>
                  </a:lnTo>
                  <a:lnTo>
                    <a:pt x="438" y="750"/>
                  </a:lnTo>
                  <a:lnTo>
                    <a:pt x="438" y="738"/>
                  </a:lnTo>
                  <a:lnTo>
                    <a:pt x="444" y="732"/>
                  </a:lnTo>
                  <a:lnTo>
                    <a:pt x="450" y="732"/>
                  </a:lnTo>
                  <a:lnTo>
                    <a:pt x="456" y="732"/>
                  </a:lnTo>
                  <a:lnTo>
                    <a:pt x="456" y="726"/>
                  </a:lnTo>
                  <a:lnTo>
                    <a:pt x="456" y="714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44" y="684"/>
                  </a:lnTo>
                  <a:lnTo>
                    <a:pt x="438" y="666"/>
                  </a:lnTo>
                  <a:lnTo>
                    <a:pt x="426" y="666"/>
                  </a:lnTo>
                  <a:lnTo>
                    <a:pt x="432" y="666"/>
                  </a:lnTo>
                  <a:lnTo>
                    <a:pt x="420" y="666"/>
                  </a:lnTo>
                  <a:lnTo>
                    <a:pt x="414" y="660"/>
                  </a:lnTo>
                  <a:lnTo>
                    <a:pt x="396" y="654"/>
                  </a:lnTo>
                  <a:lnTo>
                    <a:pt x="384" y="642"/>
                  </a:lnTo>
                  <a:lnTo>
                    <a:pt x="366" y="624"/>
                  </a:lnTo>
                  <a:lnTo>
                    <a:pt x="354" y="606"/>
                  </a:lnTo>
                  <a:lnTo>
                    <a:pt x="342" y="588"/>
                  </a:lnTo>
                  <a:lnTo>
                    <a:pt x="342" y="582"/>
                  </a:lnTo>
                  <a:lnTo>
                    <a:pt x="360" y="564"/>
                  </a:lnTo>
                  <a:lnTo>
                    <a:pt x="372" y="540"/>
                  </a:lnTo>
                  <a:lnTo>
                    <a:pt x="366" y="528"/>
                  </a:lnTo>
                  <a:lnTo>
                    <a:pt x="366" y="522"/>
                  </a:lnTo>
                  <a:lnTo>
                    <a:pt x="372" y="516"/>
                  </a:lnTo>
                  <a:lnTo>
                    <a:pt x="384" y="504"/>
                  </a:lnTo>
                  <a:lnTo>
                    <a:pt x="378" y="492"/>
                  </a:lnTo>
                  <a:lnTo>
                    <a:pt x="378" y="486"/>
                  </a:lnTo>
                  <a:lnTo>
                    <a:pt x="378" y="480"/>
                  </a:lnTo>
                  <a:lnTo>
                    <a:pt x="378" y="474"/>
                  </a:lnTo>
                  <a:lnTo>
                    <a:pt x="378" y="468"/>
                  </a:lnTo>
                  <a:lnTo>
                    <a:pt x="366" y="468"/>
                  </a:lnTo>
                  <a:lnTo>
                    <a:pt x="360" y="474"/>
                  </a:lnTo>
                  <a:lnTo>
                    <a:pt x="354" y="480"/>
                  </a:lnTo>
                  <a:lnTo>
                    <a:pt x="348" y="486"/>
                  </a:lnTo>
                  <a:lnTo>
                    <a:pt x="348" y="492"/>
                  </a:lnTo>
                  <a:lnTo>
                    <a:pt x="336" y="510"/>
                  </a:lnTo>
                  <a:lnTo>
                    <a:pt x="300" y="516"/>
                  </a:lnTo>
                  <a:lnTo>
                    <a:pt x="300" y="510"/>
                  </a:lnTo>
                  <a:lnTo>
                    <a:pt x="282" y="504"/>
                  </a:lnTo>
                  <a:lnTo>
                    <a:pt x="282" y="498"/>
                  </a:lnTo>
                  <a:lnTo>
                    <a:pt x="264" y="486"/>
                  </a:lnTo>
                  <a:lnTo>
                    <a:pt x="258" y="492"/>
                  </a:lnTo>
                  <a:lnTo>
                    <a:pt x="234" y="492"/>
                  </a:lnTo>
                  <a:lnTo>
                    <a:pt x="222" y="486"/>
                  </a:lnTo>
                  <a:lnTo>
                    <a:pt x="204" y="480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92" y="462"/>
                  </a:lnTo>
                  <a:lnTo>
                    <a:pt x="186" y="462"/>
                  </a:lnTo>
                  <a:lnTo>
                    <a:pt x="180" y="468"/>
                  </a:lnTo>
                  <a:lnTo>
                    <a:pt x="150" y="450"/>
                  </a:lnTo>
                  <a:lnTo>
                    <a:pt x="144" y="438"/>
                  </a:lnTo>
                  <a:lnTo>
                    <a:pt x="138" y="438"/>
                  </a:lnTo>
                  <a:lnTo>
                    <a:pt x="132" y="432"/>
                  </a:lnTo>
                  <a:lnTo>
                    <a:pt x="126" y="432"/>
                  </a:lnTo>
                  <a:lnTo>
                    <a:pt x="120" y="432"/>
                  </a:lnTo>
                  <a:lnTo>
                    <a:pt x="102" y="426"/>
                  </a:lnTo>
                  <a:lnTo>
                    <a:pt x="96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2" y="414"/>
                  </a:lnTo>
                  <a:lnTo>
                    <a:pt x="60" y="414"/>
                  </a:lnTo>
                  <a:lnTo>
                    <a:pt x="30" y="414"/>
                  </a:lnTo>
                  <a:lnTo>
                    <a:pt x="24" y="414"/>
                  </a:lnTo>
                  <a:lnTo>
                    <a:pt x="12" y="414"/>
                  </a:lnTo>
                  <a:lnTo>
                    <a:pt x="0" y="420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0" y="336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30" y="270"/>
                  </a:lnTo>
                  <a:lnTo>
                    <a:pt x="42" y="270"/>
                  </a:lnTo>
                  <a:lnTo>
                    <a:pt x="54" y="264"/>
                  </a:lnTo>
                  <a:lnTo>
                    <a:pt x="78" y="240"/>
                  </a:lnTo>
                  <a:lnTo>
                    <a:pt x="102" y="216"/>
                  </a:lnTo>
                  <a:lnTo>
                    <a:pt x="114" y="210"/>
                  </a:lnTo>
                  <a:lnTo>
                    <a:pt x="120" y="204"/>
                  </a:lnTo>
                  <a:lnTo>
                    <a:pt x="126" y="198"/>
                  </a:lnTo>
                  <a:lnTo>
                    <a:pt x="138" y="18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38"/>
                  </a:lnTo>
                  <a:lnTo>
                    <a:pt x="210" y="126"/>
                  </a:lnTo>
                  <a:lnTo>
                    <a:pt x="216" y="120"/>
                  </a:lnTo>
                  <a:lnTo>
                    <a:pt x="222" y="120"/>
                  </a:lnTo>
                  <a:lnTo>
                    <a:pt x="258" y="114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300" y="102"/>
                  </a:lnTo>
                  <a:lnTo>
                    <a:pt x="312" y="102"/>
                  </a:lnTo>
                  <a:lnTo>
                    <a:pt x="318" y="102"/>
                  </a:lnTo>
                  <a:lnTo>
                    <a:pt x="348" y="96"/>
                  </a:lnTo>
                  <a:lnTo>
                    <a:pt x="366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408" y="84"/>
                  </a:lnTo>
                  <a:lnTo>
                    <a:pt x="420" y="84"/>
                  </a:lnTo>
                  <a:lnTo>
                    <a:pt x="462" y="72"/>
                  </a:lnTo>
                  <a:lnTo>
                    <a:pt x="474" y="72"/>
                  </a:lnTo>
                  <a:lnTo>
                    <a:pt x="474" y="78"/>
                  </a:lnTo>
                  <a:lnTo>
                    <a:pt x="492" y="90"/>
                  </a:lnTo>
                  <a:lnTo>
                    <a:pt x="498" y="90"/>
                  </a:lnTo>
                  <a:lnTo>
                    <a:pt x="522" y="96"/>
                  </a:lnTo>
                  <a:lnTo>
                    <a:pt x="540" y="96"/>
                  </a:lnTo>
                  <a:lnTo>
                    <a:pt x="546" y="96"/>
                  </a:lnTo>
                  <a:lnTo>
                    <a:pt x="558" y="96"/>
                  </a:lnTo>
                  <a:lnTo>
                    <a:pt x="564" y="96"/>
                  </a:lnTo>
                  <a:lnTo>
                    <a:pt x="576" y="96"/>
                  </a:lnTo>
                  <a:lnTo>
                    <a:pt x="588" y="96"/>
                  </a:lnTo>
                  <a:lnTo>
                    <a:pt x="612" y="90"/>
                  </a:lnTo>
                  <a:lnTo>
                    <a:pt x="624" y="90"/>
                  </a:lnTo>
                  <a:lnTo>
                    <a:pt x="636" y="90"/>
                  </a:lnTo>
                  <a:lnTo>
                    <a:pt x="642" y="90"/>
                  </a:lnTo>
                  <a:lnTo>
                    <a:pt x="648" y="96"/>
                  </a:lnTo>
                  <a:lnTo>
                    <a:pt x="660" y="96"/>
                  </a:lnTo>
                  <a:lnTo>
                    <a:pt x="666" y="96"/>
                  </a:lnTo>
                  <a:lnTo>
                    <a:pt x="672" y="96"/>
                  </a:lnTo>
                  <a:lnTo>
                    <a:pt x="684" y="96"/>
                  </a:lnTo>
                  <a:lnTo>
                    <a:pt x="708" y="96"/>
                  </a:lnTo>
                  <a:lnTo>
                    <a:pt x="714" y="96"/>
                  </a:lnTo>
                  <a:lnTo>
                    <a:pt x="726" y="96"/>
                  </a:lnTo>
                  <a:lnTo>
                    <a:pt x="738" y="84"/>
                  </a:lnTo>
                  <a:lnTo>
                    <a:pt x="744" y="78"/>
                  </a:lnTo>
                  <a:lnTo>
                    <a:pt x="756" y="66"/>
                  </a:lnTo>
                  <a:lnTo>
                    <a:pt x="774" y="42"/>
                  </a:lnTo>
                  <a:lnTo>
                    <a:pt x="780" y="30"/>
                  </a:lnTo>
                  <a:lnTo>
                    <a:pt x="816" y="24"/>
                  </a:lnTo>
                  <a:lnTo>
                    <a:pt x="840" y="18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64" y="6"/>
                  </a:lnTo>
                  <a:lnTo>
                    <a:pt x="870" y="6"/>
                  </a:lnTo>
                  <a:lnTo>
                    <a:pt x="894" y="0"/>
                  </a:lnTo>
                  <a:lnTo>
                    <a:pt x="900" y="6"/>
                  </a:lnTo>
                  <a:lnTo>
                    <a:pt x="930" y="18"/>
                  </a:lnTo>
                  <a:lnTo>
                    <a:pt x="942" y="24"/>
                  </a:lnTo>
                  <a:lnTo>
                    <a:pt x="954" y="30"/>
                  </a:lnTo>
                  <a:lnTo>
                    <a:pt x="1026" y="60"/>
                  </a:lnTo>
                  <a:lnTo>
                    <a:pt x="1032" y="60"/>
                  </a:lnTo>
                  <a:lnTo>
                    <a:pt x="1038" y="66"/>
                  </a:lnTo>
                  <a:lnTo>
                    <a:pt x="1068" y="72"/>
                  </a:lnTo>
                  <a:lnTo>
                    <a:pt x="1098" y="84"/>
                  </a:lnTo>
                  <a:lnTo>
                    <a:pt x="1122" y="90"/>
                  </a:lnTo>
                  <a:lnTo>
                    <a:pt x="1122" y="96"/>
                  </a:lnTo>
                  <a:lnTo>
                    <a:pt x="1140" y="102"/>
                  </a:lnTo>
                  <a:lnTo>
                    <a:pt x="1182" y="114"/>
                  </a:lnTo>
                  <a:lnTo>
                    <a:pt x="1188" y="114"/>
                  </a:lnTo>
                  <a:lnTo>
                    <a:pt x="1200" y="120"/>
                  </a:lnTo>
                  <a:lnTo>
                    <a:pt x="1212" y="126"/>
                  </a:lnTo>
                  <a:lnTo>
                    <a:pt x="1224" y="126"/>
                  </a:lnTo>
                  <a:lnTo>
                    <a:pt x="1248" y="138"/>
                  </a:lnTo>
                  <a:lnTo>
                    <a:pt x="1272" y="150"/>
                  </a:lnTo>
                  <a:lnTo>
                    <a:pt x="1284" y="156"/>
                  </a:lnTo>
                  <a:lnTo>
                    <a:pt x="1290" y="162"/>
                  </a:lnTo>
                  <a:lnTo>
                    <a:pt x="1296" y="162"/>
                  </a:lnTo>
                  <a:lnTo>
                    <a:pt x="1308" y="156"/>
                  </a:lnTo>
                  <a:lnTo>
                    <a:pt x="1320" y="150"/>
                  </a:lnTo>
                  <a:lnTo>
                    <a:pt x="1326" y="150"/>
                  </a:lnTo>
                  <a:lnTo>
                    <a:pt x="1338" y="144"/>
                  </a:lnTo>
                  <a:lnTo>
                    <a:pt x="1362" y="144"/>
                  </a:lnTo>
                  <a:lnTo>
                    <a:pt x="1368" y="144"/>
                  </a:lnTo>
                  <a:lnTo>
                    <a:pt x="1374" y="144"/>
                  </a:lnTo>
                  <a:lnTo>
                    <a:pt x="1386" y="150"/>
                  </a:lnTo>
                  <a:lnTo>
                    <a:pt x="1392" y="150"/>
                  </a:lnTo>
                  <a:lnTo>
                    <a:pt x="1398" y="150"/>
                  </a:lnTo>
                  <a:lnTo>
                    <a:pt x="1416" y="162"/>
                  </a:lnTo>
                  <a:lnTo>
                    <a:pt x="1458" y="186"/>
                  </a:lnTo>
                  <a:lnTo>
                    <a:pt x="1464" y="186"/>
                  </a:lnTo>
                  <a:lnTo>
                    <a:pt x="1470" y="192"/>
                  </a:lnTo>
                  <a:lnTo>
                    <a:pt x="1482" y="204"/>
                  </a:lnTo>
                  <a:lnTo>
                    <a:pt x="1512" y="234"/>
                  </a:lnTo>
                  <a:lnTo>
                    <a:pt x="1554" y="276"/>
                  </a:lnTo>
                  <a:lnTo>
                    <a:pt x="1560" y="276"/>
                  </a:lnTo>
                  <a:lnTo>
                    <a:pt x="1566" y="282"/>
                  </a:lnTo>
                  <a:lnTo>
                    <a:pt x="1578" y="294"/>
                  </a:lnTo>
                  <a:lnTo>
                    <a:pt x="1602" y="318"/>
                  </a:lnTo>
                  <a:lnTo>
                    <a:pt x="1614" y="330"/>
                  </a:lnTo>
                  <a:lnTo>
                    <a:pt x="1620" y="336"/>
                  </a:lnTo>
                  <a:lnTo>
                    <a:pt x="1626" y="342"/>
                  </a:lnTo>
                  <a:lnTo>
                    <a:pt x="1632" y="354"/>
                  </a:lnTo>
                  <a:lnTo>
                    <a:pt x="1644" y="366"/>
                  </a:lnTo>
                  <a:lnTo>
                    <a:pt x="1650" y="378"/>
                  </a:lnTo>
                  <a:lnTo>
                    <a:pt x="1650" y="384"/>
                  </a:lnTo>
                  <a:lnTo>
                    <a:pt x="1656" y="384"/>
                  </a:lnTo>
                  <a:lnTo>
                    <a:pt x="1662" y="402"/>
                  </a:lnTo>
                  <a:lnTo>
                    <a:pt x="1668" y="408"/>
                  </a:lnTo>
                  <a:lnTo>
                    <a:pt x="1674" y="426"/>
                  </a:lnTo>
                  <a:lnTo>
                    <a:pt x="1686" y="438"/>
                  </a:lnTo>
                  <a:lnTo>
                    <a:pt x="1698" y="46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9" name="Freeform 34">
              <a:extLst>
                <a:ext uri="{FF2B5EF4-FFF2-40B4-BE49-F238E27FC236}">
                  <a16:creationId xmlns:a16="http://schemas.microsoft.com/office/drawing/2014/main" id="{94603F24-8CF7-4226-A433-00D18CA7D9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1988" y="1681402"/>
              <a:ext cx="869877" cy="1060101"/>
            </a:xfrm>
            <a:custGeom>
              <a:avLst/>
              <a:gdLst>
                <a:gd name="T0" fmla="*/ 4 w 1638"/>
                <a:gd name="T1" fmla="*/ 111 h 1998"/>
                <a:gd name="T2" fmla="*/ 6 w 1638"/>
                <a:gd name="T3" fmla="*/ 87 h 1998"/>
                <a:gd name="T4" fmla="*/ 10 w 1638"/>
                <a:gd name="T5" fmla="*/ 80 h 1998"/>
                <a:gd name="T6" fmla="*/ 10 w 1638"/>
                <a:gd name="T7" fmla="*/ 71 h 1998"/>
                <a:gd name="T8" fmla="*/ 9 w 1638"/>
                <a:gd name="T9" fmla="*/ 56 h 1998"/>
                <a:gd name="T10" fmla="*/ 8 w 1638"/>
                <a:gd name="T11" fmla="*/ 40 h 1998"/>
                <a:gd name="T12" fmla="*/ 20 w 1638"/>
                <a:gd name="T13" fmla="*/ 30 h 1998"/>
                <a:gd name="T14" fmla="*/ 30 w 1638"/>
                <a:gd name="T15" fmla="*/ 19 h 1998"/>
                <a:gd name="T16" fmla="*/ 35 w 1638"/>
                <a:gd name="T17" fmla="*/ 2 h 1998"/>
                <a:gd name="T18" fmla="*/ 47 w 1638"/>
                <a:gd name="T19" fmla="*/ 2 h 1998"/>
                <a:gd name="T20" fmla="*/ 56 w 1638"/>
                <a:gd name="T21" fmla="*/ 7 h 1998"/>
                <a:gd name="T22" fmla="*/ 67 w 1638"/>
                <a:gd name="T23" fmla="*/ 5 h 1998"/>
                <a:gd name="T24" fmla="*/ 65 w 1638"/>
                <a:gd name="T25" fmla="*/ 15 h 1998"/>
                <a:gd name="T26" fmla="*/ 74 w 1638"/>
                <a:gd name="T27" fmla="*/ 24 h 1998"/>
                <a:gd name="T28" fmla="*/ 73 w 1638"/>
                <a:gd name="T29" fmla="*/ 33 h 1998"/>
                <a:gd name="T30" fmla="*/ 74 w 1638"/>
                <a:gd name="T31" fmla="*/ 44 h 1998"/>
                <a:gd name="T32" fmla="*/ 68 w 1638"/>
                <a:gd name="T33" fmla="*/ 45 h 1998"/>
                <a:gd name="T34" fmla="*/ 63 w 1638"/>
                <a:gd name="T35" fmla="*/ 50 h 1998"/>
                <a:gd name="T36" fmla="*/ 61 w 1638"/>
                <a:gd name="T37" fmla="*/ 62 h 1998"/>
                <a:gd name="T38" fmla="*/ 53 w 1638"/>
                <a:gd name="T39" fmla="*/ 86 h 1998"/>
                <a:gd name="T40" fmla="*/ 59 w 1638"/>
                <a:gd name="T41" fmla="*/ 90 h 1998"/>
                <a:gd name="T42" fmla="*/ 65 w 1638"/>
                <a:gd name="T43" fmla="*/ 86 h 1998"/>
                <a:gd name="T44" fmla="*/ 74 w 1638"/>
                <a:gd name="T45" fmla="*/ 84 h 1998"/>
                <a:gd name="T46" fmla="*/ 79 w 1638"/>
                <a:gd name="T47" fmla="*/ 85 h 1998"/>
                <a:gd name="T48" fmla="*/ 84 w 1638"/>
                <a:gd name="T49" fmla="*/ 84 h 1998"/>
                <a:gd name="T50" fmla="*/ 91 w 1638"/>
                <a:gd name="T51" fmla="*/ 84 h 1998"/>
                <a:gd name="T52" fmla="*/ 94 w 1638"/>
                <a:gd name="T53" fmla="*/ 81 h 1998"/>
                <a:gd name="T54" fmla="*/ 100 w 1638"/>
                <a:gd name="T55" fmla="*/ 81 h 1998"/>
                <a:gd name="T56" fmla="*/ 102 w 1638"/>
                <a:gd name="T57" fmla="*/ 84 h 1998"/>
                <a:gd name="T58" fmla="*/ 108 w 1638"/>
                <a:gd name="T59" fmla="*/ 85 h 1998"/>
                <a:gd name="T60" fmla="*/ 113 w 1638"/>
                <a:gd name="T61" fmla="*/ 88 h 1998"/>
                <a:gd name="T62" fmla="*/ 116 w 1638"/>
                <a:gd name="T63" fmla="*/ 88 h 1998"/>
                <a:gd name="T64" fmla="*/ 123 w 1638"/>
                <a:gd name="T65" fmla="*/ 87 h 1998"/>
                <a:gd name="T66" fmla="*/ 128 w 1638"/>
                <a:gd name="T67" fmla="*/ 86 h 1998"/>
                <a:gd name="T68" fmla="*/ 132 w 1638"/>
                <a:gd name="T69" fmla="*/ 90 h 1998"/>
                <a:gd name="T70" fmla="*/ 138 w 1638"/>
                <a:gd name="T71" fmla="*/ 96 h 1998"/>
                <a:gd name="T72" fmla="*/ 138 w 1638"/>
                <a:gd name="T73" fmla="*/ 110 h 1998"/>
                <a:gd name="T74" fmla="*/ 137 w 1638"/>
                <a:gd name="T75" fmla="*/ 118 h 1998"/>
                <a:gd name="T76" fmla="*/ 133 w 1638"/>
                <a:gd name="T77" fmla="*/ 124 h 1998"/>
                <a:gd name="T78" fmla="*/ 122 w 1638"/>
                <a:gd name="T79" fmla="*/ 125 h 1998"/>
                <a:gd name="T80" fmla="*/ 116 w 1638"/>
                <a:gd name="T81" fmla="*/ 127 h 1998"/>
                <a:gd name="T82" fmla="*/ 108 w 1638"/>
                <a:gd name="T83" fmla="*/ 123 h 1998"/>
                <a:gd name="T84" fmla="*/ 109 w 1638"/>
                <a:gd name="T85" fmla="*/ 119 h 1998"/>
                <a:gd name="T86" fmla="*/ 104 w 1638"/>
                <a:gd name="T87" fmla="*/ 104 h 1998"/>
                <a:gd name="T88" fmla="*/ 94 w 1638"/>
                <a:gd name="T89" fmla="*/ 105 h 1998"/>
                <a:gd name="T90" fmla="*/ 88 w 1638"/>
                <a:gd name="T91" fmla="*/ 109 h 1998"/>
                <a:gd name="T92" fmla="*/ 76 w 1638"/>
                <a:gd name="T93" fmla="*/ 107 h 1998"/>
                <a:gd name="T94" fmla="*/ 72 w 1638"/>
                <a:gd name="T95" fmla="*/ 114 h 1998"/>
                <a:gd name="T96" fmla="*/ 86 w 1638"/>
                <a:gd name="T97" fmla="*/ 121 h 1998"/>
                <a:gd name="T98" fmla="*/ 87 w 1638"/>
                <a:gd name="T99" fmla="*/ 129 h 1998"/>
                <a:gd name="T100" fmla="*/ 86 w 1638"/>
                <a:gd name="T101" fmla="*/ 137 h 1998"/>
                <a:gd name="T102" fmla="*/ 79 w 1638"/>
                <a:gd name="T103" fmla="*/ 141 h 1998"/>
                <a:gd name="T104" fmla="*/ 73 w 1638"/>
                <a:gd name="T105" fmla="*/ 144 h 1998"/>
                <a:gd name="T106" fmla="*/ 72 w 1638"/>
                <a:gd name="T107" fmla="*/ 164 h 1998"/>
                <a:gd name="T108" fmla="*/ 68 w 1638"/>
                <a:gd name="T109" fmla="*/ 172 h 1998"/>
                <a:gd name="T110" fmla="*/ 59 w 1638"/>
                <a:gd name="T111" fmla="*/ 164 h 1998"/>
                <a:gd name="T112" fmla="*/ 65 w 1638"/>
                <a:gd name="T113" fmla="*/ 146 h 1998"/>
                <a:gd name="T114" fmla="*/ 69 w 1638"/>
                <a:gd name="T115" fmla="*/ 133 h 1998"/>
                <a:gd name="T116" fmla="*/ 61 w 1638"/>
                <a:gd name="T117" fmla="*/ 131 h 1998"/>
                <a:gd name="T118" fmla="*/ 43 w 1638"/>
                <a:gd name="T119" fmla="*/ 125 h 1998"/>
                <a:gd name="T120" fmla="*/ 23 w 1638"/>
                <a:gd name="T121" fmla="*/ 125 h 1998"/>
                <a:gd name="T122" fmla="*/ 17 w 1638"/>
                <a:gd name="T123" fmla="*/ 121 h 19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638"/>
                <a:gd name="T187" fmla="*/ 0 h 1998"/>
                <a:gd name="T188" fmla="*/ 1638 w 1638"/>
                <a:gd name="T189" fmla="*/ 1998 h 19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638" h="1998">
                  <a:moveTo>
                    <a:pt x="144" y="1380"/>
                  </a:moveTo>
                  <a:lnTo>
                    <a:pt x="150" y="1368"/>
                  </a:lnTo>
                  <a:lnTo>
                    <a:pt x="150" y="1362"/>
                  </a:lnTo>
                  <a:lnTo>
                    <a:pt x="150" y="1356"/>
                  </a:lnTo>
                  <a:lnTo>
                    <a:pt x="144" y="1356"/>
                  </a:lnTo>
                  <a:lnTo>
                    <a:pt x="138" y="1356"/>
                  </a:lnTo>
                  <a:lnTo>
                    <a:pt x="126" y="1356"/>
                  </a:lnTo>
                  <a:lnTo>
                    <a:pt x="114" y="1344"/>
                  </a:lnTo>
                  <a:lnTo>
                    <a:pt x="84" y="1320"/>
                  </a:lnTo>
                  <a:lnTo>
                    <a:pt x="54" y="1296"/>
                  </a:lnTo>
                  <a:lnTo>
                    <a:pt x="48" y="1290"/>
                  </a:lnTo>
                  <a:lnTo>
                    <a:pt x="42" y="1278"/>
                  </a:lnTo>
                  <a:lnTo>
                    <a:pt x="30" y="1272"/>
                  </a:lnTo>
                  <a:lnTo>
                    <a:pt x="0" y="1248"/>
                  </a:lnTo>
                  <a:lnTo>
                    <a:pt x="6" y="1230"/>
                  </a:lnTo>
                  <a:lnTo>
                    <a:pt x="12" y="1194"/>
                  </a:lnTo>
                  <a:lnTo>
                    <a:pt x="18" y="1170"/>
                  </a:lnTo>
                  <a:lnTo>
                    <a:pt x="30" y="1134"/>
                  </a:lnTo>
                  <a:lnTo>
                    <a:pt x="36" y="1086"/>
                  </a:lnTo>
                  <a:lnTo>
                    <a:pt x="42" y="1050"/>
                  </a:lnTo>
                  <a:lnTo>
                    <a:pt x="48" y="1044"/>
                  </a:lnTo>
                  <a:lnTo>
                    <a:pt x="54" y="1026"/>
                  </a:lnTo>
                  <a:lnTo>
                    <a:pt x="60" y="1014"/>
                  </a:lnTo>
                  <a:lnTo>
                    <a:pt x="66" y="1002"/>
                  </a:lnTo>
                  <a:lnTo>
                    <a:pt x="66" y="996"/>
                  </a:lnTo>
                  <a:lnTo>
                    <a:pt x="72" y="996"/>
                  </a:lnTo>
                  <a:lnTo>
                    <a:pt x="72" y="990"/>
                  </a:lnTo>
                  <a:lnTo>
                    <a:pt x="78" y="990"/>
                  </a:lnTo>
                  <a:lnTo>
                    <a:pt x="90" y="978"/>
                  </a:lnTo>
                  <a:lnTo>
                    <a:pt x="96" y="966"/>
                  </a:lnTo>
                  <a:lnTo>
                    <a:pt x="102" y="966"/>
                  </a:lnTo>
                  <a:lnTo>
                    <a:pt x="114" y="954"/>
                  </a:lnTo>
                  <a:lnTo>
                    <a:pt x="120" y="954"/>
                  </a:lnTo>
                  <a:lnTo>
                    <a:pt x="120" y="948"/>
                  </a:lnTo>
                  <a:lnTo>
                    <a:pt x="114" y="930"/>
                  </a:lnTo>
                  <a:lnTo>
                    <a:pt x="114" y="924"/>
                  </a:lnTo>
                  <a:lnTo>
                    <a:pt x="108" y="918"/>
                  </a:lnTo>
                  <a:lnTo>
                    <a:pt x="102" y="912"/>
                  </a:lnTo>
                  <a:lnTo>
                    <a:pt x="90" y="906"/>
                  </a:lnTo>
                  <a:lnTo>
                    <a:pt x="84" y="900"/>
                  </a:lnTo>
                  <a:lnTo>
                    <a:pt x="84" y="888"/>
                  </a:lnTo>
                  <a:lnTo>
                    <a:pt x="84" y="882"/>
                  </a:lnTo>
                  <a:lnTo>
                    <a:pt x="78" y="858"/>
                  </a:lnTo>
                  <a:lnTo>
                    <a:pt x="78" y="852"/>
                  </a:lnTo>
                  <a:lnTo>
                    <a:pt x="84" y="846"/>
                  </a:lnTo>
                  <a:lnTo>
                    <a:pt x="84" y="840"/>
                  </a:lnTo>
                  <a:lnTo>
                    <a:pt x="96" y="828"/>
                  </a:lnTo>
                  <a:lnTo>
                    <a:pt x="114" y="816"/>
                  </a:lnTo>
                  <a:lnTo>
                    <a:pt x="114" y="810"/>
                  </a:lnTo>
                  <a:lnTo>
                    <a:pt x="114" y="804"/>
                  </a:lnTo>
                  <a:lnTo>
                    <a:pt x="108" y="780"/>
                  </a:lnTo>
                  <a:lnTo>
                    <a:pt x="96" y="756"/>
                  </a:lnTo>
                  <a:lnTo>
                    <a:pt x="96" y="750"/>
                  </a:lnTo>
                  <a:lnTo>
                    <a:pt x="90" y="720"/>
                  </a:lnTo>
                  <a:lnTo>
                    <a:pt x="90" y="708"/>
                  </a:lnTo>
                  <a:lnTo>
                    <a:pt x="90" y="690"/>
                  </a:lnTo>
                  <a:lnTo>
                    <a:pt x="96" y="672"/>
                  </a:lnTo>
                  <a:lnTo>
                    <a:pt x="90" y="666"/>
                  </a:lnTo>
                  <a:lnTo>
                    <a:pt x="96" y="666"/>
                  </a:lnTo>
                  <a:lnTo>
                    <a:pt x="102" y="642"/>
                  </a:lnTo>
                  <a:lnTo>
                    <a:pt x="108" y="624"/>
                  </a:lnTo>
                  <a:lnTo>
                    <a:pt x="102" y="618"/>
                  </a:lnTo>
                  <a:lnTo>
                    <a:pt x="102" y="588"/>
                  </a:lnTo>
                  <a:lnTo>
                    <a:pt x="102" y="564"/>
                  </a:lnTo>
                  <a:lnTo>
                    <a:pt x="102" y="546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0"/>
                  </a:lnTo>
                  <a:lnTo>
                    <a:pt x="96" y="498"/>
                  </a:lnTo>
                  <a:lnTo>
                    <a:pt x="96" y="486"/>
                  </a:lnTo>
                  <a:lnTo>
                    <a:pt x="96" y="474"/>
                  </a:lnTo>
                  <a:lnTo>
                    <a:pt x="96" y="462"/>
                  </a:lnTo>
                  <a:lnTo>
                    <a:pt x="114" y="450"/>
                  </a:lnTo>
                  <a:lnTo>
                    <a:pt x="126" y="438"/>
                  </a:lnTo>
                  <a:lnTo>
                    <a:pt x="132" y="432"/>
                  </a:lnTo>
                  <a:lnTo>
                    <a:pt x="144" y="426"/>
                  </a:lnTo>
                  <a:lnTo>
                    <a:pt x="144" y="420"/>
                  </a:lnTo>
                  <a:lnTo>
                    <a:pt x="156" y="414"/>
                  </a:lnTo>
                  <a:lnTo>
                    <a:pt x="162" y="408"/>
                  </a:lnTo>
                  <a:lnTo>
                    <a:pt x="180" y="396"/>
                  </a:lnTo>
                  <a:lnTo>
                    <a:pt x="210" y="372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34" y="348"/>
                  </a:lnTo>
                  <a:lnTo>
                    <a:pt x="240" y="348"/>
                  </a:lnTo>
                  <a:lnTo>
                    <a:pt x="246" y="342"/>
                  </a:lnTo>
                  <a:lnTo>
                    <a:pt x="276" y="318"/>
                  </a:lnTo>
                  <a:lnTo>
                    <a:pt x="282" y="312"/>
                  </a:lnTo>
                  <a:lnTo>
                    <a:pt x="288" y="306"/>
                  </a:lnTo>
                  <a:lnTo>
                    <a:pt x="300" y="288"/>
                  </a:lnTo>
                  <a:lnTo>
                    <a:pt x="306" y="276"/>
                  </a:lnTo>
                  <a:lnTo>
                    <a:pt x="324" y="246"/>
                  </a:lnTo>
                  <a:lnTo>
                    <a:pt x="330" y="240"/>
                  </a:lnTo>
                  <a:lnTo>
                    <a:pt x="336" y="234"/>
                  </a:lnTo>
                  <a:lnTo>
                    <a:pt x="342" y="228"/>
                  </a:lnTo>
                  <a:lnTo>
                    <a:pt x="342" y="216"/>
                  </a:lnTo>
                  <a:lnTo>
                    <a:pt x="354" y="204"/>
                  </a:lnTo>
                  <a:lnTo>
                    <a:pt x="360" y="204"/>
                  </a:lnTo>
                  <a:lnTo>
                    <a:pt x="366" y="186"/>
                  </a:lnTo>
                  <a:lnTo>
                    <a:pt x="384" y="162"/>
                  </a:lnTo>
                  <a:lnTo>
                    <a:pt x="390" y="144"/>
                  </a:lnTo>
                  <a:lnTo>
                    <a:pt x="396" y="114"/>
                  </a:lnTo>
                  <a:lnTo>
                    <a:pt x="396" y="102"/>
                  </a:lnTo>
                  <a:lnTo>
                    <a:pt x="402" y="90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08" y="36"/>
                  </a:lnTo>
                  <a:lnTo>
                    <a:pt x="408" y="24"/>
                  </a:lnTo>
                  <a:lnTo>
                    <a:pt x="408" y="6"/>
                  </a:lnTo>
                  <a:lnTo>
                    <a:pt x="420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68" y="0"/>
                  </a:lnTo>
                  <a:lnTo>
                    <a:pt x="480" y="0"/>
                  </a:lnTo>
                  <a:lnTo>
                    <a:pt x="492" y="0"/>
                  </a:lnTo>
                  <a:lnTo>
                    <a:pt x="498" y="0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8" y="18"/>
                  </a:lnTo>
                  <a:lnTo>
                    <a:pt x="534" y="18"/>
                  </a:lnTo>
                  <a:lnTo>
                    <a:pt x="540" y="18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8" y="36"/>
                  </a:lnTo>
                  <a:lnTo>
                    <a:pt x="588" y="54"/>
                  </a:lnTo>
                  <a:lnTo>
                    <a:pt x="594" y="48"/>
                  </a:lnTo>
                  <a:lnTo>
                    <a:pt x="600" y="48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12" y="66"/>
                  </a:lnTo>
                  <a:lnTo>
                    <a:pt x="630" y="72"/>
                  </a:lnTo>
                  <a:lnTo>
                    <a:pt x="642" y="78"/>
                  </a:lnTo>
                  <a:lnTo>
                    <a:pt x="666" y="78"/>
                  </a:lnTo>
                  <a:lnTo>
                    <a:pt x="672" y="72"/>
                  </a:lnTo>
                  <a:lnTo>
                    <a:pt x="690" y="84"/>
                  </a:lnTo>
                  <a:lnTo>
                    <a:pt x="690" y="90"/>
                  </a:lnTo>
                  <a:lnTo>
                    <a:pt x="708" y="96"/>
                  </a:lnTo>
                  <a:lnTo>
                    <a:pt x="708" y="102"/>
                  </a:lnTo>
                  <a:lnTo>
                    <a:pt x="744" y="96"/>
                  </a:lnTo>
                  <a:lnTo>
                    <a:pt x="756" y="78"/>
                  </a:lnTo>
                  <a:lnTo>
                    <a:pt x="756" y="72"/>
                  </a:lnTo>
                  <a:lnTo>
                    <a:pt x="762" y="66"/>
                  </a:lnTo>
                  <a:lnTo>
                    <a:pt x="768" y="60"/>
                  </a:lnTo>
                  <a:lnTo>
                    <a:pt x="774" y="54"/>
                  </a:lnTo>
                  <a:lnTo>
                    <a:pt x="786" y="54"/>
                  </a:lnTo>
                  <a:lnTo>
                    <a:pt x="786" y="60"/>
                  </a:lnTo>
                  <a:lnTo>
                    <a:pt x="786" y="66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92" y="90"/>
                  </a:lnTo>
                  <a:lnTo>
                    <a:pt x="780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26"/>
                  </a:lnTo>
                  <a:lnTo>
                    <a:pt x="768" y="150"/>
                  </a:lnTo>
                  <a:lnTo>
                    <a:pt x="750" y="168"/>
                  </a:lnTo>
                  <a:lnTo>
                    <a:pt x="750" y="174"/>
                  </a:lnTo>
                  <a:lnTo>
                    <a:pt x="762" y="192"/>
                  </a:lnTo>
                  <a:lnTo>
                    <a:pt x="774" y="210"/>
                  </a:lnTo>
                  <a:lnTo>
                    <a:pt x="792" y="228"/>
                  </a:lnTo>
                  <a:lnTo>
                    <a:pt x="804" y="240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40" y="252"/>
                  </a:lnTo>
                  <a:lnTo>
                    <a:pt x="834" y="252"/>
                  </a:lnTo>
                  <a:lnTo>
                    <a:pt x="846" y="252"/>
                  </a:lnTo>
                  <a:lnTo>
                    <a:pt x="852" y="270"/>
                  </a:lnTo>
                  <a:lnTo>
                    <a:pt x="858" y="282"/>
                  </a:lnTo>
                  <a:lnTo>
                    <a:pt x="858" y="288"/>
                  </a:lnTo>
                  <a:lnTo>
                    <a:pt x="864" y="300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58" y="318"/>
                  </a:lnTo>
                  <a:lnTo>
                    <a:pt x="852" y="318"/>
                  </a:lnTo>
                  <a:lnTo>
                    <a:pt x="846" y="324"/>
                  </a:lnTo>
                  <a:lnTo>
                    <a:pt x="846" y="336"/>
                  </a:lnTo>
                  <a:lnTo>
                    <a:pt x="840" y="348"/>
                  </a:lnTo>
                  <a:lnTo>
                    <a:pt x="840" y="360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46" y="402"/>
                  </a:lnTo>
                  <a:lnTo>
                    <a:pt x="858" y="420"/>
                  </a:lnTo>
                  <a:lnTo>
                    <a:pt x="882" y="426"/>
                  </a:lnTo>
                  <a:lnTo>
                    <a:pt x="888" y="444"/>
                  </a:lnTo>
                  <a:lnTo>
                    <a:pt x="900" y="444"/>
                  </a:lnTo>
                  <a:lnTo>
                    <a:pt x="900" y="462"/>
                  </a:lnTo>
                  <a:lnTo>
                    <a:pt x="894" y="474"/>
                  </a:lnTo>
                  <a:lnTo>
                    <a:pt x="888" y="486"/>
                  </a:lnTo>
                  <a:lnTo>
                    <a:pt x="882" y="492"/>
                  </a:lnTo>
                  <a:lnTo>
                    <a:pt x="870" y="504"/>
                  </a:lnTo>
                  <a:lnTo>
                    <a:pt x="852" y="504"/>
                  </a:lnTo>
                  <a:lnTo>
                    <a:pt x="852" y="510"/>
                  </a:lnTo>
                  <a:lnTo>
                    <a:pt x="852" y="516"/>
                  </a:lnTo>
                  <a:lnTo>
                    <a:pt x="846" y="528"/>
                  </a:lnTo>
                  <a:lnTo>
                    <a:pt x="846" y="582"/>
                  </a:lnTo>
                  <a:lnTo>
                    <a:pt x="840" y="582"/>
                  </a:lnTo>
                  <a:lnTo>
                    <a:pt x="834" y="582"/>
                  </a:lnTo>
                  <a:lnTo>
                    <a:pt x="828" y="582"/>
                  </a:lnTo>
                  <a:lnTo>
                    <a:pt x="822" y="582"/>
                  </a:lnTo>
                  <a:lnTo>
                    <a:pt x="810" y="582"/>
                  </a:lnTo>
                  <a:lnTo>
                    <a:pt x="810" y="528"/>
                  </a:lnTo>
                  <a:lnTo>
                    <a:pt x="792" y="528"/>
                  </a:lnTo>
                  <a:lnTo>
                    <a:pt x="792" y="522"/>
                  </a:lnTo>
                  <a:lnTo>
                    <a:pt x="786" y="522"/>
                  </a:lnTo>
                  <a:lnTo>
                    <a:pt x="786" y="516"/>
                  </a:lnTo>
                  <a:lnTo>
                    <a:pt x="780" y="516"/>
                  </a:lnTo>
                  <a:lnTo>
                    <a:pt x="780" y="510"/>
                  </a:lnTo>
                  <a:lnTo>
                    <a:pt x="762" y="510"/>
                  </a:lnTo>
                  <a:lnTo>
                    <a:pt x="756" y="510"/>
                  </a:lnTo>
                  <a:lnTo>
                    <a:pt x="750" y="522"/>
                  </a:lnTo>
                  <a:lnTo>
                    <a:pt x="744" y="534"/>
                  </a:lnTo>
                  <a:lnTo>
                    <a:pt x="732" y="540"/>
                  </a:lnTo>
                  <a:lnTo>
                    <a:pt x="732" y="558"/>
                  </a:lnTo>
                  <a:lnTo>
                    <a:pt x="732" y="564"/>
                  </a:lnTo>
                  <a:lnTo>
                    <a:pt x="732" y="570"/>
                  </a:lnTo>
                  <a:lnTo>
                    <a:pt x="726" y="576"/>
                  </a:lnTo>
                  <a:lnTo>
                    <a:pt x="720" y="576"/>
                  </a:lnTo>
                  <a:lnTo>
                    <a:pt x="714" y="582"/>
                  </a:lnTo>
                  <a:lnTo>
                    <a:pt x="702" y="588"/>
                  </a:lnTo>
                  <a:lnTo>
                    <a:pt x="696" y="594"/>
                  </a:lnTo>
                  <a:lnTo>
                    <a:pt x="690" y="600"/>
                  </a:lnTo>
                  <a:lnTo>
                    <a:pt x="690" y="606"/>
                  </a:lnTo>
                  <a:lnTo>
                    <a:pt x="678" y="606"/>
                  </a:lnTo>
                  <a:lnTo>
                    <a:pt x="678" y="624"/>
                  </a:lnTo>
                  <a:lnTo>
                    <a:pt x="684" y="642"/>
                  </a:lnTo>
                  <a:lnTo>
                    <a:pt x="684" y="660"/>
                  </a:lnTo>
                  <a:lnTo>
                    <a:pt x="690" y="672"/>
                  </a:lnTo>
                  <a:lnTo>
                    <a:pt x="702" y="720"/>
                  </a:lnTo>
                  <a:lnTo>
                    <a:pt x="708" y="750"/>
                  </a:lnTo>
                  <a:lnTo>
                    <a:pt x="708" y="792"/>
                  </a:lnTo>
                  <a:lnTo>
                    <a:pt x="708" y="828"/>
                  </a:lnTo>
                  <a:lnTo>
                    <a:pt x="708" y="852"/>
                  </a:lnTo>
                  <a:lnTo>
                    <a:pt x="696" y="894"/>
                  </a:lnTo>
                  <a:lnTo>
                    <a:pt x="702" y="900"/>
                  </a:lnTo>
                  <a:lnTo>
                    <a:pt x="708" y="924"/>
                  </a:lnTo>
                  <a:lnTo>
                    <a:pt x="684" y="936"/>
                  </a:lnTo>
                  <a:lnTo>
                    <a:pt x="660" y="954"/>
                  </a:lnTo>
                  <a:lnTo>
                    <a:pt x="618" y="984"/>
                  </a:lnTo>
                  <a:lnTo>
                    <a:pt x="618" y="990"/>
                  </a:lnTo>
                  <a:lnTo>
                    <a:pt x="612" y="996"/>
                  </a:lnTo>
                  <a:lnTo>
                    <a:pt x="606" y="1002"/>
                  </a:lnTo>
                  <a:lnTo>
                    <a:pt x="618" y="1008"/>
                  </a:lnTo>
                  <a:lnTo>
                    <a:pt x="618" y="1014"/>
                  </a:lnTo>
                  <a:lnTo>
                    <a:pt x="624" y="1026"/>
                  </a:lnTo>
                  <a:lnTo>
                    <a:pt x="630" y="1026"/>
                  </a:lnTo>
                  <a:lnTo>
                    <a:pt x="636" y="1032"/>
                  </a:lnTo>
                  <a:lnTo>
                    <a:pt x="642" y="1032"/>
                  </a:lnTo>
                  <a:lnTo>
                    <a:pt x="642" y="1038"/>
                  </a:lnTo>
                  <a:lnTo>
                    <a:pt x="648" y="1044"/>
                  </a:lnTo>
                  <a:lnTo>
                    <a:pt x="666" y="1050"/>
                  </a:lnTo>
                  <a:lnTo>
                    <a:pt x="678" y="1038"/>
                  </a:lnTo>
                  <a:lnTo>
                    <a:pt x="684" y="1038"/>
                  </a:lnTo>
                  <a:lnTo>
                    <a:pt x="684" y="1032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20"/>
                  </a:lnTo>
                  <a:lnTo>
                    <a:pt x="708" y="1014"/>
                  </a:lnTo>
                  <a:lnTo>
                    <a:pt x="720" y="1020"/>
                  </a:lnTo>
                  <a:lnTo>
                    <a:pt x="720" y="1014"/>
                  </a:lnTo>
                  <a:lnTo>
                    <a:pt x="726" y="1008"/>
                  </a:lnTo>
                  <a:lnTo>
                    <a:pt x="732" y="1008"/>
                  </a:lnTo>
                  <a:lnTo>
                    <a:pt x="738" y="1008"/>
                  </a:lnTo>
                  <a:lnTo>
                    <a:pt x="744" y="1002"/>
                  </a:lnTo>
                  <a:lnTo>
                    <a:pt x="744" y="996"/>
                  </a:lnTo>
                  <a:lnTo>
                    <a:pt x="750" y="996"/>
                  </a:lnTo>
                  <a:lnTo>
                    <a:pt x="756" y="1002"/>
                  </a:lnTo>
                  <a:lnTo>
                    <a:pt x="762" y="1002"/>
                  </a:lnTo>
                  <a:lnTo>
                    <a:pt x="768" y="996"/>
                  </a:lnTo>
                  <a:lnTo>
                    <a:pt x="780" y="996"/>
                  </a:lnTo>
                  <a:lnTo>
                    <a:pt x="786" y="996"/>
                  </a:lnTo>
                  <a:lnTo>
                    <a:pt x="816" y="990"/>
                  </a:lnTo>
                  <a:lnTo>
                    <a:pt x="828" y="990"/>
                  </a:lnTo>
                  <a:lnTo>
                    <a:pt x="834" y="990"/>
                  </a:lnTo>
                  <a:lnTo>
                    <a:pt x="840" y="984"/>
                  </a:lnTo>
                  <a:lnTo>
                    <a:pt x="852" y="978"/>
                  </a:lnTo>
                  <a:lnTo>
                    <a:pt x="852" y="972"/>
                  </a:lnTo>
                  <a:lnTo>
                    <a:pt x="858" y="972"/>
                  </a:lnTo>
                  <a:lnTo>
                    <a:pt x="864" y="966"/>
                  </a:lnTo>
                  <a:lnTo>
                    <a:pt x="870" y="966"/>
                  </a:lnTo>
                  <a:lnTo>
                    <a:pt x="876" y="966"/>
                  </a:lnTo>
                  <a:lnTo>
                    <a:pt x="882" y="960"/>
                  </a:lnTo>
                  <a:lnTo>
                    <a:pt x="888" y="960"/>
                  </a:lnTo>
                  <a:lnTo>
                    <a:pt x="894" y="960"/>
                  </a:lnTo>
                  <a:lnTo>
                    <a:pt x="894" y="966"/>
                  </a:lnTo>
                  <a:lnTo>
                    <a:pt x="894" y="978"/>
                  </a:lnTo>
                  <a:lnTo>
                    <a:pt x="894" y="984"/>
                  </a:lnTo>
                  <a:lnTo>
                    <a:pt x="900" y="984"/>
                  </a:lnTo>
                  <a:lnTo>
                    <a:pt x="906" y="978"/>
                  </a:lnTo>
                  <a:lnTo>
                    <a:pt x="912" y="972"/>
                  </a:lnTo>
                  <a:lnTo>
                    <a:pt x="918" y="978"/>
                  </a:lnTo>
                  <a:lnTo>
                    <a:pt x="924" y="978"/>
                  </a:lnTo>
                  <a:lnTo>
                    <a:pt x="924" y="972"/>
                  </a:lnTo>
                  <a:lnTo>
                    <a:pt x="924" y="966"/>
                  </a:lnTo>
                  <a:lnTo>
                    <a:pt x="930" y="966"/>
                  </a:lnTo>
                  <a:lnTo>
                    <a:pt x="948" y="966"/>
                  </a:lnTo>
                  <a:lnTo>
                    <a:pt x="954" y="966"/>
                  </a:lnTo>
                  <a:lnTo>
                    <a:pt x="954" y="960"/>
                  </a:lnTo>
                  <a:lnTo>
                    <a:pt x="960" y="960"/>
                  </a:lnTo>
                  <a:lnTo>
                    <a:pt x="966" y="960"/>
                  </a:lnTo>
                  <a:lnTo>
                    <a:pt x="966" y="966"/>
                  </a:lnTo>
                  <a:lnTo>
                    <a:pt x="978" y="972"/>
                  </a:lnTo>
                  <a:lnTo>
                    <a:pt x="978" y="978"/>
                  </a:lnTo>
                  <a:lnTo>
                    <a:pt x="978" y="984"/>
                  </a:lnTo>
                  <a:lnTo>
                    <a:pt x="984" y="978"/>
                  </a:lnTo>
                  <a:lnTo>
                    <a:pt x="990" y="978"/>
                  </a:lnTo>
                  <a:lnTo>
                    <a:pt x="996" y="984"/>
                  </a:lnTo>
                  <a:lnTo>
                    <a:pt x="1002" y="990"/>
                  </a:lnTo>
                  <a:lnTo>
                    <a:pt x="1008" y="972"/>
                  </a:lnTo>
                  <a:lnTo>
                    <a:pt x="1026" y="972"/>
                  </a:lnTo>
                  <a:lnTo>
                    <a:pt x="1032" y="972"/>
                  </a:lnTo>
                  <a:lnTo>
                    <a:pt x="1038" y="972"/>
                  </a:lnTo>
                  <a:lnTo>
                    <a:pt x="1050" y="972"/>
                  </a:lnTo>
                  <a:lnTo>
                    <a:pt x="1056" y="972"/>
                  </a:lnTo>
                  <a:lnTo>
                    <a:pt x="1062" y="966"/>
                  </a:lnTo>
                  <a:lnTo>
                    <a:pt x="1074" y="966"/>
                  </a:lnTo>
                  <a:lnTo>
                    <a:pt x="1074" y="960"/>
                  </a:lnTo>
                  <a:lnTo>
                    <a:pt x="1080" y="954"/>
                  </a:lnTo>
                  <a:lnTo>
                    <a:pt x="1080" y="948"/>
                  </a:lnTo>
                  <a:lnTo>
                    <a:pt x="1074" y="948"/>
                  </a:lnTo>
                  <a:lnTo>
                    <a:pt x="1068" y="948"/>
                  </a:lnTo>
                  <a:lnTo>
                    <a:pt x="1062" y="942"/>
                  </a:lnTo>
                  <a:lnTo>
                    <a:pt x="1068" y="936"/>
                  </a:lnTo>
                  <a:lnTo>
                    <a:pt x="1074" y="936"/>
                  </a:lnTo>
                  <a:lnTo>
                    <a:pt x="1080" y="936"/>
                  </a:lnTo>
                  <a:lnTo>
                    <a:pt x="1086" y="942"/>
                  </a:lnTo>
                  <a:lnTo>
                    <a:pt x="1092" y="942"/>
                  </a:lnTo>
                  <a:lnTo>
                    <a:pt x="1098" y="948"/>
                  </a:lnTo>
                  <a:lnTo>
                    <a:pt x="1104" y="954"/>
                  </a:lnTo>
                  <a:lnTo>
                    <a:pt x="1110" y="954"/>
                  </a:lnTo>
                  <a:lnTo>
                    <a:pt x="1116" y="948"/>
                  </a:lnTo>
                  <a:lnTo>
                    <a:pt x="1122" y="942"/>
                  </a:lnTo>
                  <a:lnTo>
                    <a:pt x="1128" y="942"/>
                  </a:lnTo>
                  <a:lnTo>
                    <a:pt x="1134" y="942"/>
                  </a:lnTo>
                  <a:lnTo>
                    <a:pt x="1140" y="948"/>
                  </a:lnTo>
                  <a:lnTo>
                    <a:pt x="1146" y="942"/>
                  </a:lnTo>
                  <a:lnTo>
                    <a:pt x="1152" y="942"/>
                  </a:lnTo>
                  <a:lnTo>
                    <a:pt x="1152" y="930"/>
                  </a:lnTo>
                  <a:lnTo>
                    <a:pt x="1164" y="936"/>
                  </a:lnTo>
                  <a:lnTo>
                    <a:pt x="1158" y="942"/>
                  </a:lnTo>
                  <a:lnTo>
                    <a:pt x="1158" y="948"/>
                  </a:lnTo>
                  <a:lnTo>
                    <a:pt x="1146" y="954"/>
                  </a:lnTo>
                  <a:lnTo>
                    <a:pt x="1152" y="954"/>
                  </a:lnTo>
                  <a:lnTo>
                    <a:pt x="1158" y="954"/>
                  </a:lnTo>
                  <a:lnTo>
                    <a:pt x="1158" y="948"/>
                  </a:lnTo>
                  <a:lnTo>
                    <a:pt x="1164" y="948"/>
                  </a:lnTo>
                  <a:lnTo>
                    <a:pt x="1170" y="948"/>
                  </a:lnTo>
                  <a:lnTo>
                    <a:pt x="1176" y="954"/>
                  </a:lnTo>
                  <a:lnTo>
                    <a:pt x="1176" y="966"/>
                  </a:lnTo>
                  <a:lnTo>
                    <a:pt x="1182" y="972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88" y="984"/>
                  </a:lnTo>
                  <a:lnTo>
                    <a:pt x="1194" y="984"/>
                  </a:lnTo>
                  <a:lnTo>
                    <a:pt x="1200" y="984"/>
                  </a:lnTo>
                  <a:lnTo>
                    <a:pt x="1212" y="984"/>
                  </a:lnTo>
                  <a:lnTo>
                    <a:pt x="1218" y="990"/>
                  </a:lnTo>
                  <a:lnTo>
                    <a:pt x="1224" y="990"/>
                  </a:lnTo>
                  <a:lnTo>
                    <a:pt x="1224" y="984"/>
                  </a:lnTo>
                  <a:lnTo>
                    <a:pt x="1230" y="990"/>
                  </a:lnTo>
                  <a:lnTo>
                    <a:pt x="1236" y="984"/>
                  </a:lnTo>
                  <a:lnTo>
                    <a:pt x="1242" y="984"/>
                  </a:lnTo>
                  <a:lnTo>
                    <a:pt x="1248" y="990"/>
                  </a:lnTo>
                  <a:lnTo>
                    <a:pt x="1254" y="990"/>
                  </a:lnTo>
                  <a:lnTo>
                    <a:pt x="1254" y="996"/>
                  </a:lnTo>
                  <a:lnTo>
                    <a:pt x="1254" y="1002"/>
                  </a:lnTo>
                  <a:lnTo>
                    <a:pt x="1254" y="1008"/>
                  </a:lnTo>
                  <a:lnTo>
                    <a:pt x="1260" y="1014"/>
                  </a:lnTo>
                  <a:lnTo>
                    <a:pt x="1266" y="1014"/>
                  </a:lnTo>
                  <a:lnTo>
                    <a:pt x="1272" y="1014"/>
                  </a:lnTo>
                  <a:lnTo>
                    <a:pt x="1278" y="1020"/>
                  </a:lnTo>
                  <a:lnTo>
                    <a:pt x="1284" y="1020"/>
                  </a:lnTo>
                  <a:lnTo>
                    <a:pt x="1290" y="1014"/>
                  </a:lnTo>
                  <a:lnTo>
                    <a:pt x="1290" y="1008"/>
                  </a:lnTo>
                  <a:lnTo>
                    <a:pt x="1296" y="1008"/>
                  </a:lnTo>
                  <a:lnTo>
                    <a:pt x="1302" y="1014"/>
                  </a:lnTo>
                  <a:lnTo>
                    <a:pt x="1308" y="1014"/>
                  </a:lnTo>
                  <a:lnTo>
                    <a:pt x="1314" y="1008"/>
                  </a:lnTo>
                  <a:lnTo>
                    <a:pt x="1320" y="1008"/>
                  </a:lnTo>
                  <a:lnTo>
                    <a:pt x="1320" y="1002"/>
                  </a:lnTo>
                  <a:lnTo>
                    <a:pt x="1320" y="996"/>
                  </a:lnTo>
                  <a:lnTo>
                    <a:pt x="1332" y="1002"/>
                  </a:lnTo>
                  <a:lnTo>
                    <a:pt x="1332" y="1008"/>
                  </a:lnTo>
                  <a:lnTo>
                    <a:pt x="1326" y="1014"/>
                  </a:lnTo>
                  <a:lnTo>
                    <a:pt x="1332" y="1014"/>
                  </a:lnTo>
                  <a:lnTo>
                    <a:pt x="1338" y="1014"/>
                  </a:lnTo>
                  <a:lnTo>
                    <a:pt x="1338" y="1008"/>
                  </a:lnTo>
                  <a:lnTo>
                    <a:pt x="1344" y="1008"/>
                  </a:lnTo>
                  <a:lnTo>
                    <a:pt x="1350" y="1008"/>
                  </a:lnTo>
                  <a:lnTo>
                    <a:pt x="1356" y="1014"/>
                  </a:lnTo>
                  <a:lnTo>
                    <a:pt x="1356" y="1008"/>
                  </a:lnTo>
                  <a:lnTo>
                    <a:pt x="1362" y="1014"/>
                  </a:lnTo>
                  <a:lnTo>
                    <a:pt x="1392" y="1014"/>
                  </a:lnTo>
                  <a:lnTo>
                    <a:pt x="1398" y="1014"/>
                  </a:lnTo>
                  <a:lnTo>
                    <a:pt x="1404" y="1008"/>
                  </a:lnTo>
                  <a:lnTo>
                    <a:pt x="1404" y="1014"/>
                  </a:lnTo>
                  <a:lnTo>
                    <a:pt x="1410" y="1008"/>
                  </a:lnTo>
                  <a:lnTo>
                    <a:pt x="1416" y="1008"/>
                  </a:lnTo>
                  <a:lnTo>
                    <a:pt x="1422" y="1002"/>
                  </a:lnTo>
                  <a:lnTo>
                    <a:pt x="1428" y="1002"/>
                  </a:lnTo>
                  <a:lnTo>
                    <a:pt x="1428" y="996"/>
                  </a:lnTo>
                  <a:lnTo>
                    <a:pt x="1428" y="990"/>
                  </a:lnTo>
                  <a:lnTo>
                    <a:pt x="1440" y="1002"/>
                  </a:lnTo>
                  <a:lnTo>
                    <a:pt x="1446" y="1002"/>
                  </a:lnTo>
                  <a:lnTo>
                    <a:pt x="1452" y="1002"/>
                  </a:lnTo>
                  <a:lnTo>
                    <a:pt x="1446" y="996"/>
                  </a:lnTo>
                  <a:lnTo>
                    <a:pt x="1452" y="996"/>
                  </a:lnTo>
                  <a:lnTo>
                    <a:pt x="1458" y="996"/>
                  </a:lnTo>
                  <a:lnTo>
                    <a:pt x="1464" y="996"/>
                  </a:lnTo>
                  <a:lnTo>
                    <a:pt x="1464" y="1002"/>
                  </a:lnTo>
                  <a:lnTo>
                    <a:pt x="1476" y="1014"/>
                  </a:lnTo>
                  <a:lnTo>
                    <a:pt x="1476" y="1008"/>
                  </a:lnTo>
                  <a:lnTo>
                    <a:pt x="1482" y="1008"/>
                  </a:lnTo>
                  <a:lnTo>
                    <a:pt x="1488" y="1020"/>
                  </a:lnTo>
                  <a:lnTo>
                    <a:pt x="1494" y="1020"/>
                  </a:lnTo>
                  <a:lnTo>
                    <a:pt x="1500" y="1014"/>
                  </a:lnTo>
                  <a:lnTo>
                    <a:pt x="1500" y="1020"/>
                  </a:lnTo>
                  <a:lnTo>
                    <a:pt x="1506" y="1026"/>
                  </a:lnTo>
                  <a:lnTo>
                    <a:pt x="1512" y="1032"/>
                  </a:lnTo>
                  <a:lnTo>
                    <a:pt x="1518" y="1032"/>
                  </a:lnTo>
                  <a:lnTo>
                    <a:pt x="1518" y="1038"/>
                  </a:lnTo>
                  <a:lnTo>
                    <a:pt x="1518" y="1044"/>
                  </a:lnTo>
                  <a:lnTo>
                    <a:pt x="1524" y="1044"/>
                  </a:lnTo>
                  <a:lnTo>
                    <a:pt x="1524" y="1050"/>
                  </a:lnTo>
                  <a:lnTo>
                    <a:pt x="1530" y="1056"/>
                  </a:lnTo>
                  <a:lnTo>
                    <a:pt x="1548" y="1062"/>
                  </a:lnTo>
                  <a:lnTo>
                    <a:pt x="1560" y="1074"/>
                  </a:lnTo>
                  <a:lnTo>
                    <a:pt x="1560" y="1080"/>
                  </a:lnTo>
                  <a:lnTo>
                    <a:pt x="1560" y="1086"/>
                  </a:lnTo>
                  <a:lnTo>
                    <a:pt x="1566" y="1086"/>
                  </a:lnTo>
                  <a:lnTo>
                    <a:pt x="1572" y="1098"/>
                  </a:lnTo>
                  <a:lnTo>
                    <a:pt x="1572" y="1104"/>
                  </a:lnTo>
                  <a:lnTo>
                    <a:pt x="1584" y="1110"/>
                  </a:lnTo>
                  <a:lnTo>
                    <a:pt x="1590" y="1116"/>
                  </a:lnTo>
                  <a:lnTo>
                    <a:pt x="1596" y="1116"/>
                  </a:lnTo>
                  <a:lnTo>
                    <a:pt x="1608" y="1122"/>
                  </a:lnTo>
                  <a:lnTo>
                    <a:pt x="1620" y="1140"/>
                  </a:lnTo>
                  <a:lnTo>
                    <a:pt x="1626" y="1158"/>
                  </a:lnTo>
                  <a:lnTo>
                    <a:pt x="1638" y="1200"/>
                  </a:lnTo>
                  <a:lnTo>
                    <a:pt x="1638" y="1218"/>
                  </a:lnTo>
                  <a:lnTo>
                    <a:pt x="1620" y="1230"/>
                  </a:lnTo>
                  <a:lnTo>
                    <a:pt x="1554" y="1230"/>
                  </a:lnTo>
                  <a:lnTo>
                    <a:pt x="1560" y="1248"/>
                  </a:lnTo>
                  <a:lnTo>
                    <a:pt x="1584" y="1260"/>
                  </a:lnTo>
                  <a:lnTo>
                    <a:pt x="1584" y="1266"/>
                  </a:lnTo>
                  <a:lnTo>
                    <a:pt x="1578" y="1272"/>
                  </a:lnTo>
                  <a:lnTo>
                    <a:pt x="1572" y="1272"/>
                  </a:lnTo>
                  <a:lnTo>
                    <a:pt x="1566" y="1278"/>
                  </a:lnTo>
                  <a:lnTo>
                    <a:pt x="1566" y="1284"/>
                  </a:lnTo>
                  <a:lnTo>
                    <a:pt x="1560" y="1290"/>
                  </a:lnTo>
                  <a:lnTo>
                    <a:pt x="1554" y="1290"/>
                  </a:lnTo>
                  <a:lnTo>
                    <a:pt x="1554" y="1296"/>
                  </a:lnTo>
                  <a:lnTo>
                    <a:pt x="1554" y="1302"/>
                  </a:lnTo>
                  <a:lnTo>
                    <a:pt x="1560" y="1332"/>
                  </a:lnTo>
                  <a:lnTo>
                    <a:pt x="1566" y="1356"/>
                  </a:lnTo>
                  <a:lnTo>
                    <a:pt x="1572" y="1356"/>
                  </a:lnTo>
                  <a:lnTo>
                    <a:pt x="1572" y="1362"/>
                  </a:lnTo>
                  <a:lnTo>
                    <a:pt x="1578" y="1362"/>
                  </a:lnTo>
                  <a:lnTo>
                    <a:pt x="1560" y="1374"/>
                  </a:lnTo>
                  <a:lnTo>
                    <a:pt x="1560" y="1380"/>
                  </a:lnTo>
                  <a:lnTo>
                    <a:pt x="1548" y="1380"/>
                  </a:lnTo>
                  <a:lnTo>
                    <a:pt x="1548" y="1386"/>
                  </a:lnTo>
                  <a:lnTo>
                    <a:pt x="1548" y="1392"/>
                  </a:lnTo>
                  <a:lnTo>
                    <a:pt x="1542" y="1410"/>
                  </a:lnTo>
                  <a:lnTo>
                    <a:pt x="1536" y="1422"/>
                  </a:lnTo>
                  <a:lnTo>
                    <a:pt x="1536" y="1428"/>
                  </a:lnTo>
                  <a:lnTo>
                    <a:pt x="1530" y="1440"/>
                  </a:lnTo>
                  <a:lnTo>
                    <a:pt x="1524" y="1434"/>
                  </a:lnTo>
                  <a:lnTo>
                    <a:pt x="1524" y="1428"/>
                  </a:lnTo>
                  <a:lnTo>
                    <a:pt x="1524" y="1422"/>
                  </a:lnTo>
                  <a:lnTo>
                    <a:pt x="1512" y="1410"/>
                  </a:lnTo>
                  <a:lnTo>
                    <a:pt x="1506" y="1404"/>
                  </a:lnTo>
                  <a:lnTo>
                    <a:pt x="1506" y="1398"/>
                  </a:lnTo>
                  <a:lnTo>
                    <a:pt x="1494" y="1392"/>
                  </a:lnTo>
                  <a:lnTo>
                    <a:pt x="1476" y="1404"/>
                  </a:lnTo>
                  <a:lnTo>
                    <a:pt x="1464" y="1416"/>
                  </a:lnTo>
                  <a:lnTo>
                    <a:pt x="1458" y="1428"/>
                  </a:lnTo>
                  <a:lnTo>
                    <a:pt x="1446" y="1434"/>
                  </a:lnTo>
                  <a:lnTo>
                    <a:pt x="1410" y="1440"/>
                  </a:lnTo>
                  <a:lnTo>
                    <a:pt x="1398" y="1440"/>
                  </a:lnTo>
                  <a:lnTo>
                    <a:pt x="1398" y="1446"/>
                  </a:lnTo>
                  <a:lnTo>
                    <a:pt x="1386" y="1446"/>
                  </a:lnTo>
                  <a:lnTo>
                    <a:pt x="1380" y="1440"/>
                  </a:lnTo>
                  <a:lnTo>
                    <a:pt x="1368" y="1440"/>
                  </a:lnTo>
                  <a:lnTo>
                    <a:pt x="1368" y="1446"/>
                  </a:lnTo>
                  <a:lnTo>
                    <a:pt x="1356" y="1446"/>
                  </a:lnTo>
                  <a:lnTo>
                    <a:pt x="1350" y="1452"/>
                  </a:lnTo>
                  <a:lnTo>
                    <a:pt x="1338" y="1452"/>
                  </a:lnTo>
                  <a:lnTo>
                    <a:pt x="1338" y="1458"/>
                  </a:lnTo>
                  <a:lnTo>
                    <a:pt x="1332" y="1458"/>
                  </a:lnTo>
                  <a:lnTo>
                    <a:pt x="1332" y="1464"/>
                  </a:lnTo>
                  <a:lnTo>
                    <a:pt x="1332" y="1470"/>
                  </a:lnTo>
                  <a:lnTo>
                    <a:pt x="1326" y="1470"/>
                  </a:lnTo>
                  <a:lnTo>
                    <a:pt x="1320" y="1470"/>
                  </a:lnTo>
                  <a:lnTo>
                    <a:pt x="1314" y="1470"/>
                  </a:lnTo>
                  <a:lnTo>
                    <a:pt x="1314" y="1464"/>
                  </a:lnTo>
                  <a:lnTo>
                    <a:pt x="1308" y="1464"/>
                  </a:lnTo>
                  <a:lnTo>
                    <a:pt x="1308" y="1452"/>
                  </a:lnTo>
                  <a:lnTo>
                    <a:pt x="1284" y="1458"/>
                  </a:lnTo>
                  <a:lnTo>
                    <a:pt x="1272" y="1458"/>
                  </a:lnTo>
                  <a:lnTo>
                    <a:pt x="1272" y="1464"/>
                  </a:lnTo>
                  <a:lnTo>
                    <a:pt x="1260" y="1464"/>
                  </a:lnTo>
                  <a:lnTo>
                    <a:pt x="1254" y="1464"/>
                  </a:lnTo>
                  <a:lnTo>
                    <a:pt x="1242" y="1422"/>
                  </a:lnTo>
                  <a:lnTo>
                    <a:pt x="1242" y="1416"/>
                  </a:lnTo>
                  <a:lnTo>
                    <a:pt x="1242" y="1410"/>
                  </a:lnTo>
                  <a:lnTo>
                    <a:pt x="1248" y="1410"/>
                  </a:lnTo>
                  <a:lnTo>
                    <a:pt x="1242" y="1410"/>
                  </a:lnTo>
                  <a:lnTo>
                    <a:pt x="1242" y="1404"/>
                  </a:lnTo>
                  <a:lnTo>
                    <a:pt x="1242" y="1398"/>
                  </a:lnTo>
                  <a:lnTo>
                    <a:pt x="1248" y="1392"/>
                  </a:lnTo>
                  <a:lnTo>
                    <a:pt x="1248" y="1386"/>
                  </a:lnTo>
                  <a:lnTo>
                    <a:pt x="1242" y="1380"/>
                  </a:lnTo>
                  <a:lnTo>
                    <a:pt x="1248" y="1380"/>
                  </a:lnTo>
                  <a:lnTo>
                    <a:pt x="1248" y="1374"/>
                  </a:lnTo>
                  <a:lnTo>
                    <a:pt x="1248" y="1368"/>
                  </a:lnTo>
                  <a:lnTo>
                    <a:pt x="1254" y="1368"/>
                  </a:lnTo>
                  <a:lnTo>
                    <a:pt x="1254" y="1362"/>
                  </a:lnTo>
                  <a:lnTo>
                    <a:pt x="1248" y="1356"/>
                  </a:lnTo>
                  <a:lnTo>
                    <a:pt x="1254" y="1356"/>
                  </a:lnTo>
                  <a:lnTo>
                    <a:pt x="1254" y="1344"/>
                  </a:lnTo>
                  <a:lnTo>
                    <a:pt x="1242" y="1338"/>
                  </a:lnTo>
                  <a:lnTo>
                    <a:pt x="1242" y="1326"/>
                  </a:lnTo>
                  <a:lnTo>
                    <a:pt x="1230" y="1326"/>
                  </a:lnTo>
                  <a:lnTo>
                    <a:pt x="1230" y="1314"/>
                  </a:lnTo>
                  <a:lnTo>
                    <a:pt x="1218" y="1314"/>
                  </a:lnTo>
                  <a:lnTo>
                    <a:pt x="1200" y="1272"/>
                  </a:lnTo>
                  <a:lnTo>
                    <a:pt x="1194" y="1242"/>
                  </a:lnTo>
                  <a:lnTo>
                    <a:pt x="1194" y="1206"/>
                  </a:lnTo>
                  <a:lnTo>
                    <a:pt x="1182" y="1200"/>
                  </a:lnTo>
                  <a:lnTo>
                    <a:pt x="1164" y="1206"/>
                  </a:lnTo>
                  <a:lnTo>
                    <a:pt x="1146" y="1212"/>
                  </a:lnTo>
                  <a:lnTo>
                    <a:pt x="1146" y="1218"/>
                  </a:lnTo>
                  <a:lnTo>
                    <a:pt x="1134" y="1224"/>
                  </a:lnTo>
                  <a:lnTo>
                    <a:pt x="1140" y="1260"/>
                  </a:lnTo>
                  <a:lnTo>
                    <a:pt x="1134" y="1266"/>
                  </a:lnTo>
                  <a:lnTo>
                    <a:pt x="1122" y="1266"/>
                  </a:lnTo>
                  <a:lnTo>
                    <a:pt x="1110" y="1236"/>
                  </a:lnTo>
                  <a:lnTo>
                    <a:pt x="1110" y="1224"/>
                  </a:lnTo>
                  <a:lnTo>
                    <a:pt x="1086" y="1224"/>
                  </a:lnTo>
                  <a:lnTo>
                    <a:pt x="1086" y="1212"/>
                  </a:lnTo>
                  <a:lnTo>
                    <a:pt x="1074" y="1212"/>
                  </a:lnTo>
                  <a:lnTo>
                    <a:pt x="1050" y="1212"/>
                  </a:lnTo>
                  <a:lnTo>
                    <a:pt x="1056" y="1218"/>
                  </a:lnTo>
                  <a:lnTo>
                    <a:pt x="1050" y="1272"/>
                  </a:lnTo>
                  <a:lnTo>
                    <a:pt x="1044" y="1272"/>
                  </a:lnTo>
                  <a:lnTo>
                    <a:pt x="1038" y="1284"/>
                  </a:lnTo>
                  <a:lnTo>
                    <a:pt x="1032" y="1302"/>
                  </a:lnTo>
                  <a:lnTo>
                    <a:pt x="1014" y="1302"/>
                  </a:lnTo>
                  <a:lnTo>
                    <a:pt x="1020" y="1284"/>
                  </a:lnTo>
                  <a:lnTo>
                    <a:pt x="1026" y="1278"/>
                  </a:lnTo>
                  <a:lnTo>
                    <a:pt x="1026" y="1266"/>
                  </a:lnTo>
                  <a:lnTo>
                    <a:pt x="1014" y="1260"/>
                  </a:lnTo>
                  <a:lnTo>
                    <a:pt x="1014" y="1272"/>
                  </a:lnTo>
                  <a:lnTo>
                    <a:pt x="990" y="1278"/>
                  </a:lnTo>
                  <a:lnTo>
                    <a:pt x="990" y="1254"/>
                  </a:lnTo>
                  <a:lnTo>
                    <a:pt x="984" y="1254"/>
                  </a:lnTo>
                  <a:lnTo>
                    <a:pt x="978" y="1242"/>
                  </a:lnTo>
                  <a:lnTo>
                    <a:pt x="972" y="1236"/>
                  </a:lnTo>
                  <a:lnTo>
                    <a:pt x="960" y="1206"/>
                  </a:lnTo>
                  <a:lnTo>
                    <a:pt x="942" y="1206"/>
                  </a:lnTo>
                  <a:lnTo>
                    <a:pt x="936" y="1200"/>
                  </a:lnTo>
                  <a:lnTo>
                    <a:pt x="906" y="1212"/>
                  </a:lnTo>
                  <a:lnTo>
                    <a:pt x="888" y="1230"/>
                  </a:lnTo>
                  <a:lnTo>
                    <a:pt x="876" y="1230"/>
                  </a:lnTo>
                  <a:lnTo>
                    <a:pt x="864" y="1236"/>
                  </a:lnTo>
                  <a:lnTo>
                    <a:pt x="858" y="1236"/>
                  </a:lnTo>
                  <a:lnTo>
                    <a:pt x="852" y="1254"/>
                  </a:lnTo>
                  <a:lnTo>
                    <a:pt x="858" y="1254"/>
                  </a:lnTo>
                  <a:lnTo>
                    <a:pt x="840" y="1266"/>
                  </a:lnTo>
                  <a:lnTo>
                    <a:pt x="828" y="1272"/>
                  </a:lnTo>
                  <a:lnTo>
                    <a:pt x="828" y="1284"/>
                  </a:lnTo>
                  <a:lnTo>
                    <a:pt x="822" y="1284"/>
                  </a:lnTo>
                  <a:lnTo>
                    <a:pt x="804" y="1296"/>
                  </a:lnTo>
                  <a:lnTo>
                    <a:pt x="804" y="1308"/>
                  </a:lnTo>
                  <a:lnTo>
                    <a:pt x="816" y="1320"/>
                  </a:lnTo>
                  <a:lnTo>
                    <a:pt x="828" y="1320"/>
                  </a:lnTo>
                  <a:lnTo>
                    <a:pt x="822" y="1338"/>
                  </a:lnTo>
                  <a:lnTo>
                    <a:pt x="852" y="1344"/>
                  </a:lnTo>
                  <a:lnTo>
                    <a:pt x="864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94" y="1356"/>
                  </a:lnTo>
                  <a:lnTo>
                    <a:pt x="912" y="1368"/>
                  </a:lnTo>
                  <a:lnTo>
                    <a:pt x="918" y="1380"/>
                  </a:lnTo>
                  <a:lnTo>
                    <a:pt x="936" y="1380"/>
                  </a:lnTo>
                  <a:lnTo>
                    <a:pt x="960" y="1386"/>
                  </a:lnTo>
                  <a:lnTo>
                    <a:pt x="990" y="1386"/>
                  </a:lnTo>
                  <a:lnTo>
                    <a:pt x="990" y="1392"/>
                  </a:lnTo>
                  <a:lnTo>
                    <a:pt x="1020" y="1398"/>
                  </a:lnTo>
                  <a:lnTo>
                    <a:pt x="1014" y="1404"/>
                  </a:lnTo>
                  <a:lnTo>
                    <a:pt x="1008" y="1404"/>
                  </a:lnTo>
                  <a:lnTo>
                    <a:pt x="1014" y="1440"/>
                  </a:lnTo>
                  <a:lnTo>
                    <a:pt x="1020" y="1458"/>
                  </a:lnTo>
                  <a:lnTo>
                    <a:pt x="1026" y="1476"/>
                  </a:lnTo>
                  <a:lnTo>
                    <a:pt x="1020" y="1476"/>
                  </a:lnTo>
                  <a:lnTo>
                    <a:pt x="1014" y="1476"/>
                  </a:lnTo>
                  <a:lnTo>
                    <a:pt x="1014" y="1482"/>
                  </a:lnTo>
                  <a:lnTo>
                    <a:pt x="1014" y="1488"/>
                  </a:lnTo>
                  <a:lnTo>
                    <a:pt x="1002" y="1488"/>
                  </a:lnTo>
                  <a:lnTo>
                    <a:pt x="1002" y="1494"/>
                  </a:lnTo>
                  <a:lnTo>
                    <a:pt x="996" y="1494"/>
                  </a:lnTo>
                  <a:lnTo>
                    <a:pt x="996" y="1518"/>
                  </a:lnTo>
                  <a:lnTo>
                    <a:pt x="1002" y="1524"/>
                  </a:lnTo>
                  <a:lnTo>
                    <a:pt x="1020" y="1530"/>
                  </a:lnTo>
                  <a:lnTo>
                    <a:pt x="1026" y="1542"/>
                  </a:lnTo>
                  <a:lnTo>
                    <a:pt x="1032" y="1566"/>
                  </a:lnTo>
                  <a:lnTo>
                    <a:pt x="1038" y="1578"/>
                  </a:lnTo>
                  <a:lnTo>
                    <a:pt x="1032" y="1584"/>
                  </a:lnTo>
                  <a:lnTo>
                    <a:pt x="1020" y="1584"/>
                  </a:lnTo>
                  <a:lnTo>
                    <a:pt x="1014" y="1584"/>
                  </a:lnTo>
                  <a:lnTo>
                    <a:pt x="1008" y="1596"/>
                  </a:lnTo>
                  <a:lnTo>
                    <a:pt x="990" y="1584"/>
                  </a:lnTo>
                  <a:lnTo>
                    <a:pt x="984" y="1602"/>
                  </a:lnTo>
                  <a:lnTo>
                    <a:pt x="978" y="1608"/>
                  </a:lnTo>
                  <a:lnTo>
                    <a:pt x="966" y="1608"/>
                  </a:lnTo>
                  <a:lnTo>
                    <a:pt x="960" y="1614"/>
                  </a:lnTo>
                  <a:lnTo>
                    <a:pt x="954" y="1614"/>
                  </a:lnTo>
                  <a:lnTo>
                    <a:pt x="942" y="1620"/>
                  </a:lnTo>
                  <a:lnTo>
                    <a:pt x="936" y="1620"/>
                  </a:lnTo>
                  <a:lnTo>
                    <a:pt x="930" y="1620"/>
                  </a:lnTo>
                  <a:lnTo>
                    <a:pt x="930" y="1626"/>
                  </a:lnTo>
                  <a:lnTo>
                    <a:pt x="930" y="1632"/>
                  </a:lnTo>
                  <a:lnTo>
                    <a:pt x="918" y="1632"/>
                  </a:lnTo>
                  <a:lnTo>
                    <a:pt x="912" y="1632"/>
                  </a:lnTo>
                  <a:lnTo>
                    <a:pt x="906" y="1632"/>
                  </a:lnTo>
                  <a:lnTo>
                    <a:pt x="900" y="1632"/>
                  </a:lnTo>
                  <a:lnTo>
                    <a:pt x="894" y="1626"/>
                  </a:lnTo>
                  <a:lnTo>
                    <a:pt x="894" y="1614"/>
                  </a:lnTo>
                  <a:lnTo>
                    <a:pt x="840" y="1614"/>
                  </a:lnTo>
                  <a:lnTo>
                    <a:pt x="840" y="1626"/>
                  </a:lnTo>
                  <a:lnTo>
                    <a:pt x="834" y="1626"/>
                  </a:lnTo>
                  <a:lnTo>
                    <a:pt x="828" y="1632"/>
                  </a:lnTo>
                  <a:lnTo>
                    <a:pt x="822" y="1638"/>
                  </a:lnTo>
                  <a:lnTo>
                    <a:pt x="822" y="1644"/>
                  </a:lnTo>
                  <a:lnTo>
                    <a:pt x="834" y="1650"/>
                  </a:lnTo>
                  <a:lnTo>
                    <a:pt x="840" y="1662"/>
                  </a:lnTo>
                  <a:lnTo>
                    <a:pt x="840" y="1668"/>
                  </a:lnTo>
                  <a:lnTo>
                    <a:pt x="858" y="1680"/>
                  </a:lnTo>
                  <a:lnTo>
                    <a:pt x="858" y="1752"/>
                  </a:lnTo>
                  <a:lnTo>
                    <a:pt x="864" y="1782"/>
                  </a:lnTo>
                  <a:lnTo>
                    <a:pt x="876" y="1788"/>
                  </a:lnTo>
                  <a:lnTo>
                    <a:pt x="870" y="1854"/>
                  </a:lnTo>
                  <a:lnTo>
                    <a:pt x="870" y="1884"/>
                  </a:lnTo>
                  <a:lnTo>
                    <a:pt x="864" y="1884"/>
                  </a:lnTo>
                  <a:lnTo>
                    <a:pt x="846" y="1896"/>
                  </a:lnTo>
                  <a:lnTo>
                    <a:pt x="840" y="1896"/>
                  </a:lnTo>
                  <a:lnTo>
                    <a:pt x="834" y="1896"/>
                  </a:lnTo>
                  <a:lnTo>
                    <a:pt x="828" y="1890"/>
                  </a:lnTo>
                  <a:lnTo>
                    <a:pt x="822" y="1890"/>
                  </a:lnTo>
                  <a:lnTo>
                    <a:pt x="816" y="1896"/>
                  </a:lnTo>
                  <a:lnTo>
                    <a:pt x="804" y="1896"/>
                  </a:lnTo>
                  <a:lnTo>
                    <a:pt x="804" y="1890"/>
                  </a:lnTo>
                  <a:lnTo>
                    <a:pt x="780" y="1896"/>
                  </a:lnTo>
                  <a:lnTo>
                    <a:pt x="780" y="1902"/>
                  </a:lnTo>
                  <a:lnTo>
                    <a:pt x="774" y="1914"/>
                  </a:lnTo>
                  <a:lnTo>
                    <a:pt x="762" y="1926"/>
                  </a:lnTo>
                  <a:lnTo>
                    <a:pt x="762" y="1950"/>
                  </a:lnTo>
                  <a:lnTo>
                    <a:pt x="762" y="1962"/>
                  </a:lnTo>
                  <a:lnTo>
                    <a:pt x="780" y="1974"/>
                  </a:lnTo>
                  <a:lnTo>
                    <a:pt x="780" y="1986"/>
                  </a:lnTo>
                  <a:lnTo>
                    <a:pt x="780" y="1998"/>
                  </a:lnTo>
                  <a:lnTo>
                    <a:pt x="756" y="1998"/>
                  </a:lnTo>
                  <a:lnTo>
                    <a:pt x="720" y="1992"/>
                  </a:lnTo>
                  <a:lnTo>
                    <a:pt x="666" y="1998"/>
                  </a:lnTo>
                  <a:lnTo>
                    <a:pt x="654" y="1998"/>
                  </a:lnTo>
                  <a:lnTo>
                    <a:pt x="660" y="1974"/>
                  </a:lnTo>
                  <a:lnTo>
                    <a:pt x="666" y="1962"/>
                  </a:lnTo>
                  <a:lnTo>
                    <a:pt x="678" y="1950"/>
                  </a:lnTo>
                  <a:lnTo>
                    <a:pt x="696" y="1932"/>
                  </a:lnTo>
                  <a:lnTo>
                    <a:pt x="696" y="1920"/>
                  </a:lnTo>
                  <a:lnTo>
                    <a:pt x="696" y="1896"/>
                  </a:lnTo>
                  <a:lnTo>
                    <a:pt x="678" y="1896"/>
                  </a:lnTo>
                  <a:lnTo>
                    <a:pt x="672" y="1884"/>
                  </a:lnTo>
                  <a:lnTo>
                    <a:pt x="672" y="1776"/>
                  </a:lnTo>
                  <a:lnTo>
                    <a:pt x="678" y="1758"/>
                  </a:lnTo>
                  <a:lnTo>
                    <a:pt x="678" y="1740"/>
                  </a:lnTo>
                  <a:lnTo>
                    <a:pt x="684" y="1728"/>
                  </a:lnTo>
                  <a:lnTo>
                    <a:pt x="690" y="1722"/>
                  </a:lnTo>
                  <a:lnTo>
                    <a:pt x="702" y="1722"/>
                  </a:lnTo>
                  <a:lnTo>
                    <a:pt x="708" y="1716"/>
                  </a:lnTo>
                  <a:lnTo>
                    <a:pt x="714" y="1710"/>
                  </a:lnTo>
                  <a:lnTo>
                    <a:pt x="720" y="1698"/>
                  </a:lnTo>
                  <a:lnTo>
                    <a:pt x="732" y="1692"/>
                  </a:lnTo>
                  <a:lnTo>
                    <a:pt x="744" y="1686"/>
                  </a:lnTo>
                  <a:lnTo>
                    <a:pt x="756" y="1680"/>
                  </a:lnTo>
                  <a:lnTo>
                    <a:pt x="768" y="1668"/>
                  </a:lnTo>
                  <a:lnTo>
                    <a:pt x="768" y="1650"/>
                  </a:lnTo>
                  <a:lnTo>
                    <a:pt x="774" y="1632"/>
                  </a:lnTo>
                  <a:lnTo>
                    <a:pt x="768" y="1620"/>
                  </a:lnTo>
                  <a:lnTo>
                    <a:pt x="774" y="1608"/>
                  </a:lnTo>
                  <a:lnTo>
                    <a:pt x="774" y="1578"/>
                  </a:lnTo>
                  <a:lnTo>
                    <a:pt x="774" y="1572"/>
                  </a:lnTo>
                  <a:lnTo>
                    <a:pt x="780" y="1560"/>
                  </a:lnTo>
                  <a:lnTo>
                    <a:pt x="780" y="1554"/>
                  </a:lnTo>
                  <a:lnTo>
                    <a:pt x="786" y="1542"/>
                  </a:lnTo>
                  <a:lnTo>
                    <a:pt x="792" y="1530"/>
                  </a:lnTo>
                  <a:lnTo>
                    <a:pt x="792" y="1518"/>
                  </a:lnTo>
                  <a:lnTo>
                    <a:pt x="792" y="1506"/>
                  </a:lnTo>
                  <a:lnTo>
                    <a:pt x="786" y="1500"/>
                  </a:lnTo>
                  <a:lnTo>
                    <a:pt x="774" y="1488"/>
                  </a:lnTo>
                  <a:lnTo>
                    <a:pt x="774" y="1482"/>
                  </a:lnTo>
                  <a:lnTo>
                    <a:pt x="762" y="1488"/>
                  </a:lnTo>
                  <a:lnTo>
                    <a:pt x="756" y="1494"/>
                  </a:lnTo>
                  <a:lnTo>
                    <a:pt x="744" y="1500"/>
                  </a:lnTo>
                  <a:lnTo>
                    <a:pt x="732" y="1506"/>
                  </a:lnTo>
                  <a:lnTo>
                    <a:pt x="726" y="1506"/>
                  </a:lnTo>
                  <a:lnTo>
                    <a:pt x="720" y="1506"/>
                  </a:lnTo>
                  <a:lnTo>
                    <a:pt x="702" y="1506"/>
                  </a:lnTo>
                  <a:lnTo>
                    <a:pt x="690" y="1500"/>
                  </a:lnTo>
                  <a:lnTo>
                    <a:pt x="678" y="1500"/>
                  </a:lnTo>
                  <a:lnTo>
                    <a:pt x="672" y="1500"/>
                  </a:lnTo>
                  <a:lnTo>
                    <a:pt x="660" y="1506"/>
                  </a:lnTo>
                  <a:lnTo>
                    <a:pt x="654" y="1506"/>
                  </a:lnTo>
                  <a:lnTo>
                    <a:pt x="648" y="1512"/>
                  </a:lnTo>
                  <a:lnTo>
                    <a:pt x="648" y="1518"/>
                  </a:lnTo>
                  <a:lnTo>
                    <a:pt x="618" y="1518"/>
                  </a:lnTo>
                  <a:lnTo>
                    <a:pt x="534" y="1494"/>
                  </a:lnTo>
                  <a:lnTo>
                    <a:pt x="528" y="1458"/>
                  </a:lnTo>
                  <a:lnTo>
                    <a:pt x="510" y="1458"/>
                  </a:lnTo>
                  <a:lnTo>
                    <a:pt x="492" y="1440"/>
                  </a:lnTo>
                  <a:lnTo>
                    <a:pt x="462" y="1440"/>
                  </a:lnTo>
                  <a:lnTo>
                    <a:pt x="456" y="1428"/>
                  </a:lnTo>
                  <a:lnTo>
                    <a:pt x="420" y="1428"/>
                  </a:lnTo>
                  <a:lnTo>
                    <a:pt x="390" y="1446"/>
                  </a:lnTo>
                  <a:lnTo>
                    <a:pt x="312" y="1452"/>
                  </a:lnTo>
                  <a:lnTo>
                    <a:pt x="300" y="1446"/>
                  </a:lnTo>
                  <a:lnTo>
                    <a:pt x="294" y="1446"/>
                  </a:lnTo>
                  <a:lnTo>
                    <a:pt x="288" y="1446"/>
                  </a:lnTo>
                  <a:lnTo>
                    <a:pt x="282" y="1440"/>
                  </a:lnTo>
                  <a:lnTo>
                    <a:pt x="276" y="1440"/>
                  </a:lnTo>
                  <a:lnTo>
                    <a:pt x="270" y="1440"/>
                  </a:lnTo>
                  <a:lnTo>
                    <a:pt x="264" y="1440"/>
                  </a:lnTo>
                  <a:lnTo>
                    <a:pt x="258" y="1434"/>
                  </a:lnTo>
                  <a:lnTo>
                    <a:pt x="252" y="1434"/>
                  </a:lnTo>
                  <a:lnTo>
                    <a:pt x="246" y="1428"/>
                  </a:lnTo>
                  <a:lnTo>
                    <a:pt x="240" y="1416"/>
                  </a:lnTo>
                  <a:lnTo>
                    <a:pt x="234" y="1404"/>
                  </a:lnTo>
                  <a:lnTo>
                    <a:pt x="228" y="1398"/>
                  </a:lnTo>
                  <a:lnTo>
                    <a:pt x="222" y="1398"/>
                  </a:lnTo>
                  <a:lnTo>
                    <a:pt x="216" y="1404"/>
                  </a:lnTo>
                  <a:lnTo>
                    <a:pt x="210" y="1404"/>
                  </a:lnTo>
                  <a:lnTo>
                    <a:pt x="204" y="1404"/>
                  </a:lnTo>
                  <a:lnTo>
                    <a:pt x="204" y="1398"/>
                  </a:lnTo>
                  <a:lnTo>
                    <a:pt x="198" y="1392"/>
                  </a:lnTo>
                  <a:lnTo>
                    <a:pt x="192" y="1386"/>
                  </a:lnTo>
                  <a:lnTo>
                    <a:pt x="168" y="1374"/>
                  </a:lnTo>
                  <a:lnTo>
                    <a:pt x="144" y="13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0" name="Freeform 35">
              <a:extLst>
                <a:ext uri="{FF2B5EF4-FFF2-40B4-BE49-F238E27FC236}">
                  <a16:creationId xmlns:a16="http://schemas.microsoft.com/office/drawing/2014/main" id="{F64BF16E-9D62-438E-A1CC-CD4088AC7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2895" y="1706004"/>
              <a:ext cx="767013" cy="785011"/>
            </a:xfrm>
            <a:custGeom>
              <a:avLst/>
              <a:gdLst>
                <a:gd name="T0" fmla="*/ 102 w 1440"/>
                <a:gd name="T1" fmla="*/ 104 h 1476"/>
                <a:gd name="T2" fmla="*/ 99 w 1440"/>
                <a:gd name="T3" fmla="*/ 108 h 1476"/>
                <a:gd name="T4" fmla="*/ 98 w 1440"/>
                <a:gd name="T5" fmla="*/ 112 h 1476"/>
                <a:gd name="T6" fmla="*/ 96 w 1440"/>
                <a:gd name="T7" fmla="*/ 116 h 1476"/>
                <a:gd name="T8" fmla="*/ 91 w 1440"/>
                <a:gd name="T9" fmla="*/ 118 h 1476"/>
                <a:gd name="T10" fmla="*/ 87 w 1440"/>
                <a:gd name="T11" fmla="*/ 120 h 1476"/>
                <a:gd name="T12" fmla="*/ 75 w 1440"/>
                <a:gd name="T13" fmla="*/ 120 h 1476"/>
                <a:gd name="T14" fmla="*/ 72 w 1440"/>
                <a:gd name="T15" fmla="*/ 123 h 1476"/>
                <a:gd name="T16" fmla="*/ 69 w 1440"/>
                <a:gd name="T17" fmla="*/ 128 h 1476"/>
                <a:gd name="T18" fmla="*/ 67 w 1440"/>
                <a:gd name="T19" fmla="*/ 127 h 1476"/>
                <a:gd name="T20" fmla="*/ 66 w 1440"/>
                <a:gd name="T21" fmla="*/ 123 h 1476"/>
                <a:gd name="T22" fmla="*/ 63 w 1440"/>
                <a:gd name="T23" fmla="*/ 119 h 1476"/>
                <a:gd name="T24" fmla="*/ 54 w 1440"/>
                <a:gd name="T25" fmla="*/ 114 h 1476"/>
                <a:gd name="T26" fmla="*/ 55 w 1440"/>
                <a:gd name="T27" fmla="*/ 106 h 1476"/>
                <a:gd name="T28" fmla="*/ 60 w 1440"/>
                <a:gd name="T29" fmla="*/ 100 h 1476"/>
                <a:gd name="T30" fmla="*/ 55 w 1440"/>
                <a:gd name="T31" fmla="*/ 91 h 1476"/>
                <a:gd name="T32" fmla="*/ 51 w 1440"/>
                <a:gd name="T33" fmla="*/ 86 h 1476"/>
                <a:gd name="T34" fmla="*/ 47 w 1440"/>
                <a:gd name="T35" fmla="*/ 85 h 1476"/>
                <a:gd name="T36" fmla="*/ 44 w 1440"/>
                <a:gd name="T37" fmla="*/ 82 h 1476"/>
                <a:gd name="T38" fmla="*/ 41 w 1440"/>
                <a:gd name="T39" fmla="*/ 83 h 1476"/>
                <a:gd name="T40" fmla="*/ 36 w 1440"/>
                <a:gd name="T41" fmla="*/ 83 h 1476"/>
                <a:gd name="T42" fmla="*/ 33 w 1440"/>
                <a:gd name="T43" fmla="*/ 83 h 1476"/>
                <a:gd name="T44" fmla="*/ 30 w 1440"/>
                <a:gd name="T45" fmla="*/ 83 h 1476"/>
                <a:gd name="T46" fmla="*/ 27 w 1440"/>
                <a:gd name="T47" fmla="*/ 83 h 1476"/>
                <a:gd name="T48" fmla="*/ 24 w 1440"/>
                <a:gd name="T49" fmla="*/ 82 h 1476"/>
                <a:gd name="T50" fmla="*/ 21 w 1440"/>
                <a:gd name="T51" fmla="*/ 80 h 1476"/>
                <a:gd name="T52" fmla="*/ 18 w 1440"/>
                <a:gd name="T53" fmla="*/ 79 h 1476"/>
                <a:gd name="T54" fmla="*/ 17 w 1440"/>
                <a:gd name="T55" fmla="*/ 78 h 1476"/>
                <a:gd name="T56" fmla="*/ 12 w 1440"/>
                <a:gd name="T57" fmla="*/ 78 h 1476"/>
                <a:gd name="T58" fmla="*/ 12 w 1440"/>
                <a:gd name="T59" fmla="*/ 78 h 1476"/>
                <a:gd name="T60" fmla="*/ 7 w 1440"/>
                <a:gd name="T61" fmla="*/ 80 h 1476"/>
                <a:gd name="T62" fmla="*/ 3 w 1440"/>
                <a:gd name="T63" fmla="*/ 81 h 1476"/>
                <a:gd name="T64" fmla="*/ 0 w 1440"/>
                <a:gd name="T65" fmla="*/ 76 h 1476"/>
                <a:gd name="T66" fmla="*/ 1 w 1440"/>
                <a:gd name="T67" fmla="*/ 50 h 1476"/>
                <a:gd name="T68" fmla="*/ 8 w 1440"/>
                <a:gd name="T69" fmla="*/ 48 h 1476"/>
                <a:gd name="T70" fmla="*/ 20 w 1440"/>
                <a:gd name="T71" fmla="*/ 49 h 1476"/>
                <a:gd name="T72" fmla="*/ 26 w 1440"/>
                <a:gd name="T73" fmla="*/ 50 h 1476"/>
                <a:gd name="T74" fmla="*/ 44 w 1440"/>
                <a:gd name="T75" fmla="*/ 47 h 1476"/>
                <a:gd name="T76" fmla="*/ 41 w 1440"/>
                <a:gd name="T77" fmla="*/ 24 h 1476"/>
                <a:gd name="T78" fmla="*/ 44 w 1440"/>
                <a:gd name="T79" fmla="*/ 20 h 1476"/>
                <a:gd name="T80" fmla="*/ 47 w 1440"/>
                <a:gd name="T81" fmla="*/ 18 h 1476"/>
                <a:gd name="T82" fmla="*/ 54 w 1440"/>
                <a:gd name="T83" fmla="*/ 21 h 1476"/>
                <a:gd name="T84" fmla="*/ 61 w 1440"/>
                <a:gd name="T85" fmla="*/ 23 h 1476"/>
                <a:gd name="T86" fmla="*/ 59 w 1440"/>
                <a:gd name="T87" fmla="*/ 14 h 1476"/>
                <a:gd name="T88" fmla="*/ 61 w 1440"/>
                <a:gd name="T89" fmla="*/ 8 h 1476"/>
                <a:gd name="T90" fmla="*/ 71 w 1440"/>
                <a:gd name="T91" fmla="*/ 7 h 1476"/>
                <a:gd name="T92" fmla="*/ 75 w 1440"/>
                <a:gd name="T93" fmla="*/ 0 h 1476"/>
                <a:gd name="T94" fmla="*/ 82 w 1440"/>
                <a:gd name="T95" fmla="*/ 3 h 1476"/>
                <a:gd name="T96" fmla="*/ 93 w 1440"/>
                <a:gd name="T97" fmla="*/ 5 h 1476"/>
                <a:gd name="T98" fmla="*/ 100 w 1440"/>
                <a:gd name="T99" fmla="*/ 1 h 1476"/>
                <a:gd name="T100" fmla="*/ 104 w 1440"/>
                <a:gd name="T101" fmla="*/ 4 h 1476"/>
                <a:gd name="T102" fmla="*/ 110 w 1440"/>
                <a:gd name="T103" fmla="*/ 10 h 1476"/>
                <a:gd name="T104" fmla="*/ 115 w 1440"/>
                <a:gd name="T105" fmla="*/ 23 h 1476"/>
                <a:gd name="T106" fmla="*/ 117 w 1440"/>
                <a:gd name="T107" fmla="*/ 42 h 1476"/>
                <a:gd name="T108" fmla="*/ 121 w 1440"/>
                <a:gd name="T109" fmla="*/ 52 h 1476"/>
                <a:gd name="T110" fmla="*/ 118 w 1440"/>
                <a:gd name="T111" fmla="*/ 62 h 1476"/>
                <a:gd name="T112" fmla="*/ 124 w 1440"/>
                <a:gd name="T113" fmla="*/ 66 h 1476"/>
                <a:gd name="T114" fmla="*/ 121 w 1440"/>
                <a:gd name="T115" fmla="*/ 71 h 1476"/>
                <a:gd name="T116" fmla="*/ 115 w 1440"/>
                <a:gd name="T117" fmla="*/ 76 h 1476"/>
                <a:gd name="T118" fmla="*/ 109 w 1440"/>
                <a:gd name="T119" fmla="*/ 76 h 1476"/>
                <a:gd name="T120" fmla="*/ 105 w 1440"/>
                <a:gd name="T121" fmla="*/ 86 h 1476"/>
                <a:gd name="T122" fmla="*/ 107 w 1440"/>
                <a:gd name="T123" fmla="*/ 97 h 147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40"/>
                <a:gd name="T187" fmla="*/ 0 h 1476"/>
                <a:gd name="T188" fmla="*/ 1440 w 1440"/>
                <a:gd name="T189" fmla="*/ 1476 h 147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40" h="1476">
                  <a:moveTo>
                    <a:pt x="1212" y="1164"/>
                  </a:moveTo>
                  <a:lnTo>
                    <a:pt x="1206" y="1170"/>
                  </a:lnTo>
                  <a:lnTo>
                    <a:pt x="1200" y="1176"/>
                  </a:lnTo>
                  <a:lnTo>
                    <a:pt x="1194" y="1176"/>
                  </a:lnTo>
                  <a:lnTo>
                    <a:pt x="1188" y="1188"/>
                  </a:lnTo>
                  <a:lnTo>
                    <a:pt x="1182" y="1194"/>
                  </a:lnTo>
                  <a:lnTo>
                    <a:pt x="1176" y="1194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64" y="1206"/>
                  </a:lnTo>
                  <a:lnTo>
                    <a:pt x="1158" y="1206"/>
                  </a:lnTo>
                  <a:lnTo>
                    <a:pt x="1152" y="1212"/>
                  </a:lnTo>
                  <a:lnTo>
                    <a:pt x="1146" y="1212"/>
                  </a:lnTo>
                  <a:lnTo>
                    <a:pt x="1140" y="1224"/>
                  </a:lnTo>
                  <a:lnTo>
                    <a:pt x="1134" y="1230"/>
                  </a:lnTo>
                  <a:lnTo>
                    <a:pt x="1128" y="1236"/>
                  </a:lnTo>
                  <a:lnTo>
                    <a:pt x="1128" y="1242"/>
                  </a:lnTo>
                  <a:lnTo>
                    <a:pt x="1128" y="1254"/>
                  </a:lnTo>
                  <a:lnTo>
                    <a:pt x="1128" y="1260"/>
                  </a:lnTo>
                  <a:lnTo>
                    <a:pt x="1122" y="1260"/>
                  </a:lnTo>
                  <a:lnTo>
                    <a:pt x="1122" y="1266"/>
                  </a:lnTo>
                  <a:lnTo>
                    <a:pt x="1128" y="1278"/>
                  </a:lnTo>
                  <a:lnTo>
                    <a:pt x="1122" y="1278"/>
                  </a:lnTo>
                  <a:lnTo>
                    <a:pt x="1122" y="1284"/>
                  </a:lnTo>
                  <a:lnTo>
                    <a:pt x="1128" y="1290"/>
                  </a:lnTo>
                  <a:lnTo>
                    <a:pt x="1122" y="1296"/>
                  </a:lnTo>
                  <a:lnTo>
                    <a:pt x="1122" y="1302"/>
                  </a:lnTo>
                  <a:lnTo>
                    <a:pt x="1116" y="1302"/>
                  </a:lnTo>
                  <a:lnTo>
                    <a:pt x="1110" y="1314"/>
                  </a:lnTo>
                  <a:lnTo>
                    <a:pt x="1110" y="1320"/>
                  </a:lnTo>
                  <a:lnTo>
                    <a:pt x="1110" y="1326"/>
                  </a:lnTo>
                  <a:lnTo>
                    <a:pt x="1098" y="1332"/>
                  </a:lnTo>
                  <a:lnTo>
                    <a:pt x="1092" y="1338"/>
                  </a:lnTo>
                  <a:lnTo>
                    <a:pt x="1092" y="1344"/>
                  </a:lnTo>
                  <a:lnTo>
                    <a:pt x="1086" y="1350"/>
                  </a:lnTo>
                  <a:lnTo>
                    <a:pt x="1080" y="1350"/>
                  </a:lnTo>
                  <a:lnTo>
                    <a:pt x="1074" y="1350"/>
                  </a:lnTo>
                  <a:lnTo>
                    <a:pt x="1068" y="1356"/>
                  </a:lnTo>
                  <a:lnTo>
                    <a:pt x="1062" y="1356"/>
                  </a:lnTo>
                  <a:lnTo>
                    <a:pt x="1044" y="1356"/>
                  </a:lnTo>
                  <a:lnTo>
                    <a:pt x="1038" y="1362"/>
                  </a:lnTo>
                  <a:lnTo>
                    <a:pt x="1032" y="1368"/>
                  </a:lnTo>
                  <a:lnTo>
                    <a:pt x="1026" y="1368"/>
                  </a:lnTo>
                  <a:lnTo>
                    <a:pt x="1020" y="1374"/>
                  </a:lnTo>
                  <a:lnTo>
                    <a:pt x="1008" y="1374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74"/>
                  </a:lnTo>
                  <a:lnTo>
                    <a:pt x="978" y="1380"/>
                  </a:lnTo>
                  <a:lnTo>
                    <a:pt x="972" y="1380"/>
                  </a:lnTo>
                  <a:lnTo>
                    <a:pt x="954" y="1368"/>
                  </a:lnTo>
                  <a:lnTo>
                    <a:pt x="930" y="1368"/>
                  </a:lnTo>
                  <a:lnTo>
                    <a:pt x="918" y="1368"/>
                  </a:lnTo>
                  <a:lnTo>
                    <a:pt x="906" y="1368"/>
                  </a:lnTo>
                  <a:lnTo>
                    <a:pt x="894" y="1368"/>
                  </a:lnTo>
                  <a:lnTo>
                    <a:pt x="864" y="1374"/>
                  </a:lnTo>
                  <a:lnTo>
                    <a:pt x="852" y="1374"/>
                  </a:lnTo>
                  <a:lnTo>
                    <a:pt x="846" y="1386"/>
                  </a:lnTo>
                  <a:lnTo>
                    <a:pt x="846" y="1392"/>
                  </a:lnTo>
                  <a:lnTo>
                    <a:pt x="840" y="1398"/>
                  </a:lnTo>
                  <a:lnTo>
                    <a:pt x="840" y="1404"/>
                  </a:lnTo>
                  <a:lnTo>
                    <a:pt x="834" y="1416"/>
                  </a:lnTo>
                  <a:lnTo>
                    <a:pt x="828" y="1416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04" y="1428"/>
                  </a:lnTo>
                  <a:lnTo>
                    <a:pt x="804" y="1434"/>
                  </a:lnTo>
                  <a:lnTo>
                    <a:pt x="804" y="1440"/>
                  </a:lnTo>
                  <a:lnTo>
                    <a:pt x="798" y="1446"/>
                  </a:lnTo>
                  <a:lnTo>
                    <a:pt x="798" y="1458"/>
                  </a:lnTo>
                  <a:lnTo>
                    <a:pt x="792" y="1464"/>
                  </a:lnTo>
                  <a:lnTo>
                    <a:pt x="786" y="1476"/>
                  </a:lnTo>
                  <a:lnTo>
                    <a:pt x="780" y="1470"/>
                  </a:lnTo>
                  <a:lnTo>
                    <a:pt x="774" y="1470"/>
                  </a:lnTo>
                  <a:lnTo>
                    <a:pt x="768" y="1470"/>
                  </a:lnTo>
                  <a:lnTo>
                    <a:pt x="762" y="1476"/>
                  </a:lnTo>
                  <a:lnTo>
                    <a:pt x="762" y="1470"/>
                  </a:lnTo>
                  <a:lnTo>
                    <a:pt x="762" y="1464"/>
                  </a:lnTo>
                  <a:lnTo>
                    <a:pt x="762" y="1458"/>
                  </a:lnTo>
                  <a:lnTo>
                    <a:pt x="756" y="1458"/>
                  </a:lnTo>
                  <a:lnTo>
                    <a:pt x="756" y="1452"/>
                  </a:lnTo>
                  <a:lnTo>
                    <a:pt x="756" y="1446"/>
                  </a:lnTo>
                  <a:lnTo>
                    <a:pt x="756" y="1440"/>
                  </a:lnTo>
                  <a:lnTo>
                    <a:pt x="750" y="1434"/>
                  </a:lnTo>
                  <a:lnTo>
                    <a:pt x="750" y="1428"/>
                  </a:lnTo>
                  <a:lnTo>
                    <a:pt x="750" y="1422"/>
                  </a:lnTo>
                  <a:lnTo>
                    <a:pt x="750" y="1416"/>
                  </a:lnTo>
                  <a:lnTo>
                    <a:pt x="744" y="1416"/>
                  </a:lnTo>
                  <a:lnTo>
                    <a:pt x="744" y="1410"/>
                  </a:lnTo>
                  <a:lnTo>
                    <a:pt x="738" y="1404"/>
                  </a:lnTo>
                  <a:lnTo>
                    <a:pt x="732" y="1398"/>
                  </a:lnTo>
                  <a:lnTo>
                    <a:pt x="732" y="1392"/>
                  </a:lnTo>
                  <a:lnTo>
                    <a:pt x="726" y="1386"/>
                  </a:lnTo>
                  <a:lnTo>
                    <a:pt x="726" y="1380"/>
                  </a:lnTo>
                  <a:lnTo>
                    <a:pt x="714" y="1368"/>
                  </a:lnTo>
                  <a:lnTo>
                    <a:pt x="708" y="1368"/>
                  </a:lnTo>
                  <a:lnTo>
                    <a:pt x="684" y="1332"/>
                  </a:lnTo>
                  <a:lnTo>
                    <a:pt x="666" y="1320"/>
                  </a:lnTo>
                  <a:lnTo>
                    <a:pt x="648" y="1302"/>
                  </a:lnTo>
                  <a:lnTo>
                    <a:pt x="630" y="1314"/>
                  </a:lnTo>
                  <a:lnTo>
                    <a:pt x="624" y="1314"/>
                  </a:lnTo>
                  <a:lnTo>
                    <a:pt x="624" y="1308"/>
                  </a:lnTo>
                  <a:lnTo>
                    <a:pt x="618" y="1308"/>
                  </a:lnTo>
                  <a:lnTo>
                    <a:pt x="612" y="1284"/>
                  </a:lnTo>
                  <a:lnTo>
                    <a:pt x="606" y="1254"/>
                  </a:lnTo>
                  <a:lnTo>
                    <a:pt x="606" y="1248"/>
                  </a:lnTo>
                  <a:lnTo>
                    <a:pt x="606" y="1242"/>
                  </a:lnTo>
                  <a:lnTo>
                    <a:pt x="612" y="1242"/>
                  </a:lnTo>
                  <a:lnTo>
                    <a:pt x="618" y="1236"/>
                  </a:lnTo>
                  <a:lnTo>
                    <a:pt x="618" y="1230"/>
                  </a:lnTo>
                  <a:lnTo>
                    <a:pt x="624" y="1224"/>
                  </a:lnTo>
                  <a:lnTo>
                    <a:pt x="630" y="1224"/>
                  </a:lnTo>
                  <a:lnTo>
                    <a:pt x="636" y="1218"/>
                  </a:lnTo>
                  <a:lnTo>
                    <a:pt x="636" y="1212"/>
                  </a:lnTo>
                  <a:lnTo>
                    <a:pt x="612" y="1200"/>
                  </a:lnTo>
                  <a:lnTo>
                    <a:pt x="606" y="1182"/>
                  </a:lnTo>
                  <a:lnTo>
                    <a:pt x="672" y="1182"/>
                  </a:lnTo>
                  <a:lnTo>
                    <a:pt x="690" y="1170"/>
                  </a:lnTo>
                  <a:lnTo>
                    <a:pt x="690" y="1152"/>
                  </a:lnTo>
                  <a:lnTo>
                    <a:pt x="678" y="1110"/>
                  </a:lnTo>
                  <a:lnTo>
                    <a:pt x="672" y="1092"/>
                  </a:lnTo>
                  <a:lnTo>
                    <a:pt x="660" y="1074"/>
                  </a:lnTo>
                  <a:lnTo>
                    <a:pt x="648" y="1068"/>
                  </a:lnTo>
                  <a:lnTo>
                    <a:pt x="642" y="1068"/>
                  </a:lnTo>
                  <a:lnTo>
                    <a:pt x="636" y="1062"/>
                  </a:lnTo>
                  <a:lnTo>
                    <a:pt x="624" y="1056"/>
                  </a:lnTo>
                  <a:lnTo>
                    <a:pt x="624" y="1050"/>
                  </a:lnTo>
                  <a:lnTo>
                    <a:pt x="618" y="1038"/>
                  </a:lnTo>
                  <a:lnTo>
                    <a:pt x="612" y="1038"/>
                  </a:lnTo>
                  <a:lnTo>
                    <a:pt x="612" y="1032"/>
                  </a:lnTo>
                  <a:lnTo>
                    <a:pt x="612" y="1026"/>
                  </a:lnTo>
                  <a:lnTo>
                    <a:pt x="600" y="1014"/>
                  </a:lnTo>
                  <a:lnTo>
                    <a:pt x="582" y="1008"/>
                  </a:lnTo>
                  <a:lnTo>
                    <a:pt x="576" y="1002"/>
                  </a:lnTo>
                  <a:lnTo>
                    <a:pt x="576" y="996"/>
                  </a:lnTo>
                  <a:lnTo>
                    <a:pt x="570" y="996"/>
                  </a:lnTo>
                  <a:lnTo>
                    <a:pt x="570" y="990"/>
                  </a:lnTo>
                  <a:lnTo>
                    <a:pt x="570" y="984"/>
                  </a:lnTo>
                  <a:lnTo>
                    <a:pt x="564" y="984"/>
                  </a:lnTo>
                  <a:lnTo>
                    <a:pt x="558" y="978"/>
                  </a:lnTo>
                  <a:lnTo>
                    <a:pt x="552" y="972"/>
                  </a:lnTo>
                  <a:lnTo>
                    <a:pt x="552" y="966"/>
                  </a:lnTo>
                  <a:lnTo>
                    <a:pt x="546" y="972"/>
                  </a:lnTo>
                  <a:lnTo>
                    <a:pt x="540" y="972"/>
                  </a:lnTo>
                  <a:lnTo>
                    <a:pt x="534" y="960"/>
                  </a:lnTo>
                  <a:lnTo>
                    <a:pt x="528" y="960"/>
                  </a:lnTo>
                  <a:lnTo>
                    <a:pt x="528" y="966"/>
                  </a:lnTo>
                  <a:lnTo>
                    <a:pt x="516" y="954"/>
                  </a:lnTo>
                  <a:lnTo>
                    <a:pt x="516" y="948"/>
                  </a:lnTo>
                  <a:lnTo>
                    <a:pt x="510" y="948"/>
                  </a:lnTo>
                  <a:lnTo>
                    <a:pt x="504" y="948"/>
                  </a:lnTo>
                  <a:lnTo>
                    <a:pt x="498" y="948"/>
                  </a:lnTo>
                  <a:lnTo>
                    <a:pt x="504" y="954"/>
                  </a:lnTo>
                  <a:lnTo>
                    <a:pt x="498" y="954"/>
                  </a:lnTo>
                  <a:lnTo>
                    <a:pt x="492" y="954"/>
                  </a:lnTo>
                  <a:lnTo>
                    <a:pt x="480" y="942"/>
                  </a:lnTo>
                  <a:lnTo>
                    <a:pt x="480" y="948"/>
                  </a:lnTo>
                  <a:lnTo>
                    <a:pt x="480" y="954"/>
                  </a:lnTo>
                  <a:lnTo>
                    <a:pt x="474" y="954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56" y="966"/>
                  </a:lnTo>
                  <a:lnTo>
                    <a:pt x="456" y="960"/>
                  </a:lnTo>
                  <a:lnTo>
                    <a:pt x="450" y="966"/>
                  </a:lnTo>
                  <a:lnTo>
                    <a:pt x="444" y="966"/>
                  </a:lnTo>
                  <a:lnTo>
                    <a:pt x="414" y="966"/>
                  </a:lnTo>
                  <a:lnTo>
                    <a:pt x="408" y="960"/>
                  </a:lnTo>
                  <a:lnTo>
                    <a:pt x="408" y="966"/>
                  </a:lnTo>
                  <a:lnTo>
                    <a:pt x="402" y="960"/>
                  </a:lnTo>
                  <a:lnTo>
                    <a:pt x="396" y="960"/>
                  </a:lnTo>
                  <a:lnTo>
                    <a:pt x="390" y="960"/>
                  </a:lnTo>
                  <a:lnTo>
                    <a:pt x="390" y="966"/>
                  </a:lnTo>
                  <a:lnTo>
                    <a:pt x="384" y="966"/>
                  </a:lnTo>
                  <a:lnTo>
                    <a:pt x="378" y="966"/>
                  </a:lnTo>
                  <a:lnTo>
                    <a:pt x="384" y="960"/>
                  </a:lnTo>
                  <a:lnTo>
                    <a:pt x="384" y="954"/>
                  </a:lnTo>
                  <a:lnTo>
                    <a:pt x="372" y="948"/>
                  </a:lnTo>
                  <a:lnTo>
                    <a:pt x="372" y="954"/>
                  </a:lnTo>
                  <a:lnTo>
                    <a:pt x="372" y="960"/>
                  </a:lnTo>
                  <a:lnTo>
                    <a:pt x="366" y="960"/>
                  </a:lnTo>
                  <a:lnTo>
                    <a:pt x="360" y="966"/>
                  </a:lnTo>
                  <a:lnTo>
                    <a:pt x="354" y="966"/>
                  </a:lnTo>
                  <a:lnTo>
                    <a:pt x="348" y="960"/>
                  </a:lnTo>
                  <a:lnTo>
                    <a:pt x="342" y="960"/>
                  </a:lnTo>
                  <a:lnTo>
                    <a:pt x="342" y="966"/>
                  </a:lnTo>
                  <a:lnTo>
                    <a:pt x="336" y="972"/>
                  </a:lnTo>
                  <a:lnTo>
                    <a:pt x="330" y="972"/>
                  </a:lnTo>
                  <a:lnTo>
                    <a:pt x="324" y="966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6" y="954"/>
                  </a:lnTo>
                  <a:lnTo>
                    <a:pt x="306" y="948"/>
                  </a:lnTo>
                  <a:lnTo>
                    <a:pt x="306" y="942"/>
                  </a:lnTo>
                  <a:lnTo>
                    <a:pt x="300" y="942"/>
                  </a:lnTo>
                  <a:lnTo>
                    <a:pt x="294" y="936"/>
                  </a:lnTo>
                  <a:lnTo>
                    <a:pt x="288" y="936"/>
                  </a:lnTo>
                  <a:lnTo>
                    <a:pt x="282" y="942"/>
                  </a:lnTo>
                  <a:lnTo>
                    <a:pt x="276" y="936"/>
                  </a:lnTo>
                  <a:lnTo>
                    <a:pt x="276" y="942"/>
                  </a:lnTo>
                  <a:lnTo>
                    <a:pt x="270" y="942"/>
                  </a:lnTo>
                  <a:lnTo>
                    <a:pt x="264" y="936"/>
                  </a:lnTo>
                  <a:lnTo>
                    <a:pt x="252" y="936"/>
                  </a:lnTo>
                  <a:lnTo>
                    <a:pt x="246" y="936"/>
                  </a:lnTo>
                  <a:lnTo>
                    <a:pt x="240" y="936"/>
                  </a:lnTo>
                  <a:lnTo>
                    <a:pt x="234" y="936"/>
                  </a:lnTo>
                  <a:lnTo>
                    <a:pt x="240" y="924"/>
                  </a:lnTo>
                  <a:lnTo>
                    <a:pt x="234" y="924"/>
                  </a:lnTo>
                  <a:lnTo>
                    <a:pt x="228" y="918"/>
                  </a:lnTo>
                  <a:lnTo>
                    <a:pt x="228" y="906"/>
                  </a:lnTo>
                  <a:lnTo>
                    <a:pt x="222" y="900"/>
                  </a:lnTo>
                  <a:lnTo>
                    <a:pt x="216" y="900"/>
                  </a:lnTo>
                  <a:lnTo>
                    <a:pt x="210" y="900"/>
                  </a:lnTo>
                  <a:lnTo>
                    <a:pt x="210" y="906"/>
                  </a:lnTo>
                  <a:lnTo>
                    <a:pt x="204" y="906"/>
                  </a:lnTo>
                  <a:lnTo>
                    <a:pt x="198" y="906"/>
                  </a:lnTo>
                  <a:lnTo>
                    <a:pt x="210" y="900"/>
                  </a:lnTo>
                  <a:lnTo>
                    <a:pt x="210" y="894"/>
                  </a:lnTo>
                  <a:lnTo>
                    <a:pt x="216" y="888"/>
                  </a:lnTo>
                  <a:lnTo>
                    <a:pt x="204" y="882"/>
                  </a:lnTo>
                  <a:lnTo>
                    <a:pt x="204" y="894"/>
                  </a:lnTo>
                  <a:lnTo>
                    <a:pt x="198" y="894"/>
                  </a:lnTo>
                  <a:lnTo>
                    <a:pt x="192" y="900"/>
                  </a:lnTo>
                  <a:lnTo>
                    <a:pt x="186" y="894"/>
                  </a:lnTo>
                  <a:lnTo>
                    <a:pt x="180" y="894"/>
                  </a:lnTo>
                  <a:lnTo>
                    <a:pt x="174" y="894"/>
                  </a:lnTo>
                  <a:lnTo>
                    <a:pt x="168" y="900"/>
                  </a:lnTo>
                  <a:lnTo>
                    <a:pt x="162" y="906"/>
                  </a:lnTo>
                  <a:lnTo>
                    <a:pt x="156" y="906"/>
                  </a:lnTo>
                  <a:lnTo>
                    <a:pt x="150" y="900"/>
                  </a:lnTo>
                  <a:lnTo>
                    <a:pt x="144" y="894"/>
                  </a:lnTo>
                  <a:lnTo>
                    <a:pt x="138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0" y="888"/>
                  </a:lnTo>
                  <a:lnTo>
                    <a:pt x="114" y="894"/>
                  </a:lnTo>
                  <a:lnTo>
                    <a:pt x="120" y="900"/>
                  </a:lnTo>
                  <a:lnTo>
                    <a:pt x="126" y="900"/>
                  </a:lnTo>
                  <a:lnTo>
                    <a:pt x="132" y="900"/>
                  </a:lnTo>
                  <a:lnTo>
                    <a:pt x="132" y="906"/>
                  </a:lnTo>
                  <a:lnTo>
                    <a:pt x="126" y="912"/>
                  </a:lnTo>
                  <a:lnTo>
                    <a:pt x="126" y="918"/>
                  </a:lnTo>
                  <a:lnTo>
                    <a:pt x="114" y="918"/>
                  </a:lnTo>
                  <a:lnTo>
                    <a:pt x="108" y="924"/>
                  </a:lnTo>
                  <a:lnTo>
                    <a:pt x="102" y="924"/>
                  </a:lnTo>
                  <a:lnTo>
                    <a:pt x="90" y="924"/>
                  </a:lnTo>
                  <a:lnTo>
                    <a:pt x="84" y="924"/>
                  </a:lnTo>
                  <a:lnTo>
                    <a:pt x="78" y="924"/>
                  </a:lnTo>
                  <a:lnTo>
                    <a:pt x="60" y="924"/>
                  </a:lnTo>
                  <a:lnTo>
                    <a:pt x="54" y="942"/>
                  </a:lnTo>
                  <a:lnTo>
                    <a:pt x="48" y="936"/>
                  </a:lnTo>
                  <a:lnTo>
                    <a:pt x="42" y="930"/>
                  </a:lnTo>
                  <a:lnTo>
                    <a:pt x="36" y="930"/>
                  </a:lnTo>
                  <a:lnTo>
                    <a:pt x="30" y="936"/>
                  </a:lnTo>
                  <a:lnTo>
                    <a:pt x="30" y="930"/>
                  </a:lnTo>
                  <a:lnTo>
                    <a:pt x="30" y="924"/>
                  </a:lnTo>
                  <a:lnTo>
                    <a:pt x="18" y="918"/>
                  </a:lnTo>
                  <a:lnTo>
                    <a:pt x="18" y="912"/>
                  </a:lnTo>
                  <a:lnTo>
                    <a:pt x="12" y="912"/>
                  </a:lnTo>
                  <a:lnTo>
                    <a:pt x="6" y="912"/>
                  </a:lnTo>
                  <a:lnTo>
                    <a:pt x="6" y="900"/>
                  </a:lnTo>
                  <a:lnTo>
                    <a:pt x="6" y="894"/>
                  </a:lnTo>
                  <a:lnTo>
                    <a:pt x="0" y="870"/>
                  </a:lnTo>
                  <a:lnTo>
                    <a:pt x="6" y="846"/>
                  </a:lnTo>
                  <a:lnTo>
                    <a:pt x="6" y="810"/>
                  </a:lnTo>
                  <a:lnTo>
                    <a:pt x="12" y="774"/>
                  </a:lnTo>
                  <a:lnTo>
                    <a:pt x="12" y="756"/>
                  </a:lnTo>
                  <a:lnTo>
                    <a:pt x="18" y="744"/>
                  </a:lnTo>
                  <a:lnTo>
                    <a:pt x="18" y="732"/>
                  </a:lnTo>
                  <a:lnTo>
                    <a:pt x="12" y="576"/>
                  </a:lnTo>
                  <a:lnTo>
                    <a:pt x="12" y="570"/>
                  </a:lnTo>
                  <a:lnTo>
                    <a:pt x="18" y="564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42" y="552"/>
                  </a:lnTo>
                  <a:lnTo>
                    <a:pt x="66" y="552"/>
                  </a:lnTo>
                  <a:lnTo>
                    <a:pt x="78" y="558"/>
                  </a:lnTo>
                  <a:lnTo>
                    <a:pt x="90" y="558"/>
                  </a:lnTo>
                  <a:lnTo>
                    <a:pt x="108" y="558"/>
                  </a:lnTo>
                  <a:lnTo>
                    <a:pt x="144" y="558"/>
                  </a:lnTo>
                  <a:lnTo>
                    <a:pt x="204" y="552"/>
                  </a:lnTo>
                  <a:lnTo>
                    <a:pt x="210" y="558"/>
                  </a:lnTo>
                  <a:lnTo>
                    <a:pt x="216" y="558"/>
                  </a:lnTo>
                  <a:lnTo>
                    <a:pt x="210" y="564"/>
                  </a:lnTo>
                  <a:lnTo>
                    <a:pt x="216" y="564"/>
                  </a:lnTo>
                  <a:lnTo>
                    <a:pt x="222" y="564"/>
                  </a:lnTo>
                  <a:lnTo>
                    <a:pt x="240" y="564"/>
                  </a:lnTo>
                  <a:lnTo>
                    <a:pt x="258" y="564"/>
                  </a:lnTo>
                  <a:lnTo>
                    <a:pt x="264" y="570"/>
                  </a:lnTo>
                  <a:lnTo>
                    <a:pt x="276" y="570"/>
                  </a:lnTo>
                  <a:lnTo>
                    <a:pt x="282" y="564"/>
                  </a:lnTo>
                  <a:lnTo>
                    <a:pt x="294" y="564"/>
                  </a:lnTo>
                  <a:lnTo>
                    <a:pt x="294" y="570"/>
                  </a:lnTo>
                  <a:lnTo>
                    <a:pt x="300" y="570"/>
                  </a:lnTo>
                  <a:lnTo>
                    <a:pt x="378" y="564"/>
                  </a:lnTo>
                  <a:lnTo>
                    <a:pt x="408" y="558"/>
                  </a:lnTo>
                  <a:lnTo>
                    <a:pt x="432" y="552"/>
                  </a:lnTo>
                  <a:lnTo>
                    <a:pt x="450" y="546"/>
                  </a:lnTo>
                  <a:lnTo>
                    <a:pt x="468" y="546"/>
                  </a:lnTo>
                  <a:lnTo>
                    <a:pt x="468" y="552"/>
                  </a:lnTo>
                  <a:lnTo>
                    <a:pt x="504" y="552"/>
                  </a:lnTo>
                  <a:lnTo>
                    <a:pt x="510" y="534"/>
                  </a:lnTo>
                  <a:lnTo>
                    <a:pt x="516" y="510"/>
                  </a:lnTo>
                  <a:lnTo>
                    <a:pt x="522" y="510"/>
                  </a:lnTo>
                  <a:lnTo>
                    <a:pt x="528" y="420"/>
                  </a:lnTo>
                  <a:lnTo>
                    <a:pt x="522" y="414"/>
                  </a:lnTo>
                  <a:lnTo>
                    <a:pt x="516" y="396"/>
                  </a:lnTo>
                  <a:lnTo>
                    <a:pt x="510" y="372"/>
                  </a:lnTo>
                  <a:lnTo>
                    <a:pt x="498" y="348"/>
                  </a:lnTo>
                  <a:lnTo>
                    <a:pt x="474" y="282"/>
                  </a:lnTo>
                  <a:lnTo>
                    <a:pt x="474" y="270"/>
                  </a:lnTo>
                  <a:lnTo>
                    <a:pt x="480" y="258"/>
                  </a:lnTo>
                  <a:lnTo>
                    <a:pt x="486" y="258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92" y="246"/>
                  </a:lnTo>
                  <a:lnTo>
                    <a:pt x="504" y="234"/>
                  </a:lnTo>
                  <a:lnTo>
                    <a:pt x="510" y="228"/>
                  </a:lnTo>
                  <a:lnTo>
                    <a:pt x="516" y="228"/>
                  </a:lnTo>
                  <a:lnTo>
                    <a:pt x="516" y="222"/>
                  </a:lnTo>
                  <a:lnTo>
                    <a:pt x="516" y="216"/>
                  </a:lnTo>
                  <a:lnTo>
                    <a:pt x="522" y="216"/>
                  </a:lnTo>
                  <a:lnTo>
                    <a:pt x="528" y="210"/>
                  </a:lnTo>
                  <a:lnTo>
                    <a:pt x="534" y="210"/>
                  </a:lnTo>
                  <a:lnTo>
                    <a:pt x="540" y="210"/>
                  </a:lnTo>
                  <a:lnTo>
                    <a:pt x="546" y="210"/>
                  </a:lnTo>
                  <a:lnTo>
                    <a:pt x="552" y="210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16"/>
                  </a:lnTo>
                  <a:lnTo>
                    <a:pt x="588" y="228"/>
                  </a:lnTo>
                  <a:lnTo>
                    <a:pt x="594" y="234"/>
                  </a:lnTo>
                  <a:lnTo>
                    <a:pt x="600" y="240"/>
                  </a:lnTo>
                  <a:lnTo>
                    <a:pt x="618" y="246"/>
                  </a:lnTo>
                  <a:lnTo>
                    <a:pt x="624" y="246"/>
                  </a:lnTo>
                  <a:lnTo>
                    <a:pt x="636" y="252"/>
                  </a:lnTo>
                  <a:lnTo>
                    <a:pt x="654" y="252"/>
                  </a:lnTo>
                  <a:lnTo>
                    <a:pt x="654" y="258"/>
                  </a:lnTo>
                  <a:lnTo>
                    <a:pt x="666" y="264"/>
                  </a:lnTo>
                  <a:lnTo>
                    <a:pt x="672" y="264"/>
                  </a:lnTo>
                  <a:lnTo>
                    <a:pt x="678" y="264"/>
                  </a:lnTo>
                  <a:lnTo>
                    <a:pt x="696" y="258"/>
                  </a:lnTo>
                  <a:lnTo>
                    <a:pt x="696" y="252"/>
                  </a:lnTo>
                  <a:lnTo>
                    <a:pt x="696" y="246"/>
                  </a:lnTo>
                  <a:lnTo>
                    <a:pt x="690" y="234"/>
                  </a:lnTo>
                  <a:lnTo>
                    <a:pt x="684" y="210"/>
                  </a:lnTo>
                  <a:lnTo>
                    <a:pt x="678" y="192"/>
                  </a:lnTo>
                  <a:lnTo>
                    <a:pt x="672" y="174"/>
                  </a:lnTo>
                  <a:lnTo>
                    <a:pt x="672" y="168"/>
                  </a:lnTo>
                  <a:lnTo>
                    <a:pt x="672" y="162"/>
                  </a:lnTo>
                  <a:lnTo>
                    <a:pt x="672" y="156"/>
                  </a:lnTo>
                  <a:lnTo>
                    <a:pt x="684" y="132"/>
                  </a:lnTo>
                  <a:lnTo>
                    <a:pt x="684" y="120"/>
                  </a:lnTo>
                  <a:lnTo>
                    <a:pt x="684" y="108"/>
                  </a:lnTo>
                  <a:lnTo>
                    <a:pt x="678" y="102"/>
                  </a:lnTo>
                  <a:lnTo>
                    <a:pt x="678" y="96"/>
                  </a:lnTo>
                  <a:lnTo>
                    <a:pt x="684" y="96"/>
                  </a:lnTo>
                  <a:lnTo>
                    <a:pt x="696" y="90"/>
                  </a:lnTo>
                  <a:lnTo>
                    <a:pt x="702" y="84"/>
                  </a:lnTo>
                  <a:lnTo>
                    <a:pt x="720" y="72"/>
                  </a:lnTo>
                  <a:lnTo>
                    <a:pt x="738" y="66"/>
                  </a:lnTo>
                  <a:lnTo>
                    <a:pt x="756" y="60"/>
                  </a:lnTo>
                  <a:lnTo>
                    <a:pt x="768" y="60"/>
                  </a:lnTo>
                  <a:lnTo>
                    <a:pt x="798" y="72"/>
                  </a:lnTo>
                  <a:lnTo>
                    <a:pt x="804" y="78"/>
                  </a:lnTo>
                  <a:lnTo>
                    <a:pt x="816" y="84"/>
                  </a:lnTo>
                  <a:lnTo>
                    <a:pt x="822" y="84"/>
                  </a:lnTo>
                  <a:lnTo>
                    <a:pt x="828" y="72"/>
                  </a:lnTo>
                  <a:lnTo>
                    <a:pt x="828" y="60"/>
                  </a:lnTo>
                  <a:lnTo>
                    <a:pt x="828" y="36"/>
                  </a:lnTo>
                  <a:lnTo>
                    <a:pt x="828" y="24"/>
                  </a:lnTo>
                  <a:lnTo>
                    <a:pt x="828" y="12"/>
                  </a:lnTo>
                  <a:lnTo>
                    <a:pt x="834" y="12"/>
                  </a:lnTo>
                  <a:lnTo>
                    <a:pt x="852" y="6"/>
                  </a:lnTo>
                  <a:lnTo>
                    <a:pt x="876" y="6"/>
                  </a:lnTo>
                  <a:lnTo>
                    <a:pt x="894" y="6"/>
                  </a:lnTo>
                  <a:lnTo>
                    <a:pt x="906" y="12"/>
                  </a:lnTo>
                  <a:lnTo>
                    <a:pt x="912" y="24"/>
                  </a:lnTo>
                  <a:lnTo>
                    <a:pt x="924" y="24"/>
                  </a:lnTo>
                  <a:lnTo>
                    <a:pt x="930" y="30"/>
                  </a:lnTo>
                  <a:lnTo>
                    <a:pt x="936" y="30"/>
                  </a:lnTo>
                  <a:lnTo>
                    <a:pt x="936" y="36"/>
                  </a:lnTo>
                  <a:lnTo>
                    <a:pt x="942" y="36"/>
                  </a:lnTo>
                  <a:lnTo>
                    <a:pt x="948" y="42"/>
                  </a:lnTo>
                  <a:lnTo>
                    <a:pt x="960" y="48"/>
                  </a:lnTo>
                  <a:lnTo>
                    <a:pt x="966" y="48"/>
                  </a:lnTo>
                  <a:lnTo>
                    <a:pt x="1026" y="60"/>
                  </a:lnTo>
                  <a:lnTo>
                    <a:pt x="1050" y="60"/>
                  </a:lnTo>
                  <a:lnTo>
                    <a:pt x="1050" y="54"/>
                  </a:lnTo>
                  <a:lnTo>
                    <a:pt x="1062" y="54"/>
                  </a:lnTo>
                  <a:lnTo>
                    <a:pt x="1074" y="48"/>
                  </a:lnTo>
                  <a:lnTo>
                    <a:pt x="1086" y="42"/>
                  </a:lnTo>
                  <a:lnTo>
                    <a:pt x="1104" y="36"/>
                  </a:lnTo>
                  <a:lnTo>
                    <a:pt x="1116" y="30"/>
                  </a:lnTo>
                  <a:lnTo>
                    <a:pt x="1122" y="24"/>
                  </a:lnTo>
                  <a:lnTo>
                    <a:pt x="1128" y="18"/>
                  </a:lnTo>
                  <a:lnTo>
                    <a:pt x="1134" y="18"/>
                  </a:lnTo>
                  <a:lnTo>
                    <a:pt x="1140" y="12"/>
                  </a:lnTo>
                  <a:lnTo>
                    <a:pt x="1146" y="6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24"/>
                  </a:lnTo>
                  <a:lnTo>
                    <a:pt x="1176" y="36"/>
                  </a:lnTo>
                  <a:lnTo>
                    <a:pt x="1188" y="42"/>
                  </a:lnTo>
                  <a:lnTo>
                    <a:pt x="1200" y="54"/>
                  </a:lnTo>
                  <a:lnTo>
                    <a:pt x="1224" y="84"/>
                  </a:lnTo>
                  <a:lnTo>
                    <a:pt x="1224" y="90"/>
                  </a:lnTo>
                  <a:lnTo>
                    <a:pt x="1236" y="96"/>
                  </a:lnTo>
                  <a:lnTo>
                    <a:pt x="1236" y="108"/>
                  </a:lnTo>
                  <a:lnTo>
                    <a:pt x="1248" y="114"/>
                  </a:lnTo>
                  <a:lnTo>
                    <a:pt x="1254" y="114"/>
                  </a:lnTo>
                  <a:lnTo>
                    <a:pt x="1260" y="114"/>
                  </a:lnTo>
                  <a:lnTo>
                    <a:pt x="1296" y="114"/>
                  </a:lnTo>
                  <a:lnTo>
                    <a:pt x="1302" y="114"/>
                  </a:lnTo>
                  <a:lnTo>
                    <a:pt x="1320" y="108"/>
                  </a:lnTo>
                  <a:lnTo>
                    <a:pt x="1326" y="108"/>
                  </a:lnTo>
                  <a:lnTo>
                    <a:pt x="1326" y="138"/>
                  </a:lnTo>
                  <a:lnTo>
                    <a:pt x="1326" y="210"/>
                  </a:lnTo>
                  <a:lnTo>
                    <a:pt x="1320" y="252"/>
                  </a:lnTo>
                  <a:lnTo>
                    <a:pt x="1320" y="270"/>
                  </a:lnTo>
                  <a:lnTo>
                    <a:pt x="1320" y="288"/>
                  </a:lnTo>
                  <a:lnTo>
                    <a:pt x="1320" y="318"/>
                  </a:lnTo>
                  <a:lnTo>
                    <a:pt x="1326" y="354"/>
                  </a:lnTo>
                  <a:lnTo>
                    <a:pt x="1326" y="372"/>
                  </a:lnTo>
                  <a:lnTo>
                    <a:pt x="1332" y="420"/>
                  </a:lnTo>
                  <a:lnTo>
                    <a:pt x="1332" y="450"/>
                  </a:lnTo>
                  <a:lnTo>
                    <a:pt x="1338" y="480"/>
                  </a:lnTo>
                  <a:lnTo>
                    <a:pt x="1344" y="486"/>
                  </a:lnTo>
                  <a:lnTo>
                    <a:pt x="1338" y="492"/>
                  </a:lnTo>
                  <a:lnTo>
                    <a:pt x="1344" y="492"/>
                  </a:lnTo>
                  <a:lnTo>
                    <a:pt x="1344" y="498"/>
                  </a:lnTo>
                  <a:lnTo>
                    <a:pt x="1350" y="498"/>
                  </a:lnTo>
                  <a:lnTo>
                    <a:pt x="1350" y="522"/>
                  </a:lnTo>
                  <a:lnTo>
                    <a:pt x="1362" y="564"/>
                  </a:lnTo>
                  <a:lnTo>
                    <a:pt x="1368" y="582"/>
                  </a:lnTo>
                  <a:lnTo>
                    <a:pt x="1380" y="600"/>
                  </a:lnTo>
                  <a:lnTo>
                    <a:pt x="1386" y="636"/>
                  </a:lnTo>
                  <a:lnTo>
                    <a:pt x="1380" y="660"/>
                  </a:lnTo>
                  <a:lnTo>
                    <a:pt x="1380" y="678"/>
                  </a:lnTo>
                  <a:lnTo>
                    <a:pt x="1380" y="684"/>
                  </a:lnTo>
                  <a:lnTo>
                    <a:pt x="1374" y="684"/>
                  </a:lnTo>
                  <a:lnTo>
                    <a:pt x="1368" y="690"/>
                  </a:lnTo>
                  <a:lnTo>
                    <a:pt x="1356" y="702"/>
                  </a:lnTo>
                  <a:lnTo>
                    <a:pt x="1350" y="708"/>
                  </a:lnTo>
                  <a:lnTo>
                    <a:pt x="1356" y="714"/>
                  </a:lnTo>
                  <a:lnTo>
                    <a:pt x="1368" y="726"/>
                  </a:lnTo>
                  <a:lnTo>
                    <a:pt x="1380" y="738"/>
                  </a:lnTo>
                  <a:lnTo>
                    <a:pt x="1386" y="744"/>
                  </a:lnTo>
                  <a:lnTo>
                    <a:pt x="1392" y="744"/>
                  </a:lnTo>
                  <a:lnTo>
                    <a:pt x="1410" y="750"/>
                  </a:lnTo>
                  <a:lnTo>
                    <a:pt x="1416" y="756"/>
                  </a:lnTo>
                  <a:lnTo>
                    <a:pt x="1422" y="756"/>
                  </a:lnTo>
                  <a:lnTo>
                    <a:pt x="1422" y="762"/>
                  </a:lnTo>
                  <a:lnTo>
                    <a:pt x="1428" y="774"/>
                  </a:lnTo>
                  <a:lnTo>
                    <a:pt x="1428" y="780"/>
                  </a:lnTo>
                  <a:lnTo>
                    <a:pt x="1434" y="780"/>
                  </a:lnTo>
                  <a:lnTo>
                    <a:pt x="1440" y="798"/>
                  </a:lnTo>
                  <a:lnTo>
                    <a:pt x="1422" y="816"/>
                  </a:lnTo>
                  <a:lnTo>
                    <a:pt x="1386" y="810"/>
                  </a:lnTo>
                  <a:lnTo>
                    <a:pt x="1380" y="816"/>
                  </a:lnTo>
                  <a:lnTo>
                    <a:pt x="1374" y="840"/>
                  </a:lnTo>
                  <a:lnTo>
                    <a:pt x="1350" y="852"/>
                  </a:lnTo>
                  <a:lnTo>
                    <a:pt x="1350" y="858"/>
                  </a:lnTo>
                  <a:lnTo>
                    <a:pt x="1350" y="864"/>
                  </a:lnTo>
                  <a:lnTo>
                    <a:pt x="1344" y="864"/>
                  </a:lnTo>
                  <a:lnTo>
                    <a:pt x="1338" y="870"/>
                  </a:lnTo>
                  <a:lnTo>
                    <a:pt x="1332" y="876"/>
                  </a:lnTo>
                  <a:lnTo>
                    <a:pt x="1314" y="876"/>
                  </a:lnTo>
                  <a:lnTo>
                    <a:pt x="1314" y="870"/>
                  </a:lnTo>
                  <a:lnTo>
                    <a:pt x="1308" y="870"/>
                  </a:lnTo>
                  <a:lnTo>
                    <a:pt x="1302" y="864"/>
                  </a:lnTo>
                  <a:lnTo>
                    <a:pt x="1296" y="864"/>
                  </a:lnTo>
                  <a:lnTo>
                    <a:pt x="1284" y="870"/>
                  </a:lnTo>
                  <a:lnTo>
                    <a:pt x="1266" y="870"/>
                  </a:lnTo>
                  <a:lnTo>
                    <a:pt x="1260" y="870"/>
                  </a:lnTo>
                  <a:lnTo>
                    <a:pt x="1248" y="876"/>
                  </a:lnTo>
                  <a:lnTo>
                    <a:pt x="1236" y="876"/>
                  </a:lnTo>
                  <a:lnTo>
                    <a:pt x="1230" y="882"/>
                  </a:lnTo>
                  <a:lnTo>
                    <a:pt x="1224" y="894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18" y="942"/>
                  </a:lnTo>
                  <a:lnTo>
                    <a:pt x="1212" y="948"/>
                  </a:lnTo>
                  <a:lnTo>
                    <a:pt x="1200" y="984"/>
                  </a:lnTo>
                  <a:lnTo>
                    <a:pt x="1194" y="1008"/>
                  </a:lnTo>
                  <a:lnTo>
                    <a:pt x="1218" y="1038"/>
                  </a:lnTo>
                  <a:lnTo>
                    <a:pt x="1224" y="1044"/>
                  </a:lnTo>
                  <a:lnTo>
                    <a:pt x="1224" y="1062"/>
                  </a:lnTo>
                  <a:lnTo>
                    <a:pt x="1236" y="1080"/>
                  </a:lnTo>
                  <a:lnTo>
                    <a:pt x="1236" y="1086"/>
                  </a:lnTo>
                  <a:lnTo>
                    <a:pt x="1230" y="1092"/>
                  </a:lnTo>
                  <a:lnTo>
                    <a:pt x="1224" y="1110"/>
                  </a:lnTo>
                  <a:lnTo>
                    <a:pt x="1218" y="1122"/>
                  </a:lnTo>
                  <a:lnTo>
                    <a:pt x="1224" y="1140"/>
                  </a:lnTo>
                  <a:lnTo>
                    <a:pt x="1218" y="1146"/>
                  </a:lnTo>
                  <a:lnTo>
                    <a:pt x="1218" y="1152"/>
                  </a:lnTo>
                  <a:lnTo>
                    <a:pt x="1212" y="116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1" name="Freeform 36">
              <a:extLst>
                <a:ext uri="{FF2B5EF4-FFF2-40B4-BE49-F238E27FC236}">
                  <a16:creationId xmlns:a16="http://schemas.microsoft.com/office/drawing/2014/main" id="{B9C0D6BE-CB1C-4E69-B224-1ABF097AA8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90208" y="1647855"/>
              <a:ext cx="742415" cy="758173"/>
            </a:xfrm>
            <a:custGeom>
              <a:avLst/>
              <a:gdLst>
                <a:gd name="T0" fmla="*/ 75 w 1398"/>
                <a:gd name="T1" fmla="*/ 48 h 1428"/>
                <a:gd name="T2" fmla="*/ 68 w 1398"/>
                <a:gd name="T3" fmla="*/ 54 h 1428"/>
                <a:gd name="T4" fmla="*/ 57 w 1398"/>
                <a:gd name="T5" fmla="*/ 59 h 1428"/>
                <a:gd name="T6" fmla="*/ 55 w 1398"/>
                <a:gd name="T7" fmla="*/ 68 h 1428"/>
                <a:gd name="T8" fmla="*/ 55 w 1398"/>
                <a:gd name="T9" fmla="*/ 77 h 1428"/>
                <a:gd name="T10" fmla="*/ 57 w 1398"/>
                <a:gd name="T11" fmla="*/ 81 h 1428"/>
                <a:gd name="T12" fmla="*/ 56 w 1398"/>
                <a:gd name="T13" fmla="*/ 86 h 1428"/>
                <a:gd name="T14" fmla="*/ 57 w 1398"/>
                <a:gd name="T15" fmla="*/ 89 h 1428"/>
                <a:gd name="T16" fmla="*/ 58 w 1398"/>
                <a:gd name="T17" fmla="*/ 92 h 1428"/>
                <a:gd name="T18" fmla="*/ 58 w 1398"/>
                <a:gd name="T19" fmla="*/ 96 h 1428"/>
                <a:gd name="T20" fmla="*/ 49 w 1398"/>
                <a:gd name="T21" fmla="*/ 100 h 1428"/>
                <a:gd name="T22" fmla="*/ 47 w 1398"/>
                <a:gd name="T23" fmla="*/ 108 h 1428"/>
                <a:gd name="T24" fmla="*/ 48 w 1398"/>
                <a:gd name="T25" fmla="*/ 113 h 1428"/>
                <a:gd name="T26" fmla="*/ 43 w 1398"/>
                <a:gd name="T27" fmla="*/ 114 h 1428"/>
                <a:gd name="T28" fmla="*/ 39 w 1398"/>
                <a:gd name="T29" fmla="*/ 113 h 1428"/>
                <a:gd name="T30" fmla="*/ 33 w 1398"/>
                <a:gd name="T31" fmla="*/ 109 h 1428"/>
                <a:gd name="T32" fmla="*/ 29 w 1398"/>
                <a:gd name="T33" fmla="*/ 114 h 1428"/>
                <a:gd name="T34" fmla="*/ 22 w 1398"/>
                <a:gd name="T35" fmla="*/ 115 h 1428"/>
                <a:gd name="T36" fmla="*/ 21 w 1398"/>
                <a:gd name="T37" fmla="*/ 121 h 1428"/>
                <a:gd name="T38" fmla="*/ 12 w 1398"/>
                <a:gd name="T39" fmla="*/ 119 h 1428"/>
                <a:gd name="T40" fmla="*/ 9 w 1398"/>
                <a:gd name="T41" fmla="*/ 113 h 1428"/>
                <a:gd name="T42" fmla="*/ 2 w 1398"/>
                <a:gd name="T43" fmla="*/ 109 h 1428"/>
                <a:gd name="T44" fmla="*/ 4 w 1398"/>
                <a:gd name="T45" fmla="*/ 103 h 1428"/>
                <a:gd name="T46" fmla="*/ 2 w 1398"/>
                <a:gd name="T47" fmla="*/ 91 h 1428"/>
                <a:gd name="T48" fmla="*/ 6 w 1398"/>
                <a:gd name="T49" fmla="*/ 85 h 1428"/>
                <a:gd name="T50" fmla="*/ 10 w 1398"/>
                <a:gd name="T51" fmla="*/ 85 h 1428"/>
                <a:gd name="T52" fmla="*/ 15 w 1398"/>
                <a:gd name="T53" fmla="*/ 82 h 1428"/>
                <a:gd name="T54" fmla="*/ 20 w 1398"/>
                <a:gd name="T55" fmla="*/ 77 h 1428"/>
                <a:gd name="T56" fmla="*/ 16 w 1398"/>
                <a:gd name="T57" fmla="*/ 73 h 1428"/>
                <a:gd name="T58" fmla="*/ 16 w 1398"/>
                <a:gd name="T59" fmla="*/ 69 h 1428"/>
                <a:gd name="T60" fmla="*/ 14 w 1398"/>
                <a:gd name="T61" fmla="*/ 54 h 1428"/>
                <a:gd name="T62" fmla="*/ 12 w 1398"/>
                <a:gd name="T63" fmla="*/ 48 h 1428"/>
                <a:gd name="T64" fmla="*/ 11 w 1398"/>
                <a:gd name="T65" fmla="*/ 31 h 1428"/>
                <a:gd name="T66" fmla="*/ 14 w 1398"/>
                <a:gd name="T67" fmla="*/ 18 h 1428"/>
                <a:gd name="T68" fmla="*/ 19 w 1398"/>
                <a:gd name="T69" fmla="*/ 15 h 1428"/>
                <a:gd name="T70" fmla="*/ 26 w 1398"/>
                <a:gd name="T71" fmla="*/ 13 h 1428"/>
                <a:gd name="T72" fmla="*/ 34 w 1398"/>
                <a:gd name="T73" fmla="*/ 12 h 1428"/>
                <a:gd name="T74" fmla="*/ 39 w 1398"/>
                <a:gd name="T75" fmla="*/ 9 h 1428"/>
                <a:gd name="T76" fmla="*/ 43 w 1398"/>
                <a:gd name="T77" fmla="*/ 7 h 1428"/>
                <a:gd name="T78" fmla="*/ 48 w 1398"/>
                <a:gd name="T79" fmla="*/ 3 h 1428"/>
                <a:gd name="T80" fmla="*/ 54 w 1398"/>
                <a:gd name="T81" fmla="*/ 0 h 1428"/>
                <a:gd name="T82" fmla="*/ 58 w 1398"/>
                <a:gd name="T83" fmla="*/ 0 h 1428"/>
                <a:gd name="T84" fmla="*/ 66 w 1398"/>
                <a:gd name="T85" fmla="*/ 2 h 1428"/>
                <a:gd name="T86" fmla="*/ 70 w 1398"/>
                <a:gd name="T87" fmla="*/ 3 h 1428"/>
                <a:gd name="T88" fmla="*/ 75 w 1398"/>
                <a:gd name="T89" fmla="*/ 6 h 1428"/>
                <a:gd name="T90" fmla="*/ 80 w 1398"/>
                <a:gd name="T91" fmla="*/ 9 h 1428"/>
                <a:gd name="T92" fmla="*/ 83 w 1398"/>
                <a:gd name="T93" fmla="*/ 12 h 1428"/>
                <a:gd name="T94" fmla="*/ 87 w 1398"/>
                <a:gd name="T95" fmla="*/ 15 h 1428"/>
                <a:gd name="T96" fmla="*/ 94 w 1398"/>
                <a:gd name="T97" fmla="*/ 15 h 1428"/>
                <a:gd name="T98" fmla="*/ 99 w 1398"/>
                <a:gd name="T99" fmla="*/ 21 h 1428"/>
                <a:gd name="T100" fmla="*/ 103 w 1398"/>
                <a:gd name="T101" fmla="*/ 23 h 1428"/>
                <a:gd name="T102" fmla="*/ 110 w 1398"/>
                <a:gd name="T103" fmla="*/ 26 h 1428"/>
                <a:gd name="T104" fmla="*/ 116 w 1398"/>
                <a:gd name="T105" fmla="*/ 27 h 1428"/>
                <a:gd name="T106" fmla="*/ 120 w 1398"/>
                <a:gd name="T107" fmla="*/ 27 h 1428"/>
                <a:gd name="T108" fmla="*/ 116 w 1398"/>
                <a:gd name="T109" fmla="*/ 35 h 1428"/>
                <a:gd name="T110" fmla="*/ 104 w 1398"/>
                <a:gd name="T111" fmla="*/ 37 h 1428"/>
                <a:gd name="T112" fmla="*/ 97 w 1398"/>
                <a:gd name="T113" fmla="*/ 34 h 1428"/>
                <a:gd name="T114" fmla="*/ 91 w 1398"/>
                <a:gd name="T115" fmla="*/ 29 h 1428"/>
                <a:gd name="T116" fmla="*/ 75 w 1398"/>
                <a:gd name="T117" fmla="*/ 29 h 1428"/>
                <a:gd name="T118" fmla="*/ 72 w 1398"/>
                <a:gd name="T119" fmla="*/ 39 h 1428"/>
                <a:gd name="T120" fmla="*/ 80 w 1398"/>
                <a:gd name="T121" fmla="*/ 41 h 142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98"/>
                <a:gd name="T184" fmla="*/ 0 h 1428"/>
                <a:gd name="T185" fmla="*/ 1398 w 1398"/>
                <a:gd name="T186" fmla="*/ 1428 h 142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98" h="1428">
                  <a:moveTo>
                    <a:pt x="924" y="474"/>
                  </a:moveTo>
                  <a:lnTo>
                    <a:pt x="900" y="480"/>
                  </a:lnTo>
                  <a:lnTo>
                    <a:pt x="864" y="486"/>
                  </a:lnTo>
                  <a:lnTo>
                    <a:pt x="864" y="504"/>
                  </a:lnTo>
                  <a:lnTo>
                    <a:pt x="858" y="522"/>
                  </a:lnTo>
                  <a:lnTo>
                    <a:pt x="864" y="528"/>
                  </a:lnTo>
                  <a:lnTo>
                    <a:pt x="864" y="552"/>
                  </a:lnTo>
                  <a:lnTo>
                    <a:pt x="852" y="552"/>
                  </a:lnTo>
                  <a:lnTo>
                    <a:pt x="846" y="564"/>
                  </a:lnTo>
                  <a:lnTo>
                    <a:pt x="840" y="582"/>
                  </a:lnTo>
                  <a:lnTo>
                    <a:pt x="834" y="594"/>
                  </a:lnTo>
                  <a:lnTo>
                    <a:pt x="828" y="606"/>
                  </a:lnTo>
                  <a:lnTo>
                    <a:pt x="828" y="618"/>
                  </a:lnTo>
                  <a:lnTo>
                    <a:pt x="786" y="630"/>
                  </a:lnTo>
                  <a:lnTo>
                    <a:pt x="774" y="636"/>
                  </a:lnTo>
                  <a:lnTo>
                    <a:pt x="762" y="642"/>
                  </a:lnTo>
                  <a:lnTo>
                    <a:pt x="744" y="648"/>
                  </a:lnTo>
                  <a:lnTo>
                    <a:pt x="714" y="660"/>
                  </a:lnTo>
                  <a:lnTo>
                    <a:pt x="696" y="666"/>
                  </a:lnTo>
                  <a:lnTo>
                    <a:pt x="666" y="672"/>
                  </a:lnTo>
                  <a:lnTo>
                    <a:pt x="654" y="684"/>
                  </a:lnTo>
                  <a:lnTo>
                    <a:pt x="648" y="684"/>
                  </a:lnTo>
                  <a:lnTo>
                    <a:pt x="642" y="696"/>
                  </a:lnTo>
                  <a:lnTo>
                    <a:pt x="636" y="696"/>
                  </a:lnTo>
                  <a:lnTo>
                    <a:pt x="630" y="714"/>
                  </a:lnTo>
                  <a:lnTo>
                    <a:pt x="624" y="738"/>
                  </a:lnTo>
                  <a:lnTo>
                    <a:pt x="624" y="762"/>
                  </a:lnTo>
                  <a:lnTo>
                    <a:pt x="630" y="780"/>
                  </a:lnTo>
                  <a:lnTo>
                    <a:pt x="636" y="804"/>
                  </a:lnTo>
                  <a:lnTo>
                    <a:pt x="642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6" y="834"/>
                  </a:lnTo>
                  <a:lnTo>
                    <a:pt x="636" y="870"/>
                  </a:lnTo>
                  <a:lnTo>
                    <a:pt x="636" y="882"/>
                  </a:lnTo>
                  <a:lnTo>
                    <a:pt x="636" y="906"/>
                  </a:lnTo>
                  <a:lnTo>
                    <a:pt x="630" y="906"/>
                  </a:lnTo>
                  <a:lnTo>
                    <a:pt x="636" y="918"/>
                  </a:lnTo>
                  <a:lnTo>
                    <a:pt x="642" y="918"/>
                  </a:lnTo>
                  <a:lnTo>
                    <a:pt x="642" y="930"/>
                  </a:lnTo>
                  <a:lnTo>
                    <a:pt x="648" y="936"/>
                  </a:lnTo>
                  <a:lnTo>
                    <a:pt x="654" y="936"/>
                  </a:lnTo>
                  <a:lnTo>
                    <a:pt x="654" y="942"/>
                  </a:lnTo>
                  <a:lnTo>
                    <a:pt x="654" y="948"/>
                  </a:lnTo>
                  <a:lnTo>
                    <a:pt x="648" y="954"/>
                  </a:lnTo>
                  <a:lnTo>
                    <a:pt x="648" y="960"/>
                  </a:lnTo>
                  <a:lnTo>
                    <a:pt x="648" y="966"/>
                  </a:lnTo>
                  <a:lnTo>
                    <a:pt x="648" y="972"/>
                  </a:lnTo>
                  <a:lnTo>
                    <a:pt x="648" y="990"/>
                  </a:lnTo>
                  <a:lnTo>
                    <a:pt x="654" y="996"/>
                  </a:lnTo>
                  <a:lnTo>
                    <a:pt x="648" y="1002"/>
                  </a:lnTo>
                  <a:lnTo>
                    <a:pt x="648" y="1008"/>
                  </a:lnTo>
                  <a:lnTo>
                    <a:pt x="654" y="1014"/>
                  </a:lnTo>
                  <a:lnTo>
                    <a:pt x="654" y="1020"/>
                  </a:lnTo>
                  <a:lnTo>
                    <a:pt x="654" y="1026"/>
                  </a:lnTo>
                  <a:lnTo>
                    <a:pt x="660" y="1026"/>
                  </a:lnTo>
                  <a:lnTo>
                    <a:pt x="660" y="1032"/>
                  </a:lnTo>
                  <a:lnTo>
                    <a:pt x="660" y="1038"/>
                  </a:lnTo>
                  <a:lnTo>
                    <a:pt x="666" y="1044"/>
                  </a:lnTo>
                  <a:lnTo>
                    <a:pt x="672" y="1050"/>
                  </a:lnTo>
                  <a:lnTo>
                    <a:pt x="672" y="1056"/>
                  </a:lnTo>
                  <a:lnTo>
                    <a:pt x="672" y="1062"/>
                  </a:lnTo>
                  <a:lnTo>
                    <a:pt x="672" y="1068"/>
                  </a:lnTo>
                  <a:lnTo>
                    <a:pt x="672" y="1074"/>
                  </a:lnTo>
                  <a:lnTo>
                    <a:pt x="678" y="1074"/>
                  </a:lnTo>
                  <a:lnTo>
                    <a:pt x="678" y="1080"/>
                  </a:lnTo>
                  <a:lnTo>
                    <a:pt x="678" y="1086"/>
                  </a:lnTo>
                  <a:lnTo>
                    <a:pt x="672" y="1092"/>
                  </a:lnTo>
                  <a:lnTo>
                    <a:pt x="672" y="1098"/>
                  </a:lnTo>
                  <a:lnTo>
                    <a:pt x="672" y="1104"/>
                  </a:lnTo>
                  <a:lnTo>
                    <a:pt x="666" y="1116"/>
                  </a:lnTo>
                  <a:lnTo>
                    <a:pt x="624" y="1122"/>
                  </a:lnTo>
                  <a:lnTo>
                    <a:pt x="576" y="1134"/>
                  </a:lnTo>
                  <a:lnTo>
                    <a:pt x="570" y="1140"/>
                  </a:lnTo>
                  <a:lnTo>
                    <a:pt x="570" y="1146"/>
                  </a:lnTo>
                  <a:lnTo>
                    <a:pt x="564" y="1146"/>
                  </a:lnTo>
                  <a:lnTo>
                    <a:pt x="564" y="1152"/>
                  </a:lnTo>
                  <a:lnTo>
                    <a:pt x="564" y="1164"/>
                  </a:lnTo>
                  <a:lnTo>
                    <a:pt x="564" y="1170"/>
                  </a:lnTo>
                  <a:lnTo>
                    <a:pt x="564" y="1176"/>
                  </a:lnTo>
                  <a:lnTo>
                    <a:pt x="546" y="1176"/>
                  </a:lnTo>
                  <a:lnTo>
                    <a:pt x="540" y="1212"/>
                  </a:lnTo>
                  <a:lnTo>
                    <a:pt x="540" y="1230"/>
                  </a:lnTo>
                  <a:lnTo>
                    <a:pt x="546" y="1242"/>
                  </a:lnTo>
                  <a:lnTo>
                    <a:pt x="546" y="1254"/>
                  </a:lnTo>
                  <a:lnTo>
                    <a:pt x="558" y="1266"/>
                  </a:lnTo>
                  <a:lnTo>
                    <a:pt x="576" y="1272"/>
                  </a:lnTo>
                  <a:lnTo>
                    <a:pt x="570" y="1278"/>
                  </a:lnTo>
                  <a:lnTo>
                    <a:pt x="576" y="1284"/>
                  </a:lnTo>
                  <a:lnTo>
                    <a:pt x="570" y="1296"/>
                  </a:lnTo>
                  <a:lnTo>
                    <a:pt x="558" y="1302"/>
                  </a:lnTo>
                  <a:lnTo>
                    <a:pt x="540" y="1308"/>
                  </a:lnTo>
                  <a:lnTo>
                    <a:pt x="522" y="1314"/>
                  </a:lnTo>
                  <a:lnTo>
                    <a:pt x="516" y="1314"/>
                  </a:lnTo>
                  <a:lnTo>
                    <a:pt x="510" y="1314"/>
                  </a:lnTo>
                  <a:lnTo>
                    <a:pt x="504" y="1314"/>
                  </a:lnTo>
                  <a:lnTo>
                    <a:pt x="498" y="1320"/>
                  </a:lnTo>
                  <a:lnTo>
                    <a:pt x="492" y="1320"/>
                  </a:lnTo>
                  <a:lnTo>
                    <a:pt x="492" y="1326"/>
                  </a:lnTo>
                  <a:lnTo>
                    <a:pt x="486" y="1326"/>
                  </a:lnTo>
                  <a:lnTo>
                    <a:pt x="480" y="1326"/>
                  </a:lnTo>
                  <a:lnTo>
                    <a:pt x="480" y="1320"/>
                  </a:lnTo>
                  <a:lnTo>
                    <a:pt x="468" y="1314"/>
                  </a:lnTo>
                  <a:lnTo>
                    <a:pt x="462" y="1308"/>
                  </a:lnTo>
                  <a:lnTo>
                    <a:pt x="456" y="1302"/>
                  </a:lnTo>
                  <a:lnTo>
                    <a:pt x="444" y="1296"/>
                  </a:lnTo>
                  <a:lnTo>
                    <a:pt x="420" y="1290"/>
                  </a:lnTo>
                  <a:lnTo>
                    <a:pt x="414" y="1278"/>
                  </a:lnTo>
                  <a:lnTo>
                    <a:pt x="408" y="1278"/>
                  </a:lnTo>
                  <a:lnTo>
                    <a:pt x="408" y="1266"/>
                  </a:lnTo>
                  <a:lnTo>
                    <a:pt x="402" y="1260"/>
                  </a:lnTo>
                  <a:lnTo>
                    <a:pt x="384" y="1260"/>
                  </a:lnTo>
                  <a:lnTo>
                    <a:pt x="372" y="1266"/>
                  </a:lnTo>
                  <a:lnTo>
                    <a:pt x="360" y="1272"/>
                  </a:lnTo>
                  <a:lnTo>
                    <a:pt x="348" y="1272"/>
                  </a:lnTo>
                  <a:lnTo>
                    <a:pt x="342" y="1284"/>
                  </a:lnTo>
                  <a:lnTo>
                    <a:pt x="336" y="1290"/>
                  </a:lnTo>
                  <a:lnTo>
                    <a:pt x="336" y="1308"/>
                  </a:lnTo>
                  <a:lnTo>
                    <a:pt x="336" y="1314"/>
                  </a:lnTo>
                  <a:lnTo>
                    <a:pt x="336" y="1320"/>
                  </a:lnTo>
                  <a:lnTo>
                    <a:pt x="330" y="1326"/>
                  </a:lnTo>
                  <a:lnTo>
                    <a:pt x="330" y="1332"/>
                  </a:lnTo>
                  <a:lnTo>
                    <a:pt x="330" y="1338"/>
                  </a:lnTo>
                  <a:lnTo>
                    <a:pt x="300" y="1338"/>
                  </a:lnTo>
                  <a:lnTo>
                    <a:pt x="288" y="1338"/>
                  </a:lnTo>
                  <a:lnTo>
                    <a:pt x="258" y="1326"/>
                  </a:lnTo>
                  <a:lnTo>
                    <a:pt x="246" y="1332"/>
                  </a:lnTo>
                  <a:lnTo>
                    <a:pt x="240" y="1338"/>
                  </a:lnTo>
                  <a:lnTo>
                    <a:pt x="234" y="1338"/>
                  </a:lnTo>
                  <a:lnTo>
                    <a:pt x="228" y="1350"/>
                  </a:lnTo>
                  <a:lnTo>
                    <a:pt x="228" y="1374"/>
                  </a:lnTo>
                  <a:lnTo>
                    <a:pt x="234" y="1392"/>
                  </a:lnTo>
                  <a:lnTo>
                    <a:pt x="246" y="1398"/>
                  </a:lnTo>
                  <a:lnTo>
                    <a:pt x="246" y="1410"/>
                  </a:lnTo>
                  <a:lnTo>
                    <a:pt x="216" y="1428"/>
                  </a:lnTo>
                  <a:lnTo>
                    <a:pt x="198" y="1428"/>
                  </a:lnTo>
                  <a:lnTo>
                    <a:pt x="192" y="1422"/>
                  </a:lnTo>
                  <a:lnTo>
                    <a:pt x="174" y="1410"/>
                  </a:lnTo>
                  <a:lnTo>
                    <a:pt x="156" y="1386"/>
                  </a:lnTo>
                  <a:lnTo>
                    <a:pt x="132" y="1374"/>
                  </a:lnTo>
                  <a:lnTo>
                    <a:pt x="108" y="1368"/>
                  </a:lnTo>
                  <a:lnTo>
                    <a:pt x="84" y="1368"/>
                  </a:lnTo>
                  <a:lnTo>
                    <a:pt x="96" y="1356"/>
                  </a:lnTo>
                  <a:lnTo>
                    <a:pt x="102" y="1344"/>
                  </a:lnTo>
                  <a:lnTo>
                    <a:pt x="102" y="1332"/>
                  </a:lnTo>
                  <a:lnTo>
                    <a:pt x="108" y="1320"/>
                  </a:lnTo>
                  <a:lnTo>
                    <a:pt x="108" y="1302"/>
                  </a:lnTo>
                  <a:lnTo>
                    <a:pt x="96" y="1278"/>
                  </a:lnTo>
                  <a:lnTo>
                    <a:pt x="66" y="1284"/>
                  </a:lnTo>
                  <a:lnTo>
                    <a:pt x="54" y="1278"/>
                  </a:lnTo>
                  <a:lnTo>
                    <a:pt x="36" y="1278"/>
                  </a:lnTo>
                  <a:lnTo>
                    <a:pt x="18" y="1284"/>
                  </a:lnTo>
                  <a:lnTo>
                    <a:pt x="18" y="1272"/>
                  </a:lnTo>
                  <a:lnTo>
                    <a:pt x="24" y="1260"/>
                  </a:lnTo>
                  <a:lnTo>
                    <a:pt x="24" y="1254"/>
                  </a:lnTo>
                  <a:lnTo>
                    <a:pt x="30" y="1248"/>
                  </a:lnTo>
                  <a:lnTo>
                    <a:pt x="24" y="1230"/>
                  </a:lnTo>
                  <a:lnTo>
                    <a:pt x="30" y="1218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30" y="1170"/>
                  </a:lnTo>
                  <a:lnTo>
                    <a:pt x="30" y="1152"/>
                  </a:lnTo>
                  <a:lnTo>
                    <a:pt x="24" y="1146"/>
                  </a:lnTo>
                  <a:lnTo>
                    <a:pt x="0" y="1116"/>
                  </a:lnTo>
                  <a:lnTo>
                    <a:pt x="6" y="1092"/>
                  </a:lnTo>
                  <a:lnTo>
                    <a:pt x="18" y="1056"/>
                  </a:lnTo>
                  <a:lnTo>
                    <a:pt x="24" y="1050"/>
                  </a:lnTo>
                  <a:lnTo>
                    <a:pt x="24" y="1038"/>
                  </a:lnTo>
                  <a:lnTo>
                    <a:pt x="24" y="1026"/>
                  </a:lnTo>
                  <a:lnTo>
                    <a:pt x="30" y="1002"/>
                  </a:lnTo>
                  <a:lnTo>
                    <a:pt x="36" y="990"/>
                  </a:lnTo>
                  <a:lnTo>
                    <a:pt x="42" y="984"/>
                  </a:lnTo>
                  <a:lnTo>
                    <a:pt x="54" y="984"/>
                  </a:lnTo>
                  <a:lnTo>
                    <a:pt x="66" y="978"/>
                  </a:lnTo>
                  <a:lnTo>
                    <a:pt x="72" y="978"/>
                  </a:lnTo>
                  <a:lnTo>
                    <a:pt x="90" y="978"/>
                  </a:lnTo>
                  <a:lnTo>
                    <a:pt x="102" y="972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78"/>
                  </a:lnTo>
                  <a:lnTo>
                    <a:pt x="120" y="984"/>
                  </a:lnTo>
                  <a:lnTo>
                    <a:pt x="138" y="984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6" y="972"/>
                  </a:lnTo>
                  <a:lnTo>
                    <a:pt x="156" y="966"/>
                  </a:lnTo>
                  <a:lnTo>
                    <a:pt x="156" y="960"/>
                  </a:lnTo>
                  <a:lnTo>
                    <a:pt x="180" y="948"/>
                  </a:lnTo>
                  <a:lnTo>
                    <a:pt x="186" y="924"/>
                  </a:lnTo>
                  <a:lnTo>
                    <a:pt x="192" y="918"/>
                  </a:lnTo>
                  <a:lnTo>
                    <a:pt x="228" y="924"/>
                  </a:lnTo>
                  <a:lnTo>
                    <a:pt x="246" y="906"/>
                  </a:lnTo>
                  <a:lnTo>
                    <a:pt x="240" y="888"/>
                  </a:lnTo>
                  <a:lnTo>
                    <a:pt x="234" y="888"/>
                  </a:lnTo>
                  <a:lnTo>
                    <a:pt x="234" y="882"/>
                  </a:lnTo>
                  <a:lnTo>
                    <a:pt x="228" y="870"/>
                  </a:lnTo>
                  <a:lnTo>
                    <a:pt x="228" y="864"/>
                  </a:lnTo>
                  <a:lnTo>
                    <a:pt x="222" y="864"/>
                  </a:lnTo>
                  <a:lnTo>
                    <a:pt x="216" y="858"/>
                  </a:lnTo>
                  <a:lnTo>
                    <a:pt x="198" y="852"/>
                  </a:lnTo>
                  <a:lnTo>
                    <a:pt x="192" y="852"/>
                  </a:lnTo>
                  <a:lnTo>
                    <a:pt x="186" y="846"/>
                  </a:lnTo>
                  <a:lnTo>
                    <a:pt x="174" y="834"/>
                  </a:lnTo>
                  <a:lnTo>
                    <a:pt x="162" y="822"/>
                  </a:lnTo>
                  <a:lnTo>
                    <a:pt x="156" y="816"/>
                  </a:lnTo>
                  <a:lnTo>
                    <a:pt x="162" y="810"/>
                  </a:lnTo>
                  <a:lnTo>
                    <a:pt x="174" y="798"/>
                  </a:lnTo>
                  <a:lnTo>
                    <a:pt x="180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68"/>
                  </a:lnTo>
                  <a:lnTo>
                    <a:pt x="192" y="744"/>
                  </a:lnTo>
                  <a:lnTo>
                    <a:pt x="186" y="708"/>
                  </a:lnTo>
                  <a:lnTo>
                    <a:pt x="174" y="690"/>
                  </a:lnTo>
                  <a:lnTo>
                    <a:pt x="168" y="672"/>
                  </a:lnTo>
                  <a:lnTo>
                    <a:pt x="156" y="630"/>
                  </a:lnTo>
                  <a:lnTo>
                    <a:pt x="156" y="606"/>
                  </a:lnTo>
                  <a:lnTo>
                    <a:pt x="150" y="606"/>
                  </a:lnTo>
                  <a:lnTo>
                    <a:pt x="150" y="600"/>
                  </a:lnTo>
                  <a:lnTo>
                    <a:pt x="144" y="600"/>
                  </a:lnTo>
                  <a:lnTo>
                    <a:pt x="150" y="594"/>
                  </a:lnTo>
                  <a:lnTo>
                    <a:pt x="144" y="588"/>
                  </a:lnTo>
                  <a:lnTo>
                    <a:pt x="138" y="558"/>
                  </a:lnTo>
                  <a:lnTo>
                    <a:pt x="138" y="528"/>
                  </a:lnTo>
                  <a:lnTo>
                    <a:pt x="132" y="480"/>
                  </a:lnTo>
                  <a:lnTo>
                    <a:pt x="132" y="462"/>
                  </a:lnTo>
                  <a:lnTo>
                    <a:pt x="126" y="426"/>
                  </a:lnTo>
                  <a:lnTo>
                    <a:pt x="126" y="396"/>
                  </a:lnTo>
                  <a:lnTo>
                    <a:pt x="126" y="378"/>
                  </a:lnTo>
                  <a:lnTo>
                    <a:pt x="126" y="360"/>
                  </a:lnTo>
                  <a:lnTo>
                    <a:pt x="132" y="318"/>
                  </a:lnTo>
                  <a:lnTo>
                    <a:pt x="132" y="24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2" y="210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92" y="198"/>
                  </a:lnTo>
                  <a:lnTo>
                    <a:pt x="198" y="198"/>
                  </a:lnTo>
                  <a:lnTo>
                    <a:pt x="216" y="180"/>
                  </a:lnTo>
                  <a:lnTo>
                    <a:pt x="222" y="174"/>
                  </a:lnTo>
                  <a:lnTo>
                    <a:pt x="222" y="168"/>
                  </a:lnTo>
                  <a:lnTo>
                    <a:pt x="228" y="168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44"/>
                  </a:lnTo>
                  <a:lnTo>
                    <a:pt x="258" y="144"/>
                  </a:lnTo>
                  <a:lnTo>
                    <a:pt x="276" y="150"/>
                  </a:lnTo>
                  <a:lnTo>
                    <a:pt x="300" y="150"/>
                  </a:lnTo>
                  <a:lnTo>
                    <a:pt x="312" y="150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8" y="156"/>
                  </a:lnTo>
                  <a:lnTo>
                    <a:pt x="354" y="150"/>
                  </a:lnTo>
                  <a:lnTo>
                    <a:pt x="372" y="144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08" y="126"/>
                  </a:lnTo>
                  <a:lnTo>
                    <a:pt x="414" y="120"/>
                  </a:lnTo>
                  <a:lnTo>
                    <a:pt x="420" y="120"/>
                  </a:lnTo>
                  <a:lnTo>
                    <a:pt x="426" y="120"/>
                  </a:lnTo>
                  <a:lnTo>
                    <a:pt x="432" y="114"/>
                  </a:lnTo>
                  <a:lnTo>
                    <a:pt x="450" y="102"/>
                  </a:lnTo>
                  <a:lnTo>
                    <a:pt x="456" y="96"/>
                  </a:lnTo>
                  <a:lnTo>
                    <a:pt x="468" y="90"/>
                  </a:lnTo>
                  <a:lnTo>
                    <a:pt x="474" y="90"/>
                  </a:lnTo>
                  <a:lnTo>
                    <a:pt x="480" y="84"/>
                  </a:lnTo>
                  <a:lnTo>
                    <a:pt x="486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504" y="72"/>
                  </a:lnTo>
                  <a:lnTo>
                    <a:pt x="510" y="66"/>
                  </a:lnTo>
                  <a:lnTo>
                    <a:pt x="516" y="66"/>
                  </a:lnTo>
                  <a:lnTo>
                    <a:pt x="522" y="60"/>
                  </a:lnTo>
                  <a:lnTo>
                    <a:pt x="552" y="42"/>
                  </a:lnTo>
                  <a:lnTo>
                    <a:pt x="558" y="36"/>
                  </a:lnTo>
                  <a:lnTo>
                    <a:pt x="576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94" y="18"/>
                  </a:lnTo>
                  <a:lnTo>
                    <a:pt x="600" y="12"/>
                  </a:lnTo>
                  <a:lnTo>
                    <a:pt x="612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6"/>
                  </a:lnTo>
                  <a:lnTo>
                    <a:pt x="648" y="6"/>
                  </a:lnTo>
                  <a:lnTo>
                    <a:pt x="660" y="6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38" y="18"/>
                  </a:lnTo>
                  <a:lnTo>
                    <a:pt x="744" y="18"/>
                  </a:lnTo>
                  <a:lnTo>
                    <a:pt x="756" y="18"/>
                  </a:lnTo>
                  <a:lnTo>
                    <a:pt x="762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80" y="24"/>
                  </a:lnTo>
                  <a:lnTo>
                    <a:pt x="792" y="24"/>
                  </a:lnTo>
                  <a:lnTo>
                    <a:pt x="792" y="30"/>
                  </a:lnTo>
                  <a:lnTo>
                    <a:pt x="810" y="30"/>
                  </a:lnTo>
                  <a:lnTo>
                    <a:pt x="822" y="36"/>
                  </a:lnTo>
                  <a:lnTo>
                    <a:pt x="834" y="42"/>
                  </a:lnTo>
                  <a:lnTo>
                    <a:pt x="840" y="48"/>
                  </a:lnTo>
                  <a:lnTo>
                    <a:pt x="846" y="54"/>
                  </a:lnTo>
                  <a:lnTo>
                    <a:pt x="852" y="60"/>
                  </a:lnTo>
                  <a:lnTo>
                    <a:pt x="858" y="66"/>
                  </a:lnTo>
                  <a:lnTo>
                    <a:pt x="864" y="66"/>
                  </a:lnTo>
                  <a:lnTo>
                    <a:pt x="864" y="72"/>
                  </a:lnTo>
                  <a:lnTo>
                    <a:pt x="876" y="78"/>
                  </a:lnTo>
                  <a:lnTo>
                    <a:pt x="900" y="84"/>
                  </a:lnTo>
                  <a:lnTo>
                    <a:pt x="906" y="90"/>
                  </a:lnTo>
                  <a:lnTo>
                    <a:pt x="912" y="90"/>
                  </a:lnTo>
                  <a:lnTo>
                    <a:pt x="912" y="96"/>
                  </a:lnTo>
                  <a:lnTo>
                    <a:pt x="924" y="108"/>
                  </a:lnTo>
                  <a:lnTo>
                    <a:pt x="930" y="108"/>
                  </a:lnTo>
                  <a:lnTo>
                    <a:pt x="936" y="114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60" y="138"/>
                  </a:lnTo>
                  <a:lnTo>
                    <a:pt x="966" y="144"/>
                  </a:lnTo>
                  <a:lnTo>
                    <a:pt x="972" y="156"/>
                  </a:lnTo>
                  <a:lnTo>
                    <a:pt x="978" y="162"/>
                  </a:lnTo>
                  <a:lnTo>
                    <a:pt x="984" y="162"/>
                  </a:lnTo>
                  <a:lnTo>
                    <a:pt x="990" y="168"/>
                  </a:lnTo>
                  <a:lnTo>
                    <a:pt x="996" y="174"/>
                  </a:lnTo>
                  <a:lnTo>
                    <a:pt x="1002" y="180"/>
                  </a:lnTo>
                  <a:lnTo>
                    <a:pt x="1008" y="180"/>
                  </a:lnTo>
                  <a:lnTo>
                    <a:pt x="1020" y="180"/>
                  </a:lnTo>
                  <a:lnTo>
                    <a:pt x="1038" y="174"/>
                  </a:lnTo>
                  <a:lnTo>
                    <a:pt x="1050" y="174"/>
                  </a:lnTo>
                  <a:lnTo>
                    <a:pt x="1056" y="174"/>
                  </a:lnTo>
                  <a:lnTo>
                    <a:pt x="1068" y="180"/>
                  </a:lnTo>
                  <a:lnTo>
                    <a:pt x="1080" y="180"/>
                  </a:lnTo>
                  <a:lnTo>
                    <a:pt x="1086" y="186"/>
                  </a:lnTo>
                  <a:lnTo>
                    <a:pt x="1098" y="192"/>
                  </a:lnTo>
                  <a:lnTo>
                    <a:pt x="1116" y="204"/>
                  </a:lnTo>
                  <a:lnTo>
                    <a:pt x="1122" y="210"/>
                  </a:lnTo>
                  <a:lnTo>
                    <a:pt x="1134" y="222"/>
                  </a:lnTo>
                  <a:lnTo>
                    <a:pt x="1146" y="234"/>
                  </a:lnTo>
                  <a:lnTo>
                    <a:pt x="1146" y="240"/>
                  </a:lnTo>
                  <a:lnTo>
                    <a:pt x="1152" y="246"/>
                  </a:lnTo>
                  <a:lnTo>
                    <a:pt x="1152" y="252"/>
                  </a:lnTo>
                  <a:lnTo>
                    <a:pt x="1152" y="258"/>
                  </a:lnTo>
                  <a:lnTo>
                    <a:pt x="1164" y="258"/>
                  </a:lnTo>
                  <a:lnTo>
                    <a:pt x="1170" y="264"/>
                  </a:lnTo>
                  <a:lnTo>
                    <a:pt x="1182" y="270"/>
                  </a:lnTo>
                  <a:lnTo>
                    <a:pt x="1188" y="270"/>
                  </a:lnTo>
                  <a:lnTo>
                    <a:pt x="1194" y="270"/>
                  </a:lnTo>
                  <a:lnTo>
                    <a:pt x="1206" y="276"/>
                  </a:lnTo>
                  <a:lnTo>
                    <a:pt x="1224" y="282"/>
                  </a:lnTo>
                  <a:lnTo>
                    <a:pt x="1236" y="282"/>
                  </a:lnTo>
                  <a:lnTo>
                    <a:pt x="1242" y="288"/>
                  </a:lnTo>
                  <a:lnTo>
                    <a:pt x="1254" y="288"/>
                  </a:lnTo>
                  <a:lnTo>
                    <a:pt x="1266" y="294"/>
                  </a:lnTo>
                  <a:lnTo>
                    <a:pt x="1272" y="294"/>
                  </a:lnTo>
                  <a:lnTo>
                    <a:pt x="1284" y="300"/>
                  </a:lnTo>
                  <a:lnTo>
                    <a:pt x="1290" y="300"/>
                  </a:lnTo>
                  <a:lnTo>
                    <a:pt x="1296" y="300"/>
                  </a:lnTo>
                  <a:lnTo>
                    <a:pt x="1302" y="306"/>
                  </a:lnTo>
                  <a:lnTo>
                    <a:pt x="1326" y="312"/>
                  </a:lnTo>
                  <a:lnTo>
                    <a:pt x="1338" y="312"/>
                  </a:lnTo>
                  <a:lnTo>
                    <a:pt x="1338" y="318"/>
                  </a:lnTo>
                  <a:lnTo>
                    <a:pt x="1344" y="318"/>
                  </a:lnTo>
                  <a:lnTo>
                    <a:pt x="1350" y="318"/>
                  </a:lnTo>
                  <a:lnTo>
                    <a:pt x="1362" y="324"/>
                  </a:lnTo>
                  <a:lnTo>
                    <a:pt x="1368" y="318"/>
                  </a:lnTo>
                  <a:lnTo>
                    <a:pt x="1374" y="318"/>
                  </a:lnTo>
                  <a:lnTo>
                    <a:pt x="1386" y="318"/>
                  </a:lnTo>
                  <a:lnTo>
                    <a:pt x="1398" y="324"/>
                  </a:lnTo>
                  <a:lnTo>
                    <a:pt x="1398" y="342"/>
                  </a:lnTo>
                  <a:lnTo>
                    <a:pt x="1356" y="342"/>
                  </a:lnTo>
                  <a:lnTo>
                    <a:pt x="1350" y="348"/>
                  </a:lnTo>
                  <a:lnTo>
                    <a:pt x="1350" y="372"/>
                  </a:lnTo>
                  <a:lnTo>
                    <a:pt x="1338" y="384"/>
                  </a:lnTo>
                  <a:lnTo>
                    <a:pt x="1332" y="408"/>
                  </a:lnTo>
                  <a:lnTo>
                    <a:pt x="1320" y="420"/>
                  </a:lnTo>
                  <a:lnTo>
                    <a:pt x="1254" y="426"/>
                  </a:lnTo>
                  <a:lnTo>
                    <a:pt x="1248" y="432"/>
                  </a:lnTo>
                  <a:lnTo>
                    <a:pt x="1230" y="432"/>
                  </a:lnTo>
                  <a:lnTo>
                    <a:pt x="1212" y="432"/>
                  </a:lnTo>
                  <a:lnTo>
                    <a:pt x="1212" y="426"/>
                  </a:lnTo>
                  <a:lnTo>
                    <a:pt x="1200" y="426"/>
                  </a:lnTo>
                  <a:lnTo>
                    <a:pt x="1182" y="414"/>
                  </a:lnTo>
                  <a:lnTo>
                    <a:pt x="1182" y="420"/>
                  </a:lnTo>
                  <a:lnTo>
                    <a:pt x="1164" y="420"/>
                  </a:lnTo>
                  <a:lnTo>
                    <a:pt x="1158" y="414"/>
                  </a:lnTo>
                  <a:lnTo>
                    <a:pt x="1152" y="408"/>
                  </a:lnTo>
                  <a:lnTo>
                    <a:pt x="1146" y="402"/>
                  </a:lnTo>
                  <a:lnTo>
                    <a:pt x="1122" y="396"/>
                  </a:lnTo>
                  <a:lnTo>
                    <a:pt x="1116" y="366"/>
                  </a:lnTo>
                  <a:lnTo>
                    <a:pt x="1116" y="348"/>
                  </a:lnTo>
                  <a:lnTo>
                    <a:pt x="1110" y="342"/>
                  </a:lnTo>
                  <a:lnTo>
                    <a:pt x="1104" y="336"/>
                  </a:lnTo>
                  <a:lnTo>
                    <a:pt x="1092" y="330"/>
                  </a:lnTo>
                  <a:lnTo>
                    <a:pt x="1074" y="330"/>
                  </a:lnTo>
                  <a:lnTo>
                    <a:pt x="1044" y="330"/>
                  </a:lnTo>
                  <a:lnTo>
                    <a:pt x="1014" y="336"/>
                  </a:lnTo>
                  <a:lnTo>
                    <a:pt x="984" y="342"/>
                  </a:lnTo>
                  <a:lnTo>
                    <a:pt x="978" y="330"/>
                  </a:lnTo>
                  <a:lnTo>
                    <a:pt x="966" y="324"/>
                  </a:lnTo>
                  <a:lnTo>
                    <a:pt x="888" y="336"/>
                  </a:lnTo>
                  <a:lnTo>
                    <a:pt x="888" y="330"/>
                  </a:lnTo>
                  <a:lnTo>
                    <a:pt x="870" y="336"/>
                  </a:lnTo>
                  <a:lnTo>
                    <a:pt x="858" y="336"/>
                  </a:lnTo>
                  <a:lnTo>
                    <a:pt x="852" y="354"/>
                  </a:lnTo>
                  <a:lnTo>
                    <a:pt x="852" y="402"/>
                  </a:lnTo>
                  <a:lnTo>
                    <a:pt x="840" y="414"/>
                  </a:lnTo>
                  <a:lnTo>
                    <a:pt x="834" y="420"/>
                  </a:lnTo>
                  <a:lnTo>
                    <a:pt x="834" y="444"/>
                  </a:lnTo>
                  <a:lnTo>
                    <a:pt x="834" y="450"/>
                  </a:lnTo>
                  <a:lnTo>
                    <a:pt x="852" y="456"/>
                  </a:lnTo>
                  <a:lnTo>
                    <a:pt x="864" y="462"/>
                  </a:lnTo>
                  <a:lnTo>
                    <a:pt x="894" y="456"/>
                  </a:lnTo>
                  <a:lnTo>
                    <a:pt x="900" y="468"/>
                  </a:lnTo>
                  <a:lnTo>
                    <a:pt x="918" y="462"/>
                  </a:lnTo>
                  <a:lnTo>
                    <a:pt x="924" y="468"/>
                  </a:lnTo>
                  <a:lnTo>
                    <a:pt x="924" y="47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2" name="Freeform 37">
              <a:extLst>
                <a:ext uri="{FF2B5EF4-FFF2-40B4-BE49-F238E27FC236}">
                  <a16:creationId xmlns:a16="http://schemas.microsoft.com/office/drawing/2014/main" id="{DED8A1FF-B656-4D37-BD26-5B0A7B1A4A6D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441" y="1898343"/>
              <a:ext cx="567992" cy="686605"/>
            </a:xfrm>
            <a:custGeom>
              <a:avLst/>
              <a:gdLst>
                <a:gd name="T0" fmla="*/ 79 w 1068"/>
                <a:gd name="T1" fmla="*/ 72 h 1290"/>
                <a:gd name="T2" fmla="*/ 75 w 1068"/>
                <a:gd name="T3" fmla="*/ 73 h 1290"/>
                <a:gd name="T4" fmla="*/ 72 w 1068"/>
                <a:gd name="T5" fmla="*/ 76 h 1290"/>
                <a:gd name="T6" fmla="*/ 70 w 1068"/>
                <a:gd name="T7" fmla="*/ 78 h 1290"/>
                <a:gd name="T8" fmla="*/ 67 w 1068"/>
                <a:gd name="T9" fmla="*/ 82 h 1290"/>
                <a:gd name="T10" fmla="*/ 61 w 1068"/>
                <a:gd name="T11" fmla="*/ 86 h 1290"/>
                <a:gd name="T12" fmla="*/ 60 w 1068"/>
                <a:gd name="T13" fmla="*/ 93 h 1290"/>
                <a:gd name="T14" fmla="*/ 59 w 1068"/>
                <a:gd name="T15" fmla="*/ 97 h 1290"/>
                <a:gd name="T16" fmla="*/ 61 w 1068"/>
                <a:gd name="T17" fmla="*/ 101 h 1290"/>
                <a:gd name="T18" fmla="*/ 63 w 1068"/>
                <a:gd name="T19" fmla="*/ 104 h 1290"/>
                <a:gd name="T20" fmla="*/ 62 w 1068"/>
                <a:gd name="T21" fmla="*/ 108 h 1290"/>
                <a:gd name="T22" fmla="*/ 60 w 1068"/>
                <a:gd name="T23" fmla="*/ 111 h 1290"/>
                <a:gd name="T24" fmla="*/ 56 w 1068"/>
                <a:gd name="T25" fmla="*/ 111 h 1290"/>
                <a:gd name="T26" fmla="*/ 53 w 1068"/>
                <a:gd name="T27" fmla="*/ 110 h 1290"/>
                <a:gd name="T28" fmla="*/ 50 w 1068"/>
                <a:gd name="T29" fmla="*/ 109 h 1290"/>
                <a:gd name="T30" fmla="*/ 47 w 1068"/>
                <a:gd name="T31" fmla="*/ 110 h 1290"/>
                <a:gd name="T32" fmla="*/ 51 w 1068"/>
                <a:gd name="T33" fmla="*/ 104 h 1290"/>
                <a:gd name="T34" fmla="*/ 50 w 1068"/>
                <a:gd name="T35" fmla="*/ 95 h 1290"/>
                <a:gd name="T36" fmla="*/ 51 w 1068"/>
                <a:gd name="T37" fmla="*/ 90 h 1290"/>
                <a:gd name="T38" fmla="*/ 47 w 1068"/>
                <a:gd name="T39" fmla="*/ 84 h 1290"/>
                <a:gd name="T40" fmla="*/ 42 w 1068"/>
                <a:gd name="T41" fmla="*/ 78 h 1290"/>
                <a:gd name="T42" fmla="*/ 33 w 1068"/>
                <a:gd name="T43" fmla="*/ 73 h 1290"/>
                <a:gd name="T44" fmla="*/ 26 w 1068"/>
                <a:gd name="T45" fmla="*/ 68 h 1290"/>
                <a:gd name="T46" fmla="*/ 22 w 1068"/>
                <a:gd name="T47" fmla="*/ 63 h 1290"/>
                <a:gd name="T48" fmla="*/ 11 w 1068"/>
                <a:gd name="T49" fmla="*/ 67 h 1290"/>
                <a:gd name="T50" fmla="*/ 0 w 1068"/>
                <a:gd name="T51" fmla="*/ 68 h 1290"/>
                <a:gd name="T52" fmla="*/ 2 w 1068"/>
                <a:gd name="T53" fmla="*/ 59 h 1290"/>
                <a:gd name="T54" fmla="*/ 12 w 1068"/>
                <a:gd name="T55" fmla="*/ 55 h 1290"/>
                <a:gd name="T56" fmla="*/ 12 w 1068"/>
                <a:gd name="T57" fmla="*/ 51 h 1290"/>
                <a:gd name="T58" fmla="*/ 10 w 1068"/>
                <a:gd name="T59" fmla="*/ 47 h 1290"/>
                <a:gd name="T60" fmla="*/ 9 w 1068"/>
                <a:gd name="T61" fmla="*/ 42 h 1290"/>
                <a:gd name="T62" fmla="*/ 8 w 1068"/>
                <a:gd name="T63" fmla="*/ 38 h 1290"/>
                <a:gd name="T64" fmla="*/ 8 w 1068"/>
                <a:gd name="T65" fmla="*/ 29 h 1290"/>
                <a:gd name="T66" fmla="*/ 10 w 1068"/>
                <a:gd name="T67" fmla="*/ 18 h 1290"/>
                <a:gd name="T68" fmla="*/ 25 w 1068"/>
                <a:gd name="T69" fmla="*/ 12 h 1290"/>
                <a:gd name="T70" fmla="*/ 27 w 1068"/>
                <a:gd name="T71" fmla="*/ 4 h 1290"/>
                <a:gd name="T72" fmla="*/ 35 w 1068"/>
                <a:gd name="T73" fmla="*/ 6 h 1290"/>
                <a:gd name="T74" fmla="*/ 39 w 1068"/>
                <a:gd name="T75" fmla="*/ 8 h 1290"/>
                <a:gd name="T76" fmla="*/ 41 w 1068"/>
                <a:gd name="T77" fmla="*/ 3 h 1290"/>
                <a:gd name="T78" fmla="*/ 45 w 1068"/>
                <a:gd name="T79" fmla="*/ 0 h 1290"/>
                <a:gd name="T80" fmla="*/ 51 w 1068"/>
                <a:gd name="T81" fmla="*/ 0 h 1290"/>
                <a:gd name="T82" fmla="*/ 56 w 1068"/>
                <a:gd name="T83" fmla="*/ 4 h 1290"/>
                <a:gd name="T84" fmla="*/ 62 w 1068"/>
                <a:gd name="T85" fmla="*/ 12 h 1290"/>
                <a:gd name="T86" fmla="*/ 58 w 1068"/>
                <a:gd name="T87" fmla="*/ 17 h 1290"/>
                <a:gd name="T88" fmla="*/ 60 w 1068"/>
                <a:gd name="T89" fmla="*/ 18 h 1290"/>
                <a:gd name="T90" fmla="*/ 64 w 1068"/>
                <a:gd name="T91" fmla="*/ 16 h 1290"/>
                <a:gd name="T92" fmla="*/ 68 w 1068"/>
                <a:gd name="T93" fmla="*/ 18 h 1290"/>
                <a:gd name="T94" fmla="*/ 71 w 1068"/>
                <a:gd name="T95" fmla="*/ 27 h 1290"/>
                <a:gd name="T96" fmla="*/ 74 w 1068"/>
                <a:gd name="T97" fmla="*/ 30 h 1290"/>
                <a:gd name="T98" fmla="*/ 82 w 1068"/>
                <a:gd name="T99" fmla="*/ 30 h 1290"/>
                <a:gd name="T100" fmla="*/ 87 w 1068"/>
                <a:gd name="T101" fmla="*/ 35 h 1290"/>
                <a:gd name="T102" fmla="*/ 85 w 1068"/>
                <a:gd name="T103" fmla="*/ 42 h 1290"/>
                <a:gd name="T104" fmla="*/ 81 w 1068"/>
                <a:gd name="T105" fmla="*/ 46 h 1290"/>
                <a:gd name="T106" fmla="*/ 86 w 1068"/>
                <a:gd name="T107" fmla="*/ 50 h 1290"/>
                <a:gd name="T108" fmla="*/ 89 w 1068"/>
                <a:gd name="T109" fmla="*/ 58 h 1290"/>
                <a:gd name="T110" fmla="*/ 92 w 1068"/>
                <a:gd name="T111" fmla="*/ 61 h 1290"/>
                <a:gd name="T112" fmla="*/ 86 w 1068"/>
                <a:gd name="T113" fmla="*/ 66 h 1290"/>
                <a:gd name="T114" fmla="*/ 85 w 1068"/>
                <a:gd name="T115" fmla="*/ 70 h 129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68"/>
                <a:gd name="T175" fmla="*/ 0 h 1290"/>
                <a:gd name="T176" fmla="*/ 1068 w 1068"/>
                <a:gd name="T177" fmla="*/ 1290 h 129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68" h="1290">
                  <a:moveTo>
                    <a:pt x="978" y="804"/>
                  </a:moveTo>
                  <a:lnTo>
                    <a:pt x="972" y="810"/>
                  </a:lnTo>
                  <a:lnTo>
                    <a:pt x="966" y="810"/>
                  </a:lnTo>
                  <a:lnTo>
                    <a:pt x="966" y="816"/>
                  </a:lnTo>
                  <a:lnTo>
                    <a:pt x="936" y="828"/>
                  </a:lnTo>
                  <a:lnTo>
                    <a:pt x="924" y="822"/>
                  </a:lnTo>
                  <a:lnTo>
                    <a:pt x="912" y="822"/>
                  </a:lnTo>
                  <a:lnTo>
                    <a:pt x="906" y="828"/>
                  </a:lnTo>
                  <a:lnTo>
                    <a:pt x="900" y="828"/>
                  </a:lnTo>
                  <a:lnTo>
                    <a:pt x="900" y="822"/>
                  </a:lnTo>
                  <a:lnTo>
                    <a:pt x="894" y="822"/>
                  </a:lnTo>
                  <a:lnTo>
                    <a:pt x="888" y="828"/>
                  </a:lnTo>
                  <a:lnTo>
                    <a:pt x="882" y="834"/>
                  </a:lnTo>
                  <a:lnTo>
                    <a:pt x="876" y="834"/>
                  </a:lnTo>
                  <a:lnTo>
                    <a:pt x="870" y="840"/>
                  </a:lnTo>
                  <a:lnTo>
                    <a:pt x="864" y="840"/>
                  </a:lnTo>
                  <a:lnTo>
                    <a:pt x="864" y="846"/>
                  </a:lnTo>
                  <a:lnTo>
                    <a:pt x="858" y="846"/>
                  </a:lnTo>
                  <a:lnTo>
                    <a:pt x="852" y="846"/>
                  </a:lnTo>
                  <a:lnTo>
                    <a:pt x="852" y="858"/>
                  </a:lnTo>
                  <a:lnTo>
                    <a:pt x="846" y="864"/>
                  </a:lnTo>
                  <a:lnTo>
                    <a:pt x="840" y="870"/>
                  </a:lnTo>
                  <a:lnTo>
                    <a:pt x="834" y="870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34" y="876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10" y="894"/>
                  </a:lnTo>
                  <a:lnTo>
                    <a:pt x="810" y="900"/>
                  </a:lnTo>
                  <a:lnTo>
                    <a:pt x="804" y="900"/>
                  </a:lnTo>
                  <a:lnTo>
                    <a:pt x="798" y="900"/>
                  </a:lnTo>
                  <a:lnTo>
                    <a:pt x="798" y="906"/>
                  </a:lnTo>
                  <a:lnTo>
                    <a:pt x="792" y="906"/>
                  </a:lnTo>
                  <a:lnTo>
                    <a:pt x="792" y="912"/>
                  </a:lnTo>
                  <a:lnTo>
                    <a:pt x="792" y="924"/>
                  </a:lnTo>
                  <a:lnTo>
                    <a:pt x="786" y="930"/>
                  </a:lnTo>
                  <a:lnTo>
                    <a:pt x="774" y="942"/>
                  </a:lnTo>
                  <a:lnTo>
                    <a:pt x="774" y="948"/>
                  </a:lnTo>
                  <a:lnTo>
                    <a:pt x="768" y="954"/>
                  </a:lnTo>
                  <a:lnTo>
                    <a:pt x="762" y="954"/>
                  </a:lnTo>
                  <a:lnTo>
                    <a:pt x="750" y="972"/>
                  </a:lnTo>
                  <a:lnTo>
                    <a:pt x="720" y="978"/>
                  </a:lnTo>
                  <a:lnTo>
                    <a:pt x="714" y="978"/>
                  </a:lnTo>
                  <a:lnTo>
                    <a:pt x="708" y="978"/>
                  </a:lnTo>
                  <a:lnTo>
                    <a:pt x="702" y="990"/>
                  </a:lnTo>
                  <a:lnTo>
                    <a:pt x="696" y="990"/>
                  </a:lnTo>
                  <a:lnTo>
                    <a:pt x="696" y="1008"/>
                  </a:lnTo>
                  <a:lnTo>
                    <a:pt x="690" y="1008"/>
                  </a:lnTo>
                  <a:lnTo>
                    <a:pt x="690" y="1014"/>
                  </a:lnTo>
                  <a:lnTo>
                    <a:pt x="684" y="1032"/>
                  </a:lnTo>
                  <a:lnTo>
                    <a:pt x="690" y="1050"/>
                  </a:lnTo>
                  <a:lnTo>
                    <a:pt x="690" y="1062"/>
                  </a:lnTo>
                  <a:lnTo>
                    <a:pt x="690" y="1068"/>
                  </a:lnTo>
                  <a:lnTo>
                    <a:pt x="690" y="1074"/>
                  </a:lnTo>
                  <a:lnTo>
                    <a:pt x="684" y="1074"/>
                  </a:lnTo>
                  <a:lnTo>
                    <a:pt x="684" y="1080"/>
                  </a:lnTo>
                  <a:lnTo>
                    <a:pt x="678" y="1086"/>
                  </a:lnTo>
                  <a:lnTo>
                    <a:pt x="678" y="1104"/>
                  </a:lnTo>
                  <a:lnTo>
                    <a:pt x="678" y="1110"/>
                  </a:lnTo>
                  <a:lnTo>
                    <a:pt x="678" y="1116"/>
                  </a:lnTo>
                  <a:lnTo>
                    <a:pt x="684" y="1116"/>
                  </a:lnTo>
                  <a:lnTo>
                    <a:pt x="678" y="1128"/>
                  </a:lnTo>
                  <a:lnTo>
                    <a:pt x="684" y="1128"/>
                  </a:lnTo>
                  <a:lnTo>
                    <a:pt x="690" y="1134"/>
                  </a:lnTo>
                  <a:lnTo>
                    <a:pt x="690" y="1140"/>
                  </a:lnTo>
                  <a:lnTo>
                    <a:pt x="696" y="1140"/>
                  </a:lnTo>
                  <a:lnTo>
                    <a:pt x="696" y="1146"/>
                  </a:lnTo>
                  <a:lnTo>
                    <a:pt x="696" y="1152"/>
                  </a:lnTo>
                  <a:lnTo>
                    <a:pt x="702" y="1152"/>
                  </a:lnTo>
                  <a:lnTo>
                    <a:pt x="708" y="1152"/>
                  </a:lnTo>
                  <a:lnTo>
                    <a:pt x="714" y="1158"/>
                  </a:lnTo>
                  <a:lnTo>
                    <a:pt x="714" y="1164"/>
                  </a:lnTo>
                  <a:lnTo>
                    <a:pt x="720" y="1170"/>
                  </a:lnTo>
                  <a:lnTo>
                    <a:pt x="720" y="1176"/>
                  </a:lnTo>
                  <a:lnTo>
                    <a:pt x="720" y="1182"/>
                  </a:lnTo>
                  <a:lnTo>
                    <a:pt x="726" y="1188"/>
                  </a:lnTo>
                  <a:lnTo>
                    <a:pt x="726" y="1194"/>
                  </a:lnTo>
                  <a:lnTo>
                    <a:pt x="732" y="1194"/>
                  </a:lnTo>
                  <a:lnTo>
                    <a:pt x="732" y="1200"/>
                  </a:lnTo>
                  <a:lnTo>
                    <a:pt x="738" y="1212"/>
                  </a:lnTo>
                  <a:lnTo>
                    <a:pt x="732" y="1218"/>
                  </a:lnTo>
                  <a:lnTo>
                    <a:pt x="732" y="1224"/>
                  </a:lnTo>
                  <a:lnTo>
                    <a:pt x="726" y="1230"/>
                  </a:lnTo>
                  <a:lnTo>
                    <a:pt x="720" y="1230"/>
                  </a:lnTo>
                  <a:lnTo>
                    <a:pt x="720" y="1236"/>
                  </a:lnTo>
                  <a:lnTo>
                    <a:pt x="720" y="1242"/>
                  </a:lnTo>
                  <a:lnTo>
                    <a:pt x="720" y="1248"/>
                  </a:lnTo>
                  <a:lnTo>
                    <a:pt x="714" y="1248"/>
                  </a:lnTo>
                  <a:lnTo>
                    <a:pt x="714" y="1254"/>
                  </a:lnTo>
                  <a:lnTo>
                    <a:pt x="708" y="1260"/>
                  </a:lnTo>
                  <a:lnTo>
                    <a:pt x="702" y="1272"/>
                  </a:lnTo>
                  <a:lnTo>
                    <a:pt x="696" y="1272"/>
                  </a:lnTo>
                  <a:lnTo>
                    <a:pt x="696" y="1278"/>
                  </a:lnTo>
                  <a:lnTo>
                    <a:pt x="690" y="1284"/>
                  </a:lnTo>
                  <a:lnTo>
                    <a:pt x="690" y="1290"/>
                  </a:lnTo>
                  <a:lnTo>
                    <a:pt x="684" y="1290"/>
                  </a:lnTo>
                  <a:lnTo>
                    <a:pt x="660" y="1284"/>
                  </a:lnTo>
                  <a:lnTo>
                    <a:pt x="660" y="1278"/>
                  </a:lnTo>
                  <a:lnTo>
                    <a:pt x="654" y="1272"/>
                  </a:lnTo>
                  <a:lnTo>
                    <a:pt x="648" y="1272"/>
                  </a:lnTo>
                  <a:lnTo>
                    <a:pt x="642" y="1272"/>
                  </a:lnTo>
                  <a:lnTo>
                    <a:pt x="642" y="1266"/>
                  </a:lnTo>
                  <a:lnTo>
                    <a:pt x="636" y="1266"/>
                  </a:lnTo>
                  <a:lnTo>
                    <a:pt x="630" y="1266"/>
                  </a:lnTo>
                  <a:lnTo>
                    <a:pt x="624" y="1266"/>
                  </a:lnTo>
                  <a:lnTo>
                    <a:pt x="624" y="1260"/>
                  </a:lnTo>
                  <a:lnTo>
                    <a:pt x="618" y="1260"/>
                  </a:lnTo>
                  <a:lnTo>
                    <a:pt x="612" y="1260"/>
                  </a:lnTo>
                  <a:lnTo>
                    <a:pt x="606" y="1260"/>
                  </a:lnTo>
                  <a:lnTo>
                    <a:pt x="600" y="1260"/>
                  </a:lnTo>
                  <a:lnTo>
                    <a:pt x="600" y="1254"/>
                  </a:lnTo>
                  <a:lnTo>
                    <a:pt x="594" y="1254"/>
                  </a:lnTo>
                  <a:lnTo>
                    <a:pt x="588" y="1248"/>
                  </a:lnTo>
                  <a:lnTo>
                    <a:pt x="588" y="1254"/>
                  </a:lnTo>
                  <a:lnTo>
                    <a:pt x="582" y="1254"/>
                  </a:lnTo>
                  <a:lnTo>
                    <a:pt x="582" y="1248"/>
                  </a:lnTo>
                  <a:lnTo>
                    <a:pt x="576" y="1248"/>
                  </a:lnTo>
                  <a:lnTo>
                    <a:pt x="576" y="1254"/>
                  </a:lnTo>
                  <a:lnTo>
                    <a:pt x="570" y="1248"/>
                  </a:lnTo>
                  <a:lnTo>
                    <a:pt x="564" y="1248"/>
                  </a:lnTo>
                  <a:lnTo>
                    <a:pt x="564" y="1254"/>
                  </a:lnTo>
                  <a:lnTo>
                    <a:pt x="558" y="1254"/>
                  </a:lnTo>
                  <a:lnTo>
                    <a:pt x="552" y="1254"/>
                  </a:lnTo>
                  <a:lnTo>
                    <a:pt x="552" y="1260"/>
                  </a:lnTo>
                  <a:lnTo>
                    <a:pt x="546" y="1260"/>
                  </a:lnTo>
                  <a:lnTo>
                    <a:pt x="540" y="1260"/>
                  </a:lnTo>
                  <a:lnTo>
                    <a:pt x="540" y="1254"/>
                  </a:lnTo>
                  <a:lnTo>
                    <a:pt x="534" y="1254"/>
                  </a:lnTo>
                  <a:lnTo>
                    <a:pt x="528" y="1224"/>
                  </a:lnTo>
                  <a:lnTo>
                    <a:pt x="534" y="1212"/>
                  </a:lnTo>
                  <a:lnTo>
                    <a:pt x="546" y="1206"/>
                  </a:lnTo>
                  <a:lnTo>
                    <a:pt x="582" y="1206"/>
                  </a:lnTo>
                  <a:lnTo>
                    <a:pt x="588" y="1188"/>
                  </a:lnTo>
                  <a:lnTo>
                    <a:pt x="582" y="1188"/>
                  </a:lnTo>
                  <a:lnTo>
                    <a:pt x="582" y="1182"/>
                  </a:lnTo>
                  <a:lnTo>
                    <a:pt x="576" y="1176"/>
                  </a:lnTo>
                  <a:lnTo>
                    <a:pt x="558" y="1128"/>
                  </a:lnTo>
                  <a:lnTo>
                    <a:pt x="558" y="1122"/>
                  </a:lnTo>
                  <a:lnTo>
                    <a:pt x="576" y="1098"/>
                  </a:lnTo>
                  <a:lnTo>
                    <a:pt x="576" y="1092"/>
                  </a:lnTo>
                  <a:lnTo>
                    <a:pt x="582" y="1092"/>
                  </a:lnTo>
                  <a:lnTo>
                    <a:pt x="582" y="1086"/>
                  </a:lnTo>
                  <a:lnTo>
                    <a:pt x="582" y="1080"/>
                  </a:lnTo>
                  <a:lnTo>
                    <a:pt x="582" y="1074"/>
                  </a:lnTo>
                  <a:lnTo>
                    <a:pt x="588" y="1074"/>
                  </a:lnTo>
                  <a:lnTo>
                    <a:pt x="588" y="1062"/>
                  </a:lnTo>
                  <a:lnTo>
                    <a:pt x="588" y="1056"/>
                  </a:lnTo>
                  <a:lnTo>
                    <a:pt x="588" y="1044"/>
                  </a:lnTo>
                  <a:lnTo>
                    <a:pt x="588" y="1038"/>
                  </a:lnTo>
                  <a:lnTo>
                    <a:pt x="588" y="1032"/>
                  </a:lnTo>
                  <a:lnTo>
                    <a:pt x="582" y="1026"/>
                  </a:lnTo>
                  <a:lnTo>
                    <a:pt x="582" y="1020"/>
                  </a:lnTo>
                  <a:lnTo>
                    <a:pt x="582" y="1008"/>
                  </a:lnTo>
                  <a:lnTo>
                    <a:pt x="576" y="990"/>
                  </a:lnTo>
                  <a:lnTo>
                    <a:pt x="570" y="972"/>
                  </a:lnTo>
                  <a:lnTo>
                    <a:pt x="552" y="972"/>
                  </a:lnTo>
                  <a:lnTo>
                    <a:pt x="540" y="960"/>
                  </a:lnTo>
                  <a:lnTo>
                    <a:pt x="534" y="954"/>
                  </a:lnTo>
                  <a:lnTo>
                    <a:pt x="534" y="948"/>
                  </a:lnTo>
                  <a:lnTo>
                    <a:pt x="516" y="948"/>
                  </a:lnTo>
                  <a:lnTo>
                    <a:pt x="522" y="936"/>
                  </a:lnTo>
                  <a:lnTo>
                    <a:pt x="522" y="930"/>
                  </a:lnTo>
                  <a:lnTo>
                    <a:pt x="504" y="918"/>
                  </a:lnTo>
                  <a:lnTo>
                    <a:pt x="492" y="906"/>
                  </a:lnTo>
                  <a:lnTo>
                    <a:pt x="486" y="894"/>
                  </a:lnTo>
                  <a:lnTo>
                    <a:pt x="468" y="876"/>
                  </a:lnTo>
                  <a:lnTo>
                    <a:pt x="450" y="876"/>
                  </a:lnTo>
                  <a:lnTo>
                    <a:pt x="414" y="882"/>
                  </a:lnTo>
                  <a:lnTo>
                    <a:pt x="402" y="870"/>
                  </a:lnTo>
                  <a:lnTo>
                    <a:pt x="390" y="864"/>
                  </a:lnTo>
                  <a:lnTo>
                    <a:pt x="384" y="852"/>
                  </a:lnTo>
                  <a:lnTo>
                    <a:pt x="378" y="840"/>
                  </a:lnTo>
                  <a:lnTo>
                    <a:pt x="378" y="834"/>
                  </a:lnTo>
                  <a:lnTo>
                    <a:pt x="360" y="822"/>
                  </a:lnTo>
                  <a:lnTo>
                    <a:pt x="342" y="828"/>
                  </a:lnTo>
                  <a:lnTo>
                    <a:pt x="324" y="816"/>
                  </a:lnTo>
                  <a:lnTo>
                    <a:pt x="318" y="816"/>
                  </a:lnTo>
                  <a:lnTo>
                    <a:pt x="306" y="810"/>
                  </a:lnTo>
                  <a:lnTo>
                    <a:pt x="306" y="804"/>
                  </a:lnTo>
                  <a:lnTo>
                    <a:pt x="300" y="804"/>
                  </a:lnTo>
                  <a:lnTo>
                    <a:pt x="300" y="780"/>
                  </a:lnTo>
                  <a:lnTo>
                    <a:pt x="300" y="774"/>
                  </a:lnTo>
                  <a:lnTo>
                    <a:pt x="306" y="774"/>
                  </a:lnTo>
                  <a:lnTo>
                    <a:pt x="312" y="756"/>
                  </a:lnTo>
                  <a:lnTo>
                    <a:pt x="312" y="732"/>
                  </a:lnTo>
                  <a:lnTo>
                    <a:pt x="300" y="720"/>
                  </a:lnTo>
                  <a:lnTo>
                    <a:pt x="288" y="702"/>
                  </a:lnTo>
                  <a:lnTo>
                    <a:pt x="276" y="702"/>
                  </a:lnTo>
                  <a:lnTo>
                    <a:pt x="258" y="714"/>
                  </a:lnTo>
                  <a:lnTo>
                    <a:pt x="246" y="726"/>
                  </a:lnTo>
                  <a:lnTo>
                    <a:pt x="222" y="726"/>
                  </a:lnTo>
                  <a:lnTo>
                    <a:pt x="192" y="726"/>
                  </a:lnTo>
                  <a:lnTo>
                    <a:pt x="174" y="738"/>
                  </a:lnTo>
                  <a:lnTo>
                    <a:pt x="162" y="750"/>
                  </a:lnTo>
                  <a:lnTo>
                    <a:pt x="144" y="762"/>
                  </a:lnTo>
                  <a:lnTo>
                    <a:pt x="138" y="768"/>
                  </a:lnTo>
                  <a:lnTo>
                    <a:pt x="126" y="774"/>
                  </a:lnTo>
                  <a:lnTo>
                    <a:pt x="114" y="780"/>
                  </a:lnTo>
                  <a:lnTo>
                    <a:pt x="108" y="786"/>
                  </a:lnTo>
                  <a:lnTo>
                    <a:pt x="102" y="786"/>
                  </a:lnTo>
                  <a:lnTo>
                    <a:pt x="54" y="786"/>
                  </a:lnTo>
                  <a:lnTo>
                    <a:pt x="48" y="792"/>
                  </a:lnTo>
                  <a:lnTo>
                    <a:pt x="36" y="798"/>
                  </a:lnTo>
                  <a:lnTo>
                    <a:pt x="18" y="792"/>
                  </a:lnTo>
                  <a:lnTo>
                    <a:pt x="6" y="780"/>
                  </a:lnTo>
                  <a:lnTo>
                    <a:pt x="6" y="768"/>
                  </a:lnTo>
                  <a:lnTo>
                    <a:pt x="0" y="756"/>
                  </a:lnTo>
                  <a:lnTo>
                    <a:pt x="0" y="738"/>
                  </a:lnTo>
                  <a:lnTo>
                    <a:pt x="6" y="702"/>
                  </a:lnTo>
                  <a:lnTo>
                    <a:pt x="24" y="702"/>
                  </a:lnTo>
                  <a:lnTo>
                    <a:pt x="24" y="696"/>
                  </a:lnTo>
                  <a:lnTo>
                    <a:pt x="24" y="690"/>
                  </a:lnTo>
                  <a:lnTo>
                    <a:pt x="24" y="678"/>
                  </a:lnTo>
                  <a:lnTo>
                    <a:pt x="24" y="672"/>
                  </a:lnTo>
                  <a:lnTo>
                    <a:pt x="30" y="672"/>
                  </a:lnTo>
                  <a:lnTo>
                    <a:pt x="30" y="666"/>
                  </a:lnTo>
                  <a:lnTo>
                    <a:pt x="36" y="660"/>
                  </a:lnTo>
                  <a:lnTo>
                    <a:pt x="84" y="648"/>
                  </a:lnTo>
                  <a:lnTo>
                    <a:pt x="126" y="642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32" y="618"/>
                  </a:lnTo>
                  <a:lnTo>
                    <a:pt x="138" y="612"/>
                  </a:lnTo>
                  <a:lnTo>
                    <a:pt x="138" y="606"/>
                  </a:lnTo>
                  <a:lnTo>
                    <a:pt x="138" y="600"/>
                  </a:lnTo>
                  <a:lnTo>
                    <a:pt x="132" y="600"/>
                  </a:lnTo>
                  <a:lnTo>
                    <a:pt x="132" y="594"/>
                  </a:lnTo>
                  <a:lnTo>
                    <a:pt x="132" y="588"/>
                  </a:lnTo>
                  <a:lnTo>
                    <a:pt x="132" y="582"/>
                  </a:lnTo>
                  <a:lnTo>
                    <a:pt x="132" y="576"/>
                  </a:lnTo>
                  <a:lnTo>
                    <a:pt x="126" y="570"/>
                  </a:lnTo>
                  <a:lnTo>
                    <a:pt x="120" y="564"/>
                  </a:lnTo>
                  <a:lnTo>
                    <a:pt x="120" y="558"/>
                  </a:lnTo>
                  <a:lnTo>
                    <a:pt x="120" y="552"/>
                  </a:lnTo>
                  <a:lnTo>
                    <a:pt x="114" y="552"/>
                  </a:lnTo>
                  <a:lnTo>
                    <a:pt x="114" y="546"/>
                  </a:lnTo>
                  <a:lnTo>
                    <a:pt x="114" y="540"/>
                  </a:lnTo>
                  <a:lnTo>
                    <a:pt x="108" y="534"/>
                  </a:lnTo>
                  <a:lnTo>
                    <a:pt x="108" y="528"/>
                  </a:lnTo>
                  <a:lnTo>
                    <a:pt x="114" y="522"/>
                  </a:lnTo>
                  <a:lnTo>
                    <a:pt x="108" y="516"/>
                  </a:lnTo>
                  <a:lnTo>
                    <a:pt x="108" y="498"/>
                  </a:lnTo>
                  <a:lnTo>
                    <a:pt x="108" y="492"/>
                  </a:lnTo>
                  <a:lnTo>
                    <a:pt x="108" y="486"/>
                  </a:lnTo>
                  <a:lnTo>
                    <a:pt x="108" y="480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08" y="462"/>
                  </a:lnTo>
                  <a:lnTo>
                    <a:pt x="102" y="456"/>
                  </a:lnTo>
                  <a:lnTo>
                    <a:pt x="102" y="444"/>
                  </a:lnTo>
                  <a:lnTo>
                    <a:pt x="96" y="444"/>
                  </a:lnTo>
                  <a:lnTo>
                    <a:pt x="90" y="432"/>
                  </a:lnTo>
                  <a:lnTo>
                    <a:pt x="96" y="432"/>
                  </a:lnTo>
                  <a:lnTo>
                    <a:pt x="96" y="408"/>
                  </a:lnTo>
                  <a:lnTo>
                    <a:pt x="96" y="396"/>
                  </a:lnTo>
                  <a:lnTo>
                    <a:pt x="96" y="360"/>
                  </a:lnTo>
                  <a:lnTo>
                    <a:pt x="96" y="354"/>
                  </a:lnTo>
                  <a:lnTo>
                    <a:pt x="102" y="354"/>
                  </a:lnTo>
                  <a:lnTo>
                    <a:pt x="102" y="348"/>
                  </a:lnTo>
                  <a:lnTo>
                    <a:pt x="96" y="330"/>
                  </a:lnTo>
                  <a:lnTo>
                    <a:pt x="90" y="306"/>
                  </a:lnTo>
                  <a:lnTo>
                    <a:pt x="84" y="288"/>
                  </a:lnTo>
                  <a:lnTo>
                    <a:pt x="84" y="264"/>
                  </a:lnTo>
                  <a:lnTo>
                    <a:pt x="90" y="240"/>
                  </a:lnTo>
                  <a:lnTo>
                    <a:pt x="96" y="222"/>
                  </a:lnTo>
                  <a:lnTo>
                    <a:pt x="102" y="222"/>
                  </a:lnTo>
                  <a:lnTo>
                    <a:pt x="108" y="210"/>
                  </a:lnTo>
                  <a:lnTo>
                    <a:pt x="114" y="210"/>
                  </a:lnTo>
                  <a:lnTo>
                    <a:pt x="126" y="198"/>
                  </a:lnTo>
                  <a:lnTo>
                    <a:pt x="156" y="192"/>
                  </a:lnTo>
                  <a:lnTo>
                    <a:pt x="174" y="186"/>
                  </a:lnTo>
                  <a:lnTo>
                    <a:pt x="204" y="174"/>
                  </a:lnTo>
                  <a:lnTo>
                    <a:pt x="222" y="168"/>
                  </a:lnTo>
                  <a:lnTo>
                    <a:pt x="234" y="162"/>
                  </a:lnTo>
                  <a:lnTo>
                    <a:pt x="246" y="156"/>
                  </a:lnTo>
                  <a:lnTo>
                    <a:pt x="288" y="144"/>
                  </a:lnTo>
                  <a:lnTo>
                    <a:pt x="288" y="132"/>
                  </a:lnTo>
                  <a:lnTo>
                    <a:pt x="294" y="120"/>
                  </a:lnTo>
                  <a:lnTo>
                    <a:pt x="300" y="108"/>
                  </a:lnTo>
                  <a:lnTo>
                    <a:pt x="306" y="90"/>
                  </a:lnTo>
                  <a:lnTo>
                    <a:pt x="312" y="78"/>
                  </a:lnTo>
                  <a:lnTo>
                    <a:pt x="324" y="78"/>
                  </a:lnTo>
                  <a:lnTo>
                    <a:pt x="324" y="54"/>
                  </a:lnTo>
                  <a:lnTo>
                    <a:pt x="318" y="48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60" y="6"/>
                  </a:lnTo>
                  <a:lnTo>
                    <a:pt x="384" y="0"/>
                  </a:lnTo>
                  <a:lnTo>
                    <a:pt x="390" y="6"/>
                  </a:lnTo>
                  <a:lnTo>
                    <a:pt x="390" y="18"/>
                  </a:lnTo>
                  <a:lnTo>
                    <a:pt x="390" y="54"/>
                  </a:lnTo>
                  <a:lnTo>
                    <a:pt x="396" y="66"/>
                  </a:lnTo>
                  <a:lnTo>
                    <a:pt x="414" y="84"/>
                  </a:lnTo>
                  <a:lnTo>
                    <a:pt x="426" y="90"/>
                  </a:lnTo>
                  <a:lnTo>
                    <a:pt x="432" y="96"/>
                  </a:lnTo>
                  <a:lnTo>
                    <a:pt x="426" y="102"/>
                  </a:lnTo>
                  <a:lnTo>
                    <a:pt x="438" y="102"/>
                  </a:lnTo>
                  <a:lnTo>
                    <a:pt x="444" y="108"/>
                  </a:lnTo>
                  <a:lnTo>
                    <a:pt x="444" y="102"/>
                  </a:lnTo>
                  <a:lnTo>
                    <a:pt x="450" y="90"/>
                  </a:lnTo>
                  <a:lnTo>
                    <a:pt x="450" y="84"/>
                  </a:lnTo>
                  <a:lnTo>
                    <a:pt x="450" y="78"/>
                  </a:lnTo>
                  <a:lnTo>
                    <a:pt x="456" y="72"/>
                  </a:lnTo>
                  <a:lnTo>
                    <a:pt x="462" y="66"/>
                  </a:lnTo>
                  <a:lnTo>
                    <a:pt x="462" y="60"/>
                  </a:lnTo>
                  <a:lnTo>
                    <a:pt x="462" y="54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74" y="24"/>
                  </a:lnTo>
                  <a:lnTo>
                    <a:pt x="480" y="18"/>
                  </a:lnTo>
                  <a:lnTo>
                    <a:pt x="486" y="12"/>
                  </a:lnTo>
                  <a:lnTo>
                    <a:pt x="492" y="12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2" y="6"/>
                  </a:lnTo>
                  <a:lnTo>
                    <a:pt x="534" y="6"/>
                  </a:lnTo>
                  <a:lnTo>
                    <a:pt x="540" y="6"/>
                  </a:lnTo>
                  <a:lnTo>
                    <a:pt x="546" y="6"/>
                  </a:lnTo>
                  <a:lnTo>
                    <a:pt x="564" y="0"/>
                  </a:lnTo>
                  <a:lnTo>
                    <a:pt x="570" y="0"/>
                  </a:lnTo>
                  <a:lnTo>
                    <a:pt x="576" y="6"/>
                  </a:lnTo>
                  <a:lnTo>
                    <a:pt x="582" y="6"/>
                  </a:lnTo>
                  <a:lnTo>
                    <a:pt x="594" y="6"/>
                  </a:lnTo>
                  <a:lnTo>
                    <a:pt x="600" y="6"/>
                  </a:lnTo>
                  <a:lnTo>
                    <a:pt x="606" y="6"/>
                  </a:lnTo>
                  <a:lnTo>
                    <a:pt x="624" y="0"/>
                  </a:lnTo>
                  <a:lnTo>
                    <a:pt x="636" y="0"/>
                  </a:lnTo>
                  <a:lnTo>
                    <a:pt x="636" y="6"/>
                  </a:lnTo>
                  <a:lnTo>
                    <a:pt x="654" y="18"/>
                  </a:lnTo>
                  <a:lnTo>
                    <a:pt x="654" y="30"/>
                  </a:lnTo>
                  <a:lnTo>
                    <a:pt x="642" y="42"/>
                  </a:lnTo>
                  <a:lnTo>
                    <a:pt x="630" y="66"/>
                  </a:lnTo>
                  <a:lnTo>
                    <a:pt x="636" y="84"/>
                  </a:lnTo>
                  <a:lnTo>
                    <a:pt x="636" y="96"/>
                  </a:lnTo>
                  <a:lnTo>
                    <a:pt x="648" y="102"/>
                  </a:lnTo>
                  <a:lnTo>
                    <a:pt x="672" y="114"/>
                  </a:lnTo>
                  <a:lnTo>
                    <a:pt x="702" y="120"/>
                  </a:lnTo>
                  <a:lnTo>
                    <a:pt x="714" y="126"/>
                  </a:lnTo>
                  <a:lnTo>
                    <a:pt x="720" y="144"/>
                  </a:lnTo>
                  <a:lnTo>
                    <a:pt x="720" y="156"/>
                  </a:lnTo>
                  <a:lnTo>
                    <a:pt x="708" y="156"/>
                  </a:lnTo>
                  <a:lnTo>
                    <a:pt x="702" y="162"/>
                  </a:lnTo>
                  <a:lnTo>
                    <a:pt x="702" y="174"/>
                  </a:lnTo>
                  <a:lnTo>
                    <a:pt x="696" y="174"/>
                  </a:lnTo>
                  <a:lnTo>
                    <a:pt x="690" y="180"/>
                  </a:lnTo>
                  <a:lnTo>
                    <a:pt x="678" y="186"/>
                  </a:lnTo>
                  <a:lnTo>
                    <a:pt x="672" y="192"/>
                  </a:lnTo>
                  <a:lnTo>
                    <a:pt x="654" y="210"/>
                  </a:lnTo>
                  <a:lnTo>
                    <a:pt x="654" y="216"/>
                  </a:lnTo>
                  <a:lnTo>
                    <a:pt x="648" y="246"/>
                  </a:lnTo>
                  <a:lnTo>
                    <a:pt x="660" y="246"/>
                  </a:lnTo>
                  <a:lnTo>
                    <a:pt x="666" y="234"/>
                  </a:lnTo>
                  <a:lnTo>
                    <a:pt x="678" y="240"/>
                  </a:lnTo>
                  <a:lnTo>
                    <a:pt x="684" y="228"/>
                  </a:lnTo>
                  <a:lnTo>
                    <a:pt x="690" y="210"/>
                  </a:lnTo>
                  <a:lnTo>
                    <a:pt x="696" y="204"/>
                  </a:lnTo>
                  <a:lnTo>
                    <a:pt x="702" y="204"/>
                  </a:lnTo>
                  <a:lnTo>
                    <a:pt x="708" y="192"/>
                  </a:lnTo>
                  <a:lnTo>
                    <a:pt x="714" y="192"/>
                  </a:lnTo>
                  <a:lnTo>
                    <a:pt x="714" y="186"/>
                  </a:lnTo>
                  <a:lnTo>
                    <a:pt x="726" y="186"/>
                  </a:lnTo>
                  <a:lnTo>
                    <a:pt x="732" y="186"/>
                  </a:lnTo>
                  <a:lnTo>
                    <a:pt x="738" y="186"/>
                  </a:lnTo>
                  <a:lnTo>
                    <a:pt x="744" y="216"/>
                  </a:lnTo>
                  <a:lnTo>
                    <a:pt x="750" y="210"/>
                  </a:lnTo>
                  <a:lnTo>
                    <a:pt x="750" y="204"/>
                  </a:lnTo>
                  <a:lnTo>
                    <a:pt x="756" y="192"/>
                  </a:lnTo>
                  <a:lnTo>
                    <a:pt x="762" y="192"/>
                  </a:lnTo>
                  <a:lnTo>
                    <a:pt x="768" y="192"/>
                  </a:lnTo>
                  <a:lnTo>
                    <a:pt x="780" y="186"/>
                  </a:lnTo>
                  <a:lnTo>
                    <a:pt x="786" y="204"/>
                  </a:lnTo>
                  <a:lnTo>
                    <a:pt x="774" y="210"/>
                  </a:lnTo>
                  <a:lnTo>
                    <a:pt x="774" y="234"/>
                  </a:lnTo>
                  <a:lnTo>
                    <a:pt x="780" y="246"/>
                  </a:lnTo>
                  <a:lnTo>
                    <a:pt x="804" y="264"/>
                  </a:lnTo>
                  <a:lnTo>
                    <a:pt x="816" y="276"/>
                  </a:lnTo>
                  <a:lnTo>
                    <a:pt x="822" y="288"/>
                  </a:lnTo>
                  <a:lnTo>
                    <a:pt x="822" y="312"/>
                  </a:lnTo>
                  <a:lnTo>
                    <a:pt x="816" y="312"/>
                  </a:lnTo>
                  <a:lnTo>
                    <a:pt x="810" y="318"/>
                  </a:lnTo>
                  <a:lnTo>
                    <a:pt x="810" y="348"/>
                  </a:lnTo>
                  <a:lnTo>
                    <a:pt x="816" y="348"/>
                  </a:lnTo>
                  <a:lnTo>
                    <a:pt x="816" y="342"/>
                  </a:lnTo>
                  <a:lnTo>
                    <a:pt x="834" y="342"/>
                  </a:lnTo>
                  <a:lnTo>
                    <a:pt x="834" y="348"/>
                  </a:lnTo>
                  <a:lnTo>
                    <a:pt x="846" y="348"/>
                  </a:lnTo>
                  <a:lnTo>
                    <a:pt x="846" y="342"/>
                  </a:lnTo>
                  <a:lnTo>
                    <a:pt x="882" y="342"/>
                  </a:lnTo>
                  <a:lnTo>
                    <a:pt x="894" y="366"/>
                  </a:lnTo>
                  <a:lnTo>
                    <a:pt x="900" y="372"/>
                  </a:lnTo>
                  <a:lnTo>
                    <a:pt x="906" y="384"/>
                  </a:lnTo>
                  <a:lnTo>
                    <a:pt x="924" y="384"/>
                  </a:lnTo>
                  <a:lnTo>
                    <a:pt x="930" y="372"/>
                  </a:lnTo>
                  <a:lnTo>
                    <a:pt x="936" y="372"/>
                  </a:lnTo>
                  <a:lnTo>
                    <a:pt x="942" y="348"/>
                  </a:lnTo>
                  <a:lnTo>
                    <a:pt x="954" y="348"/>
                  </a:lnTo>
                  <a:lnTo>
                    <a:pt x="954" y="342"/>
                  </a:lnTo>
                  <a:lnTo>
                    <a:pt x="984" y="342"/>
                  </a:lnTo>
                  <a:lnTo>
                    <a:pt x="978" y="390"/>
                  </a:lnTo>
                  <a:lnTo>
                    <a:pt x="984" y="390"/>
                  </a:lnTo>
                  <a:lnTo>
                    <a:pt x="990" y="396"/>
                  </a:lnTo>
                  <a:lnTo>
                    <a:pt x="996" y="396"/>
                  </a:lnTo>
                  <a:lnTo>
                    <a:pt x="1002" y="396"/>
                  </a:lnTo>
                  <a:lnTo>
                    <a:pt x="1002" y="408"/>
                  </a:lnTo>
                  <a:lnTo>
                    <a:pt x="990" y="414"/>
                  </a:lnTo>
                  <a:lnTo>
                    <a:pt x="984" y="426"/>
                  </a:lnTo>
                  <a:lnTo>
                    <a:pt x="990" y="444"/>
                  </a:lnTo>
                  <a:lnTo>
                    <a:pt x="996" y="450"/>
                  </a:lnTo>
                  <a:lnTo>
                    <a:pt x="990" y="462"/>
                  </a:lnTo>
                  <a:lnTo>
                    <a:pt x="990" y="468"/>
                  </a:lnTo>
                  <a:lnTo>
                    <a:pt x="984" y="480"/>
                  </a:lnTo>
                  <a:lnTo>
                    <a:pt x="978" y="486"/>
                  </a:lnTo>
                  <a:lnTo>
                    <a:pt x="972" y="486"/>
                  </a:lnTo>
                  <a:lnTo>
                    <a:pt x="966" y="492"/>
                  </a:lnTo>
                  <a:lnTo>
                    <a:pt x="966" y="498"/>
                  </a:lnTo>
                  <a:lnTo>
                    <a:pt x="954" y="510"/>
                  </a:lnTo>
                  <a:lnTo>
                    <a:pt x="948" y="510"/>
                  </a:lnTo>
                  <a:lnTo>
                    <a:pt x="942" y="516"/>
                  </a:lnTo>
                  <a:lnTo>
                    <a:pt x="936" y="528"/>
                  </a:lnTo>
                  <a:lnTo>
                    <a:pt x="936" y="534"/>
                  </a:lnTo>
                  <a:lnTo>
                    <a:pt x="936" y="546"/>
                  </a:lnTo>
                  <a:lnTo>
                    <a:pt x="936" y="558"/>
                  </a:lnTo>
                  <a:lnTo>
                    <a:pt x="948" y="558"/>
                  </a:lnTo>
                  <a:lnTo>
                    <a:pt x="954" y="558"/>
                  </a:lnTo>
                  <a:lnTo>
                    <a:pt x="996" y="558"/>
                  </a:lnTo>
                  <a:lnTo>
                    <a:pt x="1002" y="570"/>
                  </a:lnTo>
                  <a:lnTo>
                    <a:pt x="996" y="576"/>
                  </a:lnTo>
                  <a:lnTo>
                    <a:pt x="996" y="588"/>
                  </a:lnTo>
                  <a:lnTo>
                    <a:pt x="984" y="588"/>
                  </a:lnTo>
                  <a:lnTo>
                    <a:pt x="990" y="612"/>
                  </a:lnTo>
                  <a:lnTo>
                    <a:pt x="1014" y="606"/>
                  </a:lnTo>
                  <a:lnTo>
                    <a:pt x="1014" y="636"/>
                  </a:lnTo>
                  <a:lnTo>
                    <a:pt x="1014" y="648"/>
                  </a:lnTo>
                  <a:lnTo>
                    <a:pt x="1020" y="648"/>
                  </a:lnTo>
                  <a:lnTo>
                    <a:pt x="1026" y="660"/>
                  </a:lnTo>
                  <a:lnTo>
                    <a:pt x="1038" y="654"/>
                  </a:lnTo>
                  <a:lnTo>
                    <a:pt x="1050" y="654"/>
                  </a:lnTo>
                  <a:lnTo>
                    <a:pt x="1062" y="654"/>
                  </a:lnTo>
                  <a:lnTo>
                    <a:pt x="1068" y="660"/>
                  </a:lnTo>
                  <a:lnTo>
                    <a:pt x="1068" y="678"/>
                  </a:lnTo>
                  <a:lnTo>
                    <a:pt x="1068" y="684"/>
                  </a:lnTo>
                  <a:lnTo>
                    <a:pt x="1062" y="690"/>
                  </a:lnTo>
                  <a:lnTo>
                    <a:pt x="1056" y="696"/>
                  </a:lnTo>
                  <a:lnTo>
                    <a:pt x="1056" y="702"/>
                  </a:lnTo>
                  <a:lnTo>
                    <a:pt x="1038" y="714"/>
                  </a:lnTo>
                  <a:lnTo>
                    <a:pt x="1026" y="720"/>
                  </a:lnTo>
                  <a:lnTo>
                    <a:pt x="1008" y="726"/>
                  </a:lnTo>
                  <a:lnTo>
                    <a:pt x="1008" y="732"/>
                  </a:lnTo>
                  <a:lnTo>
                    <a:pt x="990" y="732"/>
                  </a:lnTo>
                  <a:lnTo>
                    <a:pt x="984" y="744"/>
                  </a:lnTo>
                  <a:lnTo>
                    <a:pt x="990" y="750"/>
                  </a:lnTo>
                  <a:lnTo>
                    <a:pt x="984" y="762"/>
                  </a:lnTo>
                  <a:lnTo>
                    <a:pt x="984" y="768"/>
                  </a:lnTo>
                  <a:lnTo>
                    <a:pt x="984" y="774"/>
                  </a:lnTo>
                  <a:lnTo>
                    <a:pt x="984" y="780"/>
                  </a:lnTo>
                  <a:lnTo>
                    <a:pt x="984" y="786"/>
                  </a:lnTo>
                  <a:lnTo>
                    <a:pt x="984" y="792"/>
                  </a:lnTo>
                  <a:lnTo>
                    <a:pt x="978" y="798"/>
                  </a:lnTo>
                  <a:lnTo>
                    <a:pt x="978" y="80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3" name="Freeform 38">
              <a:extLst>
                <a:ext uri="{FF2B5EF4-FFF2-40B4-BE49-F238E27FC236}">
                  <a16:creationId xmlns:a16="http://schemas.microsoft.com/office/drawing/2014/main" id="{819B99CE-D972-4530-8964-A992C1EC87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2825" y="1634436"/>
              <a:ext cx="959326" cy="959458"/>
            </a:xfrm>
            <a:custGeom>
              <a:avLst/>
              <a:gdLst>
                <a:gd name="T0" fmla="*/ 105 w 1806"/>
                <a:gd name="T1" fmla="*/ 155 h 1806"/>
                <a:gd name="T2" fmla="*/ 103 w 1806"/>
                <a:gd name="T3" fmla="*/ 155 h 1806"/>
                <a:gd name="T4" fmla="*/ 103 w 1806"/>
                <a:gd name="T5" fmla="*/ 150 h 1806"/>
                <a:gd name="T6" fmla="*/ 104 w 1806"/>
                <a:gd name="T7" fmla="*/ 141 h 1806"/>
                <a:gd name="T8" fmla="*/ 104 w 1806"/>
                <a:gd name="T9" fmla="*/ 136 h 1806"/>
                <a:gd name="T10" fmla="*/ 100 w 1806"/>
                <a:gd name="T11" fmla="*/ 131 h 1806"/>
                <a:gd name="T12" fmla="*/ 96 w 1806"/>
                <a:gd name="T13" fmla="*/ 127 h 1806"/>
                <a:gd name="T14" fmla="*/ 91 w 1806"/>
                <a:gd name="T15" fmla="*/ 121 h 1806"/>
                <a:gd name="T16" fmla="*/ 87 w 1806"/>
                <a:gd name="T17" fmla="*/ 120 h 1806"/>
                <a:gd name="T18" fmla="*/ 81 w 1806"/>
                <a:gd name="T19" fmla="*/ 117 h 1806"/>
                <a:gd name="T20" fmla="*/ 65 w 1806"/>
                <a:gd name="T21" fmla="*/ 113 h 1806"/>
                <a:gd name="T22" fmla="*/ 69 w 1806"/>
                <a:gd name="T23" fmla="*/ 105 h 1806"/>
                <a:gd name="T24" fmla="*/ 66 w 1806"/>
                <a:gd name="T25" fmla="*/ 89 h 1806"/>
                <a:gd name="T26" fmla="*/ 63 w 1806"/>
                <a:gd name="T27" fmla="*/ 84 h 1806"/>
                <a:gd name="T28" fmla="*/ 62 w 1806"/>
                <a:gd name="T29" fmla="*/ 74 h 1806"/>
                <a:gd name="T30" fmla="*/ 58 w 1806"/>
                <a:gd name="T31" fmla="*/ 52 h 1806"/>
                <a:gd name="T32" fmla="*/ 53 w 1806"/>
                <a:gd name="T33" fmla="*/ 49 h 1806"/>
                <a:gd name="T34" fmla="*/ 51 w 1806"/>
                <a:gd name="T35" fmla="*/ 36 h 1806"/>
                <a:gd name="T36" fmla="*/ 43 w 1806"/>
                <a:gd name="T37" fmla="*/ 32 h 1806"/>
                <a:gd name="T38" fmla="*/ 33 w 1806"/>
                <a:gd name="T39" fmla="*/ 30 h 1806"/>
                <a:gd name="T40" fmla="*/ 30 w 1806"/>
                <a:gd name="T41" fmla="*/ 21 h 1806"/>
                <a:gd name="T42" fmla="*/ 17 w 1806"/>
                <a:gd name="T43" fmla="*/ 25 h 1806"/>
                <a:gd name="T44" fmla="*/ 4 w 1806"/>
                <a:gd name="T45" fmla="*/ 33 h 1806"/>
                <a:gd name="T46" fmla="*/ 7 w 1806"/>
                <a:gd name="T47" fmla="*/ 26 h 1806"/>
                <a:gd name="T48" fmla="*/ 11 w 1806"/>
                <a:gd name="T49" fmla="*/ 20 h 1806"/>
                <a:gd name="T50" fmla="*/ 18 w 1806"/>
                <a:gd name="T51" fmla="*/ 12 h 1806"/>
                <a:gd name="T52" fmla="*/ 26 w 1806"/>
                <a:gd name="T53" fmla="*/ 8 h 1806"/>
                <a:gd name="T54" fmla="*/ 35 w 1806"/>
                <a:gd name="T55" fmla="*/ 6 h 1806"/>
                <a:gd name="T56" fmla="*/ 44 w 1806"/>
                <a:gd name="T57" fmla="*/ 5 h 1806"/>
                <a:gd name="T58" fmla="*/ 54 w 1806"/>
                <a:gd name="T59" fmla="*/ 2 h 1806"/>
                <a:gd name="T60" fmla="*/ 65 w 1806"/>
                <a:gd name="T61" fmla="*/ 0 h 1806"/>
                <a:gd name="T62" fmla="*/ 76 w 1806"/>
                <a:gd name="T63" fmla="*/ 0 h 1806"/>
                <a:gd name="T64" fmla="*/ 85 w 1806"/>
                <a:gd name="T65" fmla="*/ 0 h 1806"/>
                <a:gd name="T66" fmla="*/ 97 w 1806"/>
                <a:gd name="T67" fmla="*/ 0 h 1806"/>
                <a:gd name="T68" fmla="*/ 108 w 1806"/>
                <a:gd name="T69" fmla="*/ 3 h 1806"/>
                <a:gd name="T70" fmla="*/ 115 w 1806"/>
                <a:gd name="T71" fmla="*/ 5 h 1806"/>
                <a:gd name="T72" fmla="*/ 123 w 1806"/>
                <a:gd name="T73" fmla="*/ 7 h 1806"/>
                <a:gd name="T74" fmla="*/ 133 w 1806"/>
                <a:gd name="T75" fmla="*/ 14 h 1806"/>
                <a:gd name="T76" fmla="*/ 138 w 1806"/>
                <a:gd name="T77" fmla="*/ 16 h 1806"/>
                <a:gd name="T78" fmla="*/ 140 w 1806"/>
                <a:gd name="T79" fmla="*/ 14 h 1806"/>
                <a:gd name="T80" fmla="*/ 145 w 1806"/>
                <a:gd name="T81" fmla="*/ 16 h 1806"/>
                <a:gd name="T82" fmla="*/ 147 w 1806"/>
                <a:gd name="T83" fmla="*/ 16 h 1806"/>
                <a:gd name="T84" fmla="*/ 150 w 1806"/>
                <a:gd name="T85" fmla="*/ 17 h 1806"/>
                <a:gd name="T86" fmla="*/ 152 w 1806"/>
                <a:gd name="T87" fmla="*/ 18 h 1806"/>
                <a:gd name="T88" fmla="*/ 155 w 1806"/>
                <a:gd name="T89" fmla="*/ 37 h 1806"/>
                <a:gd name="T90" fmla="*/ 146 w 1806"/>
                <a:gd name="T91" fmla="*/ 66 h 1806"/>
                <a:gd name="T92" fmla="*/ 143 w 1806"/>
                <a:gd name="T93" fmla="*/ 88 h 1806"/>
                <a:gd name="T94" fmla="*/ 144 w 1806"/>
                <a:gd name="T95" fmla="*/ 98 h 1806"/>
                <a:gd name="T96" fmla="*/ 137 w 1806"/>
                <a:gd name="T97" fmla="*/ 118 h 1806"/>
                <a:gd name="T98" fmla="*/ 132 w 1806"/>
                <a:gd name="T99" fmla="*/ 129 h 1806"/>
                <a:gd name="T100" fmla="*/ 124 w 1806"/>
                <a:gd name="T101" fmla="*/ 135 h 1806"/>
                <a:gd name="T102" fmla="*/ 119 w 1806"/>
                <a:gd name="T103" fmla="*/ 136 h 1806"/>
                <a:gd name="T104" fmla="*/ 116 w 1806"/>
                <a:gd name="T105" fmla="*/ 137 h 1806"/>
                <a:gd name="T106" fmla="*/ 112 w 1806"/>
                <a:gd name="T107" fmla="*/ 139 h 1806"/>
                <a:gd name="T108" fmla="*/ 112 w 1806"/>
                <a:gd name="T109" fmla="*/ 141 h 1806"/>
                <a:gd name="T110" fmla="*/ 116 w 1806"/>
                <a:gd name="T111" fmla="*/ 146 h 1806"/>
                <a:gd name="T112" fmla="*/ 116 w 1806"/>
                <a:gd name="T113" fmla="*/ 151 h 1806"/>
                <a:gd name="T114" fmla="*/ 113 w 1806"/>
                <a:gd name="T115" fmla="*/ 153 h 18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6"/>
                <a:gd name="T175" fmla="*/ 0 h 1806"/>
                <a:gd name="T176" fmla="*/ 1806 w 1806"/>
                <a:gd name="T177" fmla="*/ 1806 h 18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6" h="1806">
                  <a:moveTo>
                    <a:pt x="1260" y="1776"/>
                  </a:moveTo>
                  <a:lnTo>
                    <a:pt x="1254" y="1776"/>
                  </a:lnTo>
                  <a:lnTo>
                    <a:pt x="1248" y="1776"/>
                  </a:lnTo>
                  <a:lnTo>
                    <a:pt x="1242" y="1782"/>
                  </a:lnTo>
                  <a:lnTo>
                    <a:pt x="1236" y="1782"/>
                  </a:lnTo>
                  <a:lnTo>
                    <a:pt x="1230" y="1788"/>
                  </a:lnTo>
                  <a:lnTo>
                    <a:pt x="1224" y="1782"/>
                  </a:lnTo>
                  <a:lnTo>
                    <a:pt x="1218" y="1782"/>
                  </a:lnTo>
                  <a:lnTo>
                    <a:pt x="1218" y="1788"/>
                  </a:lnTo>
                  <a:lnTo>
                    <a:pt x="1212" y="1788"/>
                  </a:lnTo>
                  <a:lnTo>
                    <a:pt x="1206" y="1788"/>
                  </a:lnTo>
                  <a:lnTo>
                    <a:pt x="1206" y="1794"/>
                  </a:lnTo>
                  <a:lnTo>
                    <a:pt x="1200" y="1806"/>
                  </a:lnTo>
                  <a:lnTo>
                    <a:pt x="1194" y="1800"/>
                  </a:lnTo>
                  <a:lnTo>
                    <a:pt x="1194" y="1794"/>
                  </a:lnTo>
                  <a:lnTo>
                    <a:pt x="1194" y="1788"/>
                  </a:lnTo>
                  <a:lnTo>
                    <a:pt x="1188" y="1788"/>
                  </a:lnTo>
                  <a:lnTo>
                    <a:pt x="1188" y="1782"/>
                  </a:lnTo>
                  <a:lnTo>
                    <a:pt x="1188" y="1776"/>
                  </a:lnTo>
                  <a:lnTo>
                    <a:pt x="1194" y="1770"/>
                  </a:lnTo>
                  <a:lnTo>
                    <a:pt x="1194" y="1764"/>
                  </a:lnTo>
                  <a:lnTo>
                    <a:pt x="1194" y="1758"/>
                  </a:lnTo>
                  <a:lnTo>
                    <a:pt x="1194" y="1752"/>
                  </a:lnTo>
                  <a:lnTo>
                    <a:pt x="1200" y="1746"/>
                  </a:lnTo>
                  <a:lnTo>
                    <a:pt x="1200" y="1740"/>
                  </a:lnTo>
                  <a:lnTo>
                    <a:pt x="1200" y="1734"/>
                  </a:lnTo>
                  <a:lnTo>
                    <a:pt x="1188" y="1722"/>
                  </a:lnTo>
                  <a:lnTo>
                    <a:pt x="1188" y="1716"/>
                  </a:lnTo>
                  <a:lnTo>
                    <a:pt x="1194" y="1704"/>
                  </a:lnTo>
                  <a:lnTo>
                    <a:pt x="1194" y="1692"/>
                  </a:lnTo>
                  <a:lnTo>
                    <a:pt x="1200" y="1680"/>
                  </a:lnTo>
                  <a:lnTo>
                    <a:pt x="1200" y="1662"/>
                  </a:lnTo>
                  <a:lnTo>
                    <a:pt x="1200" y="1650"/>
                  </a:lnTo>
                  <a:lnTo>
                    <a:pt x="1206" y="1644"/>
                  </a:lnTo>
                  <a:lnTo>
                    <a:pt x="1206" y="1638"/>
                  </a:lnTo>
                  <a:lnTo>
                    <a:pt x="1206" y="1626"/>
                  </a:lnTo>
                  <a:lnTo>
                    <a:pt x="1206" y="1620"/>
                  </a:lnTo>
                  <a:lnTo>
                    <a:pt x="1206" y="1614"/>
                  </a:lnTo>
                  <a:lnTo>
                    <a:pt x="1200" y="1608"/>
                  </a:lnTo>
                  <a:lnTo>
                    <a:pt x="1200" y="1602"/>
                  </a:lnTo>
                  <a:lnTo>
                    <a:pt x="1200" y="1596"/>
                  </a:lnTo>
                  <a:lnTo>
                    <a:pt x="1200" y="1590"/>
                  </a:lnTo>
                  <a:lnTo>
                    <a:pt x="1200" y="1572"/>
                  </a:lnTo>
                  <a:lnTo>
                    <a:pt x="1200" y="1566"/>
                  </a:lnTo>
                  <a:lnTo>
                    <a:pt x="1200" y="1560"/>
                  </a:lnTo>
                  <a:lnTo>
                    <a:pt x="1194" y="1554"/>
                  </a:lnTo>
                  <a:lnTo>
                    <a:pt x="1188" y="1548"/>
                  </a:lnTo>
                  <a:lnTo>
                    <a:pt x="1188" y="1542"/>
                  </a:lnTo>
                  <a:lnTo>
                    <a:pt x="1176" y="1536"/>
                  </a:lnTo>
                  <a:lnTo>
                    <a:pt x="1176" y="1530"/>
                  </a:lnTo>
                  <a:lnTo>
                    <a:pt x="1170" y="1524"/>
                  </a:lnTo>
                  <a:lnTo>
                    <a:pt x="1170" y="1518"/>
                  </a:lnTo>
                  <a:lnTo>
                    <a:pt x="1164" y="1512"/>
                  </a:lnTo>
                  <a:lnTo>
                    <a:pt x="1158" y="1506"/>
                  </a:lnTo>
                  <a:lnTo>
                    <a:pt x="1152" y="1500"/>
                  </a:lnTo>
                  <a:lnTo>
                    <a:pt x="1146" y="1494"/>
                  </a:lnTo>
                  <a:lnTo>
                    <a:pt x="1140" y="1488"/>
                  </a:lnTo>
                  <a:lnTo>
                    <a:pt x="1134" y="1482"/>
                  </a:lnTo>
                  <a:lnTo>
                    <a:pt x="1128" y="1476"/>
                  </a:lnTo>
                  <a:lnTo>
                    <a:pt x="1122" y="1470"/>
                  </a:lnTo>
                  <a:lnTo>
                    <a:pt x="1116" y="1464"/>
                  </a:lnTo>
                  <a:lnTo>
                    <a:pt x="1110" y="1464"/>
                  </a:lnTo>
                  <a:lnTo>
                    <a:pt x="1104" y="1458"/>
                  </a:lnTo>
                  <a:lnTo>
                    <a:pt x="1098" y="1464"/>
                  </a:lnTo>
                  <a:lnTo>
                    <a:pt x="1092" y="1464"/>
                  </a:lnTo>
                  <a:lnTo>
                    <a:pt x="1086" y="1446"/>
                  </a:lnTo>
                  <a:lnTo>
                    <a:pt x="1086" y="1440"/>
                  </a:lnTo>
                  <a:lnTo>
                    <a:pt x="1080" y="1416"/>
                  </a:lnTo>
                  <a:lnTo>
                    <a:pt x="1068" y="1404"/>
                  </a:lnTo>
                  <a:lnTo>
                    <a:pt x="1062" y="1398"/>
                  </a:lnTo>
                  <a:lnTo>
                    <a:pt x="1056" y="1398"/>
                  </a:lnTo>
                  <a:lnTo>
                    <a:pt x="1050" y="1398"/>
                  </a:lnTo>
                  <a:lnTo>
                    <a:pt x="1044" y="1398"/>
                  </a:lnTo>
                  <a:lnTo>
                    <a:pt x="1044" y="1392"/>
                  </a:lnTo>
                  <a:lnTo>
                    <a:pt x="1038" y="1392"/>
                  </a:lnTo>
                  <a:lnTo>
                    <a:pt x="1032" y="1392"/>
                  </a:lnTo>
                  <a:lnTo>
                    <a:pt x="1020" y="1386"/>
                  </a:lnTo>
                  <a:lnTo>
                    <a:pt x="1014" y="1386"/>
                  </a:lnTo>
                  <a:lnTo>
                    <a:pt x="1014" y="1380"/>
                  </a:lnTo>
                  <a:lnTo>
                    <a:pt x="1008" y="1380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62"/>
                  </a:lnTo>
                  <a:lnTo>
                    <a:pt x="984" y="1356"/>
                  </a:lnTo>
                  <a:lnTo>
                    <a:pt x="978" y="1356"/>
                  </a:lnTo>
                  <a:lnTo>
                    <a:pt x="972" y="1356"/>
                  </a:lnTo>
                  <a:lnTo>
                    <a:pt x="966" y="1356"/>
                  </a:lnTo>
                  <a:lnTo>
                    <a:pt x="966" y="1350"/>
                  </a:lnTo>
                  <a:lnTo>
                    <a:pt x="948" y="1350"/>
                  </a:lnTo>
                  <a:lnTo>
                    <a:pt x="936" y="1344"/>
                  </a:lnTo>
                  <a:lnTo>
                    <a:pt x="930" y="1338"/>
                  </a:lnTo>
                  <a:lnTo>
                    <a:pt x="918" y="1332"/>
                  </a:lnTo>
                  <a:lnTo>
                    <a:pt x="900" y="1326"/>
                  </a:lnTo>
                  <a:lnTo>
                    <a:pt x="864" y="1332"/>
                  </a:lnTo>
                  <a:lnTo>
                    <a:pt x="828" y="1332"/>
                  </a:lnTo>
                  <a:lnTo>
                    <a:pt x="792" y="1314"/>
                  </a:lnTo>
                  <a:lnTo>
                    <a:pt x="780" y="1314"/>
                  </a:lnTo>
                  <a:lnTo>
                    <a:pt x="780" y="1308"/>
                  </a:lnTo>
                  <a:lnTo>
                    <a:pt x="756" y="1296"/>
                  </a:lnTo>
                  <a:lnTo>
                    <a:pt x="756" y="1278"/>
                  </a:lnTo>
                  <a:lnTo>
                    <a:pt x="768" y="1278"/>
                  </a:lnTo>
                  <a:lnTo>
                    <a:pt x="774" y="1272"/>
                  </a:lnTo>
                  <a:lnTo>
                    <a:pt x="780" y="1266"/>
                  </a:lnTo>
                  <a:lnTo>
                    <a:pt x="786" y="1260"/>
                  </a:lnTo>
                  <a:lnTo>
                    <a:pt x="792" y="1254"/>
                  </a:lnTo>
                  <a:lnTo>
                    <a:pt x="798" y="1242"/>
                  </a:lnTo>
                  <a:lnTo>
                    <a:pt x="804" y="1242"/>
                  </a:lnTo>
                  <a:lnTo>
                    <a:pt x="804" y="1206"/>
                  </a:lnTo>
                  <a:lnTo>
                    <a:pt x="804" y="1182"/>
                  </a:lnTo>
                  <a:lnTo>
                    <a:pt x="804" y="1158"/>
                  </a:lnTo>
                  <a:lnTo>
                    <a:pt x="804" y="1134"/>
                  </a:lnTo>
                  <a:lnTo>
                    <a:pt x="798" y="1116"/>
                  </a:lnTo>
                  <a:lnTo>
                    <a:pt x="792" y="1092"/>
                  </a:lnTo>
                  <a:lnTo>
                    <a:pt x="786" y="1062"/>
                  </a:lnTo>
                  <a:lnTo>
                    <a:pt x="768" y="1032"/>
                  </a:lnTo>
                  <a:lnTo>
                    <a:pt x="762" y="1032"/>
                  </a:lnTo>
                  <a:lnTo>
                    <a:pt x="762" y="1020"/>
                  </a:lnTo>
                  <a:lnTo>
                    <a:pt x="762" y="1014"/>
                  </a:lnTo>
                  <a:lnTo>
                    <a:pt x="756" y="1008"/>
                  </a:lnTo>
                  <a:lnTo>
                    <a:pt x="750" y="1002"/>
                  </a:lnTo>
                  <a:lnTo>
                    <a:pt x="738" y="1002"/>
                  </a:lnTo>
                  <a:lnTo>
                    <a:pt x="738" y="990"/>
                  </a:lnTo>
                  <a:lnTo>
                    <a:pt x="726" y="990"/>
                  </a:lnTo>
                  <a:lnTo>
                    <a:pt x="726" y="978"/>
                  </a:lnTo>
                  <a:lnTo>
                    <a:pt x="732" y="972"/>
                  </a:lnTo>
                  <a:lnTo>
                    <a:pt x="732" y="966"/>
                  </a:lnTo>
                  <a:lnTo>
                    <a:pt x="726" y="966"/>
                  </a:lnTo>
                  <a:lnTo>
                    <a:pt x="732" y="948"/>
                  </a:lnTo>
                  <a:lnTo>
                    <a:pt x="726" y="942"/>
                  </a:lnTo>
                  <a:lnTo>
                    <a:pt x="726" y="930"/>
                  </a:lnTo>
                  <a:lnTo>
                    <a:pt x="720" y="924"/>
                  </a:lnTo>
                  <a:lnTo>
                    <a:pt x="714" y="912"/>
                  </a:lnTo>
                  <a:lnTo>
                    <a:pt x="714" y="882"/>
                  </a:lnTo>
                  <a:lnTo>
                    <a:pt x="714" y="870"/>
                  </a:lnTo>
                  <a:lnTo>
                    <a:pt x="714" y="858"/>
                  </a:lnTo>
                  <a:lnTo>
                    <a:pt x="714" y="846"/>
                  </a:lnTo>
                  <a:lnTo>
                    <a:pt x="708" y="822"/>
                  </a:lnTo>
                  <a:lnTo>
                    <a:pt x="702" y="798"/>
                  </a:lnTo>
                  <a:lnTo>
                    <a:pt x="696" y="792"/>
                  </a:lnTo>
                  <a:lnTo>
                    <a:pt x="684" y="726"/>
                  </a:lnTo>
                  <a:lnTo>
                    <a:pt x="678" y="666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66" y="600"/>
                  </a:lnTo>
                  <a:lnTo>
                    <a:pt x="660" y="594"/>
                  </a:lnTo>
                  <a:lnTo>
                    <a:pt x="654" y="594"/>
                  </a:lnTo>
                  <a:lnTo>
                    <a:pt x="636" y="582"/>
                  </a:lnTo>
                  <a:lnTo>
                    <a:pt x="630" y="576"/>
                  </a:lnTo>
                  <a:lnTo>
                    <a:pt x="624" y="576"/>
                  </a:lnTo>
                  <a:lnTo>
                    <a:pt x="618" y="570"/>
                  </a:lnTo>
                  <a:lnTo>
                    <a:pt x="612" y="564"/>
                  </a:lnTo>
                  <a:lnTo>
                    <a:pt x="606" y="558"/>
                  </a:lnTo>
                  <a:lnTo>
                    <a:pt x="606" y="564"/>
                  </a:lnTo>
                  <a:lnTo>
                    <a:pt x="600" y="564"/>
                  </a:lnTo>
                  <a:lnTo>
                    <a:pt x="594" y="558"/>
                  </a:lnTo>
                  <a:lnTo>
                    <a:pt x="594" y="540"/>
                  </a:lnTo>
                  <a:lnTo>
                    <a:pt x="594" y="528"/>
                  </a:lnTo>
                  <a:lnTo>
                    <a:pt x="594" y="516"/>
                  </a:lnTo>
                  <a:lnTo>
                    <a:pt x="594" y="510"/>
                  </a:lnTo>
                  <a:lnTo>
                    <a:pt x="594" y="492"/>
                  </a:lnTo>
                  <a:lnTo>
                    <a:pt x="594" y="456"/>
                  </a:lnTo>
                  <a:lnTo>
                    <a:pt x="588" y="414"/>
                  </a:lnTo>
                  <a:lnTo>
                    <a:pt x="588" y="408"/>
                  </a:lnTo>
                  <a:lnTo>
                    <a:pt x="582" y="396"/>
                  </a:lnTo>
                  <a:lnTo>
                    <a:pt x="582" y="384"/>
                  </a:lnTo>
                  <a:lnTo>
                    <a:pt x="582" y="372"/>
                  </a:lnTo>
                  <a:lnTo>
                    <a:pt x="564" y="372"/>
                  </a:lnTo>
                  <a:lnTo>
                    <a:pt x="552" y="366"/>
                  </a:lnTo>
                  <a:lnTo>
                    <a:pt x="552" y="372"/>
                  </a:lnTo>
                  <a:lnTo>
                    <a:pt x="498" y="372"/>
                  </a:lnTo>
                  <a:lnTo>
                    <a:pt x="498" y="366"/>
                  </a:lnTo>
                  <a:lnTo>
                    <a:pt x="474" y="360"/>
                  </a:lnTo>
                  <a:lnTo>
                    <a:pt x="456" y="354"/>
                  </a:lnTo>
                  <a:lnTo>
                    <a:pt x="438" y="348"/>
                  </a:lnTo>
                  <a:lnTo>
                    <a:pt x="426" y="354"/>
                  </a:lnTo>
                  <a:lnTo>
                    <a:pt x="408" y="360"/>
                  </a:lnTo>
                  <a:lnTo>
                    <a:pt x="378" y="360"/>
                  </a:lnTo>
                  <a:lnTo>
                    <a:pt x="378" y="354"/>
                  </a:lnTo>
                  <a:lnTo>
                    <a:pt x="378" y="348"/>
                  </a:lnTo>
                  <a:lnTo>
                    <a:pt x="378" y="342"/>
                  </a:lnTo>
                  <a:lnTo>
                    <a:pt x="390" y="330"/>
                  </a:lnTo>
                  <a:lnTo>
                    <a:pt x="396" y="312"/>
                  </a:lnTo>
                  <a:lnTo>
                    <a:pt x="396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8"/>
                  </a:lnTo>
                  <a:lnTo>
                    <a:pt x="372" y="234"/>
                  </a:lnTo>
                  <a:lnTo>
                    <a:pt x="354" y="234"/>
                  </a:lnTo>
                  <a:lnTo>
                    <a:pt x="342" y="246"/>
                  </a:lnTo>
                  <a:lnTo>
                    <a:pt x="330" y="252"/>
                  </a:lnTo>
                  <a:lnTo>
                    <a:pt x="318" y="252"/>
                  </a:lnTo>
                  <a:lnTo>
                    <a:pt x="276" y="258"/>
                  </a:lnTo>
                  <a:lnTo>
                    <a:pt x="276" y="264"/>
                  </a:lnTo>
                  <a:lnTo>
                    <a:pt x="252" y="270"/>
                  </a:lnTo>
                  <a:lnTo>
                    <a:pt x="240" y="270"/>
                  </a:lnTo>
                  <a:lnTo>
                    <a:pt x="228" y="276"/>
                  </a:lnTo>
                  <a:lnTo>
                    <a:pt x="210" y="282"/>
                  </a:lnTo>
                  <a:lnTo>
                    <a:pt x="198" y="288"/>
                  </a:lnTo>
                  <a:lnTo>
                    <a:pt x="186" y="294"/>
                  </a:lnTo>
                  <a:lnTo>
                    <a:pt x="174" y="330"/>
                  </a:lnTo>
                  <a:lnTo>
                    <a:pt x="162" y="342"/>
                  </a:lnTo>
                  <a:lnTo>
                    <a:pt x="156" y="354"/>
                  </a:lnTo>
                  <a:lnTo>
                    <a:pt x="150" y="360"/>
                  </a:lnTo>
                  <a:lnTo>
                    <a:pt x="150" y="366"/>
                  </a:lnTo>
                  <a:lnTo>
                    <a:pt x="108" y="372"/>
                  </a:lnTo>
                  <a:lnTo>
                    <a:pt x="60" y="378"/>
                  </a:lnTo>
                  <a:lnTo>
                    <a:pt x="42" y="378"/>
                  </a:lnTo>
                  <a:lnTo>
                    <a:pt x="12" y="378"/>
                  </a:lnTo>
                  <a:lnTo>
                    <a:pt x="6" y="378"/>
                  </a:lnTo>
                  <a:lnTo>
                    <a:pt x="0" y="366"/>
                  </a:lnTo>
                  <a:lnTo>
                    <a:pt x="12" y="360"/>
                  </a:lnTo>
                  <a:lnTo>
                    <a:pt x="24" y="348"/>
                  </a:lnTo>
                  <a:lnTo>
                    <a:pt x="30" y="342"/>
                  </a:lnTo>
                  <a:lnTo>
                    <a:pt x="36" y="330"/>
                  </a:lnTo>
                  <a:lnTo>
                    <a:pt x="72" y="300"/>
                  </a:lnTo>
                  <a:lnTo>
                    <a:pt x="78" y="294"/>
                  </a:lnTo>
                  <a:lnTo>
                    <a:pt x="78" y="288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96" y="270"/>
                  </a:lnTo>
                  <a:lnTo>
                    <a:pt x="102" y="264"/>
                  </a:lnTo>
                  <a:lnTo>
                    <a:pt x="108" y="258"/>
                  </a:lnTo>
                  <a:lnTo>
                    <a:pt x="114" y="246"/>
                  </a:lnTo>
                  <a:lnTo>
                    <a:pt x="120" y="240"/>
                  </a:lnTo>
                  <a:lnTo>
                    <a:pt x="126" y="234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0" y="210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86" y="174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22" y="138"/>
                  </a:lnTo>
                  <a:lnTo>
                    <a:pt x="234" y="132"/>
                  </a:lnTo>
                  <a:lnTo>
                    <a:pt x="246" y="126"/>
                  </a:lnTo>
                  <a:lnTo>
                    <a:pt x="246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88" y="102"/>
                  </a:lnTo>
                  <a:lnTo>
                    <a:pt x="300" y="96"/>
                  </a:lnTo>
                  <a:lnTo>
                    <a:pt x="306" y="90"/>
                  </a:lnTo>
                  <a:lnTo>
                    <a:pt x="318" y="90"/>
                  </a:lnTo>
                  <a:lnTo>
                    <a:pt x="324" y="84"/>
                  </a:lnTo>
                  <a:lnTo>
                    <a:pt x="348" y="72"/>
                  </a:lnTo>
                  <a:lnTo>
                    <a:pt x="354" y="72"/>
                  </a:lnTo>
                  <a:lnTo>
                    <a:pt x="384" y="66"/>
                  </a:lnTo>
                  <a:lnTo>
                    <a:pt x="390" y="66"/>
                  </a:lnTo>
                  <a:lnTo>
                    <a:pt x="396" y="66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66"/>
                  </a:lnTo>
                  <a:lnTo>
                    <a:pt x="438" y="66"/>
                  </a:lnTo>
                  <a:lnTo>
                    <a:pt x="468" y="66"/>
                  </a:lnTo>
                  <a:lnTo>
                    <a:pt x="480" y="66"/>
                  </a:lnTo>
                  <a:lnTo>
                    <a:pt x="486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22" y="60"/>
                  </a:lnTo>
                  <a:lnTo>
                    <a:pt x="534" y="54"/>
                  </a:lnTo>
                  <a:lnTo>
                    <a:pt x="564" y="42"/>
                  </a:lnTo>
                  <a:lnTo>
                    <a:pt x="570" y="42"/>
                  </a:lnTo>
                  <a:lnTo>
                    <a:pt x="582" y="36"/>
                  </a:lnTo>
                  <a:lnTo>
                    <a:pt x="588" y="36"/>
                  </a:lnTo>
                  <a:lnTo>
                    <a:pt x="600" y="30"/>
                  </a:lnTo>
                  <a:lnTo>
                    <a:pt x="606" y="30"/>
                  </a:lnTo>
                  <a:lnTo>
                    <a:pt x="618" y="24"/>
                  </a:lnTo>
                  <a:lnTo>
                    <a:pt x="642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72" y="12"/>
                  </a:lnTo>
                  <a:lnTo>
                    <a:pt x="696" y="12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50" y="6"/>
                  </a:lnTo>
                  <a:lnTo>
                    <a:pt x="768" y="6"/>
                  </a:lnTo>
                  <a:lnTo>
                    <a:pt x="774" y="6"/>
                  </a:lnTo>
                  <a:lnTo>
                    <a:pt x="786" y="6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6" y="6"/>
                  </a:lnTo>
                  <a:lnTo>
                    <a:pt x="846" y="6"/>
                  </a:lnTo>
                  <a:lnTo>
                    <a:pt x="852" y="0"/>
                  </a:lnTo>
                  <a:lnTo>
                    <a:pt x="876" y="0"/>
                  </a:lnTo>
                  <a:lnTo>
                    <a:pt x="876" y="6"/>
                  </a:lnTo>
                  <a:lnTo>
                    <a:pt x="888" y="0"/>
                  </a:lnTo>
                  <a:lnTo>
                    <a:pt x="900" y="0"/>
                  </a:lnTo>
                  <a:lnTo>
                    <a:pt x="906" y="0"/>
                  </a:lnTo>
                  <a:lnTo>
                    <a:pt x="912" y="0"/>
                  </a:lnTo>
                  <a:lnTo>
                    <a:pt x="948" y="0"/>
                  </a:lnTo>
                  <a:lnTo>
                    <a:pt x="954" y="0"/>
                  </a:lnTo>
                  <a:lnTo>
                    <a:pt x="972" y="0"/>
                  </a:lnTo>
                  <a:lnTo>
                    <a:pt x="978" y="0"/>
                  </a:lnTo>
                  <a:lnTo>
                    <a:pt x="996" y="0"/>
                  </a:lnTo>
                  <a:lnTo>
                    <a:pt x="1032" y="0"/>
                  </a:lnTo>
                  <a:lnTo>
                    <a:pt x="1044" y="0"/>
                  </a:lnTo>
                  <a:lnTo>
                    <a:pt x="1050" y="0"/>
                  </a:lnTo>
                  <a:lnTo>
                    <a:pt x="1056" y="6"/>
                  </a:lnTo>
                  <a:lnTo>
                    <a:pt x="1056" y="0"/>
                  </a:lnTo>
                  <a:lnTo>
                    <a:pt x="1074" y="0"/>
                  </a:lnTo>
                  <a:lnTo>
                    <a:pt x="1098" y="6"/>
                  </a:lnTo>
                  <a:lnTo>
                    <a:pt x="1116" y="6"/>
                  </a:lnTo>
                  <a:lnTo>
                    <a:pt x="1140" y="12"/>
                  </a:lnTo>
                  <a:lnTo>
                    <a:pt x="1152" y="12"/>
                  </a:lnTo>
                  <a:lnTo>
                    <a:pt x="1158" y="12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6" y="12"/>
                  </a:lnTo>
                  <a:lnTo>
                    <a:pt x="1194" y="18"/>
                  </a:lnTo>
                  <a:lnTo>
                    <a:pt x="1206" y="18"/>
                  </a:lnTo>
                  <a:lnTo>
                    <a:pt x="1242" y="36"/>
                  </a:lnTo>
                  <a:lnTo>
                    <a:pt x="1248" y="36"/>
                  </a:lnTo>
                  <a:lnTo>
                    <a:pt x="1254" y="36"/>
                  </a:lnTo>
                  <a:lnTo>
                    <a:pt x="1260" y="42"/>
                  </a:lnTo>
                  <a:lnTo>
                    <a:pt x="1272" y="48"/>
                  </a:lnTo>
                  <a:lnTo>
                    <a:pt x="1278" y="48"/>
                  </a:lnTo>
                  <a:lnTo>
                    <a:pt x="1284" y="48"/>
                  </a:lnTo>
                  <a:lnTo>
                    <a:pt x="1290" y="54"/>
                  </a:lnTo>
                  <a:lnTo>
                    <a:pt x="1308" y="60"/>
                  </a:lnTo>
                  <a:lnTo>
                    <a:pt x="1326" y="60"/>
                  </a:lnTo>
                  <a:lnTo>
                    <a:pt x="1338" y="66"/>
                  </a:lnTo>
                  <a:lnTo>
                    <a:pt x="1344" y="66"/>
                  </a:lnTo>
                  <a:lnTo>
                    <a:pt x="1350" y="66"/>
                  </a:lnTo>
                  <a:lnTo>
                    <a:pt x="1356" y="66"/>
                  </a:lnTo>
                  <a:lnTo>
                    <a:pt x="1362" y="72"/>
                  </a:lnTo>
                  <a:lnTo>
                    <a:pt x="1368" y="72"/>
                  </a:lnTo>
                  <a:lnTo>
                    <a:pt x="1380" y="72"/>
                  </a:lnTo>
                  <a:lnTo>
                    <a:pt x="1386" y="72"/>
                  </a:lnTo>
                  <a:lnTo>
                    <a:pt x="1422" y="84"/>
                  </a:lnTo>
                  <a:lnTo>
                    <a:pt x="1428" y="84"/>
                  </a:lnTo>
                  <a:lnTo>
                    <a:pt x="1446" y="90"/>
                  </a:lnTo>
                  <a:lnTo>
                    <a:pt x="1458" y="102"/>
                  </a:lnTo>
                  <a:lnTo>
                    <a:pt x="1494" y="126"/>
                  </a:lnTo>
                  <a:lnTo>
                    <a:pt x="1500" y="132"/>
                  </a:lnTo>
                  <a:lnTo>
                    <a:pt x="1512" y="138"/>
                  </a:lnTo>
                  <a:lnTo>
                    <a:pt x="1512" y="144"/>
                  </a:lnTo>
                  <a:lnTo>
                    <a:pt x="1518" y="150"/>
                  </a:lnTo>
                  <a:lnTo>
                    <a:pt x="1530" y="156"/>
                  </a:lnTo>
                  <a:lnTo>
                    <a:pt x="1530" y="162"/>
                  </a:lnTo>
                  <a:lnTo>
                    <a:pt x="1548" y="168"/>
                  </a:lnTo>
                  <a:lnTo>
                    <a:pt x="1566" y="180"/>
                  </a:lnTo>
                  <a:lnTo>
                    <a:pt x="1578" y="186"/>
                  </a:lnTo>
                  <a:lnTo>
                    <a:pt x="1578" y="180"/>
                  </a:lnTo>
                  <a:lnTo>
                    <a:pt x="1584" y="186"/>
                  </a:lnTo>
                  <a:lnTo>
                    <a:pt x="1584" y="174"/>
                  </a:lnTo>
                  <a:lnTo>
                    <a:pt x="1590" y="174"/>
                  </a:lnTo>
                  <a:lnTo>
                    <a:pt x="1590" y="180"/>
                  </a:lnTo>
                  <a:lnTo>
                    <a:pt x="1596" y="180"/>
                  </a:lnTo>
                  <a:lnTo>
                    <a:pt x="1596" y="174"/>
                  </a:lnTo>
                  <a:lnTo>
                    <a:pt x="1602" y="174"/>
                  </a:lnTo>
                  <a:lnTo>
                    <a:pt x="1608" y="174"/>
                  </a:lnTo>
                  <a:lnTo>
                    <a:pt x="1614" y="180"/>
                  </a:lnTo>
                  <a:lnTo>
                    <a:pt x="1620" y="174"/>
                  </a:lnTo>
                  <a:lnTo>
                    <a:pt x="1614" y="168"/>
                  </a:lnTo>
                  <a:lnTo>
                    <a:pt x="1614" y="162"/>
                  </a:lnTo>
                  <a:lnTo>
                    <a:pt x="1620" y="162"/>
                  </a:lnTo>
                  <a:lnTo>
                    <a:pt x="1626" y="162"/>
                  </a:lnTo>
                  <a:lnTo>
                    <a:pt x="1632" y="162"/>
                  </a:lnTo>
                  <a:lnTo>
                    <a:pt x="1638" y="168"/>
                  </a:lnTo>
                  <a:lnTo>
                    <a:pt x="1644" y="168"/>
                  </a:lnTo>
                  <a:lnTo>
                    <a:pt x="1650" y="174"/>
                  </a:lnTo>
                  <a:lnTo>
                    <a:pt x="1656" y="168"/>
                  </a:lnTo>
                  <a:lnTo>
                    <a:pt x="1668" y="168"/>
                  </a:lnTo>
                  <a:lnTo>
                    <a:pt x="1674" y="174"/>
                  </a:lnTo>
                  <a:lnTo>
                    <a:pt x="1674" y="180"/>
                  </a:lnTo>
                  <a:lnTo>
                    <a:pt x="1674" y="186"/>
                  </a:lnTo>
                  <a:lnTo>
                    <a:pt x="1680" y="186"/>
                  </a:lnTo>
                  <a:lnTo>
                    <a:pt x="1680" y="192"/>
                  </a:lnTo>
                  <a:lnTo>
                    <a:pt x="1686" y="192"/>
                  </a:lnTo>
                  <a:lnTo>
                    <a:pt x="1686" y="186"/>
                  </a:lnTo>
                  <a:lnTo>
                    <a:pt x="1680" y="186"/>
                  </a:lnTo>
                  <a:lnTo>
                    <a:pt x="1686" y="180"/>
                  </a:lnTo>
                  <a:lnTo>
                    <a:pt x="1692" y="180"/>
                  </a:lnTo>
                  <a:lnTo>
                    <a:pt x="1698" y="180"/>
                  </a:lnTo>
                  <a:lnTo>
                    <a:pt x="1704" y="180"/>
                  </a:lnTo>
                  <a:lnTo>
                    <a:pt x="1704" y="186"/>
                  </a:lnTo>
                  <a:lnTo>
                    <a:pt x="1710" y="186"/>
                  </a:lnTo>
                  <a:lnTo>
                    <a:pt x="1716" y="186"/>
                  </a:lnTo>
                  <a:lnTo>
                    <a:pt x="1716" y="192"/>
                  </a:lnTo>
                  <a:lnTo>
                    <a:pt x="1716" y="198"/>
                  </a:lnTo>
                  <a:lnTo>
                    <a:pt x="1722" y="192"/>
                  </a:lnTo>
                  <a:lnTo>
                    <a:pt x="1722" y="186"/>
                  </a:lnTo>
                  <a:lnTo>
                    <a:pt x="1728" y="192"/>
                  </a:lnTo>
                  <a:lnTo>
                    <a:pt x="1734" y="192"/>
                  </a:lnTo>
                  <a:lnTo>
                    <a:pt x="1734" y="186"/>
                  </a:lnTo>
                  <a:lnTo>
                    <a:pt x="1740" y="186"/>
                  </a:lnTo>
                  <a:lnTo>
                    <a:pt x="1740" y="192"/>
                  </a:lnTo>
                  <a:lnTo>
                    <a:pt x="1746" y="192"/>
                  </a:lnTo>
                  <a:lnTo>
                    <a:pt x="1758" y="192"/>
                  </a:lnTo>
                  <a:lnTo>
                    <a:pt x="1764" y="192"/>
                  </a:lnTo>
                  <a:lnTo>
                    <a:pt x="1764" y="198"/>
                  </a:lnTo>
                  <a:lnTo>
                    <a:pt x="1758" y="204"/>
                  </a:lnTo>
                  <a:lnTo>
                    <a:pt x="1752" y="210"/>
                  </a:lnTo>
                  <a:lnTo>
                    <a:pt x="1746" y="216"/>
                  </a:lnTo>
                  <a:lnTo>
                    <a:pt x="1746" y="222"/>
                  </a:lnTo>
                  <a:lnTo>
                    <a:pt x="1734" y="228"/>
                  </a:lnTo>
                  <a:lnTo>
                    <a:pt x="1734" y="234"/>
                  </a:lnTo>
                  <a:lnTo>
                    <a:pt x="1734" y="258"/>
                  </a:lnTo>
                  <a:lnTo>
                    <a:pt x="1740" y="330"/>
                  </a:lnTo>
                  <a:lnTo>
                    <a:pt x="1746" y="372"/>
                  </a:lnTo>
                  <a:lnTo>
                    <a:pt x="1788" y="426"/>
                  </a:lnTo>
                  <a:lnTo>
                    <a:pt x="1806" y="438"/>
                  </a:lnTo>
                  <a:lnTo>
                    <a:pt x="1794" y="480"/>
                  </a:lnTo>
                  <a:lnTo>
                    <a:pt x="1770" y="516"/>
                  </a:lnTo>
                  <a:lnTo>
                    <a:pt x="1746" y="546"/>
                  </a:lnTo>
                  <a:lnTo>
                    <a:pt x="1716" y="570"/>
                  </a:lnTo>
                  <a:lnTo>
                    <a:pt x="1680" y="594"/>
                  </a:lnTo>
                  <a:lnTo>
                    <a:pt x="1668" y="630"/>
                  </a:lnTo>
                  <a:lnTo>
                    <a:pt x="1680" y="684"/>
                  </a:lnTo>
                  <a:lnTo>
                    <a:pt x="1686" y="756"/>
                  </a:lnTo>
                  <a:lnTo>
                    <a:pt x="1662" y="870"/>
                  </a:lnTo>
                  <a:lnTo>
                    <a:pt x="1656" y="888"/>
                  </a:lnTo>
                  <a:lnTo>
                    <a:pt x="1650" y="972"/>
                  </a:lnTo>
                  <a:lnTo>
                    <a:pt x="1656" y="978"/>
                  </a:lnTo>
                  <a:lnTo>
                    <a:pt x="1650" y="984"/>
                  </a:lnTo>
                  <a:lnTo>
                    <a:pt x="1650" y="990"/>
                  </a:lnTo>
                  <a:lnTo>
                    <a:pt x="1650" y="1002"/>
                  </a:lnTo>
                  <a:lnTo>
                    <a:pt x="1656" y="1008"/>
                  </a:lnTo>
                  <a:lnTo>
                    <a:pt x="1656" y="1014"/>
                  </a:lnTo>
                  <a:lnTo>
                    <a:pt x="1662" y="1026"/>
                  </a:lnTo>
                  <a:lnTo>
                    <a:pt x="1650" y="1032"/>
                  </a:lnTo>
                  <a:lnTo>
                    <a:pt x="1638" y="1044"/>
                  </a:lnTo>
                  <a:lnTo>
                    <a:pt x="1626" y="1080"/>
                  </a:lnTo>
                  <a:lnTo>
                    <a:pt x="1614" y="1116"/>
                  </a:lnTo>
                  <a:lnTo>
                    <a:pt x="1614" y="1128"/>
                  </a:lnTo>
                  <a:lnTo>
                    <a:pt x="1626" y="1134"/>
                  </a:lnTo>
                  <a:lnTo>
                    <a:pt x="1644" y="1134"/>
                  </a:lnTo>
                  <a:lnTo>
                    <a:pt x="1662" y="1134"/>
                  </a:lnTo>
                  <a:lnTo>
                    <a:pt x="1680" y="1140"/>
                  </a:lnTo>
                  <a:lnTo>
                    <a:pt x="1698" y="1170"/>
                  </a:lnTo>
                  <a:lnTo>
                    <a:pt x="1704" y="1194"/>
                  </a:lnTo>
                  <a:lnTo>
                    <a:pt x="1692" y="1206"/>
                  </a:lnTo>
                  <a:lnTo>
                    <a:pt x="1662" y="1242"/>
                  </a:lnTo>
                  <a:lnTo>
                    <a:pt x="1632" y="1266"/>
                  </a:lnTo>
                  <a:lnTo>
                    <a:pt x="1620" y="1314"/>
                  </a:lnTo>
                  <a:lnTo>
                    <a:pt x="1584" y="1356"/>
                  </a:lnTo>
                  <a:lnTo>
                    <a:pt x="1578" y="1356"/>
                  </a:lnTo>
                  <a:lnTo>
                    <a:pt x="1578" y="1362"/>
                  </a:lnTo>
                  <a:lnTo>
                    <a:pt x="1572" y="1410"/>
                  </a:lnTo>
                  <a:lnTo>
                    <a:pt x="1584" y="1452"/>
                  </a:lnTo>
                  <a:lnTo>
                    <a:pt x="1608" y="1476"/>
                  </a:lnTo>
                  <a:lnTo>
                    <a:pt x="1596" y="1476"/>
                  </a:lnTo>
                  <a:lnTo>
                    <a:pt x="1584" y="1482"/>
                  </a:lnTo>
                  <a:lnTo>
                    <a:pt x="1560" y="1482"/>
                  </a:lnTo>
                  <a:lnTo>
                    <a:pt x="1536" y="1482"/>
                  </a:lnTo>
                  <a:lnTo>
                    <a:pt x="1524" y="1482"/>
                  </a:lnTo>
                  <a:lnTo>
                    <a:pt x="1506" y="1500"/>
                  </a:lnTo>
                  <a:lnTo>
                    <a:pt x="1482" y="1530"/>
                  </a:lnTo>
                  <a:lnTo>
                    <a:pt x="1452" y="1542"/>
                  </a:lnTo>
                  <a:lnTo>
                    <a:pt x="1446" y="1542"/>
                  </a:lnTo>
                  <a:lnTo>
                    <a:pt x="1440" y="1542"/>
                  </a:lnTo>
                  <a:lnTo>
                    <a:pt x="1440" y="1548"/>
                  </a:lnTo>
                  <a:lnTo>
                    <a:pt x="1434" y="1548"/>
                  </a:lnTo>
                  <a:lnTo>
                    <a:pt x="1428" y="1548"/>
                  </a:lnTo>
                  <a:lnTo>
                    <a:pt x="1428" y="1554"/>
                  </a:lnTo>
                  <a:lnTo>
                    <a:pt x="1422" y="1560"/>
                  </a:lnTo>
                  <a:lnTo>
                    <a:pt x="1416" y="1560"/>
                  </a:lnTo>
                  <a:lnTo>
                    <a:pt x="1410" y="1566"/>
                  </a:lnTo>
                  <a:lnTo>
                    <a:pt x="1410" y="1560"/>
                  </a:lnTo>
                  <a:lnTo>
                    <a:pt x="1404" y="1560"/>
                  </a:lnTo>
                  <a:lnTo>
                    <a:pt x="1392" y="1560"/>
                  </a:lnTo>
                  <a:lnTo>
                    <a:pt x="1386" y="1560"/>
                  </a:lnTo>
                  <a:lnTo>
                    <a:pt x="1380" y="1566"/>
                  </a:lnTo>
                  <a:lnTo>
                    <a:pt x="1374" y="1560"/>
                  </a:lnTo>
                  <a:lnTo>
                    <a:pt x="1368" y="1566"/>
                  </a:lnTo>
                  <a:lnTo>
                    <a:pt x="1362" y="1566"/>
                  </a:lnTo>
                  <a:lnTo>
                    <a:pt x="1362" y="1572"/>
                  </a:lnTo>
                  <a:lnTo>
                    <a:pt x="1356" y="1572"/>
                  </a:lnTo>
                  <a:lnTo>
                    <a:pt x="1356" y="1578"/>
                  </a:lnTo>
                  <a:lnTo>
                    <a:pt x="1350" y="1578"/>
                  </a:lnTo>
                  <a:lnTo>
                    <a:pt x="1350" y="1572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32" y="1584"/>
                  </a:lnTo>
                  <a:lnTo>
                    <a:pt x="1326" y="1590"/>
                  </a:lnTo>
                  <a:lnTo>
                    <a:pt x="1320" y="1584"/>
                  </a:lnTo>
                  <a:lnTo>
                    <a:pt x="1314" y="1590"/>
                  </a:lnTo>
                  <a:lnTo>
                    <a:pt x="1308" y="1596"/>
                  </a:lnTo>
                  <a:lnTo>
                    <a:pt x="1302" y="1596"/>
                  </a:lnTo>
                  <a:lnTo>
                    <a:pt x="1296" y="1596"/>
                  </a:lnTo>
                  <a:lnTo>
                    <a:pt x="1290" y="1596"/>
                  </a:lnTo>
                  <a:lnTo>
                    <a:pt x="1284" y="1596"/>
                  </a:lnTo>
                  <a:lnTo>
                    <a:pt x="1278" y="1602"/>
                  </a:lnTo>
                  <a:lnTo>
                    <a:pt x="1266" y="1602"/>
                  </a:lnTo>
                  <a:lnTo>
                    <a:pt x="1272" y="1608"/>
                  </a:lnTo>
                  <a:lnTo>
                    <a:pt x="1278" y="1608"/>
                  </a:lnTo>
                  <a:lnTo>
                    <a:pt x="1284" y="1608"/>
                  </a:lnTo>
                  <a:lnTo>
                    <a:pt x="1290" y="1614"/>
                  </a:lnTo>
                  <a:lnTo>
                    <a:pt x="1296" y="1620"/>
                  </a:lnTo>
                  <a:lnTo>
                    <a:pt x="1302" y="1626"/>
                  </a:lnTo>
                  <a:lnTo>
                    <a:pt x="1308" y="1632"/>
                  </a:lnTo>
                  <a:lnTo>
                    <a:pt x="1314" y="1638"/>
                  </a:lnTo>
                  <a:lnTo>
                    <a:pt x="1314" y="1644"/>
                  </a:lnTo>
                  <a:lnTo>
                    <a:pt x="1320" y="1644"/>
                  </a:lnTo>
                  <a:lnTo>
                    <a:pt x="1320" y="1650"/>
                  </a:lnTo>
                  <a:lnTo>
                    <a:pt x="1326" y="1656"/>
                  </a:lnTo>
                  <a:lnTo>
                    <a:pt x="1332" y="1668"/>
                  </a:lnTo>
                  <a:lnTo>
                    <a:pt x="1338" y="1680"/>
                  </a:lnTo>
                  <a:lnTo>
                    <a:pt x="1338" y="1698"/>
                  </a:lnTo>
                  <a:lnTo>
                    <a:pt x="1350" y="1710"/>
                  </a:lnTo>
                  <a:lnTo>
                    <a:pt x="1350" y="1716"/>
                  </a:lnTo>
                  <a:lnTo>
                    <a:pt x="1350" y="1722"/>
                  </a:lnTo>
                  <a:lnTo>
                    <a:pt x="1350" y="1728"/>
                  </a:lnTo>
                  <a:lnTo>
                    <a:pt x="1356" y="1728"/>
                  </a:lnTo>
                  <a:lnTo>
                    <a:pt x="1356" y="1734"/>
                  </a:lnTo>
                  <a:lnTo>
                    <a:pt x="1350" y="1734"/>
                  </a:lnTo>
                  <a:lnTo>
                    <a:pt x="1344" y="1740"/>
                  </a:lnTo>
                  <a:lnTo>
                    <a:pt x="1338" y="1740"/>
                  </a:lnTo>
                  <a:lnTo>
                    <a:pt x="1332" y="1746"/>
                  </a:lnTo>
                  <a:lnTo>
                    <a:pt x="1326" y="1746"/>
                  </a:lnTo>
                  <a:lnTo>
                    <a:pt x="1326" y="1752"/>
                  </a:lnTo>
                  <a:lnTo>
                    <a:pt x="1320" y="1752"/>
                  </a:lnTo>
                  <a:lnTo>
                    <a:pt x="1320" y="1758"/>
                  </a:lnTo>
                  <a:lnTo>
                    <a:pt x="1314" y="1758"/>
                  </a:lnTo>
                  <a:lnTo>
                    <a:pt x="1308" y="1758"/>
                  </a:lnTo>
                  <a:lnTo>
                    <a:pt x="1302" y="1758"/>
                  </a:lnTo>
                  <a:lnTo>
                    <a:pt x="1296" y="1758"/>
                  </a:lnTo>
                  <a:lnTo>
                    <a:pt x="1290" y="1764"/>
                  </a:lnTo>
                  <a:lnTo>
                    <a:pt x="1284" y="1770"/>
                  </a:lnTo>
                  <a:lnTo>
                    <a:pt x="1278" y="1770"/>
                  </a:lnTo>
                  <a:lnTo>
                    <a:pt x="1272" y="1770"/>
                  </a:lnTo>
                  <a:lnTo>
                    <a:pt x="1266" y="1770"/>
                  </a:lnTo>
                  <a:lnTo>
                    <a:pt x="1266" y="1776"/>
                  </a:lnTo>
                  <a:lnTo>
                    <a:pt x="1260" y="1776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4" name="Freeform 39">
              <a:extLst>
                <a:ext uri="{FF2B5EF4-FFF2-40B4-BE49-F238E27FC236}">
                  <a16:creationId xmlns:a16="http://schemas.microsoft.com/office/drawing/2014/main" id="{E01CDA8B-32C7-421A-B23E-968CAC7F78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2974" y="1759680"/>
              <a:ext cx="825155" cy="700024"/>
            </a:xfrm>
            <a:custGeom>
              <a:avLst/>
              <a:gdLst>
                <a:gd name="T0" fmla="*/ 60 w 1554"/>
                <a:gd name="T1" fmla="*/ 86 h 1320"/>
                <a:gd name="T2" fmla="*/ 66 w 1554"/>
                <a:gd name="T3" fmla="*/ 80 h 1320"/>
                <a:gd name="T4" fmla="*/ 61 w 1554"/>
                <a:gd name="T5" fmla="*/ 73 h 1320"/>
                <a:gd name="T6" fmla="*/ 57 w 1554"/>
                <a:gd name="T7" fmla="*/ 67 h 1320"/>
                <a:gd name="T8" fmla="*/ 60 w 1554"/>
                <a:gd name="T9" fmla="*/ 59 h 1320"/>
                <a:gd name="T10" fmla="*/ 56 w 1554"/>
                <a:gd name="T11" fmla="*/ 55 h 1320"/>
                <a:gd name="T12" fmla="*/ 45 w 1554"/>
                <a:gd name="T13" fmla="*/ 53 h 1320"/>
                <a:gd name="T14" fmla="*/ 42 w 1554"/>
                <a:gd name="T15" fmla="*/ 41 h 1320"/>
                <a:gd name="T16" fmla="*/ 37 w 1554"/>
                <a:gd name="T17" fmla="*/ 39 h 1320"/>
                <a:gd name="T18" fmla="*/ 31 w 1554"/>
                <a:gd name="T19" fmla="*/ 44 h 1320"/>
                <a:gd name="T20" fmla="*/ 37 w 1554"/>
                <a:gd name="T21" fmla="*/ 35 h 1320"/>
                <a:gd name="T22" fmla="*/ 30 w 1554"/>
                <a:gd name="T23" fmla="*/ 23 h 1320"/>
                <a:gd name="T24" fmla="*/ 21 w 1554"/>
                <a:gd name="T25" fmla="*/ 23 h 1320"/>
                <a:gd name="T26" fmla="*/ 15 w 1554"/>
                <a:gd name="T27" fmla="*/ 27 h 1320"/>
                <a:gd name="T28" fmla="*/ 11 w 1554"/>
                <a:gd name="T29" fmla="*/ 32 h 1320"/>
                <a:gd name="T30" fmla="*/ 6 w 1554"/>
                <a:gd name="T31" fmla="*/ 22 h 1320"/>
                <a:gd name="T32" fmla="*/ 3 w 1554"/>
                <a:gd name="T33" fmla="*/ 11 h 1320"/>
                <a:gd name="T34" fmla="*/ 24 w 1554"/>
                <a:gd name="T35" fmla="*/ 12 h 1320"/>
                <a:gd name="T36" fmla="*/ 33 w 1554"/>
                <a:gd name="T37" fmla="*/ 19 h 1320"/>
                <a:gd name="T38" fmla="*/ 49 w 1554"/>
                <a:gd name="T39" fmla="*/ 12 h 1320"/>
                <a:gd name="T40" fmla="*/ 58 w 1554"/>
                <a:gd name="T41" fmla="*/ 10 h 1320"/>
                <a:gd name="T42" fmla="*/ 68 w 1554"/>
                <a:gd name="T43" fmla="*/ 11 h 1320"/>
                <a:gd name="T44" fmla="*/ 79 w 1554"/>
                <a:gd name="T45" fmla="*/ 12 h 1320"/>
                <a:gd name="T46" fmla="*/ 96 w 1554"/>
                <a:gd name="T47" fmla="*/ 11 h 1320"/>
                <a:gd name="T48" fmla="*/ 107 w 1554"/>
                <a:gd name="T49" fmla="*/ 2 h 1320"/>
                <a:gd name="T50" fmla="*/ 117 w 1554"/>
                <a:gd name="T51" fmla="*/ 8 h 1320"/>
                <a:gd name="T52" fmla="*/ 126 w 1554"/>
                <a:gd name="T53" fmla="*/ 12 h 1320"/>
                <a:gd name="T54" fmla="*/ 134 w 1554"/>
                <a:gd name="T55" fmla="*/ 24 h 1320"/>
                <a:gd name="T56" fmla="*/ 133 w 1554"/>
                <a:gd name="T57" fmla="*/ 29 h 1320"/>
                <a:gd name="T58" fmla="*/ 129 w 1554"/>
                <a:gd name="T59" fmla="*/ 31 h 1320"/>
                <a:gd name="T60" fmla="*/ 125 w 1554"/>
                <a:gd name="T61" fmla="*/ 32 h 1320"/>
                <a:gd name="T62" fmla="*/ 115 w 1554"/>
                <a:gd name="T63" fmla="*/ 34 h 1320"/>
                <a:gd name="T64" fmla="*/ 113 w 1554"/>
                <a:gd name="T65" fmla="*/ 44 h 1320"/>
                <a:gd name="T66" fmla="*/ 111 w 1554"/>
                <a:gd name="T67" fmla="*/ 54 h 1320"/>
                <a:gd name="T68" fmla="*/ 107 w 1554"/>
                <a:gd name="T69" fmla="*/ 56 h 1320"/>
                <a:gd name="T70" fmla="*/ 102 w 1554"/>
                <a:gd name="T71" fmla="*/ 58 h 1320"/>
                <a:gd name="T72" fmla="*/ 99 w 1554"/>
                <a:gd name="T73" fmla="*/ 60 h 1320"/>
                <a:gd name="T74" fmla="*/ 93 w 1554"/>
                <a:gd name="T75" fmla="*/ 62 h 1320"/>
                <a:gd name="T76" fmla="*/ 87 w 1554"/>
                <a:gd name="T77" fmla="*/ 64 h 1320"/>
                <a:gd name="T78" fmla="*/ 84 w 1554"/>
                <a:gd name="T79" fmla="*/ 65 h 1320"/>
                <a:gd name="T80" fmla="*/ 81 w 1554"/>
                <a:gd name="T81" fmla="*/ 69 h 1320"/>
                <a:gd name="T82" fmla="*/ 83 w 1554"/>
                <a:gd name="T83" fmla="*/ 72 h 1320"/>
                <a:gd name="T84" fmla="*/ 92 w 1554"/>
                <a:gd name="T85" fmla="*/ 73 h 1320"/>
                <a:gd name="T86" fmla="*/ 93 w 1554"/>
                <a:gd name="T87" fmla="*/ 87 h 1320"/>
                <a:gd name="T88" fmla="*/ 104 w 1554"/>
                <a:gd name="T89" fmla="*/ 98 h 1320"/>
                <a:gd name="T90" fmla="*/ 108 w 1554"/>
                <a:gd name="T91" fmla="*/ 98 h 1320"/>
                <a:gd name="T92" fmla="*/ 112 w 1554"/>
                <a:gd name="T93" fmla="*/ 100 h 1320"/>
                <a:gd name="T94" fmla="*/ 118 w 1554"/>
                <a:gd name="T95" fmla="*/ 100 h 1320"/>
                <a:gd name="T96" fmla="*/ 122 w 1554"/>
                <a:gd name="T97" fmla="*/ 102 h 1320"/>
                <a:gd name="T98" fmla="*/ 118 w 1554"/>
                <a:gd name="T99" fmla="*/ 105 h 1320"/>
                <a:gd name="T100" fmla="*/ 114 w 1554"/>
                <a:gd name="T101" fmla="*/ 107 h 1320"/>
                <a:gd name="T102" fmla="*/ 113 w 1554"/>
                <a:gd name="T103" fmla="*/ 113 h 1320"/>
                <a:gd name="T104" fmla="*/ 104 w 1554"/>
                <a:gd name="T105" fmla="*/ 113 h 1320"/>
                <a:gd name="T106" fmla="*/ 93 w 1554"/>
                <a:gd name="T107" fmla="*/ 109 h 1320"/>
                <a:gd name="T108" fmla="*/ 96 w 1554"/>
                <a:gd name="T109" fmla="*/ 103 h 1320"/>
                <a:gd name="T110" fmla="*/ 95 w 1554"/>
                <a:gd name="T111" fmla="*/ 97 h 1320"/>
                <a:gd name="T112" fmla="*/ 87 w 1554"/>
                <a:gd name="T113" fmla="*/ 98 h 1320"/>
                <a:gd name="T114" fmla="*/ 81 w 1554"/>
                <a:gd name="T115" fmla="*/ 98 h 1320"/>
                <a:gd name="T116" fmla="*/ 78 w 1554"/>
                <a:gd name="T117" fmla="*/ 93 h 1320"/>
                <a:gd name="T118" fmla="*/ 65 w 1554"/>
                <a:gd name="T119" fmla="*/ 92 h 1320"/>
                <a:gd name="T120" fmla="*/ 59 w 1554"/>
                <a:gd name="T121" fmla="*/ 92 h 13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54"/>
                <a:gd name="T184" fmla="*/ 0 h 1320"/>
                <a:gd name="T185" fmla="*/ 1554 w 1554"/>
                <a:gd name="T186" fmla="*/ 1320 h 132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54" h="1320">
                  <a:moveTo>
                    <a:pt x="684" y="1068"/>
                  </a:moveTo>
                  <a:lnTo>
                    <a:pt x="684" y="1062"/>
                  </a:lnTo>
                  <a:lnTo>
                    <a:pt x="690" y="1056"/>
                  </a:lnTo>
                  <a:lnTo>
                    <a:pt x="690" y="1050"/>
                  </a:lnTo>
                  <a:lnTo>
                    <a:pt x="690" y="1044"/>
                  </a:lnTo>
                  <a:lnTo>
                    <a:pt x="690" y="1038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14"/>
                  </a:lnTo>
                  <a:lnTo>
                    <a:pt x="690" y="1008"/>
                  </a:lnTo>
                  <a:lnTo>
                    <a:pt x="696" y="996"/>
                  </a:lnTo>
                  <a:lnTo>
                    <a:pt x="714" y="996"/>
                  </a:lnTo>
                  <a:lnTo>
                    <a:pt x="714" y="990"/>
                  </a:lnTo>
                  <a:lnTo>
                    <a:pt x="732" y="984"/>
                  </a:lnTo>
                  <a:lnTo>
                    <a:pt x="744" y="978"/>
                  </a:lnTo>
                  <a:lnTo>
                    <a:pt x="762" y="966"/>
                  </a:lnTo>
                  <a:lnTo>
                    <a:pt x="762" y="960"/>
                  </a:lnTo>
                  <a:lnTo>
                    <a:pt x="768" y="954"/>
                  </a:lnTo>
                  <a:lnTo>
                    <a:pt x="774" y="948"/>
                  </a:lnTo>
                  <a:lnTo>
                    <a:pt x="774" y="942"/>
                  </a:lnTo>
                  <a:lnTo>
                    <a:pt x="774" y="924"/>
                  </a:lnTo>
                  <a:lnTo>
                    <a:pt x="768" y="918"/>
                  </a:lnTo>
                  <a:lnTo>
                    <a:pt x="756" y="918"/>
                  </a:lnTo>
                  <a:lnTo>
                    <a:pt x="744" y="918"/>
                  </a:lnTo>
                  <a:lnTo>
                    <a:pt x="732" y="924"/>
                  </a:lnTo>
                  <a:lnTo>
                    <a:pt x="726" y="912"/>
                  </a:lnTo>
                  <a:lnTo>
                    <a:pt x="720" y="912"/>
                  </a:lnTo>
                  <a:lnTo>
                    <a:pt x="720" y="900"/>
                  </a:lnTo>
                  <a:lnTo>
                    <a:pt x="720" y="870"/>
                  </a:lnTo>
                  <a:lnTo>
                    <a:pt x="696" y="876"/>
                  </a:lnTo>
                  <a:lnTo>
                    <a:pt x="690" y="852"/>
                  </a:lnTo>
                  <a:lnTo>
                    <a:pt x="702" y="852"/>
                  </a:lnTo>
                  <a:lnTo>
                    <a:pt x="702" y="840"/>
                  </a:lnTo>
                  <a:lnTo>
                    <a:pt x="708" y="834"/>
                  </a:lnTo>
                  <a:lnTo>
                    <a:pt x="702" y="822"/>
                  </a:lnTo>
                  <a:lnTo>
                    <a:pt x="660" y="822"/>
                  </a:lnTo>
                  <a:lnTo>
                    <a:pt x="654" y="822"/>
                  </a:lnTo>
                  <a:lnTo>
                    <a:pt x="642" y="822"/>
                  </a:lnTo>
                  <a:lnTo>
                    <a:pt x="642" y="810"/>
                  </a:lnTo>
                  <a:lnTo>
                    <a:pt x="642" y="798"/>
                  </a:lnTo>
                  <a:lnTo>
                    <a:pt x="642" y="792"/>
                  </a:lnTo>
                  <a:lnTo>
                    <a:pt x="648" y="780"/>
                  </a:lnTo>
                  <a:lnTo>
                    <a:pt x="654" y="774"/>
                  </a:lnTo>
                  <a:lnTo>
                    <a:pt x="660" y="774"/>
                  </a:lnTo>
                  <a:lnTo>
                    <a:pt x="672" y="762"/>
                  </a:lnTo>
                  <a:lnTo>
                    <a:pt x="672" y="756"/>
                  </a:lnTo>
                  <a:lnTo>
                    <a:pt x="678" y="750"/>
                  </a:lnTo>
                  <a:lnTo>
                    <a:pt x="684" y="750"/>
                  </a:lnTo>
                  <a:lnTo>
                    <a:pt x="690" y="744"/>
                  </a:lnTo>
                  <a:lnTo>
                    <a:pt x="696" y="732"/>
                  </a:lnTo>
                  <a:lnTo>
                    <a:pt x="696" y="726"/>
                  </a:lnTo>
                  <a:lnTo>
                    <a:pt x="702" y="714"/>
                  </a:lnTo>
                  <a:lnTo>
                    <a:pt x="696" y="708"/>
                  </a:lnTo>
                  <a:lnTo>
                    <a:pt x="690" y="690"/>
                  </a:lnTo>
                  <a:lnTo>
                    <a:pt x="696" y="678"/>
                  </a:lnTo>
                  <a:lnTo>
                    <a:pt x="708" y="672"/>
                  </a:lnTo>
                  <a:lnTo>
                    <a:pt x="708" y="660"/>
                  </a:lnTo>
                  <a:lnTo>
                    <a:pt x="702" y="660"/>
                  </a:lnTo>
                  <a:lnTo>
                    <a:pt x="696" y="660"/>
                  </a:lnTo>
                  <a:lnTo>
                    <a:pt x="690" y="654"/>
                  </a:lnTo>
                  <a:lnTo>
                    <a:pt x="684" y="654"/>
                  </a:lnTo>
                  <a:lnTo>
                    <a:pt x="690" y="606"/>
                  </a:lnTo>
                  <a:lnTo>
                    <a:pt x="660" y="606"/>
                  </a:lnTo>
                  <a:lnTo>
                    <a:pt x="660" y="612"/>
                  </a:lnTo>
                  <a:lnTo>
                    <a:pt x="648" y="612"/>
                  </a:lnTo>
                  <a:lnTo>
                    <a:pt x="642" y="636"/>
                  </a:lnTo>
                  <a:lnTo>
                    <a:pt x="636" y="636"/>
                  </a:lnTo>
                  <a:lnTo>
                    <a:pt x="630" y="648"/>
                  </a:lnTo>
                  <a:lnTo>
                    <a:pt x="612" y="648"/>
                  </a:lnTo>
                  <a:lnTo>
                    <a:pt x="606" y="636"/>
                  </a:lnTo>
                  <a:lnTo>
                    <a:pt x="600" y="630"/>
                  </a:lnTo>
                  <a:lnTo>
                    <a:pt x="588" y="606"/>
                  </a:lnTo>
                  <a:lnTo>
                    <a:pt x="552" y="606"/>
                  </a:lnTo>
                  <a:lnTo>
                    <a:pt x="552" y="612"/>
                  </a:lnTo>
                  <a:lnTo>
                    <a:pt x="540" y="612"/>
                  </a:lnTo>
                  <a:lnTo>
                    <a:pt x="540" y="606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16" y="612"/>
                  </a:lnTo>
                  <a:lnTo>
                    <a:pt x="516" y="582"/>
                  </a:lnTo>
                  <a:lnTo>
                    <a:pt x="522" y="576"/>
                  </a:lnTo>
                  <a:lnTo>
                    <a:pt x="528" y="576"/>
                  </a:lnTo>
                  <a:lnTo>
                    <a:pt x="528" y="552"/>
                  </a:lnTo>
                  <a:lnTo>
                    <a:pt x="522" y="540"/>
                  </a:lnTo>
                  <a:lnTo>
                    <a:pt x="510" y="528"/>
                  </a:lnTo>
                  <a:lnTo>
                    <a:pt x="486" y="510"/>
                  </a:lnTo>
                  <a:lnTo>
                    <a:pt x="480" y="498"/>
                  </a:lnTo>
                  <a:lnTo>
                    <a:pt x="480" y="474"/>
                  </a:lnTo>
                  <a:lnTo>
                    <a:pt x="492" y="468"/>
                  </a:lnTo>
                  <a:lnTo>
                    <a:pt x="486" y="450"/>
                  </a:lnTo>
                  <a:lnTo>
                    <a:pt x="474" y="456"/>
                  </a:lnTo>
                  <a:lnTo>
                    <a:pt x="468" y="456"/>
                  </a:lnTo>
                  <a:lnTo>
                    <a:pt x="462" y="456"/>
                  </a:lnTo>
                  <a:lnTo>
                    <a:pt x="456" y="468"/>
                  </a:lnTo>
                  <a:lnTo>
                    <a:pt x="456" y="474"/>
                  </a:lnTo>
                  <a:lnTo>
                    <a:pt x="450" y="480"/>
                  </a:lnTo>
                  <a:lnTo>
                    <a:pt x="444" y="450"/>
                  </a:lnTo>
                  <a:lnTo>
                    <a:pt x="438" y="450"/>
                  </a:lnTo>
                  <a:lnTo>
                    <a:pt x="432" y="450"/>
                  </a:lnTo>
                  <a:lnTo>
                    <a:pt x="420" y="450"/>
                  </a:lnTo>
                  <a:lnTo>
                    <a:pt x="420" y="456"/>
                  </a:lnTo>
                  <a:lnTo>
                    <a:pt x="414" y="456"/>
                  </a:lnTo>
                  <a:lnTo>
                    <a:pt x="408" y="468"/>
                  </a:lnTo>
                  <a:lnTo>
                    <a:pt x="402" y="468"/>
                  </a:lnTo>
                  <a:lnTo>
                    <a:pt x="396" y="474"/>
                  </a:lnTo>
                  <a:lnTo>
                    <a:pt x="390" y="492"/>
                  </a:lnTo>
                  <a:lnTo>
                    <a:pt x="384" y="504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54" y="510"/>
                  </a:lnTo>
                  <a:lnTo>
                    <a:pt x="360" y="480"/>
                  </a:lnTo>
                  <a:lnTo>
                    <a:pt x="360" y="474"/>
                  </a:lnTo>
                  <a:lnTo>
                    <a:pt x="378" y="456"/>
                  </a:lnTo>
                  <a:lnTo>
                    <a:pt x="384" y="450"/>
                  </a:lnTo>
                  <a:lnTo>
                    <a:pt x="396" y="444"/>
                  </a:lnTo>
                  <a:lnTo>
                    <a:pt x="402" y="438"/>
                  </a:lnTo>
                  <a:lnTo>
                    <a:pt x="408" y="438"/>
                  </a:lnTo>
                  <a:lnTo>
                    <a:pt x="408" y="426"/>
                  </a:lnTo>
                  <a:lnTo>
                    <a:pt x="414" y="420"/>
                  </a:lnTo>
                  <a:lnTo>
                    <a:pt x="426" y="420"/>
                  </a:lnTo>
                  <a:lnTo>
                    <a:pt x="426" y="408"/>
                  </a:lnTo>
                  <a:lnTo>
                    <a:pt x="420" y="390"/>
                  </a:lnTo>
                  <a:lnTo>
                    <a:pt x="408" y="384"/>
                  </a:lnTo>
                  <a:lnTo>
                    <a:pt x="378" y="378"/>
                  </a:lnTo>
                  <a:lnTo>
                    <a:pt x="354" y="366"/>
                  </a:lnTo>
                  <a:lnTo>
                    <a:pt x="342" y="360"/>
                  </a:lnTo>
                  <a:lnTo>
                    <a:pt x="342" y="348"/>
                  </a:lnTo>
                  <a:lnTo>
                    <a:pt x="336" y="330"/>
                  </a:lnTo>
                  <a:lnTo>
                    <a:pt x="348" y="306"/>
                  </a:lnTo>
                  <a:lnTo>
                    <a:pt x="360" y="294"/>
                  </a:lnTo>
                  <a:lnTo>
                    <a:pt x="360" y="282"/>
                  </a:lnTo>
                  <a:lnTo>
                    <a:pt x="342" y="270"/>
                  </a:lnTo>
                  <a:lnTo>
                    <a:pt x="342" y="264"/>
                  </a:lnTo>
                  <a:lnTo>
                    <a:pt x="330" y="264"/>
                  </a:lnTo>
                  <a:lnTo>
                    <a:pt x="312" y="270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88" y="270"/>
                  </a:lnTo>
                  <a:lnTo>
                    <a:pt x="282" y="270"/>
                  </a:lnTo>
                  <a:lnTo>
                    <a:pt x="276" y="264"/>
                  </a:lnTo>
                  <a:lnTo>
                    <a:pt x="270" y="264"/>
                  </a:lnTo>
                  <a:lnTo>
                    <a:pt x="252" y="270"/>
                  </a:lnTo>
                  <a:lnTo>
                    <a:pt x="246" y="270"/>
                  </a:lnTo>
                  <a:lnTo>
                    <a:pt x="240" y="270"/>
                  </a:lnTo>
                  <a:lnTo>
                    <a:pt x="228" y="270"/>
                  </a:lnTo>
                  <a:lnTo>
                    <a:pt x="216" y="276"/>
                  </a:lnTo>
                  <a:lnTo>
                    <a:pt x="210" y="270"/>
                  </a:lnTo>
                  <a:lnTo>
                    <a:pt x="204" y="270"/>
                  </a:lnTo>
                  <a:lnTo>
                    <a:pt x="198" y="276"/>
                  </a:lnTo>
                  <a:lnTo>
                    <a:pt x="192" y="276"/>
                  </a:lnTo>
                  <a:lnTo>
                    <a:pt x="186" y="282"/>
                  </a:lnTo>
                  <a:lnTo>
                    <a:pt x="180" y="288"/>
                  </a:lnTo>
                  <a:lnTo>
                    <a:pt x="174" y="300"/>
                  </a:lnTo>
                  <a:lnTo>
                    <a:pt x="168" y="306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8" y="330"/>
                  </a:lnTo>
                  <a:lnTo>
                    <a:pt x="162" y="336"/>
                  </a:lnTo>
                  <a:lnTo>
                    <a:pt x="156" y="342"/>
                  </a:lnTo>
                  <a:lnTo>
                    <a:pt x="156" y="348"/>
                  </a:lnTo>
                  <a:lnTo>
                    <a:pt x="156" y="354"/>
                  </a:lnTo>
                  <a:lnTo>
                    <a:pt x="150" y="366"/>
                  </a:lnTo>
                  <a:lnTo>
                    <a:pt x="150" y="372"/>
                  </a:lnTo>
                  <a:lnTo>
                    <a:pt x="144" y="366"/>
                  </a:lnTo>
                  <a:lnTo>
                    <a:pt x="132" y="366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20" y="348"/>
                  </a:lnTo>
                  <a:lnTo>
                    <a:pt x="102" y="330"/>
                  </a:lnTo>
                  <a:lnTo>
                    <a:pt x="96" y="318"/>
                  </a:lnTo>
                  <a:lnTo>
                    <a:pt x="96" y="282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0" y="258"/>
                  </a:lnTo>
                  <a:lnTo>
                    <a:pt x="84" y="252"/>
                  </a:lnTo>
                  <a:lnTo>
                    <a:pt x="66" y="258"/>
                  </a:lnTo>
                  <a:lnTo>
                    <a:pt x="60" y="246"/>
                  </a:lnTo>
                  <a:lnTo>
                    <a:pt x="30" y="252"/>
                  </a:lnTo>
                  <a:lnTo>
                    <a:pt x="18" y="246"/>
                  </a:lnTo>
                  <a:lnTo>
                    <a:pt x="0" y="240"/>
                  </a:lnTo>
                  <a:lnTo>
                    <a:pt x="0" y="234"/>
                  </a:lnTo>
                  <a:lnTo>
                    <a:pt x="0" y="210"/>
                  </a:lnTo>
                  <a:lnTo>
                    <a:pt x="6" y="204"/>
                  </a:lnTo>
                  <a:lnTo>
                    <a:pt x="18" y="192"/>
                  </a:lnTo>
                  <a:lnTo>
                    <a:pt x="18" y="144"/>
                  </a:lnTo>
                  <a:lnTo>
                    <a:pt x="24" y="126"/>
                  </a:lnTo>
                  <a:lnTo>
                    <a:pt x="36" y="126"/>
                  </a:lnTo>
                  <a:lnTo>
                    <a:pt x="54" y="120"/>
                  </a:lnTo>
                  <a:lnTo>
                    <a:pt x="54" y="126"/>
                  </a:lnTo>
                  <a:lnTo>
                    <a:pt x="132" y="114"/>
                  </a:lnTo>
                  <a:lnTo>
                    <a:pt x="144" y="120"/>
                  </a:lnTo>
                  <a:lnTo>
                    <a:pt x="150" y="132"/>
                  </a:lnTo>
                  <a:lnTo>
                    <a:pt x="180" y="126"/>
                  </a:lnTo>
                  <a:lnTo>
                    <a:pt x="210" y="120"/>
                  </a:lnTo>
                  <a:lnTo>
                    <a:pt x="240" y="120"/>
                  </a:lnTo>
                  <a:lnTo>
                    <a:pt x="258" y="120"/>
                  </a:lnTo>
                  <a:lnTo>
                    <a:pt x="270" y="126"/>
                  </a:lnTo>
                  <a:lnTo>
                    <a:pt x="276" y="132"/>
                  </a:lnTo>
                  <a:lnTo>
                    <a:pt x="282" y="138"/>
                  </a:lnTo>
                  <a:lnTo>
                    <a:pt x="282" y="156"/>
                  </a:lnTo>
                  <a:lnTo>
                    <a:pt x="288" y="186"/>
                  </a:lnTo>
                  <a:lnTo>
                    <a:pt x="312" y="192"/>
                  </a:lnTo>
                  <a:lnTo>
                    <a:pt x="318" y="198"/>
                  </a:lnTo>
                  <a:lnTo>
                    <a:pt x="324" y="204"/>
                  </a:lnTo>
                  <a:lnTo>
                    <a:pt x="330" y="210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66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86" y="210"/>
                  </a:lnTo>
                  <a:lnTo>
                    <a:pt x="498" y="198"/>
                  </a:lnTo>
                  <a:lnTo>
                    <a:pt x="504" y="174"/>
                  </a:lnTo>
                  <a:lnTo>
                    <a:pt x="516" y="162"/>
                  </a:lnTo>
                  <a:lnTo>
                    <a:pt x="516" y="138"/>
                  </a:lnTo>
                  <a:lnTo>
                    <a:pt x="522" y="132"/>
                  </a:lnTo>
                  <a:lnTo>
                    <a:pt x="564" y="132"/>
                  </a:lnTo>
                  <a:lnTo>
                    <a:pt x="564" y="114"/>
                  </a:lnTo>
                  <a:lnTo>
                    <a:pt x="582" y="114"/>
                  </a:lnTo>
                  <a:lnTo>
                    <a:pt x="594" y="114"/>
                  </a:lnTo>
                  <a:lnTo>
                    <a:pt x="606" y="114"/>
                  </a:lnTo>
                  <a:lnTo>
                    <a:pt x="612" y="114"/>
                  </a:lnTo>
                  <a:lnTo>
                    <a:pt x="630" y="114"/>
                  </a:lnTo>
                  <a:lnTo>
                    <a:pt x="636" y="114"/>
                  </a:lnTo>
                  <a:lnTo>
                    <a:pt x="648" y="114"/>
                  </a:lnTo>
                  <a:lnTo>
                    <a:pt x="654" y="114"/>
                  </a:lnTo>
                  <a:lnTo>
                    <a:pt x="660" y="120"/>
                  </a:lnTo>
                  <a:lnTo>
                    <a:pt x="672" y="120"/>
                  </a:lnTo>
                  <a:lnTo>
                    <a:pt x="684" y="120"/>
                  </a:lnTo>
                  <a:lnTo>
                    <a:pt x="690" y="120"/>
                  </a:lnTo>
                  <a:lnTo>
                    <a:pt x="702" y="120"/>
                  </a:lnTo>
                  <a:lnTo>
                    <a:pt x="708" y="120"/>
                  </a:lnTo>
                  <a:lnTo>
                    <a:pt x="726" y="126"/>
                  </a:lnTo>
                  <a:lnTo>
                    <a:pt x="732" y="126"/>
                  </a:lnTo>
                  <a:lnTo>
                    <a:pt x="738" y="126"/>
                  </a:lnTo>
                  <a:lnTo>
                    <a:pt x="750" y="126"/>
                  </a:lnTo>
                  <a:lnTo>
                    <a:pt x="756" y="126"/>
                  </a:lnTo>
                  <a:lnTo>
                    <a:pt x="768" y="126"/>
                  </a:lnTo>
                  <a:lnTo>
                    <a:pt x="780" y="126"/>
                  </a:lnTo>
                  <a:lnTo>
                    <a:pt x="786" y="120"/>
                  </a:lnTo>
                  <a:lnTo>
                    <a:pt x="792" y="120"/>
                  </a:lnTo>
                  <a:lnTo>
                    <a:pt x="810" y="120"/>
                  </a:lnTo>
                  <a:lnTo>
                    <a:pt x="822" y="120"/>
                  </a:lnTo>
                  <a:lnTo>
                    <a:pt x="846" y="126"/>
                  </a:lnTo>
                  <a:lnTo>
                    <a:pt x="858" y="126"/>
                  </a:lnTo>
                  <a:lnTo>
                    <a:pt x="870" y="132"/>
                  </a:lnTo>
                  <a:lnTo>
                    <a:pt x="882" y="132"/>
                  </a:lnTo>
                  <a:lnTo>
                    <a:pt x="894" y="132"/>
                  </a:lnTo>
                  <a:lnTo>
                    <a:pt x="900" y="132"/>
                  </a:lnTo>
                  <a:lnTo>
                    <a:pt x="912" y="132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36" y="132"/>
                  </a:lnTo>
                  <a:lnTo>
                    <a:pt x="960" y="132"/>
                  </a:lnTo>
                  <a:lnTo>
                    <a:pt x="966" y="144"/>
                  </a:lnTo>
                  <a:lnTo>
                    <a:pt x="972" y="144"/>
                  </a:lnTo>
                  <a:lnTo>
                    <a:pt x="1002" y="144"/>
                  </a:lnTo>
                  <a:lnTo>
                    <a:pt x="1020" y="144"/>
                  </a:lnTo>
                  <a:lnTo>
                    <a:pt x="1068" y="138"/>
                  </a:lnTo>
                  <a:lnTo>
                    <a:pt x="1110" y="132"/>
                  </a:lnTo>
                  <a:lnTo>
                    <a:pt x="1110" y="126"/>
                  </a:lnTo>
                  <a:lnTo>
                    <a:pt x="1116" y="120"/>
                  </a:lnTo>
                  <a:lnTo>
                    <a:pt x="1122" y="108"/>
                  </a:lnTo>
                  <a:lnTo>
                    <a:pt x="1134" y="96"/>
                  </a:lnTo>
                  <a:lnTo>
                    <a:pt x="1146" y="60"/>
                  </a:lnTo>
                  <a:lnTo>
                    <a:pt x="1158" y="54"/>
                  </a:lnTo>
                  <a:lnTo>
                    <a:pt x="1170" y="48"/>
                  </a:lnTo>
                  <a:lnTo>
                    <a:pt x="1188" y="42"/>
                  </a:lnTo>
                  <a:lnTo>
                    <a:pt x="1200" y="36"/>
                  </a:lnTo>
                  <a:lnTo>
                    <a:pt x="1212" y="36"/>
                  </a:lnTo>
                  <a:lnTo>
                    <a:pt x="1236" y="30"/>
                  </a:lnTo>
                  <a:lnTo>
                    <a:pt x="1236" y="24"/>
                  </a:lnTo>
                  <a:lnTo>
                    <a:pt x="1278" y="18"/>
                  </a:lnTo>
                  <a:lnTo>
                    <a:pt x="1290" y="18"/>
                  </a:lnTo>
                  <a:lnTo>
                    <a:pt x="1302" y="12"/>
                  </a:lnTo>
                  <a:lnTo>
                    <a:pt x="1314" y="0"/>
                  </a:lnTo>
                  <a:lnTo>
                    <a:pt x="1332" y="0"/>
                  </a:lnTo>
                  <a:lnTo>
                    <a:pt x="1338" y="24"/>
                  </a:lnTo>
                  <a:lnTo>
                    <a:pt x="1344" y="30"/>
                  </a:lnTo>
                  <a:lnTo>
                    <a:pt x="1350" y="42"/>
                  </a:lnTo>
                  <a:lnTo>
                    <a:pt x="1356" y="48"/>
                  </a:lnTo>
                  <a:lnTo>
                    <a:pt x="1356" y="78"/>
                  </a:lnTo>
                  <a:lnTo>
                    <a:pt x="1350" y="96"/>
                  </a:lnTo>
                  <a:lnTo>
                    <a:pt x="1338" y="108"/>
                  </a:lnTo>
                  <a:lnTo>
                    <a:pt x="1338" y="114"/>
                  </a:lnTo>
                  <a:lnTo>
                    <a:pt x="1338" y="120"/>
                  </a:lnTo>
                  <a:lnTo>
                    <a:pt x="1338" y="126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398" y="114"/>
                  </a:lnTo>
                  <a:lnTo>
                    <a:pt x="1416" y="120"/>
                  </a:lnTo>
                  <a:lnTo>
                    <a:pt x="1434" y="126"/>
                  </a:lnTo>
                  <a:lnTo>
                    <a:pt x="1458" y="132"/>
                  </a:lnTo>
                  <a:lnTo>
                    <a:pt x="1458" y="138"/>
                  </a:lnTo>
                  <a:lnTo>
                    <a:pt x="1512" y="138"/>
                  </a:lnTo>
                  <a:lnTo>
                    <a:pt x="1512" y="132"/>
                  </a:lnTo>
                  <a:lnTo>
                    <a:pt x="1524" y="138"/>
                  </a:lnTo>
                  <a:lnTo>
                    <a:pt x="1542" y="138"/>
                  </a:lnTo>
                  <a:lnTo>
                    <a:pt x="1542" y="150"/>
                  </a:lnTo>
                  <a:lnTo>
                    <a:pt x="1542" y="162"/>
                  </a:lnTo>
                  <a:lnTo>
                    <a:pt x="1548" y="174"/>
                  </a:lnTo>
                  <a:lnTo>
                    <a:pt x="1548" y="180"/>
                  </a:lnTo>
                  <a:lnTo>
                    <a:pt x="1554" y="222"/>
                  </a:lnTo>
                  <a:lnTo>
                    <a:pt x="1554" y="258"/>
                  </a:lnTo>
                  <a:lnTo>
                    <a:pt x="1554" y="276"/>
                  </a:lnTo>
                  <a:lnTo>
                    <a:pt x="1554" y="282"/>
                  </a:lnTo>
                  <a:lnTo>
                    <a:pt x="1554" y="294"/>
                  </a:lnTo>
                  <a:lnTo>
                    <a:pt x="1554" y="306"/>
                  </a:lnTo>
                  <a:lnTo>
                    <a:pt x="1554" y="324"/>
                  </a:lnTo>
                  <a:lnTo>
                    <a:pt x="1554" y="330"/>
                  </a:lnTo>
                  <a:lnTo>
                    <a:pt x="1548" y="330"/>
                  </a:lnTo>
                  <a:lnTo>
                    <a:pt x="1548" y="336"/>
                  </a:lnTo>
                  <a:lnTo>
                    <a:pt x="1548" y="342"/>
                  </a:lnTo>
                  <a:lnTo>
                    <a:pt x="1542" y="336"/>
                  </a:lnTo>
                  <a:lnTo>
                    <a:pt x="1542" y="330"/>
                  </a:lnTo>
                  <a:lnTo>
                    <a:pt x="1536" y="330"/>
                  </a:lnTo>
                  <a:lnTo>
                    <a:pt x="1530" y="330"/>
                  </a:lnTo>
                  <a:lnTo>
                    <a:pt x="1530" y="336"/>
                  </a:lnTo>
                  <a:lnTo>
                    <a:pt x="1536" y="342"/>
                  </a:lnTo>
                  <a:lnTo>
                    <a:pt x="1530" y="342"/>
                  </a:lnTo>
                  <a:lnTo>
                    <a:pt x="1518" y="348"/>
                  </a:lnTo>
                  <a:lnTo>
                    <a:pt x="1512" y="354"/>
                  </a:lnTo>
                  <a:lnTo>
                    <a:pt x="1506" y="354"/>
                  </a:lnTo>
                  <a:lnTo>
                    <a:pt x="1500" y="354"/>
                  </a:lnTo>
                  <a:lnTo>
                    <a:pt x="1494" y="354"/>
                  </a:lnTo>
                  <a:lnTo>
                    <a:pt x="1494" y="360"/>
                  </a:lnTo>
                  <a:lnTo>
                    <a:pt x="1488" y="360"/>
                  </a:lnTo>
                  <a:lnTo>
                    <a:pt x="1488" y="366"/>
                  </a:lnTo>
                  <a:lnTo>
                    <a:pt x="1488" y="372"/>
                  </a:lnTo>
                  <a:lnTo>
                    <a:pt x="1482" y="372"/>
                  </a:lnTo>
                  <a:lnTo>
                    <a:pt x="1476" y="372"/>
                  </a:lnTo>
                  <a:lnTo>
                    <a:pt x="1470" y="372"/>
                  </a:lnTo>
                  <a:lnTo>
                    <a:pt x="1470" y="378"/>
                  </a:lnTo>
                  <a:lnTo>
                    <a:pt x="1470" y="384"/>
                  </a:lnTo>
                  <a:lnTo>
                    <a:pt x="1470" y="390"/>
                  </a:lnTo>
                  <a:lnTo>
                    <a:pt x="1464" y="402"/>
                  </a:lnTo>
                  <a:lnTo>
                    <a:pt x="1446" y="402"/>
                  </a:lnTo>
                  <a:lnTo>
                    <a:pt x="1440" y="372"/>
                  </a:lnTo>
                  <a:lnTo>
                    <a:pt x="1410" y="372"/>
                  </a:lnTo>
                  <a:lnTo>
                    <a:pt x="1380" y="372"/>
                  </a:lnTo>
                  <a:lnTo>
                    <a:pt x="1374" y="372"/>
                  </a:lnTo>
                  <a:lnTo>
                    <a:pt x="1368" y="378"/>
                  </a:lnTo>
                  <a:lnTo>
                    <a:pt x="1362" y="378"/>
                  </a:lnTo>
                  <a:lnTo>
                    <a:pt x="1356" y="378"/>
                  </a:lnTo>
                  <a:lnTo>
                    <a:pt x="1350" y="384"/>
                  </a:lnTo>
                  <a:lnTo>
                    <a:pt x="1350" y="390"/>
                  </a:lnTo>
                  <a:lnTo>
                    <a:pt x="1344" y="390"/>
                  </a:lnTo>
                  <a:lnTo>
                    <a:pt x="1338" y="390"/>
                  </a:lnTo>
                  <a:lnTo>
                    <a:pt x="1332" y="390"/>
                  </a:lnTo>
                  <a:lnTo>
                    <a:pt x="1332" y="396"/>
                  </a:lnTo>
                  <a:lnTo>
                    <a:pt x="1332" y="390"/>
                  </a:lnTo>
                  <a:lnTo>
                    <a:pt x="1326" y="402"/>
                  </a:lnTo>
                  <a:lnTo>
                    <a:pt x="1320" y="402"/>
                  </a:lnTo>
                  <a:lnTo>
                    <a:pt x="1302" y="474"/>
                  </a:lnTo>
                  <a:lnTo>
                    <a:pt x="1308" y="480"/>
                  </a:lnTo>
                  <a:lnTo>
                    <a:pt x="1314" y="480"/>
                  </a:lnTo>
                  <a:lnTo>
                    <a:pt x="1308" y="498"/>
                  </a:lnTo>
                  <a:lnTo>
                    <a:pt x="1308" y="504"/>
                  </a:lnTo>
                  <a:lnTo>
                    <a:pt x="1314" y="510"/>
                  </a:lnTo>
                  <a:lnTo>
                    <a:pt x="1308" y="510"/>
                  </a:lnTo>
                  <a:lnTo>
                    <a:pt x="1308" y="516"/>
                  </a:lnTo>
                  <a:lnTo>
                    <a:pt x="1302" y="516"/>
                  </a:lnTo>
                  <a:lnTo>
                    <a:pt x="1296" y="510"/>
                  </a:lnTo>
                  <a:lnTo>
                    <a:pt x="1296" y="516"/>
                  </a:lnTo>
                  <a:lnTo>
                    <a:pt x="1290" y="540"/>
                  </a:lnTo>
                  <a:lnTo>
                    <a:pt x="1290" y="552"/>
                  </a:lnTo>
                  <a:lnTo>
                    <a:pt x="1284" y="558"/>
                  </a:lnTo>
                  <a:lnTo>
                    <a:pt x="1290" y="576"/>
                  </a:lnTo>
                  <a:lnTo>
                    <a:pt x="1290" y="600"/>
                  </a:lnTo>
                  <a:lnTo>
                    <a:pt x="1284" y="618"/>
                  </a:lnTo>
                  <a:lnTo>
                    <a:pt x="1290" y="624"/>
                  </a:lnTo>
                  <a:lnTo>
                    <a:pt x="1284" y="630"/>
                  </a:lnTo>
                  <a:lnTo>
                    <a:pt x="1278" y="630"/>
                  </a:lnTo>
                  <a:lnTo>
                    <a:pt x="1272" y="630"/>
                  </a:lnTo>
                  <a:lnTo>
                    <a:pt x="1266" y="636"/>
                  </a:lnTo>
                  <a:lnTo>
                    <a:pt x="1260" y="642"/>
                  </a:lnTo>
                  <a:lnTo>
                    <a:pt x="1260" y="636"/>
                  </a:lnTo>
                  <a:lnTo>
                    <a:pt x="1254" y="636"/>
                  </a:lnTo>
                  <a:lnTo>
                    <a:pt x="1248" y="636"/>
                  </a:lnTo>
                  <a:lnTo>
                    <a:pt x="1248" y="642"/>
                  </a:lnTo>
                  <a:lnTo>
                    <a:pt x="1242" y="642"/>
                  </a:lnTo>
                  <a:lnTo>
                    <a:pt x="1242" y="648"/>
                  </a:lnTo>
                  <a:lnTo>
                    <a:pt x="1236" y="654"/>
                  </a:lnTo>
                  <a:lnTo>
                    <a:pt x="1230" y="654"/>
                  </a:lnTo>
                  <a:lnTo>
                    <a:pt x="1224" y="654"/>
                  </a:lnTo>
                  <a:lnTo>
                    <a:pt x="1218" y="660"/>
                  </a:lnTo>
                  <a:lnTo>
                    <a:pt x="1212" y="660"/>
                  </a:lnTo>
                  <a:lnTo>
                    <a:pt x="1206" y="660"/>
                  </a:lnTo>
                  <a:lnTo>
                    <a:pt x="1200" y="660"/>
                  </a:lnTo>
                  <a:lnTo>
                    <a:pt x="1200" y="666"/>
                  </a:lnTo>
                  <a:lnTo>
                    <a:pt x="1194" y="666"/>
                  </a:lnTo>
                  <a:lnTo>
                    <a:pt x="1188" y="666"/>
                  </a:lnTo>
                  <a:lnTo>
                    <a:pt x="1182" y="672"/>
                  </a:lnTo>
                  <a:lnTo>
                    <a:pt x="1176" y="672"/>
                  </a:lnTo>
                  <a:lnTo>
                    <a:pt x="1170" y="672"/>
                  </a:lnTo>
                  <a:lnTo>
                    <a:pt x="1164" y="678"/>
                  </a:lnTo>
                  <a:lnTo>
                    <a:pt x="1170" y="678"/>
                  </a:lnTo>
                  <a:lnTo>
                    <a:pt x="1164" y="684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52" y="684"/>
                  </a:lnTo>
                  <a:lnTo>
                    <a:pt x="1152" y="690"/>
                  </a:lnTo>
                  <a:lnTo>
                    <a:pt x="1146" y="690"/>
                  </a:lnTo>
                  <a:lnTo>
                    <a:pt x="1140" y="690"/>
                  </a:lnTo>
                  <a:lnTo>
                    <a:pt x="1134" y="696"/>
                  </a:lnTo>
                  <a:lnTo>
                    <a:pt x="1128" y="696"/>
                  </a:lnTo>
                  <a:lnTo>
                    <a:pt x="1122" y="702"/>
                  </a:lnTo>
                  <a:lnTo>
                    <a:pt x="1116" y="702"/>
                  </a:lnTo>
                  <a:lnTo>
                    <a:pt x="1110" y="708"/>
                  </a:lnTo>
                  <a:lnTo>
                    <a:pt x="1104" y="708"/>
                  </a:lnTo>
                  <a:lnTo>
                    <a:pt x="1098" y="708"/>
                  </a:lnTo>
                  <a:lnTo>
                    <a:pt x="1092" y="708"/>
                  </a:lnTo>
                  <a:lnTo>
                    <a:pt x="1092" y="714"/>
                  </a:lnTo>
                  <a:lnTo>
                    <a:pt x="1086" y="720"/>
                  </a:lnTo>
                  <a:lnTo>
                    <a:pt x="1080" y="720"/>
                  </a:lnTo>
                  <a:lnTo>
                    <a:pt x="1074" y="720"/>
                  </a:lnTo>
                  <a:lnTo>
                    <a:pt x="1068" y="720"/>
                  </a:lnTo>
                  <a:lnTo>
                    <a:pt x="1062" y="720"/>
                  </a:lnTo>
                  <a:lnTo>
                    <a:pt x="1050" y="726"/>
                  </a:lnTo>
                  <a:lnTo>
                    <a:pt x="1044" y="726"/>
                  </a:lnTo>
                  <a:lnTo>
                    <a:pt x="1038" y="732"/>
                  </a:lnTo>
                  <a:lnTo>
                    <a:pt x="1026" y="732"/>
                  </a:lnTo>
                  <a:lnTo>
                    <a:pt x="1020" y="732"/>
                  </a:lnTo>
                  <a:lnTo>
                    <a:pt x="1014" y="738"/>
                  </a:lnTo>
                  <a:lnTo>
                    <a:pt x="1008" y="738"/>
                  </a:lnTo>
                  <a:lnTo>
                    <a:pt x="1002" y="738"/>
                  </a:lnTo>
                  <a:lnTo>
                    <a:pt x="996" y="738"/>
                  </a:lnTo>
                  <a:lnTo>
                    <a:pt x="990" y="738"/>
                  </a:lnTo>
                  <a:lnTo>
                    <a:pt x="990" y="732"/>
                  </a:lnTo>
                  <a:lnTo>
                    <a:pt x="984" y="732"/>
                  </a:lnTo>
                  <a:lnTo>
                    <a:pt x="978" y="738"/>
                  </a:lnTo>
                  <a:lnTo>
                    <a:pt x="978" y="744"/>
                  </a:lnTo>
                  <a:lnTo>
                    <a:pt x="984" y="744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8" y="756"/>
                  </a:lnTo>
                  <a:lnTo>
                    <a:pt x="972" y="756"/>
                  </a:lnTo>
                  <a:lnTo>
                    <a:pt x="972" y="762"/>
                  </a:lnTo>
                  <a:lnTo>
                    <a:pt x="966" y="768"/>
                  </a:lnTo>
                  <a:lnTo>
                    <a:pt x="966" y="762"/>
                  </a:lnTo>
                  <a:lnTo>
                    <a:pt x="960" y="762"/>
                  </a:lnTo>
                  <a:lnTo>
                    <a:pt x="954" y="768"/>
                  </a:lnTo>
                  <a:lnTo>
                    <a:pt x="954" y="774"/>
                  </a:lnTo>
                  <a:lnTo>
                    <a:pt x="948" y="774"/>
                  </a:lnTo>
                  <a:lnTo>
                    <a:pt x="948" y="780"/>
                  </a:lnTo>
                  <a:lnTo>
                    <a:pt x="948" y="786"/>
                  </a:lnTo>
                  <a:lnTo>
                    <a:pt x="942" y="786"/>
                  </a:lnTo>
                  <a:lnTo>
                    <a:pt x="942" y="792"/>
                  </a:lnTo>
                  <a:lnTo>
                    <a:pt x="936" y="792"/>
                  </a:lnTo>
                  <a:lnTo>
                    <a:pt x="942" y="798"/>
                  </a:lnTo>
                  <a:lnTo>
                    <a:pt x="942" y="804"/>
                  </a:lnTo>
                  <a:lnTo>
                    <a:pt x="942" y="810"/>
                  </a:lnTo>
                  <a:lnTo>
                    <a:pt x="948" y="810"/>
                  </a:lnTo>
                  <a:lnTo>
                    <a:pt x="942" y="816"/>
                  </a:lnTo>
                  <a:lnTo>
                    <a:pt x="948" y="816"/>
                  </a:lnTo>
                  <a:lnTo>
                    <a:pt x="948" y="822"/>
                  </a:lnTo>
                  <a:lnTo>
                    <a:pt x="954" y="822"/>
                  </a:lnTo>
                  <a:lnTo>
                    <a:pt x="960" y="828"/>
                  </a:lnTo>
                  <a:lnTo>
                    <a:pt x="960" y="834"/>
                  </a:lnTo>
                  <a:lnTo>
                    <a:pt x="966" y="834"/>
                  </a:lnTo>
                  <a:lnTo>
                    <a:pt x="960" y="840"/>
                  </a:lnTo>
                  <a:lnTo>
                    <a:pt x="966" y="846"/>
                  </a:lnTo>
                  <a:lnTo>
                    <a:pt x="966" y="840"/>
                  </a:lnTo>
                  <a:lnTo>
                    <a:pt x="972" y="840"/>
                  </a:lnTo>
                  <a:lnTo>
                    <a:pt x="990" y="840"/>
                  </a:lnTo>
                  <a:lnTo>
                    <a:pt x="1002" y="834"/>
                  </a:lnTo>
                  <a:lnTo>
                    <a:pt x="1020" y="828"/>
                  </a:lnTo>
                  <a:lnTo>
                    <a:pt x="1032" y="828"/>
                  </a:lnTo>
                  <a:lnTo>
                    <a:pt x="1050" y="828"/>
                  </a:lnTo>
                  <a:lnTo>
                    <a:pt x="1062" y="846"/>
                  </a:lnTo>
                  <a:lnTo>
                    <a:pt x="1074" y="876"/>
                  </a:lnTo>
                  <a:lnTo>
                    <a:pt x="1068" y="900"/>
                  </a:lnTo>
                  <a:lnTo>
                    <a:pt x="1074" y="912"/>
                  </a:lnTo>
                  <a:lnTo>
                    <a:pt x="1074" y="936"/>
                  </a:lnTo>
                  <a:lnTo>
                    <a:pt x="1068" y="942"/>
                  </a:lnTo>
                  <a:lnTo>
                    <a:pt x="1062" y="954"/>
                  </a:lnTo>
                  <a:lnTo>
                    <a:pt x="1056" y="978"/>
                  </a:lnTo>
                  <a:lnTo>
                    <a:pt x="1056" y="996"/>
                  </a:lnTo>
                  <a:lnTo>
                    <a:pt x="1068" y="990"/>
                  </a:lnTo>
                  <a:lnTo>
                    <a:pt x="1074" y="990"/>
                  </a:lnTo>
                  <a:lnTo>
                    <a:pt x="1074" y="1008"/>
                  </a:lnTo>
                  <a:lnTo>
                    <a:pt x="1080" y="1008"/>
                  </a:lnTo>
                  <a:lnTo>
                    <a:pt x="1092" y="1014"/>
                  </a:lnTo>
                  <a:lnTo>
                    <a:pt x="1110" y="1044"/>
                  </a:lnTo>
                  <a:lnTo>
                    <a:pt x="1110" y="1062"/>
                  </a:lnTo>
                  <a:lnTo>
                    <a:pt x="1128" y="1068"/>
                  </a:lnTo>
                  <a:lnTo>
                    <a:pt x="1128" y="1092"/>
                  </a:lnTo>
                  <a:lnTo>
                    <a:pt x="1134" y="1098"/>
                  </a:lnTo>
                  <a:lnTo>
                    <a:pt x="1158" y="1122"/>
                  </a:lnTo>
                  <a:lnTo>
                    <a:pt x="1188" y="1122"/>
                  </a:lnTo>
                  <a:lnTo>
                    <a:pt x="1188" y="1128"/>
                  </a:lnTo>
                  <a:lnTo>
                    <a:pt x="1200" y="1134"/>
                  </a:lnTo>
                  <a:lnTo>
                    <a:pt x="1206" y="1134"/>
                  </a:lnTo>
                  <a:lnTo>
                    <a:pt x="1206" y="1128"/>
                  </a:lnTo>
                  <a:lnTo>
                    <a:pt x="1212" y="1128"/>
                  </a:lnTo>
                  <a:lnTo>
                    <a:pt x="1218" y="1128"/>
                  </a:lnTo>
                  <a:lnTo>
                    <a:pt x="1224" y="1122"/>
                  </a:lnTo>
                  <a:lnTo>
                    <a:pt x="1224" y="1128"/>
                  </a:lnTo>
                  <a:lnTo>
                    <a:pt x="1230" y="1128"/>
                  </a:lnTo>
                  <a:lnTo>
                    <a:pt x="1236" y="1128"/>
                  </a:lnTo>
                  <a:lnTo>
                    <a:pt x="1236" y="1122"/>
                  </a:lnTo>
                  <a:lnTo>
                    <a:pt x="1242" y="1122"/>
                  </a:lnTo>
                  <a:lnTo>
                    <a:pt x="1248" y="1128"/>
                  </a:lnTo>
                  <a:lnTo>
                    <a:pt x="1254" y="1128"/>
                  </a:lnTo>
                  <a:lnTo>
                    <a:pt x="1260" y="1134"/>
                  </a:lnTo>
                  <a:lnTo>
                    <a:pt x="1260" y="1140"/>
                  </a:lnTo>
                  <a:lnTo>
                    <a:pt x="1266" y="1140"/>
                  </a:lnTo>
                  <a:lnTo>
                    <a:pt x="1272" y="1140"/>
                  </a:lnTo>
                  <a:lnTo>
                    <a:pt x="1278" y="1140"/>
                  </a:lnTo>
                  <a:lnTo>
                    <a:pt x="1284" y="1140"/>
                  </a:lnTo>
                  <a:lnTo>
                    <a:pt x="1290" y="1146"/>
                  </a:lnTo>
                  <a:lnTo>
                    <a:pt x="1290" y="1152"/>
                  </a:lnTo>
                  <a:lnTo>
                    <a:pt x="1296" y="1146"/>
                  </a:lnTo>
                  <a:lnTo>
                    <a:pt x="1296" y="1152"/>
                  </a:lnTo>
                  <a:lnTo>
                    <a:pt x="1308" y="1152"/>
                  </a:lnTo>
                  <a:lnTo>
                    <a:pt x="1314" y="1152"/>
                  </a:lnTo>
                  <a:lnTo>
                    <a:pt x="1320" y="1152"/>
                  </a:lnTo>
                  <a:lnTo>
                    <a:pt x="1332" y="1152"/>
                  </a:lnTo>
                  <a:lnTo>
                    <a:pt x="1338" y="1152"/>
                  </a:lnTo>
                  <a:lnTo>
                    <a:pt x="1344" y="1152"/>
                  </a:lnTo>
                  <a:lnTo>
                    <a:pt x="1344" y="1158"/>
                  </a:lnTo>
                  <a:lnTo>
                    <a:pt x="1350" y="1158"/>
                  </a:lnTo>
                  <a:lnTo>
                    <a:pt x="1356" y="1158"/>
                  </a:lnTo>
                  <a:lnTo>
                    <a:pt x="1362" y="1158"/>
                  </a:lnTo>
                  <a:lnTo>
                    <a:pt x="1368" y="1158"/>
                  </a:lnTo>
                  <a:lnTo>
                    <a:pt x="1374" y="1164"/>
                  </a:lnTo>
                  <a:lnTo>
                    <a:pt x="1380" y="1164"/>
                  </a:lnTo>
                  <a:lnTo>
                    <a:pt x="1386" y="1170"/>
                  </a:lnTo>
                  <a:lnTo>
                    <a:pt x="1392" y="1170"/>
                  </a:lnTo>
                  <a:lnTo>
                    <a:pt x="1398" y="1164"/>
                  </a:lnTo>
                  <a:lnTo>
                    <a:pt x="1404" y="1164"/>
                  </a:lnTo>
                  <a:lnTo>
                    <a:pt x="1410" y="1164"/>
                  </a:lnTo>
                  <a:lnTo>
                    <a:pt x="1416" y="1164"/>
                  </a:lnTo>
                  <a:lnTo>
                    <a:pt x="1416" y="1170"/>
                  </a:lnTo>
                  <a:lnTo>
                    <a:pt x="1422" y="1176"/>
                  </a:lnTo>
                  <a:lnTo>
                    <a:pt x="1416" y="1176"/>
                  </a:lnTo>
                  <a:lnTo>
                    <a:pt x="1416" y="1182"/>
                  </a:lnTo>
                  <a:lnTo>
                    <a:pt x="1410" y="1188"/>
                  </a:lnTo>
                  <a:lnTo>
                    <a:pt x="1404" y="1194"/>
                  </a:lnTo>
                  <a:lnTo>
                    <a:pt x="1404" y="1200"/>
                  </a:lnTo>
                  <a:lnTo>
                    <a:pt x="1404" y="1206"/>
                  </a:lnTo>
                  <a:lnTo>
                    <a:pt x="1398" y="1212"/>
                  </a:lnTo>
                  <a:lnTo>
                    <a:pt x="1398" y="1206"/>
                  </a:lnTo>
                  <a:lnTo>
                    <a:pt x="1392" y="1206"/>
                  </a:lnTo>
                  <a:lnTo>
                    <a:pt x="1386" y="1206"/>
                  </a:lnTo>
                  <a:lnTo>
                    <a:pt x="1380" y="1212"/>
                  </a:lnTo>
                  <a:lnTo>
                    <a:pt x="1374" y="1212"/>
                  </a:lnTo>
                  <a:lnTo>
                    <a:pt x="1368" y="1218"/>
                  </a:lnTo>
                  <a:lnTo>
                    <a:pt x="1362" y="1218"/>
                  </a:lnTo>
                  <a:lnTo>
                    <a:pt x="1362" y="1224"/>
                  </a:lnTo>
                  <a:lnTo>
                    <a:pt x="1356" y="1230"/>
                  </a:lnTo>
                  <a:lnTo>
                    <a:pt x="1350" y="1230"/>
                  </a:lnTo>
                  <a:lnTo>
                    <a:pt x="1344" y="1236"/>
                  </a:lnTo>
                  <a:lnTo>
                    <a:pt x="1338" y="1230"/>
                  </a:lnTo>
                  <a:lnTo>
                    <a:pt x="1332" y="1230"/>
                  </a:lnTo>
                  <a:lnTo>
                    <a:pt x="1326" y="1230"/>
                  </a:lnTo>
                  <a:lnTo>
                    <a:pt x="1320" y="1230"/>
                  </a:lnTo>
                  <a:lnTo>
                    <a:pt x="1314" y="1230"/>
                  </a:lnTo>
                  <a:lnTo>
                    <a:pt x="1296" y="1242"/>
                  </a:lnTo>
                  <a:lnTo>
                    <a:pt x="1296" y="1248"/>
                  </a:lnTo>
                  <a:lnTo>
                    <a:pt x="1290" y="1248"/>
                  </a:lnTo>
                  <a:lnTo>
                    <a:pt x="1290" y="1260"/>
                  </a:lnTo>
                  <a:lnTo>
                    <a:pt x="1278" y="1272"/>
                  </a:lnTo>
                  <a:lnTo>
                    <a:pt x="1278" y="1278"/>
                  </a:lnTo>
                  <a:lnTo>
                    <a:pt x="1278" y="1284"/>
                  </a:lnTo>
                  <a:lnTo>
                    <a:pt x="1278" y="1290"/>
                  </a:lnTo>
                  <a:lnTo>
                    <a:pt x="1284" y="1296"/>
                  </a:lnTo>
                  <a:lnTo>
                    <a:pt x="1302" y="1302"/>
                  </a:lnTo>
                  <a:lnTo>
                    <a:pt x="1308" y="1308"/>
                  </a:lnTo>
                  <a:lnTo>
                    <a:pt x="1308" y="1314"/>
                  </a:lnTo>
                  <a:lnTo>
                    <a:pt x="1302" y="1320"/>
                  </a:lnTo>
                  <a:lnTo>
                    <a:pt x="1278" y="1314"/>
                  </a:lnTo>
                  <a:lnTo>
                    <a:pt x="1266" y="1308"/>
                  </a:lnTo>
                  <a:lnTo>
                    <a:pt x="1260" y="1296"/>
                  </a:lnTo>
                  <a:lnTo>
                    <a:pt x="1236" y="1296"/>
                  </a:lnTo>
                  <a:lnTo>
                    <a:pt x="1224" y="1308"/>
                  </a:lnTo>
                  <a:lnTo>
                    <a:pt x="1218" y="1308"/>
                  </a:lnTo>
                  <a:lnTo>
                    <a:pt x="1218" y="1302"/>
                  </a:lnTo>
                  <a:lnTo>
                    <a:pt x="1212" y="1302"/>
                  </a:lnTo>
                  <a:lnTo>
                    <a:pt x="1206" y="1302"/>
                  </a:lnTo>
                  <a:lnTo>
                    <a:pt x="1170" y="1314"/>
                  </a:lnTo>
                  <a:lnTo>
                    <a:pt x="1134" y="1296"/>
                  </a:lnTo>
                  <a:lnTo>
                    <a:pt x="1122" y="1290"/>
                  </a:lnTo>
                  <a:lnTo>
                    <a:pt x="1104" y="1290"/>
                  </a:lnTo>
                  <a:lnTo>
                    <a:pt x="1098" y="1278"/>
                  </a:lnTo>
                  <a:lnTo>
                    <a:pt x="1092" y="1242"/>
                  </a:lnTo>
                  <a:lnTo>
                    <a:pt x="1086" y="1242"/>
                  </a:lnTo>
                  <a:lnTo>
                    <a:pt x="1086" y="1248"/>
                  </a:lnTo>
                  <a:lnTo>
                    <a:pt x="1086" y="1254"/>
                  </a:lnTo>
                  <a:lnTo>
                    <a:pt x="1080" y="1254"/>
                  </a:lnTo>
                  <a:lnTo>
                    <a:pt x="1080" y="1260"/>
                  </a:lnTo>
                  <a:lnTo>
                    <a:pt x="1074" y="1260"/>
                  </a:lnTo>
                  <a:lnTo>
                    <a:pt x="1068" y="1236"/>
                  </a:lnTo>
                  <a:lnTo>
                    <a:pt x="1068" y="1206"/>
                  </a:lnTo>
                  <a:lnTo>
                    <a:pt x="1080" y="1194"/>
                  </a:lnTo>
                  <a:lnTo>
                    <a:pt x="1086" y="1194"/>
                  </a:lnTo>
                  <a:lnTo>
                    <a:pt x="1092" y="1200"/>
                  </a:lnTo>
                  <a:lnTo>
                    <a:pt x="1098" y="1206"/>
                  </a:lnTo>
                  <a:lnTo>
                    <a:pt x="1104" y="1200"/>
                  </a:lnTo>
                  <a:lnTo>
                    <a:pt x="1104" y="1194"/>
                  </a:lnTo>
                  <a:lnTo>
                    <a:pt x="1110" y="1194"/>
                  </a:lnTo>
                  <a:lnTo>
                    <a:pt x="1110" y="1188"/>
                  </a:lnTo>
                  <a:lnTo>
                    <a:pt x="1116" y="1182"/>
                  </a:lnTo>
                  <a:lnTo>
                    <a:pt x="1110" y="1182"/>
                  </a:lnTo>
                  <a:lnTo>
                    <a:pt x="1110" y="1170"/>
                  </a:lnTo>
                  <a:lnTo>
                    <a:pt x="1110" y="1158"/>
                  </a:lnTo>
                  <a:lnTo>
                    <a:pt x="1110" y="1152"/>
                  </a:lnTo>
                  <a:lnTo>
                    <a:pt x="1104" y="1146"/>
                  </a:lnTo>
                  <a:lnTo>
                    <a:pt x="1098" y="1140"/>
                  </a:lnTo>
                  <a:lnTo>
                    <a:pt x="1098" y="1134"/>
                  </a:lnTo>
                  <a:lnTo>
                    <a:pt x="1098" y="1128"/>
                  </a:lnTo>
                  <a:lnTo>
                    <a:pt x="1092" y="1128"/>
                  </a:lnTo>
                  <a:lnTo>
                    <a:pt x="1092" y="1122"/>
                  </a:lnTo>
                  <a:lnTo>
                    <a:pt x="1092" y="1116"/>
                  </a:lnTo>
                  <a:lnTo>
                    <a:pt x="1092" y="1110"/>
                  </a:lnTo>
                  <a:lnTo>
                    <a:pt x="1056" y="1122"/>
                  </a:lnTo>
                  <a:lnTo>
                    <a:pt x="1038" y="1128"/>
                  </a:lnTo>
                  <a:lnTo>
                    <a:pt x="1032" y="1128"/>
                  </a:lnTo>
                  <a:lnTo>
                    <a:pt x="1026" y="1128"/>
                  </a:lnTo>
                  <a:lnTo>
                    <a:pt x="1020" y="1128"/>
                  </a:lnTo>
                  <a:lnTo>
                    <a:pt x="1014" y="1128"/>
                  </a:lnTo>
                  <a:lnTo>
                    <a:pt x="1014" y="1122"/>
                  </a:lnTo>
                  <a:lnTo>
                    <a:pt x="1008" y="1122"/>
                  </a:lnTo>
                  <a:lnTo>
                    <a:pt x="1002" y="1128"/>
                  </a:lnTo>
                  <a:lnTo>
                    <a:pt x="1002" y="1134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84" y="1140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66" y="1140"/>
                  </a:lnTo>
                  <a:lnTo>
                    <a:pt x="954" y="1140"/>
                  </a:lnTo>
                  <a:lnTo>
                    <a:pt x="954" y="1134"/>
                  </a:lnTo>
                  <a:lnTo>
                    <a:pt x="948" y="1134"/>
                  </a:lnTo>
                  <a:lnTo>
                    <a:pt x="942" y="1134"/>
                  </a:lnTo>
                  <a:lnTo>
                    <a:pt x="936" y="1134"/>
                  </a:lnTo>
                  <a:lnTo>
                    <a:pt x="930" y="1134"/>
                  </a:lnTo>
                  <a:lnTo>
                    <a:pt x="924" y="1134"/>
                  </a:lnTo>
                  <a:lnTo>
                    <a:pt x="918" y="1134"/>
                  </a:lnTo>
                  <a:lnTo>
                    <a:pt x="918" y="1128"/>
                  </a:lnTo>
                  <a:lnTo>
                    <a:pt x="918" y="1104"/>
                  </a:lnTo>
                  <a:lnTo>
                    <a:pt x="906" y="1104"/>
                  </a:lnTo>
                  <a:lnTo>
                    <a:pt x="900" y="1098"/>
                  </a:lnTo>
                  <a:lnTo>
                    <a:pt x="900" y="1092"/>
                  </a:lnTo>
                  <a:lnTo>
                    <a:pt x="900" y="1086"/>
                  </a:lnTo>
                  <a:lnTo>
                    <a:pt x="900" y="1080"/>
                  </a:lnTo>
                  <a:lnTo>
                    <a:pt x="894" y="1080"/>
                  </a:lnTo>
                  <a:lnTo>
                    <a:pt x="858" y="1074"/>
                  </a:lnTo>
                  <a:lnTo>
                    <a:pt x="852" y="1080"/>
                  </a:lnTo>
                  <a:lnTo>
                    <a:pt x="846" y="1086"/>
                  </a:lnTo>
                  <a:lnTo>
                    <a:pt x="840" y="1086"/>
                  </a:lnTo>
                  <a:lnTo>
                    <a:pt x="840" y="1092"/>
                  </a:lnTo>
                  <a:lnTo>
                    <a:pt x="834" y="1092"/>
                  </a:lnTo>
                  <a:lnTo>
                    <a:pt x="828" y="1098"/>
                  </a:lnTo>
                  <a:lnTo>
                    <a:pt x="822" y="1098"/>
                  </a:lnTo>
                  <a:lnTo>
                    <a:pt x="762" y="1074"/>
                  </a:lnTo>
                  <a:lnTo>
                    <a:pt x="756" y="1068"/>
                  </a:lnTo>
                  <a:lnTo>
                    <a:pt x="750" y="1068"/>
                  </a:lnTo>
                  <a:lnTo>
                    <a:pt x="744" y="1062"/>
                  </a:lnTo>
                  <a:lnTo>
                    <a:pt x="744" y="1068"/>
                  </a:lnTo>
                  <a:lnTo>
                    <a:pt x="744" y="1074"/>
                  </a:lnTo>
                  <a:lnTo>
                    <a:pt x="738" y="1074"/>
                  </a:lnTo>
                  <a:lnTo>
                    <a:pt x="738" y="1068"/>
                  </a:lnTo>
                  <a:lnTo>
                    <a:pt x="732" y="1068"/>
                  </a:lnTo>
                  <a:lnTo>
                    <a:pt x="726" y="1068"/>
                  </a:lnTo>
                  <a:lnTo>
                    <a:pt x="726" y="1074"/>
                  </a:lnTo>
                  <a:lnTo>
                    <a:pt x="720" y="1074"/>
                  </a:lnTo>
                  <a:lnTo>
                    <a:pt x="684" y="106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5" name="Freeform 40">
              <a:extLst>
                <a:ext uri="{FF2B5EF4-FFF2-40B4-BE49-F238E27FC236}">
                  <a16:creationId xmlns:a16="http://schemas.microsoft.com/office/drawing/2014/main" id="{37EC2F22-BDB9-4162-8FA4-08493F6898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3558" y="1520374"/>
              <a:ext cx="1057717" cy="1252440"/>
            </a:xfrm>
            <a:custGeom>
              <a:avLst/>
              <a:gdLst>
                <a:gd name="T0" fmla="*/ 98 w 1992"/>
                <a:gd name="T1" fmla="*/ 162 h 2358"/>
                <a:gd name="T2" fmla="*/ 93 w 1992"/>
                <a:gd name="T3" fmla="*/ 172 h 2358"/>
                <a:gd name="T4" fmla="*/ 82 w 1992"/>
                <a:gd name="T5" fmla="*/ 179 h 2358"/>
                <a:gd name="T6" fmla="*/ 70 w 1992"/>
                <a:gd name="T7" fmla="*/ 174 h 2358"/>
                <a:gd name="T8" fmla="*/ 62 w 1992"/>
                <a:gd name="T9" fmla="*/ 182 h 2358"/>
                <a:gd name="T10" fmla="*/ 45 w 1992"/>
                <a:gd name="T11" fmla="*/ 189 h 2358"/>
                <a:gd name="T12" fmla="*/ 24 w 1992"/>
                <a:gd name="T13" fmla="*/ 205 h 2358"/>
                <a:gd name="T14" fmla="*/ 17 w 1992"/>
                <a:gd name="T15" fmla="*/ 204 h 2358"/>
                <a:gd name="T16" fmla="*/ 7 w 1992"/>
                <a:gd name="T17" fmla="*/ 197 h 2358"/>
                <a:gd name="T18" fmla="*/ 1 w 1992"/>
                <a:gd name="T19" fmla="*/ 191 h 2358"/>
                <a:gd name="T20" fmla="*/ 4 w 1992"/>
                <a:gd name="T21" fmla="*/ 175 h 2358"/>
                <a:gd name="T22" fmla="*/ 7 w 1992"/>
                <a:gd name="T23" fmla="*/ 172 h 2358"/>
                <a:gd name="T24" fmla="*/ 11 w 1992"/>
                <a:gd name="T25" fmla="*/ 168 h 2358"/>
                <a:gd name="T26" fmla="*/ 5 w 1992"/>
                <a:gd name="T27" fmla="*/ 159 h 2358"/>
                <a:gd name="T28" fmla="*/ 10 w 1992"/>
                <a:gd name="T29" fmla="*/ 156 h 2358"/>
                <a:gd name="T30" fmla="*/ 15 w 1992"/>
                <a:gd name="T31" fmla="*/ 155 h 2358"/>
                <a:gd name="T32" fmla="*/ 24 w 1992"/>
                <a:gd name="T33" fmla="*/ 149 h 2358"/>
                <a:gd name="T34" fmla="*/ 38 w 1992"/>
                <a:gd name="T35" fmla="*/ 127 h 2358"/>
                <a:gd name="T36" fmla="*/ 38 w 1992"/>
                <a:gd name="T37" fmla="*/ 107 h 2358"/>
                <a:gd name="T38" fmla="*/ 45 w 1992"/>
                <a:gd name="T39" fmla="*/ 66 h 2358"/>
                <a:gd name="T40" fmla="*/ 47 w 1992"/>
                <a:gd name="T41" fmla="*/ 36 h 2358"/>
                <a:gd name="T42" fmla="*/ 51 w 1992"/>
                <a:gd name="T43" fmla="*/ 35 h 2358"/>
                <a:gd name="T44" fmla="*/ 55 w 1992"/>
                <a:gd name="T45" fmla="*/ 30 h 2358"/>
                <a:gd name="T46" fmla="*/ 56 w 1992"/>
                <a:gd name="T47" fmla="*/ 27 h 2358"/>
                <a:gd name="T48" fmla="*/ 60 w 1992"/>
                <a:gd name="T49" fmla="*/ 23 h 2358"/>
                <a:gd name="T50" fmla="*/ 63 w 1992"/>
                <a:gd name="T51" fmla="*/ 23 h 2358"/>
                <a:gd name="T52" fmla="*/ 70 w 1992"/>
                <a:gd name="T53" fmla="*/ 18 h 2358"/>
                <a:gd name="T54" fmla="*/ 71 w 1992"/>
                <a:gd name="T55" fmla="*/ 15 h 2358"/>
                <a:gd name="T56" fmla="*/ 72 w 1992"/>
                <a:gd name="T57" fmla="*/ 13 h 2358"/>
                <a:gd name="T58" fmla="*/ 77 w 1992"/>
                <a:gd name="T59" fmla="*/ 12 h 2358"/>
                <a:gd name="T60" fmla="*/ 83 w 1992"/>
                <a:gd name="T61" fmla="*/ 10 h 2358"/>
                <a:gd name="T62" fmla="*/ 87 w 1992"/>
                <a:gd name="T63" fmla="*/ 10 h 2358"/>
                <a:gd name="T64" fmla="*/ 89 w 1992"/>
                <a:gd name="T65" fmla="*/ 10 h 2358"/>
                <a:gd name="T66" fmla="*/ 93 w 1992"/>
                <a:gd name="T67" fmla="*/ 8 h 2358"/>
                <a:gd name="T68" fmla="*/ 95 w 1992"/>
                <a:gd name="T69" fmla="*/ 4 h 2358"/>
                <a:gd name="T70" fmla="*/ 99 w 1992"/>
                <a:gd name="T71" fmla="*/ 0 h 2358"/>
                <a:gd name="T72" fmla="*/ 111 w 1992"/>
                <a:gd name="T73" fmla="*/ 0 h 2358"/>
                <a:gd name="T74" fmla="*/ 121 w 1992"/>
                <a:gd name="T75" fmla="*/ 9 h 2358"/>
                <a:gd name="T76" fmla="*/ 128 w 1992"/>
                <a:gd name="T77" fmla="*/ 19 h 2358"/>
                <a:gd name="T78" fmla="*/ 138 w 1992"/>
                <a:gd name="T79" fmla="*/ 33 h 2358"/>
                <a:gd name="T80" fmla="*/ 142 w 1992"/>
                <a:gd name="T81" fmla="*/ 47 h 2358"/>
                <a:gd name="T82" fmla="*/ 145 w 1992"/>
                <a:gd name="T83" fmla="*/ 62 h 2358"/>
                <a:gd name="T84" fmla="*/ 145 w 1992"/>
                <a:gd name="T85" fmla="*/ 70 h 2358"/>
                <a:gd name="T86" fmla="*/ 147 w 1992"/>
                <a:gd name="T87" fmla="*/ 75 h 2358"/>
                <a:gd name="T88" fmla="*/ 153 w 1992"/>
                <a:gd name="T89" fmla="*/ 75 h 2358"/>
                <a:gd name="T90" fmla="*/ 160 w 1992"/>
                <a:gd name="T91" fmla="*/ 76 h 2358"/>
                <a:gd name="T92" fmla="*/ 164 w 1992"/>
                <a:gd name="T93" fmla="*/ 79 h 2358"/>
                <a:gd name="T94" fmla="*/ 168 w 1992"/>
                <a:gd name="T95" fmla="*/ 83 h 2358"/>
                <a:gd name="T96" fmla="*/ 172 w 1992"/>
                <a:gd name="T97" fmla="*/ 86 h 2358"/>
                <a:gd name="T98" fmla="*/ 170 w 1992"/>
                <a:gd name="T99" fmla="*/ 93 h 2358"/>
                <a:gd name="T100" fmla="*/ 170 w 1992"/>
                <a:gd name="T101" fmla="*/ 99 h 2358"/>
                <a:gd name="T102" fmla="*/ 169 w 1992"/>
                <a:gd name="T103" fmla="*/ 106 h 2358"/>
                <a:gd name="T104" fmla="*/ 166 w 1992"/>
                <a:gd name="T105" fmla="*/ 113 h 2358"/>
                <a:gd name="T106" fmla="*/ 170 w 1992"/>
                <a:gd name="T107" fmla="*/ 122 h 2358"/>
                <a:gd name="T108" fmla="*/ 159 w 1992"/>
                <a:gd name="T109" fmla="*/ 128 h 2358"/>
                <a:gd name="T110" fmla="*/ 148 w 1992"/>
                <a:gd name="T111" fmla="*/ 134 h 2358"/>
                <a:gd name="T112" fmla="*/ 139 w 1992"/>
                <a:gd name="T113" fmla="*/ 136 h 2358"/>
                <a:gd name="T114" fmla="*/ 132 w 1992"/>
                <a:gd name="T115" fmla="*/ 138 h 2358"/>
                <a:gd name="T116" fmla="*/ 128 w 1992"/>
                <a:gd name="T117" fmla="*/ 145 h 2358"/>
                <a:gd name="T118" fmla="*/ 124 w 1992"/>
                <a:gd name="T119" fmla="*/ 150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92"/>
                <a:gd name="T181" fmla="*/ 0 h 2358"/>
                <a:gd name="T182" fmla="*/ 1992 w 1992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92" h="2358">
                  <a:moveTo>
                    <a:pt x="1356" y="1782"/>
                  </a:moveTo>
                  <a:lnTo>
                    <a:pt x="1350" y="1788"/>
                  </a:lnTo>
                  <a:lnTo>
                    <a:pt x="1266" y="1788"/>
                  </a:lnTo>
                  <a:lnTo>
                    <a:pt x="1260" y="1800"/>
                  </a:lnTo>
                  <a:lnTo>
                    <a:pt x="1242" y="1806"/>
                  </a:lnTo>
                  <a:lnTo>
                    <a:pt x="1218" y="1812"/>
                  </a:lnTo>
                  <a:lnTo>
                    <a:pt x="1182" y="1812"/>
                  </a:lnTo>
                  <a:lnTo>
                    <a:pt x="1158" y="1806"/>
                  </a:lnTo>
                  <a:lnTo>
                    <a:pt x="1134" y="1800"/>
                  </a:lnTo>
                  <a:lnTo>
                    <a:pt x="1134" y="1806"/>
                  </a:lnTo>
                  <a:lnTo>
                    <a:pt x="1134" y="1830"/>
                  </a:lnTo>
                  <a:lnTo>
                    <a:pt x="1128" y="1842"/>
                  </a:lnTo>
                  <a:lnTo>
                    <a:pt x="1128" y="1854"/>
                  </a:lnTo>
                  <a:lnTo>
                    <a:pt x="1128" y="1860"/>
                  </a:lnTo>
                  <a:lnTo>
                    <a:pt x="1128" y="1866"/>
                  </a:lnTo>
                  <a:lnTo>
                    <a:pt x="1128" y="1872"/>
                  </a:lnTo>
                  <a:lnTo>
                    <a:pt x="1128" y="1884"/>
                  </a:lnTo>
                  <a:lnTo>
                    <a:pt x="1128" y="1890"/>
                  </a:lnTo>
                  <a:lnTo>
                    <a:pt x="1128" y="1896"/>
                  </a:lnTo>
                  <a:lnTo>
                    <a:pt x="1122" y="1902"/>
                  </a:lnTo>
                  <a:lnTo>
                    <a:pt x="1122" y="1920"/>
                  </a:lnTo>
                  <a:lnTo>
                    <a:pt x="1116" y="1920"/>
                  </a:lnTo>
                  <a:lnTo>
                    <a:pt x="1110" y="1926"/>
                  </a:lnTo>
                  <a:lnTo>
                    <a:pt x="1110" y="1932"/>
                  </a:lnTo>
                  <a:lnTo>
                    <a:pt x="1104" y="1938"/>
                  </a:lnTo>
                  <a:lnTo>
                    <a:pt x="1086" y="1962"/>
                  </a:lnTo>
                  <a:lnTo>
                    <a:pt x="1074" y="1974"/>
                  </a:lnTo>
                  <a:lnTo>
                    <a:pt x="1074" y="1980"/>
                  </a:lnTo>
                  <a:lnTo>
                    <a:pt x="1068" y="1986"/>
                  </a:lnTo>
                  <a:lnTo>
                    <a:pt x="1062" y="1998"/>
                  </a:lnTo>
                  <a:lnTo>
                    <a:pt x="1062" y="2004"/>
                  </a:lnTo>
                  <a:lnTo>
                    <a:pt x="1068" y="2004"/>
                  </a:lnTo>
                  <a:lnTo>
                    <a:pt x="1056" y="2034"/>
                  </a:lnTo>
                  <a:lnTo>
                    <a:pt x="1050" y="2076"/>
                  </a:lnTo>
                  <a:lnTo>
                    <a:pt x="1056" y="2100"/>
                  </a:lnTo>
                  <a:lnTo>
                    <a:pt x="1038" y="2106"/>
                  </a:lnTo>
                  <a:lnTo>
                    <a:pt x="1002" y="2106"/>
                  </a:lnTo>
                  <a:lnTo>
                    <a:pt x="978" y="2094"/>
                  </a:lnTo>
                  <a:lnTo>
                    <a:pt x="972" y="2082"/>
                  </a:lnTo>
                  <a:lnTo>
                    <a:pt x="966" y="2070"/>
                  </a:lnTo>
                  <a:lnTo>
                    <a:pt x="954" y="2064"/>
                  </a:lnTo>
                  <a:lnTo>
                    <a:pt x="942" y="2058"/>
                  </a:lnTo>
                  <a:lnTo>
                    <a:pt x="936" y="2058"/>
                  </a:lnTo>
                  <a:lnTo>
                    <a:pt x="918" y="2046"/>
                  </a:lnTo>
                  <a:lnTo>
                    <a:pt x="906" y="2028"/>
                  </a:lnTo>
                  <a:lnTo>
                    <a:pt x="900" y="2022"/>
                  </a:lnTo>
                  <a:lnTo>
                    <a:pt x="894" y="2022"/>
                  </a:lnTo>
                  <a:lnTo>
                    <a:pt x="882" y="2022"/>
                  </a:lnTo>
                  <a:lnTo>
                    <a:pt x="870" y="2016"/>
                  </a:lnTo>
                  <a:lnTo>
                    <a:pt x="864" y="2016"/>
                  </a:lnTo>
                  <a:lnTo>
                    <a:pt x="852" y="2010"/>
                  </a:lnTo>
                  <a:lnTo>
                    <a:pt x="846" y="2004"/>
                  </a:lnTo>
                  <a:lnTo>
                    <a:pt x="840" y="2004"/>
                  </a:lnTo>
                  <a:lnTo>
                    <a:pt x="828" y="1998"/>
                  </a:lnTo>
                  <a:lnTo>
                    <a:pt x="816" y="1998"/>
                  </a:lnTo>
                  <a:lnTo>
                    <a:pt x="810" y="1998"/>
                  </a:lnTo>
                  <a:lnTo>
                    <a:pt x="804" y="1998"/>
                  </a:lnTo>
                  <a:lnTo>
                    <a:pt x="798" y="1998"/>
                  </a:lnTo>
                  <a:lnTo>
                    <a:pt x="792" y="2004"/>
                  </a:lnTo>
                  <a:lnTo>
                    <a:pt x="786" y="2010"/>
                  </a:lnTo>
                  <a:lnTo>
                    <a:pt x="762" y="2010"/>
                  </a:lnTo>
                  <a:lnTo>
                    <a:pt x="756" y="2010"/>
                  </a:lnTo>
                  <a:lnTo>
                    <a:pt x="744" y="2022"/>
                  </a:lnTo>
                  <a:lnTo>
                    <a:pt x="738" y="2034"/>
                  </a:lnTo>
                  <a:lnTo>
                    <a:pt x="732" y="2040"/>
                  </a:lnTo>
                  <a:lnTo>
                    <a:pt x="732" y="2046"/>
                  </a:lnTo>
                  <a:lnTo>
                    <a:pt x="726" y="2058"/>
                  </a:lnTo>
                  <a:lnTo>
                    <a:pt x="720" y="2064"/>
                  </a:lnTo>
                  <a:lnTo>
                    <a:pt x="714" y="2070"/>
                  </a:lnTo>
                  <a:lnTo>
                    <a:pt x="708" y="2088"/>
                  </a:lnTo>
                  <a:lnTo>
                    <a:pt x="702" y="2100"/>
                  </a:lnTo>
                  <a:lnTo>
                    <a:pt x="690" y="2100"/>
                  </a:lnTo>
                  <a:lnTo>
                    <a:pt x="684" y="2094"/>
                  </a:lnTo>
                  <a:lnTo>
                    <a:pt x="666" y="2100"/>
                  </a:lnTo>
                  <a:lnTo>
                    <a:pt x="636" y="2106"/>
                  </a:lnTo>
                  <a:lnTo>
                    <a:pt x="636" y="2112"/>
                  </a:lnTo>
                  <a:lnTo>
                    <a:pt x="636" y="2118"/>
                  </a:lnTo>
                  <a:lnTo>
                    <a:pt x="636" y="2124"/>
                  </a:lnTo>
                  <a:lnTo>
                    <a:pt x="630" y="2124"/>
                  </a:lnTo>
                  <a:lnTo>
                    <a:pt x="630" y="2148"/>
                  </a:lnTo>
                  <a:lnTo>
                    <a:pt x="612" y="2160"/>
                  </a:lnTo>
                  <a:lnTo>
                    <a:pt x="576" y="2172"/>
                  </a:lnTo>
                  <a:lnTo>
                    <a:pt x="546" y="2172"/>
                  </a:lnTo>
                  <a:lnTo>
                    <a:pt x="516" y="2172"/>
                  </a:lnTo>
                  <a:lnTo>
                    <a:pt x="486" y="2172"/>
                  </a:lnTo>
                  <a:lnTo>
                    <a:pt x="462" y="2172"/>
                  </a:lnTo>
                  <a:lnTo>
                    <a:pt x="444" y="2196"/>
                  </a:lnTo>
                  <a:lnTo>
                    <a:pt x="432" y="2232"/>
                  </a:lnTo>
                  <a:lnTo>
                    <a:pt x="408" y="2238"/>
                  </a:lnTo>
                  <a:lnTo>
                    <a:pt x="390" y="2256"/>
                  </a:lnTo>
                  <a:lnTo>
                    <a:pt x="372" y="2274"/>
                  </a:lnTo>
                  <a:lnTo>
                    <a:pt x="360" y="2274"/>
                  </a:lnTo>
                  <a:lnTo>
                    <a:pt x="336" y="2328"/>
                  </a:lnTo>
                  <a:lnTo>
                    <a:pt x="324" y="2340"/>
                  </a:lnTo>
                  <a:lnTo>
                    <a:pt x="300" y="2346"/>
                  </a:lnTo>
                  <a:lnTo>
                    <a:pt x="294" y="2352"/>
                  </a:lnTo>
                  <a:lnTo>
                    <a:pt x="288" y="2352"/>
                  </a:lnTo>
                  <a:lnTo>
                    <a:pt x="282" y="2352"/>
                  </a:lnTo>
                  <a:lnTo>
                    <a:pt x="276" y="2352"/>
                  </a:lnTo>
                  <a:lnTo>
                    <a:pt x="270" y="2352"/>
                  </a:lnTo>
                  <a:lnTo>
                    <a:pt x="270" y="2346"/>
                  </a:lnTo>
                  <a:lnTo>
                    <a:pt x="264" y="2346"/>
                  </a:lnTo>
                  <a:lnTo>
                    <a:pt x="258" y="2352"/>
                  </a:lnTo>
                  <a:lnTo>
                    <a:pt x="252" y="2352"/>
                  </a:lnTo>
                  <a:lnTo>
                    <a:pt x="240" y="2352"/>
                  </a:lnTo>
                  <a:lnTo>
                    <a:pt x="228" y="2352"/>
                  </a:lnTo>
                  <a:lnTo>
                    <a:pt x="222" y="2352"/>
                  </a:lnTo>
                  <a:lnTo>
                    <a:pt x="216" y="2358"/>
                  </a:lnTo>
                  <a:lnTo>
                    <a:pt x="216" y="2352"/>
                  </a:lnTo>
                  <a:lnTo>
                    <a:pt x="210" y="2346"/>
                  </a:lnTo>
                  <a:lnTo>
                    <a:pt x="204" y="2346"/>
                  </a:lnTo>
                  <a:lnTo>
                    <a:pt x="198" y="2340"/>
                  </a:lnTo>
                  <a:lnTo>
                    <a:pt x="192" y="2340"/>
                  </a:lnTo>
                  <a:lnTo>
                    <a:pt x="186" y="2340"/>
                  </a:lnTo>
                  <a:lnTo>
                    <a:pt x="180" y="2340"/>
                  </a:lnTo>
                  <a:lnTo>
                    <a:pt x="174" y="2340"/>
                  </a:lnTo>
                  <a:lnTo>
                    <a:pt x="162" y="2328"/>
                  </a:lnTo>
                  <a:lnTo>
                    <a:pt x="156" y="2322"/>
                  </a:lnTo>
                  <a:lnTo>
                    <a:pt x="156" y="2316"/>
                  </a:lnTo>
                  <a:lnTo>
                    <a:pt x="156" y="2310"/>
                  </a:lnTo>
                  <a:lnTo>
                    <a:pt x="132" y="2286"/>
                  </a:lnTo>
                  <a:lnTo>
                    <a:pt x="120" y="2280"/>
                  </a:lnTo>
                  <a:lnTo>
                    <a:pt x="96" y="2274"/>
                  </a:lnTo>
                  <a:lnTo>
                    <a:pt x="84" y="2268"/>
                  </a:lnTo>
                  <a:lnTo>
                    <a:pt x="78" y="2268"/>
                  </a:lnTo>
                  <a:lnTo>
                    <a:pt x="78" y="2262"/>
                  </a:lnTo>
                  <a:lnTo>
                    <a:pt x="78" y="2256"/>
                  </a:lnTo>
                  <a:lnTo>
                    <a:pt x="78" y="2250"/>
                  </a:lnTo>
                  <a:lnTo>
                    <a:pt x="72" y="2250"/>
                  </a:lnTo>
                  <a:lnTo>
                    <a:pt x="66" y="2250"/>
                  </a:lnTo>
                  <a:lnTo>
                    <a:pt x="60" y="2250"/>
                  </a:lnTo>
                  <a:lnTo>
                    <a:pt x="48" y="2244"/>
                  </a:lnTo>
                  <a:lnTo>
                    <a:pt x="36" y="2238"/>
                  </a:lnTo>
                  <a:lnTo>
                    <a:pt x="36" y="2226"/>
                  </a:lnTo>
                  <a:lnTo>
                    <a:pt x="30" y="2226"/>
                  </a:lnTo>
                  <a:lnTo>
                    <a:pt x="30" y="2220"/>
                  </a:lnTo>
                  <a:lnTo>
                    <a:pt x="24" y="2208"/>
                  </a:lnTo>
                  <a:lnTo>
                    <a:pt x="18" y="2202"/>
                  </a:lnTo>
                  <a:lnTo>
                    <a:pt x="18" y="2196"/>
                  </a:lnTo>
                  <a:lnTo>
                    <a:pt x="12" y="2190"/>
                  </a:lnTo>
                  <a:lnTo>
                    <a:pt x="0" y="2190"/>
                  </a:lnTo>
                  <a:lnTo>
                    <a:pt x="6" y="2184"/>
                  </a:lnTo>
                  <a:lnTo>
                    <a:pt x="12" y="2178"/>
                  </a:lnTo>
                  <a:lnTo>
                    <a:pt x="18" y="2172"/>
                  </a:lnTo>
                  <a:lnTo>
                    <a:pt x="24" y="2166"/>
                  </a:lnTo>
                  <a:lnTo>
                    <a:pt x="30" y="2166"/>
                  </a:lnTo>
                  <a:lnTo>
                    <a:pt x="24" y="2160"/>
                  </a:lnTo>
                  <a:lnTo>
                    <a:pt x="30" y="2160"/>
                  </a:lnTo>
                  <a:lnTo>
                    <a:pt x="36" y="2154"/>
                  </a:lnTo>
                  <a:lnTo>
                    <a:pt x="36" y="2136"/>
                  </a:lnTo>
                  <a:lnTo>
                    <a:pt x="36" y="2118"/>
                  </a:lnTo>
                  <a:lnTo>
                    <a:pt x="48" y="2058"/>
                  </a:lnTo>
                  <a:lnTo>
                    <a:pt x="48" y="2022"/>
                  </a:lnTo>
                  <a:lnTo>
                    <a:pt x="48" y="2016"/>
                  </a:lnTo>
                  <a:lnTo>
                    <a:pt x="48" y="2010"/>
                  </a:lnTo>
                  <a:lnTo>
                    <a:pt x="48" y="2004"/>
                  </a:lnTo>
                  <a:lnTo>
                    <a:pt x="42" y="2004"/>
                  </a:lnTo>
                  <a:lnTo>
                    <a:pt x="42" y="1998"/>
                  </a:lnTo>
                  <a:lnTo>
                    <a:pt x="36" y="1992"/>
                  </a:lnTo>
                  <a:lnTo>
                    <a:pt x="42" y="1992"/>
                  </a:lnTo>
                  <a:lnTo>
                    <a:pt x="42" y="1986"/>
                  </a:lnTo>
                  <a:lnTo>
                    <a:pt x="48" y="1986"/>
                  </a:lnTo>
                  <a:lnTo>
                    <a:pt x="54" y="1986"/>
                  </a:lnTo>
                  <a:lnTo>
                    <a:pt x="60" y="1986"/>
                  </a:lnTo>
                  <a:lnTo>
                    <a:pt x="66" y="1980"/>
                  </a:lnTo>
                  <a:lnTo>
                    <a:pt x="72" y="1974"/>
                  </a:lnTo>
                  <a:lnTo>
                    <a:pt x="78" y="1974"/>
                  </a:lnTo>
                  <a:lnTo>
                    <a:pt x="84" y="1974"/>
                  </a:lnTo>
                  <a:lnTo>
                    <a:pt x="90" y="1974"/>
                  </a:lnTo>
                  <a:lnTo>
                    <a:pt x="96" y="1974"/>
                  </a:lnTo>
                  <a:lnTo>
                    <a:pt x="96" y="1968"/>
                  </a:lnTo>
                  <a:lnTo>
                    <a:pt x="102" y="1968"/>
                  </a:lnTo>
                  <a:lnTo>
                    <a:pt x="102" y="1962"/>
                  </a:lnTo>
                  <a:lnTo>
                    <a:pt x="108" y="1962"/>
                  </a:lnTo>
                  <a:lnTo>
                    <a:pt x="114" y="1956"/>
                  </a:lnTo>
                  <a:lnTo>
                    <a:pt x="120" y="1956"/>
                  </a:lnTo>
                  <a:lnTo>
                    <a:pt x="126" y="1950"/>
                  </a:lnTo>
                  <a:lnTo>
                    <a:pt x="132" y="1950"/>
                  </a:lnTo>
                  <a:lnTo>
                    <a:pt x="132" y="1944"/>
                  </a:lnTo>
                  <a:lnTo>
                    <a:pt x="126" y="1944"/>
                  </a:lnTo>
                  <a:lnTo>
                    <a:pt x="126" y="1938"/>
                  </a:lnTo>
                  <a:lnTo>
                    <a:pt x="126" y="1932"/>
                  </a:lnTo>
                  <a:lnTo>
                    <a:pt x="126" y="1926"/>
                  </a:lnTo>
                  <a:lnTo>
                    <a:pt x="114" y="1914"/>
                  </a:lnTo>
                  <a:lnTo>
                    <a:pt x="114" y="1896"/>
                  </a:lnTo>
                  <a:lnTo>
                    <a:pt x="108" y="1884"/>
                  </a:lnTo>
                  <a:lnTo>
                    <a:pt x="102" y="1872"/>
                  </a:lnTo>
                  <a:lnTo>
                    <a:pt x="96" y="1866"/>
                  </a:lnTo>
                  <a:lnTo>
                    <a:pt x="96" y="1860"/>
                  </a:lnTo>
                  <a:lnTo>
                    <a:pt x="90" y="1860"/>
                  </a:lnTo>
                  <a:lnTo>
                    <a:pt x="90" y="1854"/>
                  </a:lnTo>
                  <a:lnTo>
                    <a:pt x="84" y="1848"/>
                  </a:lnTo>
                  <a:lnTo>
                    <a:pt x="78" y="1842"/>
                  </a:lnTo>
                  <a:lnTo>
                    <a:pt x="72" y="1836"/>
                  </a:lnTo>
                  <a:lnTo>
                    <a:pt x="66" y="1830"/>
                  </a:lnTo>
                  <a:lnTo>
                    <a:pt x="60" y="1824"/>
                  </a:lnTo>
                  <a:lnTo>
                    <a:pt x="54" y="1824"/>
                  </a:lnTo>
                  <a:lnTo>
                    <a:pt x="48" y="1824"/>
                  </a:lnTo>
                  <a:lnTo>
                    <a:pt x="42" y="1818"/>
                  </a:lnTo>
                  <a:lnTo>
                    <a:pt x="54" y="1818"/>
                  </a:lnTo>
                  <a:lnTo>
                    <a:pt x="60" y="1812"/>
                  </a:lnTo>
                  <a:lnTo>
                    <a:pt x="66" y="1812"/>
                  </a:lnTo>
                  <a:lnTo>
                    <a:pt x="72" y="1812"/>
                  </a:lnTo>
                  <a:lnTo>
                    <a:pt x="78" y="1812"/>
                  </a:lnTo>
                  <a:lnTo>
                    <a:pt x="84" y="1812"/>
                  </a:lnTo>
                  <a:lnTo>
                    <a:pt x="90" y="1806"/>
                  </a:lnTo>
                  <a:lnTo>
                    <a:pt x="96" y="1800"/>
                  </a:lnTo>
                  <a:lnTo>
                    <a:pt x="102" y="1806"/>
                  </a:lnTo>
                  <a:lnTo>
                    <a:pt x="108" y="1800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26" y="1788"/>
                  </a:lnTo>
                  <a:lnTo>
                    <a:pt x="126" y="1794"/>
                  </a:lnTo>
                  <a:lnTo>
                    <a:pt x="132" y="1794"/>
                  </a:lnTo>
                  <a:lnTo>
                    <a:pt x="132" y="1788"/>
                  </a:lnTo>
                  <a:lnTo>
                    <a:pt x="138" y="1788"/>
                  </a:lnTo>
                  <a:lnTo>
                    <a:pt x="138" y="1782"/>
                  </a:lnTo>
                  <a:lnTo>
                    <a:pt x="144" y="1782"/>
                  </a:lnTo>
                  <a:lnTo>
                    <a:pt x="150" y="1776"/>
                  </a:lnTo>
                  <a:lnTo>
                    <a:pt x="156" y="1782"/>
                  </a:lnTo>
                  <a:lnTo>
                    <a:pt x="162" y="1776"/>
                  </a:lnTo>
                  <a:lnTo>
                    <a:pt x="168" y="1776"/>
                  </a:lnTo>
                  <a:lnTo>
                    <a:pt x="180" y="1776"/>
                  </a:lnTo>
                  <a:lnTo>
                    <a:pt x="186" y="1776"/>
                  </a:lnTo>
                  <a:lnTo>
                    <a:pt x="186" y="1782"/>
                  </a:lnTo>
                  <a:lnTo>
                    <a:pt x="192" y="1776"/>
                  </a:lnTo>
                  <a:lnTo>
                    <a:pt x="198" y="1776"/>
                  </a:lnTo>
                  <a:lnTo>
                    <a:pt x="204" y="1770"/>
                  </a:lnTo>
                  <a:lnTo>
                    <a:pt x="204" y="1764"/>
                  </a:lnTo>
                  <a:lnTo>
                    <a:pt x="210" y="1764"/>
                  </a:lnTo>
                  <a:lnTo>
                    <a:pt x="216" y="1764"/>
                  </a:lnTo>
                  <a:lnTo>
                    <a:pt x="216" y="1758"/>
                  </a:lnTo>
                  <a:lnTo>
                    <a:pt x="222" y="1758"/>
                  </a:lnTo>
                  <a:lnTo>
                    <a:pt x="228" y="1758"/>
                  </a:lnTo>
                  <a:lnTo>
                    <a:pt x="258" y="1746"/>
                  </a:lnTo>
                  <a:lnTo>
                    <a:pt x="282" y="1716"/>
                  </a:lnTo>
                  <a:lnTo>
                    <a:pt x="300" y="1698"/>
                  </a:lnTo>
                  <a:lnTo>
                    <a:pt x="312" y="1698"/>
                  </a:lnTo>
                  <a:lnTo>
                    <a:pt x="336" y="1698"/>
                  </a:lnTo>
                  <a:lnTo>
                    <a:pt x="360" y="1698"/>
                  </a:lnTo>
                  <a:lnTo>
                    <a:pt x="372" y="1692"/>
                  </a:lnTo>
                  <a:lnTo>
                    <a:pt x="384" y="1692"/>
                  </a:lnTo>
                  <a:lnTo>
                    <a:pt x="360" y="1668"/>
                  </a:lnTo>
                  <a:lnTo>
                    <a:pt x="348" y="1626"/>
                  </a:lnTo>
                  <a:lnTo>
                    <a:pt x="354" y="1578"/>
                  </a:lnTo>
                  <a:lnTo>
                    <a:pt x="354" y="1572"/>
                  </a:lnTo>
                  <a:lnTo>
                    <a:pt x="360" y="1572"/>
                  </a:lnTo>
                  <a:lnTo>
                    <a:pt x="396" y="1530"/>
                  </a:lnTo>
                  <a:lnTo>
                    <a:pt x="408" y="1482"/>
                  </a:lnTo>
                  <a:lnTo>
                    <a:pt x="438" y="1458"/>
                  </a:lnTo>
                  <a:lnTo>
                    <a:pt x="468" y="1422"/>
                  </a:lnTo>
                  <a:lnTo>
                    <a:pt x="480" y="1410"/>
                  </a:lnTo>
                  <a:lnTo>
                    <a:pt x="474" y="1386"/>
                  </a:lnTo>
                  <a:lnTo>
                    <a:pt x="456" y="1356"/>
                  </a:lnTo>
                  <a:lnTo>
                    <a:pt x="438" y="1350"/>
                  </a:lnTo>
                  <a:lnTo>
                    <a:pt x="420" y="1350"/>
                  </a:lnTo>
                  <a:lnTo>
                    <a:pt x="402" y="1350"/>
                  </a:lnTo>
                  <a:lnTo>
                    <a:pt x="390" y="1344"/>
                  </a:lnTo>
                  <a:lnTo>
                    <a:pt x="390" y="1332"/>
                  </a:lnTo>
                  <a:lnTo>
                    <a:pt x="402" y="1296"/>
                  </a:lnTo>
                  <a:lnTo>
                    <a:pt x="414" y="1260"/>
                  </a:lnTo>
                  <a:lnTo>
                    <a:pt x="426" y="1248"/>
                  </a:lnTo>
                  <a:lnTo>
                    <a:pt x="438" y="1242"/>
                  </a:lnTo>
                  <a:lnTo>
                    <a:pt x="432" y="1230"/>
                  </a:lnTo>
                  <a:lnTo>
                    <a:pt x="432" y="1224"/>
                  </a:lnTo>
                  <a:lnTo>
                    <a:pt x="426" y="1218"/>
                  </a:lnTo>
                  <a:lnTo>
                    <a:pt x="426" y="1206"/>
                  </a:lnTo>
                  <a:lnTo>
                    <a:pt x="426" y="1200"/>
                  </a:lnTo>
                  <a:lnTo>
                    <a:pt x="432" y="1194"/>
                  </a:lnTo>
                  <a:lnTo>
                    <a:pt x="426" y="1188"/>
                  </a:lnTo>
                  <a:lnTo>
                    <a:pt x="432" y="1104"/>
                  </a:lnTo>
                  <a:lnTo>
                    <a:pt x="438" y="1086"/>
                  </a:lnTo>
                  <a:lnTo>
                    <a:pt x="462" y="972"/>
                  </a:lnTo>
                  <a:lnTo>
                    <a:pt x="456" y="900"/>
                  </a:lnTo>
                  <a:lnTo>
                    <a:pt x="444" y="846"/>
                  </a:lnTo>
                  <a:lnTo>
                    <a:pt x="456" y="810"/>
                  </a:lnTo>
                  <a:lnTo>
                    <a:pt x="492" y="786"/>
                  </a:lnTo>
                  <a:lnTo>
                    <a:pt x="522" y="762"/>
                  </a:lnTo>
                  <a:lnTo>
                    <a:pt x="546" y="732"/>
                  </a:lnTo>
                  <a:lnTo>
                    <a:pt x="570" y="696"/>
                  </a:lnTo>
                  <a:lnTo>
                    <a:pt x="582" y="654"/>
                  </a:lnTo>
                  <a:lnTo>
                    <a:pt x="564" y="642"/>
                  </a:lnTo>
                  <a:lnTo>
                    <a:pt x="522" y="588"/>
                  </a:lnTo>
                  <a:lnTo>
                    <a:pt x="516" y="546"/>
                  </a:lnTo>
                  <a:lnTo>
                    <a:pt x="510" y="474"/>
                  </a:lnTo>
                  <a:lnTo>
                    <a:pt x="510" y="450"/>
                  </a:lnTo>
                  <a:lnTo>
                    <a:pt x="510" y="444"/>
                  </a:lnTo>
                  <a:lnTo>
                    <a:pt x="522" y="438"/>
                  </a:lnTo>
                  <a:lnTo>
                    <a:pt x="522" y="432"/>
                  </a:lnTo>
                  <a:lnTo>
                    <a:pt x="528" y="426"/>
                  </a:lnTo>
                  <a:lnTo>
                    <a:pt x="534" y="420"/>
                  </a:lnTo>
                  <a:lnTo>
                    <a:pt x="540" y="414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08"/>
                  </a:lnTo>
                  <a:lnTo>
                    <a:pt x="546" y="408"/>
                  </a:lnTo>
                  <a:lnTo>
                    <a:pt x="558" y="414"/>
                  </a:lnTo>
                  <a:lnTo>
                    <a:pt x="564" y="414"/>
                  </a:lnTo>
                  <a:lnTo>
                    <a:pt x="570" y="414"/>
                  </a:lnTo>
                  <a:lnTo>
                    <a:pt x="582" y="414"/>
                  </a:lnTo>
                  <a:lnTo>
                    <a:pt x="582" y="420"/>
                  </a:lnTo>
                  <a:lnTo>
                    <a:pt x="588" y="414"/>
                  </a:lnTo>
                  <a:lnTo>
                    <a:pt x="582" y="408"/>
                  </a:lnTo>
                  <a:lnTo>
                    <a:pt x="588" y="402"/>
                  </a:lnTo>
                  <a:lnTo>
                    <a:pt x="594" y="402"/>
                  </a:lnTo>
                  <a:lnTo>
                    <a:pt x="594" y="396"/>
                  </a:lnTo>
                  <a:lnTo>
                    <a:pt x="594" y="390"/>
                  </a:lnTo>
                  <a:lnTo>
                    <a:pt x="594" y="384"/>
                  </a:lnTo>
                  <a:lnTo>
                    <a:pt x="594" y="378"/>
                  </a:lnTo>
                  <a:lnTo>
                    <a:pt x="600" y="366"/>
                  </a:lnTo>
                  <a:lnTo>
                    <a:pt x="606" y="366"/>
                  </a:lnTo>
                  <a:lnTo>
                    <a:pt x="612" y="360"/>
                  </a:lnTo>
                  <a:lnTo>
                    <a:pt x="612" y="366"/>
                  </a:lnTo>
                  <a:lnTo>
                    <a:pt x="618" y="366"/>
                  </a:lnTo>
                  <a:lnTo>
                    <a:pt x="624" y="366"/>
                  </a:lnTo>
                  <a:lnTo>
                    <a:pt x="630" y="360"/>
                  </a:lnTo>
                  <a:lnTo>
                    <a:pt x="636" y="354"/>
                  </a:lnTo>
                  <a:lnTo>
                    <a:pt x="630" y="354"/>
                  </a:lnTo>
                  <a:lnTo>
                    <a:pt x="630" y="348"/>
                  </a:lnTo>
                  <a:lnTo>
                    <a:pt x="630" y="342"/>
                  </a:lnTo>
                  <a:lnTo>
                    <a:pt x="636" y="342"/>
                  </a:lnTo>
                  <a:lnTo>
                    <a:pt x="642" y="336"/>
                  </a:lnTo>
                  <a:lnTo>
                    <a:pt x="636" y="330"/>
                  </a:lnTo>
                  <a:lnTo>
                    <a:pt x="630" y="336"/>
                  </a:lnTo>
                  <a:lnTo>
                    <a:pt x="624" y="336"/>
                  </a:lnTo>
                  <a:lnTo>
                    <a:pt x="624" y="330"/>
                  </a:lnTo>
                  <a:lnTo>
                    <a:pt x="624" y="324"/>
                  </a:lnTo>
                  <a:lnTo>
                    <a:pt x="618" y="324"/>
                  </a:lnTo>
                  <a:lnTo>
                    <a:pt x="624" y="324"/>
                  </a:lnTo>
                  <a:lnTo>
                    <a:pt x="630" y="330"/>
                  </a:lnTo>
                  <a:lnTo>
                    <a:pt x="630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2" y="306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8" y="288"/>
                  </a:lnTo>
                  <a:lnTo>
                    <a:pt x="648" y="282"/>
                  </a:lnTo>
                  <a:lnTo>
                    <a:pt x="654" y="288"/>
                  </a:lnTo>
                  <a:lnTo>
                    <a:pt x="654" y="282"/>
                  </a:lnTo>
                  <a:lnTo>
                    <a:pt x="660" y="282"/>
                  </a:lnTo>
                  <a:lnTo>
                    <a:pt x="666" y="282"/>
                  </a:lnTo>
                  <a:lnTo>
                    <a:pt x="672" y="282"/>
                  </a:lnTo>
                  <a:lnTo>
                    <a:pt x="678" y="282"/>
                  </a:lnTo>
                  <a:lnTo>
                    <a:pt x="684" y="276"/>
                  </a:lnTo>
                  <a:lnTo>
                    <a:pt x="690" y="270"/>
                  </a:lnTo>
                  <a:lnTo>
                    <a:pt x="690" y="264"/>
                  </a:lnTo>
                  <a:lnTo>
                    <a:pt x="690" y="270"/>
                  </a:lnTo>
                  <a:lnTo>
                    <a:pt x="690" y="276"/>
                  </a:lnTo>
                  <a:lnTo>
                    <a:pt x="696" y="276"/>
                  </a:lnTo>
                  <a:lnTo>
                    <a:pt x="702" y="276"/>
                  </a:lnTo>
                  <a:lnTo>
                    <a:pt x="702" y="282"/>
                  </a:lnTo>
                  <a:lnTo>
                    <a:pt x="708" y="282"/>
                  </a:lnTo>
                  <a:lnTo>
                    <a:pt x="720" y="270"/>
                  </a:lnTo>
                  <a:lnTo>
                    <a:pt x="720" y="264"/>
                  </a:lnTo>
                  <a:lnTo>
                    <a:pt x="720" y="258"/>
                  </a:lnTo>
                  <a:lnTo>
                    <a:pt x="726" y="258"/>
                  </a:lnTo>
                  <a:lnTo>
                    <a:pt x="732" y="258"/>
                  </a:lnTo>
                  <a:lnTo>
                    <a:pt x="732" y="264"/>
                  </a:lnTo>
                  <a:lnTo>
                    <a:pt x="738" y="264"/>
                  </a:lnTo>
                  <a:lnTo>
                    <a:pt x="738" y="258"/>
                  </a:lnTo>
                  <a:lnTo>
                    <a:pt x="732" y="258"/>
                  </a:lnTo>
                  <a:lnTo>
                    <a:pt x="732" y="252"/>
                  </a:lnTo>
                  <a:lnTo>
                    <a:pt x="744" y="252"/>
                  </a:lnTo>
                  <a:lnTo>
                    <a:pt x="750" y="252"/>
                  </a:lnTo>
                  <a:lnTo>
                    <a:pt x="750" y="246"/>
                  </a:lnTo>
                  <a:lnTo>
                    <a:pt x="750" y="240"/>
                  </a:lnTo>
                  <a:lnTo>
                    <a:pt x="762" y="234"/>
                  </a:lnTo>
                  <a:lnTo>
                    <a:pt x="768" y="234"/>
                  </a:lnTo>
                  <a:lnTo>
                    <a:pt x="774" y="234"/>
                  </a:lnTo>
                  <a:lnTo>
                    <a:pt x="780" y="228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16"/>
                  </a:lnTo>
                  <a:lnTo>
                    <a:pt x="792" y="210"/>
                  </a:lnTo>
                  <a:lnTo>
                    <a:pt x="804" y="204"/>
                  </a:lnTo>
                  <a:lnTo>
                    <a:pt x="804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0" y="192"/>
                  </a:lnTo>
                  <a:lnTo>
                    <a:pt x="798" y="186"/>
                  </a:lnTo>
                  <a:lnTo>
                    <a:pt x="810" y="186"/>
                  </a:lnTo>
                  <a:lnTo>
                    <a:pt x="810" y="180"/>
                  </a:lnTo>
                  <a:lnTo>
                    <a:pt x="810" y="186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0" y="180"/>
                  </a:lnTo>
                  <a:lnTo>
                    <a:pt x="816" y="174"/>
                  </a:lnTo>
                  <a:lnTo>
                    <a:pt x="822" y="174"/>
                  </a:lnTo>
                  <a:lnTo>
                    <a:pt x="822" y="180"/>
                  </a:lnTo>
                  <a:lnTo>
                    <a:pt x="828" y="180"/>
                  </a:lnTo>
                  <a:lnTo>
                    <a:pt x="828" y="174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62"/>
                  </a:lnTo>
                  <a:lnTo>
                    <a:pt x="828" y="156"/>
                  </a:lnTo>
                  <a:lnTo>
                    <a:pt x="822" y="156"/>
                  </a:lnTo>
                  <a:lnTo>
                    <a:pt x="828" y="156"/>
                  </a:lnTo>
                  <a:lnTo>
                    <a:pt x="828" y="150"/>
                  </a:lnTo>
                  <a:lnTo>
                    <a:pt x="834" y="150"/>
                  </a:lnTo>
                  <a:lnTo>
                    <a:pt x="840" y="156"/>
                  </a:lnTo>
                  <a:lnTo>
                    <a:pt x="840" y="150"/>
                  </a:lnTo>
                  <a:lnTo>
                    <a:pt x="834" y="150"/>
                  </a:lnTo>
                  <a:lnTo>
                    <a:pt x="834" y="144"/>
                  </a:lnTo>
                  <a:lnTo>
                    <a:pt x="840" y="138"/>
                  </a:lnTo>
                  <a:lnTo>
                    <a:pt x="846" y="144"/>
                  </a:lnTo>
                  <a:lnTo>
                    <a:pt x="846" y="150"/>
                  </a:lnTo>
                  <a:lnTo>
                    <a:pt x="852" y="150"/>
                  </a:lnTo>
                  <a:lnTo>
                    <a:pt x="858" y="150"/>
                  </a:lnTo>
                  <a:lnTo>
                    <a:pt x="870" y="150"/>
                  </a:lnTo>
                  <a:lnTo>
                    <a:pt x="870" y="144"/>
                  </a:lnTo>
                  <a:lnTo>
                    <a:pt x="876" y="138"/>
                  </a:lnTo>
                  <a:lnTo>
                    <a:pt x="882" y="138"/>
                  </a:lnTo>
                  <a:lnTo>
                    <a:pt x="888" y="132"/>
                  </a:lnTo>
                  <a:lnTo>
                    <a:pt x="888" y="138"/>
                  </a:lnTo>
                  <a:lnTo>
                    <a:pt x="894" y="138"/>
                  </a:lnTo>
                  <a:lnTo>
                    <a:pt x="894" y="132"/>
                  </a:lnTo>
                  <a:lnTo>
                    <a:pt x="900" y="126"/>
                  </a:lnTo>
                  <a:lnTo>
                    <a:pt x="900" y="132"/>
                  </a:lnTo>
                  <a:lnTo>
                    <a:pt x="906" y="132"/>
                  </a:lnTo>
                  <a:lnTo>
                    <a:pt x="912" y="132"/>
                  </a:lnTo>
                  <a:lnTo>
                    <a:pt x="918" y="126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24" y="126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8" y="120"/>
                  </a:lnTo>
                  <a:lnTo>
                    <a:pt x="948" y="114"/>
                  </a:lnTo>
                  <a:lnTo>
                    <a:pt x="948" y="108"/>
                  </a:lnTo>
                  <a:lnTo>
                    <a:pt x="954" y="114"/>
                  </a:lnTo>
                  <a:lnTo>
                    <a:pt x="960" y="108"/>
                  </a:lnTo>
                  <a:lnTo>
                    <a:pt x="966" y="108"/>
                  </a:lnTo>
                  <a:lnTo>
                    <a:pt x="972" y="108"/>
                  </a:lnTo>
                  <a:lnTo>
                    <a:pt x="966" y="114"/>
                  </a:lnTo>
                  <a:lnTo>
                    <a:pt x="960" y="114"/>
                  </a:lnTo>
                  <a:lnTo>
                    <a:pt x="960" y="120"/>
                  </a:lnTo>
                  <a:lnTo>
                    <a:pt x="966" y="126"/>
                  </a:lnTo>
                  <a:lnTo>
                    <a:pt x="972" y="126"/>
                  </a:lnTo>
                  <a:lnTo>
                    <a:pt x="978" y="126"/>
                  </a:lnTo>
                  <a:lnTo>
                    <a:pt x="984" y="120"/>
                  </a:lnTo>
                  <a:lnTo>
                    <a:pt x="984" y="114"/>
                  </a:lnTo>
                  <a:lnTo>
                    <a:pt x="996" y="126"/>
                  </a:lnTo>
                  <a:lnTo>
                    <a:pt x="996" y="120"/>
                  </a:lnTo>
                  <a:lnTo>
                    <a:pt x="1002" y="120"/>
                  </a:lnTo>
                  <a:lnTo>
                    <a:pt x="996" y="114"/>
                  </a:lnTo>
                  <a:lnTo>
                    <a:pt x="1002" y="114"/>
                  </a:lnTo>
                  <a:lnTo>
                    <a:pt x="1008" y="114"/>
                  </a:lnTo>
                  <a:lnTo>
                    <a:pt x="1008" y="108"/>
                  </a:lnTo>
                  <a:lnTo>
                    <a:pt x="1014" y="108"/>
                  </a:lnTo>
                  <a:lnTo>
                    <a:pt x="1008" y="114"/>
                  </a:lnTo>
                  <a:lnTo>
                    <a:pt x="1008" y="120"/>
                  </a:lnTo>
                  <a:lnTo>
                    <a:pt x="1008" y="126"/>
                  </a:lnTo>
                  <a:lnTo>
                    <a:pt x="1014" y="126"/>
                  </a:lnTo>
                  <a:lnTo>
                    <a:pt x="1014" y="132"/>
                  </a:lnTo>
                  <a:lnTo>
                    <a:pt x="1020" y="132"/>
                  </a:lnTo>
                  <a:lnTo>
                    <a:pt x="1020" y="126"/>
                  </a:lnTo>
                  <a:lnTo>
                    <a:pt x="1020" y="120"/>
                  </a:lnTo>
                  <a:lnTo>
                    <a:pt x="1032" y="120"/>
                  </a:lnTo>
                  <a:lnTo>
                    <a:pt x="1038" y="120"/>
                  </a:lnTo>
                  <a:lnTo>
                    <a:pt x="1038" y="126"/>
                  </a:lnTo>
                  <a:lnTo>
                    <a:pt x="1044" y="132"/>
                  </a:lnTo>
                  <a:lnTo>
                    <a:pt x="1044" y="126"/>
                  </a:lnTo>
                  <a:lnTo>
                    <a:pt x="1050" y="120"/>
                  </a:lnTo>
                  <a:lnTo>
                    <a:pt x="1050" y="114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68" y="102"/>
                  </a:lnTo>
                  <a:lnTo>
                    <a:pt x="1074" y="96"/>
                  </a:lnTo>
                  <a:lnTo>
                    <a:pt x="1074" y="90"/>
                  </a:lnTo>
                  <a:lnTo>
                    <a:pt x="1068" y="90"/>
                  </a:lnTo>
                  <a:lnTo>
                    <a:pt x="1068" y="84"/>
                  </a:lnTo>
                  <a:lnTo>
                    <a:pt x="1080" y="84"/>
                  </a:lnTo>
                  <a:lnTo>
                    <a:pt x="1086" y="78"/>
                  </a:lnTo>
                  <a:lnTo>
                    <a:pt x="1086" y="72"/>
                  </a:lnTo>
                  <a:lnTo>
                    <a:pt x="1080" y="78"/>
                  </a:lnTo>
                  <a:lnTo>
                    <a:pt x="1080" y="72"/>
                  </a:lnTo>
                  <a:lnTo>
                    <a:pt x="1080" y="66"/>
                  </a:lnTo>
                  <a:lnTo>
                    <a:pt x="1074" y="66"/>
                  </a:lnTo>
                  <a:lnTo>
                    <a:pt x="1080" y="66"/>
                  </a:lnTo>
                  <a:lnTo>
                    <a:pt x="1080" y="60"/>
                  </a:lnTo>
                  <a:lnTo>
                    <a:pt x="1086" y="60"/>
                  </a:lnTo>
                  <a:lnTo>
                    <a:pt x="1086" y="54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2" y="42"/>
                  </a:lnTo>
                  <a:lnTo>
                    <a:pt x="1098" y="42"/>
                  </a:lnTo>
                  <a:lnTo>
                    <a:pt x="1104" y="36"/>
                  </a:lnTo>
                  <a:lnTo>
                    <a:pt x="1110" y="36"/>
                  </a:lnTo>
                  <a:lnTo>
                    <a:pt x="1110" y="30"/>
                  </a:lnTo>
                  <a:lnTo>
                    <a:pt x="1110" y="24"/>
                  </a:lnTo>
                  <a:lnTo>
                    <a:pt x="1116" y="24"/>
                  </a:lnTo>
                  <a:lnTo>
                    <a:pt x="1116" y="18"/>
                  </a:lnTo>
                  <a:lnTo>
                    <a:pt x="1122" y="18"/>
                  </a:lnTo>
                  <a:lnTo>
                    <a:pt x="1128" y="18"/>
                  </a:lnTo>
                  <a:lnTo>
                    <a:pt x="1134" y="12"/>
                  </a:lnTo>
                  <a:lnTo>
                    <a:pt x="1134" y="6"/>
                  </a:lnTo>
                  <a:lnTo>
                    <a:pt x="1140" y="6"/>
                  </a:lnTo>
                  <a:lnTo>
                    <a:pt x="1146" y="0"/>
                  </a:lnTo>
                  <a:lnTo>
                    <a:pt x="1152" y="0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70" y="0"/>
                  </a:lnTo>
                  <a:lnTo>
                    <a:pt x="1176" y="6"/>
                  </a:lnTo>
                  <a:lnTo>
                    <a:pt x="1182" y="6"/>
                  </a:lnTo>
                  <a:lnTo>
                    <a:pt x="1194" y="6"/>
                  </a:lnTo>
                  <a:lnTo>
                    <a:pt x="1200" y="6"/>
                  </a:lnTo>
                  <a:lnTo>
                    <a:pt x="1212" y="0"/>
                  </a:lnTo>
                  <a:lnTo>
                    <a:pt x="1212" y="6"/>
                  </a:lnTo>
                  <a:lnTo>
                    <a:pt x="1218" y="6"/>
                  </a:lnTo>
                  <a:lnTo>
                    <a:pt x="1266" y="6"/>
                  </a:lnTo>
                  <a:lnTo>
                    <a:pt x="1272" y="0"/>
                  </a:lnTo>
                  <a:lnTo>
                    <a:pt x="1278" y="6"/>
                  </a:lnTo>
                  <a:lnTo>
                    <a:pt x="1290" y="6"/>
                  </a:lnTo>
                  <a:lnTo>
                    <a:pt x="1296" y="6"/>
                  </a:lnTo>
                  <a:lnTo>
                    <a:pt x="1308" y="6"/>
                  </a:lnTo>
                  <a:lnTo>
                    <a:pt x="1314" y="6"/>
                  </a:lnTo>
                  <a:lnTo>
                    <a:pt x="1320" y="6"/>
                  </a:lnTo>
                  <a:lnTo>
                    <a:pt x="1326" y="12"/>
                  </a:lnTo>
                  <a:lnTo>
                    <a:pt x="1338" y="30"/>
                  </a:lnTo>
                  <a:lnTo>
                    <a:pt x="1344" y="36"/>
                  </a:lnTo>
                  <a:lnTo>
                    <a:pt x="1356" y="48"/>
                  </a:lnTo>
                  <a:lnTo>
                    <a:pt x="1362" y="60"/>
                  </a:lnTo>
                  <a:lnTo>
                    <a:pt x="1368" y="66"/>
                  </a:lnTo>
                  <a:lnTo>
                    <a:pt x="1374" y="72"/>
                  </a:lnTo>
                  <a:lnTo>
                    <a:pt x="1374" y="78"/>
                  </a:lnTo>
                  <a:lnTo>
                    <a:pt x="1398" y="108"/>
                  </a:lnTo>
                  <a:lnTo>
                    <a:pt x="1398" y="114"/>
                  </a:lnTo>
                  <a:lnTo>
                    <a:pt x="1404" y="114"/>
                  </a:lnTo>
                  <a:lnTo>
                    <a:pt x="1404" y="120"/>
                  </a:lnTo>
                  <a:lnTo>
                    <a:pt x="1410" y="132"/>
                  </a:lnTo>
                  <a:lnTo>
                    <a:pt x="1416" y="132"/>
                  </a:lnTo>
                  <a:lnTo>
                    <a:pt x="1416" y="138"/>
                  </a:lnTo>
                  <a:lnTo>
                    <a:pt x="1422" y="144"/>
                  </a:lnTo>
                  <a:lnTo>
                    <a:pt x="1428" y="150"/>
                  </a:lnTo>
                  <a:lnTo>
                    <a:pt x="1428" y="156"/>
                  </a:lnTo>
                  <a:lnTo>
                    <a:pt x="1458" y="192"/>
                  </a:lnTo>
                  <a:lnTo>
                    <a:pt x="1458" y="198"/>
                  </a:lnTo>
                  <a:lnTo>
                    <a:pt x="1464" y="204"/>
                  </a:lnTo>
                  <a:lnTo>
                    <a:pt x="1470" y="210"/>
                  </a:lnTo>
                  <a:lnTo>
                    <a:pt x="1476" y="216"/>
                  </a:lnTo>
                  <a:lnTo>
                    <a:pt x="1482" y="228"/>
                  </a:lnTo>
                  <a:lnTo>
                    <a:pt x="1488" y="234"/>
                  </a:lnTo>
                  <a:lnTo>
                    <a:pt x="1512" y="270"/>
                  </a:lnTo>
                  <a:lnTo>
                    <a:pt x="1512" y="276"/>
                  </a:lnTo>
                  <a:lnTo>
                    <a:pt x="1530" y="300"/>
                  </a:lnTo>
                  <a:lnTo>
                    <a:pt x="1536" y="306"/>
                  </a:lnTo>
                  <a:lnTo>
                    <a:pt x="1542" y="312"/>
                  </a:lnTo>
                  <a:lnTo>
                    <a:pt x="1542" y="318"/>
                  </a:lnTo>
                  <a:lnTo>
                    <a:pt x="1560" y="336"/>
                  </a:lnTo>
                  <a:lnTo>
                    <a:pt x="1566" y="348"/>
                  </a:lnTo>
                  <a:lnTo>
                    <a:pt x="1572" y="354"/>
                  </a:lnTo>
                  <a:lnTo>
                    <a:pt x="1578" y="360"/>
                  </a:lnTo>
                  <a:lnTo>
                    <a:pt x="1584" y="378"/>
                  </a:lnTo>
                  <a:lnTo>
                    <a:pt x="1590" y="378"/>
                  </a:lnTo>
                  <a:lnTo>
                    <a:pt x="1596" y="390"/>
                  </a:lnTo>
                  <a:lnTo>
                    <a:pt x="1602" y="396"/>
                  </a:lnTo>
                  <a:lnTo>
                    <a:pt x="1608" y="408"/>
                  </a:lnTo>
                  <a:lnTo>
                    <a:pt x="1614" y="408"/>
                  </a:lnTo>
                  <a:lnTo>
                    <a:pt x="1614" y="432"/>
                  </a:lnTo>
                  <a:lnTo>
                    <a:pt x="1620" y="438"/>
                  </a:lnTo>
                  <a:lnTo>
                    <a:pt x="1620" y="450"/>
                  </a:lnTo>
                  <a:lnTo>
                    <a:pt x="1620" y="462"/>
                  </a:lnTo>
                  <a:lnTo>
                    <a:pt x="1626" y="474"/>
                  </a:lnTo>
                  <a:lnTo>
                    <a:pt x="1626" y="480"/>
                  </a:lnTo>
                  <a:lnTo>
                    <a:pt x="1626" y="486"/>
                  </a:lnTo>
                  <a:lnTo>
                    <a:pt x="1632" y="522"/>
                  </a:lnTo>
                  <a:lnTo>
                    <a:pt x="1632" y="528"/>
                  </a:lnTo>
                  <a:lnTo>
                    <a:pt x="1632" y="534"/>
                  </a:lnTo>
                  <a:lnTo>
                    <a:pt x="1638" y="540"/>
                  </a:lnTo>
                  <a:lnTo>
                    <a:pt x="1638" y="558"/>
                  </a:lnTo>
                  <a:lnTo>
                    <a:pt x="1638" y="570"/>
                  </a:lnTo>
                  <a:lnTo>
                    <a:pt x="1644" y="582"/>
                  </a:lnTo>
                  <a:lnTo>
                    <a:pt x="1650" y="618"/>
                  </a:lnTo>
                  <a:lnTo>
                    <a:pt x="1650" y="624"/>
                  </a:lnTo>
                  <a:lnTo>
                    <a:pt x="1650" y="636"/>
                  </a:lnTo>
                  <a:lnTo>
                    <a:pt x="1656" y="642"/>
                  </a:lnTo>
                  <a:lnTo>
                    <a:pt x="1656" y="648"/>
                  </a:lnTo>
                  <a:lnTo>
                    <a:pt x="1656" y="654"/>
                  </a:lnTo>
                  <a:lnTo>
                    <a:pt x="1656" y="660"/>
                  </a:lnTo>
                  <a:lnTo>
                    <a:pt x="1662" y="696"/>
                  </a:lnTo>
                  <a:lnTo>
                    <a:pt x="1668" y="708"/>
                  </a:lnTo>
                  <a:lnTo>
                    <a:pt x="1668" y="714"/>
                  </a:lnTo>
                  <a:lnTo>
                    <a:pt x="1668" y="732"/>
                  </a:lnTo>
                  <a:lnTo>
                    <a:pt x="1668" y="744"/>
                  </a:lnTo>
                  <a:lnTo>
                    <a:pt x="1674" y="756"/>
                  </a:lnTo>
                  <a:lnTo>
                    <a:pt x="1680" y="762"/>
                  </a:lnTo>
                  <a:lnTo>
                    <a:pt x="1680" y="768"/>
                  </a:lnTo>
                  <a:lnTo>
                    <a:pt x="1680" y="774"/>
                  </a:lnTo>
                  <a:lnTo>
                    <a:pt x="1680" y="780"/>
                  </a:lnTo>
                  <a:lnTo>
                    <a:pt x="1674" y="786"/>
                  </a:lnTo>
                  <a:lnTo>
                    <a:pt x="1668" y="792"/>
                  </a:lnTo>
                  <a:lnTo>
                    <a:pt x="1668" y="798"/>
                  </a:lnTo>
                  <a:lnTo>
                    <a:pt x="1668" y="804"/>
                  </a:lnTo>
                  <a:lnTo>
                    <a:pt x="1674" y="804"/>
                  </a:lnTo>
                  <a:lnTo>
                    <a:pt x="1668" y="810"/>
                  </a:lnTo>
                  <a:lnTo>
                    <a:pt x="1674" y="810"/>
                  </a:lnTo>
                  <a:lnTo>
                    <a:pt x="1680" y="810"/>
                  </a:lnTo>
                  <a:lnTo>
                    <a:pt x="1680" y="816"/>
                  </a:lnTo>
                  <a:lnTo>
                    <a:pt x="1680" y="822"/>
                  </a:lnTo>
                  <a:lnTo>
                    <a:pt x="1674" y="822"/>
                  </a:lnTo>
                  <a:lnTo>
                    <a:pt x="1674" y="828"/>
                  </a:lnTo>
                  <a:lnTo>
                    <a:pt x="1668" y="828"/>
                  </a:lnTo>
                  <a:lnTo>
                    <a:pt x="1674" y="834"/>
                  </a:lnTo>
                  <a:lnTo>
                    <a:pt x="1668" y="834"/>
                  </a:lnTo>
                  <a:lnTo>
                    <a:pt x="1668" y="840"/>
                  </a:lnTo>
                  <a:lnTo>
                    <a:pt x="1674" y="840"/>
                  </a:lnTo>
                  <a:lnTo>
                    <a:pt x="1686" y="852"/>
                  </a:lnTo>
                  <a:lnTo>
                    <a:pt x="1692" y="858"/>
                  </a:lnTo>
                  <a:lnTo>
                    <a:pt x="1698" y="858"/>
                  </a:lnTo>
                  <a:lnTo>
                    <a:pt x="1698" y="864"/>
                  </a:lnTo>
                  <a:lnTo>
                    <a:pt x="1698" y="870"/>
                  </a:lnTo>
                  <a:lnTo>
                    <a:pt x="1704" y="864"/>
                  </a:lnTo>
                  <a:lnTo>
                    <a:pt x="1716" y="864"/>
                  </a:lnTo>
                  <a:lnTo>
                    <a:pt x="1722" y="864"/>
                  </a:lnTo>
                  <a:lnTo>
                    <a:pt x="1728" y="864"/>
                  </a:lnTo>
                  <a:lnTo>
                    <a:pt x="1734" y="864"/>
                  </a:lnTo>
                  <a:lnTo>
                    <a:pt x="1740" y="864"/>
                  </a:lnTo>
                  <a:lnTo>
                    <a:pt x="1746" y="876"/>
                  </a:lnTo>
                  <a:lnTo>
                    <a:pt x="1746" y="870"/>
                  </a:lnTo>
                  <a:lnTo>
                    <a:pt x="1740" y="864"/>
                  </a:lnTo>
                  <a:lnTo>
                    <a:pt x="1746" y="864"/>
                  </a:lnTo>
                  <a:lnTo>
                    <a:pt x="1752" y="870"/>
                  </a:lnTo>
                  <a:lnTo>
                    <a:pt x="1758" y="864"/>
                  </a:lnTo>
                  <a:lnTo>
                    <a:pt x="1764" y="864"/>
                  </a:lnTo>
                  <a:lnTo>
                    <a:pt x="1770" y="858"/>
                  </a:lnTo>
                  <a:lnTo>
                    <a:pt x="1782" y="864"/>
                  </a:lnTo>
                  <a:lnTo>
                    <a:pt x="1782" y="870"/>
                  </a:lnTo>
                  <a:lnTo>
                    <a:pt x="1788" y="864"/>
                  </a:lnTo>
                  <a:lnTo>
                    <a:pt x="1794" y="864"/>
                  </a:lnTo>
                  <a:lnTo>
                    <a:pt x="1800" y="870"/>
                  </a:lnTo>
                  <a:lnTo>
                    <a:pt x="1818" y="864"/>
                  </a:lnTo>
                  <a:lnTo>
                    <a:pt x="1824" y="870"/>
                  </a:lnTo>
                  <a:lnTo>
                    <a:pt x="1830" y="864"/>
                  </a:lnTo>
                  <a:lnTo>
                    <a:pt x="1836" y="864"/>
                  </a:lnTo>
                  <a:lnTo>
                    <a:pt x="1842" y="870"/>
                  </a:lnTo>
                  <a:lnTo>
                    <a:pt x="1842" y="876"/>
                  </a:lnTo>
                  <a:lnTo>
                    <a:pt x="1848" y="876"/>
                  </a:lnTo>
                  <a:lnTo>
                    <a:pt x="1848" y="870"/>
                  </a:lnTo>
                  <a:lnTo>
                    <a:pt x="1854" y="870"/>
                  </a:lnTo>
                  <a:lnTo>
                    <a:pt x="1860" y="870"/>
                  </a:lnTo>
                  <a:lnTo>
                    <a:pt x="1860" y="876"/>
                  </a:lnTo>
                  <a:lnTo>
                    <a:pt x="1866" y="876"/>
                  </a:lnTo>
                  <a:lnTo>
                    <a:pt x="1866" y="882"/>
                  </a:lnTo>
                  <a:lnTo>
                    <a:pt x="1872" y="882"/>
                  </a:lnTo>
                  <a:lnTo>
                    <a:pt x="1878" y="888"/>
                  </a:lnTo>
                  <a:lnTo>
                    <a:pt x="1890" y="888"/>
                  </a:lnTo>
                  <a:lnTo>
                    <a:pt x="1890" y="894"/>
                  </a:lnTo>
                  <a:lnTo>
                    <a:pt x="1890" y="900"/>
                  </a:lnTo>
                  <a:lnTo>
                    <a:pt x="1884" y="900"/>
                  </a:lnTo>
                  <a:lnTo>
                    <a:pt x="1884" y="906"/>
                  </a:lnTo>
                  <a:lnTo>
                    <a:pt x="1884" y="912"/>
                  </a:lnTo>
                  <a:lnTo>
                    <a:pt x="1890" y="912"/>
                  </a:lnTo>
                  <a:lnTo>
                    <a:pt x="1896" y="912"/>
                  </a:lnTo>
                  <a:lnTo>
                    <a:pt x="1902" y="912"/>
                  </a:lnTo>
                  <a:lnTo>
                    <a:pt x="1908" y="918"/>
                  </a:lnTo>
                  <a:lnTo>
                    <a:pt x="1908" y="924"/>
                  </a:lnTo>
                  <a:lnTo>
                    <a:pt x="1908" y="930"/>
                  </a:lnTo>
                  <a:lnTo>
                    <a:pt x="1908" y="936"/>
                  </a:lnTo>
                  <a:lnTo>
                    <a:pt x="1914" y="936"/>
                  </a:lnTo>
                  <a:lnTo>
                    <a:pt x="1914" y="942"/>
                  </a:lnTo>
                  <a:lnTo>
                    <a:pt x="1908" y="948"/>
                  </a:lnTo>
                  <a:lnTo>
                    <a:pt x="1914" y="948"/>
                  </a:lnTo>
                  <a:lnTo>
                    <a:pt x="1920" y="954"/>
                  </a:lnTo>
                  <a:lnTo>
                    <a:pt x="1926" y="954"/>
                  </a:lnTo>
                  <a:lnTo>
                    <a:pt x="1932" y="954"/>
                  </a:lnTo>
                  <a:lnTo>
                    <a:pt x="1938" y="954"/>
                  </a:lnTo>
                  <a:lnTo>
                    <a:pt x="1938" y="960"/>
                  </a:lnTo>
                  <a:lnTo>
                    <a:pt x="1944" y="966"/>
                  </a:lnTo>
                  <a:lnTo>
                    <a:pt x="1944" y="972"/>
                  </a:lnTo>
                  <a:lnTo>
                    <a:pt x="1944" y="978"/>
                  </a:lnTo>
                  <a:lnTo>
                    <a:pt x="1950" y="978"/>
                  </a:lnTo>
                  <a:lnTo>
                    <a:pt x="1950" y="984"/>
                  </a:lnTo>
                  <a:lnTo>
                    <a:pt x="1956" y="984"/>
                  </a:lnTo>
                  <a:lnTo>
                    <a:pt x="1962" y="984"/>
                  </a:lnTo>
                  <a:lnTo>
                    <a:pt x="1962" y="978"/>
                  </a:lnTo>
                  <a:lnTo>
                    <a:pt x="1968" y="978"/>
                  </a:lnTo>
                  <a:lnTo>
                    <a:pt x="1974" y="978"/>
                  </a:lnTo>
                  <a:lnTo>
                    <a:pt x="1980" y="972"/>
                  </a:lnTo>
                  <a:lnTo>
                    <a:pt x="1980" y="978"/>
                  </a:lnTo>
                  <a:lnTo>
                    <a:pt x="1980" y="984"/>
                  </a:lnTo>
                  <a:lnTo>
                    <a:pt x="1986" y="984"/>
                  </a:lnTo>
                  <a:lnTo>
                    <a:pt x="1992" y="990"/>
                  </a:lnTo>
                  <a:lnTo>
                    <a:pt x="1992" y="996"/>
                  </a:lnTo>
                  <a:lnTo>
                    <a:pt x="1992" y="1002"/>
                  </a:lnTo>
                  <a:lnTo>
                    <a:pt x="1974" y="1008"/>
                  </a:lnTo>
                  <a:lnTo>
                    <a:pt x="1974" y="1014"/>
                  </a:lnTo>
                  <a:lnTo>
                    <a:pt x="1974" y="1020"/>
                  </a:lnTo>
                  <a:lnTo>
                    <a:pt x="1974" y="1026"/>
                  </a:lnTo>
                  <a:lnTo>
                    <a:pt x="1968" y="1038"/>
                  </a:lnTo>
                  <a:lnTo>
                    <a:pt x="1968" y="1044"/>
                  </a:lnTo>
                  <a:lnTo>
                    <a:pt x="1974" y="1056"/>
                  </a:lnTo>
                  <a:lnTo>
                    <a:pt x="1968" y="1062"/>
                  </a:lnTo>
                  <a:lnTo>
                    <a:pt x="1962" y="1062"/>
                  </a:lnTo>
                  <a:lnTo>
                    <a:pt x="1956" y="1068"/>
                  </a:lnTo>
                  <a:lnTo>
                    <a:pt x="1956" y="1074"/>
                  </a:lnTo>
                  <a:lnTo>
                    <a:pt x="1956" y="1080"/>
                  </a:lnTo>
                  <a:lnTo>
                    <a:pt x="1956" y="1086"/>
                  </a:lnTo>
                  <a:lnTo>
                    <a:pt x="1956" y="1092"/>
                  </a:lnTo>
                  <a:lnTo>
                    <a:pt x="1962" y="1092"/>
                  </a:lnTo>
                  <a:lnTo>
                    <a:pt x="1962" y="1104"/>
                  </a:lnTo>
                  <a:lnTo>
                    <a:pt x="1968" y="1110"/>
                  </a:lnTo>
                  <a:lnTo>
                    <a:pt x="1968" y="1116"/>
                  </a:lnTo>
                  <a:lnTo>
                    <a:pt x="1974" y="1116"/>
                  </a:lnTo>
                  <a:lnTo>
                    <a:pt x="1974" y="1122"/>
                  </a:lnTo>
                  <a:lnTo>
                    <a:pt x="1980" y="1122"/>
                  </a:lnTo>
                  <a:lnTo>
                    <a:pt x="1974" y="1128"/>
                  </a:lnTo>
                  <a:lnTo>
                    <a:pt x="1968" y="1134"/>
                  </a:lnTo>
                  <a:lnTo>
                    <a:pt x="1962" y="1140"/>
                  </a:lnTo>
                  <a:lnTo>
                    <a:pt x="1962" y="1146"/>
                  </a:lnTo>
                  <a:lnTo>
                    <a:pt x="1968" y="1152"/>
                  </a:lnTo>
                  <a:lnTo>
                    <a:pt x="1968" y="1158"/>
                  </a:lnTo>
                  <a:lnTo>
                    <a:pt x="1962" y="1158"/>
                  </a:lnTo>
                  <a:lnTo>
                    <a:pt x="1962" y="1164"/>
                  </a:lnTo>
                  <a:lnTo>
                    <a:pt x="1956" y="1164"/>
                  </a:lnTo>
                  <a:lnTo>
                    <a:pt x="1956" y="1170"/>
                  </a:lnTo>
                  <a:lnTo>
                    <a:pt x="1944" y="1182"/>
                  </a:lnTo>
                  <a:lnTo>
                    <a:pt x="1944" y="1188"/>
                  </a:lnTo>
                  <a:lnTo>
                    <a:pt x="1950" y="1188"/>
                  </a:lnTo>
                  <a:lnTo>
                    <a:pt x="1944" y="1200"/>
                  </a:lnTo>
                  <a:lnTo>
                    <a:pt x="1944" y="1206"/>
                  </a:lnTo>
                  <a:lnTo>
                    <a:pt x="1944" y="1212"/>
                  </a:lnTo>
                  <a:lnTo>
                    <a:pt x="1944" y="1218"/>
                  </a:lnTo>
                  <a:lnTo>
                    <a:pt x="1944" y="1230"/>
                  </a:lnTo>
                  <a:lnTo>
                    <a:pt x="1944" y="1236"/>
                  </a:lnTo>
                  <a:lnTo>
                    <a:pt x="1944" y="1242"/>
                  </a:lnTo>
                  <a:lnTo>
                    <a:pt x="1938" y="1248"/>
                  </a:lnTo>
                  <a:lnTo>
                    <a:pt x="1938" y="1254"/>
                  </a:lnTo>
                  <a:lnTo>
                    <a:pt x="1932" y="1254"/>
                  </a:lnTo>
                  <a:lnTo>
                    <a:pt x="1926" y="1260"/>
                  </a:lnTo>
                  <a:lnTo>
                    <a:pt x="1920" y="1266"/>
                  </a:lnTo>
                  <a:lnTo>
                    <a:pt x="1914" y="1272"/>
                  </a:lnTo>
                  <a:lnTo>
                    <a:pt x="1908" y="1272"/>
                  </a:lnTo>
                  <a:lnTo>
                    <a:pt x="1908" y="1278"/>
                  </a:lnTo>
                  <a:lnTo>
                    <a:pt x="1914" y="1278"/>
                  </a:lnTo>
                  <a:lnTo>
                    <a:pt x="1914" y="1290"/>
                  </a:lnTo>
                  <a:lnTo>
                    <a:pt x="1920" y="1296"/>
                  </a:lnTo>
                  <a:lnTo>
                    <a:pt x="1938" y="1302"/>
                  </a:lnTo>
                  <a:lnTo>
                    <a:pt x="1944" y="1308"/>
                  </a:lnTo>
                  <a:lnTo>
                    <a:pt x="1950" y="1314"/>
                  </a:lnTo>
                  <a:lnTo>
                    <a:pt x="1956" y="1314"/>
                  </a:lnTo>
                  <a:lnTo>
                    <a:pt x="1962" y="1320"/>
                  </a:lnTo>
                  <a:lnTo>
                    <a:pt x="1962" y="1326"/>
                  </a:lnTo>
                  <a:lnTo>
                    <a:pt x="1968" y="1326"/>
                  </a:lnTo>
                  <a:lnTo>
                    <a:pt x="1968" y="1332"/>
                  </a:lnTo>
                  <a:lnTo>
                    <a:pt x="1968" y="1344"/>
                  </a:lnTo>
                  <a:lnTo>
                    <a:pt x="1968" y="1350"/>
                  </a:lnTo>
                  <a:lnTo>
                    <a:pt x="1968" y="1368"/>
                  </a:lnTo>
                  <a:lnTo>
                    <a:pt x="1962" y="1380"/>
                  </a:lnTo>
                  <a:lnTo>
                    <a:pt x="1968" y="1392"/>
                  </a:lnTo>
                  <a:lnTo>
                    <a:pt x="1962" y="1398"/>
                  </a:lnTo>
                  <a:lnTo>
                    <a:pt x="1956" y="1404"/>
                  </a:lnTo>
                  <a:lnTo>
                    <a:pt x="1950" y="1410"/>
                  </a:lnTo>
                  <a:lnTo>
                    <a:pt x="1944" y="1410"/>
                  </a:lnTo>
                  <a:lnTo>
                    <a:pt x="1932" y="1416"/>
                  </a:lnTo>
                  <a:lnTo>
                    <a:pt x="1926" y="1416"/>
                  </a:lnTo>
                  <a:lnTo>
                    <a:pt x="1896" y="1428"/>
                  </a:lnTo>
                  <a:lnTo>
                    <a:pt x="1884" y="1434"/>
                  </a:lnTo>
                  <a:lnTo>
                    <a:pt x="1878" y="1434"/>
                  </a:lnTo>
                  <a:lnTo>
                    <a:pt x="1866" y="1434"/>
                  </a:lnTo>
                  <a:lnTo>
                    <a:pt x="1854" y="1440"/>
                  </a:lnTo>
                  <a:lnTo>
                    <a:pt x="1848" y="1440"/>
                  </a:lnTo>
                  <a:lnTo>
                    <a:pt x="1842" y="1446"/>
                  </a:lnTo>
                  <a:lnTo>
                    <a:pt x="1842" y="1458"/>
                  </a:lnTo>
                  <a:lnTo>
                    <a:pt x="1836" y="1470"/>
                  </a:lnTo>
                  <a:lnTo>
                    <a:pt x="1830" y="1476"/>
                  </a:lnTo>
                  <a:lnTo>
                    <a:pt x="1824" y="1476"/>
                  </a:lnTo>
                  <a:lnTo>
                    <a:pt x="1806" y="1482"/>
                  </a:lnTo>
                  <a:lnTo>
                    <a:pt x="1800" y="1488"/>
                  </a:lnTo>
                  <a:lnTo>
                    <a:pt x="1794" y="1488"/>
                  </a:lnTo>
                  <a:lnTo>
                    <a:pt x="1788" y="1488"/>
                  </a:lnTo>
                  <a:lnTo>
                    <a:pt x="1776" y="1494"/>
                  </a:lnTo>
                  <a:lnTo>
                    <a:pt x="1764" y="1494"/>
                  </a:lnTo>
                  <a:lnTo>
                    <a:pt x="1758" y="1500"/>
                  </a:lnTo>
                  <a:lnTo>
                    <a:pt x="1746" y="1506"/>
                  </a:lnTo>
                  <a:lnTo>
                    <a:pt x="1728" y="1518"/>
                  </a:lnTo>
                  <a:lnTo>
                    <a:pt x="1716" y="1524"/>
                  </a:lnTo>
                  <a:lnTo>
                    <a:pt x="1710" y="1530"/>
                  </a:lnTo>
                  <a:lnTo>
                    <a:pt x="1704" y="1536"/>
                  </a:lnTo>
                  <a:lnTo>
                    <a:pt x="1698" y="1542"/>
                  </a:lnTo>
                  <a:lnTo>
                    <a:pt x="1692" y="1554"/>
                  </a:lnTo>
                  <a:lnTo>
                    <a:pt x="1686" y="1560"/>
                  </a:lnTo>
                  <a:lnTo>
                    <a:pt x="1680" y="1560"/>
                  </a:lnTo>
                  <a:lnTo>
                    <a:pt x="1674" y="1560"/>
                  </a:lnTo>
                  <a:lnTo>
                    <a:pt x="1656" y="1572"/>
                  </a:lnTo>
                  <a:lnTo>
                    <a:pt x="1650" y="1572"/>
                  </a:lnTo>
                  <a:lnTo>
                    <a:pt x="1644" y="1572"/>
                  </a:lnTo>
                  <a:lnTo>
                    <a:pt x="1638" y="1578"/>
                  </a:lnTo>
                  <a:lnTo>
                    <a:pt x="1632" y="1578"/>
                  </a:lnTo>
                  <a:lnTo>
                    <a:pt x="1626" y="1578"/>
                  </a:lnTo>
                  <a:lnTo>
                    <a:pt x="1620" y="1572"/>
                  </a:lnTo>
                  <a:lnTo>
                    <a:pt x="1614" y="1572"/>
                  </a:lnTo>
                  <a:lnTo>
                    <a:pt x="1608" y="1566"/>
                  </a:lnTo>
                  <a:lnTo>
                    <a:pt x="1602" y="1560"/>
                  </a:lnTo>
                  <a:lnTo>
                    <a:pt x="1596" y="1554"/>
                  </a:lnTo>
                  <a:lnTo>
                    <a:pt x="1590" y="1548"/>
                  </a:lnTo>
                  <a:lnTo>
                    <a:pt x="1578" y="1548"/>
                  </a:lnTo>
                  <a:lnTo>
                    <a:pt x="1572" y="1548"/>
                  </a:lnTo>
                  <a:lnTo>
                    <a:pt x="1566" y="1548"/>
                  </a:lnTo>
                  <a:lnTo>
                    <a:pt x="1554" y="1536"/>
                  </a:lnTo>
                  <a:lnTo>
                    <a:pt x="1548" y="1536"/>
                  </a:lnTo>
                  <a:lnTo>
                    <a:pt x="1542" y="1542"/>
                  </a:lnTo>
                  <a:lnTo>
                    <a:pt x="1536" y="1548"/>
                  </a:lnTo>
                  <a:lnTo>
                    <a:pt x="1536" y="1566"/>
                  </a:lnTo>
                  <a:lnTo>
                    <a:pt x="1530" y="1572"/>
                  </a:lnTo>
                  <a:lnTo>
                    <a:pt x="1524" y="1578"/>
                  </a:lnTo>
                  <a:lnTo>
                    <a:pt x="1518" y="1584"/>
                  </a:lnTo>
                  <a:lnTo>
                    <a:pt x="1512" y="1596"/>
                  </a:lnTo>
                  <a:lnTo>
                    <a:pt x="1506" y="1602"/>
                  </a:lnTo>
                  <a:lnTo>
                    <a:pt x="1506" y="1608"/>
                  </a:lnTo>
                  <a:lnTo>
                    <a:pt x="1506" y="1614"/>
                  </a:lnTo>
                  <a:lnTo>
                    <a:pt x="1500" y="1614"/>
                  </a:lnTo>
                  <a:lnTo>
                    <a:pt x="1500" y="1620"/>
                  </a:lnTo>
                  <a:lnTo>
                    <a:pt x="1500" y="1626"/>
                  </a:lnTo>
                  <a:lnTo>
                    <a:pt x="1494" y="1632"/>
                  </a:lnTo>
                  <a:lnTo>
                    <a:pt x="1488" y="1638"/>
                  </a:lnTo>
                  <a:lnTo>
                    <a:pt x="1482" y="1638"/>
                  </a:lnTo>
                  <a:lnTo>
                    <a:pt x="1482" y="1644"/>
                  </a:lnTo>
                  <a:lnTo>
                    <a:pt x="1482" y="1650"/>
                  </a:lnTo>
                  <a:lnTo>
                    <a:pt x="1482" y="1656"/>
                  </a:lnTo>
                  <a:lnTo>
                    <a:pt x="1476" y="1662"/>
                  </a:lnTo>
                  <a:lnTo>
                    <a:pt x="1470" y="1668"/>
                  </a:lnTo>
                  <a:lnTo>
                    <a:pt x="1464" y="1674"/>
                  </a:lnTo>
                  <a:lnTo>
                    <a:pt x="1464" y="1680"/>
                  </a:lnTo>
                  <a:lnTo>
                    <a:pt x="1458" y="1680"/>
                  </a:lnTo>
                  <a:lnTo>
                    <a:pt x="1452" y="1686"/>
                  </a:lnTo>
                  <a:lnTo>
                    <a:pt x="1446" y="1686"/>
                  </a:lnTo>
                  <a:lnTo>
                    <a:pt x="1440" y="1698"/>
                  </a:lnTo>
                  <a:lnTo>
                    <a:pt x="1440" y="1704"/>
                  </a:lnTo>
                  <a:lnTo>
                    <a:pt x="1434" y="1710"/>
                  </a:lnTo>
                  <a:lnTo>
                    <a:pt x="1434" y="1716"/>
                  </a:lnTo>
                  <a:lnTo>
                    <a:pt x="1428" y="1716"/>
                  </a:lnTo>
                  <a:lnTo>
                    <a:pt x="1428" y="1722"/>
                  </a:lnTo>
                  <a:lnTo>
                    <a:pt x="1428" y="1728"/>
                  </a:lnTo>
                  <a:lnTo>
                    <a:pt x="1422" y="1728"/>
                  </a:lnTo>
                  <a:lnTo>
                    <a:pt x="1422" y="1734"/>
                  </a:lnTo>
                  <a:lnTo>
                    <a:pt x="1416" y="1734"/>
                  </a:lnTo>
                  <a:lnTo>
                    <a:pt x="1410" y="1734"/>
                  </a:lnTo>
                  <a:lnTo>
                    <a:pt x="1392" y="1746"/>
                  </a:lnTo>
                  <a:lnTo>
                    <a:pt x="1386" y="1746"/>
                  </a:lnTo>
                  <a:lnTo>
                    <a:pt x="1368" y="1752"/>
                  </a:lnTo>
                  <a:lnTo>
                    <a:pt x="1362" y="1758"/>
                  </a:lnTo>
                  <a:lnTo>
                    <a:pt x="1362" y="1770"/>
                  </a:lnTo>
                  <a:lnTo>
                    <a:pt x="1356" y="178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</p:grpSp>
      <p:graphicFrame>
        <p:nvGraphicFramePr>
          <p:cNvPr id="357" name="Group 76">
            <a:extLst>
              <a:ext uri="{FF2B5EF4-FFF2-40B4-BE49-F238E27FC236}">
                <a16:creationId xmlns:a16="http://schemas.microsoft.com/office/drawing/2014/main" id="{57830D68-CF73-4A3E-9D36-141B03AADB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0848104"/>
              </p:ext>
            </p:extLst>
          </p:nvPr>
        </p:nvGraphicFramePr>
        <p:xfrm>
          <a:off x="541338" y="3402013"/>
          <a:ext cx="3735387" cy="1827306"/>
        </p:xfrm>
        <a:graphic>
          <a:graphicData uri="http://schemas.openxmlformats.org/drawingml/2006/table">
            <a:tbl>
              <a:tblPr/>
              <a:tblGrid>
                <a:gridCol w="1316931">
                  <a:extLst>
                    <a:ext uri="{9D8B030D-6E8A-4147-A177-3AD203B41FA5}">
                      <a16:colId xmlns:a16="http://schemas.microsoft.com/office/drawing/2014/main" val="2027704273"/>
                    </a:ext>
                  </a:extLst>
                </a:gridCol>
                <a:gridCol w="603796">
                  <a:extLst>
                    <a:ext uri="{9D8B030D-6E8A-4147-A177-3AD203B41FA5}">
                      <a16:colId xmlns:a16="http://schemas.microsoft.com/office/drawing/2014/main" val="3432768286"/>
                    </a:ext>
                  </a:extLst>
                </a:gridCol>
                <a:gridCol w="744015">
                  <a:extLst>
                    <a:ext uri="{9D8B030D-6E8A-4147-A177-3AD203B41FA5}">
                      <a16:colId xmlns:a16="http://schemas.microsoft.com/office/drawing/2014/main" val="3730294207"/>
                    </a:ext>
                  </a:extLst>
                </a:gridCol>
                <a:gridCol w="1070645">
                  <a:extLst>
                    <a:ext uri="{9D8B030D-6E8A-4147-A177-3AD203B41FA5}">
                      <a16:colId xmlns:a16="http://schemas.microsoft.com/office/drawing/2014/main" val="2258321117"/>
                    </a:ext>
                  </a:extLst>
                </a:gridCol>
              </a:tblGrid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apital</a:t>
                      </a:r>
                      <a:endParaRPr kumimoji="0" lang="en-SG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292929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SG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alabar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703009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nd Are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1,787 km</a:t>
                      </a:r>
                      <a:r>
                        <a:rPr kumimoji="0" lang="en-US" altLang="en-US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19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603614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Population (2017E)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3,850,352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27 of 37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505851"/>
                  </a:ext>
                </a:extLst>
              </a:tr>
              <a:tr h="203024">
                <a:tc row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Dem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0-14: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,463,134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8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130093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5-64: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,271,708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59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387564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65+: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    115,511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[3%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38801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bour force 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3,011,263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23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797882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limate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ropical savanna and monsoon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3942226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op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ow-lying undulating terrain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32899"/>
                  </a:ext>
                </a:extLst>
              </a:tr>
            </a:tbl>
          </a:graphicData>
        </a:graphic>
      </p:graphicFrame>
      <p:pic>
        <p:nvPicPr>
          <p:cNvPr id="23609" name="Picture 13">
            <a:extLst>
              <a:ext uri="{FF2B5EF4-FFF2-40B4-BE49-F238E27FC236}">
                <a16:creationId xmlns:a16="http://schemas.microsoft.com/office/drawing/2014/main" id="{952964D5-F0ED-4CAE-B71C-DB4A723FA5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0" y="3006725"/>
            <a:ext cx="1116013" cy="155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9" name="TextBox 378">
            <a:extLst>
              <a:ext uri="{FF2B5EF4-FFF2-40B4-BE49-F238E27FC236}">
                <a16:creationId xmlns:a16="http://schemas.microsoft.com/office/drawing/2014/main" id="{1B3FD4BF-4685-4C74-821F-10048D6246BF}"/>
              </a:ext>
            </a:extLst>
          </p:cNvPr>
          <p:cNvSpPr txBox="1"/>
          <p:nvPr/>
        </p:nvSpPr>
        <p:spPr>
          <a:xfrm>
            <a:off x="6124575" y="957263"/>
            <a:ext cx="3475038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mpetitive Advantages</a:t>
            </a: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455FE7A1-ADE5-4F7B-A489-00196671A53E}"/>
              </a:ext>
            </a:extLst>
          </p:cNvPr>
          <p:cNvSpPr/>
          <p:nvPr/>
        </p:nvSpPr>
        <p:spPr>
          <a:xfrm>
            <a:off x="4267248" y="1187511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18.1bn/$59.3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EBB25788-D073-4A78-9D6C-DF3836CFFFBB}"/>
              </a:ext>
            </a:extLst>
          </p:cNvPr>
          <p:cNvSpPr txBox="1"/>
          <p:nvPr/>
        </p:nvSpPr>
        <p:spPr>
          <a:xfrm>
            <a:off x="4267200" y="955675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GR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6F07DF39-553B-44F0-8864-1F897C2BD79A}"/>
              </a:ext>
            </a:extLst>
          </p:cNvPr>
          <p:cNvSpPr/>
          <p:nvPr/>
        </p:nvSpPr>
        <p:spPr>
          <a:xfrm>
            <a:off x="4267252" y="1809750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1.3tn/$4.26bn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2508695A-2D2C-45A3-80FE-9C2CB18200C2}"/>
              </a:ext>
            </a:extLst>
          </p:cNvPr>
          <p:cNvSpPr txBox="1"/>
          <p:nvPr/>
        </p:nvSpPr>
        <p:spPr>
          <a:xfrm>
            <a:off x="4267200" y="1576388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Budget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8)</a:t>
            </a: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86A33ABE-3AE3-40A7-A6A6-1B757A6A9B0F}"/>
              </a:ext>
            </a:extLst>
          </p:cNvPr>
          <p:cNvSpPr/>
          <p:nvPr/>
        </p:nvSpPr>
        <p:spPr>
          <a:xfrm>
            <a:off x="4256076" y="2667155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797.4bn /$2.6bn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1E919764-A18B-4532-A533-A84A31D7FEFE}"/>
              </a:ext>
            </a:extLst>
          </p:cNvPr>
          <p:cNvSpPr txBox="1"/>
          <p:nvPr/>
        </p:nvSpPr>
        <p:spPr>
          <a:xfrm>
            <a:off x="4256088" y="2185988"/>
            <a:ext cx="1811337" cy="50641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Household </a:t>
            </a:r>
          </a:p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nsumption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96" name="Plaque 95">
            <a:extLst>
              <a:ext uri="{FF2B5EF4-FFF2-40B4-BE49-F238E27FC236}">
                <a16:creationId xmlns:a16="http://schemas.microsoft.com/office/drawing/2014/main" id="{E3BE1182-17B4-4194-8641-F1EA2CCBB757}"/>
              </a:ext>
            </a:extLst>
          </p:cNvPr>
          <p:cNvSpPr/>
          <p:nvPr/>
        </p:nvSpPr>
        <p:spPr>
          <a:xfrm>
            <a:off x="5638800" y="2805162"/>
            <a:ext cx="428625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32 of 36</a:t>
            </a:r>
          </a:p>
        </p:txBody>
      </p:sp>
      <p:sp>
        <p:nvSpPr>
          <p:cNvPr id="99" name="Plaque 98">
            <a:extLst>
              <a:ext uri="{FF2B5EF4-FFF2-40B4-BE49-F238E27FC236}">
                <a16:creationId xmlns:a16="http://schemas.microsoft.com/office/drawing/2014/main" id="{8620E393-1C52-4CE1-9888-20922FA6DFEA}"/>
              </a:ext>
            </a:extLst>
          </p:cNvPr>
          <p:cNvSpPr/>
          <p:nvPr/>
        </p:nvSpPr>
        <p:spPr>
          <a:xfrm>
            <a:off x="5689600" y="1951038"/>
            <a:ext cx="377825" cy="153987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 of 36</a:t>
            </a:r>
          </a:p>
        </p:txBody>
      </p:sp>
      <p:sp>
        <p:nvSpPr>
          <p:cNvPr id="100" name="Plaque 99">
            <a:extLst>
              <a:ext uri="{FF2B5EF4-FFF2-40B4-BE49-F238E27FC236}">
                <a16:creationId xmlns:a16="http://schemas.microsoft.com/office/drawing/2014/main" id="{3BFA6D28-9A42-4459-8BF1-090CE1B45216}"/>
              </a:ext>
            </a:extLst>
          </p:cNvPr>
          <p:cNvSpPr/>
          <p:nvPr/>
        </p:nvSpPr>
        <p:spPr>
          <a:xfrm>
            <a:off x="5638800" y="1333500"/>
            <a:ext cx="430213" cy="1539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latin typeface="Calibri" panose="020F0502020204030204" pitchFamily="34" charset="0"/>
                <a:cs typeface="Calibri" panose="020F0502020204030204" pitchFamily="34" charset="0"/>
              </a:rPr>
              <a:t>11 of 36</a:t>
            </a:r>
          </a:p>
        </p:txBody>
      </p:sp>
      <p:sp>
        <p:nvSpPr>
          <p:cNvPr id="101" name="Pentagon 19">
            <a:extLst>
              <a:ext uri="{FF2B5EF4-FFF2-40B4-BE49-F238E27FC236}">
                <a16:creationId xmlns:a16="http://schemas.microsoft.com/office/drawing/2014/main" id="{CCD74FA4-19D0-4356-90C9-B3B49BCC3F54}"/>
              </a:ext>
            </a:extLst>
          </p:cNvPr>
          <p:cNvSpPr>
            <a:spLocks/>
          </p:cNvSpPr>
          <p:nvPr/>
        </p:nvSpPr>
        <p:spPr bwMode="auto">
          <a:xfrm>
            <a:off x="688340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31 of 37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12EE735-1E43-4799-A46A-5D0787F375CE}"/>
              </a:ext>
            </a:extLst>
          </p:cNvPr>
          <p:cNvSpPr/>
          <p:nvPr/>
        </p:nvSpPr>
        <p:spPr>
          <a:xfrm>
            <a:off x="6880225" y="5726113"/>
            <a:ext cx="642938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Starting a Business</a:t>
            </a:r>
          </a:p>
        </p:txBody>
      </p:sp>
      <p:pic>
        <p:nvPicPr>
          <p:cNvPr id="23622" name="Picture 3">
            <a:extLst>
              <a:ext uri="{FF2B5EF4-FFF2-40B4-BE49-F238E27FC236}">
                <a16:creationId xmlns:a16="http://schemas.microsoft.com/office/drawing/2014/main" id="{53FAD0C6-8FFE-437B-B7E4-F2A938D3BE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350" y="5249863"/>
            <a:ext cx="41910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23" name="Freeform 15">
            <a:extLst>
              <a:ext uri="{FF2B5EF4-FFF2-40B4-BE49-F238E27FC236}">
                <a16:creationId xmlns:a16="http://schemas.microsoft.com/office/drawing/2014/main" id="{183A3C8B-011E-4D99-9165-3FF03A2D3207}"/>
              </a:ext>
            </a:extLst>
          </p:cNvPr>
          <p:cNvSpPr>
            <a:spLocks noEditPoints="1"/>
          </p:cNvSpPr>
          <p:nvPr/>
        </p:nvSpPr>
        <p:spPr bwMode="auto">
          <a:xfrm>
            <a:off x="9093200" y="5257800"/>
            <a:ext cx="276225" cy="347663"/>
          </a:xfrm>
          <a:custGeom>
            <a:avLst/>
            <a:gdLst>
              <a:gd name="T0" fmla="*/ 2147483646 w 3556"/>
              <a:gd name="T1" fmla="*/ 2147483646 h 3950"/>
              <a:gd name="T2" fmla="*/ 2147483646 w 3556"/>
              <a:gd name="T3" fmla="*/ 2147483646 h 3950"/>
              <a:gd name="T4" fmla="*/ 2147483646 w 3556"/>
              <a:gd name="T5" fmla="*/ 2147483646 h 3950"/>
              <a:gd name="T6" fmla="*/ 2147483646 w 3556"/>
              <a:gd name="T7" fmla="*/ 2147483646 h 3950"/>
              <a:gd name="T8" fmla="*/ 2147483646 w 3556"/>
              <a:gd name="T9" fmla="*/ 2147483646 h 3950"/>
              <a:gd name="T10" fmla="*/ 2147483646 w 3556"/>
              <a:gd name="T11" fmla="*/ 2147483646 h 3950"/>
              <a:gd name="T12" fmla="*/ 2147483646 w 3556"/>
              <a:gd name="T13" fmla="*/ 2147483646 h 3950"/>
              <a:gd name="T14" fmla="*/ 2147483646 w 3556"/>
              <a:gd name="T15" fmla="*/ 2147483646 h 3950"/>
              <a:gd name="T16" fmla="*/ 2147483646 w 3556"/>
              <a:gd name="T17" fmla="*/ 2147483646 h 3950"/>
              <a:gd name="T18" fmla="*/ 2147483646 w 3556"/>
              <a:gd name="T19" fmla="*/ 2147483646 h 3950"/>
              <a:gd name="T20" fmla="*/ 2147483646 w 3556"/>
              <a:gd name="T21" fmla="*/ 2147483646 h 3950"/>
              <a:gd name="T22" fmla="*/ 0 w 3556"/>
              <a:gd name="T23" fmla="*/ 2147483646 h 3950"/>
              <a:gd name="T24" fmla="*/ 2147483646 w 3556"/>
              <a:gd name="T25" fmla="*/ 2147483646 h 3950"/>
              <a:gd name="T26" fmla="*/ 2147483646 w 3556"/>
              <a:gd name="T27" fmla="*/ 2147483646 h 3950"/>
              <a:gd name="T28" fmla="*/ 2147483646 w 3556"/>
              <a:gd name="T29" fmla="*/ 2147483646 h 3950"/>
              <a:gd name="T30" fmla="*/ 2147483646 w 3556"/>
              <a:gd name="T31" fmla="*/ 2147483646 h 3950"/>
              <a:gd name="T32" fmla="*/ 2147483646 w 3556"/>
              <a:gd name="T33" fmla="*/ 2147483646 h 3950"/>
              <a:gd name="T34" fmla="*/ 2147483646 w 3556"/>
              <a:gd name="T35" fmla="*/ 2147483646 h 3950"/>
              <a:gd name="T36" fmla="*/ 2147483646 w 3556"/>
              <a:gd name="T37" fmla="*/ 2147483646 h 3950"/>
              <a:gd name="T38" fmla="*/ 2147483646 w 3556"/>
              <a:gd name="T39" fmla="*/ 2147483646 h 3950"/>
              <a:gd name="T40" fmla="*/ 2147483646 w 3556"/>
              <a:gd name="T41" fmla="*/ 2147483646 h 3950"/>
              <a:gd name="T42" fmla="*/ 2147483646 w 3556"/>
              <a:gd name="T43" fmla="*/ 2147483646 h 3950"/>
              <a:gd name="T44" fmla="*/ 2147483646 w 3556"/>
              <a:gd name="T45" fmla="*/ 2147483646 h 3950"/>
              <a:gd name="T46" fmla="*/ 2147483646 w 3556"/>
              <a:gd name="T47" fmla="*/ 2147483646 h 3950"/>
              <a:gd name="T48" fmla="*/ 2147483646 w 3556"/>
              <a:gd name="T49" fmla="*/ 2147483646 h 3950"/>
              <a:gd name="T50" fmla="*/ 2147483646 w 3556"/>
              <a:gd name="T51" fmla="*/ 2147483646 h 3950"/>
              <a:gd name="T52" fmla="*/ 2147483646 w 3556"/>
              <a:gd name="T53" fmla="*/ 2147483646 h 3950"/>
              <a:gd name="T54" fmla="*/ 2147483646 w 3556"/>
              <a:gd name="T55" fmla="*/ 2147483646 h 3950"/>
              <a:gd name="T56" fmla="*/ 2147483646 w 3556"/>
              <a:gd name="T57" fmla="*/ 2147483646 h 3950"/>
              <a:gd name="T58" fmla="*/ 2147483646 w 3556"/>
              <a:gd name="T59" fmla="*/ 2147483646 h 3950"/>
              <a:gd name="T60" fmla="*/ 2147483646 w 3556"/>
              <a:gd name="T61" fmla="*/ 2147483646 h 3950"/>
              <a:gd name="T62" fmla="*/ 2147483646 w 3556"/>
              <a:gd name="T63" fmla="*/ 2147483646 h 3950"/>
              <a:gd name="T64" fmla="*/ 2147483646 w 3556"/>
              <a:gd name="T65" fmla="*/ 2147483646 h 3950"/>
              <a:gd name="T66" fmla="*/ 2147483646 w 3556"/>
              <a:gd name="T67" fmla="*/ 2147483646 h 3950"/>
              <a:gd name="T68" fmla="*/ 2147483646 w 3556"/>
              <a:gd name="T69" fmla="*/ 2147483646 h 3950"/>
              <a:gd name="T70" fmla="*/ 2147483646 w 3556"/>
              <a:gd name="T71" fmla="*/ 2147483646 h 3950"/>
              <a:gd name="T72" fmla="*/ 2147483646 w 3556"/>
              <a:gd name="T73" fmla="*/ 2147483646 h 3950"/>
              <a:gd name="T74" fmla="*/ 2147483646 w 3556"/>
              <a:gd name="T75" fmla="*/ 2147483646 h 3950"/>
              <a:gd name="T76" fmla="*/ 2147483646 w 3556"/>
              <a:gd name="T77" fmla="*/ 2147483646 h 3950"/>
              <a:gd name="T78" fmla="*/ 2147483646 w 3556"/>
              <a:gd name="T79" fmla="*/ 2147483646 h 3950"/>
              <a:gd name="T80" fmla="*/ 2147483646 w 3556"/>
              <a:gd name="T81" fmla="*/ 0 h 3950"/>
              <a:gd name="T82" fmla="*/ 2147483646 w 3556"/>
              <a:gd name="T83" fmla="*/ 2147483646 h 3950"/>
              <a:gd name="T84" fmla="*/ 2147483646 w 3556"/>
              <a:gd name="T85" fmla="*/ 2147483646 h 3950"/>
              <a:gd name="T86" fmla="*/ 2147483646 w 3556"/>
              <a:gd name="T87" fmla="*/ 2147483646 h 395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556"/>
              <a:gd name="T133" fmla="*/ 0 h 3950"/>
              <a:gd name="T134" fmla="*/ 3556 w 3556"/>
              <a:gd name="T135" fmla="*/ 3950 h 395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556" h="3950">
                <a:moveTo>
                  <a:pt x="909" y="3917"/>
                </a:moveTo>
                <a:cubicBezTo>
                  <a:pt x="824" y="3832"/>
                  <a:pt x="894" y="3725"/>
                  <a:pt x="1036" y="3725"/>
                </a:cubicBezTo>
                <a:cubicBezTo>
                  <a:pt x="1119" y="3725"/>
                  <a:pt x="1129" y="3717"/>
                  <a:pt x="1129" y="3645"/>
                </a:cubicBezTo>
                <a:cubicBezTo>
                  <a:pt x="1129" y="3472"/>
                  <a:pt x="1135" y="3471"/>
                  <a:pt x="2192" y="3471"/>
                </a:cubicBezTo>
                <a:cubicBezTo>
                  <a:pt x="3086" y="3471"/>
                  <a:pt x="3155" y="3475"/>
                  <a:pt x="3199" y="3523"/>
                </a:cubicBezTo>
                <a:cubicBezTo>
                  <a:pt x="3225" y="3551"/>
                  <a:pt x="3246" y="3608"/>
                  <a:pt x="3246" y="3648"/>
                </a:cubicBezTo>
                <a:cubicBezTo>
                  <a:pt x="3246" y="3712"/>
                  <a:pt x="3259" y="3723"/>
                  <a:pt x="3349" y="3730"/>
                </a:cubicBezTo>
                <a:cubicBezTo>
                  <a:pt x="3470" y="3741"/>
                  <a:pt x="3530" y="3811"/>
                  <a:pt x="3482" y="3887"/>
                </a:cubicBezTo>
                <a:cubicBezTo>
                  <a:pt x="3453" y="3933"/>
                  <a:pt x="3356" y="3937"/>
                  <a:pt x="2197" y="3944"/>
                </a:cubicBezTo>
                <a:cubicBezTo>
                  <a:pt x="1245" y="3950"/>
                  <a:pt x="935" y="3943"/>
                  <a:pt x="909" y="3917"/>
                </a:cubicBezTo>
                <a:close/>
                <a:moveTo>
                  <a:pt x="87" y="3370"/>
                </a:moveTo>
                <a:cubicBezTo>
                  <a:pt x="24" y="3317"/>
                  <a:pt x="0" y="3272"/>
                  <a:pt x="0" y="3209"/>
                </a:cubicBezTo>
                <a:cubicBezTo>
                  <a:pt x="0" y="3132"/>
                  <a:pt x="86" y="3035"/>
                  <a:pt x="705" y="2414"/>
                </a:cubicBezTo>
                <a:lnTo>
                  <a:pt x="1411" y="1706"/>
                </a:lnTo>
                <a:lnTo>
                  <a:pt x="1235" y="1530"/>
                </a:lnTo>
                <a:lnTo>
                  <a:pt x="1059" y="1355"/>
                </a:lnTo>
                <a:lnTo>
                  <a:pt x="1510" y="903"/>
                </a:lnTo>
                <a:lnTo>
                  <a:pt x="1960" y="452"/>
                </a:lnTo>
                <a:lnTo>
                  <a:pt x="2135" y="624"/>
                </a:lnTo>
                <a:cubicBezTo>
                  <a:pt x="2305" y="793"/>
                  <a:pt x="2310" y="796"/>
                  <a:pt x="2374" y="751"/>
                </a:cubicBezTo>
                <a:cubicBezTo>
                  <a:pt x="2469" y="685"/>
                  <a:pt x="2547" y="695"/>
                  <a:pt x="2633" y="785"/>
                </a:cubicBezTo>
                <a:cubicBezTo>
                  <a:pt x="2720" y="875"/>
                  <a:pt x="2731" y="974"/>
                  <a:pt x="2662" y="1050"/>
                </a:cubicBezTo>
                <a:cubicBezTo>
                  <a:pt x="2616" y="1100"/>
                  <a:pt x="2624" y="1112"/>
                  <a:pt x="2823" y="1313"/>
                </a:cubicBezTo>
                <a:lnTo>
                  <a:pt x="3033" y="1524"/>
                </a:lnTo>
                <a:lnTo>
                  <a:pt x="2582" y="1975"/>
                </a:lnTo>
                <a:lnTo>
                  <a:pt x="2132" y="2427"/>
                </a:lnTo>
                <a:lnTo>
                  <a:pt x="1933" y="2229"/>
                </a:lnTo>
                <a:cubicBezTo>
                  <a:pt x="1824" y="2121"/>
                  <a:pt x="1722" y="2032"/>
                  <a:pt x="1707" y="2032"/>
                </a:cubicBezTo>
                <a:cubicBezTo>
                  <a:pt x="1693" y="2032"/>
                  <a:pt x="1362" y="2349"/>
                  <a:pt x="973" y="2737"/>
                </a:cubicBezTo>
                <a:cubicBezTo>
                  <a:pt x="584" y="3125"/>
                  <a:pt x="245" y="3443"/>
                  <a:pt x="220" y="3443"/>
                </a:cubicBezTo>
                <a:cubicBezTo>
                  <a:pt x="194" y="3443"/>
                  <a:pt x="135" y="3410"/>
                  <a:pt x="87" y="3370"/>
                </a:cubicBezTo>
                <a:close/>
                <a:moveTo>
                  <a:pt x="2258" y="2887"/>
                </a:moveTo>
                <a:cubicBezTo>
                  <a:pt x="2196" y="2865"/>
                  <a:pt x="2145" y="2792"/>
                  <a:pt x="2145" y="2725"/>
                </a:cubicBezTo>
                <a:cubicBezTo>
                  <a:pt x="2145" y="2686"/>
                  <a:pt x="2337" y="2474"/>
                  <a:pt x="2703" y="2109"/>
                </a:cubicBezTo>
                <a:cubicBezTo>
                  <a:pt x="3289" y="1523"/>
                  <a:pt x="3346" y="1485"/>
                  <a:pt x="3453" y="1604"/>
                </a:cubicBezTo>
                <a:cubicBezTo>
                  <a:pt x="3556" y="1717"/>
                  <a:pt x="3522" y="1766"/>
                  <a:pt x="2956" y="2331"/>
                </a:cubicBezTo>
                <a:cubicBezTo>
                  <a:pt x="2657" y="2630"/>
                  <a:pt x="2388" y="2880"/>
                  <a:pt x="2357" y="2888"/>
                </a:cubicBezTo>
                <a:cubicBezTo>
                  <a:pt x="2326" y="2895"/>
                  <a:pt x="2281" y="2895"/>
                  <a:pt x="2258" y="2887"/>
                </a:cubicBezTo>
                <a:close/>
                <a:moveTo>
                  <a:pt x="637" y="1282"/>
                </a:moveTo>
                <a:cubicBezTo>
                  <a:pt x="528" y="1172"/>
                  <a:pt x="568" y="1113"/>
                  <a:pt x="1137" y="544"/>
                </a:cubicBezTo>
                <a:cubicBezTo>
                  <a:pt x="1607" y="74"/>
                  <a:pt x="1693" y="0"/>
                  <a:pt x="1767" y="0"/>
                </a:cubicBezTo>
                <a:cubicBezTo>
                  <a:pt x="1862" y="0"/>
                  <a:pt x="1947" y="73"/>
                  <a:pt x="1947" y="156"/>
                </a:cubicBezTo>
                <a:cubicBezTo>
                  <a:pt x="1947" y="186"/>
                  <a:pt x="1715" y="442"/>
                  <a:pt x="1391" y="767"/>
                </a:cubicBezTo>
                <a:cubicBezTo>
                  <a:pt x="808" y="1353"/>
                  <a:pt x="749" y="1393"/>
                  <a:pt x="637" y="12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4" name="Group 118">
            <a:extLst>
              <a:ext uri="{FF2B5EF4-FFF2-40B4-BE49-F238E27FC236}">
                <a16:creationId xmlns:a16="http://schemas.microsoft.com/office/drawing/2014/main" id="{FB3D6A90-C4FD-433A-A1C1-A4B3864804A5}"/>
              </a:ext>
            </a:extLst>
          </p:cNvPr>
          <p:cNvGrpSpPr/>
          <p:nvPr/>
        </p:nvGrpSpPr>
        <p:grpSpPr>
          <a:xfrm>
            <a:off x="8409631" y="5248358"/>
            <a:ext cx="346498" cy="347472"/>
            <a:chOff x="1468138" y="5997240"/>
            <a:chExt cx="283642" cy="307072"/>
          </a:xfrm>
          <a:solidFill>
            <a:schemeClr val="bg1"/>
          </a:solidFill>
        </p:grpSpPr>
        <p:sp>
          <p:nvSpPr>
            <p:cNvPr id="120" name="Freeform 16">
              <a:extLst>
                <a:ext uri="{FF2B5EF4-FFF2-40B4-BE49-F238E27FC236}">
                  <a16:creationId xmlns:a16="http://schemas.microsoft.com/office/drawing/2014/main" id="{D6134FC8-4249-4088-8AE8-003C8AAC7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6136" y="6255221"/>
              <a:ext cx="26428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1 w 349"/>
                <a:gd name="T25" fmla="*/ 226 h 350"/>
                <a:gd name="T26" fmla="*/ 225 w 349"/>
                <a:gd name="T27" fmla="*/ 213 h 350"/>
                <a:gd name="T28" fmla="*/ 234 w 349"/>
                <a:gd name="T29" fmla="*/ 194 h 350"/>
                <a:gd name="T30" fmla="*/ 237 w 349"/>
                <a:gd name="T31" fmla="*/ 175 h 350"/>
                <a:gd name="T32" fmla="*/ 235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5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4 w 349"/>
                <a:gd name="T47" fmla="*/ 3 h 350"/>
                <a:gd name="T48" fmla="*/ 234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8 w 349"/>
                <a:gd name="T55" fmla="*/ 63 h 350"/>
                <a:gd name="T56" fmla="*/ 325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5 w 349"/>
                <a:gd name="T65" fmla="*/ 210 h 350"/>
                <a:gd name="T66" fmla="*/ 335 w 349"/>
                <a:gd name="T67" fmla="*/ 243 h 350"/>
                <a:gd name="T68" fmla="*/ 319 w 349"/>
                <a:gd name="T69" fmla="*/ 273 h 350"/>
                <a:gd name="T70" fmla="*/ 297 w 349"/>
                <a:gd name="T71" fmla="*/ 299 h 350"/>
                <a:gd name="T72" fmla="*/ 272 w 349"/>
                <a:gd name="T73" fmla="*/ 319 h 350"/>
                <a:gd name="T74" fmla="*/ 242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39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29 w 349"/>
                <a:gd name="T89" fmla="*/ 273 h 350"/>
                <a:gd name="T90" fmla="*/ 14 w 349"/>
                <a:gd name="T91" fmla="*/ 243 h 350"/>
                <a:gd name="T92" fmla="*/ 3 w 349"/>
                <a:gd name="T93" fmla="*/ 210 h 350"/>
                <a:gd name="T94" fmla="*/ 0 w 349"/>
                <a:gd name="T95" fmla="*/ 175 h 350"/>
                <a:gd name="T96" fmla="*/ 3 w 349"/>
                <a:gd name="T97" fmla="*/ 140 h 350"/>
                <a:gd name="T98" fmla="*/ 14 w 349"/>
                <a:gd name="T99" fmla="*/ 107 h 350"/>
                <a:gd name="T100" fmla="*/ 29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39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1" y="226"/>
                  </a:lnTo>
                  <a:lnTo>
                    <a:pt x="225" y="213"/>
                  </a:lnTo>
                  <a:lnTo>
                    <a:pt x="234" y="194"/>
                  </a:lnTo>
                  <a:lnTo>
                    <a:pt x="237" y="175"/>
                  </a:lnTo>
                  <a:lnTo>
                    <a:pt x="235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5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4" y="3"/>
                  </a:lnTo>
                  <a:lnTo>
                    <a:pt x="234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8" y="63"/>
                  </a:lnTo>
                  <a:lnTo>
                    <a:pt x="325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5" y="210"/>
                  </a:lnTo>
                  <a:lnTo>
                    <a:pt x="335" y="243"/>
                  </a:lnTo>
                  <a:lnTo>
                    <a:pt x="319" y="273"/>
                  </a:lnTo>
                  <a:lnTo>
                    <a:pt x="297" y="299"/>
                  </a:lnTo>
                  <a:lnTo>
                    <a:pt x="272" y="319"/>
                  </a:lnTo>
                  <a:lnTo>
                    <a:pt x="242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39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29" y="273"/>
                  </a:lnTo>
                  <a:lnTo>
                    <a:pt x="14" y="243"/>
                  </a:lnTo>
                  <a:lnTo>
                    <a:pt x="3" y="210"/>
                  </a:lnTo>
                  <a:lnTo>
                    <a:pt x="0" y="175"/>
                  </a:lnTo>
                  <a:lnTo>
                    <a:pt x="3" y="140"/>
                  </a:lnTo>
                  <a:lnTo>
                    <a:pt x="14" y="107"/>
                  </a:lnTo>
                  <a:lnTo>
                    <a:pt x="29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39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1" name="Freeform 17">
              <a:extLst>
                <a:ext uri="{FF2B5EF4-FFF2-40B4-BE49-F238E27FC236}">
                  <a16:creationId xmlns:a16="http://schemas.microsoft.com/office/drawing/2014/main" id="{67A5F0B0-C078-4A85-9E32-409FF0B3D5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2133" y="6255221"/>
              <a:ext cx="26656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2 w 349"/>
                <a:gd name="T25" fmla="*/ 226 h 350"/>
                <a:gd name="T26" fmla="*/ 226 w 349"/>
                <a:gd name="T27" fmla="*/ 213 h 350"/>
                <a:gd name="T28" fmla="*/ 235 w 349"/>
                <a:gd name="T29" fmla="*/ 194 h 350"/>
                <a:gd name="T30" fmla="*/ 237 w 349"/>
                <a:gd name="T31" fmla="*/ 175 h 350"/>
                <a:gd name="T32" fmla="*/ 236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7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5 w 349"/>
                <a:gd name="T47" fmla="*/ 3 h 350"/>
                <a:gd name="T48" fmla="*/ 235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9 w 349"/>
                <a:gd name="T55" fmla="*/ 63 h 350"/>
                <a:gd name="T56" fmla="*/ 326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6 w 349"/>
                <a:gd name="T65" fmla="*/ 210 h 350"/>
                <a:gd name="T66" fmla="*/ 336 w 349"/>
                <a:gd name="T67" fmla="*/ 243 h 350"/>
                <a:gd name="T68" fmla="*/ 319 w 349"/>
                <a:gd name="T69" fmla="*/ 273 h 350"/>
                <a:gd name="T70" fmla="*/ 298 w 349"/>
                <a:gd name="T71" fmla="*/ 299 h 350"/>
                <a:gd name="T72" fmla="*/ 272 w 349"/>
                <a:gd name="T73" fmla="*/ 319 h 350"/>
                <a:gd name="T74" fmla="*/ 243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40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30 w 349"/>
                <a:gd name="T89" fmla="*/ 273 h 350"/>
                <a:gd name="T90" fmla="*/ 14 w 349"/>
                <a:gd name="T91" fmla="*/ 243 h 350"/>
                <a:gd name="T92" fmla="*/ 4 w 349"/>
                <a:gd name="T93" fmla="*/ 210 h 350"/>
                <a:gd name="T94" fmla="*/ 0 w 349"/>
                <a:gd name="T95" fmla="*/ 175 h 350"/>
                <a:gd name="T96" fmla="*/ 4 w 349"/>
                <a:gd name="T97" fmla="*/ 140 h 350"/>
                <a:gd name="T98" fmla="*/ 14 w 349"/>
                <a:gd name="T99" fmla="*/ 107 h 350"/>
                <a:gd name="T100" fmla="*/ 30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40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7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7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5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19" y="273"/>
                  </a:lnTo>
                  <a:lnTo>
                    <a:pt x="298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2" name="Freeform 18">
              <a:extLst>
                <a:ext uri="{FF2B5EF4-FFF2-40B4-BE49-F238E27FC236}">
                  <a16:creationId xmlns:a16="http://schemas.microsoft.com/office/drawing/2014/main" id="{BF1784DA-3E40-44FD-998D-DB1DD379C0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8357" y="6255221"/>
              <a:ext cx="26428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7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1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7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8 w 350"/>
                <a:gd name="T31" fmla="*/ 175 h 350"/>
                <a:gd name="T32" fmla="*/ 236 w 350"/>
                <a:gd name="T33" fmla="*/ 158 h 350"/>
                <a:gd name="T34" fmla="*/ 229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7 w 350"/>
                <a:gd name="T53" fmla="*/ 41 h 350"/>
                <a:gd name="T54" fmla="*/ 309 w 350"/>
                <a:gd name="T55" fmla="*/ 63 h 350"/>
                <a:gd name="T56" fmla="*/ 326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2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7 w 350"/>
                <a:gd name="T85" fmla="*/ 319 h 350"/>
                <a:gd name="T86" fmla="*/ 51 w 350"/>
                <a:gd name="T87" fmla="*/ 299 h 350"/>
                <a:gd name="T88" fmla="*/ 30 w 350"/>
                <a:gd name="T89" fmla="*/ 273 h 350"/>
                <a:gd name="T90" fmla="*/ 14 w 350"/>
                <a:gd name="T91" fmla="*/ 243 h 350"/>
                <a:gd name="T92" fmla="*/ 4 w 350"/>
                <a:gd name="T93" fmla="*/ 210 h 350"/>
                <a:gd name="T94" fmla="*/ 0 w 350"/>
                <a:gd name="T95" fmla="*/ 175 h 350"/>
                <a:gd name="T96" fmla="*/ 4 w 350"/>
                <a:gd name="T97" fmla="*/ 140 h 350"/>
                <a:gd name="T98" fmla="*/ 14 w 350"/>
                <a:gd name="T99" fmla="*/ 107 h 350"/>
                <a:gd name="T100" fmla="*/ 30 w 350"/>
                <a:gd name="T101" fmla="*/ 78 h 350"/>
                <a:gd name="T102" fmla="*/ 51 w 350"/>
                <a:gd name="T103" fmla="*/ 52 h 350"/>
                <a:gd name="T104" fmla="*/ 77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8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3" name="Freeform 19">
              <a:extLst>
                <a:ext uri="{FF2B5EF4-FFF2-40B4-BE49-F238E27FC236}">
                  <a16:creationId xmlns:a16="http://schemas.microsoft.com/office/drawing/2014/main" id="{FF26547B-24B3-4108-8095-A2794E966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4353" y="6255221"/>
              <a:ext cx="26656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8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3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8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9 w 350"/>
                <a:gd name="T31" fmla="*/ 175 h 350"/>
                <a:gd name="T32" fmla="*/ 236 w 350"/>
                <a:gd name="T33" fmla="*/ 158 h 350"/>
                <a:gd name="T34" fmla="*/ 231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8 w 350"/>
                <a:gd name="T53" fmla="*/ 41 h 350"/>
                <a:gd name="T54" fmla="*/ 309 w 350"/>
                <a:gd name="T55" fmla="*/ 63 h 350"/>
                <a:gd name="T56" fmla="*/ 327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3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8 w 350"/>
                <a:gd name="T85" fmla="*/ 319 h 350"/>
                <a:gd name="T86" fmla="*/ 53 w 350"/>
                <a:gd name="T87" fmla="*/ 299 h 350"/>
                <a:gd name="T88" fmla="*/ 31 w 350"/>
                <a:gd name="T89" fmla="*/ 273 h 350"/>
                <a:gd name="T90" fmla="*/ 15 w 350"/>
                <a:gd name="T91" fmla="*/ 243 h 350"/>
                <a:gd name="T92" fmla="*/ 5 w 350"/>
                <a:gd name="T93" fmla="*/ 210 h 350"/>
                <a:gd name="T94" fmla="*/ 0 w 350"/>
                <a:gd name="T95" fmla="*/ 175 h 350"/>
                <a:gd name="T96" fmla="*/ 5 w 350"/>
                <a:gd name="T97" fmla="*/ 140 h 350"/>
                <a:gd name="T98" fmla="*/ 15 w 350"/>
                <a:gd name="T99" fmla="*/ 107 h 350"/>
                <a:gd name="T100" fmla="*/ 31 w 350"/>
                <a:gd name="T101" fmla="*/ 78 h 350"/>
                <a:gd name="T102" fmla="*/ 53 w 350"/>
                <a:gd name="T103" fmla="*/ 52 h 350"/>
                <a:gd name="T104" fmla="*/ 78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8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3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8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9" y="175"/>
                  </a:lnTo>
                  <a:lnTo>
                    <a:pt x="236" y="158"/>
                  </a:lnTo>
                  <a:lnTo>
                    <a:pt x="231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8" y="41"/>
                  </a:lnTo>
                  <a:lnTo>
                    <a:pt x="309" y="63"/>
                  </a:lnTo>
                  <a:lnTo>
                    <a:pt x="327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3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8" y="319"/>
                  </a:lnTo>
                  <a:lnTo>
                    <a:pt x="53" y="299"/>
                  </a:lnTo>
                  <a:lnTo>
                    <a:pt x="31" y="273"/>
                  </a:lnTo>
                  <a:lnTo>
                    <a:pt x="15" y="243"/>
                  </a:lnTo>
                  <a:lnTo>
                    <a:pt x="5" y="210"/>
                  </a:lnTo>
                  <a:lnTo>
                    <a:pt x="0" y="175"/>
                  </a:lnTo>
                  <a:lnTo>
                    <a:pt x="5" y="140"/>
                  </a:lnTo>
                  <a:lnTo>
                    <a:pt x="15" y="107"/>
                  </a:lnTo>
                  <a:lnTo>
                    <a:pt x="31" y="78"/>
                  </a:lnTo>
                  <a:lnTo>
                    <a:pt x="53" y="52"/>
                  </a:lnTo>
                  <a:lnTo>
                    <a:pt x="78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4" name="Freeform 20">
              <a:extLst>
                <a:ext uri="{FF2B5EF4-FFF2-40B4-BE49-F238E27FC236}">
                  <a16:creationId xmlns:a16="http://schemas.microsoft.com/office/drawing/2014/main" id="{6F553FA1-4728-401A-8C20-F18E165CA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80832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2 h 111"/>
                <a:gd name="T10" fmla="*/ 168 w 171"/>
                <a:gd name="T11" fmla="*/ 37 h 111"/>
                <a:gd name="T12" fmla="*/ 171 w 171"/>
                <a:gd name="T13" fmla="*/ 55 h 111"/>
                <a:gd name="T14" fmla="*/ 168 w 171"/>
                <a:gd name="T15" fmla="*/ 72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8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8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2 h 111"/>
                <a:gd name="T34" fmla="*/ 0 w 171"/>
                <a:gd name="T35" fmla="*/ 55 h 111"/>
                <a:gd name="T36" fmla="*/ 2 w 171"/>
                <a:gd name="T37" fmla="*/ 37 h 111"/>
                <a:gd name="T38" fmla="*/ 10 w 171"/>
                <a:gd name="T39" fmla="*/ 22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2"/>
                  </a:lnTo>
                  <a:lnTo>
                    <a:pt x="168" y="37"/>
                  </a:lnTo>
                  <a:lnTo>
                    <a:pt x="171" y="55"/>
                  </a:lnTo>
                  <a:lnTo>
                    <a:pt x="168" y="72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8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8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2"/>
                  </a:lnTo>
                  <a:lnTo>
                    <a:pt x="0" y="55"/>
                  </a:lnTo>
                  <a:lnTo>
                    <a:pt x="2" y="37"/>
                  </a:lnTo>
                  <a:lnTo>
                    <a:pt x="10" y="22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5" name="Freeform 21">
              <a:extLst>
                <a:ext uri="{FF2B5EF4-FFF2-40B4-BE49-F238E27FC236}">
                  <a16:creationId xmlns:a16="http://schemas.microsoft.com/office/drawing/2014/main" id="{2A783787-5E9B-43C9-9BF4-073950C97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95860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3 h 111"/>
                <a:gd name="T10" fmla="*/ 168 w 171"/>
                <a:gd name="T11" fmla="*/ 38 h 111"/>
                <a:gd name="T12" fmla="*/ 171 w 171"/>
                <a:gd name="T13" fmla="*/ 55 h 111"/>
                <a:gd name="T14" fmla="*/ 168 w 171"/>
                <a:gd name="T15" fmla="*/ 74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9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9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4 h 111"/>
                <a:gd name="T34" fmla="*/ 0 w 171"/>
                <a:gd name="T35" fmla="*/ 55 h 111"/>
                <a:gd name="T36" fmla="*/ 2 w 171"/>
                <a:gd name="T37" fmla="*/ 38 h 111"/>
                <a:gd name="T38" fmla="*/ 10 w 171"/>
                <a:gd name="T39" fmla="*/ 23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3"/>
                  </a:lnTo>
                  <a:lnTo>
                    <a:pt x="168" y="38"/>
                  </a:lnTo>
                  <a:lnTo>
                    <a:pt x="171" y="55"/>
                  </a:lnTo>
                  <a:lnTo>
                    <a:pt x="168" y="74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9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9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4"/>
                  </a:lnTo>
                  <a:lnTo>
                    <a:pt x="0" y="55"/>
                  </a:lnTo>
                  <a:lnTo>
                    <a:pt x="2" y="38"/>
                  </a:lnTo>
                  <a:lnTo>
                    <a:pt x="10" y="23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6" name="Freeform 22">
              <a:extLst>
                <a:ext uri="{FF2B5EF4-FFF2-40B4-BE49-F238E27FC236}">
                  <a16:creationId xmlns:a16="http://schemas.microsoft.com/office/drawing/2014/main" id="{6465D05A-ED22-49B3-924E-6DFC4C8C8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8138" y="5997240"/>
              <a:ext cx="283642" cy="307072"/>
            </a:xfrm>
            <a:custGeom>
              <a:avLst/>
              <a:gdLst>
                <a:gd name="T0" fmla="*/ 185 w 3736"/>
                <a:gd name="T1" fmla="*/ 3069 h 3678"/>
                <a:gd name="T2" fmla="*/ 125 w 3736"/>
                <a:gd name="T3" fmla="*/ 3352 h 3678"/>
                <a:gd name="T4" fmla="*/ 325 w 3736"/>
                <a:gd name="T5" fmla="*/ 3554 h 3678"/>
                <a:gd name="T6" fmla="*/ 2002 w 3736"/>
                <a:gd name="T7" fmla="*/ 3518 h 3678"/>
                <a:gd name="T8" fmla="*/ 2140 w 3736"/>
                <a:gd name="T9" fmla="*/ 3266 h 3678"/>
                <a:gd name="T10" fmla="*/ 2002 w 3736"/>
                <a:gd name="T11" fmla="*/ 3013 h 3678"/>
                <a:gd name="T12" fmla="*/ 943 w 3736"/>
                <a:gd name="T13" fmla="*/ 2853 h 3678"/>
                <a:gd name="T14" fmla="*/ 2970 w 3736"/>
                <a:gd name="T15" fmla="*/ 2765 h 3678"/>
                <a:gd name="T16" fmla="*/ 3240 w 3736"/>
                <a:gd name="T17" fmla="*/ 2787 h 3678"/>
                <a:gd name="T18" fmla="*/ 3506 w 3736"/>
                <a:gd name="T19" fmla="*/ 2599 h 3678"/>
                <a:gd name="T20" fmla="*/ 302 w 3736"/>
                <a:gd name="T21" fmla="*/ 2099 h 3678"/>
                <a:gd name="T22" fmla="*/ 333 w 3736"/>
                <a:gd name="T23" fmla="*/ 2613 h 3678"/>
                <a:gd name="T24" fmla="*/ 3524 w 3736"/>
                <a:gd name="T25" fmla="*/ 1966 h 3678"/>
                <a:gd name="T26" fmla="*/ 3542 w 3736"/>
                <a:gd name="T27" fmla="*/ 2077 h 3678"/>
                <a:gd name="T28" fmla="*/ 3622 w 3736"/>
                <a:gd name="T29" fmla="*/ 1998 h 3678"/>
                <a:gd name="T30" fmla="*/ 893 w 3736"/>
                <a:gd name="T31" fmla="*/ 1458 h 3678"/>
                <a:gd name="T32" fmla="*/ 1843 w 3736"/>
                <a:gd name="T33" fmla="*/ 2616 h 3678"/>
                <a:gd name="T34" fmla="*/ 1132 w 3736"/>
                <a:gd name="T35" fmla="*/ 2414 h 3678"/>
                <a:gd name="T36" fmla="*/ 954 w 3736"/>
                <a:gd name="T37" fmla="*/ 2256 h 3678"/>
                <a:gd name="T38" fmla="*/ 1082 w 3736"/>
                <a:gd name="T39" fmla="*/ 2271 h 3678"/>
                <a:gd name="T40" fmla="*/ 1271 w 3736"/>
                <a:gd name="T41" fmla="*/ 1557 h 3678"/>
                <a:gd name="T42" fmla="*/ 1360 w 3736"/>
                <a:gd name="T43" fmla="*/ 1601 h 3678"/>
                <a:gd name="T44" fmla="*/ 1958 w 3736"/>
                <a:gd name="T45" fmla="*/ 2171 h 3678"/>
                <a:gd name="T46" fmla="*/ 1525 w 3736"/>
                <a:gd name="T47" fmla="*/ 1457 h 3678"/>
                <a:gd name="T48" fmla="*/ 2749 w 3736"/>
                <a:gd name="T49" fmla="*/ 361 h 3678"/>
                <a:gd name="T50" fmla="*/ 3541 w 3736"/>
                <a:gd name="T51" fmla="*/ 1844 h 3678"/>
                <a:gd name="T52" fmla="*/ 1658 w 3736"/>
                <a:gd name="T53" fmla="*/ 1439 h 3678"/>
                <a:gd name="T54" fmla="*/ 2419 w 3736"/>
                <a:gd name="T55" fmla="*/ 427 h 3678"/>
                <a:gd name="T56" fmla="*/ 2498 w 3736"/>
                <a:gd name="T57" fmla="*/ 124 h 3678"/>
                <a:gd name="T58" fmla="*/ 2441 w 3736"/>
                <a:gd name="T59" fmla="*/ 287 h 3678"/>
                <a:gd name="T60" fmla="*/ 2599 w 3736"/>
                <a:gd name="T61" fmla="*/ 347 h 3678"/>
                <a:gd name="T62" fmla="*/ 2672 w 3736"/>
                <a:gd name="T63" fmla="*/ 256 h 3678"/>
                <a:gd name="T64" fmla="*/ 2625 w 3736"/>
                <a:gd name="T65" fmla="*/ 136 h 3678"/>
                <a:gd name="T66" fmla="*/ 2665 w 3736"/>
                <a:gd name="T67" fmla="*/ 28 h 3678"/>
                <a:gd name="T68" fmla="*/ 3734 w 3736"/>
                <a:gd name="T69" fmla="*/ 1986 h 3678"/>
                <a:gd name="T70" fmla="*/ 3646 w 3736"/>
                <a:gd name="T71" fmla="*/ 2170 h 3678"/>
                <a:gd name="T72" fmla="*/ 3580 w 3736"/>
                <a:gd name="T73" fmla="*/ 2724 h 3678"/>
                <a:gd name="T74" fmla="*/ 3180 w 3736"/>
                <a:gd name="T75" fmla="*/ 2918 h 3678"/>
                <a:gd name="T76" fmla="*/ 2865 w 3736"/>
                <a:gd name="T77" fmla="*/ 2826 h 3678"/>
                <a:gd name="T78" fmla="*/ 2459 w 3736"/>
                <a:gd name="T79" fmla="*/ 2397 h 3678"/>
                <a:gd name="T80" fmla="*/ 3431 w 3736"/>
                <a:gd name="T81" fmla="*/ 2200 h 3678"/>
                <a:gd name="T82" fmla="*/ 3506 w 3736"/>
                <a:gd name="T83" fmla="*/ 2183 h 3678"/>
                <a:gd name="T84" fmla="*/ 1983 w 3736"/>
                <a:gd name="T85" fmla="*/ 1926 h 3678"/>
                <a:gd name="T86" fmla="*/ 2073 w 3736"/>
                <a:gd name="T87" fmla="*/ 2433 h 3678"/>
                <a:gd name="T88" fmla="*/ 2059 w 3736"/>
                <a:gd name="T89" fmla="*/ 2469 h 3678"/>
                <a:gd name="T90" fmla="*/ 2043 w 3736"/>
                <a:gd name="T91" fmla="*/ 2482 h 3678"/>
                <a:gd name="T92" fmla="*/ 2024 w 3736"/>
                <a:gd name="T93" fmla="*/ 2489 h 3678"/>
                <a:gd name="T94" fmla="*/ 1942 w 3736"/>
                <a:gd name="T95" fmla="*/ 2705 h 3678"/>
                <a:gd name="T96" fmla="*/ 1890 w 3736"/>
                <a:gd name="T97" fmla="*/ 2857 h 3678"/>
                <a:gd name="T98" fmla="*/ 2177 w 3736"/>
                <a:gd name="T99" fmla="*/ 3030 h 3678"/>
                <a:gd name="T100" fmla="*/ 2238 w 3736"/>
                <a:gd name="T101" fmla="*/ 3367 h 3678"/>
                <a:gd name="T102" fmla="*/ 2032 w 3736"/>
                <a:gd name="T103" fmla="*/ 3630 h 3678"/>
                <a:gd name="T104" fmla="*/ 311 w 3736"/>
                <a:gd name="T105" fmla="*/ 3666 h 3678"/>
                <a:gd name="T106" fmla="*/ 49 w 3736"/>
                <a:gd name="T107" fmla="*/ 3460 h 3678"/>
                <a:gd name="T108" fmla="*/ 28 w 3736"/>
                <a:gd name="T109" fmla="*/ 3116 h 3678"/>
                <a:gd name="T110" fmla="*/ 263 w 3736"/>
                <a:gd name="T111" fmla="*/ 2882 h 3678"/>
                <a:gd name="T112" fmla="*/ 317 w 3736"/>
                <a:gd name="T113" fmla="*/ 2724 h 3678"/>
                <a:gd name="T114" fmla="*/ 178 w 3736"/>
                <a:gd name="T115" fmla="*/ 2553 h 3678"/>
                <a:gd name="T116" fmla="*/ 284 w 3736"/>
                <a:gd name="T117" fmla="*/ 1975 h 3678"/>
                <a:gd name="T118" fmla="*/ 740 w 3736"/>
                <a:gd name="T119" fmla="*/ 1477 h 3678"/>
                <a:gd name="T120" fmla="*/ 963 w 3736"/>
                <a:gd name="T121" fmla="*/ 1310 h 3678"/>
                <a:gd name="T122" fmla="*/ 2410 w 3736"/>
                <a:gd name="T123" fmla="*/ 48 h 3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6" h="3678">
                  <a:moveTo>
                    <a:pt x="413" y="2964"/>
                  </a:moveTo>
                  <a:lnTo>
                    <a:pt x="367" y="2968"/>
                  </a:lnTo>
                  <a:lnTo>
                    <a:pt x="325" y="2978"/>
                  </a:lnTo>
                  <a:lnTo>
                    <a:pt x="286" y="2993"/>
                  </a:lnTo>
                  <a:lnTo>
                    <a:pt x="248" y="3013"/>
                  </a:lnTo>
                  <a:lnTo>
                    <a:pt x="215" y="3039"/>
                  </a:lnTo>
                  <a:lnTo>
                    <a:pt x="185" y="3069"/>
                  </a:lnTo>
                  <a:lnTo>
                    <a:pt x="160" y="3102"/>
                  </a:lnTo>
                  <a:lnTo>
                    <a:pt x="139" y="3139"/>
                  </a:lnTo>
                  <a:lnTo>
                    <a:pt x="125" y="3179"/>
                  </a:lnTo>
                  <a:lnTo>
                    <a:pt x="114" y="3222"/>
                  </a:lnTo>
                  <a:lnTo>
                    <a:pt x="111" y="3266"/>
                  </a:lnTo>
                  <a:lnTo>
                    <a:pt x="114" y="3310"/>
                  </a:lnTo>
                  <a:lnTo>
                    <a:pt x="125" y="3352"/>
                  </a:lnTo>
                  <a:lnTo>
                    <a:pt x="139" y="3393"/>
                  </a:lnTo>
                  <a:lnTo>
                    <a:pt x="160" y="3430"/>
                  </a:lnTo>
                  <a:lnTo>
                    <a:pt x="185" y="3464"/>
                  </a:lnTo>
                  <a:lnTo>
                    <a:pt x="215" y="3493"/>
                  </a:lnTo>
                  <a:lnTo>
                    <a:pt x="248" y="3518"/>
                  </a:lnTo>
                  <a:lnTo>
                    <a:pt x="286" y="3538"/>
                  </a:lnTo>
                  <a:lnTo>
                    <a:pt x="325" y="3554"/>
                  </a:lnTo>
                  <a:lnTo>
                    <a:pt x="367" y="3563"/>
                  </a:lnTo>
                  <a:lnTo>
                    <a:pt x="413" y="3567"/>
                  </a:lnTo>
                  <a:lnTo>
                    <a:pt x="1838" y="3567"/>
                  </a:lnTo>
                  <a:lnTo>
                    <a:pt x="1882" y="3563"/>
                  </a:lnTo>
                  <a:lnTo>
                    <a:pt x="1925" y="3554"/>
                  </a:lnTo>
                  <a:lnTo>
                    <a:pt x="1965" y="3538"/>
                  </a:lnTo>
                  <a:lnTo>
                    <a:pt x="2002" y="3518"/>
                  </a:lnTo>
                  <a:lnTo>
                    <a:pt x="2035" y="3493"/>
                  </a:lnTo>
                  <a:lnTo>
                    <a:pt x="2065" y="3464"/>
                  </a:lnTo>
                  <a:lnTo>
                    <a:pt x="2091" y="3430"/>
                  </a:lnTo>
                  <a:lnTo>
                    <a:pt x="2111" y="3393"/>
                  </a:lnTo>
                  <a:lnTo>
                    <a:pt x="2126" y="3352"/>
                  </a:lnTo>
                  <a:lnTo>
                    <a:pt x="2136" y="3310"/>
                  </a:lnTo>
                  <a:lnTo>
                    <a:pt x="2140" y="3266"/>
                  </a:lnTo>
                  <a:lnTo>
                    <a:pt x="2136" y="3222"/>
                  </a:lnTo>
                  <a:lnTo>
                    <a:pt x="2126" y="3179"/>
                  </a:lnTo>
                  <a:lnTo>
                    <a:pt x="2111" y="3139"/>
                  </a:lnTo>
                  <a:lnTo>
                    <a:pt x="2091" y="3102"/>
                  </a:lnTo>
                  <a:lnTo>
                    <a:pt x="2065" y="3069"/>
                  </a:lnTo>
                  <a:lnTo>
                    <a:pt x="2035" y="3039"/>
                  </a:lnTo>
                  <a:lnTo>
                    <a:pt x="2002" y="3013"/>
                  </a:lnTo>
                  <a:lnTo>
                    <a:pt x="1965" y="2993"/>
                  </a:lnTo>
                  <a:lnTo>
                    <a:pt x="1925" y="2978"/>
                  </a:lnTo>
                  <a:lnTo>
                    <a:pt x="1882" y="2968"/>
                  </a:lnTo>
                  <a:lnTo>
                    <a:pt x="1838" y="2964"/>
                  </a:lnTo>
                  <a:lnTo>
                    <a:pt x="413" y="2964"/>
                  </a:lnTo>
                  <a:close/>
                  <a:moveTo>
                    <a:pt x="943" y="2727"/>
                  </a:moveTo>
                  <a:lnTo>
                    <a:pt x="943" y="2853"/>
                  </a:lnTo>
                  <a:lnTo>
                    <a:pt x="1307" y="2853"/>
                  </a:lnTo>
                  <a:lnTo>
                    <a:pt x="1307" y="2727"/>
                  </a:lnTo>
                  <a:lnTo>
                    <a:pt x="943" y="2727"/>
                  </a:lnTo>
                  <a:close/>
                  <a:moveTo>
                    <a:pt x="3407" y="2328"/>
                  </a:moveTo>
                  <a:lnTo>
                    <a:pt x="2754" y="2590"/>
                  </a:lnTo>
                  <a:lnTo>
                    <a:pt x="2936" y="2741"/>
                  </a:lnTo>
                  <a:lnTo>
                    <a:pt x="2970" y="2765"/>
                  </a:lnTo>
                  <a:lnTo>
                    <a:pt x="3005" y="2783"/>
                  </a:lnTo>
                  <a:lnTo>
                    <a:pt x="3042" y="2797"/>
                  </a:lnTo>
                  <a:lnTo>
                    <a:pt x="3081" y="2806"/>
                  </a:lnTo>
                  <a:lnTo>
                    <a:pt x="3121" y="2809"/>
                  </a:lnTo>
                  <a:lnTo>
                    <a:pt x="3161" y="2808"/>
                  </a:lnTo>
                  <a:lnTo>
                    <a:pt x="3201" y="2800"/>
                  </a:lnTo>
                  <a:lnTo>
                    <a:pt x="3240" y="2787"/>
                  </a:lnTo>
                  <a:lnTo>
                    <a:pt x="3429" y="2711"/>
                  </a:lnTo>
                  <a:lnTo>
                    <a:pt x="3452" y="2700"/>
                  </a:lnTo>
                  <a:lnTo>
                    <a:pt x="3470" y="2684"/>
                  </a:lnTo>
                  <a:lnTo>
                    <a:pt x="3485" y="2666"/>
                  </a:lnTo>
                  <a:lnTo>
                    <a:pt x="3496" y="2646"/>
                  </a:lnTo>
                  <a:lnTo>
                    <a:pt x="3504" y="2623"/>
                  </a:lnTo>
                  <a:lnTo>
                    <a:pt x="3506" y="2599"/>
                  </a:lnTo>
                  <a:lnTo>
                    <a:pt x="3504" y="2575"/>
                  </a:lnTo>
                  <a:lnTo>
                    <a:pt x="3497" y="2551"/>
                  </a:lnTo>
                  <a:lnTo>
                    <a:pt x="3407" y="2328"/>
                  </a:lnTo>
                  <a:close/>
                  <a:moveTo>
                    <a:pt x="353" y="2073"/>
                  </a:moveTo>
                  <a:lnTo>
                    <a:pt x="333" y="2076"/>
                  </a:lnTo>
                  <a:lnTo>
                    <a:pt x="315" y="2085"/>
                  </a:lnTo>
                  <a:lnTo>
                    <a:pt x="302" y="2099"/>
                  </a:lnTo>
                  <a:lnTo>
                    <a:pt x="292" y="2116"/>
                  </a:lnTo>
                  <a:lnTo>
                    <a:pt x="289" y="2136"/>
                  </a:lnTo>
                  <a:lnTo>
                    <a:pt x="289" y="2553"/>
                  </a:lnTo>
                  <a:lnTo>
                    <a:pt x="292" y="2572"/>
                  </a:lnTo>
                  <a:lnTo>
                    <a:pt x="302" y="2590"/>
                  </a:lnTo>
                  <a:lnTo>
                    <a:pt x="315" y="2604"/>
                  </a:lnTo>
                  <a:lnTo>
                    <a:pt x="333" y="2613"/>
                  </a:lnTo>
                  <a:lnTo>
                    <a:pt x="353" y="2616"/>
                  </a:lnTo>
                  <a:lnTo>
                    <a:pt x="713" y="2616"/>
                  </a:lnTo>
                  <a:lnTo>
                    <a:pt x="713" y="2073"/>
                  </a:lnTo>
                  <a:lnTo>
                    <a:pt x="353" y="2073"/>
                  </a:lnTo>
                  <a:close/>
                  <a:moveTo>
                    <a:pt x="3562" y="1955"/>
                  </a:moveTo>
                  <a:lnTo>
                    <a:pt x="3542" y="1957"/>
                  </a:lnTo>
                  <a:lnTo>
                    <a:pt x="3524" y="1966"/>
                  </a:lnTo>
                  <a:lnTo>
                    <a:pt x="3511" y="1980"/>
                  </a:lnTo>
                  <a:lnTo>
                    <a:pt x="3502" y="1998"/>
                  </a:lnTo>
                  <a:lnTo>
                    <a:pt x="3498" y="2017"/>
                  </a:lnTo>
                  <a:lnTo>
                    <a:pt x="3502" y="2038"/>
                  </a:lnTo>
                  <a:lnTo>
                    <a:pt x="3511" y="2055"/>
                  </a:lnTo>
                  <a:lnTo>
                    <a:pt x="3524" y="2068"/>
                  </a:lnTo>
                  <a:lnTo>
                    <a:pt x="3542" y="2077"/>
                  </a:lnTo>
                  <a:lnTo>
                    <a:pt x="3562" y="2081"/>
                  </a:lnTo>
                  <a:lnTo>
                    <a:pt x="3582" y="2077"/>
                  </a:lnTo>
                  <a:lnTo>
                    <a:pt x="3599" y="2068"/>
                  </a:lnTo>
                  <a:lnTo>
                    <a:pt x="3613" y="2055"/>
                  </a:lnTo>
                  <a:lnTo>
                    <a:pt x="3622" y="2038"/>
                  </a:lnTo>
                  <a:lnTo>
                    <a:pt x="3625" y="2017"/>
                  </a:lnTo>
                  <a:lnTo>
                    <a:pt x="3622" y="1998"/>
                  </a:lnTo>
                  <a:lnTo>
                    <a:pt x="3613" y="1980"/>
                  </a:lnTo>
                  <a:lnTo>
                    <a:pt x="3599" y="1966"/>
                  </a:lnTo>
                  <a:lnTo>
                    <a:pt x="3582" y="1957"/>
                  </a:lnTo>
                  <a:lnTo>
                    <a:pt x="3562" y="1955"/>
                  </a:lnTo>
                  <a:close/>
                  <a:moveTo>
                    <a:pt x="950" y="1428"/>
                  </a:moveTo>
                  <a:lnTo>
                    <a:pt x="921" y="1441"/>
                  </a:lnTo>
                  <a:lnTo>
                    <a:pt x="893" y="1458"/>
                  </a:lnTo>
                  <a:lnTo>
                    <a:pt x="871" y="1481"/>
                  </a:lnTo>
                  <a:lnTo>
                    <a:pt x="851" y="1507"/>
                  </a:lnTo>
                  <a:lnTo>
                    <a:pt x="837" y="1536"/>
                  </a:lnTo>
                  <a:lnTo>
                    <a:pt x="828" y="1568"/>
                  </a:lnTo>
                  <a:lnTo>
                    <a:pt x="824" y="1601"/>
                  </a:lnTo>
                  <a:lnTo>
                    <a:pt x="824" y="2616"/>
                  </a:lnTo>
                  <a:lnTo>
                    <a:pt x="1843" y="2616"/>
                  </a:lnTo>
                  <a:lnTo>
                    <a:pt x="1843" y="2489"/>
                  </a:lnTo>
                  <a:lnTo>
                    <a:pt x="1556" y="2489"/>
                  </a:lnTo>
                  <a:lnTo>
                    <a:pt x="1468" y="2487"/>
                  </a:lnTo>
                  <a:lnTo>
                    <a:pt x="1382" y="2478"/>
                  </a:lnTo>
                  <a:lnTo>
                    <a:pt x="1297" y="2462"/>
                  </a:lnTo>
                  <a:lnTo>
                    <a:pt x="1213" y="2441"/>
                  </a:lnTo>
                  <a:lnTo>
                    <a:pt x="1132" y="2414"/>
                  </a:lnTo>
                  <a:lnTo>
                    <a:pt x="1050" y="2382"/>
                  </a:lnTo>
                  <a:lnTo>
                    <a:pt x="1026" y="2369"/>
                  </a:lnTo>
                  <a:lnTo>
                    <a:pt x="1005" y="2352"/>
                  </a:lnTo>
                  <a:lnTo>
                    <a:pt x="985" y="2331"/>
                  </a:lnTo>
                  <a:lnTo>
                    <a:pt x="971" y="2309"/>
                  </a:lnTo>
                  <a:lnTo>
                    <a:pt x="960" y="2284"/>
                  </a:lnTo>
                  <a:lnTo>
                    <a:pt x="954" y="2256"/>
                  </a:lnTo>
                  <a:lnTo>
                    <a:pt x="950" y="2228"/>
                  </a:lnTo>
                  <a:lnTo>
                    <a:pt x="950" y="1428"/>
                  </a:lnTo>
                  <a:close/>
                  <a:moveTo>
                    <a:pt x="1062" y="1419"/>
                  </a:moveTo>
                  <a:lnTo>
                    <a:pt x="1062" y="2228"/>
                  </a:lnTo>
                  <a:lnTo>
                    <a:pt x="1065" y="2245"/>
                  </a:lnTo>
                  <a:lnTo>
                    <a:pt x="1071" y="2259"/>
                  </a:lnTo>
                  <a:lnTo>
                    <a:pt x="1082" y="2271"/>
                  </a:lnTo>
                  <a:lnTo>
                    <a:pt x="1095" y="2280"/>
                  </a:lnTo>
                  <a:lnTo>
                    <a:pt x="1171" y="2311"/>
                  </a:lnTo>
                  <a:lnTo>
                    <a:pt x="1248" y="2335"/>
                  </a:lnTo>
                  <a:lnTo>
                    <a:pt x="1248" y="1601"/>
                  </a:lnTo>
                  <a:lnTo>
                    <a:pt x="1251" y="1584"/>
                  </a:lnTo>
                  <a:lnTo>
                    <a:pt x="1259" y="1568"/>
                  </a:lnTo>
                  <a:lnTo>
                    <a:pt x="1271" y="1557"/>
                  </a:lnTo>
                  <a:lnTo>
                    <a:pt x="1286" y="1549"/>
                  </a:lnTo>
                  <a:lnTo>
                    <a:pt x="1304" y="1545"/>
                  </a:lnTo>
                  <a:lnTo>
                    <a:pt x="1321" y="1549"/>
                  </a:lnTo>
                  <a:lnTo>
                    <a:pt x="1337" y="1557"/>
                  </a:lnTo>
                  <a:lnTo>
                    <a:pt x="1348" y="1568"/>
                  </a:lnTo>
                  <a:lnTo>
                    <a:pt x="1356" y="1584"/>
                  </a:lnTo>
                  <a:lnTo>
                    <a:pt x="1360" y="1601"/>
                  </a:lnTo>
                  <a:lnTo>
                    <a:pt x="1360" y="2361"/>
                  </a:lnTo>
                  <a:lnTo>
                    <a:pt x="1424" y="2370"/>
                  </a:lnTo>
                  <a:lnTo>
                    <a:pt x="1490" y="2376"/>
                  </a:lnTo>
                  <a:lnTo>
                    <a:pt x="1556" y="2378"/>
                  </a:lnTo>
                  <a:lnTo>
                    <a:pt x="1961" y="2378"/>
                  </a:lnTo>
                  <a:lnTo>
                    <a:pt x="1961" y="2221"/>
                  </a:lnTo>
                  <a:lnTo>
                    <a:pt x="1958" y="2171"/>
                  </a:lnTo>
                  <a:lnTo>
                    <a:pt x="1949" y="2123"/>
                  </a:lnTo>
                  <a:lnTo>
                    <a:pt x="1936" y="2076"/>
                  </a:lnTo>
                  <a:lnTo>
                    <a:pt x="1915" y="2031"/>
                  </a:lnTo>
                  <a:lnTo>
                    <a:pt x="1890" y="1988"/>
                  </a:lnTo>
                  <a:lnTo>
                    <a:pt x="1566" y="1500"/>
                  </a:lnTo>
                  <a:lnTo>
                    <a:pt x="1547" y="1477"/>
                  </a:lnTo>
                  <a:lnTo>
                    <a:pt x="1525" y="1457"/>
                  </a:lnTo>
                  <a:lnTo>
                    <a:pt x="1500" y="1441"/>
                  </a:lnTo>
                  <a:lnTo>
                    <a:pt x="1473" y="1428"/>
                  </a:lnTo>
                  <a:lnTo>
                    <a:pt x="1445" y="1422"/>
                  </a:lnTo>
                  <a:lnTo>
                    <a:pt x="1414" y="1419"/>
                  </a:lnTo>
                  <a:lnTo>
                    <a:pt x="1062" y="1419"/>
                  </a:lnTo>
                  <a:close/>
                  <a:moveTo>
                    <a:pt x="2753" y="353"/>
                  </a:moveTo>
                  <a:lnTo>
                    <a:pt x="2749" y="361"/>
                  </a:lnTo>
                  <a:lnTo>
                    <a:pt x="2571" y="659"/>
                  </a:lnTo>
                  <a:lnTo>
                    <a:pt x="3419" y="1917"/>
                  </a:lnTo>
                  <a:lnTo>
                    <a:pt x="3437" y="1895"/>
                  </a:lnTo>
                  <a:lnTo>
                    <a:pt x="3460" y="1876"/>
                  </a:lnTo>
                  <a:lnTo>
                    <a:pt x="3485" y="1861"/>
                  </a:lnTo>
                  <a:lnTo>
                    <a:pt x="3512" y="1850"/>
                  </a:lnTo>
                  <a:lnTo>
                    <a:pt x="3541" y="1844"/>
                  </a:lnTo>
                  <a:lnTo>
                    <a:pt x="2753" y="353"/>
                  </a:lnTo>
                  <a:close/>
                  <a:moveTo>
                    <a:pt x="2334" y="320"/>
                  </a:moveTo>
                  <a:lnTo>
                    <a:pt x="1562" y="1348"/>
                  </a:lnTo>
                  <a:lnTo>
                    <a:pt x="1590" y="1366"/>
                  </a:lnTo>
                  <a:lnTo>
                    <a:pt x="1616" y="1387"/>
                  </a:lnTo>
                  <a:lnTo>
                    <a:pt x="1638" y="1411"/>
                  </a:lnTo>
                  <a:lnTo>
                    <a:pt x="1658" y="1439"/>
                  </a:lnTo>
                  <a:lnTo>
                    <a:pt x="1827" y="1690"/>
                  </a:lnTo>
                  <a:lnTo>
                    <a:pt x="2555" y="467"/>
                  </a:lnTo>
                  <a:lnTo>
                    <a:pt x="2551" y="467"/>
                  </a:lnTo>
                  <a:lnTo>
                    <a:pt x="2515" y="465"/>
                  </a:lnTo>
                  <a:lnTo>
                    <a:pt x="2481" y="457"/>
                  </a:lnTo>
                  <a:lnTo>
                    <a:pt x="2448" y="444"/>
                  </a:lnTo>
                  <a:lnTo>
                    <a:pt x="2419" y="427"/>
                  </a:lnTo>
                  <a:lnTo>
                    <a:pt x="2391" y="405"/>
                  </a:lnTo>
                  <a:lnTo>
                    <a:pt x="2369" y="380"/>
                  </a:lnTo>
                  <a:lnTo>
                    <a:pt x="2349" y="351"/>
                  </a:lnTo>
                  <a:lnTo>
                    <a:pt x="2334" y="320"/>
                  </a:lnTo>
                  <a:close/>
                  <a:moveTo>
                    <a:pt x="2551" y="111"/>
                  </a:moveTo>
                  <a:lnTo>
                    <a:pt x="2523" y="115"/>
                  </a:lnTo>
                  <a:lnTo>
                    <a:pt x="2498" y="124"/>
                  </a:lnTo>
                  <a:lnTo>
                    <a:pt x="2475" y="138"/>
                  </a:lnTo>
                  <a:lnTo>
                    <a:pt x="2456" y="157"/>
                  </a:lnTo>
                  <a:lnTo>
                    <a:pt x="2441" y="180"/>
                  </a:lnTo>
                  <a:lnTo>
                    <a:pt x="2432" y="205"/>
                  </a:lnTo>
                  <a:lnTo>
                    <a:pt x="2429" y="234"/>
                  </a:lnTo>
                  <a:lnTo>
                    <a:pt x="2432" y="262"/>
                  </a:lnTo>
                  <a:lnTo>
                    <a:pt x="2441" y="287"/>
                  </a:lnTo>
                  <a:lnTo>
                    <a:pt x="2456" y="311"/>
                  </a:lnTo>
                  <a:lnTo>
                    <a:pt x="2475" y="329"/>
                  </a:lnTo>
                  <a:lnTo>
                    <a:pt x="2498" y="344"/>
                  </a:lnTo>
                  <a:lnTo>
                    <a:pt x="2523" y="353"/>
                  </a:lnTo>
                  <a:lnTo>
                    <a:pt x="2551" y="356"/>
                  </a:lnTo>
                  <a:lnTo>
                    <a:pt x="2576" y="354"/>
                  </a:lnTo>
                  <a:lnTo>
                    <a:pt x="2599" y="347"/>
                  </a:lnTo>
                  <a:lnTo>
                    <a:pt x="2619" y="336"/>
                  </a:lnTo>
                  <a:lnTo>
                    <a:pt x="2638" y="321"/>
                  </a:lnTo>
                  <a:lnTo>
                    <a:pt x="2653" y="303"/>
                  </a:lnTo>
                  <a:lnTo>
                    <a:pt x="2656" y="298"/>
                  </a:lnTo>
                  <a:lnTo>
                    <a:pt x="2657" y="297"/>
                  </a:lnTo>
                  <a:lnTo>
                    <a:pt x="2666" y="278"/>
                  </a:lnTo>
                  <a:lnTo>
                    <a:pt x="2672" y="256"/>
                  </a:lnTo>
                  <a:lnTo>
                    <a:pt x="2674" y="234"/>
                  </a:lnTo>
                  <a:lnTo>
                    <a:pt x="2672" y="210"/>
                  </a:lnTo>
                  <a:lnTo>
                    <a:pt x="2665" y="187"/>
                  </a:lnTo>
                  <a:lnTo>
                    <a:pt x="2661" y="180"/>
                  </a:lnTo>
                  <a:lnTo>
                    <a:pt x="2658" y="174"/>
                  </a:lnTo>
                  <a:lnTo>
                    <a:pt x="2643" y="153"/>
                  </a:lnTo>
                  <a:lnTo>
                    <a:pt x="2625" y="136"/>
                  </a:lnTo>
                  <a:lnTo>
                    <a:pt x="2603" y="123"/>
                  </a:lnTo>
                  <a:lnTo>
                    <a:pt x="2579" y="115"/>
                  </a:lnTo>
                  <a:lnTo>
                    <a:pt x="2551" y="111"/>
                  </a:lnTo>
                  <a:close/>
                  <a:moveTo>
                    <a:pt x="2551" y="0"/>
                  </a:moveTo>
                  <a:lnTo>
                    <a:pt x="2591" y="3"/>
                  </a:lnTo>
                  <a:lnTo>
                    <a:pt x="2630" y="12"/>
                  </a:lnTo>
                  <a:lnTo>
                    <a:pt x="2665" y="28"/>
                  </a:lnTo>
                  <a:lnTo>
                    <a:pt x="2696" y="50"/>
                  </a:lnTo>
                  <a:lnTo>
                    <a:pt x="2724" y="75"/>
                  </a:lnTo>
                  <a:lnTo>
                    <a:pt x="2747" y="106"/>
                  </a:lnTo>
                  <a:lnTo>
                    <a:pt x="2766" y="138"/>
                  </a:lnTo>
                  <a:lnTo>
                    <a:pt x="3713" y="1930"/>
                  </a:lnTo>
                  <a:lnTo>
                    <a:pt x="3726" y="1957"/>
                  </a:lnTo>
                  <a:lnTo>
                    <a:pt x="3734" y="1986"/>
                  </a:lnTo>
                  <a:lnTo>
                    <a:pt x="3736" y="2017"/>
                  </a:lnTo>
                  <a:lnTo>
                    <a:pt x="3733" y="2050"/>
                  </a:lnTo>
                  <a:lnTo>
                    <a:pt x="3725" y="2080"/>
                  </a:lnTo>
                  <a:lnTo>
                    <a:pt x="3711" y="2108"/>
                  </a:lnTo>
                  <a:lnTo>
                    <a:pt x="3693" y="2132"/>
                  </a:lnTo>
                  <a:lnTo>
                    <a:pt x="3672" y="2153"/>
                  </a:lnTo>
                  <a:lnTo>
                    <a:pt x="3646" y="2170"/>
                  </a:lnTo>
                  <a:lnTo>
                    <a:pt x="3617" y="2183"/>
                  </a:lnTo>
                  <a:lnTo>
                    <a:pt x="3617" y="2612"/>
                  </a:lnTo>
                  <a:lnTo>
                    <a:pt x="3617" y="2620"/>
                  </a:lnTo>
                  <a:lnTo>
                    <a:pt x="3616" y="2626"/>
                  </a:lnTo>
                  <a:lnTo>
                    <a:pt x="3609" y="2660"/>
                  </a:lnTo>
                  <a:lnTo>
                    <a:pt x="3597" y="2693"/>
                  </a:lnTo>
                  <a:lnTo>
                    <a:pt x="3580" y="2724"/>
                  </a:lnTo>
                  <a:lnTo>
                    <a:pt x="3559" y="2752"/>
                  </a:lnTo>
                  <a:lnTo>
                    <a:pt x="3533" y="2777"/>
                  </a:lnTo>
                  <a:lnTo>
                    <a:pt x="3504" y="2799"/>
                  </a:lnTo>
                  <a:lnTo>
                    <a:pt x="3471" y="2815"/>
                  </a:lnTo>
                  <a:lnTo>
                    <a:pt x="3282" y="2891"/>
                  </a:lnTo>
                  <a:lnTo>
                    <a:pt x="3231" y="2908"/>
                  </a:lnTo>
                  <a:lnTo>
                    <a:pt x="3180" y="2918"/>
                  </a:lnTo>
                  <a:lnTo>
                    <a:pt x="3127" y="2920"/>
                  </a:lnTo>
                  <a:lnTo>
                    <a:pt x="3081" y="2918"/>
                  </a:lnTo>
                  <a:lnTo>
                    <a:pt x="3034" y="2910"/>
                  </a:lnTo>
                  <a:lnTo>
                    <a:pt x="2989" y="2896"/>
                  </a:lnTo>
                  <a:lnTo>
                    <a:pt x="2946" y="2878"/>
                  </a:lnTo>
                  <a:lnTo>
                    <a:pt x="2904" y="2855"/>
                  </a:lnTo>
                  <a:lnTo>
                    <a:pt x="2865" y="2826"/>
                  </a:lnTo>
                  <a:lnTo>
                    <a:pt x="2454" y="2487"/>
                  </a:lnTo>
                  <a:lnTo>
                    <a:pt x="2442" y="2474"/>
                  </a:lnTo>
                  <a:lnTo>
                    <a:pt x="2436" y="2458"/>
                  </a:lnTo>
                  <a:lnTo>
                    <a:pt x="2433" y="2441"/>
                  </a:lnTo>
                  <a:lnTo>
                    <a:pt x="2438" y="2424"/>
                  </a:lnTo>
                  <a:lnTo>
                    <a:pt x="2447" y="2409"/>
                  </a:lnTo>
                  <a:lnTo>
                    <a:pt x="2459" y="2397"/>
                  </a:lnTo>
                  <a:lnTo>
                    <a:pt x="2475" y="2390"/>
                  </a:lnTo>
                  <a:lnTo>
                    <a:pt x="2492" y="2388"/>
                  </a:lnTo>
                  <a:lnTo>
                    <a:pt x="2509" y="2393"/>
                  </a:lnTo>
                  <a:lnTo>
                    <a:pt x="2525" y="2402"/>
                  </a:lnTo>
                  <a:lnTo>
                    <a:pt x="2656" y="2509"/>
                  </a:lnTo>
                  <a:lnTo>
                    <a:pt x="3418" y="2203"/>
                  </a:lnTo>
                  <a:lnTo>
                    <a:pt x="3431" y="2200"/>
                  </a:lnTo>
                  <a:lnTo>
                    <a:pt x="3446" y="2200"/>
                  </a:lnTo>
                  <a:lnTo>
                    <a:pt x="3460" y="2204"/>
                  </a:lnTo>
                  <a:lnTo>
                    <a:pt x="3472" y="2211"/>
                  </a:lnTo>
                  <a:lnTo>
                    <a:pt x="3482" y="2221"/>
                  </a:lnTo>
                  <a:lnTo>
                    <a:pt x="3490" y="2235"/>
                  </a:lnTo>
                  <a:lnTo>
                    <a:pt x="3506" y="2275"/>
                  </a:lnTo>
                  <a:lnTo>
                    <a:pt x="3506" y="2183"/>
                  </a:lnTo>
                  <a:lnTo>
                    <a:pt x="3478" y="2170"/>
                  </a:lnTo>
                  <a:lnTo>
                    <a:pt x="3452" y="2152"/>
                  </a:lnTo>
                  <a:lnTo>
                    <a:pt x="3429" y="2131"/>
                  </a:lnTo>
                  <a:lnTo>
                    <a:pt x="3411" y="2106"/>
                  </a:lnTo>
                  <a:lnTo>
                    <a:pt x="2507" y="766"/>
                  </a:lnTo>
                  <a:lnTo>
                    <a:pt x="1895" y="1794"/>
                  </a:lnTo>
                  <a:lnTo>
                    <a:pt x="1983" y="1926"/>
                  </a:lnTo>
                  <a:lnTo>
                    <a:pt x="2010" y="1971"/>
                  </a:lnTo>
                  <a:lnTo>
                    <a:pt x="2032" y="2018"/>
                  </a:lnTo>
                  <a:lnTo>
                    <a:pt x="2050" y="2067"/>
                  </a:lnTo>
                  <a:lnTo>
                    <a:pt x="2063" y="2117"/>
                  </a:lnTo>
                  <a:lnTo>
                    <a:pt x="2069" y="2168"/>
                  </a:lnTo>
                  <a:lnTo>
                    <a:pt x="2073" y="2221"/>
                  </a:lnTo>
                  <a:lnTo>
                    <a:pt x="2073" y="2433"/>
                  </a:lnTo>
                  <a:lnTo>
                    <a:pt x="2072" y="2441"/>
                  </a:lnTo>
                  <a:lnTo>
                    <a:pt x="2069" y="2452"/>
                  </a:lnTo>
                  <a:lnTo>
                    <a:pt x="2066" y="2460"/>
                  </a:lnTo>
                  <a:lnTo>
                    <a:pt x="2064" y="2463"/>
                  </a:lnTo>
                  <a:lnTo>
                    <a:pt x="2063" y="2465"/>
                  </a:lnTo>
                  <a:lnTo>
                    <a:pt x="2060" y="2469"/>
                  </a:lnTo>
                  <a:lnTo>
                    <a:pt x="2059" y="2469"/>
                  </a:lnTo>
                  <a:lnTo>
                    <a:pt x="2058" y="2471"/>
                  </a:lnTo>
                  <a:lnTo>
                    <a:pt x="2056" y="2473"/>
                  </a:lnTo>
                  <a:lnTo>
                    <a:pt x="2055" y="2474"/>
                  </a:lnTo>
                  <a:lnTo>
                    <a:pt x="2052" y="2477"/>
                  </a:lnTo>
                  <a:lnTo>
                    <a:pt x="2050" y="2478"/>
                  </a:lnTo>
                  <a:lnTo>
                    <a:pt x="2048" y="2480"/>
                  </a:lnTo>
                  <a:lnTo>
                    <a:pt x="2043" y="2482"/>
                  </a:lnTo>
                  <a:lnTo>
                    <a:pt x="2039" y="2485"/>
                  </a:lnTo>
                  <a:lnTo>
                    <a:pt x="2039" y="2485"/>
                  </a:lnTo>
                  <a:lnTo>
                    <a:pt x="2035" y="2486"/>
                  </a:lnTo>
                  <a:lnTo>
                    <a:pt x="2033" y="2487"/>
                  </a:lnTo>
                  <a:lnTo>
                    <a:pt x="2031" y="2488"/>
                  </a:lnTo>
                  <a:lnTo>
                    <a:pt x="2027" y="2488"/>
                  </a:lnTo>
                  <a:lnTo>
                    <a:pt x="2024" y="2489"/>
                  </a:lnTo>
                  <a:lnTo>
                    <a:pt x="2023" y="2489"/>
                  </a:lnTo>
                  <a:lnTo>
                    <a:pt x="2019" y="2489"/>
                  </a:lnTo>
                  <a:lnTo>
                    <a:pt x="2017" y="2489"/>
                  </a:lnTo>
                  <a:lnTo>
                    <a:pt x="1954" y="2489"/>
                  </a:lnTo>
                  <a:lnTo>
                    <a:pt x="1954" y="2672"/>
                  </a:lnTo>
                  <a:lnTo>
                    <a:pt x="1950" y="2689"/>
                  </a:lnTo>
                  <a:lnTo>
                    <a:pt x="1942" y="2705"/>
                  </a:lnTo>
                  <a:lnTo>
                    <a:pt x="1931" y="2716"/>
                  </a:lnTo>
                  <a:lnTo>
                    <a:pt x="1915" y="2724"/>
                  </a:lnTo>
                  <a:lnTo>
                    <a:pt x="1898" y="2727"/>
                  </a:lnTo>
                  <a:lnTo>
                    <a:pt x="1418" y="2727"/>
                  </a:lnTo>
                  <a:lnTo>
                    <a:pt x="1418" y="2853"/>
                  </a:lnTo>
                  <a:lnTo>
                    <a:pt x="1838" y="2853"/>
                  </a:lnTo>
                  <a:lnTo>
                    <a:pt x="1890" y="2857"/>
                  </a:lnTo>
                  <a:lnTo>
                    <a:pt x="1940" y="2866"/>
                  </a:lnTo>
                  <a:lnTo>
                    <a:pt x="1988" y="2882"/>
                  </a:lnTo>
                  <a:lnTo>
                    <a:pt x="2032" y="2902"/>
                  </a:lnTo>
                  <a:lnTo>
                    <a:pt x="2074" y="2927"/>
                  </a:lnTo>
                  <a:lnTo>
                    <a:pt x="2112" y="2958"/>
                  </a:lnTo>
                  <a:lnTo>
                    <a:pt x="2146" y="2992"/>
                  </a:lnTo>
                  <a:lnTo>
                    <a:pt x="2177" y="3030"/>
                  </a:lnTo>
                  <a:lnTo>
                    <a:pt x="2202" y="3072"/>
                  </a:lnTo>
                  <a:lnTo>
                    <a:pt x="2222" y="3116"/>
                  </a:lnTo>
                  <a:lnTo>
                    <a:pt x="2238" y="3164"/>
                  </a:lnTo>
                  <a:lnTo>
                    <a:pt x="2247" y="3214"/>
                  </a:lnTo>
                  <a:lnTo>
                    <a:pt x="2251" y="3266"/>
                  </a:lnTo>
                  <a:lnTo>
                    <a:pt x="2247" y="3317"/>
                  </a:lnTo>
                  <a:lnTo>
                    <a:pt x="2238" y="3367"/>
                  </a:lnTo>
                  <a:lnTo>
                    <a:pt x="2222" y="3415"/>
                  </a:lnTo>
                  <a:lnTo>
                    <a:pt x="2202" y="3460"/>
                  </a:lnTo>
                  <a:lnTo>
                    <a:pt x="2177" y="3501"/>
                  </a:lnTo>
                  <a:lnTo>
                    <a:pt x="2146" y="3540"/>
                  </a:lnTo>
                  <a:lnTo>
                    <a:pt x="2112" y="3574"/>
                  </a:lnTo>
                  <a:lnTo>
                    <a:pt x="2074" y="3604"/>
                  </a:lnTo>
                  <a:lnTo>
                    <a:pt x="2032" y="3630"/>
                  </a:lnTo>
                  <a:lnTo>
                    <a:pt x="1988" y="3651"/>
                  </a:lnTo>
                  <a:lnTo>
                    <a:pt x="1940" y="3666"/>
                  </a:lnTo>
                  <a:lnTo>
                    <a:pt x="1890" y="3676"/>
                  </a:lnTo>
                  <a:lnTo>
                    <a:pt x="1838" y="3678"/>
                  </a:lnTo>
                  <a:lnTo>
                    <a:pt x="413" y="3678"/>
                  </a:lnTo>
                  <a:lnTo>
                    <a:pt x="360" y="3676"/>
                  </a:lnTo>
                  <a:lnTo>
                    <a:pt x="311" y="3666"/>
                  </a:lnTo>
                  <a:lnTo>
                    <a:pt x="263" y="3651"/>
                  </a:lnTo>
                  <a:lnTo>
                    <a:pt x="219" y="3630"/>
                  </a:lnTo>
                  <a:lnTo>
                    <a:pt x="177" y="3604"/>
                  </a:lnTo>
                  <a:lnTo>
                    <a:pt x="138" y="3574"/>
                  </a:lnTo>
                  <a:lnTo>
                    <a:pt x="104" y="3540"/>
                  </a:lnTo>
                  <a:lnTo>
                    <a:pt x="74" y="3501"/>
                  </a:lnTo>
                  <a:lnTo>
                    <a:pt x="49" y="3460"/>
                  </a:lnTo>
                  <a:lnTo>
                    <a:pt x="28" y="3415"/>
                  </a:lnTo>
                  <a:lnTo>
                    <a:pt x="12" y="3367"/>
                  </a:lnTo>
                  <a:lnTo>
                    <a:pt x="3" y="3317"/>
                  </a:lnTo>
                  <a:lnTo>
                    <a:pt x="0" y="3266"/>
                  </a:lnTo>
                  <a:lnTo>
                    <a:pt x="3" y="3214"/>
                  </a:lnTo>
                  <a:lnTo>
                    <a:pt x="12" y="3164"/>
                  </a:lnTo>
                  <a:lnTo>
                    <a:pt x="28" y="3116"/>
                  </a:lnTo>
                  <a:lnTo>
                    <a:pt x="49" y="3072"/>
                  </a:lnTo>
                  <a:lnTo>
                    <a:pt x="74" y="3030"/>
                  </a:lnTo>
                  <a:lnTo>
                    <a:pt x="104" y="2992"/>
                  </a:lnTo>
                  <a:lnTo>
                    <a:pt x="138" y="2958"/>
                  </a:lnTo>
                  <a:lnTo>
                    <a:pt x="177" y="2927"/>
                  </a:lnTo>
                  <a:lnTo>
                    <a:pt x="219" y="2902"/>
                  </a:lnTo>
                  <a:lnTo>
                    <a:pt x="263" y="2882"/>
                  </a:lnTo>
                  <a:lnTo>
                    <a:pt x="311" y="2866"/>
                  </a:lnTo>
                  <a:lnTo>
                    <a:pt x="360" y="2857"/>
                  </a:lnTo>
                  <a:lnTo>
                    <a:pt x="413" y="2853"/>
                  </a:lnTo>
                  <a:lnTo>
                    <a:pt x="832" y="2853"/>
                  </a:lnTo>
                  <a:lnTo>
                    <a:pt x="832" y="2727"/>
                  </a:lnTo>
                  <a:lnTo>
                    <a:pt x="353" y="2727"/>
                  </a:lnTo>
                  <a:lnTo>
                    <a:pt x="317" y="2724"/>
                  </a:lnTo>
                  <a:lnTo>
                    <a:pt x="284" y="2714"/>
                  </a:lnTo>
                  <a:lnTo>
                    <a:pt x="255" y="2698"/>
                  </a:lnTo>
                  <a:lnTo>
                    <a:pt x="229" y="2676"/>
                  </a:lnTo>
                  <a:lnTo>
                    <a:pt x="209" y="2650"/>
                  </a:lnTo>
                  <a:lnTo>
                    <a:pt x="192" y="2621"/>
                  </a:lnTo>
                  <a:lnTo>
                    <a:pt x="181" y="2588"/>
                  </a:lnTo>
                  <a:lnTo>
                    <a:pt x="178" y="2553"/>
                  </a:lnTo>
                  <a:lnTo>
                    <a:pt x="178" y="2136"/>
                  </a:lnTo>
                  <a:lnTo>
                    <a:pt x="181" y="2101"/>
                  </a:lnTo>
                  <a:lnTo>
                    <a:pt x="192" y="2068"/>
                  </a:lnTo>
                  <a:lnTo>
                    <a:pt x="209" y="2039"/>
                  </a:lnTo>
                  <a:lnTo>
                    <a:pt x="229" y="2013"/>
                  </a:lnTo>
                  <a:lnTo>
                    <a:pt x="255" y="1991"/>
                  </a:lnTo>
                  <a:lnTo>
                    <a:pt x="284" y="1975"/>
                  </a:lnTo>
                  <a:lnTo>
                    <a:pt x="317" y="1965"/>
                  </a:lnTo>
                  <a:lnTo>
                    <a:pt x="353" y="1962"/>
                  </a:lnTo>
                  <a:lnTo>
                    <a:pt x="713" y="1962"/>
                  </a:lnTo>
                  <a:lnTo>
                    <a:pt x="713" y="1601"/>
                  </a:lnTo>
                  <a:lnTo>
                    <a:pt x="717" y="1558"/>
                  </a:lnTo>
                  <a:lnTo>
                    <a:pt x="726" y="1517"/>
                  </a:lnTo>
                  <a:lnTo>
                    <a:pt x="740" y="1477"/>
                  </a:lnTo>
                  <a:lnTo>
                    <a:pt x="761" y="1442"/>
                  </a:lnTo>
                  <a:lnTo>
                    <a:pt x="785" y="1409"/>
                  </a:lnTo>
                  <a:lnTo>
                    <a:pt x="814" y="1380"/>
                  </a:lnTo>
                  <a:lnTo>
                    <a:pt x="847" y="1355"/>
                  </a:lnTo>
                  <a:lnTo>
                    <a:pt x="883" y="1335"/>
                  </a:lnTo>
                  <a:lnTo>
                    <a:pt x="922" y="1321"/>
                  </a:lnTo>
                  <a:lnTo>
                    <a:pt x="963" y="1310"/>
                  </a:lnTo>
                  <a:lnTo>
                    <a:pt x="1007" y="1308"/>
                  </a:lnTo>
                  <a:lnTo>
                    <a:pt x="1414" y="1308"/>
                  </a:lnTo>
                  <a:lnTo>
                    <a:pt x="1452" y="1310"/>
                  </a:lnTo>
                  <a:lnTo>
                    <a:pt x="2359" y="101"/>
                  </a:lnTo>
                  <a:lnTo>
                    <a:pt x="2359" y="101"/>
                  </a:lnTo>
                  <a:lnTo>
                    <a:pt x="2382" y="73"/>
                  </a:lnTo>
                  <a:lnTo>
                    <a:pt x="2410" y="48"/>
                  </a:lnTo>
                  <a:lnTo>
                    <a:pt x="2441" y="27"/>
                  </a:lnTo>
                  <a:lnTo>
                    <a:pt x="2475" y="12"/>
                  </a:lnTo>
                  <a:lnTo>
                    <a:pt x="2513" y="3"/>
                  </a:lnTo>
                  <a:lnTo>
                    <a:pt x="2551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</p:grpSp>
      <p:sp>
        <p:nvSpPr>
          <p:cNvPr id="23625" name="TextBox 158">
            <a:extLst>
              <a:ext uri="{FF2B5EF4-FFF2-40B4-BE49-F238E27FC236}">
                <a16:creationId xmlns:a16="http://schemas.microsoft.com/office/drawing/2014/main" id="{E039C87F-72AD-4054-B63A-554ACFFB9E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4663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6" name="TextBox 159">
            <a:extLst>
              <a:ext uri="{FF2B5EF4-FFF2-40B4-BE49-F238E27FC236}">
                <a16:creationId xmlns:a16="http://schemas.microsoft.com/office/drawing/2014/main" id="{C89D28E8-6E73-4458-A352-42A749EC09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3488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7" name="TextBox 127">
            <a:extLst>
              <a:ext uri="{FF2B5EF4-FFF2-40B4-BE49-F238E27FC236}">
                <a16:creationId xmlns:a16="http://schemas.microsoft.com/office/drawing/2014/main" id="{D2C4F5E9-E854-4896-8355-45DEC69063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7813" y="6378575"/>
            <a:ext cx="426243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Sources: National Bureau of Statistics, World Bank Report on Doing Business in Nigeria 2018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climate-</a:t>
            </a:r>
            <a:r>
              <a:rPr lang="en-GB" altLang="en-US" sz="800" dirty="0" err="1">
                <a:latin typeface="Calibri" panose="020F0502020204030204" pitchFamily="34" charset="0"/>
              </a:rPr>
              <a:t>data.org</a:t>
            </a:r>
            <a:r>
              <a:rPr lang="en-GB" altLang="en-US" sz="800" dirty="0">
                <a:latin typeface="Calibri" panose="020F0502020204030204" pitchFamily="34" charset="0"/>
              </a:rPr>
              <a:t>, State Government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Exchange rate= $1/N305 (Central Bank of Nigeria)</a:t>
            </a:r>
          </a:p>
        </p:txBody>
      </p:sp>
      <p:sp>
        <p:nvSpPr>
          <p:cNvPr id="23628" name="TextBox 128">
            <a:extLst>
              <a:ext uri="{FF2B5EF4-FFF2-40B4-BE49-F238E27FC236}">
                <a16:creationId xmlns:a16="http://schemas.microsoft.com/office/drawing/2014/main" id="{409BCC6F-A5F0-4C79-BB4A-38A1ABC14F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89547" y="3649889"/>
            <a:ext cx="49564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Health</a:t>
            </a:r>
          </a:p>
        </p:txBody>
      </p:sp>
      <p:sp>
        <p:nvSpPr>
          <p:cNvPr id="23629" name="TextBox 129">
            <a:extLst>
              <a:ext uri="{FF2B5EF4-FFF2-40B4-BE49-F238E27FC236}">
                <a16:creationId xmlns:a16="http://schemas.microsoft.com/office/drawing/2014/main" id="{489E7B41-20C9-4493-8E7D-07238EB8FA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2892" y="3654980"/>
            <a:ext cx="64953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River Port</a:t>
            </a:r>
          </a:p>
        </p:txBody>
      </p:sp>
      <p:sp>
        <p:nvSpPr>
          <p:cNvPr id="23630" name="TextBox 130">
            <a:extLst>
              <a:ext uri="{FF2B5EF4-FFF2-40B4-BE49-F238E27FC236}">
                <a16:creationId xmlns:a16="http://schemas.microsoft.com/office/drawing/2014/main" id="{048DE5D8-5309-42DA-9D97-2935A10CB7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31" name="TextBox 131">
            <a:extLst>
              <a:ext uri="{FF2B5EF4-FFF2-40B4-BE49-F238E27FC236}">
                <a16:creationId xmlns:a16="http://schemas.microsoft.com/office/drawing/2014/main" id="{FF8B6C80-43E2-43AF-A364-A31845F05C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5388" y="3656613"/>
            <a:ext cx="47000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Cocoa</a:t>
            </a:r>
          </a:p>
        </p:txBody>
      </p:sp>
      <p:sp>
        <p:nvSpPr>
          <p:cNvPr id="23632" name="TextBox 132">
            <a:extLst>
              <a:ext uri="{FF2B5EF4-FFF2-40B4-BE49-F238E27FC236}">
                <a16:creationId xmlns:a16="http://schemas.microsoft.com/office/drawing/2014/main" id="{A1C640C1-61D1-4BA5-8A76-E684397E8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46689" y="3650683"/>
            <a:ext cx="51969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Timber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238751" y="3833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23638" name="TextBox 141">
            <a:extLst>
              <a:ext uri="{FF2B5EF4-FFF2-40B4-BE49-F238E27FC236}">
                <a16:creationId xmlns:a16="http://schemas.microsoft.com/office/drawing/2014/main" id="{EE481231-8673-4FD7-B5CC-900AEE7A9F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19080" y="3652271"/>
            <a:ext cx="65114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Pineapple</a:t>
            </a:r>
          </a:p>
        </p:txBody>
      </p:sp>
      <p:sp>
        <p:nvSpPr>
          <p:cNvPr id="23649" name="TextBox 165">
            <a:extLst>
              <a:ext uri="{FF2B5EF4-FFF2-40B4-BE49-F238E27FC236}">
                <a16:creationId xmlns:a16="http://schemas.microsoft.com/office/drawing/2014/main" id="{1242633E-9CB1-48ED-83F4-2223DFC7ED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62186" y="4459560"/>
            <a:ext cx="65274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Education</a:t>
            </a:r>
          </a:p>
        </p:txBody>
      </p:sp>
      <p:sp>
        <p:nvSpPr>
          <p:cNvPr id="23650" name="TextBox 166">
            <a:extLst>
              <a:ext uri="{FF2B5EF4-FFF2-40B4-BE49-F238E27FC236}">
                <a16:creationId xmlns:a16="http://schemas.microsoft.com/office/drawing/2014/main" id="{6B51369B-8FA6-464A-B908-12B0FFE6B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85739" y="4458812"/>
            <a:ext cx="60144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Garment</a:t>
            </a:r>
          </a:p>
        </p:txBody>
      </p:sp>
      <p:sp>
        <p:nvSpPr>
          <p:cNvPr id="23651" name="TextBox 167">
            <a:extLst>
              <a:ext uri="{FF2B5EF4-FFF2-40B4-BE49-F238E27FC236}">
                <a16:creationId xmlns:a16="http://schemas.microsoft.com/office/drawing/2014/main" id="{4F9404E1-8339-401B-8B10-4C7D1A8CEC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96936" y="4457881"/>
            <a:ext cx="38023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Rice</a:t>
            </a:r>
          </a:p>
        </p:txBody>
      </p:sp>
      <p:sp>
        <p:nvSpPr>
          <p:cNvPr id="23652" name="TextBox 168">
            <a:extLst>
              <a:ext uri="{FF2B5EF4-FFF2-40B4-BE49-F238E27FC236}">
                <a16:creationId xmlns:a16="http://schemas.microsoft.com/office/drawing/2014/main" id="{1C04917D-B2C3-4C21-8CC2-A45C349B4B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17831" y="4457133"/>
            <a:ext cx="67358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Limestone</a:t>
            </a:r>
          </a:p>
        </p:txBody>
      </p:sp>
      <p:sp>
        <p:nvSpPr>
          <p:cNvPr id="23653" name="TextBox 169">
            <a:extLst>
              <a:ext uri="{FF2B5EF4-FFF2-40B4-BE49-F238E27FC236}">
                <a16:creationId xmlns:a16="http://schemas.microsoft.com/office/drawing/2014/main" id="{4BADA327-4F2D-4897-B7C0-4647A1484B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3926" y="4457973"/>
            <a:ext cx="56778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Tourism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8A28B48-1841-45BB-BFBC-EADE77B37C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220049"/>
              </p:ext>
            </p:extLst>
          </p:nvPr>
        </p:nvGraphicFramePr>
        <p:xfrm>
          <a:off x="2779712" y="2589213"/>
          <a:ext cx="1482725" cy="812800"/>
        </p:xfrm>
        <a:graphic>
          <a:graphicData uri="http://schemas.openxmlformats.org/drawingml/2006/table">
            <a:tbl>
              <a:tblPr/>
              <a:tblGrid>
                <a:gridCol w="11367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9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32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GB" sz="1000" b="1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Domestic</a:t>
                      </a:r>
                      <a:r>
                        <a:rPr lang="en-GB" sz="10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US" sz="1000" b="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International 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Railway</a:t>
                      </a:r>
                      <a:r>
                        <a:rPr lang="en-GB" sz="1000" b="1" kern="1200" baseline="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 Station</a:t>
                      </a:r>
                      <a:endParaRPr lang="en-GB" sz="1000" b="1" kern="1200" dirty="0">
                        <a:solidFill>
                          <a:srgbClr val="292929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32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Sea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7" name="TextBox 136">
            <a:extLst>
              <a:ext uri="{FF2B5EF4-FFF2-40B4-BE49-F238E27FC236}">
                <a16:creationId xmlns:a16="http://schemas.microsoft.com/office/drawing/2014/main" id="{2F4C4876-7073-4C13-A183-127A8909BDC0}"/>
              </a:ext>
            </a:extLst>
          </p:cNvPr>
          <p:cNvSpPr txBox="1"/>
          <p:nvPr/>
        </p:nvSpPr>
        <p:spPr>
          <a:xfrm>
            <a:off x="538163" y="5268913"/>
            <a:ext cx="373856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For further details</a:t>
            </a:r>
          </a:p>
        </p:txBody>
      </p:sp>
      <p:sp>
        <p:nvSpPr>
          <p:cNvPr id="23676" name="TextBox 156">
            <a:extLst>
              <a:ext uri="{FF2B5EF4-FFF2-40B4-BE49-F238E27FC236}">
                <a16:creationId xmlns:a16="http://schemas.microsoft.com/office/drawing/2014/main" id="{95D66AAF-6B48-4B9E-9E5B-F1BB063A89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6300" y="6342063"/>
            <a:ext cx="37306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Abbreviations: </a:t>
            </a:r>
            <a:r>
              <a:rPr lang="en-GB" altLang="en-US" sz="800" b="1" dirty="0">
                <a:latin typeface="Calibri" panose="020F0502020204030204" pitchFamily="34" charset="0"/>
              </a:rPr>
              <a:t>	NICPS</a:t>
            </a:r>
            <a:r>
              <a:rPr lang="en-GB" altLang="en-US" sz="800" dirty="0">
                <a:latin typeface="Calibri" panose="020F0502020204030204" pitchFamily="34" charset="0"/>
              </a:rPr>
              <a:t>: Nigerian Investment Certification Programme for States                  	</a:t>
            </a:r>
            <a:r>
              <a:rPr lang="en-GB" altLang="en-US" sz="800" b="1" dirty="0">
                <a:latin typeface="Calibri" panose="020F0502020204030204" pitchFamily="34" charset="0"/>
              </a:rPr>
              <a:t>IGR</a:t>
            </a:r>
            <a:r>
              <a:rPr lang="en-GB" altLang="en-US" sz="800" dirty="0">
                <a:latin typeface="Calibri" panose="020F0502020204030204" pitchFamily="34" charset="0"/>
              </a:rPr>
              <a:t>:     Internal Generated Revenue</a:t>
            </a:r>
          </a:p>
        </p:txBody>
      </p:sp>
      <p:sp>
        <p:nvSpPr>
          <p:cNvPr id="23678" name="TextBox 152">
            <a:extLst>
              <a:ext uri="{FF2B5EF4-FFF2-40B4-BE49-F238E27FC236}">
                <a16:creationId xmlns:a16="http://schemas.microsoft.com/office/drawing/2014/main" id="{BFAF6896-F732-45FC-AC47-950DF99D9E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4575" y="1204053"/>
            <a:ext cx="3446463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15888" indent="-11588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1200" dirty="0">
                <a:latin typeface="Calibri" panose="020F0502020204030204" pitchFamily="34" charset="0"/>
              </a:rPr>
              <a:t>58% of forests in Nigeri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 err="1">
                <a:latin typeface="Calibri" panose="020F0502020204030204" pitchFamily="34" charset="0"/>
              </a:rPr>
              <a:t>Bakassi</a:t>
            </a:r>
            <a:r>
              <a:rPr lang="en-US" sz="1200" dirty="0">
                <a:latin typeface="Calibri" panose="020F0502020204030204" pitchFamily="34" charset="0"/>
              </a:rPr>
              <a:t> Deep Seaport (3</a:t>
            </a:r>
            <a:r>
              <a:rPr lang="en-US" sz="1200" baseline="30000" dirty="0">
                <a:latin typeface="Calibri" panose="020F0502020204030204" pitchFamily="34" charset="0"/>
              </a:rPr>
              <a:t>rd</a:t>
            </a:r>
            <a:r>
              <a:rPr lang="en-US" sz="1200" dirty="0">
                <a:latin typeface="Calibri" panose="020F0502020204030204" pitchFamily="34" charset="0"/>
              </a:rPr>
              <a:t> largest seaport in Nigeri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>
                <a:latin typeface="Calibri" panose="020F0502020204030204" pitchFamily="34" charset="0"/>
              </a:rPr>
              <a:t>Tourist attraction (</a:t>
            </a:r>
            <a:r>
              <a:rPr lang="en-US" sz="1200" dirty="0" err="1">
                <a:latin typeface="Calibri" panose="020F0502020204030204" pitchFamily="34" charset="0"/>
              </a:rPr>
              <a:t>Calabar</a:t>
            </a:r>
            <a:r>
              <a:rPr lang="en-US" sz="1200" dirty="0">
                <a:latin typeface="Calibri" panose="020F0502020204030204" pitchFamily="34" charset="0"/>
              </a:rPr>
              <a:t> carnival-Africa’s biggest street party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>
                <a:latin typeface="Calibri" panose="020F0502020204030204" pitchFamily="34" charset="0"/>
              </a:rPr>
              <a:t>Highest producers of timber in Nigeri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>
                <a:latin typeface="Calibri" panose="020F0502020204030204" pitchFamily="34" charset="0"/>
              </a:rPr>
              <a:t>Cross River Garment Factory (largest garment factory by floor size(2000sqm) in Nigeria)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D4E23C6-26A0-4545-B8F7-7007C8EEBFE4}"/>
              </a:ext>
            </a:extLst>
          </p:cNvPr>
          <p:cNvSpPr txBox="1"/>
          <p:nvPr/>
        </p:nvSpPr>
        <p:spPr>
          <a:xfrm>
            <a:off x="4338638" y="5265738"/>
            <a:ext cx="247491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id you know?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132" name="Text Placeholder 42">
            <a:extLst>
              <a:ext uri="{FF2B5EF4-FFF2-40B4-BE49-F238E27FC236}">
                <a16:creationId xmlns:a16="http://schemas.microsoft.com/office/drawing/2014/main" id="{D510D0DC-1548-4249-8DB1-9A1055126D07}"/>
              </a:ext>
            </a:extLst>
          </p:cNvPr>
          <p:cNvSpPr txBox="1">
            <a:spLocks/>
          </p:cNvSpPr>
          <p:nvPr/>
        </p:nvSpPr>
        <p:spPr>
          <a:xfrm>
            <a:off x="522288" y="5511800"/>
            <a:ext cx="3733800" cy="701675"/>
          </a:xfrm>
          <a:prstGeom prst="rect">
            <a:avLst/>
          </a:prstGeom>
        </p:spPr>
        <p:txBody>
          <a:bodyPr lIns="36576" tIns="0" rIns="36576" bIns="0"/>
          <a:lstStyle>
            <a:lvl1pPr marL="0" indent="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/>
              <a:buNone/>
              <a:defRPr sz="800" b="1" baseline="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6575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93763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 charset="0"/>
              <a:buChar char="►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50950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619250" indent="-188913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0764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25336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29908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34480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NIGERIAN INVESTMENT PROMOTION COMMISSION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>
                <a:solidFill>
                  <a:schemeClr val="tx1"/>
                </a:solidFill>
                <a:hlinkClick r:id="rId7"/>
              </a:rPr>
              <a:t>statesco@nipc.gov.ng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endParaRPr lang="en-US" sz="5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000" kern="0" dirty="0">
                <a:solidFill>
                  <a:schemeClr val="tx1"/>
                </a:solidFill>
              </a:rPr>
              <a:t>CROSS RIVER STATE INVESTMENT PROMOTION BUREAU</a:t>
            </a: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 err="1">
                <a:solidFill>
                  <a:schemeClr val="tx1"/>
                </a:solidFill>
                <a:hlinkClick r:id="rId8"/>
              </a:rPr>
              <a:t>johnetimbassey@gmail.com</a:t>
            </a:r>
            <a:r>
              <a:rPr lang="en-US" sz="1000" b="0" kern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FF015425-7997-4612-9D0E-1F6C433DFCC7}"/>
              </a:ext>
            </a:extLst>
          </p:cNvPr>
          <p:cNvSpPr/>
          <p:nvPr/>
        </p:nvSpPr>
        <p:spPr>
          <a:xfrm>
            <a:off x="6080877" y="3040856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4C0B7457-CABD-4AC8-8A1A-1FD468581E4D}"/>
              </a:ext>
            </a:extLst>
          </p:cNvPr>
          <p:cNvSpPr/>
          <p:nvPr/>
        </p:nvSpPr>
        <p:spPr>
          <a:xfrm>
            <a:off x="6784796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2D626A89-F50C-45A3-9271-5D3F2EEA9C83}"/>
              </a:ext>
            </a:extLst>
          </p:cNvPr>
          <p:cNvSpPr/>
          <p:nvPr/>
        </p:nvSpPr>
        <p:spPr>
          <a:xfrm>
            <a:off x="7518399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240713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A62E850A-D87D-46D0-9257-0071E677FCF0}"/>
              </a:ext>
            </a:extLst>
          </p:cNvPr>
          <p:cNvSpPr/>
          <p:nvPr/>
        </p:nvSpPr>
        <p:spPr>
          <a:xfrm>
            <a:off x="8947150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4D1FAA17-3EFF-404B-B4C4-B468BCE2E9A5}"/>
              </a:ext>
            </a:extLst>
          </p:cNvPr>
          <p:cNvSpPr/>
          <p:nvPr/>
        </p:nvSpPr>
        <p:spPr>
          <a:xfrm>
            <a:off x="6078265" y="3836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E861211D-5D09-4577-8A09-FD96D972A5D4}"/>
              </a:ext>
            </a:extLst>
          </p:cNvPr>
          <p:cNvSpPr/>
          <p:nvPr/>
        </p:nvSpPr>
        <p:spPr>
          <a:xfrm>
            <a:off x="6780509" y="3833831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D9F8790B-E97D-4D8F-AD51-26FAFBF8CA40}"/>
              </a:ext>
            </a:extLst>
          </p:cNvPr>
          <p:cNvSpPr/>
          <p:nvPr/>
        </p:nvSpPr>
        <p:spPr>
          <a:xfrm>
            <a:off x="8946402" y="3833630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3CBEFD1C-6360-47CD-AEDD-DFB49FC0E0C7}"/>
              </a:ext>
            </a:extLst>
          </p:cNvPr>
          <p:cNvSpPr/>
          <p:nvPr/>
        </p:nvSpPr>
        <p:spPr>
          <a:xfrm>
            <a:off x="7518603" y="3830834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pic>
        <p:nvPicPr>
          <p:cNvPr id="127" name="Picture 126">
            <a:extLst>
              <a:ext uri="{FF2B5EF4-FFF2-40B4-BE49-F238E27FC236}">
                <a16:creationId xmlns:a16="http://schemas.microsoft.com/office/drawing/2014/main" id="{84610A99-03CE-4A15-A831-51E33C7AA90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2610" y="3130993"/>
            <a:ext cx="387806" cy="402523"/>
          </a:xfrm>
          <a:prstGeom prst="rect">
            <a:avLst/>
          </a:prstGeom>
        </p:spPr>
      </p:pic>
      <p:pic>
        <p:nvPicPr>
          <p:cNvPr id="134" name="Picture 133">
            <a:extLst>
              <a:ext uri="{FF2B5EF4-FFF2-40B4-BE49-F238E27FC236}">
                <a16:creationId xmlns:a16="http://schemas.microsoft.com/office/drawing/2014/main" id="{4E1FC3B9-C19C-42ED-9F67-DF0BC579ED47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915389" y="3175181"/>
            <a:ext cx="341060" cy="329595"/>
          </a:xfrm>
          <a:prstGeom prst="rect">
            <a:avLst/>
          </a:prstGeom>
        </p:spPr>
      </p:pic>
      <p:pic>
        <p:nvPicPr>
          <p:cNvPr id="135" name="Picture 2">
            <a:extLst>
              <a:ext uri="{FF2B5EF4-FFF2-40B4-BE49-F238E27FC236}">
                <a16:creationId xmlns:a16="http://schemas.microsoft.com/office/drawing/2014/main" id="{A76DB305-7C4E-4F36-BA29-77D567D3796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41" r="24312" b="10879"/>
          <a:stretch/>
        </p:blipFill>
        <p:spPr bwMode="auto">
          <a:xfrm>
            <a:off x="6227735" y="3085533"/>
            <a:ext cx="285367" cy="462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6" name="Picture 3">
            <a:extLst>
              <a:ext uri="{FF2B5EF4-FFF2-40B4-BE49-F238E27FC236}">
                <a16:creationId xmlns:a16="http://schemas.microsoft.com/office/drawing/2014/main" id="{5E964E6F-03C8-403C-A26E-0F93763202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0125" y="3193174"/>
            <a:ext cx="448459" cy="3339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9" name="Picture 6">
            <a:extLst>
              <a:ext uri="{FF2B5EF4-FFF2-40B4-BE49-F238E27FC236}">
                <a16:creationId xmlns:a16="http://schemas.microsoft.com/office/drawing/2014/main" id="{2C571463-AFED-4324-A546-4E8BDE612E5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42" t="54495" r="55846" b="9535"/>
          <a:stretch/>
        </p:blipFill>
        <p:spPr bwMode="auto">
          <a:xfrm>
            <a:off x="7642031" y="3134138"/>
            <a:ext cx="374234" cy="4130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1" name="Picture 140">
            <a:extLst>
              <a:ext uri="{FF2B5EF4-FFF2-40B4-BE49-F238E27FC236}">
                <a16:creationId xmlns:a16="http://schemas.microsoft.com/office/drawing/2014/main" id="{624C52B5-B684-46F0-A4B7-7EEC5B918DE5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0423" y="3907308"/>
            <a:ext cx="464155" cy="464155"/>
          </a:xfrm>
          <a:prstGeom prst="rect">
            <a:avLst/>
          </a:prstGeom>
        </p:spPr>
      </p:pic>
      <p:pic>
        <p:nvPicPr>
          <p:cNvPr id="142" name="Picture 5">
            <a:extLst>
              <a:ext uri="{FF2B5EF4-FFF2-40B4-BE49-F238E27FC236}">
                <a16:creationId xmlns:a16="http://schemas.microsoft.com/office/drawing/2014/main" id="{F7025135-2B49-4FF9-B64E-4F5FE6F97E2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79" t="56775" r="33003" b="23752"/>
          <a:stretch/>
        </p:blipFill>
        <p:spPr bwMode="auto">
          <a:xfrm>
            <a:off x="6882941" y="3977778"/>
            <a:ext cx="405955" cy="330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9" name="Picture 148" descr="rice.png">
            <a:extLst>
              <a:ext uri="{FF2B5EF4-FFF2-40B4-BE49-F238E27FC236}">
                <a16:creationId xmlns:a16="http://schemas.microsoft.com/office/drawing/2014/main" id="{40812A27-32B5-4123-9A4F-C8AE00D045D3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15867" r="20664"/>
          <a:stretch>
            <a:fillRect/>
          </a:stretch>
        </p:blipFill>
        <p:spPr>
          <a:xfrm>
            <a:off x="7638914" y="3936039"/>
            <a:ext cx="433340" cy="423261"/>
          </a:xfrm>
          <a:prstGeom prst="rect">
            <a:avLst/>
          </a:prstGeom>
        </p:spPr>
      </p:pic>
      <p:pic>
        <p:nvPicPr>
          <p:cNvPr id="150" name="Picture 6">
            <a:extLst>
              <a:ext uri="{FF2B5EF4-FFF2-40B4-BE49-F238E27FC236}">
                <a16:creationId xmlns:a16="http://schemas.microsoft.com/office/drawing/2014/main" id="{999F1F40-809E-435E-9AB1-99B2AB90A1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2420" y="3947874"/>
            <a:ext cx="487795" cy="3708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1" name="Picture 150">
            <a:extLst>
              <a:ext uri="{FF2B5EF4-FFF2-40B4-BE49-F238E27FC236}">
                <a16:creationId xmlns:a16="http://schemas.microsoft.com/office/drawing/2014/main" id="{9D91ABDB-5C83-4B35-810F-3C68FCDB071B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9039724" y="3924428"/>
            <a:ext cx="425978" cy="425978"/>
          </a:xfrm>
          <a:prstGeom prst="rect">
            <a:avLst/>
          </a:prstGeom>
        </p:spPr>
      </p:pic>
      <p:sp>
        <p:nvSpPr>
          <p:cNvPr id="144" name="TextBox 143">
            <a:extLst>
              <a:ext uri="{FF2B5EF4-FFF2-40B4-BE49-F238E27FC236}">
                <a16:creationId xmlns:a16="http://schemas.microsoft.com/office/drawing/2014/main" id="{D0A41506-8873-4C2F-B45B-4459F0229CA3}"/>
              </a:ext>
            </a:extLst>
          </p:cNvPr>
          <p:cNvSpPr txBox="1"/>
          <p:nvPr/>
        </p:nvSpPr>
        <p:spPr>
          <a:xfrm>
            <a:off x="4374578" y="4541674"/>
            <a:ext cx="17988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te Investment Certification Process Not Started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276725" y="5420439"/>
            <a:ext cx="2591811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GB" sz="1300" dirty="0">
                <a:latin typeface="Calibri" panose="020F0502020204030204" pitchFamily="34" charset="0"/>
                <a:cs typeface="Calibri" panose="020F0502020204030204" pitchFamily="34" charset="0"/>
              </a:rPr>
              <a:t>The old Residency (now Calabar museum) was the capital of Colonial Nigeria.</a:t>
            </a:r>
            <a:endParaRPr lang="en-US" sz="13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83220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Pentagon 19">
            <a:extLst>
              <a:ext uri="{FF2B5EF4-FFF2-40B4-BE49-F238E27FC236}">
                <a16:creationId xmlns:a16="http://schemas.microsoft.com/office/drawing/2014/main" id="{CAD93C59-72A9-4F6D-A654-02B9F8A5EFF9}"/>
              </a:ext>
            </a:extLst>
          </p:cNvPr>
          <p:cNvSpPr>
            <a:spLocks/>
          </p:cNvSpPr>
          <p:nvPr/>
        </p:nvSpPr>
        <p:spPr bwMode="auto">
          <a:xfrm>
            <a:off x="756602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0 of 37</a:t>
            </a:r>
          </a:p>
        </p:txBody>
      </p:sp>
      <p:sp>
        <p:nvSpPr>
          <p:cNvPr id="376" name="Pentagon 19">
            <a:extLst>
              <a:ext uri="{FF2B5EF4-FFF2-40B4-BE49-F238E27FC236}">
                <a16:creationId xmlns:a16="http://schemas.microsoft.com/office/drawing/2014/main" id="{1BDC5465-6022-4404-B4D8-ED55CF961B8A}"/>
              </a:ext>
            </a:extLst>
          </p:cNvPr>
          <p:cNvSpPr>
            <a:spLocks/>
          </p:cNvSpPr>
          <p:nvPr/>
        </p:nvSpPr>
        <p:spPr bwMode="auto">
          <a:xfrm>
            <a:off x="824865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32 of 3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57F1EBC-D01A-4083-B657-63AFB1490839}"/>
              </a:ext>
            </a:extLst>
          </p:cNvPr>
          <p:cNvSpPr txBox="1"/>
          <p:nvPr/>
        </p:nvSpPr>
        <p:spPr>
          <a:xfrm>
            <a:off x="6122988" y="2749550"/>
            <a:ext cx="3475037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nvestment Opportunit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D251BD-538A-4F4F-847E-620EEDA298A0}"/>
              </a:ext>
            </a:extLst>
          </p:cNvPr>
          <p:cNvSpPr txBox="1"/>
          <p:nvPr/>
        </p:nvSpPr>
        <p:spPr>
          <a:xfrm>
            <a:off x="6881813" y="4632911"/>
            <a:ext cx="2697162" cy="33855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oing Business Ranking(2018)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1B8F13C-F732-4DA1-9250-DB02936E7688}"/>
              </a:ext>
            </a:extLst>
          </p:cNvPr>
          <p:cNvSpPr/>
          <p:nvPr/>
        </p:nvSpPr>
        <p:spPr>
          <a:xfrm>
            <a:off x="756602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Registering Propert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6BA1818-32ED-44D1-975C-958200BDD124}"/>
              </a:ext>
            </a:extLst>
          </p:cNvPr>
          <p:cNvSpPr/>
          <p:nvPr/>
        </p:nvSpPr>
        <p:spPr>
          <a:xfrm>
            <a:off x="8248650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Dealing with Construction Permits</a:t>
            </a:r>
          </a:p>
        </p:txBody>
      </p:sp>
      <p:sp>
        <p:nvSpPr>
          <p:cNvPr id="23560" name="TextBox 174">
            <a:extLst>
              <a:ext uri="{FF2B5EF4-FFF2-40B4-BE49-F238E27FC236}">
                <a16:creationId xmlns:a16="http://schemas.microsoft.com/office/drawing/2014/main" id="{1573FD4E-62B9-45E8-8F28-CED990ED2D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0B63A6C-2A5E-4CA3-BC66-4CBC6008BC9A}"/>
              </a:ext>
            </a:extLst>
          </p:cNvPr>
          <p:cNvSpPr/>
          <p:nvPr/>
        </p:nvSpPr>
        <p:spPr>
          <a:xfrm>
            <a:off x="893127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Enforcing Contracts</a:t>
            </a:r>
          </a:p>
        </p:txBody>
      </p:sp>
      <p:pic>
        <p:nvPicPr>
          <p:cNvPr id="23562" name="Picture 4">
            <a:extLst>
              <a:ext uri="{FF2B5EF4-FFF2-40B4-BE49-F238E27FC236}">
                <a16:creationId xmlns:a16="http://schemas.microsoft.com/office/drawing/2014/main" id="{7C8EEAB2-0239-4BB5-94B3-23E319AF1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513" y="5249863"/>
            <a:ext cx="439737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6" name="Pentagon 19">
            <a:extLst>
              <a:ext uri="{FF2B5EF4-FFF2-40B4-BE49-F238E27FC236}">
                <a16:creationId xmlns:a16="http://schemas.microsoft.com/office/drawing/2014/main" id="{5F8E9670-D71A-4765-B6B5-D711BC9AD6E1}"/>
              </a:ext>
            </a:extLst>
          </p:cNvPr>
          <p:cNvSpPr>
            <a:spLocks/>
          </p:cNvSpPr>
          <p:nvPr/>
        </p:nvSpPr>
        <p:spPr bwMode="auto">
          <a:xfrm>
            <a:off x="893127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3</a:t>
            </a:r>
            <a:r>
              <a:rPr lang="en-GB" sz="1000" baseline="3000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of 37</a:t>
            </a:r>
          </a:p>
        </p:txBody>
      </p:sp>
      <p:sp>
        <p:nvSpPr>
          <p:cNvPr id="23564" name="Title 3">
            <a:extLst>
              <a:ext uri="{FF2B5EF4-FFF2-40B4-BE49-F238E27FC236}">
                <a16:creationId xmlns:a16="http://schemas.microsoft.com/office/drawing/2014/main" id="{C62A749B-CFC7-4224-A789-D20A772AC33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77813" y="222250"/>
            <a:ext cx="8543925" cy="5619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en-GB" alt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lta State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6882DF2C-9120-4A66-8487-575D9494F4D6}"/>
              </a:ext>
            </a:extLst>
          </p:cNvPr>
          <p:cNvSpPr txBox="1"/>
          <p:nvPr/>
        </p:nvSpPr>
        <p:spPr>
          <a:xfrm rot="16200000">
            <a:off x="-2290084" y="3478372"/>
            <a:ext cx="5303837" cy="2743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The Big Heart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grpSp>
        <p:nvGrpSpPr>
          <p:cNvPr id="23566" name="Group 9">
            <a:extLst>
              <a:ext uri="{FF2B5EF4-FFF2-40B4-BE49-F238E27FC236}">
                <a16:creationId xmlns:a16="http://schemas.microsoft.com/office/drawing/2014/main" id="{5B6131BD-3CE3-4FC4-B13A-FA9B797C1EF5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41338" y="963613"/>
            <a:ext cx="2897187" cy="2319337"/>
            <a:chOff x="770228" y="1459989"/>
            <a:chExt cx="4081047" cy="3267527"/>
          </a:xfrm>
        </p:grpSpPr>
        <p:sp>
          <p:nvSpPr>
            <p:cNvPr id="299" name="Freeform 4">
              <a:extLst>
                <a:ext uri="{FF2B5EF4-FFF2-40B4-BE49-F238E27FC236}">
                  <a16:creationId xmlns:a16="http://schemas.microsoft.com/office/drawing/2014/main" id="{B6150C82-CBE5-48B4-B60C-C210BB7B26A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91538" y="4349548"/>
              <a:ext cx="418167" cy="377968"/>
            </a:xfrm>
            <a:custGeom>
              <a:avLst/>
              <a:gdLst>
                <a:gd name="T0" fmla="*/ 12 w 786"/>
                <a:gd name="T1" fmla="*/ 19 h 714"/>
                <a:gd name="T2" fmla="*/ 22 w 786"/>
                <a:gd name="T3" fmla="*/ 18 h 714"/>
                <a:gd name="T4" fmla="*/ 27 w 786"/>
                <a:gd name="T5" fmla="*/ 17 h 714"/>
                <a:gd name="T6" fmla="*/ 30 w 786"/>
                <a:gd name="T7" fmla="*/ 14 h 714"/>
                <a:gd name="T8" fmla="*/ 37 w 786"/>
                <a:gd name="T9" fmla="*/ 16 h 714"/>
                <a:gd name="T10" fmla="*/ 43 w 786"/>
                <a:gd name="T11" fmla="*/ 13 h 714"/>
                <a:gd name="T12" fmla="*/ 48 w 786"/>
                <a:gd name="T13" fmla="*/ 8 h 714"/>
                <a:gd name="T14" fmla="*/ 55 w 786"/>
                <a:gd name="T15" fmla="*/ 4 h 714"/>
                <a:gd name="T16" fmla="*/ 66 w 786"/>
                <a:gd name="T17" fmla="*/ 0 h 714"/>
                <a:gd name="T18" fmla="*/ 63 w 786"/>
                <a:gd name="T19" fmla="*/ 12 h 714"/>
                <a:gd name="T20" fmla="*/ 59 w 786"/>
                <a:gd name="T21" fmla="*/ 19 h 714"/>
                <a:gd name="T22" fmla="*/ 57 w 786"/>
                <a:gd name="T23" fmla="*/ 29 h 714"/>
                <a:gd name="T24" fmla="*/ 59 w 786"/>
                <a:gd name="T25" fmla="*/ 36 h 714"/>
                <a:gd name="T26" fmla="*/ 66 w 786"/>
                <a:gd name="T27" fmla="*/ 35 h 714"/>
                <a:gd name="T28" fmla="*/ 64 w 786"/>
                <a:gd name="T29" fmla="*/ 41 h 714"/>
                <a:gd name="T30" fmla="*/ 64 w 786"/>
                <a:gd name="T31" fmla="*/ 48 h 714"/>
                <a:gd name="T32" fmla="*/ 63 w 786"/>
                <a:gd name="T33" fmla="*/ 56 h 714"/>
                <a:gd name="T34" fmla="*/ 60 w 786"/>
                <a:gd name="T35" fmla="*/ 60 h 714"/>
                <a:gd name="T36" fmla="*/ 57 w 786"/>
                <a:gd name="T37" fmla="*/ 58 h 714"/>
                <a:gd name="T38" fmla="*/ 54 w 786"/>
                <a:gd name="T39" fmla="*/ 54 h 714"/>
                <a:gd name="T40" fmla="*/ 53 w 786"/>
                <a:gd name="T41" fmla="*/ 51 h 714"/>
                <a:gd name="T42" fmla="*/ 51 w 786"/>
                <a:gd name="T43" fmla="*/ 53 h 714"/>
                <a:gd name="T44" fmla="*/ 49 w 786"/>
                <a:gd name="T45" fmla="*/ 54 h 714"/>
                <a:gd name="T46" fmla="*/ 47 w 786"/>
                <a:gd name="T47" fmla="*/ 50 h 714"/>
                <a:gd name="T48" fmla="*/ 48 w 786"/>
                <a:gd name="T49" fmla="*/ 54 h 714"/>
                <a:gd name="T50" fmla="*/ 47 w 786"/>
                <a:gd name="T51" fmla="*/ 54 h 714"/>
                <a:gd name="T52" fmla="*/ 46 w 786"/>
                <a:gd name="T53" fmla="*/ 59 h 714"/>
                <a:gd name="T54" fmla="*/ 47 w 786"/>
                <a:gd name="T55" fmla="*/ 62 h 714"/>
                <a:gd name="T56" fmla="*/ 42 w 786"/>
                <a:gd name="T57" fmla="*/ 62 h 714"/>
                <a:gd name="T58" fmla="*/ 39 w 786"/>
                <a:gd name="T59" fmla="*/ 57 h 714"/>
                <a:gd name="T60" fmla="*/ 40 w 786"/>
                <a:gd name="T61" fmla="*/ 54 h 714"/>
                <a:gd name="T62" fmla="*/ 43 w 786"/>
                <a:gd name="T63" fmla="*/ 55 h 714"/>
                <a:gd name="T64" fmla="*/ 40 w 786"/>
                <a:gd name="T65" fmla="*/ 53 h 714"/>
                <a:gd name="T66" fmla="*/ 38 w 786"/>
                <a:gd name="T67" fmla="*/ 57 h 714"/>
                <a:gd name="T68" fmla="*/ 37 w 786"/>
                <a:gd name="T69" fmla="*/ 57 h 714"/>
                <a:gd name="T70" fmla="*/ 37 w 786"/>
                <a:gd name="T71" fmla="*/ 60 h 714"/>
                <a:gd name="T72" fmla="*/ 33 w 786"/>
                <a:gd name="T73" fmla="*/ 56 h 714"/>
                <a:gd name="T74" fmla="*/ 32 w 786"/>
                <a:gd name="T75" fmla="*/ 58 h 714"/>
                <a:gd name="T76" fmla="*/ 26 w 786"/>
                <a:gd name="T77" fmla="*/ 54 h 714"/>
                <a:gd name="T78" fmla="*/ 26 w 786"/>
                <a:gd name="T79" fmla="*/ 54 h 714"/>
                <a:gd name="T80" fmla="*/ 24 w 786"/>
                <a:gd name="T81" fmla="*/ 51 h 714"/>
                <a:gd name="T82" fmla="*/ 22 w 786"/>
                <a:gd name="T83" fmla="*/ 51 h 714"/>
                <a:gd name="T84" fmla="*/ 20 w 786"/>
                <a:gd name="T85" fmla="*/ 50 h 714"/>
                <a:gd name="T86" fmla="*/ 20 w 786"/>
                <a:gd name="T87" fmla="*/ 48 h 714"/>
                <a:gd name="T88" fmla="*/ 18 w 786"/>
                <a:gd name="T89" fmla="*/ 47 h 714"/>
                <a:gd name="T90" fmla="*/ 15 w 786"/>
                <a:gd name="T91" fmla="*/ 45 h 714"/>
                <a:gd name="T92" fmla="*/ 11 w 786"/>
                <a:gd name="T93" fmla="*/ 39 h 714"/>
                <a:gd name="T94" fmla="*/ 12 w 786"/>
                <a:gd name="T95" fmla="*/ 36 h 714"/>
                <a:gd name="T96" fmla="*/ 7 w 786"/>
                <a:gd name="T97" fmla="*/ 33 h 714"/>
                <a:gd name="T98" fmla="*/ 5 w 786"/>
                <a:gd name="T99" fmla="*/ 28 h 714"/>
                <a:gd name="T100" fmla="*/ 7 w 786"/>
                <a:gd name="T101" fmla="*/ 30 h 714"/>
                <a:gd name="T102" fmla="*/ 4 w 786"/>
                <a:gd name="T103" fmla="*/ 24 h 714"/>
                <a:gd name="T104" fmla="*/ 2 w 786"/>
                <a:gd name="T105" fmla="*/ 20 h 714"/>
                <a:gd name="T106" fmla="*/ 0 w 786"/>
                <a:gd name="T107" fmla="*/ 15 h 714"/>
                <a:gd name="T108" fmla="*/ 4 w 786"/>
                <a:gd name="T109" fmla="*/ 16 h 714"/>
                <a:gd name="T110" fmla="*/ 55 w 786"/>
                <a:gd name="T111" fmla="*/ 60 h 714"/>
                <a:gd name="T112" fmla="*/ 47 w 786"/>
                <a:gd name="T113" fmla="*/ 60 h 714"/>
                <a:gd name="T114" fmla="*/ 51 w 786"/>
                <a:gd name="T115" fmla="*/ 54 h 714"/>
                <a:gd name="T116" fmla="*/ 54 w 786"/>
                <a:gd name="T117" fmla="*/ 56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86"/>
                <a:gd name="T178" fmla="*/ 0 h 714"/>
                <a:gd name="T179" fmla="*/ 786 w 786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86" h="714">
                  <a:moveTo>
                    <a:pt x="54" y="186"/>
                  </a:moveTo>
                  <a:lnTo>
                    <a:pt x="54" y="192"/>
                  </a:lnTo>
                  <a:lnTo>
                    <a:pt x="72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204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20" y="210"/>
                  </a:lnTo>
                  <a:lnTo>
                    <a:pt x="126" y="210"/>
                  </a:lnTo>
                  <a:lnTo>
                    <a:pt x="132" y="210"/>
                  </a:lnTo>
                  <a:lnTo>
                    <a:pt x="132" y="216"/>
                  </a:lnTo>
                  <a:lnTo>
                    <a:pt x="138" y="222"/>
                  </a:lnTo>
                  <a:lnTo>
                    <a:pt x="150" y="222"/>
                  </a:lnTo>
                  <a:lnTo>
                    <a:pt x="162" y="234"/>
                  </a:lnTo>
                  <a:lnTo>
                    <a:pt x="168" y="240"/>
                  </a:lnTo>
                  <a:lnTo>
                    <a:pt x="180" y="240"/>
                  </a:lnTo>
                  <a:lnTo>
                    <a:pt x="186" y="228"/>
                  </a:lnTo>
                  <a:lnTo>
                    <a:pt x="210" y="234"/>
                  </a:lnTo>
                  <a:lnTo>
                    <a:pt x="222" y="228"/>
                  </a:lnTo>
                  <a:lnTo>
                    <a:pt x="228" y="216"/>
                  </a:lnTo>
                  <a:lnTo>
                    <a:pt x="234" y="210"/>
                  </a:lnTo>
                  <a:lnTo>
                    <a:pt x="240" y="216"/>
                  </a:lnTo>
                  <a:lnTo>
                    <a:pt x="246" y="210"/>
                  </a:lnTo>
                  <a:lnTo>
                    <a:pt x="252" y="210"/>
                  </a:lnTo>
                  <a:lnTo>
                    <a:pt x="258" y="210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192"/>
                  </a:lnTo>
                  <a:lnTo>
                    <a:pt x="270" y="192"/>
                  </a:lnTo>
                  <a:lnTo>
                    <a:pt x="276" y="192"/>
                  </a:lnTo>
                  <a:lnTo>
                    <a:pt x="282" y="192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192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198"/>
                  </a:lnTo>
                  <a:lnTo>
                    <a:pt x="312" y="198"/>
                  </a:lnTo>
                  <a:lnTo>
                    <a:pt x="312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24" y="186"/>
                  </a:lnTo>
                  <a:lnTo>
                    <a:pt x="318" y="180"/>
                  </a:lnTo>
                  <a:lnTo>
                    <a:pt x="324" y="180"/>
                  </a:lnTo>
                  <a:lnTo>
                    <a:pt x="330" y="186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74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54" y="144"/>
                  </a:lnTo>
                  <a:lnTo>
                    <a:pt x="360" y="144"/>
                  </a:lnTo>
                  <a:lnTo>
                    <a:pt x="372" y="156"/>
                  </a:lnTo>
                  <a:lnTo>
                    <a:pt x="372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96" y="168"/>
                  </a:lnTo>
                  <a:lnTo>
                    <a:pt x="396" y="174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26" y="186"/>
                  </a:lnTo>
                  <a:lnTo>
                    <a:pt x="432" y="186"/>
                  </a:lnTo>
                  <a:lnTo>
                    <a:pt x="438" y="180"/>
                  </a:lnTo>
                  <a:lnTo>
                    <a:pt x="438" y="168"/>
                  </a:lnTo>
                  <a:lnTo>
                    <a:pt x="438" y="162"/>
                  </a:lnTo>
                  <a:lnTo>
                    <a:pt x="444" y="156"/>
                  </a:lnTo>
                  <a:lnTo>
                    <a:pt x="450" y="156"/>
                  </a:lnTo>
                  <a:lnTo>
                    <a:pt x="456" y="150"/>
                  </a:lnTo>
                  <a:lnTo>
                    <a:pt x="462" y="156"/>
                  </a:lnTo>
                  <a:lnTo>
                    <a:pt x="468" y="162"/>
                  </a:lnTo>
                  <a:lnTo>
                    <a:pt x="474" y="162"/>
                  </a:lnTo>
                  <a:lnTo>
                    <a:pt x="486" y="162"/>
                  </a:lnTo>
                  <a:lnTo>
                    <a:pt x="492" y="156"/>
                  </a:lnTo>
                  <a:lnTo>
                    <a:pt x="498" y="150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28" y="126"/>
                  </a:lnTo>
                  <a:lnTo>
                    <a:pt x="522" y="120"/>
                  </a:lnTo>
                  <a:lnTo>
                    <a:pt x="522" y="114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28" y="102"/>
                  </a:lnTo>
                  <a:lnTo>
                    <a:pt x="534" y="96"/>
                  </a:lnTo>
                  <a:lnTo>
                    <a:pt x="552" y="96"/>
                  </a:lnTo>
                  <a:lnTo>
                    <a:pt x="570" y="102"/>
                  </a:lnTo>
                  <a:lnTo>
                    <a:pt x="582" y="96"/>
                  </a:lnTo>
                  <a:lnTo>
                    <a:pt x="582" y="90"/>
                  </a:lnTo>
                  <a:lnTo>
                    <a:pt x="582" y="78"/>
                  </a:lnTo>
                  <a:lnTo>
                    <a:pt x="582" y="72"/>
                  </a:lnTo>
                  <a:lnTo>
                    <a:pt x="582" y="66"/>
                  </a:lnTo>
                  <a:lnTo>
                    <a:pt x="594" y="60"/>
                  </a:lnTo>
                  <a:lnTo>
                    <a:pt x="600" y="60"/>
                  </a:lnTo>
                  <a:lnTo>
                    <a:pt x="606" y="54"/>
                  </a:lnTo>
                  <a:lnTo>
                    <a:pt x="618" y="48"/>
                  </a:lnTo>
                  <a:lnTo>
                    <a:pt x="618" y="42"/>
                  </a:lnTo>
                  <a:lnTo>
                    <a:pt x="624" y="42"/>
                  </a:lnTo>
                  <a:lnTo>
                    <a:pt x="636" y="48"/>
                  </a:lnTo>
                  <a:lnTo>
                    <a:pt x="648" y="54"/>
                  </a:lnTo>
                  <a:lnTo>
                    <a:pt x="660" y="54"/>
                  </a:lnTo>
                  <a:lnTo>
                    <a:pt x="666" y="60"/>
                  </a:lnTo>
                  <a:lnTo>
                    <a:pt x="672" y="54"/>
                  </a:lnTo>
                  <a:lnTo>
                    <a:pt x="684" y="48"/>
                  </a:lnTo>
                  <a:lnTo>
                    <a:pt x="708" y="42"/>
                  </a:lnTo>
                  <a:lnTo>
                    <a:pt x="714" y="42"/>
                  </a:lnTo>
                  <a:lnTo>
                    <a:pt x="720" y="36"/>
                  </a:lnTo>
                  <a:lnTo>
                    <a:pt x="720" y="30"/>
                  </a:lnTo>
                  <a:lnTo>
                    <a:pt x="714" y="12"/>
                  </a:lnTo>
                  <a:lnTo>
                    <a:pt x="708" y="0"/>
                  </a:lnTo>
                  <a:lnTo>
                    <a:pt x="738" y="6"/>
                  </a:lnTo>
                  <a:lnTo>
                    <a:pt x="756" y="6"/>
                  </a:lnTo>
                  <a:lnTo>
                    <a:pt x="762" y="42"/>
                  </a:lnTo>
                  <a:lnTo>
                    <a:pt x="738" y="72"/>
                  </a:lnTo>
                  <a:lnTo>
                    <a:pt x="750" y="90"/>
                  </a:lnTo>
                  <a:lnTo>
                    <a:pt x="762" y="96"/>
                  </a:lnTo>
                  <a:lnTo>
                    <a:pt x="756" y="102"/>
                  </a:lnTo>
                  <a:lnTo>
                    <a:pt x="750" y="108"/>
                  </a:lnTo>
                  <a:lnTo>
                    <a:pt x="750" y="114"/>
                  </a:lnTo>
                  <a:lnTo>
                    <a:pt x="750" y="120"/>
                  </a:lnTo>
                  <a:lnTo>
                    <a:pt x="750" y="126"/>
                  </a:lnTo>
                  <a:lnTo>
                    <a:pt x="750" y="132"/>
                  </a:lnTo>
                  <a:lnTo>
                    <a:pt x="738" y="132"/>
                  </a:lnTo>
                  <a:lnTo>
                    <a:pt x="732" y="138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14" y="144"/>
                  </a:lnTo>
                  <a:lnTo>
                    <a:pt x="714" y="150"/>
                  </a:lnTo>
                  <a:lnTo>
                    <a:pt x="720" y="156"/>
                  </a:lnTo>
                  <a:lnTo>
                    <a:pt x="720" y="162"/>
                  </a:lnTo>
                  <a:lnTo>
                    <a:pt x="714" y="162"/>
                  </a:lnTo>
                  <a:lnTo>
                    <a:pt x="708" y="168"/>
                  </a:lnTo>
                  <a:lnTo>
                    <a:pt x="708" y="180"/>
                  </a:lnTo>
                  <a:lnTo>
                    <a:pt x="708" y="192"/>
                  </a:lnTo>
                  <a:lnTo>
                    <a:pt x="696" y="198"/>
                  </a:lnTo>
                  <a:lnTo>
                    <a:pt x="696" y="204"/>
                  </a:lnTo>
                  <a:lnTo>
                    <a:pt x="684" y="210"/>
                  </a:lnTo>
                  <a:lnTo>
                    <a:pt x="684" y="216"/>
                  </a:lnTo>
                  <a:lnTo>
                    <a:pt x="684" y="222"/>
                  </a:lnTo>
                  <a:lnTo>
                    <a:pt x="678" y="228"/>
                  </a:lnTo>
                  <a:lnTo>
                    <a:pt x="678" y="234"/>
                  </a:lnTo>
                  <a:lnTo>
                    <a:pt x="672" y="240"/>
                  </a:lnTo>
                  <a:lnTo>
                    <a:pt x="672" y="252"/>
                  </a:lnTo>
                  <a:lnTo>
                    <a:pt x="672" y="258"/>
                  </a:lnTo>
                  <a:lnTo>
                    <a:pt x="666" y="264"/>
                  </a:lnTo>
                  <a:lnTo>
                    <a:pt x="678" y="264"/>
                  </a:lnTo>
                  <a:lnTo>
                    <a:pt x="684" y="276"/>
                  </a:lnTo>
                  <a:lnTo>
                    <a:pt x="684" y="288"/>
                  </a:lnTo>
                  <a:lnTo>
                    <a:pt x="672" y="300"/>
                  </a:lnTo>
                  <a:lnTo>
                    <a:pt x="660" y="318"/>
                  </a:lnTo>
                  <a:lnTo>
                    <a:pt x="660" y="336"/>
                  </a:lnTo>
                  <a:lnTo>
                    <a:pt x="654" y="342"/>
                  </a:lnTo>
                  <a:lnTo>
                    <a:pt x="660" y="354"/>
                  </a:lnTo>
                  <a:lnTo>
                    <a:pt x="660" y="366"/>
                  </a:lnTo>
                  <a:lnTo>
                    <a:pt x="666" y="378"/>
                  </a:lnTo>
                  <a:lnTo>
                    <a:pt x="672" y="390"/>
                  </a:lnTo>
                  <a:lnTo>
                    <a:pt x="678" y="396"/>
                  </a:lnTo>
                  <a:lnTo>
                    <a:pt x="684" y="390"/>
                  </a:lnTo>
                  <a:lnTo>
                    <a:pt x="690" y="390"/>
                  </a:lnTo>
                  <a:lnTo>
                    <a:pt x="690" y="396"/>
                  </a:lnTo>
                  <a:lnTo>
                    <a:pt x="684" y="396"/>
                  </a:lnTo>
                  <a:lnTo>
                    <a:pt x="684" y="402"/>
                  </a:lnTo>
                  <a:lnTo>
                    <a:pt x="684" y="408"/>
                  </a:lnTo>
                  <a:lnTo>
                    <a:pt x="678" y="414"/>
                  </a:lnTo>
                  <a:lnTo>
                    <a:pt x="684" y="414"/>
                  </a:lnTo>
                  <a:lnTo>
                    <a:pt x="684" y="420"/>
                  </a:lnTo>
                  <a:lnTo>
                    <a:pt x="684" y="426"/>
                  </a:lnTo>
                  <a:lnTo>
                    <a:pt x="690" y="420"/>
                  </a:lnTo>
                  <a:lnTo>
                    <a:pt x="696" y="420"/>
                  </a:lnTo>
                  <a:lnTo>
                    <a:pt x="696" y="426"/>
                  </a:lnTo>
                  <a:lnTo>
                    <a:pt x="690" y="426"/>
                  </a:lnTo>
                  <a:lnTo>
                    <a:pt x="696" y="426"/>
                  </a:lnTo>
                  <a:lnTo>
                    <a:pt x="708" y="426"/>
                  </a:lnTo>
                  <a:lnTo>
                    <a:pt x="726" y="414"/>
                  </a:lnTo>
                  <a:lnTo>
                    <a:pt x="732" y="408"/>
                  </a:lnTo>
                  <a:lnTo>
                    <a:pt x="744" y="402"/>
                  </a:lnTo>
                  <a:lnTo>
                    <a:pt x="756" y="402"/>
                  </a:lnTo>
                  <a:lnTo>
                    <a:pt x="768" y="402"/>
                  </a:lnTo>
                  <a:lnTo>
                    <a:pt x="786" y="408"/>
                  </a:lnTo>
                  <a:lnTo>
                    <a:pt x="786" y="414"/>
                  </a:lnTo>
                  <a:lnTo>
                    <a:pt x="774" y="420"/>
                  </a:lnTo>
                  <a:lnTo>
                    <a:pt x="774" y="426"/>
                  </a:lnTo>
                  <a:lnTo>
                    <a:pt x="768" y="432"/>
                  </a:lnTo>
                  <a:lnTo>
                    <a:pt x="762" y="438"/>
                  </a:lnTo>
                  <a:lnTo>
                    <a:pt x="756" y="438"/>
                  </a:lnTo>
                  <a:lnTo>
                    <a:pt x="756" y="444"/>
                  </a:lnTo>
                  <a:lnTo>
                    <a:pt x="756" y="450"/>
                  </a:lnTo>
                  <a:lnTo>
                    <a:pt x="762" y="450"/>
                  </a:lnTo>
                  <a:lnTo>
                    <a:pt x="750" y="456"/>
                  </a:lnTo>
                  <a:lnTo>
                    <a:pt x="738" y="468"/>
                  </a:lnTo>
                  <a:lnTo>
                    <a:pt x="726" y="480"/>
                  </a:lnTo>
                  <a:lnTo>
                    <a:pt x="726" y="486"/>
                  </a:lnTo>
                  <a:lnTo>
                    <a:pt x="732" y="486"/>
                  </a:lnTo>
                  <a:lnTo>
                    <a:pt x="732" y="492"/>
                  </a:lnTo>
                  <a:lnTo>
                    <a:pt x="732" y="504"/>
                  </a:lnTo>
                  <a:lnTo>
                    <a:pt x="738" y="504"/>
                  </a:lnTo>
                  <a:lnTo>
                    <a:pt x="744" y="510"/>
                  </a:lnTo>
                  <a:lnTo>
                    <a:pt x="738" y="522"/>
                  </a:lnTo>
                  <a:lnTo>
                    <a:pt x="744" y="528"/>
                  </a:lnTo>
                  <a:lnTo>
                    <a:pt x="756" y="534"/>
                  </a:lnTo>
                  <a:lnTo>
                    <a:pt x="756" y="540"/>
                  </a:lnTo>
                  <a:lnTo>
                    <a:pt x="744" y="552"/>
                  </a:lnTo>
                  <a:lnTo>
                    <a:pt x="738" y="552"/>
                  </a:lnTo>
                  <a:lnTo>
                    <a:pt x="738" y="558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64"/>
                  </a:lnTo>
                  <a:lnTo>
                    <a:pt x="744" y="576"/>
                  </a:lnTo>
                  <a:lnTo>
                    <a:pt x="738" y="588"/>
                  </a:lnTo>
                  <a:lnTo>
                    <a:pt x="738" y="594"/>
                  </a:lnTo>
                  <a:lnTo>
                    <a:pt x="738" y="600"/>
                  </a:lnTo>
                  <a:lnTo>
                    <a:pt x="738" y="606"/>
                  </a:lnTo>
                  <a:lnTo>
                    <a:pt x="732" y="612"/>
                  </a:lnTo>
                  <a:lnTo>
                    <a:pt x="726" y="624"/>
                  </a:lnTo>
                  <a:lnTo>
                    <a:pt x="726" y="636"/>
                  </a:lnTo>
                  <a:lnTo>
                    <a:pt x="726" y="648"/>
                  </a:lnTo>
                  <a:lnTo>
                    <a:pt x="738" y="654"/>
                  </a:lnTo>
                  <a:lnTo>
                    <a:pt x="750" y="660"/>
                  </a:lnTo>
                  <a:lnTo>
                    <a:pt x="750" y="666"/>
                  </a:lnTo>
                  <a:lnTo>
                    <a:pt x="750" y="678"/>
                  </a:lnTo>
                  <a:lnTo>
                    <a:pt x="744" y="678"/>
                  </a:lnTo>
                  <a:lnTo>
                    <a:pt x="738" y="684"/>
                  </a:lnTo>
                  <a:lnTo>
                    <a:pt x="732" y="684"/>
                  </a:lnTo>
                  <a:lnTo>
                    <a:pt x="720" y="678"/>
                  </a:lnTo>
                  <a:lnTo>
                    <a:pt x="714" y="684"/>
                  </a:lnTo>
                  <a:lnTo>
                    <a:pt x="708" y="684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0" y="690"/>
                  </a:lnTo>
                  <a:lnTo>
                    <a:pt x="690" y="684"/>
                  </a:lnTo>
                  <a:lnTo>
                    <a:pt x="690" y="690"/>
                  </a:lnTo>
                  <a:lnTo>
                    <a:pt x="684" y="690"/>
                  </a:lnTo>
                  <a:lnTo>
                    <a:pt x="684" y="684"/>
                  </a:lnTo>
                  <a:lnTo>
                    <a:pt x="678" y="684"/>
                  </a:lnTo>
                  <a:lnTo>
                    <a:pt x="672" y="678"/>
                  </a:lnTo>
                  <a:lnTo>
                    <a:pt x="672" y="672"/>
                  </a:lnTo>
                  <a:lnTo>
                    <a:pt x="678" y="672"/>
                  </a:lnTo>
                  <a:lnTo>
                    <a:pt x="672" y="672"/>
                  </a:lnTo>
                  <a:lnTo>
                    <a:pt x="666" y="672"/>
                  </a:lnTo>
                  <a:lnTo>
                    <a:pt x="660" y="672"/>
                  </a:lnTo>
                  <a:lnTo>
                    <a:pt x="654" y="672"/>
                  </a:lnTo>
                  <a:lnTo>
                    <a:pt x="654" y="666"/>
                  </a:lnTo>
                  <a:lnTo>
                    <a:pt x="648" y="666"/>
                  </a:lnTo>
                  <a:lnTo>
                    <a:pt x="642" y="660"/>
                  </a:lnTo>
                  <a:lnTo>
                    <a:pt x="642" y="654"/>
                  </a:lnTo>
                  <a:lnTo>
                    <a:pt x="642" y="648"/>
                  </a:lnTo>
                  <a:lnTo>
                    <a:pt x="636" y="648"/>
                  </a:lnTo>
                  <a:lnTo>
                    <a:pt x="630" y="648"/>
                  </a:lnTo>
                  <a:lnTo>
                    <a:pt x="624" y="648"/>
                  </a:lnTo>
                  <a:lnTo>
                    <a:pt x="624" y="642"/>
                  </a:lnTo>
                  <a:lnTo>
                    <a:pt x="618" y="636"/>
                  </a:lnTo>
                  <a:lnTo>
                    <a:pt x="624" y="636"/>
                  </a:lnTo>
                  <a:lnTo>
                    <a:pt x="624" y="630"/>
                  </a:lnTo>
                  <a:lnTo>
                    <a:pt x="618" y="630"/>
                  </a:lnTo>
                  <a:lnTo>
                    <a:pt x="618" y="624"/>
                  </a:lnTo>
                  <a:lnTo>
                    <a:pt x="618" y="618"/>
                  </a:lnTo>
                  <a:lnTo>
                    <a:pt x="618" y="612"/>
                  </a:lnTo>
                  <a:lnTo>
                    <a:pt x="618" y="606"/>
                  </a:lnTo>
                  <a:lnTo>
                    <a:pt x="624" y="606"/>
                  </a:lnTo>
                  <a:lnTo>
                    <a:pt x="624" y="600"/>
                  </a:lnTo>
                  <a:lnTo>
                    <a:pt x="618" y="600"/>
                  </a:lnTo>
                  <a:lnTo>
                    <a:pt x="618" y="594"/>
                  </a:lnTo>
                  <a:lnTo>
                    <a:pt x="618" y="588"/>
                  </a:lnTo>
                  <a:lnTo>
                    <a:pt x="618" y="582"/>
                  </a:lnTo>
                  <a:lnTo>
                    <a:pt x="612" y="582"/>
                  </a:lnTo>
                  <a:lnTo>
                    <a:pt x="606" y="582"/>
                  </a:lnTo>
                  <a:lnTo>
                    <a:pt x="612" y="582"/>
                  </a:lnTo>
                  <a:lnTo>
                    <a:pt x="612" y="588"/>
                  </a:lnTo>
                  <a:lnTo>
                    <a:pt x="612" y="594"/>
                  </a:lnTo>
                  <a:lnTo>
                    <a:pt x="618" y="594"/>
                  </a:lnTo>
                  <a:lnTo>
                    <a:pt x="618" y="600"/>
                  </a:lnTo>
                  <a:lnTo>
                    <a:pt x="618" y="606"/>
                  </a:lnTo>
                  <a:lnTo>
                    <a:pt x="618" y="612"/>
                  </a:lnTo>
                  <a:lnTo>
                    <a:pt x="612" y="612"/>
                  </a:lnTo>
                  <a:lnTo>
                    <a:pt x="612" y="618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94" y="612"/>
                  </a:lnTo>
                  <a:lnTo>
                    <a:pt x="588" y="606"/>
                  </a:lnTo>
                  <a:lnTo>
                    <a:pt x="588" y="612"/>
                  </a:lnTo>
                  <a:lnTo>
                    <a:pt x="594" y="612"/>
                  </a:lnTo>
                  <a:lnTo>
                    <a:pt x="594" y="618"/>
                  </a:lnTo>
                  <a:lnTo>
                    <a:pt x="588" y="618"/>
                  </a:lnTo>
                  <a:lnTo>
                    <a:pt x="588" y="624"/>
                  </a:lnTo>
                  <a:lnTo>
                    <a:pt x="582" y="624"/>
                  </a:lnTo>
                  <a:lnTo>
                    <a:pt x="582" y="630"/>
                  </a:lnTo>
                  <a:lnTo>
                    <a:pt x="576" y="630"/>
                  </a:lnTo>
                  <a:lnTo>
                    <a:pt x="576" y="636"/>
                  </a:lnTo>
                  <a:lnTo>
                    <a:pt x="570" y="636"/>
                  </a:lnTo>
                  <a:lnTo>
                    <a:pt x="570" y="642"/>
                  </a:lnTo>
                  <a:lnTo>
                    <a:pt x="564" y="642"/>
                  </a:lnTo>
                  <a:lnTo>
                    <a:pt x="564" y="636"/>
                  </a:lnTo>
                  <a:lnTo>
                    <a:pt x="564" y="630"/>
                  </a:lnTo>
                  <a:lnTo>
                    <a:pt x="564" y="624"/>
                  </a:lnTo>
                  <a:lnTo>
                    <a:pt x="564" y="618"/>
                  </a:lnTo>
                  <a:lnTo>
                    <a:pt x="570" y="612"/>
                  </a:lnTo>
                  <a:lnTo>
                    <a:pt x="564" y="606"/>
                  </a:lnTo>
                  <a:lnTo>
                    <a:pt x="564" y="600"/>
                  </a:lnTo>
                  <a:lnTo>
                    <a:pt x="564" y="594"/>
                  </a:lnTo>
                  <a:lnTo>
                    <a:pt x="558" y="594"/>
                  </a:lnTo>
                  <a:lnTo>
                    <a:pt x="558" y="588"/>
                  </a:lnTo>
                  <a:lnTo>
                    <a:pt x="552" y="582"/>
                  </a:lnTo>
                  <a:lnTo>
                    <a:pt x="552" y="576"/>
                  </a:lnTo>
                  <a:lnTo>
                    <a:pt x="552" y="570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6" y="582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58" y="588"/>
                  </a:lnTo>
                  <a:lnTo>
                    <a:pt x="558" y="594"/>
                  </a:lnTo>
                  <a:lnTo>
                    <a:pt x="558" y="600"/>
                  </a:lnTo>
                  <a:lnTo>
                    <a:pt x="558" y="606"/>
                  </a:lnTo>
                  <a:lnTo>
                    <a:pt x="552" y="612"/>
                  </a:lnTo>
                  <a:lnTo>
                    <a:pt x="558" y="612"/>
                  </a:lnTo>
                  <a:lnTo>
                    <a:pt x="558" y="618"/>
                  </a:lnTo>
                  <a:lnTo>
                    <a:pt x="558" y="624"/>
                  </a:lnTo>
                  <a:lnTo>
                    <a:pt x="558" y="630"/>
                  </a:lnTo>
                  <a:lnTo>
                    <a:pt x="552" y="630"/>
                  </a:lnTo>
                  <a:lnTo>
                    <a:pt x="552" y="624"/>
                  </a:lnTo>
                  <a:lnTo>
                    <a:pt x="546" y="624"/>
                  </a:lnTo>
                  <a:lnTo>
                    <a:pt x="546" y="618"/>
                  </a:lnTo>
                  <a:lnTo>
                    <a:pt x="546" y="612"/>
                  </a:lnTo>
                  <a:lnTo>
                    <a:pt x="540" y="612"/>
                  </a:lnTo>
                  <a:lnTo>
                    <a:pt x="534" y="612"/>
                  </a:lnTo>
                  <a:lnTo>
                    <a:pt x="528" y="612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28" y="618"/>
                  </a:lnTo>
                  <a:lnTo>
                    <a:pt x="534" y="618"/>
                  </a:lnTo>
                  <a:lnTo>
                    <a:pt x="540" y="618"/>
                  </a:lnTo>
                  <a:lnTo>
                    <a:pt x="540" y="624"/>
                  </a:lnTo>
                  <a:lnTo>
                    <a:pt x="546" y="624"/>
                  </a:lnTo>
                  <a:lnTo>
                    <a:pt x="546" y="630"/>
                  </a:lnTo>
                  <a:lnTo>
                    <a:pt x="552" y="630"/>
                  </a:lnTo>
                  <a:lnTo>
                    <a:pt x="552" y="636"/>
                  </a:lnTo>
                  <a:lnTo>
                    <a:pt x="546" y="642"/>
                  </a:lnTo>
                  <a:lnTo>
                    <a:pt x="546" y="648"/>
                  </a:lnTo>
                  <a:lnTo>
                    <a:pt x="540" y="648"/>
                  </a:lnTo>
                  <a:lnTo>
                    <a:pt x="540" y="654"/>
                  </a:lnTo>
                  <a:lnTo>
                    <a:pt x="540" y="660"/>
                  </a:lnTo>
                  <a:lnTo>
                    <a:pt x="534" y="666"/>
                  </a:lnTo>
                  <a:lnTo>
                    <a:pt x="534" y="672"/>
                  </a:lnTo>
                  <a:lnTo>
                    <a:pt x="534" y="678"/>
                  </a:lnTo>
                  <a:lnTo>
                    <a:pt x="534" y="684"/>
                  </a:lnTo>
                  <a:lnTo>
                    <a:pt x="534" y="678"/>
                  </a:lnTo>
                  <a:lnTo>
                    <a:pt x="528" y="678"/>
                  </a:lnTo>
                  <a:lnTo>
                    <a:pt x="528" y="684"/>
                  </a:lnTo>
                  <a:lnTo>
                    <a:pt x="522" y="690"/>
                  </a:lnTo>
                  <a:lnTo>
                    <a:pt x="528" y="690"/>
                  </a:lnTo>
                  <a:lnTo>
                    <a:pt x="528" y="684"/>
                  </a:lnTo>
                  <a:lnTo>
                    <a:pt x="534" y="684"/>
                  </a:lnTo>
                  <a:lnTo>
                    <a:pt x="534" y="690"/>
                  </a:lnTo>
                  <a:lnTo>
                    <a:pt x="534" y="696"/>
                  </a:lnTo>
                  <a:lnTo>
                    <a:pt x="540" y="696"/>
                  </a:lnTo>
                  <a:lnTo>
                    <a:pt x="540" y="702"/>
                  </a:lnTo>
                  <a:lnTo>
                    <a:pt x="540" y="708"/>
                  </a:lnTo>
                  <a:lnTo>
                    <a:pt x="534" y="708"/>
                  </a:lnTo>
                  <a:lnTo>
                    <a:pt x="528" y="708"/>
                  </a:lnTo>
                  <a:lnTo>
                    <a:pt x="522" y="708"/>
                  </a:lnTo>
                  <a:lnTo>
                    <a:pt x="516" y="708"/>
                  </a:lnTo>
                  <a:lnTo>
                    <a:pt x="510" y="708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2" y="708"/>
                  </a:lnTo>
                  <a:lnTo>
                    <a:pt x="486" y="714"/>
                  </a:lnTo>
                  <a:lnTo>
                    <a:pt x="480" y="708"/>
                  </a:lnTo>
                  <a:lnTo>
                    <a:pt x="474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68" y="714"/>
                  </a:lnTo>
                  <a:lnTo>
                    <a:pt x="456" y="714"/>
                  </a:lnTo>
                  <a:lnTo>
                    <a:pt x="450" y="714"/>
                  </a:lnTo>
                  <a:lnTo>
                    <a:pt x="450" y="708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50" y="690"/>
                  </a:lnTo>
                  <a:lnTo>
                    <a:pt x="450" y="684"/>
                  </a:lnTo>
                  <a:lnTo>
                    <a:pt x="450" y="678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56" y="660"/>
                  </a:lnTo>
                  <a:lnTo>
                    <a:pt x="462" y="660"/>
                  </a:lnTo>
                  <a:lnTo>
                    <a:pt x="462" y="654"/>
                  </a:lnTo>
                  <a:lnTo>
                    <a:pt x="456" y="654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48"/>
                  </a:lnTo>
                  <a:lnTo>
                    <a:pt x="444" y="648"/>
                  </a:lnTo>
                  <a:lnTo>
                    <a:pt x="444" y="642"/>
                  </a:lnTo>
                  <a:lnTo>
                    <a:pt x="444" y="636"/>
                  </a:lnTo>
                  <a:lnTo>
                    <a:pt x="450" y="636"/>
                  </a:lnTo>
                  <a:lnTo>
                    <a:pt x="450" y="630"/>
                  </a:lnTo>
                  <a:lnTo>
                    <a:pt x="456" y="630"/>
                  </a:lnTo>
                  <a:lnTo>
                    <a:pt x="462" y="630"/>
                  </a:lnTo>
                  <a:lnTo>
                    <a:pt x="462" y="624"/>
                  </a:lnTo>
                  <a:lnTo>
                    <a:pt x="468" y="624"/>
                  </a:lnTo>
                  <a:lnTo>
                    <a:pt x="474" y="624"/>
                  </a:lnTo>
                  <a:lnTo>
                    <a:pt x="474" y="618"/>
                  </a:lnTo>
                  <a:lnTo>
                    <a:pt x="480" y="618"/>
                  </a:lnTo>
                  <a:lnTo>
                    <a:pt x="486" y="618"/>
                  </a:lnTo>
                  <a:lnTo>
                    <a:pt x="486" y="624"/>
                  </a:lnTo>
                  <a:lnTo>
                    <a:pt x="486" y="636"/>
                  </a:lnTo>
                  <a:lnTo>
                    <a:pt x="486" y="642"/>
                  </a:lnTo>
                  <a:lnTo>
                    <a:pt x="486" y="648"/>
                  </a:lnTo>
                  <a:lnTo>
                    <a:pt x="492" y="648"/>
                  </a:lnTo>
                  <a:lnTo>
                    <a:pt x="492" y="642"/>
                  </a:lnTo>
                  <a:lnTo>
                    <a:pt x="498" y="636"/>
                  </a:lnTo>
                  <a:lnTo>
                    <a:pt x="492" y="636"/>
                  </a:lnTo>
                  <a:lnTo>
                    <a:pt x="492" y="630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6" y="618"/>
                  </a:lnTo>
                  <a:lnTo>
                    <a:pt x="486" y="612"/>
                  </a:lnTo>
                  <a:lnTo>
                    <a:pt x="486" y="606"/>
                  </a:lnTo>
                  <a:lnTo>
                    <a:pt x="480" y="606"/>
                  </a:lnTo>
                  <a:lnTo>
                    <a:pt x="480" y="612"/>
                  </a:lnTo>
                  <a:lnTo>
                    <a:pt x="474" y="618"/>
                  </a:lnTo>
                  <a:lnTo>
                    <a:pt x="468" y="618"/>
                  </a:lnTo>
                  <a:lnTo>
                    <a:pt x="462" y="618"/>
                  </a:lnTo>
                  <a:lnTo>
                    <a:pt x="462" y="612"/>
                  </a:lnTo>
                  <a:lnTo>
                    <a:pt x="456" y="612"/>
                  </a:lnTo>
                  <a:lnTo>
                    <a:pt x="456" y="618"/>
                  </a:lnTo>
                  <a:lnTo>
                    <a:pt x="462" y="618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30"/>
                  </a:lnTo>
                  <a:lnTo>
                    <a:pt x="444" y="630"/>
                  </a:lnTo>
                  <a:lnTo>
                    <a:pt x="444" y="636"/>
                  </a:lnTo>
                  <a:lnTo>
                    <a:pt x="444" y="642"/>
                  </a:lnTo>
                  <a:lnTo>
                    <a:pt x="444" y="654"/>
                  </a:lnTo>
                  <a:lnTo>
                    <a:pt x="444" y="660"/>
                  </a:lnTo>
                  <a:lnTo>
                    <a:pt x="438" y="660"/>
                  </a:lnTo>
                  <a:lnTo>
                    <a:pt x="432" y="660"/>
                  </a:lnTo>
                  <a:lnTo>
                    <a:pt x="432" y="654"/>
                  </a:lnTo>
                  <a:lnTo>
                    <a:pt x="438" y="654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48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26" y="660"/>
                  </a:lnTo>
                  <a:lnTo>
                    <a:pt x="432" y="666"/>
                  </a:lnTo>
                  <a:lnTo>
                    <a:pt x="432" y="672"/>
                  </a:lnTo>
                  <a:lnTo>
                    <a:pt x="438" y="672"/>
                  </a:lnTo>
                  <a:lnTo>
                    <a:pt x="438" y="678"/>
                  </a:lnTo>
                  <a:lnTo>
                    <a:pt x="444" y="678"/>
                  </a:lnTo>
                  <a:lnTo>
                    <a:pt x="444" y="684"/>
                  </a:lnTo>
                  <a:lnTo>
                    <a:pt x="438" y="690"/>
                  </a:lnTo>
                  <a:lnTo>
                    <a:pt x="438" y="696"/>
                  </a:lnTo>
                  <a:lnTo>
                    <a:pt x="438" y="702"/>
                  </a:lnTo>
                  <a:lnTo>
                    <a:pt x="432" y="702"/>
                  </a:lnTo>
                  <a:lnTo>
                    <a:pt x="426" y="702"/>
                  </a:lnTo>
                  <a:lnTo>
                    <a:pt x="426" y="696"/>
                  </a:lnTo>
                  <a:lnTo>
                    <a:pt x="414" y="696"/>
                  </a:lnTo>
                  <a:lnTo>
                    <a:pt x="402" y="696"/>
                  </a:lnTo>
                  <a:lnTo>
                    <a:pt x="402" y="690"/>
                  </a:lnTo>
                  <a:lnTo>
                    <a:pt x="396" y="690"/>
                  </a:lnTo>
                  <a:lnTo>
                    <a:pt x="390" y="690"/>
                  </a:lnTo>
                  <a:lnTo>
                    <a:pt x="384" y="690"/>
                  </a:lnTo>
                  <a:lnTo>
                    <a:pt x="384" y="684"/>
                  </a:lnTo>
                  <a:lnTo>
                    <a:pt x="384" y="678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390" y="660"/>
                  </a:lnTo>
                  <a:lnTo>
                    <a:pt x="390" y="654"/>
                  </a:lnTo>
                  <a:lnTo>
                    <a:pt x="384" y="648"/>
                  </a:lnTo>
                  <a:lnTo>
                    <a:pt x="384" y="642"/>
                  </a:lnTo>
                  <a:lnTo>
                    <a:pt x="378" y="636"/>
                  </a:lnTo>
                  <a:lnTo>
                    <a:pt x="378" y="642"/>
                  </a:lnTo>
                  <a:lnTo>
                    <a:pt x="378" y="648"/>
                  </a:lnTo>
                  <a:lnTo>
                    <a:pt x="372" y="648"/>
                  </a:lnTo>
                  <a:lnTo>
                    <a:pt x="378" y="654"/>
                  </a:lnTo>
                  <a:lnTo>
                    <a:pt x="378" y="660"/>
                  </a:lnTo>
                  <a:lnTo>
                    <a:pt x="378" y="666"/>
                  </a:lnTo>
                  <a:lnTo>
                    <a:pt x="372" y="672"/>
                  </a:lnTo>
                  <a:lnTo>
                    <a:pt x="378" y="672"/>
                  </a:lnTo>
                  <a:lnTo>
                    <a:pt x="378" y="678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54" y="666"/>
                  </a:lnTo>
                  <a:lnTo>
                    <a:pt x="354" y="660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0" y="654"/>
                  </a:lnTo>
                  <a:lnTo>
                    <a:pt x="324" y="648"/>
                  </a:lnTo>
                  <a:lnTo>
                    <a:pt x="318" y="648"/>
                  </a:lnTo>
                  <a:lnTo>
                    <a:pt x="318" y="642"/>
                  </a:lnTo>
                  <a:lnTo>
                    <a:pt x="312" y="642"/>
                  </a:lnTo>
                  <a:lnTo>
                    <a:pt x="306" y="636"/>
                  </a:lnTo>
                  <a:lnTo>
                    <a:pt x="300" y="636"/>
                  </a:lnTo>
                  <a:lnTo>
                    <a:pt x="300" y="630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0" y="618"/>
                  </a:lnTo>
                  <a:lnTo>
                    <a:pt x="306" y="612"/>
                  </a:lnTo>
                  <a:lnTo>
                    <a:pt x="300" y="612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294" y="612"/>
                  </a:lnTo>
                  <a:lnTo>
                    <a:pt x="288" y="618"/>
                  </a:lnTo>
                  <a:lnTo>
                    <a:pt x="288" y="612"/>
                  </a:lnTo>
                  <a:lnTo>
                    <a:pt x="288" y="618"/>
                  </a:lnTo>
                  <a:lnTo>
                    <a:pt x="294" y="618"/>
                  </a:lnTo>
                  <a:lnTo>
                    <a:pt x="300" y="624"/>
                  </a:lnTo>
                  <a:lnTo>
                    <a:pt x="294" y="624"/>
                  </a:lnTo>
                  <a:lnTo>
                    <a:pt x="288" y="624"/>
                  </a:lnTo>
                  <a:lnTo>
                    <a:pt x="282" y="61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70" y="600"/>
                  </a:lnTo>
                  <a:lnTo>
                    <a:pt x="270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82" y="588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594"/>
                  </a:lnTo>
                  <a:lnTo>
                    <a:pt x="264" y="600"/>
                  </a:lnTo>
                  <a:lnTo>
                    <a:pt x="264" y="594"/>
                  </a:lnTo>
                  <a:lnTo>
                    <a:pt x="270" y="594"/>
                  </a:lnTo>
                  <a:lnTo>
                    <a:pt x="270" y="588"/>
                  </a:lnTo>
                  <a:lnTo>
                    <a:pt x="264" y="594"/>
                  </a:lnTo>
                  <a:lnTo>
                    <a:pt x="258" y="594"/>
                  </a:lnTo>
                  <a:lnTo>
                    <a:pt x="258" y="588"/>
                  </a:lnTo>
                  <a:lnTo>
                    <a:pt x="252" y="588"/>
                  </a:lnTo>
                  <a:lnTo>
                    <a:pt x="246" y="588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52" y="588"/>
                  </a:lnTo>
                  <a:lnTo>
                    <a:pt x="252" y="594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46" y="594"/>
                  </a:lnTo>
                  <a:lnTo>
                    <a:pt x="246" y="588"/>
                  </a:lnTo>
                  <a:lnTo>
                    <a:pt x="240" y="588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2" y="570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64"/>
                  </a:lnTo>
                  <a:lnTo>
                    <a:pt x="234" y="564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34" y="558"/>
                  </a:lnTo>
                  <a:lnTo>
                    <a:pt x="228" y="558"/>
                  </a:lnTo>
                  <a:lnTo>
                    <a:pt x="222" y="558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2" y="564"/>
                  </a:lnTo>
                  <a:lnTo>
                    <a:pt x="222" y="558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04" y="546"/>
                  </a:lnTo>
                  <a:lnTo>
                    <a:pt x="204" y="540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10" y="540"/>
                  </a:lnTo>
                  <a:lnTo>
                    <a:pt x="210" y="534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8"/>
                  </a:lnTo>
                  <a:lnTo>
                    <a:pt x="174" y="516"/>
                  </a:lnTo>
                  <a:lnTo>
                    <a:pt x="168" y="510"/>
                  </a:lnTo>
                  <a:lnTo>
                    <a:pt x="162" y="504"/>
                  </a:lnTo>
                  <a:lnTo>
                    <a:pt x="156" y="498"/>
                  </a:lnTo>
                  <a:lnTo>
                    <a:pt x="156" y="492"/>
                  </a:lnTo>
                  <a:lnTo>
                    <a:pt x="150" y="486"/>
                  </a:lnTo>
                  <a:lnTo>
                    <a:pt x="144" y="480"/>
                  </a:lnTo>
                  <a:lnTo>
                    <a:pt x="144" y="474"/>
                  </a:lnTo>
                  <a:lnTo>
                    <a:pt x="138" y="474"/>
                  </a:lnTo>
                  <a:lnTo>
                    <a:pt x="138" y="468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26" y="450"/>
                  </a:lnTo>
                  <a:lnTo>
                    <a:pt x="126" y="444"/>
                  </a:lnTo>
                  <a:lnTo>
                    <a:pt x="114" y="438"/>
                  </a:lnTo>
                  <a:lnTo>
                    <a:pt x="114" y="432"/>
                  </a:lnTo>
                  <a:lnTo>
                    <a:pt x="114" y="426"/>
                  </a:lnTo>
                  <a:lnTo>
                    <a:pt x="114" y="432"/>
                  </a:lnTo>
                  <a:lnTo>
                    <a:pt x="120" y="432"/>
                  </a:lnTo>
                  <a:lnTo>
                    <a:pt x="120" y="438"/>
                  </a:lnTo>
                  <a:lnTo>
                    <a:pt x="120" y="444"/>
                  </a:lnTo>
                  <a:lnTo>
                    <a:pt x="126" y="444"/>
                  </a:lnTo>
                  <a:lnTo>
                    <a:pt x="126" y="438"/>
                  </a:lnTo>
                  <a:lnTo>
                    <a:pt x="120" y="438"/>
                  </a:lnTo>
                  <a:lnTo>
                    <a:pt x="126" y="432"/>
                  </a:lnTo>
                  <a:lnTo>
                    <a:pt x="126" y="426"/>
                  </a:lnTo>
                  <a:lnTo>
                    <a:pt x="132" y="420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08" y="414"/>
                  </a:lnTo>
                  <a:lnTo>
                    <a:pt x="102" y="414"/>
                  </a:lnTo>
                  <a:lnTo>
                    <a:pt x="102" y="408"/>
                  </a:lnTo>
                  <a:lnTo>
                    <a:pt x="96" y="402"/>
                  </a:lnTo>
                  <a:lnTo>
                    <a:pt x="96" y="396"/>
                  </a:lnTo>
                  <a:lnTo>
                    <a:pt x="96" y="390"/>
                  </a:lnTo>
                  <a:lnTo>
                    <a:pt x="90" y="390"/>
                  </a:lnTo>
                  <a:lnTo>
                    <a:pt x="90" y="384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78" y="372"/>
                  </a:lnTo>
                  <a:lnTo>
                    <a:pt x="78" y="366"/>
                  </a:lnTo>
                  <a:lnTo>
                    <a:pt x="78" y="360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6" y="348"/>
                  </a:lnTo>
                  <a:lnTo>
                    <a:pt x="66" y="342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6" y="336"/>
                  </a:lnTo>
                  <a:lnTo>
                    <a:pt x="66" y="342"/>
                  </a:lnTo>
                  <a:lnTo>
                    <a:pt x="72" y="348"/>
                  </a:lnTo>
                  <a:lnTo>
                    <a:pt x="78" y="354"/>
                  </a:lnTo>
                  <a:lnTo>
                    <a:pt x="84" y="360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0" y="360"/>
                  </a:lnTo>
                  <a:lnTo>
                    <a:pt x="84" y="360"/>
                  </a:lnTo>
                  <a:lnTo>
                    <a:pt x="84" y="354"/>
                  </a:lnTo>
                  <a:lnTo>
                    <a:pt x="78" y="348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66" y="330"/>
                  </a:lnTo>
                  <a:lnTo>
                    <a:pt x="66" y="324"/>
                  </a:lnTo>
                  <a:lnTo>
                    <a:pt x="60" y="318"/>
                  </a:lnTo>
                  <a:lnTo>
                    <a:pt x="60" y="312"/>
                  </a:lnTo>
                  <a:lnTo>
                    <a:pt x="54" y="306"/>
                  </a:lnTo>
                  <a:lnTo>
                    <a:pt x="54" y="300"/>
                  </a:lnTo>
                  <a:lnTo>
                    <a:pt x="54" y="294"/>
                  </a:lnTo>
                  <a:lnTo>
                    <a:pt x="48" y="288"/>
                  </a:lnTo>
                  <a:lnTo>
                    <a:pt x="48" y="294"/>
                  </a:lnTo>
                  <a:lnTo>
                    <a:pt x="48" y="288"/>
                  </a:lnTo>
                  <a:lnTo>
                    <a:pt x="48" y="282"/>
                  </a:lnTo>
                  <a:lnTo>
                    <a:pt x="48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18" y="216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62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68"/>
                  </a:lnTo>
                  <a:lnTo>
                    <a:pt x="42" y="168"/>
                  </a:lnTo>
                  <a:lnTo>
                    <a:pt x="42" y="174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86"/>
                  </a:lnTo>
                  <a:close/>
                  <a:moveTo>
                    <a:pt x="642" y="660"/>
                  </a:moveTo>
                  <a:lnTo>
                    <a:pt x="642" y="666"/>
                  </a:lnTo>
                  <a:lnTo>
                    <a:pt x="648" y="666"/>
                  </a:lnTo>
                  <a:lnTo>
                    <a:pt x="648" y="672"/>
                  </a:lnTo>
                  <a:lnTo>
                    <a:pt x="648" y="678"/>
                  </a:lnTo>
                  <a:lnTo>
                    <a:pt x="654" y="678"/>
                  </a:lnTo>
                  <a:lnTo>
                    <a:pt x="654" y="684"/>
                  </a:lnTo>
                  <a:lnTo>
                    <a:pt x="660" y="684"/>
                  </a:lnTo>
                  <a:lnTo>
                    <a:pt x="660" y="690"/>
                  </a:lnTo>
                  <a:lnTo>
                    <a:pt x="654" y="690"/>
                  </a:lnTo>
                  <a:lnTo>
                    <a:pt x="648" y="690"/>
                  </a:lnTo>
                  <a:lnTo>
                    <a:pt x="636" y="696"/>
                  </a:lnTo>
                  <a:lnTo>
                    <a:pt x="630" y="696"/>
                  </a:lnTo>
                  <a:lnTo>
                    <a:pt x="624" y="696"/>
                  </a:lnTo>
                  <a:lnTo>
                    <a:pt x="618" y="696"/>
                  </a:lnTo>
                  <a:lnTo>
                    <a:pt x="612" y="696"/>
                  </a:lnTo>
                  <a:lnTo>
                    <a:pt x="594" y="696"/>
                  </a:lnTo>
                  <a:lnTo>
                    <a:pt x="588" y="696"/>
                  </a:lnTo>
                  <a:lnTo>
                    <a:pt x="582" y="696"/>
                  </a:lnTo>
                  <a:lnTo>
                    <a:pt x="570" y="702"/>
                  </a:lnTo>
                  <a:lnTo>
                    <a:pt x="564" y="702"/>
                  </a:lnTo>
                  <a:lnTo>
                    <a:pt x="558" y="702"/>
                  </a:lnTo>
                  <a:lnTo>
                    <a:pt x="552" y="702"/>
                  </a:lnTo>
                  <a:lnTo>
                    <a:pt x="552" y="696"/>
                  </a:lnTo>
                  <a:lnTo>
                    <a:pt x="546" y="696"/>
                  </a:lnTo>
                  <a:lnTo>
                    <a:pt x="546" y="690"/>
                  </a:lnTo>
                  <a:lnTo>
                    <a:pt x="552" y="684"/>
                  </a:lnTo>
                  <a:lnTo>
                    <a:pt x="552" y="678"/>
                  </a:lnTo>
                  <a:lnTo>
                    <a:pt x="558" y="672"/>
                  </a:lnTo>
                  <a:lnTo>
                    <a:pt x="558" y="666"/>
                  </a:lnTo>
                  <a:lnTo>
                    <a:pt x="564" y="666"/>
                  </a:lnTo>
                  <a:lnTo>
                    <a:pt x="570" y="666"/>
                  </a:lnTo>
                  <a:lnTo>
                    <a:pt x="570" y="654"/>
                  </a:lnTo>
                  <a:lnTo>
                    <a:pt x="570" y="648"/>
                  </a:lnTo>
                  <a:lnTo>
                    <a:pt x="582" y="642"/>
                  </a:lnTo>
                  <a:lnTo>
                    <a:pt x="582" y="636"/>
                  </a:lnTo>
                  <a:lnTo>
                    <a:pt x="588" y="636"/>
                  </a:lnTo>
                  <a:lnTo>
                    <a:pt x="588" y="630"/>
                  </a:lnTo>
                  <a:lnTo>
                    <a:pt x="594" y="624"/>
                  </a:lnTo>
                  <a:lnTo>
                    <a:pt x="594" y="618"/>
                  </a:lnTo>
                  <a:lnTo>
                    <a:pt x="600" y="618"/>
                  </a:lnTo>
                  <a:lnTo>
                    <a:pt x="600" y="612"/>
                  </a:lnTo>
                  <a:lnTo>
                    <a:pt x="606" y="612"/>
                  </a:lnTo>
                  <a:lnTo>
                    <a:pt x="606" y="618"/>
                  </a:lnTo>
                  <a:lnTo>
                    <a:pt x="612" y="618"/>
                  </a:lnTo>
                  <a:lnTo>
                    <a:pt x="618" y="618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18" y="636"/>
                  </a:lnTo>
                  <a:lnTo>
                    <a:pt x="618" y="642"/>
                  </a:lnTo>
                  <a:lnTo>
                    <a:pt x="618" y="648"/>
                  </a:lnTo>
                  <a:lnTo>
                    <a:pt x="624" y="648"/>
                  </a:lnTo>
                  <a:lnTo>
                    <a:pt x="630" y="648"/>
                  </a:lnTo>
                  <a:lnTo>
                    <a:pt x="636" y="654"/>
                  </a:lnTo>
                  <a:lnTo>
                    <a:pt x="642" y="654"/>
                  </a:lnTo>
                  <a:lnTo>
                    <a:pt x="642" y="66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0" name="Freeform 5">
              <a:extLst>
                <a:ext uri="{FF2B5EF4-FFF2-40B4-BE49-F238E27FC236}">
                  <a16:creationId xmlns:a16="http://schemas.microsoft.com/office/drawing/2014/main" id="{5577BDCA-F2C7-42E0-A391-018D79AA29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0384" y="4231013"/>
              <a:ext cx="404750" cy="480848"/>
            </a:xfrm>
            <a:custGeom>
              <a:avLst/>
              <a:gdLst>
                <a:gd name="T0" fmla="*/ 9 w 762"/>
                <a:gd name="T1" fmla="*/ 58 h 900"/>
                <a:gd name="T2" fmla="*/ 4 w 762"/>
                <a:gd name="T3" fmla="*/ 56 h 900"/>
                <a:gd name="T4" fmla="*/ 0 w 762"/>
                <a:gd name="T5" fmla="*/ 49 h 900"/>
                <a:gd name="T6" fmla="*/ 4 w 762"/>
                <a:gd name="T7" fmla="*/ 36 h 900"/>
                <a:gd name="T8" fmla="*/ 8 w 762"/>
                <a:gd name="T9" fmla="*/ 28 h 900"/>
                <a:gd name="T10" fmla="*/ 7 w 762"/>
                <a:gd name="T11" fmla="*/ 13 h 900"/>
                <a:gd name="T12" fmla="*/ 15 w 762"/>
                <a:gd name="T13" fmla="*/ 0 h 900"/>
                <a:gd name="T14" fmla="*/ 16 w 762"/>
                <a:gd name="T15" fmla="*/ 13 h 900"/>
                <a:gd name="T16" fmla="*/ 31 w 762"/>
                <a:gd name="T17" fmla="*/ 28 h 900"/>
                <a:gd name="T18" fmla="*/ 49 w 762"/>
                <a:gd name="T19" fmla="*/ 33 h 900"/>
                <a:gd name="T20" fmla="*/ 42 w 762"/>
                <a:gd name="T21" fmla="*/ 48 h 900"/>
                <a:gd name="T22" fmla="*/ 51 w 762"/>
                <a:gd name="T23" fmla="*/ 48 h 900"/>
                <a:gd name="T24" fmla="*/ 61 w 762"/>
                <a:gd name="T25" fmla="*/ 51 h 900"/>
                <a:gd name="T26" fmla="*/ 63 w 762"/>
                <a:gd name="T27" fmla="*/ 60 h 900"/>
                <a:gd name="T28" fmla="*/ 63 w 762"/>
                <a:gd name="T29" fmla="*/ 66 h 900"/>
                <a:gd name="T30" fmla="*/ 65 w 762"/>
                <a:gd name="T31" fmla="*/ 69 h 900"/>
                <a:gd name="T32" fmla="*/ 66 w 762"/>
                <a:gd name="T33" fmla="*/ 72 h 900"/>
                <a:gd name="T34" fmla="*/ 56 w 762"/>
                <a:gd name="T35" fmla="*/ 73 h 900"/>
                <a:gd name="T36" fmla="*/ 55 w 762"/>
                <a:gd name="T37" fmla="*/ 69 h 900"/>
                <a:gd name="T38" fmla="*/ 57 w 762"/>
                <a:gd name="T39" fmla="*/ 67 h 900"/>
                <a:gd name="T40" fmla="*/ 55 w 762"/>
                <a:gd name="T41" fmla="*/ 65 h 900"/>
                <a:gd name="T42" fmla="*/ 53 w 762"/>
                <a:gd name="T43" fmla="*/ 68 h 900"/>
                <a:gd name="T44" fmla="*/ 49 w 762"/>
                <a:gd name="T45" fmla="*/ 68 h 900"/>
                <a:gd name="T46" fmla="*/ 44 w 762"/>
                <a:gd name="T47" fmla="*/ 63 h 900"/>
                <a:gd name="T48" fmla="*/ 40 w 762"/>
                <a:gd name="T49" fmla="*/ 59 h 900"/>
                <a:gd name="T50" fmla="*/ 38 w 762"/>
                <a:gd name="T51" fmla="*/ 57 h 900"/>
                <a:gd name="T52" fmla="*/ 43 w 762"/>
                <a:gd name="T53" fmla="*/ 62 h 900"/>
                <a:gd name="T54" fmla="*/ 43 w 762"/>
                <a:gd name="T55" fmla="*/ 66 h 900"/>
                <a:gd name="T56" fmla="*/ 41 w 762"/>
                <a:gd name="T57" fmla="*/ 71 h 900"/>
                <a:gd name="T58" fmla="*/ 37 w 762"/>
                <a:gd name="T59" fmla="*/ 69 h 900"/>
                <a:gd name="T60" fmla="*/ 35 w 762"/>
                <a:gd name="T61" fmla="*/ 64 h 900"/>
                <a:gd name="T62" fmla="*/ 31 w 762"/>
                <a:gd name="T63" fmla="*/ 57 h 900"/>
                <a:gd name="T64" fmla="*/ 30 w 762"/>
                <a:gd name="T65" fmla="*/ 62 h 900"/>
                <a:gd name="T66" fmla="*/ 29 w 762"/>
                <a:gd name="T67" fmla="*/ 61 h 900"/>
                <a:gd name="T68" fmla="*/ 31 w 762"/>
                <a:gd name="T69" fmla="*/ 66 h 900"/>
                <a:gd name="T70" fmla="*/ 33 w 762"/>
                <a:gd name="T71" fmla="*/ 72 h 900"/>
                <a:gd name="T72" fmla="*/ 32 w 762"/>
                <a:gd name="T73" fmla="*/ 76 h 900"/>
                <a:gd name="T74" fmla="*/ 28 w 762"/>
                <a:gd name="T75" fmla="*/ 75 h 900"/>
                <a:gd name="T76" fmla="*/ 24 w 762"/>
                <a:gd name="T77" fmla="*/ 69 h 900"/>
                <a:gd name="T78" fmla="*/ 24 w 762"/>
                <a:gd name="T79" fmla="*/ 62 h 900"/>
                <a:gd name="T80" fmla="*/ 23 w 762"/>
                <a:gd name="T81" fmla="*/ 62 h 900"/>
                <a:gd name="T82" fmla="*/ 23 w 762"/>
                <a:gd name="T83" fmla="*/ 68 h 900"/>
                <a:gd name="T84" fmla="*/ 25 w 762"/>
                <a:gd name="T85" fmla="*/ 77 h 900"/>
                <a:gd name="T86" fmla="*/ 17 w 762"/>
                <a:gd name="T87" fmla="*/ 74 h 900"/>
                <a:gd name="T88" fmla="*/ 17 w 762"/>
                <a:gd name="T89" fmla="*/ 67 h 900"/>
                <a:gd name="T90" fmla="*/ 16 w 762"/>
                <a:gd name="T91" fmla="*/ 67 h 900"/>
                <a:gd name="T92" fmla="*/ 15 w 762"/>
                <a:gd name="T93" fmla="*/ 71 h 900"/>
                <a:gd name="T94" fmla="*/ 12 w 762"/>
                <a:gd name="T95" fmla="*/ 68 h 900"/>
                <a:gd name="T96" fmla="*/ 15 w 762"/>
                <a:gd name="T97" fmla="*/ 72 h 900"/>
                <a:gd name="T98" fmla="*/ 17 w 762"/>
                <a:gd name="T99" fmla="*/ 77 h 900"/>
                <a:gd name="T100" fmla="*/ 11 w 762"/>
                <a:gd name="T101" fmla="*/ 77 h 900"/>
                <a:gd name="T102" fmla="*/ 10 w 762"/>
                <a:gd name="T103" fmla="*/ 69 h 900"/>
                <a:gd name="T104" fmla="*/ 11 w 762"/>
                <a:gd name="T105" fmla="*/ 72 h 900"/>
                <a:gd name="T106" fmla="*/ 9 w 762"/>
                <a:gd name="T107" fmla="*/ 78 h 900"/>
                <a:gd name="T108" fmla="*/ 43 w 762"/>
                <a:gd name="T109" fmla="*/ 71 h 900"/>
                <a:gd name="T110" fmla="*/ 51 w 762"/>
                <a:gd name="T111" fmla="*/ 69 h 900"/>
                <a:gd name="T112" fmla="*/ 43 w 762"/>
                <a:gd name="T113" fmla="*/ 76 h 900"/>
                <a:gd name="T114" fmla="*/ 36 w 762"/>
                <a:gd name="T115" fmla="*/ 65 h 900"/>
                <a:gd name="T116" fmla="*/ 38 w 762"/>
                <a:gd name="T117" fmla="*/ 72 h 900"/>
                <a:gd name="T118" fmla="*/ 34 w 762"/>
                <a:gd name="T119" fmla="*/ 69 h 900"/>
                <a:gd name="T120" fmla="*/ 29 w 762"/>
                <a:gd name="T121" fmla="*/ 64 h 900"/>
                <a:gd name="T122" fmla="*/ 32 w 762"/>
                <a:gd name="T123" fmla="*/ 66 h 9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900"/>
                <a:gd name="T188" fmla="*/ 762 w 762"/>
                <a:gd name="T189" fmla="*/ 900 h 90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900">
                  <a:moveTo>
                    <a:pt x="90" y="768"/>
                  </a:moveTo>
                  <a:lnTo>
                    <a:pt x="102" y="756"/>
                  </a:lnTo>
                  <a:lnTo>
                    <a:pt x="102" y="750"/>
                  </a:lnTo>
                  <a:lnTo>
                    <a:pt x="90" y="744"/>
                  </a:lnTo>
                  <a:lnTo>
                    <a:pt x="84" y="738"/>
                  </a:lnTo>
                  <a:lnTo>
                    <a:pt x="90" y="726"/>
                  </a:lnTo>
                  <a:lnTo>
                    <a:pt x="84" y="720"/>
                  </a:lnTo>
                  <a:lnTo>
                    <a:pt x="78" y="720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72" y="702"/>
                  </a:lnTo>
                  <a:lnTo>
                    <a:pt x="72" y="696"/>
                  </a:lnTo>
                  <a:lnTo>
                    <a:pt x="84" y="684"/>
                  </a:lnTo>
                  <a:lnTo>
                    <a:pt x="96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102" y="654"/>
                  </a:lnTo>
                  <a:lnTo>
                    <a:pt x="108" y="654"/>
                  </a:lnTo>
                  <a:lnTo>
                    <a:pt x="114" y="648"/>
                  </a:lnTo>
                  <a:lnTo>
                    <a:pt x="120" y="642"/>
                  </a:lnTo>
                  <a:lnTo>
                    <a:pt x="120" y="636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14" y="618"/>
                  </a:lnTo>
                  <a:lnTo>
                    <a:pt x="102" y="618"/>
                  </a:lnTo>
                  <a:lnTo>
                    <a:pt x="90" y="618"/>
                  </a:lnTo>
                  <a:lnTo>
                    <a:pt x="78" y="624"/>
                  </a:lnTo>
                  <a:lnTo>
                    <a:pt x="72" y="630"/>
                  </a:lnTo>
                  <a:lnTo>
                    <a:pt x="54" y="642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42" y="642"/>
                  </a:lnTo>
                  <a:lnTo>
                    <a:pt x="42" y="636"/>
                  </a:lnTo>
                  <a:lnTo>
                    <a:pt x="36" y="636"/>
                  </a:lnTo>
                  <a:lnTo>
                    <a:pt x="30" y="642"/>
                  </a:lnTo>
                  <a:lnTo>
                    <a:pt x="30" y="636"/>
                  </a:lnTo>
                  <a:lnTo>
                    <a:pt x="30" y="630"/>
                  </a:lnTo>
                  <a:lnTo>
                    <a:pt x="24" y="630"/>
                  </a:lnTo>
                  <a:lnTo>
                    <a:pt x="30" y="624"/>
                  </a:lnTo>
                  <a:lnTo>
                    <a:pt x="30" y="618"/>
                  </a:lnTo>
                  <a:lnTo>
                    <a:pt x="30" y="612"/>
                  </a:lnTo>
                  <a:lnTo>
                    <a:pt x="36" y="612"/>
                  </a:lnTo>
                  <a:lnTo>
                    <a:pt x="36" y="606"/>
                  </a:lnTo>
                  <a:lnTo>
                    <a:pt x="30" y="606"/>
                  </a:lnTo>
                  <a:lnTo>
                    <a:pt x="24" y="612"/>
                  </a:lnTo>
                  <a:lnTo>
                    <a:pt x="18" y="606"/>
                  </a:lnTo>
                  <a:lnTo>
                    <a:pt x="12" y="594"/>
                  </a:lnTo>
                  <a:lnTo>
                    <a:pt x="6" y="582"/>
                  </a:lnTo>
                  <a:lnTo>
                    <a:pt x="6" y="570"/>
                  </a:lnTo>
                  <a:lnTo>
                    <a:pt x="0" y="558"/>
                  </a:lnTo>
                  <a:lnTo>
                    <a:pt x="6" y="552"/>
                  </a:lnTo>
                  <a:lnTo>
                    <a:pt x="6" y="534"/>
                  </a:lnTo>
                  <a:lnTo>
                    <a:pt x="18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12" y="480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54" y="408"/>
                  </a:lnTo>
                  <a:lnTo>
                    <a:pt x="54" y="396"/>
                  </a:lnTo>
                  <a:lnTo>
                    <a:pt x="54" y="384"/>
                  </a:lnTo>
                  <a:lnTo>
                    <a:pt x="60" y="378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66"/>
                  </a:lnTo>
                  <a:lnTo>
                    <a:pt x="60" y="360"/>
                  </a:lnTo>
                  <a:lnTo>
                    <a:pt x="66" y="360"/>
                  </a:lnTo>
                  <a:lnTo>
                    <a:pt x="72" y="354"/>
                  </a:lnTo>
                  <a:lnTo>
                    <a:pt x="78" y="354"/>
                  </a:lnTo>
                  <a:lnTo>
                    <a:pt x="84" y="348"/>
                  </a:lnTo>
                  <a:lnTo>
                    <a:pt x="96" y="348"/>
                  </a:lnTo>
                  <a:lnTo>
                    <a:pt x="96" y="342"/>
                  </a:lnTo>
                  <a:lnTo>
                    <a:pt x="96" y="336"/>
                  </a:lnTo>
                  <a:lnTo>
                    <a:pt x="96" y="330"/>
                  </a:lnTo>
                  <a:lnTo>
                    <a:pt x="96" y="324"/>
                  </a:lnTo>
                  <a:lnTo>
                    <a:pt x="102" y="318"/>
                  </a:lnTo>
                  <a:lnTo>
                    <a:pt x="108" y="312"/>
                  </a:lnTo>
                  <a:lnTo>
                    <a:pt x="96" y="306"/>
                  </a:lnTo>
                  <a:lnTo>
                    <a:pt x="84" y="288"/>
                  </a:lnTo>
                  <a:lnTo>
                    <a:pt x="108" y="258"/>
                  </a:lnTo>
                  <a:lnTo>
                    <a:pt x="102" y="222"/>
                  </a:lnTo>
                  <a:lnTo>
                    <a:pt x="84" y="222"/>
                  </a:lnTo>
                  <a:lnTo>
                    <a:pt x="54" y="216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2"/>
                  </a:lnTo>
                  <a:lnTo>
                    <a:pt x="72" y="192"/>
                  </a:lnTo>
                  <a:lnTo>
                    <a:pt x="84" y="186"/>
                  </a:lnTo>
                  <a:lnTo>
                    <a:pt x="90" y="186"/>
                  </a:lnTo>
                  <a:lnTo>
                    <a:pt x="90" y="174"/>
                  </a:lnTo>
                  <a:lnTo>
                    <a:pt x="84" y="162"/>
                  </a:lnTo>
                  <a:lnTo>
                    <a:pt x="84" y="150"/>
                  </a:lnTo>
                  <a:lnTo>
                    <a:pt x="84" y="126"/>
                  </a:lnTo>
                  <a:lnTo>
                    <a:pt x="84" y="114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8" y="96"/>
                  </a:lnTo>
                  <a:lnTo>
                    <a:pt x="120" y="90"/>
                  </a:lnTo>
                  <a:lnTo>
                    <a:pt x="126" y="78"/>
                  </a:lnTo>
                  <a:lnTo>
                    <a:pt x="138" y="66"/>
                  </a:lnTo>
                  <a:lnTo>
                    <a:pt x="138" y="48"/>
                  </a:lnTo>
                  <a:lnTo>
                    <a:pt x="138" y="42"/>
                  </a:lnTo>
                  <a:lnTo>
                    <a:pt x="126" y="30"/>
                  </a:lnTo>
                  <a:lnTo>
                    <a:pt x="120" y="18"/>
                  </a:lnTo>
                  <a:lnTo>
                    <a:pt x="132" y="12"/>
                  </a:lnTo>
                  <a:lnTo>
                    <a:pt x="144" y="0"/>
                  </a:lnTo>
                  <a:lnTo>
                    <a:pt x="150" y="6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6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74" y="66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68" y="72"/>
                  </a:lnTo>
                  <a:lnTo>
                    <a:pt x="156" y="150"/>
                  </a:lnTo>
                  <a:lnTo>
                    <a:pt x="168" y="144"/>
                  </a:lnTo>
                  <a:lnTo>
                    <a:pt x="180" y="150"/>
                  </a:lnTo>
                  <a:lnTo>
                    <a:pt x="186" y="150"/>
                  </a:lnTo>
                  <a:lnTo>
                    <a:pt x="186" y="144"/>
                  </a:lnTo>
                  <a:lnTo>
                    <a:pt x="192" y="150"/>
                  </a:lnTo>
                  <a:lnTo>
                    <a:pt x="222" y="150"/>
                  </a:lnTo>
                  <a:lnTo>
                    <a:pt x="222" y="168"/>
                  </a:lnTo>
                  <a:lnTo>
                    <a:pt x="222" y="186"/>
                  </a:lnTo>
                  <a:lnTo>
                    <a:pt x="234" y="198"/>
                  </a:lnTo>
                  <a:lnTo>
                    <a:pt x="234" y="234"/>
                  </a:lnTo>
                  <a:lnTo>
                    <a:pt x="228" y="270"/>
                  </a:lnTo>
                  <a:lnTo>
                    <a:pt x="246" y="282"/>
                  </a:lnTo>
                  <a:lnTo>
                    <a:pt x="258" y="294"/>
                  </a:lnTo>
                  <a:lnTo>
                    <a:pt x="270" y="300"/>
                  </a:lnTo>
                  <a:lnTo>
                    <a:pt x="294" y="300"/>
                  </a:lnTo>
                  <a:lnTo>
                    <a:pt x="288" y="306"/>
                  </a:lnTo>
                  <a:lnTo>
                    <a:pt x="300" y="312"/>
                  </a:lnTo>
                  <a:lnTo>
                    <a:pt x="306" y="318"/>
                  </a:lnTo>
                  <a:lnTo>
                    <a:pt x="324" y="324"/>
                  </a:lnTo>
                  <a:lnTo>
                    <a:pt x="354" y="318"/>
                  </a:lnTo>
                  <a:lnTo>
                    <a:pt x="354" y="312"/>
                  </a:lnTo>
                  <a:lnTo>
                    <a:pt x="366" y="312"/>
                  </a:lnTo>
                  <a:lnTo>
                    <a:pt x="384" y="312"/>
                  </a:lnTo>
                  <a:lnTo>
                    <a:pt x="390" y="306"/>
                  </a:lnTo>
                  <a:lnTo>
                    <a:pt x="396" y="306"/>
                  </a:lnTo>
                  <a:lnTo>
                    <a:pt x="408" y="306"/>
                  </a:lnTo>
                  <a:lnTo>
                    <a:pt x="426" y="312"/>
                  </a:lnTo>
                  <a:lnTo>
                    <a:pt x="456" y="324"/>
                  </a:lnTo>
                  <a:lnTo>
                    <a:pt x="504" y="330"/>
                  </a:lnTo>
                  <a:lnTo>
                    <a:pt x="510" y="336"/>
                  </a:lnTo>
                  <a:lnTo>
                    <a:pt x="534" y="336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58" y="330"/>
                  </a:lnTo>
                  <a:lnTo>
                    <a:pt x="564" y="330"/>
                  </a:lnTo>
                  <a:lnTo>
                    <a:pt x="570" y="354"/>
                  </a:lnTo>
                  <a:lnTo>
                    <a:pt x="564" y="378"/>
                  </a:lnTo>
                  <a:lnTo>
                    <a:pt x="558" y="396"/>
                  </a:lnTo>
                  <a:lnTo>
                    <a:pt x="546" y="414"/>
                  </a:lnTo>
                  <a:lnTo>
                    <a:pt x="546" y="438"/>
                  </a:lnTo>
                  <a:lnTo>
                    <a:pt x="540" y="456"/>
                  </a:lnTo>
                  <a:lnTo>
                    <a:pt x="540" y="474"/>
                  </a:lnTo>
                  <a:lnTo>
                    <a:pt x="528" y="480"/>
                  </a:lnTo>
                  <a:lnTo>
                    <a:pt x="522" y="492"/>
                  </a:lnTo>
                  <a:lnTo>
                    <a:pt x="504" y="498"/>
                  </a:lnTo>
                  <a:lnTo>
                    <a:pt x="498" y="498"/>
                  </a:lnTo>
                  <a:lnTo>
                    <a:pt x="492" y="504"/>
                  </a:lnTo>
                  <a:lnTo>
                    <a:pt x="486" y="510"/>
                  </a:lnTo>
                  <a:lnTo>
                    <a:pt x="480" y="510"/>
                  </a:lnTo>
                  <a:lnTo>
                    <a:pt x="480" y="516"/>
                  </a:lnTo>
                  <a:lnTo>
                    <a:pt x="474" y="522"/>
                  </a:lnTo>
                  <a:lnTo>
                    <a:pt x="474" y="528"/>
                  </a:lnTo>
                  <a:lnTo>
                    <a:pt x="474" y="534"/>
                  </a:lnTo>
                  <a:lnTo>
                    <a:pt x="480" y="540"/>
                  </a:lnTo>
                  <a:lnTo>
                    <a:pt x="492" y="540"/>
                  </a:lnTo>
                  <a:lnTo>
                    <a:pt x="498" y="546"/>
                  </a:lnTo>
                  <a:lnTo>
                    <a:pt x="504" y="552"/>
                  </a:lnTo>
                  <a:lnTo>
                    <a:pt x="510" y="552"/>
                  </a:lnTo>
                  <a:lnTo>
                    <a:pt x="516" y="558"/>
                  </a:lnTo>
                  <a:lnTo>
                    <a:pt x="528" y="558"/>
                  </a:lnTo>
                  <a:lnTo>
                    <a:pt x="534" y="552"/>
                  </a:lnTo>
                  <a:lnTo>
                    <a:pt x="540" y="552"/>
                  </a:lnTo>
                  <a:lnTo>
                    <a:pt x="546" y="552"/>
                  </a:lnTo>
                  <a:lnTo>
                    <a:pt x="558" y="546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70" y="546"/>
                  </a:lnTo>
                  <a:lnTo>
                    <a:pt x="570" y="540"/>
                  </a:lnTo>
                  <a:lnTo>
                    <a:pt x="570" y="546"/>
                  </a:lnTo>
                  <a:lnTo>
                    <a:pt x="576" y="546"/>
                  </a:lnTo>
                  <a:lnTo>
                    <a:pt x="582" y="546"/>
                  </a:lnTo>
                  <a:lnTo>
                    <a:pt x="588" y="540"/>
                  </a:lnTo>
                  <a:lnTo>
                    <a:pt x="594" y="546"/>
                  </a:lnTo>
                  <a:lnTo>
                    <a:pt x="606" y="546"/>
                  </a:lnTo>
                  <a:lnTo>
                    <a:pt x="612" y="546"/>
                  </a:lnTo>
                  <a:lnTo>
                    <a:pt x="612" y="552"/>
                  </a:lnTo>
                  <a:lnTo>
                    <a:pt x="618" y="552"/>
                  </a:lnTo>
                  <a:lnTo>
                    <a:pt x="624" y="552"/>
                  </a:lnTo>
                  <a:lnTo>
                    <a:pt x="630" y="552"/>
                  </a:lnTo>
                  <a:lnTo>
                    <a:pt x="648" y="546"/>
                  </a:lnTo>
                  <a:lnTo>
                    <a:pt x="654" y="546"/>
                  </a:lnTo>
                  <a:lnTo>
                    <a:pt x="654" y="552"/>
                  </a:lnTo>
                  <a:lnTo>
                    <a:pt x="660" y="558"/>
                  </a:lnTo>
                  <a:lnTo>
                    <a:pt x="666" y="564"/>
                  </a:lnTo>
                  <a:lnTo>
                    <a:pt x="672" y="564"/>
                  </a:lnTo>
                  <a:lnTo>
                    <a:pt x="678" y="564"/>
                  </a:lnTo>
                  <a:lnTo>
                    <a:pt x="696" y="576"/>
                  </a:lnTo>
                  <a:lnTo>
                    <a:pt x="696" y="582"/>
                  </a:lnTo>
                  <a:lnTo>
                    <a:pt x="708" y="588"/>
                  </a:lnTo>
                  <a:lnTo>
                    <a:pt x="708" y="594"/>
                  </a:lnTo>
                  <a:lnTo>
                    <a:pt x="720" y="606"/>
                  </a:lnTo>
                  <a:lnTo>
                    <a:pt x="720" y="618"/>
                  </a:lnTo>
                  <a:lnTo>
                    <a:pt x="720" y="624"/>
                  </a:lnTo>
                  <a:lnTo>
                    <a:pt x="726" y="630"/>
                  </a:lnTo>
                  <a:lnTo>
                    <a:pt x="732" y="636"/>
                  </a:lnTo>
                  <a:lnTo>
                    <a:pt x="732" y="642"/>
                  </a:lnTo>
                  <a:lnTo>
                    <a:pt x="732" y="648"/>
                  </a:lnTo>
                  <a:lnTo>
                    <a:pt x="726" y="654"/>
                  </a:lnTo>
                  <a:lnTo>
                    <a:pt x="720" y="660"/>
                  </a:lnTo>
                  <a:lnTo>
                    <a:pt x="714" y="666"/>
                  </a:lnTo>
                  <a:lnTo>
                    <a:pt x="714" y="672"/>
                  </a:lnTo>
                  <a:lnTo>
                    <a:pt x="714" y="678"/>
                  </a:lnTo>
                  <a:lnTo>
                    <a:pt x="720" y="678"/>
                  </a:lnTo>
                  <a:lnTo>
                    <a:pt x="720" y="684"/>
                  </a:lnTo>
                  <a:lnTo>
                    <a:pt x="714" y="690"/>
                  </a:lnTo>
                  <a:lnTo>
                    <a:pt x="714" y="696"/>
                  </a:lnTo>
                  <a:lnTo>
                    <a:pt x="714" y="702"/>
                  </a:lnTo>
                  <a:lnTo>
                    <a:pt x="714" y="708"/>
                  </a:lnTo>
                  <a:lnTo>
                    <a:pt x="720" y="708"/>
                  </a:lnTo>
                  <a:lnTo>
                    <a:pt x="720" y="720"/>
                  </a:lnTo>
                  <a:lnTo>
                    <a:pt x="720" y="726"/>
                  </a:lnTo>
                  <a:lnTo>
                    <a:pt x="726" y="726"/>
                  </a:lnTo>
                  <a:lnTo>
                    <a:pt x="726" y="732"/>
                  </a:lnTo>
                  <a:lnTo>
                    <a:pt x="732" y="732"/>
                  </a:lnTo>
                  <a:lnTo>
                    <a:pt x="732" y="738"/>
                  </a:lnTo>
                  <a:lnTo>
                    <a:pt x="726" y="738"/>
                  </a:lnTo>
                  <a:lnTo>
                    <a:pt x="720" y="738"/>
                  </a:lnTo>
                  <a:lnTo>
                    <a:pt x="720" y="744"/>
                  </a:lnTo>
                  <a:lnTo>
                    <a:pt x="720" y="750"/>
                  </a:lnTo>
                  <a:lnTo>
                    <a:pt x="714" y="750"/>
                  </a:lnTo>
                  <a:lnTo>
                    <a:pt x="714" y="756"/>
                  </a:lnTo>
                  <a:lnTo>
                    <a:pt x="720" y="756"/>
                  </a:lnTo>
                  <a:lnTo>
                    <a:pt x="714" y="762"/>
                  </a:lnTo>
                  <a:lnTo>
                    <a:pt x="720" y="762"/>
                  </a:lnTo>
                  <a:lnTo>
                    <a:pt x="726" y="768"/>
                  </a:lnTo>
                  <a:lnTo>
                    <a:pt x="726" y="774"/>
                  </a:lnTo>
                  <a:lnTo>
                    <a:pt x="732" y="774"/>
                  </a:lnTo>
                  <a:lnTo>
                    <a:pt x="732" y="780"/>
                  </a:lnTo>
                  <a:lnTo>
                    <a:pt x="726" y="780"/>
                  </a:lnTo>
                  <a:lnTo>
                    <a:pt x="726" y="786"/>
                  </a:lnTo>
                  <a:lnTo>
                    <a:pt x="720" y="786"/>
                  </a:lnTo>
                  <a:lnTo>
                    <a:pt x="726" y="786"/>
                  </a:lnTo>
                  <a:lnTo>
                    <a:pt x="732" y="780"/>
                  </a:lnTo>
                  <a:lnTo>
                    <a:pt x="738" y="780"/>
                  </a:lnTo>
                  <a:lnTo>
                    <a:pt x="744" y="780"/>
                  </a:lnTo>
                  <a:lnTo>
                    <a:pt x="744" y="786"/>
                  </a:lnTo>
                  <a:lnTo>
                    <a:pt x="750" y="786"/>
                  </a:lnTo>
                  <a:lnTo>
                    <a:pt x="744" y="786"/>
                  </a:lnTo>
                  <a:lnTo>
                    <a:pt x="744" y="792"/>
                  </a:lnTo>
                  <a:lnTo>
                    <a:pt x="744" y="786"/>
                  </a:lnTo>
                  <a:lnTo>
                    <a:pt x="738" y="792"/>
                  </a:lnTo>
                  <a:lnTo>
                    <a:pt x="744" y="792"/>
                  </a:lnTo>
                  <a:lnTo>
                    <a:pt x="750" y="792"/>
                  </a:lnTo>
                  <a:lnTo>
                    <a:pt x="750" y="786"/>
                  </a:lnTo>
                  <a:lnTo>
                    <a:pt x="756" y="786"/>
                  </a:lnTo>
                  <a:lnTo>
                    <a:pt x="756" y="792"/>
                  </a:lnTo>
                  <a:lnTo>
                    <a:pt x="762" y="792"/>
                  </a:lnTo>
                  <a:lnTo>
                    <a:pt x="756" y="798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0" y="810"/>
                  </a:lnTo>
                  <a:lnTo>
                    <a:pt x="756" y="810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6" y="816"/>
                  </a:lnTo>
                  <a:lnTo>
                    <a:pt x="750" y="816"/>
                  </a:lnTo>
                  <a:lnTo>
                    <a:pt x="738" y="810"/>
                  </a:lnTo>
                  <a:lnTo>
                    <a:pt x="732" y="810"/>
                  </a:lnTo>
                  <a:lnTo>
                    <a:pt x="732" y="816"/>
                  </a:lnTo>
                  <a:lnTo>
                    <a:pt x="726" y="810"/>
                  </a:lnTo>
                  <a:lnTo>
                    <a:pt x="714" y="816"/>
                  </a:lnTo>
                  <a:lnTo>
                    <a:pt x="708" y="816"/>
                  </a:lnTo>
                  <a:lnTo>
                    <a:pt x="702" y="816"/>
                  </a:lnTo>
                  <a:lnTo>
                    <a:pt x="696" y="816"/>
                  </a:lnTo>
                  <a:lnTo>
                    <a:pt x="690" y="822"/>
                  </a:lnTo>
                  <a:lnTo>
                    <a:pt x="684" y="822"/>
                  </a:lnTo>
                  <a:lnTo>
                    <a:pt x="678" y="822"/>
                  </a:lnTo>
                  <a:lnTo>
                    <a:pt x="672" y="822"/>
                  </a:lnTo>
                  <a:lnTo>
                    <a:pt x="666" y="822"/>
                  </a:lnTo>
                  <a:lnTo>
                    <a:pt x="666" y="828"/>
                  </a:lnTo>
                  <a:lnTo>
                    <a:pt x="654" y="828"/>
                  </a:lnTo>
                  <a:lnTo>
                    <a:pt x="648" y="828"/>
                  </a:lnTo>
                  <a:lnTo>
                    <a:pt x="642" y="828"/>
                  </a:lnTo>
                  <a:lnTo>
                    <a:pt x="630" y="828"/>
                  </a:lnTo>
                  <a:lnTo>
                    <a:pt x="624" y="822"/>
                  </a:lnTo>
                  <a:lnTo>
                    <a:pt x="618" y="822"/>
                  </a:lnTo>
                  <a:lnTo>
                    <a:pt x="612" y="822"/>
                  </a:lnTo>
                  <a:lnTo>
                    <a:pt x="606" y="822"/>
                  </a:lnTo>
                  <a:lnTo>
                    <a:pt x="600" y="822"/>
                  </a:lnTo>
                  <a:lnTo>
                    <a:pt x="594" y="822"/>
                  </a:lnTo>
                  <a:lnTo>
                    <a:pt x="594" y="816"/>
                  </a:lnTo>
                  <a:lnTo>
                    <a:pt x="594" y="810"/>
                  </a:lnTo>
                  <a:lnTo>
                    <a:pt x="600" y="804"/>
                  </a:lnTo>
                  <a:lnTo>
                    <a:pt x="600" y="798"/>
                  </a:lnTo>
                  <a:lnTo>
                    <a:pt x="600" y="792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2" y="786"/>
                  </a:lnTo>
                  <a:lnTo>
                    <a:pt x="618" y="786"/>
                  </a:lnTo>
                  <a:lnTo>
                    <a:pt x="624" y="786"/>
                  </a:lnTo>
                  <a:lnTo>
                    <a:pt x="624" y="780"/>
                  </a:lnTo>
                  <a:lnTo>
                    <a:pt x="630" y="780"/>
                  </a:lnTo>
                  <a:lnTo>
                    <a:pt x="630" y="774"/>
                  </a:lnTo>
                  <a:lnTo>
                    <a:pt x="636" y="774"/>
                  </a:lnTo>
                  <a:lnTo>
                    <a:pt x="642" y="780"/>
                  </a:lnTo>
                  <a:lnTo>
                    <a:pt x="642" y="786"/>
                  </a:lnTo>
                  <a:lnTo>
                    <a:pt x="642" y="792"/>
                  </a:lnTo>
                  <a:lnTo>
                    <a:pt x="648" y="792"/>
                  </a:lnTo>
                  <a:lnTo>
                    <a:pt x="648" y="786"/>
                  </a:lnTo>
                  <a:lnTo>
                    <a:pt x="642" y="786"/>
                  </a:lnTo>
                  <a:lnTo>
                    <a:pt x="642" y="780"/>
                  </a:lnTo>
                  <a:lnTo>
                    <a:pt x="642" y="774"/>
                  </a:lnTo>
                  <a:lnTo>
                    <a:pt x="648" y="768"/>
                  </a:lnTo>
                  <a:lnTo>
                    <a:pt x="642" y="768"/>
                  </a:lnTo>
                  <a:lnTo>
                    <a:pt x="648" y="768"/>
                  </a:lnTo>
                  <a:lnTo>
                    <a:pt x="648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66" y="762"/>
                  </a:lnTo>
                  <a:lnTo>
                    <a:pt x="672" y="756"/>
                  </a:lnTo>
                  <a:lnTo>
                    <a:pt x="666" y="756"/>
                  </a:lnTo>
                  <a:lnTo>
                    <a:pt x="660" y="756"/>
                  </a:lnTo>
                  <a:lnTo>
                    <a:pt x="660" y="750"/>
                  </a:lnTo>
                  <a:lnTo>
                    <a:pt x="654" y="750"/>
                  </a:lnTo>
                  <a:lnTo>
                    <a:pt x="648" y="750"/>
                  </a:lnTo>
                  <a:lnTo>
                    <a:pt x="648" y="756"/>
                  </a:lnTo>
                  <a:lnTo>
                    <a:pt x="642" y="756"/>
                  </a:lnTo>
                  <a:lnTo>
                    <a:pt x="642" y="750"/>
                  </a:lnTo>
                  <a:lnTo>
                    <a:pt x="642" y="744"/>
                  </a:lnTo>
                  <a:lnTo>
                    <a:pt x="642" y="750"/>
                  </a:lnTo>
                  <a:lnTo>
                    <a:pt x="636" y="750"/>
                  </a:lnTo>
                  <a:lnTo>
                    <a:pt x="636" y="744"/>
                  </a:lnTo>
                  <a:lnTo>
                    <a:pt x="630" y="744"/>
                  </a:lnTo>
                  <a:lnTo>
                    <a:pt x="630" y="738"/>
                  </a:lnTo>
                  <a:lnTo>
                    <a:pt x="630" y="744"/>
                  </a:lnTo>
                  <a:lnTo>
                    <a:pt x="630" y="750"/>
                  </a:lnTo>
                  <a:lnTo>
                    <a:pt x="636" y="750"/>
                  </a:lnTo>
                  <a:lnTo>
                    <a:pt x="636" y="756"/>
                  </a:lnTo>
                  <a:lnTo>
                    <a:pt x="630" y="756"/>
                  </a:lnTo>
                  <a:lnTo>
                    <a:pt x="636" y="762"/>
                  </a:lnTo>
                  <a:lnTo>
                    <a:pt x="630" y="762"/>
                  </a:lnTo>
                  <a:lnTo>
                    <a:pt x="624" y="762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24" y="786"/>
                  </a:lnTo>
                  <a:lnTo>
                    <a:pt x="618" y="786"/>
                  </a:lnTo>
                  <a:lnTo>
                    <a:pt x="618" y="78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12" y="774"/>
                  </a:lnTo>
                  <a:lnTo>
                    <a:pt x="612" y="780"/>
                  </a:lnTo>
                  <a:lnTo>
                    <a:pt x="606" y="780"/>
                  </a:lnTo>
                  <a:lnTo>
                    <a:pt x="600" y="780"/>
                  </a:lnTo>
                  <a:lnTo>
                    <a:pt x="600" y="774"/>
                  </a:lnTo>
                  <a:lnTo>
                    <a:pt x="594" y="768"/>
                  </a:lnTo>
                  <a:lnTo>
                    <a:pt x="594" y="762"/>
                  </a:lnTo>
                  <a:lnTo>
                    <a:pt x="594" y="756"/>
                  </a:lnTo>
                  <a:lnTo>
                    <a:pt x="594" y="762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594" y="780"/>
                  </a:lnTo>
                  <a:lnTo>
                    <a:pt x="588" y="780"/>
                  </a:lnTo>
                  <a:lnTo>
                    <a:pt x="582" y="780"/>
                  </a:lnTo>
                  <a:lnTo>
                    <a:pt x="576" y="780"/>
                  </a:lnTo>
                  <a:lnTo>
                    <a:pt x="570" y="780"/>
                  </a:lnTo>
                  <a:lnTo>
                    <a:pt x="564" y="780"/>
                  </a:lnTo>
                  <a:lnTo>
                    <a:pt x="564" y="786"/>
                  </a:lnTo>
                  <a:lnTo>
                    <a:pt x="558" y="786"/>
                  </a:lnTo>
                  <a:lnTo>
                    <a:pt x="552" y="786"/>
                  </a:lnTo>
                  <a:lnTo>
                    <a:pt x="552" y="780"/>
                  </a:lnTo>
                  <a:lnTo>
                    <a:pt x="552" y="774"/>
                  </a:lnTo>
                  <a:lnTo>
                    <a:pt x="552" y="768"/>
                  </a:lnTo>
                  <a:lnTo>
                    <a:pt x="546" y="768"/>
                  </a:lnTo>
                  <a:lnTo>
                    <a:pt x="540" y="762"/>
                  </a:lnTo>
                  <a:lnTo>
                    <a:pt x="540" y="756"/>
                  </a:lnTo>
                  <a:lnTo>
                    <a:pt x="534" y="756"/>
                  </a:lnTo>
                  <a:lnTo>
                    <a:pt x="534" y="750"/>
                  </a:lnTo>
                  <a:lnTo>
                    <a:pt x="534" y="744"/>
                  </a:lnTo>
                  <a:lnTo>
                    <a:pt x="528" y="738"/>
                  </a:lnTo>
                  <a:lnTo>
                    <a:pt x="522" y="738"/>
                  </a:lnTo>
                  <a:lnTo>
                    <a:pt x="522" y="732"/>
                  </a:lnTo>
                  <a:lnTo>
                    <a:pt x="510" y="726"/>
                  </a:lnTo>
                  <a:lnTo>
                    <a:pt x="510" y="720"/>
                  </a:lnTo>
                  <a:lnTo>
                    <a:pt x="504" y="720"/>
                  </a:lnTo>
                  <a:lnTo>
                    <a:pt x="504" y="714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8" y="702"/>
                  </a:lnTo>
                  <a:lnTo>
                    <a:pt x="498" y="696"/>
                  </a:lnTo>
                  <a:lnTo>
                    <a:pt x="492" y="690"/>
                  </a:lnTo>
                  <a:lnTo>
                    <a:pt x="492" y="684"/>
                  </a:lnTo>
                  <a:lnTo>
                    <a:pt x="486" y="684"/>
                  </a:lnTo>
                  <a:lnTo>
                    <a:pt x="486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74" y="678"/>
                  </a:lnTo>
                  <a:lnTo>
                    <a:pt x="468" y="678"/>
                  </a:lnTo>
                  <a:lnTo>
                    <a:pt x="462" y="678"/>
                  </a:lnTo>
                  <a:lnTo>
                    <a:pt x="462" y="672"/>
                  </a:lnTo>
                  <a:lnTo>
                    <a:pt x="456" y="672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44" y="666"/>
                  </a:lnTo>
                  <a:lnTo>
                    <a:pt x="438" y="660"/>
                  </a:lnTo>
                  <a:lnTo>
                    <a:pt x="438" y="648"/>
                  </a:lnTo>
                  <a:lnTo>
                    <a:pt x="438" y="642"/>
                  </a:lnTo>
                  <a:lnTo>
                    <a:pt x="438" y="636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36"/>
                  </a:lnTo>
                  <a:lnTo>
                    <a:pt x="420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60"/>
                  </a:lnTo>
                  <a:lnTo>
                    <a:pt x="432" y="666"/>
                  </a:lnTo>
                  <a:lnTo>
                    <a:pt x="438" y="666"/>
                  </a:lnTo>
                  <a:lnTo>
                    <a:pt x="438" y="672"/>
                  </a:lnTo>
                  <a:lnTo>
                    <a:pt x="444" y="672"/>
                  </a:lnTo>
                  <a:lnTo>
                    <a:pt x="444" y="678"/>
                  </a:lnTo>
                  <a:lnTo>
                    <a:pt x="450" y="678"/>
                  </a:lnTo>
                  <a:lnTo>
                    <a:pt x="456" y="678"/>
                  </a:lnTo>
                  <a:lnTo>
                    <a:pt x="456" y="684"/>
                  </a:lnTo>
                  <a:lnTo>
                    <a:pt x="462" y="684"/>
                  </a:lnTo>
                  <a:lnTo>
                    <a:pt x="468" y="684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80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86" y="708"/>
                  </a:lnTo>
                  <a:lnTo>
                    <a:pt x="492" y="714"/>
                  </a:lnTo>
                  <a:lnTo>
                    <a:pt x="492" y="720"/>
                  </a:lnTo>
                  <a:lnTo>
                    <a:pt x="492" y="726"/>
                  </a:lnTo>
                  <a:lnTo>
                    <a:pt x="498" y="732"/>
                  </a:lnTo>
                  <a:lnTo>
                    <a:pt x="492" y="738"/>
                  </a:lnTo>
                  <a:lnTo>
                    <a:pt x="492" y="744"/>
                  </a:lnTo>
                  <a:lnTo>
                    <a:pt x="492" y="750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68" y="738"/>
                  </a:lnTo>
                  <a:lnTo>
                    <a:pt x="468" y="744"/>
                  </a:lnTo>
                  <a:lnTo>
                    <a:pt x="474" y="750"/>
                  </a:lnTo>
                  <a:lnTo>
                    <a:pt x="480" y="756"/>
                  </a:lnTo>
                  <a:lnTo>
                    <a:pt x="486" y="756"/>
                  </a:lnTo>
                  <a:lnTo>
                    <a:pt x="492" y="762"/>
                  </a:lnTo>
                  <a:lnTo>
                    <a:pt x="498" y="768"/>
                  </a:lnTo>
                  <a:lnTo>
                    <a:pt x="492" y="774"/>
                  </a:lnTo>
                  <a:lnTo>
                    <a:pt x="492" y="780"/>
                  </a:lnTo>
                  <a:lnTo>
                    <a:pt x="498" y="780"/>
                  </a:lnTo>
                  <a:lnTo>
                    <a:pt x="492" y="786"/>
                  </a:lnTo>
                  <a:lnTo>
                    <a:pt x="492" y="792"/>
                  </a:lnTo>
                  <a:lnTo>
                    <a:pt x="492" y="79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0" y="810"/>
                  </a:lnTo>
                  <a:lnTo>
                    <a:pt x="480" y="804"/>
                  </a:lnTo>
                  <a:lnTo>
                    <a:pt x="474" y="804"/>
                  </a:lnTo>
                  <a:lnTo>
                    <a:pt x="474" y="798"/>
                  </a:lnTo>
                  <a:lnTo>
                    <a:pt x="474" y="804"/>
                  </a:lnTo>
                  <a:lnTo>
                    <a:pt x="468" y="804"/>
                  </a:lnTo>
                  <a:lnTo>
                    <a:pt x="468" y="810"/>
                  </a:lnTo>
                  <a:lnTo>
                    <a:pt x="462" y="810"/>
                  </a:lnTo>
                  <a:lnTo>
                    <a:pt x="456" y="810"/>
                  </a:lnTo>
                  <a:lnTo>
                    <a:pt x="450" y="810"/>
                  </a:lnTo>
                  <a:lnTo>
                    <a:pt x="450" y="816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50" y="822"/>
                  </a:lnTo>
                  <a:lnTo>
                    <a:pt x="450" y="816"/>
                  </a:lnTo>
                  <a:lnTo>
                    <a:pt x="444" y="816"/>
                  </a:lnTo>
                  <a:lnTo>
                    <a:pt x="438" y="810"/>
                  </a:lnTo>
                  <a:lnTo>
                    <a:pt x="432" y="810"/>
                  </a:lnTo>
                  <a:lnTo>
                    <a:pt x="426" y="804"/>
                  </a:lnTo>
                  <a:lnTo>
                    <a:pt x="426" y="798"/>
                  </a:lnTo>
                  <a:lnTo>
                    <a:pt x="420" y="798"/>
                  </a:lnTo>
                  <a:lnTo>
                    <a:pt x="426" y="798"/>
                  </a:lnTo>
                  <a:lnTo>
                    <a:pt x="426" y="792"/>
                  </a:lnTo>
                  <a:lnTo>
                    <a:pt x="426" y="786"/>
                  </a:lnTo>
                  <a:lnTo>
                    <a:pt x="432" y="786"/>
                  </a:lnTo>
                  <a:lnTo>
                    <a:pt x="432" y="780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0" y="756"/>
                  </a:lnTo>
                  <a:lnTo>
                    <a:pt x="420" y="750"/>
                  </a:lnTo>
                  <a:lnTo>
                    <a:pt x="414" y="750"/>
                  </a:lnTo>
                  <a:lnTo>
                    <a:pt x="420" y="750"/>
                  </a:lnTo>
                  <a:lnTo>
                    <a:pt x="420" y="744"/>
                  </a:lnTo>
                  <a:lnTo>
                    <a:pt x="414" y="744"/>
                  </a:lnTo>
                  <a:lnTo>
                    <a:pt x="414" y="738"/>
                  </a:lnTo>
                  <a:lnTo>
                    <a:pt x="414" y="732"/>
                  </a:lnTo>
                  <a:lnTo>
                    <a:pt x="408" y="732"/>
                  </a:lnTo>
                  <a:lnTo>
                    <a:pt x="408" y="726"/>
                  </a:lnTo>
                  <a:lnTo>
                    <a:pt x="402" y="726"/>
                  </a:lnTo>
                  <a:lnTo>
                    <a:pt x="396" y="726"/>
                  </a:lnTo>
                  <a:lnTo>
                    <a:pt x="390" y="726"/>
                  </a:lnTo>
                  <a:lnTo>
                    <a:pt x="390" y="720"/>
                  </a:lnTo>
                  <a:lnTo>
                    <a:pt x="390" y="714"/>
                  </a:lnTo>
                  <a:lnTo>
                    <a:pt x="384" y="708"/>
                  </a:lnTo>
                  <a:lnTo>
                    <a:pt x="384" y="702"/>
                  </a:lnTo>
                  <a:lnTo>
                    <a:pt x="378" y="702"/>
                  </a:lnTo>
                  <a:lnTo>
                    <a:pt x="378" y="696"/>
                  </a:lnTo>
                  <a:lnTo>
                    <a:pt x="378" y="690"/>
                  </a:lnTo>
                  <a:lnTo>
                    <a:pt x="372" y="684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66" y="666"/>
                  </a:lnTo>
                  <a:lnTo>
                    <a:pt x="366" y="660"/>
                  </a:lnTo>
                  <a:lnTo>
                    <a:pt x="366" y="654"/>
                  </a:lnTo>
                  <a:lnTo>
                    <a:pt x="360" y="648"/>
                  </a:lnTo>
                  <a:lnTo>
                    <a:pt x="360" y="654"/>
                  </a:lnTo>
                  <a:lnTo>
                    <a:pt x="360" y="660"/>
                  </a:lnTo>
                  <a:lnTo>
                    <a:pt x="360" y="666"/>
                  </a:lnTo>
                  <a:lnTo>
                    <a:pt x="360" y="672"/>
                  </a:lnTo>
                  <a:lnTo>
                    <a:pt x="360" y="678"/>
                  </a:lnTo>
                  <a:lnTo>
                    <a:pt x="366" y="678"/>
                  </a:lnTo>
                  <a:lnTo>
                    <a:pt x="366" y="684"/>
                  </a:lnTo>
                  <a:lnTo>
                    <a:pt x="366" y="690"/>
                  </a:lnTo>
                  <a:lnTo>
                    <a:pt x="372" y="696"/>
                  </a:lnTo>
                  <a:lnTo>
                    <a:pt x="372" y="702"/>
                  </a:lnTo>
                  <a:lnTo>
                    <a:pt x="372" y="708"/>
                  </a:lnTo>
                  <a:lnTo>
                    <a:pt x="372" y="714"/>
                  </a:lnTo>
                  <a:lnTo>
                    <a:pt x="366" y="714"/>
                  </a:lnTo>
                  <a:lnTo>
                    <a:pt x="360" y="714"/>
                  </a:lnTo>
                  <a:lnTo>
                    <a:pt x="354" y="714"/>
                  </a:lnTo>
                  <a:lnTo>
                    <a:pt x="348" y="714"/>
                  </a:lnTo>
                  <a:lnTo>
                    <a:pt x="348" y="708"/>
                  </a:lnTo>
                  <a:lnTo>
                    <a:pt x="342" y="708"/>
                  </a:lnTo>
                  <a:lnTo>
                    <a:pt x="342" y="702"/>
                  </a:lnTo>
                  <a:lnTo>
                    <a:pt x="342" y="696"/>
                  </a:lnTo>
                  <a:lnTo>
                    <a:pt x="336" y="696"/>
                  </a:lnTo>
                  <a:lnTo>
                    <a:pt x="336" y="690"/>
                  </a:lnTo>
                  <a:lnTo>
                    <a:pt x="336" y="684"/>
                  </a:lnTo>
                  <a:lnTo>
                    <a:pt x="330" y="684"/>
                  </a:lnTo>
                  <a:lnTo>
                    <a:pt x="330" y="678"/>
                  </a:lnTo>
                  <a:lnTo>
                    <a:pt x="324" y="672"/>
                  </a:lnTo>
                  <a:lnTo>
                    <a:pt x="324" y="666"/>
                  </a:lnTo>
                  <a:lnTo>
                    <a:pt x="318" y="666"/>
                  </a:lnTo>
                  <a:lnTo>
                    <a:pt x="318" y="672"/>
                  </a:lnTo>
                  <a:lnTo>
                    <a:pt x="324" y="672"/>
                  </a:lnTo>
                  <a:lnTo>
                    <a:pt x="324" y="678"/>
                  </a:lnTo>
                  <a:lnTo>
                    <a:pt x="324" y="684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30" y="696"/>
                  </a:lnTo>
                  <a:lnTo>
                    <a:pt x="336" y="702"/>
                  </a:lnTo>
                  <a:lnTo>
                    <a:pt x="342" y="708"/>
                  </a:lnTo>
                  <a:lnTo>
                    <a:pt x="342" y="714"/>
                  </a:lnTo>
                  <a:lnTo>
                    <a:pt x="348" y="720"/>
                  </a:lnTo>
                  <a:lnTo>
                    <a:pt x="342" y="720"/>
                  </a:lnTo>
                  <a:lnTo>
                    <a:pt x="336" y="720"/>
                  </a:lnTo>
                  <a:lnTo>
                    <a:pt x="330" y="720"/>
                  </a:lnTo>
                  <a:lnTo>
                    <a:pt x="330" y="726"/>
                  </a:lnTo>
                  <a:lnTo>
                    <a:pt x="336" y="726"/>
                  </a:lnTo>
                  <a:lnTo>
                    <a:pt x="330" y="732"/>
                  </a:lnTo>
                  <a:lnTo>
                    <a:pt x="330" y="738"/>
                  </a:lnTo>
                  <a:lnTo>
                    <a:pt x="330" y="744"/>
                  </a:lnTo>
                  <a:lnTo>
                    <a:pt x="336" y="744"/>
                  </a:lnTo>
                  <a:lnTo>
                    <a:pt x="342" y="744"/>
                  </a:lnTo>
                  <a:lnTo>
                    <a:pt x="348" y="744"/>
                  </a:lnTo>
                  <a:lnTo>
                    <a:pt x="348" y="750"/>
                  </a:lnTo>
                  <a:lnTo>
                    <a:pt x="354" y="750"/>
                  </a:lnTo>
                  <a:lnTo>
                    <a:pt x="360" y="756"/>
                  </a:lnTo>
                  <a:lnTo>
                    <a:pt x="360" y="762"/>
                  </a:lnTo>
                  <a:lnTo>
                    <a:pt x="366" y="762"/>
                  </a:lnTo>
                  <a:lnTo>
                    <a:pt x="366" y="768"/>
                  </a:lnTo>
                  <a:lnTo>
                    <a:pt x="366" y="774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72" y="792"/>
                  </a:lnTo>
                  <a:lnTo>
                    <a:pt x="372" y="798"/>
                  </a:lnTo>
                  <a:lnTo>
                    <a:pt x="372" y="804"/>
                  </a:lnTo>
                  <a:lnTo>
                    <a:pt x="378" y="804"/>
                  </a:lnTo>
                  <a:lnTo>
                    <a:pt x="378" y="810"/>
                  </a:lnTo>
                  <a:lnTo>
                    <a:pt x="378" y="816"/>
                  </a:lnTo>
                  <a:lnTo>
                    <a:pt x="372" y="816"/>
                  </a:lnTo>
                  <a:lnTo>
                    <a:pt x="378" y="816"/>
                  </a:lnTo>
                  <a:lnTo>
                    <a:pt x="378" y="822"/>
                  </a:lnTo>
                  <a:lnTo>
                    <a:pt x="378" y="828"/>
                  </a:lnTo>
                  <a:lnTo>
                    <a:pt x="378" y="834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0" y="864"/>
                  </a:lnTo>
                  <a:lnTo>
                    <a:pt x="384" y="864"/>
                  </a:lnTo>
                  <a:lnTo>
                    <a:pt x="384" y="870"/>
                  </a:lnTo>
                  <a:lnTo>
                    <a:pt x="378" y="864"/>
                  </a:lnTo>
                  <a:lnTo>
                    <a:pt x="372" y="864"/>
                  </a:lnTo>
                  <a:lnTo>
                    <a:pt x="366" y="858"/>
                  </a:lnTo>
                  <a:lnTo>
                    <a:pt x="366" y="852"/>
                  </a:lnTo>
                  <a:lnTo>
                    <a:pt x="360" y="852"/>
                  </a:lnTo>
                  <a:lnTo>
                    <a:pt x="360" y="858"/>
                  </a:lnTo>
                  <a:lnTo>
                    <a:pt x="366" y="858"/>
                  </a:lnTo>
                  <a:lnTo>
                    <a:pt x="366" y="864"/>
                  </a:lnTo>
                  <a:lnTo>
                    <a:pt x="360" y="864"/>
                  </a:lnTo>
                  <a:lnTo>
                    <a:pt x="354" y="864"/>
                  </a:lnTo>
                  <a:lnTo>
                    <a:pt x="354" y="870"/>
                  </a:lnTo>
                  <a:lnTo>
                    <a:pt x="354" y="864"/>
                  </a:lnTo>
                  <a:lnTo>
                    <a:pt x="348" y="864"/>
                  </a:lnTo>
                  <a:lnTo>
                    <a:pt x="342" y="864"/>
                  </a:lnTo>
                  <a:lnTo>
                    <a:pt x="342" y="858"/>
                  </a:lnTo>
                  <a:lnTo>
                    <a:pt x="336" y="858"/>
                  </a:lnTo>
                  <a:lnTo>
                    <a:pt x="330" y="858"/>
                  </a:lnTo>
                  <a:lnTo>
                    <a:pt x="324" y="858"/>
                  </a:lnTo>
                  <a:lnTo>
                    <a:pt x="318" y="858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0" y="852"/>
                  </a:lnTo>
                  <a:lnTo>
                    <a:pt x="294" y="852"/>
                  </a:lnTo>
                  <a:lnTo>
                    <a:pt x="294" y="846"/>
                  </a:lnTo>
                  <a:lnTo>
                    <a:pt x="288" y="840"/>
                  </a:lnTo>
                  <a:lnTo>
                    <a:pt x="288" y="828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2" y="816"/>
                  </a:lnTo>
                  <a:lnTo>
                    <a:pt x="282" y="810"/>
                  </a:lnTo>
                  <a:lnTo>
                    <a:pt x="276" y="810"/>
                  </a:lnTo>
                  <a:lnTo>
                    <a:pt x="276" y="804"/>
                  </a:lnTo>
                  <a:lnTo>
                    <a:pt x="276" y="798"/>
                  </a:lnTo>
                  <a:lnTo>
                    <a:pt x="276" y="792"/>
                  </a:lnTo>
                  <a:lnTo>
                    <a:pt x="270" y="786"/>
                  </a:lnTo>
                  <a:lnTo>
                    <a:pt x="270" y="780"/>
                  </a:lnTo>
                  <a:lnTo>
                    <a:pt x="270" y="774"/>
                  </a:lnTo>
                  <a:lnTo>
                    <a:pt x="264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64" y="750"/>
                  </a:lnTo>
                  <a:lnTo>
                    <a:pt x="264" y="744"/>
                  </a:lnTo>
                  <a:lnTo>
                    <a:pt x="264" y="738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26"/>
                  </a:lnTo>
                  <a:lnTo>
                    <a:pt x="276" y="720"/>
                  </a:lnTo>
                  <a:lnTo>
                    <a:pt x="282" y="720"/>
                  </a:lnTo>
                  <a:lnTo>
                    <a:pt x="282" y="714"/>
                  </a:lnTo>
                  <a:lnTo>
                    <a:pt x="282" y="708"/>
                  </a:lnTo>
                  <a:lnTo>
                    <a:pt x="276" y="708"/>
                  </a:lnTo>
                  <a:lnTo>
                    <a:pt x="276" y="702"/>
                  </a:lnTo>
                  <a:lnTo>
                    <a:pt x="270" y="702"/>
                  </a:lnTo>
                  <a:lnTo>
                    <a:pt x="270" y="696"/>
                  </a:lnTo>
                  <a:lnTo>
                    <a:pt x="264" y="690"/>
                  </a:lnTo>
                  <a:lnTo>
                    <a:pt x="258" y="690"/>
                  </a:lnTo>
                  <a:lnTo>
                    <a:pt x="258" y="684"/>
                  </a:lnTo>
                  <a:lnTo>
                    <a:pt x="252" y="684"/>
                  </a:lnTo>
                  <a:lnTo>
                    <a:pt x="252" y="678"/>
                  </a:lnTo>
                  <a:lnTo>
                    <a:pt x="246" y="678"/>
                  </a:lnTo>
                  <a:lnTo>
                    <a:pt x="240" y="678"/>
                  </a:lnTo>
                  <a:lnTo>
                    <a:pt x="240" y="684"/>
                  </a:lnTo>
                  <a:lnTo>
                    <a:pt x="246" y="684"/>
                  </a:lnTo>
                  <a:lnTo>
                    <a:pt x="252" y="690"/>
                  </a:lnTo>
                  <a:lnTo>
                    <a:pt x="258" y="690"/>
                  </a:lnTo>
                  <a:lnTo>
                    <a:pt x="258" y="696"/>
                  </a:lnTo>
                  <a:lnTo>
                    <a:pt x="258" y="702"/>
                  </a:lnTo>
                  <a:lnTo>
                    <a:pt x="264" y="702"/>
                  </a:lnTo>
                  <a:lnTo>
                    <a:pt x="270" y="708"/>
                  </a:lnTo>
                  <a:lnTo>
                    <a:pt x="270" y="714"/>
                  </a:lnTo>
                  <a:lnTo>
                    <a:pt x="270" y="720"/>
                  </a:lnTo>
                  <a:lnTo>
                    <a:pt x="276" y="720"/>
                  </a:lnTo>
                  <a:lnTo>
                    <a:pt x="270" y="720"/>
                  </a:lnTo>
                  <a:lnTo>
                    <a:pt x="270" y="726"/>
                  </a:lnTo>
                  <a:lnTo>
                    <a:pt x="264" y="726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52" y="738"/>
                  </a:lnTo>
                  <a:lnTo>
                    <a:pt x="252" y="744"/>
                  </a:lnTo>
                  <a:lnTo>
                    <a:pt x="252" y="750"/>
                  </a:lnTo>
                  <a:lnTo>
                    <a:pt x="252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58" y="774"/>
                  </a:lnTo>
                  <a:lnTo>
                    <a:pt x="258" y="780"/>
                  </a:lnTo>
                  <a:lnTo>
                    <a:pt x="264" y="786"/>
                  </a:lnTo>
                  <a:lnTo>
                    <a:pt x="264" y="792"/>
                  </a:lnTo>
                  <a:lnTo>
                    <a:pt x="264" y="798"/>
                  </a:lnTo>
                  <a:lnTo>
                    <a:pt x="270" y="810"/>
                  </a:lnTo>
                  <a:lnTo>
                    <a:pt x="270" y="816"/>
                  </a:lnTo>
                  <a:lnTo>
                    <a:pt x="270" y="822"/>
                  </a:lnTo>
                  <a:lnTo>
                    <a:pt x="276" y="822"/>
                  </a:lnTo>
                  <a:lnTo>
                    <a:pt x="276" y="828"/>
                  </a:lnTo>
                  <a:lnTo>
                    <a:pt x="276" y="834"/>
                  </a:lnTo>
                  <a:lnTo>
                    <a:pt x="276" y="840"/>
                  </a:lnTo>
                  <a:lnTo>
                    <a:pt x="276" y="846"/>
                  </a:lnTo>
                  <a:lnTo>
                    <a:pt x="282" y="852"/>
                  </a:lnTo>
                  <a:lnTo>
                    <a:pt x="282" y="858"/>
                  </a:lnTo>
                  <a:lnTo>
                    <a:pt x="294" y="864"/>
                  </a:lnTo>
                  <a:lnTo>
                    <a:pt x="300" y="870"/>
                  </a:lnTo>
                  <a:lnTo>
                    <a:pt x="300" y="876"/>
                  </a:lnTo>
                  <a:lnTo>
                    <a:pt x="288" y="876"/>
                  </a:lnTo>
                  <a:lnTo>
                    <a:pt x="282" y="876"/>
                  </a:lnTo>
                  <a:lnTo>
                    <a:pt x="276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2" y="882"/>
                  </a:lnTo>
                  <a:lnTo>
                    <a:pt x="246" y="882"/>
                  </a:lnTo>
                  <a:lnTo>
                    <a:pt x="240" y="882"/>
                  </a:lnTo>
                  <a:lnTo>
                    <a:pt x="234" y="882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204" y="876"/>
                  </a:lnTo>
                  <a:lnTo>
                    <a:pt x="198" y="876"/>
                  </a:lnTo>
                  <a:lnTo>
                    <a:pt x="198" y="870"/>
                  </a:lnTo>
                  <a:lnTo>
                    <a:pt x="198" y="852"/>
                  </a:lnTo>
                  <a:lnTo>
                    <a:pt x="198" y="846"/>
                  </a:lnTo>
                  <a:lnTo>
                    <a:pt x="204" y="846"/>
                  </a:lnTo>
                  <a:lnTo>
                    <a:pt x="198" y="840"/>
                  </a:lnTo>
                  <a:lnTo>
                    <a:pt x="198" y="834"/>
                  </a:lnTo>
                  <a:lnTo>
                    <a:pt x="198" y="828"/>
                  </a:lnTo>
                  <a:lnTo>
                    <a:pt x="198" y="822"/>
                  </a:lnTo>
                  <a:lnTo>
                    <a:pt x="198" y="816"/>
                  </a:lnTo>
                  <a:lnTo>
                    <a:pt x="198" y="810"/>
                  </a:lnTo>
                  <a:lnTo>
                    <a:pt x="192" y="810"/>
                  </a:lnTo>
                  <a:lnTo>
                    <a:pt x="192" y="804"/>
                  </a:lnTo>
                  <a:lnTo>
                    <a:pt x="192" y="798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2" y="774"/>
                  </a:lnTo>
                  <a:lnTo>
                    <a:pt x="192" y="768"/>
                  </a:lnTo>
                  <a:lnTo>
                    <a:pt x="198" y="768"/>
                  </a:lnTo>
                  <a:lnTo>
                    <a:pt x="198" y="762"/>
                  </a:lnTo>
                  <a:lnTo>
                    <a:pt x="198" y="756"/>
                  </a:lnTo>
                  <a:lnTo>
                    <a:pt x="204" y="756"/>
                  </a:lnTo>
                  <a:lnTo>
                    <a:pt x="204" y="750"/>
                  </a:lnTo>
                  <a:lnTo>
                    <a:pt x="210" y="744"/>
                  </a:lnTo>
                  <a:lnTo>
                    <a:pt x="210" y="738"/>
                  </a:lnTo>
                  <a:lnTo>
                    <a:pt x="210" y="732"/>
                  </a:lnTo>
                  <a:lnTo>
                    <a:pt x="210" y="726"/>
                  </a:lnTo>
                  <a:lnTo>
                    <a:pt x="210" y="720"/>
                  </a:lnTo>
                  <a:lnTo>
                    <a:pt x="204" y="714"/>
                  </a:lnTo>
                  <a:lnTo>
                    <a:pt x="204" y="720"/>
                  </a:lnTo>
                  <a:lnTo>
                    <a:pt x="204" y="732"/>
                  </a:lnTo>
                  <a:lnTo>
                    <a:pt x="204" y="738"/>
                  </a:lnTo>
                  <a:lnTo>
                    <a:pt x="198" y="738"/>
                  </a:lnTo>
                  <a:lnTo>
                    <a:pt x="198" y="744"/>
                  </a:lnTo>
                  <a:lnTo>
                    <a:pt x="198" y="750"/>
                  </a:lnTo>
                  <a:lnTo>
                    <a:pt x="192" y="756"/>
                  </a:lnTo>
                  <a:lnTo>
                    <a:pt x="186" y="762"/>
                  </a:lnTo>
                  <a:lnTo>
                    <a:pt x="186" y="768"/>
                  </a:lnTo>
                  <a:lnTo>
                    <a:pt x="186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98"/>
                  </a:lnTo>
                  <a:lnTo>
                    <a:pt x="186" y="804"/>
                  </a:lnTo>
                  <a:lnTo>
                    <a:pt x="186" y="810"/>
                  </a:lnTo>
                  <a:lnTo>
                    <a:pt x="192" y="816"/>
                  </a:lnTo>
                  <a:lnTo>
                    <a:pt x="192" y="828"/>
                  </a:lnTo>
                  <a:lnTo>
                    <a:pt x="192" y="834"/>
                  </a:lnTo>
                  <a:lnTo>
                    <a:pt x="186" y="834"/>
                  </a:lnTo>
                  <a:lnTo>
                    <a:pt x="186" y="828"/>
                  </a:lnTo>
                  <a:lnTo>
                    <a:pt x="180" y="822"/>
                  </a:lnTo>
                  <a:lnTo>
                    <a:pt x="180" y="816"/>
                  </a:lnTo>
                  <a:lnTo>
                    <a:pt x="180" y="810"/>
                  </a:lnTo>
                  <a:lnTo>
                    <a:pt x="174" y="810"/>
                  </a:lnTo>
                  <a:lnTo>
                    <a:pt x="174" y="804"/>
                  </a:lnTo>
                  <a:lnTo>
                    <a:pt x="174" y="798"/>
                  </a:lnTo>
                  <a:lnTo>
                    <a:pt x="174" y="792"/>
                  </a:lnTo>
                  <a:lnTo>
                    <a:pt x="168" y="786"/>
                  </a:lnTo>
                  <a:lnTo>
                    <a:pt x="168" y="780"/>
                  </a:lnTo>
                  <a:lnTo>
                    <a:pt x="162" y="780"/>
                  </a:lnTo>
                  <a:lnTo>
                    <a:pt x="168" y="774"/>
                  </a:lnTo>
                  <a:lnTo>
                    <a:pt x="168" y="768"/>
                  </a:lnTo>
                  <a:lnTo>
                    <a:pt x="174" y="768"/>
                  </a:lnTo>
                  <a:lnTo>
                    <a:pt x="168" y="768"/>
                  </a:lnTo>
                  <a:lnTo>
                    <a:pt x="162" y="774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50" y="774"/>
                  </a:lnTo>
                  <a:lnTo>
                    <a:pt x="144" y="774"/>
                  </a:lnTo>
                  <a:lnTo>
                    <a:pt x="144" y="768"/>
                  </a:lnTo>
                  <a:lnTo>
                    <a:pt x="144" y="762"/>
                  </a:lnTo>
                  <a:lnTo>
                    <a:pt x="138" y="756"/>
                  </a:lnTo>
                  <a:lnTo>
                    <a:pt x="132" y="756"/>
                  </a:lnTo>
                  <a:lnTo>
                    <a:pt x="138" y="756"/>
                  </a:lnTo>
                  <a:lnTo>
                    <a:pt x="138" y="762"/>
                  </a:lnTo>
                  <a:lnTo>
                    <a:pt x="138" y="768"/>
                  </a:lnTo>
                  <a:lnTo>
                    <a:pt x="144" y="768"/>
                  </a:lnTo>
                  <a:lnTo>
                    <a:pt x="144" y="774"/>
                  </a:lnTo>
                  <a:lnTo>
                    <a:pt x="150" y="780"/>
                  </a:lnTo>
                  <a:lnTo>
                    <a:pt x="156" y="780"/>
                  </a:lnTo>
                  <a:lnTo>
                    <a:pt x="156" y="786"/>
                  </a:lnTo>
                  <a:lnTo>
                    <a:pt x="162" y="786"/>
                  </a:lnTo>
                  <a:lnTo>
                    <a:pt x="168" y="792"/>
                  </a:lnTo>
                  <a:lnTo>
                    <a:pt x="168" y="798"/>
                  </a:lnTo>
                  <a:lnTo>
                    <a:pt x="168" y="804"/>
                  </a:lnTo>
                  <a:lnTo>
                    <a:pt x="174" y="810"/>
                  </a:lnTo>
                  <a:lnTo>
                    <a:pt x="174" y="816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68" y="828"/>
                  </a:lnTo>
                  <a:lnTo>
                    <a:pt x="168" y="834"/>
                  </a:lnTo>
                  <a:lnTo>
                    <a:pt x="174" y="840"/>
                  </a:lnTo>
                  <a:lnTo>
                    <a:pt x="180" y="840"/>
                  </a:lnTo>
                  <a:lnTo>
                    <a:pt x="180" y="846"/>
                  </a:lnTo>
                  <a:lnTo>
                    <a:pt x="186" y="846"/>
                  </a:lnTo>
                  <a:lnTo>
                    <a:pt x="186" y="852"/>
                  </a:lnTo>
                  <a:lnTo>
                    <a:pt x="186" y="858"/>
                  </a:lnTo>
                  <a:lnTo>
                    <a:pt x="186" y="864"/>
                  </a:lnTo>
                  <a:lnTo>
                    <a:pt x="192" y="864"/>
                  </a:lnTo>
                  <a:lnTo>
                    <a:pt x="192" y="870"/>
                  </a:lnTo>
                  <a:lnTo>
                    <a:pt x="192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6" y="888"/>
                  </a:lnTo>
                  <a:lnTo>
                    <a:pt x="180" y="888"/>
                  </a:lnTo>
                  <a:lnTo>
                    <a:pt x="174" y="888"/>
                  </a:lnTo>
                  <a:lnTo>
                    <a:pt x="168" y="894"/>
                  </a:lnTo>
                  <a:lnTo>
                    <a:pt x="162" y="894"/>
                  </a:lnTo>
                  <a:lnTo>
                    <a:pt x="156" y="894"/>
                  </a:lnTo>
                  <a:lnTo>
                    <a:pt x="150" y="894"/>
                  </a:lnTo>
                  <a:lnTo>
                    <a:pt x="144" y="894"/>
                  </a:lnTo>
                  <a:lnTo>
                    <a:pt x="144" y="900"/>
                  </a:lnTo>
                  <a:lnTo>
                    <a:pt x="138" y="894"/>
                  </a:lnTo>
                  <a:lnTo>
                    <a:pt x="138" y="900"/>
                  </a:lnTo>
                  <a:lnTo>
                    <a:pt x="132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6" y="882"/>
                  </a:lnTo>
                  <a:lnTo>
                    <a:pt x="126" y="876"/>
                  </a:lnTo>
                  <a:lnTo>
                    <a:pt x="120" y="876"/>
                  </a:lnTo>
                  <a:lnTo>
                    <a:pt x="126" y="870"/>
                  </a:lnTo>
                  <a:lnTo>
                    <a:pt x="126" y="864"/>
                  </a:lnTo>
                  <a:lnTo>
                    <a:pt x="126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26" y="828"/>
                  </a:lnTo>
                  <a:lnTo>
                    <a:pt x="126" y="822"/>
                  </a:lnTo>
                  <a:lnTo>
                    <a:pt x="126" y="816"/>
                  </a:lnTo>
                  <a:lnTo>
                    <a:pt x="126" y="810"/>
                  </a:lnTo>
                  <a:lnTo>
                    <a:pt x="126" y="804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20" y="792"/>
                  </a:lnTo>
                  <a:lnTo>
                    <a:pt x="114" y="792"/>
                  </a:lnTo>
                  <a:lnTo>
                    <a:pt x="114" y="786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96" y="780"/>
                  </a:lnTo>
                  <a:lnTo>
                    <a:pt x="96" y="774"/>
                  </a:lnTo>
                  <a:lnTo>
                    <a:pt x="90" y="774"/>
                  </a:lnTo>
                  <a:lnTo>
                    <a:pt x="90" y="768"/>
                  </a:lnTo>
                  <a:close/>
                  <a:moveTo>
                    <a:pt x="96" y="780"/>
                  </a:moveTo>
                  <a:lnTo>
                    <a:pt x="102" y="780"/>
                  </a:lnTo>
                  <a:lnTo>
                    <a:pt x="102" y="786"/>
                  </a:lnTo>
                  <a:lnTo>
                    <a:pt x="108" y="786"/>
                  </a:lnTo>
                  <a:lnTo>
                    <a:pt x="114" y="792"/>
                  </a:lnTo>
                  <a:lnTo>
                    <a:pt x="120" y="798"/>
                  </a:lnTo>
                  <a:lnTo>
                    <a:pt x="120" y="804"/>
                  </a:lnTo>
                  <a:lnTo>
                    <a:pt x="126" y="810"/>
                  </a:lnTo>
                  <a:lnTo>
                    <a:pt x="126" y="816"/>
                  </a:lnTo>
                  <a:lnTo>
                    <a:pt x="126" y="822"/>
                  </a:lnTo>
                  <a:lnTo>
                    <a:pt x="120" y="828"/>
                  </a:lnTo>
                  <a:lnTo>
                    <a:pt x="120" y="840"/>
                  </a:lnTo>
                  <a:lnTo>
                    <a:pt x="120" y="852"/>
                  </a:lnTo>
                  <a:lnTo>
                    <a:pt x="120" y="858"/>
                  </a:lnTo>
                  <a:lnTo>
                    <a:pt x="120" y="864"/>
                  </a:lnTo>
                  <a:lnTo>
                    <a:pt x="120" y="870"/>
                  </a:lnTo>
                  <a:lnTo>
                    <a:pt x="114" y="870"/>
                  </a:lnTo>
                  <a:lnTo>
                    <a:pt x="108" y="870"/>
                  </a:lnTo>
                  <a:lnTo>
                    <a:pt x="108" y="876"/>
                  </a:lnTo>
                  <a:lnTo>
                    <a:pt x="114" y="876"/>
                  </a:lnTo>
                  <a:lnTo>
                    <a:pt x="120" y="876"/>
                  </a:lnTo>
                  <a:lnTo>
                    <a:pt x="120" y="882"/>
                  </a:lnTo>
                  <a:lnTo>
                    <a:pt x="114" y="888"/>
                  </a:lnTo>
                  <a:lnTo>
                    <a:pt x="120" y="888"/>
                  </a:lnTo>
                  <a:lnTo>
                    <a:pt x="120" y="894"/>
                  </a:lnTo>
                  <a:lnTo>
                    <a:pt x="114" y="894"/>
                  </a:lnTo>
                  <a:lnTo>
                    <a:pt x="108" y="894"/>
                  </a:lnTo>
                  <a:lnTo>
                    <a:pt x="96" y="894"/>
                  </a:lnTo>
                  <a:lnTo>
                    <a:pt x="96" y="882"/>
                  </a:lnTo>
                  <a:lnTo>
                    <a:pt x="96" y="876"/>
                  </a:lnTo>
                  <a:lnTo>
                    <a:pt x="84" y="870"/>
                  </a:lnTo>
                  <a:lnTo>
                    <a:pt x="72" y="864"/>
                  </a:lnTo>
                  <a:lnTo>
                    <a:pt x="72" y="852"/>
                  </a:lnTo>
                  <a:lnTo>
                    <a:pt x="72" y="840"/>
                  </a:lnTo>
                  <a:lnTo>
                    <a:pt x="78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90" y="792"/>
                  </a:lnTo>
                  <a:lnTo>
                    <a:pt x="96" y="780"/>
                  </a:lnTo>
                  <a:close/>
                  <a:moveTo>
                    <a:pt x="492" y="810"/>
                  </a:moveTo>
                  <a:lnTo>
                    <a:pt x="498" y="810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510" y="792"/>
                  </a:lnTo>
                  <a:lnTo>
                    <a:pt x="516" y="786"/>
                  </a:lnTo>
                  <a:lnTo>
                    <a:pt x="522" y="780"/>
                  </a:lnTo>
                  <a:lnTo>
                    <a:pt x="522" y="774"/>
                  </a:lnTo>
                  <a:lnTo>
                    <a:pt x="528" y="768"/>
                  </a:lnTo>
                  <a:lnTo>
                    <a:pt x="528" y="762"/>
                  </a:lnTo>
                  <a:lnTo>
                    <a:pt x="534" y="762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46" y="780"/>
                  </a:lnTo>
                  <a:lnTo>
                    <a:pt x="552" y="786"/>
                  </a:lnTo>
                  <a:lnTo>
                    <a:pt x="558" y="786"/>
                  </a:lnTo>
                  <a:lnTo>
                    <a:pt x="564" y="786"/>
                  </a:lnTo>
                  <a:lnTo>
                    <a:pt x="576" y="786"/>
                  </a:lnTo>
                  <a:lnTo>
                    <a:pt x="582" y="786"/>
                  </a:lnTo>
                  <a:lnTo>
                    <a:pt x="588" y="786"/>
                  </a:lnTo>
                  <a:lnTo>
                    <a:pt x="594" y="786"/>
                  </a:lnTo>
                  <a:lnTo>
                    <a:pt x="588" y="792"/>
                  </a:lnTo>
                  <a:lnTo>
                    <a:pt x="588" y="798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82" y="822"/>
                  </a:lnTo>
                  <a:lnTo>
                    <a:pt x="588" y="828"/>
                  </a:lnTo>
                  <a:lnTo>
                    <a:pt x="588" y="834"/>
                  </a:lnTo>
                  <a:lnTo>
                    <a:pt x="582" y="840"/>
                  </a:lnTo>
                  <a:lnTo>
                    <a:pt x="570" y="840"/>
                  </a:lnTo>
                  <a:lnTo>
                    <a:pt x="558" y="846"/>
                  </a:lnTo>
                  <a:lnTo>
                    <a:pt x="552" y="846"/>
                  </a:lnTo>
                  <a:lnTo>
                    <a:pt x="534" y="852"/>
                  </a:lnTo>
                  <a:lnTo>
                    <a:pt x="522" y="858"/>
                  </a:lnTo>
                  <a:lnTo>
                    <a:pt x="510" y="858"/>
                  </a:lnTo>
                  <a:lnTo>
                    <a:pt x="498" y="864"/>
                  </a:lnTo>
                  <a:lnTo>
                    <a:pt x="474" y="864"/>
                  </a:lnTo>
                  <a:lnTo>
                    <a:pt x="468" y="858"/>
                  </a:lnTo>
                  <a:lnTo>
                    <a:pt x="468" y="852"/>
                  </a:lnTo>
                  <a:lnTo>
                    <a:pt x="468" y="846"/>
                  </a:lnTo>
                  <a:lnTo>
                    <a:pt x="474" y="840"/>
                  </a:lnTo>
                  <a:lnTo>
                    <a:pt x="474" y="834"/>
                  </a:lnTo>
                  <a:lnTo>
                    <a:pt x="480" y="828"/>
                  </a:lnTo>
                  <a:lnTo>
                    <a:pt x="492" y="822"/>
                  </a:lnTo>
                  <a:lnTo>
                    <a:pt x="492" y="810"/>
                  </a:lnTo>
                  <a:close/>
                  <a:moveTo>
                    <a:pt x="384" y="720"/>
                  </a:moveTo>
                  <a:lnTo>
                    <a:pt x="384" y="726"/>
                  </a:lnTo>
                  <a:lnTo>
                    <a:pt x="390" y="726"/>
                  </a:lnTo>
                  <a:lnTo>
                    <a:pt x="396" y="726"/>
                  </a:lnTo>
                  <a:lnTo>
                    <a:pt x="402" y="732"/>
                  </a:lnTo>
                  <a:lnTo>
                    <a:pt x="408" y="732"/>
                  </a:lnTo>
                  <a:lnTo>
                    <a:pt x="414" y="732"/>
                  </a:lnTo>
                  <a:lnTo>
                    <a:pt x="414" y="738"/>
                  </a:lnTo>
                  <a:lnTo>
                    <a:pt x="414" y="744"/>
                  </a:lnTo>
                  <a:lnTo>
                    <a:pt x="414" y="750"/>
                  </a:lnTo>
                  <a:lnTo>
                    <a:pt x="414" y="756"/>
                  </a:lnTo>
                  <a:lnTo>
                    <a:pt x="414" y="762"/>
                  </a:lnTo>
                  <a:lnTo>
                    <a:pt x="420" y="768"/>
                  </a:lnTo>
                  <a:lnTo>
                    <a:pt x="420" y="774"/>
                  </a:lnTo>
                  <a:lnTo>
                    <a:pt x="426" y="780"/>
                  </a:lnTo>
                  <a:lnTo>
                    <a:pt x="426" y="786"/>
                  </a:lnTo>
                  <a:lnTo>
                    <a:pt x="420" y="786"/>
                  </a:lnTo>
                  <a:lnTo>
                    <a:pt x="420" y="792"/>
                  </a:lnTo>
                  <a:lnTo>
                    <a:pt x="420" y="798"/>
                  </a:lnTo>
                  <a:lnTo>
                    <a:pt x="420" y="804"/>
                  </a:lnTo>
                  <a:lnTo>
                    <a:pt x="426" y="804"/>
                  </a:lnTo>
                  <a:lnTo>
                    <a:pt x="426" y="810"/>
                  </a:lnTo>
                  <a:lnTo>
                    <a:pt x="426" y="816"/>
                  </a:lnTo>
                  <a:lnTo>
                    <a:pt x="432" y="816"/>
                  </a:lnTo>
                  <a:lnTo>
                    <a:pt x="438" y="816"/>
                  </a:lnTo>
                  <a:lnTo>
                    <a:pt x="438" y="822"/>
                  </a:lnTo>
                  <a:lnTo>
                    <a:pt x="432" y="822"/>
                  </a:lnTo>
                  <a:lnTo>
                    <a:pt x="426" y="828"/>
                  </a:lnTo>
                  <a:lnTo>
                    <a:pt x="420" y="828"/>
                  </a:lnTo>
                  <a:lnTo>
                    <a:pt x="414" y="828"/>
                  </a:lnTo>
                  <a:lnTo>
                    <a:pt x="408" y="828"/>
                  </a:lnTo>
                  <a:lnTo>
                    <a:pt x="402" y="828"/>
                  </a:lnTo>
                  <a:lnTo>
                    <a:pt x="402" y="822"/>
                  </a:lnTo>
                  <a:lnTo>
                    <a:pt x="396" y="822"/>
                  </a:lnTo>
                  <a:lnTo>
                    <a:pt x="402" y="822"/>
                  </a:lnTo>
                  <a:lnTo>
                    <a:pt x="402" y="816"/>
                  </a:lnTo>
                  <a:lnTo>
                    <a:pt x="396" y="816"/>
                  </a:lnTo>
                  <a:lnTo>
                    <a:pt x="396" y="810"/>
                  </a:lnTo>
                  <a:lnTo>
                    <a:pt x="396" y="804"/>
                  </a:lnTo>
                  <a:lnTo>
                    <a:pt x="390" y="798"/>
                  </a:lnTo>
                  <a:lnTo>
                    <a:pt x="390" y="792"/>
                  </a:lnTo>
                  <a:lnTo>
                    <a:pt x="390" y="786"/>
                  </a:lnTo>
                  <a:lnTo>
                    <a:pt x="390" y="780"/>
                  </a:lnTo>
                  <a:lnTo>
                    <a:pt x="390" y="774"/>
                  </a:lnTo>
                  <a:lnTo>
                    <a:pt x="390" y="768"/>
                  </a:lnTo>
                  <a:lnTo>
                    <a:pt x="390" y="762"/>
                  </a:lnTo>
                  <a:lnTo>
                    <a:pt x="384" y="756"/>
                  </a:lnTo>
                  <a:lnTo>
                    <a:pt x="384" y="750"/>
                  </a:lnTo>
                  <a:lnTo>
                    <a:pt x="384" y="744"/>
                  </a:lnTo>
                  <a:lnTo>
                    <a:pt x="378" y="744"/>
                  </a:lnTo>
                  <a:lnTo>
                    <a:pt x="384" y="744"/>
                  </a:lnTo>
                  <a:lnTo>
                    <a:pt x="384" y="738"/>
                  </a:lnTo>
                  <a:lnTo>
                    <a:pt x="378" y="738"/>
                  </a:lnTo>
                  <a:lnTo>
                    <a:pt x="378" y="732"/>
                  </a:lnTo>
                  <a:lnTo>
                    <a:pt x="378" y="726"/>
                  </a:lnTo>
                  <a:lnTo>
                    <a:pt x="378" y="720"/>
                  </a:lnTo>
                  <a:lnTo>
                    <a:pt x="384" y="720"/>
                  </a:lnTo>
                  <a:close/>
                  <a:moveTo>
                    <a:pt x="330" y="738"/>
                  </a:moveTo>
                  <a:lnTo>
                    <a:pt x="336" y="732"/>
                  </a:lnTo>
                  <a:lnTo>
                    <a:pt x="336" y="726"/>
                  </a:lnTo>
                  <a:lnTo>
                    <a:pt x="342" y="720"/>
                  </a:lnTo>
                  <a:lnTo>
                    <a:pt x="348" y="720"/>
                  </a:lnTo>
                  <a:lnTo>
                    <a:pt x="360" y="720"/>
                  </a:lnTo>
                  <a:lnTo>
                    <a:pt x="366" y="726"/>
                  </a:lnTo>
                  <a:lnTo>
                    <a:pt x="372" y="732"/>
                  </a:lnTo>
                  <a:lnTo>
                    <a:pt x="372" y="738"/>
                  </a:lnTo>
                  <a:lnTo>
                    <a:pt x="366" y="750"/>
                  </a:lnTo>
                  <a:lnTo>
                    <a:pt x="372" y="756"/>
                  </a:lnTo>
                  <a:lnTo>
                    <a:pt x="372" y="762"/>
                  </a:lnTo>
                  <a:lnTo>
                    <a:pt x="372" y="768"/>
                  </a:lnTo>
                  <a:lnTo>
                    <a:pt x="372" y="774"/>
                  </a:lnTo>
                  <a:lnTo>
                    <a:pt x="372" y="780"/>
                  </a:lnTo>
                  <a:lnTo>
                    <a:pt x="372" y="774"/>
                  </a:lnTo>
                  <a:lnTo>
                    <a:pt x="366" y="768"/>
                  </a:lnTo>
                  <a:lnTo>
                    <a:pt x="366" y="762"/>
                  </a:lnTo>
                  <a:lnTo>
                    <a:pt x="366" y="756"/>
                  </a:lnTo>
                  <a:lnTo>
                    <a:pt x="360" y="756"/>
                  </a:lnTo>
                  <a:lnTo>
                    <a:pt x="360" y="750"/>
                  </a:lnTo>
                  <a:lnTo>
                    <a:pt x="354" y="750"/>
                  </a:lnTo>
                  <a:lnTo>
                    <a:pt x="348" y="744"/>
                  </a:lnTo>
                  <a:lnTo>
                    <a:pt x="342" y="744"/>
                  </a:lnTo>
                  <a:lnTo>
                    <a:pt x="336" y="744"/>
                  </a:lnTo>
                  <a:lnTo>
                    <a:pt x="330" y="73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1" name="Freeform 6">
              <a:extLst>
                <a:ext uri="{FF2B5EF4-FFF2-40B4-BE49-F238E27FC236}">
                  <a16:creationId xmlns:a16="http://schemas.microsoft.com/office/drawing/2014/main" id="{0656C385-F30A-4AC8-AE9F-B1F66208B38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3123" y="4163918"/>
              <a:ext cx="266107" cy="248252"/>
            </a:xfrm>
            <a:custGeom>
              <a:avLst/>
              <a:gdLst>
                <a:gd name="T0" fmla="*/ 33 w 504"/>
                <a:gd name="T1" fmla="*/ 41 h 468"/>
                <a:gd name="T2" fmla="*/ 26 w 504"/>
                <a:gd name="T3" fmla="*/ 39 h 468"/>
                <a:gd name="T4" fmla="*/ 21 w 504"/>
                <a:gd name="T5" fmla="*/ 38 h 468"/>
                <a:gd name="T6" fmla="*/ 18 w 504"/>
                <a:gd name="T7" fmla="*/ 38 h 468"/>
                <a:gd name="T8" fmla="*/ 15 w 504"/>
                <a:gd name="T9" fmla="*/ 39 h 468"/>
                <a:gd name="T10" fmla="*/ 12 w 504"/>
                <a:gd name="T11" fmla="*/ 38 h 468"/>
                <a:gd name="T12" fmla="*/ 9 w 504"/>
                <a:gd name="T13" fmla="*/ 37 h 468"/>
                <a:gd name="T14" fmla="*/ 7 w 504"/>
                <a:gd name="T15" fmla="*/ 32 h 468"/>
                <a:gd name="T16" fmla="*/ 6 w 504"/>
                <a:gd name="T17" fmla="*/ 26 h 468"/>
                <a:gd name="T18" fmla="*/ 3 w 504"/>
                <a:gd name="T19" fmla="*/ 24 h 468"/>
                <a:gd name="T20" fmla="*/ 1 w 504"/>
                <a:gd name="T21" fmla="*/ 24 h 468"/>
                <a:gd name="T22" fmla="*/ 2 w 504"/>
                <a:gd name="T23" fmla="*/ 18 h 468"/>
                <a:gd name="T24" fmla="*/ 1 w 504"/>
                <a:gd name="T25" fmla="*/ 17 h 468"/>
                <a:gd name="T26" fmla="*/ 0 w 504"/>
                <a:gd name="T27" fmla="*/ 17 h 468"/>
                <a:gd name="T28" fmla="*/ 0 w 504"/>
                <a:gd name="T29" fmla="*/ 15 h 468"/>
                <a:gd name="T30" fmla="*/ 2 w 504"/>
                <a:gd name="T31" fmla="*/ 12 h 468"/>
                <a:gd name="T32" fmla="*/ 4 w 504"/>
                <a:gd name="T33" fmla="*/ 10 h 468"/>
                <a:gd name="T34" fmla="*/ 6 w 504"/>
                <a:gd name="T35" fmla="*/ 8 h 468"/>
                <a:gd name="T36" fmla="*/ 8 w 504"/>
                <a:gd name="T37" fmla="*/ 8 h 468"/>
                <a:gd name="T38" fmla="*/ 10 w 504"/>
                <a:gd name="T39" fmla="*/ 9 h 468"/>
                <a:gd name="T40" fmla="*/ 12 w 504"/>
                <a:gd name="T41" fmla="*/ 10 h 468"/>
                <a:gd name="T42" fmla="*/ 12 w 504"/>
                <a:gd name="T43" fmla="*/ 11 h 468"/>
                <a:gd name="T44" fmla="*/ 14 w 504"/>
                <a:gd name="T45" fmla="*/ 8 h 468"/>
                <a:gd name="T46" fmla="*/ 15 w 504"/>
                <a:gd name="T47" fmla="*/ 7 h 468"/>
                <a:gd name="T48" fmla="*/ 17 w 504"/>
                <a:gd name="T49" fmla="*/ 6 h 468"/>
                <a:gd name="T50" fmla="*/ 19 w 504"/>
                <a:gd name="T51" fmla="*/ 3 h 468"/>
                <a:gd name="T52" fmla="*/ 20 w 504"/>
                <a:gd name="T53" fmla="*/ 2 h 468"/>
                <a:gd name="T54" fmla="*/ 22 w 504"/>
                <a:gd name="T55" fmla="*/ 1 h 468"/>
                <a:gd name="T56" fmla="*/ 27 w 504"/>
                <a:gd name="T57" fmla="*/ 1 h 468"/>
                <a:gd name="T58" fmla="*/ 30 w 504"/>
                <a:gd name="T59" fmla="*/ 2 h 468"/>
                <a:gd name="T60" fmla="*/ 31 w 504"/>
                <a:gd name="T61" fmla="*/ 2 h 468"/>
                <a:gd name="T62" fmla="*/ 34 w 504"/>
                <a:gd name="T63" fmla="*/ 0 h 468"/>
                <a:gd name="T64" fmla="*/ 37 w 504"/>
                <a:gd name="T65" fmla="*/ 1 h 468"/>
                <a:gd name="T66" fmla="*/ 41 w 504"/>
                <a:gd name="T67" fmla="*/ 2 h 468"/>
                <a:gd name="T68" fmla="*/ 42 w 504"/>
                <a:gd name="T69" fmla="*/ 4 h 468"/>
                <a:gd name="T70" fmla="*/ 42 w 504"/>
                <a:gd name="T71" fmla="*/ 10 h 468"/>
                <a:gd name="T72" fmla="*/ 41 w 504"/>
                <a:gd name="T73" fmla="*/ 14 h 468"/>
                <a:gd name="T74" fmla="*/ 42 w 504"/>
                <a:gd name="T75" fmla="*/ 15 h 468"/>
                <a:gd name="T76" fmla="*/ 44 w 504"/>
                <a:gd name="T77" fmla="*/ 18 h 468"/>
                <a:gd name="T78" fmla="*/ 43 w 504"/>
                <a:gd name="T79" fmla="*/ 19 h 468"/>
                <a:gd name="T80" fmla="*/ 42 w 504"/>
                <a:gd name="T81" fmla="*/ 21 h 468"/>
                <a:gd name="T82" fmla="*/ 42 w 504"/>
                <a:gd name="T83" fmla="*/ 23 h 468"/>
                <a:gd name="T84" fmla="*/ 39 w 504"/>
                <a:gd name="T85" fmla="*/ 27 h 468"/>
                <a:gd name="T86" fmla="*/ 38 w 504"/>
                <a:gd name="T87" fmla="*/ 29 h 468"/>
                <a:gd name="T88" fmla="*/ 38 w 504"/>
                <a:gd name="T89" fmla="*/ 31 h 468"/>
                <a:gd name="T90" fmla="*/ 36 w 504"/>
                <a:gd name="T91" fmla="*/ 32 h 468"/>
                <a:gd name="T92" fmla="*/ 35 w 504"/>
                <a:gd name="T93" fmla="*/ 34 h 468"/>
                <a:gd name="T94" fmla="*/ 34 w 504"/>
                <a:gd name="T95" fmla="*/ 38 h 46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04"/>
                <a:gd name="T145" fmla="*/ 0 h 468"/>
                <a:gd name="T146" fmla="*/ 504 w 504"/>
                <a:gd name="T147" fmla="*/ 468 h 46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04" h="468">
                  <a:moveTo>
                    <a:pt x="390" y="456"/>
                  </a:moveTo>
                  <a:lnTo>
                    <a:pt x="384" y="468"/>
                  </a:lnTo>
                  <a:lnTo>
                    <a:pt x="378" y="468"/>
                  </a:lnTo>
                  <a:lnTo>
                    <a:pt x="354" y="468"/>
                  </a:lnTo>
                  <a:lnTo>
                    <a:pt x="348" y="462"/>
                  </a:lnTo>
                  <a:lnTo>
                    <a:pt x="300" y="456"/>
                  </a:lnTo>
                  <a:lnTo>
                    <a:pt x="270" y="444"/>
                  </a:lnTo>
                  <a:lnTo>
                    <a:pt x="252" y="438"/>
                  </a:lnTo>
                  <a:lnTo>
                    <a:pt x="240" y="438"/>
                  </a:lnTo>
                  <a:lnTo>
                    <a:pt x="234" y="438"/>
                  </a:lnTo>
                  <a:lnTo>
                    <a:pt x="228" y="444"/>
                  </a:lnTo>
                  <a:lnTo>
                    <a:pt x="210" y="444"/>
                  </a:lnTo>
                  <a:lnTo>
                    <a:pt x="198" y="444"/>
                  </a:lnTo>
                  <a:lnTo>
                    <a:pt x="198" y="450"/>
                  </a:lnTo>
                  <a:lnTo>
                    <a:pt x="168" y="456"/>
                  </a:lnTo>
                  <a:lnTo>
                    <a:pt x="150" y="450"/>
                  </a:lnTo>
                  <a:lnTo>
                    <a:pt x="144" y="444"/>
                  </a:lnTo>
                  <a:lnTo>
                    <a:pt x="132" y="438"/>
                  </a:lnTo>
                  <a:lnTo>
                    <a:pt x="138" y="432"/>
                  </a:lnTo>
                  <a:lnTo>
                    <a:pt x="114" y="432"/>
                  </a:lnTo>
                  <a:lnTo>
                    <a:pt x="102" y="426"/>
                  </a:lnTo>
                  <a:lnTo>
                    <a:pt x="90" y="414"/>
                  </a:lnTo>
                  <a:lnTo>
                    <a:pt x="72" y="402"/>
                  </a:lnTo>
                  <a:lnTo>
                    <a:pt x="78" y="366"/>
                  </a:lnTo>
                  <a:lnTo>
                    <a:pt x="78" y="330"/>
                  </a:lnTo>
                  <a:lnTo>
                    <a:pt x="66" y="318"/>
                  </a:lnTo>
                  <a:lnTo>
                    <a:pt x="66" y="300"/>
                  </a:lnTo>
                  <a:lnTo>
                    <a:pt x="66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30" y="282"/>
                  </a:lnTo>
                  <a:lnTo>
                    <a:pt x="24" y="282"/>
                  </a:lnTo>
                  <a:lnTo>
                    <a:pt x="12" y="276"/>
                  </a:lnTo>
                  <a:lnTo>
                    <a:pt x="0" y="282"/>
                  </a:lnTo>
                  <a:lnTo>
                    <a:pt x="12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2" y="198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6" y="180"/>
                  </a:lnTo>
                  <a:lnTo>
                    <a:pt x="12" y="186"/>
                  </a:lnTo>
                  <a:lnTo>
                    <a:pt x="18" y="138"/>
                  </a:lnTo>
                  <a:lnTo>
                    <a:pt x="24" y="126"/>
                  </a:lnTo>
                  <a:lnTo>
                    <a:pt x="30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20" y="102"/>
                  </a:lnTo>
                  <a:lnTo>
                    <a:pt x="126" y="108"/>
                  </a:lnTo>
                  <a:lnTo>
                    <a:pt x="126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0"/>
                  </a:lnTo>
                  <a:lnTo>
                    <a:pt x="156" y="96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16" y="42"/>
                  </a:lnTo>
                  <a:lnTo>
                    <a:pt x="222" y="36"/>
                  </a:lnTo>
                  <a:lnTo>
                    <a:pt x="228" y="36"/>
                  </a:lnTo>
                  <a:lnTo>
                    <a:pt x="228" y="30"/>
                  </a:lnTo>
                  <a:lnTo>
                    <a:pt x="228" y="24"/>
                  </a:lnTo>
                  <a:lnTo>
                    <a:pt x="246" y="18"/>
                  </a:lnTo>
                  <a:lnTo>
                    <a:pt x="252" y="18"/>
                  </a:lnTo>
                  <a:lnTo>
                    <a:pt x="258" y="12"/>
                  </a:lnTo>
                  <a:lnTo>
                    <a:pt x="270" y="6"/>
                  </a:lnTo>
                  <a:lnTo>
                    <a:pt x="288" y="6"/>
                  </a:lnTo>
                  <a:lnTo>
                    <a:pt x="312" y="12"/>
                  </a:lnTo>
                  <a:lnTo>
                    <a:pt x="324" y="12"/>
                  </a:lnTo>
                  <a:lnTo>
                    <a:pt x="336" y="18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14" y="12"/>
                  </a:lnTo>
                  <a:lnTo>
                    <a:pt x="426" y="12"/>
                  </a:lnTo>
                  <a:lnTo>
                    <a:pt x="444" y="18"/>
                  </a:lnTo>
                  <a:lnTo>
                    <a:pt x="462" y="18"/>
                  </a:lnTo>
                  <a:lnTo>
                    <a:pt x="474" y="18"/>
                  </a:lnTo>
                  <a:lnTo>
                    <a:pt x="480" y="18"/>
                  </a:lnTo>
                  <a:lnTo>
                    <a:pt x="486" y="36"/>
                  </a:lnTo>
                  <a:lnTo>
                    <a:pt x="480" y="42"/>
                  </a:lnTo>
                  <a:lnTo>
                    <a:pt x="480" y="54"/>
                  </a:lnTo>
                  <a:lnTo>
                    <a:pt x="486" y="78"/>
                  </a:lnTo>
                  <a:lnTo>
                    <a:pt x="486" y="114"/>
                  </a:lnTo>
                  <a:lnTo>
                    <a:pt x="486" y="150"/>
                  </a:lnTo>
                  <a:lnTo>
                    <a:pt x="468" y="150"/>
                  </a:lnTo>
                  <a:lnTo>
                    <a:pt x="474" y="162"/>
                  </a:lnTo>
                  <a:lnTo>
                    <a:pt x="480" y="162"/>
                  </a:lnTo>
                  <a:lnTo>
                    <a:pt x="486" y="174"/>
                  </a:lnTo>
                  <a:lnTo>
                    <a:pt x="492" y="174"/>
                  </a:lnTo>
                  <a:lnTo>
                    <a:pt x="492" y="192"/>
                  </a:lnTo>
                  <a:lnTo>
                    <a:pt x="498" y="198"/>
                  </a:lnTo>
                  <a:lnTo>
                    <a:pt x="504" y="204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8" y="222"/>
                  </a:lnTo>
                  <a:lnTo>
                    <a:pt x="492" y="228"/>
                  </a:lnTo>
                  <a:lnTo>
                    <a:pt x="492" y="234"/>
                  </a:lnTo>
                  <a:lnTo>
                    <a:pt x="492" y="240"/>
                  </a:lnTo>
                  <a:lnTo>
                    <a:pt x="486" y="246"/>
                  </a:lnTo>
                  <a:lnTo>
                    <a:pt x="486" y="258"/>
                  </a:lnTo>
                  <a:lnTo>
                    <a:pt x="480" y="264"/>
                  </a:lnTo>
                  <a:lnTo>
                    <a:pt x="474" y="276"/>
                  </a:lnTo>
                  <a:lnTo>
                    <a:pt x="468" y="288"/>
                  </a:lnTo>
                  <a:lnTo>
                    <a:pt x="456" y="306"/>
                  </a:lnTo>
                  <a:lnTo>
                    <a:pt x="456" y="312"/>
                  </a:lnTo>
                  <a:lnTo>
                    <a:pt x="444" y="318"/>
                  </a:lnTo>
                  <a:lnTo>
                    <a:pt x="432" y="336"/>
                  </a:lnTo>
                  <a:lnTo>
                    <a:pt x="432" y="342"/>
                  </a:lnTo>
                  <a:lnTo>
                    <a:pt x="432" y="348"/>
                  </a:lnTo>
                  <a:lnTo>
                    <a:pt x="432" y="354"/>
                  </a:lnTo>
                  <a:lnTo>
                    <a:pt x="426" y="366"/>
                  </a:lnTo>
                  <a:lnTo>
                    <a:pt x="420" y="366"/>
                  </a:lnTo>
                  <a:lnTo>
                    <a:pt x="420" y="372"/>
                  </a:lnTo>
                  <a:lnTo>
                    <a:pt x="414" y="378"/>
                  </a:lnTo>
                  <a:lnTo>
                    <a:pt x="414" y="390"/>
                  </a:lnTo>
                  <a:lnTo>
                    <a:pt x="408" y="390"/>
                  </a:lnTo>
                  <a:lnTo>
                    <a:pt x="408" y="402"/>
                  </a:lnTo>
                  <a:lnTo>
                    <a:pt x="402" y="414"/>
                  </a:lnTo>
                  <a:lnTo>
                    <a:pt x="396" y="438"/>
                  </a:lnTo>
                  <a:lnTo>
                    <a:pt x="396" y="444"/>
                  </a:lnTo>
                  <a:lnTo>
                    <a:pt x="390" y="45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11" name="Freeform 7">
              <a:extLst>
                <a:ext uri="{FF2B5EF4-FFF2-40B4-BE49-F238E27FC236}">
                  <a16:creationId xmlns:a16="http://schemas.microsoft.com/office/drawing/2014/main" id="{0D8DE62D-4554-4314-9F3A-7208D89B4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90838" y="4128134"/>
              <a:ext cx="283995" cy="411516"/>
            </a:xfrm>
            <a:custGeom>
              <a:avLst/>
              <a:gdLst>
                <a:gd name="T0" fmla="*/ 39 w 534"/>
                <a:gd name="T1" fmla="*/ 35 h 774"/>
                <a:gd name="T2" fmla="*/ 35 w 534"/>
                <a:gd name="T3" fmla="*/ 31 h 774"/>
                <a:gd name="T4" fmla="*/ 32 w 534"/>
                <a:gd name="T5" fmla="*/ 29 h 774"/>
                <a:gd name="T6" fmla="*/ 32 w 534"/>
                <a:gd name="T7" fmla="*/ 31 h 774"/>
                <a:gd name="T8" fmla="*/ 29 w 534"/>
                <a:gd name="T9" fmla="*/ 33 h 774"/>
                <a:gd name="T10" fmla="*/ 27 w 534"/>
                <a:gd name="T11" fmla="*/ 36 h 774"/>
                <a:gd name="T12" fmla="*/ 30 w 534"/>
                <a:gd name="T13" fmla="*/ 38 h 774"/>
                <a:gd name="T14" fmla="*/ 29 w 534"/>
                <a:gd name="T15" fmla="*/ 40 h 774"/>
                <a:gd name="T16" fmla="*/ 25 w 534"/>
                <a:gd name="T17" fmla="*/ 40 h 774"/>
                <a:gd name="T18" fmla="*/ 23 w 534"/>
                <a:gd name="T19" fmla="*/ 42 h 774"/>
                <a:gd name="T20" fmla="*/ 22 w 534"/>
                <a:gd name="T21" fmla="*/ 47 h 774"/>
                <a:gd name="T22" fmla="*/ 22 w 534"/>
                <a:gd name="T23" fmla="*/ 51 h 774"/>
                <a:gd name="T24" fmla="*/ 22 w 534"/>
                <a:gd name="T25" fmla="*/ 54 h 774"/>
                <a:gd name="T26" fmla="*/ 21 w 534"/>
                <a:gd name="T27" fmla="*/ 56 h 774"/>
                <a:gd name="T28" fmla="*/ 19 w 534"/>
                <a:gd name="T29" fmla="*/ 58 h 774"/>
                <a:gd name="T30" fmla="*/ 20 w 534"/>
                <a:gd name="T31" fmla="*/ 59 h 774"/>
                <a:gd name="T32" fmla="*/ 19 w 534"/>
                <a:gd name="T33" fmla="*/ 62 h 774"/>
                <a:gd name="T34" fmla="*/ 19 w 534"/>
                <a:gd name="T35" fmla="*/ 64 h 774"/>
                <a:gd name="T36" fmla="*/ 20 w 534"/>
                <a:gd name="T37" fmla="*/ 66 h 774"/>
                <a:gd name="T38" fmla="*/ 17 w 534"/>
                <a:gd name="T39" fmla="*/ 66 h 774"/>
                <a:gd name="T40" fmla="*/ 16 w 534"/>
                <a:gd name="T41" fmla="*/ 65 h 774"/>
                <a:gd name="T42" fmla="*/ 13 w 534"/>
                <a:gd name="T43" fmla="*/ 65 h 774"/>
                <a:gd name="T44" fmla="*/ 11 w 534"/>
                <a:gd name="T45" fmla="*/ 65 h 774"/>
                <a:gd name="T46" fmla="*/ 8 w 534"/>
                <a:gd name="T47" fmla="*/ 65 h 774"/>
                <a:gd name="T48" fmla="*/ 8 w 534"/>
                <a:gd name="T49" fmla="*/ 64 h 774"/>
                <a:gd name="T50" fmla="*/ 5 w 534"/>
                <a:gd name="T51" fmla="*/ 65 h 774"/>
                <a:gd name="T52" fmla="*/ 3 w 534"/>
                <a:gd name="T53" fmla="*/ 65 h 774"/>
                <a:gd name="T54" fmla="*/ 0 w 534"/>
                <a:gd name="T55" fmla="*/ 64 h 774"/>
                <a:gd name="T56" fmla="*/ 0 w 534"/>
                <a:gd name="T57" fmla="*/ 62 h 774"/>
                <a:gd name="T58" fmla="*/ 3 w 534"/>
                <a:gd name="T59" fmla="*/ 60 h 774"/>
                <a:gd name="T60" fmla="*/ 6 w 534"/>
                <a:gd name="T61" fmla="*/ 57 h 774"/>
                <a:gd name="T62" fmla="*/ 8 w 534"/>
                <a:gd name="T63" fmla="*/ 50 h 774"/>
                <a:gd name="T64" fmla="*/ 6 w 534"/>
                <a:gd name="T65" fmla="*/ 45 h 774"/>
                <a:gd name="T66" fmla="*/ 8 w 534"/>
                <a:gd name="T67" fmla="*/ 41 h 774"/>
                <a:gd name="T68" fmla="*/ 9 w 534"/>
                <a:gd name="T69" fmla="*/ 38 h 774"/>
                <a:gd name="T70" fmla="*/ 10 w 534"/>
                <a:gd name="T71" fmla="*/ 36 h 774"/>
                <a:gd name="T72" fmla="*/ 12 w 534"/>
                <a:gd name="T73" fmla="*/ 33 h 774"/>
                <a:gd name="T74" fmla="*/ 14 w 534"/>
                <a:gd name="T75" fmla="*/ 29 h 774"/>
                <a:gd name="T76" fmla="*/ 16 w 534"/>
                <a:gd name="T77" fmla="*/ 26 h 774"/>
                <a:gd name="T78" fmla="*/ 16 w 534"/>
                <a:gd name="T79" fmla="*/ 24 h 774"/>
                <a:gd name="T80" fmla="*/ 16 w 534"/>
                <a:gd name="T81" fmla="*/ 21 h 774"/>
                <a:gd name="T82" fmla="*/ 13 w 534"/>
                <a:gd name="T83" fmla="*/ 19 h 774"/>
                <a:gd name="T84" fmla="*/ 14 w 534"/>
                <a:gd name="T85" fmla="*/ 10 h 774"/>
                <a:gd name="T86" fmla="*/ 14 w 534"/>
                <a:gd name="T87" fmla="*/ 7 h 774"/>
                <a:gd name="T88" fmla="*/ 8 w 534"/>
                <a:gd name="T89" fmla="*/ 7 h 774"/>
                <a:gd name="T90" fmla="*/ 7 w 534"/>
                <a:gd name="T91" fmla="*/ 3 h 774"/>
                <a:gd name="T92" fmla="*/ 11 w 534"/>
                <a:gd name="T93" fmla="*/ 1 h 774"/>
                <a:gd name="T94" fmla="*/ 12 w 534"/>
                <a:gd name="T95" fmla="*/ 0 h 774"/>
                <a:gd name="T96" fmla="*/ 16 w 534"/>
                <a:gd name="T97" fmla="*/ 2 h 774"/>
                <a:gd name="T98" fmla="*/ 20 w 534"/>
                <a:gd name="T99" fmla="*/ 2 h 774"/>
                <a:gd name="T100" fmla="*/ 23 w 534"/>
                <a:gd name="T101" fmla="*/ 3 h 774"/>
                <a:gd name="T102" fmla="*/ 23 w 534"/>
                <a:gd name="T103" fmla="*/ 10 h 774"/>
                <a:gd name="T104" fmla="*/ 29 w 534"/>
                <a:gd name="T105" fmla="*/ 12 h 774"/>
                <a:gd name="T106" fmla="*/ 35 w 534"/>
                <a:gd name="T107" fmla="*/ 12 h 774"/>
                <a:gd name="T108" fmla="*/ 38 w 534"/>
                <a:gd name="T109" fmla="*/ 17 h 774"/>
                <a:gd name="T110" fmla="*/ 40 w 534"/>
                <a:gd name="T111" fmla="*/ 19 h 774"/>
                <a:gd name="T112" fmla="*/ 44 w 534"/>
                <a:gd name="T113" fmla="*/ 23 h 774"/>
                <a:gd name="T114" fmla="*/ 44 w 534"/>
                <a:gd name="T115" fmla="*/ 30 h 774"/>
                <a:gd name="T116" fmla="*/ 46 w 534"/>
                <a:gd name="T117" fmla="*/ 36 h 774"/>
                <a:gd name="T118" fmla="*/ 41 w 534"/>
                <a:gd name="T119" fmla="*/ 37 h 77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34"/>
                <a:gd name="T181" fmla="*/ 0 h 774"/>
                <a:gd name="T182" fmla="*/ 534 w 534"/>
                <a:gd name="T183" fmla="*/ 774 h 77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34" h="774">
                  <a:moveTo>
                    <a:pt x="462" y="426"/>
                  </a:moveTo>
                  <a:lnTo>
                    <a:pt x="462" y="414"/>
                  </a:lnTo>
                  <a:lnTo>
                    <a:pt x="450" y="402"/>
                  </a:lnTo>
                  <a:lnTo>
                    <a:pt x="444" y="396"/>
                  </a:lnTo>
                  <a:lnTo>
                    <a:pt x="420" y="396"/>
                  </a:lnTo>
                  <a:lnTo>
                    <a:pt x="408" y="390"/>
                  </a:lnTo>
                  <a:lnTo>
                    <a:pt x="402" y="366"/>
                  </a:lnTo>
                  <a:lnTo>
                    <a:pt x="390" y="354"/>
                  </a:lnTo>
                  <a:lnTo>
                    <a:pt x="384" y="336"/>
                  </a:lnTo>
                  <a:lnTo>
                    <a:pt x="378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8" y="348"/>
                  </a:lnTo>
                  <a:lnTo>
                    <a:pt x="360" y="354"/>
                  </a:lnTo>
                  <a:lnTo>
                    <a:pt x="360" y="390"/>
                  </a:lnTo>
                  <a:lnTo>
                    <a:pt x="348" y="390"/>
                  </a:lnTo>
                  <a:lnTo>
                    <a:pt x="342" y="384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90"/>
                  </a:lnTo>
                  <a:lnTo>
                    <a:pt x="312" y="402"/>
                  </a:lnTo>
                  <a:lnTo>
                    <a:pt x="306" y="420"/>
                  </a:lnTo>
                  <a:lnTo>
                    <a:pt x="324" y="414"/>
                  </a:lnTo>
                  <a:lnTo>
                    <a:pt x="330" y="414"/>
                  </a:lnTo>
                  <a:lnTo>
                    <a:pt x="336" y="420"/>
                  </a:lnTo>
                  <a:lnTo>
                    <a:pt x="336" y="432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6"/>
                  </a:lnTo>
                  <a:lnTo>
                    <a:pt x="318" y="456"/>
                  </a:lnTo>
                  <a:lnTo>
                    <a:pt x="300" y="456"/>
                  </a:lnTo>
                  <a:lnTo>
                    <a:pt x="288" y="462"/>
                  </a:lnTo>
                  <a:lnTo>
                    <a:pt x="276" y="462"/>
                  </a:lnTo>
                  <a:lnTo>
                    <a:pt x="270" y="462"/>
                  </a:lnTo>
                  <a:lnTo>
                    <a:pt x="270" y="468"/>
                  </a:lnTo>
                  <a:lnTo>
                    <a:pt x="252" y="468"/>
                  </a:lnTo>
                  <a:lnTo>
                    <a:pt x="258" y="480"/>
                  </a:lnTo>
                  <a:lnTo>
                    <a:pt x="258" y="492"/>
                  </a:lnTo>
                  <a:lnTo>
                    <a:pt x="258" y="498"/>
                  </a:lnTo>
                  <a:lnTo>
                    <a:pt x="258" y="510"/>
                  </a:lnTo>
                  <a:lnTo>
                    <a:pt x="252" y="540"/>
                  </a:lnTo>
                  <a:lnTo>
                    <a:pt x="246" y="564"/>
                  </a:lnTo>
                  <a:lnTo>
                    <a:pt x="246" y="570"/>
                  </a:lnTo>
                  <a:lnTo>
                    <a:pt x="252" y="576"/>
                  </a:lnTo>
                  <a:lnTo>
                    <a:pt x="246" y="582"/>
                  </a:lnTo>
                  <a:lnTo>
                    <a:pt x="252" y="600"/>
                  </a:lnTo>
                  <a:lnTo>
                    <a:pt x="258" y="606"/>
                  </a:lnTo>
                  <a:lnTo>
                    <a:pt x="258" y="612"/>
                  </a:lnTo>
                  <a:lnTo>
                    <a:pt x="252" y="618"/>
                  </a:lnTo>
                  <a:lnTo>
                    <a:pt x="246" y="624"/>
                  </a:lnTo>
                  <a:lnTo>
                    <a:pt x="246" y="630"/>
                  </a:lnTo>
                  <a:lnTo>
                    <a:pt x="246" y="636"/>
                  </a:lnTo>
                  <a:lnTo>
                    <a:pt x="240" y="642"/>
                  </a:lnTo>
                  <a:lnTo>
                    <a:pt x="234" y="654"/>
                  </a:lnTo>
                  <a:lnTo>
                    <a:pt x="228" y="654"/>
                  </a:lnTo>
                  <a:lnTo>
                    <a:pt x="222" y="660"/>
                  </a:lnTo>
                  <a:lnTo>
                    <a:pt x="216" y="666"/>
                  </a:lnTo>
                  <a:lnTo>
                    <a:pt x="210" y="666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22" y="684"/>
                  </a:lnTo>
                  <a:lnTo>
                    <a:pt x="222" y="690"/>
                  </a:lnTo>
                  <a:lnTo>
                    <a:pt x="222" y="696"/>
                  </a:lnTo>
                  <a:lnTo>
                    <a:pt x="222" y="702"/>
                  </a:lnTo>
                  <a:lnTo>
                    <a:pt x="216" y="708"/>
                  </a:lnTo>
                  <a:lnTo>
                    <a:pt x="210" y="720"/>
                  </a:lnTo>
                  <a:lnTo>
                    <a:pt x="216" y="732"/>
                  </a:lnTo>
                  <a:lnTo>
                    <a:pt x="210" y="732"/>
                  </a:lnTo>
                  <a:lnTo>
                    <a:pt x="216" y="738"/>
                  </a:lnTo>
                  <a:lnTo>
                    <a:pt x="216" y="744"/>
                  </a:lnTo>
                  <a:lnTo>
                    <a:pt x="222" y="750"/>
                  </a:lnTo>
                  <a:lnTo>
                    <a:pt x="228" y="756"/>
                  </a:lnTo>
                  <a:lnTo>
                    <a:pt x="222" y="762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04" y="762"/>
                  </a:lnTo>
                  <a:lnTo>
                    <a:pt x="198" y="762"/>
                  </a:lnTo>
                  <a:lnTo>
                    <a:pt x="192" y="762"/>
                  </a:lnTo>
                  <a:lnTo>
                    <a:pt x="186" y="756"/>
                  </a:lnTo>
                  <a:lnTo>
                    <a:pt x="180" y="750"/>
                  </a:lnTo>
                  <a:lnTo>
                    <a:pt x="180" y="744"/>
                  </a:lnTo>
                  <a:lnTo>
                    <a:pt x="174" y="744"/>
                  </a:lnTo>
                  <a:lnTo>
                    <a:pt x="156" y="750"/>
                  </a:lnTo>
                  <a:lnTo>
                    <a:pt x="150" y="750"/>
                  </a:lnTo>
                  <a:lnTo>
                    <a:pt x="144" y="750"/>
                  </a:lnTo>
                  <a:lnTo>
                    <a:pt x="138" y="750"/>
                  </a:lnTo>
                  <a:lnTo>
                    <a:pt x="138" y="744"/>
                  </a:lnTo>
                  <a:lnTo>
                    <a:pt x="132" y="744"/>
                  </a:lnTo>
                  <a:lnTo>
                    <a:pt x="120" y="744"/>
                  </a:lnTo>
                  <a:lnTo>
                    <a:pt x="114" y="738"/>
                  </a:lnTo>
                  <a:lnTo>
                    <a:pt x="108" y="744"/>
                  </a:lnTo>
                  <a:lnTo>
                    <a:pt x="102" y="744"/>
                  </a:lnTo>
                  <a:lnTo>
                    <a:pt x="96" y="744"/>
                  </a:lnTo>
                  <a:lnTo>
                    <a:pt x="96" y="738"/>
                  </a:lnTo>
                  <a:lnTo>
                    <a:pt x="96" y="744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44"/>
                  </a:lnTo>
                  <a:lnTo>
                    <a:pt x="72" y="750"/>
                  </a:lnTo>
                  <a:lnTo>
                    <a:pt x="66" y="750"/>
                  </a:lnTo>
                  <a:lnTo>
                    <a:pt x="60" y="750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0"/>
                  </a:lnTo>
                  <a:lnTo>
                    <a:pt x="30" y="750"/>
                  </a:lnTo>
                  <a:lnTo>
                    <a:pt x="24" y="744"/>
                  </a:lnTo>
                  <a:lnTo>
                    <a:pt x="18" y="738"/>
                  </a:lnTo>
                  <a:lnTo>
                    <a:pt x="6" y="738"/>
                  </a:lnTo>
                  <a:lnTo>
                    <a:pt x="0" y="732"/>
                  </a:lnTo>
                  <a:lnTo>
                    <a:pt x="0" y="726"/>
                  </a:lnTo>
                  <a:lnTo>
                    <a:pt x="0" y="720"/>
                  </a:lnTo>
                  <a:lnTo>
                    <a:pt x="6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8" y="702"/>
                  </a:lnTo>
                  <a:lnTo>
                    <a:pt x="24" y="696"/>
                  </a:lnTo>
                  <a:lnTo>
                    <a:pt x="30" y="696"/>
                  </a:lnTo>
                  <a:lnTo>
                    <a:pt x="48" y="690"/>
                  </a:lnTo>
                  <a:lnTo>
                    <a:pt x="54" y="678"/>
                  </a:lnTo>
                  <a:lnTo>
                    <a:pt x="66" y="672"/>
                  </a:lnTo>
                  <a:lnTo>
                    <a:pt x="66" y="654"/>
                  </a:lnTo>
                  <a:lnTo>
                    <a:pt x="72" y="636"/>
                  </a:lnTo>
                  <a:lnTo>
                    <a:pt x="72" y="612"/>
                  </a:lnTo>
                  <a:lnTo>
                    <a:pt x="84" y="594"/>
                  </a:lnTo>
                  <a:lnTo>
                    <a:pt x="90" y="576"/>
                  </a:lnTo>
                  <a:lnTo>
                    <a:pt x="96" y="552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72" y="522"/>
                  </a:lnTo>
                  <a:lnTo>
                    <a:pt x="78" y="510"/>
                  </a:lnTo>
                  <a:lnTo>
                    <a:pt x="78" y="504"/>
                  </a:lnTo>
                  <a:lnTo>
                    <a:pt x="84" y="480"/>
                  </a:lnTo>
                  <a:lnTo>
                    <a:pt x="90" y="468"/>
                  </a:lnTo>
                  <a:lnTo>
                    <a:pt x="90" y="456"/>
                  </a:lnTo>
                  <a:lnTo>
                    <a:pt x="96" y="456"/>
                  </a:lnTo>
                  <a:lnTo>
                    <a:pt x="96" y="444"/>
                  </a:lnTo>
                  <a:lnTo>
                    <a:pt x="102" y="438"/>
                  </a:lnTo>
                  <a:lnTo>
                    <a:pt x="102" y="432"/>
                  </a:lnTo>
                  <a:lnTo>
                    <a:pt x="108" y="432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14" y="408"/>
                  </a:lnTo>
                  <a:lnTo>
                    <a:pt x="114" y="402"/>
                  </a:lnTo>
                  <a:lnTo>
                    <a:pt x="126" y="384"/>
                  </a:lnTo>
                  <a:lnTo>
                    <a:pt x="138" y="378"/>
                  </a:lnTo>
                  <a:lnTo>
                    <a:pt x="138" y="372"/>
                  </a:lnTo>
                  <a:lnTo>
                    <a:pt x="150" y="354"/>
                  </a:lnTo>
                  <a:lnTo>
                    <a:pt x="156" y="342"/>
                  </a:lnTo>
                  <a:lnTo>
                    <a:pt x="162" y="330"/>
                  </a:lnTo>
                  <a:lnTo>
                    <a:pt x="168" y="324"/>
                  </a:lnTo>
                  <a:lnTo>
                    <a:pt x="168" y="312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74" y="294"/>
                  </a:lnTo>
                  <a:lnTo>
                    <a:pt x="180" y="288"/>
                  </a:lnTo>
                  <a:lnTo>
                    <a:pt x="180" y="276"/>
                  </a:lnTo>
                  <a:lnTo>
                    <a:pt x="186" y="276"/>
                  </a:lnTo>
                  <a:lnTo>
                    <a:pt x="186" y="270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40"/>
                  </a:lnTo>
                  <a:lnTo>
                    <a:pt x="168" y="240"/>
                  </a:lnTo>
                  <a:lnTo>
                    <a:pt x="162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68" y="216"/>
                  </a:lnTo>
                  <a:lnTo>
                    <a:pt x="168" y="180"/>
                  </a:lnTo>
                  <a:lnTo>
                    <a:pt x="168" y="144"/>
                  </a:lnTo>
                  <a:lnTo>
                    <a:pt x="162" y="120"/>
                  </a:lnTo>
                  <a:lnTo>
                    <a:pt x="162" y="108"/>
                  </a:lnTo>
                  <a:lnTo>
                    <a:pt x="168" y="102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44" y="84"/>
                  </a:lnTo>
                  <a:lnTo>
                    <a:pt x="126" y="84"/>
                  </a:lnTo>
                  <a:lnTo>
                    <a:pt x="108" y="78"/>
                  </a:lnTo>
                  <a:lnTo>
                    <a:pt x="96" y="78"/>
                  </a:lnTo>
                  <a:lnTo>
                    <a:pt x="78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8" y="36"/>
                  </a:lnTo>
                  <a:lnTo>
                    <a:pt x="96" y="24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56" y="0"/>
                  </a:lnTo>
                  <a:lnTo>
                    <a:pt x="156" y="6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18"/>
                  </a:lnTo>
                  <a:lnTo>
                    <a:pt x="198" y="18"/>
                  </a:lnTo>
                  <a:lnTo>
                    <a:pt x="210" y="18"/>
                  </a:lnTo>
                  <a:lnTo>
                    <a:pt x="222" y="18"/>
                  </a:lnTo>
                  <a:lnTo>
                    <a:pt x="234" y="12"/>
                  </a:lnTo>
                  <a:lnTo>
                    <a:pt x="252" y="18"/>
                  </a:lnTo>
                  <a:lnTo>
                    <a:pt x="252" y="24"/>
                  </a:lnTo>
                  <a:lnTo>
                    <a:pt x="258" y="36"/>
                  </a:lnTo>
                  <a:lnTo>
                    <a:pt x="258" y="66"/>
                  </a:lnTo>
                  <a:lnTo>
                    <a:pt x="252" y="84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82" y="126"/>
                  </a:lnTo>
                  <a:lnTo>
                    <a:pt x="294" y="132"/>
                  </a:lnTo>
                  <a:lnTo>
                    <a:pt x="306" y="138"/>
                  </a:lnTo>
                  <a:lnTo>
                    <a:pt x="324" y="138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60" y="144"/>
                  </a:lnTo>
                  <a:lnTo>
                    <a:pt x="396" y="144"/>
                  </a:lnTo>
                  <a:lnTo>
                    <a:pt x="408" y="150"/>
                  </a:lnTo>
                  <a:lnTo>
                    <a:pt x="414" y="180"/>
                  </a:lnTo>
                  <a:lnTo>
                    <a:pt x="420" y="186"/>
                  </a:lnTo>
                  <a:lnTo>
                    <a:pt x="426" y="192"/>
                  </a:lnTo>
                  <a:lnTo>
                    <a:pt x="426" y="198"/>
                  </a:lnTo>
                  <a:lnTo>
                    <a:pt x="432" y="198"/>
                  </a:lnTo>
                  <a:lnTo>
                    <a:pt x="438" y="210"/>
                  </a:lnTo>
                  <a:lnTo>
                    <a:pt x="450" y="216"/>
                  </a:lnTo>
                  <a:lnTo>
                    <a:pt x="468" y="228"/>
                  </a:lnTo>
                  <a:lnTo>
                    <a:pt x="492" y="234"/>
                  </a:lnTo>
                  <a:lnTo>
                    <a:pt x="492" y="246"/>
                  </a:lnTo>
                  <a:lnTo>
                    <a:pt x="492" y="270"/>
                  </a:lnTo>
                  <a:lnTo>
                    <a:pt x="486" y="294"/>
                  </a:lnTo>
                  <a:lnTo>
                    <a:pt x="486" y="312"/>
                  </a:lnTo>
                  <a:lnTo>
                    <a:pt x="486" y="330"/>
                  </a:lnTo>
                  <a:lnTo>
                    <a:pt x="492" y="348"/>
                  </a:lnTo>
                  <a:lnTo>
                    <a:pt x="498" y="360"/>
                  </a:lnTo>
                  <a:lnTo>
                    <a:pt x="510" y="366"/>
                  </a:lnTo>
                  <a:lnTo>
                    <a:pt x="516" y="384"/>
                  </a:lnTo>
                  <a:lnTo>
                    <a:pt x="522" y="414"/>
                  </a:lnTo>
                  <a:lnTo>
                    <a:pt x="528" y="414"/>
                  </a:lnTo>
                  <a:lnTo>
                    <a:pt x="534" y="426"/>
                  </a:lnTo>
                  <a:lnTo>
                    <a:pt x="528" y="432"/>
                  </a:lnTo>
                  <a:lnTo>
                    <a:pt x="468" y="426"/>
                  </a:lnTo>
                  <a:lnTo>
                    <a:pt x="462" y="4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3" name="Freeform 8">
              <a:extLst>
                <a:ext uri="{FF2B5EF4-FFF2-40B4-BE49-F238E27FC236}">
                  <a16:creationId xmlns:a16="http://schemas.microsoft.com/office/drawing/2014/main" id="{D473457C-872E-4E31-888A-D60FD52063A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98175" y="4307054"/>
              <a:ext cx="295177" cy="348894"/>
            </a:xfrm>
            <a:custGeom>
              <a:avLst/>
              <a:gdLst>
                <a:gd name="T0" fmla="*/ 3 w 552"/>
                <a:gd name="T1" fmla="*/ 46 h 660"/>
                <a:gd name="T2" fmla="*/ 4 w 552"/>
                <a:gd name="T3" fmla="*/ 42 h 660"/>
                <a:gd name="T4" fmla="*/ 2 w 552"/>
                <a:gd name="T5" fmla="*/ 38 h 660"/>
                <a:gd name="T6" fmla="*/ 0 w 552"/>
                <a:gd name="T7" fmla="*/ 34 h 660"/>
                <a:gd name="T8" fmla="*/ 2 w 552"/>
                <a:gd name="T9" fmla="*/ 30 h 660"/>
                <a:gd name="T10" fmla="*/ 3 w 552"/>
                <a:gd name="T11" fmla="*/ 27 h 660"/>
                <a:gd name="T12" fmla="*/ 5 w 552"/>
                <a:gd name="T13" fmla="*/ 23 h 660"/>
                <a:gd name="T14" fmla="*/ 5 w 552"/>
                <a:gd name="T15" fmla="*/ 15 h 660"/>
                <a:gd name="T16" fmla="*/ 6 w 552"/>
                <a:gd name="T17" fmla="*/ 11 h 660"/>
                <a:gd name="T18" fmla="*/ 11 w 552"/>
                <a:gd name="T19" fmla="*/ 9 h 660"/>
                <a:gd name="T20" fmla="*/ 10 w 552"/>
                <a:gd name="T21" fmla="*/ 5 h 660"/>
                <a:gd name="T22" fmla="*/ 12 w 552"/>
                <a:gd name="T23" fmla="*/ 1 h 660"/>
                <a:gd name="T24" fmla="*/ 16 w 552"/>
                <a:gd name="T25" fmla="*/ 2 h 660"/>
                <a:gd name="T26" fmla="*/ 23 w 552"/>
                <a:gd name="T27" fmla="*/ 8 h 660"/>
                <a:gd name="T28" fmla="*/ 23 w 552"/>
                <a:gd name="T29" fmla="*/ 11 h 660"/>
                <a:gd name="T30" fmla="*/ 27 w 552"/>
                <a:gd name="T31" fmla="*/ 12 h 660"/>
                <a:gd name="T32" fmla="*/ 29 w 552"/>
                <a:gd name="T33" fmla="*/ 17 h 660"/>
                <a:gd name="T34" fmla="*/ 31 w 552"/>
                <a:gd name="T35" fmla="*/ 15 h 660"/>
                <a:gd name="T36" fmla="*/ 33 w 552"/>
                <a:gd name="T37" fmla="*/ 17 h 660"/>
                <a:gd name="T38" fmla="*/ 36 w 552"/>
                <a:gd name="T39" fmla="*/ 23 h 660"/>
                <a:gd name="T40" fmla="*/ 41 w 552"/>
                <a:gd name="T41" fmla="*/ 33 h 660"/>
                <a:gd name="T42" fmla="*/ 43 w 552"/>
                <a:gd name="T43" fmla="*/ 36 h 660"/>
                <a:gd name="T44" fmla="*/ 43 w 552"/>
                <a:gd name="T45" fmla="*/ 37 h 660"/>
                <a:gd name="T46" fmla="*/ 41 w 552"/>
                <a:gd name="T47" fmla="*/ 35 h 660"/>
                <a:gd name="T48" fmla="*/ 43 w 552"/>
                <a:gd name="T49" fmla="*/ 37 h 660"/>
                <a:gd name="T50" fmla="*/ 44 w 552"/>
                <a:gd name="T51" fmla="*/ 39 h 660"/>
                <a:gd name="T52" fmla="*/ 47 w 552"/>
                <a:gd name="T53" fmla="*/ 41 h 660"/>
                <a:gd name="T54" fmla="*/ 47 w 552"/>
                <a:gd name="T55" fmla="*/ 44 h 660"/>
                <a:gd name="T56" fmla="*/ 48 w 552"/>
                <a:gd name="T57" fmla="*/ 46 h 660"/>
                <a:gd name="T58" fmla="*/ 47 w 552"/>
                <a:gd name="T59" fmla="*/ 46 h 660"/>
                <a:gd name="T60" fmla="*/ 44 w 552"/>
                <a:gd name="T61" fmla="*/ 46 h 660"/>
                <a:gd name="T62" fmla="*/ 47 w 552"/>
                <a:gd name="T63" fmla="*/ 47 h 660"/>
                <a:gd name="T64" fmla="*/ 47 w 552"/>
                <a:gd name="T65" fmla="*/ 49 h 660"/>
                <a:gd name="T66" fmla="*/ 47 w 552"/>
                <a:gd name="T67" fmla="*/ 52 h 660"/>
                <a:gd name="T68" fmla="*/ 46 w 552"/>
                <a:gd name="T69" fmla="*/ 53 h 660"/>
                <a:gd name="T70" fmla="*/ 43 w 552"/>
                <a:gd name="T71" fmla="*/ 54 h 660"/>
                <a:gd name="T72" fmla="*/ 37 w 552"/>
                <a:gd name="T73" fmla="*/ 54 h 660"/>
                <a:gd name="T74" fmla="*/ 30 w 552"/>
                <a:gd name="T75" fmla="*/ 54 h 660"/>
                <a:gd name="T76" fmla="*/ 29 w 552"/>
                <a:gd name="T77" fmla="*/ 53 h 660"/>
                <a:gd name="T78" fmla="*/ 27 w 552"/>
                <a:gd name="T79" fmla="*/ 53 h 660"/>
                <a:gd name="T80" fmla="*/ 29 w 552"/>
                <a:gd name="T81" fmla="*/ 53 h 660"/>
                <a:gd name="T82" fmla="*/ 28 w 552"/>
                <a:gd name="T83" fmla="*/ 54 h 660"/>
                <a:gd name="T84" fmla="*/ 24 w 552"/>
                <a:gd name="T85" fmla="*/ 54 h 660"/>
                <a:gd name="T86" fmla="*/ 20 w 552"/>
                <a:gd name="T87" fmla="*/ 55 h 660"/>
                <a:gd name="T88" fmla="*/ 15 w 552"/>
                <a:gd name="T89" fmla="*/ 56 h 660"/>
                <a:gd name="T90" fmla="*/ 12 w 552"/>
                <a:gd name="T91" fmla="*/ 56 h 660"/>
                <a:gd name="T92" fmla="*/ 11 w 552"/>
                <a:gd name="T93" fmla="*/ 57 h 660"/>
                <a:gd name="T94" fmla="*/ 9 w 552"/>
                <a:gd name="T95" fmla="*/ 57 h 660"/>
                <a:gd name="T96" fmla="*/ 7 w 552"/>
                <a:gd name="T97" fmla="*/ 56 h 660"/>
                <a:gd name="T98" fmla="*/ 5 w 552"/>
                <a:gd name="T99" fmla="*/ 55 h 660"/>
                <a:gd name="T100" fmla="*/ 7 w 552"/>
                <a:gd name="T101" fmla="*/ 54 h 660"/>
                <a:gd name="T102" fmla="*/ 5 w 552"/>
                <a:gd name="T103" fmla="*/ 54 h 660"/>
                <a:gd name="T104" fmla="*/ 5 w 552"/>
                <a:gd name="T105" fmla="*/ 53 h 660"/>
                <a:gd name="T106" fmla="*/ 4 w 552"/>
                <a:gd name="T107" fmla="*/ 49 h 660"/>
                <a:gd name="T108" fmla="*/ 45 w 552"/>
                <a:gd name="T109" fmla="*/ 38 h 66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52"/>
                <a:gd name="T166" fmla="*/ 0 h 660"/>
                <a:gd name="T167" fmla="*/ 552 w 552"/>
                <a:gd name="T168" fmla="*/ 660 h 66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52" h="660">
                  <a:moveTo>
                    <a:pt x="36" y="564"/>
                  </a:moveTo>
                  <a:lnTo>
                    <a:pt x="36" y="558"/>
                  </a:lnTo>
                  <a:lnTo>
                    <a:pt x="36" y="552"/>
                  </a:lnTo>
                  <a:lnTo>
                    <a:pt x="42" y="546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34"/>
                  </a:lnTo>
                  <a:lnTo>
                    <a:pt x="36" y="528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54" y="510"/>
                  </a:lnTo>
                  <a:lnTo>
                    <a:pt x="54" y="504"/>
                  </a:lnTo>
                  <a:lnTo>
                    <a:pt x="54" y="498"/>
                  </a:lnTo>
                  <a:lnTo>
                    <a:pt x="48" y="492"/>
                  </a:lnTo>
                  <a:lnTo>
                    <a:pt x="42" y="486"/>
                  </a:lnTo>
                  <a:lnTo>
                    <a:pt x="42" y="480"/>
                  </a:lnTo>
                  <a:lnTo>
                    <a:pt x="42" y="468"/>
                  </a:lnTo>
                  <a:lnTo>
                    <a:pt x="30" y="456"/>
                  </a:lnTo>
                  <a:lnTo>
                    <a:pt x="30" y="450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2"/>
                  </a:lnTo>
                  <a:lnTo>
                    <a:pt x="18" y="426"/>
                  </a:lnTo>
                  <a:lnTo>
                    <a:pt x="24" y="420"/>
                  </a:lnTo>
                  <a:lnTo>
                    <a:pt x="18" y="414"/>
                  </a:lnTo>
                  <a:lnTo>
                    <a:pt x="12" y="408"/>
                  </a:lnTo>
                  <a:lnTo>
                    <a:pt x="12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6" y="384"/>
                  </a:lnTo>
                  <a:lnTo>
                    <a:pt x="12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8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36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54" y="270"/>
                  </a:lnTo>
                  <a:lnTo>
                    <a:pt x="48" y="264"/>
                  </a:lnTo>
                  <a:lnTo>
                    <a:pt x="42" y="246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8" y="204"/>
                  </a:lnTo>
                  <a:lnTo>
                    <a:pt x="54" y="174"/>
                  </a:lnTo>
                  <a:lnTo>
                    <a:pt x="54" y="162"/>
                  </a:lnTo>
                  <a:lnTo>
                    <a:pt x="54" y="156"/>
                  </a:lnTo>
                  <a:lnTo>
                    <a:pt x="54" y="144"/>
                  </a:lnTo>
                  <a:lnTo>
                    <a:pt x="48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72" y="126"/>
                  </a:lnTo>
                  <a:lnTo>
                    <a:pt x="84" y="126"/>
                  </a:lnTo>
                  <a:lnTo>
                    <a:pt x="96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2" y="84"/>
                  </a:lnTo>
                  <a:lnTo>
                    <a:pt x="126" y="78"/>
                  </a:lnTo>
                  <a:lnTo>
                    <a:pt x="120" y="78"/>
                  </a:lnTo>
                  <a:lnTo>
                    <a:pt x="102" y="84"/>
                  </a:lnTo>
                  <a:lnTo>
                    <a:pt x="108" y="66"/>
                  </a:lnTo>
                  <a:lnTo>
                    <a:pt x="114" y="54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8" y="4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6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74" y="0"/>
                  </a:lnTo>
                  <a:lnTo>
                    <a:pt x="180" y="0"/>
                  </a:lnTo>
                  <a:lnTo>
                    <a:pt x="186" y="18"/>
                  </a:lnTo>
                  <a:lnTo>
                    <a:pt x="198" y="30"/>
                  </a:lnTo>
                  <a:lnTo>
                    <a:pt x="204" y="54"/>
                  </a:lnTo>
                  <a:lnTo>
                    <a:pt x="216" y="60"/>
                  </a:lnTo>
                  <a:lnTo>
                    <a:pt x="240" y="60"/>
                  </a:lnTo>
                  <a:lnTo>
                    <a:pt x="246" y="66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2" y="120"/>
                  </a:lnTo>
                  <a:lnTo>
                    <a:pt x="25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6" y="126"/>
                  </a:lnTo>
                  <a:lnTo>
                    <a:pt x="282" y="120"/>
                  </a:lnTo>
                  <a:lnTo>
                    <a:pt x="282" y="126"/>
                  </a:lnTo>
                  <a:lnTo>
                    <a:pt x="294" y="126"/>
                  </a:lnTo>
                  <a:lnTo>
                    <a:pt x="300" y="132"/>
                  </a:lnTo>
                  <a:lnTo>
                    <a:pt x="306" y="144"/>
                  </a:lnTo>
                  <a:lnTo>
                    <a:pt x="312" y="144"/>
                  </a:lnTo>
                  <a:lnTo>
                    <a:pt x="312" y="150"/>
                  </a:lnTo>
                  <a:lnTo>
                    <a:pt x="312" y="162"/>
                  </a:lnTo>
                  <a:lnTo>
                    <a:pt x="312" y="174"/>
                  </a:lnTo>
                  <a:lnTo>
                    <a:pt x="324" y="180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30" y="192"/>
                  </a:lnTo>
                  <a:lnTo>
                    <a:pt x="336" y="198"/>
                  </a:lnTo>
                  <a:lnTo>
                    <a:pt x="342" y="192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54" y="180"/>
                  </a:lnTo>
                  <a:lnTo>
                    <a:pt x="354" y="174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84" y="192"/>
                  </a:lnTo>
                  <a:lnTo>
                    <a:pt x="390" y="204"/>
                  </a:lnTo>
                  <a:lnTo>
                    <a:pt x="390" y="210"/>
                  </a:lnTo>
                  <a:lnTo>
                    <a:pt x="390" y="216"/>
                  </a:lnTo>
                  <a:lnTo>
                    <a:pt x="384" y="234"/>
                  </a:lnTo>
                  <a:lnTo>
                    <a:pt x="390" y="240"/>
                  </a:lnTo>
                  <a:lnTo>
                    <a:pt x="408" y="252"/>
                  </a:lnTo>
                  <a:lnTo>
                    <a:pt x="414" y="264"/>
                  </a:lnTo>
                  <a:lnTo>
                    <a:pt x="408" y="300"/>
                  </a:lnTo>
                  <a:lnTo>
                    <a:pt x="414" y="312"/>
                  </a:lnTo>
                  <a:lnTo>
                    <a:pt x="426" y="336"/>
                  </a:lnTo>
                  <a:lnTo>
                    <a:pt x="438" y="354"/>
                  </a:lnTo>
                  <a:lnTo>
                    <a:pt x="444" y="366"/>
                  </a:lnTo>
                  <a:lnTo>
                    <a:pt x="456" y="366"/>
                  </a:lnTo>
                  <a:lnTo>
                    <a:pt x="474" y="378"/>
                  </a:lnTo>
                  <a:lnTo>
                    <a:pt x="474" y="384"/>
                  </a:lnTo>
                  <a:lnTo>
                    <a:pt x="480" y="390"/>
                  </a:lnTo>
                  <a:lnTo>
                    <a:pt x="486" y="396"/>
                  </a:lnTo>
                  <a:lnTo>
                    <a:pt x="486" y="402"/>
                  </a:lnTo>
                  <a:lnTo>
                    <a:pt x="480" y="408"/>
                  </a:lnTo>
                  <a:lnTo>
                    <a:pt x="486" y="408"/>
                  </a:lnTo>
                  <a:lnTo>
                    <a:pt x="486" y="414"/>
                  </a:lnTo>
                  <a:lnTo>
                    <a:pt x="492" y="414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32"/>
                  </a:lnTo>
                  <a:lnTo>
                    <a:pt x="498" y="438"/>
                  </a:lnTo>
                  <a:lnTo>
                    <a:pt x="492" y="432"/>
                  </a:lnTo>
                  <a:lnTo>
                    <a:pt x="486" y="426"/>
                  </a:lnTo>
                  <a:lnTo>
                    <a:pt x="486" y="420"/>
                  </a:lnTo>
                  <a:lnTo>
                    <a:pt x="486" y="414"/>
                  </a:lnTo>
                  <a:lnTo>
                    <a:pt x="480" y="414"/>
                  </a:lnTo>
                  <a:lnTo>
                    <a:pt x="480" y="408"/>
                  </a:lnTo>
                  <a:lnTo>
                    <a:pt x="474" y="408"/>
                  </a:lnTo>
                  <a:lnTo>
                    <a:pt x="468" y="408"/>
                  </a:lnTo>
                  <a:lnTo>
                    <a:pt x="468" y="402"/>
                  </a:lnTo>
                  <a:lnTo>
                    <a:pt x="462" y="402"/>
                  </a:lnTo>
                  <a:lnTo>
                    <a:pt x="462" y="408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80" y="426"/>
                  </a:lnTo>
                  <a:lnTo>
                    <a:pt x="486" y="426"/>
                  </a:lnTo>
                  <a:lnTo>
                    <a:pt x="486" y="432"/>
                  </a:lnTo>
                  <a:lnTo>
                    <a:pt x="492" y="438"/>
                  </a:lnTo>
                  <a:lnTo>
                    <a:pt x="498" y="438"/>
                  </a:lnTo>
                  <a:lnTo>
                    <a:pt x="504" y="444"/>
                  </a:lnTo>
                  <a:lnTo>
                    <a:pt x="510" y="444"/>
                  </a:lnTo>
                  <a:lnTo>
                    <a:pt x="510" y="450"/>
                  </a:lnTo>
                  <a:lnTo>
                    <a:pt x="510" y="456"/>
                  </a:lnTo>
                  <a:lnTo>
                    <a:pt x="516" y="456"/>
                  </a:lnTo>
                  <a:lnTo>
                    <a:pt x="516" y="462"/>
                  </a:lnTo>
                  <a:lnTo>
                    <a:pt x="522" y="462"/>
                  </a:lnTo>
                  <a:lnTo>
                    <a:pt x="522" y="468"/>
                  </a:lnTo>
                  <a:lnTo>
                    <a:pt x="528" y="468"/>
                  </a:lnTo>
                  <a:lnTo>
                    <a:pt x="534" y="468"/>
                  </a:lnTo>
                  <a:lnTo>
                    <a:pt x="534" y="474"/>
                  </a:lnTo>
                  <a:lnTo>
                    <a:pt x="540" y="474"/>
                  </a:lnTo>
                  <a:lnTo>
                    <a:pt x="540" y="480"/>
                  </a:lnTo>
                  <a:lnTo>
                    <a:pt x="546" y="486"/>
                  </a:lnTo>
                  <a:lnTo>
                    <a:pt x="546" y="492"/>
                  </a:lnTo>
                  <a:lnTo>
                    <a:pt x="546" y="498"/>
                  </a:lnTo>
                  <a:lnTo>
                    <a:pt x="546" y="504"/>
                  </a:lnTo>
                  <a:lnTo>
                    <a:pt x="540" y="504"/>
                  </a:lnTo>
                  <a:lnTo>
                    <a:pt x="546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10"/>
                  </a:lnTo>
                  <a:lnTo>
                    <a:pt x="552" y="516"/>
                  </a:lnTo>
                  <a:lnTo>
                    <a:pt x="552" y="522"/>
                  </a:lnTo>
                  <a:lnTo>
                    <a:pt x="552" y="528"/>
                  </a:lnTo>
                  <a:lnTo>
                    <a:pt x="552" y="534"/>
                  </a:lnTo>
                  <a:lnTo>
                    <a:pt x="552" y="540"/>
                  </a:lnTo>
                  <a:lnTo>
                    <a:pt x="546" y="540"/>
                  </a:lnTo>
                  <a:lnTo>
                    <a:pt x="546" y="546"/>
                  </a:lnTo>
                  <a:lnTo>
                    <a:pt x="546" y="540"/>
                  </a:lnTo>
                  <a:lnTo>
                    <a:pt x="546" y="534"/>
                  </a:lnTo>
                  <a:lnTo>
                    <a:pt x="540" y="534"/>
                  </a:lnTo>
                  <a:lnTo>
                    <a:pt x="540" y="528"/>
                  </a:lnTo>
                  <a:lnTo>
                    <a:pt x="534" y="528"/>
                  </a:lnTo>
                  <a:lnTo>
                    <a:pt x="528" y="528"/>
                  </a:lnTo>
                  <a:lnTo>
                    <a:pt x="522" y="528"/>
                  </a:lnTo>
                  <a:lnTo>
                    <a:pt x="516" y="528"/>
                  </a:lnTo>
                  <a:lnTo>
                    <a:pt x="510" y="528"/>
                  </a:lnTo>
                  <a:lnTo>
                    <a:pt x="510" y="534"/>
                  </a:lnTo>
                  <a:lnTo>
                    <a:pt x="510" y="528"/>
                  </a:lnTo>
                  <a:lnTo>
                    <a:pt x="516" y="528"/>
                  </a:lnTo>
                  <a:lnTo>
                    <a:pt x="522" y="528"/>
                  </a:lnTo>
                  <a:lnTo>
                    <a:pt x="528" y="528"/>
                  </a:lnTo>
                  <a:lnTo>
                    <a:pt x="534" y="534"/>
                  </a:lnTo>
                  <a:lnTo>
                    <a:pt x="540" y="534"/>
                  </a:lnTo>
                  <a:lnTo>
                    <a:pt x="540" y="540"/>
                  </a:lnTo>
                  <a:lnTo>
                    <a:pt x="540" y="546"/>
                  </a:lnTo>
                  <a:lnTo>
                    <a:pt x="546" y="546"/>
                  </a:lnTo>
                  <a:lnTo>
                    <a:pt x="546" y="552"/>
                  </a:lnTo>
                  <a:lnTo>
                    <a:pt x="552" y="552"/>
                  </a:lnTo>
                  <a:lnTo>
                    <a:pt x="552" y="558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0" y="576"/>
                  </a:lnTo>
                  <a:lnTo>
                    <a:pt x="540" y="582"/>
                  </a:lnTo>
                  <a:lnTo>
                    <a:pt x="540" y="588"/>
                  </a:lnTo>
                  <a:lnTo>
                    <a:pt x="534" y="594"/>
                  </a:lnTo>
                  <a:lnTo>
                    <a:pt x="534" y="600"/>
                  </a:lnTo>
                  <a:lnTo>
                    <a:pt x="528" y="600"/>
                  </a:lnTo>
                  <a:lnTo>
                    <a:pt x="522" y="594"/>
                  </a:lnTo>
                  <a:lnTo>
                    <a:pt x="528" y="600"/>
                  </a:lnTo>
                  <a:lnTo>
                    <a:pt x="534" y="600"/>
                  </a:lnTo>
                  <a:lnTo>
                    <a:pt x="534" y="606"/>
                  </a:lnTo>
                  <a:lnTo>
                    <a:pt x="528" y="606"/>
                  </a:lnTo>
                  <a:lnTo>
                    <a:pt x="528" y="612"/>
                  </a:lnTo>
                  <a:lnTo>
                    <a:pt x="522" y="612"/>
                  </a:lnTo>
                  <a:lnTo>
                    <a:pt x="522" y="618"/>
                  </a:lnTo>
                  <a:lnTo>
                    <a:pt x="522" y="624"/>
                  </a:lnTo>
                  <a:lnTo>
                    <a:pt x="510" y="624"/>
                  </a:lnTo>
                  <a:lnTo>
                    <a:pt x="498" y="624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0" y="624"/>
                  </a:lnTo>
                  <a:lnTo>
                    <a:pt x="474" y="624"/>
                  </a:lnTo>
                  <a:lnTo>
                    <a:pt x="468" y="618"/>
                  </a:lnTo>
                  <a:lnTo>
                    <a:pt x="456" y="618"/>
                  </a:lnTo>
                  <a:lnTo>
                    <a:pt x="450" y="618"/>
                  </a:lnTo>
                  <a:lnTo>
                    <a:pt x="426" y="618"/>
                  </a:lnTo>
                  <a:lnTo>
                    <a:pt x="420" y="618"/>
                  </a:lnTo>
                  <a:lnTo>
                    <a:pt x="414" y="618"/>
                  </a:lnTo>
                  <a:lnTo>
                    <a:pt x="408" y="618"/>
                  </a:lnTo>
                  <a:lnTo>
                    <a:pt x="396" y="618"/>
                  </a:lnTo>
                  <a:lnTo>
                    <a:pt x="366" y="618"/>
                  </a:lnTo>
                  <a:lnTo>
                    <a:pt x="348" y="624"/>
                  </a:lnTo>
                  <a:lnTo>
                    <a:pt x="342" y="624"/>
                  </a:lnTo>
                  <a:lnTo>
                    <a:pt x="342" y="618"/>
                  </a:lnTo>
                  <a:lnTo>
                    <a:pt x="336" y="618"/>
                  </a:lnTo>
                  <a:lnTo>
                    <a:pt x="336" y="612"/>
                  </a:lnTo>
                  <a:lnTo>
                    <a:pt x="342" y="612"/>
                  </a:lnTo>
                  <a:lnTo>
                    <a:pt x="348" y="612"/>
                  </a:lnTo>
                  <a:lnTo>
                    <a:pt x="342" y="612"/>
                  </a:lnTo>
                  <a:lnTo>
                    <a:pt x="336" y="612"/>
                  </a:lnTo>
                  <a:lnTo>
                    <a:pt x="336" y="606"/>
                  </a:lnTo>
                  <a:lnTo>
                    <a:pt x="330" y="606"/>
                  </a:lnTo>
                  <a:lnTo>
                    <a:pt x="330" y="600"/>
                  </a:lnTo>
                  <a:lnTo>
                    <a:pt x="324" y="600"/>
                  </a:lnTo>
                  <a:lnTo>
                    <a:pt x="324" y="606"/>
                  </a:lnTo>
                  <a:lnTo>
                    <a:pt x="318" y="606"/>
                  </a:lnTo>
                  <a:lnTo>
                    <a:pt x="318" y="612"/>
                  </a:lnTo>
                  <a:lnTo>
                    <a:pt x="312" y="612"/>
                  </a:lnTo>
                  <a:lnTo>
                    <a:pt x="306" y="606"/>
                  </a:lnTo>
                  <a:lnTo>
                    <a:pt x="306" y="612"/>
                  </a:lnTo>
                  <a:lnTo>
                    <a:pt x="312" y="612"/>
                  </a:lnTo>
                  <a:lnTo>
                    <a:pt x="318" y="612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30" y="606"/>
                  </a:lnTo>
                  <a:lnTo>
                    <a:pt x="336" y="612"/>
                  </a:lnTo>
                  <a:lnTo>
                    <a:pt x="336" y="618"/>
                  </a:lnTo>
                  <a:lnTo>
                    <a:pt x="330" y="618"/>
                  </a:lnTo>
                  <a:lnTo>
                    <a:pt x="336" y="618"/>
                  </a:lnTo>
                  <a:lnTo>
                    <a:pt x="336" y="624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288" y="624"/>
                  </a:lnTo>
                  <a:lnTo>
                    <a:pt x="282" y="624"/>
                  </a:lnTo>
                  <a:lnTo>
                    <a:pt x="270" y="630"/>
                  </a:lnTo>
                  <a:lnTo>
                    <a:pt x="264" y="630"/>
                  </a:lnTo>
                  <a:lnTo>
                    <a:pt x="258" y="630"/>
                  </a:lnTo>
                  <a:lnTo>
                    <a:pt x="252" y="630"/>
                  </a:lnTo>
                  <a:lnTo>
                    <a:pt x="246" y="630"/>
                  </a:lnTo>
                  <a:lnTo>
                    <a:pt x="240" y="630"/>
                  </a:lnTo>
                  <a:lnTo>
                    <a:pt x="228" y="636"/>
                  </a:lnTo>
                  <a:lnTo>
                    <a:pt x="222" y="636"/>
                  </a:lnTo>
                  <a:lnTo>
                    <a:pt x="210" y="636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42"/>
                  </a:lnTo>
                  <a:lnTo>
                    <a:pt x="186" y="642"/>
                  </a:lnTo>
                  <a:lnTo>
                    <a:pt x="180" y="642"/>
                  </a:lnTo>
                  <a:lnTo>
                    <a:pt x="168" y="642"/>
                  </a:lnTo>
                  <a:lnTo>
                    <a:pt x="162" y="642"/>
                  </a:lnTo>
                  <a:lnTo>
                    <a:pt x="162" y="648"/>
                  </a:lnTo>
                  <a:lnTo>
                    <a:pt x="156" y="648"/>
                  </a:lnTo>
                  <a:lnTo>
                    <a:pt x="150" y="648"/>
                  </a:lnTo>
                  <a:lnTo>
                    <a:pt x="144" y="648"/>
                  </a:lnTo>
                  <a:lnTo>
                    <a:pt x="138" y="648"/>
                  </a:lnTo>
                  <a:lnTo>
                    <a:pt x="132" y="648"/>
                  </a:lnTo>
                  <a:lnTo>
                    <a:pt x="126" y="642"/>
                  </a:lnTo>
                  <a:lnTo>
                    <a:pt x="126" y="636"/>
                  </a:lnTo>
                  <a:lnTo>
                    <a:pt x="120" y="636"/>
                  </a:lnTo>
                  <a:lnTo>
                    <a:pt x="126" y="642"/>
                  </a:lnTo>
                  <a:lnTo>
                    <a:pt x="126" y="648"/>
                  </a:lnTo>
                  <a:lnTo>
                    <a:pt x="132" y="648"/>
                  </a:lnTo>
                  <a:lnTo>
                    <a:pt x="126" y="654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54"/>
                  </a:lnTo>
                  <a:lnTo>
                    <a:pt x="108" y="660"/>
                  </a:lnTo>
                  <a:lnTo>
                    <a:pt x="108" y="654"/>
                  </a:lnTo>
                  <a:lnTo>
                    <a:pt x="102" y="654"/>
                  </a:lnTo>
                  <a:lnTo>
                    <a:pt x="102" y="660"/>
                  </a:lnTo>
                  <a:lnTo>
                    <a:pt x="108" y="660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0" y="660"/>
                  </a:lnTo>
                  <a:lnTo>
                    <a:pt x="90" y="654"/>
                  </a:lnTo>
                  <a:lnTo>
                    <a:pt x="84" y="648"/>
                  </a:lnTo>
                  <a:lnTo>
                    <a:pt x="84" y="642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72" y="636"/>
                  </a:lnTo>
                  <a:lnTo>
                    <a:pt x="78" y="636"/>
                  </a:lnTo>
                  <a:lnTo>
                    <a:pt x="72" y="636"/>
                  </a:lnTo>
                  <a:lnTo>
                    <a:pt x="66" y="636"/>
                  </a:lnTo>
                  <a:lnTo>
                    <a:pt x="60" y="636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60" y="618"/>
                  </a:lnTo>
                  <a:lnTo>
                    <a:pt x="66" y="618"/>
                  </a:lnTo>
                  <a:lnTo>
                    <a:pt x="72" y="618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2" y="612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12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54" y="618"/>
                  </a:lnTo>
                  <a:lnTo>
                    <a:pt x="54" y="624"/>
                  </a:lnTo>
                  <a:lnTo>
                    <a:pt x="48" y="618"/>
                  </a:lnTo>
                  <a:lnTo>
                    <a:pt x="42" y="618"/>
                  </a:lnTo>
                  <a:lnTo>
                    <a:pt x="42" y="612"/>
                  </a:lnTo>
                  <a:lnTo>
                    <a:pt x="48" y="606"/>
                  </a:lnTo>
                  <a:lnTo>
                    <a:pt x="54" y="606"/>
                  </a:lnTo>
                  <a:lnTo>
                    <a:pt x="54" y="600"/>
                  </a:lnTo>
                  <a:lnTo>
                    <a:pt x="54" y="594"/>
                  </a:lnTo>
                  <a:lnTo>
                    <a:pt x="54" y="588"/>
                  </a:lnTo>
                  <a:lnTo>
                    <a:pt x="48" y="588"/>
                  </a:lnTo>
                  <a:lnTo>
                    <a:pt x="48" y="582"/>
                  </a:lnTo>
                  <a:lnTo>
                    <a:pt x="42" y="582"/>
                  </a:lnTo>
                  <a:lnTo>
                    <a:pt x="42" y="570"/>
                  </a:lnTo>
                  <a:lnTo>
                    <a:pt x="42" y="564"/>
                  </a:lnTo>
                  <a:lnTo>
                    <a:pt x="36" y="564"/>
                  </a:lnTo>
                  <a:close/>
                  <a:moveTo>
                    <a:pt x="498" y="420"/>
                  </a:moveTo>
                  <a:lnTo>
                    <a:pt x="504" y="426"/>
                  </a:lnTo>
                  <a:lnTo>
                    <a:pt x="510" y="432"/>
                  </a:lnTo>
                  <a:lnTo>
                    <a:pt x="516" y="432"/>
                  </a:lnTo>
                  <a:lnTo>
                    <a:pt x="516" y="438"/>
                  </a:lnTo>
                  <a:lnTo>
                    <a:pt x="510" y="438"/>
                  </a:lnTo>
                  <a:lnTo>
                    <a:pt x="504" y="438"/>
                  </a:lnTo>
                  <a:lnTo>
                    <a:pt x="504" y="432"/>
                  </a:lnTo>
                  <a:lnTo>
                    <a:pt x="498" y="432"/>
                  </a:lnTo>
                  <a:lnTo>
                    <a:pt x="498" y="426"/>
                  </a:lnTo>
                  <a:lnTo>
                    <a:pt x="498" y="42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4" name="Freeform 9">
              <a:extLst>
                <a:ext uri="{FF2B5EF4-FFF2-40B4-BE49-F238E27FC236}">
                  <a16:creationId xmlns:a16="http://schemas.microsoft.com/office/drawing/2014/main" id="{E0116D32-BD2E-45EA-B818-A3082585D5F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3055" y="2468650"/>
              <a:ext cx="800556" cy="1207710"/>
            </a:xfrm>
            <a:custGeom>
              <a:avLst/>
              <a:gdLst>
                <a:gd name="T0" fmla="*/ 24 w 1506"/>
                <a:gd name="T1" fmla="*/ 190 h 2274"/>
                <a:gd name="T2" fmla="*/ 25 w 1506"/>
                <a:gd name="T3" fmla="*/ 180 h 2274"/>
                <a:gd name="T4" fmla="*/ 21 w 1506"/>
                <a:gd name="T5" fmla="*/ 174 h 2274"/>
                <a:gd name="T6" fmla="*/ 17 w 1506"/>
                <a:gd name="T7" fmla="*/ 170 h 2274"/>
                <a:gd name="T8" fmla="*/ 12 w 1506"/>
                <a:gd name="T9" fmla="*/ 168 h 2274"/>
                <a:gd name="T10" fmla="*/ 10 w 1506"/>
                <a:gd name="T11" fmla="*/ 173 h 2274"/>
                <a:gd name="T12" fmla="*/ 7 w 1506"/>
                <a:gd name="T13" fmla="*/ 174 h 2274"/>
                <a:gd name="T14" fmla="*/ 0 w 1506"/>
                <a:gd name="T15" fmla="*/ 163 h 2274"/>
                <a:gd name="T16" fmla="*/ 16 w 1506"/>
                <a:gd name="T17" fmla="*/ 140 h 2274"/>
                <a:gd name="T18" fmla="*/ 19 w 1506"/>
                <a:gd name="T19" fmla="*/ 137 h 2274"/>
                <a:gd name="T20" fmla="*/ 24 w 1506"/>
                <a:gd name="T21" fmla="*/ 126 h 2274"/>
                <a:gd name="T22" fmla="*/ 23 w 1506"/>
                <a:gd name="T23" fmla="*/ 105 h 2274"/>
                <a:gd name="T24" fmla="*/ 14 w 1506"/>
                <a:gd name="T25" fmla="*/ 86 h 2274"/>
                <a:gd name="T26" fmla="*/ 8 w 1506"/>
                <a:gd name="T27" fmla="*/ 84 h 2274"/>
                <a:gd name="T28" fmla="*/ 5 w 1506"/>
                <a:gd name="T29" fmla="*/ 79 h 2274"/>
                <a:gd name="T30" fmla="*/ 16 w 1506"/>
                <a:gd name="T31" fmla="*/ 71 h 2274"/>
                <a:gd name="T32" fmla="*/ 28 w 1506"/>
                <a:gd name="T33" fmla="*/ 55 h 2274"/>
                <a:gd name="T34" fmla="*/ 29 w 1506"/>
                <a:gd name="T35" fmla="*/ 48 h 2274"/>
                <a:gd name="T36" fmla="*/ 35 w 1506"/>
                <a:gd name="T37" fmla="*/ 50 h 2274"/>
                <a:gd name="T38" fmla="*/ 42 w 1506"/>
                <a:gd name="T39" fmla="*/ 47 h 2274"/>
                <a:gd name="T40" fmla="*/ 63 w 1506"/>
                <a:gd name="T41" fmla="*/ 34 h 2274"/>
                <a:gd name="T42" fmla="*/ 74 w 1506"/>
                <a:gd name="T43" fmla="*/ 27 h 2274"/>
                <a:gd name="T44" fmla="*/ 81 w 1506"/>
                <a:gd name="T45" fmla="*/ 20 h 2274"/>
                <a:gd name="T46" fmla="*/ 89 w 1506"/>
                <a:gd name="T47" fmla="*/ 20 h 2274"/>
                <a:gd name="T48" fmla="*/ 98 w 1506"/>
                <a:gd name="T49" fmla="*/ 27 h 2274"/>
                <a:gd name="T50" fmla="*/ 106 w 1506"/>
                <a:gd name="T51" fmla="*/ 17 h 2274"/>
                <a:gd name="T52" fmla="*/ 111 w 1506"/>
                <a:gd name="T53" fmla="*/ 8 h 2274"/>
                <a:gd name="T54" fmla="*/ 121 w 1506"/>
                <a:gd name="T55" fmla="*/ 2 h 2274"/>
                <a:gd name="T56" fmla="*/ 129 w 1506"/>
                <a:gd name="T57" fmla="*/ 5 h 2274"/>
                <a:gd name="T58" fmla="*/ 125 w 1506"/>
                <a:gd name="T59" fmla="*/ 12 h 2274"/>
                <a:gd name="T60" fmla="*/ 122 w 1506"/>
                <a:gd name="T61" fmla="*/ 20 h 2274"/>
                <a:gd name="T62" fmla="*/ 122 w 1506"/>
                <a:gd name="T63" fmla="*/ 27 h 2274"/>
                <a:gd name="T64" fmla="*/ 120 w 1506"/>
                <a:gd name="T65" fmla="*/ 36 h 2274"/>
                <a:gd name="T66" fmla="*/ 116 w 1506"/>
                <a:gd name="T67" fmla="*/ 43 h 2274"/>
                <a:gd name="T68" fmla="*/ 109 w 1506"/>
                <a:gd name="T69" fmla="*/ 47 h 2274"/>
                <a:gd name="T70" fmla="*/ 108 w 1506"/>
                <a:gd name="T71" fmla="*/ 54 h 2274"/>
                <a:gd name="T72" fmla="*/ 106 w 1506"/>
                <a:gd name="T73" fmla="*/ 59 h 2274"/>
                <a:gd name="T74" fmla="*/ 109 w 1506"/>
                <a:gd name="T75" fmla="*/ 64 h 2274"/>
                <a:gd name="T76" fmla="*/ 106 w 1506"/>
                <a:gd name="T77" fmla="*/ 70 h 2274"/>
                <a:gd name="T78" fmla="*/ 105 w 1506"/>
                <a:gd name="T79" fmla="*/ 75 h 2274"/>
                <a:gd name="T80" fmla="*/ 101 w 1506"/>
                <a:gd name="T81" fmla="*/ 78 h 2274"/>
                <a:gd name="T82" fmla="*/ 92 w 1506"/>
                <a:gd name="T83" fmla="*/ 81 h 2274"/>
                <a:gd name="T84" fmla="*/ 85 w 1506"/>
                <a:gd name="T85" fmla="*/ 85 h 2274"/>
                <a:gd name="T86" fmla="*/ 87 w 1506"/>
                <a:gd name="T87" fmla="*/ 91 h 2274"/>
                <a:gd name="T88" fmla="*/ 86 w 1506"/>
                <a:gd name="T89" fmla="*/ 98 h 2274"/>
                <a:gd name="T90" fmla="*/ 86 w 1506"/>
                <a:gd name="T91" fmla="*/ 103 h 2274"/>
                <a:gd name="T92" fmla="*/ 82 w 1506"/>
                <a:gd name="T93" fmla="*/ 111 h 2274"/>
                <a:gd name="T94" fmla="*/ 81 w 1506"/>
                <a:gd name="T95" fmla="*/ 116 h 2274"/>
                <a:gd name="T96" fmla="*/ 78 w 1506"/>
                <a:gd name="T97" fmla="*/ 120 h 2274"/>
                <a:gd name="T98" fmla="*/ 76 w 1506"/>
                <a:gd name="T99" fmla="*/ 126 h 2274"/>
                <a:gd name="T100" fmla="*/ 68 w 1506"/>
                <a:gd name="T101" fmla="*/ 129 h 2274"/>
                <a:gd name="T102" fmla="*/ 62 w 1506"/>
                <a:gd name="T103" fmla="*/ 131 h 2274"/>
                <a:gd name="T104" fmla="*/ 58 w 1506"/>
                <a:gd name="T105" fmla="*/ 136 h 2274"/>
                <a:gd name="T106" fmla="*/ 51 w 1506"/>
                <a:gd name="T107" fmla="*/ 138 h 2274"/>
                <a:gd name="T108" fmla="*/ 51 w 1506"/>
                <a:gd name="T109" fmla="*/ 147 h 2274"/>
                <a:gd name="T110" fmla="*/ 49 w 1506"/>
                <a:gd name="T111" fmla="*/ 159 h 2274"/>
                <a:gd name="T112" fmla="*/ 48 w 1506"/>
                <a:gd name="T113" fmla="*/ 166 h 2274"/>
                <a:gd name="T114" fmla="*/ 41 w 1506"/>
                <a:gd name="T115" fmla="*/ 174 h 2274"/>
                <a:gd name="T116" fmla="*/ 39 w 1506"/>
                <a:gd name="T117" fmla="*/ 181 h 2274"/>
                <a:gd name="T118" fmla="*/ 37 w 1506"/>
                <a:gd name="T119" fmla="*/ 190 h 2274"/>
                <a:gd name="T120" fmla="*/ 29 w 1506"/>
                <a:gd name="T121" fmla="*/ 198 h 22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06"/>
                <a:gd name="T184" fmla="*/ 0 h 2274"/>
                <a:gd name="T185" fmla="*/ 1506 w 1506"/>
                <a:gd name="T186" fmla="*/ 2274 h 227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06" h="2274">
                  <a:moveTo>
                    <a:pt x="330" y="2274"/>
                  </a:moveTo>
                  <a:lnTo>
                    <a:pt x="318" y="2262"/>
                  </a:lnTo>
                  <a:lnTo>
                    <a:pt x="312" y="2238"/>
                  </a:lnTo>
                  <a:lnTo>
                    <a:pt x="312" y="2232"/>
                  </a:lnTo>
                  <a:lnTo>
                    <a:pt x="294" y="2214"/>
                  </a:lnTo>
                  <a:lnTo>
                    <a:pt x="288" y="2208"/>
                  </a:lnTo>
                  <a:lnTo>
                    <a:pt x="288" y="2202"/>
                  </a:lnTo>
                  <a:lnTo>
                    <a:pt x="276" y="2196"/>
                  </a:lnTo>
                  <a:lnTo>
                    <a:pt x="276" y="2190"/>
                  </a:lnTo>
                  <a:lnTo>
                    <a:pt x="282" y="2190"/>
                  </a:lnTo>
                  <a:lnTo>
                    <a:pt x="282" y="2184"/>
                  </a:lnTo>
                  <a:lnTo>
                    <a:pt x="276" y="2172"/>
                  </a:lnTo>
                  <a:lnTo>
                    <a:pt x="276" y="2166"/>
                  </a:lnTo>
                  <a:lnTo>
                    <a:pt x="282" y="2166"/>
                  </a:lnTo>
                  <a:lnTo>
                    <a:pt x="282" y="2154"/>
                  </a:lnTo>
                  <a:lnTo>
                    <a:pt x="276" y="2136"/>
                  </a:lnTo>
                  <a:lnTo>
                    <a:pt x="276" y="2112"/>
                  </a:lnTo>
                  <a:lnTo>
                    <a:pt x="282" y="2088"/>
                  </a:lnTo>
                  <a:lnTo>
                    <a:pt x="282" y="2082"/>
                  </a:lnTo>
                  <a:lnTo>
                    <a:pt x="282" y="2076"/>
                  </a:lnTo>
                  <a:lnTo>
                    <a:pt x="282" y="2070"/>
                  </a:lnTo>
                  <a:lnTo>
                    <a:pt x="288" y="2070"/>
                  </a:lnTo>
                  <a:lnTo>
                    <a:pt x="288" y="2064"/>
                  </a:lnTo>
                  <a:lnTo>
                    <a:pt x="282" y="2052"/>
                  </a:lnTo>
                  <a:lnTo>
                    <a:pt x="282" y="2046"/>
                  </a:lnTo>
                  <a:lnTo>
                    <a:pt x="276" y="2040"/>
                  </a:lnTo>
                  <a:lnTo>
                    <a:pt x="270" y="2034"/>
                  </a:lnTo>
                  <a:lnTo>
                    <a:pt x="264" y="2022"/>
                  </a:lnTo>
                  <a:lnTo>
                    <a:pt x="258" y="2022"/>
                  </a:lnTo>
                  <a:lnTo>
                    <a:pt x="258" y="2016"/>
                  </a:lnTo>
                  <a:lnTo>
                    <a:pt x="252" y="2016"/>
                  </a:lnTo>
                  <a:lnTo>
                    <a:pt x="246" y="2016"/>
                  </a:lnTo>
                  <a:lnTo>
                    <a:pt x="240" y="2010"/>
                  </a:lnTo>
                  <a:lnTo>
                    <a:pt x="234" y="2004"/>
                  </a:lnTo>
                  <a:lnTo>
                    <a:pt x="228" y="2004"/>
                  </a:lnTo>
                  <a:lnTo>
                    <a:pt x="228" y="1998"/>
                  </a:lnTo>
                  <a:lnTo>
                    <a:pt x="228" y="1992"/>
                  </a:lnTo>
                  <a:lnTo>
                    <a:pt x="222" y="1992"/>
                  </a:lnTo>
                  <a:lnTo>
                    <a:pt x="222" y="1986"/>
                  </a:lnTo>
                  <a:lnTo>
                    <a:pt x="216" y="1986"/>
                  </a:lnTo>
                  <a:lnTo>
                    <a:pt x="210" y="1980"/>
                  </a:lnTo>
                  <a:lnTo>
                    <a:pt x="216" y="1974"/>
                  </a:lnTo>
                  <a:lnTo>
                    <a:pt x="210" y="1968"/>
                  </a:lnTo>
                  <a:lnTo>
                    <a:pt x="198" y="1956"/>
                  </a:lnTo>
                  <a:lnTo>
                    <a:pt x="192" y="1956"/>
                  </a:lnTo>
                  <a:lnTo>
                    <a:pt x="186" y="1956"/>
                  </a:lnTo>
                  <a:lnTo>
                    <a:pt x="180" y="1944"/>
                  </a:lnTo>
                  <a:lnTo>
                    <a:pt x="180" y="1938"/>
                  </a:lnTo>
                  <a:lnTo>
                    <a:pt x="174" y="1932"/>
                  </a:lnTo>
                  <a:lnTo>
                    <a:pt x="168" y="1932"/>
                  </a:lnTo>
                  <a:lnTo>
                    <a:pt x="162" y="1932"/>
                  </a:lnTo>
                  <a:lnTo>
                    <a:pt x="150" y="1932"/>
                  </a:lnTo>
                  <a:lnTo>
                    <a:pt x="150" y="1926"/>
                  </a:lnTo>
                  <a:lnTo>
                    <a:pt x="150" y="1932"/>
                  </a:lnTo>
                  <a:lnTo>
                    <a:pt x="144" y="1932"/>
                  </a:lnTo>
                  <a:lnTo>
                    <a:pt x="138" y="1932"/>
                  </a:lnTo>
                  <a:lnTo>
                    <a:pt x="132" y="1932"/>
                  </a:lnTo>
                  <a:lnTo>
                    <a:pt x="132" y="1938"/>
                  </a:lnTo>
                  <a:lnTo>
                    <a:pt x="126" y="1944"/>
                  </a:lnTo>
                  <a:lnTo>
                    <a:pt x="126" y="1956"/>
                  </a:lnTo>
                  <a:lnTo>
                    <a:pt x="120" y="1968"/>
                  </a:lnTo>
                  <a:lnTo>
                    <a:pt x="120" y="1974"/>
                  </a:lnTo>
                  <a:lnTo>
                    <a:pt x="120" y="1980"/>
                  </a:lnTo>
                  <a:lnTo>
                    <a:pt x="126" y="1980"/>
                  </a:lnTo>
                  <a:lnTo>
                    <a:pt x="120" y="1986"/>
                  </a:lnTo>
                  <a:lnTo>
                    <a:pt x="120" y="1992"/>
                  </a:lnTo>
                  <a:lnTo>
                    <a:pt x="114" y="1992"/>
                  </a:lnTo>
                  <a:lnTo>
                    <a:pt x="114" y="1986"/>
                  </a:lnTo>
                  <a:lnTo>
                    <a:pt x="108" y="1992"/>
                  </a:lnTo>
                  <a:lnTo>
                    <a:pt x="108" y="1998"/>
                  </a:lnTo>
                  <a:lnTo>
                    <a:pt x="114" y="2004"/>
                  </a:lnTo>
                  <a:lnTo>
                    <a:pt x="108" y="2004"/>
                  </a:lnTo>
                  <a:lnTo>
                    <a:pt x="102" y="2010"/>
                  </a:lnTo>
                  <a:lnTo>
                    <a:pt x="102" y="2004"/>
                  </a:lnTo>
                  <a:lnTo>
                    <a:pt x="90" y="2004"/>
                  </a:lnTo>
                  <a:lnTo>
                    <a:pt x="84" y="2004"/>
                  </a:lnTo>
                  <a:lnTo>
                    <a:pt x="78" y="1998"/>
                  </a:lnTo>
                  <a:lnTo>
                    <a:pt x="78" y="1992"/>
                  </a:lnTo>
                  <a:lnTo>
                    <a:pt x="78" y="1986"/>
                  </a:lnTo>
                  <a:lnTo>
                    <a:pt x="72" y="1986"/>
                  </a:lnTo>
                  <a:lnTo>
                    <a:pt x="66" y="1980"/>
                  </a:lnTo>
                  <a:lnTo>
                    <a:pt x="66" y="1968"/>
                  </a:lnTo>
                  <a:lnTo>
                    <a:pt x="60" y="1956"/>
                  </a:lnTo>
                  <a:lnTo>
                    <a:pt x="60" y="1950"/>
                  </a:lnTo>
                  <a:lnTo>
                    <a:pt x="48" y="1944"/>
                  </a:lnTo>
                  <a:lnTo>
                    <a:pt x="30" y="1926"/>
                  </a:lnTo>
                  <a:lnTo>
                    <a:pt x="12" y="1890"/>
                  </a:lnTo>
                  <a:lnTo>
                    <a:pt x="6" y="1872"/>
                  </a:lnTo>
                  <a:lnTo>
                    <a:pt x="0" y="1854"/>
                  </a:lnTo>
                  <a:lnTo>
                    <a:pt x="6" y="1824"/>
                  </a:lnTo>
                  <a:lnTo>
                    <a:pt x="30" y="1794"/>
                  </a:lnTo>
                  <a:lnTo>
                    <a:pt x="66" y="1752"/>
                  </a:lnTo>
                  <a:lnTo>
                    <a:pt x="72" y="1752"/>
                  </a:lnTo>
                  <a:lnTo>
                    <a:pt x="78" y="1746"/>
                  </a:lnTo>
                  <a:lnTo>
                    <a:pt x="84" y="1746"/>
                  </a:lnTo>
                  <a:lnTo>
                    <a:pt x="90" y="1746"/>
                  </a:lnTo>
                  <a:lnTo>
                    <a:pt x="138" y="1674"/>
                  </a:lnTo>
                  <a:lnTo>
                    <a:pt x="186" y="1620"/>
                  </a:lnTo>
                  <a:lnTo>
                    <a:pt x="186" y="1614"/>
                  </a:lnTo>
                  <a:lnTo>
                    <a:pt x="186" y="1608"/>
                  </a:lnTo>
                  <a:lnTo>
                    <a:pt x="192" y="1608"/>
                  </a:lnTo>
                  <a:lnTo>
                    <a:pt x="192" y="1614"/>
                  </a:lnTo>
                  <a:lnTo>
                    <a:pt x="198" y="1614"/>
                  </a:lnTo>
                  <a:lnTo>
                    <a:pt x="198" y="1608"/>
                  </a:lnTo>
                  <a:lnTo>
                    <a:pt x="198" y="1602"/>
                  </a:lnTo>
                  <a:lnTo>
                    <a:pt x="204" y="1602"/>
                  </a:lnTo>
                  <a:lnTo>
                    <a:pt x="204" y="1596"/>
                  </a:lnTo>
                  <a:lnTo>
                    <a:pt x="210" y="1590"/>
                  </a:lnTo>
                  <a:lnTo>
                    <a:pt x="216" y="1590"/>
                  </a:lnTo>
                  <a:lnTo>
                    <a:pt x="216" y="1584"/>
                  </a:lnTo>
                  <a:lnTo>
                    <a:pt x="222" y="1584"/>
                  </a:lnTo>
                  <a:lnTo>
                    <a:pt x="228" y="1572"/>
                  </a:lnTo>
                  <a:lnTo>
                    <a:pt x="222" y="1572"/>
                  </a:lnTo>
                  <a:lnTo>
                    <a:pt x="228" y="1566"/>
                  </a:lnTo>
                  <a:lnTo>
                    <a:pt x="228" y="1560"/>
                  </a:lnTo>
                  <a:lnTo>
                    <a:pt x="252" y="1548"/>
                  </a:lnTo>
                  <a:lnTo>
                    <a:pt x="276" y="1530"/>
                  </a:lnTo>
                  <a:lnTo>
                    <a:pt x="282" y="1512"/>
                  </a:lnTo>
                  <a:lnTo>
                    <a:pt x="282" y="1506"/>
                  </a:lnTo>
                  <a:lnTo>
                    <a:pt x="282" y="1494"/>
                  </a:lnTo>
                  <a:lnTo>
                    <a:pt x="282" y="1452"/>
                  </a:lnTo>
                  <a:lnTo>
                    <a:pt x="288" y="1440"/>
                  </a:lnTo>
                  <a:lnTo>
                    <a:pt x="294" y="1440"/>
                  </a:lnTo>
                  <a:lnTo>
                    <a:pt x="294" y="1428"/>
                  </a:lnTo>
                  <a:lnTo>
                    <a:pt x="324" y="1368"/>
                  </a:lnTo>
                  <a:lnTo>
                    <a:pt x="330" y="1362"/>
                  </a:lnTo>
                  <a:lnTo>
                    <a:pt x="330" y="1356"/>
                  </a:lnTo>
                  <a:lnTo>
                    <a:pt x="360" y="1338"/>
                  </a:lnTo>
                  <a:lnTo>
                    <a:pt x="366" y="1296"/>
                  </a:lnTo>
                  <a:lnTo>
                    <a:pt x="354" y="1278"/>
                  </a:lnTo>
                  <a:lnTo>
                    <a:pt x="336" y="1230"/>
                  </a:lnTo>
                  <a:lnTo>
                    <a:pt x="270" y="1212"/>
                  </a:lnTo>
                  <a:lnTo>
                    <a:pt x="264" y="1212"/>
                  </a:lnTo>
                  <a:lnTo>
                    <a:pt x="252" y="1200"/>
                  </a:lnTo>
                  <a:lnTo>
                    <a:pt x="234" y="1188"/>
                  </a:lnTo>
                  <a:lnTo>
                    <a:pt x="222" y="1182"/>
                  </a:lnTo>
                  <a:lnTo>
                    <a:pt x="228" y="1104"/>
                  </a:lnTo>
                  <a:lnTo>
                    <a:pt x="228" y="1098"/>
                  </a:lnTo>
                  <a:lnTo>
                    <a:pt x="198" y="1038"/>
                  </a:lnTo>
                  <a:lnTo>
                    <a:pt x="192" y="1032"/>
                  </a:lnTo>
                  <a:lnTo>
                    <a:pt x="180" y="1020"/>
                  </a:lnTo>
                  <a:lnTo>
                    <a:pt x="168" y="996"/>
                  </a:lnTo>
                  <a:lnTo>
                    <a:pt x="162" y="990"/>
                  </a:lnTo>
                  <a:lnTo>
                    <a:pt x="156" y="990"/>
                  </a:lnTo>
                  <a:lnTo>
                    <a:pt x="150" y="990"/>
                  </a:lnTo>
                  <a:lnTo>
                    <a:pt x="132" y="990"/>
                  </a:lnTo>
                  <a:lnTo>
                    <a:pt x="120" y="984"/>
                  </a:lnTo>
                  <a:lnTo>
                    <a:pt x="120" y="990"/>
                  </a:lnTo>
                  <a:lnTo>
                    <a:pt x="114" y="990"/>
                  </a:lnTo>
                  <a:lnTo>
                    <a:pt x="102" y="984"/>
                  </a:lnTo>
                  <a:lnTo>
                    <a:pt x="96" y="984"/>
                  </a:lnTo>
                  <a:lnTo>
                    <a:pt x="96" y="978"/>
                  </a:lnTo>
                  <a:lnTo>
                    <a:pt x="90" y="978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84" y="960"/>
                  </a:lnTo>
                  <a:lnTo>
                    <a:pt x="84" y="954"/>
                  </a:lnTo>
                  <a:lnTo>
                    <a:pt x="78" y="948"/>
                  </a:lnTo>
                  <a:lnTo>
                    <a:pt x="72" y="948"/>
                  </a:lnTo>
                  <a:lnTo>
                    <a:pt x="72" y="942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06"/>
                  </a:lnTo>
                  <a:lnTo>
                    <a:pt x="60" y="888"/>
                  </a:lnTo>
                  <a:lnTo>
                    <a:pt x="54" y="882"/>
                  </a:lnTo>
                  <a:lnTo>
                    <a:pt x="60" y="882"/>
                  </a:lnTo>
                  <a:lnTo>
                    <a:pt x="72" y="876"/>
                  </a:lnTo>
                  <a:lnTo>
                    <a:pt x="78" y="876"/>
                  </a:lnTo>
                  <a:lnTo>
                    <a:pt x="90" y="870"/>
                  </a:lnTo>
                  <a:lnTo>
                    <a:pt x="90" y="864"/>
                  </a:lnTo>
                  <a:lnTo>
                    <a:pt x="96" y="840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80" y="822"/>
                  </a:lnTo>
                  <a:lnTo>
                    <a:pt x="204" y="798"/>
                  </a:lnTo>
                  <a:lnTo>
                    <a:pt x="222" y="786"/>
                  </a:lnTo>
                  <a:lnTo>
                    <a:pt x="252" y="780"/>
                  </a:lnTo>
                  <a:lnTo>
                    <a:pt x="264" y="762"/>
                  </a:lnTo>
                  <a:lnTo>
                    <a:pt x="276" y="762"/>
                  </a:lnTo>
                  <a:lnTo>
                    <a:pt x="288" y="744"/>
                  </a:lnTo>
                  <a:lnTo>
                    <a:pt x="306" y="738"/>
                  </a:lnTo>
                  <a:lnTo>
                    <a:pt x="318" y="732"/>
                  </a:lnTo>
                  <a:lnTo>
                    <a:pt x="324" y="648"/>
                  </a:lnTo>
                  <a:lnTo>
                    <a:pt x="324" y="636"/>
                  </a:lnTo>
                  <a:lnTo>
                    <a:pt x="324" y="630"/>
                  </a:lnTo>
                  <a:lnTo>
                    <a:pt x="330" y="624"/>
                  </a:lnTo>
                  <a:lnTo>
                    <a:pt x="324" y="618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24" y="588"/>
                  </a:lnTo>
                  <a:lnTo>
                    <a:pt x="318" y="576"/>
                  </a:lnTo>
                  <a:lnTo>
                    <a:pt x="318" y="570"/>
                  </a:lnTo>
                  <a:lnTo>
                    <a:pt x="324" y="570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30" y="558"/>
                  </a:lnTo>
                  <a:lnTo>
                    <a:pt x="336" y="558"/>
                  </a:lnTo>
                  <a:lnTo>
                    <a:pt x="342" y="558"/>
                  </a:lnTo>
                  <a:lnTo>
                    <a:pt x="348" y="558"/>
                  </a:lnTo>
                  <a:lnTo>
                    <a:pt x="354" y="564"/>
                  </a:lnTo>
                  <a:lnTo>
                    <a:pt x="360" y="564"/>
                  </a:lnTo>
                  <a:lnTo>
                    <a:pt x="366" y="570"/>
                  </a:lnTo>
                  <a:lnTo>
                    <a:pt x="366" y="576"/>
                  </a:lnTo>
                  <a:lnTo>
                    <a:pt x="372" y="570"/>
                  </a:lnTo>
                  <a:lnTo>
                    <a:pt x="378" y="570"/>
                  </a:lnTo>
                  <a:lnTo>
                    <a:pt x="390" y="570"/>
                  </a:lnTo>
                  <a:lnTo>
                    <a:pt x="402" y="570"/>
                  </a:lnTo>
                  <a:lnTo>
                    <a:pt x="408" y="570"/>
                  </a:lnTo>
                  <a:lnTo>
                    <a:pt x="414" y="564"/>
                  </a:lnTo>
                  <a:lnTo>
                    <a:pt x="420" y="564"/>
                  </a:lnTo>
                  <a:lnTo>
                    <a:pt x="420" y="570"/>
                  </a:lnTo>
                  <a:lnTo>
                    <a:pt x="426" y="570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44" y="570"/>
                  </a:lnTo>
                  <a:lnTo>
                    <a:pt x="450" y="564"/>
                  </a:lnTo>
                  <a:lnTo>
                    <a:pt x="474" y="558"/>
                  </a:lnTo>
                  <a:lnTo>
                    <a:pt x="486" y="54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40" y="474"/>
                  </a:lnTo>
                  <a:lnTo>
                    <a:pt x="558" y="456"/>
                  </a:lnTo>
                  <a:lnTo>
                    <a:pt x="582" y="450"/>
                  </a:lnTo>
                  <a:lnTo>
                    <a:pt x="594" y="414"/>
                  </a:lnTo>
                  <a:lnTo>
                    <a:pt x="612" y="390"/>
                  </a:lnTo>
                  <a:lnTo>
                    <a:pt x="636" y="390"/>
                  </a:lnTo>
                  <a:lnTo>
                    <a:pt x="666" y="390"/>
                  </a:lnTo>
                  <a:lnTo>
                    <a:pt x="696" y="390"/>
                  </a:lnTo>
                  <a:lnTo>
                    <a:pt x="726" y="390"/>
                  </a:lnTo>
                  <a:lnTo>
                    <a:pt x="762" y="378"/>
                  </a:lnTo>
                  <a:lnTo>
                    <a:pt x="780" y="366"/>
                  </a:lnTo>
                  <a:lnTo>
                    <a:pt x="780" y="342"/>
                  </a:lnTo>
                  <a:lnTo>
                    <a:pt x="786" y="342"/>
                  </a:lnTo>
                  <a:lnTo>
                    <a:pt x="786" y="336"/>
                  </a:lnTo>
                  <a:lnTo>
                    <a:pt x="786" y="330"/>
                  </a:lnTo>
                  <a:lnTo>
                    <a:pt x="786" y="324"/>
                  </a:lnTo>
                  <a:lnTo>
                    <a:pt x="816" y="318"/>
                  </a:lnTo>
                  <a:lnTo>
                    <a:pt x="834" y="312"/>
                  </a:lnTo>
                  <a:lnTo>
                    <a:pt x="840" y="318"/>
                  </a:lnTo>
                  <a:lnTo>
                    <a:pt x="852" y="318"/>
                  </a:lnTo>
                  <a:lnTo>
                    <a:pt x="858" y="306"/>
                  </a:lnTo>
                  <a:lnTo>
                    <a:pt x="864" y="288"/>
                  </a:lnTo>
                  <a:lnTo>
                    <a:pt x="870" y="282"/>
                  </a:lnTo>
                  <a:lnTo>
                    <a:pt x="876" y="276"/>
                  </a:lnTo>
                  <a:lnTo>
                    <a:pt x="882" y="264"/>
                  </a:lnTo>
                  <a:lnTo>
                    <a:pt x="882" y="258"/>
                  </a:lnTo>
                  <a:lnTo>
                    <a:pt x="888" y="252"/>
                  </a:lnTo>
                  <a:lnTo>
                    <a:pt x="894" y="240"/>
                  </a:lnTo>
                  <a:lnTo>
                    <a:pt x="906" y="228"/>
                  </a:lnTo>
                  <a:lnTo>
                    <a:pt x="912" y="228"/>
                  </a:lnTo>
                  <a:lnTo>
                    <a:pt x="936" y="228"/>
                  </a:lnTo>
                  <a:lnTo>
                    <a:pt x="942" y="222"/>
                  </a:lnTo>
                  <a:lnTo>
                    <a:pt x="948" y="216"/>
                  </a:lnTo>
                  <a:lnTo>
                    <a:pt x="954" y="216"/>
                  </a:lnTo>
                  <a:lnTo>
                    <a:pt x="960" y="216"/>
                  </a:lnTo>
                  <a:lnTo>
                    <a:pt x="966" y="216"/>
                  </a:lnTo>
                  <a:lnTo>
                    <a:pt x="978" y="216"/>
                  </a:lnTo>
                  <a:lnTo>
                    <a:pt x="990" y="222"/>
                  </a:lnTo>
                  <a:lnTo>
                    <a:pt x="996" y="222"/>
                  </a:lnTo>
                  <a:lnTo>
                    <a:pt x="1002" y="228"/>
                  </a:lnTo>
                  <a:lnTo>
                    <a:pt x="1014" y="234"/>
                  </a:lnTo>
                  <a:lnTo>
                    <a:pt x="1020" y="234"/>
                  </a:lnTo>
                  <a:lnTo>
                    <a:pt x="1032" y="240"/>
                  </a:lnTo>
                  <a:lnTo>
                    <a:pt x="1044" y="240"/>
                  </a:lnTo>
                  <a:lnTo>
                    <a:pt x="1050" y="240"/>
                  </a:lnTo>
                  <a:lnTo>
                    <a:pt x="1056" y="246"/>
                  </a:lnTo>
                  <a:lnTo>
                    <a:pt x="1068" y="264"/>
                  </a:lnTo>
                  <a:lnTo>
                    <a:pt x="1086" y="276"/>
                  </a:lnTo>
                  <a:lnTo>
                    <a:pt x="1092" y="276"/>
                  </a:lnTo>
                  <a:lnTo>
                    <a:pt x="1104" y="282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8" y="312"/>
                  </a:lnTo>
                  <a:lnTo>
                    <a:pt x="1152" y="324"/>
                  </a:lnTo>
                  <a:lnTo>
                    <a:pt x="1188" y="324"/>
                  </a:lnTo>
                  <a:lnTo>
                    <a:pt x="1206" y="318"/>
                  </a:lnTo>
                  <a:lnTo>
                    <a:pt x="1200" y="294"/>
                  </a:lnTo>
                  <a:lnTo>
                    <a:pt x="1206" y="252"/>
                  </a:lnTo>
                  <a:lnTo>
                    <a:pt x="1218" y="222"/>
                  </a:lnTo>
                  <a:lnTo>
                    <a:pt x="1212" y="222"/>
                  </a:lnTo>
                  <a:lnTo>
                    <a:pt x="1212" y="216"/>
                  </a:lnTo>
                  <a:lnTo>
                    <a:pt x="1218" y="204"/>
                  </a:lnTo>
                  <a:lnTo>
                    <a:pt x="1224" y="198"/>
                  </a:lnTo>
                  <a:lnTo>
                    <a:pt x="1224" y="192"/>
                  </a:lnTo>
                  <a:lnTo>
                    <a:pt x="1236" y="180"/>
                  </a:lnTo>
                  <a:lnTo>
                    <a:pt x="1254" y="156"/>
                  </a:lnTo>
                  <a:lnTo>
                    <a:pt x="1260" y="150"/>
                  </a:lnTo>
                  <a:lnTo>
                    <a:pt x="1260" y="144"/>
                  </a:lnTo>
                  <a:lnTo>
                    <a:pt x="1266" y="138"/>
                  </a:lnTo>
                  <a:lnTo>
                    <a:pt x="1272" y="138"/>
                  </a:lnTo>
                  <a:lnTo>
                    <a:pt x="1272" y="120"/>
                  </a:lnTo>
                  <a:lnTo>
                    <a:pt x="1278" y="114"/>
                  </a:lnTo>
                  <a:lnTo>
                    <a:pt x="1278" y="108"/>
                  </a:lnTo>
                  <a:lnTo>
                    <a:pt x="1278" y="102"/>
                  </a:lnTo>
                  <a:lnTo>
                    <a:pt x="1278" y="90"/>
                  </a:lnTo>
                  <a:lnTo>
                    <a:pt x="1278" y="84"/>
                  </a:lnTo>
                  <a:lnTo>
                    <a:pt x="1278" y="78"/>
                  </a:lnTo>
                  <a:lnTo>
                    <a:pt x="1278" y="72"/>
                  </a:lnTo>
                  <a:lnTo>
                    <a:pt x="1278" y="60"/>
                  </a:lnTo>
                  <a:lnTo>
                    <a:pt x="1284" y="48"/>
                  </a:lnTo>
                  <a:lnTo>
                    <a:pt x="1284" y="24"/>
                  </a:lnTo>
                  <a:lnTo>
                    <a:pt x="1284" y="18"/>
                  </a:lnTo>
                  <a:lnTo>
                    <a:pt x="1308" y="24"/>
                  </a:lnTo>
                  <a:lnTo>
                    <a:pt x="1332" y="30"/>
                  </a:lnTo>
                  <a:lnTo>
                    <a:pt x="1368" y="30"/>
                  </a:lnTo>
                  <a:lnTo>
                    <a:pt x="1392" y="24"/>
                  </a:lnTo>
                  <a:lnTo>
                    <a:pt x="1410" y="18"/>
                  </a:lnTo>
                  <a:lnTo>
                    <a:pt x="1416" y="6"/>
                  </a:lnTo>
                  <a:lnTo>
                    <a:pt x="1500" y="6"/>
                  </a:lnTo>
                  <a:lnTo>
                    <a:pt x="1506" y="0"/>
                  </a:lnTo>
                  <a:lnTo>
                    <a:pt x="1506" y="6"/>
                  </a:lnTo>
                  <a:lnTo>
                    <a:pt x="1506" y="18"/>
                  </a:lnTo>
                  <a:lnTo>
                    <a:pt x="1506" y="24"/>
                  </a:lnTo>
                  <a:lnTo>
                    <a:pt x="1500" y="30"/>
                  </a:lnTo>
                  <a:lnTo>
                    <a:pt x="1500" y="42"/>
                  </a:lnTo>
                  <a:lnTo>
                    <a:pt x="1494" y="54"/>
                  </a:lnTo>
                  <a:lnTo>
                    <a:pt x="1488" y="60"/>
                  </a:lnTo>
                  <a:lnTo>
                    <a:pt x="1482" y="60"/>
                  </a:lnTo>
                  <a:lnTo>
                    <a:pt x="1476" y="66"/>
                  </a:lnTo>
                  <a:lnTo>
                    <a:pt x="1476" y="72"/>
                  </a:lnTo>
                  <a:lnTo>
                    <a:pt x="1476" y="78"/>
                  </a:lnTo>
                  <a:lnTo>
                    <a:pt x="1470" y="78"/>
                  </a:lnTo>
                  <a:lnTo>
                    <a:pt x="1464" y="90"/>
                  </a:lnTo>
                  <a:lnTo>
                    <a:pt x="1458" y="96"/>
                  </a:lnTo>
                  <a:lnTo>
                    <a:pt x="1458" y="102"/>
                  </a:lnTo>
                  <a:lnTo>
                    <a:pt x="1452" y="120"/>
                  </a:lnTo>
                  <a:lnTo>
                    <a:pt x="1452" y="132"/>
                  </a:lnTo>
                  <a:lnTo>
                    <a:pt x="1446" y="144"/>
                  </a:lnTo>
                  <a:lnTo>
                    <a:pt x="1446" y="150"/>
                  </a:lnTo>
                  <a:lnTo>
                    <a:pt x="1440" y="150"/>
                  </a:lnTo>
                  <a:lnTo>
                    <a:pt x="1434" y="156"/>
                  </a:lnTo>
                  <a:lnTo>
                    <a:pt x="1428" y="168"/>
                  </a:lnTo>
                  <a:lnTo>
                    <a:pt x="1422" y="168"/>
                  </a:lnTo>
                  <a:lnTo>
                    <a:pt x="1416" y="174"/>
                  </a:lnTo>
                  <a:lnTo>
                    <a:pt x="1410" y="186"/>
                  </a:lnTo>
                  <a:lnTo>
                    <a:pt x="1410" y="204"/>
                  </a:lnTo>
                  <a:lnTo>
                    <a:pt x="1404" y="210"/>
                  </a:lnTo>
                  <a:lnTo>
                    <a:pt x="1404" y="216"/>
                  </a:lnTo>
                  <a:lnTo>
                    <a:pt x="1410" y="228"/>
                  </a:lnTo>
                  <a:lnTo>
                    <a:pt x="1410" y="234"/>
                  </a:lnTo>
                  <a:lnTo>
                    <a:pt x="1410" y="240"/>
                  </a:lnTo>
                  <a:lnTo>
                    <a:pt x="1416" y="252"/>
                  </a:lnTo>
                  <a:lnTo>
                    <a:pt x="1416" y="258"/>
                  </a:lnTo>
                  <a:lnTo>
                    <a:pt x="1422" y="264"/>
                  </a:lnTo>
                  <a:lnTo>
                    <a:pt x="1422" y="270"/>
                  </a:lnTo>
                  <a:lnTo>
                    <a:pt x="1422" y="282"/>
                  </a:lnTo>
                  <a:lnTo>
                    <a:pt x="1416" y="288"/>
                  </a:lnTo>
                  <a:lnTo>
                    <a:pt x="1410" y="294"/>
                  </a:lnTo>
                  <a:lnTo>
                    <a:pt x="1404" y="300"/>
                  </a:lnTo>
                  <a:lnTo>
                    <a:pt x="1404" y="306"/>
                  </a:lnTo>
                  <a:lnTo>
                    <a:pt x="1398" y="324"/>
                  </a:lnTo>
                  <a:lnTo>
                    <a:pt x="1404" y="330"/>
                  </a:lnTo>
                  <a:lnTo>
                    <a:pt x="1404" y="342"/>
                  </a:lnTo>
                  <a:lnTo>
                    <a:pt x="1392" y="354"/>
                  </a:lnTo>
                  <a:lnTo>
                    <a:pt x="1392" y="360"/>
                  </a:lnTo>
                  <a:lnTo>
                    <a:pt x="1392" y="372"/>
                  </a:lnTo>
                  <a:lnTo>
                    <a:pt x="1392" y="384"/>
                  </a:lnTo>
                  <a:lnTo>
                    <a:pt x="1392" y="396"/>
                  </a:lnTo>
                  <a:lnTo>
                    <a:pt x="1392" y="408"/>
                  </a:lnTo>
                  <a:lnTo>
                    <a:pt x="1386" y="414"/>
                  </a:lnTo>
                  <a:lnTo>
                    <a:pt x="1380" y="420"/>
                  </a:lnTo>
                  <a:lnTo>
                    <a:pt x="1380" y="426"/>
                  </a:lnTo>
                  <a:lnTo>
                    <a:pt x="1368" y="432"/>
                  </a:lnTo>
                  <a:lnTo>
                    <a:pt x="1362" y="444"/>
                  </a:lnTo>
                  <a:lnTo>
                    <a:pt x="1362" y="450"/>
                  </a:lnTo>
                  <a:lnTo>
                    <a:pt x="1362" y="462"/>
                  </a:lnTo>
                  <a:lnTo>
                    <a:pt x="1362" y="468"/>
                  </a:lnTo>
                  <a:lnTo>
                    <a:pt x="1362" y="474"/>
                  </a:lnTo>
                  <a:lnTo>
                    <a:pt x="1356" y="474"/>
                  </a:lnTo>
                  <a:lnTo>
                    <a:pt x="1350" y="480"/>
                  </a:lnTo>
                  <a:lnTo>
                    <a:pt x="1344" y="486"/>
                  </a:lnTo>
                  <a:lnTo>
                    <a:pt x="1338" y="498"/>
                  </a:lnTo>
                  <a:lnTo>
                    <a:pt x="1332" y="510"/>
                  </a:lnTo>
                  <a:lnTo>
                    <a:pt x="1320" y="510"/>
                  </a:lnTo>
                  <a:lnTo>
                    <a:pt x="1314" y="516"/>
                  </a:lnTo>
                  <a:lnTo>
                    <a:pt x="1302" y="522"/>
                  </a:lnTo>
                  <a:lnTo>
                    <a:pt x="1296" y="522"/>
                  </a:lnTo>
                  <a:lnTo>
                    <a:pt x="1284" y="516"/>
                  </a:lnTo>
                  <a:lnTo>
                    <a:pt x="1278" y="516"/>
                  </a:lnTo>
                  <a:lnTo>
                    <a:pt x="1272" y="522"/>
                  </a:lnTo>
                  <a:lnTo>
                    <a:pt x="1266" y="522"/>
                  </a:lnTo>
                  <a:lnTo>
                    <a:pt x="1266" y="528"/>
                  </a:lnTo>
                  <a:lnTo>
                    <a:pt x="1254" y="540"/>
                  </a:lnTo>
                  <a:lnTo>
                    <a:pt x="1248" y="546"/>
                  </a:lnTo>
                  <a:lnTo>
                    <a:pt x="1242" y="558"/>
                  </a:lnTo>
                  <a:lnTo>
                    <a:pt x="1230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30" y="594"/>
                  </a:lnTo>
                  <a:lnTo>
                    <a:pt x="1230" y="600"/>
                  </a:lnTo>
                  <a:lnTo>
                    <a:pt x="1236" y="606"/>
                  </a:lnTo>
                  <a:lnTo>
                    <a:pt x="1242" y="606"/>
                  </a:lnTo>
                  <a:lnTo>
                    <a:pt x="1242" y="612"/>
                  </a:lnTo>
                  <a:lnTo>
                    <a:pt x="1242" y="618"/>
                  </a:lnTo>
                  <a:lnTo>
                    <a:pt x="1242" y="624"/>
                  </a:lnTo>
                  <a:lnTo>
                    <a:pt x="1236" y="630"/>
                  </a:lnTo>
                  <a:lnTo>
                    <a:pt x="1230" y="642"/>
                  </a:lnTo>
                  <a:lnTo>
                    <a:pt x="1230" y="648"/>
                  </a:lnTo>
                  <a:lnTo>
                    <a:pt x="1218" y="654"/>
                  </a:lnTo>
                  <a:lnTo>
                    <a:pt x="1212" y="654"/>
                  </a:lnTo>
                  <a:lnTo>
                    <a:pt x="1212" y="660"/>
                  </a:lnTo>
                  <a:lnTo>
                    <a:pt x="1212" y="666"/>
                  </a:lnTo>
                  <a:lnTo>
                    <a:pt x="1212" y="672"/>
                  </a:lnTo>
                  <a:lnTo>
                    <a:pt x="1212" y="678"/>
                  </a:lnTo>
                  <a:lnTo>
                    <a:pt x="1218" y="684"/>
                  </a:lnTo>
                  <a:lnTo>
                    <a:pt x="1218" y="690"/>
                  </a:lnTo>
                  <a:lnTo>
                    <a:pt x="1224" y="696"/>
                  </a:lnTo>
                  <a:lnTo>
                    <a:pt x="1230" y="702"/>
                  </a:lnTo>
                  <a:lnTo>
                    <a:pt x="1236" y="696"/>
                  </a:lnTo>
                  <a:lnTo>
                    <a:pt x="1242" y="702"/>
                  </a:lnTo>
                  <a:lnTo>
                    <a:pt x="1248" y="708"/>
                  </a:lnTo>
                  <a:lnTo>
                    <a:pt x="1254" y="714"/>
                  </a:lnTo>
                  <a:lnTo>
                    <a:pt x="1254" y="720"/>
                  </a:lnTo>
                  <a:lnTo>
                    <a:pt x="1260" y="720"/>
                  </a:lnTo>
                  <a:lnTo>
                    <a:pt x="1254" y="732"/>
                  </a:lnTo>
                  <a:lnTo>
                    <a:pt x="1248" y="738"/>
                  </a:lnTo>
                  <a:lnTo>
                    <a:pt x="1242" y="744"/>
                  </a:lnTo>
                  <a:lnTo>
                    <a:pt x="1236" y="750"/>
                  </a:lnTo>
                  <a:lnTo>
                    <a:pt x="1236" y="756"/>
                  </a:lnTo>
                  <a:lnTo>
                    <a:pt x="1236" y="762"/>
                  </a:lnTo>
                  <a:lnTo>
                    <a:pt x="1236" y="768"/>
                  </a:lnTo>
                  <a:lnTo>
                    <a:pt x="1236" y="780"/>
                  </a:lnTo>
                  <a:lnTo>
                    <a:pt x="1230" y="780"/>
                  </a:lnTo>
                  <a:lnTo>
                    <a:pt x="1230" y="786"/>
                  </a:lnTo>
                  <a:lnTo>
                    <a:pt x="1230" y="792"/>
                  </a:lnTo>
                  <a:lnTo>
                    <a:pt x="1230" y="804"/>
                  </a:lnTo>
                  <a:lnTo>
                    <a:pt x="1224" y="810"/>
                  </a:lnTo>
                  <a:lnTo>
                    <a:pt x="1218" y="816"/>
                  </a:lnTo>
                  <a:lnTo>
                    <a:pt x="1224" y="822"/>
                  </a:lnTo>
                  <a:lnTo>
                    <a:pt x="1224" y="828"/>
                  </a:lnTo>
                  <a:lnTo>
                    <a:pt x="1218" y="834"/>
                  </a:lnTo>
                  <a:lnTo>
                    <a:pt x="1224" y="834"/>
                  </a:lnTo>
                  <a:lnTo>
                    <a:pt x="1224" y="840"/>
                  </a:lnTo>
                  <a:lnTo>
                    <a:pt x="1224" y="846"/>
                  </a:lnTo>
                  <a:lnTo>
                    <a:pt x="1224" y="852"/>
                  </a:lnTo>
                  <a:lnTo>
                    <a:pt x="1218" y="858"/>
                  </a:lnTo>
                  <a:lnTo>
                    <a:pt x="1218" y="870"/>
                  </a:lnTo>
                  <a:lnTo>
                    <a:pt x="1212" y="870"/>
                  </a:lnTo>
                  <a:lnTo>
                    <a:pt x="1212" y="876"/>
                  </a:lnTo>
                  <a:lnTo>
                    <a:pt x="1206" y="888"/>
                  </a:lnTo>
                  <a:lnTo>
                    <a:pt x="1200" y="882"/>
                  </a:lnTo>
                  <a:lnTo>
                    <a:pt x="1194" y="888"/>
                  </a:lnTo>
                  <a:lnTo>
                    <a:pt x="1188" y="894"/>
                  </a:lnTo>
                  <a:lnTo>
                    <a:pt x="1182" y="894"/>
                  </a:lnTo>
                  <a:lnTo>
                    <a:pt x="1182" y="900"/>
                  </a:lnTo>
                  <a:lnTo>
                    <a:pt x="1176" y="900"/>
                  </a:lnTo>
                  <a:lnTo>
                    <a:pt x="1170" y="894"/>
                  </a:lnTo>
                  <a:lnTo>
                    <a:pt x="1164" y="900"/>
                  </a:lnTo>
                  <a:lnTo>
                    <a:pt x="1158" y="900"/>
                  </a:lnTo>
                  <a:lnTo>
                    <a:pt x="1152" y="900"/>
                  </a:lnTo>
                  <a:lnTo>
                    <a:pt x="1140" y="900"/>
                  </a:lnTo>
                  <a:lnTo>
                    <a:pt x="1134" y="900"/>
                  </a:lnTo>
                  <a:lnTo>
                    <a:pt x="1128" y="906"/>
                  </a:lnTo>
                  <a:lnTo>
                    <a:pt x="1110" y="906"/>
                  </a:lnTo>
                  <a:lnTo>
                    <a:pt x="1104" y="906"/>
                  </a:lnTo>
                  <a:lnTo>
                    <a:pt x="1098" y="906"/>
                  </a:lnTo>
                  <a:lnTo>
                    <a:pt x="1092" y="912"/>
                  </a:lnTo>
                  <a:lnTo>
                    <a:pt x="1080" y="918"/>
                  </a:lnTo>
                  <a:lnTo>
                    <a:pt x="1068" y="930"/>
                  </a:lnTo>
                  <a:lnTo>
                    <a:pt x="1062" y="930"/>
                  </a:lnTo>
                  <a:lnTo>
                    <a:pt x="1056" y="930"/>
                  </a:lnTo>
                  <a:lnTo>
                    <a:pt x="1050" y="930"/>
                  </a:lnTo>
                  <a:lnTo>
                    <a:pt x="1050" y="936"/>
                  </a:lnTo>
                  <a:lnTo>
                    <a:pt x="1038" y="942"/>
                  </a:lnTo>
                  <a:lnTo>
                    <a:pt x="1032" y="948"/>
                  </a:lnTo>
                  <a:lnTo>
                    <a:pt x="1026" y="954"/>
                  </a:lnTo>
                  <a:lnTo>
                    <a:pt x="1020" y="960"/>
                  </a:lnTo>
                  <a:lnTo>
                    <a:pt x="1014" y="966"/>
                  </a:lnTo>
                  <a:lnTo>
                    <a:pt x="1002" y="966"/>
                  </a:lnTo>
                  <a:lnTo>
                    <a:pt x="990" y="978"/>
                  </a:lnTo>
                  <a:lnTo>
                    <a:pt x="984" y="978"/>
                  </a:lnTo>
                  <a:lnTo>
                    <a:pt x="978" y="984"/>
                  </a:lnTo>
                  <a:lnTo>
                    <a:pt x="972" y="984"/>
                  </a:lnTo>
                  <a:lnTo>
                    <a:pt x="978" y="990"/>
                  </a:lnTo>
                  <a:lnTo>
                    <a:pt x="972" y="996"/>
                  </a:lnTo>
                  <a:lnTo>
                    <a:pt x="978" y="1002"/>
                  </a:lnTo>
                  <a:lnTo>
                    <a:pt x="1002" y="1002"/>
                  </a:lnTo>
                  <a:lnTo>
                    <a:pt x="1002" y="1008"/>
                  </a:lnTo>
                  <a:lnTo>
                    <a:pt x="1008" y="1020"/>
                  </a:lnTo>
                  <a:lnTo>
                    <a:pt x="1002" y="1026"/>
                  </a:lnTo>
                  <a:lnTo>
                    <a:pt x="1002" y="1032"/>
                  </a:lnTo>
                  <a:lnTo>
                    <a:pt x="1002" y="1050"/>
                  </a:lnTo>
                  <a:lnTo>
                    <a:pt x="1002" y="1056"/>
                  </a:lnTo>
                  <a:lnTo>
                    <a:pt x="1008" y="1062"/>
                  </a:lnTo>
                  <a:lnTo>
                    <a:pt x="1008" y="1074"/>
                  </a:lnTo>
                  <a:lnTo>
                    <a:pt x="1008" y="1086"/>
                  </a:lnTo>
                  <a:lnTo>
                    <a:pt x="996" y="1092"/>
                  </a:lnTo>
                  <a:lnTo>
                    <a:pt x="996" y="1098"/>
                  </a:lnTo>
                  <a:lnTo>
                    <a:pt x="996" y="1104"/>
                  </a:lnTo>
                  <a:lnTo>
                    <a:pt x="990" y="1110"/>
                  </a:lnTo>
                  <a:lnTo>
                    <a:pt x="990" y="1116"/>
                  </a:lnTo>
                  <a:lnTo>
                    <a:pt x="996" y="1122"/>
                  </a:lnTo>
                  <a:lnTo>
                    <a:pt x="990" y="1128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96" y="1140"/>
                  </a:lnTo>
                  <a:lnTo>
                    <a:pt x="996" y="1146"/>
                  </a:lnTo>
                  <a:lnTo>
                    <a:pt x="996" y="1152"/>
                  </a:lnTo>
                  <a:lnTo>
                    <a:pt x="996" y="1158"/>
                  </a:lnTo>
                  <a:lnTo>
                    <a:pt x="996" y="1164"/>
                  </a:lnTo>
                  <a:lnTo>
                    <a:pt x="996" y="1170"/>
                  </a:lnTo>
                  <a:lnTo>
                    <a:pt x="996" y="1176"/>
                  </a:lnTo>
                  <a:lnTo>
                    <a:pt x="990" y="1182"/>
                  </a:lnTo>
                  <a:lnTo>
                    <a:pt x="990" y="1188"/>
                  </a:lnTo>
                  <a:lnTo>
                    <a:pt x="984" y="1200"/>
                  </a:lnTo>
                  <a:lnTo>
                    <a:pt x="990" y="1206"/>
                  </a:lnTo>
                  <a:lnTo>
                    <a:pt x="990" y="1212"/>
                  </a:lnTo>
                  <a:lnTo>
                    <a:pt x="990" y="1218"/>
                  </a:lnTo>
                  <a:lnTo>
                    <a:pt x="978" y="1230"/>
                  </a:lnTo>
                  <a:lnTo>
                    <a:pt x="972" y="1236"/>
                  </a:lnTo>
                  <a:lnTo>
                    <a:pt x="972" y="1242"/>
                  </a:lnTo>
                  <a:lnTo>
                    <a:pt x="966" y="1248"/>
                  </a:lnTo>
                  <a:lnTo>
                    <a:pt x="960" y="1260"/>
                  </a:lnTo>
                  <a:lnTo>
                    <a:pt x="954" y="1266"/>
                  </a:lnTo>
                  <a:lnTo>
                    <a:pt x="942" y="1278"/>
                  </a:lnTo>
                  <a:lnTo>
                    <a:pt x="936" y="1278"/>
                  </a:lnTo>
                  <a:lnTo>
                    <a:pt x="936" y="1284"/>
                  </a:lnTo>
                  <a:lnTo>
                    <a:pt x="936" y="1296"/>
                  </a:lnTo>
                  <a:lnTo>
                    <a:pt x="936" y="1302"/>
                  </a:lnTo>
                  <a:lnTo>
                    <a:pt x="942" y="1302"/>
                  </a:lnTo>
                  <a:lnTo>
                    <a:pt x="942" y="1308"/>
                  </a:lnTo>
                  <a:lnTo>
                    <a:pt x="936" y="1314"/>
                  </a:lnTo>
                  <a:lnTo>
                    <a:pt x="930" y="1320"/>
                  </a:lnTo>
                  <a:lnTo>
                    <a:pt x="930" y="1326"/>
                  </a:lnTo>
                  <a:lnTo>
                    <a:pt x="930" y="1332"/>
                  </a:lnTo>
                  <a:lnTo>
                    <a:pt x="936" y="1338"/>
                  </a:lnTo>
                  <a:lnTo>
                    <a:pt x="936" y="1344"/>
                  </a:lnTo>
                  <a:lnTo>
                    <a:pt x="942" y="1356"/>
                  </a:lnTo>
                  <a:lnTo>
                    <a:pt x="948" y="1368"/>
                  </a:lnTo>
                  <a:lnTo>
                    <a:pt x="942" y="1380"/>
                  </a:lnTo>
                  <a:lnTo>
                    <a:pt x="936" y="1386"/>
                  </a:lnTo>
                  <a:lnTo>
                    <a:pt x="930" y="1392"/>
                  </a:lnTo>
                  <a:lnTo>
                    <a:pt x="924" y="1392"/>
                  </a:lnTo>
                  <a:lnTo>
                    <a:pt x="918" y="1386"/>
                  </a:lnTo>
                  <a:lnTo>
                    <a:pt x="912" y="1386"/>
                  </a:lnTo>
                  <a:lnTo>
                    <a:pt x="906" y="1386"/>
                  </a:lnTo>
                  <a:lnTo>
                    <a:pt x="900" y="1386"/>
                  </a:lnTo>
                  <a:lnTo>
                    <a:pt x="900" y="1392"/>
                  </a:lnTo>
                  <a:lnTo>
                    <a:pt x="894" y="1392"/>
                  </a:lnTo>
                  <a:lnTo>
                    <a:pt x="888" y="1392"/>
                  </a:lnTo>
                  <a:lnTo>
                    <a:pt x="888" y="1398"/>
                  </a:lnTo>
                  <a:lnTo>
                    <a:pt x="882" y="1404"/>
                  </a:lnTo>
                  <a:lnTo>
                    <a:pt x="882" y="1416"/>
                  </a:lnTo>
                  <a:lnTo>
                    <a:pt x="882" y="1428"/>
                  </a:lnTo>
                  <a:lnTo>
                    <a:pt x="882" y="1434"/>
                  </a:lnTo>
                  <a:lnTo>
                    <a:pt x="870" y="1440"/>
                  </a:lnTo>
                  <a:lnTo>
                    <a:pt x="864" y="1452"/>
                  </a:lnTo>
                  <a:lnTo>
                    <a:pt x="870" y="1452"/>
                  </a:lnTo>
                  <a:lnTo>
                    <a:pt x="864" y="1458"/>
                  </a:lnTo>
                  <a:lnTo>
                    <a:pt x="858" y="1464"/>
                  </a:lnTo>
                  <a:lnTo>
                    <a:pt x="852" y="1464"/>
                  </a:lnTo>
                  <a:lnTo>
                    <a:pt x="846" y="1458"/>
                  </a:lnTo>
                  <a:lnTo>
                    <a:pt x="840" y="1458"/>
                  </a:lnTo>
                  <a:lnTo>
                    <a:pt x="828" y="1470"/>
                  </a:lnTo>
                  <a:lnTo>
                    <a:pt x="810" y="1482"/>
                  </a:lnTo>
                  <a:lnTo>
                    <a:pt x="804" y="1488"/>
                  </a:lnTo>
                  <a:lnTo>
                    <a:pt x="798" y="1488"/>
                  </a:lnTo>
                  <a:lnTo>
                    <a:pt x="792" y="1488"/>
                  </a:lnTo>
                  <a:lnTo>
                    <a:pt x="786" y="1488"/>
                  </a:lnTo>
                  <a:lnTo>
                    <a:pt x="768" y="1482"/>
                  </a:lnTo>
                  <a:lnTo>
                    <a:pt x="762" y="1476"/>
                  </a:lnTo>
                  <a:lnTo>
                    <a:pt x="744" y="1476"/>
                  </a:lnTo>
                  <a:lnTo>
                    <a:pt x="738" y="1476"/>
                  </a:lnTo>
                  <a:lnTo>
                    <a:pt x="732" y="1476"/>
                  </a:lnTo>
                  <a:lnTo>
                    <a:pt x="726" y="1482"/>
                  </a:lnTo>
                  <a:lnTo>
                    <a:pt x="726" y="1488"/>
                  </a:lnTo>
                  <a:lnTo>
                    <a:pt x="726" y="1494"/>
                  </a:lnTo>
                  <a:lnTo>
                    <a:pt x="726" y="1500"/>
                  </a:lnTo>
                  <a:lnTo>
                    <a:pt x="720" y="1500"/>
                  </a:lnTo>
                  <a:lnTo>
                    <a:pt x="720" y="1506"/>
                  </a:lnTo>
                  <a:lnTo>
                    <a:pt x="714" y="1512"/>
                  </a:lnTo>
                  <a:lnTo>
                    <a:pt x="714" y="1518"/>
                  </a:lnTo>
                  <a:lnTo>
                    <a:pt x="708" y="1518"/>
                  </a:lnTo>
                  <a:lnTo>
                    <a:pt x="708" y="1530"/>
                  </a:lnTo>
                  <a:lnTo>
                    <a:pt x="708" y="1536"/>
                  </a:lnTo>
                  <a:lnTo>
                    <a:pt x="708" y="1542"/>
                  </a:lnTo>
                  <a:lnTo>
                    <a:pt x="696" y="1554"/>
                  </a:lnTo>
                  <a:lnTo>
                    <a:pt x="690" y="1560"/>
                  </a:lnTo>
                  <a:lnTo>
                    <a:pt x="684" y="1566"/>
                  </a:lnTo>
                  <a:lnTo>
                    <a:pt x="672" y="1566"/>
                  </a:lnTo>
                  <a:lnTo>
                    <a:pt x="666" y="1566"/>
                  </a:lnTo>
                  <a:lnTo>
                    <a:pt x="660" y="1566"/>
                  </a:lnTo>
                  <a:lnTo>
                    <a:pt x="654" y="1572"/>
                  </a:lnTo>
                  <a:lnTo>
                    <a:pt x="654" y="1578"/>
                  </a:lnTo>
                  <a:lnTo>
                    <a:pt x="642" y="1578"/>
                  </a:lnTo>
                  <a:lnTo>
                    <a:pt x="630" y="1572"/>
                  </a:lnTo>
                  <a:lnTo>
                    <a:pt x="624" y="1572"/>
                  </a:lnTo>
                  <a:lnTo>
                    <a:pt x="618" y="1578"/>
                  </a:lnTo>
                  <a:lnTo>
                    <a:pt x="612" y="1584"/>
                  </a:lnTo>
                  <a:lnTo>
                    <a:pt x="606" y="1584"/>
                  </a:lnTo>
                  <a:lnTo>
                    <a:pt x="600" y="1590"/>
                  </a:lnTo>
                  <a:lnTo>
                    <a:pt x="594" y="1590"/>
                  </a:lnTo>
                  <a:lnTo>
                    <a:pt x="588" y="1590"/>
                  </a:lnTo>
                  <a:lnTo>
                    <a:pt x="582" y="1590"/>
                  </a:lnTo>
                  <a:lnTo>
                    <a:pt x="582" y="1596"/>
                  </a:lnTo>
                  <a:lnTo>
                    <a:pt x="576" y="1614"/>
                  </a:lnTo>
                  <a:lnTo>
                    <a:pt x="570" y="1632"/>
                  </a:lnTo>
                  <a:lnTo>
                    <a:pt x="570" y="1638"/>
                  </a:lnTo>
                  <a:lnTo>
                    <a:pt x="576" y="1644"/>
                  </a:lnTo>
                  <a:lnTo>
                    <a:pt x="576" y="1650"/>
                  </a:lnTo>
                  <a:lnTo>
                    <a:pt x="582" y="1662"/>
                  </a:lnTo>
                  <a:lnTo>
                    <a:pt x="582" y="1668"/>
                  </a:lnTo>
                  <a:lnTo>
                    <a:pt x="588" y="1692"/>
                  </a:lnTo>
                  <a:lnTo>
                    <a:pt x="594" y="1728"/>
                  </a:lnTo>
                  <a:lnTo>
                    <a:pt x="594" y="1752"/>
                  </a:lnTo>
                  <a:lnTo>
                    <a:pt x="594" y="1764"/>
                  </a:lnTo>
                  <a:lnTo>
                    <a:pt x="582" y="1770"/>
                  </a:lnTo>
                  <a:lnTo>
                    <a:pt x="582" y="1782"/>
                  </a:lnTo>
                  <a:lnTo>
                    <a:pt x="576" y="1788"/>
                  </a:lnTo>
                  <a:lnTo>
                    <a:pt x="570" y="1794"/>
                  </a:lnTo>
                  <a:lnTo>
                    <a:pt x="564" y="1806"/>
                  </a:lnTo>
                  <a:lnTo>
                    <a:pt x="564" y="1812"/>
                  </a:lnTo>
                  <a:lnTo>
                    <a:pt x="558" y="1812"/>
                  </a:lnTo>
                  <a:lnTo>
                    <a:pt x="564" y="1824"/>
                  </a:lnTo>
                  <a:lnTo>
                    <a:pt x="564" y="1830"/>
                  </a:lnTo>
                  <a:lnTo>
                    <a:pt x="564" y="1842"/>
                  </a:lnTo>
                  <a:lnTo>
                    <a:pt x="564" y="1848"/>
                  </a:lnTo>
                  <a:lnTo>
                    <a:pt x="564" y="1854"/>
                  </a:lnTo>
                  <a:lnTo>
                    <a:pt x="570" y="1860"/>
                  </a:lnTo>
                  <a:lnTo>
                    <a:pt x="570" y="1866"/>
                  </a:lnTo>
                  <a:lnTo>
                    <a:pt x="570" y="1872"/>
                  </a:lnTo>
                  <a:lnTo>
                    <a:pt x="570" y="1878"/>
                  </a:lnTo>
                  <a:lnTo>
                    <a:pt x="564" y="1890"/>
                  </a:lnTo>
                  <a:lnTo>
                    <a:pt x="558" y="1896"/>
                  </a:lnTo>
                  <a:lnTo>
                    <a:pt x="552" y="1908"/>
                  </a:lnTo>
                  <a:lnTo>
                    <a:pt x="546" y="1914"/>
                  </a:lnTo>
                  <a:lnTo>
                    <a:pt x="540" y="1920"/>
                  </a:lnTo>
                  <a:lnTo>
                    <a:pt x="534" y="1932"/>
                  </a:lnTo>
                  <a:lnTo>
                    <a:pt x="528" y="1944"/>
                  </a:lnTo>
                  <a:lnTo>
                    <a:pt x="516" y="1950"/>
                  </a:lnTo>
                  <a:lnTo>
                    <a:pt x="510" y="1956"/>
                  </a:lnTo>
                  <a:lnTo>
                    <a:pt x="498" y="1962"/>
                  </a:lnTo>
                  <a:lnTo>
                    <a:pt x="492" y="1974"/>
                  </a:lnTo>
                  <a:lnTo>
                    <a:pt x="486" y="1980"/>
                  </a:lnTo>
                  <a:lnTo>
                    <a:pt x="480" y="1998"/>
                  </a:lnTo>
                  <a:lnTo>
                    <a:pt x="474" y="2004"/>
                  </a:lnTo>
                  <a:lnTo>
                    <a:pt x="474" y="2010"/>
                  </a:lnTo>
                  <a:lnTo>
                    <a:pt x="474" y="2016"/>
                  </a:lnTo>
                  <a:lnTo>
                    <a:pt x="468" y="2016"/>
                  </a:lnTo>
                  <a:lnTo>
                    <a:pt x="468" y="2028"/>
                  </a:lnTo>
                  <a:lnTo>
                    <a:pt x="462" y="2034"/>
                  </a:lnTo>
                  <a:lnTo>
                    <a:pt x="456" y="2040"/>
                  </a:lnTo>
                  <a:lnTo>
                    <a:pt x="456" y="2052"/>
                  </a:lnTo>
                  <a:lnTo>
                    <a:pt x="450" y="2058"/>
                  </a:lnTo>
                  <a:lnTo>
                    <a:pt x="450" y="2070"/>
                  </a:lnTo>
                  <a:lnTo>
                    <a:pt x="450" y="2076"/>
                  </a:lnTo>
                  <a:lnTo>
                    <a:pt x="450" y="2082"/>
                  </a:lnTo>
                  <a:lnTo>
                    <a:pt x="444" y="2088"/>
                  </a:lnTo>
                  <a:lnTo>
                    <a:pt x="438" y="2094"/>
                  </a:lnTo>
                  <a:lnTo>
                    <a:pt x="444" y="2100"/>
                  </a:lnTo>
                  <a:lnTo>
                    <a:pt x="444" y="2124"/>
                  </a:lnTo>
                  <a:lnTo>
                    <a:pt x="444" y="2142"/>
                  </a:lnTo>
                  <a:lnTo>
                    <a:pt x="444" y="2160"/>
                  </a:lnTo>
                  <a:lnTo>
                    <a:pt x="450" y="2166"/>
                  </a:lnTo>
                  <a:lnTo>
                    <a:pt x="456" y="2178"/>
                  </a:lnTo>
                  <a:lnTo>
                    <a:pt x="438" y="2184"/>
                  </a:lnTo>
                  <a:lnTo>
                    <a:pt x="432" y="2184"/>
                  </a:lnTo>
                  <a:lnTo>
                    <a:pt x="426" y="2190"/>
                  </a:lnTo>
                  <a:lnTo>
                    <a:pt x="408" y="2190"/>
                  </a:lnTo>
                  <a:lnTo>
                    <a:pt x="402" y="2196"/>
                  </a:lnTo>
                  <a:lnTo>
                    <a:pt x="396" y="2196"/>
                  </a:lnTo>
                  <a:lnTo>
                    <a:pt x="384" y="2208"/>
                  </a:lnTo>
                  <a:lnTo>
                    <a:pt x="378" y="2220"/>
                  </a:lnTo>
                  <a:lnTo>
                    <a:pt x="366" y="2232"/>
                  </a:lnTo>
                  <a:lnTo>
                    <a:pt x="366" y="2238"/>
                  </a:lnTo>
                  <a:lnTo>
                    <a:pt x="360" y="2238"/>
                  </a:lnTo>
                  <a:lnTo>
                    <a:pt x="360" y="2244"/>
                  </a:lnTo>
                  <a:lnTo>
                    <a:pt x="354" y="2244"/>
                  </a:lnTo>
                  <a:lnTo>
                    <a:pt x="330" y="227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5" name="Freeform 10">
              <a:extLst>
                <a:ext uri="{FF2B5EF4-FFF2-40B4-BE49-F238E27FC236}">
                  <a16:creationId xmlns:a16="http://schemas.microsoft.com/office/drawing/2014/main" id="{3AD2FC58-3490-4B7F-A8BE-621F3CDD69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1996" y="1931890"/>
              <a:ext cx="805029" cy="1037736"/>
            </a:xfrm>
            <a:custGeom>
              <a:avLst/>
              <a:gdLst>
                <a:gd name="T0" fmla="*/ 124 w 1512"/>
                <a:gd name="T1" fmla="*/ 76 h 1956"/>
                <a:gd name="T2" fmla="*/ 120 w 1512"/>
                <a:gd name="T3" fmla="*/ 80 h 1956"/>
                <a:gd name="T4" fmla="*/ 106 w 1512"/>
                <a:gd name="T5" fmla="*/ 84 h 1956"/>
                <a:gd name="T6" fmla="*/ 105 w 1512"/>
                <a:gd name="T7" fmla="*/ 91 h 1956"/>
                <a:gd name="T8" fmla="*/ 101 w 1512"/>
                <a:gd name="T9" fmla="*/ 99 h 1956"/>
                <a:gd name="T10" fmla="*/ 105 w 1512"/>
                <a:gd name="T11" fmla="*/ 107 h 1956"/>
                <a:gd name="T12" fmla="*/ 119 w 1512"/>
                <a:gd name="T13" fmla="*/ 116 h 1956"/>
                <a:gd name="T14" fmla="*/ 121 w 1512"/>
                <a:gd name="T15" fmla="*/ 128 h 1956"/>
                <a:gd name="T16" fmla="*/ 112 w 1512"/>
                <a:gd name="T17" fmla="*/ 136 h 1956"/>
                <a:gd name="T18" fmla="*/ 119 w 1512"/>
                <a:gd name="T19" fmla="*/ 143 h 1956"/>
                <a:gd name="T20" fmla="*/ 126 w 1512"/>
                <a:gd name="T21" fmla="*/ 148 h 1956"/>
                <a:gd name="T22" fmla="*/ 126 w 1512"/>
                <a:gd name="T23" fmla="*/ 160 h 1956"/>
                <a:gd name="T24" fmla="*/ 104 w 1512"/>
                <a:gd name="T25" fmla="*/ 170 h 1956"/>
                <a:gd name="T26" fmla="*/ 99 w 1512"/>
                <a:gd name="T27" fmla="*/ 164 h 1956"/>
                <a:gd name="T28" fmla="*/ 73 w 1512"/>
                <a:gd name="T29" fmla="*/ 152 h 1956"/>
                <a:gd name="T30" fmla="*/ 56 w 1512"/>
                <a:gd name="T31" fmla="*/ 165 h 1956"/>
                <a:gd name="T32" fmla="*/ 33 w 1512"/>
                <a:gd name="T33" fmla="*/ 162 h 1956"/>
                <a:gd name="T34" fmla="*/ 25 w 1512"/>
                <a:gd name="T35" fmla="*/ 155 h 1956"/>
                <a:gd name="T36" fmla="*/ 31 w 1512"/>
                <a:gd name="T37" fmla="*/ 142 h 1956"/>
                <a:gd name="T38" fmla="*/ 24 w 1512"/>
                <a:gd name="T39" fmla="*/ 137 h 1956"/>
                <a:gd name="T40" fmla="*/ 14 w 1512"/>
                <a:gd name="T41" fmla="*/ 136 h 1956"/>
                <a:gd name="T42" fmla="*/ 11 w 1512"/>
                <a:gd name="T43" fmla="*/ 125 h 1956"/>
                <a:gd name="T44" fmla="*/ 3 w 1512"/>
                <a:gd name="T45" fmla="*/ 116 h 1956"/>
                <a:gd name="T46" fmla="*/ 2 w 1512"/>
                <a:gd name="T47" fmla="*/ 106 h 1956"/>
                <a:gd name="T48" fmla="*/ 5 w 1512"/>
                <a:gd name="T49" fmla="*/ 101 h 1956"/>
                <a:gd name="T50" fmla="*/ 2 w 1512"/>
                <a:gd name="T51" fmla="*/ 95 h 1956"/>
                <a:gd name="T52" fmla="*/ 1 w 1512"/>
                <a:gd name="T53" fmla="*/ 88 h 1956"/>
                <a:gd name="T54" fmla="*/ 4 w 1512"/>
                <a:gd name="T55" fmla="*/ 80 h 1956"/>
                <a:gd name="T56" fmla="*/ 12 w 1512"/>
                <a:gd name="T57" fmla="*/ 73 h 1956"/>
                <a:gd name="T58" fmla="*/ 16 w 1512"/>
                <a:gd name="T59" fmla="*/ 68 h 1956"/>
                <a:gd name="T60" fmla="*/ 22 w 1512"/>
                <a:gd name="T61" fmla="*/ 66 h 1956"/>
                <a:gd name="T62" fmla="*/ 32 w 1512"/>
                <a:gd name="T63" fmla="*/ 65 h 1956"/>
                <a:gd name="T64" fmla="*/ 45 w 1512"/>
                <a:gd name="T65" fmla="*/ 66 h 1956"/>
                <a:gd name="T66" fmla="*/ 50 w 1512"/>
                <a:gd name="T67" fmla="*/ 70 h 1956"/>
                <a:gd name="T68" fmla="*/ 55 w 1512"/>
                <a:gd name="T69" fmla="*/ 70 h 1956"/>
                <a:gd name="T70" fmla="*/ 63 w 1512"/>
                <a:gd name="T71" fmla="*/ 71 h 1956"/>
                <a:gd name="T72" fmla="*/ 61 w 1512"/>
                <a:gd name="T73" fmla="*/ 75 h 1956"/>
                <a:gd name="T74" fmla="*/ 66 w 1512"/>
                <a:gd name="T75" fmla="*/ 84 h 1956"/>
                <a:gd name="T76" fmla="*/ 81 w 1512"/>
                <a:gd name="T77" fmla="*/ 85 h 1956"/>
                <a:gd name="T78" fmla="*/ 83 w 1512"/>
                <a:gd name="T79" fmla="*/ 79 h 1956"/>
                <a:gd name="T80" fmla="*/ 89 w 1512"/>
                <a:gd name="T81" fmla="*/ 77 h 1956"/>
                <a:gd name="T82" fmla="*/ 89 w 1512"/>
                <a:gd name="T83" fmla="*/ 73 h 1956"/>
                <a:gd name="T84" fmla="*/ 83 w 1512"/>
                <a:gd name="T85" fmla="*/ 72 h 1956"/>
                <a:gd name="T86" fmla="*/ 77 w 1512"/>
                <a:gd name="T87" fmla="*/ 70 h 1956"/>
                <a:gd name="T88" fmla="*/ 71 w 1512"/>
                <a:gd name="T89" fmla="*/ 70 h 1956"/>
                <a:gd name="T90" fmla="*/ 59 w 1512"/>
                <a:gd name="T91" fmla="*/ 58 h 1956"/>
                <a:gd name="T92" fmla="*/ 54 w 1512"/>
                <a:gd name="T93" fmla="*/ 45 h 1956"/>
                <a:gd name="T94" fmla="*/ 49 w 1512"/>
                <a:gd name="T95" fmla="*/ 42 h 1956"/>
                <a:gd name="T96" fmla="*/ 51 w 1512"/>
                <a:gd name="T97" fmla="*/ 39 h 1956"/>
                <a:gd name="T98" fmla="*/ 55 w 1512"/>
                <a:gd name="T99" fmla="*/ 36 h 1956"/>
                <a:gd name="T100" fmla="*/ 63 w 1512"/>
                <a:gd name="T101" fmla="*/ 34 h 1956"/>
                <a:gd name="T102" fmla="*/ 68 w 1512"/>
                <a:gd name="T103" fmla="*/ 32 h 1956"/>
                <a:gd name="T104" fmla="*/ 73 w 1512"/>
                <a:gd name="T105" fmla="*/ 29 h 1956"/>
                <a:gd name="T106" fmla="*/ 78 w 1512"/>
                <a:gd name="T107" fmla="*/ 27 h 1956"/>
                <a:gd name="T108" fmla="*/ 81 w 1512"/>
                <a:gd name="T109" fmla="*/ 17 h 1956"/>
                <a:gd name="T110" fmla="*/ 84 w 1512"/>
                <a:gd name="T111" fmla="*/ 6 h 1956"/>
                <a:gd name="T112" fmla="*/ 95 w 1512"/>
                <a:gd name="T113" fmla="*/ 6 h 1956"/>
                <a:gd name="T114" fmla="*/ 99 w 1512"/>
                <a:gd name="T115" fmla="*/ 3 h 1956"/>
                <a:gd name="T116" fmla="*/ 103 w 1512"/>
                <a:gd name="T117" fmla="*/ 0 h 1956"/>
                <a:gd name="T118" fmla="*/ 110 w 1512"/>
                <a:gd name="T119" fmla="*/ 4 h 1956"/>
                <a:gd name="T120" fmla="*/ 114 w 1512"/>
                <a:gd name="T121" fmla="*/ 33 h 1956"/>
                <a:gd name="T122" fmla="*/ 117 w 1512"/>
                <a:gd name="T123" fmla="*/ 41 h 1956"/>
                <a:gd name="T124" fmla="*/ 119 w 1512"/>
                <a:gd name="T125" fmla="*/ 62 h 195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12"/>
                <a:gd name="T190" fmla="*/ 0 h 1956"/>
                <a:gd name="T191" fmla="*/ 1512 w 1512"/>
                <a:gd name="T192" fmla="*/ 1956 h 195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12" h="1956">
                  <a:moveTo>
                    <a:pt x="1512" y="780"/>
                  </a:moveTo>
                  <a:lnTo>
                    <a:pt x="1482" y="786"/>
                  </a:lnTo>
                  <a:lnTo>
                    <a:pt x="1476" y="792"/>
                  </a:lnTo>
                  <a:lnTo>
                    <a:pt x="1476" y="798"/>
                  </a:lnTo>
                  <a:lnTo>
                    <a:pt x="1476" y="804"/>
                  </a:lnTo>
                  <a:lnTo>
                    <a:pt x="1476" y="816"/>
                  </a:lnTo>
                  <a:lnTo>
                    <a:pt x="1470" y="834"/>
                  </a:lnTo>
                  <a:lnTo>
                    <a:pt x="1464" y="840"/>
                  </a:lnTo>
                  <a:lnTo>
                    <a:pt x="1452" y="852"/>
                  </a:lnTo>
                  <a:lnTo>
                    <a:pt x="1440" y="864"/>
                  </a:lnTo>
                  <a:lnTo>
                    <a:pt x="1434" y="864"/>
                  </a:lnTo>
                  <a:lnTo>
                    <a:pt x="1434" y="870"/>
                  </a:lnTo>
                  <a:lnTo>
                    <a:pt x="1422" y="876"/>
                  </a:lnTo>
                  <a:lnTo>
                    <a:pt x="1410" y="894"/>
                  </a:lnTo>
                  <a:lnTo>
                    <a:pt x="1404" y="894"/>
                  </a:lnTo>
                  <a:lnTo>
                    <a:pt x="1404" y="900"/>
                  </a:lnTo>
                  <a:lnTo>
                    <a:pt x="1404" y="906"/>
                  </a:lnTo>
                  <a:lnTo>
                    <a:pt x="1410" y="918"/>
                  </a:lnTo>
                  <a:lnTo>
                    <a:pt x="1404" y="918"/>
                  </a:lnTo>
                  <a:lnTo>
                    <a:pt x="1392" y="924"/>
                  </a:lnTo>
                  <a:lnTo>
                    <a:pt x="1386" y="924"/>
                  </a:lnTo>
                  <a:lnTo>
                    <a:pt x="1380" y="924"/>
                  </a:lnTo>
                  <a:lnTo>
                    <a:pt x="1380" y="930"/>
                  </a:lnTo>
                  <a:lnTo>
                    <a:pt x="1374" y="930"/>
                  </a:lnTo>
                  <a:lnTo>
                    <a:pt x="1374" y="924"/>
                  </a:lnTo>
                  <a:lnTo>
                    <a:pt x="1374" y="918"/>
                  </a:lnTo>
                  <a:lnTo>
                    <a:pt x="1368" y="912"/>
                  </a:lnTo>
                  <a:lnTo>
                    <a:pt x="1368" y="906"/>
                  </a:lnTo>
                  <a:lnTo>
                    <a:pt x="1368" y="900"/>
                  </a:lnTo>
                  <a:lnTo>
                    <a:pt x="1368" y="894"/>
                  </a:lnTo>
                  <a:lnTo>
                    <a:pt x="1362" y="894"/>
                  </a:lnTo>
                  <a:lnTo>
                    <a:pt x="1326" y="894"/>
                  </a:lnTo>
                  <a:lnTo>
                    <a:pt x="1302" y="906"/>
                  </a:lnTo>
                  <a:lnTo>
                    <a:pt x="1284" y="918"/>
                  </a:lnTo>
                  <a:lnTo>
                    <a:pt x="1284" y="924"/>
                  </a:lnTo>
                  <a:lnTo>
                    <a:pt x="1278" y="930"/>
                  </a:lnTo>
                  <a:lnTo>
                    <a:pt x="1266" y="930"/>
                  </a:lnTo>
                  <a:lnTo>
                    <a:pt x="1236" y="954"/>
                  </a:lnTo>
                  <a:lnTo>
                    <a:pt x="1212" y="972"/>
                  </a:lnTo>
                  <a:lnTo>
                    <a:pt x="1218" y="996"/>
                  </a:lnTo>
                  <a:lnTo>
                    <a:pt x="1224" y="1008"/>
                  </a:lnTo>
                  <a:lnTo>
                    <a:pt x="1236" y="1014"/>
                  </a:lnTo>
                  <a:lnTo>
                    <a:pt x="1242" y="1026"/>
                  </a:lnTo>
                  <a:lnTo>
                    <a:pt x="1248" y="1038"/>
                  </a:lnTo>
                  <a:lnTo>
                    <a:pt x="1260" y="1050"/>
                  </a:lnTo>
                  <a:lnTo>
                    <a:pt x="1260" y="1056"/>
                  </a:lnTo>
                  <a:lnTo>
                    <a:pt x="1260" y="1074"/>
                  </a:lnTo>
                  <a:lnTo>
                    <a:pt x="1254" y="1074"/>
                  </a:lnTo>
                  <a:lnTo>
                    <a:pt x="1236" y="1056"/>
                  </a:lnTo>
                  <a:lnTo>
                    <a:pt x="1224" y="1050"/>
                  </a:lnTo>
                  <a:lnTo>
                    <a:pt x="1212" y="1050"/>
                  </a:lnTo>
                  <a:lnTo>
                    <a:pt x="1206" y="1050"/>
                  </a:lnTo>
                  <a:lnTo>
                    <a:pt x="1200" y="1056"/>
                  </a:lnTo>
                  <a:lnTo>
                    <a:pt x="1194" y="1062"/>
                  </a:lnTo>
                  <a:lnTo>
                    <a:pt x="1188" y="1068"/>
                  </a:lnTo>
                  <a:lnTo>
                    <a:pt x="1188" y="1074"/>
                  </a:lnTo>
                  <a:lnTo>
                    <a:pt x="1176" y="1086"/>
                  </a:lnTo>
                  <a:lnTo>
                    <a:pt x="1170" y="1086"/>
                  </a:lnTo>
                  <a:lnTo>
                    <a:pt x="1170" y="1092"/>
                  </a:lnTo>
                  <a:lnTo>
                    <a:pt x="1164" y="1098"/>
                  </a:lnTo>
                  <a:lnTo>
                    <a:pt x="1158" y="1110"/>
                  </a:lnTo>
                  <a:lnTo>
                    <a:pt x="1152" y="1116"/>
                  </a:lnTo>
                  <a:lnTo>
                    <a:pt x="1152" y="1122"/>
                  </a:lnTo>
                  <a:lnTo>
                    <a:pt x="1146" y="1128"/>
                  </a:lnTo>
                  <a:lnTo>
                    <a:pt x="1152" y="1140"/>
                  </a:lnTo>
                  <a:lnTo>
                    <a:pt x="1158" y="1140"/>
                  </a:lnTo>
                  <a:lnTo>
                    <a:pt x="1164" y="1146"/>
                  </a:lnTo>
                  <a:lnTo>
                    <a:pt x="1164" y="1152"/>
                  </a:lnTo>
                  <a:lnTo>
                    <a:pt x="1170" y="1164"/>
                  </a:lnTo>
                  <a:lnTo>
                    <a:pt x="1164" y="1176"/>
                  </a:lnTo>
                  <a:lnTo>
                    <a:pt x="1170" y="1182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82" y="1218"/>
                  </a:lnTo>
                  <a:lnTo>
                    <a:pt x="1188" y="1218"/>
                  </a:lnTo>
                  <a:lnTo>
                    <a:pt x="1194" y="1218"/>
                  </a:lnTo>
                  <a:lnTo>
                    <a:pt x="1194" y="1224"/>
                  </a:lnTo>
                  <a:lnTo>
                    <a:pt x="1200" y="1230"/>
                  </a:lnTo>
                  <a:lnTo>
                    <a:pt x="1200" y="1248"/>
                  </a:lnTo>
                  <a:lnTo>
                    <a:pt x="1212" y="1266"/>
                  </a:lnTo>
                  <a:lnTo>
                    <a:pt x="1218" y="1278"/>
                  </a:lnTo>
                  <a:lnTo>
                    <a:pt x="1224" y="1284"/>
                  </a:lnTo>
                  <a:lnTo>
                    <a:pt x="1236" y="1296"/>
                  </a:lnTo>
                  <a:lnTo>
                    <a:pt x="1242" y="1302"/>
                  </a:lnTo>
                  <a:lnTo>
                    <a:pt x="1242" y="1308"/>
                  </a:lnTo>
                  <a:lnTo>
                    <a:pt x="1272" y="1308"/>
                  </a:lnTo>
                  <a:lnTo>
                    <a:pt x="1296" y="1314"/>
                  </a:lnTo>
                  <a:lnTo>
                    <a:pt x="1320" y="1320"/>
                  </a:lnTo>
                  <a:lnTo>
                    <a:pt x="1338" y="1320"/>
                  </a:lnTo>
                  <a:lnTo>
                    <a:pt x="1356" y="1332"/>
                  </a:lnTo>
                  <a:lnTo>
                    <a:pt x="1368" y="1344"/>
                  </a:lnTo>
                  <a:lnTo>
                    <a:pt x="1374" y="1362"/>
                  </a:lnTo>
                  <a:lnTo>
                    <a:pt x="1368" y="1362"/>
                  </a:lnTo>
                  <a:lnTo>
                    <a:pt x="1368" y="1398"/>
                  </a:lnTo>
                  <a:lnTo>
                    <a:pt x="1368" y="1410"/>
                  </a:lnTo>
                  <a:lnTo>
                    <a:pt x="1368" y="1428"/>
                  </a:lnTo>
                  <a:lnTo>
                    <a:pt x="1368" y="1434"/>
                  </a:lnTo>
                  <a:lnTo>
                    <a:pt x="1368" y="1440"/>
                  </a:lnTo>
                  <a:lnTo>
                    <a:pt x="1374" y="1446"/>
                  </a:lnTo>
                  <a:lnTo>
                    <a:pt x="1374" y="1452"/>
                  </a:lnTo>
                  <a:lnTo>
                    <a:pt x="1380" y="1458"/>
                  </a:lnTo>
                  <a:lnTo>
                    <a:pt x="1386" y="1464"/>
                  </a:lnTo>
                  <a:lnTo>
                    <a:pt x="1386" y="1470"/>
                  </a:lnTo>
                  <a:lnTo>
                    <a:pt x="1380" y="1476"/>
                  </a:lnTo>
                  <a:lnTo>
                    <a:pt x="1374" y="1482"/>
                  </a:lnTo>
                  <a:lnTo>
                    <a:pt x="1362" y="1500"/>
                  </a:lnTo>
                  <a:lnTo>
                    <a:pt x="1362" y="1506"/>
                  </a:lnTo>
                  <a:lnTo>
                    <a:pt x="1362" y="1512"/>
                  </a:lnTo>
                  <a:lnTo>
                    <a:pt x="1362" y="1518"/>
                  </a:lnTo>
                  <a:lnTo>
                    <a:pt x="1362" y="1524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38" y="1548"/>
                  </a:lnTo>
                  <a:lnTo>
                    <a:pt x="1296" y="1548"/>
                  </a:lnTo>
                  <a:lnTo>
                    <a:pt x="1290" y="1554"/>
                  </a:lnTo>
                  <a:lnTo>
                    <a:pt x="1284" y="1560"/>
                  </a:lnTo>
                  <a:lnTo>
                    <a:pt x="1284" y="1566"/>
                  </a:lnTo>
                  <a:lnTo>
                    <a:pt x="1290" y="1578"/>
                  </a:lnTo>
                  <a:lnTo>
                    <a:pt x="1296" y="1590"/>
                  </a:lnTo>
                  <a:lnTo>
                    <a:pt x="1302" y="1590"/>
                  </a:lnTo>
                  <a:lnTo>
                    <a:pt x="1308" y="1596"/>
                  </a:lnTo>
                  <a:lnTo>
                    <a:pt x="1320" y="1602"/>
                  </a:lnTo>
                  <a:lnTo>
                    <a:pt x="1326" y="1602"/>
                  </a:lnTo>
                  <a:lnTo>
                    <a:pt x="1326" y="1608"/>
                  </a:lnTo>
                  <a:lnTo>
                    <a:pt x="1332" y="1614"/>
                  </a:lnTo>
                  <a:lnTo>
                    <a:pt x="1344" y="1620"/>
                  </a:lnTo>
                  <a:lnTo>
                    <a:pt x="1356" y="1626"/>
                  </a:lnTo>
                  <a:lnTo>
                    <a:pt x="1356" y="1632"/>
                  </a:lnTo>
                  <a:lnTo>
                    <a:pt x="1356" y="1638"/>
                  </a:lnTo>
                  <a:lnTo>
                    <a:pt x="1362" y="1644"/>
                  </a:lnTo>
                  <a:lnTo>
                    <a:pt x="1368" y="1644"/>
                  </a:lnTo>
                  <a:lnTo>
                    <a:pt x="1380" y="1650"/>
                  </a:lnTo>
                  <a:lnTo>
                    <a:pt x="1386" y="1650"/>
                  </a:lnTo>
                  <a:lnTo>
                    <a:pt x="1386" y="1656"/>
                  </a:lnTo>
                  <a:lnTo>
                    <a:pt x="1392" y="1656"/>
                  </a:lnTo>
                  <a:lnTo>
                    <a:pt x="1398" y="1662"/>
                  </a:lnTo>
                  <a:lnTo>
                    <a:pt x="1410" y="1674"/>
                  </a:lnTo>
                  <a:lnTo>
                    <a:pt x="1428" y="1680"/>
                  </a:lnTo>
                  <a:lnTo>
                    <a:pt x="1428" y="1686"/>
                  </a:lnTo>
                  <a:lnTo>
                    <a:pt x="1428" y="1698"/>
                  </a:lnTo>
                  <a:lnTo>
                    <a:pt x="1434" y="1704"/>
                  </a:lnTo>
                  <a:lnTo>
                    <a:pt x="1434" y="1710"/>
                  </a:lnTo>
                  <a:lnTo>
                    <a:pt x="1440" y="1710"/>
                  </a:lnTo>
                  <a:lnTo>
                    <a:pt x="1446" y="1710"/>
                  </a:lnTo>
                  <a:lnTo>
                    <a:pt x="1446" y="1716"/>
                  </a:lnTo>
                  <a:lnTo>
                    <a:pt x="1440" y="1722"/>
                  </a:lnTo>
                  <a:lnTo>
                    <a:pt x="1440" y="1728"/>
                  </a:lnTo>
                  <a:lnTo>
                    <a:pt x="1440" y="1734"/>
                  </a:lnTo>
                  <a:lnTo>
                    <a:pt x="1440" y="1740"/>
                  </a:lnTo>
                  <a:lnTo>
                    <a:pt x="1440" y="1746"/>
                  </a:lnTo>
                  <a:lnTo>
                    <a:pt x="1440" y="1788"/>
                  </a:lnTo>
                  <a:lnTo>
                    <a:pt x="1440" y="1800"/>
                  </a:lnTo>
                  <a:lnTo>
                    <a:pt x="1440" y="1806"/>
                  </a:lnTo>
                  <a:lnTo>
                    <a:pt x="1440" y="1836"/>
                  </a:lnTo>
                  <a:lnTo>
                    <a:pt x="1440" y="1848"/>
                  </a:lnTo>
                  <a:lnTo>
                    <a:pt x="1446" y="1848"/>
                  </a:lnTo>
                  <a:lnTo>
                    <a:pt x="1446" y="1854"/>
                  </a:lnTo>
                  <a:lnTo>
                    <a:pt x="1452" y="1848"/>
                  </a:lnTo>
                  <a:lnTo>
                    <a:pt x="1458" y="1854"/>
                  </a:lnTo>
                  <a:lnTo>
                    <a:pt x="1452" y="1860"/>
                  </a:lnTo>
                  <a:lnTo>
                    <a:pt x="1452" y="1866"/>
                  </a:lnTo>
                  <a:lnTo>
                    <a:pt x="1458" y="1872"/>
                  </a:lnTo>
                  <a:lnTo>
                    <a:pt x="1464" y="1884"/>
                  </a:lnTo>
                  <a:lnTo>
                    <a:pt x="1428" y="1878"/>
                  </a:lnTo>
                  <a:lnTo>
                    <a:pt x="1356" y="1890"/>
                  </a:lnTo>
                  <a:lnTo>
                    <a:pt x="1296" y="1926"/>
                  </a:lnTo>
                  <a:lnTo>
                    <a:pt x="1266" y="1944"/>
                  </a:lnTo>
                  <a:lnTo>
                    <a:pt x="1224" y="1944"/>
                  </a:lnTo>
                  <a:lnTo>
                    <a:pt x="1188" y="1956"/>
                  </a:lnTo>
                  <a:lnTo>
                    <a:pt x="1188" y="1950"/>
                  </a:lnTo>
                  <a:lnTo>
                    <a:pt x="1176" y="1944"/>
                  </a:lnTo>
                  <a:lnTo>
                    <a:pt x="1176" y="1938"/>
                  </a:lnTo>
                  <a:lnTo>
                    <a:pt x="1170" y="1938"/>
                  </a:lnTo>
                  <a:lnTo>
                    <a:pt x="1164" y="1932"/>
                  </a:lnTo>
                  <a:lnTo>
                    <a:pt x="1158" y="1926"/>
                  </a:lnTo>
                  <a:lnTo>
                    <a:pt x="1158" y="1920"/>
                  </a:lnTo>
                  <a:lnTo>
                    <a:pt x="1152" y="1920"/>
                  </a:lnTo>
                  <a:lnTo>
                    <a:pt x="1146" y="1914"/>
                  </a:lnTo>
                  <a:lnTo>
                    <a:pt x="1146" y="1908"/>
                  </a:lnTo>
                  <a:lnTo>
                    <a:pt x="1140" y="1908"/>
                  </a:lnTo>
                  <a:lnTo>
                    <a:pt x="1134" y="1902"/>
                  </a:lnTo>
                  <a:lnTo>
                    <a:pt x="1134" y="1896"/>
                  </a:lnTo>
                  <a:lnTo>
                    <a:pt x="1116" y="1896"/>
                  </a:lnTo>
                  <a:lnTo>
                    <a:pt x="1104" y="1884"/>
                  </a:lnTo>
                  <a:lnTo>
                    <a:pt x="1092" y="1860"/>
                  </a:lnTo>
                  <a:lnTo>
                    <a:pt x="1068" y="1854"/>
                  </a:lnTo>
                  <a:lnTo>
                    <a:pt x="1032" y="1842"/>
                  </a:lnTo>
                  <a:lnTo>
                    <a:pt x="1008" y="1836"/>
                  </a:lnTo>
                  <a:lnTo>
                    <a:pt x="978" y="1824"/>
                  </a:lnTo>
                  <a:lnTo>
                    <a:pt x="942" y="1818"/>
                  </a:lnTo>
                  <a:lnTo>
                    <a:pt x="924" y="1806"/>
                  </a:lnTo>
                  <a:lnTo>
                    <a:pt x="906" y="1788"/>
                  </a:lnTo>
                  <a:lnTo>
                    <a:pt x="894" y="1776"/>
                  </a:lnTo>
                  <a:lnTo>
                    <a:pt x="864" y="1758"/>
                  </a:lnTo>
                  <a:lnTo>
                    <a:pt x="834" y="1752"/>
                  </a:lnTo>
                  <a:lnTo>
                    <a:pt x="798" y="1746"/>
                  </a:lnTo>
                  <a:lnTo>
                    <a:pt x="792" y="1806"/>
                  </a:lnTo>
                  <a:lnTo>
                    <a:pt x="798" y="1812"/>
                  </a:lnTo>
                  <a:lnTo>
                    <a:pt x="810" y="1830"/>
                  </a:lnTo>
                  <a:lnTo>
                    <a:pt x="792" y="1842"/>
                  </a:lnTo>
                  <a:lnTo>
                    <a:pt x="768" y="1842"/>
                  </a:lnTo>
                  <a:lnTo>
                    <a:pt x="708" y="1848"/>
                  </a:lnTo>
                  <a:lnTo>
                    <a:pt x="690" y="1860"/>
                  </a:lnTo>
                  <a:lnTo>
                    <a:pt x="690" y="1866"/>
                  </a:lnTo>
                  <a:lnTo>
                    <a:pt x="678" y="1878"/>
                  </a:lnTo>
                  <a:lnTo>
                    <a:pt x="660" y="1884"/>
                  </a:lnTo>
                  <a:lnTo>
                    <a:pt x="660" y="1902"/>
                  </a:lnTo>
                  <a:lnTo>
                    <a:pt x="642" y="1902"/>
                  </a:lnTo>
                  <a:lnTo>
                    <a:pt x="582" y="1914"/>
                  </a:lnTo>
                  <a:lnTo>
                    <a:pt x="534" y="1908"/>
                  </a:lnTo>
                  <a:lnTo>
                    <a:pt x="510" y="1908"/>
                  </a:lnTo>
                  <a:lnTo>
                    <a:pt x="510" y="1896"/>
                  </a:lnTo>
                  <a:lnTo>
                    <a:pt x="492" y="1896"/>
                  </a:lnTo>
                  <a:lnTo>
                    <a:pt x="486" y="1902"/>
                  </a:lnTo>
                  <a:lnTo>
                    <a:pt x="474" y="1908"/>
                  </a:lnTo>
                  <a:lnTo>
                    <a:pt x="450" y="1908"/>
                  </a:lnTo>
                  <a:lnTo>
                    <a:pt x="432" y="1902"/>
                  </a:lnTo>
                  <a:lnTo>
                    <a:pt x="426" y="1896"/>
                  </a:lnTo>
                  <a:lnTo>
                    <a:pt x="402" y="1884"/>
                  </a:lnTo>
                  <a:lnTo>
                    <a:pt x="390" y="1872"/>
                  </a:lnTo>
                  <a:lnTo>
                    <a:pt x="384" y="1872"/>
                  </a:lnTo>
                  <a:lnTo>
                    <a:pt x="378" y="1872"/>
                  </a:lnTo>
                  <a:lnTo>
                    <a:pt x="378" y="1866"/>
                  </a:lnTo>
                  <a:lnTo>
                    <a:pt x="372" y="1860"/>
                  </a:lnTo>
                  <a:lnTo>
                    <a:pt x="372" y="1854"/>
                  </a:lnTo>
                  <a:lnTo>
                    <a:pt x="366" y="1842"/>
                  </a:lnTo>
                  <a:lnTo>
                    <a:pt x="366" y="1836"/>
                  </a:lnTo>
                  <a:lnTo>
                    <a:pt x="348" y="1830"/>
                  </a:lnTo>
                  <a:lnTo>
                    <a:pt x="348" y="1806"/>
                  </a:lnTo>
                  <a:lnTo>
                    <a:pt x="348" y="1800"/>
                  </a:lnTo>
                  <a:lnTo>
                    <a:pt x="348" y="1782"/>
                  </a:lnTo>
                  <a:lnTo>
                    <a:pt x="336" y="1788"/>
                  </a:lnTo>
                  <a:lnTo>
                    <a:pt x="312" y="1794"/>
                  </a:lnTo>
                  <a:lnTo>
                    <a:pt x="288" y="1788"/>
                  </a:lnTo>
                  <a:lnTo>
                    <a:pt x="264" y="1758"/>
                  </a:lnTo>
                  <a:lnTo>
                    <a:pt x="270" y="1758"/>
                  </a:lnTo>
                  <a:lnTo>
                    <a:pt x="270" y="1752"/>
                  </a:lnTo>
                  <a:lnTo>
                    <a:pt x="276" y="1752"/>
                  </a:lnTo>
                  <a:lnTo>
                    <a:pt x="282" y="1746"/>
                  </a:lnTo>
                  <a:lnTo>
                    <a:pt x="300" y="1746"/>
                  </a:lnTo>
                  <a:lnTo>
                    <a:pt x="312" y="1746"/>
                  </a:lnTo>
                  <a:lnTo>
                    <a:pt x="336" y="1710"/>
                  </a:lnTo>
                  <a:lnTo>
                    <a:pt x="342" y="1692"/>
                  </a:lnTo>
                  <a:lnTo>
                    <a:pt x="348" y="1680"/>
                  </a:lnTo>
                  <a:lnTo>
                    <a:pt x="342" y="1650"/>
                  </a:lnTo>
                  <a:lnTo>
                    <a:pt x="354" y="1644"/>
                  </a:lnTo>
                  <a:lnTo>
                    <a:pt x="354" y="1638"/>
                  </a:lnTo>
                  <a:lnTo>
                    <a:pt x="360" y="1632"/>
                  </a:lnTo>
                  <a:lnTo>
                    <a:pt x="354" y="1626"/>
                  </a:lnTo>
                  <a:lnTo>
                    <a:pt x="348" y="1626"/>
                  </a:lnTo>
                  <a:lnTo>
                    <a:pt x="348" y="1620"/>
                  </a:lnTo>
                  <a:lnTo>
                    <a:pt x="342" y="1620"/>
                  </a:lnTo>
                  <a:lnTo>
                    <a:pt x="348" y="1614"/>
                  </a:lnTo>
                  <a:lnTo>
                    <a:pt x="324" y="1566"/>
                  </a:lnTo>
                  <a:lnTo>
                    <a:pt x="318" y="1566"/>
                  </a:lnTo>
                  <a:lnTo>
                    <a:pt x="306" y="1572"/>
                  </a:lnTo>
                  <a:lnTo>
                    <a:pt x="300" y="1572"/>
                  </a:lnTo>
                  <a:lnTo>
                    <a:pt x="294" y="1578"/>
                  </a:lnTo>
                  <a:lnTo>
                    <a:pt x="288" y="1584"/>
                  </a:lnTo>
                  <a:lnTo>
                    <a:pt x="282" y="1584"/>
                  </a:lnTo>
                  <a:lnTo>
                    <a:pt x="282" y="1578"/>
                  </a:lnTo>
                  <a:lnTo>
                    <a:pt x="276" y="1578"/>
                  </a:lnTo>
                  <a:lnTo>
                    <a:pt x="270" y="1578"/>
                  </a:lnTo>
                  <a:lnTo>
                    <a:pt x="264" y="1578"/>
                  </a:lnTo>
                  <a:lnTo>
                    <a:pt x="258" y="1578"/>
                  </a:lnTo>
                  <a:lnTo>
                    <a:pt x="252" y="1578"/>
                  </a:lnTo>
                  <a:lnTo>
                    <a:pt x="252" y="1584"/>
                  </a:lnTo>
                  <a:lnTo>
                    <a:pt x="246" y="1584"/>
                  </a:lnTo>
                  <a:lnTo>
                    <a:pt x="210" y="1584"/>
                  </a:lnTo>
                  <a:lnTo>
                    <a:pt x="204" y="1584"/>
                  </a:lnTo>
                  <a:lnTo>
                    <a:pt x="192" y="1584"/>
                  </a:lnTo>
                  <a:lnTo>
                    <a:pt x="168" y="1596"/>
                  </a:lnTo>
                  <a:lnTo>
                    <a:pt x="156" y="1572"/>
                  </a:lnTo>
                  <a:lnTo>
                    <a:pt x="156" y="1566"/>
                  </a:lnTo>
                  <a:lnTo>
                    <a:pt x="156" y="1560"/>
                  </a:lnTo>
                  <a:lnTo>
                    <a:pt x="162" y="1548"/>
                  </a:lnTo>
                  <a:lnTo>
                    <a:pt x="162" y="1542"/>
                  </a:lnTo>
                  <a:lnTo>
                    <a:pt x="162" y="1536"/>
                  </a:lnTo>
                  <a:lnTo>
                    <a:pt x="168" y="1530"/>
                  </a:lnTo>
                  <a:lnTo>
                    <a:pt x="168" y="1524"/>
                  </a:lnTo>
                  <a:lnTo>
                    <a:pt x="168" y="1518"/>
                  </a:lnTo>
                  <a:lnTo>
                    <a:pt x="174" y="1518"/>
                  </a:lnTo>
                  <a:lnTo>
                    <a:pt x="174" y="1506"/>
                  </a:lnTo>
                  <a:lnTo>
                    <a:pt x="156" y="1470"/>
                  </a:lnTo>
                  <a:lnTo>
                    <a:pt x="138" y="1464"/>
                  </a:lnTo>
                  <a:lnTo>
                    <a:pt x="126" y="1446"/>
                  </a:lnTo>
                  <a:lnTo>
                    <a:pt x="126" y="1440"/>
                  </a:lnTo>
                  <a:lnTo>
                    <a:pt x="126" y="1434"/>
                  </a:lnTo>
                  <a:lnTo>
                    <a:pt x="120" y="1428"/>
                  </a:lnTo>
                  <a:lnTo>
                    <a:pt x="126" y="1398"/>
                  </a:lnTo>
                  <a:lnTo>
                    <a:pt x="120" y="1374"/>
                  </a:lnTo>
                  <a:lnTo>
                    <a:pt x="60" y="1374"/>
                  </a:lnTo>
                  <a:lnTo>
                    <a:pt x="60" y="1368"/>
                  </a:lnTo>
                  <a:lnTo>
                    <a:pt x="54" y="1362"/>
                  </a:lnTo>
                  <a:lnTo>
                    <a:pt x="48" y="1356"/>
                  </a:lnTo>
                  <a:lnTo>
                    <a:pt x="42" y="1356"/>
                  </a:lnTo>
                  <a:lnTo>
                    <a:pt x="42" y="1350"/>
                  </a:lnTo>
                  <a:lnTo>
                    <a:pt x="36" y="1344"/>
                  </a:lnTo>
                  <a:lnTo>
                    <a:pt x="36" y="1338"/>
                  </a:lnTo>
                  <a:lnTo>
                    <a:pt x="30" y="1332"/>
                  </a:lnTo>
                  <a:lnTo>
                    <a:pt x="30" y="1326"/>
                  </a:lnTo>
                  <a:lnTo>
                    <a:pt x="18" y="1326"/>
                  </a:lnTo>
                  <a:lnTo>
                    <a:pt x="18" y="1320"/>
                  </a:lnTo>
                  <a:lnTo>
                    <a:pt x="18" y="1326"/>
                  </a:lnTo>
                  <a:lnTo>
                    <a:pt x="6" y="1320"/>
                  </a:lnTo>
                  <a:lnTo>
                    <a:pt x="0" y="1314"/>
                  </a:lnTo>
                  <a:lnTo>
                    <a:pt x="12" y="1266"/>
                  </a:lnTo>
                  <a:lnTo>
                    <a:pt x="6" y="1242"/>
                  </a:lnTo>
                  <a:lnTo>
                    <a:pt x="12" y="1236"/>
                  </a:lnTo>
                  <a:lnTo>
                    <a:pt x="12" y="1230"/>
                  </a:lnTo>
                  <a:lnTo>
                    <a:pt x="18" y="1230"/>
                  </a:lnTo>
                  <a:lnTo>
                    <a:pt x="18" y="1224"/>
                  </a:lnTo>
                  <a:lnTo>
                    <a:pt x="24" y="1218"/>
                  </a:lnTo>
                  <a:lnTo>
                    <a:pt x="24" y="1212"/>
                  </a:lnTo>
                  <a:lnTo>
                    <a:pt x="30" y="1212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48" y="1188"/>
                  </a:lnTo>
                  <a:lnTo>
                    <a:pt x="48" y="1182"/>
                  </a:lnTo>
                  <a:lnTo>
                    <a:pt x="48" y="1176"/>
                  </a:lnTo>
                  <a:lnTo>
                    <a:pt x="48" y="1170"/>
                  </a:lnTo>
                  <a:lnTo>
                    <a:pt x="54" y="1170"/>
                  </a:lnTo>
                  <a:lnTo>
                    <a:pt x="60" y="1164"/>
                  </a:lnTo>
                  <a:lnTo>
                    <a:pt x="60" y="1158"/>
                  </a:lnTo>
                  <a:lnTo>
                    <a:pt x="66" y="1152"/>
                  </a:lnTo>
                  <a:lnTo>
                    <a:pt x="60" y="1140"/>
                  </a:lnTo>
                  <a:lnTo>
                    <a:pt x="60" y="1134"/>
                  </a:lnTo>
                  <a:lnTo>
                    <a:pt x="54" y="1134"/>
                  </a:lnTo>
                  <a:lnTo>
                    <a:pt x="54" y="1128"/>
                  </a:lnTo>
                  <a:lnTo>
                    <a:pt x="48" y="1122"/>
                  </a:lnTo>
                  <a:lnTo>
                    <a:pt x="48" y="1116"/>
                  </a:lnTo>
                  <a:lnTo>
                    <a:pt x="48" y="1110"/>
                  </a:lnTo>
                  <a:lnTo>
                    <a:pt x="42" y="1104"/>
                  </a:lnTo>
                  <a:lnTo>
                    <a:pt x="42" y="1098"/>
                  </a:lnTo>
                  <a:lnTo>
                    <a:pt x="36" y="1092"/>
                  </a:lnTo>
                  <a:lnTo>
                    <a:pt x="30" y="1092"/>
                  </a:lnTo>
                  <a:lnTo>
                    <a:pt x="24" y="1092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18" y="1080"/>
                  </a:lnTo>
                  <a:lnTo>
                    <a:pt x="18" y="1074"/>
                  </a:lnTo>
                  <a:lnTo>
                    <a:pt x="12" y="1068"/>
                  </a:lnTo>
                  <a:lnTo>
                    <a:pt x="6" y="1068"/>
                  </a:lnTo>
                  <a:lnTo>
                    <a:pt x="12" y="1056"/>
                  </a:lnTo>
                  <a:lnTo>
                    <a:pt x="6" y="1056"/>
                  </a:lnTo>
                  <a:lnTo>
                    <a:pt x="6" y="1050"/>
                  </a:lnTo>
                  <a:lnTo>
                    <a:pt x="6" y="1044"/>
                  </a:lnTo>
                  <a:lnTo>
                    <a:pt x="6" y="1026"/>
                  </a:lnTo>
                  <a:lnTo>
                    <a:pt x="12" y="1020"/>
                  </a:lnTo>
                  <a:lnTo>
                    <a:pt x="12" y="1014"/>
                  </a:lnTo>
                  <a:lnTo>
                    <a:pt x="18" y="1014"/>
                  </a:lnTo>
                  <a:lnTo>
                    <a:pt x="18" y="1008"/>
                  </a:lnTo>
                  <a:lnTo>
                    <a:pt x="18" y="1002"/>
                  </a:lnTo>
                  <a:lnTo>
                    <a:pt x="18" y="990"/>
                  </a:lnTo>
                  <a:lnTo>
                    <a:pt x="12" y="972"/>
                  </a:lnTo>
                  <a:lnTo>
                    <a:pt x="18" y="954"/>
                  </a:lnTo>
                  <a:lnTo>
                    <a:pt x="18" y="948"/>
                  </a:lnTo>
                  <a:lnTo>
                    <a:pt x="24" y="948"/>
                  </a:lnTo>
                  <a:lnTo>
                    <a:pt x="24" y="930"/>
                  </a:lnTo>
                  <a:lnTo>
                    <a:pt x="30" y="930"/>
                  </a:lnTo>
                  <a:lnTo>
                    <a:pt x="36" y="918"/>
                  </a:lnTo>
                  <a:lnTo>
                    <a:pt x="42" y="918"/>
                  </a:lnTo>
                  <a:lnTo>
                    <a:pt x="48" y="918"/>
                  </a:lnTo>
                  <a:lnTo>
                    <a:pt x="78" y="912"/>
                  </a:lnTo>
                  <a:lnTo>
                    <a:pt x="90" y="894"/>
                  </a:lnTo>
                  <a:lnTo>
                    <a:pt x="96" y="894"/>
                  </a:lnTo>
                  <a:lnTo>
                    <a:pt x="102" y="888"/>
                  </a:lnTo>
                  <a:lnTo>
                    <a:pt x="102" y="882"/>
                  </a:lnTo>
                  <a:lnTo>
                    <a:pt x="114" y="870"/>
                  </a:lnTo>
                  <a:lnTo>
                    <a:pt x="120" y="864"/>
                  </a:lnTo>
                  <a:lnTo>
                    <a:pt x="120" y="852"/>
                  </a:lnTo>
                  <a:lnTo>
                    <a:pt x="120" y="846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32" y="840"/>
                  </a:lnTo>
                  <a:lnTo>
                    <a:pt x="138" y="840"/>
                  </a:lnTo>
                  <a:lnTo>
                    <a:pt x="138" y="834"/>
                  </a:lnTo>
                  <a:lnTo>
                    <a:pt x="144" y="834"/>
                  </a:lnTo>
                  <a:lnTo>
                    <a:pt x="144" y="828"/>
                  </a:lnTo>
                  <a:lnTo>
                    <a:pt x="150" y="828"/>
                  </a:lnTo>
                  <a:lnTo>
                    <a:pt x="156" y="822"/>
                  </a:lnTo>
                  <a:lnTo>
                    <a:pt x="162" y="816"/>
                  </a:lnTo>
                  <a:lnTo>
                    <a:pt x="162" y="822"/>
                  </a:lnTo>
                  <a:lnTo>
                    <a:pt x="162" y="816"/>
                  </a:lnTo>
                  <a:lnTo>
                    <a:pt x="162" y="810"/>
                  </a:lnTo>
                  <a:lnTo>
                    <a:pt x="168" y="810"/>
                  </a:lnTo>
                  <a:lnTo>
                    <a:pt x="174" y="804"/>
                  </a:lnTo>
                  <a:lnTo>
                    <a:pt x="180" y="798"/>
                  </a:lnTo>
                  <a:lnTo>
                    <a:pt x="180" y="786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8" y="780"/>
                  </a:lnTo>
                  <a:lnTo>
                    <a:pt x="204" y="774"/>
                  </a:lnTo>
                  <a:lnTo>
                    <a:pt x="210" y="774"/>
                  </a:lnTo>
                  <a:lnTo>
                    <a:pt x="216" y="768"/>
                  </a:lnTo>
                  <a:lnTo>
                    <a:pt x="222" y="762"/>
                  </a:lnTo>
                  <a:lnTo>
                    <a:pt x="228" y="762"/>
                  </a:lnTo>
                  <a:lnTo>
                    <a:pt x="228" y="768"/>
                  </a:lnTo>
                  <a:lnTo>
                    <a:pt x="234" y="768"/>
                  </a:lnTo>
                  <a:lnTo>
                    <a:pt x="240" y="762"/>
                  </a:lnTo>
                  <a:lnTo>
                    <a:pt x="252" y="762"/>
                  </a:lnTo>
                  <a:lnTo>
                    <a:pt x="264" y="768"/>
                  </a:lnTo>
                  <a:lnTo>
                    <a:pt x="294" y="756"/>
                  </a:lnTo>
                  <a:lnTo>
                    <a:pt x="294" y="750"/>
                  </a:lnTo>
                  <a:lnTo>
                    <a:pt x="300" y="750"/>
                  </a:lnTo>
                  <a:lnTo>
                    <a:pt x="306" y="744"/>
                  </a:lnTo>
                  <a:lnTo>
                    <a:pt x="342" y="750"/>
                  </a:lnTo>
                  <a:lnTo>
                    <a:pt x="348" y="750"/>
                  </a:lnTo>
                  <a:lnTo>
                    <a:pt x="348" y="744"/>
                  </a:lnTo>
                  <a:lnTo>
                    <a:pt x="354" y="744"/>
                  </a:lnTo>
                  <a:lnTo>
                    <a:pt x="360" y="744"/>
                  </a:lnTo>
                  <a:lnTo>
                    <a:pt x="360" y="750"/>
                  </a:lnTo>
                  <a:lnTo>
                    <a:pt x="366" y="750"/>
                  </a:lnTo>
                  <a:lnTo>
                    <a:pt x="366" y="744"/>
                  </a:lnTo>
                  <a:lnTo>
                    <a:pt x="366" y="738"/>
                  </a:lnTo>
                  <a:lnTo>
                    <a:pt x="372" y="744"/>
                  </a:lnTo>
                  <a:lnTo>
                    <a:pt x="378" y="744"/>
                  </a:lnTo>
                  <a:lnTo>
                    <a:pt x="384" y="750"/>
                  </a:lnTo>
                  <a:lnTo>
                    <a:pt x="444" y="774"/>
                  </a:lnTo>
                  <a:lnTo>
                    <a:pt x="450" y="774"/>
                  </a:lnTo>
                  <a:lnTo>
                    <a:pt x="456" y="768"/>
                  </a:lnTo>
                  <a:lnTo>
                    <a:pt x="462" y="768"/>
                  </a:lnTo>
                  <a:lnTo>
                    <a:pt x="462" y="762"/>
                  </a:lnTo>
                  <a:lnTo>
                    <a:pt x="468" y="762"/>
                  </a:lnTo>
                  <a:lnTo>
                    <a:pt x="474" y="756"/>
                  </a:lnTo>
                  <a:lnTo>
                    <a:pt x="480" y="750"/>
                  </a:lnTo>
                  <a:lnTo>
                    <a:pt x="516" y="756"/>
                  </a:lnTo>
                  <a:lnTo>
                    <a:pt x="522" y="756"/>
                  </a:lnTo>
                  <a:lnTo>
                    <a:pt x="522" y="762"/>
                  </a:lnTo>
                  <a:lnTo>
                    <a:pt x="522" y="768"/>
                  </a:lnTo>
                  <a:lnTo>
                    <a:pt x="522" y="774"/>
                  </a:lnTo>
                  <a:lnTo>
                    <a:pt x="528" y="780"/>
                  </a:lnTo>
                  <a:lnTo>
                    <a:pt x="540" y="780"/>
                  </a:lnTo>
                  <a:lnTo>
                    <a:pt x="540" y="804"/>
                  </a:lnTo>
                  <a:lnTo>
                    <a:pt x="540" y="810"/>
                  </a:lnTo>
                  <a:lnTo>
                    <a:pt x="546" y="810"/>
                  </a:lnTo>
                  <a:lnTo>
                    <a:pt x="552" y="810"/>
                  </a:lnTo>
                  <a:lnTo>
                    <a:pt x="558" y="810"/>
                  </a:lnTo>
                  <a:lnTo>
                    <a:pt x="564" y="810"/>
                  </a:lnTo>
                  <a:lnTo>
                    <a:pt x="570" y="810"/>
                  </a:lnTo>
                  <a:lnTo>
                    <a:pt x="576" y="810"/>
                  </a:lnTo>
                  <a:lnTo>
                    <a:pt x="576" y="816"/>
                  </a:lnTo>
                  <a:lnTo>
                    <a:pt x="588" y="816"/>
                  </a:lnTo>
                  <a:lnTo>
                    <a:pt x="594" y="816"/>
                  </a:lnTo>
                  <a:lnTo>
                    <a:pt x="600" y="822"/>
                  </a:lnTo>
                  <a:lnTo>
                    <a:pt x="606" y="816"/>
                  </a:lnTo>
                  <a:lnTo>
                    <a:pt x="612" y="816"/>
                  </a:lnTo>
                  <a:lnTo>
                    <a:pt x="612" y="810"/>
                  </a:lnTo>
                  <a:lnTo>
                    <a:pt x="624" y="810"/>
                  </a:lnTo>
                  <a:lnTo>
                    <a:pt x="624" y="804"/>
                  </a:lnTo>
                  <a:lnTo>
                    <a:pt x="630" y="798"/>
                  </a:lnTo>
                  <a:lnTo>
                    <a:pt x="636" y="798"/>
                  </a:lnTo>
                  <a:lnTo>
                    <a:pt x="636" y="804"/>
                  </a:lnTo>
                  <a:lnTo>
                    <a:pt x="642" y="804"/>
                  </a:lnTo>
                  <a:lnTo>
                    <a:pt x="648" y="804"/>
                  </a:lnTo>
                  <a:lnTo>
                    <a:pt x="654" y="804"/>
                  </a:lnTo>
                  <a:lnTo>
                    <a:pt x="660" y="804"/>
                  </a:lnTo>
                  <a:lnTo>
                    <a:pt x="678" y="798"/>
                  </a:lnTo>
                  <a:lnTo>
                    <a:pt x="714" y="786"/>
                  </a:lnTo>
                  <a:lnTo>
                    <a:pt x="714" y="792"/>
                  </a:lnTo>
                  <a:lnTo>
                    <a:pt x="714" y="798"/>
                  </a:lnTo>
                  <a:lnTo>
                    <a:pt x="714" y="804"/>
                  </a:lnTo>
                  <a:lnTo>
                    <a:pt x="720" y="804"/>
                  </a:lnTo>
                  <a:lnTo>
                    <a:pt x="720" y="810"/>
                  </a:lnTo>
                  <a:lnTo>
                    <a:pt x="720" y="816"/>
                  </a:lnTo>
                  <a:lnTo>
                    <a:pt x="726" y="822"/>
                  </a:lnTo>
                  <a:lnTo>
                    <a:pt x="732" y="828"/>
                  </a:lnTo>
                  <a:lnTo>
                    <a:pt x="732" y="834"/>
                  </a:lnTo>
                  <a:lnTo>
                    <a:pt x="732" y="846"/>
                  </a:lnTo>
                  <a:lnTo>
                    <a:pt x="732" y="858"/>
                  </a:lnTo>
                  <a:lnTo>
                    <a:pt x="738" y="858"/>
                  </a:lnTo>
                  <a:lnTo>
                    <a:pt x="732" y="864"/>
                  </a:lnTo>
                  <a:lnTo>
                    <a:pt x="732" y="870"/>
                  </a:lnTo>
                  <a:lnTo>
                    <a:pt x="726" y="870"/>
                  </a:lnTo>
                  <a:lnTo>
                    <a:pt x="726" y="876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0" y="882"/>
                  </a:lnTo>
                  <a:lnTo>
                    <a:pt x="690" y="912"/>
                  </a:lnTo>
                  <a:lnTo>
                    <a:pt x="696" y="936"/>
                  </a:lnTo>
                  <a:lnTo>
                    <a:pt x="702" y="936"/>
                  </a:lnTo>
                  <a:lnTo>
                    <a:pt x="702" y="930"/>
                  </a:lnTo>
                  <a:lnTo>
                    <a:pt x="708" y="930"/>
                  </a:lnTo>
                  <a:lnTo>
                    <a:pt x="708" y="924"/>
                  </a:lnTo>
                  <a:lnTo>
                    <a:pt x="708" y="918"/>
                  </a:lnTo>
                  <a:lnTo>
                    <a:pt x="714" y="918"/>
                  </a:lnTo>
                  <a:lnTo>
                    <a:pt x="720" y="954"/>
                  </a:lnTo>
                  <a:lnTo>
                    <a:pt x="726" y="966"/>
                  </a:lnTo>
                  <a:lnTo>
                    <a:pt x="744" y="966"/>
                  </a:lnTo>
                  <a:lnTo>
                    <a:pt x="756" y="972"/>
                  </a:lnTo>
                  <a:lnTo>
                    <a:pt x="792" y="990"/>
                  </a:lnTo>
                  <a:lnTo>
                    <a:pt x="828" y="978"/>
                  </a:lnTo>
                  <a:lnTo>
                    <a:pt x="834" y="978"/>
                  </a:lnTo>
                  <a:lnTo>
                    <a:pt x="840" y="978"/>
                  </a:lnTo>
                  <a:lnTo>
                    <a:pt x="840" y="984"/>
                  </a:lnTo>
                  <a:lnTo>
                    <a:pt x="846" y="984"/>
                  </a:lnTo>
                  <a:lnTo>
                    <a:pt x="858" y="972"/>
                  </a:lnTo>
                  <a:lnTo>
                    <a:pt x="882" y="972"/>
                  </a:lnTo>
                  <a:lnTo>
                    <a:pt x="888" y="984"/>
                  </a:lnTo>
                  <a:lnTo>
                    <a:pt x="900" y="990"/>
                  </a:lnTo>
                  <a:lnTo>
                    <a:pt x="924" y="996"/>
                  </a:lnTo>
                  <a:lnTo>
                    <a:pt x="930" y="990"/>
                  </a:lnTo>
                  <a:lnTo>
                    <a:pt x="930" y="984"/>
                  </a:lnTo>
                  <a:lnTo>
                    <a:pt x="924" y="978"/>
                  </a:lnTo>
                  <a:lnTo>
                    <a:pt x="906" y="972"/>
                  </a:lnTo>
                  <a:lnTo>
                    <a:pt x="900" y="966"/>
                  </a:lnTo>
                  <a:lnTo>
                    <a:pt x="900" y="960"/>
                  </a:lnTo>
                  <a:lnTo>
                    <a:pt x="900" y="954"/>
                  </a:lnTo>
                  <a:lnTo>
                    <a:pt x="900" y="948"/>
                  </a:lnTo>
                  <a:lnTo>
                    <a:pt x="912" y="936"/>
                  </a:lnTo>
                  <a:lnTo>
                    <a:pt x="912" y="924"/>
                  </a:lnTo>
                  <a:lnTo>
                    <a:pt x="918" y="924"/>
                  </a:lnTo>
                  <a:lnTo>
                    <a:pt x="918" y="918"/>
                  </a:lnTo>
                  <a:lnTo>
                    <a:pt x="936" y="906"/>
                  </a:lnTo>
                  <a:lnTo>
                    <a:pt x="942" y="906"/>
                  </a:lnTo>
                  <a:lnTo>
                    <a:pt x="948" y="906"/>
                  </a:lnTo>
                  <a:lnTo>
                    <a:pt x="954" y="906"/>
                  </a:lnTo>
                  <a:lnTo>
                    <a:pt x="960" y="906"/>
                  </a:lnTo>
                  <a:lnTo>
                    <a:pt x="966" y="912"/>
                  </a:lnTo>
                  <a:lnTo>
                    <a:pt x="972" y="906"/>
                  </a:lnTo>
                  <a:lnTo>
                    <a:pt x="978" y="906"/>
                  </a:lnTo>
                  <a:lnTo>
                    <a:pt x="984" y="900"/>
                  </a:lnTo>
                  <a:lnTo>
                    <a:pt x="984" y="894"/>
                  </a:lnTo>
                  <a:lnTo>
                    <a:pt x="990" y="894"/>
                  </a:lnTo>
                  <a:lnTo>
                    <a:pt x="996" y="888"/>
                  </a:lnTo>
                  <a:lnTo>
                    <a:pt x="1002" y="888"/>
                  </a:lnTo>
                  <a:lnTo>
                    <a:pt x="1008" y="882"/>
                  </a:lnTo>
                  <a:lnTo>
                    <a:pt x="1014" y="882"/>
                  </a:lnTo>
                  <a:lnTo>
                    <a:pt x="1020" y="882"/>
                  </a:lnTo>
                  <a:lnTo>
                    <a:pt x="1020" y="888"/>
                  </a:lnTo>
                  <a:lnTo>
                    <a:pt x="1026" y="882"/>
                  </a:lnTo>
                  <a:lnTo>
                    <a:pt x="1026" y="876"/>
                  </a:lnTo>
                  <a:lnTo>
                    <a:pt x="1026" y="870"/>
                  </a:lnTo>
                  <a:lnTo>
                    <a:pt x="1032" y="864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44" y="852"/>
                  </a:lnTo>
                  <a:lnTo>
                    <a:pt x="1038" y="846"/>
                  </a:lnTo>
                  <a:lnTo>
                    <a:pt x="1038" y="840"/>
                  </a:lnTo>
                  <a:lnTo>
                    <a:pt x="1032" y="840"/>
                  </a:lnTo>
                  <a:lnTo>
                    <a:pt x="1026" y="840"/>
                  </a:lnTo>
                  <a:lnTo>
                    <a:pt x="1020" y="840"/>
                  </a:lnTo>
                  <a:lnTo>
                    <a:pt x="1014" y="846"/>
                  </a:lnTo>
                  <a:lnTo>
                    <a:pt x="1008" y="846"/>
                  </a:lnTo>
                  <a:lnTo>
                    <a:pt x="1002" y="840"/>
                  </a:lnTo>
                  <a:lnTo>
                    <a:pt x="996" y="840"/>
                  </a:lnTo>
                  <a:lnTo>
                    <a:pt x="990" y="834"/>
                  </a:lnTo>
                  <a:lnTo>
                    <a:pt x="984" y="834"/>
                  </a:lnTo>
                  <a:lnTo>
                    <a:pt x="978" y="834"/>
                  </a:lnTo>
                  <a:lnTo>
                    <a:pt x="972" y="834"/>
                  </a:lnTo>
                  <a:lnTo>
                    <a:pt x="966" y="834"/>
                  </a:lnTo>
                  <a:lnTo>
                    <a:pt x="966" y="828"/>
                  </a:lnTo>
                  <a:lnTo>
                    <a:pt x="960" y="828"/>
                  </a:lnTo>
                  <a:lnTo>
                    <a:pt x="954" y="828"/>
                  </a:lnTo>
                  <a:lnTo>
                    <a:pt x="942" y="828"/>
                  </a:lnTo>
                  <a:lnTo>
                    <a:pt x="936" y="828"/>
                  </a:lnTo>
                  <a:lnTo>
                    <a:pt x="930" y="828"/>
                  </a:lnTo>
                  <a:lnTo>
                    <a:pt x="918" y="828"/>
                  </a:lnTo>
                  <a:lnTo>
                    <a:pt x="918" y="822"/>
                  </a:lnTo>
                  <a:lnTo>
                    <a:pt x="912" y="828"/>
                  </a:lnTo>
                  <a:lnTo>
                    <a:pt x="912" y="822"/>
                  </a:lnTo>
                  <a:lnTo>
                    <a:pt x="906" y="816"/>
                  </a:lnTo>
                  <a:lnTo>
                    <a:pt x="900" y="816"/>
                  </a:lnTo>
                  <a:lnTo>
                    <a:pt x="894" y="816"/>
                  </a:lnTo>
                  <a:lnTo>
                    <a:pt x="888" y="816"/>
                  </a:lnTo>
                  <a:lnTo>
                    <a:pt x="882" y="816"/>
                  </a:lnTo>
                  <a:lnTo>
                    <a:pt x="882" y="810"/>
                  </a:lnTo>
                  <a:lnTo>
                    <a:pt x="876" y="804"/>
                  </a:lnTo>
                  <a:lnTo>
                    <a:pt x="870" y="804"/>
                  </a:lnTo>
                  <a:lnTo>
                    <a:pt x="864" y="798"/>
                  </a:lnTo>
                  <a:lnTo>
                    <a:pt x="858" y="798"/>
                  </a:lnTo>
                  <a:lnTo>
                    <a:pt x="858" y="804"/>
                  </a:lnTo>
                  <a:lnTo>
                    <a:pt x="852" y="804"/>
                  </a:lnTo>
                  <a:lnTo>
                    <a:pt x="846" y="804"/>
                  </a:lnTo>
                  <a:lnTo>
                    <a:pt x="846" y="798"/>
                  </a:lnTo>
                  <a:lnTo>
                    <a:pt x="840" y="804"/>
                  </a:lnTo>
                  <a:lnTo>
                    <a:pt x="834" y="804"/>
                  </a:lnTo>
                  <a:lnTo>
                    <a:pt x="828" y="804"/>
                  </a:lnTo>
                  <a:lnTo>
                    <a:pt x="828" y="810"/>
                  </a:lnTo>
                  <a:lnTo>
                    <a:pt x="822" y="810"/>
                  </a:lnTo>
                  <a:lnTo>
                    <a:pt x="810" y="804"/>
                  </a:lnTo>
                  <a:lnTo>
                    <a:pt x="810" y="798"/>
                  </a:lnTo>
                  <a:lnTo>
                    <a:pt x="780" y="798"/>
                  </a:lnTo>
                  <a:lnTo>
                    <a:pt x="756" y="774"/>
                  </a:lnTo>
                  <a:lnTo>
                    <a:pt x="750" y="768"/>
                  </a:lnTo>
                  <a:lnTo>
                    <a:pt x="750" y="744"/>
                  </a:lnTo>
                  <a:lnTo>
                    <a:pt x="732" y="738"/>
                  </a:lnTo>
                  <a:lnTo>
                    <a:pt x="732" y="720"/>
                  </a:lnTo>
                  <a:lnTo>
                    <a:pt x="714" y="690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6" y="666"/>
                  </a:lnTo>
                  <a:lnTo>
                    <a:pt x="690" y="666"/>
                  </a:lnTo>
                  <a:lnTo>
                    <a:pt x="678" y="672"/>
                  </a:lnTo>
                  <a:lnTo>
                    <a:pt x="678" y="654"/>
                  </a:lnTo>
                  <a:lnTo>
                    <a:pt x="684" y="630"/>
                  </a:lnTo>
                  <a:lnTo>
                    <a:pt x="690" y="618"/>
                  </a:lnTo>
                  <a:lnTo>
                    <a:pt x="696" y="612"/>
                  </a:lnTo>
                  <a:lnTo>
                    <a:pt x="696" y="588"/>
                  </a:lnTo>
                  <a:lnTo>
                    <a:pt x="690" y="576"/>
                  </a:lnTo>
                  <a:lnTo>
                    <a:pt x="696" y="552"/>
                  </a:lnTo>
                  <a:lnTo>
                    <a:pt x="684" y="522"/>
                  </a:lnTo>
                  <a:lnTo>
                    <a:pt x="672" y="504"/>
                  </a:lnTo>
                  <a:lnTo>
                    <a:pt x="654" y="504"/>
                  </a:lnTo>
                  <a:lnTo>
                    <a:pt x="642" y="504"/>
                  </a:lnTo>
                  <a:lnTo>
                    <a:pt x="624" y="510"/>
                  </a:lnTo>
                  <a:lnTo>
                    <a:pt x="612" y="516"/>
                  </a:lnTo>
                  <a:lnTo>
                    <a:pt x="594" y="516"/>
                  </a:lnTo>
                  <a:lnTo>
                    <a:pt x="588" y="516"/>
                  </a:lnTo>
                  <a:lnTo>
                    <a:pt x="588" y="522"/>
                  </a:lnTo>
                  <a:lnTo>
                    <a:pt x="582" y="516"/>
                  </a:lnTo>
                  <a:lnTo>
                    <a:pt x="588" y="510"/>
                  </a:lnTo>
                  <a:lnTo>
                    <a:pt x="582" y="510"/>
                  </a:lnTo>
                  <a:lnTo>
                    <a:pt x="582" y="504"/>
                  </a:lnTo>
                  <a:lnTo>
                    <a:pt x="576" y="498"/>
                  </a:lnTo>
                  <a:lnTo>
                    <a:pt x="570" y="498"/>
                  </a:lnTo>
                  <a:lnTo>
                    <a:pt x="570" y="492"/>
                  </a:lnTo>
                  <a:lnTo>
                    <a:pt x="564" y="492"/>
                  </a:lnTo>
                  <a:lnTo>
                    <a:pt x="570" y="486"/>
                  </a:lnTo>
                  <a:lnTo>
                    <a:pt x="564" y="486"/>
                  </a:lnTo>
                  <a:lnTo>
                    <a:pt x="564" y="480"/>
                  </a:lnTo>
                  <a:lnTo>
                    <a:pt x="564" y="474"/>
                  </a:lnTo>
                  <a:lnTo>
                    <a:pt x="558" y="468"/>
                  </a:lnTo>
                  <a:lnTo>
                    <a:pt x="564" y="468"/>
                  </a:lnTo>
                  <a:lnTo>
                    <a:pt x="564" y="462"/>
                  </a:lnTo>
                  <a:lnTo>
                    <a:pt x="570" y="462"/>
                  </a:lnTo>
                  <a:lnTo>
                    <a:pt x="570" y="456"/>
                  </a:lnTo>
                  <a:lnTo>
                    <a:pt x="570" y="450"/>
                  </a:lnTo>
                  <a:lnTo>
                    <a:pt x="576" y="450"/>
                  </a:lnTo>
                  <a:lnTo>
                    <a:pt x="576" y="444"/>
                  </a:lnTo>
                  <a:lnTo>
                    <a:pt x="582" y="438"/>
                  </a:lnTo>
                  <a:lnTo>
                    <a:pt x="588" y="438"/>
                  </a:lnTo>
                  <a:lnTo>
                    <a:pt x="588" y="444"/>
                  </a:lnTo>
                  <a:lnTo>
                    <a:pt x="594" y="438"/>
                  </a:lnTo>
                  <a:lnTo>
                    <a:pt x="594" y="432"/>
                  </a:lnTo>
                  <a:lnTo>
                    <a:pt x="600" y="432"/>
                  </a:lnTo>
                  <a:lnTo>
                    <a:pt x="600" y="426"/>
                  </a:lnTo>
                  <a:lnTo>
                    <a:pt x="600" y="420"/>
                  </a:lnTo>
                  <a:lnTo>
                    <a:pt x="606" y="420"/>
                  </a:lnTo>
                  <a:lnTo>
                    <a:pt x="600" y="420"/>
                  </a:lnTo>
                  <a:lnTo>
                    <a:pt x="600" y="414"/>
                  </a:lnTo>
                  <a:lnTo>
                    <a:pt x="606" y="408"/>
                  </a:lnTo>
                  <a:lnTo>
                    <a:pt x="612" y="408"/>
                  </a:lnTo>
                  <a:lnTo>
                    <a:pt x="612" y="414"/>
                  </a:lnTo>
                  <a:lnTo>
                    <a:pt x="618" y="414"/>
                  </a:lnTo>
                  <a:lnTo>
                    <a:pt x="624" y="414"/>
                  </a:lnTo>
                  <a:lnTo>
                    <a:pt x="630" y="414"/>
                  </a:lnTo>
                  <a:lnTo>
                    <a:pt x="636" y="414"/>
                  </a:lnTo>
                  <a:lnTo>
                    <a:pt x="642" y="408"/>
                  </a:lnTo>
                  <a:lnTo>
                    <a:pt x="648" y="408"/>
                  </a:lnTo>
                  <a:lnTo>
                    <a:pt x="660" y="408"/>
                  </a:lnTo>
                  <a:lnTo>
                    <a:pt x="666" y="402"/>
                  </a:lnTo>
                  <a:lnTo>
                    <a:pt x="672" y="402"/>
                  </a:lnTo>
                  <a:lnTo>
                    <a:pt x="684" y="396"/>
                  </a:lnTo>
                  <a:lnTo>
                    <a:pt x="690" y="396"/>
                  </a:lnTo>
                  <a:lnTo>
                    <a:pt x="696" y="396"/>
                  </a:lnTo>
                  <a:lnTo>
                    <a:pt x="702" y="396"/>
                  </a:lnTo>
                  <a:lnTo>
                    <a:pt x="708" y="396"/>
                  </a:lnTo>
                  <a:lnTo>
                    <a:pt x="714" y="390"/>
                  </a:lnTo>
                  <a:lnTo>
                    <a:pt x="714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32" y="384"/>
                  </a:lnTo>
                  <a:lnTo>
                    <a:pt x="738" y="378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56" y="372"/>
                  </a:lnTo>
                  <a:lnTo>
                    <a:pt x="762" y="366"/>
                  </a:lnTo>
                  <a:lnTo>
                    <a:pt x="768" y="366"/>
                  </a:lnTo>
                  <a:lnTo>
                    <a:pt x="774" y="366"/>
                  </a:lnTo>
                  <a:lnTo>
                    <a:pt x="774" y="360"/>
                  </a:lnTo>
                  <a:lnTo>
                    <a:pt x="780" y="366"/>
                  </a:lnTo>
                  <a:lnTo>
                    <a:pt x="786" y="366"/>
                  </a:lnTo>
                  <a:lnTo>
                    <a:pt x="786" y="360"/>
                  </a:lnTo>
                  <a:lnTo>
                    <a:pt x="792" y="354"/>
                  </a:lnTo>
                  <a:lnTo>
                    <a:pt x="786" y="354"/>
                  </a:lnTo>
                  <a:lnTo>
                    <a:pt x="792" y="348"/>
                  </a:lnTo>
                  <a:lnTo>
                    <a:pt x="798" y="348"/>
                  </a:lnTo>
                  <a:lnTo>
                    <a:pt x="804" y="348"/>
                  </a:lnTo>
                  <a:lnTo>
                    <a:pt x="810" y="342"/>
                  </a:lnTo>
                  <a:lnTo>
                    <a:pt x="816" y="342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28" y="336"/>
                  </a:lnTo>
                  <a:lnTo>
                    <a:pt x="834" y="336"/>
                  </a:lnTo>
                  <a:lnTo>
                    <a:pt x="840" y="336"/>
                  </a:lnTo>
                  <a:lnTo>
                    <a:pt x="846" y="330"/>
                  </a:lnTo>
                  <a:lnTo>
                    <a:pt x="852" y="330"/>
                  </a:lnTo>
                  <a:lnTo>
                    <a:pt x="858" y="330"/>
                  </a:lnTo>
                  <a:lnTo>
                    <a:pt x="864" y="324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0" y="312"/>
                  </a:lnTo>
                  <a:lnTo>
                    <a:pt x="876" y="312"/>
                  </a:lnTo>
                  <a:lnTo>
                    <a:pt x="882" y="312"/>
                  </a:lnTo>
                  <a:lnTo>
                    <a:pt x="882" y="318"/>
                  </a:lnTo>
                  <a:lnTo>
                    <a:pt x="888" y="312"/>
                  </a:lnTo>
                  <a:lnTo>
                    <a:pt x="894" y="306"/>
                  </a:lnTo>
                  <a:lnTo>
                    <a:pt x="900" y="306"/>
                  </a:lnTo>
                  <a:lnTo>
                    <a:pt x="906" y="306"/>
                  </a:lnTo>
                  <a:lnTo>
                    <a:pt x="912" y="300"/>
                  </a:lnTo>
                  <a:lnTo>
                    <a:pt x="906" y="294"/>
                  </a:lnTo>
                  <a:lnTo>
                    <a:pt x="912" y="276"/>
                  </a:lnTo>
                  <a:lnTo>
                    <a:pt x="912" y="252"/>
                  </a:lnTo>
                  <a:lnTo>
                    <a:pt x="906" y="234"/>
                  </a:lnTo>
                  <a:lnTo>
                    <a:pt x="912" y="228"/>
                  </a:lnTo>
                  <a:lnTo>
                    <a:pt x="912" y="216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24" y="192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36" y="186"/>
                  </a:lnTo>
                  <a:lnTo>
                    <a:pt x="930" y="180"/>
                  </a:lnTo>
                  <a:lnTo>
                    <a:pt x="930" y="174"/>
                  </a:lnTo>
                  <a:lnTo>
                    <a:pt x="936" y="156"/>
                  </a:lnTo>
                  <a:lnTo>
                    <a:pt x="930" y="156"/>
                  </a:lnTo>
                  <a:lnTo>
                    <a:pt x="924" y="150"/>
                  </a:lnTo>
                  <a:lnTo>
                    <a:pt x="942" y="78"/>
                  </a:lnTo>
                  <a:lnTo>
                    <a:pt x="948" y="78"/>
                  </a:lnTo>
                  <a:lnTo>
                    <a:pt x="954" y="66"/>
                  </a:lnTo>
                  <a:lnTo>
                    <a:pt x="954" y="72"/>
                  </a:lnTo>
                  <a:lnTo>
                    <a:pt x="954" y="66"/>
                  </a:lnTo>
                  <a:lnTo>
                    <a:pt x="960" y="66"/>
                  </a:lnTo>
                  <a:lnTo>
                    <a:pt x="966" y="66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54"/>
                  </a:lnTo>
                  <a:lnTo>
                    <a:pt x="990" y="54"/>
                  </a:lnTo>
                  <a:lnTo>
                    <a:pt x="996" y="48"/>
                  </a:lnTo>
                  <a:lnTo>
                    <a:pt x="1002" y="48"/>
                  </a:lnTo>
                  <a:lnTo>
                    <a:pt x="1032" y="48"/>
                  </a:lnTo>
                  <a:lnTo>
                    <a:pt x="1062" y="48"/>
                  </a:lnTo>
                  <a:lnTo>
                    <a:pt x="1068" y="78"/>
                  </a:lnTo>
                  <a:lnTo>
                    <a:pt x="1086" y="78"/>
                  </a:lnTo>
                  <a:lnTo>
                    <a:pt x="1092" y="66"/>
                  </a:lnTo>
                  <a:lnTo>
                    <a:pt x="1092" y="60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8" y="48"/>
                  </a:lnTo>
                  <a:lnTo>
                    <a:pt x="1104" y="48"/>
                  </a:lnTo>
                  <a:lnTo>
                    <a:pt x="1110" y="48"/>
                  </a:lnTo>
                  <a:lnTo>
                    <a:pt x="1110" y="42"/>
                  </a:lnTo>
                  <a:lnTo>
                    <a:pt x="1110" y="36"/>
                  </a:lnTo>
                  <a:lnTo>
                    <a:pt x="1116" y="36"/>
                  </a:lnTo>
                  <a:lnTo>
                    <a:pt x="1116" y="30"/>
                  </a:lnTo>
                  <a:lnTo>
                    <a:pt x="1122" y="30"/>
                  </a:lnTo>
                  <a:lnTo>
                    <a:pt x="1128" y="30"/>
                  </a:lnTo>
                  <a:lnTo>
                    <a:pt x="1134" y="30"/>
                  </a:lnTo>
                  <a:lnTo>
                    <a:pt x="1140" y="24"/>
                  </a:lnTo>
                  <a:lnTo>
                    <a:pt x="1152" y="18"/>
                  </a:lnTo>
                  <a:lnTo>
                    <a:pt x="1158" y="18"/>
                  </a:lnTo>
                  <a:lnTo>
                    <a:pt x="1152" y="12"/>
                  </a:lnTo>
                  <a:lnTo>
                    <a:pt x="1152" y="6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8"/>
                  </a:lnTo>
                  <a:lnTo>
                    <a:pt x="1170" y="12"/>
                  </a:lnTo>
                  <a:lnTo>
                    <a:pt x="1170" y="6"/>
                  </a:lnTo>
                  <a:lnTo>
                    <a:pt x="1176" y="6"/>
                  </a:lnTo>
                  <a:lnTo>
                    <a:pt x="1176" y="0"/>
                  </a:lnTo>
                  <a:lnTo>
                    <a:pt x="1182" y="6"/>
                  </a:lnTo>
                  <a:lnTo>
                    <a:pt x="1188" y="6"/>
                  </a:lnTo>
                  <a:lnTo>
                    <a:pt x="1188" y="0"/>
                  </a:lnTo>
                  <a:lnTo>
                    <a:pt x="1194" y="6"/>
                  </a:lnTo>
                  <a:lnTo>
                    <a:pt x="1200" y="12"/>
                  </a:lnTo>
                  <a:lnTo>
                    <a:pt x="1206" y="18"/>
                  </a:lnTo>
                  <a:lnTo>
                    <a:pt x="1212" y="18"/>
                  </a:lnTo>
                  <a:lnTo>
                    <a:pt x="1218" y="24"/>
                  </a:lnTo>
                  <a:lnTo>
                    <a:pt x="1236" y="36"/>
                  </a:lnTo>
                  <a:lnTo>
                    <a:pt x="1242" y="36"/>
                  </a:lnTo>
                  <a:lnTo>
                    <a:pt x="1248" y="42"/>
                  </a:lnTo>
                  <a:lnTo>
                    <a:pt x="1248" y="48"/>
                  </a:lnTo>
                  <a:lnTo>
                    <a:pt x="1260" y="48"/>
                  </a:lnTo>
                  <a:lnTo>
                    <a:pt x="1260" y="108"/>
                  </a:lnTo>
                  <a:lnTo>
                    <a:pt x="1266" y="168"/>
                  </a:lnTo>
                  <a:lnTo>
                    <a:pt x="1278" y="234"/>
                  </a:lnTo>
                  <a:lnTo>
                    <a:pt x="1284" y="240"/>
                  </a:lnTo>
                  <a:lnTo>
                    <a:pt x="1290" y="264"/>
                  </a:lnTo>
                  <a:lnTo>
                    <a:pt x="1296" y="288"/>
                  </a:lnTo>
                  <a:lnTo>
                    <a:pt x="1296" y="300"/>
                  </a:lnTo>
                  <a:lnTo>
                    <a:pt x="1296" y="312"/>
                  </a:lnTo>
                  <a:lnTo>
                    <a:pt x="1296" y="324"/>
                  </a:lnTo>
                  <a:lnTo>
                    <a:pt x="1296" y="354"/>
                  </a:lnTo>
                  <a:lnTo>
                    <a:pt x="1302" y="366"/>
                  </a:lnTo>
                  <a:lnTo>
                    <a:pt x="1308" y="372"/>
                  </a:lnTo>
                  <a:lnTo>
                    <a:pt x="1308" y="384"/>
                  </a:lnTo>
                  <a:lnTo>
                    <a:pt x="1314" y="390"/>
                  </a:lnTo>
                  <a:lnTo>
                    <a:pt x="1308" y="408"/>
                  </a:lnTo>
                  <a:lnTo>
                    <a:pt x="1314" y="408"/>
                  </a:lnTo>
                  <a:lnTo>
                    <a:pt x="1314" y="414"/>
                  </a:lnTo>
                  <a:lnTo>
                    <a:pt x="1308" y="420"/>
                  </a:lnTo>
                  <a:lnTo>
                    <a:pt x="1308" y="432"/>
                  </a:lnTo>
                  <a:lnTo>
                    <a:pt x="1320" y="432"/>
                  </a:lnTo>
                  <a:lnTo>
                    <a:pt x="1320" y="444"/>
                  </a:lnTo>
                  <a:lnTo>
                    <a:pt x="1332" y="444"/>
                  </a:lnTo>
                  <a:lnTo>
                    <a:pt x="1338" y="450"/>
                  </a:lnTo>
                  <a:lnTo>
                    <a:pt x="1344" y="456"/>
                  </a:lnTo>
                  <a:lnTo>
                    <a:pt x="1344" y="462"/>
                  </a:lnTo>
                  <a:lnTo>
                    <a:pt x="1344" y="474"/>
                  </a:lnTo>
                  <a:lnTo>
                    <a:pt x="1350" y="474"/>
                  </a:lnTo>
                  <a:lnTo>
                    <a:pt x="1368" y="504"/>
                  </a:lnTo>
                  <a:lnTo>
                    <a:pt x="1374" y="534"/>
                  </a:lnTo>
                  <a:lnTo>
                    <a:pt x="1380" y="558"/>
                  </a:lnTo>
                  <a:lnTo>
                    <a:pt x="1386" y="576"/>
                  </a:lnTo>
                  <a:lnTo>
                    <a:pt x="1386" y="600"/>
                  </a:lnTo>
                  <a:lnTo>
                    <a:pt x="1386" y="624"/>
                  </a:lnTo>
                  <a:lnTo>
                    <a:pt x="1386" y="648"/>
                  </a:lnTo>
                  <a:lnTo>
                    <a:pt x="1386" y="684"/>
                  </a:lnTo>
                  <a:lnTo>
                    <a:pt x="1380" y="684"/>
                  </a:lnTo>
                  <a:lnTo>
                    <a:pt x="1374" y="696"/>
                  </a:lnTo>
                  <a:lnTo>
                    <a:pt x="1368" y="702"/>
                  </a:lnTo>
                  <a:lnTo>
                    <a:pt x="1362" y="708"/>
                  </a:lnTo>
                  <a:lnTo>
                    <a:pt x="1356" y="714"/>
                  </a:lnTo>
                  <a:lnTo>
                    <a:pt x="1350" y="720"/>
                  </a:lnTo>
                  <a:lnTo>
                    <a:pt x="1338" y="720"/>
                  </a:lnTo>
                  <a:lnTo>
                    <a:pt x="1338" y="738"/>
                  </a:lnTo>
                  <a:lnTo>
                    <a:pt x="1362" y="750"/>
                  </a:lnTo>
                  <a:lnTo>
                    <a:pt x="1362" y="756"/>
                  </a:lnTo>
                  <a:lnTo>
                    <a:pt x="1374" y="756"/>
                  </a:lnTo>
                  <a:lnTo>
                    <a:pt x="1410" y="774"/>
                  </a:lnTo>
                  <a:lnTo>
                    <a:pt x="1446" y="774"/>
                  </a:lnTo>
                  <a:lnTo>
                    <a:pt x="1482" y="768"/>
                  </a:lnTo>
                  <a:lnTo>
                    <a:pt x="1500" y="774"/>
                  </a:lnTo>
                  <a:lnTo>
                    <a:pt x="1512" y="78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6" name="Freeform 11">
              <a:extLst>
                <a:ext uri="{FF2B5EF4-FFF2-40B4-BE49-F238E27FC236}">
                  <a16:creationId xmlns:a16="http://schemas.microsoft.com/office/drawing/2014/main" id="{1FF8E66F-B850-456A-B132-C45FEEDE95C6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2475" y="2345643"/>
              <a:ext cx="445003" cy="603855"/>
            </a:xfrm>
            <a:custGeom>
              <a:avLst/>
              <a:gdLst>
                <a:gd name="T0" fmla="*/ 47 w 840"/>
                <a:gd name="T1" fmla="*/ 98 h 1134"/>
                <a:gd name="T2" fmla="*/ 41 w 840"/>
                <a:gd name="T3" fmla="*/ 98 h 1134"/>
                <a:gd name="T4" fmla="*/ 37 w 840"/>
                <a:gd name="T5" fmla="*/ 98 h 1134"/>
                <a:gd name="T6" fmla="*/ 29 w 840"/>
                <a:gd name="T7" fmla="*/ 97 h 1134"/>
                <a:gd name="T8" fmla="*/ 27 w 840"/>
                <a:gd name="T9" fmla="*/ 94 h 1134"/>
                <a:gd name="T10" fmla="*/ 26 w 840"/>
                <a:gd name="T11" fmla="*/ 93 h 1134"/>
                <a:gd name="T12" fmla="*/ 26 w 840"/>
                <a:gd name="T13" fmla="*/ 83 h 1134"/>
                <a:gd name="T14" fmla="*/ 26 w 840"/>
                <a:gd name="T15" fmla="*/ 81 h 1134"/>
                <a:gd name="T16" fmla="*/ 23 w 840"/>
                <a:gd name="T17" fmla="*/ 77 h 1134"/>
                <a:gd name="T18" fmla="*/ 19 w 840"/>
                <a:gd name="T19" fmla="*/ 75 h 1134"/>
                <a:gd name="T20" fmla="*/ 16 w 840"/>
                <a:gd name="T21" fmla="*/ 72 h 1134"/>
                <a:gd name="T22" fmla="*/ 13 w 840"/>
                <a:gd name="T23" fmla="*/ 70 h 1134"/>
                <a:gd name="T24" fmla="*/ 17 w 840"/>
                <a:gd name="T25" fmla="*/ 67 h 1134"/>
                <a:gd name="T26" fmla="*/ 19 w 840"/>
                <a:gd name="T27" fmla="*/ 63 h 1134"/>
                <a:gd name="T28" fmla="*/ 20 w 840"/>
                <a:gd name="T29" fmla="*/ 59 h 1134"/>
                <a:gd name="T30" fmla="*/ 19 w 840"/>
                <a:gd name="T31" fmla="*/ 55 h 1134"/>
                <a:gd name="T32" fmla="*/ 17 w 840"/>
                <a:gd name="T33" fmla="*/ 47 h 1134"/>
                <a:gd name="T34" fmla="*/ 8 w 840"/>
                <a:gd name="T35" fmla="*/ 45 h 1134"/>
                <a:gd name="T36" fmla="*/ 4 w 840"/>
                <a:gd name="T37" fmla="*/ 39 h 1134"/>
                <a:gd name="T38" fmla="*/ 2 w 840"/>
                <a:gd name="T39" fmla="*/ 35 h 1134"/>
                <a:gd name="T40" fmla="*/ 0 w 840"/>
                <a:gd name="T41" fmla="*/ 31 h 1134"/>
                <a:gd name="T42" fmla="*/ 2 w 840"/>
                <a:gd name="T43" fmla="*/ 27 h 1134"/>
                <a:gd name="T44" fmla="*/ 5 w 840"/>
                <a:gd name="T45" fmla="*/ 24 h 1134"/>
                <a:gd name="T46" fmla="*/ 10 w 840"/>
                <a:gd name="T47" fmla="*/ 26 h 1134"/>
                <a:gd name="T48" fmla="*/ 7 w 840"/>
                <a:gd name="T49" fmla="*/ 20 h 1134"/>
                <a:gd name="T50" fmla="*/ 12 w 840"/>
                <a:gd name="T51" fmla="*/ 12 h 1134"/>
                <a:gd name="T52" fmla="*/ 19 w 840"/>
                <a:gd name="T53" fmla="*/ 10 h 1134"/>
                <a:gd name="T54" fmla="*/ 20 w 840"/>
                <a:gd name="T55" fmla="*/ 13 h 1134"/>
                <a:gd name="T56" fmla="*/ 22 w 840"/>
                <a:gd name="T57" fmla="*/ 11 h 1134"/>
                <a:gd name="T58" fmla="*/ 25 w 840"/>
                <a:gd name="T59" fmla="*/ 7 h 1134"/>
                <a:gd name="T60" fmla="*/ 29 w 840"/>
                <a:gd name="T61" fmla="*/ 2 h 1134"/>
                <a:gd name="T62" fmla="*/ 33 w 840"/>
                <a:gd name="T63" fmla="*/ 1 h 1134"/>
                <a:gd name="T64" fmla="*/ 37 w 840"/>
                <a:gd name="T65" fmla="*/ 2 h 1134"/>
                <a:gd name="T66" fmla="*/ 39 w 840"/>
                <a:gd name="T67" fmla="*/ 4 h 1134"/>
                <a:gd name="T68" fmla="*/ 43 w 840"/>
                <a:gd name="T69" fmla="*/ 5 h 1134"/>
                <a:gd name="T70" fmla="*/ 46 w 840"/>
                <a:gd name="T71" fmla="*/ 11 h 1134"/>
                <a:gd name="T72" fmla="*/ 49 w 840"/>
                <a:gd name="T73" fmla="*/ 12 h 1134"/>
                <a:gd name="T74" fmla="*/ 52 w 840"/>
                <a:gd name="T75" fmla="*/ 15 h 1134"/>
                <a:gd name="T76" fmla="*/ 54 w 840"/>
                <a:gd name="T77" fmla="*/ 18 h 1134"/>
                <a:gd name="T78" fmla="*/ 55 w 840"/>
                <a:gd name="T79" fmla="*/ 22 h 1134"/>
                <a:gd name="T80" fmla="*/ 56 w 840"/>
                <a:gd name="T81" fmla="*/ 26 h 1134"/>
                <a:gd name="T82" fmla="*/ 55 w 840"/>
                <a:gd name="T83" fmla="*/ 32 h 1134"/>
                <a:gd name="T84" fmla="*/ 55 w 840"/>
                <a:gd name="T85" fmla="*/ 36 h 1134"/>
                <a:gd name="T86" fmla="*/ 54 w 840"/>
                <a:gd name="T87" fmla="*/ 39 h 1134"/>
                <a:gd name="T88" fmla="*/ 56 w 840"/>
                <a:gd name="T89" fmla="*/ 39 h 1134"/>
                <a:gd name="T90" fmla="*/ 58 w 840"/>
                <a:gd name="T91" fmla="*/ 39 h 1134"/>
                <a:gd name="T92" fmla="*/ 61 w 840"/>
                <a:gd name="T93" fmla="*/ 39 h 1134"/>
                <a:gd name="T94" fmla="*/ 60 w 840"/>
                <a:gd name="T95" fmla="*/ 49 h 1134"/>
                <a:gd name="T96" fmla="*/ 59 w 840"/>
                <a:gd name="T97" fmla="*/ 53 h 1134"/>
                <a:gd name="T98" fmla="*/ 59 w 840"/>
                <a:gd name="T99" fmla="*/ 56 h 1134"/>
                <a:gd name="T100" fmla="*/ 60 w 840"/>
                <a:gd name="T101" fmla="*/ 59 h 1134"/>
                <a:gd name="T102" fmla="*/ 64 w 840"/>
                <a:gd name="T103" fmla="*/ 61 h 1134"/>
                <a:gd name="T104" fmla="*/ 69 w 840"/>
                <a:gd name="T105" fmla="*/ 63 h 1134"/>
                <a:gd name="T106" fmla="*/ 72 w 840"/>
                <a:gd name="T107" fmla="*/ 69 h 1134"/>
                <a:gd name="T108" fmla="*/ 72 w 840"/>
                <a:gd name="T109" fmla="*/ 73 h 1134"/>
                <a:gd name="T110" fmla="*/ 72 w 840"/>
                <a:gd name="T111" fmla="*/ 83 h 1134"/>
                <a:gd name="T112" fmla="*/ 63 w 840"/>
                <a:gd name="T113" fmla="*/ 88 h 1134"/>
                <a:gd name="T114" fmla="*/ 52 w 840"/>
                <a:gd name="T115" fmla="*/ 95 h 11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40"/>
                <a:gd name="T175" fmla="*/ 0 h 1134"/>
                <a:gd name="T176" fmla="*/ 840 w 840"/>
                <a:gd name="T177" fmla="*/ 1134 h 11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40" h="1134">
                  <a:moveTo>
                    <a:pt x="564" y="1110"/>
                  </a:moveTo>
                  <a:lnTo>
                    <a:pt x="564" y="1104"/>
                  </a:lnTo>
                  <a:lnTo>
                    <a:pt x="558" y="1104"/>
                  </a:lnTo>
                  <a:lnTo>
                    <a:pt x="552" y="1110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28" y="1128"/>
                  </a:lnTo>
                  <a:lnTo>
                    <a:pt x="498" y="1128"/>
                  </a:lnTo>
                  <a:lnTo>
                    <a:pt x="492" y="1128"/>
                  </a:lnTo>
                  <a:lnTo>
                    <a:pt x="486" y="1128"/>
                  </a:lnTo>
                  <a:lnTo>
                    <a:pt x="480" y="1128"/>
                  </a:lnTo>
                  <a:lnTo>
                    <a:pt x="474" y="1134"/>
                  </a:lnTo>
                  <a:lnTo>
                    <a:pt x="468" y="1134"/>
                  </a:lnTo>
                  <a:lnTo>
                    <a:pt x="462" y="1134"/>
                  </a:lnTo>
                  <a:lnTo>
                    <a:pt x="456" y="1134"/>
                  </a:lnTo>
                  <a:lnTo>
                    <a:pt x="456" y="1128"/>
                  </a:lnTo>
                  <a:lnTo>
                    <a:pt x="450" y="1122"/>
                  </a:lnTo>
                  <a:lnTo>
                    <a:pt x="426" y="1128"/>
                  </a:lnTo>
                  <a:lnTo>
                    <a:pt x="414" y="1128"/>
                  </a:lnTo>
                  <a:lnTo>
                    <a:pt x="348" y="1134"/>
                  </a:lnTo>
                  <a:lnTo>
                    <a:pt x="348" y="1128"/>
                  </a:lnTo>
                  <a:lnTo>
                    <a:pt x="342" y="1128"/>
                  </a:lnTo>
                  <a:lnTo>
                    <a:pt x="336" y="1122"/>
                  </a:lnTo>
                  <a:lnTo>
                    <a:pt x="330" y="1122"/>
                  </a:lnTo>
                  <a:lnTo>
                    <a:pt x="324" y="1116"/>
                  </a:lnTo>
                  <a:lnTo>
                    <a:pt x="324" y="1110"/>
                  </a:lnTo>
                  <a:lnTo>
                    <a:pt x="318" y="1110"/>
                  </a:lnTo>
                  <a:lnTo>
                    <a:pt x="318" y="1104"/>
                  </a:lnTo>
                  <a:lnTo>
                    <a:pt x="312" y="1092"/>
                  </a:lnTo>
                  <a:lnTo>
                    <a:pt x="306" y="1086"/>
                  </a:lnTo>
                  <a:lnTo>
                    <a:pt x="306" y="1080"/>
                  </a:lnTo>
                  <a:lnTo>
                    <a:pt x="312" y="1074"/>
                  </a:lnTo>
                  <a:lnTo>
                    <a:pt x="306" y="1068"/>
                  </a:lnTo>
                  <a:lnTo>
                    <a:pt x="300" y="1074"/>
                  </a:lnTo>
                  <a:lnTo>
                    <a:pt x="300" y="1068"/>
                  </a:lnTo>
                  <a:lnTo>
                    <a:pt x="294" y="1068"/>
                  </a:lnTo>
                  <a:lnTo>
                    <a:pt x="294" y="1056"/>
                  </a:lnTo>
                  <a:lnTo>
                    <a:pt x="294" y="1026"/>
                  </a:lnTo>
                  <a:lnTo>
                    <a:pt x="294" y="1020"/>
                  </a:lnTo>
                  <a:lnTo>
                    <a:pt x="294" y="1008"/>
                  </a:lnTo>
                  <a:lnTo>
                    <a:pt x="294" y="966"/>
                  </a:lnTo>
                  <a:lnTo>
                    <a:pt x="294" y="960"/>
                  </a:lnTo>
                  <a:lnTo>
                    <a:pt x="294" y="954"/>
                  </a:lnTo>
                  <a:lnTo>
                    <a:pt x="294" y="948"/>
                  </a:lnTo>
                  <a:lnTo>
                    <a:pt x="294" y="942"/>
                  </a:lnTo>
                  <a:lnTo>
                    <a:pt x="300" y="936"/>
                  </a:lnTo>
                  <a:lnTo>
                    <a:pt x="300" y="930"/>
                  </a:lnTo>
                  <a:lnTo>
                    <a:pt x="294" y="930"/>
                  </a:lnTo>
                  <a:lnTo>
                    <a:pt x="288" y="930"/>
                  </a:lnTo>
                  <a:lnTo>
                    <a:pt x="288" y="924"/>
                  </a:lnTo>
                  <a:lnTo>
                    <a:pt x="282" y="918"/>
                  </a:lnTo>
                  <a:lnTo>
                    <a:pt x="282" y="906"/>
                  </a:lnTo>
                  <a:lnTo>
                    <a:pt x="282" y="900"/>
                  </a:lnTo>
                  <a:lnTo>
                    <a:pt x="264" y="894"/>
                  </a:lnTo>
                  <a:lnTo>
                    <a:pt x="252" y="882"/>
                  </a:lnTo>
                  <a:lnTo>
                    <a:pt x="246" y="876"/>
                  </a:lnTo>
                  <a:lnTo>
                    <a:pt x="240" y="876"/>
                  </a:lnTo>
                  <a:lnTo>
                    <a:pt x="240" y="870"/>
                  </a:lnTo>
                  <a:lnTo>
                    <a:pt x="234" y="870"/>
                  </a:lnTo>
                  <a:lnTo>
                    <a:pt x="222" y="864"/>
                  </a:lnTo>
                  <a:lnTo>
                    <a:pt x="216" y="864"/>
                  </a:lnTo>
                  <a:lnTo>
                    <a:pt x="210" y="858"/>
                  </a:lnTo>
                  <a:lnTo>
                    <a:pt x="210" y="852"/>
                  </a:lnTo>
                  <a:lnTo>
                    <a:pt x="210" y="846"/>
                  </a:lnTo>
                  <a:lnTo>
                    <a:pt x="198" y="840"/>
                  </a:lnTo>
                  <a:lnTo>
                    <a:pt x="186" y="834"/>
                  </a:lnTo>
                  <a:lnTo>
                    <a:pt x="180" y="828"/>
                  </a:lnTo>
                  <a:lnTo>
                    <a:pt x="180" y="822"/>
                  </a:lnTo>
                  <a:lnTo>
                    <a:pt x="174" y="822"/>
                  </a:lnTo>
                  <a:lnTo>
                    <a:pt x="162" y="816"/>
                  </a:lnTo>
                  <a:lnTo>
                    <a:pt x="156" y="810"/>
                  </a:lnTo>
                  <a:lnTo>
                    <a:pt x="150" y="810"/>
                  </a:lnTo>
                  <a:lnTo>
                    <a:pt x="144" y="798"/>
                  </a:lnTo>
                  <a:lnTo>
                    <a:pt x="138" y="786"/>
                  </a:lnTo>
                  <a:lnTo>
                    <a:pt x="138" y="780"/>
                  </a:lnTo>
                  <a:lnTo>
                    <a:pt x="144" y="774"/>
                  </a:lnTo>
                  <a:lnTo>
                    <a:pt x="150" y="768"/>
                  </a:lnTo>
                  <a:lnTo>
                    <a:pt x="192" y="768"/>
                  </a:lnTo>
                  <a:lnTo>
                    <a:pt x="210" y="762"/>
                  </a:lnTo>
                  <a:lnTo>
                    <a:pt x="216" y="756"/>
                  </a:lnTo>
                  <a:lnTo>
                    <a:pt x="216" y="744"/>
                  </a:lnTo>
                  <a:lnTo>
                    <a:pt x="216" y="738"/>
                  </a:lnTo>
                  <a:lnTo>
                    <a:pt x="216" y="732"/>
                  </a:lnTo>
                  <a:lnTo>
                    <a:pt x="216" y="726"/>
                  </a:lnTo>
                  <a:lnTo>
                    <a:pt x="216" y="720"/>
                  </a:lnTo>
                  <a:lnTo>
                    <a:pt x="228" y="702"/>
                  </a:lnTo>
                  <a:lnTo>
                    <a:pt x="234" y="696"/>
                  </a:lnTo>
                  <a:lnTo>
                    <a:pt x="240" y="690"/>
                  </a:lnTo>
                  <a:lnTo>
                    <a:pt x="240" y="684"/>
                  </a:lnTo>
                  <a:lnTo>
                    <a:pt x="234" y="678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0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22" y="630"/>
                  </a:lnTo>
                  <a:lnTo>
                    <a:pt x="222" y="618"/>
                  </a:lnTo>
                  <a:lnTo>
                    <a:pt x="222" y="582"/>
                  </a:lnTo>
                  <a:lnTo>
                    <a:pt x="228" y="582"/>
                  </a:lnTo>
                  <a:lnTo>
                    <a:pt x="222" y="564"/>
                  </a:lnTo>
                  <a:lnTo>
                    <a:pt x="210" y="552"/>
                  </a:lnTo>
                  <a:lnTo>
                    <a:pt x="192" y="540"/>
                  </a:lnTo>
                  <a:lnTo>
                    <a:pt x="174" y="540"/>
                  </a:lnTo>
                  <a:lnTo>
                    <a:pt x="150" y="534"/>
                  </a:lnTo>
                  <a:lnTo>
                    <a:pt x="126" y="528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90" y="516"/>
                  </a:lnTo>
                  <a:lnTo>
                    <a:pt x="78" y="504"/>
                  </a:lnTo>
                  <a:lnTo>
                    <a:pt x="72" y="498"/>
                  </a:lnTo>
                  <a:lnTo>
                    <a:pt x="66" y="486"/>
                  </a:lnTo>
                  <a:lnTo>
                    <a:pt x="54" y="468"/>
                  </a:lnTo>
                  <a:lnTo>
                    <a:pt x="54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42" y="438"/>
                  </a:lnTo>
                  <a:lnTo>
                    <a:pt x="36" y="438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24" y="384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2" y="360"/>
                  </a:lnTo>
                  <a:lnTo>
                    <a:pt x="6" y="360"/>
                  </a:lnTo>
                  <a:lnTo>
                    <a:pt x="0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0"/>
                  </a:lnTo>
                  <a:lnTo>
                    <a:pt x="18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8" y="270"/>
                  </a:lnTo>
                  <a:lnTo>
                    <a:pt x="90" y="276"/>
                  </a:lnTo>
                  <a:lnTo>
                    <a:pt x="108" y="294"/>
                  </a:lnTo>
                  <a:lnTo>
                    <a:pt x="114" y="294"/>
                  </a:lnTo>
                  <a:lnTo>
                    <a:pt x="114" y="276"/>
                  </a:lnTo>
                  <a:lnTo>
                    <a:pt x="114" y="270"/>
                  </a:lnTo>
                  <a:lnTo>
                    <a:pt x="102" y="258"/>
                  </a:lnTo>
                  <a:lnTo>
                    <a:pt x="96" y="246"/>
                  </a:lnTo>
                  <a:lnTo>
                    <a:pt x="90" y="234"/>
                  </a:lnTo>
                  <a:lnTo>
                    <a:pt x="78" y="228"/>
                  </a:lnTo>
                  <a:lnTo>
                    <a:pt x="72" y="216"/>
                  </a:lnTo>
                  <a:lnTo>
                    <a:pt x="66" y="192"/>
                  </a:lnTo>
                  <a:lnTo>
                    <a:pt x="90" y="174"/>
                  </a:lnTo>
                  <a:lnTo>
                    <a:pt x="120" y="150"/>
                  </a:lnTo>
                  <a:lnTo>
                    <a:pt x="132" y="150"/>
                  </a:lnTo>
                  <a:lnTo>
                    <a:pt x="138" y="144"/>
                  </a:lnTo>
                  <a:lnTo>
                    <a:pt x="138" y="138"/>
                  </a:lnTo>
                  <a:lnTo>
                    <a:pt x="156" y="126"/>
                  </a:lnTo>
                  <a:lnTo>
                    <a:pt x="180" y="114"/>
                  </a:lnTo>
                  <a:lnTo>
                    <a:pt x="216" y="114"/>
                  </a:lnTo>
                  <a:lnTo>
                    <a:pt x="222" y="114"/>
                  </a:lnTo>
                  <a:lnTo>
                    <a:pt x="222" y="120"/>
                  </a:lnTo>
                  <a:lnTo>
                    <a:pt x="222" y="126"/>
                  </a:lnTo>
                  <a:lnTo>
                    <a:pt x="222" y="132"/>
                  </a:lnTo>
                  <a:lnTo>
                    <a:pt x="228" y="138"/>
                  </a:lnTo>
                  <a:lnTo>
                    <a:pt x="228" y="144"/>
                  </a:lnTo>
                  <a:lnTo>
                    <a:pt x="228" y="150"/>
                  </a:lnTo>
                  <a:lnTo>
                    <a:pt x="234" y="150"/>
                  </a:lnTo>
                  <a:lnTo>
                    <a:pt x="234" y="144"/>
                  </a:lnTo>
                  <a:lnTo>
                    <a:pt x="240" y="144"/>
                  </a:lnTo>
                  <a:lnTo>
                    <a:pt x="246" y="144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58" y="126"/>
                  </a:lnTo>
                  <a:lnTo>
                    <a:pt x="258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76" y="96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6" y="72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36"/>
                  </a:lnTo>
                  <a:lnTo>
                    <a:pt x="330" y="24"/>
                  </a:lnTo>
                  <a:lnTo>
                    <a:pt x="330" y="18"/>
                  </a:lnTo>
                  <a:lnTo>
                    <a:pt x="330" y="12"/>
                  </a:lnTo>
                  <a:lnTo>
                    <a:pt x="336" y="6"/>
                  </a:lnTo>
                  <a:lnTo>
                    <a:pt x="366" y="0"/>
                  </a:lnTo>
                  <a:lnTo>
                    <a:pt x="372" y="6"/>
                  </a:lnTo>
                  <a:lnTo>
                    <a:pt x="384" y="12"/>
                  </a:lnTo>
                  <a:lnTo>
                    <a:pt x="402" y="12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18"/>
                  </a:lnTo>
                  <a:lnTo>
                    <a:pt x="420" y="18"/>
                  </a:lnTo>
                  <a:lnTo>
                    <a:pt x="426" y="24"/>
                  </a:lnTo>
                  <a:lnTo>
                    <a:pt x="432" y="30"/>
                  </a:lnTo>
                  <a:lnTo>
                    <a:pt x="438" y="36"/>
                  </a:lnTo>
                  <a:lnTo>
                    <a:pt x="444" y="42"/>
                  </a:lnTo>
                  <a:lnTo>
                    <a:pt x="450" y="42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16" y="78"/>
                  </a:lnTo>
                  <a:lnTo>
                    <a:pt x="522" y="102"/>
                  </a:lnTo>
                  <a:lnTo>
                    <a:pt x="522" y="108"/>
                  </a:lnTo>
                  <a:lnTo>
                    <a:pt x="528" y="126"/>
                  </a:lnTo>
                  <a:lnTo>
                    <a:pt x="534" y="126"/>
                  </a:lnTo>
                  <a:lnTo>
                    <a:pt x="540" y="120"/>
                  </a:lnTo>
                  <a:lnTo>
                    <a:pt x="546" y="126"/>
                  </a:lnTo>
                  <a:lnTo>
                    <a:pt x="552" y="126"/>
                  </a:lnTo>
                  <a:lnTo>
                    <a:pt x="558" y="132"/>
                  </a:lnTo>
                  <a:lnTo>
                    <a:pt x="564" y="138"/>
                  </a:lnTo>
                  <a:lnTo>
                    <a:pt x="570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594" y="168"/>
                  </a:lnTo>
                  <a:lnTo>
                    <a:pt x="600" y="174"/>
                  </a:lnTo>
                  <a:lnTo>
                    <a:pt x="606" y="180"/>
                  </a:lnTo>
                  <a:lnTo>
                    <a:pt x="606" y="186"/>
                  </a:lnTo>
                  <a:lnTo>
                    <a:pt x="612" y="192"/>
                  </a:lnTo>
                  <a:lnTo>
                    <a:pt x="612" y="198"/>
                  </a:lnTo>
                  <a:lnTo>
                    <a:pt x="624" y="204"/>
                  </a:lnTo>
                  <a:lnTo>
                    <a:pt x="624" y="210"/>
                  </a:lnTo>
                  <a:lnTo>
                    <a:pt x="630" y="216"/>
                  </a:lnTo>
                  <a:lnTo>
                    <a:pt x="636" y="222"/>
                  </a:lnTo>
                  <a:lnTo>
                    <a:pt x="636" y="228"/>
                  </a:lnTo>
                  <a:lnTo>
                    <a:pt x="636" y="234"/>
                  </a:lnTo>
                  <a:lnTo>
                    <a:pt x="636" y="252"/>
                  </a:lnTo>
                  <a:lnTo>
                    <a:pt x="636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42" y="276"/>
                  </a:lnTo>
                  <a:lnTo>
                    <a:pt x="642" y="282"/>
                  </a:lnTo>
                  <a:lnTo>
                    <a:pt x="642" y="288"/>
                  </a:lnTo>
                  <a:lnTo>
                    <a:pt x="642" y="300"/>
                  </a:lnTo>
                  <a:lnTo>
                    <a:pt x="642" y="306"/>
                  </a:lnTo>
                  <a:lnTo>
                    <a:pt x="636" y="312"/>
                  </a:lnTo>
                  <a:lnTo>
                    <a:pt x="636" y="324"/>
                  </a:lnTo>
                  <a:lnTo>
                    <a:pt x="636" y="342"/>
                  </a:lnTo>
                  <a:lnTo>
                    <a:pt x="630" y="354"/>
                  </a:lnTo>
                  <a:lnTo>
                    <a:pt x="630" y="366"/>
                  </a:lnTo>
                  <a:lnTo>
                    <a:pt x="624" y="378"/>
                  </a:lnTo>
                  <a:lnTo>
                    <a:pt x="624" y="384"/>
                  </a:lnTo>
                  <a:lnTo>
                    <a:pt x="636" y="396"/>
                  </a:lnTo>
                  <a:lnTo>
                    <a:pt x="636" y="402"/>
                  </a:lnTo>
                  <a:lnTo>
                    <a:pt x="636" y="408"/>
                  </a:lnTo>
                  <a:lnTo>
                    <a:pt x="630" y="414"/>
                  </a:lnTo>
                  <a:lnTo>
                    <a:pt x="630" y="420"/>
                  </a:lnTo>
                  <a:lnTo>
                    <a:pt x="630" y="426"/>
                  </a:lnTo>
                  <a:lnTo>
                    <a:pt x="630" y="432"/>
                  </a:lnTo>
                  <a:lnTo>
                    <a:pt x="624" y="438"/>
                  </a:lnTo>
                  <a:lnTo>
                    <a:pt x="624" y="444"/>
                  </a:lnTo>
                  <a:lnTo>
                    <a:pt x="624" y="450"/>
                  </a:lnTo>
                  <a:lnTo>
                    <a:pt x="630" y="450"/>
                  </a:lnTo>
                  <a:lnTo>
                    <a:pt x="630" y="456"/>
                  </a:lnTo>
                  <a:lnTo>
                    <a:pt x="630" y="462"/>
                  </a:lnTo>
                  <a:lnTo>
                    <a:pt x="636" y="468"/>
                  </a:lnTo>
                  <a:lnTo>
                    <a:pt x="642" y="456"/>
                  </a:lnTo>
                  <a:lnTo>
                    <a:pt x="642" y="450"/>
                  </a:lnTo>
                  <a:lnTo>
                    <a:pt x="648" y="450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60" y="444"/>
                  </a:lnTo>
                  <a:lnTo>
                    <a:pt x="666" y="450"/>
                  </a:lnTo>
                  <a:lnTo>
                    <a:pt x="672" y="444"/>
                  </a:lnTo>
                  <a:lnTo>
                    <a:pt x="678" y="444"/>
                  </a:lnTo>
                  <a:lnTo>
                    <a:pt x="684" y="438"/>
                  </a:lnTo>
                  <a:lnTo>
                    <a:pt x="690" y="438"/>
                  </a:lnTo>
                  <a:lnTo>
                    <a:pt x="696" y="438"/>
                  </a:lnTo>
                  <a:lnTo>
                    <a:pt x="702" y="444"/>
                  </a:lnTo>
                  <a:lnTo>
                    <a:pt x="702" y="450"/>
                  </a:lnTo>
                  <a:lnTo>
                    <a:pt x="708" y="450"/>
                  </a:lnTo>
                  <a:lnTo>
                    <a:pt x="708" y="456"/>
                  </a:lnTo>
                  <a:lnTo>
                    <a:pt x="708" y="462"/>
                  </a:lnTo>
                  <a:lnTo>
                    <a:pt x="708" y="468"/>
                  </a:lnTo>
                  <a:lnTo>
                    <a:pt x="708" y="504"/>
                  </a:lnTo>
                  <a:lnTo>
                    <a:pt x="696" y="564"/>
                  </a:lnTo>
                  <a:lnTo>
                    <a:pt x="696" y="582"/>
                  </a:lnTo>
                  <a:lnTo>
                    <a:pt x="696" y="600"/>
                  </a:lnTo>
                  <a:lnTo>
                    <a:pt x="690" y="606"/>
                  </a:lnTo>
                  <a:lnTo>
                    <a:pt x="684" y="606"/>
                  </a:lnTo>
                  <a:lnTo>
                    <a:pt x="690" y="612"/>
                  </a:lnTo>
                  <a:lnTo>
                    <a:pt x="684" y="612"/>
                  </a:lnTo>
                  <a:lnTo>
                    <a:pt x="678" y="618"/>
                  </a:lnTo>
                  <a:lnTo>
                    <a:pt x="672" y="624"/>
                  </a:lnTo>
                  <a:lnTo>
                    <a:pt x="666" y="630"/>
                  </a:lnTo>
                  <a:lnTo>
                    <a:pt x="660" y="636"/>
                  </a:lnTo>
                  <a:lnTo>
                    <a:pt x="672" y="636"/>
                  </a:lnTo>
                  <a:lnTo>
                    <a:pt x="678" y="642"/>
                  </a:lnTo>
                  <a:lnTo>
                    <a:pt x="678" y="648"/>
                  </a:lnTo>
                  <a:lnTo>
                    <a:pt x="684" y="654"/>
                  </a:lnTo>
                  <a:lnTo>
                    <a:pt x="690" y="666"/>
                  </a:lnTo>
                  <a:lnTo>
                    <a:pt x="690" y="672"/>
                  </a:lnTo>
                  <a:lnTo>
                    <a:pt x="696" y="672"/>
                  </a:lnTo>
                  <a:lnTo>
                    <a:pt x="696" y="684"/>
                  </a:lnTo>
                  <a:lnTo>
                    <a:pt x="708" y="690"/>
                  </a:lnTo>
                  <a:lnTo>
                    <a:pt x="720" y="696"/>
                  </a:lnTo>
                  <a:lnTo>
                    <a:pt x="726" y="696"/>
                  </a:lnTo>
                  <a:lnTo>
                    <a:pt x="732" y="696"/>
                  </a:lnTo>
                  <a:lnTo>
                    <a:pt x="738" y="696"/>
                  </a:lnTo>
                  <a:lnTo>
                    <a:pt x="738" y="702"/>
                  </a:lnTo>
                  <a:lnTo>
                    <a:pt x="738" y="708"/>
                  </a:lnTo>
                  <a:lnTo>
                    <a:pt x="738" y="714"/>
                  </a:lnTo>
                  <a:lnTo>
                    <a:pt x="744" y="714"/>
                  </a:lnTo>
                  <a:lnTo>
                    <a:pt x="756" y="720"/>
                  </a:lnTo>
                  <a:lnTo>
                    <a:pt x="780" y="726"/>
                  </a:lnTo>
                  <a:lnTo>
                    <a:pt x="792" y="732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22" y="774"/>
                  </a:lnTo>
                  <a:lnTo>
                    <a:pt x="834" y="786"/>
                  </a:lnTo>
                  <a:lnTo>
                    <a:pt x="834" y="792"/>
                  </a:lnTo>
                  <a:lnTo>
                    <a:pt x="834" y="798"/>
                  </a:lnTo>
                  <a:lnTo>
                    <a:pt x="828" y="798"/>
                  </a:lnTo>
                  <a:lnTo>
                    <a:pt x="828" y="804"/>
                  </a:lnTo>
                  <a:lnTo>
                    <a:pt x="834" y="816"/>
                  </a:lnTo>
                  <a:lnTo>
                    <a:pt x="834" y="834"/>
                  </a:lnTo>
                  <a:lnTo>
                    <a:pt x="834" y="840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34" y="858"/>
                  </a:lnTo>
                  <a:lnTo>
                    <a:pt x="834" y="864"/>
                  </a:lnTo>
                  <a:lnTo>
                    <a:pt x="834" y="876"/>
                  </a:lnTo>
                  <a:lnTo>
                    <a:pt x="828" y="960"/>
                  </a:lnTo>
                  <a:lnTo>
                    <a:pt x="816" y="966"/>
                  </a:lnTo>
                  <a:lnTo>
                    <a:pt x="798" y="972"/>
                  </a:lnTo>
                  <a:lnTo>
                    <a:pt x="786" y="990"/>
                  </a:lnTo>
                  <a:lnTo>
                    <a:pt x="774" y="990"/>
                  </a:lnTo>
                  <a:lnTo>
                    <a:pt x="762" y="1008"/>
                  </a:lnTo>
                  <a:lnTo>
                    <a:pt x="732" y="1014"/>
                  </a:lnTo>
                  <a:lnTo>
                    <a:pt x="714" y="1026"/>
                  </a:lnTo>
                  <a:lnTo>
                    <a:pt x="690" y="1050"/>
                  </a:lnTo>
                  <a:lnTo>
                    <a:pt x="654" y="1056"/>
                  </a:lnTo>
                  <a:lnTo>
                    <a:pt x="630" y="1056"/>
                  </a:lnTo>
                  <a:lnTo>
                    <a:pt x="606" y="1068"/>
                  </a:lnTo>
                  <a:lnTo>
                    <a:pt x="600" y="1092"/>
                  </a:lnTo>
                  <a:lnTo>
                    <a:pt x="600" y="1098"/>
                  </a:lnTo>
                  <a:lnTo>
                    <a:pt x="588" y="1104"/>
                  </a:lnTo>
                  <a:lnTo>
                    <a:pt x="582" y="1104"/>
                  </a:lnTo>
                  <a:lnTo>
                    <a:pt x="570" y="1110"/>
                  </a:lnTo>
                  <a:lnTo>
                    <a:pt x="564" y="111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7" name="Freeform 12">
              <a:extLst>
                <a:ext uri="{FF2B5EF4-FFF2-40B4-BE49-F238E27FC236}">
                  <a16:creationId xmlns:a16="http://schemas.microsoft.com/office/drawing/2014/main" id="{6C93C114-E5D0-49BB-A44C-A127CE01CFE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810" y="2271838"/>
              <a:ext cx="923547" cy="845397"/>
            </a:xfrm>
            <a:custGeom>
              <a:avLst/>
              <a:gdLst>
                <a:gd name="T0" fmla="*/ 138 w 1740"/>
                <a:gd name="T1" fmla="*/ 134 h 1590"/>
                <a:gd name="T2" fmla="*/ 128 w 1740"/>
                <a:gd name="T3" fmla="*/ 131 h 1590"/>
                <a:gd name="T4" fmla="*/ 121 w 1740"/>
                <a:gd name="T5" fmla="*/ 130 h 1590"/>
                <a:gd name="T6" fmla="*/ 119 w 1740"/>
                <a:gd name="T7" fmla="*/ 134 h 1590"/>
                <a:gd name="T8" fmla="*/ 110 w 1740"/>
                <a:gd name="T9" fmla="*/ 132 h 1590"/>
                <a:gd name="T10" fmla="*/ 111 w 1740"/>
                <a:gd name="T11" fmla="*/ 127 h 1590"/>
                <a:gd name="T12" fmla="*/ 103 w 1740"/>
                <a:gd name="T13" fmla="*/ 117 h 1590"/>
                <a:gd name="T14" fmla="*/ 93 w 1740"/>
                <a:gd name="T15" fmla="*/ 123 h 1590"/>
                <a:gd name="T16" fmla="*/ 80 w 1740"/>
                <a:gd name="T17" fmla="*/ 118 h 1590"/>
                <a:gd name="T18" fmla="*/ 66 w 1740"/>
                <a:gd name="T19" fmla="*/ 117 h 1590"/>
                <a:gd name="T20" fmla="*/ 66 w 1740"/>
                <a:gd name="T21" fmla="*/ 110 h 1590"/>
                <a:gd name="T22" fmla="*/ 69 w 1740"/>
                <a:gd name="T23" fmla="*/ 107 h 1590"/>
                <a:gd name="T24" fmla="*/ 68 w 1740"/>
                <a:gd name="T25" fmla="*/ 102 h 1590"/>
                <a:gd name="T26" fmla="*/ 68 w 1740"/>
                <a:gd name="T27" fmla="*/ 96 h 1590"/>
                <a:gd name="T28" fmla="*/ 67 w 1740"/>
                <a:gd name="T29" fmla="*/ 82 h 1590"/>
                <a:gd name="T30" fmla="*/ 58 w 1740"/>
                <a:gd name="T31" fmla="*/ 82 h 1590"/>
                <a:gd name="T32" fmla="*/ 52 w 1740"/>
                <a:gd name="T33" fmla="*/ 82 h 1590"/>
                <a:gd name="T34" fmla="*/ 46 w 1740"/>
                <a:gd name="T35" fmla="*/ 80 h 1590"/>
                <a:gd name="T36" fmla="*/ 45 w 1740"/>
                <a:gd name="T37" fmla="*/ 74 h 1590"/>
                <a:gd name="T38" fmla="*/ 52 w 1740"/>
                <a:gd name="T39" fmla="*/ 70 h 1590"/>
                <a:gd name="T40" fmla="*/ 52 w 1740"/>
                <a:gd name="T41" fmla="*/ 64 h 1590"/>
                <a:gd name="T42" fmla="*/ 42 w 1740"/>
                <a:gd name="T43" fmla="*/ 53 h 1590"/>
                <a:gd name="T44" fmla="*/ 35 w 1740"/>
                <a:gd name="T45" fmla="*/ 52 h 1590"/>
                <a:gd name="T46" fmla="*/ 20 w 1740"/>
                <a:gd name="T47" fmla="*/ 51 h 1590"/>
                <a:gd name="T48" fmla="*/ 17 w 1740"/>
                <a:gd name="T49" fmla="*/ 56 h 1590"/>
                <a:gd name="T50" fmla="*/ 11 w 1740"/>
                <a:gd name="T51" fmla="*/ 61 h 1590"/>
                <a:gd name="T52" fmla="*/ 7 w 1740"/>
                <a:gd name="T53" fmla="*/ 63 h 1590"/>
                <a:gd name="T54" fmla="*/ 0 w 1740"/>
                <a:gd name="T55" fmla="*/ 55 h 1590"/>
                <a:gd name="T56" fmla="*/ 2 w 1740"/>
                <a:gd name="T57" fmla="*/ 50 h 1590"/>
                <a:gd name="T58" fmla="*/ 0 w 1740"/>
                <a:gd name="T59" fmla="*/ 44 h 1590"/>
                <a:gd name="T60" fmla="*/ 2 w 1740"/>
                <a:gd name="T61" fmla="*/ 38 h 1590"/>
                <a:gd name="T62" fmla="*/ 7 w 1740"/>
                <a:gd name="T63" fmla="*/ 35 h 1590"/>
                <a:gd name="T64" fmla="*/ 11 w 1740"/>
                <a:gd name="T65" fmla="*/ 30 h 1590"/>
                <a:gd name="T66" fmla="*/ 21 w 1740"/>
                <a:gd name="T67" fmla="*/ 26 h 1590"/>
                <a:gd name="T68" fmla="*/ 29 w 1740"/>
                <a:gd name="T69" fmla="*/ 25 h 1590"/>
                <a:gd name="T70" fmla="*/ 35 w 1740"/>
                <a:gd name="T71" fmla="*/ 21 h 1590"/>
                <a:gd name="T72" fmla="*/ 36 w 1740"/>
                <a:gd name="T73" fmla="*/ 16 h 1590"/>
                <a:gd name="T74" fmla="*/ 41 w 1740"/>
                <a:gd name="T75" fmla="*/ 11 h 1590"/>
                <a:gd name="T76" fmla="*/ 51 w 1740"/>
                <a:gd name="T77" fmla="*/ 9 h 1590"/>
                <a:gd name="T78" fmla="*/ 59 w 1740"/>
                <a:gd name="T79" fmla="*/ 21 h 1590"/>
                <a:gd name="T80" fmla="*/ 65 w 1740"/>
                <a:gd name="T81" fmla="*/ 13 h 1590"/>
                <a:gd name="T82" fmla="*/ 73 w 1740"/>
                <a:gd name="T83" fmla="*/ 8 h 1590"/>
                <a:gd name="T84" fmla="*/ 82 w 1740"/>
                <a:gd name="T85" fmla="*/ 12 h 1590"/>
                <a:gd name="T86" fmla="*/ 88 w 1740"/>
                <a:gd name="T87" fmla="*/ 12 h 1590"/>
                <a:gd name="T88" fmla="*/ 99 w 1740"/>
                <a:gd name="T89" fmla="*/ 7 h 1590"/>
                <a:gd name="T90" fmla="*/ 114 w 1740"/>
                <a:gd name="T91" fmla="*/ 0 h 1590"/>
                <a:gd name="T92" fmla="*/ 117 w 1740"/>
                <a:gd name="T93" fmla="*/ 10 h 1590"/>
                <a:gd name="T94" fmla="*/ 132 w 1740"/>
                <a:gd name="T95" fmla="*/ 17 h 1590"/>
                <a:gd name="T96" fmla="*/ 140 w 1740"/>
                <a:gd name="T97" fmla="*/ 25 h 1590"/>
                <a:gd name="T98" fmla="*/ 140 w 1740"/>
                <a:gd name="T99" fmla="*/ 33 h 1590"/>
                <a:gd name="T100" fmla="*/ 140 w 1740"/>
                <a:gd name="T101" fmla="*/ 44 h 1590"/>
                <a:gd name="T102" fmla="*/ 138 w 1740"/>
                <a:gd name="T103" fmla="*/ 48 h 1590"/>
                <a:gd name="T104" fmla="*/ 141 w 1740"/>
                <a:gd name="T105" fmla="*/ 49 h 1590"/>
                <a:gd name="T106" fmla="*/ 146 w 1740"/>
                <a:gd name="T107" fmla="*/ 50 h 1590"/>
                <a:gd name="T108" fmla="*/ 149 w 1740"/>
                <a:gd name="T109" fmla="*/ 59 h 1590"/>
                <a:gd name="T110" fmla="*/ 148 w 1740"/>
                <a:gd name="T111" fmla="*/ 67 h 1590"/>
                <a:gd name="T112" fmla="*/ 141 w 1740"/>
                <a:gd name="T113" fmla="*/ 78 h 1590"/>
                <a:gd name="T114" fmla="*/ 141 w 1740"/>
                <a:gd name="T115" fmla="*/ 91 h 1590"/>
                <a:gd name="T116" fmla="*/ 138 w 1740"/>
                <a:gd name="T117" fmla="*/ 102 h 1590"/>
                <a:gd name="T118" fmla="*/ 138 w 1740"/>
                <a:gd name="T119" fmla="*/ 110 h 1590"/>
                <a:gd name="T120" fmla="*/ 144 w 1740"/>
                <a:gd name="T121" fmla="*/ 118 h 1590"/>
                <a:gd name="T122" fmla="*/ 143 w 1740"/>
                <a:gd name="T123" fmla="*/ 125 h 159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740"/>
                <a:gd name="T187" fmla="*/ 0 h 1590"/>
                <a:gd name="T188" fmla="*/ 1740 w 1740"/>
                <a:gd name="T189" fmla="*/ 1590 h 159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740" h="1590">
                  <a:moveTo>
                    <a:pt x="1638" y="1458"/>
                  </a:moveTo>
                  <a:lnTo>
                    <a:pt x="1638" y="1482"/>
                  </a:lnTo>
                  <a:lnTo>
                    <a:pt x="1638" y="1500"/>
                  </a:lnTo>
                  <a:lnTo>
                    <a:pt x="1626" y="1500"/>
                  </a:lnTo>
                  <a:lnTo>
                    <a:pt x="1620" y="1500"/>
                  </a:lnTo>
                  <a:lnTo>
                    <a:pt x="1614" y="1500"/>
                  </a:lnTo>
                  <a:lnTo>
                    <a:pt x="1614" y="1506"/>
                  </a:lnTo>
                  <a:lnTo>
                    <a:pt x="1614" y="1512"/>
                  </a:lnTo>
                  <a:lnTo>
                    <a:pt x="1620" y="1518"/>
                  </a:lnTo>
                  <a:lnTo>
                    <a:pt x="1614" y="1524"/>
                  </a:lnTo>
                  <a:lnTo>
                    <a:pt x="1590" y="1536"/>
                  </a:lnTo>
                  <a:lnTo>
                    <a:pt x="1584" y="1566"/>
                  </a:lnTo>
                  <a:lnTo>
                    <a:pt x="1578" y="1590"/>
                  </a:lnTo>
                  <a:lnTo>
                    <a:pt x="1548" y="1590"/>
                  </a:lnTo>
                  <a:lnTo>
                    <a:pt x="1542" y="1584"/>
                  </a:lnTo>
                  <a:lnTo>
                    <a:pt x="1542" y="1572"/>
                  </a:lnTo>
                  <a:lnTo>
                    <a:pt x="1536" y="1566"/>
                  </a:lnTo>
                  <a:lnTo>
                    <a:pt x="1536" y="1554"/>
                  </a:lnTo>
                  <a:lnTo>
                    <a:pt x="1536" y="1548"/>
                  </a:lnTo>
                  <a:lnTo>
                    <a:pt x="1506" y="1530"/>
                  </a:lnTo>
                  <a:lnTo>
                    <a:pt x="1488" y="1506"/>
                  </a:lnTo>
                  <a:lnTo>
                    <a:pt x="1464" y="1500"/>
                  </a:lnTo>
                  <a:lnTo>
                    <a:pt x="1470" y="1494"/>
                  </a:lnTo>
                  <a:lnTo>
                    <a:pt x="1470" y="1488"/>
                  </a:lnTo>
                  <a:lnTo>
                    <a:pt x="1470" y="1482"/>
                  </a:lnTo>
                  <a:lnTo>
                    <a:pt x="1428" y="1464"/>
                  </a:lnTo>
                  <a:lnTo>
                    <a:pt x="1404" y="1470"/>
                  </a:lnTo>
                  <a:lnTo>
                    <a:pt x="1398" y="1470"/>
                  </a:lnTo>
                  <a:lnTo>
                    <a:pt x="1392" y="1476"/>
                  </a:lnTo>
                  <a:lnTo>
                    <a:pt x="1386" y="1476"/>
                  </a:lnTo>
                  <a:lnTo>
                    <a:pt x="1386" y="1482"/>
                  </a:lnTo>
                  <a:lnTo>
                    <a:pt x="1392" y="1482"/>
                  </a:lnTo>
                  <a:lnTo>
                    <a:pt x="1386" y="1488"/>
                  </a:lnTo>
                  <a:lnTo>
                    <a:pt x="1386" y="1494"/>
                  </a:lnTo>
                  <a:lnTo>
                    <a:pt x="1380" y="1494"/>
                  </a:lnTo>
                  <a:lnTo>
                    <a:pt x="1380" y="1500"/>
                  </a:lnTo>
                  <a:lnTo>
                    <a:pt x="1380" y="1512"/>
                  </a:lnTo>
                  <a:lnTo>
                    <a:pt x="1380" y="1518"/>
                  </a:lnTo>
                  <a:lnTo>
                    <a:pt x="1380" y="1524"/>
                  </a:lnTo>
                  <a:lnTo>
                    <a:pt x="1380" y="1530"/>
                  </a:lnTo>
                  <a:lnTo>
                    <a:pt x="1374" y="1536"/>
                  </a:lnTo>
                  <a:lnTo>
                    <a:pt x="1374" y="1542"/>
                  </a:lnTo>
                  <a:lnTo>
                    <a:pt x="1368" y="1542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44" y="1554"/>
                  </a:lnTo>
                  <a:lnTo>
                    <a:pt x="1332" y="1560"/>
                  </a:lnTo>
                  <a:lnTo>
                    <a:pt x="1302" y="1554"/>
                  </a:lnTo>
                  <a:lnTo>
                    <a:pt x="1290" y="1554"/>
                  </a:lnTo>
                  <a:lnTo>
                    <a:pt x="1278" y="1542"/>
                  </a:lnTo>
                  <a:lnTo>
                    <a:pt x="1272" y="1530"/>
                  </a:lnTo>
                  <a:lnTo>
                    <a:pt x="1272" y="1524"/>
                  </a:lnTo>
                  <a:lnTo>
                    <a:pt x="1272" y="1518"/>
                  </a:lnTo>
                  <a:lnTo>
                    <a:pt x="1266" y="1518"/>
                  </a:lnTo>
                  <a:lnTo>
                    <a:pt x="1266" y="1512"/>
                  </a:lnTo>
                  <a:lnTo>
                    <a:pt x="1266" y="1506"/>
                  </a:lnTo>
                  <a:lnTo>
                    <a:pt x="1272" y="1506"/>
                  </a:lnTo>
                  <a:lnTo>
                    <a:pt x="1272" y="1500"/>
                  </a:lnTo>
                  <a:lnTo>
                    <a:pt x="1278" y="1500"/>
                  </a:lnTo>
                  <a:lnTo>
                    <a:pt x="1278" y="1494"/>
                  </a:lnTo>
                  <a:lnTo>
                    <a:pt x="1278" y="1488"/>
                  </a:lnTo>
                  <a:lnTo>
                    <a:pt x="1284" y="1488"/>
                  </a:lnTo>
                  <a:lnTo>
                    <a:pt x="1284" y="1482"/>
                  </a:lnTo>
                  <a:lnTo>
                    <a:pt x="1290" y="1476"/>
                  </a:lnTo>
                  <a:lnTo>
                    <a:pt x="1284" y="1470"/>
                  </a:lnTo>
                  <a:lnTo>
                    <a:pt x="1278" y="1458"/>
                  </a:lnTo>
                  <a:lnTo>
                    <a:pt x="1278" y="1452"/>
                  </a:lnTo>
                  <a:lnTo>
                    <a:pt x="1260" y="1428"/>
                  </a:lnTo>
                  <a:lnTo>
                    <a:pt x="1254" y="1416"/>
                  </a:lnTo>
                  <a:lnTo>
                    <a:pt x="1254" y="1410"/>
                  </a:lnTo>
                  <a:lnTo>
                    <a:pt x="1248" y="1398"/>
                  </a:lnTo>
                  <a:lnTo>
                    <a:pt x="1242" y="1398"/>
                  </a:lnTo>
                  <a:lnTo>
                    <a:pt x="1236" y="1398"/>
                  </a:lnTo>
                  <a:lnTo>
                    <a:pt x="1218" y="1386"/>
                  </a:lnTo>
                  <a:lnTo>
                    <a:pt x="1212" y="1362"/>
                  </a:lnTo>
                  <a:lnTo>
                    <a:pt x="1200" y="1344"/>
                  </a:lnTo>
                  <a:lnTo>
                    <a:pt x="1188" y="1338"/>
                  </a:lnTo>
                  <a:lnTo>
                    <a:pt x="1164" y="1338"/>
                  </a:lnTo>
                  <a:lnTo>
                    <a:pt x="1158" y="1344"/>
                  </a:lnTo>
                  <a:lnTo>
                    <a:pt x="1152" y="1350"/>
                  </a:lnTo>
                  <a:lnTo>
                    <a:pt x="1152" y="1356"/>
                  </a:lnTo>
                  <a:lnTo>
                    <a:pt x="1140" y="1362"/>
                  </a:lnTo>
                  <a:lnTo>
                    <a:pt x="1134" y="1380"/>
                  </a:lnTo>
                  <a:lnTo>
                    <a:pt x="1116" y="1398"/>
                  </a:lnTo>
                  <a:lnTo>
                    <a:pt x="1110" y="1416"/>
                  </a:lnTo>
                  <a:lnTo>
                    <a:pt x="1086" y="1416"/>
                  </a:lnTo>
                  <a:lnTo>
                    <a:pt x="1080" y="1410"/>
                  </a:lnTo>
                  <a:lnTo>
                    <a:pt x="1074" y="1410"/>
                  </a:lnTo>
                  <a:lnTo>
                    <a:pt x="1074" y="1404"/>
                  </a:lnTo>
                  <a:lnTo>
                    <a:pt x="1062" y="1404"/>
                  </a:lnTo>
                  <a:lnTo>
                    <a:pt x="1062" y="1380"/>
                  </a:lnTo>
                  <a:lnTo>
                    <a:pt x="1038" y="1380"/>
                  </a:lnTo>
                  <a:lnTo>
                    <a:pt x="1026" y="1350"/>
                  </a:lnTo>
                  <a:lnTo>
                    <a:pt x="996" y="1326"/>
                  </a:lnTo>
                  <a:lnTo>
                    <a:pt x="966" y="1314"/>
                  </a:lnTo>
                  <a:lnTo>
                    <a:pt x="954" y="1320"/>
                  </a:lnTo>
                  <a:lnTo>
                    <a:pt x="942" y="1338"/>
                  </a:lnTo>
                  <a:lnTo>
                    <a:pt x="930" y="1338"/>
                  </a:lnTo>
                  <a:lnTo>
                    <a:pt x="924" y="1350"/>
                  </a:lnTo>
                  <a:lnTo>
                    <a:pt x="906" y="1356"/>
                  </a:lnTo>
                  <a:lnTo>
                    <a:pt x="846" y="1356"/>
                  </a:lnTo>
                  <a:lnTo>
                    <a:pt x="834" y="1368"/>
                  </a:lnTo>
                  <a:lnTo>
                    <a:pt x="810" y="1362"/>
                  </a:lnTo>
                  <a:lnTo>
                    <a:pt x="792" y="1362"/>
                  </a:lnTo>
                  <a:lnTo>
                    <a:pt x="780" y="1368"/>
                  </a:lnTo>
                  <a:lnTo>
                    <a:pt x="762" y="1368"/>
                  </a:lnTo>
                  <a:lnTo>
                    <a:pt x="762" y="1362"/>
                  </a:lnTo>
                  <a:lnTo>
                    <a:pt x="750" y="1362"/>
                  </a:lnTo>
                  <a:lnTo>
                    <a:pt x="750" y="1338"/>
                  </a:lnTo>
                  <a:lnTo>
                    <a:pt x="762" y="1338"/>
                  </a:lnTo>
                  <a:lnTo>
                    <a:pt x="762" y="1326"/>
                  </a:lnTo>
                  <a:lnTo>
                    <a:pt x="762" y="1314"/>
                  </a:lnTo>
                  <a:lnTo>
                    <a:pt x="732" y="1314"/>
                  </a:lnTo>
                  <a:lnTo>
                    <a:pt x="726" y="1308"/>
                  </a:lnTo>
                  <a:lnTo>
                    <a:pt x="732" y="1284"/>
                  </a:lnTo>
                  <a:lnTo>
                    <a:pt x="732" y="1278"/>
                  </a:lnTo>
                  <a:lnTo>
                    <a:pt x="738" y="1272"/>
                  </a:lnTo>
                  <a:lnTo>
                    <a:pt x="738" y="1266"/>
                  </a:lnTo>
                  <a:lnTo>
                    <a:pt x="744" y="1266"/>
                  </a:lnTo>
                  <a:lnTo>
                    <a:pt x="750" y="1272"/>
                  </a:lnTo>
                  <a:lnTo>
                    <a:pt x="756" y="1266"/>
                  </a:lnTo>
                  <a:lnTo>
                    <a:pt x="762" y="1266"/>
                  </a:lnTo>
                  <a:lnTo>
                    <a:pt x="768" y="1260"/>
                  </a:lnTo>
                  <a:lnTo>
                    <a:pt x="774" y="1260"/>
                  </a:lnTo>
                  <a:lnTo>
                    <a:pt x="780" y="1254"/>
                  </a:lnTo>
                  <a:lnTo>
                    <a:pt x="774" y="1254"/>
                  </a:lnTo>
                  <a:lnTo>
                    <a:pt x="768" y="1254"/>
                  </a:lnTo>
                  <a:lnTo>
                    <a:pt x="774" y="1248"/>
                  </a:lnTo>
                  <a:lnTo>
                    <a:pt x="774" y="1242"/>
                  </a:lnTo>
                  <a:lnTo>
                    <a:pt x="780" y="1236"/>
                  </a:lnTo>
                  <a:lnTo>
                    <a:pt x="786" y="1236"/>
                  </a:lnTo>
                  <a:lnTo>
                    <a:pt x="792" y="1230"/>
                  </a:lnTo>
                  <a:lnTo>
                    <a:pt x="792" y="1236"/>
                  </a:lnTo>
                  <a:lnTo>
                    <a:pt x="798" y="1236"/>
                  </a:lnTo>
                  <a:lnTo>
                    <a:pt x="798" y="1230"/>
                  </a:lnTo>
                  <a:lnTo>
                    <a:pt x="804" y="1230"/>
                  </a:lnTo>
                  <a:lnTo>
                    <a:pt x="804" y="1218"/>
                  </a:lnTo>
                  <a:lnTo>
                    <a:pt x="804" y="1206"/>
                  </a:lnTo>
                  <a:lnTo>
                    <a:pt x="792" y="1188"/>
                  </a:lnTo>
                  <a:lnTo>
                    <a:pt x="768" y="1182"/>
                  </a:lnTo>
                  <a:lnTo>
                    <a:pt x="768" y="1170"/>
                  </a:lnTo>
                  <a:lnTo>
                    <a:pt x="774" y="1170"/>
                  </a:lnTo>
                  <a:lnTo>
                    <a:pt x="780" y="1170"/>
                  </a:lnTo>
                  <a:lnTo>
                    <a:pt x="786" y="1170"/>
                  </a:lnTo>
                  <a:lnTo>
                    <a:pt x="780" y="1152"/>
                  </a:lnTo>
                  <a:lnTo>
                    <a:pt x="780" y="1146"/>
                  </a:lnTo>
                  <a:lnTo>
                    <a:pt x="744" y="1140"/>
                  </a:lnTo>
                  <a:lnTo>
                    <a:pt x="732" y="1128"/>
                  </a:lnTo>
                  <a:lnTo>
                    <a:pt x="720" y="1122"/>
                  </a:lnTo>
                  <a:lnTo>
                    <a:pt x="732" y="1116"/>
                  </a:lnTo>
                  <a:lnTo>
                    <a:pt x="750" y="1104"/>
                  </a:lnTo>
                  <a:lnTo>
                    <a:pt x="756" y="1116"/>
                  </a:lnTo>
                  <a:lnTo>
                    <a:pt x="774" y="1116"/>
                  </a:lnTo>
                  <a:lnTo>
                    <a:pt x="780" y="1104"/>
                  </a:lnTo>
                  <a:lnTo>
                    <a:pt x="780" y="1080"/>
                  </a:lnTo>
                  <a:lnTo>
                    <a:pt x="786" y="1080"/>
                  </a:lnTo>
                  <a:lnTo>
                    <a:pt x="786" y="1074"/>
                  </a:lnTo>
                  <a:lnTo>
                    <a:pt x="792" y="1074"/>
                  </a:lnTo>
                  <a:lnTo>
                    <a:pt x="786" y="1068"/>
                  </a:lnTo>
                  <a:lnTo>
                    <a:pt x="786" y="1062"/>
                  </a:lnTo>
                  <a:lnTo>
                    <a:pt x="786" y="1056"/>
                  </a:lnTo>
                  <a:lnTo>
                    <a:pt x="792" y="1050"/>
                  </a:lnTo>
                  <a:lnTo>
                    <a:pt x="786" y="1020"/>
                  </a:lnTo>
                  <a:lnTo>
                    <a:pt x="780" y="960"/>
                  </a:lnTo>
                  <a:lnTo>
                    <a:pt x="768" y="942"/>
                  </a:lnTo>
                  <a:lnTo>
                    <a:pt x="732" y="936"/>
                  </a:lnTo>
                  <a:lnTo>
                    <a:pt x="732" y="942"/>
                  </a:lnTo>
                  <a:lnTo>
                    <a:pt x="726" y="942"/>
                  </a:lnTo>
                  <a:lnTo>
                    <a:pt x="720" y="936"/>
                  </a:lnTo>
                  <a:lnTo>
                    <a:pt x="714" y="942"/>
                  </a:lnTo>
                  <a:lnTo>
                    <a:pt x="708" y="942"/>
                  </a:lnTo>
                  <a:lnTo>
                    <a:pt x="702" y="942"/>
                  </a:lnTo>
                  <a:lnTo>
                    <a:pt x="690" y="936"/>
                  </a:lnTo>
                  <a:lnTo>
                    <a:pt x="684" y="936"/>
                  </a:lnTo>
                  <a:lnTo>
                    <a:pt x="678" y="936"/>
                  </a:lnTo>
                  <a:lnTo>
                    <a:pt x="672" y="936"/>
                  </a:lnTo>
                  <a:lnTo>
                    <a:pt x="666" y="942"/>
                  </a:lnTo>
                  <a:lnTo>
                    <a:pt x="660" y="942"/>
                  </a:lnTo>
                  <a:lnTo>
                    <a:pt x="654" y="942"/>
                  </a:lnTo>
                  <a:lnTo>
                    <a:pt x="648" y="942"/>
                  </a:lnTo>
                  <a:lnTo>
                    <a:pt x="642" y="936"/>
                  </a:lnTo>
                  <a:lnTo>
                    <a:pt x="636" y="936"/>
                  </a:lnTo>
                  <a:lnTo>
                    <a:pt x="630" y="930"/>
                  </a:lnTo>
                  <a:lnTo>
                    <a:pt x="618" y="930"/>
                  </a:lnTo>
                  <a:lnTo>
                    <a:pt x="612" y="930"/>
                  </a:lnTo>
                  <a:lnTo>
                    <a:pt x="606" y="936"/>
                  </a:lnTo>
                  <a:lnTo>
                    <a:pt x="600" y="942"/>
                  </a:lnTo>
                  <a:lnTo>
                    <a:pt x="600" y="936"/>
                  </a:lnTo>
                  <a:lnTo>
                    <a:pt x="594" y="930"/>
                  </a:lnTo>
                  <a:lnTo>
                    <a:pt x="588" y="930"/>
                  </a:lnTo>
                  <a:lnTo>
                    <a:pt x="582" y="930"/>
                  </a:lnTo>
                  <a:lnTo>
                    <a:pt x="576" y="930"/>
                  </a:lnTo>
                  <a:lnTo>
                    <a:pt x="564" y="936"/>
                  </a:lnTo>
                  <a:lnTo>
                    <a:pt x="558" y="936"/>
                  </a:lnTo>
                  <a:lnTo>
                    <a:pt x="546" y="924"/>
                  </a:lnTo>
                  <a:lnTo>
                    <a:pt x="540" y="924"/>
                  </a:lnTo>
                  <a:lnTo>
                    <a:pt x="534" y="918"/>
                  </a:lnTo>
                  <a:lnTo>
                    <a:pt x="528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6" y="918"/>
                  </a:lnTo>
                  <a:lnTo>
                    <a:pt x="516" y="912"/>
                  </a:lnTo>
                  <a:lnTo>
                    <a:pt x="510" y="894"/>
                  </a:lnTo>
                  <a:lnTo>
                    <a:pt x="510" y="882"/>
                  </a:lnTo>
                  <a:lnTo>
                    <a:pt x="510" y="876"/>
                  </a:lnTo>
                  <a:lnTo>
                    <a:pt x="516" y="870"/>
                  </a:lnTo>
                  <a:lnTo>
                    <a:pt x="510" y="864"/>
                  </a:lnTo>
                  <a:lnTo>
                    <a:pt x="516" y="858"/>
                  </a:lnTo>
                  <a:lnTo>
                    <a:pt x="522" y="858"/>
                  </a:lnTo>
                  <a:lnTo>
                    <a:pt x="528" y="858"/>
                  </a:lnTo>
                  <a:lnTo>
                    <a:pt x="522" y="852"/>
                  </a:lnTo>
                  <a:lnTo>
                    <a:pt x="528" y="852"/>
                  </a:lnTo>
                  <a:lnTo>
                    <a:pt x="528" y="846"/>
                  </a:lnTo>
                  <a:lnTo>
                    <a:pt x="552" y="846"/>
                  </a:lnTo>
                  <a:lnTo>
                    <a:pt x="558" y="840"/>
                  </a:lnTo>
                  <a:lnTo>
                    <a:pt x="564" y="828"/>
                  </a:lnTo>
                  <a:lnTo>
                    <a:pt x="570" y="816"/>
                  </a:lnTo>
                  <a:lnTo>
                    <a:pt x="582" y="810"/>
                  </a:lnTo>
                  <a:lnTo>
                    <a:pt x="588" y="804"/>
                  </a:lnTo>
                  <a:lnTo>
                    <a:pt x="594" y="804"/>
                  </a:lnTo>
                  <a:lnTo>
                    <a:pt x="594" y="792"/>
                  </a:lnTo>
                  <a:lnTo>
                    <a:pt x="600" y="786"/>
                  </a:lnTo>
                  <a:lnTo>
                    <a:pt x="606" y="780"/>
                  </a:lnTo>
                  <a:lnTo>
                    <a:pt x="612" y="774"/>
                  </a:lnTo>
                  <a:lnTo>
                    <a:pt x="618" y="774"/>
                  </a:lnTo>
                  <a:lnTo>
                    <a:pt x="618" y="768"/>
                  </a:lnTo>
                  <a:lnTo>
                    <a:pt x="618" y="762"/>
                  </a:lnTo>
                  <a:lnTo>
                    <a:pt x="624" y="756"/>
                  </a:lnTo>
                  <a:lnTo>
                    <a:pt x="618" y="750"/>
                  </a:lnTo>
                  <a:lnTo>
                    <a:pt x="618" y="744"/>
                  </a:lnTo>
                  <a:lnTo>
                    <a:pt x="600" y="738"/>
                  </a:lnTo>
                  <a:lnTo>
                    <a:pt x="558" y="744"/>
                  </a:lnTo>
                  <a:lnTo>
                    <a:pt x="552" y="732"/>
                  </a:lnTo>
                  <a:lnTo>
                    <a:pt x="546" y="720"/>
                  </a:lnTo>
                  <a:lnTo>
                    <a:pt x="564" y="702"/>
                  </a:lnTo>
                  <a:lnTo>
                    <a:pt x="570" y="684"/>
                  </a:lnTo>
                  <a:lnTo>
                    <a:pt x="564" y="648"/>
                  </a:lnTo>
                  <a:lnTo>
                    <a:pt x="534" y="624"/>
                  </a:lnTo>
                  <a:lnTo>
                    <a:pt x="504" y="612"/>
                  </a:lnTo>
                  <a:lnTo>
                    <a:pt x="498" y="606"/>
                  </a:lnTo>
                  <a:lnTo>
                    <a:pt x="492" y="600"/>
                  </a:lnTo>
                  <a:lnTo>
                    <a:pt x="486" y="606"/>
                  </a:lnTo>
                  <a:lnTo>
                    <a:pt x="480" y="558"/>
                  </a:lnTo>
                  <a:lnTo>
                    <a:pt x="462" y="546"/>
                  </a:lnTo>
                  <a:lnTo>
                    <a:pt x="408" y="540"/>
                  </a:lnTo>
                  <a:lnTo>
                    <a:pt x="408" y="546"/>
                  </a:lnTo>
                  <a:lnTo>
                    <a:pt x="408" y="558"/>
                  </a:lnTo>
                  <a:lnTo>
                    <a:pt x="408" y="564"/>
                  </a:lnTo>
                  <a:lnTo>
                    <a:pt x="408" y="570"/>
                  </a:lnTo>
                  <a:lnTo>
                    <a:pt x="414" y="582"/>
                  </a:lnTo>
                  <a:lnTo>
                    <a:pt x="408" y="594"/>
                  </a:lnTo>
                  <a:lnTo>
                    <a:pt x="414" y="594"/>
                  </a:lnTo>
                  <a:lnTo>
                    <a:pt x="408" y="600"/>
                  </a:lnTo>
                  <a:lnTo>
                    <a:pt x="348" y="600"/>
                  </a:lnTo>
                  <a:lnTo>
                    <a:pt x="324" y="600"/>
                  </a:lnTo>
                  <a:lnTo>
                    <a:pt x="324" y="612"/>
                  </a:lnTo>
                  <a:lnTo>
                    <a:pt x="306" y="618"/>
                  </a:lnTo>
                  <a:lnTo>
                    <a:pt x="312" y="618"/>
                  </a:lnTo>
                  <a:lnTo>
                    <a:pt x="294" y="588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76"/>
                  </a:lnTo>
                  <a:lnTo>
                    <a:pt x="240" y="582"/>
                  </a:lnTo>
                  <a:lnTo>
                    <a:pt x="234" y="582"/>
                  </a:lnTo>
                  <a:lnTo>
                    <a:pt x="228" y="588"/>
                  </a:lnTo>
                  <a:lnTo>
                    <a:pt x="222" y="588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8" y="600"/>
                  </a:lnTo>
                  <a:lnTo>
                    <a:pt x="192" y="612"/>
                  </a:lnTo>
                  <a:lnTo>
                    <a:pt x="192" y="618"/>
                  </a:lnTo>
                  <a:lnTo>
                    <a:pt x="198" y="624"/>
                  </a:lnTo>
                  <a:lnTo>
                    <a:pt x="192" y="624"/>
                  </a:lnTo>
                  <a:lnTo>
                    <a:pt x="192" y="630"/>
                  </a:lnTo>
                  <a:lnTo>
                    <a:pt x="192" y="642"/>
                  </a:lnTo>
                  <a:lnTo>
                    <a:pt x="180" y="648"/>
                  </a:lnTo>
                  <a:lnTo>
                    <a:pt x="174" y="654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6"/>
                  </a:lnTo>
                  <a:lnTo>
                    <a:pt x="156" y="672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90"/>
                  </a:lnTo>
                  <a:lnTo>
                    <a:pt x="132" y="690"/>
                  </a:lnTo>
                  <a:lnTo>
                    <a:pt x="126" y="702"/>
                  </a:lnTo>
                  <a:lnTo>
                    <a:pt x="132" y="708"/>
                  </a:lnTo>
                  <a:lnTo>
                    <a:pt x="126" y="708"/>
                  </a:lnTo>
                  <a:lnTo>
                    <a:pt x="120" y="708"/>
                  </a:lnTo>
                  <a:lnTo>
                    <a:pt x="114" y="708"/>
                  </a:lnTo>
                  <a:lnTo>
                    <a:pt x="108" y="708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78" y="720"/>
                  </a:lnTo>
                  <a:lnTo>
                    <a:pt x="72" y="720"/>
                  </a:lnTo>
                  <a:lnTo>
                    <a:pt x="66" y="720"/>
                  </a:lnTo>
                  <a:lnTo>
                    <a:pt x="54" y="732"/>
                  </a:lnTo>
                  <a:lnTo>
                    <a:pt x="48" y="702"/>
                  </a:lnTo>
                  <a:lnTo>
                    <a:pt x="36" y="666"/>
                  </a:lnTo>
                  <a:lnTo>
                    <a:pt x="0" y="660"/>
                  </a:lnTo>
                  <a:lnTo>
                    <a:pt x="6" y="660"/>
                  </a:lnTo>
                  <a:lnTo>
                    <a:pt x="6" y="654"/>
                  </a:lnTo>
                  <a:lnTo>
                    <a:pt x="6" y="648"/>
                  </a:lnTo>
                  <a:lnTo>
                    <a:pt x="6" y="642"/>
                  </a:lnTo>
                  <a:lnTo>
                    <a:pt x="6" y="624"/>
                  </a:lnTo>
                  <a:lnTo>
                    <a:pt x="6" y="612"/>
                  </a:lnTo>
                  <a:lnTo>
                    <a:pt x="6" y="606"/>
                  </a:lnTo>
                  <a:lnTo>
                    <a:pt x="12" y="612"/>
                  </a:lnTo>
                  <a:lnTo>
                    <a:pt x="18" y="606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30" y="594"/>
                  </a:lnTo>
                  <a:lnTo>
                    <a:pt x="30" y="588"/>
                  </a:lnTo>
                  <a:lnTo>
                    <a:pt x="30" y="582"/>
                  </a:lnTo>
                  <a:lnTo>
                    <a:pt x="24" y="576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18" y="558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36" y="528"/>
                  </a:lnTo>
                  <a:lnTo>
                    <a:pt x="30" y="522"/>
                  </a:lnTo>
                  <a:lnTo>
                    <a:pt x="24" y="522"/>
                  </a:lnTo>
                  <a:lnTo>
                    <a:pt x="18" y="510"/>
                  </a:lnTo>
                  <a:lnTo>
                    <a:pt x="12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8" y="474"/>
                  </a:lnTo>
                  <a:lnTo>
                    <a:pt x="12" y="468"/>
                  </a:lnTo>
                  <a:lnTo>
                    <a:pt x="12" y="462"/>
                  </a:lnTo>
                  <a:lnTo>
                    <a:pt x="18" y="456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0" y="420"/>
                  </a:lnTo>
                  <a:lnTo>
                    <a:pt x="30" y="414"/>
                  </a:lnTo>
                  <a:lnTo>
                    <a:pt x="48" y="414"/>
                  </a:lnTo>
                  <a:lnTo>
                    <a:pt x="54" y="408"/>
                  </a:lnTo>
                  <a:lnTo>
                    <a:pt x="60" y="402"/>
                  </a:lnTo>
                  <a:lnTo>
                    <a:pt x="66" y="402"/>
                  </a:lnTo>
                  <a:lnTo>
                    <a:pt x="72" y="402"/>
                  </a:lnTo>
                  <a:lnTo>
                    <a:pt x="78" y="408"/>
                  </a:lnTo>
                  <a:lnTo>
                    <a:pt x="84" y="396"/>
                  </a:lnTo>
                  <a:lnTo>
                    <a:pt x="90" y="390"/>
                  </a:lnTo>
                  <a:lnTo>
                    <a:pt x="90" y="378"/>
                  </a:lnTo>
                  <a:lnTo>
                    <a:pt x="96" y="372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8" y="354"/>
                  </a:lnTo>
                  <a:lnTo>
                    <a:pt x="114" y="348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32" y="336"/>
                  </a:lnTo>
                  <a:lnTo>
                    <a:pt x="132" y="330"/>
                  </a:lnTo>
                  <a:lnTo>
                    <a:pt x="138" y="324"/>
                  </a:lnTo>
                  <a:lnTo>
                    <a:pt x="138" y="318"/>
                  </a:lnTo>
                  <a:lnTo>
                    <a:pt x="144" y="306"/>
                  </a:lnTo>
                  <a:lnTo>
                    <a:pt x="156" y="306"/>
                  </a:lnTo>
                  <a:lnTo>
                    <a:pt x="186" y="300"/>
                  </a:lnTo>
                  <a:lnTo>
                    <a:pt x="198" y="300"/>
                  </a:lnTo>
                  <a:lnTo>
                    <a:pt x="210" y="300"/>
                  </a:lnTo>
                  <a:lnTo>
                    <a:pt x="222" y="300"/>
                  </a:lnTo>
                  <a:lnTo>
                    <a:pt x="246" y="300"/>
                  </a:lnTo>
                  <a:lnTo>
                    <a:pt x="264" y="312"/>
                  </a:lnTo>
                  <a:lnTo>
                    <a:pt x="270" y="312"/>
                  </a:lnTo>
                  <a:lnTo>
                    <a:pt x="282" y="306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300" y="306"/>
                  </a:lnTo>
                  <a:lnTo>
                    <a:pt x="312" y="306"/>
                  </a:lnTo>
                  <a:lnTo>
                    <a:pt x="318" y="300"/>
                  </a:lnTo>
                  <a:lnTo>
                    <a:pt x="324" y="300"/>
                  </a:lnTo>
                  <a:lnTo>
                    <a:pt x="330" y="294"/>
                  </a:lnTo>
                  <a:lnTo>
                    <a:pt x="336" y="288"/>
                  </a:lnTo>
                  <a:lnTo>
                    <a:pt x="354" y="288"/>
                  </a:lnTo>
                  <a:lnTo>
                    <a:pt x="360" y="288"/>
                  </a:lnTo>
                  <a:lnTo>
                    <a:pt x="366" y="282"/>
                  </a:lnTo>
                  <a:lnTo>
                    <a:pt x="372" y="282"/>
                  </a:lnTo>
                  <a:lnTo>
                    <a:pt x="378" y="282"/>
                  </a:lnTo>
                  <a:lnTo>
                    <a:pt x="384" y="276"/>
                  </a:lnTo>
                  <a:lnTo>
                    <a:pt x="384" y="270"/>
                  </a:lnTo>
                  <a:lnTo>
                    <a:pt x="390" y="264"/>
                  </a:lnTo>
                  <a:lnTo>
                    <a:pt x="402" y="258"/>
                  </a:lnTo>
                  <a:lnTo>
                    <a:pt x="402" y="252"/>
                  </a:lnTo>
                  <a:lnTo>
                    <a:pt x="402" y="246"/>
                  </a:lnTo>
                  <a:lnTo>
                    <a:pt x="408" y="234"/>
                  </a:lnTo>
                  <a:lnTo>
                    <a:pt x="414" y="234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14" y="216"/>
                  </a:lnTo>
                  <a:lnTo>
                    <a:pt x="414" y="210"/>
                  </a:lnTo>
                  <a:lnTo>
                    <a:pt x="420" y="210"/>
                  </a:lnTo>
                  <a:lnTo>
                    <a:pt x="414" y="198"/>
                  </a:lnTo>
                  <a:lnTo>
                    <a:pt x="414" y="192"/>
                  </a:lnTo>
                  <a:lnTo>
                    <a:pt x="420" y="192"/>
                  </a:lnTo>
                  <a:lnTo>
                    <a:pt x="420" y="186"/>
                  </a:lnTo>
                  <a:lnTo>
                    <a:pt x="420" y="174"/>
                  </a:lnTo>
                  <a:lnTo>
                    <a:pt x="420" y="168"/>
                  </a:lnTo>
                  <a:lnTo>
                    <a:pt x="426" y="162"/>
                  </a:lnTo>
                  <a:lnTo>
                    <a:pt x="432" y="156"/>
                  </a:lnTo>
                  <a:lnTo>
                    <a:pt x="438" y="144"/>
                  </a:lnTo>
                  <a:lnTo>
                    <a:pt x="444" y="144"/>
                  </a:lnTo>
                  <a:lnTo>
                    <a:pt x="450" y="138"/>
                  </a:lnTo>
                  <a:lnTo>
                    <a:pt x="456" y="138"/>
                  </a:lnTo>
                  <a:lnTo>
                    <a:pt x="462" y="132"/>
                  </a:lnTo>
                  <a:lnTo>
                    <a:pt x="462" y="126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0"/>
                  </a:lnTo>
                  <a:lnTo>
                    <a:pt x="486" y="108"/>
                  </a:lnTo>
                  <a:lnTo>
                    <a:pt x="492" y="108"/>
                  </a:lnTo>
                  <a:lnTo>
                    <a:pt x="498" y="102"/>
                  </a:lnTo>
                  <a:lnTo>
                    <a:pt x="504" y="96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40" y="102"/>
                  </a:lnTo>
                  <a:lnTo>
                    <a:pt x="552" y="108"/>
                  </a:lnTo>
                  <a:lnTo>
                    <a:pt x="582" y="102"/>
                  </a:lnTo>
                  <a:lnTo>
                    <a:pt x="594" y="126"/>
                  </a:lnTo>
                  <a:lnTo>
                    <a:pt x="594" y="144"/>
                  </a:lnTo>
                  <a:lnTo>
                    <a:pt x="588" y="156"/>
                  </a:lnTo>
                  <a:lnTo>
                    <a:pt x="588" y="168"/>
                  </a:lnTo>
                  <a:lnTo>
                    <a:pt x="582" y="180"/>
                  </a:lnTo>
                  <a:lnTo>
                    <a:pt x="570" y="192"/>
                  </a:lnTo>
                  <a:lnTo>
                    <a:pt x="594" y="192"/>
                  </a:lnTo>
                  <a:lnTo>
                    <a:pt x="618" y="198"/>
                  </a:lnTo>
                  <a:lnTo>
                    <a:pt x="642" y="210"/>
                  </a:lnTo>
                  <a:lnTo>
                    <a:pt x="660" y="234"/>
                  </a:lnTo>
                  <a:lnTo>
                    <a:pt x="678" y="246"/>
                  </a:lnTo>
                  <a:lnTo>
                    <a:pt x="684" y="252"/>
                  </a:lnTo>
                  <a:lnTo>
                    <a:pt x="702" y="252"/>
                  </a:lnTo>
                  <a:lnTo>
                    <a:pt x="732" y="234"/>
                  </a:lnTo>
                  <a:lnTo>
                    <a:pt x="732" y="222"/>
                  </a:lnTo>
                  <a:lnTo>
                    <a:pt x="720" y="216"/>
                  </a:lnTo>
                  <a:lnTo>
                    <a:pt x="714" y="198"/>
                  </a:lnTo>
                  <a:lnTo>
                    <a:pt x="714" y="174"/>
                  </a:lnTo>
                  <a:lnTo>
                    <a:pt x="720" y="162"/>
                  </a:lnTo>
                  <a:lnTo>
                    <a:pt x="726" y="162"/>
                  </a:lnTo>
                  <a:lnTo>
                    <a:pt x="732" y="156"/>
                  </a:lnTo>
                  <a:lnTo>
                    <a:pt x="744" y="150"/>
                  </a:lnTo>
                  <a:lnTo>
                    <a:pt x="774" y="162"/>
                  </a:lnTo>
                  <a:lnTo>
                    <a:pt x="786" y="162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16" y="150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2" y="132"/>
                  </a:lnTo>
                  <a:lnTo>
                    <a:pt x="822" y="114"/>
                  </a:lnTo>
                  <a:lnTo>
                    <a:pt x="828" y="108"/>
                  </a:lnTo>
                  <a:lnTo>
                    <a:pt x="834" y="96"/>
                  </a:lnTo>
                  <a:lnTo>
                    <a:pt x="846" y="96"/>
                  </a:lnTo>
                  <a:lnTo>
                    <a:pt x="858" y="90"/>
                  </a:lnTo>
                  <a:lnTo>
                    <a:pt x="870" y="84"/>
                  </a:lnTo>
                  <a:lnTo>
                    <a:pt x="888" y="84"/>
                  </a:lnTo>
                  <a:lnTo>
                    <a:pt x="894" y="90"/>
                  </a:lnTo>
                  <a:lnTo>
                    <a:pt x="894" y="102"/>
                  </a:lnTo>
                  <a:lnTo>
                    <a:pt x="900" y="102"/>
                  </a:lnTo>
                  <a:lnTo>
                    <a:pt x="906" y="114"/>
                  </a:lnTo>
                  <a:lnTo>
                    <a:pt x="930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54" y="138"/>
                  </a:lnTo>
                  <a:lnTo>
                    <a:pt x="966" y="144"/>
                  </a:lnTo>
                  <a:lnTo>
                    <a:pt x="966" y="150"/>
                  </a:lnTo>
                  <a:lnTo>
                    <a:pt x="972" y="150"/>
                  </a:lnTo>
                  <a:lnTo>
                    <a:pt x="978" y="150"/>
                  </a:lnTo>
                  <a:lnTo>
                    <a:pt x="978" y="144"/>
                  </a:lnTo>
                  <a:lnTo>
                    <a:pt x="984" y="144"/>
                  </a:lnTo>
                  <a:lnTo>
                    <a:pt x="990" y="138"/>
                  </a:lnTo>
                  <a:lnTo>
                    <a:pt x="996" y="138"/>
                  </a:lnTo>
                  <a:lnTo>
                    <a:pt x="1002" y="138"/>
                  </a:lnTo>
                  <a:lnTo>
                    <a:pt x="1008" y="138"/>
                  </a:lnTo>
                  <a:lnTo>
                    <a:pt x="1026" y="132"/>
                  </a:lnTo>
                  <a:lnTo>
                    <a:pt x="1044" y="126"/>
                  </a:lnTo>
                  <a:lnTo>
                    <a:pt x="1056" y="120"/>
                  </a:lnTo>
                  <a:lnTo>
                    <a:pt x="1062" y="108"/>
                  </a:lnTo>
                  <a:lnTo>
                    <a:pt x="1056" y="102"/>
                  </a:lnTo>
                  <a:lnTo>
                    <a:pt x="1062" y="96"/>
                  </a:lnTo>
                  <a:lnTo>
                    <a:pt x="1074" y="90"/>
                  </a:lnTo>
                  <a:lnTo>
                    <a:pt x="1080" y="84"/>
                  </a:lnTo>
                  <a:lnTo>
                    <a:pt x="1128" y="84"/>
                  </a:lnTo>
                  <a:lnTo>
                    <a:pt x="1134" y="84"/>
                  </a:lnTo>
                  <a:lnTo>
                    <a:pt x="1140" y="78"/>
                  </a:lnTo>
                  <a:lnTo>
                    <a:pt x="1152" y="72"/>
                  </a:lnTo>
                  <a:lnTo>
                    <a:pt x="1164" y="66"/>
                  </a:lnTo>
                  <a:lnTo>
                    <a:pt x="1170" y="60"/>
                  </a:lnTo>
                  <a:lnTo>
                    <a:pt x="1188" y="48"/>
                  </a:lnTo>
                  <a:lnTo>
                    <a:pt x="1200" y="36"/>
                  </a:lnTo>
                  <a:lnTo>
                    <a:pt x="1218" y="24"/>
                  </a:lnTo>
                  <a:lnTo>
                    <a:pt x="1248" y="24"/>
                  </a:lnTo>
                  <a:lnTo>
                    <a:pt x="1272" y="24"/>
                  </a:lnTo>
                  <a:lnTo>
                    <a:pt x="1284" y="12"/>
                  </a:lnTo>
                  <a:lnTo>
                    <a:pt x="1302" y="0"/>
                  </a:lnTo>
                  <a:lnTo>
                    <a:pt x="1314" y="0"/>
                  </a:lnTo>
                  <a:lnTo>
                    <a:pt x="1326" y="18"/>
                  </a:lnTo>
                  <a:lnTo>
                    <a:pt x="1338" y="30"/>
                  </a:lnTo>
                  <a:lnTo>
                    <a:pt x="1338" y="54"/>
                  </a:lnTo>
                  <a:lnTo>
                    <a:pt x="1332" y="72"/>
                  </a:lnTo>
                  <a:lnTo>
                    <a:pt x="1326" y="72"/>
                  </a:lnTo>
                  <a:lnTo>
                    <a:pt x="1326" y="78"/>
                  </a:lnTo>
                  <a:lnTo>
                    <a:pt x="1326" y="102"/>
                  </a:lnTo>
                  <a:lnTo>
                    <a:pt x="1332" y="102"/>
                  </a:lnTo>
                  <a:lnTo>
                    <a:pt x="1332" y="108"/>
                  </a:lnTo>
                  <a:lnTo>
                    <a:pt x="1344" y="114"/>
                  </a:lnTo>
                  <a:lnTo>
                    <a:pt x="1350" y="114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404" y="132"/>
                  </a:lnTo>
                  <a:lnTo>
                    <a:pt x="1404" y="138"/>
                  </a:lnTo>
                  <a:lnTo>
                    <a:pt x="1410" y="150"/>
                  </a:lnTo>
                  <a:lnTo>
                    <a:pt x="1416" y="162"/>
                  </a:lnTo>
                  <a:lnTo>
                    <a:pt x="1428" y="168"/>
                  </a:lnTo>
                  <a:lnTo>
                    <a:pt x="1440" y="180"/>
                  </a:lnTo>
                  <a:lnTo>
                    <a:pt x="1476" y="174"/>
                  </a:lnTo>
                  <a:lnTo>
                    <a:pt x="1494" y="174"/>
                  </a:lnTo>
                  <a:lnTo>
                    <a:pt x="1512" y="192"/>
                  </a:lnTo>
                  <a:lnTo>
                    <a:pt x="1518" y="204"/>
                  </a:lnTo>
                  <a:lnTo>
                    <a:pt x="1530" y="216"/>
                  </a:lnTo>
                  <a:lnTo>
                    <a:pt x="1548" y="228"/>
                  </a:lnTo>
                  <a:lnTo>
                    <a:pt x="1548" y="234"/>
                  </a:lnTo>
                  <a:lnTo>
                    <a:pt x="1542" y="246"/>
                  </a:lnTo>
                  <a:lnTo>
                    <a:pt x="1560" y="246"/>
                  </a:lnTo>
                  <a:lnTo>
                    <a:pt x="1560" y="252"/>
                  </a:lnTo>
                  <a:lnTo>
                    <a:pt x="1566" y="258"/>
                  </a:lnTo>
                  <a:lnTo>
                    <a:pt x="1578" y="270"/>
                  </a:lnTo>
                  <a:lnTo>
                    <a:pt x="1596" y="270"/>
                  </a:lnTo>
                  <a:lnTo>
                    <a:pt x="1602" y="288"/>
                  </a:lnTo>
                  <a:lnTo>
                    <a:pt x="1608" y="306"/>
                  </a:lnTo>
                  <a:lnTo>
                    <a:pt x="1608" y="318"/>
                  </a:lnTo>
                  <a:lnTo>
                    <a:pt x="1608" y="324"/>
                  </a:lnTo>
                  <a:lnTo>
                    <a:pt x="1614" y="330"/>
                  </a:lnTo>
                  <a:lnTo>
                    <a:pt x="1614" y="336"/>
                  </a:lnTo>
                  <a:lnTo>
                    <a:pt x="1614" y="342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08" y="390"/>
                  </a:lnTo>
                  <a:lnTo>
                    <a:pt x="1602" y="390"/>
                  </a:lnTo>
                  <a:lnTo>
                    <a:pt x="1602" y="396"/>
                  </a:lnTo>
                  <a:lnTo>
                    <a:pt x="1584" y="420"/>
                  </a:lnTo>
                  <a:lnTo>
                    <a:pt x="1584" y="426"/>
                  </a:lnTo>
                  <a:lnTo>
                    <a:pt x="1602" y="474"/>
                  </a:lnTo>
                  <a:lnTo>
                    <a:pt x="1608" y="480"/>
                  </a:lnTo>
                  <a:lnTo>
                    <a:pt x="1608" y="486"/>
                  </a:lnTo>
                  <a:lnTo>
                    <a:pt x="1614" y="486"/>
                  </a:lnTo>
                  <a:lnTo>
                    <a:pt x="1608" y="504"/>
                  </a:lnTo>
                  <a:lnTo>
                    <a:pt x="1572" y="504"/>
                  </a:lnTo>
                  <a:lnTo>
                    <a:pt x="1560" y="510"/>
                  </a:lnTo>
                  <a:lnTo>
                    <a:pt x="1554" y="522"/>
                  </a:lnTo>
                  <a:lnTo>
                    <a:pt x="1560" y="552"/>
                  </a:lnTo>
                  <a:lnTo>
                    <a:pt x="1566" y="552"/>
                  </a:lnTo>
                  <a:lnTo>
                    <a:pt x="1566" y="558"/>
                  </a:lnTo>
                  <a:lnTo>
                    <a:pt x="1572" y="558"/>
                  </a:lnTo>
                  <a:lnTo>
                    <a:pt x="1578" y="558"/>
                  </a:lnTo>
                  <a:lnTo>
                    <a:pt x="1578" y="552"/>
                  </a:lnTo>
                  <a:lnTo>
                    <a:pt x="1584" y="552"/>
                  </a:lnTo>
                  <a:lnTo>
                    <a:pt x="1590" y="552"/>
                  </a:lnTo>
                  <a:lnTo>
                    <a:pt x="1590" y="546"/>
                  </a:lnTo>
                  <a:lnTo>
                    <a:pt x="1596" y="546"/>
                  </a:lnTo>
                  <a:lnTo>
                    <a:pt x="1602" y="552"/>
                  </a:lnTo>
                  <a:lnTo>
                    <a:pt x="1602" y="546"/>
                  </a:lnTo>
                  <a:lnTo>
                    <a:pt x="1608" y="546"/>
                  </a:lnTo>
                  <a:lnTo>
                    <a:pt x="1608" y="552"/>
                  </a:lnTo>
                  <a:lnTo>
                    <a:pt x="1614" y="552"/>
                  </a:lnTo>
                  <a:lnTo>
                    <a:pt x="1614" y="546"/>
                  </a:lnTo>
                  <a:lnTo>
                    <a:pt x="1620" y="552"/>
                  </a:lnTo>
                  <a:lnTo>
                    <a:pt x="1626" y="552"/>
                  </a:lnTo>
                  <a:lnTo>
                    <a:pt x="1626" y="558"/>
                  </a:lnTo>
                  <a:lnTo>
                    <a:pt x="1632" y="558"/>
                  </a:lnTo>
                  <a:lnTo>
                    <a:pt x="1638" y="558"/>
                  </a:lnTo>
                  <a:lnTo>
                    <a:pt x="1644" y="558"/>
                  </a:lnTo>
                  <a:lnTo>
                    <a:pt x="1650" y="558"/>
                  </a:lnTo>
                  <a:lnTo>
                    <a:pt x="1650" y="564"/>
                  </a:lnTo>
                  <a:lnTo>
                    <a:pt x="1656" y="564"/>
                  </a:lnTo>
                  <a:lnTo>
                    <a:pt x="1662" y="564"/>
                  </a:lnTo>
                  <a:lnTo>
                    <a:pt x="1668" y="564"/>
                  </a:lnTo>
                  <a:lnTo>
                    <a:pt x="1668" y="570"/>
                  </a:lnTo>
                  <a:lnTo>
                    <a:pt x="1674" y="570"/>
                  </a:lnTo>
                  <a:lnTo>
                    <a:pt x="1680" y="570"/>
                  </a:lnTo>
                  <a:lnTo>
                    <a:pt x="1686" y="576"/>
                  </a:lnTo>
                  <a:lnTo>
                    <a:pt x="1686" y="582"/>
                  </a:lnTo>
                  <a:lnTo>
                    <a:pt x="1710" y="588"/>
                  </a:lnTo>
                  <a:lnTo>
                    <a:pt x="1710" y="594"/>
                  </a:lnTo>
                  <a:lnTo>
                    <a:pt x="1704" y="600"/>
                  </a:lnTo>
                  <a:lnTo>
                    <a:pt x="1710" y="624"/>
                  </a:lnTo>
                  <a:lnTo>
                    <a:pt x="1698" y="672"/>
                  </a:lnTo>
                  <a:lnTo>
                    <a:pt x="1704" y="678"/>
                  </a:lnTo>
                  <a:lnTo>
                    <a:pt x="1716" y="684"/>
                  </a:lnTo>
                  <a:lnTo>
                    <a:pt x="1716" y="678"/>
                  </a:lnTo>
                  <a:lnTo>
                    <a:pt x="1716" y="684"/>
                  </a:lnTo>
                  <a:lnTo>
                    <a:pt x="1728" y="684"/>
                  </a:lnTo>
                  <a:lnTo>
                    <a:pt x="1728" y="690"/>
                  </a:lnTo>
                  <a:lnTo>
                    <a:pt x="1734" y="696"/>
                  </a:lnTo>
                  <a:lnTo>
                    <a:pt x="1734" y="702"/>
                  </a:lnTo>
                  <a:lnTo>
                    <a:pt x="1740" y="708"/>
                  </a:lnTo>
                  <a:lnTo>
                    <a:pt x="1740" y="714"/>
                  </a:lnTo>
                  <a:lnTo>
                    <a:pt x="1710" y="714"/>
                  </a:lnTo>
                  <a:lnTo>
                    <a:pt x="1710" y="756"/>
                  </a:lnTo>
                  <a:lnTo>
                    <a:pt x="1704" y="762"/>
                  </a:lnTo>
                  <a:lnTo>
                    <a:pt x="1698" y="762"/>
                  </a:lnTo>
                  <a:lnTo>
                    <a:pt x="1698" y="768"/>
                  </a:lnTo>
                  <a:lnTo>
                    <a:pt x="1698" y="774"/>
                  </a:lnTo>
                  <a:lnTo>
                    <a:pt x="1692" y="780"/>
                  </a:lnTo>
                  <a:lnTo>
                    <a:pt x="1692" y="786"/>
                  </a:lnTo>
                  <a:lnTo>
                    <a:pt x="1686" y="786"/>
                  </a:lnTo>
                  <a:lnTo>
                    <a:pt x="1668" y="798"/>
                  </a:lnTo>
                  <a:lnTo>
                    <a:pt x="1662" y="810"/>
                  </a:lnTo>
                  <a:lnTo>
                    <a:pt x="1650" y="810"/>
                  </a:lnTo>
                  <a:lnTo>
                    <a:pt x="1644" y="816"/>
                  </a:lnTo>
                  <a:lnTo>
                    <a:pt x="1638" y="816"/>
                  </a:lnTo>
                  <a:lnTo>
                    <a:pt x="1626" y="852"/>
                  </a:lnTo>
                  <a:lnTo>
                    <a:pt x="1620" y="888"/>
                  </a:lnTo>
                  <a:lnTo>
                    <a:pt x="1626" y="888"/>
                  </a:lnTo>
                  <a:lnTo>
                    <a:pt x="1638" y="912"/>
                  </a:lnTo>
                  <a:lnTo>
                    <a:pt x="1644" y="918"/>
                  </a:lnTo>
                  <a:lnTo>
                    <a:pt x="1650" y="966"/>
                  </a:lnTo>
                  <a:lnTo>
                    <a:pt x="1626" y="972"/>
                  </a:lnTo>
                  <a:lnTo>
                    <a:pt x="1608" y="978"/>
                  </a:lnTo>
                  <a:lnTo>
                    <a:pt x="1614" y="984"/>
                  </a:lnTo>
                  <a:lnTo>
                    <a:pt x="1620" y="984"/>
                  </a:lnTo>
                  <a:lnTo>
                    <a:pt x="1620" y="1020"/>
                  </a:lnTo>
                  <a:lnTo>
                    <a:pt x="1614" y="1038"/>
                  </a:lnTo>
                  <a:lnTo>
                    <a:pt x="1620" y="1044"/>
                  </a:lnTo>
                  <a:lnTo>
                    <a:pt x="1626" y="1056"/>
                  </a:lnTo>
                  <a:lnTo>
                    <a:pt x="1626" y="1074"/>
                  </a:lnTo>
                  <a:lnTo>
                    <a:pt x="1620" y="1080"/>
                  </a:lnTo>
                  <a:lnTo>
                    <a:pt x="1620" y="1104"/>
                  </a:lnTo>
                  <a:lnTo>
                    <a:pt x="1620" y="1110"/>
                  </a:lnTo>
                  <a:lnTo>
                    <a:pt x="1614" y="1116"/>
                  </a:lnTo>
                  <a:lnTo>
                    <a:pt x="1608" y="1140"/>
                  </a:lnTo>
                  <a:lnTo>
                    <a:pt x="1602" y="1146"/>
                  </a:lnTo>
                  <a:lnTo>
                    <a:pt x="1602" y="1164"/>
                  </a:lnTo>
                  <a:lnTo>
                    <a:pt x="1596" y="1170"/>
                  </a:lnTo>
                  <a:lnTo>
                    <a:pt x="1590" y="1164"/>
                  </a:lnTo>
                  <a:lnTo>
                    <a:pt x="1584" y="1164"/>
                  </a:lnTo>
                  <a:lnTo>
                    <a:pt x="1578" y="1164"/>
                  </a:lnTo>
                  <a:lnTo>
                    <a:pt x="1578" y="1188"/>
                  </a:lnTo>
                  <a:lnTo>
                    <a:pt x="1584" y="1194"/>
                  </a:lnTo>
                  <a:lnTo>
                    <a:pt x="1590" y="1194"/>
                  </a:lnTo>
                  <a:lnTo>
                    <a:pt x="1590" y="1212"/>
                  </a:lnTo>
                  <a:lnTo>
                    <a:pt x="1584" y="1212"/>
                  </a:lnTo>
                  <a:lnTo>
                    <a:pt x="1584" y="1224"/>
                  </a:lnTo>
                  <a:lnTo>
                    <a:pt x="1578" y="1224"/>
                  </a:lnTo>
                  <a:lnTo>
                    <a:pt x="1578" y="1236"/>
                  </a:lnTo>
                  <a:lnTo>
                    <a:pt x="1584" y="1254"/>
                  </a:lnTo>
                  <a:lnTo>
                    <a:pt x="1584" y="1260"/>
                  </a:lnTo>
                  <a:lnTo>
                    <a:pt x="1590" y="1260"/>
                  </a:lnTo>
                  <a:lnTo>
                    <a:pt x="1590" y="1266"/>
                  </a:lnTo>
                  <a:lnTo>
                    <a:pt x="1596" y="1284"/>
                  </a:lnTo>
                  <a:lnTo>
                    <a:pt x="1602" y="1278"/>
                  </a:lnTo>
                  <a:lnTo>
                    <a:pt x="1608" y="1284"/>
                  </a:lnTo>
                  <a:lnTo>
                    <a:pt x="1632" y="1350"/>
                  </a:lnTo>
                  <a:lnTo>
                    <a:pt x="1638" y="1356"/>
                  </a:lnTo>
                  <a:lnTo>
                    <a:pt x="1644" y="1356"/>
                  </a:lnTo>
                  <a:lnTo>
                    <a:pt x="1650" y="1356"/>
                  </a:lnTo>
                  <a:lnTo>
                    <a:pt x="1656" y="1356"/>
                  </a:lnTo>
                  <a:lnTo>
                    <a:pt x="1662" y="1362"/>
                  </a:lnTo>
                  <a:lnTo>
                    <a:pt x="1668" y="1356"/>
                  </a:lnTo>
                  <a:lnTo>
                    <a:pt x="1668" y="1380"/>
                  </a:lnTo>
                  <a:lnTo>
                    <a:pt x="1662" y="1392"/>
                  </a:lnTo>
                  <a:lnTo>
                    <a:pt x="1656" y="1404"/>
                  </a:lnTo>
                  <a:lnTo>
                    <a:pt x="1656" y="1410"/>
                  </a:lnTo>
                  <a:lnTo>
                    <a:pt x="1656" y="1416"/>
                  </a:lnTo>
                  <a:lnTo>
                    <a:pt x="1650" y="1422"/>
                  </a:lnTo>
                  <a:lnTo>
                    <a:pt x="1650" y="1428"/>
                  </a:lnTo>
                  <a:lnTo>
                    <a:pt x="1644" y="1428"/>
                  </a:lnTo>
                  <a:lnTo>
                    <a:pt x="1644" y="1434"/>
                  </a:lnTo>
                  <a:lnTo>
                    <a:pt x="1638" y="1434"/>
                  </a:lnTo>
                  <a:lnTo>
                    <a:pt x="1638" y="1440"/>
                  </a:lnTo>
                  <a:lnTo>
                    <a:pt x="1632" y="1440"/>
                  </a:lnTo>
                  <a:lnTo>
                    <a:pt x="1638" y="145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8" name="Freeform 13">
              <a:extLst>
                <a:ext uri="{FF2B5EF4-FFF2-40B4-BE49-F238E27FC236}">
                  <a16:creationId xmlns:a16="http://schemas.microsoft.com/office/drawing/2014/main" id="{66308D9B-1739-4227-AAC3-BB866CD1F5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63374" y="2969626"/>
              <a:ext cx="330956" cy="357840"/>
            </a:xfrm>
            <a:custGeom>
              <a:avLst/>
              <a:gdLst>
                <a:gd name="T0" fmla="*/ 11 w 624"/>
                <a:gd name="T1" fmla="*/ 59 h 672"/>
                <a:gd name="T2" fmla="*/ 4 w 624"/>
                <a:gd name="T3" fmla="*/ 58 h 672"/>
                <a:gd name="T4" fmla="*/ 3 w 624"/>
                <a:gd name="T5" fmla="*/ 58 h 672"/>
                <a:gd name="T6" fmla="*/ 2 w 624"/>
                <a:gd name="T7" fmla="*/ 11 h 672"/>
                <a:gd name="T8" fmla="*/ 13 w 624"/>
                <a:gd name="T9" fmla="*/ 11 h 672"/>
                <a:gd name="T10" fmla="*/ 14 w 624"/>
                <a:gd name="T11" fmla="*/ 11 h 672"/>
                <a:gd name="T12" fmla="*/ 15 w 624"/>
                <a:gd name="T13" fmla="*/ 12 h 672"/>
                <a:gd name="T14" fmla="*/ 18 w 624"/>
                <a:gd name="T15" fmla="*/ 14 h 672"/>
                <a:gd name="T16" fmla="*/ 21 w 624"/>
                <a:gd name="T17" fmla="*/ 16 h 672"/>
                <a:gd name="T18" fmla="*/ 22 w 624"/>
                <a:gd name="T19" fmla="*/ 18 h 672"/>
                <a:gd name="T20" fmla="*/ 23 w 624"/>
                <a:gd name="T21" fmla="*/ 19 h 672"/>
                <a:gd name="T22" fmla="*/ 24 w 624"/>
                <a:gd name="T23" fmla="*/ 19 h 672"/>
                <a:gd name="T24" fmla="*/ 26 w 624"/>
                <a:gd name="T25" fmla="*/ 19 h 672"/>
                <a:gd name="T26" fmla="*/ 27 w 624"/>
                <a:gd name="T27" fmla="*/ 18 h 672"/>
                <a:gd name="T28" fmla="*/ 29 w 624"/>
                <a:gd name="T29" fmla="*/ 15 h 672"/>
                <a:gd name="T30" fmla="*/ 30 w 624"/>
                <a:gd name="T31" fmla="*/ 14 h 672"/>
                <a:gd name="T32" fmla="*/ 31 w 624"/>
                <a:gd name="T33" fmla="*/ 12 h 672"/>
                <a:gd name="T34" fmla="*/ 32 w 624"/>
                <a:gd name="T35" fmla="*/ 12 h 672"/>
                <a:gd name="T36" fmla="*/ 33 w 624"/>
                <a:gd name="T37" fmla="*/ 10 h 672"/>
                <a:gd name="T38" fmla="*/ 34 w 624"/>
                <a:gd name="T39" fmla="*/ 8 h 672"/>
                <a:gd name="T40" fmla="*/ 34 w 624"/>
                <a:gd name="T41" fmla="*/ 6 h 672"/>
                <a:gd name="T42" fmla="*/ 35 w 624"/>
                <a:gd name="T43" fmla="*/ 4 h 672"/>
                <a:gd name="T44" fmla="*/ 42 w 624"/>
                <a:gd name="T45" fmla="*/ 3 h 672"/>
                <a:gd name="T46" fmla="*/ 44 w 624"/>
                <a:gd name="T47" fmla="*/ 2 h 672"/>
                <a:gd name="T48" fmla="*/ 46 w 624"/>
                <a:gd name="T49" fmla="*/ 0 h 672"/>
                <a:gd name="T50" fmla="*/ 51 w 624"/>
                <a:gd name="T51" fmla="*/ 3 h 672"/>
                <a:gd name="T52" fmla="*/ 54 w 624"/>
                <a:gd name="T53" fmla="*/ 6 h 672"/>
                <a:gd name="T54" fmla="*/ 54 w 624"/>
                <a:gd name="T55" fmla="*/ 8 h 672"/>
                <a:gd name="T56" fmla="*/ 52 w 624"/>
                <a:gd name="T57" fmla="*/ 9 h 672"/>
                <a:gd name="T58" fmla="*/ 49 w 624"/>
                <a:gd name="T59" fmla="*/ 11 h 672"/>
                <a:gd name="T60" fmla="*/ 48 w 624"/>
                <a:gd name="T61" fmla="*/ 14 h 672"/>
                <a:gd name="T62" fmla="*/ 46 w 624"/>
                <a:gd name="T63" fmla="*/ 22 h 672"/>
                <a:gd name="T64" fmla="*/ 45 w 624"/>
                <a:gd name="T65" fmla="*/ 39 h 672"/>
                <a:gd name="T66" fmla="*/ 43 w 624"/>
                <a:gd name="T67" fmla="*/ 43 h 672"/>
                <a:gd name="T68" fmla="*/ 39 w 624"/>
                <a:gd name="T69" fmla="*/ 50 h 672"/>
                <a:gd name="T70" fmla="*/ 36 w 624"/>
                <a:gd name="T71" fmla="*/ 53 h 672"/>
                <a:gd name="T72" fmla="*/ 32 w 624"/>
                <a:gd name="T73" fmla="*/ 56 h 672"/>
                <a:gd name="T74" fmla="*/ 30 w 624"/>
                <a:gd name="T75" fmla="*/ 58 h 672"/>
                <a:gd name="T76" fmla="*/ 20 w 624"/>
                <a:gd name="T77" fmla="*/ 59 h 672"/>
                <a:gd name="T78" fmla="*/ 15 w 624"/>
                <a:gd name="T79" fmla="*/ 59 h 67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24"/>
                <a:gd name="T121" fmla="*/ 0 h 672"/>
                <a:gd name="T122" fmla="*/ 624 w 624"/>
                <a:gd name="T123" fmla="*/ 672 h 67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24" h="672">
                  <a:moveTo>
                    <a:pt x="168" y="672"/>
                  </a:moveTo>
                  <a:lnTo>
                    <a:pt x="132" y="672"/>
                  </a:lnTo>
                  <a:lnTo>
                    <a:pt x="72" y="666"/>
                  </a:lnTo>
                  <a:lnTo>
                    <a:pt x="42" y="666"/>
                  </a:lnTo>
                  <a:lnTo>
                    <a:pt x="36" y="666"/>
                  </a:lnTo>
                  <a:lnTo>
                    <a:pt x="30" y="660"/>
                  </a:lnTo>
                  <a:lnTo>
                    <a:pt x="0" y="660"/>
                  </a:lnTo>
                  <a:lnTo>
                    <a:pt x="24" y="120"/>
                  </a:lnTo>
                  <a:lnTo>
                    <a:pt x="60" y="120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62" y="120"/>
                  </a:lnTo>
                  <a:lnTo>
                    <a:pt x="168" y="120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10" y="156"/>
                  </a:lnTo>
                  <a:lnTo>
                    <a:pt x="222" y="174"/>
                  </a:lnTo>
                  <a:lnTo>
                    <a:pt x="240" y="186"/>
                  </a:lnTo>
                  <a:lnTo>
                    <a:pt x="252" y="198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216"/>
                  </a:lnTo>
                  <a:lnTo>
                    <a:pt x="270" y="216"/>
                  </a:lnTo>
                  <a:lnTo>
                    <a:pt x="282" y="222"/>
                  </a:lnTo>
                  <a:lnTo>
                    <a:pt x="288" y="222"/>
                  </a:lnTo>
                  <a:lnTo>
                    <a:pt x="294" y="216"/>
                  </a:lnTo>
                  <a:lnTo>
                    <a:pt x="294" y="210"/>
                  </a:lnTo>
                  <a:lnTo>
                    <a:pt x="312" y="204"/>
                  </a:lnTo>
                  <a:lnTo>
                    <a:pt x="330" y="186"/>
                  </a:lnTo>
                  <a:lnTo>
                    <a:pt x="336" y="174"/>
                  </a:lnTo>
                  <a:lnTo>
                    <a:pt x="342" y="162"/>
                  </a:lnTo>
                  <a:lnTo>
                    <a:pt x="342" y="156"/>
                  </a:lnTo>
                  <a:lnTo>
                    <a:pt x="348" y="150"/>
                  </a:lnTo>
                  <a:lnTo>
                    <a:pt x="354" y="144"/>
                  </a:lnTo>
                  <a:lnTo>
                    <a:pt x="360" y="138"/>
                  </a:lnTo>
                  <a:lnTo>
                    <a:pt x="366" y="132"/>
                  </a:lnTo>
                  <a:lnTo>
                    <a:pt x="372" y="114"/>
                  </a:lnTo>
                  <a:lnTo>
                    <a:pt x="378" y="114"/>
                  </a:lnTo>
                  <a:lnTo>
                    <a:pt x="378" y="96"/>
                  </a:lnTo>
                  <a:lnTo>
                    <a:pt x="390" y="96"/>
                  </a:lnTo>
                  <a:lnTo>
                    <a:pt x="396" y="84"/>
                  </a:lnTo>
                  <a:lnTo>
                    <a:pt x="396" y="72"/>
                  </a:lnTo>
                  <a:lnTo>
                    <a:pt x="396" y="54"/>
                  </a:lnTo>
                  <a:lnTo>
                    <a:pt x="408" y="42"/>
                  </a:lnTo>
                  <a:lnTo>
                    <a:pt x="468" y="42"/>
                  </a:lnTo>
                  <a:lnTo>
                    <a:pt x="486" y="36"/>
                  </a:lnTo>
                  <a:lnTo>
                    <a:pt x="492" y="24"/>
                  </a:lnTo>
                  <a:lnTo>
                    <a:pt x="504" y="24"/>
                  </a:lnTo>
                  <a:lnTo>
                    <a:pt x="516" y="6"/>
                  </a:lnTo>
                  <a:lnTo>
                    <a:pt x="528" y="0"/>
                  </a:lnTo>
                  <a:lnTo>
                    <a:pt x="558" y="12"/>
                  </a:lnTo>
                  <a:lnTo>
                    <a:pt x="588" y="36"/>
                  </a:lnTo>
                  <a:lnTo>
                    <a:pt x="600" y="66"/>
                  </a:lnTo>
                  <a:lnTo>
                    <a:pt x="624" y="66"/>
                  </a:lnTo>
                  <a:lnTo>
                    <a:pt x="624" y="90"/>
                  </a:lnTo>
                  <a:lnTo>
                    <a:pt x="618" y="90"/>
                  </a:lnTo>
                  <a:lnTo>
                    <a:pt x="618" y="96"/>
                  </a:lnTo>
                  <a:lnTo>
                    <a:pt x="600" y="102"/>
                  </a:lnTo>
                  <a:lnTo>
                    <a:pt x="588" y="108"/>
                  </a:lnTo>
                  <a:lnTo>
                    <a:pt x="570" y="120"/>
                  </a:lnTo>
                  <a:lnTo>
                    <a:pt x="564" y="138"/>
                  </a:lnTo>
                  <a:lnTo>
                    <a:pt x="558" y="162"/>
                  </a:lnTo>
                  <a:lnTo>
                    <a:pt x="540" y="210"/>
                  </a:lnTo>
                  <a:lnTo>
                    <a:pt x="528" y="252"/>
                  </a:lnTo>
                  <a:lnTo>
                    <a:pt x="528" y="402"/>
                  </a:lnTo>
                  <a:lnTo>
                    <a:pt x="522" y="444"/>
                  </a:lnTo>
                  <a:lnTo>
                    <a:pt x="510" y="468"/>
                  </a:lnTo>
                  <a:lnTo>
                    <a:pt x="498" y="498"/>
                  </a:lnTo>
                  <a:lnTo>
                    <a:pt x="474" y="534"/>
                  </a:lnTo>
                  <a:lnTo>
                    <a:pt x="456" y="570"/>
                  </a:lnTo>
                  <a:lnTo>
                    <a:pt x="444" y="576"/>
                  </a:lnTo>
                  <a:lnTo>
                    <a:pt x="420" y="606"/>
                  </a:lnTo>
                  <a:lnTo>
                    <a:pt x="390" y="624"/>
                  </a:lnTo>
                  <a:lnTo>
                    <a:pt x="372" y="642"/>
                  </a:lnTo>
                  <a:lnTo>
                    <a:pt x="366" y="654"/>
                  </a:lnTo>
                  <a:lnTo>
                    <a:pt x="342" y="660"/>
                  </a:lnTo>
                  <a:lnTo>
                    <a:pt x="300" y="666"/>
                  </a:lnTo>
                  <a:lnTo>
                    <a:pt x="234" y="672"/>
                  </a:lnTo>
                  <a:lnTo>
                    <a:pt x="192" y="672"/>
                  </a:lnTo>
                  <a:lnTo>
                    <a:pt x="168" y="67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9" name="Freeform 14">
              <a:extLst>
                <a:ext uri="{FF2B5EF4-FFF2-40B4-BE49-F238E27FC236}">
                  <a16:creationId xmlns:a16="http://schemas.microsoft.com/office/drawing/2014/main" id="{2EA1E999-9CDF-4391-8BC9-7DE71AF9C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0460" y="2983045"/>
              <a:ext cx="905658" cy="561362"/>
            </a:xfrm>
            <a:custGeom>
              <a:avLst/>
              <a:gdLst>
                <a:gd name="T0" fmla="*/ 31 w 1704"/>
                <a:gd name="T1" fmla="*/ 78 h 1056"/>
                <a:gd name="T2" fmla="*/ 23 w 1704"/>
                <a:gd name="T3" fmla="*/ 78 h 1056"/>
                <a:gd name="T4" fmla="*/ 11 w 1704"/>
                <a:gd name="T5" fmla="*/ 79 h 1056"/>
                <a:gd name="T6" fmla="*/ 1 w 1704"/>
                <a:gd name="T7" fmla="*/ 81 h 1056"/>
                <a:gd name="T8" fmla="*/ 0 w 1704"/>
                <a:gd name="T9" fmla="*/ 62 h 1056"/>
                <a:gd name="T10" fmla="*/ 9 w 1704"/>
                <a:gd name="T11" fmla="*/ 56 h 1056"/>
                <a:gd name="T12" fmla="*/ 27 w 1704"/>
                <a:gd name="T13" fmla="*/ 48 h 1056"/>
                <a:gd name="T14" fmla="*/ 35 w 1704"/>
                <a:gd name="T15" fmla="*/ 20 h 1056"/>
                <a:gd name="T16" fmla="*/ 43 w 1704"/>
                <a:gd name="T17" fmla="*/ 6 h 1056"/>
                <a:gd name="T18" fmla="*/ 47 w 1704"/>
                <a:gd name="T19" fmla="*/ 7 h 1056"/>
                <a:gd name="T20" fmla="*/ 52 w 1704"/>
                <a:gd name="T21" fmla="*/ 0 h 1056"/>
                <a:gd name="T22" fmla="*/ 59 w 1704"/>
                <a:gd name="T23" fmla="*/ 5 h 1056"/>
                <a:gd name="T24" fmla="*/ 63 w 1704"/>
                <a:gd name="T25" fmla="*/ 12 h 1056"/>
                <a:gd name="T26" fmla="*/ 62 w 1704"/>
                <a:gd name="T27" fmla="*/ 15 h 1056"/>
                <a:gd name="T28" fmla="*/ 62 w 1704"/>
                <a:gd name="T29" fmla="*/ 18 h 1056"/>
                <a:gd name="T30" fmla="*/ 70 w 1704"/>
                <a:gd name="T31" fmla="*/ 18 h 1056"/>
                <a:gd name="T32" fmla="*/ 71 w 1704"/>
                <a:gd name="T33" fmla="*/ 14 h 1056"/>
                <a:gd name="T34" fmla="*/ 72 w 1704"/>
                <a:gd name="T35" fmla="*/ 12 h 1056"/>
                <a:gd name="T36" fmla="*/ 78 w 1704"/>
                <a:gd name="T37" fmla="*/ 14 h 1056"/>
                <a:gd name="T38" fmla="*/ 85 w 1704"/>
                <a:gd name="T39" fmla="*/ 21 h 1056"/>
                <a:gd name="T40" fmla="*/ 91 w 1704"/>
                <a:gd name="T41" fmla="*/ 15 h 1056"/>
                <a:gd name="T42" fmla="*/ 93 w 1704"/>
                <a:gd name="T43" fmla="*/ 10 h 1056"/>
                <a:gd name="T44" fmla="*/ 101 w 1704"/>
                <a:gd name="T45" fmla="*/ 14 h 1056"/>
                <a:gd name="T46" fmla="*/ 103 w 1704"/>
                <a:gd name="T47" fmla="*/ 19 h 1056"/>
                <a:gd name="T48" fmla="*/ 115 w 1704"/>
                <a:gd name="T49" fmla="*/ 20 h 1056"/>
                <a:gd name="T50" fmla="*/ 118 w 1704"/>
                <a:gd name="T51" fmla="*/ 23 h 1056"/>
                <a:gd name="T52" fmla="*/ 117 w 1704"/>
                <a:gd name="T53" fmla="*/ 27 h 1056"/>
                <a:gd name="T54" fmla="*/ 111 w 1704"/>
                <a:gd name="T55" fmla="*/ 33 h 1056"/>
                <a:gd name="T56" fmla="*/ 108 w 1704"/>
                <a:gd name="T57" fmla="*/ 36 h 1056"/>
                <a:gd name="T58" fmla="*/ 109 w 1704"/>
                <a:gd name="T59" fmla="*/ 40 h 1056"/>
                <a:gd name="T60" fmla="*/ 111 w 1704"/>
                <a:gd name="T61" fmla="*/ 43 h 1056"/>
                <a:gd name="T62" fmla="*/ 113 w 1704"/>
                <a:gd name="T63" fmla="*/ 50 h 1056"/>
                <a:gd name="T64" fmla="*/ 121 w 1704"/>
                <a:gd name="T65" fmla="*/ 55 h 1056"/>
                <a:gd name="T66" fmla="*/ 132 w 1704"/>
                <a:gd name="T67" fmla="*/ 52 h 1056"/>
                <a:gd name="T68" fmla="*/ 148 w 1704"/>
                <a:gd name="T69" fmla="*/ 58 h 1056"/>
                <a:gd name="T70" fmla="*/ 148 w 1704"/>
                <a:gd name="T71" fmla="*/ 61 h 1056"/>
                <a:gd name="T72" fmla="*/ 148 w 1704"/>
                <a:gd name="T73" fmla="*/ 64 h 1056"/>
                <a:gd name="T74" fmla="*/ 135 w 1704"/>
                <a:gd name="T75" fmla="*/ 61 h 1056"/>
                <a:gd name="T76" fmla="*/ 135 w 1704"/>
                <a:gd name="T77" fmla="*/ 66 h 1056"/>
                <a:gd name="T78" fmla="*/ 137 w 1704"/>
                <a:gd name="T79" fmla="*/ 71 h 1056"/>
                <a:gd name="T80" fmla="*/ 136 w 1704"/>
                <a:gd name="T81" fmla="*/ 79 h 1056"/>
                <a:gd name="T82" fmla="*/ 126 w 1704"/>
                <a:gd name="T83" fmla="*/ 84 h 1056"/>
                <a:gd name="T84" fmla="*/ 121 w 1704"/>
                <a:gd name="T85" fmla="*/ 79 h 1056"/>
                <a:gd name="T86" fmla="*/ 117 w 1704"/>
                <a:gd name="T87" fmla="*/ 75 h 1056"/>
                <a:gd name="T88" fmla="*/ 98 w 1704"/>
                <a:gd name="T89" fmla="*/ 74 h 1056"/>
                <a:gd name="T90" fmla="*/ 81 w 1704"/>
                <a:gd name="T91" fmla="*/ 75 h 1056"/>
                <a:gd name="T92" fmla="*/ 83 w 1704"/>
                <a:gd name="T93" fmla="*/ 88 h 1056"/>
                <a:gd name="T94" fmla="*/ 82 w 1704"/>
                <a:gd name="T95" fmla="*/ 91 h 1056"/>
                <a:gd name="T96" fmla="*/ 77 w 1704"/>
                <a:gd name="T97" fmla="*/ 90 h 1056"/>
                <a:gd name="T98" fmla="*/ 73 w 1704"/>
                <a:gd name="T99" fmla="*/ 86 h 1056"/>
                <a:gd name="T100" fmla="*/ 68 w 1704"/>
                <a:gd name="T101" fmla="*/ 85 h 1056"/>
                <a:gd name="T102" fmla="*/ 64 w 1704"/>
                <a:gd name="T103" fmla="*/ 83 h 1056"/>
                <a:gd name="T104" fmla="*/ 57 w 1704"/>
                <a:gd name="T105" fmla="*/ 81 h 1056"/>
                <a:gd name="T106" fmla="*/ 52 w 1704"/>
                <a:gd name="T107" fmla="*/ 80 h 1056"/>
                <a:gd name="T108" fmla="*/ 50 w 1704"/>
                <a:gd name="T109" fmla="*/ 80 h 1056"/>
                <a:gd name="T110" fmla="*/ 46 w 1704"/>
                <a:gd name="T111" fmla="*/ 79 h 1056"/>
                <a:gd name="T112" fmla="*/ 41 w 1704"/>
                <a:gd name="T113" fmla="*/ 78 h 10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04"/>
                <a:gd name="T172" fmla="*/ 0 h 1056"/>
                <a:gd name="T173" fmla="*/ 1704 w 1704"/>
                <a:gd name="T174" fmla="*/ 1056 h 10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04" h="1056">
                  <a:moveTo>
                    <a:pt x="450" y="888"/>
                  </a:moveTo>
                  <a:lnTo>
                    <a:pt x="420" y="888"/>
                  </a:lnTo>
                  <a:lnTo>
                    <a:pt x="414" y="888"/>
                  </a:lnTo>
                  <a:lnTo>
                    <a:pt x="396" y="888"/>
                  </a:lnTo>
                  <a:lnTo>
                    <a:pt x="372" y="888"/>
                  </a:lnTo>
                  <a:lnTo>
                    <a:pt x="366" y="888"/>
                  </a:lnTo>
                  <a:lnTo>
                    <a:pt x="360" y="888"/>
                  </a:lnTo>
                  <a:lnTo>
                    <a:pt x="348" y="888"/>
                  </a:lnTo>
                  <a:lnTo>
                    <a:pt x="330" y="894"/>
                  </a:lnTo>
                  <a:lnTo>
                    <a:pt x="324" y="894"/>
                  </a:lnTo>
                  <a:lnTo>
                    <a:pt x="312" y="888"/>
                  </a:lnTo>
                  <a:lnTo>
                    <a:pt x="300" y="888"/>
                  </a:lnTo>
                  <a:lnTo>
                    <a:pt x="282" y="888"/>
                  </a:lnTo>
                  <a:lnTo>
                    <a:pt x="270" y="888"/>
                  </a:lnTo>
                  <a:lnTo>
                    <a:pt x="240" y="882"/>
                  </a:lnTo>
                  <a:lnTo>
                    <a:pt x="222" y="882"/>
                  </a:lnTo>
                  <a:lnTo>
                    <a:pt x="198" y="882"/>
                  </a:lnTo>
                  <a:lnTo>
                    <a:pt x="174" y="894"/>
                  </a:lnTo>
                  <a:lnTo>
                    <a:pt x="162" y="900"/>
                  </a:lnTo>
                  <a:lnTo>
                    <a:pt x="144" y="906"/>
                  </a:lnTo>
                  <a:lnTo>
                    <a:pt x="126" y="912"/>
                  </a:lnTo>
                  <a:lnTo>
                    <a:pt x="102" y="924"/>
                  </a:lnTo>
                  <a:lnTo>
                    <a:pt x="78" y="930"/>
                  </a:lnTo>
                  <a:lnTo>
                    <a:pt x="72" y="936"/>
                  </a:lnTo>
                  <a:lnTo>
                    <a:pt x="30" y="954"/>
                  </a:lnTo>
                  <a:lnTo>
                    <a:pt x="12" y="966"/>
                  </a:lnTo>
                  <a:lnTo>
                    <a:pt x="12" y="954"/>
                  </a:lnTo>
                  <a:lnTo>
                    <a:pt x="12" y="930"/>
                  </a:lnTo>
                  <a:lnTo>
                    <a:pt x="12" y="894"/>
                  </a:lnTo>
                  <a:lnTo>
                    <a:pt x="30" y="828"/>
                  </a:lnTo>
                  <a:lnTo>
                    <a:pt x="36" y="798"/>
                  </a:lnTo>
                  <a:lnTo>
                    <a:pt x="18" y="774"/>
                  </a:lnTo>
                  <a:lnTo>
                    <a:pt x="18" y="756"/>
                  </a:lnTo>
                  <a:lnTo>
                    <a:pt x="6" y="738"/>
                  </a:lnTo>
                  <a:lnTo>
                    <a:pt x="0" y="714"/>
                  </a:lnTo>
                  <a:lnTo>
                    <a:pt x="12" y="678"/>
                  </a:lnTo>
                  <a:lnTo>
                    <a:pt x="18" y="678"/>
                  </a:lnTo>
                  <a:lnTo>
                    <a:pt x="24" y="672"/>
                  </a:lnTo>
                  <a:lnTo>
                    <a:pt x="30" y="666"/>
                  </a:lnTo>
                  <a:lnTo>
                    <a:pt x="42" y="648"/>
                  </a:lnTo>
                  <a:lnTo>
                    <a:pt x="66" y="648"/>
                  </a:lnTo>
                  <a:lnTo>
                    <a:pt x="108" y="648"/>
                  </a:lnTo>
                  <a:lnTo>
                    <a:pt x="174" y="642"/>
                  </a:lnTo>
                  <a:lnTo>
                    <a:pt x="216" y="636"/>
                  </a:lnTo>
                  <a:lnTo>
                    <a:pt x="240" y="630"/>
                  </a:lnTo>
                  <a:lnTo>
                    <a:pt x="246" y="618"/>
                  </a:lnTo>
                  <a:lnTo>
                    <a:pt x="264" y="600"/>
                  </a:lnTo>
                  <a:lnTo>
                    <a:pt x="294" y="582"/>
                  </a:lnTo>
                  <a:lnTo>
                    <a:pt x="318" y="552"/>
                  </a:lnTo>
                  <a:lnTo>
                    <a:pt x="330" y="546"/>
                  </a:lnTo>
                  <a:lnTo>
                    <a:pt x="348" y="510"/>
                  </a:lnTo>
                  <a:lnTo>
                    <a:pt x="372" y="474"/>
                  </a:lnTo>
                  <a:lnTo>
                    <a:pt x="384" y="444"/>
                  </a:lnTo>
                  <a:lnTo>
                    <a:pt x="396" y="420"/>
                  </a:lnTo>
                  <a:lnTo>
                    <a:pt x="402" y="378"/>
                  </a:lnTo>
                  <a:lnTo>
                    <a:pt x="402" y="228"/>
                  </a:lnTo>
                  <a:lnTo>
                    <a:pt x="414" y="186"/>
                  </a:lnTo>
                  <a:lnTo>
                    <a:pt x="432" y="138"/>
                  </a:lnTo>
                  <a:lnTo>
                    <a:pt x="438" y="114"/>
                  </a:lnTo>
                  <a:lnTo>
                    <a:pt x="444" y="96"/>
                  </a:lnTo>
                  <a:lnTo>
                    <a:pt x="462" y="84"/>
                  </a:lnTo>
                  <a:lnTo>
                    <a:pt x="474" y="78"/>
                  </a:lnTo>
                  <a:lnTo>
                    <a:pt x="492" y="72"/>
                  </a:lnTo>
                  <a:lnTo>
                    <a:pt x="492" y="66"/>
                  </a:lnTo>
                  <a:lnTo>
                    <a:pt x="498" y="66"/>
                  </a:lnTo>
                  <a:lnTo>
                    <a:pt x="510" y="66"/>
                  </a:lnTo>
                  <a:lnTo>
                    <a:pt x="510" y="72"/>
                  </a:lnTo>
                  <a:lnTo>
                    <a:pt x="516" y="72"/>
                  </a:lnTo>
                  <a:lnTo>
                    <a:pt x="522" y="78"/>
                  </a:lnTo>
                  <a:lnTo>
                    <a:pt x="546" y="78"/>
                  </a:lnTo>
                  <a:lnTo>
                    <a:pt x="552" y="60"/>
                  </a:lnTo>
                  <a:lnTo>
                    <a:pt x="570" y="42"/>
                  </a:lnTo>
                  <a:lnTo>
                    <a:pt x="576" y="24"/>
                  </a:lnTo>
                  <a:lnTo>
                    <a:pt x="588" y="18"/>
                  </a:lnTo>
                  <a:lnTo>
                    <a:pt x="588" y="12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624" y="0"/>
                  </a:lnTo>
                  <a:lnTo>
                    <a:pt x="636" y="6"/>
                  </a:lnTo>
                  <a:lnTo>
                    <a:pt x="648" y="24"/>
                  </a:lnTo>
                  <a:lnTo>
                    <a:pt x="654" y="48"/>
                  </a:lnTo>
                  <a:lnTo>
                    <a:pt x="672" y="60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0" y="72"/>
                  </a:lnTo>
                  <a:lnTo>
                    <a:pt x="690" y="78"/>
                  </a:lnTo>
                  <a:lnTo>
                    <a:pt x="696" y="90"/>
                  </a:lnTo>
                  <a:lnTo>
                    <a:pt x="714" y="114"/>
                  </a:lnTo>
                  <a:lnTo>
                    <a:pt x="714" y="120"/>
                  </a:lnTo>
                  <a:lnTo>
                    <a:pt x="720" y="132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20" y="150"/>
                  </a:lnTo>
                  <a:lnTo>
                    <a:pt x="714" y="150"/>
                  </a:lnTo>
                  <a:lnTo>
                    <a:pt x="714" y="156"/>
                  </a:lnTo>
                  <a:lnTo>
                    <a:pt x="714" y="162"/>
                  </a:lnTo>
                  <a:lnTo>
                    <a:pt x="708" y="162"/>
                  </a:lnTo>
                  <a:lnTo>
                    <a:pt x="708" y="168"/>
                  </a:lnTo>
                  <a:lnTo>
                    <a:pt x="702" y="168"/>
                  </a:lnTo>
                  <a:lnTo>
                    <a:pt x="702" y="174"/>
                  </a:lnTo>
                  <a:lnTo>
                    <a:pt x="702" y="180"/>
                  </a:lnTo>
                  <a:lnTo>
                    <a:pt x="708" y="180"/>
                  </a:lnTo>
                  <a:lnTo>
                    <a:pt x="708" y="186"/>
                  </a:lnTo>
                  <a:lnTo>
                    <a:pt x="708" y="192"/>
                  </a:lnTo>
                  <a:lnTo>
                    <a:pt x="714" y="204"/>
                  </a:lnTo>
                  <a:lnTo>
                    <a:pt x="726" y="216"/>
                  </a:lnTo>
                  <a:lnTo>
                    <a:pt x="738" y="216"/>
                  </a:lnTo>
                  <a:lnTo>
                    <a:pt x="768" y="222"/>
                  </a:lnTo>
                  <a:lnTo>
                    <a:pt x="780" y="216"/>
                  </a:lnTo>
                  <a:lnTo>
                    <a:pt x="792" y="204"/>
                  </a:lnTo>
                  <a:lnTo>
                    <a:pt x="798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6" y="192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6" y="174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22" y="156"/>
                  </a:lnTo>
                  <a:lnTo>
                    <a:pt x="822" y="150"/>
                  </a:lnTo>
                  <a:lnTo>
                    <a:pt x="828" y="144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8" y="138"/>
                  </a:lnTo>
                  <a:lnTo>
                    <a:pt x="834" y="132"/>
                  </a:lnTo>
                  <a:lnTo>
                    <a:pt x="840" y="132"/>
                  </a:lnTo>
                  <a:lnTo>
                    <a:pt x="864" y="126"/>
                  </a:lnTo>
                  <a:lnTo>
                    <a:pt x="906" y="144"/>
                  </a:lnTo>
                  <a:lnTo>
                    <a:pt x="906" y="150"/>
                  </a:lnTo>
                  <a:lnTo>
                    <a:pt x="906" y="156"/>
                  </a:lnTo>
                  <a:lnTo>
                    <a:pt x="900" y="162"/>
                  </a:lnTo>
                  <a:lnTo>
                    <a:pt x="924" y="168"/>
                  </a:lnTo>
                  <a:lnTo>
                    <a:pt x="942" y="192"/>
                  </a:lnTo>
                  <a:lnTo>
                    <a:pt x="972" y="210"/>
                  </a:lnTo>
                  <a:lnTo>
                    <a:pt x="972" y="216"/>
                  </a:lnTo>
                  <a:lnTo>
                    <a:pt x="972" y="228"/>
                  </a:lnTo>
                  <a:lnTo>
                    <a:pt x="978" y="234"/>
                  </a:lnTo>
                  <a:lnTo>
                    <a:pt x="978" y="246"/>
                  </a:lnTo>
                  <a:lnTo>
                    <a:pt x="984" y="252"/>
                  </a:lnTo>
                  <a:lnTo>
                    <a:pt x="1014" y="252"/>
                  </a:lnTo>
                  <a:lnTo>
                    <a:pt x="1020" y="228"/>
                  </a:lnTo>
                  <a:lnTo>
                    <a:pt x="1026" y="198"/>
                  </a:lnTo>
                  <a:lnTo>
                    <a:pt x="1050" y="186"/>
                  </a:lnTo>
                  <a:lnTo>
                    <a:pt x="1056" y="180"/>
                  </a:lnTo>
                  <a:lnTo>
                    <a:pt x="1050" y="174"/>
                  </a:lnTo>
                  <a:lnTo>
                    <a:pt x="1050" y="168"/>
                  </a:lnTo>
                  <a:lnTo>
                    <a:pt x="1050" y="162"/>
                  </a:lnTo>
                  <a:lnTo>
                    <a:pt x="1056" y="162"/>
                  </a:lnTo>
                  <a:lnTo>
                    <a:pt x="1062" y="162"/>
                  </a:lnTo>
                  <a:lnTo>
                    <a:pt x="1074" y="162"/>
                  </a:lnTo>
                  <a:lnTo>
                    <a:pt x="1074" y="144"/>
                  </a:lnTo>
                  <a:lnTo>
                    <a:pt x="1074" y="120"/>
                  </a:lnTo>
                  <a:lnTo>
                    <a:pt x="1092" y="120"/>
                  </a:lnTo>
                  <a:lnTo>
                    <a:pt x="1098" y="126"/>
                  </a:lnTo>
                  <a:lnTo>
                    <a:pt x="1134" y="132"/>
                  </a:lnTo>
                  <a:lnTo>
                    <a:pt x="1146" y="132"/>
                  </a:lnTo>
                  <a:lnTo>
                    <a:pt x="1158" y="150"/>
                  </a:lnTo>
                  <a:lnTo>
                    <a:pt x="1158" y="156"/>
                  </a:lnTo>
                  <a:lnTo>
                    <a:pt x="1158" y="162"/>
                  </a:lnTo>
                  <a:lnTo>
                    <a:pt x="1158" y="180"/>
                  </a:lnTo>
                  <a:lnTo>
                    <a:pt x="1158" y="186"/>
                  </a:lnTo>
                  <a:lnTo>
                    <a:pt x="1164" y="192"/>
                  </a:lnTo>
                  <a:lnTo>
                    <a:pt x="1176" y="198"/>
                  </a:lnTo>
                  <a:lnTo>
                    <a:pt x="1182" y="198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8"/>
                  </a:lnTo>
                  <a:lnTo>
                    <a:pt x="1188" y="234"/>
                  </a:lnTo>
                  <a:lnTo>
                    <a:pt x="1212" y="234"/>
                  </a:lnTo>
                  <a:lnTo>
                    <a:pt x="1242" y="234"/>
                  </a:lnTo>
                  <a:lnTo>
                    <a:pt x="1248" y="234"/>
                  </a:lnTo>
                  <a:lnTo>
                    <a:pt x="1278" y="240"/>
                  </a:lnTo>
                  <a:lnTo>
                    <a:pt x="1320" y="234"/>
                  </a:lnTo>
                  <a:lnTo>
                    <a:pt x="1332" y="228"/>
                  </a:lnTo>
                  <a:lnTo>
                    <a:pt x="1344" y="228"/>
                  </a:lnTo>
                  <a:lnTo>
                    <a:pt x="1350" y="234"/>
                  </a:lnTo>
                  <a:lnTo>
                    <a:pt x="1350" y="240"/>
                  </a:lnTo>
                  <a:lnTo>
                    <a:pt x="1356" y="246"/>
                  </a:lnTo>
                  <a:lnTo>
                    <a:pt x="1350" y="252"/>
                  </a:lnTo>
                  <a:lnTo>
                    <a:pt x="1356" y="264"/>
                  </a:lnTo>
                  <a:lnTo>
                    <a:pt x="1356" y="270"/>
                  </a:lnTo>
                  <a:lnTo>
                    <a:pt x="1356" y="276"/>
                  </a:lnTo>
                  <a:lnTo>
                    <a:pt x="1356" y="282"/>
                  </a:lnTo>
                  <a:lnTo>
                    <a:pt x="1356" y="288"/>
                  </a:lnTo>
                  <a:lnTo>
                    <a:pt x="1350" y="294"/>
                  </a:lnTo>
                  <a:lnTo>
                    <a:pt x="1344" y="300"/>
                  </a:lnTo>
                  <a:lnTo>
                    <a:pt x="1344" y="306"/>
                  </a:lnTo>
                  <a:lnTo>
                    <a:pt x="1338" y="312"/>
                  </a:lnTo>
                  <a:lnTo>
                    <a:pt x="1326" y="342"/>
                  </a:lnTo>
                  <a:lnTo>
                    <a:pt x="1320" y="348"/>
                  </a:lnTo>
                  <a:lnTo>
                    <a:pt x="1314" y="354"/>
                  </a:lnTo>
                  <a:lnTo>
                    <a:pt x="1290" y="354"/>
                  </a:lnTo>
                  <a:lnTo>
                    <a:pt x="1284" y="360"/>
                  </a:lnTo>
                  <a:lnTo>
                    <a:pt x="1278" y="378"/>
                  </a:lnTo>
                  <a:lnTo>
                    <a:pt x="1278" y="384"/>
                  </a:lnTo>
                  <a:lnTo>
                    <a:pt x="1272" y="390"/>
                  </a:lnTo>
                  <a:lnTo>
                    <a:pt x="1266" y="396"/>
                  </a:lnTo>
                  <a:lnTo>
                    <a:pt x="1260" y="396"/>
                  </a:lnTo>
                  <a:lnTo>
                    <a:pt x="1248" y="402"/>
                  </a:lnTo>
                  <a:lnTo>
                    <a:pt x="1242" y="408"/>
                  </a:lnTo>
                  <a:lnTo>
                    <a:pt x="1242" y="414"/>
                  </a:lnTo>
                  <a:lnTo>
                    <a:pt x="1242" y="420"/>
                  </a:lnTo>
                  <a:lnTo>
                    <a:pt x="1236" y="432"/>
                  </a:lnTo>
                  <a:lnTo>
                    <a:pt x="1242" y="432"/>
                  </a:lnTo>
                  <a:lnTo>
                    <a:pt x="1242" y="444"/>
                  </a:lnTo>
                  <a:lnTo>
                    <a:pt x="1242" y="456"/>
                  </a:lnTo>
                  <a:lnTo>
                    <a:pt x="1248" y="456"/>
                  </a:lnTo>
                  <a:lnTo>
                    <a:pt x="1254" y="462"/>
                  </a:lnTo>
                  <a:lnTo>
                    <a:pt x="1248" y="468"/>
                  </a:lnTo>
                  <a:lnTo>
                    <a:pt x="1254" y="468"/>
                  </a:lnTo>
                  <a:lnTo>
                    <a:pt x="1266" y="474"/>
                  </a:lnTo>
                  <a:lnTo>
                    <a:pt x="1266" y="480"/>
                  </a:lnTo>
                  <a:lnTo>
                    <a:pt x="1266" y="486"/>
                  </a:lnTo>
                  <a:lnTo>
                    <a:pt x="1272" y="486"/>
                  </a:lnTo>
                  <a:lnTo>
                    <a:pt x="1272" y="492"/>
                  </a:lnTo>
                  <a:lnTo>
                    <a:pt x="1290" y="510"/>
                  </a:lnTo>
                  <a:lnTo>
                    <a:pt x="1296" y="516"/>
                  </a:lnTo>
                  <a:lnTo>
                    <a:pt x="1302" y="540"/>
                  </a:lnTo>
                  <a:lnTo>
                    <a:pt x="1302" y="546"/>
                  </a:lnTo>
                  <a:lnTo>
                    <a:pt x="1302" y="558"/>
                  </a:lnTo>
                  <a:lnTo>
                    <a:pt x="1302" y="570"/>
                  </a:lnTo>
                  <a:lnTo>
                    <a:pt x="1302" y="576"/>
                  </a:lnTo>
                  <a:lnTo>
                    <a:pt x="1344" y="570"/>
                  </a:lnTo>
                  <a:lnTo>
                    <a:pt x="1350" y="582"/>
                  </a:lnTo>
                  <a:lnTo>
                    <a:pt x="1368" y="594"/>
                  </a:lnTo>
                  <a:lnTo>
                    <a:pt x="1374" y="600"/>
                  </a:lnTo>
                  <a:lnTo>
                    <a:pt x="1380" y="600"/>
                  </a:lnTo>
                  <a:lnTo>
                    <a:pt x="1380" y="618"/>
                  </a:lnTo>
                  <a:lnTo>
                    <a:pt x="1386" y="624"/>
                  </a:lnTo>
                  <a:lnTo>
                    <a:pt x="1404" y="624"/>
                  </a:lnTo>
                  <a:lnTo>
                    <a:pt x="1410" y="612"/>
                  </a:lnTo>
                  <a:lnTo>
                    <a:pt x="1428" y="606"/>
                  </a:lnTo>
                  <a:lnTo>
                    <a:pt x="1488" y="606"/>
                  </a:lnTo>
                  <a:lnTo>
                    <a:pt x="1506" y="606"/>
                  </a:lnTo>
                  <a:lnTo>
                    <a:pt x="1512" y="600"/>
                  </a:lnTo>
                  <a:lnTo>
                    <a:pt x="1524" y="594"/>
                  </a:lnTo>
                  <a:lnTo>
                    <a:pt x="1554" y="594"/>
                  </a:lnTo>
                  <a:lnTo>
                    <a:pt x="1578" y="606"/>
                  </a:lnTo>
                  <a:lnTo>
                    <a:pt x="1596" y="624"/>
                  </a:lnTo>
                  <a:lnTo>
                    <a:pt x="1650" y="642"/>
                  </a:lnTo>
                  <a:lnTo>
                    <a:pt x="1686" y="648"/>
                  </a:lnTo>
                  <a:lnTo>
                    <a:pt x="1698" y="654"/>
                  </a:lnTo>
                  <a:lnTo>
                    <a:pt x="1698" y="660"/>
                  </a:lnTo>
                  <a:lnTo>
                    <a:pt x="1692" y="666"/>
                  </a:lnTo>
                  <a:lnTo>
                    <a:pt x="1692" y="672"/>
                  </a:lnTo>
                  <a:lnTo>
                    <a:pt x="1698" y="678"/>
                  </a:lnTo>
                  <a:lnTo>
                    <a:pt x="1698" y="684"/>
                  </a:lnTo>
                  <a:lnTo>
                    <a:pt x="1692" y="684"/>
                  </a:lnTo>
                  <a:lnTo>
                    <a:pt x="1692" y="690"/>
                  </a:lnTo>
                  <a:lnTo>
                    <a:pt x="1698" y="696"/>
                  </a:lnTo>
                  <a:lnTo>
                    <a:pt x="1698" y="702"/>
                  </a:lnTo>
                  <a:lnTo>
                    <a:pt x="1698" y="708"/>
                  </a:lnTo>
                  <a:lnTo>
                    <a:pt x="1704" y="714"/>
                  </a:lnTo>
                  <a:lnTo>
                    <a:pt x="1704" y="720"/>
                  </a:lnTo>
                  <a:lnTo>
                    <a:pt x="1704" y="726"/>
                  </a:lnTo>
                  <a:lnTo>
                    <a:pt x="1704" y="732"/>
                  </a:lnTo>
                  <a:lnTo>
                    <a:pt x="1704" y="738"/>
                  </a:lnTo>
                  <a:lnTo>
                    <a:pt x="1698" y="726"/>
                  </a:lnTo>
                  <a:lnTo>
                    <a:pt x="1668" y="720"/>
                  </a:lnTo>
                  <a:lnTo>
                    <a:pt x="1626" y="714"/>
                  </a:lnTo>
                  <a:lnTo>
                    <a:pt x="1614" y="708"/>
                  </a:lnTo>
                  <a:lnTo>
                    <a:pt x="1578" y="696"/>
                  </a:lnTo>
                  <a:lnTo>
                    <a:pt x="1566" y="696"/>
                  </a:lnTo>
                  <a:lnTo>
                    <a:pt x="1548" y="702"/>
                  </a:lnTo>
                  <a:lnTo>
                    <a:pt x="1542" y="714"/>
                  </a:lnTo>
                  <a:lnTo>
                    <a:pt x="1536" y="732"/>
                  </a:lnTo>
                  <a:lnTo>
                    <a:pt x="1530" y="750"/>
                  </a:lnTo>
                  <a:lnTo>
                    <a:pt x="1536" y="750"/>
                  </a:lnTo>
                  <a:lnTo>
                    <a:pt x="1542" y="756"/>
                  </a:lnTo>
                  <a:lnTo>
                    <a:pt x="1542" y="762"/>
                  </a:lnTo>
                  <a:lnTo>
                    <a:pt x="1548" y="762"/>
                  </a:lnTo>
                  <a:lnTo>
                    <a:pt x="1554" y="762"/>
                  </a:lnTo>
                  <a:lnTo>
                    <a:pt x="1554" y="768"/>
                  </a:lnTo>
                  <a:lnTo>
                    <a:pt x="1560" y="774"/>
                  </a:lnTo>
                  <a:lnTo>
                    <a:pt x="1566" y="774"/>
                  </a:lnTo>
                  <a:lnTo>
                    <a:pt x="1584" y="792"/>
                  </a:lnTo>
                  <a:lnTo>
                    <a:pt x="1584" y="810"/>
                  </a:lnTo>
                  <a:lnTo>
                    <a:pt x="1572" y="816"/>
                  </a:lnTo>
                  <a:lnTo>
                    <a:pt x="1578" y="834"/>
                  </a:lnTo>
                  <a:lnTo>
                    <a:pt x="1578" y="846"/>
                  </a:lnTo>
                  <a:lnTo>
                    <a:pt x="1584" y="858"/>
                  </a:lnTo>
                  <a:lnTo>
                    <a:pt x="1590" y="864"/>
                  </a:lnTo>
                  <a:lnTo>
                    <a:pt x="1590" y="876"/>
                  </a:lnTo>
                  <a:lnTo>
                    <a:pt x="1578" y="888"/>
                  </a:lnTo>
                  <a:lnTo>
                    <a:pt x="1560" y="906"/>
                  </a:lnTo>
                  <a:lnTo>
                    <a:pt x="1536" y="930"/>
                  </a:lnTo>
                  <a:lnTo>
                    <a:pt x="1530" y="930"/>
                  </a:lnTo>
                  <a:lnTo>
                    <a:pt x="1506" y="942"/>
                  </a:lnTo>
                  <a:lnTo>
                    <a:pt x="1488" y="948"/>
                  </a:lnTo>
                  <a:lnTo>
                    <a:pt x="1476" y="954"/>
                  </a:lnTo>
                  <a:lnTo>
                    <a:pt x="1458" y="960"/>
                  </a:lnTo>
                  <a:lnTo>
                    <a:pt x="1452" y="966"/>
                  </a:lnTo>
                  <a:lnTo>
                    <a:pt x="1446" y="966"/>
                  </a:lnTo>
                  <a:lnTo>
                    <a:pt x="1434" y="972"/>
                  </a:lnTo>
                  <a:lnTo>
                    <a:pt x="1434" y="954"/>
                  </a:lnTo>
                  <a:lnTo>
                    <a:pt x="1422" y="942"/>
                  </a:lnTo>
                  <a:lnTo>
                    <a:pt x="1398" y="924"/>
                  </a:lnTo>
                  <a:lnTo>
                    <a:pt x="1398" y="912"/>
                  </a:lnTo>
                  <a:lnTo>
                    <a:pt x="1398" y="906"/>
                  </a:lnTo>
                  <a:lnTo>
                    <a:pt x="1398" y="900"/>
                  </a:lnTo>
                  <a:lnTo>
                    <a:pt x="1380" y="900"/>
                  </a:lnTo>
                  <a:lnTo>
                    <a:pt x="1380" y="894"/>
                  </a:lnTo>
                  <a:lnTo>
                    <a:pt x="1368" y="888"/>
                  </a:lnTo>
                  <a:lnTo>
                    <a:pt x="1362" y="882"/>
                  </a:lnTo>
                  <a:lnTo>
                    <a:pt x="1356" y="876"/>
                  </a:lnTo>
                  <a:lnTo>
                    <a:pt x="1350" y="864"/>
                  </a:lnTo>
                  <a:lnTo>
                    <a:pt x="1344" y="858"/>
                  </a:lnTo>
                  <a:lnTo>
                    <a:pt x="1314" y="870"/>
                  </a:lnTo>
                  <a:lnTo>
                    <a:pt x="1272" y="876"/>
                  </a:lnTo>
                  <a:lnTo>
                    <a:pt x="1218" y="870"/>
                  </a:lnTo>
                  <a:lnTo>
                    <a:pt x="1200" y="864"/>
                  </a:lnTo>
                  <a:lnTo>
                    <a:pt x="1182" y="864"/>
                  </a:lnTo>
                  <a:lnTo>
                    <a:pt x="1134" y="858"/>
                  </a:lnTo>
                  <a:lnTo>
                    <a:pt x="1110" y="840"/>
                  </a:lnTo>
                  <a:lnTo>
                    <a:pt x="1086" y="828"/>
                  </a:lnTo>
                  <a:lnTo>
                    <a:pt x="1044" y="816"/>
                  </a:lnTo>
                  <a:lnTo>
                    <a:pt x="1014" y="816"/>
                  </a:lnTo>
                  <a:lnTo>
                    <a:pt x="990" y="822"/>
                  </a:lnTo>
                  <a:lnTo>
                    <a:pt x="948" y="858"/>
                  </a:lnTo>
                  <a:lnTo>
                    <a:pt x="930" y="864"/>
                  </a:lnTo>
                  <a:lnTo>
                    <a:pt x="924" y="876"/>
                  </a:lnTo>
                  <a:lnTo>
                    <a:pt x="918" y="906"/>
                  </a:lnTo>
                  <a:lnTo>
                    <a:pt x="924" y="930"/>
                  </a:lnTo>
                  <a:lnTo>
                    <a:pt x="948" y="984"/>
                  </a:lnTo>
                  <a:lnTo>
                    <a:pt x="954" y="1008"/>
                  </a:lnTo>
                  <a:lnTo>
                    <a:pt x="948" y="1014"/>
                  </a:lnTo>
                  <a:lnTo>
                    <a:pt x="954" y="1014"/>
                  </a:lnTo>
                  <a:lnTo>
                    <a:pt x="954" y="1032"/>
                  </a:lnTo>
                  <a:lnTo>
                    <a:pt x="966" y="1044"/>
                  </a:lnTo>
                  <a:lnTo>
                    <a:pt x="960" y="1056"/>
                  </a:lnTo>
                  <a:lnTo>
                    <a:pt x="954" y="1056"/>
                  </a:lnTo>
                  <a:lnTo>
                    <a:pt x="948" y="1056"/>
                  </a:lnTo>
                  <a:lnTo>
                    <a:pt x="942" y="1056"/>
                  </a:lnTo>
                  <a:lnTo>
                    <a:pt x="936" y="1050"/>
                  </a:lnTo>
                  <a:lnTo>
                    <a:pt x="930" y="1044"/>
                  </a:lnTo>
                  <a:lnTo>
                    <a:pt x="924" y="1044"/>
                  </a:lnTo>
                  <a:lnTo>
                    <a:pt x="918" y="1038"/>
                  </a:lnTo>
                  <a:lnTo>
                    <a:pt x="912" y="1038"/>
                  </a:lnTo>
                  <a:lnTo>
                    <a:pt x="906" y="1032"/>
                  </a:lnTo>
                  <a:lnTo>
                    <a:pt x="900" y="1032"/>
                  </a:lnTo>
                  <a:lnTo>
                    <a:pt x="888" y="1026"/>
                  </a:lnTo>
                  <a:lnTo>
                    <a:pt x="882" y="1026"/>
                  </a:lnTo>
                  <a:lnTo>
                    <a:pt x="876" y="1026"/>
                  </a:lnTo>
                  <a:lnTo>
                    <a:pt x="864" y="1014"/>
                  </a:lnTo>
                  <a:lnTo>
                    <a:pt x="846" y="1008"/>
                  </a:lnTo>
                  <a:lnTo>
                    <a:pt x="840" y="996"/>
                  </a:lnTo>
                  <a:lnTo>
                    <a:pt x="840" y="990"/>
                  </a:lnTo>
                  <a:lnTo>
                    <a:pt x="834" y="990"/>
                  </a:lnTo>
                  <a:lnTo>
                    <a:pt x="828" y="990"/>
                  </a:lnTo>
                  <a:lnTo>
                    <a:pt x="816" y="990"/>
                  </a:lnTo>
                  <a:lnTo>
                    <a:pt x="810" y="990"/>
                  </a:lnTo>
                  <a:lnTo>
                    <a:pt x="804" y="984"/>
                  </a:lnTo>
                  <a:lnTo>
                    <a:pt x="792" y="978"/>
                  </a:lnTo>
                  <a:lnTo>
                    <a:pt x="786" y="972"/>
                  </a:lnTo>
                  <a:lnTo>
                    <a:pt x="780" y="972"/>
                  </a:lnTo>
                  <a:lnTo>
                    <a:pt x="768" y="966"/>
                  </a:lnTo>
                  <a:lnTo>
                    <a:pt x="762" y="966"/>
                  </a:lnTo>
                  <a:lnTo>
                    <a:pt x="756" y="966"/>
                  </a:lnTo>
                  <a:lnTo>
                    <a:pt x="750" y="966"/>
                  </a:lnTo>
                  <a:lnTo>
                    <a:pt x="744" y="966"/>
                  </a:lnTo>
                  <a:lnTo>
                    <a:pt x="738" y="960"/>
                  </a:lnTo>
                  <a:lnTo>
                    <a:pt x="732" y="954"/>
                  </a:lnTo>
                  <a:lnTo>
                    <a:pt x="720" y="954"/>
                  </a:lnTo>
                  <a:lnTo>
                    <a:pt x="714" y="948"/>
                  </a:lnTo>
                  <a:lnTo>
                    <a:pt x="708" y="948"/>
                  </a:lnTo>
                  <a:lnTo>
                    <a:pt x="696" y="948"/>
                  </a:lnTo>
                  <a:lnTo>
                    <a:pt x="684" y="942"/>
                  </a:lnTo>
                  <a:lnTo>
                    <a:pt x="678" y="936"/>
                  </a:lnTo>
                  <a:lnTo>
                    <a:pt x="660" y="930"/>
                  </a:lnTo>
                  <a:lnTo>
                    <a:pt x="642" y="924"/>
                  </a:lnTo>
                  <a:lnTo>
                    <a:pt x="636" y="924"/>
                  </a:lnTo>
                  <a:lnTo>
                    <a:pt x="630" y="924"/>
                  </a:lnTo>
                  <a:lnTo>
                    <a:pt x="618" y="924"/>
                  </a:lnTo>
                  <a:lnTo>
                    <a:pt x="618" y="918"/>
                  </a:lnTo>
                  <a:lnTo>
                    <a:pt x="606" y="918"/>
                  </a:lnTo>
                  <a:lnTo>
                    <a:pt x="600" y="918"/>
                  </a:lnTo>
                  <a:lnTo>
                    <a:pt x="594" y="918"/>
                  </a:lnTo>
                  <a:lnTo>
                    <a:pt x="594" y="912"/>
                  </a:lnTo>
                  <a:lnTo>
                    <a:pt x="588" y="912"/>
                  </a:lnTo>
                  <a:lnTo>
                    <a:pt x="582" y="912"/>
                  </a:lnTo>
                  <a:lnTo>
                    <a:pt x="582" y="918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58" y="918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12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00"/>
                  </a:lnTo>
                  <a:lnTo>
                    <a:pt x="516" y="900"/>
                  </a:lnTo>
                  <a:lnTo>
                    <a:pt x="510" y="900"/>
                  </a:lnTo>
                  <a:lnTo>
                    <a:pt x="486" y="894"/>
                  </a:lnTo>
                  <a:lnTo>
                    <a:pt x="474" y="888"/>
                  </a:lnTo>
                  <a:lnTo>
                    <a:pt x="468" y="888"/>
                  </a:lnTo>
                  <a:lnTo>
                    <a:pt x="450" y="88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0" name="Freeform 15">
              <a:extLst>
                <a:ext uri="{FF2B5EF4-FFF2-40B4-BE49-F238E27FC236}">
                  <a16:creationId xmlns:a16="http://schemas.microsoft.com/office/drawing/2014/main" id="{8B991D7A-45C6-40F6-A035-24DFC733305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382" y="2652043"/>
              <a:ext cx="724526" cy="695552"/>
            </a:xfrm>
            <a:custGeom>
              <a:avLst/>
              <a:gdLst>
                <a:gd name="T0" fmla="*/ 44 w 1362"/>
                <a:gd name="T1" fmla="*/ 106 h 1308"/>
                <a:gd name="T2" fmla="*/ 32 w 1362"/>
                <a:gd name="T3" fmla="*/ 109 h 1308"/>
                <a:gd name="T4" fmla="*/ 25 w 1362"/>
                <a:gd name="T5" fmla="*/ 105 h 1308"/>
                <a:gd name="T6" fmla="*/ 22 w 1362"/>
                <a:gd name="T7" fmla="*/ 97 h 1308"/>
                <a:gd name="T8" fmla="*/ 21 w 1362"/>
                <a:gd name="T9" fmla="*/ 95 h 1308"/>
                <a:gd name="T10" fmla="*/ 20 w 1362"/>
                <a:gd name="T11" fmla="*/ 90 h 1308"/>
                <a:gd name="T12" fmla="*/ 23 w 1362"/>
                <a:gd name="T13" fmla="*/ 87 h 1308"/>
                <a:gd name="T14" fmla="*/ 29 w 1362"/>
                <a:gd name="T15" fmla="*/ 81 h 1308"/>
                <a:gd name="T16" fmla="*/ 30 w 1362"/>
                <a:gd name="T17" fmla="*/ 78 h 1308"/>
                <a:gd name="T18" fmla="*/ 27 w 1362"/>
                <a:gd name="T19" fmla="*/ 75 h 1308"/>
                <a:gd name="T20" fmla="*/ 15 w 1362"/>
                <a:gd name="T21" fmla="*/ 73 h 1308"/>
                <a:gd name="T22" fmla="*/ 12 w 1362"/>
                <a:gd name="T23" fmla="*/ 69 h 1308"/>
                <a:gd name="T24" fmla="*/ 5 w 1362"/>
                <a:gd name="T25" fmla="*/ 65 h 1308"/>
                <a:gd name="T26" fmla="*/ 6 w 1362"/>
                <a:gd name="T27" fmla="*/ 62 h 1308"/>
                <a:gd name="T28" fmla="*/ 7 w 1362"/>
                <a:gd name="T29" fmla="*/ 56 h 1308"/>
                <a:gd name="T30" fmla="*/ 2 w 1362"/>
                <a:gd name="T31" fmla="*/ 49 h 1308"/>
                <a:gd name="T32" fmla="*/ 0 w 1362"/>
                <a:gd name="T33" fmla="*/ 44 h 1308"/>
                <a:gd name="T34" fmla="*/ 0 w 1362"/>
                <a:gd name="T35" fmla="*/ 39 h 1308"/>
                <a:gd name="T36" fmla="*/ 3 w 1362"/>
                <a:gd name="T37" fmla="*/ 35 h 1308"/>
                <a:gd name="T38" fmla="*/ 3 w 1362"/>
                <a:gd name="T39" fmla="*/ 28 h 1308"/>
                <a:gd name="T40" fmla="*/ 6 w 1362"/>
                <a:gd name="T41" fmla="*/ 18 h 1308"/>
                <a:gd name="T42" fmla="*/ 6 w 1362"/>
                <a:gd name="T43" fmla="*/ 8 h 1308"/>
                <a:gd name="T44" fmla="*/ 10 w 1362"/>
                <a:gd name="T45" fmla="*/ 5 h 1308"/>
                <a:gd name="T46" fmla="*/ 15 w 1362"/>
                <a:gd name="T47" fmla="*/ 0 h 1308"/>
                <a:gd name="T48" fmla="*/ 21 w 1362"/>
                <a:gd name="T49" fmla="*/ 7 h 1308"/>
                <a:gd name="T50" fmla="*/ 25 w 1362"/>
                <a:gd name="T51" fmla="*/ 15 h 1308"/>
                <a:gd name="T52" fmla="*/ 24 w 1362"/>
                <a:gd name="T53" fmla="*/ 19 h 1308"/>
                <a:gd name="T54" fmla="*/ 32 w 1362"/>
                <a:gd name="T55" fmla="*/ 19 h 1308"/>
                <a:gd name="T56" fmla="*/ 35 w 1362"/>
                <a:gd name="T57" fmla="*/ 20 h 1308"/>
                <a:gd name="T58" fmla="*/ 40 w 1362"/>
                <a:gd name="T59" fmla="*/ 23 h 1308"/>
                <a:gd name="T60" fmla="*/ 40 w 1362"/>
                <a:gd name="T61" fmla="*/ 26 h 1308"/>
                <a:gd name="T62" fmla="*/ 34 w 1362"/>
                <a:gd name="T63" fmla="*/ 35 h 1308"/>
                <a:gd name="T64" fmla="*/ 41 w 1362"/>
                <a:gd name="T65" fmla="*/ 37 h 1308"/>
                <a:gd name="T66" fmla="*/ 43 w 1362"/>
                <a:gd name="T67" fmla="*/ 44 h 1308"/>
                <a:gd name="T68" fmla="*/ 48 w 1362"/>
                <a:gd name="T69" fmla="*/ 47 h 1308"/>
                <a:gd name="T70" fmla="*/ 57 w 1362"/>
                <a:gd name="T71" fmla="*/ 48 h 1308"/>
                <a:gd name="T72" fmla="*/ 70 w 1362"/>
                <a:gd name="T73" fmla="*/ 44 h 1308"/>
                <a:gd name="T74" fmla="*/ 80 w 1362"/>
                <a:gd name="T75" fmla="*/ 34 h 1308"/>
                <a:gd name="T76" fmla="*/ 95 w 1362"/>
                <a:gd name="T77" fmla="*/ 41 h 1308"/>
                <a:gd name="T78" fmla="*/ 109 w 1362"/>
                <a:gd name="T79" fmla="*/ 47 h 1308"/>
                <a:gd name="T80" fmla="*/ 111 w 1362"/>
                <a:gd name="T81" fmla="*/ 50 h 1308"/>
                <a:gd name="T82" fmla="*/ 113 w 1362"/>
                <a:gd name="T83" fmla="*/ 53 h 1308"/>
                <a:gd name="T84" fmla="*/ 113 w 1362"/>
                <a:gd name="T85" fmla="*/ 55 h 1308"/>
                <a:gd name="T86" fmla="*/ 113 w 1362"/>
                <a:gd name="T87" fmla="*/ 59 h 1308"/>
                <a:gd name="T88" fmla="*/ 113 w 1362"/>
                <a:gd name="T89" fmla="*/ 62 h 1308"/>
                <a:gd name="T90" fmla="*/ 115 w 1362"/>
                <a:gd name="T91" fmla="*/ 65 h 1308"/>
                <a:gd name="T92" fmla="*/ 115 w 1362"/>
                <a:gd name="T93" fmla="*/ 67 h 1308"/>
                <a:gd name="T94" fmla="*/ 116 w 1362"/>
                <a:gd name="T95" fmla="*/ 69 h 1308"/>
                <a:gd name="T96" fmla="*/ 116 w 1362"/>
                <a:gd name="T97" fmla="*/ 71 h 1308"/>
                <a:gd name="T98" fmla="*/ 118 w 1362"/>
                <a:gd name="T99" fmla="*/ 75 h 1308"/>
                <a:gd name="T100" fmla="*/ 116 w 1362"/>
                <a:gd name="T101" fmla="*/ 77 h 1308"/>
                <a:gd name="T102" fmla="*/ 116 w 1362"/>
                <a:gd name="T103" fmla="*/ 79 h 1308"/>
                <a:gd name="T104" fmla="*/ 101 w 1362"/>
                <a:gd name="T105" fmla="*/ 87 h 1308"/>
                <a:gd name="T106" fmla="*/ 85 w 1362"/>
                <a:gd name="T107" fmla="*/ 103 h 1308"/>
                <a:gd name="T108" fmla="*/ 67 w 1362"/>
                <a:gd name="T109" fmla="*/ 114 h 130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62"/>
                <a:gd name="T166" fmla="*/ 0 h 1308"/>
                <a:gd name="T167" fmla="*/ 1362 w 1362"/>
                <a:gd name="T168" fmla="*/ 1308 h 130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62" h="1308">
                  <a:moveTo>
                    <a:pt x="684" y="1278"/>
                  </a:moveTo>
                  <a:lnTo>
                    <a:pt x="672" y="1272"/>
                  </a:lnTo>
                  <a:lnTo>
                    <a:pt x="636" y="1266"/>
                  </a:lnTo>
                  <a:lnTo>
                    <a:pt x="582" y="1248"/>
                  </a:lnTo>
                  <a:lnTo>
                    <a:pt x="564" y="1230"/>
                  </a:lnTo>
                  <a:lnTo>
                    <a:pt x="540" y="1218"/>
                  </a:lnTo>
                  <a:lnTo>
                    <a:pt x="510" y="1218"/>
                  </a:lnTo>
                  <a:lnTo>
                    <a:pt x="498" y="1224"/>
                  </a:lnTo>
                  <a:lnTo>
                    <a:pt x="492" y="1230"/>
                  </a:lnTo>
                  <a:lnTo>
                    <a:pt x="474" y="1230"/>
                  </a:lnTo>
                  <a:lnTo>
                    <a:pt x="414" y="1230"/>
                  </a:lnTo>
                  <a:lnTo>
                    <a:pt x="396" y="1236"/>
                  </a:lnTo>
                  <a:lnTo>
                    <a:pt x="390" y="1248"/>
                  </a:lnTo>
                  <a:lnTo>
                    <a:pt x="372" y="1248"/>
                  </a:lnTo>
                  <a:lnTo>
                    <a:pt x="366" y="1242"/>
                  </a:lnTo>
                  <a:lnTo>
                    <a:pt x="366" y="1224"/>
                  </a:lnTo>
                  <a:lnTo>
                    <a:pt x="360" y="1224"/>
                  </a:lnTo>
                  <a:lnTo>
                    <a:pt x="354" y="1218"/>
                  </a:lnTo>
                  <a:lnTo>
                    <a:pt x="336" y="1206"/>
                  </a:lnTo>
                  <a:lnTo>
                    <a:pt x="330" y="1194"/>
                  </a:lnTo>
                  <a:lnTo>
                    <a:pt x="288" y="1200"/>
                  </a:lnTo>
                  <a:lnTo>
                    <a:pt x="288" y="1194"/>
                  </a:lnTo>
                  <a:lnTo>
                    <a:pt x="288" y="1182"/>
                  </a:lnTo>
                  <a:lnTo>
                    <a:pt x="288" y="1170"/>
                  </a:lnTo>
                  <a:lnTo>
                    <a:pt x="288" y="1164"/>
                  </a:lnTo>
                  <a:lnTo>
                    <a:pt x="282" y="1140"/>
                  </a:lnTo>
                  <a:lnTo>
                    <a:pt x="276" y="1134"/>
                  </a:lnTo>
                  <a:lnTo>
                    <a:pt x="258" y="1116"/>
                  </a:lnTo>
                  <a:lnTo>
                    <a:pt x="258" y="1110"/>
                  </a:lnTo>
                  <a:lnTo>
                    <a:pt x="252" y="1110"/>
                  </a:lnTo>
                  <a:lnTo>
                    <a:pt x="252" y="1104"/>
                  </a:lnTo>
                  <a:lnTo>
                    <a:pt x="252" y="1098"/>
                  </a:lnTo>
                  <a:lnTo>
                    <a:pt x="240" y="1092"/>
                  </a:lnTo>
                  <a:lnTo>
                    <a:pt x="234" y="1092"/>
                  </a:lnTo>
                  <a:lnTo>
                    <a:pt x="240" y="1086"/>
                  </a:lnTo>
                  <a:lnTo>
                    <a:pt x="234" y="1080"/>
                  </a:lnTo>
                  <a:lnTo>
                    <a:pt x="228" y="1080"/>
                  </a:lnTo>
                  <a:lnTo>
                    <a:pt x="228" y="1068"/>
                  </a:lnTo>
                  <a:lnTo>
                    <a:pt x="228" y="1056"/>
                  </a:lnTo>
                  <a:lnTo>
                    <a:pt x="222" y="1056"/>
                  </a:lnTo>
                  <a:lnTo>
                    <a:pt x="228" y="1044"/>
                  </a:lnTo>
                  <a:lnTo>
                    <a:pt x="228" y="1038"/>
                  </a:lnTo>
                  <a:lnTo>
                    <a:pt x="228" y="1032"/>
                  </a:lnTo>
                  <a:lnTo>
                    <a:pt x="234" y="1026"/>
                  </a:lnTo>
                  <a:lnTo>
                    <a:pt x="246" y="1020"/>
                  </a:lnTo>
                  <a:lnTo>
                    <a:pt x="252" y="1020"/>
                  </a:lnTo>
                  <a:lnTo>
                    <a:pt x="258" y="1014"/>
                  </a:lnTo>
                  <a:lnTo>
                    <a:pt x="264" y="1008"/>
                  </a:lnTo>
                  <a:lnTo>
                    <a:pt x="264" y="1002"/>
                  </a:lnTo>
                  <a:lnTo>
                    <a:pt x="270" y="984"/>
                  </a:lnTo>
                  <a:lnTo>
                    <a:pt x="276" y="978"/>
                  </a:lnTo>
                  <a:lnTo>
                    <a:pt x="300" y="978"/>
                  </a:lnTo>
                  <a:lnTo>
                    <a:pt x="306" y="972"/>
                  </a:lnTo>
                  <a:lnTo>
                    <a:pt x="312" y="966"/>
                  </a:lnTo>
                  <a:lnTo>
                    <a:pt x="324" y="936"/>
                  </a:lnTo>
                  <a:lnTo>
                    <a:pt x="330" y="930"/>
                  </a:lnTo>
                  <a:lnTo>
                    <a:pt x="330" y="924"/>
                  </a:lnTo>
                  <a:lnTo>
                    <a:pt x="336" y="918"/>
                  </a:lnTo>
                  <a:lnTo>
                    <a:pt x="342" y="912"/>
                  </a:lnTo>
                  <a:lnTo>
                    <a:pt x="342" y="906"/>
                  </a:lnTo>
                  <a:lnTo>
                    <a:pt x="342" y="900"/>
                  </a:lnTo>
                  <a:lnTo>
                    <a:pt x="342" y="894"/>
                  </a:lnTo>
                  <a:lnTo>
                    <a:pt x="342" y="888"/>
                  </a:lnTo>
                  <a:lnTo>
                    <a:pt x="336" y="876"/>
                  </a:lnTo>
                  <a:lnTo>
                    <a:pt x="342" y="870"/>
                  </a:lnTo>
                  <a:lnTo>
                    <a:pt x="336" y="864"/>
                  </a:lnTo>
                  <a:lnTo>
                    <a:pt x="336" y="858"/>
                  </a:lnTo>
                  <a:lnTo>
                    <a:pt x="330" y="852"/>
                  </a:lnTo>
                  <a:lnTo>
                    <a:pt x="318" y="852"/>
                  </a:lnTo>
                  <a:lnTo>
                    <a:pt x="306" y="858"/>
                  </a:lnTo>
                  <a:lnTo>
                    <a:pt x="264" y="864"/>
                  </a:lnTo>
                  <a:lnTo>
                    <a:pt x="234" y="858"/>
                  </a:lnTo>
                  <a:lnTo>
                    <a:pt x="228" y="858"/>
                  </a:lnTo>
                  <a:lnTo>
                    <a:pt x="198" y="858"/>
                  </a:lnTo>
                  <a:lnTo>
                    <a:pt x="174" y="858"/>
                  </a:lnTo>
                  <a:lnTo>
                    <a:pt x="168" y="852"/>
                  </a:lnTo>
                  <a:lnTo>
                    <a:pt x="168" y="840"/>
                  </a:lnTo>
                  <a:lnTo>
                    <a:pt x="168" y="834"/>
                  </a:lnTo>
                  <a:lnTo>
                    <a:pt x="168" y="822"/>
                  </a:lnTo>
                  <a:lnTo>
                    <a:pt x="162" y="822"/>
                  </a:lnTo>
                  <a:lnTo>
                    <a:pt x="150" y="816"/>
                  </a:lnTo>
                  <a:lnTo>
                    <a:pt x="144" y="810"/>
                  </a:lnTo>
                  <a:lnTo>
                    <a:pt x="144" y="804"/>
                  </a:lnTo>
                  <a:lnTo>
                    <a:pt x="144" y="786"/>
                  </a:lnTo>
                  <a:lnTo>
                    <a:pt x="144" y="780"/>
                  </a:lnTo>
                  <a:lnTo>
                    <a:pt x="144" y="774"/>
                  </a:lnTo>
                  <a:lnTo>
                    <a:pt x="132" y="756"/>
                  </a:lnTo>
                  <a:lnTo>
                    <a:pt x="120" y="756"/>
                  </a:lnTo>
                  <a:lnTo>
                    <a:pt x="84" y="750"/>
                  </a:lnTo>
                  <a:lnTo>
                    <a:pt x="78" y="744"/>
                  </a:lnTo>
                  <a:lnTo>
                    <a:pt x="60" y="744"/>
                  </a:lnTo>
                  <a:lnTo>
                    <a:pt x="54" y="726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66" y="720"/>
                  </a:lnTo>
                  <a:lnTo>
                    <a:pt x="66" y="714"/>
                  </a:lnTo>
                  <a:lnTo>
                    <a:pt x="72" y="714"/>
                  </a:lnTo>
                  <a:lnTo>
                    <a:pt x="72" y="708"/>
                  </a:lnTo>
                  <a:lnTo>
                    <a:pt x="78" y="702"/>
                  </a:lnTo>
                  <a:lnTo>
                    <a:pt x="78" y="696"/>
                  </a:lnTo>
                  <a:lnTo>
                    <a:pt x="78" y="690"/>
                  </a:lnTo>
                  <a:lnTo>
                    <a:pt x="84" y="678"/>
                  </a:lnTo>
                  <a:lnTo>
                    <a:pt x="90" y="666"/>
                  </a:lnTo>
                  <a:lnTo>
                    <a:pt x="90" y="642"/>
                  </a:lnTo>
                  <a:lnTo>
                    <a:pt x="84" y="648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66" y="642"/>
                  </a:lnTo>
                  <a:lnTo>
                    <a:pt x="60" y="642"/>
                  </a:lnTo>
                  <a:lnTo>
                    <a:pt x="54" y="636"/>
                  </a:lnTo>
                  <a:lnTo>
                    <a:pt x="30" y="570"/>
                  </a:lnTo>
                  <a:lnTo>
                    <a:pt x="24" y="564"/>
                  </a:lnTo>
                  <a:lnTo>
                    <a:pt x="18" y="570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6"/>
                  </a:lnTo>
                  <a:lnTo>
                    <a:pt x="6" y="540"/>
                  </a:lnTo>
                  <a:lnTo>
                    <a:pt x="0" y="522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2" y="480"/>
                  </a:lnTo>
                  <a:lnTo>
                    <a:pt x="6" y="480"/>
                  </a:lnTo>
                  <a:lnTo>
                    <a:pt x="0" y="474"/>
                  </a:lnTo>
                  <a:lnTo>
                    <a:pt x="0" y="450"/>
                  </a:lnTo>
                  <a:lnTo>
                    <a:pt x="6" y="450"/>
                  </a:lnTo>
                  <a:lnTo>
                    <a:pt x="12" y="450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32"/>
                  </a:lnTo>
                  <a:lnTo>
                    <a:pt x="30" y="426"/>
                  </a:lnTo>
                  <a:lnTo>
                    <a:pt x="36" y="402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2" y="366"/>
                  </a:lnTo>
                  <a:lnTo>
                    <a:pt x="48" y="360"/>
                  </a:lnTo>
                  <a:lnTo>
                    <a:pt x="48" y="342"/>
                  </a:lnTo>
                  <a:lnTo>
                    <a:pt x="42" y="330"/>
                  </a:lnTo>
                  <a:lnTo>
                    <a:pt x="36" y="324"/>
                  </a:lnTo>
                  <a:lnTo>
                    <a:pt x="42" y="306"/>
                  </a:lnTo>
                  <a:lnTo>
                    <a:pt x="42" y="270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48" y="258"/>
                  </a:lnTo>
                  <a:lnTo>
                    <a:pt x="72" y="252"/>
                  </a:lnTo>
                  <a:lnTo>
                    <a:pt x="66" y="204"/>
                  </a:lnTo>
                  <a:lnTo>
                    <a:pt x="60" y="198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8" y="13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84" y="96"/>
                  </a:lnTo>
                  <a:lnTo>
                    <a:pt x="90" y="84"/>
                  </a:lnTo>
                  <a:lnTo>
                    <a:pt x="108" y="72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20" y="60"/>
                  </a:lnTo>
                  <a:lnTo>
                    <a:pt x="120" y="54"/>
                  </a:lnTo>
                  <a:lnTo>
                    <a:pt x="120" y="48"/>
                  </a:lnTo>
                  <a:lnTo>
                    <a:pt x="126" y="48"/>
                  </a:lnTo>
                  <a:lnTo>
                    <a:pt x="132" y="42"/>
                  </a:lnTo>
                  <a:lnTo>
                    <a:pt x="132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240" y="18"/>
                  </a:lnTo>
                  <a:lnTo>
                    <a:pt x="246" y="42"/>
                  </a:lnTo>
                  <a:lnTo>
                    <a:pt x="240" y="72"/>
                  </a:lnTo>
                  <a:lnTo>
                    <a:pt x="246" y="78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8" y="108"/>
                  </a:lnTo>
                  <a:lnTo>
                    <a:pt x="276" y="114"/>
                  </a:lnTo>
                  <a:lnTo>
                    <a:pt x="294" y="150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82" y="186"/>
                  </a:lnTo>
                  <a:lnTo>
                    <a:pt x="282" y="192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76" y="216"/>
                  </a:lnTo>
                  <a:lnTo>
                    <a:pt x="288" y="240"/>
                  </a:lnTo>
                  <a:lnTo>
                    <a:pt x="312" y="228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66" y="228"/>
                  </a:lnTo>
                  <a:lnTo>
                    <a:pt x="372" y="228"/>
                  </a:lnTo>
                  <a:lnTo>
                    <a:pt x="372" y="222"/>
                  </a:lnTo>
                  <a:lnTo>
                    <a:pt x="378" y="222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6" y="222"/>
                  </a:lnTo>
                  <a:lnTo>
                    <a:pt x="402" y="222"/>
                  </a:lnTo>
                  <a:lnTo>
                    <a:pt x="402" y="228"/>
                  </a:lnTo>
                  <a:lnTo>
                    <a:pt x="408" y="228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26" y="216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68" y="258"/>
                  </a:lnTo>
                  <a:lnTo>
                    <a:pt x="462" y="264"/>
                  </a:lnTo>
                  <a:lnTo>
                    <a:pt x="468" y="264"/>
                  </a:lnTo>
                  <a:lnTo>
                    <a:pt x="468" y="270"/>
                  </a:lnTo>
                  <a:lnTo>
                    <a:pt x="474" y="270"/>
                  </a:lnTo>
                  <a:lnTo>
                    <a:pt x="480" y="276"/>
                  </a:lnTo>
                  <a:lnTo>
                    <a:pt x="474" y="282"/>
                  </a:lnTo>
                  <a:lnTo>
                    <a:pt x="474" y="288"/>
                  </a:lnTo>
                  <a:lnTo>
                    <a:pt x="462" y="294"/>
                  </a:lnTo>
                  <a:lnTo>
                    <a:pt x="468" y="324"/>
                  </a:lnTo>
                  <a:lnTo>
                    <a:pt x="462" y="336"/>
                  </a:lnTo>
                  <a:lnTo>
                    <a:pt x="456" y="354"/>
                  </a:lnTo>
                  <a:lnTo>
                    <a:pt x="432" y="390"/>
                  </a:lnTo>
                  <a:lnTo>
                    <a:pt x="420" y="390"/>
                  </a:lnTo>
                  <a:lnTo>
                    <a:pt x="402" y="390"/>
                  </a:lnTo>
                  <a:lnTo>
                    <a:pt x="396" y="396"/>
                  </a:lnTo>
                  <a:lnTo>
                    <a:pt x="390" y="396"/>
                  </a:lnTo>
                  <a:lnTo>
                    <a:pt x="390" y="402"/>
                  </a:lnTo>
                  <a:lnTo>
                    <a:pt x="384" y="402"/>
                  </a:lnTo>
                  <a:lnTo>
                    <a:pt x="408" y="432"/>
                  </a:lnTo>
                  <a:lnTo>
                    <a:pt x="432" y="438"/>
                  </a:lnTo>
                  <a:lnTo>
                    <a:pt x="456" y="432"/>
                  </a:lnTo>
                  <a:lnTo>
                    <a:pt x="468" y="426"/>
                  </a:lnTo>
                  <a:lnTo>
                    <a:pt x="468" y="444"/>
                  </a:lnTo>
                  <a:lnTo>
                    <a:pt x="468" y="450"/>
                  </a:lnTo>
                  <a:lnTo>
                    <a:pt x="468" y="474"/>
                  </a:lnTo>
                  <a:lnTo>
                    <a:pt x="486" y="480"/>
                  </a:lnTo>
                  <a:lnTo>
                    <a:pt x="486" y="486"/>
                  </a:lnTo>
                  <a:lnTo>
                    <a:pt x="492" y="498"/>
                  </a:lnTo>
                  <a:lnTo>
                    <a:pt x="492" y="504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504" y="516"/>
                  </a:lnTo>
                  <a:lnTo>
                    <a:pt x="510" y="516"/>
                  </a:lnTo>
                  <a:lnTo>
                    <a:pt x="522" y="528"/>
                  </a:lnTo>
                  <a:lnTo>
                    <a:pt x="546" y="540"/>
                  </a:lnTo>
                  <a:lnTo>
                    <a:pt x="552" y="546"/>
                  </a:lnTo>
                  <a:lnTo>
                    <a:pt x="570" y="552"/>
                  </a:lnTo>
                  <a:lnTo>
                    <a:pt x="594" y="552"/>
                  </a:lnTo>
                  <a:lnTo>
                    <a:pt x="606" y="546"/>
                  </a:lnTo>
                  <a:lnTo>
                    <a:pt x="612" y="540"/>
                  </a:lnTo>
                  <a:lnTo>
                    <a:pt x="630" y="540"/>
                  </a:lnTo>
                  <a:lnTo>
                    <a:pt x="630" y="552"/>
                  </a:lnTo>
                  <a:lnTo>
                    <a:pt x="654" y="552"/>
                  </a:lnTo>
                  <a:lnTo>
                    <a:pt x="702" y="558"/>
                  </a:lnTo>
                  <a:lnTo>
                    <a:pt x="762" y="546"/>
                  </a:lnTo>
                  <a:lnTo>
                    <a:pt x="780" y="546"/>
                  </a:lnTo>
                  <a:lnTo>
                    <a:pt x="780" y="528"/>
                  </a:lnTo>
                  <a:lnTo>
                    <a:pt x="798" y="522"/>
                  </a:lnTo>
                  <a:lnTo>
                    <a:pt x="810" y="510"/>
                  </a:lnTo>
                  <a:lnTo>
                    <a:pt x="810" y="504"/>
                  </a:lnTo>
                  <a:lnTo>
                    <a:pt x="828" y="492"/>
                  </a:lnTo>
                  <a:lnTo>
                    <a:pt x="888" y="486"/>
                  </a:lnTo>
                  <a:lnTo>
                    <a:pt x="912" y="486"/>
                  </a:lnTo>
                  <a:lnTo>
                    <a:pt x="930" y="474"/>
                  </a:lnTo>
                  <a:lnTo>
                    <a:pt x="918" y="456"/>
                  </a:lnTo>
                  <a:lnTo>
                    <a:pt x="912" y="450"/>
                  </a:lnTo>
                  <a:lnTo>
                    <a:pt x="918" y="390"/>
                  </a:lnTo>
                  <a:lnTo>
                    <a:pt x="954" y="396"/>
                  </a:lnTo>
                  <a:lnTo>
                    <a:pt x="984" y="402"/>
                  </a:lnTo>
                  <a:lnTo>
                    <a:pt x="1014" y="420"/>
                  </a:lnTo>
                  <a:lnTo>
                    <a:pt x="1026" y="432"/>
                  </a:lnTo>
                  <a:lnTo>
                    <a:pt x="1044" y="450"/>
                  </a:lnTo>
                  <a:lnTo>
                    <a:pt x="1062" y="462"/>
                  </a:lnTo>
                  <a:lnTo>
                    <a:pt x="1098" y="468"/>
                  </a:lnTo>
                  <a:lnTo>
                    <a:pt x="1128" y="480"/>
                  </a:lnTo>
                  <a:lnTo>
                    <a:pt x="1152" y="486"/>
                  </a:lnTo>
                  <a:lnTo>
                    <a:pt x="1188" y="498"/>
                  </a:lnTo>
                  <a:lnTo>
                    <a:pt x="1212" y="504"/>
                  </a:lnTo>
                  <a:lnTo>
                    <a:pt x="1224" y="528"/>
                  </a:lnTo>
                  <a:lnTo>
                    <a:pt x="1236" y="540"/>
                  </a:lnTo>
                  <a:lnTo>
                    <a:pt x="1254" y="540"/>
                  </a:lnTo>
                  <a:lnTo>
                    <a:pt x="1254" y="546"/>
                  </a:lnTo>
                  <a:lnTo>
                    <a:pt x="1260" y="552"/>
                  </a:lnTo>
                  <a:lnTo>
                    <a:pt x="1266" y="552"/>
                  </a:lnTo>
                  <a:lnTo>
                    <a:pt x="1266" y="558"/>
                  </a:lnTo>
                  <a:lnTo>
                    <a:pt x="1272" y="564"/>
                  </a:lnTo>
                  <a:lnTo>
                    <a:pt x="1278" y="564"/>
                  </a:lnTo>
                  <a:lnTo>
                    <a:pt x="1278" y="570"/>
                  </a:lnTo>
                  <a:lnTo>
                    <a:pt x="1284" y="576"/>
                  </a:lnTo>
                  <a:lnTo>
                    <a:pt x="1290" y="582"/>
                  </a:lnTo>
                  <a:lnTo>
                    <a:pt x="1296" y="582"/>
                  </a:lnTo>
                  <a:lnTo>
                    <a:pt x="1296" y="588"/>
                  </a:lnTo>
                  <a:lnTo>
                    <a:pt x="1308" y="594"/>
                  </a:lnTo>
                  <a:lnTo>
                    <a:pt x="1308" y="600"/>
                  </a:lnTo>
                  <a:lnTo>
                    <a:pt x="1308" y="606"/>
                  </a:lnTo>
                  <a:lnTo>
                    <a:pt x="1314" y="612"/>
                  </a:lnTo>
                  <a:lnTo>
                    <a:pt x="1308" y="618"/>
                  </a:lnTo>
                  <a:lnTo>
                    <a:pt x="1314" y="618"/>
                  </a:lnTo>
                  <a:lnTo>
                    <a:pt x="1314" y="624"/>
                  </a:lnTo>
                  <a:lnTo>
                    <a:pt x="1308" y="624"/>
                  </a:lnTo>
                  <a:lnTo>
                    <a:pt x="1302" y="630"/>
                  </a:lnTo>
                  <a:lnTo>
                    <a:pt x="1302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296" y="654"/>
                  </a:lnTo>
                  <a:lnTo>
                    <a:pt x="1302" y="660"/>
                  </a:lnTo>
                  <a:lnTo>
                    <a:pt x="1302" y="666"/>
                  </a:lnTo>
                  <a:lnTo>
                    <a:pt x="1308" y="666"/>
                  </a:lnTo>
                  <a:lnTo>
                    <a:pt x="1308" y="672"/>
                  </a:lnTo>
                  <a:lnTo>
                    <a:pt x="1308" y="678"/>
                  </a:lnTo>
                  <a:lnTo>
                    <a:pt x="1308" y="684"/>
                  </a:lnTo>
                  <a:lnTo>
                    <a:pt x="1308" y="690"/>
                  </a:lnTo>
                  <a:lnTo>
                    <a:pt x="1302" y="696"/>
                  </a:lnTo>
                  <a:lnTo>
                    <a:pt x="1302" y="702"/>
                  </a:lnTo>
                  <a:lnTo>
                    <a:pt x="1308" y="702"/>
                  </a:lnTo>
                  <a:lnTo>
                    <a:pt x="1302" y="708"/>
                  </a:lnTo>
                  <a:lnTo>
                    <a:pt x="1308" y="714"/>
                  </a:lnTo>
                  <a:lnTo>
                    <a:pt x="1308" y="720"/>
                  </a:lnTo>
                  <a:lnTo>
                    <a:pt x="1308" y="726"/>
                  </a:lnTo>
                  <a:lnTo>
                    <a:pt x="1308" y="732"/>
                  </a:lnTo>
                  <a:lnTo>
                    <a:pt x="1314" y="732"/>
                  </a:lnTo>
                  <a:lnTo>
                    <a:pt x="1314" y="738"/>
                  </a:lnTo>
                  <a:lnTo>
                    <a:pt x="1320" y="744"/>
                  </a:lnTo>
                  <a:lnTo>
                    <a:pt x="1326" y="750"/>
                  </a:lnTo>
                  <a:lnTo>
                    <a:pt x="1320" y="750"/>
                  </a:lnTo>
                  <a:lnTo>
                    <a:pt x="1320" y="756"/>
                  </a:lnTo>
                  <a:lnTo>
                    <a:pt x="1314" y="756"/>
                  </a:lnTo>
                  <a:lnTo>
                    <a:pt x="1314" y="762"/>
                  </a:lnTo>
                  <a:lnTo>
                    <a:pt x="1314" y="768"/>
                  </a:lnTo>
                  <a:lnTo>
                    <a:pt x="1320" y="768"/>
                  </a:lnTo>
                  <a:lnTo>
                    <a:pt x="1320" y="762"/>
                  </a:lnTo>
                  <a:lnTo>
                    <a:pt x="1320" y="768"/>
                  </a:lnTo>
                  <a:lnTo>
                    <a:pt x="1326" y="774"/>
                  </a:lnTo>
                  <a:lnTo>
                    <a:pt x="1332" y="774"/>
                  </a:lnTo>
                  <a:lnTo>
                    <a:pt x="1332" y="780"/>
                  </a:lnTo>
                  <a:lnTo>
                    <a:pt x="1332" y="786"/>
                  </a:lnTo>
                  <a:lnTo>
                    <a:pt x="1332" y="792"/>
                  </a:lnTo>
                  <a:lnTo>
                    <a:pt x="1338" y="786"/>
                  </a:lnTo>
                  <a:lnTo>
                    <a:pt x="1338" y="792"/>
                  </a:lnTo>
                  <a:lnTo>
                    <a:pt x="1344" y="798"/>
                  </a:lnTo>
                  <a:lnTo>
                    <a:pt x="1344" y="804"/>
                  </a:lnTo>
                  <a:lnTo>
                    <a:pt x="1344" y="810"/>
                  </a:lnTo>
                  <a:lnTo>
                    <a:pt x="1344" y="816"/>
                  </a:lnTo>
                  <a:lnTo>
                    <a:pt x="1344" y="822"/>
                  </a:lnTo>
                  <a:lnTo>
                    <a:pt x="1338" y="828"/>
                  </a:lnTo>
                  <a:lnTo>
                    <a:pt x="1332" y="828"/>
                  </a:lnTo>
                  <a:lnTo>
                    <a:pt x="1338" y="840"/>
                  </a:lnTo>
                  <a:lnTo>
                    <a:pt x="1344" y="846"/>
                  </a:lnTo>
                  <a:lnTo>
                    <a:pt x="1344" y="852"/>
                  </a:lnTo>
                  <a:lnTo>
                    <a:pt x="1350" y="852"/>
                  </a:lnTo>
                  <a:lnTo>
                    <a:pt x="1356" y="858"/>
                  </a:lnTo>
                  <a:lnTo>
                    <a:pt x="1362" y="858"/>
                  </a:lnTo>
                  <a:lnTo>
                    <a:pt x="1362" y="870"/>
                  </a:lnTo>
                  <a:lnTo>
                    <a:pt x="1356" y="870"/>
                  </a:lnTo>
                  <a:lnTo>
                    <a:pt x="1356" y="876"/>
                  </a:lnTo>
                  <a:lnTo>
                    <a:pt x="1350" y="876"/>
                  </a:lnTo>
                  <a:lnTo>
                    <a:pt x="1344" y="876"/>
                  </a:lnTo>
                  <a:lnTo>
                    <a:pt x="1344" y="882"/>
                  </a:lnTo>
                  <a:lnTo>
                    <a:pt x="1338" y="882"/>
                  </a:lnTo>
                  <a:lnTo>
                    <a:pt x="1338" y="888"/>
                  </a:lnTo>
                  <a:lnTo>
                    <a:pt x="1338" y="894"/>
                  </a:lnTo>
                  <a:lnTo>
                    <a:pt x="1344" y="900"/>
                  </a:lnTo>
                  <a:lnTo>
                    <a:pt x="1344" y="906"/>
                  </a:lnTo>
                  <a:lnTo>
                    <a:pt x="1338" y="906"/>
                  </a:lnTo>
                  <a:lnTo>
                    <a:pt x="1332" y="912"/>
                  </a:lnTo>
                  <a:lnTo>
                    <a:pt x="1332" y="918"/>
                  </a:lnTo>
                  <a:lnTo>
                    <a:pt x="1326" y="918"/>
                  </a:lnTo>
                  <a:lnTo>
                    <a:pt x="1332" y="924"/>
                  </a:lnTo>
                  <a:lnTo>
                    <a:pt x="1284" y="942"/>
                  </a:lnTo>
                  <a:lnTo>
                    <a:pt x="1236" y="948"/>
                  </a:lnTo>
                  <a:lnTo>
                    <a:pt x="1194" y="966"/>
                  </a:lnTo>
                  <a:lnTo>
                    <a:pt x="1170" y="1002"/>
                  </a:lnTo>
                  <a:lnTo>
                    <a:pt x="1134" y="1020"/>
                  </a:lnTo>
                  <a:lnTo>
                    <a:pt x="1116" y="1032"/>
                  </a:lnTo>
                  <a:lnTo>
                    <a:pt x="1098" y="1050"/>
                  </a:lnTo>
                  <a:lnTo>
                    <a:pt x="1074" y="1074"/>
                  </a:lnTo>
                  <a:lnTo>
                    <a:pt x="1008" y="1134"/>
                  </a:lnTo>
                  <a:lnTo>
                    <a:pt x="990" y="1158"/>
                  </a:lnTo>
                  <a:lnTo>
                    <a:pt x="978" y="1182"/>
                  </a:lnTo>
                  <a:lnTo>
                    <a:pt x="960" y="1194"/>
                  </a:lnTo>
                  <a:lnTo>
                    <a:pt x="942" y="1212"/>
                  </a:lnTo>
                  <a:lnTo>
                    <a:pt x="912" y="1242"/>
                  </a:lnTo>
                  <a:lnTo>
                    <a:pt x="888" y="1254"/>
                  </a:lnTo>
                  <a:lnTo>
                    <a:pt x="864" y="1278"/>
                  </a:lnTo>
                  <a:lnTo>
                    <a:pt x="828" y="1296"/>
                  </a:lnTo>
                  <a:lnTo>
                    <a:pt x="774" y="1308"/>
                  </a:lnTo>
                  <a:lnTo>
                    <a:pt x="732" y="1302"/>
                  </a:lnTo>
                  <a:lnTo>
                    <a:pt x="702" y="1284"/>
                  </a:lnTo>
                  <a:lnTo>
                    <a:pt x="684" y="12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1" name="Freeform 16">
              <a:extLst>
                <a:ext uri="{FF2B5EF4-FFF2-40B4-BE49-F238E27FC236}">
                  <a16:creationId xmlns:a16="http://schemas.microsoft.com/office/drawing/2014/main" id="{D8D8591A-D9DB-4301-BEBD-D8F5A26DA9E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3001" y="2929369"/>
              <a:ext cx="914601" cy="1037736"/>
            </a:xfrm>
            <a:custGeom>
              <a:avLst/>
              <a:gdLst>
                <a:gd name="T0" fmla="*/ 144 w 1722"/>
                <a:gd name="T1" fmla="*/ 131 h 1956"/>
                <a:gd name="T2" fmla="*/ 142 w 1722"/>
                <a:gd name="T3" fmla="*/ 139 h 1956"/>
                <a:gd name="T4" fmla="*/ 137 w 1722"/>
                <a:gd name="T5" fmla="*/ 143 h 1956"/>
                <a:gd name="T6" fmla="*/ 133 w 1722"/>
                <a:gd name="T7" fmla="*/ 147 h 1956"/>
                <a:gd name="T8" fmla="*/ 132 w 1722"/>
                <a:gd name="T9" fmla="*/ 152 h 1956"/>
                <a:gd name="T10" fmla="*/ 130 w 1722"/>
                <a:gd name="T11" fmla="*/ 159 h 1956"/>
                <a:gd name="T12" fmla="*/ 127 w 1722"/>
                <a:gd name="T13" fmla="*/ 164 h 1956"/>
                <a:gd name="T14" fmla="*/ 123 w 1722"/>
                <a:gd name="T15" fmla="*/ 168 h 1956"/>
                <a:gd name="T16" fmla="*/ 117 w 1722"/>
                <a:gd name="T17" fmla="*/ 169 h 1956"/>
                <a:gd name="T18" fmla="*/ 110 w 1722"/>
                <a:gd name="T19" fmla="*/ 168 h 1956"/>
                <a:gd name="T20" fmla="*/ 104 w 1722"/>
                <a:gd name="T21" fmla="*/ 166 h 1956"/>
                <a:gd name="T22" fmla="*/ 101 w 1722"/>
                <a:gd name="T23" fmla="*/ 159 h 1956"/>
                <a:gd name="T24" fmla="*/ 95 w 1722"/>
                <a:gd name="T25" fmla="*/ 156 h 1956"/>
                <a:gd name="T26" fmla="*/ 89 w 1722"/>
                <a:gd name="T27" fmla="*/ 151 h 1956"/>
                <a:gd name="T28" fmla="*/ 87 w 1722"/>
                <a:gd name="T29" fmla="*/ 144 h 1956"/>
                <a:gd name="T30" fmla="*/ 82 w 1722"/>
                <a:gd name="T31" fmla="*/ 141 h 1956"/>
                <a:gd name="T32" fmla="*/ 76 w 1722"/>
                <a:gd name="T33" fmla="*/ 134 h 1956"/>
                <a:gd name="T34" fmla="*/ 74 w 1722"/>
                <a:gd name="T35" fmla="*/ 143 h 1956"/>
                <a:gd name="T36" fmla="*/ 68 w 1722"/>
                <a:gd name="T37" fmla="*/ 147 h 1956"/>
                <a:gd name="T38" fmla="*/ 54 w 1722"/>
                <a:gd name="T39" fmla="*/ 144 h 1956"/>
                <a:gd name="T40" fmla="*/ 51 w 1722"/>
                <a:gd name="T41" fmla="*/ 142 h 1956"/>
                <a:gd name="T42" fmla="*/ 42 w 1722"/>
                <a:gd name="T43" fmla="*/ 151 h 1956"/>
                <a:gd name="T44" fmla="*/ 33 w 1722"/>
                <a:gd name="T45" fmla="*/ 154 h 1956"/>
                <a:gd name="T46" fmla="*/ 31 w 1722"/>
                <a:gd name="T47" fmla="*/ 159 h 1956"/>
                <a:gd name="T48" fmla="*/ 29 w 1722"/>
                <a:gd name="T49" fmla="*/ 166 h 1956"/>
                <a:gd name="T50" fmla="*/ 25 w 1722"/>
                <a:gd name="T51" fmla="*/ 169 h 1956"/>
                <a:gd name="T52" fmla="*/ 27 w 1722"/>
                <a:gd name="T53" fmla="*/ 154 h 1956"/>
                <a:gd name="T54" fmla="*/ 37 w 1722"/>
                <a:gd name="T55" fmla="*/ 133 h 1956"/>
                <a:gd name="T56" fmla="*/ 36 w 1722"/>
                <a:gd name="T57" fmla="*/ 109 h 1956"/>
                <a:gd name="T58" fmla="*/ 27 w 1722"/>
                <a:gd name="T59" fmla="*/ 101 h 1956"/>
                <a:gd name="T60" fmla="*/ 5 w 1722"/>
                <a:gd name="T61" fmla="*/ 98 h 1956"/>
                <a:gd name="T62" fmla="*/ 2 w 1722"/>
                <a:gd name="T63" fmla="*/ 93 h 1956"/>
                <a:gd name="T64" fmla="*/ 12 w 1722"/>
                <a:gd name="T65" fmla="*/ 82 h 1956"/>
                <a:gd name="T66" fmla="*/ 9 w 1722"/>
                <a:gd name="T67" fmla="*/ 74 h 1956"/>
                <a:gd name="T68" fmla="*/ 23 w 1722"/>
                <a:gd name="T69" fmla="*/ 72 h 1956"/>
                <a:gd name="T70" fmla="*/ 22 w 1722"/>
                <a:gd name="T71" fmla="*/ 67 h 1956"/>
                <a:gd name="T72" fmla="*/ 48 w 1722"/>
                <a:gd name="T73" fmla="*/ 57 h 1956"/>
                <a:gd name="T74" fmla="*/ 78 w 1722"/>
                <a:gd name="T75" fmla="*/ 34 h 1956"/>
                <a:gd name="T76" fmla="*/ 81 w 1722"/>
                <a:gd name="T77" fmla="*/ 31 h 1956"/>
                <a:gd name="T78" fmla="*/ 80 w 1722"/>
                <a:gd name="T79" fmla="*/ 26 h 1956"/>
                <a:gd name="T80" fmla="*/ 78 w 1722"/>
                <a:gd name="T81" fmla="*/ 21 h 1956"/>
                <a:gd name="T82" fmla="*/ 77 w 1722"/>
                <a:gd name="T83" fmla="*/ 18 h 1956"/>
                <a:gd name="T84" fmla="*/ 77 w 1722"/>
                <a:gd name="T85" fmla="*/ 12 h 1956"/>
                <a:gd name="T86" fmla="*/ 77 w 1722"/>
                <a:gd name="T87" fmla="*/ 7 h 1956"/>
                <a:gd name="T88" fmla="*/ 102 w 1722"/>
                <a:gd name="T89" fmla="*/ 2 h 1956"/>
                <a:gd name="T90" fmla="*/ 115 w 1722"/>
                <a:gd name="T91" fmla="*/ 3 h 1956"/>
                <a:gd name="T92" fmla="*/ 123 w 1722"/>
                <a:gd name="T93" fmla="*/ 3 h 1956"/>
                <a:gd name="T94" fmla="*/ 125 w 1722"/>
                <a:gd name="T95" fmla="*/ 9 h 1956"/>
                <a:gd name="T96" fmla="*/ 133 w 1722"/>
                <a:gd name="T97" fmla="*/ 13 h 1956"/>
                <a:gd name="T98" fmla="*/ 149 w 1722"/>
                <a:gd name="T99" fmla="*/ 37 h 1956"/>
                <a:gd name="T100" fmla="*/ 141 w 1722"/>
                <a:gd name="T101" fmla="*/ 57 h 1956"/>
                <a:gd name="T102" fmla="*/ 135 w 1722"/>
                <a:gd name="T103" fmla="*/ 63 h 1956"/>
                <a:gd name="T104" fmla="*/ 124 w 1722"/>
                <a:gd name="T105" fmla="*/ 77 h 1956"/>
                <a:gd name="T106" fmla="*/ 123 w 1722"/>
                <a:gd name="T107" fmla="*/ 96 h 1956"/>
                <a:gd name="T108" fmla="*/ 127 w 1722"/>
                <a:gd name="T109" fmla="*/ 97 h 1956"/>
                <a:gd name="T110" fmla="*/ 129 w 1722"/>
                <a:gd name="T111" fmla="*/ 92 h 1956"/>
                <a:gd name="T112" fmla="*/ 134 w 1722"/>
                <a:gd name="T113" fmla="*/ 94 h 1956"/>
                <a:gd name="T114" fmla="*/ 138 w 1722"/>
                <a:gd name="T115" fmla="*/ 99 h 1956"/>
                <a:gd name="T116" fmla="*/ 142 w 1722"/>
                <a:gd name="T117" fmla="*/ 104 h 1956"/>
                <a:gd name="T118" fmla="*/ 141 w 1722"/>
                <a:gd name="T119" fmla="*/ 115 h 19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722"/>
                <a:gd name="T181" fmla="*/ 0 h 1956"/>
                <a:gd name="T182" fmla="*/ 1722 w 1722"/>
                <a:gd name="T183" fmla="*/ 1956 h 19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722" h="1956">
                  <a:moveTo>
                    <a:pt x="1686" y="1404"/>
                  </a:moveTo>
                  <a:lnTo>
                    <a:pt x="1680" y="1416"/>
                  </a:lnTo>
                  <a:lnTo>
                    <a:pt x="1674" y="1422"/>
                  </a:lnTo>
                  <a:lnTo>
                    <a:pt x="1674" y="1428"/>
                  </a:lnTo>
                  <a:lnTo>
                    <a:pt x="1668" y="1428"/>
                  </a:lnTo>
                  <a:lnTo>
                    <a:pt x="1668" y="1434"/>
                  </a:lnTo>
                  <a:lnTo>
                    <a:pt x="1662" y="1446"/>
                  </a:lnTo>
                  <a:lnTo>
                    <a:pt x="1656" y="1464"/>
                  </a:lnTo>
                  <a:lnTo>
                    <a:pt x="1656" y="1476"/>
                  </a:lnTo>
                  <a:lnTo>
                    <a:pt x="1656" y="1488"/>
                  </a:lnTo>
                  <a:lnTo>
                    <a:pt x="1662" y="1500"/>
                  </a:lnTo>
                  <a:lnTo>
                    <a:pt x="1662" y="1506"/>
                  </a:lnTo>
                  <a:lnTo>
                    <a:pt x="1662" y="1524"/>
                  </a:lnTo>
                  <a:lnTo>
                    <a:pt x="1668" y="1542"/>
                  </a:lnTo>
                  <a:lnTo>
                    <a:pt x="1674" y="1560"/>
                  </a:lnTo>
                  <a:lnTo>
                    <a:pt x="1680" y="1578"/>
                  </a:lnTo>
                  <a:lnTo>
                    <a:pt x="1686" y="1578"/>
                  </a:lnTo>
                  <a:lnTo>
                    <a:pt x="1686" y="1584"/>
                  </a:lnTo>
                  <a:lnTo>
                    <a:pt x="1686" y="1590"/>
                  </a:lnTo>
                  <a:lnTo>
                    <a:pt x="1686" y="1596"/>
                  </a:lnTo>
                  <a:lnTo>
                    <a:pt x="1680" y="1596"/>
                  </a:lnTo>
                  <a:lnTo>
                    <a:pt x="1674" y="1602"/>
                  </a:lnTo>
                  <a:lnTo>
                    <a:pt x="1662" y="1602"/>
                  </a:lnTo>
                  <a:lnTo>
                    <a:pt x="1638" y="1596"/>
                  </a:lnTo>
                  <a:lnTo>
                    <a:pt x="1632" y="1596"/>
                  </a:lnTo>
                  <a:lnTo>
                    <a:pt x="1626" y="1602"/>
                  </a:lnTo>
                  <a:lnTo>
                    <a:pt x="1620" y="1602"/>
                  </a:lnTo>
                  <a:lnTo>
                    <a:pt x="1614" y="1602"/>
                  </a:lnTo>
                  <a:lnTo>
                    <a:pt x="1602" y="1602"/>
                  </a:lnTo>
                  <a:lnTo>
                    <a:pt x="1602" y="1608"/>
                  </a:lnTo>
                  <a:lnTo>
                    <a:pt x="1602" y="1620"/>
                  </a:lnTo>
                  <a:lnTo>
                    <a:pt x="1596" y="1620"/>
                  </a:lnTo>
                  <a:lnTo>
                    <a:pt x="1590" y="1620"/>
                  </a:lnTo>
                  <a:lnTo>
                    <a:pt x="1584" y="1626"/>
                  </a:lnTo>
                  <a:lnTo>
                    <a:pt x="1584" y="1632"/>
                  </a:lnTo>
                  <a:lnTo>
                    <a:pt x="1578" y="1644"/>
                  </a:lnTo>
                  <a:lnTo>
                    <a:pt x="1572" y="1644"/>
                  </a:lnTo>
                  <a:lnTo>
                    <a:pt x="1566" y="1644"/>
                  </a:lnTo>
                  <a:lnTo>
                    <a:pt x="1566" y="1650"/>
                  </a:lnTo>
                  <a:lnTo>
                    <a:pt x="1560" y="1650"/>
                  </a:lnTo>
                  <a:lnTo>
                    <a:pt x="1554" y="1650"/>
                  </a:lnTo>
                  <a:lnTo>
                    <a:pt x="1548" y="1650"/>
                  </a:lnTo>
                  <a:lnTo>
                    <a:pt x="1548" y="1656"/>
                  </a:lnTo>
                  <a:lnTo>
                    <a:pt x="1542" y="1668"/>
                  </a:lnTo>
                  <a:lnTo>
                    <a:pt x="1542" y="1674"/>
                  </a:lnTo>
                  <a:lnTo>
                    <a:pt x="1542" y="1692"/>
                  </a:lnTo>
                  <a:lnTo>
                    <a:pt x="1536" y="1698"/>
                  </a:lnTo>
                  <a:lnTo>
                    <a:pt x="1530" y="1698"/>
                  </a:lnTo>
                  <a:lnTo>
                    <a:pt x="1524" y="1698"/>
                  </a:lnTo>
                  <a:lnTo>
                    <a:pt x="1518" y="1704"/>
                  </a:lnTo>
                  <a:lnTo>
                    <a:pt x="1512" y="1710"/>
                  </a:lnTo>
                  <a:lnTo>
                    <a:pt x="1506" y="1722"/>
                  </a:lnTo>
                  <a:lnTo>
                    <a:pt x="1500" y="1728"/>
                  </a:lnTo>
                  <a:lnTo>
                    <a:pt x="1500" y="1734"/>
                  </a:lnTo>
                  <a:lnTo>
                    <a:pt x="1512" y="1734"/>
                  </a:lnTo>
                  <a:lnTo>
                    <a:pt x="1518" y="1740"/>
                  </a:lnTo>
                  <a:lnTo>
                    <a:pt x="1518" y="1746"/>
                  </a:lnTo>
                  <a:lnTo>
                    <a:pt x="1518" y="1752"/>
                  </a:lnTo>
                  <a:lnTo>
                    <a:pt x="1518" y="1758"/>
                  </a:lnTo>
                  <a:lnTo>
                    <a:pt x="1524" y="1758"/>
                  </a:lnTo>
                  <a:lnTo>
                    <a:pt x="1524" y="1764"/>
                  </a:lnTo>
                  <a:lnTo>
                    <a:pt x="1530" y="1770"/>
                  </a:lnTo>
                  <a:lnTo>
                    <a:pt x="1518" y="1770"/>
                  </a:lnTo>
                  <a:lnTo>
                    <a:pt x="1512" y="1782"/>
                  </a:lnTo>
                  <a:lnTo>
                    <a:pt x="1512" y="1788"/>
                  </a:lnTo>
                  <a:lnTo>
                    <a:pt x="1518" y="1788"/>
                  </a:lnTo>
                  <a:lnTo>
                    <a:pt x="1524" y="1800"/>
                  </a:lnTo>
                  <a:lnTo>
                    <a:pt x="1524" y="1806"/>
                  </a:lnTo>
                  <a:lnTo>
                    <a:pt x="1518" y="1812"/>
                  </a:lnTo>
                  <a:lnTo>
                    <a:pt x="1512" y="1818"/>
                  </a:lnTo>
                  <a:lnTo>
                    <a:pt x="1506" y="1818"/>
                  </a:lnTo>
                  <a:lnTo>
                    <a:pt x="1500" y="1824"/>
                  </a:lnTo>
                  <a:lnTo>
                    <a:pt x="1500" y="1836"/>
                  </a:lnTo>
                  <a:lnTo>
                    <a:pt x="1500" y="1842"/>
                  </a:lnTo>
                  <a:lnTo>
                    <a:pt x="1500" y="1848"/>
                  </a:lnTo>
                  <a:lnTo>
                    <a:pt x="1500" y="1854"/>
                  </a:lnTo>
                  <a:lnTo>
                    <a:pt x="1494" y="1860"/>
                  </a:lnTo>
                  <a:lnTo>
                    <a:pt x="1488" y="1860"/>
                  </a:lnTo>
                  <a:lnTo>
                    <a:pt x="1488" y="1866"/>
                  </a:lnTo>
                  <a:lnTo>
                    <a:pt x="1482" y="1872"/>
                  </a:lnTo>
                  <a:lnTo>
                    <a:pt x="1482" y="1878"/>
                  </a:lnTo>
                  <a:lnTo>
                    <a:pt x="1482" y="1884"/>
                  </a:lnTo>
                  <a:lnTo>
                    <a:pt x="1476" y="1890"/>
                  </a:lnTo>
                  <a:lnTo>
                    <a:pt x="1470" y="1890"/>
                  </a:lnTo>
                  <a:lnTo>
                    <a:pt x="1470" y="1896"/>
                  </a:lnTo>
                  <a:lnTo>
                    <a:pt x="1464" y="1896"/>
                  </a:lnTo>
                  <a:lnTo>
                    <a:pt x="1458" y="1896"/>
                  </a:lnTo>
                  <a:lnTo>
                    <a:pt x="1452" y="1896"/>
                  </a:lnTo>
                  <a:lnTo>
                    <a:pt x="1440" y="1890"/>
                  </a:lnTo>
                  <a:lnTo>
                    <a:pt x="1434" y="1896"/>
                  </a:lnTo>
                  <a:lnTo>
                    <a:pt x="1428" y="1896"/>
                  </a:lnTo>
                  <a:lnTo>
                    <a:pt x="1422" y="1896"/>
                  </a:lnTo>
                  <a:lnTo>
                    <a:pt x="1422" y="1902"/>
                  </a:lnTo>
                  <a:lnTo>
                    <a:pt x="1416" y="1902"/>
                  </a:lnTo>
                  <a:lnTo>
                    <a:pt x="1422" y="1914"/>
                  </a:lnTo>
                  <a:lnTo>
                    <a:pt x="1422" y="1932"/>
                  </a:lnTo>
                  <a:lnTo>
                    <a:pt x="1416" y="1938"/>
                  </a:lnTo>
                  <a:lnTo>
                    <a:pt x="1422" y="1938"/>
                  </a:lnTo>
                  <a:lnTo>
                    <a:pt x="1404" y="1938"/>
                  </a:lnTo>
                  <a:lnTo>
                    <a:pt x="1392" y="1944"/>
                  </a:lnTo>
                  <a:lnTo>
                    <a:pt x="1386" y="1944"/>
                  </a:lnTo>
                  <a:lnTo>
                    <a:pt x="1374" y="1944"/>
                  </a:lnTo>
                  <a:lnTo>
                    <a:pt x="1368" y="1950"/>
                  </a:lnTo>
                  <a:lnTo>
                    <a:pt x="1374" y="1956"/>
                  </a:lnTo>
                  <a:lnTo>
                    <a:pt x="1368" y="1956"/>
                  </a:lnTo>
                  <a:lnTo>
                    <a:pt x="1356" y="1956"/>
                  </a:lnTo>
                  <a:lnTo>
                    <a:pt x="1350" y="1956"/>
                  </a:lnTo>
                  <a:lnTo>
                    <a:pt x="1350" y="1950"/>
                  </a:lnTo>
                  <a:lnTo>
                    <a:pt x="1344" y="1944"/>
                  </a:lnTo>
                  <a:lnTo>
                    <a:pt x="1332" y="1938"/>
                  </a:lnTo>
                  <a:lnTo>
                    <a:pt x="1326" y="1938"/>
                  </a:lnTo>
                  <a:lnTo>
                    <a:pt x="1320" y="1938"/>
                  </a:lnTo>
                  <a:lnTo>
                    <a:pt x="1314" y="1944"/>
                  </a:lnTo>
                  <a:lnTo>
                    <a:pt x="1308" y="1944"/>
                  </a:lnTo>
                  <a:lnTo>
                    <a:pt x="1302" y="1944"/>
                  </a:lnTo>
                  <a:lnTo>
                    <a:pt x="1296" y="1938"/>
                  </a:lnTo>
                  <a:lnTo>
                    <a:pt x="1284" y="1938"/>
                  </a:lnTo>
                  <a:lnTo>
                    <a:pt x="1278" y="1938"/>
                  </a:lnTo>
                  <a:lnTo>
                    <a:pt x="1272" y="1938"/>
                  </a:lnTo>
                  <a:lnTo>
                    <a:pt x="1266" y="1932"/>
                  </a:lnTo>
                  <a:lnTo>
                    <a:pt x="1260" y="1932"/>
                  </a:lnTo>
                  <a:lnTo>
                    <a:pt x="1254" y="1920"/>
                  </a:lnTo>
                  <a:lnTo>
                    <a:pt x="1248" y="1920"/>
                  </a:lnTo>
                  <a:lnTo>
                    <a:pt x="1242" y="1920"/>
                  </a:lnTo>
                  <a:lnTo>
                    <a:pt x="1236" y="1926"/>
                  </a:lnTo>
                  <a:lnTo>
                    <a:pt x="1236" y="1932"/>
                  </a:lnTo>
                  <a:lnTo>
                    <a:pt x="1230" y="1932"/>
                  </a:lnTo>
                  <a:lnTo>
                    <a:pt x="1224" y="1932"/>
                  </a:lnTo>
                  <a:lnTo>
                    <a:pt x="1218" y="1938"/>
                  </a:lnTo>
                  <a:lnTo>
                    <a:pt x="1212" y="1932"/>
                  </a:lnTo>
                  <a:lnTo>
                    <a:pt x="1206" y="1926"/>
                  </a:lnTo>
                  <a:lnTo>
                    <a:pt x="1206" y="1908"/>
                  </a:lnTo>
                  <a:lnTo>
                    <a:pt x="1206" y="1884"/>
                  </a:lnTo>
                  <a:lnTo>
                    <a:pt x="1206" y="1866"/>
                  </a:lnTo>
                  <a:lnTo>
                    <a:pt x="1212" y="1848"/>
                  </a:lnTo>
                  <a:lnTo>
                    <a:pt x="1212" y="1842"/>
                  </a:lnTo>
                  <a:lnTo>
                    <a:pt x="1206" y="1836"/>
                  </a:lnTo>
                  <a:lnTo>
                    <a:pt x="1200" y="1830"/>
                  </a:lnTo>
                  <a:lnTo>
                    <a:pt x="1194" y="1824"/>
                  </a:lnTo>
                  <a:lnTo>
                    <a:pt x="1188" y="1824"/>
                  </a:lnTo>
                  <a:lnTo>
                    <a:pt x="1182" y="1824"/>
                  </a:lnTo>
                  <a:lnTo>
                    <a:pt x="1176" y="1824"/>
                  </a:lnTo>
                  <a:lnTo>
                    <a:pt x="1170" y="1818"/>
                  </a:lnTo>
                  <a:lnTo>
                    <a:pt x="1164" y="1830"/>
                  </a:lnTo>
                  <a:lnTo>
                    <a:pt x="1152" y="1836"/>
                  </a:lnTo>
                  <a:lnTo>
                    <a:pt x="1146" y="1842"/>
                  </a:lnTo>
                  <a:lnTo>
                    <a:pt x="1140" y="1842"/>
                  </a:lnTo>
                  <a:lnTo>
                    <a:pt x="1134" y="1842"/>
                  </a:lnTo>
                  <a:lnTo>
                    <a:pt x="1128" y="1842"/>
                  </a:lnTo>
                  <a:lnTo>
                    <a:pt x="1116" y="1836"/>
                  </a:lnTo>
                  <a:lnTo>
                    <a:pt x="1110" y="1842"/>
                  </a:lnTo>
                  <a:lnTo>
                    <a:pt x="1092" y="1830"/>
                  </a:lnTo>
                  <a:lnTo>
                    <a:pt x="1092" y="1824"/>
                  </a:lnTo>
                  <a:lnTo>
                    <a:pt x="1092" y="1806"/>
                  </a:lnTo>
                  <a:lnTo>
                    <a:pt x="1092" y="1800"/>
                  </a:lnTo>
                  <a:lnTo>
                    <a:pt x="1092" y="1794"/>
                  </a:lnTo>
                  <a:lnTo>
                    <a:pt x="1086" y="1788"/>
                  </a:lnTo>
                  <a:lnTo>
                    <a:pt x="1080" y="1794"/>
                  </a:lnTo>
                  <a:lnTo>
                    <a:pt x="1074" y="1788"/>
                  </a:lnTo>
                  <a:lnTo>
                    <a:pt x="1068" y="1770"/>
                  </a:lnTo>
                  <a:lnTo>
                    <a:pt x="1056" y="1764"/>
                  </a:lnTo>
                  <a:lnTo>
                    <a:pt x="1050" y="1764"/>
                  </a:lnTo>
                  <a:lnTo>
                    <a:pt x="1044" y="1764"/>
                  </a:lnTo>
                  <a:lnTo>
                    <a:pt x="1038" y="1758"/>
                  </a:lnTo>
                  <a:lnTo>
                    <a:pt x="1032" y="1752"/>
                  </a:lnTo>
                  <a:lnTo>
                    <a:pt x="1032" y="1746"/>
                  </a:lnTo>
                  <a:lnTo>
                    <a:pt x="1032" y="1740"/>
                  </a:lnTo>
                  <a:lnTo>
                    <a:pt x="1032" y="1734"/>
                  </a:lnTo>
                  <a:lnTo>
                    <a:pt x="1026" y="1734"/>
                  </a:lnTo>
                  <a:lnTo>
                    <a:pt x="1032" y="1728"/>
                  </a:lnTo>
                  <a:lnTo>
                    <a:pt x="1032" y="1722"/>
                  </a:lnTo>
                  <a:lnTo>
                    <a:pt x="1044" y="1686"/>
                  </a:lnTo>
                  <a:lnTo>
                    <a:pt x="1044" y="1680"/>
                  </a:lnTo>
                  <a:lnTo>
                    <a:pt x="1032" y="1674"/>
                  </a:lnTo>
                  <a:lnTo>
                    <a:pt x="1026" y="1674"/>
                  </a:lnTo>
                  <a:lnTo>
                    <a:pt x="1026" y="1668"/>
                  </a:lnTo>
                  <a:lnTo>
                    <a:pt x="1020" y="1662"/>
                  </a:lnTo>
                  <a:lnTo>
                    <a:pt x="1014" y="1668"/>
                  </a:lnTo>
                  <a:lnTo>
                    <a:pt x="1008" y="1662"/>
                  </a:lnTo>
                  <a:lnTo>
                    <a:pt x="1002" y="1662"/>
                  </a:lnTo>
                  <a:lnTo>
                    <a:pt x="1002" y="1668"/>
                  </a:lnTo>
                  <a:lnTo>
                    <a:pt x="996" y="1668"/>
                  </a:lnTo>
                  <a:lnTo>
                    <a:pt x="996" y="1662"/>
                  </a:lnTo>
                  <a:lnTo>
                    <a:pt x="984" y="1662"/>
                  </a:lnTo>
                  <a:lnTo>
                    <a:pt x="984" y="1656"/>
                  </a:lnTo>
                  <a:lnTo>
                    <a:pt x="978" y="1650"/>
                  </a:lnTo>
                  <a:lnTo>
                    <a:pt x="978" y="1644"/>
                  </a:lnTo>
                  <a:lnTo>
                    <a:pt x="966" y="1650"/>
                  </a:lnTo>
                  <a:lnTo>
                    <a:pt x="960" y="1638"/>
                  </a:lnTo>
                  <a:lnTo>
                    <a:pt x="954" y="1632"/>
                  </a:lnTo>
                  <a:lnTo>
                    <a:pt x="948" y="1632"/>
                  </a:lnTo>
                  <a:lnTo>
                    <a:pt x="942" y="1626"/>
                  </a:lnTo>
                  <a:lnTo>
                    <a:pt x="942" y="1614"/>
                  </a:lnTo>
                  <a:lnTo>
                    <a:pt x="930" y="1608"/>
                  </a:lnTo>
                  <a:lnTo>
                    <a:pt x="924" y="1614"/>
                  </a:lnTo>
                  <a:lnTo>
                    <a:pt x="912" y="1608"/>
                  </a:lnTo>
                  <a:lnTo>
                    <a:pt x="888" y="1590"/>
                  </a:lnTo>
                  <a:lnTo>
                    <a:pt x="894" y="1578"/>
                  </a:lnTo>
                  <a:lnTo>
                    <a:pt x="894" y="1572"/>
                  </a:lnTo>
                  <a:lnTo>
                    <a:pt x="894" y="1566"/>
                  </a:lnTo>
                  <a:lnTo>
                    <a:pt x="894" y="1548"/>
                  </a:lnTo>
                  <a:lnTo>
                    <a:pt x="888" y="1548"/>
                  </a:lnTo>
                  <a:lnTo>
                    <a:pt x="882" y="1542"/>
                  </a:lnTo>
                  <a:lnTo>
                    <a:pt x="876" y="1542"/>
                  </a:lnTo>
                  <a:lnTo>
                    <a:pt x="876" y="1536"/>
                  </a:lnTo>
                  <a:lnTo>
                    <a:pt x="870" y="1542"/>
                  </a:lnTo>
                  <a:lnTo>
                    <a:pt x="870" y="1554"/>
                  </a:lnTo>
                  <a:lnTo>
                    <a:pt x="870" y="1566"/>
                  </a:lnTo>
                  <a:lnTo>
                    <a:pt x="870" y="1578"/>
                  </a:lnTo>
                  <a:lnTo>
                    <a:pt x="870" y="1584"/>
                  </a:lnTo>
                  <a:lnTo>
                    <a:pt x="864" y="1584"/>
                  </a:lnTo>
                  <a:lnTo>
                    <a:pt x="870" y="1602"/>
                  </a:lnTo>
                  <a:lnTo>
                    <a:pt x="864" y="1608"/>
                  </a:lnTo>
                  <a:lnTo>
                    <a:pt x="870" y="1614"/>
                  </a:lnTo>
                  <a:lnTo>
                    <a:pt x="864" y="1644"/>
                  </a:lnTo>
                  <a:lnTo>
                    <a:pt x="858" y="1650"/>
                  </a:lnTo>
                  <a:lnTo>
                    <a:pt x="858" y="1656"/>
                  </a:lnTo>
                  <a:lnTo>
                    <a:pt x="852" y="1662"/>
                  </a:lnTo>
                  <a:lnTo>
                    <a:pt x="852" y="1680"/>
                  </a:lnTo>
                  <a:lnTo>
                    <a:pt x="846" y="1686"/>
                  </a:lnTo>
                  <a:lnTo>
                    <a:pt x="834" y="1692"/>
                  </a:lnTo>
                  <a:lnTo>
                    <a:pt x="828" y="1692"/>
                  </a:lnTo>
                  <a:lnTo>
                    <a:pt x="822" y="1698"/>
                  </a:lnTo>
                  <a:lnTo>
                    <a:pt x="822" y="1704"/>
                  </a:lnTo>
                  <a:lnTo>
                    <a:pt x="816" y="1704"/>
                  </a:lnTo>
                  <a:lnTo>
                    <a:pt x="804" y="1692"/>
                  </a:lnTo>
                  <a:lnTo>
                    <a:pt x="786" y="1698"/>
                  </a:lnTo>
                  <a:lnTo>
                    <a:pt x="780" y="1698"/>
                  </a:lnTo>
                  <a:lnTo>
                    <a:pt x="756" y="1698"/>
                  </a:lnTo>
                  <a:lnTo>
                    <a:pt x="744" y="1698"/>
                  </a:lnTo>
                  <a:lnTo>
                    <a:pt x="738" y="1698"/>
                  </a:lnTo>
                  <a:lnTo>
                    <a:pt x="732" y="1704"/>
                  </a:lnTo>
                  <a:lnTo>
                    <a:pt x="726" y="1704"/>
                  </a:lnTo>
                  <a:lnTo>
                    <a:pt x="678" y="1710"/>
                  </a:lnTo>
                  <a:lnTo>
                    <a:pt x="642" y="1710"/>
                  </a:lnTo>
                  <a:lnTo>
                    <a:pt x="618" y="1680"/>
                  </a:lnTo>
                  <a:lnTo>
                    <a:pt x="618" y="1674"/>
                  </a:lnTo>
                  <a:lnTo>
                    <a:pt x="618" y="1668"/>
                  </a:lnTo>
                  <a:lnTo>
                    <a:pt x="624" y="1662"/>
                  </a:lnTo>
                  <a:lnTo>
                    <a:pt x="624" y="1656"/>
                  </a:lnTo>
                  <a:lnTo>
                    <a:pt x="624" y="1650"/>
                  </a:lnTo>
                  <a:lnTo>
                    <a:pt x="618" y="1650"/>
                  </a:lnTo>
                  <a:lnTo>
                    <a:pt x="618" y="1644"/>
                  </a:lnTo>
                  <a:lnTo>
                    <a:pt x="618" y="1638"/>
                  </a:lnTo>
                  <a:lnTo>
                    <a:pt x="618" y="1632"/>
                  </a:lnTo>
                  <a:lnTo>
                    <a:pt x="618" y="1626"/>
                  </a:lnTo>
                  <a:lnTo>
                    <a:pt x="612" y="1626"/>
                  </a:lnTo>
                  <a:lnTo>
                    <a:pt x="612" y="1620"/>
                  </a:lnTo>
                  <a:lnTo>
                    <a:pt x="606" y="1614"/>
                  </a:lnTo>
                  <a:lnTo>
                    <a:pt x="594" y="1626"/>
                  </a:lnTo>
                  <a:lnTo>
                    <a:pt x="594" y="1632"/>
                  </a:lnTo>
                  <a:lnTo>
                    <a:pt x="588" y="1638"/>
                  </a:lnTo>
                  <a:lnTo>
                    <a:pt x="582" y="1638"/>
                  </a:lnTo>
                  <a:lnTo>
                    <a:pt x="564" y="1656"/>
                  </a:lnTo>
                  <a:lnTo>
                    <a:pt x="558" y="1662"/>
                  </a:lnTo>
                  <a:lnTo>
                    <a:pt x="552" y="1662"/>
                  </a:lnTo>
                  <a:lnTo>
                    <a:pt x="540" y="1674"/>
                  </a:lnTo>
                  <a:lnTo>
                    <a:pt x="534" y="1680"/>
                  </a:lnTo>
                  <a:lnTo>
                    <a:pt x="522" y="1692"/>
                  </a:lnTo>
                  <a:lnTo>
                    <a:pt x="516" y="1704"/>
                  </a:lnTo>
                  <a:lnTo>
                    <a:pt x="510" y="1704"/>
                  </a:lnTo>
                  <a:lnTo>
                    <a:pt x="504" y="1704"/>
                  </a:lnTo>
                  <a:lnTo>
                    <a:pt x="486" y="1722"/>
                  </a:lnTo>
                  <a:lnTo>
                    <a:pt x="480" y="1740"/>
                  </a:lnTo>
                  <a:lnTo>
                    <a:pt x="474" y="1740"/>
                  </a:lnTo>
                  <a:lnTo>
                    <a:pt x="468" y="1746"/>
                  </a:lnTo>
                  <a:lnTo>
                    <a:pt x="456" y="1758"/>
                  </a:lnTo>
                  <a:lnTo>
                    <a:pt x="444" y="1770"/>
                  </a:lnTo>
                  <a:lnTo>
                    <a:pt x="438" y="1782"/>
                  </a:lnTo>
                  <a:lnTo>
                    <a:pt x="426" y="1788"/>
                  </a:lnTo>
                  <a:lnTo>
                    <a:pt x="420" y="1788"/>
                  </a:lnTo>
                  <a:lnTo>
                    <a:pt x="420" y="1782"/>
                  </a:lnTo>
                  <a:lnTo>
                    <a:pt x="414" y="1782"/>
                  </a:lnTo>
                  <a:lnTo>
                    <a:pt x="390" y="1782"/>
                  </a:lnTo>
                  <a:lnTo>
                    <a:pt x="390" y="1776"/>
                  </a:lnTo>
                  <a:lnTo>
                    <a:pt x="384" y="1776"/>
                  </a:lnTo>
                  <a:lnTo>
                    <a:pt x="378" y="1776"/>
                  </a:lnTo>
                  <a:lnTo>
                    <a:pt x="372" y="1776"/>
                  </a:lnTo>
                  <a:lnTo>
                    <a:pt x="366" y="1770"/>
                  </a:lnTo>
                  <a:lnTo>
                    <a:pt x="366" y="1776"/>
                  </a:lnTo>
                  <a:lnTo>
                    <a:pt x="360" y="1788"/>
                  </a:lnTo>
                  <a:lnTo>
                    <a:pt x="360" y="1794"/>
                  </a:lnTo>
                  <a:lnTo>
                    <a:pt x="360" y="1800"/>
                  </a:lnTo>
                  <a:lnTo>
                    <a:pt x="354" y="1806"/>
                  </a:lnTo>
                  <a:lnTo>
                    <a:pt x="354" y="1812"/>
                  </a:lnTo>
                  <a:lnTo>
                    <a:pt x="354" y="1824"/>
                  </a:lnTo>
                  <a:lnTo>
                    <a:pt x="348" y="1830"/>
                  </a:lnTo>
                  <a:lnTo>
                    <a:pt x="354" y="1836"/>
                  </a:lnTo>
                  <a:lnTo>
                    <a:pt x="348" y="1842"/>
                  </a:lnTo>
                  <a:lnTo>
                    <a:pt x="354" y="1848"/>
                  </a:lnTo>
                  <a:lnTo>
                    <a:pt x="348" y="1854"/>
                  </a:lnTo>
                  <a:lnTo>
                    <a:pt x="354" y="1854"/>
                  </a:lnTo>
                  <a:lnTo>
                    <a:pt x="348" y="1860"/>
                  </a:lnTo>
                  <a:lnTo>
                    <a:pt x="348" y="1866"/>
                  </a:lnTo>
                  <a:lnTo>
                    <a:pt x="342" y="1866"/>
                  </a:lnTo>
                  <a:lnTo>
                    <a:pt x="342" y="1872"/>
                  </a:lnTo>
                  <a:lnTo>
                    <a:pt x="342" y="1878"/>
                  </a:lnTo>
                  <a:lnTo>
                    <a:pt x="342" y="1884"/>
                  </a:lnTo>
                  <a:lnTo>
                    <a:pt x="336" y="1896"/>
                  </a:lnTo>
                  <a:lnTo>
                    <a:pt x="330" y="1914"/>
                  </a:lnTo>
                  <a:lnTo>
                    <a:pt x="324" y="1920"/>
                  </a:lnTo>
                  <a:lnTo>
                    <a:pt x="324" y="1926"/>
                  </a:lnTo>
                  <a:lnTo>
                    <a:pt x="318" y="1944"/>
                  </a:lnTo>
                  <a:lnTo>
                    <a:pt x="318" y="1950"/>
                  </a:lnTo>
                  <a:lnTo>
                    <a:pt x="312" y="1956"/>
                  </a:lnTo>
                  <a:lnTo>
                    <a:pt x="312" y="1950"/>
                  </a:lnTo>
                  <a:lnTo>
                    <a:pt x="306" y="1950"/>
                  </a:lnTo>
                  <a:lnTo>
                    <a:pt x="306" y="1956"/>
                  </a:lnTo>
                  <a:lnTo>
                    <a:pt x="300" y="1950"/>
                  </a:lnTo>
                  <a:lnTo>
                    <a:pt x="294" y="1956"/>
                  </a:lnTo>
                  <a:lnTo>
                    <a:pt x="288" y="1950"/>
                  </a:lnTo>
                  <a:lnTo>
                    <a:pt x="288" y="1944"/>
                  </a:lnTo>
                  <a:lnTo>
                    <a:pt x="282" y="1938"/>
                  </a:lnTo>
                  <a:lnTo>
                    <a:pt x="282" y="1932"/>
                  </a:lnTo>
                  <a:lnTo>
                    <a:pt x="282" y="1890"/>
                  </a:lnTo>
                  <a:lnTo>
                    <a:pt x="288" y="1860"/>
                  </a:lnTo>
                  <a:lnTo>
                    <a:pt x="294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300" y="1818"/>
                  </a:lnTo>
                  <a:lnTo>
                    <a:pt x="306" y="1794"/>
                  </a:lnTo>
                  <a:lnTo>
                    <a:pt x="306" y="1788"/>
                  </a:lnTo>
                  <a:lnTo>
                    <a:pt x="306" y="1782"/>
                  </a:lnTo>
                  <a:lnTo>
                    <a:pt x="312" y="1776"/>
                  </a:lnTo>
                  <a:lnTo>
                    <a:pt x="306" y="1776"/>
                  </a:lnTo>
                  <a:lnTo>
                    <a:pt x="312" y="1770"/>
                  </a:lnTo>
                  <a:lnTo>
                    <a:pt x="312" y="1740"/>
                  </a:lnTo>
                  <a:lnTo>
                    <a:pt x="318" y="1722"/>
                  </a:lnTo>
                  <a:lnTo>
                    <a:pt x="312" y="1722"/>
                  </a:lnTo>
                  <a:lnTo>
                    <a:pt x="300" y="1716"/>
                  </a:lnTo>
                  <a:lnTo>
                    <a:pt x="306" y="1716"/>
                  </a:lnTo>
                  <a:lnTo>
                    <a:pt x="312" y="1710"/>
                  </a:lnTo>
                  <a:lnTo>
                    <a:pt x="324" y="1674"/>
                  </a:lnTo>
                  <a:lnTo>
                    <a:pt x="366" y="1590"/>
                  </a:lnTo>
                  <a:lnTo>
                    <a:pt x="408" y="1548"/>
                  </a:lnTo>
                  <a:lnTo>
                    <a:pt x="426" y="1530"/>
                  </a:lnTo>
                  <a:lnTo>
                    <a:pt x="432" y="1500"/>
                  </a:lnTo>
                  <a:lnTo>
                    <a:pt x="426" y="1494"/>
                  </a:lnTo>
                  <a:lnTo>
                    <a:pt x="426" y="1482"/>
                  </a:lnTo>
                  <a:lnTo>
                    <a:pt x="432" y="1464"/>
                  </a:lnTo>
                  <a:lnTo>
                    <a:pt x="438" y="1428"/>
                  </a:lnTo>
                  <a:lnTo>
                    <a:pt x="462" y="1398"/>
                  </a:lnTo>
                  <a:lnTo>
                    <a:pt x="468" y="1362"/>
                  </a:lnTo>
                  <a:lnTo>
                    <a:pt x="462" y="1314"/>
                  </a:lnTo>
                  <a:lnTo>
                    <a:pt x="444" y="1284"/>
                  </a:lnTo>
                  <a:lnTo>
                    <a:pt x="432" y="1260"/>
                  </a:lnTo>
                  <a:lnTo>
                    <a:pt x="426" y="1260"/>
                  </a:lnTo>
                  <a:lnTo>
                    <a:pt x="420" y="1254"/>
                  </a:lnTo>
                  <a:lnTo>
                    <a:pt x="408" y="1260"/>
                  </a:lnTo>
                  <a:lnTo>
                    <a:pt x="402" y="1260"/>
                  </a:lnTo>
                  <a:lnTo>
                    <a:pt x="402" y="1254"/>
                  </a:lnTo>
                  <a:lnTo>
                    <a:pt x="396" y="1254"/>
                  </a:lnTo>
                  <a:lnTo>
                    <a:pt x="396" y="1248"/>
                  </a:lnTo>
                  <a:lnTo>
                    <a:pt x="384" y="1248"/>
                  </a:lnTo>
                  <a:lnTo>
                    <a:pt x="372" y="1230"/>
                  </a:lnTo>
                  <a:lnTo>
                    <a:pt x="360" y="1212"/>
                  </a:lnTo>
                  <a:lnTo>
                    <a:pt x="348" y="1188"/>
                  </a:lnTo>
                  <a:lnTo>
                    <a:pt x="324" y="1170"/>
                  </a:lnTo>
                  <a:lnTo>
                    <a:pt x="318" y="1170"/>
                  </a:lnTo>
                  <a:lnTo>
                    <a:pt x="312" y="1158"/>
                  </a:lnTo>
                  <a:lnTo>
                    <a:pt x="312" y="1152"/>
                  </a:lnTo>
                  <a:lnTo>
                    <a:pt x="306" y="1146"/>
                  </a:lnTo>
                  <a:lnTo>
                    <a:pt x="270" y="1122"/>
                  </a:lnTo>
                  <a:lnTo>
                    <a:pt x="240" y="1122"/>
                  </a:lnTo>
                  <a:lnTo>
                    <a:pt x="180" y="1116"/>
                  </a:lnTo>
                  <a:lnTo>
                    <a:pt x="174" y="1122"/>
                  </a:lnTo>
                  <a:lnTo>
                    <a:pt x="174" y="1128"/>
                  </a:lnTo>
                  <a:lnTo>
                    <a:pt x="168" y="1122"/>
                  </a:lnTo>
                  <a:lnTo>
                    <a:pt x="162" y="1116"/>
                  </a:lnTo>
                  <a:lnTo>
                    <a:pt x="144" y="1122"/>
                  </a:lnTo>
                  <a:lnTo>
                    <a:pt x="120" y="1122"/>
                  </a:lnTo>
                  <a:lnTo>
                    <a:pt x="54" y="1134"/>
                  </a:lnTo>
                  <a:lnTo>
                    <a:pt x="24" y="1152"/>
                  </a:lnTo>
                  <a:lnTo>
                    <a:pt x="6" y="1146"/>
                  </a:lnTo>
                  <a:lnTo>
                    <a:pt x="0" y="1134"/>
                  </a:lnTo>
                  <a:lnTo>
                    <a:pt x="0" y="1128"/>
                  </a:lnTo>
                  <a:lnTo>
                    <a:pt x="18" y="1110"/>
                  </a:lnTo>
                  <a:lnTo>
                    <a:pt x="24" y="1104"/>
                  </a:lnTo>
                  <a:lnTo>
                    <a:pt x="24" y="1098"/>
                  </a:lnTo>
                  <a:lnTo>
                    <a:pt x="30" y="1086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24" y="1074"/>
                  </a:lnTo>
                  <a:lnTo>
                    <a:pt x="18" y="1068"/>
                  </a:lnTo>
                  <a:lnTo>
                    <a:pt x="24" y="1062"/>
                  </a:lnTo>
                  <a:lnTo>
                    <a:pt x="42" y="1056"/>
                  </a:lnTo>
                  <a:lnTo>
                    <a:pt x="54" y="1050"/>
                  </a:lnTo>
                  <a:lnTo>
                    <a:pt x="72" y="1044"/>
                  </a:lnTo>
                  <a:lnTo>
                    <a:pt x="96" y="1032"/>
                  </a:lnTo>
                  <a:lnTo>
                    <a:pt x="102" y="1032"/>
                  </a:lnTo>
                  <a:lnTo>
                    <a:pt x="126" y="1008"/>
                  </a:lnTo>
                  <a:lnTo>
                    <a:pt x="144" y="990"/>
                  </a:lnTo>
                  <a:lnTo>
                    <a:pt x="156" y="978"/>
                  </a:lnTo>
                  <a:lnTo>
                    <a:pt x="156" y="966"/>
                  </a:lnTo>
                  <a:lnTo>
                    <a:pt x="150" y="960"/>
                  </a:lnTo>
                  <a:lnTo>
                    <a:pt x="144" y="948"/>
                  </a:lnTo>
                  <a:lnTo>
                    <a:pt x="144" y="936"/>
                  </a:lnTo>
                  <a:lnTo>
                    <a:pt x="138" y="918"/>
                  </a:lnTo>
                  <a:lnTo>
                    <a:pt x="150" y="912"/>
                  </a:lnTo>
                  <a:lnTo>
                    <a:pt x="150" y="894"/>
                  </a:lnTo>
                  <a:lnTo>
                    <a:pt x="132" y="876"/>
                  </a:lnTo>
                  <a:lnTo>
                    <a:pt x="126" y="876"/>
                  </a:lnTo>
                  <a:lnTo>
                    <a:pt x="120" y="870"/>
                  </a:lnTo>
                  <a:lnTo>
                    <a:pt x="120" y="864"/>
                  </a:lnTo>
                  <a:lnTo>
                    <a:pt x="114" y="864"/>
                  </a:lnTo>
                  <a:lnTo>
                    <a:pt x="108" y="864"/>
                  </a:lnTo>
                  <a:lnTo>
                    <a:pt x="108" y="858"/>
                  </a:lnTo>
                  <a:lnTo>
                    <a:pt x="102" y="852"/>
                  </a:lnTo>
                  <a:lnTo>
                    <a:pt x="96" y="852"/>
                  </a:lnTo>
                  <a:lnTo>
                    <a:pt x="102" y="834"/>
                  </a:lnTo>
                  <a:lnTo>
                    <a:pt x="108" y="816"/>
                  </a:lnTo>
                  <a:lnTo>
                    <a:pt x="114" y="804"/>
                  </a:lnTo>
                  <a:lnTo>
                    <a:pt x="132" y="798"/>
                  </a:lnTo>
                  <a:lnTo>
                    <a:pt x="144" y="798"/>
                  </a:lnTo>
                  <a:lnTo>
                    <a:pt x="180" y="810"/>
                  </a:lnTo>
                  <a:lnTo>
                    <a:pt x="192" y="816"/>
                  </a:lnTo>
                  <a:lnTo>
                    <a:pt x="234" y="822"/>
                  </a:lnTo>
                  <a:lnTo>
                    <a:pt x="264" y="828"/>
                  </a:lnTo>
                  <a:lnTo>
                    <a:pt x="270" y="840"/>
                  </a:lnTo>
                  <a:lnTo>
                    <a:pt x="270" y="834"/>
                  </a:lnTo>
                  <a:lnTo>
                    <a:pt x="270" y="828"/>
                  </a:lnTo>
                  <a:lnTo>
                    <a:pt x="270" y="822"/>
                  </a:lnTo>
                  <a:lnTo>
                    <a:pt x="270" y="816"/>
                  </a:lnTo>
                  <a:lnTo>
                    <a:pt x="264" y="810"/>
                  </a:lnTo>
                  <a:lnTo>
                    <a:pt x="264" y="804"/>
                  </a:lnTo>
                  <a:lnTo>
                    <a:pt x="264" y="798"/>
                  </a:lnTo>
                  <a:lnTo>
                    <a:pt x="258" y="792"/>
                  </a:lnTo>
                  <a:lnTo>
                    <a:pt x="258" y="786"/>
                  </a:lnTo>
                  <a:lnTo>
                    <a:pt x="264" y="786"/>
                  </a:lnTo>
                  <a:lnTo>
                    <a:pt x="264" y="780"/>
                  </a:lnTo>
                  <a:lnTo>
                    <a:pt x="258" y="774"/>
                  </a:lnTo>
                  <a:lnTo>
                    <a:pt x="258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82" y="762"/>
                  </a:lnTo>
                  <a:lnTo>
                    <a:pt x="312" y="780"/>
                  </a:lnTo>
                  <a:lnTo>
                    <a:pt x="354" y="786"/>
                  </a:lnTo>
                  <a:lnTo>
                    <a:pt x="408" y="774"/>
                  </a:lnTo>
                  <a:lnTo>
                    <a:pt x="444" y="756"/>
                  </a:lnTo>
                  <a:lnTo>
                    <a:pt x="468" y="732"/>
                  </a:lnTo>
                  <a:lnTo>
                    <a:pt x="492" y="720"/>
                  </a:lnTo>
                  <a:lnTo>
                    <a:pt x="522" y="690"/>
                  </a:lnTo>
                  <a:lnTo>
                    <a:pt x="540" y="672"/>
                  </a:lnTo>
                  <a:lnTo>
                    <a:pt x="558" y="660"/>
                  </a:lnTo>
                  <a:lnTo>
                    <a:pt x="570" y="636"/>
                  </a:lnTo>
                  <a:lnTo>
                    <a:pt x="588" y="612"/>
                  </a:lnTo>
                  <a:lnTo>
                    <a:pt x="654" y="552"/>
                  </a:lnTo>
                  <a:lnTo>
                    <a:pt x="678" y="528"/>
                  </a:lnTo>
                  <a:lnTo>
                    <a:pt x="696" y="510"/>
                  </a:lnTo>
                  <a:lnTo>
                    <a:pt x="714" y="498"/>
                  </a:lnTo>
                  <a:lnTo>
                    <a:pt x="750" y="480"/>
                  </a:lnTo>
                  <a:lnTo>
                    <a:pt x="774" y="444"/>
                  </a:lnTo>
                  <a:lnTo>
                    <a:pt x="816" y="426"/>
                  </a:lnTo>
                  <a:lnTo>
                    <a:pt x="864" y="420"/>
                  </a:lnTo>
                  <a:lnTo>
                    <a:pt x="912" y="402"/>
                  </a:lnTo>
                  <a:lnTo>
                    <a:pt x="906" y="396"/>
                  </a:lnTo>
                  <a:lnTo>
                    <a:pt x="912" y="396"/>
                  </a:lnTo>
                  <a:lnTo>
                    <a:pt x="912" y="390"/>
                  </a:lnTo>
                  <a:lnTo>
                    <a:pt x="918" y="384"/>
                  </a:lnTo>
                  <a:lnTo>
                    <a:pt x="924" y="384"/>
                  </a:lnTo>
                  <a:lnTo>
                    <a:pt x="924" y="378"/>
                  </a:lnTo>
                  <a:lnTo>
                    <a:pt x="918" y="372"/>
                  </a:lnTo>
                  <a:lnTo>
                    <a:pt x="918" y="366"/>
                  </a:lnTo>
                  <a:lnTo>
                    <a:pt x="918" y="360"/>
                  </a:lnTo>
                  <a:lnTo>
                    <a:pt x="924" y="360"/>
                  </a:lnTo>
                  <a:lnTo>
                    <a:pt x="924" y="354"/>
                  </a:lnTo>
                  <a:lnTo>
                    <a:pt x="930" y="354"/>
                  </a:lnTo>
                  <a:lnTo>
                    <a:pt x="936" y="354"/>
                  </a:lnTo>
                  <a:lnTo>
                    <a:pt x="936" y="348"/>
                  </a:lnTo>
                  <a:lnTo>
                    <a:pt x="942" y="348"/>
                  </a:lnTo>
                  <a:lnTo>
                    <a:pt x="942" y="336"/>
                  </a:lnTo>
                  <a:lnTo>
                    <a:pt x="936" y="336"/>
                  </a:lnTo>
                  <a:lnTo>
                    <a:pt x="930" y="330"/>
                  </a:lnTo>
                  <a:lnTo>
                    <a:pt x="924" y="330"/>
                  </a:lnTo>
                  <a:lnTo>
                    <a:pt x="924" y="324"/>
                  </a:lnTo>
                  <a:lnTo>
                    <a:pt x="918" y="318"/>
                  </a:lnTo>
                  <a:lnTo>
                    <a:pt x="912" y="306"/>
                  </a:lnTo>
                  <a:lnTo>
                    <a:pt x="918" y="306"/>
                  </a:lnTo>
                  <a:lnTo>
                    <a:pt x="924" y="300"/>
                  </a:lnTo>
                  <a:lnTo>
                    <a:pt x="924" y="294"/>
                  </a:lnTo>
                  <a:lnTo>
                    <a:pt x="924" y="288"/>
                  </a:lnTo>
                  <a:lnTo>
                    <a:pt x="924" y="282"/>
                  </a:lnTo>
                  <a:lnTo>
                    <a:pt x="924" y="276"/>
                  </a:lnTo>
                  <a:lnTo>
                    <a:pt x="918" y="270"/>
                  </a:lnTo>
                  <a:lnTo>
                    <a:pt x="918" y="264"/>
                  </a:lnTo>
                  <a:lnTo>
                    <a:pt x="912" y="270"/>
                  </a:lnTo>
                  <a:lnTo>
                    <a:pt x="912" y="264"/>
                  </a:lnTo>
                  <a:lnTo>
                    <a:pt x="912" y="258"/>
                  </a:lnTo>
                  <a:lnTo>
                    <a:pt x="912" y="252"/>
                  </a:lnTo>
                  <a:lnTo>
                    <a:pt x="906" y="252"/>
                  </a:lnTo>
                  <a:lnTo>
                    <a:pt x="900" y="246"/>
                  </a:lnTo>
                  <a:lnTo>
                    <a:pt x="900" y="240"/>
                  </a:lnTo>
                  <a:lnTo>
                    <a:pt x="900" y="246"/>
                  </a:lnTo>
                  <a:lnTo>
                    <a:pt x="894" y="246"/>
                  </a:lnTo>
                  <a:lnTo>
                    <a:pt x="894" y="240"/>
                  </a:lnTo>
                  <a:lnTo>
                    <a:pt x="894" y="234"/>
                  </a:lnTo>
                  <a:lnTo>
                    <a:pt x="900" y="234"/>
                  </a:lnTo>
                  <a:lnTo>
                    <a:pt x="900" y="228"/>
                  </a:lnTo>
                  <a:lnTo>
                    <a:pt x="906" y="228"/>
                  </a:lnTo>
                  <a:lnTo>
                    <a:pt x="900" y="222"/>
                  </a:lnTo>
                  <a:lnTo>
                    <a:pt x="894" y="216"/>
                  </a:lnTo>
                  <a:lnTo>
                    <a:pt x="894" y="210"/>
                  </a:lnTo>
                  <a:lnTo>
                    <a:pt x="888" y="210"/>
                  </a:lnTo>
                  <a:lnTo>
                    <a:pt x="888" y="204"/>
                  </a:lnTo>
                  <a:lnTo>
                    <a:pt x="888" y="198"/>
                  </a:lnTo>
                  <a:lnTo>
                    <a:pt x="888" y="192"/>
                  </a:lnTo>
                  <a:lnTo>
                    <a:pt x="882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82" y="174"/>
                  </a:lnTo>
                  <a:lnTo>
                    <a:pt x="888" y="168"/>
                  </a:lnTo>
                  <a:lnTo>
                    <a:pt x="888" y="162"/>
                  </a:lnTo>
                  <a:lnTo>
                    <a:pt x="888" y="156"/>
                  </a:lnTo>
                  <a:lnTo>
                    <a:pt x="888" y="150"/>
                  </a:lnTo>
                  <a:lnTo>
                    <a:pt x="888" y="144"/>
                  </a:lnTo>
                  <a:lnTo>
                    <a:pt x="882" y="144"/>
                  </a:lnTo>
                  <a:lnTo>
                    <a:pt x="882" y="138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76" y="120"/>
                  </a:lnTo>
                  <a:lnTo>
                    <a:pt x="882" y="114"/>
                  </a:lnTo>
                  <a:lnTo>
                    <a:pt x="882" y="108"/>
                  </a:lnTo>
                  <a:lnTo>
                    <a:pt x="888" y="102"/>
                  </a:lnTo>
                  <a:lnTo>
                    <a:pt x="894" y="102"/>
                  </a:lnTo>
                  <a:lnTo>
                    <a:pt x="894" y="96"/>
                  </a:lnTo>
                  <a:lnTo>
                    <a:pt x="888" y="96"/>
                  </a:lnTo>
                  <a:lnTo>
                    <a:pt x="894" y="90"/>
                  </a:lnTo>
                  <a:lnTo>
                    <a:pt x="888" y="84"/>
                  </a:lnTo>
                  <a:lnTo>
                    <a:pt x="888" y="78"/>
                  </a:lnTo>
                  <a:lnTo>
                    <a:pt x="924" y="66"/>
                  </a:lnTo>
                  <a:lnTo>
                    <a:pt x="966" y="66"/>
                  </a:lnTo>
                  <a:lnTo>
                    <a:pt x="996" y="48"/>
                  </a:lnTo>
                  <a:lnTo>
                    <a:pt x="1056" y="12"/>
                  </a:lnTo>
                  <a:lnTo>
                    <a:pt x="1128" y="0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0" y="18"/>
                  </a:lnTo>
                  <a:lnTo>
                    <a:pt x="1176" y="24"/>
                  </a:lnTo>
                  <a:lnTo>
                    <a:pt x="1182" y="24"/>
                  </a:lnTo>
                  <a:lnTo>
                    <a:pt x="1188" y="30"/>
                  </a:lnTo>
                  <a:lnTo>
                    <a:pt x="1194" y="30"/>
                  </a:lnTo>
                  <a:lnTo>
                    <a:pt x="1194" y="36"/>
                  </a:lnTo>
                  <a:lnTo>
                    <a:pt x="1260" y="30"/>
                  </a:lnTo>
                  <a:lnTo>
                    <a:pt x="1272" y="30"/>
                  </a:lnTo>
                  <a:lnTo>
                    <a:pt x="1296" y="24"/>
                  </a:lnTo>
                  <a:lnTo>
                    <a:pt x="1302" y="30"/>
                  </a:lnTo>
                  <a:lnTo>
                    <a:pt x="1302" y="36"/>
                  </a:lnTo>
                  <a:lnTo>
                    <a:pt x="1308" y="36"/>
                  </a:lnTo>
                  <a:lnTo>
                    <a:pt x="1314" y="36"/>
                  </a:lnTo>
                  <a:lnTo>
                    <a:pt x="1320" y="36"/>
                  </a:lnTo>
                  <a:lnTo>
                    <a:pt x="1326" y="30"/>
                  </a:lnTo>
                  <a:lnTo>
                    <a:pt x="1332" y="30"/>
                  </a:lnTo>
                  <a:lnTo>
                    <a:pt x="1338" y="30"/>
                  </a:lnTo>
                  <a:lnTo>
                    <a:pt x="1344" y="30"/>
                  </a:lnTo>
                  <a:lnTo>
                    <a:pt x="1374" y="30"/>
                  </a:lnTo>
                  <a:lnTo>
                    <a:pt x="1386" y="30"/>
                  </a:lnTo>
                  <a:lnTo>
                    <a:pt x="1392" y="24"/>
                  </a:lnTo>
                  <a:lnTo>
                    <a:pt x="1398" y="12"/>
                  </a:lnTo>
                  <a:lnTo>
                    <a:pt x="1404" y="6"/>
                  </a:lnTo>
                  <a:lnTo>
                    <a:pt x="1410" y="6"/>
                  </a:lnTo>
                  <a:lnTo>
                    <a:pt x="1410" y="12"/>
                  </a:lnTo>
                  <a:lnTo>
                    <a:pt x="1416" y="18"/>
                  </a:lnTo>
                  <a:lnTo>
                    <a:pt x="1416" y="36"/>
                  </a:lnTo>
                  <a:lnTo>
                    <a:pt x="1434" y="54"/>
                  </a:lnTo>
                  <a:lnTo>
                    <a:pt x="1434" y="60"/>
                  </a:lnTo>
                  <a:lnTo>
                    <a:pt x="1434" y="66"/>
                  </a:lnTo>
                  <a:lnTo>
                    <a:pt x="1434" y="72"/>
                  </a:lnTo>
                  <a:lnTo>
                    <a:pt x="1428" y="72"/>
                  </a:lnTo>
                  <a:lnTo>
                    <a:pt x="1428" y="78"/>
                  </a:lnTo>
                  <a:lnTo>
                    <a:pt x="1434" y="78"/>
                  </a:lnTo>
                  <a:lnTo>
                    <a:pt x="1440" y="84"/>
                  </a:lnTo>
                  <a:lnTo>
                    <a:pt x="1440" y="90"/>
                  </a:lnTo>
                  <a:lnTo>
                    <a:pt x="1440" y="96"/>
                  </a:lnTo>
                  <a:lnTo>
                    <a:pt x="1446" y="96"/>
                  </a:lnTo>
                  <a:lnTo>
                    <a:pt x="1446" y="108"/>
                  </a:lnTo>
                  <a:lnTo>
                    <a:pt x="1452" y="108"/>
                  </a:lnTo>
                  <a:lnTo>
                    <a:pt x="1452" y="114"/>
                  </a:lnTo>
                  <a:lnTo>
                    <a:pt x="1458" y="114"/>
                  </a:lnTo>
                  <a:lnTo>
                    <a:pt x="1470" y="120"/>
                  </a:lnTo>
                  <a:lnTo>
                    <a:pt x="1476" y="120"/>
                  </a:lnTo>
                  <a:lnTo>
                    <a:pt x="1476" y="114"/>
                  </a:lnTo>
                  <a:lnTo>
                    <a:pt x="1488" y="120"/>
                  </a:lnTo>
                  <a:lnTo>
                    <a:pt x="1506" y="120"/>
                  </a:lnTo>
                  <a:lnTo>
                    <a:pt x="1512" y="120"/>
                  </a:lnTo>
                  <a:lnTo>
                    <a:pt x="1518" y="120"/>
                  </a:lnTo>
                  <a:lnTo>
                    <a:pt x="1524" y="126"/>
                  </a:lnTo>
                  <a:lnTo>
                    <a:pt x="1536" y="150"/>
                  </a:lnTo>
                  <a:lnTo>
                    <a:pt x="1548" y="162"/>
                  </a:lnTo>
                  <a:lnTo>
                    <a:pt x="1554" y="168"/>
                  </a:lnTo>
                  <a:lnTo>
                    <a:pt x="1584" y="228"/>
                  </a:lnTo>
                  <a:lnTo>
                    <a:pt x="1584" y="234"/>
                  </a:lnTo>
                  <a:lnTo>
                    <a:pt x="1578" y="312"/>
                  </a:lnTo>
                  <a:lnTo>
                    <a:pt x="1590" y="318"/>
                  </a:lnTo>
                  <a:lnTo>
                    <a:pt x="1608" y="330"/>
                  </a:lnTo>
                  <a:lnTo>
                    <a:pt x="1620" y="342"/>
                  </a:lnTo>
                  <a:lnTo>
                    <a:pt x="1626" y="342"/>
                  </a:lnTo>
                  <a:lnTo>
                    <a:pt x="1692" y="360"/>
                  </a:lnTo>
                  <a:lnTo>
                    <a:pt x="1710" y="408"/>
                  </a:lnTo>
                  <a:lnTo>
                    <a:pt x="1722" y="426"/>
                  </a:lnTo>
                  <a:lnTo>
                    <a:pt x="1716" y="468"/>
                  </a:lnTo>
                  <a:lnTo>
                    <a:pt x="1686" y="486"/>
                  </a:lnTo>
                  <a:lnTo>
                    <a:pt x="1686" y="492"/>
                  </a:lnTo>
                  <a:lnTo>
                    <a:pt x="1680" y="498"/>
                  </a:lnTo>
                  <a:lnTo>
                    <a:pt x="1650" y="558"/>
                  </a:lnTo>
                  <a:lnTo>
                    <a:pt x="1650" y="570"/>
                  </a:lnTo>
                  <a:lnTo>
                    <a:pt x="1644" y="570"/>
                  </a:lnTo>
                  <a:lnTo>
                    <a:pt x="1638" y="582"/>
                  </a:lnTo>
                  <a:lnTo>
                    <a:pt x="1638" y="624"/>
                  </a:lnTo>
                  <a:lnTo>
                    <a:pt x="1638" y="636"/>
                  </a:lnTo>
                  <a:lnTo>
                    <a:pt x="1638" y="642"/>
                  </a:lnTo>
                  <a:lnTo>
                    <a:pt x="1632" y="660"/>
                  </a:lnTo>
                  <a:lnTo>
                    <a:pt x="1608" y="678"/>
                  </a:lnTo>
                  <a:lnTo>
                    <a:pt x="1584" y="690"/>
                  </a:lnTo>
                  <a:lnTo>
                    <a:pt x="1584" y="696"/>
                  </a:lnTo>
                  <a:lnTo>
                    <a:pt x="1578" y="702"/>
                  </a:lnTo>
                  <a:lnTo>
                    <a:pt x="1584" y="702"/>
                  </a:lnTo>
                  <a:lnTo>
                    <a:pt x="1578" y="714"/>
                  </a:lnTo>
                  <a:lnTo>
                    <a:pt x="1572" y="714"/>
                  </a:lnTo>
                  <a:lnTo>
                    <a:pt x="1572" y="720"/>
                  </a:lnTo>
                  <a:lnTo>
                    <a:pt x="1566" y="720"/>
                  </a:lnTo>
                  <a:lnTo>
                    <a:pt x="1560" y="726"/>
                  </a:lnTo>
                  <a:lnTo>
                    <a:pt x="1560" y="732"/>
                  </a:lnTo>
                  <a:lnTo>
                    <a:pt x="1554" y="732"/>
                  </a:lnTo>
                  <a:lnTo>
                    <a:pt x="1554" y="738"/>
                  </a:lnTo>
                  <a:lnTo>
                    <a:pt x="1554" y="744"/>
                  </a:lnTo>
                  <a:lnTo>
                    <a:pt x="1548" y="744"/>
                  </a:lnTo>
                  <a:lnTo>
                    <a:pt x="1548" y="738"/>
                  </a:lnTo>
                  <a:lnTo>
                    <a:pt x="1542" y="738"/>
                  </a:lnTo>
                  <a:lnTo>
                    <a:pt x="1542" y="744"/>
                  </a:lnTo>
                  <a:lnTo>
                    <a:pt x="1542" y="750"/>
                  </a:lnTo>
                  <a:lnTo>
                    <a:pt x="1494" y="804"/>
                  </a:lnTo>
                  <a:lnTo>
                    <a:pt x="1446" y="876"/>
                  </a:lnTo>
                  <a:lnTo>
                    <a:pt x="1440" y="876"/>
                  </a:lnTo>
                  <a:lnTo>
                    <a:pt x="1434" y="876"/>
                  </a:lnTo>
                  <a:lnTo>
                    <a:pt x="1428" y="882"/>
                  </a:lnTo>
                  <a:lnTo>
                    <a:pt x="1422" y="882"/>
                  </a:lnTo>
                  <a:lnTo>
                    <a:pt x="1386" y="924"/>
                  </a:lnTo>
                  <a:lnTo>
                    <a:pt x="1362" y="954"/>
                  </a:lnTo>
                  <a:lnTo>
                    <a:pt x="1356" y="984"/>
                  </a:lnTo>
                  <a:lnTo>
                    <a:pt x="1362" y="1002"/>
                  </a:lnTo>
                  <a:lnTo>
                    <a:pt x="1368" y="1020"/>
                  </a:lnTo>
                  <a:lnTo>
                    <a:pt x="1386" y="1056"/>
                  </a:lnTo>
                  <a:lnTo>
                    <a:pt x="1404" y="1074"/>
                  </a:lnTo>
                  <a:lnTo>
                    <a:pt x="1416" y="1080"/>
                  </a:lnTo>
                  <a:lnTo>
                    <a:pt x="1416" y="1086"/>
                  </a:lnTo>
                  <a:lnTo>
                    <a:pt x="1422" y="1098"/>
                  </a:lnTo>
                  <a:lnTo>
                    <a:pt x="1422" y="1110"/>
                  </a:lnTo>
                  <a:lnTo>
                    <a:pt x="1428" y="1116"/>
                  </a:lnTo>
                  <a:lnTo>
                    <a:pt x="1434" y="1116"/>
                  </a:lnTo>
                  <a:lnTo>
                    <a:pt x="1434" y="1122"/>
                  </a:lnTo>
                  <a:lnTo>
                    <a:pt x="1434" y="1128"/>
                  </a:lnTo>
                  <a:lnTo>
                    <a:pt x="1440" y="1134"/>
                  </a:lnTo>
                  <a:lnTo>
                    <a:pt x="1446" y="1134"/>
                  </a:lnTo>
                  <a:lnTo>
                    <a:pt x="1458" y="1134"/>
                  </a:lnTo>
                  <a:lnTo>
                    <a:pt x="1458" y="1140"/>
                  </a:lnTo>
                  <a:lnTo>
                    <a:pt x="1464" y="1134"/>
                  </a:lnTo>
                  <a:lnTo>
                    <a:pt x="1470" y="1134"/>
                  </a:lnTo>
                  <a:lnTo>
                    <a:pt x="1464" y="1128"/>
                  </a:lnTo>
                  <a:lnTo>
                    <a:pt x="1464" y="1122"/>
                  </a:lnTo>
                  <a:lnTo>
                    <a:pt x="1470" y="1116"/>
                  </a:lnTo>
                  <a:lnTo>
                    <a:pt x="1470" y="1122"/>
                  </a:lnTo>
                  <a:lnTo>
                    <a:pt x="1476" y="1122"/>
                  </a:lnTo>
                  <a:lnTo>
                    <a:pt x="1476" y="1116"/>
                  </a:lnTo>
                  <a:lnTo>
                    <a:pt x="1482" y="1110"/>
                  </a:lnTo>
                  <a:lnTo>
                    <a:pt x="1476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82" y="1086"/>
                  </a:lnTo>
                  <a:lnTo>
                    <a:pt x="1482" y="1074"/>
                  </a:lnTo>
                  <a:lnTo>
                    <a:pt x="1488" y="1068"/>
                  </a:lnTo>
                  <a:lnTo>
                    <a:pt x="1488" y="1062"/>
                  </a:lnTo>
                  <a:lnTo>
                    <a:pt x="1494" y="1062"/>
                  </a:lnTo>
                  <a:lnTo>
                    <a:pt x="1500" y="1062"/>
                  </a:lnTo>
                  <a:lnTo>
                    <a:pt x="1506" y="1062"/>
                  </a:lnTo>
                  <a:lnTo>
                    <a:pt x="1506" y="1056"/>
                  </a:lnTo>
                  <a:lnTo>
                    <a:pt x="1506" y="1062"/>
                  </a:lnTo>
                  <a:lnTo>
                    <a:pt x="1518" y="1062"/>
                  </a:lnTo>
                  <a:lnTo>
                    <a:pt x="1524" y="1062"/>
                  </a:lnTo>
                  <a:lnTo>
                    <a:pt x="1530" y="1062"/>
                  </a:lnTo>
                  <a:lnTo>
                    <a:pt x="1536" y="1068"/>
                  </a:lnTo>
                  <a:lnTo>
                    <a:pt x="1536" y="1074"/>
                  </a:lnTo>
                  <a:lnTo>
                    <a:pt x="1542" y="1086"/>
                  </a:lnTo>
                  <a:lnTo>
                    <a:pt x="1548" y="1086"/>
                  </a:lnTo>
                  <a:lnTo>
                    <a:pt x="1554" y="1086"/>
                  </a:lnTo>
                  <a:lnTo>
                    <a:pt x="1566" y="1098"/>
                  </a:lnTo>
                  <a:lnTo>
                    <a:pt x="1572" y="1104"/>
                  </a:lnTo>
                  <a:lnTo>
                    <a:pt x="1566" y="1110"/>
                  </a:lnTo>
                  <a:lnTo>
                    <a:pt x="1572" y="1116"/>
                  </a:lnTo>
                  <a:lnTo>
                    <a:pt x="1578" y="1116"/>
                  </a:lnTo>
                  <a:lnTo>
                    <a:pt x="1578" y="1122"/>
                  </a:lnTo>
                  <a:lnTo>
                    <a:pt x="1584" y="1122"/>
                  </a:lnTo>
                  <a:lnTo>
                    <a:pt x="1584" y="1128"/>
                  </a:lnTo>
                  <a:lnTo>
                    <a:pt x="1584" y="1134"/>
                  </a:lnTo>
                  <a:lnTo>
                    <a:pt x="1590" y="1134"/>
                  </a:lnTo>
                  <a:lnTo>
                    <a:pt x="1596" y="1140"/>
                  </a:lnTo>
                  <a:lnTo>
                    <a:pt x="1602" y="1146"/>
                  </a:lnTo>
                  <a:lnTo>
                    <a:pt x="1608" y="1146"/>
                  </a:lnTo>
                  <a:lnTo>
                    <a:pt x="1614" y="1146"/>
                  </a:lnTo>
                  <a:lnTo>
                    <a:pt x="1614" y="1152"/>
                  </a:lnTo>
                  <a:lnTo>
                    <a:pt x="1620" y="1152"/>
                  </a:lnTo>
                  <a:lnTo>
                    <a:pt x="1626" y="1164"/>
                  </a:lnTo>
                  <a:lnTo>
                    <a:pt x="1632" y="1170"/>
                  </a:lnTo>
                  <a:lnTo>
                    <a:pt x="1638" y="1176"/>
                  </a:lnTo>
                  <a:lnTo>
                    <a:pt x="1638" y="1182"/>
                  </a:lnTo>
                  <a:lnTo>
                    <a:pt x="1644" y="1194"/>
                  </a:lnTo>
                  <a:lnTo>
                    <a:pt x="1644" y="1200"/>
                  </a:lnTo>
                  <a:lnTo>
                    <a:pt x="1638" y="1200"/>
                  </a:lnTo>
                  <a:lnTo>
                    <a:pt x="1638" y="1206"/>
                  </a:lnTo>
                  <a:lnTo>
                    <a:pt x="1638" y="1212"/>
                  </a:lnTo>
                  <a:lnTo>
                    <a:pt x="1638" y="1218"/>
                  </a:lnTo>
                  <a:lnTo>
                    <a:pt x="1632" y="1242"/>
                  </a:lnTo>
                  <a:lnTo>
                    <a:pt x="1632" y="1266"/>
                  </a:lnTo>
                  <a:lnTo>
                    <a:pt x="1638" y="1284"/>
                  </a:lnTo>
                  <a:lnTo>
                    <a:pt x="1638" y="1296"/>
                  </a:lnTo>
                  <a:lnTo>
                    <a:pt x="1632" y="1296"/>
                  </a:lnTo>
                  <a:lnTo>
                    <a:pt x="1632" y="1302"/>
                  </a:lnTo>
                  <a:lnTo>
                    <a:pt x="1638" y="1314"/>
                  </a:lnTo>
                  <a:lnTo>
                    <a:pt x="1638" y="1320"/>
                  </a:lnTo>
                  <a:lnTo>
                    <a:pt x="1632" y="1320"/>
                  </a:lnTo>
                  <a:lnTo>
                    <a:pt x="1632" y="1326"/>
                  </a:lnTo>
                  <a:lnTo>
                    <a:pt x="1644" y="1332"/>
                  </a:lnTo>
                  <a:lnTo>
                    <a:pt x="1644" y="1338"/>
                  </a:lnTo>
                  <a:lnTo>
                    <a:pt x="1650" y="1344"/>
                  </a:lnTo>
                  <a:lnTo>
                    <a:pt x="1668" y="1362"/>
                  </a:lnTo>
                  <a:lnTo>
                    <a:pt x="1668" y="1368"/>
                  </a:lnTo>
                  <a:lnTo>
                    <a:pt x="1674" y="1392"/>
                  </a:lnTo>
                  <a:lnTo>
                    <a:pt x="1686" y="140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2" name="Freeform 17">
              <a:extLst>
                <a:ext uri="{FF2B5EF4-FFF2-40B4-BE49-F238E27FC236}">
                  <a16:creationId xmlns:a16="http://schemas.microsoft.com/office/drawing/2014/main" id="{9F9DF7AF-2203-4CCB-AF1B-32CDAF87CC5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416927"/>
              <a:ext cx="816209" cy="574781"/>
            </a:xfrm>
            <a:custGeom>
              <a:avLst/>
              <a:gdLst>
                <a:gd name="T0" fmla="*/ 115 w 1536"/>
                <a:gd name="T1" fmla="*/ 89 h 1080"/>
                <a:gd name="T2" fmla="*/ 113 w 1536"/>
                <a:gd name="T3" fmla="*/ 92 h 1080"/>
                <a:gd name="T4" fmla="*/ 107 w 1536"/>
                <a:gd name="T5" fmla="*/ 93 h 1080"/>
                <a:gd name="T6" fmla="*/ 108 w 1536"/>
                <a:gd name="T7" fmla="*/ 90 h 1080"/>
                <a:gd name="T8" fmla="*/ 105 w 1536"/>
                <a:gd name="T9" fmla="*/ 87 h 1080"/>
                <a:gd name="T10" fmla="*/ 102 w 1536"/>
                <a:gd name="T11" fmla="*/ 85 h 1080"/>
                <a:gd name="T12" fmla="*/ 89 w 1536"/>
                <a:gd name="T13" fmla="*/ 80 h 1080"/>
                <a:gd name="T14" fmla="*/ 85 w 1536"/>
                <a:gd name="T15" fmla="*/ 82 h 1080"/>
                <a:gd name="T16" fmla="*/ 82 w 1536"/>
                <a:gd name="T17" fmla="*/ 80 h 1080"/>
                <a:gd name="T18" fmla="*/ 80 w 1536"/>
                <a:gd name="T19" fmla="*/ 75 h 1080"/>
                <a:gd name="T20" fmla="*/ 75 w 1536"/>
                <a:gd name="T21" fmla="*/ 72 h 1080"/>
                <a:gd name="T22" fmla="*/ 61 w 1536"/>
                <a:gd name="T23" fmla="*/ 70 h 1080"/>
                <a:gd name="T24" fmla="*/ 62 w 1536"/>
                <a:gd name="T25" fmla="*/ 72 h 1080"/>
                <a:gd name="T26" fmla="*/ 58 w 1536"/>
                <a:gd name="T27" fmla="*/ 75 h 1080"/>
                <a:gd name="T28" fmla="*/ 49 w 1536"/>
                <a:gd name="T29" fmla="*/ 76 h 1080"/>
                <a:gd name="T30" fmla="*/ 41 w 1536"/>
                <a:gd name="T31" fmla="*/ 79 h 1080"/>
                <a:gd name="T32" fmla="*/ 41 w 1536"/>
                <a:gd name="T33" fmla="*/ 77 h 1080"/>
                <a:gd name="T34" fmla="*/ 39 w 1536"/>
                <a:gd name="T35" fmla="*/ 74 h 1080"/>
                <a:gd name="T36" fmla="*/ 28 w 1536"/>
                <a:gd name="T37" fmla="*/ 78 h 1080"/>
                <a:gd name="T38" fmla="*/ 18 w 1536"/>
                <a:gd name="T39" fmla="*/ 85 h 1080"/>
                <a:gd name="T40" fmla="*/ 18 w 1536"/>
                <a:gd name="T41" fmla="*/ 77 h 1080"/>
                <a:gd name="T42" fmla="*/ 19 w 1536"/>
                <a:gd name="T43" fmla="*/ 69 h 1080"/>
                <a:gd name="T44" fmla="*/ 16 w 1536"/>
                <a:gd name="T45" fmla="*/ 69 h 1080"/>
                <a:gd name="T46" fmla="*/ 11 w 1536"/>
                <a:gd name="T47" fmla="*/ 69 h 1080"/>
                <a:gd name="T48" fmla="*/ 5 w 1536"/>
                <a:gd name="T49" fmla="*/ 68 h 1080"/>
                <a:gd name="T50" fmla="*/ 1 w 1536"/>
                <a:gd name="T51" fmla="*/ 63 h 1080"/>
                <a:gd name="T52" fmla="*/ 3 w 1536"/>
                <a:gd name="T53" fmla="*/ 59 h 1080"/>
                <a:gd name="T54" fmla="*/ 9 w 1536"/>
                <a:gd name="T55" fmla="*/ 54 h 1080"/>
                <a:gd name="T56" fmla="*/ 15 w 1536"/>
                <a:gd name="T57" fmla="*/ 47 h 1080"/>
                <a:gd name="T58" fmla="*/ 17 w 1536"/>
                <a:gd name="T59" fmla="*/ 40 h 1080"/>
                <a:gd name="T60" fmla="*/ 12 w 1536"/>
                <a:gd name="T61" fmla="*/ 33 h 1080"/>
                <a:gd name="T62" fmla="*/ 10 w 1536"/>
                <a:gd name="T63" fmla="*/ 21 h 1080"/>
                <a:gd name="T64" fmla="*/ 6 w 1536"/>
                <a:gd name="T65" fmla="*/ 14 h 1080"/>
                <a:gd name="T66" fmla="*/ 7 w 1536"/>
                <a:gd name="T67" fmla="*/ 9 h 1080"/>
                <a:gd name="T68" fmla="*/ 12 w 1536"/>
                <a:gd name="T69" fmla="*/ 7 h 1080"/>
                <a:gd name="T70" fmla="*/ 16 w 1536"/>
                <a:gd name="T71" fmla="*/ 8 h 1080"/>
                <a:gd name="T72" fmla="*/ 19 w 1536"/>
                <a:gd name="T73" fmla="*/ 8 h 1080"/>
                <a:gd name="T74" fmla="*/ 22 w 1536"/>
                <a:gd name="T75" fmla="*/ 9 h 1080"/>
                <a:gd name="T76" fmla="*/ 29 w 1536"/>
                <a:gd name="T77" fmla="*/ 12 h 1080"/>
                <a:gd name="T78" fmla="*/ 33 w 1536"/>
                <a:gd name="T79" fmla="*/ 13 h 1080"/>
                <a:gd name="T80" fmla="*/ 38 w 1536"/>
                <a:gd name="T81" fmla="*/ 15 h 1080"/>
                <a:gd name="T82" fmla="*/ 42 w 1536"/>
                <a:gd name="T83" fmla="*/ 17 h 1080"/>
                <a:gd name="T84" fmla="*/ 47 w 1536"/>
                <a:gd name="T85" fmla="*/ 19 h 1080"/>
                <a:gd name="T86" fmla="*/ 51 w 1536"/>
                <a:gd name="T87" fmla="*/ 21 h 1080"/>
                <a:gd name="T88" fmla="*/ 50 w 1536"/>
                <a:gd name="T89" fmla="*/ 15 h 1080"/>
                <a:gd name="T90" fmla="*/ 56 w 1536"/>
                <a:gd name="T91" fmla="*/ 0 h 1080"/>
                <a:gd name="T92" fmla="*/ 74 w 1536"/>
                <a:gd name="T93" fmla="*/ 5 h 1080"/>
                <a:gd name="T94" fmla="*/ 87 w 1536"/>
                <a:gd name="T95" fmla="*/ 6 h 1080"/>
                <a:gd name="T96" fmla="*/ 92 w 1536"/>
                <a:gd name="T97" fmla="*/ 11 h 1080"/>
                <a:gd name="T98" fmla="*/ 95 w 1536"/>
                <a:gd name="T99" fmla="*/ 15 h 1080"/>
                <a:gd name="T100" fmla="*/ 93 w 1536"/>
                <a:gd name="T101" fmla="*/ 20 h 1080"/>
                <a:gd name="T102" fmla="*/ 108 w 1536"/>
                <a:gd name="T103" fmla="*/ 18 h 1080"/>
                <a:gd name="T104" fmla="*/ 120 w 1536"/>
                <a:gd name="T105" fmla="*/ 21 h 1080"/>
                <a:gd name="T106" fmla="*/ 127 w 1536"/>
                <a:gd name="T107" fmla="*/ 29 h 1080"/>
                <a:gd name="T108" fmla="*/ 130 w 1536"/>
                <a:gd name="T109" fmla="*/ 30 h 1080"/>
                <a:gd name="T110" fmla="*/ 130 w 1536"/>
                <a:gd name="T111" fmla="*/ 49 h 1080"/>
                <a:gd name="T112" fmla="*/ 120 w 1536"/>
                <a:gd name="T113" fmla="*/ 69 h 1080"/>
                <a:gd name="T114" fmla="*/ 119 w 1536"/>
                <a:gd name="T115" fmla="*/ 74 h 1080"/>
                <a:gd name="T116" fmla="*/ 118 w 1536"/>
                <a:gd name="T117" fmla="*/ 80 h 108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536"/>
                <a:gd name="T178" fmla="*/ 0 h 1080"/>
                <a:gd name="T179" fmla="*/ 1536 w 1536"/>
                <a:gd name="T180" fmla="*/ 1080 h 108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536" h="1080">
                  <a:moveTo>
                    <a:pt x="1350" y="1020"/>
                  </a:moveTo>
                  <a:lnTo>
                    <a:pt x="1350" y="1026"/>
                  </a:lnTo>
                  <a:lnTo>
                    <a:pt x="1344" y="1026"/>
                  </a:lnTo>
                  <a:lnTo>
                    <a:pt x="1338" y="1032"/>
                  </a:lnTo>
                  <a:lnTo>
                    <a:pt x="1332" y="1026"/>
                  </a:lnTo>
                  <a:lnTo>
                    <a:pt x="1326" y="1026"/>
                  </a:lnTo>
                  <a:lnTo>
                    <a:pt x="1320" y="1020"/>
                  </a:lnTo>
                  <a:lnTo>
                    <a:pt x="1314" y="1026"/>
                  </a:lnTo>
                  <a:lnTo>
                    <a:pt x="1314" y="1032"/>
                  </a:lnTo>
                  <a:lnTo>
                    <a:pt x="1308" y="1038"/>
                  </a:lnTo>
                  <a:lnTo>
                    <a:pt x="1308" y="1044"/>
                  </a:lnTo>
                  <a:lnTo>
                    <a:pt x="1308" y="1050"/>
                  </a:lnTo>
                  <a:lnTo>
                    <a:pt x="1308" y="1056"/>
                  </a:lnTo>
                  <a:lnTo>
                    <a:pt x="1308" y="1062"/>
                  </a:lnTo>
                  <a:lnTo>
                    <a:pt x="1296" y="1068"/>
                  </a:lnTo>
                  <a:lnTo>
                    <a:pt x="1284" y="1074"/>
                  </a:lnTo>
                  <a:lnTo>
                    <a:pt x="1272" y="1080"/>
                  </a:lnTo>
                  <a:lnTo>
                    <a:pt x="1260" y="1080"/>
                  </a:lnTo>
                  <a:lnTo>
                    <a:pt x="1254" y="1074"/>
                  </a:lnTo>
                  <a:lnTo>
                    <a:pt x="1236" y="1074"/>
                  </a:lnTo>
                  <a:lnTo>
                    <a:pt x="1230" y="1074"/>
                  </a:lnTo>
                  <a:lnTo>
                    <a:pt x="1236" y="1074"/>
                  </a:lnTo>
                  <a:lnTo>
                    <a:pt x="1236" y="1068"/>
                  </a:lnTo>
                  <a:lnTo>
                    <a:pt x="1236" y="1062"/>
                  </a:lnTo>
                  <a:lnTo>
                    <a:pt x="1236" y="1056"/>
                  </a:lnTo>
                  <a:lnTo>
                    <a:pt x="1242" y="1050"/>
                  </a:lnTo>
                  <a:lnTo>
                    <a:pt x="1242" y="1044"/>
                  </a:lnTo>
                  <a:lnTo>
                    <a:pt x="1242" y="1038"/>
                  </a:lnTo>
                  <a:lnTo>
                    <a:pt x="1248" y="1032"/>
                  </a:lnTo>
                  <a:lnTo>
                    <a:pt x="1236" y="1026"/>
                  </a:lnTo>
                  <a:lnTo>
                    <a:pt x="1218" y="1020"/>
                  </a:lnTo>
                  <a:lnTo>
                    <a:pt x="1224" y="1014"/>
                  </a:lnTo>
                  <a:lnTo>
                    <a:pt x="1218" y="1008"/>
                  </a:lnTo>
                  <a:lnTo>
                    <a:pt x="1218" y="1002"/>
                  </a:lnTo>
                  <a:lnTo>
                    <a:pt x="1212" y="1008"/>
                  </a:lnTo>
                  <a:lnTo>
                    <a:pt x="1206" y="1002"/>
                  </a:lnTo>
                  <a:lnTo>
                    <a:pt x="1212" y="1002"/>
                  </a:lnTo>
                  <a:lnTo>
                    <a:pt x="1212" y="996"/>
                  </a:lnTo>
                  <a:lnTo>
                    <a:pt x="1200" y="990"/>
                  </a:lnTo>
                  <a:lnTo>
                    <a:pt x="1200" y="984"/>
                  </a:lnTo>
                  <a:lnTo>
                    <a:pt x="1188" y="984"/>
                  </a:lnTo>
                  <a:lnTo>
                    <a:pt x="1176" y="978"/>
                  </a:lnTo>
                  <a:lnTo>
                    <a:pt x="1164" y="960"/>
                  </a:lnTo>
                  <a:lnTo>
                    <a:pt x="1152" y="936"/>
                  </a:lnTo>
                  <a:lnTo>
                    <a:pt x="1146" y="936"/>
                  </a:lnTo>
                  <a:lnTo>
                    <a:pt x="1128" y="900"/>
                  </a:lnTo>
                  <a:lnTo>
                    <a:pt x="1038" y="912"/>
                  </a:lnTo>
                  <a:lnTo>
                    <a:pt x="1038" y="918"/>
                  </a:lnTo>
                  <a:lnTo>
                    <a:pt x="1032" y="924"/>
                  </a:lnTo>
                  <a:lnTo>
                    <a:pt x="1026" y="918"/>
                  </a:lnTo>
                  <a:lnTo>
                    <a:pt x="1020" y="924"/>
                  </a:lnTo>
                  <a:lnTo>
                    <a:pt x="1008" y="936"/>
                  </a:lnTo>
                  <a:lnTo>
                    <a:pt x="990" y="936"/>
                  </a:lnTo>
                  <a:lnTo>
                    <a:pt x="990" y="942"/>
                  </a:lnTo>
                  <a:lnTo>
                    <a:pt x="996" y="942"/>
                  </a:lnTo>
                  <a:lnTo>
                    <a:pt x="984" y="948"/>
                  </a:lnTo>
                  <a:lnTo>
                    <a:pt x="972" y="948"/>
                  </a:lnTo>
                  <a:lnTo>
                    <a:pt x="960" y="948"/>
                  </a:lnTo>
                  <a:lnTo>
                    <a:pt x="948" y="942"/>
                  </a:lnTo>
                  <a:lnTo>
                    <a:pt x="948" y="936"/>
                  </a:lnTo>
                  <a:lnTo>
                    <a:pt x="942" y="936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30" y="924"/>
                  </a:lnTo>
                  <a:lnTo>
                    <a:pt x="936" y="918"/>
                  </a:lnTo>
                  <a:lnTo>
                    <a:pt x="918" y="918"/>
                  </a:lnTo>
                  <a:lnTo>
                    <a:pt x="918" y="900"/>
                  </a:lnTo>
                  <a:lnTo>
                    <a:pt x="924" y="900"/>
                  </a:lnTo>
                  <a:lnTo>
                    <a:pt x="924" y="894"/>
                  </a:lnTo>
                  <a:lnTo>
                    <a:pt x="924" y="870"/>
                  </a:lnTo>
                  <a:lnTo>
                    <a:pt x="924" y="864"/>
                  </a:lnTo>
                  <a:lnTo>
                    <a:pt x="918" y="858"/>
                  </a:lnTo>
                  <a:lnTo>
                    <a:pt x="918" y="852"/>
                  </a:lnTo>
                  <a:lnTo>
                    <a:pt x="906" y="840"/>
                  </a:lnTo>
                  <a:lnTo>
                    <a:pt x="894" y="834"/>
                  </a:lnTo>
                  <a:lnTo>
                    <a:pt x="876" y="822"/>
                  </a:lnTo>
                  <a:lnTo>
                    <a:pt x="870" y="828"/>
                  </a:lnTo>
                  <a:lnTo>
                    <a:pt x="858" y="816"/>
                  </a:lnTo>
                  <a:lnTo>
                    <a:pt x="810" y="798"/>
                  </a:lnTo>
                  <a:lnTo>
                    <a:pt x="774" y="792"/>
                  </a:lnTo>
                  <a:lnTo>
                    <a:pt x="732" y="798"/>
                  </a:lnTo>
                  <a:lnTo>
                    <a:pt x="726" y="804"/>
                  </a:lnTo>
                  <a:lnTo>
                    <a:pt x="714" y="810"/>
                  </a:lnTo>
                  <a:lnTo>
                    <a:pt x="702" y="810"/>
                  </a:lnTo>
                  <a:lnTo>
                    <a:pt x="690" y="810"/>
                  </a:lnTo>
                  <a:lnTo>
                    <a:pt x="696" y="816"/>
                  </a:lnTo>
                  <a:lnTo>
                    <a:pt x="696" y="822"/>
                  </a:lnTo>
                  <a:lnTo>
                    <a:pt x="702" y="822"/>
                  </a:lnTo>
                  <a:lnTo>
                    <a:pt x="708" y="822"/>
                  </a:lnTo>
                  <a:lnTo>
                    <a:pt x="708" y="828"/>
                  </a:lnTo>
                  <a:lnTo>
                    <a:pt x="708" y="834"/>
                  </a:lnTo>
                  <a:lnTo>
                    <a:pt x="714" y="834"/>
                  </a:lnTo>
                  <a:lnTo>
                    <a:pt x="708" y="846"/>
                  </a:lnTo>
                  <a:lnTo>
                    <a:pt x="708" y="852"/>
                  </a:lnTo>
                  <a:lnTo>
                    <a:pt x="702" y="852"/>
                  </a:lnTo>
                  <a:lnTo>
                    <a:pt x="696" y="858"/>
                  </a:lnTo>
                  <a:lnTo>
                    <a:pt x="690" y="864"/>
                  </a:lnTo>
                  <a:lnTo>
                    <a:pt x="666" y="870"/>
                  </a:lnTo>
                  <a:lnTo>
                    <a:pt x="660" y="876"/>
                  </a:lnTo>
                  <a:lnTo>
                    <a:pt x="642" y="876"/>
                  </a:lnTo>
                  <a:lnTo>
                    <a:pt x="606" y="882"/>
                  </a:lnTo>
                  <a:lnTo>
                    <a:pt x="588" y="882"/>
                  </a:lnTo>
                  <a:lnTo>
                    <a:pt x="582" y="876"/>
                  </a:lnTo>
                  <a:lnTo>
                    <a:pt x="576" y="876"/>
                  </a:lnTo>
                  <a:lnTo>
                    <a:pt x="564" y="876"/>
                  </a:lnTo>
                  <a:lnTo>
                    <a:pt x="552" y="882"/>
                  </a:lnTo>
                  <a:lnTo>
                    <a:pt x="540" y="894"/>
                  </a:lnTo>
                  <a:lnTo>
                    <a:pt x="534" y="906"/>
                  </a:lnTo>
                  <a:lnTo>
                    <a:pt x="528" y="912"/>
                  </a:lnTo>
                  <a:lnTo>
                    <a:pt x="516" y="924"/>
                  </a:lnTo>
                  <a:lnTo>
                    <a:pt x="486" y="930"/>
                  </a:lnTo>
                  <a:lnTo>
                    <a:pt x="474" y="912"/>
                  </a:lnTo>
                  <a:lnTo>
                    <a:pt x="474" y="906"/>
                  </a:lnTo>
                  <a:lnTo>
                    <a:pt x="468" y="906"/>
                  </a:lnTo>
                  <a:lnTo>
                    <a:pt x="468" y="900"/>
                  </a:lnTo>
                  <a:lnTo>
                    <a:pt x="462" y="894"/>
                  </a:lnTo>
                  <a:lnTo>
                    <a:pt x="456" y="894"/>
                  </a:lnTo>
                  <a:lnTo>
                    <a:pt x="462" y="888"/>
                  </a:lnTo>
                  <a:lnTo>
                    <a:pt x="468" y="888"/>
                  </a:lnTo>
                  <a:lnTo>
                    <a:pt x="462" y="882"/>
                  </a:lnTo>
                  <a:lnTo>
                    <a:pt x="462" y="876"/>
                  </a:lnTo>
                  <a:lnTo>
                    <a:pt x="456" y="870"/>
                  </a:lnTo>
                  <a:lnTo>
                    <a:pt x="456" y="864"/>
                  </a:lnTo>
                  <a:lnTo>
                    <a:pt x="450" y="858"/>
                  </a:lnTo>
                  <a:lnTo>
                    <a:pt x="444" y="858"/>
                  </a:lnTo>
                  <a:lnTo>
                    <a:pt x="444" y="852"/>
                  </a:lnTo>
                  <a:lnTo>
                    <a:pt x="438" y="852"/>
                  </a:lnTo>
                  <a:lnTo>
                    <a:pt x="438" y="858"/>
                  </a:lnTo>
                  <a:lnTo>
                    <a:pt x="402" y="870"/>
                  </a:lnTo>
                  <a:lnTo>
                    <a:pt x="390" y="882"/>
                  </a:lnTo>
                  <a:lnTo>
                    <a:pt x="384" y="900"/>
                  </a:lnTo>
                  <a:lnTo>
                    <a:pt x="342" y="900"/>
                  </a:lnTo>
                  <a:lnTo>
                    <a:pt x="324" y="900"/>
                  </a:lnTo>
                  <a:lnTo>
                    <a:pt x="294" y="906"/>
                  </a:lnTo>
                  <a:lnTo>
                    <a:pt x="282" y="948"/>
                  </a:lnTo>
                  <a:lnTo>
                    <a:pt x="282" y="978"/>
                  </a:lnTo>
                  <a:lnTo>
                    <a:pt x="270" y="1008"/>
                  </a:lnTo>
                  <a:lnTo>
                    <a:pt x="240" y="1014"/>
                  </a:lnTo>
                  <a:lnTo>
                    <a:pt x="216" y="996"/>
                  </a:lnTo>
                  <a:lnTo>
                    <a:pt x="204" y="984"/>
                  </a:lnTo>
                  <a:lnTo>
                    <a:pt x="192" y="966"/>
                  </a:lnTo>
                  <a:lnTo>
                    <a:pt x="186" y="948"/>
                  </a:lnTo>
                  <a:lnTo>
                    <a:pt x="174" y="948"/>
                  </a:lnTo>
                  <a:lnTo>
                    <a:pt x="174" y="936"/>
                  </a:lnTo>
                  <a:lnTo>
                    <a:pt x="186" y="924"/>
                  </a:lnTo>
                  <a:lnTo>
                    <a:pt x="198" y="906"/>
                  </a:lnTo>
                  <a:lnTo>
                    <a:pt x="204" y="888"/>
                  </a:lnTo>
                  <a:lnTo>
                    <a:pt x="222" y="870"/>
                  </a:lnTo>
                  <a:lnTo>
                    <a:pt x="234" y="858"/>
                  </a:lnTo>
                  <a:lnTo>
                    <a:pt x="234" y="852"/>
                  </a:lnTo>
                  <a:lnTo>
                    <a:pt x="222" y="852"/>
                  </a:lnTo>
                  <a:lnTo>
                    <a:pt x="228" y="810"/>
                  </a:lnTo>
                  <a:lnTo>
                    <a:pt x="222" y="798"/>
                  </a:lnTo>
                  <a:lnTo>
                    <a:pt x="216" y="798"/>
                  </a:lnTo>
                  <a:lnTo>
                    <a:pt x="216" y="792"/>
                  </a:lnTo>
                  <a:lnTo>
                    <a:pt x="210" y="792"/>
                  </a:lnTo>
                  <a:lnTo>
                    <a:pt x="204" y="798"/>
                  </a:lnTo>
                  <a:lnTo>
                    <a:pt x="204" y="792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0" y="786"/>
                  </a:lnTo>
                  <a:lnTo>
                    <a:pt x="174" y="792"/>
                  </a:lnTo>
                  <a:lnTo>
                    <a:pt x="162" y="792"/>
                  </a:lnTo>
                  <a:lnTo>
                    <a:pt x="156" y="792"/>
                  </a:lnTo>
                  <a:lnTo>
                    <a:pt x="156" y="798"/>
                  </a:lnTo>
                  <a:lnTo>
                    <a:pt x="138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6" y="804"/>
                  </a:lnTo>
                  <a:lnTo>
                    <a:pt x="102" y="810"/>
                  </a:lnTo>
                  <a:lnTo>
                    <a:pt x="90" y="810"/>
                  </a:lnTo>
                  <a:lnTo>
                    <a:pt x="72" y="798"/>
                  </a:lnTo>
                  <a:lnTo>
                    <a:pt x="66" y="780"/>
                  </a:lnTo>
                  <a:lnTo>
                    <a:pt x="60" y="780"/>
                  </a:lnTo>
                  <a:lnTo>
                    <a:pt x="60" y="768"/>
                  </a:lnTo>
                  <a:lnTo>
                    <a:pt x="54" y="768"/>
                  </a:lnTo>
                  <a:lnTo>
                    <a:pt x="24" y="756"/>
                  </a:lnTo>
                  <a:lnTo>
                    <a:pt x="18" y="744"/>
                  </a:lnTo>
                  <a:lnTo>
                    <a:pt x="12" y="738"/>
                  </a:lnTo>
                  <a:lnTo>
                    <a:pt x="18" y="732"/>
                  </a:lnTo>
                  <a:lnTo>
                    <a:pt x="12" y="726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8" y="696"/>
                  </a:lnTo>
                  <a:lnTo>
                    <a:pt x="24" y="708"/>
                  </a:lnTo>
                  <a:lnTo>
                    <a:pt x="36" y="702"/>
                  </a:lnTo>
                  <a:lnTo>
                    <a:pt x="36" y="678"/>
                  </a:lnTo>
                  <a:lnTo>
                    <a:pt x="36" y="660"/>
                  </a:lnTo>
                  <a:lnTo>
                    <a:pt x="42" y="654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72" y="624"/>
                  </a:lnTo>
                  <a:lnTo>
                    <a:pt x="90" y="618"/>
                  </a:lnTo>
                  <a:lnTo>
                    <a:pt x="102" y="618"/>
                  </a:lnTo>
                  <a:lnTo>
                    <a:pt x="114" y="612"/>
                  </a:lnTo>
                  <a:lnTo>
                    <a:pt x="138" y="606"/>
                  </a:lnTo>
                  <a:lnTo>
                    <a:pt x="144" y="606"/>
                  </a:lnTo>
                  <a:lnTo>
                    <a:pt x="150" y="594"/>
                  </a:lnTo>
                  <a:lnTo>
                    <a:pt x="156" y="576"/>
                  </a:lnTo>
                  <a:lnTo>
                    <a:pt x="168" y="552"/>
                  </a:lnTo>
                  <a:lnTo>
                    <a:pt x="168" y="540"/>
                  </a:lnTo>
                  <a:lnTo>
                    <a:pt x="180" y="522"/>
                  </a:lnTo>
                  <a:lnTo>
                    <a:pt x="186" y="498"/>
                  </a:lnTo>
                  <a:lnTo>
                    <a:pt x="198" y="480"/>
                  </a:lnTo>
                  <a:lnTo>
                    <a:pt x="204" y="486"/>
                  </a:lnTo>
                  <a:lnTo>
                    <a:pt x="210" y="480"/>
                  </a:lnTo>
                  <a:lnTo>
                    <a:pt x="204" y="474"/>
                  </a:lnTo>
                  <a:lnTo>
                    <a:pt x="198" y="462"/>
                  </a:lnTo>
                  <a:lnTo>
                    <a:pt x="192" y="456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50"/>
                  </a:lnTo>
                  <a:lnTo>
                    <a:pt x="132" y="426"/>
                  </a:lnTo>
                  <a:lnTo>
                    <a:pt x="132" y="396"/>
                  </a:lnTo>
                  <a:lnTo>
                    <a:pt x="132" y="378"/>
                  </a:lnTo>
                  <a:lnTo>
                    <a:pt x="126" y="348"/>
                  </a:lnTo>
                  <a:lnTo>
                    <a:pt x="132" y="312"/>
                  </a:lnTo>
                  <a:lnTo>
                    <a:pt x="126" y="288"/>
                  </a:lnTo>
                  <a:lnTo>
                    <a:pt x="138" y="282"/>
                  </a:lnTo>
                  <a:lnTo>
                    <a:pt x="126" y="264"/>
                  </a:lnTo>
                  <a:lnTo>
                    <a:pt x="126" y="258"/>
                  </a:lnTo>
                  <a:lnTo>
                    <a:pt x="120" y="246"/>
                  </a:lnTo>
                  <a:lnTo>
                    <a:pt x="126" y="234"/>
                  </a:lnTo>
                  <a:lnTo>
                    <a:pt x="114" y="228"/>
                  </a:lnTo>
                  <a:lnTo>
                    <a:pt x="114" y="222"/>
                  </a:lnTo>
                  <a:lnTo>
                    <a:pt x="96" y="204"/>
                  </a:lnTo>
                  <a:lnTo>
                    <a:pt x="84" y="180"/>
                  </a:lnTo>
                  <a:lnTo>
                    <a:pt x="78" y="168"/>
                  </a:lnTo>
                  <a:lnTo>
                    <a:pt x="72" y="162"/>
                  </a:lnTo>
                  <a:lnTo>
                    <a:pt x="66" y="144"/>
                  </a:lnTo>
                  <a:lnTo>
                    <a:pt x="60" y="138"/>
                  </a:lnTo>
                  <a:lnTo>
                    <a:pt x="66" y="126"/>
                  </a:lnTo>
                  <a:lnTo>
                    <a:pt x="66" y="114"/>
                  </a:lnTo>
                  <a:lnTo>
                    <a:pt x="72" y="114"/>
                  </a:lnTo>
                  <a:lnTo>
                    <a:pt x="72" y="108"/>
                  </a:lnTo>
                  <a:lnTo>
                    <a:pt x="78" y="102"/>
                  </a:lnTo>
                  <a:lnTo>
                    <a:pt x="78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120" y="78"/>
                  </a:lnTo>
                  <a:lnTo>
                    <a:pt x="144" y="84"/>
                  </a:lnTo>
                  <a:lnTo>
                    <a:pt x="150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74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92" y="102"/>
                  </a:lnTo>
                  <a:lnTo>
                    <a:pt x="198" y="96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16" y="96"/>
                  </a:lnTo>
                  <a:lnTo>
                    <a:pt x="222" y="96"/>
                  </a:lnTo>
                  <a:lnTo>
                    <a:pt x="228" y="96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94" y="114"/>
                  </a:lnTo>
                  <a:lnTo>
                    <a:pt x="312" y="120"/>
                  </a:lnTo>
                  <a:lnTo>
                    <a:pt x="318" y="126"/>
                  </a:lnTo>
                  <a:lnTo>
                    <a:pt x="330" y="132"/>
                  </a:lnTo>
                  <a:lnTo>
                    <a:pt x="342" y="132"/>
                  </a:lnTo>
                  <a:lnTo>
                    <a:pt x="348" y="132"/>
                  </a:lnTo>
                  <a:lnTo>
                    <a:pt x="354" y="138"/>
                  </a:lnTo>
                  <a:lnTo>
                    <a:pt x="366" y="138"/>
                  </a:lnTo>
                  <a:lnTo>
                    <a:pt x="372" y="144"/>
                  </a:lnTo>
                  <a:lnTo>
                    <a:pt x="378" y="150"/>
                  </a:lnTo>
                  <a:lnTo>
                    <a:pt x="384" y="150"/>
                  </a:lnTo>
                  <a:lnTo>
                    <a:pt x="390" y="150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14" y="156"/>
                  </a:lnTo>
                  <a:lnTo>
                    <a:pt x="420" y="156"/>
                  </a:lnTo>
                  <a:lnTo>
                    <a:pt x="426" y="162"/>
                  </a:lnTo>
                  <a:lnTo>
                    <a:pt x="438" y="168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62" y="174"/>
                  </a:lnTo>
                  <a:lnTo>
                    <a:pt x="468" y="174"/>
                  </a:lnTo>
                  <a:lnTo>
                    <a:pt x="474" y="174"/>
                  </a:lnTo>
                  <a:lnTo>
                    <a:pt x="474" y="180"/>
                  </a:lnTo>
                  <a:lnTo>
                    <a:pt x="480" y="192"/>
                  </a:lnTo>
                  <a:lnTo>
                    <a:pt x="498" y="198"/>
                  </a:lnTo>
                  <a:lnTo>
                    <a:pt x="510" y="210"/>
                  </a:lnTo>
                  <a:lnTo>
                    <a:pt x="516" y="210"/>
                  </a:lnTo>
                  <a:lnTo>
                    <a:pt x="522" y="210"/>
                  </a:lnTo>
                  <a:lnTo>
                    <a:pt x="534" y="216"/>
                  </a:lnTo>
                  <a:lnTo>
                    <a:pt x="540" y="216"/>
                  </a:lnTo>
                  <a:lnTo>
                    <a:pt x="546" y="222"/>
                  </a:lnTo>
                  <a:lnTo>
                    <a:pt x="552" y="222"/>
                  </a:lnTo>
                  <a:lnTo>
                    <a:pt x="558" y="228"/>
                  </a:lnTo>
                  <a:lnTo>
                    <a:pt x="564" y="228"/>
                  </a:lnTo>
                  <a:lnTo>
                    <a:pt x="570" y="234"/>
                  </a:lnTo>
                  <a:lnTo>
                    <a:pt x="576" y="240"/>
                  </a:lnTo>
                  <a:lnTo>
                    <a:pt x="582" y="240"/>
                  </a:lnTo>
                  <a:lnTo>
                    <a:pt x="588" y="240"/>
                  </a:lnTo>
                  <a:lnTo>
                    <a:pt x="594" y="240"/>
                  </a:lnTo>
                  <a:lnTo>
                    <a:pt x="600" y="228"/>
                  </a:lnTo>
                  <a:lnTo>
                    <a:pt x="588" y="216"/>
                  </a:lnTo>
                  <a:lnTo>
                    <a:pt x="588" y="198"/>
                  </a:lnTo>
                  <a:lnTo>
                    <a:pt x="582" y="198"/>
                  </a:lnTo>
                  <a:lnTo>
                    <a:pt x="588" y="192"/>
                  </a:lnTo>
                  <a:lnTo>
                    <a:pt x="582" y="168"/>
                  </a:lnTo>
                  <a:lnTo>
                    <a:pt x="558" y="114"/>
                  </a:lnTo>
                  <a:lnTo>
                    <a:pt x="552" y="90"/>
                  </a:lnTo>
                  <a:lnTo>
                    <a:pt x="558" y="60"/>
                  </a:lnTo>
                  <a:lnTo>
                    <a:pt x="564" y="48"/>
                  </a:lnTo>
                  <a:lnTo>
                    <a:pt x="582" y="42"/>
                  </a:lnTo>
                  <a:lnTo>
                    <a:pt x="624" y="6"/>
                  </a:lnTo>
                  <a:lnTo>
                    <a:pt x="648" y="0"/>
                  </a:lnTo>
                  <a:lnTo>
                    <a:pt x="678" y="0"/>
                  </a:lnTo>
                  <a:lnTo>
                    <a:pt x="720" y="12"/>
                  </a:lnTo>
                  <a:lnTo>
                    <a:pt x="744" y="24"/>
                  </a:lnTo>
                  <a:lnTo>
                    <a:pt x="768" y="42"/>
                  </a:lnTo>
                  <a:lnTo>
                    <a:pt x="816" y="48"/>
                  </a:lnTo>
                  <a:lnTo>
                    <a:pt x="834" y="48"/>
                  </a:lnTo>
                  <a:lnTo>
                    <a:pt x="852" y="54"/>
                  </a:lnTo>
                  <a:lnTo>
                    <a:pt x="906" y="60"/>
                  </a:lnTo>
                  <a:lnTo>
                    <a:pt x="948" y="54"/>
                  </a:lnTo>
                  <a:lnTo>
                    <a:pt x="978" y="42"/>
                  </a:lnTo>
                  <a:lnTo>
                    <a:pt x="984" y="48"/>
                  </a:lnTo>
                  <a:lnTo>
                    <a:pt x="990" y="60"/>
                  </a:lnTo>
                  <a:lnTo>
                    <a:pt x="996" y="66"/>
                  </a:lnTo>
                  <a:lnTo>
                    <a:pt x="1002" y="72"/>
                  </a:lnTo>
                  <a:lnTo>
                    <a:pt x="1014" y="78"/>
                  </a:lnTo>
                  <a:lnTo>
                    <a:pt x="1014" y="84"/>
                  </a:lnTo>
                  <a:lnTo>
                    <a:pt x="1032" y="84"/>
                  </a:lnTo>
                  <a:lnTo>
                    <a:pt x="1032" y="90"/>
                  </a:lnTo>
                  <a:lnTo>
                    <a:pt x="1032" y="96"/>
                  </a:lnTo>
                  <a:lnTo>
                    <a:pt x="1032" y="108"/>
                  </a:lnTo>
                  <a:lnTo>
                    <a:pt x="1056" y="126"/>
                  </a:lnTo>
                  <a:lnTo>
                    <a:pt x="1068" y="138"/>
                  </a:lnTo>
                  <a:lnTo>
                    <a:pt x="1068" y="156"/>
                  </a:lnTo>
                  <a:lnTo>
                    <a:pt x="1080" y="150"/>
                  </a:lnTo>
                  <a:lnTo>
                    <a:pt x="1086" y="150"/>
                  </a:lnTo>
                  <a:lnTo>
                    <a:pt x="1092" y="156"/>
                  </a:lnTo>
                  <a:lnTo>
                    <a:pt x="1092" y="162"/>
                  </a:lnTo>
                  <a:lnTo>
                    <a:pt x="1092" y="168"/>
                  </a:lnTo>
                  <a:lnTo>
                    <a:pt x="1098" y="168"/>
                  </a:lnTo>
                  <a:lnTo>
                    <a:pt x="1092" y="180"/>
                  </a:lnTo>
                  <a:lnTo>
                    <a:pt x="1092" y="186"/>
                  </a:lnTo>
                  <a:lnTo>
                    <a:pt x="1086" y="192"/>
                  </a:lnTo>
                  <a:lnTo>
                    <a:pt x="1068" y="210"/>
                  </a:lnTo>
                  <a:lnTo>
                    <a:pt x="1068" y="216"/>
                  </a:lnTo>
                  <a:lnTo>
                    <a:pt x="1074" y="228"/>
                  </a:lnTo>
                  <a:lnTo>
                    <a:pt x="1092" y="234"/>
                  </a:lnTo>
                  <a:lnTo>
                    <a:pt x="1122" y="216"/>
                  </a:lnTo>
                  <a:lnTo>
                    <a:pt x="1188" y="204"/>
                  </a:lnTo>
                  <a:lnTo>
                    <a:pt x="1212" y="204"/>
                  </a:lnTo>
                  <a:lnTo>
                    <a:pt x="1230" y="198"/>
                  </a:lnTo>
                  <a:lnTo>
                    <a:pt x="1236" y="204"/>
                  </a:lnTo>
                  <a:lnTo>
                    <a:pt x="1242" y="210"/>
                  </a:lnTo>
                  <a:lnTo>
                    <a:pt x="1242" y="204"/>
                  </a:lnTo>
                  <a:lnTo>
                    <a:pt x="1248" y="198"/>
                  </a:lnTo>
                  <a:lnTo>
                    <a:pt x="1308" y="204"/>
                  </a:lnTo>
                  <a:lnTo>
                    <a:pt x="1338" y="204"/>
                  </a:lnTo>
                  <a:lnTo>
                    <a:pt x="1374" y="228"/>
                  </a:lnTo>
                  <a:lnTo>
                    <a:pt x="1380" y="234"/>
                  </a:lnTo>
                  <a:lnTo>
                    <a:pt x="1380" y="240"/>
                  </a:lnTo>
                  <a:lnTo>
                    <a:pt x="1386" y="252"/>
                  </a:lnTo>
                  <a:lnTo>
                    <a:pt x="1392" y="252"/>
                  </a:lnTo>
                  <a:lnTo>
                    <a:pt x="1416" y="270"/>
                  </a:lnTo>
                  <a:lnTo>
                    <a:pt x="1428" y="294"/>
                  </a:lnTo>
                  <a:lnTo>
                    <a:pt x="1440" y="312"/>
                  </a:lnTo>
                  <a:lnTo>
                    <a:pt x="1452" y="330"/>
                  </a:lnTo>
                  <a:lnTo>
                    <a:pt x="1464" y="330"/>
                  </a:lnTo>
                  <a:lnTo>
                    <a:pt x="1464" y="336"/>
                  </a:lnTo>
                  <a:lnTo>
                    <a:pt x="1470" y="336"/>
                  </a:lnTo>
                  <a:lnTo>
                    <a:pt x="1470" y="342"/>
                  </a:lnTo>
                  <a:lnTo>
                    <a:pt x="1476" y="342"/>
                  </a:lnTo>
                  <a:lnTo>
                    <a:pt x="1488" y="336"/>
                  </a:lnTo>
                  <a:lnTo>
                    <a:pt x="1494" y="342"/>
                  </a:lnTo>
                  <a:lnTo>
                    <a:pt x="1500" y="342"/>
                  </a:lnTo>
                  <a:lnTo>
                    <a:pt x="1512" y="366"/>
                  </a:lnTo>
                  <a:lnTo>
                    <a:pt x="1530" y="396"/>
                  </a:lnTo>
                  <a:lnTo>
                    <a:pt x="1536" y="444"/>
                  </a:lnTo>
                  <a:lnTo>
                    <a:pt x="1530" y="480"/>
                  </a:lnTo>
                  <a:lnTo>
                    <a:pt x="1506" y="510"/>
                  </a:lnTo>
                  <a:lnTo>
                    <a:pt x="1500" y="546"/>
                  </a:lnTo>
                  <a:lnTo>
                    <a:pt x="1494" y="564"/>
                  </a:lnTo>
                  <a:lnTo>
                    <a:pt x="1494" y="576"/>
                  </a:lnTo>
                  <a:lnTo>
                    <a:pt x="1500" y="582"/>
                  </a:lnTo>
                  <a:lnTo>
                    <a:pt x="1494" y="612"/>
                  </a:lnTo>
                  <a:lnTo>
                    <a:pt x="1476" y="630"/>
                  </a:lnTo>
                  <a:lnTo>
                    <a:pt x="1434" y="672"/>
                  </a:lnTo>
                  <a:lnTo>
                    <a:pt x="1392" y="756"/>
                  </a:lnTo>
                  <a:lnTo>
                    <a:pt x="1380" y="792"/>
                  </a:lnTo>
                  <a:lnTo>
                    <a:pt x="1374" y="798"/>
                  </a:lnTo>
                  <a:lnTo>
                    <a:pt x="1368" y="798"/>
                  </a:lnTo>
                  <a:lnTo>
                    <a:pt x="1380" y="804"/>
                  </a:lnTo>
                  <a:lnTo>
                    <a:pt x="1386" y="804"/>
                  </a:lnTo>
                  <a:lnTo>
                    <a:pt x="1380" y="822"/>
                  </a:lnTo>
                  <a:lnTo>
                    <a:pt x="1380" y="852"/>
                  </a:lnTo>
                  <a:lnTo>
                    <a:pt x="1374" y="858"/>
                  </a:lnTo>
                  <a:lnTo>
                    <a:pt x="1380" y="858"/>
                  </a:lnTo>
                  <a:lnTo>
                    <a:pt x="1374" y="864"/>
                  </a:lnTo>
                  <a:lnTo>
                    <a:pt x="1374" y="870"/>
                  </a:lnTo>
                  <a:lnTo>
                    <a:pt x="1374" y="876"/>
                  </a:lnTo>
                  <a:lnTo>
                    <a:pt x="1368" y="900"/>
                  </a:lnTo>
                  <a:lnTo>
                    <a:pt x="1362" y="906"/>
                  </a:lnTo>
                  <a:lnTo>
                    <a:pt x="1362" y="918"/>
                  </a:lnTo>
                  <a:lnTo>
                    <a:pt x="1362" y="924"/>
                  </a:lnTo>
                  <a:lnTo>
                    <a:pt x="1356" y="942"/>
                  </a:lnTo>
                  <a:lnTo>
                    <a:pt x="1350" y="972"/>
                  </a:lnTo>
                  <a:lnTo>
                    <a:pt x="1350" y="1014"/>
                  </a:lnTo>
                  <a:lnTo>
                    <a:pt x="1350" y="10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3" name="Freeform 18">
              <a:extLst>
                <a:ext uri="{FF2B5EF4-FFF2-40B4-BE49-F238E27FC236}">
                  <a16:creationId xmlns:a16="http://schemas.microsoft.com/office/drawing/2014/main" id="{EC11F2E0-3C06-46E2-8AD2-66EBE00FFE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32346" y="3837389"/>
              <a:ext cx="556811" cy="818559"/>
            </a:xfrm>
            <a:custGeom>
              <a:avLst/>
              <a:gdLst>
                <a:gd name="T0" fmla="*/ 12 w 1044"/>
                <a:gd name="T1" fmla="*/ 95 h 1542"/>
                <a:gd name="T2" fmla="*/ 7 w 1044"/>
                <a:gd name="T3" fmla="*/ 93 h 1542"/>
                <a:gd name="T4" fmla="*/ 0 w 1044"/>
                <a:gd name="T5" fmla="*/ 88 h 1542"/>
                <a:gd name="T6" fmla="*/ 3 w 1044"/>
                <a:gd name="T7" fmla="*/ 74 h 1542"/>
                <a:gd name="T8" fmla="*/ 4 w 1044"/>
                <a:gd name="T9" fmla="*/ 59 h 1542"/>
                <a:gd name="T10" fmla="*/ 7 w 1044"/>
                <a:gd name="T11" fmla="*/ 52 h 1542"/>
                <a:gd name="T12" fmla="*/ 20 w 1044"/>
                <a:gd name="T13" fmla="*/ 50 h 1542"/>
                <a:gd name="T14" fmla="*/ 24 w 1044"/>
                <a:gd name="T15" fmla="*/ 46 h 1542"/>
                <a:gd name="T16" fmla="*/ 29 w 1044"/>
                <a:gd name="T17" fmla="*/ 33 h 1542"/>
                <a:gd name="T18" fmla="*/ 32 w 1044"/>
                <a:gd name="T19" fmla="*/ 26 h 1542"/>
                <a:gd name="T20" fmla="*/ 30 w 1044"/>
                <a:gd name="T21" fmla="*/ 20 h 1542"/>
                <a:gd name="T22" fmla="*/ 26 w 1044"/>
                <a:gd name="T23" fmla="*/ 17 h 1542"/>
                <a:gd name="T24" fmla="*/ 28 w 1044"/>
                <a:gd name="T25" fmla="*/ 12 h 1542"/>
                <a:gd name="T26" fmla="*/ 44 w 1044"/>
                <a:gd name="T27" fmla="*/ 5 h 1542"/>
                <a:gd name="T28" fmla="*/ 57 w 1044"/>
                <a:gd name="T29" fmla="*/ 2 h 1542"/>
                <a:gd name="T30" fmla="*/ 65 w 1044"/>
                <a:gd name="T31" fmla="*/ 12 h 1542"/>
                <a:gd name="T32" fmla="*/ 81 w 1044"/>
                <a:gd name="T33" fmla="*/ 9 h 1542"/>
                <a:gd name="T34" fmla="*/ 91 w 1044"/>
                <a:gd name="T35" fmla="*/ 20 h 1542"/>
                <a:gd name="T36" fmla="*/ 89 w 1044"/>
                <a:gd name="T37" fmla="*/ 28 h 1542"/>
                <a:gd name="T38" fmla="*/ 83 w 1044"/>
                <a:gd name="T39" fmla="*/ 33 h 1542"/>
                <a:gd name="T40" fmla="*/ 74 w 1044"/>
                <a:gd name="T41" fmla="*/ 42 h 1542"/>
                <a:gd name="T42" fmla="*/ 58 w 1044"/>
                <a:gd name="T43" fmla="*/ 57 h 1542"/>
                <a:gd name="T44" fmla="*/ 54 w 1044"/>
                <a:gd name="T45" fmla="*/ 65 h 1542"/>
                <a:gd name="T46" fmla="*/ 59 w 1044"/>
                <a:gd name="T47" fmla="*/ 74 h 1542"/>
                <a:gd name="T48" fmla="*/ 55 w 1044"/>
                <a:gd name="T49" fmla="*/ 84 h 1542"/>
                <a:gd name="T50" fmla="*/ 52 w 1044"/>
                <a:gd name="T51" fmla="*/ 98 h 1542"/>
                <a:gd name="T52" fmla="*/ 47 w 1044"/>
                <a:gd name="T53" fmla="*/ 105 h 1542"/>
                <a:gd name="T54" fmla="*/ 42 w 1044"/>
                <a:gd name="T55" fmla="*/ 111 h 1542"/>
                <a:gd name="T56" fmla="*/ 43 w 1044"/>
                <a:gd name="T57" fmla="*/ 120 h 1542"/>
                <a:gd name="T58" fmla="*/ 45 w 1044"/>
                <a:gd name="T59" fmla="*/ 125 h 1542"/>
                <a:gd name="T60" fmla="*/ 44 w 1044"/>
                <a:gd name="T61" fmla="*/ 130 h 1542"/>
                <a:gd name="T62" fmla="*/ 45 w 1044"/>
                <a:gd name="T63" fmla="*/ 131 h 1542"/>
                <a:gd name="T64" fmla="*/ 48 w 1044"/>
                <a:gd name="T65" fmla="*/ 133 h 1542"/>
                <a:gd name="T66" fmla="*/ 39 w 1044"/>
                <a:gd name="T67" fmla="*/ 133 h 1542"/>
                <a:gd name="T68" fmla="*/ 42 w 1044"/>
                <a:gd name="T69" fmla="*/ 132 h 1542"/>
                <a:gd name="T70" fmla="*/ 38 w 1044"/>
                <a:gd name="T71" fmla="*/ 133 h 1542"/>
                <a:gd name="T72" fmla="*/ 37 w 1044"/>
                <a:gd name="T73" fmla="*/ 129 h 1542"/>
                <a:gd name="T74" fmla="*/ 40 w 1044"/>
                <a:gd name="T75" fmla="*/ 125 h 1542"/>
                <a:gd name="T76" fmla="*/ 40 w 1044"/>
                <a:gd name="T77" fmla="*/ 120 h 1542"/>
                <a:gd name="T78" fmla="*/ 40 w 1044"/>
                <a:gd name="T79" fmla="*/ 117 h 1542"/>
                <a:gd name="T80" fmla="*/ 37 w 1044"/>
                <a:gd name="T81" fmla="*/ 120 h 1542"/>
                <a:gd name="T82" fmla="*/ 34 w 1044"/>
                <a:gd name="T83" fmla="*/ 122 h 1542"/>
                <a:gd name="T84" fmla="*/ 36 w 1044"/>
                <a:gd name="T85" fmla="*/ 120 h 1542"/>
                <a:gd name="T86" fmla="*/ 30 w 1044"/>
                <a:gd name="T87" fmla="*/ 120 h 1542"/>
                <a:gd name="T88" fmla="*/ 31 w 1044"/>
                <a:gd name="T89" fmla="*/ 113 h 1542"/>
                <a:gd name="T90" fmla="*/ 29 w 1044"/>
                <a:gd name="T91" fmla="*/ 112 h 1542"/>
                <a:gd name="T92" fmla="*/ 31 w 1044"/>
                <a:gd name="T93" fmla="*/ 117 h 1542"/>
                <a:gd name="T94" fmla="*/ 27 w 1044"/>
                <a:gd name="T95" fmla="*/ 116 h 1542"/>
                <a:gd name="T96" fmla="*/ 25 w 1044"/>
                <a:gd name="T97" fmla="*/ 112 h 1542"/>
                <a:gd name="T98" fmla="*/ 21 w 1044"/>
                <a:gd name="T99" fmla="*/ 109 h 1542"/>
                <a:gd name="T100" fmla="*/ 21 w 1044"/>
                <a:gd name="T101" fmla="*/ 113 h 1542"/>
                <a:gd name="T102" fmla="*/ 40 w 1044"/>
                <a:gd name="T103" fmla="*/ 120 h 1542"/>
                <a:gd name="T104" fmla="*/ 40 w 1044"/>
                <a:gd name="T105" fmla="*/ 121 h 1542"/>
                <a:gd name="T106" fmla="*/ 40 w 1044"/>
                <a:gd name="T107" fmla="*/ 116 h 1542"/>
                <a:gd name="T108" fmla="*/ 38 w 1044"/>
                <a:gd name="T109" fmla="*/ 120 h 1542"/>
                <a:gd name="T110" fmla="*/ 23 w 1044"/>
                <a:gd name="T111" fmla="*/ 110 h 1542"/>
                <a:gd name="T112" fmla="*/ 37 w 1044"/>
                <a:gd name="T113" fmla="*/ 124 h 1542"/>
                <a:gd name="T114" fmla="*/ 40 w 1044"/>
                <a:gd name="T115" fmla="*/ 125 h 1542"/>
                <a:gd name="T116" fmla="*/ 38 w 1044"/>
                <a:gd name="T117" fmla="*/ 128 h 1542"/>
                <a:gd name="T118" fmla="*/ 25 w 1044"/>
                <a:gd name="T119" fmla="*/ 117 h 1542"/>
                <a:gd name="T120" fmla="*/ 27 w 1044"/>
                <a:gd name="T121" fmla="*/ 127 h 1542"/>
                <a:gd name="T122" fmla="*/ 24 w 1044"/>
                <a:gd name="T123" fmla="*/ 113 h 15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4"/>
                <a:gd name="T187" fmla="*/ 0 h 1542"/>
                <a:gd name="T188" fmla="*/ 1044 w 1044"/>
                <a:gd name="T189" fmla="*/ 1542 h 154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4" h="1542">
                  <a:moveTo>
                    <a:pt x="234" y="1278"/>
                  </a:moveTo>
                  <a:lnTo>
                    <a:pt x="228" y="1272"/>
                  </a:lnTo>
                  <a:lnTo>
                    <a:pt x="222" y="1266"/>
                  </a:lnTo>
                  <a:lnTo>
                    <a:pt x="222" y="1260"/>
                  </a:lnTo>
                  <a:lnTo>
                    <a:pt x="204" y="1248"/>
                  </a:lnTo>
                  <a:lnTo>
                    <a:pt x="192" y="1248"/>
                  </a:lnTo>
                  <a:lnTo>
                    <a:pt x="186" y="1236"/>
                  </a:lnTo>
                  <a:lnTo>
                    <a:pt x="174" y="1218"/>
                  </a:lnTo>
                  <a:lnTo>
                    <a:pt x="162" y="1194"/>
                  </a:lnTo>
                  <a:lnTo>
                    <a:pt x="156" y="1182"/>
                  </a:lnTo>
                  <a:lnTo>
                    <a:pt x="162" y="1146"/>
                  </a:lnTo>
                  <a:lnTo>
                    <a:pt x="156" y="1134"/>
                  </a:lnTo>
                  <a:lnTo>
                    <a:pt x="138" y="1122"/>
                  </a:lnTo>
                  <a:lnTo>
                    <a:pt x="132" y="1116"/>
                  </a:lnTo>
                  <a:lnTo>
                    <a:pt x="138" y="1098"/>
                  </a:lnTo>
                  <a:lnTo>
                    <a:pt x="138" y="1092"/>
                  </a:lnTo>
                  <a:lnTo>
                    <a:pt x="138" y="1086"/>
                  </a:lnTo>
                  <a:lnTo>
                    <a:pt x="132" y="1074"/>
                  </a:lnTo>
                  <a:lnTo>
                    <a:pt x="126" y="1074"/>
                  </a:lnTo>
                  <a:lnTo>
                    <a:pt x="126" y="1068"/>
                  </a:lnTo>
                  <a:lnTo>
                    <a:pt x="120" y="1062"/>
                  </a:lnTo>
                  <a:lnTo>
                    <a:pt x="120" y="1056"/>
                  </a:lnTo>
                  <a:lnTo>
                    <a:pt x="114" y="1050"/>
                  </a:lnTo>
                  <a:lnTo>
                    <a:pt x="108" y="1050"/>
                  </a:lnTo>
                  <a:lnTo>
                    <a:pt x="102" y="1056"/>
                  </a:lnTo>
                  <a:lnTo>
                    <a:pt x="102" y="1062"/>
                  </a:lnTo>
                  <a:lnTo>
                    <a:pt x="96" y="1062"/>
                  </a:lnTo>
                  <a:lnTo>
                    <a:pt x="96" y="1068"/>
                  </a:lnTo>
                  <a:lnTo>
                    <a:pt x="96" y="1074"/>
                  </a:lnTo>
                  <a:lnTo>
                    <a:pt x="90" y="1074"/>
                  </a:lnTo>
                  <a:lnTo>
                    <a:pt x="84" y="1080"/>
                  </a:lnTo>
                  <a:lnTo>
                    <a:pt x="78" y="1074"/>
                  </a:lnTo>
                  <a:lnTo>
                    <a:pt x="72" y="1074"/>
                  </a:lnTo>
                  <a:lnTo>
                    <a:pt x="72" y="1068"/>
                  </a:lnTo>
                  <a:lnTo>
                    <a:pt x="72" y="1062"/>
                  </a:lnTo>
                  <a:lnTo>
                    <a:pt x="60" y="1056"/>
                  </a:lnTo>
                  <a:lnTo>
                    <a:pt x="60" y="1044"/>
                  </a:lnTo>
                  <a:lnTo>
                    <a:pt x="60" y="1032"/>
                  </a:lnTo>
                  <a:lnTo>
                    <a:pt x="60" y="1026"/>
                  </a:lnTo>
                  <a:lnTo>
                    <a:pt x="54" y="1026"/>
                  </a:lnTo>
                  <a:lnTo>
                    <a:pt x="48" y="1014"/>
                  </a:lnTo>
                  <a:lnTo>
                    <a:pt x="42" y="1008"/>
                  </a:lnTo>
                  <a:lnTo>
                    <a:pt x="30" y="1008"/>
                  </a:lnTo>
                  <a:lnTo>
                    <a:pt x="30" y="1002"/>
                  </a:lnTo>
                  <a:lnTo>
                    <a:pt x="24" y="1008"/>
                  </a:lnTo>
                  <a:lnTo>
                    <a:pt x="12" y="1008"/>
                  </a:lnTo>
                  <a:lnTo>
                    <a:pt x="6" y="1008"/>
                  </a:lnTo>
                  <a:lnTo>
                    <a:pt x="0" y="1008"/>
                  </a:lnTo>
                  <a:lnTo>
                    <a:pt x="0" y="1002"/>
                  </a:lnTo>
                  <a:lnTo>
                    <a:pt x="6" y="990"/>
                  </a:lnTo>
                  <a:lnTo>
                    <a:pt x="6" y="984"/>
                  </a:lnTo>
                  <a:lnTo>
                    <a:pt x="0" y="978"/>
                  </a:lnTo>
                  <a:lnTo>
                    <a:pt x="6" y="972"/>
                  </a:lnTo>
                  <a:lnTo>
                    <a:pt x="12" y="972"/>
                  </a:lnTo>
                  <a:lnTo>
                    <a:pt x="72" y="978"/>
                  </a:lnTo>
                  <a:lnTo>
                    <a:pt x="78" y="972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30"/>
                  </a:lnTo>
                  <a:lnTo>
                    <a:pt x="54" y="912"/>
                  </a:lnTo>
                  <a:lnTo>
                    <a:pt x="42" y="906"/>
                  </a:lnTo>
                  <a:lnTo>
                    <a:pt x="36" y="894"/>
                  </a:lnTo>
                  <a:lnTo>
                    <a:pt x="30" y="876"/>
                  </a:lnTo>
                  <a:lnTo>
                    <a:pt x="30" y="858"/>
                  </a:lnTo>
                  <a:lnTo>
                    <a:pt x="30" y="840"/>
                  </a:lnTo>
                  <a:lnTo>
                    <a:pt x="36" y="816"/>
                  </a:lnTo>
                  <a:lnTo>
                    <a:pt x="36" y="792"/>
                  </a:lnTo>
                  <a:lnTo>
                    <a:pt x="36" y="780"/>
                  </a:lnTo>
                  <a:lnTo>
                    <a:pt x="12" y="774"/>
                  </a:lnTo>
                  <a:lnTo>
                    <a:pt x="24" y="756"/>
                  </a:lnTo>
                  <a:lnTo>
                    <a:pt x="24" y="744"/>
                  </a:lnTo>
                  <a:lnTo>
                    <a:pt x="30" y="738"/>
                  </a:lnTo>
                  <a:lnTo>
                    <a:pt x="30" y="732"/>
                  </a:lnTo>
                  <a:lnTo>
                    <a:pt x="36" y="720"/>
                  </a:lnTo>
                  <a:lnTo>
                    <a:pt x="42" y="714"/>
                  </a:lnTo>
                  <a:lnTo>
                    <a:pt x="54" y="708"/>
                  </a:lnTo>
                  <a:lnTo>
                    <a:pt x="60" y="702"/>
                  </a:lnTo>
                  <a:lnTo>
                    <a:pt x="48" y="690"/>
                  </a:lnTo>
                  <a:lnTo>
                    <a:pt x="48" y="684"/>
                  </a:lnTo>
                  <a:lnTo>
                    <a:pt x="48" y="678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66"/>
                  </a:lnTo>
                  <a:lnTo>
                    <a:pt x="72" y="654"/>
                  </a:lnTo>
                  <a:lnTo>
                    <a:pt x="72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84" y="630"/>
                  </a:lnTo>
                  <a:lnTo>
                    <a:pt x="90" y="630"/>
                  </a:lnTo>
                  <a:lnTo>
                    <a:pt x="96" y="630"/>
                  </a:lnTo>
                  <a:lnTo>
                    <a:pt x="96" y="624"/>
                  </a:lnTo>
                  <a:lnTo>
                    <a:pt x="90" y="624"/>
                  </a:lnTo>
                  <a:lnTo>
                    <a:pt x="84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90" y="600"/>
                  </a:lnTo>
                  <a:lnTo>
                    <a:pt x="84" y="600"/>
                  </a:lnTo>
                  <a:lnTo>
                    <a:pt x="78" y="594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126" y="564"/>
                  </a:lnTo>
                  <a:lnTo>
                    <a:pt x="144" y="564"/>
                  </a:lnTo>
                  <a:lnTo>
                    <a:pt x="156" y="582"/>
                  </a:lnTo>
                  <a:lnTo>
                    <a:pt x="162" y="600"/>
                  </a:lnTo>
                  <a:lnTo>
                    <a:pt x="180" y="588"/>
                  </a:lnTo>
                  <a:lnTo>
                    <a:pt x="192" y="588"/>
                  </a:lnTo>
                  <a:lnTo>
                    <a:pt x="198" y="588"/>
                  </a:lnTo>
                  <a:lnTo>
                    <a:pt x="210" y="582"/>
                  </a:lnTo>
                  <a:lnTo>
                    <a:pt x="216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58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46" y="558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58" y="570"/>
                  </a:lnTo>
                  <a:lnTo>
                    <a:pt x="264" y="570"/>
                  </a:lnTo>
                  <a:lnTo>
                    <a:pt x="270" y="564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46"/>
                  </a:lnTo>
                  <a:lnTo>
                    <a:pt x="276" y="540"/>
                  </a:lnTo>
                  <a:lnTo>
                    <a:pt x="276" y="534"/>
                  </a:lnTo>
                  <a:lnTo>
                    <a:pt x="276" y="528"/>
                  </a:lnTo>
                  <a:lnTo>
                    <a:pt x="282" y="528"/>
                  </a:lnTo>
                  <a:lnTo>
                    <a:pt x="282" y="522"/>
                  </a:lnTo>
                  <a:lnTo>
                    <a:pt x="282" y="516"/>
                  </a:lnTo>
                  <a:lnTo>
                    <a:pt x="282" y="510"/>
                  </a:lnTo>
                  <a:lnTo>
                    <a:pt x="282" y="504"/>
                  </a:lnTo>
                  <a:lnTo>
                    <a:pt x="282" y="492"/>
                  </a:lnTo>
                  <a:lnTo>
                    <a:pt x="288" y="486"/>
                  </a:lnTo>
                  <a:lnTo>
                    <a:pt x="300" y="480"/>
                  </a:lnTo>
                  <a:lnTo>
                    <a:pt x="306" y="462"/>
                  </a:lnTo>
                  <a:lnTo>
                    <a:pt x="318" y="444"/>
                  </a:lnTo>
                  <a:lnTo>
                    <a:pt x="330" y="444"/>
                  </a:lnTo>
                  <a:lnTo>
                    <a:pt x="330" y="432"/>
                  </a:lnTo>
                  <a:lnTo>
                    <a:pt x="342" y="432"/>
                  </a:lnTo>
                  <a:lnTo>
                    <a:pt x="354" y="402"/>
                  </a:lnTo>
                  <a:lnTo>
                    <a:pt x="348" y="390"/>
                  </a:lnTo>
                  <a:lnTo>
                    <a:pt x="336" y="384"/>
                  </a:lnTo>
                  <a:lnTo>
                    <a:pt x="336" y="360"/>
                  </a:lnTo>
                  <a:lnTo>
                    <a:pt x="336" y="354"/>
                  </a:lnTo>
                  <a:lnTo>
                    <a:pt x="336" y="342"/>
                  </a:lnTo>
                  <a:lnTo>
                    <a:pt x="342" y="336"/>
                  </a:lnTo>
                  <a:lnTo>
                    <a:pt x="342" y="324"/>
                  </a:lnTo>
                  <a:lnTo>
                    <a:pt x="372" y="324"/>
                  </a:lnTo>
                  <a:lnTo>
                    <a:pt x="378" y="324"/>
                  </a:lnTo>
                  <a:lnTo>
                    <a:pt x="378" y="318"/>
                  </a:lnTo>
                  <a:lnTo>
                    <a:pt x="372" y="312"/>
                  </a:lnTo>
                  <a:lnTo>
                    <a:pt x="378" y="312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84" y="300"/>
                  </a:lnTo>
                  <a:lnTo>
                    <a:pt x="384" y="294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66" y="294"/>
                  </a:lnTo>
                  <a:lnTo>
                    <a:pt x="366" y="288"/>
                  </a:lnTo>
                  <a:lnTo>
                    <a:pt x="372" y="288"/>
                  </a:lnTo>
                  <a:lnTo>
                    <a:pt x="372" y="282"/>
                  </a:lnTo>
                  <a:lnTo>
                    <a:pt x="366" y="276"/>
                  </a:lnTo>
                  <a:lnTo>
                    <a:pt x="360" y="270"/>
                  </a:lnTo>
                  <a:lnTo>
                    <a:pt x="360" y="264"/>
                  </a:lnTo>
                  <a:lnTo>
                    <a:pt x="354" y="264"/>
                  </a:lnTo>
                  <a:lnTo>
                    <a:pt x="348" y="258"/>
                  </a:lnTo>
                  <a:lnTo>
                    <a:pt x="354" y="258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40"/>
                  </a:lnTo>
                  <a:lnTo>
                    <a:pt x="354" y="240"/>
                  </a:lnTo>
                  <a:lnTo>
                    <a:pt x="342" y="234"/>
                  </a:lnTo>
                  <a:lnTo>
                    <a:pt x="342" y="228"/>
                  </a:lnTo>
                  <a:lnTo>
                    <a:pt x="348" y="228"/>
                  </a:lnTo>
                  <a:lnTo>
                    <a:pt x="342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6" y="216"/>
                  </a:lnTo>
                  <a:lnTo>
                    <a:pt x="330" y="222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24" y="210"/>
                  </a:lnTo>
                  <a:lnTo>
                    <a:pt x="318" y="210"/>
                  </a:lnTo>
                  <a:lnTo>
                    <a:pt x="318" y="204"/>
                  </a:lnTo>
                  <a:lnTo>
                    <a:pt x="312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294" y="192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300" y="174"/>
                  </a:lnTo>
                  <a:lnTo>
                    <a:pt x="300" y="168"/>
                  </a:lnTo>
                  <a:lnTo>
                    <a:pt x="300" y="162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88" y="150"/>
                  </a:lnTo>
                  <a:lnTo>
                    <a:pt x="288" y="144"/>
                  </a:lnTo>
                  <a:lnTo>
                    <a:pt x="282" y="144"/>
                  </a:lnTo>
                  <a:lnTo>
                    <a:pt x="282" y="138"/>
                  </a:lnTo>
                  <a:lnTo>
                    <a:pt x="312" y="132"/>
                  </a:lnTo>
                  <a:lnTo>
                    <a:pt x="324" y="120"/>
                  </a:lnTo>
                  <a:lnTo>
                    <a:pt x="330" y="114"/>
                  </a:lnTo>
                  <a:lnTo>
                    <a:pt x="336" y="102"/>
                  </a:lnTo>
                  <a:lnTo>
                    <a:pt x="348" y="90"/>
                  </a:lnTo>
                  <a:lnTo>
                    <a:pt x="360" y="84"/>
                  </a:lnTo>
                  <a:lnTo>
                    <a:pt x="372" y="84"/>
                  </a:lnTo>
                  <a:lnTo>
                    <a:pt x="378" y="84"/>
                  </a:lnTo>
                  <a:lnTo>
                    <a:pt x="384" y="90"/>
                  </a:lnTo>
                  <a:lnTo>
                    <a:pt x="402" y="90"/>
                  </a:lnTo>
                  <a:lnTo>
                    <a:pt x="438" y="84"/>
                  </a:lnTo>
                  <a:lnTo>
                    <a:pt x="456" y="84"/>
                  </a:lnTo>
                  <a:lnTo>
                    <a:pt x="462" y="78"/>
                  </a:lnTo>
                  <a:lnTo>
                    <a:pt x="486" y="72"/>
                  </a:lnTo>
                  <a:lnTo>
                    <a:pt x="492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04" y="54"/>
                  </a:lnTo>
                  <a:lnTo>
                    <a:pt x="510" y="42"/>
                  </a:lnTo>
                  <a:lnTo>
                    <a:pt x="504" y="42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498" y="30"/>
                  </a:lnTo>
                  <a:lnTo>
                    <a:pt x="492" y="30"/>
                  </a:lnTo>
                  <a:lnTo>
                    <a:pt x="492" y="24"/>
                  </a:lnTo>
                  <a:lnTo>
                    <a:pt x="486" y="18"/>
                  </a:lnTo>
                  <a:lnTo>
                    <a:pt x="498" y="18"/>
                  </a:lnTo>
                  <a:lnTo>
                    <a:pt x="510" y="18"/>
                  </a:lnTo>
                  <a:lnTo>
                    <a:pt x="522" y="12"/>
                  </a:lnTo>
                  <a:lnTo>
                    <a:pt x="528" y="6"/>
                  </a:lnTo>
                  <a:lnTo>
                    <a:pt x="570" y="0"/>
                  </a:lnTo>
                  <a:lnTo>
                    <a:pt x="606" y="6"/>
                  </a:lnTo>
                  <a:lnTo>
                    <a:pt x="654" y="24"/>
                  </a:lnTo>
                  <a:lnTo>
                    <a:pt x="666" y="36"/>
                  </a:lnTo>
                  <a:lnTo>
                    <a:pt x="672" y="30"/>
                  </a:lnTo>
                  <a:lnTo>
                    <a:pt x="690" y="42"/>
                  </a:lnTo>
                  <a:lnTo>
                    <a:pt x="702" y="48"/>
                  </a:lnTo>
                  <a:lnTo>
                    <a:pt x="714" y="60"/>
                  </a:lnTo>
                  <a:lnTo>
                    <a:pt x="714" y="66"/>
                  </a:lnTo>
                  <a:lnTo>
                    <a:pt x="720" y="72"/>
                  </a:lnTo>
                  <a:lnTo>
                    <a:pt x="720" y="78"/>
                  </a:lnTo>
                  <a:lnTo>
                    <a:pt x="720" y="102"/>
                  </a:lnTo>
                  <a:lnTo>
                    <a:pt x="720" y="108"/>
                  </a:lnTo>
                  <a:lnTo>
                    <a:pt x="714" y="108"/>
                  </a:lnTo>
                  <a:lnTo>
                    <a:pt x="714" y="126"/>
                  </a:lnTo>
                  <a:lnTo>
                    <a:pt x="732" y="126"/>
                  </a:lnTo>
                  <a:lnTo>
                    <a:pt x="726" y="132"/>
                  </a:lnTo>
                  <a:lnTo>
                    <a:pt x="738" y="132"/>
                  </a:lnTo>
                  <a:lnTo>
                    <a:pt x="738" y="138"/>
                  </a:lnTo>
                  <a:lnTo>
                    <a:pt x="738" y="144"/>
                  </a:lnTo>
                  <a:lnTo>
                    <a:pt x="744" y="144"/>
                  </a:lnTo>
                  <a:lnTo>
                    <a:pt x="744" y="150"/>
                  </a:lnTo>
                  <a:lnTo>
                    <a:pt x="756" y="156"/>
                  </a:lnTo>
                  <a:lnTo>
                    <a:pt x="768" y="156"/>
                  </a:lnTo>
                  <a:lnTo>
                    <a:pt x="780" y="156"/>
                  </a:lnTo>
                  <a:lnTo>
                    <a:pt x="792" y="150"/>
                  </a:lnTo>
                  <a:lnTo>
                    <a:pt x="786" y="150"/>
                  </a:lnTo>
                  <a:lnTo>
                    <a:pt x="786" y="144"/>
                  </a:lnTo>
                  <a:lnTo>
                    <a:pt x="804" y="144"/>
                  </a:lnTo>
                  <a:lnTo>
                    <a:pt x="816" y="132"/>
                  </a:lnTo>
                  <a:lnTo>
                    <a:pt x="822" y="126"/>
                  </a:lnTo>
                  <a:lnTo>
                    <a:pt x="828" y="132"/>
                  </a:lnTo>
                  <a:lnTo>
                    <a:pt x="834" y="126"/>
                  </a:lnTo>
                  <a:lnTo>
                    <a:pt x="834" y="120"/>
                  </a:lnTo>
                  <a:lnTo>
                    <a:pt x="924" y="108"/>
                  </a:lnTo>
                  <a:lnTo>
                    <a:pt x="942" y="144"/>
                  </a:lnTo>
                  <a:lnTo>
                    <a:pt x="948" y="144"/>
                  </a:lnTo>
                  <a:lnTo>
                    <a:pt x="960" y="168"/>
                  </a:lnTo>
                  <a:lnTo>
                    <a:pt x="972" y="186"/>
                  </a:lnTo>
                  <a:lnTo>
                    <a:pt x="984" y="192"/>
                  </a:lnTo>
                  <a:lnTo>
                    <a:pt x="996" y="192"/>
                  </a:lnTo>
                  <a:lnTo>
                    <a:pt x="996" y="198"/>
                  </a:lnTo>
                  <a:lnTo>
                    <a:pt x="1008" y="204"/>
                  </a:lnTo>
                  <a:lnTo>
                    <a:pt x="1008" y="210"/>
                  </a:lnTo>
                  <a:lnTo>
                    <a:pt x="1002" y="210"/>
                  </a:lnTo>
                  <a:lnTo>
                    <a:pt x="1008" y="216"/>
                  </a:lnTo>
                  <a:lnTo>
                    <a:pt x="1014" y="210"/>
                  </a:lnTo>
                  <a:lnTo>
                    <a:pt x="1014" y="216"/>
                  </a:lnTo>
                  <a:lnTo>
                    <a:pt x="1020" y="222"/>
                  </a:lnTo>
                  <a:lnTo>
                    <a:pt x="1014" y="228"/>
                  </a:lnTo>
                  <a:lnTo>
                    <a:pt x="1032" y="234"/>
                  </a:lnTo>
                  <a:lnTo>
                    <a:pt x="1044" y="240"/>
                  </a:lnTo>
                  <a:lnTo>
                    <a:pt x="1038" y="246"/>
                  </a:lnTo>
                  <a:lnTo>
                    <a:pt x="1038" y="252"/>
                  </a:lnTo>
                  <a:lnTo>
                    <a:pt x="1038" y="258"/>
                  </a:lnTo>
                  <a:lnTo>
                    <a:pt x="1032" y="264"/>
                  </a:lnTo>
                  <a:lnTo>
                    <a:pt x="1032" y="270"/>
                  </a:lnTo>
                  <a:lnTo>
                    <a:pt x="1032" y="276"/>
                  </a:lnTo>
                  <a:lnTo>
                    <a:pt x="1032" y="282"/>
                  </a:lnTo>
                  <a:lnTo>
                    <a:pt x="1026" y="282"/>
                  </a:lnTo>
                  <a:lnTo>
                    <a:pt x="1026" y="288"/>
                  </a:lnTo>
                  <a:lnTo>
                    <a:pt x="1026" y="294"/>
                  </a:lnTo>
                  <a:lnTo>
                    <a:pt x="1026" y="300"/>
                  </a:lnTo>
                  <a:lnTo>
                    <a:pt x="1026" y="306"/>
                  </a:lnTo>
                  <a:lnTo>
                    <a:pt x="1020" y="318"/>
                  </a:lnTo>
                  <a:lnTo>
                    <a:pt x="1020" y="324"/>
                  </a:lnTo>
                  <a:lnTo>
                    <a:pt x="1014" y="324"/>
                  </a:lnTo>
                  <a:lnTo>
                    <a:pt x="1014" y="330"/>
                  </a:lnTo>
                  <a:lnTo>
                    <a:pt x="1014" y="336"/>
                  </a:lnTo>
                  <a:lnTo>
                    <a:pt x="1008" y="366"/>
                  </a:lnTo>
                  <a:lnTo>
                    <a:pt x="1002" y="366"/>
                  </a:lnTo>
                  <a:lnTo>
                    <a:pt x="984" y="354"/>
                  </a:lnTo>
                  <a:lnTo>
                    <a:pt x="978" y="354"/>
                  </a:lnTo>
                  <a:lnTo>
                    <a:pt x="972" y="354"/>
                  </a:lnTo>
                  <a:lnTo>
                    <a:pt x="966" y="348"/>
                  </a:lnTo>
                  <a:lnTo>
                    <a:pt x="954" y="348"/>
                  </a:lnTo>
                  <a:lnTo>
                    <a:pt x="948" y="348"/>
                  </a:lnTo>
                  <a:lnTo>
                    <a:pt x="948" y="360"/>
                  </a:lnTo>
                  <a:lnTo>
                    <a:pt x="948" y="366"/>
                  </a:lnTo>
                  <a:lnTo>
                    <a:pt x="948" y="372"/>
                  </a:lnTo>
                  <a:lnTo>
                    <a:pt x="948" y="378"/>
                  </a:lnTo>
                  <a:lnTo>
                    <a:pt x="948" y="384"/>
                  </a:lnTo>
                  <a:lnTo>
                    <a:pt x="942" y="384"/>
                  </a:lnTo>
                  <a:lnTo>
                    <a:pt x="942" y="390"/>
                  </a:lnTo>
                  <a:lnTo>
                    <a:pt x="936" y="390"/>
                  </a:lnTo>
                  <a:lnTo>
                    <a:pt x="942" y="390"/>
                  </a:lnTo>
                  <a:lnTo>
                    <a:pt x="936" y="396"/>
                  </a:lnTo>
                  <a:lnTo>
                    <a:pt x="930" y="402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2" y="432"/>
                  </a:lnTo>
                  <a:lnTo>
                    <a:pt x="900" y="450"/>
                  </a:lnTo>
                  <a:lnTo>
                    <a:pt x="894" y="456"/>
                  </a:lnTo>
                  <a:lnTo>
                    <a:pt x="888" y="456"/>
                  </a:lnTo>
                  <a:lnTo>
                    <a:pt x="882" y="456"/>
                  </a:lnTo>
                  <a:lnTo>
                    <a:pt x="876" y="456"/>
                  </a:lnTo>
                  <a:lnTo>
                    <a:pt x="864" y="462"/>
                  </a:lnTo>
                  <a:lnTo>
                    <a:pt x="852" y="474"/>
                  </a:lnTo>
                  <a:lnTo>
                    <a:pt x="846" y="480"/>
                  </a:lnTo>
                  <a:lnTo>
                    <a:pt x="840" y="486"/>
                  </a:lnTo>
                  <a:lnTo>
                    <a:pt x="834" y="498"/>
                  </a:lnTo>
                  <a:lnTo>
                    <a:pt x="828" y="510"/>
                  </a:lnTo>
                  <a:lnTo>
                    <a:pt x="816" y="522"/>
                  </a:lnTo>
                  <a:lnTo>
                    <a:pt x="798" y="540"/>
                  </a:lnTo>
                  <a:lnTo>
                    <a:pt x="780" y="558"/>
                  </a:lnTo>
                  <a:lnTo>
                    <a:pt x="774" y="558"/>
                  </a:lnTo>
                  <a:lnTo>
                    <a:pt x="756" y="576"/>
                  </a:lnTo>
                  <a:lnTo>
                    <a:pt x="732" y="600"/>
                  </a:lnTo>
                  <a:lnTo>
                    <a:pt x="726" y="600"/>
                  </a:lnTo>
                  <a:lnTo>
                    <a:pt x="720" y="606"/>
                  </a:lnTo>
                  <a:lnTo>
                    <a:pt x="714" y="612"/>
                  </a:lnTo>
                  <a:lnTo>
                    <a:pt x="690" y="630"/>
                  </a:lnTo>
                  <a:lnTo>
                    <a:pt x="678" y="636"/>
                  </a:lnTo>
                  <a:lnTo>
                    <a:pt x="672" y="642"/>
                  </a:lnTo>
                  <a:lnTo>
                    <a:pt x="660" y="660"/>
                  </a:lnTo>
                  <a:lnTo>
                    <a:pt x="642" y="666"/>
                  </a:lnTo>
                  <a:lnTo>
                    <a:pt x="636" y="678"/>
                  </a:lnTo>
                  <a:lnTo>
                    <a:pt x="630" y="678"/>
                  </a:lnTo>
                  <a:lnTo>
                    <a:pt x="630" y="684"/>
                  </a:lnTo>
                  <a:lnTo>
                    <a:pt x="630" y="690"/>
                  </a:lnTo>
                  <a:lnTo>
                    <a:pt x="636" y="696"/>
                  </a:lnTo>
                  <a:lnTo>
                    <a:pt x="642" y="696"/>
                  </a:lnTo>
                  <a:lnTo>
                    <a:pt x="648" y="702"/>
                  </a:lnTo>
                  <a:lnTo>
                    <a:pt x="648" y="708"/>
                  </a:lnTo>
                  <a:lnTo>
                    <a:pt x="642" y="708"/>
                  </a:lnTo>
                  <a:lnTo>
                    <a:pt x="636" y="714"/>
                  </a:lnTo>
                  <a:lnTo>
                    <a:pt x="636" y="720"/>
                  </a:lnTo>
                  <a:lnTo>
                    <a:pt x="642" y="726"/>
                  </a:lnTo>
                  <a:lnTo>
                    <a:pt x="636" y="738"/>
                  </a:lnTo>
                  <a:lnTo>
                    <a:pt x="618" y="756"/>
                  </a:lnTo>
                  <a:lnTo>
                    <a:pt x="612" y="750"/>
                  </a:lnTo>
                  <a:lnTo>
                    <a:pt x="612" y="756"/>
                  </a:lnTo>
                  <a:lnTo>
                    <a:pt x="618" y="762"/>
                  </a:lnTo>
                  <a:lnTo>
                    <a:pt x="618" y="768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36" y="786"/>
                  </a:lnTo>
                  <a:lnTo>
                    <a:pt x="642" y="792"/>
                  </a:lnTo>
                  <a:lnTo>
                    <a:pt x="642" y="798"/>
                  </a:lnTo>
                  <a:lnTo>
                    <a:pt x="648" y="804"/>
                  </a:lnTo>
                  <a:lnTo>
                    <a:pt x="654" y="810"/>
                  </a:lnTo>
                  <a:lnTo>
                    <a:pt x="660" y="816"/>
                  </a:lnTo>
                  <a:lnTo>
                    <a:pt x="666" y="816"/>
                  </a:lnTo>
                  <a:lnTo>
                    <a:pt x="666" y="822"/>
                  </a:lnTo>
                  <a:lnTo>
                    <a:pt x="672" y="828"/>
                  </a:lnTo>
                  <a:lnTo>
                    <a:pt x="672" y="840"/>
                  </a:lnTo>
                  <a:lnTo>
                    <a:pt x="672" y="846"/>
                  </a:lnTo>
                  <a:lnTo>
                    <a:pt x="666" y="852"/>
                  </a:lnTo>
                  <a:lnTo>
                    <a:pt x="660" y="864"/>
                  </a:lnTo>
                  <a:lnTo>
                    <a:pt x="654" y="876"/>
                  </a:lnTo>
                  <a:lnTo>
                    <a:pt x="648" y="882"/>
                  </a:lnTo>
                  <a:lnTo>
                    <a:pt x="642" y="888"/>
                  </a:lnTo>
                  <a:lnTo>
                    <a:pt x="642" y="894"/>
                  </a:lnTo>
                  <a:lnTo>
                    <a:pt x="642" y="906"/>
                  </a:lnTo>
                  <a:lnTo>
                    <a:pt x="630" y="918"/>
                  </a:lnTo>
                  <a:lnTo>
                    <a:pt x="630" y="924"/>
                  </a:lnTo>
                  <a:lnTo>
                    <a:pt x="624" y="930"/>
                  </a:lnTo>
                  <a:lnTo>
                    <a:pt x="630" y="936"/>
                  </a:lnTo>
                  <a:lnTo>
                    <a:pt x="630" y="942"/>
                  </a:lnTo>
                  <a:lnTo>
                    <a:pt x="630" y="948"/>
                  </a:lnTo>
                  <a:lnTo>
                    <a:pt x="630" y="954"/>
                  </a:lnTo>
                  <a:lnTo>
                    <a:pt x="630" y="960"/>
                  </a:lnTo>
                  <a:lnTo>
                    <a:pt x="624" y="966"/>
                  </a:lnTo>
                  <a:lnTo>
                    <a:pt x="618" y="990"/>
                  </a:lnTo>
                  <a:lnTo>
                    <a:pt x="618" y="1008"/>
                  </a:lnTo>
                  <a:lnTo>
                    <a:pt x="612" y="1026"/>
                  </a:lnTo>
                  <a:lnTo>
                    <a:pt x="612" y="1038"/>
                  </a:lnTo>
                  <a:lnTo>
                    <a:pt x="612" y="1050"/>
                  </a:lnTo>
                  <a:lnTo>
                    <a:pt x="612" y="1056"/>
                  </a:lnTo>
                  <a:lnTo>
                    <a:pt x="612" y="1062"/>
                  </a:lnTo>
                  <a:lnTo>
                    <a:pt x="612" y="1068"/>
                  </a:lnTo>
                  <a:lnTo>
                    <a:pt x="612" y="1086"/>
                  </a:lnTo>
                  <a:lnTo>
                    <a:pt x="612" y="1092"/>
                  </a:lnTo>
                  <a:lnTo>
                    <a:pt x="606" y="1098"/>
                  </a:lnTo>
                  <a:lnTo>
                    <a:pt x="600" y="1110"/>
                  </a:lnTo>
                  <a:lnTo>
                    <a:pt x="600" y="1116"/>
                  </a:lnTo>
                  <a:lnTo>
                    <a:pt x="594" y="1122"/>
                  </a:lnTo>
                  <a:lnTo>
                    <a:pt x="594" y="1128"/>
                  </a:lnTo>
                  <a:lnTo>
                    <a:pt x="588" y="1134"/>
                  </a:lnTo>
                  <a:lnTo>
                    <a:pt x="582" y="1140"/>
                  </a:lnTo>
                  <a:lnTo>
                    <a:pt x="570" y="1140"/>
                  </a:lnTo>
                  <a:lnTo>
                    <a:pt x="564" y="1146"/>
                  </a:lnTo>
                  <a:lnTo>
                    <a:pt x="570" y="1146"/>
                  </a:lnTo>
                  <a:lnTo>
                    <a:pt x="564" y="1152"/>
                  </a:lnTo>
                  <a:lnTo>
                    <a:pt x="558" y="1158"/>
                  </a:lnTo>
                  <a:lnTo>
                    <a:pt x="552" y="1164"/>
                  </a:lnTo>
                  <a:lnTo>
                    <a:pt x="552" y="1170"/>
                  </a:lnTo>
                  <a:lnTo>
                    <a:pt x="546" y="1176"/>
                  </a:lnTo>
                  <a:lnTo>
                    <a:pt x="546" y="1182"/>
                  </a:lnTo>
                  <a:lnTo>
                    <a:pt x="546" y="1188"/>
                  </a:lnTo>
                  <a:lnTo>
                    <a:pt x="540" y="1188"/>
                  </a:lnTo>
                  <a:lnTo>
                    <a:pt x="540" y="1194"/>
                  </a:lnTo>
                  <a:lnTo>
                    <a:pt x="528" y="1206"/>
                  </a:lnTo>
                  <a:lnTo>
                    <a:pt x="528" y="1212"/>
                  </a:lnTo>
                  <a:lnTo>
                    <a:pt x="534" y="1212"/>
                  </a:lnTo>
                  <a:lnTo>
                    <a:pt x="540" y="1218"/>
                  </a:lnTo>
                  <a:lnTo>
                    <a:pt x="534" y="1218"/>
                  </a:lnTo>
                  <a:lnTo>
                    <a:pt x="528" y="1218"/>
                  </a:lnTo>
                  <a:lnTo>
                    <a:pt x="528" y="1224"/>
                  </a:lnTo>
                  <a:lnTo>
                    <a:pt x="522" y="1230"/>
                  </a:lnTo>
                  <a:lnTo>
                    <a:pt x="516" y="1236"/>
                  </a:lnTo>
                  <a:lnTo>
                    <a:pt x="522" y="1236"/>
                  </a:lnTo>
                  <a:lnTo>
                    <a:pt x="516" y="1242"/>
                  </a:lnTo>
                  <a:lnTo>
                    <a:pt x="510" y="1242"/>
                  </a:lnTo>
                  <a:lnTo>
                    <a:pt x="504" y="1248"/>
                  </a:lnTo>
                  <a:lnTo>
                    <a:pt x="510" y="1260"/>
                  </a:lnTo>
                  <a:lnTo>
                    <a:pt x="504" y="1266"/>
                  </a:lnTo>
                  <a:lnTo>
                    <a:pt x="492" y="1266"/>
                  </a:lnTo>
                  <a:lnTo>
                    <a:pt x="486" y="1272"/>
                  </a:lnTo>
                  <a:lnTo>
                    <a:pt x="486" y="1278"/>
                  </a:lnTo>
                  <a:lnTo>
                    <a:pt x="480" y="1278"/>
                  </a:lnTo>
                  <a:lnTo>
                    <a:pt x="480" y="1284"/>
                  </a:lnTo>
                  <a:lnTo>
                    <a:pt x="480" y="1290"/>
                  </a:lnTo>
                  <a:lnTo>
                    <a:pt x="480" y="1296"/>
                  </a:lnTo>
                  <a:lnTo>
                    <a:pt x="492" y="1302"/>
                  </a:lnTo>
                  <a:lnTo>
                    <a:pt x="492" y="1308"/>
                  </a:lnTo>
                  <a:lnTo>
                    <a:pt x="492" y="1320"/>
                  </a:lnTo>
                  <a:lnTo>
                    <a:pt x="492" y="1332"/>
                  </a:lnTo>
                  <a:lnTo>
                    <a:pt x="498" y="1344"/>
                  </a:lnTo>
                  <a:lnTo>
                    <a:pt x="498" y="1350"/>
                  </a:lnTo>
                  <a:lnTo>
                    <a:pt x="498" y="1356"/>
                  </a:lnTo>
                  <a:lnTo>
                    <a:pt x="504" y="1362"/>
                  </a:lnTo>
                  <a:lnTo>
                    <a:pt x="498" y="1362"/>
                  </a:lnTo>
                  <a:lnTo>
                    <a:pt x="498" y="1368"/>
                  </a:lnTo>
                  <a:lnTo>
                    <a:pt x="492" y="1368"/>
                  </a:lnTo>
                  <a:lnTo>
                    <a:pt x="492" y="1374"/>
                  </a:lnTo>
                  <a:lnTo>
                    <a:pt x="492" y="1380"/>
                  </a:lnTo>
                  <a:lnTo>
                    <a:pt x="498" y="1380"/>
                  </a:lnTo>
                  <a:lnTo>
                    <a:pt x="504" y="1380"/>
                  </a:lnTo>
                  <a:lnTo>
                    <a:pt x="498" y="1386"/>
                  </a:lnTo>
                  <a:lnTo>
                    <a:pt x="498" y="1392"/>
                  </a:lnTo>
                  <a:lnTo>
                    <a:pt x="498" y="1398"/>
                  </a:lnTo>
                  <a:lnTo>
                    <a:pt x="498" y="1404"/>
                  </a:lnTo>
                  <a:lnTo>
                    <a:pt x="498" y="1410"/>
                  </a:lnTo>
                  <a:lnTo>
                    <a:pt x="498" y="1416"/>
                  </a:lnTo>
                  <a:lnTo>
                    <a:pt x="492" y="1416"/>
                  </a:lnTo>
                  <a:lnTo>
                    <a:pt x="498" y="1416"/>
                  </a:lnTo>
                  <a:lnTo>
                    <a:pt x="504" y="1416"/>
                  </a:lnTo>
                  <a:lnTo>
                    <a:pt x="504" y="1422"/>
                  </a:lnTo>
                  <a:lnTo>
                    <a:pt x="510" y="1428"/>
                  </a:lnTo>
                  <a:lnTo>
                    <a:pt x="510" y="1434"/>
                  </a:lnTo>
                  <a:lnTo>
                    <a:pt x="510" y="1440"/>
                  </a:lnTo>
                  <a:lnTo>
                    <a:pt x="516" y="1446"/>
                  </a:lnTo>
                  <a:lnTo>
                    <a:pt x="516" y="1452"/>
                  </a:lnTo>
                  <a:lnTo>
                    <a:pt x="516" y="1458"/>
                  </a:lnTo>
                  <a:lnTo>
                    <a:pt x="516" y="1464"/>
                  </a:lnTo>
                  <a:lnTo>
                    <a:pt x="516" y="1482"/>
                  </a:lnTo>
                  <a:lnTo>
                    <a:pt x="516" y="1488"/>
                  </a:lnTo>
                  <a:lnTo>
                    <a:pt x="522" y="1488"/>
                  </a:lnTo>
                  <a:lnTo>
                    <a:pt x="522" y="1494"/>
                  </a:lnTo>
                  <a:lnTo>
                    <a:pt x="522" y="1500"/>
                  </a:lnTo>
                  <a:lnTo>
                    <a:pt x="516" y="1506"/>
                  </a:lnTo>
                  <a:lnTo>
                    <a:pt x="510" y="1500"/>
                  </a:lnTo>
                  <a:lnTo>
                    <a:pt x="504" y="1500"/>
                  </a:lnTo>
                  <a:lnTo>
                    <a:pt x="504" y="1494"/>
                  </a:lnTo>
                  <a:lnTo>
                    <a:pt x="504" y="1488"/>
                  </a:lnTo>
                  <a:lnTo>
                    <a:pt x="504" y="1482"/>
                  </a:lnTo>
                  <a:lnTo>
                    <a:pt x="504" y="1488"/>
                  </a:lnTo>
                  <a:lnTo>
                    <a:pt x="504" y="1494"/>
                  </a:lnTo>
                  <a:lnTo>
                    <a:pt x="504" y="1500"/>
                  </a:lnTo>
                  <a:lnTo>
                    <a:pt x="498" y="1500"/>
                  </a:lnTo>
                  <a:lnTo>
                    <a:pt x="492" y="1500"/>
                  </a:lnTo>
                  <a:lnTo>
                    <a:pt x="492" y="1494"/>
                  </a:lnTo>
                  <a:lnTo>
                    <a:pt x="492" y="1488"/>
                  </a:lnTo>
                  <a:lnTo>
                    <a:pt x="492" y="1494"/>
                  </a:lnTo>
                  <a:lnTo>
                    <a:pt x="492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00"/>
                  </a:lnTo>
                  <a:lnTo>
                    <a:pt x="510" y="1500"/>
                  </a:lnTo>
                  <a:lnTo>
                    <a:pt x="510" y="1506"/>
                  </a:lnTo>
                  <a:lnTo>
                    <a:pt x="516" y="1506"/>
                  </a:lnTo>
                  <a:lnTo>
                    <a:pt x="510" y="1506"/>
                  </a:lnTo>
                  <a:lnTo>
                    <a:pt x="510" y="1512"/>
                  </a:lnTo>
                  <a:lnTo>
                    <a:pt x="516" y="1506"/>
                  </a:lnTo>
                  <a:lnTo>
                    <a:pt x="522" y="1506"/>
                  </a:lnTo>
                  <a:lnTo>
                    <a:pt x="528" y="1506"/>
                  </a:lnTo>
                  <a:lnTo>
                    <a:pt x="528" y="1500"/>
                  </a:lnTo>
                  <a:lnTo>
                    <a:pt x="534" y="1500"/>
                  </a:lnTo>
                  <a:lnTo>
                    <a:pt x="534" y="1506"/>
                  </a:lnTo>
                  <a:lnTo>
                    <a:pt x="540" y="1512"/>
                  </a:lnTo>
                  <a:lnTo>
                    <a:pt x="540" y="1518"/>
                  </a:lnTo>
                  <a:lnTo>
                    <a:pt x="546" y="1518"/>
                  </a:lnTo>
                  <a:lnTo>
                    <a:pt x="540" y="1518"/>
                  </a:lnTo>
                  <a:lnTo>
                    <a:pt x="540" y="1524"/>
                  </a:lnTo>
                  <a:lnTo>
                    <a:pt x="534" y="1524"/>
                  </a:lnTo>
                  <a:lnTo>
                    <a:pt x="540" y="1524"/>
                  </a:lnTo>
                  <a:lnTo>
                    <a:pt x="546" y="1524"/>
                  </a:lnTo>
                  <a:lnTo>
                    <a:pt x="546" y="1530"/>
                  </a:lnTo>
                  <a:lnTo>
                    <a:pt x="540" y="1530"/>
                  </a:lnTo>
                  <a:lnTo>
                    <a:pt x="540" y="1536"/>
                  </a:lnTo>
                  <a:lnTo>
                    <a:pt x="534" y="1542"/>
                  </a:lnTo>
                  <a:lnTo>
                    <a:pt x="528" y="1542"/>
                  </a:lnTo>
                  <a:lnTo>
                    <a:pt x="522" y="1542"/>
                  </a:lnTo>
                  <a:lnTo>
                    <a:pt x="516" y="1542"/>
                  </a:lnTo>
                  <a:lnTo>
                    <a:pt x="510" y="1542"/>
                  </a:lnTo>
                  <a:lnTo>
                    <a:pt x="504" y="1542"/>
                  </a:lnTo>
                  <a:lnTo>
                    <a:pt x="492" y="1542"/>
                  </a:lnTo>
                  <a:lnTo>
                    <a:pt x="486" y="1536"/>
                  </a:lnTo>
                  <a:lnTo>
                    <a:pt x="480" y="1536"/>
                  </a:lnTo>
                  <a:lnTo>
                    <a:pt x="468" y="1536"/>
                  </a:lnTo>
                  <a:lnTo>
                    <a:pt x="468" y="1542"/>
                  </a:lnTo>
                  <a:lnTo>
                    <a:pt x="462" y="1542"/>
                  </a:lnTo>
                  <a:lnTo>
                    <a:pt x="456" y="1542"/>
                  </a:lnTo>
                  <a:lnTo>
                    <a:pt x="450" y="1542"/>
                  </a:lnTo>
                  <a:lnTo>
                    <a:pt x="444" y="1542"/>
                  </a:lnTo>
                  <a:lnTo>
                    <a:pt x="444" y="1536"/>
                  </a:lnTo>
                  <a:lnTo>
                    <a:pt x="450" y="1536"/>
                  </a:lnTo>
                  <a:lnTo>
                    <a:pt x="456" y="1536"/>
                  </a:lnTo>
                  <a:lnTo>
                    <a:pt x="450" y="1536"/>
                  </a:lnTo>
                  <a:lnTo>
                    <a:pt x="444" y="1536"/>
                  </a:lnTo>
                  <a:lnTo>
                    <a:pt x="444" y="1530"/>
                  </a:lnTo>
                  <a:lnTo>
                    <a:pt x="450" y="1530"/>
                  </a:lnTo>
                  <a:lnTo>
                    <a:pt x="456" y="1524"/>
                  </a:lnTo>
                  <a:lnTo>
                    <a:pt x="456" y="1518"/>
                  </a:lnTo>
                  <a:lnTo>
                    <a:pt x="462" y="1518"/>
                  </a:lnTo>
                  <a:lnTo>
                    <a:pt x="462" y="1524"/>
                  </a:lnTo>
                  <a:lnTo>
                    <a:pt x="468" y="1524"/>
                  </a:lnTo>
                  <a:lnTo>
                    <a:pt x="474" y="1524"/>
                  </a:lnTo>
                  <a:lnTo>
                    <a:pt x="474" y="1518"/>
                  </a:lnTo>
                  <a:lnTo>
                    <a:pt x="480" y="1518"/>
                  </a:lnTo>
                  <a:lnTo>
                    <a:pt x="474" y="1518"/>
                  </a:lnTo>
                  <a:lnTo>
                    <a:pt x="474" y="1524"/>
                  </a:lnTo>
                  <a:lnTo>
                    <a:pt x="468" y="1524"/>
                  </a:lnTo>
                  <a:lnTo>
                    <a:pt x="462" y="1518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62" y="1512"/>
                  </a:lnTo>
                  <a:lnTo>
                    <a:pt x="462" y="1506"/>
                  </a:lnTo>
                  <a:lnTo>
                    <a:pt x="456" y="1506"/>
                  </a:lnTo>
                  <a:lnTo>
                    <a:pt x="456" y="1512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50" y="1518"/>
                  </a:lnTo>
                  <a:lnTo>
                    <a:pt x="444" y="1518"/>
                  </a:lnTo>
                  <a:lnTo>
                    <a:pt x="444" y="1524"/>
                  </a:lnTo>
                  <a:lnTo>
                    <a:pt x="438" y="1524"/>
                  </a:lnTo>
                  <a:lnTo>
                    <a:pt x="438" y="1530"/>
                  </a:lnTo>
                  <a:lnTo>
                    <a:pt x="432" y="1530"/>
                  </a:lnTo>
                  <a:lnTo>
                    <a:pt x="432" y="1536"/>
                  </a:lnTo>
                  <a:lnTo>
                    <a:pt x="426" y="1530"/>
                  </a:lnTo>
                  <a:lnTo>
                    <a:pt x="420" y="1530"/>
                  </a:lnTo>
                  <a:lnTo>
                    <a:pt x="414" y="1530"/>
                  </a:lnTo>
                  <a:lnTo>
                    <a:pt x="414" y="1524"/>
                  </a:lnTo>
                  <a:lnTo>
                    <a:pt x="408" y="1518"/>
                  </a:lnTo>
                  <a:lnTo>
                    <a:pt x="414" y="1512"/>
                  </a:lnTo>
                  <a:lnTo>
                    <a:pt x="408" y="1512"/>
                  </a:lnTo>
                  <a:lnTo>
                    <a:pt x="408" y="1506"/>
                  </a:lnTo>
                  <a:lnTo>
                    <a:pt x="408" y="1500"/>
                  </a:lnTo>
                  <a:lnTo>
                    <a:pt x="408" y="1494"/>
                  </a:lnTo>
                  <a:lnTo>
                    <a:pt x="408" y="1488"/>
                  </a:lnTo>
                  <a:lnTo>
                    <a:pt x="408" y="1494"/>
                  </a:lnTo>
                  <a:lnTo>
                    <a:pt x="414" y="1494"/>
                  </a:lnTo>
                  <a:lnTo>
                    <a:pt x="420" y="1494"/>
                  </a:lnTo>
                  <a:lnTo>
                    <a:pt x="420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82"/>
                  </a:lnTo>
                  <a:lnTo>
                    <a:pt x="426" y="1476"/>
                  </a:lnTo>
                  <a:lnTo>
                    <a:pt x="432" y="1476"/>
                  </a:lnTo>
                  <a:lnTo>
                    <a:pt x="432" y="1470"/>
                  </a:lnTo>
                  <a:lnTo>
                    <a:pt x="438" y="1470"/>
                  </a:lnTo>
                  <a:lnTo>
                    <a:pt x="444" y="1464"/>
                  </a:lnTo>
                  <a:lnTo>
                    <a:pt x="450" y="1458"/>
                  </a:lnTo>
                  <a:lnTo>
                    <a:pt x="456" y="1458"/>
                  </a:lnTo>
                  <a:lnTo>
                    <a:pt x="462" y="1452"/>
                  </a:lnTo>
                  <a:lnTo>
                    <a:pt x="468" y="1452"/>
                  </a:lnTo>
                  <a:lnTo>
                    <a:pt x="468" y="1446"/>
                  </a:lnTo>
                  <a:lnTo>
                    <a:pt x="462" y="1440"/>
                  </a:lnTo>
                  <a:lnTo>
                    <a:pt x="456" y="1434"/>
                  </a:lnTo>
                  <a:lnTo>
                    <a:pt x="456" y="1428"/>
                  </a:lnTo>
                  <a:lnTo>
                    <a:pt x="456" y="1422"/>
                  </a:lnTo>
                  <a:lnTo>
                    <a:pt x="456" y="1416"/>
                  </a:lnTo>
                  <a:lnTo>
                    <a:pt x="450" y="1410"/>
                  </a:lnTo>
                  <a:lnTo>
                    <a:pt x="444" y="1410"/>
                  </a:lnTo>
                  <a:lnTo>
                    <a:pt x="450" y="1410"/>
                  </a:lnTo>
                  <a:lnTo>
                    <a:pt x="450" y="1404"/>
                  </a:lnTo>
                  <a:lnTo>
                    <a:pt x="456" y="1404"/>
                  </a:lnTo>
                  <a:lnTo>
                    <a:pt x="462" y="1404"/>
                  </a:lnTo>
                  <a:lnTo>
                    <a:pt x="468" y="1398"/>
                  </a:lnTo>
                  <a:lnTo>
                    <a:pt x="462" y="1398"/>
                  </a:lnTo>
                  <a:lnTo>
                    <a:pt x="462" y="1392"/>
                  </a:lnTo>
                  <a:lnTo>
                    <a:pt x="456" y="1392"/>
                  </a:lnTo>
                  <a:lnTo>
                    <a:pt x="456" y="1386"/>
                  </a:lnTo>
                  <a:lnTo>
                    <a:pt x="462" y="1386"/>
                  </a:lnTo>
                  <a:lnTo>
                    <a:pt x="468" y="1386"/>
                  </a:lnTo>
                  <a:lnTo>
                    <a:pt x="474" y="1386"/>
                  </a:lnTo>
                  <a:lnTo>
                    <a:pt x="468" y="1386"/>
                  </a:lnTo>
                  <a:lnTo>
                    <a:pt x="462" y="1386"/>
                  </a:lnTo>
                  <a:lnTo>
                    <a:pt x="456" y="1380"/>
                  </a:lnTo>
                  <a:lnTo>
                    <a:pt x="456" y="1374"/>
                  </a:lnTo>
                  <a:lnTo>
                    <a:pt x="462" y="1374"/>
                  </a:lnTo>
                  <a:lnTo>
                    <a:pt x="462" y="1368"/>
                  </a:lnTo>
                  <a:lnTo>
                    <a:pt x="456" y="1374"/>
                  </a:lnTo>
                  <a:lnTo>
                    <a:pt x="456" y="1368"/>
                  </a:lnTo>
                  <a:lnTo>
                    <a:pt x="456" y="1362"/>
                  </a:lnTo>
                  <a:lnTo>
                    <a:pt x="450" y="1362"/>
                  </a:lnTo>
                  <a:lnTo>
                    <a:pt x="450" y="1356"/>
                  </a:lnTo>
                  <a:lnTo>
                    <a:pt x="450" y="1350"/>
                  </a:lnTo>
                  <a:lnTo>
                    <a:pt x="450" y="1344"/>
                  </a:lnTo>
                  <a:lnTo>
                    <a:pt x="456" y="1344"/>
                  </a:lnTo>
                  <a:lnTo>
                    <a:pt x="456" y="1338"/>
                  </a:lnTo>
                  <a:lnTo>
                    <a:pt x="462" y="1338"/>
                  </a:lnTo>
                  <a:lnTo>
                    <a:pt x="462" y="1332"/>
                  </a:lnTo>
                  <a:lnTo>
                    <a:pt x="456" y="1332"/>
                  </a:lnTo>
                  <a:lnTo>
                    <a:pt x="456" y="1326"/>
                  </a:lnTo>
                  <a:lnTo>
                    <a:pt x="450" y="1326"/>
                  </a:lnTo>
                  <a:lnTo>
                    <a:pt x="444" y="1326"/>
                  </a:lnTo>
                  <a:lnTo>
                    <a:pt x="444" y="1332"/>
                  </a:lnTo>
                  <a:lnTo>
                    <a:pt x="438" y="1332"/>
                  </a:lnTo>
                  <a:lnTo>
                    <a:pt x="438" y="1338"/>
                  </a:lnTo>
                  <a:lnTo>
                    <a:pt x="432" y="1338"/>
                  </a:lnTo>
                  <a:lnTo>
                    <a:pt x="432" y="1344"/>
                  </a:lnTo>
                  <a:lnTo>
                    <a:pt x="432" y="1350"/>
                  </a:lnTo>
                  <a:lnTo>
                    <a:pt x="426" y="1356"/>
                  </a:lnTo>
                  <a:lnTo>
                    <a:pt x="426" y="1368"/>
                  </a:lnTo>
                  <a:lnTo>
                    <a:pt x="426" y="1374"/>
                  </a:lnTo>
                  <a:lnTo>
                    <a:pt x="426" y="1380"/>
                  </a:lnTo>
                  <a:lnTo>
                    <a:pt x="432" y="1386"/>
                  </a:lnTo>
                  <a:lnTo>
                    <a:pt x="432" y="1392"/>
                  </a:lnTo>
                  <a:lnTo>
                    <a:pt x="432" y="1398"/>
                  </a:lnTo>
                  <a:lnTo>
                    <a:pt x="426" y="1398"/>
                  </a:lnTo>
                  <a:lnTo>
                    <a:pt x="420" y="1398"/>
                  </a:lnTo>
                  <a:lnTo>
                    <a:pt x="414" y="1398"/>
                  </a:lnTo>
                  <a:lnTo>
                    <a:pt x="420" y="1398"/>
                  </a:lnTo>
                  <a:lnTo>
                    <a:pt x="414" y="1404"/>
                  </a:lnTo>
                  <a:lnTo>
                    <a:pt x="420" y="1404"/>
                  </a:lnTo>
                  <a:lnTo>
                    <a:pt x="414" y="1404"/>
                  </a:lnTo>
                  <a:lnTo>
                    <a:pt x="408" y="1404"/>
                  </a:lnTo>
                  <a:lnTo>
                    <a:pt x="402" y="1410"/>
                  </a:lnTo>
                  <a:lnTo>
                    <a:pt x="402" y="1404"/>
                  </a:lnTo>
                  <a:lnTo>
                    <a:pt x="396" y="1404"/>
                  </a:lnTo>
                  <a:lnTo>
                    <a:pt x="390" y="1404"/>
                  </a:lnTo>
                  <a:lnTo>
                    <a:pt x="384" y="1404"/>
                  </a:lnTo>
                  <a:lnTo>
                    <a:pt x="384" y="1398"/>
                  </a:lnTo>
                  <a:lnTo>
                    <a:pt x="384" y="1392"/>
                  </a:lnTo>
                  <a:lnTo>
                    <a:pt x="390" y="1392"/>
                  </a:lnTo>
                  <a:lnTo>
                    <a:pt x="390" y="1386"/>
                  </a:lnTo>
                  <a:lnTo>
                    <a:pt x="390" y="1380"/>
                  </a:lnTo>
                  <a:lnTo>
                    <a:pt x="396" y="1380"/>
                  </a:lnTo>
                  <a:lnTo>
                    <a:pt x="402" y="1380"/>
                  </a:lnTo>
                  <a:lnTo>
                    <a:pt x="408" y="1380"/>
                  </a:lnTo>
                  <a:lnTo>
                    <a:pt x="408" y="1374"/>
                  </a:lnTo>
                  <a:lnTo>
                    <a:pt x="414" y="1374"/>
                  </a:lnTo>
                  <a:lnTo>
                    <a:pt x="414" y="1368"/>
                  </a:lnTo>
                  <a:lnTo>
                    <a:pt x="414" y="1362"/>
                  </a:lnTo>
                  <a:lnTo>
                    <a:pt x="414" y="1368"/>
                  </a:lnTo>
                  <a:lnTo>
                    <a:pt x="414" y="1374"/>
                  </a:lnTo>
                  <a:lnTo>
                    <a:pt x="408" y="1374"/>
                  </a:lnTo>
                  <a:lnTo>
                    <a:pt x="402" y="1380"/>
                  </a:lnTo>
                  <a:lnTo>
                    <a:pt x="396" y="1380"/>
                  </a:lnTo>
                  <a:lnTo>
                    <a:pt x="396" y="1374"/>
                  </a:lnTo>
                  <a:lnTo>
                    <a:pt x="390" y="1374"/>
                  </a:lnTo>
                  <a:lnTo>
                    <a:pt x="390" y="1368"/>
                  </a:lnTo>
                  <a:lnTo>
                    <a:pt x="384" y="1368"/>
                  </a:lnTo>
                  <a:lnTo>
                    <a:pt x="384" y="1374"/>
                  </a:lnTo>
                  <a:lnTo>
                    <a:pt x="378" y="1374"/>
                  </a:lnTo>
                  <a:lnTo>
                    <a:pt x="378" y="1380"/>
                  </a:lnTo>
                  <a:lnTo>
                    <a:pt x="372" y="1380"/>
                  </a:lnTo>
                  <a:lnTo>
                    <a:pt x="366" y="1386"/>
                  </a:lnTo>
                  <a:lnTo>
                    <a:pt x="360" y="1386"/>
                  </a:lnTo>
                  <a:lnTo>
                    <a:pt x="354" y="1386"/>
                  </a:lnTo>
                  <a:lnTo>
                    <a:pt x="354" y="1380"/>
                  </a:lnTo>
                  <a:lnTo>
                    <a:pt x="348" y="1380"/>
                  </a:lnTo>
                  <a:lnTo>
                    <a:pt x="342" y="1380"/>
                  </a:lnTo>
                  <a:lnTo>
                    <a:pt x="342" y="1374"/>
                  </a:lnTo>
                  <a:lnTo>
                    <a:pt x="336" y="1368"/>
                  </a:lnTo>
                  <a:lnTo>
                    <a:pt x="342" y="1368"/>
                  </a:lnTo>
                  <a:lnTo>
                    <a:pt x="342" y="1362"/>
                  </a:lnTo>
                  <a:lnTo>
                    <a:pt x="348" y="1362"/>
                  </a:lnTo>
                  <a:lnTo>
                    <a:pt x="354" y="1362"/>
                  </a:lnTo>
                  <a:lnTo>
                    <a:pt x="354" y="1356"/>
                  </a:lnTo>
                  <a:lnTo>
                    <a:pt x="348" y="1356"/>
                  </a:lnTo>
                  <a:lnTo>
                    <a:pt x="348" y="1350"/>
                  </a:lnTo>
                  <a:lnTo>
                    <a:pt x="348" y="1344"/>
                  </a:lnTo>
                  <a:lnTo>
                    <a:pt x="354" y="1338"/>
                  </a:lnTo>
                  <a:lnTo>
                    <a:pt x="354" y="1332"/>
                  </a:lnTo>
                  <a:lnTo>
                    <a:pt x="354" y="1326"/>
                  </a:lnTo>
                  <a:lnTo>
                    <a:pt x="354" y="1320"/>
                  </a:lnTo>
                  <a:lnTo>
                    <a:pt x="354" y="1314"/>
                  </a:lnTo>
                  <a:lnTo>
                    <a:pt x="354" y="1308"/>
                  </a:lnTo>
                  <a:lnTo>
                    <a:pt x="348" y="1308"/>
                  </a:lnTo>
                  <a:lnTo>
                    <a:pt x="348" y="1302"/>
                  </a:lnTo>
                  <a:lnTo>
                    <a:pt x="342" y="1296"/>
                  </a:lnTo>
                  <a:lnTo>
                    <a:pt x="336" y="1296"/>
                  </a:lnTo>
                  <a:lnTo>
                    <a:pt x="336" y="1290"/>
                  </a:lnTo>
                  <a:lnTo>
                    <a:pt x="330" y="1290"/>
                  </a:lnTo>
                  <a:lnTo>
                    <a:pt x="324" y="1290"/>
                  </a:lnTo>
                  <a:lnTo>
                    <a:pt x="324" y="1284"/>
                  </a:lnTo>
                  <a:lnTo>
                    <a:pt x="318" y="1284"/>
                  </a:lnTo>
                  <a:lnTo>
                    <a:pt x="318" y="1278"/>
                  </a:lnTo>
                  <a:lnTo>
                    <a:pt x="312" y="1278"/>
                  </a:lnTo>
                  <a:lnTo>
                    <a:pt x="312" y="1272"/>
                  </a:lnTo>
                  <a:lnTo>
                    <a:pt x="312" y="1278"/>
                  </a:lnTo>
                  <a:lnTo>
                    <a:pt x="318" y="1284"/>
                  </a:lnTo>
                  <a:lnTo>
                    <a:pt x="324" y="1290"/>
                  </a:lnTo>
                  <a:lnTo>
                    <a:pt x="330" y="1290"/>
                  </a:lnTo>
                  <a:lnTo>
                    <a:pt x="330" y="1296"/>
                  </a:lnTo>
                  <a:lnTo>
                    <a:pt x="336" y="1296"/>
                  </a:lnTo>
                  <a:lnTo>
                    <a:pt x="336" y="1302"/>
                  </a:lnTo>
                  <a:lnTo>
                    <a:pt x="342" y="1302"/>
                  </a:lnTo>
                  <a:lnTo>
                    <a:pt x="348" y="1302"/>
                  </a:lnTo>
                  <a:lnTo>
                    <a:pt x="348" y="1308"/>
                  </a:lnTo>
                  <a:lnTo>
                    <a:pt x="348" y="1314"/>
                  </a:lnTo>
                  <a:lnTo>
                    <a:pt x="354" y="1314"/>
                  </a:lnTo>
                  <a:lnTo>
                    <a:pt x="354" y="1320"/>
                  </a:lnTo>
                  <a:lnTo>
                    <a:pt x="354" y="1326"/>
                  </a:lnTo>
                  <a:lnTo>
                    <a:pt x="348" y="1326"/>
                  </a:lnTo>
                  <a:lnTo>
                    <a:pt x="348" y="1332"/>
                  </a:lnTo>
                  <a:lnTo>
                    <a:pt x="348" y="1338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2" y="1350"/>
                  </a:lnTo>
                  <a:lnTo>
                    <a:pt x="336" y="1350"/>
                  </a:lnTo>
                  <a:lnTo>
                    <a:pt x="330" y="1350"/>
                  </a:lnTo>
                  <a:lnTo>
                    <a:pt x="330" y="1356"/>
                  </a:lnTo>
                  <a:lnTo>
                    <a:pt x="330" y="1350"/>
                  </a:lnTo>
                  <a:lnTo>
                    <a:pt x="324" y="1350"/>
                  </a:lnTo>
                  <a:lnTo>
                    <a:pt x="318" y="1344"/>
                  </a:lnTo>
                  <a:lnTo>
                    <a:pt x="318" y="1350"/>
                  </a:lnTo>
                  <a:lnTo>
                    <a:pt x="312" y="1344"/>
                  </a:lnTo>
                  <a:lnTo>
                    <a:pt x="312" y="1338"/>
                  </a:lnTo>
                  <a:lnTo>
                    <a:pt x="306" y="1338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6" y="1326"/>
                  </a:lnTo>
                  <a:lnTo>
                    <a:pt x="306" y="1320"/>
                  </a:lnTo>
                  <a:lnTo>
                    <a:pt x="306" y="1326"/>
                  </a:lnTo>
                  <a:lnTo>
                    <a:pt x="312" y="1326"/>
                  </a:lnTo>
                  <a:lnTo>
                    <a:pt x="312" y="1320"/>
                  </a:lnTo>
                  <a:lnTo>
                    <a:pt x="306" y="1320"/>
                  </a:lnTo>
                  <a:lnTo>
                    <a:pt x="300" y="1320"/>
                  </a:lnTo>
                  <a:lnTo>
                    <a:pt x="294" y="1320"/>
                  </a:lnTo>
                  <a:lnTo>
                    <a:pt x="294" y="1314"/>
                  </a:lnTo>
                  <a:lnTo>
                    <a:pt x="288" y="1314"/>
                  </a:lnTo>
                  <a:lnTo>
                    <a:pt x="288" y="1308"/>
                  </a:lnTo>
                  <a:lnTo>
                    <a:pt x="288" y="1302"/>
                  </a:lnTo>
                  <a:lnTo>
                    <a:pt x="294" y="1302"/>
                  </a:lnTo>
                  <a:lnTo>
                    <a:pt x="294" y="1296"/>
                  </a:lnTo>
                  <a:lnTo>
                    <a:pt x="288" y="1296"/>
                  </a:lnTo>
                  <a:lnTo>
                    <a:pt x="288" y="1290"/>
                  </a:lnTo>
                  <a:lnTo>
                    <a:pt x="288" y="1296"/>
                  </a:lnTo>
                  <a:lnTo>
                    <a:pt x="294" y="1302"/>
                  </a:lnTo>
                  <a:lnTo>
                    <a:pt x="288" y="1302"/>
                  </a:lnTo>
                  <a:lnTo>
                    <a:pt x="282" y="1296"/>
                  </a:lnTo>
                  <a:lnTo>
                    <a:pt x="276" y="1296"/>
                  </a:lnTo>
                  <a:lnTo>
                    <a:pt x="276" y="1290"/>
                  </a:lnTo>
                  <a:lnTo>
                    <a:pt x="270" y="1290"/>
                  </a:lnTo>
                  <a:lnTo>
                    <a:pt x="264" y="1284"/>
                  </a:lnTo>
                  <a:lnTo>
                    <a:pt x="264" y="1278"/>
                  </a:lnTo>
                  <a:lnTo>
                    <a:pt x="264" y="1272"/>
                  </a:lnTo>
                  <a:lnTo>
                    <a:pt x="264" y="1266"/>
                  </a:lnTo>
                  <a:lnTo>
                    <a:pt x="258" y="1266"/>
                  </a:lnTo>
                  <a:lnTo>
                    <a:pt x="252" y="1266"/>
                  </a:lnTo>
                  <a:lnTo>
                    <a:pt x="246" y="1260"/>
                  </a:lnTo>
                  <a:lnTo>
                    <a:pt x="240" y="1254"/>
                  </a:lnTo>
                  <a:lnTo>
                    <a:pt x="240" y="1260"/>
                  </a:lnTo>
                  <a:lnTo>
                    <a:pt x="240" y="1266"/>
                  </a:lnTo>
                  <a:lnTo>
                    <a:pt x="240" y="1272"/>
                  </a:lnTo>
                  <a:lnTo>
                    <a:pt x="246" y="1272"/>
                  </a:lnTo>
                  <a:lnTo>
                    <a:pt x="246" y="1278"/>
                  </a:lnTo>
                  <a:lnTo>
                    <a:pt x="246" y="1284"/>
                  </a:lnTo>
                  <a:lnTo>
                    <a:pt x="252" y="1284"/>
                  </a:lnTo>
                  <a:lnTo>
                    <a:pt x="252" y="1290"/>
                  </a:lnTo>
                  <a:lnTo>
                    <a:pt x="258" y="1296"/>
                  </a:lnTo>
                  <a:lnTo>
                    <a:pt x="264" y="1302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58" y="1314"/>
                  </a:lnTo>
                  <a:lnTo>
                    <a:pt x="258" y="1308"/>
                  </a:lnTo>
                  <a:lnTo>
                    <a:pt x="252" y="1308"/>
                  </a:lnTo>
                  <a:lnTo>
                    <a:pt x="252" y="1302"/>
                  </a:lnTo>
                  <a:lnTo>
                    <a:pt x="246" y="1302"/>
                  </a:lnTo>
                  <a:lnTo>
                    <a:pt x="246" y="1296"/>
                  </a:lnTo>
                  <a:lnTo>
                    <a:pt x="240" y="1296"/>
                  </a:lnTo>
                  <a:lnTo>
                    <a:pt x="240" y="1290"/>
                  </a:lnTo>
                  <a:lnTo>
                    <a:pt x="234" y="1284"/>
                  </a:lnTo>
                  <a:lnTo>
                    <a:pt x="234" y="1278"/>
                  </a:lnTo>
                  <a:close/>
                  <a:moveTo>
                    <a:pt x="444" y="1332"/>
                  </a:moveTo>
                  <a:lnTo>
                    <a:pt x="450" y="1326"/>
                  </a:lnTo>
                  <a:lnTo>
                    <a:pt x="456" y="1326"/>
                  </a:lnTo>
                  <a:lnTo>
                    <a:pt x="456" y="1332"/>
                  </a:lnTo>
                  <a:lnTo>
                    <a:pt x="456" y="1338"/>
                  </a:lnTo>
                  <a:lnTo>
                    <a:pt x="450" y="1338"/>
                  </a:lnTo>
                  <a:lnTo>
                    <a:pt x="444" y="1338"/>
                  </a:lnTo>
                  <a:lnTo>
                    <a:pt x="444" y="1332"/>
                  </a:lnTo>
                  <a:close/>
                  <a:moveTo>
                    <a:pt x="444" y="1368"/>
                  </a:moveTo>
                  <a:lnTo>
                    <a:pt x="456" y="1368"/>
                  </a:lnTo>
                  <a:lnTo>
                    <a:pt x="456" y="1374"/>
                  </a:lnTo>
                  <a:lnTo>
                    <a:pt x="444" y="1374"/>
                  </a:lnTo>
                  <a:lnTo>
                    <a:pt x="444" y="1368"/>
                  </a:lnTo>
                  <a:close/>
                  <a:moveTo>
                    <a:pt x="444" y="1386"/>
                  </a:moveTo>
                  <a:lnTo>
                    <a:pt x="444" y="1380"/>
                  </a:lnTo>
                  <a:lnTo>
                    <a:pt x="444" y="1374"/>
                  </a:lnTo>
                  <a:lnTo>
                    <a:pt x="444" y="1380"/>
                  </a:lnTo>
                  <a:lnTo>
                    <a:pt x="450" y="1380"/>
                  </a:lnTo>
                  <a:lnTo>
                    <a:pt x="456" y="1380"/>
                  </a:lnTo>
                  <a:lnTo>
                    <a:pt x="456" y="1386"/>
                  </a:lnTo>
                  <a:lnTo>
                    <a:pt x="456" y="1392"/>
                  </a:lnTo>
                  <a:lnTo>
                    <a:pt x="462" y="1392"/>
                  </a:lnTo>
                  <a:lnTo>
                    <a:pt x="462" y="1398"/>
                  </a:lnTo>
                  <a:lnTo>
                    <a:pt x="462" y="1404"/>
                  </a:lnTo>
                  <a:lnTo>
                    <a:pt x="456" y="1404"/>
                  </a:lnTo>
                  <a:lnTo>
                    <a:pt x="450" y="1404"/>
                  </a:lnTo>
                  <a:lnTo>
                    <a:pt x="450" y="1398"/>
                  </a:lnTo>
                  <a:lnTo>
                    <a:pt x="444" y="1398"/>
                  </a:lnTo>
                  <a:lnTo>
                    <a:pt x="444" y="1392"/>
                  </a:lnTo>
                  <a:lnTo>
                    <a:pt x="444" y="1386"/>
                  </a:lnTo>
                  <a:close/>
                  <a:moveTo>
                    <a:pt x="438" y="1362"/>
                  </a:moveTo>
                  <a:lnTo>
                    <a:pt x="444" y="1356"/>
                  </a:lnTo>
                  <a:lnTo>
                    <a:pt x="450" y="1356"/>
                  </a:lnTo>
                  <a:lnTo>
                    <a:pt x="450" y="1362"/>
                  </a:lnTo>
                  <a:lnTo>
                    <a:pt x="450" y="1368"/>
                  </a:lnTo>
                  <a:lnTo>
                    <a:pt x="444" y="1368"/>
                  </a:lnTo>
                  <a:lnTo>
                    <a:pt x="444" y="1362"/>
                  </a:lnTo>
                  <a:lnTo>
                    <a:pt x="438" y="1362"/>
                  </a:lnTo>
                  <a:close/>
                  <a:moveTo>
                    <a:pt x="438" y="1350"/>
                  </a:moveTo>
                  <a:lnTo>
                    <a:pt x="438" y="1344"/>
                  </a:lnTo>
                  <a:lnTo>
                    <a:pt x="438" y="1338"/>
                  </a:lnTo>
                  <a:lnTo>
                    <a:pt x="444" y="1338"/>
                  </a:lnTo>
                  <a:lnTo>
                    <a:pt x="450" y="1338"/>
                  </a:lnTo>
                  <a:lnTo>
                    <a:pt x="456" y="1338"/>
                  </a:lnTo>
                  <a:lnTo>
                    <a:pt x="450" y="1344"/>
                  </a:lnTo>
                  <a:lnTo>
                    <a:pt x="444" y="1350"/>
                  </a:lnTo>
                  <a:lnTo>
                    <a:pt x="438" y="1350"/>
                  </a:lnTo>
                  <a:close/>
                  <a:moveTo>
                    <a:pt x="432" y="1380"/>
                  </a:moveTo>
                  <a:lnTo>
                    <a:pt x="432" y="1368"/>
                  </a:lnTo>
                  <a:lnTo>
                    <a:pt x="432" y="1362"/>
                  </a:lnTo>
                  <a:lnTo>
                    <a:pt x="432" y="1356"/>
                  </a:lnTo>
                  <a:lnTo>
                    <a:pt x="438" y="1356"/>
                  </a:lnTo>
                  <a:lnTo>
                    <a:pt x="438" y="1362"/>
                  </a:lnTo>
                  <a:lnTo>
                    <a:pt x="438" y="1368"/>
                  </a:lnTo>
                  <a:lnTo>
                    <a:pt x="438" y="1374"/>
                  </a:lnTo>
                  <a:lnTo>
                    <a:pt x="438" y="1380"/>
                  </a:lnTo>
                  <a:lnTo>
                    <a:pt x="438" y="1386"/>
                  </a:lnTo>
                  <a:lnTo>
                    <a:pt x="438" y="1380"/>
                  </a:lnTo>
                  <a:lnTo>
                    <a:pt x="432" y="1380"/>
                  </a:lnTo>
                  <a:close/>
                  <a:moveTo>
                    <a:pt x="246" y="1272"/>
                  </a:moveTo>
                  <a:lnTo>
                    <a:pt x="252" y="1272"/>
                  </a:lnTo>
                  <a:lnTo>
                    <a:pt x="252" y="1278"/>
                  </a:lnTo>
                  <a:lnTo>
                    <a:pt x="246" y="1278"/>
                  </a:lnTo>
                  <a:lnTo>
                    <a:pt x="246" y="1272"/>
                  </a:lnTo>
                  <a:close/>
                  <a:moveTo>
                    <a:pt x="426" y="1416"/>
                  </a:moveTo>
                  <a:lnTo>
                    <a:pt x="432" y="1410"/>
                  </a:lnTo>
                  <a:lnTo>
                    <a:pt x="438" y="1410"/>
                  </a:lnTo>
                  <a:lnTo>
                    <a:pt x="438" y="1416"/>
                  </a:lnTo>
                  <a:lnTo>
                    <a:pt x="438" y="1422"/>
                  </a:lnTo>
                  <a:lnTo>
                    <a:pt x="432" y="1422"/>
                  </a:lnTo>
                  <a:lnTo>
                    <a:pt x="426" y="1422"/>
                  </a:lnTo>
                  <a:lnTo>
                    <a:pt x="426" y="1416"/>
                  </a:lnTo>
                  <a:close/>
                  <a:moveTo>
                    <a:pt x="246" y="1266"/>
                  </a:moveTo>
                  <a:lnTo>
                    <a:pt x="252" y="1266"/>
                  </a:lnTo>
                  <a:lnTo>
                    <a:pt x="258" y="1272"/>
                  </a:lnTo>
                  <a:lnTo>
                    <a:pt x="258" y="1278"/>
                  </a:lnTo>
                  <a:lnTo>
                    <a:pt x="258" y="1284"/>
                  </a:lnTo>
                  <a:lnTo>
                    <a:pt x="252" y="1284"/>
                  </a:lnTo>
                  <a:lnTo>
                    <a:pt x="252" y="1278"/>
                  </a:lnTo>
                  <a:lnTo>
                    <a:pt x="252" y="1272"/>
                  </a:lnTo>
                  <a:lnTo>
                    <a:pt x="252" y="1266"/>
                  </a:lnTo>
                  <a:lnTo>
                    <a:pt x="246" y="1266"/>
                  </a:lnTo>
                  <a:close/>
                  <a:moveTo>
                    <a:pt x="408" y="1458"/>
                  </a:moveTo>
                  <a:lnTo>
                    <a:pt x="408" y="1452"/>
                  </a:lnTo>
                  <a:lnTo>
                    <a:pt x="414" y="1452"/>
                  </a:lnTo>
                  <a:lnTo>
                    <a:pt x="414" y="1446"/>
                  </a:lnTo>
                  <a:lnTo>
                    <a:pt x="414" y="1440"/>
                  </a:lnTo>
                  <a:lnTo>
                    <a:pt x="420" y="1440"/>
                  </a:lnTo>
                  <a:lnTo>
                    <a:pt x="420" y="1434"/>
                  </a:lnTo>
                  <a:lnTo>
                    <a:pt x="420" y="1428"/>
                  </a:lnTo>
                  <a:lnTo>
                    <a:pt x="420" y="1422"/>
                  </a:lnTo>
                  <a:lnTo>
                    <a:pt x="426" y="1422"/>
                  </a:lnTo>
                  <a:lnTo>
                    <a:pt x="432" y="1428"/>
                  </a:lnTo>
                  <a:lnTo>
                    <a:pt x="438" y="1428"/>
                  </a:lnTo>
                  <a:lnTo>
                    <a:pt x="438" y="1434"/>
                  </a:lnTo>
                  <a:lnTo>
                    <a:pt x="438" y="1428"/>
                  </a:lnTo>
                  <a:lnTo>
                    <a:pt x="438" y="1422"/>
                  </a:lnTo>
                  <a:lnTo>
                    <a:pt x="444" y="1416"/>
                  </a:lnTo>
                  <a:lnTo>
                    <a:pt x="444" y="1410"/>
                  </a:lnTo>
                  <a:lnTo>
                    <a:pt x="450" y="1416"/>
                  </a:lnTo>
                  <a:lnTo>
                    <a:pt x="456" y="1416"/>
                  </a:lnTo>
                  <a:lnTo>
                    <a:pt x="456" y="1422"/>
                  </a:lnTo>
                  <a:lnTo>
                    <a:pt x="456" y="1428"/>
                  </a:lnTo>
                  <a:lnTo>
                    <a:pt x="456" y="1434"/>
                  </a:lnTo>
                  <a:lnTo>
                    <a:pt x="456" y="1440"/>
                  </a:lnTo>
                  <a:lnTo>
                    <a:pt x="462" y="1440"/>
                  </a:lnTo>
                  <a:lnTo>
                    <a:pt x="462" y="1446"/>
                  </a:lnTo>
                  <a:lnTo>
                    <a:pt x="462" y="1452"/>
                  </a:lnTo>
                  <a:lnTo>
                    <a:pt x="456" y="1452"/>
                  </a:lnTo>
                  <a:lnTo>
                    <a:pt x="450" y="1452"/>
                  </a:lnTo>
                  <a:lnTo>
                    <a:pt x="444" y="1446"/>
                  </a:lnTo>
                  <a:lnTo>
                    <a:pt x="444" y="1452"/>
                  </a:lnTo>
                  <a:lnTo>
                    <a:pt x="450" y="1452"/>
                  </a:lnTo>
                  <a:lnTo>
                    <a:pt x="450" y="1458"/>
                  </a:lnTo>
                  <a:lnTo>
                    <a:pt x="444" y="1458"/>
                  </a:lnTo>
                  <a:lnTo>
                    <a:pt x="438" y="1464"/>
                  </a:lnTo>
                  <a:lnTo>
                    <a:pt x="438" y="1458"/>
                  </a:lnTo>
                  <a:lnTo>
                    <a:pt x="432" y="1458"/>
                  </a:lnTo>
                  <a:lnTo>
                    <a:pt x="426" y="1458"/>
                  </a:lnTo>
                  <a:lnTo>
                    <a:pt x="432" y="1458"/>
                  </a:lnTo>
                  <a:lnTo>
                    <a:pt x="438" y="1464"/>
                  </a:lnTo>
                  <a:lnTo>
                    <a:pt x="432" y="1464"/>
                  </a:lnTo>
                  <a:lnTo>
                    <a:pt x="432" y="1470"/>
                  </a:lnTo>
                  <a:lnTo>
                    <a:pt x="426" y="1470"/>
                  </a:lnTo>
                  <a:lnTo>
                    <a:pt x="420" y="1476"/>
                  </a:lnTo>
                  <a:lnTo>
                    <a:pt x="420" y="1470"/>
                  </a:lnTo>
                  <a:lnTo>
                    <a:pt x="414" y="1470"/>
                  </a:lnTo>
                  <a:lnTo>
                    <a:pt x="414" y="1464"/>
                  </a:lnTo>
                  <a:lnTo>
                    <a:pt x="414" y="1458"/>
                  </a:lnTo>
                  <a:lnTo>
                    <a:pt x="408" y="1458"/>
                  </a:lnTo>
                  <a:close/>
                  <a:moveTo>
                    <a:pt x="270" y="1326"/>
                  </a:moveTo>
                  <a:lnTo>
                    <a:pt x="270" y="1320"/>
                  </a:lnTo>
                  <a:lnTo>
                    <a:pt x="276" y="1320"/>
                  </a:lnTo>
                  <a:lnTo>
                    <a:pt x="282" y="1326"/>
                  </a:lnTo>
                  <a:lnTo>
                    <a:pt x="288" y="1326"/>
                  </a:lnTo>
                  <a:lnTo>
                    <a:pt x="288" y="1332"/>
                  </a:lnTo>
                  <a:lnTo>
                    <a:pt x="288" y="1338"/>
                  </a:lnTo>
                  <a:lnTo>
                    <a:pt x="288" y="1344"/>
                  </a:lnTo>
                  <a:lnTo>
                    <a:pt x="282" y="1344"/>
                  </a:lnTo>
                  <a:lnTo>
                    <a:pt x="282" y="1338"/>
                  </a:lnTo>
                  <a:lnTo>
                    <a:pt x="276" y="1338"/>
                  </a:lnTo>
                  <a:lnTo>
                    <a:pt x="276" y="1332"/>
                  </a:lnTo>
                  <a:lnTo>
                    <a:pt x="270" y="1332"/>
                  </a:lnTo>
                  <a:lnTo>
                    <a:pt x="270" y="1326"/>
                  </a:lnTo>
                  <a:close/>
                  <a:moveTo>
                    <a:pt x="288" y="1458"/>
                  </a:moveTo>
                  <a:lnTo>
                    <a:pt x="294" y="1458"/>
                  </a:lnTo>
                  <a:lnTo>
                    <a:pt x="294" y="1452"/>
                  </a:lnTo>
                  <a:lnTo>
                    <a:pt x="294" y="1446"/>
                  </a:lnTo>
                  <a:lnTo>
                    <a:pt x="300" y="1446"/>
                  </a:lnTo>
                  <a:lnTo>
                    <a:pt x="300" y="1440"/>
                  </a:lnTo>
                  <a:lnTo>
                    <a:pt x="306" y="1440"/>
                  </a:lnTo>
                  <a:lnTo>
                    <a:pt x="306" y="1446"/>
                  </a:lnTo>
                  <a:lnTo>
                    <a:pt x="312" y="1452"/>
                  </a:lnTo>
                  <a:lnTo>
                    <a:pt x="306" y="1452"/>
                  </a:lnTo>
                  <a:lnTo>
                    <a:pt x="306" y="1458"/>
                  </a:lnTo>
                  <a:lnTo>
                    <a:pt x="312" y="1464"/>
                  </a:lnTo>
                  <a:lnTo>
                    <a:pt x="306" y="1464"/>
                  </a:lnTo>
                  <a:lnTo>
                    <a:pt x="306" y="1470"/>
                  </a:lnTo>
                  <a:lnTo>
                    <a:pt x="300" y="1476"/>
                  </a:lnTo>
                  <a:lnTo>
                    <a:pt x="294" y="1476"/>
                  </a:lnTo>
                  <a:lnTo>
                    <a:pt x="294" y="1470"/>
                  </a:lnTo>
                  <a:lnTo>
                    <a:pt x="288" y="1470"/>
                  </a:lnTo>
                  <a:lnTo>
                    <a:pt x="288" y="1464"/>
                  </a:lnTo>
                  <a:lnTo>
                    <a:pt x="288" y="1458"/>
                  </a:lnTo>
                  <a:close/>
                  <a:moveTo>
                    <a:pt x="270" y="1296"/>
                  </a:moveTo>
                  <a:lnTo>
                    <a:pt x="276" y="1296"/>
                  </a:lnTo>
                  <a:lnTo>
                    <a:pt x="282" y="1296"/>
                  </a:lnTo>
                  <a:lnTo>
                    <a:pt x="288" y="1296"/>
                  </a:lnTo>
                  <a:lnTo>
                    <a:pt x="288" y="1302"/>
                  </a:lnTo>
                  <a:lnTo>
                    <a:pt x="282" y="1308"/>
                  </a:lnTo>
                  <a:lnTo>
                    <a:pt x="276" y="1308"/>
                  </a:lnTo>
                  <a:lnTo>
                    <a:pt x="276" y="1302"/>
                  </a:lnTo>
                  <a:lnTo>
                    <a:pt x="270" y="129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4" name="Freeform 19">
              <a:extLst>
                <a:ext uri="{FF2B5EF4-FFF2-40B4-BE49-F238E27FC236}">
                  <a16:creationId xmlns:a16="http://schemas.microsoft.com/office/drawing/2014/main" id="{5B9020B8-E1C1-4611-A248-9642BBD69C9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7043" y="3765821"/>
              <a:ext cx="333193" cy="398097"/>
            </a:xfrm>
            <a:custGeom>
              <a:avLst/>
              <a:gdLst>
                <a:gd name="T0" fmla="*/ 30 w 624"/>
                <a:gd name="T1" fmla="*/ 61 h 750"/>
                <a:gd name="T2" fmla="*/ 27 w 624"/>
                <a:gd name="T3" fmla="*/ 62 h 750"/>
                <a:gd name="T4" fmla="*/ 23 w 624"/>
                <a:gd name="T5" fmla="*/ 59 h 750"/>
                <a:gd name="T6" fmla="*/ 20 w 624"/>
                <a:gd name="T7" fmla="*/ 58 h 750"/>
                <a:gd name="T8" fmla="*/ 19 w 624"/>
                <a:gd name="T9" fmla="*/ 56 h 750"/>
                <a:gd name="T10" fmla="*/ 17 w 624"/>
                <a:gd name="T11" fmla="*/ 55 h 750"/>
                <a:gd name="T12" fmla="*/ 16 w 624"/>
                <a:gd name="T13" fmla="*/ 51 h 750"/>
                <a:gd name="T14" fmla="*/ 14 w 624"/>
                <a:gd name="T15" fmla="*/ 48 h 750"/>
                <a:gd name="T16" fmla="*/ 12 w 624"/>
                <a:gd name="T17" fmla="*/ 46 h 750"/>
                <a:gd name="T18" fmla="*/ 12 w 624"/>
                <a:gd name="T19" fmla="*/ 44 h 750"/>
                <a:gd name="T20" fmla="*/ 11 w 624"/>
                <a:gd name="T21" fmla="*/ 41 h 750"/>
                <a:gd name="T22" fmla="*/ 8 w 624"/>
                <a:gd name="T23" fmla="*/ 38 h 750"/>
                <a:gd name="T24" fmla="*/ 6 w 624"/>
                <a:gd name="T25" fmla="*/ 38 h 750"/>
                <a:gd name="T26" fmla="*/ 6 w 624"/>
                <a:gd name="T27" fmla="*/ 35 h 750"/>
                <a:gd name="T28" fmla="*/ 7 w 624"/>
                <a:gd name="T29" fmla="*/ 31 h 750"/>
                <a:gd name="T30" fmla="*/ 10 w 624"/>
                <a:gd name="T31" fmla="*/ 27 h 750"/>
                <a:gd name="T32" fmla="*/ 8 w 624"/>
                <a:gd name="T33" fmla="*/ 23 h 750"/>
                <a:gd name="T34" fmla="*/ 6 w 624"/>
                <a:gd name="T35" fmla="*/ 23 h 750"/>
                <a:gd name="T36" fmla="*/ 3 w 624"/>
                <a:gd name="T37" fmla="*/ 22 h 750"/>
                <a:gd name="T38" fmla="*/ 0 w 624"/>
                <a:gd name="T39" fmla="*/ 22 h 750"/>
                <a:gd name="T40" fmla="*/ 0 w 624"/>
                <a:gd name="T41" fmla="*/ 19 h 750"/>
                <a:gd name="T42" fmla="*/ 1 w 624"/>
                <a:gd name="T43" fmla="*/ 18 h 750"/>
                <a:gd name="T44" fmla="*/ 2 w 624"/>
                <a:gd name="T45" fmla="*/ 14 h 750"/>
                <a:gd name="T46" fmla="*/ 4 w 624"/>
                <a:gd name="T47" fmla="*/ 17 h 750"/>
                <a:gd name="T48" fmla="*/ 6 w 624"/>
                <a:gd name="T49" fmla="*/ 17 h 750"/>
                <a:gd name="T50" fmla="*/ 7 w 624"/>
                <a:gd name="T51" fmla="*/ 17 h 750"/>
                <a:gd name="T52" fmla="*/ 9 w 624"/>
                <a:gd name="T53" fmla="*/ 15 h 750"/>
                <a:gd name="T54" fmla="*/ 10 w 624"/>
                <a:gd name="T55" fmla="*/ 14 h 750"/>
                <a:gd name="T56" fmla="*/ 11 w 624"/>
                <a:gd name="T57" fmla="*/ 12 h 750"/>
                <a:gd name="T58" fmla="*/ 13 w 624"/>
                <a:gd name="T59" fmla="*/ 12 h 750"/>
                <a:gd name="T60" fmla="*/ 18 w 624"/>
                <a:gd name="T61" fmla="*/ 10 h 750"/>
                <a:gd name="T62" fmla="*/ 22 w 624"/>
                <a:gd name="T63" fmla="*/ 4 h 750"/>
                <a:gd name="T64" fmla="*/ 24 w 624"/>
                <a:gd name="T65" fmla="*/ 4 h 750"/>
                <a:gd name="T66" fmla="*/ 26 w 624"/>
                <a:gd name="T67" fmla="*/ 2 h 750"/>
                <a:gd name="T68" fmla="*/ 29 w 624"/>
                <a:gd name="T69" fmla="*/ 0 h 750"/>
                <a:gd name="T70" fmla="*/ 32 w 624"/>
                <a:gd name="T71" fmla="*/ 2 h 750"/>
                <a:gd name="T72" fmla="*/ 34 w 624"/>
                <a:gd name="T73" fmla="*/ 5 h 750"/>
                <a:gd name="T74" fmla="*/ 35 w 624"/>
                <a:gd name="T75" fmla="*/ 8 h 750"/>
                <a:gd name="T76" fmla="*/ 39 w 624"/>
                <a:gd name="T77" fmla="*/ 11 h 750"/>
                <a:gd name="T78" fmla="*/ 42 w 624"/>
                <a:gd name="T79" fmla="*/ 14 h 750"/>
                <a:gd name="T80" fmla="*/ 46 w 624"/>
                <a:gd name="T81" fmla="*/ 12 h 750"/>
                <a:gd name="T82" fmla="*/ 49 w 624"/>
                <a:gd name="T83" fmla="*/ 12 h 750"/>
                <a:gd name="T84" fmla="*/ 51 w 624"/>
                <a:gd name="T85" fmla="*/ 12 h 750"/>
                <a:gd name="T86" fmla="*/ 53 w 624"/>
                <a:gd name="T87" fmla="*/ 12 h 750"/>
                <a:gd name="T88" fmla="*/ 53 w 624"/>
                <a:gd name="T89" fmla="*/ 17 h 750"/>
                <a:gd name="T90" fmla="*/ 51 w 624"/>
                <a:gd name="T91" fmla="*/ 20 h 750"/>
                <a:gd name="T92" fmla="*/ 49 w 624"/>
                <a:gd name="T93" fmla="*/ 26 h 750"/>
                <a:gd name="T94" fmla="*/ 47 w 624"/>
                <a:gd name="T95" fmla="*/ 26 h 750"/>
                <a:gd name="T96" fmla="*/ 44 w 624"/>
                <a:gd name="T97" fmla="*/ 26 h 750"/>
                <a:gd name="T98" fmla="*/ 43 w 624"/>
                <a:gd name="T99" fmla="*/ 27 h 750"/>
                <a:gd name="T100" fmla="*/ 45 w 624"/>
                <a:gd name="T101" fmla="*/ 32 h 750"/>
                <a:gd name="T102" fmla="*/ 44 w 624"/>
                <a:gd name="T103" fmla="*/ 43 h 750"/>
                <a:gd name="T104" fmla="*/ 44 w 624"/>
                <a:gd name="T105" fmla="*/ 47 h 750"/>
                <a:gd name="T106" fmla="*/ 44 w 624"/>
                <a:gd name="T107" fmla="*/ 54 h 750"/>
                <a:gd name="T108" fmla="*/ 41 w 624"/>
                <a:gd name="T109" fmla="*/ 60 h 750"/>
                <a:gd name="T110" fmla="*/ 42 w 624"/>
                <a:gd name="T111" fmla="*/ 62 h 750"/>
                <a:gd name="T112" fmla="*/ 43 w 624"/>
                <a:gd name="T113" fmla="*/ 65 h 750"/>
                <a:gd name="T114" fmla="*/ 39 w 624"/>
                <a:gd name="T115" fmla="*/ 63 h 750"/>
                <a:gd name="T116" fmla="*/ 35 w 624"/>
                <a:gd name="T117" fmla="*/ 62 h 75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24"/>
                <a:gd name="T178" fmla="*/ 0 h 750"/>
                <a:gd name="T179" fmla="*/ 624 w 624"/>
                <a:gd name="T180" fmla="*/ 750 h 75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24" h="750">
                  <a:moveTo>
                    <a:pt x="390" y="702"/>
                  </a:moveTo>
                  <a:lnTo>
                    <a:pt x="372" y="696"/>
                  </a:lnTo>
                  <a:lnTo>
                    <a:pt x="360" y="702"/>
                  </a:lnTo>
                  <a:lnTo>
                    <a:pt x="348" y="702"/>
                  </a:lnTo>
                  <a:lnTo>
                    <a:pt x="336" y="702"/>
                  </a:lnTo>
                  <a:lnTo>
                    <a:pt x="330" y="702"/>
                  </a:lnTo>
                  <a:lnTo>
                    <a:pt x="318" y="708"/>
                  </a:lnTo>
                  <a:lnTo>
                    <a:pt x="306" y="708"/>
                  </a:lnTo>
                  <a:lnTo>
                    <a:pt x="294" y="690"/>
                  </a:lnTo>
                  <a:lnTo>
                    <a:pt x="294" y="684"/>
                  </a:lnTo>
                  <a:lnTo>
                    <a:pt x="276" y="684"/>
                  </a:lnTo>
                  <a:lnTo>
                    <a:pt x="270" y="678"/>
                  </a:lnTo>
                  <a:lnTo>
                    <a:pt x="240" y="672"/>
                  </a:lnTo>
                  <a:lnTo>
                    <a:pt x="234" y="672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6"/>
                  </a:lnTo>
                  <a:lnTo>
                    <a:pt x="216" y="660"/>
                  </a:lnTo>
                  <a:lnTo>
                    <a:pt x="216" y="654"/>
                  </a:lnTo>
                  <a:lnTo>
                    <a:pt x="216" y="642"/>
                  </a:lnTo>
                  <a:lnTo>
                    <a:pt x="210" y="642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36"/>
                  </a:lnTo>
                  <a:lnTo>
                    <a:pt x="192" y="624"/>
                  </a:lnTo>
                  <a:lnTo>
                    <a:pt x="186" y="612"/>
                  </a:lnTo>
                  <a:lnTo>
                    <a:pt x="186" y="600"/>
                  </a:lnTo>
                  <a:lnTo>
                    <a:pt x="186" y="588"/>
                  </a:lnTo>
                  <a:lnTo>
                    <a:pt x="180" y="582"/>
                  </a:lnTo>
                  <a:lnTo>
                    <a:pt x="180" y="570"/>
                  </a:lnTo>
                  <a:lnTo>
                    <a:pt x="174" y="558"/>
                  </a:lnTo>
                  <a:lnTo>
                    <a:pt x="162" y="558"/>
                  </a:lnTo>
                  <a:lnTo>
                    <a:pt x="144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38" y="534"/>
                  </a:lnTo>
                  <a:lnTo>
                    <a:pt x="138" y="528"/>
                  </a:lnTo>
                  <a:lnTo>
                    <a:pt x="132" y="522"/>
                  </a:lnTo>
                  <a:lnTo>
                    <a:pt x="144" y="522"/>
                  </a:lnTo>
                  <a:lnTo>
                    <a:pt x="144" y="510"/>
                  </a:lnTo>
                  <a:lnTo>
                    <a:pt x="144" y="504"/>
                  </a:lnTo>
                  <a:lnTo>
                    <a:pt x="138" y="492"/>
                  </a:lnTo>
                  <a:lnTo>
                    <a:pt x="138" y="474"/>
                  </a:lnTo>
                  <a:lnTo>
                    <a:pt x="126" y="468"/>
                  </a:lnTo>
                  <a:lnTo>
                    <a:pt x="120" y="456"/>
                  </a:lnTo>
                  <a:lnTo>
                    <a:pt x="114" y="450"/>
                  </a:lnTo>
                  <a:lnTo>
                    <a:pt x="108" y="438"/>
                  </a:lnTo>
                  <a:lnTo>
                    <a:pt x="96" y="432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60" y="426"/>
                  </a:lnTo>
                  <a:lnTo>
                    <a:pt x="66" y="420"/>
                  </a:lnTo>
                  <a:lnTo>
                    <a:pt x="66" y="408"/>
                  </a:lnTo>
                  <a:lnTo>
                    <a:pt x="72" y="408"/>
                  </a:lnTo>
                  <a:lnTo>
                    <a:pt x="72" y="384"/>
                  </a:lnTo>
                  <a:lnTo>
                    <a:pt x="72" y="366"/>
                  </a:lnTo>
                  <a:lnTo>
                    <a:pt x="78" y="354"/>
                  </a:lnTo>
                  <a:lnTo>
                    <a:pt x="84" y="354"/>
                  </a:lnTo>
                  <a:lnTo>
                    <a:pt x="90" y="348"/>
                  </a:lnTo>
                  <a:lnTo>
                    <a:pt x="102" y="336"/>
                  </a:lnTo>
                  <a:lnTo>
                    <a:pt x="114" y="324"/>
                  </a:lnTo>
                  <a:lnTo>
                    <a:pt x="120" y="312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20" y="276"/>
                  </a:lnTo>
                  <a:lnTo>
                    <a:pt x="96" y="270"/>
                  </a:lnTo>
                  <a:lnTo>
                    <a:pt x="84" y="270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72" y="264"/>
                  </a:lnTo>
                  <a:lnTo>
                    <a:pt x="60" y="252"/>
                  </a:lnTo>
                  <a:lnTo>
                    <a:pt x="42" y="252"/>
                  </a:lnTo>
                  <a:lnTo>
                    <a:pt x="42" y="258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18" y="252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42" y="156"/>
                  </a:lnTo>
                  <a:lnTo>
                    <a:pt x="48" y="198"/>
                  </a:lnTo>
                  <a:lnTo>
                    <a:pt x="48" y="204"/>
                  </a:lnTo>
                  <a:lnTo>
                    <a:pt x="54" y="198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204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192"/>
                  </a:lnTo>
                  <a:lnTo>
                    <a:pt x="96" y="186"/>
                  </a:lnTo>
                  <a:lnTo>
                    <a:pt x="102" y="180"/>
                  </a:lnTo>
                  <a:lnTo>
                    <a:pt x="102" y="174"/>
                  </a:lnTo>
                  <a:lnTo>
                    <a:pt x="108" y="168"/>
                  </a:lnTo>
                  <a:lnTo>
                    <a:pt x="108" y="162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0"/>
                  </a:lnTo>
                  <a:lnTo>
                    <a:pt x="132" y="144"/>
                  </a:lnTo>
                  <a:lnTo>
                    <a:pt x="138" y="138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0" y="132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74" y="126"/>
                  </a:lnTo>
                  <a:lnTo>
                    <a:pt x="204" y="120"/>
                  </a:lnTo>
                  <a:lnTo>
                    <a:pt x="210" y="78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54"/>
                  </a:lnTo>
                  <a:lnTo>
                    <a:pt x="276" y="54"/>
                  </a:lnTo>
                  <a:lnTo>
                    <a:pt x="276" y="48"/>
                  </a:lnTo>
                  <a:lnTo>
                    <a:pt x="282" y="48"/>
                  </a:lnTo>
                  <a:lnTo>
                    <a:pt x="288" y="42"/>
                  </a:lnTo>
                  <a:lnTo>
                    <a:pt x="294" y="42"/>
                  </a:lnTo>
                  <a:lnTo>
                    <a:pt x="294" y="18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0"/>
                  </a:lnTo>
                  <a:lnTo>
                    <a:pt x="336" y="0"/>
                  </a:lnTo>
                  <a:lnTo>
                    <a:pt x="342" y="0"/>
                  </a:lnTo>
                  <a:lnTo>
                    <a:pt x="354" y="6"/>
                  </a:lnTo>
                  <a:lnTo>
                    <a:pt x="366" y="18"/>
                  </a:lnTo>
                  <a:lnTo>
                    <a:pt x="378" y="36"/>
                  </a:lnTo>
                  <a:lnTo>
                    <a:pt x="390" y="42"/>
                  </a:lnTo>
                  <a:lnTo>
                    <a:pt x="390" y="48"/>
                  </a:lnTo>
                  <a:lnTo>
                    <a:pt x="396" y="60"/>
                  </a:lnTo>
                  <a:lnTo>
                    <a:pt x="402" y="72"/>
                  </a:lnTo>
                  <a:lnTo>
                    <a:pt x="408" y="78"/>
                  </a:lnTo>
                  <a:lnTo>
                    <a:pt x="402" y="84"/>
                  </a:lnTo>
                  <a:lnTo>
                    <a:pt x="408" y="90"/>
                  </a:lnTo>
                  <a:lnTo>
                    <a:pt x="414" y="102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50" y="126"/>
                  </a:lnTo>
                  <a:lnTo>
                    <a:pt x="456" y="126"/>
                  </a:lnTo>
                  <a:lnTo>
                    <a:pt x="462" y="144"/>
                  </a:lnTo>
                  <a:lnTo>
                    <a:pt x="480" y="156"/>
                  </a:lnTo>
                  <a:lnTo>
                    <a:pt x="492" y="156"/>
                  </a:lnTo>
                  <a:lnTo>
                    <a:pt x="516" y="150"/>
                  </a:lnTo>
                  <a:lnTo>
                    <a:pt x="516" y="144"/>
                  </a:lnTo>
                  <a:lnTo>
                    <a:pt x="516" y="138"/>
                  </a:lnTo>
                  <a:lnTo>
                    <a:pt x="528" y="138"/>
                  </a:lnTo>
                  <a:lnTo>
                    <a:pt x="546" y="144"/>
                  </a:lnTo>
                  <a:lnTo>
                    <a:pt x="546" y="138"/>
                  </a:lnTo>
                  <a:lnTo>
                    <a:pt x="552" y="138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76" y="138"/>
                  </a:lnTo>
                  <a:lnTo>
                    <a:pt x="582" y="138"/>
                  </a:lnTo>
                  <a:lnTo>
                    <a:pt x="588" y="138"/>
                  </a:lnTo>
                  <a:lnTo>
                    <a:pt x="594" y="138"/>
                  </a:lnTo>
                  <a:lnTo>
                    <a:pt x="594" y="144"/>
                  </a:lnTo>
                  <a:lnTo>
                    <a:pt x="600" y="138"/>
                  </a:lnTo>
                  <a:lnTo>
                    <a:pt x="606" y="138"/>
                  </a:lnTo>
                  <a:lnTo>
                    <a:pt x="606" y="144"/>
                  </a:lnTo>
                  <a:lnTo>
                    <a:pt x="612" y="144"/>
                  </a:lnTo>
                  <a:lnTo>
                    <a:pt x="618" y="156"/>
                  </a:lnTo>
                  <a:lnTo>
                    <a:pt x="612" y="198"/>
                  </a:lnTo>
                  <a:lnTo>
                    <a:pt x="624" y="198"/>
                  </a:lnTo>
                  <a:lnTo>
                    <a:pt x="624" y="204"/>
                  </a:lnTo>
                  <a:lnTo>
                    <a:pt x="612" y="216"/>
                  </a:lnTo>
                  <a:lnTo>
                    <a:pt x="594" y="234"/>
                  </a:lnTo>
                  <a:lnTo>
                    <a:pt x="588" y="252"/>
                  </a:lnTo>
                  <a:lnTo>
                    <a:pt x="576" y="270"/>
                  </a:lnTo>
                  <a:lnTo>
                    <a:pt x="564" y="282"/>
                  </a:lnTo>
                  <a:lnTo>
                    <a:pt x="564" y="294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8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34" y="294"/>
                  </a:lnTo>
                  <a:lnTo>
                    <a:pt x="522" y="300"/>
                  </a:lnTo>
                  <a:lnTo>
                    <a:pt x="510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498" y="324"/>
                  </a:lnTo>
                  <a:lnTo>
                    <a:pt x="504" y="336"/>
                  </a:lnTo>
                  <a:lnTo>
                    <a:pt x="510" y="348"/>
                  </a:lnTo>
                  <a:lnTo>
                    <a:pt x="516" y="366"/>
                  </a:lnTo>
                  <a:lnTo>
                    <a:pt x="522" y="432"/>
                  </a:lnTo>
                  <a:lnTo>
                    <a:pt x="522" y="456"/>
                  </a:lnTo>
                  <a:lnTo>
                    <a:pt x="504" y="492"/>
                  </a:lnTo>
                  <a:lnTo>
                    <a:pt x="504" y="498"/>
                  </a:lnTo>
                  <a:lnTo>
                    <a:pt x="498" y="504"/>
                  </a:lnTo>
                  <a:lnTo>
                    <a:pt x="498" y="522"/>
                  </a:lnTo>
                  <a:lnTo>
                    <a:pt x="504" y="534"/>
                  </a:lnTo>
                  <a:lnTo>
                    <a:pt x="510" y="546"/>
                  </a:lnTo>
                  <a:lnTo>
                    <a:pt x="516" y="558"/>
                  </a:lnTo>
                  <a:lnTo>
                    <a:pt x="516" y="588"/>
                  </a:lnTo>
                  <a:lnTo>
                    <a:pt x="516" y="600"/>
                  </a:lnTo>
                  <a:lnTo>
                    <a:pt x="510" y="618"/>
                  </a:lnTo>
                  <a:lnTo>
                    <a:pt x="504" y="636"/>
                  </a:lnTo>
                  <a:lnTo>
                    <a:pt x="504" y="642"/>
                  </a:lnTo>
                  <a:lnTo>
                    <a:pt x="474" y="654"/>
                  </a:lnTo>
                  <a:lnTo>
                    <a:pt x="474" y="690"/>
                  </a:lnTo>
                  <a:lnTo>
                    <a:pt x="474" y="696"/>
                  </a:lnTo>
                  <a:lnTo>
                    <a:pt x="480" y="702"/>
                  </a:lnTo>
                  <a:lnTo>
                    <a:pt x="486" y="708"/>
                  </a:lnTo>
                  <a:lnTo>
                    <a:pt x="492" y="708"/>
                  </a:lnTo>
                  <a:lnTo>
                    <a:pt x="498" y="726"/>
                  </a:lnTo>
                  <a:lnTo>
                    <a:pt x="504" y="726"/>
                  </a:lnTo>
                  <a:lnTo>
                    <a:pt x="504" y="738"/>
                  </a:lnTo>
                  <a:lnTo>
                    <a:pt x="498" y="744"/>
                  </a:lnTo>
                  <a:lnTo>
                    <a:pt x="486" y="750"/>
                  </a:lnTo>
                  <a:lnTo>
                    <a:pt x="474" y="744"/>
                  </a:lnTo>
                  <a:lnTo>
                    <a:pt x="462" y="744"/>
                  </a:lnTo>
                  <a:lnTo>
                    <a:pt x="456" y="732"/>
                  </a:lnTo>
                  <a:lnTo>
                    <a:pt x="444" y="732"/>
                  </a:lnTo>
                  <a:lnTo>
                    <a:pt x="432" y="726"/>
                  </a:lnTo>
                  <a:lnTo>
                    <a:pt x="420" y="720"/>
                  </a:lnTo>
                  <a:lnTo>
                    <a:pt x="408" y="708"/>
                  </a:lnTo>
                  <a:lnTo>
                    <a:pt x="402" y="708"/>
                  </a:lnTo>
                  <a:lnTo>
                    <a:pt x="390" y="70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5" name="Freeform 20">
              <a:extLst>
                <a:ext uri="{FF2B5EF4-FFF2-40B4-BE49-F238E27FC236}">
                  <a16:creationId xmlns:a16="http://schemas.microsoft.com/office/drawing/2014/main" id="{B8342C3B-ECEC-465F-AAFF-4815B8AC392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870937"/>
              <a:ext cx="313067" cy="377968"/>
            </a:xfrm>
            <a:custGeom>
              <a:avLst/>
              <a:gdLst>
                <a:gd name="T0" fmla="*/ 15 w 588"/>
                <a:gd name="T1" fmla="*/ 59 h 714"/>
                <a:gd name="T2" fmla="*/ 14 w 588"/>
                <a:gd name="T3" fmla="*/ 58 h 714"/>
                <a:gd name="T4" fmla="*/ 9 w 588"/>
                <a:gd name="T5" fmla="*/ 54 h 714"/>
                <a:gd name="T6" fmla="*/ 4 w 588"/>
                <a:gd name="T7" fmla="*/ 54 h 714"/>
                <a:gd name="T8" fmla="*/ 0 w 588"/>
                <a:gd name="T9" fmla="*/ 50 h 714"/>
                <a:gd name="T10" fmla="*/ 0 w 588"/>
                <a:gd name="T11" fmla="*/ 44 h 714"/>
                <a:gd name="T12" fmla="*/ 4 w 588"/>
                <a:gd name="T13" fmla="*/ 46 h 714"/>
                <a:gd name="T14" fmla="*/ 7 w 588"/>
                <a:gd name="T15" fmla="*/ 47 h 714"/>
                <a:gd name="T16" fmla="*/ 10 w 588"/>
                <a:gd name="T17" fmla="*/ 46 h 714"/>
                <a:gd name="T18" fmla="*/ 8 w 588"/>
                <a:gd name="T19" fmla="*/ 44 h 714"/>
                <a:gd name="T20" fmla="*/ 10 w 588"/>
                <a:gd name="T21" fmla="*/ 39 h 714"/>
                <a:gd name="T22" fmla="*/ 11 w 588"/>
                <a:gd name="T23" fmla="*/ 34 h 714"/>
                <a:gd name="T24" fmla="*/ 9 w 588"/>
                <a:gd name="T25" fmla="*/ 28 h 714"/>
                <a:gd name="T26" fmla="*/ 11 w 588"/>
                <a:gd name="T27" fmla="*/ 22 h 714"/>
                <a:gd name="T28" fmla="*/ 10 w 588"/>
                <a:gd name="T29" fmla="*/ 12 h 714"/>
                <a:gd name="T30" fmla="*/ 9 w 588"/>
                <a:gd name="T31" fmla="*/ 9 h 714"/>
                <a:gd name="T32" fmla="*/ 12 w 588"/>
                <a:gd name="T33" fmla="*/ 8 h 714"/>
                <a:gd name="T34" fmla="*/ 14 w 588"/>
                <a:gd name="T35" fmla="*/ 7 h 714"/>
                <a:gd name="T36" fmla="*/ 17 w 588"/>
                <a:gd name="T37" fmla="*/ 10 h 714"/>
                <a:gd name="T38" fmla="*/ 23 w 588"/>
                <a:gd name="T39" fmla="*/ 14 h 714"/>
                <a:gd name="T40" fmla="*/ 28 w 588"/>
                <a:gd name="T41" fmla="*/ 4 h 714"/>
                <a:gd name="T42" fmla="*/ 35 w 588"/>
                <a:gd name="T43" fmla="*/ 2 h 714"/>
                <a:gd name="T44" fmla="*/ 38 w 588"/>
                <a:gd name="T45" fmla="*/ 0 h 714"/>
                <a:gd name="T46" fmla="*/ 40 w 588"/>
                <a:gd name="T47" fmla="*/ 2 h 714"/>
                <a:gd name="T48" fmla="*/ 39 w 588"/>
                <a:gd name="T49" fmla="*/ 4 h 714"/>
                <a:gd name="T50" fmla="*/ 41 w 588"/>
                <a:gd name="T51" fmla="*/ 5 h 714"/>
                <a:gd name="T52" fmla="*/ 42 w 588"/>
                <a:gd name="T53" fmla="*/ 7 h 714"/>
                <a:gd name="T54" fmla="*/ 43 w 588"/>
                <a:gd name="T55" fmla="*/ 9 h 714"/>
                <a:gd name="T56" fmla="*/ 43 w 588"/>
                <a:gd name="T57" fmla="*/ 10 h 714"/>
                <a:gd name="T58" fmla="*/ 43 w 588"/>
                <a:gd name="T59" fmla="*/ 12 h 714"/>
                <a:gd name="T60" fmla="*/ 44 w 588"/>
                <a:gd name="T61" fmla="*/ 12 h 714"/>
                <a:gd name="T62" fmla="*/ 46 w 588"/>
                <a:gd name="T63" fmla="*/ 13 h 714"/>
                <a:gd name="T64" fmla="*/ 47 w 588"/>
                <a:gd name="T65" fmla="*/ 14 h 714"/>
                <a:gd name="T66" fmla="*/ 48 w 588"/>
                <a:gd name="T67" fmla="*/ 15 h 714"/>
                <a:gd name="T68" fmla="*/ 49 w 588"/>
                <a:gd name="T69" fmla="*/ 15 h 714"/>
                <a:gd name="T70" fmla="*/ 48 w 588"/>
                <a:gd name="T71" fmla="*/ 17 h 714"/>
                <a:gd name="T72" fmla="*/ 49 w 588"/>
                <a:gd name="T73" fmla="*/ 19 h 714"/>
                <a:gd name="T74" fmla="*/ 49 w 588"/>
                <a:gd name="T75" fmla="*/ 20 h 714"/>
                <a:gd name="T76" fmla="*/ 51 w 588"/>
                <a:gd name="T77" fmla="*/ 21 h 714"/>
                <a:gd name="T78" fmla="*/ 50 w 588"/>
                <a:gd name="T79" fmla="*/ 22 h 714"/>
                <a:gd name="T80" fmla="*/ 47 w 588"/>
                <a:gd name="T81" fmla="*/ 23 h 714"/>
                <a:gd name="T82" fmla="*/ 47 w 588"/>
                <a:gd name="T83" fmla="*/ 26 h 714"/>
                <a:gd name="T84" fmla="*/ 47 w 588"/>
                <a:gd name="T85" fmla="*/ 32 h 714"/>
                <a:gd name="T86" fmla="*/ 44 w 588"/>
                <a:gd name="T87" fmla="*/ 35 h 714"/>
                <a:gd name="T88" fmla="*/ 42 w 588"/>
                <a:gd name="T89" fmla="*/ 39 h 714"/>
                <a:gd name="T90" fmla="*/ 42 w 588"/>
                <a:gd name="T91" fmla="*/ 41 h 714"/>
                <a:gd name="T92" fmla="*/ 42 w 588"/>
                <a:gd name="T93" fmla="*/ 42 h 714"/>
                <a:gd name="T94" fmla="*/ 41 w 588"/>
                <a:gd name="T95" fmla="*/ 44 h 714"/>
                <a:gd name="T96" fmla="*/ 39 w 588"/>
                <a:gd name="T97" fmla="*/ 43 h 714"/>
                <a:gd name="T98" fmla="*/ 37 w 588"/>
                <a:gd name="T99" fmla="*/ 44 h 714"/>
                <a:gd name="T100" fmla="*/ 35 w 588"/>
                <a:gd name="T101" fmla="*/ 46 h 714"/>
                <a:gd name="T102" fmla="*/ 31 w 588"/>
                <a:gd name="T103" fmla="*/ 45 h 714"/>
                <a:gd name="T104" fmla="*/ 24 w 588"/>
                <a:gd name="T105" fmla="*/ 45 h 714"/>
                <a:gd name="T106" fmla="*/ 25 w 588"/>
                <a:gd name="T107" fmla="*/ 47 h 714"/>
                <a:gd name="T108" fmla="*/ 25 w 588"/>
                <a:gd name="T109" fmla="*/ 49 h 714"/>
                <a:gd name="T110" fmla="*/ 25 w 588"/>
                <a:gd name="T111" fmla="*/ 50 h 714"/>
                <a:gd name="T112" fmla="*/ 24 w 588"/>
                <a:gd name="T113" fmla="*/ 51 h 714"/>
                <a:gd name="T114" fmla="*/ 22 w 588"/>
                <a:gd name="T115" fmla="*/ 53 h 714"/>
                <a:gd name="T116" fmla="*/ 23 w 588"/>
                <a:gd name="T117" fmla="*/ 56 h 714"/>
                <a:gd name="T118" fmla="*/ 20 w 588"/>
                <a:gd name="T119" fmla="*/ 58 h 714"/>
                <a:gd name="T120" fmla="*/ 19 w 588"/>
                <a:gd name="T121" fmla="*/ 62 h 7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8"/>
                <a:gd name="T184" fmla="*/ 0 h 714"/>
                <a:gd name="T185" fmla="*/ 588 w 588"/>
                <a:gd name="T186" fmla="*/ 714 h 7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8" h="714">
                  <a:moveTo>
                    <a:pt x="216" y="714"/>
                  </a:moveTo>
                  <a:lnTo>
                    <a:pt x="198" y="702"/>
                  </a:lnTo>
                  <a:lnTo>
                    <a:pt x="186" y="696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74" y="678"/>
                  </a:lnTo>
                  <a:lnTo>
                    <a:pt x="168" y="672"/>
                  </a:lnTo>
                  <a:lnTo>
                    <a:pt x="162" y="666"/>
                  </a:lnTo>
                  <a:lnTo>
                    <a:pt x="156" y="636"/>
                  </a:lnTo>
                  <a:lnTo>
                    <a:pt x="144" y="630"/>
                  </a:lnTo>
                  <a:lnTo>
                    <a:pt x="108" y="630"/>
                  </a:lnTo>
                  <a:lnTo>
                    <a:pt x="102" y="624"/>
                  </a:lnTo>
                  <a:lnTo>
                    <a:pt x="96" y="624"/>
                  </a:lnTo>
                  <a:lnTo>
                    <a:pt x="72" y="624"/>
                  </a:lnTo>
                  <a:lnTo>
                    <a:pt x="54" y="624"/>
                  </a:lnTo>
                  <a:lnTo>
                    <a:pt x="42" y="618"/>
                  </a:lnTo>
                  <a:lnTo>
                    <a:pt x="30" y="612"/>
                  </a:lnTo>
                  <a:lnTo>
                    <a:pt x="6" y="606"/>
                  </a:lnTo>
                  <a:lnTo>
                    <a:pt x="0" y="606"/>
                  </a:lnTo>
                  <a:lnTo>
                    <a:pt x="0" y="570"/>
                  </a:lnTo>
                  <a:lnTo>
                    <a:pt x="6" y="552"/>
                  </a:lnTo>
                  <a:lnTo>
                    <a:pt x="6" y="522"/>
                  </a:lnTo>
                  <a:lnTo>
                    <a:pt x="0" y="510"/>
                  </a:lnTo>
                  <a:lnTo>
                    <a:pt x="0" y="504"/>
                  </a:lnTo>
                  <a:lnTo>
                    <a:pt x="12" y="510"/>
                  </a:lnTo>
                  <a:lnTo>
                    <a:pt x="18" y="510"/>
                  </a:lnTo>
                  <a:lnTo>
                    <a:pt x="30" y="522"/>
                  </a:lnTo>
                  <a:lnTo>
                    <a:pt x="42" y="528"/>
                  </a:lnTo>
                  <a:lnTo>
                    <a:pt x="54" y="534"/>
                  </a:lnTo>
                  <a:lnTo>
                    <a:pt x="66" y="534"/>
                  </a:lnTo>
                  <a:lnTo>
                    <a:pt x="72" y="546"/>
                  </a:lnTo>
                  <a:lnTo>
                    <a:pt x="84" y="546"/>
                  </a:lnTo>
                  <a:lnTo>
                    <a:pt x="96" y="552"/>
                  </a:lnTo>
                  <a:lnTo>
                    <a:pt x="108" y="546"/>
                  </a:lnTo>
                  <a:lnTo>
                    <a:pt x="114" y="540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90" y="504"/>
                  </a:lnTo>
                  <a:lnTo>
                    <a:pt x="84" y="498"/>
                  </a:lnTo>
                  <a:lnTo>
                    <a:pt x="84" y="492"/>
                  </a:lnTo>
                  <a:lnTo>
                    <a:pt x="84" y="456"/>
                  </a:lnTo>
                  <a:lnTo>
                    <a:pt x="114" y="444"/>
                  </a:lnTo>
                  <a:lnTo>
                    <a:pt x="114" y="438"/>
                  </a:lnTo>
                  <a:lnTo>
                    <a:pt x="120" y="420"/>
                  </a:lnTo>
                  <a:lnTo>
                    <a:pt x="126" y="402"/>
                  </a:lnTo>
                  <a:lnTo>
                    <a:pt x="126" y="390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14" y="336"/>
                  </a:lnTo>
                  <a:lnTo>
                    <a:pt x="108" y="324"/>
                  </a:lnTo>
                  <a:lnTo>
                    <a:pt x="108" y="306"/>
                  </a:lnTo>
                  <a:lnTo>
                    <a:pt x="114" y="300"/>
                  </a:lnTo>
                  <a:lnTo>
                    <a:pt x="114" y="294"/>
                  </a:lnTo>
                  <a:lnTo>
                    <a:pt x="132" y="258"/>
                  </a:lnTo>
                  <a:lnTo>
                    <a:pt x="132" y="234"/>
                  </a:lnTo>
                  <a:lnTo>
                    <a:pt x="126" y="168"/>
                  </a:lnTo>
                  <a:lnTo>
                    <a:pt x="120" y="150"/>
                  </a:lnTo>
                  <a:lnTo>
                    <a:pt x="114" y="138"/>
                  </a:lnTo>
                  <a:lnTo>
                    <a:pt x="108" y="126"/>
                  </a:lnTo>
                  <a:lnTo>
                    <a:pt x="108" y="120"/>
                  </a:lnTo>
                  <a:lnTo>
                    <a:pt x="108" y="114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20" y="96"/>
                  </a:lnTo>
                  <a:lnTo>
                    <a:pt x="132" y="102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56" y="90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96"/>
                  </a:lnTo>
                  <a:lnTo>
                    <a:pt x="186" y="96"/>
                  </a:lnTo>
                  <a:lnTo>
                    <a:pt x="192" y="114"/>
                  </a:lnTo>
                  <a:lnTo>
                    <a:pt x="204" y="132"/>
                  </a:lnTo>
                  <a:lnTo>
                    <a:pt x="216" y="144"/>
                  </a:lnTo>
                  <a:lnTo>
                    <a:pt x="240" y="162"/>
                  </a:lnTo>
                  <a:lnTo>
                    <a:pt x="270" y="156"/>
                  </a:lnTo>
                  <a:lnTo>
                    <a:pt x="282" y="126"/>
                  </a:lnTo>
                  <a:lnTo>
                    <a:pt x="282" y="96"/>
                  </a:lnTo>
                  <a:lnTo>
                    <a:pt x="294" y="54"/>
                  </a:lnTo>
                  <a:lnTo>
                    <a:pt x="324" y="48"/>
                  </a:lnTo>
                  <a:lnTo>
                    <a:pt x="342" y="48"/>
                  </a:lnTo>
                  <a:lnTo>
                    <a:pt x="384" y="48"/>
                  </a:lnTo>
                  <a:lnTo>
                    <a:pt x="390" y="30"/>
                  </a:lnTo>
                  <a:lnTo>
                    <a:pt x="402" y="18"/>
                  </a:lnTo>
                  <a:lnTo>
                    <a:pt x="438" y="6"/>
                  </a:lnTo>
                  <a:lnTo>
                    <a:pt x="438" y="0"/>
                  </a:lnTo>
                  <a:lnTo>
                    <a:pt x="444" y="0"/>
                  </a:lnTo>
                  <a:lnTo>
                    <a:pt x="444" y="6"/>
                  </a:lnTo>
                  <a:lnTo>
                    <a:pt x="450" y="6"/>
                  </a:lnTo>
                  <a:lnTo>
                    <a:pt x="456" y="12"/>
                  </a:lnTo>
                  <a:lnTo>
                    <a:pt x="456" y="18"/>
                  </a:lnTo>
                  <a:lnTo>
                    <a:pt x="462" y="24"/>
                  </a:lnTo>
                  <a:lnTo>
                    <a:pt x="462" y="30"/>
                  </a:lnTo>
                  <a:lnTo>
                    <a:pt x="468" y="36"/>
                  </a:lnTo>
                  <a:lnTo>
                    <a:pt x="462" y="36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74" y="60"/>
                  </a:lnTo>
                  <a:lnTo>
                    <a:pt x="486" y="78"/>
                  </a:lnTo>
                  <a:lnTo>
                    <a:pt x="486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8" y="102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498" y="114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504" y="126"/>
                  </a:lnTo>
                  <a:lnTo>
                    <a:pt x="498" y="132"/>
                  </a:lnTo>
                  <a:lnTo>
                    <a:pt x="504" y="138"/>
                  </a:lnTo>
                  <a:lnTo>
                    <a:pt x="504" y="132"/>
                  </a:lnTo>
                  <a:lnTo>
                    <a:pt x="510" y="132"/>
                  </a:lnTo>
                  <a:lnTo>
                    <a:pt x="510" y="138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56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6" y="168"/>
                  </a:lnTo>
                  <a:lnTo>
                    <a:pt x="552" y="168"/>
                  </a:lnTo>
                  <a:lnTo>
                    <a:pt x="546" y="168"/>
                  </a:lnTo>
                  <a:lnTo>
                    <a:pt x="546" y="174"/>
                  </a:lnTo>
                  <a:lnTo>
                    <a:pt x="558" y="180"/>
                  </a:lnTo>
                  <a:lnTo>
                    <a:pt x="564" y="180"/>
                  </a:lnTo>
                  <a:lnTo>
                    <a:pt x="564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52" y="198"/>
                  </a:lnTo>
                  <a:lnTo>
                    <a:pt x="558" y="204"/>
                  </a:lnTo>
                  <a:lnTo>
                    <a:pt x="564" y="204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22"/>
                  </a:lnTo>
                  <a:lnTo>
                    <a:pt x="576" y="228"/>
                  </a:lnTo>
                  <a:lnTo>
                    <a:pt x="570" y="228"/>
                  </a:lnTo>
                  <a:lnTo>
                    <a:pt x="570" y="234"/>
                  </a:lnTo>
                  <a:lnTo>
                    <a:pt x="576" y="234"/>
                  </a:lnTo>
                  <a:lnTo>
                    <a:pt x="582" y="234"/>
                  </a:lnTo>
                  <a:lnTo>
                    <a:pt x="588" y="234"/>
                  </a:lnTo>
                  <a:lnTo>
                    <a:pt x="588" y="240"/>
                  </a:lnTo>
                  <a:lnTo>
                    <a:pt x="588" y="246"/>
                  </a:lnTo>
                  <a:lnTo>
                    <a:pt x="588" y="252"/>
                  </a:lnTo>
                  <a:lnTo>
                    <a:pt x="582" y="252"/>
                  </a:lnTo>
                  <a:lnTo>
                    <a:pt x="576" y="252"/>
                  </a:lnTo>
                  <a:lnTo>
                    <a:pt x="582" y="258"/>
                  </a:lnTo>
                  <a:lnTo>
                    <a:pt x="582" y="264"/>
                  </a:lnTo>
                  <a:lnTo>
                    <a:pt x="576" y="264"/>
                  </a:lnTo>
                  <a:lnTo>
                    <a:pt x="546" y="264"/>
                  </a:lnTo>
                  <a:lnTo>
                    <a:pt x="546" y="276"/>
                  </a:lnTo>
                  <a:lnTo>
                    <a:pt x="540" y="282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40" y="324"/>
                  </a:lnTo>
                  <a:lnTo>
                    <a:pt x="552" y="330"/>
                  </a:lnTo>
                  <a:lnTo>
                    <a:pt x="558" y="342"/>
                  </a:lnTo>
                  <a:lnTo>
                    <a:pt x="546" y="372"/>
                  </a:lnTo>
                  <a:lnTo>
                    <a:pt x="534" y="372"/>
                  </a:lnTo>
                  <a:lnTo>
                    <a:pt x="534" y="384"/>
                  </a:lnTo>
                  <a:lnTo>
                    <a:pt x="522" y="384"/>
                  </a:lnTo>
                  <a:lnTo>
                    <a:pt x="510" y="402"/>
                  </a:lnTo>
                  <a:lnTo>
                    <a:pt x="504" y="420"/>
                  </a:lnTo>
                  <a:lnTo>
                    <a:pt x="492" y="426"/>
                  </a:lnTo>
                  <a:lnTo>
                    <a:pt x="486" y="432"/>
                  </a:lnTo>
                  <a:lnTo>
                    <a:pt x="486" y="444"/>
                  </a:lnTo>
                  <a:lnTo>
                    <a:pt x="486" y="450"/>
                  </a:lnTo>
                  <a:lnTo>
                    <a:pt x="486" y="456"/>
                  </a:lnTo>
                  <a:lnTo>
                    <a:pt x="486" y="462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80" y="474"/>
                  </a:lnTo>
                  <a:lnTo>
                    <a:pt x="480" y="480"/>
                  </a:lnTo>
                  <a:lnTo>
                    <a:pt x="480" y="486"/>
                  </a:lnTo>
                  <a:lnTo>
                    <a:pt x="480" y="492"/>
                  </a:lnTo>
                  <a:lnTo>
                    <a:pt x="480" y="498"/>
                  </a:lnTo>
                  <a:lnTo>
                    <a:pt x="474" y="504"/>
                  </a:lnTo>
                  <a:lnTo>
                    <a:pt x="468" y="510"/>
                  </a:lnTo>
                  <a:lnTo>
                    <a:pt x="462" y="510"/>
                  </a:lnTo>
                  <a:lnTo>
                    <a:pt x="456" y="504"/>
                  </a:lnTo>
                  <a:lnTo>
                    <a:pt x="456" y="498"/>
                  </a:lnTo>
                  <a:lnTo>
                    <a:pt x="450" y="498"/>
                  </a:lnTo>
                  <a:lnTo>
                    <a:pt x="444" y="498"/>
                  </a:lnTo>
                  <a:lnTo>
                    <a:pt x="438" y="498"/>
                  </a:lnTo>
                  <a:lnTo>
                    <a:pt x="432" y="498"/>
                  </a:lnTo>
                  <a:lnTo>
                    <a:pt x="426" y="504"/>
                  </a:lnTo>
                  <a:lnTo>
                    <a:pt x="426" y="510"/>
                  </a:lnTo>
                  <a:lnTo>
                    <a:pt x="420" y="516"/>
                  </a:lnTo>
                  <a:lnTo>
                    <a:pt x="414" y="522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84" y="528"/>
                  </a:lnTo>
                  <a:lnTo>
                    <a:pt x="366" y="540"/>
                  </a:lnTo>
                  <a:lnTo>
                    <a:pt x="360" y="522"/>
                  </a:lnTo>
                  <a:lnTo>
                    <a:pt x="348" y="504"/>
                  </a:lnTo>
                  <a:lnTo>
                    <a:pt x="330" y="504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34"/>
                  </a:lnTo>
                  <a:lnTo>
                    <a:pt x="288" y="540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2" y="540"/>
                  </a:lnTo>
                  <a:lnTo>
                    <a:pt x="282" y="546"/>
                  </a:lnTo>
                  <a:lnTo>
                    <a:pt x="288" y="552"/>
                  </a:lnTo>
                  <a:lnTo>
                    <a:pt x="294" y="564"/>
                  </a:lnTo>
                  <a:lnTo>
                    <a:pt x="300" y="564"/>
                  </a:lnTo>
                  <a:lnTo>
                    <a:pt x="300" y="570"/>
                  </a:lnTo>
                  <a:lnTo>
                    <a:pt x="294" y="570"/>
                  </a:lnTo>
                  <a:lnTo>
                    <a:pt x="288" y="570"/>
                  </a:lnTo>
                  <a:lnTo>
                    <a:pt x="288" y="576"/>
                  </a:lnTo>
                  <a:lnTo>
                    <a:pt x="288" y="582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606"/>
                  </a:lnTo>
                  <a:lnTo>
                    <a:pt x="264" y="612"/>
                  </a:lnTo>
                  <a:lnTo>
                    <a:pt x="258" y="612"/>
                  </a:lnTo>
                  <a:lnTo>
                    <a:pt x="252" y="612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52" y="630"/>
                  </a:lnTo>
                  <a:lnTo>
                    <a:pt x="264" y="642"/>
                  </a:lnTo>
                  <a:lnTo>
                    <a:pt x="258" y="648"/>
                  </a:lnTo>
                  <a:lnTo>
                    <a:pt x="246" y="654"/>
                  </a:lnTo>
                  <a:lnTo>
                    <a:pt x="240" y="660"/>
                  </a:lnTo>
                  <a:lnTo>
                    <a:pt x="234" y="672"/>
                  </a:lnTo>
                  <a:lnTo>
                    <a:pt x="234" y="678"/>
                  </a:lnTo>
                  <a:lnTo>
                    <a:pt x="228" y="684"/>
                  </a:lnTo>
                  <a:lnTo>
                    <a:pt x="228" y="696"/>
                  </a:lnTo>
                  <a:lnTo>
                    <a:pt x="216" y="71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6" name="Freeform 21">
              <a:extLst>
                <a:ext uri="{FF2B5EF4-FFF2-40B4-BE49-F238E27FC236}">
                  <a16:creationId xmlns:a16="http://schemas.microsoft.com/office/drawing/2014/main" id="{DCB1E808-522D-4C19-B741-CC5DD56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4178" y="3866464"/>
              <a:ext cx="250453" cy="371259"/>
            </a:xfrm>
            <a:custGeom>
              <a:avLst/>
              <a:gdLst>
                <a:gd name="T0" fmla="*/ 0 w 468"/>
                <a:gd name="T1" fmla="*/ 61 h 696"/>
                <a:gd name="T2" fmla="*/ 1 w 468"/>
                <a:gd name="T3" fmla="*/ 58 h 696"/>
                <a:gd name="T4" fmla="*/ 2 w 468"/>
                <a:gd name="T5" fmla="*/ 54 h 696"/>
                <a:gd name="T6" fmla="*/ 3 w 468"/>
                <a:gd name="T7" fmla="*/ 51 h 696"/>
                <a:gd name="T8" fmla="*/ 4 w 468"/>
                <a:gd name="T9" fmla="*/ 48 h 696"/>
                <a:gd name="T10" fmla="*/ 6 w 468"/>
                <a:gd name="T11" fmla="*/ 44 h 696"/>
                <a:gd name="T12" fmla="*/ 5 w 468"/>
                <a:gd name="T13" fmla="*/ 41 h 696"/>
                <a:gd name="T14" fmla="*/ 7 w 468"/>
                <a:gd name="T15" fmla="*/ 38 h 696"/>
                <a:gd name="T16" fmla="*/ 8 w 468"/>
                <a:gd name="T17" fmla="*/ 36 h 696"/>
                <a:gd name="T18" fmla="*/ 7 w 468"/>
                <a:gd name="T19" fmla="*/ 33 h 696"/>
                <a:gd name="T20" fmla="*/ 6 w 468"/>
                <a:gd name="T21" fmla="*/ 29 h 696"/>
                <a:gd name="T22" fmla="*/ 4 w 468"/>
                <a:gd name="T23" fmla="*/ 22 h 696"/>
                <a:gd name="T24" fmla="*/ 2 w 468"/>
                <a:gd name="T25" fmla="*/ 14 h 696"/>
                <a:gd name="T26" fmla="*/ 12 w 468"/>
                <a:gd name="T27" fmla="*/ 11 h 696"/>
                <a:gd name="T28" fmla="*/ 14 w 468"/>
                <a:gd name="T29" fmla="*/ 2 h 696"/>
                <a:gd name="T30" fmla="*/ 16 w 468"/>
                <a:gd name="T31" fmla="*/ 0 h 696"/>
                <a:gd name="T32" fmla="*/ 17 w 468"/>
                <a:gd name="T33" fmla="*/ 0 h 696"/>
                <a:gd name="T34" fmla="*/ 18 w 468"/>
                <a:gd name="T35" fmla="*/ 1 h 696"/>
                <a:gd name="T36" fmla="*/ 17 w 468"/>
                <a:gd name="T37" fmla="*/ 2 h 696"/>
                <a:gd name="T38" fmla="*/ 17 w 468"/>
                <a:gd name="T39" fmla="*/ 4 h 696"/>
                <a:gd name="T40" fmla="*/ 17 w 468"/>
                <a:gd name="T41" fmla="*/ 6 h 696"/>
                <a:gd name="T42" fmla="*/ 20 w 468"/>
                <a:gd name="T43" fmla="*/ 6 h 696"/>
                <a:gd name="T44" fmla="*/ 22 w 468"/>
                <a:gd name="T45" fmla="*/ 5 h 696"/>
                <a:gd name="T46" fmla="*/ 24 w 468"/>
                <a:gd name="T47" fmla="*/ 7 h 696"/>
                <a:gd name="T48" fmla="*/ 28 w 468"/>
                <a:gd name="T49" fmla="*/ 7 h 696"/>
                <a:gd name="T50" fmla="*/ 28 w 468"/>
                <a:gd name="T51" fmla="*/ 11 h 696"/>
                <a:gd name="T52" fmla="*/ 25 w 468"/>
                <a:gd name="T53" fmla="*/ 14 h 696"/>
                <a:gd name="T54" fmla="*/ 23 w 468"/>
                <a:gd name="T55" fmla="*/ 15 h 696"/>
                <a:gd name="T56" fmla="*/ 23 w 468"/>
                <a:gd name="T57" fmla="*/ 19 h 696"/>
                <a:gd name="T58" fmla="*/ 23 w 468"/>
                <a:gd name="T59" fmla="*/ 21 h 696"/>
                <a:gd name="T60" fmla="*/ 24 w 468"/>
                <a:gd name="T61" fmla="*/ 21 h 696"/>
                <a:gd name="T62" fmla="*/ 27 w 468"/>
                <a:gd name="T63" fmla="*/ 23 h 696"/>
                <a:gd name="T64" fmla="*/ 29 w 468"/>
                <a:gd name="T65" fmla="*/ 24 h 696"/>
                <a:gd name="T66" fmla="*/ 29 w 468"/>
                <a:gd name="T67" fmla="*/ 28 h 696"/>
                <a:gd name="T68" fmla="*/ 29 w 468"/>
                <a:gd name="T69" fmla="*/ 29 h 696"/>
                <a:gd name="T70" fmla="*/ 29 w 468"/>
                <a:gd name="T71" fmla="*/ 32 h 696"/>
                <a:gd name="T72" fmla="*/ 32 w 468"/>
                <a:gd name="T73" fmla="*/ 32 h 696"/>
                <a:gd name="T74" fmla="*/ 33 w 468"/>
                <a:gd name="T75" fmla="*/ 35 h 696"/>
                <a:gd name="T76" fmla="*/ 34 w 468"/>
                <a:gd name="T77" fmla="*/ 38 h 696"/>
                <a:gd name="T78" fmla="*/ 35 w 468"/>
                <a:gd name="T79" fmla="*/ 39 h 696"/>
                <a:gd name="T80" fmla="*/ 36 w 468"/>
                <a:gd name="T81" fmla="*/ 40 h 696"/>
                <a:gd name="T82" fmla="*/ 37 w 468"/>
                <a:gd name="T83" fmla="*/ 41 h 696"/>
                <a:gd name="T84" fmla="*/ 38 w 468"/>
                <a:gd name="T85" fmla="*/ 42 h 696"/>
                <a:gd name="T86" fmla="*/ 41 w 468"/>
                <a:gd name="T87" fmla="*/ 44 h 696"/>
                <a:gd name="T88" fmla="*/ 40 w 468"/>
                <a:gd name="T89" fmla="*/ 44 h 696"/>
                <a:gd name="T90" fmla="*/ 37 w 468"/>
                <a:gd name="T91" fmla="*/ 45 h 696"/>
                <a:gd name="T92" fmla="*/ 36 w 468"/>
                <a:gd name="T93" fmla="*/ 48 h 696"/>
                <a:gd name="T94" fmla="*/ 34 w 468"/>
                <a:gd name="T95" fmla="*/ 49 h 696"/>
                <a:gd name="T96" fmla="*/ 32 w 468"/>
                <a:gd name="T97" fmla="*/ 51 h 696"/>
                <a:gd name="T98" fmla="*/ 31 w 468"/>
                <a:gd name="T99" fmla="*/ 51 h 696"/>
                <a:gd name="T100" fmla="*/ 26 w 468"/>
                <a:gd name="T101" fmla="*/ 49 h 696"/>
                <a:gd name="T102" fmla="*/ 23 w 468"/>
                <a:gd name="T103" fmla="*/ 51 h 696"/>
                <a:gd name="T104" fmla="*/ 21 w 468"/>
                <a:gd name="T105" fmla="*/ 51 h 696"/>
                <a:gd name="T106" fmla="*/ 20 w 468"/>
                <a:gd name="T107" fmla="*/ 52 h 696"/>
                <a:gd name="T108" fmla="*/ 17 w 468"/>
                <a:gd name="T109" fmla="*/ 55 h 696"/>
                <a:gd name="T110" fmla="*/ 15 w 468"/>
                <a:gd name="T111" fmla="*/ 56 h 696"/>
                <a:gd name="T112" fmla="*/ 15 w 468"/>
                <a:gd name="T113" fmla="*/ 59 h 696"/>
                <a:gd name="T114" fmla="*/ 14 w 468"/>
                <a:gd name="T115" fmla="*/ 59 h 696"/>
                <a:gd name="T116" fmla="*/ 12 w 468"/>
                <a:gd name="T117" fmla="*/ 59 h 696"/>
                <a:gd name="T118" fmla="*/ 11 w 468"/>
                <a:gd name="T119" fmla="*/ 57 h 696"/>
                <a:gd name="T120" fmla="*/ 9 w 468"/>
                <a:gd name="T121" fmla="*/ 57 h 696"/>
                <a:gd name="T122" fmla="*/ 6 w 468"/>
                <a:gd name="T123" fmla="*/ 58 h 696"/>
                <a:gd name="T124" fmla="*/ 4 w 468"/>
                <a:gd name="T125" fmla="*/ 60 h 69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8"/>
                <a:gd name="T190" fmla="*/ 0 h 696"/>
                <a:gd name="T191" fmla="*/ 468 w 468"/>
                <a:gd name="T192" fmla="*/ 696 h 69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8" h="696">
                  <a:moveTo>
                    <a:pt x="30" y="696"/>
                  </a:moveTo>
                  <a:lnTo>
                    <a:pt x="18" y="696"/>
                  </a:lnTo>
                  <a:lnTo>
                    <a:pt x="6" y="696"/>
                  </a:lnTo>
                  <a:lnTo>
                    <a:pt x="0" y="690"/>
                  </a:lnTo>
                  <a:lnTo>
                    <a:pt x="6" y="678"/>
                  </a:lnTo>
                  <a:lnTo>
                    <a:pt x="12" y="666"/>
                  </a:lnTo>
                  <a:lnTo>
                    <a:pt x="18" y="654"/>
                  </a:lnTo>
                  <a:lnTo>
                    <a:pt x="18" y="642"/>
                  </a:lnTo>
                  <a:lnTo>
                    <a:pt x="18" y="618"/>
                  </a:lnTo>
                  <a:lnTo>
                    <a:pt x="24" y="606"/>
                  </a:lnTo>
                  <a:lnTo>
                    <a:pt x="30" y="594"/>
                  </a:lnTo>
                  <a:lnTo>
                    <a:pt x="30" y="582"/>
                  </a:lnTo>
                  <a:lnTo>
                    <a:pt x="36" y="576"/>
                  </a:lnTo>
                  <a:lnTo>
                    <a:pt x="42" y="564"/>
                  </a:lnTo>
                  <a:lnTo>
                    <a:pt x="48" y="546"/>
                  </a:lnTo>
                  <a:lnTo>
                    <a:pt x="48" y="528"/>
                  </a:lnTo>
                  <a:lnTo>
                    <a:pt x="60" y="516"/>
                  </a:lnTo>
                  <a:lnTo>
                    <a:pt x="66" y="504"/>
                  </a:lnTo>
                  <a:lnTo>
                    <a:pt x="66" y="492"/>
                  </a:lnTo>
                  <a:lnTo>
                    <a:pt x="60" y="480"/>
                  </a:lnTo>
                  <a:lnTo>
                    <a:pt x="54" y="468"/>
                  </a:lnTo>
                  <a:lnTo>
                    <a:pt x="60" y="456"/>
                  </a:lnTo>
                  <a:lnTo>
                    <a:pt x="72" y="450"/>
                  </a:lnTo>
                  <a:lnTo>
                    <a:pt x="84" y="438"/>
                  </a:lnTo>
                  <a:lnTo>
                    <a:pt x="90" y="426"/>
                  </a:lnTo>
                  <a:lnTo>
                    <a:pt x="90" y="420"/>
                  </a:lnTo>
                  <a:lnTo>
                    <a:pt x="90" y="408"/>
                  </a:lnTo>
                  <a:lnTo>
                    <a:pt x="90" y="402"/>
                  </a:lnTo>
                  <a:lnTo>
                    <a:pt x="84" y="396"/>
                  </a:lnTo>
                  <a:lnTo>
                    <a:pt x="78" y="378"/>
                  </a:lnTo>
                  <a:lnTo>
                    <a:pt x="72" y="360"/>
                  </a:lnTo>
                  <a:lnTo>
                    <a:pt x="66" y="348"/>
                  </a:lnTo>
                  <a:lnTo>
                    <a:pt x="72" y="336"/>
                  </a:lnTo>
                  <a:lnTo>
                    <a:pt x="66" y="306"/>
                  </a:lnTo>
                  <a:lnTo>
                    <a:pt x="54" y="276"/>
                  </a:lnTo>
                  <a:lnTo>
                    <a:pt x="42" y="252"/>
                  </a:lnTo>
                  <a:lnTo>
                    <a:pt x="36" y="222"/>
                  </a:lnTo>
                  <a:lnTo>
                    <a:pt x="30" y="192"/>
                  </a:lnTo>
                  <a:lnTo>
                    <a:pt x="24" y="162"/>
                  </a:lnTo>
                  <a:lnTo>
                    <a:pt x="42" y="174"/>
                  </a:lnTo>
                  <a:lnTo>
                    <a:pt x="120" y="138"/>
                  </a:lnTo>
                  <a:lnTo>
                    <a:pt x="132" y="126"/>
                  </a:lnTo>
                  <a:lnTo>
                    <a:pt x="120" y="54"/>
                  </a:lnTo>
                  <a:lnTo>
                    <a:pt x="156" y="30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0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8" y="18"/>
                  </a:lnTo>
                  <a:lnTo>
                    <a:pt x="198" y="24"/>
                  </a:lnTo>
                  <a:lnTo>
                    <a:pt x="198" y="30"/>
                  </a:lnTo>
                  <a:lnTo>
                    <a:pt x="198" y="42"/>
                  </a:lnTo>
                  <a:lnTo>
                    <a:pt x="198" y="48"/>
                  </a:lnTo>
                  <a:lnTo>
                    <a:pt x="192" y="60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28" y="60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34" y="60"/>
                  </a:lnTo>
                  <a:lnTo>
                    <a:pt x="252" y="60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312" y="84"/>
                  </a:lnTo>
                  <a:lnTo>
                    <a:pt x="318" y="96"/>
                  </a:lnTo>
                  <a:lnTo>
                    <a:pt x="318" y="102"/>
                  </a:lnTo>
                  <a:lnTo>
                    <a:pt x="312" y="120"/>
                  </a:lnTo>
                  <a:lnTo>
                    <a:pt x="306" y="132"/>
                  </a:lnTo>
                  <a:lnTo>
                    <a:pt x="294" y="144"/>
                  </a:lnTo>
                  <a:lnTo>
                    <a:pt x="282" y="156"/>
                  </a:lnTo>
                  <a:lnTo>
                    <a:pt x="276" y="162"/>
                  </a:lnTo>
                  <a:lnTo>
                    <a:pt x="270" y="162"/>
                  </a:lnTo>
                  <a:lnTo>
                    <a:pt x="264" y="174"/>
                  </a:lnTo>
                  <a:lnTo>
                    <a:pt x="264" y="192"/>
                  </a:lnTo>
                  <a:lnTo>
                    <a:pt x="264" y="216"/>
                  </a:lnTo>
                  <a:lnTo>
                    <a:pt x="258" y="216"/>
                  </a:lnTo>
                  <a:lnTo>
                    <a:pt x="258" y="228"/>
                  </a:lnTo>
                  <a:lnTo>
                    <a:pt x="252" y="234"/>
                  </a:lnTo>
                  <a:lnTo>
                    <a:pt x="258" y="240"/>
                  </a:lnTo>
                  <a:lnTo>
                    <a:pt x="264" y="240"/>
                  </a:lnTo>
                  <a:lnTo>
                    <a:pt x="270" y="240"/>
                  </a:lnTo>
                  <a:lnTo>
                    <a:pt x="276" y="240"/>
                  </a:lnTo>
                  <a:lnTo>
                    <a:pt x="288" y="240"/>
                  </a:lnTo>
                  <a:lnTo>
                    <a:pt x="300" y="246"/>
                  </a:lnTo>
                  <a:lnTo>
                    <a:pt x="306" y="258"/>
                  </a:lnTo>
                  <a:lnTo>
                    <a:pt x="312" y="264"/>
                  </a:lnTo>
                  <a:lnTo>
                    <a:pt x="318" y="276"/>
                  </a:lnTo>
                  <a:lnTo>
                    <a:pt x="330" y="282"/>
                  </a:lnTo>
                  <a:lnTo>
                    <a:pt x="330" y="300"/>
                  </a:lnTo>
                  <a:lnTo>
                    <a:pt x="336" y="312"/>
                  </a:lnTo>
                  <a:lnTo>
                    <a:pt x="336" y="318"/>
                  </a:lnTo>
                  <a:lnTo>
                    <a:pt x="336" y="330"/>
                  </a:lnTo>
                  <a:lnTo>
                    <a:pt x="324" y="330"/>
                  </a:lnTo>
                  <a:lnTo>
                    <a:pt x="330" y="336"/>
                  </a:lnTo>
                  <a:lnTo>
                    <a:pt x="330" y="342"/>
                  </a:lnTo>
                  <a:lnTo>
                    <a:pt x="336" y="348"/>
                  </a:lnTo>
                  <a:lnTo>
                    <a:pt x="330" y="360"/>
                  </a:lnTo>
                  <a:lnTo>
                    <a:pt x="336" y="372"/>
                  </a:lnTo>
                  <a:lnTo>
                    <a:pt x="354" y="366"/>
                  </a:lnTo>
                  <a:lnTo>
                    <a:pt x="366" y="366"/>
                  </a:lnTo>
                  <a:lnTo>
                    <a:pt x="372" y="378"/>
                  </a:lnTo>
                  <a:lnTo>
                    <a:pt x="372" y="390"/>
                  </a:lnTo>
                  <a:lnTo>
                    <a:pt x="378" y="396"/>
                  </a:lnTo>
                  <a:lnTo>
                    <a:pt x="378" y="408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44"/>
                  </a:lnTo>
                  <a:lnTo>
                    <a:pt x="390" y="444"/>
                  </a:lnTo>
                  <a:lnTo>
                    <a:pt x="396" y="444"/>
                  </a:lnTo>
                  <a:lnTo>
                    <a:pt x="402" y="450"/>
                  </a:lnTo>
                  <a:lnTo>
                    <a:pt x="408" y="450"/>
                  </a:lnTo>
                  <a:lnTo>
                    <a:pt x="408" y="462"/>
                  </a:lnTo>
                  <a:lnTo>
                    <a:pt x="408" y="468"/>
                  </a:lnTo>
                  <a:lnTo>
                    <a:pt x="414" y="474"/>
                  </a:lnTo>
                  <a:lnTo>
                    <a:pt x="420" y="474"/>
                  </a:lnTo>
                  <a:lnTo>
                    <a:pt x="420" y="480"/>
                  </a:lnTo>
                  <a:lnTo>
                    <a:pt x="426" y="480"/>
                  </a:lnTo>
                  <a:lnTo>
                    <a:pt x="432" y="480"/>
                  </a:lnTo>
                  <a:lnTo>
                    <a:pt x="462" y="486"/>
                  </a:lnTo>
                  <a:lnTo>
                    <a:pt x="468" y="492"/>
                  </a:lnTo>
                  <a:lnTo>
                    <a:pt x="468" y="498"/>
                  </a:lnTo>
                  <a:lnTo>
                    <a:pt x="462" y="498"/>
                  </a:lnTo>
                  <a:lnTo>
                    <a:pt x="456" y="498"/>
                  </a:lnTo>
                  <a:lnTo>
                    <a:pt x="456" y="504"/>
                  </a:lnTo>
                  <a:lnTo>
                    <a:pt x="456" y="510"/>
                  </a:lnTo>
                  <a:lnTo>
                    <a:pt x="450" y="516"/>
                  </a:lnTo>
                  <a:lnTo>
                    <a:pt x="426" y="516"/>
                  </a:lnTo>
                  <a:lnTo>
                    <a:pt x="408" y="528"/>
                  </a:lnTo>
                  <a:lnTo>
                    <a:pt x="408" y="546"/>
                  </a:lnTo>
                  <a:lnTo>
                    <a:pt x="414" y="552"/>
                  </a:lnTo>
                  <a:lnTo>
                    <a:pt x="408" y="558"/>
                  </a:lnTo>
                  <a:lnTo>
                    <a:pt x="402" y="564"/>
                  </a:lnTo>
                  <a:lnTo>
                    <a:pt x="384" y="564"/>
                  </a:lnTo>
                  <a:lnTo>
                    <a:pt x="372" y="564"/>
                  </a:lnTo>
                  <a:lnTo>
                    <a:pt x="372" y="576"/>
                  </a:lnTo>
                  <a:lnTo>
                    <a:pt x="366" y="576"/>
                  </a:lnTo>
                  <a:lnTo>
                    <a:pt x="366" y="582"/>
                  </a:lnTo>
                  <a:lnTo>
                    <a:pt x="360" y="582"/>
                  </a:lnTo>
                  <a:lnTo>
                    <a:pt x="348" y="576"/>
                  </a:lnTo>
                  <a:lnTo>
                    <a:pt x="336" y="570"/>
                  </a:lnTo>
                  <a:lnTo>
                    <a:pt x="324" y="570"/>
                  </a:lnTo>
                  <a:lnTo>
                    <a:pt x="300" y="564"/>
                  </a:lnTo>
                  <a:lnTo>
                    <a:pt x="282" y="564"/>
                  </a:lnTo>
                  <a:lnTo>
                    <a:pt x="270" y="570"/>
                  </a:lnTo>
                  <a:lnTo>
                    <a:pt x="264" y="576"/>
                  </a:lnTo>
                  <a:lnTo>
                    <a:pt x="258" y="576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34" y="594"/>
                  </a:lnTo>
                  <a:lnTo>
                    <a:pt x="228" y="600"/>
                  </a:lnTo>
                  <a:lnTo>
                    <a:pt x="210" y="618"/>
                  </a:lnTo>
                  <a:lnTo>
                    <a:pt x="210" y="624"/>
                  </a:lnTo>
                  <a:lnTo>
                    <a:pt x="192" y="630"/>
                  </a:lnTo>
                  <a:lnTo>
                    <a:pt x="186" y="630"/>
                  </a:lnTo>
                  <a:lnTo>
                    <a:pt x="180" y="636"/>
                  </a:lnTo>
                  <a:lnTo>
                    <a:pt x="174" y="642"/>
                  </a:lnTo>
                  <a:lnTo>
                    <a:pt x="168" y="642"/>
                  </a:lnTo>
                  <a:lnTo>
                    <a:pt x="168" y="654"/>
                  </a:lnTo>
                  <a:lnTo>
                    <a:pt x="168" y="678"/>
                  </a:lnTo>
                  <a:lnTo>
                    <a:pt x="162" y="684"/>
                  </a:lnTo>
                  <a:lnTo>
                    <a:pt x="156" y="684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72"/>
                  </a:lnTo>
                  <a:lnTo>
                    <a:pt x="138" y="672"/>
                  </a:lnTo>
                  <a:lnTo>
                    <a:pt x="138" y="666"/>
                  </a:lnTo>
                  <a:lnTo>
                    <a:pt x="132" y="660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48"/>
                  </a:lnTo>
                  <a:lnTo>
                    <a:pt x="102" y="654"/>
                  </a:lnTo>
                  <a:lnTo>
                    <a:pt x="90" y="654"/>
                  </a:lnTo>
                  <a:lnTo>
                    <a:pt x="84" y="654"/>
                  </a:lnTo>
                  <a:lnTo>
                    <a:pt x="72" y="660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36" y="684"/>
                  </a:lnTo>
                  <a:lnTo>
                    <a:pt x="30" y="6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7" name="Freeform 22">
              <a:extLst>
                <a:ext uri="{FF2B5EF4-FFF2-40B4-BE49-F238E27FC236}">
                  <a16:creationId xmlns:a16="http://schemas.microsoft.com/office/drawing/2014/main" id="{2F7A477D-6CF8-44B3-8B32-64EE03DC4D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2895" y="3967106"/>
              <a:ext cx="610479" cy="507686"/>
            </a:xfrm>
            <a:custGeom>
              <a:avLst/>
              <a:gdLst>
                <a:gd name="T0" fmla="*/ 87 w 1146"/>
                <a:gd name="T1" fmla="*/ 56 h 954"/>
                <a:gd name="T2" fmla="*/ 83 w 1146"/>
                <a:gd name="T3" fmla="*/ 66 h 954"/>
                <a:gd name="T4" fmla="*/ 74 w 1146"/>
                <a:gd name="T5" fmla="*/ 69 h 954"/>
                <a:gd name="T6" fmla="*/ 67 w 1146"/>
                <a:gd name="T7" fmla="*/ 75 h 954"/>
                <a:gd name="T8" fmla="*/ 59 w 1146"/>
                <a:gd name="T9" fmla="*/ 78 h 954"/>
                <a:gd name="T10" fmla="*/ 52 w 1146"/>
                <a:gd name="T11" fmla="*/ 77 h 954"/>
                <a:gd name="T12" fmla="*/ 48 w 1146"/>
                <a:gd name="T13" fmla="*/ 79 h 954"/>
                <a:gd name="T14" fmla="*/ 41 w 1146"/>
                <a:gd name="T15" fmla="*/ 82 h 954"/>
                <a:gd name="T16" fmla="*/ 29 w 1146"/>
                <a:gd name="T17" fmla="*/ 78 h 954"/>
                <a:gd name="T18" fmla="*/ 28 w 1146"/>
                <a:gd name="T19" fmla="*/ 76 h 954"/>
                <a:gd name="T20" fmla="*/ 28 w 1146"/>
                <a:gd name="T21" fmla="*/ 72 h 954"/>
                <a:gd name="T22" fmla="*/ 28 w 1146"/>
                <a:gd name="T23" fmla="*/ 74 h 954"/>
                <a:gd name="T24" fmla="*/ 21 w 1146"/>
                <a:gd name="T25" fmla="*/ 74 h 954"/>
                <a:gd name="T26" fmla="*/ 20 w 1146"/>
                <a:gd name="T27" fmla="*/ 67 h 954"/>
                <a:gd name="T28" fmla="*/ 23 w 1146"/>
                <a:gd name="T29" fmla="*/ 64 h 954"/>
                <a:gd name="T30" fmla="*/ 28 w 1146"/>
                <a:gd name="T31" fmla="*/ 65 h 954"/>
                <a:gd name="T32" fmla="*/ 32 w 1146"/>
                <a:gd name="T33" fmla="*/ 62 h 954"/>
                <a:gd name="T34" fmla="*/ 31 w 1146"/>
                <a:gd name="T35" fmla="*/ 56 h 954"/>
                <a:gd name="T36" fmla="*/ 36 w 1146"/>
                <a:gd name="T37" fmla="*/ 54 h 954"/>
                <a:gd name="T38" fmla="*/ 38 w 1146"/>
                <a:gd name="T39" fmla="*/ 54 h 954"/>
                <a:gd name="T40" fmla="*/ 32 w 1146"/>
                <a:gd name="T41" fmla="*/ 54 h 954"/>
                <a:gd name="T42" fmla="*/ 29 w 1146"/>
                <a:gd name="T43" fmla="*/ 59 h 954"/>
                <a:gd name="T44" fmla="*/ 26 w 1146"/>
                <a:gd name="T45" fmla="*/ 59 h 954"/>
                <a:gd name="T46" fmla="*/ 25 w 1146"/>
                <a:gd name="T47" fmla="*/ 61 h 954"/>
                <a:gd name="T48" fmla="*/ 20 w 1146"/>
                <a:gd name="T49" fmla="*/ 61 h 954"/>
                <a:gd name="T50" fmla="*/ 11 w 1146"/>
                <a:gd name="T51" fmla="*/ 54 h 954"/>
                <a:gd name="T52" fmla="*/ 14 w 1146"/>
                <a:gd name="T53" fmla="*/ 50 h 954"/>
                <a:gd name="T54" fmla="*/ 21 w 1146"/>
                <a:gd name="T55" fmla="*/ 51 h 954"/>
                <a:gd name="T56" fmla="*/ 24 w 1146"/>
                <a:gd name="T57" fmla="*/ 50 h 954"/>
                <a:gd name="T58" fmla="*/ 28 w 1146"/>
                <a:gd name="T59" fmla="*/ 48 h 954"/>
                <a:gd name="T60" fmla="*/ 30 w 1146"/>
                <a:gd name="T61" fmla="*/ 49 h 954"/>
                <a:gd name="T62" fmla="*/ 26 w 1146"/>
                <a:gd name="T63" fmla="*/ 47 h 954"/>
                <a:gd name="T64" fmla="*/ 20 w 1146"/>
                <a:gd name="T65" fmla="*/ 50 h 954"/>
                <a:gd name="T66" fmla="*/ 20 w 1146"/>
                <a:gd name="T67" fmla="*/ 44 h 954"/>
                <a:gd name="T68" fmla="*/ 19 w 1146"/>
                <a:gd name="T69" fmla="*/ 46 h 954"/>
                <a:gd name="T70" fmla="*/ 15 w 1146"/>
                <a:gd name="T71" fmla="*/ 49 h 954"/>
                <a:gd name="T72" fmla="*/ 8 w 1146"/>
                <a:gd name="T73" fmla="*/ 48 h 954"/>
                <a:gd name="T74" fmla="*/ 6 w 1146"/>
                <a:gd name="T75" fmla="*/ 41 h 954"/>
                <a:gd name="T76" fmla="*/ 10 w 1146"/>
                <a:gd name="T77" fmla="*/ 41 h 954"/>
                <a:gd name="T78" fmla="*/ 9 w 1146"/>
                <a:gd name="T79" fmla="*/ 39 h 954"/>
                <a:gd name="T80" fmla="*/ 14 w 1146"/>
                <a:gd name="T81" fmla="*/ 35 h 954"/>
                <a:gd name="T82" fmla="*/ 19 w 1146"/>
                <a:gd name="T83" fmla="*/ 32 h 954"/>
                <a:gd name="T84" fmla="*/ 20 w 1146"/>
                <a:gd name="T85" fmla="*/ 29 h 954"/>
                <a:gd name="T86" fmla="*/ 27 w 1146"/>
                <a:gd name="T87" fmla="*/ 27 h 954"/>
                <a:gd name="T88" fmla="*/ 33 w 1146"/>
                <a:gd name="T89" fmla="*/ 28 h 954"/>
                <a:gd name="T90" fmla="*/ 44 w 1146"/>
                <a:gd name="T91" fmla="*/ 27 h 954"/>
                <a:gd name="T92" fmla="*/ 52 w 1146"/>
                <a:gd name="T93" fmla="*/ 41 h 954"/>
                <a:gd name="T94" fmla="*/ 61 w 1146"/>
                <a:gd name="T95" fmla="*/ 40 h 954"/>
                <a:gd name="T96" fmla="*/ 69 w 1146"/>
                <a:gd name="T97" fmla="*/ 34 h 954"/>
                <a:gd name="T98" fmla="*/ 62 w 1146"/>
                <a:gd name="T99" fmla="*/ 12 h 954"/>
                <a:gd name="T100" fmla="*/ 74 w 1146"/>
                <a:gd name="T101" fmla="*/ 8 h 954"/>
                <a:gd name="T102" fmla="*/ 87 w 1146"/>
                <a:gd name="T103" fmla="*/ 1 h 954"/>
                <a:gd name="T104" fmla="*/ 99 w 1146"/>
                <a:gd name="T105" fmla="*/ 12 h 954"/>
                <a:gd name="T106" fmla="*/ 98 w 1146"/>
                <a:gd name="T107" fmla="*/ 27 h 954"/>
                <a:gd name="T108" fmla="*/ 16 w 1146"/>
                <a:gd name="T109" fmla="*/ 33 h 954"/>
                <a:gd name="T110" fmla="*/ 11 w 1146"/>
                <a:gd name="T111" fmla="*/ 36 h 954"/>
                <a:gd name="T112" fmla="*/ 5 w 1146"/>
                <a:gd name="T113" fmla="*/ 41 h 954"/>
                <a:gd name="T114" fmla="*/ 2 w 1146"/>
                <a:gd name="T115" fmla="*/ 36 h 954"/>
                <a:gd name="T116" fmla="*/ 5 w 1146"/>
                <a:gd name="T117" fmla="*/ 26 h 954"/>
                <a:gd name="T118" fmla="*/ 10 w 1146"/>
                <a:gd name="T119" fmla="*/ 20 h 954"/>
                <a:gd name="T120" fmla="*/ 13 w 1146"/>
                <a:gd name="T121" fmla="*/ 20 h 954"/>
                <a:gd name="T122" fmla="*/ 15 w 1146"/>
                <a:gd name="T123" fmla="*/ 27 h 95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46"/>
                <a:gd name="T187" fmla="*/ 0 h 954"/>
                <a:gd name="T188" fmla="*/ 1146 w 1146"/>
                <a:gd name="T189" fmla="*/ 954 h 95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46" h="954">
                  <a:moveTo>
                    <a:pt x="1056" y="498"/>
                  </a:moveTo>
                  <a:lnTo>
                    <a:pt x="1044" y="510"/>
                  </a:lnTo>
                  <a:lnTo>
                    <a:pt x="1032" y="516"/>
                  </a:lnTo>
                  <a:lnTo>
                    <a:pt x="1038" y="528"/>
                  </a:lnTo>
                  <a:lnTo>
                    <a:pt x="1050" y="540"/>
                  </a:lnTo>
                  <a:lnTo>
                    <a:pt x="1050" y="546"/>
                  </a:lnTo>
                  <a:lnTo>
                    <a:pt x="1050" y="564"/>
                  </a:lnTo>
                  <a:lnTo>
                    <a:pt x="1038" y="576"/>
                  </a:lnTo>
                  <a:lnTo>
                    <a:pt x="1032" y="588"/>
                  </a:lnTo>
                  <a:lnTo>
                    <a:pt x="1020" y="594"/>
                  </a:lnTo>
                  <a:lnTo>
                    <a:pt x="1008" y="594"/>
                  </a:lnTo>
                  <a:lnTo>
                    <a:pt x="1002" y="600"/>
                  </a:lnTo>
                  <a:lnTo>
                    <a:pt x="996" y="612"/>
                  </a:lnTo>
                  <a:lnTo>
                    <a:pt x="996" y="624"/>
                  </a:lnTo>
                  <a:lnTo>
                    <a:pt x="996" y="648"/>
                  </a:lnTo>
                  <a:lnTo>
                    <a:pt x="996" y="660"/>
                  </a:lnTo>
                  <a:lnTo>
                    <a:pt x="1002" y="672"/>
                  </a:lnTo>
                  <a:lnTo>
                    <a:pt x="1002" y="684"/>
                  </a:lnTo>
                  <a:lnTo>
                    <a:pt x="996" y="684"/>
                  </a:lnTo>
                  <a:lnTo>
                    <a:pt x="984" y="690"/>
                  </a:lnTo>
                  <a:lnTo>
                    <a:pt x="972" y="690"/>
                  </a:lnTo>
                  <a:lnTo>
                    <a:pt x="966" y="696"/>
                  </a:lnTo>
                  <a:lnTo>
                    <a:pt x="966" y="702"/>
                  </a:lnTo>
                  <a:lnTo>
                    <a:pt x="966" y="714"/>
                  </a:lnTo>
                  <a:lnTo>
                    <a:pt x="972" y="726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2" y="756"/>
                  </a:lnTo>
                  <a:lnTo>
                    <a:pt x="966" y="756"/>
                  </a:lnTo>
                  <a:lnTo>
                    <a:pt x="942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18" y="768"/>
                  </a:lnTo>
                  <a:lnTo>
                    <a:pt x="906" y="768"/>
                  </a:lnTo>
                  <a:lnTo>
                    <a:pt x="894" y="762"/>
                  </a:lnTo>
                  <a:lnTo>
                    <a:pt x="882" y="756"/>
                  </a:lnTo>
                  <a:lnTo>
                    <a:pt x="876" y="756"/>
                  </a:lnTo>
                  <a:lnTo>
                    <a:pt x="876" y="762"/>
                  </a:lnTo>
                  <a:lnTo>
                    <a:pt x="864" y="768"/>
                  </a:lnTo>
                  <a:lnTo>
                    <a:pt x="858" y="774"/>
                  </a:lnTo>
                  <a:lnTo>
                    <a:pt x="852" y="774"/>
                  </a:lnTo>
                  <a:lnTo>
                    <a:pt x="840" y="780"/>
                  </a:lnTo>
                  <a:lnTo>
                    <a:pt x="840" y="786"/>
                  </a:lnTo>
                  <a:lnTo>
                    <a:pt x="840" y="792"/>
                  </a:lnTo>
                  <a:lnTo>
                    <a:pt x="840" y="804"/>
                  </a:lnTo>
                  <a:lnTo>
                    <a:pt x="840" y="810"/>
                  </a:lnTo>
                  <a:lnTo>
                    <a:pt x="828" y="816"/>
                  </a:lnTo>
                  <a:lnTo>
                    <a:pt x="810" y="810"/>
                  </a:lnTo>
                  <a:lnTo>
                    <a:pt x="792" y="810"/>
                  </a:lnTo>
                  <a:lnTo>
                    <a:pt x="786" y="816"/>
                  </a:lnTo>
                  <a:lnTo>
                    <a:pt x="780" y="816"/>
                  </a:lnTo>
                  <a:lnTo>
                    <a:pt x="780" y="822"/>
                  </a:lnTo>
                  <a:lnTo>
                    <a:pt x="780" y="828"/>
                  </a:lnTo>
                  <a:lnTo>
                    <a:pt x="780" y="834"/>
                  </a:lnTo>
                  <a:lnTo>
                    <a:pt x="786" y="840"/>
                  </a:lnTo>
                  <a:lnTo>
                    <a:pt x="786" y="846"/>
                  </a:lnTo>
                  <a:lnTo>
                    <a:pt x="786" y="852"/>
                  </a:lnTo>
                  <a:lnTo>
                    <a:pt x="780" y="858"/>
                  </a:lnTo>
                  <a:lnTo>
                    <a:pt x="768" y="858"/>
                  </a:lnTo>
                  <a:lnTo>
                    <a:pt x="762" y="864"/>
                  </a:lnTo>
                  <a:lnTo>
                    <a:pt x="756" y="864"/>
                  </a:lnTo>
                  <a:lnTo>
                    <a:pt x="750" y="870"/>
                  </a:lnTo>
                  <a:lnTo>
                    <a:pt x="744" y="876"/>
                  </a:lnTo>
                  <a:lnTo>
                    <a:pt x="732" y="876"/>
                  </a:lnTo>
                  <a:lnTo>
                    <a:pt x="726" y="876"/>
                  </a:lnTo>
                  <a:lnTo>
                    <a:pt x="720" y="870"/>
                  </a:lnTo>
                  <a:lnTo>
                    <a:pt x="714" y="864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6" y="876"/>
                  </a:lnTo>
                  <a:lnTo>
                    <a:pt x="696" y="882"/>
                  </a:lnTo>
                  <a:lnTo>
                    <a:pt x="696" y="894"/>
                  </a:lnTo>
                  <a:lnTo>
                    <a:pt x="690" y="900"/>
                  </a:lnTo>
                  <a:lnTo>
                    <a:pt x="684" y="900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54" y="888"/>
                  </a:lnTo>
                  <a:lnTo>
                    <a:pt x="654" y="882"/>
                  </a:lnTo>
                  <a:lnTo>
                    <a:pt x="642" y="876"/>
                  </a:lnTo>
                  <a:lnTo>
                    <a:pt x="636" y="876"/>
                  </a:lnTo>
                  <a:lnTo>
                    <a:pt x="630" y="876"/>
                  </a:lnTo>
                  <a:lnTo>
                    <a:pt x="630" y="870"/>
                  </a:lnTo>
                  <a:lnTo>
                    <a:pt x="618" y="858"/>
                  </a:lnTo>
                  <a:lnTo>
                    <a:pt x="612" y="858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06" y="876"/>
                  </a:lnTo>
                  <a:lnTo>
                    <a:pt x="606" y="882"/>
                  </a:lnTo>
                  <a:lnTo>
                    <a:pt x="606" y="888"/>
                  </a:lnTo>
                  <a:lnTo>
                    <a:pt x="600" y="894"/>
                  </a:lnTo>
                  <a:lnTo>
                    <a:pt x="594" y="894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76" y="894"/>
                  </a:lnTo>
                  <a:lnTo>
                    <a:pt x="582" y="900"/>
                  </a:lnTo>
                  <a:lnTo>
                    <a:pt x="576" y="906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64" y="918"/>
                  </a:lnTo>
                  <a:lnTo>
                    <a:pt x="558" y="918"/>
                  </a:lnTo>
                  <a:lnTo>
                    <a:pt x="558" y="912"/>
                  </a:lnTo>
                  <a:lnTo>
                    <a:pt x="552" y="906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06"/>
                  </a:lnTo>
                  <a:lnTo>
                    <a:pt x="534" y="906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0" y="924"/>
                  </a:lnTo>
                  <a:lnTo>
                    <a:pt x="504" y="924"/>
                  </a:lnTo>
                  <a:lnTo>
                    <a:pt x="498" y="930"/>
                  </a:lnTo>
                  <a:lnTo>
                    <a:pt x="492" y="924"/>
                  </a:lnTo>
                  <a:lnTo>
                    <a:pt x="486" y="930"/>
                  </a:lnTo>
                  <a:lnTo>
                    <a:pt x="480" y="942"/>
                  </a:lnTo>
                  <a:lnTo>
                    <a:pt x="468" y="948"/>
                  </a:lnTo>
                  <a:lnTo>
                    <a:pt x="444" y="942"/>
                  </a:lnTo>
                  <a:lnTo>
                    <a:pt x="438" y="954"/>
                  </a:lnTo>
                  <a:lnTo>
                    <a:pt x="426" y="954"/>
                  </a:lnTo>
                  <a:lnTo>
                    <a:pt x="420" y="948"/>
                  </a:lnTo>
                  <a:lnTo>
                    <a:pt x="408" y="936"/>
                  </a:lnTo>
                  <a:lnTo>
                    <a:pt x="396" y="936"/>
                  </a:lnTo>
                  <a:lnTo>
                    <a:pt x="390" y="930"/>
                  </a:lnTo>
                  <a:lnTo>
                    <a:pt x="390" y="924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66" y="924"/>
                  </a:lnTo>
                  <a:lnTo>
                    <a:pt x="360" y="924"/>
                  </a:lnTo>
                  <a:lnTo>
                    <a:pt x="348" y="918"/>
                  </a:lnTo>
                  <a:lnTo>
                    <a:pt x="342" y="906"/>
                  </a:lnTo>
                  <a:lnTo>
                    <a:pt x="336" y="906"/>
                  </a:lnTo>
                  <a:lnTo>
                    <a:pt x="330" y="906"/>
                  </a:lnTo>
                  <a:lnTo>
                    <a:pt x="312" y="906"/>
                  </a:lnTo>
                  <a:lnTo>
                    <a:pt x="312" y="900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888"/>
                  </a:lnTo>
                  <a:lnTo>
                    <a:pt x="312" y="882"/>
                  </a:lnTo>
                  <a:lnTo>
                    <a:pt x="306" y="876"/>
                  </a:lnTo>
                  <a:lnTo>
                    <a:pt x="312" y="876"/>
                  </a:lnTo>
                  <a:lnTo>
                    <a:pt x="312" y="870"/>
                  </a:lnTo>
                  <a:lnTo>
                    <a:pt x="318" y="876"/>
                  </a:lnTo>
                  <a:lnTo>
                    <a:pt x="318" y="870"/>
                  </a:lnTo>
                  <a:lnTo>
                    <a:pt x="324" y="876"/>
                  </a:lnTo>
                  <a:lnTo>
                    <a:pt x="330" y="876"/>
                  </a:lnTo>
                  <a:lnTo>
                    <a:pt x="336" y="876"/>
                  </a:lnTo>
                  <a:lnTo>
                    <a:pt x="342" y="876"/>
                  </a:lnTo>
                  <a:lnTo>
                    <a:pt x="336" y="876"/>
                  </a:lnTo>
                  <a:lnTo>
                    <a:pt x="330" y="870"/>
                  </a:lnTo>
                  <a:lnTo>
                    <a:pt x="324" y="870"/>
                  </a:lnTo>
                  <a:lnTo>
                    <a:pt x="318" y="870"/>
                  </a:lnTo>
                  <a:lnTo>
                    <a:pt x="312" y="870"/>
                  </a:lnTo>
                  <a:lnTo>
                    <a:pt x="318" y="864"/>
                  </a:lnTo>
                  <a:lnTo>
                    <a:pt x="318" y="858"/>
                  </a:lnTo>
                  <a:lnTo>
                    <a:pt x="318" y="852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6" y="846"/>
                  </a:lnTo>
                  <a:lnTo>
                    <a:pt x="312" y="828"/>
                  </a:lnTo>
                  <a:lnTo>
                    <a:pt x="312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06" y="816"/>
                  </a:lnTo>
                  <a:lnTo>
                    <a:pt x="306" y="810"/>
                  </a:lnTo>
                  <a:lnTo>
                    <a:pt x="306" y="816"/>
                  </a:lnTo>
                  <a:lnTo>
                    <a:pt x="312" y="822"/>
                  </a:lnTo>
                  <a:lnTo>
                    <a:pt x="306" y="822"/>
                  </a:lnTo>
                  <a:lnTo>
                    <a:pt x="306" y="828"/>
                  </a:lnTo>
                  <a:lnTo>
                    <a:pt x="306" y="834"/>
                  </a:lnTo>
                  <a:lnTo>
                    <a:pt x="300" y="840"/>
                  </a:lnTo>
                  <a:lnTo>
                    <a:pt x="300" y="846"/>
                  </a:lnTo>
                  <a:lnTo>
                    <a:pt x="306" y="852"/>
                  </a:lnTo>
                  <a:lnTo>
                    <a:pt x="306" y="858"/>
                  </a:lnTo>
                  <a:lnTo>
                    <a:pt x="312" y="858"/>
                  </a:lnTo>
                  <a:lnTo>
                    <a:pt x="312" y="864"/>
                  </a:lnTo>
                  <a:lnTo>
                    <a:pt x="306" y="864"/>
                  </a:lnTo>
                  <a:lnTo>
                    <a:pt x="300" y="864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82" y="870"/>
                  </a:lnTo>
                  <a:lnTo>
                    <a:pt x="276" y="870"/>
                  </a:lnTo>
                  <a:lnTo>
                    <a:pt x="270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8" y="870"/>
                  </a:lnTo>
                  <a:lnTo>
                    <a:pt x="252" y="870"/>
                  </a:lnTo>
                  <a:lnTo>
                    <a:pt x="252" y="864"/>
                  </a:lnTo>
                  <a:lnTo>
                    <a:pt x="246" y="858"/>
                  </a:lnTo>
                  <a:lnTo>
                    <a:pt x="246" y="852"/>
                  </a:lnTo>
                  <a:lnTo>
                    <a:pt x="246" y="846"/>
                  </a:lnTo>
                  <a:lnTo>
                    <a:pt x="246" y="840"/>
                  </a:lnTo>
                  <a:lnTo>
                    <a:pt x="246" y="834"/>
                  </a:lnTo>
                  <a:lnTo>
                    <a:pt x="246" y="828"/>
                  </a:lnTo>
                  <a:lnTo>
                    <a:pt x="246" y="822"/>
                  </a:lnTo>
                  <a:lnTo>
                    <a:pt x="240" y="816"/>
                  </a:lnTo>
                  <a:lnTo>
                    <a:pt x="240" y="810"/>
                  </a:lnTo>
                  <a:lnTo>
                    <a:pt x="240" y="804"/>
                  </a:lnTo>
                  <a:lnTo>
                    <a:pt x="240" y="798"/>
                  </a:lnTo>
                  <a:lnTo>
                    <a:pt x="234" y="798"/>
                  </a:lnTo>
                  <a:lnTo>
                    <a:pt x="234" y="792"/>
                  </a:lnTo>
                  <a:lnTo>
                    <a:pt x="234" y="786"/>
                  </a:lnTo>
                  <a:lnTo>
                    <a:pt x="234" y="780"/>
                  </a:lnTo>
                  <a:lnTo>
                    <a:pt x="228" y="780"/>
                  </a:lnTo>
                  <a:lnTo>
                    <a:pt x="228" y="774"/>
                  </a:lnTo>
                  <a:lnTo>
                    <a:pt x="228" y="768"/>
                  </a:lnTo>
                  <a:lnTo>
                    <a:pt x="222" y="762"/>
                  </a:lnTo>
                  <a:lnTo>
                    <a:pt x="222" y="756"/>
                  </a:lnTo>
                  <a:lnTo>
                    <a:pt x="222" y="750"/>
                  </a:lnTo>
                  <a:lnTo>
                    <a:pt x="222" y="744"/>
                  </a:lnTo>
                  <a:lnTo>
                    <a:pt x="222" y="738"/>
                  </a:lnTo>
                  <a:lnTo>
                    <a:pt x="216" y="732"/>
                  </a:lnTo>
                  <a:lnTo>
                    <a:pt x="222" y="732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32"/>
                  </a:lnTo>
                  <a:lnTo>
                    <a:pt x="246" y="732"/>
                  </a:lnTo>
                  <a:lnTo>
                    <a:pt x="246" y="738"/>
                  </a:lnTo>
                  <a:lnTo>
                    <a:pt x="252" y="738"/>
                  </a:lnTo>
                  <a:lnTo>
                    <a:pt x="258" y="738"/>
                  </a:lnTo>
                  <a:lnTo>
                    <a:pt x="258" y="732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8" y="732"/>
                  </a:lnTo>
                  <a:lnTo>
                    <a:pt x="294" y="732"/>
                  </a:lnTo>
                  <a:lnTo>
                    <a:pt x="300" y="732"/>
                  </a:lnTo>
                  <a:lnTo>
                    <a:pt x="300" y="738"/>
                  </a:lnTo>
                  <a:lnTo>
                    <a:pt x="306" y="738"/>
                  </a:lnTo>
                  <a:lnTo>
                    <a:pt x="306" y="744"/>
                  </a:lnTo>
                  <a:lnTo>
                    <a:pt x="306" y="750"/>
                  </a:lnTo>
                  <a:lnTo>
                    <a:pt x="312" y="750"/>
                  </a:lnTo>
                  <a:lnTo>
                    <a:pt x="312" y="756"/>
                  </a:lnTo>
                  <a:lnTo>
                    <a:pt x="318" y="756"/>
                  </a:lnTo>
                  <a:lnTo>
                    <a:pt x="318" y="750"/>
                  </a:lnTo>
                  <a:lnTo>
                    <a:pt x="312" y="750"/>
                  </a:lnTo>
                  <a:lnTo>
                    <a:pt x="312" y="744"/>
                  </a:lnTo>
                  <a:lnTo>
                    <a:pt x="318" y="738"/>
                  </a:lnTo>
                  <a:lnTo>
                    <a:pt x="324" y="738"/>
                  </a:lnTo>
                  <a:lnTo>
                    <a:pt x="330" y="738"/>
                  </a:lnTo>
                  <a:lnTo>
                    <a:pt x="336" y="738"/>
                  </a:lnTo>
                  <a:lnTo>
                    <a:pt x="342" y="738"/>
                  </a:lnTo>
                  <a:lnTo>
                    <a:pt x="348" y="732"/>
                  </a:lnTo>
                  <a:lnTo>
                    <a:pt x="354" y="732"/>
                  </a:lnTo>
                  <a:lnTo>
                    <a:pt x="360" y="732"/>
                  </a:lnTo>
                  <a:lnTo>
                    <a:pt x="360" y="726"/>
                  </a:lnTo>
                  <a:lnTo>
                    <a:pt x="366" y="726"/>
                  </a:lnTo>
                  <a:lnTo>
                    <a:pt x="366" y="720"/>
                  </a:lnTo>
                  <a:lnTo>
                    <a:pt x="366" y="714"/>
                  </a:lnTo>
                  <a:lnTo>
                    <a:pt x="360" y="708"/>
                  </a:lnTo>
                  <a:lnTo>
                    <a:pt x="354" y="708"/>
                  </a:lnTo>
                  <a:lnTo>
                    <a:pt x="348" y="702"/>
                  </a:lnTo>
                  <a:lnTo>
                    <a:pt x="354" y="702"/>
                  </a:lnTo>
                  <a:lnTo>
                    <a:pt x="354" y="696"/>
                  </a:lnTo>
                  <a:lnTo>
                    <a:pt x="348" y="696"/>
                  </a:lnTo>
                  <a:lnTo>
                    <a:pt x="348" y="690"/>
                  </a:lnTo>
                  <a:lnTo>
                    <a:pt x="342" y="690"/>
                  </a:lnTo>
                  <a:lnTo>
                    <a:pt x="342" y="684"/>
                  </a:lnTo>
                  <a:lnTo>
                    <a:pt x="342" y="678"/>
                  </a:lnTo>
                  <a:lnTo>
                    <a:pt x="342" y="666"/>
                  </a:lnTo>
                  <a:lnTo>
                    <a:pt x="342" y="660"/>
                  </a:lnTo>
                  <a:lnTo>
                    <a:pt x="348" y="654"/>
                  </a:lnTo>
                  <a:lnTo>
                    <a:pt x="348" y="642"/>
                  </a:lnTo>
                  <a:lnTo>
                    <a:pt x="354" y="642"/>
                  </a:lnTo>
                  <a:lnTo>
                    <a:pt x="360" y="642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66" y="642"/>
                  </a:lnTo>
                  <a:lnTo>
                    <a:pt x="372" y="642"/>
                  </a:lnTo>
                  <a:lnTo>
                    <a:pt x="378" y="642"/>
                  </a:lnTo>
                  <a:lnTo>
                    <a:pt x="384" y="642"/>
                  </a:lnTo>
                  <a:lnTo>
                    <a:pt x="390" y="642"/>
                  </a:lnTo>
                  <a:lnTo>
                    <a:pt x="396" y="642"/>
                  </a:lnTo>
                  <a:lnTo>
                    <a:pt x="396" y="636"/>
                  </a:lnTo>
                  <a:lnTo>
                    <a:pt x="402" y="636"/>
                  </a:lnTo>
                  <a:lnTo>
                    <a:pt x="408" y="636"/>
                  </a:lnTo>
                  <a:lnTo>
                    <a:pt x="402" y="636"/>
                  </a:lnTo>
                  <a:lnTo>
                    <a:pt x="402" y="630"/>
                  </a:lnTo>
                  <a:lnTo>
                    <a:pt x="408" y="630"/>
                  </a:lnTo>
                  <a:lnTo>
                    <a:pt x="408" y="624"/>
                  </a:lnTo>
                  <a:lnTo>
                    <a:pt x="408" y="618"/>
                  </a:lnTo>
                  <a:lnTo>
                    <a:pt x="414" y="618"/>
                  </a:lnTo>
                  <a:lnTo>
                    <a:pt x="420" y="618"/>
                  </a:lnTo>
                  <a:lnTo>
                    <a:pt x="426" y="624"/>
                  </a:lnTo>
                  <a:lnTo>
                    <a:pt x="432" y="624"/>
                  </a:lnTo>
                  <a:lnTo>
                    <a:pt x="438" y="624"/>
                  </a:lnTo>
                  <a:lnTo>
                    <a:pt x="438" y="618"/>
                  </a:lnTo>
                  <a:lnTo>
                    <a:pt x="444" y="618"/>
                  </a:lnTo>
                  <a:lnTo>
                    <a:pt x="450" y="618"/>
                  </a:lnTo>
                  <a:lnTo>
                    <a:pt x="444" y="618"/>
                  </a:lnTo>
                  <a:lnTo>
                    <a:pt x="438" y="618"/>
                  </a:lnTo>
                  <a:lnTo>
                    <a:pt x="438" y="612"/>
                  </a:lnTo>
                  <a:lnTo>
                    <a:pt x="438" y="618"/>
                  </a:lnTo>
                  <a:lnTo>
                    <a:pt x="432" y="624"/>
                  </a:lnTo>
                  <a:lnTo>
                    <a:pt x="426" y="618"/>
                  </a:lnTo>
                  <a:lnTo>
                    <a:pt x="420" y="612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402" y="624"/>
                  </a:lnTo>
                  <a:lnTo>
                    <a:pt x="396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78" y="630"/>
                  </a:lnTo>
                  <a:lnTo>
                    <a:pt x="378" y="636"/>
                  </a:lnTo>
                  <a:lnTo>
                    <a:pt x="372" y="630"/>
                  </a:lnTo>
                  <a:lnTo>
                    <a:pt x="366" y="630"/>
                  </a:lnTo>
                  <a:lnTo>
                    <a:pt x="360" y="630"/>
                  </a:lnTo>
                  <a:lnTo>
                    <a:pt x="354" y="630"/>
                  </a:lnTo>
                  <a:lnTo>
                    <a:pt x="354" y="636"/>
                  </a:lnTo>
                  <a:lnTo>
                    <a:pt x="348" y="636"/>
                  </a:lnTo>
                  <a:lnTo>
                    <a:pt x="348" y="642"/>
                  </a:lnTo>
                  <a:lnTo>
                    <a:pt x="342" y="642"/>
                  </a:lnTo>
                  <a:lnTo>
                    <a:pt x="342" y="648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6" y="660"/>
                  </a:lnTo>
                  <a:lnTo>
                    <a:pt x="336" y="666"/>
                  </a:lnTo>
                  <a:lnTo>
                    <a:pt x="330" y="672"/>
                  </a:lnTo>
                  <a:lnTo>
                    <a:pt x="330" y="678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24" y="696"/>
                  </a:lnTo>
                  <a:lnTo>
                    <a:pt x="324" y="702"/>
                  </a:lnTo>
                  <a:lnTo>
                    <a:pt x="318" y="702"/>
                  </a:lnTo>
                  <a:lnTo>
                    <a:pt x="318" y="708"/>
                  </a:lnTo>
                  <a:lnTo>
                    <a:pt x="312" y="708"/>
                  </a:lnTo>
                  <a:lnTo>
                    <a:pt x="312" y="702"/>
                  </a:lnTo>
                  <a:lnTo>
                    <a:pt x="306" y="702"/>
                  </a:lnTo>
                  <a:lnTo>
                    <a:pt x="300" y="702"/>
                  </a:lnTo>
                  <a:lnTo>
                    <a:pt x="294" y="696"/>
                  </a:lnTo>
                  <a:lnTo>
                    <a:pt x="288" y="696"/>
                  </a:lnTo>
                  <a:lnTo>
                    <a:pt x="282" y="690"/>
                  </a:lnTo>
                  <a:lnTo>
                    <a:pt x="288" y="684"/>
                  </a:lnTo>
                  <a:lnTo>
                    <a:pt x="294" y="684"/>
                  </a:lnTo>
                  <a:lnTo>
                    <a:pt x="294" y="678"/>
                  </a:lnTo>
                  <a:lnTo>
                    <a:pt x="300" y="678"/>
                  </a:lnTo>
                  <a:lnTo>
                    <a:pt x="294" y="678"/>
                  </a:lnTo>
                  <a:lnTo>
                    <a:pt x="294" y="672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94" y="672"/>
                  </a:lnTo>
                  <a:lnTo>
                    <a:pt x="288" y="678"/>
                  </a:lnTo>
                  <a:lnTo>
                    <a:pt x="282" y="684"/>
                  </a:lnTo>
                  <a:lnTo>
                    <a:pt x="282" y="678"/>
                  </a:lnTo>
                  <a:lnTo>
                    <a:pt x="276" y="678"/>
                  </a:lnTo>
                  <a:lnTo>
                    <a:pt x="282" y="684"/>
                  </a:lnTo>
                  <a:lnTo>
                    <a:pt x="282" y="690"/>
                  </a:lnTo>
                  <a:lnTo>
                    <a:pt x="282" y="696"/>
                  </a:lnTo>
                  <a:lnTo>
                    <a:pt x="288" y="702"/>
                  </a:lnTo>
                  <a:lnTo>
                    <a:pt x="294" y="708"/>
                  </a:lnTo>
                  <a:lnTo>
                    <a:pt x="294" y="714"/>
                  </a:lnTo>
                  <a:lnTo>
                    <a:pt x="288" y="714"/>
                  </a:lnTo>
                  <a:lnTo>
                    <a:pt x="282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64" y="714"/>
                  </a:lnTo>
                  <a:lnTo>
                    <a:pt x="258" y="714"/>
                  </a:lnTo>
                  <a:lnTo>
                    <a:pt x="252" y="714"/>
                  </a:lnTo>
                  <a:lnTo>
                    <a:pt x="246" y="714"/>
                  </a:lnTo>
                  <a:lnTo>
                    <a:pt x="240" y="714"/>
                  </a:lnTo>
                  <a:lnTo>
                    <a:pt x="240" y="708"/>
                  </a:lnTo>
                  <a:lnTo>
                    <a:pt x="234" y="708"/>
                  </a:lnTo>
                  <a:lnTo>
                    <a:pt x="228" y="708"/>
                  </a:lnTo>
                  <a:lnTo>
                    <a:pt x="222" y="702"/>
                  </a:lnTo>
                  <a:lnTo>
                    <a:pt x="216" y="702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2" y="690"/>
                  </a:lnTo>
                  <a:lnTo>
                    <a:pt x="186" y="690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68" y="684"/>
                  </a:lnTo>
                  <a:lnTo>
                    <a:pt x="168" y="678"/>
                  </a:lnTo>
                  <a:lnTo>
                    <a:pt x="156" y="672"/>
                  </a:lnTo>
                  <a:lnTo>
                    <a:pt x="150" y="660"/>
                  </a:lnTo>
                  <a:lnTo>
                    <a:pt x="126" y="630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12"/>
                  </a:lnTo>
                  <a:lnTo>
                    <a:pt x="126" y="606"/>
                  </a:lnTo>
                  <a:lnTo>
                    <a:pt x="126" y="600"/>
                  </a:lnTo>
                  <a:lnTo>
                    <a:pt x="132" y="594"/>
                  </a:lnTo>
                  <a:lnTo>
                    <a:pt x="138" y="594"/>
                  </a:lnTo>
                  <a:lnTo>
                    <a:pt x="144" y="588"/>
                  </a:lnTo>
                  <a:lnTo>
                    <a:pt x="144" y="582"/>
                  </a:lnTo>
                  <a:lnTo>
                    <a:pt x="150" y="582"/>
                  </a:lnTo>
                  <a:lnTo>
                    <a:pt x="150" y="576"/>
                  </a:lnTo>
                  <a:lnTo>
                    <a:pt x="156" y="576"/>
                  </a:lnTo>
                  <a:lnTo>
                    <a:pt x="156" y="582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8" y="576"/>
                  </a:lnTo>
                  <a:lnTo>
                    <a:pt x="174" y="576"/>
                  </a:lnTo>
                  <a:lnTo>
                    <a:pt x="180" y="582"/>
                  </a:lnTo>
                  <a:lnTo>
                    <a:pt x="192" y="582"/>
                  </a:lnTo>
                  <a:lnTo>
                    <a:pt x="198" y="582"/>
                  </a:lnTo>
                  <a:lnTo>
                    <a:pt x="204" y="582"/>
                  </a:lnTo>
                  <a:lnTo>
                    <a:pt x="210" y="582"/>
                  </a:lnTo>
                  <a:lnTo>
                    <a:pt x="216" y="588"/>
                  </a:lnTo>
                  <a:lnTo>
                    <a:pt x="222" y="588"/>
                  </a:lnTo>
                  <a:lnTo>
                    <a:pt x="234" y="588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46" y="594"/>
                  </a:lnTo>
                  <a:lnTo>
                    <a:pt x="252" y="588"/>
                  </a:lnTo>
                  <a:lnTo>
                    <a:pt x="258" y="588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52" y="600"/>
                  </a:lnTo>
                  <a:lnTo>
                    <a:pt x="246" y="600"/>
                  </a:lnTo>
                  <a:lnTo>
                    <a:pt x="246" y="606"/>
                  </a:lnTo>
                  <a:lnTo>
                    <a:pt x="246" y="600"/>
                  </a:lnTo>
                  <a:lnTo>
                    <a:pt x="252" y="600"/>
                  </a:lnTo>
                  <a:lnTo>
                    <a:pt x="258" y="594"/>
                  </a:lnTo>
                  <a:lnTo>
                    <a:pt x="264" y="594"/>
                  </a:lnTo>
                  <a:lnTo>
                    <a:pt x="264" y="588"/>
                  </a:lnTo>
                  <a:lnTo>
                    <a:pt x="270" y="588"/>
                  </a:lnTo>
                  <a:lnTo>
                    <a:pt x="270" y="582"/>
                  </a:lnTo>
                  <a:lnTo>
                    <a:pt x="270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76" y="564"/>
                  </a:lnTo>
                  <a:lnTo>
                    <a:pt x="270" y="558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58"/>
                  </a:lnTo>
                  <a:lnTo>
                    <a:pt x="282" y="558"/>
                  </a:lnTo>
                  <a:lnTo>
                    <a:pt x="288" y="558"/>
                  </a:lnTo>
                  <a:lnTo>
                    <a:pt x="294" y="558"/>
                  </a:lnTo>
                  <a:lnTo>
                    <a:pt x="300" y="558"/>
                  </a:lnTo>
                  <a:lnTo>
                    <a:pt x="306" y="558"/>
                  </a:lnTo>
                  <a:lnTo>
                    <a:pt x="312" y="558"/>
                  </a:lnTo>
                  <a:lnTo>
                    <a:pt x="318" y="558"/>
                  </a:lnTo>
                  <a:lnTo>
                    <a:pt x="318" y="564"/>
                  </a:lnTo>
                  <a:lnTo>
                    <a:pt x="324" y="564"/>
                  </a:lnTo>
                  <a:lnTo>
                    <a:pt x="324" y="570"/>
                  </a:lnTo>
                  <a:lnTo>
                    <a:pt x="330" y="570"/>
                  </a:lnTo>
                  <a:lnTo>
                    <a:pt x="336" y="570"/>
                  </a:lnTo>
                  <a:lnTo>
                    <a:pt x="342" y="570"/>
                  </a:lnTo>
                  <a:lnTo>
                    <a:pt x="348" y="570"/>
                  </a:lnTo>
                  <a:lnTo>
                    <a:pt x="354" y="570"/>
                  </a:lnTo>
                  <a:lnTo>
                    <a:pt x="360" y="570"/>
                  </a:lnTo>
                  <a:lnTo>
                    <a:pt x="366" y="570"/>
                  </a:lnTo>
                  <a:lnTo>
                    <a:pt x="360" y="570"/>
                  </a:lnTo>
                  <a:lnTo>
                    <a:pt x="360" y="564"/>
                  </a:lnTo>
                  <a:lnTo>
                    <a:pt x="354" y="564"/>
                  </a:lnTo>
                  <a:lnTo>
                    <a:pt x="348" y="564"/>
                  </a:lnTo>
                  <a:lnTo>
                    <a:pt x="342" y="564"/>
                  </a:lnTo>
                  <a:lnTo>
                    <a:pt x="342" y="570"/>
                  </a:lnTo>
                  <a:lnTo>
                    <a:pt x="336" y="564"/>
                  </a:lnTo>
                  <a:lnTo>
                    <a:pt x="336" y="570"/>
                  </a:lnTo>
                  <a:lnTo>
                    <a:pt x="336" y="564"/>
                  </a:lnTo>
                  <a:lnTo>
                    <a:pt x="330" y="564"/>
                  </a:lnTo>
                  <a:lnTo>
                    <a:pt x="324" y="558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18" y="558"/>
                  </a:lnTo>
                  <a:lnTo>
                    <a:pt x="312" y="552"/>
                  </a:lnTo>
                  <a:lnTo>
                    <a:pt x="312" y="558"/>
                  </a:lnTo>
                  <a:lnTo>
                    <a:pt x="312" y="552"/>
                  </a:lnTo>
                  <a:lnTo>
                    <a:pt x="306" y="552"/>
                  </a:lnTo>
                  <a:lnTo>
                    <a:pt x="300" y="546"/>
                  </a:lnTo>
                  <a:lnTo>
                    <a:pt x="294" y="546"/>
                  </a:lnTo>
                  <a:lnTo>
                    <a:pt x="288" y="546"/>
                  </a:lnTo>
                  <a:lnTo>
                    <a:pt x="282" y="546"/>
                  </a:lnTo>
                  <a:lnTo>
                    <a:pt x="276" y="546"/>
                  </a:lnTo>
                  <a:lnTo>
                    <a:pt x="276" y="552"/>
                  </a:lnTo>
                  <a:lnTo>
                    <a:pt x="270" y="552"/>
                  </a:lnTo>
                  <a:lnTo>
                    <a:pt x="270" y="558"/>
                  </a:lnTo>
                  <a:lnTo>
                    <a:pt x="270" y="564"/>
                  </a:lnTo>
                  <a:lnTo>
                    <a:pt x="264" y="570"/>
                  </a:lnTo>
                  <a:lnTo>
                    <a:pt x="258" y="576"/>
                  </a:lnTo>
                  <a:lnTo>
                    <a:pt x="258" y="582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34" y="576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16" y="552"/>
                  </a:lnTo>
                  <a:lnTo>
                    <a:pt x="216" y="546"/>
                  </a:lnTo>
                  <a:lnTo>
                    <a:pt x="216" y="540"/>
                  </a:lnTo>
                  <a:lnTo>
                    <a:pt x="222" y="534"/>
                  </a:lnTo>
                  <a:lnTo>
                    <a:pt x="222" y="528"/>
                  </a:lnTo>
                  <a:lnTo>
                    <a:pt x="228" y="522"/>
                  </a:lnTo>
                  <a:lnTo>
                    <a:pt x="228" y="516"/>
                  </a:lnTo>
                  <a:lnTo>
                    <a:pt x="228" y="510"/>
                  </a:lnTo>
                  <a:lnTo>
                    <a:pt x="234" y="510"/>
                  </a:lnTo>
                  <a:lnTo>
                    <a:pt x="240" y="516"/>
                  </a:lnTo>
                  <a:lnTo>
                    <a:pt x="246" y="522"/>
                  </a:lnTo>
                  <a:lnTo>
                    <a:pt x="246" y="516"/>
                  </a:lnTo>
                  <a:lnTo>
                    <a:pt x="240" y="516"/>
                  </a:lnTo>
                  <a:lnTo>
                    <a:pt x="240" y="510"/>
                  </a:lnTo>
                  <a:lnTo>
                    <a:pt x="234" y="510"/>
                  </a:lnTo>
                  <a:lnTo>
                    <a:pt x="234" y="504"/>
                  </a:lnTo>
                  <a:lnTo>
                    <a:pt x="228" y="504"/>
                  </a:lnTo>
                  <a:lnTo>
                    <a:pt x="222" y="504"/>
                  </a:lnTo>
                  <a:lnTo>
                    <a:pt x="222" y="498"/>
                  </a:lnTo>
                  <a:lnTo>
                    <a:pt x="222" y="504"/>
                  </a:lnTo>
                  <a:lnTo>
                    <a:pt x="222" y="510"/>
                  </a:lnTo>
                  <a:lnTo>
                    <a:pt x="222" y="516"/>
                  </a:lnTo>
                  <a:lnTo>
                    <a:pt x="216" y="522"/>
                  </a:lnTo>
                  <a:lnTo>
                    <a:pt x="216" y="528"/>
                  </a:lnTo>
                  <a:lnTo>
                    <a:pt x="210" y="528"/>
                  </a:lnTo>
                  <a:lnTo>
                    <a:pt x="216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04" y="546"/>
                  </a:lnTo>
                  <a:lnTo>
                    <a:pt x="204" y="552"/>
                  </a:lnTo>
                  <a:lnTo>
                    <a:pt x="204" y="558"/>
                  </a:lnTo>
                  <a:lnTo>
                    <a:pt x="204" y="564"/>
                  </a:lnTo>
                  <a:lnTo>
                    <a:pt x="198" y="570"/>
                  </a:lnTo>
                  <a:lnTo>
                    <a:pt x="192" y="564"/>
                  </a:lnTo>
                  <a:lnTo>
                    <a:pt x="186" y="564"/>
                  </a:lnTo>
                  <a:lnTo>
                    <a:pt x="180" y="564"/>
                  </a:lnTo>
                  <a:lnTo>
                    <a:pt x="174" y="564"/>
                  </a:lnTo>
                  <a:lnTo>
                    <a:pt x="168" y="564"/>
                  </a:lnTo>
                  <a:lnTo>
                    <a:pt x="162" y="564"/>
                  </a:lnTo>
                  <a:lnTo>
                    <a:pt x="156" y="570"/>
                  </a:lnTo>
                  <a:lnTo>
                    <a:pt x="150" y="570"/>
                  </a:lnTo>
                  <a:lnTo>
                    <a:pt x="150" y="564"/>
                  </a:lnTo>
                  <a:lnTo>
                    <a:pt x="150" y="570"/>
                  </a:lnTo>
                  <a:lnTo>
                    <a:pt x="150" y="576"/>
                  </a:lnTo>
                  <a:lnTo>
                    <a:pt x="144" y="576"/>
                  </a:lnTo>
                  <a:lnTo>
                    <a:pt x="138" y="576"/>
                  </a:lnTo>
                  <a:lnTo>
                    <a:pt x="132" y="582"/>
                  </a:lnTo>
                  <a:lnTo>
                    <a:pt x="126" y="582"/>
                  </a:lnTo>
                  <a:lnTo>
                    <a:pt x="120" y="582"/>
                  </a:lnTo>
                  <a:lnTo>
                    <a:pt x="114" y="576"/>
                  </a:lnTo>
                  <a:lnTo>
                    <a:pt x="108" y="564"/>
                  </a:lnTo>
                  <a:lnTo>
                    <a:pt x="102" y="558"/>
                  </a:lnTo>
                  <a:lnTo>
                    <a:pt x="96" y="552"/>
                  </a:lnTo>
                  <a:lnTo>
                    <a:pt x="90" y="546"/>
                  </a:lnTo>
                  <a:lnTo>
                    <a:pt x="90" y="540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2"/>
                  </a:lnTo>
                  <a:lnTo>
                    <a:pt x="78" y="516"/>
                  </a:lnTo>
                  <a:lnTo>
                    <a:pt x="72" y="510"/>
                  </a:lnTo>
                  <a:lnTo>
                    <a:pt x="66" y="504"/>
                  </a:lnTo>
                  <a:lnTo>
                    <a:pt x="66" y="498"/>
                  </a:lnTo>
                  <a:lnTo>
                    <a:pt x="66" y="492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6" y="474"/>
                  </a:lnTo>
                  <a:lnTo>
                    <a:pt x="72" y="474"/>
                  </a:lnTo>
                  <a:lnTo>
                    <a:pt x="72" y="468"/>
                  </a:lnTo>
                  <a:lnTo>
                    <a:pt x="78" y="462"/>
                  </a:lnTo>
                  <a:lnTo>
                    <a:pt x="78" y="456"/>
                  </a:lnTo>
                  <a:lnTo>
                    <a:pt x="84" y="456"/>
                  </a:lnTo>
                  <a:lnTo>
                    <a:pt x="84" y="450"/>
                  </a:lnTo>
                  <a:lnTo>
                    <a:pt x="84" y="444"/>
                  </a:lnTo>
                  <a:lnTo>
                    <a:pt x="90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02" y="450"/>
                  </a:lnTo>
                  <a:lnTo>
                    <a:pt x="108" y="450"/>
                  </a:lnTo>
                  <a:lnTo>
                    <a:pt x="108" y="456"/>
                  </a:lnTo>
                  <a:lnTo>
                    <a:pt x="108" y="462"/>
                  </a:lnTo>
                  <a:lnTo>
                    <a:pt x="114" y="462"/>
                  </a:lnTo>
                  <a:lnTo>
                    <a:pt x="114" y="468"/>
                  </a:lnTo>
                  <a:lnTo>
                    <a:pt x="114" y="474"/>
                  </a:lnTo>
                  <a:lnTo>
                    <a:pt x="114" y="480"/>
                  </a:lnTo>
                  <a:lnTo>
                    <a:pt x="114" y="486"/>
                  </a:lnTo>
                  <a:lnTo>
                    <a:pt x="120" y="486"/>
                  </a:lnTo>
                  <a:lnTo>
                    <a:pt x="126" y="486"/>
                  </a:lnTo>
                  <a:lnTo>
                    <a:pt x="132" y="486"/>
                  </a:lnTo>
                  <a:lnTo>
                    <a:pt x="126" y="480"/>
                  </a:lnTo>
                  <a:lnTo>
                    <a:pt x="120" y="480"/>
                  </a:lnTo>
                  <a:lnTo>
                    <a:pt x="114" y="480"/>
                  </a:lnTo>
                  <a:lnTo>
                    <a:pt x="120" y="480"/>
                  </a:lnTo>
                  <a:lnTo>
                    <a:pt x="120" y="474"/>
                  </a:lnTo>
                  <a:lnTo>
                    <a:pt x="120" y="468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108" y="450"/>
                  </a:lnTo>
                  <a:lnTo>
                    <a:pt x="108" y="444"/>
                  </a:lnTo>
                  <a:lnTo>
                    <a:pt x="114" y="438"/>
                  </a:lnTo>
                  <a:lnTo>
                    <a:pt x="120" y="438"/>
                  </a:lnTo>
                  <a:lnTo>
                    <a:pt x="120" y="432"/>
                  </a:lnTo>
                  <a:lnTo>
                    <a:pt x="132" y="426"/>
                  </a:lnTo>
                  <a:lnTo>
                    <a:pt x="138" y="420"/>
                  </a:lnTo>
                  <a:lnTo>
                    <a:pt x="144" y="420"/>
                  </a:lnTo>
                  <a:lnTo>
                    <a:pt x="144" y="414"/>
                  </a:lnTo>
                  <a:lnTo>
                    <a:pt x="144" y="420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6" y="414"/>
                  </a:lnTo>
                  <a:lnTo>
                    <a:pt x="162" y="414"/>
                  </a:lnTo>
                  <a:lnTo>
                    <a:pt x="162" y="408"/>
                  </a:lnTo>
                  <a:lnTo>
                    <a:pt x="168" y="408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86" y="396"/>
                  </a:lnTo>
                  <a:lnTo>
                    <a:pt x="186" y="390"/>
                  </a:lnTo>
                  <a:lnTo>
                    <a:pt x="192" y="390"/>
                  </a:lnTo>
                  <a:lnTo>
                    <a:pt x="198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210" y="378"/>
                  </a:lnTo>
                  <a:lnTo>
                    <a:pt x="210" y="372"/>
                  </a:lnTo>
                  <a:lnTo>
                    <a:pt x="216" y="372"/>
                  </a:lnTo>
                  <a:lnTo>
                    <a:pt x="222" y="366"/>
                  </a:lnTo>
                  <a:lnTo>
                    <a:pt x="228" y="360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6" y="348"/>
                  </a:lnTo>
                  <a:lnTo>
                    <a:pt x="252" y="348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0" y="342"/>
                  </a:lnTo>
                  <a:lnTo>
                    <a:pt x="234" y="342"/>
                  </a:lnTo>
                  <a:lnTo>
                    <a:pt x="228" y="336"/>
                  </a:lnTo>
                  <a:lnTo>
                    <a:pt x="222" y="336"/>
                  </a:lnTo>
                  <a:lnTo>
                    <a:pt x="216" y="336"/>
                  </a:lnTo>
                  <a:lnTo>
                    <a:pt x="222" y="324"/>
                  </a:lnTo>
                  <a:lnTo>
                    <a:pt x="222" y="318"/>
                  </a:lnTo>
                  <a:lnTo>
                    <a:pt x="222" y="312"/>
                  </a:lnTo>
                  <a:lnTo>
                    <a:pt x="234" y="318"/>
                  </a:lnTo>
                  <a:lnTo>
                    <a:pt x="246" y="318"/>
                  </a:lnTo>
                  <a:lnTo>
                    <a:pt x="258" y="318"/>
                  </a:lnTo>
                  <a:lnTo>
                    <a:pt x="270" y="312"/>
                  </a:lnTo>
                  <a:lnTo>
                    <a:pt x="276" y="312"/>
                  </a:lnTo>
                  <a:lnTo>
                    <a:pt x="288" y="324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94" y="306"/>
                  </a:lnTo>
                  <a:lnTo>
                    <a:pt x="300" y="300"/>
                  </a:lnTo>
                  <a:lnTo>
                    <a:pt x="306" y="306"/>
                  </a:lnTo>
                  <a:lnTo>
                    <a:pt x="312" y="318"/>
                  </a:lnTo>
                  <a:lnTo>
                    <a:pt x="318" y="312"/>
                  </a:lnTo>
                  <a:lnTo>
                    <a:pt x="324" y="312"/>
                  </a:lnTo>
                  <a:lnTo>
                    <a:pt x="330" y="312"/>
                  </a:lnTo>
                  <a:lnTo>
                    <a:pt x="342" y="306"/>
                  </a:lnTo>
                  <a:lnTo>
                    <a:pt x="348" y="306"/>
                  </a:lnTo>
                  <a:lnTo>
                    <a:pt x="348" y="312"/>
                  </a:lnTo>
                  <a:lnTo>
                    <a:pt x="348" y="318"/>
                  </a:lnTo>
                  <a:lnTo>
                    <a:pt x="354" y="318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60" y="336"/>
                  </a:lnTo>
                  <a:lnTo>
                    <a:pt x="366" y="330"/>
                  </a:lnTo>
                  <a:lnTo>
                    <a:pt x="378" y="324"/>
                  </a:lnTo>
                  <a:lnTo>
                    <a:pt x="384" y="324"/>
                  </a:lnTo>
                  <a:lnTo>
                    <a:pt x="384" y="318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6"/>
                  </a:lnTo>
                  <a:lnTo>
                    <a:pt x="402" y="306"/>
                  </a:lnTo>
                  <a:lnTo>
                    <a:pt x="408" y="306"/>
                  </a:lnTo>
                  <a:lnTo>
                    <a:pt x="414" y="300"/>
                  </a:lnTo>
                  <a:lnTo>
                    <a:pt x="420" y="300"/>
                  </a:lnTo>
                  <a:lnTo>
                    <a:pt x="426" y="300"/>
                  </a:lnTo>
                  <a:lnTo>
                    <a:pt x="432" y="300"/>
                  </a:lnTo>
                  <a:lnTo>
                    <a:pt x="444" y="288"/>
                  </a:lnTo>
                  <a:lnTo>
                    <a:pt x="450" y="294"/>
                  </a:lnTo>
                  <a:lnTo>
                    <a:pt x="468" y="300"/>
                  </a:lnTo>
                  <a:lnTo>
                    <a:pt x="498" y="312"/>
                  </a:lnTo>
                  <a:lnTo>
                    <a:pt x="504" y="324"/>
                  </a:lnTo>
                  <a:lnTo>
                    <a:pt x="516" y="330"/>
                  </a:lnTo>
                  <a:lnTo>
                    <a:pt x="516" y="336"/>
                  </a:lnTo>
                  <a:lnTo>
                    <a:pt x="540" y="342"/>
                  </a:lnTo>
                  <a:lnTo>
                    <a:pt x="558" y="372"/>
                  </a:lnTo>
                  <a:lnTo>
                    <a:pt x="594" y="384"/>
                  </a:lnTo>
                  <a:lnTo>
                    <a:pt x="606" y="402"/>
                  </a:lnTo>
                  <a:lnTo>
                    <a:pt x="600" y="420"/>
                  </a:lnTo>
                  <a:lnTo>
                    <a:pt x="588" y="444"/>
                  </a:lnTo>
                  <a:lnTo>
                    <a:pt x="588" y="450"/>
                  </a:lnTo>
                  <a:lnTo>
                    <a:pt x="588" y="456"/>
                  </a:lnTo>
                  <a:lnTo>
                    <a:pt x="594" y="456"/>
                  </a:lnTo>
                  <a:lnTo>
                    <a:pt x="594" y="462"/>
                  </a:lnTo>
                  <a:lnTo>
                    <a:pt x="594" y="468"/>
                  </a:lnTo>
                  <a:lnTo>
                    <a:pt x="594" y="474"/>
                  </a:lnTo>
                  <a:lnTo>
                    <a:pt x="600" y="474"/>
                  </a:lnTo>
                  <a:lnTo>
                    <a:pt x="606" y="480"/>
                  </a:lnTo>
                  <a:lnTo>
                    <a:pt x="606" y="486"/>
                  </a:lnTo>
                  <a:lnTo>
                    <a:pt x="612" y="486"/>
                  </a:lnTo>
                  <a:lnTo>
                    <a:pt x="618" y="486"/>
                  </a:lnTo>
                  <a:lnTo>
                    <a:pt x="624" y="486"/>
                  </a:lnTo>
                  <a:lnTo>
                    <a:pt x="636" y="486"/>
                  </a:lnTo>
                  <a:lnTo>
                    <a:pt x="642" y="486"/>
                  </a:lnTo>
                  <a:lnTo>
                    <a:pt x="648" y="480"/>
                  </a:lnTo>
                  <a:lnTo>
                    <a:pt x="654" y="474"/>
                  </a:lnTo>
                  <a:lnTo>
                    <a:pt x="660" y="468"/>
                  </a:lnTo>
                  <a:lnTo>
                    <a:pt x="666" y="468"/>
                  </a:lnTo>
                  <a:lnTo>
                    <a:pt x="684" y="468"/>
                  </a:lnTo>
                  <a:lnTo>
                    <a:pt x="696" y="468"/>
                  </a:lnTo>
                  <a:lnTo>
                    <a:pt x="696" y="462"/>
                  </a:lnTo>
                  <a:lnTo>
                    <a:pt x="702" y="456"/>
                  </a:lnTo>
                  <a:lnTo>
                    <a:pt x="708" y="450"/>
                  </a:lnTo>
                  <a:lnTo>
                    <a:pt x="714" y="450"/>
                  </a:lnTo>
                  <a:lnTo>
                    <a:pt x="720" y="450"/>
                  </a:lnTo>
                  <a:lnTo>
                    <a:pt x="720" y="438"/>
                  </a:lnTo>
                  <a:lnTo>
                    <a:pt x="726" y="432"/>
                  </a:lnTo>
                  <a:lnTo>
                    <a:pt x="738" y="420"/>
                  </a:lnTo>
                  <a:lnTo>
                    <a:pt x="744" y="420"/>
                  </a:lnTo>
                  <a:lnTo>
                    <a:pt x="750" y="414"/>
                  </a:lnTo>
                  <a:lnTo>
                    <a:pt x="762" y="408"/>
                  </a:lnTo>
                  <a:lnTo>
                    <a:pt x="768" y="408"/>
                  </a:lnTo>
                  <a:lnTo>
                    <a:pt x="768" y="402"/>
                  </a:lnTo>
                  <a:lnTo>
                    <a:pt x="780" y="396"/>
                  </a:lnTo>
                  <a:lnTo>
                    <a:pt x="786" y="396"/>
                  </a:lnTo>
                  <a:lnTo>
                    <a:pt x="786" y="390"/>
                  </a:lnTo>
                  <a:lnTo>
                    <a:pt x="792" y="384"/>
                  </a:lnTo>
                  <a:lnTo>
                    <a:pt x="792" y="378"/>
                  </a:lnTo>
                  <a:lnTo>
                    <a:pt x="798" y="366"/>
                  </a:lnTo>
                  <a:lnTo>
                    <a:pt x="804" y="360"/>
                  </a:lnTo>
                  <a:lnTo>
                    <a:pt x="816" y="342"/>
                  </a:lnTo>
                  <a:lnTo>
                    <a:pt x="816" y="312"/>
                  </a:lnTo>
                  <a:lnTo>
                    <a:pt x="804" y="300"/>
                  </a:lnTo>
                  <a:lnTo>
                    <a:pt x="798" y="288"/>
                  </a:lnTo>
                  <a:lnTo>
                    <a:pt x="762" y="264"/>
                  </a:lnTo>
                  <a:lnTo>
                    <a:pt x="738" y="234"/>
                  </a:lnTo>
                  <a:lnTo>
                    <a:pt x="738" y="222"/>
                  </a:lnTo>
                  <a:lnTo>
                    <a:pt x="744" y="210"/>
                  </a:lnTo>
                  <a:lnTo>
                    <a:pt x="732" y="174"/>
                  </a:lnTo>
                  <a:lnTo>
                    <a:pt x="714" y="156"/>
                  </a:lnTo>
                  <a:lnTo>
                    <a:pt x="708" y="144"/>
                  </a:lnTo>
                  <a:lnTo>
                    <a:pt x="714" y="126"/>
                  </a:lnTo>
                  <a:lnTo>
                    <a:pt x="720" y="114"/>
                  </a:lnTo>
                  <a:lnTo>
                    <a:pt x="732" y="102"/>
                  </a:lnTo>
                  <a:lnTo>
                    <a:pt x="744" y="102"/>
                  </a:lnTo>
                  <a:lnTo>
                    <a:pt x="762" y="108"/>
                  </a:lnTo>
                  <a:lnTo>
                    <a:pt x="774" y="114"/>
                  </a:lnTo>
                  <a:lnTo>
                    <a:pt x="780" y="138"/>
                  </a:lnTo>
                  <a:lnTo>
                    <a:pt x="786" y="144"/>
                  </a:lnTo>
                  <a:lnTo>
                    <a:pt x="798" y="138"/>
                  </a:lnTo>
                  <a:lnTo>
                    <a:pt x="804" y="132"/>
                  </a:lnTo>
                  <a:lnTo>
                    <a:pt x="816" y="120"/>
                  </a:lnTo>
                  <a:lnTo>
                    <a:pt x="816" y="108"/>
                  </a:lnTo>
                  <a:lnTo>
                    <a:pt x="828" y="102"/>
                  </a:lnTo>
                  <a:lnTo>
                    <a:pt x="828" y="96"/>
                  </a:lnTo>
                  <a:lnTo>
                    <a:pt x="840" y="96"/>
                  </a:lnTo>
                  <a:lnTo>
                    <a:pt x="840" y="84"/>
                  </a:lnTo>
                  <a:lnTo>
                    <a:pt x="852" y="90"/>
                  </a:lnTo>
                  <a:lnTo>
                    <a:pt x="852" y="96"/>
                  </a:lnTo>
                  <a:lnTo>
                    <a:pt x="870" y="90"/>
                  </a:lnTo>
                  <a:lnTo>
                    <a:pt x="894" y="78"/>
                  </a:lnTo>
                  <a:lnTo>
                    <a:pt x="912" y="78"/>
                  </a:lnTo>
                  <a:lnTo>
                    <a:pt x="942" y="66"/>
                  </a:lnTo>
                  <a:lnTo>
                    <a:pt x="942" y="60"/>
                  </a:lnTo>
                  <a:lnTo>
                    <a:pt x="954" y="48"/>
                  </a:lnTo>
                  <a:lnTo>
                    <a:pt x="966" y="30"/>
                  </a:lnTo>
                  <a:lnTo>
                    <a:pt x="978" y="30"/>
                  </a:lnTo>
                  <a:lnTo>
                    <a:pt x="978" y="24"/>
                  </a:lnTo>
                  <a:lnTo>
                    <a:pt x="984" y="12"/>
                  </a:lnTo>
                  <a:lnTo>
                    <a:pt x="990" y="12"/>
                  </a:lnTo>
                  <a:lnTo>
                    <a:pt x="996" y="12"/>
                  </a:lnTo>
                  <a:lnTo>
                    <a:pt x="1014" y="6"/>
                  </a:lnTo>
                  <a:lnTo>
                    <a:pt x="1026" y="6"/>
                  </a:lnTo>
                  <a:lnTo>
                    <a:pt x="1044" y="6"/>
                  </a:lnTo>
                  <a:lnTo>
                    <a:pt x="1050" y="6"/>
                  </a:lnTo>
                  <a:lnTo>
                    <a:pt x="1056" y="6"/>
                  </a:lnTo>
                  <a:lnTo>
                    <a:pt x="1062" y="6"/>
                  </a:lnTo>
                  <a:lnTo>
                    <a:pt x="1068" y="6"/>
                  </a:lnTo>
                  <a:lnTo>
                    <a:pt x="1074" y="6"/>
                  </a:lnTo>
                  <a:lnTo>
                    <a:pt x="1080" y="6"/>
                  </a:lnTo>
                  <a:lnTo>
                    <a:pt x="1086" y="0"/>
                  </a:lnTo>
                  <a:lnTo>
                    <a:pt x="1092" y="30"/>
                  </a:lnTo>
                  <a:lnTo>
                    <a:pt x="1098" y="60"/>
                  </a:lnTo>
                  <a:lnTo>
                    <a:pt x="1110" y="84"/>
                  </a:lnTo>
                  <a:lnTo>
                    <a:pt x="1122" y="114"/>
                  </a:lnTo>
                  <a:lnTo>
                    <a:pt x="1128" y="144"/>
                  </a:lnTo>
                  <a:lnTo>
                    <a:pt x="1122" y="156"/>
                  </a:lnTo>
                  <a:lnTo>
                    <a:pt x="1128" y="168"/>
                  </a:lnTo>
                  <a:lnTo>
                    <a:pt x="1134" y="186"/>
                  </a:lnTo>
                  <a:lnTo>
                    <a:pt x="1140" y="204"/>
                  </a:lnTo>
                  <a:lnTo>
                    <a:pt x="1146" y="210"/>
                  </a:lnTo>
                  <a:lnTo>
                    <a:pt x="1146" y="216"/>
                  </a:lnTo>
                  <a:lnTo>
                    <a:pt x="1146" y="228"/>
                  </a:lnTo>
                  <a:lnTo>
                    <a:pt x="1146" y="234"/>
                  </a:lnTo>
                  <a:lnTo>
                    <a:pt x="1140" y="246"/>
                  </a:lnTo>
                  <a:lnTo>
                    <a:pt x="1128" y="258"/>
                  </a:lnTo>
                  <a:lnTo>
                    <a:pt x="1116" y="264"/>
                  </a:lnTo>
                  <a:lnTo>
                    <a:pt x="1110" y="276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2" y="312"/>
                  </a:lnTo>
                  <a:lnTo>
                    <a:pt x="1116" y="324"/>
                  </a:lnTo>
                  <a:lnTo>
                    <a:pt x="1104" y="336"/>
                  </a:lnTo>
                  <a:lnTo>
                    <a:pt x="1104" y="354"/>
                  </a:lnTo>
                  <a:lnTo>
                    <a:pt x="1098" y="372"/>
                  </a:lnTo>
                  <a:lnTo>
                    <a:pt x="1092" y="384"/>
                  </a:lnTo>
                  <a:lnTo>
                    <a:pt x="1086" y="390"/>
                  </a:lnTo>
                  <a:lnTo>
                    <a:pt x="1086" y="402"/>
                  </a:lnTo>
                  <a:lnTo>
                    <a:pt x="1080" y="414"/>
                  </a:lnTo>
                  <a:lnTo>
                    <a:pt x="1074" y="426"/>
                  </a:lnTo>
                  <a:lnTo>
                    <a:pt x="1074" y="450"/>
                  </a:lnTo>
                  <a:lnTo>
                    <a:pt x="1074" y="462"/>
                  </a:lnTo>
                  <a:lnTo>
                    <a:pt x="1068" y="474"/>
                  </a:lnTo>
                  <a:lnTo>
                    <a:pt x="1062" y="486"/>
                  </a:lnTo>
                  <a:lnTo>
                    <a:pt x="1056" y="498"/>
                  </a:lnTo>
                  <a:close/>
                  <a:moveTo>
                    <a:pt x="186" y="378"/>
                  </a:moveTo>
                  <a:lnTo>
                    <a:pt x="186" y="384"/>
                  </a:lnTo>
                  <a:lnTo>
                    <a:pt x="180" y="390"/>
                  </a:lnTo>
                  <a:lnTo>
                    <a:pt x="174" y="396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14"/>
                  </a:lnTo>
                  <a:lnTo>
                    <a:pt x="126" y="414"/>
                  </a:lnTo>
                  <a:lnTo>
                    <a:pt x="120" y="414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2" y="426"/>
                  </a:lnTo>
                  <a:lnTo>
                    <a:pt x="102" y="432"/>
                  </a:lnTo>
                  <a:lnTo>
                    <a:pt x="96" y="432"/>
                  </a:lnTo>
                  <a:lnTo>
                    <a:pt x="90" y="432"/>
                  </a:lnTo>
                  <a:lnTo>
                    <a:pt x="84" y="438"/>
                  </a:lnTo>
                  <a:lnTo>
                    <a:pt x="78" y="438"/>
                  </a:lnTo>
                  <a:lnTo>
                    <a:pt x="78" y="444"/>
                  </a:lnTo>
                  <a:lnTo>
                    <a:pt x="72" y="444"/>
                  </a:lnTo>
                  <a:lnTo>
                    <a:pt x="72" y="450"/>
                  </a:lnTo>
                  <a:lnTo>
                    <a:pt x="66" y="456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48" y="468"/>
                  </a:lnTo>
                  <a:lnTo>
                    <a:pt x="42" y="468"/>
                  </a:lnTo>
                  <a:lnTo>
                    <a:pt x="42" y="462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8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0" y="396"/>
                  </a:lnTo>
                  <a:lnTo>
                    <a:pt x="6" y="384"/>
                  </a:lnTo>
                  <a:lnTo>
                    <a:pt x="18" y="372"/>
                  </a:lnTo>
                  <a:lnTo>
                    <a:pt x="30" y="348"/>
                  </a:lnTo>
                  <a:lnTo>
                    <a:pt x="30" y="342"/>
                  </a:lnTo>
                  <a:lnTo>
                    <a:pt x="42" y="330"/>
                  </a:lnTo>
                  <a:lnTo>
                    <a:pt x="42" y="324"/>
                  </a:lnTo>
                  <a:lnTo>
                    <a:pt x="48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60" y="282"/>
                  </a:lnTo>
                  <a:lnTo>
                    <a:pt x="60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2" y="258"/>
                  </a:lnTo>
                  <a:lnTo>
                    <a:pt x="84" y="246"/>
                  </a:lnTo>
                  <a:lnTo>
                    <a:pt x="90" y="234"/>
                  </a:lnTo>
                  <a:lnTo>
                    <a:pt x="96" y="234"/>
                  </a:lnTo>
                  <a:lnTo>
                    <a:pt x="96" y="228"/>
                  </a:lnTo>
                  <a:lnTo>
                    <a:pt x="102" y="222"/>
                  </a:lnTo>
                  <a:lnTo>
                    <a:pt x="102" y="228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14" y="228"/>
                  </a:lnTo>
                  <a:lnTo>
                    <a:pt x="114" y="234"/>
                  </a:lnTo>
                  <a:lnTo>
                    <a:pt x="120" y="228"/>
                  </a:lnTo>
                  <a:lnTo>
                    <a:pt x="120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26" y="228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8" y="234"/>
                  </a:lnTo>
                  <a:lnTo>
                    <a:pt x="144" y="234"/>
                  </a:lnTo>
                  <a:lnTo>
                    <a:pt x="144" y="228"/>
                  </a:lnTo>
                  <a:lnTo>
                    <a:pt x="150" y="228"/>
                  </a:lnTo>
                  <a:lnTo>
                    <a:pt x="156" y="228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46"/>
                  </a:lnTo>
                  <a:lnTo>
                    <a:pt x="162" y="240"/>
                  </a:lnTo>
                  <a:lnTo>
                    <a:pt x="162" y="246"/>
                  </a:lnTo>
                  <a:lnTo>
                    <a:pt x="162" y="258"/>
                  </a:lnTo>
                  <a:lnTo>
                    <a:pt x="162" y="264"/>
                  </a:lnTo>
                  <a:lnTo>
                    <a:pt x="156" y="270"/>
                  </a:lnTo>
                  <a:lnTo>
                    <a:pt x="162" y="270"/>
                  </a:lnTo>
                  <a:lnTo>
                    <a:pt x="162" y="282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86" y="288"/>
                  </a:lnTo>
                  <a:lnTo>
                    <a:pt x="186" y="294"/>
                  </a:lnTo>
                  <a:lnTo>
                    <a:pt x="180" y="300"/>
                  </a:lnTo>
                  <a:lnTo>
                    <a:pt x="174" y="318"/>
                  </a:lnTo>
                  <a:lnTo>
                    <a:pt x="174" y="324"/>
                  </a:lnTo>
                  <a:lnTo>
                    <a:pt x="168" y="330"/>
                  </a:lnTo>
                  <a:lnTo>
                    <a:pt x="168" y="342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74" y="360"/>
                  </a:lnTo>
                  <a:lnTo>
                    <a:pt x="180" y="366"/>
                  </a:lnTo>
                  <a:lnTo>
                    <a:pt x="186" y="378"/>
                  </a:lnTo>
                  <a:close/>
                </a:path>
              </a:pathLst>
            </a:custGeom>
            <a:solidFill>
              <a:srgbClr val="2A4F1D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8" name="Freeform 23">
              <a:extLst>
                <a:ext uri="{FF2B5EF4-FFF2-40B4-BE49-F238E27FC236}">
                  <a16:creationId xmlns:a16="http://schemas.microsoft.com/office/drawing/2014/main" id="{A539A33E-3F6E-4AF7-BD88-1853165307F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6312" y="3604793"/>
              <a:ext cx="581410" cy="621747"/>
            </a:xfrm>
            <a:custGeom>
              <a:avLst/>
              <a:gdLst>
                <a:gd name="T0" fmla="*/ 90 w 1092"/>
                <a:gd name="T1" fmla="*/ 60 h 1170"/>
                <a:gd name="T2" fmla="*/ 83 w 1092"/>
                <a:gd name="T3" fmla="*/ 62 h 1170"/>
                <a:gd name="T4" fmla="*/ 72 w 1092"/>
                <a:gd name="T5" fmla="*/ 68 h 1170"/>
                <a:gd name="T6" fmla="*/ 68 w 1092"/>
                <a:gd name="T7" fmla="*/ 71 h 1170"/>
                <a:gd name="T8" fmla="*/ 61 w 1092"/>
                <a:gd name="T9" fmla="*/ 69 h 1170"/>
                <a:gd name="T10" fmla="*/ 64 w 1092"/>
                <a:gd name="T11" fmla="*/ 82 h 1170"/>
                <a:gd name="T12" fmla="*/ 67 w 1092"/>
                <a:gd name="T13" fmla="*/ 93 h 1170"/>
                <a:gd name="T14" fmla="*/ 62 w 1092"/>
                <a:gd name="T15" fmla="*/ 96 h 1170"/>
                <a:gd name="T16" fmla="*/ 59 w 1092"/>
                <a:gd name="T17" fmla="*/ 99 h 1170"/>
                <a:gd name="T18" fmla="*/ 53 w 1092"/>
                <a:gd name="T19" fmla="*/ 101 h 1170"/>
                <a:gd name="T20" fmla="*/ 50 w 1092"/>
                <a:gd name="T21" fmla="*/ 100 h 1170"/>
                <a:gd name="T22" fmla="*/ 50 w 1092"/>
                <a:gd name="T23" fmla="*/ 93 h 1170"/>
                <a:gd name="T24" fmla="*/ 37 w 1092"/>
                <a:gd name="T25" fmla="*/ 85 h 1170"/>
                <a:gd name="T26" fmla="*/ 32 w 1092"/>
                <a:gd name="T27" fmla="*/ 86 h 1170"/>
                <a:gd name="T28" fmla="*/ 29 w 1092"/>
                <a:gd name="T29" fmla="*/ 88 h 1170"/>
                <a:gd name="T30" fmla="*/ 27 w 1092"/>
                <a:gd name="T31" fmla="*/ 86 h 1170"/>
                <a:gd name="T32" fmla="*/ 23 w 1092"/>
                <a:gd name="T33" fmla="*/ 87 h 1170"/>
                <a:gd name="T34" fmla="*/ 17 w 1092"/>
                <a:gd name="T35" fmla="*/ 87 h 1170"/>
                <a:gd name="T36" fmla="*/ 18 w 1092"/>
                <a:gd name="T37" fmla="*/ 89 h 1170"/>
                <a:gd name="T38" fmla="*/ 16 w 1092"/>
                <a:gd name="T39" fmla="*/ 92 h 1170"/>
                <a:gd name="T40" fmla="*/ 12 w 1092"/>
                <a:gd name="T41" fmla="*/ 89 h 1170"/>
                <a:gd name="T42" fmla="*/ 13 w 1092"/>
                <a:gd name="T43" fmla="*/ 84 h 1170"/>
                <a:gd name="T44" fmla="*/ 12 w 1092"/>
                <a:gd name="T45" fmla="*/ 80 h 1170"/>
                <a:gd name="T46" fmla="*/ 10 w 1092"/>
                <a:gd name="T47" fmla="*/ 80 h 1170"/>
                <a:gd name="T48" fmla="*/ 8 w 1092"/>
                <a:gd name="T49" fmla="*/ 79 h 1170"/>
                <a:gd name="T50" fmla="*/ 6 w 1092"/>
                <a:gd name="T51" fmla="*/ 78 h 1170"/>
                <a:gd name="T52" fmla="*/ 6 w 1092"/>
                <a:gd name="T53" fmla="*/ 77 h 1170"/>
                <a:gd name="T54" fmla="*/ 4 w 1092"/>
                <a:gd name="T55" fmla="*/ 75 h 1170"/>
                <a:gd name="T56" fmla="*/ 0 w 1092"/>
                <a:gd name="T57" fmla="*/ 72 h 1170"/>
                <a:gd name="T58" fmla="*/ 0 w 1092"/>
                <a:gd name="T59" fmla="*/ 69 h 1170"/>
                <a:gd name="T60" fmla="*/ 3 w 1092"/>
                <a:gd name="T61" fmla="*/ 67 h 1170"/>
                <a:gd name="T62" fmla="*/ 6 w 1092"/>
                <a:gd name="T63" fmla="*/ 62 h 1170"/>
                <a:gd name="T64" fmla="*/ 8 w 1092"/>
                <a:gd name="T65" fmla="*/ 58 h 1170"/>
                <a:gd name="T66" fmla="*/ 5 w 1092"/>
                <a:gd name="T67" fmla="*/ 54 h 1170"/>
                <a:gd name="T68" fmla="*/ 6 w 1092"/>
                <a:gd name="T69" fmla="*/ 50 h 1170"/>
                <a:gd name="T70" fmla="*/ 8 w 1092"/>
                <a:gd name="T71" fmla="*/ 46 h 1170"/>
                <a:gd name="T72" fmla="*/ 10 w 1092"/>
                <a:gd name="T73" fmla="*/ 43 h 1170"/>
                <a:gd name="T74" fmla="*/ 14 w 1092"/>
                <a:gd name="T75" fmla="*/ 38 h 1170"/>
                <a:gd name="T76" fmla="*/ 31 w 1092"/>
                <a:gd name="T77" fmla="*/ 40 h 1170"/>
                <a:gd name="T78" fmla="*/ 30 w 1092"/>
                <a:gd name="T79" fmla="*/ 46 h 1170"/>
                <a:gd name="T80" fmla="*/ 36 w 1092"/>
                <a:gd name="T81" fmla="*/ 47 h 1170"/>
                <a:gd name="T82" fmla="*/ 41 w 1092"/>
                <a:gd name="T83" fmla="*/ 44 h 1170"/>
                <a:gd name="T84" fmla="*/ 43 w 1092"/>
                <a:gd name="T85" fmla="*/ 39 h 1170"/>
                <a:gd name="T86" fmla="*/ 44 w 1092"/>
                <a:gd name="T87" fmla="*/ 35 h 1170"/>
                <a:gd name="T88" fmla="*/ 44 w 1092"/>
                <a:gd name="T89" fmla="*/ 29 h 1170"/>
                <a:gd name="T90" fmla="*/ 48 w 1092"/>
                <a:gd name="T91" fmla="*/ 24 h 1170"/>
                <a:gd name="T92" fmla="*/ 49 w 1092"/>
                <a:gd name="T93" fmla="*/ 19 h 1170"/>
                <a:gd name="T94" fmla="*/ 51 w 1092"/>
                <a:gd name="T95" fmla="*/ 14 h 1170"/>
                <a:gd name="T96" fmla="*/ 54 w 1092"/>
                <a:gd name="T97" fmla="*/ 10 h 1170"/>
                <a:gd name="T98" fmla="*/ 53 w 1092"/>
                <a:gd name="T99" fmla="*/ 7 h 1170"/>
                <a:gd name="T100" fmla="*/ 55 w 1092"/>
                <a:gd name="T101" fmla="*/ 3 h 1170"/>
                <a:gd name="T102" fmla="*/ 58 w 1092"/>
                <a:gd name="T103" fmla="*/ 0 h 1170"/>
                <a:gd name="T104" fmla="*/ 65 w 1092"/>
                <a:gd name="T105" fmla="*/ 2 h 1170"/>
                <a:gd name="T106" fmla="*/ 61 w 1092"/>
                <a:gd name="T107" fmla="*/ 6 h 1170"/>
                <a:gd name="T108" fmla="*/ 67 w 1092"/>
                <a:gd name="T109" fmla="*/ 7 h 1170"/>
                <a:gd name="T110" fmla="*/ 71 w 1092"/>
                <a:gd name="T111" fmla="*/ 6 h 1170"/>
                <a:gd name="T112" fmla="*/ 75 w 1092"/>
                <a:gd name="T113" fmla="*/ 9 h 1170"/>
                <a:gd name="T114" fmla="*/ 82 w 1092"/>
                <a:gd name="T115" fmla="*/ 12 h 1170"/>
                <a:gd name="T116" fmla="*/ 84 w 1092"/>
                <a:gd name="T117" fmla="*/ 17 h 1170"/>
                <a:gd name="T118" fmla="*/ 94 w 1092"/>
                <a:gd name="T119" fmla="*/ 23 h 1170"/>
                <a:gd name="T120" fmla="*/ 94 w 1092"/>
                <a:gd name="T121" fmla="*/ 34 h 1170"/>
                <a:gd name="T122" fmla="*/ 90 w 1092"/>
                <a:gd name="T123" fmla="*/ 41 h 1170"/>
                <a:gd name="T124" fmla="*/ 91 w 1092"/>
                <a:gd name="T125" fmla="*/ 51 h 11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92"/>
                <a:gd name="T190" fmla="*/ 0 h 1170"/>
                <a:gd name="T191" fmla="*/ 1092 w 1092"/>
                <a:gd name="T192" fmla="*/ 1170 h 117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92" h="1170">
                  <a:moveTo>
                    <a:pt x="1056" y="654"/>
                  </a:moveTo>
                  <a:lnTo>
                    <a:pt x="1062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0"/>
                  </a:lnTo>
                  <a:lnTo>
                    <a:pt x="1038" y="690"/>
                  </a:lnTo>
                  <a:lnTo>
                    <a:pt x="1032" y="690"/>
                  </a:lnTo>
                  <a:lnTo>
                    <a:pt x="1026" y="690"/>
                  </a:lnTo>
                  <a:lnTo>
                    <a:pt x="1020" y="690"/>
                  </a:lnTo>
                  <a:lnTo>
                    <a:pt x="1002" y="690"/>
                  </a:lnTo>
                  <a:lnTo>
                    <a:pt x="990" y="690"/>
                  </a:lnTo>
                  <a:lnTo>
                    <a:pt x="972" y="696"/>
                  </a:lnTo>
                  <a:lnTo>
                    <a:pt x="966" y="696"/>
                  </a:lnTo>
                  <a:lnTo>
                    <a:pt x="960" y="696"/>
                  </a:lnTo>
                  <a:lnTo>
                    <a:pt x="954" y="708"/>
                  </a:lnTo>
                  <a:lnTo>
                    <a:pt x="954" y="714"/>
                  </a:lnTo>
                  <a:lnTo>
                    <a:pt x="942" y="714"/>
                  </a:lnTo>
                  <a:lnTo>
                    <a:pt x="930" y="732"/>
                  </a:lnTo>
                  <a:lnTo>
                    <a:pt x="918" y="744"/>
                  </a:lnTo>
                  <a:lnTo>
                    <a:pt x="918" y="750"/>
                  </a:lnTo>
                  <a:lnTo>
                    <a:pt x="888" y="762"/>
                  </a:lnTo>
                  <a:lnTo>
                    <a:pt x="870" y="762"/>
                  </a:lnTo>
                  <a:lnTo>
                    <a:pt x="846" y="774"/>
                  </a:lnTo>
                  <a:lnTo>
                    <a:pt x="828" y="780"/>
                  </a:lnTo>
                  <a:lnTo>
                    <a:pt x="828" y="774"/>
                  </a:lnTo>
                  <a:lnTo>
                    <a:pt x="816" y="768"/>
                  </a:lnTo>
                  <a:lnTo>
                    <a:pt x="816" y="780"/>
                  </a:lnTo>
                  <a:lnTo>
                    <a:pt x="804" y="780"/>
                  </a:lnTo>
                  <a:lnTo>
                    <a:pt x="804" y="786"/>
                  </a:lnTo>
                  <a:lnTo>
                    <a:pt x="792" y="792"/>
                  </a:lnTo>
                  <a:lnTo>
                    <a:pt x="792" y="804"/>
                  </a:lnTo>
                  <a:lnTo>
                    <a:pt x="780" y="816"/>
                  </a:lnTo>
                  <a:lnTo>
                    <a:pt x="774" y="822"/>
                  </a:lnTo>
                  <a:lnTo>
                    <a:pt x="762" y="828"/>
                  </a:lnTo>
                  <a:lnTo>
                    <a:pt x="756" y="822"/>
                  </a:lnTo>
                  <a:lnTo>
                    <a:pt x="750" y="798"/>
                  </a:lnTo>
                  <a:lnTo>
                    <a:pt x="738" y="792"/>
                  </a:lnTo>
                  <a:lnTo>
                    <a:pt x="720" y="786"/>
                  </a:lnTo>
                  <a:lnTo>
                    <a:pt x="708" y="786"/>
                  </a:lnTo>
                  <a:lnTo>
                    <a:pt x="696" y="798"/>
                  </a:lnTo>
                  <a:lnTo>
                    <a:pt x="690" y="810"/>
                  </a:lnTo>
                  <a:lnTo>
                    <a:pt x="684" y="828"/>
                  </a:lnTo>
                  <a:lnTo>
                    <a:pt x="690" y="840"/>
                  </a:lnTo>
                  <a:lnTo>
                    <a:pt x="708" y="858"/>
                  </a:lnTo>
                  <a:lnTo>
                    <a:pt x="720" y="894"/>
                  </a:lnTo>
                  <a:lnTo>
                    <a:pt x="714" y="906"/>
                  </a:lnTo>
                  <a:lnTo>
                    <a:pt x="714" y="918"/>
                  </a:lnTo>
                  <a:lnTo>
                    <a:pt x="738" y="948"/>
                  </a:lnTo>
                  <a:lnTo>
                    <a:pt x="774" y="972"/>
                  </a:lnTo>
                  <a:lnTo>
                    <a:pt x="780" y="984"/>
                  </a:lnTo>
                  <a:lnTo>
                    <a:pt x="792" y="996"/>
                  </a:lnTo>
                  <a:lnTo>
                    <a:pt x="792" y="1026"/>
                  </a:lnTo>
                  <a:lnTo>
                    <a:pt x="780" y="1044"/>
                  </a:lnTo>
                  <a:lnTo>
                    <a:pt x="774" y="1050"/>
                  </a:lnTo>
                  <a:lnTo>
                    <a:pt x="768" y="1062"/>
                  </a:lnTo>
                  <a:lnTo>
                    <a:pt x="768" y="1068"/>
                  </a:lnTo>
                  <a:lnTo>
                    <a:pt x="762" y="1074"/>
                  </a:lnTo>
                  <a:lnTo>
                    <a:pt x="762" y="1080"/>
                  </a:lnTo>
                  <a:lnTo>
                    <a:pt x="756" y="1080"/>
                  </a:lnTo>
                  <a:lnTo>
                    <a:pt x="744" y="1086"/>
                  </a:lnTo>
                  <a:lnTo>
                    <a:pt x="744" y="1092"/>
                  </a:lnTo>
                  <a:lnTo>
                    <a:pt x="738" y="1092"/>
                  </a:lnTo>
                  <a:lnTo>
                    <a:pt x="726" y="1098"/>
                  </a:lnTo>
                  <a:lnTo>
                    <a:pt x="720" y="1104"/>
                  </a:lnTo>
                  <a:lnTo>
                    <a:pt x="714" y="1104"/>
                  </a:lnTo>
                  <a:lnTo>
                    <a:pt x="702" y="1116"/>
                  </a:lnTo>
                  <a:lnTo>
                    <a:pt x="696" y="1122"/>
                  </a:lnTo>
                  <a:lnTo>
                    <a:pt x="696" y="1134"/>
                  </a:lnTo>
                  <a:lnTo>
                    <a:pt x="690" y="1134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72" y="1146"/>
                  </a:lnTo>
                  <a:lnTo>
                    <a:pt x="672" y="1152"/>
                  </a:lnTo>
                  <a:lnTo>
                    <a:pt x="660" y="1152"/>
                  </a:lnTo>
                  <a:lnTo>
                    <a:pt x="642" y="1152"/>
                  </a:lnTo>
                  <a:lnTo>
                    <a:pt x="636" y="1152"/>
                  </a:lnTo>
                  <a:lnTo>
                    <a:pt x="630" y="1158"/>
                  </a:lnTo>
                  <a:lnTo>
                    <a:pt x="624" y="1164"/>
                  </a:lnTo>
                  <a:lnTo>
                    <a:pt x="618" y="1170"/>
                  </a:lnTo>
                  <a:lnTo>
                    <a:pt x="612" y="1170"/>
                  </a:lnTo>
                  <a:lnTo>
                    <a:pt x="600" y="1170"/>
                  </a:lnTo>
                  <a:lnTo>
                    <a:pt x="594" y="1170"/>
                  </a:lnTo>
                  <a:lnTo>
                    <a:pt x="588" y="1170"/>
                  </a:lnTo>
                  <a:lnTo>
                    <a:pt x="582" y="1170"/>
                  </a:lnTo>
                  <a:lnTo>
                    <a:pt x="582" y="1164"/>
                  </a:lnTo>
                  <a:lnTo>
                    <a:pt x="576" y="1158"/>
                  </a:lnTo>
                  <a:lnTo>
                    <a:pt x="570" y="1158"/>
                  </a:lnTo>
                  <a:lnTo>
                    <a:pt x="570" y="1152"/>
                  </a:lnTo>
                  <a:lnTo>
                    <a:pt x="570" y="1146"/>
                  </a:lnTo>
                  <a:lnTo>
                    <a:pt x="570" y="1140"/>
                  </a:lnTo>
                  <a:lnTo>
                    <a:pt x="564" y="1140"/>
                  </a:lnTo>
                  <a:lnTo>
                    <a:pt x="564" y="1134"/>
                  </a:lnTo>
                  <a:lnTo>
                    <a:pt x="564" y="1128"/>
                  </a:lnTo>
                  <a:lnTo>
                    <a:pt x="576" y="1104"/>
                  </a:lnTo>
                  <a:lnTo>
                    <a:pt x="582" y="1086"/>
                  </a:lnTo>
                  <a:lnTo>
                    <a:pt x="570" y="1068"/>
                  </a:lnTo>
                  <a:lnTo>
                    <a:pt x="534" y="1056"/>
                  </a:lnTo>
                  <a:lnTo>
                    <a:pt x="516" y="1026"/>
                  </a:lnTo>
                  <a:lnTo>
                    <a:pt x="492" y="1020"/>
                  </a:lnTo>
                  <a:lnTo>
                    <a:pt x="492" y="1014"/>
                  </a:lnTo>
                  <a:lnTo>
                    <a:pt x="480" y="1008"/>
                  </a:lnTo>
                  <a:lnTo>
                    <a:pt x="474" y="996"/>
                  </a:lnTo>
                  <a:lnTo>
                    <a:pt x="444" y="984"/>
                  </a:lnTo>
                  <a:lnTo>
                    <a:pt x="426" y="978"/>
                  </a:lnTo>
                  <a:lnTo>
                    <a:pt x="420" y="972"/>
                  </a:lnTo>
                  <a:lnTo>
                    <a:pt x="408" y="984"/>
                  </a:lnTo>
                  <a:lnTo>
                    <a:pt x="402" y="984"/>
                  </a:lnTo>
                  <a:lnTo>
                    <a:pt x="396" y="984"/>
                  </a:lnTo>
                  <a:lnTo>
                    <a:pt x="390" y="984"/>
                  </a:lnTo>
                  <a:lnTo>
                    <a:pt x="384" y="990"/>
                  </a:lnTo>
                  <a:lnTo>
                    <a:pt x="378" y="990"/>
                  </a:lnTo>
                  <a:lnTo>
                    <a:pt x="372" y="990"/>
                  </a:lnTo>
                  <a:lnTo>
                    <a:pt x="372" y="996"/>
                  </a:lnTo>
                  <a:lnTo>
                    <a:pt x="366" y="996"/>
                  </a:lnTo>
                  <a:lnTo>
                    <a:pt x="360" y="1002"/>
                  </a:lnTo>
                  <a:lnTo>
                    <a:pt x="360" y="1008"/>
                  </a:lnTo>
                  <a:lnTo>
                    <a:pt x="354" y="1008"/>
                  </a:lnTo>
                  <a:lnTo>
                    <a:pt x="342" y="1014"/>
                  </a:lnTo>
                  <a:lnTo>
                    <a:pt x="336" y="1020"/>
                  </a:lnTo>
                  <a:lnTo>
                    <a:pt x="336" y="1014"/>
                  </a:lnTo>
                  <a:lnTo>
                    <a:pt x="330" y="1014"/>
                  </a:lnTo>
                  <a:lnTo>
                    <a:pt x="330" y="1008"/>
                  </a:lnTo>
                  <a:lnTo>
                    <a:pt x="330" y="1002"/>
                  </a:lnTo>
                  <a:lnTo>
                    <a:pt x="324" y="1002"/>
                  </a:lnTo>
                  <a:lnTo>
                    <a:pt x="324" y="996"/>
                  </a:lnTo>
                  <a:lnTo>
                    <a:pt x="324" y="990"/>
                  </a:lnTo>
                  <a:lnTo>
                    <a:pt x="318" y="990"/>
                  </a:lnTo>
                  <a:lnTo>
                    <a:pt x="306" y="996"/>
                  </a:lnTo>
                  <a:lnTo>
                    <a:pt x="300" y="996"/>
                  </a:lnTo>
                  <a:lnTo>
                    <a:pt x="294" y="996"/>
                  </a:lnTo>
                  <a:lnTo>
                    <a:pt x="288" y="1002"/>
                  </a:lnTo>
                  <a:lnTo>
                    <a:pt x="282" y="990"/>
                  </a:lnTo>
                  <a:lnTo>
                    <a:pt x="276" y="984"/>
                  </a:lnTo>
                  <a:lnTo>
                    <a:pt x="270" y="990"/>
                  </a:lnTo>
                  <a:lnTo>
                    <a:pt x="270" y="996"/>
                  </a:lnTo>
                  <a:lnTo>
                    <a:pt x="270" y="1002"/>
                  </a:lnTo>
                  <a:lnTo>
                    <a:pt x="264" y="1008"/>
                  </a:lnTo>
                  <a:lnTo>
                    <a:pt x="252" y="996"/>
                  </a:lnTo>
                  <a:lnTo>
                    <a:pt x="246" y="996"/>
                  </a:lnTo>
                  <a:lnTo>
                    <a:pt x="234" y="1002"/>
                  </a:lnTo>
                  <a:lnTo>
                    <a:pt x="222" y="1002"/>
                  </a:lnTo>
                  <a:lnTo>
                    <a:pt x="210" y="1002"/>
                  </a:lnTo>
                  <a:lnTo>
                    <a:pt x="198" y="996"/>
                  </a:lnTo>
                  <a:lnTo>
                    <a:pt x="198" y="1002"/>
                  </a:lnTo>
                  <a:lnTo>
                    <a:pt x="198" y="1008"/>
                  </a:lnTo>
                  <a:lnTo>
                    <a:pt x="192" y="1020"/>
                  </a:lnTo>
                  <a:lnTo>
                    <a:pt x="198" y="1020"/>
                  </a:lnTo>
                  <a:lnTo>
                    <a:pt x="204" y="1020"/>
                  </a:lnTo>
                  <a:lnTo>
                    <a:pt x="210" y="1026"/>
                  </a:lnTo>
                  <a:lnTo>
                    <a:pt x="216" y="1026"/>
                  </a:lnTo>
                  <a:lnTo>
                    <a:pt x="216" y="1032"/>
                  </a:lnTo>
                  <a:lnTo>
                    <a:pt x="210" y="1032"/>
                  </a:lnTo>
                  <a:lnTo>
                    <a:pt x="210" y="1038"/>
                  </a:lnTo>
                  <a:lnTo>
                    <a:pt x="204" y="1038"/>
                  </a:lnTo>
                  <a:lnTo>
                    <a:pt x="204" y="1044"/>
                  </a:lnTo>
                  <a:lnTo>
                    <a:pt x="198" y="1044"/>
                  </a:lnTo>
                  <a:lnTo>
                    <a:pt x="192" y="1044"/>
                  </a:lnTo>
                  <a:lnTo>
                    <a:pt x="186" y="1050"/>
                  </a:lnTo>
                  <a:lnTo>
                    <a:pt x="186" y="1056"/>
                  </a:lnTo>
                  <a:lnTo>
                    <a:pt x="180" y="1056"/>
                  </a:lnTo>
                  <a:lnTo>
                    <a:pt x="180" y="1062"/>
                  </a:lnTo>
                  <a:lnTo>
                    <a:pt x="174" y="1062"/>
                  </a:lnTo>
                  <a:lnTo>
                    <a:pt x="168" y="1062"/>
                  </a:lnTo>
                  <a:lnTo>
                    <a:pt x="162" y="1062"/>
                  </a:lnTo>
                  <a:lnTo>
                    <a:pt x="156" y="1050"/>
                  </a:lnTo>
                  <a:lnTo>
                    <a:pt x="150" y="1044"/>
                  </a:lnTo>
                  <a:lnTo>
                    <a:pt x="150" y="1038"/>
                  </a:lnTo>
                  <a:lnTo>
                    <a:pt x="144" y="1032"/>
                  </a:lnTo>
                  <a:lnTo>
                    <a:pt x="144" y="1026"/>
                  </a:lnTo>
                  <a:lnTo>
                    <a:pt x="144" y="1014"/>
                  </a:lnTo>
                  <a:lnTo>
                    <a:pt x="150" y="1008"/>
                  </a:lnTo>
                  <a:lnTo>
                    <a:pt x="150" y="1002"/>
                  </a:lnTo>
                  <a:lnTo>
                    <a:pt x="156" y="984"/>
                  </a:lnTo>
                  <a:lnTo>
                    <a:pt x="162" y="978"/>
                  </a:lnTo>
                  <a:lnTo>
                    <a:pt x="162" y="972"/>
                  </a:lnTo>
                  <a:lnTo>
                    <a:pt x="150" y="966"/>
                  </a:lnTo>
                  <a:lnTo>
                    <a:pt x="144" y="966"/>
                  </a:lnTo>
                  <a:lnTo>
                    <a:pt x="138" y="966"/>
                  </a:lnTo>
                  <a:lnTo>
                    <a:pt x="138" y="954"/>
                  </a:lnTo>
                  <a:lnTo>
                    <a:pt x="132" y="954"/>
                  </a:lnTo>
                  <a:lnTo>
                    <a:pt x="138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8" y="924"/>
                  </a:lnTo>
                  <a:lnTo>
                    <a:pt x="132" y="930"/>
                  </a:lnTo>
                  <a:lnTo>
                    <a:pt x="132" y="924"/>
                  </a:lnTo>
                  <a:lnTo>
                    <a:pt x="126" y="918"/>
                  </a:lnTo>
                  <a:lnTo>
                    <a:pt x="132" y="918"/>
                  </a:lnTo>
                  <a:lnTo>
                    <a:pt x="132" y="912"/>
                  </a:lnTo>
                  <a:lnTo>
                    <a:pt x="126" y="912"/>
                  </a:lnTo>
                  <a:lnTo>
                    <a:pt x="120" y="912"/>
                  </a:lnTo>
                  <a:lnTo>
                    <a:pt x="120" y="918"/>
                  </a:lnTo>
                  <a:lnTo>
                    <a:pt x="114" y="918"/>
                  </a:lnTo>
                  <a:lnTo>
                    <a:pt x="114" y="912"/>
                  </a:lnTo>
                  <a:lnTo>
                    <a:pt x="108" y="912"/>
                  </a:lnTo>
                  <a:lnTo>
                    <a:pt x="102" y="912"/>
                  </a:lnTo>
                  <a:lnTo>
                    <a:pt x="108" y="906"/>
                  </a:lnTo>
                  <a:lnTo>
                    <a:pt x="102" y="906"/>
                  </a:lnTo>
                  <a:lnTo>
                    <a:pt x="96" y="906"/>
                  </a:lnTo>
                  <a:lnTo>
                    <a:pt x="96" y="912"/>
                  </a:lnTo>
                  <a:lnTo>
                    <a:pt x="90" y="918"/>
                  </a:lnTo>
                  <a:lnTo>
                    <a:pt x="90" y="912"/>
                  </a:lnTo>
                  <a:lnTo>
                    <a:pt x="84" y="912"/>
                  </a:lnTo>
                  <a:lnTo>
                    <a:pt x="84" y="918"/>
                  </a:lnTo>
                  <a:lnTo>
                    <a:pt x="78" y="918"/>
                  </a:lnTo>
                  <a:lnTo>
                    <a:pt x="78" y="912"/>
                  </a:lnTo>
                  <a:lnTo>
                    <a:pt x="78" y="906"/>
                  </a:lnTo>
                  <a:lnTo>
                    <a:pt x="72" y="900"/>
                  </a:lnTo>
                  <a:lnTo>
                    <a:pt x="78" y="900"/>
                  </a:lnTo>
                  <a:lnTo>
                    <a:pt x="72" y="900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8" y="888"/>
                  </a:lnTo>
                  <a:lnTo>
                    <a:pt x="72" y="888"/>
                  </a:lnTo>
                  <a:lnTo>
                    <a:pt x="72" y="882"/>
                  </a:lnTo>
                  <a:lnTo>
                    <a:pt x="66" y="876"/>
                  </a:lnTo>
                  <a:lnTo>
                    <a:pt x="60" y="882"/>
                  </a:lnTo>
                  <a:lnTo>
                    <a:pt x="54" y="876"/>
                  </a:lnTo>
                  <a:lnTo>
                    <a:pt x="54" y="882"/>
                  </a:lnTo>
                  <a:lnTo>
                    <a:pt x="48" y="882"/>
                  </a:lnTo>
                  <a:lnTo>
                    <a:pt x="42" y="870"/>
                  </a:lnTo>
                  <a:lnTo>
                    <a:pt x="42" y="864"/>
                  </a:lnTo>
                  <a:lnTo>
                    <a:pt x="36" y="858"/>
                  </a:lnTo>
                  <a:lnTo>
                    <a:pt x="36" y="852"/>
                  </a:lnTo>
                  <a:lnTo>
                    <a:pt x="30" y="852"/>
                  </a:lnTo>
                  <a:lnTo>
                    <a:pt x="30" y="846"/>
                  </a:lnTo>
                  <a:lnTo>
                    <a:pt x="24" y="846"/>
                  </a:lnTo>
                  <a:lnTo>
                    <a:pt x="18" y="840"/>
                  </a:lnTo>
                  <a:lnTo>
                    <a:pt x="12" y="834"/>
                  </a:lnTo>
                  <a:lnTo>
                    <a:pt x="0" y="828"/>
                  </a:lnTo>
                  <a:lnTo>
                    <a:pt x="0" y="822"/>
                  </a:lnTo>
                  <a:lnTo>
                    <a:pt x="0" y="816"/>
                  </a:lnTo>
                  <a:lnTo>
                    <a:pt x="0" y="810"/>
                  </a:lnTo>
                  <a:lnTo>
                    <a:pt x="6" y="804"/>
                  </a:lnTo>
                  <a:lnTo>
                    <a:pt x="12" y="804"/>
                  </a:lnTo>
                  <a:lnTo>
                    <a:pt x="12" y="798"/>
                  </a:lnTo>
                  <a:lnTo>
                    <a:pt x="12" y="792"/>
                  </a:lnTo>
                  <a:lnTo>
                    <a:pt x="6" y="792"/>
                  </a:lnTo>
                  <a:lnTo>
                    <a:pt x="6" y="786"/>
                  </a:lnTo>
                  <a:lnTo>
                    <a:pt x="6" y="780"/>
                  </a:lnTo>
                  <a:lnTo>
                    <a:pt x="18" y="780"/>
                  </a:lnTo>
                  <a:lnTo>
                    <a:pt x="18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0" y="774"/>
                  </a:lnTo>
                  <a:lnTo>
                    <a:pt x="36" y="768"/>
                  </a:lnTo>
                  <a:lnTo>
                    <a:pt x="42" y="768"/>
                  </a:lnTo>
                  <a:lnTo>
                    <a:pt x="60" y="750"/>
                  </a:lnTo>
                  <a:lnTo>
                    <a:pt x="60" y="744"/>
                  </a:lnTo>
                  <a:lnTo>
                    <a:pt x="54" y="738"/>
                  </a:lnTo>
                  <a:lnTo>
                    <a:pt x="60" y="732"/>
                  </a:lnTo>
                  <a:lnTo>
                    <a:pt x="54" y="732"/>
                  </a:lnTo>
                  <a:lnTo>
                    <a:pt x="60" y="726"/>
                  </a:lnTo>
                  <a:lnTo>
                    <a:pt x="66" y="720"/>
                  </a:lnTo>
                  <a:lnTo>
                    <a:pt x="72" y="714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84" y="696"/>
                  </a:lnTo>
                  <a:lnTo>
                    <a:pt x="90" y="684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66"/>
                  </a:lnTo>
                  <a:lnTo>
                    <a:pt x="90" y="660"/>
                  </a:lnTo>
                  <a:lnTo>
                    <a:pt x="84" y="654"/>
                  </a:lnTo>
                  <a:lnTo>
                    <a:pt x="84" y="648"/>
                  </a:lnTo>
                  <a:lnTo>
                    <a:pt x="78" y="636"/>
                  </a:lnTo>
                  <a:lnTo>
                    <a:pt x="66" y="630"/>
                  </a:lnTo>
                  <a:lnTo>
                    <a:pt x="66" y="624"/>
                  </a:lnTo>
                  <a:lnTo>
                    <a:pt x="60" y="624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60" y="600"/>
                  </a:lnTo>
                  <a:lnTo>
                    <a:pt x="66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6" y="588"/>
                  </a:lnTo>
                  <a:lnTo>
                    <a:pt x="66" y="582"/>
                  </a:lnTo>
                  <a:lnTo>
                    <a:pt x="72" y="582"/>
                  </a:lnTo>
                  <a:lnTo>
                    <a:pt x="78" y="576"/>
                  </a:lnTo>
                  <a:lnTo>
                    <a:pt x="72" y="576"/>
                  </a:lnTo>
                  <a:lnTo>
                    <a:pt x="66" y="570"/>
                  </a:lnTo>
                  <a:lnTo>
                    <a:pt x="72" y="564"/>
                  </a:lnTo>
                  <a:lnTo>
                    <a:pt x="78" y="558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90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102" y="516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0" y="504"/>
                  </a:lnTo>
                  <a:lnTo>
                    <a:pt x="120" y="498"/>
                  </a:lnTo>
                  <a:lnTo>
                    <a:pt x="120" y="492"/>
                  </a:lnTo>
                  <a:lnTo>
                    <a:pt x="126" y="480"/>
                  </a:lnTo>
                  <a:lnTo>
                    <a:pt x="132" y="474"/>
                  </a:lnTo>
                  <a:lnTo>
                    <a:pt x="132" y="468"/>
                  </a:lnTo>
                  <a:lnTo>
                    <a:pt x="138" y="462"/>
                  </a:lnTo>
                  <a:lnTo>
                    <a:pt x="138" y="456"/>
                  </a:lnTo>
                  <a:lnTo>
                    <a:pt x="138" y="450"/>
                  </a:lnTo>
                  <a:lnTo>
                    <a:pt x="144" y="444"/>
                  </a:lnTo>
                  <a:lnTo>
                    <a:pt x="162" y="438"/>
                  </a:lnTo>
                  <a:lnTo>
                    <a:pt x="186" y="438"/>
                  </a:lnTo>
                  <a:lnTo>
                    <a:pt x="210" y="444"/>
                  </a:lnTo>
                  <a:lnTo>
                    <a:pt x="276" y="450"/>
                  </a:lnTo>
                  <a:lnTo>
                    <a:pt x="342" y="450"/>
                  </a:lnTo>
                  <a:lnTo>
                    <a:pt x="348" y="450"/>
                  </a:lnTo>
                  <a:lnTo>
                    <a:pt x="354" y="450"/>
                  </a:lnTo>
                  <a:lnTo>
                    <a:pt x="360" y="456"/>
                  </a:lnTo>
                  <a:lnTo>
                    <a:pt x="354" y="462"/>
                  </a:lnTo>
                  <a:lnTo>
                    <a:pt x="354" y="468"/>
                  </a:lnTo>
                  <a:lnTo>
                    <a:pt x="354" y="474"/>
                  </a:lnTo>
                  <a:lnTo>
                    <a:pt x="348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48" y="498"/>
                  </a:lnTo>
                  <a:lnTo>
                    <a:pt x="342" y="510"/>
                  </a:lnTo>
                  <a:lnTo>
                    <a:pt x="348" y="528"/>
                  </a:lnTo>
                  <a:lnTo>
                    <a:pt x="348" y="534"/>
                  </a:lnTo>
                  <a:lnTo>
                    <a:pt x="354" y="552"/>
                  </a:lnTo>
                  <a:lnTo>
                    <a:pt x="366" y="546"/>
                  </a:lnTo>
                  <a:lnTo>
                    <a:pt x="372" y="540"/>
                  </a:lnTo>
                  <a:lnTo>
                    <a:pt x="384" y="540"/>
                  </a:lnTo>
                  <a:lnTo>
                    <a:pt x="396" y="534"/>
                  </a:lnTo>
                  <a:lnTo>
                    <a:pt x="402" y="534"/>
                  </a:lnTo>
                  <a:lnTo>
                    <a:pt x="414" y="546"/>
                  </a:lnTo>
                  <a:lnTo>
                    <a:pt x="432" y="540"/>
                  </a:lnTo>
                  <a:lnTo>
                    <a:pt x="450" y="534"/>
                  </a:lnTo>
                  <a:lnTo>
                    <a:pt x="450" y="528"/>
                  </a:lnTo>
                  <a:lnTo>
                    <a:pt x="456" y="528"/>
                  </a:lnTo>
                  <a:lnTo>
                    <a:pt x="456" y="522"/>
                  </a:lnTo>
                  <a:lnTo>
                    <a:pt x="456" y="516"/>
                  </a:lnTo>
                  <a:lnTo>
                    <a:pt x="462" y="516"/>
                  </a:lnTo>
                  <a:lnTo>
                    <a:pt x="468" y="510"/>
                  </a:lnTo>
                  <a:lnTo>
                    <a:pt x="468" y="504"/>
                  </a:lnTo>
                  <a:lnTo>
                    <a:pt x="474" y="504"/>
                  </a:lnTo>
                  <a:lnTo>
                    <a:pt x="480" y="504"/>
                  </a:lnTo>
                  <a:lnTo>
                    <a:pt x="486" y="498"/>
                  </a:lnTo>
                  <a:lnTo>
                    <a:pt x="492" y="498"/>
                  </a:lnTo>
                  <a:lnTo>
                    <a:pt x="486" y="480"/>
                  </a:lnTo>
                  <a:lnTo>
                    <a:pt x="492" y="462"/>
                  </a:lnTo>
                  <a:lnTo>
                    <a:pt x="498" y="444"/>
                  </a:lnTo>
                  <a:lnTo>
                    <a:pt x="498" y="426"/>
                  </a:lnTo>
                  <a:lnTo>
                    <a:pt x="498" y="420"/>
                  </a:lnTo>
                  <a:lnTo>
                    <a:pt x="504" y="426"/>
                  </a:lnTo>
                  <a:lnTo>
                    <a:pt x="504" y="420"/>
                  </a:lnTo>
                  <a:lnTo>
                    <a:pt x="510" y="420"/>
                  </a:lnTo>
                  <a:lnTo>
                    <a:pt x="510" y="414"/>
                  </a:lnTo>
                  <a:lnTo>
                    <a:pt x="510" y="408"/>
                  </a:lnTo>
                  <a:lnTo>
                    <a:pt x="504" y="402"/>
                  </a:lnTo>
                  <a:lnTo>
                    <a:pt x="504" y="396"/>
                  </a:lnTo>
                  <a:lnTo>
                    <a:pt x="504" y="384"/>
                  </a:lnTo>
                  <a:lnTo>
                    <a:pt x="504" y="378"/>
                  </a:lnTo>
                  <a:lnTo>
                    <a:pt x="504" y="360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510" y="348"/>
                  </a:lnTo>
                  <a:lnTo>
                    <a:pt x="510" y="336"/>
                  </a:lnTo>
                  <a:lnTo>
                    <a:pt x="516" y="330"/>
                  </a:lnTo>
                  <a:lnTo>
                    <a:pt x="522" y="324"/>
                  </a:lnTo>
                  <a:lnTo>
                    <a:pt x="528" y="318"/>
                  </a:lnTo>
                  <a:lnTo>
                    <a:pt x="534" y="312"/>
                  </a:lnTo>
                  <a:lnTo>
                    <a:pt x="534" y="300"/>
                  </a:lnTo>
                  <a:lnTo>
                    <a:pt x="540" y="294"/>
                  </a:lnTo>
                  <a:lnTo>
                    <a:pt x="546" y="288"/>
                  </a:lnTo>
                  <a:lnTo>
                    <a:pt x="552" y="276"/>
                  </a:lnTo>
                  <a:lnTo>
                    <a:pt x="558" y="264"/>
                  </a:lnTo>
                  <a:lnTo>
                    <a:pt x="558" y="258"/>
                  </a:lnTo>
                  <a:lnTo>
                    <a:pt x="558" y="252"/>
                  </a:lnTo>
                  <a:lnTo>
                    <a:pt x="558" y="246"/>
                  </a:lnTo>
                  <a:lnTo>
                    <a:pt x="564" y="246"/>
                  </a:lnTo>
                  <a:lnTo>
                    <a:pt x="564" y="240"/>
                  </a:lnTo>
                  <a:lnTo>
                    <a:pt x="570" y="234"/>
                  </a:lnTo>
                  <a:lnTo>
                    <a:pt x="564" y="216"/>
                  </a:lnTo>
                  <a:lnTo>
                    <a:pt x="564" y="210"/>
                  </a:lnTo>
                  <a:lnTo>
                    <a:pt x="570" y="210"/>
                  </a:lnTo>
                  <a:lnTo>
                    <a:pt x="570" y="204"/>
                  </a:lnTo>
                  <a:lnTo>
                    <a:pt x="570" y="198"/>
                  </a:lnTo>
                  <a:lnTo>
                    <a:pt x="582" y="180"/>
                  </a:lnTo>
                  <a:lnTo>
                    <a:pt x="582" y="174"/>
                  </a:lnTo>
                  <a:lnTo>
                    <a:pt x="582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606" y="150"/>
                  </a:lnTo>
                  <a:lnTo>
                    <a:pt x="612" y="150"/>
                  </a:lnTo>
                  <a:lnTo>
                    <a:pt x="618" y="150"/>
                  </a:lnTo>
                  <a:lnTo>
                    <a:pt x="624" y="138"/>
                  </a:lnTo>
                  <a:lnTo>
                    <a:pt x="618" y="132"/>
                  </a:lnTo>
                  <a:lnTo>
                    <a:pt x="618" y="126"/>
                  </a:lnTo>
                  <a:lnTo>
                    <a:pt x="618" y="120"/>
                  </a:lnTo>
                  <a:lnTo>
                    <a:pt x="618" y="114"/>
                  </a:lnTo>
                  <a:lnTo>
                    <a:pt x="612" y="108"/>
                  </a:lnTo>
                  <a:lnTo>
                    <a:pt x="612" y="102"/>
                  </a:lnTo>
                  <a:lnTo>
                    <a:pt x="618" y="90"/>
                  </a:lnTo>
                  <a:lnTo>
                    <a:pt x="624" y="84"/>
                  </a:lnTo>
                  <a:lnTo>
                    <a:pt x="618" y="84"/>
                  </a:lnTo>
                  <a:lnTo>
                    <a:pt x="618" y="78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0" y="72"/>
                  </a:lnTo>
                  <a:lnTo>
                    <a:pt x="600" y="66"/>
                  </a:lnTo>
                  <a:lnTo>
                    <a:pt x="600" y="60"/>
                  </a:lnTo>
                  <a:lnTo>
                    <a:pt x="600" y="48"/>
                  </a:lnTo>
                  <a:lnTo>
                    <a:pt x="612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36"/>
                  </a:lnTo>
                  <a:lnTo>
                    <a:pt x="630" y="30"/>
                  </a:lnTo>
                  <a:lnTo>
                    <a:pt x="636" y="24"/>
                  </a:lnTo>
                  <a:lnTo>
                    <a:pt x="642" y="24"/>
                  </a:lnTo>
                  <a:lnTo>
                    <a:pt x="648" y="24"/>
                  </a:lnTo>
                  <a:lnTo>
                    <a:pt x="648" y="18"/>
                  </a:lnTo>
                  <a:lnTo>
                    <a:pt x="654" y="12"/>
                  </a:lnTo>
                  <a:lnTo>
                    <a:pt x="660" y="0"/>
                  </a:lnTo>
                  <a:lnTo>
                    <a:pt x="678" y="0"/>
                  </a:lnTo>
                  <a:lnTo>
                    <a:pt x="696" y="0"/>
                  </a:lnTo>
                  <a:lnTo>
                    <a:pt x="702" y="0"/>
                  </a:lnTo>
                  <a:lnTo>
                    <a:pt x="714" y="0"/>
                  </a:lnTo>
                  <a:lnTo>
                    <a:pt x="720" y="6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44" y="24"/>
                  </a:lnTo>
                  <a:lnTo>
                    <a:pt x="744" y="30"/>
                  </a:lnTo>
                  <a:lnTo>
                    <a:pt x="732" y="42"/>
                  </a:lnTo>
                  <a:lnTo>
                    <a:pt x="726" y="42"/>
                  </a:lnTo>
                  <a:lnTo>
                    <a:pt x="720" y="42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54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90"/>
                  </a:lnTo>
                  <a:lnTo>
                    <a:pt x="726" y="84"/>
                  </a:lnTo>
                  <a:lnTo>
                    <a:pt x="738" y="84"/>
                  </a:lnTo>
                  <a:lnTo>
                    <a:pt x="750" y="96"/>
                  </a:lnTo>
                  <a:lnTo>
                    <a:pt x="768" y="96"/>
                  </a:lnTo>
                  <a:lnTo>
                    <a:pt x="768" y="90"/>
                  </a:lnTo>
                  <a:lnTo>
                    <a:pt x="774" y="84"/>
                  </a:lnTo>
                  <a:lnTo>
                    <a:pt x="780" y="78"/>
                  </a:lnTo>
                  <a:lnTo>
                    <a:pt x="786" y="78"/>
                  </a:lnTo>
                  <a:lnTo>
                    <a:pt x="792" y="72"/>
                  </a:lnTo>
                  <a:lnTo>
                    <a:pt x="804" y="72"/>
                  </a:lnTo>
                  <a:lnTo>
                    <a:pt x="804" y="66"/>
                  </a:lnTo>
                  <a:lnTo>
                    <a:pt x="810" y="66"/>
                  </a:lnTo>
                  <a:lnTo>
                    <a:pt x="810" y="72"/>
                  </a:lnTo>
                  <a:lnTo>
                    <a:pt x="816" y="66"/>
                  </a:lnTo>
                  <a:lnTo>
                    <a:pt x="828" y="66"/>
                  </a:lnTo>
                  <a:lnTo>
                    <a:pt x="834" y="72"/>
                  </a:lnTo>
                  <a:lnTo>
                    <a:pt x="840" y="72"/>
                  </a:lnTo>
                  <a:lnTo>
                    <a:pt x="840" y="78"/>
                  </a:lnTo>
                  <a:lnTo>
                    <a:pt x="840" y="84"/>
                  </a:lnTo>
                  <a:lnTo>
                    <a:pt x="852" y="84"/>
                  </a:lnTo>
                  <a:lnTo>
                    <a:pt x="858" y="96"/>
                  </a:lnTo>
                  <a:lnTo>
                    <a:pt x="864" y="108"/>
                  </a:lnTo>
                  <a:lnTo>
                    <a:pt x="876" y="114"/>
                  </a:lnTo>
                  <a:lnTo>
                    <a:pt x="894" y="114"/>
                  </a:lnTo>
                  <a:lnTo>
                    <a:pt x="906" y="114"/>
                  </a:lnTo>
                  <a:lnTo>
                    <a:pt x="906" y="126"/>
                  </a:lnTo>
                  <a:lnTo>
                    <a:pt x="912" y="144"/>
                  </a:lnTo>
                  <a:lnTo>
                    <a:pt x="930" y="138"/>
                  </a:lnTo>
                  <a:lnTo>
                    <a:pt x="936" y="138"/>
                  </a:lnTo>
                  <a:lnTo>
                    <a:pt x="942" y="144"/>
                  </a:lnTo>
                  <a:lnTo>
                    <a:pt x="948" y="150"/>
                  </a:lnTo>
                  <a:lnTo>
                    <a:pt x="954" y="156"/>
                  </a:lnTo>
                  <a:lnTo>
                    <a:pt x="954" y="168"/>
                  </a:lnTo>
                  <a:lnTo>
                    <a:pt x="954" y="174"/>
                  </a:lnTo>
                  <a:lnTo>
                    <a:pt x="960" y="180"/>
                  </a:lnTo>
                  <a:lnTo>
                    <a:pt x="966" y="186"/>
                  </a:lnTo>
                  <a:lnTo>
                    <a:pt x="960" y="186"/>
                  </a:lnTo>
                  <a:lnTo>
                    <a:pt x="966" y="192"/>
                  </a:lnTo>
                  <a:lnTo>
                    <a:pt x="966" y="198"/>
                  </a:lnTo>
                  <a:lnTo>
                    <a:pt x="978" y="204"/>
                  </a:lnTo>
                  <a:lnTo>
                    <a:pt x="1050" y="186"/>
                  </a:lnTo>
                  <a:lnTo>
                    <a:pt x="1056" y="198"/>
                  </a:lnTo>
                  <a:lnTo>
                    <a:pt x="1068" y="210"/>
                  </a:lnTo>
                  <a:lnTo>
                    <a:pt x="1074" y="216"/>
                  </a:lnTo>
                  <a:lnTo>
                    <a:pt x="1080" y="252"/>
                  </a:lnTo>
                  <a:lnTo>
                    <a:pt x="1086" y="270"/>
                  </a:lnTo>
                  <a:lnTo>
                    <a:pt x="1092" y="282"/>
                  </a:lnTo>
                  <a:lnTo>
                    <a:pt x="1086" y="300"/>
                  </a:lnTo>
                  <a:lnTo>
                    <a:pt x="1074" y="330"/>
                  </a:lnTo>
                  <a:lnTo>
                    <a:pt x="1068" y="336"/>
                  </a:lnTo>
                  <a:lnTo>
                    <a:pt x="1062" y="348"/>
                  </a:lnTo>
                  <a:lnTo>
                    <a:pt x="1062" y="360"/>
                  </a:lnTo>
                  <a:lnTo>
                    <a:pt x="1068" y="378"/>
                  </a:lnTo>
                  <a:lnTo>
                    <a:pt x="1074" y="390"/>
                  </a:lnTo>
                  <a:lnTo>
                    <a:pt x="1068" y="396"/>
                  </a:lnTo>
                  <a:lnTo>
                    <a:pt x="1068" y="408"/>
                  </a:lnTo>
                  <a:lnTo>
                    <a:pt x="1062" y="414"/>
                  </a:lnTo>
                  <a:lnTo>
                    <a:pt x="1050" y="432"/>
                  </a:lnTo>
                  <a:lnTo>
                    <a:pt x="1044" y="450"/>
                  </a:lnTo>
                  <a:lnTo>
                    <a:pt x="1038" y="456"/>
                  </a:lnTo>
                  <a:lnTo>
                    <a:pt x="1026" y="468"/>
                  </a:lnTo>
                  <a:lnTo>
                    <a:pt x="1026" y="474"/>
                  </a:lnTo>
                  <a:lnTo>
                    <a:pt x="1026" y="480"/>
                  </a:lnTo>
                  <a:lnTo>
                    <a:pt x="1032" y="492"/>
                  </a:lnTo>
                  <a:lnTo>
                    <a:pt x="1044" y="504"/>
                  </a:lnTo>
                  <a:lnTo>
                    <a:pt x="1044" y="516"/>
                  </a:lnTo>
                  <a:lnTo>
                    <a:pt x="1038" y="528"/>
                  </a:lnTo>
                  <a:lnTo>
                    <a:pt x="1032" y="546"/>
                  </a:lnTo>
                  <a:lnTo>
                    <a:pt x="1032" y="570"/>
                  </a:lnTo>
                  <a:lnTo>
                    <a:pt x="1050" y="594"/>
                  </a:lnTo>
                  <a:lnTo>
                    <a:pt x="1056" y="624"/>
                  </a:lnTo>
                  <a:lnTo>
                    <a:pt x="1056" y="65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9" name="Freeform 24">
              <a:extLst>
                <a:ext uri="{FF2B5EF4-FFF2-40B4-BE49-F238E27FC236}">
                  <a16:creationId xmlns:a16="http://schemas.microsoft.com/office/drawing/2014/main" id="{CAE689DA-332A-4F73-BDE6-8865C9170AA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84829" y="3213406"/>
              <a:ext cx="851989" cy="744754"/>
            </a:xfrm>
            <a:custGeom>
              <a:avLst/>
              <a:gdLst>
                <a:gd name="T0" fmla="*/ 116 w 1602"/>
                <a:gd name="T1" fmla="*/ 91 h 1404"/>
                <a:gd name="T2" fmla="*/ 111 w 1602"/>
                <a:gd name="T3" fmla="*/ 95 h 1404"/>
                <a:gd name="T4" fmla="*/ 102 w 1602"/>
                <a:gd name="T5" fmla="*/ 101 h 1404"/>
                <a:gd name="T6" fmla="*/ 99 w 1602"/>
                <a:gd name="T7" fmla="*/ 103 h 1404"/>
                <a:gd name="T8" fmla="*/ 96 w 1602"/>
                <a:gd name="T9" fmla="*/ 106 h 1404"/>
                <a:gd name="T10" fmla="*/ 93 w 1602"/>
                <a:gd name="T11" fmla="*/ 108 h 1404"/>
                <a:gd name="T12" fmla="*/ 88 w 1602"/>
                <a:gd name="T13" fmla="*/ 106 h 1404"/>
                <a:gd name="T14" fmla="*/ 86 w 1602"/>
                <a:gd name="T15" fmla="*/ 108 h 1404"/>
                <a:gd name="T16" fmla="*/ 81 w 1602"/>
                <a:gd name="T17" fmla="*/ 119 h 1404"/>
                <a:gd name="T18" fmla="*/ 71 w 1602"/>
                <a:gd name="T19" fmla="*/ 109 h 1404"/>
                <a:gd name="T20" fmla="*/ 72 w 1602"/>
                <a:gd name="T21" fmla="*/ 101 h 1404"/>
                <a:gd name="T22" fmla="*/ 74 w 1602"/>
                <a:gd name="T23" fmla="*/ 93 h 1404"/>
                <a:gd name="T24" fmla="*/ 73 w 1602"/>
                <a:gd name="T25" fmla="*/ 82 h 1404"/>
                <a:gd name="T26" fmla="*/ 64 w 1602"/>
                <a:gd name="T27" fmla="*/ 79 h 1404"/>
                <a:gd name="T28" fmla="*/ 59 w 1602"/>
                <a:gd name="T29" fmla="*/ 75 h 1404"/>
                <a:gd name="T30" fmla="*/ 54 w 1602"/>
                <a:gd name="T31" fmla="*/ 71 h 1404"/>
                <a:gd name="T32" fmla="*/ 51 w 1602"/>
                <a:gd name="T33" fmla="*/ 70 h 1404"/>
                <a:gd name="T34" fmla="*/ 45 w 1602"/>
                <a:gd name="T35" fmla="*/ 71 h 1404"/>
                <a:gd name="T36" fmla="*/ 43 w 1602"/>
                <a:gd name="T37" fmla="*/ 68 h 1404"/>
                <a:gd name="T38" fmla="*/ 43 w 1602"/>
                <a:gd name="T39" fmla="*/ 64 h 1404"/>
                <a:gd name="T40" fmla="*/ 36 w 1602"/>
                <a:gd name="T41" fmla="*/ 66 h 1404"/>
                <a:gd name="T42" fmla="*/ 31 w 1602"/>
                <a:gd name="T43" fmla="*/ 55 h 1404"/>
                <a:gd name="T44" fmla="*/ 25 w 1602"/>
                <a:gd name="T45" fmla="*/ 53 h 1404"/>
                <a:gd name="T46" fmla="*/ 19 w 1602"/>
                <a:gd name="T47" fmla="*/ 51 h 1404"/>
                <a:gd name="T48" fmla="*/ 17 w 1602"/>
                <a:gd name="T49" fmla="*/ 43 h 1404"/>
                <a:gd name="T50" fmla="*/ 17 w 1602"/>
                <a:gd name="T51" fmla="*/ 39 h 1404"/>
                <a:gd name="T52" fmla="*/ 12 w 1602"/>
                <a:gd name="T53" fmla="*/ 39 h 1404"/>
                <a:gd name="T54" fmla="*/ 10 w 1602"/>
                <a:gd name="T55" fmla="*/ 35 h 1404"/>
                <a:gd name="T56" fmla="*/ 5 w 1602"/>
                <a:gd name="T57" fmla="*/ 30 h 1404"/>
                <a:gd name="T58" fmla="*/ 3 w 1602"/>
                <a:gd name="T59" fmla="*/ 27 h 1404"/>
                <a:gd name="T60" fmla="*/ 2 w 1602"/>
                <a:gd name="T61" fmla="*/ 25 h 1404"/>
                <a:gd name="T62" fmla="*/ 0 w 1602"/>
                <a:gd name="T63" fmla="*/ 22 h 1404"/>
                <a:gd name="T64" fmla="*/ 8 w 1602"/>
                <a:gd name="T65" fmla="*/ 14 h 1404"/>
                <a:gd name="T66" fmla="*/ 16 w 1602"/>
                <a:gd name="T67" fmla="*/ 16 h 1404"/>
                <a:gd name="T68" fmla="*/ 31 w 1602"/>
                <a:gd name="T69" fmla="*/ 18 h 1404"/>
                <a:gd name="T70" fmla="*/ 43 w 1602"/>
                <a:gd name="T71" fmla="*/ 17 h 1404"/>
                <a:gd name="T72" fmla="*/ 47 w 1602"/>
                <a:gd name="T73" fmla="*/ 6 h 1404"/>
                <a:gd name="T74" fmla="*/ 52 w 1602"/>
                <a:gd name="T75" fmla="*/ 0 h 1404"/>
                <a:gd name="T76" fmla="*/ 55 w 1602"/>
                <a:gd name="T77" fmla="*/ 3 h 1404"/>
                <a:gd name="T78" fmla="*/ 59 w 1602"/>
                <a:gd name="T79" fmla="*/ 9 h 1404"/>
                <a:gd name="T80" fmla="*/ 62 w 1602"/>
                <a:gd name="T81" fmla="*/ 16 h 1404"/>
                <a:gd name="T82" fmla="*/ 66 w 1602"/>
                <a:gd name="T83" fmla="*/ 20 h 1404"/>
                <a:gd name="T84" fmla="*/ 70 w 1602"/>
                <a:gd name="T85" fmla="*/ 25 h 1404"/>
                <a:gd name="T86" fmla="*/ 74 w 1602"/>
                <a:gd name="T87" fmla="*/ 30 h 1404"/>
                <a:gd name="T88" fmla="*/ 76 w 1602"/>
                <a:gd name="T89" fmla="*/ 27 h 1404"/>
                <a:gd name="T90" fmla="*/ 78 w 1602"/>
                <a:gd name="T91" fmla="*/ 27 h 1404"/>
                <a:gd name="T92" fmla="*/ 78 w 1602"/>
                <a:gd name="T93" fmla="*/ 23 h 1404"/>
                <a:gd name="T94" fmla="*/ 82 w 1602"/>
                <a:gd name="T95" fmla="*/ 20 h 1404"/>
                <a:gd name="T96" fmla="*/ 82 w 1602"/>
                <a:gd name="T97" fmla="*/ 18 h 1404"/>
                <a:gd name="T98" fmla="*/ 90 w 1602"/>
                <a:gd name="T99" fmla="*/ 24 h 1404"/>
                <a:gd name="T100" fmla="*/ 90 w 1602"/>
                <a:gd name="T101" fmla="*/ 45 h 1404"/>
                <a:gd name="T102" fmla="*/ 104 w 1602"/>
                <a:gd name="T103" fmla="*/ 41 h 1404"/>
                <a:gd name="T104" fmla="*/ 117 w 1602"/>
                <a:gd name="T105" fmla="*/ 39 h 1404"/>
                <a:gd name="T106" fmla="*/ 125 w 1602"/>
                <a:gd name="T107" fmla="*/ 39 h 1404"/>
                <a:gd name="T108" fmla="*/ 127 w 1602"/>
                <a:gd name="T109" fmla="*/ 43 h 1404"/>
                <a:gd name="T110" fmla="*/ 131 w 1602"/>
                <a:gd name="T111" fmla="*/ 53 h 1404"/>
                <a:gd name="T112" fmla="*/ 133 w 1602"/>
                <a:gd name="T113" fmla="*/ 60 h 1404"/>
                <a:gd name="T114" fmla="*/ 138 w 1602"/>
                <a:gd name="T115" fmla="*/ 73 h 1404"/>
                <a:gd name="T116" fmla="*/ 136 w 1602"/>
                <a:gd name="T117" fmla="*/ 80 h 1404"/>
                <a:gd name="T118" fmla="*/ 129 w 1602"/>
                <a:gd name="T119" fmla="*/ 87 h 1404"/>
                <a:gd name="T120" fmla="*/ 123 w 1602"/>
                <a:gd name="T121" fmla="*/ 95 h 14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02"/>
                <a:gd name="T184" fmla="*/ 0 h 1404"/>
                <a:gd name="T185" fmla="*/ 1602 w 1602"/>
                <a:gd name="T186" fmla="*/ 1404 h 14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02" h="1404">
                  <a:moveTo>
                    <a:pt x="1392" y="1080"/>
                  </a:moveTo>
                  <a:lnTo>
                    <a:pt x="1380" y="1074"/>
                  </a:lnTo>
                  <a:lnTo>
                    <a:pt x="1368" y="1056"/>
                  </a:lnTo>
                  <a:lnTo>
                    <a:pt x="1356" y="1044"/>
                  </a:lnTo>
                  <a:lnTo>
                    <a:pt x="1344" y="1038"/>
                  </a:lnTo>
                  <a:lnTo>
                    <a:pt x="1338" y="1038"/>
                  </a:lnTo>
                  <a:lnTo>
                    <a:pt x="1332" y="1038"/>
                  </a:lnTo>
                  <a:lnTo>
                    <a:pt x="1326" y="1044"/>
                  </a:lnTo>
                  <a:lnTo>
                    <a:pt x="1320" y="1044"/>
                  </a:lnTo>
                  <a:lnTo>
                    <a:pt x="1314" y="1044"/>
                  </a:lnTo>
                  <a:lnTo>
                    <a:pt x="1296" y="1056"/>
                  </a:lnTo>
                  <a:lnTo>
                    <a:pt x="1296" y="1080"/>
                  </a:lnTo>
                  <a:lnTo>
                    <a:pt x="1290" y="1080"/>
                  </a:lnTo>
                  <a:lnTo>
                    <a:pt x="1284" y="1086"/>
                  </a:lnTo>
                  <a:lnTo>
                    <a:pt x="1278" y="1086"/>
                  </a:lnTo>
                  <a:lnTo>
                    <a:pt x="1278" y="1092"/>
                  </a:lnTo>
                  <a:lnTo>
                    <a:pt x="1272" y="1092"/>
                  </a:lnTo>
                  <a:lnTo>
                    <a:pt x="1266" y="1086"/>
                  </a:lnTo>
                  <a:lnTo>
                    <a:pt x="1260" y="1086"/>
                  </a:lnTo>
                  <a:lnTo>
                    <a:pt x="1260" y="1098"/>
                  </a:lnTo>
                  <a:lnTo>
                    <a:pt x="1248" y="1098"/>
                  </a:lnTo>
                  <a:lnTo>
                    <a:pt x="1212" y="1116"/>
                  </a:lnTo>
                  <a:lnTo>
                    <a:pt x="1206" y="1158"/>
                  </a:lnTo>
                  <a:lnTo>
                    <a:pt x="1176" y="1164"/>
                  </a:lnTo>
                  <a:lnTo>
                    <a:pt x="1158" y="1164"/>
                  </a:lnTo>
                  <a:lnTo>
                    <a:pt x="1152" y="1164"/>
                  </a:lnTo>
                  <a:lnTo>
                    <a:pt x="1152" y="1170"/>
                  </a:lnTo>
                  <a:lnTo>
                    <a:pt x="1152" y="1176"/>
                  </a:lnTo>
                  <a:lnTo>
                    <a:pt x="1146" y="1176"/>
                  </a:lnTo>
                  <a:lnTo>
                    <a:pt x="1140" y="1176"/>
                  </a:lnTo>
                  <a:lnTo>
                    <a:pt x="1134" y="1182"/>
                  </a:lnTo>
                  <a:lnTo>
                    <a:pt x="1134" y="1188"/>
                  </a:lnTo>
                  <a:lnTo>
                    <a:pt x="1128" y="1194"/>
                  </a:lnTo>
                  <a:lnTo>
                    <a:pt x="1122" y="1194"/>
                  </a:lnTo>
                  <a:lnTo>
                    <a:pt x="1116" y="1194"/>
                  </a:lnTo>
                  <a:lnTo>
                    <a:pt x="1110" y="1200"/>
                  </a:lnTo>
                  <a:lnTo>
                    <a:pt x="1110" y="1206"/>
                  </a:lnTo>
                  <a:lnTo>
                    <a:pt x="1104" y="1212"/>
                  </a:lnTo>
                  <a:lnTo>
                    <a:pt x="1104" y="1218"/>
                  </a:lnTo>
                  <a:lnTo>
                    <a:pt x="1098" y="1224"/>
                  </a:lnTo>
                  <a:lnTo>
                    <a:pt x="1092" y="1230"/>
                  </a:lnTo>
                  <a:lnTo>
                    <a:pt x="1086" y="1230"/>
                  </a:lnTo>
                  <a:lnTo>
                    <a:pt x="1080" y="1230"/>
                  </a:lnTo>
                  <a:lnTo>
                    <a:pt x="1080" y="1242"/>
                  </a:lnTo>
                  <a:lnTo>
                    <a:pt x="1074" y="1242"/>
                  </a:lnTo>
                  <a:lnTo>
                    <a:pt x="1068" y="1242"/>
                  </a:lnTo>
                  <a:lnTo>
                    <a:pt x="1068" y="1236"/>
                  </a:lnTo>
                  <a:lnTo>
                    <a:pt x="1062" y="1242"/>
                  </a:lnTo>
                  <a:lnTo>
                    <a:pt x="1056" y="1236"/>
                  </a:lnTo>
                  <a:lnTo>
                    <a:pt x="1050" y="1242"/>
                  </a:lnTo>
                  <a:lnTo>
                    <a:pt x="1050" y="1236"/>
                  </a:lnTo>
                  <a:lnTo>
                    <a:pt x="1044" y="1194"/>
                  </a:lnTo>
                  <a:lnTo>
                    <a:pt x="1032" y="1194"/>
                  </a:lnTo>
                  <a:lnTo>
                    <a:pt x="1032" y="1200"/>
                  </a:lnTo>
                  <a:lnTo>
                    <a:pt x="1026" y="1200"/>
                  </a:lnTo>
                  <a:lnTo>
                    <a:pt x="1014" y="1218"/>
                  </a:lnTo>
                  <a:lnTo>
                    <a:pt x="1014" y="1224"/>
                  </a:lnTo>
                  <a:lnTo>
                    <a:pt x="1014" y="1236"/>
                  </a:lnTo>
                  <a:lnTo>
                    <a:pt x="1014" y="1242"/>
                  </a:lnTo>
                  <a:lnTo>
                    <a:pt x="1008" y="1242"/>
                  </a:lnTo>
                  <a:lnTo>
                    <a:pt x="1002" y="1236"/>
                  </a:lnTo>
                  <a:lnTo>
                    <a:pt x="1002" y="1230"/>
                  </a:lnTo>
                  <a:lnTo>
                    <a:pt x="996" y="1236"/>
                  </a:lnTo>
                  <a:lnTo>
                    <a:pt x="990" y="1236"/>
                  </a:lnTo>
                  <a:lnTo>
                    <a:pt x="990" y="1230"/>
                  </a:lnTo>
                  <a:lnTo>
                    <a:pt x="984" y="1236"/>
                  </a:lnTo>
                  <a:lnTo>
                    <a:pt x="978" y="1248"/>
                  </a:lnTo>
                  <a:lnTo>
                    <a:pt x="972" y="1254"/>
                  </a:lnTo>
                  <a:lnTo>
                    <a:pt x="966" y="1260"/>
                  </a:lnTo>
                  <a:lnTo>
                    <a:pt x="930" y="1284"/>
                  </a:lnTo>
                  <a:lnTo>
                    <a:pt x="942" y="1356"/>
                  </a:lnTo>
                  <a:lnTo>
                    <a:pt x="930" y="1368"/>
                  </a:lnTo>
                  <a:lnTo>
                    <a:pt x="852" y="1404"/>
                  </a:lnTo>
                  <a:lnTo>
                    <a:pt x="834" y="1392"/>
                  </a:lnTo>
                  <a:lnTo>
                    <a:pt x="834" y="1362"/>
                  </a:lnTo>
                  <a:lnTo>
                    <a:pt x="828" y="1332"/>
                  </a:lnTo>
                  <a:lnTo>
                    <a:pt x="810" y="1308"/>
                  </a:lnTo>
                  <a:lnTo>
                    <a:pt x="810" y="1284"/>
                  </a:lnTo>
                  <a:lnTo>
                    <a:pt x="816" y="1266"/>
                  </a:lnTo>
                  <a:lnTo>
                    <a:pt x="822" y="1254"/>
                  </a:lnTo>
                  <a:lnTo>
                    <a:pt x="822" y="1242"/>
                  </a:lnTo>
                  <a:lnTo>
                    <a:pt x="810" y="1230"/>
                  </a:lnTo>
                  <a:lnTo>
                    <a:pt x="804" y="1218"/>
                  </a:lnTo>
                  <a:lnTo>
                    <a:pt x="804" y="1212"/>
                  </a:lnTo>
                  <a:lnTo>
                    <a:pt x="804" y="1206"/>
                  </a:lnTo>
                  <a:lnTo>
                    <a:pt x="816" y="1194"/>
                  </a:lnTo>
                  <a:lnTo>
                    <a:pt x="822" y="1188"/>
                  </a:lnTo>
                  <a:lnTo>
                    <a:pt x="828" y="1170"/>
                  </a:lnTo>
                  <a:lnTo>
                    <a:pt x="840" y="1152"/>
                  </a:lnTo>
                  <a:lnTo>
                    <a:pt x="846" y="1146"/>
                  </a:lnTo>
                  <a:lnTo>
                    <a:pt x="846" y="1134"/>
                  </a:lnTo>
                  <a:lnTo>
                    <a:pt x="852" y="1128"/>
                  </a:lnTo>
                  <a:lnTo>
                    <a:pt x="846" y="1116"/>
                  </a:lnTo>
                  <a:lnTo>
                    <a:pt x="840" y="1098"/>
                  </a:lnTo>
                  <a:lnTo>
                    <a:pt x="840" y="1086"/>
                  </a:lnTo>
                  <a:lnTo>
                    <a:pt x="846" y="1074"/>
                  </a:lnTo>
                  <a:lnTo>
                    <a:pt x="852" y="1068"/>
                  </a:lnTo>
                  <a:lnTo>
                    <a:pt x="864" y="1038"/>
                  </a:lnTo>
                  <a:lnTo>
                    <a:pt x="870" y="1020"/>
                  </a:lnTo>
                  <a:lnTo>
                    <a:pt x="864" y="1008"/>
                  </a:lnTo>
                  <a:lnTo>
                    <a:pt x="858" y="990"/>
                  </a:lnTo>
                  <a:lnTo>
                    <a:pt x="852" y="954"/>
                  </a:lnTo>
                  <a:lnTo>
                    <a:pt x="846" y="948"/>
                  </a:lnTo>
                  <a:lnTo>
                    <a:pt x="834" y="936"/>
                  </a:lnTo>
                  <a:lnTo>
                    <a:pt x="828" y="924"/>
                  </a:lnTo>
                  <a:lnTo>
                    <a:pt x="756" y="942"/>
                  </a:lnTo>
                  <a:lnTo>
                    <a:pt x="744" y="936"/>
                  </a:lnTo>
                  <a:lnTo>
                    <a:pt x="744" y="930"/>
                  </a:lnTo>
                  <a:lnTo>
                    <a:pt x="738" y="924"/>
                  </a:lnTo>
                  <a:lnTo>
                    <a:pt x="744" y="924"/>
                  </a:lnTo>
                  <a:lnTo>
                    <a:pt x="738" y="918"/>
                  </a:lnTo>
                  <a:lnTo>
                    <a:pt x="732" y="912"/>
                  </a:lnTo>
                  <a:lnTo>
                    <a:pt x="732" y="906"/>
                  </a:lnTo>
                  <a:lnTo>
                    <a:pt x="732" y="894"/>
                  </a:lnTo>
                  <a:lnTo>
                    <a:pt x="726" y="888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6"/>
                  </a:lnTo>
                  <a:lnTo>
                    <a:pt x="690" y="882"/>
                  </a:lnTo>
                  <a:lnTo>
                    <a:pt x="684" y="864"/>
                  </a:lnTo>
                  <a:lnTo>
                    <a:pt x="684" y="852"/>
                  </a:lnTo>
                  <a:lnTo>
                    <a:pt x="672" y="852"/>
                  </a:lnTo>
                  <a:lnTo>
                    <a:pt x="654" y="852"/>
                  </a:lnTo>
                  <a:lnTo>
                    <a:pt x="642" y="846"/>
                  </a:lnTo>
                  <a:lnTo>
                    <a:pt x="636" y="834"/>
                  </a:lnTo>
                  <a:lnTo>
                    <a:pt x="630" y="822"/>
                  </a:lnTo>
                  <a:lnTo>
                    <a:pt x="618" y="822"/>
                  </a:lnTo>
                  <a:lnTo>
                    <a:pt x="618" y="816"/>
                  </a:lnTo>
                  <a:lnTo>
                    <a:pt x="618" y="810"/>
                  </a:lnTo>
                  <a:lnTo>
                    <a:pt x="612" y="810"/>
                  </a:lnTo>
                  <a:lnTo>
                    <a:pt x="606" y="804"/>
                  </a:lnTo>
                  <a:lnTo>
                    <a:pt x="594" y="804"/>
                  </a:lnTo>
                  <a:lnTo>
                    <a:pt x="588" y="810"/>
                  </a:lnTo>
                  <a:lnTo>
                    <a:pt x="588" y="804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70" y="810"/>
                  </a:lnTo>
                  <a:lnTo>
                    <a:pt x="564" y="816"/>
                  </a:lnTo>
                  <a:lnTo>
                    <a:pt x="558" y="816"/>
                  </a:lnTo>
                  <a:lnTo>
                    <a:pt x="552" y="822"/>
                  </a:lnTo>
                  <a:lnTo>
                    <a:pt x="546" y="828"/>
                  </a:lnTo>
                  <a:lnTo>
                    <a:pt x="546" y="834"/>
                  </a:lnTo>
                  <a:lnTo>
                    <a:pt x="528" y="834"/>
                  </a:lnTo>
                  <a:lnTo>
                    <a:pt x="516" y="822"/>
                  </a:lnTo>
                  <a:lnTo>
                    <a:pt x="504" y="822"/>
                  </a:lnTo>
                  <a:lnTo>
                    <a:pt x="492" y="82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6" y="792"/>
                  </a:lnTo>
                  <a:lnTo>
                    <a:pt x="492" y="786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504" y="780"/>
                  </a:lnTo>
                  <a:lnTo>
                    <a:pt x="510" y="780"/>
                  </a:lnTo>
                  <a:lnTo>
                    <a:pt x="522" y="768"/>
                  </a:lnTo>
                  <a:lnTo>
                    <a:pt x="522" y="762"/>
                  </a:lnTo>
                  <a:lnTo>
                    <a:pt x="504" y="756"/>
                  </a:lnTo>
                  <a:lnTo>
                    <a:pt x="498" y="756"/>
                  </a:lnTo>
                  <a:lnTo>
                    <a:pt x="498" y="744"/>
                  </a:lnTo>
                  <a:lnTo>
                    <a:pt x="492" y="738"/>
                  </a:lnTo>
                  <a:lnTo>
                    <a:pt x="480" y="738"/>
                  </a:lnTo>
                  <a:lnTo>
                    <a:pt x="474" y="738"/>
                  </a:lnTo>
                  <a:lnTo>
                    <a:pt x="456" y="738"/>
                  </a:lnTo>
                  <a:lnTo>
                    <a:pt x="438" y="738"/>
                  </a:lnTo>
                  <a:lnTo>
                    <a:pt x="432" y="750"/>
                  </a:lnTo>
                  <a:lnTo>
                    <a:pt x="426" y="756"/>
                  </a:lnTo>
                  <a:lnTo>
                    <a:pt x="426" y="762"/>
                  </a:lnTo>
                  <a:lnTo>
                    <a:pt x="420" y="762"/>
                  </a:lnTo>
                  <a:lnTo>
                    <a:pt x="408" y="744"/>
                  </a:lnTo>
                  <a:lnTo>
                    <a:pt x="408" y="732"/>
                  </a:lnTo>
                  <a:lnTo>
                    <a:pt x="390" y="714"/>
                  </a:lnTo>
                  <a:lnTo>
                    <a:pt x="384" y="702"/>
                  </a:lnTo>
                  <a:lnTo>
                    <a:pt x="384" y="690"/>
                  </a:lnTo>
                  <a:lnTo>
                    <a:pt x="372" y="690"/>
                  </a:lnTo>
                  <a:lnTo>
                    <a:pt x="366" y="660"/>
                  </a:lnTo>
                  <a:lnTo>
                    <a:pt x="354" y="630"/>
                  </a:lnTo>
                  <a:lnTo>
                    <a:pt x="348" y="630"/>
                  </a:lnTo>
                  <a:lnTo>
                    <a:pt x="336" y="630"/>
                  </a:lnTo>
                  <a:lnTo>
                    <a:pt x="330" y="630"/>
                  </a:lnTo>
                  <a:lnTo>
                    <a:pt x="318" y="630"/>
                  </a:lnTo>
                  <a:lnTo>
                    <a:pt x="312" y="624"/>
                  </a:lnTo>
                  <a:lnTo>
                    <a:pt x="306" y="624"/>
                  </a:lnTo>
                  <a:lnTo>
                    <a:pt x="294" y="618"/>
                  </a:lnTo>
                  <a:lnTo>
                    <a:pt x="288" y="612"/>
                  </a:lnTo>
                  <a:lnTo>
                    <a:pt x="276" y="600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58" y="588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8"/>
                  </a:lnTo>
                  <a:lnTo>
                    <a:pt x="216" y="582"/>
                  </a:lnTo>
                  <a:lnTo>
                    <a:pt x="210" y="588"/>
                  </a:lnTo>
                  <a:lnTo>
                    <a:pt x="198" y="582"/>
                  </a:lnTo>
                  <a:lnTo>
                    <a:pt x="180" y="582"/>
                  </a:lnTo>
                  <a:lnTo>
                    <a:pt x="174" y="552"/>
                  </a:lnTo>
                  <a:lnTo>
                    <a:pt x="168" y="504"/>
                  </a:lnTo>
                  <a:lnTo>
                    <a:pt x="186" y="504"/>
                  </a:lnTo>
                  <a:lnTo>
                    <a:pt x="192" y="504"/>
                  </a:lnTo>
                  <a:lnTo>
                    <a:pt x="192" y="498"/>
                  </a:lnTo>
                  <a:lnTo>
                    <a:pt x="192" y="492"/>
                  </a:lnTo>
                  <a:lnTo>
                    <a:pt x="192" y="486"/>
                  </a:lnTo>
                  <a:lnTo>
                    <a:pt x="198" y="486"/>
                  </a:lnTo>
                  <a:lnTo>
                    <a:pt x="198" y="480"/>
                  </a:lnTo>
                  <a:lnTo>
                    <a:pt x="204" y="474"/>
                  </a:lnTo>
                  <a:lnTo>
                    <a:pt x="210" y="468"/>
                  </a:lnTo>
                  <a:lnTo>
                    <a:pt x="198" y="462"/>
                  </a:lnTo>
                  <a:lnTo>
                    <a:pt x="192" y="444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32"/>
                  </a:lnTo>
                  <a:lnTo>
                    <a:pt x="168" y="438"/>
                  </a:lnTo>
                  <a:lnTo>
                    <a:pt x="150" y="450"/>
                  </a:lnTo>
                  <a:lnTo>
                    <a:pt x="144" y="456"/>
                  </a:lnTo>
                  <a:lnTo>
                    <a:pt x="132" y="456"/>
                  </a:lnTo>
                  <a:lnTo>
                    <a:pt x="126" y="468"/>
                  </a:lnTo>
                  <a:lnTo>
                    <a:pt x="114" y="468"/>
                  </a:lnTo>
                  <a:lnTo>
                    <a:pt x="108" y="468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14"/>
                  </a:lnTo>
                  <a:lnTo>
                    <a:pt x="108" y="396"/>
                  </a:lnTo>
                  <a:lnTo>
                    <a:pt x="120" y="396"/>
                  </a:lnTo>
                  <a:lnTo>
                    <a:pt x="126" y="384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84" y="354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0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60" y="318"/>
                  </a:lnTo>
                  <a:lnTo>
                    <a:pt x="42" y="324"/>
                  </a:lnTo>
                  <a:lnTo>
                    <a:pt x="36" y="318"/>
                  </a:lnTo>
                  <a:lnTo>
                    <a:pt x="36" y="312"/>
                  </a:lnTo>
                  <a:lnTo>
                    <a:pt x="36" y="306"/>
                  </a:lnTo>
                  <a:lnTo>
                    <a:pt x="36" y="300"/>
                  </a:lnTo>
                  <a:lnTo>
                    <a:pt x="30" y="300"/>
                  </a:lnTo>
                  <a:lnTo>
                    <a:pt x="30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24" y="276"/>
                  </a:lnTo>
                  <a:lnTo>
                    <a:pt x="18" y="276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18" y="234"/>
                  </a:lnTo>
                  <a:lnTo>
                    <a:pt x="30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42" y="192"/>
                  </a:lnTo>
                  <a:lnTo>
                    <a:pt x="66" y="186"/>
                  </a:lnTo>
                  <a:lnTo>
                    <a:pt x="90" y="156"/>
                  </a:lnTo>
                  <a:lnTo>
                    <a:pt x="102" y="144"/>
                  </a:lnTo>
                  <a:lnTo>
                    <a:pt x="138" y="150"/>
                  </a:lnTo>
                  <a:lnTo>
                    <a:pt x="162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0" y="180"/>
                  </a:lnTo>
                  <a:lnTo>
                    <a:pt x="174" y="180"/>
                  </a:lnTo>
                  <a:lnTo>
                    <a:pt x="180" y="186"/>
                  </a:lnTo>
                  <a:lnTo>
                    <a:pt x="186" y="186"/>
                  </a:lnTo>
                  <a:lnTo>
                    <a:pt x="198" y="192"/>
                  </a:lnTo>
                  <a:lnTo>
                    <a:pt x="216" y="198"/>
                  </a:lnTo>
                  <a:lnTo>
                    <a:pt x="252" y="204"/>
                  </a:lnTo>
                  <a:lnTo>
                    <a:pt x="258" y="210"/>
                  </a:lnTo>
                  <a:lnTo>
                    <a:pt x="306" y="216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84" y="210"/>
                  </a:lnTo>
                  <a:lnTo>
                    <a:pt x="408" y="222"/>
                  </a:lnTo>
                  <a:lnTo>
                    <a:pt x="438" y="228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86" y="222"/>
                  </a:lnTo>
                  <a:lnTo>
                    <a:pt x="492" y="210"/>
                  </a:lnTo>
                  <a:lnTo>
                    <a:pt x="492" y="198"/>
                  </a:lnTo>
                  <a:lnTo>
                    <a:pt x="486" y="180"/>
                  </a:lnTo>
                  <a:lnTo>
                    <a:pt x="492" y="162"/>
                  </a:lnTo>
                  <a:lnTo>
                    <a:pt x="510" y="96"/>
                  </a:lnTo>
                  <a:lnTo>
                    <a:pt x="516" y="84"/>
                  </a:lnTo>
                  <a:lnTo>
                    <a:pt x="522" y="84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34" y="72"/>
                  </a:lnTo>
                  <a:lnTo>
                    <a:pt x="534" y="60"/>
                  </a:lnTo>
                  <a:lnTo>
                    <a:pt x="540" y="36"/>
                  </a:lnTo>
                  <a:lnTo>
                    <a:pt x="546" y="6"/>
                  </a:lnTo>
                  <a:lnTo>
                    <a:pt x="558" y="6"/>
                  </a:lnTo>
                  <a:lnTo>
                    <a:pt x="564" y="0"/>
                  </a:lnTo>
                  <a:lnTo>
                    <a:pt x="582" y="0"/>
                  </a:lnTo>
                  <a:lnTo>
                    <a:pt x="588" y="0"/>
                  </a:lnTo>
                  <a:lnTo>
                    <a:pt x="594" y="6"/>
                  </a:lnTo>
                  <a:lnTo>
                    <a:pt x="600" y="12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24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36" y="36"/>
                  </a:lnTo>
                  <a:lnTo>
                    <a:pt x="642" y="36"/>
                  </a:lnTo>
                  <a:lnTo>
                    <a:pt x="642" y="42"/>
                  </a:lnTo>
                  <a:lnTo>
                    <a:pt x="648" y="54"/>
                  </a:lnTo>
                  <a:lnTo>
                    <a:pt x="660" y="72"/>
                  </a:lnTo>
                  <a:lnTo>
                    <a:pt x="666" y="78"/>
                  </a:lnTo>
                  <a:lnTo>
                    <a:pt x="672" y="90"/>
                  </a:lnTo>
                  <a:lnTo>
                    <a:pt x="678" y="102"/>
                  </a:lnTo>
                  <a:lnTo>
                    <a:pt x="678" y="114"/>
                  </a:lnTo>
                  <a:lnTo>
                    <a:pt x="684" y="132"/>
                  </a:lnTo>
                  <a:lnTo>
                    <a:pt x="684" y="144"/>
                  </a:lnTo>
                  <a:lnTo>
                    <a:pt x="690" y="162"/>
                  </a:lnTo>
                  <a:lnTo>
                    <a:pt x="696" y="168"/>
                  </a:lnTo>
                  <a:lnTo>
                    <a:pt x="696" y="180"/>
                  </a:lnTo>
                  <a:lnTo>
                    <a:pt x="702" y="186"/>
                  </a:lnTo>
                  <a:lnTo>
                    <a:pt x="708" y="186"/>
                  </a:lnTo>
                  <a:lnTo>
                    <a:pt x="714" y="198"/>
                  </a:lnTo>
                  <a:lnTo>
                    <a:pt x="720" y="198"/>
                  </a:lnTo>
                  <a:lnTo>
                    <a:pt x="732" y="204"/>
                  </a:lnTo>
                  <a:lnTo>
                    <a:pt x="738" y="210"/>
                  </a:lnTo>
                  <a:lnTo>
                    <a:pt x="738" y="216"/>
                  </a:lnTo>
                  <a:lnTo>
                    <a:pt x="744" y="222"/>
                  </a:lnTo>
                  <a:lnTo>
                    <a:pt x="750" y="228"/>
                  </a:lnTo>
                  <a:lnTo>
                    <a:pt x="756" y="228"/>
                  </a:lnTo>
                  <a:lnTo>
                    <a:pt x="768" y="240"/>
                  </a:lnTo>
                  <a:lnTo>
                    <a:pt x="774" y="252"/>
                  </a:lnTo>
                  <a:lnTo>
                    <a:pt x="780" y="258"/>
                  </a:lnTo>
                  <a:lnTo>
                    <a:pt x="786" y="258"/>
                  </a:lnTo>
                  <a:lnTo>
                    <a:pt x="798" y="264"/>
                  </a:lnTo>
                  <a:lnTo>
                    <a:pt x="798" y="270"/>
                  </a:lnTo>
                  <a:lnTo>
                    <a:pt x="798" y="276"/>
                  </a:lnTo>
                  <a:lnTo>
                    <a:pt x="810" y="288"/>
                  </a:lnTo>
                  <a:lnTo>
                    <a:pt x="816" y="288"/>
                  </a:lnTo>
                  <a:lnTo>
                    <a:pt x="816" y="300"/>
                  </a:lnTo>
                  <a:lnTo>
                    <a:pt x="816" y="306"/>
                  </a:lnTo>
                  <a:lnTo>
                    <a:pt x="822" y="318"/>
                  </a:lnTo>
                  <a:lnTo>
                    <a:pt x="828" y="324"/>
                  </a:lnTo>
                  <a:lnTo>
                    <a:pt x="834" y="330"/>
                  </a:lnTo>
                  <a:lnTo>
                    <a:pt x="846" y="336"/>
                  </a:lnTo>
                  <a:lnTo>
                    <a:pt x="846" y="342"/>
                  </a:lnTo>
                  <a:lnTo>
                    <a:pt x="852" y="348"/>
                  </a:lnTo>
                  <a:lnTo>
                    <a:pt x="852" y="354"/>
                  </a:lnTo>
                  <a:lnTo>
                    <a:pt x="858" y="354"/>
                  </a:lnTo>
                  <a:lnTo>
                    <a:pt x="858" y="348"/>
                  </a:lnTo>
                  <a:lnTo>
                    <a:pt x="864" y="342"/>
                  </a:lnTo>
                  <a:lnTo>
                    <a:pt x="864" y="336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76" y="306"/>
                  </a:lnTo>
                  <a:lnTo>
                    <a:pt x="870" y="300"/>
                  </a:lnTo>
                  <a:lnTo>
                    <a:pt x="870" y="294"/>
                  </a:lnTo>
                  <a:lnTo>
                    <a:pt x="876" y="294"/>
                  </a:lnTo>
                  <a:lnTo>
                    <a:pt x="882" y="300"/>
                  </a:lnTo>
                  <a:lnTo>
                    <a:pt x="888" y="300"/>
                  </a:lnTo>
                  <a:lnTo>
                    <a:pt x="888" y="306"/>
                  </a:lnTo>
                  <a:lnTo>
                    <a:pt x="894" y="300"/>
                  </a:lnTo>
                  <a:lnTo>
                    <a:pt x="900" y="294"/>
                  </a:lnTo>
                  <a:lnTo>
                    <a:pt x="894" y="288"/>
                  </a:lnTo>
                  <a:lnTo>
                    <a:pt x="888" y="282"/>
                  </a:lnTo>
                  <a:lnTo>
                    <a:pt x="888" y="276"/>
                  </a:lnTo>
                  <a:lnTo>
                    <a:pt x="894" y="276"/>
                  </a:lnTo>
                  <a:lnTo>
                    <a:pt x="900" y="276"/>
                  </a:lnTo>
                  <a:lnTo>
                    <a:pt x="900" y="270"/>
                  </a:lnTo>
                  <a:lnTo>
                    <a:pt x="906" y="264"/>
                  </a:lnTo>
                  <a:lnTo>
                    <a:pt x="906" y="258"/>
                  </a:lnTo>
                  <a:lnTo>
                    <a:pt x="918" y="264"/>
                  </a:lnTo>
                  <a:lnTo>
                    <a:pt x="918" y="258"/>
                  </a:lnTo>
                  <a:lnTo>
                    <a:pt x="924" y="252"/>
                  </a:lnTo>
                  <a:lnTo>
                    <a:pt x="930" y="252"/>
                  </a:lnTo>
                  <a:lnTo>
                    <a:pt x="930" y="246"/>
                  </a:lnTo>
                  <a:lnTo>
                    <a:pt x="936" y="234"/>
                  </a:lnTo>
                  <a:lnTo>
                    <a:pt x="942" y="228"/>
                  </a:lnTo>
                  <a:lnTo>
                    <a:pt x="942" y="222"/>
                  </a:lnTo>
                  <a:lnTo>
                    <a:pt x="948" y="222"/>
                  </a:lnTo>
                  <a:lnTo>
                    <a:pt x="948" y="216"/>
                  </a:lnTo>
                  <a:lnTo>
                    <a:pt x="942" y="216"/>
                  </a:lnTo>
                  <a:lnTo>
                    <a:pt x="936" y="216"/>
                  </a:lnTo>
                  <a:lnTo>
                    <a:pt x="936" y="210"/>
                  </a:lnTo>
                  <a:lnTo>
                    <a:pt x="942" y="210"/>
                  </a:lnTo>
                  <a:lnTo>
                    <a:pt x="972" y="210"/>
                  </a:lnTo>
                  <a:lnTo>
                    <a:pt x="1032" y="216"/>
                  </a:lnTo>
                  <a:lnTo>
                    <a:pt x="1068" y="216"/>
                  </a:lnTo>
                  <a:lnTo>
                    <a:pt x="1056" y="234"/>
                  </a:lnTo>
                  <a:lnTo>
                    <a:pt x="1050" y="240"/>
                  </a:lnTo>
                  <a:lnTo>
                    <a:pt x="1044" y="246"/>
                  </a:lnTo>
                  <a:lnTo>
                    <a:pt x="1038" y="246"/>
                  </a:lnTo>
                  <a:lnTo>
                    <a:pt x="1026" y="282"/>
                  </a:lnTo>
                  <a:lnTo>
                    <a:pt x="1032" y="306"/>
                  </a:lnTo>
                  <a:lnTo>
                    <a:pt x="1044" y="324"/>
                  </a:lnTo>
                  <a:lnTo>
                    <a:pt x="1044" y="342"/>
                  </a:lnTo>
                  <a:lnTo>
                    <a:pt x="1062" y="366"/>
                  </a:lnTo>
                  <a:lnTo>
                    <a:pt x="1056" y="396"/>
                  </a:lnTo>
                  <a:lnTo>
                    <a:pt x="1038" y="462"/>
                  </a:lnTo>
                  <a:lnTo>
                    <a:pt x="1038" y="498"/>
                  </a:lnTo>
                  <a:lnTo>
                    <a:pt x="1038" y="522"/>
                  </a:lnTo>
                  <a:lnTo>
                    <a:pt x="1038" y="534"/>
                  </a:lnTo>
                  <a:lnTo>
                    <a:pt x="1056" y="522"/>
                  </a:lnTo>
                  <a:lnTo>
                    <a:pt x="1098" y="504"/>
                  </a:lnTo>
                  <a:lnTo>
                    <a:pt x="1104" y="498"/>
                  </a:lnTo>
                  <a:lnTo>
                    <a:pt x="1128" y="492"/>
                  </a:lnTo>
                  <a:lnTo>
                    <a:pt x="1152" y="480"/>
                  </a:lnTo>
                  <a:lnTo>
                    <a:pt x="1170" y="474"/>
                  </a:lnTo>
                  <a:lnTo>
                    <a:pt x="1188" y="468"/>
                  </a:lnTo>
                  <a:lnTo>
                    <a:pt x="1200" y="462"/>
                  </a:lnTo>
                  <a:lnTo>
                    <a:pt x="1224" y="450"/>
                  </a:lnTo>
                  <a:lnTo>
                    <a:pt x="1248" y="450"/>
                  </a:lnTo>
                  <a:lnTo>
                    <a:pt x="1266" y="450"/>
                  </a:lnTo>
                  <a:lnTo>
                    <a:pt x="1296" y="456"/>
                  </a:lnTo>
                  <a:lnTo>
                    <a:pt x="1308" y="456"/>
                  </a:lnTo>
                  <a:lnTo>
                    <a:pt x="1326" y="456"/>
                  </a:lnTo>
                  <a:lnTo>
                    <a:pt x="1338" y="456"/>
                  </a:lnTo>
                  <a:lnTo>
                    <a:pt x="1350" y="462"/>
                  </a:lnTo>
                  <a:lnTo>
                    <a:pt x="1356" y="462"/>
                  </a:lnTo>
                  <a:lnTo>
                    <a:pt x="1374" y="456"/>
                  </a:lnTo>
                  <a:lnTo>
                    <a:pt x="1386" y="456"/>
                  </a:lnTo>
                  <a:lnTo>
                    <a:pt x="1392" y="456"/>
                  </a:lnTo>
                  <a:lnTo>
                    <a:pt x="1398" y="456"/>
                  </a:lnTo>
                  <a:lnTo>
                    <a:pt x="1422" y="456"/>
                  </a:lnTo>
                  <a:lnTo>
                    <a:pt x="1440" y="456"/>
                  </a:lnTo>
                  <a:lnTo>
                    <a:pt x="1446" y="456"/>
                  </a:lnTo>
                  <a:lnTo>
                    <a:pt x="1476" y="456"/>
                  </a:lnTo>
                  <a:lnTo>
                    <a:pt x="1470" y="468"/>
                  </a:lnTo>
                  <a:lnTo>
                    <a:pt x="1470" y="474"/>
                  </a:lnTo>
                  <a:lnTo>
                    <a:pt x="1470" y="486"/>
                  </a:lnTo>
                  <a:lnTo>
                    <a:pt x="1464" y="492"/>
                  </a:lnTo>
                  <a:lnTo>
                    <a:pt x="1464" y="498"/>
                  </a:lnTo>
                  <a:lnTo>
                    <a:pt x="1458" y="498"/>
                  </a:lnTo>
                  <a:lnTo>
                    <a:pt x="1458" y="510"/>
                  </a:lnTo>
                  <a:lnTo>
                    <a:pt x="1452" y="522"/>
                  </a:lnTo>
                  <a:lnTo>
                    <a:pt x="1458" y="528"/>
                  </a:lnTo>
                  <a:lnTo>
                    <a:pt x="1464" y="546"/>
                  </a:lnTo>
                  <a:lnTo>
                    <a:pt x="1470" y="552"/>
                  </a:lnTo>
                  <a:lnTo>
                    <a:pt x="1476" y="564"/>
                  </a:lnTo>
                  <a:lnTo>
                    <a:pt x="1488" y="588"/>
                  </a:lnTo>
                  <a:lnTo>
                    <a:pt x="1506" y="606"/>
                  </a:lnTo>
                  <a:lnTo>
                    <a:pt x="1506" y="612"/>
                  </a:lnTo>
                  <a:lnTo>
                    <a:pt x="1518" y="618"/>
                  </a:lnTo>
                  <a:lnTo>
                    <a:pt x="1512" y="630"/>
                  </a:lnTo>
                  <a:lnTo>
                    <a:pt x="1518" y="642"/>
                  </a:lnTo>
                  <a:lnTo>
                    <a:pt x="1518" y="648"/>
                  </a:lnTo>
                  <a:lnTo>
                    <a:pt x="1530" y="666"/>
                  </a:lnTo>
                  <a:lnTo>
                    <a:pt x="1518" y="672"/>
                  </a:lnTo>
                  <a:lnTo>
                    <a:pt x="1524" y="696"/>
                  </a:lnTo>
                  <a:lnTo>
                    <a:pt x="1518" y="732"/>
                  </a:lnTo>
                  <a:lnTo>
                    <a:pt x="1524" y="762"/>
                  </a:lnTo>
                  <a:lnTo>
                    <a:pt x="1524" y="780"/>
                  </a:lnTo>
                  <a:lnTo>
                    <a:pt x="1524" y="810"/>
                  </a:lnTo>
                  <a:lnTo>
                    <a:pt x="1530" y="834"/>
                  </a:lnTo>
                  <a:lnTo>
                    <a:pt x="1536" y="846"/>
                  </a:lnTo>
                  <a:lnTo>
                    <a:pt x="1542" y="846"/>
                  </a:lnTo>
                  <a:lnTo>
                    <a:pt x="1584" y="840"/>
                  </a:lnTo>
                  <a:lnTo>
                    <a:pt x="1590" y="846"/>
                  </a:lnTo>
                  <a:lnTo>
                    <a:pt x="1596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90" y="864"/>
                  </a:lnTo>
                  <a:lnTo>
                    <a:pt x="1578" y="882"/>
                  </a:lnTo>
                  <a:lnTo>
                    <a:pt x="1572" y="906"/>
                  </a:lnTo>
                  <a:lnTo>
                    <a:pt x="1560" y="924"/>
                  </a:lnTo>
                  <a:lnTo>
                    <a:pt x="1560" y="936"/>
                  </a:lnTo>
                  <a:lnTo>
                    <a:pt x="1548" y="960"/>
                  </a:lnTo>
                  <a:lnTo>
                    <a:pt x="1542" y="978"/>
                  </a:lnTo>
                  <a:lnTo>
                    <a:pt x="1536" y="990"/>
                  </a:lnTo>
                  <a:lnTo>
                    <a:pt x="1530" y="990"/>
                  </a:lnTo>
                  <a:lnTo>
                    <a:pt x="1506" y="996"/>
                  </a:lnTo>
                  <a:lnTo>
                    <a:pt x="1494" y="1002"/>
                  </a:lnTo>
                  <a:lnTo>
                    <a:pt x="1482" y="1002"/>
                  </a:lnTo>
                  <a:lnTo>
                    <a:pt x="1464" y="1008"/>
                  </a:lnTo>
                  <a:lnTo>
                    <a:pt x="1446" y="1026"/>
                  </a:lnTo>
                  <a:lnTo>
                    <a:pt x="1440" y="1026"/>
                  </a:lnTo>
                  <a:lnTo>
                    <a:pt x="1434" y="1038"/>
                  </a:lnTo>
                  <a:lnTo>
                    <a:pt x="1428" y="1044"/>
                  </a:lnTo>
                  <a:lnTo>
                    <a:pt x="1428" y="1062"/>
                  </a:lnTo>
                  <a:lnTo>
                    <a:pt x="1428" y="1086"/>
                  </a:lnTo>
                  <a:lnTo>
                    <a:pt x="1416" y="1092"/>
                  </a:lnTo>
                  <a:lnTo>
                    <a:pt x="1410" y="1080"/>
                  </a:lnTo>
                  <a:lnTo>
                    <a:pt x="1392" y="10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0" name="Freeform 25">
              <a:extLst>
                <a:ext uri="{FF2B5EF4-FFF2-40B4-BE49-F238E27FC236}">
                  <a16:creationId xmlns:a16="http://schemas.microsoft.com/office/drawing/2014/main" id="{39FDFF90-5ACF-4D65-81AD-C44D2CBE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70228" y="3063559"/>
              <a:ext cx="644023" cy="704498"/>
            </a:xfrm>
            <a:custGeom>
              <a:avLst/>
              <a:gdLst>
                <a:gd name="T0" fmla="*/ 74 w 1212"/>
                <a:gd name="T1" fmla="*/ 113 h 1326"/>
                <a:gd name="T2" fmla="*/ 60 w 1212"/>
                <a:gd name="T3" fmla="*/ 116 h 1326"/>
                <a:gd name="T4" fmla="*/ 62 w 1212"/>
                <a:gd name="T5" fmla="*/ 110 h 1326"/>
                <a:gd name="T6" fmla="*/ 60 w 1212"/>
                <a:gd name="T7" fmla="*/ 105 h 1326"/>
                <a:gd name="T8" fmla="*/ 52 w 1212"/>
                <a:gd name="T9" fmla="*/ 96 h 1326"/>
                <a:gd name="T10" fmla="*/ 47 w 1212"/>
                <a:gd name="T11" fmla="*/ 98 h 1326"/>
                <a:gd name="T12" fmla="*/ 44 w 1212"/>
                <a:gd name="T13" fmla="*/ 93 h 1326"/>
                <a:gd name="T14" fmla="*/ 40 w 1212"/>
                <a:gd name="T15" fmla="*/ 96 h 1326"/>
                <a:gd name="T16" fmla="*/ 35 w 1212"/>
                <a:gd name="T17" fmla="*/ 102 h 1326"/>
                <a:gd name="T18" fmla="*/ 27 w 1212"/>
                <a:gd name="T19" fmla="*/ 100 h 1326"/>
                <a:gd name="T20" fmla="*/ 23 w 1212"/>
                <a:gd name="T21" fmla="*/ 96 h 1326"/>
                <a:gd name="T22" fmla="*/ 20 w 1212"/>
                <a:gd name="T23" fmla="*/ 90 h 1326"/>
                <a:gd name="T24" fmla="*/ 18 w 1212"/>
                <a:gd name="T25" fmla="*/ 89 h 1326"/>
                <a:gd name="T26" fmla="*/ 18 w 1212"/>
                <a:gd name="T27" fmla="*/ 85 h 1326"/>
                <a:gd name="T28" fmla="*/ 19 w 1212"/>
                <a:gd name="T29" fmla="*/ 83 h 1326"/>
                <a:gd name="T30" fmla="*/ 19 w 1212"/>
                <a:gd name="T31" fmla="*/ 82 h 1326"/>
                <a:gd name="T32" fmla="*/ 20 w 1212"/>
                <a:gd name="T33" fmla="*/ 79 h 1326"/>
                <a:gd name="T34" fmla="*/ 19 w 1212"/>
                <a:gd name="T35" fmla="*/ 75 h 1326"/>
                <a:gd name="T36" fmla="*/ 17 w 1212"/>
                <a:gd name="T37" fmla="*/ 77 h 1326"/>
                <a:gd name="T38" fmla="*/ 14 w 1212"/>
                <a:gd name="T39" fmla="*/ 76 h 1326"/>
                <a:gd name="T40" fmla="*/ 12 w 1212"/>
                <a:gd name="T41" fmla="*/ 71 h 1326"/>
                <a:gd name="T42" fmla="*/ 8 w 1212"/>
                <a:gd name="T43" fmla="*/ 69 h 1326"/>
                <a:gd name="T44" fmla="*/ 0 w 1212"/>
                <a:gd name="T45" fmla="*/ 72 h 1326"/>
                <a:gd name="T46" fmla="*/ 2 w 1212"/>
                <a:gd name="T47" fmla="*/ 67 h 1326"/>
                <a:gd name="T48" fmla="*/ 3 w 1212"/>
                <a:gd name="T49" fmla="*/ 61 h 1326"/>
                <a:gd name="T50" fmla="*/ 4 w 1212"/>
                <a:gd name="T51" fmla="*/ 56 h 1326"/>
                <a:gd name="T52" fmla="*/ 4 w 1212"/>
                <a:gd name="T53" fmla="*/ 52 h 1326"/>
                <a:gd name="T54" fmla="*/ 2 w 1212"/>
                <a:gd name="T55" fmla="*/ 47 h 1326"/>
                <a:gd name="T56" fmla="*/ 2 w 1212"/>
                <a:gd name="T57" fmla="*/ 42 h 1326"/>
                <a:gd name="T58" fmla="*/ 5 w 1212"/>
                <a:gd name="T59" fmla="*/ 39 h 1326"/>
                <a:gd name="T60" fmla="*/ 5 w 1212"/>
                <a:gd name="T61" fmla="*/ 35 h 1326"/>
                <a:gd name="T62" fmla="*/ 7 w 1212"/>
                <a:gd name="T63" fmla="*/ 31 h 1326"/>
                <a:gd name="T64" fmla="*/ 14 w 1212"/>
                <a:gd name="T65" fmla="*/ 31 h 1326"/>
                <a:gd name="T66" fmla="*/ 18 w 1212"/>
                <a:gd name="T67" fmla="*/ 27 h 1326"/>
                <a:gd name="T68" fmla="*/ 22 w 1212"/>
                <a:gd name="T69" fmla="*/ 24 h 1326"/>
                <a:gd name="T70" fmla="*/ 27 w 1212"/>
                <a:gd name="T71" fmla="*/ 20 h 1326"/>
                <a:gd name="T72" fmla="*/ 35 w 1212"/>
                <a:gd name="T73" fmla="*/ 21 h 1326"/>
                <a:gd name="T74" fmla="*/ 61 w 1212"/>
                <a:gd name="T75" fmla="*/ 8 h 1326"/>
                <a:gd name="T76" fmla="*/ 73 w 1212"/>
                <a:gd name="T77" fmla="*/ 4 h 1326"/>
                <a:gd name="T78" fmla="*/ 86 w 1212"/>
                <a:gd name="T79" fmla="*/ 12 h 1326"/>
                <a:gd name="T80" fmla="*/ 92 w 1212"/>
                <a:gd name="T81" fmla="*/ 13 h 1326"/>
                <a:gd name="T82" fmla="*/ 86 w 1212"/>
                <a:gd name="T83" fmla="*/ 18 h 1326"/>
                <a:gd name="T84" fmla="*/ 88 w 1212"/>
                <a:gd name="T85" fmla="*/ 33 h 1326"/>
                <a:gd name="T86" fmla="*/ 97 w 1212"/>
                <a:gd name="T87" fmla="*/ 49 h 1326"/>
                <a:gd name="T88" fmla="*/ 102 w 1212"/>
                <a:gd name="T89" fmla="*/ 57 h 1326"/>
                <a:gd name="T90" fmla="*/ 104 w 1212"/>
                <a:gd name="T91" fmla="*/ 67 h 1326"/>
                <a:gd name="T92" fmla="*/ 101 w 1212"/>
                <a:gd name="T93" fmla="*/ 69 h 1326"/>
                <a:gd name="T94" fmla="*/ 97 w 1212"/>
                <a:gd name="T95" fmla="*/ 69 h 1326"/>
                <a:gd name="T96" fmla="*/ 96 w 1212"/>
                <a:gd name="T97" fmla="*/ 71 h 1326"/>
                <a:gd name="T98" fmla="*/ 93 w 1212"/>
                <a:gd name="T99" fmla="*/ 70 h 1326"/>
                <a:gd name="T100" fmla="*/ 86 w 1212"/>
                <a:gd name="T101" fmla="*/ 69 h 1326"/>
                <a:gd name="T102" fmla="*/ 82 w 1212"/>
                <a:gd name="T103" fmla="*/ 73 h 1326"/>
                <a:gd name="T104" fmla="*/ 79 w 1212"/>
                <a:gd name="T105" fmla="*/ 74 h 1326"/>
                <a:gd name="T106" fmla="*/ 78 w 1212"/>
                <a:gd name="T107" fmla="*/ 79 h 1326"/>
                <a:gd name="T108" fmla="*/ 78 w 1212"/>
                <a:gd name="T109" fmla="*/ 83 h 1326"/>
                <a:gd name="T110" fmla="*/ 82 w 1212"/>
                <a:gd name="T111" fmla="*/ 87 h 1326"/>
                <a:gd name="T112" fmla="*/ 83 w 1212"/>
                <a:gd name="T113" fmla="*/ 90 h 1326"/>
                <a:gd name="T114" fmla="*/ 82 w 1212"/>
                <a:gd name="T115" fmla="*/ 94 h 1326"/>
                <a:gd name="T116" fmla="*/ 82 w 1212"/>
                <a:gd name="T117" fmla="*/ 98 h 1326"/>
                <a:gd name="T118" fmla="*/ 82 w 1212"/>
                <a:gd name="T119" fmla="*/ 104 h 1326"/>
                <a:gd name="T120" fmla="*/ 78 w 1212"/>
                <a:gd name="T121" fmla="*/ 110 h 132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12"/>
                <a:gd name="T184" fmla="*/ 0 h 1326"/>
                <a:gd name="T185" fmla="*/ 1212 w 1212"/>
                <a:gd name="T186" fmla="*/ 1326 h 132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12" h="1326">
                  <a:moveTo>
                    <a:pt x="906" y="1290"/>
                  </a:moveTo>
                  <a:lnTo>
                    <a:pt x="906" y="1296"/>
                  </a:lnTo>
                  <a:lnTo>
                    <a:pt x="900" y="1296"/>
                  </a:lnTo>
                  <a:lnTo>
                    <a:pt x="876" y="1290"/>
                  </a:lnTo>
                  <a:lnTo>
                    <a:pt x="870" y="1290"/>
                  </a:lnTo>
                  <a:lnTo>
                    <a:pt x="864" y="1296"/>
                  </a:lnTo>
                  <a:lnTo>
                    <a:pt x="852" y="1296"/>
                  </a:lnTo>
                  <a:lnTo>
                    <a:pt x="840" y="1302"/>
                  </a:lnTo>
                  <a:lnTo>
                    <a:pt x="834" y="1308"/>
                  </a:lnTo>
                  <a:lnTo>
                    <a:pt x="822" y="1320"/>
                  </a:lnTo>
                  <a:lnTo>
                    <a:pt x="816" y="1320"/>
                  </a:lnTo>
                  <a:lnTo>
                    <a:pt x="732" y="1320"/>
                  </a:lnTo>
                  <a:lnTo>
                    <a:pt x="696" y="1320"/>
                  </a:lnTo>
                  <a:lnTo>
                    <a:pt x="690" y="1326"/>
                  </a:lnTo>
                  <a:lnTo>
                    <a:pt x="678" y="1326"/>
                  </a:lnTo>
                  <a:lnTo>
                    <a:pt x="672" y="1308"/>
                  </a:lnTo>
                  <a:lnTo>
                    <a:pt x="696" y="1302"/>
                  </a:lnTo>
                  <a:lnTo>
                    <a:pt x="708" y="1296"/>
                  </a:lnTo>
                  <a:lnTo>
                    <a:pt x="720" y="1284"/>
                  </a:lnTo>
                  <a:lnTo>
                    <a:pt x="714" y="1278"/>
                  </a:lnTo>
                  <a:lnTo>
                    <a:pt x="714" y="1266"/>
                  </a:lnTo>
                  <a:lnTo>
                    <a:pt x="708" y="1260"/>
                  </a:lnTo>
                  <a:lnTo>
                    <a:pt x="708" y="1254"/>
                  </a:lnTo>
                  <a:lnTo>
                    <a:pt x="708" y="1248"/>
                  </a:lnTo>
                  <a:lnTo>
                    <a:pt x="702" y="1236"/>
                  </a:lnTo>
                  <a:lnTo>
                    <a:pt x="702" y="1230"/>
                  </a:lnTo>
                  <a:lnTo>
                    <a:pt x="702" y="1218"/>
                  </a:lnTo>
                  <a:lnTo>
                    <a:pt x="696" y="1200"/>
                  </a:lnTo>
                  <a:lnTo>
                    <a:pt x="696" y="1182"/>
                  </a:lnTo>
                  <a:lnTo>
                    <a:pt x="666" y="1182"/>
                  </a:lnTo>
                  <a:lnTo>
                    <a:pt x="672" y="1134"/>
                  </a:lnTo>
                  <a:lnTo>
                    <a:pt x="666" y="1128"/>
                  </a:lnTo>
                  <a:lnTo>
                    <a:pt x="660" y="1092"/>
                  </a:lnTo>
                  <a:lnTo>
                    <a:pt x="654" y="1098"/>
                  </a:lnTo>
                  <a:lnTo>
                    <a:pt x="594" y="1098"/>
                  </a:lnTo>
                  <a:lnTo>
                    <a:pt x="576" y="1098"/>
                  </a:lnTo>
                  <a:lnTo>
                    <a:pt x="570" y="1104"/>
                  </a:lnTo>
                  <a:lnTo>
                    <a:pt x="564" y="1110"/>
                  </a:lnTo>
                  <a:lnTo>
                    <a:pt x="558" y="1110"/>
                  </a:lnTo>
                  <a:lnTo>
                    <a:pt x="552" y="1110"/>
                  </a:lnTo>
                  <a:lnTo>
                    <a:pt x="546" y="1110"/>
                  </a:lnTo>
                  <a:lnTo>
                    <a:pt x="546" y="1116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10" y="1128"/>
                  </a:lnTo>
                  <a:lnTo>
                    <a:pt x="522" y="1104"/>
                  </a:lnTo>
                  <a:lnTo>
                    <a:pt x="510" y="1098"/>
                  </a:lnTo>
                  <a:lnTo>
                    <a:pt x="510" y="1074"/>
                  </a:lnTo>
                  <a:lnTo>
                    <a:pt x="504" y="1068"/>
                  </a:lnTo>
                  <a:lnTo>
                    <a:pt x="498" y="1068"/>
                  </a:lnTo>
                  <a:lnTo>
                    <a:pt x="492" y="1068"/>
                  </a:lnTo>
                  <a:lnTo>
                    <a:pt x="474" y="1080"/>
                  </a:lnTo>
                  <a:lnTo>
                    <a:pt x="474" y="1086"/>
                  </a:lnTo>
                  <a:lnTo>
                    <a:pt x="474" y="1092"/>
                  </a:lnTo>
                  <a:lnTo>
                    <a:pt x="468" y="1098"/>
                  </a:lnTo>
                  <a:lnTo>
                    <a:pt x="462" y="1104"/>
                  </a:lnTo>
                  <a:lnTo>
                    <a:pt x="456" y="1110"/>
                  </a:lnTo>
                  <a:lnTo>
                    <a:pt x="456" y="1122"/>
                  </a:lnTo>
                  <a:lnTo>
                    <a:pt x="456" y="1128"/>
                  </a:lnTo>
                  <a:lnTo>
                    <a:pt x="450" y="1140"/>
                  </a:lnTo>
                  <a:lnTo>
                    <a:pt x="444" y="1146"/>
                  </a:lnTo>
                  <a:lnTo>
                    <a:pt x="426" y="1170"/>
                  </a:lnTo>
                  <a:lnTo>
                    <a:pt x="408" y="1176"/>
                  </a:lnTo>
                  <a:lnTo>
                    <a:pt x="402" y="1170"/>
                  </a:lnTo>
                  <a:lnTo>
                    <a:pt x="396" y="1170"/>
                  </a:lnTo>
                  <a:lnTo>
                    <a:pt x="396" y="1158"/>
                  </a:lnTo>
                  <a:lnTo>
                    <a:pt x="384" y="1152"/>
                  </a:lnTo>
                  <a:lnTo>
                    <a:pt x="372" y="1140"/>
                  </a:lnTo>
                  <a:lnTo>
                    <a:pt x="354" y="1140"/>
                  </a:lnTo>
                  <a:lnTo>
                    <a:pt x="306" y="1146"/>
                  </a:lnTo>
                  <a:lnTo>
                    <a:pt x="294" y="1134"/>
                  </a:lnTo>
                  <a:lnTo>
                    <a:pt x="294" y="1128"/>
                  </a:lnTo>
                  <a:lnTo>
                    <a:pt x="288" y="1122"/>
                  </a:lnTo>
                  <a:lnTo>
                    <a:pt x="276" y="1122"/>
                  </a:lnTo>
                  <a:lnTo>
                    <a:pt x="276" y="1110"/>
                  </a:lnTo>
                  <a:lnTo>
                    <a:pt x="276" y="1104"/>
                  </a:lnTo>
                  <a:lnTo>
                    <a:pt x="270" y="1098"/>
                  </a:lnTo>
                  <a:lnTo>
                    <a:pt x="264" y="1086"/>
                  </a:lnTo>
                  <a:lnTo>
                    <a:pt x="264" y="1074"/>
                  </a:lnTo>
                  <a:lnTo>
                    <a:pt x="258" y="1068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34" y="1038"/>
                  </a:lnTo>
                  <a:lnTo>
                    <a:pt x="228" y="1038"/>
                  </a:lnTo>
                  <a:lnTo>
                    <a:pt x="222" y="1038"/>
                  </a:lnTo>
                  <a:lnTo>
                    <a:pt x="216" y="1038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0"/>
                  </a:lnTo>
                  <a:lnTo>
                    <a:pt x="204" y="1014"/>
                  </a:lnTo>
                  <a:lnTo>
                    <a:pt x="204" y="1008"/>
                  </a:lnTo>
                  <a:lnTo>
                    <a:pt x="198" y="1002"/>
                  </a:lnTo>
                  <a:lnTo>
                    <a:pt x="198" y="996"/>
                  </a:lnTo>
                  <a:lnTo>
                    <a:pt x="198" y="990"/>
                  </a:lnTo>
                  <a:lnTo>
                    <a:pt x="204" y="990"/>
                  </a:lnTo>
                  <a:lnTo>
                    <a:pt x="204" y="984"/>
                  </a:lnTo>
                  <a:lnTo>
                    <a:pt x="210" y="978"/>
                  </a:lnTo>
                  <a:lnTo>
                    <a:pt x="210" y="972"/>
                  </a:lnTo>
                  <a:lnTo>
                    <a:pt x="210" y="966"/>
                  </a:lnTo>
                  <a:lnTo>
                    <a:pt x="216" y="960"/>
                  </a:lnTo>
                  <a:lnTo>
                    <a:pt x="216" y="954"/>
                  </a:lnTo>
                  <a:lnTo>
                    <a:pt x="210" y="954"/>
                  </a:lnTo>
                  <a:lnTo>
                    <a:pt x="204" y="954"/>
                  </a:lnTo>
                  <a:lnTo>
                    <a:pt x="216" y="954"/>
                  </a:lnTo>
                  <a:lnTo>
                    <a:pt x="216" y="948"/>
                  </a:lnTo>
                  <a:lnTo>
                    <a:pt x="210" y="948"/>
                  </a:lnTo>
                  <a:lnTo>
                    <a:pt x="210" y="942"/>
                  </a:lnTo>
                  <a:lnTo>
                    <a:pt x="216" y="942"/>
                  </a:lnTo>
                  <a:lnTo>
                    <a:pt x="222" y="942"/>
                  </a:lnTo>
                  <a:lnTo>
                    <a:pt x="222" y="936"/>
                  </a:lnTo>
                  <a:lnTo>
                    <a:pt x="216" y="936"/>
                  </a:lnTo>
                  <a:lnTo>
                    <a:pt x="210" y="936"/>
                  </a:lnTo>
                  <a:lnTo>
                    <a:pt x="210" y="930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22" y="918"/>
                  </a:lnTo>
                  <a:lnTo>
                    <a:pt x="228" y="912"/>
                  </a:lnTo>
                  <a:lnTo>
                    <a:pt x="228" y="906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2" y="888"/>
                  </a:lnTo>
                  <a:lnTo>
                    <a:pt x="222" y="882"/>
                  </a:lnTo>
                  <a:lnTo>
                    <a:pt x="222" y="876"/>
                  </a:lnTo>
                  <a:lnTo>
                    <a:pt x="222" y="858"/>
                  </a:lnTo>
                  <a:lnTo>
                    <a:pt x="216" y="858"/>
                  </a:lnTo>
                  <a:lnTo>
                    <a:pt x="216" y="852"/>
                  </a:lnTo>
                  <a:lnTo>
                    <a:pt x="210" y="852"/>
                  </a:lnTo>
                  <a:lnTo>
                    <a:pt x="210" y="840"/>
                  </a:lnTo>
                  <a:lnTo>
                    <a:pt x="198" y="840"/>
                  </a:lnTo>
                  <a:lnTo>
                    <a:pt x="198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0" y="894"/>
                  </a:lnTo>
                  <a:lnTo>
                    <a:pt x="180" y="906"/>
                  </a:lnTo>
                  <a:lnTo>
                    <a:pt x="156" y="912"/>
                  </a:lnTo>
                  <a:lnTo>
                    <a:pt x="156" y="894"/>
                  </a:lnTo>
                  <a:lnTo>
                    <a:pt x="156" y="882"/>
                  </a:lnTo>
                  <a:lnTo>
                    <a:pt x="156" y="876"/>
                  </a:lnTo>
                  <a:lnTo>
                    <a:pt x="150" y="876"/>
                  </a:lnTo>
                  <a:lnTo>
                    <a:pt x="144" y="876"/>
                  </a:lnTo>
                  <a:lnTo>
                    <a:pt x="138" y="870"/>
                  </a:lnTo>
                  <a:lnTo>
                    <a:pt x="132" y="864"/>
                  </a:lnTo>
                  <a:lnTo>
                    <a:pt x="138" y="840"/>
                  </a:lnTo>
                  <a:lnTo>
                    <a:pt x="132" y="840"/>
                  </a:lnTo>
                  <a:lnTo>
                    <a:pt x="138" y="810"/>
                  </a:lnTo>
                  <a:lnTo>
                    <a:pt x="144" y="804"/>
                  </a:lnTo>
                  <a:lnTo>
                    <a:pt x="144" y="798"/>
                  </a:lnTo>
                  <a:lnTo>
                    <a:pt x="156" y="798"/>
                  </a:lnTo>
                  <a:lnTo>
                    <a:pt x="156" y="792"/>
                  </a:lnTo>
                  <a:lnTo>
                    <a:pt x="120" y="792"/>
                  </a:lnTo>
                  <a:lnTo>
                    <a:pt x="108" y="786"/>
                  </a:lnTo>
                  <a:lnTo>
                    <a:pt x="96" y="786"/>
                  </a:lnTo>
                  <a:lnTo>
                    <a:pt x="96" y="780"/>
                  </a:lnTo>
                  <a:lnTo>
                    <a:pt x="78" y="780"/>
                  </a:lnTo>
                  <a:lnTo>
                    <a:pt x="72" y="804"/>
                  </a:lnTo>
                  <a:lnTo>
                    <a:pt x="60" y="816"/>
                  </a:lnTo>
                  <a:lnTo>
                    <a:pt x="36" y="828"/>
                  </a:lnTo>
                  <a:lnTo>
                    <a:pt x="18" y="840"/>
                  </a:lnTo>
                  <a:lnTo>
                    <a:pt x="0" y="822"/>
                  </a:lnTo>
                  <a:lnTo>
                    <a:pt x="6" y="816"/>
                  </a:lnTo>
                  <a:lnTo>
                    <a:pt x="12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18" y="786"/>
                  </a:lnTo>
                  <a:lnTo>
                    <a:pt x="24" y="780"/>
                  </a:lnTo>
                  <a:lnTo>
                    <a:pt x="24" y="768"/>
                  </a:lnTo>
                  <a:lnTo>
                    <a:pt x="24" y="762"/>
                  </a:lnTo>
                  <a:lnTo>
                    <a:pt x="24" y="750"/>
                  </a:lnTo>
                  <a:lnTo>
                    <a:pt x="36" y="714"/>
                  </a:lnTo>
                  <a:lnTo>
                    <a:pt x="36" y="708"/>
                  </a:lnTo>
                  <a:lnTo>
                    <a:pt x="42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6" y="690"/>
                  </a:lnTo>
                  <a:lnTo>
                    <a:pt x="42" y="684"/>
                  </a:lnTo>
                  <a:lnTo>
                    <a:pt x="42" y="672"/>
                  </a:lnTo>
                  <a:lnTo>
                    <a:pt x="42" y="666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48" y="648"/>
                  </a:lnTo>
                  <a:lnTo>
                    <a:pt x="54" y="642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54" y="612"/>
                  </a:lnTo>
                  <a:lnTo>
                    <a:pt x="48" y="606"/>
                  </a:lnTo>
                  <a:lnTo>
                    <a:pt x="48" y="600"/>
                  </a:lnTo>
                  <a:lnTo>
                    <a:pt x="42" y="600"/>
                  </a:lnTo>
                  <a:lnTo>
                    <a:pt x="36" y="594"/>
                  </a:lnTo>
                  <a:lnTo>
                    <a:pt x="36" y="588"/>
                  </a:lnTo>
                  <a:lnTo>
                    <a:pt x="30" y="582"/>
                  </a:lnTo>
                  <a:lnTo>
                    <a:pt x="30" y="570"/>
                  </a:lnTo>
                  <a:lnTo>
                    <a:pt x="18" y="552"/>
                  </a:lnTo>
                  <a:lnTo>
                    <a:pt x="18" y="546"/>
                  </a:lnTo>
                  <a:lnTo>
                    <a:pt x="18" y="540"/>
                  </a:lnTo>
                  <a:lnTo>
                    <a:pt x="18" y="528"/>
                  </a:lnTo>
                  <a:lnTo>
                    <a:pt x="18" y="522"/>
                  </a:lnTo>
                  <a:lnTo>
                    <a:pt x="24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30" y="474"/>
                  </a:lnTo>
                  <a:lnTo>
                    <a:pt x="36" y="474"/>
                  </a:lnTo>
                  <a:lnTo>
                    <a:pt x="42" y="468"/>
                  </a:lnTo>
                  <a:lnTo>
                    <a:pt x="48" y="468"/>
                  </a:lnTo>
                  <a:lnTo>
                    <a:pt x="48" y="462"/>
                  </a:lnTo>
                  <a:lnTo>
                    <a:pt x="48" y="456"/>
                  </a:lnTo>
                  <a:lnTo>
                    <a:pt x="54" y="450"/>
                  </a:lnTo>
                  <a:lnTo>
                    <a:pt x="60" y="438"/>
                  </a:lnTo>
                  <a:lnTo>
                    <a:pt x="54" y="438"/>
                  </a:lnTo>
                  <a:lnTo>
                    <a:pt x="54" y="432"/>
                  </a:ln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54" y="402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6" y="384"/>
                  </a:lnTo>
                  <a:lnTo>
                    <a:pt x="72" y="372"/>
                  </a:lnTo>
                  <a:lnTo>
                    <a:pt x="78" y="366"/>
                  </a:lnTo>
                  <a:lnTo>
                    <a:pt x="84" y="360"/>
                  </a:lnTo>
                  <a:lnTo>
                    <a:pt x="102" y="360"/>
                  </a:lnTo>
                  <a:lnTo>
                    <a:pt x="114" y="36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8" y="360"/>
                  </a:lnTo>
                  <a:lnTo>
                    <a:pt x="156" y="360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74" y="342"/>
                  </a:lnTo>
                  <a:lnTo>
                    <a:pt x="180" y="342"/>
                  </a:lnTo>
                  <a:lnTo>
                    <a:pt x="186" y="336"/>
                  </a:lnTo>
                  <a:lnTo>
                    <a:pt x="192" y="330"/>
                  </a:lnTo>
                  <a:lnTo>
                    <a:pt x="204" y="312"/>
                  </a:lnTo>
                  <a:lnTo>
                    <a:pt x="210" y="312"/>
                  </a:lnTo>
                  <a:lnTo>
                    <a:pt x="216" y="306"/>
                  </a:lnTo>
                  <a:lnTo>
                    <a:pt x="216" y="300"/>
                  </a:lnTo>
                  <a:lnTo>
                    <a:pt x="222" y="288"/>
                  </a:lnTo>
                  <a:lnTo>
                    <a:pt x="234" y="288"/>
                  </a:lnTo>
                  <a:lnTo>
                    <a:pt x="240" y="282"/>
                  </a:lnTo>
                  <a:lnTo>
                    <a:pt x="246" y="282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70" y="270"/>
                  </a:lnTo>
                  <a:lnTo>
                    <a:pt x="276" y="264"/>
                  </a:lnTo>
                  <a:lnTo>
                    <a:pt x="282" y="26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8" y="234"/>
                  </a:lnTo>
                  <a:lnTo>
                    <a:pt x="330" y="234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72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14" y="240"/>
                  </a:lnTo>
                  <a:lnTo>
                    <a:pt x="444" y="216"/>
                  </a:lnTo>
                  <a:lnTo>
                    <a:pt x="480" y="204"/>
                  </a:lnTo>
                  <a:lnTo>
                    <a:pt x="600" y="150"/>
                  </a:lnTo>
                  <a:lnTo>
                    <a:pt x="648" y="126"/>
                  </a:lnTo>
                  <a:lnTo>
                    <a:pt x="702" y="96"/>
                  </a:lnTo>
                  <a:lnTo>
                    <a:pt x="708" y="54"/>
                  </a:lnTo>
                  <a:lnTo>
                    <a:pt x="720" y="24"/>
                  </a:lnTo>
                  <a:lnTo>
                    <a:pt x="738" y="12"/>
                  </a:lnTo>
                  <a:lnTo>
                    <a:pt x="768" y="0"/>
                  </a:lnTo>
                  <a:lnTo>
                    <a:pt x="792" y="6"/>
                  </a:lnTo>
                  <a:lnTo>
                    <a:pt x="804" y="12"/>
                  </a:lnTo>
                  <a:lnTo>
                    <a:pt x="834" y="48"/>
                  </a:lnTo>
                  <a:lnTo>
                    <a:pt x="834" y="60"/>
                  </a:lnTo>
                  <a:lnTo>
                    <a:pt x="852" y="84"/>
                  </a:lnTo>
                  <a:lnTo>
                    <a:pt x="864" y="96"/>
                  </a:lnTo>
                  <a:lnTo>
                    <a:pt x="888" y="102"/>
                  </a:lnTo>
                  <a:lnTo>
                    <a:pt x="978" y="120"/>
                  </a:lnTo>
                  <a:lnTo>
                    <a:pt x="984" y="126"/>
                  </a:lnTo>
                  <a:lnTo>
                    <a:pt x="984" y="132"/>
                  </a:lnTo>
                  <a:lnTo>
                    <a:pt x="996" y="138"/>
                  </a:lnTo>
                  <a:lnTo>
                    <a:pt x="1038" y="126"/>
                  </a:lnTo>
                  <a:lnTo>
                    <a:pt x="1056" y="114"/>
                  </a:lnTo>
                  <a:lnTo>
                    <a:pt x="1068" y="126"/>
                  </a:lnTo>
                  <a:lnTo>
                    <a:pt x="1074" y="132"/>
                  </a:lnTo>
                  <a:lnTo>
                    <a:pt x="1068" y="138"/>
                  </a:lnTo>
                  <a:lnTo>
                    <a:pt x="1056" y="150"/>
                  </a:lnTo>
                  <a:lnTo>
                    <a:pt x="1038" y="162"/>
                  </a:lnTo>
                  <a:lnTo>
                    <a:pt x="1038" y="168"/>
                  </a:lnTo>
                  <a:lnTo>
                    <a:pt x="1020" y="174"/>
                  </a:lnTo>
                  <a:lnTo>
                    <a:pt x="1014" y="180"/>
                  </a:lnTo>
                  <a:lnTo>
                    <a:pt x="1008" y="186"/>
                  </a:lnTo>
                  <a:lnTo>
                    <a:pt x="1002" y="198"/>
                  </a:lnTo>
                  <a:lnTo>
                    <a:pt x="984" y="204"/>
                  </a:lnTo>
                  <a:lnTo>
                    <a:pt x="984" y="246"/>
                  </a:lnTo>
                  <a:lnTo>
                    <a:pt x="978" y="270"/>
                  </a:lnTo>
                  <a:lnTo>
                    <a:pt x="990" y="306"/>
                  </a:lnTo>
                  <a:lnTo>
                    <a:pt x="990" y="324"/>
                  </a:lnTo>
                  <a:lnTo>
                    <a:pt x="1002" y="336"/>
                  </a:lnTo>
                  <a:lnTo>
                    <a:pt x="1020" y="372"/>
                  </a:lnTo>
                  <a:lnTo>
                    <a:pt x="1014" y="378"/>
                  </a:lnTo>
                  <a:lnTo>
                    <a:pt x="1014" y="384"/>
                  </a:lnTo>
                  <a:lnTo>
                    <a:pt x="1020" y="384"/>
                  </a:lnTo>
                  <a:lnTo>
                    <a:pt x="1020" y="396"/>
                  </a:lnTo>
                  <a:lnTo>
                    <a:pt x="1062" y="468"/>
                  </a:lnTo>
                  <a:lnTo>
                    <a:pt x="1092" y="522"/>
                  </a:lnTo>
                  <a:lnTo>
                    <a:pt x="1110" y="546"/>
                  </a:lnTo>
                  <a:lnTo>
                    <a:pt x="1122" y="564"/>
                  </a:lnTo>
                  <a:lnTo>
                    <a:pt x="1134" y="576"/>
                  </a:lnTo>
                  <a:lnTo>
                    <a:pt x="1146" y="582"/>
                  </a:lnTo>
                  <a:lnTo>
                    <a:pt x="1146" y="588"/>
                  </a:lnTo>
                  <a:lnTo>
                    <a:pt x="1164" y="600"/>
                  </a:lnTo>
                  <a:lnTo>
                    <a:pt x="1170" y="612"/>
                  </a:lnTo>
                  <a:lnTo>
                    <a:pt x="1170" y="624"/>
                  </a:lnTo>
                  <a:lnTo>
                    <a:pt x="1176" y="654"/>
                  </a:lnTo>
                  <a:lnTo>
                    <a:pt x="1176" y="666"/>
                  </a:lnTo>
                  <a:lnTo>
                    <a:pt x="1182" y="684"/>
                  </a:lnTo>
                  <a:lnTo>
                    <a:pt x="1194" y="696"/>
                  </a:lnTo>
                  <a:lnTo>
                    <a:pt x="1212" y="696"/>
                  </a:lnTo>
                  <a:lnTo>
                    <a:pt x="1206" y="762"/>
                  </a:lnTo>
                  <a:lnTo>
                    <a:pt x="1200" y="768"/>
                  </a:lnTo>
                  <a:lnTo>
                    <a:pt x="1194" y="768"/>
                  </a:lnTo>
                  <a:lnTo>
                    <a:pt x="1194" y="774"/>
                  </a:lnTo>
                  <a:lnTo>
                    <a:pt x="1188" y="774"/>
                  </a:lnTo>
                  <a:lnTo>
                    <a:pt x="1182" y="780"/>
                  </a:lnTo>
                  <a:lnTo>
                    <a:pt x="1176" y="780"/>
                  </a:lnTo>
                  <a:lnTo>
                    <a:pt x="1170" y="780"/>
                  </a:lnTo>
                  <a:lnTo>
                    <a:pt x="1164" y="786"/>
                  </a:lnTo>
                  <a:lnTo>
                    <a:pt x="1158" y="786"/>
                  </a:lnTo>
                  <a:lnTo>
                    <a:pt x="1152" y="786"/>
                  </a:lnTo>
                  <a:lnTo>
                    <a:pt x="1140" y="786"/>
                  </a:lnTo>
                  <a:lnTo>
                    <a:pt x="1134" y="786"/>
                  </a:lnTo>
                  <a:lnTo>
                    <a:pt x="1134" y="780"/>
                  </a:lnTo>
                  <a:lnTo>
                    <a:pt x="1122" y="780"/>
                  </a:lnTo>
                  <a:lnTo>
                    <a:pt x="1116" y="786"/>
                  </a:lnTo>
                  <a:lnTo>
                    <a:pt x="1116" y="792"/>
                  </a:lnTo>
                  <a:lnTo>
                    <a:pt x="1122" y="804"/>
                  </a:lnTo>
                  <a:lnTo>
                    <a:pt x="1128" y="804"/>
                  </a:lnTo>
                  <a:lnTo>
                    <a:pt x="1128" y="816"/>
                  </a:lnTo>
                  <a:lnTo>
                    <a:pt x="1122" y="822"/>
                  </a:lnTo>
                  <a:lnTo>
                    <a:pt x="1116" y="816"/>
                  </a:lnTo>
                  <a:lnTo>
                    <a:pt x="1110" y="816"/>
                  </a:lnTo>
                  <a:lnTo>
                    <a:pt x="1104" y="816"/>
                  </a:lnTo>
                  <a:lnTo>
                    <a:pt x="1098" y="816"/>
                  </a:lnTo>
                  <a:lnTo>
                    <a:pt x="1098" y="822"/>
                  </a:lnTo>
                  <a:lnTo>
                    <a:pt x="1092" y="834"/>
                  </a:lnTo>
                  <a:lnTo>
                    <a:pt x="1092" y="840"/>
                  </a:lnTo>
                  <a:lnTo>
                    <a:pt x="1074" y="840"/>
                  </a:lnTo>
                  <a:lnTo>
                    <a:pt x="1074" y="828"/>
                  </a:lnTo>
                  <a:lnTo>
                    <a:pt x="1062" y="804"/>
                  </a:lnTo>
                  <a:lnTo>
                    <a:pt x="1056" y="792"/>
                  </a:lnTo>
                  <a:lnTo>
                    <a:pt x="1056" y="786"/>
                  </a:lnTo>
                  <a:lnTo>
                    <a:pt x="1026" y="780"/>
                  </a:lnTo>
                  <a:lnTo>
                    <a:pt x="1026" y="768"/>
                  </a:lnTo>
                  <a:lnTo>
                    <a:pt x="1008" y="768"/>
                  </a:lnTo>
                  <a:lnTo>
                    <a:pt x="1002" y="780"/>
                  </a:lnTo>
                  <a:lnTo>
                    <a:pt x="996" y="792"/>
                  </a:lnTo>
                  <a:lnTo>
                    <a:pt x="978" y="798"/>
                  </a:lnTo>
                  <a:lnTo>
                    <a:pt x="972" y="810"/>
                  </a:lnTo>
                  <a:lnTo>
                    <a:pt x="972" y="822"/>
                  </a:lnTo>
                  <a:lnTo>
                    <a:pt x="978" y="828"/>
                  </a:lnTo>
                  <a:lnTo>
                    <a:pt x="978" y="834"/>
                  </a:lnTo>
                  <a:lnTo>
                    <a:pt x="960" y="840"/>
                  </a:lnTo>
                  <a:lnTo>
                    <a:pt x="936" y="840"/>
                  </a:lnTo>
                  <a:lnTo>
                    <a:pt x="918" y="846"/>
                  </a:lnTo>
                  <a:lnTo>
                    <a:pt x="912" y="840"/>
                  </a:lnTo>
                  <a:lnTo>
                    <a:pt x="912" y="834"/>
                  </a:lnTo>
                  <a:lnTo>
                    <a:pt x="906" y="834"/>
                  </a:lnTo>
                  <a:lnTo>
                    <a:pt x="906" y="840"/>
                  </a:lnTo>
                  <a:lnTo>
                    <a:pt x="900" y="846"/>
                  </a:lnTo>
                  <a:lnTo>
                    <a:pt x="906" y="852"/>
                  </a:lnTo>
                  <a:lnTo>
                    <a:pt x="900" y="864"/>
                  </a:lnTo>
                  <a:lnTo>
                    <a:pt x="900" y="876"/>
                  </a:lnTo>
                  <a:lnTo>
                    <a:pt x="900" y="882"/>
                  </a:lnTo>
                  <a:lnTo>
                    <a:pt x="894" y="888"/>
                  </a:lnTo>
                  <a:lnTo>
                    <a:pt x="900" y="900"/>
                  </a:lnTo>
                  <a:lnTo>
                    <a:pt x="900" y="906"/>
                  </a:lnTo>
                  <a:lnTo>
                    <a:pt x="894" y="906"/>
                  </a:lnTo>
                  <a:lnTo>
                    <a:pt x="894" y="912"/>
                  </a:lnTo>
                  <a:lnTo>
                    <a:pt x="900" y="918"/>
                  </a:lnTo>
                  <a:lnTo>
                    <a:pt x="900" y="924"/>
                  </a:lnTo>
                  <a:lnTo>
                    <a:pt x="900" y="948"/>
                  </a:lnTo>
                  <a:lnTo>
                    <a:pt x="888" y="948"/>
                  </a:lnTo>
                  <a:lnTo>
                    <a:pt x="888" y="954"/>
                  </a:lnTo>
                  <a:lnTo>
                    <a:pt x="894" y="954"/>
                  </a:lnTo>
                  <a:lnTo>
                    <a:pt x="900" y="960"/>
                  </a:lnTo>
                  <a:lnTo>
                    <a:pt x="900" y="972"/>
                  </a:lnTo>
                  <a:lnTo>
                    <a:pt x="906" y="984"/>
                  </a:lnTo>
                  <a:lnTo>
                    <a:pt x="912" y="984"/>
                  </a:lnTo>
                  <a:lnTo>
                    <a:pt x="918" y="990"/>
                  </a:lnTo>
                  <a:lnTo>
                    <a:pt x="936" y="990"/>
                  </a:lnTo>
                  <a:lnTo>
                    <a:pt x="936" y="996"/>
                  </a:lnTo>
                  <a:lnTo>
                    <a:pt x="942" y="996"/>
                  </a:lnTo>
                  <a:lnTo>
                    <a:pt x="942" y="1002"/>
                  </a:lnTo>
                  <a:lnTo>
                    <a:pt x="942" y="1008"/>
                  </a:lnTo>
                  <a:lnTo>
                    <a:pt x="948" y="1008"/>
                  </a:lnTo>
                  <a:lnTo>
                    <a:pt x="948" y="1014"/>
                  </a:lnTo>
                  <a:lnTo>
                    <a:pt x="948" y="1020"/>
                  </a:lnTo>
                  <a:lnTo>
                    <a:pt x="954" y="1032"/>
                  </a:lnTo>
                  <a:lnTo>
                    <a:pt x="948" y="1038"/>
                  </a:lnTo>
                  <a:lnTo>
                    <a:pt x="954" y="1044"/>
                  </a:lnTo>
                  <a:lnTo>
                    <a:pt x="954" y="1056"/>
                  </a:lnTo>
                  <a:lnTo>
                    <a:pt x="960" y="1056"/>
                  </a:lnTo>
                  <a:lnTo>
                    <a:pt x="960" y="1062"/>
                  </a:lnTo>
                  <a:lnTo>
                    <a:pt x="954" y="1068"/>
                  </a:lnTo>
                  <a:lnTo>
                    <a:pt x="948" y="1074"/>
                  </a:lnTo>
                  <a:lnTo>
                    <a:pt x="948" y="1080"/>
                  </a:lnTo>
                  <a:lnTo>
                    <a:pt x="948" y="1086"/>
                  </a:lnTo>
                  <a:lnTo>
                    <a:pt x="942" y="1092"/>
                  </a:lnTo>
                  <a:lnTo>
                    <a:pt x="942" y="1098"/>
                  </a:lnTo>
                  <a:lnTo>
                    <a:pt x="942" y="1104"/>
                  </a:lnTo>
                  <a:lnTo>
                    <a:pt x="942" y="1110"/>
                  </a:lnTo>
                  <a:lnTo>
                    <a:pt x="936" y="1116"/>
                  </a:lnTo>
                  <a:lnTo>
                    <a:pt x="936" y="1122"/>
                  </a:lnTo>
                  <a:lnTo>
                    <a:pt x="936" y="1128"/>
                  </a:lnTo>
                  <a:lnTo>
                    <a:pt x="936" y="1134"/>
                  </a:lnTo>
                  <a:lnTo>
                    <a:pt x="942" y="1146"/>
                  </a:lnTo>
                  <a:lnTo>
                    <a:pt x="936" y="1158"/>
                  </a:lnTo>
                  <a:lnTo>
                    <a:pt x="936" y="1170"/>
                  </a:lnTo>
                  <a:lnTo>
                    <a:pt x="936" y="1194"/>
                  </a:lnTo>
                  <a:lnTo>
                    <a:pt x="930" y="1200"/>
                  </a:lnTo>
                  <a:lnTo>
                    <a:pt x="930" y="1212"/>
                  </a:lnTo>
                  <a:lnTo>
                    <a:pt x="918" y="1218"/>
                  </a:lnTo>
                  <a:lnTo>
                    <a:pt x="918" y="1230"/>
                  </a:lnTo>
                  <a:lnTo>
                    <a:pt x="906" y="1230"/>
                  </a:lnTo>
                  <a:lnTo>
                    <a:pt x="900" y="1254"/>
                  </a:lnTo>
                  <a:lnTo>
                    <a:pt x="900" y="1260"/>
                  </a:lnTo>
                  <a:lnTo>
                    <a:pt x="900" y="1266"/>
                  </a:lnTo>
                  <a:lnTo>
                    <a:pt x="900" y="1272"/>
                  </a:lnTo>
                  <a:lnTo>
                    <a:pt x="900" y="1278"/>
                  </a:lnTo>
                  <a:lnTo>
                    <a:pt x="900" y="1284"/>
                  </a:lnTo>
                  <a:lnTo>
                    <a:pt x="906" y="129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1" name="Freeform 26">
              <a:extLst>
                <a:ext uri="{FF2B5EF4-FFF2-40B4-BE49-F238E27FC236}">
                  <a16:creationId xmlns:a16="http://schemas.microsoft.com/office/drawing/2014/main" id="{25725EFE-FE00-49A8-A87A-6752B785C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79173" y="3477313"/>
              <a:ext cx="650731" cy="559125"/>
            </a:xfrm>
            <a:custGeom>
              <a:avLst/>
              <a:gdLst>
                <a:gd name="T0" fmla="*/ 95 w 1224"/>
                <a:gd name="T1" fmla="*/ 89 h 1050"/>
                <a:gd name="T2" fmla="*/ 90 w 1224"/>
                <a:gd name="T3" fmla="*/ 84 h 1050"/>
                <a:gd name="T4" fmla="*/ 84 w 1224"/>
                <a:gd name="T5" fmla="*/ 83 h 1050"/>
                <a:gd name="T6" fmla="*/ 82 w 1224"/>
                <a:gd name="T7" fmla="*/ 80 h 1050"/>
                <a:gd name="T8" fmla="*/ 85 w 1224"/>
                <a:gd name="T9" fmla="*/ 77 h 1050"/>
                <a:gd name="T10" fmla="*/ 81 w 1224"/>
                <a:gd name="T11" fmla="*/ 76 h 1050"/>
                <a:gd name="T12" fmla="*/ 77 w 1224"/>
                <a:gd name="T13" fmla="*/ 77 h 1050"/>
                <a:gd name="T14" fmla="*/ 78 w 1224"/>
                <a:gd name="T15" fmla="*/ 73 h 1050"/>
                <a:gd name="T16" fmla="*/ 59 w 1224"/>
                <a:gd name="T17" fmla="*/ 71 h 1050"/>
                <a:gd name="T18" fmla="*/ 41 w 1224"/>
                <a:gd name="T19" fmla="*/ 73 h 1050"/>
                <a:gd name="T20" fmla="*/ 33 w 1224"/>
                <a:gd name="T21" fmla="*/ 71 h 1050"/>
                <a:gd name="T22" fmla="*/ 30 w 1224"/>
                <a:gd name="T23" fmla="*/ 75 h 1050"/>
                <a:gd name="T24" fmla="*/ 27 w 1224"/>
                <a:gd name="T25" fmla="*/ 80 h 1050"/>
                <a:gd name="T26" fmla="*/ 12 w 1224"/>
                <a:gd name="T27" fmla="*/ 81 h 1050"/>
                <a:gd name="T28" fmla="*/ 9 w 1224"/>
                <a:gd name="T29" fmla="*/ 84 h 1050"/>
                <a:gd name="T30" fmla="*/ 6 w 1224"/>
                <a:gd name="T31" fmla="*/ 83 h 1050"/>
                <a:gd name="T32" fmla="*/ 1 w 1224"/>
                <a:gd name="T33" fmla="*/ 83 h 1050"/>
                <a:gd name="T34" fmla="*/ 3 w 1224"/>
                <a:gd name="T35" fmla="*/ 77 h 1050"/>
                <a:gd name="T36" fmla="*/ 5 w 1224"/>
                <a:gd name="T37" fmla="*/ 70 h 1050"/>
                <a:gd name="T38" fmla="*/ 2 w 1224"/>
                <a:gd name="T39" fmla="*/ 65 h 1050"/>
                <a:gd name="T40" fmla="*/ 3 w 1224"/>
                <a:gd name="T41" fmla="*/ 58 h 1050"/>
                <a:gd name="T42" fmla="*/ 4 w 1224"/>
                <a:gd name="T43" fmla="*/ 51 h 1050"/>
                <a:gd name="T44" fmla="*/ 3 w 1224"/>
                <a:gd name="T45" fmla="*/ 47 h 1050"/>
                <a:gd name="T46" fmla="*/ 4 w 1224"/>
                <a:gd name="T47" fmla="*/ 39 h 1050"/>
                <a:gd name="T48" fmla="*/ 6 w 1224"/>
                <a:gd name="T49" fmla="*/ 29 h 1050"/>
                <a:gd name="T50" fmla="*/ 3 w 1224"/>
                <a:gd name="T51" fmla="*/ 22 h 1050"/>
                <a:gd name="T52" fmla="*/ 2 w 1224"/>
                <a:gd name="T53" fmla="*/ 14 h 1050"/>
                <a:gd name="T54" fmla="*/ 0 w 1224"/>
                <a:gd name="T55" fmla="*/ 6 h 1050"/>
                <a:gd name="T56" fmla="*/ 9 w 1224"/>
                <a:gd name="T57" fmla="*/ 1 h 1050"/>
                <a:gd name="T58" fmla="*/ 11 w 1224"/>
                <a:gd name="T59" fmla="*/ 8 h 1050"/>
                <a:gd name="T60" fmla="*/ 15 w 1224"/>
                <a:gd name="T61" fmla="*/ 9 h 1050"/>
                <a:gd name="T62" fmla="*/ 18 w 1224"/>
                <a:gd name="T63" fmla="*/ 8 h 1050"/>
                <a:gd name="T64" fmla="*/ 18 w 1224"/>
                <a:gd name="T65" fmla="*/ 13 h 1050"/>
                <a:gd name="T66" fmla="*/ 17 w 1224"/>
                <a:gd name="T67" fmla="*/ 15 h 1050"/>
                <a:gd name="T68" fmla="*/ 17 w 1224"/>
                <a:gd name="T69" fmla="*/ 17 h 1050"/>
                <a:gd name="T70" fmla="*/ 17 w 1224"/>
                <a:gd name="T71" fmla="*/ 21 h 1050"/>
                <a:gd name="T72" fmla="*/ 21 w 1224"/>
                <a:gd name="T73" fmla="*/ 25 h 1050"/>
                <a:gd name="T74" fmla="*/ 24 w 1224"/>
                <a:gd name="T75" fmla="*/ 31 h 1050"/>
                <a:gd name="T76" fmla="*/ 35 w 1224"/>
                <a:gd name="T77" fmla="*/ 34 h 1050"/>
                <a:gd name="T78" fmla="*/ 40 w 1224"/>
                <a:gd name="T79" fmla="*/ 27 h 1050"/>
                <a:gd name="T80" fmla="*/ 46 w 1224"/>
                <a:gd name="T81" fmla="*/ 30 h 1050"/>
                <a:gd name="T82" fmla="*/ 51 w 1224"/>
                <a:gd name="T83" fmla="*/ 27 h 1050"/>
                <a:gd name="T84" fmla="*/ 59 w 1224"/>
                <a:gd name="T85" fmla="*/ 39 h 1050"/>
                <a:gd name="T86" fmla="*/ 59 w 1224"/>
                <a:gd name="T87" fmla="*/ 45 h 1050"/>
                <a:gd name="T88" fmla="*/ 72 w 1224"/>
                <a:gd name="T89" fmla="*/ 45 h 1050"/>
                <a:gd name="T90" fmla="*/ 79 w 1224"/>
                <a:gd name="T91" fmla="*/ 44 h 1050"/>
                <a:gd name="T92" fmla="*/ 87 w 1224"/>
                <a:gd name="T93" fmla="*/ 48 h 1050"/>
                <a:gd name="T94" fmla="*/ 93 w 1224"/>
                <a:gd name="T95" fmla="*/ 50 h 1050"/>
                <a:gd name="T96" fmla="*/ 98 w 1224"/>
                <a:gd name="T97" fmla="*/ 51 h 1050"/>
                <a:gd name="T98" fmla="*/ 106 w 1224"/>
                <a:gd name="T99" fmla="*/ 50 h 1050"/>
                <a:gd name="T100" fmla="*/ 104 w 1224"/>
                <a:gd name="T101" fmla="*/ 54 h 1050"/>
                <a:gd name="T102" fmla="*/ 104 w 1224"/>
                <a:gd name="T103" fmla="*/ 60 h 1050"/>
                <a:gd name="T104" fmla="*/ 101 w 1224"/>
                <a:gd name="T105" fmla="*/ 63 h 1050"/>
                <a:gd name="T106" fmla="*/ 98 w 1224"/>
                <a:gd name="T107" fmla="*/ 66 h 1050"/>
                <a:gd name="T108" fmla="*/ 95 w 1224"/>
                <a:gd name="T109" fmla="*/ 68 h 1050"/>
                <a:gd name="T110" fmla="*/ 93 w 1224"/>
                <a:gd name="T111" fmla="*/ 72 h 1050"/>
                <a:gd name="T112" fmla="*/ 98 w 1224"/>
                <a:gd name="T113" fmla="*/ 75 h 1050"/>
                <a:gd name="T114" fmla="*/ 102 w 1224"/>
                <a:gd name="T115" fmla="*/ 77 h 1050"/>
                <a:gd name="T116" fmla="*/ 107 w 1224"/>
                <a:gd name="T117" fmla="*/ 76 h 1050"/>
                <a:gd name="T118" fmla="*/ 104 w 1224"/>
                <a:gd name="T119" fmla="*/ 84 h 1050"/>
                <a:gd name="T120" fmla="*/ 103 w 1224"/>
                <a:gd name="T121" fmla="*/ 87 h 1050"/>
                <a:gd name="T122" fmla="*/ 104 w 1224"/>
                <a:gd name="T123" fmla="*/ 91 h 105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24"/>
                <a:gd name="T187" fmla="*/ 0 h 1050"/>
                <a:gd name="T188" fmla="*/ 1224 w 1224"/>
                <a:gd name="T189" fmla="*/ 1050 h 105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24" h="1050">
                  <a:moveTo>
                    <a:pt x="1128" y="1032"/>
                  </a:moveTo>
                  <a:lnTo>
                    <a:pt x="1122" y="1026"/>
                  </a:lnTo>
                  <a:lnTo>
                    <a:pt x="1116" y="1026"/>
                  </a:lnTo>
                  <a:lnTo>
                    <a:pt x="1110" y="1026"/>
                  </a:lnTo>
                  <a:lnTo>
                    <a:pt x="1104" y="1026"/>
                  </a:lnTo>
                  <a:lnTo>
                    <a:pt x="1104" y="1020"/>
                  </a:lnTo>
                  <a:lnTo>
                    <a:pt x="1098" y="1020"/>
                  </a:lnTo>
                  <a:lnTo>
                    <a:pt x="1092" y="1020"/>
                  </a:lnTo>
                  <a:lnTo>
                    <a:pt x="1086" y="1020"/>
                  </a:lnTo>
                  <a:lnTo>
                    <a:pt x="1080" y="1014"/>
                  </a:lnTo>
                  <a:lnTo>
                    <a:pt x="1068" y="1014"/>
                  </a:lnTo>
                  <a:lnTo>
                    <a:pt x="1062" y="1014"/>
                  </a:lnTo>
                  <a:lnTo>
                    <a:pt x="1062" y="1008"/>
                  </a:lnTo>
                  <a:lnTo>
                    <a:pt x="1062" y="990"/>
                  </a:lnTo>
                  <a:lnTo>
                    <a:pt x="1062" y="984"/>
                  </a:lnTo>
                  <a:lnTo>
                    <a:pt x="1062" y="972"/>
                  </a:lnTo>
                  <a:lnTo>
                    <a:pt x="1044" y="966"/>
                  </a:lnTo>
                  <a:lnTo>
                    <a:pt x="1026" y="966"/>
                  </a:lnTo>
                  <a:lnTo>
                    <a:pt x="1014" y="966"/>
                  </a:lnTo>
                  <a:lnTo>
                    <a:pt x="996" y="966"/>
                  </a:lnTo>
                  <a:lnTo>
                    <a:pt x="996" y="972"/>
                  </a:lnTo>
                  <a:lnTo>
                    <a:pt x="990" y="972"/>
                  </a:lnTo>
                  <a:lnTo>
                    <a:pt x="984" y="966"/>
                  </a:lnTo>
                  <a:lnTo>
                    <a:pt x="978" y="966"/>
                  </a:lnTo>
                  <a:lnTo>
                    <a:pt x="978" y="960"/>
                  </a:lnTo>
                  <a:lnTo>
                    <a:pt x="972" y="954"/>
                  </a:lnTo>
                  <a:lnTo>
                    <a:pt x="966" y="954"/>
                  </a:lnTo>
                  <a:lnTo>
                    <a:pt x="960" y="954"/>
                  </a:lnTo>
                  <a:lnTo>
                    <a:pt x="954" y="954"/>
                  </a:lnTo>
                  <a:lnTo>
                    <a:pt x="954" y="948"/>
                  </a:lnTo>
                  <a:lnTo>
                    <a:pt x="942" y="942"/>
                  </a:lnTo>
                  <a:lnTo>
                    <a:pt x="936" y="942"/>
                  </a:lnTo>
                  <a:lnTo>
                    <a:pt x="936" y="936"/>
                  </a:lnTo>
                  <a:lnTo>
                    <a:pt x="936" y="930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42" y="918"/>
                  </a:lnTo>
                  <a:lnTo>
                    <a:pt x="948" y="918"/>
                  </a:lnTo>
                  <a:lnTo>
                    <a:pt x="960" y="918"/>
                  </a:lnTo>
                  <a:lnTo>
                    <a:pt x="966" y="912"/>
                  </a:lnTo>
                  <a:lnTo>
                    <a:pt x="978" y="906"/>
                  </a:lnTo>
                  <a:lnTo>
                    <a:pt x="978" y="900"/>
                  </a:lnTo>
                  <a:lnTo>
                    <a:pt x="978" y="894"/>
                  </a:lnTo>
                  <a:lnTo>
                    <a:pt x="978" y="888"/>
                  </a:lnTo>
                  <a:lnTo>
                    <a:pt x="972" y="888"/>
                  </a:lnTo>
                  <a:lnTo>
                    <a:pt x="978" y="888"/>
                  </a:lnTo>
                  <a:lnTo>
                    <a:pt x="978" y="882"/>
                  </a:lnTo>
                  <a:lnTo>
                    <a:pt x="972" y="876"/>
                  </a:lnTo>
                  <a:lnTo>
                    <a:pt x="966" y="870"/>
                  </a:lnTo>
                  <a:lnTo>
                    <a:pt x="954" y="876"/>
                  </a:lnTo>
                  <a:lnTo>
                    <a:pt x="948" y="876"/>
                  </a:lnTo>
                  <a:lnTo>
                    <a:pt x="942" y="870"/>
                  </a:lnTo>
                  <a:lnTo>
                    <a:pt x="936" y="876"/>
                  </a:lnTo>
                  <a:lnTo>
                    <a:pt x="930" y="876"/>
                  </a:lnTo>
                  <a:lnTo>
                    <a:pt x="924" y="882"/>
                  </a:lnTo>
                  <a:lnTo>
                    <a:pt x="912" y="888"/>
                  </a:lnTo>
                  <a:lnTo>
                    <a:pt x="906" y="894"/>
                  </a:lnTo>
                  <a:lnTo>
                    <a:pt x="900" y="900"/>
                  </a:lnTo>
                  <a:lnTo>
                    <a:pt x="894" y="888"/>
                  </a:lnTo>
                  <a:lnTo>
                    <a:pt x="888" y="894"/>
                  </a:lnTo>
                  <a:lnTo>
                    <a:pt x="882" y="888"/>
                  </a:lnTo>
                  <a:lnTo>
                    <a:pt x="876" y="894"/>
                  </a:lnTo>
                  <a:lnTo>
                    <a:pt x="876" y="888"/>
                  </a:lnTo>
                  <a:lnTo>
                    <a:pt x="876" y="882"/>
                  </a:lnTo>
                  <a:lnTo>
                    <a:pt x="876" y="876"/>
                  </a:lnTo>
                  <a:lnTo>
                    <a:pt x="870" y="858"/>
                  </a:lnTo>
                  <a:lnTo>
                    <a:pt x="864" y="858"/>
                  </a:lnTo>
                  <a:lnTo>
                    <a:pt x="870" y="852"/>
                  </a:lnTo>
                  <a:lnTo>
                    <a:pt x="870" y="846"/>
                  </a:lnTo>
                  <a:lnTo>
                    <a:pt x="876" y="846"/>
                  </a:lnTo>
                  <a:lnTo>
                    <a:pt x="882" y="846"/>
                  </a:lnTo>
                  <a:lnTo>
                    <a:pt x="888" y="840"/>
                  </a:lnTo>
                  <a:lnTo>
                    <a:pt x="894" y="834"/>
                  </a:lnTo>
                  <a:lnTo>
                    <a:pt x="894" y="828"/>
                  </a:lnTo>
                  <a:lnTo>
                    <a:pt x="894" y="816"/>
                  </a:lnTo>
                  <a:lnTo>
                    <a:pt x="858" y="810"/>
                  </a:lnTo>
                  <a:lnTo>
                    <a:pt x="858" y="816"/>
                  </a:lnTo>
                  <a:lnTo>
                    <a:pt x="852" y="816"/>
                  </a:lnTo>
                  <a:lnTo>
                    <a:pt x="780" y="816"/>
                  </a:lnTo>
                  <a:lnTo>
                    <a:pt x="750" y="816"/>
                  </a:lnTo>
                  <a:lnTo>
                    <a:pt x="684" y="816"/>
                  </a:lnTo>
                  <a:lnTo>
                    <a:pt x="636" y="816"/>
                  </a:lnTo>
                  <a:lnTo>
                    <a:pt x="612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0" y="816"/>
                  </a:lnTo>
                  <a:lnTo>
                    <a:pt x="480" y="822"/>
                  </a:lnTo>
                  <a:lnTo>
                    <a:pt x="480" y="834"/>
                  </a:lnTo>
                  <a:lnTo>
                    <a:pt x="474" y="840"/>
                  </a:lnTo>
                  <a:lnTo>
                    <a:pt x="468" y="840"/>
                  </a:lnTo>
                  <a:lnTo>
                    <a:pt x="432" y="840"/>
                  </a:lnTo>
                  <a:lnTo>
                    <a:pt x="426" y="834"/>
                  </a:lnTo>
                  <a:lnTo>
                    <a:pt x="420" y="834"/>
                  </a:lnTo>
                  <a:lnTo>
                    <a:pt x="420" y="828"/>
                  </a:lnTo>
                  <a:lnTo>
                    <a:pt x="414" y="822"/>
                  </a:lnTo>
                  <a:lnTo>
                    <a:pt x="408" y="822"/>
                  </a:lnTo>
                  <a:lnTo>
                    <a:pt x="396" y="822"/>
                  </a:lnTo>
                  <a:lnTo>
                    <a:pt x="396" y="816"/>
                  </a:lnTo>
                  <a:lnTo>
                    <a:pt x="384" y="816"/>
                  </a:lnTo>
                  <a:lnTo>
                    <a:pt x="372" y="810"/>
                  </a:lnTo>
                  <a:lnTo>
                    <a:pt x="372" y="804"/>
                  </a:lnTo>
                  <a:lnTo>
                    <a:pt x="366" y="804"/>
                  </a:lnTo>
                  <a:lnTo>
                    <a:pt x="360" y="804"/>
                  </a:lnTo>
                  <a:lnTo>
                    <a:pt x="348" y="828"/>
                  </a:lnTo>
                  <a:lnTo>
                    <a:pt x="348" y="834"/>
                  </a:lnTo>
                  <a:lnTo>
                    <a:pt x="348" y="852"/>
                  </a:lnTo>
                  <a:lnTo>
                    <a:pt x="348" y="858"/>
                  </a:lnTo>
                  <a:lnTo>
                    <a:pt x="342" y="864"/>
                  </a:lnTo>
                  <a:lnTo>
                    <a:pt x="342" y="870"/>
                  </a:lnTo>
                  <a:lnTo>
                    <a:pt x="330" y="876"/>
                  </a:lnTo>
                  <a:lnTo>
                    <a:pt x="324" y="888"/>
                  </a:lnTo>
                  <a:lnTo>
                    <a:pt x="324" y="894"/>
                  </a:lnTo>
                  <a:lnTo>
                    <a:pt x="330" y="900"/>
                  </a:lnTo>
                  <a:lnTo>
                    <a:pt x="330" y="906"/>
                  </a:lnTo>
                  <a:lnTo>
                    <a:pt x="324" y="906"/>
                  </a:lnTo>
                  <a:lnTo>
                    <a:pt x="318" y="912"/>
                  </a:lnTo>
                  <a:lnTo>
                    <a:pt x="312" y="918"/>
                  </a:lnTo>
                  <a:lnTo>
                    <a:pt x="306" y="924"/>
                  </a:lnTo>
                  <a:lnTo>
                    <a:pt x="288" y="924"/>
                  </a:lnTo>
                  <a:lnTo>
                    <a:pt x="282" y="924"/>
                  </a:lnTo>
                  <a:lnTo>
                    <a:pt x="276" y="930"/>
                  </a:lnTo>
                  <a:lnTo>
                    <a:pt x="270" y="930"/>
                  </a:lnTo>
                  <a:lnTo>
                    <a:pt x="264" y="930"/>
                  </a:lnTo>
                  <a:lnTo>
                    <a:pt x="198" y="930"/>
                  </a:lnTo>
                  <a:lnTo>
                    <a:pt x="132" y="930"/>
                  </a:lnTo>
                  <a:lnTo>
                    <a:pt x="132" y="936"/>
                  </a:lnTo>
                  <a:lnTo>
                    <a:pt x="132" y="942"/>
                  </a:lnTo>
                  <a:lnTo>
                    <a:pt x="132" y="948"/>
                  </a:lnTo>
                  <a:lnTo>
                    <a:pt x="126" y="948"/>
                  </a:lnTo>
                  <a:lnTo>
                    <a:pt x="120" y="948"/>
                  </a:lnTo>
                  <a:lnTo>
                    <a:pt x="120" y="954"/>
                  </a:lnTo>
                  <a:lnTo>
                    <a:pt x="114" y="954"/>
                  </a:lnTo>
                  <a:lnTo>
                    <a:pt x="114" y="960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02" y="966"/>
                  </a:lnTo>
                  <a:lnTo>
                    <a:pt x="102" y="972"/>
                  </a:lnTo>
                  <a:lnTo>
                    <a:pt x="96" y="972"/>
                  </a:lnTo>
                  <a:lnTo>
                    <a:pt x="96" y="966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78" y="960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60"/>
                  </a:lnTo>
                  <a:lnTo>
                    <a:pt x="54" y="966"/>
                  </a:lnTo>
                  <a:lnTo>
                    <a:pt x="48" y="966"/>
                  </a:lnTo>
                  <a:lnTo>
                    <a:pt x="42" y="966"/>
                  </a:lnTo>
                  <a:lnTo>
                    <a:pt x="36" y="966"/>
                  </a:lnTo>
                  <a:lnTo>
                    <a:pt x="30" y="966"/>
                  </a:lnTo>
                  <a:lnTo>
                    <a:pt x="24" y="960"/>
                  </a:lnTo>
                  <a:lnTo>
                    <a:pt x="18" y="960"/>
                  </a:lnTo>
                  <a:lnTo>
                    <a:pt x="12" y="960"/>
                  </a:lnTo>
                  <a:lnTo>
                    <a:pt x="12" y="948"/>
                  </a:lnTo>
                  <a:lnTo>
                    <a:pt x="18" y="942"/>
                  </a:lnTo>
                  <a:lnTo>
                    <a:pt x="18" y="936"/>
                  </a:lnTo>
                  <a:lnTo>
                    <a:pt x="18" y="930"/>
                  </a:lnTo>
                  <a:lnTo>
                    <a:pt x="18" y="924"/>
                  </a:lnTo>
                  <a:lnTo>
                    <a:pt x="18" y="912"/>
                  </a:lnTo>
                  <a:lnTo>
                    <a:pt x="24" y="906"/>
                  </a:lnTo>
                  <a:lnTo>
                    <a:pt x="30" y="900"/>
                  </a:lnTo>
                  <a:lnTo>
                    <a:pt x="36" y="894"/>
                  </a:lnTo>
                  <a:lnTo>
                    <a:pt x="36" y="882"/>
                  </a:lnTo>
                  <a:lnTo>
                    <a:pt x="30" y="876"/>
                  </a:lnTo>
                  <a:lnTo>
                    <a:pt x="30" y="870"/>
                  </a:lnTo>
                  <a:lnTo>
                    <a:pt x="24" y="858"/>
                  </a:lnTo>
                  <a:lnTo>
                    <a:pt x="24" y="846"/>
                  </a:lnTo>
                  <a:lnTo>
                    <a:pt x="36" y="822"/>
                  </a:lnTo>
                  <a:lnTo>
                    <a:pt x="42" y="816"/>
                  </a:lnTo>
                  <a:lnTo>
                    <a:pt x="48" y="816"/>
                  </a:lnTo>
                  <a:lnTo>
                    <a:pt x="60" y="804"/>
                  </a:lnTo>
                  <a:lnTo>
                    <a:pt x="60" y="786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54" y="762"/>
                  </a:lnTo>
                  <a:lnTo>
                    <a:pt x="42" y="762"/>
                  </a:lnTo>
                  <a:lnTo>
                    <a:pt x="36" y="762"/>
                  </a:lnTo>
                  <a:lnTo>
                    <a:pt x="30" y="762"/>
                  </a:lnTo>
                  <a:lnTo>
                    <a:pt x="30" y="756"/>
                  </a:lnTo>
                  <a:lnTo>
                    <a:pt x="24" y="750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702"/>
                  </a:lnTo>
                  <a:lnTo>
                    <a:pt x="36" y="684"/>
                  </a:lnTo>
                  <a:lnTo>
                    <a:pt x="36" y="678"/>
                  </a:lnTo>
                  <a:lnTo>
                    <a:pt x="36" y="666"/>
                  </a:lnTo>
                  <a:lnTo>
                    <a:pt x="36" y="654"/>
                  </a:lnTo>
                  <a:lnTo>
                    <a:pt x="18" y="654"/>
                  </a:lnTo>
                  <a:lnTo>
                    <a:pt x="18" y="648"/>
                  </a:lnTo>
                  <a:lnTo>
                    <a:pt x="18" y="618"/>
                  </a:lnTo>
                  <a:lnTo>
                    <a:pt x="18" y="612"/>
                  </a:lnTo>
                  <a:lnTo>
                    <a:pt x="24" y="612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54" y="588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76"/>
                  </a:lnTo>
                  <a:lnTo>
                    <a:pt x="48" y="564"/>
                  </a:lnTo>
                  <a:lnTo>
                    <a:pt x="42" y="564"/>
                  </a:lnTo>
                  <a:lnTo>
                    <a:pt x="36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6" y="540"/>
                  </a:lnTo>
                  <a:lnTo>
                    <a:pt x="48" y="534"/>
                  </a:lnTo>
                  <a:lnTo>
                    <a:pt x="54" y="528"/>
                  </a:lnTo>
                  <a:lnTo>
                    <a:pt x="60" y="504"/>
                  </a:lnTo>
                  <a:lnTo>
                    <a:pt x="60" y="492"/>
                  </a:lnTo>
                  <a:lnTo>
                    <a:pt x="54" y="492"/>
                  </a:lnTo>
                  <a:lnTo>
                    <a:pt x="54" y="480"/>
                  </a:lnTo>
                  <a:lnTo>
                    <a:pt x="48" y="456"/>
                  </a:lnTo>
                  <a:lnTo>
                    <a:pt x="42" y="450"/>
                  </a:lnTo>
                  <a:lnTo>
                    <a:pt x="36" y="444"/>
                  </a:lnTo>
                  <a:lnTo>
                    <a:pt x="36" y="420"/>
                  </a:lnTo>
                  <a:lnTo>
                    <a:pt x="36" y="408"/>
                  </a:lnTo>
                  <a:lnTo>
                    <a:pt x="36" y="37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60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6" y="300"/>
                  </a:lnTo>
                  <a:lnTo>
                    <a:pt x="60" y="294"/>
                  </a:lnTo>
                  <a:lnTo>
                    <a:pt x="60" y="288"/>
                  </a:lnTo>
                  <a:lnTo>
                    <a:pt x="54" y="282"/>
                  </a:lnTo>
                  <a:lnTo>
                    <a:pt x="42" y="276"/>
                  </a:lnTo>
                  <a:lnTo>
                    <a:pt x="36" y="276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0" y="252"/>
                  </a:lnTo>
                  <a:lnTo>
                    <a:pt x="24" y="246"/>
                  </a:lnTo>
                  <a:lnTo>
                    <a:pt x="24" y="240"/>
                  </a:lnTo>
                  <a:lnTo>
                    <a:pt x="24" y="228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62"/>
                  </a:lnTo>
                  <a:lnTo>
                    <a:pt x="24" y="144"/>
                  </a:lnTo>
                  <a:lnTo>
                    <a:pt x="24" y="132"/>
                  </a:lnTo>
                  <a:lnTo>
                    <a:pt x="24" y="114"/>
                  </a:lnTo>
                  <a:lnTo>
                    <a:pt x="24" y="102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18" y="48"/>
                  </a:lnTo>
                  <a:lnTo>
                    <a:pt x="42" y="36"/>
                  </a:lnTo>
                  <a:lnTo>
                    <a:pt x="54" y="24"/>
                  </a:lnTo>
                  <a:lnTo>
                    <a:pt x="60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10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14" y="60"/>
                  </a:lnTo>
                  <a:lnTo>
                    <a:pt x="120" y="60"/>
                  </a:lnTo>
                  <a:lnTo>
                    <a:pt x="114" y="84"/>
                  </a:lnTo>
                  <a:lnTo>
                    <a:pt x="120" y="90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38" y="114"/>
                  </a:lnTo>
                  <a:lnTo>
                    <a:pt x="138" y="132"/>
                  </a:lnTo>
                  <a:lnTo>
                    <a:pt x="162" y="126"/>
                  </a:lnTo>
                  <a:lnTo>
                    <a:pt x="162" y="114"/>
                  </a:lnTo>
                  <a:lnTo>
                    <a:pt x="174" y="108"/>
                  </a:lnTo>
                  <a:lnTo>
                    <a:pt x="174" y="102"/>
                  </a:lnTo>
                  <a:lnTo>
                    <a:pt x="180" y="96"/>
                  </a:lnTo>
                  <a:lnTo>
                    <a:pt x="180" y="60"/>
                  </a:lnTo>
                  <a:lnTo>
                    <a:pt x="192" y="60"/>
                  </a:lnTo>
                  <a:lnTo>
                    <a:pt x="192" y="72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04" y="108"/>
                  </a:lnTo>
                  <a:lnTo>
                    <a:pt x="204" y="114"/>
                  </a:lnTo>
                  <a:lnTo>
                    <a:pt x="204" y="120"/>
                  </a:lnTo>
                  <a:lnTo>
                    <a:pt x="204" y="126"/>
                  </a:lnTo>
                  <a:lnTo>
                    <a:pt x="210" y="126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8" y="174"/>
                  </a:lnTo>
                  <a:lnTo>
                    <a:pt x="198" y="180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86" y="204"/>
                  </a:lnTo>
                  <a:lnTo>
                    <a:pt x="186" y="210"/>
                  </a:lnTo>
                  <a:lnTo>
                    <a:pt x="180" y="210"/>
                  </a:lnTo>
                  <a:lnTo>
                    <a:pt x="180" y="216"/>
                  </a:lnTo>
                  <a:lnTo>
                    <a:pt x="180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92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8" y="258"/>
                  </a:lnTo>
                  <a:lnTo>
                    <a:pt x="204" y="258"/>
                  </a:lnTo>
                  <a:lnTo>
                    <a:pt x="210" y="258"/>
                  </a:lnTo>
                  <a:lnTo>
                    <a:pt x="216" y="258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34" y="276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46" y="306"/>
                  </a:lnTo>
                  <a:lnTo>
                    <a:pt x="252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42"/>
                  </a:lnTo>
                  <a:lnTo>
                    <a:pt x="270" y="342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88" y="366"/>
                  </a:lnTo>
                  <a:lnTo>
                    <a:pt x="336" y="360"/>
                  </a:lnTo>
                  <a:lnTo>
                    <a:pt x="354" y="360"/>
                  </a:lnTo>
                  <a:lnTo>
                    <a:pt x="366" y="372"/>
                  </a:lnTo>
                  <a:lnTo>
                    <a:pt x="378" y="378"/>
                  </a:lnTo>
                  <a:lnTo>
                    <a:pt x="378" y="390"/>
                  </a:lnTo>
                  <a:lnTo>
                    <a:pt x="384" y="390"/>
                  </a:lnTo>
                  <a:lnTo>
                    <a:pt x="390" y="396"/>
                  </a:lnTo>
                  <a:lnTo>
                    <a:pt x="408" y="390"/>
                  </a:lnTo>
                  <a:lnTo>
                    <a:pt x="426" y="366"/>
                  </a:lnTo>
                  <a:lnTo>
                    <a:pt x="432" y="360"/>
                  </a:lnTo>
                  <a:lnTo>
                    <a:pt x="438" y="348"/>
                  </a:lnTo>
                  <a:lnTo>
                    <a:pt x="438" y="342"/>
                  </a:lnTo>
                  <a:lnTo>
                    <a:pt x="438" y="330"/>
                  </a:lnTo>
                  <a:lnTo>
                    <a:pt x="444" y="324"/>
                  </a:lnTo>
                  <a:lnTo>
                    <a:pt x="450" y="318"/>
                  </a:lnTo>
                  <a:lnTo>
                    <a:pt x="456" y="312"/>
                  </a:lnTo>
                  <a:lnTo>
                    <a:pt x="456" y="306"/>
                  </a:lnTo>
                  <a:lnTo>
                    <a:pt x="456" y="300"/>
                  </a:lnTo>
                  <a:lnTo>
                    <a:pt x="474" y="288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92" y="294"/>
                  </a:lnTo>
                  <a:lnTo>
                    <a:pt x="492" y="318"/>
                  </a:lnTo>
                  <a:lnTo>
                    <a:pt x="504" y="324"/>
                  </a:lnTo>
                  <a:lnTo>
                    <a:pt x="492" y="348"/>
                  </a:lnTo>
                  <a:lnTo>
                    <a:pt x="522" y="348"/>
                  </a:lnTo>
                  <a:lnTo>
                    <a:pt x="528" y="342"/>
                  </a:lnTo>
                  <a:lnTo>
                    <a:pt x="528" y="336"/>
                  </a:lnTo>
                  <a:lnTo>
                    <a:pt x="528" y="330"/>
                  </a:lnTo>
                  <a:lnTo>
                    <a:pt x="534" y="330"/>
                  </a:lnTo>
                  <a:lnTo>
                    <a:pt x="540" y="330"/>
                  </a:lnTo>
                  <a:lnTo>
                    <a:pt x="546" y="330"/>
                  </a:lnTo>
                  <a:lnTo>
                    <a:pt x="552" y="324"/>
                  </a:lnTo>
                  <a:lnTo>
                    <a:pt x="558" y="318"/>
                  </a:lnTo>
                  <a:lnTo>
                    <a:pt x="576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8" y="348"/>
                  </a:lnTo>
                  <a:lnTo>
                    <a:pt x="654" y="354"/>
                  </a:lnTo>
                  <a:lnTo>
                    <a:pt x="648" y="402"/>
                  </a:lnTo>
                  <a:lnTo>
                    <a:pt x="678" y="402"/>
                  </a:lnTo>
                  <a:lnTo>
                    <a:pt x="678" y="420"/>
                  </a:lnTo>
                  <a:lnTo>
                    <a:pt x="684" y="438"/>
                  </a:lnTo>
                  <a:lnTo>
                    <a:pt x="684" y="450"/>
                  </a:lnTo>
                  <a:lnTo>
                    <a:pt x="684" y="456"/>
                  </a:lnTo>
                  <a:lnTo>
                    <a:pt x="690" y="468"/>
                  </a:lnTo>
                  <a:lnTo>
                    <a:pt x="690" y="474"/>
                  </a:lnTo>
                  <a:lnTo>
                    <a:pt x="690" y="480"/>
                  </a:lnTo>
                  <a:lnTo>
                    <a:pt x="696" y="486"/>
                  </a:lnTo>
                  <a:lnTo>
                    <a:pt x="696" y="498"/>
                  </a:lnTo>
                  <a:lnTo>
                    <a:pt x="702" y="504"/>
                  </a:lnTo>
                  <a:lnTo>
                    <a:pt x="690" y="516"/>
                  </a:lnTo>
                  <a:lnTo>
                    <a:pt x="678" y="522"/>
                  </a:lnTo>
                  <a:lnTo>
                    <a:pt x="654" y="528"/>
                  </a:lnTo>
                  <a:lnTo>
                    <a:pt x="660" y="546"/>
                  </a:lnTo>
                  <a:lnTo>
                    <a:pt x="672" y="546"/>
                  </a:lnTo>
                  <a:lnTo>
                    <a:pt x="678" y="540"/>
                  </a:lnTo>
                  <a:lnTo>
                    <a:pt x="714" y="540"/>
                  </a:lnTo>
                  <a:lnTo>
                    <a:pt x="798" y="540"/>
                  </a:lnTo>
                  <a:lnTo>
                    <a:pt x="804" y="540"/>
                  </a:lnTo>
                  <a:lnTo>
                    <a:pt x="816" y="528"/>
                  </a:lnTo>
                  <a:lnTo>
                    <a:pt x="822" y="522"/>
                  </a:lnTo>
                  <a:lnTo>
                    <a:pt x="834" y="516"/>
                  </a:lnTo>
                  <a:lnTo>
                    <a:pt x="846" y="516"/>
                  </a:lnTo>
                  <a:lnTo>
                    <a:pt x="852" y="510"/>
                  </a:lnTo>
                  <a:lnTo>
                    <a:pt x="858" y="510"/>
                  </a:lnTo>
                  <a:lnTo>
                    <a:pt x="882" y="516"/>
                  </a:lnTo>
                  <a:lnTo>
                    <a:pt x="888" y="516"/>
                  </a:lnTo>
                  <a:lnTo>
                    <a:pt x="888" y="510"/>
                  </a:lnTo>
                  <a:lnTo>
                    <a:pt x="894" y="510"/>
                  </a:lnTo>
                  <a:lnTo>
                    <a:pt x="906" y="504"/>
                  </a:lnTo>
                  <a:lnTo>
                    <a:pt x="918" y="498"/>
                  </a:lnTo>
                  <a:lnTo>
                    <a:pt x="930" y="492"/>
                  </a:lnTo>
                  <a:lnTo>
                    <a:pt x="936" y="492"/>
                  </a:lnTo>
                  <a:lnTo>
                    <a:pt x="948" y="492"/>
                  </a:lnTo>
                  <a:lnTo>
                    <a:pt x="954" y="528"/>
                  </a:lnTo>
                  <a:lnTo>
                    <a:pt x="954" y="564"/>
                  </a:lnTo>
                  <a:lnTo>
                    <a:pt x="972" y="564"/>
                  </a:lnTo>
                  <a:lnTo>
                    <a:pt x="978" y="558"/>
                  </a:lnTo>
                  <a:lnTo>
                    <a:pt x="990" y="552"/>
                  </a:lnTo>
                  <a:lnTo>
                    <a:pt x="1002" y="540"/>
                  </a:lnTo>
                  <a:lnTo>
                    <a:pt x="1026" y="534"/>
                  </a:lnTo>
                  <a:lnTo>
                    <a:pt x="1032" y="540"/>
                  </a:lnTo>
                  <a:lnTo>
                    <a:pt x="1044" y="546"/>
                  </a:lnTo>
                  <a:lnTo>
                    <a:pt x="1062" y="552"/>
                  </a:lnTo>
                  <a:lnTo>
                    <a:pt x="1068" y="552"/>
                  </a:lnTo>
                  <a:lnTo>
                    <a:pt x="1068" y="570"/>
                  </a:lnTo>
                  <a:lnTo>
                    <a:pt x="1068" y="576"/>
                  </a:lnTo>
                  <a:lnTo>
                    <a:pt x="1068" y="582"/>
                  </a:lnTo>
                  <a:lnTo>
                    <a:pt x="1068" y="588"/>
                  </a:lnTo>
                  <a:lnTo>
                    <a:pt x="1068" y="594"/>
                  </a:lnTo>
                  <a:lnTo>
                    <a:pt x="1080" y="600"/>
                  </a:lnTo>
                  <a:lnTo>
                    <a:pt x="1086" y="606"/>
                  </a:lnTo>
                  <a:lnTo>
                    <a:pt x="1092" y="594"/>
                  </a:lnTo>
                  <a:lnTo>
                    <a:pt x="1104" y="588"/>
                  </a:lnTo>
                  <a:lnTo>
                    <a:pt x="1116" y="588"/>
                  </a:lnTo>
                  <a:lnTo>
                    <a:pt x="1122" y="588"/>
                  </a:lnTo>
                  <a:lnTo>
                    <a:pt x="1122" y="594"/>
                  </a:lnTo>
                  <a:lnTo>
                    <a:pt x="1128" y="594"/>
                  </a:lnTo>
                  <a:lnTo>
                    <a:pt x="1134" y="594"/>
                  </a:lnTo>
                  <a:lnTo>
                    <a:pt x="1140" y="594"/>
                  </a:lnTo>
                  <a:lnTo>
                    <a:pt x="1146" y="588"/>
                  </a:lnTo>
                  <a:lnTo>
                    <a:pt x="1158" y="582"/>
                  </a:lnTo>
                  <a:lnTo>
                    <a:pt x="1164" y="576"/>
                  </a:lnTo>
                  <a:lnTo>
                    <a:pt x="1176" y="576"/>
                  </a:lnTo>
                  <a:lnTo>
                    <a:pt x="1194" y="576"/>
                  </a:lnTo>
                  <a:lnTo>
                    <a:pt x="1218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24" y="594"/>
                  </a:lnTo>
                  <a:lnTo>
                    <a:pt x="1212" y="600"/>
                  </a:lnTo>
                  <a:lnTo>
                    <a:pt x="1206" y="606"/>
                  </a:lnTo>
                  <a:lnTo>
                    <a:pt x="1200" y="606"/>
                  </a:lnTo>
                  <a:lnTo>
                    <a:pt x="1200" y="612"/>
                  </a:lnTo>
                  <a:lnTo>
                    <a:pt x="1194" y="612"/>
                  </a:lnTo>
                  <a:lnTo>
                    <a:pt x="1194" y="618"/>
                  </a:lnTo>
                  <a:lnTo>
                    <a:pt x="1194" y="624"/>
                  </a:lnTo>
                  <a:lnTo>
                    <a:pt x="1194" y="630"/>
                  </a:lnTo>
                  <a:lnTo>
                    <a:pt x="1194" y="648"/>
                  </a:lnTo>
                  <a:lnTo>
                    <a:pt x="1194" y="660"/>
                  </a:lnTo>
                  <a:lnTo>
                    <a:pt x="1194" y="666"/>
                  </a:lnTo>
                  <a:lnTo>
                    <a:pt x="1194" y="672"/>
                  </a:lnTo>
                  <a:lnTo>
                    <a:pt x="1194" y="678"/>
                  </a:lnTo>
                  <a:lnTo>
                    <a:pt x="1188" y="684"/>
                  </a:lnTo>
                  <a:lnTo>
                    <a:pt x="1188" y="690"/>
                  </a:lnTo>
                  <a:lnTo>
                    <a:pt x="1188" y="696"/>
                  </a:lnTo>
                  <a:lnTo>
                    <a:pt x="1188" y="702"/>
                  </a:lnTo>
                  <a:lnTo>
                    <a:pt x="1188" y="708"/>
                  </a:lnTo>
                  <a:lnTo>
                    <a:pt x="1188" y="714"/>
                  </a:lnTo>
                  <a:lnTo>
                    <a:pt x="1182" y="720"/>
                  </a:lnTo>
                  <a:lnTo>
                    <a:pt x="1170" y="720"/>
                  </a:lnTo>
                  <a:lnTo>
                    <a:pt x="1158" y="726"/>
                  </a:lnTo>
                  <a:lnTo>
                    <a:pt x="1152" y="726"/>
                  </a:lnTo>
                  <a:lnTo>
                    <a:pt x="1152" y="732"/>
                  </a:lnTo>
                  <a:lnTo>
                    <a:pt x="1146" y="738"/>
                  </a:lnTo>
                  <a:lnTo>
                    <a:pt x="1140" y="738"/>
                  </a:lnTo>
                  <a:lnTo>
                    <a:pt x="1140" y="744"/>
                  </a:lnTo>
                  <a:lnTo>
                    <a:pt x="1134" y="744"/>
                  </a:lnTo>
                  <a:lnTo>
                    <a:pt x="1128" y="744"/>
                  </a:lnTo>
                  <a:lnTo>
                    <a:pt x="1122" y="750"/>
                  </a:lnTo>
                  <a:lnTo>
                    <a:pt x="1128" y="750"/>
                  </a:lnTo>
                  <a:lnTo>
                    <a:pt x="1122" y="756"/>
                  </a:lnTo>
                  <a:lnTo>
                    <a:pt x="1116" y="756"/>
                  </a:lnTo>
                  <a:lnTo>
                    <a:pt x="1110" y="762"/>
                  </a:lnTo>
                  <a:lnTo>
                    <a:pt x="1104" y="762"/>
                  </a:lnTo>
                  <a:lnTo>
                    <a:pt x="1104" y="768"/>
                  </a:lnTo>
                  <a:lnTo>
                    <a:pt x="1098" y="768"/>
                  </a:lnTo>
                  <a:lnTo>
                    <a:pt x="1098" y="774"/>
                  </a:lnTo>
                  <a:lnTo>
                    <a:pt x="1092" y="774"/>
                  </a:lnTo>
                  <a:lnTo>
                    <a:pt x="1092" y="780"/>
                  </a:lnTo>
                  <a:lnTo>
                    <a:pt x="1086" y="780"/>
                  </a:lnTo>
                  <a:lnTo>
                    <a:pt x="1086" y="786"/>
                  </a:lnTo>
                  <a:lnTo>
                    <a:pt x="1080" y="786"/>
                  </a:lnTo>
                  <a:lnTo>
                    <a:pt x="1080" y="792"/>
                  </a:lnTo>
                  <a:lnTo>
                    <a:pt x="1080" y="798"/>
                  </a:lnTo>
                  <a:lnTo>
                    <a:pt x="1080" y="804"/>
                  </a:lnTo>
                  <a:lnTo>
                    <a:pt x="1086" y="810"/>
                  </a:lnTo>
                  <a:lnTo>
                    <a:pt x="1080" y="816"/>
                  </a:lnTo>
                  <a:lnTo>
                    <a:pt x="1080" y="822"/>
                  </a:lnTo>
                  <a:lnTo>
                    <a:pt x="1074" y="822"/>
                  </a:lnTo>
                  <a:lnTo>
                    <a:pt x="1068" y="828"/>
                  </a:lnTo>
                  <a:lnTo>
                    <a:pt x="1074" y="828"/>
                  </a:lnTo>
                  <a:lnTo>
                    <a:pt x="1074" y="834"/>
                  </a:lnTo>
                  <a:lnTo>
                    <a:pt x="1080" y="846"/>
                  </a:lnTo>
                  <a:lnTo>
                    <a:pt x="1086" y="846"/>
                  </a:lnTo>
                  <a:lnTo>
                    <a:pt x="1092" y="852"/>
                  </a:lnTo>
                  <a:lnTo>
                    <a:pt x="1092" y="858"/>
                  </a:lnTo>
                  <a:lnTo>
                    <a:pt x="1098" y="858"/>
                  </a:lnTo>
                  <a:lnTo>
                    <a:pt x="1110" y="864"/>
                  </a:lnTo>
                  <a:lnTo>
                    <a:pt x="1116" y="864"/>
                  </a:lnTo>
                  <a:lnTo>
                    <a:pt x="1122" y="864"/>
                  </a:lnTo>
                  <a:lnTo>
                    <a:pt x="1128" y="864"/>
                  </a:lnTo>
                  <a:lnTo>
                    <a:pt x="1134" y="876"/>
                  </a:lnTo>
                  <a:lnTo>
                    <a:pt x="1140" y="882"/>
                  </a:lnTo>
                  <a:lnTo>
                    <a:pt x="1140" y="888"/>
                  </a:lnTo>
                  <a:lnTo>
                    <a:pt x="1152" y="918"/>
                  </a:lnTo>
                  <a:lnTo>
                    <a:pt x="1158" y="894"/>
                  </a:lnTo>
                  <a:lnTo>
                    <a:pt x="1164" y="888"/>
                  </a:lnTo>
                  <a:lnTo>
                    <a:pt x="1164" y="882"/>
                  </a:lnTo>
                  <a:lnTo>
                    <a:pt x="1176" y="864"/>
                  </a:lnTo>
                  <a:lnTo>
                    <a:pt x="1182" y="858"/>
                  </a:lnTo>
                  <a:lnTo>
                    <a:pt x="1188" y="846"/>
                  </a:lnTo>
                  <a:lnTo>
                    <a:pt x="1200" y="840"/>
                  </a:lnTo>
                  <a:lnTo>
                    <a:pt x="1212" y="840"/>
                  </a:lnTo>
                  <a:lnTo>
                    <a:pt x="1218" y="846"/>
                  </a:lnTo>
                  <a:lnTo>
                    <a:pt x="1224" y="858"/>
                  </a:lnTo>
                  <a:lnTo>
                    <a:pt x="1224" y="864"/>
                  </a:lnTo>
                  <a:lnTo>
                    <a:pt x="1224" y="876"/>
                  </a:lnTo>
                  <a:lnTo>
                    <a:pt x="1212" y="912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00" y="930"/>
                  </a:lnTo>
                  <a:lnTo>
                    <a:pt x="1200" y="942"/>
                  </a:lnTo>
                  <a:lnTo>
                    <a:pt x="1194" y="948"/>
                  </a:lnTo>
                  <a:lnTo>
                    <a:pt x="1194" y="960"/>
                  </a:lnTo>
                  <a:lnTo>
                    <a:pt x="1194" y="966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70" y="984"/>
                  </a:lnTo>
                  <a:lnTo>
                    <a:pt x="1164" y="984"/>
                  </a:lnTo>
                  <a:lnTo>
                    <a:pt x="1158" y="984"/>
                  </a:lnTo>
                  <a:lnTo>
                    <a:pt x="1146" y="984"/>
                  </a:lnTo>
                  <a:lnTo>
                    <a:pt x="1140" y="990"/>
                  </a:lnTo>
                  <a:lnTo>
                    <a:pt x="1140" y="996"/>
                  </a:lnTo>
                  <a:lnTo>
                    <a:pt x="1152" y="996"/>
                  </a:lnTo>
                  <a:lnTo>
                    <a:pt x="1176" y="1002"/>
                  </a:lnTo>
                  <a:lnTo>
                    <a:pt x="1194" y="1008"/>
                  </a:lnTo>
                  <a:lnTo>
                    <a:pt x="1206" y="1008"/>
                  </a:lnTo>
                  <a:lnTo>
                    <a:pt x="1218" y="1014"/>
                  </a:lnTo>
                  <a:lnTo>
                    <a:pt x="1212" y="1038"/>
                  </a:lnTo>
                  <a:lnTo>
                    <a:pt x="1212" y="1044"/>
                  </a:lnTo>
                  <a:lnTo>
                    <a:pt x="1206" y="1044"/>
                  </a:lnTo>
                  <a:lnTo>
                    <a:pt x="1206" y="1050"/>
                  </a:lnTo>
                  <a:lnTo>
                    <a:pt x="1194" y="1050"/>
                  </a:lnTo>
                  <a:lnTo>
                    <a:pt x="1188" y="1044"/>
                  </a:lnTo>
                  <a:lnTo>
                    <a:pt x="1158" y="1020"/>
                  </a:lnTo>
                  <a:lnTo>
                    <a:pt x="1152" y="1020"/>
                  </a:lnTo>
                  <a:lnTo>
                    <a:pt x="1140" y="1020"/>
                  </a:lnTo>
                  <a:lnTo>
                    <a:pt x="1134" y="1020"/>
                  </a:lnTo>
                  <a:lnTo>
                    <a:pt x="1134" y="1026"/>
                  </a:lnTo>
                  <a:lnTo>
                    <a:pt x="1134" y="1032"/>
                  </a:lnTo>
                  <a:lnTo>
                    <a:pt x="1128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2" name="Freeform 27">
              <a:extLst>
                <a:ext uri="{FF2B5EF4-FFF2-40B4-BE49-F238E27FC236}">
                  <a16:creationId xmlns:a16="http://schemas.microsoft.com/office/drawing/2014/main" id="{CE95C9DF-B651-4085-946F-65424BC51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2063" y="3421400"/>
              <a:ext cx="342138" cy="377969"/>
            </a:xfrm>
            <a:custGeom>
              <a:avLst/>
              <a:gdLst>
                <a:gd name="T0" fmla="*/ 43 w 642"/>
                <a:gd name="T1" fmla="*/ 41 h 708"/>
                <a:gd name="T2" fmla="*/ 39 w 642"/>
                <a:gd name="T3" fmla="*/ 41 h 708"/>
                <a:gd name="T4" fmla="*/ 38 w 642"/>
                <a:gd name="T5" fmla="*/ 47 h 708"/>
                <a:gd name="T6" fmla="*/ 38 w 642"/>
                <a:gd name="T7" fmla="*/ 49 h 708"/>
                <a:gd name="T8" fmla="*/ 38 w 642"/>
                <a:gd name="T9" fmla="*/ 50 h 708"/>
                <a:gd name="T10" fmla="*/ 36 w 642"/>
                <a:gd name="T11" fmla="*/ 52 h 708"/>
                <a:gd name="T12" fmla="*/ 35 w 642"/>
                <a:gd name="T13" fmla="*/ 53 h 708"/>
                <a:gd name="T14" fmla="*/ 33 w 642"/>
                <a:gd name="T15" fmla="*/ 55 h 708"/>
                <a:gd name="T16" fmla="*/ 32 w 642"/>
                <a:gd name="T17" fmla="*/ 56 h 708"/>
                <a:gd name="T18" fmla="*/ 31 w 642"/>
                <a:gd name="T19" fmla="*/ 59 h 708"/>
                <a:gd name="T20" fmla="*/ 26 w 642"/>
                <a:gd name="T21" fmla="*/ 59 h 708"/>
                <a:gd name="T22" fmla="*/ 23 w 642"/>
                <a:gd name="T23" fmla="*/ 61 h 708"/>
                <a:gd name="T24" fmla="*/ 20 w 642"/>
                <a:gd name="T25" fmla="*/ 61 h 708"/>
                <a:gd name="T26" fmla="*/ 17 w 642"/>
                <a:gd name="T27" fmla="*/ 59 h 708"/>
                <a:gd name="T28" fmla="*/ 15 w 642"/>
                <a:gd name="T29" fmla="*/ 56 h 708"/>
                <a:gd name="T30" fmla="*/ 9 w 642"/>
                <a:gd name="T31" fmla="*/ 58 h 708"/>
                <a:gd name="T32" fmla="*/ 6 w 642"/>
                <a:gd name="T33" fmla="*/ 52 h 708"/>
                <a:gd name="T34" fmla="*/ 2 w 642"/>
                <a:gd name="T35" fmla="*/ 53 h 708"/>
                <a:gd name="T36" fmla="*/ 1 w 642"/>
                <a:gd name="T37" fmla="*/ 51 h 708"/>
                <a:gd name="T38" fmla="*/ 4 w 642"/>
                <a:gd name="T39" fmla="*/ 47 h 708"/>
                <a:gd name="T40" fmla="*/ 5 w 642"/>
                <a:gd name="T41" fmla="*/ 41 h 708"/>
                <a:gd name="T42" fmla="*/ 5 w 642"/>
                <a:gd name="T43" fmla="*/ 38 h 708"/>
                <a:gd name="T44" fmla="*/ 5 w 642"/>
                <a:gd name="T45" fmla="*/ 35 h 708"/>
                <a:gd name="T46" fmla="*/ 6 w 642"/>
                <a:gd name="T47" fmla="*/ 33 h 708"/>
                <a:gd name="T48" fmla="*/ 5 w 642"/>
                <a:gd name="T49" fmla="*/ 29 h 708"/>
                <a:gd name="T50" fmla="*/ 4 w 642"/>
                <a:gd name="T51" fmla="*/ 28 h 708"/>
                <a:gd name="T52" fmla="*/ 1 w 642"/>
                <a:gd name="T53" fmla="*/ 26 h 708"/>
                <a:gd name="T54" fmla="*/ 1 w 642"/>
                <a:gd name="T55" fmla="*/ 24 h 708"/>
                <a:gd name="T56" fmla="*/ 1 w 642"/>
                <a:gd name="T57" fmla="*/ 20 h 708"/>
                <a:gd name="T58" fmla="*/ 1 w 642"/>
                <a:gd name="T59" fmla="*/ 16 h 708"/>
                <a:gd name="T60" fmla="*/ 2 w 642"/>
                <a:gd name="T61" fmla="*/ 14 h 708"/>
                <a:gd name="T62" fmla="*/ 8 w 642"/>
                <a:gd name="T63" fmla="*/ 14 h 708"/>
                <a:gd name="T64" fmla="*/ 9 w 642"/>
                <a:gd name="T65" fmla="*/ 10 h 708"/>
                <a:gd name="T66" fmla="*/ 15 w 642"/>
                <a:gd name="T67" fmla="*/ 9 h 708"/>
                <a:gd name="T68" fmla="*/ 18 w 642"/>
                <a:gd name="T69" fmla="*/ 14 h 708"/>
                <a:gd name="T70" fmla="*/ 20 w 642"/>
                <a:gd name="T71" fmla="*/ 12 h 708"/>
                <a:gd name="T72" fmla="*/ 20 w 642"/>
                <a:gd name="T73" fmla="*/ 11 h 708"/>
                <a:gd name="T74" fmla="*/ 21 w 642"/>
                <a:gd name="T75" fmla="*/ 9 h 708"/>
                <a:gd name="T76" fmla="*/ 24 w 642"/>
                <a:gd name="T77" fmla="*/ 9 h 708"/>
                <a:gd name="T78" fmla="*/ 27 w 642"/>
                <a:gd name="T79" fmla="*/ 8 h 708"/>
                <a:gd name="T80" fmla="*/ 33 w 642"/>
                <a:gd name="T81" fmla="*/ 2 h 708"/>
                <a:gd name="T82" fmla="*/ 42 w 642"/>
                <a:gd name="T83" fmla="*/ 2 h 708"/>
                <a:gd name="T84" fmla="*/ 49 w 642"/>
                <a:gd name="T85" fmla="*/ 1 h 708"/>
                <a:gd name="T86" fmla="*/ 53 w 642"/>
                <a:gd name="T87" fmla="*/ 4 h 708"/>
                <a:gd name="T88" fmla="*/ 55 w 642"/>
                <a:gd name="T89" fmla="*/ 4 h 708"/>
                <a:gd name="T90" fmla="*/ 55 w 642"/>
                <a:gd name="T91" fmla="*/ 7 h 708"/>
                <a:gd name="T92" fmla="*/ 52 w 642"/>
                <a:gd name="T93" fmla="*/ 9 h 708"/>
                <a:gd name="T94" fmla="*/ 49 w 642"/>
                <a:gd name="T95" fmla="*/ 12 h 708"/>
                <a:gd name="T96" fmla="*/ 47 w 642"/>
                <a:gd name="T97" fmla="*/ 14 h 708"/>
                <a:gd name="T98" fmla="*/ 47 w 642"/>
                <a:gd name="T99" fmla="*/ 17 h 708"/>
                <a:gd name="T100" fmla="*/ 45 w 642"/>
                <a:gd name="T101" fmla="*/ 26 h 708"/>
                <a:gd name="T102" fmla="*/ 50 w 642"/>
                <a:gd name="T103" fmla="*/ 37 h 70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42"/>
                <a:gd name="T157" fmla="*/ 0 h 708"/>
                <a:gd name="T158" fmla="*/ 642 w 642"/>
                <a:gd name="T159" fmla="*/ 708 h 70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42" h="708">
                  <a:moveTo>
                    <a:pt x="576" y="468"/>
                  </a:moveTo>
                  <a:lnTo>
                    <a:pt x="564" y="468"/>
                  </a:lnTo>
                  <a:lnTo>
                    <a:pt x="516" y="468"/>
                  </a:lnTo>
                  <a:lnTo>
                    <a:pt x="498" y="474"/>
                  </a:lnTo>
                  <a:lnTo>
                    <a:pt x="492" y="468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68" y="474"/>
                  </a:lnTo>
                  <a:lnTo>
                    <a:pt x="456" y="468"/>
                  </a:lnTo>
                  <a:lnTo>
                    <a:pt x="444" y="474"/>
                  </a:lnTo>
                  <a:lnTo>
                    <a:pt x="438" y="492"/>
                  </a:lnTo>
                  <a:lnTo>
                    <a:pt x="438" y="504"/>
                  </a:lnTo>
                  <a:lnTo>
                    <a:pt x="432" y="516"/>
                  </a:lnTo>
                  <a:lnTo>
                    <a:pt x="432" y="528"/>
                  </a:lnTo>
                  <a:lnTo>
                    <a:pt x="432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52"/>
                  </a:lnTo>
                  <a:lnTo>
                    <a:pt x="432" y="558"/>
                  </a:lnTo>
                  <a:lnTo>
                    <a:pt x="438" y="564"/>
                  </a:lnTo>
                  <a:lnTo>
                    <a:pt x="444" y="564"/>
                  </a:lnTo>
                  <a:lnTo>
                    <a:pt x="438" y="564"/>
                  </a:lnTo>
                  <a:lnTo>
                    <a:pt x="438" y="570"/>
                  </a:lnTo>
                  <a:lnTo>
                    <a:pt x="432" y="570"/>
                  </a:lnTo>
                  <a:lnTo>
                    <a:pt x="432" y="576"/>
                  </a:lnTo>
                  <a:lnTo>
                    <a:pt x="426" y="588"/>
                  </a:lnTo>
                  <a:lnTo>
                    <a:pt x="420" y="594"/>
                  </a:lnTo>
                  <a:lnTo>
                    <a:pt x="420" y="600"/>
                  </a:lnTo>
                  <a:lnTo>
                    <a:pt x="414" y="600"/>
                  </a:lnTo>
                  <a:lnTo>
                    <a:pt x="414" y="606"/>
                  </a:lnTo>
                  <a:lnTo>
                    <a:pt x="408" y="606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396" y="612"/>
                  </a:lnTo>
                  <a:lnTo>
                    <a:pt x="390" y="612"/>
                  </a:lnTo>
                  <a:lnTo>
                    <a:pt x="390" y="618"/>
                  </a:lnTo>
                  <a:lnTo>
                    <a:pt x="384" y="618"/>
                  </a:lnTo>
                  <a:lnTo>
                    <a:pt x="378" y="618"/>
                  </a:lnTo>
                  <a:lnTo>
                    <a:pt x="378" y="624"/>
                  </a:lnTo>
                  <a:lnTo>
                    <a:pt x="384" y="630"/>
                  </a:lnTo>
                  <a:lnTo>
                    <a:pt x="384" y="636"/>
                  </a:lnTo>
                  <a:lnTo>
                    <a:pt x="378" y="630"/>
                  </a:lnTo>
                  <a:lnTo>
                    <a:pt x="372" y="636"/>
                  </a:lnTo>
                  <a:lnTo>
                    <a:pt x="372" y="642"/>
                  </a:lnTo>
                  <a:lnTo>
                    <a:pt x="366" y="642"/>
                  </a:lnTo>
                  <a:lnTo>
                    <a:pt x="360" y="654"/>
                  </a:lnTo>
                  <a:lnTo>
                    <a:pt x="354" y="666"/>
                  </a:lnTo>
                  <a:lnTo>
                    <a:pt x="354" y="672"/>
                  </a:lnTo>
                  <a:lnTo>
                    <a:pt x="354" y="678"/>
                  </a:lnTo>
                  <a:lnTo>
                    <a:pt x="354" y="684"/>
                  </a:lnTo>
                  <a:lnTo>
                    <a:pt x="348" y="678"/>
                  </a:lnTo>
                  <a:lnTo>
                    <a:pt x="324" y="678"/>
                  </a:lnTo>
                  <a:lnTo>
                    <a:pt x="306" y="678"/>
                  </a:lnTo>
                  <a:lnTo>
                    <a:pt x="294" y="678"/>
                  </a:lnTo>
                  <a:lnTo>
                    <a:pt x="288" y="684"/>
                  </a:lnTo>
                  <a:lnTo>
                    <a:pt x="276" y="690"/>
                  </a:lnTo>
                  <a:lnTo>
                    <a:pt x="270" y="696"/>
                  </a:lnTo>
                  <a:lnTo>
                    <a:pt x="264" y="696"/>
                  </a:lnTo>
                  <a:lnTo>
                    <a:pt x="258" y="696"/>
                  </a:lnTo>
                  <a:lnTo>
                    <a:pt x="252" y="696"/>
                  </a:lnTo>
                  <a:lnTo>
                    <a:pt x="252" y="690"/>
                  </a:lnTo>
                  <a:lnTo>
                    <a:pt x="246" y="690"/>
                  </a:lnTo>
                  <a:lnTo>
                    <a:pt x="234" y="690"/>
                  </a:lnTo>
                  <a:lnTo>
                    <a:pt x="222" y="696"/>
                  </a:lnTo>
                  <a:lnTo>
                    <a:pt x="216" y="708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8" y="690"/>
                  </a:lnTo>
                  <a:lnTo>
                    <a:pt x="198" y="684"/>
                  </a:lnTo>
                  <a:lnTo>
                    <a:pt x="198" y="678"/>
                  </a:lnTo>
                  <a:lnTo>
                    <a:pt x="198" y="672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74" y="648"/>
                  </a:lnTo>
                  <a:lnTo>
                    <a:pt x="162" y="642"/>
                  </a:lnTo>
                  <a:lnTo>
                    <a:pt x="156" y="636"/>
                  </a:lnTo>
                  <a:lnTo>
                    <a:pt x="132" y="642"/>
                  </a:lnTo>
                  <a:lnTo>
                    <a:pt x="120" y="654"/>
                  </a:lnTo>
                  <a:lnTo>
                    <a:pt x="108" y="660"/>
                  </a:lnTo>
                  <a:lnTo>
                    <a:pt x="102" y="666"/>
                  </a:lnTo>
                  <a:lnTo>
                    <a:pt x="84" y="666"/>
                  </a:lnTo>
                  <a:lnTo>
                    <a:pt x="84" y="630"/>
                  </a:lnTo>
                  <a:lnTo>
                    <a:pt x="78" y="594"/>
                  </a:lnTo>
                  <a:lnTo>
                    <a:pt x="66" y="594"/>
                  </a:lnTo>
                  <a:lnTo>
                    <a:pt x="60" y="594"/>
                  </a:lnTo>
                  <a:lnTo>
                    <a:pt x="48" y="600"/>
                  </a:lnTo>
                  <a:lnTo>
                    <a:pt x="36" y="606"/>
                  </a:lnTo>
                  <a:lnTo>
                    <a:pt x="24" y="612"/>
                  </a:lnTo>
                  <a:lnTo>
                    <a:pt x="18" y="612"/>
                  </a:lnTo>
                  <a:lnTo>
                    <a:pt x="12" y="606"/>
                  </a:lnTo>
                  <a:lnTo>
                    <a:pt x="12" y="600"/>
                  </a:lnTo>
                  <a:lnTo>
                    <a:pt x="12" y="594"/>
                  </a:lnTo>
                  <a:lnTo>
                    <a:pt x="12" y="588"/>
                  </a:lnTo>
                  <a:lnTo>
                    <a:pt x="12" y="582"/>
                  </a:lnTo>
                  <a:lnTo>
                    <a:pt x="12" y="576"/>
                  </a:lnTo>
                  <a:lnTo>
                    <a:pt x="18" y="552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42" y="534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48" y="492"/>
                  </a:lnTo>
                  <a:lnTo>
                    <a:pt x="48" y="480"/>
                  </a:lnTo>
                  <a:lnTo>
                    <a:pt x="54" y="468"/>
                  </a:lnTo>
                  <a:lnTo>
                    <a:pt x="48" y="456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66" y="390"/>
                  </a:lnTo>
                  <a:lnTo>
                    <a:pt x="72" y="384"/>
                  </a:lnTo>
                  <a:lnTo>
                    <a:pt x="72" y="378"/>
                  </a:lnTo>
                  <a:lnTo>
                    <a:pt x="66" y="378"/>
                  </a:lnTo>
                  <a:lnTo>
                    <a:pt x="66" y="366"/>
                  </a:lnTo>
                  <a:lnTo>
                    <a:pt x="60" y="360"/>
                  </a:lnTo>
                  <a:lnTo>
                    <a:pt x="66" y="354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48" y="312"/>
                  </a:lnTo>
                  <a:lnTo>
                    <a:pt x="30" y="312"/>
                  </a:lnTo>
                  <a:lnTo>
                    <a:pt x="24" y="306"/>
                  </a:lnTo>
                  <a:lnTo>
                    <a:pt x="18" y="306"/>
                  </a:lnTo>
                  <a:lnTo>
                    <a:pt x="12" y="294"/>
                  </a:lnTo>
                  <a:lnTo>
                    <a:pt x="12" y="282"/>
                  </a:lnTo>
                  <a:lnTo>
                    <a:pt x="6" y="276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12" y="270"/>
                  </a:lnTo>
                  <a:lnTo>
                    <a:pt x="12" y="246"/>
                  </a:lnTo>
                  <a:lnTo>
                    <a:pt x="12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8" y="174"/>
                  </a:lnTo>
                  <a:lnTo>
                    <a:pt x="12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48" y="162"/>
                  </a:lnTo>
                  <a:lnTo>
                    <a:pt x="72" y="162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84" y="132"/>
                  </a:lnTo>
                  <a:lnTo>
                    <a:pt x="90" y="120"/>
                  </a:lnTo>
                  <a:lnTo>
                    <a:pt x="108" y="114"/>
                  </a:lnTo>
                  <a:lnTo>
                    <a:pt x="114" y="102"/>
                  </a:lnTo>
                  <a:lnTo>
                    <a:pt x="120" y="90"/>
                  </a:lnTo>
                  <a:lnTo>
                    <a:pt x="138" y="90"/>
                  </a:lnTo>
                  <a:lnTo>
                    <a:pt x="138" y="102"/>
                  </a:lnTo>
                  <a:lnTo>
                    <a:pt x="168" y="108"/>
                  </a:lnTo>
                  <a:lnTo>
                    <a:pt x="168" y="114"/>
                  </a:lnTo>
                  <a:lnTo>
                    <a:pt x="174" y="126"/>
                  </a:lnTo>
                  <a:lnTo>
                    <a:pt x="186" y="150"/>
                  </a:lnTo>
                  <a:lnTo>
                    <a:pt x="186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34" y="144"/>
                  </a:lnTo>
                  <a:lnTo>
                    <a:pt x="240" y="138"/>
                  </a:lnTo>
                  <a:lnTo>
                    <a:pt x="240" y="126"/>
                  </a:lnTo>
                  <a:lnTo>
                    <a:pt x="234" y="126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34" y="102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82" y="102"/>
                  </a:lnTo>
                  <a:lnTo>
                    <a:pt x="288" y="102"/>
                  </a:lnTo>
                  <a:lnTo>
                    <a:pt x="294" y="102"/>
                  </a:lnTo>
                  <a:lnTo>
                    <a:pt x="300" y="96"/>
                  </a:lnTo>
                  <a:lnTo>
                    <a:pt x="306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84"/>
                  </a:lnTo>
                  <a:lnTo>
                    <a:pt x="324" y="18"/>
                  </a:lnTo>
                  <a:lnTo>
                    <a:pt x="360" y="18"/>
                  </a:lnTo>
                  <a:lnTo>
                    <a:pt x="378" y="18"/>
                  </a:lnTo>
                  <a:lnTo>
                    <a:pt x="378" y="30"/>
                  </a:lnTo>
                  <a:lnTo>
                    <a:pt x="390" y="30"/>
                  </a:lnTo>
                  <a:lnTo>
                    <a:pt x="432" y="30"/>
                  </a:lnTo>
                  <a:lnTo>
                    <a:pt x="456" y="24"/>
                  </a:lnTo>
                  <a:lnTo>
                    <a:pt x="480" y="24"/>
                  </a:lnTo>
                  <a:lnTo>
                    <a:pt x="498" y="30"/>
                  </a:lnTo>
                  <a:lnTo>
                    <a:pt x="522" y="18"/>
                  </a:lnTo>
                  <a:lnTo>
                    <a:pt x="528" y="0"/>
                  </a:lnTo>
                  <a:lnTo>
                    <a:pt x="558" y="6"/>
                  </a:lnTo>
                  <a:lnTo>
                    <a:pt x="558" y="12"/>
                  </a:lnTo>
                  <a:lnTo>
                    <a:pt x="570" y="18"/>
                  </a:lnTo>
                  <a:lnTo>
                    <a:pt x="576" y="24"/>
                  </a:lnTo>
                  <a:lnTo>
                    <a:pt x="588" y="36"/>
                  </a:lnTo>
                  <a:lnTo>
                    <a:pt x="594" y="48"/>
                  </a:lnTo>
                  <a:lnTo>
                    <a:pt x="606" y="48"/>
                  </a:lnTo>
                  <a:lnTo>
                    <a:pt x="606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42"/>
                  </a:lnTo>
                  <a:lnTo>
                    <a:pt x="636" y="42"/>
                  </a:lnTo>
                  <a:lnTo>
                    <a:pt x="636" y="48"/>
                  </a:lnTo>
                  <a:lnTo>
                    <a:pt x="642" y="54"/>
                  </a:lnTo>
                  <a:lnTo>
                    <a:pt x="636" y="60"/>
                  </a:lnTo>
                  <a:lnTo>
                    <a:pt x="636" y="66"/>
                  </a:lnTo>
                  <a:lnTo>
                    <a:pt x="636" y="78"/>
                  </a:lnTo>
                  <a:lnTo>
                    <a:pt x="624" y="84"/>
                  </a:lnTo>
                  <a:lnTo>
                    <a:pt x="618" y="90"/>
                  </a:lnTo>
                  <a:lnTo>
                    <a:pt x="612" y="90"/>
                  </a:lnTo>
                  <a:lnTo>
                    <a:pt x="600" y="102"/>
                  </a:lnTo>
                  <a:lnTo>
                    <a:pt x="594" y="108"/>
                  </a:lnTo>
                  <a:lnTo>
                    <a:pt x="582" y="114"/>
                  </a:lnTo>
                  <a:lnTo>
                    <a:pt x="570" y="132"/>
                  </a:lnTo>
                  <a:lnTo>
                    <a:pt x="564" y="132"/>
                  </a:lnTo>
                  <a:lnTo>
                    <a:pt x="564" y="138"/>
                  </a:lnTo>
                  <a:lnTo>
                    <a:pt x="558" y="144"/>
                  </a:lnTo>
                  <a:lnTo>
                    <a:pt x="558" y="150"/>
                  </a:lnTo>
                  <a:lnTo>
                    <a:pt x="552" y="150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0" y="162"/>
                  </a:lnTo>
                  <a:lnTo>
                    <a:pt x="534" y="168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6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28" y="234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16" y="294"/>
                  </a:lnTo>
                  <a:lnTo>
                    <a:pt x="516" y="312"/>
                  </a:lnTo>
                  <a:lnTo>
                    <a:pt x="528" y="318"/>
                  </a:lnTo>
                  <a:lnTo>
                    <a:pt x="540" y="360"/>
                  </a:lnTo>
                  <a:lnTo>
                    <a:pt x="558" y="408"/>
                  </a:lnTo>
                  <a:lnTo>
                    <a:pt x="570" y="426"/>
                  </a:lnTo>
                  <a:lnTo>
                    <a:pt x="576" y="432"/>
                  </a:lnTo>
                  <a:lnTo>
                    <a:pt x="576" y="438"/>
                  </a:lnTo>
                  <a:lnTo>
                    <a:pt x="576" y="444"/>
                  </a:lnTo>
                  <a:lnTo>
                    <a:pt x="576" y="46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3" name="Freeform 28">
              <a:extLst>
                <a:ext uri="{FF2B5EF4-FFF2-40B4-BE49-F238E27FC236}">
                  <a16:creationId xmlns:a16="http://schemas.microsoft.com/office/drawing/2014/main" id="{CF9B4F31-BF73-448E-83AA-188F6CF1BDC5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4879" y="3432583"/>
              <a:ext cx="324248" cy="270616"/>
            </a:xfrm>
            <a:custGeom>
              <a:avLst/>
              <a:gdLst>
                <a:gd name="T0" fmla="*/ 5 w 606"/>
                <a:gd name="T1" fmla="*/ 36 h 510"/>
                <a:gd name="T2" fmla="*/ 4 w 606"/>
                <a:gd name="T3" fmla="*/ 34 h 510"/>
                <a:gd name="T4" fmla="*/ 0 w 606"/>
                <a:gd name="T5" fmla="*/ 25 h 510"/>
                <a:gd name="T6" fmla="*/ 1 w 606"/>
                <a:gd name="T7" fmla="*/ 20 h 510"/>
                <a:gd name="T8" fmla="*/ 2 w 606"/>
                <a:gd name="T9" fmla="*/ 15 h 510"/>
                <a:gd name="T10" fmla="*/ 2 w 606"/>
                <a:gd name="T11" fmla="*/ 13 h 510"/>
                <a:gd name="T12" fmla="*/ 3 w 606"/>
                <a:gd name="T13" fmla="*/ 12 h 510"/>
                <a:gd name="T14" fmla="*/ 4 w 606"/>
                <a:gd name="T15" fmla="*/ 11 h 510"/>
                <a:gd name="T16" fmla="*/ 4 w 606"/>
                <a:gd name="T17" fmla="*/ 10 h 510"/>
                <a:gd name="T18" fmla="*/ 7 w 606"/>
                <a:gd name="T19" fmla="*/ 8 h 510"/>
                <a:gd name="T20" fmla="*/ 9 w 606"/>
                <a:gd name="T21" fmla="*/ 6 h 510"/>
                <a:gd name="T22" fmla="*/ 11 w 606"/>
                <a:gd name="T23" fmla="*/ 4 h 510"/>
                <a:gd name="T24" fmla="*/ 12 w 606"/>
                <a:gd name="T25" fmla="*/ 3 h 510"/>
                <a:gd name="T26" fmla="*/ 13 w 606"/>
                <a:gd name="T27" fmla="*/ 4 h 510"/>
                <a:gd name="T28" fmla="*/ 15 w 606"/>
                <a:gd name="T29" fmla="*/ 2 h 510"/>
                <a:gd name="T30" fmla="*/ 17 w 606"/>
                <a:gd name="T31" fmla="*/ 2 h 510"/>
                <a:gd name="T32" fmla="*/ 19 w 606"/>
                <a:gd name="T33" fmla="*/ 5 h 510"/>
                <a:gd name="T34" fmla="*/ 22 w 606"/>
                <a:gd name="T35" fmla="*/ 5 h 510"/>
                <a:gd name="T36" fmla="*/ 25 w 606"/>
                <a:gd name="T37" fmla="*/ 6 h 510"/>
                <a:gd name="T38" fmla="*/ 29 w 606"/>
                <a:gd name="T39" fmla="*/ 1 h 510"/>
                <a:gd name="T40" fmla="*/ 38 w 606"/>
                <a:gd name="T41" fmla="*/ 0 h 510"/>
                <a:gd name="T42" fmla="*/ 38 w 606"/>
                <a:gd name="T43" fmla="*/ 5 h 510"/>
                <a:gd name="T44" fmla="*/ 41 w 606"/>
                <a:gd name="T45" fmla="*/ 4 h 510"/>
                <a:gd name="T46" fmla="*/ 45 w 606"/>
                <a:gd name="T47" fmla="*/ 2 h 510"/>
                <a:gd name="T48" fmla="*/ 46 w 606"/>
                <a:gd name="T49" fmla="*/ 2 h 510"/>
                <a:gd name="T50" fmla="*/ 47 w 606"/>
                <a:gd name="T51" fmla="*/ 5 h 510"/>
                <a:gd name="T52" fmla="*/ 45 w 606"/>
                <a:gd name="T53" fmla="*/ 6 h 510"/>
                <a:gd name="T54" fmla="*/ 45 w 606"/>
                <a:gd name="T55" fmla="*/ 7 h 510"/>
                <a:gd name="T56" fmla="*/ 43 w 606"/>
                <a:gd name="T57" fmla="*/ 8 h 510"/>
                <a:gd name="T58" fmla="*/ 45 w 606"/>
                <a:gd name="T59" fmla="*/ 15 h 510"/>
                <a:gd name="T60" fmla="*/ 49 w 606"/>
                <a:gd name="T61" fmla="*/ 15 h 510"/>
                <a:gd name="T62" fmla="*/ 51 w 606"/>
                <a:gd name="T63" fmla="*/ 15 h 510"/>
                <a:gd name="T64" fmla="*/ 53 w 606"/>
                <a:gd name="T65" fmla="*/ 16 h 510"/>
                <a:gd name="T66" fmla="*/ 52 w 606"/>
                <a:gd name="T67" fmla="*/ 20 h 510"/>
                <a:gd name="T68" fmla="*/ 48 w 606"/>
                <a:gd name="T69" fmla="*/ 23 h 510"/>
                <a:gd name="T70" fmla="*/ 45 w 606"/>
                <a:gd name="T71" fmla="*/ 25 h 510"/>
                <a:gd name="T72" fmla="*/ 44 w 606"/>
                <a:gd name="T73" fmla="*/ 28 h 510"/>
                <a:gd name="T74" fmla="*/ 43 w 606"/>
                <a:gd name="T75" fmla="*/ 33 h 510"/>
                <a:gd name="T76" fmla="*/ 39 w 606"/>
                <a:gd name="T77" fmla="*/ 38 h 510"/>
                <a:gd name="T78" fmla="*/ 37 w 606"/>
                <a:gd name="T79" fmla="*/ 41 h 510"/>
                <a:gd name="T80" fmla="*/ 31 w 606"/>
                <a:gd name="T81" fmla="*/ 44 h 510"/>
                <a:gd name="T82" fmla="*/ 28 w 606"/>
                <a:gd name="T83" fmla="*/ 43 h 510"/>
                <a:gd name="T84" fmla="*/ 28 w 606"/>
                <a:gd name="T85" fmla="*/ 41 h 510"/>
                <a:gd name="T86" fmla="*/ 28 w 606"/>
                <a:gd name="T87" fmla="*/ 40 h 510"/>
                <a:gd name="T88" fmla="*/ 27 w 606"/>
                <a:gd name="T89" fmla="*/ 38 h 510"/>
                <a:gd name="T90" fmla="*/ 27 w 606"/>
                <a:gd name="T91" fmla="*/ 36 h 510"/>
                <a:gd name="T92" fmla="*/ 24 w 606"/>
                <a:gd name="T93" fmla="*/ 35 h 510"/>
                <a:gd name="T94" fmla="*/ 16 w 606"/>
                <a:gd name="T95" fmla="*/ 34 h 510"/>
                <a:gd name="T96" fmla="*/ 13 w 606"/>
                <a:gd name="T97" fmla="*/ 34 h 510"/>
                <a:gd name="T98" fmla="*/ 9 w 606"/>
                <a:gd name="T99" fmla="*/ 36 h 510"/>
                <a:gd name="T100" fmla="*/ 8 w 606"/>
                <a:gd name="T101" fmla="*/ 38 h 510"/>
                <a:gd name="T102" fmla="*/ 7 w 606"/>
                <a:gd name="T103" fmla="*/ 39 h 51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06"/>
                <a:gd name="T157" fmla="*/ 0 h 510"/>
                <a:gd name="T158" fmla="*/ 606 w 606"/>
                <a:gd name="T159" fmla="*/ 510 h 51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06" h="510">
                  <a:moveTo>
                    <a:pt x="60" y="450"/>
                  </a:move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42" y="390"/>
                  </a:lnTo>
                  <a:lnTo>
                    <a:pt x="24" y="342"/>
                  </a:lnTo>
                  <a:lnTo>
                    <a:pt x="12" y="300"/>
                  </a:lnTo>
                  <a:lnTo>
                    <a:pt x="0" y="294"/>
                  </a:lnTo>
                  <a:lnTo>
                    <a:pt x="0" y="276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24" y="192"/>
                  </a:lnTo>
                  <a:lnTo>
                    <a:pt x="24" y="180"/>
                  </a:lnTo>
                  <a:lnTo>
                    <a:pt x="24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6" y="96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108" y="66"/>
                  </a:lnTo>
                  <a:lnTo>
                    <a:pt x="120" y="60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36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62" y="36"/>
                  </a:lnTo>
                  <a:lnTo>
                    <a:pt x="162" y="30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0" y="54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46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76" y="66"/>
                  </a:lnTo>
                  <a:lnTo>
                    <a:pt x="312" y="66"/>
                  </a:lnTo>
                  <a:lnTo>
                    <a:pt x="318" y="60"/>
                  </a:lnTo>
                  <a:lnTo>
                    <a:pt x="330" y="12"/>
                  </a:lnTo>
                  <a:lnTo>
                    <a:pt x="414" y="6"/>
                  </a:lnTo>
                  <a:lnTo>
                    <a:pt x="420" y="0"/>
                  </a:lnTo>
                  <a:lnTo>
                    <a:pt x="426" y="6"/>
                  </a:lnTo>
                  <a:lnTo>
                    <a:pt x="426" y="12"/>
                  </a:lnTo>
                  <a:lnTo>
                    <a:pt x="426" y="54"/>
                  </a:lnTo>
                  <a:lnTo>
                    <a:pt x="432" y="54"/>
                  </a:lnTo>
                  <a:lnTo>
                    <a:pt x="444" y="54"/>
                  </a:lnTo>
                  <a:lnTo>
                    <a:pt x="450" y="42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86" y="24"/>
                  </a:lnTo>
                  <a:lnTo>
                    <a:pt x="504" y="18"/>
                  </a:lnTo>
                  <a:lnTo>
                    <a:pt x="510" y="12"/>
                  </a:lnTo>
                  <a:lnTo>
                    <a:pt x="516" y="18"/>
                  </a:lnTo>
                  <a:lnTo>
                    <a:pt x="522" y="24"/>
                  </a:lnTo>
                  <a:lnTo>
                    <a:pt x="510" y="30"/>
                  </a:lnTo>
                  <a:lnTo>
                    <a:pt x="516" y="48"/>
                  </a:lnTo>
                  <a:lnTo>
                    <a:pt x="528" y="54"/>
                  </a:lnTo>
                  <a:lnTo>
                    <a:pt x="522" y="60"/>
                  </a:lnTo>
                  <a:lnTo>
                    <a:pt x="516" y="66"/>
                  </a:lnTo>
                  <a:lnTo>
                    <a:pt x="516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0" y="84"/>
                  </a:lnTo>
                  <a:lnTo>
                    <a:pt x="510" y="90"/>
                  </a:lnTo>
                  <a:lnTo>
                    <a:pt x="504" y="90"/>
                  </a:lnTo>
                  <a:lnTo>
                    <a:pt x="486" y="90"/>
                  </a:lnTo>
                  <a:lnTo>
                    <a:pt x="492" y="138"/>
                  </a:lnTo>
                  <a:lnTo>
                    <a:pt x="498" y="168"/>
                  </a:lnTo>
                  <a:lnTo>
                    <a:pt x="516" y="168"/>
                  </a:lnTo>
                  <a:lnTo>
                    <a:pt x="528" y="174"/>
                  </a:lnTo>
                  <a:lnTo>
                    <a:pt x="534" y="168"/>
                  </a:lnTo>
                  <a:lnTo>
                    <a:pt x="558" y="174"/>
                  </a:lnTo>
                  <a:lnTo>
                    <a:pt x="564" y="168"/>
                  </a:lnTo>
                  <a:lnTo>
                    <a:pt x="570" y="168"/>
                  </a:lnTo>
                  <a:lnTo>
                    <a:pt x="576" y="174"/>
                  </a:lnTo>
                  <a:lnTo>
                    <a:pt x="588" y="168"/>
                  </a:lnTo>
                  <a:lnTo>
                    <a:pt x="594" y="168"/>
                  </a:lnTo>
                  <a:lnTo>
                    <a:pt x="594" y="186"/>
                  </a:lnTo>
                  <a:lnTo>
                    <a:pt x="606" y="198"/>
                  </a:lnTo>
                  <a:lnTo>
                    <a:pt x="600" y="210"/>
                  </a:lnTo>
                  <a:lnTo>
                    <a:pt x="588" y="234"/>
                  </a:lnTo>
                  <a:lnTo>
                    <a:pt x="564" y="246"/>
                  </a:lnTo>
                  <a:lnTo>
                    <a:pt x="546" y="258"/>
                  </a:lnTo>
                  <a:lnTo>
                    <a:pt x="540" y="270"/>
                  </a:lnTo>
                  <a:lnTo>
                    <a:pt x="534" y="294"/>
                  </a:lnTo>
                  <a:lnTo>
                    <a:pt x="528" y="300"/>
                  </a:lnTo>
                  <a:lnTo>
                    <a:pt x="516" y="294"/>
                  </a:lnTo>
                  <a:lnTo>
                    <a:pt x="510" y="300"/>
                  </a:lnTo>
                  <a:lnTo>
                    <a:pt x="498" y="318"/>
                  </a:lnTo>
                  <a:lnTo>
                    <a:pt x="492" y="324"/>
                  </a:lnTo>
                  <a:lnTo>
                    <a:pt x="486" y="336"/>
                  </a:lnTo>
                  <a:lnTo>
                    <a:pt x="486" y="354"/>
                  </a:lnTo>
                  <a:lnTo>
                    <a:pt x="486" y="384"/>
                  </a:lnTo>
                  <a:lnTo>
                    <a:pt x="474" y="408"/>
                  </a:lnTo>
                  <a:lnTo>
                    <a:pt x="450" y="426"/>
                  </a:lnTo>
                  <a:lnTo>
                    <a:pt x="444" y="444"/>
                  </a:lnTo>
                  <a:lnTo>
                    <a:pt x="426" y="474"/>
                  </a:lnTo>
                  <a:lnTo>
                    <a:pt x="420" y="486"/>
                  </a:lnTo>
                  <a:lnTo>
                    <a:pt x="414" y="486"/>
                  </a:lnTo>
                  <a:lnTo>
                    <a:pt x="414" y="498"/>
                  </a:lnTo>
                  <a:lnTo>
                    <a:pt x="378" y="504"/>
                  </a:lnTo>
                  <a:lnTo>
                    <a:pt x="348" y="510"/>
                  </a:lnTo>
                  <a:lnTo>
                    <a:pt x="330" y="510"/>
                  </a:lnTo>
                  <a:lnTo>
                    <a:pt x="324" y="504"/>
                  </a:lnTo>
                  <a:lnTo>
                    <a:pt x="318" y="504"/>
                  </a:lnTo>
                  <a:lnTo>
                    <a:pt x="312" y="504"/>
                  </a:lnTo>
                  <a:lnTo>
                    <a:pt x="312" y="498"/>
                  </a:lnTo>
                  <a:lnTo>
                    <a:pt x="312" y="486"/>
                  </a:lnTo>
                  <a:lnTo>
                    <a:pt x="312" y="480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56"/>
                  </a:lnTo>
                  <a:lnTo>
                    <a:pt x="312" y="450"/>
                  </a:lnTo>
                  <a:lnTo>
                    <a:pt x="306" y="444"/>
                  </a:lnTo>
                  <a:lnTo>
                    <a:pt x="306" y="438"/>
                  </a:lnTo>
                  <a:lnTo>
                    <a:pt x="300" y="426"/>
                  </a:lnTo>
                  <a:lnTo>
                    <a:pt x="300" y="420"/>
                  </a:lnTo>
                  <a:lnTo>
                    <a:pt x="294" y="414"/>
                  </a:lnTo>
                  <a:lnTo>
                    <a:pt x="294" y="408"/>
                  </a:lnTo>
                  <a:lnTo>
                    <a:pt x="270" y="408"/>
                  </a:lnTo>
                  <a:lnTo>
                    <a:pt x="246" y="408"/>
                  </a:lnTo>
                  <a:lnTo>
                    <a:pt x="222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56" y="402"/>
                  </a:lnTo>
                  <a:lnTo>
                    <a:pt x="144" y="396"/>
                  </a:lnTo>
                  <a:lnTo>
                    <a:pt x="126" y="396"/>
                  </a:lnTo>
                  <a:lnTo>
                    <a:pt x="108" y="408"/>
                  </a:lnTo>
                  <a:lnTo>
                    <a:pt x="102" y="414"/>
                  </a:lnTo>
                  <a:lnTo>
                    <a:pt x="102" y="420"/>
                  </a:lnTo>
                  <a:lnTo>
                    <a:pt x="96" y="426"/>
                  </a:lnTo>
                  <a:lnTo>
                    <a:pt x="96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78" y="450"/>
                  </a:lnTo>
                  <a:lnTo>
                    <a:pt x="60" y="45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4" name="Freeform 29">
              <a:extLst>
                <a:ext uri="{FF2B5EF4-FFF2-40B4-BE49-F238E27FC236}">
                  <a16:creationId xmlns:a16="http://schemas.microsoft.com/office/drawing/2014/main" id="{B6AC2B96-1504-4082-8778-17130FDA021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401" y="3537698"/>
              <a:ext cx="559048" cy="641876"/>
            </a:xfrm>
            <a:custGeom>
              <a:avLst/>
              <a:gdLst>
                <a:gd name="T0" fmla="*/ 39 w 1056"/>
                <a:gd name="T1" fmla="*/ 94 h 1206"/>
                <a:gd name="T2" fmla="*/ 35 w 1056"/>
                <a:gd name="T3" fmla="*/ 103 h 1206"/>
                <a:gd name="T4" fmla="*/ 29 w 1056"/>
                <a:gd name="T5" fmla="*/ 99 h 1206"/>
                <a:gd name="T6" fmla="*/ 23 w 1056"/>
                <a:gd name="T7" fmla="*/ 94 h 1206"/>
                <a:gd name="T8" fmla="*/ 21 w 1056"/>
                <a:gd name="T9" fmla="*/ 91 h 1206"/>
                <a:gd name="T10" fmla="*/ 18 w 1056"/>
                <a:gd name="T11" fmla="*/ 89 h 1206"/>
                <a:gd name="T12" fmla="*/ 15 w 1056"/>
                <a:gd name="T13" fmla="*/ 86 h 1206"/>
                <a:gd name="T14" fmla="*/ 11 w 1056"/>
                <a:gd name="T15" fmla="*/ 83 h 1206"/>
                <a:gd name="T16" fmla="*/ 8 w 1056"/>
                <a:gd name="T17" fmla="*/ 81 h 1206"/>
                <a:gd name="T18" fmla="*/ 6 w 1056"/>
                <a:gd name="T19" fmla="*/ 79 h 1206"/>
                <a:gd name="T20" fmla="*/ 13 w 1056"/>
                <a:gd name="T21" fmla="*/ 78 h 1206"/>
                <a:gd name="T22" fmla="*/ 8 w 1056"/>
                <a:gd name="T23" fmla="*/ 75 h 1206"/>
                <a:gd name="T24" fmla="*/ 13 w 1056"/>
                <a:gd name="T25" fmla="*/ 71 h 1206"/>
                <a:gd name="T26" fmla="*/ 10 w 1056"/>
                <a:gd name="T27" fmla="*/ 63 h 1206"/>
                <a:gd name="T28" fmla="*/ 6 w 1056"/>
                <a:gd name="T29" fmla="*/ 66 h 1206"/>
                <a:gd name="T30" fmla="*/ 1 w 1056"/>
                <a:gd name="T31" fmla="*/ 63 h 1206"/>
                <a:gd name="T32" fmla="*/ 1 w 1056"/>
                <a:gd name="T33" fmla="*/ 59 h 1206"/>
                <a:gd name="T34" fmla="*/ 3 w 1056"/>
                <a:gd name="T35" fmla="*/ 57 h 1206"/>
                <a:gd name="T36" fmla="*/ 6 w 1056"/>
                <a:gd name="T37" fmla="*/ 55 h 1206"/>
                <a:gd name="T38" fmla="*/ 10 w 1056"/>
                <a:gd name="T39" fmla="*/ 51 h 1206"/>
                <a:gd name="T40" fmla="*/ 11 w 1056"/>
                <a:gd name="T41" fmla="*/ 46 h 1206"/>
                <a:gd name="T42" fmla="*/ 14 w 1056"/>
                <a:gd name="T43" fmla="*/ 42 h 1206"/>
                <a:gd name="T44" fmla="*/ 15 w 1056"/>
                <a:gd name="T45" fmla="*/ 36 h 1206"/>
                <a:gd name="T46" fmla="*/ 17 w 1056"/>
                <a:gd name="T47" fmla="*/ 34 h 1206"/>
                <a:gd name="T48" fmla="*/ 20 w 1056"/>
                <a:gd name="T49" fmla="*/ 31 h 1206"/>
                <a:gd name="T50" fmla="*/ 21 w 1056"/>
                <a:gd name="T51" fmla="*/ 29 h 1206"/>
                <a:gd name="T52" fmla="*/ 23 w 1056"/>
                <a:gd name="T53" fmla="*/ 22 h 1206"/>
                <a:gd name="T54" fmla="*/ 35 w 1056"/>
                <a:gd name="T55" fmla="*/ 22 h 1206"/>
                <a:gd name="T56" fmla="*/ 41 w 1056"/>
                <a:gd name="T57" fmla="*/ 18 h 1206"/>
                <a:gd name="T58" fmla="*/ 54 w 1056"/>
                <a:gd name="T59" fmla="*/ 20 h 1206"/>
                <a:gd name="T60" fmla="*/ 54 w 1056"/>
                <a:gd name="T61" fmla="*/ 26 h 1206"/>
                <a:gd name="T62" fmla="*/ 64 w 1056"/>
                <a:gd name="T63" fmla="*/ 25 h 1206"/>
                <a:gd name="T64" fmla="*/ 71 w 1056"/>
                <a:gd name="T65" fmla="*/ 10 h 1206"/>
                <a:gd name="T66" fmla="*/ 80 w 1056"/>
                <a:gd name="T67" fmla="*/ 1 h 1206"/>
                <a:gd name="T68" fmla="*/ 86 w 1056"/>
                <a:gd name="T69" fmla="*/ 2 h 1206"/>
                <a:gd name="T70" fmla="*/ 91 w 1056"/>
                <a:gd name="T71" fmla="*/ 13 h 1206"/>
                <a:gd name="T72" fmla="*/ 88 w 1056"/>
                <a:gd name="T73" fmla="*/ 17 h 1206"/>
                <a:gd name="T74" fmla="*/ 89 w 1056"/>
                <a:gd name="T75" fmla="*/ 21 h 1206"/>
                <a:gd name="T76" fmla="*/ 86 w 1056"/>
                <a:gd name="T77" fmla="*/ 25 h 1206"/>
                <a:gd name="T78" fmla="*/ 85 w 1056"/>
                <a:gd name="T79" fmla="*/ 31 h 1206"/>
                <a:gd name="T80" fmla="*/ 83 w 1056"/>
                <a:gd name="T81" fmla="*/ 36 h 1206"/>
                <a:gd name="T82" fmla="*/ 80 w 1056"/>
                <a:gd name="T83" fmla="*/ 42 h 1206"/>
                <a:gd name="T84" fmla="*/ 80 w 1056"/>
                <a:gd name="T85" fmla="*/ 47 h 1206"/>
                <a:gd name="T86" fmla="*/ 77 w 1056"/>
                <a:gd name="T87" fmla="*/ 55 h 1206"/>
                <a:gd name="T88" fmla="*/ 75 w 1056"/>
                <a:gd name="T89" fmla="*/ 57 h 1206"/>
                <a:gd name="T90" fmla="*/ 66 w 1056"/>
                <a:gd name="T91" fmla="*/ 57 h 1206"/>
                <a:gd name="T92" fmla="*/ 66 w 1056"/>
                <a:gd name="T93" fmla="*/ 51 h 1206"/>
                <a:gd name="T94" fmla="*/ 48 w 1056"/>
                <a:gd name="T95" fmla="*/ 50 h 1206"/>
                <a:gd name="T96" fmla="*/ 46 w 1056"/>
                <a:gd name="T97" fmla="*/ 55 h 1206"/>
                <a:gd name="T98" fmla="*/ 42 w 1056"/>
                <a:gd name="T99" fmla="*/ 59 h 1206"/>
                <a:gd name="T100" fmla="*/ 41 w 1056"/>
                <a:gd name="T101" fmla="*/ 62 h 1206"/>
                <a:gd name="T102" fmla="*/ 43 w 1056"/>
                <a:gd name="T103" fmla="*/ 67 h 1206"/>
                <a:gd name="T104" fmla="*/ 42 w 1056"/>
                <a:gd name="T105" fmla="*/ 72 h 1206"/>
                <a:gd name="T106" fmla="*/ 39 w 1056"/>
                <a:gd name="T107" fmla="*/ 77 h 1206"/>
                <a:gd name="T108" fmla="*/ 36 w 1056"/>
                <a:gd name="T109" fmla="*/ 80 h 1206"/>
                <a:gd name="T110" fmla="*/ 37 w 1056"/>
                <a:gd name="T111" fmla="*/ 83 h 1206"/>
                <a:gd name="T112" fmla="*/ 40 w 1056"/>
                <a:gd name="T113" fmla="*/ 87 h 1206"/>
                <a:gd name="T114" fmla="*/ 42 w 1056"/>
                <a:gd name="T115" fmla="*/ 89 h 12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56"/>
                <a:gd name="T175" fmla="*/ 0 h 1206"/>
                <a:gd name="T176" fmla="*/ 1056 w 1056"/>
                <a:gd name="T177" fmla="*/ 1206 h 12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56" h="1206">
                  <a:moveTo>
                    <a:pt x="492" y="1032"/>
                  </a:moveTo>
                  <a:lnTo>
                    <a:pt x="486" y="1038"/>
                  </a:lnTo>
                  <a:lnTo>
                    <a:pt x="486" y="1044"/>
                  </a:lnTo>
                  <a:lnTo>
                    <a:pt x="480" y="1044"/>
                  </a:lnTo>
                  <a:lnTo>
                    <a:pt x="474" y="1056"/>
                  </a:lnTo>
                  <a:lnTo>
                    <a:pt x="462" y="1068"/>
                  </a:lnTo>
                  <a:lnTo>
                    <a:pt x="456" y="1080"/>
                  </a:lnTo>
                  <a:lnTo>
                    <a:pt x="450" y="1080"/>
                  </a:lnTo>
                  <a:lnTo>
                    <a:pt x="450" y="1086"/>
                  </a:lnTo>
                  <a:lnTo>
                    <a:pt x="450" y="1092"/>
                  </a:lnTo>
                  <a:lnTo>
                    <a:pt x="444" y="1104"/>
                  </a:lnTo>
                  <a:lnTo>
                    <a:pt x="444" y="1116"/>
                  </a:lnTo>
                  <a:lnTo>
                    <a:pt x="438" y="1128"/>
                  </a:lnTo>
                  <a:lnTo>
                    <a:pt x="432" y="1134"/>
                  </a:lnTo>
                  <a:lnTo>
                    <a:pt x="432" y="1140"/>
                  </a:lnTo>
                  <a:lnTo>
                    <a:pt x="420" y="1152"/>
                  </a:lnTo>
                  <a:lnTo>
                    <a:pt x="420" y="1158"/>
                  </a:lnTo>
                  <a:lnTo>
                    <a:pt x="408" y="1182"/>
                  </a:lnTo>
                  <a:lnTo>
                    <a:pt x="396" y="1194"/>
                  </a:lnTo>
                  <a:lnTo>
                    <a:pt x="390" y="1206"/>
                  </a:lnTo>
                  <a:lnTo>
                    <a:pt x="390" y="1200"/>
                  </a:lnTo>
                  <a:lnTo>
                    <a:pt x="384" y="1194"/>
                  </a:lnTo>
                  <a:lnTo>
                    <a:pt x="378" y="1188"/>
                  </a:lnTo>
                  <a:lnTo>
                    <a:pt x="366" y="1176"/>
                  </a:lnTo>
                  <a:lnTo>
                    <a:pt x="366" y="1170"/>
                  </a:lnTo>
                  <a:lnTo>
                    <a:pt x="348" y="1152"/>
                  </a:lnTo>
                  <a:lnTo>
                    <a:pt x="336" y="1140"/>
                  </a:lnTo>
                  <a:lnTo>
                    <a:pt x="330" y="1134"/>
                  </a:lnTo>
                  <a:lnTo>
                    <a:pt x="324" y="1128"/>
                  </a:lnTo>
                  <a:lnTo>
                    <a:pt x="318" y="1122"/>
                  </a:lnTo>
                  <a:lnTo>
                    <a:pt x="312" y="1116"/>
                  </a:lnTo>
                  <a:lnTo>
                    <a:pt x="306" y="1110"/>
                  </a:lnTo>
                  <a:lnTo>
                    <a:pt x="300" y="1104"/>
                  </a:lnTo>
                  <a:lnTo>
                    <a:pt x="294" y="1098"/>
                  </a:lnTo>
                  <a:lnTo>
                    <a:pt x="276" y="1080"/>
                  </a:lnTo>
                  <a:lnTo>
                    <a:pt x="270" y="1080"/>
                  </a:lnTo>
                  <a:lnTo>
                    <a:pt x="270" y="1074"/>
                  </a:lnTo>
                  <a:lnTo>
                    <a:pt x="264" y="1068"/>
                  </a:lnTo>
                  <a:lnTo>
                    <a:pt x="258" y="1062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40" y="1050"/>
                  </a:lnTo>
                  <a:lnTo>
                    <a:pt x="234" y="1044"/>
                  </a:lnTo>
                  <a:lnTo>
                    <a:pt x="228" y="1044"/>
                  </a:lnTo>
                  <a:lnTo>
                    <a:pt x="222" y="1038"/>
                  </a:lnTo>
                  <a:lnTo>
                    <a:pt x="222" y="1032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6"/>
                  </a:lnTo>
                  <a:lnTo>
                    <a:pt x="204" y="1020"/>
                  </a:lnTo>
                  <a:lnTo>
                    <a:pt x="204" y="1014"/>
                  </a:lnTo>
                  <a:lnTo>
                    <a:pt x="198" y="1014"/>
                  </a:lnTo>
                  <a:lnTo>
                    <a:pt x="192" y="1014"/>
                  </a:lnTo>
                  <a:lnTo>
                    <a:pt x="192" y="1008"/>
                  </a:lnTo>
                  <a:lnTo>
                    <a:pt x="186" y="1008"/>
                  </a:lnTo>
                  <a:lnTo>
                    <a:pt x="186" y="1002"/>
                  </a:lnTo>
                  <a:lnTo>
                    <a:pt x="180" y="1002"/>
                  </a:lnTo>
                  <a:lnTo>
                    <a:pt x="174" y="996"/>
                  </a:lnTo>
                  <a:lnTo>
                    <a:pt x="168" y="996"/>
                  </a:lnTo>
                  <a:lnTo>
                    <a:pt x="168" y="990"/>
                  </a:lnTo>
                  <a:lnTo>
                    <a:pt x="162" y="990"/>
                  </a:lnTo>
                  <a:lnTo>
                    <a:pt x="162" y="984"/>
                  </a:lnTo>
                  <a:lnTo>
                    <a:pt x="150" y="978"/>
                  </a:lnTo>
                  <a:lnTo>
                    <a:pt x="144" y="972"/>
                  </a:lnTo>
                  <a:lnTo>
                    <a:pt x="138" y="972"/>
                  </a:lnTo>
                  <a:lnTo>
                    <a:pt x="138" y="966"/>
                  </a:lnTo>
                  <a:lnTo>
                    <a:pt x="132" y="966"/>
                  </a:lnTo>
                  <a:lnTo>
                    <a:pt x="126" y="960"/>
                  </a:lnTo>
                  <a:lnTo>
                    <a:pt x="126" y="954"/>
                  </a:lnTo>
                  <a:lnTo>
                    <a:pt x="120" y="954"/>
                  </a:lnTo>
                  <a:lnTo>
                    <a:pt x="114" y="948"/>
                  </a:lnTo>
                  <a:lnTo>
                    <a:pt x="108" y="948"/>
                  </a:lnTo>
                  <a:lnTo>
                    <a:pt x="108" y="942"/>
                  </a:lnTo>
                  <a:lnTo>
                    <a:pt x="102" y="942"/>
                  </a:lnTo>
                  <a:lnTo>
                    <a:pt x="96" y="942"/>
                  </a:lnTo>
                  <a:lnTo>
                    <a:pt x="96" y="936"/>
                  </a:lnTo>
                  <a:lnTo>
                    <a:pt x="90" y="936"/>
                  </a:lnTo>
                  <a:lnTo>
                    <a:pt x="90" y="930"/>
                  </a:lnTo>
                  <a:lnTo>
                    <a:pt x="84" y="930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18"/>
                  </a:lnTo>
                  <a:lnTo>
                    <a:pt x="66" y="918"/>
                  </a:lnTo>
                  <a:lnTo>
                    <a:pt x="66" y="912"/>
                  </a:lnTo>
                  <a:lnTo>
                    <a:pt x="66" y="906"/>
                  </a:lnTo>
                  <a:lnTo>
                    <a:pt x="72" y="906"/>
                  </a:lnTo>
                  <a:lnTo>
                    <a:pt x="84" y="906"/>
                  </a:lnTo>
                  <a:lnTo>
                    <a:pt x="90" y="906"/>
                  </a:lnTo>
                  <a:lnTo>
                    <a:pt x="120" y="930"/>
                  </a:lnTo>
                  <a:lnTo>
                    <a:pt x="126" y="936"/>
                  </a:lnTo>
                  <a:lnTo>
                    <a:pt x="138" y="936"/>
                  </a:lnTo>
                  <a:lnTo>
                    <a:pt x="138" y="930"/>
                  </a:lnTo>
                  <a:lnTo>
                    <a:pt x="144" y="930"/>
                  </a:lnTo>
                  <a:lnTo>
                    <a:pt x="144" y="924"/>
                  </a:lnTo>
                  <a:lnTo>
                    <a:pt x="150" y="900"/>
                  </a:lnTo>
                  <a:lnTo>
                    <a:pt x="138" y="894"/>
                  </a:lnTo>
                  <a:lnTo>
                    <a:pt x="126" y="894"/>
                  </a:lnTo>
                  <a:lnTo>
                    <a:pt x="108" y="888"/>
                  </a:lnTo>
                  <a:lnTo>
                    <a:pt x="84" y="882"/>
                  </a:lnTo>
                  <a:lnTo>
                    <a:pt x="72" y="882"/>
                  </a:lnTo>
                  <a:lnTo>
                    <a:pt x="72" y="876"/>
                  </a:lnTo>
                  <a:lnTo>
                    <a:pt x="78" y="870"/>
                  </a:lnTo>
                  <a:lnTo>
                    <a:pt x="90" y="870"/>
                  </a:lnTo>
                  <a:lnTo>
                    <a:pt x="96" y="870"/>
                  </a:lnTo>
                  <a:lnTo>
                    <a:pt x="102" y="870"/>
                  </a:lnTo>
                  <a:lnTo>
                    <a:pt x="114" y="870"/>
                  </a:lnTo>
                  <a:lnTo>
                    <a:pt x="120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34"/>
                  </a:lnTo>
                  <a:lnTo>
                    <a:pt x="132" y="828"/>
                  </a:lnTo>
                  <a:lnTo>
                    <a:pt x="132" y="816"/>
                  </a:lnTo>
                  <a:lnTo>
                    <a:pt x="150" y="816"/>
                  </a:lnTo>
                  <a:lnTo>
                    <a:pt x="150" y="804"/>
                  </a:lnTo>
                  <a:lnTo>
                    <a:pt x="144" y="798"/>
                  </a:lnTo>
                  <a:lnTo>
                    <a:pt x="156" y="762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32"/>
                  </a:lnTo>
                  <a:lnTo>
                    <a:pt x="144" y="726"/>
                  </a:lnTo>
                  <a:lnTo>
                    <a:pt x="132" y="726"/>
                  </a:lnTo>
                  <a:lnTo>
                    <a:pt x="120" y="732"/>
                  </a:lnTo>
                  <a:lnTo>
                    <a:pt x="114" y="744"/>
                  </a:lnTo>
                  <a:lnTo>
                    <a:pt x="108" y="750"/>
                  </a:lnTo>
                  <a:lnTo>
                    <a:pt x="96" y="768"/>
                  </a:lnTo>
                  <a:lnTo>
                    <a:pt x="96" y="774"/>
                  </a:lnTo>
                  <a:lnTo>
                    <a:pt x="90" y="780"/>
                  </a:lnTo>
                  <a:lnTo>
                    <a:pt x="84" y="804"/>
                  </a:lnTo>
                  <a:lnTo>
                    <a:pt x="72" y="774"/>
                  </a:lnTo>
                  <a:lnTo>
                    <a:pt x="72" y="768"/>
                  </a:lnTo>
                  <a:lnTo>
                    <a:pt x="66" y="762"/>
                  </a:lnTo>
                  <a:lnTo>
                    <a:pt x="60" y="750"/>
                  </a:lnTo>
                  <a:lnTo>
                    <a:pt x="54" y="750"/>
                  </a:lnTo>
                  <a:lnTo>
                    <a:pt x="48" y="750"/>
                  </a:lnTo>
                  <a:lnTo>
                    <a:pt x="42" y="750"/>
                  </a:lnTo>
                  <a:lnTo>
                    <a:pt x="30" y="744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12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2" y="702"/>
                  </a:lnTo>
                  <a:lnTo>
                    <a:pt x="18" y="696"/>
                  </a:lnTo>
                  <a:lnTo>
                    <a:pt x="12" y="690"/>
                  </a:lnTo>
                  <a:lnTo>
                    <a:pt x="12" y="684"/>
                  </a:lnTo>
                  <a:lnTo>
                    <a:pt x="12" y="678"/>
                  </a:lnTo>
                  <a:lnTo>
                    <a:pt x="12" y="672"/>
                  </a:lnTo>
                  <a:lnTo>
                    <a:pt x="18" y="672"/>
                  </a:lnTo>
                  <a:lnTo>
                    <a:pt x="18" y="666"/>
                  </a:lnTo>
                  <a:lnTo>
                    <a:pt x="24" y="666"/>
                  </a:lnTo>
                  <a:lnTo>
                    <a:pt x="24" y="660"/>
                  </a:lnTo>
                  <a:lnTo>
                    <a:pt x="30" y="660"/>
                  </a:lnTo>
                  <a:lnTo>
                    <a:pt x="30" y="654"/>
                  </a:lnTo>
                  <a:lnTo>
                    <a:pt x="36" y="654"/>
                  </a:lnTo>
                  <a:lnTo>
                    <a:pt x="36" y="648"/>
                  </a:lnTo>
                  <a:lnTo>
                    <a:pt x="42" y="648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60" y="630"/>
                  </a:lnTo>
                  <a:lnTo>
                    <a:pt x="66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78" y="624"/>
                  </a:lnTo>
                  <a:lnTo>
                    <a:pt x="84" y="618"/>
                  </a:lnTo>
                  <a:lnTo>
                    <a:pt x="84" y="612"/>
                  </a:lnTo>
                  <a:lnTo>
                    <a:pt x="90" y="612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20" y="588"/>
                  </a:lnTo>
                  <a:lnTo>
                    <a:pt x="120" y="582"/>
                  </a:lnTo>
                  <a:lnTo>
                    <a:pt x="120" y="576"/>
                  </a:lnTo>
                  <a:lnTo>
                    <a:pt x="120" y="570"/>
                  </a:lnTo>
                  <a:lnTo>
                    <a:pt x="126" y="564"/>
                  </a:lnTo>
                  <a:lnTo>
                    <a:pt x="126" y="558"/>
                  </a:lnTo>
                  <a:lnTo>
                    <a:pt x="126" y="552"/>
                  </a:lnTo>
                  <a:lnTo>
                    <a:pt x="126" y="546"/>
                  </a:lnTo>
                  <a:lnTo>
                    <a:pt x="126" y="534"/>
                  </a:lnTo>
                  <a:lnTo>
                    <a:pt x="126" y="516"/>
                  </a:lnTo>
                  <a:lnTo>
                    <a:pt x="126" y="510"/>
                  </a:lnTo>
                  <a:lnTo>
                    <a:pt x="126" y="504"/>
                  </a:lnTo>
                  <a:lnTo>
                    <a:pt x="126" y="498"/>
                  </a:lnTo>
                  <a:lnTo>
                    <a:pt x="132" y="498"/>
                  </a:lnTo>
                  <a:lnTo>
                    <a:pt x="132" y="492"/>
                  </a:lnTo>
                  <a:lnTo>
                    <a:pt x="138" y="492"/>
                  </a:lnTo>
                  <a:lnTo>
                    <a:pt x="144" y="486"/>
                  </a:lnTo>
                  <a:lnTo>
                    <a:pt x="156" y="480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6" y="462"/>
                  </a:lnTo>
                  <a:lnTo>
                    <a:pt x="156" y="456"/>
                  </a:lnTo>
                  <a:lnTo>
                    <a:pt x="156" y="450"/>
                  </a:lnTo>
                  <a:lnTo>
                    <a:pt x="162" y="438"/>
                  </a:lnTo>
                  <a:lnTo>
                    <a:pt x="168" y="426"/>
                  </a:lnTo>
                  <a:lnTo>
                    <a:pt x="174" y="426"/>
                  </a:lnTo>
                  <a:lnTo>
                    <a:pt x="174" y="420"/>
                  </a:lnTo>
                  <a:lnTo>
                    <a:pt x="180" y="414"/>
                  </a:lnTo>
                  <a:lnTo>
                    <a:pt x="186" y="420"/>
                  </a:lnTo>
                  <a:lnTo>
                    <a:pt x="186" y="414"/>
                  </a:lnTo>
                  <a:lnTo>
                    <a:pt x="180" y="408"/>
                  </a:lnTo>
                  <a:lnTo>
                    <a:pt x="180" y="402"/>
                  </a:lnTo>
                  <a:lnTo>
                    <a:pt x="186" y="402"/>
                  </a:lnTo>
                  <a:lnTo>
                    <a:pt x="192" y="402"/>
                  </a:lnTo>
                  <a:lnTo>
                    <a:pt x="192" y="396"/>
                  </a:lnTo>
                  <a:lnTo>
                    <a:pt x="198" y="396"/>
                  </a:lnTo>
                  <a:lnTo>
                    <a:pt x="204" y="396"/>
                  </a:lnTo>
                  <a:lnTo>
                    <a:pt x="210" y="396"/>
                  </a:lnTo>
                  <a:lnTo>
                    <a:pt x="210" y="390"/>
                  </a:lnTo>
                  <a:lnTo>
                    <a:pt x="216" y="390"/>
                  </a:lnTo>
                  <a:lnTo>
                    <a:pt x="216" y="384"/>
                  </a:lnTo>
                  <a:lnTo>
                    <a:pt x="222" y="384"/>
                  </a:lnTo>
                  <a:lnTo>
                    <a:pt x="222" y="378"/>
                  </a:lnTo>
                  <a:lnTo>
                    <a:pt x="228" y="372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0" y="348"/>
                  </a:lnTo>
                  <a:lnTo>
                    <a:pt x="234" y="342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46" y="330"/>
                  </a:lnTo>
                  <a:lnTo>
                    <a:pt x="246" y="324"/>
                  </a:lnTo>
                  <a:lnTo>
                    <a:pt x="234" y="318"/>
                  </a:lnTo>
                  <a:lnTo>
                    <a:pt x="234" y="312"/>
                  </a:lnTo>
                  <a:lnTo>
                    <a:pt x="234" y="300"/>
                  </a:lnTo>
                  <a:lnTo>
                    <a:pt x="240" y="288"/>
                  </a:lnTo>
                  <a:lnTo>
                    <a:pt x="240" y="276"/>
                  </a:lnTo>
                  <a:lnTo>
                    <a:pt x="246" y="258"/>
                  </a:lnTo>
                  <a:lnTo>
                    <a:pt x="258" y="252"/>
                  </a:lnTo>
                  <a:lnTo>
                    <a:pt x="270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294" y="252"/>
                  </a:lnTo>
                  <a:lnTo>
                    <a:pt x="300" y="258"/>
                  </a:lnTo>
                  <a:lnTo>
                    <a:pt x="318" y="252"/>
                  </a:lnTo>
                  <a:lnTo>
                    <a:pt x="366" y="252"/>
                  </a:lnTo>
                  <a:lnTo>
                    <a:pt x="378" y="252"/>
                  </a:lnTo>
                  <a:lnTo>
                    <a:pt x="396" y="252"/>
                  </a:lnTo>
                  <a:lnTo>
                    <a:pt x="408" y="252"/>
                  </a:lnTo>
                  <a:lnTo>
                    <a:pt x="408" y="246"/>
                  </a:lnTo>
                  <a:lnTo>
                    <a:pt x="414" y="240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20" y="216"/>
                  </a:lnTo>
                  <a:lnTo>
                    <a:pt x="426" y="210"/>
                  </a:lnTo>
                  <a:lnTo>
                    <a:pt x="444" y="198"/>
                  </a:lnTo>
                  <a:lnTo>
                    <a:pt x="462" y="198"/>
                  </a:lnTo>
                  <a:lnTo>
                    <a:pt x="474" y="204"/>
                  </a:lnTo>
                  <a:lnTo>
                    <a:pt x="498" y="198"/>
                  </a:lnTo>
                  <a:lnTo>
                    <a:pt x="498" y="204"/>
                  </a:lnTo>
                  <a:lnTo>
                    <a:pt x="540" y="210"/>
                  </a:lnTo>
                  <a:lnTo>
                    <a:pt x="564" y="210"/>
                  </a:lnTo>
                  <a:lnTo>
                    <a:pt x="588" y="210"/>
                  </a:lnTo>
                  <a:lnTo>
                    <a:pt x="612" y="210"/>
                  </a:lnTo>
                  <a:lnTo>
                    <a:pt x="612" y="216"/>
                  </a:lnTo>
                  <a:lnTo>
                    <a:pt x="618" y="222"/>
                  </a:lnTo>
                  <a:lnTo>
                    <a:pt x="618" y="228"/>
                  </a:lnTo>
                  <a:lnTo>
                    <a:pt x="624" y="240"/>
                  </a:lnTo>
                  <a:lnTo>
                    <a:pt x="624" y="246"/>
                  </a:lnTo>
                  <a:lnTo>
                    <a:pt x="630" y="252"/>
                  </a:lnTo>
                  <a:lnTo>
                    <a:pt x="630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0" y="282"/>
                  </a:lnTo>
                  <a:lnTo>
                    <a:pt x="630" y="288"/>
                  </a:lnTo>
                  <a:lnTo>
                    <a:pt x="630" y="300"/>
                  </a:lnTo>
                  <a:lnTo>
                    <a:pt x="630" y="306"/>
                  </a:lnTo>
                  <a:lnTo>
                    <a:pt x="636" y="306"/>
                  </a:lnTo>
                  <a:lnTo>
                    <a:pt x="642" y="306"/>
                  </a:lnTo>
                  <a:lnTo>
                    <a:pt x="648" y="312"/>
                  </a:lnTo>
                  <a:lnTo>
                    <a:pt x="666" y="312"/>
                  </a:lnTo>
                  <a:lnTo>
                    <a:pt x="696" y="306"/>
                  </a:lnTo>
                  <a:lnTo>
                    <a:pt x="732" y="300"/>
                  </a:lnTo>
                  <a:lnTo>
                    <a:pt x="732" y="288"/>
                  </a:lnTo>
                  <a:lnTo>
                    <a:pt x="738" y="288"/>
                  </a:lnTo>
                  <a:lnTo>
                    <a:pt x="744" y="276"/>
                  </a:lnTo>
                  <a:lnTo>
                    <a:pt x="762" y="246"/>
                  </a:lnTo>
                  <a:lnTo>
                    <a:pt x="768" y="228"/>
                  </a:lnTo>
                  <a:lnTo>
                    <a:pt x="792" y="210"/>
                  </a:lnTo>
                  <a:lnTo>
                    <a:pt x="804" y="186"/>
                  </a:lnTo>
                  <a:lnTo>
                    <a:pt x="804" y="156"/>
                  </a:lnTo>
                  <a:lnTo>
                    <a:pt x="804" y="138"/>
                  </a:lnTo>
                  <a:lnTo>
                    <a:pt x="810" y="126"/>
                  </a:lnTo>
                  <a:lnTo>
                    <a:pt x="816" y="120"/>
                  </a:lnTo>
                  <a:lnTo>
                    <a:pt x="828" y="102"/>
                  </a:lnTo>
                  <a:lnTo>
                    <a:pt x="834" y="96"/>
                  </a:lnTo>
                  <a:lnTo>
                    <a:pt x="846" y="102"/>
                  </a:lnTo>
                  <a:lnTo>
                    <a:pt x="852" y="96"/>
                  </a:lnTo>
                  <a:lnTo>
                    <a:pt x="858" y="72"/>
                  </a:lnTo>
                  <a:lnTo>
                    <a:pt x="864" y="60"/>
                  </a:lnTo>
                  <a:lnTo>
                    <a:pt x="882" y="48"/>
                  </a:lnTo>
                  <a:lnTo>
                    <a:pt x="906" y="36"/>
                  </a:lnTo>
                  <a:lnTo>
                    <a:pt x="918" y="12"/>
                  </a:lnTo>
                  <a:lnTo>
                    <a:pt x="924" y="0"/>
                  </a:lnTo>
                  <a:lnTo>
                    <a:pt x="930" y="6"/>
                  </a:lnTo>
                  <a:lnTo>
                    <a:pt x="942" y="12"/>
                  </a:lnTo>
                  <a:lnTo>
                    <a:pt x="948" y="12"/>
                  </a:lnTo>
                  <a:lnTo>
                    <a:pt x="954" y="18"/>
                  </a:lnTo>
                  <a:lnTo>
                    <a:pt x="966" y="18"/>
                  </a:lnTo>
                  <a:lnTo>
                    <a:pt x="972" y="18"/>
                  </a:lnTo>
                  <a:lnTo>
                    <a:pt x="984" y="18"/>
                  </a:lnTo>
                  <a:lnTo>
                    <a:pt x="990" y="18"/>
                  </a:lnTo>
                  <a:lnTo>
                    <a:pt x="1002" y="48"/>
                  </a:lnTo>
                  <a:lnTo>
                    <a:pt x="1008" y="78"/>
                  </a:lnTo>
                  <a:lnTo>
                    <a:pt x="1020" y="78"/>
                  </a:lnTo>
                  <a:lnTo>
                    <a:pt x="1020" y="90"/>
                  </a:lnTo>
                  <a:lnTo>
                    <a:pt x="1026" y="102"/>
                  </a:lnTo>
                  <a:lnTo>
                    <a:pt x="1044" y="120"/>
                  </a:lnTo>
                  <a:lnTo>
                    <a:pt x="1044" y="132"/>
                  </a:lnTo>
                  <a:lnTo>
                    <a:pt x="1056" y="150"/>
                  </a:lnTo>
                  <a:lnTo>
                    <a:pt x="1050" y="150"/>
                  </a:lnTo>
                  <a:lnTo>
                    <a:pt x="1044" y="156"/>
                  </a:lnTo>
                  <a:lnTo>
                    <a:pt x="1044" y="162"/>
                  </a:lnTo>
                  <a:lnTo>
                    <a:pt x="1038" y="162"/>
                  </a:lnTo>
                  <a:lnTo>
                    <a:pt x="1032" y="162"/>
                  </a:lnTo>
                  <a:lnTo>
                    <a:pt x="1026" y="168"/>
                  </a:lnTo>
                  <a:lnTo>
                    <a:pt x="1014" y="174"/>
                  </a:lnTo>
                  <a:lnTo>
                    <a:pt x="1014" y="186"/>
                  </a:lnTo>
                  <a:lnTo>
                    <a:pt x="1014" y="192"/>
                  </a:lnTo>
                  <a:lnTo>
                    <a:pt x="1014" y="198"/>
                  </a:lnTo>
                  <a:lnTo>
                    <a:pt x="1020" y="204"/>
                  </a:lnTo>
                  <a:lnTo>
                    <a:pt x="1026" y="204"/>
                  </a:lnTo>
                  <a:lnTo>
                    <a:pt x="1032" y="204"/>
                  </a:lnTo>
                  <a:lnTo>
                    <a:pt x="1032" y="210"/>
                  </a:lnTo>
                  <a:lnTo>
                    <a:pt x="1038" y="210"/>
                  </a:lnTo>
                  <a:lnTo>
                    <a:pt x="1032" y="216"/>
                  </a:lnTo>
                  <a:lnTo>
                    <a:pt x="1026" y="228"/>
                  </a:lnTo>
                  <a:lnTo>
                    <a:pt x="1026" y="234"/>
                  </a:lnTo>
                  <a:lnTo>
                    <a:pt x="1032" y="240"/>
                  </a:lnTo>
                  <a:lnTo>
                    <a:pt x="1032" y="246"/>
                  </a:lnTo>
                  <a:lnTo>
                    <a:pt x="1032" y="252"/>
                  </a:lnTo>
                  <a:lnTo>
                    <a:pt x="1032" y="258"/>
                  </a:lnTo>
                  <a:lnTo>
                    <a:pt x="1038" y="264"/>
                  </a:lnTo>
                  <a:lnTo>
                    <a:pt x="1032" y="276"/>
                  </a:lnTo>
                  <a:lnTo>
                    <a:pt x="1026" y="276"/>
                  </a:lnTo>
                  <a:lnTo>
                    <a:pt x="1020" y="276"/>
                  </a:lnTo>
                  <a:lnTo>
                    <a:pt x="996" y="282"/>
                  </a:lnTo>
                  <a:lnTo>
                    <a:pt x="996" y="288"/>
                  </a:lnTo>
                  <a:lnTo>
                    <a:pt x="996" y="294"/>
                  </a:lnTo>
                  <a:lnTo>
                    <a:pt x="996" y="300"/>
                  </a:lnTo>
                  <a:lnTo>
                    <a:pt x="996" y="306"/>
                  </a:lnTo>
                  <a:lnTo>
                    <a:pt x="984" y="324"/>
                  </a:lnTo>
                  <a:lnTo>
                    <a:pt x="984" y="330"/>
                  </a:lnTo>
                  <a:lnTo>
                    <a:pt x="984" y="336"/>
                  </a:lnTo>
                  <a:lnTo>
                    <a:pt x="978" y="336"/>
                  </a:lnTo>
                  <a:lnTo>
                    <a:pt x="978" y="342"/>
                  </a:lnTo>
                  <a:lnTo>
                    <a:pt x="984" y="360"/>
                  </a:lnTo>
                  <a:lnTo>
                    <a:pt x="978" y="366"/>
                  </a:lnTo>
                  <a:lnTo>
                    <a:pt x="978" y="372"/>
                  </a:lnTo>
                  <a:lnTo>
                    <a:pt x="972" y="372"/>
                  </a:lnTo>
                  <a:lnTo>
                    <a:pt x="972" y="378"/>
                  </a:lnTo>
                  <a:lnTo>
                    <a:pt x="972" y="384"/>
                  </a:lnTo>
                  <a:lnTo>
                    <a:pt x="972" y="390"/>
                  </a:lnTo>
                  <a:lnTo>
                    <a:pt x="966" y="402"/>
                  </a:lnTo>
                  <a:lnTo>
                    <a:pt x="960" y="414"/>
                  </a:lnTo>
                  <a:lnTo>
                    <a:pt x="954" y="420"/>
                  </a:lnTo>
                  <a:lnTo>
                    <a:pt x="948" y="426"/>
                  </a:lnTo>
                  <a:lnTo>
                    <a:pt x="948" y="438"/>
                  </a:lnTo>
                  <a:lnTo>
                    <a:pt x="942" y="444"/>
                  </a:lnTo>
                  <a:lnTo>
                    <a:pt x="936" y="450"/>
                  </a:lnTo>
                  <a:lnTo>
                    <a:pt x="930" y="456"/>
                  </a:lnTo>
                  <a:lnTo>
                    <a:pt x="924" y="462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18" y="522"/>
                  </a:lnTo>
                  <a:lnTo>
                    <a:pt x="918" y="528"/>
                  </a:lnTo>
                  <a:lnTo>
                    <a:pt x="924" y="534"/>
                  </a:lnTo>
                  <a:lnTo>
                    <a:pt x="924" y="540"/>
                  </a:lnTo>
                  <a:lnTo>
                    <a:pt x="924" y="546"/>
                  </a:lnTo>
                  <a:lnTo>
                    <a:pt x="918" y="546"/>
                  </a:lnTo>
                  <a:lnTo>
                    <a:pt x="918" y="552"/>
                  </a:lnTo>
                  <a:lnTo>
                    <a:pt x="912" y="546"/>
                  </a:lnTo>
                  <a:lnTo>
                    <a:pt x="912" y="552"/>
                  </a:lnTo>
                  <a:lnTo>
                    <a:pt x="912" y="570"/>
                  </a:lnTo>
                  <a:lnTo>
                    <a:pt x="906" y="588"/>
                  </a:lnTo>
                  <a:lnTo>
                    <a:pt x="900" y="606"/>
                  </a:lnTo>
                  <a:lnTo>
                    <a:pt x="906" y="624"/>
                  </a:lnTo>
                  <a:lnTo>
                    <a:pt x="900" y="624"/>
                  </a:lnTo>
                  <a:lnTo>
                    <a:pt x="894" y="630"/>
                  </a:lnTo>
                  <a:lnTo>
                    <a:pt x="888" y="630"/>
                  </a:lnTo>
                  <a:lnTo>
                    <a:pt x="882" y="630"/>
                  </a:lnTo>
                  <a:lnTo>
                    <a:pt x="882" y="636"/>
                  </a:lnTo>
                  <a:lnTo>
                    <a:pt x="876" y="642"/>
                  </a:lnTo>
                  <a:lnTo>
                    <a:pt x="870" y="642"/>
                  </a:lnTo>
                  <a:lnTo>
                    <a:pt x="870" y="648"/>
                  </a:lnTo>
                  <a:lnTo>
                    <a:pt x="870" y="654"/>
                  </a:lnTo>
                  <a:lnTo>
                    <a:pt x="864" y="654"/>
                  </a:lnTo>
                  <a:lnTo>
                    <a:pt x="864" y="660"/>
                  </a:lnTo>
                  <a:lnTo>
                    <a:pt x="846" y="666"/>
                  </a:lnTo>
                  <a:lnTo>
                    <a:pt x="828" y="672"/>
                  </a:lnTo>
                  <a:lnTo>
                    <a:pt x="816" y="660"/>
                  </a:lnTo>
                  <a:lnTo>
                    <a:pt x="810" y="660"/>
                  </a:lnTo>
                  <a:lnTo>
                    <a:pt x="798" y="666"/>
                  </a:lnTo>
                  <a:lnTo>
                    <a:pt x="786" y="666"/>
                  </a:lnTo>
                  <a:lnTo>
                    <a:pt x="780" y="672"/>
                  </a:lnTo>
                  <a:lnTo>
                    <a:pt x="768" y="678"/>
                  </a:lnTo>
                  <a:lnTo>
                    <a:pt x="762" y="660"/>
                  </a:lnTo>
                  <a:lnTo>
                    <a:pt x="762" y="654"/>
                  </a:lnTo>
                  <a:lnTo>
                    <a:pt x="756" y="636"/>
                  </a:lnTo>
                  <a:lnTo>
                    <a:pt x="762" y="624"/>
                  </a:lnTo>
                  <a:lnTo>
                    <a:pt x="756" y="606"/>
                  </a:lnTo>
                  <a:lnTo>
                    <a:pt x="756" y="600"/>
                  </a:lnTo>
                  <a:lnTo>
                    <a:pt x="762" y="594"/>
                  </a:lnTo>
                  <a:lnTo>
                    <a:pt x="768" y="600"/>
                  </a:lnTo>
                  <a:lnTo>
                    <a:pt x="768" y="594"/>
                  </a:lnTo>
                  <a:lnTo>
                    <a:pt x="768" y="588"/>
                  </a:lnTo>
                  <a:lnTo>
                    <a:pt x="774" y="582"/>
                  </a:lnTo>
                  <a:lnTo>
                    <a:pt x="768" y="576"/>
                  </a:lnTo>
                  <a:lnTo>
                    <a:pt x="762" y="576"/>
                  </a:lnTo>
                  <a:lnTo>
                    <a:pt x="756" y="576"/>
                  </a:lnTo>
                  <a:lnTo>
                    <a:pt x="690" y="576"/>
                  </a:lnTo>
                  <a:lnTo>
                    <a:pt x="624" y="570"/>
                  </a:lnTo>
                  <a:lnTo>
                    <a:pt x="600" y="564"/>
                  </a:lnTo>
                  <a:lnTo>
                    <a:pt x="576" y="564"/>
                  </a:lnTo>
                  <a:lnTo>
                    <a:pt x="558" y="570"/>
                  </a:lnTo>
                  <a:lnTo>
                    <a:pt x="552" y="576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46" y="594"/>
                  </a:lnTo>
                  <a:lnTo>
                    <a:pt x="546" y="600"/>
                  </a:lnTo>
                  <a:lnTo>
                    <a:pt x="540" y="606"/>
                  </a:lnTo>
                  <a:lnTo>
                    <a:pt x="534" y="618"/>
                  </a:lnTo>
                  <a:lnTo>
                    <a:pt x="534" y="624"/>
                  </a:lnTo>
                  <a:lnTo>
                    <a:pt x="534" y="630"/>
                  </a:lnTo>
                  <a:lnTo>
                    <a:pt x="534" y="636"/>
                  </a:lnTo>
                  <a:lnTo>
                    <a:pt x="528" y="636"/>
                  </a:lnTo>
                  <a:lnTo>
                    <a:pt x="516" y="642"/>
                  </a:lnTo>
                  <a:lnTo>
                    <a:pt x="516" y="648"/>
                  </a:lnTo>
                  <a:lnTo>
                    <a:pt x="510" y="648"/>
                  </a:lnTo>
                  <a:lnTo>
                    <a:pt x="504" y="654"/>
                  </a:lnTo>
                  <a:lnTo>
                    <a:pt x="492" y="666"/>
                  </a:lnTo>
                  <a:lnTo>
                    <a:pt x="492" y="672"/>
                  </a:lnTo>
                  <a:lnTo>
                    <a:pt x="492" y="684"/>
                  </a:lnTo>
                  <a:lnTo>
                    <a:pt x="486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92" y="702"/>
                  </a:lnTo>
                  <a:lnTo>
                    <a:pt x="486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74" y="720"/>
                  </a:lnTo>
                  <a:lnTo>
                    <a:pt x="480" y="726"/>
                  </a:lnTo>
                  <a:lnTo>
                    <a:pt x="474" y="726"/>
                  </a:lnTo>
                  <a:lnTo>
                    <a:pt x="474" y="738"/>
                  </a:lnTo>
                  <a:lnTo>
                    <a:pt x="474" y="744"/>
                  </a:lnTo>
                  <a:lnTo>
                    <a:pt x="474" y="750"/>
                  </a:lnTo>
                  <a:lnTo>
                    <a:pt x="480" y="750"/>
                  </a:lnTo>
                  <a:lnTo>
                    <a:pt x="480" y="756"/>
                  </a:lnTo>
                  <a:lnTo>
                    <a:pt x="492" y="762"/>
                  </a:lnTo>
                  <a:lnTo>
                    <a:pt x="498" y="774"/>
                  </a:lnTo>
                  <a:lnTo>
                    <a:pt x="498" y="780"/>
                  </a:lnTo>
                  <a:lnTo>
                    <a:pt x="504" y="786"/>
                  </a:lnTo>
                  <a:lnTo>
                    <a:pt x="510" y="792"/>
                  </a:lnTo>
                  <a:lnTo>
                    <a:pt x="504" y="798"/>
                  </a:lnTo>
                  <a:lnTo>
                    <a:pt x="504" y="804"/>
                  </a:lnTo>
                  <a:lnTo>
                    <a:pt x="504" y="810"/>
                  </a:lnTo>
                  <a:lnTo>
                    <a:pt x="498" y="822"/>
                  </a:lnTo>
                  <a:lnTo>
                    <a:pt x="492" y="828"/>
                  </a:lnTo>
                  <a:lnTo>
                    <a:pt x="492" y="834"/>
                  </a:lnTo>
                  <a:lnTo>
                    <a:pt x="486" y="840"/>
                  </a:lnTo>
                  <a:lnTo>
                    <a:pt x="480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74" y="858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876"/>
                  </a:lnTo>
                  <a:lnTo>
                    <a:pt x="456" y="894"/>
                  </a:lnTo>
                  <a:lnTo>
                    <a:pt x="450" y="894"/>
                  </a:lnTo>
                  <a:lnTo>
                    <a:pt x="444" y="900"/>
                  </a:lnTo>
                  <a:lnTo>
                    <a:pt x="444" y="894"/>
                  </a:lnTo>
                  <a:lnTo>
                    <a:pt x="438" y="894"/>
                  </a:lnTo>
                  <a:lnTo>
                    <a:pt x="432" y="900"/>
                  </a:lnTo>
                  <a:lnTo>
                    <a:pt x="432" y="906"/>
                  </a:lnTo>
                  <a:lnTo>
                    <a:pt x="420" y="906"/>
                  </a:lnTo>
                  <a:lnTo>
                    <a:pt x="420" y="912"/>
                  </a:lnTo>
                  <a:lnTo>
                    <a:pt x="420" y="918"/>
                  </a:lnTo>
                  <a:lnTo>
                    <a:pt x="426" y="918"/>
                  </a:lnTo>
                  <a:lnTo>
                    <a:pt x="426" y="924"/>
                  </a:lnTo>
                  <a:lnTo>
                    <a:pt x="426" y="930"/>
                  </a:lnTo>
                  <a:lnTo>
                    <a:pt x="420" y="930"/>
                  </a:lnTo>
                  <a:lnTo>
                    <a:pt x="414" y="936"/>
                  </a:lnTo>
                  <a:lnTo>
                    <a:pt x="414" y="942"/>
                  </a:lnTo>
                  <a:lnTo>
                    <a:pt x="414" y="948"/>
                  </a:lnTo>
                  <a:lnTo>
                    <a:pt x="414" y="954"/>
                  </a:lnTo>
                  <a:lnTo>
                    <a:pt x="426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44" y="972"/>
                  </a:lnTo>
                  <a:lnTo>
                    <a:pt x="444" y="978"/>
                  </a:lnTo>
                  <a:lnTo>
                    <a:pt x="450" y="978"/>
                  </a:lnTo>
                  <a:lnTo>
                    <a:pt x="450" y="984"/>
                  </a:lnTo>
                  <a:lnTo>
                    <a:pt x="456" y="990"/>
                  </a:lnTo>
                  <a:lnTo>
                    <a:pt x="456" y="996"/>
                  </a:lnTo>
                  <a:lnTo>
                    <a:pt x="462" y="1008"/>
                  </a:lnTo>
                  <a:lnTo>
                    <a:pt x="468" y="1008"/>
                  </a:lnTo>
                  <a:lnTo>
                    <a:pt x="468" y="1002"/>
                  </a:lnTo>
                  <a:lnTo>
                    <a:pt x="474" y="1008"/>
                  </a:lnTo>
                  <a:lnTo>
                    <a:pt x="480" y="1002"/>
                  </a:lnTo>
                  <a:lnTo>
                    <a:pt x="486" y="1008"/>
                  </a:lnTo>
                  <a:lnTo>
                    <a:pt x="486" y="1014"/>
                  </a:lnTo>
                  <a:lnTo>
                    <a:pt x="492" y="1014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86" y="1026"/>
                  </a:lnTo>
                  <a:lnTo>
                    <a:pt x="492" y="1026"/>
                  </a:lnTo>
                  <a:lnTo>
                    <a:pt x="486" y="1026"/>
                  </a:lnTo>
                  <a:lnTo>
                    <a:pt x="492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5" name="Freeform 30">
              <a:extLst>
                <a:ext uri="{FF2B5EF4-FFF2-40B4-BE49-F238E27FC236}">
                  <a16:creationId xmlns:a16="http://schemas.microsoft.com/office/drawing/2014/main" id="{85C7B827-0C1A-4D72-AEBD-F01CFE7EC12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3645" y="3904484"/>
              <a:ext cx="559048" cy="111825"/>
            </a:xfrm>
            <a:custGeom>
              <a:avLst/>
              <a:gdLst>
                <a:gd name="T0" fmla="*/ 69 w 1056"/>
                <a:gd name="T1" fmla="*/ 7 h 210"/>
                <a:gd name="T2" fmla="*/ 63 w 1056"/>
                <a:gd name="T3" fmla="*/ 5 h 210"/>
                <a:gd name="T4" fmla="*/ 57 w 1056"/>
                <a:gd name="T5" fmla="*/ 5 h 210"/>
                <a:gd name="T6" fmla="*/ 54 w 1056"/>
                <a:gd name="T7" fmla="*/ 6 h 210"/>
                <a:gd name="T8" fmla="*/ 51 w 1056"/>
                <a:gd name="T9" fmla="*/ 7 h 210"/>
                <a:gd name="T10" fmla="*/ 46 w 1056"/>
                <a:gd name="T11" fmla="*/ 9 h 210"/>
                <a:gd name="T12" fmla="*/ 42 w 1056"/>
                <a:gd name="T13" fmla="*/ 8 h 210"/>
                <a:gd name="T14" fmla="*/ 42 w 1056"/>
                <a:gd name="T15" fmla="*/ 5 h 210"/>
                <a:gd name="T16" fmla="*/ 41 w 1056"/>
                <a:gd name="T17" fmla="*/ 7 h 210"/>
                <a:gd name="T18" fmla="*/ 38 w 1056"/>
                <a:gd name="T19" fmla="*/ 10 h 210"/>
                <a:gd name="T20" fmla="*/ 37 w 1056"/>
                <a:gd name="T21" fmla="*/ 12 h 210"/>
                <a:gd name="T22" fmla="*/ 37 w 1056"/>
                <a:gd name="T23" fmla="*/ 15 h 210"/>
                <a:gd name="T24" fmla="*/ 37 w 1056"/>
                <a:gd name="T25" fmla="*/ 16 h 210"/>
                <a:gd name="T26" fmla="*/ 38 w 1056"/>
                <a:gd name="T27" fmla="*/ 16 h 210"/>
                <a:gd name="T28" fmla="*/ 34 w 1056"/>
                <a:gd name="T29" fmla="*/ 16 h 210"/>
                <a:gd name="T30" fmla="*/ 26 w 1056"/>
                <a:gd name="T31" fmla="*/ 16 h 210"/>
                <a:gd name="T32" fmla="*/ 20 w 1056"/>
                <a:gd name="T33" fmla="*/ 17 h 210"/>
                <a:gd name="T34" fmla="*/ 13 w 1056"/>
                <a:gd name="T35" fmla="*/ 17 h 210"/>
                <a:gd name="T36" fmla="*/ 6 w 1056"/>
                <a:gd name="T37" fmla="*/ 17 h 210"/>
                <a:gd name="T38" fmla="*/ 1 w 1056"/>
                <a:gd name="T39" fmla="*/ 18 h 210"/>
                <a:gd name="T40" fmla="*/ 3 w 1056"/>
                <a:gd name="T41" fmla="*/ 14 h 210"/>
                <a:gd name="T42" fmla="*/ 8 w 1056"/>
                <a:gd name="T43" fmla="*/ 15 h 210"/>
                <a:gd name="T44" fmla="*/ 11 w 1056"/>
                <a:gd name="T45" fmla="*/ 12 h 210"/>
                <a:gd name="T46" fmla="*/ 26 w 1056"/>
                <a:gd name="T47" fmla="*/ 10 h 210"/>
                <a:gd name="T48" fmla="*/ 29 w 1056"/>
                <a:gd name="T49" fmla="*/ 5 h 210"/>
                <a:gd name="T50" fmla="*/ 34 w 1056"/>
                <a:gd name="T51" fmla="*/ 1 h 210"/>
                <a:gd name="T52" fmla="*/ 41 w 1056"/>
                <a:gd name="T53" fmla="*/ 3 h 210"/>
                <a:gd name="T54" fmla="*/ 73 w 1056"/>
                <a:gd name="T55" fmla="*/ 1 h 210"/>
                <a:gd name="T56" fmla="*/ 75 w 1056"/>
                <a:gd name="T57" fmla="*/ 4 h 210"/>
                <a:gd name="T58" fmla="*/ 85 w 1056"/>
                <a:gd name="T59" fmla="*/ 15 h 210"/>
                <a:gd name="T60" fmla="*/ 91 w 1056"/>
                <a:gd name="T61" fmla="*/ 18 h 210"/>
                <a:gd name="T62" fmla="*/ 85 w 1056"/>
                <a:gd name="T63" fmla="*/ 18 h 210"/>
                <a:gd name="T64" fmla="*/ 79 w 1056"/>
                <a:gd name="T65" fmla="*/ 16 h 210"/>
                <a:gd name="T66" fmla="*/ 74 w 1056"/>
                <a:gd name="T67" fmla="*/ 16 h 210"/>
                <a:gd name="T68" fmla="*/ 69 w 1056"/>
                <a:gd name="T69" fmla="*/ 15 h 210"/>
                <a:gd name="T70" fmla="*/ 65 w 1056"/>
                <a:gd name="T71" fmla="*/ 14 h 210"/>
                <a:gd name="T72" fmla="*/ 59 w 1056"/>
                <a:gd name="T73" fmla="*/ 15 h 210"/>
                <a:gd name="T74" fmla="*/ 54 w 1056"/>
                <a:gd name="T75" fmla="*/ 15 h 210"/>
                <a:gd name="T76" fmla="*/ 49 w 1056"/>
                <a:gd name="T77" fmla="*/ 15 h 210"/>
                <a:gd name="T78" fmla="*/ 42 w 1056"/>
                <a:gd name="T79" fmla="*/ 15 h 210"/>
                <a:gd name="T80" fmla="*/ 38 w 1056"/>
                <a:gd name="T81" fmla="*/ 16 h 210"/>
                <a:gd name="T82" fmla="*/ 41 w 1056"/>
                <a:gd name="T83" fmla="*/ 14 h 210"/>
                <a:gd name="T84" fmla="*/ 42 w 1056"/>
                <a:gd name="T85" fmla="*/ 13 h 210"/>
                <a:gd name="T86" fmla="*/ 45 w 1056"/>
                <a:gd name="T87" fmla="*/ 13 h 210"/>
                <a:gd name="T88" fmla="*/ 48 w 1056"/>
                <a:gd name="T89" fmla="*/ 12 h 210"/>
                <a:gd name="T90" fmla="*/ 51 w 1056"/>
                <a:gd name="T91" fmla="*/ 11 h 210"/>
                <a:gd name="T92" fmla="*/ 54 w 1056"/>
                <a:gd name="T93" fmla="*/ 9 h 210"/>
                <a:gd name="T94" fmla="*/ 57 w 1056"/>
                <a:gd name="T95" fmla="*/ 8 h 210"/>
                <a:gd name="T96" fmla="*/ 60 w 1056"/>
                <a:gd name="T97" fmla="*/ 5 h 210"/>
                <a:gd name="T98" fmla="*/ 65 w 1056"/>
                <a:gd name="T99" fmla="*/ 5 h 210"/>
                <a:gd name="T100" fmla="*/ 72 w 1056"/>
                <a:gd name="T101" fmla="*/ 7 h 210"/>
                <a:gd name="T102" fmla="*/ 77 w 1056"/>
                <a:gd name="T103" fmla="*/ 11 h 210"/>
                <a:gd name="T104" fmla="*/ 69 w 1056"/>
                <a:gd name="T105" fmla="*/ 10 h 210"/>
                <a:gd name="T106" fmla="*/ 72 w 1056"/>
                <a:gd name="T107" fmla="*/ 12 h 210"/>
                <a:gd name="T108" fmla="*/ 78 w 1056"/>
                <a:gd name="T109" fmla="*/ 15 h 210"/>
                <a:gd name="T110" fmla="*/ 84 w 1056"/>
                <a:gd name="T111" fmla="*/ 14 h 210"/>
                <a:gd name="T112" fmla="*/ 84 w 1056"/>
                <a:gd name="T113" fmla="*/ 14 h 210"/>
                <a:gd name="T114" fmla="*/ 78 w 1056"/>
                <a:gd name="T115" fmla="*/ 13 h 210"/>
                <a:gd name="T116" fmla="*/ 76 w 1056"/>
                <a:gd name="T117" fmla="*/ 14 h 210"/>
                <a:gd name="T118" fmla="*/ 38 w 1056"/>
                <a:gd name="T119" fmla="*/ 12 h 210"/>
                <a:gd name="T120" fmla="*/ 41 w 1056"/>
                <a:gd name="T121" fmla="*/ 12 h 210"/>
                <a:gd name="T122" fmla="*/ 40 w 1056"/>
                <a:gd name="T123" fmla="*/ 14 h 2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6"/>
                <a:gd name="T187" fmla="*/ 0 h 210"/>
                <a:gd name="T188" fmla="*/ 1056 w 1056"/>
                <a:gd name="T189" fmla="*/ 210 h 21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6" h="210">
                  <a:moveTo>
                    <a:pt x="870" y="90"/>
                  </a:moveTo>
                  <a:lnTo>
                    <a:pt x="864" y="90"/>
                  </a:lnTo>
                  <a:lnTo>
                    <a:pt x="852" y="84"/>
                  </a:lnTo>
                  <a:lnTo>
                    <a:pt x="846" y="84"/>
                  </a:lnTo>
                  <a:lnTo>
                    <a:pt x="846" y="78"/>
                  </a:lnTo>
                  <a:lnTo>
                    <a:pt x="840" y="78"/>
                  </a:lnTo>
                  <a:lnTo>
                    <a:pt x="834" y="78"/>
                  </a:lnTo>
                  <a:lnTo>
                    <a:pt x="834" y="72"/>
                  </a:lnTo>
                  <a:lnTo>
                    <a:pt x="804" y="78"/>
                  </a:lnTo>
                  <a:lnTo>
                    <a:pt x="798" y="78"/>
                  </a:lnTo>
                  <a:lnTo>
                    <a:pt x="792" y="72"/>
                  </a:lnTo>
                  <a:lnTo>
                    <a:pt x="780" y="60"/>
                  </a:lnTo>
                  <a:lnTo>
                    <a:pt x="768" y="54"/>
                  </a:lnTo>
                  <a:lnTo>
                    <a:pt x="756" y="54"/>
                  </a:lnTo>
                  <a:lnTo>
                    <a:pt x="750" y="54"/>
                  </a:lnTo>
                  <a:lnTo>
                    <a:pt x="750" y="48"/>
                  </a:lnTo>
                  <a:lnTo>
                    <a:pt x="744" y="48"/>
                  </a:lnTo>
                  <a:lnTo>
                    <a:pt x="738" y="48"/>
                  </a:lnTo>
                  <a:lnTo>
                    <a:pt x="732" y="48"/>
                  </a:lnTo>
                  <a:lnTo>
                    <a:pt x="732" y="54"/>
                  </a:lnTo>
                  <a:lnTo>
                    <a:pt x="726" y="48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48"/>
                  </a:lnTo>
                  <a:lnTo>
                    <a:pt x="702" y="48"/>
                  </a:lnTo>
                  <a:lnTo>
                    <a:pt x="696" y="48"/>
                  </a:lnTo>
                  <a:lnTo>
                    <a:pt x="684" y="48"/>
                  </a:lnTo>
                  <a:lnTo>
                    <a:pt x="678" y="48"/>
                  </a:lnTo>
                  <a:lnTo>
                    <a:pt x="672" y="48"/>
                  </a:lnTo>
                  <a:lnTo>
                    <a:pt x="666" y="54"/>
                  </a:lnTo>
                  <a:lnTo>
                    <a:pt x="660" y="54"/>
                  </a:lnTo>
                  <a:lnTo>
                    <a:pt x="660" y="48"/>
                  </a:lnTo>
                  <a:lnTo>
                    <a:pt x="654" y="48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42" y="54"/>
                  </a:lnTo>
                  <a:lnTo>
                    <a:pt x="63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30" y="66"/>
                  </a:lnTo>
                  <a:lnTo>
                    <a:pt x="624" y="66"/>
                  </a:lnTo>
                  <a:lnTo>
                    <a:pt x="618" y="66"/>
                  </a:lnTo>
                  <a:lnTo>
                    <a:pt x="618" y="72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6" y="84"/>
                  </a:lnTo>
                  <a:lnTo>
                    <a:pt x="600" y="84"/>
                  </a:lnTo>
                  <a:lnTo>
                    <a:pt x="594" y="90"/>
                  </a:lnTo>
                  <a:lnTo>
                    <a:pt x="588" y="90"/>
                  </a:lnTo>
                  <a:lnTo>
                    <a:pt x="588" y="84"/>
                  </a:lnTo>
                  <a:lnTo>
                    <a:pt x="582" y="84"/>
                  </a:lnTo>
                  <a:lnTo>
                    <a:pt x="576" y="84"/>
                  </a:lnTo>
                  <a:lnTo>
                    <a:pt x="570" y="84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58" y="96"/>
                  </a:lnTo>
                  <a:lnTo>
                    <a:pt x="552" y="96"/>
                  </a:lnTo>
                  <a:lnTo>
                    <a:pt x="546" y="102"/>
                  </a:lnTo>
                  <a:lnTo>
                    <a:pt x="540" y="102"/>
                  </a:lnTo>
                  <a:lnTo>
                    <a:pt x="534" y="102"/>
                  </a:lnTo>
                  <a:lnTo>
                    <a:pt x="528" y="102"/>
                  </a:lnTo>
                  <a:lnTo>
                    <a:pt x="528" y="108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16" y="102"/>
                  </a:lnTo>
                  <a:lnTo>
                    <a:pt x="510" y="102"/>
                  </a:lnTo>
                  <a:lnTo>
                    <a:pt x="504" y="102"/>
                  </a:lnTo>
                  <a:lnTo>
                    <a:pt x="498" y="102"/>
                  </a:lnTo>
                  <a:lnTo>
                    <a:pt x="498" y="96"/>
                  </a:lnTo>
                  <a:lnTo>
                    <a:pt x="492" y="96"/>
                  </a:lnTo>
                  <a:lnTo>
                    <a:pt x="492" y="90"/>
                  </a:lnTo>
                  <a:lnTo>
                    <a:pt x="492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498" y="66"/>
                  </a:lnTo>
                  <a:lnTo>
                    <a:pt x="504" y="60"/>
                  </a:lnTo>
                  <a:lnTo>
                    <a:pt x="498" y="60"/>
                  </a:lnTo>
                  <a:lnTo>
                    <a:pt x="498" y="54"/>
                  </a:lnTo>
                  <a:lnTo>
                    <a:pt x="492" y="54"/>
                  </a:lnTo>
                  <a:lnTo>
                    <a:pt x="492" y="60"/>
                  </a:lnTo>
                  <a:lnTo>
                    <a:pt x="486" y="60"/>
                  </a:lnTo>
                  <a:lnTo>
                    <a:pt x="486" y="66"/>
                  </a:lnTo>
                  <a:lnTo>
                    <a:pt x="480" y="66"/>
                  </a:lnTo>
                  <a:lnTo>
                    <a:pt x="474" y="72"/>
                  </a:lnTo>
                  <a:lnTo>
                    <a:pt x="474" y="66"/>
                  </a:lnTo>
                  <a:lnTo>
                    <a:pt x="474" y="72"/>
                  </a:lnTo>
                  <a:lnTo>
                    <a:pt x="468" y="72"/>
                  </a:lnTo>
                  <a:lnTo>
                    <a:pt x="468" y="78"/>
                  </a:lnTo>
                  <a:lnTo>
                    <a:pt x="468" y="84"/>
                  </a:lnTo>
                  <a:lnTo>
                    <a:pt x="462" y="90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0" y="84"/>
                  </a:lnTo>
                  <a:lnTo>
                    <a:pt x="450" y="90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44" y="102"/>
                  </a:lnTo>
                  <a:lnTo>
                    <a:pt x="444" y="108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38" y="126"/>
                  </a:lnTo>
                  <a:lnTo>
                    <a:pt x="438" y="132"/>
                  </a:lnTo>
                  <a:lnTo>
                    <a:pt x="438" y="138"/>
                  </a:lnTo>
                  <a:lnTo>
                    <a:pt x="438" y="144"/>
                  </a:lnTo>
                  <a:lnTo>
                    <a:pt x="432" y="144"/>
                  </a:lnTo>
                  <a:lnTo>
                    <a:pt x="432" y="150"/>
                  </a:lnTo>
                  <a:lnTo>
                    <a:pt x="432" y="144"/>
                  </a:lnTo>
                  <a:lnTo>
                    <a:pt x="426" y="144"/>
                  </a:lnTo>
                  <a:lnTo>
                    <a:pt x="426" y="150"/>
                  </a:lnTo>
                  <a:lnTo>
                    <a:pt x="426" y="156"/>
                  </a:lnTo>
                  <a:lnTo>
                    <a:pt x="432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2"/>
                  </a:lnTo>
                  <a:lnTo>
                    <a:pt x="432" y="168"/>
                  </a:lnTo>
                  <a:lnTo>
                    <a:pt x="426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44" y="168"/>
                  </a:lnTo>
                  <a:lnTo>
                    <a:pt x="444" y="174"/>
                  </a:lnTo>
                  <a:lnTo>
                    <a:pt x="444" y="180"/>
                  </a:lnTo>
                  <a:lnTo>
                    <a:pt x="444" y="186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2" y="192"/>
                  </a:lnTo>
                  <a:lnTo>
                    <a:pt x="426" y="192"/>
                  </a:lnTo>
                  <a:lnTo>
                    <a:pt x="420" y="186"/>
                  </a:lnTo>
                  <a:lnTo>
                    <a:pt x="414" y="186"/>
                  </a:lnTo>
                  <a:lnTo>
                    <a:pt x="408" y="186"/>
                  </a:lnTo>
                  <a:lnTo>
                    <a:pt x="402" y="186"/>
                  </a:lnTo>
                  <a:lnTo>
                    <a:pt x="396" y="186"/>
                  </a:lnTo>
                  <a:lnTo>
                    <a:pt x="390" y="186"/>
                  </a:lnTo>
                  <a:lnTo>
                    <a:pt x="384" y="186"/>
                  </a:lnTo>
                  <a:lnTo>
                    <a:pt x="378" y="186"/>
                  </a:lnTo>
                  <a:lnTo>
                    <a:pt x="372" y="186"/>
                  </a:lnTo>
                  <a:lnTo>
                    <a:pt x="354" y="186"/>
                  </a:lnTo>
                  <a:lnTo>
                    <a:pt x="342" y="186"/>
                  </a:lnTo>
                  <a:lnTo>
                    <a:pt x="324" y="186"/>
                  </a:lnTo>
                  <a:lnTo>
                    <a:pt x="312" y="186"/>
                  </a:lnTo>
                  <a:lnTo>
                    <a:pt x="306" y="186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82" y="186"/>
                  </a:lnTo>
                  <a:lnTo>
                    <a:pt x="270" y="186"/>
                  </a:lnTo>
                  <a:lnTo>
                    <a:pt x="264" y="186"/>
                  </a:lnTo>
                  <a:lnTo>
                    <a:pt x="258" y="192"/>
                  </a:lnTo>
                  <a:lnTo>
                    <a:pt x="258" y="186"/>
                  </a:lnTo>
                  <a:lnTo>
                    <a:pt x="246" y="186"/>
                  </a:lnTo>
                  <a:lnTo>
                    <a:pt x="240" y="186"/>
                  </a:lnTo>
                  <a:lnTo>
                    <a:pt x="234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2"/>
                  </a:lnTo>
                  <a:lnTo>
                    <a:pt x="204" y="192"/>
                  </a:lnTo>
                  <a:lnTo>
                    <a:pt x="198" y="192"/>
                  </a:lnTo>
                  <a:lnTo>
                    <a:pt x="192" y="192"/>
                  </a:lnTo>
                  <a:lnTo>
                    <a:pt x="180" y="192"/>
                  </a:lnTo>
                  <a:lnTo>
                    <a:pt x="168" y="192"/>
                  </a:lnTo>
                  <a:lnTo>
                    <a:pt x="162" y="192"/>
                  </a:lnTo>
                  <a:lnTo>
                    <a:pt x="150" y="192"/>
                  </a:lnTo>
                  <a:lnTo>
                    <a:pt x="138" y="192"/>
                  </a:lnTo>
                  <a:lnTo>
                    <a:pt x="132" y="192"/>
                  </a:lnTo>
                  <a:lnTo>
                    <a:pt x="120" y="192"/>
                  </a:lnTo>
                  <a:lnTo>
                    <a:pt x="114" y="192"/>
                  </a:lnTo>
                  <a:lnTo>
                    <a:pt x="108" y="192"/>
                  </a:lnTo>
                  <a:lnTo>
                    <a:pt x="102" y="192"/>
                  </a:lnTo>
                  <a:lnTo>
                    <a:pt x="90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2" y="198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36" y="198"/>
                  </a:lnTo>
                  <a:lnTo>
                    <a:pt x="30" y="204"/>
                  </a:lnTo>
                  <a:lnTo>
                    <a:pt x="24" y="204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6" y="210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54" y="156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56"/>
                  </a:lnTo>
                  <a:lnTo>
                    <a:pt x="78" y="162"/>
                  </a:lnTo>
                  <a:lnTo>
                    <a:pt x="84" y="162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9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0" y="126"/>
                  </a:lnTo>
                  <a:lnTo>
                    <a:pt x="276" y="120"/>
                  </a:lnTo>
                  <a:lnTo>
                    <a:pt x="282" y="120"/>
                  </a:lnTo>
                  <a:lnTo>
                    <a:pt x="300" y="120"/>
                  </a:lnTo>
                  <a:lnTo>
                    <a:pt x="306" y="114"/>
                  </a:lnTo>
                  <a:lnTo>
                    <a:pt x="312" y="108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8"/>
                  </a:lnTo>
                  <a:lnTo>
                    <a:pt x="342" y="30"/>
                  </a:lnTo>
                  <a:lnTo>
                    <a:pt x="342" y="24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8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24"/>
                  </a:lnTo>
                  <a:lnTo>
                    <a:pt x="414" y="30"/>
                  </a:lnTo>
                  <a:lnTo>
                    <a:pt x="420" y="30"/>
                  </a:lnTo>
                  <a:lnTo>
                    <a:pt x="42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74" y="30"/>
                  </a:lnTo>
                  <a:lnTo>
                    <a:pt x="474" y="18"/>
                  </a:lnTo>
                  <a:lnTo>
                    <a:pt x="474" y="12"/>
                  </a:lnTo>
                  <a:lnTo>
                    <a:pt x="480" y="12"/>
                  </a:lnTo>
                  <a:lnTo>
                    <a:pt x="486" y="12"/>
                  </a:lnTo>
                  <a:lnTo>
                    <a:pt x="606" y="12"/>
                  </a:lnTo>
                  <a:lnTo>
                    <a:pt x="630" y="12"/>
                  </a:lnTo>
                  <a:lnTo>
                    <a:pt x="678" y="12"/>
                  </a:lnTo>
                  <a:lnTo>
                    <a:pt x="744" y="12"/>
                  </a:lnTo>
                  <a:lnTo>
                    <a:pt x="774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2" y="6"/>
                  </a:lnTo>
                  <a:lnTo>
                    <a:pt x="888" y="12"/>
                  </a:lnTo>
                  <a:lnTo>
                    <a:pt x="888" y="24"/>
                  </a:lnTo>
                  <a:lnTo>
                    <a:pt x="888" y="30"/>
                  </a:lnTo>
                  <a:lnTo>
                    <a:pt x="882" y="36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64" y="42"/>
                  </a:lnTo>
                  <a:lnTo>
                    <a:pt x="864" y="48"/>
                  </a:lnTo>
                  <a:lnTo>
                    <a:pt x="858" y="54"/>
                  </a:lnTo>
                  <a:lnTo>
                    <a:pt x="864" y="54"/>
                  </a:lnTo>
                  <a:lnTo>
                    <a:pt x="870" y="72"/>
                  </a:lnTo>
                  <a:lnTo>
                    <a:pt x="870" y="78"/>
                  </a:lnTo>
                  <a:lnTo>
                    <a:pt x="870" y="84"/>
                  </a:lnTo>
                  <a:lnTo>
                    <a:pt x="870" y="90"/>
                  </a:lnTo>
                  <a:close/>
                  <a:moveTo>
                    <a:pt x="972" y="156"/>
                  </a:moveTo>
                  <a:lnTo>
                    <a:pt x="972" y="162"/>
                  </a:lnTo>
                  <a:lnTo>
                    <a:pt x="978" y="162"/>
                  </a:lnTo>
                  <a:lnTo>
                    <a:pt x="984" y="168"/>
                  </a:lnTo>
                  <a:lnTo>
                    <a:pt x="990" y="168"/>
                  </a:lnTo>
                  <a:lnTo>
                    <a:pt x="990" y="162"/>
                  </a:lnTo>
                  <a:lnTo>
                    <a:pt x="1008" y="162"/>
                  </a:lnTo>
                  <a:lnTo>
                    <a:pt x="1020" y="162"/>
                  </a:lnTo>
                  <a:lnTo>
                    <a:pt x="1038" y="162"/>
                  </a:lnTo>
                  <a:lnTo>
                    <a:pt x="1056" y="168"/>
                  </a:lnTo>
                  <a:lnTo>
                    <a:pt x="1056" y="180"/>
                  </a:lnTo>
                  <a:lnTo>
                    <a:pt x="1056" y="186"/>
                  </a:lnTo>
                  <a:lnTo>
                    <a:pt x="1056" y="204"/>
                  </a:lnTo>
                  <a:lnTo>
                    <a:pt x="1050" y="204"/>
                  </a:lnTo>
                  <a:lnTo>
                    <a:pt x="1044" y="204"/>
                  </a:lnTo>
                  <a:lnTo>
                    <a:pt x="1038" y="204"/>
                  </a:lnTo>
                  <a:lnTo>
                    <a:pt x="1032" y="204"/>
                  </a:lnTo>
                  <a:lnTo>
                    <a:pt x="1026" y="204"/>
                  </a:lnTo>
                  <a:lnTo>
                    <a:pt x="1020" y="204"/>
                  </a:lnTo>
                  <a:lnTo>
                    <a:pt x="1014" y="204"/>
                  </a:lnTo>
                  <a:lnTo>
                    <a:pt x="1008" y="204"/>
                  </a:lnTo>
                  <a:lnTo>
                    <a:pt x="1002" y="204"/>
                  </a:lnTo>
                  <a:lnTo>
                    <a:pt x="996" y="204"/>
                  </a:lnTo>
                  <a:lnTo>
                    <a:pt x="984" y="204"/>
                  </a:lnTo>
                  <a:lnTo>
                    <a:pt x="984" y="198"/>
                  </a:lnTo>
                  <a:lnTo>
                    <a:pt x="978" y="198"/>
                  </a:lnTo>
                  <a:lnTo>
                    <a:pt x="966" y="198"/>
                  </a:lnTo>
                  <a:lnTo>
                    <a:pt x="948" y="192"/>
                  </a:lnTo>
                  <a:lnTo>
                    <a:pt x="942" y="192"/>
                  </a:lnTo>
                  <a:lnTo>
                    <a:pt x="936" y="192"/>
                  </a:lnTo>
                  <a:lnTo>
                    <a:pt x="924" y="192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12" y="186"/>
                  </a:lnTo>
                  <a:lnTo>
                    <a:pt x="906" y="186"/>
                  </a:lnTo>
                  <a:lnTo>
                    <a:pt x="900" y="186"/>
                  </a:lnTo>
                  <a:lnTo>
                    <a:pt x="894" y="186"/>
                  </a:lnTo>
                  <a:lnTo>
                    <a:pt x="888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76" y="180"/>
                  </a:lnTo>
                  <a:lnTo>
                    <a:pt x="870" y="180"/>
                  </a:lnTo>
                  <a:lnTo>
                    <a:pt x="864" y="180"/>
                  </a:lnTo>
                  <a:lnTo>
                    <a:pt x="858" y="180"/>
                  </a:lnTo>
                  <a:lnTo>
                    <a:pt x="852" y="180"/>
                  </a:lnTo>
                  <a:lnTo>
                    <a:pt x="852" y="174"/>
                  </a:lnTo>
                  <a:lnTo>
                    <a:pt x="846" y="174"/>
                  </a:lnTo>
                  <a:lnTo>
                    <a:pt x="840" y="174"/>
                  </a:lnTo>
                  <a:lnTo>
                    <a:pt x="834" y="174"/>
                  </a:lnTo>
                  <a:lnTo>
                    <a:pt x="828" y="174"/>
                  </a:lnTo>
                  <a:lnTo>
                    <a:pt x="822" y="174"/>
                  </a:lnTo>
                  <a:lnTo>
                    <a:pt x="816" y="174"/>
                  </a:lnTo>
                  <a:lnTo>
                    <a:pt x="810" y="168"/>
                  </a:lnTo>
                  <a:lnTo>
                    <a:pt x="804" y="168"/>
                  </a:lnTo>
                  <a:lnTo>
                    <a:pt x="798" y="168"/>
                  </a:lnTo>
                  <a:lnTo>
                    <a:pt x="792" y="168"/>
                  </a:lnTo>
                  <a:lnTo>
                    <a:pt x="786" y="168"/>
                  </a:lnTo>
                  <a:lnTo>
                    <a:pt x="780" y="168"/>
                  </a:lnTo>
                  <a:lnTo>
                    <a:pt x="774" y="168"/>
                  </a:lnTo>
                  <a:lnTo>
                    <a:pt x="768" y="168"/>
                  </a:lnTo>
                  <a:lnTo>
                    <a:pt x="762" y="168"/>
                  </a:lnTo>
                  <a:lnTo>
                    <a:pt x="756" y="168"/>
                  </a:lnTo>
                  <a:lnTo>
                    <a:pt x="750" y="168"/>
                  </a:lnTo>
                  <a:lnTo>
                    <a:pt x="750" y="162"/>
                  </a:lnTo>
                  <a:lnTo>
                    <a:pt x="744" y="168"/>
                  </a:lnTo>
                  <a:lnTo>
                    <a:pt x="738" y="162"/>
                  </a:lnTo>
                  <a:lnTo>
                    <a:pt x="732" y="162"/>
                  </a:lnTo>
                  <a:lnTo>
                    <a:pt x="726" y="162"/>
                  </a:lnTo>
                  <a:lnTo>
                    <a:pt x="714" y="162"/>
                  </a:lnTo>
                  <a:lnTo>
                    <a:pt x="702" y="162"/>
                  </a:lnTo>
                  <a:lnTo>
                    <a:pt x="696" y="168"/>
                  </a:lnTo>
                  <a:lnTo>
                    <a:pt x="690" y="168"/>
                  </a:lnTo>
                  <a:lnTo>
                    <a:pt x="684" y="168"/>
                  </a:lnTo>
                  <a:lnTo>
                    <a:pt x="678" y="168"/>
                  </a:lnTo>
                  <a:lnTo>
                    <a:pt x="672" y="168"/>
                  </a:lnTo>
                  <a:lnTo>
                    <a:pt x="666" y="168"/>
                  </a:lnTo>
                  <a:lnTo>
                    <a:pt x="660" y="168"/>
                  </a:lnTo>
                  <a:lnTo>
                    <a:pt x="654" y="168"/>
                  </a:lnTo>
                  <a:lnTo>
                    <a:pt x="648" y="174"/>
                  </a:lnTo>
                  <a:lnTo>
                    <a:pt x="648" y="168"/>
                  </a:lnTo>
                  <a:lnTo>
                    <a:pt x="642" y="174"/>
                  </a:lnTo>
                  <a:lnTo>
                    <a:pt x="636" y="174"/>
                  </a:lnTo>
                  <a:lnTo>
                    <a:pt x="630" y="174"/>
                  </a:lnTo>
                  <a:lnTo>
                    <a:pt x="624" y="174"/>
                  </a:lnTo>
                  <a:lnTo>
                    <a:pt x="618" y="174"/>
                  </a:lnTo>
                  <a:lnTo>
                    <a:pt x="612" y="174"/>
                  </a:lnTo>
                  <a:lnTo>
                    <a:pt x="606" y="174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74"/>
                  </a:lnTo>
                  <a:lnTo>
                    <a:pt x="582" y="174"/>
                  </a:lnTo>
                  <a:lnTo>
                    <a:pt x="576" y="174"/>
                  </a:lnTo>
                  <a:lnTo>
                    <a:pt x="570" y="174"/>
                  </a:lnTo>
                  <a:lnTo>
                    <a:pt x="564" y="174"/>
                  </a:lnTo>
                  <a:lnTo>
                    <a:pt x="558" y="174"/>
                  </a:lnTo>
                  <a:lnTo>
                    <a:pt x="552" y="174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0" y="174"/>
                  </a:lnTo>
                  <a:lnTo>
                    <a:pt x="504" y="174"/>
                  </a:lnTo>
                  <a:lnTo>
                    <a:pt x="498" y="174"/>
                  </a:lnTo>
                  <a:lnTo>
                    <a:pt x="492" y="174"/>
                  </a:lnTo>
                  <a:lnTo>
                    <a:pt x="486" y="174"/>
                  </a:lnTo>
                  <a:lnTo>
                    <a:pt x="480" y="174"/>
                  </a:lnTo>
                  <a:lnTo>
                    <a:pt x="474" y="174"/>
                  </a:lnTo>
                  <a:lnTo>
                    <a:pt x="468" y="174"/>
                  </a:lnTo>
                  <a:lnTo>
                    <a:pt x="462" y="174"/>
                  </a:lnTo>
                  <a:lnTo>
                    <a:pt x="456" y="174"/>
                  </a:lnTo>
                  <a:lnTo>
                    <a:pt x="450" y="180"/>
                  </a:lnTo>
                  <a:lnTo>
                    <a:pt x="450" y="186"/>
                  </a:lnTo>
                  <a:lnTo>
                    <a:pt x="450" y="192"/>
                  </a:lnTo>
                  <a:lnTo>
                    <a:pt x="444" y="192"/>
                  </a:lnTo>
                  <a:lnTo>
                    <a:pt x="444" y="186"/>
                  </a:lnTo>
                  <a:lnTo>
                    <a:pt x="444" y="180"/>
                  </a:lnTo>
                  <a:lnTo>
                    <a:pt x="450" y="180"/>
                  </a:lnTo>
                  <a:lnTo>
                    <a:pt x="450" y="174"/>
                  </a:lnTo>
                  <a:lnTo>
                    <a:pt x="450" y="168"/>
                  </a:lnTo>
                  <a:lnTo>
                    <a:pt x="450" y="162"/>
                  </a:lnTo>
                  <a:lnTo>
                    <a:pt x="456" y="162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62" y="162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74" y="168"/>
                  </a:lnTo>
                  <a:lnTo>
                    <a:pt x="480" y="168"/>
                  </a:lnTo>
                  <a:lnTo>
                    <a:pt x="480" y="162"/>
                  </a:lnTo>
                  <a:lnTo>
                    <a:pt x="480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56"/>
                  </a:lnTo>
                  <a:lnTo>
                    <a:pt x="492" y="156"/>
                  </a:lnTo>
                  <a:lnTo>
                    <a:pt x="486" y="150"/>
                  </a:lnTo>
                  <a:lnTo>
                    <a:pt x="492" y="150"/>
                  </a:lnTo>
                  <a:lnTo>
                    <a:pt x="498" y="150"/>
                  </a:lnTo>
                  <a:lnTo>
                    <a:pt x="498" y="156"/>
                  </a:lnTo>
                  <a:lnTo>
                    <a:pt x="504" y="156"/>
                  </a:lnTo>
                  <a:lnTo>
                    <a:pt x="504" y="162"/>
                  </a:lnTo>
                  <a:lnTo>
                    <a:pt x="504" y="156"/>
                  </a:lnTo>
                  <a:lnTo>
                    <a:pt x="510" y="156"/>
                  </a:lnTo>
                  <a:lnTo>
                    <a:pt x="510" y="150"/>
                  </a:lnTo>
                  <a:lnTo>
                    <a:pt x="516" y="150"/>
                  </a:lnTo>
                  <a:lnTo>
                    <a:pt x="522" y="150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28" y="150"/>
                  </a:lnTo>
                  <a:lnTo>
                    <a:pt x="528" y="144"/>
                  </a:lnTo>
                  <a:lnTo>
                    <a:pt x="540" y="144"/>
                  </a:lnTo>
                  <a:lnTo>
                    <a:pt x="546" y="144"/>
                  </a:lnTo>
                  <a:lnTo>
                    <a:pt x="552" y="138"/>
                  </a:lnTo>
                  <a:lnTo>
                    <a:pt x="552" y="132"/>
                  </a:lnTo>
                  <a:lnTo>
                    <a:pt x="558" y="132"/>
                  </a:lnTo>
                  <a:lnTo>
                    <a:pt x="558" y="126"/>
                  </a:lnTo>
                  <a:lnTo>
                    <a:pt x="558" y="120"/>
                  </a:lnTo>
                  <a:lnTo>
                    <a:pt x="558" y="114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6" y="114"/>
                  </a:lnTo>
                  <a:lnTo>
                    <a:pt x="582" y="120"/>
                  </a:lnTo>
                  <a:lnTo>
                    <a:pt x="588" y="120"/>
                  </a:lnTo>
                  <a:lnTo>
                    <a:pt x="588" y="126"/>
                  </a:lnTo>
                  <a:lnTo>
                    <a:pt x="588" y="120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600" y="114"/>
                  </a:lnTo>
                  <a:lnTo>
                    <a:pt x="606" y="114"/>
                  </a:lnTo>
                  <a:lnTo>
                    <a:pt x="618" y="114"/>
                  </a:lnTo>
                  <a:lnTo>
                    <a:pt x="618" y="108"/>
                  </a:lnTo>
                  <a:lnTo>
                    <a:pt x="624" y="108"/>
                  </a:lnTo>
                  <a:lnTo>
                    <a:pt x="624" y="102"/>
                  </a:lnTo>
                  <a:lnTo>
                    <a:pt x="630" y="102"/>
                  </a:lnTo>
                  <a:lnTo>
                    <a:pt x="636" y="102"/>
                  </a:lnTo>
                  <a:lnTo>
                    <a:pt x="636" y="108"/>
                  </a:lnTo>
                  <a:lnTo>
                    <a:pt x="642" y="108"/>
                  </a:lnTo>
                  <a:lnTo>
                    <a:pt x="648" y="108"/>
                  </a:lnTo>
                  <a:lnTo>
                    <a:pt x="648" y="102"/>
                  </a:lnTo>
                  <a:lnTo>
                    <a:pt x="654" y="102"/>
                  </a:lnTo>
                  <a:lnTo>
                    <a:pt x="660" y="102"/>
                  </a:lnTo>
                  <a:lnTo>
                    <a:pt x="660" y="96"/>
                  </a:lnTo>
                  <a:lnTo>
                    <a:pt x="660" y="90"/>
                  </a:lnTo>
                  <a:lnTo>
                    <a:pt x="666" y="90"/>
                  </a:lnTo>
                  <a:lnTo>
                    <a:pt x="666" y="84"/>
                  </a:lnTo>
                  <a:lnTo>
                    <a:pt x="672" y="78"/>
                  </a:lnTo>
                  <a:lnTo>
                    <a:pt x="672" y="72"/>
                  </a:lnTo>
                  <a:lnTo>
                    <a:pt x="678" y="66"/>
                  </a:lnTo>
                  <a:lnTo>
                    <a:pt x="684" y="66"/>
                  </a:lnTo>
                  <a:lnTo>
                    <a:pt x="684" y="60"/>
                  </a:lnTo>
                  <a:lnTo>
                    <a:pt x="690" y="60"/>
                  </a:lnTo>
                  <a:lnTo>
                    <a:pt x="696" y="60"/>
                  </a:lnTo>
                  <a:lnTo>
                    <a:pt x="702" y="60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66"/>
                  </a:lnTo>
                  <a:lnTo>
                    <a:pt x="720" y="66"/>
                  </a:lnTo>
                  <a:lnTo>
                    <a:pt x="720" y="60"/>
                  </a:lnTo>
                  <a:lnTo>
                    <a:pt x="726" y="60"/>
                  </a:lnTo>
                  <a:lnTo>
                    <a:pt x="732" y="60"/>
                  </a:lnTo>
                  <a:lnTo>
                    <a:pt x="744" y="60"/>
                  </a:lnTo>
                  <a:lnTo>
                    <a:pt x="750" y="54"/>
                  </a:lnTo>
                  <a:lnTo>
                    <a:pt x="762" y="60"/>
                  </a:lnTo>
                  <a:lnTo>
                    <a:pt x="774" y="60"/>
                  </a:lnTo>
                  <a:lnTo>
                    <a:pt x="774" y="66"/>
                  </a:lnTo>
                  <a:lnTo>
                    <a:pt x="780" y="72"/>
                  </a:lnTo>
                  <a:lnTo>
                    <a:pt x="786" y="78"/>
                  </a:lnTo>
                  <a:lnTo>
                    <a:pt x="792" y="78"/>
                  </a:lnTo>
                  <a:lnTo>
                    <a:pt x="810" y="84"/>
                  </a:lnTo>
                  <a:lnTo>
                    <a:pt x="822" y="84"/>
                  </a:lnTo>
                  <a:lnTo>
                    <a:pt x="828" y="84"/>
                  </a:lnTo>
                  <a:lnTo>
                    <a:pt x="834" y="84"/>
                  </a:lnTo>
                  <a:lnTo>
                    <a:pt x="840" y="96"/>
                  </a:lnTo>
                  <a:lnTo>
                    <a:pt x="846" y="102"/>
                  </a:lnTo>
                  <a:lnTo>
                    <a:pt x="858" y="102"/>
                  </a:lnTo>
                  <a:lnTo>
                    <a:pt x="864" y="102"/>
                  </a:lnTo>
                  <a:lnTo>
                    <a:pt x="876" y="96"/>
                  </a:lnTo>
                  <a:lnTo>
                    <a:pt x="882" y="102"/>
                  </a:lnTo>
                  <a:lnTo>
                    <a:pt x="888" y="108"/>
                  </a:lnTo>
                  <a:lnTo>
                    <a:pt x="888" y="114"/>
                  </a:lnTo>
                  <a:lnTo>
                    <a:pt x="888" y="120"/>
                  </a:lnTo>
                  <a:lnTo>
                    <a:pt x="888" y="126"/>
                  </a:lnTo>
                  <a:lnTo>
                    <a:pt x="888" y="132"/>
                  </a:lnTo>
                  <a:lnTo>
                    <a:pt x="882" y="132"/>
                  </a:lnTo>
                  <a:lnTo>
                    <a:pt x="864" y="126"/>
                  </a:lnTo>
                  <a:lnTo>
                    <a:pt x="852" y="120"/>
                  </a:lnTo>
                  <a:lnTo>
                    <a:pt x="840" y="126"/>
                  </a:lnTo>
                  <a:lnTo>
                    <a:pt x="834" y="120"/>
                  </a:lnTo>
                  <a:lnTo>
                    <a:pt x="828" y="120"/>
                  </a:lnTo>
                  <a:lnTo>
                    <a:pt x="822" y="120"/>
                  </a:lnTo>
                  <a:lnTo>
                    <a:pt x="810" y="114"/>
                  </a:lnTo>
                  <a:lnTo>
                    <a:pt x="804" y="114"/>
                  </a:lnTo>
                  <a:lnTo>
                    <a:pt x="798" y="114"/>
                  </a:lnTo>
                  <a:lnTo>
                    <a:pt x="792" y="114"/>
                  </a:lnTo>
                  <a:lnTo>
                    <a:pt x="786" y="114"/>
                  </a:lnTo>
                  <a:lnTo>
                    <a:pt x="780" y="114"/>
                  </a:lnTo>
                  <a:lnTo>
                    <a:pt x="780" y="126"/>
                  </a:lnTo>
                  <a:lnTo>
                    <a:pt x="786" y="126"/>
                  </a:lnTo>
                  <a:lnTo>
                    <a:pt x="798" y="126"/>
                  </a:lnTo>
                  <a:lnTo>
                    <a:pt x="804" y="126"/>
                  </a:lnTo>
                  <a:lnTo>
                    <a:pt x="822" y="132"/>
                  </a:lnTo>
                  <a:lnTo>
                    <a:pt x="828" y="132"/>
                  </a:lnTo>
                  <a:lnTo>
                    <a:pt x="834" y="132"/>
                  </a:lnTo>
                  <a:lnTo>
                    <a:pt x="840" y="144"/>
                  </a:lnTo>
                  <a:lnTo>
                    <a:pt x="846" y="150"/>
                  </a:lnTo>
                  <a:lnTo>
                    <a:pt x="858" y="150"/>
                  </a:lnTo>
                  <a:lnTo>
                    <a:pt x="864" y="162"/>
                  </a:lnTo>
                  <a:lnTo>
                    <a:pt x="870" y="162"/>
                  </a:lnTo>
                  <a:lnTo>
                    <a:pt x="876" y="168"/>
                  </a:lnTo>
                  <a:lnTo>
                    <a:pt x="888" y="168"/>
                  </a:lnTo>
                  <a:lnTo>
                    <a:pt x="894" y="174"/>
                  </a:lnTo>
                  <a:lnTo>
                    <a:pt x="900" y="174"/>
                  </a:lnTo>
                  <a:lnTo>
                    <a:pt x="918" y="174"/>
                  </a:lnTo>
                  <a:lnTo>
                    <a:pt x="924" y="174"/>
                  </a:lnTo>
                  <a:lnTo>
                    <a:pt x="930" y="174"/>
                  </a:lnTo>
                  <a:lnTo>
                    <a:pt x="942" y="174"/>
                  </a:lnTo>
                  <a:lnTo>
                    <a:pt x="954" y="174"/>
                  </a:lnTo>
                  <a:lnTo>
                    <a:pt x="960" y="174"/>
                  </a:lnTo>
                  <a:lnTo>
                    <a:pt x="966" y="174"/>
                  </a:lnTo>
                  <a:lnTo>
                    <a:pt x="966" y="168"/>
                  </a:lnTo>
                  <a:lnTo>
                    <a:pt x="972" y="162"/>
                  </a:lnTo>
                  <a:lnTo>
                    <a:pt x="972" y="156"/>
                  </a:lnTo>
                  <a:close/>
                  <a:moveTo>
                    <a:pt x="942" y="174"/>
                  </a:moveTo>
                  <a:lnTo>
                    <a:pt x="936" y="174"/>
                  </a:lnTo>
                  <a:lnTo>
                    <a:pt x="936" y="168"/>
                  </a:lnTo>
                  <a:lnTo>
                    <a:pt x="936" y="162"/>
                  </a:lnTo>
                  <a:lnTo>
                    <a:pt x="948" y="162"/>
                  </a:lnTo>
                  <a:lnTo>
                    <a:pt x="948" y="156"/>
                  </a:lnTo>
                  <a:lnTo>
                    <a:pt x="954" y="156"/>
                  </a:lnTo>
                  <a:lnTo>
                    <a:pt x="960" y="156"/>
                  </a:lnTo>
                  <a:lnTo>
                    <a:pt x="966" y="156"/>
                  </a:lnTo>
                  <a:lnTo>
                    <a:pt x="966" y="162"/>
                  </a:lnTo>
                  <a:lnTo>
                    <a:pt x="960" y="168"/>
                  </a:lnTo>
                  <a:lnTo>
                    <a:pt x="942" y="174"/>
                  </a:lnTo>
                  <a:close/>
                  <a:moveTo>
                    <a:pt x="900" y="168"/>
                  </a:moveTo>
                  <a:lnTo>
                    <a:pt x="894" y="168"/>
                  </a:lnTo>
                  <a:lnTo>
                    <a:pt x="882" y="156"/>
                  </a:lnTo>
                  <a:lnTo>
                    <a:pt x="882" y="150"/>
                  </a:lnTo>
                  <a:lnTo>
                    <a:pt x="888" y="156"/>
                  </a:lnTo>
                  <a:lnTo>
                    <a:pt x="894" y="150"/>
                  </a:lnTo>
                  <a:lnTo>
                    <a:pt x="900" y="150"/>
                  </a:lnTo>
                  <a:lnTo>
                    <a:pt x="906" y="150"/>
                  </a:lnTo>
                  <a:lnTo>
                    <a:pt x="912" y="150"/>
                  </a:lnTo>
                  <a:lnTo>
                    <a:pt x="924" y="150"/>
                  </a:lnTo>
                  <a:lnTo>
                    <a:pt x="924" y="156"/>
                  </a:lnTo>
                  <a:lnTo>
                    <a:pt x="924" y="162"/>
                  </a:lnTo>
                  <a:lnTo>
                    <a:pt x="924" y="168"/>
                  </a:lnTo>
                  <a:lnTo>
                    <a:pt x="918" y="168"/>
                  </a:lnTo>
                  <a:lnTo>
                    <a:pt x="906" y="168"/>
                  </a:lnTo>
                  <a:lnTo>
                    <a:pt x="900" y="168"/>
                  </a:lnTo>
                  <a:close/>
                  <a:moveTo>
                    <a:pt x="870" y="162"/>
                  </a:moveTo>
                  <a:lnTo>
                    <a:pt x="876" y="162"/>
                  </a:lnTo>
                  <a:lnTo>
                    <a:pt x="876" y="168"/>
                  </a:lnTo>
                  <a:lnTo>
                    <a:pt x="870" y="168"/>
                  </a:lnTo>
                  <a:lnTo>
                    <a:pt x="870" y="162"/>
                  </a:lnTo>
                  <a:close/>
                  <a:moveTo>
                    <a:pt x="450" y="162"/>
                  </a:moveTo>
                  <a:lnTo>
                    <a:pt x="444" y="162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2" y="150"/>
                  </a:lnTo>
                  <a:lnTo>
                    <a:pt x="438" y="150"/>
                  </a:lnTo>
                  <a:lnTo>
                    <a:pt x="438" y="144"/>
                  </a:lnTo>
                  <a:lnTo>
                    <a:pt x="438" y="150"/>
                  </a:lnTo>
                  <a:lnTo>
                    <a:pt x="444" y="150"/>
                  </a:lnTo>
                  <a:lnTo>
                    <a:pt x="450" y="150"/>
                  </a:lnTo>
                  <a:lnTo>
                    <a:pt x="450" y="156"/>
                  </a:lnTo>
                  <a:lnTo>
                    <a:pt x="456" y="156"/>
                  </a:lnTo>
                  <a:lnTo>
                    <a:pt x="456" y="150"/>
                  </a:lnTo>
                  <a:lnTo>
                    <a:pt x="456" y="156"/>
                  </a:lnTo>
                  <a:lnTo>
                    <a:pt x="462" y="150"/>
                  </a:lnTo>
                  <a:lnTo>
                    <a:pt x="462" y="144"/>
                  </a:lnTo>
                  <a:lnTo>
                    <a:pt x="468" y="144"/>
                  </a:lnTo>
                  <a:lnTo>
                    <a:pt x="468" y="150"/>
                  </a:lnTo>
                  <a:lnTo>
                    <a:pt x="474" y="150"/>
                  </a:lnTo>
                  <a:lnTo>
                    <a:pt x="480" y="150"/>
                  </a:lnTo>
                  <a:lnTo>
                    <a:pt x="480" y="156"/>
                  </a:lnTo>
                  <a:lnTo>
                    <a:pt x="480" y="162"/>
                  </a:lnTo>
                  <a:lnTo>
                    <a:pt x="474" y="162"/>
                  </a:lnTo>
                  <a:lnTo>
                    <a:pt x="474" y="168"/>
                  </a:lnTo>
                  <a:lnTo>
                    <a:pt x="474" y="162"/>
                  </a:lnTo>
                  <a:lnTo>
                    <a:pt x="468" y="162"/>
                  </a:lnTo>
                  <a:lnTo>
                    <a:pt x="462" y="162"/>
                  </a:lnTo>
                  <a:lnTo>
                    <a:pt x="456" y="162"/>
                  </a:lnTo>
                  <a:lnTo>
                    <a:pt x="450" y="16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6" name="Freeform 31">
              <a:extLst>
                <a:ext uri="{FF2B5EF4-FFF2-40B4-BE49-F238E27FC236}">
                  <a16:creationId xmlns:a16="http://schemas.microsoft.com/office/drawing/2014/main" id="{0989F057-38E8-4AA5-8B73-27F6355E235C}"/>
                </a:ext>
              </a:extLst>
            </p:cNvPr>
            <p:cNvSpPr>
              <a:spLocks/>
            </p:cNvSpPr>
            <p:nvPr/>
          </p:nvSpPr>
          <p:spPr bwMode="gray">
            <a:xfrm>
              <a:off x="792590" y="2728084"/>
              <a:ext cx="1182944" cy="740282"/>
            </a:xfrm>
            <a:custGeom>
              <a:avLst/>
              <a:gdLst>
                <a:gd name="T0" fmla="*/ 138 w 2226"/>
                <a:gd name="T1" fmla="*/ 121 h 1392"/>
                <a:gd name="T2" fmla="*/ 133 w 2226"/>
                <a:gd name="T3" fmla="*/ 119 h 1392"/>
                <a:gd name="T4" fmla="*/ 128 w 2226"/>
                <a:gd name="T5" fmla="*/ 117 h 1392"/>
                <a:gd name="T6" fmla="*/ 119 w 2226"/>
                <a:gd name="T7" fmla="*/ 116 h 1392"/>
                <a:gd name="T8" fmla="*/ 101 w 2226"/>
                <a:gd name="T9" fmla="*/ 116 h 1392"/>
                <a:gd name="T10" fmla="*/ 94 w 2226"/>
                <a:gd name="T11" fmla="*/ 104 h 1392"/>
                <a:gd name="T12" fmla="*/ 82 w 2226"/>
                <a:gd name="T13" fmla="*/ 83 h 1392"/>
                <a:gd name="T14" fmla="*/ 87 w 2226"/>
                <a:gd name="T15" fmla="*/ 69 h 1392"/>
                <a:gd name="T16" fmla="*/ 82 w 2226"/>
                <a:gd name="T17" fmla="*/ 65 h 1392"/>
                <a:gd name="T18" fmla="*/ 59 w 2226"/>
                <a:gd name="T19" fmla="*/ 57 h 1392"/>
                <a:gd name="T20" fmla="*/ 29 w 2226"/>
                <a:gd name="T21" fmla="*/ 77 h 1392"/>
                <a:gd name="T22" fmla="*/ 20 w 2226"/>
                <a:gd name="T23" fmla="*/ 78 h 1392"/>
                <a:gd name="T24" fmla="*/ 15 w 2226"/>
                <a:gd name="T25" fmla="*/ 82 h 1392"/>
                <a:gd name="T26" fmla="*/ 8 w 2226"/>
                <a:gd name="T27" fmla="*/ 86 h 1392"/>
                <a:gd name="T28" fmla="*/ 1 w 2226"/>
                <a:gd name="T29" fmla="*/ 88 h 1392"/>
                <a:gd name="T30" fmla="*/ 0 w 2226"/>
                <a:gd name="T31" fmla="*/ 82 h 1392"/>
                <a:gd name="T32" fmla="*/ 0 w 2226"/>
                <a:gd name="T33" fmla="*/ 76 h 1392"/>
                <a:gd name="T34" fmla="*/ 2 w 2226"/>
                <a:gd name="T35" fmla="*/ 70 h 1392"/>
                <a:gd name="T36" fmla="*/ 3 w 2226"/>
                <a:gd name="T37" fmla="*/ 65 h 1392"/>
                <a:gd name="T38" fmla="*/ 2 w 2226"/>
                <a:gd name="T39" fmla="*/ 63 h 1392"/>
                <a:gd name="T40" fmla="*/ 9 w 2226"/>
                <a:gd name="T41" fmla="*/ 60 h 1392"/>
                <a:gd name="T42" fmla="*/ 17 w 2226"/>
                <a:gd name="T43" fmla="*/ 59 h 1392"/>
                <a:gd name="T44" fmla="*/ 22 w 2226"/>
                <a:gd name="T45" fmla="*/ 51 h 1392"/>
                <a:gd name="T46" fmla="*/ 23 w 2226"/>
                <a:gd name="T47" fmla="*/ 43 h 1392"/>
                <a:gd name="T48" fmla="*/ 27 w 2226"/>
                <a:gd name="T49" fmla="*/ 34 h 1392"/>
                <a:gd name="T50" fmla="*/ 30 w 2226"/>
                <a:gd name="T51" fmla="*/ 27 h 1392"/>
                <a:gd name="T52" fmla="*/ 33 w 2226"/>
                <a:gd name="T53" fmla="*/ 22 h 1392"/>
                <a:gd name="T54" fmla="*/ 42 w 2226"/>
                <a:gd name="T55" fmla="*/ 17 h 1392"/>
                <a:gd name="T56" fmla="*/ 47 w 2226"/>
                <a:gd name="T57" fmla="*/ 14 h 1392"/>
                <a:gd name="T58" fmla="*/ 49 w 2226"/>
                <a:gd name="T59" fmla="*/ 5 h 1392"/>
                <a:gd name="T60" fmla="*/ 53 w 2226"/>
                <a:gd name="T61" fmla="*/ 0 h 1392"/>
                <a:gd name="T62" fmla="*/ 55 w 2226"/>
                <a:gd name="T63" fmla="*/ 4 h 1392"/>
                <a:gd name="T64" fmla="*/ 59 w 2226"/>
                <a:gd name="T65" fmla="*/ 7 h 1392"/>
                <a:gd name="T66" fmla="*/ 63 w 2226"/>
                <a:gd name="T67" fmla="*/ 7 h 1392"/>
                <a:gd name="T68" fmla="*/ 66 w 2226"/>
                <a:gd name="T69" fmla="*/ 9 h 1392"/>
                <a:gd name="T70" fmla="*/ 67 w 2226"/>
                <a:gd name="T71" fmla="*/ 12 h 1392"/>
                <a:gd name="T72" fmla="*/ 67 w 2226"/>
                <a:gd name="T73" fmla="*/ 13 h 1392"/>
                <a:gd name="T74" fmla="*/ 70 w 2226"/>
                <a:gd name="T75" fmla="*/ 15 h 1392"/>
                <a:gd name="T76" fmla="*/ 74 w 2226"/>
                <a:gd name="T77" fmla="*/ 17 h 1392"/>
                <a:gd name="T78" fmla="*/ 78 w 2226"/>
                <a:gd name="T79" fmla="*/ 18 h 1392"/>
                <a:gd name="T80" fmla="*/ 97 w 2226"/>
                <a:gd name="T81" fmla="*/ 40 h 1392"/>
                <a:gd name="T82" fmla="*/ 102 w 2226"/>
                <a:gd name="T83" fmla="*/ 44 h 1392"/>
                <a:gd name="T84" fmla="*/ 110 w 2226"/>
                <a:gd name="T85" fmla="*/ 49 h 1392"/>
                <a:gd name="T86" fmla="*/ 113 w 2226"/>
                <a:gd name="T87" fmla="*/ 53 h 1392"/>
                <a:gd name="T88" fmla="*/ 118 w 2226"/>
                <a:gd name="T89" fmla="*/ 57 h 1392"/>
                <a:gd name="T90" fmla="*/ 124 w 2226"/>
                <a:gd name="T91" fmla="*/ 54 h 1392"/>
                <a:gd name="T92" fmla="*/ 133 w 2226"/>
                <a:gd name="T93" fmla="*/ 58 h 1392"/>
                <a:gd name="T94" fmla="*/ 137 w 2226"/>
                <a:gd name="T95" fmla="*/ 64 h 1392"/>
                <a:gd name="T96" fmla="*/ 145 w 2226"/>
                <a:gd name="T97" fmla="*/ 65 h 1392"/>
                <a:gd name="T98" fmla="*/ 152 w 2226"/>
                <a:gd name="T99" fmla="*/ 67 h 1392"/>
                <a:gd name="T100" fmla="*/ 161 w 2226"/>
                <a:gd name="T101" fmla="*/ 72 h 1392"/>
                <a:gd name="T102" fmla="*/ 168 w 2226"/>
                <a:gd name="T103" fmla="*/ 76 h 1392"/>
                <a:gd name="T104" fmla="*/ 177 w 2226"/>
                <a:gd name="T105" fmla="*/ 78 h 1392"/>
                <a:gd name="T106" fmla="*/ 184 w 2226"/>
                <a:gd name="T107" fmla="*/ 78 h 1392"/>
                <a:gd name="T108" fmla="*/ 190 w 2226"/>
                <a:gd name="T109" fmla="*/ 81 h 1392"/>
                <a:gd name="T110" fmla="*/ 192 w 2226"/>
                <a:gd name="T111" fmla="*/ 86 h 1392"/>
                <a:gd name="T112" fmla="*/ 187 w 2226"/>
                <a:gd name="T113" fmla="*/ 99 h 1392"/>
                <a:gd name="T114" fmla="*/ 165 w 2226"/>
                <a:gd name="T115" fmla="*/ 97 h 1392"/>
                <a:gd name="T116" fmla="*/ 155 w 2226"/>
                <a:gd name="T117" fmla="*/ 92 h 1392"/>
                <a:gd name="T118" fmla="*/ 146 w 2226"/>
                <a:gd name="T119" fmla="*/ 102 h 1392"/>
                <a:gd name="T120" fmla="*/ 149 w 2226"/>
                <a:gd name="T121" fmla="*/ 106 h 1392"/>
                <a:gd name="T122" fmla="*/ 151 w 2226"/>
                <a:gd name="T123" fmla="*/ 108 h 1392"/>
                <a:gd name="T124" fmla="*/ 157 w 2226"/>
                <a:gd name="T125" fmla="*/ 113 h 13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1392"/>
                <a:gd name="T191" fmla="*/ 2226 w 2226"/>
                <a:gd name="T192" fmla="*/ 1392 h 13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1392">
                  <a:moveTo>
                    <a:pt x="1782" y="1326"/>
                  </a:moveTo>
                  <a:lnTo>
                    <a:pt x="1776" y="1332"/>
                  </a:lnTo>
                  <a:lnTo>
                    <a:pt x="1692" y="1338"/>
                  </a:lnTo>
                  <a:lnTo>
                    <a:pt x="1680" y="1386"/>
                  </a:lnTo>
                  <a:lnTo>
                    <a:pt x="1674" y="1392"/>
                  </a:lnTo>
                  <a:lnTo>
                    <a:pt x="1638" y="1392"/>
                  </a:lnTo>
                  <a:lnTo>
                    <a:pt x="1620" y="1392"/>
                  </a:lnTo>
                  <a:lnTo>
                    <a:pt x="1614" y="1392"/>
                  </a:lnTo>
                  <a:lnTo>
                    <a:pt x="1608" y="1386"/>
                  </a:lnTo>
                  <a:lnTo>
                    <a:pt x="1584" y="1386"/>
                  </a:lnTo>
                  <a:lnTo>
                    <a:pt x="1578" y="1386"/>
                  </a:lnTo>
                  <a:lnTo>
                    <a:pt x="1572" y="1380"/>
                  </a:lnTo>
                  <a:lnTo>
                    <a:pt x="1578" y="1356"/>
                  </a:lnTo>
                  <a:lnTo>
                    <a:pt x="1572" y="1356"/>
                  </a:lnTo>
                  <a:lnTo>
                    <a:pt x="1560" y="1350"/>
                  </a:lnTo>
                  <a:lnTo>
                    <a:pt x="1554" y="1350"/>
                  </a:lnTo>
                  <a:lnTo>
                    <a:pt x="1542" y="1350"/>
                  </a:lnTo>
                  <a:lnTo>
                    <a:pt x="1530" y="1350"/>
                  </a:lnTo>
                  <a:lnTo>
                    <a:pt x="1524" y="1356"/>
                  </a:lnTo>
                  <a:lnTo>
                    <a:pt x="1524" y="1362"/>
                  </a:lnTo>
                  <a:lnTo>
                    <a:pt x="1512" y="1374"/>
                  </a:lnTo>
                  <a:lnTo>
                    <a:pt x="1506" y="1374"/>
                  </a:lnTo>
                  <a:lnTo>
                    <a:pt x="1500" y="1368"/>
                  </a:lnTo>
                  <a:lnTo>
                    <a:pt x="1500" y="1362"/>
                  </a:lnTo>
                  <a:lnTo>
                    <a:pt x="1488" y="1362"/>
                  </a:lnTo>
                  <a:lnTo>
                    <a:pt x="1482" y="1356"/>
                  </a:lnTo>
                  <a:lnTo>
                    <a:pt x="1482" y="1350"/>
                  </a:lnTo>
                  <a:lnTo>
                    <a:pt x="1476" y="1350"/>
                  </a:lnTo>
                  <a:lnTo>
                    <a:pt x="1470" y="1344"/>
                  </a:lnTo>
                  <a:lnTo>
                    <a:pt x="1464" y="1344"/>
                  </a:lnTo>
                  <a:lnTo>
                    <a:pt x="1452" y="1350"/>
                  </a:lnTo>
                  <a:lnTo>
                    <a:pt x="1452" y="1356"/>
                  </a:lnTo>
                  <a:lnTo>
                    <a:pt x="1440" y="1356"/>
                  </a:lnTo>
                  <a:lnTo>
                    <a:pt x="1434" y="1344"/>
                  </a:lnTo>
                  <a:lnTo>
                    <a:pt x="1422" y="1332"/>
                  </a:lnTo>
                  <a:lnTo>
                    <a:pt x="1416" y="1326"/>
                  </a:lnTo>
                  <a:lnTo>
                    <a:pt x="1404" y="1320"/>
                  </a:lnTo>
                  <a:lnTo>
                    <a:pt x="1404" y="1314"/>
                  </a:lnTo>
                  <a:lnTo>
                    <a:pt x="1374" y="1308"/>
                  </a:lnTo>
                  <a:lnTo>
                    <a:pt x="1368" y="1326"/>
                  </a:lnTo>
                  <a:lnTo>
                    <a:pt x="1344" y="1338"/>
                  </a:lnTo>
                  <a:lnTo>
                    <a:pt x="1326" y="1332"/>
                  </a:lnTo>
                  <a:lnTo>
                    <a:pt x="1302" y="1332"/>
                  </a:lnTo>
                  <a:lnTo>
                    <a:pt x="1278" y="1338"/>
                  </a:lnTo>
                  <a:lnTo>
                    <a:pt x="1236" y="1338"/>
                  </a:lnTo>
                  <a:lnTo>
                    <a:pt x="1224" y="1338"/>
                  </a:lnTo>
                  <a:lnTo>
                    <a:pt x="1224" y="1326"/>
                  </a:lnTo>
                  <a:lnTo>
                    <a:pt x="1206" y="1326"/>
                  </a:lnTo>
                  <a:lnTo>
                    <a:pt x="1170" y="1326"/>
                  </a:lnTo>
                  <a:lnTo>
                    <a:pt x="1152" y="1326"/>
                  </a:lnTo>
                  <a:lnTo>
                    <a:pt x="1140" y="1314"/>
                  </a:lnTo>
                  <a:lnTo>
                    <a:pt x="1134" y="1296"/>
                  </a:lnTo>
                  <a:lnTo>
                    <a:pt x="1134" y="1284"/>
                  </a:lnTo>
                  <a:lnTo>
                    <a:pt x="1128" y="1254"/>
                  </a:lnTo>
                  <a:lnTo>
                    <a:pt x="1128" y="1242"/>
                  </a:lnTo>
                  <a:lnTo>
                    <a:pt x="1122" y="1230"/>
                  </a:lnTo>
                  <a:lnTo>
                    <a:pt x="1104" y="1218"/>
                  </a:lnTo>
                  <a:lnTo>
                    <a:pt x="1104" y="1212"/>
                  </a:lnTo>
                  <a:lnTo>
                    <a:pt x="1092" y="1206"/>
                  </a:lnTo>
                  <a:lnTo>
                    <a:pt x="1080" y="1194"/>
                  </a:lnTo>
                  <a:lnTo>
                    <a:pt x="1068" y="1176"/>
                  </a:lnTo>
                  <a:lnTo>
                    <a:pt x="1050" y="1152"/>
                  </a:lnTo>
                  <a:lnTo>
                    <a:pt x="1020" y="1098"/>
                  </a:lnTo>
                  <a:lnTo>
                    <a:pt x="978" y="1026"/>
                  </a:lnTo>
                  <a:lnTo>
                    <a:pt x="978" y="1014"/>
                  </a:lnTo>
                  <a:lnTo>
                    <a:pt x="972" y="1014"/>
                  </a:lnTo>
                  <a:lnTo>
                    <a:pt x="972" y="1008"/>
                  </a:lnTo>
                  <a:lnTo>
                    <a:pt x="978" y="1002"/>
                  </a:lnTo>
                  <a:lnTo>
                    <a:pt x="960" y="966"/>
                  </a:lnTo>
                  <a:lnTo>
                    <a:pt x="948" y="954"/>
                  </a:lnTo>
                  <a:lnTo>
                    <a:pt x="948" y="936"/>
                  </a:lnTo>
                  <a:lnTo>
                    <a:pt x="936" y="900"/>
                  </a:lnTo>
                  <a:lnTo>
                    <a:pt x="942" y="876"/>
                  </a:lnTo>
                  <a:lnTo>
                    <a:pt x="942" y="834"/>
                  </a:lnTo>
                  <a:lnTo>
                    <a:pt x="960" y="828"/>
                  </a:lnTo>
                  <a:lnTo>
                    <a:pt x="966" y="816"/>
                  </a:lnTo>
                  <a:lnTo>
                    <a:pt x="972" y="810"/>
                  </a:lnTo>
                  <a:lnTo>
                    <a:pt x="978" y="804"/>
                  </a:lnTo>
                  <a:lnTo>
                    <a:pt x="996" y="798"/>
                  </a:lnTo>
                  <a:lnTo>
                    <a:pt x="996" y="792"/>
                  </a:lnTo>
                  <a:lnTo>
                    <a:pt x="1014" y="780"/>
                  </a:lnTo>
                  <a:lnTo>
                    <a:pt x="1026" y="768"/>
                  </a:lnTo>
                  <a:lnTo>
                    <a:pt x="1032" y="762"/>
                  </a:lnTo>
                  <a:lnTo>
                    <a:pt x="1026" y="756"/>
                  </a:lnTo>
                  <a:lnTo>
                    <a:pt x="1014" y="744"/>
                  </a:lnTo>
                  <a:lnTo>
                    <a:pt x="996" y="756"/>
                  </a:lnTo>
                  <a:lnTo>
                    <a:pt x="954" y="768"/>
                  </a:lnTo>
                  <a:lnTo>
                    <a:pt x="942" y="762"/>
                  </a:lnTo>
                  <a:lnTo>
                    <a:pt x="942" y="756"/>
                  </a:lnTo>
                  <a:lnTo>
                    <a:pt x="936" y="750"/>
                  </a:lnTo>
                  <a:lnTo>
                    <a:pt x="846" y="732"/>
                  </a:lnTo>
                  <a:lnTo>
                    <a:pt x="822" y="726"/>
                  </a:lnTo>
                  <a:lnTo>
                    <a:pt x="810" y="714"/>
                  </a:lnTo>
                  <a:lnTo>
                    <a:pt x="792" y="690"/>
                  </a:lnTo>
                  <a:lnTo>
                    <a:pt x="792" y="678"/>
                  </a:lnTo>
                  <a:lnTo>
                    <a:pt x="762" y="642"/>
                  </a:lnTo>
                  <a:lnTo>
                    <a:pt x="750" y="636"/>
                  </a:lnTo>
                  <a:lnTo>
                    <a:pt x="726" y="630"/>
                  </a:lnTo>
                  <a:lnTo>
                    <a:pt x="696" y="642"/>
                  </a:lnTo>
                  <a:lnTo>
                    <a:pt x="678" y="654"/>
                  </a:lnTo>
                  <a:lnTo>
                    <a:pt x="666" y="684"/>
                  </a:lnTo>
                  <a:lnTo>
                    <a:pt x="660" y="726"/>
                  </a:lnTo>
                  <a:lnTo>
                    <a:pt x="606" y="756"/>
                  </a:lnTo>
                  <a:lnTo>
                    <a:pt x="558" y="780"/>
                  </a:lnTo>
                  <a:lnTo>
                    <a:pt x="438" y="834"/>
                  </a:lnTo>
                  <a:lnTo>
                    <a:pt x="402" y="846"/>
                  </a:lnTo>
                  <a:lnTo>
                    <a:pt x="372" y="870"/>
                  </a:lnTo>
                  <a:lnTo>
                    <a:pt x="360" y="876"/>
                  </a:lnTo>
                  <a:lnTo>
                    <a:pt x="354" y="876"/>
                  </a:lnTo>
                  <a:lnTo>
                    <a:pt x="330" y="882"/>
                  </a:lnTo>
                  <a:lnTo>
                    <a:pt x="306" y="882"/>
                  </a:lnTo>
                  <a:lnTo>
                    <a:pt x="300" y="876"/>
                  </a:lnTo>
                  <a:lnTo>
                    <a:pt x="294" y="876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76" y="864"/>
                  </a:lnTo>
                  <a:lnTo>
                    <a:pt x="270" y="870"/>
                  </a:lnTo>
                  <a:lnTo>
                    <a:pt x="264" y="870"/>
                  </a:lnTo>
                  <a:lnTo>
                    <a:pt x="240" y="894"/>
                  </a:lnTo>
                  <a:lnTo>
                    <a:pt x="234" y="894"/>
                  </a:lnTo>
                  <a:lnTo>
                    <a:pt x="228" y="900"/>
                  </a:lnTo>
                  <a:lnTo>
                    <a:pt x="222" y="906"/>
                  </a:lnTo>
                  <a:lnTo>
                    <a:pt x="210" y="912"/>
                  </a:lnTo>
                  <a:lnTo>
                    <a:pt x="204" y="912"/>
                  </a:lnTo>
                  <a:lnTo>
                    <a:pt x="198" y="912"/>
                  </a:lnTo>
                  <a:lnTo>
                    <a:pt x="192" y="918"/>
                  </a:lnTo>
                  <a:lnTo>
                    <a:pt x="180" y="918"/>
                  </a:lnTo>
                  <a:lnTo>
                    <a:pt x="174" y="930"/>
                  </a:lnTo>
                  <a:lnTo>
                    <a:pt x="174" y="936"/>
                  </a:lnTo>
                  <a:lnTo>
                    <a:pt x="168" y="942"/>
                  </a:lnTo>
                  <a:lnTo>
                    <a:pt x="162" y="942"/>
                  </a:lnTo>
                  <a:lnTo>
                    <a:pt x="150" y="960"/>
                  </a:lnTo>
                  <a:lnTo>
                    <a:pt x="144" y="966"/>
                  </a:lnTo>
                  <a:lnTo>
                    <a:pt x="138" y="972"/>
                  </a:lnTo>
                  <a:lnTo>
                    <a:pt x="132" y="972"/>
                  </a:lnTo>
                  <a:lnTo>
                    <a:pt x="126" y="984"/>
                  </a:lnTo>
                  <a:lnTo>
                    <a:pt x="120" y="984"/>
                  </a:lnTo>
                  <a:lnTo>
                    <a:pt x="114" y="990"/>
                  </a:lnTo>
                  <a:lnTo>
                    <a:pt x="96" y="990"/>
                  </a:lnTo>
                  <a:lnTo>
                    <a:pt x="90" y="990"/>
                  </a:lnTo>
                  <a:lnTo>
                    <a:pt x="78" y="990"/>
                  </a:lnTo>
                  <a:lnTo>
                    <a:pt x="72" y="990"/>
                  </a:lnTo>
                  <a:lnTo>
                    <a:pt x="60" y="990"/>
                  </a:lnTo>
                  <a:lnTo>
                    <a:pt x="42" y="990"/>
                  </a:lnTo>
                  <a:lnTo>
                    <a:pt x="36" y="996"/>
                  </a:lnTo>
                  <a:lnTo>
                    <a:pt x="30" y="1002"/>
                  </a:lnTo>
                  <a:lnTo>
                    <a:pt x="24" y="1014"/>
                  </a:lnTo>
                  <a:lnTo>
                    <a:pt x="24" y="1020"/>
                  </a:lnTo>
                  <a:lnTo>
                    <a:pt x="18" y="1020"/>
                  </a:lnTo>
                  <a:lnTo>
                    <a:pt x="12" y="1014"/>
                  </a:lnTo>
                  <a:lnTo>
                    <a:pt x="12" y="1008"/>
                  </a:lnTo>
                  <a:lnTo>
                    <a:pt x="12" y="990"/>
                  </a:lnTo>
                  <a:lnTo>
                    <a:pt x="12" y="984"/>
                  </a:lnTo>
                  <a:lnTo>
                    <a:pt x="12" y="972"/>
                  </a:lnTo>
                  <a:lnTo>
                    <a:pt x="12" y="966"/>
                  </a:lnTo>
                  <a:lnTo>
                    <a:pt x="6" y="966"/>
                  </a:lnTo>
                  <a:lnTo>
                    <a:pt x="6" y="960"/>
                  </a:lnTo>
                  <a:lnTo>
                    <a:pt x="6" y="954"/>
                  </a:lnTo>
                  <a:lnTo>
                    <a:pt x="6" y="948"/>
                  </a:lnTo>
                  <a:lnTo>
                    <a:pt x="6" y="942"/>
                  </a:lnTo>
                  <a:lnTo>
                    <a:pt x="12" y="930"/>
                  </a:lnTo>
                  <a:lnTo>
                    <a:pt x="6" y="924"/>
                  </a:lnTo>
                  <a:lnTo>
                    <a:pt x="6" y="918"/>
                  </a:lnTo>
                  <a:lnTo>
                    <a:pt x="6" y="912"/>
                  </a:lnTo>
                  <a:lnTo>
                    <a:pt x="6" y="906"/>
                  </a:lnTo>
                  <a:lnTo>
                    <a:pt x="6" y="900"/>
                  </a:lnTo>
                  <a:lnTo>
                    <a:pt x="0" y="894"/>
                  </a:lnTo>
                  <a:lnTo>
                    <a:pt x="0" y="888"/>
                  </a:lnTo>
                  <a:lnTo>
                    <a:pt x="0" y="882"/>
                  </a:lnTo>
                  <a:lnTo>
                    <a:pt x="6" y="876"/>
                  </a:lnTo>
                  <a:lnTo>
                    <a:pt x="6" y="870"/>
                  </a:lnTo>
                  <a:lnTo>
                    <a:pt x="18" y="864"/>
                  </a:lnTo>
                  <a:lnTo>
                    <a:pt x="18" y="858"/>
                  </a:lnTo>
                  <a:lnTo>
                    <a:pt x="18" y="846"/>
                  </a:lnTo>
                  <a:lnTo>
                    <a:pt x="18" y="834"/>
                  </a:lnTo>
                  <a:lnTo>
                    <a:pt x="18" y="828"/>
                  </a:lnTo>
                  <a:lnTo>
                    <a:pt x="24" y="828"/>
                  </a:lnTo>
                  <a:lnTo>
                    <a:pt x="24" y="810"/>
                  </a:lnTo>
                  <a:lnTo>
                    <a:pt x="24" y="804"/>
                  </a:lnTo>
                  <a:lnTo>
                    <a:pt x="18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24" y="792"/>
                  </a:lnTo>
                  <a:lnTo>
                    <a:pt x="30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6" y="762"/>
                  </a:lnTo>
                  <a:lnTo>
                    <a:pt x="36" y="756"/>
                  </a:lnTo>
                  <a:lnTo>
                    <a:pt x="30" y="756"/>
                  </a:lnTo>
                  <a:lnTo>
                    <a:pt x="30" y="750"/>
                  </a:lnTo>
                  <a:lnTo>
                    <a:pt x="36" y="750"/>
                  </a:lnTo>
                  <a:lnTo>
                    <a:pt x="36" y="744"/>
                  </a:lnTo>
                  <a:lnTo>
                    <a:pt x="30" y="744"/>
                  </a:lnTo>
                  <a:lnTo>
                    <a:pt x="30" y="738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0" y="732"/>
                  </a:lnTo>
                  <a:lnTo>
                    <a:pt x="36" y="726"/>
                  </a:lnTo>
                  <a:lnTo>
                    <a:pt x="30" y="726"/>
                  </a:lnTo>
                  <a:lnTo>
                    <a:pt x="24" y="726"/>
                  </a:lnTo>
                  <a:lnTo>
                    <a:pt x="30" y="720"/>
                  </a:lnTo>
                  <a:lnTo>
                    <a:pt x="30" y="714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696"/>
                  </a:lnTo>
                  <a:lnTo>
                    <a:pt x="66" y="702"/>
                  </a:lnTo>
                  <a:lnTo>
                    <a:pt x="78" y="702"/>
                  </a:lnTo>
                  <a:lnTo>
                    <a:pt x="84" y="702"/>
                  </a:lnTo>
                  <a:lnTo>
                    <a:pt x="96" y="696"/>
                  </a:lnTo>
                  <a:lnTo>
                    <a:pt x="102" y="690"/>
                  </a:lnTo>
                  <a:lnTo>
                    <a:pt x="102" y="684"/>
                  </a:lnTo>
                  <a:lnTo>
                    <a:pt x="114" y="684"/>
                  </a:lnTo>
                  <a:lnTo>
                    <a:pt x="144" y="684"/>
                  </a:lnTo>
                  <a:lnTo>
                    <a:pt x="150" y="690"/>
                  </a:lnTo>
                  <a:lnTo>
                    <a:pt x="162" y="696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6" y="690"/>
                  </a:lnTo>
                  <a:lnTo>
                    <a:pt x="192" y="690"/>
                  </a:lnTo>
                  <a:lnTo>
                    <a:pt x="198" y="684"/>
                  </a:lnTo>
                  <a:lnTo>
                    <a:pt x="204" y="684"/>
                  </a:lnTo>
                  <a:lnTo>
                    <a:pt x="210" y="684"/>
                  </a:lnTo>
                  <a:lnTo>
                    <a:pt x="222" y="678"/>
                  </a:lnTo>
                  <a:lnTo>
                    <a:pt x="228" y="678"/>
                  </a:lnTo>
                  <a:lnTo>
                    <a:pt x="228" y="660"/>
                  </a:lnTo>
                  <a:lnTo>
                    <a:pt x="234" y="642"/>
                  </a:lnTo>
                  <a:lnTo>
                    <a:pt x="246" y="618"/>
                  </a:lnTo>
                  <a:lnTo>
                    <a:pt x="252" y="618"/>
                  </a:lnTo>
                  <a:lnTo>
                    <a:pt x="252" y="600"/>
                  </a:lnTo>
                  <a:lnTo>
                    <a:pt x="252" y="588"/>
                  </a:lnTo>
                  <a:lnTo>
                    <a:pt x="252" y="582"/>
                  </a:lnTo>
                  <a:lnTo>
                    <a:pt x="258" y="576"/>
                  </a:lnTo>
                  <a:lnTo>
                    <a:pt x="270" y="564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70" y="522"/>
                  </a:lnTo>
                  <a:lnTo>
                    <a:pt x="270" y="510"/>
                  </a:lnTo>
                  <a:lnTo>
                    <a:pt x="270" y="498"/>
                  </a:lnTo>
                  <a:lnTo>
                    <a:pt x="258" y="468"/>
                  </a:lnTo>
                  <a:lnTo>
                    <a:pt x="252" y="456"/>
                  </a:lnTo>
                  <a:lnTo>
                    <a:pt x="258" y="444"/>
                  </a:lnTo>
                  <a:lnTo>
                    <a:pt x="264" y="432"/>
                  </a:lnTo>
                  <a:lnTo>
                    <a:pt x="270" y="426"/>
                  </a:lnTo>
                  <a:lnTo>
                    <a:pt x="276" y="420"/>
                  </a:lnTo>
                  <a:lnTo>
                    <a:pt x="288" y="420"/>
                  </a:lnTo>
                  <a:lnTo>
                    <a:pt x="288" y="414"/>
                  </a:lnTo>
                  <a:lnTo>
                    <a:pt x="294" y="414"/>
                  </a:lnTo>
                  <a:lnTo>
                    <a:pt x="306" y="390"/>
                  </a:lnTo>
                  <a:lnTo>
                    <a:pt x="312" y="384"/>
                  </a:lnTo>
                  <a:lnTo>
                    <a:pt x="318" y="378"/>
                  </a:lnTo>
                  <a:lnTo>
                    <a:pt x="318" y="372"/>
                  </a:lnTo>
                  <a:lnTo>
                    <a:pt x="324" y="366"/>
                  </a:lnTo>
                  <a:lnTo>
                    <a:pt x="330" y="354"/>
                  </a:lnTo>
                  <a:lnTo>
                    <a:pt x="336" y="348"/>
                  </a:lnTo>
                  <a:lnTo>
                    <a:pt x="336" y="330"/>
                  </a:lnTo>
                  <a:lnTo>
                    <a:pt x="342" y="324"/>
                  </a:lnTo>
                  <a:lnTo>
                    <a:pt x="342" y="318"/>
                  </a:lnTo>
                  <a:lnTo>
                    <a:pt x="348" y="318"/>
                  </a:lnTo>
                  <a:lnTo>
                    <a:pt x="360" y="318"/>
                  </a:lnTo>
                  <a:lnTo>
                    <a:pt x="372" y="318"/>
                  </a:lnTo>
                  <a:lnTo>
                    <a:pt x="384" y="306"/>
                  </a:lnTo>
                  <a:lnTo>
                    <a:pt x="396" y="300"/>
                  </a:lnTo>
                  <a:lnTo>
                    <a:pt x="396" y="294"/>
                  </a:lnTo>
                  <a:lnTo>
                    <a:pt x="396" y="288"/>
                  </a:lnTo>
                  <a:lnTo>
                    <a:pt x="390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2"/>
                  </a:lnTo>
                  <a:lnTo>
                    <a:pt x="378" y="246"/>
                  </a:lnTo>
                  <a:lnTo>
                    <a:pt x="384" y="228"/>
                  </a:lnTo>
                  <a:lnTo>
                    <a:pt x="390" y="216"/>
                  </a:lnTo>
                  <a:lnTo>
                    <a:pt x="402" y="210"/>
                  </a:lnTo>
                  <a:lnTo>
                    <a:pt x="408" y="210"/>
                  </a:lnTo>
                  <a:lnTo>
                    <a:pt x="420" y="204"/>
                  </a:lnTo>
                  <a:lnTo>
                    <a:pt x="444" y="198"/>
                  </a:lnTo>
                  <a:lnTo>
                    <a:pt x="462" y="192"/>
                  </a:lnTo>
                  <a:lnTo>
                    <a:pt x="474" y="186"/>
                  </a:lnTo>
                  <a:lnTo>
                    <a:pt x="480" y="192"/>
                  </a:lnTo>
                  <a:lnTo>
                    <a:pt x="492" y="192"/>
                  </a:lnTo>
                  <a:lnTo>
                    <a:pt x="498" y="192"/>
                  </a:lnTo>
                  <a:lnTo>
                    <a:pt x="504" y="192"/>
                  </a:lnTo>
                  <a:lnTo>
                    <a:pt x="510" y="192"/>
                  </a:lnTo>
                  <a:lnTo>
                    <a:pt x="516" y="186"/>
                  </a:lnTo>
                  <a:lnTo>
                    <a:pt x="522" y="180"/>
                  </a:lnTo>
                  <a:lnTo>
                    <a:pt x="522" y="174"/>
                  </a:lnTo>
                  <a:lnTo>
                    <a:pt x="528" y="168"/>
                  </a:lnTo>
                  <a:lnTo>
                    <a:pt x="534" y="168"/>
                  </a:lnTo>
                  <a:lnTo>
                    <a:pt x="534" y="156"/>
                  </a:lnTo>
                  <a:lnTo>
                    <a:pt x="534" y="150"/>
                  </a:lnTo>
                  <a:lnTo>
                    <a:pt x="552" y="138"/>
                  </a:lnTo>
                  <a:lnTo>
                    <a:pt x="558" y="126"/>
                  </a:lnTo>
                  <a:lnTo>
                    <a:pt x="558" y="114"/>
                  </a:lnTo>
                  <a:lnTo>
                    <a:pt x="564" y="102"/>
                  </a:lnTo>
                  <a:lnTo>
                    <a:pt x="564" y="96"/>
                  </a:lnTo>
                  <a:lnTo>
                    <a:pt x="564" y="90"/>
                  </a:lnTo>
                  <a:lnTo>
                    <a:pt x="564" y="72"/>
                  </a:lnTo>
                  <a:lnTo>
                    <a:pt x="564" y="60"/>
                  </a:lnTo>
                  <a:lnTo>
                    <a:pt x="564" y="54"/>
                  </a:lnTo>
                  <a:lnTo>
                    <a:pt x="570" y="42"/>
                  </a:lnTo>
                  <a:lnTo>
                    <a:pt x="576" y="42"/>
                  </a:lnTo>
                  <a:lnTo>
                    <a:pt x="582" y="36"/>
                  </a:lnTo>
                  <a:lnTo>
                    <a:pt x="594" y="36"/>
                  </a:lnTo>
                  <a:lnTo>
                    <a:pt x="594" y="30"/>
                  </a:lnTo>
                  <a:lnTo>
                    <a:pt x="600" y="24"/>
                  </a:lnTo>
                  <a:lnTo>
                    <a:pt x="600" y="12"/>
                  </a:lnTo>
                  <a:lnTo>
                    <a:pt x="606" y="6"/>
                  </a:lnTo>
                  <a:lnTo>
                    <a:pt x="606" y="0"/>
                  </a:lnTo>
                  <a:lnTo>
                    <a:pt x="612" y="0"/>
                  </a:lnTo>
                  <a:lnTo>
                    <a:pt x="618" y="0"/>
                  </a:lnTo>
                  <a:lnTo>
                    <a:pt x="624" y="6"/>
                  </a:lnTo>
                  <a:lnTo>
                    <a:pt x="624" y="12"/>
                  </a:lnTo>
                  <a:lnTo>
                    <a:pt x="624" y="18"/>
                  </a:lnTo>
                  <a:lnTo>
                    <a:pt x="624" y="24"/>
                  </a:lnTo>
                  <a:lnTo>
                    <a:pt x="624" y="30"/>
                  </a:lnTo>
                  <a:lnTo>
                    <a:pt x="630" y="30"/>
                  </a:lnTo>
                  <a:lnTo>
                    <a:pt x="630" y="36"/>
                  </a:lnTo>
                  <a:lnTo>
                    <a:pt x="630" y="42"/>
                  </a:lnTo>
                  <a:lnTo>
                    <a:pt x="630" y="48"/>
                  </a:lnTo>
                  <a:lnTo>
                    <a:pt x="636" y="54"/>
                  </a:lnTo>
                  <a:lnTo>
                    <a:pt x="642" y="48"/>
                  </a:lnTo>
                  <a:lnTo>
                    <a:pt x="648" y="48"/>
                  </a:lnTo>
                  <a:lnTo>
                    <a:pt x="648" y="60"/>
                  </a:lnTo>
                  <a:lnTo>
                    <a:pt x="654" y="66"/>
                  </a:lnTo>
                  <a:lnTo>
                    <a:pt x="660" y="72"/>
                  </a:lnTo>
                  <a:lnTo>
                    <a:pt x="666" y="72"/>
                  </a:lnTo>
                  <a:lnTo>
                    <a:pt x="666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72" y="66"/>
                  </a:lnTo>
                  <a:lnTo>
                    <a:pt x="678" y="66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6" y="66"/>
                  </a:lnTo>
                  <a:lnTo>
                    <a:pt x="696" y="72"/>
                  </a:lnTo>
                  <a:lnTo>
                    <a:pt x="702" y="72"/>
                  </a:lnTo>
                  <a:lnTo>
                    <a:pt x="708" y="72"/>
                  </a:lnTo>
                  <a:lnTo>
                    <a:pt x="720" y="66"/>
                  </a:lnTo>
                  <a:lnTo>
                    <a:pt x="726" y="78"/>
                  </a:lnTo>
                  <a:lnTo>
                    <a:pt x="744" y="84"/>
                  </a:lnTo>
                  <a:lnTo>
                    <a:pt x="744" y="90"/>
                  </a:lnTo>
                  <a:lnTo>
                    <a:pt x="744" y="96"/>
                  </a:lnTo>
                  <a:lnTo>
                    <a:pt x="738" y="96"/>
                  </a:lnTo>
                  <a:lnTo>
                    <a:pt x="738" y="102"/>
                  </a:lnTo>
                  <a:lnTo>
                    <a:pt x="732" y="102"/>
                  </a:lnTo>
                  <a:lnTo>
                    <a:pt x="732" y="108"/>
                  </a:lnTo>
                  <a:lnTo>
                    <a:pt x="738" y="108"/>
                  </a:lnTo>
                  <a:lnTo>
                    <a:pt x="744" y="114"/>
                  </a:lnTo>
                  <a:lnTo>
                    <a:pt x="750" y="108"/>
                  </a:lnTo>
                  <a:lnTo>
                    <a:pt x="756" y="108"/>
                  </a:lnTo>
                  <a:lnTo>
                    <a:pt x="762" y="108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80" y="120"/>
                  </a:lnTo>
                  <a:lnTo>
                    <a:pt x="774" y="120"/>
                  </a:lnTo>
                  <a:lnTo>
                    <a:pt x="768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74" y="138"/>
                  </a:lnTo>
                  <a:lnTo>
                    <a:pt x="774" y="132"/>
                  </a:lnTo>
                  <a:lnTo>
                    <a:pt x="780" y="132"/>
                  </a:lnTo>
                  <a:lnTo>
                    <a:pt x="786" y="132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44"/>
                  </a:lnTo>
                  <a:lnTo>
                    <a:pt x="786" y="150"/>
                  </a:lnTo>
                  <a:lnTo>
                    <a:pt x="780" y="150"/>
                  </a:lnTo>
                  <a:lnTo>
                    <a:pt x="774" y="150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74" y="162"/>
                  </a:lnTo>
                  <a:lnTo>
                    <a:pt x="780" y="162"/>
                  </a:lnTo>
                  <a:lnTo>
                    <a:pt x="786" y="168"/>
                  </a:lnTo>
                  <a:lnTo>
                    <a:pt x="792" y="162"/>
                  </a:lnTo>
                  <a:lnTo>
                    <a:pt x="798" y="168"/>
                  </a:lnTo>
                  <a:lnTo>
                    <a:pt x="798" y="174"/>
                  </a:lnTo>
                  <a:lnTo>
                    <a:pt x="804" y="168"/>
                  </a:lnTo>
                  <a:lnTo>
                    <a:pt x="810" y="168"/>
                  </a:lnTo>
                  <a:lnTo>
                    <a:pt x="810" y="174"/>
                  </a:lnTo>
                  <a:lnTo>
                    <a:pt x="816" y="168"/>
                  </a:lnTo>
                  <a:lnTo>
                    <a:pt x="822" y="162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74"/>
                  </a:lnTo>
                  <a:lnTo>
                    <a:pt x="834" y="192"/>
                  </a:lnTo>
                  <a:lnTo>
                    <a:pt x="834" y="198"/>
                  </a:lnTo>
                  <a:lnTo>
                    <a:pt x="840" y="192"/>
                  </a:lnTo>
                  <a:lnTo>
                    <a:pt x="846" y="192"/>
                  </a:lnTo>
                  <a:lnTo>
                    <a:pt x="852" y="186"/>
                  </a:lnTo>
                  <a:lnTo>
                    <a:pt x="858" y="192"/>
                  </a:lnTo>
                  <a:lnTo>
                    <a:pt x="864" y="192"/>
                  </a:lnTo>
                  <a:lnTo>
                    <a:pt x="870" y="198"/>
                  </a:lnTo>
                  <a:lnTo>
                    <a:pt x="876" y="180"/>
                  </a:lnTo>
                  <a:lnTo>
                    <a:pt x="882" y="180"/>
                  </a:lnTo>
                  <a:lnTo>
                    <a:pt x="888" y="180"/>
                  </a:lnTo>
                  <a:lnTo>
                    <a:pt x="894" y="186"/>
                  </a:lnTo>
                  <a:lnTo>
                    <a:pt x="888" y="198"/>
                  </a:lnTo>
                  <a:lnTo>
                    <a:pt x="894" y="204"/>
                  </a:lnTo>
                  <a:lnTo>
                    <a:pt x="906" y="210"/>
                  </a:lnTo>
                  <a:lnTo>
                    <a:pt x="918" y="246"/>
                  </a:lnTo>
                  <a:lnTo>
                    <a:pt x="930" y="258"/>
                  </a:lnTo>
                  <a:lnTo>
                    <a:pt x="942" y="282"/>
                  </a:lnTo>
                  <a:lnTo>
                    <a:pt x="966" y="288"/>
                  </a:lnTo>
                  <a:lnTo>
                    <a:pt x="972" y="300"/>
                  </a:lnTo>
                  <a:lnTo>
                    <a:pt x="972" y="318"/>
                  </a:lnTo>
                  <a:lnTo>
                    <a:pt x="996" y="336"/>
                  </a:lnTo>
                  <a:lnTo>
                    <a:pt x="1050" y="390"/>
                  </a:lnTo>
                  <a:lnTo>
                    <a:pt x="1116" y="462"/>
                  </a:lnTo>
                  <a:lnTo>
                    <a:pt x="1122" y="468"/>
                  </a:lnTo>
                  <a:lnTo>
                    <a:pt x="1128" y="474"/>
                  </a:lnTo>
                  <a:lnTo>
                    <a:pt x="1140" y="474"/>
                  </a:lnTo>
                  <a:lnTo>
                    <a:pt x="1152" y="486"/>
                  </a:lnTo>
                  <a:lnTo>
                    <a:pt x="1152" y="492"/>
                  </a:lnTo>
                  <a:lnTo>
                    <a:pt x="1158" y="492"/>
                  </a:lnTo>
                  <a:lnTo>
                    <a:pt x="1164" y="492"/>
                  </a:lnTo>
                  <a:lnTo>
                    <a:pt x="1170" y="504"/>
                  </a:lnTo>
                  <a:lnTo>
                    <a:pt x="1176" y="504"/>
                  </a:lnTo>
                  <a:lnTo>
                    <a:pt x="1176" y="510"/>
                  </a:lnTo>
                  <a:lnTo>
                    <a:pt x="1200" y="516"/>
                  </a:lnTo>
                  <a:lnTo>
                    <a:pt x="1200" y="522"/>
                  </a:lnTo>
                  <a:lnTo>
                    <a:pt x="1212" y="534"/>
                  </a:lnTo>
                  <a:lnTo>
                    <a:pt x="1218" y="540"/>
                  </a:lnTo>
                  <a:lnTo>
                    <a:pt x="1224" y="552"/>
                  </a:lnTo>
                  <a:lnTo>
                    <a:pt x="1230" y="552"/>
                  </a:lnTo>
                  <a:lnTo>
                    <a:pt x="1242" y="552"/>
                  </a:lnTo>
                  <a:lnTo>
                    <a:pt x="1248" y="558"/>
                  </a:lnTo>
                  <a:lnTo>
                    <a:pt x="1254" y="558"/>
                  </a:lnTo>
                  <a:lnTo>
                    <a:pt x="1260" y="564"/>
                  </a:lnTo>
                  <a:lnTo>
                    <a:pt x="1266" y="564"/>
                  </a:lnTo>
                  <a:lnTo>
                    <a:pt x="1272" y="564"/>
                  </a:lnTo>
                  <a:lnTo>
                    <a:pt x="1284" y="564"/>
                  </a:lnTo>
                  <a:lnTo>
                    <a:pt x="1290" y="570"/>
                  </a:lnTo>
                  <a:lnTo>
                    <a:pt x="1296" y="576"/>
                  </a:lnTo>
                  <a:lnTo>
                    <a:pt x="1302" y="588"/>
                  </a:lnTo>
                  <a:lnTo>
                    <a:pt x="1296" y="594"/>
                  </a:lnTo>
                  <a:lnTo>
                    <a:pt x="1296" y="600"/>
                  </a:lnTo>
                  <a:lnTo>
                    <a:pt x="1296" y="606"/>
                  </a:lnTo>
                  <a:lnTo>
                    <a:pt x="1290" y="612"/>
                  </a:lnTo>
                  <a:lnTo>
                    <a:pt x="1290" y="624"/>
                  </a:lnTo>
                  <a:lnTo>
                    <a:pt x="1290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308" y="654"/>
                  </a:lnTo>
                  <a:lnTo>
                    <a:pt x="1320" y="654"/>
                  </a:lnTo>
                  <a:lnTo>
                    <a:pt x="1326" y="660"/>
                  </a:lnTo>
                  <a:lnTo>
                    <a:pt x="1338" y="654"/>
                  </a:lnTo>
                  <a:lnTo>
                    <a:pt x="1344" y="654"/>
                  </a:lnTo>
                  <a:lnTo>
                    <a:pt x="1356" y="654"/>
                  </a:lnTo>
                  <a:lnTo>
                    <a:pt x="1362" y="648"/>
                  </a:lnTo>
                  <a:lnTo>
                    <a:pt x="1368" y="642"/>
                  </a:lnTo>
                  <a:lnTo>
                    <a:pt x="1374" y="636"/>
                  </a:lnTo>
                  <a:lnTo>
                    <a:pt x="1380" y="636"/>
                  </a:lnTo>
                  <a:lnTo>
                    <a:pt x="1392" y="636"/>
                  </a:lnTo>
                  <a:lnTo>
                    <a:pt x="1398" y="636"/>
                  </a:lnTo>
                  <a:lnTo>
                    <a:pt x="1404" y="636"/>
                  </a:lnTo>
                  <a:lnTo>
                    <a:pt x="1410" y="630"/>
                  </a:lnTo>
                  <a:lnTo>
                    <a:pt x="1410" y="624"/>
                  </a:lnTo>
                  <a:lnTo>
                    <a:pt x="1422" y="618"/>
                  </a:lnTo>
                  <a:lnTo>
                    <a:pt x="1428" y="618"/>
                  </a:lnTo>
                  <a:lnTo>
                    <a:pt x="1440" y="612"/>
                  </a:lnTo>
                  <a:lnTo>
                    <a:pt x="1446" y="612"/>
                  </a:lnTo>
                  <a:lnTo>
                    <a:pt x="1458" y="612"/>
                  </a:lnTo>
                  <a:lnTo>
                    <a:pt x="1470" y="624"/>
                  </a:lnTo>
                  <a:lnTo>
                    <a:pt x="1488" y="642"/>
                  </a:lnTo>
                  <a:lnTo>
                    <a:pt x="1500" y="648"/>
                  </a:lnTo>
                  <a:lnTo>
                    <a:pt x="1512" y="654"/>
                  </a:lnTo>
                  <a:lnTo>
                    <a:pt x="1518" y="660"/>
                  </a:lnTo>
                  <a:lnTo>
                    <a:pt x="1524" y="660"/>
                  </a:lnTo>
                  <a:lnTo>
                    <a:pt x="1530" y="660"/>
                  </a:lnTo>
                  <a:lnTo>
                    <a:pt x="1536" y="666"/>
                  </a:lnTo>
                  <a:lnTo>
                    <a:pt x="1542" y="672"/>
                  </a:lnTo>
                  <a:lnTo>
                    <a:pt x="1548" y="672"/>
                  </a:lnTo>
                  <a:lnTo>
                    <a:pt x="1554" y="684"/>
                  </a:lnTo>
                  <a:lnTo>
                    <a:pt x="1554" y="690"/>
                  </a:lnTo>
                  <a:lnTo>
                    <a:pt x="1566" y="702"/>
                  </a:lnTo>
                  <a:lnTo>
                    <a:pt x="1572" y="720"/>
                  </a:lnTo>
                  <a:lnTo>
                    <a:pt x="1572" y="726"/>
                  </a:lnTo>
                  <a:lnTo>
                    <a:pt x="1578" y="732"/>
                  </a:lnTo>
                  <a:lnTo>
                    <a:pt x="1584" y="738"/>
                  </a:lnTo>
                  <a:lnTo>
                    <a:pt x="1590" y="738"/>
                  </a:lnTo>
                  <a:lnTo>
                    <a:pt x="1596" y="738"/>
                  </a:lnTo>
                  <a:lnTo>
                    <a:pt x="1602" y="744"/>
                  </a:lnTo>
                  <a:lnTo>
                    <a:pt x="1608" y="744"/>
                  </a:lnTo>
                  <a:lnTo>
                    <a:pt x="1614" y="744"/>
                  </a:lnTo>
                  <a:lnTo>
                    <a:pt x="1626" y="744"/>
                  </a:lnTo>
                  <a:lnTo>
                    <a:pt x="1638" y="744"/>
                  </a:lnTo>
                  <a:lnTo>
                    <a:pt x="1650" y="744"/>
                  </a:lnTo>
                  <a:lnTo>
                    <a:pt x="1662" y="744"/>
                  </a:lnTo>
                  <a:lnTo>
                    <a:pt x="1668" y="744"/>
                  </a:lnTo>
                  <a:lnTo>
                    <a:pt x="1674" y="744"/>
                  </a:lnTo>
                  <a:lnTo>
                    <a:pt x="1686" y="744"/>
                  </a:lnTo>
                  <a:lnTo>
                    <a:pt x="1698" y="750"/>
                  </a:lnTo>
                  <a:lnTo>
                    <a:pt x="1704" y="750"/>
                  </a:lnTo>
                  <a:lnTo>
                    <a:pt x="1716" y="756"/>
                  </a:lnTo>
                  <a:lnTo>
                    <a:pt x="1722" y="756"/>
                  </a:lnTo>
                  <a:lnTo>
                    <a:pt x="1728" y="756"/>
                  </a:lnTo>
                  <a:lnTo>
                    <a:pt x="1734" y="762"/>
                  </a:lnTo>
                  <a:lnTo>
                    <a:pt x="1740" y="768"/>
                  </a:lnTo>
                  <a:lnTo>
                    <a:pt x="1758" y="780"/>
                  </a:lnTo>
                  <a:lnTo>
                    <a:pt x="1770" y="780"/>
                  </a:lnTo>
                  <a:lnTo>
                    <a:pt x="1776" y="780"/>
                  </a:lnTo>
                  <a:lnTo>
                    <a:pt x="1782" y="780"/>
                  </a:lnTo>
                  <a:lnTo>
                    <a:pt x="1800" y="798"/>
                  </a:lnTo>
                  <a:lnTo>
                    <a:pt x="1818" y="810"/>
                  </a:lnTo>
                  <a:lnTo>
                    <a:pt x="1830" y="816"/>
                  </a:lnTo>
                  <a:lnTo>
                    <a:pt x="1836" y="822"/>
                  </a:lnTo>
                  <a:lnTo>
                    <a:pt x="1836" y="828"/>
                  </a:lnTo>
                  <a:lnTo>
                    <a:pt x="1842" y="828"/>
                  </a:lnTo>
                  <a:lnTo>
                    <a:pt x="1848" y="834"/>
                  </a:lnTo>
                  <a:lnTo>
                    <a:pt x="1854" y="840"/>
                  </a:lnTo>
                  <a:lnTo>
                    <a:pt x="1860" y="846"/>
                  </a:lnTo>
                  <a:lnTo>
                    <a:pt x="1872" y="852"/>
                  </a:lnTo>
                  <a:lnTo>
                    <a:pt x="1884" y="852"/>
                  </a:lnTo>
                  <a:lnTo>
                    <a:pt x="1896" y="852"/>
                  </a:lnTo>
                  <a:lnTo>
                    <a:pt x="1902" y="846"/>
                  </a:lnTo>
                  <a:lnTo>
                    <a:pt x="1908" y="852"/>
                  </a:lnTo>
                  <a:lnTo>
                    <a:pt x="1920" y="858"/>
                  </a:lnTo>
                  <a:lnTo>
                    <a:pt x="1926" y="870"/>
                  </a:lnTo>
                  <a:lnTo>
                    <a:pt x="1938" y="888"/>
                  </a:lnTo>
                  <a:lnTo>
                    <a:pt x="1944" y="900"/>
                  </a:lnTo>
                  <a:lnTo>
                    <a:pt x="1950" y="900"/>
                  </a:lnTo>
                  <a:lnTo>
                    <a:pt x="1962" y="906"/>
                  </a:lnTo>
                  <a:lnTo>
                    <a:pt x="1968" y="906"/>
                  </a:lnTo>
                  <a:lnTo>
                    <a:pt x="1980" y="906"/>
                  </a:lnTo>
                  <a:lnTo>
                    <a:pt x="1998" y="906"/>
                  </a:lnTo>
                  <a:lnTo>
                    <a:pt x="2010" y="900"/>
                  </a:lnTo>
                  <a:lnTo>
                    <a:pt x="2022" y="900"/>
                  </a:lnTo>
                  <a:lnTo>
                    <a:pt x="2028" y="900"/>
                  </a:lnTo>
                  <a:lnTo>
                    <a:pt x="2034" y="906"/>
                  </a:lnTo>
                  <a:lnTo>
                    <a:pt x="2046" y="906"/>
                  </a:lnTo>
                  <a:lnTo>
                    <a:pt x="2052" y="900"/>
                  </a:lnTo>
                  <a:lnTo>
                    <a:pt x="2058" y="900"/>
                  </a:lnTo>
                  <a:lnTo>
                    <a:pt x="2064" y="900"/>
                  </a:lnTo>
                  <a:lnTo>
                    <a:pt x="2070" y="900"/>
                  </a:lnTo>
                  <a:lnTo>
                    <a:pt x="2076" y="900"/>
                  </a:lnTo>
                  <a:lnTo>
                    <a:pt x="2076" y="906"/>
                  </a:lnTo>
                  <a:lnTo>
                    <a:pt x="2088" y="906"/>
                  </a:lnTo>
                  <a:lnTo>
                    <a:pt x="2106" y="900"/>
                  </a:lnTo>
                  <a:lnTo>
                    <a:pt x="2118" y="900"/>
                  </a:lnTo>
                  <a:lnTo>
                    <a:pt x="2130" y="900"/>
                  </a:lnTo>
                  <a:lnTo>
                    <a:pt x="2142" y="900"/>
                  </a:lnTo>
                  <a:lnTo>
                    <a:pt x="2148" y="906"/>
                  </a:lnTo>
                  <a:lnTo>
                    <a:pt x="2154" y="906"/>
                  </a:lnTo>
                  <a:lnTo>
                    <a:pt x="2160" y="906"/>
                  </a:lnTo>
                  <a:lnTo>
                    <a:pt x="2166" y="906"/>
                  </a:lnTo>
                  <a:lnTo>
                    <a:pt x="2178" y="918"/>
                  </a:lnTo>
                  <a:lnTo>
                    <a:pt x="2178" y="924"/>
                  </a:lnTo>
                  <a:lnTo>
                    <a:pt x="2184" y="924"/>
                  </a:lnTo>
                  <a:lnTo>
                    <a:pt x="2190" y="924"/>
                  </a:lnTo>
                  <a:lnTo>
                    <a:pt x="2196" y="924"/>
                  </a:lnTo>
                  <a:lnTo>
                    <a:pt x="2202" y="918"/>
                  </a:lnTo>
                  <a:lnTo>
                    <a:pt x="2208" y="918"/>
                  </a:lnTo>
                  <a:lnTo>
                    <a:pt x="2214" y="918"/>
                  </a:lnTo>
                  <a:lnTo>
                    <a:pt x="2226" y="918"/>
                  </a:lnTo>
                  <a:lnTo>
                    <a:pt x="2220" y="948"/>
                  </a:lnTo>
                  <a:lnTo>
                    <a:pt x="2214" y="972"/>
                  </a:lnTo>
                  <a:lnTo>
                    <a:pt x="2214" y="984"/>
                  </a:lnTo>
                  <a:lnTo>
                    <a:pt x="2208" y="990"/>
                  </a:lnTo>
                  <a:lnTo>
                    <a:pt x="2208" y="996"/>
                  </a:lnTo>
                  <a:lnTo>
                    <a:pt x="2202" y="996"/>
                  </a:lnTo>
                  <a:lnTo>
                    <a:pt x="2196" y="996"/>
                  </a:lnTo>
                  <a:lnTo>
                    <a:pt x="2190" y="1008"/>
                  </a:lnTo>
                  <a:lnTo>
                    <a:pt x="2172" y="1074"/>
                  </a:lnTo>
                  <a:lnTo>
                    <a:pt x="2166" y="1092"/>
                  </a:lnTo>
                  <a:lnTo>
                    <a:pt x="2172" y="1110"/>
                  </a:lnTo>
                  <a:lnTo>
                    <a:pt x="2172" y="1122"/>
                  </a:lnTo>
                  <a:lnTo>
                    <a:pt x="2166" y="1134"/>
                  </a:lnTo>
                  <a:lnTo>
                    <a:pt x="2148" y="1140"/>
                  </a:lnTo>
                  <a:lnTo>
                    <a:pt x="2148" y="1134"/>
                  </a:lnTo>
                  <a:lnTo>
                    <a:pt x="2118" y="1140"/>
                  </a:lnTo>
                  <a:lnTo>
                    <a:pt x="2088" y="1134"/>
                  </a:lnTo>
                  <a:lnTo>
                    <a:pt x="2064" y="1122"/>
                  </a:lnTo>
                  <a:lnTo>
                    <a:pt x="2034" y="1122"/>
                  </a:lnTo>
                  <a:lnTo>
                    <a:pt x="2022" y="1128"/>
                  </a:lnTo>
                  <a:lnTo>
                    <a:pt x="1986" y="1128"/>
                  </a:lnTo>
                  <a:lnTo>
                    <a:pt x="1938" y="1122"/>
                  </a:lnTo>
                  <a:lnTo>
                    <a:pt x="1932" y="1116"/>
                  </a:lnTo>
                  <a:lnTo>
                    <a:pt x="1896" y="1110"/>
                  </a:lnTo>
                  <a:lnTo>
                    <a:pt x="1878" y="1104"/>
                  </a:lnTo>
                  <a:lnTo>
                    <a:pt x="1866" y="1098"/>
                  </a:lnTo>
                  <a:lnTo>
                    <a:pt x="1860" y="1098"/>
                  </a:lnTo>
                  <a:lnTo>
                    <a:pt x="1854" y="1092"/>
                  </a:lnTo>
                  <a:lnTo>
                    <a:pt x="1860" y="1092"/>
                  </a:lnTo>
                  <a:lnTo>
                    <a:pt x="1860" y="1086"/>
                  </a:lnTo>
                  <a:lnTo>
                    <a:pt x="1854" y="1086"/>
                  </a:lnTo>
                  <a:lnTo>
                    <a:pt x="1842" y="1080"/>
                  </a:lnTo>
                  <a:lnTo>
                    <a:pt x="1818" y="1062"/>
                  </a:lnTo>
                  <a:lnTo>
                    <a:pt x="1782" y="1056"/>
                  </a:lnTo>
                  <a:lnTo>
                    <a:pt x="1770" y="1068"/>
                  </a:lnTo>
                  <a:lnTo>
                    <a:pt x="1746" y="1098"/>
                  </a:lnTo>
                  <a:lnTo>
                    <a:pt x="1722" y="1104"/>
                  </a:lnTo>
                  <a:lnTo>
                    <a:pt x="1710" y="1122"/>
                  </a:lnTo>
                  <a:lnTo>
                    <a:pt x="1710" y="1128"/>
                  </a:lnTo>
                  <a:lnTo>
                    <a:pt x="1710" y="1140"/>
                  </a:lnTo>
                  <a:lnTo>
                    <a:pt x="1698" y="1146"/>
                  </a:lnTo>
                  <a:lnTo>
                    <a:pt x="1686" y="1152"/>
                  </a:lnTo>
                  <a:lnTo>
                    <a:pt x="1680" y="1164"/>
                  </a:lnTo>
                  <a:lnTo>
                    <a:pt x="1680" y="1170"/>
                  </a:lnTo>
                  <a:lnTo>
                    <a:pt x="1686" y="1170"/>
                  </a:lnTo>
                  <a:lnTo>
                    <a:pt x="1686" y="1176"/>
                  </a:lnTo>
                  <a:lnTo>
                    <a:pt x="1698" y="1188"/>
                  </a:lnTo>
                  <a:lnTo>
                    <a:pt x="1704" y="1188"/>
                  </a:lnTo>
                  <a:lnTo>
                    <a:pt x="1698" y="1194"/>
                  </a:lnTo>
                  <a:lnTo>
                    <a:pt x="1704" y="1194"/>
                  </a:lnTo>
                  <a:lnTo>
                    <a:pt x="1704" y="1200"/>
                  </a:lnTo>
                  <a:lnTo>
                    <a:pt x="1704" y="1206"/>
                  </a:lnTo>
                  <a:lnTo>
                    <a:pt x="1704" y="1212"/>
                  </a:lnTo>
                  <a:lnTo>
                    <a:pt x="1704" y="1218"/>
                  </a:lnTo>
                  <a:lnTo>
                    <a:pt x="1710" y="1218"/>
                  </a:lnTo>
                  <a:lnTo>
                    <a:pt x="1710" y="1212"/>
                  </a:lnTo>
                  <a:lnTo>
                    <a:pt x="1716" y="1212"/>
                  </a:lnTo>
                  <a:lnTo>
                    <a:pt x="1716" y="1218"/>
                  </a:lnTo>
                  <a:lnTo>
                    <a:pt x="1716" y="1224"/>
                  </a:lnTo>
                  <a:lnTo>
                    <a:pt x="1716" y="1230"/>
                  </a:lnTo>
                  <a:lnTo>
                    <a:pt x="1722" y="1236"/>
                  </a:lnTo>
                  <a:lnTo>
                    <a:pt x="1740" y="1230"/>
                  </a:lnTo>
                  <a:lnTo>
                    <a:pt x="1734" y="1236"/>
                  </a:lnTo>
                  <a:lnTo>
                    <a:pt x="1734" y="1242"/>
                  </a:lnTo>
                  <a:lnTo>
                    <a:pt x="1734" y="1248"/>
                  </a:lnTo>
                  <a:lnTo>
                    <a:pt x="1734" y="1254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52" y="1266"/>
                  </a:lnTo>
                  <a:lnTo>
                    <a:pt x="1764" y="1266"/>
                  </a:lnTo>
                  <a:lnTo>
                    <a:pt x="1788" y="1260"/>
                  </a:lnTo>
                  <a:lnTo>
                    <a:pt x="1800" y="1260"/>
                  </a:lnTo>
                  <a:lnTo>
                    <a:pt x="1806" y="1272"/>
                  </a:lnTo>
                  <a:lnTo>
                    <a:pt x="1806" y="1296"/>
                  </a:lnTo>
                  <a:lnTo>
                    <a:pt x="1800" y="1308"/>
                  </a:lnTo>
                  <a:lnTo>
                    <a:pt x="1788" y="1308"/>
                  </a:lnTo>
                  <a:lnTo>
                    <a:pt x="1782" y="13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7" name="Freeform 32">
              <a:extLst>
                <a:ext uri="{FF2B5EF4-FFF2-40B4-BE49-F238E27FC236}">
                  <a16:creationId xmlns:a16="http://schemas.microsoft.com/office/drawing/2014/main" id="{1EF84438-BF7A-47D2-9156-E231EA2A279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3295" y="2316568"/>
              <a:ext cx="1290281" cy="1084704"/>
            </a:xfrm>
            <a:custGeom>
              <a:avLst/>
              <a:gdLst>
                <a:gd name="T0" fmla="*/ 177 w 2430"/>
                <a:gd name="T1" fmla="*/ 169 h 2040"/>
                <a:gd name="T2" fmla="*/ 174 w 2430"/>
                <a:gd name="T3" fmla="*/ 173 h 2040"/>
                <a:gd name="T4" fmla="*/ 169 w 2430"/>
                <a:gd name="T5" fmla="*/ 171 h 2040"/>
                <a:gd name="T6" fmla="*/ 160 w 2430"/>
                <a:gd name="T7" fmla="*/ 163 h 2040"/>
                <a:gd name="T8" fmla="*/ 154 w 2430"/>
                <a:gd name="T9" fmla="*/ 149 h 2040"/>
                <a:gd name="T10" fmla="*/ 144 w 2430"/>
                <a:gd name="T11" fmla="*/ 147 h 2040"/>
                <a:gd name="T12" fmla="*/ 133 w 2430"/>
                <a:gd name="T13" fmla="*/ 146 h 2040"/>
                <a:gd name="T14" fmla="*/ 121 w 2430"/>
                <a:gd name="T15" fmla="*/ 145 h 2040"/>
                <a:gd name="T16" fmla="*/ 110 w 2430"/>
                <a:gd name="T17" fmla="*/ 137 h 2040"/>
                <a:gd name="T18" fmla="*/ 97 w 2430"/>
                <a:gd name="T19" fmla="*/ 131 h 2040"/>
                <a:gd name="T20" fmla="*/ 87 w 2430"/>
                <a:gd name="T21" fmla="*/ 125 h 2040"/>
                <a:gd name="T22" fmla="*/ 75 w 2430"/>
                <a:gd name="T23" fmla="*/ 122 h 2040"/>
                <a:gd name="T24" fmla="*/ 65 w 2430"/>
                <a:gd name="T25" fmla="*/ 122 h 2040"/>
                <a:gd name="T26" fmla="*/ 59 w 2430"/>
                <a:gd name="T27" fmla="*/ 115 h 2040"/>
                <a:gd name="T28" fmla="*/ 50 w 2430"/>
                <a:gd name="T29" fmla="*/ 107 h 2040"/>
                <a:gd name="T30" fmla="*/ 28 w 2430"/>
                <a:gd name="T31" fmla="*/ 84 h 2040"/>
                <a:gd name="T32" fmla="*/ 22 w 2430"/>
                <a:gd name="T33" fmla="*/ 82 h 2040"/>
                <a:gd name="T34" fmla="*/ 20 w 2430"/>
                <a:gd name="T35" fmla="*/ 79 h 2040"/>
                <a:gd name="T36" fmla="*/ 16 w 2430"/>
                <a:gd name="T37" fmla="*/ 76 h 2040"/>
                <a:gd name="T38" fmla="*/ 11 w 2430"/>
                <a:gd name="T39" fmla="*/ 74 h 2040"/>
                <a:gd name="T40" fmla="*/ 7 w 2430"/>
                <a:gd name="T41" fmla="*/ 69 h 2040"/>
                <a:gd name="T42" fmla="*/ 0 w 2430"/>
                <a:gd name="T43" fmla="*/ 60 h 2040"/>
                <a:gd name="T44" fmla="*/ 10 w 2430"/>
                <a:gd name="T45" fmla="*/ 53 h 2040"/>
                <a:gd name="T46" fmla="*/ 15 w 2430"/>
                <a:gd name="T47" fmla="*/ 40 h 2040"/>
                <a:gd name="T48" fmla="*/ 9 w 2430"/>
                <a:gd name="T49" fmla="*/ 29 h 2040"/>
                <a:gd name="T50" fmla="*/ 7 w 2430"/>
                <a:gd name="T51" fmla="*/ 16 h 2040"/>
                <a:gd name="T52" fmla="*/ 18 w 2430"/>
                <a:gd name="T53" fmla="*/ 21 h 2040"/>
                <a:gd name="T54" fmla="*/ 48 w 2430"/>
                <a:gd name="T55" fmla="*/ 27 h 2040"/>
                <a:gd name="T56" fmla="*/ 62 w 2430"/>
                <a:gd name="T57" fmla="*/ 25 h 2040"/>
                <a:gd name="T58" fmla="*/ 59 w 2430"/>
                <a:gd name="T59" fmla="*/ 42 h 2040"/>
                <a:gd name="T60" fmla="*/ 54 w 2430"/>
                <a:gd name="T61" fmla="*/ 65 h 2040"/>
                <a:gd name="T62" fmla="*/ 65 w 2430"/>
                <a:gd name="T63" fmla="*/ 60 h 2040"/>
                <a:gd name="T64" fmla="*/ 68 w 2430"/>
                <a:gd name="T65" fmla="*/ 40 h 2040"/>
                <a:gd name="T66" fmla="*/ 75 w 2430"/>
                <a:gd name="T67" fmla="*/ 36 h 2040"/>
                <a:gd name="T68" fmla="*/ 83 w 2430"/>
                <a:gd name="T69" fmla="*/ 29 h 2040"/>
                <a:gd name="T70" fmla="*/ 81 w 2430"/>
                <a:gd name="T71" fmla="*/ 17 h 2040"/>
                <a:gd name="T72" fmla="*/ 66 w 2430"/>
                <a:gd name="T73" fmla="*/ 7 h 2040"/>
                <a:gd name="T74" fmla="*/ 80 w 2430"/>
                <a:gd name="T75" fmla="*/ 5 h 2040"/>
                <a:gd name="T76" fmla="*/ 89 w 2430"/>
                <a:gd name="T77" fmla="*/ 1 h 2040"/>
                <a:gd name="T78" fmla="*/ 101 w 2430"/>
                <a:gd name="T79" fmla="*/ 10 h 2040"/>
                <a:gd name="T80" fmla="*/ 103 w 2430"/>
                <a:gd name="T81" fmla="*/ 18 h 2040"/>
                <a:gd name="T82" fmla="*/ 110 w 2430"/>
                <a:gd name="T83" fmla="*/ 23 h 2040"/>
                <a:gd name="T84" fmla="*/ 121 w 2430"/>
                <a:gd name="T85" fmla="*/ 20 h 2040"/>
                <a:gd name="T86" fmla="*/ 129 w 2430"/>
                <a:gd name="T87" fmla="*/ 15 h 2040"/>
                <a:gd name="T88" fmla="*/ 142 w 2430"/>
                <a:gd name="T89" fmla="*/ 23 h 2040"/>
                <a:gd name="T90" fmla="*/ 141 w 2430"/>
                <a:gd name="T91" fmla="*/ 30 h 2040"/>
                <a:gd name="T92" fmla="*/ 140 w 2430"/>
                <a:gd name="T93" fmla="*/ 38 h 2040"/>
                <a:gd name="T94" fmla="*/ 139 w 2430"/>
                <a:gd name="T95" fmla="*/ 46 h 2040"/>
                <a:gd name="T96" fmla="*/ 147 w 2430"/>
                <a:gd name="T97" fmla="*/ 54 h 2040"/>
                <a:gd name="T98" fmla="*/ 152 w 2430"/>
                <a:gd name="T99" fmla="*/ 50 h 2040"/>
                <a:gd name="T100" fmla="*/ 159 w 2430"/>
                <a:gd name="T101" fmla="*/ 43 h 2040"/>
                <a:gd name="T102" fmla="*/ 174 w 2430"/>
                <a:gd name="T103" fmla="*/ 41 h 2040"/>
                <a:gd name="T104" fmla="*/ 190 w 2430"/>
                <a:gd name="T105" fmla="*/ 57 h 2040"/>
                <a:gd name="T106" fmla="*/ 187 w 2430"/>
                <a:gd name="T107" fmla="*/ 66 h 2040"/>
                <a:gd name="T108" fmla="*/ 183 w 2430"/>
                <a:gd name="T109" fmla="*/ 72 h 2040"/>
                <a:gd name="T110" fmla="*/ 194 w 2430"/>
                <a:gd name="T111" fmla="*/ 73 h 2040"/>
                <a:gd name="T112" fmla="*/ 202 w 2430"/>
                <a:gd name="T113" fmla="*/ 74 h 2040"/>
                <a:gd name="T114" fmla="*/ 204 w 2430"/>
                <a:gd name="T115" fmla="*/ 89 h 2040"/>
                <a:gd name="T116" fmla="*/ 208 w 2430"/>
                <a:gd name="T117" fmla="*/ 99 h 2040"/>
                <a:gd name="T118" fmla="*/ 203 w 2430"/>
                <a:gd name="T119" fmla="*/ 103 h 2040"/>
                <a:gd name="T120" fmla="*/ 209 w 2430"/>
                <a:gd name="T121" fmla="*/ 111 h 2040"/>
                <a:gd name="T122" fmla="*/ 204 w 2430"/>
                <a:gd name="T123" fmla="*/ 124 h 2040"/>
                <a:gd name="T124" fmla="*/ 190 w 2430"/>
                <a:gd name="T125" fmla="*/ 117 h 20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30"/>
                <a:gd name="T190" fmla="*/ 0 h 2040"/>
                <a:gd name="T191" fmla="*/ 2430 w 2430"/>
                <a:gd name="T192" fmla="*/ 2040 h 20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30" h="2040">
                  <a:moveTo>
                    <a:pt x="2076" y="1896"/>
                  </a:moveTo>
                  <a:lnTo>
                    <a:pt x="2070" y="1896"/>
                  </a:lnTo>
                  <a:lnTo>
                    <a:pt x="2070" y="1902"/>
                  </a:lnTo>
                  <a:lnTo>
                    <a:pt x="2076" y="1902"/>
                  </a:lnTo>
                  <a:lnTo>
                    <a:pt x="2082" y="1902"/>
                  </a:lnTo>
                  <a:lnTo>
                    <a:pt x="2082" y="1908"/>
                  </a:lnTo>
                  <a:lnTo>
                    <a:pt x="2076" y="1908"/>
                  </a:lnTo>
                  <a:lnTo>
                    <a:pt x="2076" y="1914"/>
                  </a:lnTo>
                  <a:lnTo>
                    <a:pt x="2070" y="1920"/>
                  </a:lnTo>
                  <a:lnTo>
                    <a:pt x="2064" y="1932"/>
                  </a:lnTo>
                  <a:lnTo>
                    <a:pt x="2064" y="1938"/>
                  </a:lnTo>
                  <a:lnTo>
                    <a:pt x="2058" y="1938"/>
                  </a:lnTo>
                  <a:lnTo>
                    <a:pt x="2052" y="1944"/>
                  </a:lnTo>
                  <a:lnTo>
                    <a:pt x="2052" y="1950"/>
                  </a:lnTo>
                  <a:lnTo>
                    <a:pt x="2040" y="1944"/>
                  </a:lnTo>
                  <a:lnTo>
                    <a:pt x="2040" y="1950"/>
                  </a:lnTo>
                  <a:lnTo>
                    <a:pt x="2034" y="1956"/>
                  </a:lnTo>
                  <a:lnTo>
                    <a:pt x="2034" y="1962"/>
                  </a:lnTo>
                  <a:lnTo>
                    <a:pt x="2028" y="1962"/>
                  </a:lnTo>
                  <a:lnTo>
                    <a:pt x="2022" y="1962"/>
                  </a:lnTo>
                  <a:lnTo>
                    <a:pt x="2022" y="1968"/>
                  </a:lnTo>
                  <a:lnTo>
                    <a:pt x="2028" y="1974"/>
                  </a:lnTo>
                  <a:lnTo>
                    <a:pt x="2034" y="1980"/>
                  </a:lnTo>
                  <a:lnTo>
                    <a:pt x="2028" y="1986"/>
                  </a:lnTo>
                  <a:lnTo>
                    <a:pt x="2022" y="1992"/>
                  </a:lnTo>
                  <a:lnTo>
                    <a:pt x="2022" y="1986"/>
                  </a:lnTo>
                  <a:lnTo>
                    <a:pt x="2016" y="1986"/>
                  </a:lnTo>
                  <a:lnTo>
                    <a:pt x="2010" y="1980"/>
                  </a:lnTo>
                  <a:lnTo>
                    <a:pt x="2004" y="1980"/>
                  </a:lnTo>
                  <a:lnTo>
                    <a:pt x="2004" y="1986"/>
                  </a:lnTo>
                  <a:lnTo>
                    <a:pt x="2010" y="1992"/>
                  </a:lnTo>
                  <a:lnTo>
                    <a:pt x="2010" y="1998"/>
                  </a:lnTo>
                  <a:lnTo>
                    <a:pt x="2004" y="2004"/>
                  </a:lnTo>
                  <a:lnTo>
                    <a:pt x="1998" y="2004"/>
                  </a:lnTo>
                  <a:lnTo>
                    <a:pt x="1998" y="2022"/>
                  </a:lnTo>
                  <a:lnTo>
                    <a:pt x="1998" y="2028"/>
                  </a:lnTo>
                  <a:lnTo>
                    <a:pt x="1992" y="2034"/>
                  </a:lnTo>
                  <a:lnTo>
                    <a:pt x="1992" y="2040"/>
                  </a:lnTo>
                  <a:lnTo>
                    <a:pt x="1986" y="2040"/>
                  </a:lnTo>
                  <a:lnTo>
                    <a:pt x="1986" y="2034"/>
                  </a:lnTo>
                  <a:lnTo>
                    <a:pt x="1980" y="2028"/>
                  </a:lnTo>
                  <a:lnTo>
                    <a:pt x="1980" y="2022"/>
                  </a:lnTo>
                  <a:lnTo>
                    <a:pt x="1968" y="2016"/>
                  </a:lnTo>
                  <a:lnTo>
                    <a:pt x="1962" y="2010"/>
                  </a:lnTo>
                  <a:lnTo>
                    <a:pt x="1956" y="2004"/>
                  </a:lnTo>
                  <a:lnTo>
                    <a:pt x="1950" y="1992"/>
                  </a:lnTo>
                  <a:lnTo>
                    <a:pt x="1950" y="1986"/>
                  </a:lnTo>
                  <a:lnTo>
                    <a:pt x="1950" y="1974"/>
                  </a:lnTo>
                  <a:lnTo>
                    <a:pt x="1944" y="1974"/>
                  </a:lnTo>
                  <a:lnTo>
                    <a:pt x="1932" y="1962"/>
                  </a:lnTo>
                  <a:lnTo>
                    <a:pt x="1932" y="1956"/>
                  </a:lnTo>
                  <a:lnTo>
                    <a:pt x="1932" y="1950"/>
                  </a:lnTo>
                  <a:lnTo>
                    <a:pt x="1920" y="1944"/>
                  </a:lnTo>
                  <a:lnTo>
                    <a:pt x="1914" y="1944"/>
                  </a:lnTo>
                  <a:lnTo>
                    <a:pt x="1908" y="1938"/>
                  </a:lnTo>
                  <a:lnTo>
                    <a:pt x="1902" y="1926"/>
                  </a:lnTo>
                  <a:lnTo>
                    <a:pt x="1890" y="1914"/>
                  </a:lnTo>
                  <a:lnTo>
                    <a:pt x="1884" y="1914"/>
                  </a:lnTo>
                  <a:lnTo>
                    <a:pt x="1878" y="1908"/>
                  </a:lnTo>
                  <a:lnTo>
                    <a:pt x="1872" y="1902"/>
                  </a:lnTo>
                  <a:lnTo>
                    <a:pt x="1872" y="1896"/>
                  </a:lnTo>
                  <a:lnTo>
                    <a:pt x="1866" y="1890"/>
                  </a:lnTo>
                  <a:lnTo>
                    <a:pt x="1854" y="1884"/>
                  </a:lnTo>
                  <a:lnTo>
                    <a:pt x="1848" y="1884"/>
                  </a:lnTo>
                  <a:lnTo>
                    <a:pt x="1842" y="1872"/>
                  </a:lnTo>
                  <a:lnTo>
                    <a:pt x="1836" y="1872"/>
                  </a:lnTo>
                  <a:lnTo>
                    <a:pt x="1830" y="1866"/>
                  </a:lnTo>
                  <a:lnTo>
                    <a:pt x="1830" y="1854"/>
                  </a:lnTo>
                  <a:lnTo>
                    <a:pt x="1824" y="1848"/>
                  </a:lnTo>
                  <a:lnTo>
                    <a:pt x="1818" y="1830"/>
                  </a:lnTo>
                  <a:lnTo>
                    <a:pt x="1818" y="1818"/>
                  </a:lnTo>
                  <a:lnTo>
                    <a:pt x="1812" y="1800"/>
                  </a:lnTo>
                  <a:lnTo>
                    <a:pt x="1812" y="1788"/>
                  </a:lnTo>
                  <a:lnTo>
                    <a:pt x="1806" y="1776"/>
                  </a:lnTo>
                  <a:lnTo>
                    <a:pt x="1800" y="1764"/>
                  </a:lnTo>
                  <a:lnTo>
                    <a:pt x="1794" y="1758"/>
                  </a:lnTo>
                  <a:lnTo>
                    <a:pt x="1782" y="1740"/>
                  </a:lnTo>
                  <a:lnTo>
                    <a:pt x="1776" y="1728"/>
                  </a:lnTo>
                  <a:lnTo>
                    <a:pt x="1776" y="1722"/>
                  </a:lnTo>
                  <a:lnTo>
                    <a:pt x="1770" y="1722"/>
                  </a:lnTo>
                  <a:lnTo>
                    <a:pt x="1770" y="1716"/>
                  </a:lnTo>
                  <a:lnTo>
                    <a:pt x="1764" y="1716"/>
                  </a:lnTo>
                  <a:lnTo>
                    <a:pt x="1758" y="1710"/>
                  </a:lnTo>
                  <a:lnTo>
                    <a:pt x="1752" y="1704"/>
                  </a:lnTo>
                  <a:lnTo>
                    <a:pt x="1746" y="1704"/>
                  </a:lnTo>
                  <a:lnTo>
                    <a:pt x="1740" y="1704"/>
                  </a:lnTo>
                  <a:lnTo>
                    <a:pt x="1734" y="1704"/>
                  </a:lnTo>
                  <a:lnTo>
                    <a:pt x="1734" y="1698"/>
                  </a:lnTo>
                  <a:lnTo>
                    <a:pt x="1728" y="1692"/>
                  </a:lnTo>
                  <a:lnTo>
                    <a:pt x="1722" y="1686"/>
                  </a:lnTo>
                  <a:lnTo>
                    <a:pt x="1716" y="1686"/>
                  </a:lnTo>
                  <a:lnTo>
                    <a:pt x="1698" y="1686"/>
                  </a:lnTo>
                  <a:lnTo>
                    <a:pt x="1692" y="1692"/>
                  </a:lnTo>
                  <a:lnTo>
                    <a:pt x="1680" y="1692"/>
                  </a:lnTo>
                  <a:lnTo>
                    <a:pt x="1668" y="1692"/>
                  </a:lnTo>
                  <a:lnTo>
                    <a:pt x="1662" y="1692"/>
                  </a:lnTo>
                  <a:lnTo>
                    <a:pt x="1656" y="1692"/>
                  </a:lnTo>
                  <a:lnTo>
                    <a:pt x="1650" y="1698"/>
                  </a:lnTo>
                  <a:lnTo>
                    <a:pt x="1644" y="1698"/>
                  </a:lnTo>
                  <a:lnTo>
                    <a:pt x="1638" y="1698"/>
                  </a:lnTo>
                  <a:lnTo>
                    <a:pt x="1632" y="1698"/>
                  </a:lnTo>
                  <a:lnTo>
                    <a:pt x="1632" y="1692"/>
                  </a:lnTo>
                  <a:lnTo>
                    <a:pt x="1620" y="1680"/>
                  </a:lnTo>
                  <a:lnTo>
                    <a:pt x="1614" y="1680"/>
                  </a:lnTo>
                  <a:lnTo>
                    <a:pt x="1608" y="1680"/>
                  </a:lnTo>
                  <a:lnTo>
                    <a:pt x="1602" y="1680"/>
                  </a:lnTo>
                  <a:lnTo>
                    <a:pt x="1596" y="1674"/>
                  </a:lnTo>
                  <a:lnTo>
                    <a:pt x="1584" y="1674"/>
                  </a:lnTo>
                  <a:lnTo>
                    <a:pt x="1572" y="1674"/>
                  </a:lnTo>
                  <a:lnTo>
                    <a:pt x="1560" y="1674"/>
                  </a:lnTo>
                  <a:lnTo>
                    <a:pt x="1542" y="1680"/>
                  </a:lnTo>
                  <a:lnTo>
                    <a:pt x="1530" y="1680"/>
                  </a:lnTo>
                  <a:lnTo>
                    <a:pt x="1530" y="1674"/>
                  </a:lnTo>
                  <a:lnTo>
                    <a:pt x="1524" y="1674"/>
                  </a:lnTo>
                  <a:lnTo>
                    <a:pt x="1518" y="1674"/>
                  </a:lnTo>
                  <a:lnTo>
                    <a:pt x="1512" y="1674"/>
                  </a:lnTo>
                  <a:lnTo>
                    <a:pt x="1506" y="1674"/>
                  </a:lnTo>
                  <a:lnTo>
                    <a:pt x="1500" y="1680"/>
                  </a:lnTo>
                  <a:lnTo>
                    <a:pt x="1488" y="1680"/>
                  </a:lnTo>
                  <a:lnTo>
                    <a:pt x="1482" y="1674"/>
                  </a:lnTo>
                  <a:lnTo>
                    <a:pt x="1476" y="1674"/>
                  </a:lnTo>
                  <a:lnTo>
                    <a:pt x="1464" y="1674"/>
                  </a:lnTo>
                  <a:lnTo>
                    <a:pt x="1452" y="1680"/>
                  </a:lnTo>
                  <a:lnTo>
                    <a:pt x="1434" y="1680"/>
                  </a:lnTo>
                  <a:lnTo>
                    <a:pt x="1422" y="1680"/>
                  </a:lnTo>
                  <a:lnTo>
                    <a:pt x="1416" y="1680"/>
                  </a:lnTo>
                  <a:lnTo>
                    <a:pt x="1404" y="1674"/>
                  </a:lnTo>
                  <a:lnTo>
                    <a:pt x="1398" y="1674"/>
                  </a:lnTo>
                  <a:lnTo>
                    <a:pt x="1392" y="1662"/>
                  </a:lnTo>
                  <a:lnTo>
                    <a:pt x="1380" y="1644"/>
                  </a:lnTo>
                  <a:lnTo>
                    <a:pt x="1374" y="1632"/>
                  </a:lnTo>
                  <a:lnTo>
                    <a:pt x="1362" y="1626"/>
                  </a:lnTo>
                  <a:lnTo>
                    <a:pt x="1356" y="1620"/>
                  </a:lnTo>
                  <a:lnTo>
                    <a:pt x="1350" y="1626"/>
                  </a:lnTo>
                  <a:lnTo>
                    <a:pt x="1338" y="1626"/>
                  </a:lnTo>
                  <a:lnTo>
                    <a:pt x="1326" y="1626"/>
                  </a:lnTo>
                  <a:lnTo>
                    <a:pt x="1314" y="1620"/>
                  </a:lnTo>
                  <a:lnTo>
                    <a:pt x="1308" y="1614"/>
                  </a:lnTo>
                  <a:lnTo>
                    <a:pt x="1302" y="1608"/>
                  </a:lnTo>
                  <a:lnTo>
                    <a:pt x="1296" y="1602"/>
                  </a:lnTo>
                  <a:lnTo>
                    <a:pt x="1290" y="1602"/>
                  </a:lnTo>
                  <a:lnTo>
                    <a:pt x="1290" y="1596"/>
                  </a:lnTo>
                  <a:lnTo>
                    <a:pt x="1284" y="1590"/>
                  </a:lnTo>
                  <a:lnTo>
                    <a:pt x="1272" y="1584"/>
                  </a:lnTo>
                  <a:lnTo>
                    <a:pt x="1254" y="1572"/>
                  </a:lnTo>
                  <a:lnTo>
                    <a:pt x="1236" y="1554"/>
                  </a:lnTo>
                  <a:lnTo>
                    <a:pt x="1230" y="1554"/>
                  </a:lnTo>
                  <a:lnTo>
                    <a:pt x="1224" y="1554"/>
                  </a:lnTo>
                  <a:lnTo>
                    <a:pt x="1212" y="1554"/>
                  </a:lnTo>
                  <a:lnTo>
                    <a:pt x="1194" y="1542"/>
                  </a:lnTo>
                  <a:lnTo>
                    <a:pt x="1188" y="1536"/>
                  </a:lnTo>
                  <a:lnTo>
                    <a:pt x="1182" y="1530"/>
                  </a:lnTo>
                  <a:lnTo>
                    <a:pt x="1176" y="1530"/>
                  </a:lnTo>
                  <a:lnTo>
                    <a:pt x="1170" y="1530"/>
                  </a:lnTo>
                  <a:lnTo>
                    <a:pt x="1158" y="1524"/>
                  </a:lnTo>
                  <a:lnTo>
                    <a:pt x="1152" y="1524"/>
                  </a:lnTo>
                  <a:lnTo>
                    <a:pt x="1140" y="1518"/>
                  </a:lnTo>
                  <a:lnTo>
                    <a:pt x="1128" y="1518"/>
                  </a:lnTo>
                  <a:lnTo>
                    <a:pt x="1122" y="1518"/>
                  </a:lnTo>
                  <a:lnTo>
                    <a:pt x="1116" y="1518"/>
                  </a:lnTo>
                  <a:lnTo>
                    <a:pt x="1104" y="1518"/>
                  </a:lnTo>
                  <a:lnTo>
                    <a:pt x="1092" y="1518"/>
                  </a:lnTo>
                  <a:lnTo>
                    <a:pt x="1080" y="1518"/>
                  </a:lnTo>
                  <a:lnTo>
                    <a:pt x="1068" y="1518"/>
                  </a:lnTo>
                  <a:lnTo>
                    <a:pt x="1062" y="1518"/>
                  </a:lnTo>
                  <a:lnTo>
                    <a:pt x="1056" y="1518"/>
                  </a:lnTo>
                  <a:lnTo>
                    <a:pt x="1050" y="1512"/>
                  </a:lnTo>
                  <a:lnTo>
                    <a:pt x="1044" y="1512"/>
                  </a:lnTo>
                  <a:lnTo>
                    <a:pt x="1038" y="1512"/>
                  </a:lnTo>
                  <a:lnTo>
                    <a:pt x="1032" y="1506"/>
                  </a:lnTo>
                  <a:lnTo>
                    <a:pt x="1026" y="1500"/>
                  </a:lnTo>
                  <a:lnTo>
                    <a:pt x="1026" y="1494"/>
                  </a:lnTo>
                  <a:lnTo>
                    <a:pt x="1020" y="1476"/>
                  </a:lnTo>
                  <a:lnTo>
                    <a:pt x="1008" y="1464"/>
                  </a:lnTo>
                  <a:lnTo>
                    <a:pt x="1008" y="1458"/>
                  </a:lnTo>
                  <a:lnTo>
                    <a:pt x="1002" y="1446"/>
                  </a:lnTo>
                  <a:lnTo>
                    <a:pt x="996" y="1446"/>
                  </a:lnTo>
                  <a:lnTo>
                    <a:pt x="990" y="1440"/>
                  </a:lnTo>
                  <a:lnTo>
                    <a:pt x="984" y="1434"/>
                  </a:lnTo>
                  <a:lnTo>
                    <a:pt x="978" y="1434"/>
                  </a:lnTo>
                  <a:lnTo>
                    <a:pt x="972" y="1434"/>
                  </a:lnTo>
                  <a:lnTo>
                    <a:pt x="966" y="1428"/>
                  </a:lnTo>
                  <a:lnTo>
                    <a:pt x="954" y="1422"/>
                  </a:lnTo>
                  <a:lnTo>
                    <a:pt x="942" y="1416"/>
                  </a:lnTo>
                  <a:lnTo>
                    <a:pt x="924" y="1398"/>
                  </a:lnTo>
                  <a:lnTo>
                    <a:pt x="912" y="1386"/>
                  </a:lnTo>
                  <a:lnTo>
                    <a:pt x="900" y="1386"/>
                  </a:lnTo>
                  <a:lnTo>
                    <a:pt x="894" y="1386"/>
                  </a:lnTo>
                  <a:lnTo>
                    <a:pt x="882" y="1392"/>
                  </a:lnTo>
                  <a:lnTo>
                    <a:pt x="876" y="1392"/>
                  </a:lnTo>
                  <a:lnTo>
                    <a:pt x="864" y="1398"/>
                  </a:lnTo>
                  <a:lnTo>
                    <a:pt x="864" y="1404"/>
                  </a:lnTo>
                  <a:lnTo>
                    <a:pt x="858" y="1410"/>
                  </a:lnTo>
                  <a:lnTo>
                    <a:pt x="852" y="1410"/>
                  </a:lnTo>
                  <a:lnTo>
                    <a:pt x="846" y="1410"/>
                  </a:lnTo>
                  <a:lnTo>
                    <a:pt x="834" y="1410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10" y="1428"/>
                  </a:lnTo>
                  <a:lnTo>
                    <a:pt x="798" y="1428"/>
                  </a:lnTo>
                  <a:lnTo>
                    <a:pt x="792" y="1428"/>
                  </a:lnTo>
                  <a:lnTo>
                    <a:pt x="780" y="1434"/>
                  </a:lnTo>
                  <a:lnTo>
                    <a:pt x="774" y="1428"/>
                  </a:lnTo>
                  <a:lnTo>
                    <a:pt x="762" y="1428"/>
                  </a:lnTo>
                  <a:lnTo>
                    <a:pt x="756" y="1422"/>
                  </a:lnTo>
                  <a:lnTo>
                    <a:pt x="750" y="1416"/>
                  </a:lnTo>
                  <a:lnTo>
                    <a:pt x="744" y="1410"/>
                  </a:lnTo>
                  <a:lnTo>
                    <a:pt x="744" y="1398"/>
                  </a:lnTo>
                  <a:lnTo>
                    <a:pt x="744" y="1386"/>
                  </a:lnTo>
                  <a:lnTo>
                    <a:pt x="750" y="1380"/>
                  </a:lnTo>
                  <a:lnTo>
                    <a:pt x="750" y="1374"/>
                  </a:lnTo>
                  <a:lnTo>
                    <a:pt x="750" y="1368"/>
                  </a:lnTo>
                  <a:lnTo>
                    <a:pt x="756" y="1362"/>
                  </a:lnTo>
                  <a:lnTo>
                    <a:pt x="750" y="1350"/>
                  </a:lnTo>
                  <a:lnTo>
                    <a:pt x="744" y="1344"/>
                  </a:lnTo>
                  <a:lnTo>
                    <a:pt x="738" y="1338"/>
                  </a:lnTo>
                  <a:lnTo>
                    <a:pt x="726" y="1338"/>
                  </a:lnTo>
                  <a:lnTo>
                    <a:pt x="720" y="1338"/>
                  </a:lnTo>
                  <a:lnTo>
                    <a:pt x="714" y="1338"/>
                  </a:lnTo>
                  <a:lnTo>
                    <a:pt x="708" y="1332"/>
                  </a:lnTo>
                  <a:lnTo>
                    <a:pt x="702" y="1332"/>
                  </a:lnTo>
                  <a:lnTo>
                    <a:pt x="696" y="1326"/>
                  </a:lnTo>
                  <a:lnTo>
                    <a:pt x="684" y="1326"/>
                  </a:lnTo>
                  <a:lnTo>
                    <a:pt x="678" y="1326"/>
                  </a:lnTo>
                  <a:lnTo>
                    <a:pt x="672" y="1314"/>
                  </a:lnTo>
                  <a:lnTo>
                    <a:pt x="666" y="1308"/>
                  </a:lnTo>
                  <a:lnTo>
                    <a:pt x="654" y="1296"/>
                  </a:lnTo>
                  <a:lnTo>
                    <a:pt x="654" y="1290"/>
                  </a:lnTo>
                  <a:lnTo>
                    <a:pt x="630" y="1284"/>
                  </a:lnTo>
                  <a:lnTo>
                    <a:pt x="630" y="1278"/>
                  </a:lnTo>
                  <a:lnTo>
                    <a:pt x="624" y="1278"/>
                  </a:lnTo>
                  <a:lnTo>
                    <a:pt x="618" y="1266"/>
                  </a:lnTo>
                  <a:lnTo>
                    <a:pt x="612" y="1266"/>
                  </a:lnTo>
                  <a:lnTo>
                    <a:pt x="606" y="1266"/>
                  </a:lnTo>
                  <a:lnTo>
                    <a:pt x="606" y="1260"/>
                  </a:lnTo>
                  <a:lnTo>
                    <a:pt x="594" y="1248"/>
                  </a:lnTo>
                  <a:lnTo>
                    <a:pt x="582" y="1248"/>
                  </a:lnTo>
                  <a:lnTo>
                    <a:pt x="576" y="1242"/>
                  </a:lnTo>
                  <a:lnTo>
                    <a:pt x="570" y="1236"/>
                  </a:lnTo>
                  <a:lnTo>
                    <a:pt x="504" y="1164"/>
                  </a:lnTo>
                  <a:lnTo>
                    <a:pt x="450" y="1110"/>
                  </a:lnTo>
                  <a:lnTo>
                    <a:pt x="426" y="1092"/>
                  </a:lnTo>
                  <a:lnTo>
                    <a:pt x="426" y="1074"/>
                  </a:lnTo>
                  <a:lnTo>
                    <a:pt x="420" y="1062"/>
                  </a:lnTo>
                  <a:lnTo>
                    <a:pt x="396" y="1056"/>
                  </a:lnTo>
                  <a:lnTo>
                    <a:pt x="384" y="1032"/>
                  </a:lnTo>
                  <a:lnTo>
                    <a:pt x="372" y="1020"/>
                  </a:lnTo>
                  <a:lnTo>
                    <a:pt x="360" y="984"/>
                  </a:lnTo>
                  <a:lnTo>
                    <a:pt x="348" y="978"/>
                  </a:lnTo>
                  <a:lnTo>
                    <a:pt x="342" y="972"/>
                  </a:lnTo>
                  <a:lnTo>
                    <a:pt x="348" y="960"/>
                  </a:lnTo>
                  <a:lnTo>
                    <a:pt x="342" y="954"/>
                  </a:lnTo>
                  <a:lnTo>
                    <a:pt x="336" y="954"/>
                  </a:lnTo>
                  <a:lnTo>
                    <a:pt x="330" y="954"/>
                  </a:lnTo>
                  <a:lnTo>
                    <a:pt x="324" y="972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0" y="966"/>
                  </a:lnTo>
                  <a:lnTo>
                    <a:pt x="294" y="966"/>
                  </a:lnTo>
                  <a:lnTo>
                    <a:pt x="288" y="972"/>
                  </a:lnTo>
                  <a:lnTo>
                    <a:pt x="288" y="966"/>
                  </a:lnTo>
                  <a:lnTo>
                    <a:pt x="282" y="948"/>
                  </a:lnTo>
                  <a:lnTo>
                    <a:pt x="282" y="942"/>
                  </a:lnTo>
                  <a:lnTo>
                    <a:pt x="276" y="942"/>
                  </a:lnTo>
                  <a:lnTo>
                    <a:pt x="276" y="936"/>
                  </a:lnTo>
                  <a:lnTo>
                    <a:pt x="270" y="942"/>
                  </a:lnTo>
                  <a:lnTo>
                    <a:pt x="264" y="948"/>
                  </a:lnTo>
                  <a:lnTo>
                    <a:pt x="264" y="942"/>
                  </a:lnTo>
                  <a:lnTo>
                    <a:pt x="258" y="942"/>
                  </a:lnTo>
                  <a:lnTo>
                    <a:pt x="252" y="948"/>
                  </a:lnTo>
                  <a:lnTo>
                    <a:pt x="252" y="942"/>
                  </a:lnTo>
                  <a:lnTo>
                    <a:pt x="246" y="936"/>
                  </a:lnTo>
                  <a:lnTo>
                    <a:pt x="240" y="942"/>
                  </a:lnTo>
                  <a:lnTo>
                    <a:pt x="234" y="936"/>
                  </a:lnTo>
                  <a:lnTo>
                    <a:pt x="228" y="936"/>
                  </a:lnTo>
                  <a:lnTo>
                    <a:pt x="222" y="936"/>
                  </a:lnTo>
                  <a:lnTo>
                    <a:pt x="222" y="930"/>
                  </a:lnTo>
                  <a:lnTo>
                    <a:pt x="222" y="924"/>
                  </a:lnTo>
                  <a:lnTo>
                    <a:pt x="228" y="924"/>
                  </a:lnTo>
                  <a:lnTo>
                    <a:pt x="234" y="924"/>
                  </a:lnTo>
                  <a:lnTo>
                    <a:pt x="240" y="924"/>
                  </a:lnTo>
                  <a:lnTo>
                    <a:pt x="240" y="918"/>
                  </a:lnTo>
                  <a:lnTo>
                    <a:pt x="246" y="918"/>
                  </a:lnTo>
                  <a:lnTo>
                    <a:pt x="246" y="912"/>
                  </a:lnTo>
                  <a:lnTo>
                    <a:pt x="240" y="906"/>
                  </a:lnTo>
                  <a:lnTo>
                    <a:pt x="234" y="906"/>
                  </a:lnTo>
                  <a:lnTo>
                    <a:pt x="228" y="906"/>
                  </a:lnTo>
                  <a:lnTo>
                    <a:pt x="228" y="912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8" y="894"/>
                  </a:lnTo>
                  <a:lnTo>
                    <a:pt x="234" y="894"/>
                  </a:lnTo>
                  <a:lnTo>
                    <a:pt x="228" y="888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198" y="888"/>
                  </a:lnTo>
                  <a:lnTo>
                    <a:pt x="192" y="882"/>
                  </a:lnTo>
                  <a:lnTo>
                    <a:pt x="186" y="882"/>
                  </a:lnTo>
                  <a:lnTo>
                    <a:pt x="186" y="876"/>
                  </a:lnTo>
                  <a:lnTo>
                    <a:pt x="192" y="876"/>
                  </a:lnTo>
                  <a:lnTo>
                    <a:pt x="192" y="870"/>
                  </a:lnTo>
                  <a:lnTo>
                    <a:pt x="198" y="870"/>
                  </a:lnTo>
                  <a:lnTo>
                    <a:pt x="198" y="864"/>
                  </a:lnTo>
                  <a:lnTo>
                    <a:pt x="198" y="858"/>
                  </a:lnTo>
                  <a:lnTo>
                    <a:pt x="180" y="852"/>
                  </a:lnTo>
                  <a:lnTo>
                    <a:pt x="174" y="840"/>
                  </a:lnTo>
                  <a:lnTo>
                    <a:pt x="162" y="846"/>
                  </a:lnTo>
                  <a:lnTo>
                    <a:pt x="156" y="846"/>
                  </a:lnTo>
                  <a:lnTo>
                    <a:pt x="150" y="846"/>
                  </a:lnTo>
                  <a:lnTo>
                    <a:pt x="150" y="840"/>
                  </a:lnTo>
                  <a:lnTo>
                    <a:pt x="138" y="834"/>
                  </a:lnTo>
                  <a:lnTo>
                    <a:pt x="132" y="834"/>
                  </a:lnTo>
                  <a:lnTo>
                    <a:pt x="132" y="840"/>
                  </a:lnTo>
                  <a:lnTo>
                    <a:pt x="126" y="840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58"/>
                  </a:lnTo>
                  <a:lnTo>
                    <a:pt x="120" y="846"/>
                  </a:lnTo>
                  <a:lnTo>
                    <a:pt x="114" y="846"/>
                  </a:lnTo>
                  <a:lnTo>
                    <a:pt x="108" y="840"/>
                  </a:lnTo>
                  <a:lnTo>
                    <a:pt x="102" y="834"/>
                  </a:lnTo>
                  <a:lnTo>
                    <a:pt x="102" y="822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78" y="804"/>
                  </a:lnTo>
                  <a:lnTo>
                    <a:pt x="78" y="798"/>
                  </a:lnTo>
                  <a:lnTo>
                    <a:pt x="78" y="792"/>
                  </a:lnTo>
                  <a:lnTo>
                    <a:pt x="78" y="786"/>
                  </a:lnTo>
                  <a:lnTo>
                    <a:pt x="78" y="780"/>
                  </a:lnTo>
                  <a:lnTo>
                    <a:pt x="72" y="774"/>
                  </a:lnTo>
                  <a:lnTo>
                    <a:pt x="66" y="774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60" y="762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6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2" y="666"/>
                  </a:lnTo>
                  <a:lnTo>
                    <a:pt x="18" y="648"/>
                  </a:lnTo>
                  <a:lnTo>
                    <a:pt x="24" y="636"/>
                  </a:lnTo>
                  <a:lnTo>
                    <a:pt x="30" y="630"/>
                  </a:lnTo>
                  <a:lnTo>
                    <a:pt x="30" y="624"/>
                  </a:lnTo>
                  <a:lnTo>
                    <a:pt x="30" y="612"/>
                  </a:lnTo>
                  <a:lnTo>
                    <a:pt x="30" y="606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66" y="582"/>
                  </a:lnTo>
                  <a:lnTo>
                    <a:pt x="72" y="588"/>
                  </a:lnTo>
                  <a:lnTo>
                    <a:pt x="84" y="594"/>
                  </a:lnTo>
                  <a:lnTo>
                    <a:pt x="90" y="600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14" y="612"/>
                  </a:lnTo>
                  <a:lnTo>
                    <a:pt x="120" y="612"/>
                  </a:lnTo>
                  <a:lnTo>
                    <a:pt x="126" y="618"/>
                  </a:lnTo>
                  <a:lnTo>
                    <a:pt x="138" y="594"/>
                  </a:lnTo>
                  <a:lnTo>
                    <a:pt x="138" y="582"/>
                  </a:lnTo>
                  <a:lnTo>
                    <a:pt x="138" y="570"/>
                  </a:lnTo>
                  <a:lnTo>
                    <a:pt x="138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50" y="528"/>
                  </a:lnTo>
                  <a:lnTo>
                    <a:pt x="156" y="510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62"/>
                  </a:lnTo>
                  <a:lnTo>
                    <a:pt x="168" y="450"/>
                  </a:lnTo>
                  <a:lnTo>
                    <a:pt x="168" y="444"/>
                  </a:lnTo>
                  <a:lnTo>
                    <a:pt x="162" y="432"/>
                  </a:lnTo>
                  <a:lnTo>
                    <a:pt x="162" y="426"/>
                  </a:lnTo>
                  <a:lnTo>
                    <a:pt x="156" y="420"/>
                  </a:lnTo>
                  <a:lnTo>
                    <a:pt x="144" y="414"/>
                  </a:lnTo>
                  <a:lnTo>
                    <a:pt x="132" y="402"/>
                  </a:lnTo>
                  <a:lnTo>
                    <a:pt x="126" y="390"/>
                  </a:lnTo>
                  <a:lnTo>
                    <a:pt x="120" y="384"/>
                  </a:lnTo>
                  <a:lnTo>
                    <a:pt x="120" y="372"/>
                  </a:lnTo>
                  <a:lnTo>
                    <a:pt x="114" y="360"/>
                  </a:lnTo>
                  <a:lnTo>
                    <a:pt x="108" y="360"/>
                  </a:lnTo>
                  <a:lnTo>
                    <a:pt x="108" y="354"/>
                  </a:lnTo>
                  <a:lnTo>
                    <a:pt x="102" y="348"/>
                  </a:lnTo>
                  <a:lnTo>
                    <a:pt x="102" y="342"/>
                  </a:lnTo>
                  <a:lnTo>
                    <a:pt x="108" y="330"/>
                  </a:lnTo>
                  <a:lnTo>
                    <a:pt x="114" y="312"/>
                  </a:lnTo>
                  <a:lnTo>
                    <a:pt x="114" y="300"/>
                  </a:lnTo>
                  <a:lnTo>
                    <a:pt x="120" y="288"/>
                  </a:lnTo>
                  <a:lnTo>
                    <a:pt x="120" y="282"/>
                  </a:lnTo>
                  <a:lnTo>
                    <a:pt x="114" y="270"/>
                  </a:lnTo>
                  <a:lnTo>
                    <a:pt x="114" y="258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84" y="222"/>
                  </a:lnTo>
                  <a:lnTo>
                    <a:pt x="84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84" y="186"/>
                  </a:lnTo>
                  <a:lnTo>
                    <a:pt x="84" y="180"/>
                  </a:lnTo>
                  <a:lnTo>
                    <a:pt x="108" y="174"/>
                  </a:lnTo>
                  <a:lnTo>
                    <a:pt x="132" y="186"/>
                  </a:lnTo>
                  <a:lnTo>
                    <a:pt x="138" y="192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56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74" y="204"/>
                  </a:lnTo>
                  <a:lnTo>
                    <a:pt x="180" y="216"/>
                  </a:lnTo>
                  <a:lnTo>
                    <a:pt x="186" y="228"/>
                  </a:lnTo>
                  <a:lnTo>
                    <a:pt x="192" y="234"/>
                  </a:lnTo>
                  <a:lnTo>
                    <a:pt x="198" y="234"/>
                  </a:lnTo>
                  <a:lnTo>
                    <a:pt x="204" y="240"/>
                  </a:lnTo>
                  <a:lnTo>
                    <a:pt x="210" y="240"/>
                  </a:lnTo>
                  <a:lnTo>
                    <a:pt x="216" y="240"/>
                  </a:lnTo>
                  <a:lnTo>
                    <a:pt x="222" y="240"/>
                  </a:lnTo>
                  <a:lnTo>
                    <a:pt x="228" y="246"/>
                  </a:lnTo>
                  <a:lnTo>
                    <a:pt x="234" y="246"/>
                  </a:lnTo>
                  <a:lnTo>
                    <a:pt x="240" y="246"/>
                  </a:lnTo>
                  <a:lnTo>
                    <a:pt x="252" y="252"/>
                  </a:lnTo>
                  <a:lnTo>
                    <a:pt x="330" y="246"/>
                  </a:lnTo>
                  <a:lnTo>
                    <a:pt x="360" y="228"/>
                  </a:lnTo>
                  <a:lnTo>
                    <a:pt x="396" y="228"/>
                  </a:lnTo>
                  <a:lnTo>
                    <a:pt x="402" y="240"/>
                  </a:lnTo>
                  <a:lnTo>
                    <a:pt x="432" y="240"/>
                  </a:lnTo>
                  <a:lnTo>
                    <a:pt x="450" y="258"/>
                  </a:lnTo>
                  <a:lnTo>
                    <a:pt x="468" y="258"/>
                  </a:lnTo>
                  <a:lnTo>
                    <a:pt x="474" y="294"/>
                  </a:lnTo>
                  <a:lnTo>
                    <a:pt x="558" y="318"/>
                  </a:lnTo>
                  <a:lnTo>
                    <a:pt x="588" y="318"/>
                  </a:lnTo>
                  <a:lnTo>
                    <a:pt x="588" y="312"/>
                  </a:lnTo>
                  <a:lnTo>
                    <a:pt x="594" y="306"/>
                  </a:lnTo>
                  <a:lnTo>
                    <a:pt x="600" y="306"/>
                  </a:lnTo>
                  <a:lnTo>
                    <a:pt x="612" y="300"/>
                  </a:lnTo>
                  <a:lnTo>
                    <a:pt x="618" y="300"/>
                  </a:lnTo>
                  <a:lnTo>
                    <a:pt x="630" y="300"/>
                  </a:lnTo>
                  <a:lnTo>
                    <a:pt x="642" y="306"/>
                  </a:lnTo>
                  <a:lnTo>
                    <a:pt x="660" y="306"/>
                  </a:lnTo>
                  <a:lnTo>
                    <a:pt x="666" y="306"/>
                  </a:lnTo>
                  <a:lnTo>
                    <a:pt x="672" y="306"/>
                  </a:lnTo>
                  <a:lnTo>
                    <a:pt x="684" y="300"/>
                  </a:lnTo>
                  <a:lnTo>
                    <a:pt x="696" y="294"/>
                  </a:lnTo>
                  <a:lnTo>
                    <a:pt x="702" y="288"/>
                  </a:lnTo>
                  <a:lnTo>
                    <a:pt x="714" y="282"/>
                  </a:lnTo>
                  <a:lnTo>
                    <a:pt x="714" y="288"/>
                  </a:lnTo>
                  <a:lnTo>
                    <a:pt x="726" y="300"/>
                  </a:lnTo>
                  <a:lnTo>
                    <a:pt x="732" y="306"/>
                  </a:lnTo>
                  <a:lnTo>
                    <a:pt x="732" y="318"/>
                  </a:lnTo>
                  <a:lnTo>
                    <a:pt x="732" y="330"/>
                  </a:lnTo>
                  <a:lnTo>
                    <a:pt x="726" y="342"/>
                  </a:lnTo>
                  <a:lnTo>
                    <a:pt x="720" y="354"/>
                  </a:lnTo>
                  <a:lnTo>
                    <a:pt x="720" y="360"/>
                  </a:lnTo>
                  <a:lnTo>
                    <a:pt x="714" y="372"/>
                  </a:lnTo>
                  <a:lnTo>
                    <a:pt x="714" y="378"/>
                  </a:lnTo>
                  <a:lnTo>
                    <a:pt x="714" y="408"/>
                  </a:lnTo>
                  <a:lnTo>
                    <a:pt x="708" y="420"/>
                  </a:lnTo>
                  <a:lnTo>
                    <a:pt x="714" y="432"/>
                  </a:lnTo>
                  <a:lnTo>
                    <a:pt x="708" y="450"/>
                  </a:lnTo>
                  <a:lnTo>
                    <a:pt x="708" y="468"/>
                  </a:lnTo>
                  <a:lnTo>
                    <a:pt x="696" y="480"/>
                  </a:lnTo>
                  <a:lnTo>
                    <a:pt x="684" y="486"/>
                  </a:lnTo>
                  <a:lnTo>
                    <a:pt x="672" y="492"/>
                  </a:lnTo>
                  <a:lnTo>
                    <a:pt x="660" y="498"/>
                  </a:lnTo>
                  <a:lnTo>
                    <a:pt x="654" y="510"/>
                  </a:lnTo>
                  <a:lnTo>
                    <a:pt x="648" y="516"/>
                  </a:lnTo>
                  <a:lnTo>
                    <a:pt x="642" y="522"/>
                  </a:lnTo>
                  <a:lnTo>
                    <a:pt x="630" y="522"/>
                  </a:lnTo>
                  <a:lnTo>
                    <a:pt x="624" y="528"/>
                  </a:lnTo>
                  <a:lnTo>
                    <a:pt x="618" y="540"/>
                  </a:lnTo>
                  <a:lnTo>
                    <a:pt x="618" y="558"/>
                  </a:lnTo>
                  <a:lnTo>
                    <a:pt x="612" y="576"/>
                  </a:lnTo>
                  <a:lnTo>
                    <a:pt x="612" y="684"/>
                  </a:lnTo>
                  <a:lnTo>
                    <a:pt x="618" y="696"/>
                  </a:lnTo>
                  <a:lnTo>
                    <a:pt x="636" y="696"/>
                  </a:lnTo>
                  <a:lnTo>
                    <a:pt x="636" y="720"/>
                  </a:lnTo>
                  <a:lnTo>
                    <a:pt x="636" y="732"/>
                  </a:lnTo>
                  <a:lnTo>
                    <a:pt x="618" y="750"/>
                  </a:lnTo>
                  <a:lnTo>
                    <a:pt x="606" y="762"/>
                  </a:lnTo>
                  <a:lnTo>
                    <a:pt x="600" y="774"/>
                  </a:lnTo>
                  <a:lnTo>
                    <a:pt x="594" y="798"/>
                  </a:lnTo>
                  <a:lnTo>
                    <a:pt x="606" y="798"/>
                  </a:lnTo>
                  <a:lnTo>
                    <a:pt x="660" y="792"/>
                  </a:lnTo>
                  <a:lnTo>
                    <a:pt x="696" y="798"/>
                  </a:lnTo>
                  <a:lnTo>
                    <a:pt x="720" y="798"/>
                  </a:lnTo>
                  <a:lnTo>
                    <a:pt x="720" y="786"/>
                  </a:lnTo>
                  <a:lnTo>
                    <a:pt x="720" y="774"/>
                  </a:lnTo>
                  <a:lnTo>
                    <a:pt x="702" y="762"/>
                  </a:lnTo>
                  <a:lnTo>
                    <a:pt x="702" y="750"/>
                  </a:lnTo>
                  <a:lnTo>
                    <a:pt x="702" y="726"/>
                  </a:lnTo>
                  <a:lnTo>
                    <a:pt x="714" y="714"/>
                  </a:lnTo>
                  <a:lnTo>
                    <a:pt x="720" y="702"/>
                  </a:lnTo>
                  <a:lnTo>
                    <a:pt x="720" y="696"/>
                  </a:lnTo>
                  <a:lnTo>
                    <a:pt x="744" y="690"/>
                  </a:lnTo>
                  <a:lnTo>
                    <a:pt x="744" y="696"/>
                  </a:lnTo>
                  <a:lnTo>
                    <a:pt x="756" y="696"/>
                  </a:lnTo>
                  <a:lnTo>
                    <a:pt x="762" y="690"/>
                  </a:lnTo>
                  <a:lnTo>
                    <a:pt x="768" y="690"/>
                  </a:lnTo>
                  <a:lnTo>
                    <a:pt x="774" y="696"/>
                  </a:lnTo>
                  <a:lnTo>
                    <a:pt x="780" y="696"/>
                  </a:lnTo>
                  <a:lnTo>
                    <a:pt x="786" y="696"/>
                  </a:lnTo>
                  <a:lnTo>
                    <a:pt x="804" y="684"/>
                  </a:lnTo>
                  <a:lnTo>
                    <a:pt x="810" y="684"/>
                  </a:lnTo>
                  <a:lnTo>
                    <a:pt x="810" y="654"/>
                  </a:lnTo>
                  <a:lnTo>
                    <a:pt x="816" y="588"/>
                  </a:lnTo>
                  <a:lnTo>
                    <a:pt x="804" y="582"/>
                  </a:lnTo>
                  <a:lnTo>
                    <a:pt x="798" y="552"/>
                  </a:lnTo>
                  <a:lnTo>
                    <a:pt x="798" y="480"/>
                  </a:lnTo>
                  <a:lnTo>
                    <a:pt x="780" y="468"/>
                  </a:lnTo>
                  <a:lnTo>
                    <a:pt x="780" y="462"/>
                  </a:lnTo>
                  <a:lnTo>
                    <a:pt x="774" y="450"/>
                  </a:lnTo>
                  <a:lnTo>
                    <a:pt x="762" y="444"/>
                  </a:lnTo>
                  <a:lnTo>
                    <a:pt x="762" y="438"/>
                  </a:lnTo>
                  <a:lnTo>
                    <a:pt x="768" y="432"/>
                  </a:lnTo>
                  <a:lnTo>
                    <a:pt x="774" y="426"/>
                  </a:lnTo>
                  <a:lnTo>
                    <a:pt x="780" y="426"/>
                  </a:lnTo>
                  <a:lnTo>
                    <a:pt x="780" y="414"/>
                  </a:lnTo>
                  <a:lnTo>
                    <a:pt x="834" y="414"/>
                  </a:lnTo>
                  <a:lnTo>
                    <a:pt x="834" y="426"/>
                  </a:lnTo>
                  <a:lnTo>
                    <a:pt x="840" y="432"/>
                  </a:lnTo>
                  <a:lnTo>
                    <a:pt x="846" y="432"/>
                  </a:lnTo>
                  <a:lnTo>
                    <a:pt x="852" y="432"/>
                  </a:lnTo>
                  <a:lnTo>
                    <a:pt x="858" y="432"/>
                  </a:lnTo>
                  <a:lnTo>
                    <a:pt x="870" y="432"/>
                  </a:lnTo>
                  <a:lnTo>
                    <a:pt x="870" y="426"/>
                  </a:lnTo>
                  <a:lnTo>
                    <a:pt x="870" y="420"/>
                  </a:lnTo>
                  <a:lnTo>
                    <a:pt x="876" y="420"/>
                  </a:lnTo>
                  <a:lnTo>
                    <a:pt x="882" y="420"/>
                  </a:lnTo>
                  <a:lnTo>
                    <a:pt x="894" y="414"/>
                  </a:lnTo>
                  <a:lnTo>
                    <a:pt x="900" y="414"/>
                  </a:lnTo>
                  <a:lnTo>
                    <a:pt x="906" y="408"/>
                  </a:lnTo>
                  <a:lnTo>
                    <a:pt x="918" y="408"/>
                  </a:lnTo>
                  <a:lnTo>
                    <a:pt x="924" y="402"/>
                  </a:lnTo>
                  <a:lnTo>
                    <a:pt x="930" y="384"/>
                  </a:lnTo>
                  <a:lnTo>
                    <a:pt x="948" y="396"/>
                  </a:lnTo>
                  <a:lnTo>
                    <a:pt x="954" y="384"/>
                  </a:lnTo>
                  <a:lnTo>
                    <a:pt x="960" y="384"/>
                  </a:lnTo>
                  <a:lnTo>
                    <a:pt x="972" y="384"/>
                  </a:lnTo>
                  <a:lnTo>
                    <a:pt x="978" y="378"/>
                  </a:lnTo>
                  <a:lnTo>
                    <a:pt x="972" y="366"/>
                  </a:lnTo>
                  <a:lnTo>
                    <a:pt x="966" y="342"/>
                  </a:lnTo>
                  <a:lnTo>
                    <a:pt x="960" y="330"/>
                  </a:lnTo>
                  <a:lnTo>
                    <a:pt x="942" y="324"/>
                  </a:lnTo>
                  <a:lnTo>
                    <a:pt x="936" y="318"/>
                  </a:lnTo>
                  <a:lnTo>
                    <a:pt x="936" y="294"/>
                  </a:lnTo>
                  <a:lnTo>
                    <a:pt x="942" y="294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282"/>
                  </a:lnTo>
                  <a:lnTo>
                    <a:pt x="954" y="276"/>
                  </a:lnTo>
                  <a:lnTo>
                    <a:pt x="960" y="276"/>
                  </a:lnTo>
                  <a:lnTo>
                    <a:pt x="966" y="276"/>
                  </a:lnTo>
                  <a:lnTo>
                    <a:pt x="960" y="258"/>
                  </a:lnTo>
                  <a:lnTo>
                    <a:pt x="954" y="240"/>
                  </a:lnTo>
                  <a:lnTo>
                    <a:pt x="948" y="204"/>
                  </a:lnTo>
                  <a:lnTo>
                    <a:pt x="954" y="204"/>
                  </a:lnTo>
                  <a:lnTo>
                    <a:pt x="960" y="198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00" y="186"/>
                  </a:lnTo>
                  <a:lnTo>
                    <a:pt x="876" y="180"/>
                  </a:lnTo>
                  <a:lnTo>
                    <a:pt x="858" y="180"/>
                  </a:lnTo>
                  <a:lnTo>
                    <a:pt x="852" y="168"/>
                  </a:lnTo>
                  <a:lnTo>
                    <a:pt x="834" y="156"/>
                  </a:lnTo>
                  <a:lnTo>
                    <a:pt x="822" y="156"/>
                  </a:lnTo>
                  <a:lnTo>
                    <a:pt x="804" y="156"/>
                  </a:lnTo>
                  <a:lnTo>
                    <a:pt x="804" y="150"/>
                  </a:lnTo>
                  <a:lnTo>
                    <a:pt x="792" y="144"/>
                  </a:lnTo>
                  <a:lnTo>
                    <a:pt x="762" y="138"/>
                  </a:lnTo>
                  <a:lnTo>
                    <a:pt x="768" y="120"/>
                  </a:lnTo>
                  <a:lnTo>
                    <a:pt x="756" y="120"/>
                  </a:lnTo>
                  <a:lnTo>
                    <a:pt x="744" y="108"/>
                  </a:lnTo>
                  <a:lnTo>
                    <a:pt x="744" y="96"/>
                  </a:lnTo>
                  <a:lnTo>
                    <a:pt x="762" y="84"/>
                  </a:lnTo>
                  <a:lnTo>
                    <a:pt x="768" y="84"/>
                  </a:lnTo>
                  <a:lnTo>
                    <a:pt x="768" y="72"/>
                  </a:lnTo>
                  <a:lnTo>
                    <a:pt x="780" y="66"/>
                  </a:lnTo>
                  <a:lnTo>
                    <a:pt x="798" y="54"/>
                  </a:lnTo>
                  <a:lnTo>
                    <a:pt x="792" y="54"/>
                  </a:lnTo>
                  <a:lnTo>
                    <a:pt x="798" y="36"/>
                  </a:lnTo>
                  <a:lnTo>
                    <a:pt x="804" y="36"/>
                  </a:lnTo>
                  <a:lnTo>
                    <a:pt x="816" y="30"/>
                  </a:lnTo>
                  <a:lnTo>
                    <a:pt x="828" y="30"/>
                  </a:lnTo>
                  <a:lnTo>
                    <a:pt x="846" y="12"/>
                  </a:lnTo>
                  <a:lnTo>
                    <a:pt x="876" y="0"/>
                  </a:lnTo>
                  <a:lnTo>
                    <a:pt x="882" y="6"/>
                  </a:lnTo>
                  <a:lnTo>
                    <a:pt x="900" y="6"/>
                  </a:lnTo>
                  <a:lnTo>
                    <a:pt x="912" y="36"/>
                  </a:lnTo>
                  <a:lnTo>
                    <a:pt x="918" y="42"/>
                  </a:lnTo>
                  <a:lnTo>
                    <a:pt x="924" y="54"/>
                  </a:lnTo>
                  <a:lnTo>
                    <a:pt x="930" y="54"/>
                  </a:lnTo>
                  <a:lnTo>
                    <a:pt x="930" y="78"/>
                  </a:lnTo>
                  <a:lnTo>
                    <a:pt x="954" y="72"/>
                  </a:lnTo>
                  <a:lnTo>
                    <a:pt x="954" y="60"/>
                  </a:lnTo>
                  <a:lnTo>
                    <a:pt x="966" y="66"/>
                  </a:lnTo>
                  <a:lnTo>
                    <a:pt x="966" y="78"/>
                  </a:lnTo>
                  <a:lnTo>
                    <a:pt x="960" y="84"/>
                  </a:lnTo>
                  <a:lnTo>
                    <a:pt x="954" y="102"/>
                  </a:lnTo>
                  <a:lnTo>
                    <a:pt x="972" y="102"/>
                  </a:lnTo>
                  <a:lnTo>
                    <a:pt x="978" y="84"/>
                  </a:lnTo>
                  <a:lnTo>
                    <a:pt x="984" y="72"/>
                  </a:lnTo>
                  <a:lnTo>
                    <a:pt x="990" y="72"/>
                  </a:lnTo>
                  <a:lnTo>
                    <a:pt x="996" y="18"/>
                  </a:lnTo>
                  <a:lnTo>
                    <a:pt x="990" y="12"/>
                  </a:lnTo>
                  <a:lnTo>
                    <a:pt x="1014" y="12"/>
                  </a:lnTo>
                  <a:lnTo>
                    <a:pt x="1026" y="12"/>
                  </a:lnTo>
                  <a:lnTo>
                    <a:pt x="1026" y="24"/>
                  </a:lnTo>
                  <a:lnTo>
                    <a:pt x="1050" y="24"/>
                  </a:lnTo>
                  <a:lnTo>
                    <a:pt x="1050" y="36"/>
                  </a:lnTo>
                  <a:lnTo>
                    <a:pt x="1062" y="66"/>
                  </a:lnTo>
                  <a:lnTo>
                    <a:pt x="1074" y="66"/>
                  </a:lnTo>
                  <a:lnTo>
                    <a:pt x="1080" y="60"/>
                  </a:lnTo>
                  <a:lnTo>
                    <a:pt x="1074" y="24"/>
                  </a:lnTo>
                  <a:lnTo>
                    <a:pt x="1086" y="18"/>
                  </a:lnTo>
                  <a:lnTo>
                    <a:pt x="1086" y="12"/>
                  </a:lnTo>
                  <a:lnTo>
                    <a:pt x="1104" y="6"/>
                  </a:lnTo>
                  <a:lnTo>
                    <a:pt x="1122" y="0"/>
                  </a:lnTo>
                  <a:lnTo>
                    <a:pt x="1134" y="6"/>
                  </a:lnTo>
                  <a:lnTo>
                    <a:pt x="1134" y="42"/>
                  </a:lnTo>
                  <a:lnTo>
                    <a:pt x="1140" y="72"/>
                  </a:lnTo>
                  <a:lnTo>
                    <a:pt x="1158" y="114"/>
                  </a:lnTo>
                  <a:lnTo>
                    <a:pt x="1170" y="114"/>
                  </a:lnTo>
                  <a:lnTo>
                    <a:pt x="1170" y="126"/>
                  </a:lnTo>
                  <a:lnTo>
                    <a:pt x="1182" y="126"/>
                  </a:lnTo>
                  <a:lnTo>
                    <a:pt x="1182" y="138"/>
                  </a:lnTo>
                  <a:lnTo>
                    <a:pt x="1194" y="144"/>
                  </a:lnTo>
                  <a:lnTo>
                    <a:pt x="1194" y="156"/>
                  </a:lnTo>
                  <a:lnTo>
                    <a:pt x="1188" y="156"/>
                  </a:lnTo>
                  <a:lnTo>
                    <a:pt x="1194" y="162"/>
                  </a:lnTo>
                  <a:lnTo>
                    <a:pt x="1194" y="168"/>
                  </a:lnTo>
                  <a:lnTo>
                    <a:pt x="1188" y="168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82" y="180"/>
                  </a:lnTo>
                  <a:lnTo>
                    <a:pt x="1188" y="186"/>
                  </a:lnTo>
                  <a:lnTo>
                    <a:pt x="1188" y="192"/>
                  </a:lnTo>
                  <a:lnTo>
                    <a:pt x="1182" y="198"/>
                  </a:lnTo>
                  <a:lnTo>
                    <a:pt x="1182" y="204"/>
                  </a:lnTo>
                  <a:lnTo>
                    <a:pt x="1182" y="210"/>
                  </a:lnTo>
                  <a:lnTo>
                    <a:pt x="1188" y="210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2"/>
                  </a:lnTo>
                  <a:lnTo>
                    <a:pt x="1194" y="264"/>
                  </a:lnTo>
                  <a:lnTo>
                    <a:pt x="1200" y="264"/>
                  </a:lnTo>
                  <a:lnTo>
                    <a:pt x="1212" y="264"/>
                  </a:lnTo>
                  <a:lnTo>
                    <a:pt x="1212" y="258"/>
                  </a:lnTo>
                  <a:lnTo>
                    <a:pt x="1224" y="258"/>
                  </a:lnTo>
                  <a:lnTo>
                    <a:pt x="1248" y="252"/>
                  </a:lnTo>
                  <a:lnTo>
                    <a:pt x="1248" y="264"/>
                  </a:lnTo>
                  <a:lnTo>
                    <a:pt x="1254" y="264"/>
                  </a:lnTo>
                  <a:lnTo>
                    <a:pt x="1254" y="270"/>
                  </a:lnTo>
                  <a:lnTo>
                    <a:pt x="1260" y="270"/>
                  </a:lnTo>
                  <a:lnTo>
                    <a:pt x="1266" y="270"/>
                  </a:lnTo>
                  <a:lnTo>
                    <a:pt x="1272" y="270"/>
                  </a:lnTo>
                  <a:lnTo>
                    <a:pt x="1272" y="264"/>
                  </a:lnTo>
                  <a:lnTo>
                    <a:pt x="1272" y="258"/>
                  </a:lnTo>
                  <a:lnTo>
                    <a:pt x="1278" y="258"/>
                  </a:lnTo>
                  <a:lnTo>
                    <a:pt x="1278" y="252"/>
                  </a:lnTo>
                  <a:lnTo>
                    <a:pt x="1290" y="252"/>
                  </a:lnTo>
                  <a:lnTo>
                    <a:pt x="1296" y="246"/>
                  </a:lnTo>
                  <a:lnTo>
                    <a:pt x="1308" y="246"/>
                  </a:lnTo>
                  <a:lnTo>
                    <a:pt x="1308" y="240"/>
                  </a:lnTo>
                  <a:lnTo>
                    <a:pt x="1320" y="240"/>
                  </a:lnTo>
                  <a:lnTo>
                    <a:pt x="1326" y="246"/>
                  </a:lnTo>
                  <a:lnTo>
                    <a:pt x="1338" y="246"/>
                  </a:lnTo>
                  <a:lnTo>
                    <a:pt x="1338" y="240"/>
                  </a:lnTo>
                  <a:lnTo>
                    <a:pt x="1350" y="240"/>
                  </a:lnTo>
                  <a:lnTo>
                    <a:pt x="1386" y="234"/>
                  </a:lnTo>
                  <a:lnTo>
                    <a:pt x="1398" y="228"/>
                  </a:lnTo>
                  <a:lnTo>
                    <a:pt x="1404" y="216"/>
                  </a:lnTo>
                  <a:lnTo>
                    <a:pt x="1416" y="204"/>
                  </a:lnTo>
                  <a:lnTo>
                    <a:pt x="1434" y="192"/>
                  </a:lnTo>
                  <a:lnTo>
                    <a:pt x="1446" y="198"/>
                  </a:lnTo>
                  <a:lnTo>
                    <a:pt x="1446" y="204"/>
                  </a:lnTo>
                  <a:lnTo>
                    <a:pt x="1452" y="210"/>
                  </a:lnTo>
                  <a:lnTo>
                    <a:pt x="1464" y="222"/>
                  </a:lnTo>
                  <a:lnTo>
                    <a:pt x="1464" y="228"/>
                  </a:lnTo>
                  <a:lnTo>
                    <a:pt x="1464" y="234"/>
                  </a:lnTo>
                  <a:lnTo>
                    <a:pt x="1470" y="240"/>
                  </a:lnTo>
                  <a:lnTo>
                    <a:pt x="1476" y="228"/>
                  </a:lnTo>
                  <a:lnTo>
                    <a:pt x="1476" y="222"/>
                  </a:lnTo>
                  <a:lnTo>
                    <a:pt x="1482" y="210"/>
                  </a:lnTo>
                  <a:lnTo>
                    <a:pt x="1488" y="192"/>
                  </a:lnTo>
                  <a:lnTo>
                    <a:pt x="1488" y="186"/>
                  </a:lnTo>
                  <a:lnTo>
                    <a:pt x="1488" y="180"/>
                  </a:lnTo>
                  <a:lnTo>
                    <a:pt x="1500" y="180"/>
                  </a:lnTo>
                  <a:lnTo>
                    <a:pt x="1500" y="174"/>
                  </a:lnTo>
                  <a:lnTo>
                    <a:pt x="1518" y="162"/>
                  </a:lnTo>
                  <a:lnTo>
                    <a:pt x="1536" y="150"/>
                  </a:lnTo>
                  <a:lnTo>
                    <a:pt x="1554" y="168"/>
                  </a:lnTo>
                  <a:lnTo>
                    <a:pt x="1572" y="180"/>
                  </a:lnTo>
                  <a:lnTo>
                    <a:pt x="1596" y="216"/>
                  </a:lnTo>
                  <a:lnTo>
                    <a:pt x="1602" y="216"/>
                  </a:lnTo>
                  <a:lnTo>
                    <a:pt x="1614" y="228"/>
                  </a:lnTo>
                  <a:lnTo>
                    <a:pt x="1614" y="234"/>
                  </a:lnTo>
                  <a:lnTo>
                    <a:pt x="1620" y="240"/>
                  </a:lnTo>
                  <a:lnTo>
                    <a:pt x="1620" y="246"/>
                  </a:lnTo>
                  <a:lnTo>
                    <a:pt x="1626" y="252"/>
                  </a:lnTo>
                  <a:lnTo>
                    <a:pt x="1632" y="258"/>
                  </a:lnTo>
                  <a:lnTo>
                    <a:pt x="1632" y="264"/>
                  </a:lnTo>
                  <a:lnTo>
                    <a:pt x="1638" y="264"/>
                  </a:lnTo>
                  <a:lnTo>
                    <a:pt x="1638" y="270"/>
                  </a:lnTo>
                  <a:lnTo>
                    <a:pt x="1638" y="276"/>
                  </a:lnTo>
                  <a:lnTo>
                    <a:pt x="1638" y="282"/>
                  </a:lnTo>
                  <a:lnTo>
                    <a:pt x="1644" y="288"/>
                  </a:lnTo>
                  <a:lnTo>
                    <a:pt x="1644" y="294"/>
                  </a:lnTo>
                  <a:lnTo>
                    <a:pt x="1644" y="300"/>
                  </a:lnTo>
                  <a:lnTo>
                    <a:pt x="1644" y="306"/>
                  </a:lnTo>
                  <a:lnTo>
                    <a:pt x="1650" y="306"/>
                  </a:lnTo>
                  <a:lnTo>
                    <a:pt x="1650" y="312"/>
                  </a:lnTo>
                  <a:lnTo>
                    <a:pt x="1650" y="318"/>
                  </a:lnTo>
                  <a:lnTo>
                    <a:pt x="1650" y="324"/>
                  </a:lnTo>
                  <a:lnTo>
                    <a:pt x="1644" y="330"/>
                  </a:lnTo>
                  <a:lnTo>
                    <a:pt x="1626" y="330"/>
                  </a:lnTo>
                  <a:lnTo>
                    <a:pt x="1626" y="336"/>
                  </a:lnTo>
                  <a:lnTo>
                    <a:pt x="1626" y="342"/>
                  </a:lnTo>
                  <a:lnTo>
                    <a:pt x="1626" y="348"/>
                  </a:lnTo>
                  <a:lnTo>
                    <a:pt x="1620" y="354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14" y="390"/>
                  </a:lnTo>
                  <a:lnTo>
                    <a:pt x="1614" y="396"/>
                  </a:lnTo>
                  <a:lnTo>
                    <a:pt x="1614" y="402"/>
                  </a:lnTo>
                  <a:lnTo>
                    <a:pt x="1614" y="408"/>
                  </a:lnTo>
                  <a:lnTo>
                    <a:pt x="1614" y="414"/>
                  </a:lnTo>
                  <a:lnTo>
                    <a:pt x="1602" y="420"/>
                  </a:lnTo>
                  <a:lnTo>
                    <a:pt x="1602" y="426"/>
                  </a:lnTo>
                  <a:lnTo>
                    <a:pt x="1608" y="432"/>
                  </a:lnTo>
                  <a:lnTo>
                    <a:pt x="1614" y="426"/>
                  </a:lnTo>
                  <a:lnTo>
                    <a:pt x="1620" y="438"/>
                  </a:lnTo>
                  <a:lnTo>
                    <a:pt x="1626" y="438"/>
                  </a:lnTo>
                  <a:lnTo>
                    <a:pt x="1632" y="444"/>
                  </a:lnTo>
                  <a:lnTo>
                    <a:pt x="1626" y="456"/>
                  </a:lnTo>
                  <a:lnTo>
                    <a:pt x="1626" y="468"/>
                  </a:lnTo>
                  <a:lnTo>
                    <a:pt x="1620" y="474"/>
                  </a:lnTo>
                  <a:lnTo>
                    <a:pt x="1614" y="474"/>
                  </a:lnTo>
                  <a:lnTo>
                    <a:pt x="1614" y="486"/>
                  </a:lnTo>
                  <a:lnTo>
                    <a:pt x="1614" y="492"/>
                  </a:lnTo>
                  <a:lnTo>
                    <a:pt x="1620" y="492"/>
                  </a:lnTo>
                  <a:lnTo>
                    <a:pt x="1626" y="498"/>
                  </a:lnTo>
                  <a:lnTo>
                    <a:pt x="1626" y="504"/>
                  </a:lnTo>
                  <a:lnTo>
                    <a:pt x="1626" y="510"/>
                  </a:lnTo>
                  <a:lnTo>
                    <a:pt x="1620" y="516"/>
                  </a:lnTo>
                  <a:lnTo>
                    <a:pt x="1620" y="522"/>
                  </a:lnTo>
                  <a:lnTo>
                    <a:pt x="1614" y="522"/>
                  </a:lnTo>
                  <a:lnTo>
                    <a:pt x="1608" y="528"/>
                  </a:lnTo>
                  <a:lnTo>
                    <a:pt x="1602" y="522"/>
                  </a:lnTo>
                  <a:lnTo>
                    <a:pt x="1602" y="528"/>
                  </a:lnTo>
                  <a:lnTo>
                    <a:pt x="1602" y="540"/>
                  </a:lnTo>
                  <a:lnTo>
                    <a:pt x="1602" y="558"/>
                  </a:lnTo>
                  <a:lnTo>
                    <a:pt x="1602" y="564"/>
                  </a:lnTo>
                  <a:lnTo>
                    <a:pt x="1602" y="570"/>
                  </a:lnTo>
                  <a:lnTo>
                    <a:pt x="1602" y="576"/>
                  </a:lnTo>
                  <a:lnTo>
                    <a:pt x="1596" y="576"/>
                  </a:lnTo>
                  <a:lnTo>
                    <a:pt x="1632" y="582"/>
                  </a:lnTo>
                  <a:lnTo>
                    <a:pt x="1644" y="618"/>
                  </a:lnTo>
                  <a:lnTo>
                    <a:pt x="1650" y="648"/>
                  </a:lnTo>
                  <a:lnTo>
                    <a:pt x="1662" y="636"/>
                  </a:lnTo>
                  <a:lnTo>
                    <a:pt x="1668" y="636"/>
                  </a:lnTo>
                  <a:lnTo>
                    <a:pt x="1674" y="636"/>
                  </a:lnTo>
                  <a:lnTo>
                    <a:pt x="1680" y="630"/>
                  </a:lnTo>
                  <a:lnTo>
                    <a:pt x="1686" y="630"/>
                  </a:lnTo>
                  <a:lnTo>
                    <a:pt x="1692" y="630"/>
                  </a:lnTo>
                  <a:lnTo>
                    <a:pt x="1698" y="630"/>
                  </a:lnTo>
                  <a:lnTo>
                    <a:pt x="1704" y="630"/>
                  </a:lnTo>
                  <a:lnTo>
                    <a:pt x="1704" y="624"/>
                  </a:lnTo>
                  <a:lnTo>
                    <a:pt x="1710" y="624"/>
                  </a:lnTo>
                  <a:lnTo>
                    <a:pt x="1716" y="624"/>
                  </a:lnTo>
                  <a:lnTo>
                    <a:pt x="1722" y="624"/>
                  </a:lnTo>
                  <a:lnTo>
                    <a:pt x="1728" y="624"/>
                  </a:lnTo>
                  <a:lnTo>
                    <a:pt x="1722" y="618"/>
                  </a:lnTo>
                  <a:lnTo>
                    <a:pt x="1728" y="606"/>
                  </a:lnTo>
                  <a:lnTo>
                    <a:pt x="1734" y="606"/>
                  </a:lnTo>
                  <a:lnTo>
                    <a:pt x="1740" y="600"/>
                  </a:lnTo>
                  <a:lnTo>
                    <a:pt x="1746" y="594"/>
                  </a:lnTo>
                  <a:lnTo>
                    <a:pt x="1752" y="588"/>
                  </a:lnTo>
                  <a:lnTo>
                    <a:pt x="1752" y="582"/>
                  </a:lnTo>
                  <a:lnTo>
                    <a:pt x="1758" y="576"/>
                  </a:lnTo>
                  <a:lnTo>
                    <a:pt x="1764" y="576"/>
                  </a:lnTo>
                  <a:lnTo>
                    <a:pt x="1770" y="570"/>
                  </a:lnTo>
                  <a:lnTo>
                    <a:pt x="1776" y="564"/>
                  </a:lnTo>
                  <a:lnTo>
                    <a:pt x="1788" y="558"/>
                  </a:lnTo>
                  <a:lnTo>
                    <a:pt x="1788" y="546"/>
                  </a:lnTo>
                  <a:lnTo>
                    <a:pt x="1788" y="540"/>
                  </a:lnTo>
                  <a:lnTo>
                    <a:pt x="1794" y="540"/>
                  </a:lnTo>
                  <a:lnTo>
                    <a:pt x="1788" y="534"/>
                  </a:lnTo>
                  <a:lnTo>
                    <a:pt x="1788" y="528"/>
                  </a:lnTo>
                  <a:lnTo>
                    <a:pt x="1794" y="516"/>
                  </a:lnTo>
                  <a:lnTo>
                    <a:pt x="1800" y="510"/>
                  </a:lnTo>
                  <a:lnTo>
                    <a:pt x="1812" y="510"/>
                  </a:lnTo>
                  <a:lnTo>
                    <a:pt x="1818" y="504"/>
                  </a:lnTo>
                  <a:lnTo>
                    <a:pt x="1824" y="504"/>
                  </a:lnTo>
                  <a:lnTo>
                    <a:pt x="1830" y="498"/>
                  </a:lnTo>
                  <a:lnTo>
                    <a:pt x="1836" y="498"/>
                  </a:lnTo>
                  <a:lnTo>
                    <a:pt x="1848" y="492"/>
                  </a:lnTo>
                  <a:lnTo>
                    <a:pt x="1848" y="480"/>
                  </a:lnTo>
                  <a:lnTo>
                    <a:pt x="1854" y="480"/>
                  </a:lnTo>
                  <a:lnTo>
                    <a:pt x="1890" y="504"/>
                  </a:lnTo>
                  <a:lnTo>
                    <a:pt x="1908" y="534"/>
                  </a:lnTo>
                  <a:lnTo>
                    <a:pt x="1902" y="534"/>
                  </a:lnTo>
                  <a:lnTo>
                    <a:pt x="1920" y="528"/>
                  </a:lnTo>
                  <a:lnTo>
                    <a:pt x="1920" y="516"/>
                  </a:lnTo>
                  <a:lnTo>
                    <a:pt x="1944" y="516"/>
                  </a:lnTo>
                  <a:lnTo>
                    <a:pt x="2004" y="516"/>
                  </a:lnTo>
                  <a:lnTo>
                    <a:pt x="2010" y="510"/>
                  </a:lnTo>
                  <a:lnTo>
                    <a:pt x="2004" y="510"/>
                  </a:lnTo>
                  <a:lnTo>
                    <a:pt x="2010" y="498"/>
                  </a:lnTo>
                  <a:lnTo>
                    <a:pt x="2004" y="486"/>
                  </a:lnTo>
                  <a:lnTo>
                    <a:pt x="2004" y="480"/>
                  </a:lnTo>
                  <a:lnTo>
                    <a:pt x="2004" y="474"/>
                  </a:lnTo>
                  <a:lnTo>
                    <a:pt x="2004" y="462"/>
                  </a:lnTo>
                  <a:lnTo>
                    <a:pt x="2004" y="456"/>
                  </a:lnTo>
                  <a:lnTo>
                    <a:pt x="2058" y="462"/>
                  </a:lnTo>
                  <a:lnTo>
                    <a:pt x="2076" y="474"/>
                  </a:lnTo>
                  <a:lnTo>
                    <a:pt x="2082" y="522"/>
                  </a:lnTo>
                  <a:lnTo>
                    <a:pt x="2088" y="516"/>
                  </a:lnTo>
                  <a:lnTo>
                    <a:pt x="2094" y="522"/>
                  </a:lnTo>
                  <a:lnTo>
                    <a:pt x="2100" y="528"/>
                  </a:lnTo>
                  <a:lnTo>
                    <a:pt x="2130" y="540"/>
                  </a:lnTo>
                  <a:lnTo>
                    <a:pt x="2160" y="564"/>
                  </a:lnTo>
                  <a:lnTo>
                    <a:pt x="2166" y="600"/>
                  </a:lnTo>
                  <a:lnTo>
                    <a:pt x="2160" y="618"/>
                  </a:lnTo>
                  <a:lnTo>
                    <a:pt x="2142" y="636"/>
                  </a:lnTo>
                  <a:lnTo>
                    <a:pt x="2148" y="648"/>
                  </a:lnTo>
                  <a:lnTo>
                    <a:pt x="2154" y="660"/>
                  </a:lnTo>
                  <a:lnTo>
                    <a:pt x="2196" y="654"/>
                  </a:lnTo>
                  <a:lnTo>
                    <a:pt x="2214" y="660"/>
                  </a:lnTo>
                  <a:lnTo>
                    <a:pt x="2214" y="666"/>
                  </a:lnTo>
                  <a:lnTo>
                    <a:pt x="2220" y="672"/>
                  </a:lnTo>
                  <a:lnTo>
                    <a:pt x="2214" y="678"/>
                  </a:lnTo>
                  <a:lnTo>
                    <a:pt x="2214" y="684"/>
                  </a:lnTo>
                  <a:lnTo>
                    <a:pt x="2214" y="690"/>
                  </a:lnTo>
                  <a:lnTo>
                    <a:pt x="2208" y="690"/>
                  </a:lnTo>
                  <a:lnTo>
                    <a:pt x="2202" y="696"/>
                  </a:lnTo>
                  <a:lnTo>
                    <a:pt x="2196" y="702"/>
                  </a:lnTo>
                  <a:lnTo>
                    <a:pt x="2190" y="708"/>
                  </a:lnTo>
                  <a:lnTo>
                    <a:pt x="2190" y="720"/>
                  </a:lnTo>
                  <a:lnTo>
                    <a:pt x="2184" y="720"/>
                  </a:lnTo>
                  <a:lnTo>
                    <a:pt x="2178" y="726"/>
                  </a:lnTo>
                  <a:lnTo>
                    <a:pt x="2166" y="732"/>
                  </a:lnTo>
                  <a:lnTo>
                    <a:pt x="2160" y="744"/>
                  </a:lnTo>
                  <a:lnTo>
                    <a:pt x="2154" y="756"/>
                  </a:lnTo>
                  <a:lnTo>
                    <a:pt x="2148" y="762"/>
                  </a:lnTo>
                  <a:lnTo>
                    <a:pt x="2124" y="762"/>
                  </a:lnTo>
                  <a:lnTo>
                    <a:pt x="2124" y="768"/>
                  </a:lnTo>
                  <a:lnTo>
                    <a:pt x="2118" y="768"/>
                  </a:lnTo>
                  <a:lnTo>
                    <a:pt x="2124" y="774"/>
                  </a:lnTo>
                  <a:lnTo>
                    <a:pt x="2118" y="774"/>
                  </a:lnTo>
                  <a:lnTo>
                    <a:pt x="2112" y="774"/>
                  </a:lnTo>
                  <a:lnTo>
                    <a:pt x="2106" y="780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06" y="798"/>
                  </a:lnTo>
                  <a:lnTo>
                    <a:pt x="2106" y="810"/>
                  </a:lnTo>
                  <a:lnTo>
                    <a:pt x="2112" y="828"/>
                  </a:lnTo>
                  <a:lnTo>
                    <a:pt x="2112" y="834"/>
                  </a:lnTo>
                  <a:lnTo>
                    <a:pt x="2112" y="840"/>
                  </a:lnTo>
                  <a:lnTo>
                    <a:pt x="2112" y="834"/>
                  </a:lnTo>
                  <a:lnTo>
                    <a:pt x="2124" y="834"/>
                  </a:lnTo>
                  <a:lnTo>
                    <a:pt x="2130" y="834"/>
                  </a:lnTo>
                  <a:lnTo>
                    <a:pt x="2136" y="840"/>
                  </a:lnTo>
                  <a:lnTo>
                    <a:pt x="2142" y="840"/>
                  </a:lnTo>
                  <a:lnTo>
                    <a:pt x="2154" y="852"/>
                  </a:lnTo>
                  <a:lnTo>
                    <a:pt x="2160" y="852"/>
                  </a:lnTo>
                  <a:lnTo>
                    <a:pt x="2172" y="846"/>
                  </a:lnTo>
                  <a:lnTo>
                    <a:pt x="2178" y="846"/>
                  </a:lnTo>
                  <a:lnTo>
                    <a:pt x="2184" y="846"/>
                  </a:lnTo>
                  <a:lnTo>
                    <a:pt x="2190" y="846"/>
                  </a:lnTo>
                  <a:lnTo>
                    <a:pt x="2196" y="852"/>
                  </a:lnTo>
                  <a:lnTo>
                    <a:pt x="2196" y="858"/>
                  </a:lnTo>
                  <a:lnTo>
                    <a:pt x="2202" y="852"/>
                  </a:lnTo>
                  <a:lnTo>
                    <a:pt x="2208" y="846"/>
                  </a:lnTo>
                  <a:lnTo>
                    <a:pt x="2214" y="846"/>
                  </a:lnTo>
                  <a:lnTo>
                    <a:pt x="2226" y="846"/>
                  </a:lnTo>
                  <a:lnTo>
                    <a:pt x="2232" y="852"/>
                  </a:lnTo>
                  <a:lnTo>
                    <a:pt x="2238" y="852"/>
                  </a:lnTo>
                  <a:lnTo>
                    <a:pt x="2244" y="858"/>
                  </a:lnTo>
                  <a:lnTo>
                    <a:pt x="2250" y="858"/>
                  </a:lnTo>
                  <a:lnTo>
                    <a:pt x="2256" y="858"/>
                  </a:lnTo>
                  <a:lnTo>
                    <a:pt x="2262" y="858"/>
                  </a:lnTo>
                  <a:lnTo>
                    <a:pt x="2268" y="852"/>
                  </a:lnTo>
                  <a:lnTo>
                    <a:pt x="2274" y="852"/>
                  </a:lnTo>
                  <a:lnTo>
                    <a:pt x="2280" y="852"/>
                  </a:lnTo>
                  <a:lnTo>
                    <a:pt x="2286" y="852"/>
                  </a:lnTo>
                  <a:lnTo>
                    <a:pt x="2298" y="858"/>
                  </a:lnTo>
                  <a:lnTo>
                    <a:pt x="2304" y="858"/>
                  </a:lnTo>
                  <a:lnTo>
                    <a:pt x="2310" y="858"/>
                  </a:lnTo>
                  <a:lnTo>
                    <a:pt x="2316" y="852"/>
                  </a:lnTo>
                  <a:lnTo>
                    <a:pt x="2322" y="858"/>
                  </a:lnTo>
                  <a:lnTo>
                    <a:pt x="2328" y="858"/>
                  </a:lnTo>
                  <a:lnTo>
                    <a:pt x="2328" y="852"/>
                  </a:lnTo>
                  <a:lnTo>
                    <a:pt x="2364" y="858"/>
                  </a:lnTo>
                  <a:lnTo>
                    <a:pt x="2376" y="876"/>
                  </a:lnTo>
                  <a:lnTo>
                    <a:pt x="2382" y="936"/>
                  </a:lnTo>
                  <a:lnTo>
                    <a:pt x="2388" y="966"/>
                  </a:lnTo>
                  <a:lnTo>
                    <a:pt x="2382" y="972"/>
                  </a:lnTo>
                  <a:lnTo>
                    <a:pt x="2382" y="978"/>
                  </a:lnTo>
                  <a:lnTo>
                    <a:pt x="2382" y="984"/>
                  </a:lnTo>
                  <a:lnTo>
                    <a:pt x="2388" y="990"/>
                  </a:lnTo>
                  <a:lnTo>
                    <a:pt x="2382" y="990"/>
                  </a:lnTo>
                  <a:lnTo>
                    <a:pt x="2382" y="996"/>
                  </a:lnTo>
                  <a:lnTo>
                    <a:pt x="2376" y="996"/>
                  </a:lnTo>
                  <a:lnTo>
                    <a:pt x="2376" y="1020"/>
                  </a:lnTo>
                  <a:lnTo>
                    <a:pt x="2370" y="1032"/>
                  </a:lnTo>
                  <a:lnTo>
                    <a:pt x="2352" y="1032"/>
                  </a:lnTo>
                  <a:lnTo>
                    <a:pt x="2346" y="1020"/>
                  </a:lnTo>
                  <a:lnTo>
                    <a:pt x="2328" y="1032"/>
                  </a:lnTo>
                  <a:lnTo>
                    <a:pt x="2316" y="1038"/>
                  </a:lnTo>
                  <a:lnTo>
                    <a:pt x="2328" y="1044"/>
                  </a:lnTo>
                  <a:lnTo>
                    <a:pt x="2340" y="1056"/>
                  </a:lnTo>
                  <a:lnTo>
                    <a:pt x="2376" y="1062"/>
                  </a:lnTo>
                  <a:lnTo>
                    <a:pt x="2376" y="1068"/>
                  </a:lnTo>
                  <a:lnTo>
                    <a:pt x="2382" y="1086"/>
                  </a:lnTo>
                  <a:lnTo>
                    <a:pt x="2376" y="1086"/>
                  </a:lnTo>
                  <a:lnTo>
                    <a:pt x="2370" y="1086"/>
                  </a:lnTo>
                  <a:lnTo>
                    <a:pt x="2364" y="1086"/>
                  </a:lnTo>
                  <a:lnTo>
                    <a:pt x="2364" y="1098"/>
                  </a:lnTo>
                  <a:lnTo>
                    <a:pt x="2388" y="1104"/>
                  </a:lnTo>
                  <a:lnTo>
                    <a:pt x="2400" y="1122"/>
                  </a:lnTo>
                  <a:lnTo>
                    <a:pt x="2400" y="1134"/>
                  </a:lnTo>
                  <a:lnTo>
                    <a:pt x="2400" y="1146"/>
                  </a:lnTo>
                  <a:lnTo>
                    <a:pt x="2394" y="1146"/>
                  </a:lnTo>
                  <a:lnTo>
                    <a:pt x="2394" y="1152"/>
                  </a:lnTo>
                  <a:lnTo>
                    <a:pt x="2388" y="1152"/>
                  </a:lnTo>
                  <a:lnTo>
                    <a:pt x="2388" y="1146"/>
                  </a:lnTo>
                  <a:lnTo>
                    <a:pt x="2382" y="1152"/>
                  </a:lnTo>
                  <a:lnTo>
                    <a:pt x="2376" y="1152"/>
                  </a:lnTo>
                  <a:lnTo>
                    <a:pt x="2370" y="1158"/>
                  </a:lnTo>
                  <a:lnTo>
                    <a:pt x="2370" y="1164"/>
                  </a:lnTo>
                  <a:lnTo>
                    <a:pt x="2364" y="1170"/>
                  </a:lnTo>
                  <a:lnTo>
                    <a:pt x="2370" y="1170"/>
                  </a:lnTo>
                  <a:lnTo>
                    <a:pt x="2376" y="1170"/>
                  </a:lnTo>
                  <a:lnTo>
                    <a:pt x="2370" y="1176"/>
                  </a:lnTo>
                  <a:lnTo>
                    <a:pt x="2364" y="1176"/>
                  </a:lnTo>
                  <a:lnTo>
                    <a:pt x="2358" y="1182"/>
                  </a:lnTo>
                  <a:lnTo>
                    <a:pt x="2352" y="1182"/>
                  </a:lnTo>
                  <a:lnTo>
                    <a:pt x="2346" y="1188"/>
                  </a:lnTo>
                  <a:lnTo>
                    <a:pt x="2340" y="1182"/>
                  </a:lnTo>
                  <a:lnTo>
                    <a:pt x="2334" y="1182"/>
                  </a:lnTo>
                  <a:lnTo>
                    <a:pt x="2334" y="1188"/>
                  </a:lnTo>
                  <a:lnTo>
                    <a:pt x="2328" y="1194"/>
                  </a:lnTo>
                  <a:lnTo>
                    <a:pt x="2328" y="1200"/>
                  </a:lnTo>
                  <a:lnTo>
                    <a:pt x="2322" y="1224"/>
                  </a:lnTo>
                  <a:lnTo>
                    <a:pt x="2328" y="1230"/>
                  </a:lnTo>
                  <a:lnTo>
                    <a:pt x="2358" y="1230"/>
                  </a:lnTo>
                  <a:lnTo>
                    <a:pt x="2358" y="1242"/>
                  </a:lnTo>
                  <a:lnTo>
                    <a:pt x="2358" y="1254"/>
                  </a:lnTo>
                  <a:lnTo>
                    <a:pt x="2346" y="1254"/>
                  </a:lnTo>
                  <a:lnTo>
                    <a:pt x="2346" y="1278"/>
                  </a:lnTo>
                  <a:lnTo>
                    <a:pt x="2358" y="1278"/>
                  </a:lnTo>
                  <a:lnTo>
                    <a:pt x="2358" y="1284"/>
                  </a:lnTo>
                  <a:lnTo>
                    <a:pt x="2376" y="1284"/>
                  </a:lnTo>
                  <a:lnTo>
                    <a:pt x="2388" y="1278"/>
                  </a:lnTo>
                  <a:lnTo>
                    <a:pt x="2406" y="1278"/>
                  </a:lnTo>
                  <a:lnTo>
                    <a:pt x="2430" y="1284"/>
                  </a:lnTo>
                  <a:lnTo>
                    <a:pt x="2430" y="1302"/>
                  </a:lnTo>
                  <a:lnTo>
                    <a:pt x="2430" y="1314"/>
                  </a:lnTo>
                  <a:lnTo>
                    <a:pt x="2424" y="1326"/>
                  </a:lnTo>
                  <a:lnTo>
                    <a:pt x="2412" y="1326"/>
                  </a:lnTo>
                  <a:lnTo>
                    <a:pt x="2412" y="1344"/>
                  </a:lnTo>
                  <a:lnTo>
                    <a:pt x="2406" y="1344"/>
                  </a:lnTo>
                  <a:lnTo>
                    <a:pt x="2400" y="1362"/>
                  </a:lnTo>
                  <a:lnTo>
                    <a:pt x="2394" y="1368"/>
                  </a:lnTo>
                  <a:lnTo>
                    <a:pt x="2388" y="1374"/>
                  </a:lnTo>
                  <a:lnTo>
                    <a:pt x="2382" y="1380"/>
                  </a:lnTo>
                  <a:lnTo>
                    <a:pt x="2376" y="1386"/>
                  </a:lnTo>
                  <a:lnTo>
                    <a:pt x="2376" y="1392"/>
                  </a:lnTo>
                  <a:lnTo>
                    <a:pt x="2370" y="1404"/>
                  </a:lnTo>
                  <a:lnTo>
                    <a:pt x="2364" y="1416"/>
                  </a:lnTo>
                  <a:lnTo>
                    <a:pt x="2346" y="1434"/>
                  </a:lnTo>
                  <a:lnTo>
                    <a:pt x="2328" y="1440"/>
                  </a:lnTo>
                  <a:lnTo>
                    <a:pt x="2328" y="1446"/>
                  </a:lnTo>
                  <a:lnTo>
                    <a:pt x="2322" y="1452"/>
                  </a:lnTo>
                  <a:lnTo>
                    <a:pt x="2316" y="1452"/>
                  </a:lnTo>
                  <a:lnTo>
                    <a:pt x="2304" y="1446"/>
                  </a:lnTo>
                  <a:lnTo>
                    <a:pt x="2298" y="1446"/>
                  </a:lnTo>
                  <a:lnTo>
                    <a:pt x="2298" y="1434"/>
                  </a:lnTo>
                  <a:lnTo>
                    <a:pt x="2292" y="1434"/>
                  </a:lnTo>
                  <a:lnTo>
                    <a:pt x="2286" y="1428"/>
                  </a:lnTo>
                  <a:lnTo>
                    <a:pt x="2274" y="1416"/>
                  </a:lnTo>
                  <a:lnTo>
                    <a:pt x="2256" y="1404"/>
                  </a:lnTo>
                  <a:lnTo>
                    <a:pt x="2244" y="1386"/>
                  </a:lnTo>
                  <a:lnTo>
                    <a:pt x="2220" y="1368"/>
                  </a:lnTo>
                  <a:lnTo>
                    <a:pt x="2208" y="1362"/>
                  </a:lnTo>
                  <a:lnTo>
                    <a:pt x="2202" y="1350"/>
                  </a:lnTo>
                  <a:lnTo>
                    <a:pt x="2196" y="1350"/>
                  </a:lnTo>
                  <a:lnTo>
                    <a:pt x="2190" y="1356"/>
                  </a:lnTo>
                  <a:lnTo>
                    <a:pt x="2184" y="1356"/>
                  </a:lnTo>
                  <a:lnTo>
                    <a:pt x="2094" y="1350"/>
                  </a:lnTo>
                  <a:lnTo>
                    <a:pt x="2058" y="1350"/>
                  </a:lnTo>
                  <a:lnTo>
                    <a:pt x="2034" y="1890"/>
                  </a:lnTo>
                  <a:lnTo>
                    <a:pt x="2064" y="1890"/>
                  </a:lnTo>
                  <a:lnTo>
                    <a:pt x="2070" y="1896"/>
                  </a:lnTo>
                  <a:lnTo>
                    <a:pt x="2076" y="18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8" name="Freeform 33">
              <a:extLst>
                <a:ext uri="{FF2B5EF4-FFF2-40B4-BE49-F238E27FC236}">
                  <a16:creationId xmlns:a16="http://schemas.microsoft.com/office/drawing/2014/main" id="{0E96F118-1F4D-4E52-AF27-149259451CD6}"/>
                </a:ext>
              </a:extLst>
            </p:cNvPr>
            <p:cNvSpPr>
              <a:spLocks/>
            </p:cNvSpPr>
            <p:nvPr/>
          </p:nvSpPr>
          <p:spPr bwMode="gray">
            <a:xfrm>
              <a:off x="1266662" y="1459989"/>
              <a:ext cx="903421" cy="778302"/>
            </a:xfrm>
            <a:custGeom>
              <a:avLst/>
              <a:gdLst>
                <a:gd name="T0" fmla="*/ 143 w 1698"/>
                <a:gd name="T1" fmla="*/ 43 h 1464"/>
                <a:gd name="T2" fmla="*/ 131 w 1698"/>
                <a:gd name="T3" fmla="*/ 44 h 1464"/>
                <a:gd name="T4" fmla="*/ 126 w 1698"/>
                <a:gd name="T5" fmla="*/ 41 h 1464"/>
                <a:gd name="T6" fmla="*/ 119 w 1698"/>
                <a:gd name="T7" fmla="*/ 45 h 1464"/>
                <a:gd name="T8" fmla="*/ 111 w 1698"/>
                <a:gd name="T9" fmla="*/ 46 h 1464"/>
                <a:gd name="T10" fmla="*/ 107 w 1698"/>
                <a:gd name="T11" fmla="*/ 50 h 1464"/>
                <a:gd name="T12" fmla="*/ 107 w 1698"/>
                <a:gd name="T13" fmla="*/ 60 h 1464"/>
                <a:gd name="T14" fmla="*/ 104 w 1698"/>
                <a:gd name="T15" fmla="*/ 62 h 1464"/>
                <a:gd name="T16" fmla="*/ 97 w 1698"/>
                <a:gd name="T17" fmla="*/ 59 h 1464"/>
                <a:gd name="T18" fmla="*/ 92 w 1698"/>
                <a:gd name="T19" fmla="*/ 59 h 1464"/>
                <a:gd name="T20" fmla="*/ 90 w 1698"/>
                <a:gd name="T21" fmla="*/ 62 h 1464"/>
                <a:gd name="T22" fmla="*/ 93 w 1698"/>
                <a:gd name="T23" fmla="*/ 77 h 1464"/>
                <a:gd name="T24" fmla="*/ 85 w 1698"/>
                <a:gd name="T25" fmla="*/ 88 h 1464"/>
                <a:gd name="T26" fmla="*/ 70 w 1698"/>
                <a:gd name="T27" fmla="*/ 89 h 1464"/>
                <a:gd name="T28" fmla="*/ 65 w 1698"/>
                <a:gd name="T29" fmla="*/ 88 h 1464"/>
                <a:gd name="T30" fmla="*/ 50 w 1698"/>
                <a:gd name="T31" fmla="*/ 88 h 1464"/>
                <a:gd name="T32" fmla="*/ 48 w 1698"/>
                <a:gd name="T33" fmla="*/ 107 h 1464"/>
                <a:gd name="T34" fmla="*/ 47 w 1698"/>
                <a:gd name="T35" fmla="*/ 120 h 1464"/>
                <a:gd name="T36" fmla="*/ 43 w 1698"/>
                <a:gd name="T37" fmla="*/ 121 h 1464"/>
                <a:gd name="T38" fmla="*/ 40 w 1698"/>
                <a:gd name="T39" fmla="*/ 120 h 1464"/>
                <a:gd name="T40" fmla="*/ 35 w 1698"/>
                <a:gd name="T41" fmla="*/ 122 h 1464"/>
                <a:gd name="T42" fmla="*/ 29 w 1698"/>
                <a:gd name="T43" fmla="*/ 123 h 1464"/>
                <a:gd name="T44" fmla="*/ 24 w 1698"/>
                <a:gd name="T45" fmla="*/ 125 h 1464"/>
                <a:gd name="T46" fmla="*/ 20 w 1698"/>
                <a:gd name="T47" fmla="*/ 125 h 1464"/>
                <a:gd name="T48" fmla="*/ 18 w 1698"/>
                <a:gd name="T49" fmla="*/ 122 h 1464"/>
                <a:gd name="T50" fmla="*/ 26 w 1698"/>
                <a:gd name="T51" fmla="*/ 108 h 1464"/>
                <a:gd name="T52" fmla="*/ 24 w 1698"/>
                <a:gd name="T53" fmla="*/ 89 h 1464"/>
                <a:gd name="T54" fmla="*/ 28 w 1698"/>
                <a:gd name="T55" fmla="*/ 85 h 1464"/>
                <a:gd name="T56" fmla="*/ 32 w 1698"/>
                <a:gd name="T57" fmla="*/ 80 h 1464"/>
                <a:gd name="T58" fmla="*/ 36 w 1698"/>
                <a:gd name="T59" fmla="*/ 86 h 1464"/>
                <a:gd name="T60" fmla="*/ 39 w 1698"/>
                <a:gd name="T61" fmla="*/ 80 h 1464"/>
                <a:gd name="T62" fmla="*/ 41 w 1698"/>
                <a:gd name="T63" fmla="*/ 73 h 1464"/>
                <a:gd name="T64" fmla="*/ 38 w 1698"/>
                <a:gd name="T65" fmla="*/ 64 h 1464"/>
                <a:gd name="T66" fmla="*/ 39 w 1698"/>
                <a:gd name="T67" fmla="*/ 59 h 1464"/>
                <a:gd name="T68" fmla="*/ 32 w 1698"/>
                <a:gd name="T69" fmla="*/ 54 h 1464"/>
                <a:gd name="T70" fmla="*/ 32 w 1698"/>
                <a:gd name="T71" fmla="*/ 45 h 1464"/>
                <a:gd name="T72" fmla="*/ 31 w 1698"/>
                <a:gd name="T73" fmla="*/ 41 h 1464"/>
                <a:gd name="T74" fmla="*/ 24 w 1698"/>
                <a:gd name="T75" fmla="*/ 43 h 1464"/>
                <a:gd name="T76" fmla="*/ 17 w 1698"/>
                <a:gd name="T77" fmla="*/ 40 h 1464"/>
                <a:gd name="T78" fmla="*/ 11 w 1698"/>
                <a:gd name="T79" fmla="*/ 38 h 1464"/>
                <a:gd name="T80" fmla="*/ 2 w 1698"/>
                <a:gd name="T81" fmla="*/ 36 h 1464"/>
                <a:gd name="T82" fmla="*/ 0 w 1698"/>
                <a:gd name="T83" fmla="*/ 24 h 1464"/>
                <a:gd name="T84" fmla="*/ 11 w 1698"/>
                <a:gd name="T85" fmla="*/ 18 h 1464"/>
                <a:gd name="T86" fmla="*/ 19 w 1698"/>
                <a:gd name="T87" fmla="*/ 10 h 1464"/>
                <a:gd name="T88" fmla="*/ 28 w 1698"/>
                <a:gd name="T89" fmla="*/ 9 h 1464"/>
                <a:gd name="T90" fmla="*/ 40 w 1698"/>
                <a:gd name="T91" fmla="*/ 6 h 1464"/>
                <a:gd name="T92" fmla="*/ 49 w 1698"/>
                <a:gd name="T93" fmla="*/ 8 h 1464"/>
                <a:gd name="T94" fmla="*/ 56 w 1698"/>
                <a:gd name="T95" fmla="*/ 8 h 1464"/>
                <a:gd name="T96" fmla="*/ 64 w 1698"/>
                <a:gd name="T97" fmla="*/ 7 h 1464"/>
                <a:gd name="T98" fmla="*/ 74 w 1698"/>
                <a:gd name="T99" fmla="*/ 1 h 1464"/>
                <a:gd name="T100" fmla="*/ 83 w 1698"/>
                <a:gd name="T101" fmla="*/ 3 h 1464"/>
                <a:gd name="T102" fmla="*/ 99 w 1698"/>
                <a:gd name="T103" fmla="*/ 9 h 1464"/>
                <a:gd name="T104" fmla="*/ 112 w 1698"/>
                <a:gd name="T105" fmla="*/ 14 h 1464"/>
                <a:gd name="T106" fmla="*/ 119 w 1698"/>
                <a:gd name="T107" fmla="*/ 12 h 1464"/>
                <a:gd name="T108" fmla="*/ 128 w 1698"/>
                <a:gd name="T109" fmla="*/ 17 h 1464"/>
                <a:gd name="T110" fmla="*/ 141 w 1698"/>
                <a:gd name="T111" fmla="*/ 29 h 1464"/>
                <a:gd name="T112" fmla="*/ 145 w 1698"/>
                <a:gd name="T113" fmla="*/ 35 h 14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98"/>
                <a:gd name="T172" fmla="*/ 0 h 1464"/>
                <a:gd name="T173" fmla="*/ 1698 w 1698"/>
                <a:gd name="T174" fmla="*/ 1464 h 14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98" h="1464">
                  <a:moveTo>
                    <a:pt x="1698" y="462"/>
                  </a:moveTo>
                  <a:lnTo>
                    <a:pt x="1686" y="468"/>
                  </a:lnTo>
                  <a:lnTo>
                    <a:pt x="1680" y="474"/>
                  </a:lnTo>
                  <a:lnTo>
                    <a:pt x="1674" y="480"/>
                  </a:lnTo>
                  <a:lnTo>
                    <a:pt x="1668" y="480"/>
                  </a:lnTo>
                  <a:lnTo>
                    <a:pt x="1662" y="486"/>
                  </a:lnTo>
                  <a:lnTo>
                    <a:pt x="1656" y="492"/>
                  </a:lnTo>
                  <a:lnTo>
                    <a:pt x="1644" y="498"/>
                  </a:lnTo>
                  <a:lnTo>
                    <a:pt x="1626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0" y="516"/>
                  </a:lnTo>
                  <a:lnTo>
                    <a:pt x="1590" y="522"/>
                  </a:lnTo>
                  <a:lnTo>
                    <a:pt x="1566" y="522"/>
                  </a:lnTo>
                  <a:lnTo>
                    <a:pt x="1506" y="510"/>
                  </a:lnTo>
                  <a:lnTo>
                    <a:pt x="1500" y="510"/>
                  </a:lnTo>
                  <a:lnTo>
                    <a:pt x="1488" y="504"/>
                  </a:lnTo>
                  <a:lnTo>
                    <a:pt x="1482" y="498"/>
                  </a:lnTo>
                  <a:lnTo>
                    <a:pt x="1476" y="498"/>
                  </a:lnTo>
                  <a:lnTo>
                    <a:pt x="1476" y="492"/>
                  </a:lnTo>
                  <a:lnTo>
                    <a:pt x="1470" y="492"/>
                  </a:lnTo>
                  <a:lnTo>
                    <a:pt x="1464" y="486"/>
                  </a:lnTo>
                  <a:lnTo>
                    <a:pt x="1452" y="486"/>
                  </a:lnTo>
                  <a:lnTo>
                    <a:pt x="1446" y="474"/>
                  </a:lnTo>
                  <a:lnTo>
                    <a:pt x="1434" y="468"/>
                  </a:lnTo>
                  <a:lnTo>
                    <a:pt x="1416" y="468"/>
                  </a:lnTo>
                  <a:lnTo>
                    <a:pt x="1392" y="468"/>
                  </a:lnTo>
                  <a:lnTo>
                    <a:pt x="1374" y="474"/>
                  </a:lnTo>
                  <a:lnTo>
                    <a:pt x="1368" y="474"/>
                  </a:lnTo>
                  <a:lnTo>
                    <a:pt x="1368" y="486"/>
                  </a:lnTo>
                  <a:lnTo>
                    <a:pt x="1368" y="498"/>
                  </a:lnTo>
                  <a:lnTo>
                    <a:pt x="1368" y="522"/>
                  </a:lnTo>
                  <a:lnTo>
                    <a:pt x="1368" y="534"/>
                  </a:lnTo>
                  <a:lnTo>
                    <a:pt x="1362" y="546"/>
                  </a:lnTo>
                  <a:lnTo>
                    <a:pt x="1356" y="546"/>
                  </a:lnTo>
                  <a:lnTo>
                    <a:pt x="1344" y="540"/>
                  </a:lnTo>
                  <a:lnTo>
                    <a:pt x="1338" y="534"/>
                  </a:lnTo>
                  <a:lnTo>
                    <a:pt x="1308" y="522"/>
                  </a:lnTo>
                  <a:lnTo>
                    <a:pt x="1296" y="522"/>
                  </a:lnTo>
                  <a:lnTo>
                    <a:pt x="1278" y="528"/>
                  </a:lnTo>
                  <a:lnTo>
                    <a:pt x="1260" y="534"/>
                  </a:lnTo>
                  <a:lnTo>
                    <a:pt x="1242" y="546"/>
                  </a:lnTo>
                  <a:lnTo>
                    <a:pt x="1236" y="552"/>
                  </a:lnTo>
                  <a:lnTo>
                    <a:pt x="1224" y="558"/>
                  </a:lnTo>
                  <a:lnTo>
                    <a:pt x="1218" y="558"/>
                  </a:lnTo>
                  <a:lnTo>
                    <a:pt x="1218" y="564"/>
                  </a:lnTo>
                  <a:lnTo>
                    <a:pt x="1224" y="570"/>
                  </a:lnTo>
                  <a:lnTo>
                    <a:pt x="1224" y="582"/>
                  </a:lnTo>
                  <a:lnTo>
                    <a:pt x="1224" y="594"/>
                  </a:lnTo>
                  <a:lnTo>
                    <a:pt x="1212" y="618"/>
                  </a:lnTo>
                  <a:lnTo>
                    <a:pt x="1212" y="624"/>
                  </a:lnTo>
                  <a:lnTo>
                    <a:pt x="1212" y="630"/>
                  </a:lnTo>
                  <a:lnTo>
                    <a:pt x="1212" y="636"/>
                  </a:lnTo>
                  <a:lnTo>
                    <a:pt x="1218" y="654"/>
                  </a:lnTo>
                  <a:lnTo>
                    <a:pt x="1224" y="672"/>
                  </a:lnTo>
                  <a:lnTo>
                    <a:pt x="1230" y="696"/>
                  </a:lnTo>
                  <a:lnTo>
                    <a:pt x="1236" y="708"/>
                  </a:lnTo>
                  <a:lnTo>
                    <a:pt x="1236" y="714"/>
                  </a:lnTo>
                  <a:lnTo>
                    <a:pt x="1236" y="720"/>
                  </a:lnTo>
                  <a:lnTo>
                    <a:pt x="1218" y="726"/>
                  </a:lnTo>
                  <a:lnTo>
                    <a:pt x="1212" y="726"/>
                  </a:lnTo>
                  <a:lnTo>
                    <a:pt x="1206" y="726"/>
                  </a:lnTo>
                  <a:lnTo>
                    <a:pt x="1194" y="720"/>
                  </a:lnTo>
                  <a:lnTo>
                    <a:pt x="1194" y="714"/>
                  </a:lnTo>
                  <a:lnTo>
                    <a:pt x="1176" y="714"/>
                  </a:lnTo>
                  <a:lnTo>
                    <a:pt x="1164" y="708"/>
                  </a:lnTo>
                  <a:lnTo>
                    <a:pt x="1158" y="708"/>
                  </a:lnTo>
                  <a:lnTo>
                    <a:pt x="1140" y="702"/>
                  </a:lnTo>
                  <a:lnTo>
                    <a:pt x="1134" y="696"/>
                  </a:lnTo>
                  <a:lnTo>
                    <a:pt x="1128" y="690"/>
                  </a:lnTo>
                  <a:lnTo>
                    <a:pt x="1116" y="678"/>
                  </a:lnTo>
                  <a:lnTo>
                    <a:pt x="1110" y="678"/>
                  </a:lnTo>
                  <a:lnTo>
                    <a:pt x="1104" y="672"/>
                  </a:lnTo>
                  <a:lnTo>
                    <a:pt x="1092" y="672"/>
                  </a:lnTo>
                  <a:lnTo>
                    <a:pt x="1086" y="672"/>
                  </a:lnTo>
                  <a:lnTo>
                    <a:pt x="1080" y="672"/>
                  </a:lnTo>
                  <a:lnTo>
                    <a:pt x="1074" y="672"/>
                  </a:lnTo>
                  <a:lnTo>
                    <a:pt x="1068" y="672"/>
                  </a:lnTo>
                  <a:lnTo>
                    <a:pt x="1062" y="678"/>
                  </a:lnTo>
                  <a:lnTo>
                    <a:pt x="1056" y="678"/>
                  </a:lnTo>
                  <a:lnTo>
                    <a:pt x="1056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6"/>
                  </a:lnTo>
                  <a:lnTo>
                    <a:pt x="1032" y="708"/>
                  </a:lnTo>
                  <a:lnTo>
                    <a:pt x="1026" y="708"/>
                  </a:lnTo>
                  <a:lnTo>
                    <a:pt x="1032" y="714"/>
                  </a:lnTo>
                  <a:lnTo>
                    <a:pt x="1026" y="720"/>
                  </a:lnTo>
                  <a:lnTo>
                    <a:pt x="1020" y="720"/>
                  </a:lnTo>
                  <a:lnTo>
                    <a:pt x="1014" y="732"/>
                  </a:lnTo>
                  <a:lnTo>
                    <a:pt x="1014" y="744"/>
                  </a:lnTo>
                  <a:lnTo>
                    <a:pt x="1038" y="810"/>
                  </a:lnTo>
                  <a:lnTo>
                    <a:pt x="1050" y="834"/>
                  </a:lnTo>
                  <a:lnTo>
                    <a:pt x="1056" y="858"/>
                  </a:lnTo>
                  <a:lnTo>
                    <a:pt x="1062" y="876"/>
                  </a:lnTo>
                  <a:lnTo>
                    <a:pt x="1068" y="882"/>
                  </a:lnTo>
                  <a:lnTo>
                    <a:pt x="1062" y="972"/>
                  </a:lnTo>
                  <a:lnTo>
                    <a:pt x="1056" y="972"/>
                  </a:lnTo>
                  <a:lnTo>
                    <a:pt x="1050" y="996"/>
                  </a:lnTo>
                  <a:lnTo>
                    <a:pt x="1044" y="1014"/>
                  </a:lnTo>
                  <a:lnTo>
                    <a:pt x="1008" y="1014"/>
                  </a:lnTo>
                  <a:lnTo>
                    <a:pt x="1008" y="1008"/>
                  </a:lnTo>
                  <a:lnTo>
                    <a:pt x="990" y="1008"/>
                  </a:lnTo>
                  <a:lnTo>
                    <a:pt x="972" y="1014"/>
                  </a:lnTo>
                  <a:lnTo>
                    <a:pt x="948" y="1020"/>
                  </a:lnTo>
                  <a:lnTo>
                    <a:pt x="918" y="1026"/>
                  </a:lnTo>
                  <a:lnTo>
                    <a:pt x="840" y="1032"/>
                  </a:lnTo>
                  <a:lnTo>
                    <a:pt x="834" y="1032"/>
                  </a:lnTo>
                  <a:lnTo>
                    <a:pt x="834" y="1026"/>
                  </a:lnTo>
                  <a:lnTo>
                    <a:pt x="822" y="1026"/>
                  </a:lnTo>
                  <a:lnTo>
                    <a:pt x="816" y="1032"/>
                  </a:lnTo>
                  <a:lnTo>
                    <a:pt x="804" y="1032"/>
                  </a:lnTo>
                  <a:lnTo>
                    <a:pt x="798" y="1026"/>
                  </a:lnTo>
                  <a:lnTo>
                    <a:pt x="780" y="1026"/>
                  </a:lnTo>
                  <a:lnTo>
                    <a:pt x="762" y="1026"/>
                  </a:lnTo>
                  <a:lnTo>
                    <a:pt x="756" y="1026"/>
                  </a:lnTo>
                  <a:lnTo>
                    <a:pt x="750" y="1026"/>
                  </a:lnTo>
                  <a:lnTo>
                    <a:pt x="756" y="1020"/>
                  </a:lnTo>
                  <a:lnTo>
                    <a:pt x="750" y="1020"/>
                  </a:lnTo>
                  <a:lnTo>
                    <a:pt x="744" y="1014"/>
                  </a:lnTo>
                  <a:lnTo>
                    <a:pt x="684" y="1020"/>
                  </a:lnTo>
                  <a:lnTo>
                    <a:pt x="648" y="1020"/>
                  </a:lnTo>
                  <a:lnTo>
                    <a:pt x="630" y="1020"/>
                  </a:lnTo>
                  <a:lnTo>
                    <a:pt x="618" y="1020"/>
                  </a:lnTo>
                  <a:lnTo>
                    <a:pt x="606" y="1014"/>
                  </a:lnTo>
                  <a:lnTo>
                    <a:pt x="582" y="1014"/>
                  </a:lnTo>
                  <a:lnTo>
                    <a:pt x="576" y="1014"/>
                  </a:lnTo>
                  <a:lnTo>
                    <a:pt x="570" y="1014"/>
                  </a:lnTo>
                  <a:lnTo>
                    <a:pt x="564" y="1020"/>
                  </a:lnTo>
                  <a:lnTo>
                    <a:pt x="558" y="1026"/>
                  </a:lnTo>
                  <a:lnTo>
                    <a:pt x="552" y="1032"/>
                  </a:lnTo>
                  <a:lnTo>
                    <a:pt x="552" y="1038"/>
                  </a:lnTo>
                  <a:lnTo>
                    <a:pt x="558" y="1194"/>
                  </a:lnTo>
                  <a:lnTo>
                    <a:pt x="558" y="1206"/>
                  </a:lnTo>
                  <a:lnTo>
                    <a:pt x="552" y="1218"/>
                  </a:lnTo>
                  <a:lnTo>
                    <a:pt x="552" y="1236"/>
                  </a:lnTo>
                  <a:lnTo>
                    <a:pt x="546" y="1272"/>
                  </a:lnTo>
                  <a:lnTo>
                    <a:pt x="546" y="1308"/>
                  </a:lnTo>
                  <a:lnTo>
                    <a:pt x="540" y="1332"/>
                  </a:lnTo>
                  <a:lnTo>
                    <a:pt x="546" y="1356"/>
                  </a:lnTo>
                  <a:lnTo>
                    <a:pt x="546" y="1362"/>
                  </a:lnTo>
                  <a:lnTo>
                    <a:pt x="546" y="1374"/>
                  </a:lnTo>
                  <a:lnTo>
                    <a:pt x="546" y="1380"/>
                  </a:lnTo>
                  <a:lnTo>
                    <a:pt x="540" y="1380"/>
                  </a:lnTo>
                  <a:lnTo>
                    <a:pt x="522" y="1380"/>
                  </a:lnTo>
                  <a:lnTo>
                    <a:pt x="516" y="1380"/>
                  </a:lnTo>
                  <a:lnTo>
                    <a:pt x="516" y="1386"/>
                  </a:lnTo>
                  <a:lnTo>
                    <a:pt x="516" y="1392"/>
                  </a:lnTo>
                  <a:lnTo>
                    <a:pt x="510" y="1392"/>
                  </a:lnTo>
                  <a:lnTo>
                    <a:pt x="504" y="1386"/>
                  </a:lnTo>
                  <a:lnTo>
                    <a:pt x="498" y="1392"/>
                  </a:lnTo>
                  <a:lnTo>
                    <a:pt x="492" y="1398"/>
                  </a:lnTo>
                  <a:lnTo>
                    <a:pt x="486" y="1398"/>
                  </a:lnTo>
                  <a:lnTo>
                    <a:pt x="486" y="1392"/>
                  </a:lnTo>
                  <a:lnTo>
                    <a:pt x="486" y="1380"/>
                  </a:lnTo>
                  <a:lnTo>
                    <a:pt x="486" y="1374"/>
                  </a:lnTo>
                  <a:lnTo>
                    <a:pt x="480" y="1374"/>
                  </a:lnTo>
                  <a:lnTo>
                    <a:pt x="474" y="1374"/>
                  </a:lnTo>
                  <a:lnTo>
                    <a:pt x="468" y="1380"/>
                  </a:lnTo>
                  <a:lnTo>
                    <a:pt x="462" y="1380"/>
                  </a:lnTo>
                  <a:lnTo>
                    <a:pt x="456" y="1380"/>
                  </a:lnTo>
                  <a:lnTo>
                    <a:pt x="450" y="1386"/>
                  </a:lnTo>
                  <a:lnTo>
                    <a:pt x="444" y="1386"/>
                  </a:lnTo>
                  <a:lnTo>
                    <a:pt x="444" y="1392"/>
                  </a:lnTo>
                  <a:lnTo>
                    <a:pt x="432" y="1398"/>
                  </a:lnTo>
                  <a:lnTo>
                    <a:pt x="426" y="1404"/>
                  </a:lnTo>
                  <a:lnTo>
                    <a:pt x="420" y="1404"/>
                  </a:lnTo>
                  <a:lnTo>
                    <a:pt x="408" y="1404"/>
                  </a:lnTo>
                  <a:lnTo>
                    <a:pt x="378" y="1410"/>
                  </a:lnTo>
                  <a:lnTo>
                    <a:pt x="372" y="1410"/>
                  </a:lnTo>
                  <a:lnTo>
                    <a:pt x="360" y="1410"/>
                  </a:lnTo>
                  <a:lnTo>
                    <a:pt x="354" y="1416"/>
                  </a:lnTo>
                  <a:lnTo>
                    <a:pt x="348" y="1416"/>
                  </a:lnTo>
                  <a:lnTo>
                    <a:pt x="342" y="1410"/>
                  </a:lnTo>
                  <a:lnTo>
                    <a:pt x="336" y="1410"/>
                  </a:lnTo>
                  <a:lnTo>
                    <a:pt x="336" y="1416"/>
                  </a:lnTo>
                  <a:lnTo>
                    <a:pt x="330" y="1422"/>
                  </a:lnTo>
                  <a:lnTo>
                    <a:pt x="324" y="1422"/>
                  </a:lnTo>
                  <a:lnTo>
                    <a:pt x="318" y="1422"/>
                  </a:lnTo>
                  <a:lnTo>
                    <a:pt x="312" y="1428"/>
                  </a:lnTo>
                  <a:lnTo>
                    <a:pt x="312" y="1434"/>
                  </a:lnTo>
                  <a:lnTo>
                    <a:pt x="300" y="1428"/>
                  </a:lnTo>
                  <a:lnTo>
                    <a:pt x="288" y="1434"/>
                  </a:lnTo>
                  <a:lnTo>
                    <a:pt x="282" y="1440"/>
                  </a:lnTo>
                  <a:lnTo>
                    <a:pt x="282" y="1446"/>
                  </a:lnTo>
                  <a:lnTo>
                    <a:pt x="276" y="1446"/>
                  </a:lnTo>
                  <a:lnTo>
                    <a:pt x="276" y="1452"/>
                  </a:lnTo>
                  <a:lnTo>
                    <a:pt x="270" y="1452"/>
                  </a:lnTo>
                  <a:lnTo>
                    <a:pt x="258" y="1464"/>
                  </a:lnTo>
                  <a:lnTo>
                    <a:pt x="240" y="1458"/>
                  </a:lnTo>
                  <a:lnTo>
                    <a:pt x="234" y="1452"/>
                  </a:lnTo>
                  <a:lnTo>
                    <a:pt x="234" y="1446"/>
                  </a:lnTo>
                  <a:lnTo>
                    <a:pt x="228" y="1446"/>
                  </a:lnTo>
                  <a:lnTo>
                    <a:pt x="222" y="1440"/>
                  </a:lnTo>
                  <a:lnTo>
                    <a:pt x="216" y="1440"/>
                  </a:lnTo>
                  <a:lnTo>
                    <a:pt x="210" y="1428"/>
                  </a:lnTo>
                  <a:lnTo>
                    <a:pt x="210" y="1422"/>
                  </a:lnTo>
                  <a:lnTo>
                    <a:pt x="198" y="1416"/>
                  </a:lnTo>
                  <a:lnTo>
                    <a:pt x="204" y="1410"/>
                  </a:lnTo>
                  <a:lnTo>
                    <a:pt x="210" y="1404"/>
                  </a:lnTo>
                  <a:lnTo>
                    <a:pt x="210" y="1398"/>
                  </a:lnTo>
                  <a:lnTo>
                    <a:pt x="252" y="1368"/>
                  </a:lnTo>
                  <a:lnTo>
                    <a:pt x="276" y="1350"/>
                  </a:lnTo>
                  <a:lnTo>
                    <a:pt x="300" y="1338"/>
                  </a:lnTo>
                  <a:lnTo>
                    <a:pt x="294" y="1314"/>
                  </a:lnTo>
                  <a:lnTo>
                    <a:pt x="288" y="1308"/>
                  </a:lnTo>
                  <a:lnTo>
                    <a:pt x="300" y="1266"/>
                  </a:lnTo>
                  <a:lnTo>
                    <a:pt x="300" y="1242"/>
                  </a:lnTo>
                  <a:lnTo>
                    <a:pt x="300" y="1206"/>
                  </a:lnTo>
                  <a:lnTo>
                    <a:pt x="300" y="1164"/>
                  </a:lnTo>
                  <a:lnTo>
                    <a:pt x="294" y="1134"/>
                  </a:lnTo>
                  <a:lnTo>
                    <a:pt x="282" y="1086"/>
                  </a:lnTo>
                  <a:lnTo>
                    <a:pt x="276" y="1074"/>
                  </a:lnTo>
                  <a:lnTo>
                    <a:pt x="276" y="1056"/>
                  </a:lnTo>
                  <a:lnTo>
                    <a:pt x="270" y="1038"/>
                  </a:lnTo>
                  <a:lnTo>
                    <a:pt x="270" y="1020"/>
                  </a:lnTo>
                  <a:lnTo>
                    <a:pt x="282" y="1020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94" y="1002"/>
                  </a:lnTo>
                  <a:lnTo>
                    <a:pt x="306" y="996"/>
                  </a:lnTo>
                  <a:lnTo>
                    <a:pt x="312" y="990"/>
                  </a:lnTo>
                  <a:lnTo>
                    <a:pt x="318" y="990"/>
                  </a:lnTo>
                  <a:lnTo>
                    <a:pt x="324" y="984"/>
                  </a:lnTo>
                  <a:lnTo>
                    <a:pt x="324" y="978"/>
                  </a:lnTo>
                  <a:lnTo>
                    <a:pt x="324" y="972"/>
                  </a:lnTo>
                  <a:lnTo>
                    <a:pt x="324" y="954"/>
                  </a:lnTo>
                  <a:lnTo>
                    <a:pt x="336" y="948"/>
                  </a:lnTo>
                  <a:lnTo>
                    <a:pt x="342" y="936"/>
                  </a:lnTo>
                  <a:lnTo>
                    <a:pt x="348" y="924"/>
                  </a:lnTo>
                  <a:lnTo>
                    <a:pt x="354" y="924"/>
                  </a:lnTo>
                  <a:lnTo>
                    <a:pt x="372" y="924"/>
                  </a:lnTo>
                  <a:lnTo>
                    <a:pt x="372" y="930"/>
                  </a:lnTo>
                  <a:lnTo>
                    <a:pt x="378" y="930"/>
                  </a:lnTo>
                  <a:lnTo>
                    <a:pt x="378" y="936"/>
                  </a:lnTo>
                  <a:lnTo>
                    <a:pt x="384" y="936"/>
                  </a:lnTo>
                  <a:lnTo>
                    <a:pt x="384" y="942"/>
                  </a:lnTo>
                  <a:lnTo>
                    <a:pt x="402" y="942"/>
                  </a:lnTo>
                  <a:lnTo>
                    <a:pt x="402" y="996"/>
                  </a:lnTo>
                  <a:lnTo>
                    <a:pt x="414" y="996"/>
                  </a:lnTo>
                  <a:lnTo>
                    <a:pt x="420" y="996"/>
                  </a:lnTo>
                  <a:lnTo>
                    <a:pt x="426" y="996"/>
                  </a:lnTo>
                  <a:lnTo>
                    <a:pt x="432" y="996"/>
                  </a:lnTo>
                  <a:lnTo>
                    <a:pt x="438" y="996"/>
                  </a:lnTo>
                  <a:lnTo>
                    <a:pt x="438" y="942"/>
                  </a:lnTo>
                  <a:lnTo>
                    <a:pt x="444" y="930"/>
                  </a:lnTo>
                  <a:lnTo>
                    <a:pt x="444" y="924"/>
                  </a:lnTo>
                  <a:lnTo>
                    <a:pt x="444" y="918"/>
                  </a:lnTo>
                  <a:lnTo>
                    <a:pt x="462" y="918"/>
                  </a:lnTo>
                  <a:lnTo>
                    <a:pt x="474" y="906"/>
                  </a:lnTo>
                  <a:lnTo>
                    <a:pt x="480" y="900"/>
                  </a:lnTo>
                  <a:lnTo>
                    <a:pt x="486" y="888"/>
                  </a:lnTo>
                  <a:lnTo>
                    <a:pt x="492" y="876"/>
                  </a:lnTo>
                  <a:lnTo>
                    <a:pt x="492" y="858"/>
                  </a:lnTo>
                  <a:lnTo>
                    <a:pt x="480" y="858"/>
                  </a:lnTo>
                  <a:lnTo>
                    <a:pt x="474" y="840"/>
                  </a:lnTo>
                  <a:lnTo>
                    <a:pt x="450" y="834"/>
                  </a:lnTo>
                  <a:lnTo>
                    <a:pt x="438" y="816"/>
                  </a:lnTo>
                  <a:lnTo>
                    <a:pt x="432" y="792"/>
                  </a:lnTo>
                  <a:lnTo>
                    <a:pt x="432" y="786"/>
                  </a:lnTo>
                  <a:lnTo>
                    <a:pt x="432" y="774"/>
                  </a:lnTo>
                  <a:lnTo>
                    <a:pt x="432" y="762"/>
                  </a:lnTo>
                  <a:lnTo>
                    <a:pt x="438" y="750"/>
                  </a:lnTo>
                  <a:lnTo>
                    <a:pt x="438" y="738"/>
                  </a:lnTo>
                  <a:lnTo>
                    <a:pt x="444" y="732"/>
                  </a:lnTo>
                  <a:lnTo>
                    <a:pt x="450" y="732"/>
                  </a:lnTo>
                  <a:lnTo>
                    <a:pt x="456" y="732"/>
                  </a:lnTo>
                  <a:lnTo>
                    <a:pt x="456" y="726"/>
                  </a:lnTo>
                  <a:lnTo>
                    <a:pt x="456" y="714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44" y="684"/>
                  </a:lnTo>
                  <a:lnTo>
                    <a:pt x="438" y="666"/>
                  </a:lnTo>
                  <a:lnTo>
                    <a:pt x="426" y="666"/>
                  </a:lnTo>
                  <a:lnTo>
                    <a:pt x="432" y="666"/>
                  </a:lnTo>
                  <a:lnTo>
                    <a:pt x="420" y="666"/>
                  </a:lnTo>
                  <a:lnTo>
                    <a:pt x="414" y="660"/>
                  </a:lnTo>
                  <a:lnTo>
                    <a:pt x="396" y="654"/>
                  </a:lnTo>
                  <a:lnTo>
                    <a:pt x="384" y="642"/>
                  </a:lnTo>
                  <a:lnTo>
                    <a:pt x="366" y="624"/>
                  </a:lnTo>
                  <a:lnTo>
                    <a:pt x="354" y="606"/>
                  </a:lnTo>
                  <a:lnTo>
                    <a:pt x="342" y="588"/>
                  </a:lnTo>
                  <a:lnTo>
                    <a:pt x="342" y="582"/>
                  </a:lnTo>
                  <a:lnTo>
                    <a:pt x="360" y="564"/>
                  </a:lnTo>
                  <a:lnTo>
                    <a:pt x="372" y="540"/>
                  </a:lnTo>
                  <a:lnTo>
                    <a:pt x="366" y="528"/>
                  </a:lnTo>
                  <a:lnTo>
                    <a:pt x="366" y="522"/>
                  </a:lnTo>
                  <a:lnTo>
                    <a:pt x="372" y="516"/>
                  </a:lnTo>
                  <a:lnTo>
                    <a:pt x="384" y="504"/>
                  </a:lnTo>
                  <a:lnTo>
                    <a:pt x="378" y="492"/>
                  </a:lnTo>
                  <a:lnTo>
                    <a:pt x="378" y="486"/>
                  </a:lnTo>
                  <a:lnTo>
                    <a:pt x="378" y="480"/>
                  </a:lnTo>
                  <a:lnTo>
                    <a:pt x="378" y="474"/>
                  </a:lnTo>
                  <a:lnTo>
                    <a:pt x="378" y="468"/>
                  </a:lnTo>
                  <a:lnTo>
                    <a:pt x="366" y="468"/>
                  </a:lnTo>
                  <a:lnTo>
                    <a:pt x="360" y="474"/>
                  </a:lnTo>
                  <a:lnTo>
                    <a:pt x="354" y="480"/>
                  </a:lnTo>
                  <a:lnTo>
                    <a:pt x="348" y="486"/>
                  </a:lnTo>
                  <a:lnTo>
                    <a:pt x="348" y="492"/>
                  </a:lnTo>
                  <a:lnTo>
                    <a:pt x="336" y="510"/>
                  </a:lnTo>
                  <a:lnTo>
                    <a:pt x="300" y="516"/>
                  </a:lnTo>
                  <a:lnTo>
                    <a:pt x="300" y="510"/>
                  </a:lnTo>
                  <a:lnTo>
                    <a:pt x="282" y="504"/>
                  </a:lnTo>
                  <a:lnTo>
                    <a:pt x="282" y="498"/>
                  </a:lnTo>
                  <a:lnTo>
                    <a:pt x="264" y="486"/>
                  </a:lnTo>
                  <a:lnTo>
                    <a:pt x="258" y="492"/>
                  </a:lnTo>
                  <a:lnTo>
                    <a:pt x="234" y="492"/>
                  </a:lnTo>
                  <a:lnTo>
                    <a:pt x="222" y="486"/>
                  </a:lnTo>
                  <a:lnTo>
                    <a:pt x="204" y="480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92" y="462"/>
                  </a:lnTo>
                  <a:lnTo>
                    <a:pt x="186" y="462"/>
                  </a:lnTo>
                  <a:lnTo>
                    <a:pt x="180" y="468"/>
                  </a:lnTo>
                  <a:lnTo>
                    <a:pt x="150" y="450"/>
                  </a:lnTo>
                  <a:lnTo>
                    <a:pt x="144" y="438"/>
                  </a:lnTo>
                  <a:lnTo>
                    <a:pt x="138" y="438"/>
                  </a:lnTo>
                  <a:lnTo>
                    <a:pt x="132" y="432"/>
                  </a:lnTo>
                  <a:lnTo>
                    <a:pt x="126" y="432"/>
                  </a:lnTo>
                  <a:lnTo>
                    <a:pt x="120" y="432"/>
                  </a:lnTo>
                  <a:lnTo>
                    <a:pt x="102" y="426"/>
                  </a:lnTo>
                  <a:lnTo>
                    <a:pt x="96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2" y="414"/>
                  </a:lnTo>
                  <a:lnTo>
                    <a:pt x="60" y="414"/>
                  </a:lnTo>
                  <a:lnTo>
                    <a:pt x="30" y="414"/>
                  </a:lnTo>
                  <a:lnTo>
                    <a:pt x="24" y="414"/>
                  </a:lnTo>
                  <a:lnTo>
                    <a:pt x="12" y="414"/>
                  </a:lnTo>
                  <a:lnTo>
                    <a:pt x="0" y="420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0" y="336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30" y="270"/>
                  </a:lnTo>
                  <a:lnTo>
                    <a:pt x="42" y="270"/>
                  </a:lnTo>
                  <a:lnTo>
                    <a:pt x="54" y="264"/>
                  </a:lnTo>
                  <a:lnTo>
                    <a:pt x="78" y="240"/>
                  </a:lnTo>
                  <a:lnTo>
                    <a:pt x="102" y="216"/>
                  </a:lnTo>
                  <a:lnTo>
                    <a:pt x="114" y="210"/>
                  </a:lnTo>
                  <a:lnTo>
                    <a:pt x="120" y="204"/>
                  </a:lnTo>
                  <a:lnTo>
                    <a:pt x="126" y="198"/>
                  </a:lnTo>
                  <a:lnTo>
                    <a:pt x="138" y="18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38"/>
                  </a:lnTo>
                  <a:lnTo>
                    <a:pt x="210" y="126"/>
                  </a:lnTo>
                  <a:lnTo>
                    <a:pt x="216" y="120"/>
                  </a:lnTo>
                  <a:lnTo>
                    <a:pt x="222" y="120"/>
                  </a:lnTo>
                  <a:lnTo>
                    <a:pt x="258" y="114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300" y="102"/>
                  </a:lnTo>
                  <a:lnTo>
                    <a:pt x="312" y="102"/>
                  </a:lnTo>
                  <a:lnTo>
                    <a:pt x="318" y="102"/>
                  </a:lnTo>
                  <a:lnTo>
                    <a:pt x="348" y="96"/>
                  </a:lnTo>
                  <a:lnTo>
                    <a:pt x="366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408" y="84"/>
                  </a:lnTo>
                  <a:lnTo>
                    <a:pt x="420" y="84"/>
                  </a:lnTo>
                  <a:lnTo>
                    <a:pt x="462" y="72"/>
                  </a:lnTo>
                  <a:lnTo>
                    <a:pt x="474" y="72"/>
                  </a:lnTo>
                  <a:lnTo>
                    <a:pt x="474" y="78"/>
                  </a:lnTo>
                  <a:lnTo>
                    <a:pt x="492" y="90"/>
                  </a:lnTo>
                  <a:lnTo>
                    <a:pt x="498" y="90"/>
                  </a:lnTo>
                  <a:lnTo>
                    <a:pt x="522" y="96"/>
                  </a:lnTo>
                  <a:lnTo>
                    <a:pt x="540" y="96"/>
                  </a:lnTo>
                  <a:lnTo>
                    <a:pt x="546" y="96"/>
                  </a:lnTo>
                  <a:lnTo>
                    <a:pt x="558" y="96"/>
                  </a:lnTo>
                  <a:lnTo>
                    <a:pt x="564" y="96"/>
                  </a:lnTo>
                  <a:lnTo>
                    <a:pt x="576" y="96"/>
                  </a:lnTo>
                  <a:lnTo>
                    <a:pt x="588" y="96"/>
                  </a:lnTo>
                  <a:lnTo>
                    <a:pt x="612" y="90"/>
                  </a:lnTo>
                  <a:lnTo>
                    <a:pt x="624" y="90"/>
                  </a:lnTo>
                  <a:lnTo>
                    <a:pt x="636" y="90"/>
                  </a:lnTo>
                  <a:lnTo>
                    <a:pt x="642" y="90"/>
                  </a:lnTo>
                  <a:lnTo>
                    <a:pt x="648" y="96"/>
                  </a:lnTo>
                  <a:lnTo>
                    <a:pt x="660" y="96"/>
                  </a:lnTo>
                  <a:lnTo>
                    <a:pt x="666" y="96"/>
                  </a:lnTo>
                  <a:lnTo>
                    <a:pt x="672" y="96"/>
                  </a:lnTo>
                  <a:lnTo>
                    <a:pt x="684" y="96"/>
                  </a:lnTo>
                  <a:lnTo>
                    <a:pt x="708" y="96"/>
                  </a:lnTo>
                  <a:lnTo>
                    <a:pt x="714" y="96"/>
                  </a:lnTo>
                  <a:lnTo>
                    <a:pt x="726" y="96"/>
                  </a:lnTo>
                  <a:lnTo>
                    <a:pt x="738" y="84"/>
                  </a:lnTo>
                  <a:lnTo>
                    <a:pt x="744" y="78"/>
                  </a:lnTo>
                  <a:lnTo>
                    <a:pt x="756" y="66"/>
                  </a:lnTo>
                  <a:lnTo>
                    <a:pt x="774" y="42"/>
                  </a:lnTo>
                  <a:lnTo>
                    <a:pt x="780" y="30"/>
                  </a:lnTo>
                  <a:lnTo>
                    <a:pt x="816" y="24"/>
                  </a:lnTo>
                  <a:lnTo>
                    <a:pt x="840" y="18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64" y="6"/>
                  </a:lnTo>
                  <a:lnTo>
                    <a:pt x="870" y="6"/>
                  </a:lnTo>
                  <a:lnTo>
                    <a:pt x="894" y="0"/>
                  </a:lnTo>
                  <a:lnTo>
                    <a:pt x="900" y="6"/>
                  </a:lnTo>
                  <a:lnTo>
                    <a:pt x="930" y="18"/>
                  </a:lnTo>
                  <a:lnTo>
                    <a:pt x="942" y="24"/>
                  </a:lnTo>
                  <a:lnTo>
                    <a:pt x="954" y="30"/>
                  </a:lnTo>
                  <a:lnTo>
                    <a:pt x="1026" y="60"/>
                  </a:lnTo>
                  <a:lnTo>
                    <a:pt x="1032" y="60"/>
                  </a:lnTo>
                  <a:lnTo>
                    <a:pt x="1038" y="66"/>
                  </a:lnTo>
                  <a:lnTo>
                    <a:pt x="1068" y="72"/>
                  </a:lnTo>
                  <a:lnTo>
                    <a:pt x="1098" y="84"/>
                  </a:lnTo>
                  <a:lnTo>
                    <a:pt x="1122" y="90"/>
                  </a:lnTo>
                  <a:lnTo>
                    <a:pt x="1122" y="96"/>
                  </a:lnTo>
                  <a:lnTo>
                    <a:pt x="1140" y="102"/>
                  </a:lnTo>
                  <a:lnTo>
                    <a:pt x="1182" y="114"/>
                  </a:lnTo>
                  <a:lnTo>
                    <a:pt x="1188" y="114"/>
                  </a:lnTo>
                  <a:lnTo>
                    <a:pt x="1200" y="120"/>
                  </a:lnTo>
                  <a:lnTo>
                    <a:pt x="1212" y="126"/>
                  </a:lnTo>
                  <a:lnTo>
                    <a:pt x="1224" y="126"/>
                  </a:lnTo>
                  <a:lnTo>
                    <a:pt x="1248" y="138"/>
                  </a:lnTo>
                  <a:lnTo>
                    <a:pt x="1272" y="150"/>
                  </a:lnTo>
                  <a:lnTo>
                    <a:pt x="1284" y="156"/>
                  </a:lnTo>
                  <a:lnTo>
                    <a:pt x="1290" y="162"/>
                  </a:lnTo>
                  <a:lnTo>
                    <a:pt x="1296" y="162"/>
                  </a:lnTo>
                  <a:lnTo>
                    <a:pt x="1308" y="156"/>
                  </a:lnTo>
                  <a:lnTo>
                    <a:pt x="1320" y="150"/>
                  </a:lnTo>
                  <a:lnTo>
                    <a:pt x="1326" y="150"/>
                  </a:lnTo>
                  <a:lnTo>
                    <a:pt x="1338" y="144"/>
                  </a:lnTo>
                  <a:lnTo>
                    <a:pt x="1362" y="144"/>
                  </a:lnTo>
                  <a:lnTo>
                    <a:pt x="1368" y="144"/>
                  </a:lnTo>
                  <a:lnTo>
                    <a:pt x="1374" y="144"/>
                  </a:lnTo>
                  <a:lnTo>
                    <a:pt x="1386" y="150"/>
                  </a:lnTo>
                  <a:lnTo>
                    <a:pt x="1392" y="150"/>
                  </a:lnTo>
                  <a:lnTo>
                    <a:pt x="1398" y="150"/>
                  </a:lnTo>
                  <a:lnTo>
                    <a:pt x="1416" y="162"/>
                  </a:lnTo>
                  <a:lnTo>
                    <a:pt x="1458" y="186"/>
                  </a:lnTo>
                  <a:lnTo>
                    <a:pt x="1464" y="186"/>
                  </a:lnTo>
                  <a:lnTo>
                    <a:pt x="1470" y="192"/>
                  </a:lnTo>
                  <a:lnTo>
                    <a:pt x="1482" y="204"/>
                  </a:lnTo>
                  <a:lnTo>
                    <a:pt x="1512" y="234"/>
                  </a:lnTo>
                  <a:lnTo>
                    <a:pt x="1554" y="276"/>
                  </a:lnTo>
                  <a:lnTo>
                    <a:pt x="1560" y="276"/>
                  </a:lnTo>
                  <a:lnTo>
                    <a:pt x="1566" y="282"/>
                  </a:lnTo>
                  <a:lnTo>
                    <a:pt x="1578" y="294"/>
                  </a:lnTo>
                  <a:lnTo>
                    <a:pt x="1602" y="318"/>
                  </a:lnTo>
                  <a:lnTo>
                    <a:pt x="1614" y="330"/>
                  </a:lnTo>
                  <a:lnTo>
                    <a:pt x="1620" y="336"/>
                  </a:lnTo>
                  <a:lnTo>
                    <a:pt x="1626" y="342"/>
                  </a:lnTo>
                  <a:lnTo>
                    <a:pt x="1632" y="354"/>
                  </a:lnTo>
                  <a:lnTo>
                    <a:pt x="1644" y="366"/>
                  </a:lnTo>
                  <a:lnTo>
                    <a:pt x="1650" y="378"/>
                  </a:lnTo>
                  <a:lnTo>
                    <a:pt x="1650" y="384"/>
                  </a:lnTo>
                  <a:lnTo>
                    <a:pt x="1656" y="384"/>
                  </a:lnTo>
                  <a:lnTo>
                    <a:pt x="1662" y="402"/>
                  </a:lnTo>
                  <a:lnTo>
                    <a:pt x="1668" y="408"/>
                  </a:lnTo>
                  <a:lnTo>
                    <a:pt x="1674" y="426"/>
                  </a:lnTo>
                  <a:lnTo>
                    <a:pt x="1686" y="438"/>
                  </a:lnTo>
                  <a:lnTo>
                    <a:pt x="1698" y="46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9" name="Freeform 34">
              <a:extLst>
                <a:ext uri="{FF2B5EF4-FFF2-40B4-BE49-F238E27FC236}">
                  <a16:creationId xmlns:a16="http://schemas.microsoft.com/office/drawing/2014/main" id="{94603F24-8CF7-4226-A433-00D18CA7D9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1988" y="1681402"/>
              <a:ext cx="869877" cy="1060101"/>
            </a:xfrm>
            <a:custGeom>
              <a:avLst/>
              <a:gdLst>
                <a:gd name="T0" fmla="*/ 4 w 1638"/>
                <a:gd name="T1" fmla="*/ 111 h 1998"/>
                <a:gd name="T2" fmla="*/ 6 w 1638"/>
                <a:gd name="T3" fmla="*/ 87 h 1998"/>
                <a:gd name="T4" fmla="*/ 10 w 1638"/>
                <a:gd name="T5" fmla="*/ 80 h 1998"/>
                <a:gd name="T6" fmla="*/ 10 w 1638"/>
                <a:gd name="T7" fmla="*/ 71 h 1998"/>
                <a:gd name="T8" fmla="*/ 9 w 1638"/>
                <a:gd name="T9" fmla="*/ 56 h 1998"/>
                <a:gd name="T10" fmla="*/ 8 w 1638"/>
                <a:gd name="T11" fmla="*/ 40 h 1998"/>
                <a:gd name="T12" fmla="*/ 20 w 1638"/>
                <a:gd name="T13" fmla="*/ 30 h 1998"/>
                <a:gd name="T14" fmla="*/ 30 w 1638"/>
                <a:gd name="T15" fmla="*/ 19 h 1998"/>
                <a:gd name="T16" fmla="*/ 35 w 1638"/>
                <a:gd name="T17" fmla="*/ 2 h 1998"/>
                <a:gd name="T18" fmla="*/ 47 w 1638"/>
                <a:gd name="T19" fmla="*/ 2 h 1998"/>
                <a:gd name="T20" fmla="*/ 56 w 1638"/>
                <a:gd name="T21" fmla="*/ 7 h 1998"/>
                <a:gd name="T22" fmla="*/ 67 w 1638"/>
                <a:gd name="T23" fmla="*/ 5 h 1998"/>
                <a:gd name="T24" fmla="*/ 65 w 1638"/>
                <a:gd name="T25" fmla="*/ 15 h 1998"/>
                <a:gd name="T26" fmla="*/ 74 w 1638"/>
                <a:gd name="T27" fmla="*/ 24 h 1998"/>
                <a:gd name="T28" fmla="*/ 73 w 1638"/>
                <a:gd name="T29" fmla="*/ 33 h 1998"/>
                <a:gd name="T30" fmla="*/ 74 w 1638"/>
                <a:gd name="T31" fmla="*/ 44 h 1998"/>
                <a:gd name="T32" fmla="*/ 68 w 1638"/>
                <a:gd name="T33" fmla="*/ 45 h 1998"/>
                <a:gd name="T34" fmla="*/ 63 w 1638"/>
                <a:gd name="T35" fmla="*/ 50 h 1998"/>
                <a:gd name="T36" fmla="*/ 61 w 1638"/>
                <a:gd name="T37" fmla="*/ 62 h 1998"/>
                <a:gd name="T38" fmla="*/ 53 w 1638"/>
                <a:gd name="T39" fmla="*/ 86 h 1998"/>
                <a:gd name="T40" fmla="*/ 59 w 1638"/>
                <a:gd name="T41" fmla="*/ 90 h 1998"/>
                <a:gd name="T42" fmla="*/ 65 w 1638"/>
                <a:gd name="T43" fmla="*/ 86 h 1998"/>
                <a:gd name="T44" fmla="*/ 74 w 1638"/>
                <a:gd name="T45" fmla="*/ 84 h 1998"/>
                <a:gd name="T46" fmla="*/ 79 w 1638"/>
                <a:gd name="T47" fmla="*/ 85 h 1998"/>
                <a:gd name="T48" fmla="*/ 84 w 1638"/>
                <a:gd name="T49" fmla="*/ 84 h 1998"/>
                <a:gd name="T50" fmla="*/ 91 w 1638"/>
                <a:gd name="T51" fmla="*/ 84 h 1998"/>
                <a:gd name="T52" fmla="*/ 94 w 1638"/>
                <a:gd name="T53" fmla="*/ 81 h 1998"/>
                <a:gd name="T54" fmla="*/ 100 w 1638"/>
                <a:gd name="T55" fmla="*/ 81 h 1998"/>
                <a:gd name="T56" fmla="*/ 102 w 1638"/>
                <a:gd name="T57" fmla="*/ 84 h 1998"/>
                <a:gd name="T58" fmla="*/ 108 w 1638"/>
                <a:gd name="T59" fmla="*/ 85 h 1998"/>
                <a:gd name="T60" fmla="*/ 113 w 1638"/>
                <a:gd name="T61" fmla="*/ 88 h 1998"/>
                <a:gd name="T62" fmla="*/ 116 w 1638"/>
                <a:gd name="T63" fmla="*/ 88 h 1998"/>
                <a:gd name="T64" fmla="*/ 123 w 1638"/>
                <a:gd name="T65" fmla="*/ 87 h 1998"/>
                <a:gd name="T66" fmla="*/ 128 w 1638"/>
                <a:gd name="T67" fmla="*/ 86 h 1998"/>
                <a:gd name="T68" fmla="*/ 132 w 1638"/>
                <a:gd name="T69" fmla="*/ 90 h 1998"/>
                <a:gd name="T70" fmla="*/ 138 w 1638"/>
                <a:gd name="T71" fmla="*/ 96 h 1998"/>
                <a:gd name="T72" fmla="*/ 138 w 1638"/>
                <a:gd name="T73" fmla="*/ 110 h 1998"/>
                <a:gd name="T74" fmla="*/ 137 w 1638"/>
                <a:gd name="T75" fmla="*/ 118 h 1998"/>
                <a:gd name="T76" fmla="*/ 133 w 1638"/>
                <a:gd name="T77" fmla="*/ 124 h 1998"/>
                <a:gd name="T78" fmla="*/ 122 w 1638"/>
                <a:gd name="T79" fmla="*/ 125 h 1998"/>
                <a:gd name="T80" fmla="*/ 116 w 1638"/>
                <a:gd name="T81" fmla="*/ 127 h 1998"/>
                <a:gd name="T82" fmla="*/ 108 w 1638"/>
                <a:gd name="T83" fmla="*/ 123 h 1998"/>
                <a:gd name="T84" fmla="*/ 109 w 1638"/>
                <a:gd name="T85" fmla="*/ 119 h 1998"/>
                <a:gd name="T86" fmla="*/ 104 w 1638"/>
                <a:gd name="T87" fmla="*/ 104 h 1998"/>
                <a:gd name="T88" fmla="*/ 94 w 1638"/>
                <a:gd name="T89" fmla="*/ 105 h 1998"/>
                <a:gd name="T90" fmla="*/ 88 w 1638"/>
                <a:gd name="T91" fmla="*/ 109 h 1998"/>
                <a:gd name="T92" fmla="*/ 76 w 1638"/>
                <a:gd name="T93" fmla="*/ 107 h 1998"/>
                <a:gd name="T94" fmla="*/ 72 w 1638"/>
                <a:gd name="T95" fmla="*/ 114 h 1998"/>
                <a:gd name="T96" fmla="*/ 86 w 1638"/>
                <a:gd name="T97" fmla="*/ 121 h 1998"/>
                <a:gd name="T98" fmla="*/ 87 w 1638"/>
                <a:gd name="T99" fmla="*/ 129 h 1998"/>
                <a:gd name="T100" fmla="*/ 86 w 1638"/>
                <a:gd name="T101" fmla="*/ 137 h 1998"/>
                <a:gd name="T102" fmla="*/ 79 w 1638"/>
                <a:gd name="T103" fmla="*/ 141 h 1998"/>
                <a:gd name="T104" fmla="*/ 73 w 1638"/>
                <a:gd name="T105" fmla="*/ 144 h 1998"/>
                <a:gd name="T106" fmla="*/ 72 w 1638"/>
                <a:gd name="T107" fmla="*/ 164 h 1998"/>
                <a:gd name="T108" fmla="*/ 68 w 1638"/>
                <a:gd name="T109" fmla="*/ 172 h 1998"/>
                <a:gd name="T110" fmla="*/ 59 w 1638"/>
                <a:gd name="T111" fmla="*/ 164 h 1998"/>
                <a:gd name="T112" fmla="*/ 65 w 1638"/>
                <a:gd name="T113" fmla="*/ 146 h 1998"/>
                <a:gd name="T114" fmla="*/ 69 w 1638"/>
                <a:gd name="T115" fmla="*/ 133 h 1998"/>
                <a:gd name="T116" fmla="*/ 61 w 1638"/>
                <a:gd name="T117" fmla="*/ 131 h 1998"/>
                <a:gd name="T118" fmla="*/ 43 w 1638"/>
                <a:gd name="T119" fmla="*/ 125 h 1998"/>
                <a:gd name="T120" fmla="*/ 23 w 1638"/>
                <a:gd name="T121" fmla="*/ 125 h 1998"/>
                <a:gd name="T122" fmla="*/ 17 w 1638"/>
                <a:gd name="T123" fmla="*/ 121 h 19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638"/>
                <a:gd name="T187" fmla="*/ 0 h 1998"/>
                <a:gd name="T188" fmla="*/ 1638 w 1638"/>
                <a:gd name="T189" fmla="*/ 1998 h 19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638" h="1998">
                  <a:moveTo>
                    <a:pt x="144" y="1380"/>
                  </a:moveTo>
                  <a:lnTo>
                    <a:pt x="150" y="1368"/>
                  </a:lnTo>
                  <a:lnTo>
                    <a:pt x="150" y="1362"/>
                  </a:lnTo>
                  <a:lnTo>
                    <a:pt x="150" y="1356"/>
                  </a:lnTo>
                  <a:lnTo>
                    <a:pt x="144" y="1356"/>
                  </a:lnTo>
                  <a:lnTo>
                    <a:pt x="138" y="1356"/>
                  </a:lnTo>
                  <a:lnTo>
                    <a:pt x="126" y="1356"/>
                  </a:lnTo>
                  <a:lnTo>
                    <a:pt x="114" y="1344"/>
                  </a:lnTo>
                  <a:lnTo>
                    <a:pt x="84" y="1320"/>
                  </a:lnTo>
                  <a:lnTo>
                    <a:pt x="54" y="1296"/>
                  </a:lnTo>
                  <a:lnTo>
                    <a:pt x="48" y="1290"/>
                  </a:lnTo>
                  <a:lnTo>
                    <a:pt x="42" y="1278"/>
                  </a:lnTo>
                  <a:lnTo>
                    <a:pt x="30" y="1272"/>
                  </a:lnTo>
                  <a:lnTo>
                    <a:pt x="0" y="1248"/>
                  </a:lnTo>
                  <a:lnTo>
                    <a:pt x="6" y="1230"/>
                  </a:lnTo>
                  <a:lnTo>
                    <a:pt x="12" y="1194"/>
                  </a:lnTo>
                  <a:lnTo>
                    <a:pt x="18" y="1170"/>
                  </a:lnTo>
                  <a:lnTo>
                    <a:pt x="30" y="1134"/>
                  </a:lnTo>
                  <a:lnTo>
                    <a:pt x="36" y="1086"/>
                  </a:lnTo>
                  <a:lnTo>
                    <a:pt x="42" y="1050"/>
                  </a:lnTo>
                  <a:lnTo>
                    <a:pt x="48" y="1044"/>
                  </a:lnTo>
                  <a:lnTo>
                    <a:pt x="54" y="1026"/>
                  </a:lnTo>
                  <a:lnTo>
                    <a:pt x="60" y="1014"/>
                  </a:lnTo>
                  <a:lnTo>
                    <a:pt x="66" y="1002"/>
                  </a:lnTo>
                  <a:lnTo>
                    <a:pt x="66" y="996"/>
                  </a:lnTo>
                  <a:lnTo>
                    <a:pt x="72" y="996"/>
                  </a:lnTo>
                  <a:lnTo>
                    <a:pt x="72" y="990"/>
                  </a:lnTo>
                  <a:lnTo>
                    <a:pt x="78" y="990"/>
                  </a:lnTo>
                  <a:lnTo>
                    <a:pt x="90" y="978"/>
                  </a:lnTo>
                  <a:lnTo>
                    <a:pt x="96" y="966"/>
                  </a:lnTo>
                  <a:lnTo>
                    <a:pt x="102" y="966"/>
                  </a:lnTo>
                  <a:lnTo>
                    <a:pt x="114" y="954"/>
                  </a:lnTo>
                  <a:lnTo>
                    <a:pt x="120" y="954"/>
                  </a:lnTo>
                  <a:lnTo>
                    <a:pt x="120" y="948"/>
                  </a:lnTo>
                  <a:lnTo>
                    <a:pt x="114" y="930"/>
                  </a:lnTo>
                  <a:lnTo>
                    <a:pt x="114" y="924"/>
                  </a:lnTo>
                  <a:lnTo>
                    <a:pt x="108" y="918"/>
                  </a:lnTo>
                  <a:lnTo>
                    <a:pt x="102" y="912"/>
                  </a:lnTo>
                  <a:lnTo>
                    <a:pt x="90" y="906"/>
                  </a:lnTo>
                  <a:lnTo>
                    <a:pt x="84" y="900"/>
                  </a:lnTo>
                  <a:lnTo>
                    <a:pt x="84" y="888"/>
                  </a:lnTo>
                  <a:lnTo>
                    <a:pt x="84" y="882"/>
                  </a:lnTo>
                  <a:lnTo>
                    <a:pt x="78" y="858"/>
                  </a:lnTo>
                  <a:lnTo>
                    <a:pt x="78" y="852"/>
                  </a:lnTo>
                  <a:lnTo>
                    <a:pt x="84" y="846"/>
                  </a:lnTo>
                  <a:lnTo>
                    <a:pt x="84" y="840"/>
                  </a:lnTo>
                  <a:lnTo>
                    <a:pt x="96" y="828"/>
                  </a:lnTo>
                  <a:lnTo>
                    <a:pt x="114" y="816"/>
                  </a:lnTo>
                  <a:lnTo>
                    <a:pt x="114" y="810"/>
                  </a:lnTo>
                  <a:lnTo>
                    <a:pt x="114" y="804"/>
                  </a:lnTo>
                  <a:lnTo>
                    <a:pt x="108" y="780"/>
                  </a:lnTo>
                  <a:lnTo>
                    <a:pt x="96" y="756"/>
                  </a:lnTo>
                  <a:lnTo>
                    <a:pt x="96" y="750"/>
                  </a:lnTo>
                  <a:lnTo>
                    <a:pt x="90" y="720"/>
                  </a:lnTo>
                  <a:lnTo>
                    <a:pt x="90" y="708"/>
                  </a:lnTo>
                  <a:lnTo>
                    <a:pt x="90" y="690"/>
                  </a:lnTo>
                  <a:lnTo>
                    <a:pt x="96" y="672"/>
                  </a:lnTo>
                  <a:lnTo>
                    <a:pt x="90" y="666"/>
                  </a:lnTo>
                  <a:lnTo>
                    <a:pt x="96" y="666"/>
                  </a:lnTo>
                  <a:lnTo>
                    <a:pt x="102" y="642"/>
                  </a:lnTo>
                  <a:lnTo>
                    <a:pt x="108" y="624"/>
                  </a:lnTo>
                  <a:lnTo>
                    <a:pt x="102" y="618"/>
                  </a:lnTo>
                  <a:lnTo>
                    <a:pt x="102" y="588"/>
                  </a:lnTo>
                  <a:lnTo>
                    <a:pt x="102" y="564"/>
                  </a:lnTo>
                  <a:lnTo>
                    <a:pt x="102" y="546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0"/>
                  </a:lnTo>
                  <a:lnTo>
                    <a:pt x="96" y="498"/>
                  </a:lnTo>
                  <a:lnTo>
                    <a:pt x="96" y="486"/>
                  </a:lnTo>
                  <a:lnTo>
                    <a:pt x="96" y="474"/>
                  </a:lnTo>
                  <a:lnTo>
                    <a:pt x="96" y="462"/>
                  </a:lnTo>
                  <a:lnTo>
                    <a:pt x="114" y="450"/>
                  </a:lnTo>
                  <a:lnTo>
                    <a:pt x="126" y="438"/>
                  </a:lnTo>
                  <a:lnTo>
                    <a:pt x="132" y="432"/>
                  </a:lnTo>
                  <a:lnTo>
                    <a:pt x="144" y="426"/>
                  </a:lnTo>
                  <a:lnTo>
                    <a:pt x="144" y="420"/>
                  </a:lnTo>
                  <a:lnTo>
                    <a:pt x="156" y="414"/>
                  </a:lnTo>
                  <a:lnTo>
                    <a:pt x="162" y="408"/>
                  </a:lnTo>
                  <a:lnTo>
                    <a:pt x="180" y="396"/>
                  </a:lnTo>
                  <a:lnTo>
                    <a:pt x="210" y="372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34" y="348"/>
                  </a:lnTo>
                  <a:lnTo>
                    <a:pt x="240" y="348"/>
                  </a:lnTo>
                  <a:lnTo>
                    <a:pt x="246" y="342"/>
                  </a:lnTo>
                  <a:lnTo>
                    <a:pt x="276" y="318"/>
                  </a:lnTo>
                  <a:lnTo>
                    <a:pt x="282" y="312"/>
                  </a:lnTo>
                  <a:lnTo>
                    <a:pt x="288" y="306"/>
                  </a:lnTo>
                  <a:lnTo>
                    <a:pt x="300" y="288"/>
                  </a:lnTo>
                  <a:lnTo>
                    <a:pt x="306" y="276"/>
                  </a:lnTo>
                  <a:lnTo>
                    <a:pt x="324" y="246"/>
                  </a:lnTo>
                  <a:lnTo>
                    <a:pt x="330" y="240"/>
                  </a:lnTo>
                  <a:lnTo>
                    <a:pt x="336" y="234"/>
                  </a:lnTo>
                  <a:lnTo>
                    <a:pt x="342" y="228"/>
                  </a:lnTo>
                  <a:lnTo>
                    <a:pt x="342" y="216"/>
                  </a:lnTo>
                  <a:lnTo>
                    <a:pt x="354" y="204"/>
                  </a:lnTo>
                  <a:lnTo>
                    <a:pt x="360" y="204"/>
                  </a:lnTo>
                  <a:lnTo>
                    <a:pt x="366" y="186"/>
                  </a:lnTo>
                  <a:lnTo>
                    <a:pt x="384" y="162"/>
                  </a:lnTo>
                  <a:lnTo>
                    <a:pt x="390" y="144"/>
                  </a:lnTo>
                  <a:lnTo>
                    <a:pt x="396" y="114"/>
                  </a:lnTo>
                  <a:lnTo>
                    <a:pt x="396" y="102"/>
                  </a:lnTo>
                  <a:lnTo>
                    <a:pt x="402" y="90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08" y="36"/>
                  </a:lnTo>
                  <a:lnTo>
                    <a:pt x="408" y="24"/>
                  </a:lnTo>
                  <a:lnTo>
                    <a:pt x="408" y="6"/>
                  </a:lnTo>
                  <a:lnTo>
                    <a:pt x="420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68" y="0"/>
                  </a:lnTo>
                  <a:lnTo>
                    <a:pt x="480" y="0"/>
                  </a:lnTo>
                  <a:lnTo>
                    <a:pt x="492" y="0"/>
                  </a:lnTo>
                  <a:lnTo>
                    <a:pt x="498" y="0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8" y="18"/>
                  </a:lnTo>
                  <a:lnTo>
                    <a:pt x="534" y="18"/>
                  </a:lnTo>
                  <a:lnTo>
                    <a:pt x="540" y="18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8" y="36"/>
                  </a:lnTo>
                  <a:lnTo>
                    <a:pt x="588" y="54"/>
                  </a:lnTo>
                  <a:lnTo>
                    <a:pt x="594" y="48"/>
                  </a:lnTo>
                  <a:lnTo>
                    <a:pt x="600" y="48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12" y="66"/>
                  </a:lnTo>
                  <a:lnTo>
                    <a:pt x="630" y="72"/>
                  </a:lnTo>
                  <a:lnTo>
                    <a:pt x="642" y="78"/>
                  </a:lnTo>
                  <a:lnTo>
                    <a:pt x="666" y="78"/>
                  </a:lnTo>
                  <a:lnTo>
                    <a:pt x="672" y="72"/>
                  </a:lnTo>
                  <a:lnTo>
                    <a:pt x="690" y="84"/>
                  </a:lnTo>
                  <a:lnTo>
                    <a:pt x="690" y="90"/>
                  </a:lnTo>
                  <a:lnTo>
                    <a:pt x="708" y="96"/>
                  </a:lnTo>
                  <a:lnTo>
                    <a:pt x="708" y="102"/>
                  </a:lnTo>
                  <a:lnTo>
                    <a:pt x="744" y="96"/>
                  </a:lnTo>
                  <a:lnTo>
                    <a:pt x="756" y="78"/>
                  </a:lnTo>
                  <a:lnTo>
                    <a:pt x="756" y="72"/>
                  </a:lnTo>
                  <a:lnTo>
                    <a:pt x="762" y="66"/>
                  </a:lnTo>
                  <a:lnTo>
                    <a:pt x="768" y="60"/>
                  </a:lnTo>
                  <a:lnTo>
                    <a:pt x="774" y="54"/>
                  </a:lnTo>
                  <a:lnTo>
                    <a:pt x="786" y="54"/>
                  </a:lnTo>
                  <a:lnTo>
                    <a:pt x="786" y="60"/>
                  </a:lnTo>
                  <a:lnTo>
                    <a:pt x="786" y="66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92" y="90"/>
                  </a:lnTo>
                  <a:lnTo>
                    <a:pt x="780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26"/>
                  </a:lnTo>
                  <a:lnTo>
                    <a:pt x="768" y="150"/>
                  </a:lnTo>
                  <a:lnTo>
                    <a:pt x="750" y="168"/>
                  </a:lnTo>
                  <a:lnTo>
                    <a:pt x="750" y="174"/>
                  </a:lnTo>
                  <a:lnTo>
                    <a:pt x="762" y="192"/>
                  </a:lnTo>
                  <a:lnTo>
                    <a:pt x="774" y="210"/>
                  </a:lnTo>
                  <a:lnTo>
                    <a:pt x="792" y="228"/>
                  </a:lnTo>
                  <a:lnTo>
                    <a:pt x="804" y="240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40" y="252"/>
                  </a:lnTo>
                  <a:lnTo>
                    <a:pt x="834" y="252"/>
                  </a:lnTo>
                  <a:lnTo>
                    <a:pt x="846" y="252"/>
                  </a:lnTo>
                  <a:lnTo>
                    <a:pt x="852" y="270"/>
                  </a:lnTo>
                  <a:lnTo>
                    <a:pt x="858" y="282"/>
                  </a:lnTo>
                  <a:lnTo>
                    <a:pt x="858" y="288"/>
                  </a:lnTo>
                  <a:lnTo>
                    <a:pt x="864" y="300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58" y="318"/>
                  </a:lnTo>
                  <a:lnTo>
                    <a:pt x="852" y="318"/>
                  </a:lnTo>
                  <a:lnTo>
                    <a:pt x="846" y="324"/>
                  </a:lnTo>
                  <a:lnTo>
                    <a:pt x="846" y="336"/>
                  </a:lnTo>
                  <a:lnTo>
                    <a:pt x="840" y="348"/>
                  </a:lnTo>
                  <a:lnTo>
                    <a:pt x="840" y="360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46" y="402"/>
                  </a:lnTo>
                  <a:lnTo>
                    <a:pt x="858" y="420"/>
                  </a:lnTo>
                  <a:lnTo>
                    <a:pt x="882" y="426"/>
                  </a:lnTo>
                  <a:lnTo>
                    <a:pt x="888" y="444"/>
                  </a:lnTo>
                  <a:lnTo>
                    <a:pt x="900" y="444"/>
                  </a:lnTo>
                  <a:lnTo>
                    <a:pt x="900" y="462"/>
                  </a:lnTo>
                  <a:lnTo>
                    <a:pt x="894" y="474"/>
                  </a:lnTo>
                  <a:lnTo>
                    <a:pt x="888" y="486"/>
                  </a:lnTo>
                  <a:lnTo>
                    <a:pt x="882" y="492"/>
                  </a:lnTo>
                  <a:lnTo>
                    <a:pt x="870" y="504"/>
                  </a:lnTo>
                  <a:lnTo>
                    <a:pt x="852" y="504"/>
                  </a:lnTo>
                  <a:lnTo>
                    <a:pt x="852" y="510"/>
                  </a:lnTo>
                  <a:lnTo>
                    <a:pt x="852" y="516"/>
                  </a:lnTo>
                  <a:lnTo>
                    <a:pt x="846" y="528"/>
                  </a:lnTo>
                  <a:lnTo>
                    <a:pt x="846" y="582"/>
                  </a:lnTo>
                  <a:lnTo>
                    <a:pt x="840" y="582"/>
                  </a:lnTo>
                  <a:lnTo>
                    <a:pt x="834" y="582"/>
                  </a:lnTo>
                  <a:lnTo>
                    <a:pt x="828" y="582"/>
                  </a:lnTo>
                  <a:lnTo>
                    <a:pt x="822" y="582"/>
                  </a:lnTo>
                  <a:lnTo>
                    <a:pt x="810" y="582"/>
                  </a:lnTo>
                  <a:lnTo>
                    <a:pt x="810" y="528"/>
                  </a:lnTo>
                  <a:lnTo>
                    <a:pt x="792" y="528"/>
                  </a:lnTo>
                  <a:lnTo>
                    <a:pt x="792" y="522"/>
                  </a:lnTo>
                  <a:lnTo>
                    <a:pt x="786" y="522"/>
                  </a:lnTo>
                  <a:lnTo>
                    <a:pt x="786" y="516"/>
                  </a:lnTo>
                  <a:lnTo>
                    <a:pt x="780" y="516"/>
                  </a:lnTo>
                  <a:lnTo>
                    <a:pt x="780" y="510"/>
                  </a:lnTo>
                  <a:lnTo>
                    <a:pt x="762" y="510"/>
                  </a:lnTo>
                  <a:lnTo>
                    <a:pt x="756" y="510"/>
                  </a:lnTo>
                  <a:lnTo>
                    <a:pt x="750" y="522"/>
                  </a:lnTo>
                  <a:lnTo>
                    <a:pt x="744" y="534"/>
                  </a:lnTo>
                  <a:lnTo>
                    <a:pt x="732" y="540"/>
                  </a:lnTo>
                  <a:lnTo>
                    <a:pt x="732" y="558"/>
                  </a:lnTo>
                  <a:lnTo>
                    <a:pt x="732" y="564"/>
                  </a:lnTo>
                  <a:lnTo>
                    <a:pt x="732" y="570"/>
                  </a:lnTo>
                  <a:lnTo>
                    <a:pt x="726" y="576"/>
                  </a:lnTo>
                  <a:lnTo>
                    <a:pt x="720" y="576"/>
                  </a:lnTo>
                  <a:lnTo>
                    <a:pt x="714" y="582"/>
                  </a:lnTo>
                  <a:lnTo>
                    <a:pt x="702" y="588"/>
                  </a:lnTo>
                  <a:lnTo>
                    <a:pt x="696" y="594"/>
                  </a:lnTo>
                  <a:lnTo>
                    <a:pt x="690" y="600"/>
                  </a:lnTo>
                  <a:lnTo>
                    <a:pt x="690" y="606"/>
                  </a:lnTo>
                  <a:lnTo>
                    <a:pt x="678" y="606"/>
                  </a:lnTo>
                  <a:lnTo>
                    <a:pt x="678" y="624"/>
                  </a:lnTo>
                  <a:lnTo>
                    <a:pt x="684" y="642"/>
                  </a:lnTo>
                  <a:lnTo>
                    <a:pt x="684" y="660"/>
                  </a:lnTo>
                  <a:lnTo>
                    <a:pt x="690" y="672"/>
                  </a:lnTo>
                  <a:lnTo>
                    <a:pt x="702" y="720"/>
                  </a:lnTo>
                  <a:lnTo>
                    <a:pt x="708" y="750"/>
                  </a:lnTo>
                  <a:lnTo>
                    <a:pt x="708" y="792"/>
                  </a:lnTo>
                  <a:lnTo>
                    <a:pt x="708" y="828"/>
                  </a:lnTo>
                  <a:lnTo>
                    <a:pt x="708" y="852"/>
                  </a:lnTo>
                  <a:lnTo>
                    <a:pt x="696" y="894"/>
                  </a:lnTo>
                  <a:lnTo>
                    <a:pt x="702" y="900"/>
                  </a:lnTo>
                  <a:lnTo>
                    <a:pt x="708" y="924"/>
                  </a:lnTo>
                  <a:lnTo>
                    <a:pt x="684" y="936"/>
                  </a:lnTo>
                  <a:lnTo>
                    <a:pt x="660" y="954"/>
                  </a:lnTo>
                  <a:lnTo>
                    <a:pt x="618" y="984"/>
                  </a:lnTo>
                  <a:lnTo>
                    <a:pt x="618" y="990"/>
                  </a:lnTo>
                  <a:lnTo>
                    <a:pt x="612" y="996"/>
                  </a:lnTo>
                  <a:lnTo>
                    <a:pt x="606" y="1002"/>
                  </a:lnTo>
                  <a:lnTo>
                    <a:pt x="618" y="1008"/>
                  </a:lnTo>
                  <a:lnTo>
                    <a:pt x="618" y="1014"/>
                  </a:lnTo>
                  <a:lnTo>
                    <a:pt x="624" y="1026"/>
                  </a:lnTo>
                  <a:lnTo>
                    <a:pt x="630" y="1026"/>
                  </a:lnTo>
                  <a:lnTo>
                    <a:pt x="636" y="1032"/>
                  </a:lnTo>
                  <a:lnTo>
                    <a:pt x="642" y="1032"/>
                  </a:lnTo>
                  <a:lnTo>
                    <a:pt x="642" y="1038"/>
                  </a:lnTo>
                  <a:lnTo>
                    <a:pt x="648" y="1044"/>
                  </a:lnTo>
                  <a:lnTo>
                    <a:pt x="666" y="1050"/>
                  </a:lnTo>
                  <a:lnTo>
                    <a:pt x="678" y="1038"/>
                  </a:lnTo>
                  <a:lnTo>
                    <a:pt x="684" y="1038"/>
                  </a:lnTo>
                  <a:lnTo>
                    <a:pt x="684" y="1032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20"/>
                  </a:lnTo>
                  <a:lnTo>
                    <a:pt x="708" y="1014"/>
                  </a:lnTo>
                  <a:lnTo>
                    <a:pt x="720" y="1020"/>
                  </a:lnTo>
                  <a:lnTo>
                    <a:pt x="720" y="1014"/>
                  </a:lnTo>
                  <a:lnTo>
                    <a:pt x="726" y="1008"/>
                  </a:lnTo>
                  <a:lnTo>
                    <a:pt x="732" y="1008"/>
                  </a:lnTo>
                  <a:lnTo>
                    <a:pt x="738" y="1008"/>
                  </a:lnTo>
                  <a:lnTo>
                    <a:pt x="744" y="1002"/>
                  </a:lnTo>
                  <a:lnTo>
                    <a:pt x="744" y="996"/>
                  </a:lnTo>
                  <a:lnTo>
                    <a:pt x="750" y="996"/>
                  </a:lnTo>
                  <a:lnTo>
                    <a:pt x="756" y="1002"/>
                  </a:lnTo>
                  <a:lnTo>
                    <a:pt x="762" y="1002"/>
                  </a:lnTo>
                  <a:lnTo>
                    <a:pt x="768" y="996"/>
                  </a:lnTo>
                  <a:lnTo>
                    <a:pt x="780" y="996"/>
                  </a:lnTo>
                  <a:lnTo>
                    <a:pt x="786" y="996"/>
                  </a:lnTo>
                  <a:lnTo>
                    <a:pt x="816" y="990"/>
                  </a:lnTo>
                  <a:lnTo>
                    <a:pt x="828" y="990"/>
                  </a:lnTo>
                  <a:lnTo>
                    <a:pt x="834" y="990"/>
                  </a:lnTo>
                  <a:lnTo>
                    <a:pt x="840" y="984"/>
                  </a:lnTo>
                  <a:lnTo>
                    <a:pt x="852" y="978"/>
                  </a:lnTo>
                  <a:lnTo>
                    <a:pt x="852" y="972"/>
                  </a:lnTo>
                  <a:lnTo>
                    <a:pt x="858" y="972"/>
                  </a:lnTo>
                  <a:lnTo>
                    <a:pt x="864" y="966"/>
                  </a:lnTo>
                  <a:lnTo>
                    <a:pt x="870" y="966"/>
                  </a:lnTo>
                  <a:lnTo>
                    <a:pt x="876" y="966"/>
                  </a:lnTo>
                  <a:lnTo>
                    <a:pt x="882" y="960"/>
                  </a:lnTo>
                  <a:lnTo>
                    <a:pt x="888" y="960"/>
                  </a:lnTo>
                  <a:lnTo>
                    <a:pt x="894" y="960"/>
                  </a:lnTo>
                  <a:lnTo>
                    <a:pt x="894" y="966"/>
                  </a:lnTo>
                  <a:lnTo>
                    <a:pt x="894" y="978"/>
                  </a:lnTo>
                  <a:lnTo>
                    <a:pt x="894" y="984"/>
                  </a:lnTo>
                  <a:lnTo>
                    <a:pt x="900" y="984"/>
                  </a:lnTo>
                  <a:lnTo>
                    <a:pt x="906" y="978"/>
                  </a:lnTo>
                  <a:lnTo>
                    <a:pt x="912" y="972"/>
                  </a:lnTo>
                  <a:lnTo>
                    <a:pt x="918" y="978"/>
                  </a:lnTo>
                  <a:lnTo>
                    <a:pt x="924" y="978"/>
                  </a:lnTo>
                  <a:lnTo>
                    <a:pt x="924" y="972"/>
                  </a:lnTo>
                  <a:lnTo>
                    <a:pt x="924" y="966"/>
                  </a:lnTo>
                  <a:lnTo>
                    <a:pt x="930" y="966"/>
                  </a:lnTo>
                  <a:lnTo>
                    <a:pt x="948" y="966"/>
                  </a:lnTo>
                  <a:lnTo>
                    <a:pt x="954" y="966"/>
                  </a:lnTo>
                  <a:lnTo>
                    <a:pt x="954" y="960"/>
                  </a:lnTo>
                  <a:lnTo>
                    <a:pt x="960" y="960"/>
                  </a:lnTo>
                  <a:lnTo>
                    <a:pt x="966" y="960"/>
                  </a:lnTo>
                  <a:lnTo>
                    <a:pt x="966" y="966"/>
                  </a:lnTo>
                  <a:lnTo>
                    <a:pt x="978" y="972"/>
                  </a:lnTo>
                  <a:lnTo>
                    <a:pt x="978" y="978"/>
                  </a:lnTo>
                  <a:lnTo>
                    <a:pt x="978" y="984"/>
                  </a:lnTo>
                  <a:lnTo>
                    <a:pt x="984" y="978"/>
                  </a:lnTo>
                  <a:lnTo>
                    <a:pt x="990" y="978"/>
                  </a:lnTo>
                  <a:lnTo>
                    <a:pt x="996" y="984"/>
                  </a:lnTo>
                  <a:lnTo>
                    <a:pt x="1002" y="990"/>
                  </a:lnTo>
                  <a:lnTo>
                    <a:pt x="1008" y="972"/>
                  </a:lnTo>
                  <a:lnTo>
                    <a:pt x="1026" y="972"/>
                  </a:lnTo>
                  <a:lnTo>
                    <a:pt x="1032" y="972"/>
                  </a:lnTo>
                  <a:lnTo>
                    <a:pt x="1038" y="972"/>
                  </a:lnTo>
                  <a:lnTo>
                    <a:pt x="1050" y="972"/>
                  </a:lnTo>
                  <a:lnTo>
                    <a:pt x="1056" y="972"/>
                  </a:lnTo>
                  <a:lnTo>
                    <a:pt x="1062" y="966"/>
                  </a:lnTo>
                  <a:lnTo>
                    <a:pt x="1074" y="966"/>
                  </a:lnTo>
                  <a:lnTo>
                    <a:pt x="1074" y="960"/>
                  </a:lnTo>
                  <a:lnTo>
                    <a:pt x="1080" y="954"/>
                  </a:lnTo>
                  <a:lnTo>
                    <a:pt x="1080" y="948"/>
                  </a:lnTo>
                  <a:lnTo>
                    <a:pt x="1074" y="948"/>
                  </a:lnTo>
                  <a:lnTo>
                    <a:pt x="1068" y="948"/>
                  </a:lnTo>
                  <a:lnTo>
                    <a:pt x="1062" y="942"/>
                  </a:lnTo>
                  <a:lnTo>
                    <a:pt x="1068" y="936"/>
                  </a:lnTo>
                  <a:lnTo>
                    <a:pt x="1074" y="936"/>
                  </a:lnTo>
                  <a:lnTo>
                    <a:pt x="1080" y="936"/>
                  </a:lnTo>
                  <a:lnTo>
                    <a:pt x="1086" y="942"/>
                  </a:lnTo>
                  <a:lnTo>
                    <a:pt x="1092" y="942"/>
                  </a:lnTo>
                  <a:lnTo>
                    <a:pt x="1098" y="948"/>
                  </a:lnTo>
                  <a:lnTo>
                    <a:pt x="1104" y="954"/>
                  </a:lnTo>
                  <a:lnTo>
                    <a:pt x="1110" y="954"/>
                  </a:lnTo>
                  <a:lnTo>
                    <a:pt x="1116" y="948"/>
                  </a:lnTo>
                  <a:lnTo>
                    <a:pt x="1122" y="942"/>
                  </a:lnTo>
                  <a:lnTo>
                    <a:pt x="1128" y="942"/>
                  </a:lnTo>
                  <a:lnTo>
                    <a:pt x="1134" y="942"/>
                  </a:lnTo>
                  <a:lnTo>
                    <a:pt x="1140" y="948"/>
                  </a:lnTo>
                  <a:lnTo>
                    <a:pt x="1146" y="942"/>
                  </a:lnTo>
                  <a:lnTo>
                    <a:pt x="1152" y="942"/>
                  </a:lnTo>
                  <a:lnTo>
                    <a:pt x="1152" y="930"/>
                  </a:lnTo>
                  <a:lnTo>
                    <a:pt x="1164" y="936"/>
                  </a:lnTo>
                  <a:lnTo>
                    <a:pt x="1158" y="942"/>
                  </a:lnTo>
                  <a:lnTo>
                    <a:pt x="1158" y="948"/>
                  </a:lnTo>
                  <a:lnTo>
                    <a:pt x="1146" y="954"/>
                  </a:lnTo>
                  <a:lnTo>
                    <a:pt x="1152" y="954"/>
                  </a:lnTo>
                  <a:lnTo>
                    <a:pt x="1158" y="954"/>
                  </a:lnTo>
                  <a:lnTo>
                    <a:pt x="1158" y="948"/>
                  </a:lnTo>
                  <a:lnTo>
                    <a:pt x="1164" y="948"/>
                  </a:lnTo>
                  <a:lnTo>
                    <a:pt x="1170" y="948"/>
                  </a:lnTo>
                  <a:lnTo>
                    <a:pt x="1176" y="954"/>
                  </a:lnTo>
                  <a:lnTo>
                    <a:pt x="1176" y="966"/>
                  </a:lnTo>
                  <a:lnTo>
                    <a:pt x="1182" y="972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88" y="984"/>
                  </a:lnTo>
                  <a:lnTo>
                    <a:pt x="1194" y="984"/>
                  </a:lnTo>
                  <a:lnTo>
                    <a:pt x="1200" y="984"/>
                  </a:lnTo>
                  <a:lnTo>
                    <a:pt x="1212" y="984"/>
                  </a:lnTo>
                  <a:lnTo>
                    <a:pt x="1218" y="990"/>
                  </a:lnTo>
                  <a:lnTo>
                    <a:pt x="1224" y="990"/>
                  </a:lnTo>
                  <a:lnTo>
                    <a:pt x="1224" y="984"/>
                  </a:lnTo>
                  <a:lnTo>
                    <a:pt x="1230" y="990"/>
                  </a:lnTo>
                  <a:lnTo>
                    <a:pt x="1236" y="984"/>
                  </a:lnTo>
                  <a:lnTo>
                    <a:pt x="1242" y="984"/>
                  </a:lnTo>
                  <a:lnTo>
                    <a:pt x="1248" y="990"/>
                  </a:lnTo>
                  <a:lnTo>
                    <a:pt x="1254" y="990"/>
                  </a:lnTo>
                  <a:lnTo>
                    <a:pt x="1254" y="996"/>
                  </a:lnTo>
                  <a:lnTo>
                    <a:pt x="1254" y="1002"/>
                  </a:lnTo>
                  <a:lnTo>
                    <a:pt x="1254" y="1008"/>
                  </a:lnTo>
                  <a:lnTo>
                    <a:pt x="1260" y="1014"/>
                  </a:lnTo>
                  <a:lnTo>
                    <a:pt x="1266" y="1014"/>
                  </a:lnTo>
                  <a:lnTo>
                    <a:pt x="1272" y="1014"/>
                  </a:lnTo>
                  <a:lnTo>
                    <a:pt x="1278" y="1020"/>
                  </a:lnTo>
                  <a:lnTo>
                    <a:pt x="1284" y="1020"/>
                  </a:lnTo>
                  <a:lnTo>
                    <a:pt x="1290" y="1014"/>
                  </a:lnTo>
                  <a:lnTo>
                    <a:pt x="1290" y="1008"/>
                  </a:lnTo>
                  <a:lnTo>
                    <a:pt x="1296" y="1008"/>
                  </a:lnTo>
                  <a:lnTo>
                    <a:pt x="1302" y="1014"/>
                  </a:lnTo>
                  <a:lnTo>
                    <a:pt x="1308" y="1014"/>
                  </a:lnTo>
                  <a:lnTo>
                    <a:pt x="1314" y="1008"/>
                  </a:lnTo>
                  <a:lnTo>
                    <a:pt x="1320" y="1008"/>
                  </a:lnTo>
                  <a:lnTo>
                    <a:pt x="1320" y="1002"/>
                  </a:lnTo>
                  <a:lnTo>
                    <a:pt x="1320" y="996"/>
                  </a:lnTo>
                  <a:lnTo>
                    <a:pt x="1332" y="1002"/>
                  </a:lnTo>
                  <a:lnTo>
                    <a:pt x="1332" y="1008"/>
                  </a:lnTo>
                  <a:lnTo>
                    <a:pt x="1326" y="1014"/>
                  </a:lnTo>
                  <a:lnTo>
                    <a:pt x="1332" y="1014"/>
                  </a:lnTo>
                  <a:lnTo>
                    <a:pt x="1338" y="1014"/>
                  </a:lnTo>
                  <a:lnTo>
                    <a:pt x="1338" y="1008"/>
                  </a:lnTo>
                  <a:lnTo>
                    <a:pt x="1344" y="1008"/>
                  </a:lnTo>
                  <a:lnTo>
                    <a:pt x="1350" y="1008"/>
                  </a:lnTo>
                  <a:lnTo>
                    <a:pt x="1356" y="1014"/>
                  </a:lnTo>
                  <a:lnTo>
                    <a:pt x="1356" y="1008"/>
                  </a:lnTo>
                  <a:lnTo>
                    <a:pt x="1362" y="1014"/>
                  </a:lnTo>
                  <a:lnTo>
                    <a:pt x="1392" y="1014"/>
                  </a:lnTo>
                  <a:lnTo>
                    <a:pt x="1398" y="1014"/>
                  </a:lnTo>
                  <a:lnTo>
                    <a:pt x="1404" y="1008"/>
                  </a:lnTo>
                  <a:lnTo>
                    <a:pt x="1404" y="1014"/>
                  </a:lnTo>
                  <a:lnTo>
                    <a:pt x="1410" y="1008"/>
                  </a:lnTo>
                  <a:lnTo>
                    <a:pt x="1416" y="1008"/>
                  </a:lnTo>
                  <a:lnTo>
                    <a:pt x="1422" y="1002"/>
                  </a:lnTo>
                  <a:lnTo>
                    <a:pt x="1428" y="1002"/>
                  </a:lnTo>
                  <a:lnTo>
                    <a:pt x="1428" y="996"/>
                  </a:lnTo>
                  <a:lnTo>
                    <a:pt x="1428" y="990"/>
                  </a:lnTo>
                  <a:lnTo>
                    <a:pt x="1440" y="1002"/>
                  </a:lnTo>
                  <a:lnTo>
                    <a:pt x="1446" y="1002"/>
                  </a:lnTo>
                  <a:lnTo>
                    <a:pt x="1452" y="1002"/>
                  </a:lnTo>
                  <a:lnTo>
                    <a:pt x="1446" y="996"/>
                  </a:lnTo>
                  <a:lnTo>
                    <a:pt x="1452" y="996"/>
                  </a:lnTo>
                  <a:lnTo>
                    <a:pt x="1458" y="996"/>
                  </a:lnTo>
                  <a:lnTo>
                    <a:pt x="1464" y="996"/>
                  </a:lnTo>
                  <a:lnTo>
                    <a:pt x="1464" y="1002"/>
                  </a:lnTo>
                  <a:lnTo>
                    <a:pt x="1476" y="1014"/>
                  </a:lnTo>
                  <a:lnTo>
                    <a:pt x="1476" y="1008"/>
                  </a:lnTo>
                  <a:lnTo>
                    <a:pt x="1482" y="1008"/>
                  </a:lnTo>
                  <a:lnTo>
                    <a:pt x="1488" y="1020"/>
                  </a:lnTo>
                  <a:lnTo>
                    <a:pt x="1494" y="1020"/>
                  </a:lnTo>
                  <a:lnTo>
                    <a:pt x="1500" y="1014"/>
                  </a:lnTo>
                  <a:lnTo>
                    <a:pt x="1500" y="1020"/>
                  </a:lnTo>
                  <a:lnTo>
                    <a:pt x="1506" y="1026"/>
                  </a:lnTo>
                  <a:lnTo>
                    <a:pt x="1512" y="1032"/>
                  </a:lnTo>
                  <a:lnTo>
                    <a:pt x="1518" y="1032"/>
                  </a:lnTo>
                  <a:lnTo>
                    <a:pt x="1518" y="1038"/>
                  </a:lnTo>
                  <a:lnTo>
                    <a:pt x="1518" y="1044"/>
                  </a:lnTo>
                  <a:lnTo>
                    <a:pt x="1524" y="1044"/>
                  </a:lnTo>
                  <a:lnTo>
                    <a:pt x="1524" y="1050"/>
                  </a:lnTo>
                  <a:lnTo>
                    <a:pt x="1530" y="1056"/>
                  </a:lnTo>
                  <a:lnTo>
                    <a:pt x="1548" y="1062"/>
                  </a:lnTo>
                  <a:lnTo>
                    <a:pt x="1560" y="1074"/>
                  </a:lnTo>
                  <a:lnTo>
                    <a:pt x="1560" y="1080"/>
                  </a:lnTo>
                  <a:lnTo>
                    <a:pt x="1560" y="1086"/>
                  </a:lnTo>
                  <a:lnTo>
                    <a:pt x="1566" y="1086"/>
                  </a:lnTo>
                  <a:lnTo>
                    <a:pt x="1572" y="1098"/>
                  </a:lnTo>
                  <a:lnTo>
                    <a:pt x="1572" y="1104"/>
                  </a:lnTo>
                  <a:lnTo>
                    <a:pt x="1584" y="1110"/>
                  </a:lnTo>
                  <a:lnTo>
                    <a:pt x="1590" y="1116"/>
                  </a:lnTo>
                  <a:lnTo>
                    <a:pt x="1596" y="1116"/>
                  </a:lnTo>
                  <a:lnTo>
                    <a:pt x="1608" y="1122"/>
                  </a:lnTo>
                  <a:lnTo>
                    <a:pt x="1620" y="1140"/>
                  </a:lnTo>
                  <a:lnTo>
                    <a:pt x="1626" y="1158"/>
                  </a:lnTo>
                  <a:lnTo>
                    <a:pt x="1638" y="1200"/>
                  </a:lnTo>
                  <a:lnTo>
                    <a:pt x="1638" y="1218"/>
                  </a:lnTo>
                  <a:lnTo>
                    <a:pt x="1620" y="1230"/>
                  </a:lnTo>
                  <a:lnTo>
                    <a:pt x="1554" y="1230"/>
                  </a:lnTo>
                  <a:lnTo>
                    <a:pt x="1560" y="1248"/>
                  </a:lnTo>
                  <a:lnTo>
                    <a:pt x="1584" y="1260"/>
                  </a:lnTo>
                  <a:lnTo>
                    <a:pt x="1584" y="1266"/>
                  </a:lnTo>
                  <a:lnTo>
                    <a:pt x="1578" y="1272"/>
                  </a:lnTo>
                  <a:lnTo>
                    <a:pt x="1572" y="1272"/>
                  </a:lnTo>
                  <a:lnTo>
                    <a:pt x="1566" y="1278"/>
                  </a:lnTo>
                  <a:lnTo>
                    <a:pt x="1566" y="1284"/>
                  </a:lnTo>
                  <a:lnTo>
                    <a:pt x="1560" y="1290"/>
                  </a:lnTo>
                  <a:lnTo>
                    <a:pt x="1554" y="1290"/>
                  </a:lnTo>
                  <a:lnTo>
                    <a:pt x="1554" y="1296"/>
                  </a:lnTo>
                  <a:lnTo>
                    <a:pt x="1554" y="1302"/>
                  </a:lnTo>
                  <a:lnTo>
                    <a:pt x="1560" y="1332"/>
                  </a:lnTo>
                  <a:lnTo>
                    <a:pt x="1566" y="1356"/>
                  </a:lnTo>
                  <a:lnTo>
                    <a:pt x="1572" y="1356"/>
                  </a:lnTo>
                  <a:lnTo>
                    <a:pt x="1572" y="1362"/>
                  </a:lnTo>
                  <a:lnTo>
                    <a:pt x="1578" y="1362"/>
                  </a:lnTo>
                  <a:lnTo>
                    <a:pt x="1560" y="1374"/>
                  </a:lnTo>
                  <a:lnTo>
                    <a:pt x="1560" y="1380"/>
                  </a:lnTo>
                  <a:lnTo>
                    <a:pt x="1548" y="1380"/>
                  </a:lnTo>
                  <a:lnTo>
                    <a:pt x="1548" y="1386"/>
                  </a:lnTo>
                  <a:lnTo>
                    <a:pt x="1548" y="1392"/>
                  </a:lnTo>
                  <a:lnTo>
                    <a:pt x="1542" y="1410"/>
                  </a:lnTo>
                  <a:lnTo>
                    <a:pt x="1536" y="1422"/>
                  </a:lnTo>
                  <a:lnTo>
                    <a:pt x="1536" y="1428"/>
                  </a:lnTo>
                  <a:lnTo>
                    <a:pt x="1530" y="1440"/>
                  </a:lnTo>
                  <a:lnTo>
                    <a:pt x="1524" y="1434"/>
                  </a:lnTo>
                  <a:lnTo>
                    <a:pt x="1524" y="1428"/>
                  </a:lnTo>
                  <a:lnTo>
                    <a:pt x="1524" y="1422"/>
                  </a:lnTo>
                  <a:lnTo>
                    <a:pt x="1512" y="1410"/>
                  </a:lnTo>
                  <a:lnTo>
                    <a:pt x="1506" y="1404"/>
                  </a:lnTo>
                  <a:lnTo>
                    <a:pt x="1506" y="1398"/>
                  </a:lnTo>
                  <a:lnTo>
                    <a:pt x="1494" y="1392"/>
                  </a:lnTo>
                  <a:lnTo>
                    <a:pt x="1476" y="1404"/>
                  </a:lnTo>
                  <a:lnTo>
                    <a:pt x="1464" y="1416"/>
                  </a:lnTo>
                  <a:lnTo>
                    <a:pt x="1458" y="1428"/>
                  </a:lnTo>
                  <a:lnTo>
                    <a:pt x="1446" y="1434"/>
                  </a:lnTo>
                  <a:lnTo>
                    <a:pt x="1410" y="1440"/>
                  </a:lnTo>
                  <a:lnTo>
                    <a:pt x="1398" y="1440"/>
                  </a:lnTo>
                  <a:lnTo>
                    <a:pt x="1398" y="1446"/>
                  </a:lnTo>
                  <a:lnTo>
                    <a:pt x="1386" y="1446"/>
                  </a:lnTo>
                  <a:lnTo>
                    <a:pt x="1380" y="1440"/>
                  </a:lnTo>
                  <a:lnTo>
                    <a:pt x="1368" y="1440"/>
                  </a:lnTo>
                  <a:lnTo>
                    <a:pt x="1368" y="1446"/>
                  </a:lnTo>
                  <a:lnTo>
                    <a:pt x="1356" y="1446"/>
                  </a:lnTo>
                  <a:lnTo>
                    <a:pt x="1350" y="1452"/>
                  </a:lnTo>
                  <a:lnTo>
                    <a:pt x="1338" y="1452"/>
                  </a:lnTo>
                  <a:lnTo>
                    <a:pt x="1338" y="1458"/>
                  </a:lnTo>
                  <a:lnTo>
                    <a:pt x="1332" y="1458"/>
                  </a:lnTo>
                  <a:lnTo>
                    <a:pt x="1332" y="1464"/>
                  </a:lnTo>
                  <a:lnTo>
                    <a:pt x="1332" y="1470"/>
                  </a:lnTo>
                  <a:lnTo>
                    <a:pt x="1326" y="1470"/>
                  </a:lnTo>
                  <a:lnTo>
                    <a:pt x="1320" y="1470"/>
                  </a:lnTo>
                  <a:lnTo>
                    <a:pt x="1314" y="1470"/>
                  </a:lnTo>
                  <a:lnTo>
                    <a:pt x="1314" y="1464"/>
                  </a:lnTo>
                  <a:lnTo>
                    <a:pt x="1308" y="1464"/>
                  </a:lnTo>
                  <a:lnTo>
                    <a:pt x="1308" y="1452"/>
                  </a:lnTo>
                  <a:lnTo>
                    <a:pt x="1284" y="1458"/>
                  </a:lnTo>
                  <a:lnTo>
                    <a:pt x="1272" y="1458"/>
                  </a:lnTo>
                  <a:lnTo>
                    <a:pt x="1272" y="1464"/>
                  </a:lnTo>
                  <a:lnTo>
                    <a:pt x="1260" y="1464"/>
                  </a:lnTo>
                  <a:lnTo>
                    <a:pt x="1254" y="1464"/>
                  </a:lnTo>
                  <a:lnTo>
                    <a:pt x="1242" y="1422"/>
                  </a:lnTo>
                  <a:lnTo>
                    <a:pt x="1242" y="1416"/>
                  </a:lnTo>
                  <a:lnTo>
                    <a:pt x="1242" y="1410"/>
                  </a:lnTo>
                  <a:lnTo>
                    <a:pt x="1248" y="1410"/>
                  </a:lnTo>
                  <a:lnTo>
                    <a:pt x="1242" y="1410"/>
                  </a:lnTo>
                  <a:lnTo>
                    <a:pt x="1242" y="1404"/>
                  </a:lnTo>
                  <a:lnTo>
                    <a:pt x="1242" y="1398"/>
                  </a:lnTo>
                  <a:lnTo>
                    <a:pt x="1248" y="1392"/>
                  </a:lnTo>
                  <a:lnTo>
                    <a:pt x="1248" y="1386"/>
                  </a:lnTo>
                  <a:lnTo>
                    <a:pt x="1242" y="1380"/>
                  </a:lnTo>
                  <a:lnTo>
                    <a:pt x="1248" y="1380"/>
                  </a:lnTo>
                  <a:lnTo>
                    <a:pt x="1248" y="1374"/>
                  </a:lnTo>
                  <a:lnTo>
                    <a:pt x="1248" y="1368"/>
                  </a:lnTo>
                  <a:lnTo>
                    <a:pt x="1254" y="1368"/>
                  </a:lnTo>
                  <a:lnTo>
                    <a:pt x="1254" y="1362"/>
                  </a:lnTo>
                  <a:lnTo>
                    <a:pt x="1248" y="1356"/>
                  </a:lnTo>
                  <a:lnTo>
                    <a:pt x="1254" y="1356"/>
                  </a:lnTo>
                  <a:lnTo>
                    <a:pt x="1254" y="1344"/>
                  </a:lnTo>
                  <a:lnTo>
                    <a:pt x="1242" y="1338"/>
                  </a:lnTo>
                  <a:lnTo>
                    <a:pt x="1242" y="1326"/>
                  </a:lnTo>
                  <a:lnTo>
                    <a:pt x="1230" y="1326"/>
                  </a:lnTo>
                  <a:lnTo>
                    <a:pt x="1230" y="1314"/>
                  </a:lnTo>
                  <a:lnTo>
                    <a:pt x="1218" y="1314"/>
                  </a:lnTo>
                  <a:lnTo>
                    <a:pt x="1200" y="1272"/>
                  </a:lnTo>
                  <a:lnTo>
                    <a:pt x="1194" y="1242"/>
                  </a:lnTo>
                  <a:lnTo>
                    <a:pt x="1194" y="1206"/>
                  </a:lnTo>
                  <a:lnTo>
                    <a:pt x="1182" y="1200"/>
                  </a:lnTo>
                  <a:lnTo>
                    <a:pt x="1164" y="1206"/>
                  </a:lnTo>
                  <a:lnTo>
                    <a:pt x="1146" y="1212"/>
                  </a:lnTo>
                  <a:lnTo>
                    <a:pt x="1146" y="1218"/>
                  </a:lnTo>
                  <a:lnTo>
                    <a:pt x="1134" y="1224"/>
                  </a:lnTo>
                  <a:lnTo>
                    <a:pt x="1140" y="1260"/>
                  </a:lnTo>
                  <a:lnTo>
                    <a:pt x="1134" y="1266"/>
                  </a:lnTo>
                  <a:lnTo>
                    <a:pt x="1122" y="1266"/>
                  </a:lnTo>
                  <a:lnTo>
                    <a:pt x="1110" y="1236"/>
                  </a:lnTo>
                  <a:lnTo>
                    <a:pt x="1110" y="1224"/>
                  </a:lnTo>
                  <a:lnTo>
                    <a:pt x="1086" y="1224"/>
                  </a:lnTo>
                  <a:lnTo>
                    <a:pt x="1086" y="1212"/>
                  </a:lnTo>
                  <a:lnTo>
                    <a:pt x="1074" y="1212"/>
                  </a:lnTo>
                  <a:lnTo>
                    <a:pt x="1050" y="1212"/>
                  </a:lnTo>
                  <a:lnTo>
                    <a:pt x="1056" y="1218"/>
                  </a:lnTo>
                  <a:lnTo>
                    <a:pt x="1050" y="1272"/>
                  </a:lnTo>
                  <a:lnTo>
                    <a:pt x="1044" y="1272"/>
                  </a:lnTo>
                  <a:lnTo>
                    <a:pt x="1038" y="1284"/>
                  </a:lnTo>
                  <a:lnTo>
                    <a:pt x="1032" y="1302"/>
                  </a:lnTo>
                  <a:lnTo>
                    <a:pt x="1014" y="1302"/>
                  </a:lnTo>
                  <a:lnTo>
                    <a:pt x="1020" y="1284"/>
                  </a:lnTo>
                  <a:lnTo>
                    <a:pt x="1026" y="1278"/>
                  </a:lnTo>
                  <a:lnTo>
                    <a:pt x="1026" y="1266"/>
                  </a:lnTo>
                  <a:lnTo>
                    <a:pt x="1014" y="1260"/>
                  </a:lnTo>
                  <a:lnTo>
                    <a:pt x="1014" y="1272"/>
                  </a:lnTo>
                  <a:lnTo>
                    <a:pt x="990" y="1278"/>
                  </a:lnTo>
                  <a:lnTo>
                    <a:pt x="990" y="1254"/>
                  </a:lnTo>
                  <a:lnTo>
                    <a:pt x="984" y="1254"/>
                  </a:lnTo>
                  <a:lnTo>
                    <a:pt x="978" y="1242"/>
                  </a:lnTo>
                  <a:lnTo>
                    <a:pt x="972" y="1236"/>
                  </a:lnTo>
                  <a:lnTo>
                    <a:pt x="960" y="1206"/>
                  </a:lnTo>
                  <a:lnTo>
                    <a:pt x="942" y="1206"/>
                  </a:lnTo>
                  <a:lnTo>
                    <a:pt x="936" y="1200"/>
                  </a:lnTo>
                  <a:lnTo>
                    <a:pt x="906" y="1212"/>
                  </a:lnTo>
                  <a:lnTo>
                    <a:pt x="888" y="1230"/>
                  </a:lnTo>
                  <a:lnTo>
                    <a:pt x="876" y="1230"/>
                  </a:lnTo>
                  <a:lnTo>
                    <a:pt x="864" y="1236"/>
                  </a:lnTo>
                  <a:lnTo>
                    <a:pt x="858" y="1236"/>
                  </a:lnTo>
                  <a:lnTo>
                    <a:pt x="852" y="1254"/>
                  </a:lnTo>
                  <a:lnTo>
                    <a:pt x="858" y="1254"/>
                  </a:lnTo>
                  <a:lnTo>
                    <a:pt x="840" y="1266"/>
                  </a:lnTo>
                  <a:lnTo>
                    <a:pt x="828" y="1272"/>
                  </a:lnTo>
                  <a:lnTo>
                    <a:pt x="828" y="1284"/>
                  </a:lnTo>
                  <a:lnTo>
                    <a:pt x="822" y="1284"/>
                  </a:lnTo>
                  <a:lnTo>
                    <a:pt x="804" y="1296"/>
                  </a:lnTo>
                  <a:lnTo>
                    <a:pt x="804" y="1308"/>
                  </a:lnTo>
                  <a:lnTo>
                    <a:pt x="816" y="1320"/>
                  </a:lnTo>
                  <a:lnTo>
                    <a:pt x="828" y="1320"/>
                  </a:lnTo>
                  <a:lnTo>
                    <a:pt x="822" y="1338"/>
                  </a:lnTo>
                  <a:lnTo>
                    <a:pt x="852" y="1344"/>
                  </a:lnTo>
                  <a:lnTo>
                    <a:pt x="864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94" y="1356"/>
                  </a:lnTo>
                  <a:lnTo>
                    <a:pt x="912" y="1368"/>
                  </a:lnTo>
                  <a:lnTo>
                    <a:pt x="918" y="1380"/>
                  </a:lnTo>
                  <a:lnTo>
                    <a:pt x="936" y="1380"/>
                  </a:lnTo>
                  <a:lnTo>
                    <a:pt x="960" y="1386"/>
                  </a:lnTo>
                  <a:lnTo>
                    <a:pt x="990" y="1386"/>
                  </a:lnTo>
                  <a:lnTo>
                    <a:pt x="990" y="1392"/>
                  </a:lnTo>
                  <a:lnTo>
                    <a:pt x="1020" y="1398"/>
                  </a:lnTo>
                  <a:lnTo>
                    <a:pt x="1014" y="1404"/>
                  </a:lnTo>
                  <a:lnTo>
                    <a:pt x="1008" y="1404"/>
                  </a:lnTo>
                  <a:lnTo>
                    <a:pt x="1014" y="1440"/>
                  </a:lnTo>
                  <a:lnTo>
                    <a:pt x="1020" y="1458"/>
                  </a:lnTo>
                  <a:lnTo>
                    <a:pt x="1026" y="1476"/>
                  </a:lnTo>
                  <a:lnTo>
                    <a:pt x="1020" y="1476"/>
                  </a:lnTo>
                  <a:lnTo>
                    <a:pt x="1014" y="1476"/>
                  </a:lnTo>
                  <a:lnTo>
                    <a:pt x="1014" y="1482"/>
                  </a:lnTo>
                  <a:lnTo>
                    <a:pt x="1014" y="1488"/>
                  </a:lnTo>
                  <a:lnTo>
                    <a:pt x="1002" y="1488"/>
                  </a:lnTo>
                  <a:lnTo>
                    <a:pt x="1002" y="1494"/>
                  </a:lnTo>
                  <a:lnTo>
                    <a:pt x="996" y="1494"/>
                  </a:lnTo>
                  <a:lnTo>
                    <a:pt x="996" y="1518"/>
                  </a:lnTo>
                  <a:lnTo>
                    <a:pt x="1002" y="1524"/>
                  </a:lnTo>
                  <a:lnTo>
                    <a:pt x="1020" y="1530"/>
                  </a:lnTo>
                  <a:lnTo>
                    <a:pt x="1026" y="1542"/>
                  </a:lnTo>
                  <a:lnTo>
                    <a:pt x="1032" y="1566"/>
                  </a:lnTo>
                  <a:lnTo>
                    <a:pt x="1038" y="1578"/>
                  </a:lnTo>
                  <a:lnTo>
                    <a:pt x="1032" y="1584"/>
                  </a:lnTo>
                  <a:lnTo>
                    <a:pt x="1020" y="1584"/>
                  </a:lnTo>
                  <a:lnTo>
                    <a:pt x="1014" y="1584"/>
                  </a:lnTo>
                  <a:lnTo>
                    <a:pt x="1008" y="1596"/>
                  </a:lnTo>
                  <a:lnTo>
                    <a:pt x="990" y="1584"/>
                  </a:lnTo>
                  <a:lnTo>
                    <a:pt x="984" y="1602"/>
                  </a:lnTo>
                  <a:lnTo>
                    <a:pt x="978" y="1608"/>
                  </a:lnTo>
                  <a:lnTo>
                    <a:pt x="966" y="1608"/>
                  </a:lnTo>
                  <a:lnTo>
                    <a:pt x="960" y="1614"/>
                  </a:lnTo>
                  <a:lnTo>
                    <a:pt x="954" y="1614"/>
                  </a:lnTo>
                  <a:lnTo>
                    <a:pt x="942" y="1620"/>
                  </a:lnTo>
                  <a:lnTo>
                    <a:pt x="936" y="1620"/>
                  </a:lnTo>
                  <a:lnTo>
                    <a:pt x="930" y="1620"/>
                  </a:lnTo>
                  <a:lnTo>
                    <a:pt x="930" y="1626"/>
                  </a:lnTo>
                  <a:lnTo>
                    <a:pt x="930" y="1632"/>
                  </a:lnTo>
                  <a:lnTo>
                    <a:pt x="918" y="1632"/>
                  </a:lnTo>
                  <a:lnTo>
                    <a:pt x="912" y="1632"/>
                  </a:lnTo>
                  <a:lnTo>
                    <a:pt x="906" y="1632"/>
                  </a:lnTo>
                  <a:lnTo>
                    <a:pt x="900" y="1632"/>
                  </a:lnTo>
                  <a:lnTo>
                    <a:pt x="894" y="1626"/>
                  </a:lnTo>
                  <a:lnTo>
                    <a:pt x="894" y="1614"/>
                  </a:lnTo>
                  <a:lnTo>
                    <a:pt x="840" y="1614"/>
                  </a:lnTo>
                  <a:lnTo>
                    <a:pt x="840" y="1626"/>
                  </a:lnTo>
                  <a:lnTo>
                    <a:pt x="834" y="1626"/>
                  </a:lnTo>
                  <a:lnTo>
                    <a:pt x="828" y="1632"/>
                  </a:lnTo>
                  <a:lnTo>
                    <a:pt x="822" y="1638"/>
                  </a:lnTo>
                  <a:lnTo>
                    <a:pt x="822" y="1644"/>
                  </a:lnTo>
                  <a:lnTo>
                    <a:pt x="834" y="1650"/>
                  </a:lnTo>
                  <a:lnTo>
                    <a:pt x="840" y="1662"/>
                  </a:lnTo>
                  <a:lnTo>
                    <a:pt x="840" y="1668"/>
                  </a:lnTo>
                  <a:lnTo>
                    <a:pt x="858" y="1680"/>
                  </a:lnTo>
                  <a:lnTo>
                    <a:pt x="858" y="1752"/>
                  </a:lnTo>
                  <a:lnTo>
                    <a:pt x="864" y="1782"/>
                  </a:lnTo>
                  <a:lnTo>
                    <a:pt x="876" y="1788"/>
                  </a:lnTo>
                  <a:lnTo>
                    <a:pt x="870" y="1854"/>
                  </a:lnTo>
                  <a:lnTo>
                    <a:pt x="870" y="1884"/>
                  </a:lnTo>
                  <a:lnTo>
                    <a:pt x="864" y="1884"/>
                  </a:lnTo>
                  <a:lnTo>
                    <a:pt x="846" y="1896"/>
                  </a:lnTo>
                  <a:lnTo>
                    <a:pt x="840" y="1896"/>
                  </a:lnTo>
                  <a:lnTo>
                    <a:pt x="834" y="1896"/>
                  </a:lnTo>
                  <a:lnTo>
                    <a:pt x="828" y="1890"/>
                  </a:lnTo>
                  <a:lnTo>
                    <a:pt x="822" y="1890"/>
                  </a:lnTo>
                  <a:lnTo>
                    <a:pt x="816" y="1896"/>
                  </a:lnTo>
                  <a:lnTo>
                    <a:pt x="804" y="1896"/>
                  </a:lnTo>
                  <a:lnTo>
                    <a:pt x="804" y="1890"/>
                  </a:lnTo>
                  <a:lnTo>
                    <a:pt x="780" y="1896"/>
                  </a:lnTo>
                  <a:lnTo>
                    <a:pt x="780" y="1902"/>
                  </a:lnTo>
                  <a:lnTo>
                    <a:pt x="774" y="1914"/>
                  </a:lnTo>
                  <a:lnTo>
                    <a:pt x="762" y="1926"/>
                  </a:lnTo>
                  <a:lnTo>
                    <a:pt x="762" y="1950"/>
                  </a:lnTo>
                  <a:lnTo>
                    <a:pt x="762" y="1962"/>
                  </a:lnTo>
                  <a:lnTo>
                    <a:pt x="780" y="1974"/>
                  </a:lnTo>
                  <a:lnTo>
                    <a:pt x="780" y="1986"/>
                  </a:lnTo>
                  <a:lnTo>
                    <a:pt x="780" y="1998"/>
                  </a:lnTo>
                  <a:lnTo>
                    <a:pt x="756" y="1998"/>
                  </a:lnTo>
                  <a:lnTo>
                    <a:pt x="720" y="1992"/>
                  </a:lnTo>
                  <a:lnTo>
                    <a:pt x="666" y="1998"/>
                  </a:lnTo>
                  <a:lnTo>
                    <a:pt x="654" y="1998"/>
                  </a:lnTo>
                  <a:lnTo>
                    <a:pt x="660" y="1974"/>
                  </a:lnTo>
                  <a:lnTo>
                    <a:pt x="666" y="1962"/>
                  </a:lnTo>
                  <a:lnTo>
                    <a:pt x="678" y="1950"/>
                  </a:lnTo>
                  <a:lnTo>
                    <a:pt x="696" y="1932"/>
                  </a:lnTo>
                  <a:lnTo>
                    <a:pt x="696" y="1920"/>
                  </a:lnTo>
                  <a:lnTo>
                    <a:pt x="696" y="1896"/>
                  </a:lnTo>
                  <a:lnTo>
                    <a:pt x="678" y="1896"/>
                  </a:lnTo>
                  <a:lnTo>
                    <a:pt x="672" y="1884"/>
                  </a:lnTo>
                  <a:lnTo>
                    <a:pt x="672" y="1776"/>
                  </a:lnTo>
                  <a:lnTo>
                    <a:pt x="678" y="1758"/>
                  </a:lnTo>
                  <a:lnTo>
                    <a:pt x="678" y="1740"/>
                  </a:lnTo>
                  <a:lnTo>
                    <a:pt x="684" y="1728"/>
                  </a:lnTo>
                  <a:lnTo>
                    <a:pt x="690" y="1722"/>
                  </a:lnTo>
                  <a:lnTo>
                    <a:pt x="702" y="1722"/>
                  </a:lnTo>
                  <a:lnTo>
                    <a:pt x="708" y="1716"/>
                  </a:lnTo>
                  <a:lnTo>
                    <a:pt x="714" y="1710"/>
                  </a:lnTo>
                  <a:lnTo>
                    <a:pt x="720" y="1698"/>
                  </a:lnTo>
                  <a:lnTo>
                    <a:pt x="732" y="1692"/>
                  </a:lnTo>
                  <a:lnTo>
                    <a:pt x="744" y="1686"/>
                  </a:lnTo>
                  <a:lnTo>
                    <a:pt x="756" y="1680"/>
                  </a:lnTo>
                  <a:lnTo>
                    <a:pt x="768" y="1668"/>
                  </a:lnTo>
                  <a:lnTo>
                    <a:pt x="768" y="1650"/>
                  </a:lnTo>
                  <a:lnTo>
                    <a:pt x="774" y="1632"/>
                  </a:lnTo>
                  <a:lnTo>
                    <a:pt x="768" y="1620"/>
                  </a:lnTo>
                  <a:lnTo>
                    <a:pt x="774" y="1608"/>
                  </a:lnTo>
                  <a:lnTo>
                    <a:pt x="774" y="1578"/>
                  </a:lnTo>
                  <a:lnTo>
                    <a:pt x="774" y="1572"/>
                  </a:lnTo>
                  <a:lnTo>
                    <a:pt x="780" y="1560"/>
                  </a:lnTo>
                  <a:lnTo>
                    <a:pt x="780" y="1554"/>
                  </a:lnTo>
                  <a:lnTo>
                    <a:pt x="786" y="1542"/>
                  </a:lnTo>
                  <a:lnTo>
                    <a:pt x="792" y="1530"/>
                  </a:lnTo>
                  <a:lnTo>
                    <a:pt x="792" y="1518"/>
                  </a:lnTo>
                  <a:lnTo>
                    <a:pt x="792" y="1506"/>
                  </a:lnTo>
                  <a:lnTo>
                    <a:pt x="786" y="1500"/>
                  </a:lnTo>
                  <a:lnTo>
                    <a:pt x="774" y="1488"/>
                  </a:lnTo>
                  <a:lnTo>
                    <a:pt x="774" y="1482"/>
                  </a:lnTo>
                  <a:lnTo>
                    <a:pt x="762" y="1488"/>
                  </a:lnTo>
                  <a:lnTo>
                    <a:pt x="756" y="1494"/>
                  </a:lnTo>
                  <a:lnTo>
                    <a:pt x="744" y="1500"/>
                  </a:lnTo>
                  <a:lnTo>
                    <a:pt x="732" y="1506"/>
                  </a:lnTo>
                  <a:lnTo>
                    <a:pt x="726" y="1506"/>
                  </a:lnTo>
                  <a:lnTo>
                    <a:pt x="720" y="1506"/>
                  </a:lnTo>
                  <a:lnTo>
                    <a:pt x="702" y="1506"/>
                  </a:lnTo>
                  <a:lnTo>
                    <a:pt x="690" y="1500"/>
                  </a:lnTo>
                  <a:lnTo>
                    <a:pt x="678" y="1500"/>
                  </a:lnTo>
                  <a:lnTo>
                    <a:pt x="672" y="1500"/>
                  </a:lnTo>
                  <a:lnTo>
                    <a:pt x="660" y="1506"/>
                  </a:lnTo>
                  <a:lnTo>
                    <a:pt x="654" y="1506"/>
                  </a:lnTo>
                  <a:lnTo>
                    <a:pt x="648" y="1512"/>
                  </a:lnTo>
                  <a:lnTo>
                    <a:pt x="648" y="1518"/>
                  </a:lnTo>
                  <a:lnTo>
                    <a:pt x="618" y="1518"/>
                  </a:lnTo>
                  <a:lnTo>
                    <a:pt x="534" y="1494"/>
                  </a:lnTo>
                  <a:lnTo>
                    <a:pt x="528" y="1458"/>
                  </a:lnTo>
                  <a:lnTo>
                    <a:pt x="510" y="1458"/>
                  </a:lnTo>
                  <a:lnTo>
                    <a:pt x="492" y="1440"/>
                  </a:lnTo>
                  <a:lnTo>
                    <a:pt x="462" y="1440"/>
                  </a:lnTo>
                  <a:lnTo>
                    <a:pt x="456" y="1428"/>
                  </a:lnTo>
                  <a:lnTo>
                    <a:pt x="420" y="1428"/>
                  </a:lnTo>
                  <a:lnTo>
                    <a:pt x="390" y="1446"/>
                  </a:lnTo>
                  <a:lnTo>
                    <a:pt x="312" y="1452"/>
                  </a:lnTo>
                  <a:lnTo>
                    <a:pt x="300" y="1446"/>
                  </a:lnTo>
                  <a:lnTo>
                    <a:pt x="294" y="1446"/>
                  </a:lnTo>
                  <a:lnTo>
                    <a:pt x="288" y="1446"/>
                  </a:lnTo>
                  <a:lnTo>
                    <a:pt x="282" y="1440"/>
                  </a:lnTo>
                  <a:lnTo>
                    <a:pt x="276" y="1440"/>
                  </a:lnTo>
                  <a:lnTo>
                    <a:pt x="270" y="1440"/>
                  </a:lnTo>
                  <a:lnTo>
                    <a:pt x="264" y="1440"/>
                  </a:lnTo>
                  <a:lnTo>
                    <a:pt x="258" y="1434"/>
                  </a:lnTo>
                  <a:lnTo>
                    <a:pt x="252" y="1434"/>
                  </a:lnTo>
                  <a:lnTo>
                    <a:pt x="246" y="1428"/>
                  </a:lnTo>
                  <a:lnTo>
                    <a:pt x="240" y="1416"/>
                  </a:lnTo>
                  <a:lnTo>
                    <a:pt x="234" y="1404"/>
                  </a:lnTo>
                  <a:lnTo>
                    <a:pt x="228" y="1398"/>
                  </a:lnTo>
                  <a:lnTo>
                    <a:pt x="222" y="1398"/>
                  </a:lnTo>
                  <a:lnTo>
                    <a:pt x="216" y="1404"/>
                  </a:lnTo>
                  <a:lnTo>
                    <a:pt x="210" y="1404"/>
                  </a:lnTo>
                  <a:lnTo>
                    <a:pt x="204" y="1404"/>
                  </a:lnTo>
                  <a:lnTo>
                    <a:pt x="204" y="1398"/>
                  </a:lnTo>
                  <a:lnTo>
                    <a:pt x="198" y="1392"/>
                  </a:lnTo>
                  <a:lnTo>
                    <a:pt x="192" y="1386"/>
                  </a:lnTo>
                  <a:lnTo>
                    <a:pt x="168" y="1374"/>
                  </a:lnTo>
                  <a:lnTo>
                    <a:pt x="144" y="13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0" name="Freeform 35">
              <a:extLst>
                <a:ext uri="{FF2B5EF4-FFF2-40B4-BE49-F238E27FC236}">
                  <a16:creationId xmlns:a16="http://schemas.microsoft.com/office/drawing/2014/main" id="{F64BF16E-9D62-438E-A1CC-CD4088AC7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2895" y="1706004"/>
              <a:ext cx="767013" cy="785011"/>
            </a:xfrm>
            <a:custGeom>
              <a:avLst/>
              <a:gdLst>
                <a:gd name="T0" fmla="*/ 102 w 1440"/>
                <a:gd name="T1" fmla="*/ 104 h 1476"/>
                <a:gd name="T2" fmla="*/ 99 w 1440"/>
                <a:gd name="T3" fmla="*/ 108 h 1476"/>
                <a:gd name="T4" fmla="*/ 98 w 1440"/>
                <a:gd name="T5" fmla="*/ 112 h 1476"/>
                <a:gd name="T6" fmla="*/ 96 w 1440"/>
                <a:gd name="T7" fmla="*/ 116 h 1476"/>
                <a:gd name="T8" fmla="*/ 91 w 1440"/>
                <a:gd name="T9" fmla="*/ 118 h 1476"/>
                <a:gd name="T10" fmla="*/ 87 w 1440"/>
                <a:gd name="T11" fmla="*/ 120 h 1476"/>
                <a:gd name="T12" fmla="*/ 75 w 1440"/>
                <a:gd name="T13" fmla="*/ 120 h 1476"/>
                <a:gd name="T14" fmla="*/ 72 w 1440"/>
                <a:gd name="T15" fmla="*/ 123 h 1476"/>
                <a:gd name="T16" fmla="*/ 69 w 1440"/>
                <a:gd name="T17" fmla="*/ 128 h 1476"/>
                <a:gd name="T18" fmla="*/ 67 w 1440"/>
                <a:gd name="T19" fmla="*/ 127 h 1476"/>
                <a:gd name="T20" fmla="*/ 66 w 1440"/>
                <a:gd name="T21" fmla="*/ 123 h 1476"/>
                <a:gd name="T22" fmla="*/ 63 w 1440"/>
                <a:gd name="T23" fmla="*/ 119 h 1476"/>
                <a:gd name="T24" fmla="*/ 54 w 1440"/>
                <a:gd name="T25" fmla="*/ 114 h 1476"/>
                <a:gd name="T26" fmla="*/ 55 w 1440"/>
                <a:gd name="T27" fmla="*/ 106 h 1476"/>
                <a:gd name="T28" fmla="*/ 60 w 1440"/>
                <a:gd name="T29" fmla="*/ 100 h 1476"/>
                <a:gd name="T30" fmla="*/ 55 w 1440"/>
                <a:gd name="T31" fmla="*/ 91 h 1476"/>
                <a:gd name="T32" fmla="*/ 51 w 1440"/>
                <a:gd name="T33" fmla="*/ 86 h 1476"/>
                <a:gd name="T34" fmla="*/ 47 w 1440"/>
                <a:gd name="T35" fmla="*/ 85 h 1476"/>
                <a:gd name="T36" fmla="*/ 44 w 1440"/>
                <a:gd name="T37" fmla="*/ 82 h 1476"/>
                <a:gd name="T38" fmla="*/ 41 w 1440"/>
                <a:gd name="T39" fmla="*/ 83 h 1476"/>
                <a:gd name="T40" fmla="*/ 36 w 1440"/>
                <a:gd name="T41" fmla="*/ 83 h 1476"/>
                <a:gd name="T42" fmla="*/ 33 w 1440"/>
                <a:gd name="T43" fmla="*/ 83 h 1476"/>
                <a:gd name="T44" fmla="*/ 30 w 1440"/>
                <a:gd name="T45" fmla="*/ 83 h 1476"/>
                <a:gd name="T46" fmla="*/ 27 w 1440"/>
                <a:gd name="T47" fmla="*/ 83 h 1476"/>
                <a:gd name="T48" fmla="*/ 24 w 1440"/>
                <a:gd name="T49" fmla="*/ 82 h 1476"/>
                <a:gd name="T50" fmla="*/ 21 w 1440"/>
                <a:gd name="T51" fmla="*/ 80 h 1476"/>
                <a:gd name="T52" fmla="*/ 18 w 1440"/>
                <a:gd name="T53" fmla="*/ 79 h 1476"/>
                <a:gd name="T54" fmla="*/ 17 w 1440"/>
                <a:gd name="T55" fmla="*/ 78 h 1476"/>
                <a:gd name="T56" fmla="*/ 12 w 1440"/>
                <a:gd name="T57" fmla="*/ 78 h 1476"/>
                <a:gd name="T58" fmla="*/ 12 w 1440"/>
                <a:gd name="T59" fmla="*/ 78 h 1476"/>
                <a:gd name="T60" fmla="*/ 7 w 1440"/>
                <a:gd name="T61" fmla="*/ 80 h 1476"/>
                <a:gd name="T62" fmla="*/ 3 w 1440"/>
                <a:gd name="T63" fmla="*/ 81 h 1476"/>
                <a:gd name="T64" fmla="*/ 0 w 1440"/>
                <a:gd name="T65" fmla="*/ 76 h 1476"/>
                <a:gd name="T66" fmla="*/ 1 w 1440"/>
                <a:gd name="T67" fmla="*/ 50 h 1476"/>
                <a:gd name="T68" fmla="*/ 8 w 1440"/>
                <a:gd name="T69" fmla="*/ 48 h 1476"/>
                <a:gd name="T70" fmla="*/ 20 w 1440"/>
                <a:gd name="T71" fmla="*/ 49 h 1476"/>
                <a:gd name="T72" fmla="*/ 26 w 1440"/>
                <a:gd name="T73" fmla="*/ 50 h 1476"/>
                <a:gd name="T74" fmla="*/ 44 w 1440"/>
                <a:gd name="T75" fmla="*/ 47 h 1476"/>
                <a:gd name="T76" fmla="*/ 41 w 1440"/>
                <a:gd name="T77" fmla="*/ 24 h 1476"/>
                <a:gd name="T78" fmla="*/ 44 w 1440"/>
                <a:gd name="T79" fmla="*/ 20 h 1476"/>
                <a:gd name="T80" fmla="*/ 47 w 1440"/>
                <a:gd name="T81" fmla="*/ 18 h 1476"/>
                <a:gd name="T82" fmla="*/ 54 w 1440"/>
                <a:gd name="T83" fmla="*/ 21 h 1476"/>
                <a:gd name="T84" fmla="*/ 61 w 1440"/>
                <a:gd name="T85" fmla="*/ 23 h 1476"/>
                <a:gd name="T86" fmla="*/ 59 w 1440"/>
                <a:gd name="T87" fmla="*/ 14 h 1476"/>
                <a:gd name="T88" fmla="*/ 61 w 1440"/>
                <a:gd name="T89" fmla="*/ 8 h 1476"/>
                <a:gd name="T90" fmla="*/ 71 w 1440"/>
                <a:gd name="T91" fmla="*/ 7 h 1476"/>
                <a:gd name="T92" fmla="*/ 75 w 1440"/>
                <a:gd name="T93" fmla="*/ 0 h 1476"/>
                <a:gd name="T94" fmla="*/ 82 w 1440"/>
                <a:gd name="T95" fmla="*/ 3 h 1476"/>
                <a:gd name="T96" fmla="*/ 93 w 1440"/>
                <a:gd name="T97" fmla="*/ 5 h 1476"/>
                <a:gd name="T98" fmla="*/ 100 w 1440"/>
                <a:gd name="T99" fmla="*/ 1 h 1476"/>
                <a:gd name="T100" fmla="*/ 104 w 1440"/>
                <a:gd name="T101" fmla="*/ 4 h 1476"/>
                <a:gd name="T102" fmla="*/ 110 w 1440"/>
                <a:gd name="T103" fmla="*/ 10 h 1476"/>
                <a:gd name="T104" fmla="*/ 115 w 1440"/>
                <a:gd name="T105" fmla="*/ 23 h 1476"/>
                <a:gd name="T106" fmla="*/ 117 w 1440"/>
                <a:gd name="T107" fmla="*/ 42 h 1476"/>
                <a:gd name="T108" fmla="*/ 121 w 1440"/>
                <a:gd name="T109" fmla="*/ 52 h 1476"/>
                <a:gd name="T110" fmla="*/ 118 w 1440"/>
                <a:gd name="T111" fmla="*/ 62 h 1476"/>
                <a:gd name="T112" fmla="*/ 124 w 1440"/>
                <a:gd name="T113" fmla="*/ 66 h 1476"/>
                <a:gd name="T114" fmla="*/ 121 w 1440"/>
                <a:gd name="T115" fmla="*/ 71 h 1476"/>
                <a:gd name="T116" fmla="*/ 115 w 1440"/>
                <a:gd name="T117" fmla="*/ 76 h 1476"/>
                <a:gd name="T118" fmla="*/ 109 w 1440"/>
                <a:gd name="T119" fmla="*/ 76 h 1476"/>
                <a:gd name="T120" fmla="*/ 105 w 1440"/>
                <a:gd name="T121" fmla="*/ 86 h 1476"/>
                <a:gd name="T122" fmla="*/ 107 w 1440"/>
                <a:gd name="T123" fmla="*/ 97 h 147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40"/>
                <a:gd name="T187" fmla="*/ 0 h 1476"/>
                <a:gd name="T188" fmla="*/ 1440 w 1440"/>
                <a:gd name="T189" fmla="*/ 1476 h 147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40" h="1476">
                  <a:moveTo>
                    <a:pt x="1212" y="1164"/>
                  </a:moveTo>
                  <a:lnTo>
                    <a:pt x="1206" y="1170"/>
                  </a:lnTo>
                  <a:lnTo>
                    <a:pt x="1200" y="1176"/>
                  </a:lnTo>
                  <a:lnTo>
                    <a:pt x="1194" y="1176"/>
                  </a:lnTo>
                  <a:lnTo>
                    <a:pt x="1188" y="1188"/>
                  </a:lnTo>
                  <a:lnTo>
                    <a:pt x="1182" y="1194"/>
                  </a:lnTo>
                  <a:lnTo>
                    <a:pt x="1176" y="1194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64" y="1206"/>
                  </a:lnTo>
                  <a:lnTo>
                    <a:pt x="1158" y="1206"/>
                  </a:lnTo>
                  <a:lnTo>
                    <a:pt x="1152" y="1212"/>
                  </a:lnTo>
                  <a:lnTo>
                    <a:pt x="1146" y="1212"/>
                  </a:lnTo>
                  <a:lnTo>
                    <a:pt x="1140" y="1224"/>
                  </a:lnTo>
                  <a:lnTo>
                    <a:pt x="1134" y="1230"/>
                  </a:lnTo>
                  <a:lnTo>
                    <a:pt x="1128" y="1236"/>
                  </a:lnTo>
                  <a:lnTo>
                    <a:pt x="1128" y="1242"/>
                  </a:lnTo>
                  <a:lnTo>
                    <a:pt x="1128" y="1254"/>
                  </a:lnTo>
                  <a:lnTo>
                    <a:pt x="1128" y="1260"/>
                  </a:lnTo>
                  <a:lnTo>
                    <a:pt x="1122" y="1260"/>
                  </a:lnTo>
                  <a:lnTo>
                    <a:pt x="1122" y="1266"/>
                  </a:lnTo>
                  <a:lnTo>
                    <a:pt x="1128" y="1278"/>
                  </a:lnTo>
                  <a:lnTo>
                    <a:pt x="1122" y="1278"/>
                  </a:lnTo>
                  <a:lnTo>
                    <a:pt x="1122" y="1284"/>
                  </a:lnTo>
                  <a:lnTo>
                    <a:pt x="1128" y="1290"/>
                  </a:lnTo>
                  <a:lnTo>
                    <a:pt x="1122" y="1296"/>
                  </a:lnTo>
                  <a:lnTo>
                    <a:pt x="1122" y="1302"/>
                  </a:lnTo>
                  <a:lnTo>
                    <a:pt x="1116" y="1302"/>
                  </a:lnTo>
                  <a:lnTo>
                    <a:pt x="1110" y="1314"/>
                  </a:lnTo>
                  <a:lnTo>
                    <a:pt x="1110" y="1320"/>
                  </a:lnTo>
                  <a:lnTo>
                    <a:pt x="1110" y="1326"/>
                  </a:lnTo>
                  <a:lnTo>
                    <a:pt x="1098" y="1332"/>
                  </a:lnTo>
                  <a:lnTo>
                    <a:pt x="1092" y="1338"/>
                  </a:lnTo>
                  <a:lnTo>
                    <a:pt x="1092" y="1344"/>
                  </a:lnTo>
                  <a:lnTo>
                    <a:pt x="1086" y="1350"/>
                  </a:lnTo>
                  <a:lnTo>
                    <a:pt x="1080" y="1350"/>
                  </a:lnTo>
                  <a:lnTo>
                    <a:pt x="1074" y="1350"/>
                  </a:lnTo>
                  <a:lnTo>
                    <a:pt x="1068" y="1356"/>
                  </a:lnTo>
                  <a:lnTo>
                    <a:pt x="1062" y="1356"/>
                  </a:lnTo>
                  <a:lnTo>
                    <a:pt x="1044" y="1356"/>
                  </a:lnTo>
                  <a:lnTo>
                    <a:pt x="1038" y="1362"/>
                  </a:lnTo>
                  <a:lnTo>
                    <a:pt x="1032" y="1368"/>
                  </a:lnTo>
                  <a:lnTo>
                    <a:pt x="1026" y="1368"/>
                  </a:lnTo>
                  <a:lnTo>
                    <a:pt x="1020" y="1374"/>
                  </a:lnTo>
                  <a:lnTo>
                    <a:pt x="1008" y="1374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74"/>
                  </a:lnTo>
                  <a:lnTo>
                    <a:pt x="978" y="1380"/>
                  </a:lnTo>
                  <a:lnTo>
                    <a:pt x="972" y="1380"/>
                  </a:lnTo>
                  <a:lnTo>
                    <a:pt x="954" y="1368"/>
                  </a:lnTo>
                  <a:lnTo>
                    <a:pt x="930" y="1368"/>
                  </a:lnTo>
                  <a:lnTo>
                    <a:pt x="918" y="1368"/>
                  </a:lnTo>
                  <a:lnTo>
                    <a:pt x="906" y="1368"/>
                  </a:lnTo>
                  <a:lnTo>
                    <a:pt x="894" y="1368"/>
                  </a:lnTo>
                  <a:lnTo>
                    <a:pt x="864" y="1374"/>
                  </a:lnTo>
                  <a:lnTo>
                    <a:pt x="852" y="1374"/>
                  </a:lnTo>
                  <a:lnTo>
                    <a:pt x="846" y="1386"/>
                  </a:lnTo>
                  <a:lnTo>
                    <a:pt x="846" y="1392"/>
                  </a:lnTo>
                  <a:lnTo>
                    <a:pt x="840" y="1398"/>
                  </a:lnTo>
                  <a:lnTo>
                    <a:pt x="840" y="1404"/>
                  </a:lnTo>
                  <a:lnTo>
                    <a:pt x="834" y="1416"/>
                  </a:lnTo>
                  <a:lnTo>
                    <a:pt x="828" y="1416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04" y="1428"/>
                  </a:lnTo>
                  <a:lnTo>
                    <a:pt x="804" y="1434"/>
                  </a:lnTo>
                  <a:lnTo>
                    <a:pt x="804" y="1440"/>
                  </a:lnTo>
                  <a:lnTo>
                    <a:pt x="798" y="1446"/>
                  </a:lnTo>
                  <a:lnTo>
                    <a:pt x="798" y="1458"/>
                  </a:lnTo>
                  <a:lnTo>
                    <a:pt x="792" y="1464"/>
                  </a:lnTo>
                  <a:lnTo>
                    <a:pt x="786" y="1476"/>
                  </a:lnTo>
                  <a:lnTo>
                    <a:pt x="780" y="1470"/>
                  </a:lnTo>
                  <a:lnTo>
                    <a:pt x="774" y="1470"/>
                  </a:lnTo>
                  <a:lnTo>
                    <a:pt x="768" y="1470"/>
                  </a:lnTo>
                  <a:lnTo>
                    <a:pt x="762" y="1476"/>
                  </a:lnTo>
                  <a:lnTo>
                    <a:pt x="762" y="1470"/>
                  </a:lnTo>
                  <a:lnTo>
                    <a:pt x="762" y="1464"/>
                  </a:lnTo>
                  <a:lnTo>
                    <a:pt x="762" y="1458"/>
                  </a:lnTo>
                  <a:lnTo>
                    <a:pt x="756" y="1458"/>
                  </a:lnTo>
                  <a:lnTo>
                    <a:pt x="756" y="1452"/>
                  </a:lnTo>
                  <a:lnTo>
                    <a:pt x="756" y="1446"/>
                  </a:lnTo>
                  <a:lnTo>
                    <a:pt x="756" y="1440"/>
                  </a:lnTo>
                  <a:lnTo>
                    <a:pt x="750" y="1434"/>
                  </a:lnTo>
                  <a:lnTo>
                    <a:pt x="750" y="1428"/>
                  </a:lnTo>
                  <a:lnTo>
                    <a:pt x="750" y="1422"/>
                  </a:lnTo>
                  <a:lnTo>
                    <a:pt x="750" y="1416"/>
                  </a:lnTo>
                  <a:lnTo>
                    <a:pt x="744" y="1416"/>
                  </a:lnTo>
                  <a:lnTo>
                    <a:pt x="744" y="1410"/>
                  </a:lnTo>
                  <a:lnTo>
                    <a:pt x="738" y="1404"/>
                  </a:lnTo>
                  <a:lnTo>
                    <a:pt x="732" y="1398"/>
                  </a:lnTo>
                  <a:lnTo>
                    <a:pt x="732" y="1392"/>
                  </a:lnTo>
                  <a:lnTo>
                    <a:pt x="726" y="1386"/>
                  </a:lnTo>
                  <a:lnTo>
                    <a:pt x="726" y="1380"/>
                  </a:lnTo>
                  <a:lnTo>
                    <a:pt x="714" y="1368"/>
                  </a:lnTo>
                  <a:lnTo>
                    <a:pt x="708" y="1368"/>
                  </a:lnTo>
                  <a:lnTo>
                    <a:pt x="684" y="1332"/>
                  </a:lnTo>
                  <a:lnTo>
                    <a:pt x="666" y="1320"/>
                  </a:lnTo>
                  <a:lnTo>
                    <a:pt x="648" y="1302"/>
                  </a:lnTo>
                  <a:lnTo>
                    <a:pt x="630" y="1314"/>
                  </a:lnTo>
                  <a:lnTo>
                    <a:pt x="624" y="1314"/>
                  </a:lnTo>
                  <a:lnTo>
                    <a:pt x="624" y="1308"/>
                  </a:lnTo>
                  <a:lnTo>
                    <a:pt x="618" y="1308"/>
                  </a:lnTo>
                  <a:lnTo>
                    <a:pt x="612" y="1284"/>
                  </a:lnTo>
                  <a:lnTo>
                    <a:pt x="606" y="1254"/>
                  </a:lnTo>
                  <a:lnTo>
                    <a:pt x="606" y="1248"/>
                  </a:lnTo>
                  <a:lnTo>
                    <a:pt x="606" y="1242"/>
                  </a:lnTo>
                  <a:lnTo>
                    <a:pt x="612" y="1242"/>
                  </a:lnTo>
                  <a:lnTo>
                    <a:pt x="618" y="1236"/>
                  </a:lnTo>
                  <a:lnTo>
                    <a:pt x="618" y="1230"/>
                  </a:lnTo>
                  <a:lnTo>
                    <a:pt x="624" y="1224"/>
                  </a:lnTo>
                  <a:lnTo>
                    <a:pt x="630" y="1224"/>
                  </a:lnTo>
                  <a:lnTo>
                    <a:pt x="636" y="1218"/>
                  </a:lnTo>
                  <a:lnTo>
                    <a:pt x="636" y="1212"/>
                  </a:lnTo>
                  <a:lnTo>
                    <a:pt x="612" y="1200"/>
                  </a:lnTo>
                  <a:lnTo>
                    <a:pt x="606" y="1182"/>
                  </a:lnTo>
                  <a:lnTo>
                    <a:pt x="672" y="1182"/>
                  </a:lnTo>
                  <a:lnTo>
                    <a:pt x="690" y="1170"/>
                  </a:lnTo>
                  <a:lnTo>
                    <a:pt x="690" y="1152"/>
                  </a:lnTo>
                  <a:lnTo>
                    <a:pt x="678" y="1110"/>
                  </a:lnTo>
                  <a:lnTo>
                    <a:pt x="672" y="1092"/>
                  </a:lnTo>
                  <a:lnTo>
                    <a:pt x="660" y="1074"/>
                  </a:lnTo>
                  <a:lnTo>
                    <a:pt x="648" y="1068"/>
                  </a:lnTo>
                  <a:lnTo>
                    <a:pt x="642" y="1068"/>
                  </a:lnTo>
                  <a:lnTo>
                    <a:pt x="636" y="1062"/>
                  </a:lnTo>
                  <a:lnTo>
                    <a:pt x="624" y="1056"/>
                  </a:lnTo>
                  <a:lnTo>
                    <a:pt x="624" y="1050"/>
                  </a:lnTo>
                  <a:lnTo>
                    <a:pt x="618" y="1038"/>
                  </a:lnTo>
                  <a:lnTo>
                    <a:pt x="612" y="1038"/>
                  </a:lnTo>
                  <a:lnTo>
                    <a:pt x="612" y="1032"/>
                  </a:lnTo>
                  <a:lnTo>
                    <a:pt x="612" y="1026"/>
                  </a:lnTo>
                  <a:lnTo>
                    <a:pt x="600" y="1014"/>
                  </a:lnTo>
                  <a:lnTo>
                    <a:pt x="582" y="1008"/>
                  </a:lnTo>
                  <a:lnTo>
                    <a:pt x="576" y="1002"/>
                  </a:lnTo>
                  <a:lnTo>
                    <a:pt x="576" y="996"/>
                  </a:lnTo>
                  <a:lnTo>
                    <a:pt x="570" y="996"/>
                  </a:lnTo>
                  <a:lnTo>
                    <a:pt x="570" y="990"/>
                  </a:lnTo>
                  <a:lnTo>
                    <a:pt x="570" y="984"/>
                  </a:lnTo>
                  <a:lnTo>
                    <a:pt x="564" y="984"/>
                  </a:lnTo>
                  <a:lnTo>
                    <a:pt x="558" y="978"/>
                  </a:lnTo>
                  <a:lnTo>
                    <a:pt x="552" y="972"/>
                  </a:lnTo>
                  <a:lnTo>
                    <a:pt x="552" y="966"/>
                  </a:lnTo>
                  <a:lnTo>
                    <a:pt x="546" y="972"/>
                  </a:lnTo>
                  <a:lnTo>
                    <a:pt x="540" y="972"/>
                  </a:lnTo>
                  <a:lnTo>
                    <a:pt x="534" y="960"/>
                  </a:lnTo>
                  <a:lnTo>
                    <a:pt x="528" y="960"/>
                  </a:lnTo>
                  <a:lnTo>
                    <a:pt x="528" y="966"/>
                  </a:lnTo>
                  <a:lnTo>
                    <a:pt x="516" y="954"/>
                  </a:lnTo>
                  <a:lnTo>
                    <a:pt x="516" y="948"/>
                  </a:lnTo>
                  <a:lnTo>
                    <a:pt x="510" y="948"/>
                  </a:lnTo>
                  <a:lnTo>
                    <a:pt x="504" y="948"/>
                  </a:lnTo>
                  <a:lnTo>
                    <a:pt x="498" y="948"/>
                  </a:lnTo>
                  <a:lnTo>
                    <a:pt x="504" y="954"/>
                  </a:lnTo>
                  <a:lnTo>
                    <a:pt x="498" y="954"/>
                  </a:lnTo>
                  <a:lnTo>
                    <a:pt x="492" y="954"/>
                  </a:lnTo>
                  <a:lnTo>
                    <a:pt x="480" y="942"/>
                  </a:lnTo>
                  <a:lnTo>
                    <a:pt x="480" y="948"/>
                  </a:lnTo>
                  <a:lnTo>
                    <a:pt x="480" y="954"/>
                  </a:lnTo>
                  <a:lnTo>
                    <a:pt x="474" y="954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56" y="966"/>
                  </a:lnTo>
                  <a:lnTo>
                    <a:pt x="456" y="960"/>
                  </a:lnTo>
                  <a:lnTo>
                    <a:pt x="450" y="966"/>
                  </a:lnTo>
                  <a:lnTo>
                    <a:pt x="444" y="966"/>
                  </a:lnTo>
                  <a:lnTo>
                    <a:pt x="414" y="966"/>
                  </a:lnTo>
                  <a:lnTo>
                    <a:pt x="408" y="960"/>
                  </a:lnTo>
                  <a:lnTo>
                    <a:pt x="408" y="966"/>
                  </a:lnTo>
                  <a:lnTo>
                    <a:pt x="402" y="960"/>
                  </a:lnTo>
                  <a:lnTo>
                    <a:pt x="396" y="960"/>
                  </a:lnTo>
                  <a:lnTo>
                    <a:pt x="390" y="960"/>
                  </a:lnTo>
                  <a:lnTo>
                    <a:pt x="390" y="966"/>
                  </a:lnTo>
                  <a:lnTo>
                    <a:pt x="384" y="966"/>
                  </a:lnTo>
                  <a:lnTo>
                    <a:pt x="378" y="966"/>
                  </a:lnTo>
                  <a:lnTo>
                    <a:pt x="384" y="960"/>
                  </a:lnTo>
                  <a:lnTo>
                    <a:pt x="384" y="954"/>
                  </a:lnTo>
                  <a:lnTo>
                    <a:pt x="372" y="948"/>
                  </a:lnTo>
                  <a:lnTo>
                    <a:pt x="372" y="954"/>
                  </a:lnTo>
                  <a:lnTo>
                    <a:pt x="372" y="960"/>
                  </a:lnTo>
                  <a:lnTo>
                    <a:pt x="366" y="960"/>
                  </a:lnTo>
                  <a:lnTo>
                    <a:pt x="360" y="966"/>
                  </a:lnTo>
                  <a:lnTo>
                    <a:pt x="354" y="966"/>
                  </a:lnTo>
                  <a:lnTo>
                    <a:pt x="348" y="960"/>
                  </a:lnTo>
                  <a:lnTo>
                    <a:pt x="342" y="960"/>
                  </a:lnTo>
                  <a:lnTo>
                    <a:pt x="342" y="966"/>
                  </a:lnTo>
                  <a:lnTo>
                    <a:pt x="336" y="972"/>
                  </a:lnTo>
                  <a:lnTo>
                    <a:pt x="330" y="972"/>
                  </a:lnTo>
                  <a:lnTo>
                    <a:pt x="324" y="966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6" y="954"/>
                  </a:lnTo>
                  <a:lnTo>
                    <a:pt x="306" y="948"/>
                  </a:lnTo>
                  <a:lnTo>
                    <a:pt x="306" y="942"/>
                  </a:lnTo>
                  <a:lnTo>
                    <a:pt x="300" y="942"/>
                  </a:lnTo>
                  <a:lnTo>
                    <a:pt x="294" y="936"/>
                  </a:lnTo>
                  <a:lnTo>
                    <a:pt x="288" y="936"/>
                  </a:lnTo>
                  <a:lnTo>
                    <a:pt x="282" y="942"/>
                  </a:lnTo>
                  <a:lnTo>
                    <a:pt x="276" y="936"/>
                  </a:lnTo>
                  <a:lnTo>
                    <a:pt x="276" y="942"/>
                  </a:lnTo>
                  <a:lnTo>
                    <a:pt x="270" y="942"/>
                  </a:lnTo>
                  <a:lnTo>
                    <a:pt x="264" y="936"/>
                  </a:lnTo>
                  <a:lnTo>
                    <a:pt x="252" y="936"/>
                  </a:lnTo>
                  <a:lnTo>
                    <a:pt x="246" y="936"/>
                  </a:lnTo>
                  <a:lnTo>
                    <a:pt x="240" y="936"/>
                  </a:lnTo>
                  <a:lnTo>
                    <a:pt x="234" y="936"/>
                  </a:lnTo>
                  <a:lnTo>
                    <a:pt x="240" y="924"/>
                  </a:lnTo>
                  <a:lnTo>
                    <a:pt x="234" y="924"/>
                  </a:lnTo>
                  <a:lnTo>
                    <a:pt x="228" y="918"/>
                  </a:lnTo>
                  <a:lnTo>
                    <a:pt x="228" y="906"/>
                  </a:lnTo>
                  <a:lnTo>
                    <a:pt x="222" y="900"/>
                  </a:lnTo>
                  <a:lnTo>
                    <a:pt x="216" y="900"/>
                  </a:lnTo>
                  <a:lnTo>
                    <a:pt x="210" y="900"/>
                  </a:lnTo>
                  <a:lnTo>
                    <a:pt x="210" y="906"/>
                  </a:lnTo>
                  <a:lnTo>
                    <a:pt x="204" y="906"/>
                  </a:lnTo>
                  <a:lnTo>
                    <a:pt x="198" y="906"/>
                  </a:lnTo>
                  <a:lnTo>
                    <a:pt x="210" y="900"/>
                  </a:lnTo>
                  <a:lnTo>
                    <a:pt x="210" y="894"/>
                  </a:lnTo>
                  <a:lnTo>
                    <a:pt x="216" y="888"/>
                  </a:lnTo>
                  <a:lnTo>
                    <a:pt x="204" y="882"/>
                  </a:lnTo>
                  <a:lnTo>
                    <a:pt x="204" y="894"/>
                  </a:lnTo>
                  <a:lnTo>
                    <a:pt x="198" y="894"/>
                  </a:lnTo>
                  <a:lnTo>
                    <a:pt x="192" y="900"/>
                  </a:lnTo>
                  <a:lnTo>
                    <a:pt x="186" y="894"/>
                  </a:lnTo>
                  <a:lnTo>
                    <a:pt x="180" y="894"/>
                  </a:lnTo>
                  <a:lnTo>
                    <a:pt x="174" y="894"/>
                  </a:lnTo>
                  <a:lnTo>
                    <a:pt x="168" y="900"/>
                  </a:lnTo>
                  <a:lnTo>
                    <a:pt x="162" y="906"/>
                  </a:lnTo>
                  <a:lnTo>
                    <a:pt x="156" y="906"/>
                  </a:lnTo>
                  <a:lnTo>
                    <a:pt x="150" y="900"/>
                  </a:lnTo>
                  <a:lnTo>
                    <a:pt x="144" y="894"/>
                  </a:lnTo>
                  <a:lnTo>
                    <a:pt x="138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0" y="888"/>
                  </a:lnTo>
                  <a:lnTo>
                    <a:pt x="114" y="894"/>
                  </a:lnTo>
                  <a:lnTo>
                    <a:pt x="120" y="900"/>
                  </a:lnTo>
                  <a:lnTo>
                    <a:pt x="126" y="900"/>
                  </a:lnTo>
                  <a:lnTo>
                    <a:pt x="132" y="900"/>
                  </a:lnTo>
                  <a:lnTo>
                    <a:pt x="132" y="906"/>
                  </a:lnTo>
                  <a:lnTo>
                    <a:pt x="126" y="912"/>
                  </a:lnTo>
                  <a:lnTo>
                    <a:pt x="126" y="918"/>
                  </a:lnTo>
                  <a:lnTo>
                    <a:pt x="114" y="918"/>
                  </a:lnTo>
                  <a:lnTo>
                    <a:pt x="108" y="924"/>
                  </a:lnTo>
                  <a:lnTo>
                    <a:pt x="102" y="924"/>
                  </a:lnTo>
                  <a:lnTo>
                    <a:pt x="90" y="924"/>
                  </a:lnTo>
                  <a:lnTo>
                    <a:pt x="84" y="924"/>
                  </a:lnTo>
                  <a:lnTo>
                    <a:pt x="78" y="924"/>
                  </a:lnTo>
                  <a:lnTo>
                    <a:pt x="60" y="924"/>
                  </a:lnTo>
                  <a:lnTo>
                    <a:pt x="54" y="942"/>
                  </a:lnTo>
                  <a:lnTo>
                    <a:pt x="48" y="936"/>
                  </a:lnTo>
                  <a:lnTo>
                    <a:pt x="42" y="930"/>
                  </a:lnTo>
                  <a:lnTo>
                    <a:pt x="36" y="930"/>
                  </a:lnTo>
                  <a:lnTo>
                    <a:pt x="30" y="936"/>
                  </a:lnTo>
                  <a:lnTo>
                    <a:pt x="30" y="930"/>
                  </a:lnTo>
                  <a:lnTo>
                    <a:pt x="30" y="924"/>
                  </a:lnTo>
                  <a:lnTo>
                    <a:pt x="18" y="918"/>
                  </a:lnTo>
                  <a:lnTo>
                    <a:pt x="18" y="912"/>
                  </a:lnTo>
                  <a:lnTo>
                    <a:pt x="12" y="912"/>
                  </a:lnTo>
                  <a:lnTo>
                    <a:pt x="6" y="912"/>
                  </a:lnTo>
                  <a:lnTo>
                    <a:pt x="6" y="900"/>
                  </a:lnTo>
                  <a:lnTo>
                    <a:pt x="6" y="894"/>
                  </a:lnTo>
                  <a:lnTo>
                    <a:pt x="0" y="870"/>
                  </a:lnTo>
                  <a:lnTo>
                    <a:pt x="6" y="846"/>
                  </a:lnTo>
                  <a:lnTo>
                    <a:pt x="6" y="810"/>
                  </a:lnTo>
                  <a:lnTo>
                    <a:pt x="12" y="774"/>
                  </a:lnTo>
                  <a:lnTo>
                    <a:pt x="12" y="756"/>
                  </a:lnTo>
                  <a:lnTo>
                    <a:pt x="18" y="744"/>
                  </a:lnTo>
                  <a:lnTo>
                    <a:pt x="18" y="732"/>
                  </a:lnTo>
                  <a:lnTo>
                    <a:pt x="12" y="576"/>
                  </a:lnTo>
                  <a:lnTo>
                    <a:pt x="12" y="570"/>
                  </a:lnTo>
                  <a:lnTo>
                    <a:pt x="18" y="564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42" y="552"/>
                  </a:lnTo>
                  <a:lnTo>
                    <a:pt x="66" y="552"/>
                  </a:lnTo>
                  <a:lnTo>
                    <a:pt x="78" y="558"/>
                  </a:lnTo>
                  <a:lnTo>
                    <a:pt x="90" y="558"/>
                  </a:lnTo>
                  <a:lnTo>
                    <a:pt x="108" y="558"/>
                  </a:lnTo>
                  <a:lnTo>
                    <a:pt x="144" y="558"/>
                  </a:lnTo>
                  <a:lnTo>
                    <a:pt x="204" y="552"/>
                  </a:lnTo>
                  <a:lnTo>
                    <a:pt x="210" y="558"/>
                  </a:lnTo>
                  <a:lnTo>
                    <a:pt x="216" y="558"/>
                  </a:lnTo>
                  <a:lnTo>
                    <a:pt x="210" y="564"/>
                  </a:lnTo>
                  <a:lnTo>
                    <a:pt x="216" y="564"/>
                  </a:lnTo>
                  <a:lnTo>
                    <a:pt x="222" y="564"/>
                  </a:lnTo>
                  <a:lnTo>
                    <a:pt x="240" y="564"/>
                  </a:lnTo>
                  <a:lnTo>
                    <a:pt x="258" y="564"/>
                  </a:lnTo>
                  <a:lnTo>
                    <a:pt x="264" y="570"/>
                  </a:lnTo>
                  <a:lnTo>
                    <a:pt x="276" y="570"/>
                  </a:lnTo>
                  <a:lnTo>
                    <a:pt x="282" y="564"/>
                  </a:lnTo>
                  <a:lnTo>
                    <a:pt x="294" y="564"/>
                  </a:lnTo>
                  <a:lnTo>
                    <a:pt x="294" y="570"/>
                  </a:lnTo>
                  <a:lnTo>
                    <a:pt x="300" y="570"/>
                  </a:lnTo>
                  <a:lnTo>
                    <a:pt x="378" y="564"/>
                  </a:lnTo>
                  <a:lnTo>
                    <a:pt x="408" y="558"/>
                  </a:lnTo>
                  <a:lnTo>
                    <a:pt x="432" y="552"/>
                  </a:lnTo>
                  <a:lnTo>
                    <a:pt x="450" y="546"/>
                  </a:lnTo>
                  <a:lnTo>
                    <a:pt x="468" y="546"/>
                  </a:lnTo>
                  <a:lnTo>
                    <a:pt x="468" y="552"/>
                  </a:lnTo>
                  <a:lnTo>
                    <a:pt x="504" y="552"/>
                  </a:lnTo>
                  <a:lnTo>
                    <a:pt x="510" y="534"/>
                  </a:lnTo>
                  <a:lnTo>
                    <a:pt x="516" y="510"/>
                  </a:lnTo>
                  <a:lnTo>
                    <a:pt x="522" y="510"/>
                  </a:lnTo>
                  <a:lnTo>
                    <a:pt x="528" y="420"/>
                  </a:lnTo>
                  <a:lnTo>
                    <a:pt x="522" y="414"/>
                  </a:lnTo>
                  <a:lnTo>
                    <a:pt x="516" y="396"/>
                  </a:lnTo>
                  <a:lnTo>
                    <a:pt x="510" y="372"/>
                  </a:lnTo>
                  <a:lnTo>
                    <a:pt x="498" y="348"/>
                  </a:lnTo>
                  <a:lnTo>
                    <a:pt x="474" y="282"/>
                  </a:lnTo>
                  <a:lnTo>
                    <a:pt x="474" y="270"/>
                  </a:lnTo>
                  <a:lnTo>
                    <a:pt x="480" y="258"/>
                  </a:lnTo>
                  <a:lnTo>
                    <a:pt x="486" y="258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92" y="246"/>
                  </a:lnTo>
                  <a:lnTo>
                    <a:pt x="504" y="234"/>
                  </a:lnTo>
                  <a:lnTo>
                    <a:pt x="510" y="228"/>
                  </a:lnTo>
                  <a:lnTo>
                    <a:pt x="516" y="228"/>
                  </a:lnTo>
                  <a:lnTo>
                    <a:pt x="516" y="222"/>
                  </a:lnTo>
                  <a:lnTo>
                    <a:pt x="516" y="216"/>
                  </a:lnTo>
                  <a:lnTo>
                    <a:pt x="522" y="216"/>
                  </a:lnTo>
                  <a:lnTo>
                    <a:pt x="528" y="210"/>
                  </a:lnTo>
                  <a:lnTo>
                    <a:pt x="534" y="210"/>
                  </a:lnTo>
                  <a:lnTo>
                    <a:pt x="540" y="210"/>
                  </a:lnTo>
                  <a:lnTo>
                    <a:pt x="546" y="210"/>
                  </a:lnTo>
                  <a:lnTo>
                    <a:pt x="552" y="210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16"/>
                  </a:lnTo>
                  <a:lnTo>
                    <a:pt x="588" y="228"/>
                  </a:lnTo>
                  <a:lnTo>
                    <a:pt x="594" y="234"/>
                  </a:lnTo>
                  <a:lnTo>
                    <a:pt x="600" y="240"/>
                  </a:lnTo>
                  <a:lnTo>
                    <a:pt x="618" y="246"/>
                  </a:lnTo>
                  <a:lnTo>
                    <a:pt x="624" y="246"/>
                  </a:lnTo>
                  <a:lnTo>
                    <a:pt x="636" y="252"/>
                  </a:lnTo>
                  <a:lnTo>
                    <a:pt x="654" y="252"/>
                  </a:lnTo>
                  <a:lnTo>
                    <a:pt x="654" y="258"/>
                  </a:lnTo>
                  <a:lnTo>
                    <a:pt x="666" y="264"/>
                  </a:lnTo>
                  <a:lnTo>
                    <a:pt x="672" y="264"/>
                  </a:lnTo>
                  <a:lnTo>
                    <a:pt x="678" y="264"/>
                  </a:lnTo>
                  <a:lnTo>
                    <a:pt x="696" y="258"/>
                  </a:lnTo>
                  <a:lnTo>
                    <a:pt x="696" y="252"/>
                  </a:lnTo>
                  <a:lnTo>
                    <a:pt x="696" y="246"/>
                  </a:lnTo>
                  <a:lnTo>
                    <a:pt x="690" y="234"/>
                  </a:lnTo>
                  <a:lnTo>
                    <a:pt x="684" y="210"/>
                  </a:lnTo>
                  <a:lnTo>
                    <a:pt x="678" y="192"/>
                  </a:lnTo>
                  <a:lnTo>
                    <a:pt x="672" y="174"/>
                  </a:lnTo>
                  <a:lnTo>
                    <a:pt x="672" y="168"/>
                  </a:lnTo>
                  <a:lnTo>
                    <a:pt x="672" y="162"/>
                  </a:lnTo>
                  <a:lnTo>
                    <a:pt x="672" y="156"/>
                  </a:lnTo>
                  <a:lnTo>
                    <a:pt x="684" y="132"/>
                  </a:lnTo>
                  <a:lnTo>
                    <a:pt x="684" y="120"/>
                  </a:lnTo>
                  <a:lnTo>
                    <a:pt x="684" y="108"/>
                  </a:lnTo>
                  <a:lnTo>
                    <a:pt x="678" y="102"/>
                  </a:lnTo>
                  <a:lnTo>
                    <a:pt x="678" y="96"/>
                  </a:lnTo>
                  <a:lnTo>
                    <a:pt x="684" y="96"/>
                  </a:lnTo>
                  <a:lnTo>
                    <a:pt x="696" y="90"/>
                  </a:lnTo>
                  <a:lnTo>
                    <a:pt x="702" y="84"/>
                  </a:lnTo>
                  <a:lnTo>
                    <a:pt x="720" y="72"/>
                  </a:lnTo>
                  <a:lnTo>
                    <a:pt x="738" y="66"/>
                  </a:lnTo>
                  <a:lnTo>
                    <a:pt x="756" y="60"/>
                  </a:lnTo>
                  <a:lnTo>
                    <a:pt x="768" y="60"/>
                  </a:lnTo>
                  <a:lnTo>
                    <a:pt x="798" y="72"/>
                  </a:lnTo>
                  <a:lnTo>
                    <a:pt x="804" y="78"/>
                  </a:lnTo>
                  <a:lnTo>
                    <a:pt x="816" y="84"/>
                  </a:lnTo>
                  <a:lnTo>
                    <a:pt x="822" y="84"/>
                  </a:lnTo>
                  <a:lnTo>
                    <a:pt x="828" y="72"/>
                  </a:lnTo>
                  <a:lnTo>
                    <a:pt x="828" y="60"/>
                  </a:lnTo>
                  <a:lnTo>
                    <a:pt x="828" y="36"/>
                  </a:lnTo>
                  <a:lnTo>
                    <a:pt x="828" y="24"/>
                  </a:lnTo>
                  <a:lnTo>
                    <a:pt x="828" y="12"/>
                  </a:lnTo>
                  <a:lnTo>
                    <a:pt x="834" y="12"/>
                  </a:lnTo>
                  <a:lnTo>
                    <a:pt x="852" y="6"/>
                  </a:lnTo>
                  <a:lnTo>
                    <a:pt x="876" y="6"/>
                  </a:lnTo>
                  <a:lnTo>
                    <a:pt x="894" y="6"/>
                  </a:lnTo>
                  <a:lnTo>
                    <a:pt x="906" y="12"/>
                  </a:lnTo>
                  <a:lnTo>
                    <a:pt x="912" y="24"/>
                  </a:lnTo>
                  <a:lnTo>
                    <a:pt x="924" y="24"/>
                  </a:lnTo>
                  <a:lnTo>
                    <a:pt x="930" y="30"/>
                  </a:lnTo>
                  <a:lnTo>
                    <a:pt x="936" y="30"/>
                  </a:lnTo>
                  <a:lnTo>
                    <a:pt x="936" y="36"/>
                  </a:lnTo>
                  <a:lnTo>
                    <a:pt x="942" y="36"/>
                  </a:lnTo>
                  <a:lnTo>
                    <a:pt x="948" y="42"/>
                  </a:lnTo>
                  <a:lnTo>
                    <a:pt x="960" y="48"/>
                  </a:lnTo>
                  <a:lnTo>
                    <a:pt x="966" y="48"/>
                  </a:lnTo>
                  <a:lnTo>
                    <a:pt x="1026" y="60"/>
                  </a:lnTo>
                  <a:lnTo>
                    <a:pt x="1050" y="60"/>
                  </a:lnTo>
                  <a:lnTo>
                    <a:pt x="1050" y="54"/>
                  </a:lnTo>
                  <a:lnTo>
                    <a:pt x="1062" y="54"/>
                  </a:lnTo>
                  <a:lnTo>
                    <a:pt x="1074" y="48"/>
                  </a:lnTo>
                  <a:lnTo>
                    <a:pt x="1086" y="42"/>
                  </a:lnTo>
                  <a:lnTo>
                    <a:pt x="1104" y="36"/>
                  </a:lnTo>
                  <a:lnTo>
                    <a:pt x="1116" y="30"/>
                  </a:lnTo>
                  <a:lnTo>
                    <a:pt x="1122" y="24"/>
                  </a:lnTo>
                  <a:lnTo>
                    <a:pt x="1128" y="18"/>
                  </a:lnTo>
                  <a:lnTo>
                    <a:pt x="1134" y="18"/>
                  </a:lnTo>
                  <a:lnTo>
                    <a:pt x="1140" y="12"/>
                  </a:lnTo>
                  <a:lnTo>
                    <a:pt x="1146" y="6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24"/>
                  </a:lnTo>
                  <a:lnTo>
                    <a:pt x="1176" y="36"/>
                  </a:lnTo>
                  <a:lnTo>
                    <a:pt x="1188" y="42"/>
                  </a:lnTo>
                  <a:lnTo>
                    <a:pt x="1200" y="54"/>
                  </a:lnTo>
                  <a:lnTo>
                    <a:pt x="1224" y="84"/>
                  </a:lnTo>
                  <a:lnTo>
                    <a:pt x="1224" y="90"/>
                  </a:lnTo>
                  <a:lnTo>
                    <a:pt x="1236" y="96"/>
                  </a:lnTo>
                  <a:lnTo>
                    <a:pt x="1236" y="108"/>
                  </a:lnTo>
                  <a:lnTo>
                    <a:pt x="1248" y="114"/>
                  </a:lnTo>
                  <a:lnTo>
                    <a:pt x="1254" y="114"/>
                  </a:lnTo>
                  <a:lnTo>
                    <a:pt x="1260" y="114"/>
                  </a:lnTo>
                  <a:lnTo>
                    <a:pt x="1296" y="114"/>
                  </a:lnTo>
                  <a:lnTo>
                    <a:pt x="1302" y="114"/>
                  </a:lnTo>
                  <a:lnTo>
                    <a:pt x="1320" y="108"/>
                  </a:lnTo>
                  <a:lnTo>
                    <a:pt x="1326" y="108"/>
                  </a:lnTo>
                  <a:lnTo>
                    <a:pt x="1326" y="138"/>
                  </a:lnTo>
                  <a:lnTo>
                    <a:pt x="1326" y="210"/>
                  </a:lnTo>
                  <a:lnTo>
                    <a:pt x="1320" y="252"/>
                  </a:lnTo>
                  <a:lnTo>
                    <a:pt x="1320" y="270"/>
                  </a:lnTo>
                  <a:lnTo>
                    <a:pt x="1320" y="288"/>
                  </a:lnTo>
                  <a:lnTo>
                    <a:pt x="1320" y="318"/>
                  </a:lnTo>
                  <a:lnTo>
                    <a:pt x="1326" y="354"/>
                  </a:lnTo>
                  <a:lnTo>
                    <a:pt x="1326" y="372"/>
                  </a:lnTo>
                  <a:lnTo>
                    <a:pt x="1332" y="420"/>
                  </a:lnTo>
                  <a:lnTo>
                    <a:pt x="1332" y="450"/>
                  </a:lnTo>
                  <a:lnTo>
                    <a:pt x="1338" y="480"/>
                  </a:lnTo>
                  <a:lnTo>
                    <a:pt x="1344" y="486"/>
                  </a:lnTo>
                  <a:lnTo>
                    <a:pt x="1338" y="492"/>
                  </a:lnTo>
                  <a:lnTo>
                    <a:pt x="1344" y="492"/>
                  </a:lnTo>
                  <a:lnTo>
                    <a:pt x="1344" y="498"/>
                  </a:lnTo>
                  <a:lnTo>
                    <a:pt x="1350" y="498"/>
                  </a:lnTo>
                  <a:lnTo>
                    <a:pt x="1350" y="522"/>
                  </a:lnTo>
                  <a:lnTo>
                    <a:pt x="1362" y="564"/>
                  </a:lnTo>
                  <a:lnTo>
                    <a:pt x="1368" y="582"/>
                  </a:lnTo>
                  <a:lnTo>
                    <a:pt x="1380" y="600"/>
                  </a:lnTo>
                  <a:lnTo>
                    <a:pt x="1386" y="636"/>
                  </a:lnTo>
                  <a:lnTo>
                    <a:pt x="1380" y="660"/>
                  </a:lnTo>
                  <a:lnTo>
                    <a:pt x="1380" y="678"/>
                  </a:lnTo>
                  <a:lnTo>
                    <a:pt x="1380" y="684"/>
                  </a:lnTo>
                  <a:lnTo>
                    <a:pt x="1374" y="684"/>
                  </a:lnTo>
                  <a:lnTo>
                    <a:pt x="1368" y="690"/>
                  </a:lnTo>
                  <a:lnTo>
                    <a:pt x="1356" y="702"/>
                  </a:lnTo>
                  <a:lnTo>
                    <a:pt x="1350" y="708"/>
                  </a:lnTo>
                  <a:lnTo>
                    <a:pt x="1356" y="714"/>
                  </a:lnTo>
                  <a:lnTo>
                    <a:pt x="1368" y="726"/>
                  </a:lnTo>
                  <a:lnTo>
                    <a:pt x="1380" y="738"/>
                  </a:lnTo>
                  <a:lnTo>
                    <a:pt x="1386" y="744"/>
                  </a:lnTo>
                  <a:lnTo>
                    <a:pt x="1392" y="744"/>
                  </a:lnTo>
                  <a:lnTo>
                    <a:pt x="1410" y="750"/>
                  </a:lnTo>
                  <a:lnTo>
                    <a:pt x="1416" y="756"/>
                  </a:lnTo>
                  <a:lnTo>
                    <a:pt x="1422" y="756"/>
                  </a:lnTo>
                  <a:lnTo>
                    <a:pt x="1422" y="762"/>
                  </a:lnTo>
                  <a:lnTo>
                    <a:pt x="1428" y="774"/>
                  </a:lnTo>
                  <a:lnTo>
                    <a:pt x="1428" y="780"/>
                  </a:lnTo>
                  <a:lnTo>
                    <a:pt x="1434" y="780"/>
                  </a:lnTo>
                  <a:lnTo>
                    <a:pt x="1440" y="798"/>
                  </a:lnTo>
                  <a:lnTo>
                    <a:pt x="1422" y="816"/>
                  </a:lnTo>
                  <a:lnTo>
                    <a:pt x="1386" y="810"/>
                  </a:lnTo>
                  <a:lnTo>
                    <a:pt x="1380" y="816"/>
                  </a:lnTo>
                  <a:lnTo>
                    <a:pt x="1374" y="840"/>
                  </a:lnTo>
                  <a:lnTo>
                    <a:pt x="1350" y="852"/>
                  </a:lnTo>
                  <a:lnTo>
                    <a:pt x="1350" y="858"/>
                  </a:lnTo>
                  <a:lnTo>
                    <a:pt x="1350" y="864"/>
                  </a:lnTo>
                  <a:lnTo>
                    <a:pt x="1344" y="864"/>
                  </a:lnTo>
                  <a:lnTo>
                    <a:pt x="1338" y="870"/>
                  </a:lnTo>
                  <a:lnTo>
                    <a:pt x="1332" y="876"/>
                  </a:lnTo>
                  <a:lnTo>
                    <a:pt x="1314" y="876"/>
                  </a:lnTo>
                  <a:lnTo>
                    <a:pt x="1314" y="870"/>
                  </a:lnTo>
                  <a:lnTo>
                    <a:pt x="1308" y="870"/>
                  </a:lnTo>
                  <a:lnTo>
                    <a:pt x="1302" y="864"/>
                  </a:lnTo>
                  <a:lnTo>
                    <a:pt x="1296" y="864"/>
                  </a:lnTo>
                  <a:lnTo>
                    <a:pt x="1284" y="870"/>
                  </a:lnTo>
                  <a:lnTo>
                    <a:pt x="1266" y="870"/>
                  </a:lnTo>
                  <a:lnTo>
                    <a:pt x="1260" y="870"/>
                  </a:lnTo>
                  <a:lnTo>
                    <a:pt x="1248" y="876"/>
                  </a:lnTo>
                  <a:lnTo>
                    <a:pt x="1236" y="876"/>
                  </a:lnTo>
                  <a:lnTo>
                    <a:pt x="1230" y="882"/>
                  </a:lnTo>
                  <a:lnTo>
                    <a:pt x="1224" y="894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18" y="942"/>
                  </a:lnTo>
                  <a:lnTo>
                    <a:pt x="1212" y="948"/>
                  </a:lnTo>
                  <a:lnTo>
                    <a:pt x="1200" y="984"/>
                  </a:lnTo>
                  <a:lnTo>
                    <a:pt x="1194" y="1008"/>
                  </a:lnTo>
                  <a:lnTo>
                    <a:pt x="1218" y="1038"/>
                  </a:lnTo>
                  <a:lnTo>
                    <a:pt x="1224" y="1044"/>
                  </a:lnTo>
                  <a:lnTo>
                    <a:pt x="1224" y="1062"/>
                  </a:lnTo>
                  <a:lnTo>
                    <a:pt x="1236" y="1080"/>
                  </a:lnTo>
                  <a:lnTo>
                    <a:pt x="1236" y="1086"/>
                  </a:lnTo>
                  <a:lnTo>
                    <a:pt x="1230" y="1092"/>
                  </a:lnTo>
                  <a:lnTo>
                    <a:pt x="1224" y="1110"/>
                  </a:lnTo>
                  <a:lnTo>
                    <a:pt x="1218" y="1122"/>
                  </a:lnTo>
                  <a:lnTo>
                    <a:pt x="1224" y="1140"/>
                  </a:lnTo>
                  <a:lnTo>
                    <a:pt x="1218" y="1146"/>
                  </a:lnTo>
                  <a:lnTo>
                    <a:pt x="1218" y="1152"/>
                  </a:lnTo>
                  <a:lnTo>
                    <a:pt x="1212" y="116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1" name="Freeform 36">
              <a:extLst>
                <a:ext uri="{FF2B5EF4-FFF2-40B4-BE49-F238E27FC236}">
                  <a16:creationId xmlns:a16="http://schemas.microsoft.com/office/drawing/2014/main" id="{B9C0D6BE-CB1C-4E69-B224-1ABF097AA8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90208" y="1647855"/>
              <a:ext cx="742415" cy="758173"/>
            </a:xfrm>
            <a:custGeom>
              <a:avLst/>
              <a:gdLst>
                <a:gd name="T0" fmla="*/ 75 w 1398"/>
                <a:gd name="T1" fmla="*/ 48 h 1428"/>
                <a:gd name="T2" fmla="*/ 68 w 1398"/>
                <a:gd name="T3" fmla="*/ 54 h 1428"/>
                <a:gd name="T4" fmla="*/ 57 w 1398"/>
                <a:gd name="T5" fmla="*/ 59 h 1428"/>
                <a:gd name="T6" fmla="*/ 55 w 1398"/>
                <a:gd name="T7" fmla="*/ 68 h 1428"/>
                <a:gd name="T8" fmla="*/ 55 w 1398"/>
                <a:gd name="T9" fmla="*/ 77 h 1428"/>
                <a:gd name="T10" fmla="*/ 57 w 1398"/>
                <a:gd name="T11" fmla="*/ 81 h 1428"/>
                <a:gd name="T12" fmla="*/ 56 w 1398"/>
                <a:gd name="T13" fmla="*/ 86 h 1428"/>
                <a:gd name="T14" fmla="*/ 57 w 1398"/>
                <a:gd name="T15" fmla="*/ 89 h 1428"/>
                <a:gd name="T16" fmla="*/ 58 w 1398"/>
                <a:gd name="T17" fmla="*/ 92 h 1428"/>
                <a:gd name="T18" fmla="*/ 58 w 1398"/>
                <a:gd name="T19" fmla="*/ 96 h 1428"/>
                <a:gd name="T20" fmla="*/ 49 w 1398"/>
                <a:gd name="T21" fmla="*/ 100 h 1428"/>
                <a:gd name="T22" fmla="*/ 47 w 1398"/>
                <a:gd name="T23" fmla="*/ 108 h 1428"/>
                <a:gd name="T24" fmla="*/ 48 w 1398"/>
                <a:gd name="T25" fmla="*/ 113 h 1428"/>
                <a:gd name="T26" fmla="*/ 43 w 1398"/>
                <a:gd name="T27" fmla="*/ 114 h 1428"/>
                <a:gd name="T28" fmla="*/ 39 w 1398"/>
                <a:gd name="T29" fmla="*/ 113 h 1428"/>
                <a:gd name="T30" fmla="*/ 33 w 1398"/>
                <a:gd name="T31" fmla="*/ 109 h 1428"/>
                <a:gd name="T32" fmla="*/ 29 w 1398"/>
                <a:gd name="T33" fmla="*/ 114 h 1428"/>
                <a:gd name="T34" fmla="*/ 22 w 1398"/>
                <a:gd name="T35" fmla="*/ 115 h 1428"/>
                <a:gd name="T36" fmla="*/ 21 w 1398"/>
                <a:gd name="T37" fmla="*/ 121 h 1428"/>
                <a:gd name="T38" fmla="*/ 12 w 1398"/>
                <a:gd name="T39" fmla="*/ 119 h 1428"/>
                <a:gd name="T40" fmla="*/ 9 w 1398"/>
                <a:gd name="T41" fmla="*/ 113 h 1428"/>
                <a:gd name="T42" fmla="*/ 2 w 1398"/>
                <a:gd name="T43" fmla="*/ 109 h 1428"/>
                <a:gd name="T44" fmla="*/ 4 w 1398"/>
                <a:gd name="T45" fmla="*/ 103 h 1428"/>
                <a:gd name="T46" fmla="*/ 2 w 1398"/>
                <a:gd name="T47" fmla="*/ 91 h 1428"/>
                <a:gd name="T48" fmla="*/ 6 w 1398"/>
                <a:gd name="T49" fmla="*/ 85 h 1428"/>
                <a:gd name="T50" fmla="*/ 10 w 1398"/>
                <a:gd name="T51" fmla="*/ 85 h 1428"/>
                <a:gd name="T52" fmla="*/ 15 w 1398"/>
                <a:gd name="T53" fmla="*/ 82 h 1428"/>
                <a:gd name="T54" fmla="*/ 20 w 1398"/>
                <a:gd name="T55" fmla="*/ 77 h 1428"/>
                <a:gd name="T56" fmla="*/ 16 w 1398"/>
                <a:gd name="T57" fmla="*/ 73 h 1428"/>
                <a:gd name="T58" fmla="*/ 16 w 1398"/>
                <a:gd name="T59" fmla="*/ 69 h 1428"/>
                <a:gd name="T60" fmla="*/ 14 w 1398"/>
                <a:gd name="T61" fmla="*/ 54 h 1428"/>
                <a:gd name="T62" fmla="*/ 12 w 1398"/>
                <a:gd name="T63" fmla="*/ 48 h 1428"/>
                <a:gd name="T64" fmla="*/ 11 w 1398"/>
                <a:gd name="T65" fmla="*/ 31 h 1428"/>
                <a:gd name="T66" fmla="*/ 14 w 1398"/>
                <a:gd name="T67" fmla="*/ 18 h 1428"/>
                <a:gd name="T68" fmla="*/ 19 w 1398"/>
                <a:gd name="T69" fmla="*/ 15 h 1428"/>
                <a:gd name="T70" fmla="*/ 26 w 1398"/>
                <a:gd name="T71" fmla="*/ 13 h 1428"/>
                <a:gd name="T72" fmla="*/ 34 w 1398"/>
                <a:gd name="T73" fmla="*/ 12 h 1428"/>
                <a:gd name="T74" fmla="*/ 39 w 1398"/>
                <a:gd name="T75" fmla="*/ 9 h 1428"/>
                <a:gd name="T76" fmla="*/ 43 w 1398"/>
                <a:gd name="T77" fmla="*/ 7 h 1428"/>
                <a:gd name="T78" fmla="*/ 48 w 1398"/>
                <a:gd name="T79" fmla="*/ 3 h 1428"/>
                <a:gd name="T80" fmla="*/ 54 w 1398"/>
                <a:gd name="T81" fmla="*/ 0 h 1428"/>
                <a:gd name="T82" fmla="*/ 58 w 1398"/>
                <a:gd name="T83" fmla="*/ 0 h 1428"/>
                <a:gd name="T84" fmla="*/ 66 w 1398"/>
                <a:gd name="T85" fmla="*/ 2 h 1428"/>
                <a:gd name="T86" fmla="*/ 70 w 1398"/>
                <a:gd name="T87" fmla="*/ 3 h 1428"/>
                <a:gd name="T88" fmla="*/ 75 w 1398"/>
                <a:gd name="T89" fmla="*/ 6 h 1428"/>
                <a:gd name="T90" fmla="*/ 80 w 1398"/>
                <a:gd name="T91" fmla="*/ 9 h 1428"/>
                <a:gd name="T92" fmla="*/ 83 w 1398"/>
                <a:gd name="T93" fmla="*/ 12 h 1428"/>
                <a:gd name="T94" fmla="*/ 87 w 1398"/>
                <a:gd name="T95" fmla="*/ 15 h 1428"/>
                <a:gd name="T96" fmla="*/ 94 w 1398"/>
                <a:gd name="T97" fmla="*/ 15 h 1428"/>
                <a:gd name="T98" fmla="*/ 99 w 1398"/>
                <a:gd name="T99" fmla="*/ 21 h 1428"/>
                <a:gd name="T100" fmla="*/ 103 w 1398"/>
                <a:gd name="T101" fmla="*/ 23 h 1428"/>
                <a:gd name="T102" fmla="*/ 110 w 1398"/>
                <a:gd name="T103" fmla="*/ 26 h 1428"/>
                <a:gd name="T104" fmla="*/ 116 w 1398"/>
                <a:gd name="T105" fmla="*/ 27 h 1428"/>
                <a:gd name="T106" fmla="*/ 120 w 1398"/>
                <a:gd name="T107" fmla="*/ 27 h 1428"/>
                <a:gd name="T108" fmla="*/ 116 w 1398"/>
                <a:gd name="T109" fmla="*/ 35 h 1428"/>
                <a:gd name="T110" fmla="*/ 104 w 1398"/>
                <a:gd name="T111" fmla="*/ 37 h 1428"/>
                <a:gd name="T112" fmla="*/ 97 w 1398"/>
                <a:gd name="T113" fmla="*/ 34 h 1428"/>
                <a:gd name="T114" fmla="*/ 91 w 1398"/>
                <a:gd name="T115" fmla="*/ 29 h 1428"/>
                <a:gd name="T116" fmla="*/ 75 w 1398"/>
                <a:gd name="T117" fmla="*/ 29 h 1428"/>
                <a:gd name="T118" fmla="*/ 72 w 1398"/>
                <a:gd name="T119" fmla="*/ 39 h 1428"/>
                <a:gd name="T120" fmla="*/ 80 w 1398"/>
                <a:gd name="T121" fmla="*/ 41 h 142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98"/>
                <a:gd name="T184" fmla="*/ 0 h 1428"/>
                <a:gd name="T185" fmla="*/ 1398 w 1398"/>
                <a:gd name="T186" fmla="*/ 1428 h 142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98" h="1428">
                  <a:moveTo>
                    <a:pt x="924" y="474"/>
                  </a:moveTo>
                  <a:lnTo>
                    <a:pt x="900" y="480"/>
                  </a:lnTo>
                  <a:lnTo>
                    <a:pt x="864" y="486"/>
                  </a:lnTo>
                  <a:lnTo>
                    <a:pt x="864" y="504"/>
                  </a:lnTo>
                  <a:lnTo>
                    <a:pt x="858" y="522"/>
                  </a:lnTo>
                  <a:lnTo>
                    <a:pt x="864" y="528"/>
                  </a:lnTo>
                  <a:lnTo>
                    <a:pt x="864" y="552"/>
                  </a:lnTo>
                  <a:lnTo>
                    <a:pt x="852" y="552"/>
                  </a:lnTo>
                  <a:lnTo>
                    <a:pt x="846" y="564"/>
                  </a:lnTo>
                  <a:lnTo>
                    <a:pt x="840" y="582"/>
                  </a:lnTo>
                  <a:lnTo>
                    <a:pt x="834" y="594"/>
                  </a:lnTo>
                  <a:lnTo>
                    <a:pt x="828" y="606"/>
                  </a:lnTo>
                  <a:lnTo>
                    <a:pt x="828" y="618"/>
                  </a:lnTo>
                  <a:lnTo>
                    <a:pt x="786" y="630"/>
                  </a:lnTo>
                  <a:lnTo>
                    <a:pt x="774" y="636"/>
                  </a:lnTo>
                  <a:lnTo>
                    <a:pt x="762" y="642"/>
                  </a:lnTo>
                  <a:lnTo>
                    <a:pt x="744" y="648"/>
                  </a:lnTo>
                  <a:lnTo>
                    <a:pt x="714" y="660"/>
                  </a:lnTo>
                  <a:lnTo>
                    <a:pt x="696" y="666"/>
                  </a:lnTo>
                  <a:lnTo>
                    <a:pt x="666" y="672"/>
                  </a:lnTo>
                  <a:lnTo>
                    <a:pt x="654" y="684"/>
                  </a:lnTo>
                  <a:lnTo>
                    <a:pt x="648" y="684"/>
                  </a:lnTo>
                  <a:lnTo>
                    <a:pt x="642" y="696"/>
                  </a:lnTo>
                  <a:lnTo>
                    <a:pt x="636" y="696"/>
                  </a:lnTo>
                  <a:lnTo>
                    <a:pt x="630" y="714"/>
                  </a:lnTo>
                  <a:lnTo>
                    <a:pt x="624" y="738"/>
                  </a:lnTo>
                  <a:lnTo>
                    <a:pt x="624" y="762"/>
                  </a:lnTo>
                  <a:lnTo>
                    <a:pt x="630" y="780"/>
                  </a:lnTo>
                  <a:lnTo>
                    <a:pt x="636" y="804"/>
                  </a:lnTo>
                  <a:lnTo>
                    <a:pt x="642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6" y="834"/>
                  </a:lnTo>
                  <a:lnTo>
                    <a:pt x="636" y="870"/>
                  </a:lnTo>
                  <a:lnTo>
                    <a:pt x="636" y="882"/>
                  </a:lnTo>
                  <a:lnTo>
                    <a:pt x="636" y="906"/>
                  </a:lnTo>
                  <a:lnTo>
                    <a:pt x="630" y="906"/>
                  </a:lnTo>
                  <a:lnTo>
                    <a:pt x="636" y="918"/>
                  </a:lnTo>
                  <a:lnTo>
                    <a:pt x="642" y="918"/>
                  </a:lnTo>
                  <a:lnTo>
                    <a:pt x="642" y="930"/>
                  </a:lnTo>
                  <a:lnTo>
                    <a:pt x="648" y="936"/>
                  </a:lnTo>
                  <a:lnTo>
                    <a:pt x="654" y="936"/>
                  </a:lnTo>
                  <a:lnTo>
                    <a:pt x="654" y="942"/>
                  </a:lnTo>
                  <a:lnTo>
                    <a:pt x="654" y="948"/>
                  </a:lnTo>
                  <a:lnTo>
                    <a:pt x="648" y="954"/>
                  </a:lnTo>
                  <a:lnTo>
                    <a:pt x="648" y="960"/>
                  </a:lnTo>
                  <a:lnTo>
                    <a:pt x="648" y="966"/>
                  </a:lnTo>
                  <a:lnTo>
                    <a:pt x="648" y="972"/>
                  </a:lnTo>
                  <a:lnTo>
                    <a:pt x="648" y="990"/>
                  </a:lnTo>
                  <a:lnTo>
                    <a:pt x="654" y="996"/>
                  </a:lnTo>
                  <a:lnTo>
                    <a:pt x="648" y="1002"/>
                  </a:lnTo>
                  <a:lnTo>
                    <a:pt x="648" y="1008"/>
                  </a:lnTo>
                  <a:lnTo>
                    <a:pt x="654" y="1014"/>
                  </a:lnTo>
                  <a:lnTo>
                    <a:pt x="654" y="1020"/>
                  </a:lnTo>
                  <a:lnTo>
                    <a:pt x="654" y="1026"/>
                  </a:lnTo>
                  <a:lnTo>
                    <a:pt x="660" y="1026"/>
                  </a:lnTo>
                  <a:lnTo>
                    <a:pt x="660" y="1032"/>
                  </a:lnTo>
                  <a:lnTo>
                    <a:pt x="660" y="1038"/>
                  </a:lnTo>
                  <a:lnTo>
                    <a:pt x="666" y="1044"/>
                  </a:lnTo>
                  <a:lnTo>
                    <a:pt x="672" y="1050"/>
                  </a:lnTo>
                  <a:lnTo>
                    <a:pt x="672" y="1056"/>
                  </a:lnTo>
                  <a:lnTo>
                    <a:pt x="672" y="1062"/>
                  </a:lnTo>
                  <a:lnTo>
                    <a:pt x="672" y="1068"/>
                  </a:lnTo>
                  <a:lnTo>
                    <a:pt x="672" y="1074"/>
                  </a:lnTo>
                  <a:lnTo>
                    <a:pt x="678" y="1074"/>
                  </a:lnTo>
                  <a:lnTo>
                    <a:pt x="678" y="1080"/>
                  </a:lnTo>
                  <a:lnTo>
                    <a:pt x="678" y="1086"/>
                  </a:lnTo>
                  <a:lnTo>
                    <a:pt x="672" y="1092"/>
                  </a:lnTo>
                  <a:lnTo>
                    <a:pt x="672" y="1098"/>
                  </a:lnTo>
                  <a:lnTo>
                    <a:pt x="672" y="1104"/>
                  </a:lnTo>
                  <a:lnTo>
                    <a:pt x="666" y="1116"/>
                  </a:lnTo>
                  <a:lnTo>
                    <a:pt x="624" y="1122"/>
                  </a:lnTo>
                  <a:lnTo>
                    <a:pt x="576" y="1134"/>
                  </a:lnTo>
                  <a:lnTo>
                    <a:pt x="570" y="1140"/>
                  </a:lnTo>
                  <a:lnTo>
                    <a:pt x="570" y="1146"/>
                  </a:lnTo>
                  <a:lnTo>
                    <a:pt x="564" y="1146"/>
                  </a:lnTo>
                  <a:lnTo>
                    <a:pt x="564" y="1152"/>
                  </a:lnTo>
                  <a:lnTo>
                    <a:pt x="564" y="1164"/>
                  </a:lnTo>
                  <a:lnTo>
                    <a:pt x="564" y="1170"/>
                  </a:lnTo>
                  <a:lnTo>
                    <a:pt x="564" y="1176"/>
                  </a:lnTo>
                  <a:lnTo>
                    <a:pt x="546" y="1176"/>
                  </a:lnTo>
                  <a:lnTo>
                    <a:pt x="540" y="1212"/>
                  </a:lnTo>
                  <a:lnTo>
                    <a:pt x="540" y="1230"/>
                  </a:lnTo>
                  <a:lnTo>
                    <a:pt x="546" y="1242"/>
                  </a:lnTo>
                  <a:lnTo>
                    <a:pt x="546" y="1254"/>
                  </a:lnTo>
                  <a:lnTo>
                    <a:pt x="558" y="1266"/>
                  </a:lnTo>
                  <a:lnTo>
                    <a:pt x="576" y="1272"/>
                  </a:lnTo>
                  <a:lnTo>
                    <a:pt x="570" y="1278"/>
                  </a:lnTo>
                  <a:lnTo>
                    <a:pt x="576" y="1284"/>
                  </a:lnTo>
                  <a:lnTo>
                    <a:pt x="570" y="1296"/>
                  </a:lnTo>
                  <a:lnTo>
                    <a:pt x="558" y="1302"/>
                  </a:lnTo>
                  <a:lnTo>
                    <a:pt x="540" y="1308"/>
                  </a:lnTo>
                  <a:lnTo>
                    <a:pt x="522" y="1314"/>
                  </a:lnTo>
                  <a:lnTo>
                    <a:pt x="516" y="1314"/>
                  </a:lnTo>
                  <a:lnTo>
                    <a:pt x="510" y="1314"/>
                  </a:lnTo>
                  <a:lnTo>
                    <a:pt x="504" y="1314"/>
                  </a:lnTo>
                  <a:lnTo>
                    <a:pt x="498" y="1320"/>
                  </a:lnTo>
                  <a:lnTo>
                    <a:pt x="492" y="1320"/>
                  </a:lnTo>
                  <a:lnTo>
                    <a:pt x="492" y="1326"/>
                  </a:lnTo>
                  <a:lnTo>
                    <a:pt x="486" y="1326"/>
                  </a:lnTo>
                  <a:lnTo>
                    <a:pt x="480" y="1326"/>
                  </a:lnTo>
                  <a:lnTo>
                    <a:pt x="480" y="1320"/>
                  </a:lnTo>
                  <a:lnTo>
                    <a:pt x="468" y="1314"/>
                  </a:lnTo>
                  <a:lnTo>
                    <a:pt x="462" y="1308"/>
                  </a:lnTo>
                  <a:lnTo>
                    <a:pt x="456" y="1302"/>
                  </a:lnTo>
                  <a:lnTo>
                    <a:pt x="444" y="1296"/>
                  </a:lnTo>
                  <a:lnTo>
                    <a:pt x="420" y="1290"/>
                  </a:lnTo>
                  <a:lnTo>
                    <a:pt x="414" y="1278"/>
                  </a:lnTo>
                  <a:lnTo>
                    <a:pt x="408" y="1278"/>
                  </a:lnTo>
                  <a:lnTo>
                    <a:pt x="408" y="1266"/>
                  </a:lnTo>
                  <a:lnTo>
                    <a:pt x="402" y="1260"/>
                  </a:lnTo>
                  <a:lnTo>
                    <a:pt x="384" y="1260"/>
                  </a:lnTo>
                  <a:lnTo>
                    <a:pt x="372" y="1266"/>
                  </a:lnTo>
                  <a:lnTo>
                    <a:pt x="360" y="1272"/>
                  </a:lnTo>
                  <a:lnTo>
                    <a:pt x="348" y="1272"/>
                  </a:lnTo>
                  <a:lnTo>
                    <a:pt x="342" y="1284"/>
                  </a:lnTo>
                  <a:lnTo>
                    <a:pt x="336" y="1290"/>
                  </a:lnTo>
                  <a:lnTo>
                    <a:pt x="336" y="1308"/>
                  </a:lnTo>
                  <a:lnTo>
                    <a:pt x="336" y="1314"/>
                  </a:lnTo>
                  <a:lnTo>
                    <a:pt x="336" y="1320"/>
                  </a:lnTo>
                  <a:lnTo>
                    <a:pt x="330" y="1326"/>
                  </a:lnTo>
                  <a:lnTo>
                    <a:pt x="330" y="1332"/>
                  </a:lnTo>
                  <a:lnTo>
                    <a:pt x="330" y="1338"/>
                  </a:lnTo>
                  <a:lnTo>
                    <a:pt x="300" y="1338"/>
                  </a:lnTo>
                  <a:lnTo>
                    <a:pt x="288" y="1338"/>
                  </a:lnTo>
                  <a:lnTo>
                    <a:pt x="258" y="1326"/>
                  </a:lnTo>
                  <a:lnTo>
                    <a:pt x="246" y="1332"/>
                  </a:lnTo>
                  <a:lnTo>
                    <a:pt x="240" y="1338"/>
                  </a:lnTo>
                  <a:lnTo>
                    <a:pt x="234" y="1338"/>
                  </a:lnTo>
                  <a:lnTo>
                    <a:pt x="228" y="1350"/>
                  </a:lnTo>
                  <a:lnTo>
                    <a:pt x="228" y="1374"/>
                  </a:lnTo>
                  <a:lnTo>
                    <a:pt x="234" y="1392"/>
                  </a:lnTo>
                  <a:lnTo>
                    <a:pt x="246" y="1398"/>
                  </a:lnTo>
                  <a:lnTo>
                    <a:pt x="246" y="1410"/>
                  </a:lnTo>
                  <a:lnTo>
                    <a:pt x="216" y="1428"/>
                  </a:lnTo>
                  <a:lnTo>
                    <a:pt x="198" y="1428"/>
                  </a:lnTo>
                  <a:lnTo>
                    <a:pt x="192" y="1422"/>
                  </a:lnTo>
                  <a:lnTo>
                    <a:pt x="174" y="1410"/>
                  </a:lnTo>
                  <a:lnTo>
                    <a:pt x="156" y="1386"/>
                  </a:lnTo>
                  <a:lnTo>
                    <a:pt x="132" y="1374"/>
                  </a:lnTo>
                  <a:lnTo>
                    <a:pt x="108" y="1368"/>
                  </a:lnTo>
                  <a:lnTo>
                    <a:pt x="84" y="1368"/>
                  </a:lnTo>
                  <a:lnTo>
                    <a:pt x="96" y="1356"/>
                  </a:lnTo>
                  <a:lnTo>
                    <a:pt x="102" y="1344"/>
                  </a:lnTo>
                  <a:lnTo>
                    <a:pt x="102" y="1332"/>
                  </a:lnTo>
                  <a:lnTo>
                    <a:pt x="108" y="1320"/>
                  </a:lnTo>
                  <a:lnTo>
                    <a:pt x="108" y="1302"/>
                  </a:lnTo>
                  <a:lnTo>
                    <a:pt x="96" y="1278"/>
                  </a:lnTo>
                  <a:lnTo>
                    <a:pt x="66" y="1284"/>
                  </a:lnTo>
                  <a:lnTo>
                    <a:pt x="54" y="1278"/>
                  </a:lnTo>
                  <a:lnTo>
                    <a:pt x="36" y="1278"/>
                  </a:lnTo>
                  <a:lnTo>
                    <a:pt x="18" y="1284"/>
                  </a:lnTo>
                  <a:lnTo>
                    <a:pt x="18" y="1272"/>
                  </a:lnTo>
                  <a:lnTo>
                    <a:pt x="24" y="1260"/>
                  </a:lnTo>
                  <a:lnTo>
                    <a:pt x="24" y="1254"/>
                  </a:lnTo>
                  <a:lnTo>
                    <a:pt x="30" y="1248"/>
                  </a:lnTo>
                  <a:lnTo>
                    <a:pt x="24" y="1230"/>
                  </a:lnTo>
                  <a:lnTo>
                    <a:pt x="30" y="1218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30" y="1170"/>
                  </a:lnTo>
                  <a:lnTo>
                    <a:pt x="30" y="1152"/>
                  </a:lnTo>
                  <a:lnTo>
                    <a:pt x="24" y="1146"/>
                  </a:lnTo>
                  <a:lnTo>
                    <a:pt x="0" y="1116"/>
                  </a:lnTo>
                  <a:lnTo>
                    <a:pt x="6" y="1092"/>
                  </a:lnTo>
                  <a:lnTo>
                    <a:pt x="18" y="1056"/>
                  </a:lnTo>
                  <a:lnTo>
                    <a:pt x="24" y="1050"/>
                  </a:lnTo>
                  <a:lnTo>
                    <a:pt x="24" y="1038"/>
                  </a:lnTo>
                  <a:lnTo>
                    <a:pt x="24" y="1026"/>
                  </a:lnTo>
                  <a:lnTo>
                    <a:pt x="30" y="1002"/>
                  </a:lnTo>
                  <a:lnTo>
                    <a:pt x="36" y="990"/>
                  </a:lnTo>
                  <a:lnTo>
                    <a:pt x="42" y="984"/>
                  </a:lnTo>
                  <a:lnTo>
                    <a:pt x="54" y="984"/>
                  </a:lnTo>
                  <a:lnTo>
                    <a:pt x="66" y="978"/>
                  </a:lnTo>
                  <a:lnTo>
                    <a:pt x="72" y="978"/>
                  </a:lnTo>
                  <a:lnTo>
                    <a:pt x="90" y="978"/>
                  </a:lnTo>
                  <a:lnTo>
                    <a:pt x="102" y="972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78"/>
                  </a:lnTo>
                  <a:lnTo>
                    <a:pt x="120" y="984"/>
                  </a:lnTo>
                  <a:lnTo>
                    <a:pt x="138" y="984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6" y="972"/>
                  </a:lnTo>
                  <a:lnTo>
                    <a:pt x="156" y="966"/>
                  </a:lnTo>
                  <a:lnTo>
                    <a:pt x="156" y="960"/>
                  </a:lnTo>
                  <a:lnTo>
                    <a:pt x="180" y="948"/>
                  </a:lnTo>
                  <a:lnTo>
                    <a:pt x="186" y="924"/>
                  </a:lnTo>
                  <a:lnTo>
                    <a:pt x="192" y="918"/>
                  </a:lnTo>
                  <a:lnTo>
                    <a:pt x="228" y="924"/>
                  </a:lnTo>
                  <a:lnTo>
                    <a:pt x="246" y="906"/>
                  </a:lnTo>
                  <a:lnTo>
                    <a:pt x="240" y="888"/>
                  </a:lnTo>
                  <a:lnTo>
                    <a:pt x="234" y="888"/>
                  </a:lnTo>
                  <a:lnTo>
                    <a:pt x="234" y="882"/>
                  </a:lnTo>
                  <a:lnTo>
                    <a:pt x="228" y="870"/>
                  </a:lnTo>
                  <a:lnTo>
                    <a:pt x="228" y="864"/>
                  </a:lnTo>
                  <a:lnTo>
                    <a:pt x="222" y="864"/>
                  </a:lnTo>
                  <a:lnTo>
                    <a:pt x="216" y="858"/>
                  </a:lnTo>
                  <a:lnTo>
                    <a:pt x="198" y="852"/>
                  </a:lnTo>
                  <a:lnTo>
                    <a:pt x="192" y="852"/>
                  </a:lnTo>
                  <a:lnTo>
                    <a:pt x="186" y="846"/>
                  </a:lnTo>
                  <a:lnTo>
                    <a:pt x="174" y="834"/>
                  </a:lnTo>
                  <a:lnTo>
                    <a:pt x="162" y="822"/>
                  </a:lnTo>
                  <a:lnTo>
                    <a:pt x="156" y="816"/>
                  </a:lnTo>
                  <a:lnTo>
                    <a:pt x="162" y="810"/>
                  </a:lnTo>
                  <a:lnTo>
                    <a:pt x="174" y="798"/>
                  </a:lnTo>
                  <a:lnTo>
                    <a:pt x="180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68"/>
                  </a:lnTo>
                  <a:lnTo>
                    <a:pt x="192" y="744"/>
                  </a:lnTo>
                  <a:lnTo>
                    <a:pt x="186" y="708"/>
                  </a:lnTo>
                  <a:lnTo>
                    <a:pt x="174" y="690"/>
                  </a:lnTo>
                  <a:lnTo>
                    <a:pt x="168" y="672"/>
                  </a:lnTo>
                  <a:lnTo>
                    <a:pt x="156" y="630"/>
                  </a:lnTo>
                  <a:lnTo>
                    <a:pt x="156" y="606"/>
                  </a:lnTo>
                  <a:lnTo>
                    <a:pt x="150" y="606"/>
                  </a:lnTo>
                  <a:lnTo>
                    <a:pt x="150" y="600"/>
                  </a:lnTo>
                  <a:lnTo>
                    <a:pt x="144" y="600"/>
                  </a:lnTo>
                  <a:lnTo>
                    <a:pt x="150" y="594"/>
                  </a:lnTo>
                  <a:lnTo>
                    <a:pt x="144" y="588"/>
                  </a:lnTo>
                  <a:lnTo>
                    <a:pt x="138" y="558"/>
                  </a:lnTo>
                  <a:lnTo>
                    <a:pt x="138" y="528"/>
                  </a:lnTo>
                  <a:lnTo>
                    <a:pt x="132" y="480"/>
                  </a:lnTo>
                  <a:lnTo>
                    <a:pt x="132" y="462"/>
                  </a:lnTo>
                  <a:lnTo>
                    <a:pt x="126" y="426"/>
                  </a:lnTo>
                  <a:lnTo>
                    <a:pt x="126" y="396"/>
                  </a:lnTo>
                  <a:lnTo>
                    <a:pt x="126" y="378"/>
                  </a:lnTo>
                  <a:lnTo>
                    <a:pt x="126" y="360"/>
                  </a:lnTo>
                  <a:lnTo>
                    <a:pt x="132" y="318"/>
                  </a:lnTo>
                  <a:lnTo>
                    <a:pt x="132" y="24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2" y="210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92" y="198"/>
                  </a:lnTo>
                  <a:lnTo>
                    <a:pt x="198" y="198"/>
                  </a:lnTo>
                  <a:lnTo>
                    <a:pt x="216" y="180"/>
                  </a:lnTo>
                  <a:lnTo>
                    <a:pt x="222" y="174"/>
                  </a:lnTo>
                  <a:lnTo>
                    <a:pt x="222" y="168"/>
                  </a:lnTo>
                  <a:lnTo>
                    <a:pt x="228" y="168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44"/>
                  </a:lnTo>
                  <a:lnTo>
                    <a:pt x="258" y="144"/>
                  </a:lnTo>
                  <a:lnTo>
                    <a:pt x="276" y="150"/>
                  </a:lnTo>
                  <a:lnTo>
                    <a:pt x="300" y="150"/>
                  </a:lnTo>
                  <a:lnTo>
                    <a:pt x="312" y="150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8" y="156"/>
                  </a:lnTo>
                  <a:lnTo>
                    <a:pt x="354" y="150"/>
                  </a:lnTo>
                  <a:lnTo>
                    <a:pt x="372" y="144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08" y="126"/>
                  </a:lnTo>
                  <a:lnTo>
                    <a:pt x="414" y="120"/>
                  </a:lnTo>
                  <a:lnTo>
                    <a:pt x="420" y="120"/>
                  </a:lnTo>
                  <a:lnTo>
                    <a:pt x="426" y="120"/>
                  </a:lnTo>
                  <a:lnTo>
                    <a:pt x="432" y="114"/>
                  </a:lnTo>
                  <a:lnTo>
                    <a:pt x="450" y="102"/>
                  </a:lnTo>
                  <a:lnTo>
                    <a:pt x="456" y="96"/>
                  </a:lnTo>
                  <a:lnTo>
                    <a:pt x="468" y="90"/>
                  </a:lnTo>
                  <a:lnTo>
                    <a:pt x="474" y="90"/>
                  </a:lnTo>
                  <a:lnTo>
                    <a:pt x="480" y="84"/>
                  </a:lnTo>
                  <a:lnTo>
                    <a:pt x="486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504" y="72"/>
                  </a:lnTo>
                  <a:lnTo>
                    <a:pt x="510" y="66"/>
                  </a:lnTo>
                  <a:lnTo>
                    <a:pt x="516" y="66"/>
                  </a:lnTo>
                  <a:lnTo>
                    <a:pt x="522" y="60"/>
                  </a:lnTo>
                  <a:lnTo>
                    <a:pt x="552" y="42"/>
                  </a:lnTo>
                  <a:lnTo>
                    <a:pt x="558" y="36"/>
                  </a:lnTo>
                  <a:lnTo>
                    <a:pt x="576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94" y="18"/>
                  </a:lnTo>
                  <a:lnTo>
                    <a:pt x="600" y="12"/>
                  </a:lnTo>
                  <a:lnTo>
                    <a:pt x="612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6"/>
                  </a:lnTo>
                  <a:lnTo>
                    <a:pt x="648" y="6"/>
                  </a:lnTo>
                  <a:lnTo>
                    <a:pt x="660" y="6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38" y="18"/>
                  </a:lnTo>
                  <a:lnTo>
                    <a:pt x="744" y="18"/>
                  </a:lnTo>
                  <a:lnTo>
                    <a:pt x="756" y="18"/>
                  </a:lnTo>
                  <a:lnTo>
                    <a:pt x="762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80" y="24"/>
                  </a:lnTo>
                  <a:lnTo>
                    <a:pt x="792" y="24"/>
                  </a:lnTo>
                  <a:lnTo>
                    <a:pt x="792" y="30"/>
                  </a:lnTo>
                  <a:lnTo>
                    <a:pt x="810" y="30"/>
                  </a:lnTo>
                  <a:lnTo>
                    <a:pt x="822" y="36"/>
                  </a:lnTo>
                  <a:lnTo>
                    <a:pt x="834" y="42"/>
                  </a:lnTo>
                  <a:lnTo>
                    <a:pt x="840" y="48"/>
                  </a:lnTo>
                  <a:lnTo>
                    <a:pt x="846" y="54"/>
                  </a:lnTo>
                  <a:lnTo>
                    <a:pt x="852" y="60"/>
                  </a:lnTo>
                  <a:lnTo>
                    <a:pt x="858" y="66"/>
                  </a:lnTo>
                  <a:lnTo>
                    <a:pt x="864" y="66"/>
                  </a:lnTo>
                  <a:lnTo>
                    <a:pt x="864" y="72"/>
                  </a:lnTo>
                  <a:lnTo>
                    <a:pt x="876" y="78"/>
                  </a:lnTo>
                  <a:lnTo>
                    <a:pt x="900" y="84"/>
                  </a:lnTo>
                  <a:lnTo>
                    <a:pt x="906" y="90"/>
                  </a:lnTo>
                  <a:lnTo>
                    <a:pt x="912" y="90"/>
                  </a:lnTo>
                  <a:lnTo>
                    <a:pt x="912" y="96"/>
                  </a:lnTo>
                  <a:lnTo>
                    <a:pt x="924" y="108"/>
                  </a:lnTo>
                  <a:lnTo>
                    <a:pt x="930" y="108"/>
                  </a:lnTo>
                  <a:lnTo>
                    <a:pt x="936" y="114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60" y="138"/>
                  </a:lnTo>
                  <a:lnTo>
                    <a:pt x="966" y="144"/>
                  </a:lnTo>
                  <a:lnTo>
                    <a:pt x="972" y="156"/>
                  </a:lnTo>
                  <a:lnTo>
                    <a:pt x="978" y="162"/>
                  </a:lnTo>
                  <a:lnTo>
                    <a:pt x="984" y="162"/>
                  </a:lnTo>
                  <a:lnTo>
                    <a:pt x="990" y="168"/>
                  </a:lnTo>
                  <a:lnTo>
                    <a:pt x="996" y="174"/>
                  </a:lnTo>
                  <a:lnTo>
                    <a:pt x="1002" y="180"/>
                  </a:lnTo>
                  <a:lnTo>
                    <a:pt x="1008" y="180"/>
                  </a:lnTo>
                  <a:lnTo>
                    <a:pt x="1020" y="180"/>
                  </a:lnTo>
                  <a:lnTo>
                    <a:pt x="1038" y="174"/>
                  </a:lnTo>
                  <a:lnTo>
                    <a:pt x="1050" y="174"/>
                  </a:lnTo>
                  <a:lnTo>
                    <a:pt x="1056" y="174"/>
                  </a:lnTo>
                  <a:lnTo>
                    <a:pt x="1068" y="180"/>
                  </a:lnTo>
                  <a:lnTo>
                    <a:pt x="1080" y="180"/>
                  </a:lnTo>
                  <a:lnTo>
                    <a:pt x="1086" y="186"/>
                  </a:lnTo>
                  <a:lnTo>
                    <a:pt x="1098" y="192"/>
                  </a:lnTo>
                  <a:lnTo>
                    <a:pt x="1116" y="204"/>
                  </a:lnTo>
                  <a:lnTo>
                    <a:pt x="1122" y="210"/>
                  </a:lnTo>
                  <a:lnTo>
                    <a:pt x="1134" y="222"/>
                  </a:lnTo>
                  <a:lnTo>
                    <a:pt x="1146" y="234"/>
                  </a:lnTo>
                  <a:lnTo>
                    <a:pt x="1146" y="240"/>
                  </a:lnTo>
                  <a:lnTo>
                    <a:pt x="1152" y="246"/>
                  </a:lnTo>
                  <a:lnTo>
                    <a:pt x="1152" y="252"/>
                  </a:lnTo>
                  <a:lnTo>
                    <a:pt x="1152" y="258"/>
                  </a:lnTo>
                  <a:lnTo>
                    <a:pt x="1164" y="258"/>
                  </a:lnTo>
                  <a:lnTo>
                    <a:pt x="1170" y="264"/>
                  </a:lnTo>
                  <a:lnTo>
                    <a:pt x="1182" y="270"/>
                  </a:lnTo>
                  <a:lnTo>
                    <a:pt x="1188" y="270"/>
                  </a:lnTo>
                  <a:lnTo>
                    <a:pt x="1194" y="270"/>
                  </a:lnTo>
                  <a:lnTo>
                    <a:pt x="1206" y="276"/>
                  </a:lnTo>
                  <a:lnTo>
                    <a:pt x="1224" y="282"/>
                  </a:lnTo>
                  <a:lnTo>
                    <a:pt x="1236" y="282"/>
                  </a:lnTo>
                  <a:lnTo>
                    <a:pt x="1242" y="288"/>
                  </a:lnTo>
                  <a:lnTo>
                    <a:pt x="1254" y="288"/>
                  </a:lnTo>
                  <a:lnTo>
                    <a:pt x="1266" y="294"/>
                  </a:lnTo>
                  <a:lnTo>
                    <a:pt x="1272" y="294"/>
                  </a:lnTo>
                  <a:lnTo>
                    <a:pt x="1284" y="300"/>
                  </a:lnTo>
                  <a:lnTo>
                    <a:pt x="1290" y="300"/>
                  </a:lnTo>
                  <a:lnTo>
                    <a:pt x="1296" y="300"/>
                  </a:lnTo>
                  <a:lnTo>
                    <a:pt x="1302" y="306"/>
                  </a:lnTo>
                  <a:lnTo>
                    <a:pt x="1326" y="312"/>
                  </a:lnTo>
                  <a:lnTo>
                    <a:pt x="1338" y="312"/>
                  </a:lnTo>
                  <a:lnTo>
                    <a:pt x="1338" y="318"/>
                  </a:lnTo>
                  <a:lnTo>
                    <a:pt x="1344" y="318"/>
                  </a:lnTo>
                  <a:lnTo>
                    <a:pt x="1350" y="318"/>
                  </a:lnTo>
                  <a:lnTo>
                    <a:pt x="1362" y="324"/>
                  </a:lnTo>
                  <a:lnTo>
                    <a:pt x="1368" y="318"/>
                  </a:lnTo>
                  <a:lnTo>
                    <a:pt x="1374" y="318"/>
                  </a:lnTo>
                  <a:lnTo>
                    <a:pt x="1386" y="318"/>
                  </a:lnTo>
                  <a:lnTo>
                    <a:pt x="1398" y="324"/>
                  </a:lnTo>
                  <a:lnTo>
                    <a:pt x="1398" y="342"/>
                  </a:lnTo>
                  <a:lnTo>
                    <a:pt x="1356" y="342"/>
                  </a:lnTo>
                  <a:lnTo>
                    <a:pt x="1350" y="348"/>
                  </a:lnTo>
                  <a:lnTo>
                    <a:pt x="1350" y="372"/>
                  </a:lnTo>
                  <a:lnTo>
                    <a:pt x="1338" y="384"/>
                  </a:lnTo>
                  <a:lnTo>
                    <a:pt x="1332" y="408"/>
                  </a:lnTo>
                  <a:lnTo>
                    <a:pt x="1320" y="420"/>
                  </a:lnTo>
                  <a:lnTo>
                    <a:pt x="1254" y="426"/>
                  </a:lnTo>
                  <a:lnTo>
                    <a:pt x="1248" y="432"/>
                  </a:lnTo>
                  <a:lnTo>
                    <a:pt x="1230" y="432"/>
                  </a:lnTo>
                  <a:lnTo>
                    <a:pt x="1212" y="432"/>
                  </a:lnTo>
                  <a:lnTo>
                    <a:pt x="1212" y="426"/>
                  </a:lnTo>
                  <a:lnTo>
                    <a:pt x="1200" y="426"/>
                  </a:lnTo>
                  <a:lnTo>
                    <a:pt x="1182" y="414"/>
                  </a:lnTo>
                  <a:lnTo>
                    <a:pt x="1182" y="420"/>
                  </a:lnTo>
                  <a:lnTo>
                    <a:pt x="1164" y="420"/>
                  </a:lnTo>
                  <a:lnTo>
                    <a:pt x="1158" y="414"/>
                  </a:lnTo>
                  <a:lnTo>
                    <a:pt x="1152" y="408"/>
                  </a:lnTo>
                  <a:lnTo>
                    <a:pt x="1146" y="402"/>
                  </a:lnTo>
                  <a:lnTo>
                    <a:pt x="1122" y="396"/>
                  </a:lnTo>
                  <a:lnTo>
                    <a:pt x="1116" y="366"/>
                  </a:lnTo>
                  <a:lnTo>
                    <a:pt x="1116" y="348"/>
                  </a:lnTo>
                  <a:lnTo>
                    <a:pt x="1110" y="342"/>
                  </a:lnTo>
                  <a:lnTo>
                    <a:pt x="1104" y="336"/>
                  </a:lnTo>
                  <a:lnTo>
                    <a:pt x="1092" y="330"/>
                  </a:lnTo>
                  <a:lnTo>
                    <a:pt x="1074" y="330"/>
                  </a:lnTo>
                  <a:lnTo>
                    <a:pt x="1044" y="330"/>
                  </a:lnTo>
                  <a:lnTo>
                    <a:pt x="1014" y="336"/>
                  </a:lnTo>
                  <a:lnTo>
                    <a:pt x="984" y="342"/>
                  </a:lnTo>
                  <a:lnTo>
                    <a:pt x="978" y="330"/>
                  </a:lnTo>
                  <a:lnTo>
                    <a:pt x="966" y="324"/>
                  </a:lnTo>
                  <a:lnTo>
                    <a:pt x="888" y="336"/>
                  </a:lnTo>
                  <a:lnTo>
                    <a:pt x="888" y="330"/>
                  </a:lnTo>
                  <a:lnTo>
                    <a:pt x="870" y="336"/>
                  </a:lnTo>
                  <a:lnTo>
                    <a:pt x="858" y="336"/>
                  </a:lnTo>
                  <a:lnTo>
                    <a:pt x="852" y="354"/>
                  </a:lnTo>
                  <a:lnTo>
                    <a:pt x="852" y="402"/>
                  </a:lnTo>
                  <a:lnTo>
                    <a:pt x="840" y="414"/>
                  </a:lnTo>
                  <a:lnTo>
                    <a:pt x="834" y="420"/>
                  </a:lnTo>
                  <a:lnTo>
                    <a:pt x="834" y="444"/>
                  </a:lnTo>
                  <a:lnTo>
                    <a:pt x="834" y="450"/>
                  </a:lnTo>
                  <a:lnTo>
                    <a:pt x="852" y="456"/>
                  </a:lnTo>
                  <a:lnTo>
                    <a:pt x="864" y="462"/>
                  </a:lnTo>
                  <a:lnTo>
                    <a:pt x="894" y="456"/>
                  </a:lnTo>
                  <a:lnTo>
                    <a:pt x="900" y="468"/>
                  </a:lnTo>
                  <a:lnTo>
                    <a:pt x="918" y="462"/>
                  </a:lnTo>
                  <a:lnTo>
                    <a:pt x="924" y="468"/>
                  </a:lnTo>
                  <a:lnTo>
                    <a:pt x="924" y="47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2" name="Freeform 37">
              <a:extLst>
                <a:ext uri="{FF2B5EF4-FFF2-40B4-BE49-F238E27FC236}">
                  <a16:creationId xmlns:a16="http://schemas.microsoft.com/office/drawing/2014/main" id="{DED8A1FF-B656-4D37-BD26-5B0A7B1A4A6D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441" y="1898343"/>
              <a:ext cx="567992" cy="686605"/>
            </a:xfrm>
            <a:custGeom>
              <a:avLst/>
              <a:gdLst>
                <a:gd name="T0" fmla="*/ 79 w 1068"/>
                <a:gd name="T1" fmla="*/ 72 h 1290"/>
                <a:gd name="T2" fmla="*/ 75 w 1068"/>
                <a:gd name="T3" fmla="*/ 73 h 1290"/>
                <a:gd name="T4" fmla="*/ 72 w 1068"/>
                <a:gd name="T5" fmla="*/ 76 h 1290"/>
                <a:gd name="T6" fmla="*/ 70 w 1068"/>
                <a:gd name="T7" fmla="*/ 78 h 1290"/>
                <a:gd name="T8" fmla="*/ 67 w 1068"/>
                <a:gd name="T9" fmla="*/ 82 h 1290"/>
                <a:gd name="T10" fmla="*/ 61 w 1068"/>
                <a:gd name="T11" fmla="*/ 86 h 1290"/>
                <a:gd name="T12" fmla="*/ 60 w 1068"/>
                <a:gd name="T13" fmla="*/ 93 h 1290"/>
                <a:gd name="T14" fmla="*/ 59 w 1068"/>
                <a:gd name="T15" fmla="*/ 97 h 1290"/>
                <a:gd name="T16" fmla="*/ 61 w 1068"/>
                <a:gd name="T17" fmla="*/ 101 h 1290"/>
                <a:gd name="T18" fmla="*/ 63 w 1068"/>
                <a:gd name="T19" fmla="*/ 104 h 1290"/>
                <a:gd name="T20" fmla="*/ 62 w 1068"/>
                <a:gd name="T21" fmla="*/ 108 h 1290"/>
                <a:gd name="T22" fmla="*/ 60 w 1068"/>
                <a:gd name="T23" fmla="*/ 111 h 1290"/>
                <a:gd name="T24" fmla="*/ 56 w 1068"/>
                <a:gd name="T25" fmla="*/ 111 h 1290"/>
                <a:gd name="T26" fmla="*/ 53 w 1068"/>
                <a:gd name="T27" fmla="*/ 110 h 1290"/>
                <a:gd name="T28" fmla="*/ 50 w 1068"/>
                <a:gd name="T29" fmla="*/ 109 h 1290"/>
                <a:gd name="T30" fmla="*/ 47 w 1068"/>
                <a:gd name="T31" fmla="*/ 110 h 1290"/>
                <a:gd name="T32" fmla="*/ 51 w 1068"/>
                <a:gd name="T33" fmla="*/ 104 h 1290"/>
                <a:gd name="T34" fmla="*/ 50 w 1068"/>
                <a:gd name="T35" fmla="*/ 95 h 1290"/>
                <a:gd name="T36" fmla="*/ 51 w 1068"/>
                <a:gd name="T37" fmla="*/ 90 h 1290"/>
                <a:gd name="T38" fmla="*/ 47 w 1068"/>
                <a:gd name="T39" fmla="*/ 84 h 1290"/>
                <a:gd name="T40" fmla="*/ 42 w 1068"/>
                <a:gd name="T41" fmla="*/ 78 h 1290"/>
                <a:gd name="T42" fmla="*/ 33 w 1068"/>
                <a:gd name="T43" fmla="*/ 73 h 1290"/>
                <a:gd name="T44" fmla="*/ 26 w 1068"/>
                <a:gd name="T45" fmla="*/ 68 h 1290"/>
                <a:gd name="T46" fmla="*/ 22 w 1068"/>
                <a:gd name="T47" fmla="*/ 63 h 1290"/>
                <a:gd name="T48" fmla="*/ 11 w 1068"/>
                <a:gd name="T49" fmla="*/ 67 h 1290"/>
                <a:gd name="T50" fmla="*/ 0 w 1068"/>
                <a:gd name="T51" fmla="*/ 68 h 1290"/>
                <a:gd name="T52" fmla="*/ 2 w 1068"/>
                <a:gd name="T53" fmla="*/ 59 h 1290"/>
                <a:gd name="T54" fmla="*/ 12 w 1068"/>
                <a:gd name="T55" fmla="*/ 55 h 1290"/>
                <a:gd name="T56" fmla="*/ 12 w 1068"/>
                <a:gd name="T57" fmla="*/ 51 h 1290"/>
                <a:gd name="T58" fmla="*/ 10 w 1068"/>
                <a:gd name="T59" fmla="*/ 47 h 1290"/>
                <a:gd name="T60" fmla="*/ 9 w 1068"/>
                <a:gd name="T61" fmla="*/ 42 h 1290"/>
                <a:gd name="T62" fmla="*/ 8 w 1068"/>
                <a:gd name="T63" fmla="*/ 38 h 1290"/>
                <a:gd name="T64" fmla="*/ 8 w 1068"/>
                <a:gd name="T65" fmla="*/ 29 h 1290"/>
                <a:gd name="T66" fmla="*/ 10 w 1068"/>
                <a:gd name="T67" fmla="*/ 18 h 1290"/>
                <a:gd name="T68" fmla="*/ 25 w 1068"/>
                <a:gd name="T69" fmla="*/ 12 h 1290"/>
                <a:gd name="T70" fmla="*/ 27 w 1068"/>
                <a:gd name="T71" fmla="*/ 4 h 1290"/>
                <a:gd name="T72" fmla="*/ 35 w 1068"/>
                <a:gd name="T73" fmla="*/ 6 h 1290"/>
                <a:gd name="T74" fmla="*/ 39 w 1068"/>
                <a:gd name="T75" fmla="*/ 8 h 1290"/>
                <a:gd name="T76" fmla="*/ 41 w 1068"/>
                <a:gd name="T77" fmla="*/ 3 h 1290"/>
                <a:gd name="T78" fmla="*/ 45 w 1068"/>
                <a:gd name="T79" fmla="*/ 0 h 1290"/>
                <a:gd name="T80" fmla="*/ 51 w 1068"/>
                <a:gd name="T81" fmla="*/ 0 h 1290"/>
                <a:gd name="T82" fmla="*/ 56 w 1068"/>
                <a:gd name="T83" fmla="*/ 4 h 1290"/>
                <a:gd name="T84" fmla="*/ 62 w 1068"/>
                <a:gd name="T85" fmla="*/ 12 h 1290"/>
                <a:gd name="T86" fmla="*/ 58 w 1068"/>
                <a:gd name="T87" fmla="*/ 17 h 1290"/>
                <a:gd name="T88" fmla="*/ 60 w 1068"/>
                <a:gd name="T89" fmla="*/ 18 h 1290"/>
                <a:gd name="T90" fmla="*/ 64 w 1068"/>
                <a:gd name="T91" fmla="*/ 16 h 1290"/>
                <a:gd name="T92" fmla="*/ 68 w 1068"/>
                <a:gd name="T93" fmla="*/ 18 h 1290"/>
                <a:gd name="T94" fmla="*/ 71 w 1068"/>
                <a:gd name="T95" fmla="*/ 27 h 1290"/>
                <a:gd name="T96" fmla="*/ 74 w 1068"/>
                <a:gd name="T97" fmla="*/ 30 h 1290"/>
                <a:gd name="T98" fmla="*/ 82 w 1068"/>
                <a:gd name="T99" fmla="*/ 30 h 1290"/>
                <a:gd name="T100" fmla="*/ 87 w 1068"/>
                <a:gd name="T101" fmla="*/ 35 h 1290"/>
                <a:gd name="T102" fmla="*/ 85 w 1068"/>
                <a:gd name="T103" fmla="*/ 42 h 1290"/>
                <a:gd name="T104" fmla="*/ 81 w 1068"/>
                <a:gd name="T105" fmla="*/ 46 h 1290"/>
                <a:gd name="T106" fmla="*/ 86 w 1068"/>
                <a:gd name="T107" fmla="*/ 50 h 1290"/>
                <a:gd name="T108" fmla="*/ 89 w 1068"/>
                <a:gd name="T109" fmla="*/ 58 h 1290"/>
                <a:gd name="T110" fmla="*/ 92 w 1068"/>
                <a:gd name="T111" fmla="*/ 61 h 1290"/>
                <a:gd name="T112" fmla="*/ 86 w 1068"/>
                <a:gd name="T113" fmla="*/ 66 h 1290"/>
                <a:gd name="T114" fmla="*/ 85 w 1068"/>
                <a:gd name="T115" fmla="*/ 70 h 129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68"/>
                <a:gd name="T175" fmla="*/ 0 h 1290"/>
                <a:gd name="T176" fmla="*/ 1068 w 1068"/>
                <a:gd name="T177" fmla="*/ 1290 h 129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68" h="1290">
                  <a:moveTo>
                    <a:pt x="978" y="804"/>
                  </a:moveTo>
                  <a:lnTo>
                    <a:pt x="972" y="810"/>
                  </a:lnTo>
                  <a:lnTo>
                    <a:pt x="966" y="810"/>
                  </a:lnTo>
                  <a:lnTo>
                    <a:pt x="966" y="816"/>
                  </a:lnTo>
                  <a:lnTo>
                    <a:pt x="936" y="828"/>
                  </a:lnTo>
                  <a:lnTo>
                    <a:pt x="924" y="822"/>
                  </a:lnTo>
                  <a:lnTo>
                    <a:pt x="912" y="822"/>
                  </a:lnTo>
                  <a:lnTo>
                    <a:pt x="906" y="828"/>
                  </a:lnTo>
                  <a:lnTo>
                    <a:pt x="900" y="828"/>
                  </a:lnTo>
                  <a:lnTo>
                    <a:pt x="900" y="822"/>
                  </a:lnTo>
                  <a:lnTo>
                    <a:pt x="894" y="822"/>
                  </a:lnTo>
                  <a:lnTo>
                    <a:pt x="888" y="828"/>
                  </a:lnTo>
                  <a:lnTo>
                    <a:pt x="882" y="834"/>
                  </a:lnTo>
                  <a:lnTo>
                    <a:pt x="876" y="834"/>
                  </a:lnTo>
                  <a:lnTo>
                    <a:pt x="870" y="840"/>
                  </a:lnTo>
                  <a:lnTo>
                    <a:pt x="864" y="840"/>
                  </a:lnTo>
                  <a:lnTo>
                    <a:pt x="864" y="846"/>
                  </a:lnTo>
                  <a:lnTo>
                    <a:pt x="858" y="846"/>
                  </a:lnTo>
                  <a:lnTo>
                    <a:pt x="852" y="846"/>
                  </a:lnTo>
                  <a:lnTo>
                    <a:pt x="852" y="858"/>
                  </a:lnTo>
                  <a:lnTo>
                    <a:pt x="846" y="864"/>
                  </a:lnTo>
                  <a:lnTo>
                    <a:pt x="840" y="870"/>
                  </a:lnTo>
                  <a:lnTo>
                    <a:pt x="834" y="870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34" y="876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10" y="894"/>
                  </a:lnTo>
                  <a:lnTo>
                    <a:pt x="810" y="900"/>
                  </a:lnTo>
                  <a:lnTo>
                    <a:pt x="804" y="900"/>
                  </a:lnTo>
                  <a:lnTo>
                    <a:pt x="798" y="900"/>
                  </a:lnTo>
                  <a:lnTo>
                    <a:pt x="798" y="906"/>
                  </a:lnTo>
                  <a:lnTo>
                    <a:pt x="792" y="906"/>
                  </a:lnTo>
                  <a:lnTo>
                    <a:pt x="792" y="912"/>
                  </a:lnTo>
                  <a:lnTo>
                    <a:pt x="792" y="924"/>
                  </a:lnTo>
                  <a:lnTo>
                    <a:pt x="786" y="930"/>
                  </a:lnTo>
                  <a:lnTo>
                    <a:pt x="774" y="942"/>
                  </a:lnTo>
                  <a:lnTo>
                    <a:pt x="774" y="948"/>
                  </a:lnTo>
                  <a:lnTo>
                    <a:pt x="768" y="954"/>
                  </a:lnTo>
                  <a:lnTo>
                    <a:pt x="762" y="954"/>
                  </a:lnTo>
                  <a:lnTo>
                    <a:pt x="750" y="972"/>
                  </a:lnTo>
                  <a:lnTo>
                    <a:pt x="720" y="978"/>
                  </a:lnTo>
                  <a:lnTo>
                    <a:pt x="714" y="978"/>
                  </a:lnTo>
                  <a:lnTo>
                    <a:pt x="708" y="978"/>
                  </a:lnTo>
                  <a:lnTo>
                    <a:pt x="702" y="990"/>
                  </a:lnTo>
                  <a:lnTo>
                    <a:pt x="696" y="990"/>
                  </a:lnTo>
                  <a:lnTo>
                    <a:pt x="696" y="1008"/>
                  </a:lnTo>
                  <a:lnTo>
                    <a:pt x="690" y="1008"/>
                  </a:lnTo>
                  <a:lnTo>
                    <a:pt x="690" y="1014"/>
                  </a:lnTo>
                  <a:lnTo>
                    <a:pt x="684" y="1032"/>
                  </a:lnTo>
                  <a:lnTo>
                    <a:pt x="690" y="1050"/>
                  </a:lnTo>
                  <a:lnTo>
                    <a:pt x="690" y="1062"/>
                  </a:lnTo>
                  <a:lnTo>
                    <a:pt x="690" y="1068"/>
                  </a:lnTo>
                  <a:lnTo>
                    <a:pt x="690" y="1074"/>
                  </a:lnTo>
                  <a:lnTo>
                    <a:pt x="684" y="1074"/>
                  </a:lnTo>
                  <a:lnTo>
                    <a:pt x="684" y="1080"/>
                  </a:lnTo>
                  <a:lnTo>
                    <a:pt x="678" y="1086"/>
                  </a:lnTo>
                  <a:lnTo>
                    <a:pt x="678" y="1104"/>
                  </a:lnTo>
                  <a:lnTo>
                    <a:pt x="678" y="1110"/>
                  </a:lnTo>
                  <a:lnTo>
                    <a:pt x="678" y="1116"/>
                  </a:lnTo>
                  <a:lnTo>
                    <a:pt x="684" y="1116"/>
                  </a:lnTo>
                  <a:lnTo>
                    <a:pt x="678" y="1128"/>
                  </a:lnTo>
                  <a:lnTo>
                    <a:pt x="684" y="1128"/>
                  </a:lnTo>
                  <a:lnTo>
                    <a:pt x="690" y="1134"/>
                  </a:lnTo>
                  <a:lnTo>
                    <a:pt x="690" y="1140"/>
                  </a:lnTo>
                  <a:lnTo>
                    <a:pt x="696" y="1140"/>
                  </a:lnTo>
                  <a:lnTo>
                    <a:pt x="696" y="1146"/>
                  </a:lnTo>
                  <a:lnTo>
                    <a:pt x="696" y="1152"/>
                  </a:lnTo>
                  <a:lnTo>
                    <a:pt x="702" y="1152"/>
                  </a:lnTo>
                  <a:lnTo>
                    <a:pt x="708" y="1152"/>
                  </a:lnTo>
                  <a:lnTo>
                    <a:pt x="714" y="1158"/>
                  </a:lnTo>
                  <a:lnTo>
                    <a:pt x="714" y="1164"/>
                  </a:lnTo>
                  <a:lnTo>
                    <a:pt x="720" y="1170"/>
                  </a:lnTo>
                  <a:lnTo>
                    <a:pt x="720" y="1176"/>
                  </a:lnTo>
                  <a:lnTo>
                    <a:pt x="720" y="1182"/>
                  </a:lnTo>
                  <a:lnTo>
                    <a:pt x="726" y="1188"/>
                  </a:lnTo>
                  <a:lnTo>
                    <a:pt x="726" y="1194"/>
                  </a:lnTo>
                  <a:lnTo>
                    <a:pt x="732" y="1194"/>
                  </a:lnTo>
                  <a:lnTo>
                    <a:pt x="732" y="1200"/>
                  </a:lnTo>
                  <a:lnTo>
                    <a:pt x="738" y="1212"/>
                  </a:lnTo>
                  <a:lnTo>
                    <a:pt x="732" y="1218"/>
                  </a:lnTo>
                  <a:lnTo>
                    <a:pt x="732" y="1224"/>
                  </a:lnTo>
                  <a:lnTo>
                    <a:pt x="726" y="1230"/>
                  </a:lnTo>
                  <a:lnTo>
                    <a:pt x="720" y="1230"/>
                  </a:lnTo>
                  <a:lnTo>
                    <a:pt x="720" y="1236"/>
                  </a:lnTo>
                  <a:lnTo>
                    <a:pt x="720" y="1242"/>
                  </a:lnTo>
                  <a:lnTo>
                    <a:pt x="720" y="1248"/>
                  </a:lnTo>
                  <a:lnTo>
                    <a:pt x="714" y="1248"/>
                  </a:lnTo>
                  <a:lnTo>
                    <a:pt x="714" y="1254"/>
                  </a:lnTo>
                  <a:lnTo>
                    <a:pt x="708" y="1260"/>
                  </a:lnTo>
                  <a:lnTo>
                    <a:pt x="702" y="1272"/>
                  </a:lnTo>
                  <a:lnTo>
                    <a:pt x="696" y="1272"/>
                  </a:lnTo>
                  <a:lnTo>
                    <a:pt x="696" y="1278"/>
                  </a:lnTo>
                  <a:lnTo>
                    <a:pt x="690" y="1284"/>
                  </a:lnTo>
                  <a:lnTo>
                    <a:pt x="690" y="1290"/>
                  </a:lnTo>
                  <a:lnTo>
                    <a:pt x="684" y="1290"/>
                  </a:lnTo>
                  <a:lnTo>
                    <a:pt x="660" y="1284"/>
                  </a:lnTo>
                  <a:lnTo>
                    <a:pt x="660" y="1278"/>
                  </a:lnTo>
                  <a:lnTo>
                    <a:pt x="654" y="1272"/>
                  </a:lnTo>
                  <a:lnTo>
                    <a:pt x="648" y="1272"/>
                  </a:lnTo>
                  <a:lnTo>
                    <a:pt x="642" y="1272"/>
                  </a:lnTo>
                  <a:lnTo>
                    <a:pt x="642" y="1266"/>
                  </a:lnTo>
                  <a:lnTo>
                    <a:pt x="636" y="1266"/>
                  </a:lnTo>
                  <a:lnTo>
                    <a:pt x="630" y="1266"/>
                  </a:lnTo>
                  <a:lnTo>
                    <a:pt x="624" y="1266"/>
                  </a:lnTo>
                  <a:lnTo>
                    <a:pt x="624" y="1260"/>
                  </a:lnTo>
                  <a:lnTo>
                    <a:pt x="618" y="1260"/>
                  </a:lnTo>
                  <a:lnTo>
                    <a:pt x="612" y="1260"/>
                  </a:lnTo>
                  <a:lnTo>
                    <a:pt x="606" y="1260"/>
                  </a:lnTo>
                  <a:lnTo>
                    <a:pt x="600" y="1260"/>
                  </a:lnTo>
                  <a:lnTo>
                    <a:pt x="600" y="1254"/>
                  </a:lnTo>
                  <a:lnTo>
                    <a:pt x="594" y="1254"/>
                  </a:lnTo>
                  <a:lnTo>
                    <a:pt x="588" y="1248"/>
                  </a:lnTo>
                  <a:lnTo>
                    <a:pt x="588" y="1254"/>
                  </a:lnTo>
                  <a:lnTo>
                    <a:pt x="582" y="1254"/>
                  </a:lnTo>
                  <a:lnTo>
                    <a:pt x="582" y="1248"/>
                  </a:lnTo>
                  <a:lnTo>
                    <a:pt x="576" y="1248"/>
                  </a:lnTo>
                  <a:lnTo>
                    <a:pt x="576" y="1254"/>
                  </a:lnTo>
                  <a:lnTo>
                    <a:pt x="570" y="1248"/>
                  </a:lnTo>
                  <a:lnTo>
                    <a:pt x="564" y="1248"/>
                  </a:lnTo>
                  <a:lnTo>
                    <a:pt x="564" y="1254"/>
                  </a:lnTo>
                  <a:lnTo>
                    <a:pt x="558" y="1254"/>
                  </a:lnTo>
                  <a:lnTo>
                    <a:pt x="552" y="1254"/>
                  </a:lnTo>
                  <a:lnTo>
                    <a:pt x="552" y="1260"/>
                  </a:lnTo>
                  <a:lnTo>
                    <a:pt x="546" y="1260"/>
                  </a:lnTo>
                  <a:lnTo>
                    <a:pt x="540" y="1260"/>
                  </a:lnTo>
                  <a:lnTo>
                    <a:pt x="540" y="1254"/>
                  </a:lnTo>
                  <a:lnTo>
                    <a:pt x="534" y="1254"/>
                  </a:lnTo>
                  <a:lnTo>
                    <a:pt x="528" y="1224"/>
                  </a:lnTo>
                  <a:lnTo>
                    <a:pt x="534" y="1212"/>
                  </a:lnTo>
                  <a:lnTo>
                    <a:pt x="546" y="1206"/>
                  </a:lnTo>
                  <a:lnTo>
                    <a:pt x="582" y="1206"/>
                  </a:lnTo>
                  <a:lnTo>
                    <a:pt x="588" y="1188"/>
                  </a:lnTo>
                  <a:lnTo>
                    <a:pt x="582" y="1188"/>
                  </a:lnTo>
                  <a:lnTo>
                    <a:pt x="582" y="1182"/>
                  </a:lnTo>
                  <a:lnTo>
                    <a:pt x="576" y="1176"/>
                  </a:lnTo>
                  <a:lnTo>
                    <a:pt x="558" y="1128"/>
                  </a:lnTo>
                  <a:lnTo>
                    <a:pt x="558" y="1122"/>
                  </a:lnTo>
                  <a:lnTo>
                    <a:pt x="576" y="1098"/>
                  </a:lnTo>
                  <a:lnTo>
                    <a:pt x="576" y="1092"/>
                  </a:lnTo>
                  <a:lnTo>
                    <a:pt x="582" y="1092"/>
                  </a:lnTo>
                  <a:lnTo>
                    <a:pt x="582" y="1086"/>
                  </a:lnTo>
                  <a:lnTo>
                    <a:pt x="582" y="1080"/>
                  </a:lnTo>
                  <a:lnTo>
                    <a:pt x="582" y="1074"/>
                  </a:lnTo>
                  <a:lnTo>
                    <a:pt x="588" y="1074"/>
                  </a:lnTo>
                  <a:lnTo>
                    <a:pt x="588" y="1062"/>
                  </a:lnTo>
                  <a:lnTo>
                    <a:pt x="588" y="1056"/>
                  </a:lnTo>
                  <a:lnTo>
                    <a:pt x="588" y="1044"/>
                  </a:lnTo>
                  <a:lnTo>
                    <a:pt x="588" y="1038"/>
                  </a:lnTo>
                  <a:lnTo>
                    <a:pt x="588" y="1032"/>
                  </a:lnTo>
                  <a:lnTo>
                    <a:pt x="582" y="1026"/>
                  </a:lnTo>
                  <a:lnTo>
                    <a:pt x="582" y="1020"/>
                  </a:lnTo>
                  <a:lnTo>
                    <a:pt x="582" y="1008"/>
                  </a:lnTo>
                  <a:lnTo>
                    <a:pt x="576" y="990"/>
                  </a:lnTo>
                  <a:lnTo>
                    <a:pt x="570" y="972"/>
                  </a:lnTo>
                  <a:lnTo>
                    <a:pt x="552" y="972"/>
                  </a:lnTo>
                  <a:lnTo>
                    <a:pt x="540" y="960"/>
                  </a:lnTo>
                  <a:lnTo>
                    <a:pt x="534" y="954"/>
                  </a:lnTo>
                  <a:lnTo>
                    <a:pt x="534" y="948"/>
                  </a:lnTo>
                  <a:lnTo>
                    <a:pt x="516" y="948"/>
                  </a:lnTo>
                  <a:lnTo>
                    <a:pt x="522" y="936"/>
                  </a:lnTo>
                  <a:lnTo>
                    <a:pt x="522" y="930"/>
                  </a:lnTo>
                  <a:lnTo>
                    <a:pt x="504" y="918"/>
                  </a:lnTo>
                  <a:lnTo>
                    <a:pt x="492" y="906"/>
                  </a:lnTo>
                  <a:lnTo>
                    <a:pt x="486" y="894"/>
                  </a:lnTo>
                  <a:lnTo>
                    <a:pt x="468" y="876"/>
                  </a:lnTo>
                  <a:lnTo>
                    <a:pt x="450" y="876"/>
                  </a:lnTo>
                  <a:lnTo>
                    <a:pt x="414" y="882"/>
                  </a:lnTo>
                  <a:lnTo>
                    <a:pt x="402" y="870"/>
                  </a:lnTo>
                  <a:lnTo>
                    <a:pt x="390" y="864"/>
                  </a:lnTo>
                  <a:lnTo>
                    <a:pt x="384" y="852"/>
                  </a:lnTo>
                  <a:lnTo>
                    <a:pt x="378" y="840"/>
                  </a:lnTo>
                  <a:lnTo>
                    <a:pt x="378" y="834"/>
                  </a:lnTo>
                  <a:lnTo>
                    <a:pt x="360" y="822"/>
                  </a:lnTo>
                  <a:lnTo>
                    <a:pt x="342" y="828"/>
                  </a:lnTo>
                  <a:lnTo>
                    <a:pt x="324" y="816"/>
                  </a:lnTo>
                  <a:lnTo>
                    <a:pt x="318" y="816"/>
                  </a:lnTo>
                  <a:lnTo>
                    <a:pt x="306" y="810"/>
                  </a:lnTo>
                  <a:lnTo>
                    <a:pt x="306" y="804"/>
                  </a:lnTo>
                  <a:lnTo>
                    <a:pt x="300" y="804"/>
                  </a:lnTo>
                  <a:lnTo>
                    <a:pt x="300" y="780"/>
                  </a:lnTo>
                  <a:lnTo>
                    <a:pt x="300" y="774"/>
                  </a:lnTo>
                  <a:lnTo>
                    <a:pt x="306" y="774"/>
                  </a:lnTo>
                  <a:lnTo>
                    <a:pt x="312" y="756"/>
                  </a:lnTo>
                  <a:lnTo>
                    <a:pt x="312" y="732"/>
                  </a:lnTo>
                  <a:lnTo>
                    <a:pt x="300" y="720"/>
                  </a:lnTo>
                  <a:lnTo>
                    <a:pt x="288" y="702"/>
                  </a:lnTo>
                  <a:lnTo>
                    <a:pt x="276" y="702"/>
                  </a:lnTo>
                  <a:lnTo>
                    <a:pt x="258" y="714"/>
                  </a:lnTo>
                  <a:lnTo>
                    <a:pt x="246" y="726"/>
                  </a:lnTo>
                  <a:lnTo>
                    <a:pt x="222" y="726"/>
                  </a:lnTo>
                  <a:lnTo>
                    <a:pt x="192" y="726"/>
                  </a:lnTo>
                  <a:lnTo>
                    <a:pt x="174" y="738"/>
                  </a:lnTo>
                  <a:lnTo>
                    <a:pt x="162" y="750"/>
                  </a:lnTo>
                  <a:lnTo>
                    <a:pt x="144" y="762"/>
                  </a:lnTo>
                  <a:lnTo>
                    <a:pt x="138" y="768"/>
                  </a:lnTo>
                  <a:lnTo>
                    <a:pt x="126" y="774"/>
                  </a:lnTo>
                  <a:lnTo>
                    <a:pt x="114" y="780"/>
                  </a:lnTo>
                  <a:lnTo>
                    <a:pt x="108" y="786"/>
                  </a:lnTo>
                  <a:lnTo>
                    <a:pt x="102" y="786"/>
                  </a:lnTo>
                  <a:lnTo>
                    <a:pt x="54" y="786"/>
                  </a:lnTo>
                  <a:lnTo>
                    <a:pt x="48" y="792"/>
                  </a:lnTo>
                  <a:lnTo>
                    <a:pt x="36" y="798"/>
                  </a:lnTo>
                  <a:lnTo>
                    <a:pt x="18" y="792"/>
                  </a:lnTo>
                  <a:lnTo>
                    <a:pt x="6" y="780"/>
                  </a:lnTo>
                  <a:lnTo>
                    <a:pt x="6" y="768"/>
                  </a:lnTo>
                  <a:lnTo>
                    <a:pt x="0" y="756"/>
                  </a:lnTo>
                  <a:lnTo>
                    <a:pt x="0" y="738"/>
                  </a:lnTo>
                  <a:lnTo>
                    <a:pt x="6" y="702"/>
                  </a:lnTo>
                  <a:lnTo>
                    <a:pt x="24" y="702"/>
                  </a:lnTo>
                  <a:lnTo>
                    <a:pt x="24" y="696"/>
                  </a:lnTo>
                  <a:lnTo>
                    <a:pt x="24" y="690"/>
                  </a:lnTo>
                  <a:lnTo>
                    <a:pt x="24" y="678"/>
                  </a:lnTo>
                  <a:lnTo>
                    <a:pt x="24" y="672"/>
                  </a:lnTo>
                  <a:lnTo>
                    <a:pt x="30" y="672"/>
                  </a:lnTo>
                  <a:lnTo>
                    <a:pt x="30" y="666"/>
                  </a:lnTo>
                  <a:lnTo>
                    <a:pt x="36" y="660"/>
                  </a:lnTo>
                  <a:lnTo>
                    <a:pt x="84" y="648"/>
                  </a:lnTo>
                  <a:lnTo>
                    <a:pt x="126" y="642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32" y="618"/>
                  </a:lnTo>
                  <a:lnTo>
                    <a:pt x="138" y="612"/>
                  </a:lnTo>
                  <a:lnTo>
                    <a:pt x="138" y="606"/>
                  </a:lnTo>
                  <a:lnTo>
                    <a:pt x="138" y="600"/>
                  </a:lnTo>
                  <a:lnTo>
                    <a:pt x="132" y="600"/>
                  </a:lnTo>
                  <a:lnTo>
                    <a:pt x="132" y="594"/>
                  </a:lnTo>
                  <a:lnTo>
                    <a:pt x="132" y="588"/>
                  </a:lnTo>
                  <a:lnTo>
                    <a:pt x="132" y="582"/>
                  </a:lnTo>
                  <a:lnTo>
                    <a:pt x="132" y="576"/>
                  </a:lnTo>
                  <a:lnTo>
                    <a:pt x="126" y="570"/>
                  </a:lnTo>
                  <a:lnTo>
                    <a:pt x="120" y="564"/>
                  </a:lnTo>
                  <a:lnTo>
                    <a:pt x="120" y="558"/>
                  </a:lnTo>
                  <a:lnTo>
                    <a:pt x="120" y="552"/>
                  </a:lnTo>
                  <a:lnTo>
                    <a:pt x="114" y="552"/>
                  </a:lnTo>
                  <a:lnTo>
                    <a:pt x="114" y="546"/>
                  </a:lnTo>
                  <a:lnTo>
                    <a:pt x="114" y="540"/>
                  </a:lnTo>
                  <a:lnTo>
                    <a:pt x="108" y="534"/>
                  </a:lnTo>
                  <a:lnTo>
                    <a:pt x="108" y="528"/>
                  </a:lnTo>
                  <a:lnTo>
                    <a:pt x="114" y="522"/>
                  </a:lnTo>
                  <a:lnTo>
                    <a:pt x="108" y="516"/>
                  </a:lnTo>
                  <a:lnTo>
                    <a:pt x="108" y="498"/>
                  </a:lnTo>
                  <a:lnTo>
                    <a:pt x="108" y="492"/>
                  </a:lnTo>
                  <a:lnTo>
                    <a:pt x="108" y="486"/>
                  </a:lnTo>
                  <a:lnTo>
                    <a:pt x="108" y="480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08" y="462"/>
                  </a:lnTo>
                  <a:lnTo>
                    <a:pt x="102" y="456"/>
                  </a:lnTo>
                  <a:lnTo>
                    <a:pt x="102" y="444"/>
                  </a:lnTo>
                  <a:lnTo>
                    <a:pt x="96" y="444"/>
                  </a:lnTo>
                  <a:lnTo>
                    <a:pt x="90" y="432"/>
                  </a:lnTo>
                  <a:lnTo>
                    <a:pt x="96" y="432"/>
                  </a:lnTo>
                  <a:lnTo>
                    <a:pt x="96" y="408"/>
                  </a:lnTo>
                  <a:lnTo>
                    <a:pt x="96" y="396"/>
                  </a:lnTo>
                  <a:lnTo>
                    <a:pt x="96" y="360"/>
                  </a:lnTo>
                  <a:lnTo>
                    <a:pt x="96" y="354"/>
                  </a:lnTo>
                  <a:lnTo>
                    <a:pt x="102" y="354"/>
                  </a:lnTo>
                  <a:lnTo>
                    <a:pt x="102" y="348"/>
                  </a:lnTo>
                  <a:lnTo>
                    <a:pt x="96" y="330"/>
                  </a:lnTo>
                  <a:lnTo>
                    <a:pt x="90" y="306"/>
                  </a:lnTo>
                  <a:lnTo>
                    <a:pt x="84" y="288"/>
                  </a:lnTo>
                  <a:lnTo>
                    <a:pt x="84" y="264"/>
                  </a:lnTo>
                  <a:lnTo>
                    <a:pt x="90" y="240"/>
                  </a:lnTo>
                  <a:lnTo>
                    <a:pt x="96" y="222"/>
                  </a:lnTo>
                  <a:lnTo>
                    <a:pt x="102" y="222"/>
                  </a:lnTo>
                  <a:lnTo>
                    <a:pt x="108" y="210"/>
                  </a:lnTo>
                  <a:lnTo>
                    <a:pt x="114" y="210"/>
                  </a:lnTo>
                  <a:lnTo>
                    <a:pt x="126" y="198"/>
                  </a:lnTo>
                  <a:lnTo>
                    <a:pt x="156" y="192"/>
                  </a:lnTo>
                  <a:lnTo>
                    <a:pt x="174" y="186"/>
                  </a:lnTo>
                  <a:lnTo>
                    <a:pt x="204" y="174"/>
                  </a:lnTo>
                  <a:lnTo>
                    <a:pt x="222" y="168"/>
                  </a:lnTo>
                  <a:lnTo>
                    <a:pt x="234" y="162"/>
                  </a:lnTo>
                  <a:lnTo>
                    <a:pt x="246" y="156"/>
                  </a:lnTo>
                  <a:lnTo>
                    <a:pt x="288" y="144"/>
                  </a:lnTo>
                  <a:lnTo>
                    <a:pt x="288" y="132"/>
                  </a:lnTo>
                  <a:lnTo>
                    <a:pt x="294" y="120"/>
                  </a:lnTo>
                  <a:lnTo>
                    <a:pt x="300" y="108"/>
                  </a:lnTo>
                  <a:lnTo>
                    <a:pt x="306" y="90"/>
                  </a:lnTo>
                  <a:lnTo>
                    <a:pt x="312" y="78"/>
                  </a:lnTo>
                  <a:lnTo>
                    <a:pt x="324" y="78"/>
                  </a:lnTo>
                  <a:lnTo>
                    <a:pt x="324" y="54"/>
                  </a:lnTo>
                  <a:lnTo>
                    <a:pt x="318" y="48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60" y="6"/>
                  </a:lnTo>
                  <a:lnTo>
                    <a:pt x="384" y="0"/>
                  </a:lnTo>
                  <a:lnTo>
                    <a:pt x="390" y="6"/>
                  </a:lnTo>
                  <a:lnTo>
                    <a:pt x="390" y="18"/>
                  </a:lnTo>
                  <a:lnTo>
                    <a:pt x="390" y="54"/>
                  </a:lnTo>
                  <a:lnTo>
                    <a:pt x="396" y="66"/>
                  </a:lnTo>
                  <a:lnTo>
                    <a:pt x="414" y="84"/>
                  </a:lnTo>
                  <a:lnTo>
                    <a:pt x="426" y="90"/>
                  </a:lnTo>
                  <a:lnTo>
                    <a:pt x="432" y="96"/>
                  </a:lnTo>
                  <a:lnTo>
                    <a:pt x="426" y="102"/>
                  </a:lnTo>
                  <a:lnTo>
                    <a:pt x="438" y="102"/>
                  </a:lnTo>
                  <a:lnTo>
                    <a:pt x="444" y="108"/>
                  </a:lnTo>
                  <a:lnTo>
                    <a:pt x="444" y="102"/>
                  </a:lnTo>
                  <a:lnTo>
                    <a:pt x="450" y="90"/>
                  </a:lnTo>
                  <a:lnTo>
                    <a:pt x="450" y="84"/>
                  </a:lnTo>
                  <a:lnTo>
                    <a:pt x="450" y="78"/>
                  </a:lnTo>
                  <a:lnTo>
                    <a:pt x="456" y="72"/>
                  </a:lnTo>
                  <a:lnTo>
                    <a:pt x="462" y="66"/>
                  </a:lnTo>
                  <a:lnTo>
                    <a:pt x="462" y="60"/>
                  </a:lnTo>
                  <a:lnTo>
                    <a:pt x="462" y="54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74" y="24"/>
                  </a:lnTo>
                  <a:lnTo>
                    <a:pt x="480" y="18"/>
                  </a:lnTo>
                  <a:lnTo>
                    <a:pt x="486" y="12"/>
                  </a:lnTo>
                  <a:lnTo>
                    <a:pt x="492" y="12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2" y="6"/>
                  </a:lnTo>
                  <a:lnTo>
                    <a:pt x="534" y="6"/>
                  </a:lnTo>
                  <a:lnTo>
                    <a:pt x="540" y="6"/>
                  </a:lnTo>
                  <a:lnTo>
                    <a:pt x="546" y="6"/>
                  </a:lnTo>
                  <a:lnTo>
                    <a:pt x="564" y="0"/>
                  </a:lnTo>
                  <a:lnTo>
                    <a:pt x="570" y="0"/>
                  </a:lnTo>
                  <a:lnTo>
                    <a:pt x="576" y="6"/>
                  </a:lnTo>
                  <a:lnTo>
                    <a:pt x="582" y="6"/>
                  </a:lnTo>
                  <a:lnTo>
                    <a:pt x="594" y="6"/>
                  </a:lnTo>
                  <a:lnTo>
                    <a:pt x="600" y="6"/>
                  </a:lnTo>
                  <a:lnTo>
                    <a:pt x="606" y="6"/>
                  </a:lnTo>
                  <a:lnTo>
                    <a:pt x="624" y="0"/>
                  </a:lnTo>
                  <a:lnTo>
                    <a:pt x="636" y="0"/>
                  </a:lnTo>
                  <a:lnTo>
                    <a:pt x="636" y="6"/>
                  </a:lnTo>
                  <a:lnTo>
                    <a:pt x="654" y="18"/>
                  </a:lnTo>
                  <a:lnTo>
                    <a:pt x="654" y="30"/>
                  </a:lnTo>
                  <a:lnTo>
                    <a:pt x="642" y="42"/>
                  </a:lnTo>
                  <a:lnTo>
                    <a:pt x="630" y="66"/>
                  </a:lnTo>
                  <a:lnTo>
                    <a:pt x="636" y="84"/>
                  </a:lnTo>
                  <a:lnTo>
                    <a:pt x="636" y="96"/>
                  </a:lnTo>
                  <a:lnTo>
                    <a:pt x="648" y="102"/>
                  </a:lnTo>
                  <a:lnTo>
                    <a:pt x="672" y="114"/>
                  </a:lnTo>
                  <a:lnTo>
                    <a:pt x="702" y="120"/>
                  </a:lnTo>
                  <a:lnTo>
                    <a:pt x="714" y="126"/>
                  </a:lnTo>
                  <a:lnTo>
                    <a:pt x="720" y="144"/>
                  </a:lnTo>
                  <a:lnTo>
                    <a:pt x="720" y="156"/>
                  </a:lnTo>
                  <a:lnTo>
                    <a:pt x="708" y="156"/>
                  </a:lnTo>
                  <a:lnTo>
                    <a:pt x="702" y="162"/>
                  </a:lnTo>
                  <a:lnTo>
                    <a:pt x="702" y="174"/>
                  </a:lnTo>
                  <a:lnTo>
                    <a:pt x="696" y="174"/>
                  </a:lnTo>
                  <a:lnTo>
                    <a:pt x="690" y="180"/>
                  </a:lnTo>
                  <a:lnTo>
                    <a:pt x="678" y="186"/>
                  </a:lnTo>
                  <a:lnTo>
                    <a:pt x="672" y="192"/>
                  </a:lnTo>
                  <a:lnTo>
                    <a:pt x="654" y="210"/>
                  </a:lnTo>
                  <a:lnTo>
                    <a:pt x="654" y="216"/>
                  </a:lnTo>
                  <a:lnTo>
                    <a:pt x="648" y="246"/>
                  </a:lnTo>
                  <a:lnTo>
                    <a:pt x="660" y="246"/>
                  </a:lnTo>
                  <a:lnTo>
                    <a:pt x="666" y="234"/>
                  </a:lnTo>
                  <a:lnTo>
                    <a:pt x="678" y="240"/>
                  </a:lnTo>
                  <a:lnTo>
                    <a:pt x="684" y="228"/>
                  </a:lnTo>
                  <a:lnTo>
                    <a:pt x="690" y="210"/>
                  </a:lnTo>
                  <a:lnTo>
                    <a:pt x="696" y="204"/>
                  </a:lnTo>
                  <a:lnTo>
                    <a:pt x="702" y="204"/>
                  </a:lnTo>
                  <a:lnTo>
                    <a:pt x="708" y="192"/>
                  </a:lnTo>
                  <a:lnTo>
                    <a:pt x="714" y="192"/>
                  </a:lnTo>
                  <a:lnTo>
                    <a:pt x="714" y="186"/>
                  </a:lnTo>
                  <a:lnTo>
                    <a:pt x="726" y="186"/>
                  </a:lnTo>
                  <a:lnTo>
                    <a:pt x="732" y="186"/>
                  </a:lnTo>
                  <a:lnTo>
                    <a:pt x="738" y="186"/>
                  </a:lnTo>
                  <a:lnTo>
                    <a:pt x="744" y="216"/>
                  </a:lnTo>
                  <a:lnTo>
                    <a:pt x="750" y="210"/>
                  </a:lnTo>
                  <a:lnTo>
                    <a:pt x="750" y="204"/>
                  </a:lnTo>
                  <a:lnTo>
                    <a:pt x="756" y="192"/>
                  </a:lnTo>
                  <a:lnTo>
                    <a:pt x="762" y="192"/>
                  </a:lnTo>
                  <a:lnTo>
                    <a:pt x="768" y="192"/>
                  </a:lnTo>
                  <a:lnTo>
                    <a:pt x="780" y="186"/>
                  </a:lnTo>
                  <a:lnTo>
                    <a:pt x="786" y="204"/>
                  </a:lnTo>
                  <a:lnTo>
                    <a:pt x="774" y="210"/>
                  </a:lnTo>
                  <a:lnTo>
                    <a:pt x="774" y="234"/>
                  </a:lnTo>
                  <a:lnTo>
                    <a:pt x="780" y="246"/>
                  </a:lnTo>
                  <a:lnTo>
                    <a:pt x="804" y="264"/>
                  </a:lnTo>
                  <a:lnTo>
                    <a:pt x="816" y="276"/>
                  </a:lnTo>
                  <a:lnTo>
                    <a:pt x="822" y="288"/>
                  </a:lnTo>
                  <a:lnTo>
                    <a:pt x="822" y="312"/>
                  </a:lnTo>
                  <a:lnTo>
                    <a:pt x="816" y="312"/>
                  </a:lnTo>
                  <a:lnTo>
                    <a:pt x="810" y="318"/>
                  </a:lnTo>
                  <a:lnTo>
                    <a:pt x="810" y="348"/>
                  </a:lnTo>
                  <a:lnTo>
                    <a:pt x="816" y="348"/>
                  </a:lnTo>
                  <a:lnTo>
                    <a:pt x="816" y="342"/>
                  </a:lnTo>
                  <a:lnTo>
                    <a:pt x="834" y="342"/>
                  </a:lnTo>
                  <a:lnTo>
                    <a:pt x="834" y="348"/>
                  </a:lnTo>
                  <a:lnTo>
                    <a:pt x="846" y="348"/>
                  </a:lnTo>
                  <a:lnTo>
                    <a:pt x="846" y="342"/>
                  </a:lnTo>
                  <a:lnTo>
                    <a:pt x="882" y="342"/>
                  </a:lnTo>
                  <a:lnTo>
                    <a:pt x="894" y="366"/>
                  </a:lnTo>
                  <a:lnTo>
                    <a:pt x="900" y="372"/>
                  </a:lnTo>
                  <a:lnTo>
                    <a:pt x="906" y="384"/>
                  </a:lnTo>
                  <a:lnTo>
                    <a:pt x="924" y="384"/>
                  </a:lnTo>
                  <a:lnTo>
                    <a:pt x="930" y="372"/>
                  </a:lnTo>
                  <a:lnTo>
                    <a:pt x="936" y="372"/>
                  </a:lnTo>
                  <a:lnTo>
                    <a:pt x="942" y="348"/>
                  </a:lnTo>
                  <a:lnTo>
                    <a:pt x="954" y="348"/>
                  </a:lnTo>
                  <a:lnTo>
                    <a:pt x="954" y="342"/>
                  </a:lnTo>
                  <a:lnTo>
                    <a:pt x="984" y="342"/>
                  </a:lnTo>
                  <a:lnTo>
                    <a:pt x="978" y="390"/>
                  </a:lnTo>
                  <a:lnTo>
                    <a:pt x="984" y="390"/>
                  </a:lnTo>
                  <a:lnTo>
                    <a:pt x="990" y="396"/>
                  </a:lnTo>
                  <a:lnTo>
                    <a:pt x="996" y="396"/>
                  </a:lnTo>
                  <a:lnTo>
                    <a:pt x="1002" y="396"/>
                  </a:lnTo>
                  <a:lnTo>
                    <a:pt x="1002" y="408"/>
                  </a:lnTo>
                  <a:lnTo>
                    <a:pt x="990" y="414"/>
                  </a:lnTo>
                  <a:lnTo>
                    <a:pt x="984" y="426"/>
                  </a:lnTo>
                  <a:lnTo>
                    <a:pt x="990" y="444"/>
                  </a:lnTo>
                  <a:lnTo>
                    <a:pt x="996" y="450"/>
                  </a:lnTo>
                  <a:lnTo>
                    <a:pt x="990" y="462"/>
                  </a:lnTo>
                  <a:lnTo>
                    <a:pt x="990" y="468"/>
                  </a:lnTo>
                  <a:lnTo>
                    <a:pt x="984" y="480"/>
                  </a:lnTo>
                  <a:lnTo>
                    <a:pt x="978" y="486"/>
                  </a:lnTo>
                  <a:lnTo>
                    <a:pt x="972" y="486"/>
                  </a:lnTo>
                  <a:lnTo>
                    <a:pt x="966" y="492"/>
                  </a:lnTo>
                  <a:lnTo>
                    <a:pt x="966" y="498"/>
                  </a:lnTo>
                  <a:lnTo>
                    <a:pt x="954" y="510"/>
                  </a:lnTo>
                  <a:lnTo>
                    <a:pt x="948" y="510"/>
                  </a:lnTo>
                  <a:lnTo>
                    <a:pt x="942" y="516"/>
                  </a:lnTo>
                  <a:lnTo>
                    <a:pt x="936" y="528"/>
                  </a:lnTo>
                  <a:lnTo>
                    <a:pt x="936" y="534"/>
                  </a:lnTo>
                  <a:lnTo>
                    <a:pt x="936" y="546"/>
                  </a:lnTo>
                  <a:lnTo>
                    <a:pt x="936" y="558"/>
                  </a:lnTo>
                  <a:lnTo>
                    <a:pt x="948" y="558"/>
                  </a:lnTo>
                  <a:lnTo>
                    <a:pt x="954" y="558"/>
                  </a:lnTo>
                  <a:lnTo>
                    <a:pt x="996" y="558"/>
                  </a:lnTo>
                  <a:lnTo>
                    <a:pt x="1002" y="570"/>
                  </a:lnTo>
                  <a:lnTo>
                    <a:pt x="996" y="576"/>
                  </a:lnTo>
                  <a:lnTo>
                    <a:pt x="996" y="588"/>
                  </a:lnTo>
                  <a:lnTo>
                    <a:pt x="984" y="588"/>
                  </a:lnTo>
                  <a:lnTo>
                    <a:pt x="990" y="612"/>
                  </a:lnTo>
                  <a:lnTo>
                    <a:pt x="1014" y="606"/>
                  </a:lnTo>
                  <a:lnTo>
                    <a:pt x="1014" y="636"/>
                  </a:lnTo>
                  <a:lnTo>
                    <a:pt x="1014" y="648"/>
                  </a:lnTo>
                  <a:lnTo>
                    <a:pt x="1020" y="648"/>
                  </a:lnTo>
                  <a:lnTo>
                    <a:pt x="1026" y="660"/>
                  </a:lnTo>
                  <a:lnTo>
                    <a:pt x="1038" y="654"/>
                  </a:lnTo>
                  <a:lnTo>
                    <a:pt x="1050" y="654"/>
                  </a:lnTo>
                  <a:lnTo>
                    <a:pt x="1062" y="654"/>
                  </a:lnTo>
                  <a:lnTo>
                    <a:pt x="1068" y="660"/>
                  </a:lnTo>
                  <a:lnTo>
                    <a:pt x="1068" y="678"/>
                  </a:lnTo>
                  <a:lnTo>
                    <a:pt x="1068" y="684"/>
                  </a:lnTo>
                  <a:lnTo>
                    <a:pt x="1062" y="690"/>
                  </a:lnTo>
                  <a:lnTo>
                    <a:pt x="1056" y="696"/>
                  </a:lnTo>
                  <a:lnTo>
                    <a:pt x="1056" y="702"/>
                  </a:lnTo>
                  <a:lnTo>
                    <a:pt x="1038" y="714"/>
                  </a:lnTo>
                  <a:lnTo>
                    <a:pt x="1026" y="720"/>
                  </a:lnTo>
                  <a:lnTo>
                    <a:pt x="1008" y="726"/>
                  </a:lnTo>
                  <a:lnTo>
                    <a:pt x="1008" y="732"/>
                  </a:lnTo>
                  <a:lnTo>
                    <a:pt x="990" y="732"/>
                  </a:lnTo>
                  <a:lnTo>
                    <a:pt x="984" y="744"/>
                  </a:lnTo>
                  <a:lnTo>
                    <a:pt x="990" y="750"/>
                  </a:lnTo>
                  <a:lnTo>
                    <a:pt x="984" y="762"/>
                  </a:lnTo>
                  <a:lnTo>
                    <a:pt x="984" y="768"/>
                  </a:lnTo>
                  <a:lnTo>
                    <a:pt x="984" y="774"/>
                  </a:lnTo>
                  <a:lnTo>
                    <a:pt x="984" y="780"/>
                  </a:lnTo>
                  <a:lnTo>
                    <a:pt x="984" y="786"/>
                  </a:lnTo>
                  <a:lnTo>
                    <a:pt x="984" y="792"/>
                  </a:lnTo>
                  <a:lnTo>
                    <a:pt x="978" y="798"/>
                  </a:lnTo>
                  <a:lnTo>
                    <a:pt x="978" y="80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3" name="Freeform 38">
              <a:extLst>
                <a:ext uri="{FF2B5EF4-FFF2-40B4-BE49-F238E27FC236}">
                  <a16:creationId xmlns:a16="http://schemas.microsoft.com/office/drawing/2014/main" id="{819B99CE-D972-4530-8964-A992C1EC87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2825" y="1634436"/>
              <a:ext cx="959326" cy="959458"/>
            </a:xfrm>
            <a:custGeom>
              <a:avLst/>
              <a:gdLst>
                <a:gd name="T0" fmla="*/ 105 w 1806"/>
                <a:gd name="T1" fmla="*/ 155 h 1806"/>
                <a:gd name="T2" fmla="*/ 103 w 1806"/>
                <a:gd name="T3" fmla="*/ 155 h 1806"/>
                <a:gd name="T4" fmla="*/ 103 w 1806"/>
                <a:gd name="T5" fmla="*/ 150 h 1806"/>
                <a:gd name="T6" fmla="*/ 104 w 1806"/>
                <a:gd name="T7" fmla="*/ 141 h 1806"/>
                <a:gd name="T8" fmla="*/ 104 w 1806"/>
                <a:gd name="T9" fmla="*/ 136 h 1806"/>
                <a:gd name="T10" fmla="*/ 100 w 1806"/>
                <a:gd name="T11" fmla="*/ 131 h 1806"/>
                <a:gd name="T12" fmla="*/ 96 w 1806"/>
                <a:gd name="T13" fmla="*/ 127 h 1806"/>
                <a:gd name="T14" fmla="*/ 91 w 1806"/>
                <a:gd name="T15" fmla="*/ 121 h 1806"/>
                <a:gd name="T16" fmla="*/ 87 w 1806"/>
                <a:gd name="T17" fmla="*/ 120 h 1806"/>
                <a:gd name="T18" fmla="*/ 81 w 1806"/>
                <a:gd name="T19" fmla="*/ 117 h 1806"/>
                <a:gd name="T20" fmla="*/ 65 w 1806"/>
                <a:gd name="T21" fmla="*/ 113 h 1806"/>
                <a:gd name="T22" fmla="*/ 69 w 1806"/>
                <a:gd name="T23" fmla="*/ 105 h 1806"/>
                <a:gd name="T24" fmla="*/ 66 w 1806"/>
                <a:gd name="T25" fmla="*/ 89 h 1806"/>
                <a:gd name="T26" fmla="*/ 63 w 1806"/>
                <a:gd name="T27" fmla="*/ 84 h 1806"/>
                <a:gd name="T28" fmla="*/ 62 w 1806"/>
                <a:gd name="T29" fmla="*/ 74 h 1806"/>
                <a:gd name="T30" fmla="*/ 58 w 1806"/>
                <a:gd name="T31" fmla="*/ 52 h 1806"/>
                <a:gd name="T32" fmla="*/ 53 w 1806"/>
                <a:gd name="T33" fmla="*/ 49 h 1806"/>
                <a:gd name="T34" fmla="*/ 51 w 1806"/>
                <a:gd name="T35" fmla="*/ 36 h 1806"/>
                <a:gd name="T36" fmla="*/ 43 w 1806"/>
                <a:gd name="T37" fmla="*/ 32 h 1806"/>
                <a:gd name="T38" fmla="*/ 33 w 1806"/>
                <a:gd name="T39" fmla="*/ 30 h 1806"/>
                <a:gd name="T40" fmla="*/ 30 w 1806"/>
                <a:gd name="T41" fmla="*/ 21 h 1806"/>
                <a:gd name="T42" fmla="*/ 17 w 1806"/>
                <a:gd name="T43" fmla="*/ 25 h 1806"/>
                <a:gd name="T44" fmla="*/ 4 w 1806"/>
                <a:gd name="T45" fmla="*/ 33 h 1806"/>
                <a:gd name="T46" fmla="*/ 7 w 1806"/>
                <a:gd name="T47" fmla="*/ 26 h 1806"/>
                <a:gd name="T48" fmla="*/ 11 w 1806"/>
                <a:gd name="T49" fmla="*/ 20 h 1806"/>
                <a:gd name="T50" fmla="*/ 18 w 1806"/>
                <a:gd name="T51" fmla="*/ 12 h 1806"/>
                <a:gd name="T52" fmla="*/ 26 w 1806"/>
                <a:gd name="T53" fmla="*/ 8 h 1806"/>
                <a:gd name="T54" fmla="*/ 35 w 1806"/>
                <a:gd name="T55" fmla="*/ 6 h 1806"/>
                <a:gd name="T56" fmla="*/ 44 w 1806"/>
                <a:gd name="T57" fmla="*/ 5 h 1806"/>
                <a:gd name="T58" fmla="*/ 54 w 1806"/>
                <a:gd name="T59" fmla="*/ 2 h 1806"/>
                <a:gd name="T60" fmla="*/ 65 w 1806"/>
                <a:gd name="T61" fmla="*/ 0 h 1806"/>
                <a:gd name="T62" fmla="*/ 76 w 1806"/>
                <a:gd name="T63" fmla="*/ 0 h 1806"/>
                <a:gd name="T64" fmla="*/ 85 w 1806"/>
                <a:gd name="T65" fmla="*/ 0 h 1806"/>
                <a:gd name="T66" fmla="*/ 97 w 1806"/>
                <a:gd name="T67" fmla="*/ 0 h 1806"/>
                <a:gd name="T68" fmla="*/ 108 w 1806"/>
                <a:gd name="T69" fmla="*/ 3 h 1806"/>
                <a:gd name="T70" fmla="*/ 115 w 1806"/>
                <a:gd name="T71" fmla="*/ 5 h 1806"/>
                <a:gd name="T72" fmla="*/ 123 w 1806"/>
                <a:gd name="T73" fmla="*/ 7 h 1806"/>
                <a:gd name="T74" fmla="*/ 133 w 1806"/>
                <a:gd name="T75" fmla="*/ 14 h 1806"/>
                <a:gd name="T76" fmla="*/ 138 w 1806"/>
                <a:gd name="T77" fmla="*/ 16 h 1806"/>
                <a:gd name="T78" fmla="*/ 140 w 1806"/>
                <a:gd name="T79" fmla="*/ 14 h 1806"/>
                <a:gd name="T80" fmla="*/ 145 w 1806"/>
                <a:gd name="T81" fmla="*/ 16 h 1806"/>
                <a:gd name="T82" fmla="*/ 147 w 1806"/>
                <a:gd name="T83" fmla="*/ 16 h 1806"/>
                <a:gd name="T84" fmla="*/ 150 w 1806"/>
                <a:gd name="T85" fmla="*/ 17 h 1806"/>
                <a:gd name="T86" fmla="*/ 152 w 1806"/>
                <a:gd name="T87" fmla="*/ 18 h 1806"/>
                <a:gd name="T88" fmla="*/ 155 w 1806"/>
                <a:gd name="T89" fmla="*/ 37 h 1806"/>
                <a:gd name="T90" fmla="*/ 146 w 1806"/>
                <a:gd name="T91" fmla="*/ 66 h 1806"/>
                <a:gd name="T92" fmla="*/ 143 w 1806"/>
                <a:gd name="T93" fmla="*/ 88 h 1806"/>
                <a:gd name="T94" fmla="*/ 144 w 1806"/>
                <a:gd name="T95" fmla="*/ 98 h 1806"/>
                <a:gd name="T96" fmla="*/ 137 w 1806"/>
                <a:gd name="T97" fmla="*/ 118 h 1806"/>
                <a:gd name="T98" fmla="*/ 132 w 1806"/>
                <a:gd name="T99" fmla="*/ 129 h 1806"/>
                <a:gd name="T100" fmla="*/ 124 w 1806"/>
                <a:gd name="T101" fmla="*/ 135 h 1806"/>
                <a:gd name="T102" fmla="*/ 119 w 1806"/>
                <a:gd name="T103" fmla="*/ 136 h 1806"/>
                <a:gd name="T104" fmla="*/ 116 w 1806"/>
                <a:gd name="T105" fmla="*/ 137 h 1806"/>
                <a:gd name="T106" fmla="*/ 112 w 1806"/>
                <a:gd name="T107" fmla="*/ 139 h 1806"/>
                <a:gd name="T108" fmla="*/ 112 w 1806"/>
                <a:gd name="T109" fmla="*/ 141 h 1806"/>
                <a:gd name="T110" fmla="*/ 116 w 1806"/>
                <a:gd name="T111" fmla="*/ 146 h 1806"/>
                <a:gd name="T112" fmla="*/ 116 w 1806"/>
                <a:gd name="T113" fmla="*/ 151 h 1806"/>
                <a:gd name="T114" fmla="*/ 113 w 1806"/>
                <a:gd name="T115" fmla="*/ 153 h 18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6"/>
                <a:gd name="T175" fmla="*/ 0 h 1806"/>
                <a:gd name="T176" fmla="*/ 1806 w 1806"/>
                <a:gd name="T177" fmla="*/ 1806 h 18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6" h="1806">
                  <a:moveTo>
                    <a:pt x="1260" y="1776"/>
                  </a:moveTo>
                  <a:lnTo>
                    <a:pt x="1254" y="1776"/>
                  </a:lnTo>
                  <a:lnTo>
                    <a:pt x="1248" y="1776"/>
                  </a:lnTo>
                  <a:lnTo>
                    <a:pt x="1242" y="1782"/>
                  </a:lnTo>
                  <a:lnTo>
                    <a:pt x="1236" y="1782"/>
                  </a:lnTo>
                  <a:lnTo>
                    <a:pt x="1230" y="1788"/>
                  </a:lnTo>
                  <a:lnTo>
                    <a:pt x="1224" y="1782"/>
                  </a:lnTo>
                  <a:lnTo>
                    <a:pt x="1218" y="1782"/>
                  </a:lnTo>
                  <a:lnTo>
                    <a:pt x="1218" y="1788"/>
                  </a:lnTo>
                  <a:lnTo>
                    <a:pt x="1212" y="1788"/>
                  </a:lnTo>
                  <a:lnTo>
                    <a:pt x="1206" y="1788"/>
                  </a:lnTo>
                  <a:lnTo>
                    <a:pt x="1206" y="1794"/>
                  </a:lnTo>
                  <a:lnTo>
                    <a:pt x="1200" y="1806"/>
                  </a:lnTo>
                  <a:lnTo>
                    <a:pt x="1194" y="1800"/>
                  </a:lnTo>
                  <a:lnTo>
                    <a:pt x="1194" y="1794"/>
                  </a:lnTo>
                  <a:lnTo>
                    <a:pt x="1194" y="1788"/>
                  </a:lnTo>
                  <a:lnTo>
                    <a:pt x="1188" y="1788"/>
                  </a:lnTo>
                  <a:lnTo>
                    <a:pt x="1188" y="1782"/>
                  </a:lnTo>
                  <a:lnTo>
                    <a:pt x="1188" y="1776"/>
                  </a:lnTo>
                  <a:lnTo>
                    <a:pt x="1194" y="1770"/>
                  </a:lnTo>
                  <a:lnTo>
                    <a:pt x="1194" y="1764"/>
                  </a:lnTo>
                  <a:lnTo>
                    <a:pt x="1194" y="1758"/>
                  </a:lnTo>
                  <a:lnTo>
                    <a:pt x="1194" y="1752"/>
                  </a:lnTo>
                  <a:lnTo>
                    <a:pt x="1200" y="1746"/>
                  </a:lnTo>
                  <a:lnTo>
                    <a:pt x="1200" y="1740"/>
                  </a:lnTo>
                  <a:lnTo>
                    <a:pt x="1200" y="1734"/>
                  </a:lnTo>
                  <a:lnTo>
                    <a:pt x="1188" y="1722"/>
                  </a:lnTo>
                  <a:lnTo>
                    <a:pt x="1188" y="1716"/>
                  </a:lnTo>
                  <a:lnTo>
                    <a:pt x="1194" y="1704"/>
                  </a:lnTo>
                  <a:lnTo>
                    <a:pt x="1194" y="1692"/>
                  </a:lnTo>
                  <a:lnTo>
                    <a:pt x="1200" y="1680"/>
                  </a:lnTo>
                  <a:lnTo>
                    <a:pt x="1200" y="1662"/>
                  </a:lnTo>
                  <a:lnTo>
                    <a:pt x="1200" y="1650"/>
                  </a:lnTo>
                  <a:lnTo>
                    <a:pt x="1206" y="1644"/>
                  </a:lnTo>
                  <a:lnTo>
                    <a:pt x="1206" y="1638"/>
                  </a:lnTo>
                  <a:lnTo>
                    <a:pt x="1206" y="1626"/>
                  </a:lnTo>
                  <a:lnTo>
                    <a:pt x="1206" y="1620"/>
                  </a:lnTo>
                  <a:lnTo>
                    <a:pt x="1206" y="1614"/>
                  </a:lnTo>
                  <a:lnTo>
                    <a:pt x="1200" y="1608"/>
                  </a:lnTo>
                  <a:lnTo>
                    <a:pt x="1200" y="1602"/>
                  </a:lnTo>
                  <a:lnTo>
                    <a:pt x="1200" y="1596"/>
                  </a:lnTo>
                  <a:lnTo>
                    <a:pt x="1200" y="1590"/>
                  </a:lnTo>
                  <a:lnTo>
                    <a:pt x="1200" y="1572"/>
                  </a:lnTo>
                  <a:lnTo>
                    <a:pt x="1200" y="1566"/>
                  </a:lnTo>
                  <a:lnTo>
                    <a:pt x="1200" y="1560"/>
                  </a:lnTo>
                  <a:lnTo>
                    <a:pt x="1194" y="1554"/>
                  </a:lnTo>
                  <a:lnTo>
                    <a:pt x="1188" y="1548"/>
                  </a:lnTo>
                  <a:lnTo>
                    <a:pt x="1188" y="1542"/>
                  </a:lnTo>
                  <a:lnTo>
                    <a:pt x="1176" y="1536"/>
                  </a:lnTo>
                  <a:lnTo>
                    <a:pt x="1176" y="1530"/>
                  </a:lnTo>
                  <a:lnTo>
                    <a:pt x="1170" y="1524"/>
                  </a:lnTo>
                  <a:lnTo>
                    <a:pt x="1170" y="1518"/>
                  </a:lnTo>
                  <a:lnTo>
                    <a:pt x="1164" y="1512"/>
                  </a:lnTo>
                  <a:lnTo>
                    <a:pt x="1158" y="1506"/>
                  </a:lnTo>
                  <a:lnTo>
                    <a:pt x="1152" y="1500"/>
                  </a:lnTo>
                  <a:lnTo>
                    <a:pt x="1146" y="1494"/>
                  </a:lnTo>
                  <a:lnTo>
                    <a:pt x="1140" y="1488"/>
                  </a:lnTo>
                  <a:lnTo>
                    <a:pt x="1134" y="1482"/>
                  </a:lnTo>
                  <a:lnTo>
                    <a:pt x="1128" y="1476"/>
                  </a:lnTo>
                  <a:lnTo>
                    <a:pt x="1122" y="1470"/>
                  </a:lnTo>
                  <a:lnTo>
                    <a:pt x="1116" y="1464"/>
                  </a:lnTo>
                  <a:lnTo>
                    <a:pt x="1110" y="1464"/>
                  </a:lnTo>
                  <a:lnTo>
                    <a:pt x="1104" y="1458"/>
                  </a:lnTo>
                  <a:lnTo>
                    <a:pt x="1098" y="1464"/>
                  </a:lnTo>
                  <a:lnTo>
                    <a:pt x="1092" y="1464"/>
                  </a:lnTo>
                  <a:lnTo>
                    <a:pt x="1086" y="1446"/>
                  </a:lnTo>
                  <a:lnTo>
                    <a:pt x="1086" y="1440"/>
                  </a:lnTo>
                  <a:lnTo>
                    <a:pt x="1080" y="1416"/>
                  </a:lnTo>
                  <a:lnTo>
                    <a:pt x="1068" y="1404"/>
                  </a:lnTo>
                  <a:lnTo>
                    <a:pt x="1062" y="1398"/>
                  </a:lnTo>
                  <a:lnTo>
                    <a:pt x="1056" y="1398"/>
                  </a:lnTo>
                  <a:lnTo>
                    <a:pt x="1050" y="1398"/>
                  </a:lnTo>
                  <a:lnTo>
                    <a:pt x="1044" y="1398"/>
                  </a:lnTo>
                  <a:lnTo>
                    <a:pt x="1044" y="1392"/>
                  </a:lnTo>
                  <a:lnTo>
                    <a:pt x="1038" y="1392"/>
                  </a:lnTo>
                  <a:lnTo>
                    <a:pt x="1032" y="1392"/>
                  </a:lnTo>
                  <a:lnTo>
                    <a:pt x="1020" y="1386"/>
                  </a:lnTo>
                  <a:lnTo>
                    <a:pt x="1014" y="1386"/>
                  </a:lnTo>
                  <a:lnTo>
                    <a:pt x="1014" y="1380"/>
                  </a:lnTo>
                  <a:lnTo>
                    <a:pt x="1008" y="1380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62"/>
                  </a:lnTo>
                  <a:lnTo>
                    <a:pt x="984" y="1356"/>
                  </a:lnTo>
                  <a:lnTo>
                    <a:pt x="978" y="1356"/>
                  </a:lnTo>
                  <a:lnTo>
                    <a:pt x="972" y="1356"/>
                  </a:lnTo>
                  <a:lnTo>
                    <a:pt x="966" y="1356"/>
                  </a:lnTo>
                  <a:lnTo>
                    <a:pt x="966" y="1350"/>
                  </a:lnTo>
                  <a:lnTo>
                    <a:pt x="948" y="1350"/>
                  </a:lnTo>
                  <a:lnTo>
                    <a:pt x="936" y="1344"/>
                  </a:lnTo>
                  <a:lnTo>
                    <a:pt x="930" y="1338"/>
                  </a:lnTo>
                  <a:lnTo>
                    <a:pt x="918" y="1332"/>
                  </a:lnTo>
                  <a:lnTo>
                    <a:pt x="900" y="1326"/>
                  </a:lnTo>
                  <a:lnTo>
                    <a:pt x="864" y="1332"/>
                  </a:lnTo>
                  <a:lnTo>
                    <a:pt x="828" y="1332"/>
                  </a:lnTo>
                  <a:lnTo>
                    <a:pt x="792" y="1314"/>
                  </a:lnTo>
                  <a:lnTo>
                    <a:pt x="780" y="1314"/>
                  </a:lnTo>
                  <a:lnTo>
                    <a:pt x="780" y="1308"/>
                  </a:lnTo>
                  <a:lnTo>
                    <a:pt x="756" y="1296"/>
                  </a:lnTo>
                  <a:lnTo>
                    <a:pt x="756" y="1278"/>
                  </a:lnTo>
                  <a:lnTo>
                    <a:pt x="768" y="1278"/>
                  </a:lnTo>
                  <a:lnTo>
                    <a:pt x="774" y="1272"/>
                  </a:lnTo>
                  <a:lnTo>
                    <a:pt x="780" y="1266"/>
                  </a:lnTo>
                  <a:lnTo>
                    <a:pt x="786" y="1260"/>
                  </a:lnTo>
                  <a:lnTo>
                    <a:pt x="792" y="1254"/>
                  </a:lnTo>
                  <a:lnTo>
                    <a:pt x="798" y="1242"/>
                  </a:lnTo>
                  <a:lnTo>
                    <a:pt x="804" y="1242"/>
                  </a:lnTo>
                  <a:lnTo>
                    <a:pt x="804" y="1206"/>
                  </a:lnTo>
                  <a:lnTo>
                    <a:pt x="804" y="1182"/>
                  </a:lnTo>
                  <a:lnTo>
                    <a:pt x="804" y="1158"/>
                  </a:lnTo>
                  <a:lnTo>
                    <a:pt x="804" y="1134"/>
                  </a:lnTo>
                  <a:lnTo>
                    <a:pt x="798" y="1116"/>
                  </a:lnTo>
                  <a:lnTo>
                    <a:pt x="792" y="1092"/>
                  </a:lnTo>
                  <a:lnTo>
                    <a:pt x="786" y="1062"/>
                  </a:lnTo>
                  <a:lnTo>
                    <a:pt x="768" y="1032"/>
                  </a:lnTo>
                  <a:lnTo>
                    <a:pt x="762" y="1032"/>
                  </a:lnTo>
                  <a:lnTo>
                    <a:pt x="762" y="1020"/>
                  </a:lnTo>
                  <a:lnTo>
                    <a:pt x="762" y="1014"/>
                  </a:lnTo>
                  <a:lnTo>
                    <a:pt x="756" y="1008"/>
                  </a:lnTo>
                  <a:lnTo>
                    <a:pt x="750" y="1002"/>
                  </a:lnTo>
                  <a:lnTo>
                    <a:pt x="738" y="1002"/>
                  </a:lnTo>
                  <a:lnTo>
                    <a:pt x="738" y="990"/>
                  </a:lnTo>
                  <a:lnTo>
                    <a:pt x="726" y="990"/>
                  </a:lnTo>
                  <a:lnTo>
                    <a:pt x="726" y="978"/>
                  </a:lnTo>
                  <a:lnTo>
                    <a:pt x="732" y="972"/>
                  </a:lnTo>
                  <a:lnTo>
                    <a:pt x="732" y="966"/>
                  </a:lnTo>
                  <a:lnTo>
                    <a:pt x="726" y="966"/>
                  </a:lnTo>
                  <a:lnTo>
                    <a:pt x="732" y="948"/>
                  </a:lnTo>
                  <a:lnTo>
                    <a:pt x="726" y="942"/>
                  </a:lnTo>
                  <a:lnTo>
                    <a:pt x="726" y="930"/>
                  </a:lnTo>
                  <a:lnTo>
                    <a:pt x="720" y="924"/>
                  </a:lnTo>
                  <a:lnTo>
                    <a:pt x="714" y="912"/>
                  </a:lnTo>
                  <a:lnTo>
                    <a:pt x="714" y="882"/>
                  </a:lnTo>
                  <a:lnTo>
                    <a:pt x="714" y="870"/>
                  </a:lnTo>
                  <a:lnTo>
                    <a:pt x="714" y="858"/>
                  </a:lnTo>
                  <a:lnTo>
                    <a:pt x="714" y="846"/>
                  </a:lnTo>
                  <a:lnTo>
                    <a:pt x="708" y="822"/>
                  </a:lnTo>
                  <a:lnTo>
                    <a:pt x="702" y="798"/>
                  </a:lnTo>
                  <a:lnTo>
                    <a:pt x="696" y="792"/>
                  </a:lnTo>
                  <a:lnTo>
                    <a:pt x="684" y="726"/>
                  </a:lnTo>
                  <a:lnTo>
                    <a:pt x="678" y="666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66" y="600"/>
                  </a:lnTo>
                  <a:lnTo>
                    <a:pt x="660" y="594"/>
                  </a:lnTo>
                  <a:lnTo>
                    <a:pt x="654" y="594"/>
                  </a:lnTo>
                  <a:lnTo>
                    <a:pt x="636" y="582"/>
                  </a:lnTo>
                  <a:lnTo>
                    <a:pt x="630" y="576"/>
                  </a:lnTo>
                  <a:lnTo>
                    <a:pt x="624" y="576"/>
                  </a:lnTo>
                  <a:lnTo>
                    <a:pt x="618" y="570"/>
                  </a:lnTo>
                  <a:lnTo>
                    <a:pt x="612" y="564"/>
                  </a:lnTo>
                  <a:lnTo>
                    <a:pt x="606" y="558"/>
                  </a:lnTo>
                  <a:lnTo>
                    <a:pt x="606" y="564"/>
                  </a:lnTo>
                  <a:lnTo>
                    <a:pt x="600" y="564"/>
                  </a:lnTo>
                  <a:lnTo>
                    <a:pt x="594" y="558"/>
                  </a:lnTo>
                  <a:lnTo>
                    <a:pt x="594" y="540"/>
                  </a:lnTo>
                  <a:lnTo>
                    <a:pt x="594" y="528"/>
                  </a:lnTo>
                  <a:lnTo>
                    <a:pt x="594" y="516"/>
                  </a:lnTo>
                  <a:lnTo>
                    <a:pt x="594" y="510"/>
                  </a:lnTo>
                  <a:lnTo>
                    <a:pt x="594" y="492"/>
                  </a:lnTo>
                  <a:lnTo>
                    <a:pt x="594" y="456"/>
                  </a:lnTo>
                  <a:lnTo>
                    <a:pt x="588" y="414"/>
                  </a:lnTo>
                  <a:lnTo>
                    <a:pt x="588" y="408"/>
                  </a:lnTo>
                  <a:lnTo>
                    <a:pt x="582" y="396"/>
                  </a:lnTo>
                  <a:lnTo>
                    <a:pt x="582" y="384"/>
                  </a:lnTo>
                  <a:lnTo>
                    <a:pt x="582" y="372"/>
                  </a:lnTo>
                  <a:lnTo>
                    <a:pt x="564" y="372"/>
                  </a:lnTo>
                  <a:lnTo>
                    <a:pt x="552" y="366"/>
                  </a:lnTo>
                  <a:lnTo>
                    <a:pt x="552" y="372"/>
                  </a:lnTo>
                  <a:lnTo>
                    <a:pt x="498" y="372"/>
                  </a:lnTo>
                  <a:lnTo>
                    <a:pt x="498" y="366"/>
                  </a:lnTo>
                  <a:lnTo>
                    <a:pt x="474" y="360"/>
                  </a:lnTo>
                  <a:lnTo>
                    <a:pt x="456" y="354"/>
                  </a:lnTo>
                  <a:lnTo>
                    <a:pt x="438" y="348"/>
                  </a:lnTo>
                  <a:lnTo>
                    <a:pt x="426" y="354"/>
                  </a:lnTo>
                  <a:lnTo>
                    <a:pt x="408" y="360"/>
                  </a:lnTo>
                  <a:lnTo>
                    <a:pt x="378" y="360"/>
                  </a:lnTo>
                  <a:lnTo>
                    <a:pt x="378" y="354"/>
                  </a:lnTo>
                  <a:lnTo>
                    <a:pt x="378" y="348"/>
                  </a:lnTo>
                  <a:lnTo>
                    <a:pt x="378" y="342"/>
                  </a:lnTo>
                  <a:lnTo>
                    <a:pt x="390" y="330"/>
                  </a:lnTo>
                  <a:lnTo>
                    <a:pt x="396" y="312"/>
                  </a:lnTo>
                  <a:lnTo>
                    <a:pt x="396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8"/>
                  </a:lnTo>
                  <a:lnTo>
                    <a:pt x="372" y="234"/>
                  </a:lnTo>
                  <a:lnTo>
                    <a:pt x="354" y="234"/>
                  </a:lnTo>
                  <a:lnTo>
                    <a:pt x="342" y="246"/>
                  </a:lnTo>
                  <a:lnTo>
                    <a:pt x="330" y="252"/>
                  </a:lnTo>
                  <a:lnTo>
                    <a:pt x="318" y="252"/>
                  </a:lnTo>
                  <a:lnTo>
                    <a:pt x="276" y="258"/>
                  </a:lnTo>
                  <a:lnTo>
                    <a:pt x="276" y="264"/>
                  </a:lnTo>
                  <a:lnTo>
                    <a:pt x="252" y="270"/>
                  </a:lnTo>
                  <a:lnTo>
                    <a:pt x="240" y="270"/>
                  </a:lnTo>
                  <a:lnTo>
                    <a:pt x="228" y="276"/>
                  </a:lnTo>
                  <a:lnTo>
                    <a:pt x="210" y="282"/>
                  </a:lnTo>
                  <a:lnTo>
                    <a:pt x="198" y="288"/>
                  </a:lnTo>
                  <a:lnTo>
                    <a:pt x="186" y="294"/>
                  </a:lnTo>
                  <a:lnTo>
                    <a:pt x="174" y="330"/>
                  </a:lnTo>
                  <a:lnTo>
                    <a:pt x="162" y="342"/>
                  </a:lnTo>
                  <a:lnTo>
                    <a:pt x="156" y="354"/>
                  </a:lnTo>
                  <a:lnTo>
                    <a:pt x="150" y="360"/>
                  </a:lnTo>
                  <a:lnTo>
                    <a:pt x="150" y="366"/>
                  </a:lnTo>
                  <a:lnTo>
                    <a:pt x="108" y="372"/>
                  </a:lnTo>
                  <a:lnTo>
                    <a:pt x="60" y="378"/>
                  </a:lnTo>
                  <a:lnTo>
                    <a:pt x="42" y="378"/>
                  </a:lnTo>
                  <a:lnTo>
                    <a:pt x="12" y="378"/>
                  </a:lnTo>
                  <a:lnTo>
                    <a:pt x="6" y="378"/>
                  </a:lnTo>
                  <a:lnTo>
                    <a:pt x="0" y="366"/>
                  </a:lnTo>
                  <a:lnTo>
                    <a:pt x="12" y="360"/>
                  </a:lnTo>
                  <a:lnTo>
                    <a:pt x="24" y="348"/>
                  </a:lnTo>
                  <a:lnTo>
                    <a:pt x="30" y="342"/>
                  </a:lnTo>
                  <a:lnTo>
                    <a:pt x="36" y="330"/>
                  </a:lnTo>
                  <a:lnTo>
                    <a:pt x="72" y="300"/>
                  </a:lnTo>
                  <a:lnTo>
                    <a:pt x="78" y="294"/>
                  </a:lnTo>
                  <a:lnTo>
                    <a:pt x="78" y="288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96" y="270"/>
                  </a:lnTo>
                  <a:lnTo>
                    <a:pt x="102" y="264"/>
                  </a:lnTo>
                  <a:lnTo>
                    <a:pt x="108" y="258"/>
                  </a:lnTo>
                  <a:lnTo>
                    <a:pt x="114" y="246"/>
                  </a:lnTo>
                  <a:lnTo>
                    <a:pt x="120" y="240"/>
                  </a:lnTo>
                  <a:lnTo>
                    <a:pt x="126" y="234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0" y="210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86" y="174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22" y="138"/>
                  </a:lnTo>
                  <a:lnTo>
                    <a:pt x="234" y="132"/>
                  </a:lnTo>
                  <a:lnTo>
                    <a:pt x="246" y="126"/>
                  </a:lnTo>
                  <a:lnTo>
                    <a:pt x="246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88" y="102"/>
                  </a:lnTo>
                  <a:lnTo>
                    <a:pt x="300" y="96"/>
                  </a:lnTo>
                  <a:lnTo>
                    <a:pt x="306" y="90"/>
                  </a:lnTo>
                  <a:lnTo>
                    <a:pt x="318" y="90"/>
                  </a:lnTo>
                  <a:lnTo>
                    <a:pt x="324" y="84"/>
                  </a:lnTo>
                  <a:lnTo>
                    <a:pt x="348" y="72"/>
                  </a:lnTo>
                  <a:lnTo>
                    <a:pt x="354" y="72"/>
                  </a:lnTo>
                  <a:lnTo>
                    <a:pt x="384" y="66"/>
                  </a:lnTo>
                  <a:lnTo>
                    <a:pt x="390" y="66"/>
                  </a:lnTo>
                  <a:lnTo>
                    <a:pt x="396" y="66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66"/>
                  </a:lnTo>
                  <a:lnTo>
                    <a:pt x="438" y="66"/>
                  </a:lnTo>
                  <a:lnTo>
                    <a:pt x="468" y="66"/>
                  </a:lnTo>
                  <a:lnTo>
                    <a:pt x="480" y="66"/>
                  </a:lnTo>
                  <a:lnTo>
                    <a:pt x="486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22" y="60"/>
                  </a:lnTo>
                  <a:lnTo>
                    <a:pt x="534" y="54"/>
                  </a:lnTo>
                  <a:lnTo>
                    <a:pt x="564" y="42"/>
                  </a:lnTo>
                  <a:lnTo>
                    <a:pt x="570" y="42"/>
                  </a:lnTo>
                  <a:lnTo>
                    <a:pt x="582" y="36"/>
                  </a:lnTo>
                  <a:lnTo>
                    <a:pt x="588" y="36"/>
                  </a:lnTo>
                  <a:lnTo>
                    <a:pt x="600" y="30"/>
                  </a:lnTo>
                  <a:lnTo>
                    <a:pt x="606" y="30"/>
                  </a:lnTo>
                  <a:lnTo>
                    <a:pt x="618" y="24"/>
                  </a:lnTo>
                  <a:lnTo>
                    <a:pt x="642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72" y="12"/>
                  </a:lnTo>
                  <a:lnTo>
                    <a:pt x="696" y="12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50" y="6"/>
                  </a:lnTo>
                  <a:lnTo>
                    <a:pt x="768" y="6"/>
                  </a:lnTo>
                  <a:lnTo>
                    <a:pt x="774" y="6"/>
                  </a:lnTo>
                  <a:lnTo>
                    <a:pt x="786" y="6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6" y="6"/>
                  </a:lnTo>
                  <a:lnTo>
                    <a:pt x="846" y="6"/>
                  </a:lnTo>
                  <a:lnTo>
                    <a:pt x="852" y="0"/>
                  </a:lnTo>
                  <a:lnTo>
                    <a:pt x="876" y="0"/>
                  </a:lnTo>
                  <a:lnTo>
                    <a:pt x="876" y="6"/>
                  </a:lnTo>
                  <a:lnTo>
                    <a:pt x="888" y="0"/>
                  </a:lnTo>
                  <a:lnTo>
                    <a:pt x="900" y="0"/>
                  </a:lnTo>
                  <a:lnTo>
                    <a:pt x="906" y="0"/>
                  </a:lnTo>
                  <a:lnTo>
                    <a:pt x="912" y="0"/>
                  </a:lnTo>
                  <a:lnTo>
                    <a:pt x="948" y="0"/>
                  </a:lnTo>
                  <a:lnTo>
                    <a:pt x="954" y="0"/>
                  </a:lnTo>
                  <a:lnTo>
                    <a:pt x="972" y="0"/>
                  </a:lnTo>
                  <a:lnTo>
                    <a:pt x="978" y="0"/>
                  </a:lnTo>
                  <a:lnTo>
                    <a:pt x="996" y="0"/>
                  </a:lnTo>
                  <a:lnTo>
                    <a:pt x="1032" y="0"/>
                  </a:lnTo>
                  <a:lnTo>
                    <a:pt x="1044" y="0"/>
                  </a:lnTo>
                  <a:lnTo>
                    <a:pt x="1050" y="0"/>
                  </a:lnTo>
                  <a:lnTo>
                    <a:pt x="1056" y="6"/>
                  </a:lnTo>
                  <a:lnTo>
                    <a:pt x="1056" y="0"/>
                  </a:lnTo>
                  <a:lnTo>
                    <a:pt x="1074" y="0"/>
                  </a:lnTo>
                  <a:lnTo>
                    <a:pt x="1098" y="6"/>
                  </a:lnTo>
                  <a:lnTo>
                    <a:pt x="1116" y="6"/>
                  </a:lnTo>
                  <a:lnTo>
                    <a:pt x="1140" y="12"/>
                  </a:lnTo>
                  <a:lnTo>
                    <a:pt x="1152" y="12"/>
                  </a:lnTo>
                  <a:lnTo>
                    <a:pt x="1158" y="12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6" y="12"/>
                  </a:lnTo>
                  <a:lnTo>
                    <a:pt x="1194" y="18"/>
                  </a:lnTo>
                  <a:lnTo>
                    <a:pt x="1206" y="18"/>
                  </a:lnTo>
                  <a:lnTo>
                    <a:pt x="1242" y="36"/>
                  </a:lnTo>
                  <a:lnTo>
                    <a:pt x="1248" y="36"/>
                  </a:lnTo>
                  <a:lnTo>
                    <a:pt x="1254" y="36"/>
                  </a:lnTo>
                  <a:lnTo>
                    <a:pt x="1260" y="42"/>
                  </a:lnTo>
                  <a:lnTo>
                    <a:pt x="1272" y="48"/>
                  </a:lnTo>
                  <a:lnTo>
                    <a:pt x="1278" y="48"/>
                  </a:lnTo>
                  <a:lnTo>
                    <a:pt x="1284" y="48"/>
                  </a:lnTo>
                  <a:lnTo>
                    <a:pt x="1290" y="54"/>
                  </a:lnTo>
                  <a:lnTo>
                    <a:pt x="1308" y="60"/>
                  </a:lnTo>
                  <a:lnTo>
                    <a:pt x="1326" y="60"/>
                  </a:lnTo>
                  <a:lnTo>
                    <a:pt x="1338" y="66"/>
                  </a:lnTo>
                  <a:lnTo>
                    <a:pt x="1344" y="66"/>
                  </a:lnTo>
                  <a:lnTo>
                    <a:pt x="1350" y="66"/>
                  </a:lnTo>
                  <a:lnTo>
                    <a:pt x="1356" y="66"/>
                  </a:lnTo>
                  <a:lnTo>
                    <a:pt x="1362" y="72"/>
                  </a:lnTo>
                  <a:lnTo>
                    <a:pt x="1368" y="72"/>
                  </a:lnTo>
                  <a:lnTo>
                    <a:pt x="1380" y="72"/>
                  </a:lnTo>
                  <a:lnTo>
                    <a:pt x="1386" y="72"/>
                  </a:lnTo>
                  <a:lnTo>
                    <a:pt x="1422" y="84"/>
                  </a:lnTo>
                  <a:lnTo>
                    <a:pt x="1428" y="84"/>
                  </a:lnTo>
                  <a:lnTo>
                    <a:pt x="1446" y="90"/>
                  </a:lnTo>
                  <a:lnTo>
                    <a:pt x="1458" y="102"/>
                  </a:lnTo>
                  <a:lnTo>
                    <a:pt x="1494" y="126"/>
                  </a:lnTo>
                  <a:lnTo>
                    <a:pt x="1500" y="132"/>
                  </a:lnTo>
                  <a:lnTo>
                    <a:pt x="1512" y="138"/>
                  </a:lnTo>
                  <a:lnTo>
                    <a:pt x="1512" y="144"/>
                  </a:lnTo>
                  <a:lnTo>
                    <a:pt x="1518" y="150"/>
                  </a:lnTo>
                  <a:lnTo>
                    <a:pt x="1530" y="156"/>
                  </a:lnTo>
                  <a:lnTo>
                    <a:pt x="1530" y="162"/>
                  </a:lnTo>
                  <a:lnTo>
                    <a:pt x="1548" y="168"/>
                  </a:lnTo>
                  <a:lnTo>
                    <a:pt x="1566" y="180"/>
                  </a:lnTo>
                  <a:lnTo>
                    <a:pt x="1578" y="186"/>
                  </a:lnTo>
                  <a:lnTo>
                    <a:pt x="1578" y="180"/>
                  </a:lnTo>
                  <a:lnTo>
                    <a:pt x="1584" y="186"/>
                  </a:lnTo>
                  <a:lnTo>
                    <a:pt x="1584" y="174"/>
                  </a:lnTo>
                  <a:lnTo>
                    <a:pt x="1590" y="174"/>
                  </a:lnTo>
                  <a:lnTo>
                    <a:pt x="1590" y="180"/>
                  </a:lnTo>
                  <a:lnTo>
                    <a:pt x="1596" y="180"/>
                  </a:lnTo>
                  <a:lnTo>
                    <a:pt x="1596" y="174"/>
                  </a:lnTo>
                  <a:lnTo>
                    <a:pt x="1602" y="174"/>
                  </a:lnTo>
                  <a:lnTo>
                    <a:pt x="1608" y="174"/>
                  </a:lnTo>
                  <a:lnTo>
                    <a:pt x="1614" y="180"/>
                  </a:lnTo>
                  <a:lnTo>
                    <a:pt x="1620" y="174"/>
                  </a:lnTo>
                  <a:lnTo>
                    <a:pt x="1614" y="168"/>
                  </a:lnTo>
                  <a:lnTo>
                    <a:pt x="1614" y="162"/>
                  </a:lnTo>
                  <a:lnTo>
                    <a:pt x="1620" y="162"/>
                  </a:lnTo>
                  <a:lnTo>
                    <a:pt x="1626" y="162"/>
                  </a:lnTo>
                  <a:lnTo>
                    <a:pt x="1632" y="162"/>
                  </a:lnTo>
                  <a:lnTo>
                    <a:pt x="1638" y="168"/>
                  </a:lnTo>
                  <a:lnTo>
                    <a:pt x="1644" y="168"/>
                  </a:lnTo>
                  <a:lnTo>
                    <a:pt x="1650" y="174"/>
                  </a:lnTo>
                  <a:lnTo>
                    <a:pt x="1656" y="168"/>
                  </a:lnTo>
                  <a:lnTo>
                    <a:pt x="1668" y="168"/>
                  </a:lnTo>
                  <a:lnTo>
                    <a:pt x="1674" y="174"/>
                  </a:lnTo>
                  <a:lnTo>
                    <a:pt x="1674" y="180"/>
                  </a:lnTo>
                  <a:lnTo>
                    <a:pt x="1674" y="186"/>
                  </a:lnTo>
                  <a:lnTo>
                    <a:pt x="1680" y="186"/>
                  </a:lnTo>
                  <a:lnTo>
                    <a:pt x="1680" y="192"/>
                  </a:lnTo>
                  <a:lnTo>
                    <a:pt x="1686" y="192"/>
                  </a:lnTo>
                  <a:lnTo>
                    <a:pt x="1686" y="186"/>
                  </a:lnTo>
                  <a:lnTo>
                    <a:pt x="1680" y="186"/>
                  </a:lnTo>
                  <a:lnTo>
                    <a:pt x="1686" y="180"/>
                  </a:lnTo>
                  <a:lnTo>
                    <a:pt x="1692" y="180"/>
                  </a:lnTo>
                  <a:lnTo>
                    <a:pt x="1698" y="180"/>
                  </a:lnTo>
                  <a:lnTo>
                    <a:pt x="1704" y="180"/>
                  </a:lnTo>
                  <a:lnTo>
                    <a:pt x="1704" y="186"/>
                  </a:lnTo>
                  <a:lnTo>
                    <a:pt x="1710" y="186"/>
                  </a:lnTo>
                  <a:lnTo>
                    <a:pt x="1716" y="186"/>
                  </a:lnTo>
                  <a:lnTo>
                    <a:pt x="1716" y="192"/>
                  </a:lnTo>
                  <a:lnTo>
                    <a:pt x="1716" y="198"/>
                  </a:lnTo>
                  <a:lnTo>
                    <a:pt x="1722" y="192"/>
                  </a:lnTo>
                  <a:lnTo>
                    <a:pt x="1722" y="186"/>
                  </a:lnTo>
                  <a:lnTo>
                    <a:pt x="1728" y="192"/>
                  </a:lnTo>
                  <a:lnTo>
                    <a:pt x="1734" y="192"/>
                  </a:lnTo>
                  <a:lnTo>
                    <a:pt x="1734" y="186"/>
                  </a:lnTo>
                  <a:lnTo>
                    <a:pt x="1740" y="186"/>
                  </a:lnTo>
                  <a:lnTo>
                    <a:pt x="1740" y="192"/>
                  </a:lnTo>
                  <a:lnTo>
                    <a:pt x="1746" y="192"/>
                  </a:lnTo>
                  <a:lnTo>
                    <a:pt x="1758" y="192"/>
                  </a:lnTo>
                  <a:lnTo>
                    <a:pt x="1764" y="192"/>
                  </a:lnTo>
                  <a:lnTo>
                    <a:pt x="1764" y="198"/>
                  </a:lnTo>
                  <a:lnTo>
                    <a:pt x="1758" y="204"/>
                  </a:lnTo>
                  <a:lnTo>
                    <a:pt x="1752" y="210"/>
                  </a:lnTo>
                  <a:lnTo>
                    <a:pt x="1746" y="216"/>
                  </a:lnTo>
                  <a:lnTo>
                    <a:pt x="1746" y="222"/>
                  </a:lnTo>
                  <a:lnTo>
                    <a:pt x="1734" y="228"/>
                  </a:lnTo>
                  <a:lnTo>
                    <a:pt x="1734" y="234"/>
                  </a:lnTo>
                  <a:lnTo>
                    <a:pt x="1734" y="258"/>
                  </a:lnTo>
                  <a:lnTo>
                    <a:pt x="1740" y="330"/>
                  </a:lnTo>
                  <a:lnTo>
                    <a:pt x="1746" y="372"/>
                  </a:lnTo>
                  <a:lnTo>
                    <a:pt x="1788" y="426"/>
                  </a:lnTo>
                  <a:lnTo>
                    <a:pt x="1806" y="438"/>
                  </a:lnTo>
                  <a:lnTo>
                    <a:pt x="1794" y="480"/>
                  </a:lnTo>
                  <a:lnTo>
                    <a:pt x="1770" y="516"/>
                  </a:lnTo>
                  <a:lnTo>
                    <a:pt x="1746" y="546"/>
                  </a:lnTo>
                  <a:lnTo>
                    <a:pt x="1716" y="570"/>
                  </a:lnTo>
                  <a:lnTo>
                    <a:pt x="1680" y="594"/>
                  </a:lnTo>
                  <a:lnTo>
                    <a:pt x="1668" y="630"/>
                  </a:lnTo>
                  <a:lnTo>
                    <a:pt x="1680" y="684"/>
                  </a:lnTo>
                  <a:lnTo>
                    <a:pt x="1686" y="756"/>
                  </a:lnTo>
                  <a:lnTo>
                    <a:pt x="1662" y="870"/>
                  </a:lnTo>
                  <a:lnTo>
                    <a:pt x="1656" y="888"/>
                  </a:lnTo>
                  <a:lnTo>
                    <a:pt x="1650" y="972"/>
                  </a:lnTo>
                  <a:lnTo>
                    <a:pt x="1656" y="978"/>
                  </a:lnTo>
                  <a:lnTo>
                    <a:pt x="1650" y="984"/>
                  </a:lnTo>
                  <a:lnTo>
                    <a:pt x="1650" y="990"/>
                  </a:lnTo>
                  <a:lnTo>
                    <a:pt x="1650" y="1002"/>
                  </a:lnTo>
                  <a:lnTo>
                    <a:pt x="1656" y="1008"/>
                  </a:lnTo>
                  <a:lnTo>
                    <a:pt x="1656" y="1014"/>
                  </a:lnTo>
                  <a:lnTo>
                    <a:pt x="1662" y="1026"/>
                  </a:lnTo>
                  <a:lnTo>
                    <a:pt x="1650" y="1032"/>
                  </a:lnTo>
                  <a:lnTo>
                    <a:pt x="1638" y="1044"/>
                  </a:lnTo>
                  <a:lnTo>
                    <a:pt x="1626" y="1080"/>
                  </a:lnTo>
                  <a:lnTo>
                    <a:pt x="1614" y="1116"/>
                  </a:lnTo>
                  <a:lnTo>
                    <a:pt x="1614" y="1128"/>
                  </a:lnTo>
                  <a:lnTo>
                    <a:pt x="1626" y="1134"/>
                  </a:lnTo>
                  <a:lnTo>
                    <a:pt x="1644" y="1134"/>
                  </a:lnTo>
                  <a:lnTo>
                    <a:pt x="1662" y="1134"/>
                  </a:lnTo>
                  <a:lnTo>
                    <a:pt x="1680" y="1140"/>
                  </a:lnTo>
                  <a:lnTo>
                    <a:pt x="1698" y="1170"/>
                  </a:lnTo>
                  <a:lnTo>
                    <a:pt x="1704" y="1194"/>
                  </a:lnTo>
                  <a:lnTo>
                    <a:pt x="1692" y="1206"/>
                  </a:lnTo>
                  <a:lnTo>
                    <a:pt x="1662" y="1242"/>
                  </a:lnTo>
                  <a:lnTo>
                    <a:pt x="1632" y="1266"/>
                  </a:lnTo>
                  <a:lnTo>
                    <a:pt x="1620" y="1314"/>
                  </a:lnTo>
                  <a:lnTo>
                    <a:pt x="1584" y="1356"/>
                  </a:lnTo>
                  <a:lnTo>
                    <a:pt x="1578" y="1356"/>
                  </a:lnTo>
                  <a:lnTo>
                    <a:pt x="1578" y="1362"/>
                  </a:lnTo>
                  <a:lnTo>
                    <a:pt x="1572" y="1410"/>
                  </a:lnTo>
                  <a:lnTo>
                    <a:pt x="1584" y="1452"/>
                  </a:lnTo>
                  <a:lnTo>
                    <a:pt x="1608" y="1476"/>
                  </a:lnTo>
                  <a:lnTo>
                    <a:pt x="1596" y="1476"/>
                  </a:lnTo>
                  <a:lnTo>
                    <a:pt x="1584" y="1482"/>
                  </a:lnTo>
                  <a:lnTo>
                    <a:pt x="1560" y="1482"/>
                  </a:lnTo>
                  <a:lnTo>
                    <a:pt x="1536" y="1482"/>
                  </a:lnTo>
                  <a:lnTo>
                    <a:pt x="1524" y="1482"/>
                  </a:lnTo>
                  <a:lnTo>
                    <a:pt x="1506" y="1500"/>
                  </a:lnTo>
                  <a:lnTo>
                    <a:pt x="1482" y="1530"/>
                  </a:lnTo>
                  <a:lnTo>
                    <a:pt x="1452" y="1542"/>
                  </a:lnTo>
                  <a:lnTo>
                    <a:pt x="1446" y="1542"/>
                  </a:lnTo>
                  <a:lnTo>
                    <a:pt x="1440" y="1542"/>
                  </a:lnTo>
                  <a:lnTo>
                    <a:pt x="1440" y="1548"/>
                  </a:lnTo>
                  <a:lnTo>
                    <a:pt x="1434" y="1548"/>
                  </a:lnTo>
                  <a:lnTo>
                    <a:pt x="1428" y="1548"/>
                  </a:lnTo>
                  <a:lnTo>
                    <a:pt x="1428" y="1554"/>
                  </a:lnTo>
                  <a:lnTo>
                    <a:pt x="1422" y="1560"/>
                  </a:lnTo>
                  <a:lnTo>
                    <a:pt x="1416" y="1560"/>
                  </a:lnTo>
                  <a:lnTo>
                    <a:pt x="1410" y="1566"/>
                  </a:lnTo>
                  <a:lnTo>
                    <a:pt x="1410" y="1560"/>
                  </a:lnTo>
                  <a:lnTo>
                    <a:pt x="1404" y="1560"/>
                  </a:lnTo>
                  <a:lnTo>
                    <a:pt x="1392" y="1560"/>
                  </a:lnTo>
                  <a:lnTo>
                    <a:pt x="1386" y="1560"/>
                  </a:lnTo>
                  <a:lnTo>
                    <a:pt x="1380" y="1566"/>
                  </a:lnTo>
                  <a:lnTo>
                    <a:pt x="1374" y="1560"/>
                  </a:lnTo>
                  <a:lnTo>
                    <a:pt x="1368" y="1566"/>
                  </a:lnTo>
                  <a:lnTo>
                    <a:pt x="1362" y="1566"/>
                  </a:lnTo>
                  <a:lnTo>
                    <a:pt x="1362" y="1572"/>
                  </a:lnTo>
                  <a:lnTo>
                    <a:pt x="1356" y="1572"/>
                  </a:lnTo>
                  <a:lnTo>
                    <a:pt x="1356" y="1578"/>
                  </a:lnTo>
                  <a:lnTo>
                    <a:pt x="1350" y="1578"/>
                  </a:lnTo>
                  <a:lnTo>
                    <a:pt x="1350" y="1572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32" y="1584"/>
                  </a:lnTo>
                  <a:lnTo>
                    <a:pt x="1326" y="1590"/>
                  </a:lnTo>
                  <a:lnTo>
                    <a:pt x="1320" y="1584"/>
                  </a:lnTo>
                  <a:lnTo>
                    <a:pt x="1314" y="1590"/>
                  </a:lnTo>
                  <a:lnTo>
                    <a:pt x="1308" y="1596"/>
                  </a:lnTo>
                  <a:lnTo>
                    <a:pt x="1302" y="1596"/>
                  </a:lnTo>
                  <a:lnTo>
                    <a:pt x="1296" y="1596"/>
                  </a:lnTo>
                  <a:lnTo>
                    <a:pt x="1290" y="1596"/>
                  </a:lnTo>
                  <a:lnTo>
                    <a:pt x="1284" y="1596"/>
                  </a:lnTo>
                  <a:lnTo>
                    <a:pt x="1278" y="1602"/>
                  </a:lnTo>
                  <a:lnTo>
                    <a:pt x="1266" y="1602"/>
                  </a:lnTo>
                  <a:lnTo>
                    <a:pt x="1272" y="1608"/>
                  </a:lnTo>
                  <a:lnTo>
                    <a:pt x="1278" y="1608"/>
                  </a:lnTo>
                  <a:lnTo>
                    <a:pt x="1284" y="1608"/>
                  </a:lnTo>
                  <a:lnTo>
                    <a:pt x="1290" y="1614"/>
                  </a:lnTo>
                  <a:lnTo>
                    <a:pt x="1296" y="1620"/>
                  </a:lnTo>
                  <a:lnTo>
                    <a:pt x="1302" y="1626"/>
                  </a:lnTo>
                  <a:lnTo>
                    <a:pt x="1308" y="1632"/>
                  </a:lnTo>
                  <a:lnTo>
                    <a:pt x="1314" y="1638"/>
                  </a:lnTo>
                  <a:lnTo>
                    <a:pt x="1314" y="1644"/>
                  </a:lnTo>
                  <a:lnTo>
                    <a:pt x="1320" y="1644"/>
                  </a:lnTo>
                  <a:lnTo>
                    <a:pt x="1320" y="1650"/>
                  </a:lnTo>
                  <a:lnTo>
                    <a:pt x="1326" y="1656"/>
                  </a:lnTo>
                  <a:lnTo>
                    <a:pt x="1332" y="1668"/>
                  </a:lnTo>
                  <a:lnTo>
                    <a:pt x="1338" y="1680"/>
                  </a:lnTo>
                  <a:lnTo>
                    <a:pt x="1338" y="1698"/>
                  </a:lnTo>
                  <a:lnTo>
                    <a:pt x="1350" y="1710"/>
                  </a:lnTo>
                  <a:lnTo>
                    <a:pt x="1350" y="1716"/>
                  </a:lnTo>
                  <a:lnTo>
                    <a:pt x="1350" y="1722"/>
                  </a:lnTo>
                  <a:lnTo>
                    <a:pt x="1350" y="1728"/>
                  </a:lnTo>
                  <a:lnTo>
                    <a:pt x="1356" y="1728"/>
                  </a:lnTo>
                  <a:lnTo>
                    <a:pt x="1356" y="1734"/>
                  </a:lnTo>
                  <a:lnTo>
                    <a:pt x="1350" y="1734"/>
                  </a:lnTo>
                  <a:lnTo>
                    <a:pt x="1344" y="1740"/>
                  </a:lnTo>
                  <a:lnTo>
                    <a:pt x="1338" y="1740"/>
                  </a:lnTo>
                  <a:lnTo>
                    <a:pt x="1332" y="1746"/>
                  </a:lnTo>
                  <a:lnTo>
                    <a:pt x="1326" y="1746"/>
                  </a:lnTo>
                  <a:lnTo>
                    <a:pt x="1326" y="1752"/>
                  </a:lnTo>
                  <a:lnTo>
                    <a:pt x="1320" y="1752"/>
                  </a:lnTo>
                  <a:lnTo>
                    <a:pt x="1320" y="1758"/>
                  </a:lnTo>
                  <a:lnTo>
                    <a:pt x="1314" y="1758"/>
                  </a:lnTo>
                  <a:lnTo>
                    <a:pt x="1308" y="1758"/>
                  </a:lnTo>
                  <a:lnTo>
                    <a:pt x="1302" y="1758"/>
                  </a:lnTo>
                  <a:lnTo>
                    <a:pt x="1296" y="1758"/>
                  </a:lnTo>
                  <a:lnTo>
                    <a:pt x="1290" y="1764"/>
                  </a:lnTo>
                  <a:lnTo>
                    <a:pt x="1284" y="1770"/>
                  </a:lnTo>
                  <a:lnTo>
                    <a:pt x="1278" y="1770"/>
                  </a:lnTo>
                  <a:lnTo>
                    <a:pt x="1272" y="1770"/>
                  </a:lnTo>
                  <a:lnTo>
                    <a:pt x="1266" y="1770"/>
                  </a:lnTo>
                  <a:lnTo>
                    <a:pt x="1266" y="1776"/>
                  </a:lnTo>
                  <a:lnTo>
                    <a:pt x="1260" y="1776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4" name="Freeform 39">
              <a:extLst>
                <a:ext uri="{FF2B5EF4-FFF2-40B4-BE49-F238E27FC236}">
                  <a16:creationId xmlns:a16="http://schemas.microsoft.com/office/drawing/2014/main" id="{E01CDA8B-32C7-421A-B23E-968CAC7F78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2974" y="1759680"/>
              <a:ext cx="825155" cy="700024"/>
            </a:xfrm>
            <a:custGeom>
              <a:avLst/>
              <a:gdLst>
                <a:gd name="T0" fmla="*/ 60 w 1554"/>
                <a:gd name="T1" fmla="*/ 86 h 1320"/>
                <a:gd name="T2" fmla="*/ 66 w 1554"/>
                <a:gd name="T3" fmla="*/ 80 h 1320"/>
                <a:gd name="T4" fmla="*/ 61 w 1554"/>
                <a:gd name="T5" fmla="*/ 73 h 1320"/>
                <a:gd name="T6" fmla="*/ 57 w 1554"/>
                <a:gd name="T7" fmla="*/ 67 h 1320"/>
                <a:gd name="T8" fmla="*/ 60 w 1554"/>
                <a:gd name="T9" fmla="*/ 59 h 1320"/>
                <a:gd name="T10" fmla="*/ 56 w 1554"/>
                <a:gd name="T11" fmla="*/ 55 h 1320"/>
                <a:gd name="T12" fmla="*/ 45 w 1554"/>
                <a:gd name="T13" fmla="*/ 53 h 1320"/>
                <a:gd name="T14" fmla="*/ 42 w 1554"/>
                <a:gd name="T15" fmla="*/ 41 h 1320"/>
                <a:gd name="T16" fmla="*/ 37 w 1554"/>
                <a:gd name="T17" fmla="*/ 39 h 1320"/>
                <a:gd name="T18" fmla="*/ 31 w 1554"/>
                <a:gd name="T19" fmla="*/ 44 h 1320"/>
                <a:gd name="T20" fmla="*/ 37 w 1554"/>
                <a:gd name="T21" fmla="*/ 35 h 1320"/>
                <a:gd name="T22" fmla="*/ 30 w 1554"/>
                <a:gd name="T23" fmla="*/ 23 h 1320"/>
                <a:gd name="T24" fmla="*/ 21 w 1554"/>
                <a:gd name="T25" fmla="*/ 23 h 1320"/>
                <a:gd name="T26" fmla="*/ 15 w 1554"/>
                <a:gd name="T27" fmla="*/ 27 h 1320"/>
                <a:gd name="T28" fmla="*/ 11 w 1554"/>
                <a:gd name="T29" fmla="*/ 32 h 1320"/>
                <a:gd name="T30" fmla="*/ 6 w 1554"/>
                <a:gd name="T31" fmla="*/ 22 h 1320"/>
                <a:gd name="T32" fmla="*/ 3 w 1554"/>
                <a:gd name="T33" fmla="*/ 11 h 1320"/>
                <a:gd name="T34" fmla="*/ 24 w 1554"/>
                <a:gd name="T35" fmla="*/ 12 h 1320"/>
                <a:gd name="T36" fmla="*/ 33 w 1554"/>
                <a:gd name="T37" fmla="*/ 19 h 1320"/>
                <a:gd name="T38" fmla="*/ 49 w 1554"/>
                <a:gd name="T39" fmla="*/ 12 h 1320"/>
                <a:gd name="T40" fmla="*/ 58 w 1554"/>
                <a:gd name="T41" fmla="*/ 10 h 1320"/>
                <a:gd name="T42" fmla="*/ 68 w 1554"/>
                <a:gd name="T43" fmla="*/ 11 h 1320"/>
                <a:gd name="T44" fmla="*/ 79 w 1554"/>
                <a:gd name="T45" fmla="*/ 12 h 1320"/>
                <a:gd name="T46" fmla="*/ 96 w 1554"/>
                <a:gd name="T47" fmla="*/ 11 h 1320"/>
                <a:gd name="T48" fmla="*/ 107 w 1554"/>
                <a:gd name="T49" fmla="*/ 2 h 1320"/>
                <a:gd name="T50" fmla="*/ 117 w 1554"/>
                <a:gd name="T51" fmla="*/ 8 h 1320"/>
                <a:gd name="T52" fmla="*/ 126 w 1554"/>
                <a:gd name="T53" fmla="*/ 12 h 1320"/>
                <a:gd name="T54" fmla="*/ 134 w 1554"/>
                <a:gd name="T55" fmla="*/ 24 h 1320"/>
                <a:gd name="T56" fmla="*/ 133 w 1554"/>
                <a:gd name="T57" fmla="*/ 29 h 1320"/>
                <a:gd name="T58" fmla="*/ 129 w 1554"/>
                <a:gd name="T59" fmla="*/ 31 h 1320"/>
                <a:gd name="T60" fmla="*/ 125 w 1554"/>
                <a:gd name="T61" fmla="*/ 32 h 1320"/>
                <a:gd name="T62" fmla="*/ 115 w 1554"/>
                <a:gd name="T63" fmla="*/ 34 h 1320"/>
                <a:gd name="T64" fmla="*/ 113 w 1554"/>
                <a:gd name="T65" fmla="*/ 44 h 1320"/>
                <a:gd name="T66" fmla="*/ 111 w 1554"/>
                <a:gd name="T67" fmla="*/ 54 h 1320"/>
                <a:gd name="T68" fmla="*/ 107 w 1554"/>
                <a:gd name="T69" fmla="*/ 56 h 1320"/>
                <a:gd name="T70" fmla="*/ 102 w 1554"/>
                <a:gd name="T71" fmla="*/ 58 h 1320"/>
                <a:gd name="T72" fmla="*/ 99 w 1554"/>
                <a:gd name="T73" fmla="*/ 60 h 1320"/>
                <a:gd name="T74" fmla="*/ 93 w 1554"/>
                <a:gd name="T75" fmla="*/ 62 h 1320"/>
                <a:gd name="T76" fmla="*/ 87 w 1554"/>
                <a:gd name="T77" fmla="*/ 64 h 1320"/>
                <a:gd name="T78" fmla="*/ 84 w 1554"/>
                <a:gd name="T79" fmla="*/ 65 h 1320"/>
                <a:gd name="T80" fmla="*/ 81 w 1554"/>
                <a:gd name="T81" fmla="*/ 69 h 1320"/>
                <a:gd name="T82" fmla="*/ 83 w 1554"/>
                <a:gd name="T83" fmla="*/ 72 h 1320"/>
                <a:gd name="T84" fmla="*/ 92 w 1554"/>
                <a:gd name="T85" fmla="*/ 73 h 1320"/>
                <a:gd name="T86" fmla="*/ 93 w 1554"/>
                <a:gd name="T87" fmla="*/ 87 h 1320"/>
                <a:gd name="T88" fmla="*/ 104 w 1554"/>
                <a:gd name="T89" fmla="*/ 98 h 1320"/>
                <a:gd name="T90" fmla="*/ 108 w 1554"/>
                <a:gd name="T91" fmla="*/ 98 h 1320"/>
                <a:gd name="T92" fmla="*/ 112 w 1554"/>
                <a:gd name="T93" fmla="*/ 100 h 1320"/>
                <a:gd name="T94" fmla="*/ 118 w 1554"/>
                <a:gd name="T95" fmla="*/ 100 h 1320"/>
                <a:gd name="T96" fmla="*/ 122 w 1554"/>
                <a:gd name="T97" fmla="*/ 102 h 1320"/>
                <a:gd name="T98" fmla="*/ 118 w 1554"/>
                <a:gd name="T99" fmla="*/ 105 h 1320"/>
                <a:gd name="T100" fmla="*/ 114 w 1554"/>
                <a:gd name="T101" fmla="*/ 107 h 1320"/>
                <a:gd name="T102" fmla="*/ 113 w 1554"/>
                <a:gd name="T103" fmla="*/ 113 h 1320"/>
                <a:gd name="T104" fmla="*/ 104 w 1554"/>
                <a:gd name="T105" fmla="*/ 113 h 1320"/>
                <a:gd name="T106" fmla="*/ 93 w 1554"/>
                <a:gd name="T107" fmla="*/ 109 h 1320"/>
                <a:gd name="T108" fmla="*/ 96 w 1554"/>
                <a:gd name="T109" fmla="*/ 103 h 1320"/>
                <a:gd name="T110" fmla="*/ 95 w 1554"/>
                <a:gd name="T111" fmla="*/ 97 h 1320"/>
                <a:gd name="T112" fmla="*/ 87 w 1554"/>
                <a:gd name="T113" fmla="*/ 98 h 1320"/>
                <a:gd name="T114" fmla="*/ 81 w 1554"/>
                <a:gd name="T115" fmla="*/ 98 h 1320"/>
                <a:gd name="T116" fmla="*/ 78 w 1554"/>
                <a:gd name="T117" fmla="*/ 93 h 1320"/>
                <a:gd name="T118" fmla="*/ 65 w 1554"/>
                <a:gd name="T119" fmla="*/ 92 h 1320"/>
                <a:gd name="T120" fmla="*/ 59 w 1554"/>
                <a:gd name="T121" fmla="*/ 92 h 13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54"/>
                <a:gd name="T184" fmla="*/ 0 h 1320"/>
                <a:gd name="T185" fmla="*/ 1554 w 1554"/>
                <a:gd name="T186" fmla="*/ 1320 h 132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54" h="1320">
                  <a:moveTo>
                    <a:pt x="684" y="1068"/>
                  </a:moveTo>
                  <a:lnTo>
                    <a:pt x="684" y="1062"/>
                  </a:lnTo>
                  <a:lnTo>
                    <a:pt x="690" y="1056"/>
                  </a:lnTo>
                  <a:lnTo>
                    <a:pt x="690" y="1050"/>
                  </a:lnTo>
                  <a:lnTo>
                    <a:pt x="690" y="1044"/>
                  </a:lnTo>
                  <a:lnTo>
                    <a:pt x="690" y="1038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14"/>
                  </a:lnTo>
                  <a:lnTo>
                    <a:pt x="690" y="1008"/>
                  </a:lnTo>
                  <a:lnTo>
                    <a:pt x="696" y="996"/>
                  </a:lnTo>
                  <a:lnTo>
                    <a:pt x="714" y="996"/>
                  </a:lnTo>
                  <a:lnTo>
                    <a:pt x="714" y="990"/>
                  </a:lnTo>
                  <a:lnTo>
                    <a:pt x="732" y="984"/>
                  </a:lnTo>
                  <a:lnTo>
                    <a:pt x="744" y="978"/>
                  </a:lnTo>
                  <a:lnTo>
                    <a:pt x="762" y="966"/>
                  </a:lnTo>
                  <a:lnTo>
                    <a:pt x="762" y="960"/>
                  </a:lnTo>
                  <a:lnTo>
                    <a:pt x="768" y="954"/>
                  </a:lnTo>
                  <a:lnTo>
                    <a:pt x="774" y="948"/>
                  </a:lnTo>
                  <a:lnTo>
                    <a:pt x="774" y="942"/>
                  </a:lnTo>
                  <a:lnTo>
                    <a:pt x="774" y="924"/>
                  </a:lnTo>
                  <a:lnTo>
                    <a:pt x="768" y="918"/>
                  </a:lnTo>
                  <a:lnTo>
                    <a:pt x="756" y="918"/>
                  </a:lnTo>
                  <a:lnTo>
                    <a:pt x="744" y="918"/>
                  </a:lnTo>
                  <a:lnTo>
                    <a:pt x="732" y="924"/>
                  </a:lnTo>
                  <a:lnTo>
                    <a:pt x="726" y="912"/>
                  </a:lnTo>
                  <a:lnTo>
                    <a:pt x="720" y="912"/>
                  </a:lnTo>
                  <a:lnTo>
                    <a:pt x="720" y="900"/>
                  </a:lnTo>
                  <a:lnTo>
                    <a:pt x="720" y="870"/>
                  </a:lnTo>
                  <a:lnTo>
                    <a:pt x="696" y="876"/>
                  </a:lnTo>
                  <a:lnTo>
                    <a:pt x="690" y="852"/>
                  </a:lnTo>
                  <a:lnTo>
                    <a:pt x="702" y="852"/>
                  </a:lnTo>
                  <a:lnTo>
                    <a:pt x="702" y="840"/>
                  </a:lnTo>
                  <a:lnTo>
                    <a:pt x="708" y="834"/>
                  </a:lnTo>
                  <a:lnTo>
                    <a:pt x="702" y="822"/>
                  </a:lnTo>
                  <a:lnTo>
                    <a:pt x="660" y="822"/>
                  </a:lnTo>
                  <a:lnTo>
                    <a:pt x="654" y="822"/>
                  </a:lnTo>
                  <a:lnTo>
                    <a:pt x="642" y="822"/>
                  </a:lnTo>
                  <a:lnTo>
                    <a:pt x="642" y="810"/>
                  </a:lnTo>
                  <a:lnTo>
                    <a:pt x="642" y="798"/>
                  </a:lnTo>
                  <a:lnTo>
                    <a:pt x="642" y="792"/>
                  </a:lnTo>
                  <a:lnTo>
                    <a:pt x="648" y="780"/>
                  </a:lnTo>
                  <a:lnTo>
                    <a:pt x="654" y="774"/>
                  </a:lnTo>
                  <a:lnTo>
                    <a:pt x="660" y="774"/>
                  </a:lnTo>
                  <a:lnTo>
                    <a:pt x="672" y="762"/>
                  </a:lnTo>
                  <a:lnTo>
                    <a:pt x="672" y="756"/>
                  </a:lnTo>
                  <a:lnTo>
                    <a:pt x="678" y="750"/>
                  </a:lnTo>
                  <a:lnTo>
                    <a:pt x="684" y="750"/>
                  </a:lnTo>
                  <a:lnTo>
                    <a:pt x="690" y="744"/>
                  </a:lnTo>
                  <a:lnTo>
                    <a:pt x="696" y="732"/>
                  </a:lnTo>
                  <a:lnTo>
                    <a:pt x="696" y="726"/>
                  </a:lnTo>
                  <a:lnTo>
                    <a:pt x="702" y="714"/>
                  </a:lnTo>
                  <a:lnTo>
                    <a:pt x="696" y="708"/>
                  </a:lnTo>
                  <a:lnTo>
                    <a:pt x="690" y="690"/>
                  </a:lnTo>
                  <a:lnTo>
                    <a:pt x="696" y="678"/>
                  </a:lnTo>
                  <a:lnTo>
                    <a:pt x="708" y="672"/>
                  </a:lnTo>
                  <a:lnTo>
                    <a:pt x="708" y="660"/>
                  </a:lnTo>
                  <a:lnTo>
                    <a:pt x="702" y="660"/>
                  </a:lnTo>
                  <a:lnTo>
                    <a:pt x="696" y="660"/>
                  </a:lnTo>
                  <a:lnTo>
                    <a:pt x="690" y="654"/>
                  </a:lnTo>
                  <a:lnTo>
                    <a:pt x="684" y="654"/>
                  </a:lnTo>
                  <a:lnTo>
                    <a:pt x="690" y="606"/>
                  </a:lnTo>
                  <a:lnTo>
                    <a:pt x="660" y="606"/>
                  </a:lnTo>
                  <a:lnTo>
                    <a:pt x="660" y="612"/>
                  </a:lnTo>
                  <a:lnTo>
                    <a:pt x="648" y="612"/>
                  </a:lnTo>
                  <a:lnTo>
                    <a:pt x="642" y="636"/>
                  </a:lnTo>
                  <a:lnTo>
                    <a:pt x="636" y="636"/>
                  </a:lnTo>
                  <a:lnTo>
                    <a:pt x="630" y="648"/>
                  </a:lnTo>
                  <a:lnTo>
                    <a:pt x="612" y="648"/>
                  </a:lnTo>
                  <a:lnTo>
                    <a:pt x="606" y="636"/>
                  </a:lnTo>
                  <a:lnTo>
                    <a:pt x="600" y="630"/>
                  </a:lnTo>
                  <a:lnTo>
                    <a:pt x="588" y="606"/>
                  </a:lnTo>
                  <a:lnTo>
                    <a:pt x="552" y="606"/>
                  </a:lnTo>
                  <a:lnTo>
                    <a:pt x="552" y="612"/>
                  </a:lnTo>
                  <a:lnTo>
                    <a:pt x="540" y="612"/>
                  </a:lnTo>
                  <a:lnTo>
                    <a:pt x="540" y="606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16" y="612"/>
                  </a:lnTo>
                  <a:lnTo>
                    <a:pt x="516" y="582"/>
                  </a:lnTo>
                  <a:lnTo>
                    <a:pt x="522" y="576"/>
                  </a:lnTo>
                  <a:lnTo>
                    <a:pt x="528" y="576"/>
                  </a:lnTo>
                  <a:lnTo>
                    <a:pt x="528" y="552"/>
                  </a:lnTo>
                  <a:lnTo>
                    <a:pt x="522" y="540"/>
                  </a:lnTo>
                  <a:lnTo>
                    <a:pt x="510" y="528"/>
                  </a:lnTo>
                  <a:lnTo>
                    <a:pt x="486" y="510"/>
                  </a:lnTo>
                  <a:lnTo>
                    <a:pt x="480" y="498"/>
                  </a:lnTo>
                  <a:lnTo>
                    <a:pt x="480" y="474"/>
                  </a:lnTo>
                  <a:lnTo>
                    <a:pt x="492" y="468"/>
                  </a:lnTo>
                  <a:lnTo>
                    <a:pt x="486" y="450"/>
                  </a:lnTo>
                  <a:lnTo>
                    <a:pt x="474" y="456"/>
                  </a:lnTo>
                  <a:lnTo>
                    <a:pt x="468" y="456"/>
                  </a:lnTo>
                  <a:lnTo>
                    <a:pt x="462" y="456"/>
                  </a:lnTo>
                  <a:lnTo>
                    <a:pt x="456" y="468"/>
                  </a:lnTo>
                  <a:lnTo>
                    <a:pt x="456" y="474"/>
                  </a:lnTo>
                  <a:lnTo>
                    <a:pt x="450" y="480"/>
                  </a:lnTo>
                  <a:lnTo>
                    <a:pt x="444" y="450"/>
                  </a:lnTo>
                  <a:lnTo>
                    <a:pt x="438" y="450"/>
                  </a:lnTo>
                  <a:lnTo>
                    <a:pt x="432" y="450"/>
                  </a:lnTo>
                  <a:lnTo>
                    <a:pt x="420" y="450"/>
                  </a:lnTo>
                  <a:lnTo>
                    <a:pt x="420" y="456"/>
                  </a:lnTo>
                  <a:lnTo>
                    <a:pt x="414" y="456"/>
                  </a:lnTo>
                  <a:lnTo>
                    <a:pt x="408" y="468"/>
                  </a:lnTo>
                  <a:lnTo>
                    <a:pt x="402" y="468"/>
                  </a:lnTo>
                  <a:lnTo>
                    <a:pt x="396" y="474"/>
                  </a:lnTo>
                  <a:lnTo>
                    <a:pt x="390" y="492"/>
                  </a:lnTo>
                  <a:lnTo>
                    <a:pt x="384" y="504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54" y="510"/>
                  </a:lnTo>
                  <a:lnTo>
                    <a:pt x="360" y="480"/>
                  </a:lnTo>
                  <a:lnTo>
                    <a:pt x="360" y="474"/>
                  </a:lnTo>
                  <a:lnTo>
                    <a:pt x="378" y="456"/>
                  </a:lnTo>
                  <a:lnTo>
                    <a:pt x="384" y="450"/>
                  </a:lnTo>
                  <a:lnTo>
                    <a:pt x="396" y="444"/>
                  </a:lnTo>
                  <a:lnTo>
                    <a:pt x="402" y="438"/>
                  </a:lnTo>
                  <a:lnTo>
                    <a:pt x="408" y="438"/>
                  </a:lnTo>
                  <a:lnTo>
                    <a:pt x="408" y="426"/>
                  </a:lnTo>
                  <a:lnTo>
                    <a:pt x="414" y="420"/>
                  </a:lnTo>
                  <a:lnTo>
                    <a:pt x="426" y="420"/>
                  </a:lnTo>
                  <a:lnTo>
                    <a:pt x="426" y="408"/>
                  </a:lnTo>
                  <a:lnTo>
                    <a:pt x="420" y="390"/>
                  </a:lnTo>
                  <a:lnTo>
                    <a:pt x="408" y="384"/>
                  </a:lnTo>
                  <a:lnTo>
                    <a:pt x="378" y="378"/>
                  </a:lnTo>
                  <a:lnTo>
                    <a:pt x="354" y="366"/>
                  </a:lnTo>
                  <a:lnTo>
                    <a:pt x="342" y="360"/>
                  </a:lnTo>
                  <a:lnTo>
                    <a:pt x="342" y="348"/>
                  </a:lnTo>
                  <a:lnTo>
                    <a:pt x="336" y="330"/>
                  </a:lnTo>
                  <a:lnTo>
                    <a:pt x="348" y="306"/>
                  </a:lnTo>
                  <a:lnTo>
                    <a:pt x="360" y="294"/>
                  </a:lnTo>
                  <a:lnTo>
                    <a:pt x="360" y="282"/>
                  </a:lnTo>
                  <a:lnTo>
                    <a:pt x="342" y="270"/>
                  </a:lnTo>
                  <a:lnTo>
                    <a:pt x="342" y="264"/>
                  </a:lnTo>
                  <a:lnTo>
                    <a:pt x="330" y="264"/>
                  </a:lnTo>
                  <a:lnTo>
                    <a:pt x="312" y="270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88" y="270"/>
                  </a:lnTo>
                  <a:lnTo>
                    <a:pt x="282" y="270"/>
                  </a:lnTo>
                  <a:lnTo>
                    <a:pt x="276" y="264"/>
                  </a:lnTo>
                  <a:lnTo>
                    <a:pt x="270" y="264"/>
                  </a:lnTo>
                  <a:lnTo>
                    <a:pt x="252" y="270"/>
                  </a:lnTo>
                  <a:lnTo>
                    <a:pt x="246" y="270"/>
                  </a:lnTo>
                  <a:lnTo>
                    <a:pt x="240" y="270"/>
                  </a:lnTo>
                  <a:lnTo>
                    <a:pt x="228" y="270"/>
                  </a:lnTo>
                  <a:lnTo>
                    <a:pt x="216" y="276"/>
                  </a:lnTo>
                  <a:lnTo>
                    <a:pt x="210" y="270"/>
                  </a:lnTo>
                  <a:lnTo>
                    <a:pt x="204" y="270"/>
                  </a:lnTo>
                  <a:lnTo>
                    <a:pt x="198" y="276"/>
                  </a:lnTo>
                  <a:lnTo>
                    <a:pt x="192" y="276"/>
                  </a:lnTo>
                  <a:lnTo>
                    <a:pt x="186" y="282"/>
                  </a:lnTo>
                  <a:lnTo>
                    <a:pt x="180" y="288"/>
                  </a:lnTo>
                  <a:lnTo>
                    <a:pt x="174" y="300"/>
                  </a:lnTo>
                  <a:lnTo>
                    <a:pt x="168" y="306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8" y="330"/>
                  </a:lnTo>
                  <a:lnTo>
                    <a:pt x="162" y="336"/>
                  </a:lnTo>
                  <a:lnTo>
                    <a:pt x="156" y="342"/>
                  </a:lnTo>
                  <a:lnTo>
                    <a:pt x="156" y="348"/>
                  </a:lnTo>
                  <a:lnTo>
                    <a:pt x="156" y="354"/>
                  </a:lnTo>
                  <a:lnTo>
                    <a:pt x="150" y="366"/>
                  </a:lnTo>
                  <a:lnTo>
                    <a:pt x="150" y="372"/>
                  </a:lnTo>
                  <a:lnTo>
                    <a:pt x="144" y="366"/>
                  </a:lnTo>
                  <a:lnTo>
                    <a:pt x="132" y="366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20" y="348"/>
                  </a:lnTo>
                  <a:lnTo>
                    <a:pt x="102" y="330"/>
                  </a:lnTo>
                  <a:lnTo>
                    <a:pt x="96" y="318"/>
                  </a:lnTo>
                  <a:lnTo>
                    <a:pt x="96" y="282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0" y="258"/>
                  </a:lnTo>
                  <a:lnTo>
                    <a:pt x="84" y="252"/>
                  </a:lnTo>
                  <a:lnTo>
                    <a:pt x="66" y="258"/>
                  </a:lnTo>
                  <a:lnTo>
                    <a:pt x="60" y="246"/>
                  </a:lnTo>
                  <a:lnTo>
                    <a:pt x="30" y="252"/>
                  </a:lnTo>
                  <a:lnTo>
                    <a:pt x="18" y="246"/>
                  </a:lnTo>
                  <a:lnTo>
                    <a:pt x="0" y="240"/>
                  </a:lnTo>
                  <a:lnTo>
                    <a:pt x="0" y="234"/>
                  </a:lnTo>
                  <a:lnTo>
                    <a:pt x="0" y="210"/>
                  </a:lnTo>
                  <a:lnTo>
                    <a:pt x="6" y="204"/>
                  </a:lnTo>
                  <a:lnTo>
                    <a:pt x="18" y="192"/>
                  </a:lnTo>
                  <a:lnTo>
                    <a:pt x="18" y="144"/>
                  </a:lnTo>
                  <a:lnTo>
                    <a:pt x="24" y="126"/>
                  </a:lnTo>
                  <a:lnTo>
                    <a:pt x="36" y="126"/>
                  </a:lnTo>
                  <a:lnTo>
                    <a:pt x="54" y="120"/>
                  </a:lnTo>
                  <a:lnTo>
                    <a:pt x="54" y="126"/>
                  </a:lnTo>
                  <a:lnTo>
                    <a:pt x="132" y="114"/>
                  </a:lnTo>
                  <a:lnTo>
                    <a:pt x="144" y="120"/>
                  </a:lnTo>
                  <a:lnTo>
                    <a:pt x="150" y="132"/>
                  </a:lnTo>
                  <a:lnTo>
                    <a:pt x="180" y="126"/>
                  </a:lnTo>
                  <a:lnTo>
                    <a:pt x="210" y="120"/>
                  </a:lnTo>
                  <a:lnTo>
                    <a:pt x="240" y="120"/>
                  </a:lnTo>
                  <a:lnTo>
                    <a:pt x="258" y="120"/>
                  </a:lnTo>
                  <a:lnTo>
                    <a:pt x="270" y="126"/>
                  </a:lnTo>
                  <a:lnTo>
                    <a:pt x="276" y="132"/>
                  </a:lnTo>
                  <a:lnTo>
                    <a:pt x="282" y="138"/>
                  </a:lnTo>
                  <a:lnTo>
                    <a:pt x="282" y="156"/>
                  </a:lnTo>
                  <a:lnTo>
                    <a:pt x="288" y="186"/>
                  </a:lnTo>
                  <a:lnTo>
                    <a:pt x="312" y="192"/>
                  </a:lnTo>
                  <a:lnTo>
                    <a:pt x="318" y="198"/>
                  </a:lnTo>
                  <a:lnTo>
                    <a:pt x="324" y="204"/>
                  </a:lnTo>
                  <a:lnTo>
                    <a:pt x="330" y="210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66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86" y="210"/>
                  </a:lnTo>
                  <a:lnTo>
                    <a:pt x="498" y="198"/>
                  </a:lnTo>
                  <a:lnTo>
                    <a:pt x="504" y="174"/>
                  </a:lnTo>
                  <a:lnTo>
                    <a:pt x="516" y="162"/>
                  </a:lnTo>
                  <a:lnTo>
                    <a:pt x="516" y="138"/>
                  </a:lnTo>
                  <a:lnTo>
                    <a:pt x="522" y="132"/>
                  </a:lnTo>
                  <a:lnTo>
                    <a:pt x="564" y="132"/>
                  </a:lnTo>
                  <a:lnTo>
                    <a:pt x="564" y="114"/>
                  </a:lnTo>
                  <a:lnTo>
                    <a:pt x="582" y="114"/>
                  </a:lnTo>
                  <a:lnTo>
                    <a:pt x="594" y="114"/>
                  </a:lnTo>
                  <a:lnTo>
                    <a:pt x="606" y="114"/>
                  </a:lnTo>
                  <a:lnTo>
                    <a:pt x="612" y="114"/>
                  </a:lnTo>
                  <a:lnTo>
                    <a:pt x="630" y="114"/>
                  </a:lnTo>
                  <a:lnTo>
                    <a:pt x="636" y="114"/>
                  </a:lnTo>
                  <a:lnTo>
                    <a:pt x="648" y="114"/>
                  </a:lnTo>
                  <a:lnTo>
                    <a:pt x="654" y="114"/>
                  </a:lnTo>
                  <a:lnTo>
                    <a:pt x="660" y="120"/>
                  </a:lnTo>
                  <a:lnTo>
                    <a:pt x="672" y="120"/>
                  </a:lnTo>
                  <a:lnTo>
                    <a:pt x="684" y="120"/>
                  </a:lnTo>
                  <a:lnTo>
                    <a:pt x="690" y="120"/>
                  </a:lnTo>
                  <a:lnTo>
                    <a:pt x="702" y="120"/>
                  </a:lnTo>
                  <a:lnTo>
                    <a:pt x="708" y="120"/>
                  </a:lnTo>
                  <a:lnTo>
                    <a:pt x="726" y="126"/>
                  </a:lnTo>
                  <a:lnTo>
                    <a:pt x="732" y="126"/>
                  </a:lnTo>
                  <a:lnTo>
                    <a:pt x="738" y="126"/>
                  </a:lnTo>
                  <a:lnTo>
                    <a:pt x="750" y="126"/>
                  </a:lnTo>
                  <a:lnTo>
                    <a:pt x="756" y="126"/>
                  </a:lnTo>
                  <a:lnTo>
                    <a:pt x="768" y="126"/>
                  </a:lnTo>
                  <a:lnTo>
                    <a:pt x="780" y="126"/>
                  </a:lnTo>
                  <a:lnTo>
                    <a:pt x="786" y="120"/>
                  </a:lnTo>
                  <a:lnTo>
                    <a:pt x="792" y="120"/>
                  </a:lnTo>
                  <a:lnTo>
                    <a:pt x="810" y="120"/>
                  </a:lnTo>
                  <a:lnTo>
                    <a:pt x="822" y="120"/>
                  </a:lnTo>
                  <a:lnTo>
                    <a:pt x="846" y="126"/>
                  </a:lnTo>
                  <a:lnTo>
                    <a:pt x="858" y="126"/>
                  </a:lnTo>
                  <a:lnTo>
                    <a:pt x="870" y="132"/>
                  </a:lnTo>
                  <a:lnTo>
                    <a:pt x="882" y="132"/>
                  </a:lnTo>
                  <a:lnTo>
                    <a:pt x="894" y="132"/>
                  </a:lnTo>
                  <a:lnTo>
                    <a:pt x="900" y="132"/>
                  </a:lnTo>
                  <a:lnTo>
                    <a:pt x="912" y="132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36" y="132"/>
                  </a:lnTo>
                  <a:lnTo>
                    <a:pt x="960" y="132"/>
                  </a:lnTo>
                  <a:lnTo>
                    <a:pt x="966" y="144"/>
                  </a:lnTo>
                  <a:lnTo>
                    <a:pt x="972" y="144"/>
                  </a:lnTo>
                  <a:lnTo>
                    <a:pt x="1002" y="144"/>
                  </a:lnTo>
                  <a:lnTo>
                    <a:pt x="1020" y="144"/>
                  </a:lnTo>
                  <a:lnTo>
                    <a:pt x="1068" y="138"/>
                  </a:lnTo>
                  <a:lnTo>
                    <a:pt x="1110" y="132"/>
                  </a:lnTo>
                  <a:lnTo>
                    <a:pt x="1110" y="126"/>
                  </a:lnTo>
                  <a:lnTo>
                    <a:pt x="1116" y="120"/>
                  </a:lnTo>
                  <a:lnTo>
                    <a:pt x="1122" y="108"/>
                  </a:lnTo>
                  <a:lnTo>
                    <a:pt x="1134" y="96"/>
                  </a:lnTo>
                  <a:lnTo>
                    <a:pt x="1146" y="60"/>
                  </a:lnTo>
                  <a:lnTo>
                    <a:pt x="1158" y="54"/>
                  </a:lnTo>
                  <a:lnTo>
                    <a:pt x="1170" y="48"/>
                  </a:lnTo>
                  <a:lnTo>
                    <a:pt x="1188" y="42"/>
                  </a:lnTo>
                  <a:lnTo>
                    <a:pt x="1200" y="36"/>
                  </a:lnTo>
                  <a:lnTo>
                    <a:pt x="1212" y="36"/>
                  </a:lnTo>
                  <a:lnTo>
                    <a:pt x="1236" y="30"/>
                  </a:lnTo>
                  <a:lnTo>
                    <a:pt x="1236" y="24"/>
                  </a:lnTo>
                  <a:lnTo>
                    <a:pt x="1278" y="18"/>
                  </a:lnTo>
                  <a:lnTo>
                    <a:pt x="1290" y="18"/>
                  </a:lnTo>
                  <a:lnTo>
                    <a:pt x="1302" y="12"/>
                  </a:lnTo>
                  <a:lnTo>
                    <a:pt x="1314" y="0"/>
                  </a:lnTo>
                  <a:lnTo>
                    <a:pt x="1332" y="0"/>
                  </a:lnTo>
                  <a:lnTo>
                    <a:pt x="1338" y="24"/>
                  </a:lnTo>
                  <a:lnTo>
                    <a:pt x="1344" y="30"/>
                  </a:lnTo>
                  <a:lnTo>
                    <a:pt x="1350" y="42"/>
                  </a:lnTo>
                  <a:lnTo>
                    <a:pt x="1356" y="48"/>
                  </a:lnTo>
                  <a:lnTo>
                    <a:pt x="1356" y="78"/>
                  </a:lnTo>
                  <a:lnTo>
                    <a:pt x="1350" y="96"/>
                  </a:lnTo>
                  <a:lnTo>
                    <a:pt x="1338" y="108"/>
                  </a:lnTo>
                  <a:lnTo>
                    <a:pt x="1338" y="114"/>
                  </a:lnTo>
                  <a:lnTo>
                    <a:pt x="1338" y="120"/>
                  </a:lnTo>
                  <a:lnTo>
                    <a:pt x="1338" y="126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398" y="114"/>
                  </a:lnTo>
                  <a:lnTo>
                    <a:pt x="1416" y="120"/>
                  </a:lnTo>
                  <a:lnTo>
                    <a:pt x="1434" y="126"/>
                  </a:lnTo>
                  <a:lnTo>
                    <a:pt x="1458" y="132"/>
                  </a:lnTo>
                  <a:lnTo>
                    <a:pt x="1458" y="138"/>
                  </a:lnTo>
                  <a:lnTo>
                    <a:pt x="1512" y="138"/>
                  </a:lnTo>
                  <a:lnTo>
                    <a:pt x="1512" y="132"/>
                  </a:lnTo>
                  <a:lnTo>
                    <a:pt x="1524" y="138"/>
                  </a:lnTo>
                  <a:lnTo>
                    <a:pt x="1542" y="138"/>
                  </a:lnTo>
                  <a:lnTo>
                    <a:pt x="1542" y="150"/>
                  </a:lnTo>
                  <a:lnTo>
                    <a:pt x="1542" y="162"/>
                  </a:lnTo>
                  <a:lnTo>
                    <a:pt x="1548" y="174"/>
                  </a:lnTo>
                  <a:lnTo>
                    <a:pt x="1548" y="180"/>
                  </a:lnTo>
                  <a:lnTo>
                    <a:pt x="1554" y="222"/>
                  </a:lnTo>
                  <a:lnTo>
                    <a:pt x="1554" y="258"/>
                  </a:lnTo>
                  <a:lnTo>
                    <a:pt x="1554" y="276"/>
                  </a:lnTo>
                  <a:lnTo>
                    <a:pt x="1554" y="282"/>
                  </a:lnTo>
                  <a:lnTo>
                    <a:pt x="1554" y="294"/>
                  </a:lnTo>
                  <a:lnTo>
                    <a:pt x="1554" y="306"/>
                  </a:lnTo>
                  <a:lnTo>
                    <a:pt x="1554" y="324"/>
                  </a:lnTo>
                  <a:lnTo>
                    <a:pt x="1554" y="330"/>
                  </a:lnTo>
                  <a:lnTo>
                    <a:pt x="1548" y="330"/>
                  </a:lnTo>
                  <a:lnTo>
                    <a:pt x="1548" y="336"/>
                  </a:lnTo>
                  <a:lnTo>
                    <a:pt x="1548" y="342"/>
                  </a:lnTo>
                  <a:lnTo>
                    <a:pt x="1542" y="336"/>
                  </a:lnTo>
                  <a:lnTo>
                    <a:pt x="1542" y="330"/>
                  </a:lnTo>
                  <a:lnTo>
                    <a:pt x="1536" y="330"/>
                  </a:lnTo>
                  <a:lnTo>
                    <a:pt x="1530" y="330"/>
                  </a:lnTo>
                  <a:lnTo>
                    <a:pt x="1530" y="336"/>
                  </a:lnTo>
                  <a:lnTo>
                    <a:pt x="1536" y="342"/>
                  </a:lnTo>
                  <a:lnTo>
                    <a:pt x="1530" y="342"/>
                  </a:lnTo>
                  <a:lnTo>
                    <a:pt x="1518" y="348"/>
                  </a:lnTo>
                  <a:lnTo>
                    <a:pt x="1512" y="354"/>
                  </a:lnTo>
                  <a:lnTo>
                    <a:pt x="1506" y="354"/>
                  </a:lnTo>
                  <a:lnTo>
                    <a:pt x="1500" y="354"/>
                  </a:lnTo>
                  <a:lnTo>
                    <a:pt x="1494" y="354"/>
                  </a:lnTo>
                  <a:lnTo>
                    <a:pt x="1494" y="360"/>
                  </a:lnTo>
                  <a:lnTo>
                    <a:pt x="1488" y="360"/>
                  </a:lnTo>
                  <a:lnTo>
                    <a:pt x="1488" y="366"/>
                  </a:lnTo>
                  <a:lnTo>
                    <a:pt x="1488" y="372"/>
                  </a:lnTo>
                  <a:lnTo>
                    <a:pt x="1482" y="372"/>
                  </a:lnTo>
                  <a:lnTo>
                    <a:pt x="1476" y="372"/>
                  </a:lnTo>
                  <a:lnTo>
                    <a:pt x="1470" y="372"/>
                  </a:lnTo>
                  <a:lnTo>
                    <a:pt x="1470" y="378"/>
                  </a:lnTo>
                  <a:lnTo>
                    <a:pt x="1470" y="384"/>
                  </a:lnTo>
                  <a:lnTo>
                    <a:pt x="1470" y="390"/>
                  </a:lnTo>
                  <a:lnTo>
                    <a:pt x="1464" y="402"/>
                  </a:lnTo>
                  <a:lnTo>
                    <a:pt x="1446" y="402"/>
                  </a:lnTo>
                  <a:lnTo>
                    <a:pt x="1440" y="372"/>
                  </a:lnTo>
                  <a:lnTo>
                    <a:pt x="1410" y="372"/>
                  </a:lnTo>
                  <a:lnTo>
                    <a:pt x="1380" y="372"/>
                  </a:lnTo>
                  <a:lnTo>
                    <a:pt x="1374" y="372"/>
                  </a:lnTo>
                  <a:lnTo>
                    <a:pt x="1368" y="378"/>
                  </a:lnTo>
                  <a:lnTo>
                    <a:pt x="1362" y="378"/>
                  </a:lnTo>
                  <a:lnTo>
                    <a:pt x="1356" y="378"/>
                  </a:lnTo>
                  <a:lnTo>
                    <a:pt x="1350" y="384"/>
                  </a:lnTo>
                  <a:lnTo>
                    <a:pt x="1350" y="390"/>
                  </a:lnTo>
                  <a:lnTo>
                    <a:pt x="1344" y="390"/>
                  </a:lnTo>
                  <a:lnTo>
                    <a:pt x="1338" y="390"/>
                  </a:lnTo>
                  <a:lnTo>
                    <a:pt x="1332" y="390"/>
                  </a:lnTo>
                  <a:lnTo>
                    <a:pt x="1332" y="396"/>
                  </a:lnTo>
                  <a:lnTo>
                    <a:pt x="1332" y="390"/>
                  </a:lnTo>
                  <a:lnTo>
                    <a:pt x="1326" y="402"/>
                  </a:lnTo>
                  <a:lnTo>
                    <a:pt x="1320" y="402"/>
                  </a:lnTo>
                  <a:lnTo>
                    <a:pt x="1302" y="474"/>
                  </a:lnTo>
                  <a:lnTo>
                    <a:pt x="1308" y="480"/>
                  </a:lnTo>
                  <a:lnTo>
                    <a:pt x="1314" y="480"/>
                  </a:lnTo>
                  <a:lnTo>
                    <a:pt x="1308" y="498"/>
                  </a:lnTo>
                  <a:lnTo>
                    <a:pt x="1308" y="504"/>
                  </a:lnTo>
                  <a:lnTo>
                    <a:pt x="1314" y="510"/>
                  </a:lnTo>
                  <a:lnTo>
                    <a:pt x="1308" y="510"/>
                  </a:lnTo>
                  <a:lnTo>
                    <a:pt x="1308" y="516"/>
                  </a:lnTo>
                  <a:lnTo>
                    <a:pt x="1302" y="516"/>
                  </a:lnTo>
                  <a:lnTo>
                    <a:pt x="1296" y="510"/>
                  </a:lnTo>
                  <a:lnTo>
                    <a:pt x="1296" y="516"/>
                  </a:lnTo>
                  <a:lnTo>
                    <a:pt x="1290" y="540"/>
                  </a:lnTo>
                  <a:lnTo>
                    <a:pt x="1290" y="552"/>
                  </a:lnTo>
                  <a:lnTo>
                    <a:pt x="1284" y="558"/>
                  </a:lnTo>
                  <a:lnTo>
                    <a:pt x="1290" y="576"/>
                  </a:lnTo>
                  <a:lnTo>
                    <a:pt x="1290" y="600"/>
                  </a:lnTo>
                  <a:lnTo>
                    <a:pt x="1284" y="618"/>
                  </a:lnTo>
                  <a:lnTo>
                    <a:pt x="1290" y="624"/>
                  </a:lnTo>
                  <a:lnTo>
                    <a:pt x="1284" y="630"/>
                  </a:lnTo>
                  <a:lnTo>
                    <a:pt x="1278" y="630"/>
                  </a:lnTo>
                  <a:lnTo>
                    <a:pt x="1272" y="630"/>
                  </a:lnTo>
                  <a:lnTo>
                    <a:pt x="1266" y="636"/>
                  </a:lnTo>
                  <a:lnTo>
                    <a:pt x="1260" y="642"/>
                  </a:lnTo>
                  <a:lnTo>
                    <a:pt x="1260" y="636"/>
                  </a:lnTo>
                  <a:lnTo>
                    <a:pt x="1254" y="636"/>
                  </a:lnTo>
                  <a:lnTo>
                    <a:pt x="1248" y="636"/>
                  </a:lnTo>
                  <a:lnTo>
                    <a:pt x="1248" y="642"/>
                  </a:lnTo>
                  <a:lnTo>
                    <a:pt x="1242" y="642"/>
                  </a:lnTo>
                  <a:lnTo>
                    <a:pt x="1242" y="648"/>
                  </a:lnTo>
                  <a:lnTo>
                    <a:pt x="1236" y="654"/>
                  </a:lnTo>
                  <a:lnTo>
                    <a:pt x="1230" y="654"/>
                  </a:lnTo>
                  <a:lnTo>
                    <a:pt x="1224" y="654"/>
                  </a:lnTo>
                  <a:lnTo>
                    <a:pt x="1218" y="660"/>
                  </a:lnTo>
                  <a:lnTo>
                    <a:pt x="1212" y="660"/>
                  </a:lnTo>
                  <a:lnTo>
                    <a:pt x="1206" y="660"/>
                  </a:lnTo>
                  <a:lnTo>
                    <a:pt x="1200" y="660"/>
                  </a:lnTo>
                  <a:lnTo>
                    <a:pt x="1200" y="666"/>
                  </a:lnTo>
                  <a:lnTo>
                    <a:pt x="1194" y="666"/>
                  </a:lnTo>
                  <a:lnTo>
                    <a:pt x="1188" y="666"/>
                  </a:lnTo>
                  <a:lnTo>
                    <a:pt x="1182" y="672"/>
                  </a:lnTo>
                  <a:lnTo>
                    <a:pt x="1176" y="672"/>
                  </a:lnTo>
                  <a:lnTo>
                    <a:pt x="1170" y="672"/>
                  </a:lnTo>
                  <a:lnTo>
                    <a:pt x="1164" y="678"/>
                  </a:lnTo>
                  <a:lnTo>
                    <a:pt x="1170" y="678"/>
                  </a:lnTo>
                  <a:lnTo>
                    <a:pt x="1164" y="684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52" y="684"/>
                  </a:lnTo>
                  <a:lnTo>
                    <a:pt x="1152" y="690"/>
                  </a:lnTo>
                  <a:lnTo>
                    <a:pt x="1146" y="690"/>
                  </a:lnTo>
                  <a:lnTo>
                    <a:pt x="1140" y="690"/>
                  </a:lnTo>
                  <a:lnTo>
                    <a:pt x="1134" y="696"/>
                  </a:lnTo>
                  <a:lnTo>
                    <a:pt x="1128" y="696"/>
                  </a:lnTo>
                  <a:lnTo>
                    <a:pt x="1122" y="702"/>
                  </a:lnTo>
                  <a:lnTo>
                    <a:pt x="1116" y="702"/>
                  </a:lnTo>
                  <a:lnTo>
                    <a:pt x="1110" y="708"/>
                  </a:lnTo>
                  <a:lnTo>
                    <a:pt x="1104" y="708"/>
                  </a:lnTo>
                  <a:lnTo>
                    <a:pt x="1098" y="708"/>
                  </a:lnTo>
                  <a:lnTo>
                    <a:pt x="1092" y="708"/>
                  </a:lnTo>
                  <a:lnTo>
                    <a:pt x="1092" y="714"/>
                  </a:lnTo>
                  <a:lnTo>
                    <a:pt x="1086" y="720"/>
                  </a:lnTo>
                  <a:lnTo>
                    <a:pt x="1080" y="720"/>
                  </a:lnTo>
                  <a:lnTo>
                    <a:pt x="1074" y="720"/>
                  </a:lnTo>
                  <a:lnTo>
                    <a:pt x="1068" y="720"/>
                  </a:lnTo>
                  <a:lnTo>
                    <a:pt x="1062" y="720"/>
                  </a:lnTo>
                  <a:lnTo>
                    <a:pt x="1050" y="726"/>
                  </a:lnTo>
                  <a:lnTo>
                    <a:pt x="1044" y="726"/>
                  </a:lnTo>
                  <a:lnTo>
                    <a:pt x="1038" y="732"/>
                  </a:lnTo>
                  <a:lnTo>
                    <a:pt x="1026" y="732"/>
                  </a:lnTo>
                  <a:lnTo>
                    <a:pt x="1020" y="732"/>
                  </a:lnTo>
                  <a:lnTo>
                    <a:pt x="1014" y="738"/>
                  </a:lnTo>
                  <a:lnTo>
                    <a:pt x="1008" y="738"/>
                  </a:lnTo>
                  <a:lnTo>
                    <a:pt x="1002" y="738"/>
                  </a:lnTo>
                  <a:lnTo>
                    <a:pt x="996" y="738"/>
                  </a:lnTo>
                  <a:lnTo>
                    <a:pt x="990" y="738"/>
                  </a:lnTo>
                  <a:lnTo>
                    <a:pt x="990" y="732"/>
                  </a:lnTo>
                  <a:lnTo>
                    <a:pt x="984" y="732"/>
                  </a:lnTo>
                  <a:lnTo>
                    <a:pt x="978" y="738"/>
                  </a:lnTo>
                  <a:lnTo>
                    <a:pt x="978" y="744"/>
                  </a:lnTo>
                  <a:lnTo>
                    <a:pt x="984" y="744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8" y="756"/>
                  </a:lnTo>
                  <a:lnTo>
                    <a:pt x="972" y="756"/>
                  </a:lnTo>
                  <a:lnTo>
                    <a:pt x="972" y="762"/>
                  </a:lnTo>
                  <a:lnTo>
                    <a:pt x="966" y="768"/>
                  </a:lnTo>
                  <a:lnTo>
                    <a:pt x="966" y="762"/>
                  </a:lnTo>
                  <a:lnTo>
                    <a:pt x="960" y="762"/>
                  </a:lnTo>
                  <a:lnTo>
                    <a:pt x="954" y="768"/>
                  </a:lnTo>
                  <a:lnTo>
                    <a:pt x="954" y="774"/>
                  </a:lnTo>
                  <a:lnTo>
                    <a:pt x="948" y="774"/>
                  </a:lnTo>
                  <a:lnTo>
                    <a:pt x="948" y="780"/>
                  </a:lnTo>
                  <a:lnTo>
                    <a:pt x="948" y="786"/>
                  </a:lnTo>
                  <a:lnTo>
                    <a:pt x="942" y="786"/>
                  </a:lnTo>
                  <a:lnTo>
                    <a:pt x="942" y="792"/>
                  </a:lnTo>
                  <a:lnTo>
                    <a:pt x="936" y="792"/>
                  </a:lnTo>
                  <a:lnTo>
                    <a:pt x="942" y="798"/>
                  </a:lnTo>
                  <a:lnTo>
                    <a:pt x="942" y="804"/>
                  </a:lnTo>
                  <a:lnTo>
                    <a:pt x="942" y="810"/>
                  </a:lnTo>
                  <a:lnTo>
                    <a:pt x="948" y="810"/>
                  </a:lnTo>
                  <a:lnTo>
                    <a:pt x="942" y="816"/>
                  </a:lnTo>
                  <a:lnTo>
                    <a:pt x="948" y="816"/>
                  </a:lnTo>
                  <a:lnTo>
                    <a:pt x="948" y="822"/>
                  </a:lnTo>
                  <a:lnTo>
                    <a:pt x="954" y="822"/>
                  </a:lnTo>
                  <a:lnTo>
                    <a:pt x="960" y="828"/>
                  </a:lnTo>
                  <a:lnTo>
                    <a:pt x="960" y="834"/>
                  </a:lnTo>
                  <a:lnTo>
                    <a:pt x="966" y="834"/>
                  </a:lnTo>
                  <a:lnTo>
                    <a:pt x="960" y="840"/>
                  </a:lnTo>
                  <a:lnTo>
                    <a:pt x="966" y="846"/>
                  </a:lnTo>
                  <a:lnTo>
                    <a:pt x="966" y="840"/>
                  </a:lnTo>
                  <a:lnTo>
                    <a:pt x="972" y="840"/>
                  </a:lnTo>
                  <a:lnTo>
                    <a:pt x="990" y="840"/>
                  </a:lnTo>
                  <a:lnTo>
                    <a:pt x="1002" y="834"/>
                  </a:lnTo>
                  <a:lnTo>
                    <a:pt x="1020" y="828"/>
                  </a:lnTo>
                  <a:lnTo>
                    <a:pt x="1032" y="828"/>
                  </a:lnTo>
                  <a:lnTo>
                    <a:pt x="1050" y="828"/>
                  </a:lnTo>
                  <a:lnTo>
                    <a:pt x="1062" y="846"/>
                  </a:lnTo>
                  <a:lnTo>
                    <a:pt x="1074" y="876"/>
                  </a:lnTo>
                  <a:lnTo>
                    <a:pt x="1068" y="900"/>
                  </a:lnTo>
                  <a:lnTo>
                    <a:pt x="1074" y="912"/>
                  </a:lnTo>
                  <a:lnTo>
                    <a:pt x="1074" y="936"/>
                  </a:lnTo>
                  <a:lnTo>
                    <a:pt x="1068" y="942"/>
                  </a:lnTo>
                  <a:lnTo>
                    <a:pt x="1062" y="954"/>
                  </a:lnTo>
                  <a:lnTo>
                    <a:pt x="1056" y="978"/>
                  </a:lnTo>
                  <a:lnTo>
                    <a:pt x="1056" y="996"/>
                  </a:lnTo>
                  <a:lnTo>
                    <a:pt x="1068" y="990"/>
                  </a:lnTo>
                  <a:lnTo>
                    <a:pt x="1074" y="990"/>
                  </a:lnTo>
                  <a:lnTo>
                    <a:pt x="1074" y="1008"/>
                  </a:lnTo>
                  <a:lnTo>
                    <a:pt x="1080" y="1008"/>
                  </a:lnTo>
                  <a:lnTo>
                    <a:pt x="1092" y="1014"/>
                  </a:lnTo>
                  <a:lnTo>
                    <a:pt x="1110" y="1044"/>
                  </a:lnTo>
                  <a:lnTo>
                    <a:pt x="1110" y="1062"/>
                  </a:lnTo>
                  <a:lnTo>
                    <a:pt x="1128" y="1068"/>
                  </a:lnTo>
                  <a:lnTo>
                    <a:pt x="1128" y="1092"/>
                  </a:lnTo>
                  <a:lnTo>
                    <a:pt x="1134" y="1098"/>
                  </a:lnTo>
                  <a:lnTo>
                    <a:pt x="1158" y="1122"/>
                  </a:lnTo>
                  <a:lnTo>
                    <a:pt x="1188" y="1122"/>
                  </a:lnTo>
                  <a:lnTo>
                    <a:pt x="1188" y="1128"/>
                  </a:lnTo>
                  <a:lnTo>
                    <a:pt x="1200" y="1134"/>
                  </a:lnTo>
                  <a:lnTo>
                    <a:pt x="1206" y="1134"/>
                  </a:lnTo>
                  <a:lnTo>
                    <a:pt x="1206" y="1128"/>
                  </a:lnTo>
                  <a:lnTo>
                    <a:pt x="1212" y="1128"/>
                  </a:lnTo>
                  <a:lnTo>
                    <a:pt x="1218" y="1128"/>
                  </a:lnTo>
                  <a:lnTo>
                    <a:pt x="1224" y="1122"/>
                  </a:lnTo>
                  <a:lnTo>
                    <a:pt x="1224" y="1128"/>
                  </a:lnTo>
                  <a:lnTo>
                    <a:pt x="1230" y="1128"/>
                  </a:lnTo>
                  <a:lnTo>
                    <a:pt x="1236" y="1128"/>
                  </a:lnTo>
                  <a:lnTo>
                    <a:pt x="1236" y="1122"/>
                  </a:lnTo>
                  <a:lnTo>
                    <a:pt x="1242" y="1122"/>
                  </a:lnTo>
                  <a:lnTo>
                    <a:pt x="1248" y="1128"/>
                  </a:lnTo>
                  <a:lnTo>
                    <a:pt x="1254" y="1128"/>
                  </a:lnTo>
                  <a:lnTo>
                    <a:pt x="1260" y="1134"/>
                  </a:lnTo>
                  <a:lnTo>
                    <a:pt x="1260" y="1140"/>
                  </a:lnTo>
                  <a:lnTo>
                    <a:pt x="1266" y="1140"/>
                  </a:lnTo>
                  <a:lnTo>
                    <a:pt x="1272" y="1140"/>
                  </a:lnTo>
                  <a:lnTo>
                    <a:pt x="1278" y="1140"/>
                  </a:lnTo>
                  <a:lnTo>
                    <a:pt x="1284" y="1140"/>
                  </a:lnTo>
                  <a:lnTo>
                    <a:pt x="1290" y="1146"/>
                  </a:lnTo>
                  <a:lnTo>
                    <a:pt x="1290" y="1152"/>
                  </a:lnTo>
                  <a:lnTo>
                    <a:pt x="1296" y="1146"/>
                  </a:lnTo>
                  <a:lnTo>
                    <a:pt x="1296" y="1152"/>
                  </a:lnTo>
                  <a:lnTo>
                    <a:pt x="1308" y="1152"/>
                  </a:lnTo>
                  <a:lnTo>
                    <a:pt x="1314" y="1152"/>
                  </a:lnTo>
                  <a:lnTo>
                    <a:pt x="1320" y="1152"/>
                  </a:lnTo>
                  <a:lnTo>
                    <a:pt x="1332" y="1152"/>
                  </a:lnTo>
                  <a:lnTo>
                    <a:pt x="1338" y="1152"/>
                  </a:lnTo>
                  <a:lnTo>
                    <a:pt x="1344" y="1152"/>
                  </a:lnTo>
                  <a:lnTo>
                    <a:pt x="1344" y="1158"/>
                  </a:lnTo>
                  <a:lnTo>
                    <a:pt x="1350" y="1158"/>
                  </a:lnTo>
                  <a:lnTo>
                    <a:pt x="1356" y="1158"/>
                  </a:lnTo>
                  <a:lnTo>
                    <a:pt x="1362" y="1158"/>
                  </a:lnTo>
                  <a:lnTo>
                    <a:pt x="1368" y="1158"/>
                  </a:lnTo>
                  <a:lnTo>
                    <a:pt x="1374" y="1164"/>
                  </a:lnTo>
                  <a:lnTo>
                    <a:pt x="1380" y="1164"/>
                  </a:lnTo>
                  <a:lnTo>
                    <a:pt x="1386" y="1170"/>
                  </a:lnTo>
                  <a:lnTo>
                    <a:pt x="1392" y="1170"/>
                  </a:lnTo>
                  <a:lnTo>
                    <a:pt x="1398" y="1164"/>
                  </a:lnTo>
                  <a:lnTo>
                    <a:pt x="1404" y="1164"/>
                  </a:lnTo>
                  <a:lnTo>
                    <a:pt x="1410" y="1164"/>
                  </a:lnTo>
                  <a:lnTo>
                    <a:pt x="1416" y="1164"/>
                  </a:lnTo>
                  <a:lnTo>
                    <a:pt x="1416" y="1170"/>
                  </a:lnTo>
                  <a:lnTo>
                    <a:pt x="1422" y="1176"/>
                  </a:lnTo>
                  <a:lnTo>
                    <a:pt x="1416" y="1176"/>
                  </a:lnTo>
                  <a:lnTo>
                    <a:pt x="1416" y="1182"/>
                  </a:lnTo>
                  <a:lnTo>
                    <a:pt x="1410" y="1188"/>
                  </a:lnTo>
                  <a:lnTo>
                    <a:pt x="1404" y="1194"/>
                  </a:lnTo>
                  <a:lnTo>
                    <a:pt x="1404" y="1200"/>
                  </a:lnTo>
                  <a:lnTo>
                    <a:pt x="1404" y="1206"/>
                  </a:lnTo>
                  <a:lnTo>
                    <a:pt x="1398" y="1212"/>
                  </a:lnTo>
                  <a:lnTo>
                    <a:pt x="1398" y="1206"/>
                  </a:lnTo>
                  <a:lnTo>
                    <a:pt x="1392" y="1206"/>
                  </a:lnTo>
                  <a:lnTo>
                    <a:pt x="1386" y="1206"/>
                  </a:lnTo>
                  <a:lnTo>
                    <a:pt x="1380" y="1212"/>
                  </a:lnTo>
                  <a:lnTo>
                    <a:pt x="1374" y="1212"/>
                  </a:lnTo>
                  <a:lnTo>
                    <a:pt x="1368" y="1218"/>
                  </a:lnTo>
                  <a:lnTo>
                    <a:pt x="1362" y="1218"/>
                  </a:lnTo>
                  <a:lnTo>
                    <a:pt x="1362" y="1224"/>
                  </a:lnTo>
                  <a:lnTo>
                    <a:pt x="1356" y="1230"/>
                  </a:lnTo>
                  <a:lnTo>
                    <a:pt x="1350" y="1230"/>
                  </a:lnTo>
                  <a:lnTo>
                    <a:pt x="1344" y="1236"/>
                  </a:lnTo>
                  <a:lnTo>
                    <a:pt x="1338" y="1230"/>
                  </a:lnTo>
                  <a:lnTo>
                    <a:pt x="1332" y="1230"/>
                  </a:lnTo>
                  <a:lnTo>
                    <a:pt x="1326" y="1230"/>
                  </a:lnTo>
                  <a:lnTo>
                    <a:pt x="1320" y="1230"/>
                  </a:lnTo>
                  <a:lnTo>
                    <a:pt x="1314" y="1230"/>
                  </a:lnTo>
                  <a:lnTo>
                    <a:pt x="1296" y="1242"/>
                  </a:lnTo>
                  <a:lnTo>
                    <a:pt x="1296" y="1248"/>
                  </a:lnTo>
                  <a:lnTo>
                    <a:pt x="1290" y="1248"/>
                  </a:lnTo>
                  <a:lnTo>
                    <a:pt x="1290" y="1260"/>
                  </a:lnTo>
                  <a:lnTo>
                    <a:pt x="1278" y="1272"/>
                  </a:lnTo>
                  <a:lnTo>
                    <a:pt x="1278" y="1278"/>
                  </a:lnTo>
                  <a:lnTo>
                    <a:pt x="1278" y="1284"/>
                  </a:lnTo>
                  <a:lnTo>
                    <a:pt x="1278" y="1290"/>
                  </a:lnTo>
                  <a:lnTo>
                    <a:pt x="1284" y="1296"/>
                  </a:lnTo>
                  <a:lnTo>
                    <a:pt x="1302" y="1302"/>
                  </a:lnTo>
                  <a:lnTo>
                    <a:pt x="1308" y="1308"/>
                  </a:lnTo>
                  <a:lnTo>
                    <a:pt x="1308" y="1314"/>
                  </a:lnTo>
                  <a:lnTo>
                    <a:pt x="1302" y="1320"/>
                  </a:lnTo>
                  <a:lnTo>
                    <a:pt x="1278" y="1314"/>
                  </a:lnTo>
                  <a:lnTo>
                    <a:pt x="1266" y="1308"/>
                  </a:lnTo>
                  <a:lnTo>
                    <a:pt x="1260" y="1296"/>
                  </a:lnTo>
                  <a:lnTo>
                    <a:pt x="1236" y="1296"/>
                  </a:lnTo>
                  <a:lnTo>
                    <a:pt x="1224" y="1308"/>
                  </a:lnTo>
                  <a:lnTo>
                    <a:pt x="1218" y="1308"/>
                  </a:lnTo>
                  <a:lnTo>
                    <a:pt x="1218" y="1302"/>
                  </a:lnTo>
                  <a:lnTo>
                    <a:pt x="1212" y="1302"/>
                  </a:lnTo>
                  <a:lnTo>
                    <a:pt x="1206" y="1302"/>
                  </a:lnTo>
                  <a:lnTo>
                    <a:pt x="1170" y="1314"/>
                  </a:lnTo>
                  <a:lnTo>
                    <a:pt x="1134" y="1296"/>
                  </a:lnTo>
                  <a:lnTo>
                    <a:pt x="1122" y="1290"/>
                  </a:lnTo>
                  <a:lnTo>
                    <a:pt x="1104" y="1290"/>
                  </a:lnTo>
                  <a:lnTo>
                    <a:pt x="1098" y="1278"/>
                  </a:lnTo>
                  <a:lnTo>
                    <a:pt x="1092" y="1242"/>
                  </a:lnTo>
                  <a:lnTo>
                    <a:pt x="1086" y="1242"/>
                  </a:lnTo>
                  <a:lnTo>
                    <a:pt x="1086" y="1248"/>
                  </a:lnTo>
                  <a:lnTo>
                    <a:pt x="1086" y="1254"/>
                  </a:lnTo>
                  <a:lnTo>
                    <a:pt x="1080" y="1254"/>
                  </a:lnTo>
                  <a:lnTo>
                    <a:pt x="1080" y="1260"/>
                  </a:lnTo>
                  <a:lnTo>
                    <a:pt x="1074" y="1260"/>
                  </a:lnTo>
                  <a:lnTo>
                    <a:pt x="1068" y="1236"/>
                  </a:lnTo>
                  <a:lnTo>
                    <a:pt x="1068" y="1206"/>
                  </a:lnTo>
                  <a:lnTo>
                    <a:pt x="1080" y="1194"/>
                  </a:lnTo>
                  <a:lnTo>
                    <a:pt x="1086" y="1194"/>
                  </a:lnTo>
                  <a:lnTo>
                    <a:pt x="1092" y="1200"/>
                  </a:lnTo>
                  <a:lnTo>
                    <a:pt x="1098" y="1206"/>
                  </a:lnTo>
                  <a:lnTo>
                    <a:pt x="1104" y="1200"/>
                  </a:lnTo>
                  <a:lnTo>
                    <a:pt x="1104" y="1194"/>
                  </a:lnTo>
                  <a:lnTo>
                    <a:pt x="1110" y="1194"/>
                  </a:lnTo>
                  <a:lnTo>
                    <a:pt x="1110" y="1188"/>
                  </a:lnTo>
                  <a:lnTo>
                    <a:pt x="1116" y="1182"/>
                  </a:lnTo>
                  <a:lnTo>
                    <a:pt x="1110" y="1182"/>
                  </a:lnTo>
                  <a:lnTo>
                    <a:pt x="1110" y="1170"/>
                  </a:lnTo>
                  <a:lnTo>
                    <a:pt x="1110" y="1158"/>
                  </a:lnTo>
                  <a:lnTo>
                    <a:pt x="1110" y="1152"/>
                  </a:lnTo>
                  <a:lnTo>
                    <a:pt x="1104" y="1146"/>
                  </a:lnTo>
                  <a:lnTo>
                    <a:pt x="1098" y="1140"/>
                  </a:lnTo>
                  <a:lnTo>
                    <a:pt x="1098" y="1134"/>
                  </a:lnTo>
                  <a:lnTo>
                    <a:pt x="1098" y="1128"/>
                  </a:lnTo>
                  <a:lnTo>
                    <a:pt x="1092" y="1128"/>
                  </a:lnTo>
                  <a:lnTo>
                    <a:pt x="1092" y="1122"/>
                  </a:lnTo>
                  <a:lnTo>
                    <a:pt x="1092" y="1116"/>
                  </a:lnTo>
                  <a:lnTo>
                    <a:pt x="1092" y="1110"/>
                  </a:lnTo>
                  <a:lnTo>
                    <a:pt x="1056" y="1122"/>
                  </a:lnTo>
                  <a:lnTo>
                    <a:pt x="1038" y="1128"/>
                  </a:lnTo>
                  <a:lnTo>
                    <a:pt x="1032" y="1128"/>
                  </a:lnTo>
                  <a:lnTo>
                    <a:pt x="1026" y="1128"/>
                  </a:lnTo>
                  <a:lnTo>
                    <a:pt x="1020" y="1128"/>
                  </a:lnTo>
                  <a:lnTo>
                    <a:pt x="1014" y="1128"/>
                  </a:lnTo>
                  <a:lnTo>
                    <a:pt x="1014" y="1122"/>
                  </a:lnTo>
                  <a:lnTo>
                    <a:pt x="1008" y="1122"/>
                  </a:lnTo>
                  <a:lnTo>
                    <a:pt x="1002" y="1128"/>
                  </a:lnTo>
                  <a:lnTo>
                    <a:pt x="1002" y="1134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84" y="1140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66" y="1140"/>
                  </a:lnTo>
                  <a:lnTo>
                    <a:pt x="954" y="1140"/>
                  </a:lnTo>
                  <a:lnTo>
                    <a:pt x="954" y="1134"/>
                  </a:lnTo>
                  <a:lnTo>
                    <a:pt x="948" y="1134"/>
                  </a:lnTo>
                  <a:lnTo>
                    <a:pt x="942" y="1134"/>
                  </a:lnTo>
                  <a:lnTo>
                    <a:pt x="936" y="1134"/>
                  </a:lnTo>
                  <a:lnTo>
                    <a:pt x="930" y="1134"/>
                  </a:lnTo>
                  <a:lnTo>
                    <a:pt x="924" y="1134"/>
                  </a:lnTo>
                  <a:lnTo>
                    <a:pt x="918" y="1134"/>
                  </a:lnTo>
                  <a:lnTo>
                    <a:pt x="918" y="1128"/>
                  </a:lnTo>
                  <a:lnTo>
                    <a:pt x="918" y="1104"/>
                  </a:lnTo>
                  <a:lnTo>
                    <a:pt x="906" y="1104"/>
                  </a:lnTo>
                  <a:lnTo>
                    <a:pt x="900" y="1098"/>
                  </a:lnTo>
                  <a:lnTo>
                    <a:pt x="900" y="1092"/>
                  </a:lnTo>
                  <a:lnTo>
                    <a:pt x="900" y="1086"/>
                  </a:lnTo>
                  <a:lnTo>
                    <a:pt x="900" y="1080"/>
                  </a:lnTo>
                  <a:lnTo>
                    <a:pt x="894" y="1080"/>
                  </a:lnTo>
                  <a:lnTo>
                    <a:pt x="858" y="1074"/>
                  </a:lnTo>
                  <a:lnTo>
                    <a:pt x="852" y="1080"/>
                  </a:lnTo>
                  <a:lnTo>
                    <a:pt x="846" y="1086"/>
                  </a:lnTo>
                  <a:lnTo>
                    <a:pt x="840" y="1086"/>
                  </a:lnTo>
                  <a:lnTo>
                    <a:pt x="840" y="1092"/>
                  </a:lnTo>
                  <a:lnTo>
                    <a:pt x="834" y="1092"/>
                  </a:lnTo>
                  <a:lnTo>
                    <a:pt x="828" y="1098"/>
                  </a:lnTo>
                  <a:lnTo>
                    <a:pt x="822" y="1098"/>
                  </a:lnTo>
                  <a:lnTo>
                    <a:pt x="762" y="1074"/>
                  </a:lnTo>
                  <a:lnTo>
                    <a:pt x="756" y="1068"/>
                  </a:lnTo>
                  <a:lnTo>
                    <a:pt x="750" y="1068"/>
                  </a:lnTo>
                  <a:lnTo>
                    <a:pt x="744" y="1062"/>
                  </a:lnTo>
                  <a:lnTo>
                    <a:pt x="744" y="1068"/>
                  </a:lnTo>
                  <a:lnTo>
                    <a:pt x="744" y="1074"/>
                  </a:lnTo>
                  <a:lnTo>
                    <a:pt x="738" y="1074"/>
                  </a:lnTo>
                  <a:lnTo>
                    <a:pt x="738" y="1068"/>
                  </a:lnTo>
                  <a:lnTo>
                    <a:pt x="732" y="1068"/>
                  </a:lnTo>
                  <a:lnTo>
                    <a:pt x="726" y="1068"/>
                  </a:lnTo>
                  <a:lnTo>
                    <a:pt x="726" y="1074"/>
                  </a:lnTo>
                  <a:lnTo>
                    <a:pt x="720" y="1074"/>
                  </a:lnTo>
                  <a:lnTo>
                    <a:pt x="684" y="106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5" name="Freeform 40">
              <a:extLst>
                <a:ext uri="{FF2B5EF4-FFF2-40B4-BE49-F238E27FC236}">
                  <a16:creationId xmlns:a16="http://schemas.microsoft.com/office/drawing/2014/main" id="{37EC2F22-BDB9-4162-8FA4-08493F6898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3558" y="1520374"/>
              <a:ext cx="1057717" cy="1252440"/>
            </a:xfrm>
            <a:custGeom>
              <a:avLst/>
              <a:gdLst>
                <a:gd name="T0" fmla="*/ 98 w 1992"/>
                <a:gd name="T1" fmla="*/ 162 h 2358"/>
                <a:gd name="T2" fmla="*/ 93 w 1992"/>
                <a:gd name="T3" fmla="*/ 172 h 2358"/>
                <a:gd name="T4" fmla="*/ 82 w 1992"/>
                <a:gd name="T5" fmla="*/ 179 h 2358"/>
                <a:gd name="T6" fmla="*/ 70 w 1992"/>
                <a:gd name="T7" fmla="*/ 174 h 2358"/>
                <a:gd name="T8" fmla="*/ 62 w 1992"/>
                <a:gd name="T9" fmla="*/ 182 h 2358"/>
                <a:gd name="T10" fmla="*/ 45 w 1992"/>
                <a:gd name="T11" fmla="*/ 189 h 2358"/>
                <a:gd name="T12" fmla="*/ 24 w 1992"/>
                <a:gd name="T13" fmla="*/ 205 h 2358"/>
                <a:gd name="T14" fmla="*/ 17 w 1992"/>
                <a:gd name="T15" fmla="*/ 204 h 2358"/>
                <a:gd name="T16" fmla="*/ 7 w 1992"/>
                <a:gd name="T17" fmla="*/ 197 h 2358"/>
                <a:gd name="T18" fmla="*/ 1 w 1992"/>
                <a:gd name="T19" fmla="*/ 191 h 2358"/>
                <a:gd name="T20" fmla="*/ 4 w 1992"/>
                <a:gd name="T21" fmla="*/ 175 h 2358"/>
                <a:gd name="T22" fmla="*/ 7 w 1992"/>
                <a:gd name="T23" fmla="*/ 172 h 2358"/>
                <a:gd name="T24" fmla="*/ 11 w 1992"/>
                <a:gd name="T25" fmla="*/ 168 h 2358"/>
                <a:gd name="T26" fmla="*/ 5 w 1992"/>
                <a:gd name="T27" fmla="*/ 159 h 2358"/>
                <a:gd name="T28" fmla="*/ 10 w 1992"/>
                <a:gd name="T29" fmla="*/ 156 h 2358"/>
                <a:gd name="T30" fmla="*/ 15 w 1992"/>
                <a:gd name="T31" fmla="*/ 155 h 2358"/>
                <a:gd name="T32" fmla="*/ 24 w 1992"/>
                <a:gd name="T33" fmla="*/ 149 h 2358"/>
                <a:gd name="T34" fmla="*/ 38 w 1992"/>
                <a:gd name="T35" fmla="*/ 127 h 2358"/>
                <a:gd name="T36" fmla="*/ 38 w 1992"/>
                <a:gd name="T37" fmla="*/ 107 h 2358"/>
                <a:gd name="T38" fmla="*/ 45 w 1992"/>
                <a:gd name="T39" fmla="*/ 66 h 2358"/>
                <a:gd name="T40" fmla="*/ 47 w 1992"/>
                <a:gd name="T41" fmla="*/ 36 h 2358"/>
                <a:gd name="T42" fmla="*/ 51 w 1992"/>
                <a:gd name="T43" fmla="*/ 35 h 2358"/>
                <a:gd name="T44" fmla="*/ 55 w 1992"/>
                <a:gd name="T45" fmla="*/ 30 h 2358"/>
                <a:gd name="T46" fmla="*/ 56 w 1992"/>
                <a:gd name="T47" fmla="*/ 27 h 2358"/>
                <a:gd name="T48" fmla="*/ 60 w 1992"/>
                <a:gd name="T49" fmla="*/ 23 h 2358"/>
                <a:gd name="T50" fmla="*/ 63 w 1992"/>
                <a:gd name="T51" fmla="*/ 23 h 2358"/>
                <a:gd name="T52" fmla="*/ 70 w 1992"/>
                <a:gd name="T53" fmla="*/ 18 h 2358"/>
                <a:gd name="T54" fmla="*/ 71 w 1992"/>
                <a:gd name="T55" fmla="*/ 15 h 2358"/>
                <a:gd name="T56" fmla="*/ 72 w 1992"/>
                <a:gd name="T57" fmla="*/ 13 h 2358"/>
                <a:gd name="T58" fmla="*/ 77 w 1992"/>
                <a:gd name="T59" fmla="*/ 12 h 2358"/>
                <a:gd name="T60" fmla="*/ 83 w 1992"/>
                <a:gd name="T61" fmla="*/ 10 h 2358"/>
                <a:gd name="T62" fmla="*/ 87 w 1992"/>
                <a:gd name="T63" fmla="*/ 10 h 2358"/>
                <a:gd name="T64" fmla="*/ 89 w 1992"/>
                <a:gd name="T65" fmla="*/ 10 h 2358"/>
                <a:gd name="T66" fmla="*/ 93 w 1992"/>
                <a:gd name="T67" fmla="*/ 8 h 2358"/>
                <a:gd name="T68" fmla="*/ 95 w 1992"/>
                <a:gd name="T69" fmla="*/ 4 h 2358"/>
                <a:gd name="T70" fmla="*/ 99 w 1992"/>
                <a:gd name="T71" fmla="*/ 0 h 2358"/>
                <a:gd name="T72" fmla="*/ 111 w 1992"/>
                <a:gd name="T73" fmla="*/ 0 h 2358"/>
                <a:gd name="T74" fmla="*/ 121 w 1992"/>
                <a:gd name="T75" fmla="*/ 9 h 2358"/>
                <a:gd name="T76" fmla="*/ 128 w 1992"/>
                <a:gd name="T77" fmla="*/ 19 h 2358"/>
                <a:gd name="T78" fmla="*/ 138 w 1992"/>
                <a:gd name="T79" fmla="*/ 33 h 2358"/>
                <a:gd name="T80" fmla="*/ 142 w 1992"/>
                <a:gd name="T81" fmla="*/ 47 h 2358"/>
                <a:gd name="T82" fmla="*/ 145 w 1992"/>
                <a:gd name="T83" fmla="*/ 62 h 2358"/>
                <a:gd name="T84" fmla="*/ 145 w 1992"/>
                <a:gd name="T85" fmla="*/ 70 h 2358"/>
                <a:gd name="T86" fmla="*/ 147 w 1992"/>
                <a:gd name="T87" fmla="*/ 75 h 2358"/>
                <a:gd name="T88" fmla="*/ 153 w 1992"/>
                <a:gd name="T89" fmla="*/ 75 h 2358"/>
                <a:gd name="T90" fmla="*/ 160 w 1992"/>
                <a:gd name="T91" fmla="*/ 76 h 2358"/>
                <a:gd name="T92" fmla="*/ 164 w 1992"/>
                <a:gd name="T93" fmla="*/ 79 h 2358"/>
                <a:gd name="T94" fmla="*/ 168 w 1992"/>
                <a:gd name="T95" fmla="*/ 83 h 2358"/>
                <a:gd name="T96" fmla="*/ 172 w 1992"/>
                <a:gd name="T97" fmla="*/ 86 h 2358"/>
                <a:gd name="T98" fmla="*/ 170 w 1992"/>
                <a:gd name="T99" fmla="*/ 93 h 2358"/>
                <a:gd name="T100" fmla="*/ 170 w 1992"/>
                <a:gd name="T101" fmla="*/ 99 h 2358"/>
                <a:gd name="T102" fmla="*/ 169 w 1992"/>
                <a:gd name="T103" fmla="*/ 106 h 2358"/>
                <a:gd name="T104" fmla="*/ 166 w 1992"/>
                <a:gd name="T105" fmla="*/ 113 h 2358"/>
                <a:gd name="T106" fmla="*/ 170 w 1992"/>
                <a:gd name="T107" fmla="*/ 122 h 2358"/>
                <a:gd name="T108" fmla="*/ 159 w 1992"/>
                <a:gd name="T109" fmla="*/ 128 h 2358"/>
                <a:gd name="T110" fmla="*/ 148 w 1992"/>
                <a:gd name="T111" fmla="*/ 134 h 2358"/>
                <a:gd name="T112" fmla="*/ 139 w 1992"/>
                <a:gd name="T113" fmla="*/ 136 h 2358"/>
                <a:gd name="T114" fmla="*/ 132 w 1992"/>
                <a:gd name="T115" fmla="*/ 138 h 2358"/>
                <a:gd name="T116" fmla="*/ 128 w 1992"/>
                <a:gd name="T117" fmla="*/ 145 h 2358"/>
                <a:gd name="T118" fmla="*/ 124 w 1992"/>
                <a:gd name="T119" fmla="*/ 150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92"/>
                <a:gd name="T181" fmla="*/ 0 h 2358"/>
                <a:gd name="T182" fmla="*/ 1992 w 1992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92" h="2358">
                  <a:moveTo>
                    <a:pt x="1356" y="1782"/>
                  </a:moveTo>
                  <a:lnTo>
                    <a:pt x="1350" y="1788"/>
                  </a:lnTo>
                  <a:lnTo>
                    <a:pt x="1266" y="1788"/>
                  </a:lnTo>
                  <a:lnTo>
                    <a:pt x="1260" y="1800"/>
                  </a:lnTo>
                  <a:lnTo>
                    <a:pt x="1242" y="1806"/>
                  </a:lnTo>
                  <a:lnTo>
                    <a:pt x="1218" y="1812"/>
                  </a:lnTo>
                  <a:lnTo>
                    <a:pt x="1182" y="1812"/>
                  </a:lnTo>
                  <a:lnTo>
                    <a:pt x="1158" y="1806"/>
                  </a:lnTo>
                  <a:lnTo>
                    <a:pt x="1134" y="1800"/>
                  </a:lnTo>
                  <a:lnTo>
                    <a:pt x="1134" y="1806"/>
                  </a:lnTo>
                  <a:lnTo>
                    <a:pt x="1134" y="1830"/>
                  </a:lnTo>
                  <a:lnTo>
                    <a:pt x="1128" y="1842"/>
                  </a:lnTo>
                  <a:lnTo>
                    <a:pt x="1128" y="1854"/>
                  </a:lnTo>
                  <a:lnTo>
                    <a:pt x="1128" y="1860"/>
                  </a:lnTo>
                  <a:lnTo>
                    <a:pt x="1128" y="1866"/>
                  </a:lnTo>
                  <a:lnTo>
                    <a:pt x="1128" y="1872"/>
                  </a:lnTo>
                  <a:lnTo>
                    <a:pt x="1128" y="1884"/>
                  </a:lnTo>
                  <a:lnTo>
                    <a:pt x="1128" y="1890"/>
                  </a:lnTo>
                  <a:lnTo>
                    <a:pt x="1128" y="1896"/>
                  </a:lnTo>
                  <a:lnTo>
                    <a:pt x="1122" y="1902"/>
                  </a:lnTo>
                  <a:lnTo>
                    <a:pt x="1122" y="1920"/>
                  </a:lnTo>
                  <a:lnTo>
                    <a:pt x="1116" y="1920"/>
                  </a:lnTo>
                  <a:lnTo>
                    <a:pt x="1110" y="1926"/>
                  </a:lnTo>
                  <a:lnTo>
                    <a:pt x="1110" y="1932"/>
                  </a:lnTo>
                  <a:lnTo>
                    <a:pt x="1104" y="1938"/>
                  </a:lnTo>
                  <a:lnTo>
                    <a:pt x="1086" y="1962"/>
                  </a:lnTo>
                  <a:lnTo>
                    <a:pt x="1074" y="1974"/>
                  </a:lnTo>
                  <a:lnTo>
                    <a:pt x="1074" y="1980"/>
                  </a:lnTo>
                  <a:lnTo>
                    <a:pt x="1068" y="1986"/>
                  </a:lnTo>
                  <a:lnTo>
                    <a:pt x="1062" y="1998"/>
                  </a:lnTo>
                  <a:lnTo>
                    <a:pt x="1062" y="2004"/>
                  </a:lnTo>
                  <a:lnTo>
                    <a:pt x="1068" y="2004"/>
                  </a:lnTo>
                  <a:lnTo>
                    <a:pt x="1056" y="2034"/>
                  </a:lnTo>
                  <a:lnTo>
                    <a:pt x="1050" y="2076"/>
                  </a:lnTo>
                  <a:lnTo>
                    <a:pt x="1056" y="2100"/>
                  </a:lnTo>
                  <a:lnTo>
                    <a:pt x="1038" y="2106"/>
                  </a:lnTo>
                  <a:lnTo>
                    <a:pt x="1002" y="2106"/>
                  </a:lnTo>
                  <a:lnTo>
                    <a:pt x="978" y="2094"/>
                  </a:lnTo>
                  <a:lnTo>
                    <a:pt x="972" y="2082"/>
                  </a:lnTo>
                  <a:lnTo>
                    <a:pt x="966" y="2070"/>
                  </a:lnTo>
                  <a:lnTo>
                    <a:pt x="954" y="2064"/>
                  </a:lnTo>
                  <a:lnTo>
                    <a:pt x="942" y="2058"/>
                  </a:lnTo>
                  <a:lnTo>
                    <a:pt x="936" y="2058"/>
                  </a:lnTo>
                  <a:lnTo>
                    <a:pt x="918" y="2046"/>
                  </a:lnTo>
                  <a:lnTo>
                    <a:pt x="906" y="2028"/>
                  </a:lnTo>
                  <a:lnTo>
                    <a:pt x="900" y="2022"/>
                  </a:lnTo>
                  <a:lnTo>
                    <a:pt x="894" y="2022"/>
                  </a:lnTo>
                  <a:lnTo>
                    <a:pt x="882" y="2022"/>
                  </a:lnTo>
                  <a:lnTo>
                    <a:pt x="870" y="2016"/>
                  </a:lnTo>
                  <a:lnTo>
                    <a:pt x="864" y="2016"/>
                  </a:lnTo>
                  <a:lnTo>
                    <a:pt x="852" y="2010"/>
                  </a:lnTo>
                  <a:lnTo>
                    <a:pt x="846" y="2004"/>
                  </a:lnTo>
                  <a:lnTo>
                    <a:pt x="840" y="2004"/>
                  </a:lnTo>
                  <a:lnTo>
                    <a:pt x="828" y="1998"/>
                  </a:lnTo>
                  <a:lnTo>
                    <a:pt x="816" y="1998"/>
                  </a:lnTo>
                  <a:lnTo>
                    <a:pt x="810" y="1998"/>
                  </a:lnTo>
                  <a:lnTo>
                    <a:pt x="804" y="1998"/>
                  </a:lnTo>
                  <a:lnTo>
                    <a:pt x="798" y="1998"/>
                  </a:lnTo>
                  <a:lnTo>
                    <a:pt x="792" y="2004"/>
                  </a:lnTo>
                  <a:lnTo>
                    <a:pt x="786" y="2010"/>
                  </a:lnTo>
                  <a:lnTo>
                    <a:pt x="762" y="2010"/>
                  </a:lnTo>
                  <a:lnTo>
                    <a:pt x="756" y="2010"/>
                  </a:lnTo>
                  <a:lnTo>
                    <a:pt x="744" y="2022"/>
                  </a:lnTo>
                  <a:lnTo>
                    <a:pt x="738" y="2034"/>
                  </a:lnTo>
                  <a:lnTo>
                    <a:pt x="732" y="2040"/>
                  </a:lnTo>
                  <a:lnTo>
                    <a:pt x="732" y="2046"/>
                  </a:lnTo>
                  <a:lnTo>
                    <a:pt x="726" y="2058"/>
                  </a:lnTo>
                  <a:lnTo>
                    <a:pt x="720" y="2064"/>
                  </a:lnTo>
                  <a:lnTo>
                    <a:pt x="714" y="2070"/>
                  </a:lnTo>
                  <a:lnTo>
                    <a:pt x="708" y="2088"/>
                  </a:lnTo>
                  <a:lnTo>
                    <a:pt x="702" y="2100"/>
                  </a:lnTo>
                  <a:lnTo>
                    <a:pt x="690" y="2100"/>
                  </a:lnTo>
                  <a:lnTo>
                    <a:pt x="684" y="2094"/>
                  </a:lnTo>
                  <a:lnTo>
                    <a:pt x="666" y="2100"/>
                  </a:lnTo>
                  <a:lnTo>
                    <a:pt x="636" y="2106"/>
                  </a:lnTo>
                  <a:lnTo>
                    <a:pt x="636" y="2112"/>
                  </a:lnTo>
                  <a:lnTo>
                    <a:pt x="636" y="2118"/>
                  </a:lnTo>
                  <a:lnTo>
                    <a:pt x="636" y="2124"/>
                  </a:lnTo>
                  <a:lnTo>
                    <a:pt x="630" y="2124"/>
                  </a:lnTo>
                  <a:lnTo>
                    <a:pt x="630" y="2148"/>
                  </a:lnTo>
                  <a:lnTo>
                    <a:pt x="612" y="2160"/>
                  </a:lnTo>
                  <a:lnTo>
                    <a:pt x="576" y="2172"/>
                  </a:lnTo>
                  <a:lnTo>
                    <a:pt x="546" y="2172"/>
                  </a:lnTo>
                  <a:lnTo>
                    <a:pt x="516" y="2172"/>
                  </a:lnTo>
                  <a:lnTo>
                    <a:pt x="486" y="2172"/>
                  </a:lnTo>
                  <a:lnTo>
                    <a:pt x="462" y="2172"/>
                  </a:lnTo>
                  <a:lnTo>
                    <a:pt x="444" y="2196"/>
                  </a:lnTo>
                  <a:lnTo>
                    <a:pt x="432" y="2232"/>
                  </a:lnTo>
                  <a:lnTo>
                    <a:pt x="408" y="2238"/>
                  </a:lnTo>
                  <a:lnTo>
                    <a:pt x="390" y="2256"/>
                  </a:lnTo>
                  <a:lnTo>
                    <a:pt x="372" y="2274"/>
                  </a:lnTo>
                  <a:lnTo>
                    <a:pt x="360" y="2274"/>
                  </a:lnTo>
                  <a:lnTo>
                    <a:pt x="336" y="2328"/>
                  </a:lnTo>
                  <a:lnTo>
                    <a:pt x="324" y="2340"/>
                  </a:lnTo>
                  <a:lnTo>
                    <a:pt x="300" y="2346"/>
                  </a:lnTo>
                  <a:lnTo>
                    <a:pt x="294" y="2352"/>
                  </a:lnTo>
                  <a:lnTo>
                    <a:pt x="288" y="2352"/>
                  </a:lnTo>
                  <a:lnTo>
                    <a:pt x="282" y="2352"/>
                  </a:lnTo>
                  <a:lnTo>
                    <a:pt x="276" y="2352"/>
                  </a:lnTo>
                  <a:lnTo>
                    <a:pt x="270" y="2352"/>
                  </a:lnTo>
                  <a:lnTo>
                    <a:pt x="270" y="2346"/>
                  </a:lnTo>
                  <a:lnTo>
                    <a:pt x="264" y="2346"/>
                  </a:lnTo>
                  <a:lnTo>
                    <a:pt x="258" y="2352"/>
                  </a:lnTo>
                  <a:lnTo>
                    <a:pt x="252" y="2352"/>
                  </a:lnTo>
                  <a:lnTo>
                    <a:pt x="240" y="2352"/>
                  </a:lnTo>
                  <a:lnTo>
                    <a:pt x="228" y="2352"/>
                  </a:lnTo>
                  <a:lnTo>
                    <a:pt x="222" y="2352"/>
                  </a:lnTo>
                  <a:lnTo>
                    <a:pt x="216" y="2358"/>
                  </a:lnTo>
                  <a:lnTo>
                    <a:pt x="216" y="2352"/>
                  </a:lnTo>
                  <a:lnTo>
                    <a:pt x="210" y="2346"/>
                  </a:lnTo>
                  <a:lnTo>
                    <a:pt x="204" y="2346"/>
                  </a:lnTo>
                  <a:lnTo>
                    <a:pt x="198" y="2340"/>
                  </a:lnTo>
                  <a:lnTo>
                    <a:pt x="192" y="2340"/>
                  </a:lnTo>
                  <a:lnTo>
                    <a:pt x="186" y="2340"/>
                  </a:lnTo>
                  <a:lnTo>
                    <a:pt x="180" y="2340"/>
                  </a:lnTo>
                  <a:lnTo>
                    <a:pt x="174" y="2340"/>
                  </a:lnTo>
                  <a:lnTo>
                    <a:pt x="162" y="2328"/>
                  </a:lnTo>
                  <a:lnTo>
                    <a:pt x="156" y="2322"/>
                  </a:lnTo>
                  <a:lnTo>
                    <a:pt x="156" y="2316"/>
                  </a:lnTo>
                  <a:lnTo>
                    <a:pt x="156" y="2310"/>
                  </a:lnTo>
                  <a:lnTo>
                    <a:pt x="132" y="2286"/>
                  </a:lnTo>
                  <a:lnTo>
                    <a:pt x="120" y="2280"/>
                  </a:lnTo>
                  <a:lnTo>
                    <a:pt x="96" y="2274"/>
                  </a:lnTo>
                  <a:lnTo>
                    <a:pt x="84" y="2268"/>
                  </a:lnTo>
                  <a:lnTo>
                    <a:pt x="78" y="2268"/>
                  </a:lnTo>
                  <a:lnTo>
                    <a:pt x="78" y="2262"/>
                  </a:lnTo>
                  <a:lnTo>
                    <a:pt x="78" y="2256"/>
                  </a:lnTo>
                  <a:lnTo>
                    <a:pt x="78" y="2250"/>
                  </a:lnTo>
                  <a:lnTo>
                    <a:pt x="72" y="2250"/>
                  </a:lnTo>
                  <a:lnTo>
                    <a:pt x="66" y="2250"/>
                  </a:lnTo>
                  <a:lnTo>
                    <a:pt x="60" y="2250"/>
                  </a:lnTo>
                  <a:lnTo>
                    <a:pt x="48" y="2244"/>
                  </a:lnTo>
                  <a:lnTo>
                    <a:pt x="36" y="2238"/>
                  </a:lnTo>
                  <a:lnTo>
                    <a:pt x="36" y="2226"/>
                  </a:lnTo>
                  <a:lnTo>
                    <a:pt x="30" y="2226"/>
                  </a:lnTo>
                  <a:lnTo>
                    <a:pt x="30" y="2220"/>
                  </a:lnTo>
                  <a:lnTo>
                    <a:pt x="24" y="2208"/>
                  </a:lnTo>
                  <a:lnTo>
                    <a:pt x="18" y="2202"/>
                  </a:lnTo>
                  <a:lnTo>
                    <a:pt x="18" y="2196"/>
                  </a:lnTo>
                  <a:lnTo>
                    <a:pt x="12" y="2190"/>
                  </a:lnTo>
                  <a:lnTo>
                    <a:pt x="0" y="2190"/>
                  </a:lnTo>
                  <a:lnTo>
                    <a:pt x="6" y="2184"/>
                  </a:lnTo>
                  <a:lnTo>
                    <a:pt x="12" y="2178"/>
                  </a:lnTo>
                  <a:lnTo>
                    <a:pt x="18" y="2172"/>
                  </a:lnTo>
                  <a:lnTo>
                    <a:pt x="24" y="2166"/>
                  </a:lnTo>
                  <a:lnTo>
                    <a:pt x="30" y="2166"/>
                  </a:lnTo>
                  <a:lnTo>
                    <a:pt x="24" y="2160"/>
                  </a:lnTo>
                  <a:lnTo>
                    <a:pt x="30" y="2160"/>
                  </a:lnTo>
                  <a:lnTo>
                    <a:pt x="36" y="2154"/>
                  </a:lnTo>
                  <a:lnTo>
                    <a:pt x="36" y="2136"/>
                  </a:lnTo>
                  <a:lnTo>
                    <a:pt x="36" y="2118"/>
                  </a:lnTo>
                  <a:lnTo>
                    <a:pt x="48" y="2058"/>
                  </a:lnTo>
                  <a:lnTo>
                    <a:pt x="48" y="2022"/>
                  </a:lnTo>
                  <a:lnTo>
                    <a:pt x="48" y="2016"/>
                  </a:lnTo>
                  <a:lnTo>
                    <a:pt x="48" y="2010"/>
                  </a:lnTo>
                  <a:lnTo>
                    <a:pt x="48" y="2004"/>
                  </a:lnTo>
                  <a:lnTo>
                    <a:pt x="42" y="2004"/>
                  </a:lnTo>
                  <a:lnTo>
                    <a:pt x="42" y="1998"/>
                  </a:lnTo>
                  <a:lnTo>
                    <a:pt x="36" y="1992"/>
                  </a:lnTo>
                  <a:lnTo>
                    <a:pt x="42" y="1992"/>
                  </a:lnTo>
                  <a:lnTo>
                    <a:pt x="42" y="1986"/>
                  </a:lnTo>
                  <a:lnTo>
                    <a:pt x="48" y="1986"/>
                  </a:lnTo>
                  <a:lnTo>
                    <a:pt x="54" y="1986"/>
                  </a:lnTo>
                  <a:lnTo>
                    <a:pt x="60" y="1986"/>
                  </a:lnTo>
                  <a:lnTo>
                    <a:pt x="66" y="1980"/>
                  </a:lnTo>
                  <a:lnTo>
                    <a:pt x="72" y="1974"/>
                  </a:lnTo>
                  <a:lnTo>
                    <a:pt x="78" y="1974"/>
                  </a:lnTo>
                  <a:lnTo>
                    <a:pt x="84" y="1974"/>
                  </a:lnTo>
                  <a:lnTo>
                    <a:pt x="90" y="1974"/>
                  </a:lnTo>
                  <a:lnTo>
                    <a:pt x="96" y="1974"/>
                  </a:lnTo>
                  <a:lnTo>
                    <a:pt x="96" y="1968"/>
                  </a:lnTo>
                  <a:lnTo>
                    <a:pt x="102" y="1968"/>
                  </a:lnTo>
                  <a:lnTo>
                    <a:pt x="102" y="1962"/>
                  </a:lnTo>
                  <a:lnTo>
                    <a:pt x="108" y="1962"/>
                  </a:lnTo>
                  <a:lnTo>
                    <a:pt x="114" y="1956"/>
                  </a:lnTo>
                  <a:lnTo>
                    <a:pt x="120" y="1956"/>
                  </a:lnTo>
                  <a:lnTo>
                    <a:pt x="126" y="1950"/>
                  </a:lnTo>
                  <a:lnTo>
                    <a:pt x="132" y="1950"/>
                  </a:lnTo>
                  <a:lnTo>
                    <a:pt x="132" y="1944"/>
                  </a:lnTo>
                  <a:lnTo>
                    <a:pt x="126" y="1944"/>
                  </a:lnTo>
                  <a:lnTo>
                    <a:pt x="126" y="1938"/>
                  </a:lnTo>
                  <a:lnTo>
                    <a:pt x="126" y="1932"/>
                  </a:lnTo>
                  <a:lnTo>
                    <a:pt x="126" y="1926"/>
                  </a:lnTo>
                  <a:lnTo>
                    <a:pt x="114" y="1914"/>
                  </a:lnTo>
                  <a:lnTo>
                    <a:pt x="114" y="1896"/>
                  </a:lnTo>
                  <a:lnTo>
                    <a:pt x="108" y="1884"/>
                  </a:lnTo>
                  <a:lnTo>
                    <a:pt x="102" y="1872"/>
                  </a:lnTo>
                  <a:lnTo>
                    <a:pt x="96" y="1866"/>
                  </a:lnTo>
                  <a:lnTo>
                    <a:pt x="96" y="1860"/>
                  </a:lnTo>
                  <a:lnTo>
                    <a:pt x="90" y="1860"/>
                  </a:lnTo>
                  <a:lnTo>
                    <a:pt x="90" y="1854"/>
                  </a:lnTo>
                  <a:lnTo>
                    <a:pt x="84" y="1848"/>
                  </a:lnTo>
                  <a:lnTo>
                    <a:pt x="78" y="1842"/>
                  </a:lnTo>
                  <a:lnTo>
                    <a:pt x="72" y="1836"/>
                  </a:lnTo>
                  <a:lnTo>
                    <a:pt x="66" y="1830"/>
                  </a:lnTo>
                  <a:lnTo>
                    <a:pt x="60" y="1824"/>
                  </a:lnTo>
                  <a:lnTo>
                    <a:pt x="54" y="1824"/>
                  </a:lnTo>
                  <a:lnTo>
                    <a:pt x="48" y="1824"/>
                  </a:lnTo>
                  <a:lnTo>
                    <a:pt x="42" y="1818"/>
                  </a:lnTo>
                  <a:lnTo>
                    <a:pt x="54" y="1818"/>
                  </a:lnTo>
                  <a:lnTo>
                    <a:pt x="60" y="1812"/>
                  </a:lnTo>
                  <a:lnTo>
                    <a:pt x="66" y="1812"/>
                  </a:lnTo>
                  <a:lnTo>
                    <a:pt x="72" y="1812"/>
                  </a:lnTo>
                  <a:lnTo>
                    <a:pt x="78" y="1812"/>
                  </a:lnTo>
                  <a:lnTo>
                    <a:pt x="84" y="1812"/>
                  </a:lnTo>
                  <a:lnTo>
                    <a:pt x="90" y="1806"/>
                  </a:lnTo>
                  <a:lnTo>
                    <a:pt x="96" y="1800"/>
                  </a:lnTo>
                  <a:lnTo>
                    <a:pt x="102" y="1806"/>
                  </a:lnTo>
                  <a:lnTo>
                    <a:pt x="108" y="1800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26" y="1788"/>
                  </a:lnTo>
                  <a:lnTo>
                    <a:pt x="126" y="1794"/>
                  </a:lnTo>
                  <a:lnTo>
                    <a:pt x="132" y="1794"/>
                  </a:lnTo>
                  <a:lnTo>
                    <a:pt x="132" y="1788"/>
                  </a:lnTo>
                  <a:lnTo>
                    <a:pt x="138" y="1788"/>
                  </a:lnTo>
                  <a:lnTo>
                    <a:pt x="138" y="1782"/>
                  </a:lnTo>
                  <a:lnTo>
                    <a:pt x="144" y="1782"/>
                  </a:lnTo>
                  <a:lnTo>
                    <a:pt x="150" y="1776"/>
                  </a:lnTo>
                  <a:lnTo>
                    <a:pt x="156" y="1782"/>
                  </a:lnTo>
                  <a:lnTo>
                    <a:pt x="162" y="1776"/>
                  </a:lnTo>
                  <a:lnTo>
                    <a:pt x="168" y="1776"/>
                  </a:lnTo>
                  <a:lnTo>
                    <a:pt x="180" y="1776"/>
                  </a:lnTo>
                  <a:lnTo>
                    <a:pt x="186" y="1776"/>
                  </a:lnTo>
                  <a:lnTo>
                    <a:pt x="186" y="1782"/>
                  </a:lnTo>
                  <a:lnTo>
                    <a:pt x="192" y="1776"/>
                  </a:lnTo>
                  <a:lnTo>
                    <a:pt x="198" y="1776"/>
                  </a:lnTo>
                  <a:lnTo>
                    <a:pt x="204" y="1770"/>
                  </a:lnTo>
                  <a:lnTo>
                    <a:pt x="204" y="1764"/>
                  </a:lnTo>
                  <a:lnTo>
                    <a:pt x="210" y="1764"/>
                  </a:lnTo>
                  <a:lnTo>
                    <a:pt x="216" y="1764"/>
                  </a:lnTo>
                  <a:lnTo>
                    <a:pt x="216" y="1758"/>
                  </a:lnTo>
                  <a:lnTo>
                    <a:pt x="222" y="1758"/>
                  </a:lnTo>
                  <a:lnTo>
                    <a:pt x="228" y="1758"/>
                  </a:lnTo>
                  <a:lnTo>
                    <a:pt x="258" y="1746"/>
                  </a:lnTo>
                  <a:lnTo>
                    <a:pt x="282" y="1716"/>
                  </a:lnTo>
                  <a:lnTo>
                    <a:pt x="300" y="1698"/>
                  </a:lnTo>
                  <a:lnTo>
                    <a:pt x="312" y="1698"/>
                  </a:lnTo>
                  <a:lnTo>
                    <a:pt x="336" y="1698"/>
                  </a:lnTo>
                  <a:lnTo>
                    <a:pt x="360" y="1698"/>
                  </a:lnTo>
                  <a:lnTo>
                    <a:pt x="372" y="1692"/>
                  </a:lnTo>
                  <a:lnTo>
                    <a:pt x="384" y="1692"/>
                  </a:lnTo>
                  <a:lnTo>
                    <a:pt x="360" y="1668"/>
                  </a:lnTo>
                  <a:lnTo>
                    <a:pt x="348" y="1626"/>
                  </a:lnTo>
                  <a:lnTo>
                    <a:pt x="354" y="1578"/>
                  </a:lnTo>
                  <a:lnTo>
                    <a:pt x="354" y="1572"/>
                  </a:lnTo>
                  <a:lnTo>
                    <a:pt x="360" y="1572"/>
                  </a:lnTo>
                  <a:lnTo>
                    <a:pt x="396" y="1530"/>
                  </a:lnTo>
                  <a:lnTo>
                    <a:pt x="408" y="1482"/>
                  </a:lnTo>
                  <a:lnTo>
                    <a:pt x="438" y="1458"/>
                  </a:lnTo>
                  <a:lnTo>
                    <a:pt x="468" y="1422"/>
                  </a:lnTo>
                  <a:lnTo>
                    <a:pt x="480" y="1410"/>
                  </a:lnTo>
                  <a:lnTo>
                    <a:pt x="474" y="1386"/>
                  </a:lnTo>
                  <a:lnTo>
                    <a:pt x="456" y="1356"/>
                  </a:lnTo>
                  <a:lnTo>
                    <a:pt x="438" y="1350"/>
                  </a:lnTo>
                  <a:lnTo>
                    <a:pt x="420" y="1350"/>
                  </a:lnTo>
                  <a:lnTo>
                    <a:pt x="402" y="1350"/>
                  </a:lnTo>
                  <a:lnTo>
                    <a:pt x="390" y="1344"/>
                  </a:lnTo>
                  <a:lnTo>
                    <a:pt x="390" y="1332"/>
                  </a:lnTo>
                  <a:lnTo>
                    <a:pt x="402" y="1296"/>
                  </a:lnTo>
                  <a:lnTo>
                    <a:pt x="414" y="1260"/>
                  </a:lnTo>
                  <a:lnTo>
                    <a:pt x="426" y="1248"/>
                  </a:lnTo>
                  <a:lnTo>
                    <a:pt x="438" y="1242"/>
                  </a:lnTo>
                  <a:lnTo>
                    <a:pt x="432" y="1230"/>
                  </a:lnTo>
                  <a:lnTo>
                    <a:pt x="432" y="1224"/>
                  </a:lnTo>
                  <a:lnTo>
                    <a:pt x="426" y="1218"/>
                  </a:lnTo>
                  <a:lnTo>
                    <a:pt x="426" y="1206"/>
                  </a:lnTo>
                  <a:lnTo>
                    <a:pt x="426" y="1200"/>
                  </a:lnTo>
                  <a:lnTo>
                    <a:pt x="432" y="1194"/>
                  </a:lnTo>
                  <a:lnTo>
                    <a:pt x="426" y="1188"/>
                  </a:lnTo>
                  <a:lnTo>
                    <a:pt x="432" y="1104"/>
                  </a:lnTo>
                  <a:lnTo>
                    <a:pt x="438" y="1086"/>
                  </a:lnTo>
                  <a:lnTo>
                    <a:pt x="462" y="972"/>
                  </a:lnTo>
                  <a:lnTo>
                    <a:pt x="456" y="900"/>
                  </a:lnTo>
                  <a:lnTo>
                    <a:pt x="444" y="846"/>
                  </a:lnTo>
                  <a:lnTo>
                    <a:pt x="456" y="810"/>
                  </a:lnTo>
                  <a:lnTo>
                    <a:pt x="492" y="786"/>
                  </a:lnTo>
                  <a:lnTo>
                    <a:pt x="522" y="762"/>
                  </a:lnTo>
                  <a:lnTo>
                    <a:pt x="546" y="732"/>
                  </a:lnTo>
                  <a:lnTo>
                    <a:pt x="570" y="696"/>
                  </a:lnTo>
                  <a:lnTo>
                    <a:pt x="582" y="654"/>
                  </a:lnTo>
                  <a:lnTo>
                    <a:pt x="564" y="642"/>
                  </a:lnTo>
                  <a:lnTo>
                    <a:pt x="522" y="588"/>
                  </a:lnTo>
                  <a:lnTo>
                    <a:pt x="516" y="546"/>
                  </a:lnTo>
                  <a:lnTo>
                    <a:pt x="510" y="474"/>
                  </a:lnTo>
                  <a:lnTo>
                    <a:pt x="510" y="450"/>
                  </a:lnTo>
                  <a:lnTo>
                    <a:pt x="510" y="444"/>
                  </a:lnTo>
                  <a:lnTo>
                    <a:pt x="522" y="438"/>
                  </a:lnTo>
                  <a:lnTo>
                    <a:pt x="522" y="432"/>
                  </a:lnTo>
                  <a:lnTo>
                    <a:pt x="528" y="426"/>
                  </a:lnTo>
                  <a:lnTo>
                    <a:pt x="534" y="420"/>
                  </a:lnTo>
                  <a:lnTo>
                    <a:pt x="540" y="414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08"/>
                  </a:lnTo>
                  <a:lnTo>
                    <a:pt x="546" y="408"/>
                  </a:lnTo>
                  <a:lnTo>
                    <a:pt x="558" y="414"/>
                  </a:lnTo>
                  <a:lnTo>
                    <a:pt x="564" y="414"/>
                  </a:lnTo>
                  <a:lnTo>
                    <a:pt x="570" y="414"/>
                  </a:lnTo>
                  <a:lnTo>
                    <a:pt x="582" y="414"/>
                  </a:lnTo>
                  <a:lnTo>
                    <a:pt x="582" y="420"/>
                  </a:lnTo>
                  <a:lnTo>
                    <a:pt x="588" y="414"/>
                  </a:lnTo>
                  <a:lnTo>
                    <a:pt x="582" y="408"/>
                  </a:lnTo>
                  <a:lnTo>
                    <a:pt x="588" y="402"/>
                  </a:lnTo>
                  <a:lnTo>
                    <a:pt x="594" y="402"/>
                  </a:lnTo>
                  <a:lnTo>
                    <a:pt x="594" y="396"/>
                  </a:lnTo>
                  <a:lnTo>
                    <a:pt x="594" y="390"/>
                  </a:lnTo>
                  <a:lnTo>
                    <a:pt x="594" y="384"/>
                  </a:lnTo>
                  <a:lnTo>
                    <a:pt x="594" y="378"/>
                  </a:lnTo>
                  <a:lnTo>
                    <a:pt x="600" y="366"/>
                  </a:lnTo>
                  <a:lnTo>
                    <a:pt x="606" y="366"/>
                  </a:lnTo>
                  <a:lnTo>
                    <a:pt x="612" y="360"/>
                  </a:lnTo>
                  <a:lnTo>
                    <a:pt x="612" y="366"/>
                  </a:lnTo>
                  <a:lnTo>
                    <a:pt x="618" y="366"/>
                  </a:lnTo>
                  <a:lnTo>
                    <a:pt x="624" y="366"/>
                  </a:lnTo>
                  <a:lnTo>
                    <a:pt x="630" y="360"/>
                  </a:lnTo>
                  <a:lnTo>
                    <a:pt x="636" y="354"/>
                  </a:lnTo>
                  <a:lnTo>
                    <a:pt x="630" y="354"/>
                  </a:lnTo>
                  <a:lnTo>
                    <a:pt x="630" y="348"/>
                  </a:lnTo>
                  <a:lnTo>
                    <a:pt x="630" y="342"/>
                  </a:lnTo>
                  <a:lnTo>
                    <a:pt x="636" y="342"/>
                  </a:lnTo>
                  <a:lnTo>
                    <a:pt x="642" y="336"/>
                  </a:lnTo>
                  <a:lnTo>
                    <a:pt x="636" y="330"/>
                  </a:lnTo>
                  <a:lnTo>
                    <a:pt x="630" y="336"/>
                  </a:lnTo>
                  <a:lnTo>
                    <a:pt x="624" y="336"/>
                  </a:lnTo>
                  <a:lnTo>
                    <a:pt x="624" y="330"/>
                  </a:lnTo>
                  <a:lnTo>
                    <a:pt x="624" y="324"/>
                  </a:lnTo>
                  <a:lnTo>
                    <a:pt x="618" y="324"/>
                  </a:lnTo>
                  <a:lnTo>
                    <a:pt x="624" y="324"/>
                  </a:lnTo>
                  <a:lnTo>
                    <a:pt x="630" y="330"/>
                  </a:lnTo>
                  <a:lnTo>
                    <a:pt x="630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2" y="306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8" y="288"/>
                  </a:lnTo>
                  <a:lnTo>
                    <a:pt x="648" y="282"/>
                  </a:lnTo>
                  <a:lnTo>
                    <a:pt x="654" y="288"/>
                  </a:lnTo>
                  <a:lnTo>
                    <a:pt x="654" y="282"/>
                  </a:lnTo>
                  <a:lnTo>
                    <a:pt x="660" y="282"/>
                  </a:lnTo>
                  <a:lnTo>
                    <a:pt x="666" y="282"/>
                  </a:lnTo>
                  <a:lnTo>
                    <a:pt x="672" y="282"/>
                  </a:lnTo>
                  <a:lnTo>
                    <a:pt x="678" y="282"/>
                  </a:lnTo>
                  <a:lnTo>
                    <a:pt x="684" y="276"/>
                  </a:lnTo>
                  <a:lnTo>
                    <a:pt x="690" y="270"/>
                  </a:lnTo>
                  <a:lnTo>
                    <a:pt x="690" y="264"/>
                  </a:lnTo>
                  <a:lnTo>
                    <a:pt x="690" y="270"/>
                  </a:lnTo>
                  <a:lnTo>
                    <a:pt x="690" y="276"/>
                  </a:lnTo>
                  <a:lnTo>
                    <a:pt x="696" y="276"/>
                  </a:lnTo>
                  <a:lnTo>
                    <a:pt x="702" y="276"/>
                  </a:lnTo>
                  <a:lnTo>
                    <a:pt x="702" y="282"/>
                  </a:lnTo>
                  <a:lnTo>
                    <a:pt x="708" y="282"/>
                  </a:lnTo>
                  <a:lnTo>
                    <a:pt x="720" y="270"/>
                  </a:lnTo>
                  <a:lnTo>
                    <a:pt x="720" y="264"/>
                  </a:lnTo>
                  <a:lnTo>
                    <a:pt x="720" y="258"/>
                  </a:lnTo>
                  <a:lnTo>
                    <a:pt x="726" y="258"/>
                  </a:lnTo>
                  <a:lnTo>
                    <a:pt x="732" y="258"/>
                  </a:lnTo>
                  <a:lnTo>
                    <a:pt x="732" y="264"/>
                  </a:lnTo>
                  <a:lnTo>
                    <a:pt x="738" y="264"/>
                  </a:lnTo>
                  <a:lnTo>
                    <a:pt x="738" y="258"/>
                  </a:lnTo>
                  <a:lnTo>
                    <a:pt x="732" y="258"/>
                  </a:lnTo>
                  <a:lnTo>
                    <a:pt x="732" y="252"/>
                  </a:lnTo>
                  <a:lnTo>
                    <a:pt x="744" y="252"/>
                  </a:lnTo>
                  <a:lnTo>
                    <a:pt x="750" y="252"/>
                  </a:lnTo>
                  <a:lnTo>
                    <a:pt x="750" y="246"/>
                  </a:lnTo>
                  <a:lnTo>
                    <a:pt x="750" y="240"/>
                  </a:lnTo>
                  <a:lnTo>
                    <a:pt x="762" y="234"/>
                  </a:lnTo>
                  <a:lnTo>
                    <a:pt x="768" y="234"/>
                  </a:lnTo>
                  <a:lnTo>
                    <a:pt x="774" y="234"/>
                  </a:lnTo>
                  <a:lnTo>
                    <a:pt x="780" y="228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16"/>
                  </a:lnTo>
                  <a:lnTo>
                    <a:pt x="792" y="210"/>
                  </a:lnTo>
                  <a:lnTo>
                    <a:pt x="804" y="204"/>
                  </a:lnTo>
                  <a:lnTo>
                    <a:pt x="804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0" y="192"/>
                  </a:lnTo>
                  <a:lnTo>
                    <a:pt x="798" y="186"/>
                  </a:lnTo>
                  <a:lnTo>
                    <a:pt x="810" y="186"/>
                  </a:lnTo>
                  <a:lnTo>
                    <a:pt x="810" y="180"/>
                  </a:lnTo>
                  <a:lnTo>
                    <a:pt x="810" y="186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0" y="180"/>
                  </a:lnTo>
                  <a:lnTo>
                    <a:pt x="816" y="174"/>
                  </a:lnTo>
                  <a:lnTo>
                    <a:pt x="822" y="174"/>
                  </a:lnTo>
                  <a:lnTo>
                    <a:pt x="822" y="180"/>
                  </a:lnTo>
                  <a:lnTo>
                    <a:pt x="828" y="180"/>
                  </a:lnTo>
                  <a:lnTo>
                    <a:pt x="828" y="174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62"/>
                  </a:lnTo>
                  <a:lnTo>
                    <a:pt x="828" y="156"/>
                  </a:lnTo>
                  <a:lnTo>
                    <a:pt x="822" y="156"/>
                  </a:lnTo>
                  <a:lnTo>
                    <a:pt x="828" y="156"/>
                  </a:lnTo>
                  <a:lnTo>
                    <a:pt x="828" y="150"/>
                  </a:lnTo>
                  <a:lnTo>
                    <a:pt x="834" y="150"/>
                  </a:lnTo>
                  <a:lnTo>
                    <a:pt x="840" y="156"/>
                  </a:lnTo>
                  <a:lnTo>
                    <a:pt x="840" y="150"/>
                  </a:lnTo>
                  <a:lnTo>
                    <a:pt x="834" y="150"/>
                  </a:lnTo>
                  <a:lnTo>
                    <a:pt x="834" y="144"/>
                  </a:lnTo>
                  <a:lnTo>
                    <a:pt x="840" y="138"/>
                  </a:lnTo>
                  <a:lnTo>
                    <a:pt x="846" y="144"/>
                  </a:lnTo>
                  <a:lnTo>
                    <a:pt x="846" y="150"/>
                  </a:lnTo>
                  <a:lnTo>
                    <a:pt x="852" y="150"/>
                  </a:lnTo>
                  <a:lnTo>
                    <a:pt x="858" y="150"/>
                  </a:lnTo>
                  <a:lnTo>
                    <a:pt x="870" y="150"/>
                  </a:lnTo>
                  <a:lnTo>
                    <a:pt x="870" y="144"/>
                  </a:lnTo>
                  <a:lnTo>
                    <a:pt x="876" y="138"/>
                  </a:lnTo>
                  <a:lnTo>
                    <a:pt x="882" y="138"/>
                  </a:lnTo>
                  <a:lnTo>
                    <a:pt x="888" y="132"/>
                  </a:lnTo>
                  <a:lnTo>
                    <a:pt x="888" y="138"/>
                  </a:lnTo>
                  <a:lnTo>
                    <a:pt x="894" y="138"/>
                  </a:lnTo>
                  <a:lnTo>
                    <a:pt x="894" y="132"/>
                  </a:lnTo>
                  <a:lnTo>
                    <a:pt x="900" y="126"/>
                  </a:lnTo>
                  <a:lnTo>
                    <a:pt x="900" y="132"/>
                  </a:lnTo>
                  <a:lnTo>
                    <a:pt x="906" y="132"/>
                  </a:lnTo>
                  <a:lnTo>
                    <a:pt x="912" y="132"/>
                  </a:lnTo>
                  <a:lnTo>
                    <a:pt x="918" y="126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24" y="126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8" y="120"/>
                  </a:lnTo>
                  <a:lnTo>
                    <a:pt x="948" y="114"/>
                  </a:lnTo>
                  <a:lnTo>
                    <a:pt x="948" y="108"/>
                  </a:lnTo>
                  <a:lnTo>
                    <a:pt x="954" y="114"/>
                  </a:lnTo>
                  <a:lnTo>
                    <a:pt x="960" y="108"/>
                  </a:lnTo>
                  <a:lnTo>
                    <a:pt x="966" y="108"/>
                  </a:lnTo>
                  <a:lnTo>
                    <a:pt x="972" y="108"/>
                  </a:lnTo>
                  <a:lnTo>
                    <a:pt x="966" y="114"/>
                  </a:lnTo>
                  <a:lnTo>
                    <a:pt x="960" y="114"/>
                  </a:lnTo>
                  <a:lnTo>
                    <a:pt x="960" y="120"/>
                  </a:lnTo>
                  <a:lnTo>
                    <a:pt x="966" y="126"/>
                  </a:lnTo>
                  <a:lnTo>
                    <a:pt x="972" y="126"/>
                  </a:lnTo>
                  <a:lnTo>
                    <a:pt x="978" y="126"/>
                  </a:lnTo>
                  <a:lnTo>
                    <a:pt x="984" y="120"/>
                  </a:lnTo>
                  <a:lnTo>
                    <a:pt x="984" y="114"/>
                  </a:lnTo>
                  <a:lnTo>
                    <a:pt x="996" y="126"/>
                  </a:lnTo>
                  <a:lnTo>
                    <a:pt x="996" y="120"/>
                  </a:lnTo>
                  <a:lnTo>
                    <a:pt x="1002" y="120"/>
                  </a:lnTo>
                  <a:lnTo>
                    <a:pt x="996" y="114"/>
                  </a:lnTo>
                  <a:lnTo>
                    <a:pt x="1002" y="114"/>
                  </a:lnTo>
                  <a:lnTo>
                    <a:pt x="1008" y="114"/>
                  </a:lnTo>
                  <a:lnTo>
                    <a:pt x="1008" y="108"/>
                  </a:lnTo>
                  <a:lnTo>
                    <a:pt x="1014" y="108"/>
                  </a:lnTo>
                  <a:lnTo>
                    <a:pt x="1008" y="114"/>
                  </a:lnTo>
                  <a:lnTo>
                    <a:pt x="1008" y="120"/>
                  </a:lnTo>
                  <a:lnTo>
                    <a:pt x="1008" y="126"/>
                  </a:lnTo>
                  <a:lnTo>
                    <a:pt x="1014" y="126"/>
                  </a:lnTo>
                  <a:lnTo>
                    <a:pt x="1014" y="132"/>
                  </a:lnTo>
                  <a:lnTo>
                    <a:pt x="1020" y="132"/>
                  </a:lnTo>
                  <a:lnTo>
                    <a:pt x="1020" y="126"/>
                  </a:lnTo>
                  <a:lnTo>
                    <a:pt x="1020" y="120"/>
                  </a:lnTo>
                  <a:lnTo>
                    <a:pt x="1032" y="120"/>
                  </a:lnTo>
                  <a:lnTo>
                    <a:pt x="1038" y="120"/>
                  </a:lnTo>
                  <a:lnTo>
                    <a:pt x="1038" y="126"/>
                  </a:lnTo>
                  <a:lnTo>
                    <a:pt x="1044" y="132"/>
                  </a:lnTo>
                  <a:lnTo>
                    <a:pt x="1044" y="126"/>
                  </a:lnTo>
                  <a:lnTo>
                    <a:pt x="1050" y="120"/>
                  </a:lnTo>
                  <a:lnTo>
                    <a:pt x="1050" y="114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68" y="102"/>
                  </a:lnTo>
                  <a:lnTo>
                    <a:pt x="1074" y="96"/>
                  </a:lnTo>
                  <a:lnTo>
                    <a:pt x="1074" y="90"/>
                  </a:lnTo>
                  <a:lnTo>
                    <a:pt x="1068" y="90"/>
                  </a:lnTo>
                  <a:lnTo>
                    <a:pt x="1068" y="84"/>
                  </a:lnTo>
                  <a:lnTo>
                    <a:pt x="1080" y="84"/>
                  </a:lnTo>
                  <a:lnTo>
                    <a:pt x="1086" y="78"/>
                  </a:lnTo>
                  <a:lnTo>
                    <a:pt x="1086" y="72"/>
                  </a:lnTo>
                  <a:lnTo>
                    <a:pt x="1080" y="78"/>
                  </a:lnTo>
                  <a:lnTo>
                    <a:pt x="1080" y="72"/>
                  </a:lnTo>
                  <a:lnTo>
                    <a:pt x="1080" y="66"/>
                  </a:lnTo>
                  <a:lnTo>
                    <a:pt x="1074" y="66"/>
                  </a:lnTo>
                  <a:lnTo>
                    <a:pt x="1080" y="66"/>
                  </a:lnTo>
                  <a:lnTo>
                    <a:pt x="1080" y="60"/>
                  </a:lnTo>
                  <a:lnTo>
                    <a:pt x="1086" y="60"/>
                  </a:lnTo>
                  <a:lnTo>
                    <a:pt x="1086" y="54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2" y="42"/>
                  </a:lnTo>
                  <a:lnTo>
                    <a:pt x="1098" y="42"/>
                  </a:lnTo>
                  <a:lnTo>
                    <a:pt x="1104" y="36"/>
                  </a:lnTo>
                  <a:lnTo>
                    <a:pt x="1110" y="36"/>
                  </a:lnTo>
                  <a:lnTo>
                    <a:pt x="1110" y="30"/>
                  </a:lnTo>
                  <a:lnTo>
                    <a:pt x="1110" y="24"/>
                  </a:lnTo>
                  <a:lnTo>
                    <a:pt x="1116" y="24"/>
                  </a:lnTo>
                  <a:lnTo>
                    <a:pt x="1116" y="18"/>
                  </a:lnTo>
                  <a:lnTo>
                    <a:pt x="1122" y="18"/>
                  </a:lnTo>
                  <a:lnTo>
                    <a:pt x="1128" y="18"/>
                  </a:lnTo>
                  <a:lnTo>
                    <a:pt x="1134" y="12"/>
                  </a:lnTo>
                  <a:lnTo>
                    <a:pt x="1134" y="6"/>
                  </a:lnTo>
                  <a:lnTo>
                    <a:pt x="1140" y="6"/>
                  </a:lnTo>
                  <a:lnTo>
                    <a:pt x="1146" y="0"/>
                  </a:lnTo>
                  <a:lnTo>
                    <a:pt x="1152" y="0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70" y="0"/>
                  </a:lnTo>
                  <a:lnTo>
                    <a:pt x="1176" y="6"/>
                  </a:lnTo>
                  <a:lnTo>
                    <a:pt x="1182" y="6"/>
                  </a:lnTo>
                  <a:lnTo>
                    <a:pt x="1194" y="6"/>
                  </a:lnTo>
                  <a:lnTo>
                    <a:pt x="1200" y="6"/>
                  </a:lnTo>
                  <a:lnTo>
                    <a:pt x="1212" y="0"/>
                  </a:lnTo>
                  <a:lnTo>
                    <a:pt x="1212" y="6"/>
                  </a:lnTo>
                  <a:lnTo>
                    <a:pt x="1218" y="6"/>
                  </a:lnTo>
                  <a:lnTo>
                    <a:pt x="1266" y="6"/>
                  </a:lnTo>
                  <a:lnTo>
                    <a:pt x="1272" y="0"/>
                  </a:lnTo>
                  <a:lnTo>
                    <a:pt x="1278" y="6"/>
                  </a:lnTo>
                  <a:lnTo>
                    <a:pt x="1290" y="6"/>
                  </a:lnTo>
                  <a:lnTo>
                    <a:pt x="1296" y="6"/>
                  </a:lnTo>
                  <a:lnTo>
                    <a:pt x="1308" y="6"/>
                  </a:lnTo>
                  <a:lnTo>
                    <a:pt x="1314" y="6"/>
                  </a:lnTo>
                  <a:lnTo>
                    <a:pt x="1320" y="6"/>
                  </a:lnTo>
                  <a:lnTo>
                    <a:pt x="1326" y="12"/>
                  </a:lnTo>
                  <a:lnTo>
                    <a:pt x="1338" y="30"/>
                  </a:lnTo>
                  <a:lnTo>
                    <a:pt x="1344" y="36"/>
                  </a:lnTo>
                  <a:lnTo>
                    <a:pt x="1356" y="48"/>
                  </a:lnTo>
                  <a:lnTo>
                    <a:pt x="1362" y="60"/>
                  </a:lnTo>
                  <a:lnTo>
                    <a:pt x="1368" y="66"/>
                  </a:lnTo>
                  <a:lnTo>
                    <a:pt x="1374" y="72"/>
                  </a:lnTo>
                  <a:lnTo>
                    <a:pt x="1374" y="78"/>
                  </a:lnTo>
                  <a:lnTo>
                    <a:pt x="1398" y="108"/>
                  </a:lnTo>
                  <a:lnTo>
                    <a:pt x="1398" y="114"/>
                  </a:lnTo>
                  <a:lnTo>
                    <a:pt x="1404" y="114"/>
                  </a:lnTo>
                  <a:lnTo>
                    <a:pt x="1404" y="120"/>
                  </a:lnTo>
                  <a:lnTo>
                    <a:pt x="1410" y="132"/>
                  </a:lnTo>
                  <a:lnTo>
                    <a:pt x="1416" y="132"/>
                  </a:lnTo>
                  <a:lnTo>
                    <a:pt x="1416" y="138"/>
                  </a:lnTo>
                  <a:lnTo>
                    <a:pt x="1422" y="144"/>
                  </a:lnTo>
                  <a:lnTo>
                    <a:pt x="1428" y="150"/>
                  </a:lnTo>
                  <a:lnTo>
                    <a:pt x="1428" y="156"/>
                  </a:lnTo>
                  <a:lnTo>
                    <a:pt x="1458" y="192"/>
                  </a:lnTo>
                  <a:lnTo>
                    <a:pt x="1458" y="198"/>
                  </a:lnTo>
                  <a:lnTo>
                    <a:pt x="1464" y="204"/>
                  </a:lnTo>
                  <a:lnTo>
                    <a:pt x="1470" y="210"/>
                  </a:lnTo>
                  <a:lnTo>
                    <a:pt x="1476" y="216"/>
                  </a:lnTo>
                  <a:lnTo>
                    <a:pt x="1482" y="228"/>
                  </a:lnTo>
                  <a:lnTo>
                    <a:pt x="1488" y="234"/>
                  </a:lnTo>
                  <a:lnTo>
                    <a:pt x="1512" y="270"/>
                  </a:lnTo>
                  <a:lnTo>
                    <a:pt x="1512" y="276"/>
                  </a:lnTo>
                  <a:lnTo>
                    <a:pt x="1530" y="300"/>
                  </a:lnTo>
                  <a:lnTo>
                    <a:pt x="1536" y="306"/>
                  </a:lnTo>
                  <a:lnTo>
                    <a:pt x="1542" y="312"/>
                  </a:lnTo>
                  <a:lnTo>
                    <a:pt x="1542" y="318"/>
                  </a:lnTo>
                  <a:lnTo>
                    <a:pt x="1560" y="336"/>
                  </a:lnTo>
                  <a:lnTo>
                    <a:pt x="1566" y="348"/>
                  </a:lnTo>
                  <a:lnTo>
                    <a:pt x="1572" y="354"/>
                  </a:lnTo>
                  <a:lnTo>
                    <a:pt x="1578" y="360"/>
                  </a:lnTo>
                  <a:lnTo>
                    <a:pt x="1584" y="378"/>
                  </a:lnTo>
                  <a:lnTo>
                    <a:pt x="1590" y="378"/>
                  </a:lnTo>
                  <a:lnTo>
                    <a:pt x="1596" y="390"/>
                  </a:lnTo>
                  <a:lnTo>
                    <a:pt x="1602" y="396"/>
                  </a:lnTo>
                  <a:lnTo>
                    <a:pt x="1608" y="408"/>
                  </a:lnTo>
                  <a:lnTo>
                    <a:pt x="1614" y="408"/>
                  </a:lnTo>
                  <a:lnTo>
                    <a:pt x="1614" y="432"/>
                  </a:lnTo>
                  <a:lnTo>
                    <a:pt x="1620" y="438"/>
                  </a:lnTo>
                  <a:lnTo>
                    <a:pt x="1620" y="450"/>
                  </a:lnTo>
                  <a:lnTo>
                    <a:pt x="1620" y="462"/>
                  </a:lnTo>
                  <a:lnTo>
                    <a:pt x="1626" y="474"/>
                  </a:lnTo>
                  <a:lnTo>
                    <a:pt x="1626" y="480"/>
                  </a:lnTo>
                  <a:lnTo>
                    <a:pt x="1626" y="486"/>
                  </a:lnTo>
                  <a:lnTo>
                    <a:pt x="1632" y="522"/>
                  </a:lnTo>
                  <a:lnTo>
                    <a:pt x="1632" y="528"/>
                  </a:lnTo>
                  <a:lnTo>
                    <a:pt x="1632" y="534"/>
                  </a:lnTo>
                  <a:lnTo>
                    <a:pt x="1638" y="540"/>
                  </a:lnTo>
                  <a:lnTo>
                    <a:pt x="1638" y="558"/>
                  </a:lnTo>
                  <a:lnTo>
                    <a:pt x="1638" y="570"/>
                  </a:lnTo>
                  <a:lnTo>
                    <a:pt x="1644" y="582"/>
                  </a:lnTo>
                  <a:lnTo>
                    <a:pt x="1650" y="618"/>
                  </a:lnTo>
                  <a:lnTo>
                    <a:pt x="1650" y="624"/>
                  </a:lnTo>
                  <a:lnTo>
                    <a:pt x="1650" y="636"/>
                  </a:lnTo>
                  <a:lnTo>
                    <a:pt x="1656" y="642"/>
                  </a:lnTo>
                  <a:lnTo>
                    <a:pt x="1656" y="648"/>
                  </a:lnTo>
                  <a:lnTo>
                    <a:pt x="1656" y="654"/>
                  </a:lnTo>
                  <a:lnTo>
                    <a:pt x="1656" y="660"/>
                  </a:lnTo>
                  <a:lnTo>
                    <a:pt x="1662" y="696"/>
                  </a:lnTo>
                  <a:lnTo>
                    <a:pt x="1668" y="708"/>
                  </a:lnTo>
                  <a:lnTo>
                    <a:pt x="1668" y="714"/>
                  </a:lnTo>
                  <a:lnTo>
                    <a:pt x="1668" y="732"/>
                  </a:lnTo>
                  <a:lnTo>
                    <a:pt x="1668" y="744"/>
                  </a:lnTo>
                  <a:lnTo>
                    <a:pt x="1674" y="756"/>
                  </a:lnTo>
                  <a:lnTo>
                    <a:pt x="1680" y="762"/>
                  </a:lnTo>
                  <a:lnTo>
                    <a:pt x="1680" y="768"/>
                  </a:lnTo>
                  <a:lnTo>
                    <a:pt x="1680" y="774"/>
                  </a:lnTo>
                  <a:lnTo>
                    <a:pt x="1680" y="780"/>
                  </a:lnTo>
                  <a:lnTo>
                    <a:pt x="1674" y="786"/>
                  </a:lnTo>
                  <a:lnTo>
                    <a:pt x="1668" y="792"/>
                  </a:lnTo>
                  <a:lnTo>
                    <a:pt x="1668" y="798"/>
                  </a:lnTo>
                  <a:lnTo>
                    <a:pt x="1668" y="804"/>
                  </a:lnTo>
                  <a:lnTo>
                    <a:pt x="1674" y="804"/>
                  </a:lnTo>
                  <a:lnTo>
                    <a:pt x="1668" y="810"/>
                  </a:lnTo>
                  <a:lnTo>
                    <a:pt x="1674" y="810"/>
                  </a:lnTo>
                  <a:lnTo>
                    <a:pt x="1680" y="810"/>
                  </a:lnTo>
                  <a:lnTo>
                    <a:pt x="1680" y="816"/>
                  </a:lnTo>
                  <a:lnTo>
                    <a:pt x="1680" y="822"/>
                  </a:lnTo>
                  <a:lnTo>
                    <a:pt x="1674" y="822"/>
                  </a:lnTo>
                  <a:lnTo>
                    <a:pt x="1674" y="828"/>
                  </a:lnTo>
                  <a:lnTo>
                    <a:pt x="1668" y="828"/>
                  </a:lnTo>
                  <a:lnTo>
                    <a:pt x="1674" y="834"/>
                  </a:lnTo>
                  <a:lnTo>
                    <a:pt x="1668" y="834"/>
                  </a:lnTo>
                  <a:lnTo>
                    <a:pt x="1668" y="840"/>
                  </a:lnTo>
                  <a:lnTo>
                    <a:pt x="1674" y="840"/>
                  </a:lnTo>
                  <a:lnTo>
                    <a:pt x="1686" y="852"/>
                  </a:lnTo>
                  <a:lnTo>
                    <a:pt x="1692" y="858"/>
                  </a:lnTo>
                  <a:lnTo>
                    <a:pt x="1698" y="858"/>
                  </a:lnTo>
                  <a:lnTo>
                    <a:pt x="1698" y="864"/>
                  </a:lnTo>
                  <a:lnTo>
                    <a:pt x="1698" y="870"/>
                  </a:lnTo>
                  <a:lnTo>
                    <a:pt x="1704" y="864"/>
                  </a:lnTo>
                  <a:lnTo>
                    <a:pt x="1716" y="864"/>
                  </a:lnTo>
                  <a:lnTo>
                    <a:pt x="1722" y="864"/>
                  </a:lnTo>
                  <a:lnTo>
                    <a:pt x="1728" y="864"/>
                  </a:lnTo>
                  <a:lnTo>
                    <a:pt x="1734" y="864"/>
                  </a:lnTo>
                  <a:lnTo>
                    <a:pt x="1740" y="864"/>
                  </a:lnTo>
                  <a:lnTo>
                    <a:pt x="1746" y="876"/>
                  </a:lnTo>
                  <a:lnTo>
                    <a:pt x="1746" y="870"/>
                  </a:lnTo>
                  <a:lnTo>
                    <a:pt x="1740" y="864"/>
                  </a:lnTo>
                  <a:lnTo>
                    <a:pt x="1746" y="864"/>
                  </a:lnTo>
                  <a:lnTo>
                    <a:pt x="1752" y="870"/>
                  </a:lnTo>
                  <a:lnTo>
                    <a:pt x="1758" y="864"/>
                  </a:lnTo>
                  <a:lnTo>
                    <a:pt x="1764" y="864"/>
                  </a:lnTo>
                  <a:lnTo>
                    <a:pt x="1770" y="858"/>
                  </a:lnTo>
                  <a:lnTo>
                    <a:pt x="1782" y="864"/>
                  </a:lnTo>
                  <a:lnTo>
                    <a:pt x="1782" y="870"/>
                  </a:lnTo>
                  <a:lnTo>
                    <a:pt x="1788" y="864"/>
                  </a:lnTo>
                  <a:lnTo>
                    <a:pt x="1794" y="864"/>
                  </a:lnTo>
                  <a:lnTo>
                    <a:pt x="1800" y="870"/>
                  </a:lnTo>
                  <a:lnTo>
                    <a:pt x="1818" y="864"/>
                  </a:lnTo>
                  <a:lnTo>
                    <a:pt x="1824" y="870"/>
                  </a:lnTo>
                  <a:lnTo>
                    <a:pt x="1830" y="864"/>
                  </a:lnTo>
                  <a:lnTo>
                    <a:pt x="1836" y="864"/>
                  </a:lnTo>
                  <a:lnTo>
                    <a:pt x="1842" y="870"/>
                  </a:lnTo>
                  <a:lnTo>
                    <a:pt x="1842" y="876"/>
                  </a:lnTo>
                  <a:lnTo>
                    <a:pt x="1848" y="876"/>
                  </a:lnTo>
                  <a:lnTo>
                    <a:pt x="1848" y="870"/>
                  </a:lnTo>
                  <a:lnTo>
                    <a:pt x="1854" y="870"/>
                  </a:lnTo>
                  <a:lnTo>
                    <a:pt x="1860" y="870"/>
                  </a:lnTo>
                  <a:lnTo>
                    <a:pt x="1860" y="876"/>
                  </a:lnTo>
                  <a:lnTo>
                    <a:pt x="1866" y="876"/>
                  </a:lnTo>
                  <a:lnTo>
                    <a:pt x="1866" y="882"/>
                  </a:lnTo>
                  <a:lnTo>
                    <a:pt x="1872" y="882"/>
                  </a:lnTo>
                  <a:lnTo>
                    <a:pt x="1878" y="888"/>
                  </a:lnTo>
                  <a:lnTo>
                    <a:pt x="1890" y="888"/>
                  </a:lnTo>
                  <a:lnTo>
                    <a:pt x="1890" y="894"/>
                  </a:lnTo>
                  <a:lnTo>
                    <a:pt x="1890" y="900"/>
                  </a:lnTo>
                  <a:lnTo>
                    <a:pt x="1884" y="900"/>
                  </a:lnTo>
                  <a:lnTo>
                    <a:pt x="1884" y="906"/>
                  </a:lnTo>
                  <a:lnTo>
                    <a:pt x="1884" y="912"/>
                  </a:lnTo>
                  <a:lnTo>
                    <a:pt x="1890" y="912"/>
                  </a:lnTo>
                  <a:lnTo>
                    <a:pt x="1896" y="912"/>
                  </a:lnTo>
                  <a:lnTo>
                    <a:pt x="1902" y="912"/>
                  </a:lnTo>
                  <a:lnTo>
                    <a:pt x="1908" y="918"/>
                  </a:lnTo>
                  <a:lnTo>
                    <a:pt x="1908" y="924"/>
                  </a:lnTo>
                  <a:lnTo>
                    <a:pt x="1908" y="930"/>
                  </a:lnTo>
                  <a:lnTo>
                    <a:pt x="1908" y="936"/>
                  </a:lnTo>
                  <a:lnTo>
                    <a:pt x="1914" y="936"/>
                  </a:lnTo>
                  <a:lnTo>
                    <a:pt x="1914" y="942"/>
                  </a:lnTo>
                  <a:lnTo>
                    <a:pt x="1908" y="948"/>
                  </a:lnTo>
                  <a:lnTo>
                    <a:pt x="1914" y="948"/>
                  </a:lnTo>
                  <a:lnTo>
                    <a:pt x="1920" y="954"/>
                  </a:lnTo>
                  <a:lnTo>
                    <a:pt x="1926" y="954"/>
                  </a:lnTo>
                  <a:lnTo>
                    <a:pt x="1932" y="954"/>
                  </a:lnTo>
                  <a:lnTo>
                    <a:pt x="1938" y="954"/>
                  </a:lnTo>
                  <a:lnTo>
                    <a:pt x="1938" y="960"/>
                  </a:lnTo>
                  <a:lnTo>
                    <a:pt x="1944" y="966"/>
                  </a:lnTo>
                  <a:lnTo>
                    <a:pt x="1944" y="972"/>
                  </a:lnTo>
                  <a:lnTo>
                    <a:pt x="1944" y="978"/>
                  </a:lnTo>
                  <a:lnTo>
                    <a:pt x="1950" y="978"/>
                  </a:lnTo>
                  <a:lnTo>
                    <a:pt x="1950" y="984"/>
                  </a:lnTo>
                  <a:lnTo>
                    <a:pt x="1956" y="984"/>
                  </a:lnTo>
                  <a:lnTo>
                    <a:pt x="1962" y="984"/>
                  </a:lnTo>
                  <a:lnTo>
                    <a:pt x="1962" y="978"/>
                  </a:lnTo>
                  <a:lnTo>
                    <a:pt x="1968" y="978"/>
                  </a:lnTo>
                  <a:lnTo>
                    <a:pt x="1974" y="978"/>
                  </a:lnTo>
                  <a:lnTo>
                    <a:pt x="1980" y="972"/>
                  </a:lnTo>
                  <a:lnTo>
                    <a:pt x="1980" y="978"/>
                  </a:lnTo>
                  <a:lnTo>
                    <a:pt x="1980" y="984"/>
                  </a:lnTo>
                  <a:lnTo>
                    <a:pt x="1986" y="984"/>
                  </a:lnTo>
                  <a:lnTo>
                    <a:pt x="1992" y="990"/>
                  </a:lnTo>
                  <a:lnTo>
                    <a:pt x="1992" y="996"/>
                  </a:lnTo>
                  <a:lnTo>
                    <a:pt x="1992" y="1002"/>
                  </a:lnTo>
                  <a:lnTo>
                    <a:pt x="1974" y="1008"/>
                  </a:lnTo>
                  <a:lnTo>
                    <a:pt x="1974" y="1014"/>
                  </a:lnTo>
                  <a:lnTo>
                    <a:pt x="1974" y="1020"/>
                  </a:lnTo>
                  <a:lnTo>
                    <a:pt x="1974" y="1026"/>
                  </a:lnTo>
                  <a:lnTo>
                    <a:pt x="1968" y="1038"/>
                  </a:lnTo>
                  <a:lnTo>
                    <a:pt x="1968" y="1044"/>
                  </a:lnTo>
                  <a:lnTo>
                    <a:pt x="1974" y="1056"/>
                  </a:lnTo>
                  <a:lnTo>
                    <a:pt x="1968" y="1062"/>
                  </a:lnTo>
                  <a:lnTo>
                    <a:pt x="1962" y="1062"/>
                  </a:lnTo>
                  <a:lnTo>
                    <a:pt x="1956" y="1068"/>
                  </a:lnTo>
                  <a:lnTo>
                    <a:pt x="1956" y="1074"/>
                  </a:lnTo>
                  <a:lnTo>
                    <a:pt x="1956" y="1080"/>
                  </a:lnTo>
                  <a:lnTo>
                    <a:pt x="1956" y="1086"/>
                  </a:lnTo>
                  <a:lnTo>
                    <a:pt x="1956" y="1092"/>
                  </a:lnTo>
                  <a:lnTo>
                    <a:pt x="1962" y="1092"/>
                  </a:lnTo>
                  <a:lnTo>
                    <a:pt x="1962" y="1104"/>
                  </a:lnTo>
                  <a:lnTo>
                    <a:pt x="1968" y="1110"/>
                  </a:lnTo>
                  <a:lnTo>
                    <a:pt x="1968" y="1116"/>
                  </a:lnTo>
                  <a:lnTo>
                    <a:pt x="1974" y="1116"/>
                  </a:lnTo>
                  <a:lnTo>
                    <a:pt x="1974" y="1122"/>
                  </a:lnTo>
                  <a:lnTo>
                    <a:pt x="1980" y="1122"/>
                  </a:lnTo>
                  <a:lnTo>
                    <a:pt x="1974" y="1128"/>
                  </a:lnTo>
                  <a:lnTo>
                    <a:pt x="1968" y="1134"/>
                  </a:lnTo>
                  <a:lnTo>
                    <a:pt x="1962" y="1140"/>
                  </a:lnTo>
                  <a:lnTo>
                    <a:pt x="1962" y="1146"/>
                  </a:lnTo>
                  <a:lnTo>
                    <a:pt x="1968" y="1152"/>
                  </a:lnTo>
                  <a:lnTo>
                    <a:pt x="1968" y="1158"/>
                  </a:lnTo>
                  <a:lnTo>
                    <a:pt x="1962" y="1158"/>
                  </a:lnTo>
                  <a:lnTo>
                    <a:pt x="1962" y="1164"/>
                  </a:lnTo>
                  <a:lnTo>
                    <a:pt x="1956" y="1164"/>
                  </a:lnTo>
                  <a:lnTo>
                    <a:pt x="1956" y="1170"/>
                  </a:lnTo>
                  <a:lnTo>
                    <a:pt x="1944" y="1182"/>
                  </a:lnTo>
                  <a:lnTo>
                    <a:pt x="1944" y="1188"/>
                  </a:lnTo>
                  <a:lnTo>
                    <a:pt x="1950" y="1188"/>
                  </a:lnTo>
                  <a:lnTo>
                    <a:pt x="1944" y="1200"/>
                  </a:lnTo>
                  <a:lnTo>
                    <a:pt x="1944" y="1206"/>
                  </a:lnTo>
                  <a:lnTo>
                    <a:pt x="1944" y="1212"/>
                  </a:lnTo>
                  <a:lnTo>
                    <a:pt x="1944" y="1218"/>
                  </a:lnTo>
                  <a:lnTo>
                    <a:pt x="1944" y="1230"/>
                  </a:lnTo>
                  <a:lnTo>
                    <a:pt x="1944" y="1236"/>
                  </a:lnTo>
                  <a:lnTo>
                    <a:pt x="1944" y="1242"/>
                  </a:lnTo>
                  <a:lnTo>
                    <a:pt x="1938" y="1248"/>
                  </a:lnTo>
                  <a:lnTo>
                    <a:pt x="1938" y="1254"/>
                  </a:lnTo>
                  <a:lnTo>
                    <a:pt x="1932" y="1254"/>
                  </a:lnTo>
                  <a:lnTo>
                    <a:pt x="1926" y="1260"/>
                  </a:lnTo>
                  <a:lnTo>
                    <a:pt x="1920" y="1266"/>
                  </a:lnTo>
                  <a:lnTo>
                    <a:pt x="1914" y="1272"/>
                  </a:lnTo>
                  <a:lnTo>
                    <a:pt x="1908" y="1272"/>
                  </a:lnTo>
                  <a:lnTo>
                    <a:pt x="1908" y="1278"/>
                  </a:lnTo>
                  <a:lnTo>
                    <a:pt x="1914" y="1278"/>
                  </a:lnTo>
                  <a:lnTo>
                    <a:pt x="1914" y="1290"/>
                  </a:lnTo>
                  <a:lnTo>
                    <a:pt x="1920" y="1296"/>
                  </a:lnTo>
                  <a:lnTo>
                    <a:pt x="1938" y="1302"/>
                  </a:lnTo>
                  <a:lnTo>
                    <a:pt x="1944" y="1308"/>
                  </a:lnTo>
                  <a:lnTo>
                    <a:pt x="1950" y="1314"/>
                  </a:lnTo>
                  <a:lnTo>
                    <a:pt x="1956" y="1314"/>
                  </a:lnTo>
                  <a:lnTo>
                    <a:pt x="1962" y="1320"/>
                  </a:lnTo>
                  <a:lnTo>
                    <a:pt x="1962" y="1326"/>
                  </a:lnTo>
                  <a:lnTo>
                    <a:pt x="1968" y="1326"/>
                  </a:lnTo>
                  <a:lnTo>
                    <a:pt x="1968" y="1332"/>
                  </a:lnTo>
                  <a:lnTo>
                    <a:pt x="1968" y="1344"/>
                  </a:lnTo>
                  <a:lnTo>
                    <a:pt x="1968" y="1350"/>
                  </a:lnTo>
                  <a:lnTo>
                    <a:pt x="1968" y="1368"/>
                  </a:lnTo>
                  <a:lnTo>
                    <a:pt x="1962" y="1380"/>
                  </a:lnTo>
                  <a:lnTo>
                    <a:pt x="1968" y="1392"/>
                  </a:lnTo>
                  <a:lnTo>
                    <a:pt x="1962" y="1398"/>
                  </a:lnTo>
                  <a:lnTo>
                    <a:pt x="1956" y="1404"/>
                  </a:lnTo>
                  <a:lnTo>
                    <a:pt x="1950" y="1410"/>
                  </a:lnTo>
                  <a:lnTo>
                    <a:pt x="1944" y="1410"/>
                  </a:lnTo>
                  <a:lnTo>
                    <a:pt x="1932" y="1416"/>
                  </a:lnTo>
                  <a:lnTo>
                    <a:pt x="1926" y="1416"/>
                  </a:lnTo>
                  <a:lnTo>
                    <a:pt x="1896" y="1428"/>
                  </a:lnTo>
                  <a:lnTo>
                    <a:pt x="1884" y="1434"/>
                  </a:lnTo>
                  <a:lnTo>
                    <a:pt x="1878" y="1434"/>
                  </a:lnTo>
                  <a:lnTo>
                    <a:pt x="1866" y="1434"/>
                  </a:lnTo>
                  <a:lnTo>
                    <a:pt x="1854" y="1440"/>
                  </a:lnTo>
                  <a:lnTo>
                    <a:pt x="1848" y="1440"/>
                  </a:lnTo>
                  <a:lnTo>
                    <a:pt x="1842" y="1446"/>
                  </a:lnTo>
                  <a:lnTo>
                    <a:pt x="1842" y="1458"/>
                  </a:lnTo>
                  <a:lnTo>
                    <a:pt x="1836" y="1470"/>
                  </a:lnTo>
                  <a:lnTo>
                    <a:pt x="1830" y="1476"/>
                  </a:lnTo>
                  <a:lnTo>
                    <a:pt x="1824" y="1476"/>
                  </a:lnTo>
                  <a:lnTo>
                    <a:pt x="1806" y="1482"/>
                  </a:lnTo>
                  <a:lnTo>
                    <a:pt x="1800" y="1488"/>
                  </a:lnTo>
                  <a:lnTo>
                    <a:pt x="1794" y="1488"/>
                  </a:lnTo>
                  <a:lnTo>
                    <a:pt x="1788" y="1488"/>
                  </a:lnTo>
                  <a:lnTo>
                    <a:pt x="1776" y="1494"/>
                  </a:lnTo>
                  <a:lnTo>
                    <a:pt x="1764" y="1494"/>
                  </a:lnTo>
                  <a:lnTo>
                    <a:pt x="1758" y="1500"/>
                  </a:lnTo>
                  <a:lnTo>
                    <a:pt x="1746" y="1506"/>
                  </a:lnTo>
                  <a:lnTo>
                    <a:pt x="1728" y="1518"/>
                  </a:lnTo>
                  <a:lnTo>
                    <a:pt x="1716" y="1524"/>
                  </a:lnTo>
                  <a:lnTo>
                    <a:pt x="1710" y="1530"/>
                  </a:lnTo>
                  <a:lnTo>
                    <a:pt x="1704" y="1536"/>
                  </a:lnTo>
                  <a:lnTo>
                    <a:pt x="1698" y="1542"/>
                  </a:lnTo>
                  <a:lnTo>
                    <a:pt x="1692" y="1554"/>
                  </a:lnTo>
                  <a:lnTo>
                    <a:pt x="1686" y="1560"/>
                  </a:lnTo>
                  <a:lnTo>
                    <a:pt x="1680" y="1560"/>
                  </a:lnTo>
                  <a:lnTo>
                    <a:pt x="1674" y="1560"/>
                  </a:lnTo>
                  <a:lnTo>
                    <a:pt x="1656" y="1572"/>
                  </a:lnTo>
                  <a:lnTo>
                    <a:pt x="1650" y="1572"/>
                  </a:lnTo>
                  <a:lnTo>
                    <a:pt x="1644" y="1572"/>
                  </a:lnTo>
                  <a:lnTo>
                    <a:pt x="1638" y="1578"/>
                  </a:lnTo>
                  <a:lnTo>
                    <a:pt x="1632" y="1578"/>
                  </a:lnTo>
                  <a:lnTo>
                    <a:pt x="1626" y="1578"/>
                  </a:lnTo>
                  <a:lnTo>
                    <a:pt x="1620" y="1572"/>
                  </a:lnTo>
                  <a:lnTo>
                    <a:pt x="1614" y="1572"/>
                  </a:lnTo>
                  <a:lnTo>
                    <a:pt x="1608" y="1566"/>
                  </a:lnTo>
                  <a:lnTo>
                    <a:pt x="1602" y="1560"/>
                  </a:lnTo>
                  <a:lnTo>
                    <a:pt x="1596" y="1554"/>
                  </a:lnTo>
                  <a:lnTo>
                    <a:pt x="1590" y="1548"/>
                  </a:lnTo>
                  <a:lnTo>
                    <a:pt x="1578" y="1548"/>
                  </a:lnTo>
                  <a:lnTo>
                    <a:pt x="1572" y="1548"/>
                  </a:lnTo>
                  <a:lnTo>
                    <a:pt x="1566" y="1548"/>
                  </a:lnTo>
                  <a:lnTo>
                    <a:pt x="1554" y="1536"/>
                  </a:lnTo>
                  <a:lnTo>
                    <a:pt x="1548" y="1536"/>
                  </a:lnTo>
                  <a:lnTo>
                    <a:pt x="1542" y="1542"/>
                  </a:lnTo>
                  <a:lnTo>
                    <a:pt x="1536" y="1548"/>
                  </a:lnTo>
                  <a:lnTo>
                    <a:pt x="1536" y="1566"/>
                  </a:lnTo>
                  <a:lnTo>
                    <a:pt x="1530" y="1572"/>
                  </a:lnTo>
                  <a:lnTo>
                    <a:pt x="1524" y="1578"/>
                  </a:lnTo>
                  <a:lnTo>
                    <a:pt x="1518" y="1584"/>
                  </a:lnTo>
                  <a:lnTo>
                    <a:pt x="1512" y="1596"/>
                  </a:lnTo>
                  <a:lnTo>
                    <a:pt x="1506" y="1602"/>
                  </a:lnTo>
                  <a:lnTo>
                    <a:pt x="1506" y="1608"/>
                  </a:lnTo>
                  <a:lnTo>
                    <a:pt x="1506" y="1614"/>
                  </a:lnTo>
                  <a:lnTo>
                    <a:pt x="1500" y="1614"/>
                  </a:lnTo>
                  <a:lnTo>
                    <a:pt x="1500" y="1620"/>
                  </a:lnTo>
                  <a:lnTo>
                    <a:pt x="1500" y="1626"/>
                  </a:lnTo>
                  <a:lnTo>
                    <a:pt x="1494" y="1632"/>
                  </a:lnTo>
                  <a:lnTo>
                    <a:pt x="1488" y="1638"/>
                  </a:lnTo>
                  <a:lnTo>
                    <a:pt x="1482" y="1638"/>
                  </a:lnTo>
                  <a:lnTo>
                    <a:pt x="1482" y="1644"/>
                  </a:lnTo>
                  <a:lnTo>
                    <a:pt x="1482" y="1650"/>
                  </a:lnTo>
                  <a:lnTo>
                    <a:pt x="1482" y="1656"/>
                  </a:lnTo>
                  <a:lnTo>
                    <a:pt x="1476" y="1662"/>
                  </a:lnTo>
                  <a:lnTo>
                    <a:pt x="1470" y="1668"/>
                  </a:lnTo>
                  <a:lnTo>
                    <a:pt x="1464" y="1674"/>
                  </a:lnTo>
                  <a:lnTo>
                    <a:pt x="1464" y="1680"/>
                  </a:lnTo>
                  <a:lnTo>
                    <a:pt x="1458" y="1680"/>
                  </a:lnTo>
                  <a:lnTo>
                    <a:pt x="1452" y="1686"/>
                  </a:lnTo>
                  <a:lnTo>
                    <a:pt x="1446" y="1686"/>
                  </a:lnTo>
                  <a:lnTo>
                    <a:pt x="1440" y="1698"/>
                  </a:lnTo>
                  <a:lnTo>
                    <a:pt x="1440" y="1704"/>
                  </a:lnTo>
                  <a:lnTo>
                    <a:pt x="1434" y="1710"/>
                  </a:lnTo>
                  <a:lnTo>
                    <a:pt x="1434" y="1716"/>
                  </a:lnTo>
                  <a:lnTo>
                    <a:pt x="1428" y="1716"/>
                  </a:lnTo>
                  <a:lnTo>
                    <a:pt x="1428" y="1722"/>
                  </a:lnTo>
                  <a:lnTo>
                    <a:pt x="1428" y="1728"/>
                  </a:lnTo>
                  <a:lnTo>
                    <a:pt x="1422" y="1728"/>
                  </a:lnTo>
                  <a:lnTo>
                    <a:pt x="1422" y="1734"/>
                  </a:lnTo>
                  <a:lnTo>
                    <a:pt x="1416" y="1734"/>
                  </a:lnTo>
                  <a:lnTo>
                    <a:pt x="1410" y="1734"/>
                  </a:lnTo>
                  <a:lnTo>
                    <a:pt x="1392" y="1746"/>
                  </a:lnTo>
                  <a:lnTo>
                    <a:pt x="1386" y="1746"/>
                  </a:lnTo>
                  <a:lnTo>
                    <a:pt x="1368" y="1752"/>
                  </a:lnTo>
                  <a:lnTo>
                    <a:pt x="1362" y="1758"/>
                  </a:lnTo>
                  <a:lnTo>
                    <a:pt x="1362" y="1770"/>
                  </a:lnTo>
                  <a:lnTo>
                    <a:pt x="1356" y="178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</p:grpSp>
      <p:graphicFrame>
        <p:nvGraphicFramePr>
          <p:cNvPr id="357" name="Group 76">
            <a:extLst>
              <a:ext uri="{FF2B5EF4-FFF2-40B4-BE49-F238E27FC236}">
                <a16:creationId xmlns:a16="http://schemas.microsoft.com/office/drawing/2014/main" id="{57830D68-CF73-4A3E-9D36-141B03AADB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2834417"/>
              </p:ext>
            </p:extLst>
          </p:nvPr>
        </p:nvGraphicFramePr>
        <p:xfrm>
          <a:off x="541338" y="3402013"/>
          <a:ext cx="3735387" cy="1827306"/>
        </p:xfrm>
        <a:graphic>
          <a:graphicData uri="http://schemas.openxmlformats.org/drawingml/2006/table">
            <a:tbl>
              <a:tblPr/>
              <a:tblGrid>
                <a:gridCol w="1316931">
                  <a:extLst>
                    <a:ext uri="{9D8B030D-6E8A-4147-A177-3AD203B41FA5}">
                      <a16:colId xmlns:a16="http://schemas.microsoft.com/office/drawing/2014/main" val="2027704273"/>
                    </a:ext>
                  </a:extLst>
                </a:gridCol>
                <a:gridCol w="603796">
                  <a:extLst>
                    <a:ext uri="{9D8B030D-6E8A-4147-A177-3AD203B41FA5}">
                      <a16:colId xmlns:a16="http://schemas.microsoft.com/office/drawing/2014/main" val="3432768286"/>
                    </a:ext>
                  </a:extLst>
                </a:gridCol>
                <a:gridCol w="744015">
                  <a:extLst>
                    <a:ext uri="{9D8B030D-6E8A-4147-A177-3AD203B41FA5}">
                      <a16:colId xmlns:a16="http://schemas.microsoft.com/office/drawing/2014/main" val="3730294207"/>
                    </a:ext>
                  </a:extLst>
                </a:gridCol>
                <a:gridCol w="1070645">
                  <a:extLst>
                    <a:ext uri="{9D8B030D-6E8A-4147-A177-3AD203B41FA5}">
                      <a16:colId xmlns:a16="http://schemas.microsoft.com/office/drawing/2014/main" val="2258321117"/>
                    </a:ext>
                  </a:extLst>
                </a:gridCol>
              </a:tblGrid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apital</a:t>
                      </a:r>
                      <a:endParaRPr kumimoji="0" lang="en-SG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292929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SG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Asaba</a:t>
                      </a:r>
                      <a:endParaRPr kumimoji="0" lang="en-SG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703009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nd Are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7,108 km</a:t>
                      </a:r>
                      <a:r>
                        <a:rPr kumimoji="0" lang="en-US" altLang="en-US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22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603614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Population (2017E)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5,635,041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11 of 37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505851"/>
                  </a:ext>
                </a:extLst>
              </a:tr>
              <a:tr h="203024">
                <a:tc row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Dem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0-14: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,108,271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7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130093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5-64: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3,296,516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59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387564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65+: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   230,254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[4%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38801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bour force 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,938,439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9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797882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limate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ropical savanna and monsoon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3942226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op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en-MY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32899"/>
                  </a:ext>
                </a:extLst>
              </a:tr>
            </a:tbl>
          </a:graphicData>
        </a:graphic>
      </p:graphicFrame>
      <p:pic>
        <p:nvPicPr>
          <p:cNvPr id="23609" name="Picture 13">
            <a:extLst>
              <a:ext uri="{FF2B5EF4-FFF2-40B4-BE49-F238E27FC236}">
                <a16:creationId xmlns:a16="http://schemas.microsoft.com/office/drawing/2014/main" id="{952964D5-F0ED-4CAE-B71C-DB4A723FA5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0" y="3006725"/>
            <a:ext cx="1116013" cy="155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9" name="TextBox 378">
            <a:extLst>
              <a:ext uri="{FF2B5EF4-FFF2-40B4-BE49-F238E27FC236}">
                <a16:creationId xmlns:a16="http://schemas.microsoft.com/office/drawing/2014/main" id="{1B3FD4BF-4685-4C74-821F-10048D6246BF}"/>
              </a:ext>
            </a:extLst>
          </p:cNvPr>
          <p:cNvSpPr txBox="1"/>
          <p:nvPr/>
        </p:nvSpPr>
        <p:spPr>
          <a:xfrm>
            <a:off x="6124575" y="957263"/>
            <a:ext cx="3475038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mpetitive Advantages</a:t>
            </a: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455FE7A1-ADE5-4F7B-A489-00196671A53E}"/>
              </a:ext>
            </a:extLst>
          </p:cNvPr>
          <p:cNvSpPr/>
          <p:nvPr/>
        </p:nvSpPr>
        <p:spPr>
          <a:xfrm>
            <a:off x="4267248" y="1187511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519bn/$170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EBB25788-D073-4A78-9D6C-DF3836CFFFBB}"/>
              </a:ext>
            </a:extLst>
          </p:cNvPr>
          <p:cNvSpPr txBox="1"/>
          <p:nvPr/>
        </p:nvSpPr>
        <p:spPr>
          <a:xfrm>
            <a:off x="4267200" y="955675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GR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6F07DF39-553B-44F0-8864-1F897C2BD79A}"/>
              </a:ext>
            </a:extLst>
          </p:cNvPr>
          <p:cNvSpPr/>
          <p:nvPr/>
        </p:nvSpPr>
        <p:spPr>
          <a:xfrm>
            <a:off x="4267252" y="1809750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308.9bn/$1bn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2508695A-2D2C-45A3-80FE-9C2CB18200C2}"/>
              </a:ext>
            </a:extLst>
          </p:cNvPr>
          <p:cNvSpPr txBox="1"/>
          <p:nvPr/>
        </p:nvSpPr>
        <p:spPr>
          <a:xfrm>
            <a:off x="4267200" y="1576388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Budget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8)</a:t>
            </a: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86A33ABE-3AE3-40A7-A6A6-1B757A6A9B0F}"/>
              </a:ext>
            </a:extLst>
          </p:cNvPr>
          <p:cNvSpPr/>
          <p:nvPr/>
        </p:nvSpPr>
        <p:spPr>
          <a:xfrm>
            <a:off x="4256076" y="2667155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1.4tn /$4.6bn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1E919764-A18B-4532-A533-A84A31D7FEFE}"/>
              </a:ext>
            </a:extLst>
          </p:cNvPr>
          <p:cNvSpPr txBox="1"/>
          <p:nvPr/>
        </p:nvSpPr>
        <p:spPr>
          <a:xfrm>
            <a:off x="4256088" y="2185988"/>
            <a:ext cx="1811337" cy="50641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Household </a:t>
            </a:r>
          </a:p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nsumption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96" name="Plaque 95">
            <a:extLst>
              <a:ext uri="{FF2B5EF4-FFF2-40B4-BE49-F238E27FC236}">
                <a16:creationId xmlns:a16="http://schemas.microsoft.com/office/drawing/2014/main" id="{E3BE1182-17B4-4194-8641-F1EA2CCBB757}"/>
              </a:ext>
            </a:extLst>
          </p:cNvPr>
          <p:cNvSpPr/>
          <p:nvPr/>
        </p:nvSpPr>
        <p:spPr>
          <a:xfrm>
            <a:off x="5638800" y="2805162"/>
            <a:ext cx="428625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7 of 36</a:t>
            </a:r>
          </a:p>
        </p:txBody>
      </p:sp>
      <p:sp>
        <p:nvSpPr>
          <p:cNvPr id="99" name="Plaque 98">
            <a:extLst>
              <a:ext uri="{FF2B5EF4-FFF2-40B4-BE49-F238E27FC236}">
                <a16:creationId xmlns:a16="http://schemas.microsoft.com/office/drawing/2014/main" id="{8620E393-1C52-4CE1-9888-20922FA6DFEA}"/>
              </a:ext>
            </a:extLst>
          </p:cNvPr>
          <p:cNvSpPr/>
          <p:nvPr/>
        </p:nvSpPr>
        <p:spPr>
          <a:xfrm>
            <a:off x="5689600" y="1951038"/>
            <a:ext cx="377825" cy="153987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6 of 36</a:t>
            </a:r>
          </a:p>
        </p:txBody>
      </p:sp>
      <p:sp>
        <p:nvSpPr>
          <p:cNvPr id="100" name="Plaque 99">
            <a:extLst>
              <a:ext uri="{FF2B5EF4-FFF2-40B4-BE49-F238E27FC236}">
                <a16:creationId xmlns:a16="http://schemas.microsoft.com/office/drawing/2014/main" id="{3BFA6D28-9A42-4459-8BF1-090CE1B45216}"/>
              </a:ext>
            </a:extLst>
          </p:cNvPr>
          <p:cNvSpPr/>
          <p:nvPr/>
        </p:nvSpPr>
        <p:spPr>
          <a:xfrm>
            <a:off x="5638800" y="1333500"/>
            <a:ext cx="430213" cy="1539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latin typeface="Calibri" panose="020F0502020204030204" pitchFamily="34" charset="0"/>
                <a:cs typeface="Calibri" panose="020F0502020204030204" pitchFamily="34" charset="0"/>
              </a:rPr>
              <a:t>4 of 36</a:t>
            </a:r>
          </a:p>
        </p:txBody>
      </p:sp>
      <p:sp>
        <p:nvSpPr>
          <p:cNvPr id="101" name="Pentagon 19">
            <a:extLst>
              <a:ext uri="{FF2B5EF4-FFF2-40B4-BE49-F238E27FC236}">
                <a16:creationId xmlns:a16="http://schemas.microsoft.com/office/drawing/2014/main" id="{CCD74FA4-19D0-4356-90C9-B3B49BCC3F54}"/>
              </a:ext>
            </a:extLst>
          </p:cNvPr>
          <p:cNvSpPr>
            <a:spLocks/>
          </p:cNvSpPr>
          <p:nvPr/>
        </p:nvSpPr>
        <p:spPr bwMode="auto">
          <a:xfrm>
            <a:off x="688340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4 of 37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12EE735-1E43-4799-A46A-5D0787F375CE}"/>
              </a:ext>
            </a:extLst>
          </p:cNvPr>
          <p:cNvSpPr/>
          <p:nvPr/>
        </p:nvSpPr>
        <p:spPr>
          <a:xfrm>
            <a:off x="6880225" y="5726113"/>
            <a:ext cx="642938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Starting a Business</a:t>
            </a:r>
          </a:p>
        </p:txBody>
      </p:sp>
      <p:pic>
        <p:nvPicPr>
          <p:cNvPr id="23622" name="Picture 3">
            <a:extLst>
              <a:ext uri="{FF2B5EF4-FFF2-40B4-BE49-F238E27FC236}">
                <a16:creationId xmlns:a16="http://schemas.microsoft.com/office/drawing/2014/main" id="{53FAD0C6-8FFE-437B-B7E4-F2A938D3BE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350" y="5249863"/>
            <a:ext cx="41910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23" name="Freeform 15">
            <a:extLst>
              <a:ext uri="{FF2B5EF4-FFF2-40B4-BE49-F238E27FC236}">
                <a16:creationId xmlns:a16="http://schemas.microsoft.com/office/drawing/2014/main" id="{183A3C8B-011E-4D99-9165-3FF03A2D3207}"/>
              </a:ext>
            </a:extLst>
          </p:cNvPr>
          <p:cNvSpPr>
            <a:spLocks noEditPoints="1"/>
          </p:cNvSpPr>
          <p:nvPr/>
        </p:nvSpPr>
        <p:spPr bwMode="auto">
          <a:xfrm>
            <a:off x="9093200" y="5257800"/>
            <a:ext cx="276225" cy="347663"/>
          </a:xfrm>
          <a:custGeom>
            <a:avLst/>
            <a:gdLst>
              <a:gd name="T0" fmla="*/ 2147483646 w 3556"/>
              <a:gd name="T1" fmla="*/ 2147483646 h 3950"/>
              <a:gd name="T2" fmla="*/ 2147483646 w 3556"/>
              <a:gd name="T3" fmla="*/ 2147483646 h 3950"/>
              <a:gd name="T4" fmla="*/ 2147483646 w 3556"/>
              <a:gd name="T5" fmla="*/ 2147483646 h 3950"/>
              <a:gd name="T6" fmla="*/ 2147483646 w 3556"/>
              <a:gd name="T7" fmla="*/ 2147483646 h 3950"/>
              <a:gd name="T8" fmla="*/ 2147483646 w 3556"/>
              <a:gd name="T9" fmla="*/ 2147483646 h 3950"/>
              <a:gd name="T10" fmla="*/ 2147483646 w 3556"/>
              <a:gd name="T11" fmla="*/ 2147483646 h 3950"/>
              <a:gd name="T12" fmla="*/ 2147483646 w 3556"/>
              <a:gd name="T13" fmla="*/ 2147483646 h 3950"/>
              <a:gd name="T14" fmla="*/ 2147483646 w 3556"/>
              <a:gd name="T15" fmla="*/ 2147483646 h 3950"/>
              <a:gd name="T16" fmla="*/ 2147483646 w 3556"/>
              <a:gd name="T17" fmla="*/ 2147483646 h 3950"/>
              <a:gd name="T18" fmla="*/ 2147483646 w 3556"/>
              <a:gd name="T19" fmla="*/ 2147483646 h 3950"/>
              <a:gd name="T20" fmla="*/ 2147483646 w 3556"/>
              <a:gd name="T21" fmla="*/ 2147483646 h 3950"/>
              <a:gd name="T22" fmla="*/ 0 w 3556"/>
              <a:gd name="T23" fmla="*/ 2147483646 h 3950"/>
              <a:gd name="T24" fmla="*/ 2147483646 w 3556"/>
              <a:gd name="T25" fmla="*/ 2147483646 h 3950"/>
              <a:gd name="T26" fmla="*/ 2147483646 w 3556"/>
              <a:gd name="T27" fmla="*/ 2147483646 h 3950"/>
              <a:gd name="T28" fmla="*/ 2147483646 w 3556"/>
              <a:gd name="T29" fmla="*/ 2147483646 h 3950"/>
              <a:gd name="T30" fmla="*/ 2147483646 w 3556"/>
              <a:gd name="T31" fmla="*/ 2147483646 h 3950"/>
              <a:gd name="T32" fmla="*/ 2147483646 w 3556"/>
              <a:gd name="T33" fmla="*/ 2147483646 h 3950"/>
              <a:gd name="T34" fmla="*/ 2147483646 w 3556"/>
              <a:gd name="T35" fmla="*/ 2147483646 h 3950"/>
              <a:gd name="T36" fmla="*/ 2147483646 w 3556"/>
              <a:gd name="T37" fmla="*/ 2147483646 h 3950"/>
              <a:gd name="T38" fmla="*/ 2147483646 w 3556"/>
              <a:gd name="T39" fmla="*/ 2147483646 h 3950"/>
              <a:gd name="T40" fmla="*/ 2147483646 w 3556"/>
              <a:gd name="T41" fmla="*/ 2147483646 h 3950"/>
              <a:gd name="T42" fmla="*/ 2147483646 w 3556"/>
              <a:gd name="T43" fmla="*/ 2147483646 h 3950"/>
              <a:gd name="T44" fmla="*/ 2147483646 w 3556"/>
              <a:gd name="T45" fmla="*/ 2147483646 h 3950"/>
              <a:gd name="T46" fmla="*/ 2147483646 w 3556"/>
              <a:gd name="T47" fmla="*/ 2147483646 h 3950"/>
              <a:gd name="T48" fmla="*/ 2147483646 w 3556"/>
              <a:gd name="T49" fmla="*/ 2147483646 h 3950"/>
              <a:gd name="T50" fmla="*/ 2147483646 w 3556"/>
              <a:gd name="T51" fmla="*/ 2147483646 h 3950"/>
              <a:gd name="T52" fmla="*/ 2147483646 w 3556"/>
              <a:gd name="T53" fmla="*/ 2147483646 h 3950"/>
              <a:gd name="T54" fmla="*/ 2147483646 w 3556"/>
              <a:gd name="T55" fmla="*/ 2147483646 h 3950"/>
              <a:gd name="T56" fmla="*/ 2147483646 w 3556"/>
              <a:gd name="T57" fmla="*/ 2147483646 h 3950"/>
              <a:gd name="T58" fmla="*/ 2147483646 w 3556"/>
              <a:gd name="T59" fmla="*/ 2147483646 h 3950"/>
              <a:gd name="T60" fmla="*/ 2147483646 w 3556"/>
              <a:gd name="T61" fmla="*/ 2147483646 h 3950"/>
              <a:gd name="T62" fmla="*/ 2147483646 w 3556"/>
              <a:gd name="T63" fmla="*/ 2147483646 h 3950"/>
              <a:gd name="T64" fmla="*/ 2147483646 w 3556"/>
              <a:gd name="T65" fmla="*/ 2147483646 h 3950"/>
              <a:gd name="T66" fmla="*/ 2147483646 w 3556"/>
              <a:gd name="T67" fmla="*/ 2147483646 h 3950"/>
              <a:gd name="T68" fmla="*/ 2147483646 w 3556"/>
              <a:gd name="T69" fmla="*/ 2147483646 h 3950"/>
              <a:gd name="T70" fmla="*/ 2147483646 w 3556"/>
              <a:gd name="T71" fmla="*/ 2147483646 h 3950"/>
              <a:gd name="T72" fmla="*/ 2147483646 w 3556"/>
              <a:gd name="T73" fmla="*/ 2147483646 h 3950"/>
              <a:gd name="T74" fmla="*/ 2147483646 w 3556"/>
              <a:gd name="T75" fmla="*/ 2147483646 h 3950"/>
              <a:gd name="T76" fmla="*/ 2147483646 w 3556"/>
              <a:gd name="T77" fmla="*/ 2147483646 h 3950"/>
              <a:gd name="T78" fmla="*/ 2147483646 w 3556"/>
              <a:gd name="T79" fmla="*/ 2147483646 h 3950"/>
              <a:gd name="T80" fmla="*/ 2147483646 w 3556"/>
              <a:gd name="T81" fmla="*/ 0 h 3950"/>
              <a:gd name="T82" fmla="*/ 2147483646 w 3556"/>
              <a:gd name="T83" fmla="*/ 2147483646 h 3950"/>
              <a:gd name="T84" fmla="*/ 2147483646 w 3556"/>
              <a:gd name="T85" fmla="*/ 2147483646 h 3950"/>
              <a:gd name="T86" fmla="*/ 2147483646 w 3556"/>
              <a:gd name="T87" fmla="*/ 2147483646 h 395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556"/>
              <a:gd name="T133" fmla="*/ 0 h 3950"/>
              <a:gd name="T134" fmla="*/ 3556 w 3556"/>
              <a:gd name="T135" fmla="*/ 3950 h 395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556" h="3950">
                <a:moveTo>
                  <a:pt x="909" y="3917"/>
                </a:moveTo>
                <a:cubicBezTo>
                  <a:pt x="824" y="3832"/>
                  <a:pt x="894" y="3725"/>
                  <a:pt x="1036" y="3725"/>
                </a:cubicBezTo>
                <a:cubicBezTo>
                  <a:pt x="1119" y="3725"/>
                  <a:pt x="1129" y="3717"/>
                  <a:pt x="1129" y="3645"/>
                </a:cubicBezTo>
                <a:cubicBezTo>
                  <a:pt x="1129" y="3472"/>
                  <a:pt x="1135" y="3471"/>
                  <a:pt x="2192" y="3471"/>
                </a:cubicBezTo>
                <a:cubicBezTo>
                  <a:pt x="3086" y="3471"/>
                  <a:pt x="3155" y="3475"/>
                  <a:pt x="3199" y="3523"/>
                </a:cubicBezTo>
                <a:cubicBezTo>
                  <a:pt x="3225" y="3551"/>
                  <a:pt x="3246" y="3608"/>
                  <a:pt x="3246" y="3648"/>
                </a:cubicBezTo>
                <a:cubicBezTo>
                  <a:pt x="3246" y="3712"/>
                  <a:pt x="3259" y="3723"/>
                  <a:pt x="3349" y="3730"/>
                </a:cubicBezTo>
                <a:cubicBezTo>
                  <a:pt x="3470" y="3741"/>
                  <a:pt x="3530" y="3811"/>
                  <a:pt x="3482" y="3887"/>
                </a:cubicBezTo>
                <a:cubicBezTo>
                  <a:pt x="3453" y="3933"/>
                  <a:pt x="3356" y="3937"/>
                  <a:pt x="2197" y="3944"/>
                </a:cubicBezTo>
                <a:cubicBezTo>
                  <a:pt x="1245" y="3950"/>
                  <a:pt x="935" y="3943"/>
                  <a:pt x="909" y="3917"/>
                </a:cubicBezTo>
                <a:close/>
                <a:moveTo>
                  <a:pt x="87" y="3370"/>
                </a:moveTo>
                <a:cubicBezTo>
                  <a:pt x="24" y="3317"/>
                  <a:pt x="0" y="3272"/>
                  <a:pt x="0" y="3209"/>
                </a:cubicBezTo>
                <a:cubicBezTo>
                  <a:pt x="0" y="3132"/>
                  <a:pt x="86" y="3035"/>
                  <a:pt x="705" y="2414"/>
                </a:cubicBezTo>
                <a:lnTo>
                  <a:pt x="1411" y="1706"/>
                </a:lnTo>
                <a:lnTo>
                  <a:pt x="1235" y="1530"/>
                </a:lnTo>
                <a:lnTo>
                  <a:pt x="1059" y="1355"/>
                </a:lnTo>
                <a:lnTo>
                  <a:pt x="1510" y="903"/>
                </a:lnTo>
                <a:lnTo>
                  <a:pt x="1960" y="452"/>
                </a:lnTo>
                <a:lnTo>
                  <a:pt x="2135" y="624"/>
                </a:lnTo>
                <a:cubicBezTo>
                  <a:pt x="2305" y="793"/>
                  <a:pt x="2310" y="796"/>
                  <a:pt x="2374" y="751"/>
                </a:cubicBezTo>
                <a:cubicBezTo>
                  <a:pt x="2469" y="685"/>
                  <a:pt x="2547" y="695"/>
                  <a:pt x="2633" y="785"/>
                </a:cubicBezTo>
                <a:cubicBezTo>
                  <a:pt x="2720" y="875"/>
                  <a:pt x="2731" y="974"/>
                  <a:pt x="2662" y="1050"/>
                </a:cubicBezTo>
                <a:cubicBezTo>
                  <a:pt x="2616" y="1100"/>
                  <a:pt x="2624" y="1112"/>
                  <a:pt x="2823" y="1313"/>
                </a:cubicBezTo>
                <a:lnTo>
                  <a:pt x="3033" y="1524"/>
                </a:lnTo>
                <a:lnTo>
                  <a:pt x="2582" y="1975"/>
                </a:lnTo>
                <a:lnTo>
                  <a:pt x="2132" y="2427"/>
                </a:lnTo>
                <a:lnTo>
                  <a:pt x="1933" y="2229"/>
                </a:lnTo>
                <a:cubicBezTo>
                  <a:pt x="1824" y="2121"/>
                  <a:pt x="1722" y="2032"/>
                  <a:pt x="1707" y="2032"/>
                </a:cubicBezTo>
                <a:cubicBezTo>
                  <a:pt x="1693" y="2032"/>
                  <a:pt x="1362" y="2349"/>
                  <a:pt x="973" y="2737"/>
                </a:cubicBezTo>
                <a:cubicBezTo>
                  <a:pt x="584" y="3125"/>
                  <a:pt x="245" y="3443"/>
                  <a:pt x="220" y="3443"/>
                </a:cubicBezTo>
                <a:cubicBezTo>
                  <a:pt x="194" y="3443"/>
                  <a:pt x="135" y="3410"/>
                  <a:pt x="87" y="3370"/>
                </a:cubicBezTo>
                <a:close/>
                <a:moveTo>
                  <a:pt x="2258" y="2887"/>
                </a:moveTo>
                <a:cubicBezTo>
                  <a:pt x="2196" y="2865"/>
                  <a:pt x="2145" y="2792"/>
                  <a:pt x="2145" y="2725"/>
                </a:cubicBezTo>
                <a:cubicBezTo>
                  <a:pt x="2145" y="2686"/>
                  <a:pt x="2337" y="2474"/>
                  <a:pt x="2703" y="2109"/>
                </a:cubicBezTo>
                <a:cubicBezTo>
                  <a:pt x="3289" y="1523"/>
                  <a:pt x="3346" y="1485"/>
                  <a:pt x="3453" y="1604"/>
                </a:cubicBezTo>
                <a:cubicBezTo>
                  <a:pt x="3556" y="1717"/>
                  <a:pt x="3522" y="1766"/>
                  <a:pt x="2956" y="2331"/>
                </a:cubicBezTo>
                <a:cubicBezTo>
                  <a:pt x="2657" y="2630"/>
                  <a:pt x="2388" y="2880"/>
                  <a:pt x="2357" y="2888"/>
                </a:cubicBezTo>
                <a:cubicBezTo>
                  <a:pt x="2326" y="2895"/>
                  <a:pt x="2281" y="2895"/>
                  <a:pt x="2258" y="2887"/>
                </a:cubicBezTo>
                <a:close/>
                <a:moveTo>
                  <a:pt x="637" y="1282"/>
                </a:moveTo>
                <a:cubicBezTo>
                  <a:pt x="528" y="1172"/>
                  <a:pt x="568" y="1113"/>
                  <a:pt x="1137" y="544"/>
                </a:cubicBezTo>
                <a:cubicBezTo>
                  <a:pt x="1607" y="74"/>
                  <a:pt x="1693" y="0"/>
                  <a:pt x="1767" y="0"/>
                </a:cubicBezTo>
                <a:cubicBezTo>
                  <a:pt x="1862" y="0"/>
                  <a:pt x="1947" y="73"/>
                  <a:pt x="1947" y="156"/>
                </a:cubicBezTo>
                <a:cubicBezTo>
                  <a:pt x="1947" y="186"/>
                  <a:pt x="1715" y="442"/>
                  <a:pt x="1391" y="767"/>
                </a:cubicBezTo>
                <a:cubicBezTo>
                  <a:pt x="808" y="1353"/>
                  <a:pt x="749" y="1393"/>
                  <a:pt x="637" y="12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4" name="Group 118">
            <a:extLst>
              <a:ext uri="{FF2B5EF4-FFF2-40B4-BE49-F238E27FC236}">
                <a16:creationId xmlns:a16="http://schemas.microsoft.com/office/drawing/2014/main" id="{FB3D6A90-C4FD-433A-A1C1-A4B3864804A5}"/>
              </a:ext>
            </a:extLst>
          </p:cNvPr>
          <p:cNvGrpSpPr/>
          <p:nvPr/>
        </p:nvGrpSpPr>
        <p:grpSpPr>
          <a:xfrm>
            <a:off x="8409631" y="5248358"/>
            <a:ext cx="346498" cy="347472"/>
            <a:chOff x="1468138" y="5997240"/>
            <a:chExt cx="283642" cy="307072"/>
          </a:xfrm>
          <a:solidFill>
            <a:schemeClr val="bg1"/>
          </a:solidFill>
        </p:grpSpPr>
        <p:sp>
          <p:nvSpPr>
            <p:cNvPr id="120" name="Freeform 16">
              <a:extLst>
                <a:ext uri="{FF2B5EF4-FFF2-40B4-BE49-F238E27FC236}">
                  <a16:creationId xmlns:a16="http://schemas.microsoft.com/office/drawing/2014/main" id="{D6134FC8-4249-4088-8AE8-003C8AAC7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6136" y="6255221"/>
              <a:ext cx="26428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1 w 349"/>
                <a:gd name="T25" fmla="*/ 226 h 350"/>
                <a:gd name="T26" fmla="*/ 225 w 349"/>
                <a:gd name="T27" fmla="*/ 213 h 350"/>
                <a:gd name="T28" fmla="*/ 234 w 349"/>
                <a:gd name="T29" fmla="*/ 194 h 350"/>
                <a:gd name="T30" fmla="*/ 237 w 349"/>
                <a:gd name="T31" fmla="*/ 175 h 350"/>
                <a:gd name="T32" fmla="*/ 235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5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4 w 349"/>
                <a:gd name="T47" fmla="*/ 3 h 350"/>
                <a:gd name="T48" fmla="*/ 234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8 w 349"/>
                <a:gd name="T55" fmla="*/ 63 h 350"/>
                <a:gd name="T56" fmla="*/ 325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5 w 349"/>
                <a:gd name="T65" fmla="*/ 210 h 350"/>
                <a:gd name="T66" fmla="*/ 335 w 349"/>
                <a:gd name="T67" fmla="*/ 243 h 350"/>
                <a:gd name="T68" fmla="*/ 319 w 349"/>
                <a:gd name="T69" fmla="*/ 273 h 350"/>
                <a:gd name="T70" fmla="*/ 297 w 349"/>
                <a:gd name="T71" fmla="*/ 299 h 350"/>
                <a:gd name="T72" fmla="*/ 272 w 349"/>
                <a:gd name="T73" fmla="*/ 319 h 350"/>
                <a:gd name="T74" fmla="*/ 242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39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29 w 349"/>
                <a:gd name="T89" fmla="*/ 273 h 350"/>
                <a:gd name="T90" fmla="*/ 14 w 349"/>
                <a:gd name="T91" fmla="*/ 243 h 350"/>
                <a:gd name="T92" fmla="*/ 3 w 349"/>
                <a:gd name="T93" fmla="*/ 210 h 350"/>
                <a:gd name="T94" fmla="*/ 0 w 349"/>
                <a:gd name="T95" fmla="*/ 175 h 350"/>
                <a:gd name="T96" fmla="*/ 3 w 349"/>
                <a:gd name="T97" fmla="*/ 140 h 350"/>
                <a:gd name="T98" fmla="*/ 14 w 349"/>
                <a:gd name="T99" fmla="*/ 107 h 350"/>
                <a:gd name="T100" fmla="*/ 29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39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1" y="226"/>
                  </a:lnTo>
                  <a:lnTo>
                    <a:pt x="225" y="213"/>
                  </a:lnTo>
                  <a:lnTo>
                    <a:pt x="234" y="194"/>
                  </a:lnTo>
                  <a:lnTo>
                    <a:pt x="237" y="175"/>
                  </a:lnTo>
                  <a:lnTo>
                    <a:pt x="235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5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4" y="3"/>
                  </a:lnTo>
                  <a:lnTo>
                    <a:pt x="234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8" y="63"/>
                  </a:lnTo>
                  <a:lnTo>
                    <a:pt x="325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5" y="210"/>
                  </a:lnTo>
                  <a:lnTo>
                    <a:pt x="335" y="243"/>
                  </a:lnTo>
                  <a:lnTo>
                    <a:pt x="319" y="273"/>
                  </a:lnTo>
                  <a:lnTo>
                    <a:pt x="297" y="299"/>
                  </a:lnTo>
                  <a:lnTo>
                    <a:pt x="272" y="319"/>
                  </a:lnTo>
                  <a:lnTo>
                    <a:pt x="242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39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29" y="273"/>
                  </a:lnTo>
                  <a:lnTo>
                    <a:pt x="14" y="243"/>
                  </a:lnTo>
                  <a:lnTo>
                    <a:pt x="3" y="210"/>
                  </a:lnTo>
                  <a:lnTo>
                    <a:pt x="0" y="175"/>
                  </a:lnTo>
                  <a:lnTo>
                    <a:pt x="3" y="140"/>
                  </a:lnTo>
                  <a:lnTo>
                    <a:pt x="14" y="107"/>
                  </a:lnTo>
                  <a:lnTo>
                    <a:pt x="29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39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1" name="Freeform 17">
              <a:extLst>
                <a:ext uri="{FF2B5EF4-FFF2-40B4-BE49-F238E27FC236}">
                  <a16:creationId xmlns:a16="http://schemas.microsoft.com/office/drawing/2014/main" id="{67A5F0B0-C078-4A85-9E32-409FF0B3D5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2133" y="6255221"/>
              <a:ext cx="26656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2 w 349"/>
                <a:gd name="T25" fmla="*/ 226 h 350"/>
                <a:gd name="T26" fmla="*/ 226 w 349"/>
                <a:gd name="T27" fmla="*/ 213 h 350"/>
                <a:gd name="T28" fmla="*/ 235 w 349"/>
                <a:gd name="T29" fmla="*/ 194 h 350"/>
                <a:gd name="T30" fmla="*/ 237 w 349"/>
                <a:gd name="T31" fmla="*/ 175 h 350"/>
                <a:gd name="T32" fmla="*/ 236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7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5 w 349"/>
                <a:gd name="T47" fmla="*/ 3 h 350"/>
                <a:gd name="T48" fmla="*/ 235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9 w 349"/>
                <a:gd name="T55" fmla="*/ 63 h 350"/>
                <a:gd name="T56" fmla="*/ 326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6 w 349"/>
                <a:gd name="T65" fmla="*/ 210 h 350"/>
                <a:gd name="T66" fmla="*/ 336 w 349"/>
                <a:gd name="T67" fmla="*/ 243 h 350"/>
                <a:gd name="T68" fmla="*/ 319 w 349"/>
                <a:gd name="T69" fmla="*/ 273 h 350"/>
                <a:gd name="T70" fmla="*/ 298 w 349"/>
                <a:gd name="T71" fmla="*/ 299 h 350"/>
                <a:gd name="T72" fmla="*/ 272 w 349"/>
                <a:gd name="T73" fmla="*/ 319 h 350"/>
                <a:gd name="T74" fmla="*/ 243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40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30 w 349"/>
                <a:gd name="T89" fmla="*/ 273 h 350"/>
                <a:gd name="T90" fmla="*/ 14 w 349"/>
                <a:gd name="T91" fmla="*/ 243 h 350"/>
                <a:gd name="T92" fmla="*/ 4 w 349"/>
                <a:gd name="T93" fmla="*/ 210 h 350"/>
                <a:gd name="T94" fmla="*/ 0 w 349"/>
                <a:gd name="T95" fmla="*/ 175 h 350"/>
                <a:gd name="T96" fmla="*/ 4 w 349"/>
                <a:gd name="T97" fmla="*/ 140 h 350"/>
                <a:gd name="T98" fmla="*/ 14 w 349"/>
                <a:gd name="T99" fmla="*/ 107 h 350"/>
                <a:gd name="T100" fmla="*/ 30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40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7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7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5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19" y="273"/>
                  </a:lnTo>
                  <a:lnTo>
                    <a:pt x="298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2" name="Freeform 18">
              <a:extLst>
                <a:ext uri="{FF2B5EF4-FFF2-40B4-BE49-F238E27FC236}">
                  <a16:creationId xmlns:a16="http://schemas.microsoft.com/office/drawing/2014/main" id="{BF1784DA-3E40-44FD-998D-DB1DD379C0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8357" y="6255221"/>
              <a:ext cx="26428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7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1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7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8 w 350"/>
                <a:gd name="T31" fmla="*/ 175 h 350"/>
                <a:gd name="T32" fmla="*/ 236 w 350"/>
                <a:gd name="T33" fmla="*/ 158 h 350"/>
                <a:gd name="T34" fmla="*/ 229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7 w 350"/>
                <a:gd name="T53" fmla="*/ 41 h 350"/>
                <a:gd name="T54" fmla="*/ 309 w 350"/>
                <a:gd name="T55" fmla="*/ 63 h 350"/>
                <a:gd name="T56" fmla="*/ 326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2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7 w 350"/>
                <a:gd name="T85" fmla="*/ 319 h 350"/>
                <a:gd name="T86" fmla="*/ 51 w 350"/>
                <a:gd name="T87" fmla="*/ 299 h 350"/>
                <a:gd name="T88" fmla="*/ 30 w 350"/>
                <a:gd name="T89" fmla="*/ 273 h 350"/>
                <a:gd name="T90" fmla="*/ 14 w 350"/>
                <a:gd name="T91" fmla="*/ 243 h 350"/>
                <a:gd name="T92" fmla="*/ 4 w 350"/>
                <a:gd name="T93" fmla="*/ 210 h 350"/>
                <a:gd name="T94" fmla="*/ 0 w 350"/>
                <a:gd name="T95" fmla="*/ 175 h 350"/>
                <a:gd name="T96" fmla="*/ 4 w 350"/>
                <a:gd name="T97" fmla="*/ 140 h 350"/>
                <a:gd name="T98" fmla="*/ 14 w 350"/>
                <a:gd name="T99" fmla="*/ 107 h 350"/>
                <a:gd name="T100" fmla="*/ 30 w 350"/>
                <a:gd name="T101" fmla="*/ 78 h 350"/>
                <a:gd name="T102" fmla="*/ 51 w 350"/>
                <a:gd name="T103" fmla="*/ 52 h 350"/>
                <a:gd name="T104" fmla="*/ 77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8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3" name="Freeform 19">
              <a:extLst>
                <a:ext uri="{FF2B5EF4-FFF2-40B4-BE49-F238E27FC236}">
                  <a16:creationId xmlns:a16="http://schemas.microsoft.com/office/drawing/2014/main" id="{FF26547B-24B3-4108-8095-A2794E966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4353" y="6255221"/>
              <a:ext cx="26656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8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3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8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9 w 350"/>
                <a:gd name="T31" fmla="*/ 175 h 350"/>
                <a:gd name="T32" fmla="*/ 236 w 350"/>
                <a:gd name="T33" fmla="*/ 158 h 350"/>
                <a:gd name="T34" fmla="*/ 231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8 w 350"/>
                <a:gd name="T53" fmla="*/ 41 h 350"/>
                <a:gd name="T54" fmla="*/ 309 w 350"/>
                <a:gd name="T55" fmla="*/ 63 h 350"/>
                <a:gd name="T56" fmla="*/ 327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3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8 w 350"/>
                <a:gd name="T85" fmla="*/ 319 h 350"/>
                <a:gd name="T86" fmla="*/ 53 w 350"/>
                <a:gd name="T87" fmla="*/ 299 h 350"/>
                <a:gd name="T88" fmla="*/ 31 w 350"/>
                <a:gd name="T89" fmla="*/ 273 h 350"/>
                <a:gd name="T90" fmla="*/ 15 w 350"/>
                <a:gd name="T91" fmla="*/ 243 h 350"/>
                <a:gd name="T92" fmla="*/ 5 w 350"/>
                <a:gd name="T93" fmla="*/ 210 h 350"/>
                <a:gd name="T94" fmla="*/ 0 w 350"/>
                <a:gd name="T95" fmla="*/ 175 h 350"/>
                <a:gd name="T96" fmla="*/ 5 w 350"/>
                <a:gd name="T97" fmla="*/ 140 h 350"/>
                <a:gd name="T98" fmla="*/ 15 w 350"/>
                <a:gd name="T99" fmla="*/ 107 h 350"/>
                <a:gd name="T100" fmla="*/ 31 w 350"/>
                <a:gd name="T101" fmla="*/ 78 h 350"/>
                <a:gd name="T102" fmla="*/ 53 w 350"/>
                <a:gd name="T103" fmla="*/ 52 h 350"/>
                <a:gd name="T104" fmla="*/ 78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8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3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8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9" y="175"/>
                  </a:lnTo>
                  <a:lnTo>
                    <a:pt x="236" y="158"/>
                  </a:lnTo>
                  <a:lnTo>
                    <a:pt x="231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8" y="41"/>
                  </a:lnTo>
                  <a:lnTo>
                    <a:pt x="309" y="63"/>
                  </a:lnTo>
                  <a:lnTo>
                    <a:pt x="327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3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8" y="319"/>
                  </a:lnTo>
                  <a:lnTo>
                    <a:pt x="53" y="299"/>
                  </a:lnTo>
                  <a:lnTo>
                    <a:pt x="31" y="273"/>
                  </a:lnTo>
                  <a:lnTo>
                    <a:pt x="15" y="243"/>
                  </a:lnTo>
                  <a:lnTo>
                    <a:pt x="5" y="210"/>
                  </a:lnTo>
                  <a:lnTo>
                    <a:pt x="0" y="175"/>
                  </a:lnTo>
                  <a:lnTo>
                    <a:pt x="5" y="140"/>
                  </a:lnTo>
                  <a:lnTo>
                    <a:pt x="15" y="107"/>
                  </a:lnTo>
                  <a:lnTo>
                    <a:pt x="31" y="78"/>
                  </a:lnTo>
                  <a:lnTo>
                    <a:pt x="53" y="52"/>
                  </a:lnTo>
                  <a:lnTo>
                    <a:pt x="78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4" name="Freeform 20">
              <a:extLst>
                <a:ext uri="{FF2B5EF4-FFF2-40B4-BE49-F238E27FC236}">
                  <a16:creationId xmlns:a16="http://schemas.microsoft.com/office/drawing/2014/main" id="{6F553FA1-4728-401A-8C20-F18E165CA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80832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2 h 111"/>
                <a:gd name="T10" fmla="*/ 168 w 171"/>
                <a:gd name="T11" fmla="*/ 37 h 111"/>
                <a:gd name="T12" fmla="*/ 171 w 171"/>
                <a:gd name="T13" fmla="*/ 55 h 111"/>
                <a:gd name="T14" fmla="*/ 168 w 171"/>
                <a:gd name="T15" fmla="*/ 72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8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8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2 h 111"/>
                <a:gd name="T34" fmla="*/ 0 w 171"/>
                <a:gd name="T35" fmla="*/ 55 h 111"/>
                <a:gd name="T36" fmla="*/ 2 w 171"/>
                <a:gd name="T37" fmla="*/ 37 h 111"/>
                <a:gd name="T38" fmla="*/ 10 w 171"/>
                <a:gd name="T39" fmla="*/ 22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2"/>
                  </a:lnTo>
                  <a:lnTo>
                    <a:pt x="168" y="37"/>
                  </a:lnTo>
                  <a:lnTo>
                    <a:pt x="171" y="55"/>
                  </a:lnTo>
                  <a:lnTo>
                    <a:pt x="168" y="72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8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8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2"/>
                  </a:lnTo>
                  <a:lnTo>
                    <a:pt x="0" y="55"/>
                  </a:lnTo>
                  <a:lnTo>
                    <a:pt x="2" y="37"/>
                  </a:lnTo>
                  <a:lnTo>
                    <a:pt x="10" y="22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5" name="Freeform 21">
              <a:extLst>
                <a:ext uri="{FF2B5EF4-FFF2-40B4-BE49-F238E27FC236}">
                  <a16:creationId xmlns:a16="http://schemas.microsoft.com/office/drawing/2014/main" id="{2A783787-5E9B-43C9-9BF4-073950C97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95860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3 h 111"/>
                <a:gd name="T10" fmla="*/ 168 w 171"/>
                <a:gd name="T11" fmla="*/ 38 h 111"/>
                <a:gd name="T12" fmla="*/ 171 w 171"/>
                <a:gd name="T13" fmla="*/ 55 h 111"/>
                <a:gd name="T14" fmla="*/ 168 w 171"/>
                <a:gd name="T15" fmla="*/ 74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9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9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4 h 111"/>
                <a:gd name="T34" fmla="*/ 0 w 171"/>
                <a:gd name="T35" fmla="*/ 55 h 111"/>
                <a:gd name="T36" fmla="*/ 2 w 171"/>
                <a:gd name="T37" fmla="*/ 38 h 111"/>
                <a:gd name="T38" fmla="*/ 10 w 171"/>
                <a:gd name="T39" fmla="*/ 23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3"/>
                  </a:lnTo>
                  <a:lnTo>
                    <a:pt x="168" y="38"/>
                  </a:lnTo>
                  <a:lnTo>
                    <a:pt x="171" y="55"/>
                  </a:lnTo>
                  <a:lnTo>
                    <a:pt x="168" y="74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9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9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4"/>
                  </a:lnTo>
                  <a:lnTo>
                    <a:pt x="0" y="55"/>
                  </a:lnTo>
                  <a:lnTo>
                    <a:pt x="2" y="38"/>
                  </a:lnTo>
                  <a:lnTo>
                    <a:pt x="10" y="23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6" name="Freeform 22">
              <a:extLst>
                <a:ext uri="{FF2B5EF4-FFF2-40B4-BE49-F238E27FC236}">
                  <a16:creationId xmlns:a16="http://schemas.microsoft.com/office/drawing/2014/main" id="{6465D05A-ED22-49B3-924E-6DFC4C8C8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8138" y="5997240"/>
              <a:ext cx="283642" cy="307072"/>
            </a:xfrm>
            <a:custGeom>
              <a:avLst/>
              <a:gdLst>
                <a:gd name="T0" fmla="*/ 185 w 3736"/>
                <a:gd name="T1" fmla="*/ 3069 h 3678"/>
                <a:gd name="T2" fmla="*/ 125 w 3736"/>
                <a:gd name="T3" fmla="*/ 3352 h 3678"/>
                <a:gd name="T4" fmla="*/ 325 w 3736"/>
                <a:gd name="T5" fmla="*/ 3554 h 3678"/>
                <a:gd name="T6" fmla="*/ 2002 w 3736"/>
                <a:gd name="T7" fmla="*/ 3518 h 3678"/>
                <a:gd name="T8" fmla="*/ 2140 w 3736"/>
                <a:gd name="T9" fmla="*/ 3266 h 3678"/>
                <a:gd name="T10" fmla="*/ 2002 w 3736"/>
                <a:gd name="T11" fmla="*/ 3013 h 3678"/>
                <a:gd name="T12" fmla="*/ 943 w 3736"/>
                <a:gd name="T13" fmla="*/ 2853 h 3678"/>
                <a:gd name="T14" fmla="*/ 2970 w 3736"/>
                <a:gd name="T15" fmla="*/ 2765 h 3678"/>
                <a:gd name="T16" fmla="*/ 3240 w 3736"/>
                <a:gd name="T17" fmla="*/ 2787 h 3678"/>
                <a:gd name="T18" fmla="*/ 3506 w 3736"/>
                <a:gd name="T19" fmla="*/ 2599 h 3678"/>
                <a:gd name="T20" fmla="*/ 302 w 3736"/>
                <a:gd name="T21" fmla="*/ 2099 h 3678"/>
                <a:gd name="T22" fmla="*/ 333 w 3736"/>
                <a:gd name="T23" fmla="*/ 2613 h 3678"/>
                <a:gd name="T24" fmla="*/ 3524 w 3736"/>
                <a:gd name="T25" fmla="*/ 1966 h 3678"/>
                <a:gd name="T26" fmla="*/ 3542 w 3736"/>
                <a:gd name="T27" fmla="*/ 2077 h 3678"/>
                <a:gd name="T28" fmla="*/ 3622 w 3736"/>
                <a:gd name="T29" fmla="*/ 1998 h 3678"/>
                <a:gd name="T30" fmla="*/ 893 w 3736"/>
                <a:gd name="T31" fmla="*/ 1458 h 3678"/>
                <a:gd name="T32" fmla="*/ 1843 w 3736"/>
                <a:gd name="T33" fmla="*/ 2616 h 3678"/>
                <a:gd name="T34" fmla="*/ 1132 w 3736"/>
                <a:gd name="T35" fmla="*/ 2414 h 3678"/>
                <a:gd name="T36" fmla="*/ 954 w 3736"/>
                <a:gd name="T37" fmla="*/ 2256 h 3678"/>
                <a:gd name="T38" fmla="*/ 1082 w 3736"/>
                <a:gd name="T39" fmla="*/ 2271 h 3678"/>
                <a:gd name="T40" fmla="*/ 1271 w 3736"/>
                <a:gd name="T41" fmla="*/ 1557 h 3678"/>
                <a:gd name="T42" fmla="*/ 1360 w 3736"/>
                <a:gd name="T43" fmla="*/ 1601 h 3678"/>
                <a:gd name="T44" fmla="*/ 1958 w 3736"/>
                <a:gd name="T45" fmla="*/ 2171 h 3678"/>
                <a:gd name="T46" fmla="*/ 1525 w 3736"/>
                <a:gd name="T47" fmla="*/ 1457 h 3678"/>
                <a:gd name="T48" fmla="*/ 2749 w 3736"/>
                <a:gd name="T49" fmla="*/ 361 h 3678"/>
                <a:gd name="T50" fmla="*/ 3541 w 3736"/>
                <a:gd name="T51" fmla="*/ 1844 h 3678"/>
                <a:gd name="T52" fmla="*/ 1658 w 3736"/>
                <a:gd name="T53" fmla="*/ 1439 h 3678"/>
                <a:gd name="T54" fmla="*/ 2419 w 3736"/>
                <a:gd name="T55" fmla="*/ 427 h 3678"/>
                <a:gd name="T56" fmla="*/ 2498 w 3736"/>
                <a:gd name="T57" fmla="*/ 124 h 3678"/>
                <a:gd name="T58" fmla="*/ 2441 w 3736"/>
                <a:gd name="T59" fmla="*/ 287 h 3678"/>
                <a:gd name="T60" fmla="*/ 2599 w 3736"/>
                <a:gd name="T61" fmla="*/ 347 h 3678"/>
                <a:gd name="T62" fmla="*/ 2672 w 3736"/>
                <a:gd name="T63" fmla="*/ 256 h 3678"/>
                <a:gd name="T64" fmla="*/ 2625 w 3736"/>
                <a:gd name="T65" fmla="*/ 136 h 3678"/>
                <a:gd name="T66" fmla="*/ 2665 w 3736"/>
                <a:gd name="T67" fmla="*/ 28 h 3678"/>
                <a:gd name="T68" fmla="*/ 3734 w 3736"/>
                <a:gd name="T69" fmla="*/ 1986 h 3678"/>
                <a:gd name="T70" fmla="*/ 3646 w 3736"/>
                <a:gd name="T71" fmla="*/ 2170 h 3678"/>
                <a:gd name="T72" fmla="*/ 3580 w 3736"/>
                <a:gd name="T73" fmla="*/ 2724 h 3678"/>
                <a:gd name="T74" fmla="*/ 3180 w 3736"/>
                <a:gd name="T75" fmla="*/ 2918 h 3678"/>
                <a:gd name="T76" fmla="*/ 2865 w 3736"/>
                <a:gd name="T77" fmla="*/ 2826 h 3678"/>
                <a:gd name="T78" fmla="*/ 2459 w 3736"/>
                <a:gd name="T79" fmla="*/ 2397 h 3678"/>
                <a:gd name="T80" fmla="*/ 3431 w 3736"/>
                <a:gd name="T81" fmla="*/ 2200 h 3678"/>
                <a:gd name="T82" fmla="*/ 3506 w 3736"/>
                <a:gd name="T83" fmla="*/ 2183 h 3678"/>
                <a:gd name="T84" fmla="*/ 1983 w 3736"/>
                <a:gd name="T85" fmla="*/ 1926 h 3678"/>
                <a:gd name="T86" fmla="*/ 2073 w 3736"/>
                <a:gd name="T87" fmla="*/ 2433 h 3678"/>
                <a:gd name="T88" fmla="*/ 2059 w 3736"/>
                <a:gd name="T89" fmla="*/ 2469 h 3678"/>
                <a:gd name="T90" fmla="*/ 2043 w 3736"/>
                <a:gd name="T91" fmla="*/ 2482 h 3678"/>
                <a:gd name="T92" fmla="*/ 2024 w 3736"/>
                <a:gd name="T93" fmla="*/ 2489 h 3678"/>
                <a:gd name="T94" fmla="*/ 1942 w 3736"/>
                <a:gd name="T95" fmla="*/ 2705 h 3678"/>
                <a:gd name="T96" fmla="*/ 1890 w 3736"/>
                <a:gd name="T97" fmla="*/ 2857 h 3678"/>
                <a:gd name="T98" fmla="*/ 2177 w 3736"/>
                <a:gd name="T99" fmla="*/ 3030 h 3678"/>
                <a:gd name="T100" fmla="*/ 2238 w 3736"/>
                <a:gd name="T101" fmla="*/ 3367 h 3678"/>
                <a:gd name="T102" fmla="*/ 2032 w 3736"/>
                <a:gd name="T103" fmla="*/ 3630 h 3678"/>
                <a:gd name="T104" fmla="*/ 311 w 3736"/>
                <a:gd name="T105" fmla="*/ 3666 h 3678"/>
                <a:gd name="T106" fmla="*/ 49 w 3736"/>
                <a:gd name="T107" fmla="*/ 3460 h 3678"/>
                <a:gd name="T108" fmla="*/ 28 w 3736"/>
                <a:gd name="T109" fmla="*/ 3116 h 3678"/>
                <a:gd name="T110" fmla="*/ 263 w 3736"/>
                <a:gd name="T111" fmla="*/ 2882 h 3678"/>
                <a:gd name="T112" fmla="*/ 317 w 3736"/>
                <a:gd name="T113" fmla="*/ 2724 h 3678"/>
                <a:gd name="T114" fmla="*/ 178 w 3736"/>
                <a:gd name="T115" fmla="*/ 2553 h 3678"/>
                <a:gd name="T116" fmla="*/ 284 w 3736"/>
                <a:gd name="T117" fmla="*/ 1975 h 3678"/>
                <a:gd name="T118" fmla="*/ 740 w 3736"/>
                <a:gd name="T119" fmla="*/ 1477 h 3678"/>
                <a:gd name="T120" fmla="*/ 963 w 3736"/>
                <a:gd name="T121" fmla="*/ 1310 h 3678"/>
                <a:gd name="T122" fmla="*/ 2410 w 3736"/>
                <a:gd name="T123" fmla="*/ 48 h 3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6" h="3678">
                  <a:moveTo>
                    <a:pt x="413" y="2964"/>
                  </a:moveTo>
                  <a:lnTo>
                    <a:pt x="367" y="2968"/>
                  </a:lnTo>
                  <a:lnTo>
                    <a:pt x="325" y="2978"/>
                  </a:lnTo>
                  <a:lnTo>
                    <a:pt x="286" y="2993"/>
                  </a:lnTo>
                  <a:lnTo>
                    <a:pt x="248" y="3013"/>
                  </a:lnTo>
                  <a:lnTo>
                    <a:pt x="215" y="3039"/>
                  </a:lnTo>
                  <a:lnTo>
                    <a:pt x="185" y="3069"/>
                  </a:lnTo>
                  <a:lnTo>
                    <a:pt x="160" y="3102"/>
                  </a:lnTo>
                  <a:lnTo>
                    <a:pt x="139" y="3139"/>
                  </a:lnTo>
                  <a:lnTo>
                    <a:pt x="125" y="3179"/>
                  </a:lnTo>
                  <a:lnTo>
                    <a:pt x="114" y="3222"/>
                  </a:lnTo>
                  <a:lnTo>
                    <a:pt x="111" y="3266"/>
                  </a:lnTo>
                  <a:lnTo>
                    <a:pt x="114" y="3310"/>
                  </a:lnTo>
                  <a:lnTo>
                    <a:pt x="125" y="3352"/>
                  </a:lnTo>
                  <a:lnTo>
                    <a:pt x="139" y="3393"/>
                  </a:lnTo>
                  <a:lnTo>
                    <a:pt x="160" y="3430"/>
                  </a:lnTo>
                  <a:lnTo>
                    <a:pt x="185" y="3464"/>
                  </a:lnTo>
                  <a:lnTo>
                    <a:pt x="215" y="3493"/>
                  </a:lnTo>
                  <a:lnTo>
                    <a:pt x="248" y="3518"/>
                  </a:lnTo>
                  <a:lnTo>
                    <a:pt x="286" y="3538"/>
                  </a:lnTo>
                  <a:lnTo>
                    <a:pt x="325" y="3554"/>
                  </a:lnTo>
                  <a:lnTo>
                    <a:pt x="367" y="3563"/>
                  </a:lnTo>
                  <a:lnTo>
                    <a:pt x="413" y="3567"/>
                  </a:lnTo>
                  <a:lnTo>
                    <a:pt x="1838" y="3567"/>
                  </a:lnTo>
                  <a:lnTo>
                    <a:pt x="1882" y="3563"/>
                  </a:lnTo>
                  <a:lnTo>
                    <a:pt x="1925" y="3554"/>
                  </a:lnTo>
                  <a:lnTo>
                    <a:pt x="1965" y="3538"/>
                  </a:lnTo>
                  <a:lnTo>
                    <a:pt x="2002" y="3518"/>
                  </a:lnTo>
                  <a:lnTo>
                    <a:pt x="2035" y="3493"/>
                  </a:lnTo>
                  <a:lnTo>
                    <a:pt x="2065" y="3464"/>
                  </a:lnTo>
                  <a:lnTo>
                    <a:pt x="2091" y="3430"/>
                  </a:lnTo>
                  <a:lnTo>
                    <a:pt x="2111" y="3393"/>
                  </a:lnTo>
                  <a:lnTo>
                    <a:pt x="2126" y="3352"/>
                  </a:lnTo>
                  <a:lnTo>
                    <a:pt x="2136" y="3310"/>
                  </a:lnTo>
                  <a:lnTo>
                    <a:pt x="2140" y="3266"/>
                  </a:lnTo>
                  <a:lnTo>
                    <a:pt x="2136" y="3222"/>
                  </a:lnTo>
                  <a:lnTo>
                    <a:pt x="2126" y="3179"/>
                  </a:lnTo>
                  <a:lnTo>
                    <a:pt x="2111" y="3139"/>
                  </a:lnTo>
                  <a:lnTo>
                    <a:pt x="2091" y="3102"/>
                  </a:lnTo>
                  <a:lnTo>
                    <a:pt x="2065" y="3069"/>
                  </a:lnTo>
                  <a:lnTo>
                    <a:pt x="2035" y="3039"/>
                  </a:lnTo>
                  <a:lnTo>
                    <a:pt x="2002" y="3013"/>
                  </a:lnTo>
                  <a:lnTo>
                    <a:pt x="1965" y="2993"/>
                  </a:lnTo>
                  <a:lnTo>
                    <a:pt x="1925" y="2978"/>
                  </a:lnTo>
                  <a:lnTo>
                    <a:pt x="1882" y="2968"/>
                  </a:lnTo>
                  <a:lnTo>
                    <a:pt x="1838" y="2964"/>
                  </a:lnTo>
                  <a:lnTo>
                    <a:pt x="413" y="2964"/>
                  </a:lnTo>
                  <a:close/>
                  <a:moveTo>
                    <a:pt x="943" y="2727"/>
                  </a:moveTo>
                  <a:lnTo>
                    <a:pt x="943" y="2853"/>
                  </a:lnTo>
                  <a:lnTo>
                    <a:pt x="1307" y="2853"/>
                  </a:lnTo>
                  <a:lnTo>
                    <a:pt x="1307" y="2727"/>
                  </a:lnTo>
                  <a:lnTo>
                    <a:pt x="943" y="2727"/>
                  </a:lnTo>
                  <a:close/>
                  <a:moveTo>
                    <a:pt x="3407" y="2328"/>
                  </a:moveTo>
                  <a:lnTo>
                    <a:pt x="2754" y="2590"/>
                  </a:lnTo>
                  <a:lnTo>
                    <a:pt x="2936" y="2741"/>
                  </a:lnTo>
                  <a:lnTo>
                    <a:pt x="2970" y="2765"/>
                  </a:lnTo>
                  <a:lnTo>
                    <a:pt x="3005" y="2783"/>
                  </a:lnTo>
                  <a:lnTo>
                    <a:pt x="3042" y="2797"/>
                  </a:lnTo>
                  <a:lnTo>
                    <a:pt x="3081" y="2806"/>
                  </a:lnTo>
                  <a:lnTo>
                    <a:pt x="3121" y="2809"/>
                  </a:lnTo>
                  <a:lnTo>
                    <a:pt x="3161" y="2808"/>
                  </a:lnTo>
                  <a:lnTo>
                    <a:pt x="3201" y="2800"/>
                  </a:lnTo>
                  <a:lnTo>
                    <a:pt x="3240" y="2787"/>
                  </a:lnTo>
                  <a:lnTo>
                    <a:pt x="3429" y="2711"/>
                  </a:lnTo>
                  <a:lnTo>
                    <a:pt x="3452" y="2700"/>
                  </a:lnTo>
                  <a:lnTo>
                    <a:pt x="3470" y="2684"/>
                  </a:lnTo>
                  <a:lnTo>
                    <a:pt x="3485" y="2666"/>
                  </a:lnTo>
                  <a:lnTo>
                    <a:pt x="3496" y="2646"/>
                  </a:lnTo>
                  <a:lnTo>
                    <a:pt x="3504" y="2623"/>
                  </a:lnTo>
                  <a:lnTo>
                    <a:pt x="3506" y="2599"/>
                  </a:lnTo>
                  <a:lnTo>
                    <a:pt x="3504" y="2575"/>
                  </a:lnTo>
                  <a:lnTo>
                    <a:pt x="3497" y="2551"/>
                  </a:lnTo>
                  <a:lnTo>
                    <a:pt x="3407" y="2328"/>
                  </a:lnTo>
                  <a:close/>
                  <a:moveTo>
                    <a:pt x="353" y="2073"/>
                  </a:moveTo>
                  <a:lnTo>
                    <a:pt x="333" y="2076"/>
                  </a:lnTo>
                  <a:lnTo>
                    <a:pt x="315" y="2085"/>
                  </a:lnTo>
                  <a:lnTo>
                    <a:pt x="302" y="2099"/>
                  </a:lnTo>
                  <a:lnTo>
                    <a:pt x="292" y="2116"/>
                  </a:lnTo>
                  <a:lnTo>
                    <a:pt x="289" y="2136"/>
                  </a:lnTo>
                  <a:lnTo>
                    <a:pt x="289" y="2553"/>
                  </a:lnTo>
                  <a:lnTo>
                    <a:pt x="292" y="2572"/>
                  </a:lnTo>
                  <a:lnTo>
                    <a:pt x="302" y="2590"/>
                  </a:lnTo>
                  <a:lnTo>
                    <a:pt x="315" y="2604"/>
                  </a:lnTo>
                  <a:lnTo>
                    <a:pt x="333" y="2613"/>
                  </a:lnTo>
                  <a:lnTo>
                    <a:pt x="353" y="2616"/>
                  </a:lnTo>
                  <a:lnTo>
                    <a:pt x="713" y="2616"/>
                  </a:lnTo>
                  <a:lnTo>
                    <a:pt x="713" y="2073"/>
                  </a:lnTo>
                  <a:lnTo>
                    <a:pt x="353" y="2073"/>
                  </a:lnTo>
                  <a:close/>
                  <a:moveTo>
                    <a:pt x="3562" y="1955"/>
                  </a:moveTo>
                  <a:lnTo>
                    <a:pt x="3542" y="1957"/>
                  </a:lnTo>
                  <a:lnTo>
                    <a:pt x="3524" y="1966"/>
                  </a:lnTo>
                  <a:lnTo>
                    <a:pt x="3511" y="1980"/>
                  </a:lnTo>
                  <a:lnTo>
                    <a:pt x="3502" y="1998"/>
                  </a:lnTo>
                  <a:lnTo>
                    <a:pt x="3498" y="2017"/>
                  </a:lnTo>
                  <a:lnTo>
                    <a:pt x="3502" y="2038"/>
                  </a:lnTo>
                  <a:lnTo>
                    <a:pt x="3511" y="2055"/>
                  </a:lnTo>
                  <a:lnTo>
                    <a:pt x="3524" y="2068"/>
                  </a:lnTo>
                  <a:lnTo>
                    <a:pt x="3542" y="2077"/>
                  </a:lnTo>
                  <a:lnTo>
                    <a:pt x="3562" y="2081"/>
                  </a:lnTo>
                  <a:lnTo>
                    <a:pt x="3582" y="2077"/>
                  </a:lnTo>
                  <a:lnTo>
                    <a:pt x="3599" y="2068"/>
                  </a:lnTo>
                  <a:lnTo>
                    <a:pt x="3613" y="2055"/>
                  </a:lnTo>
                  <a:lnTo>
                    <a:pt x="3622" y="2038"/>
                  </a:lnTo>
                  <a:lnTo>
                    <a:pt x="3625" y="2017"/>
                  </a:lnTo>
                  <a:lnTo>
                    <a:pt x="3622" y="1998"/>
                  </a:lnTo>
                  <a:lnTo>
                    <a:pt x="3613" y="1980"/>
                  </a:lnTo>
                  <a:lnTo>
                    <a:pt x="3599" y="1966"/>
                  </a:lnTo>
                  <a:lnTo>
                    <a:pt x="3582" y="1957"/>
                  </a:lnTo>
                  <a:lnTo>
                    <a:pt x="3562" y="1955"/>
                  </a:lnTo>
                  <a:close/>
                  <a:moveTo>
                    <a:pt x="950" y="1428"/>
                  </a:moveTo>
                  <a:lnTo>
                    <a:pt x="921" y="1441"/>
                  </a:lnTo>
                  <a:lnTo>
                    <a:pt x="893" y="1458"/>
                  </a:lnTo>
                  <a:lnTo>
                    <a:pt x="871" y="1481"/>
                  </a:lnTo>
                  <a:lnTo>
                    <a:pt x="851" y="1507"/>
                  </a:lnTo>
                  <a:lnTo>
                    <a:pt x="837" y="1536"/>
                  </a:lnTo>
                  <a:lnTo>
                    <a:pt x="828" y="1568"/>
                  </a:lnTo>
                  <a:lnTo>
                    <a:pt x="824" y="1601"/>
                  </a:lnTo>
                  <a:lnTo>
                    <a:pt x="824" y="2616"/>
                  </a:lnTo>
                  <a:lnTo>
                    <a:pt x="1843" y="2616"/>
                  </a:lnTo>
                  <a:lnTo>
                    <a:pt x="1843" y="2489"/>
                  </a:lnTo>
                  <a:lnTo>
                    <a:pt x="1556" y="2489"/>
                  </a:lnTo>
                  <a:lnTo>
                    <a:pt x="1468" y="2487"/>
                  </a:lnTo>
                  <a:lnTo>
                    <a:pt x="1382" y="2478"/>
                  </a:lnTo>
                  <a:lnTo>
                    <a:pt x="1297" y="2462"/>
                  </a:lnTo>
                  <a:lnTo>
                    <a:pt x="1213" y="2441"/>
                  </a:lnTo>
                  <a:lnTo>
                    <a:pt x="1132" y="2414"/>
                  </a:lnTo>
                  <a:lnTo>
                    <a:pt x="1050" y="2382"/>
                  </a:lnTo>
                  <a:lnTo>
                    <a:pt x="1026" y="2369"/>
                  </a:lnTo>
                  <a:lnTo>
                    <a:pt x="1005" y="2352"/>
                  </a:lnTo>
                  <a:lnTo>
                    <a:pt x="985" y="2331"/>
                  </a:lnTo>
                  <a:lnTo>
                    <a:pt x="971" y="2309"/>
                  </a:lnTo>
                  <a:lnTo>
                    <a:pt x="960" y="2284"/>
                  </a:lnTo>
                  <a:lnTo>
                    <a:pt x="954" y="2256"/>
                  </a:lnTo>
                  <a:lnTo>
                    <a:pt x="950" y="2228"/>
                  </a:lnTo>
                  <a:lnTo>
                    <a:pt x="950" y="1428"/>
                  </a:lnTo>
                  <a:close/>
                  <a:moveTo>
                    <a:pt x="1062" y="1419"/>
                  </a:moveTo>
                  <a:lnTo>
                    <a:pt x="1062" y="2228"/>
                  </a:lnTo>
                  <a:lnTo>
                    <a:pt x="1065" y="2245"/>
                  </a:lnTo>
                  <a:lnTo>
                    <a:pt x="1071" y="2259"/>
                  </a:lnTo>
                  <a:lnTo>
                    <a:pt x="1082" y="2271"/>
                  </a:lnTo>
                  <a:lnTo>
                    <a:pt x="1095" y="2280"/>
                  </a:lnTo>
                  <a:lnTo>
                    <a:pt x="1171" y="2311"/>
                  </a:lnTo>
                  <a:lnTo>
                    <a:pt x="1248" y="2335"/>
                  </a:lnTo>
                  <a:lnTo>
                    <a:pt x="1248" y="1601"/>
                  </a:lnTo>
                  <a:lnTo>
                    <a:pt x="1251" y="1584"/>
                  </a:lnTo>
                  <a:lnTo>
                    <a:pt x="1259" y="1568"/>
                  </a:lnTo>
                  <a:lnTo>
                    <a:pt x="1271" y="1557"/>
                  </a:lnTo>
                  <a:lnTo>
                    <a:pt x="1286" y="1549"/>
                  </a:lnTo>
                  <a:lnTo>
                    <a:pt x="1304" y="1545"/>
                  </a:lnTo>
                  <a:lnTo>
                    <a:pt x="1321" y="1549"/>
                  </a:lnTo>
                  <a:lnTo>
                    <a:pt x="1337" y="1557"/>
                  </a:lnTo>
                  <a:lnTo>
                    <a:pt x="1348" y="1568"/>
                  </a:lnTo>
                  <a:lnTo>
                    <a:pt x="1356" y="1584"/>
                  </a:lnTo>
                  <a:lnTo>
                    <a:pt x="1360" y="1601"/>
                  </a:lnTo>
                  <a:lnTo>
                    <a:pt x="1360" y="2361"/>
                  </a:lnTo>
                  <a:lnTo>
                    <a:pt x="1424" y="2370"/>
                  </a:lnTo>
                  <a:lnTo>
                    <a:pt x="1490" y="2376"/>
                  </a:lnTo>
                  <a:lnTo>
                    <a:pt x="1556" y="2378"/>
                  </a:lnTo>
                  <a:lnTo>
                    <a:pt x="1961" y="2378"/>
                  </a:lnTo>
                  <a:lnTo>
                    <a:pt x="1961" y="2221"/>
                  </a:lnTo>
                  <a:lnTo>
                    <a:pt x="1958" y="2171"/>
                  </a:lnTo>
                  <a:lnTo>
                    <a:pt x="1949" y="2123"/>
                  </a:lnTo>
                  <a:lnTo>
                    <a:pt x="1936" y="2076"/>
                  </a:lnTo>
                  <a:lnTo>
                    <a:pt x="1915" y="2031"/>
                  </a:lnTo>
                  <a:lnTo>
                    <a:pt x="1890" y="1988"/>
                  </a:lnTo>
                  <a:lnTo>
                    <a:pt x="1566" y="1500"/>
                  </a:lnTo>
                  <a:lnTo>
                    <a:pt x="1547" y="1477"/>
                  </a:lnTo>
                  <a:lnTo>
                    <a:pt x="1525" y="1457"/>
                  </a:lnTo>
                  <a:lnTo>
                    <a:pt x="1500" y="1441"/>
                  </a:lnTo>
                  <a:lnTo>
                    <a:pt x="1473" y="1428"/>
                  </a:lnTo>
                  <a:lnTo>
                    <a:pt x="1445" y="1422"/>
                  </a:lnTo>
                  <a:lnTo>
                    <a:pt x="1414" y="1419"/>
                  </a:lnTo>
                  <a:lnTo>
                    <a:pt x="1062" y="1419"/>
                  </a:lnTo>
                  <a:close/>
                  <a:moveTo>
                    <a:pt x="2753" y="353"/>
                  </a:moveTo>
                  <a:lnTo>
                    <a:pt x="2749" y="361"/>
                  </a:lnTo>
                  <a:lnTo>
                    <a:pt x="2571" y="659"/>
                  </a:lnTo>
                  <a:lnTo>
                    <a:pt x="3419" y="1917"/>
                  </a:lnTo>
                  <a:lnTo>
                    <a:pt x="3437" y="1895"/>
                  </a:lnTo>
                  <a:lnTo>
                    <a:pt x="3460" y="1876"/>
                  </a:lnTo>
                  <a:lnTo>
                    <a:pt x="3485" y="1861"/>
                  </a:lnTo>
                  <a:lnTo>
                    <a:pt x="3512" y="1850"/>
                  </a:lnTo>
                  <a:lnTo>
                    <a:pt x="3541" y="1844"/>
                  </a:lnTo>
                  <a:lnTo>
                    <a:pt x="2753" y="353"/>
                  </a:lnTo>
                  <a:close/>
                  <a:moveTo>
                    <a:pt x="2334" y="320"/>
                  </a:moveTo>
                  <a:lnTo>
                    <a:pt x="1562" y="1348"/>
                  </a:lnTo>
                  <a:lnTo>
                    <a:pt x="1590" y="1366"/>
                  </a:lnTo>
                  <a:lnTo>
                    <a:pt x="1616" y="1387"/>
                  </a:lnTo>
                  <a:lnTo>
                    <a:pt x="1638" y="1411"/>
                  </a:lnTo>
                  <a:lnTo>
                    <a:pt x="1658" y="1439"/>
                  </a:lnTo>
                  <a:lnTo>
                    <a:pt x="1827" y="1690"/>
                  </a:lnTo>
                  <a:lnTo>
                    <a:pt x="2555" y="467"/>
                  </a:lnTo>
                  <a:lnTo>
                    <a:pt x="2551" y="467"/>
                  </a:lnTo>
                  <a:lnTo>
                    <a:pt x="2515" y="465"/>
                  </a:lnTo>
                  <a:lnTo>
                    <a:pt x="2481" y="457"/>
                  </a:lnTo>
                  <a:lnTo>
                    <a:pt x="2448" y="444"/>
                  </a:lnTo>
                  <a:lnTo>
                    <a:pt x="2419" y="427"/>
                  </a:lnTo>
                  <a:lnTo>
                    <a:pt x="2391" y="405"/>
                  </a:lnTo>
                  <a:lnTo>
                    <a:pt x="2369" y="380"/>
                  </a:lnTo>
                  <a:lnTo>
                    <a:pt x="2349" y="351"/>
                  </a:lnTo>
                  <a:lnTo>
                    <a:pt x="2334" y="320"/>
                  </a:lnTo>
                  <a:close/>
                  <a:moveTo>
                    <a:pt x="2551" y="111"/>
                  </a:moveTo>
                  <a:lnTo>
                    <a:pt x="2523" y="115"/>
                  </a:lnTo>
                  <a:lnTo>
                    <a:pt x="2498" y="124"/>
                  </a:lnTo>
                  <a:lnTo>
                    <a:pt x="2475" y="138"/>
                  </a:lnTo>
                  <a:lnTo>
                    <a:pt x="2456" y="157"/>
                  </a:lnTo>
                  <a:lnTo>
                    <a:pt x="2441" y="180"/>
                  </a:lnTo>
                  <a:lnTo>
                    <a:pt x="2432" y="205"/>
                  </a:lnTo>
                  <a:lnTo>
                    <a:pt x="2429" y="234"/>
                  </a:lnTo>
                  <a:lnTo>
                    <a:pt x="2432" y="262"/>
                  </a:lnTo>
                  <a:lnTo>
                    <a:pt x="2441" y="287"/>
                  </a:lnTo>
                  <a:lnTo>
                    <a:pt x="2456" y="311"/>
                  </a:lnTo>
                  <a:lnTo>
                    <a:pt x="2475" y="329"/>
                  </a:lnTo>
                  <a:lnTo>
                    <a:pt x="2498" y="344"/>
                  </a:lnTo>
                  <a:lnTo>
                    <a:pt x="2523" y="353"/>
                  </a:lnTo>
                  <a:lnTo>
                    <a:pt x="2551" y="356"/>
                  </a:lnTo>
                  <a:lnTo>
                    <a:pt x="2576" y="354"/>
                  </a:lnTo>
                  <a:lnTo>
                    <a:pt x="2599" y="347"/>
                  </a:lnTo>
                  <a:lnTo>
                    <a:pt x="2619" y="336"/>
                  </a:lnTo>
                  <a:lnTo>
                    <a:pt x="2638" y="321"/>
                  </a:lnTo>
                  <a:lnTo>
                    <a:pt x="2653" y="303"/>
                  </a:lnTo>
                  <a:lnTo>
                    <a:pt x="2656" y="298"/>
                  </a:lnTo>
                  <a:lnTo>
                    <a:pt x="2657" y="297"/>
                  </a:lnTo>
                  <a:lnTo>
                    <a:pt x="2666" y="278"/>
                  </a:lnTo>
                  <a:lnTo>
                    <a:pt x="2672" y="256"/>
                  </a:lnTo>
                  <a:lnTo>
                    <a:pt x="2674" y="234"/>
                  </a:lnTo>
                  <a:lnTo>
                    <a:pt x="2672" y="210"/>
                  </a:lnTo>
                  <a:lnTo>
                    <a:pt x="2665" y="187"/>
                  </a:lnTo>
                  <a:lnTo>
                    <a:pt x="2661" y="180"/>
                  </a:lnTo>
                  <a:lnTo>
                    <a:pt x="2658" y="174"/>
                  </a:lnTo>
                  <a:lnTo>
                    <a:pt x="2643" y="153"/>
                  </a:lnTo>
                  <a:lnTo>
                    <a:pt x="2625" y="136"/>
                  </a:lnTo>
                  <a:lnTo>
                    <a:pt x="2603" y="123"/>
                  </a:lnTo>
                  <a:lnTo>
                    <a:pt x="2579" y="115"/>
                  </a:lnTo>
                  <a:lnTo>
                    <a:pt x="2551" y="111"/>
                  </a:lnTo>
                  <a:close/>
                  <a:moveTo>
                    <a:pt x="2551" y="0"/>
                  </a:moveTo>
                  <a:lnTo>
                    <a:pt x="2591" y="3"/>
                  </a:lnTo>
                  <a:lnTo>
                    <a:pt x="2630" y="12"/>
                  </a:lnTo>
                  <a:lnTo>
                    <a:pt x="2665" y="28"/>
                  </a:lnTo>
                  <a:lnTo>
                    <a:pt x="2696" y="50"/>
                  </a:lnTo>
                  <a:lnTo>
                    <a:pt x="2724" y="75"/>
                  </a:lnTo>
                  <a:lnTo>
                    <a:pt x="2747" y="106"/>
                  </a:lnTo>
                  <a:lnTo>
                    <a:pt x="2766" y="138"/>
                  </a:lnTo>
                  <a:lnTo>
                    <a:pt x="3713" y="1930"/>
                  </a:lnTo>
                  <a:lnTo>
                    <a:pt x="3726" y="1957"/>
                  </a:lnTo>
                  <a:lnTo>
                    <a:pt x="3734" y="1986"/>
                  </a:lnTo>
                  <a:lnTo>
                    <a:pt x="3736" y="2017"/>
                  </a:lnTo>
                  <a:lnTo>
                    <a:pt x="3733" y="2050"/>
                  </a:lnTo>
                  <a:lnTo>
                    <a:pt x="3725" y="2080"/>
                  </a:lnTo>
                  <a:lnTo>
                    <a:pt x="3711" y="2108"/>
                  </a:lnTo>
                  <a:lnTo>
                    <a:pt x="3693" y="2132"/>
                  </a:lnTo>
                  <a:lnTo>
                    <a:pt x="3672" y="2153"/>
                  </a:lnTo>
                  <a:lnTo>
                    <a:pt x="3646" y="2170"/>
                  </a:lnTo>
                  <a:lnTo>
                    <a:pt x="3617" y="2183"/>
                  </a:lnTo>
                  <a:lnTo>
                    <a:pt x="3617" y="2612"/>
                  </a:lnTo>
                  <a:lnTo>
                    <a:pt x="3617" y="2620"/>
                  </a:lnTo>
                  <a:lnTo>
                    <a:pt x="3616" y="2626"/>
                  </a:lnTo>
                  <a:lnTo>
                    <a:pt x="3609" y="2660"/>
                  </a:lnTo>
                  <a:lnTo>
                    <a:pt x="3597" y="2693"/>
                  </a:lnTo>
                  <a:lnTo>
                    <a:pt x="3580" y="2724"/>
                  </a:lnTo>
                  <a:lnTo>
                    <a:pt x="3559" y="2752"/>
                  </a:lnTo>
                  <a:lnTo>
                    <a:pt x="3533" y="2777"/>
                  </a:lnTo>
                  <a:lnTo>
                    <a:pt x="3504" y="2799"/>
                  </a:lnTo>
                  <a:lnTo>
                    <a:pt x="3471" y="2815"/>
                  </a:lnTo>
                  <a:lnTo>
                    <a:pt x="3282" y="2891"/>
                  </a:lnTo>
                  <a:lnTo>
                    <a:pt x="3231" y="2908"/>
                  </a:lnTo>
                  <a:lnTo>
                    <a:pt x="3180" y="2918"/>
                  </a:lnTo>
                  <a:lnTo>
                    <a:pt x="3127" y="2920"/>
                  </a:lnTo>
                  <a:lnTo>
                    <a:pt x="3081" y="2918"/>
                  </a:lnTo>
                  <a:lnTo>
                    <a:pt x="3034" y="2910"/>
                  </a:lnTo>
                  <a:lnTo>
                    <a:pt x="2989" y="2896"/>
                  </a:lnTo>
                  <a:lnTo>
                    <a:pt x="2946" y="2878"/>
                  </a:lnTo>
                  <a:lnTo>
                    <a:pt x="2904" y="2855"/>
                  </a:lnTo>
                  <a:lnTo>
                    <a:pt x="2865" y="2826"/>
                  </a:lnTo>
                  <a:lnTo>
                    <a:pt x="2454" y="2487"/>
                  </a:lnTo>
                  <a:lnTo>
                    <a:pt x="2442" y="2474"/>
                  </a:lnTo>
                  <a:lnTo>
                    <a:pt x="2436" y="2458"/>
                  </a:lnTo>
                  <a:lnTo>
                    <a:pt x="2433" y="2441"/>
                  </a:lnTo>
                  <a:lnTo>
                    <a:pt x="2438" y="2424"/>
                  </a:lnTo>
                  <a:lnTo>
                    <a:pt x="2447" y="2409"/>
                  </a:lnTo>
                  <a:lnTo>
                    <a:pt x="2459" y="2397"/>
                  </a:lnTo>
                  <a:lnTo>
                    <a:pt x="2475" y="2390"/>
                  </a:lnTo>
                  <a:lnTo>
                    <a:pt x="2492" y="2388"/>
                  </a:lnTo>
                  <a:lnTo>
                    <a:pt x="2509" y="2393"/>
                  </a:lnTo>
                  <a:lnTo>
                    <a:pt x="2525" y="2402"/>
                  </a:lnTo>
                  <a:lnTo>
                    <a:pt x="2656" y="2509"/>
                  </a:lnTo>
                  <a:lnTo>
                    <a:pt x="3418" y="2203"/>
                  </a:lnTo>
                  <a:lnTo>
                    <a:pt x="3431" y="2200"/>
                  </a:lnTo>
                  <a:lnTo>
                    <a:pt x="3446" y="2200"/>
                  </a:lnTo>
                  <a:lnTo>
                    <a:pt x="3460" y="2204"/>
                  </a:lnTo>
                  <a:lnTo>
                    <a:pt x="3472" y="2211"/>
                  </a:lnTo>
                  <a:lnTo>
                    <a:pt x="3482" y="2221"/>
                  </a:lnTo>
                  <a:lnTo>
                    <a:pt x="3490" y="2235"/>
                  </a:lnTo>
                  <a:lnTo>
                    <a:pt x="3506" y="2275"/>
                  </a:lnTo>
                  <a:lnTo>
                    <a:pt x="3506" y="2183"/>
                  </a:lnTo>
                  <a:lnTo>
                    <a:pt x="3478" y="2170"/>
                  </a:lnTo>
                  <a:lnTo>
                    <a:pt x="3452" y="2152"/>
                  </a:lnTo>
                  <a:lnTo>
                    <a:pt x="3429" y="2131"/>
                  </a:lnTo>
                  <a:lnTo>
                    <a:pt x="3411" y="2106"/>
                  </a:lnTo>
                  <a:lnTo>
                    <a:pt x="2507" y="766"/>
                  </a:lnTo>
                  <a:lnTo>
                    <a:pt x="1895" y="1794"/>
                  </a:lnTo>
                  <a:lnTo>
                    <a:pt x="1983" y="1926"/>
                  </a:lnTo>
                  <a:lnTo>
                    <a:pt x="2010" y="1971"/>
                  </a:lnTo>
                  <a:lnTo>
                    <a:pt x="2032" y="2018"/>
                  </a:lnTo>
                  <a:lnTo>
                    <a:pt x="2050" y="2067"/>
                  </a:lnTo>
                  <a:lnTo>
                    <a:pt x="2063" y="2117"/>
                  </a:lnTo>
                  <a:lnTo>
                    <a:pt x="2069" y="2168"/>
                  </a:lnTo>
                  <a:lnTo>
                    <a:pt x="2073" y="2221"/>
                  </a:lnTo>
                  <a:lnTo>
                    <a:pt x="2073" y="2433"/>
                  </a:lnTo>
                  <a:lnTo>
                    <a:pt x="2072" y="2441"/>
                  </a:lnTo>
                  <a:lnTo>
                    <a:pt x="2069" y="2452"/>
                  </a:lnTo>
                  <a:lnTo>
                    <a:pt x="2066" y="2460"/>
                  </a:lnTo>
                  <a:lnTo>
                    <a:pt x="2064" y="2463"/>
                  </a:lnTo>
                  <a:lnTo>
                    <a:pt x="2063" y="2465"/>
                  </a:lnTo>
                  <a:lnTo>
                    <a:pt x="2060" y="2469"/>
                  </a:lnTo>
                  <a:lnTo>
                    <a:pt x="2059" y="2469"/>
                  </a:lnTo>
                  <a:lnTo>
                    <a:pt x="2058" y="2471"/>
                  </a:lnTo>
                  <a:lnTo>
                    <a:pt x="2056" y="2473"/>
                  </a:lnTo>
                  <a:lnTo>
                    <a:pt x="2055" y="2474"/>
                  </a:lnTo>
                  <a:lnTo>
                    <a:pt x="2052" y="2477"/>
                  </a:lnTo>
                  <a:lnTo>
                    <a:pt x="2050" y="2478"/>
                  </a:lnTo>
                  <a:lnTo>
                    <a:pt x="2048" y="2480"/>
                  </a:lnTo>
                  <a:lnTo>
                    <a:pt x="2043" y="2482"/>
                  </a:lnTo>
                  <a:lnTo>
                    <a:pt x="2039" y="2485"/>
                  </a:lnTo>
                  <a:lnTo>
                    <a:pt x="2039" y="2485"/>
                  </a:lnTo>
                  <a:lnTo>
                    <a:pt x="2035" y="2486"/>
                  </a:lnTo>
                  <a:lnTo>
                    <a:pt x="2033" y="2487"/>
                  </a:lnTo>
                  <a:lnTo>
                    <a:pt x="2031" y="2488"/>
                  </a:lnTo>
                  <a:lnTo>
                    <a:pt x="2027" y="2488"/>
                  </a:lnTo>
                  <a:lnTo>
                    <a:pt x="2024" y="2489"/>
                  </a:lnTo>
                  <a:lnTo>
                    <a:pt x="2023" y="2489"/>
                  </a:lnTo>
                  <a:lnTo>
                    <a:pt x="2019" y="2489"/>
                  </a:lnTo>
                  <a:lnTo>
                    <a:pt x="2017" y="2489"/>
                  </a:lnTo>
                  <a:lnTo>
                    <a:pt x="1954" y="2489"/>
                  </a:lnTo>
                  <a:lnTo>
                    <a:pt x="1954" y="2672"/>
                  </a:lnTo>
                  <a:lnTo>
                    <a:pt x="1950" y="2689"/>
                  </a:lnTo>
                  <a:lnTo>
                    <a:pt x="1942" y="2705"/>
                  </a:lnTo>
                  <a:lnTo>
                    <a:pt x="1931" y="2716"/>
                  </a:lnTo>
                  <a:lnTo>
                    <a:pt x="1915" y="2724"/>
                  </a:lnTo>
                  <a:lnTo>
                    <a:pt x="1898" y="2727"/>
                  </a:lnTo>
                  <a:lnTo>
                    <a:pt x="1418" y="2727"/>
                  </a:lnTo>
                  <a:lnTo>
                    <a:pt x="1418" y="2853"/>
                  </a:lnTo>
                  <a:lnTo>
                    <a:pt x="1838" y="2853"/>
                  </a:lnTo>
                  <a:lnTo>
                    <a:pt x="1890" y="2857"/>
                  </a:lnTo>
                  <a:lnTo>
                    <a:pt x="1940" y="2866"/>
                  </a:lnTo>
                  <a:lnTo>
                    <a:pt x="1988" y="2882"/>
                  </a:lnTo>
                  <a:lnTo>
                    <a:pt x="2032" y="2902"/>
                  </a:lnTo>
                  <a:lnTo>
                    <a:pt x="2074" y="2927"/>
                  </a:lnTo>
                  <a:lnTo>
                    <a:pt x="2112" y="2958"/>
                  </a:lnTo>
                  <a:lnTo>
                    <a:pt x="2146" y="2992"/>
                  </a:lnTo>
                  <a:lnTo>
                    <a:pt x="2177" y="3030"/>
                  </a:lnTo>
                  <a:lnTo>
                    <a:pt x="2202" y="3072"/>
                  </a:lnTo>
                  <a:lnTo>
                    <a:pt x="2222" y="3116"/>
                  </a:lnTo>
                  <a:lnTo>
                    <a:pt x="2238" y="3164"/>
                  </a:lnTo>
                  <a:lnTo>
                    <a:pt x="2247" y="3214"/>
                  </a:lnTo>
                  <a:lnTo>
                    <a:pt x="2251" y="3266"/>
                  </a:lnTo>
                  <a:lnTo>
                    <a:pt x="2247" y="3317"/>
                  </a:lnTo>
                  <a:lnTo>
                    <a:pt x="2238" y="3367"/>
                  </a:lnTo>
                  <a:lnTo>
                    <a:pt x="2222" y="3415"/>
                  </a:lnTo>
                  <a:lnTo>
                    <a:pt x="2202" y="3460"/>
                  </a:lnTo>
                  <a:lnTo>
                    <a:pt x="2177" y="3501"/>
                  </a:lnTo>
                  <a:lnTo>
                    <a:pt x="2146" y="3540"/>
                  </a:lnTo>
                  <a:lnTo>
                    <a:pt x="2112" y="3574"/>
                  </a:lnTo>
                  <a:lnTo>
                    <a:pt x="2074" y="3604"/>
                  </a:lnTo>
                  <a:lnTo>
                    <a:pt x="2032" y="3630"/>
                  </a:lnTo>
                  <a:lnTo>
                    <a:pt x="1988" y="3651"/>
                  </a:lnTo>
                  <a:lnTo>
                    <a:pt x="1940" y="3666"/>
                  </a:lnTo>
                  <a:lnTo>
                    <a:pt x="1890" y="3676"/>
                  </a:lnTo>
                  <a:lnTo>
                    <a:pt x="1838" y="3678"/>
                  </a:lnTo>
                  <a:lnTo>
                    <a:pt x="413" y="3678"/>
                  </a:lnTo>
                  <a:lnTo>
                    <a:pt x="360" y="3676"/>
                  </a:lnTo>
                  <a:lnTo>
                    <a:pt x="311" y="3666"/>
                  </a:lnTo>
                  <a:lnTo>
                    <a:pt x="263" y="3651"/>
                  </a:lnTo>
                  <a:lnTo>
                    <a:pt x="219" y="3630"/>
                  </a:lnTo>
                  <a:lnTo>
                    <a:pt x="177" y="3604"/>
                  </a:lnTo>
                  <a:lnTo>
                    <a:pt x="138" y="3574"/>
                  </a:lnTo>
                  <a:lnTo>
                    <a:pt x="104" y="3540"/>
                  </a:lnTo>
                  <a:lnTo>
                    <a:pt x="74" y="3501"/>
                  </a:lnTo>
                  <a:lnTo>
                    <a:pt x="49" y="3460"/>
                  </a:lnTo>
                  <a:lnTo>
                    <a:pt x="28" y="3415"/>
                  </a:lnTo>
                  <a:lnTo>
                    <a:pt x="12" y="3367"/>
                  </a:lnTo>
                  <a:lnTo>
                    <a:pt x="3" y="3317"/>
                  </a:lnTo>
                  <a:lnTo>
                    <a:pt x="0" y="3266"/>
                  </a:lnTo>
                  <a:lnTo>
                    <a:pt x="3" y="3214"/>
                  </a:lnTo>
                  <a:lnTo>
                    <a:pt x="12" y="3164"/>
                  </a:lnTo>
                  <a:lnTo>
                    <a:pt x="28" y="3116"/>
                  </a:lnTo>
                  <a:lnTo>
                    <a:pt x="49" y="3072"/>
                  </a:lnTo>
                  <a:lnTo>
                    <a:pt x="74" y="3030"/>
                  </a:lnTo>
                  <a:lnTo>
                    <a:pt x="104" y="2992"/>
                  </a:lnTo>
                  <a:lnTo>
                    <a:pt x="138" y="2958"/>
                  </a:lnTo>
                  <a:lnTo>
                    <a:pt x="177" y="2927"/>
                  </a:lnTo>
                  <a:lnTo>
                    <a:pt x="219" y="2902"/>
                  </a:lnTo>
                  <a:lnTo>
                    <a:pt x="263" y="2882"/>
                  </a:lnTo>
                  <a:lnTo>
                    <a:pt x="311" y="2866"/>
                  </a:lnTo>
                  <a:lnTo>
                    <a:pt x="360" y="2857"/>
                  </a:lnTo>
                  <a:lnTo>
                    <a:pt x="413" y="2853"/>
                  </a:lnTo>
                  <a:lnTo>
                    <a:pt x="832" y="2853"/>
                  </a:lnTo>
                  <a:lnTo>
                    <a:pt x="832" y="2727"/>
                  </a:lnTo>
                  <a:lnTo>
                    <a:pt x="353" y="2727"/>
                  </a:lnTo>
                  <a:lnTo>
                    <a:pt x="317" y="2724"/>
                  </a:lnTo>
                  <a:lnTo>
                    <a:pt x="284" y="2714"/>
                  </a:lnTo>
                  <a:lnTo>
                    <a:pt x="255" y="2698"/>
                  </a:lnTo>
                  <a:lnTo>
                    <a:pt x="229" y="2676"/>
                  </a:lnTo>
                  <a:lnTo>
                    <a:pt x="209" y="2650"/>
                  </a:lnTo>
                  <a:lnTo>
                    <a:pt x="192" y="2621"/>
                  </a:lnTo>
                  <a:lnTo>
                    <a:pt x="181" y="2588"/>
                  </a:lnTo>
                  <a:lnTo>
                    <a:pt x="178" y="2553"/>
                  </a:lnTo>
                  <a:lnTo>
                    <a:pt x="178" y="2136"/>
                  </a:lnTo>
                  <a:lnTo>
                    <a:pt x="181" y="2101"/>
                  </a:lnTo>
                  <a:lnTo>
                    <a:pt x="192" y="2068"/>
                  </a:lnTo>
                  <a:lnTo>
                    <a:pt x="209" y="2039"/>
                  </a:lnTo>
                  <a:lnTo>
                    <a:pt x="229" y="2013"/>
                  </a:lnTo>
                  <a:lnTo>
                    <a:pt x="255" y="1991"/>
                  </a:lnTo>
                  <a:lnTo>
                    <a:pt x="284" y="1975"/>
                  </a:lnTo>
                  <a:lnTo>
                    <a:pt x="317" y="1965"/>
                  </a:lnTo>
                  <a:lnTo>
                    <a:pt x="353" y="1962"/>
                  </a:lnTo>
                  <a:lnTo>
                    <a:pt x="713" y="1962"/>
                  </a:lnTo>
                  <a:lnTo>
                    <a:pt x="713" y="1601"/>
                  </a:lnTo>
                  <a:lnTo>
                    <a:pt x="717" y="1558"/>
                  </a:lnTo>
                  <a:lnTo>
                    <a:pt x="726" y="1517"/>
                  </a:lnTo>
                  <a:lnTo>
                    <a:pt x="740" y="1477"/>
                  </a:lnTo>
                  <a:lnTo>
                    <a:pt x="761" y="1442"/>
                  </a:lnTo>
                  <a:lnTo>
                    <a:pt x="785" y="1409"/>
                  </a:lnTo>
                  <a:lnTo>
                    <a:pt x="814" y="1380"/>
                  </a:lnTo>
                  <a:lnTo>
                    <a:pt x="847" y="1355"/>
                  </a:lnTo>
                  <a:lnTo>
                    <a:pt x="883" y="1335"/>
                  </a:lnTo>
                  <a:lnTo>
                    <a:pt x="922" y="1321"/>
                  </a:lnTo>
                  <a:lnTo>
                    <a:pt x="963" y="1310"/>
                  </a:lnTo>
                  <a:lnTo>
                    <a:pt x="1007" y="1308"/>
                  </a:lnTo>
                  <a:lnTo>
                    <a:pt x="1414" y="1308"/>
                  </a:lnTo>
                  <a:lnTo>
                    <a:pt x="1452" y="1310"/>
                  </a:lnTo>
                  <a:lnTo>
                    <a:pt x="2359" y="101"/>
                  </a:lnTo>
                  <a:lnTo>
                    <a:pt x="2359" y="101"/>
                  </a:lnTo>
                  <a:lnTo>
                    <a:pt x="2382" y="73"/>
                  </a:lnTo>
                  <a:lnTo>
                    <a:pt x="2410" y="48"/>
                  </a:lnTo>
                  <a:lnTo>
                    <a:pt x="2441" y="27"/>
                  </a:lnTo>
                  <a:lnTo>
                    <a:pt x="2475" y="12"/>
                  </a:lnTo>
                  <a:lnTo>
                    <a:pt x="2513" y="3"/>
                  </a:lnTo>
                  <a:lnTo>
                    <a:pt x="2551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</p:grpSp>
      <p:sp>
        <p:nvSpPr>
          <p:cNvPr id="23625" name="TextBox 158">
            <a:extLst>
              <a:ext uri="{FF2B5EF4-FFF2-40B4-BE49-F238E27FC236}">
                <a16:creationId xmlns:a16="http://schemas.microsoft.com/office/drawing/2014/main" id="{E039C87F-72AD-4054-B63A-554ACFFB9E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4663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6" name="TextBox 159">
            <a:extLst>
              <a:ext uri="{FF2B5EF4-FFF2-40B4-BE49-F238E27FC236}">
                <a16:creationId xmlns:a16="http://schemas.microsoft.com/office/drawing/2014/main" id="{C89D28E8-6E73-4458-A352-42A749EC09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3488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7" name="TextBox 127">
            <a:extLst>
              <a:ext uri="{FF2B5EF4-FFF2-40B4-BE49-F238E27FC236}">
                <a16:creationId xmlns:a16="http://schemas.microsoft.com/office/drawing/2014/main" id="{D2C4F5E9-E854-4896-8355-45DEC69063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7813" y="6378575"/>
            <a:ext cx="426243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Sources: National Bureau of Statistics, World Bank Report on Doing Business in Nigeria 2018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climate-</a:t>
            </a:r>
            <a:r>
              <a:rPr lang="en-GB" altLang="en-US" sz="800" dirty="0" err="1">
                <a:latin typeface="Calibri" panose="020F0502020204030204" pitchFamily="34" charset="0"/>
              </a:rPr>
              <a:t>data.org</a:t>
            </a:r>
            <a:r>
              <a:rPr lang="en-GB" altLang="en-US" sz="800" dirty="0">
                <a:latin typeface="Calibri" panose="020F0502020204030204" pitchFamily="34" charset="0"/>
              </a:rPr>
              <a:t>, State Government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Exchange rate= $1/N305 (Central Bank of Nigeria)</a:t>
            </a:r>
          </a:p>
        </p:txBody>
      </p:sp>
      <p:sp>
        <p:nvSpPr>
          <p:cNvPr id="23628" name="TextBox 128">
            <a:extLst>
              <a:ext uri="{FF2B5EF4-FFF2-40B4-BE49-F238E27FC236}">
                <a16:creationId xmlns:a16="http://schemas.microsoft.com/office/drawing/2014/main" id="{409BCC6F-A5F0-4C79-BB4A-38A1ABC14F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51447" y="3649889"/>
            <a:ext cx="49564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Health</a:t>
            </a:r>
          </a:p>
        </p:txBody>
      </p:sp>
      <p:sp>
        <p:nvSpPr>
          <p:cNvPr id="23629" name="TextBox 129">
            <a:extLst>
              <a:ext uri="{FF2B5EF4-FFF2-40B4-BE49-F238E27FC236}">
                <a16:creationId xmlns:a16="http://schemas.microsoft.com/office/drawing/2014/main" id="{489E7B41-20C9-4493-8E7D-07238EB8FA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2892" y="3654980"/>
            <a:ext cx="64953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River Port</a:t>
            </a:r>
          </a:p>
        </p:txBody>
      </p:sp>
      <p:sp>
        <p:nvSpPr>
          <p:cNvPr id="23630" name="TextBox 130">
            <a:extLst>
              <a:ext uri="{FF2B5EF4-FFF2-40B4-BE49-F238E27FC236}">
                <a16:creationId xmlns:a16="http://schemas.microsoft.com/office/drawing/2014/main" id="{048DE5D8-5309-42DA-9D97-2935A10CB7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31" name="TextBox 131">
            <a:extLst>
              <a:ext uri="{FF2B5EF4-FFF2-40B4-BE49-F238E27FC236}">
                <a16:creationId xmlns:a16="http://schemas.microsoft.com/office/drawing/2014/main" id="{FF8B6C80-43E2-43AF-A364-A31845F05C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35863" y="3656613"/>
            <a:ext cx="57579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Palm Oil</a:t>
            </a:r>
          </a:p>
        </p:txBody>
      </p:sp>
      <p:sp>
        <p:nvSpPr>
          <p:cNvPr id="23632" name="TextBox 132">
            <a:extLst>
              <a:ext uri="{FF2B5EF4-FFF2-40B4-BE49-F238E27FC236}">
                <a16:creationId xmlns:a16="http://schemas.microsoft.com/office/drawing/2014/main" id="{A1C640C1-61D1-4BA5-8A76-E684397E8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22889" y="3650683"/>
            <a:ext cx="38023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Clay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238751" y="3833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23638" name="TextBox 141">
            <a:extLst>
              <a:ext uri="{FF2B5EF4-FFF2-40B4-BE49-F238E27FC236}">
                <a16:creationId xmlns:a16="http://schemas.microsoft.com/office/drawing/2014/main" id="{EE481231-8673-4FD7-B5CC-900AEE7A9F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8233" y="3652271"/>
            <a:ext cx="55175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Cassava</a:t>
            </a:r>
          </a:p>
        </p:txBody>
      </p:sp>
      <p:sp>
        <p:nvSpPr>
          <p:cNvPr id="23649" name="TextBox 165">
            <a:extLst>
              <a:ext uri="{FF2B5EF4-FFF2-40B4-BE49-F238E27FC236}">
                <a16:creationId xmlns:a16="http://schemas.microsoft.com/office/drawing/2014/main" id="{1242633E-9CB1-48ED-83F4-2223DFC7ED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81236" y="4459560"/>
            <a:ext cx="52770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Rubber</a:t>
            </a:r>
          </a:p>
        </p:txBody>
      </p:sp>
      <p:sp>
        <p:nvSpPr>
          <p:cNvPr id="23650" name="TextBox 166">
            <a:extLst>
              <a:ext uri="{FF2B5EF4-FFF2-40B4-BE49-F238E27FC236}">
                <a16:creationId xmlns:a16="http://schemas.microsoft.com/office/drawing/2014/main" id="{6B51369B-8FA6-464A-B908-12B0FFE6B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47066" y="4458812"/>
            <a:ext cx="67358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Limestone</a:t>
            </a:r>
          </a:p>
        </p:txBody>
      </p:sp>
      <p:sp>
        <p:nvSpPr>
          <p:cNvPr id="23651" name="TextBox 167">
            <a:extLst>
              <a:ext uri="{FF2B5EF4-FFF2-40B4-BE49-F238E27FC236}">
                <a16:creationId xmlns:a16="http://schemas.microsoft.com/office/drawing/2014/main" id="{4F9404E1-8339-401B-8B10-4C7D1A8CEC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96936" y="4457881"/>
            <a:ext cx="356188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Rail</a:t>
            </a:r>
          </a:p>
        </p:txBody>
      </p:sp>
      <p:sp>
        <p:nvSpPr>
          <p:cNvPr id="23652" name="TextBox 168">
            <a:extLst>
              <a:ext uri="{FF2B5EF4-FFF2-40B4-BE49-F238E27FC236}">
                <a16:creationId xmlns:a16="http://schemas.microsoft.com/office/drawing/2014/main" id="{1C04917D-B2C3-4C21-8CC2-A45C349B4B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65456" y="4457133"/>
            <a:ext cx="58862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Plywood</a:t>
            </a:r>
          </a:p>
        </p:txBody>
      </p:sp>
      <p:sp>
        <p:nvSpPr>
          <p:cNvPr id="23653" name="TextBox 169">
            <a:extLst>
              <a:ext uri="{FF2B5EF4-FFF2-40B4-BE49-F238E27FC236}">
                <a16:creationId xmlns:a16="http://schemas.microsoft.com/office/drawing/2014/main" id="{4BADA327-4F2D-4897-B7C0-4647A1484B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4401" y="4457973"/>
            <a:ext cx="61747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Oil &amp; Gas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8A28B48-1841-45BB-BFBC-EADE77B37C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6157762"/>
              </p:ext>
            </p:extLst>
          </p:nvPr>
        </p:nvGraphicFramePr>
        <p:xfrm>
          <a:off x="2779712" y="2589213"/>
          <a:ext cx="1482725" cy="812800"/>
        </p:xfrm>
        <a:graphic>
          <a:graphicData uri="http://schemas.openxmlformats.org/drawingml/2006/table">
            <a:tbl>
              <a:tblPr/>
              <a:tblGrid>
                <a:gridCol w="11367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9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32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GB" sz="1000" b="1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Domestic</a:t>
                      </a:r>
                      <a:r>
                        <a:rPr lang="en-GB" sz="10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US" sz="1000" b="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International 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Railway</a:t>
                      </a:r>
                      <a:r>
                        <a:rPr lang="en-GB" sz="1000" b="1" kern="1200" baseline="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 Station</a:t>
                      </a:r>
                      <a:endParaRPr lang="en-GB" sz="1000" b="1" kern="1200" dirty="0">
                        <a:solidFill>
                          <a:srgbClr val="292929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32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Sea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7" name="TextBox 136">
            <a:extLst>
              <a:ext uri="{FF2B5EF4-FFF2-40B4-BE49-F238E27FC236}">
                <a16:creationId xmlns:a16="http://schemas.microsoft.com/office/drawing/2014/main" id="{2F4C4876-7073-4C13-A183-127A8909BDC0}"/>
              </a:ext>
            </a:extLst>
          </p:cNvPr>
          <p:cNvSpPr txBox="1"/>
          <p:nvPr/>
        </p:nvSpPr>
        <p:spPr>
          <a:xfrm>
            <a:off x="538163" y="5268913"/>
            <a:ext cx="373856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For further details</a:t>
            </a:r>
          </a:p>
        </p:txBody>
      </p:sp>
      <p:sp>
        <p:nvSpPr>
          <p:cNvPr id="23676" name="TextBox 156">
            <a:extLst>
              <a:ext uri="{FF2B5EF4-FFF2-40B4-BE49-F238E27FC236}">
                <a16:creationId xmlns:a16="http://schemas.microsoft.com/office/drawing/2014/main" id="{95D66AAF-6B48-4B9E-9E5B-F1BB063A89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6300" y="6342063"/>
            <a:ext cx="37306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Abbreviations: </a:t>
            </a:r>
            <a:r>
              <a:rPr lang="en-GB" altLang="en-US" sz="800" b="1" dirty="0">
                <a:latin typeface="Calibri" panose="020F0502020204030204" pitchFamily="34" charset="0"/>
              </a:rPr>
              <a:t>	NICPS</a:t>
            </a:r>
            <a:r>
              <a:rPr lang="en-GB" altLang="en-US" sz="800" dirty="0">
                <a:latin typeface="Calibri" panose="020F0502020204030204" pitchFamily="34" charset="0"/>
              </a:rPr>
              <a:t>: Nigerian Investment Certification Programme for States                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	</a:t>
            </a:r>
            <a:r>
              <a:rPr lang="en-GB" altLang="en-US" sz="800" b="1" dirty="0">
                <a:latin typeface="Calibri" panose="020F0502020204030204" pitchFamily="34" charset="0"/>
              </a:rPr>
              <a:t>IGR</a:t>
            </a:r>
            <a:r>
              <a:rPr lang="en-GB" altLang="en-US" sz="800" dirty="0">
                <a:latin typeface="Calibri" panose="020F0502020204030204" pitchFamily="34" charset="0"/>
              </a:rPr>
              <a:t>:     Internal Generated Revenue</a:t>
            </a:r>
          </a:p>
        </p:txBody>
      </p:sp>
      <p:sp>
        <p:nvSpPr>
          <p:cNvPr id="23678" name="TextBox 152">
            <a:extLst>
              <a:ext uri="{FF2B5EF4-FFF2-40B4-BE49-F238E27FC236}">
                <a16:creationId xmlns:a16="http://schemas.microsoft.com/office/drawing/2014/main" id="{BFAF6896-F732-45FC-AC47-950DF99D9E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4575" y="1257300"/>
            <a:ext cx="3446463" cy="1492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15888" indent="-11588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</a:rPr>
              <a:t>2</a:t>
            </a:r>
            <a:r>
              <a:rPr lang="en-US" sz="1300" baseline="30000" dirty="0">
                <a:latin typeface="Calibri" panose="020F0502020204030204" pitchFamily="34" charset="0"/>
              </a:rPr>
              <a:t>nd</a:t>
            </a:r>
            <a:r>
              <a:rPr lang="en-US" sz="1300" dirty="0">
                <a:latin typeface="Calibri" panose="020F0502020204030204" pitchFamily="34" charset="0"/>
              </a:rPr>
              <a:t> largest producer of petroleum produc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</a:rPr>
              <a:t>2</a:t>
            </a:r>
            <a:r>
              <a:rPr lang="en-US" sz="1300" baseline="30000" dirty="0">
                <a:latin typeface="Calibri" panose="020F0502020204030204" pitchFamily="34" charset="0"/>
              </a:rPr>
              <a:t>nd</a:t>
            </a:r>
            <a:r>
              <a:rPr lang="en-US" sz="1300" dirty="0">
                <a:latin typeface="Calibri" panose="020F0502020204030204" pitchFamily="34" charset="0"/>
              </a:rPr>
              <a:t> largest oil producing state (346,000bpd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</a:rPr>
              <a:t>One of five major timber producing stat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</a:rPr>
              <a:t>Tourism (</a:t>
            </a:r>
            <a:r>
              <a:rPr lang="en-US" sz="1300" dirty="0" err="1">
                <a:latin typeface="Calibri" panose="020F0502020204030204" pitchFamily="34" charset="0"/>
              </a:rPr>
              <a:t>Abraka</a:t>
            </a:r>
            <a:r>
              <a:rPr lang="en-US" sz="1300" dirty="0">
                <a:latin typeface="Calibri" panose="020F0502020204030204" pitchFamily="34" charset="0"/>
              </a:rPr>
              <a:t> Turf and country club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</a:rPr>
              <a:t>Deposits of lignite (brown coal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</a:rPr>
              <a:t>3</a:t>
            </a:r>
            <a:r>
              <a:rPr lang="en-US" sz="1300" baseline="30000" dirty="0">
                <a:latin typeface="Calibri" panose="020F0502020204030204" pitchFamily="34" charset="0"/>
              </a:rPr>
              <a:t>rd</a:t>
            </a:r>
            <a:r>
              <a:rPr lang="en-US" sz="1300" dirty="0">
                <a:latin typeface="Calibri" panose="020F0502020204030204" pitchFamily="34" charset="0"/>
              </a:rPr>
              <a:t> highest revenue generating state (N40,805,656,911.96)</a:t>
            </a:r>
            <a:endParaRPr lang="en-GB" sz="1300" dirty="0">
              <a:latin typeface="Calibri" panose="020F0502020204030204" pitchFamily="34" charset="0"/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D4E23C6-26A0-4545-B8F7-7007C8EEBFE4}"/>
              </a:ext>
            </a:extLst>
          </p:cNvPr>
          <p:cNvSpPr txBox="1"/>
          <p:nvPr/>
        </p:nvSpPr>
        <p:spPr>
          <a:xfrm>
            <a:off x="4338638" y="5265738"/>
            <a:ext cx="247491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id you know?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132" name="Text Placeholder 42">
            <a:extLst>
              <a:ext uri="{FF2B5EF4-FFF2-40B4-BE49-F238E27FC236}">
                <a16:creationId xmlns:a16="http://schemas.microsoft.com/office/drawing/2014/main" id="{D510D0DC-1548-4249-8DB1-9A1055126D07}"/>
              </a:ext>
            </a:extLst>
          </p:cNvPr>
          <p:cNvSpPr txBox="1">
            <a:spLocks/>
          </p:cNvSpPr>
          <p:nvPr/>
        </p:nvSpPr>
        <p:spPr>
          <a:xfrm>
            <a:off x="522288" y="5511800"/>
            <a:ext cx="3733800" cy="701675"/>
          </a:xfrm>
          <a:prstGeom prst="rect">
            <a:avLst/>
          </a:prstGeom>
        </p:spPr>
        <p:txBody>
          <a:bodyPr lIns="36576" tIns="0" rIns="36576" bIns="0"/>
          <a:lstStyle>
            <a:lvl1pPr marL="0" indent="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/>
              <a:buNone/>
              <a:defRPr sz="800" b="1" baseline="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6575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93763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 charset="0"/>
              <a:buChar char="►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50950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619250" indent="-188913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0764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25336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29908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34480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NIGERIAN INVESTMENT PROMOTION COMMISSION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>
                <a:solidFill>
                  <a:schemeClr val="tx1"/>
                </a:solidFill>
                <a:hlinkClick r:id="rId7"/>
              </a:rPr>
              <a:t>statesco@nipc.gov.ng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endParaRPr lang="en-US" sz="5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DELTA STATE INVESTMENT DEVELOPMENT AGENCY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 err="1">
                <a:solidFill>
                  <a:schemeClr val="tx1"/>
                </a:solidFill>
                <a:hlinkClick r:id="rId8"/>
              </a:rPr>
              <a:t>loomoru@gmail.com</a:t>
            </a:r>
            <a:r>
              <a:rPr lang="en-US" sz="1000" b="0" kern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FF015425-7997-4612-9D0E-1F6C433DFCC7}"/>
              </a:ext>
            </a:extLst>
          </p:cNvPr>
          <p:cNvSpPr/>
          <p:nvPr/>
        </p:nvSpPr>
        <p:spPr>
          <a:xfrm>
            <a:off x="6080877" y="3040856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4C0B7457-CABD-4AC8-8A1A-1FD468581E4D}"/>
              </a:ext>
            </a:extLst>
          </p:cNvPr>
          <p:cNvSpPr/>
          <p:nvPr/>
        </p:nvSpPr>
        <p:spPr>
          <a:xfrm>
            <a:off x="6784796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2D626A89-F50C-45A3-9271-5D3F2EEA9C83}"/>
              </a:ext>
            </a:extLst>
          </p:cNvPr>
          <p:cNvSpPr/>
          <p:nvPr/>
        </p:nvSpPr>
        <p:spPr>
          <a:xfrm>
            <a:off x="7518399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240713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A62E850A-D87D-46D0-9257-0071E677FCF0}"/>
              </a:ext>
            </a:extLst>
          </p:cNvPr>
          <p:cNvSpPr/>
          <p:nvPr/>
        </p:nvSpPr>
        <p:spPr>
          <a:xfrm>
            <a:off x="8947150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4D1FAA17-3EFF-404B-B4C4-B468BCE2E9A5}"/>
              </a:ext>
            </a:extLst>
          </p:cNvPr>
          <p:cNvSpPr/>
          <p:nvPr/>
        </p:nvSpPr>
        <p:spPr>
          <a:xfrm>
            <a:off x="6078265" y="3836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E861211D-5D09-4577-8A09-FD96D972A5D4}"/>
              </a:ext>
            </a:extLst>
          </p:cNvPr>
          <p:cNvSpPr/>
          <p:nvPr/>
        </p:nvSpPr>
        <p:spPr>
          <a:xfrm>
            <a:off x="6780509" y="3833831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D9F8790B-E97D-4D8F-AD51-26FAFBF8CA40}"/>
              </a:ext>
            </a:extLst>
          </p:cNvPr>
          <p:cNvSpPr/>
          <p:nvPr/>
        </p:nvSpPr>
        <p:spPr>
          <a:xfrm>
            <a:off x="8946402" y="3833630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3CBEFD1C-6360-47CD-AEDD-DFB49FC0E0C7}"/>
              </a:ext>
            </a:extLst>
          </p:cNvPr>
          <p:cNvSpPr/>
          <p:nvPr/>
        </p:nvSpPr>
        <p:spPr>
          <a:xfrm>
            <a:off x="7518603" y="3830834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pic>
        <p:nvPicPr>
          <p:cNvPr id="127" name="Picture 126">
            <a:extLst>
              <a:ext uri="{FF2B5EF4-FFF2-40B4-BE49-F238E27FC236}">
                <a16:creationId xmlns:a16="http://schemas.microsoft.com/office/drawing/2014/main" id="{A303336A-48D8-4BF5-9700-81D4E43BD78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2135" y="3121468"/>
            <a:ext cx="387806" cy="402523"/>
          </a:xfrm>
          <a:prstGeom prst="rect">
            <a:avLst/>
          </a:prstGeom>
        </p:spPr>
      </p:pic>
      <p:pic>
        <p:nvPicPr>
          <p:cNvPr id="134" name="Picture 133">
            <a:extLst>
              <a:ext uri="{FF2B5EF4-FFF2-40B4-BE49-F238E27FC236}">
                <a16:creationId xmlns:a16="http://schemas.microsoft.com/office/drawing/2014/main" id="{0F553E56-F753-49E9-B203-192FFB1F928A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888811" y="3158701"/>
            <a:ext cx="375166" cy="362555"/>
          </a:xfrm>
          <a:prstGeom prst="rect">
            <a:avLst/>
          </a:prstGeom>
        </p:spPr>
      </p:pic>
      <p:pic>
        <p:nvPicPr>
          <p:cNvPr id="135" name="Picture 2">
            <a:extLst>
              <a:ext uri="{FF2B5EF4-FFF2-40B4-BE49-F238E27FC236}">
                <a16:creationId xmlns:a16="http://schemas.microsoft.com/office/drawing/2014/main" id="{B90BE033-85B3-44C1-A9FA-2836BF66046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10377"/>
          <a:stretch/>
        </p:blipFill>
        <p:spPr bwMode="auto">
          <a:xfrm>
            <a:off x="6139626" y="3156381"/>
            <a:ext cx="467327" cy="4210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6" name="Picture 3">
            <a:extLst>
              <a:ext uri="{FF2B5EF4-FFF2-40B4-BE49-F238E27FC236}">
                <a16:creationId xmlns:a16="http://schemas.microsoft.com/office/drawing/2014/main" id="{1C40A422-985D-4F11-9E5E-45D776D6BD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2733" y="3013010"/>
            <a:ext cx="527178" cy="5999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9" name="Picture 4">
            <a:extLst>
              <a:ext uri="{FF2B5EF4-FFF2-40B4-BE49-F238E27FC236}">
                <a16:creationId xmlns:a16="http://schemas.microsoft.com/office/drawing/2014/main" id="{69277B7F-E7B6-4507-B31E-601D35911F2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90" t="9602" r="10216" b="20532"/>
          <a:stretch/>
        </p:blipFill>
        <p:spPr bwMode="auto">
          <a:xfrm>
            <a:off x="8302566" y="3139732"/>
            <a:ext cx="482882" cy="35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1" name="Picture 9">
            <a:extLst>
              <a:ext uri="{FF2B5EF4-FFF2-40B4-BE49-F238E27FC236}">
                <a16:creationId xmlns:a16="http://schemas.microsoft.com/office/drawing/2014/main" id="{786DB8A2-8553-41D9-ADB0-A1A6D3DE213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348" b="44725"/>
          <a:stretch/>
        </p:blipFill>
        <p:spPr bwMode="auto">
          <a:xfrm>
            <a:off x="6220731" y="3942527"/>
            <a:ext cx="342588" cy="3635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2" name="Picture 6">
            <a:extLst>
              <a:ext uri="{FF2B5EF4-FFF2-40B4-BE49-F238E27FC236}">
                <a16:creationId xmlns:a16="http://schemas.microsoft.com/office/drawing/2014/main" id="{96231DF0-F71A-473A-B4EA-6C993010B6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9618" y="3978794"/>
            <a:ext cx="443450" cy="3371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9" name="Picture 148">
            <a:extLst>
              <a:ext uri="{FF2B5EF4-FFF2-40B4-BE49-F238E27FC236}">
                <a16:creationId xmlns:a16="http://schemas.microsoft.com/office/drawing/2014/main" id="{FECC7FBF-AD15-4680-9B9A-E5B82E89824F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3665" y="3962255"/>
            <a:ext cx="364987" cy="360997"/>
          </a:xfrm>
          <a:prstGeom prst="rect">
            <a:avLst/>
          </a:prstGeom>
        </p:spPr>
      </p:pic>
      <p:pic>
        <p:nvPicPr>
          <p:cNvPr id="150" name="Picture 4">
            <a:extLst>
              <a:ext uri="{FF2B5EF4-FFF2-40B4-BE49-F238E27FC236}">
                <a16:creationId xmlns:a16="http://schemas.microsoft.com/office/drawing/2014/main" id="{530AC005-5800-4EEE-B076-BEA1873770A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219" b="16848"/>
          <a:stretch/>
        </p:blipFill>
        <p:spPr bwMode="auto">
          <a:xfrm>
            <a:off x="8322732" y="4000357"/>
            <a:ext cx="430572" cy="3139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4" name="TextBox 143">
            <a:extLst>
              <a:ext uri="{FF2B5EF4-FFF2-40B4-BE49-F238E27FC236}">
                <a16:creationId xmlns:a16="http://schemas.microsoft.com/office/drawing/2014/main" id="{D0A41506-8873-4C2F-B45B-4459F0229CA3}"/>
              </a:ext>
            </a:extLst>
          </p:cNvPr>
          <p:cNvSpPr txBox="1"/>
          <p:nvPr/>
        </p:nvSpPr>
        <p:spPr>
          <a:xfrm>
            <a:off x="4374578" y="4541674"/>
            <a:ext cx="17988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te Investment Certification Process Not Started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276725" y="5408993"/>
            <a:ext cx="259181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Anioma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people are located primarily in Delta State, and are referred to as Western Igbo, being separated from the Igbo in the East by the River Niger.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19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30" t="14940" r="6238" b="29799"/>
          <a:stretch/>
        </p:blipFill>
        <p:spPr>
          <a:xfrm flipH="1">
            <a:off x="8992793" y="3938586"/>
            <a:ext cx="509387" cy="394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37554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Pentagon 19">
            <a:extLst>
              <a:ext uri="{FF2B5EF4-FFF2-40B4-BE49-F238E27FC236}">
                <a16:creationId xmlns:a16="http://schemas.microsoft.com/office/drawing/2014/main" id="{CAD93C59-72A9-4F6D-A654-02B9F8A5EFF9}"/>
              </a:ext>
            </a:extLst>
          </p:cNvPr>
          <p:cNvSpPr>
            <a:spLocks/>
          </p:cNvSpPr>
          <p:nvPr/>
        </p:nvSpPr>
        <p:spPr bwMode="auto">
          <a:xfrm>
            <a:off x="756602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4 of 37</a:t>
            </a:r>
          </a:p>
        </p:txBody>
      </p:sp>
      <p:sp>
        <p:nvSpPr>
          <p:cNvPr id="376" name="Pentagon 19">
            <a:extLst>
              <a:ext uri="{FF2B5EF4-FFF2-40B4-BE49-F238E27FC236}">
                <a16:creationId xmlns:a16="http://schemas.microsoft.com/office/drawing/2014/main" id="{1BDC5465-6022-4404-B4D8-ED55CF961B8A}"/>
              </a:ext>
            </a:extLst>
          </p:cNvPr>
          <p:cNvSpPr>
            <a:spLocks/>
          </p:cNvSpPr>
          <p:nvPr/>
        </p:nvSpPr>
        <p:spPr bwMode="auto">
          <a:xfrm>
            <a:off x="824865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31 of 3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57F1EBC-D01A-4083-B657-63AFB1490839}"/>
              </a:ext>
            </a:extLst>
          </p:cNvPr>
          <p:cNvSpPr txBox="1"/>
          <p:nvPr/>
        </p:nvSpPr>
        <p:spPr>
          <a:xfrm>
            <a:off x="6122988" y="2749550"/>
            <a:ext cx="3475037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nvestment Opportunit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D251BD-538A-4F4F-847E-620EEDA298A0}"/>
              </a:ext>
            </a:extLst>
          </p:cNvPr>
          <p:cNvSpPr txBox="1"/>
          <p:nvPr/>
        </p:nvSpPr>
        <p:spPr>
          <a:xfrm>
            <a:off x="6881813" y="4632911"/>
            <a:ext cx="2697162" cy="33855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oing Business Ranking(2018)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1B8F13C-F732-4DA1-9250-DB02936E7688}"/>
              </a:ext>
            </a:extLst>
          </p:cNvPr>
          <p:cNvSpPr/>
          <p:nvPr/>
        </p:nvSpPr>
        <p:spPr>
          <a:xfrm>
            <a:off x="756602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Registering Propert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6BA1818-32ED-44D1-975C-958200BDD124}"/>
              </a:ext>
            </a:extLst>
          </p:cNvPr>
          <p:cNvSpPr/>
          <p:nvPr/>
        </p:nvSpPr>
        <p:spPr>
          <a:xfrm>
            <a:off x="8248650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Dealing with Construction Permits</a:t>
            </a:r>
          </a:p>
        </p:txBody>
      </p:sp>
      <p:sp>
        <p:nvSpPr>
          <p:cNvPr id="23560" name="TextBox 174">
            <a:extLst>
              <a:ext uri="{FF2B5EF4-FFF2-40B4-BE49-F238E27FC236}">
                <a16:creationId xmlns:a16="http://schemas.microsoft.com/office/drawing/2014/main" id="{1573FD4E-62B9-45E8-8F28-CED990ED2D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0B63A6C-2A5E-4CA3-BC66-4CBC6008BC9A}"/>
              </a:ext>
            </a:extLst>
          </p:cNvPr>
          <p:cNvSpPr/>
          <p:nvPr/>
        </p:nvSpPr>
        <p:spPr>
          <a:xfrm>
            <a:off x="893127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Enforcing Contracts</a:t>
            </a:r>
          </a:p>
        </p:txBody>
      </p:sp>
      <p:pic>
        <p:nvPicPr>
          <p:cNvPr id="23562" name="Picture 4">
            <a:extLst>
              <a:ext uri="{FF2B5EF4-FFF2-40B4-BE49-F238E27FC236}">
                <a16:creationId xmlns:a16="http://schemas.microsoft.com/office/drawing/2014/main" id="{7C8EEAB2-0239-4BB5-94B3-23E319AF1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513" y="5249863"/>
            <a:ext cx="439737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6" name="Pentagon 19">
            <a:extLst>
              <a:ext uri="{FF2B5EF4-FFF2-40B4-BE49-F238E27FC236}">
                <a16:creationId xmlns:a16="http://schemas.microsoft.com/office/drawing/2014/main" id="{5F8E9670-D71A-4765-B6B5-D711BC9AD6E1}"/>
              </a:ext>
            </a:extLst>
          </p:cNvPr>
          <p:cNvSpPr>
            <a:spLocks/>
          </p:cNvSpPr>
          <p:nvPr/>
        </p:nvSpPr>
        <p:spPr bwMode="auto">
          <a:xfrm>
            <a:off x="893127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36</a:t>
            </a:r>
            <a:r>
              <a:rPr lang="en-GB" sz="1000" baseline="3000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of 37</a:t>
            </a:r>
          </a:p>
        </p:txBody>
      </p:sp>
      <p:sp>
        <p:nvSpPr>
          <p:cNvPr id="23564" name="Title 3">
            <a:extLst>
              <a:ext uri="{FF2B5EF4-FFF2-40B4-BE49-F238E27FC236}">
                <a16:creationId xmlns:a16="http://schemas.microsoft.com/office/drawing/2014/main" id="{C62A749B-CFC7-4224-A789-D20A772AC33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77813" y="222250"/>
            <a:ext cx="8543925" cy="5619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en-GB" alt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bonyi State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6882DF2C-9120-4A66-8487-575D9494F4D6}"/>
              </a:ext>
            </a:extLst>
          </p:cNvPr>
          <p:cNvSpPr txBox="1"/>
          <p:nvPr/>
        </p:nvSpPr>
        <p:spPr>
          <a:xfrm rot="16200000">
            <a:off x="-2290084" y="3478372"/>
            <a:ext cx="5303837" cy="2743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Salt of the Nation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grpSp>
        <p:nvGrpSpPr>
          <p:cNvPr id="23566" name="Group 9">
            <a:extLst>
              <a:ext uri="{FF2B5EF4-FFF2-40B4-BE49-F238E27FC236}">
                <a16:creationId xmlns:a16="http://schemas.microsoft.com/office/drawing/2014/main" id="{5B6131BD-3CE3-4FC4-B13A-FA9B797C1EF5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41338" y="963613"/>
            <a:ext cx="2897187" cy="2319337"/>
            <a:chOff x="770228" y="1459989"/>
            <a:chExt cx="4081047" cy="3267527"/>
          </a:xfrm>
        </p:grpSpPr>
        <p:sp>
          <p:nvSpPr>
            <p:cNvPr id="299" name="Freeform 4">
              <a:extLst>
                <a:ext uri="{FF2B5EF4-FFF2-40B4-BE49-F238E27FC236}">
                  <a16:creationId xmlns:a16="http://schemas.microsoft.com/office/drawing/2014/main" id="{B6150C82-CBE5-48B4-B60C-C210BB7B26A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91538" y="4349548"/>
              <a:ext cx="418167" cy="377968"/>
            </a:xfrm>
            <a:custGeom>
              <a:avLst/>
              <a:gdLst>
                <a:gd name="T0" fmla="*/ 12 w 786"/>
                <a:gd name="T1" fmla="*/ 19 h 714"/>
                <a:gd name="T2" fmla="*/ 22 w 786"/>
                <a:gd name="T3" fmla="*/ 18 h 714"/>
                <a:gd name="T4" fmla="*/ 27 w 786"/>
                <a:gd name="T5" fmla="*/ 17 h 714"/>
                <a:gd name="T6" fmla="*/ 30 w 786"/>
                <a:gd name="T7" fmla="*/ 14 h 714"/>
                <a:gd name="T8" fmla="*/ 37 w 786"/>
                <a:gd name="T9" fmla="*/ 16 h 714"/>
                <a:gd name="T10" fmla="*/ 43 w 786"/>
                <a:gd name="T11" fmla="*/ 13 h 714"/>
                <a:gd name="T12" fmla="*/ 48 w 786"/>
                <a:gd name="T13" fmla="*/ 8 h 714"/>
                <a:gd name="T14" fmla="*/ 55 w 786"/>
                <a:gd name="T15" fmla="*/ 4 h 714"/>
                <a:gd name="T16" fmla="*/ 66 w 786"/>
                <a:gd name="T17" fmla="*/ 0 h 714"/>
                <a:gd name="T18" fmla="*/ 63 w 786"/>
                <a:gd name="T19" fmla="*/ 12 h 714"/>
                <a:gd name="T20" fmla="*/ 59 w 786"/>
                <a:gd name="T21" fmla="*/ 19 h 714"/>
                <a:gd name="T22" fmla="*/ 57 w 786"/>
                <a:gd name="T23" fmla="*/ 29 h 714"/>
                <a:gd name="T24" fmla="*/ 59 w 786"/>
                <a:gd name="T25" fmla="*/ 36 h 714"/>
                <a:gd name="T26" fmla="*/ 66 w 786"/>
                <a:gd name="T27" fmla="*/ 35 h 714"/>
                <a:gd name="T28" fmla="*/ 64 w 786"/>
                <a:gd name="T29" fmla="*/ 41 h 714"/>
                <a:gd name="T30" fmla="*/ 64 w 786"/>
                <a:gd name="T31" fmla="*/ 48 h 714"/>
                <a:gd name="T32" fmla="*/ 63 w 786"/>
                <a:gd name="T33" fmla="*/ 56 h 714"/>
                <a:gd name="T34" fmla="*/ 60 w 786"/>
                <a:gd name="T35" fmla="*/ 60 h 714"/>
                <a:gd name="T36" fmla="*/ 57 w 786"/>
                <a:gd name="T37" fmla="*/ 58 h 714"/>
                <a:gd name="T38" fmla="*/ 54 w 786"/>
                <a:gd name="T39" fmla="*/ 54 h 714"/>
                <a:gd name="T40" fmla="*/ 53 w 786"/>
                <a:gd name="T41" fmla="*/ 51 h 714"/>
                <a:gd name="T42" fmla="*/ 51 w 786"/>
                <a:gd name="T43" fmla="*/ 53 h 714"/>
                <a:gd name="T44" fmla="*/ 49 w 786"/>
                <a:gd name="T45" fmla="*/ 54 h 714"/>
                <a:gd name="T46" fmla="*/ 47 w 786"/>
                <a:gd name="T47" fmla="*/ 50 h 714"/>
                <a:gd name="T48" fmla="*/ 48 w 786"/>
                <a:gd name="T49" fmla="*/ 54 h 714"/>
                <a:gd name="T50" fmla="*/ 47 w 786"/>
                <a:gd name="T51" fmla="*/ 54 h 714"/>
                <a:gd name="T52" fmla="*/ 46 w 786"/>
                <a:gd name="T53" fmla="*/ 59 h 714"/>
                <a:gd name="T54" fmla="*/ 47 w 786"/>
                <a:gd name="T55" fmla="*/ 62 h 714"/>
                <a:gd name="T56" fmla="*/ 42 w 786"/>
                <a:gd name="T57" fmla="*/ 62 h 714"/>
                <a:gd name="T58" fmla="*/ 39 w 786"/>
                <a:gd name="T59" fmla="*/ 57 h 714"/>
                <a:gd name="T60" fmla="*/ 40 w 786"/>
                <a:gd name="T61" fmla="*/ 54 h 714"/>
                <a:gd name="T62" fmla="*/ 43 w 786"/>
                <a:gd name="T63" fmla="*/ 55 h 714"/>
                <a:gd name="T64" fmla="*/ 40 w 786"/>
                <a:gd name="T65" fmla="*/ 53 h 714"/>
                <a:gd name="T66" fmla="*/ 38 w 786"/>
                <a:gd name="T67" fmla="*/ 57 h 714"/>
                <a:gd name="T68" fmla="*/ 37 w 786"/>
                <a:gd name="T69" fmla="*/ 57 h 714"/>
                <a:gd name="T70" fmla="*/ 37 w 786"/>
                <a:gd name="T71" fmla="*/ 60 h 714"/>
                <a:gd name="T72" fmla="*/ 33 w 786"/>
                <a:gd name="T73" fmla="*/ 56 h 714"/>
                <a:gd name="T74" fmla="*/ 32 w 786"/>
                <a:gd name="T75" fmla="*/ 58 h 714"/>
                <a:gd name="T76" fmla="*/ 26 w 786"/>
                <a:gd name="T77" fmla="*/ 54 h 714"/>
                <a:gd name="T78" fmla="*/ 26 w 786"/>
                <a:gd name="T79" fmla="*/ 54 h 714"/>
                <a:gd name="T80" fmla="*/ 24 w 786"/>
                <a:gd name="T81" fmla="*/ 51 h 714"/>
                <a:gd name="T82" fmla="*/ 22 w 786"/>
                <a:gd name="T83" fmla="*/ 51 h 714"/>
                <a:gd name="T84" fmla="*/ 20 w 786"/>
                <a:gd name="T85" fmla="*/ 50 h 714"/>
                <a:gd name="T86" fmla="*/ 20 w 786"/>
                <a:gd name="T87" fmla="*/ 48 h 714"/>
                <a:gd name="T88" fmla="*/ 18 w 786"/>
                <a:gd name="T89" fmla="*/ 47 h 714"/>
                <a:gd name="T90" fmla="*/ 15 w 786"/>
                <a:gd name="T91" fmla="*/ 45 h 714"/>
                <a:gd name="T92" fmla="*/ 11 w 786"/>
                <a:gd name="T93" fmla="*/ 39 h 714"/>
                <a:gd name="T94" fmla="*/ 12 w 786"/>
                <a:gd name="T95" fmla="*/ 36 h 714"/>
                <a:gd name="T96" fmla="*/ 7 w 786"/>
                <a:gd name="T97" fmla="*/ 33 h 714"/>
                <a:gd name="T98" fmla="*/ 5 w 786"/>
                <a:gd name="T99" fmla="*/ 28 h 714"/>
                <a:gd name="T100" fmla="*/ 7 w 786"/>
                <a:gd name="T101" fmla="*/ 30 h 714"/>
                <a:gd name="T102" fmla="*/ 4 w 786"/>
                <a:gd name="T103" fmla="*/ 24 h 714"/>
                <a:gd name="T104" fmla="*/ 2 w 786"/>
                <a:gd name="T105" fmla="*/ 20 h 714"/>
                <a:gd name="T106" fmla="*/ 0 w 786"/>
                <a:gd name="T107" fmla="*/ 15 h 714"/>
                <a:gd name="T108" fmla="*/ 4 w 786"/>
                <a:gd name="T109" fmla="*/ 16 h 714"/>
                <a:gd name="T110" fmla="*/ 55 w 786"/>
                <a:gd name="T111" fmla="*/ 60 h 714"/>
                <a:gd name="T112" fmla="*/ 47 w 786"/>
                <a:gd name="T113" fmla="*/ 60 h 714"/>
                <a:gd name="T114" fmla="*/ 51 w 786"/>
                <a:gd name="T115" fmla="*/ 54 h 714"/>
                <a:gd name="T116" fmla="*/ 54 w 786"/>
                <a:gd name="T117" fmla="*/ 56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86"/>
                <a:gd name="T178" fmla="*/ 0 h 714"/>
                <a:gd name="T179" fmla="*/ 786 w 786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86" h="714">
                  <a:moveTo>
                    <a:pt x="54" y="186"/>
                  </a:moveTo>
                  <a:lnTo>
                    <a:pt x="54" y="192"/>
                  </a:lnTo>
                  <a:lnTo>
                    <a:pt x="72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204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20" y="210"/>
                  </a:lnTo>
                  <a:lnTo>
                    <a:pt x="126" y="210"/>
                  </a:lnTo>
                  <a:lnTo>
                    <a:pt x="132" y="210"/>
                  </a:lnTo>
                  <a:lnTo>
                    <a:pt x="132" y="216"/>
                  </a:lnTo>
                  <a:lnTo>
                    <a:pt x="138" y="222"/>
                  </a:lnTo>
                  <a:lnTo>
                    <a:pt x="150" y="222"/>
                  </a:lnTo>
                  <a:lnTo>
                    <a:pt x="162" y="234"/>
                  </a:lnTo>
                  <a:lnTo>
                    <a:pt x="168" y="240"/>
                  </a:lnTo>
                  <a:lnTo>
                    <a:pt x="180" y="240"/>
                  </a:lnTo>
                  <a:lnTo>
                    <a:pt x="186" y="228"/>
                  </a:lnTo>
                  <a:lnTo>
                    <a:pt x="210" y="234"/>
                  </a:lnTo>
                  <a:lnTo>
                    <a:pt x="222" y="228"/>
                  </a:lnTo>
                  <a:lnTo>
                    <a:pt x="228" y="216"/>
                  </a:lnTo>
                  <a:lnTo>
                    <a:pt x="234" y="210"/>
                  </a:lnTo>
                  <a:lnTo>
                    <a:pt x="240" y="216"/>
                  </a:lnTo>
                  <a:lnTo>
                    <a:pt x="246" y="210"/>
                  </a:lnTo>
                  <a:lnTo>
                    <a:pt x="252" y="210"/>
                  </a:lnTo>
                  <a:lnTo>
                    <a:pt x="258" y="210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192"/>
                  </a:lnTo>
                  <a:lnTo>
                    <a:pt x="270" y="192"/>
                  </a:lnTo>
                  <a:lnTo>
                    <a:pt x="276" y="192"/>
                  </a:lnTo>
                  <a:lnTo>
                    <a:pt x="282" y="192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192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198"/>
                  </a:lnTo>
                  <a:lnTo>
                    <a:pt x="312" y="198"/>
                  </a:lnTo>
                  <a:lnTo>
                    <a:pt x="312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24" y="186"/>
                  </a:lnTo>
                  <a:lnTo>
                    <a:pt x="318" y="180"/>
                  </a:lnTo>
                  <a:lnTo>
                    <a:pt x="324" y="180"/>
                  </a:lnTo>
                  <a:lnTo>
                    <a:pt x="330" y="186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74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54" y="144"/>
                  </a:lnTo>
                  <a:lnTo>
                    <a:pt x="360" y="144"/>
                  </a:lnTo>
                  <a:lnTo>
                    <a:pt x="372" y="156"/>
                  </a:lnTo>
                  <a:lnTo>
                    <a:pt x="372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96" y="168"/>
                  </a:lnTo>
                  <a:lnTo>
                    <a:pt x="396" y="174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26" y="186"/>
                  </a:lnTo>
                  <a:lnTo>
                    <a:pt x="432" y="186"/>
                  </a:lnTo>
                  <a:lnTo>
                    <a:pt x="438" y="180"/>
                  </a:lnTo>
                  <a:lnTo>
                    <a:pt x="438" y="168"/>
                  </a:lnTo>
                  <a:lnTo>
                    <a:pt x="438" y="162"/>
                  </a:lnTo>
                  <a:lnTo>
                    <a:pt x="444" y="156"/>
                  </a:lnTo>
                  <a:lnTo>
                    <a:pt x="450" y="156"/>
                  </a:lnTo>
                  <a:lnTo>
                    <a:pt x="456" y="150"/>
                  </a:lnTo>
                  <a:lnTo>
                    <a:pt x="462" y="156"/>
                  </a:lnTo>
                  <a:lnTo>
                    <a:pt x="468" y="162"/>
                  </a:lnTo>
                  <a:lnTo>
                    <a:pt x="474" y="162"/>
                  </a:lnTo>
                  <a:lnTo>
                    <a:pt x="486" y="162"/>
                  </a:lnTo>
                  <a:lnTo>
                    <a:pt x="492" y="156"/>
                  </a:lnTo>
                  <a:lnTo>
                    <a:pt x="498" y="150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28" y="126"/>
                  </a:lnTo>
                  <a:lnTo>
                    <a:pt x="522" y="120"/>
                  </a:lnTo>
                  <a:lnTo>
                    <a:pt x="522" y="114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28" y="102"/>
                  </a:lnTo>
                  <a:lnTo>
                    <a:pt x="534" y="96"/>
                  </a:lnTo>
                  <a:lnTo>
                    <a:pt x="552" y="96"/>
                  </a:lnTo>
                  <a:lnTo>
                    <a:pt x="570" y="102"/>
                  </a:lnTo>
                  <a:lnTo>
                    <a:pt x="582" y="96"/>
                  </a:lnTo>
                  <a:lnTo>
                    <a:pt x="582" y="90"/>
                  </a:lnTo>
                  <a:lnTo>
                    <a:pt x="582" y="78"/>
                  </a:lnTo>
                  <a:lnTo>
                    <a:pt x="582" y="72"/>
                  </a:lnTo>
                  <a:lnTo>
                    <a:pt x="582" y="66"/>
                  </a:lnTo>
                  <a:lnTo>
                    <a:pt x="594" y="60"/>
                  </a:lnTo>
                  <a:lnTo>
                    <a:pt x="600" y="60"/>
                  </a:lnTo>
                  <a:lnTo>
                    <a:pt x="606" y="54"/>
                  </a:lnTo>
                  <a:lnTo>
                    <a:pt x="618" y="48"/>
                  </a:lnTo>
                  <a:lnTo>
                    <a:pt x="618" y="42"/>
                  </a:lnTo>
                  <a:lnTo>
                    <a:pt x="624" y="42"/>
                  </a:lnTo>
                  <a:lnTo>
                    <a:pt x="636" y="48"/>
                  </a:lnTo>
                  <a:lnTo>
                    <a:pt x="648" y="54"/>
                  </a:lnTo>
                  <a:lnTo>
                    <a:pt x="660" y="54"/>
                  </a:lnTo>
                  <a:lnTo>
                    <a:pt x="666" y="60"/>
                  </a:lnTo>
                  <a:lnTo>
                    <a:pt x="672" y="54"/>
                  </a:lnTo>
                  <a:lnTo>
                    <a:pt x="684" y="48"/>
                  </a:lnTo>
                  <a:lnTo>
                    <a:pt x="708" y="42"/>
                  </a:lnTo>
                  <a:lnTo>
                    <a:pt x="714" y="42"/>
                  </a:lnTo>
                  <a:lnTo>
                    <a:pt x="720" y="36"/>
                  </a:lnTo>
                  <a:lnTo>
                    <a:pt x="720" y="30"/>
                  </a:lnTo>
                  <a:lnTo>
                    <a:pt x="714" y="12"/>
                  </a:lnTo>
                  <a:lnTo>
                    <a:pt x="708" y="0"/>
                  </a:lnTo>
                  <a:lnTo>
                    <a:pt x="738" y="6"/>
                  </a:lnTo>
                  <a:lnTo>
                    <a:pt x="756" y="6"/>
                  </a:lnTo>
                  <a:lnTo>
                    <a:pt x="762" y="42"/>
                  </a:lnTo>
                  <a:lnTo>
                    <a:pt x="738" y="72"/>
                  </a:lnTo>
                  <a:lnTo>
                    <a:pt x="750" y="90"/>
                  </a:lnTo>
                  <a:lnTo>
                    <a:pt x="762" y="96"/>
                  </a:lnTo>
                  <a:lnTo>
                    <a:pt x="756" y="102"/>
                  </a:lnTo>
                  <a:lnTo>
                    <a:pt x="750" y="108"/>
                  </a:lnTo>
                  <a:lnTo>
                    <a:pt x="750" y="114"/>
                  </a:lnTo>
                  <a:lnTo>
                    <a:pt x="750" y="120"/>
                  </a:lnTo>
                  <a:lnTo>
                    <a:pt x="750" y="126"/>
                  </a:lnTo>
                  <a:lnTo>
                    <a:pt x="750" y="132"/>
                  </a:lnTo>
                  <a:lnTo>
                    <a:pt x="738" y="132"/>
                  </a:lnTo>
                  <a:lnTo>
                    <a:pt x="732" y="138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14" y="144"/>
                  </a:lnTo>
                  <a:lnTo>
                    <a:pt x="714" y="150"/>
                  </a:lnTo>
                  <a:lnTo>
                    <a:pt x="720" y="156"/>
                  </a:lnTo>
                  <a:lnTo>
                    <a:pt x="720" y="162"/>
                  </a:lnTo>
                  <a:lnTo>
                    <a:pt x="714" y="162"/>
                  </a:lnTo>
                  <a:lnTo>
                    <a:pt x="708" y="168"/>
                  </a:lnTo>
                  <a:lnTo>
                    <a:pt x="708" y="180"/>
                  </a:lnTo>
                  <a:lnTo>
                    <a:pt x="708" y="192"/>
                  </a:lnTo>
                  <a:lnTo>
                    <a:pt x="696" y="198"/>
                  </a:lnTo>
                  <a:lnTo>
                    <a:pt x="696" y="204"/>
                  </a:lnTo>
                  <a:lnTo>
                    <a:pt x="684" y="210"/>
                  </a:lnTo>
                  <a:lnTo>
                    <a:pt x="684" y="216"/>
                  </a:lnTo>
                  <a:lnTo>
                    <a:pt x="684" y="222"/>
                  </a:lnTo>
                  <a:lnTo>
                    <a:pt x="678" y="228"/>
                  </a:lnTo>
                  <a:lnTo>
                    <a:pt x="678" y="234"/>
                  </a:lnTo>
                  <a:lnTo>
                    <a:pt x="672" y="240"/>
                  </a:lnTo>
                  <a:lnTo>
                    <a:pt x="672" y="252"/>
                  </a:lnTo>
                  <a:lnTo>
                    <a:pt x="672" y="258"/>
                  </a:lnTo>
                  <a:lnTo>
                    <a:pt x="666" y="264"/>
                  </a:lnTo>
                  <a:lnTo>
                    <a:pt x="678" y="264"/>
                  </a:lnTo>
                  <a:lnTo>
                    <a:pt x="684" y="276"/>
                  </a:lnTo>
                  <a:lnTo>
                    <a:pt x="684" y="288"/>
                  </a:lnTo>
                  <a:lnTo>
                    <a:pt x="672" y="300"/>
                  </a:lnTo>
                  <a:lnTo>
                    <a:pt x="660" y="318"/>
                  </a:lnTo>
                  <a:lnTo>
                    <a:pt x="660" y="336"/>
                  </a:lnTo>
                  <a:lnTo>
                    <a:pt x="654" y="342"/>
                  </a:lnTo>
                  <a:lnTo>
                    <a:pt x="660" y="354"/>
                  </a:lnTo>
                  <a:lnTo>
                    <a:pt x="660" y="366"/>
                  </a:lnTo>
                  <a:lnTo>
                    <a:pt x="666" y="378"/>
                  </a:lnTo>
                  <a:lnTo>
                    <a:pt x="672" y="390"/>
                  </a:lnTo>
                  <a:lnTo>
                    <a:pt x="678" y="396"/>
                  </a:lnTo>
                  <a:lnTo>
                    <a:pt x="684" y="390"/>
                  </a:lnTo>
                  <a:lnTo>
                    <a:pt x="690" y="390"/>
                  </a:lnTo>
                  <a:lnTo>
                    <a:pt x="690" y="396"/>
                  </a:lnTo>
                  <a:lnTo>
                    <a:pt x="684" y="396"/>
                  </a:lnTo>
                  <a:lnTo>
                    <a:pt x="684" y="402"/>
                  </a:lnTo>
                  <a:lnTo>
                    <a:pt x="684" y="408"/>
                  </a:lnTo>
                  <a:lnTo>
                    <a:pt x="678" y="414"/>
                  </a:lnTo>
                  <a:lnTo>
                    <a:pt x="684" y="414"/>
                  </a:lnTo>
                  <a:lnTo>
                    <a:pt x="684" y="420"/>
                  </a:lnTo>
                  <a:lnTo>
                    <a:pt x="684" y="426"/>
                  </a:lnTo>
                  <a:lnTo>
                    <a:pt x="690" y="420"/>
                  </a:lnTo>
                  <a:lnTo>
                    <a:pt x="696" y="420"/>
                  </a:lnTo>
                  <a:lnTo>
                    <a:pt x="696" y="426"/>
                  </a:lnTo>
                  <a:lnTo>
                    <a:pt x="690" y="426"/>
                  </a:lnTo>
                  <a:lnTo>
                    <a:pt x="696" y="426"/>
                  </a:lnTo>
                  <a:lnTo>
                    <a:pt x="708" y="426"/>
                  </a:lnTo>
                  <a:lnTo>
                    <a:pt x="726" y="414"/>
                  </a:lnTo>
                  <a:lnTo>
                    <a:pt x="732" y="408"/>
                  </a:lnTo>
                  <a:lnTo>
                    <a:pt x="744" y="402"/>
                  </a:lnTo>
                  <a:lnTo>
                    <a:pt x="756" y="402"/>
                  </a:lnTo>
                  <a:lnTo>
                    <a:pt x="768" y="402"/>
                  </a:lnTo>
                  <a:lnTo>
                    <a:pt x="786" y="408"/>
                  </a:lnTo>
                  <a:lnTo>
                    <a:pt x="786" y="414"/>
                  </a:lnTo>
                  <a:lnTo>
                    <a:pt x="774" y="420"/>
                  </a:lnTo>
                  <a:lnTo>
                    <a:pt x="774" y="426"/>
                  </a:lnTo>
                  <a:lnTo>
                    <a:pt x="768" y="432"/>
                  </a:lnTo>
                  <a:lnTo>
                    <a:pt x="762" y="438"/>
                  </a:lnTo>
                  <a:lnTo>
                    <a:pt x="756" y="438"/>
                  </a:lnTo>
                  <a:lnTo>
                    <a:pt x="756" y="444"/>
                  </a:lnTo>
                  <a:lnTo>
                    <a:pt x="756" y="450"/>
                  </a:lnTo>
                  <a:lnTo>
                    <a:pt x="762" y="450"/>
                  </a:lnTo>
                  <a:lnTo>
                    <a:pt x="750" y="456"/>
                  </a:lnTo>
                  <a:lnTo>
                    <a:pt x="738" y="468"/>
                  </a:lnTo>
                  <a:lnTo>
                    <a:pt x="726" y="480"/>
                  </a:lnTo>
                  <a:lnTo>
                    <a:pt x="726" y="486"/>
                  </a:lnTo>
                  <a:lnTo>
                    <a:pt x="732" y="486"/>
                  </a:lnTo>
                  <a:lnTo>
                    <a:pt x="732" y="492"/>
                  </a:lnTo>
                  <a:lnTo>
                    <a:pt x="732" y="504"/>
                  </a:lnTo>
                  <a:lnTo>
                    <a:pt x="738" y="504"/>
                  </a:lnTo>
                  <a:lnTo>
                    <a:pt x="744" y="510"/>
                  </a:lnTo>
                  <a:lnTo>
                    <a:pt x="738" y="522"/>
                  </a:lnTo>
                  <a:lnTo>
                    <a:pt x="744" y="528"/>
                  </a:lnTo>
                  <a:lnTo>
                    <a:pt x="756" y="534"/>
                  </a:lnTo>
                  <a:lnTo>
                    <a:pt x="756" y="540"/>
                  </a:lnTo>
                  <a:lnTo>
                    <a:pt x="744" y="552"/>
                  </a:lnTo>
                  <a:lnTo>
                    <a:pt x="738" y="552"/>
                  </a:lnTo>
                  <a:lnTo>
                    <a:pt x="738" y="558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64"/>
                  </a:lnTo>
                  <a:lnTo>
                    <a:pt x="744" y="576"/>
                  </a:lnTo>
                  <a:lnTo>
                    <a:pt x="738" y="588"/>
                  </a:lnTo>
                  <a:lnTo>
                    <a:pt x="738" y="594"/>
                  </a:lnTo>
                  <a:lnTo>
                    <a:pt x="738" y="600"/>
                  </a:lnTo>
                  <a:lnTo>
                    <a:pt x="738" y="606"/>
                  </a:lnTo>
                  <a:lnTo>
                    <a:pt x="732" y="612"/>
                  </a:lnTo>
                  <a:lnTo>
                    <a:pt x="726" y="624"/>
                  </a:lnTo>
                  <a:lnTo>
                    <a:pt x="726" y="636"/>
                  </a:lnTo>
                  <a:lnTo>
                    <a:pt x="726" y="648"/>
                  </a:lnTo>
                  <a:lnTo>
                    <a:pt x="738" y="654"/>
                  </a:lnTo>
                  <a:lnTo>
                    <a:pt x="750" y="660"/>
                  </a:lnTo>
                  <a:lnTo>
                    <a:pt x="750" y="666"/>
                  </a:lnTo>
                  <a:lnTo>
                    <a:pt x="750" y="678"/>
                  </a:lnTo>
                  <a:lnTo>
                    <a:pt x="744" y="678"/>
                  </a:lnTo>
                  <a:lnTo>
                    <a:pt x="738" y="684"/>
                  </a:lnTo>
                  <a:lnTo>
                    <a:pt x="732" y="684"/>
                  </a:lnTo>
                  <a:lnTo>
                    <a:pt x="720" y="678"/>
                  </a:lnTo>
                  <a:lnTo>
                    <a:pt x="714" y="684"/>
                  </a:lnTo>
                  <a:lnTo>
                    <a:pt x="708" y="684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0" y="690"/>
                  </a:lnTo>
                  <a:lnTo>
                    <a:pt x="690" y="684"/>
                  </a:lnTo>
                  <a:lnTo>
                    <a:pt x="690" y="690"/>
                  </a:lnTo>
                  <a:lnTo>
                    <a:pt x="684" y="690"/>
                  </a:lnTo>
                  <a:lnTo>
                    <a:pt x="684" y="684"/>
                  </a:lnTo>
                  <a:lnTo>
                    <a:pt x="678" y="684"/>
                  </a:lnTo>
                  <a:lnTo>
                    <a:pt x="672" y="678"/>
                  </a:lnTo>
                  <a:lnTo>
                    <a:pt x="672" y="672"/>
                  </a:lnTo>
                  <a:lnTo>
                    <a:pt x="678" y="672"/>
                  </a:lnTo>
                  <a:lnTo>
                    <a:pt x="672" y="672"/>
                  </a:lnTo>
                  <a:lnTo>
                    <a:pt x="666" y="672"/>
                  </a:lnTo>
                  <a:lnTo>
                    <a:pt x="660" y="672"/>
                  </a:lnTo>
                  <a:lnTo>
                    <a:pt x="654" y="672"/>
                  </a:lnTo>
                  <a:lnTo>
                    <a:pt x="654" y="666"/>
                  </a:lnTo>
                  <a:lnTo>
                    <a:pt x="648" y="666"/>
                  </a:lnTo>
                  <a:lnTo>
                    <a:pt x="642" y="660"/>
                  </a:lnTo>
                  <a:lnTo>
                    <a:pt x="642" y="654"/>
                  </a:lnTo>
                  <a:lnTo>
                    <a:pt x="642" y="648"/>
                  </a:lnTo>
                  <a:lnTo>
                    <a:pt x="636" y="648"/>
                  </a:lnTo>
                  <a:lnTo>
                    <a:pt x="630" y="648"/>
                  </a:lnTo>
                  <a:lnTo>
                    <a:pt x="624" y="648"/>
                  </a:lnTo>
                  <a:lnTo>
                    <a:pt x="624" y="642"/>
                  </a:lnTo>
                  <a:lnTo>
                    <a:pt x="618" y="636"/>
                  </a:lnTo>
                  <a:lnTo>
                    <a:pt x="624" y="636"/>
                  </a:lnTo>
                  <a:lnTo>
                    <a:pt x="624" y="630"/>
                  </a:lnTo>
                  <a:lnTo>
                    <a:pt x="618" y="630"/>
                  </a:lnTo>
                  <a:lnTo>
                    <a:pt x="618" y="624"/>
                  </a:lnTo>
                  <a:lnTo>
                    <a:pt x="618" y="618"/>
                  </a:lnTo>
                  <a:lnTo>
                    <a:pt x="618" y="612"/>
                  </a:lnTo>
                  <a:lnTo>
                    <a:pt x="618" y="606"/>
                  </a:lnTo>
                  <a:lnTo>
                    <a:pt x="624" y="606"/>
                  </a:lnTo>
                  <a:lnTo>
                    <a:pt x="624" y="600"/>
                  </a:lnTo>
                  <a:lnTo>
                    <a:pt x="618" y="600"/>
                  </a:lnTo>
                  <a:lnTo>
                    <a:pt x="618" y="594"/>
                  </a:lnTo>
                  <a:lnTo>
                    <a:pt x="618" y="588"/>
                  </a:lnTo>
                  <a:lnTo>
                    <a:pt x="618" y="582"/>
                  </a:lnTo>
                  <a:lnTo>
                    <a:pt x="612" y="582"/>
                  </a:lnTo>
                  <a:lnTo>
                    <a:pt x="606" y="582"/>
                  </a:lnTo>
                  <a:lnTo>
                    <a:pt x="612" y="582"/>
                  </a:lnTo>
                  <a:lnTo>
                    <a:pt x="612" y="588"/>
                  </a:lnTo>
                  <a:lnTo>
                    <a:pt x="612" y="594"/>
                  </a:lnTo>
                  <a:lnTo>
                    <a:pt x="618" y="594"/>
                  </a:lnTo>
                  <a:lnTo>
                    <a:pt x="618" y="600"/>
                  </a:lnTo>
                  <a:lnTo>
                    <a:pt x="618" y="606"/>
                  </a:lnTo>
                  <a:lnTo>
                    <a:pt x="618" y="612"/>
                  </a:lnTo>
                  <a:lnTo>
                    <a:pt x="612" y="612"/>
                  </a:lnTo>
                  <a:lnTo>
                    <a:pt x="612" y="618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94" y="612"/>
                  </a:lnTo>
                  <a:lnTo>
                    <a:pt x="588" y="606"/>
                  </a:lnTo>
                  <a:lnTo>
                    <a:pt x="588" y="612"/>
                  </a:lnTo>
                  <a:lnTo>
                    <a:pt x="594" y="612"/>
                  </a:lnTo>
                  <a:lnTo>
                    <a:pt x="594" y="618"/>
                  </a:lnTo>
                  <a:lnTo>
                    <a:pt x="588" y="618"/>
                  </a:lnTo>
                  <a:lnTo>
                    <a:pt x="588" y="624"/>
                  </a:lnTo>
                  <a:lnTo>
                    <a:pt x="582" y="624"/>
                  </a:lnTo>
                  <a:lnTo>
                    <a:pt x="582" y="630"/>
                  </a:lnTo>
                  <a:lnTo>
                    <a:pt x="576" y="630"/>
                  </a:lnTo>
                  <a:lnTo>
                    <a:pt x="576" y="636"/>
                  </a:lnTo>
                  <a:lnTo>
                    <a:pt x="570" y="636"/>
                  </a:lnTo>
                  <a:lnTo>
                    <a:pt x="570" y="642"/>
                  </a:lnTo>
                  <a:lnTo>
                    <a:pt x="564" y="642"/>
                  </a:lnTo>
                  <a:lnTo>
                    <a:pt x="564" y="636"/>
                  </a:lnTo>
                  <a:lnTo>
                    <a:pt x="564" y="630"/>
                  </a:lnTo>
                  <a:lnTo>
                    <a:pt x="564" y="624"/>
                  </a:lnTo>
                  <a:lnTo>
                    <a:pt x="564" y="618"/>
                  </a:lnTo>
                  <a:lnTo>
                    <a:pt x="570" y="612"/>
                  </a:lnTo>
                  <a:lnTo>
                    <a:pt x="564" y="606"/>
                  </a:lnTo>
                  <a:lnTo>
                    <a:pt x="564" y="600"/>
                  </a:lnTo>
                  <a:lnTo>
                    <a:pt x="564" y="594"/>
                  </a:lnTo>
                  <a:lnTo>
                    <a:pt x="558" y="594"/>
                  </a:lnTo>
                  <a:lnTo>
                    <a:pt x="558" y="588"/>
                  </a:lnTo>
                  <a:lnTo>
                    <a:pt x="552" y="582"/>
                  </a:lnTo>
                  <a:lnTo>
                    <a:pt x="552" y="576"/>
                  </a:lnTo>
                  <a:lnTo>
                    <a:pt x="552" y="570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6" y="582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58" y="588"/>
                  </a:lnTo>
                  <a:lnTo>
                    <a:pt x="558" y="594"/>
                  </a:lnTo>
                  <a:lnTo>
                    <a:pt x="558" y="600"/>
                  </a:lnTo>
                  <a:lnTo>
                    <a:pt x="558" y="606"/>
                  </a:lnTo>
                  <a:lnTo>
                    <a:pt x="552" y="612"/>
                  </a:lnTo>
                  <a:lnTo>
                    <a:pt x="558" y="612"/>
                  </a:lnTo>
                  <a:lnTo>
                    <a:pt x="558" y="618"/>
                  </a:lnTo>
                  <a:lnTo>
                    <a:pt x="558" y="624"/>
                  </a:lnTo>
                  <a:lnTo>
                    <a:pt x="558" y="630"/>
                  </a:lnTo>
                  <a:lnTo>
                    <a:pt x="552" y="630"/>
                  </a:lnTo>
                  <a:lnTo>
                    <a:pt x="552" y="624"/>
                  </a:lnTo>
                  <a:lnTo>
                    <a:pt x="546" y="624"/>
                  </a:lnTo>
                  <a:lnTo>
                    <a:pt x="546" y="618"/>
                  </a:lnTo>
                  <a:lnTo>
                    <a:pt x="546" y="612"/>
                  </a:lnTo>
                  <a:lnTo>
                    <a:pt x="540" y="612"/>
                  </a:lnTo>
                  <a:lnTo>
                    <a:pt x="534" y="612"/>
                  </a:lnTo>
                  <a:lnTo>
                    <a:pt x="528" y="612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28" y="618"/>
                  </a:lnTo>
                  <a:lnTo>
                    <a:pt x="534" y="618"/>
                  </a:lnTo>
                  <a:lnTo>
                    <a:pt x="540" y="618"/>
                  </a:lnTo>
                  <a:lnTo>
                    <a:pt x="540" y="624"/>
                  </a:lnTo>
                  <a:lnTo>
                    <a:pt x="546" y="624"/>
                  </a:lnTo>
                  <a:lnTo>
                    <a:pt x="546" y="630"/>
                  </a:lnTo>
                  <a:lnTo>
                    <a:pt x="552" y="630"/>
                  </a:lnTo>
                  <a:lnTo>
                    <a:pt x="552" y="636"/>
                  </a:lnTo>
                  <a:lnTo>
                    <a:pt x="546" y="642"/>
                  </a:lnTo>
                  <a:lnTo>
                    <a:pt x="546" y="648"/>
                  </a:lnTo>
                  <a:lnTo>
                    <a:pt x="540" y="648"/>
                  </a:lnTo>
                  <a:lnTo>
                    <a:pt x="540" y="654"/>
                  </a:lnTo>
                  <a:lnTo>
                    <a:pt x="540" y="660"/>
                  </a:lnTo>
                  <a:lnTo>
                    <a:pt x="534" y="666"/>
                  </a:lnTo>
                  <a:lnTo>
                    <a:pt x="534" y="672"/>
                  </a:lnTo>
                  <a:lnTo>
                    <a:pt x="534" y="678"/>
                  </a:lnTo>
                  <a:lnTo>
                    <a:pt x="534" y="684"/>
                  </a:lnTo>
                  <a:lnTo>
                    <a:pt x="534" y="678"/>
                  </a:lnTo>
                  <a:lnTo>
                    <a:pt x="528" y="678"/>
                  </a:lnTo>
                  <a:lnTo>
                    <a:pt x="528" y="684"/>
                  </a:lnTo>
                  <a:lnTo>
                    <a:pt x="522" y="690"/>
                  </a:lnTo>
                  <a:lnTo>
                    <a:pt x="528" y="690"/>
                  </a:lnTo>
                  <a:lnTo>
                    <a:pt x="528" y="684"/>
                  </a:lnTo>
                  <a:lnTo>
                    <a:pt x="534" y="684"/>
                  </a:lnTo>
                  <a:lnTo>
                    <a:pt x="534" y="690"/>
                  </a:lnTo>
                  <a:lnTo>
                    <a:pt x="534" y="696"/>
                  </a:lnTo>
                  <a:lnTo>
                    <a:pt x="540" y="696"/>
                  </a:lnTo>
                  <a:lnTo>
                    <a:pt x="540" y="702"/>
                  </a:lnTo>
                  <a:lnTo>
                    <a:pt x="540" y="708"/>
                  </a:lnTo>
                  <a:lnTo>
                    <a:pt x="534" y="708"/>
                  </a:lnTo>
                  <a:lnTo>
                    <a:pt x="528" y="708"/>
                  </a:lnTo>
                  <a:lnTo>
                    <a:pt x="522" y="708"/>
                  </a:lnTo>
                  <a:lnTo>
                    <a:pt x="516" y="708"/>
                  </a:lnTo>
                  <a:lnTo>
                    <a:pt x="510" y="708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2" y="708"/>
                  </a:lnTo>
                  <a:lnTo>
                    <a:pt x="486" y="714"/>
                  </a:lnTo>
                  <a:lnTo>
                    <a:pt x="480" y="708"/>
                  </a:lnTo>
                  <a:lnTo>
                    <a:pt x="474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68" y="714"/>
                  </a:lnTo>
                  <a:lnTo>
                    <a:pt x="456" y="714"/>
                  </a:lnTo>
                  <a:lnTo>
                    <a:pt x="450" y="714"/>
                  </a:lnTo>
                  <a:lnTo>
                    <a:pt x="450" y="708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50" y="690"/>
                  </a:lnTo>
                  <a:lnTo>
                    <a:pt x="450" y="684"/>
                  </a:lnTo>
                  <a:lnTo>
                    <a:pt x="450" y="678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56" y="660"/>
                  </a:lnTo>
                  <a:lnTo>
                    <a:pt x="462" y="660"/>
                  </a:lnTo>
                  <a:lnTo>
                    <a:pt x="462" y="654"/>
                  </a:lnTo>
                  <a:lnTo>
                    <a:pt x="456" y="654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48"/>
                  </a:lnTo>
                  <a:lnTo>
                    <a:pt x="444" y="648"/>
                  </a:lnTo>
                  <a:lnTo>
                    <a:pt x="444" y="642"/>
                  </a:lnTo>
                  <a:lnTo>
                    <a:pt x="444" y="636"/>
                  </a:lnTo>
                  <a:lnTo>
                    <a:pt x="450" y="636"/>
                  </a:lnTo>
                  <a:lnTo>
                    <a:pt x="450" y="630"/>
                  </a:lnTo>
                  <a:lnTo>
                    <a:pt x="456" y="630"/>
                  </a:lnTo>
                  <a:lnTo>
                    <a:pt x="462" y="630"/>
                  </a:lnTo>
                  <a:lnTo>
                    <a:pt x="462" y="624"/>
                  </a:lnTo>
                  <a:lnTo>
                    <a:pt x="468" y="624"/>
                  </a:lnTo>
                  <a:lnTo>
                    <a:pt x="474" y="624"/>
                  </a:lnTo>
                  <a:lnTo>
                    <a:pt x="474" y="618"/>
                  </a:lnTo>
                  <a:lnTo>
                    <a:pt x="480" y="618"/>
                  </a:lnTo>
                  <a:lnTo>
                    <a:pt x="486" y="618"/>
                  </a:lnTo>
                  <a:lnTo>
                    <a:pt x="486" y="624"/>
                  </a:lnTo>
                  <a:lnTo>
                    <a:pt x="486" y="636"/>
                  </a:lnTo>
                  <a:lnTo>
                    <a:pt x="486" y="642"/>
                  </a:lnTo>
                  <a:lnTo>
                    <a:pt x="486" y="648"/>
                  </a:lnTo>
                  <a:lnTo>
                    <a:pt x="492" y="648"/>
                  </a:lnTo>
                  <a:lnTo>
                    <a:pt x="492" y="642"/>
                  </a:lnTo>
                  <a:lnTo>
                    <a:pt x="498" y="636"/>
                  </a:lnTo>
                  <a:lnTo>
                    <a:pt x="492" y="636"/>
                  </a:lnTo>
                  <a:lnTo>
                    <a:pt x="492" y="630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6" y="618"/>
                  </a:lnTo>
                  <a:lnTo>
                    <a:pt x="486" y="612"/>
                  </a:lnTo>
                  <a:lnTo>
                    <a:pt x="486" y="606"/>
                  </a:lnTo>
                  <a:lnTo>
                    <a:pt x="480" y="606"/>
                  </a:lnTo>
                  <a:lnTo>
                    <a:pt x="480" y="612"/>
                  </a:lnTo>
                  <a:lnTo>
                    <a:pt x="474" y="618"/>
                  </a:lnTo>
                  <a:lnTo>
                    <a:pt x="468" y="618"/>
                  </a:lnTo>
                  <a:lnTo>
                    <a:pt x="462" y="618"/>
                  </a:lnTo>
                  <a:lnTo>
                    <a:pt x="462" y="612"/>
                  </a:lnTo>
                  <a:lnTo>
                    <a:pt x="456" y="612"/>
                  </a:lnTo>
                  <a:lnTo>
                    <a:pt x="456" y="618"/>
                  </a:lnTo>
                  <a:lnTo>
                    <a:pt x="462" y="618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30"/>
                  </a:lnTo>
                  <a:lnTo>
                    <a:pt x="444" y="630"/>
                  </a:lnTo>
                  <a:lnTo>
                    <a:pt x="444" y="636"/>
                  </a:lnTo>
                  <a:lnTo>
                    <a:pt x="444" y="642"/>
                  </a:lnTo>
                  <a:lnTo>
                    <a:pt x="444" y="654"/>
                  </a:lnTo>
                  <a:lnTo>
                    <a:pt x="444" y="660"/>
                  </a:lnTo>
                  <a:lnTo>
                    <a:pt x="438" y="660"/>
                  </a:lnTo>
                  <a:lnTo>
                    <a:pt x="432" y="660"/>
                  </a:lnTo>
                  <a:lnTo>
                    <a:pt x="432" y="654"/>
                  </a:lnTo>
                  <a:lnTo>
                    <a:pt x="438" y="654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48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26" y="660"/>
                  </a:lnTo>
                  <a:lnTo>
                    <a:pt x="432" y="666"/>
                  </a:lnTo>
                  <a:lnTo>
                    <a:pt x="432" y="672"/>
                  </a:lnTo>
                  <a:lnTo>
                    <a:pt x="438" y="672"/>
                  </a:lnTo>
                  <a:lnTo>
                    <a:pt x="438" y="678"/>
                  </a:lnTo>
                  <a:lnTo>
                    <a:pt x="444" y="678"/>
                  </a:lnTo>
                  <a:lnTo>
                    <a:pt x="444" y="684"/>
                  </a:lnTo>
                  <a:lnTo>
                    <a:pt x="438" y="690"/>
                  </a:lnTo>
                  <a:lnTo>
                    <a:pt x="438" y="696"/>
                  </a:lnTo>
                  <a:lnTo>
                    <a:pt x="438" y="702"/>
                  </a:lnTo>
                  <a:lnTo>
                    <a:pt x="432" y="702"/>
                  </a:lnTo>
                  <a:lnTo>
                    <a:pt x="426" y="702"/>
                  </a:lnTo>
                  <a:lnTo>
                    <a:pt x="426" y="696"/>
                  </a:lnTo>
                  <a:lnTo>
                    <a:pt x="414" y="696"/>
                  </a:lnTo>
                  <a:lnTo>
                    <a:pt x="402" y="696"/>
                  </a:lnTo>
                  <a:lnTo>
                    <a:pt x="402" y="690"/>
                  </a:lnTo>
                  <a:lnTo>
                    <a:pt x="396" y="690"/>
                  </a:lnTo>
                  <a:lnTo>
                    <a:pt x="390" y="690"/>
                  </a:lnTo>
                  <a:lnTo>
                    <a:pt x="384" y="690"/>
                  </a:lnTo>
                  <a:lnTo>
                    <a:pt x="384" y="684"/>
                  </a:lnTo>
                  <a:lnTo>
                    <a:pt x="384" y="678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390" y="660"/>
                  </a:lnTo>
                  <a:lnTo>
                    <a:pt x="390" y="654"/>
                  </a:lnTo>
                  <a:lnTo>
                    <a:pt x="384" y="648"/>
                  </a:lnTo>
                  <a:lnTo>
                    <a:pt x="384" y="642"/>
                  </a:lnTo>
                  <a:lnTo>
                    <a:pt x="378" y="636"/>
                  </a:lnTo>
                  <a:lnTo>
                    <a:pt x="378" y="642"/>
                  </a:lnTo>
                  <a:lnTo>
                    <a:pt x="378" y="648"/>
                  </a:lnTo>
                  <a:lnTo>
                    <a:pt x="372" y="648"/>
                  </a:lnTo>
                  <a:lnTo>
                    <a:pt x="378" y="654"/>
                  </a:lnTo>
                  <a:lnTo>
                    <a:pt x="378" y="660"/>
                  </a:lnTo>
                  <a:lnTo>
                    <a:pt x="378" y="666"/>
                  </a:lnTo>
                  <a:lnTo>
                    <a:pt x="372" y="672"/>
                  </a:lnTo>
                  <a:lnTo>
                    <a:pt x="378" y="672"/>
                  </a:lnTo>
                  <a:lnTo>
                    <a:pt x="378" y="678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54" y="666"/>
                  </a:lnTo>
                  <a:lnTo>
                    <a:pt x="354" y="660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0" y="654"/>
                  </a:lnTo>
                  <a:lnTo>
                    <a:pt x="324" y="648"/>
                  </a:lnTo>
                  <a:lnTo>
                    <a:pt x="318" y="648"/>
                  </a:lnTo>
                  <a:lnTo>
                    <a:pt x="318" y="642"/>
                  </a:lnTo>
                  <a:lnTo>
                    <a:pt x="312" y="642"/>
                  </a:lnTo>
                  <a:lnTo>
                    <a:pt x="306" y="636"/>
                  </a:lnTo>
                  <a:lnTo>
                    <a:pt x="300" y="636"/>
                  </a:lnTo>
                  <a:lnTo>
                    <a:pt x="300" y="630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0" y="618"/>
                  </a:lnTo>
                  <a:lnTo>
                    <a:pt x="306" y="612"/>
                  </a:lnTo>
                  <a:lnTo>
                    <a:pt x="300" y="612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294" y="612"/>
                  </a:lnTo>
                  <a:lnTo>
                    <a:pt x="288" y="618"/>
                  </a:lnTo>
                  <a:lnTo>
                    <a:pt x="288" y="612"/>
                  </a:lnTo>
                  <a:lnTo>
                    <a:pt x="288" y="618"/>
                  </a:lnTo>
                  <a:lnTo>
                    <a:pt x="294" y="618"/>
                  </a:lnTo>
                  <a:lnTo>
                    <a:pt x="300" y="624"/>
                  </a:lnTo>
                  <a:lnTo>
                    <a:pt x="294" y="624"/>
                  </a:lnTo>
                  <a:lnTo>
                    <a:pt x="288" y="624"/>
                  </a:lnTo>
                  <a:lnTo>
                    <a:pt x="282" y="61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70" y="600"/>
                  </a:lnTo>
                  <a:lnTo>
                    <a:pt x="270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82" y="588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594"/>
                  </a:lnTo>
                  <a:lnTo>
                    <a:pt x="264" y="600"/>
                  </a:lnTo>
                  <a:lnTo>
                    <a:pt x="264" y="594"/>
                  </a:lnTo>
                  <a:lnTo>
                    <a:pt x="270" y="594"/>
                  </a:lnTo>
                  <a:lnTo>
                    <a:pt x="270" y="588"/>
                  </a:lnTo>
                  <a:lnTo>
                    <a:pt x="264" y="594"/>
                  </a:lnTo>
                  <a:lnTo>
                    <a:pt x="258" y="594"/>
                  </a:lnTo>
                  <a:lnTo>
                    <a:pt x="258" y="588"/>
                  </a:lnTo>
                  <a:lnTo>
                    <a:pt x="252" y="588"/>
                  </a:lnTo>
                  <a:lnTo>
                    <a:pt x="246" y="588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52" y="588"/>
                  </a:lnTo>
                  <a:lnTo>
                    <a:pt x="252" y="594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46" y="594"/>
                  </a:lnTo>
                  <a:lnTo>
                    <a:pt x="246" y="588"/>
                  </a:lnTo>
                  <a:lnTo>
                    <a:pt x="240" y="588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2" y="570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64"/>
                  </a:lnTo>
                  <a:lnTo>
                    <a:pt x="234" y="564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34" y="558"/>
                  </a:lnTo>
                  <a:lnTo>
                    <a:pt x="228" y="558"/>
                  </a:lnTo>
                  <a:lnTo>
                    <a:pt x="222" y="558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2" y="564"/>
                  </a:lnTo>
                  <a:lnTo>
                    <a:pt x="222" y="558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04" y="546"/>
                  </a:lnTo>
                  <a:lnTo>
                    <a:pt x="204" y="540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10" y="540"/>
                  </a:lnTo>
                  <a:lnTo>
                    <a:pt x="210" y="534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8"/>
                  </a:lnTo>
                  <a:lnTo>
                    <a:pt x="174" y="516"/>
                  </a:lnTo>
                  <a:lnTo>
                    <a:pt x="168" y="510"/>
                  </a:lnTo>
                  <a:lnTo>
                    <a:pt x="162" y="504"/>
                  </a:lnTo>
                  <a:lnTo>
                    <a:pt x="156" y="498"/>
                  </a:lnTo>
                  <a:lnTo>
                    <a:pt x="156" y="492"/>
                  </a:lnTo>
                  <a:lnTo>
                    <a:pt x="150" y="486"/>
                  </a:lnTo>
                  <a:lnTo>
                    <a:pt x="144" y="480"/>
                  </a:lnTo>
                  <a:lnTo>
                    <a:pt x="144" y="474"/>
                  </a:lnTo>
                  <a:lnTo>
                    <a:pt x="138" y="474"/>
                  </a:lnTo>
                  <a:lnTo>
                    <a:pt x="138" y="468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26" y="450"/>
                  </a:lnTo>
                  <a:lnTo>
                    <a:pt x="126" y="444"/>
                  </a:lnTo>
                  <a:lnTo>
                    <a:pt x="114" y="438"/>
                  </a:lnTo>
                  <a:lnTo>
                    <a:pt x="114" y="432"/>
                  </a:lnTo>
                  <a:lnTo>
                    <a:pt x="114" y="426"/>
                  </a:lnTo>
                  <a:lnTo>
                    <a:pt x="114" y="432"/>
                  </a:lnTo>
                  <a:lnTo>
                    <a:pt x="120" y="432"/>
                  </a:lnTo>
                  <a:lnTo>
                    <a:pt x="120" y="438"/>
                  </a:lnTo>
                  <a:lnTo>
                    <a:pt x="120" y="444"/>
                  </a:lnTo>
                  <a:lnTo>
                    <a:pt x="126" y="444"/>
                  </a:lnTo>
                  <a:lnTo>
                    <a:pt x="126" y="438"/>
                  </a:lnTo>
                  <a:lnTo>
                    <a:pt x="120" y="438"/>
                  </a:lnTo>
                  <a:lnTo>
                    <a:pt x="126" y="432"/>
                  </a:lnTo>
                  <a:lnTo>
                    <a:pt x="126" y="426"/>
                  </a:lnTo>
                  <a:lnTo>
                    <a:pt x="132" y="420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08" y="414"/>
                  </a:lnTo>
                  <a:lnTo>
                    <a:pt x="102" y="414"/>
                  </a:lnTo>
                  <a:lnTo>
                    <a:pt x="102" y="408"/>
                  </a:lnTo>
                  <a:lnTo>
                    <a:pt x="96" y="402"/>
                  </a:lnTo>
                  <a:lnTo>
                    <a:pt x="96" y="396"/>
                  </a:lnTo>
                  <a:lnTo>
                    <a:pt x="96" y="390"/>
                  </a:lnTo>
                  <a:lnTo>
                    <a:pt x="90" y="390"/>
                  </a:lnTo>
                  <a:lnTo>
                    <a:pt x="90" y="384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78" y="372"/>
                  </a:lnTo>
                  <a:lnTo>
                    <a:pt x="78" y="366"/>
                  </a:lnTo>
                  <a:lnTo>
                    <a:pt x="78" y="360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6" y="348"/>
                  </a:lnTo>
                  <a:lnTo>
                    <a:pt x="66" y="342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6" y="336"/>
                  </a:lnTo>
                  <a:lnTo>
                    <a:pt x="66" y="342"/>
                  </a:lnTo>
                  <a:lnTo>
                    <a:pt x="72" y="348"/>
                  </a:lnTo>
                  <a:lnTo>
                    <a:pt x="78" y="354"/>
                  </a:lnTo>
                  <a:lnTo>
                    <a:pt x="84" y="360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0" y="360"/>
                  </a:lnTo>
                  <a:lnTo>
                    <a:pt x="84" y="360"/>
                  </a:lnTo>
                  <a:lnTo>
                    <a:pt x="84" y="354"/>
                  </a:lnTo>
                  <a:lnTo>
                    <a:pt x="78" y="348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66" y="330"/>
                  </a:lnTo>
                  <a:lnTo>
                    <a:pt x="66" y="324"/>
                  </a:lnTo>
                  <a:lnTo>
                    <a:pt x="60" y="318"/>
                  </a:lnTo>
                  <a:lnTo>
                    <a:pt x="60" y="312"/>
                  </a:lnTo>
                  <a:lnTo>
                    <a:pt x="54" y="306"/>
                  </a:lnTo>
                  <a:lnTo>
                    <a:pt x="54" y="300"/>
                  </a:lnTo>
                  <a:lnTo>
                    <a:pt x="54" y="294"/>
                  </a:lnTo>
                  <a:lnTo>
                    <a:pt x="48" y="288"/>
                  </a:lnTo>
                  <a:lnTo>
                    <a:pt x="48" y="294"/>
                  </a:lnTo>
                  <a:lnTo>
                    <a:pt x="48" y="288"/>
                  </a:lnTo>
                  <a:lnTo>
                    <a:pt x="48" y="282"/>
                  </a:lnTo>
                  <a:lnTo>
                    <a:pt x="48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18" y="216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62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68"/>
                  </a:lnTo>
                  <a:lnTo>
                    <a:pt x="42" y="168"/>
                  </a:lnTo>
                  <a:lnTo>
                    <a:pt x="42" y="174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86"/>
                  </a:lnTo>
                  <a:close/>
                  <a:moveTo>
                    <a:pt x="642" y="660"/>
                  </a:moveTo>
                  <a:lnTo>
                    <a:pt x="642" y="666"/>
                  </a:lnTo>
                  <a:lnTo>
                    <a:pt x="648" y="666"/>
                  </a:lnTo>
                  <a:lnTo>
                    <a:pt x="648" y="672"/>
                  </a:lnTo>
                  <a:lnTo>
                    <a:pt x="648" y="678"/>
                  </a:lnTo>
                  <a:lnTo>
                    <a:pt x="654" y="678"/>
                  </a:lnTo>
                  <a:lnTo>
                    <a:pt x="654" y="684"/>
                  </a:lnTo>
                  <a:lnTo>
                    <a:pt x="660" y="684"/>
                  </a:lnTo>
                  <a:lnTo>
                    <a:pt x="660" y="690"/>
                  </a:lnTo>
                  <a:lnTo>
                    <a:pt x="654" y="690"/>
                  </a:lnTo>
                  <a:lnTo>
                    <a:pt x="648" y="690"/>
                  </a:lnTo>
                  <a:lnTo>
                    <a:pt x="636" y="696"/>
                  </a:lnTo>
                  <a:lnTo>
                    <a:pt x="630" y="696"/>
                  </a:lnTo>
                  <a:lnTo>
                    <a:pt x="624" y="696"/>
                  </a:lnTo>
                  <a:lnTo>
                    <a:pt x="618" y="696"/>
                  </a:lnTo>
                  <a:lnTo>
                    <a:pt x="612" y="696"/>
                  </a:lnTo>
                  <a:lnTo>
                    <a:pt x="594" y="696"/>
                  </a:lnTo>
                  <a:lnTo>
                    <a:pt x="588" y="696"/>
                  </a:lnTo>
                  <a:lnTo>
                    <a:pt x="582" y="696"/>
                  </a:lnTo>
                  <a:lnTo>
                    <a:pt x="570" y="702"/>
                  </a:lnTo>
                  <a:lnTo>
                    <a:pt x="564" y="702"/>
                  </a:lnTo>
                  <a:lnTo>
                    <a:pt x="558" y="702"/>
                  </a:lnTo>
                  <a:lnTo>
                    <a:pt x="552" y="702"/>
                  </a:lnTo>
                  <a:lnTo>
                    <a:pt x="552" y="696"/>
                  </a:lnTo>
                  <a:lnTo>
                    <a:pt x="546" y="696"/>
                  </a:lnTo>
                  <a:lnTo>
                    <a:pt x="546" y="690"/>
                  </a:lnTo>
                  <a:lnTo>
                    <a:pt x="552" y="684"/>
                  </a:lnTo>
                  <a:lnTo>
                    <a:pt x="552" y="678"/>
                  </a:lnTo>
                  <a:lnTo>
                    <a:pt x="558" y="672"/>
                  </a:lnTo>
                  <a:lnTo>
                    <a:pt x="558" y="666"/>
                  </a:lnTo>
                  <a:lnTo>
                    <a:pt x="564" y="666"/>
                  </a:lnTo>
                  <a:lnTo>
                    <a:pt x="570" y="666"/>
                  </a:lnTo>
                  <a:lnTo>
                    <a:pt x="570" y="654"/>
                  </a:lnTo>
                  <a:lnTo>
                    <a:pt x="570" y="648"/>
                  </a:lnTo>
                  <a:lnTo>
                    <a:pt x="582" y="642"/>
                  </a:lnTo>
                  <a:lnTo>
                    <a:pt x="582" y="636"/>
                  </a:lnTo>
                  <a:lnTo>
                    <a:pt x="588" y="636"/>
                  </a:lnTo>
                  <a:lnTo>
                    <a:pt x="588" y="630"/>
                  </a:lnTo>
                  <a:lnTo>
                    <a:pt x="594" y="624"/>
                  </a:lnTo>
                  <a:lnTo>
                    <a:pt x="594" y="618"/>
                  </a:lnTo>
                  <a:lnTo>
                    <a:pt x="600" y="618"/>
                  </a:lnTo>
                  <a:lnTo>
                    <a:pt x="600" y="612"/>
                  </a:lnTo>
                  <a:lnTo>
                    <a:pt x="606" y="612"/>
                  </a:lnTo>
                  <a:lnTo>
                    <a:pt x="606" y="618"/>
                  </a:lnTo>
                  <a:lnTo>
                    <a:pt x="612" y="618"/>
                  </a:lnTo>
                  <a:lnTo>
                    <a:pt x="618" y="618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18" y="636"/>
                  </a:lnTo>
                  <a:lnTo>
                    <a:pt x="618" y="642"/>
                  </a:lnTo>
                  <a:lnTo>
                    <a:pt x="618" y="648"/>
                  </a:lnTo>
                  <a:lnTo>
                    <a:pt x="624" y="648"/>
                  </a:lnTo>
                  <a:lnTo>
                    <a:pt x="630" y="648"/>
                  </a:lnTo>
                  <a:lnTo>
                    <a:pt x="636" y="654"/>
                  </a:lnTo>
                  <a:lnTo>
                    <a:pt x="642" y="654"/>
                  </a:lnTo>
                  <a:lnTo>
                    <a:pt x="642" y="66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0" name="Freeform 5">
              <a:extLst>
                <a:ext uri="{FF2B5EF4-FFF2-40B4-BE49-F238E27FC236}">
                  <a16:creationId xmlns:a16="http://schemas.microsoft.com/office/drawing/2014/main" id="{5577BDCA-F2C7-42E0-A391-018D79AA29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0384" y="4231013"/>
              <a:ext cx="404750" cy="480848"/>
            </a:xfrm>
            <a:custGeom>
              <a:avLst/>
              <a:gdLst>
                <a:gd name="T0" fmla="*/ 9 w 762"/>
                <a:gd name="T1" fmla="*/ 58 h 900"/>
                <a:gd name="T2" fmla="*/ 4 w 762"/>
                <a:gd name="T3" fmla="*/ 56 h 900"/>
                <a:gd name="T4" fmla="*/ 0 w 762"/>
                <a:gd name="T5" fmla="*/ 49 h 900"/>
                <a:gd name="T6" fmla="*/ 4 w 762"/>
                <a:gd name="T7" fmla="*/ 36 h 900"/>
                <a:gd name="T8" fmla="*/ 8 w 762"/>
                <a:gd name="T9" fmla="*/ 28 h 900"/>
                <a:gd name="T10" fmla="*/ 7 w 762"/>
                <a:gd name="T11" fmla="*/ 13 h 900"/>
                <a:gd name="T12" fmla="*/ 15 w 762"/>
                <a:gd name="T13" fmla="*/ 0 h 900"/>
                <a:gd name="T14" fmla="*/ 16 w 762"/>
                <a:gd name="T15" fmla="*/ 13 h 900"/>
                <a:gd name="T16" fmla="*/ 31 w 762"/>
                <a:gd name="T17" fmla="*/ 28 h 900"/>
                <a:gd name="T18" fmla="*/ 49 w 762"/>
                <a:gd name="T19" fmla="*/ 33 h 900"/>
                <a:gd name="T20" fmla="*/ 42 w 762"/>
                <a:gd name="T21" fmla="*/ 48 h 900"/>
                <a:gd name="T22" fmla="*/ 51 w 762"/>
                <a:gd name="T23" fmla="*/ 48 h 900"/>
                <a:gd name="T24" fmla="*/ 61 w 762"/>
                <a:gd name="T25" fmla="*/ 51 h 900"/>
                <a:gd name="T26" fmla="*/ 63 w 762"/>
                <a:gd name="T27" fmla="*/ 60 h 900"/>
                <a:gd name="T28" fmla="*/ 63 w 762"/>
                <a:gd name="T29" fmla="*/ 66 h 900"/>
                <a:gd name="T30" fmla="*/ 65 w 762"/>
                <a:gd name="T31" fmla="*/ 69 h 900"/>
                <a:gd name="T32" fmla="*/ 66 w 762"/>
                <a:gd name="T33" fmla="*/ 72 h 900"/>
                <a:gd name="T34" fmla="*/ 56 w 762"/>
                <a:gd name="T35" fmla="*/ 73 h 900"/>
                <a:gd name="T36" fmla="*/ 55 w 762"/>
                <a:gd name="T37" fmla="*/ 69 h 900"/>
                <a:gd name="T38" fmla="*/ 57 w 762"/>
                <a:gd name="T39" fmla="*/ 67 h 900"/>
                <a:gd name="T40" fmla="*/ 55 w 762"/>
                <a:gd name="T41" fmla="*/ 65 h 900"/>
                <a:gd name="T42" fmla="*/ 53 w 762"/>
                <a:gd name="T43" fmla="*/ 68 h 900"/>
                <a:gd name="T44" fmla="*/ 49 w 762"/>
                <a:gd name="T45" fmla="*/ 68 h 900"/>
                <a:gd name="T46" fmla="*/ 44 w 762"/>
                <a:gd name="T47" fmla="*/ 63 h 900"/>
                <a:gd name="T48" fmla="*/ 40 w 762"/>
                <a:gd name="T49" fmla="*/ 59 h 900"/>
                <a:gd name="T50" fmla="*/ 38 w 762"/>
                <a:gd name="T51" fmla="*/ 57 h 900"/>
                <a:gd name="T52" fmla="*/ 43 w 762"/>
                <a:gd name="T53" fmla="*/ 62 h 900"/>
                <a:gd name="T54" fmla="*/ 43 w 762"/>
                <a:gd name="T55" fmla="*/ 66 h 900"/>
                <a:gd name="T56" fmla="*/ 41 w 762"/>
                <a:gd name="T57" fmla="*/ 71 h 900"/>
                <a:gd name="T58" fmla="*/ 37 w 762"/>
                <a:gd name="T59" fmla="*/ 69 h 900"/>
                <a:gd name="T60" fmla="*/ 35 w 762"/>
                <a:gd name="T61" fmla="*/ 64 h 900"/>
                <a:gd name="T62" fmla="*/ 31 w 762"/>
                <a:gd name="T63" fmla="*/ 57 h 900"/>
                <a:gd name="T64" fmla="*/ 30 w 762"/>
                <a:gd name="T65" fmla="*/ 62 h 900"/>
                <a:gd name="T66" fmla="*/ 29 w 762"/>
                <a:gd name="T67" fmla="*/ 61 h 900"/>
                <a:gd name="T68" fmla="*/ 31 w 762"/>
                <a:gd name="T69" fmla="*/ 66 h 900"/>
                <a:gd name="T70" fmla="*/ 33 w 762"/>
                <a:gd name="T71" fmla="*/ 72 h 900"/>
                <a:gd name="T72" fmla="*/ 32 w 762"/>
                <a:gd name="T73" fmla="*/ 76 h 900"/>
                <a:gd name="T74" fmla="*/ 28 w 762"/>
                <a:gd name="T75" fmla="*/ 75 h 900"/>
                <a:gd name="T76" fmla="*/ 24 w 762"/>
                <a:gd name="T77" fmla="*/ 69 h 900"/>
                <a:gd name="T78" fmla="*/ 24 w 762"/>
                <a:gd name="T79" fmla="*/ 62 h 900"/>
                <a:gd name="T80" fmla="*/ 23 w 762"/>
                <a:gd name="T81" fmla="*/ 62 h 900"/>
                <a:gd name="T82" fmla="*/ 23 w 762"/>
                <a:gd name="T83" fmla="*/ 68 h 900"/>
                <a:gd name="T84" fmla="*/ 25 w 762"/>
                <a:gd name="T85" fmla="*/ 77 h 900"/>
                <a:gd name="T86" fmla="*/ 17 w 762"/>
                <a:gd name="T87" fmla="*/ 74 h 900"/>
                <a:gd name="T88" fmla="*/ 17 w 762"/>
                <a:gd name="T89" fmla="*/ 67 h 900"/>
                <a:gd name="T90" fmla="*/ 16 w 762"/>
                <a:gd name="T91" fmla="*/ 67 h 900"/>
                <a:gd name="T92" fmla="*/ 15 w 762"/>
                <a:gd name="T93" fmla="*/ 71 h 900"/>
                <a:gd name="T94" fmla="*/ 12 w 762"/>
                <a:gd name="T95" fmla="*/ 68 h 900"/>
                <a:gd name="T96" fmla="*/ 15 w 762"/>
                <a:gd name="T97" fmla="*/ 72 h 900"/>
                <a:gd name="T98" fmla="*/ 17 w 762"/>
                <a:gd name="T99" fmla="*/ 77 h 900"/>
                <a:gd name="T100" fmla="*/ 11 w 762"/>
                <a:gd name="T101" fmla="*/ 77 h 900"/>
                <a:gd name="T102" fmla="*/ 10 w 762"/>
                <a:gd name="T103" fmla="*/ 69 h 900"/>
                <a:gd name="T104" fmla="*/ 11 w 762"/>
                <a:gd name="T105" fmla="*/ 72 h 900"/>
                <a:gd name="T106" fmla="*/ 9 w 762"/>
                <a:gd name="T107" fmla="*/ 78 h 900"/>
                <a:gd name="T108" fmla="*/ 43 w 762"/>
                <a:gd name="T109" fmla="*/ 71 h 900"/>
                <a:gd name="T110" fmla="*/ 51 w 762"/>
                <a:gd name="T111" fmla="*/ 69 h 900"/>
                <a:gd name="T112" fmla="*/ 43 w 762"/>
                <a:gd name="T113" fmla="*/ 76 h 900"/>
                <a:gd name="T114" fmla="*/ 36 w 762"/>
                <a:gd name="T115" fmla="*/ 65 h 900"/>
                <a:gd name="T116" fmla="*/ 38 w 762"/>
                <a:gd name="T117" fmla="*/ 72 h 900"/>
                <a:gd name="T118" fmla="*/ 34 w 762"/>
                <a:gd name="T119" fmla="*/ 69 h 900"/>
                <a:gd name="T120" fmla="*/ 29 w 762"/>
                <a:gd name="T121" fmla="*/ 64 h 900"/>
                <a:gd name="T122" fmla="*/ 32 w 762"/>
                <a:gd name="T123" fmla="*/ 66 h 9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900"/>
                <a:gd name="T188" fmla="*/ 762 w 762"/>
                <a:gd name="T189" fmla="*/ 900 h 90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900">
                  <a:moveTo>
                    <a:pt x="90" y="768"/>
                  </a:moveTo>
                  <a:lnTo>
                    <a:pt x="102" y="756"/>
                  </a:lnTo>
                  <a:lnTo>
                    <a:pt x="102" y="750"/>
                  </a:lnTo>
                  <a:lnTo>
                    <a:pt x="90" y="744"/>
                  </a:lnTo>
                  <a:lnTo>
                    <a:pt x="84" y="738"/>
                  </a:lnTo>
                  <a:lnTo>
                    <a:pt x="90" y="726"/>
                  </a:lnTo>
                  <a:lnTo>
                    <a:pt x="84" y="720"/>
                  </a:lnTo>
                  <a:lnTo>
                    <a:pt x="78" y="720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72" y="702"/>
                  </a:lnTo>
                  <a:lnTo>
                    <a:pt x="72" y="696"/>
                  </a:lnTo>
                  <a:lnTo>
                    <a:pt x="84" y="684"/>
                  </a:lnTo>
                  <a:lnTo>
                    <a:pt x="96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102" y="654"/>
                  </a:lnTo>
                  <a:lnTo>
                    <a:pt x="108" y="654"/>
                  </a:lnTo>
                  <a:lnTo>
                    <a:pt x="114" y="648"/>
                  </a:lnTo>
                  <a:lnTo>
                    <a:pt x="120" y="642"/>
                  </a:lnTo>
                  <a:lnTo>
                    <a:pt x="120" y="636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14" y="618"/>
                  </a:lnTo>
                  <a:lnTo>
                    <a:pt x="102" y="618"/>
                  </a:lnTo>
                  <a:lnTo>
                    <a:pt x="90" y="618"/>
                  </a:lnTo>
                  <a:lnTo>
                    <a:pt x="78" y="624"/>
                  </a:lnTo>
                  <a:lnTo>
                    <a:pt x="72" y="630"/>
                  </a:lnTo>
                  <a:lnTo>
                    <a:pt x="54" y="642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42" y="642"/>
                  </a:lnTo>
                  <a:lnTo>
                    <a:pt x="42" y="636"/>
                  </a:lnTo>
                  <a:lnTo>
                    <a:pt x="36" y="636"/>
                  </a:lnTo>
                  <a:lnTo>
                    <a:pt x="30" y="642"/>
                  </a:lnTo>
                  <a:lnTo>
                    <a:pt x="30" y="636"/>
                  </a:lnTo>
                  <a:lnTo>
                    <a:pt x="30" y="630"/>
                  </a:lnTo>
                  <a:lnTo>
                    <a:pt x="24" y="630"/>
                  </a:lnTo>
                  <a:lnTo>
                    <a:pt x="30" y="624"/>
                  </a:lnTo>
                  <a:lnTo>
                    <a:pt x="30" y="618"/>
                  </a:lnTo>
                  <a:lnTo>
                    <a:pt x="30" y="612"/>
                  </a:lnTo>
                  <a:lnTo>
                    <a:pt x="36" y="612"/>
                  </a:lnTo>
                  <a:lnTo>
                    <a:pt x="36" y="606"/>
                  </a:lnTo>
                  <a:lnTo>
                    <a:pt x="30" y="606"/>
                  </a:lnTo>
                  <a:lnTo>
                    <a:pt x="24" y="612"/>
                  </a:lnTo>
                  <a:lnTo>
                    <a:pt x="18" y="606"/>
                  </a:lnTo>
                  <a:lnTo>
                    <a:pt x="12" y="594"/>
                  </a:lnTo>
                  <a:lnTo>
                    <a:pt x="6" y="582"/>
                  </a:lnTo>
                  <a:lnTo>
                    <a:pt x="6" y="570"/>
                  </a:lnTo>
                  <a:lnTo>
                    <a:pt x="0" y="558"/>
                  </a:lnTo>
                  <a:lnTo>
                    <a:pt x="6" y="552"/>
                  </a:lnTo>
                  <a:lnTo>
                    <a:pt x="6" y="534"/>
                  </a:lnTo>
                  <a:lnTo>
                    <a:pt x="18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12" y="480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54" y="408"/>
                  </a:lnTo>
                  <a:lnTo>
                    <a:pt x="54" y="396"/>
                  </a:lnTo>
                  <a:lnTo>
                    <a:pt x="54" y="384"/>
                  </a:lnTo>
                  <a:lnTo>
                    <a:pt x="60" y="378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66"/>
                  </a:lnTo>
                  <a:lnTo>
                    <a:pt x="60" y="360"/>
                  </a:lnTo>
                  <a:lnTo>
                    <a:pt x="66" y="360"/>
                  </a:lnTo>
                  <a:lnTo>
                    <a:pt x="72" y="354"/>
                  </a:lnTo>
                  <a:lnTo>
                    <a:pt x="78" y="354"/>
                  </a:lnTo>
                  <a:lnTo>
                    <a:pt x="84" y="348"/>
                  </a:lnTo>
                  <a:lnTo>
                    <a:pt x="96" y="348"/>
                  </a:lnTo>
                  <a:lnTo>
                    <a:pt x="96" y="342"/>
                  </a:lnTo>
                  <a:lnTo>
                    <a:pt x="96" y="336"/>
                  </a:lnTo>
                  <a:lnTo>
                    <a:pt x="96" y="330"/>
                  </a:lnTo>
                  <a:lnTo>
                    <a:pt x="96" y="324"/>
                  </a:lnTo>
                  <a:lnTo>
                    <a:pt x="102" y="318"/>
                  </a:lnTo>
                  <a:lnTo>
                    <a:pt x="108" y="312"/>
                  </a:lnTo>
                  <a:lnTo>
                    <a:pt x="96" y="306"/>
                  </a:lnTo>
                  <a:lnTo>
                    <a:pt x="84" y="288"/>
                  </a:lnTo>
                  <a:lnTo>
                    <a:pt x="108" y="258"/>
                  </a:lnTo>
                  <a:lnTo>
                    <a:pt x="102" y="222"/>
                  </a:lnTo>
                  <a:lnTo>
                    <a:pt x="84" y="222"/>
                  </a:lnTo>
                  <a:lnTo>
                    <a:pt x="54" y="216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2"/>
                  </a:lnTo>
                  <a:lnTo>
                    <a:pt x="72" y="192"/>
                  </a:lnTo>
                  <a:lnTo>
                    <a:pt x="84" y="186"/>
                  </a:lnTo>
                  <a:lnTo>
                    <a:pt x="90" y="186"/>
                  </a:lnTo>
                  <a:lnTo>
                    <a:pt x="90" y="174"/>
                  </a:lnTo>
                  <a:lnTo>
                    <a:pt x="84" y="162"/>
                  </a:lnTo>
                  <a:lnTo>
                    <a:pt x="84" y="150"/>
                  </a:lnTo>
                  <a:lnTo>
                    <a:pt x="84" y="126"/>
                  </a:lnTo>
                  <a:lnTo>
                    <a:pt x="84" y="114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8" y="96"/>
                  </a:lnTo>
                  <a:lnTo>
                    <a:pt x="120" y="90"/>
                  </a:lnTo>
                  <a:lnTo>
                    <a:pt x="126" y="78"/>
                  </a:lnTo>
                  <a:lnTo>
                    <a:pt x="138" y="66"/>
                  </a:lnTo>
                  <a:lnTo>
                    <a:pt x="138" y="48"/>
                  </a:lnTo>
                  <a:lnTo>
                    <a:pt x="138" y="42"/>
                  </a:lnTo>
                  <a:lnTo>
                    <a:pt x="126" y="30"/>
                  </a:lnTo>
                  <a:lnTo>
                    <a:pt x="120" y="18"/>
                  </a:lnTo>
                  <a:lnTo>
                    <a:pt x="132" y="12"/>
                  </a:lnTo>
                  <a:lnTo>
                    <a:pt x="144" y="0"/>
                  </a:lnTo>
                  <a:lnTo>
                    <a:pt x="150" y="6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6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74" y="66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68" y="72"/>
                  </a:lnTo>
                  <a:lnTo>
                    <a:pt x="156" y="150"/>
                  </a:lnTo>
                  <a:lnTo>
                    <a:pt x="168" y="144"/>
                  </a:lnTo>
                  <a:lnTo>
                    <a:pt x="180" y="150"/>
                  </a:lnTo>
                  <a:lnTo>
                    <a:pt x="186" y="150"/>
                  </a:lnTo>
                  <a:lnTo>
                    <a:pt x="186" y="144"/>
                  </a:lnTo>
                  <a:lnTo>
                    <a:pt x="192" y="150"/>
                  </a:lnTo>
                  <a:lnTo>
                    <a:pt x="222" y="150"/>
                  </a:lnTo>
                  <a:lnTo>
                    <a:pt x="222" y="168"/>
                  </a:lnTo>
                  <a:lnTo>
                    <a:pt x="222" y="186"/>
                  </a:lnTo>
                  <a:lnTo>
                    <a:pt x="234" y="198"/>
                  </a:lnTo>
                  <a:lnTo>
                    <a:pt x="234" y="234"/>
                  </a:lnTo>
                  <a:lnTo>
                    <a:pt x="228" y="270"/>
                  </a:lnTo>
                  <a:lnTo>
                    <a:pt x="246" y="282"/>
                  </a:lnTo>
                  <a:lnTo>
                    <a:pt x="258" y="294"/>
                  </a:lnTo>
                  <a:lnTo>
                    <a:pt x="270" y="300"/>
                  </a:lnTo>
                  <a:lnTo>
                    <a:pt x="294" y="300"/>
                  </a:lnTo>
                  <a:lnTo>
                    <a:pt x="288" y="306"/>
                  </a:lnTo>
                  <a:lnTo>
                    <a:pt x="300" y="312"/>
                  </a:lnTo>
                  <a:lnTo>
                    <a:pt x="306" y="318"/>
                  </a:lnTo>
                  <a:lnTo>
                    <a:pt x="324" y="324"/>
                  </a:lnTo>
                  <a:lnTo>
                    <a:pt x="354" y="318"/>
                  </a:lnTo>
                  <a:lnTo>
                    <a:pt x="354" y="312"/>
                  </a:lnTo>
                  <a:lnTo>
                    <a:pt x="366" y="312"/>
                  </a:lnTo>
                  <a:lnTo>
                    <a:pt x="384" y="312"/>
                  </a:lnTo>
                  <a:lnTo>
                    <a:pt x="390" y="306"/>
                  </a:lnTo>
                  <a:lnTo>
                    <a:pt x="396" y="306"/>
                  </a:lnTo>
                  <a:lnTo>
                    <a:pt x="408" y="306"/>
                  </a:lnTo>
                  <a:lnTo>
                    <a:pt x="426" y="312"/>
                  </a:lnTo>
                  <a:lnTo>
                    <a:pt x="456" y="324"/>
                  </a:lnTo>
                  <a:lnTo>
                    <a:pt x="504" y="330"/>
                  </a:lnTo>
                  <a:lnTo>
                    <a:pt x="510" y="336"/>
                  </a:lnTo>
                  <a:lnTo>
                    <a:pt x="534" y="336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58" y="330"/>
                  </a:lnTo>
                  <a:lnTo>
                    <a:pt x="564" y="330"/>
                  </a:lnTo>
                  <a:lnTo>
                    <a:pt x="570" y="354"/>
                  </a:lnTo>
                  <a:lnTo>
                    <a:pt x="564" y="378"/>
                  </a:lnTo>
                  <a:lnTo>
                    <a:pt x="558" y="396"/>
                  </a:lnTo>
                  <a:lnTo>
                    <a:pt x="546" y="414"/>
                  </a:lnTo>
                  <a:lnTo>
                    <a:pt x="546" y="438"/>
                  </a:lnTo>
                  <a:lnTo>
                    <a:pt x="540" y="456"/>
                  </a:lnTo>
                  <a:lnTo>
                    <a:pt x="540" y="474"/>
                  </a:lnTo>
                  <a:lnTo>
                    <a:pt x="528" y="480"/>
                  </a:lnTo>
                  <a:lnTo>
                    <a:pt x="522" y="492"/>
                  </a:lnTo>
                  <a:lnTo>
                    <a:pt x="504" y="498"/>
                  </a:lnTo>
                  <a:lnTo>
                    <a:pt x="498" y="498"/>
                  </a:lnTo>
                  <a:lnTo>
                    <a:pt x="492" y="504"/>
                  </a:lnTo>
                  <a:lnTo>
                    <a:pt x="486" y="510"/>
                  </a:lnTo>
                  <a:lnTo>
                    <a:pt x="480" y="510"/>
                  </a:lnTo>
                  <a:lnTo>
                    <a:pt x="480" y="516"/>
                  </a:lnTo>
                  <a:lnTo>
                    <a:pt x="474" y="522"/>
                  </a:lnTo>
                  <a:lnTo>
                    <a:pt x="474" y="528"/>
                  </a:lnTo>
                  <a:lnTo>
                    <a:pt x="474" y="534"/>
                  </a:lnTo>
                  <a:lnTo>
                    <a:pt x="480" y="540"/>
                  </a:lnTo>
                  <a:lnTo>
                    <a:pt x="492" y="540"/>
                  </a:lnTo>
                  <a:lnTo>
                    <a:pt x="498" y="546"/>
                  </a:lnTo>
                  <a:lnTo>
                    <a:pt x="504" y="552"/>
                  </a:lnTo>
                  <a:lnTo>
                    <a:pt x="510" y="552"/>
                  </a:lnTo>
                  <a:lnTo>
                    <a:pt x="516" y="558"/>
                  </a:lnTo>
                  <a:lnTo>
                    <a:pt x="528" y="558"/>
                  </a:lnTo>
                  <a:lnTo>
                    <a:pt x="534" y="552"/>
                  </a:lnTo>
                  <a:lnTo>
                    <a:pt x="540" y="552"/>
                  </a:lnTo>
                  <a:lnTo>
                    <a:pt x="546" y="552"/>
                  </a:lnTo>
                  <a:lnTo>
                    <a:pt x="558" y="546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70" y="546"/>
                  </a:lnTo>
                  <a:lnTo>
                    <a:pt x="570" y="540"/>
                  </a:lnTo>
                  <a:lnTo>
                    <a:pt x="570" y="546"/>
                  </a:lnTo>
                  <a:lnTo>
                    <a:pt x="576" y="546"/>
                  </a:lnTo>
                  <a:lnTo>
                    <a:pt x="582" y="546"/>
                  </a:lnTo>
                  <a:lnTo>
                    <a:pt x="588" y="540"/>
                  </a:lnTo>
                  <a:lnTo>
                    <a:pt x="594" y="546"/>
                  </a:lnTo>
                  <a:lnTo>
                    <a:pt x="606" y="546"/>
                  </a:lnTo>
                  <a:lnTo>
                    <a:pt x="612" y="546"/>
                  </a:lnTo>
                  <a:lnTo>
                    <a:pt x="612" y="552"/>
                  </a:lnTo>
                  <a:lnTo>
                    <a:pt x="618" y="552"/>
                  </a:lnTo>
                  <a:lnTo>
                    <a:pt x="624" y="552"/>
                  </a:lnTo>
                  <a:lnTo>
                    <a:pt x="630" y="552"/>
                  </a:lnTo>
                  <a:lnTo>
                    <a:pt x="648" y="546"/>
                  </a:lnTo>
                  <a:lnTo>
                    <a:pt x="654" y="546"/>
                  </a:lnTo>
                  <a:lnTo>
                    <a:pt x="654" y="552"/>
                  </a:lnTo>
                  <a:lnTo>
                    <a:pt x="660" y="558"/>
                  </a:lnTo>
                  <a:lnTo>
                    <a:pt x="666" y="564"/>
                  </a:lnTo>
                  <a:lnTo>
                    <a:pt x="672" y="564"/>
                  </a:lnTo>
                  <a:lnTo>
                    <a:pt x="678" y="564"/>
                  </a:lnTo>
                  <a:lnTo>
                    <a:pt x="696" y="576"/>
                  </a:lnTo>
                  <a:lnTo>
                    <a:pt x="696" y="582"/>
                  </a:lnTo>
                  <a:lnTo>
                    <a:pt x="708" y="588"/>
                  </a:lnTo>
                  <a:lnTo>
                    <a:pt x="708" y="594"/>
                  </a:lnTo>
                  <a:lnTo>
                    <a:pt x="720" y="606"/>
                  </a:lnTo>
                  <a:lnTo>
                    <a:pt x="720" y="618"/>
                  </a:lnTo>
                  <a:lnTo>
                    <a:pt x="720" y="624"/>
                  </a:lnTo>
                  <a:lnTo>
                    <a:pt x="726" y="630"/>
                  </a:lnTo>
                  <a:lnTo>
                    <a:pt x="732" y="636"/>
                  </a:lnTo>
                  <a:lnTo>
                    <a:pt x="732" y="642"/>
                  </a:lnTo>
                  <a:lnTo>
                    <a:pt x="732" y="648"/>
                  </a:lnTo>
                  <a:lnTo>
                    <a:pt x="726" y="654"/>
                  </a:lnTo>
                  <a:lnTo>
                    <a:pt x="720" y="660"/>
                  </a:lnTo>
                  <a:lnTo>
                    <a:pt x="714" y="666"/>
                  </a:lnTo>
                  <a:lnTo>
                    <a:pt x="714" y="672"/>
                  </a:lnTo>
                  <a:lnTo>
                    <a:pt x="714" y="678"/>
                  </a:lnTo>
                  <a:lnTo>
                    <a:pt x="720" y="678"/>
                  </a:lnTo>
                  <a:lnTo>
                    <a:pt x="720" y="684"/>
                  </a:lnTo>
                  <a:lnTo>
                    <a:pt x="714" y="690"/>
                  </a:lnTo>
                  <a:lnTo>
                    <a:pt x="714" y="696"/>
                  </a:lnTo>
                  <a:lnTo>
                    <a:pt x="714" y="702"/>
                  </a:lnTo>
                  <a:lnTo>
                    <a:pt x="714" y="708"/>
                  </a:lnTo>
                  <a:lnTo>
                    <a:pt x="720" y="708"/>
                  </a:lnTo>
                  <a:lnTo>
                    <a:pt x="720" y="720"/>
                  </a:lnTo>
                  <a:lnTo>
                    <a:pt x="720" y="726"/>
                  </a:lnTo>
                  <a:lnTo>
                    <a:pt x="726" y="726"/>
                  </a:lnTo>
                  <a:lnTo>
                    <a:pt x="726" y="732"/>
                  </a:lnTo>
                  <a:lnTo>
                    <a:pt x="732" y="732"/>
                  </a:lnTo>
                  <a:lnTo>
                    <a:pt x="732" y="738"/>
                  </a:lnTo>
                  <a:lnTo>
                    <a:pt x="726" y="738"/>
                  </a:lnTo>
                  <a:lnTo>
                    <a:pt x="720" y="738"/>
                  </a:lnTo>
                  <a:lnTo>
                    <a:pt x="720" y="744"/>
                  </a:lnTo>
                  <a:lnTo>
                    <a:pt x="720" y="750"/>
                  </a:lnTo>
                  <a:lnTo>
                    <a:pt x="714" y="750"/>
                  </a:lnTo>
                  <a:lnTo>
                    <a:pt x="714" y="756"/>
                  </a:lnTo>
                  <a:lnTo>
                    <a:pt x="720" y="756"/>
                  </a:lnTo>
                  <a:lnTo>
                    <a:pt x="714" y="762"/>
                  </a:lnTo>
                  <a:lnTo>
                    <a:pt x="720" y="762"/>
                  </a:lnTo>
                  <a:lnTo>
                    <a:pt x="726" y="768"/>
                  </a:lnTo>
                  <a:lnTo>
                    <a:pt x="726" y="774"/>
                  </a:lnTo>
                  <a:lnTo>
                    <a:pt x="732" y="774"/>
                  </a:lnTo>
                  <a:lnTo>
                    <a:pt x="732" y="780"/>
                  </a:lnTo>
                  <a:lnTo>
                    <a:pt x="726" y="780"/>
                  </a:lnTo>
                  <a:lnTo>
                    <a:pt x="726" y="786"/>
                  </a:lnTo>
                  <a:lnTo>
                    <a:pt x="720" y="786"/>
                  </a:lnTo>
                  <a:lnTo>
                    <a:pt x="726" y="786"/>
                  </a:lnTo>
                  <a:lnTo>
                    <a:pt x="732" y="780"/>
                  </a:lnTo>
                  <a:lnTo>
                    <a:pt x="738" y="780"/>
                  </a:lnTo>
                  <a:lnTo>
                    <a:pt x="744" y="780"/>
                  </a:lnTo>
                  <a:lnTo>
                    <a:pt x="744" y="786"/>
                  </a:lnTo>
                  <a:lnTo>
                    <a:pt x="750" y="786"/>
                  </a:lnTo>
                  <a:lnTo>
                    <a:pt x="744" y="786"/>
                  </a:lnTo>
                  <a:lnTo>
                    <a:pt x="744" y="792"/>
                  </a:lnTo>
                  <a:lnTo>
                    <a:pt x="744" y="786"/>
                  </a:lnTo>
                  <a:lnTo>
                    <a:pt x="738" y="792"/>
                  </a:lnTo>
                  <a:lnTo>
                    <a:pt x="744" y="792"/>
                  </a:lnTo>
                  <a:lnTo>
                    <a:pt x="750" y="792"/>
                  </a:lnTo>
                  <a:lnTo>
                    <a:pt x="750" y="786"/>
                  </a:lnTo>
                  <a:lnTo>
                    <a:pt x="756" y="786"/>
                  </a:lnTo>
                  <a:lnTo>
                    <a:pt x="756" y="792"/>
                  </a:lnTo>
                  <a:lnTo>
                    <a:pt x="762" y="792"/>
                  </a:lnTo>
                  <a:lnTo>
                    <a:pt x="756" y="798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0" y="810"/>
                  </a:lnTo>
                  <a:lnTo>
                    <a:pt x="756" y="810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6" y="816"/>
                  </a:lnTo>
                  <a:lnTo>
                    <a:pt x="750" y="816"/>
                  </a:lnTo>
                  <a:lnTo>
                    <a:pt x="738" y="810"/>
                  </a:lnTo>
                  <a:lnTo>
                    <a:pt x="732" y="810"/>
                  </a:lnTo>
                  <a:lnTo>
                    <a:pt x="732" y="816"/>
                  </a:lnTo>
                  <a:lnTo>
                    <a:pt x="726" y="810"/>
                  </a:lnTo>
                  <a:lnTo>
                    <a:pt x="714" y="816"/>
                  </a:lnTo>
                  <a:lnTo>
                    <a:pt x="708" y="816"/>
                  </a:lnTo>
                  <a:lnTo>
                    <a:pt x="702" y="816"/>
                  </a:lnTo>
                  <a:lnTo>
                    <a:pt x="696" y="816"/>
                  </a:lnTo>
                  <a:lnTo>
                    <a:pt x="690" y="822"/>
                  </a:lnTo>
                  <a:lnTo>
                    <a:pt x="684" y="822"/>
                  </a:lnTo>
                  <a:lnTo>
                    <a:pt x="678" y="822"/>
                  </a:lnTo>
                  <a:lnTo>
                    <a:pt x="672" y="822"/>
                  </a:lnTo>
                  <a:lnTo>
                    <a:pt x="666" y="822"/>
                  </a:lnTo>
                  <a:lnTo>
                    <a:pt x="666" y="828"/>
                  </a:lnTo>
                  <a:lnTo>
                    <a:pt x="654" y="828"/>
                  </a:lnTo>
                  <a:lnTo>
                    <a:pt x="648" y="828"/>
                  </a:lnTo>
                  <a:lnTo>
                    <a:pt x="642" y="828"/>
                  </a:lnTo>
                  <a:lnTo>
                    <a:pt x="630" y="828"/>
                  </a:lnTo>
                  <a:lnTo>
                    <a:pt x="624" y="822"/>
                  </a:lnTo>
                  <a:lnTo>
                    <a:pt x="618" y="822"/>
                  </a:lnTo>
                  <a:lnTo>
                    <a:pt x="612" y="822"/>
                  </a:lnTo>
                  <a:lnTo>
                    <a:pt x="606" y="822"/>
                  </a:lnTo>
                  <a:lnTo>
                    <a:pt x="600" y="822"/>
                  </a:lnTo>
                  <a:lnTo>
                    <a:pt x="594" y="822"/>
                  </a:lnTo>
                  <a:lnTo>
                    <a:pt x="594" y="816"/>
                  </a:lnTo>
                  <a:lnTo>
                    <a:pt x="594" y="810"/>
                  </a:lnTo>
                  <a:lnTo>
                    <a:pt x="600" y="804"/>
                  </a:lnTo>
                  <a:lnTo>
                    <a:pt x="600" y="798"/>
                  </a:lnTo>
                  <a:lnTo>
                    <a:pt x="600" y="792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2" y="786"/>
                  </a:lnTo>
                  <a:lnTo>
                    <a:pt x="618" y="786"/>
                  </a:lnTo>
                  <a:lnTo>
                    <a:pt x="624" y="786"/>
                  </a:lnTo>
                  <a:lnTo>
                    <a:pt x="624" y="780"/>
                  </a:lnTo>
                  <a:lnTo>
                    <a:pt x="630" y="780"/>
                  </a:lnTo>
                  <a:lnTo>
                    <a:pt x="630" y="774"/>
                  </a:lnTo>
                  <a:lnTo>
                    <a:pt x="636" y="774"/>
                  </a:lnTo>
                  <a:lnTo>
                    <a:pt x="642" y="780"/>
                  </a:lnTo>
                  <a:lnTo>
                    <a:pt x="642" y="786"/>
                  </a:lnTo>
                  <a:lnTo>
                    <a:pt x="642" y="792"/>
                  </a:lnTo>
                  <a:lnTo>
                    <a:pt x="648" y="792"/>
                  </a:lnTo>
                  <a:lnTo>
                    <a:pt x="648" y="786"/>
                  </a:lnTo>
                  <a:lnTo>
                    <a:pt x="642" y="786"/>
                  </a:lnTo>
                  <a:lnTo>
                    <a:pt x="642" y="780"/>
                  </a:lnTo>
                  <a:lnTo>
                    <a:pt x="642" y="774"/>
                  </a:lnTo>
                  <a:lnTo>
                    <a:pt x="648" y="768"/>
                  </a:lnTo>
                  <a:lnTo>
                    <a:pt x="642" y="768"/>
                  </a:lnTo>
                  <a:lnTo>
                    <a:pt x="648" y="768"/>
                  </a:lnTo>
                  <a:lnTo>
                    <a:pt x="648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66" y="762"/>
                  </a:lnTo>
                  <a:lnTo>
                    <a:pt x="672" y="756"/>
                  </a:lnTo>
                  <a:lnTo>
                    <a:pt x="666" y="756"/>
                  </a:lnTo>
                  <a:lnTo>
                    <a:pt x="660" y="756"/>
                  </a:lnTo>
                  <a:lnTo>
                    <a:pt x="660" y="750"/>
                  </a:lnTo>
                  <a:lnTo>
                    <a:pt x="654" y="750"/>
                  </a:lnTo>
                  <a:lnTo>
                    <a:pt x="648" y="750"/>
                  </a:lnTo>
                  <a:lnTo>
                    <a:pt x="648" y="756"/>
                  </a:lnTo>
                  <a:lnTo>
                    <a:pt x="642" y="756"/>
                  </a:lnTo>
                  <a:lnTo>
                    <a:pt x="642" y="750"/>
                  </a:lnTo>
                  <a:lnTo>
                    <a:pt x="642" y="744"/>
                  </a:lnTo>
                  <a:lnTo>
                    <a:pt x="642" y="750"/>
                  </a:lnTo>
                  <a:lnTo>
                    <a:pt x="636" y="750"/>
                  </a:lnTo>
                  <a:lnTo>
                    <a:pt x="636" y="744"/>
                  </a:lnTo>
                  <a:lnTo>
                    <a:pt x="630" y="744"/>
                  </a:lnTo>
                  <a:lnTo>
                    <a:pt x="630" y="738"/>
                  </a:lnTo>
                  <a:lnTo>
                    <a:pt x="630" y="744"/>
                  </a:lnTo>
                  <a:lnTo>
                    <a:pt x="630" y="750"/>
                  </a:lnTo>
                  <a:lnTo>
                    <a:pt x="636" y="750"/>
                  </a:lnTo>
                  <a:lnTo>
                    <a:pt x="636" y="756"/>
                  </a:lnTo>
                  <a:lnTo>
                    <a:pt x="630" y="756"/>
                  </a:lnTo>
                  <a:lnTo>
                    <a:pt x="636" y="762"/>
                  </a:lnTo>
                  <a:lnTo>
                    <a:pt x="630" y="762"/>
                  </a:lnTo>
                  <a:lnTo>
                    <a:pt x="624" y="762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24" y="786"/>
                  </a:lnTo>
                  <a:lnTo>
                    <a:pt x="618" y="786"/>
                  </a:lnTo>
                  <a:lnTo>
                    <a:pt x="618" y="78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12" y="774"/>
                  </a:lnTo>
                  <a:lnTo>
                    <a:pt x="612" y="780"/>
                  </a:lnTo>
                  <a:lnTo>
                    <a:pt x="606" y="780"/>
                  </a:lnTo>
                  <a:lnTo>
                    <a:pt x="600" y="780"/>
                  </a:lnTo>
                  <a:lnTo>
                    <a:pt x="600" y="774"/>
                  </a:lnTo>
                  <a:lnTo>
                    <a:pt x="594" y="768"/>
                  </a:lnTo>
                  <a:lnTo>
                    <a:pt x="594" y="762"/>
                  </a:lnTo>
                  <a:lnTo>
                    <a:pt x="594" y="756"/>
                  </a:lnTo>
                  <a:lnTo>
                    <a:pt x="594" y="762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594" y="780"/>
                  </a:lnTo>
                  <a:lnTo>
                    <a:pt x="588" y="780"/>
                  </a:lnTo>
                  <a:lnTo>
                    <a:pt x="582" y="780"/>
                  </a:lnTo>
                  <a:lnTo>
                    <a:pt x="576" y="780"/>
                  </a:lnTo>
                  <a:lnTo>
                    <a:pt x="570" y="780"/>
                  </a:lnTo>
                  <a:lnTo>
                    <a:pt x="564" y="780"/>
                  </a:lnTo>
                  <a:lnTo>
                    <a:pt x="564" y="786"/>
                  </a:lnTo>
                  <a:lnTo>
                    <a:pt x="558" y="786"/>
                  </a:lnTo>
                  <a:lnTo>
                    <a:pt x="552" y="786"/>
                  </a:lnTo>
                  <a:lnTo>
                    <a:pt x="552" y="780"/>
                  </a:lnTo>
                  <a:lnTo>
                    <a:pt x="552" y="774"/>
                  </a:lnTo>
                  <a:lnTo>
                    <a:pt x="552" y="768"/>
                  </a:lnTo>
                  <a:lnTo>
                    <a:pt x="546" y="768"/>
                  </a:lnTo>
                  <a:lnTo>
                    <a:pt x="540" y="762"/>
                  </a:lnTo>
                  <a:lnTo>
                    <a:pt x="540" y="756"/>
                  </a:lnTo>
                  <a:lnTo>
                    <a:pt x="534" y="756"/>
                  </a:lnTo>
                  <a:lnTo>
                    <a:pt x="534" y="750"/>
                  </a:lnTo>
                  <a:lnTo>
                    <a:pt x="534" y="744"/>
                  </a:lnTo>
                  <a:lnTo>
                    <a:pt x="528" y="738"/>
                  </a:lnTo>
                  <a:lnTo>
                    <a:pt x="522" y="738"/>
                  </a:lnTo>
                  <a:lnTo>
                    <a:pt x="522" y="732"/>
                  </a:lnTo>
                  <a:lnTo>
                    <a:pt x="510" y="726"/>
                  </a:lnTo>
                  <a:lnTo>
                    <a:pt x="510" y="720"/>
                  </a:lnTo>
                  <a:lnTo>
                    <a:pt x="504" y="720"/>
                  </a:lnTo>
                  <a:lnTo>
                    <a:pt x="504" y="714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8" y="702"/>
                  </a:lnTo>
                  <a:lnTo>
                    <a:pt x="498" y="696"/>
                  </a:lnTo>
                  <a:lnTo>
                    <a:pt x="492" y="690"/>
                  </a:lnTo>
                  <a:lnTo>
                    <a:pt x="492" y="684"/>
                  </a:lnTo>
                  <a:lnTo>
                    <a:pt x="486" y="684"/>
                  </a:lnTo>
                  <a:lnTo>
                    <a:pt x="486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74" y="678"/>
                  </a:lnTo>
                  <a:lnTo>
                    <a:pt x="468" y="678"/>
                  </a:lnTo>
                  <a:lnTo>
                    <a:pt x="462" y="678"/>
                  </a:lnTo>
                  <a:lnTo>
                    <a:pt x="462" y="672"/>
                  </a:lnTo>
                  <a:lnTo>
                    <a:pt x="456" y="672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44" y="666"/>
                  </a:lnTo>
                  <a:lnTo>
                    <a:pt x="438" y="660"/>
                  </a:lnTo>
                  <a:lnTo>
                    <a:pt x="438" y="648"/>
                  </a:lnTo>
                  <a:lnTo>
                    <a:pt x="438" y="642"/>
                  </a:lnTo>
                  <a:lnTo>
                    <a:pt x="438" y="636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36"/>
                  </a:lnTo>
                  <a:lnTo>
                    <a:pt x="420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60"/>
                  </a:lnTo>
                  <a:lnTo>
                    <a:pt x="432" y="666"/>
                  </a:lnTo>
                  <a:lnTo>
                    <a:pt x="438" y="666"/>
                  </a:lnTo>
                  <a:lnTo>
                    <a:pt x="438" y="672"/>
                  </a:lnTo>
                  <a:lnTo>
                    <a:pt x="444" y="672"/>
                  </a:lnTo>
                  <a:lnTo>
                    <a:pt x="444" y="678"/>
                  </a:lnTo>
                  <a:lnTo>
                    <a:pt x="450" y="678"/>
                  </a:lnTo>
                  <a:lnTo>
                    <a:pt x="456" y="678"/>
                  </a:lnTo>
                  <a:lnTo>
                    <a:pt x="456" y="684"/>
                  </a:lnTo>
                  <a:lnTo>
                    <a:pt x="462" y="684"/>
                  </a:lnTo>
                  <a:lnTo>
                    <a:pt x="468" y="684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80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86" y="708"/>
                  </a:lnTo>
                  <a:lnTo>
                    <a:pt x="492" y="714"/>
                  </a:lnTo>
                  <a:lnTo>
                    <a:pt x="492" y="720"/>
                  </a:lnTo>
                  <a:lnTo>
                    <a:pt x="492" y="726"/>
                  </a:lnTo>
                  <a:lnTo>
                    <a:pt x="498" y="732"/>
                  </a:lnTo>
                  <a:lnTo>
                    <a:pt x="492" y="738"/>
                  </a:lnTo>
                  <a:lnTo>
                    <a:pt x="492" y="744"/>
                  </a:lnTo>
                  <a:lnTo>
                    <a:pt x="492" y="750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68" y="738"/>
                  </a:lnTo>
                  <a:lnTo>
                    <a:pt x="468" y="744"/>
                  </a:lnTo>
                  <a:lnTo>
                    <a:pt x="474" y="750"/>
                  </a:lnTo>
                  <a:lnTo>
                    <a:pt x="480" y="756"/>
                  </a:lnTo>
                  <a:lnTo>
                    <a:pt x="486" y="756"/>
                  </a:lnTo>
                  <a:lnTo>
                    <a:pt x="492" y="762"/>
                  </a:lnTo>
                  <a:lnTo>
                    <a:pt x="498" y="768"/>
                  </a:lnTo>
                  <a:lnTo>
                    <a:pt x="492" y="774"/>
                  </a:lnTo>
                  <a:lnTo>
                    <a:pt x="492" y="780"/>
                  </a:lnTo>
                  <a:lnTo>
                    <a:pt x="498" y="780"/>
                  </a:lnTo>
                  <a:lnTo>
                    <a:pt x="492" y="786"/>
                  </a:lnTo>
                  <a:lnTo>
                    <a:pt x="492" y="792"/>
                  </a:lnTo>
                  <a:lnTo>
                    <a:pt x="492" y="79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0" y="810"/>
                  </a:lnTo>
                  <a:lnTo>
                    <a:pt x="480" y="804"/>
                  </a:lnTo>
                  <a:lnTo>
                    <a:pt x="474" y="804"/>
                  </a:lnTo>
                  <a:lnTo>
                    <a:pt x="474" y="798"/>
                  </a:lnTo>
                  <a:lnTo>
                    <a:pt x="474" y="804"/>
                  </a:lnTo>
                  <a:lnTo>
                    <a:pt x="468" y="804"/>
                  </a:lnTo>
                  <a:lnTo>
                    <a:pt x="468" y="810"/>
                  </a:lnTo>
                  <a:lnTo>
                    <a:pt x="462" y="810"/>
                  </a:lnTo>
                  <a:lnTo>
                    <a:pt x="456" y="810"/>
                  </a:lnTo>
                  <a:lnTo>
                    <a:pt x="450" y="810"/>
                  </a:lnTo>
                  <a:lnTo>
                    <a:pt x="450" y="816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50" y="822"/>
                  </a:lnTo>
                  <a:lnTo>
                    <a:pt x="450" y="816"/>
                  </a:lnTo>
                  <a:lnTo>
                    <a:pt x="444" y="816"/>
                  </a:lnTo>
                  <a:lnTo>
                    <a:pt x="438" y="810"/>
                  </a:lnTo>
                  <a:lnTo>
                    <a:pt x="432" y="810"/>
                  </a:lnTo>
                  <a:lnTo>
                    <a:pt x="426" y="804"/>
                  </a:lnTo>
                  <a:lnTo>
                    <a:pt x="426" y="798"/>
                  </a:lnTo>
                  <a:lnTo>
                    <a:pt x="420" y="798"/>
                  </a:lnTo>
                  <a:lnTo>
                    <a:pt x="426" y="798"/>
                  </a:lnTo>
                  <a:lnTo>
                    <a:pt x="426" y="792"/>
                  </a:lnTo>
                  <a:lnTo>
                    <a:pt x="426" y="786"/>
                  </a:lnTo>
                  <a:lnTo>
                    <a:pt x="432" y="786"/>
                  </a:lnTo>
                  <a:lnTo>
                    <a:pt x="432" y="780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0" y="756"/>
                  </a:lnTo>
                  <a:lnTo>
                    <a:pt x="420" y="750"/>
                  </a:lnTo>
                  <a:lnTo>
                    <a:pt x="414" y="750"/>
                  </a:lnTo>
                  <a:lnTo>
                    <a:pt x="420" y="750"/>
                  </a:lnTo>
                  <a:lnTo>
                    <a:pt x="420" y="744"/>
                  </a:lnTo>
                  <a:lnTo>
                    <a:pt x="414" y="744"/>
                  </a:lnTo>
                  <a:lnTo>
                    <a:pt x="414" y="738"/>
                  </a:lnTo>
                  <a:lnTo>
                    <a:pt x="414" y="732"/>
                  </a:lnTo>
                  <a:lnTo>
                    <a:pt x="408" y="732"/>
                  </a:lnTo>
                  <a:lnTo>
                    <a:pt x="408" y="726"/>
                  </a:lnTo>
                  <a:lnTo>
                    <a:pt x="402" y="726"/>
                  </a:lnTo>
                  <a:lnTo>
                    <a:pt x="396" y="726"/>
                  </a:lnTo>
                  <a:lnTo>
                    <a:pt x="390" y="726"/>
                  </a:lnTo>
                  <a:lnTo>
                    <a:pt x="390" y="720"/>
                  </a:lnTo>
                  <a:lnTo>
                    <a:pt x="390" y="714"/>
                  </a:lnTo>
                  <a:lnTo>
                    <a:pt x="384" y="708"/>
                  </a:lnTo>
                  <a:lnTo>
                    <a:pt x="384" y="702"/>
                  </a:lnTo>
                  <a:lnTo>
                    <a:pt x="378" y="702"/>
                  </a:lnTo>
                  <a:lnTo>
                    <a:pt x="378" y="696"/>
                  </a:lnTo>
                  <a:lnTo>
                    <a:pt x="378" y="690"/>
                  </a:lnTo>
                  <a:lnTo>
                    <a:pt x="372" y="684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66" y="666"/>
                  </a:lnTo>
                  <a:lnTo>
                    <a:pt x="366" y="660"/>
                  </a:lnTo>
                  <a:lnTo>
                    <a:pt x="366" y="654"/>
                  </a:lnTo>
                  <a:lnTo>
                    <a:pt x="360" y="648"/>
                  </a:lnTo>
                  <a:lnTo>
                    <a:pt x="360" y="654"/>
                  </a:lnTo>
                  <a:lnTo>
                    <a:pt x="360" y="660"/>
                  </a:lnTo>
                  <a:lnTo>
                    <a:pt x="360" y="666"/>
                  </a:lnTo>
                  <a:lnTo>
                    <a:pt x="360" y="672"/>
                  </a:lnTo>
                  <a:lnTo>
                    <a:pt x="360" y="678"/>
                  </a:lnTo>
                  <a:lnTo>
                    <a:pt x="366" y="678"/>
                  </a:lnTo>
                  <a:lnTo>
                    <a:pt x="366" y="684"/>
                  </a:lnTo>
                  <a:lnTo>
                    <a:pt x="366" y="690"/>
                  </a:lnTo>
                  <a:lnTo>
                    <a:pt x="372" y="696"/>
                  </a:lnTo>
                  <a:lnTo>
                    <a:pt x="372" y="702"/>
                  </a:lnTo>
                  <a:lnTo>
                    <a:pt x="372" y="708"/>
                  </a:lnTo>
                  <a:lnTo>
                    <a:pt x="372" y="714"/>
                  </a:lnTo>
                  <a:lnTo>
                    <a:pt x="366" y="714"/>
                  </a:lnTo>
                  <a:lnTo>
                    <a:pt x="360" y="714"/>
                  </a:lnTo>
                  <a:lnTo>
                    <a:pt x="354" y="714"/>
                  </a:lnTo>
                  <a:lnTo>
                    <a:pt x="348" y="714"/>
                  </a:lnTo>
                  <a:lnTo>
                    <a:pt x="348" y="708"/>
                  </a:lnTo>
                  <a:lnTo>
                    <a:pt x="342" y="708"/>
                  </a:lnTo>
                  <a:lnTo>
                    <a:pt x="342" y="702"/>
                  </a:lnTo>
                  <a:lnTo>
                    <a:pt x="342" y="696"/>
                  </a:lnTo>
                  <a:lnTo>
                    <a:pt x="336" y="696"/>
                  </a:lnTo>
                  <a:lnTo>
                    <a:pt x="336" y="690"/>
                  </a:lnTo>
                  <a:lnTo>
                    <a:pt x="336" y="684"/>
                  </a:lnTo>
                  <a:lnTo>
                    <a:pt x="330" y="684"/>
                  </a:lnTo>
                  <a:lnTo>
                    <a:pt x="330" y="678"/>
                  </a:lnTo>
                  <a:lnTo>
                    <a:pt x="324" y="672"/>
                  </a:lnTo>
                  <a:lnTo>
                    <a:pt x="324" y="666"/>
                  </a:lnTo>
                  <a:lnTo>
                    <a:pt x="318" y="666"/>
                  </a:lnTo>
                  <a:lnTo>
                    <a:pt x="318" y="672"/>
                  </a:lnTo>
                  <a:lnTo>
                    <a:pt x="324" y="672"/>
                  </a:lnTo>
                  <a:lnTo>
                    <a:pt x="324" y="678"/>
                  </a:lnTo>
                  <a:lnTo>
                    <a:pt x="324" y="684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30" y="696"/>
                  </a:lnTo>
                  <a:lnTo>
                    <a:pt x="336" y="702"/>
                  </a:lnTo>
                  <a:lnTo>
                    <a:pt x="342" y="708"/>
                  </a:lnTo>
                  <a:lnTo>
                    <a:pt x="342" y="714"/>
                  </a:lnTo>
                  <a:lnTo>
                    <a:pt x="348" y="720"/>
                  </a:lnTo>
                  <a:lnTo>
                    <a:pt x="342" y="720"/>
                  </a:lnTo>
                  <a:lnTo>
                    <a:pt x="336" y="720"/>
                  </a:lnTo>
                  <a:lnTo>
                    <a:pt x="330" y="720"/>
                  </a:lnTo>
                  <a:lnTo>
                    <a:pt x="330" y="726"/>
                  </a:lnTo>
                  <a:lnTo>
                    <a:pt x="336" y="726"/>
                  </a:lnTo>
                  <a:lnTo>
                    <a:pt x="330" y="732"/>
                  </a:lnTo>
                  <a:lnTo>
                    <a:pt x="330" y="738"/>
                  </a:lnTo>
                  <a:lnTo>
                    <a:pt x="330" y="744"/>
                  </a:lnTo>
                  <a:lnTo>
                    <a:pt x="336" y="744"/>
                  </a:lnTo>
                  <a:lnTo>
                    <a:pt x="342" y="744"/>
                  </a:lnTo>
                  <a:lnTo>
                    <a:pt x="348" y="744"/>
                  </a:lnTo>
                  <a:lnTo>
                    <a:pt x="348" y="750"/>
                  </a:lnTo>
                  <a:lnTo>
                    <a:pt x="354" y="750"/>
                  </a:lnTo>
                  <a:lnTo>
                    <a:pt x="360" y="756"/>
                  </a:lnTo>
                  <a:lnTo>
                    <a:pt x="360" y="762"/>
                  </a:lnTo>
                  <a:lnTo>
                    <a:pt x="366" y="762"/>
                  </a:lnTo>
                  <a:lnTo>
                    <a:pt x="366" y="768"/>
                  </a:lnTo>
                  <a:lnTo>
                    <a:pt x="366" y="774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72" y="792"/>
                  </a:lnTo>
                  <a:lnTo>
                    <a:pt x="372" y="798"/>
                  </a:lnTo>
                  <a:lnTo>
                    <a:pt x="372" y="804"/>
                  </a:lnTo>
                  <a:lnTo>
                    <a:pt x="378" y="804"/>
                  </a:lnTo>
                  <a:lnTo>
                    <a:pt x="378" y="810"/>
                  </a:lnTo>
                  <a:lnTo>
                    <a:pt x="378" y="816"/>
                  </a:lnTo>
                  <a:lnTo>
                    <a:pt x="372" y="816"/>
                  </a:lnTo>
                  <a:lnTo>
                    <a:pt x="378" y="816"/>
                  </a:lnTo>
                  <a:lnTo>
                    <a:pt x="378" y="822"/>
                  </a:lnTo>
                  <a:lnTo>
                    <a:pt x="378" y="828"/>
                  </a:lnTo>
                  <a:lnTo>
                    <a:pt x="378" y="834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0" y="864"/>
                  </a:lnTo>
                  <a:lnTo>
                    <a:pt x="384" y="864"/>
                  </a:lnTo>
                  <a:lnTo>
                    <a:pt x="384" y="870"/>
                  </a:lnTo>
                  <a:lnTo>
                    <a:pt x="378" y="864"/>
                  </a:lnTo>
                  <a:lnTo>
                    <a:pt x="372" y="864"/>
                  </a:lnTo>
                  <a:lnTo>
                    <a:pt x="366" y="858"/>
                  </a:lnTo>
                  <a:lnTo>
                    <a:pt x="366" y="852"/>
                  </a:lnTo>
                  <a:lnTo>
                    <a:pt x="360" y="852"/>
                  </a:lnTo>
                  <a:lnTo>
                    <a:pt x="360" y="858"/>
                  </a:lnTo>
                  <a:lnTo>
                    <a:pt x="366" y="858"/>
                  </a:lnTo>
                  <a:lnTo>
                    <a:pt x="366" y="864"/>
                  </a:lnTo>
                  <a:lnTo>
                    <a:pt x="360" y="864"/>
                  </a:lnTo>
                  <a:lnTo>
                    <a:pt x="354" y="864"/>
                  </a:lnTo>
                  <a:lnTo>
                    <a:pt x="354" y="870"/>
                  </a:lnTo>
                  <a:lnTo>
                    <a:pt x="354" y="864"/>
                  </a:lnTo>
                  <a:lnTo>
                    <a:pt x="348" y="864"/>
                  </a:lnTo>
                  <a:lnTo>
                    <a:pt x="342" y="864"/>
                  </a:lnTo>
                  <a:lnTo>
                    <a:pt x="342" y="858"/>
                  </a:lnTo>
                  <a:lnTo>
                    <a:pt x="336" y="858"/>
                  </a:lnTo>
                  <a:lnTo>
                    <a:pt x="330" y="858"/>
                  </a:lnTo>
                  <a:lnTo>
                    <a:pt x="324" y="858"/>
                  </a:lnTo>
                  <a:lnTo>
                    <a:pt x="318" y="858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0" y="852"/>
                  </a:lnTo>
                  <a:lnTo>
                    <a:pt x="294" y="852"/>
                  </a:lnTo>
                  <a:lnTo>
                    <a:pt x="294" y="846"/>
                  </a:lnTo>
                  <a:lnTo>
                    <a:pt x="288" y="840"/>
                  </a:lnTo>
                  <a:lnTo>
                    <a:pt x="288" y="828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2" y="816"/>
                  </a:lnTo>
                  <a:lnTo>
                    <a:pt x="282" y="810"/>
                  </a:lnTo>
                  <a:lnTo>
                    <a:pt x="276" y="810"/>
                  </a:lnTo>
                  <a:lnTo>
                    <a:pt x="276" y="804"/>
                  </a:lnTo>
                  <a:lnTo>
                    <a:pt x="276" y="798"/>
                  </a:lnTo>
                  <a:lnTo>
                    <a:pt x="276" y="792"/>
                  </a:lnTo>
                  <a:lnTo>
                    <a:pt x="270" y="786"/>
                  </a:lnTo>
                  <a:lnTo>
                    <a:pt x="270" y="780"/>
                  </a:lnTo>
                  <a:lnTo>
                    <a:pt x="270" y="774"/>
                  </a:lnTo>
                  <a:lnTo>
                    <a:pt x="264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64" y="750"/>
                  </a:lnTo>
                  <a:lnTo>
                    <a:pt x="264" y="744"/>
                  </a:lnTo>
                  <a:lnTo>
                    <a:pt x="264" y="738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26"/>
                  </a:lnTo>
                  <a:lnTo>
                    <a:pt x="276" y="720"/>
                  </a:lnTo>
                  <a:lnTo>
                    <a:pt x="282" y="720"/>
                  </a:lnTo>
                  <a:lnTo>
                    <a:pt x="282" y="714"/>
                  </a:lnTo>
                  <a:lnTo>
                    <a:pt x="282" y="708"/>
                  </a:lnTo>
                  <a:lnTo>
                    <a:pt x="276" y="708"/>
                  </a:lnTo>
                  <a:lnTo>
                    <a:pt x="276" y="702"/>
                  </a:lnTo>
                  <a:lnTo>
                    <a:pt x="270" y="702"/>
                  </a:lnTo>
                  <a:lnTo>
                    <a:pt x="270" y="696"/>
                  </a:lnTo>
                  <a:lnTo>
                    <a:pt x="264" y="690"/>
                  </a:lnTo>
                  <a:lnTo>
                    <a:pt x="258" y="690"/>
                  </a:lnTo>
                  <a:lnTo>
                    <a:pt x="258" y="684"/>
                  </a:lnTo>
                  <a:lnTo>
                    <a:pt x="252" y="684"/>
                  </a:lnTo>
                  <a:lnTo>
                    <a:pt x="252" y="678"/>
                  </a:lnTo>
                  <a:lnTo>
                    <a:pt x="246" y="678"/>
                  </a:lnTo>
                  <a:lnTo>
                    <a:pt x="240" y="678"/>
                  </a:lnTo>
                  <a:lnTo>
                    <a:pt x="240" y="684"/>
                  </a:lnTo>
                  <a:lnTo>
                    <a:pt x="246" y="684"/>
                  </a:lnTo>
                  <a:lnTo>
                    <a:pt x="252" y="690"/>
                  </a:lnTo>
                  <a:lnTo>
                    <a:pt x="258" y="690"/>
                  </a:lnTo>
                  <a:lnTo>
                    <a:pt x="258" y="696"/>
                  </a:lnTo>
                  <a:lnTo>
                    <a:pt x="258" y="702"/>
                  </a:lnTo>
                  <a:lnTo>
                    <a:pt x="264" y="702"/>
                  </a:lnTo>
                  <a:lnTo>
                    <a:pt x="270" y="708"/>
                  </a:lnTo>
                  <a:lnTo>
                    <a:pt x="270" y="714"/>
                  </a:lnTo>
                  <a:lnTo>
                    <a:pt x="270" y="720"/>
                  </a:lnTo>
                  <a:lnTo>
                    <a:pt x="276" y="720"/>
                  </a:lnTo>
                  <a:lnTo>
                    <a:pt x="270" y="720"/>
                  </a:lnTo>
                  <a:lnTo>
                    <a:pt x="270" y="726"/>
                  </a:lnTo>
                  <a:lnTo>
                    <a:pt x="264" y="726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52" y="738"/>
                  </a:lnTo>
                  <a:lnTo>
                    <a:pt x="252" y="744"/>
                  </a:lnTo>
                  <a:lnTo>
                    <a:pt x="252" y="750"/>
                  </a:lnTo>
                  <a:lnTo>
                    <a:pt x="252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58" y="774"/>
                  </a:lnTo>
                  <a:lnTo>
                    <a:pt x="258" y="780"/>
                  </a:lnTo>
                  <a:lnTo>
                    <a:pt x="264" y="786"/>
                  </a:lnTo>
                  <a:lnTo>
                    <a:pt x="264" y="792"/>
                  </a:lnTo>
                  <a:lnTo>
                    <a:pt x="264" y="798"/>
                  </a:lnTo>
                  <a:lnTo>
                    <a:pt x="270" y="810"/>
                  </a:lnTo>
                  <a:lnTo>
                    <a:pt x="270" y="816"/>
                  </a:lnTo>
                  <a:lnTo>
                    <a:pt x="270" y="822"/>
                  </a:lnTo>
                  <a:lnTo>
                    <a:pt x="276" y="822"/>
                  </a:lnTo>
                  <a:lnTo>
                    <a:pt x="276" y="828"/>
                  </a:lnTo>
                  <a:lnTo>
                    <a:pt x="276" y="834"/>
                  </a:lnTo>
                  <a:lnTo>
                    <a:pt x="276" y="840"/>
                  </a:lnTo>
                  <a:lnTo>
                    <a:pt x="276" y="846"/>
                  </a:lnTo>
                  <a:lnTo>
                    <a:pt x="282" y="852"/>
                  </a:lnTo>
                  <a:lnTo>
                    <a:pt x="282" y="858"/>
                  </a:lnTo>
                  <a:lnTo>
                    <a:pt x="294" y="864"/>
                  </a:lnTo>
                  <a:lnTo>
                    <a:pt x="300" y="870"/>
                  </a:lnTo>
                  <a:lnTo>
                    <a:pt x="300" y="876"/>
                  </a:lnTo>
                  <a:lnTo>
                    <a:pt x="288" y="876"/>
                  </a:lnTo>
                  <a:lnTo>
                    <a:pt x="282" y="876"/>
                  </a:lnTo>
                  <a:lnTo>
                    <a:pt x="276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2" y="882"/>
                  </a:lnTo>
                  <a:lnTo>
                    <a:pt x="246" y="882"/>
                  </a:lnTo>
                  <a:lnTo>
                    <a:pt x="240" y="882"/>
                  </a:lnTo>
                  <a:lnTo>
                    <a:pt x="234" y="882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204" y="876"/>
                  </a:lnTo>
                  <a:lnTo>
                    <a:pt x="198" y="876"/>
                  </a:lnTo>
                  <a:lnTo>
                    <a:pt x="198" y="870"/>
                  </a:lnTo>
                  <a:lnTo>
                    <a:pt x="198" y="852"/>
                  </a:lnTo>
                  <a:lnTo>
                    <a:pt x="198" y="846"/>
                  </a:lnTo>
                  <a:lnTo>
                    <a:pt x="204" y="846"/>
                  </a:lnTo>
                  <a:lnTo>
                    <a:pt x="198" y="840"/>
                  </a:lnTo>
                  <a:lnTo>
                    <a:pt x="198" y="834"/>
                  </a:lnTo>
                  <a:lnTo>
                    <a:pt x="198" y="828"/>
                  </a:lnTo>
                  <a:lnTo>
                    <a:pt x="198" y="822"/>
                  </a:lnTo>
                  <a:lnTo>
                    <a:pt x="198" y="816"/>
                  </a:lnTo>
                  <a:lnTo>
                    <a:pt x="198" y="810"/>
                  </a:lnTo>
                  <a:lnTo>
                    <a:pt x="192" y="810"/>
                  </a:lnTo>
                  <a:lnTo>
                    <a:pt x="192" y="804"/>
                  </a:lnTo>
                  <a:lnTo>
                    <a:pt x="192" y="798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2" y="774"/>
                  </a:lnTo>
                  <a:lnTo>
                    <a:pt x="192" y="768"/>
                  </a:lnTo>
                  <a:lnTo>
                    <a:pt x="198" y="768"/>
                  </a:lnTo>
                  <a:lnTo>
                    <a:pt x="198" y="762"/>
                  </a:lnTo>
                  <a:lnTo>
                    <a:pt x="198" y="756"/>
                  </a:lnTo>
                  <a:lnTo>
                    <a:pt x="204" y="756"/>
                  </a:lnTo>
                  <a:lnTo>
                    <a:pt x="204" y="750"/>
                  </a:lnTo>
                  <a:lnTo>
                    <a:pt x="210" y="744"/>
                  </a:lnTo>
                  <a:lnTo>
                    <a:pt x="210" y="738"/>
                  </a:lnTo>
                  <a:lnTo>
                    <a:pt x="210" y="732"/>
                  </a:lnTo>
                  <a:lnTo>
                    <a:pt x="210" y="726"/>
                  </a:lnTo>
                  <a:lnTo>
                    <a:pt x="210" y="720"/>
                  </a:lnTo>
                  <a:lnTo>
                    <a:pt x="204" y="714"/>
                  </a:lnTo>
                  <a:lnTo>
                    <a:pt x="204" y="720"/>
                  </a:lnTo>
                  <a:lnTo>
                    <a:pt x="204" y="732"/>
                  </a:lnTo>
                  <a:lnTo>
                    <a:pt x="204" y="738"/>
                  </a:lnTo>
                  <a:lnTo>
                    <a:pt x="198" y="738"/>
                  </a:lnTo>
                  <a:lnTo>
                    <a:pt x="198" y="744"/>
                  </a:lnTo>
                  <a:lnTo>
                    <a:pt x="198" y="750"/>
                  </a:lnTo>
                  <a:lnTo>
                    <a:pt x="192" y="756"/>
                  </a:lnTo>
                  <a:lnTo>
                    <a:pt x="186" y="762"/>
                  </a:lnTo>
                  <a:lnTo>
                    <a:pt x="186" y="768"/>
                  </a:lnTo>
                  <a:lnTo>
                    <a:pt x="186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98"/>
                  </a:lnTo>
                  <a:lnTo>
                    <a:pt x="186" y="804"/>
                  </a:lnTo>
                  <a:lnTo>
                    <a:pt x="186" y="810"/>
                  </a:lnTo>
                  <a:lnTo>
                    <a:pt x="192" y="816"/>
                  </a:lnTo>
                  <a:lnTo>
                    <a:pt x="192" y="828"/>
                  </a:lnTo>
                  <a:lnTo>
                    <a:pt x="192" y="834"/>
                  </a:lnTo>
                  <a:lnTo>
                    <a:pt x="186" y="834"/>
                  </a:lnTo>
                  <a:lnTo>
                    <a:pt x="186" y="828"/>
                  </a:lnTo>
                  <a:lnTo>
                    <a:pt x="180" y="822"/>
                  </a:lnTo>
                  <a:lnTo>
                    <a:pt x="180" y="816"/>
                  </a:lnTo>
                  <a:lnTo>
                    <a:pt x="180" y="810"/>
                  </a:lnTo>
                  <a:lnTo>
                    <a:pt x="174" y="810"/>
                  </a:lnTo>
                  <a:lnTo>
                    <a:pt x="174" y="804"/>
                  </a:lnTo>
                  <a:lnTo>
                    <a:pt x="174" y="798"/>
                  </a:lnTo>
                  <a:lnTo>
                    <a:pt x="174" y="792"/>
                  </a:lnTo>
                  <a:lnTo>
                    <a:pt x="168" y="786"/>
                  </a:lnTo>
                  <a:lnTo>
                    <a:pt x="168" y="780"/>
                  </a:lnTo>
                  <a:lnTo>
                    <a:pt x="162" y="780"/>
                  </a:lnTo>
                  <a:lnTo>
                    <a:pt x="168" y="774"/>
                  </a:lnTo>
                  <a:lnTo>
                    <a:pt x="168" y="768"/>
                  </a:lnTo>
                  <a:lnTo>
                    <a:pt x="174" y="768"/>
                  </a:lnTo>
                  <a:lnTo>
                    <a:pt x="168" y="768"/>
                  </a:lnTo>
                  <a:lnTo>
                    <a:pt x="162" y="774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50" y="774"/>
                  </a:lnTo>
                  <a:lnTo>
                    <a:pt x="144" y="774"/>
                  </a:lnTo>
                  <a:lnTo>
                    <a:pt x="144" y="768"/>
                  </a:lnTo>
                  <a:lnTo>
                    <a:pt x="144" y="762"/>
                  </a:lnTo>
                  <a:lnTo>
                    <a:pt x="138" y="756"/>
                  </a:lnTo>
                  <a:lnTo>
                    <a:pt x="132" y="756"/>
                  </a:lnTo>
                  <a:lnTo>
                    <a:pt x="138" y="756"/>
                  </a:lnTo>
                  <a:lnTo>
                    <a:pt x="138" y="762"/>
                  </a:lnTo>
                  <a:lnTo>
                    <a:pt x="138" y="768"/>
                  </a:lnTo>
                  <a:lnTo>
                    <a:pt x="144" y="768"/>
                  </a:lnTo>
                  <a:lnTo>
                    <a:pt x="144" y="774"/>
                  </a:lnTo>
                  <a:lnTo>
                    <a:pt x="150" y="780"/>
                  </a:lnTo>
                  <a:lnTo>
                    <a:pt x="156" y="780"/>
                  </a:lnTo>
                  <a:lnTo>
                    <a:pt x="156" y="786"/>
                  </a:lnTo>
                  <a:lnTo>
                    <a:pt x="162" y="786"/>
                  </a:lnTo>
                  <a:lnTo>
                    <a:pt x="168" y="792"/>
                  </a:lnTo>
                  <a:lnTo>
                    <a:pt x="168" y="798"/>
                  </a:lnTo>
                  <a:lnTo>
                    <a:pt x="168" y="804"/>
                  </a:lnTo>
                  <a:lnTo>
                    <a:pt x="174" y="810"/>
                  </a:lnTo>
                  <a:lnTo>
                    <a:pt x="174" y="816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68" y="828"/>
                  </a:lnTo>
                  <a:lnTo>
                    <a:pt x="168" y="834"/>
                  </a:lnTo>
                  <a:lnTo>
                    <a:pt x="174" y="840"/>
                  </a:lnTo>
                  <a:lnTo>
                    <a:pt x="180" y="840"/>
                  </a:lnTo>
                  <a:lnTo>
                    <a:pt x="180" y="846"/>
                  </a:lnTo>
                  <a:lnTo>
                    <a:pt x="186" y="846"/>
                  </a:lnTo>
                  <a:lnTo>
                    <a:pt x="186" y="852"/>
                  </a:lnTo>
                  <a:lnTo>
                    <a:pt x="186" y="858"/>
                  </a:lnTo>
                  <a:lnTo>
                    <a:pt x="186" y="864"/>
                  </a:lnTo>
                  <a:lnTo>
                    <a:pt x="192" y="864"/>
                  </a:lnTo>
                  <a:lnTo>
                    <a:pt x="192" y="870"/>
                  </a:lnTo>
                  <a:lnTo>
                    <a:pt x="192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6" y="888"/>
                  </a:lnTo>
                  <a:lnTo>
                    <a:pt x="180" y="888"/>
                  </a:lnTo>
                  <a:lnTo>
                    <a:pt x="174" y="888"/>
                  </a:lnTo>
                  <a:lnTo>
                    <a:pt x="168" y="894"/>
                  </a:lnTo>
                  <a:lnTo>
                    <a:pt x="162" y="894"/>
                  </a:lnTo>
                  <a:lnTo>
                    <a:pt x="156" y="894"/>
                  </a:lnTo>
                  <a:lnTo>
                    <a:pt x="150" y="894"/>
                  </a:lnTo>
                  <a:lnTo>
                    <a:pt x="144" y="894"/>
                  </a:lnTo>
                  <a:lnTo>
                    <a:pt x="144" y="900"/>
                  </a:lnTo>
                  <a:lnTo>
                    <a:pt x="138" y="894"/>
                  </a:lnTo>
                  <a:lnTo>
                    <a:pt x="138" y="900"/>
                  </a:lnTo>
                  <a:lnTo>
                    <a:pt x="132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6" y="882"/>
                  </a:lnTo>
                  <a:lnTo>
                    <a:pt x="126" y="876"/>
                  </a:lnTo>
                  <a:lnTo>
                    <a:pt x="120" y="876"/>
                  </a:lnTo>
                  <a:lnTo>
                    <a:pt x="126" y="870"/>
                  </a:lnTo>
                  <a:lnTo>
                    <a:pt x="126" y="864"/>
                  </a:lnTo>
                  <a:lnTo>
                    <a:pt x="126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26" y="828"/>
                  </a:lnTo>
                  <a:lnTo>
                    <a:pt x="126" y="822"/>
                  </a:lnTo>
                  <a:lnTo>
                    <a:pt x="126" y="816"/>
                  </a:lnTo>
                  <a:lnTo>
                    <a:pt x="126" y="810"/>
                  </a:lnTo>
                  <a:lnTo>
                    <a:pt x="126" y="804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20" y="792"/>
                  </a:lnTo>
                  <a:lnTo>
                    <a:pt x="114" y="792"/>
                  </a:lnTo>
                  <a:lnTo>
                    <a:pt x="114" y="786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96" y="780"/>
                  </a:lnTo>
                  <a:lnTo>
                    <a:pt x="96" y="774"/>
                  </a:lnTo>
                  <a:lnTo>
                    <a:pt x="90" y="774"/>
                  </a:lnTo>
                  <a:lnTo>
                    <a:pt x="90" y="768"/>
                  </a:lnTo>
                  <a:close/>
                  <a:moveTo>
                    <a:pt x="96" y="780"/>
                  </a:moveTo>
                  <a:lnTo>
                    <a:pt x="102" y="780"/>
                  </a:lnTo>
                  <a:lnTo>
                    <a:pt x="102" y="786"/>
                  </a:lnTo>
                  <a:lnTo>
                    <a:pt x="108" y="786"/>
                  </a:lnTo>
                  <a:lnTo>
                    <a:pt x="114" y="792"/>
                  </a:lnTo>
                  <a:lnTo>
                    <a:pt x="120" y="798"/>
                  </a:lnTo>
                  <a:lnTo>
                    <a:pt x="120" y="804"/>
                  </a:lnTo>
                  <a:lnTo>
                    <a:pt x="126" y="810"/>
                  </a:lnTo>
                  <a:lnTo>
                    <a:pt x="126" y="816"/>
                  </a:lnTo>
                  <a:lnTo>
                    <a:pt x="126" y="822"/>
                  </a:lnTo>
                  <a:lnTo>
                    <a:pt x="120" y="828"/>
                  </a:lnTo>
                  <a:lnTo>
                    <a:pt x="120" y="840"/>
                  </a:lnTo>
                  <a:lnTo>
                    <a:pt x="120" y="852"/>
                  </a:lnTo>
                  <a:lnTo>
                    <a:pt x="120" y="858"/>
                  </a:lnTo>
                  <a:lnTo>
                    <a:pt x="120" y="864"/>
                  </a:lnTo>
                  <a:lnTo>
                    <a:pt x="120" y="870"/>
                  </a:lnTo>
                  <a:lnTo>
                    <a:pt x="114" y="870"/>
                  </a:lnTo>
                  <a:lnTo>
                    <a:pt x="108" y="870"/>
                  </a:lnTo>
                  <a:lnTo>
                    <a:pt x="108" y="876"/>
                  </a:lnTo>
                  <a:lnTo>
                    <a:pt x="114" y="876"/>
                  </a:lnTo>
                  <a:lnTo>
                    <a:pt x="120" y="876"/>
                  </a:lnTo>
                  <a:lnTo>
                    <a:pt x="120" y="882"/>
                  </a:lnTo>
                  <a:lnTo>
                    <a:pt x="114" y="888"/>
                  </a:lnTo>
                  <a:lnTo>
                    <a:pt x="120" y="888"/>
                  </a:lnTo>
                  <a:lnTo>
                    <a:pt x="120" y="894"/>
                  </a:lnTo>
                  <a:lnTo>
                    <a:pt x="114" y="894"/>
                  </a:lnTo>
                  <a:lnTo>
                    <a:pt x="108" y="894"/>
                  </a:lnTo>
                  <a:lnTo>
                    <a:pt x="96" y="894"/>
                  </a:lnTo>
                  <a:lnTo>
                    <a:pt x="96" y="882"/>
                  </a:lnTo>
                  <a:lnTo>
                    <a:pt x="96" y="876"/>
                  </a:lnTo>
                  <a:lnTo>
                    <a:pt x="84" y="870"/>
                  </a:lnTo>
                  <a:lnTo>
                    <a:pt x="72" y="864"/>
                  </a:lnTo>
                  <a:lnTo>
                    <a:pt x="72" y="852"/>
                  </a:lnTo>
                  <a:lnTo>
                    <a:pt x="72" y="840"/>
                  </a:lnTo>
                  <a:lnTo>
                    <a:pt x="78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90" y="792"/>
                  </a:lnTo>
                  <a:lnTo>
                    <a:pt x="96" y="780"/>
                  </a:lnTo>
                  <a:close/>
                  <a:moveTo>
                    <a:pt x="492" y="810"/>
                  </a:moveTo>
                  <a:lnTo>
                    <a:pt x="498" y="810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510" y="792"/>
                  </a:lnTo>
                  <a:lnTo>
                    <a:pt x="516" y="786"/>
                  </a:lnTo>
                  <a:lnTo>
                    <a:pt x="522" y="780"/>
                  </a:lnTo>
                  <a:lnTo>
                    <a:pt x="522" y="774"/>
                  </a:lnTo>
                  <a:lnTo>
                    <a:pt x="528" y="768"/>
                  </a:lnTo>
                  <a:lnTo>
                    <a:pt x="528" y="762"/>
                  </a:lnTo>
                  <a:lnTo>
                    <a:pt x="534" y="762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46" y="780"/>
                  </a:lnTo>
                  <a:lnTo>
                    <a:pt x="552" y="786"/>
                  </a:lnTo>
                  <a:lnTo>
                    <a:pt x="558" y="786"/>
                  </a:lnTo>
                  <a:lnTo>
                    <a:pt x="564" y="786"/>
                  </a:lnTo>
                  <a:lnTo>
                    <a:pt x="576" y="786"/>
                  </a:lnTo>
                  <a:lnTo>
                    <a:pt x="582" y="786"/>
                  </a:lnTo>
                  <a:lnTo>
                    <a:pt x="588" y="786"/>
                  </a:lnTo>
                  <a:lnTo>
                    <a:pt x="594" y="786"/>
                  </a:lnTo>
                  <a:lnTo>
                    <a:pt x="588" y="792"/>
                  </a:lnTo>
                  <a:lnTo>
                    <a:pt x="588" y="798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82" y="822"/>
                  </a:lnTo>
                  <a:lnTo>
                    <a:pt x="588" y="828"/>
                  </a:lnTo>
                  <a:lnTo>
                    <a:pt x="588" y="834"/>
                  </a:lnTo>
                  <a:lnTo>
                    <a:pt x="582" y="840"/>
                  </a:lnTo>
                  <a:lnTo>
                    <a:pt x="570" y="840"/>
                  </a:lnTo>
                  <a:lnTo>
                    <a:pt x="558" y="846"/>
                  </a:lnTo>
                  <a:lnTo>
                    <a:pt x="552" y="846"/>
                  </a:lnTo>
                  <a:lnTo>
                    <a:pt x="534" y="852"/>
                  </a:lnTo>
                  <a:lnTo>
                    <a:pt x="522" y="858"/>
                  </a:lnTo>
                  <a:lnTo>
                    <a:pt x="510" y="858"/>
                  </a:lnTo>
                  <a:lnTo>
                    <a:pt x="498" y="864"/>
                  </a:lnTo>
                  <a:lnTo>
                    <a:pt x="474" y="864"/>
                  </a:lnTo>
                  <a:lnTo>
                    <a:pt x="468" y="858"/>
                  </a:lnTo>
                  <a:lnTo>
                    <a:pt x="468" y="852"/>
                  </a:lnTo>
                  <a:lnTo>
                    <a:pt x="468" y="846"/>
                  </a:lnTo>
                  <a:lnTo>
                    <a:pt x="474" y="840"/>
                  </a:lnTo>
                  <a:lnTo>
                    <a:pt x="474" y="834"/>
                  </a:lnTo>
                  <a:lnTo>
                    <a:pt x="480" y="828"/>
                  </a:lnTo>
                  <a:lnTo>
                    <a:pt x="492" y="822"/>
                  </a:lnTo>
                  <a:lnTo>
                    <a:pt x="492" y="810"/>
                  </a:lnTo>
                  <a:close/>
                  <a:moveTo>
                    <a:pt x="384" y="720"/>
                  </a:moveTo>
                  <a:lnTo>
                    <a:pt x="384" y="726"/>
                  </a:lnTo>
                  <a:lnTo>
                    <a:pt x="390" y="726"/>
                  </a:lnTo>
                  <a:lnTo>
                    <a:pt x="396" y="726"/>
                  </a:lnTo>
                  <a:lnTo>
                    <a:pt x="402" y="732"/>
                  </a:lnTo>
                  <a:lnTo>
                    <a:pt x="408" y="732"/>
                  </a:lnTo>
                  <a:lnTo>
                    <a:pt x="414" y="732"/>
                  </a:lnTo>
                  <a:lnTo>
                    <a:pt x="414" y="738"/>
                  </a:lnTo>
                  <a:lnTo>
                    <a:pt x="414" y="744"/>
                  </a:lnTo>
                  <a:lnTo>
                    <a:pt x="414" y="750"/>
                  </a:lnTo>
                  <a:lnTo>
                    <a:pt x="414" y="756"/>
                  </a:lnTo>
                  <a:lnTo>
                    <a:pt x="414" y="762"/>
                  </a:lnTo>
                  <a:lnTo>
                    <a:pt x="420" y="768"/>
                  </a:lnTo>
                  <a:lnTo>
                    <a:pt x="420" y="774"/>
                  </a:lnTo>
                  <a:lnTo>
                    <a:pt x="426" y="780"/>
                  </a:lnTo>
                  <a:lnTo>
                    <a:pt x="426" y="786"/>
                  </a:lnTo>
                  <a:lnTo>
                    <a:pt x="420" y="786"/>
                  </a:lnTo>
                  <a:lnTo>
                    <a:pt x="420" y="792"/>
                  </a:lnTo>
                  <a:lnTo>
                    <a:pt x="420" y="798"/>
                  </a:lnTo>
                  <a:lnTo>
                    <a:pt x="420" y="804"/>
                  </a:lnTo>
                  <a:lnTo>
                    <a:pt x="426" y="804"/>
                  </a:lnTo>
                  <a:lnTo>
                    <a:pt x="426" y="810"/>
                  </a:lnTo>
                  <a:lnTo>
                    <a:pt x="426" y="816"/>
                  </a:lnTo>
                  <a:lnTo>
                    <a:pt x="432" y="816"/>
                  </a:lnTo>
                  <a:lnTo>
                    <a:pt x="438" y="816"/>
                  </a:lnTo>
                  <a:lnTo>
                    <a:pt x="438" y="822"/>
                  </a:lnTo>
                  <a:lnTo>
                    <a:pt x="432" y="822"/>
                  </a:lnTo>
                  <a:lnTo>
                    <a:pt x="426" y="828"/>
                  </a:lnTo>
                  <a:lnTo>
                    <a:pt x="420" y="828"/>
                  </a:lnTo>
                  <a:lnTo>
                    <a:pt x="414" y="828"/>
                  </a:lnTo>
                  <a:lnTo>
                    <a:pt x="408" y="828"/>
                  </a:lnTo>
                  <a:lnTo>
                    <a:pt x="402" y="828"/>
                  </a:lnTo>
                  <a:lnTo>
                    <a:pt x="402" y="822"/>
                  </a:lnTo>
                  <a:lnTo>
                    <a:pt x="396" y="822"/>
                  </a:lnTo>
                  <a:lnTo>
                    <a:pt x="402" y="822"/>
                  </a:lnTo>
                  <a:lnTo>
                    <a:pt x="402" y="816"/>
                  </a:lnTo>
                  <a:lnTo>
                    <a:pt x="396" y="816"/>
                  </a:lnTo>
                  <a:lnTo>
                    <a:pt x="396" y="810"/>
                  </a:lnTo>
                  <a:lnTo>
                    <a:pt x="396" y="804"/>
                  </a:lnTo>
                  <a:lnTo>
                    <a:pt x="390" y="798"/>
                  </a:lnTo>
                  <a:lnTo>
                    <a:pt x="390" y="792"/>
                  </a:lnTo>
                  <a:lnTo>
                    <a:pt x="390" y="786"/>
                  </a:lnTo>
                  <a:lnTo>
                    <a:pt x="390" y="780"/>
                  </a:lnTo>
                  <a:lnTo>
                    <a:pt x="390" y="774"/>
                  </a:lnTo>
                  <a:lnTo>
                    <a:pt x="390" y="768"/>
                  </a:lnTo>
                  <a:lnTo>
                    <a:pt x="390" y="762"/>
                  </a:lnTo>
                  <a:lnTo>
                    <a:pt x="384" y="756"/>
                  </a:lnTo>
                  <a:lnTo>
                    <a:pt x="384" y="750"/>
                  </a:lnTo>
                  <a:lnTo>
                    <a:pt x="384" y="744"/>
                  </a:lnTo>
                  <a:lnTo>
                    <a:pt x="378" y="744"/>
                  </a:lnTo>
                  <a:lnTo>
                    <a:pt x="384" y="744"/>
                  </a:lnTo>
                  <a:lnTo>
                    <a:pt x="384" y="738"/>
                  </a:lnTo>
                  <a:lnTo>
                    <a:pt x="378" y="738"/>
                  </a:lnTo>
                  <a:lnTo>
                    <a:pt x="378" y="732"/>
                  </a:lnTo>
                  <a:lnTo>
                    <a:pt x="378" y="726"/>
                  </a:lnTo>
                  <a:lnTo>
                    <a:pt x="378" y="720"/>
                  </a:lnTo>
                  <a:lnTo>
                    <a:pt x="384" y="720"/>
                  </a:lnTo>
                  <a:close/>
                  <a:moveTo>
                    <a:pt x="330" y="738"/>
                  </a:moveTo>
                  <a:lnTo>
                    <a:pt x="336" y="732"/>
                  </a:lnTo>
                  <a:lnTo>
                    <a:pt x="336" y="726"/>
                  </a:lnTo>
                  <a:lnTo>
                    <a:pt x="342" y="720"/>
                  </a:lnTo>
                  <a:lnTo>
                    <a:pt x="348" y="720"/>
                  </a:lnTo>
                  <a:lnTo>
                    <a:pt x="360" y="720"/>
                  </a:lnTo>
                  <a:lnTo>
                    <a:pt x="366" y="726"/>
                  </a:lnTo>
                  <a:lnTo>
                    <a:pt x="372" y="732"/>
                  </a:lnTo>
                  <a:lnTo>
                    <a:pt x="372" y="738"/>
                  </a:lnTo>
                  <a:lnTo>
                    <a:pt x="366" y="750"/>
                  </a:lnTo>
                  <a:lnTo>
                    <a:pt x="372" y="756"/>
                  </a:lnTo>
                  <a:lnTo>
                    <a:pt x="372" y="762"/>
                  </a:lnTo>
                  <a:lnTo>
                    <a:pt x="372" y="768"/>
                  </a:lnTo>
                  <a:lnTo>
                    <a:pt x="372" y="774"/>
                  </a:lnTo>
                  <a:lnTo>
                    <a:pt x="372" y="780"/>
                  </a:lnTo>
                  <a:lnTo>
                    <a:pt x="372" y="774"/>
                  </a:lnTo>
                  <a:lnTo>
                    <a:pt x="366" y="768"/>
                  </a:lnTo>
                  <a:lnTo>
                    <a:pt x="366" y="762"/>
                  </a:lnTo>
                  <a:lnTo>
                    <a:pt x="366" y="756"/>
                  </a:lnTo>
                  <a:lnTo>
                    <a:pt x="360" y="756"/>
                  </a:lnTo>
                  <a:lnTo>
                    <a:pt x="360" y="750"/>
                  </a:lnTo>
                  <a:lnTo>
                    <a:pt x="354" y="750"/>
                  </a:lnTo>
                  <a:lnTo>
                    <a:pt x="348" y="744"/>
                  </a:lnTo>
                  <a:lnTo>
                    <a:pt x="342" y="744"/>
                  </a:lnTo>
                  <a:lnTo>
                    <a:pt x="336" y="744"/>
                  </a:lnTo>
                  <a:lnTo>
                    <a:pt x="330" y="73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1" name="Freeform 6">
              <a:extLst>
                <a:ext uri="{FF2B5EF4-FFF2-40B4-BE49-F238E27FC236}">
                  <a16:creationId xmlns:a16="http://schemas.microsoft.com/office/drawing/2014/main" id="{0656C385-F30A-4AC8-AE9F-B1F66208B38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3123" y="4163918"/>
              <a:ext cx="266107" cy="248252"/>
            </a:xfrm>
            <a:custGeom>
              <a:avLst/>
              <a:gdLst>
                <a:gd name="T0" fmla="*/ 33 w 504"/>
                <a:gd name="T1" fmla="*/ 41 h 468"/>
                <a:gd name="T2" fmla="*/ 26 w 504"/>
                <a:gd name="T3" fmla="*/ 39 h 468"/>
                <a:gd name="T4" fmla="*/ 21 w 504"/>
                <a:gd name="T5" fmla="*/ 38 h 468"/>
                <a:gd name="T6" fmla="*/ 18 w 504"/>
                <a:gd name="T7" fmla="*/ 38 h 468"/>
                <a:gd name="T8" fmla="*/ 15 w 504"/>
                <a:gd name="T9" fmla="*/ 39 h 468"/>
                <a:gd name="T10" fmla="*/ 12 w 504"/>
                <a:gd name="T11" fmla="*/ 38 h 468"/>
                <a:gd name="T12" fmla="*/ 9 w 504"/>
                <a:gd name="T13" fmla="*/ 37 h 468"/>
                <a:gd name="T14" fmla="*/ 7 w 504"/>
                <a:gd name="T15" fmla="*/ 32 h 468"/>
                <a:gd name="T16" fmla="*/ 6 w 504"/>
                <a:gd name="T17" fmla="*/ 26 h 468"/>
                <a:gd name="T18" fmla="*/ 3 w 504"/>
                <a:gd name="T19" fmla="*/ 24 h 468"/>
                <a:gd name="T20" fmla="*/ 1 w 504"/>
                <a:gd name="T21" fmla="*/ 24 h 468"/>
                <a:gd name="T22" fmla="*/ 2 w 504"/>
                <a:gd name="T23" fmla="*/ 18 h 468"/>
                <a:gd name="T24" fmla="*/ 1 w 504"/>
                <a:gd name="T25" fmla="*/ 17 h 468"/>
                <a:gd name="T26" fmla="*/ 0 w 504"/>
                <a:gd name="T27" fmla="*/ 17 h 468"/>
                <a:gd name="T28" fmla="*/ 0 w 504"/>
                <a:gd name="T29" fmla="*/ 15 h 468"/>
                <a:gd name="T30" fmla="*/ 2 w 504"/>
                <a:gd name="T31" fmla="*/ 12 h 468"/>
                <a:gd name="T32" fmla="*/ 4 w 504"/>
                <a:gd name="T33" fmla="*/ 10 h 468"/>
                <a:gd name="T34" fmla="*/ 6 w 504"/>
                <a:gd name="T35" fmla="*/ 8 h 468"/>
                <a:gd name="T36" fmla="*/ 8 w 504"/>
                <a:gd name="T37" fmla="*/ 8 h 468"/>
                <a:gd name="T38" fmla="*/ 10 w 504"/>
                <a:gd name="T39" fmla="*/ 9 h 468"/>
                <a:gd name="T40" fmla="*/ 12 w 504"/>
                <a:gd name="T41" fmla="*/ 10 h 468"/>
                <a:gd name="T42" fmla="*/ 12 w 504"/>
                <a:gd name="T43" fmla="*/ 11 h 468"/>
                <a:gd name="T44" fmla="*/ 14 w 504"/>
                <a:gd name="T45" fmla="*/ 8 h 468"/>
                <a:gd name="T46" fmla="*/ 15 w 504"/>
                <a:gd name="T47" fmla="*/ 7 h 468"/>
                <a:gd name="T48" fmla="*/ 17 w 504"/>
                <a:gd name="T49" fmla="*/ 6 h 468"/>
                <a:gd name="T50" fmla="*/ 19 w 504"/>
                <a:gd name="T51" fmla="*/ 3 h 468"/>
                <a:gd name="T52" fmla="*/ 20 w 504"/>
                <a:gd name="T53" fmla="*/ 2 h 468"/>
                <a:gd name="T54" fmla="*/ 22 w 504"/>
                <a:gd name="T55" fmla="*/ 1 h 468"/>
                <a:gd name="T56" fmla="*/ 27 w 504"/>
                <a:gd name="T57" fmla="*/ 1 h 468"/>
                <a:gd name="T58" fmla="*/ 30 w 504"/>
                <a:gd name="T59" fmla="*/ 2 h 468"/>
                <a:gd name="T60" fmla="*/ 31 w 504"/>
                <a:gd name="T61" fmla="*/ 2 h 468"/>
                <a:gd name="T62" fmla="*/ 34 w 504"/>
                <a:gd name="T63" fmla="*/ 0 h 468"/>
                <a:gd name="T64" fmla="*/ 37 w 504"/>
                <a:gd name="T65" fmla="*/ 1 h 468"/>
                <a:gd name="T66" fmla="*/ 41 w 504"/>
                <a:gd name="T67" fmla="*/ 2 h 468"/>
                <a:gd name="T68" fmla="*/ 42 w 504"/>
                <a:gd name="T69" fmla="*/ 4 h 468"/>
                <a:gd name="T70" fmla="*/ 42 w 504"/>
                <a:gd name="T71" fmla="*/ 10 h 468"/>
                <a:gd name="T72" fmla="*/ 41 w 504"/>
                <a:gd name="T73" fmla="*/ 14 h 468"/>
                <a:gd name="T74" fmla="*/ 42 w 504"/>
                <a:gd name="T75" fmla="*/ 15 h 468"/>
                <a:gd name="T76" fmla="*/ 44 w 504"/>
                <a:gd name="T77" fmla="*/ 18 h 468"/>
                <a:gd name="T78" fmla="*/ 43 w 504"/>
                <a:gd name="T79" fmla="*/ 19 h 468"/>
                <a:gd name="T80" fmla="*/ 42 w 504"/>
                <a:gd name="T81" fmla="*/ 21 h 468"/>
                <a:gd name="T82" fmla="*/ 42 w 504"/>
                <a:gd name="T83" fmla="*/ 23 h 468"/>
                <a:gd name="T84" fmla="*/ 39 w 504"/>
                <a:gd name="T85" fmla="*/ 27 h 468"/>
                <a:gd name="T86" fmla="*/ 38 w 504"/>
                <a:gd name="T87" fmla="*/ 29 h 468"/>
                <a:gd name="T88" fmla="*/ 38 w 504"/>
                <a:gd name="T89" fmla="*/ 31 h 468"/>
                <a:gd name="T90" fmla="*/ 36 w 504"/>
                <a:gd name="T91" fmla="*/ 32 h 468"/>
                <a:gd name="T92" fmla="*/ 35 w 504"/>
                <a:gd name="T93" fmla="*/ 34 h 468"/>
                <a:gd name="T94" fmla="*/ 34 w 504"/>
                <a:gd name="T95" fmla="*/ 38 h 46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04"/>
                <a:gd name="T145" fmla="*/ 0 h 468"/>
                <a:gd name="T146" fmla="*/ 504 w 504"/>
                <a:gd name="T147" fmla="*/ 468 h 46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04" h="468">
                  <a:moveTo>
                    <a:pt x="390" y="456"/>
                  </a:moveTo>
                  <a:lnTo>
                    <a:pt x="384" y="468"/>
                  </a:lnTo>
                  <a:lnTo>
                    <a:pt x="378" y="468"/>
                  </a:lnTo>
                  <a:lnTo>
                    <a:pt x="354" y="468"/>
                  </a:lnTo>
                  <a:lnTo>
                    <a:pt x="348" y="462"/>
                  </a:lnTo>
                  <a:lnTo>
                    <a:pt x="300" y="456"/>
                  </a:lnTo>
                  <a:lnTo>
                    <a:pt x="270" y="444"/>
                  </a:lnTo>
                  <a:lnTo>
                    <a:pt x="252" y="438"/>
                  </a:lnTo>
                  <a:lnTo>
                    <a:pt x="240" y="438"/>
                  </a:lnTo>
                  <a:lnTo>
                    <a:pt x="234" y="438"/>
                  </a:lnTo>
                  <a:lnTo>
                    <a:pt x="228" y="444"/>
                  </a:lnTo>
                  <a:lnTo>
                    <a:pt x="210" y="444"/>
                  </a:lnTo>
                  <a:lnTo>
                    <a:pt x="198" y="444"/>
                  </a:lnTo>
                  <a:lnTo>
                    <a:pt x="198" y="450"/>
                  </a:lnTo>
                  <a:lnTo>
                    <a:pt x="168" y="456"/>
                  </a:lnTo>
                  <a:lnTo>
                    <a:pt x="150" y="450"/>
                  </a:lnTo>
                  <a:lnTo>
                    <a:pt x="144" y="444"/>
                  </a:lnTo>
                  <a:lnTo>
                    <a:pt x="132" y="438"/>
                  </a:lnTo>
                  <a:lnTo>
                    <a:pt x="138" y="432"/>
                  </a:lnTo>
                  <a:lnTo>
                    <a:pt x="114" y="432"/>
                  </a:lnTo>
                  <a:lnTo>
                    <a:pt x="102" y="426"/>
                  </a:lnTo>
                  <a:lnTo>
                    <a:pt x="90" y="414"/>
                  </a:lnTo>
                  <a:lnTo>
                    <a:pt x="72" y="402"/>
                  </a:lnTo>
                  <a:lnTo>
                    <a:pt x="78" y="366"/>
                  </a:lnTo>
                  <a:lnTo>
                    <a:pt x="78" y="330"/>
                  </a:lnTo>
                  <a:lnTo>
                    <a:pt x="66" y="318"/>
                  </a:lnTo>
                  <a:lnTo>
                    <a:pt x="66" y="300"/>
                  </a:lnTo>
                  <a:lnTo>
                    <a:pt x="66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30" y="282"/>
                  </a:lnTo>
                  <a:lnTo>
                    <a:pt x="24" y="282"/>
                  </a:lnTo>
                  <a:lnTo>
                    <a:pt x="12" y="276"/>
                  </a:lnTo>
                  <a:lnTo>
                    <a:pt x="0" y="282"/>
                  </a:lnTo>
                  <a:lnTo>
                    <a:pt x="12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2" y="198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6" y="180"/>
                  </a:lnTo>
                  <a:lnTo>
                    <a:pt x="12" y="186"/>
                  </a:lnTo>
                  <a:lnTo>
                    <a:pt x="18" y="138"/>
                  </a:lnTo>
                  <a:lnTo>
                    <a:pt x="24" y="126"/>
                  </a:lnTo>
                  <a:lnTo>
                    <a:pt x="30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20" y="102"/>
                  </a:lnTo>
                  <a:lnTo>
                    <a:pt x="126" y="108"/>
                  </a:lnTo>
                  <a:lnTo>
                    <a:pt x="126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0"/>
                  </a:lnTo>
                  <a:lnTo>
                    <a:pt x="156" y="96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16" y="42"/>
                  </a:lnTo>
                  <a:lnTo>
                    <a:pt x="222" y="36"/>
                  </a:lnTo>
                  <a:lnTo>
                    <a:pt x="228" y="36"/>
                  </a:lnTo>
                  <a:lnTo>
                    <a:pt x="228" y="30"/>
                  </a:lnTo>
                  <a:lnTo>
                    <a:pt x="228" y="24"/>
                  </a:lnTo>
                  <a:lnTo>
                    <a:pt x="246" y="18"/>
                  </a:lnTo>
                  <a:lnTo>
                    <a:pt x="252" y="18"/>
                  </a:lnTo>
                  <a:lnTo>
                    <a:pt x="258" y="12"/>
                  </a:lnTo>
                  <a:lnTo>
                    <a:pt x="270" y="6"/>
                  </a:lnTo>
                  <a:lnTo>
                    <a:pt x="288" y="6"/>
                  </a:lnTo>
                  <a:lnTo>
                    <a:pt x="312" y="12"/>
                  </a:lnTo>
                  <a:lnTo>
                    <a:pt x="324" y="12"/>
                  </a:lnTo>
                  <a:lnTo>
                    <a:pt x="336" y="18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14" y="12"/>
                  </a:lnTo>
                  <a:lnTo>
                    <a:pt x="426" y="12"/>
                  </a:lnTo>
                  <a:lnTo>
                    <a:pt x="444" y="18"/>
                  </a:lnTo>
                  <a:lnTo>
                    <a:pt x="462" y="18"/>
                  </a:lnTo>
                  <a:lnTo>
                    <a:pt x="474" y="18"/>
                  </a:lnTo>
                  <a:lnTo>
                    <a:pt x="480" y="18"/>
                  </a:lnTo>
                  <a:lnTo>
                    <a:pt x="486" y="36"/>
                  </a:lnTo>
                  <a:lnTo>
                    <a:pt x="480" y="42"/>
                  </a:lnTo>
                  <a:lnTo>
                    <a:pt x="480" y="54"/>
                  </a:lnTo>
                  <a:lnTo>
                    <a:pt x="486" y="78"/>
                  </a:lnTo>
                  <a:lnTo>
                    <a:pt x="486" y="114"/>
                  </a:lnTo>
                  <a:lnTo>
                    <a:pt x="486" y="150"/>
                  </a:lnTo>
                  <a:lnTo>
                    <a:pt x="468" y="150"/>
                  </a:lnTo>
                  <a:lnTo>
                    <a:pt x="474" y="162"/>
                  </a:lnTo>
                  <a:lnTo>
                    <a:pt x="480" y="162"/>
                  </a:lnTo>
                  <a:lnTo>
                    <a:pt x="486" y="174"/>
                  </a:lnTo>
                  <a:lnTo>
                    <a:pt x="492" y="174"/>
                  </a:lnTo>
                  <a:lnTo>
                    <a:pt x="492" y="192"/>
                  </a:lnTo>
                  <a:lnTo>
                    <a:pt x="498" y="198"/>
                  </a:lnTo>
                  <a:lnTo>
                    <a:pt x="504" y="204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8" y="222"/>
                  </a:lnTo>
                  <a:lnTo>
                    <a:pt x="492" y="228"/>
                  </a:lnTo>
                  <a:lnTo>
                    <a:pt x="492" y="234"/>
                  </a:lnTo>
                  <a:lnTo>
                    <a:pt x="492" y="240"/>
                  </a:lnTo>
                  <a:lnTo>
                    <a:pt x="486" y="246"/>
                  </a:lnTo>
                  <a:lnTo>
                    <a:pt x="486" y="258"/>
                  </a:lnTo>
                  <a:lnTo>
                    <a:pt x="480" y="264"/>
                  </a:lnTo>
                  <a:lnTo>
                    <a:pt x="474" y="276"/>
                  </a:lnTo>
                  <a:lnTo>
                    <a:pt x="468" y="288"/>
                  </a:lnTo>
                  <a:lnTo>
                    <a:pt x="456" y="306"/>
                  </a:lnTo>
                  <a:lnTo>
                    <a:pt x="456" y="312"/>
                  </a:lnTo>
                  <a:lnTo>
                    <a:pt x="444" y="318"/>
                  </a:lnTo>
                  <a:lnTo>
                    <a:pt x="432" y="336"/>
                  </a:lnTo>
                  <a:lnTo>
                    <a:pt x="432" y="342"/>
                  </a:lnTo>
                  <a:lnTo>
                    <a:pt x="432" y="348"/>
                  </a:lnTo>
                  <a:lnTo>
                    <a:pt x="432" y="354"/>
                  </a:lnTo>
                  <a:lnTo>
                    <a:pt x="426" y="366"/>
                  </a:lnTo>
                  <a:lnTo>
                    <a:pt x="420" y="366"/>
                  </a:lnTo>
                  <a:lnTo>
                    <a:pt x="420" y="372"/>
                  </a:lnTo>
                  <a:lnTo>
                    <a:pt x="414" y="378"/>
                  </a:lnTo>
                  <a:lnTo>
                    <a:pt x="414" y="390"/>
                  </a:lnTo>
                  <a:lnTo>
                    <a:pt x="408" y="390"/>
                  </a:lnTo>
                  <a:lnTo>
                    <a:pt x="408" y="402"/>
                  </a:lnTo>
                  <a:lnTo>
                    <a:pt x="402" y="414"/>
                  </a:lnTo>
                  <a:lnTo>
                    <a:pt x="396" y="438"/>
                  </a:lnTo>
                  <a:lnTo>
                    <a:pt x="396" y="444"/>
                  </a:lnTo>
                  <a:lnTo>
                    <a:pt x="390" y="456"/>
                  </a:lnTo>
                  <a:close/>
                </a:path>
              </a:pathLst>
            </a:custGeom>
            <a:solidFill>
              <a:srgbClr val="BFBFBF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11" name="Freeform 7">
              <a:extLst>
                <a:ext uri="{FF2B5EF4-FFF2-40B4-BE49-F238E27FC236}">
                  <a16:creationId xmlns:a16="http://schemas.microsoft.com/office/drawing/2014/main" id="{0D8DE62D-4554-4314-9F3A-7208D89B4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90838" y="4128134"/>
              <a:ext cx="283995" cy="411516"/>
            </a:xfrm>
            <a:custGeom>
              <a:avLst/>
              <a:gdLst>
                <a:gd name="T0" fmla="*/ 39 w 534"/>
                <a:gd name="T1" fmla="*/ 35 h 774"/>
                <a:gd name="T2" fmla="*/ 35 w 534"/>
                <a:gd name="T3" fmla="*/ 31 h 774"/>
                <a:gd name="T4" fmla="*/ 32 w 534"/>
                <a:gd name="T5" fmla="*/ 29 h 774"/>
                <a:gd name="T6" fmla="*/ 32 w 534"/>
                <a:gd name="T7" fmla="*/ 31 h 774"/>
                <a:gd name="T8" fmla="*/ 29 w 534"/>
                <a:gd name="T9" fmla="*/ 33 h 774"/>
                <a:gd name="T10" fmla="*/ 27 w 534"/>
                <a:gd name="T11" fmla="*/ 36 h 774"/>
                <a:gd name="T12" fmla="*/ 30 w 534"/>
                <a:gd name="T13" fmla="*/ 38 h 774"/>
                <a:gd name="T14" fmla="*/ 29 w 534"/>
                <a:gd name="T15" fmla="*/ 40 h 774"/>
                <a:gd name="T16" fmla="*/ 25 w 534"/>
                <a:gd name="T17" fmla="*/ 40 h 774"/>
                <a:gd name="T18" fmla="*/ 23 w 534"/>
                <a:gd name="T19" fmla="*/ 42 h 774"/>
                <a:gd name="T20" fmla="*/ 22 w 534"/>
                <a:gd name="T21" fmla="*/ 47 h 774"/>
                <a:gd name="T22" fmla="*/ 22 w 534"/>
                <a:gd name="T23" fmla="*/ 51 h 774"/>
                <a:gd name="T24" fmla="*/ 22 w 534"/>
                <a:gd name="T25" fmla="*/ 54 h 774"/>
                <a:gd name="T26" fmla="*/ 21 w 534"/>
                <a:gd name="T27" fmla="*/ 56 h 774"/>
                <a:gd name="T28" fmla="*/ 19 w 534"/>
                <a:gd name="T29" fmla="*/ 58 h 774"/>
                <a:gd name="T30" fmla="*/ 20 w 534"/>
                <a:gd name="T31" fmla="*/ 59 h 774"/>
                <a:gd name="T32" fmla="*/ 19 w 534"/>
                <a:gd name="T33" fmla="*/ 62 h 774"/>
                <a:gd name="T34" fmla="*/ 19 w 534"/>
                <a:gd name="T35" fmla="*/ 64 h 774"/>
                <a:gd name="T36" fmla="*/ 20 w 534"/>
                <a:gd name="T37" fmla="*/ 66 h 774"/>
                <a:gd name="T38" fmla="*/ 17 w 534"/>
                <a:gd name="T39" fmla="*/ 66 h 774"/>
                <a:gd name="T40" fmla="*/ 16 w 534"/>
                <a:gd name="T41" fmla="*/ 65 h 774"/>
                <a:gd name="T42" fmla="*/ 13 w 534"/>
                <a:gd name="T43" fmla="*/ 65 h 774"/>
                <a:gd name="T44" fmla="*/ 11 w 534"/>
                <a:gd name="T45" fmla="*/ 65 h 774"/>
                <a:gd name="T46" fmla="*/ 8 w 534"/>
                <a:gd name="T47" fmla="*/ 65 h 774"/>
                <a:gd name="T48" fmla="*/ 8 w 534"/>
                <a:gd name="T49" fmla="*/ 64 h 774"/>
                <a:gd name="T50" fmla="*/ 5 w 534"/>
                <a:gd name="T51" fmla="*/ 65 h 774"/>
                <a:gd name="T52" fmla="*/ 3 w 534"/>
                <a:gd name="T53" fmla="*/ 65 h 774"/>
                <a:gd name="T54" fmla="*/ 0 w 534"/>
                <a:gd name="T55" fmla="*/ 64 h 774"/>
                <a:gd name="T56" fmla="*/ 0 w 534"/>
                <a:gd name="T57" fmla="*/ 62 h 774"/>
                <a:gd name="T58" fmla="*/ 3 w 534"/>
                <a:gd name="T59" fmla="*/ 60 h 774"/>
                <a:gd name="T60" fmla="*/ 6 w 534"/>
                <a:gd name="T61" fmla="*/ 57 h 774"/>
                <a:gd name="T62" fmla="*/ 8 w 534"/>
                <a:gd name="T63" fmla="*/ 50 h 774"/>
                <a:gd name="T64" fmla="*/ 6 w 534"/>
                <a:gd name="T65" fmla="*/ 45 h 774"/>
                <a:gd name="T66" fmla="*/ 8 w 534"/>
                <a:gd name="T67" fmla="*/ 41 h 774"/>
                <a:gd name="T68" fmla="*/ 9 w 534"/>
                <a:gd name="T69" fmla="*/ 38 h 774"/>
                <a:gd name="T70" fmla="*/ 10 w 534"/>
                <a:gd name="T71" fmla="*/ 36 h 774"/>
                <a:gd name="T72" fmla="*/ 12 w 534"/>
                <a:gd name="T73" fmla="*/ 33 h 774"/>
                <a:gd name="T74" fmla="*/ 14 w 534"/>
                <a:gd name="T75" fmla="*/ 29 h 774"/>
                <a:gd name="T76" fmla="*/ 16 w 534"/>
                <a:gd name="T77" fmla="*/ 26 h 774"/>
                <a:gd name="T78" fmla="*/ 16 w 534"/>
                <a:gd name="T79" fmla="*/ 24 h 774"/>
                <a:gd name="T80" fmla="*/ 16 w 534"/>
                <a:gd name="T81" fmla="*/ 21 h 774"/>
                <a:gd name="T82" fmla="*/ 13 w 534"/>
                <a:gd name="T83" fmla="*/ 19 h 774"/>
                <a:gd name="T84" fmla="*/ 14 w 534"/>
                <a:gd name="T85" fmla="*/ 10 h 774"/>
                <a:gd name="T86" fmla="*/ 14 w 534"/>
                <a:gd name="T87" fmla="*/ 7 h 774"/>
                <a:gd name="T88" fmla="*/ 8 w 534"/>
                <a:gd name="T89" fmla="*/ 7 h 774"/>
                <a:gd name="T90" fmla="*/ 7 w 534"/>
                <a:gd name="T91" fmla="*/ 3 h 774"/>
                <a:gd name="T92" fmla="*/ 11 w 534"/>
                <a:gd name="T93" fmla="*/ 1 h 774"/>
                <a:gd name="T94" fmla="*/ 12 w 534"/>
                <a:gd name="T95" fmla="*/ 0 h 774"/>
                <a:gd name="T96" fmla="*/ 16 w 534"/>
                <a:gd name="T97" fmla="*/ 2 h 774"/>
                <a:gd name="T98" fmla="*/ 20 w 534"/>
                <a:gd name="T99" fmla="*/ 2 h 774"/>
                <a:gd name="T100" fmla="*/ 23 w 534"/>
                <a:gd name="T101" fmla="*/ 3 h 774"/>
                <a:gd name="T102" fmla="*/ 23 w 534"/>
                <a:gd name="T103" fmla="*/ 10 h 774"/>
                <a:gd name="T104" fmla="*/ 29 w 534"/>
                <a:gd name="T105" fmla="*/ 12 h 774"/>
                <a:gd name="T106" fmla="*/ 35 w 534"/>
                <a:gd name="T107" fmla="*/ 12 h 774"/>
                <a:gd name="T108" fmla="*/ 38 w 534"/>
                <a:gd name="T109" fmla="*/ 17 h 774"/>
                <a:gd name="T110" fmla="*/ 40 w 534"/>
                <a:gd name="T111" fmla="*/ 19 h 774"/>
                <a:gd name="T112" fmla="*/ 44 w 534"/>
                <a:gd name="T113" fmla="*/ 23 h 774"/>
                <a:gd name="T114" fmla="*/ 44 w 534"/>
                <a:gd name="T115" fmla="*/ 30 h 774"/>
                <a:gd name="T116" fmla="*/ 46 w 534"/>
                <a:gd name="T117" fmla="*/ 36 h 774"/>
                <a:gd name="T118" fmla="*/ 41 w 534"/>
                <a:gd name="T119" fmla="*/ 37 h 77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34"/>
                <a:gd name="T181" fmla="*/ 0 h 774"/>
                <a:gd name="T182" fmla="*/ 534 w 534"/>
                <a:gd name="T183" fmla="*/ 774 h 77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34" h="774">
                  <a:moveTo>
                    <a:pt x="462" y="426"/>
                  </a:moveTo>
                  <a:lnTo>
                    <a:pt x="462" y="414"/>
                  </a:lnTo>
                  <a:lnTo>
                    <a:pt x="450" y="402"/>
                  </a:lnTo>
                  <a:lnTo>
                    <a:pt x="444" y="396"/>
                  </a:lnTo>
                  <a:lnTo>
                    <a:pt x="420" y="396"/>
                  </a:lnTo>
                  <a:lnTo>
                    <a:pt x="408" y="390"/>
                  </a:lnTo>
                  <a:lnTo>
                    <a:pt x="402" y="366"/>
                  </a:lnTo>
                  <a:lnTo>
                    <a:pt x="390" y="354"/>
                  </a:lnTo>
                  <a:lnTo>
                    <a:pt x="384" y="336"/>
                  </a:lnTo>
                  <a:lnTo>
                    <a:pt x="378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8" y="348"/>
                  </a:lnTo>
                  <a:lnTo>
                    <a:pt x="360" y="354"/>
                  </a:lnTo>
                  <a:lnTo>
                    <a:pt x="360" y="390"/>
                  </a:lnTo>
                  <a:lnTo>
                    <a:pt x="348" y="390"/>
                  </a:lnTo>
                  <a:lnTo>
                    <a:pt x="342" y="384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90"/>
                  </a:lnTo>
                  <a:lnTo>
                    <a:pt x="312" y="402"/>
                  </a:lnTo>
                  <a:lnTo>
                    <a:pt x="306" y="420"/>
                  </a:lnTo>
                  <a:lnTo>
                    <a:pt x="324" y="414"/>
                  </a:lnTo>
                  <a:lnTo>
                    <a:pt x="330" y="414"/>
                  </a:lnTo>
                  <a:lnTo>
                    <a:pt x="336" y="420"/>
                  </a:lnTo>
                  <a:lnTo>
                    <a:pt x="336" y="432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6"/>
                  </a:lnTo>
                  <a:lnTo>
                    <a:pt x="318" y="456"/>
                  </a:lnTo>
                  <a:lnTo>
                    <a:pt x="300" y="456"/>
                  </a:lnTo>
                  <a:lnTo>
                    <a:pt x="288" y="462"/>
                  </a:lnTo>
                  <a:lnTo>
                    <a:pt x="276" y="462"/>
                  </a:lnTo>
                  <a:lnTo>
                    <a:pt x="270" y="462"/>
                  </a:lnTo>
                  <a:lnTo>
                    <a:pt x="270" y="468"/>
                  </a:lnTo>
                  <a:lnTo>
                    <a:pt x="252" y="468"/>
                  </a:lnTo>
                  <a:lnTo>
                    <a:pt x="258" y="480"/>
                  </a:lnTo>
                  <a:lnTo>
                    <a:pt x="258" y="492"/>
                  </a:lnTo>
                  <a:lnTo>
                    <a:pt x="258" y="498"/>
                  </a:lnTo>
                  <a:lnTo>
                    <a:pt x="258" y="510"/>
                  </a:lnTo>
                  <a:lnTo>
                    <a:pt x="252" y="540"/>
                  </a:lnTo>
                  <a:lnTo>
                    <a:pt x="246" y="564"/>
                  </a:lnTo>
                  <a:lnTo>
                    <a:pt x="246" y="570"/>
                  </a:lnTo>
                  <a:lnTo>
                    <a:pt x="252" y="576"/>
                  </a:lnTo>
                  <a:lnTo>
                    <a:pt x="246" y="582"/>
                  </a:lnTo>
                  <a:lnTo>
                    <a:pt x="252" y="600"/>
                  </a:lnTo>
                  <a:lnTo>
                    <a:pt x="258" y="606"/>
                  </a:lnTo>
                  <a:lnTo>
                    <a:pt x="258" y="612"/>
                  </a:lnTo>
                  <a:lnTo>
                    <a:pt x="252" y="618"/>
                  </a:lnTo>
                  <a:lnTo>
                    <a:pt x="246" y="624"/>
                  </a:lnTo>
                  <a:lnTo>
                    <a:pt x="246" y="630"/>
                  </a:lnTo>
                  <a:lnTo>
                    <a:pt x="246" y="636"/>
                  </a:lnTo>
                  <a:lnTo>
                    <a:pt x="240" y="642"/>
                  </a:lnTo>
                  <a:lnTo>
                    <a:pt x="234" y="654"/>
                  </a:lnTo>
                  <a:lnTo>
                    <a:pt x="228" y="654"/>
                  </a:lnTo>
                  <a:lnTo>
                    <a:pt x="222" y="660"/>
                  </a:lnTo>
                  <a:lnTo>
                    <a:pt x="216" y="666"/>
                  </a:lnTo>
                  <a:lnTo>
                    <a:pt x="210" y="666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22" y="684"/>
                  </a:lnTo>
                  <a:lnTo>
                    <a:pt x="222" y="690"/>
                  </a:lnTo>
                  <a:lnTo>
                    <a:pt x="222" y="696"/>
                  </a:lnTo>
                  <a:lnTo>
                    <a:pt x="222" y="702"/>
                  </a:lnTo>
                  <a:lnTo>
                    <a:pt x="216" y="708"/>
                  </a:lnTo>
                  <a:lnTo>
                    <a:pt x="210" y="720"/>
                  </a:lnTo>
                  <a:lnTo>
                    <a:pt x="216" y="732"/>
                  </a:lnTo>
                  <a:lnTo>
                    <a:pt x="210" y="732"/>
                  </a:lnTo>
                  <a:lnTo>
                    <a:pt x="216" y="738"/>
                  </a:lnTo>
                  <a:lnTo>
                    <a:pt x="216" y="744"/>
                  </a:lnTo>
                  <a:lnTo>
                    <a:pt x="222" y="750"/>
                  </a:lnTo>
                  <a:lnTo>
                    <a:pt x="228" y="756"/>
                  </a:lnTo>
                  <a:lnTo>
                    <a:pt x="222" y="762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04" y="762"/>
                  </a:lnTo>
                  <a:lnTo>
                    <a:pt x="198" y="762"/>
                  </a:lnTo>
                  <a:lnTo>
                    <a:pt x="192" y="762"/>
                  </a:lnTo>
                  <a:lnTo>
                    <a:pt x="186" y="756"/>
                  </a:lnTo>
                  <a:lnTo>
                    <a:pt x="180" y="750"/>
                  </a:lnTo>
                  <a:lnTo>
                    <a:pt x="180" y="744"/>
                  </a:lnTo>
                  <a:lnTo>
                    <a:pt x="174" y="744"/>
                  </a:lnTo>
                  <a:lnTo>
                    <a:pt x="156" y="750"/>
                  </a:lnTo>
                  <a:lnTo>
                    <a:pt x="150" y="750"/>
                  </a:lnTo>
                  <a:lnTo>
                    <a:pt x="144" y="750"/>
                  </a:lnTo>
                  <a:lnTo>
                    <a:pt x="138" y="750"/>
                  </a:lnTo>
                  <a:lnTo>
                    <a:pt x="138" y="744"/>
                  </a:lnTo>
                  <a:lnTo>
                    <a:pt x="132" y="744"/>
                  </a:lnTo>
                  <a:lnTo>
                    <a:pt x="120" y="744"/>
                  </a:lnTo>
                  <a:lnTo>
                    <a:pt x="114" y="738"/>
                  </a:lnTo>
                  <a:lnTo>
                    <a:pt x="108" y="744"/>
                  </a:lnTo>
                  <a:lnTo>
                    <a:pt x="102" y="744"/>
                  </a:lnTo>
                  <a:lnTo>
                    <a:pt x="96" y="744"/>
                  </a:lnTo>
                  <a:lnTo>
                    <a:pt x="96" y="738"/>
                  </a:lnTo>
                  <a:lnTo>
                    <a:pt x="96" y="744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44"/>
                  </a:lnTo>
                  <a:lnTo>
                    <a:pt x="72" y="750"/>
                  </a:lnTo>
                  <a:lnTo>
                    <a:pt x="66" y="750"/>
                  </a:lnTo>
                  <a:lnTo>
                    <a:pt x="60" y="750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0"/>
                  </a:lnTo>
                  <a:lnTo>
                    <a:pt x="30" y="750"/>
                  </a:lnTo>
                  <a:lnTo>
                    <a:pt x="24" y="744"/>
                  </a:lnTo>
                  <a:lnTo>
                    <a:pt x="18" y="738"/>
                  </a:lnTo>
                  <a:lnTo>
                    <a:pt x="6" y="738"/>
                  </a:lnTo>
                  <a:lnTo>
                    <a:pt x="0" y="732"/>
                  </a:lnTo>
                  <a:lnTo>
                    <a:pt x="0" y="726"/>
                  </a:lnTo>
                  <a:lnTo>
                    <a:pt x="0" y="720"/>
                  </a:lnTo>
                  <a:lnTo>
                    <a:pt x="6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8" y="702"/>
                  </a:lnTo>
                  <a:lnTo>
                    <a:pt x="24" y="696"/>
                  </a:lnTo>
                  <a:lnTo>
                    <a:pt x="30" y="696"/>
                  </a:lnTo>
                  <a:lnTo>
                    <a:pt x="48" y="690"/>
                  </a:lnTo>
                  <a:lnTo>
                    <a:pt x="54" y="678"/>
                  </a:lnTo>
                  <a:lnTo>
                    <a:pt x="66" y="672"/>
                  </a:lnTo>
                  <a:lnTo>
                    <a:pt x="66" y="654"/>
                  </a:lnTo>
                  <a:lnTo>
                    <a:pt x="72" y="636"/>
                  </a:lnTo>
                  <a:lnTo>
                    <a:pt x="72" y="612"/>
                  </a:lnTo>
                  <a:lnTo>
                    <a:pt x="84" y="594"/>
                  </a:lnTo>
                  <a:lnTo>
                    <a:pt x="90" y="576"/>
                  </a:lnTo>
                  <a:lnTo>
                    <a:pt x="96" y="552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72" y="522"/>
                  </a:lnTo>
                  <a:lnTo>
                    <a:pt x="78" y="510"/>
                  </a:lnTo>
                  <a:lnTo>
                    <a:pt x="78" y="504"/>
                  </a:lnTo>
                  <a:lnTo>
                    <a:pt x="84" y="480"/>
                  </a:lnTo>
                  <a:lnTo>
                    <a:pt x="90" y="468"/>
                  </a:lnTo>
                  <a:lnTo>
                    <a:pt x="90" y="456"/>
                  </a:lnTo>
                  <a:lnTo>
                    <a:pt x="96" y="456"/>
                  </a:lnTo>
                  <a:lnTo>
                    <a:pt x="96" y="444"/>
                  </a:lnTo>
                  <a:lnTo>
                    <a:pt x="102" y="438"/>
                  </a:lnTo>
                  <a:lnTo>
                    <a:pt x="102" y="432"/>
                  </a:lnTo>
                  <a:lnTo>
                    <a:pt x="108" y="432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14" y="408"/>
                  </a:lnTo>
                  <a:lnTo>
                    <a:pt x="114" y="402"/>
                  </a:lnTo>
                  <a:lnTo>
                    <a:pt x="126" y="384"/>
                  </a:lnTo>
                  <a:lnTo>
                    <a:pt x="138" y="378"/>
                  </a:lnTo>
                  <a:lnTo>
                    <a:pt x="138" y="372"/>
                  </a:lnTo>
                  <a:lnTo>
                    <a:pt x="150" y="354"/>
                  </a:lnTo>
                  <a:lnTo>
                    <a:pt x="156" y="342"/>
                  </a:lnTo>
                  <a:lnTo>
                    <a:pt x="162" y="330"/>
                  </a:lnTo>
                  <a:lnTo>
                    <a:pt x="168" y="324"/>
                  </a:lnTo>
                  <a:lnTo>
                    <a:pt x="168" y="312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74" y="294"/>
                  </a:lnTo>
                  <a:lnTo>
                    <a:pt x="180" y="288"/>
                  </a:lnTo>
                  <a:lnTo>
                    <a:pt x="180" y="276"/>
                  </a:lnTo>
                  <a:lnTo>
                    <a:pt x="186" y="276"/>
                  </a:lnTo>
                  <a:lnTo>
                    <a:pt x="186" y="270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40"/>
                  </a:lnTo>
                  <a:lnTo>
                    <a:pt x="168" y="240"/>
                  </a:lnTo>
                  <a:lnTo>
                    <a:pt x="162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68" y="216"/>
                  </a:lnTo>
                  <a:lnTo>
                    <a:pt x="168" y="180"/>
                  </a:lnTo>
                  <a:lnTo>
                    <a:pt x="168" y="144"/>
                  </a:lnTo>
                  <a:lnTo>
                    <a:pt x="162" y="120"/>
                  </a:lnTo>
                  <a:lnTo>
                    <a:pt x="162" y="108"/>
                  </a:lnTo>
                  <a:lnTo>
                    <a:pt x="168" y="102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44" y="84"/>
                  </a:lnTo>
                  <a:lnTo>
                    <a:pt x="126" y="84"/>
                  </a:lnTo>
                  <a:lnTo>
                    <a:pt x="108" y="78"/>
                  </a:lnTo>
                  <a:lnTo>
                    <a:pt x="96" y="78"/>
                  </a:lnTo>
                  <a:lnTo>
                    <a:pt x="78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8" y="36"/>
                  </a:lnTo>
                  <a:lnTo>
                    <a:pt x="96" y="24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56" y="0"/>
                  </a:lnTo>
                  <a:lnTo>
                    <a:pt x="156" y="6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18"/>
                  </a:lnTo>
                  <a:lnTo>
                    <a:pt x="198" y="18"/>
                  </a:lnTo>
                  <a:lnTo>
                    <a:pt x="210" y="18"/>
                  </a:lnTo>
                  <a:lnTo>
                    <a:pt x="222" y="18"/>
                  </a:lnTo>
                  <a:lnTo>
                    <a:pt x="234" y="12"/>
                  </a:lnTo>
                  <a:lnTo>
                    <a:pt x="252" y="18"/>
                  </a:lnTo>
                  <a:lnTo>
                    <a:pt x="252" y="24"/>
                  </a:lnTo>
                  <a:lnTo>
                    <a:pt x="258" y="36"/>
                  </a:lnTo>
                  <a:lnTo>
                    <a:pt x="258" y="66"/>
                  </a:lnTo>
                  <a:lnTo>
                    <a:pt x="252" y="84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82" y="126"/>
                  </a:lnTo>
                  <a:lnTo>
                    <a:pt x="294" y="132"/>
                  </a:lnTo>
                  <a:lnTo>
                    <a:pt x="306" y="138"/>
                  </a:lnTo>
                  <a:lnTo>
                    <a:pt x="324" y="138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60" y="144"/>
                  </a:lnTo>
                  <a:lnTo>
                    <a:pt x="396" y="144"/>
                  </a:lnTo>
                  <a:lnTo>
                    <a:pt x="408" y="150"/>
                  </a:lnTo>
                  <a:lnTo>
                    <a:pt x="414" y="180"/>
                  </a:lnTo>
                  <a:lnTo>
                    <a:pt x="420" y="186"/>
                  </a:lnTo>
                  <a:lnTo>
                    <a:pt x="426" y="192"/>
                  </a:lnTo>
                  <a:lnTo>
                    <a:pt x="426" y="198"/>
                  </a:lnTo>
                  <a:lnTo>
                    <a:pt x="432" y="198"/>
                  </a:lnTo>
                  <a:lnTo>
                    <a:pt x="438" y="210"/>
                  </a:lnTo>
                  <a:lnTo>
                    <a:pt x="450" y="216"/>
                  </a:lnTo>
                  <a:lnTo>
                    <a:pt x="468" y="228"/>
                  </a:lnTo>
                  <a:lnTo>
                    <a:pt x="492" y="234"/>
                  </a:lnTo>
                  <a:lnTo>
                    <a:pt x="492" y="246"/>
                  </a:lnTo>
                  <a:lnTo>
                    <a:pt x="492" y="270"/>
                  </a:lnTo>
                  <a:lnTo>
                    <a:pt x="486" y="294"/>
                  </a:lnTo>
                  <a:lnTo>
                    <a:pt x="486" y="312"/>
                  </a:lnTo>
                  <a:lnTo>
                    <a:pt x="486" y="330"/>
                  </a:lnTo>
                  <a:lnTo>
                    <a:pt x="492" y="348"/>
                  </a:lnTo>
                  <a:lnTo>
                    <a:pt x="498" y="360"/>
                  </a:lnTo>
                  <a:lnTo>
                    <a:pt x="510" y="366"/>
                  </a:lnTo>
                  <a:lnTo>
                    <a:pt x="516" y="384"/>
                  </a:lnTo>
                  <a:lnTo>
                    <a:pt x="522" y="414"/>
                  </a:lnTo>
                  <a:lnTo>
                    <a:pt x="528" y="414"/>
                  </a:lnTo>
                  <a:lnTo>
                    <a:pt x="534" y="426"/>
                  </a:lnTo>
                  <a:lnTo>
                    <a:pt x="528" y="432"/>
                  </a:lnTo>
                  <a:lnTo>
                    <a:pt x="468" y="426"/>
                  </a:lnTo>
                  <a:lnTo>
                    <a:pt x="462" y="426"/>
                  </a:lnTo>
                  <a:close/>
                </a:path>
              </a:pathLst>
            </a:custGeom>
            <a:solidFill>
              <a:srgbClr val="BFBFBF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3" name="Freeform 8">
              <a:extLst>
                <a:ext uri="{FF2B5EF4-FFF2-40B4-BE49-F238E27FC236}">
                  <a16:creationId xmlns:a16="http://schemas.microsoft.com/office/drawing/2014/main" id="{D473457C-872E-4E31-888A-D60FD52063A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98175" y="4307054"/>
              <a:ext cx="295177" cy="348894"/>
            </a:xfrm>
            <a:custGeom>
              <a:avLst/>
              <a:gdLst>
                <a:gd name="T0" fmla="*/ 3 w 552"/>
                <a:gd name="T1" fmla="*/ 46 h 660"/>
                <a:gd name="T2" fmla="*/ 4 w 552"/>
                <a:gd name="T3" fmla="*/ 42 h 660"/>
                <a:gd name="T4" fmla="*/ 2 w 552"/>
                <a:gd name="T5" fmla="*/ 38 h 660"/>
                <a:gd name="T6" fmla="*/ 0 w 552"/>
                <a:gd name="T7" fmla="*/ 34 h 660"/>
                <a:gd name="T8" fmla="*/ 2 w 552"/>
                <a:gd name="T9" fmla="*/ 30 h 660"/>
                <a:gd name="T10" fmla="*/ 3 w 552"/>
                <a:gd name="T11" fmla="*/ 27 h 660"/>
                <a:gd name="T12" fmla="*/ 5 w 552"/>
                <a:gd name="T13" fmla="*/ 23 h 660"/>
                <a:gd name="T14" fmla="*/ 5 w 552"/>
                <a:gd name="T15" fmla="*/ 15 h 660"/>
                <a:gd name="T16" fmla="*/ 6 w 552"/>
                <a:gd name="T17" fmla="*/ 11 h 660"/>
                <a:gd name="T18" fmla="*/ 11 w 552"/>
                <a:gd name="T19" fmla="*/ 9 h 660"/>
                <a:gd name="T20" fmla="*/ 10 w 552"/>
                <a:gd name="T21" fmla="*/ 5 h 660"/>
                <a:gd name="T22" fmla="*/ 12 w 552"/>
                <a:gd name="T23" fmla="*/ 1 h 660"/>
                <a:gd name="T24" fmla="*/ 16 w 552"/>
                <a:gd name="T25" fmla="*/ 2 h 660"/>
                <a:gd name="T26" fmla="*/ 23 w 552"/>
                <a:gd name="T27" fmla="*/ 8 h 660"/>
                <a:gd name="T28" fmla="*/ 23 w 552"/>
                <a:gd name="T29" fmla="*/ 11 h 660"/>
                <a:gd name="T30" fmla="*/ 27 w 552"/>
                <a:gd name="T31" fmla="*/ 12 h 660"/>
                <a:gd name="T32" fmla="*/ 29 w 552"/>
                <a:gd name="T33" fmla="*/ 17 h 660"/>
                <a:gd name="T34" fmla="*/ 31 w 552"/>
                <a:gd name="T35" fmla="*/ 15 h 660"/>
                <a:gd name="T36" fmla="*/ 33 w 552"/>
                <a:gd name="T37" fmla="*/ 17 h 660"/>
                <a:gd name="T38" fmla="*/ 36 w 552"/>
                <a:gd name="T39" fmla="*/ 23 h 660"/>
                <a:gd name="T40" fmla="*/ 41 w 552"/>
                <a:gd name="T41" fmla="*/ 33 h 660"/>
                <a:gd name="T42" fmla="*/ 43 w 552"/>
                <a:gd name="T43" fmla="*/ 36 h 660"/>
                <a:gd name="T44" fmla="*/ 43 w 552"/>
                <a:gd name="T45" fmla="*/ 37 h 660"/>
                <a:gd name="T46" fmla="*/ 41 w 552"/>
                <a:gd name="T47" fmla="*/ 35 h 660"/>
                <a:gd name="T48" fmla="*/ 43 w 552"/>
                <a:gd name="T49" fmla="*/ 37 h 660"/>
                <a:gd name="T50" fmla="*/ 44 w 552"/>
                <a:gd name="T51" fmla="*/ 39 h 660"/>
                <a:gd name="T52" fmla="*/ 47 w 552"/>
                <a:gd name="T53" fmla="*/ 41 h 660"/>
                <a:gd name="T54" fmla="*/ 47 w 552"/>
                <a:gd name="T55" fmla="*/ 44 h 660"/>
                <a:gd name="T56" fmla="*/ 48 w 552"/>
                <a:gd name="T57" fmla="*/ 46 h 660"/>
                <a:gd name="T58" fmla="*/ 47 w 552"/>
                <a:gd name="T59" fmla="*/ 46 h 660"/>
                <a:gd name="T60" fmla="*/ 44 w 552"/>
                <a:gd name="T61" fmla="*/ 46 h 660"/>
                <a:gd name="T62" fmla="*/ 47 w 552"/>
                <a:gd name="T63" fmla="*/ 47 h 660"/>
                <a:gd name="T64" fmla="*/ 47 w 552"/>
                <a:gd name="T65" fmla="*/ 49 h 660"/>
                <a:gd name="T66" fmla="*/ 47 w 552"/>
                <a:gd name="T67" fmla="*/ 52 h 660"/>
                <a:gd name="T68" fmla="*/ 46 w 552"/>
                <a:gd name="T69" fmla="*/ 53 h 660"/>
                <a:gd name="T70" fmla="*/ 43 w 552"/>
                <a:gd name="T71" fmla="*/ 54 h 660"/>
                <a:gd name="T72" fmla="*/ 37 w 552"/>
                <a:gd name="T73" fmla="*/ 54 h 660"/>
                <a:gd name="T74" fmla="*/ 30 w 552"/>
                <a:gd name="T75" fmla="*/ 54 h 660"/>
                <a:gd name="T76" fmla="*/ 29 w 552"/>
                <a:gd name="T77" fmla="*/ 53 h 660"/>
                <a:gd name="T78" fmla="*/ 27 w 552"/>
                <a:gd name="T79" fmla="*/ 53 h 660"/>
                <a:gd name="T80" fmla="*/ 29 w 552"/>
                <a:gd name="T81" fmla="*/ 53 h 660"/>
                <a:gd name="T82" fmla="*/ 28 w 552"/>
                <a:gd name="T83" fmla="*/ 54 h 660"/>
                <a:gd name="T84" fmla="*/ 24 w 552"/>
                <a:gd name="T85" fmla="*/ 54 h 660"/>
                <a:gd name="T86" fmla="*/ 20 w 552"/>
                <a:gd name="T87" fmla="*/ 55 h 660"/>
                <a:gd name="T88" fmla="*/ 15 w 552"/>
                <a:gd name="T89" fmla="*/ 56 h 660"/>
                <a:gd name="T90" fmla="*/ 12 w 552"/>
                <a:gd name="T91" fmla="*/ 56 h 660"/>
                <a:gd name="T92" fmla="*/ 11 w 552"/>
                <a:gd name="T93" fmla="*/ 57 h 660"/>
                <a:gd name="T94" fmla="*/ 9 w 552"/>
                <a:gd name="T95" fmla="*/ 57 h 660"/>
                <a:gd name="T96" fmla="*/ 7 w 552"/>
                <a:gd name="T97" fmla="*/ 56 h 660"/>
                <a:gd name="T98" fmla="*/ 5 w 552"/>
                <a:gd name="T99" fmla="*/ 55 h 660"/>
                <a:gd name="T100" fmla="*/ 7 w 552"/>
                <a:gd name="T101" fmla="*/ 54 h 660"/>
                <a:gd name="T102" fmla="*/ 5 w 552"/>
                <a:gd name="T103" fmla="*/ 54 h 660"/>
                <a:gd name="T104" fmla="*/ 5 w 552"/>
                <a:gd name="T105" fmla="*/ 53 h 660"/>
                <a:gd name="T106" fmla="*/ 4 w 552"/>
                <a:gd name="T107" fmla="*/ 49 h 660"/>
                <a:gd name="T108" fmla="*/ 45 w 552"/>
                <a:gd name="T109" fmla="*/ 38 h 66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52"/>
                <a:gd name="T166" fmla="*/ 0 h 660"/>
                <a:gd name="T167" fmla="*/ 552 w 552"/>
                <a:gd name="T168" fmla="*/ 660 h 66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52" h="660">
                  <a:moveTo>
                    <a:pt x="36" y="564"/>
                  </a:moveTo>
                  <a:lnTo>
                    <a:pt x="36" y="558"/>
                  </a:lnTo>
                  <a:lnTo>
                    <a:pt x="36" y="552"/>
                  </a:lnTo>
                  <a:lnTo>
                    <a:pt x="42" y="546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34"/>
                  </a:lnTo>
                  <a:lnTo>
                    <a:pt x="36" y="528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54" y="510"/>
                  </a:lnTo>
                  <a:lnTo>
                    <a:pt x="54" y="504"/>
                  </a:lnTo>
                  <a:lnTo>
                    <a:pt x="54" y="498"/>
                  </a:lnTo>
                  <a:lnTo>
                    <a:pt x="48" y="492"/>
                  </a:lnTo>
                  <a:lnTo>
                    <a:pt x="42" y="486"/>
                  </a:lnTo>
                  <a:lnTo>
                    <a:pt x="42" y="480"/>
                  </a:lnTo>
                  <a:lnTo>
                    <a:pt x="42" y="468"/>
                  </a:lnTo>
                  <a:lnTo>
                    <a:pt x="30" y="456"/>
                  </a:lnTo>
                  <a:lnTo>
                    <a:pt x="30" y="450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2"/>
                  </a:lnTo>
                  <a:lnTo>
                    <a:pt x="18" y="426"/>
                  </a:lnTo>
                  <a:lnTo>
                    <a:pt x="24" y="420"/>
                  </a:lnTo>
                  <a:lnTo>
                    <a:pt x="18" y="414"/>
                  </a:lnTo>
                  <a:lnTo>
                    <a:pt x="12" y="408"/>
                  </a:lnTo>
                  <a:lnTo>
                    <a:pt x="12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6" y="384"/>
                  </a:lnTo>
                  <a:lnTo>
                    <a:pt x="12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8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36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54" y="270"/>
                  </a:lnTo>
                  <a:lnTo>
                    <a:pt x="48" y="264"/>
                  </a:lnTo>
                  <a:lnTo>
                    <a:pt x="42" y="246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8" y="204"/>
                  </a:lnTo>
                  <a:lnTo>
                    <a:pt x="54" y="174"/>
                  </a:lnTo>
                  <a:lnTo>
                    <a:pt x="54" y="162"/>
                  </a:lnTo>
                  <a:lnTo>
                    <a:pt x="54" y="156"/>
                  </a:lnTo>
                  <a:lnTo>
                    <a:pt x="54" y="144"/>
                  </a:lnTo>
                  <a:lnTo>
                    <a:pt x="48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72" y="126"/>
                  </a:lnTo>
                  <a:lnTo>
                    <a:pt x="84" y="126"/>
                  </a:lnTo>
                  <a:lnTo>
                    <a:pt x="96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2" y="84"/>
                  </a:lnTo>
                  <a:lnTo>
                    <a:pt x="126" y="78"/>
                  </a:lnTo>
                  <a:lnTo>
                    <a:pt x="120" y="78"/>
                  </a:lnTo>
                  <a:lnTo>
                    <a:pt x="102" y="84"/>
                  </a:lnTo>
                  <a:lnTo>
                    <a:pt x="108" y="66"/>
                  </a:lnTo>
                  <a:lnTo>
                    <a:pt x="114" y="54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8" y="4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6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74" y="0"/>
                  </a:lnTo>
                  <a:lnTo>
                    <a:pt x="180" y="0"/>
                  </a:lnTo>
                  <a:lnTo>
                    <a:pt x="186" y="18"/>
                  </a:lnTo>
                  <a:lnTo>
                    <a:pt x="198" y="30"/>
                  </a:lnTo>
                  <a:lnTo>
                    <a:pt x="204" y="54"/>
                  </a:lnTo>
                  <a:lnTo>
                    <a:pt x="216" y="60"/>
                  </a:lnTo>
                  <a:lnTo>
                    <a:pt x="240" y="60"/>
                  </a:lnTo>
                  <a:lnTo>
                    <a:pt x="246" y="66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2" y="120"/>
                  </a:lnTo>
                  <a:lnTo>
                    <a:pt x="25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6" y="126"/>
                  </a:lnTo>
                  <a:lnTo>
                    <a:pt x="282" y="120"/>
                  </a:lnTo>
                  <a:lnTo>
                    <a:pt x="282" y="126"/>
                  </a:lnTo>
                  <a:lnTo>
                    <a:pt x="294" y="126"/>
                  </a:lnTo>
                  <a:lnTo>
                    <a:pt x="300" y="132"/>
                  </a:lnTo>
                  <a:lnTo>
                    <a:pt x="306" y="144"/>
                  </a:lnTo>
                  <a:lnTo>
                    <a:pt x="312" y="144"/>
                  </a:lnTo>
                  <a:lnTo>
                    <a:pt x="312" y="150"/>
                  </a:lnTo>
                  <a:lnTo>
                    <a:pt x="312" y="162"/>
                  </a:lnTo>
                  <a:lnTo>
                    <a:pt x="312" y="174"/>
                  </a:lnTo>
                  <a:lnTo>
                    <a:pt x="324" y="180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30" y="192"/>
                  </a:lnTo>
                  <a:lnTo>
                    <a:pt x="336" y="198"/>
                  </a:lnTo>
                  <a:lnTo>
                    <a:pt x="342" y="192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54" y="180"/>
                  </a:lnTo>
                  <a:lnTo>
                    <a:pt x="354" y="174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84" y="192"/>
                  </a:lnTo>
                  <a:lnTo>
                    <a:pt x="390" y="204"/>
                  </a:lnTo>
                  <a:lnTo>
                    <a:pt x="390" y="210"/>
                  </a:lnTo>
                  <a:lnTo>
                    <a:pt x="390" y="216"/>
                  </a:lnTo>
                  <a:lnTo>
                    <a:pt x="384" y="234"/>
                  </a:lnTo>
                  <a:lnTo>
                    <a:pt x="390" y="240"/>
                  </a:lnTo>
                  <a:lnTo>
                    <a:pt x="408" y="252"/>
                  </a:lnTo>
                  <a:lnTo>
                    <a:pt x="414" y="264"/>
                  </a:lnTo>
                  <a:lnTo>
                    <a:pt x="408" y="300"/>
                  </a:lnTo>
                  <a:lnTo>
                    <a:pt x="414" y="312"/>
                  </a:lnTo>
                  <a:lnTo>
                    <a:pt x="426" y="336"/>
                  </a:lnTo>
                  <a:lnTo>
                    <a:pt x="438" y="354"/>
                  </a:lnTo>
                  <a:lnTo>
                    <a:pt x="444" y="366"/>
                  </a:lnTo>
                  <a:lnTo>
                    <a:pt x="456" y="366"/>
                  </a:lnTo>
                  <a:lnTo>
                    <a:pt x="474" y="378"/>
                  </a:lnTo>
                  <a:lnTo>
                    <a:pt x="474" y="384"/>
                  </a:lnTo>
                  <a:lnTo>
                    <a:pt x="480" y="390"/>
                  </a:lnTo>
                  <a:lnTo>
                    <a:pt x="486" y="396"/>
                  </a:lnTo>
                  <a:lnTo>
                    <a:pt x="486" y="402"/>
                  </a:lnTo>
                  <a:lnTo>
                    <a:pt x="480" y="408"/>
                  </a:lnTo>
                  <a:lnTo>
                    <a:pt x="486" y="408"/>
                  </a:lnTo>
                  <a:lnTo>
                    <a:pt x="486" y="414"/>
                  </a:lnTo>
                  <a:lnTo>
                    <a:pt x="492" y="414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32"/>
                  </a:lnTo>
                  <a:lnTo>
                    <a:pt x="498" y="438"/>
                  </a:lnTo>
                  <a:lnTo>
                    <a:pt x="492" y="432"/>
                  </a:lnTo>
                  <a:lnTo>
                    <a:pt x="486" y="426"/>
                  </a:lnTo>
                  <a:lnTo>
                    <a:pt x="486" y="420"/>
                  </a:lnTo>
                  <a:lnTo>
                    <a:pt x="486" y="414"/>
                  </a:lnTo>
                  <a:lnTo>
                    <a:pt x="480" y="414"/>
                  </a:lnTo>
                  <a:lnTo>
                    <a:pt x="480" y="408"/>
                  </a:lnTo>
                  <a:lnTo>
                    <a:pt x="474" y="408"/>
                  </a:lnTo>
                  <a:lnTo>
                    <a:pt x="468" y="408"/>
                  </a:lnTo>
                  <a:lnTo>
                    <a:pt x="468" y="402"/>
                  </a:lnTo>
                  <a:lnTo>
                    <a:pt x="462" y="402"/>
                  </a:lnTo>
                  <a:lnTo>
                    <a:pt x="462" y="408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80" y="426"/>
                  </a:lnTo>
                  <a:lnTo>
                    <a:pt x="486" y="426"/>
                  </a:lnTo>
                  <a:lnTo>
                    <a:pt x="486" y="432"/>
                  </a:lnTo>
                  <a:lnTo>
                    <a:pt x="492" y="438"/>
                  </a:lnTo>
                  <a:lnTo>
                    <a:pt x="498" y="438"/>
                  </a:lnTo>
                  <a:lnTo>
                    <a:pt x="504" y="444"/>
                  </a:lnTo>
                  <a:lnTo>
                    <a:pt x="510" y="444"/>
                  </a:lnTo>
                  <a:lnTo>
                    <a:pt x="510" y="450"/>
                  </a:lnTo>
                  <a:lnTo>
                    <a:pt x="510" y="456"/>
                  </a:lnTo>
                  <a:lnTo>
                    <a:pt x="516" y="456"/>
                  </a:lnTo>
                  <a:lnTo>
                    <a:pt x="516" y="462"/>
                  </a:lnTo>
                  <a:lnTo>
                    <a:pt x="522" y="462"/>
                  </a:lnTo>
                  <a:lnTo>
                    <a:pt x="522" y="468"/>
                  </a:lnTo>
                  <a:lnTo>
                    <a:pt x="528" y="468"/>
                  </a:lnTo>
                  <a:lnTo>
                    <a:pt x="534" y="468"/>
                  </a:lnTo>
                  <a:lnTo>
                    <a:pt x="534" y="474"/>
                  </a:lnTo>
                  <a:lnTo>
                    <a:pt x="540" y="474"/>
                  </a:lnTo>
                  <a:lnTo>
                    <a:pt x="540" y="480"/>
                  </a:lnTo>
                  <a:lnTo>
                    <a:pt x="546" y="486"/>
                  </a:lnTo>
                  <a:lnTo>
                    <a:pt x="546" y="492"/>
                  </a:lnTo>
                  <a:lnTo>
                    <a:pt x="546" y="498"/>
                  </a:lnTo>
                  <a:lnTo>
                    <a:pt x="546" y="504"/>
                  </a:lnTo>
                  <a:lnTo>
                    <a:pt x="540" y="504"/>
                  </a:lnTo>
                  <a:lnTo>
                    <a:pt x="546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10"/>
                  </a:lnTo>
                  <a:lnTo>
                    <a:pt x="552" y="516"/>
                  </a:lnTo>
                  <a:lnTo>
                    <a:pt x="552" y="522"/>
                  </a:lnTo>
                  <a:lnTo>
                    <a:pt x="552" y="528"/>
                  </a:lnTo>
                  <a:lnTo>
                    <a:pt x="552" y="534"/>
                  </a:lnTo>
                  <a:lnTo>
                    <a:pt x="552" y="540"/>
                  </a:lnTo>
                  <a:lnTo>
                    <a:pt x="546" y="540"/>
                  </a:lnTo>
                  <a:lnTo>
                    <a:pt x="546" y="546"/>
                  </a:lnTo>
                  <a:lnTo>
                    <a:pt x="546" y="540"/>
                  </a:lnTo>
                  <a:lnTo>
                    <a:pt x="546" y="534"/>
                  </a:lnTo>
                  <a:lnTo>
                    <a:pt x="540" y="534"/>
                  </a:lnTo>
                  <a:lnTo>
                    <a:pt x="540" y="528"/>
                  </a:lnTo>
                  <a:lnTo>
                    <a:pt x="534" y="528"/>
                  </a:lnTo>
                  <a:lnTo>
                    <a:pt x="528" y="528"/>
                  </a:lnTo>
                  <a:lnTo>
                    <a:pt x="522" y="528"/>
                  </a:lnTo>
                  <a:lnTo>
                    <a:pt x="516" y="528"/>
                  </a:lnTo>
                  <a:lnTo>
                    <a:pt x="510" y="528"/>
                  </a:lnTo>
                  <a:lnTo>
                    <a:pt x="510" y="534"/>
                  </a:lnTo>
                  <a:lnTo>
                    <a:pt x="510" y="528"/>
                  </a:lnTo>
                  <a:lnTo>
                    <a:pt x="516" y="528"/>
                  </a:lnTo>
                  <a:lnTo>
                    <a:pt x="522" y="528"/>
                  </a:lnTo>
                  <a:lnTo>
                    <a:pt x="528" y="528"/>
                  </a:lnTo>
                  <a:lnTo>
                    <a:pt x="534" y="534"/>
                  </a:lnTo>
                  <a:lnTo>
                    <a:pt x="540" y="534"/>
                  </a:lnTo>
                  <a:lnTo>
                    <a:pt x="540" y="540"/>
                  </a:lnTo>
                  <a:lnTo>
                    <a:pt x="540" y="546"/>
                  </a:lnTo>
                  <a:lnTo>
                    <a:pt x="546" y="546"/>
                  </a:lnTo>
                  <a:lnTo>
                    <a:pt x="546" y="552"/>
                  </a:lnTo>
                  <a:lnTo>
                    <a:pt x="552" y="552"/>
                  </a:lnTo>
                  <a:lnTo>
                    <a:pt x="552" y="558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0" y="576"/>
                  </a:lnTo>
                  <a:lnTo>
                    <a:pt x="540" y="582"/>
                  </a:lnTo>
                  <a:lnTo>
                    <a:pt x="540" y="588"/>
                  </a:lnTo>
                  <a:lnTo>
                    <a:pt x="534" y="594"/>
                  </a:lnTo>
                  <a:lnTo>
                    <a:pt x="534" y="600"/>
                  </a:lnTo>
                  <a:lnTo>
                    <a:pt x="528" y="600"/>
                  </a:lnTo>
                  <a:lnTo>
                    <a:pt x="522" y="594"/>
                  </a:lnTo>
                  <a:lnTo>
                    <a:pt x="528" y="600"/>
                  </a:lnTo>
                  <a:lnTo>
                    <a:pt x="534" y="600"/>
                  </a:lnTo>
                  <a:lnTo>
                    <a:pt x="534" y="606"/>
                  </a:lnTo>
                  <a:lnTo>
                    <a:pt x="528" y="606"/>
                  </a:lnTo>
                  <a:lnTo>
                    <a:pt x="528" y="612"/>
                  </a:lnTo>
                  <a:lnTo>
                    <a:pt x="522" y="612"/>
                  </a:lnTo>
                  <a:lnTo>
                    <a:pt x="522" y="618"/>
                  </a:lnTo>
                  <a:lnTo>
                    <a:pt x="522" y="624"/>
                  </a:lnTo>
                  <a:lnTo>
                    <a:pt x="510" y="624"/>
                  </a:lnTo>
                  <a:lnTo>
                    <a:pt x="498" y="624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0" y="624"/>
                  </a:lnTo>
                  <a:lnTo>
                    <a:pt x="474" y="624"/>
                  </a:lnTo>
                  <a:lnTo>
                    <a:pt x="468" y="618"/>
                  </a:lnTo>
                  <a:lnTo>
                    <a:pt x="456" y="618"/>
                  </a:lnTo>
                  <a:lnTo>
                    <a:pt x="450" y="618"/>
                  </a:lnTo>
                  <a:lnTo>
                    <a:pt x="426" y="618"/>
                  </a:lnTo>
                  <a:lnTo>
                    <a:pt x="420" y="618"/>
                  </a:lnTo>
                  <a:lnTo>
                    <a:pt x="414" y="618"/>
                  </a:lnTo>
                  <a:lnTo>
                    <a:pt x="408" y="618"/>
                  </a:lnTo>
                  <a:lnTo>
                    <a:pt x="396" y="618"/>
                  </a:lnTo>
                  <a:lnTo>
                    <a:pt x="366" y="618"/>
                  </a:lnTo>
                  <a:lnTo>
                    <a:pt x="348" y="624"/>
                  </a:lnTo>
                  <a:lnTo>
                    <a:pt x="342" y="624"/>
                  </a:lnTo>
                  <a:lnTo>
                    <a:pt x="342" y="618"/>
                  </a:lnTo>
                  <a:lnTo>
                    <a:pt x="336" y="618"/>
                  </a:lnTo>
                  <a:lnTo>
                    <a:pt x="336" y="612"/>
                  </a:lnTo>
                  <a:lnTo>
                    <a:pt x="342" y="612"/>
                  </a:lnTo>
                  <a:lnTo>
                    <a:pt x="348" y="612"/>
                  </a:lnTo>
                  <a:lnTo>
                    <a:pt x="342" y="612"/>
                  </a:lnTo>
                  <a:lnTo>
                    <a:pt x="336" y="612"/>
                  </a:lnTo>
                  <a:lnTo>
                    <a:pt x="336" y="606"/>
                  </a:lnTo>
                  <a:lnTo>
                    <a:pt x="330" y="606"/>
                  </a:lnTo>
                  <a:lnTo>
                    <a:pt x="330" y="600"/>
                  </a:lnTo>
                  <a:lnTo>
                    <a:pt x="324" y="600"/>
                  </a:lnTo>
                  <a:lnTo>
                    <a:pt x="324" y="606"/>
                  </a:lnTo>
                  <a:lnTo>
                    <a:pt x="318" y="606"/>
                  </a:lnTo>
                  <a:lnTo>
                    <a:pt x="318" y="612"/>
                  </a:lnTo>
                  <a:lnTo>
                    <a:pt x="312" y="612"/>
                  </a:lnTo>
                  <a:lnTo>
                    <a:pt x="306" y="606"/>
                  </a:lnTo>
                  <a:lnTo>
                    <a:pt x="306" y="612"/>
                  </a:lnTo>
                  <a:lnTo>
                    <a:pt x="312" y="612"/>
                  </a:lnTo>
                  <a:lnTo>
                    <a:pt x="318" y="612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30" y="606"/>
                  </a:lnTo>
                  <a:lnTo>
                    <a:pt x="336" y="612"/>
                  </a:lnTo>
                  <a:lnTo>
                    <a:pt x="336" y="618"/>
                  </a:lnTo>
                  <a:lnTo>
                    <a:pt x="330" y="618"/>
                  </a:lnTo>
                  <a:lnTo>
                    <a:pt x="336" y="618"/>
                  </a:lnTo>
                  <a:lnTo>
                    <a:pt x="336" y="624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288" y="624"/>
                  </a:lnTo>
                  <a:lnTo>
                    <a:pt x="282" y="624"/>
                  </a:lnTo>
                  <a:lnTo>
                    <a:pt x="270" y="630"/>
                  </a:lnTo>
                  <a:lnTo>
                    <a:pt x="264" y="630"/>
                  </a:lnTo>
                  <a:lnTo>
                    <a:pt x="258" y="630"/>
                  </a:lnTo>
                  <a:lnTo>
                    <a:pt x="252" y="630"/>
                  </a:lnTo>
                  <a:lnTo>
                    <a:pt x="246" y="630"/>
                  </a:lnTo>
                  <a:lnTo>
                    <a:pt x="240" y="630"/>
                  </a:lnTo>
                  <a:lnTo>
                    <a:pt x="228" y="636"/>
                  </a:lnTo>
                  <a:lnTo>
                    <a:pt x="222" y="636"/>
                  </a:lnTo>
                  <a:lnTo>
                    <a:pt x="210" y="636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42"/>
                  </a:lnTo>
                  <a:lnTo>
                    <a:pt x="186" y="642"/>
                  </a:lnTo>
                  <a:lnTo>
                    <a:pt x="180" y="642"/>
                  </a:lnTo>
                  <a:lnTo>
                    <a:pt x="168" y="642"/>
                  </a:lnTo>
                  <a:lnTo>
                    <a:pt x="162" y="642"/>
                  </a:lnTo>
                  <a:lnTo>
                    <a:pt x="162" y="648"/>
                  </a:lnTo>
                  <a:lnTo>
                    <a:pt x="156" y="648"/>
                  </a:lnTo>
                  <a:lnTo>
                    <a:pt x="150" y="648"/>
                  </a:lnTo>
                  <a:lnTo>
                    <a:pt x="144" y="648"/>
                  </a:lnTo>
                  <a:lnTo>
                    <a:pt x="138" y="648"/>
                  </a:lnTo>
                  <a:lnTo>
                    <a:pt x="132" y="648"/>
                  </a:lnTo>
                  <a:lnTo>
                    <a:pt x="126" y="642"/>
                  </a:lnTo>
                  <a:lnTo>
                    <a:pt x="126" y="636"/>
                  </a:lnTo>
                  <a:lnTo>
                    <a:pt x="120" y="636"/>
                  </a:lnTo>
                  <a:lnTo>
                    <a:pt x="126" y="642"/>
                  </a:lnTo>
                  <a:lnTo>
                    <a:pt x="126" y="648"/>
                  </a:lnTo>
                  <a:lnTo>
                    <a:pt x="132" y="648"/>
                  </a:lnTo>
                  <a:lnTo>
                    <a:pt x="126" y="654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54"/>
                  </a:lnTo>
                  <a:lnTo>
                    <a:pt x="108" y="660"/>
                  </a:lnTo>
                  <a:lnTo>
                    <a:pt x="108" y="654"/>
                  </a:lnTo>
                  <a:lnTo>
                    <a:pt x="102" y="654"/>
                  </a:lnTo>
                  <a:lnTo>
                    <a:pt x="102" y="660"/>
                  </a:lnTo>
                  <a:lnTo>
                    <a:pt x="108" y="660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0" y="660"/>
                  </a:lnTo>
                  <a:lnTo>
                    <a:pt x="90" y="654"/>
                  </a:lnTo>
                  <a:lnTo>
                    <a:pt x="84" y="648"/>
                  </a:lnTo>
                  <a:lnTo>
                    <a:pt x="84" y="642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72" y="636"/>
                  </a:lnTo>
                  <a:lnTo>
                    <a:pt x="78" y="636"/>
                  </a:lnTo>
                  <a:lnTo>
                    <a:pt x="72" y="636"/>
                  </a:lnTo>
                  <a:lnTo>
                    <a:pt x="66" y="636"/>
                  </a:lnTo>
                  <a:lnTo>
                    <a:pt x="60" y="636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60" y="618"/>
                  </a:lnTo>
                  <a:lnTo>
                    <a:pt x="66" y="618"/>
                  </a:lnTo>
                  <a:lnTo>
                    <a:pt x="72" y="618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2" y="612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12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54" y="618"/>
                  </a:lnTo>
                  <a:lnTo>
                    <a:pt x="54" y="624"/>
                  </a:lnTo>
                  <a:lnTo>
                    <a:pt x="48" y="618"/>
                  </a:lnTo>
                  <a:lnTo>
                    <a:pt x="42" y="618"/>
                  </a:lnTo>
                  <a:lnTo>
                    <a:pt x="42" y="612"/>
                  </a:lnTo>
                  <a:lnTo>
                    <a:pt x="48" y="606"/>
                  </a:lnTo>
                  <a:lnTo>
                    <a:pt x="54" y="606"/>
                  </a:lnTo>
                  <a:lnTo>
                    <a:pt x="54" y="600"/>
                  </a:lnTo>
                  <a:lnTo>
                    <a:pt x="54" y="594"/>
                  </a:lnTo>
                  <a:lnTo>
                    <a:pt x="54" y="588"/>
                  </a:lnTo>
                  <a:lnTo>
                    <a:pt x="48" y="588"/>
                  </a:lnTo>
                  <a:lnTo>
                    <a:pt x="48" y="582"/>
                  </a:lnTo>
                  <a:lnTo>
                    <a:pt x="42" y="582"/>
                  </a:lnTo>
                  <a:lnTo>
                    <a:pt x="42" y="570"/>
                  </a:lnTo>
                  <a:lnTo>
                    <a:pt x="42" y="564"/>
                  </a:lnTo>
                  <a:lnTo>
                    <a:pt x="36" y="564"/>
                  </a:lnTo>
                  <a:close/>
                  <a:moveTo>
                    <a:pt x="498" y="420"/>
                  </a:moveTo>
                  <a:lnTo>
                    <a:pt x="504" y="426"/>
                  </a:lnTo>
                  <a:lnTo>
                    <a:pt x="510" y="432"/>
                  </a:lnTo>
                  <a:lnTo>
                    <a:pt x="516" y="432"/>
                  </a:lnTo>
                  <a:lnTo>
                    <a:pt x="516" y="438"/>
                  </a:lnTo>
                  <a:lnTo>
                    <a:pt x="510" y="438"/>
                  </a:lnTo>
                  <a:lnTo>
                    <a:pt x="504" y="438"/>
                  </a:lnTo>
                  <a:lnTo>
                    <a:pt x="504" y="432"/>
                  </a:lnTo>
                  <a:lnTo>
                    <a:pt x="498" y="432"/>
                  </a:lnTo>
                  <a:lnTo>
                    <a:pt x="498" y="426"/>
                  </a:lnTo>
                  <a:lnTo>
                    <a:pt x="498" y="4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4" name="Freeform 9">
              <a:extLst>
                <a:ext uri="{FF2B5EF4-FFF2-40B4-BE49-F238E27FC236}">
                  <a16:creationId xmlns:a16="http://schemas.microsoft.com/office/drawing/2014/main" id="{E0116D32-BD2E-45EA-B818-A3082585D5F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3055" y="2468650"/>
              <a:ext cx="800556" cy="1207710"/>
            </a:xfrm>
            <a:custGeom>
              <a:avLst/>
              <a:gdLst>
                <a:gd name="T0" fmla="*/ 24 w 1506"/>
                <a:gd name="T1" fmla="*/ 190 h 2274"/>
                <a:gd name="T2" fmla="*/ 25 w 1506"/>
                <a:gd name="T3" fmla="*/ 180 h 2274"/>
                <a:gd name="T4" fmla="*/ 21 w 1506"/>
                <a:gd name="T5" fmla="*/ 174 h 2274"/>
                <a:gd name="T6" fmla="*/ 17 w 1506"/>
                <a:gd name="T7" fmla="*/ 170 h 2274"/>
                <a:gd name="T8" fmla="*/ 12 w 1506"/>
                <a:gd name="T9" fmla="*/ 168 h 2274"/>
                <a:gd name="T10" fmla="*/ 10 w 1506"/>
                <a:gd name="T11" fmla="*/ 173 h 2274"/>
                <a:gd name="T12" fmla="*/ 7 w 1506"/>
                <a:gd name="T13" fmla="*/ 174 h 2274"/>
                <a:gd name="T14" fmla="*/ 0 w 1506"/>
                <a:gd name="T15" fmla="*/ 163 h 2274"/>
                <a:gd name="T16" fmla="*/ 16 w 1506"/>
                <a:gd name="T17" fmla="*/ 140 h 2274"/>
                <a:gd name="T18" fmla="*/ 19 w 1506"/>
                <a:gd name="T19" fmla="*/ 137 h 2274"/>
                <a:gd name="T20" fmla="*/ 24 w 1506"/>
                <a:gd name="T21" fmla="*/ 126 h 2274"/>
                <a:gd name="T22" fmla="*/ 23 w 1506"/>
                <a:gd name="T23" fmla="*/ 105 h 2274"/>
                <a:gd name="T24" fmla="*/ 14 w 1506"/>
                <a:gd name="T25" fmla="*/ 86 h 2274"/>
                <a:gd name="T26" fmla="*/ 8 w 1506"/>
                <a:gd name="T27" fmla="*/ 84 h 2274"/>
                <a:gd name="T28" fmla="*/ 5 w 1506"/>
                <a:gd name="T29" fmla="*/ 79 h 2274"/>
                <a:gd name="T30" fmla="*/ 16 w 1506"/>
                <a:gd name="T31" fmla="*/ 71 h 2274"/>
                <a:gd name="T32" fmla="*/ 28 w 1506"/>
                <a:gd name="T33" fmla="*/ 55 h 2274"/>
                <a:gd name="T34" fmla="*/ 29 w 1506"/>
                <a:gd name="T35" fmla="*/ 48 h 2274"/>
                <a:gd name="T36" fmla="*/ 35 w 1506"/>
                <a:gd name="T37" fmla="*/ 50 h 2274"/>
                <a:gd name="T38" fmla="*/ 42 w 1506"/>
                <a:gd name="T39" fmla="*/ 47 h 2274"/>
                <a:gd name="T40" fmla="*/ 63 w 1506"/>
                <a:gd name="T41" fmla="*/ 34 h 2274"/>
                <a:gd name="T42" fmla="*/ 74 w 1506"/>
                <a:gd name="T43" fmla="*/ 27 h 2274"/>
                <a:gd name="T44" fmla="*/ 81 w 1506"/>
                <a:gd name="T45" fmla="*/ 20 h 2274"/>
                <a:gd name="T46" fmla="*/ 89 w 1506"/>
                <a:gd name="T47" fmla="*/ 20 h 2274"/>
                <a:gd name="T48" fmla="*/ 98 w 1506"/>
                <a:gd name="T49" fmla="*/ 27 h 2274"/>
                <a:gd name="T50" fmla="*/ 106 w 1506"/>
                <a:gd name="T51" fmla="*/ 17 h 2274"/>
                <a:gd name="T52" fmla="*/ 111 w 1506"/>
                <a:gd name="T53" fmla="*/ 8 h 2274"/>
                <a:gd name="T54" fmla="*/ 121 w 1506"/>
                <a:gd name="T55" fmla="*/ 2 h 2274"/>
                <a:gd name="T56" fmla="*/ 129 w 1506"/>
                <a:gd name="T57" fmla="*/ 5 h 2274"/>
                <a:gd name="T58" fmla="*/ 125 w 1506"/>
                <a:gd name="T59" fmla="*/ 12 h 2274"/>
                <a:gd name="T60" fmla="*/ 122 w 1506"/>
                <a:gd name="T61" fmla="*/ 20 h 2274"/>
                <a:gd name="T62" fmla="*/ 122 w 1506"/>
                <a:gd name="T63" fmla="*/ 27 h 2274"/>
                <a:gd name="T64" fmla="*/ 120 w 1506"/>
                <a:gd name="T65" fmla="*/ 36 h 2274"/>
                <a:gd name="T66" fmla="*/ 116 w 1506"/>
                <a:gd name="T67" fmla="*/ 43 h 2274"/>
                <a:gd name="T68" fmla="*/ 109 w 1506"/>
                <a:gd name="T69" fmla="*/ 47 h 2274"/>
                <a:gd name="T70" fmla="*/ 108 w 1506"/>
                <a:gd name="T71" fmla="*/ 54 h 2274"/>
                <a:gd name="T72" fmla="*/ 106 w 1506"/>
                <a:gd name="T73" fmla="*/ 59 h 2274"/>
                <a:gd name="T74" fmla="*/ 109 w 1506"/>
                <a:gd name="T75" fmla="*/ 64 h 2274"/>
                <a:gd name="T76" fmla="*/ 106 w 1506"/>
                <a:gd name="T77" fmla="*/ 70 h 2274"/>
                <a:gd name="T78" fmla="*/ 105 w 1506"/>
                <a:gd name="T79" fmla="*/ 75 h 2274"/>
                <a:gd name="T80" fmla="*/ 101 w 1506"/>
                <a:gd name="T81" fmla="*/ 78 h 2274"/>
                <a:gd name="T82" fmla="*/ 92 w 1506"/>
                <a:gd name="T83" fmla="*/ 81 h 2274"/>
                <a:gd name="T84" fmla="*/ 85 w 1506"/>
                <a:gd name="T85" fmla="*/ 85 h 2274"/>
                <a:gd name="T86" fmla="*/ 87 w 1506"/>
                <a:gd name="T87" fmla="*/ 91 h 2274"/>
                <a:gd name="T88" fmla="*/ 86 w 1506"/>
                <a:gd name="T89" fmla="*/ 98 h 2274"/>
                <a:gd name="T90" fmla="*/ 86 w 1506"/>
                <a:gd name="T91" fmla="*/ 103 h 2274"/>
                <a:gd name="T92" fmla="*/ 82 w 1506"/>
                <a:gd name="T93" fmla="*/ 111 h 2274"/>
                <a:gd name="T94" fmla="*/ 81 w 1506"/>
                <a:gd name="T95" fmla="*/ 116 h 2274"/>
                <a:gd name="T96" fmla="*/ 78 w 1506"/>
                <a:gd name="T97" fmla="*/ 120 h 2274"/>
                <a:gd name="T98" fmla="*/ 76 w 1506"/>
                <a:gd name="T99" fmla="*/ 126 h 2274"/>
                <a:gd name="T100" fmla="*/ 68 w 1506"/>
                <a:gd name="T101" fmla="*/ 129 h 2274"/>
                <a:gd name="T102" fmla="*/ 62 w 1506"/>
                <a:gd name="T103" fmla="*/ 131 h 2274"/>
                <a:gd name="T104" fmla="*/ 58 w 1506"/>
                <a:gd name="T105" fmla="*/ 136 h 2274"/>
                <a:gd name="T106" fmla="*/ 51 w 1506"/>
                <a:gd name="T107" fmla="*/ 138 h 2274"/>
                <a:gd name="T108" fmla="*/ 51 w 1506"/>
                <a:gd name="T109" fmla="*/ 147 h 2274"/>
                <a:gd name="T110" fmla="*/ 49 w 1506"/>
                <a:gd name="T111" fmla="*/ 159 h 2274"/>
                <a:gd name="T112" fmla="*/ 48 w 1506"/>
                <a:gd name="T113" fmla="*/ 166 h 2274"/>
                <a:gd name="T114" fmla="*/ 41 w 1506"/>
                <a:gd name="T115" fmla="*/ 174 h 2274"/>
                <a:gd name="T116" fmla="*/ 39 w 1506"/>
                <a:gd name="T117" fmla="*/ 181 h 2274"/>
                <a:gd name="T118" fmla="*/ 37 w 1506"/>
                <a:gd name="T119" fmla="*/ 190 h 2274"/>
                <a:gd name="T120" fmla="*/ 29 w 1506"/>
                <a:gd name="T121" fmla="*/ 198 h 22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06"/>
                <a:gd name="T184" fmla="*/ 0 h 2274"/>
                <a:gd name="T185" fmla="*/ 1506 w 1506"/>
                <a:gd name="T186" fmla="*/ 2274 h 227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06" h="2274">
                  <a:moveTo>
                    <a:pt x="330" y="2274"/>
                  </a:moveTo>
                  <a:lnTo>
                    <a:pt x="318" y="2262"/>
                  </a:lnTo>
                  <a:lnTo>
                    <a:pt x="312" y="2238"/>
                  </a:lnTo>
                  <a:lnTo>
                    <a:pt x="312" y="2232"/>
                  </a:lnTo>
                  <a:lnTo>
                    <a:pt x="294" y="2214"/>
                  </a:lnTo>
                  <a:lnTo>
                    <a:pt x="288" y="2208"/>
                  </a:lnTo>
                  <a:lnTo>
                    <a:pt x="288" y="2202"/>
                  </a:lnTo>
                  <a:lnTo>
                    <a:pt x="276" y="2196"/>
                  </a:lnTo>
                  <a:lnTo>
                    <a:pt x="276" y="2190"/>
                  </a:lnTo>
                  <a:lnTo>
                    <a:pt x="282" y="2190"/>
                  </a:lnTo>
                  <a:lnTo>
                    <a:pt x="282" y="2184"/>
                  </a:lnTo>
                  <a:lnTo>
                    <a:pt x="276" y="2172"/>
                  </a:lnTo>
                  <a:lnTo>
                    <a:pt x="276" y="2166"/>
                  </a:lnTo>
                  <a:lnTo>
                    <a:pt x="282" y="2166"/>
                  </a:lnTo>
                  <a:lnTo>
                    <a:pt x="282" y="2154"/>
                  </a:lnTo>
                  <a:lnTo>
                    <a:pt x="276" y="2136"/>
                  </a:lnTo>
                  <a:lnTo>
                    <a:pt x="276" y="2112"/>
                  </a:lnTo>
                  <a:lnTo>
                    <a:pt x="282" y="2088"/>
                  </a:lnTo>
                  <a:lnTo>
                    <a:pt x="282" y="2082"/>
                  </a:lnTo>
                  <a:lnTo>
                    <a:pt x="282" y="2076"/>
                  </a:lnTo>
                  <a:lnTo>
                    <a:pt x="282" y="2070"/>
                  </a:lnTo>
                  <a:lnTo>
                    <a:pt x="288" y="2070"/>
                  </a:lnTo>
                  <a:lnTo>
                    <a:pt x="288" y="2064"/>
                  </a:lnTo>
                  <a:lnTo>
                    <a:pt x="282" y="2052"/>
                  </a:lnTo>
                  <a:lnTo>
                    <a:pt x="282" y="2046"/>
                  </a:lnTo>
                  <a:lnTo>
                    <a:pt x="276" y="2040"/>
                  </a:lnTo>
                  <a:lnTo>
                    <a:pt x="270" y="2034"/>
                  </a:lnTo>
                  <a:lnTo>
                    <a:pt x="264" y="2022"/>
                  </a:lnTo>
                  <a:lnTo>
                    <a:pt x="258" y="2022"/>
                  </a:lnTo>
                  <a:lnTo>
                    <a:pt x="258" y="2016"/>
                  </a:lnTo>
                  <a:lnTo>
                    <a:pt x="252" y="2016"/>
                  </a:lnTo>
                  <a:lnTo>
                    <a:pt x="246" y="2016"/>
                  </a:lnTo>
                  <a:lnTo>
                    <a:pt x="240" y="2010"/>
                  </a:lnTo>
                  <a:lnTo>
                    <a:pt x="234" y="2004"/>
                  </a:lnTo>
                  <a:lnTo>
                    <a:pt x="228" y="2004"/>
                  </a:lnTo>
                  <a:lnTo>
                    <a:pt x="228" y="1998"/>
                  </a:lnTo>
                  <a:lnTo>
                    <a:pt x="228" y="1992"/>
                  </a:lnTo>
                  <a:lnTo>
                    <a:pt x="222" y="1992"/>
                  </a:lnTo>
                  <a:lnTo>
                    <a:pt x="222" y="1986"/>
                  </a:lnTo>
                  <a:lnTo>
                    <a:pt x="216" y="1986"/>
                  </a:lnTo>
                  <a:lnTo>
                    <a:pt x="210" y="1980"/>
                  </a:lnTo>
                  <a:lnTo>
                    <a:pt x="216" y="1974"/>
                  </a:lnTo>
                  <a:lnTo>
                    <a:pt x="210" y="1968"/>
                  </a:lnTo>
                  <a:lnTo>
                    <a:pt x="198" y="1956"/>
                  </a:lnTo>
                  <a:lnTo>
                    <a:pt x="192" y="1956"/>
                  </a:lnTo>
                  <a:lnTo>
                    <a:pt x="186" y="1956"/>
                  </a:lnTo>
                  <a:lnTo>
                    <a:pt x="180" y="1944"/>
                  </a:lnTo>
                  <a:lnTo>
                    <a:pt x="180" y="1938"/>
                  </a:lnTo>
                  <a:lnTo>
                    <a:pt x="174" y="1932"/>
                  </a:lnTo>
                  <a:lnTo>
                    <a:pt x="168" y="1932"/>
                  </a:lnTo>
                  <a:lnTo>
                    <a:pt x="162" y="1932"/>
                  </a:lnTo>
                  <a:lnTo>
                    <a:pt x="150" y="1932"/>
                  </a:lnTo>
                  <a:lnTo>
                    <a:pt x="150" y="1926"/>
                  </a:lnTo>
                  <a:lnTo>
                    <a:pt x="150" y="1932"/>
                  </a:lnTo>
                  <a:lnTo>
                    <a:pt x="144" y="1932"/>
                  </a:lnTo>
                  <a:lnTo>
                    <a:pt x="138" y="1932"/>
                  </a:lnTo>
                  <a:lnTo>
                    <a:pt x="132" y="1932"/>
                  </a:lnTo>
                  <a:lnTo>
                    <a:pt x="132" y="1938"/>
                  </a:lnTo>
                  <a:lnTo>
                    <a:pt x="126" y="1944"/>
                  </a:lnTo>
                  <a:lnTo>
                    <a:pt x="126" y="1956"/>
                  </a:lnTo>
                  <a:lnTo>
                    <a:pt x="120" y="1968"/>
                  </a:lnTo>
                  <a:lnTo>
                    <a:pt x="120" y="1974"/>
                  </a:lnTo>
                  <a:lnTo>
                    <a:pt x="120" y="1980"/>
                  </a:lnTo>
                  <a:lnTo>
                    <a:pt x="126" y="1980"/>
                  </a:lnTo>
                  <a:lnTo>
                    <a:pt x="120" y="1986"/>
                  </a:lnTo>
                  <a:lnTo>
                    <a:pt x="120" y="1992"/>
                  </a:lnTo>
                  <a:lnTo>
                    <a:pt x="114" y="1992"/>
                  </a:lnTo>
                  <a:lnTo>
                    <a:pt x="114" y="1986"/>
                  </a:lnTo>
                  <a:lnTo>
                    <a:pt x="108" y="1992"/>
                  </a:lnTo>
                  <a:lnTo>
                    <a:pt x="108" y="1998"/>
                  </a:lnTo>
                  <a:lnTo>
                    <a:pt x="114" y="2004"/>
                  </a:lnTo>
                  <a:lnTo>
                    <a:pt x="108" y="2004"/>
                  </a:lnTo>
                  <a:lnTo>
                    <a:pt x="102" y="2010"/>
                  </a:lnTo>
                  <a:lnTo>
                    <a:pt x="102" y="2004"/>
                  </a:lnTo>
                  <a:lnTo>
                    <a:pt x="90" y="2004"/>
                  </a:lnTo>
                  <a:lnTo>
                    <a:pt x="84" y="2004"/>
                  </a:lnTo>
                  <a:lnTo>
                    <a:pt x="78" y="1998"/>
                  </a:lnTo>
                  <a:lnTo>
                    <a:pt x="78" y="1992"/>
                  </a:lnTo>
                  <a:lnTo>
                    <a:pt x="78" y="1986"/>
                  </a:lnTo>
                  <a:lnTo>
                    <a:pt x="72" y="1986"/>
                  </a:lnTo>
                  <a:lnTo>
                    <a:pt x="66" y="1980"/>
                  </a:lnTo>
                  <a:lnTo>
                    <a:pt x="66" y="1968"/>
                  </a:lnTo>
                  <a:lnTo>
                    <a:pt x="60" y="1956"/>
                  </a:lnTo>
                  <a:lnTo>
                    <a:pt x="60" y="1950"/>
                  </a:lnTo>
                  <a:lnTo>
                    <a:pt x="48" y="1944"/>
                  </a:lnTo>
                  <a:lnTo>
                    <a:pt x="30" y="1926"/>
                  </a:lnTo>
                  <a:lnTo>
                    <a:pt x="12" y="1890"/>
                  </a:lnTo>
                  <a:lnTo>
                    <a:pt x="6" y="1872"/>
                  </a:lnTo>
                  <a:lnTo>
                    <a:pt x="0" y="1854"/>
                  </a:lnTo>
                  <a:lnTo>
                    <a:pt x="6" y="1824"/>
                  </a:lnTo>
                  <a:lnTo>
                    <a:pt x="30" y="1794"/>
                  </a:lnTo>
                  <a:lnTo>
                    <a:pt x="66" y="1752"/>
                  </a:lnTo>
                  <a:lnTo>
                    <a:pt x="72" y="1752"/>
                  </a:lnTo>
                  <a:lnTo>
                    <a:pt x="78" y="1746"/>
                  </a:lnTo>
                  <a:lnTo>
                    <a:pt x="84" y="1746"/>
                  </a:lnTo>
                  <a:lnTo>
                    <a:pt x="90" y="1746"/>
                  </a:lnTo>
                  <a:lnTo>
                    <a:pt x="138" y="1674"/>
                  </a:lnTo>
                  <a:lnTo>
                    <a:pt x="186" y="1620"/>
                  </a:lnTo>
                  <a:lnTo>
                    <a:pt x="186" y="1614"/>
                  </a:lnTo>
                  <a:lnTo>
                    <a:pt x="186" y="1608"/>
                  </a:lnTo>
                  <a:lnTo>
                    <a:pt x="192" y="1608"/>
                  </a:lnTo>
                  <a:lnTo>
                    <a:pt x="192" y="1614"/>
                  </a:lnTo>
                  <a:lnTo>
                    <a:pt x="198" y="1614"/>
                  </a:lnTo>
                  <a:lnTo>
                    <a:pt x="198" y="1608"/>
                  </a:lnTo>
                  <a:lnTo>
                    <a:pt x="198" y="1602"/>
                  </a:lnTo>
                  <a:lnTo>
                    <a:pt x="204" y="1602"/>
                  </a:lnTo>
                  <a:lnTo>
                    <a:pt x="204" y="1596"/>
                  </a:lnTo>
                  <a:lnTo>
                    <a:pt x="210" y="1590"/>
                  </a:lnTo>
                  <a:lnTo>
                    <a:pt x="216" y="1590"/>
                  </a:lnTo>
                  <a:lnTo>
                    <a:pt x="216" y="1584"/>
                  </a:lnTo>
                  <a:lnTo>
                    <a:pt x="222" y="1584"/>
                  </a:lnTo>
                  <a:lnTo>
                    <a:pt x="228" y="1572"/>
                  </a:lnTo>
                  <a:lnTo>
                    <a:pt x="222" y="1572"/>
                  </a:lnTo>
                  <a:lnTo>
                    <a:pt x="228" y="1566"/>
                  </a:lnTo>
                  <a:lnTo>
                    <a:pt x="228" y="1560"/>
                  </a:lnTo>
                  <a:lnTo>
                    <a:pt x="252" y="1548"/>
                  </a:lnTo>
                  <a:lnTo>
                    <a:pt x="276" y="1530"/>
                  </a:lnTo>
                  <a:lnTo>
                    <a:pt x="282" y="1512"/>
                  </a:lnTo>
                  <a:lnTo>
                    <a:pt x="282" y="1506"/>
                  </a:lnTo>
                  <a:lnTo>
                    <a:pt x="282" y="1494"/>
                  </a:lnTo>
                  <a:lnTo>
                    <a:pt x="282" y="1452"/>
                  </a:lnTo>
                  <a:lnTo>
                    <a:pt x="288" y="1440"/>
                  </a:lnTo>
                  <a:lnTo>
                    <a:pt x="294" y="1440"/>
                  </a:lnTo>
                  <a:lnTo>
                    <a:pt x="294" y="1428"/>
                  </a:lnTo>
                  <a:lnTo>
                    <a:pt x="324" y="1368"/>
                  </a:lnTo>
                  <a:lnTo>
                    <a:pt x="330" y="1362"/>
                  </a:lnTo>
                  <a:lnTo>
                    <a:pt x="330" y="1356"/>
                  </a:lnTo>
                  <a:lnTo>
                    <a:pt x="360" y="1338"/>
                  </a:lnTo>
                  <a:lnTo>
                    <a:pt x="366" y="1296"/>
                  </a:lnTo>
                  <a:lnTo>
                    <a:pt x="354" y="1278"/>
                  </a:lnTo>
                  <a:lnTo>
                    <a:pt x="336" y="1230"/>
                  </a:lnTo>
                  <a:lnTo>
                    <a:pt x="270" y="1212"/>
                  </a:lnTo>
                  <a:lnTo>
                    <a:pt x="264" y="1212"/>
                  </a:lnTo>
                  <a:lnTo>
                    <a:pt x="252" y="1200"/>
                  </a:lnTo>
                  <a:lnTo>
                    <a:pt x="234" y="1188"/>
                  </a:lnTo>
                  <a:lnTo>
                    <a:pt x="222" y="1182"/>
                  </a:lnTo>
                  <a:lnTo>
                    <a:pt x="228" y="1104"/>
                  </a:lnTo>
                  <a:lnTo>
                    <a:pt x="228" y="1098"/>
                  </a:lnTo>
                  <a:lnTo>
                    <a:pt x="198" y="1038"/>
                  </a:lnTo>
                  <a:lnTo>
                    <a:pt x="192" y="1032"/>
                  </a:lnTo>
                  <a:lnTo>
                    <a:pt x="180" y="1020"/>
                  </a:lnTo>
                  <a:lnTo>
                    <a:pt x="168" y="996"/>
                  </a:lnTo>
                  <a:lnTo>
                    <a:pt x="162" y="990"/>
                  </a:lnTo>
                  <a:lnTo>
                    <a:pt x="156" y="990"/>
                  </a:lnTo>
                  <a:lnTo>
                    <a:pt x="150" y="990"/>
                  </a:lnTo>
                  <a:lnTo>
                    <a:pt x="132" y="990"/>
                  </a:lnTo>
                  <a:lnTo>
                    <a:pt x="120" y="984"/>
                  </a:lnTo>
                  <a:lnTo>
                    <a:pt x="120" y="990"/>
                  </a:lnTo>
                  <a:lnTo>
                    <a:pt x="114" y="990"/>
                  </a:lnTo>
                  <a:lnTo>
                    <a:pt x="102" y="984"/>
                  </a:lnTo>
                  <a:lnTo>
                    <a:pt x="96" y="984"/>
                  </a:lnTo>
                  <a:lnTo>
                    <a:pt x="96" y="978"/>
                  </a:lnTo>
                  <a:lnTo>
                    <a:pt x="90" y="978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84" y="960"/>
                  </a:lnTo>
                  <a:lnTo>
                    <a:pt x="84" y="954"/>
                  </a:lnTo>
                  <a:lnTo>
                    <a:pt x="78" y="948"/>
                  </a:lnTo>
                  <a:lnTo>
                    <a:pt x="72" y="948"/>
                  </a:lnTo>
                  <a:lnTo>
                    <a:pt x="72" y="942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06"/>
                  </a:lnTo>
                  <a:lnTo>
                    <a:pt x="60" y="888"/>
                  </a:lnTo>
                  <a:lnTo>
                    <a:pt x="54" y="882"/>
                  </a:lnTo>
                  <a:lnTo>
                    <a:pt x="60" y="882"/>
                  </a:lnTo>
                  <a:lnTo>
                    <a:pt x="72" y="876"/>
                  </a:lnTo>
                  <a:lnTo>
                    <a:pt x="78" y="876"/>
                  </a:lnTo>
                  <a:lnTo>
                    <a:pt x="90" y="870"/>
                  </a:lnTo>
                  <a:lnTo>
                    <a:pt x="90" y="864"/>
                  </a:lnTo>
                  <a:lnTo>
                    <a:pt x="96" y="840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80" y="822"/>
                  </a:lnTo>
                  <a:lnTo>
                    <a:pt x="204" y="798"/>
                  </a:lnTo>
                  <a:lnTo>
                    <a:pt x="222" y="786"/>
                  </a:lnTo>
                  <a:lnTo>
                    <a:pt x="252" y="780"/>
                  </a:lnTo>
                  <a:lnTo>
                    <a:pt x="264" y="762"/>
                  </a:lnTo>
                  <a:lnTo>
                    <a:pt x="276" y="762"/>
                  </a:lnTo>
                  <a:lnTo>
                    <a:pt x="288" y="744"/>
                  </a:lnTo>
                  <a:lnTo>
                    <a:pt x="306" y="738"/>
                  </a:lnTo>
                  <a:lnTo>
                    <a:pt x="318" y="732"/>
                  </a:lnTo>
                  <a:lnTo>
                    <a:pt x="324" y="648"/>
                  </a:lnTo>
                  <a:lnTo>
                    <a:pt x="324" y="636"/>
                  </a:lnTo>
                  <a:lnTo>
                    <a:pt x="324" y="630"/>
                  </a:lnTo>
                  <a:lnTo>
                    <a:pt x="330" y="624"/>
                  </a:lnTo>
                  <a:lnTo>
                    <a:pt x="324" y="618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24" y="588"/>
                  </a:lnTo>
                  <a:lnTo>
                    <a:pt x="318" y="576"/>
                  </a:lnTo>
                  <a:lnTo>
                    <a:pt x="318" y="570"/>
                  </a:lnTo>
                  <a:lnTo>
                    <a:pt x="324" y="570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30" y="558"/>
                  </a:lnTo>
                  <a:lnTo>
                    <a:pt x="336" y="558"/>
                  </a:lnTo>
                  <a:lnTo>
                    <a:pt x="342" y="558"/>
                  </a:lnTo>
                  <a:lnTo>
                    <a:pt x="348" y="558"/>
                  </a:lnTo>
                  <a:lnTo>
                    <a:pt x="354" y="564"/>
                  </a:lnTo>
                  <a:lnTo>
                    <a:pt x="360" y="564"/>
                  </a:lnTo>
                  <a:lnTo>
                    <a:pt x="366" y="570"/>
                  </a:lnTo>
                  <a:lnTo>
                    <a:pt x="366" y="576"/>
                  </a:lnTo>
                  <a:lnTo>
                    <a:pt x="372" y="570"/>
                  </a:lnTo>
                  <a:lnTo>
                    <a:pt x="378" y="570"/>
                  </a:lnTo>
                  <a:lnTo>
                    <a:pt x="390" y="570"/>
                  </a:lnTo>
                  <a:lnTo>
                    <a:pt x="402" y="570"/>
                  </a:lnTo>
                  <a:lnTo>
                    <a:pt x="408" y="570"/>
                  </a:lnTo>
                  <a:lnTo>
                    <a:pt x="414" y="564"/>
                  </a:lnTo>
                  <a:lnTo>
                    <a:pt x="420" y="564"/>
                  </a:lnTo>
                  <a:lnTo>
                    <a:pt x="420" y="570"/>
                  </a:lnTo>
                  <a:lnTo>
                    <a:pt x="426" y="570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44" y="570"/>
                  </a:lnTo>
                  <a:lnTo>
                    <a:pt x="450" y="564"/>
                  </a:lnTo>
                  <a:lnTo>
                    <a:pt x="474" y="558"/>
                  </a:lnTo>
                  <a:lnTo>
                    <a:pt x="486" y="54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40" y="474"/>
                  </a:lnTo>
                  <a:lnTo>
                    <a:pt x="558" y="456"/>
                  </a:lnTo>
                  <a:lnTo>
                    <a:pt x="582" y="450"/>
                  </a:lnTo>
                  <a:lnTo>
                    <a:pt x="594" y="414"/>
                  </a:lnTo>
                  <a:lnTo>
                    <a:pt x="612" y="390"/>
                  </a:lnTo>
                  <a:lnTo>
                    <a:pt x="636" y="390"/>
                  </a:lnTo>
                  <a:lnTo>
                    <a:pt x="666" y="390"/>
                  </a:lnTo>
                  <a:lnTo>
                    <a:pt x="696" y="390"/>
                  </a:lnTo>
                  <a:lnTo>
                    <a:pt x="726" y="390"/>
                  </a:lnTo>
                  <a:lnTo>
                    <a:pt x="762" y="378"/>
                  </a:lnTo>
                  <a:lnTo>
                    <a:pt x="780" y="366"/>
                  </a:lnTo>
                  <a:lnTo>
                    <a:pt x="780" y="342"/>
                  </a:lnTo>
                  <a:lnTo>
                    <a:pt x="786" y="342"/>
                  </a:lnTo>
                  <a:lnTo>
                    <a:pt x="786" y="336"/>
                  </a:lnTo>
                  <a:lnTo>
                    <a:pt x="786" y="330"/>
                  </a:lnTo>
                  <a:lnTo>
                    <a:pt x="786" y="324"/>
                  </a:lnTo>
                  <a:lnTo>
                    <a:pt x="816" y="318"/>
                  </a:lnTo>
                  <a:lnTo>
                    <a:pt x="834" y="312"/>
                  </a:lnTo>
                  <a:lnTo>
                    <a:pt x="840" y="318"/>
                  </a:lnTo>
                  <a:lnTo>
                    <a:pt x="852" y="318"/>
                  </a:lnTo>
                  <a:lnTo>
                    <a:pt x="858" y="306"/>
                  </a:lnTo>
                  <a:lnTo>
                    <a:pt x="864" y="288"/>
                  </a:lnTo>
                  <a:lnTo>
                    <a:pt x="870" y="282"/>
                  </a:lnTo>
                  <a:lnTo>
                    <a:pt x="876" y="276"/>
                  </a:lnTo>
                  <a:lnTo>
                    <a:pt x="882" y="264"/>
                  </a:lnTo>
                  <a:lnTo>
                    <a:pt x="882" y="258"/>
                  </a:lnTo>
                  <a:lnTo>
                    <a:pt x="888" y="252"/>
                  </a:lnTo>
                  <a:lnTo>
                    <a:pt x="894" y="240"/>
                  </a:lnTo>
                  <a:lnTo>
                    <a:pt x="906" y="228"/>
                  </a:lnTo>
                  <a:lnTo>
                    <a:pt x="912" y="228"/>
                  </a:lnTo>
                  <a:lnTo>
                    <a:pt x="936" y="228"/>
                  </a:lnTo>
                  <a:lnTo>
                    <a:pt x="942" y="222"/>
                  </a:lnTo>
                  <a:lnTo>
                    <a:pt x="948" y="216"/>
                  </a:lnTo>
                  <a:lnTo>
                    <a:pt x="954" y="216"/>
                  </a:lnTo>
                  <a:lnTo>
                    <a:pt x="960" y="216"/>
                  </a:lnTo>
                  <a:lnTo>
                    <a:pt x="966" y="216"/>
                  </a:lnTo>
                  <a:lnTo>
                    <a:pt x="978" y="216"/>
                  </a:lnTo>
                  <a:lnTo>
                    <a:pt x="990" y="222"/>
                  </a:lnTo>
                  <a:lnTo>
                    <a:pt x="996" y="222"/>
                  </a:lnTo>
                  <a:lnTo>
                    <a:pt x="1002" y="228"/>
                  </a:lnTo>
                  <a:lnTo>
                    <a:pt x="1014" y="234"/>
                  </a:lnTo>
                  <a:lnTo>
                    <a:pt x="1020" y="234"/>
                  </a:lnTo>
                  <a:lnTo>
                    <a:pt x="1032" y="240"/>
                  </a:lnTo>
                  <a:lnTo>
                    <a:pt x="1044" y="240"/>
                  </a:lnTo>
                  <a:lnTo>
                    <a:pt x="1050" y="240"/>
                  </a:lnTo>
                  <a:lnTo>
                    <a:pt x="1056" y="246"/>
                  </a:lnTo>
                  <a:lnTo>
                    <a:pt x="1068" y="264"/>
                  </a:lnTo>
                  <a:lnTo>
                    <a:pt x="1086" y="276"/>
                  </a:lnTo>
                  <a:lnTo>
                    <a:pt x="1092" y="276"/>
                  </a:lnTo>
                  <a:lnTo>
                    <a:pt x="1104" y="282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8" y="312"/>
                  </a:lnTo>
                  <a:lnTo>
                    <a:pt x="1152" y="324"/>
                  </a:lnTo>
                  <a:lnTo>
                    <a:pt x="1188" y="324"/>
                  </a:lnTo>
                  <a:lnTo>
                    <a:pt x="1206" y="318"/>
                  </a:lnTo>
                  <a:lnTo>
                    <a:pt x="1200" y="294"/>
                  </a:lnTo>
                  <a:lnTo>
                    <a:pt x="1206" y="252"/>
                  </a:lnTo>
                  <a:lnTo>
                    <a:pt x="1218" y="222"/>
                  </a:lnTo>
                  <a:lnTo>
                    <a:pt x="1212" y="222"/>
                  </a:lnTo>
                  <a:lnTo>
                    <a:pt x="1212" y="216"/>
                  </a:lnTo>
                  <a:lnTo>
                    <a:pt x="1218" y="204"/>
                  </a:lnTo>
                  <a:lnTo>
                    <a:pt x="1224" y="198"/>
                  </a:lnTo>
                  <a:lnTo>
                    <a:pt x="1224" y="192"/>
                  </a:lnTo>
                  <a:lnTo>
                    <a:pt x="1236" y="180"/>
                  </a:lnTo>
                  <a:lnTo>
                    <a:pt x="1254" y="156"/>
                  </a:lnTo>
                  <a:lnTo>
                    <a:pt x="1260" y="150"/>
                  </a:lnTo>
                  <a:lnTo>
                    <a:pt x="1260" y="144"/>
                  </a:lnTo>
                  <a:lnTo>
                    <a:pt x="1266" y="138"/>
                  </a:lnTo>
                  <a:lnTo>
                    <a:pt x="1272" y="138"/>
                  </a:lnTo>
                  <a:lnTo>
                    <a:pt x="1272" y="120"/>
                  </a:lnTo>
                  <a:lnTo>
                    <a:pt x="1278" y="114"/>
                  </a:lnTo>
                  <a:lnTo>
                    <a:pt x="1278" y="108"/>
                  </a:lnTo>
                  <a:lnTo>
                    <a:pt x="1278" y="102"/>
                  </a:lnTo>
                  <a:lnTo>
                    <a:pt x="1278" y="90"/>
                  </a:lnTo>
                  <a:lnTo>
                    <a:pt x="1278" y="84"/>
                  </a:lnTo>
                  <a:lnTo>
                    <a:pt x="1278" y="78"/>
                  </a:lnTo>
                  <a:lnTo>
                    <a:pt x="1278" y="72"/>
                  </a:lnTo>
                  <a:lnTo>
                    <a:pt x="1278" y="60"/>
                  </a:lnTo>
                  <a:lnTo>
                    <a:pt x="1284" y="48"/>
                  </a:lnTo>
                  <a:lnTo>
                    <a:pt x="1284" y="24"/>
                  </a:lnTo>
                  <a:lnTo>
                    <a:pt x="1284" y="18"/>
                  </a:lnTo>
                  <a:lnTo>
                    <a:pt x="1308" y="24"/>
                  </a:lnTo>
                  <a:lnTo>
                    <a:pt x="1332" y="30"/>
                  </a:lnTo>
                  <a:lnTo>
                    <a:pt x="1368" y="30"/>
                  </a:lnTo>
                  <a:lnTo>
                    <a:pt x="1392" y="24"/>
                  </a:lnTo>
                  <a:lnTo>
                    <a:pt x="1410" y="18"/>
                  </a:lnTo>
                  <a:lnTo>
                    <a:pt x="1416" y="6"/>
                  </a:lnTo>
                  <a:lnTo>
                    <a:pt x="1500" y="6"/>
                  </a:lnTo>
                  <a:lnTo>
                    <a:pt x="1506" y="0"/>
                  </a:lnTo>
                  <a:lnTo>
                    <a:pt x="1506" y="6"/>
                  </a:lnTo>
                  <a:lnTo>
                    <a:pt x="1506" y="18"/>
                  </a:lnTo>
                  <a:lnTo>
                    <a:pt x="1506" y="24"/>
                  </a:lnTo>
                  <a:lnTo>
                    <a:pt x="1500" y="30"/>
                  </a:lnTo>
                  <a:lnTo>
                    <a:pt x="1500" y="42"/>
                  </a:lnTo>
                  <a:lnTo>
                    <a:pt x="1494" y="54"/>
                  </a:lnTo>
                  <a:lnTo>
                    <a:pt x="1488" y="60"/>
                  </a:lnTo>
                  <a:lnTo>
                    <a:pt x="1482" y="60"/>
                  </a:lnTo>
                  <a:lnTo>
                    <a:pt x="1476" y="66"/>
                  </a:lnTo>
                  <a:lnTo>
                    <a:pt x="1476" y="72"/>
                  </a:lnTo>
                  <a:lnTo>
                    <a:pt x="1476" y="78"/>
                  </a:lnTo>
                  <a:lnTo>
                    <a:pt x="1470" y="78"/>
                  </a:lnTo>
                  <a:lnTo>
                    <a:pt x="1464" y="90"/>
                  </a:lnTo>
                  <a:lnTo>
                    <a:pt x="1458" y="96"/>
                  </a:lnTo>
                  <a:lnTo>
                    <a:pt x="1458" y="102"/>
                  </a:lnTo>
                  <a:lnTo>
                    <a:pt x="1452" y="120"/>
                  </a:lnTo>
                  <a:lnTo>
                    <a:pt x="1452" y="132"/>
                  </a:lnTo>
                  <a:lnTo>
                    <a:pt x="1446" y="144"/>
                  </a:lnTo>
                  <a:lnTo>
                    <a:pt x="1446" y="150"/>
                  </a:lnTo>
                  <a:lnTo>
                    <a:pt x="1440" y="150"/>
                  </a:lnTo>
                  <a:lnTo>
                    <a:pt x="1434" y="156"/>
                  </a:lnTo>
                  <a:lnTo>
                    <a:pt x="1428" y="168"/>
                  </a:lnTo>
                  <a:lnTo>
                    <a:pt x="1422" y="168"/>
                  </a:lnTo>
                  <a:lnTo>
                    <a:pt x="1416" y="174"/>
                  </a:lnTo>
                  <a:lnTo>
                    <a:pt x="1410" y="186"/>
                  </a:lnTo>
                  <a:lnTo>
                    <a:pt x="1410" y="204"/>
                  </a:lnTo>
                  <a:lnTo>
                    <a:pt x="1404" y="210"/>
                  </a:lnTo>
                  <a:lnTo>
                    <a:pt x="1404" y="216"/>
                  </a:lnTo>
                  <a:lnTo>
                    <a:pt x="1410" y="228"/>
                  </a:lnTo>
                  <a:lnTo>
                    <a:pt x="1410" y="234"/>
                  </a:lnTo>
                  <a:lnTo>
                    <a:pt x="1410" y="240"/>
                  </a:lnTo>
                  <a:lnTo>
                    <a:pt x="1416" y="252"/>
                  </a:lnTo>
                  <a:lnTo>
                    <a:pt x="1416" y="258"/>
                  </a:lnTo>
                  <a:lnTo>
                    <a:pt x="1422" y="264"/>
                  </a:lnTo>
                  <a:lnTo>
                    <a:pt x="1422" y="270"/>
                  </a:lnTo>
                  <a:lnTo>
                    <a:pt x="1422" y="282"/>
                  </a:lnTo>
                  <a:lnTo>
                    <a:pt x="1416" y="288"/>
                  </a:lnTo>
                  <a:lnTo>
                    <a:pt x="1410" y="294"/>
                  </a:lnTo>
                  <a:lnTo>
                    <a:pt x="1404" y="300"/>
                  </a:lnTo>
                  <a:lnTo>
                    <a:pt x="1404" y="306"/>
                  </a:lnTo>
                  <a:lnTo>
                    <a:pt x="1398" y="324"/>
                  </a:lnTo>
                  <a:lnTo>
                    <a:pt x="1404" y="330"/>
                  </a:lnTo>
                  <a:lnTo>
                    <a:pt x="1404" y="342"/>
                  </a:lnTo>
                  <a:lnTo>
                    <a:pt x="1392" y="354"/>
                  </a:lnTo>
                  <a:lnTo>
                    <a:pt x="1392" y="360"/>
                  </a:lnTo>
                  <a:lnTo>
                    <a:pt x="1392" y="372"/>
                  </a:lnTo>
                  <a:lnTo>
                    <a:pt x="1392" y="384"/>
                  </a:lnTo>
                  <a:lnTo>
                    <a:pt x="1392" y="396"/>
                  </a:lnTo>
                  <a:lnTo>
                    <a:pt x="1392" y="408"/>
                  </a:lnTo>
                  <a:lnTo>
                    <a:pt x="1386" y="414"/>
                  </a:lnTo>
                  <a:lnTo>
                    <a:pt x="1380" y="420"/>
                  </a:lnTo>
                  <a:lnTo>
                    <a:pt x="1380" y="426"/>
                  </a:lnTo>
                  <a:lnTo>
                    <a:pt x="1368" y="432"/>
                  </a:lnTo>
                  <a:lnTo>
                    <a:pt x="1362" y="444"/>
                  </a:lnTo>
                  <a:lnTo>
                    <a:pt x="1362" y="450"/>
                  </a:lnTo>
                  <a:lnTo>
                    <a:pt x="1362" y="462"/>
                  </a:lnTo>
                  <a:lnTo>
                    <a:pt x="1362" y="468"/>
                  </a:lnTo>
                  <a:lnTo>
                    <a:pt x="1362" y="474"/>
                  </a:lnTo>
                  <a:lnTo>
                    <a:pt x="1356" y="474"/>
                  </a:lnTo>
                  <a:lnTo>
                    <a:pt x="1350" y="480"/>
                  </a:lnTo>
                  <a:lnTo>
                    <a:pt x="1344" y="486"/>
                  </a:lnTo>
                  <a:lnTo>
                    <a:pt x="1338" y="498"/>
                  </a:lnTo>
                  <a:lnTo>
                    <a:pt x="1332" y="510"/>
                  </a:lnTo>
                  <a:lnTo>
                    <a:pt x="1320" y="510"/>
                  </a:lnTo>
                  <a:lnTo>
                    <a:pt x="1314" y="516"/>
                  </a:lnTo>
                  <a:lnTo>
                    <a:pt x="1302" y="522"/>
                  </a:lnTo>
                  <a:lnTo>
                    <a:pt x="1296" y="522"/>
                  </a:lnTo>
                  <a:lnTo>
                    <a:pt x="1284" y="516"/>
                  </a:lnTo>
                  <a:lnTo>
                    <a:pt x="1278" y="516"/>
                  </a:lnTo>
                  <a:lnTo>
                    <a:pt x="1272" y="522"/>
                  </a:lnTo>
                  <a:lnTo>
                    <a:pt x="1266" y="522"/>
                  </a:lnTo>
                  <a:lnTo>
                    <a:pt x="1266" y="528"/>
                  </a:lnTo>
                  <a:lnTo>
                    <a:pt x="1254" y="540"/>
                  </a:lnTo>
                  <a:lnTo>
                    <a:pt x="1248" y="546"/>
                  </a:lnTo>
                  <a:lnTo>
                    <a:pt x="1242" y="558"/>
                  </a:lnTo>
                  <a:lnTo>
                    <a:pt x="1230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30" y="594"/>
                  </a:lnTo>
                  <a:lnTo>
                    <a:pt x="1230" y="600"/>
                  </a:lnTo>
                  <a:lnTo>
                    <a:pt x="1236" y="606"/>
                  </a:lnTo>
                  <a:lnTo>
                    <a:pt x="1242" y="606"/>
                  </a:lnTo>
                  <a:lnTo>
                    <a:pt x="1242" y="612"/>
                  </a:lnTo>
                  <a:lnTo>
                    <a:pt x="1242" y="618"/>
                  </a:lnTo>
                  <a:lnTo>
                    <a:pt x="1242" y="624"/>
                  </a:lnTo>
                  <a:lnTo>
                    <a:pt x="1236" y="630"/>
                  </a:lnTo>
                  <a:lnTo>
                    <a:pt x="1230" y="642"/>
                  </a:lnTo>
                  <a:lnTo>
                    <a:pt x="1230" y="648"/>
                  </a:lnTo>
                  <a:lnTo>
                    <a:pt x="1218" y="654"/>
                  </a:lnTo>
                  <a:lnTo>
                    <a:pt x="1212" y="654"/>
                  </a:lnTo>
                  <a:lnTo>
                    <a:pt x="1212" y="660"/>
                  </a:lnTo>
                  <a:lnTo>
                    <a:pt x="1212" y="666"/>
                  </a:lnTo>
                  <a:lnTo>
                    <a:pt x="1212" y="672"/>
                  </a:lnTo>
                  <a:lnTo>
                    <a:pt x="1212" y="678"/>
                  </a:lnTo>
                  <a:lnTo>
                    <a:pt x="1218" y="684"/>
                  </a:lnTo>
                  <a:lnTo>
                    <a:pt x="1218" y="690"/>
                  </a:lnTo>
                  <a:lnTo>
                    <a:pt x="1224" y="696"/>
                  </a:lnTo>
                  <a:lnTo>
                    <a:pt x="1230" y="702"/>
                  </a:lnTo>
                  <a:lnTo>
                    <a:pt x="1236" y="696"/>
                  </a:lnTo>
                  <a:lnTo>
                    <a:pt x="1242" y="702"/>
                  </a:lnTo>
                  <a:lnTo>
                    <a:pt x="1248" y="708"/>
                  </a:lnTo>
                  <a:lnTo>
                    <a:pt x="1254" y="714"/>
                  </a:lnTo>
                  <a:lnTo>
                    <a:pt x="1254" y="720"/>
                  </a:lnTo>
                  <a:lnTo>
                    <a:pt x="1260" y="720"/>
                  </a:lnTo>
                  <a:lnTo>
                    <a:pt x="1254" y="732"/>
                  </a:lnTo>
                  <a:lnTo>
                    <a:pt x="1248" y="738"/>
                  </a:lnTo>
                  <a:lnTo>
                    <a:pt x="1242" y="744"/>
                  </a:lnTo>
                  <a:lnTo>
                    <a:pt x="1236" y="750"/>
                  </a:lnTo>
                  <a:lnTo>
                    <a:pt x="1236" y="756"/>
                  </a:lnTo>
                  <a:lnTo>
                    <a:pt x="1236" y="762"/>
                  </a:lnTo>
                  <a:lnTo>
                    <a:pt x="1236" y="768"/>
                  </a:lnTo>
                  <a:lnTo>
                    <a:pt x="1236" y="780"/>
                  </a:lnTo>
                  <a:lnTo>
                    <a:pt x="1230" y="780"/>
                  </a:lnTo>
                  <a:lnTo>
                    <a:pt x="1230" y="786"/>
                  </a:lnTo>
                  <a:lnTo>
                    <a:pt x="1230" y="792"/>
                  </a:lnTo>
                  <a:lnTo>
                    <a:pt x="1230" y="804"/>
                  </a:lnTo>
                  <a:lnTo>
                    <a:pt x="1224" y="810"/>
                  </a:lnTo>
                  <a:lnTo>
                    <a:pt x="1218" y="816"/>
                  </a:lnTo>
                  <a:lnTo>
                    <a:pt x="1224" y="822"/>
                  </a:lnTo>
                  <a:lnTo>
                    <a:pt x="1224" y="828"/>
                  </a:lnTo>
                  <a:lnTo>
                    <a:pt x="1218" y="834"/>
                  </a:lnTo>
                  <a:lnTo>
                    <a:pt x="1224" y="834"/>
                  </a:lnTo>
                  <a:lnTo>
                    <a:pt x="1224" y="840"/>
                  </a:lnTo>
                  <a:lnTo>
                    <a:pt x="1224" y="846"/>
                  </a:lnTo>
                  <a:lnTo>
                    <a:pt x="1224" y="852"/>
                  </a:lnTo>
                  <a:lnTo>
                    <a:pt x="1218" y="858"/>
                  </a:lnTo>
                  <a:lnTo>
                    <a:pt x="1218" y="870"/>
                  </a:lnTo>
                  <a:lnTo>
                    <a:pt x="1212" y="870"/>
                  </a:lnTo>
                  <a:lnTo>
                    <a:pt x="1212" y="876"/>
                  </a:lnTo>
                  <a:lnTo>
                    <a:pt x="1206" y="888"/>
                  </a:lnTo>
                  <a:lnTo>
                    <a:pt x="1200" y="882"/>
                  </a:lnTo>
                  <a:lnTo>
                    <a:pt x="1194" y="888"/>
                  </a:lnTo>
                  <a:lnTo>
                    <a:pt x="1188" y="894"/>
                  </a:lnTo>
                  <a:lnTo>
                    <a:pt x="1182" y="894"/>
                  </a:lnTo>
                  <a:lnTo>
                    <a:pt x="1182" y="900"/>
                  </a:lnTo>
                  <a:lnTo>
                    <a:pt x="1176" y="900"/>
                  </a:lnTo>
                  <a:lnTo>
                    <a:pt x="1170" y="894"/>
                  </a:lnTo>
                  <a:lnTo>
                    <a:pt x="1164" y="900"/>
                  </a:lnTo>
                  <a:lnTo>
                    <a:pt x="1158" y="900"/>
                  </a:lnTo>
                  <a:lnTo>
                    <a:pt x="1152" y="900"/>
                  </a:lnTo>
                  <a:lnTo>
                    <a:pt x="1140" y="900"/>
                  </a:lnTo>
                  <a:lnTo>
                    <a:pt x="1134" y="900"/>
                  </a:lnTo>
                  <a:lnTo>
                    <a:pt x="1128" y="906"/>
                  </a:lnTo>
                  <a:lnTo>
                    <a:pt x="1110" y="906"/>
                  </a:lnTo>
                  <a:lnTo>
                    <a:pt x="1104" y="906"/>
                  </a:lnTo>
                  <a:lnTo>
                    <a:pt x="1098" y="906"/>
                  </a:lnTo>
                  <a:lnTo>
                    <a:pt x="1092" y="912"/>
                  </a:lnTo>
                  <a:lnTo>
                    <a:pt x="1080" y="918"/>
                  </a:lnTo>
                  <a:lnTo>
                    <a:pt x="1068" y="930"/>
                  </a:lnTo>
                  <a:lnTo>
                    <a:pt x="1062" y="930"/>
                  </a:lnTo>
                  <a:lnTo>
                    <a:pt x="1056" y="930"/>
                  </a:lnTo>
                  <a:lnTo>
                    <a:pt x="1050" y="930"/>
                  </a:lnTo>
                  <a:lnTo>
                    <a:pt x="1050" y="936"/>
                  </a:lnTo>
                  <a:lnTo>
                    <a:pt x="1038" y="942"/>
                  </a:lnTo>
                  <a:lnTo>
                    <a:pt x="1032" y="948"/>
                  </a:lnTo>
                  <a:lnTo>
                    <a:pt x="1026" y="954"/>
                  </a:lnTo>
                  <a:lnTo>
                    <a:pt x="1020" y="960"/>
                  </a:lnTo>
                  <a:lnTo>
                    <a:pt x="1014" y="966"/>
                  </a:lnTo>
                  <a:lnTo>
                    <a:pt x="1002" y="966"/>
                  </a:lnTo>
                  <a:lnTo>
                    <a:pt x="990" y="978"/>
                  </a:lnTo>
                  <a:lnTo>
                    <a:pt x="984" y="978"/>
                  </a:lnTo>
                  <a:lnTo>
                    <a:pt x="978" y="984"/>
                  </a:lnTo>
                  <a:lnTo>
                    <a:pt x="972" y="984"/>
                  </a:lnTo>
                  <a:lnTo>
                    <a:pt x="978" y="990"/>
                  </a:lnTo>
                  <a:lnTo>
                    <a:pt x="972" y="996"/>
                  </a:lnTo>
                  <a:lnTo>
                    <a:pt x="978" y="1002"/>
                  </a:lnTo>
                  <a:lnTo>
                    <a:pt x="1002" y="1002"/>
                  </a:lnTo>
                  <a:lnTo>
                    <a:pt x="1002" y="1008"/>
                  </a:lnTo>
                  <a:lnTo>
                    <a:pt x="1008" y="1020"/>
                  </a:lnTo>
                  <a:lnTo>
                    <a:pt x="1002" y="1026"/>
                  </a:lnTo>
                  <a:lnTo>
                    <a:pt x="1002" y="1032"/>
                  </a:lnTo>
                  <a:lnTo>
                    <a:pt x="1002" y="1050"/>
                  </a:lnTo>
                  <a:lnTo>
                    <a:pt x="1002" y="1056"/>
                  </a:lnTo>
                  <a:lnTo>
                    <a:pt x="1008" y="1062"/>
                  </a:lnTo>
                  <a:lnTo>
                    <a:pt x="1008" y="1074"/>
                  </a:lnTo>
                  <a:lnTo>
                    <a:pt x="1008" y="1086"/>
                  </a:lnTo>
                  <a:lnTo>
                    <a:pt x="996" y="1092"/>
                  </a:lnTo>
                  <a:lnTo>
                    <a:pt x="996" y="1098"/>
                  </a:lnTo>
                  <a:lnTo>
                    <a:pt x="996" y="1104"/>
                  </a:lnTo>
                  <a:lnTo>
                    <a:pt x="990" y="1110"/>
                  </a:lnTo>
                  <a:lnTo>
                    <a:pt x="990" y="1116"/>
                  </a:lnTo>
                  <a:lnTo>
                    <a:pt x="996" y="1122"/>
                  </a:lnTo>
                  <a:lnTo>
                    <a:pt x="990" y="1128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96" y="1140"/>
                  </a:lnTo>
                  <a:lnTo>
                    <a:pt x="996" y="1146"/>
                  </a:lnTo>
                  <a:lnTo>
                    <a:pt x="996" y="1152"/>
                  </a:lnTo>
                  <a:lnTo>
                    <a:pt x="996" y="1158"/>
                  </a:lnTo>
                  <a:lnTo>
                    <a:pt x="996" y="1164"/>
                  </a:lnTo>
                  <a:lnTo>
                    <a:pt x="996" y="1170"/>
                  </a:lnTo>
                  <a:lnTo>
                    <a:pt x="996" y="1176"/>
                  </a:lnTo>
                  <a:lnTo>
                    <a:pt x="990" y="1182"/>
                  </a:lnTo>
                  <a:lnTo>
                    <a:pt x="990" y="1188"/>
                  </a:lnTo>
                  <a:lnTo>
                    <a:pt x="984" y="1200"/>
                  </a:lnTo>
                  <a:lnTo>
                    <a:pt x="990" y="1206"/>
                  </a:lnTo>
                  <a:lnTo>
                    <a:pt x="990" y="1212"/>
                  </a:lnTo>
                  <a:lnTo>
                    <a:pt x="990" y="1218"/>
                  </a:lnTo>
                  <a:lnTo>
                    <a:pt x="978" y="1230"/>
                  </a:lnTo>
                  <a:lnTo>
                    <a:pt x="972" y="1236"/>
                  </a:lnTo>
                  <a:lnTo>
                    <a:pt x="972" y="1242"/>
                  </a:lnTo>
                  <a:lnTo>
                    <a:pt x="966" y="1248"/>
                  </a:lnTo>
                  <a:lnTo>
                    <a:pt x="960" y="1260"/>
                  </a:lnTo>
                  <a:lnTo>
                    <a:pt x="954" y="1266"/>
                  </a:lnTo>
                  <a:lnTo>
                    <a:pt x="942" y="1278"/>
                  </a:lnTo>
                  <a:lnTo>
                    <a:pt x="936" y="1278"/>
                  </a:lnTo>
                  <a:lnTo>
                    <a:pt x="936" y="1284"/>
                  </a:lnTo>
                  <a:lnTo>
                    <a:pt x="936" y="1296"/>
                  </a:lnTo>
                  <a:lnTo>
                    <a:pt x="936" y="1302"/>
                  </a:lnTo>
                  <a:lnTo>
                    <a:pt x="942" y="1302"/>
                  </a:lnTo>
                  <a:lnTo>
                    <a:pt x="942" y="1308"/>
                  </a:lnTo>
                  <a:lnTo>
                    <a:pt x="936" y="1314"/>
                  </a:lnTo>
                  <a:lnTo>
                    <a:pt x="930" y="1320"/>
                  </a:lnTo>
                  <a:lnTo>
                    <a:pt x="930" y="1326"/>
                  </a:lnTo>
                  <a:lnTo>
                    <a:pt x="930" y="1332"/>
                  </a:lnTo>
                  <a:lnTo>
                    <a:pt x="936" y="1338"/>
                  </a:lnTo>
                  <a:lnTo>
                    <a:pt x="936" y="1344"/>
                  </a:lnTo>
                  <a:lnTo>
                    <a:pt x="942" y="1356"/>
                  </a:lnTo>
                  <a:lnTo>
                    <a:pt x="948" y="1368"/>
                  </a:lnTo>
                  <a:lnTo>
                    <a:pt x="942" y="1380"/>
                  </a:lnTo>
                  <a:lnTo>
                    <a:pt x="936" y="1386"/>
                  </a:lnTo>
                  <a:lnTo>
                    <a:pt x="930" y="1392"/>
                  </a:lnTo>
                  <a:lnTo>
                    <a:pt x="924" y="1392"/>
                  </a:lnTo>
                  <a:lnTo>
                    <a:pt x="918" y="1386"/>
                  </a:lnTo>
                  <a:lnTo>
                    <a:pt x="912" y="1386"/>
                  </a:lnTo>
                  <a:lnTo>
                    <a:pt x="906" y="1386"/>
                  </a:lnTo>
                  <a:lnTo>
                    <a:pt x="900" y="1386"/>
                  </a:lnTo>
                  <a:lnTo>
                    <a:pt x="900" y="1392"/>
                  </a:lnTo>
                  <a:lnTo>
                    <a:pt x="894" y="1392"/>
                  </a:lnTo>
                  <a:lnTo>
                    <a:pt x="888" y="1392"/>
                  </a:lnTo>
                  <a:lnTo>
                    <a:pt x="888" y="1398"/>
                  </a:lnTo>
                  <a:lnTo>
                    <a:pt x="882" y="1404"/>
                  </a:lnTo>
                  <a:lnTo>
                    <a:pt x="882" y="1416"/>
                  </a:lnTo>
                  <a:lnTo>
                    <a:pt x="882" y="1428"/>
                  </a:lnTo>
                  <a:lnTo>
                    <a:pt x="882" y="1434"/>
                  </a:lnTo>
                  <a:lnTo>
                    <a:pt x="870" y="1440"/>
                  </a:lnTo>
                  <a:lnTo>
                    <a:pt x="864" y="1452"/>
                  </a:lnTo>
                  <a:lnTo>
                    <a:pt x="870" y="1452"/>
                  </a:lnTo>
                  <a:lnTo>
                    <a:pt x="864" y="1458"/>
                  </a:lnTo>
                  <a:lnTo>
                    <a:pt x="858" y="1464"/>
                  </a:lnTo>
                  <a:lnTo>
                    <a:pt x="852" y="1464"/>
                  </a:lnTo>
                  <a:lnTo>
                    <a:pt x="846" y="1458"/>
                  </a:lnTo>
                  <a:lnTo>
                    <a:pt x="840" y="1458"/>
                  </a:lnTo>
                  <a:lnTo>
                    <a:pt x="828" y="1470"/>
                  </a:lnTo>
                  <a:lnTo>
                    <a:pt x="810" y="1482"/>
                  </a:lnTo>
                  <a:lnTo>
                    <a:pt x="804" y="1488"/>
                  </a:lnTo>
                  <a:lnTo>
                    <a:pt x="798" y="1488"/>
                  </a:lnTo>
                  <a:lnTo>
                    <a:pt x="792" y="1488"/>
                  </a:lnTo>
                  <a:lnTo>
                    <a:pt x="786" y="1488"/>
                  </a:lnTo>
                  <a:lnTo>
                    <a:pt x="768" y="1482"/>
                  </a:lnTo>
                  <a:lnTo>
                    <a:pt x="762" y="1476"/>
                  </a:lnTo>
                  <a:lnTo>
                    <a:pt x="744" y="1476"/>
                  </a:lnTo>
                  <a:lnTo>
                    <a:pt x="738" y="1476"/>
                  </a:lnTo>
                  <a:lnTo>
                    <a:pt x="732" y="1476"/>
                  </a:lnTo>
                  <a:lnTo>
                    <a:pt x="726" y="1482"/>
                  </a:lnTo>
                  <a:lnTo>
                    <a:pt x="726" y="1488"/>
                  </a:lnTo>
                  <a:lnTo>
                    <a:pt x="726" y="1494"/>
                  </a:lnTo>
                  <a:lnTo>
                    <a:pt x="726" y="1500"/>
                  </a:lnTo>
                  <a:lnTo>
                    <a:pt x="720" y="1500"/>
                  </a:lnTo>
                  <a:lnTo>
                    <a:pt x="720" y="1506"/>
                  </a:lnTo>
                  <a:lnTo>
                    <a:pt x="714" y="1512"/>
                  </a:lnTo>
                  <a:lnTo>
                    <a:pt x="714" y="1518"/>
                  </a:lnTo>
                  <a:lnTo>
                    <a:pt x="708" y="1518"/>
                  </a:lnTo>
                  <a:lnTo>
                    <a:pt x="708" y="1530"/>
                  </a:lnTo>
                  <a:lnTo>
                    <a:pt x="708" y="1536"/>
                  </a:lnTo>
                  <a:lnTo>
                    <a:pt x="708" y="1542"/>
                  </a:lnTo>
                  <a:lnTo>
                    <a:pt x="696" y="1554"/>
                  </a:lnTo>
                  <a:lnTo>
                    <a:pt x="690" y="1560"/>
                  </a:lnTo>
                  <a:lnTo>
                    <a:pt x="684" y="1566"/>
                  </a:lnTo>
                  <a:lnTo>
                    <a:pt x="672" y="1566"/>
                  </a:lnTo>
                  <a:lnTo>
                    <a:pt x="666" y="1566"/>
                  </a:lnTo>
                  <a:lnTo>
                    <a:pt x="660" y="1566"/>
                  </a:lnTo>
                  <a:lnTo>
                    <a:pt x="654" y="1572"/>
                  </a:lnTo>
                  <a:lnTo>
                    <a:pt x="654" y="1578"/>
                  </a:lnTo>
                  <a:lnTo>
                    <a:pt x="642" y="1578"/>
                  </a:lnTo>
                  <a:lnTo>
                    <a:pt x="630" y="1572"/>
                  </a:lnTo>
                  <a:lnTo>
                    <a:pt x="624" y="1572"/>
                  </a:lnTo>
                  <a:lnTo>
                    <a:pt x="618" y="1578"/>
                  </a:lnTo>
                  <a:lnTo>
                    <a:pt x="612" y="1584"/>
                  </a:lnTo>
                  <a:lnTo>
                    <a:pt x="606" y="1584"/>
                  </a:lnTo>
                  <a:lnTo>
                    <a:pt x="600" y="1590"/>
                  </a:lnTo>
                  <a:lnTo>
                    <a:pt x="594" y="1590"/>
                  </a:lnTo>
                  <a:lnTo>
                    <a:pt x="588" y="1590"/>
                  </a:lnTo>
                  <a:lnTo>
                    <a:pt x="582" y="1590"/>
                  </a:lnTo>
                  <a:lnTo>
                    <a:pt x="582" y="1596"/>
                  </a:lnTo>
                  <a:lnTo>
                    <a:pt x="576" y="1614"/>
                  </a:lnTo>
                  <a:lnTo>
                    <a:pt x="570" y="1632"/>
                  </a:lnTo>
                  <a:lnTo>
                    <a:pt x="570" y="1638"/>
                  </a:lnTo>
                  <a:lnTo>
                    <a:pt x="576" y="1644"/>
                  </a:lnTo>
                  <a:lnTo>
                    <a:pt x="576" y="1650"/>
                  </a:lnTo>
                  <a:lnTo>
                    <a:pt x="582" y="1662"/>
                  </a:lnTo>
                  <a:lnTo>
                    <a:pt x="582" y="1668"/>
                  </a:lnTo>
                  <a:lnTo>
                    <a:pt x="588" y="1692"/>
                  </a:lnTo>
                  <a:lnTo>
                    <a:pt x="594" y="1728"/>
                  </a:lnTo>
                  <a:lnTo>
                    <a:pt x="594" y="1752"/>
                  </a:lnTo>
                  <a:lnTo>
                    <a:pt x="594" y="1764"/>
                  </a:lnTo>
                  <a:lnTo>
                    <a:pt x="582" y="1770"/>
                  </a:lnTo>
                  <a:lnTo>
                    <a:pt x="582" y="1782"/>
                  </a:lnTo>
                  <a:lnTo>
                    <a:pt x="576" y="1788"/>
                  </a:lnTo>
                  <a:lnTo>
                    <a:pt x="570" y="1794"/>
                  </a:lnTo>
                  <a:lnTo>
                    <a:pt x="564" y="1806"/>
                  </a:lnTo>
                  <a:lnTo>
                    <a:pt x="564" y="1812"/>
                  </a:lnTo>
                  <a:lnTo>
                    <a:pt x="558" y="1812"/>
                  </a:lnTo>
                  <a:lnTo>
                    <a:pt x="564" y="1824"/>
                  </a:lnTo>
                  <a:lnTo>
                    <a:pt x="564" y="1830"/>
                  </a:lnTo>
                  <a:lnTo>
                    <a:pt x="564" y="1842"/>
                  </a:lnTo>
                  <a:lnTo>
                    <a:pt x="564" y="1848"/>
                  </a:lnTo>
                  <a:lnTo>
                    <a:pt x="564" y="1854"/>
                  </a:lnTo>
                  <a:lnTo>
                    <a:pt x="570" y="1860"/>
                  </a:lnTo>
                  <a:lnTo>
                    <a:pt x="570" y="1866"/>
                  </a:lnTo>
                  <a:lnTo>
                    <a:pt x="570" y="1872"/>
                  </a:lnTo>
                  <a:lnTo>
                    <a:pt x="570" y="1878"/>
                  </a:lnTo>
                  <a:lnTo>
                    <a:pt x="564" y="1890"/>
                  </a:lnTo>
                  <a:lnTo>
                    <a:pt x="558" y="1896"/>
                  </a:lnTo>
                  <a:lnTo>
                    <a:pt x="552" y="1908"/>
                  </a:lnTo>
                  <a:lnTo>
                    <a:pt x="546" y="1914"/>
                  </a:lnTo>
                  <a:lnTo>
                    <a:pt x="540" y="1920"/>
                  </a:lnTo>
                  <a:lnTo>
                    <a:pt x="534" y="1932"/>
                  </a:lnTo>
                  <a:lnTo>
                    <a:pt x="528" y="1944"/>
                  </a:lnTo>
                  <a:lnTo>
                    <a:pt x="516" y="1950"/>
                  </a:lnTo>
                  <a:lnTo>
                    <a:pt x="510" y="1956"/>
                  </a:lnTo>
                  <a:lnTo>
                    <a:pt x="498" y="1962"/>
                  </a:lnTo>
                  <a:lnTo>
                    <a:pt x="492" y="1974"/>
                  </a:lnTo>
                  <a:lnTo>
                    <a:pt x="486" y="1980"/>
                  </a:lnTo>
                  <a:lnTo>
                    <a:pt x="480" y="1998"/>
                  </a:lnTo>
                  <a:lnTo>
                    <a:pt x="474" y="2004"/>
                  </a:lnTo>
                  <a:lnTo>
                    <a:pt x="474" y="2010"/>
                  </a:lnTo>
                  <a:lnTo>
                    <a:pt x="474" y="2016"/>
                  </a:lnTo>
                  <a:lnTo>
                    <a:pt x="468" y="2016"/>
                  </a:lnTo>
                  <a:lnTo>
                    <a:pt x="468" y="2028"/>
                  </a:lnTo>
                  <a:lnTo>
                    <a:pt x="462" y="2034"/>
                  </a:lnTo>
                  <a:lnTo>
                    <a:pt x="456" y="2040"/>
                  </a:lnTo>
                  <a:lnTo>
                    <a:pt x="456" y="2052"/>
                  </a:lnTo>
                  <a:lnTo>
                    <a:pt x="450" y="2058"/>
                  </a:lnTo>
                  <a:lnTo>
                    <a:pt x="450" y="2070"/>
                  </a:lnTo>
                  <a:lnTo>
                    <a:pt x="450" y="2076"/>
                  </a:lnTo>
                  <a:lnTo>
                    <a:pt x="450" y="2082"/>
                  </a:lnTo>
                  <a:lnTo>
                    <a:pt x="444" y="2088"/>
                  </a:lnTo>
                  <a:lnTo>
                    <a:pt x="438" y="2094"/>
                  </a:lnTo>
                  <a:lnTo>
                    <a:pt x="444" y="2100"/>
                  </a:lnTo>
                  <a:lnTo>
                    <a:pt x="444" y="2124"/>
                  </a:lnTo>
                  <a:lnTo>
                    <a:pt x="444" y="2142"/>
                  </a:lnTo>
                  <a:lnTo>
                    <a:pt x="444" y="2160"/>
                  </a:lnTo>
                  <a:lnTo>
                    <a:pt x="450" y="2166"/>
                  </a:lnTo>
                  <a:lnTo>
                    <a:pt x="456" y="2178"/>
                  </a:lnTo>
                  <a:lnTo>
                    <a:pt x="438" y="2184"/>
                  </a:lnTo>
                  <a:lnTo>
                    <a:pt x="432" y="2184"/>
                  </a:lnTo>
                  <a:lnTo>
                    <a:pt x="426" y="2190"/>
                  </a:lnTo>
                  <a:lnTo>
                    <a:pt x="408" y="2190"/>
                  </a:lnTo>
                  <a:lnTo>
                    <a:pt x="402" y="2196"/>
                  </a:lnTo>
                  <a:lnTo>
                    <a:pt x="396" y="2196"/>
                  </a:lnTo>
                  <a:lnTo>
                    <a:pt x="384" y="2208"/>
                  </a:lnTo>
                  <a:lnTo>
                    <a:pt x="378" y="2220"/>
                  </a:lnTo>
                  <a:lnTo>
                    <a:pt x="366" y="2232"/>
                  </a:lnTo>
                  <a:lnTo>
                    <a:pt x="366" y="2238"/>
                  </a:lnTo>
                  <a:lnTo>
                    <a:pt x="360" y="2238"/>
                  </a:lnTo>
                  <a:lnTo>
                    <a:pt x="360" y="2244"/>
                  </a:lnTo>
                  <a:lnTo>
                    <a:pt x="354" y="2244"/>
                  </a:lnTo>
                  <a:lnTo>
                    <a:pt x="330" y="227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5" name="Freeform 10">
              <a:extLst>
                <a:ext uri="{FF2B5EF4-FFF2-40B4-BE49-F238E27FC236}">
                  <a16:creationId xmlns:a16="http://schemas.microsoft.com/office/drawing/2014/main" id="{3AD2FC58-3490-4B7F-A8BE-621F3CDD69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1996" y="1931890"/>
              <a:ext cx="805029" cy="1037736"/>
            </a:xfrm>
            <a:custGeom>
              <a:avLst/>
              <a:gdLst>
                <a:gd name="T0" fmla="*/ 124 w 1512"/>
                <a:gd name="T1" fmla="*/ 76 h 1956"/>
                <a:gd name="T2" fmla="*/ 120 w 1512"/>
                <a:gd name="T3" fmla="*/ 80 h 1956"/>
                <a:gd name="T4" fmla="*/ 106 w 1512"/>
                <a:gd name="T5" fmla="*/ 84 h 1956"/>
                <a:gd name="T6" fmla="*/ 105 w 1512"/>
                <a:gd name="T7" fmla="*/ 91 h 1956"/>
                <a:gd name="T8" fmla="*/ 101 w 1512"/>
                <a:gd name="T9" fmla="*/ 99 h 1956"/>
                <a:gd name="T10" fmla="*/ 105 w 1512"/>
                <a:gd name="T11" fmla="*/ 107 h 1956"/>
                <a:gd name="T12" fmla="*/ 119 w 1512"/>
                <a:gd name="T13" fmla="*/ 116 h 1956"/>
                <a:gd name="T14" fmla="*/ 121 w 1512"/>
                <a:gd name="T15" fmla="*/ 128 h 1956"/>
                <a:gd name="T16" fmla="*/ 112 w 1512"/>
                <a:gd name="T17" fmla="*/ 136 h 1956"/>
                <a:gd name="T18" fmla="*/ 119 w 1512"/>
                <a:gd name="T19" fmla="*/ 143 h 1956"/>
                <a:gd name="T20" fmla="*/ 126 w 1512"/>
                <a:gd name="T21" fmla="*/ 148 h 1956"/>
                <a:gd name="T22" fmla="*/ 126 w 1512"/>
                <a:gd name="T23" fmla="*/ 160 h 1956"/>
                <a:gd name="T24" fmla="*/ 104 w 1512"/>
                <a:gd name="T25" fmla="*/ 170 h 1956"/>
                <a:gd name="T26" fmla="*/ 99 w 1512"/>
                <a:gd name="T27" fmla="*/ 164 h 1956"/>
                <a:gd name="T28" fmla="*/ 73 w 1512"/>
                <a:gd name="T29" fmla="*/ 152 h 1956"/>
                <a:gd name="T30" fmla="*/ 56 w 1512"/>
                <a:gd name="T31" fmla="*/ 165 h 1956"/>
                <a:gd name="T32" fmla="*/ 33 w 1512"/>
                <a:gd name="T33" fmla="*/ 162 h 1956"/>
                <a:gd name="T34" fmla="*/ 25 w 1512"/>
                <a:gd name="T35" fmla="*/ 155 h 1956"/>
                <a:gd name="T36" fmla="*/ 31 w 1512"/>
                <a:gd name="T37" fmla="*/ 142 h 1956"/>
                <a:gd name="T38" fmla="*/ 24 w 1512"/>
                <a:gd name="T39" fmla="*/ 137 h 1956"/>
                <a:gd name="T40" fmla="*/ 14 w 1512"/>
                <a:gd name="T41" fmla="*/ 136 h 1956"/>
                <a:gd name="T42" fmla="*/ 11 w 1512"/>
                <a:gd name="T43" fmla="*/ 125 h 1956"/>
                <a:gd name="T44" fmla="*/ 3 w 1512"/>
                <a:gd name="T45" fmla="*/ 116 h 1956"/>
                <a:gd name="T46" fmla="*/ 2 w 1512"/>
                <a:gd name="T47" fmla="*/ 106 h 1956"/>
                <a:gd name="T48" fmla="*/ 5 w 1512"/>
                <a:gd name="T49" fmla="*/ 101 h 1956"/>
                <a:gd name="T50" fmla="*/ 2 w 1512"/>
                <a:gd name="T51" fmla="*/ 95 h 1956"/>
                <a:gd name="T52" fmla="*/ 1 w 1512"/>
                <a:gd name="T53" fmla="*/ 88 h 1956"/>
                <a:gd name="T54" fmla="*/ 4 w 1512"/>
                <a:gd name="T55" fmla="*/ 80 h 1956"/>
                <a:gd name="T56" fmla="*/ 12 w 1512"/>
                <a:gd name="T57" fmla="*/ 73 h 1956"/>
                <a:gd name="T58" fmla="*/ 16 w 1512"/>
                <a:gd name="T59" fmla="*/ 68 h 1956"/>
                <a:gd name="T60" fmla="*/ 22 w 1512"/>
                <a:gd name="T61" fmla="*/ 66 h 1956"/>
                <a:gd name="T62" fmla="*/ 32 w 1512"/>
                <a:gd name="T63" fmla="*/ 65 h 1956"/>
                <a:gd name="T64" fmla="*/ 45 w 1512"/>
                <a:gd name="T65" fmla="*/ 66 h 1956"/>
                <a:gd name="T66" fmla="*/ 50 w 1512"/>
                <a:gd name="T67" fmla="*/ 70 h 1956"/>
                <a:gd name="T68" fmla="*/ 55 w 1512"/>
                <a:gd name="T69" fmla="*/ 70 h 1956"/>
                <a:gd name="T70" fmla="*/ 63 w 1512"/>
                <a:gd name="T71" fmla="*/ 71 h 1956"/>
                <a:gd name="T72" fmla="*/ 61 w 1512"/>
                <a:gd name="T73" fmla="*/ 75 h 1956"/>
                <a:gd name="T74" fmla="*/ 66 w 1512"/>
                <a:gd name="T75" fmla="*/ 84 h 1956"/>
                <a:gd name="T76" fmla="*/ 81 w 1512"/>
                <a:gd name="T77" fmla="*/ 85 h 1956"/>
                <a:gd name="T78" fmla="*/ 83 w 1512"/>
                <a:gd name="T79" fmla="*/ 79 h 1956"/>
                <a:gd name="T80" fmla="*/ 89 w 1512"/>
                <a:gd name="T81" fmla="*/ 77 h 1956"/>
                <a:gd name="T82" fmla="*/ 89 w 1512"/>
                <a:gd name="T83" fmla="*/ 73 h 1956"/>
                <a:gd name="T84" fmla="*/ 83 w 1512"/>
                <a:gd name="T85" fmla="*/ 72 h 1956"/>
                <a:gd name="T86" fmla="*/ 77 w 1512"/>
                <a:gd name="T87" fmla="*/ 70 h 1956"/>
                <a:gd name="T88" fmla="*/ 71 w 1512"/>
                <a:gd name="T89" fmla="*/ 70 h 1956"/>
                <a:gd name="T90" fmla="*/ 59 w 1512"/>
                <a:gd name="T91" fmla="*/ 58 h 1956"/>
                <a:gd name="T92" fmla="*/ 54 w 1512"/>
                <a:gd name="T93" fmla="*/ 45 h 1956"/>
                <a:gd name="T94" fmla="*/ 49 w 1512"/>
                <a:gd name="T95" fmla="*/ 42 h 1956"/>
                <a:gd name="T96" fmla="*/ 51 w 1512"/>
                <a:gd name="T97" fmla="*/ 39 h 1956"/>
                <a:gd name="T98" fmla="*/ 55 w 1512"/>
                <a:gd name="T99" fmla="*/ 36 h 1956"/>
                <a:gd name="T100" fmla="*/ 63 w 1512"/>
                <a:gd name="T101" fmla="*/ 34 h 1956"/>
                <a:gd name="T102" fmla="*/ 68 w 1512"/>
                <a:gd name="T103" fmla="*/ 32 h 1956"/>
                <a:gd name="T104" fmla="*/ 73 w 1512"/>
                <a:gd name="T105" fmla="*/ 29 h 1956"/>
                <a:gd name="T106" fmla="*/ 78 w 1512"/>
                <a:gd name="T107" fmla="*/ 27 h 1956"/>
                <a:gd name="T108" fmla="*/ 81 w 1512"/>
                <a:gd name="T109" fmla="*/ 17 h 1956"/>
                <a:gd name="T110" fmla="*/ 84 w 1512"/>
                <a:gd name="T111" fmla="*/ 6 h 1956"/>
                <a:gd name="T112" fmla="*/ 95 w 1512"/>
                <a:gd name="T113" fmla="*/ 6 h 1956"/>
                <a:gd name="T114" fmla="*/ 99 w 1512"/>
                <a:gd name="T115" fmla="*/ 3 h 1956"/>
                <a:gd name="T116" fmla="*/ 103 w 1512"/>
                <a:gd name="T117" fmla="*/ 0 h 1956"/>
                <a:gd name="T118" fmla="*/ 110 w 1512"/>
                <a:gd name="T119" fmla="*/ 4 h 1956"/>
                <a:gd name="T120" fmla="*/ 114 w 1512"/>
                <a:gd name="T121" fmla="*/ 33 h 1956"/>
                <a:gd name="T122" fmla="*/ 117 w 1512"/>
                <a:gd name="T123" fmla="*/ 41 h 1956"/>
                <a:gd name="T124" fmla="*/ 119 w 1512"/>
                <a:gd name="T125" fmla="*/ 62 h 195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12"/>
                <a:gd name="T190" fmla="*/ 0 h 1956"/>
                <a:gd name="T191" fmla="*/ 1512 w 1512"/>
                <a:gd name="T192" fmla="*/ 1956 h 195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12" h="1956">
                  <a:moveTo>
                    <a:pt x="1512" y="780"/>
                  </a:moveTo>
                  <a:lnTo>
                    <a:pt x="1482" y="786"/>
                  </a:lnTo>
                  <a:lnTo>
                    <a:pt x="1476" y="792"/>
                  </a:lnTo>
                  <a:lnTo>
                    <a:pt x="1476" y="798"/>
                  </a:lnTo>
                  <a:lnTo>
                    <a:pt x="1476" y="804"/>
                  </a:lnTo>
                  <a:lnTo>
                    <a:pt x="1476" y="816"/>
                  </a:lnTo>
                  <a:lnTo>
                    <a:pt x="1470" y="834"/>
                  </a:lnTo>
                  <a:lnTo>
                    <a:pt x="1464" y="840"/>
                  </a:lnTo>
                  <a:lnTo>
                    <a:pt x="1452" y="852"/>
                  </a:lnTo>
                  <a:lnTo>
                    <a:pt x="1440" y="864"/>
                  </a:lnTo>
                  <a:lnTo>
                    <a:pt x="1434" y="864"/>
                  </a:lnTo>
                  <a:lnTo>
                    <a:pt x="1434" y="870"/>
                  </a:lnTo>
                  <a:lnTo>
                    <a:pt x="1422" y="876"/>
                  </a:lnTo>
                  <a:lnTo>
                    <a:pt x="1410" y="894"/>
                  </a:lnTo>
                  <a:lnTo>
                    <a:pt x="1404" y="894"/>
                  </a:lnTo>
                  <a:lnTo>
                    <a:pt x="1404" y="900"/>
                  </a:lnTo>
                  <a:lnTo>
                    <a:pt x="1404" y="906"/>
                  </a:lnTo>
                  <a:lnTo>
                    <a:pt x="1410" y="918"/>
                  </a:lnTo>
                  <a:lnTo>
                    <a:pt x="1404" y="918"/>
                  </a:lnTo>
                  <a:lnTo>
                    <a:pt x="1392" y="924"/>
                  </a:lnTo>
                  <a:lnTo>
                    <a:pt x="1386" y="924"/>
                  </a:lnTo>
                  <a:lnTo>
                    <a:pt x="1380" y="924"/>
                  </a:lnTo>
                  <a:lnTo>
                    <a:pt x="1380" y="930"/>
                  </a:lnTo>
                  <a:lnTo>
                    <a:pt x="1374" y="930"/>
                  </a:lnTo>
                  <a:lnTo>
                    <a:pt x="1374" y="924"/>
                  </a:lnTo>
                  <a:lnTo>
                    <a:pt x="1374" y="918"/>
                  </a:lnTo>
                  <a:lnTo>
                    <a:pt x="1368" y="912"/>
                  </a:lnTo>
                  <a:lnTo>
                    <a:pt x="1368" y="906"/>
                  </a:lnTo>
                  <a:lnTo>
                    <a:pt x="1368" y="900"/>
                  </a:lnTo>
                  <a:lnTo>
                    <a:pt x="1368" y="894"/>
                  </a:lnTo>
                  <a:lnTo>
                    <a:pt x="1362" y="894"/>
                  </a:lnTo>
                  <a:lnTo>
                    <a:pt x="1326" y="894"/>
                  </a:lnTo>
                  <a:lnTo>
                    <a:pt x="1302" y="906"/>
                  </a:lnTo>
                  <a:lnTo>
                    <a:pt x="1284" y="918"/>
                  </a:lnTo>
                  <a:lnTo>
                    <a:pt x="1284" y="924"/>
                  </a:lnTo>
                  <a:lnTo>
                    <a:pt x="1278" y="930"/>
                  </a:lnTo>
                  <a:lnTo>
                    <a:pt x="1266" y="930"/>
                  </a:lnTo>
                  <a:lnTo>
                    <a:pt x="1236" y="954"/>
                  </a:lnTo>
                  <a:lnTo>
                    <a:pt x="1212" y="972"/>
                  </a:lnTo>
                  <a:lnTo>
                    <a:pt x="1218" y="996"/>
                  </a:lnTo>
                  <a:lnTo>
                    <a:pt x="1224" y="1008"/>
                  </a:lnTo>
                  <a:lnTo>
                    <a:pt x="1236" y="1014"/>
                  </a:lnTo>
                  <a:lnTo>
                    <a:pt x="1242" y="1026"/>
                  </a:lnTo>
                  <a:lnTo>
                    <a:pt x="1248" y="1038"/>
                  </a:lnTo>
                  <a:lnTo>
                    <a:pt x="1260" y="1050"/>
                  </a:lnTo>
                  <a:lnTo>
                    <a:pt x="1260" y="1056"/>
                  </a:lnTo>
                  <a:lnTo>
                    <a:pt x="1260" y="1074"/>
                  </a:lnTo>
                  <a:lnTo>
                    <a:pt x="1254" y="1074"/>
                  </a:lnTo>
                  <a:lnTo>
                    <a:pt x="1236" y="1056"/>
                  </a:lnTo>
                  <a:lnTo>
                    <a:pt x="1224" y="1050"/>
                  </a:lnTo>
                  <a:lnTo>
                    <a:pt x="1212" y="1050"/>
                  </a:lnTo>
                  <a:lnTo>
                    <a:pt x="1206" y="1050"/>
                  </a:lnTo>
                  <a:lnTo>
                    <a:pt x="1200" y="1056"/>
                  </a:lnTo>
                  <a:lnTo>
                    <a:pt x="1194" y="1062"/>
                  </a:lnTo>
                  <a:lnTo>
                    <a:pt x="1188" y="1068"/>
                  </a:lnTo>
                  <a:lnTo>
                    <a:pt x="1188" y="1074"/>
                  </a:lnTo>
                  <a:lnTo>
                    <a:pt x="1176" y="1086"/>
                  </a:lnTo>
                  <a:lnTo>
                    <a:pt x="1170" y="1086"/>
                  </a:lnTo>
                  <a:lnTo>
                    <a:pt x="1170" y="1092"/>
                  </a:lnTo>
                  <a:lnTo>
                    <a:pt x="1164" y="1098"/>
                  </a:lnTo>
                  <a:lnTo>
                    <a:pt x="1158" y="1110"/>
                  </a:lnTo>
                  <a:lnTo>
                    <a:pt x="1152" y="1116"/>
                  </a:lnTo>
                  <a:lnTo>
                    <a:pt x="1152" y="1122"/>
                  </a:lnTo>
                  <a:lnTo>
                    <a:pt x="1146" y="1128"/>
                  </a:lnTo>
                  <a:lnTo>
                    <a:pt x="1152" y="1140"/>
                  </a:lnTo>
                  <a:lnTo>
                    <a:pt x="1158" y="1140"/>
                  </a:lnTo>
                  <a:lnTo>
                    <a:pt x="1164" y="1146"/>
                  </a:lnTo>
                  <a:lnTo>
                    <a:pt x="1164" y="1152"/>
                  </a:lnTo>
                  <a:lnTo>
                    <a:pt x="1170" y="1164"/>
                  </a:lnTo>
                  <a:lnTo>
                    <a:pt x="1164" y="1176"/>
                  </a:lnTo>
                  <a:lnTo>
                    <a:pt x="1170" y="1182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82" y="1218"/>
                  </a:lnTo>
                  <a:lnTo>
                    <a:pt x="1188" y="1218"/>
                  </a:lnTo>
                  <a:lnTo>
                    <a:pt x="1194" y="1218"/>
                  </a:lnTo>
                  <a:lnTo>
                    <a:pt x="1194" y="1224"/>
                  </a:lnTo>
                  <a:lnTo>
                    <a:pt x="1200" y="1230"/>
                  </a:lnTo>
                  <a:lnTo>
                    <a:pt x="1200" y="1248"/>
                  </a:lnTo>
                  <a:lnTo>
                    <a:pt x="1212" y="1266"/>
                  </a:lnTo>
                  <a:lnTo>
                    <a:pt x="1218" y="1278"/>
                  </a:lnTo>
                  <a:lnTo>
                    <a:pt x="1224" y="1284"/>
                  </a:lnTo>
                  <a:lnTo>
                    <a:pt x="1236" y="1296"/>
                  </a:lnTo>
                  <a:lnTo>
                    <a:pt x="1242" y="1302"/>
                  </a:lnTo>
                  <a:lnTo>
                    <a:pt x="1242" y="1308"/>
                  </a:lnTo>
                  <a:lnTo>
                    <a:pt x="1272" y="1308"/>
                  </a:lnTo>
                  <a:lnTo>
                    <a:pt x="1296" y="1314"/>
                  </a:lnTo>
                  <a:lnTo>
                    <a:pt x="1320" y="1320"/>
                  </a:lnTo>
                  <a:lnTo>
                    <a:pt x="1338" y="1320"/>
                  </a:lnTo>
                  <a:lnTo>
                    <a:pt x="1356" y="1332"/>
                  </a:lnTo>
                  <a:lnTo>
                    <a:pt x="1368" y="1344"/>
                  </a:lnTo>
                  <a:lnTo>
                    <a:pt x="1374" y="1362"/>
                  </a:lnTo>
                  <a:lnTo>
                    <a:pt x="1368" y="1362"/>
                  </a:lnTo>
                  <a:lnTo>
                    <a:pt x="1368" y="1398"/>
                  </a:lnTo>
                  <a:lnTo>
                    <a:pt x="1368" y="1410"/>
                  </a:lnTo>
                  <a:lnTo>
                    <a:pt x="1368" y="1428"/>
                  </a:lnTo>
                  <a:lnTo>
                    <a:pt x="1368" y="1434"/>
                  </a:lnTo>
                  <a:lnTo>
                    <a:pt x="1368" y="1440"/>
                  </a:lnTo>
                  <a:lnTo>
                    <a:pt x="1374" y="1446"/>
                  </a:lnTo>
                  <a:lnTo>
                    <a:pt x="1374" y="1452"/>
                  </a:lnTo>
                  <a:lnTo>
                    <a:pt x="1380" y="1458"/>
                  </a:lnTo>
                  <a:lnTo>
                    <a:pt x="1386" y="1464"/>
                  </a:lnTo>
                  <a:lnTo>
                    <a:pt x="1386" y="1470"/>
                  </a:lnTo>
                  <a:lnTo>
                    <a:pt x="1380" y="1476"/>
                  </a:lnTo>
                  <a:lnTo>
                    <a:pt x="1374" y="1482"/>
                  </a:lnTo>
                  <a:lnTo>
                    <a:pt x="1362" y="1500"/>
                  </a:lnTo>
                  <a:lnTo>
                    <a:pt x="1362" y="1506"/>
                  </a:lnTo>
                  <a:lnTo>
                    <a:pt x="1362" y="1512"/>
                  </a:lnTo>
                  <a:lnTo>
                    <a:pt x="1362" y="1518"/>
                  </a:lnTo>
                  <a:lnTo>
                    <a:pt x="1362" y="1524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38" y="1548"/>
                  </a:lnTo>
                  <a:lnTo>
                    <a:pt x="1296" y="1548"/>
                  </a:lnTo>
                  <a:lnTo>
                    <a:pt x="1290" y="1554"/>
                  </a:lnTo>
                  <a:lnTo>
                    <a:pt x="1284" y="1560"/>
                  </a:lnTo>
                  <a:lnTo>
                    <a:pt x="1284" y="1566"/>
                  </a:lnTo>
                  <a:lnTo>
                    <a:pt x="1290" y="1578"/>
                  </a:lnTo>
                  <a:lnTo>
                    <a:pt x="1296" y="1590"/>
                  </a:lnTo>
                  <a:lnTo>
                    <a:pt x="1302" y="1590"/>
                  </a:lnTo>
                  <a:lnTo>
                    <a:pt x="1308" y="1596"/>
                  </a:lnTo>
                  <a:lnTo>
                    <a:pt x="1320" y="1602"/>
                  </a:lnTo>
                  <a:lnTo>
                    <a:pt x="1326" y="1602"/>
                  </a:lnTo>
                  <a:lnTo>
                    <a:pt x="1326" y="1608"/>
                  </a:lnTo>
                  <a:lnTo>
                    <a:pt x="1332" y="1614"/>
                  </a:lnTo>
                  <a:lnTo>
                    <a:pt x="1344" y="1620"/>
                  </a:lnTo>
                  <a:lnTo>
                    <a:pt x="1356" y="1626"/>
                  </a:lnTo>
                  <a:lnTo>
                    <a:pt x="1356" y="1632"/>
                  </a:lnTo>
                  <a:lnTo>
                    <a:pt x="1356" y="1638"/>
                  </a:lnTo>
                  <a:lnTo>
                    <a:pt x="1362" y="1644"/>
                  </a:lnTo>
                  <a:lnTo>
                    <a:pt x="1368" y="1644"/>
                  </a:lnTo>
                  <a:lnTo>
                    <a:pt x="1380" y="1650"/>
                  </a:lnTo>
                  <a:lnTo>
                    <a:pt x="1386" y="1650"/>
                  </a:lnTo>
                  <a:lnTo>
                    <a:pt x="1386" y="1656"/>
                  </a:lnTo>
                  <a:lnTo>
                    <a:pt x="1392" y="1656"/>
                  </a:lnTo>
                  <a:lnTo>
                    <a:pt x="1398" y="1662"/>
                  </a:lnTo>
                  <a:lnTo>
                    <a:pt x="1410" y="1674"/>
                  </a:lnTo>
                  <a:lnTo>
                    <a:pt x="1428" y="1680"/>
                  </a:lnTo>
                  <a:lnTo>
                    <a:pt x="1428" y="1686"/>
                  </a:lnTo>
                  <a:lnTo>
                    <a:pt x="1428" y="1698"/>
                  </a:lnTo>
                  <a:lnTo>
                    <a:pt x="1434" y="1704"/>
                  </a:lnTo>
                  <a:lnTo>
                    <a:pt x="1434" y="1710"/>
                  </a:lnTo>
                  <a:lnTo>
                    <a:pt x="1440" y="1710"/>
                  </a:lnTo>
                  <a:lnTo>
                    <a:pt x="1446" y="1710"/>
                  </a:lnTo>
                  <a:lnTo>
                    <a:pt x="1446" y="1716"/>
                  </a:lnTo>
                  <a:lnTo>
                    <a:pt x="1440" y="1722"/>
                  </a:lnTo>
                  <a:lnTo>
                    <a:pt x="1440" y="1728"/>
                  </a:lnTo>
                  <a:lnTo>
                    <a:pt x="1440" y="1734"/>
                  </a:lnTo>
                  <a:lnTo>
                    <a:pt x="1440" y="1740"/>
                  </a:lnTo>
                  <a:lnTo>
                    <a:pt x="1440" y="1746"/>
                  </a:lnTo>
                  <a:lnTo>
                    <a:pt x="1440" y="1788"/>
                  </a:lnTo>
                  <a:lnTo>
                    <a:pt x="1440" y="1800"/>
                  </a:lnTo>
                  <a:lnTo>
                    <a:pt x="1440" y="1806"/>
                  </a:lnTo>
                  <a:lnTo>
                    <a:pt x="1440" y="1836"/>
                  </a:lnTo>
                  <a:lnTo>
                    <a:pt x="1440" y="1848"/>
                  </a:lnTo>
                  <a:lnTo>
                    <a:pt x="1446" y="1848"/>
                  </a:lnTo>
                  <a:lnTo>
                    <a:pt x="1446" y="1854"/>
                  </a:lnTo>
                  <a:lnTo>
                    <a:pt x="1452" y="1848"/>
                  </a:lnTo>
                  <a:lnTo>
                    <a:pt x="1458" y="1854"/>
                  </a:lnTo>
                  <a:lnTo>
                    <a:pt x="1452" y="1860"/>
                  </a:lnTo>
                  <a:lnTo>
                    <a:pt x="1452" y="1866"/>
                  </a:lnTo>
                  <a:lnTo>
                    <a:pt x="1458" y="1872"/>
                  </a:lnTo>
                  <a:lnTo>
                    <a:pt x="1464" y="1884"/>
                  </a:lnTo>
                  <a:lnTo>
                    <a:pt x="1428" y="1878"/>
                  </a:lnTo>
                  <a:lnTo>
                    <a:pt x="1356" y="1890"/>
                  </a:lnTo>
                  <a:lnTo>
                    <a:pt x="1296" y="1926"/>
                  </a:lnTo>
                  <a:lnTo>
                    <a:pt x="1266" y="1944"/>
                  </a:lnTo>
                  <a:lnTo>
                    <a:pt x="1224" y="1944"/>
                  </a:lnTo>
                  <a:lnTo>
                    <a:pt x="1188" y="1956"/>
                  </a:lnTo>
                  <a:lnTo>
                    <a:pt x="1188" y="1950"/>
                  </a:lnTo>
                  <a:lnTo>
                    <a:pt x="1176" y="1944"/>
                  </a:lnTo>
                  <a:lnTo>
                    <a:pt x="1176" y="1938"/>
                  </a:lnTo>
                  <a:lnTo>
                    <a:pt x="1170" y="1938"/>
                  </a:lnTo>
                  <a:lnTo>
                    <a:pt x="1164" y="1932"/>
                  </a:lnTo>
                  <a:lnTo>
                    <a:pt x="1158" y="1926"/>
                  </a:lnTo>
                  <a:lnTo>
                    <a:pt x="1158" y="1920"/>
                  </a:lnTo>
                  <a:lnTo>
                    <a:pt x="1152" y="1920"/>
                  </a:lnTo>
                  <a:lnTo>
                    <a:pt x="1146" y="1914"/>
                  </a:lnTo>
                  <a:lnTo>
                    <a:pt x="1146" y="1908"/>
                  </a:lnTo>
                  <a:lnTo>
                    <a:pt x="1140" y="1908"/>
                  </a:lnTo>
                  <a:lnTo>
                    <a:pt x="1134" y="1902"/>
                  </a:lnTo>
                  <a:lnTo>
                    <a:pt x="1134" y="1896"/>
                  </a:lnTo>
                  <a:lnTo>
                    <a:pt x="1116" y="1896"/>
                  </a:lnTo>
                  <a:lnTo>
                    <a:pt x="1104" y="1884"/>
                  </a:lnTo>
                  <a:lnTo>
                    <a:pt x="1092" y="1860"/>
                  </a:lnTo>
                  <a:lnTo>
                    <a:pt x="1068" y="1854"/>
                  </a:lnTo>
                  <a:lnTo>
                    <a:pt x="1032" y="1842"/>
                  </a:lnTo>
                  <a:lnTo>
                    <a:pt x="1008" y="1836"/>
                  </a:lnTo>
                  <a:lnTo>
                    <a:pt x="978" y="1824"/>
                  </a:lnTo>
                  <a:lnTo>
                    <a:pt x="942" y="1818"/>
                  </a:lnTo>
                  <a:lnTo>
                    <a:pt x="924" y="1806"/>
                  </a:lnTo>
                  <a:lnTo>
                    <a:pt x="906" y="1788"/>
                  </a:lnTo>
                  <a:lnTo>
                    <a:pt x="894" y="1776"/>
                  </a:lnTo>
                  <a:lnTo>
                    <a:pt x="864" y="1758"/>
                  </a:lnTo>
                  <a:lnTo>
                    <a:pt x="834" y="1752"/>
                  </a:lnTo>
                  <a:lnTo>
                    <a:pt x="798" y="1746"/>
                  </a:lnTo>
                  <a:lnTo>
                    <a:pt x="792" y="1806"/>
                  </a:lnTo>
                  <a:lnTo>
                    <a:pt x="798" y="1812"/>
                  </a:lnTo>
                  <a:lnTo>
                    <a:pt x="810" y="1830"/>
                  </a:lnTo>
                  <a:lnTo>
                    <a:pt x="792" y="1842"/>
                  </a:lnTo>
                  <a:lnTo>
                    <a:pt x="768" y="1842"/>
                  </a:lnTo>
                  <a:lnTo>
                    <a:pt x="708" y="1848"/>
                  </a:lnTo>
                  <a:lnTo>
                    <a:pt x="690" y="1860"/>
                  </a:lnTo>
                  <a:lnTo>
                    <a:pt x="690" y="1866"/>
                  </a:lnTo>
                  <a:lnTo>
                    <a:pt x="678" y="1878"/>
                  </a:lnTo>
                  <a:lnTo>
                    <a:pt x="660" y="1884"/>
                  </a:lnTo>
                  <a:lnTo>
                    <a:pt x="660" y="1902"/>
                  </a:lnTo>
                  <a:lnTo>
                    <a:pt x="642" y="1902"/>
                  </a:lnTo>
                  <a:lnTo>
                    <a:pt x="582" y="1914"/>
                  </a:lnTo>
                  <a:lnTo>
                    <a:pt x="534" y="1908"/>
                  </a:lnTo>
                  <a:lnTo>
                    <a:pt x="510" y="1908"/>
                  </a:lnTo>
                  <a:lnTo>
                    <a:pt x="510" y="1896"/>
                  </a:lnTo>
                  <a:lnTo>
                    <a:pt x="492" y="1896"/>
                  </a:lnTo>
                  <a:lnTo>
                    <a:pt x="486" y="1902"/>
                  </a:lnTo>
                  <a:lnTo>
                    <a:pt x="474" y="1908"/>
                  </a:lnTo>
                  <a:lnTo>
                    <a:pt x="450" y="1908"/>
                  </a:lnTo>
                  <a:lnTo>
                    <a:pt x="432" y="1902"/>
                  </a:lnTo>
                  <a:lnTo>
                    <a:pt x="426" y="1896"/>
                  </a:lnTo>
                  <a:lnTo>
                    <a:pt x="402" y="1884"/>
                  </a:lnTo>
                  <a:lnTo>
                    <a:pt x="390" y="1872"/>
                  </a:lnTo>
                  <a:lnTo>
                    <a:pt x="384" y="1872"/>
                  </a:lnTo>
                  <a:lnTo>
                    <a:pt x="378" y="1872"/>
                  </a:lnTo>
                  <a:lnTo>
                    <a:pt x="378" y="1866"/>
                  </a:lnTo>
                  <a:lnTo>
                    <a:pt x="372" y="1860"/>
                  </a:lnTo>
                  <a:lnTo>
                    <a:pt x="372" y="1854"/>
                  </a:lnTo>
                  <a:lnTo>
                    <a:pt x="366" y="1842"/>
                  </a:lnTo>
                  <a:lnTo>
                    <a:pt x="366" y="1836"/>
                  </a:lnTo>
                  <a:lnTo>
                    <a:pt x="348" y="1830"/>
                  </a:lnTo>
                  <a:lnTo>
                    <a:pt x="348" y="1806"/>
                  </a:lnTo>
                  <a:lnTo>
                    <a:pt x="348" y="1800"/>
                  </a:lnTo>
                  <a:lnTo>
                    <a:pt x="348" y="1782"/>
                  </a:lnTo>
                  <a:lnTo>
                    <a:pt x="336" y="1788"/>
                  </a:lnTo>
                  <a:lnTo>
                    <a:pt x="312" y="1794"/>
                  </a:lnTo>
                  <a:lnTo>
                    <a:pt x="288" y="1788"/>
                  </a:lnTo>
                  <a:lnTo>
                    <a:pt x="264" y="1758"/>
                  </a:lnTo>
                  <a:lnTo>
                    <a:pt x="270" y="1758"/>
                  </a:lnTo>
                  <a:lnTo>
                    <a:pt x="270" y="1752"/>
                  </a:lnTo>
                  <a:lnTo>
                    <a:pt x="276" y="1752"/>
                  </a:lnTo>
                  <a:lnTo>
                    <a:pt x="282" y="1746"/>
                  </a:lnTo>
                  <a:lnTo>
                    <a:pt x="300" y="1746"/>
                  </a:lnTo>
                  <a:lnTo>
                    <a:pt x="312" y="1746"/>
                  </a:lnTo>
                  <a:lnTo>
                    <a:pt x="336" y="1710"/>
                  </a:lnTo>
                  <a:lnTo>
                    <a:pt x="342" y="1692"/>
                  </a:lnTo>
                  <a:lnTo>
                    <a:pt x="348" y="1680"/>
                  </a:lnTo>
                  <a:lnTo>
                    <a:pt x="342" y="1650"/>
                  </a:lnTo>
                  <a:lnTo>
                    <a:pt x="354" y="1644"/>
                  </a:lnTo>
                  <a:lnTo>
                    <a:pt x="354" y="1638"/>
                  </a:lnTo>
                  <a:lnTo>
                    <a:pt x="360" y="1632"/>
                  </a:lnTo>
                  <a:lnTo>
                    <a:pt x="354" y="1626"/>
                  </a:lnTo>
                  <a:lnTo>
                    <a:pt x="348" y="1626"/>
                  </a:lnTo>
                  <a:lnTo>
                    <a:pt x="348" y="1620"/>
                  </a:lnTo>
                  <a:lnTo>
                    <a:pt x="342" y="1620"/>
                  </a:lnTo>
                  <a:lnTo>
                    <a:pt x="348" y="1614"/>
                  </a:lnTo>
                  <a:lnTo>
                    <a:pt x="324" y="1566"/>
                  </a:lnTo>
                  <a:lnTo>
                    <a:pt x="318" y="1566"/>
                  </a:lnTo>
                  <a:lnTo>
                    <a:pt x="306" y="1572"/>
                  </a:lnTo>
                  <a:lnTo>
                    <a:pt x="300" y="1572"/>
                  </a:lnTo>
                  <a:lnTo>
                    <a:pt x="294" y="1578"/>
                  </a:lnTo>
                  <a:lnTo>
                    <a:pt x="288" y="1584"/>
                  </a:lnTo>
                  <a:lnTo>
                    <a:pt x="282" y="1584"/>
                  </a:lnTo>
                  <a:lnTo>
                    <a:pt x="282" y="1578"/>
                  </a:lnTo>
                  <a:lnTo>
                    <a:pt x="276" y="1578"/>
                  </a:lnTo>
                  <a:lnTo>
                    <a:pt x="270" y="1578"/>
                  </a:lnTo>
                  <a:lnTo>
                    <a:pt x="264" y="1578"/>
                  </a:lnTo>
                  <a:lnTo>
                    <a:pt x="258" y="1578"/>
                  </a:lnTo>
                  <a:lnTo>
                    <a:pt x="252" y="1578"/>
                  </a:lnTo>
                  <a:lnTo>
                    <a:pt x="252" y="1584"/>
                  </a:lnTo>
                  <a:lnTo>
                    <a:pt x="246" y="1584"/>
                  </a:lnTo>
                  <a:lnTo>
                    <a:pt x="210" y="1584"/>
                  </a:lnTo>
                  <a:lnTo>
                    <a:pt x="204" y="1584"/>
                  </a:lnTo>
                  <a:lnTo>
                    <a:pt x="192" y="1584"/>
                  </a:lnTo>
                  <a:lnTo>
                    <a:pt x="168" y="1596"/>
                  </a:lnTo>
                  <a:lnTo>
                    <a:pt x="156" y="1572"/>
                  </a:lnTo>
                  <a:lnTo>
                    <a:pt x="156" y="1566"/>
                  </a:lnTo>
                  <a:lnTo>
                    <a:pt x="156" y="1560"/>
                  </a:lnTo>
                  <a:lnTo>
                    <a:pt x="162" y="1548"/>
                  </a:lnTo>
                  <a:lnTo>
                    <a:pt x="162" y="1542"/>
                  </a:lnTo>
                  <a:lnTo>
                    <a:pt x="162" y="1536"/>
                  </a:lnTo>
                  <a:lnTo>
                    <a:pt x="168" y="1530"/>
                  </a:lnTo>
                  <a:lnTo>
                    <a:pt x="168" y="1524"/>
                  </a:lnTo>
                  <a:lnTo>
                    <a:pt x="168" y="1518"/>
                  </a:lnTo>
                  <a:lnTo>
                    <a:pt x="174" y="1518"/>
                  </a:lnTo>
                  <a:lnTo>
                    <a:pt x="174" y="1506"/>
                  </a:lnTo>
                  <a:lnTo>
                    <a:pt x="156" y="1470"/>
                  </a:lnTo>
                  <a:lnTo>
                    <a:pt x="138" y="1464"/>
                  </a:lnTo>
                  <a:lnTo>
                    <a:pt x="126" y="1446"/>
                  </a:lnTo>
                  <a:lnTo>
                    <a:pt x="126" y="1440"/>
                  </a:lnTo>
                  <a:lnTo>
                    <a:pt x="126" y="1434"/>
                  </a:lnTo>
                  <a:lnTo>
                    <a:pt x="120" y="1428"/>
                  </a:lnTo>
                  <a:lnTo>
                    <a:pt x="126" y="1398"/>
                  </a:lnTo>
                  <a:lnTo>
                    <a:pt x="120" y="1374"/>
                  </a:lnTo>
                  <a:lnTo>
                    <a:pt x="60" y="1374"/>
                  </a:lnTo>
                  <a:lnTo>
                    <a:pt x="60" y="1368"/>
                  </a:lnTo>
                  <a:lnTo>
                    <a:pt x="54" y="1362"/>
                  </a:lnTo>
                  <a:lnTo>
                    <a:pt x="48" y="1356"/>
                  </a:lnTo>
                  <a:lnTo>
                    <a:pt x="42" y="1356"/>
                  </a:lnTo>
                  <a:lnTo>
                    <a:pt x="42" y="1350"/>
                  </a:lnTo>
                  <a:lnTo>
                    <a:pt x="36" y="1344"/>
                  </a:lnTo>
                  <a:lnTo>
                    <a:pt x="36" y="1338"/>
                  </a:lnTo>
                  <a:lnTo>
                    <a:pt x="30" y="1332"/>
                  </a:lnTo>
                  <a:lnTo>
                    <a:pt x="30" y="1326"/>
                  </a:lnTo>
                  <a:lnTo>
                    <a:pt x="18" y="1326"/>
                  </a:lnTo>
                  <a:lnTo>
                    <a:pt x="18" y="1320"/>
                  </a:lnTo>
                  <a:lnTo>
                    <a:pt x="18" y="1326"/>
                  </a:lnTo>
                  <a:lnTo>
                    <a:pt x="6" y="1320"/>
                  </a:lnTo>
                  <a:lnTo>
                    <a:pt x="0" y="1314"/>
                  </a:lnTo>
                  <a:lnTo>
                    <a:pt x="12" y="1266"/>
                  </a:lnTo>
                  <a:lnTo>
                    <a:pt x="6" y="1242"/>
                  </a:lnTo>
                  <a:lnTo>
                    <a:pt x="12" y="1236"/>
                  </a:lnTo>
                  <a:lnTo>
                    <a:pt x="12" y="1230"/>
                  </a:lnTo>
                  <a:lnTo>
                    <a:pt x="18" y="1230"/>
                  </a:lnTo>
                  <a:lnTo>
                    <a:pt x="18" y="1224"/>
                  </a:lnTo>
                  <a:lnTo>
                    <a:pt x="24" y="1218"/>
                  </a:lnTo>
                  <a:lnTo>
                    <a:pt x="24" y="1212"/>
                  </a:lnTo>
                  <a:lnTo>
                    <a:pt x="30" y="1212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48" y="1188"/>
                  </a:lnTo>
                  <a:lnTo>
                    <a:pt x="48" y="1182"/>
                  </a:lnTo>
                  <a:lnTo>
                    <a:pt x="48" y="1176"/>
                  </a:lnTo>
                  <a:lnTo>
                    <a:pt x="48" y="1170"/>
                  </a:lnTo>
                  <a:lnTo>
                    <a:pt x="54" y="1170"/>
                  </a:lnTo>
                  <a:lnTo>
                    <a:pt x="60" y="1164"/>
                  </a:lnTo>
                  <a:lnTo>
                    <a:pt x="60" y="1158"/>
                  </a:lnTo>
                  <a:lnTo>
                    <a:pt x="66" y="1152"/>
                  </a:lnTo>
                  <a:lnTo>
                    <a:pt x="60" y="1140"/>
                  </a:lnTo>
                  <a:lnTo>
                    <a:pt x="60" y="1134"/>
                  </a:lnTo>
                  <a:lnTo>
                    <a:pt x="54" y="1134"/>
                  </a:lnTo>
                  <a:lnTo>
                    <a:pt x="54" y="1128"/>
                  </a:lnTo>
                  <a:lnTo>
                    <a:pt x="48" y="1122"/>
                  </a:lnTo>
                  <a:lnTo>
                    <a:pt x="48" y="1116"/>
                  </a:lnTo>
                  <a:lnTo>
                    <a:pt x="48" y="1110"/>
                  </a:lnTo>
                  <a:lnTo>
                    <a:pt x="42" y="1104"/>
                  </a:lnTo>
                  <a:lnTo>
                    <a:pt x="42" y="1098"/>
                  </a:lnTo>
                  <a:lnTo>
                    <a:pt x="36" y="1092"/>
                  </a:lnTo>
                  <a:lnTo>
                    <a:pt x="30" y="1092"/>
                  </a:lnTo>
                  <a:lnTo>
                    <a:pt x="24" y="1092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18" y="1080"/>
                  </a:lnTo>
                  <a:lnTo>
                    <a:pt x="18" y="1074"/>
                  </a:lnTo>
                  <a:lnTo>
                    <a:pt x="12" y="1068"/>
                  </a:lnTo>
                  <a:lnTo>
                    <a:pt x="6" y="1068"/>
                  </a:lnTo>
                  <a:lnTo>
                    <a:pt x="12" y="1056"/>
                  </a:lnTo>
                  <a:lnTo>
                    <a:pt x="6" y="1056"/>
                  </a:lnTo>
                  <a:lnTo>
                    <a:pt x="6" y="1050"/>
                  </a:lnTo>
                  <a:lnTo>
                    <a:pt x="6" y="1044"/>
                  </a:lnTo>
                  <a:lnTo>
                    <a:pt x="6" y="1026"/>
                  </a:lnTo>
                  <a:lnTo>
                    <a:pt x="12" y="1020"/>
                  </a:lnTo>
                  <a:lnTo>
                    <a:pt x="12" y="1014"/>
                  </a:lnTo>
                  <a:lnTo>
                    <a:pt x="18" y="1014"/>
                  </a:lnTo>
                  <a:lnTo>
                    <a:pt x="18" y="1008"/>
                  </a:lnTo>
                  <a:lnTo>
                    <a:pt x="18" y="1002"/>
                  </a:lnTo>
                  <a:lnTo>
                    <a:pt x="18" y="990"/>
                  </a:lnTo>
                  <a:lnTo>
                    <a:pt x="12" y="972"/>
                  </a:lnTo>
                  <a:lnTo>
                    <a:pt x="18" y="954"/>
                  </a:lnTo>
                  <a:lnTo>
                    <a:pt x="18" y="948"/>
                  </a:lnTo>
                  <a:lnTo>
                    <a:pt x="24" y="948"/>
                  </a:lnTo>
                  <a:lnTo>
                    <a:pt x="24" y="930"/>
                  </a:lnTo>
                  <a:lnTo>
                    <a:pt x="30" y="930"/>
                  </a:lnTo>
                  <a:lnTo>
                    <a:pt x="36" y="918"/>
                  </a:lnTo>
                  <a:lnTo>
                    <a:pt x="42" y="918"/>
                  </a:lnTo>
                  <a:lnTo>
                    <a:pt x="48" y="918"/>
                  </a:lnTo>
                  <a:lnTo>
                    <a:pt x="78" y="912"/>
                  </a:lnTo>
                  <a:lnTo>
                    <a:pt x="90" y="894"/>
                  </a:lnTo>
                  <a:lnTo>
                    <a:pt x="96" y="894"/>
                  </a:lnTo>
                  <a:lnTo>
                    <a:pt x="102" y="888"/>
                  </a:lnTo>
                  <a:lnTo>
                    <a:pt x="102" y="882"/>
                  </a:lnTo>
                  <a:lnTo>
                    <a:pt x="114" y="870"/>
                  </a:lnTo>
                  <a:lnTo>
                    <a:pt x="120" y="864"/>
                  </a:lnTo>
                  <a:lnTo>
                    <a:pt x="120" y="852"/>
                  </a:lnTo>
                  <a:lnTo>
                    <a:pt x="120" y="846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32" y="840"/>
                  </a:lnTo>
                  <a:lnTo>
                    <a:pt x="138" y="840"/>
                  </a:lnTo>
                  <a:lnTo>
                    <a:pt x="138" y="834"/>
                  </a:lnTo>
                  <a:lnTo>
                    <a:pt x="144" y="834"/>
                  </a:lnTo>
                  <a:lnTo>
                    <a:pt x="144" y="828"/>
                  </a:lnTo>
                  <a:lnTo>
                    <a:pt x="150" y="828"/>
                  </a:lnTo>
                  <a:lnTo>
                    <a:pt x="156" y="822"/>
                  </a:lnTo>
                  <a:lnTo>
                    <a:pt x="162" y="816"/>
                  </a:lnTo>
                  <a:lnTo>
                    <a:pt x="162" y="822"/>
                  </a:lnTo>
                  <a:lnTo>
                    <a:pt x="162" y="816"/>
                  </a:lnTo>
                  <a:lnTo>
                    <a:pt x="162" y="810"/>
                  </a:lnTo>
                  <a:lnTo>
                    <a:pt x="168" y="810"/>
                  </a:lnTo>
                  <a:lnTo>
                    <a:pt x="174" y="804"/>
                  </a:lnTo>
                  <a:lnTo>
                    <a:pt x="180" y="798"/>
                  </a:lnTo>
                  <a:lnTo>
                    <a:pt x="180" y="786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8" y="780"/>
                  </a:lnTo>
                  <a:lnTo>
                    <a:pt x="204" y="774"/>
                  </a:lnTo>
                  <a:lnTo>
                    <a:pt x="210" y="774"/>
                  </a:lnTo>
                  <a:lnTo>
                    <a:pt x="216" y="768"/>
                  </a:lnTo>
                  <a:lnTo>
                    <a:pt x="222" y="762"/>
                  </a:lnTo>
                  <a:lnTo>
                    <a:pt x="228" y="762"/>
                  </a:lnTo>
                  <a:lnTo>
                    <a:pt x="228" y="768"/>
                  </a:lnTo>
                  <a:lnTo>
                    <a:pt x="234" y="768"/>
                  </a:lnTo>
                  <a:lnTo>
                    <a:pt x="240" y="762"/>
                  </a:lnTo>
                  <a:lnTo>
                    <a:pt x="252" y="762"/>
                  </a:lnTo>
                  <a:lnTo>
                    <a:pt x="264" y="768"/>
                  </a:lnTo>
                  <a:lnTo>
                    <a:pt x="294" y="756"/>
                  </a:lnTo>
                  <a:lnTo>
                    <a:pt x="294" y="750"/>
                  </a:lnTo>
                  <a:lnTo>
                    <a:pt x="300" y="750"/>
                  </a:lnTo>
                  <a:lnTo>
                    <a:pt x="306" y="744"/>
                  </a:lnTo>
                  <a:lnTo>
                    <a:pt x="342" y="750"/>
                  </a:lnTo>
                  <a:lnTo>
                    <a:pt x="348" y="750"/>
                  </a:lnTo>
                  <a:lnTo>
                    <a:pt x="348" y="744"/>
                  </a:lnTo>
                  <a:lnTo>
                    <a:pt x="354" y="744"/>
                  </a:lnTo>
                  <a:lnTo>
                    <a:pt x="360" y="744"/>
                  </a:lnTo>
                  <a:lnTo>
                    <a:pt x="360" y="750"/>
                  </a:lnTo>
                  <a:lnTo>
                    <a:pt x="366" y="750"/>
                  </a:lnTo>
                  <a:lnTo>
                    <a:pt x="366" y="744"/>
                  </a:lnTo>
                  <a:lnTo>
                    <a:pt x="366" y="738"/>
                  </a:lnTo>
                  <a:lnTo>
                    <a:pt x="372" y="744"/>
                  </a:lnTo>
                  <a:lnTo>
                    <a:pt x="378" y="744"/>
                  </a:lnTo>
                  <a:lnTo>
                    <a:pt x="384" y="750"/>
                  </a:lnTo>
                  <a:lnTo>
                    <a:pt x="444" y="774"/>
                  </a:lnTo>
                  <a:lnTo>
                    <a:pt x="450" y="774"/>
                  </a:lnTo>
                  <a:lnTo>
                    <a:pt x="456" y="768"/>
                  </a:lnTo>
                  <a:lnTo>
                    <a:pt x="462" y="768"/>
                  </a:lnTo>
                  <a:lnTo>
                    <a:pt x="462" y="762"/>
                  </a:lnTo>
                  <a:lnTo>
                    <a:pt x="468" y="762"/>
                  </a:lnTo>
                  <a:lnTo>
                    <a:pt x="474" y="756"/>
                  </a:lnTo>
                  <a:lnTo>
                    <a:pt x="480" y="750"/>
                  </a:lnTo>
                  <a:lnTo>
                    <a:pt x="516" y="756"/>
                  </a:lnTo>
                  <a:lnTo>
                    <a:pt x="522" y="756"/>
                  </a:lnTo>
                  <a:lnTo>
                    <a:pt x="522" y="762"/>
                  </a:lnTo>
                  <a:lnTo>
                    <a:pt x="522" y="768"/>
                  </a:lnTo>
                  <a:lnTo>
                    <a:pt x="522" y="774"/>
                  </a:lnTo>
                  <a:lnTo>
                    <a:pt x="528" y="780"/>
                  </a:lnTo>
                  <a:lnTo>
                    <a:pt x="540" y="780"/>
                  </a:lnTo>
                  <a:lnTo>
                    <a:pt x="540" y="804"/>
                  </a:lnTo>
                  <a:lnTo>
                    <a:pt x="540" y="810"/>
                  </a:lnTo>
                  <a:lnTo>
                    <a:pt x="546" y="810"/>
                  </a:lnTo>
                  <a:lnTo>
                    <a:pt x="552" y="810"/>
                  </a:lnTo>
                  <a:lnTo>
                    <a:pt x="558" y="810"/>
                  </a:lnTo>
                  <a:lnTo>
                    <a:pt x="564" y="810"/>
                  </a:lnTo>
                  <a:lnTo>
                    <a:pt x="570" y="810"/>
                  </a:lnTo>
                  <a:lnTo>
                    <a:pt x="576" y="810"/>
                  </a:lnTo>
                  <a:lnTo>
                    <a:pt x="576" y="816"/>
                  </a:lnTo>
                  <a:lnTo>
                    <a:pt x="588" y="816"/>
                  </a:lnTo>
                  <a:lnTo>
                    <a:pt x="594" y="816"/>
                  </a:lnTo>
                  <a:lnTo>
                    <a:pt x="600" y="822"/>
                  </a:lnTo>
                  <a:lnTo>
                    <a:pt x="606" y="816"/>
                  </a:lnTo>
                  <a:lnTo>
                    <a:pt x="612" y="816"/>
                  </a:lnTo>
                  <a:lnTo>
                    <a:pt x="612" y="810"/>
                  </a:lnTo>
                  <a:lnTo>
                    <a:pt x="624" y="810"/>
                  </a:lnTo>
                  <a:lnTo>
                    <a:pt x="624" y="804"/>
                  </a:lnTo>
                  <a:lnTo>
                    <a:pt x="630" y="798"/>
                  </a:lnTo>
                  <a:lnTo>
                    <a:pt x="636" y="798"/>
                  </a:lnTo>
                  <a:lnTo>
                    <a:pt x="636" y="804"/>
                  </a:lnTo>
                  <a:lnTo>
                    <a:pt x="642" y="804"/>
                  </a:lnTo>
                  <a:lnTo>
                    <a:pt x="648" y="804"/>
                  </a:lnTo>
                  <a:lnTo>
                    <a:pt x="654" y="804"/>
                  </a:lnTo>
                  <a:lnTo>
                    <a:pt x="660" y="804"/>
                  </a:lnTo>
                  <a:lnTo>
                    <a:pt x="678" y="798"/>
                  </a:lnTo>
                  <a:lnTo>
                    <a:pt x="714" y="786"/>
                  </a:lnTo>
                  <a:lnTo>
                    <a:pt x="714" y="792"/>
                  </a:lnTo>
                  <a:lnTo>
                    <a:pt x="714" y="798"/>
                  </a:lnTo>
                  <a:lnTo>
                    <a:pt x="714" y="804"/>
                  </a:lnTo>
                  <a:lnTo>
                    <a:pt x="720" y="804"/>
                  </a:lnTo>
                  <a:lnTo>
                    <a:pt x="720" y="810"/>
                  </a:lnTo>
                  <a:lnTo>
                    <a:pt x="720" y="816"/>
                  </a:lnTo>
                  <a:lnTo>
                    <a:pt x="726" y="822"/>
                  </a:lnTo>
                  <a:lnTo>
                    <a:pt x="732" y="828"/>
                  </a:lnTo>
                  <a:lnTo>
                    <a:pt x="732" y="834"/>
                  </a:lnTo>
                  <a:lnTo>
                    <a:pt x="732" y="846"/>
                  </a:lnTo>
                  <a:lnTo>
                    <a:pt x="732" y="858"/>
                  </a:lnTo>
                  <a:lnTo>
                    <a:pt x="738" y="858"/>
                  </a:lnTo>
                  <a:lnTo>
                    <a:pt x="732" y="864"/>
                  </a:lnTo>
                  <a:lnTo>
                    <a:pt x="732" y="870"/>
                  </a:lnTo>
                  <a:lnTo>
                    <a:pt x="726" y="870"/>
                  </a:lnTo>
                  <a:lnTo>
                    <a:pt x="726" y="876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0" y="882"/>
                  </a:lnTo>
                  <a:lnTo>
                    <a:pt x="690" y="912"/>
                  </a:lnTo>
                  <a:lnTo>
                    <a:pt x="696" y="936"/>
                  </a:lnTo>
                  <a:lnTo>
                    <a:pt x="702" y="936"/>
                  </a:lnTo>
                  <a:lnTo>
                    <a:pt x="702" y="930"/>
                  </a:lnTo>
                  <a:lnTo>
                    <a:pt x="708" y="930"/>
                  </a:lnTo>
                  <a:lnTo>
                    <a:pt x="708" y="924"/>
                  </a:lnTo>
                  <a:lnTo>
                    <a:pt x="708" y="918"/>
                  </a:lnTo>
                  <a:lnTo>
                    <a:pt x="714" y="918"/>
                  </a:lnTo>
                  <a:lnTo>
                    <a:pt x="720" y="954"/>
                  </a:lnTo>
                  <a:lnTo>
                    <a:pt x="726" y="966"/>
                  </a:lnTo>
                  <a:lnTo>
                    <a:pt x="744" y="966"/>
                  </a:lnTo>
                  <a:lnTo>
                    <a:pt x="756" y="972"/>
                  </a:lnTo>
                  <a:lnTo>
                    <a:pt x="792" y="990"/>
                  </a:lnTo>
                  <a:lnTo>
                    <a:pt x="828" y="978"/>
                  </a:lnTo>
                  <a:lnTo>
                    <a:pt x="834" y="978"/>
                  </a:lnTo>
                  <a:lnTo>
                    <a:pt x="840" y="978"/>
                  </a:lnTo>
                  <a:lnTo>
                    <a:pt x="840" y="984"/>
                  </a:lnTo>
                  <a:lnTo>
                    <a:pt x="846" y="984"/>
                  </a:lnTo>
                  <a:lnTo>
                    <a:pt x="858" y="972"/>
                  </a:lnTo>
                  <a:lnTo>
                    <a:pt x="882" y="972"/>
                  </a:lnTo>
                  <a:lnTo>
                    <a:pt x="888" y="984"/>
                  </a:lnTo>
                  <a:lnTo>
                    <a:pt x="900" y="990"/>
                  </a:lnTo>
                  <a:lnTo>
                    <a:pt x="924" y="996"/>
                  </a:lnTo>
                  <a:lnTo>
                    <a:pt x="930" y="990"/>
                  </a:lnTo>
                  <a:lnTo>
                    <a:pt x="930" y="984"/>
                  </a:lnTo>
                  <a:lnTo>
                    <a:pt x="924" y="978"/>
                  </a:lnTo>
                  <a:lnTo>
                    <a:pt x="906" y="972"/>
                  </a:lnTo>
                  <a:lnTo>
                    <a:pt x="900" y="966"/>
                  </a:lnTo>
                  <a:lnTo>
                    <a:pt x="900" y="960"/>
                  </a:lnTo>
                  <a:lnTo>
                    <a:pt x="900" y="954"/>
                  </a:lnTo>
                  <a:lnTo>
                    <a:pt x="900" y="948"/>
                  </a:lnTo>
                  <a:lnTo>
                    <a:pt x="912" y="936"/>
                  </a:lnTo>
                  <a:lnTo>
                    <a:pt x="912" y="924"/>
                  </a:lnTo>
                  <a:lnTo>
                    <a:pt x="918" y="924"/>
                  </a:lnTo>
                  <a:lnTo>
                    <a:pt x="918" y="918"/>
                  </a:lnTo>
                  <a:lnTo>
                    <a:pt x="936" y="906"/>
                  </a:lnTo>
                  <a:lnTo>
                    <a:pt x="942" y="906"/>
                  </a:lnTo>
                  <a:lnTo>
                    <a:pt x="948" y="906"/>
                  </a:lnTo>
                  <a:lnTo>
                    <a:pt x="954" y="906"/>
                  </a:lnTo>
                  <a:lnTo>
                    <a:pt x="960" y="906"/>
                  </a:lnTo>
                  <a:lnTo>
                    <a:pt x="966" y="912"/>
                  </a:lnTo>
                  <a:lnTo>
                    <a:pt x="972" y="906"/>
                  </a:lnTo>
                  <a:lnTo>
                    <a:pt x="978" y="906"/>
                  </a:lnTo>
                  <a:lnTo>
                    <a:pt x="984" y="900"/>
                  </a:lnTo>
                  <a:lnTo>
                    <a:pt x="984" y="894"/>
                  </a:lnTo>
                  <a:lnTo>
                    <a:pt x="990" y="894"/>
                  </a:lnTo>
                  <a:lnTo>
                    <a:pt x="996" y="888"/>
                  </a:lnTo>
                  <a:lnTo>
                    <a:pt x="1002" y="888"/>
                  </a:lnTo>
                  <a:lnTo>
                    <a:pt x="1008" y="882"/>
                  </a:lnTo>
                  <a:lnTo>
                    <a:pt x="1014" y="882"/>
                  </a:lnTo>
                  <a:lnTo>
                    <a:pt x="1020" y="882"/>
                  </a:lnTo>
                  <a:lnTo>
                    <a:pt x="1020" y="888"/>
                  </a:lnTo>
                  <a:lnTo>
                    <a:pt x="1026" y="882"/>
                  </a:lnTo>
                  <a:lnTo>
                    <a:pt x="1026" y="876"/>
                  </a:lnTo>
                  <a:lnTo>
                    <a:pt x="1026" y="870"/>
                  </a:lnTo>
                  <a:lnTo>
                    <a:pt x="1032" y="864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44" y="852"/>
                  </a:lnTo>
                  <a:lnTo>
                    <a:pt x="1038" y="846"/>
                  </a:lnTo>
                  <a:lnTo>
                    <a:pt x="1038" y="840"/>
                  </a:lnTo>
                  <a:lnTo>
                    <a:pt x="1032" y="840"/>
                  </a:lnTo>
                  <a:lnTo>
                    <a:pt x="1026" y="840"/>
                  </a:lnTo>
                  <a:lnTo>
                    <a:pt x="1020" y="840"/>
                  </a:lnTo>
                  <a:lnTo>
                    <a:pt x="1014" y="846"/>
                  </a:lnTo>
                  <a:lnTo>
                    <a:pt x="1008" y="846"/>
                  </a:lnTo>
                  <a:lnTo>
                    <a:pt x="1002" y="840"/>
                  </a:lnTo>
                  <a:lnTo>
                    <a:pt x="996" y="840"/>
                  </a:lnTo>
                  <a:lnTo>
                    <a:pt x="990" y="834"/>
                  </a:lnTo>
                  <a:lnTo>
                    <a:pt x="984" y="834"/>
                  </a:lnTo>
                  <a:lnTo>
                    <a:pt x="978" y="834"/>
                  </a:lnTo>
                  <a:lnTo>
                    <a:pt x="972" y="834"/>
                  </a:lnTo>
                  <a:lnTo>
                    <a:pt x="966" y="834"/>
                  </a:lnTo>
                  <a:lnTo>
                    <a:pt x="966" y="828"/>
                  </a:lnTo>
                  <a:lnTo>
                    <a:pt x="960" y="828"/>
                  </a:lnTo>
                  <a:lnTo>
                    <a:pt x="954" y="828"/>
                  </a:lnTo>
                  <a:lnTo>
                    <a:pt x="942" y="828"/>
                  </a:lnTo>
                  <a:lnTo>
                    <a:pt x="936" y="828"/>
                  </a:lnTo>
                  <a:lnTo>
                    <a:pt x="930" y="828"/>
                  </a:lnTo>
                  <a:lnTo>
                    <a:pt x="918" y="828"/>
                  </a:lnTo>
                  <a:lnTo>
                    <a:pt x="918" y="822"/>
                  </a:lnTo>
                  <a:lnTo>
                    <a:pt x="912" y="828"/>
                  </a:lnTo>
                  <a:lnTo>
                    <a:pt x="912" y="822"/>
                  </a:lnTo>
                  <a:lnTo>
                    <a:pt x="906" y="816"/>
                  </a:lnTo>
                  <a:lnTo>
                    <a:pt x="900" y="816"/>
                  </a:lnTo>
                  <a:lnTo>
                    <a:pt x="894" y="816"/>
                  </a:lnTo>
                  <a:lnTo>
                    <a:pt x="888" y="816"/>
                  </a:lnTo>
                  <a:lnTo>
                    <a:pt x="882" y="816"/>
                  </a:lnTo>
                  <a:lnTo>
                    <a:pt x="882" y="810"/>
                  </a:lnTo>
                  <a:lnTo>
                    <a:pt x="876" y="804"/>
                  </a:lnTo>
                  <a:lnTo>
                    <a:pt x="870" y="804"/>
                  </a:lnTo>
                  <a:lnTo>
                    <a:pt x="864" y="798"/>
                  </a:lnTo>
                  <a:lnTo>
                    <a:pt x="858" y="798"/>
                  </a:lnTo>
                  <a:lnTo>
                    <a:pt x="858" y="804"/>
                  </a:lnTo>
                  <a:lnTo>
                    <a:pt x="852" y="804"/>
                  </a:lnTo>
                  <a:lnTo>
                    <a:pt x="846" y="804"/>
                  </a:lnTo>
                  <a:lnTo>
                    <a:pt x="846" y="798"/>
                  </a:lnTo>
                  <a:lnTo>
                    <a:pt x="840" y="804"/>
                  </a:lnTo>
                  <a:lnTo>
                    <a:pt x="834" y="804"/>
                  </a:lnTo>
                  <a:lnTo>
                    <a:pt x="828" y="804"/>
                  </a:lnTo>
                  <a:lnTo>
                    <a:pt x="828" y="810"/>
                  </a:lnTo>
                  <a:lnTo>
                    <a:pt x="822" y="810"/>
                  </a:lnTo>
                  <a:lnTo>
                    <a:pt x="810" y="804"/>
                  </a:lnTo>
                  <a:lnTo>
                    <a:pt x="810" y="798"/>
                  </a:lnTo>
                  <a:lnTo>
                    <a:pt x="780" y="798"/>
                  </a:lnTo>
                  <a:lnTo>
                    <a:pt x="756" y="774"/>
                  </a:lnTo>
                  <a:lnTo>
                    <a:pt x="750" y="768"/>
                  </a:lnTo>
                  <a:lnTo>
                    <a:pt x="750" y="744"/>
                  </a:lnTo>
                  <a:lnTo>
                    <a:pt x="732" y="738"/>
                  </a:lnTo>
                  <a:lnTo>
                    <a:pt x="732" y="720"/>
                  </a:lnTo>
                  <a:lnTo>
                    <a:pt x="714" y="690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6" y="666"/>
                  </a:lnTo>
                  <a:lnTo>
                    <a:pt x="690" y="666"/>
                  </a:lnTo>
                  <a:lnTo>
                    <a:pt x="678" y="672"/>
                  </a:lnTo>
                  <a:lnTo>
                    <a:pt x="678" y="654"/>
                  </a:lnTo>
                  <a:lnTo>
                    <a:pt x="684" y="630"/>
                  </a:lnTo>
                  <a:lnTo>
                    <a:pt x="690" y="618"/>
                  </a:lnTo>
                  <a:lnTo>
                    <a:pt x="696" y="612"/>
                  </a:lnTo>
                  <a:lnTo>
                    <a:pt x="696" y="588"/>
                  </a:lnTo>
                  <a:lnTo>
                    <a:pt x="690" y="576"/>
                  </a:lnTo>
                  <a:lnTo>
                    <a:pt x="696" y="552"/>
                  </a:lnTo>
                  <a:lnTo>
                    <a:pt x="684" y="522"/>
                  </a:lnTo>
                  <a:lnTo>
                    <a:pt x="672" y="504"/>
                  </a:lnTo>
                  <a:lnTo>
                    <a:pt x="654" y="504"/>
                  </a:lnTo>
                  <a:lnTo>
                    <a:pt x="642" y="504"/>
                  </a:lnTo>
                  <a:lnTo>
                    <a:pt x="624" y="510"/>
                  </a:lnTo>
                  <a:lnTo>
                    <a:pt x="612" y="516"/>
                  </a:lnTo>
                  <a:lnTo>
                    <a:pt x="594" y="516"/>
                  </a:lnTo>
                  <a:lnTo>
                    <a:pt x="588" y="516"/>
                  </a:lnTo>
                  <a:lnTo>
                    <a:pt x="588" y="522"/>
                  </a:lnTo>
                  <a:lnTo>
                    <a:pt x="582" y="516"/>
                  </a:lnTo>
                  <a:lnTo>
                    <a:pt x="588" y="510"/>
                  </a:lnTo>
                  <a:lnTo>
                    <a:pt x="582" y="510"/>
                  </a:lnTo>
                  <a:lnTo>
                    <a:pt x="582" y="504"/>
                  </a:lnTo>
                  <a:lnTo>
                    <a:pt x="576" y="498"/>
                  </a:lnTo>
                  <a:lnTo>
                    <a:pt x="570" y="498"/>
                  </a:lnTo>
                  <a:lnTo>
                    <a:pt x="570" y="492"/>
                  </a:lnTo>
                  <a:lnTo>
                    <a:pt x="564" y="492"/>
                  </a:lnTo>
                  <a:lnTo>
                    <a:pt x="570" y="486"/>
                  </a:lnTo>
                  <a:lnTo>
                    <a:pt x="564" y="486"/>
                  </a:lnTo>
                  <a:lnTo>
                    <a:pt x="564" y="480"/>
                  </a:lnTo>
                  <a:lnTo>
                    <a:pt x="564" y="474"/>
                  </a:lnTo>
                  <a:lnTo>
                    <a:pt x="558" y="468"/>
                  </a:lnTo>
                  <a:lnTo>
                    <a:pt x="564" y="468"/>
                  </a:lnTo>
                  <a:lnTo>
                    <a:pt x="564" y="462"/>
                  </a:lnTo>
                  <a:lnTo>
                    <a:pt x="570" y="462"/>
                  </a:lnTo>
                  <a:lnTo>
                    <a:pt x="570" y="456"/>
                  </a:lnTo>
                  <a:lnTo>
                    <a:pt x="570" y="450"/>
                  </a:lnTo>
                  <a:lnTo>
                    <a:pt x="576" y="450"/>
                  </a:lnTo>
                  <a:lnTo>
                    <a:pt x="576" y="444"/>
                  </a:lnTo>
                  <a:lnTo>
                    <a:pt x="582" y="438"/>
                  </a:lnTo>
                  <a:lnTo>
                    <a:pt x="588" y="438"/>
                  </a:lnTo>
                  <a:lnTo>
                    <a:pt x="588" y="444"/>
                  </a:lnTo>
                  <a:lnTo>
                    <a:pt x="594" y="438"/>
                  </a:lnTo>
                  <a:lnTo>
                    <a:pt x="594" y="432"/>
                  </a:lnTo>
                  <a:lnTo>
                    <a:pt x="600" y="432"/>
                  </a:lnTo>
                  <a:lnTo>
                    <a:pt x="600" y="426"/>
                  </a:lnTo>
                  <a:lnTo>
                    <a:pt x="600" y="420"/>
                  </a:lnTo>
                  <a:lnTo>
                    <a:pt x="606" y="420"/>
                  </a:lnTo>
                  <a:lnTo>
                    <a:pt x="600" y="420"/>
                  </a:lnTo>
                  <a:lnTo>
                    <a:pt x="600" y="414"/>
                  </a:lnTo>
                  <a:lnTo>
                    <a:pt x="606" y="408"/>
                  </a:lnTo>
                  <a:lnTo>
                    <a:pt x="612" y="408"/>
                  </a:lnTo>
                  <a:lnTo>
                    <a:pt x="612" y="414"/>
                  </a:lnTo>
                  <a:lnTo>
                    <a:pt x="618" y="414"/>
                  </a:lnTo>
                  <a:lnTo>
                    <a:pt x="624" y="414"/>
                  </a:lnTo>
                  <a:lnTo>
                    <a:pt x="630" y="414"/>
                  </a:lnTo>
                  <a:lnTo>
                    <a:pt x="636" y="414"/>
                  </a:lnTo>
                  <a:lnTo>
                    <a:pt x="642" y="408"/>
                  </a:lnTo>
                  <a:lnTo>
                    <a:pt x="648" y="408"/>
                  </a:lnTo>
                  <a:lnTo>
                    <a:pt x="660" y="408"/>
                  </a:lnTo>
                  <a:lnTo>
                    <a:pt x="666" y="402"/>
                  </a:lnTo>
                  <a:lnTo>
                    <a:pt x="672" y="402"/>
                  </a:lnTo>
                  <a:lnTo>
                    <a:pt x="684" y="396"/>
                  </a:lnTo>
                  <a:lnTo>
                    <a:pt x="690" y="396"/>
                  </a:lnTo>
                  <a:lnTo>
                    <a:pt x="696" y="396"/>
                  </a:lnTo>
                  <a:lnTo>
                    <a:pt x="702" y="396"/>
                  </a:lnTo>
                  <a:lnTo>
                    <a:pt x="708" y="396"/>
                  </a:lnTo>
                  <a:lnTo>
                    <a:pt x="714" y="390"/>
                  </a:lnTo>
                  <a:lnTo>
                    <a:pt x="714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32" y="384"/>
                  </a:lnTo>
                  <a:lnTo>
                    <a:pt x="738" y="378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56" y="372"/>
                  </a:lnTo>
                  <a:lnTo>
                    <a:pt x="762" y="366"/>
                  </a:lnTo>
                  <a:lnTo>
                    <a:pt x="768" y="366"/>
                  </a:lnTo>
                  <a:lnTo>
                    <a:pt x="774" y="366"/>
                  </a:lnTo>
                  <a:lnTo>
                    <a:pt x="774" y="360"/>
                  </a:lnTo>
                  <a:lnTo>
                    <a:pt x="780" y="366"/>
                  </a:lnTo>
                  <a:lnTo>
                    <a:pt x="786" y="366"/>
                  </a:lnTo>
                  <a:lnTo>
                    <a:pt x="786" y="360"/>
                  </a:lnTo>
                  <a:lnTo>
                    <a:pt x="792" y="354"/>
                  </a:lnTo>
                  <a:lnTo>
                    <a:pt x="786" y="354"/>
                  </a:lnTo>
                  <a:lnTo>
                    <a:pt x="792" y="348"/>
                  </a:lnTo>
                  <a:lnTo>
                    <a:pt x="798" y="348"/>
                  </a:lnTo>
                  <a:lnTo>
                    <a:pt x="804" y="348"/>
                  </a:lnTo>
                  <a:lnTo>
                    <a:pt x="810" y="342"/>
                  </a:lnTo>
                  <a:lnTo>
                    <a:pt x="816" y="342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28" y="336"/>
                  </a:lnTo>
                  <a:lnTo>
                    <a:pt x="834" y="336"/>
                  </a:lnTo>
                  <a:lnTo>
                    <a:pt x="840" y="336"/>
                  </a:lnTo>
                  <a:lnTo>
                    <a:pt x="846" y="330"/>
                  </a:lnTo>
                  <a:lnTo>
                    <a:pt x="852" y="330"/>
                  </a:lnTo>
                  <a:lnTo>
                    <a:pt x="858" y="330"/>
                  </a:lnTo>
                  <a:lnTo>
                    <a:pt x="864" y="324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0" y="312"/>
                  </a:lnTo>
                  <a:lnTo>
                    <a:pt x="876" y="312"/>
                  </a:lnTo>
                  <a:lnTo>
                    <a:pt x="882" y="312"/>
                  </a:lnTo>
                  <a:lnTo>
                    <a:pt x="882" y="318"/>
                  </a:lnTo>
                  <a:lnTo>
                    <a:pt x="888" y="312"/>
                  </a:lnTo>
                  <a:lnTo>
                    <a:pt x="894" y="306"/>
                  </a:lnTo>
                  <a:lnTo>
                    <a:pt x="900" y="306"/>
                  </a:lnTo>
                  <a:lnTo>
                    <a:pt x="906" y="306"/>
                  </a:lnTo>
                  <a:lnTo>
                    <a:pt x="912" y="300"/>
                  </a:lnTo>
                  <a:lnTo>
                    <a:pt x="906" y="294"/>
                  </a:lnTo>
                  <a:lnTo>
                    <a:pt x="912" y="276"/>
                  </a:lnTo>
                  <a:lnTo>
                    <a:pt x="912" y="252"/>
                  </a:lnTo>
                  <a:lnTo>
                    <a:pt x="906" y="234"/>
                  </a:lnTo>
                  <a:lnTo>
                    <a:pt x="912" y="228"/>
                  </a:lnTo>
                  <a:lnTo>
                    <a:pt x="912" y="216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24" y="192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36" y="186"/>
                  </a:lnTo>
                  <a:lnTo>
                    <a:pt x="930" y="180"/>
                  </a:lnTo>
                  <a:lnTo>
                    <a:pt x="930" y="174"/>
                  </a:lnTo>
                  <a:lnTo>
                    <a:pt x="936" y="156"/>
                  </a:lnTo>
                  <a:lnTo>
                    <a:pt x="930" y="156"/>
                  </a:lnTo>
                  <a:lnTo>
                    <a:pt x="924" y="150"/>
                  </a:lnTo>
                  <a:lnTo>
                    <a:pt x="942" y="78"/>
                  </a:lnTo>
                  <a:lnTo>
                    <a:pt x="948" y="78"/>
                  </a:lnTo>
                  <a:lnTo>
                    <a:pt x="954" y="66"/>
                  </a:lnTo>
                  <a:lnTo>
                    <a:pt x="954" y="72"/>
                  </a:lnTo>
                  <a:lnTo>
                    <a:pt x="954" y="66"/>
                  </a:lnTo>
                  <a:lnTo>
                    <a:pt x="960" y="66"/>
                  </a:lnTo>
                  <a:lnTo>
                    <a:pt x="966" y="66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54"/>
                  </a:lnTo>
                  <a:lnTo>
                    <a:pt x="990" y="54"/>
                  </a:lnTo>
                  <a:lnTo>
                    <a:pt x="996" y="48"/>
                  </a:lnTo>
                  <a:lnTo>
                    <a:pt x="1002" y="48"/>
                  </a:lnTo>
                  <a:lnTo>
                    <a:pt x="1032" y="48"/>
                  </a:lnTo>
                  <a:lnTo>
                    <a:pt x="1062" y="48"/>
                  </a:lnTo>
                  <a:lnTo>
                    <a:pt x="1068" y="78"/>
                  </a:lnTo>
                  <a:lnTo>
                    <a:pt x="1086" y="78"/>
                  </a:lnTo>
                  <a:lnTo>
                    <a:pt x="1092" y="66"/>
                  </a:lnTo>
                  <a:lnTo>
                    <a:pt x="1092" y="60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8" y="48"/>
                  </a:lnTo>
                  <a:lnTo>
                    <a:pt x="1104" y="48"/>
                  </a:lnTo>
                  <a:lnTo>
                    <a:pt x="1110" y="48"/>
                  </a:lnTo>
                  <a:lnTo>
                    <a:pt x="1110" y="42"/>
                  </a:lnTo>
                  <a:lnTo>
                    <a:pt x="1110" y="36"/>
                  </a:lnTo>
                  <a:lnTo>
                    <a:pt x="1116" y="36"/>
                  </a:lnTo>
                  <a:lnTo>
                    <a:pt x="1116" y="30"/>
                  </a:lnTo>
                  <a:lnTo>
                    <a:pt x="1122" y="30"/>
                  </a:lnTo>
                  <a:lnTo>
                    <a:pt x="1128" y="30"/>
                  </a:lnTo>
                  <a:lnTo>
                    <a:pt x="1134" y="30"/>
                  </a:lnTo>
                  <a:lnTo>
                    <a:pt x="1140" y="24"/>
                  </a:lnTo>
                  <a:lnTo>
                    <a:pt x="1152" y="18"/>
                  </a:lnTo>
                  <a:lnTo>
                    <a:pt x="1158" y="18"/>
                  </a:lnTo>
                  <a:lnTo>
                    <a:pt x="1152" y="12"/>
                  </a:lnTo>
                  <a:lnTo>
                    <a:pt x="1152" y="6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8"/>
                  </a:lnTo>
                  <a:lnTo>
                    <a:pt x="1170" y="12"/>
                  </a:lnTo>
                  <a:lnTo>
                    <a:pt x="1170" y="6"/>
                  </a:lnTo>
                  <a:lnTo>
                    <a:pt x="1176" y="6"/>
                  </a:lnTo>
                  <a:lnTo>
                    <a:pt x="1176" y="0"/>
                  </a:lnTo>
                  <a:lnTo>
                    <a:pt x="1182" y="6"/>
                  </a:lnTo>
                  <a:lnTo>
                    <a:pt x="1188" y="6"/>
                  </a:lnTo>
                  <a:lnTo>
                    <a:pt x="1188" y="0"/>
                  </a:lnTo>
                  <a:lnTo>
                    <a:pt x="1194" y="6"/>
                  </a:lnTo>
                  <a:lnTo>
                    <a:pt x="1200" y="12"/>
                  </a:lnTo>
                  <a:lnTo>
                    <a:pt x="1206" y="18"/>
                  </a:lnTo>
                  <a:lnTo>
                    <a:pt x="1212" y="18"/>
                  </a:lnTo>
                  <a:lnTo>
                    <a:pt x="1218" y="24"/>
                  </a:lnTo>
                  <a:lnTo>
                    <a:pt x="1236" y="36"/>
                  </a:lnTo>
                  <a:lnTo>
                    <a:pt x="1242" y="36"/>
                  </a:lnTo>
                  <a:lnTo>
                    <a:pt x="1248" y="42"/>
                  </a:lnTo>
                  <a:lnTo>
                    <a:pt x="1248" y="48"/>
                  </a:lnTo>
                  <a:lnTo>
                    <a:pt x="1260" y="48"/>
                  </a:lnTo>
                  <a:lnTo>
                    <a:pt x="1260" y="108"/>
                  </a:lnTo>
                  <a:lnTo>
                    <a:pt x="1266" y="168"/>
                  </a:lnTo>
                  <a:lnTo>
                    <a:pt x="1278" y="234"/>
                  </a:lnTo>
                  <a:lnTo>
                    <a:pt x="1284" y="240"/>
                  </a:lnTo>
                  <a:lnTo>
                    <a:pt x="1290" y="264"/>
                  </a:lnTo>
                  <a:lnTo>
                    <a:pt x="1296" y="288"/>
                  </a:lnTo>
                  <a:lnTo>
                    <a:pt x="1296" y="300"/>
                  </a:lnTo>
                  <a:lnTo>
                    <a:pt x="1296" y="312"/>
                  </a:lnTo>
                  <a:lnTo>
                    <a:pt x="1296" y="324"/>
                  </a:lnTo>
                  <a:lnTo>
                    <a:pt x="1296" y="354"/>
                  </a:lnTo>
                  <a:lnTo>
                    <a:pt x="1302" y="366"/>
                  </a:lnTo>
                  <a:lnTo>
                    <a:pt x="1308" y="372"/>
                  </a:lnTo>
                  <a:lnTo>
                    <a:pt x="1308" y="384"/>
                  </a:lnTo>
                  <a:lnTo>
                    <a:pt x="1314" y="390"/>
                  </a:lnTo>
                  <a:lnTo>
                    <a:pt x="1308" y="408"/>
                  </a:lnTo>
                  <a:lnTo>
                    <a:pt x="1314" y="408"/>
                  </a:lnTo>
                  <a:lnTo>
                    <a:pt x="1314" y="414"/>
                  </a:lnTo>
                  <a:lnTo>
                    <a:pt x="1308" y="420"/>
                  </a:lnTo>
                  <a:lnTo>
                    <a:pt x="1308" y="432"/>
                  </a:lnTo>
                  <a:lnTo>
                    <a:pt x="1320" y="432"/>
                  </a:lnTo>
                  <a:lnTo>
                    <a:pt x="1320" y="444"/>
                  </a:lnTo>
                  <a:lnTo>
                    <a:pt x="1332" y="444"/>
                  </a:lnTo>
                  <a:lnTo>
                    <a:pt x="1338" y="450"/>
                  </a:lnTo>
                  <a:lnTo>
                    <a:pt x="1344" y="456"/>
                  </a:lnTo>
                  <a:lnTo>
                    <a:pt x="1344" y="462"/>
                  </a:lnTo>
                  <a:lnTo>
                    <a:pt x="1344" y="474"/>
                  </a:lnTo>
                  <a:lnTo>
                    <a:pt x="1350" y="474"/>
                  </a:lnTo>
                  <a:lnTo>
                    <a:pt x="1368" y="504"/>
                  </a:lnTo>
                  <a:lnTo>
                    <a:pt x="1374" y="534"/>
                  </a:lnTo>
                  <a:lnTo>
                    <a:pt x="1380" y="558"/>
                  </a:lnTo>
                  <a:lnTo>
                    <a:pt x="1386" y="576"/>
                  </a:lnTo>
                  <a:lnTo>
                    <a:pt x="1386" y="600"/>
                  </a:lnTo>
                  <a:lnTo>
                    <a:pt x="1386" y="624"/>
                  </a:lnTo>
                  <a:lnTo>
                    <a:pt x="1386" y="648"/>
                  </a:lnTo>
                  <a:lnTo>
                    <a:pt x="1386" y="684"/>
                  </a:lnTo>
                  <a:lnTo>
                    <a:pt x="1380" y="684"/>
                  </a:lnTo>
                  <a:lnTo>
                    <a:pt x="1374" y="696"/>
                  </a:lnTo>
                  <a:lnTo>
                    <a:pt x="1368" y="702"/>
                  </a:lnTo>
                  <a:lnTo>
                    <a:pt x="1362" y="708"/>
                  </a:lnTo>
                  <a:lnTo>
                    <a:pt x="1356" y="714"/>
                  </a:lnTo>
                  <a:lnTo>
                    <a:pt x="1350" y="720"/>
                  </a:lnTo>
                  <a:lnTo>
                    <a:pt x="1338" y="720"/>
                  </a:lnTo>
                  <a:lnTo>
                    <a:pt x="1338" y="738"/>
                  </a:lnTo>
                  <a:lnTo>
                    <a:pt x="1362" y="750"/>
                  </a:lnTo>
                  <a:lnTo>
                    <a:pt x="1362" y="756"/>
                  </a:lnTo>
                  <a:lnTo>
                    <a:pt x="1374" y="756"/>
                  </a:lnTo>
                  <a:lnTo>
                    <a:pt x="1410" y="774"/>
                  </a:lnTo>
                  <a:lnTo>
                    <a:pt x="1446" y="774"/>
                  </a:lnTo>
                  <a:lnTo>
                    <a:pt x="1482" y="768"/>
                  </a:lnTo>
                  <a:lnTo>
                    <a:pt x="1500" y="774"/>
                  </a:lnTo>
                  <a:lnTo>
                    <a:pt x="1512" y="78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6" name="Freeform 11">
              <a:extLst>
                <a:ext uri="{FF2B5EF4-FFF2-40B4-BE49-F238E27FC236}">
                  <a16:creationId xmlns:a16="http://schemas.microsoft.com/office/drawing/2014/main" id="{1FF8E66F-B850-456A-B132-C45FEEDE95C6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2475" y="2345643"/>
              <a:ext cx="445003" cy="603855"/>
            </a:xfrm>
            <a:custGeom>
              <a:avLst/>
              <a:gdLst>
                <a:gd name="T0" fmla="*/ 47 w 840"/>
                <a:gd name="T1" fmla="*/ 98 h 1134"/>
                <a:gd name="T2" fmla="*/ 41 w 840"/>
                <a:gd name="T3" fmla="*/ 98 h 1134"/>
                <a:gd name="T4" fmla="*/ 37 w 840"/>
                <a:gd name="T5" fmla="*/ 98 h 1134"/>
                <a:gd name="T6" fmla="*/ 29 w 840"/>
                <a:gd name="T7" fmla="*/ 97 h 1134"/>
                <a:gd name="T8" fmla="*/ 27 w 840"/>
                <a:gd name="T9" fmla="*/ 94 h 1134"/>
                <a:gd name="T10" fmla="*/ 26 w 840"/>
                <a:gd name="T11" fmla="*/ 93 h 1134"/>
                <a:gd name="T12" fmla="*/ 26 w 840"/>
                <a:gd name="T13" fmla="*/ 83 h 1134"/>
                <a:gd name="T14" fmla="*/ 26 w 840"/>
                <a:gd name="T15" fmla="*/ 81 h 1134"/>
                <a:gd name="T16" fmla="*/ 23 w 840"/>
                <a:gd name="T17" fmla="*/ 77 h 1134"/>
                <a:gd name="T18" fmla="*/ 19 w 840"/>
                <a:gd name="T19" fmla="*/ 75 h 1134"/>
                <a:gd name="T20" fmla="*/ 16 w 840"/>
                <a:gd name="T21" fmla="*/ 72 h 1134"/>
                <a:gd name="T22" fmla="*/ 13 w 840"/>
                <a:gd name="T23" fmla="*/ 70 h 1134"/>
                <a:gd name="T24" fmla="*/ 17 w 840"/>
                <a:gd name="T25" fmla="*/ 67 h 1134"/>
                <a:gd name="T26" fmla="*/ 19 w 840"/>
                <a:gd name="T27" fmla="*/ 63 h 1134"/>
                <a:gd name="T28" fmla="*/ 20 w 840"/>
                <a:gd name="T29" fmla="*/ 59 h 1134"/>
                <a:gd name="T30" fmla="*/ 19 w 840"/>
                <a:gd name="T31" fmla="*/ 55 h 1134"/>
                <a:gd name="T32" fmla="*/ 17 w 840"/>
                <a:gd name="T33" fmla="*/ 47 h 1134"/>
                <a:gd name="T34" fmla="*/ 8 w 840"/>
                <a:gd name="T35" fmla="*/ 45 h 1134"/>
                <a:gd name="T36" fmla="*/ 4 w 840"/>
                <a:gd name="T37" fmla="*/ 39 h 1134"/>
                <a:gd name="T38" fmla="*/ 2 w 840"/>
                <a:gd name="T39" fmla="*/ 35 h 1134"/>
                <a:gd name="T40" fmla="*/ 0 w 840"/>
                <a:gd name="T41" fmla="*/ 31 h 1134"/>
                <a:gd name="T42" fmla="*/ 2 w 840"/>
                <a:gd name="T43" fmla="*/ 27 h 1134"/>
                <a:gd name="T44" fmla="*/ 5 w 840"/>
                <a:gd name="T45" fmla="*/ 24 h 1134"/>
                <a:gd name="T46" fmla="*/ 10 w 840"/>
                <a:gd name="T47" fmla="*/ 26 h 1134"/>
                <a:gd name="T48" fmla="*/ 7 w 840"/>
                <a:gd name="T49" fmla="*/ 20 h 1134"/>
                <a:gd name="T50" fmla="*/ 12 w 840"/>
                <a:gd name="T51" fmla="*/ 12 h 1134"/>
                <a:gd name="T52" fmla="*/ 19 w 840"/>
                <a:gd name="T53" fmla="*/ 10 h 1134"/>
                <a:gd name="T54" fmla="*/ 20 w 840"/>
                <a:gd name="T55" fmla="*/ 13 h 1134"/>
                <a:gd name="T56" fmla="*/ 22 w 840"/>
                <a:gd name="T57" fmla="*/ 11 h 1134"/>
                <a:gd name="T58" fmla="*/ 25 w 840"/>
                <a:gd name="T59" fmla="*/ 7 h 1134"/>
                <a:gd name="T60" fmla="*/ 29 w 840"/>
                <a:gd name="T61" fmla="*/ 2 h 1134"/>
                <a:gd name="T62" fmla="*/ 33 w 840"/>
                <a:gd name="T63" fmla="*/ 1 h 1134"/>
                <a:gd name="T64" fmla="*/ 37 w 840"/>
                <a:gd name="T65" fmla="*/ 2 h 1134"/>
                <a:gd name="T66" fmla="*/ 39 w 840"/>
                <a:gd name="T67" fmla="*/ 4 h 1134"/>
                <a:gd name="T68" fmla="*/ 43 w 840"/>
                <a:gd name="T69" fmla="*/ 5 h 1134"/>
                <a:gd name="T70" fmla="*/ 46 w 840"/>
                <a:gd name="T71" fmla="*/ 11 h 1134"/>
                <a:gd name="T72" fmla="*/ 49 w 840"/>
                <a:gd name="T73" fmla="*/ 12 h 1134"/>
                <a:gd name="T74" fmla="*/ 52 w 840"/>
                <a:gd name="T75" fmla="*/ 15 h 1134"/>
                <a:gd name="T76" fmla="*/ 54 w 840"/>
                <a:gd name="T77" fmla="*/ 18 h 1134"/>
                <a:gd name="T78" fmla="*/ 55 w 840"/>
                <a:gd name="T79" fmla="*/ 22 h 1134"/>
                <a:gd name="T80" fmla="*/ 56 w 840"/>
                <a:gd name="T81" fmla="*/ 26 h 1134"/>
                <a:gd name="T82" fmla="*/ 55 w 840"/>
                <a:gd name="T83" fmla="*/ 32 h 1134"/>
                <a:gd name="T84" fmla="*/ 55 w 840"/>
                <a:gd name="T85" fmla="*/ 36 h 1134"/>
                <a:gd name="T86" fmla="*/ 54 w 840"/>
                <a:gd name="T87" fmla="*/ 39 h 1134"/>
                <a:gd name="T88" fmla="*/ 56 w 840"/>
                <a:gd name="T89" fmla="*/ 39 h 1134"/>
                <a:gd name="T90" fmla="*/ 58 w 840"/>
                <a:gd name="T91" fmla="*/ 39 h 1134"/>
                <a:gd name="T92" fmla="*/ 61 w 840"/>
                <a:gd name="T93" fmla="*/ 39 h 1134"/>
                <a:gd name="T94" fmla="*/ 60 w 840"/>
                <a:gd name="T95" fmla="*/ 49 h 1134"/>
                <a:gd name="T96" fmla="*/ 59 w 840"/>
                <a:gd name="T97" fmla="*/ 53 h 1134"/>
                <a:gd name="T98" fmla="*/ 59 w 840"/>
                <a:gd name="T99" fmla="*/ 56 h 1134"/>
                <a:gd name="T100" fmla="*/ 60 w 840"/>
                <a:gd name="T101" fmla="*/ 59 h 1134"/>
                <a:gd name="T102" fmla="*/ 64 w 840"/>
                <a:gd name="T103" fmla="*/ 61 h 1134"/>
                <a:gd name="T104" fmla="*/ 69 w 840"/>
                <a:gd name="T105" fmla="*/ 63 h 1134"/>
                <a:gd name="T106" fmla="*/ 72 w 840"/>
                <a:gd name="T107" fmla="*/ 69 h 1134"/>
                <a:gd name="T108" fmla="*/ 72 w 840"/>
                <a:gd name="T109" fmla="*/ 73 h 1134"/>
                <a:gd name="T110" fmla="*/ 72 w 840"/>
                <a:gd name="T111" fmla="*/ 83 h 1134"/>
                <a:gd name="T112" fmla="*/ 63 w 840"/>
                <a:gd name="T113" fmla="*/ 88 h 1134"/>
                <a:gd name="T114" fmla="*/ 52 w 840"/>
                <a:gd name="T115" fmla="*/ 95 h 11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40"/>
                <a:gd name="T175" fmla="*/ 0 h 1134"/>
                <a:gd name="T176" fmla="*/ 840 w 840"/>
                <a:gd name="T177" fmla="*/ 1134 h 11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40" h="1134">
                  <a:moveTo>
                    <a:pt x="564" y="1110"/>
                  </a:moveTo>
                  <a:lnTo>
                    <a:pt x="564" y="1104"/>
                  </a:lnTo>
                  <a:lnTo>
                    <a:pt x="558" y="1104"/>
                  </a:lnTo>
                  <a:lnTo>
                    <a:pt x="552" y="1110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28" y="1128"/>
                  </a:lnTo>
                  <a:lnTo>
                    <a:pt x="498" y="1128"/>
                  </a:lnTo>
                  <a:lnTo>
                    <a:pt x="492" y="1128"/>
                  </a:lnTo>
                  <a:lnTo>
                    <a:pt x="486" y="1128"/>
                  </a:lnTo>
                  <a:lnTo>
                    <a:pt x="480" y="1128"/>
                  </a:lnTo>
                  <a:lnTo>
                    <a:pt x="474" y="1134"/>
                  </a:lnTo>
                  <a:lnTo>
                    <a:pt x="468" y="1134"/>
                  </a:lnTo>
                  <a:lnTo>
                    <a:pt x="462" y="1134"/>
                  </a:lnTo>
                  <a:lnTo>
                    <a:pt x="456" y="1134"/>
                  </a:lnTo>
                  <a:lnTo>
                    <a:pt x="456" y="1128"/>
                  </a:lnTo>
                  <a:lnTo>
                    <a:pt x="450" y="1122"/>
                  </a:lnTo>
                  <a:lnTo>
                    <a:pt x="426" y="1128"/>
                  </a:lnTo>
                  <a:lnTo>
                    <a:pt x="414" y="1128"/>
                  </a:lnTo>
                  <a:lnTo>
                    <a:pt x="348" y="1134"/>
                  </a:lnTo>
                  <a:lnTo>
                    <a:pt x="348" y="1128"/>
                  </a:lnTo>
                  <a:lnTo>
                    <a:pt x="342" y="1128"/>
                  </a:lnTo>
                  <a:lnTo>
                    <a:pt x="336" y="1122"/>
                  </a:lnTo>
                  <a:lnTo>
                    <a:pt x="330" y="1122"/>
                  </a:lnTo>
                  <a:lnTo>
                    <a:pt x="324" y="1116"/>
                  </a:lnTo>
                  <a:lnTo>
                    <a:pt x="324" y="1110"/>
                  </a:lnTo>
                  <a:lnTo>
                    <a:pt x="318" y="1110"/>
                  </a:lnTo>
                  <a:lnTo>
                    <a:pt x="318" y="1104"/>
                  </a:lnTo>
                  <a:lnTo>
                    <a:pt x="312" y="1092"/>
                  </a:lnTo>
                  <a:lnTo>
                    <a:pt x="306" y="1086"/>
                  </a:lnTo>
                  <a:lnTo>
                    <a:pt x="306" y="1080"/>
                  </a:lnTo>
                  <a:lnTo>
                    <a:pt x="312" y="1074"/>
                  </a:lnTo>
                  <a:lnTo>
                    <a:pt x="306" y="1068"/>
                  </a:lnTo>
                  <a:lnTo>
                    <a:pt x="300" y="1074"/>
                  </a:lnTo>
                  <a:lnTo>
                    <a:pt x="300" y="1068"/>
                  </a:lnTo>
                  <a:lnTo>
                    <a:pt x="294" y="1068"/>
                  </a:lnTo>
                  <a:lnTo>
                    <a:pt x="294" y="1056"/>
                  </a:lnTo>
                  <a:lnTo>
                    <a:pt x="294" y="1026"/>
                  </a:lnTo>
                  <a:lnTo>
                    <a:pt x="294" y="1020"/>
                  </a:lnTo>
                  <a:lnTo>
                    <a:pt x="294" y="1008"/>
                  </a:lnTo>
                  <a:lnTo>
                    <a:pt x="294" y="966"/>
                  </a:lnTo>
                  <a:lnTo>
                    <a:pt x="294" y="960"/>
                  </a:lnTo>
                  <a:lnTo>
                    <a:pt x="294" y="954"/>
                  </a:lnTo>
                  <a:lnTo>
                    <a:pt x="294" y="948"/>
                  </a:lnTo>
                  <a:lnTo>
                    <a:pt x="294" y="942"/>
                  </a:lnTo>
                  <a:lnTo>
                    <a:pt x="300" y="936"/>
                  </a:lnTo>
                  <a:lnTo>
                    <a:pt x="300" y="930"/>
                  </a:lnTo>
                  <a:lnTo>
                    <a:pt x="294" y="930"/>
                  </a:lnTo>
                  <a:lnTo>
                    <a:pt x="288" y="930"/>
                  </a:lnTo>
                  <a:lnTo>
                    <a:pt x="288" y="924"/>
                  </a:lnTo>
                  <a:lnTo>
                    <a:pt x="282" y="918"/>
                  </a:lnTo>
                  <a:lnTo>
                    <a:pt x="282" y="906"/>
                  </a:lnTo>
                  <a:lnTo>
                    <a:pt x="282" y="900"/>
                  </a:lnTo>
                  <a:lnTo>
                    <a:pt x="264" y="894"/>
                  </a:lnTo>
                  <a:lnTo>
                    <a:pt x="252" y="882"/>
                  </a:lnTo>
                  <a:lnTo>
                    <a:pt x="246" y="876"/>
                  </a:lnTo>
                  <a:lnTo>
                    <a:pt x="240" y="876"/>
                  </a:lnTo>
                  <a:lnTo>
                    <a:pt x="240" y="870"/>
                  </a:lnTo>
                  <a:lnTo>
                    <a:pt x="234" y="870"/>
                  </a:lnTo>
                  <a:lnTo>
                    <a:pt x="222" y="864"/>
                  </a:lnTo>
                  <a:lnTo>
                    <a:pt x="216" y="864"/>
                  </a:lnTo>
                  <a:lnTo>
                    <a:pt x="210" y="858"/>
                  </a:lnTo>
                  <a:lnTo>
                    <a:pt x="210" y="852"/>
                  </a:lnTo>
                  <a:lnTo>
                    <a:pt x="210" y="846"/>
                  </a:lnTo>
                  <a:lnTo>
                    <a:pt x="198" y="840"/>
                  </a:lnTo>
                  <a:lnTo>
                    <a:pt x="186" y="834"/>
                  </a:lnTo>
                  <a:lnTo>
                    <a:pt x="180" y="828"/>
                  </a:lnTo>
                  <a:lnTo>
                    <a:pt x="180" y="822"/>
                  </a:lnTo>
                  <a:lnTo>
                    <a:pt x="174" y="822"/>
                  </a:lnTo>
                  <a:lnTo>
                    <a:pt x="162" y="816"/>
                  </a:lnTo>
                  <a:lnTo>
                    <a:pt x="156" y="810"/>
                  </a:lnTo>
                  <a:lnTo>
                    <a:pt x="150" y="810"/>
                  </a:lnTo>
                  <a:lnTo>
                    <a:pt x="144" y="798"/>
                  </a:lnTo>
                  <a:lnTo>
                    <a:pt x="138" y="786"/>
                  </a:lnTo>
                  <a:lnTo>
                    <a:pt x="138" y="780"/>
                  </a:lnTo>
                  <a:lnTo>
                    <a:pt x="144" y="774"/>
                  </a:lnTo>
                  <a:lnTo>
                    <a:pt x="150" y="768"/>
                  </a:lnTo>
                  <a:lnTo>
                    <a:pt x="192" y="768"/>
                  </a:lnTo>
                  <a:lnTo>
                    <a:pt x="210" y="762"/>
                  </a:lnTo>
                  <a:lnTo>
                    <a:pt x="216" y="756"/>
                  </a:lnTo>
                  <a:lnTo>
                    <a:pt x="216" y="744"/>
                  </a:lnTo>
                  <a:lnTo>
                    <a:pt x="216" y="738"/>
                  </a:lnTo>
                  <a:lnTo>
                    <a:pt x="216" y="732"/>
                  </a:lnTo>
                  <a:lnTo>
                    <a:pt x="216" y="726"/>
                  </a:lnTo>
                  <a:lnTo>
                    <a:pt x="216" y="720"/>
                  </a:lnTo>
                  <a:lnTo>
                    <a:pt x="228" y="702"/>
                  </a:lnTo>
                  <a:lnTo>
                    <a:pt x="234" y="696"/>
                  </a:lnTo>
                  <a:lnTo>
                    <a:pt x="240" y="690"/>
                  </a:lnTo>
                  <a:lnTo>
                    <a:pt x="240" y="684"/>
                  </a:lnTo>
                  <a:lnTo>
                    <a:pt x="234" y="678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0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22" y="630"/>
                  </a:lnTo>
                  <a:lnTo>
                    <a:pt x="222" y="618"/>
                  </a:lnTo>
                  <a:lnTo>
                    <a:pt x="222" y="582"/>
                  </a:lnTo>
                  <a:lnTo>
                    <a:pt x="228" y="582"/>
                  </a:lnTo>
                  <a:lnTo>
                    <a:pt x="222" y="564"/>
                  </a:lnTo>
                  <a:lnTo>
                    <a:pt x="210" y="552"/>
                  </a:lnTo>
                  <a:lnTo>
                    <a:pt x="192" y="540"/>
                  </a:lnTo>
                  <a:lnTo>
                    <a:pt x="174" y="540"/>
                  </a:lnTo>
                  <a:lnTo>
                    <a:pt x="150" y="534"/>
                  </a:lnTo>
                  <a:lnTo>
                    <a:pt x="126" y="528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90" y="516"/>
                  </a:lnTo>
                  <a:lnTo>
                    <a:pt x="78" y="504"/>
                  </a:lnTo>
                  <a:lnTo>
                    <a:pt x="72" y="498"/>
                  </a:lnTo>
                  <a:lnTo>
                    <a:pt x="66" y="486"/>
                  </a:lnTo>
                  <a:lnTo>
                    <a:pt x="54" y="468"/>
                  </a:lnTo>
                  <a:lnTo>
                    <a:pt x="54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42" y="438"/>
                  </a:lnTo>
                  <a:lnTo>
                    <a:pt x="36" y="438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24" y="384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2" y="360"/>
                  </a:lnTo>
                  <a:lnTo>
                    <a:pt x="6" y="360"/>
                  </a:lnTo>
                  <a:lnTo>
                    <a:pt x="0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0"/>
                  </a:lnTo>
                  <a:lnTo>
                    <a:pt x="18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8" y="270"/>
                  </a:lnTo>
                  <a:lnTo>
                    <a:pt x="90" y="276"/>
                  </a:lnTo>
                  <a:lnTo>
                    <a:pt x="108" y="294"/>
                  </a:lnTo>
                  <a:lnTo>
                    <a:pt x="114" y="294"/>
                  </a:lnTo>
                  <a:lnTo>
                    <a:pt x="114" y="276"/>
                  </a:lnTo>
                  <a:lnTo>
                    <a:pt x="114" y="270"/>
                  </a:lnTo>
                  <a:lnTo>
                    <a:pt x="102" y="258"/>
                  </a:lnTo>
                  <a:lnTo>
                    <a:pt x="96" y="246"/>
                  </a:lnTo>
                  <a:lnTo>
                    <a:pt x="90" y="234"/>
                  </a:lnTo>
                  <a:lnTo>
                    <a:pt x="78" y="228"/>
                  </a:lnTo>
                  <a:lnTo>
                    <a:pt x="72" y="216"/>
                  </a:lnTo>
                  <a:lnTo>
                    <a:pt x="66" y="192"/>
                  </a:lnTo>
                  <a:lnTo>
                    <a:pt x="90" y="174"/>
                  </a:lnTo>
                  <a:lnTo>
                    <a:pt x="120" y="150"/>
                  </a:lnTo>
                  <a:lnTo>
                    <a:pt x="132" y="150"/>
                  </a:lnTo>
                  <a:lnTo>
                    <a:pt x="138" y="144"/>
                  </a:lnTo>
                  <a:lnTo>
                    <a:pt x="138" y="138"/>
                  </a:lnTo>
                  <a:lnTo>
                    <a:pt x="156" y="126"/>
                  </a:lnTo>
                  <a:lnTo>
                    <a:pt x="180" y="114"/>
                  </a:lnTo>
                  <a:lnTo>
                    <a:pt x="216" y="114"/>
                  </a:lnTo>
                  <a:lnTo>
                    <a:pt x="222" y="114"/>
                  </a:lnTo>
                  <a:lnTo>
                    <a:pt x="222" y="120"/>
                  </a:lnTo>
                  <a:lnTo>
                    <a:pt x="222" y="126"/>
                  </a:lnTo>
                  <a:lnTo>
                    <a:pt x="222" y="132"/>
                  </a:lnTo>
                  <a:lnTo>
                    <a:pt x="228" y="138"/>
                  </a:lnTo>
                  <a:lnTo>
                    <a:pt x="228" y="144"/>
                  </a:lnTo>
                  <a:lnTo>
                    <a:pt x="228" y="150"/>
                  </a:lnTo>
                  <a:lnTo>
                    <a:pt x="234" y="150"/>
                  </a:lnTo>
                  <a:lnTo>
                    <a:pt x="234" y="144"/>
                  </a:lnTo>
                  <a:lnTo>
                    <a:pt x="240" y="144"/>
                  </a:lnTo>
                  <a:lnTo>
                    <a:pt x="246" y="144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58" y="126"/>
                  </a:lnTo>
                  <a:lnTo>
                    <a:pt x="258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76" y="96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6" y="72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36"/>
                  </a:lnTo>
                  <a:lnTo>
                    <a:pt x="330" y="24"/>
                  </a:lnTo>
                  <a:lnTo>
                    <a:pt x="330" y="18"/>
                  </a:lnTo>
                  <a:lnTo>
                    <a:pt x="330" y="12"/>
                  </a:lnTo>
                  <a:lnTo>
                    <a:pt x="336" y="6"/>
                  </a:lnTo>
                  <a:lnTo>
                    <a:pt x="366" y="0"/>
                  </a:lnTo>
                  <a:lnTo>
                    <a:pt x="372" y="6"/>
                  </a:lnTo>
                  <a:lnTo>
                    <a:pt x="384" y="12"/>
                  </a:lnTo>
                  <a:lnTo>
                    <a:pt x="402" y="12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18"/>
                  </a:lnTo>
                  <a:lnTo>
                    <a:pt x="420" y="18"/>
                  </a:lnTo>
                  <a:lnTo>
                    <a:pt x="426" y="24"/>
                  </a:lnTo>
                  <a:lnTo>
                    <a:pt x="432" y="30"/>
                  </a:lnTo>
                  <a:lnTo>
                    <a:pt x="438" y="36"/>
                  </a:lnTo>
                  <a:lnTo>
                    <a:pt x="444" y="42"/>
                  </a:lnTo>
                  <a:lnTo>
                    <a:pt x="450" y="42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16" y="78"/>
                  </a:lnTo>
                  <a:lnTo>
                    <a:pt x="522" y="102"/>
                  </a:lnTo>
                  <a:lnTo>
                    <a:pt x="522" y="108"/>
                  </a:lnTo>
                  <a:lnTo>
                    <a:pt x="528" y="126"/>
                  </a:lnTo>
                  <a:lnTo>
                    <a:pt x="534" y="126"/>
                  </a:lnTo>
                  <a:lnTo>
                    <a:pt x="540" y="120"/>
                  </a:lnTo>
                  <a:lnTo>
                    <a:pt x="546" y="126"/>
                  </a:lnTo>
                  <a:lnTo>
                    <a:pt x="552" y="126"/>
                  </a:lnTo>
                  <a:lnTo>
                    <a:pt x="558" y="132"/>
                  </a:lnTo>
                  <a:lnTo>
                    <a:pt x="564" y="138"/>
                  </a:lnTo>
                  <a:lnTo>
                    <a:pt x="570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594" y="168"/>
                  </a:lnTo>
                  <a:lnTo>
                    <a:pt x="600" y="174"/>
                  </a:lnTo>
                  <a:lnTo>
                    <a:pt x="606" y="180"/>
                  </a:lnTo>
                  <a:lnTo>
                    <a:pt x="606" y="186"/>
                  </a:lnTo>
                  <a:lnTo>
                    <a:pt x="612" y="192"/>
                  </a:lnTo>
                  <a:lnTo>
                    <a:pt x="612" y="198"/>
                  </a:lnTo>
                  <a:lnTo>
                    <a:pt x="624" y="204"/>
                  </a:lnTo>
                  <a:lnTo>
                    <a:pt x="624" y="210"/>
                  </a:lnTo>
                  <a:lnTo>
                    <a:pt x="630" y="216"/>
                  </a:lnTo>
                  <a:lnTo>
                    <a:pt x="636" y="222"/>
                  </a:lnTo>
                  <a:lnTo>
                    <a:pt x="636" y="228"/>
                  </a:lnTo>
                  <a:lnTo>
                    <a:pt x="636" y="234"/>
                  </a:lnTo>
                  <a:lnTo>
                    <a:pt x="636" y="252"/>
                  </a:lnTo>
                  <a:lnTo>
                    <a:pt x="636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42" y="276"/>
                  </a:lnTo>
                  <a:lnTo>
                    <a:pt x="642" y="282"/>
                  </a:lnTo>
                  <a:lnTo>
                    <a:pt x="642" y="288"/>
                  </a:lnTo>
                  <a:lnTo>
                    <a:pt x="642" y="300"/>
                  </a:lnTo>
                  <a:lnTo>
                    <a:pt x="642" y="306"/>
                  </a:lnTo>
                  <a:lnTo>
                    <a:pt x="636" y="312"/>
                  </a:lnTo>
                  <a:lnTo>
                    <a:pt x="636" y="324"/>
                  </a:lnTo>
                  <a:lnTo>
                    <a:pt x="636" y="342"/>
                  </a:lnTo>
                  <a:lnTo>
                    <a:pt x="630" y="354"/>
                  </a:lnTo>
                  <a:lnTo>
                    <a:pt x="630" y="366"/>
                  </a:lnTo>
                  <a:lnTo>
                    <a:pt x="624" y="378"/>
                  </a:lnTo>
                  <a:lnTo>
                    <a:pt x="624" y="384"/>
                  </a:lnTo>
                  <a:lnTo>
                    <a:pt x="636" y="396"/>
                  </a:lnTo>
                  <a:lnTo>
                    <a:pt x="636" y="402"/>
                  </a:lnTo>
                  <a:lnTo>
                    <a:pt x="636" y="408"/>
                  </a:lnTo>
                  <a:lnTo>
                    <a:pt x="630" y="414"/>
                  </a:lnTo>
                  <a:lnTo>
                    <a:pt x="630" y="420"/>
                  </a:lnTo>
                  <a:lnTo>
                    <a:pt x="630" y="426"/>
                  </a:lnTo>
                  <a:lnTo>
                    <a:pt x="630" y="432"/>
                  </a:lnTo>
                  <a:lnTo>
                    <a:pt x="624" y="438"/>
                  </a:lnTo>
                  <a:lnTo>
                    <a:pt x="624" y="444"/>
                  </a:lnTo>
                  <a:lnTo>
                    <a:pt x="624" y="450"/>
                  </a:lnTo>
                  <a:lnTo>
                    <a:pt x="630" y="450"/>
                  </a:lnTo>
                  <a:lnTo>
                    <a:pt x="630" y="456"/>
                  </a:lnTo>
                  <a:lnTo>
                    <a:pt x="630" y="462"/>
                  </a:lnTo>
                  <a:lnTo>
                    <a:pt x="636" y="468"/>
                  </a:lnTo>
                  <a:lnTo>
                    <a:pt x="642" y="456"/>
                  </a:lnTo>
                  <a:lnTo>
                    <a:pt x="642" y="450"/>
                  </a:lnTo>
                  <a:lnTo>
                    <a:pt x="648" y="450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60" y="444"/>
                  </a:lnTo>
                  <a:lnTo>
                    <a:pt x="666" y="450"/>
                  </a:lnTo>
                  <a:lnTo>
                    <a:pt x="672" y="444"/>
                  </a:lnTo>
                  <a:lnTo>
                    <a:pt x="678" y="444"/>
                  </a:lnTo>
                  <a:lnTo>
                    <a:pt x="684" y="438"/>
                  </a:lnTo>
                  <a:lnTo>
                    <a:pt x="690" y="438"/>
                  </a:lnTo>
                  <a:lnTo>
                    <a:pt x="696" y="438"/>
                  </a:lnTo>
                  <a:lnTo>
                    <a:pt x="702" y="444"/>
                  </a:lnTo>
                  <a:lnTo>
                    <a:pt x="702" y="450"/>
                  </a:lnTo>
                  <a:lnTo>
                    <a:pt x="708" y="450"/>
                  </a:lnTo>
                  <a:lnTo>
                    <a:pt x="708" y="456"/>
                  </a:lnTo>
                  <a:lnTo>
                    <a:pt x="708" y="462"/>
                  </a:lnTo>
                  <a:lnTo>
                    <a:pt x="708" y="468"/>
                  </a:lnTo>
                  <a:lnTo>
                    <a:pt x="708" y="504"/>
                  </a:lnTo>
                  <a:lnTo>
                    <a:pt x="696" y="564"/>
                  </a:lnTo>
                  <a:lnTo>
                    <a:pt x="696" y="582"/>
                  </a:lnTo>
                  <a:lnTo>
                    <a:pt x="696" y="600"/>
                  </a:lnTo>
                  <a:lnTo>
                    <a:pt x="690" y="606"/>
                  </a:lnTo>
                  <a:lnTo>
                    <a:pt x="684" y="606"/>
                  </a:lnTo>
                  <a:lnTo>
                    <a:pt x="690" y="612"/>
                  </a:lnTo>
                  <a:lnTo>
                    <a:pt x="684" y="612"/>
                  </a:lnTo>
                  <a:lnTo>
                    <a:pt x="678" y="618"/>
                  </a:lnTo>
                  <a:lnTo>
                    <a:pt x="672" y="624"/>
                  </a:lnTo>
                  <a:lnTo>
                    <a:pt x="666" y="630"/>
                  </a:lnTo>
                  <a:lnTo>
                    <a:pt x="660" y="636"/>
                  </a:lnTo>
                  <a:lnTo>
                    <a:pt x="672" y="636"/>
                  </a:lnTo>
                  <a:lnTo>
                    <a:pt x="678" y="642"/>
                  </a:lnTo>
                  <a:lnTo>
                    <a:pt x="678" y="648"/>
                  </a:lnTo>
                  <a:lnTo>
                    <a:pt x="684" y="654"/>
                  </a:lnTo>
                  <a:lnTo>
                    <a:pt x="690" y="666"/>
                  </a:lnTo>
                  <a:lnTo>
                    <a:pt x="690" y="672"/>
                  </a:lnTo>
                  <a:lnTo>
                    <a:pt x="696" y="672"/>
                  </a:lnTo>
                  <a:lnTo>
                    <a:pt x="696" y="684"/>
                  </a:lnTo>
                  <a:lnTo>
                    <a:pt x="708" y="690"/>
                  </a:lnTo>
                  <a:lnTo>
                    <a:pt x="720" y="696"/>
                  </a:lnTo>
                  <a:lnTo>
                    <a:pt x="726" y="696"/>
                  </a:lnTo>
                  <a:lnTo>
                    <a:pt x="732" y="696"/>
                  </a:lnTo>
                  <a:lnTo>
                    <a:pt x="738" y="696"/>
                  </a:lnTo>
                  <a:lnTo>
                    <a:pt x="738" y="702"/>
                  </a:lnTo>
                  <a:lnTo>
                    <a:pt x="738" y="708"/>
                  </a:lnTo>
                  <a:lnTo>
                    <a:pt x="738" y="714"/>
                  </a:lnTo>
                  <a:lnTo>
                    <a:pt x="744" y="714"/>
                  </a:lnTo>
                  <a:lnTo>
                    <a:pt x="756" y="720"/>
                  </a:lnTo>
                  <a:lnTo>
                    <a:pt x="780" y="726"/>
                  </a:lnTo>
                  <a:lnTo>
                    <a:pt x="792" y="732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22" y="774"/>
                  </a:lnTo>
                  <a:lnTo>
                    <a:pt x="834" y="786"/>
                  </a:lnTo>
                  <a:lnTo>
                    <a:pt x="834" y="792"/>
                  </a:lnTo>
                  <a:lnTo>
                    <a:pt x="834" y="798"/>
                  </a:lnTo>
                  <a:lnTo>
                    <a:pt x="828" y="798"/>
                  </a:lnTo>
                  <a:lnTo>
                    <a:pt x="828" y="804"/>
                  </a:lnTo>
                  <a:lnTo>
                    <a:pt x="834" y="816"/>
                  </a:lnTo>
                  <a:lnTo>
                    <a:pt x="834" y="834"/>
                  </a:lnTo>
                  <a:lnTo>
                    <a:pt x="834" y="840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34" y="858"/>
                  </a:lnTo>
                  <a:lnTo>
                    <a:pt x="834" y="864"/>
                  </a:lnTo>
                  <a:lnTo>
                    <a:pt x="834" y="876"/>
                  </a:lnTo>
                  <a:lnTo>
                    <a:pt x="828" y="960"/>
                  </a:lnTo>
                  <a:lnTo>
                    <a:pt x="816" y="966"/>
                  </a:lnTo>
                  <a:lnTo>
                    <a:pt x="798" y="972"/>
                  </a:lnTo>
                  <a:lnTo>
                    <a:pt x="786" y="990"/>
                  </a:lnTo>
                  <a:lnTo>
                    <a:pt x="774" y="990"/>
                  </a:lnTo>
                  <a:lnTo>
                    <a:pt x="762" y="1008"/>
                  </a:lnTo>
                  <a:lnTo>
                    <a:pt x="732" y="1014"/>
                  </a:lnTo>
                  <a:lnTo>
                    <a:pt x="714" y="1026"/>
                  </a:lnTo>
                  <a:lnTo>
                    <a:pt x="690" y="1050"/>
                  </a:lnTo>
                  <a:lnTo>
                    <a:pt x="654" y="1056"/>
                  </a:lnTo>
                  <a:lnTo>
                    <a:pt x="630" y="1056"/>
                  </a:lnTo>
                  <a:lnTo>
                    <a:pt x="606" y="1068"/>
                  </a:lnTo>
                  <a:lnTo>
                    <a:pt x="600" y="1092"/>
                  </a:lnTo>
                  <a:lnTo>
                    <a:pt x="600" y="1098"/>
                  </a:lnTo>
                  <a:lnTo>
                    <a:pt x="588" y="1104"/>
                  </a:lnTo>
                  <a:lnTo>
                    <a:pt x="582" y="1104"/>
                  </a:lnTo>
                  <a:lnTo>
                    <a:pt x="570" y="1110"/>
                  </a:lnTo>
                  <a:lnTo>
                    <a:pt x="564" y="111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7" name="Freeform 12">
              <a:extLst>
                <a:ext uri="{FF2B5EF4-FFF2-40B4-BE49-F238E27FC236}">
                  <a16:creationId xmlns:a16="http://schemas.microsoft.com/office/drawing/2014/main" id="{6C93C114-E5D0-49BB-A44C-A127CE01CFE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810" y="2271838"/>
              <a:ext cx="923547" cy="845397"/>
            </a:xfrm>
            <a:custGeom>
              <a:avLst/>
              <a:gdLst>
                <a:gd name="T0" fmla="*/ 138 w 1740"/>
                <a:gd name="T1" fmla="*/ 134 h 1590"/>
                <a:gd name="T2" fmla="*/ 128 w 1740"/>
                <a:gd name="T3" fmla="*/ 131 h 1590"/>
                <a:gd name="T4" fmla="*/ 121 w 1740"/>
                <a:gd name="T5" fmla="*/ 130 h 1590"/>
                <a:gd name="T6" fmla="*/ 119 w 1740"/>
                <a:gd name="T7" fmla="*/ 134 h 1590"/>
                <a:gd name="T8" fmla="*/ 110 w 1740"/>
                <a:gd name="T9" fmla="*/ 132 h 1590"/>
                <a:gd name="T10" fmla="*/ 111 w 1740"/>
                <a:gd name="T11" fmla="*/ 127 h 1590"/>
                <a:gd name="T12" fmla="*/ 103 w 1740"/>
                <a:gd name="T13" fmla="*/ 117 h 1590"/>
                <a:gd name="T14" fmla="*/ 93 w 1740"/>
                <a:gd name="T15" fmla="*/ 123 h 1590"/>
                <a:gd name="T16" fmla="*/ 80 w 1740"/>
                <a:gd name="T17" fmla="*/ 118 h 1590"/>
                <a:gd name="T18" fmla="*/ 66 w 1740"/>
                <a:gd name="T19" fmla="*/ 117 h 1590"/>
                <a:gd name="T20" fmla="*/ 66 w 1740"/>
                <a:gd name="T21" fmla="*/ 110 h 1590"/>
                <a:gd name="T22" fmla="*/ 69 w 1740"/>
                <a:gd name="T23" fmla="*/ 107 h 1590"/>
                <a:gd name="T24" fmla="*/ 68 w 1740"/>
                <a:gd name="T25" fmla="*/ 102 h 1590"/>
                <a:gd name="T26" fmla="*/ 68 w 1740"/>
                <a:gd name="T27" fmla="*/ 96 h 1590"/>
                <a:gd name="T28" fmla="*/ 67 w 1740"/>
                <a:gd name="T29" fmla="*/ 82 h 1590"/>
                <a:gd name="T30" fmla="*/ 58 w 1740"/>
                <a:gd name="T31" fmla="*/ 82 h 1590"/>
                <a:gd name="T32" fmla="*/ 52 w 1740"/>
                <a:gd name="T33" fmla="*/ 82 h 1590"/>
                <a:gd name="T34" fmla="*/ 46 w 1740"/>
                <a:gd name="T35" fmla="*/ 80 h 1590"/>
                <a:gd name="T36" fmla="*/ 45 w 1740"/>
                <a:gd name="T37" fmla="*/ 74 h 1590"/>
                <a:gd name="T38" fmla="*/ 52 w 1740"/>
                <a:gd name="T39" fmla="*/ 70 h 1590"/>
                <a:gd name="T40" fmla="*/ 52 w 1740"/>
                <a:gd name="T41" fmla="*/ 64 h 1590"/>
                <a:gd name="T42" fmla="*/ 42 w 1740"/>
                <a:gd name="T43" fmla="*/ 53 h 1590"/>
                <a:gd name="T44" fmla="*/ 35 w 1740"/>
                <a:gd name="T45" fmla="*/ 52 h 1590"/>
                <a:gd name="T46" fmla="*/ 20 w 1740"/>
                <a:gd name="T47" fmla="*/ 51 h 1590"/>
                <a:gd name="T48" fmla="*/ 17 w 1740"/>
                <a:gd name="T49" fmla="*/ 56 h 1590"/>
                <a:gd name="T50" fmla="*/ 11 w 1740"/>
                <a:gd name="T51" fmla="*/ 61 h 1590"/>
                <a:gd name="T52" fmla="*/ 7 w 1740"/>
                <a:gd name="T53" fmla="*/ 63 h 1590"/>
                <a:gd name="T54" fmla="*/ 0 w 1740"/>
                <a:gd name="T55" fmla="*/ 55 h 1590"/>
                <a:gd name="T56" fmla="*/ 2 w 1740"/>
                <a:gd name="T57" fmla="*/ 50 h 1590"/>
                <a:gd name="T58" fmla="*/ 0 w 1740"/>
                <a:gd name="T59" fmla="*/ 44 h 1590"/>
                <a:gd name="T60" fmla="*/ 2 w 1740"/>
                <a:gd name="T61" fmla="*/ 38 h 1590"/>
                <a:gd name="T62" fmla="*/ 7 w 1740"/>
                <a:gd name="T63" fmla="*/ 35 h 1590"/>
                <a:gd name="T64" fmla="*/ 11 w 1740"/>
                <a:gd name="T65" fmla="*/ 30 h 1590"/>
                <a:gd name="T66" fmla="*/ 21 w 1740"/>
                <a:gd name="T67" fmla="*/ 26 h 1590"/>
                <a:gd name="T68" fmla="*/ 29 w 1740"/>
                <a:gd name="T69" fmla="*/ 25 h 1590"/>
                <a:gd name="T70" fmla="*/ 35 w 1740"/>
                <a:gd name="T71" fmla="*/ 21 h 1590"/>
                <a:gd name="T72" fmla="*/ 36 w 1740"/>
                <a:gd name="T73" fmla="*/ 16 h 1590"/>
                <a:gd name="T74" fmla="*/ 41 w 1740"/>
                <a:gd name="T75" fmla="*/ 11 h 1590"/>
                <a:gd name="T76" fmla="*/ 51 w 1740"/>
                <a:gd name="T77" fmla="*/ 9 h 1590"/>
                <a:gd name="T78" fmla="*/ 59 w 1740"/>
                <a:gd name="T79" fmla="*/ 21 h 1590"/>
                <a:gd name="T80" fmla="*/ 65 w 1740"/>
                <a:gd name="T81" fmla="*/ 13 h 1590"/>
                <a:gd name="T82" fmla="*/ 73 w 1740"/>
                <a:gd name="T83" fmla="*/ 8 h 1590"/>
                <a:gd name="T84" fmla="*/ 82 w 1740"/>
                <a:gd name="T85" fmla="*/ 12 h 1590"/>
                <a:gd name="T86" fmla="*/ 88 w 1740"/>
                <a:gd name="T87" fmla="*/ 12 h 1590"/>
                <a:gd name="T88" fmla="*/ 99 w 1740"/>
                <a:gd name="T89" fmla="*/ 7 h 1590"/>
                <a:gd name="T90" fmla="*/ 114 w 1740"/>
                <a:gd name="T91" fmla="*/ 0 h 1590"/>
                <a:gd name="T92" fmla="*/ 117 w 1740"/>
                <a:gd name="T93" fmla="*/ 10 h 1590"/>
                <a:gd name="T94" fmla="*/ 132 w 1740"/>
                <a:gd name="T95" fmla="*/ 17 h 1590"/>
                <a:gd name="T96" fmla="*/ 140 w 1740"/>
                <a:gd name="T97" fmla="*/ 25 h 1590"/>
                <a:gd name="T98" fmla="*/ 140 w 1740"/>
                <a:gd name="T99" fmla="*/ 33 h 1590"/>
                <a:gd name="T100" fmla="*/ 140 w 1740"/>
                <a:gd name="T101" fmla="*/ 44 h 1590"/>
                <a:gd name="T102" fmla="*/ 138 w 1740"/>
                <a:gd name="T103" fmla="*/ 48 h 1590"/>
                <a:gd name="T104" fmla="*/ 141 w 1740"/>
                <a:gd name="T105" fmla="*/ 49 h 1590"/>
                <a:gd name="T106" fmla="*/ 146 w 1740"/>
                <a:gd name="T107" fmla="*/ 50 h 1590"/>
                <a:gd name="T108" fmla="*/ 149 w 1740"/>
                <a:gd name="T109" fmla="*/ 59 h 1590"/>
                <a:gd name="T110" fmla="*/ 148 w 1740"/>
                <a:gd name="T111" fmla="*/ 67 h 1590"/>
                <a:gd name="T112" fmla="*/ 141 w 1740"/>
                <a:gd name="T113" fmla="*/ 78 h 1590"/>
                <a:gd name="T114" fmla="*/ 141 w 1740"/>
                <a:gd name="T115" fmla="*/ 91 h 1590"/>
                <a:gd name="T116" fmla="*/ 138 w 1740"/>
                <a:gd name="T117" fmla="*/ 102 h 1590"/>
                <a:gd name="T118" fmla="*/ 138 w 1740"/>
                <a:gd name="T119" fmla="*/ 110 h 1590"/>
                <a:gd name="T120" fmla="*/ 144 w 1740"/>
                <a:gd name="T121" fmla="*/ 118 h 1590"/>
                <a:gd name="T122" fmla="*/ 143 w 1740"/>
                <a:gd name="T123" fmla="*/ 125 h 159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740"/>
                <a:gd name="T187" fmla="*/ 0 h 1590"/>
                <a:gd name="T188" fmla="*/ 1740 w 1740"/>
                <a:gd name="T189" fmla="*/ 1590 h 159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740" h="1590">
                  <a:moveTo>
                    <a:pt x="1638" y="1458"/>
                  </a:moveTo>
                  <a:lnTo>
                    <a:pt x="1638" y="1482"/>
                  </a:lnTo>
                  <a:lnTo>
                    <a:pt x="1638" y="1500"/>
                  </a:lnTo>
                  <a:lnTo>
                    <a:pt x="1626" y="1500"/>
                  </a:lnTo>
                  <a:lnTo>
                    <a:pt x="1620" y="1500"/>
                  </a:lnTo>
                  <a:lnTo>
                    <a:pt x="1614" y="1500"/>
                  </a:lnTo>
                  <a:lnTo>
                    <a:pt x="1614" y="1506"/>
                  </a:lnTo>
                  <a:lnTo>
                    <a:pt x="1614" y="1512"/>
                  </a:lnTo>
                  <a:lnTo>
                    <a:pt x="1620" y="1518"/>
                  </a:lnTo>
                  <a:lnTo>
                    <a:pt x="1614" y="1524"/>
                  </a:lnTo>
                  <a:lnTo>
                    <a:pt x="1590" y="1536"/>
                  </a:lnTo>
                  <a:lnTo>
                    <a:pt x="1584" y="1566"/>
                  </a:lnTo>
                  <a:lnTo>
                    <a:pt x="1578" y="1590"/>
                  </a:lnTo>
                  <a:lnTo>
                    <a:pt x="1548" y="1590"/>
                  </a:lnTo>
                  <a:lnTo>
                    <a:pt x="1542" y="1584"/>
                  </a:lnTo>
                  <a:lnTo>
                    <a:pt x="1542" y="1572"/>
                  </a:lnTo>
                  <a:lnTo>
                    <a:pt x="1536" y="1566"/>
                  </a:lnTo>
                  <a:lnTo>
                    <a:pt x="1536" y="1554"/>
                  </a:lnTo>
                  <a:lnTo>
                    <a:pt x="1536" y="1548"/>
                  </a:lnTo>
                  <a:lnTo>
                    <a:pt x="1506" y="1530"/>
                  </a:lnTo>
                  <a:lnTo>
                    <a:pt x="1488" y="1506"/>
                  </a:lnTo>
                  <a:lnTo>
                    <a:pt x="1464" y="1500"/>
                  </a:lnTo>
                  <a:lnTo>
                    <a:pt x="1470" y="1494"/>
                  </a:lnTo>
                  <a:lnTo>
                    <a:pt x="1470" y="1488"/>
                  </a:lnTo>
                  <a:lnTo>
                    <a:pt x="1470" y="1482"/>
                  </a:lnTo>
                  <a:lnTo>
                    <a:pt x="1428" y="1464"/>
                  </a:lnTo>
                  <a:lnTo>
                    <a:pt x="1404" y="1470"/>
                  </a:lnTo>
                  <a:lnTo>
                    <a:pt x="1398" y="1470"/>
                  </a:lnTo>
                  <a:lnTo>
                    <a:pt x="1392" y="1476"/>
                  </a:lnTo>
                  <a:lnTo>
                    <a:pt x="1386" y="1476"/>
                  </a:lnTo>
                  <a:lnTo>
                    <a:pt x="1386" y="1482"/>
                  </a:lnTo>
                  <a:lnTo>
                    <a:pt x="1392" y="1482"/>
                  </a:lnTo>
                  <a:lnTo>
                    <a:pt x="1386" y="1488"/>
                  </a:lnTo>
                  <a:lnTo>
                    <a:pt x="1386" y="1494"/>
                  </a:lnTo>
                  <a:lnTo>
                    <a:pt x="1380" y="1494"/>
                  </a:lnTo>
                  <a:lnTo>
                    <a:pt x="1380" y="1500"/>
                  </a:lnTo>
                  <a:lnTo>
                    <a:pt x="1380" y="1512"/>
                  </a:lnTo>
                  <a:lnTo>
                    <a:pt x="1380" y="1518"/>
                  </a:lnTo>
                  <a:lnTo>
                    <a:pt x="1380" y="1524"/>
                  </a:lnTo>
                  <a:lnTo>
                    <a:pt x="1380" y="1530"/>
                  </a:lnTo>
                  <a:lnTo>
                    <a:pt x="1374" y="1536"/>
                  </a:lnTo>
                  <a:lnTo>
                    <a:pt x="1374" y="1542"/>
                  </a:lnTo>
                  <a:lnTo>
                    <a:pt x="1368" y="1542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44" y="1554"/>
                  </a:lnTo>
                  <a:lnTo>
                    <a:pt x="1332" y="1560"/>
                  </a:lnTo>
                  <a:lnTo>
                    <a:pt x="1302" y="1554"/>
                  </a:lnTo>
                  <a:lnTo>
                    <a:pt x="1290" y="1554"/>
                  </a:lnTo>
                  <a:lnTo>
                    <a:pt x="1278" y="1542"/>
                  </a:lnTo>
                  <a:lnTo>
                    <a:pt x="1272" y="1530"/>
                  </a:lnTo>
                  <a:lnTo>
                    <a:pt x="1272" y="1524"/>
                  </a:lnTo>
                  <a:lnTo>
                    <a:pt x="1272" y="1518"/>
                  </a:lnTo>
                  <a:lnTo>
                    <a:pt x="1266" y="1518"/>
                  </a:lnTo>
                  <a:lnTo>
                    <a:pt x="1266" y="1512"/>
                  </a:lnTo>
                  <a:lnTo>
                    <a:pt x="1266" y="1506"/>
                  </a:lnTo>
                  <a:lnTo>
                    <a:pt x="1272" y="1506"/>
                  </a:lnTo>
                  <a:lnTo>
                    <a:pt x="1272" y="1500"/>
                  </a:lnTo>
                  <a:lnTo>
                    <a:pt x="1278" y="1500"/>
                  </a:lnTo>
                  <a:lnTo>
                    <a:pt x="1278" y="1494"/>
                  </a:lnTo>
                  <a:lnTo>
                    <a:pt x="1278" y="1488"/>
                  </a:lnTo>
                  <a:lnTo>
                    <a:pt x="1284" y="1488"/>
                  </a:lnTo>
                  <a:lnTo>
                    <a:pt x="1284" y="1482"/>
                  </a:lnTo>
                  <a:lnTo>
                    <a:pt x="1290" y="1476"/>
                  </a:lnTo>
                  <a:lnTo>
                    <a:pt x="1284" y="1470"/>
                  </a:lnTo>
                  <a:lnTo>
                    <a:pt x="1278" y="1458"/>
                  </a:lnTo>
                  <a:lnTo>
                    <a:pt x="1278" y="1452"/>
                  </a:lnTo>
                  <a:lnTo>
                    <a:pt x="1260" y="1428"/>
                  </a:lnTo>
                  <a:lnTo>
                    <a:pt x="1254" y="1416"/>
                  </a:lnTo>
                  <a:lnTo>
                    <a:pt x="1254" y="1410"/>
                  </a:lnTo>
                  <a:lnTo>
                    <a:pt x="1248" y="1398"/>
                  </a:lnTo>
                  <a:lnTo>
                    <a:pt x="1242" y="1398"/>
                  </a:lnTo>
                  <a:lnTo>
                    <a:pt x="1236" y="1398"/>
                  </a:lnTo>
                  <a:lnTo>
                    <a:pt x="1218" y="1386"/>
                  </a:lnTo>
                  <a:lnTo>
                    <a:pt x="1212" y="1362"/>
                  </a:lnTo>
                  <a:lnTo>
                    <a:pt x="1200" y="1344"/>
                  </a:lnTo>
                  <a:lnTo>
                    <a:pt x="1188" y="1338"/>
                  </a:lnTo>
                  <a:lnTo>
                    <a:pt x="1164" y="1338"/>
                  </a:lnTo>
                  <a:lnTo>
                    <a:pt x="1158" y="1344"/>
                  </a:lnTo>
                  <a:lnTo>
                    <a:pt x="1152" y="1350"/>
                  </a:lnTo>
                  <a:lnTo>
                    <a:pt x="1152" y="1356"/>
                  </a:lnTo>
                  <a:lnTo>
                    <a:pt x="1140" y="1362"/>
                  </a:lnTo>
                  <a:lnTo>
                    <a:pt x="1134" y="1380"/>
                  </a:lnTo>
                  <a:lnTo>
                    <a:pt x="1116" y="1398"/>
                  </a:lnTo>
                  <a:lnTo>
                    <a:pt x="1110" y="1416"/>
                  </a:lnTo>
                  <a:lnTo>
                    <a:pt x="1086" y="1416"/>
                  </a:lnTo>
                  <a:lnTo>
                    <a:pt x="1080" y="1410"/>
                  </a:lnTo>
                  <a:lnTo>
                    <a:pt x="1074" y="1410"/>
                  </a:lnTo>
                  <a:lnTo>
                    <a:pt x="1074" y="1404"/>
                  </a:lnTo>
                  <a:lnTo>
                    <a:pt x="1062" y="1404"/>
                  </a:lnTo>
                  <a:lnTo>
                    <a:pt x="1062" y="1380"/>
                  </a:lnTo>
                  <a:lnTo>
                    <a:pt x="1038" y="1380"/>
                  </a:lnTo>
                  <a:lnTo>
                    <a:pt x="1026" y="1350"/>
                  </a:lnTo>
                  <a:lnTo>
                    <a:pt x="996" y="1326"/>
                  </a:lnTo>
                  <a:lnTo>
                    <a:pt x="966" y="1314"/>
                  </a:lnTo>
                  <a:lnTo>
                    <a:pt x="954" y="1320"/>
                  </a:lnTo>
                  <a:lnTo>
                    <a:pt x="942" y="1338"/>
                  </a:lnTo>
                  <a:lnTo>
                    <a:pt x="930" y="1338"/>
                  </a:lnTo>
                  <a:lnTo>
                    <a:pt x="924" y="1350"/>
                  </a:lnTo>
                  <a:lnTo>
                    <a:pt x="906" y="1356"/>
                  </a:lnTo>
                  <a:lnTo>
                    <a:pt x="846" y="1356"/>
                  </a:lnTo>
                  <a:lnTo>
                    <a:pt x="834" y="1368"/>
                  </a:lnTo>
                  <a:lnTo>
                    <a:pt x="810" y="1362"/>
                  </a:lnTo>
                  <a:lnTo>
                    <a:pt x="792" y="1362"/>
                  </a:lnTo>
                  <a:lnTo>
                    <a:pt x="780" y="1368"/>
                  </a:lnTo>
                  <a:lnTo>
                    <a:pt x="762" y="1368"/>
                  </a:lnTo>
                  <a:lnTo>
                    <a:pt x="762" y="1362"/>
                  </a:lnTo>
                  <a:lnTo>
                    <a:pt x="750" y="1362"/>
                  </a:lnTo>
                  <a:lnTo>
                    <a:pt x="750" y="1338"/>
                  </a:lnTo>
                  <a:lnTo>
                    <a:pt x="762" y="1338"/>
                  </a:lnTo>
                  <a:lnTo>
                    <a:pt x="762" y="1326"/>
                  </a:lnTo>
                  <a:lnTo>
                    <a:pt x="762" y="1314"/>
                  </a:lnTo>
                  <a:lnTo>
                    <a:pt x="732" y="1314"/>
                  </a:lnTo>
                  <a:lnTo>
                    <a:pt x="726" y="1308"/>
                  </a:lnTo>
                  <a:lnTo>
                    <a:pt x="732" y="1284"/>
                  </a:lnTo>
                  <a:lnTo>
                    <a:pt x="732" y="1278"/>
                  </a:lnTo>
                  <a:lnTo>
                    <a:pt x="738" y="1272"/>
                  </a:lnTo>
                  <a:lnTo>
                    <a:pt x="738" y="1266"/>
                  </a:lnTo>
                  <a:lnTo>
                    <a:pt x="744" y="1266"/>
                  </a:lnTo>
                  <a:lnTo>
                    <a:pt x="750" y="1272"/>
                  </a:lnTo>
                  <a:lnTo>
                    <a:pt x="756" y="1266"/>
                  </a:lnTo>
                  <a:lnTo>
                    <a:pt x="762" y="1266"/>
                  </a:lnTo>
                  <a:lnTo>
                    <a:pt x="768" y="1260"/>
                  </a:lnTo>
                  <a:lnTo>
                    <a:pt x="774" y="1260"/>
                  </a:lnTo>
                  <a:lnTo>
                    <a:pt x="780" y="1254"/>
                  </a:lnTo>
                  <a:lnTo>
                    <a:pt x="774" y="1254"/>
                  </a:lnTo>
                  <a:lnTo>
                    <a:pt x="768" y="1254"/>
                  </a:lnTo>
                  <a:lnTo>
                    <a:pt x="774" y="1248"/>
                  </a:lnTo>
                  <a:lnTo>
                    <a:pt x="774" y="1242"/>
                  </a:lnTo>
                  <a:lnTo>
                    <a:pt x="780" y="1236"/>
                  </a:lnTo>
                  <a:lnTo>
                    <a:pt x="786" y="1236"/>
                  </a:lnTo>
                  <a:lnTo>
                    <a:pt x="792" y="1230"/>
                  </a:lnTo>
                  <a:lnTo>
                    <a:pt x="792" y="1236"/>
                  </a:lnTo>
                  <a:lnTo>
                    <a:pt x="798" y="1236"/>
                  </a:lnTo>
                  <a:lnTo>
                    <a:pt x="798" y="1230"/>
                  </a:lnTo>
                  <a:lnTo>
                    <a:pt x="804" y="1230"/>
                  </a:lnTo>
                  <a:lnTo>
                    <a:pt x="804" y="1218"/>
                  </a:lnTo>
                  <a:lnTo>
                    <a:pt x="804" y="1206"/>
                  </a:lnTo>
                  <a:lnTo>
                    <a:pt x="792" y="1188"/>
                  </a:lnTo>
                  <a:lnTo>
                    <a:pt x="768" y="1182"/>
                  </a:lnTo>
                  <a:lnTo>
                    <a:pt x="768" y="1170"/>
                  </a:lnTo>
                  <a:lnTo>
                    <a:pt x="774" y="1170"/>
                  </a:lnTo>
                  <a:lnTo>
                    <a:pt x="780" y="1170"/>
                  </a:lnTo>
                  <a:lnTo>
                    <a:pt x="786" y="1170"/>
                  </a:lnTo>
                  <a:lnTo>
                    <a:pt x="780" y="1152"/>
                  </a:lnTo>
                  <a:lnTo>
                    <a:pt x="780" y="1146"/>
                  </a:lnTo>
                  <a:lnTo>
                    <a:pt x="744" y="1140"/>
                  </a:lnTo>
                  <a:lnTo>
                    <a:pt x="732" y="1128"/>
                  </a:lnTo>
                  <a:lnTo>
                    <a:pt x="720" y="1122"/>
                  </a:lnTo>
                  <a:lnTo>
                    <a:pt x="732" y="1116"/>
                  </a:lnTo>
                  <a:lnTo>
                    <a:pt x="750" y="1104"/>
                  </a:lnTo>
                  <a:lnTo>
                    <a:pt x="756" y="1116"/>
                  </a:lnTo>
                  <a:lnTo>
                    <a:pt x="774" y="1116"/>
                  </a:lnTo>
                  <a:lnTo>
                    <a:pt x="780" y="1104"/>
                  </a:lnTo>
                  <a:lnTo>
                    <a:pt x="780" y="1080"/>
                  </a:lnTo>
                  <a:lnTo>
                    <a:pt x="786" y="1080"/>
                  </a:lnTo>
                  <a:lnTo>
                    <a:pt x="786" y="1074"/>
                  </a:lnTo>
                  <a:lnTo>
                    <a:pt x="792" y="1074"/>
                  </a:lnTo>
                  <a:lnTo>
                    <a:pt x="786" y="1068"/>
                  </a:lnTo>
                  <a:lnTo>
                    <a:pt x="786" y="1062"/>
                  </a:lnTo>
                  <a:lnTo>
                    <a:pt x="786" y="1056"/>
                  </a:lnTo>
                  <a:lnTo>
                    <a:pt x="792" y="1050"/>
                  </a:lnTo>
                  <a:lnTo>
                    <a:pt x="786" y="1020"/>
                  </a:lnTo>
                  <a:lnTo>
                    <a:pt x="780" y="960"/>
                  </a:lnTo>
                  <a:lnTo>
                    <a:pt x="768" y="942"/>
                  </a:lnTo>
                  <a:lnTo>
                    <a:pt x="732" y="936"/>
                  </a:lnTo>
                  <a:lnTo>
                    <a:pt x="732" y="942"/>
                  </a:lnTo>
                  <a:lnTo>
                    <a:pt x="726" y="942"/>
                  </a:lnTo>
                  <a:lnTo>
                    <a:pt x="720" y="936"/>
                  </a:lnTo>
                  <a:lnTo>
                    <a:pt x="714" y="942"/>
                  </a:lnTo>
                  <a:lnTo>
                    <a:pt x="708" y="942"/>
                  </a:lnTo>
                  <a:lnTo>
                    <a:pt x="702" y="942"/>
                  </a:lnTo>
                  <a:lnTo>
                    <a:pt x="690" y="936"/>
                  </a:lnTo>
                  <a:lnTo>
                    <a:pt x="684" y="936"/>
                  </a:lnTo>
                  <a:lnTo>
                    <a:pt x="678" y="936"/>
                  </a:lnTo>
                  <a:lnTo>
                    <a:pt x="672" y="936"/>
                  </a:lnTo>
                  <a:lnTo>
                    <a:pt x="666" y="942"/>
                  </a:lnTo>
                  <a:lnTo>
                    <a:pt x="660" y="942"/>
                  </a:lnTo>
                  <a:lnTo>
                    <a:pt x="654" y="942"/>
                  </a:lnTo>
                  <a:lnTo>
                    <a:pt x="648" y="942"/>
                  </a:lnTo>
                  <a:lnTo>
                    <a:pt x="642" y="936"/>
                  </a:lnTo>
                  <a:lnTo>
                    <a:pt x="636" y="936"/>
                  </a:lnTo>
                  <a:lnTo>
                    <a:pt x="630" y="930"/>
                  </a:lnTo>
                  <a:lnTo>
                    <a:pt x="618" y="930"/>
                  </a:lnTo>
                  <a:lnTo>
                    <a:pt x="612" y="930"/>
                  </a:lnTo>
                  <a:lnTo>
                    <a:pt x="606" y="936"/>
                  </a:lnTo>
                  <a:lnTo>
                    <a:pt x="600" y="942"/>
                  </a:lnTo>
                  <a:lnTo>
                    <a:pt x="600" y="936"/>
                  </a:lnTo>
                  <a:lnTo>
                    <a:pt x="594" y="930"/>
                  </a:lnTo>
                  <a:lnTo>
                    <a:pt x="588" y="930"/>
                  </a:lnTo>
                  <a:lnTo>
                    <a:pt x="582" y="930"/>
                  </a:lnTo>
                  <a:lnTo>
                    <a:pt x="576" y="930"/>
                  </a:lnTo>
                  <a:lnTo>
                    <a:pt x="564" y="936"/>
                  </a:lnTo>
                  <a:lnTo>
                    <a:pt x="558" y="936"/>
                  </a:lnTo>
                  <a:lnTo>
                    <a:pt x="546" y="924"/>
                  </a:lnTo>
                  <a:lnTo>
                    <a:pt x="540" y="924"/>
                  </a:lnTo>
                  <a:lnTo>
                    <a:pt x="534" y="918"/>
                  </a:lnTo>
                  <a:lnTo>
                    <a:pt x="528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6" y="918"/>
                  </a:lnTo>
                  <a:lnTo>
                    <a:pt x="516" y="912"/>
                  </a:lnTo>
                  <a:lnTo>
                    <a:pt x="510" y="894"/>
                  </a:lnTo>
                  <a:lnTo>
                    <a:pt x="510" y="882"/>
                  </a:lnTo>
                  <a:lnTo>
                    <a:pt x="510" y="876"/>
                  </a:lnTo>
                  <a:lnTo>
                    <a:pt x="516" y="870"/>
                  </a:lnTo>
                  <a:lnTo>
                    <a:pt x="510" y="864"/>
                  </a:lnTo>
                  <a:lnTo>
                    <a:pt x="516" y="858"/>
                  </a:lnTo>
                  <a:lnTo>
                    <a:pt x="522" y="858"/>
                  </a:lnTo>
                  <a:lnTo>
                    <a:pt x="528" y="858"/>
                  </a:lnTo>
                  <a:lnTo>
                    <a:pt x="522" y="852"/>
                  </a:lnTo>
                  <a:lnTo>
                    <a:pt x="528" y="852"/>
                  </a:lnTo>
                  <a:lnTo>
                    <a:pt x="528" y="846"/>
                  </a:lnTo>
                  <a:lnTo>
                    <a:pt x="552" y="846"/>
                  </a:lnTo>
                  <a:lnTo>
                    <a:pt x="558" y="840"/>
                  </a:lnTo>
                  <a:lnTo>
                    <a:pt x="564" y="828"/>
                  </a:lnTo>
                  <a:lnTo>
                    <a:pt x="570" y="816"/>
                  </a:lnTo>
                  <a:lnTo>
                    <a:pt x="582" y="810"/>
                  </a:lnTo>
                  <a:lnTo>
                    <a:pt x="588" y="804"/>
                  </a:lnTo>
                  <a:lnTo>
                    <a:pt x="594" y="804"/>
                  </a:lnTo>
                  <a:lnTo>
                    <a:pt x="594" y="792"/>
                  </a:lnTo>
                  <a:lnTo>
                    <a:pt x="600" y="786"/>
                  </a:lnTo>
                  <a:lnTo>
                    <a:pt x="606" y="780"/>
                  </a:lnTo>
                  <a:lnTo>
                    <a:pt x="612" y="774"/>
                  </a:lnTo>
                  <a:lnTo>
                    <a:pt x="618" y="774"/>
                  </a:lnTo>
                  <a:lnTo>
                    <a:pt x="618" y="768"/>
                  </a:lnTo>
                  <a:lnTo>
                    <a:pt x="618" y="762"/>
                  </a:lnTo>
                  <a:lnTo>
                    <a:pt x="624" y="756"/>
                  </a:lnTo>
                  <a:lnTo>
                    <a:pt x="618" y="750"/>
                  </a:lnTo>
                  <a:lnTo>
                    <a:pt x="618" y="744"/>
                  </a:lnTo>
                  <a:lnTo>
                    <a:pt x="600" y="738"/>
                  </a:lnTo>
                  <a:lnTo>
                    <a:pt x="558" y="744"/>
                  </a:lnTo>
                  <a:lnTo>
                    <a:pt x="552" y="732"/>
                  </a:lnTo>
                  <a:lnTo>
                    <a:pt x="546" y="720"/>
                  </a:lnTo>
                  <a:lnTo>
                    <a:pt x="564" y="702"/>
                  </a:lnTo>
                  <a:lnTo>
                    <a:pt x="570" y="684"/>
                  </a:lnTo>
                  <a:lnTo>
                    <a:pt x="564" y="648"/>
                  </a:lnTo>
                  <a:lnTo>
                    <a:pt x="534" y="624"/>
                  </a:lnTo>
                  <a:lnTo>
                    <a:pt x="504" y="612"/>
                  </a:lnTo>
                  <a:lnTo>
                    <a:pt x="498" y="606"/>
                  </a:lnTo>
                  <a:lnTo>
                    <a:pt x="492" y="600"/>
                  </a:lnTo>
                  <a:lnTo>
                    <a:pt x="486" y="606"/>
                  </a:lnTo>
                  <a:lnTo>
                    <a:pt x="480" y="558"/>
                  </a:lnTo>
                  <a:lnTo>
                    <a:pt x="462" y="546"/>
                  </a:lnTo>
                  <a:lnTo>
                    <a:pt x="408" y="540"/>
                  </a:lnTo>
                  <a:lnTo>
                    <a:pt x="408" y="546"/>
                  </a:lnTo>
                  <a:lnTo>
                    <a:pt x="408" y="558"/>
                  </a:lnTo>
                  <a:lnTo>
                    <a:pt x="408" y="564"/>
                  </a:lnTo>
                  <a:lnTo>
                    <a:pt x="408" y="570"/>
                  </a:lnTo>
                  <a:lnTo>
                    <a:pt x="414" y="582"/>
                  </a:lnTo>
                  <a:lnTo>
                    <a:pt x="408" y="594"/>
                  </a:lnTo>
                  <a:lnTo>
                    <a:pt x="414" y="594"/>
                  </a:lnTo>
                  <a:lnTo>
                    <a:pt x="408" y="600"/>
                  </a:lnTo>
                  <a:lnTo>
                    <a:pt x="348" y="600"/>
                  </a:lnTo>
                  <a:lnTo>
                    <a:pt x="324" y="600"/>
                  </a:lnTo>
                  <a:lnTo>
                    <a:pt x="324" y="612"/>
                  </a:lnTo>
                  <a:lnTo>
                    <a:pt x="306" y="618"/>
                  </a:lnTo>
                  <a:lnTo>
                    <a:pt x="312" y="618"/>
                  </a:lnTo>
                  <a:lnTo>
                    <a:pt x="294" y="588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76"/>
                  </a:lnTo>
                  <a:lnTo>
                    <a:pt x="240" y="582"/>
                  </a:lnTo>
                  <a:lnTo>
                    <a:pt x="234" y="582"/>
                  </a:lnTo>
                  <a:lnTo>
                    <a:pt x="228" y="588"/>
                  </a:lnTo>
                  <a:lnTo>
                    <a:pt x="222" y="588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8" y="600"/>
                  </a:lnTo>
                  <a:lnTo>
                    <a:pt x="192" y="612"/>
                  </a:lnTo>
                  <a:lnTo>
                    <a:pt x="192" y="618"/>
                  </a:lnTo>
                  <a:lnTo>
                    <a:pt x="198" y="624"/>
                  </a:lnTo>
                  <a:lnTo>
                    <a:pt x="192" y="624"/>
                  </a:lnTo>
                  <a:lnTo>
                    <a:pt x="192" y="630"/>
                  </a:lnTo>
                  <a:lnTo>
                    <a:pt x="192" y="642"/>
                  </a:lnTo>
                  <a:lnTo>
                    <a:pt x="180" y="648"/>
                  </a:lnTo>
                  <a:lnTo>
                    <a:pt x="174" y="654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6"/>
                  </a:lnTo>
                  <a:lnTo>
                    <a:pt x="156" y="672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90"/>
                  </a:lnTo>
                  <a:lnTo>
                    <a:pt x="132" y="690"/>
                  </a:lnTo>
                  <a:lnTo>
                    <a:pt x="126" y="702"/>
                  </a:lnTo>
                  <a:lnTo>
                    <a:pt x="132" y="708"/>
                  </a:lnTo>
                  <a:lnTo>
                    <a:pt x="126" y="708"/>
                  </a:lnTo>
                  <a:lnTo>
                    <a:pt x="120" y="708"/>
                  </a:lnTo>
                  <a:lnTo>
                    <a:pt x="114" y="708"/>
                  </a:lnTo>
                  <a:lnTo>
                    <a:pt x="108" y="708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78" y="720"/>
                  </a:lnTo>
                  <a:lnTo>
                    <a:pt x="72" y="720"/>
                  </a:lnTo>
                  <a:lnTo>
                    <a:pt x="66" y="720"/>
                  </a:lnTo>
                  <a:lnTo>
                    <a:pt x="54" y="732"/>
                  </a:lnTo>
                  <a:lnTo>
                    <a:pt x="48" y="702"/>
                  </a:lnTo>
                  <a:lnTo>
                    <a:pt x="36" y="666"/>
                  </a:lnTo>
                  <a:lnTo>
                    <a:pt x="0" y="660"/>
                  </a:lnTo>
                  <a:lnTo>
                    <a:pt x="6" y="660"/>
                  </a:lnTo>
                  <a:lnTo>
                    <a:pt x="6" y="654"/>
                  </a:lnTo>
                  <a:lnTo>
                    <a:pt x="6" y="648"/>
                  </a:lnTo>
                  <a:lnTo>
                    <a:pt x="6" y="642"/>
                  </a:lnTo>
                  <a:lnTo>
                    <a:pt x="6" y="624"/>
                  </a:lnTo>
                  <a:lnTo>
                    <a:pt x="6" y="612"/>
                  </a:lnTo>
                  <a:lnTo>
                    <a:pt x="6" y="606"/>
                  </a:lnTo>
                  <a:lnTo>
                    <a:pt x="12" y="612"/>
                  </a:lnTo>
                  <a:lnTo>
                    <a:pt x="18" y="606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30" y="594"/>
                  </a:lnTo>
                  <a:lnTo>
                    <a:pt x="30" y="588"/>
                  </a:lnTo>
                  <a:lnTo>
                    <a:pt x="30" y="582"/>
                  </a:lnTo>
                  <a:lnTo>
                    <a:pt x="24" y="576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18" y="558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36" y="528"/>
                  </a:lnTo>
                  <a:lnTo>
                    <a:pt x="30" y="522"/>
                  </a:lnTo>
                  <a:lnTo>
                    <a:pt x="24" y="522"/>
                  </a:lnTo>
                  <a:lnTo>
                    <a:pt x="18" y="510"/>
                  </a:lnTo>
                  <a:lnTo>
                    <a:pt x="12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8" y="474"/>
                  </a:lnTo>
                  <a:lnTo>
                    <a:pt x="12" y="468"/>
                  </a:lnTo>
                  <a:lnTo>
                    <a:pt x="12" y="462"/>
                  </a:lnTo>
                  <a:lnTo>
                    <a:pt x="18" y="456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0" y="420"/>
                  </a:lnTo>
                  <a:lnTo>
                    <a:pt x="30" y="414"/>
                  </a:lnTo>
                  <a:lnTo>
                    <a:pt x="48" y="414"/>
                  </a:lnTo>
                  <a:lnTo>
                    <a:pt x="54" y="408"/>
                  </a:lnTo>
                  <a:lnTo>
                    <a:pt x="60" y="402"/>
                  </a:lnTo>
                  <a:lnTo>
                    <a:pt x="66" y="402"/>
                  </a:lnTo>
                  <a:lnTo>
                    <a:pt x="72" y="402"/>
                  </a:lnTo>
                  <a:lnTo>
                    <a:pt x="78" y="408"/>
                  </a:lnTo>
                  <a:lnTo>
                    <a:pt x="84" y="396"/>
                  </a:lnTo>
                  <a:lnTo>
                    <a:pt x="90" y="390"/>
                  </a:lnTo>
                  <a:lnTo>
                    <a:pt x="90" y="378"/>
                  </a:lnTo>
                  <a:lnTo>
                    <a:pt x="96" y="372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8" y="354"/>
                  </a:lnTo>
                  <a:lnTo>
                    <a:pt x="114" y="348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32" y="336"/>
                  </a:lnTo>
                  <a:lnTo>
                    <a:pt x="132" y="330"/>
                  </a:lnTo>
                  <a:lnTo>
                    <a:pt x="138" y="324"/>
                  </a:lnTo>
                  <a:lnTo>
                    <a:pt x="138" y="318"/>
                  </a:lnTo>
                  <a:lnTo>
                    <a:pt x="144" y="306"/>
                  </a:lnTo>
                  <a:lnTo>
                    <a:pt x="156" y="306"/>
                  </a:lnTo>
                  <a:lnTo>
                    <a:pt x="186" y="300"/>
                  </a:lnTo>
                  <a:lnTo>
                    <a:pt x="198" y="300"/>
                  </a:lnTo>
                  <a:lnTo>
                    <a:pt x="210" y="300"/>
                  </a:lnTo>
                  <a:lnTo>
                    <a:pt x="222" y="300"/>
                  </a:lnTo>
                  <a:lnTo>
                    <a:pt x="246" y="300"/>
                  </a:lnTo>
                  <a:lnTo>
                    <a:pt x="264" y="312"/>
                  </a:lnTo>
                  <a:lnTo>
                    <a:pt x="270" y="312"/>
                  </a:lnTo>
                  <a:lnTo>
                    <a:pt x="282" y="306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300" y="306"/>
                  </a:lnTo>
                  <a:lnTo>
                    <a:pt x="312" y="306"/>
                  </a:lnTo>
                  <a:lnTo>
                    <a:pt x="318" y="300"/>
                  </a:lnTo>
                  <a:lnTo>
                    <a:pt x="324" y="300"/>
                  </a:lnTo>
                  <a:lnTo>
                    <a:pt x="330" y="294"/>
                  </a:lnTo>
                  <a:lnTo>
                    <a:pt x="336" y="288"/>
                  </a:lnTo>
                  <a:lnTo>
                    <a:pt x="354" y="288"/>
                  </a:lnTo>
                  <a:lnTo>
                    <a:pt x="360" y="288"/>
                  </a:lnTo>
                  <a:lnTo>
                    <a:pt x="366" y="282"/>
                  </a:lnTo>
                  <a:lnTo>
                    <a:pt x="372" y="282"/>
                  </a:lnTo>
                  <a:lnTo>
                    <a:pt x="378" y="282"/>
                  </a:lnTo>
                  <a:lnTo>
                    <a:pt x="384" y="276"/>
                  </a:lnTo>
                  <a:lnTo>
                    <a:pt x="384" y="270"/>
                  </a:lnTo>
                  <a:lnTo>
                    <a:pt x="390" y="264"/>
                  </a:lnTo>
                  <a:lnTo>
                    <a:pt x="402" y="258"/>
                  </a:lnTo>
                  <a:lnTo>
                    <a:pt x="402" y="252"/>
                  </a:lnTo>
                  <a:lnTo>
                    <a:pt x="402" y="246"/>
                  </a:lnTo>
                  <a:lnTo>
                    <a:pt x="408" y="234"/>
                  </a:lnTo>
                  <a:lnTo>
                    <a:pt x="414" y="234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14" y="216"/>
                  </a:lnTo>
                  <a:lnTo>
                    <a:pt x="414" y="210"/>
                  </a:lnTo>
                  <a:lnTo>
                    <a:pt x="420" y="210"/>
                  </a:lnTo>
                  <a:lnTo>
                    <a:pt x="414" y="198"/>
                  </a:lnTo>
                  <a:lnTo>
                    <a:pt x="414" y="192"/>
                  </a:lnTo>
                  <a:lnTo>
                    <a:pt x="420" y="192"/>
                  </a:lnTo>
                  <a:lnTo>
                    <a:pt x="420" y="186"/>
                  </a:lnTo>
                  <a:lnTo>
                    <a:pt x="420" y="174"/>
                  </a:lnTo>
                  <a:lnTo>
                    <a:pt x="420" y="168"/>
                  </a:lnTo>
                  <a:lnTo>
                    <a:pt x="426" y="162"/>
                  </a:lnTo>
                  <a:lnTo>
                    <a:pt x="432" y="156"/>
                  </a:lnTo>
                  <a:lnTo>
                    <a:pt x="438" y="144"/>
                  </a:lnTo>
                  <a:lnTo>
                    <a:pt x="444" y="144"/>
                  </a:lnTo>
                  <a:lnTo>
                    <a:pt x="450" y="138"/>
                  </a:lnTo>
                  <a:lnTo>
                    <a:pt x="456" y="138"/>
                  </a:lnTo>
                  <a:lnTo>
                    <a:pt x="462" y="132"/>
                  </a:lnTo>
                  <a:lnTo>
                    <a:pt x="462" y="126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0"/>
                  </a:lnTo>
                  <a:lnTo>
                    <a:pt x="486" y="108"/>
                  </a:lnTo>
                  <a:lnTo>
                    <a:pt x="492" y="108"/>
                  </a:lnTo>
                  <a:lnTo>
                    <a:pt x="498" y="102"/>
                  </a:lnTo>
                  <a:lnTo>
                    <a:pt x="504" y="96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40" y="102"/>
                  </a:lnTo>
                  <a:lnTo>
                    <a:pt x="552" y="108"/>
                  </a:lnTo>
                  <a:lnTo>
                    <a:pt x="582" y="102"/>
                  </a:lnTo>
                  <a:lnTo>
                    <a:pt x="594" y="126"/>
                  </a:lnTo>
                  <a:lnTo>
                    <a:pt x="594" y="144"/>
                  </a:lnTo>
                  <a:lnTo>
                    <a:pt x="588" y="156"/>
                  </a:lnTo>
                  <a:lnTo>
                    <a:pt x="588" y="168"/>
                  </a:lnTo>
                  <a:lnTo>
                    <a:pt x="582" y="180"/>
                  </a:lnTo>
                  <a:lnTo>
                    <a:pt x="570" y="192"/>
                  </a:lnTo>
                  <a:lnTo>
                    <a:pt x="594" y="192"/>
                  </a:lnTo>
                  <a:lnTo>
                    <a:pt x="618" y="198"/>
                  </a:lnTo>
                  <a:lnTo>
                    <a:pt x="642" y="210"/>
                  </a:lnTo>
                  <a:lnTo>
                    <a:pt x="660" y="234"/>
                  </a:lnTo>
                  <a:lnTo>
                    <a:pt x="678" y="246"/>
                  </a:lnTo>
                  <a:lnTo>
                    <a:pt x="684" y="252"/>
                  </a:lnTo>
                  <a:lnTo>
                    <a:pt x="702" y="252"/>
                  </a:lnTo>
                  <a:lnTo>
                    <a:pt x="732" y="234"/>
                  </a:lnTo>
                  <a:lnTo>
                    <a:pt x="732" y="222"/>
                  </a:lnTo>
                  <a:lnTo>
                    <a:pt x="720" y="216"/>
                  </a:lnTo>
                  <a:lnTo>
                    <a:pt x="714" y="198"/>
                  </a:lnTo>
                  <a:lnTo>
                    <a:pt x="714" y="174"/>
                  </a:lnTo>
                  <a:lnTo>
                    <a:pt x="720" y="162"/>
                  </a:lnTo>
                  <a:lnTo>
                    <a:pt x="726" y="162"/>
                  </a:lnTo>
                  <a:lnTo>
                    <a:pt x="732" y="156"/>
                  </a:lnTo>
                  <a:lnTo>
                    <a:pt x="744" y="150"/>
                  </a:lnTo>
                  <a:lnTo>
                    <a:pt x="774" y="162"/>
                  </a:lnTo>
                  <a:lnTo>
                    <a:pt x="786" y="162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16" y="150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2" y="132"/>
                  </a:lnTo>
                  <a:lnTo>
                    <a:pt x="822" y="114"/>
                  </a:lnTo>
                  <a:lnTo>
                    <a:pt x="828" y="108"/>
                  </a:lnTo>
                  <a:lnTo>
                    <a:pt x="834" y="96"/>
                  </a:lnTo>
                  <a:lnTo>
                    <a:pt x="846" y="96"/>
                  </a:lnTo>
                  <a:lnTo>
                    <a:pt x="858" y="90"/>
                  </a:lnTo>
                  <a:lnTo>
                    <a:pt x="870" y="84"/>
                  </a:lnTo>
                  <a:lnTo>
                    <a:pt x="888" y="84"/>
                  </a:lnTo>
                  <a:lnTo>
                    <a:pt x="894" y="90"/>
                  </a:lnTo>
                  <a:lnTo>
                    <a:pt x="894" y="102"/>
                  </a:lnTo>
                  <a:lnTo>
                    <a:pt x="900" y="102"/>
                  </a:lnTo>
                  <a:lnTo>
                    <a:pt x="906" y="114"/>
                  </a:lnTo>
                  <a:lnTo>
                    <a:pt x="930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54" y="138"/>
                  </a:lnTo>
                  <a:lnTo>
                    <a:pt x="966" y="144"/>
                  </a:lnTo>
                  <a:lnTo>
                    <a:pt x="966" y="150"/>
                  </a:lnTo>
                  <a:lnTo>
                    <a:pt x="972" y="150"/>
                  </a:lnTo>
                  <a:lnTo>
                    <a:pt x="978" y="150"/>
                  </a:lnTo>
                  <a:lnTo>
                    <a:pt x="978" y="144"/>
                  </a:lnTo>
                  <a:lnTo>
                    <a:pt x="984" y="144"/>
                  </a:lnTo>
                  <a:lnTo>
                    <a:pt x="990" y="138"/>
                  </a:lnTo>
                  <a:lnTo>
                    <a:pt x="996" y="138"/>
                  </a:lnTo>
                  <a:lnTo>
                    <a:pt x="1002" y="138"/>
                  </a:lnTo>
                  <a:lnTo>
                    <a:pt x="1008" y="138"/>
                  </a:lnTo>
                  <a:lnTo>
                    <a:pt x="1026" y="132"/>
                  </a:lnTo>
                  <a:lnTo>
                    <a:pt x="1044" y="126"/>
                  </a:lnTo>
                  <a:lnTo>
                    <a:pt x="1056" y="120"/>
                  </a:lnTo>
                  <a:lnTo>
                    <a:pt x="1062" y="108"/>
                  </a:lnTo>
                  <a:lnTo>
                    <a:pt x="1056" y="102"/>
                  </a:lnTo>
                  <a:lnTo>
                    <a:pt x="1062" y="96"/>
                  </a:lnTo>
                  <a:lnTo>
                    <a:pt x="1074" y="90"/>
                  </a:lnTo>
                  <a:lnTo>
                    <a:pt x="1080" y="84"/>
                  </a:lnTo>
                  <a:lnTo>
                    <a:pt x="1128" y="84"/>
                  </a:lnTo>
                  <a:lnTo>
                    <a:pt x="1134" y="84"/>
                  </a:lnTo>
                  <a:lnTo>
                    <a:pt x="1140" y="78"/>
                  </a:lnTo>
                  <a:lnTo>
                    <a:pt x="1152" y="72"/>
                  </a:lnTo>
                  <a:lnTo>
                    <a:pt x="1164" y="66"/>
                  </a:lnTo>
                  <a:lnTo>
                    <a:pt x="1170" y="60"/>
                  </a:lnTo>
                  <a:lnTo>
                    <a:pt x="1188" y="48"/>
                  </a:lnTo>
                  <a:lnTo>
                    <a:pt x="1200" y="36"/>
                  </a:lnTo>
                  <a:lnTo>
                    <a:pt x="1218" y="24"/>
                  </a:lnTo>
                  <a:lnTo>
                    <a:pt x="1248" y="24"/>
                  </a:lnTo>
                  <a:lnTo>
                    <a:pt x="1272" y="24"/>
                  </a:lnTo>
                  <a:lnTo>
                    <a:pt x="1284" y="12"/>
                  </a:lnTo>
                  <a:lnTo>
                    <a:pt x="1302" y="0"/>
                  </a:lnTo>
                  <a:lnTo>
                    <a:pt x="1314" y="0"/>
                  </a:lnTo>
                  <a:lnTo>
                    <a:pt x="1326" y="18"/>
                  </a:lnTo>
                  <a:lnTo>
                    <a:pt x="1338" y="30"/>
                  </a:lnTo>
                  <a:lnTo>
                    <a:pt x="1338" y="54"/>
                  </a:lnTo>
                  <a:lnTo>
                    <a:pt x="1332" y="72"/>
                  </a:lnTo>
                  <a:lnTo>
                    <a:pt x="1326" y="72"/>
                  </a:lnTo>
                  <a:lnTo>
                    <a:pt x="1326" y="78"/>
                  </a:lnTo>
                  <a:lnTo>
                    <a:pt x="1326" y="102"/>
                  </a:lnTo>
                  <a:lnTo>
                    <a:pt x="1332" y="102"/>
                  </a:lnTo>
                  <a:lnTo>
                    <a:pt x="1332" y="108"/>
                  </a:lnTo>
                  <a:lnTo>
                    <a:pt x="1344" y="114"/>
                  </a:lnTo>
                  <a:lnTo>
                    <a:pt x="1350" y="114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404" y="132"/>
                  </a:lnTo>
                  <a:lnTo>
                    <a:pt x="1404" y="138"/>
                  </a:lnTo>
                  <a:lnTo>
                    <a:pt x="1410" y="150"/>
                  </a:lnTo>
                  <a:lnTo>
                    <a:pt x="1416" y="162"/>
                  </a:lnTo>
                  <a:lnTo>
                    <a:pt x="1428" y="168"/>
                  </a:lnTo>
                  <a:lnTo>
                    <a:pt x="1440" y="180"/>
                  </a:lnTo>
                  <a:lnTo>
                    <a:pt x="1476" y="174"/>
                  </a:lnTo>
                  <a:lnTo>
                    <a:pt x="1494" y="174"/>
                  </a:lnTo>
                  <a:lnTo>
                    <a:pt x="1512" y="192"/>
                  </a:lnTo>
                  <a:lnTo>
                    <a:pt x="1518" y="204"/>
                  </a:lnTo>
                  <a:lnTo>
                    <a:pt x="1530" y="216"/>
                  </a:lnTo>
                  <a:lnTo>
                    <a:pt x="1548" y="228"/>
                  </a:lnTo>
                  <a:lnTo>
                    <a:pt x="1548" y="234"/>
                  </a:lnTo>
                  <a:lnTo>
                    <a:pt x="1542" y="246"/>
                  </a:lnTo>
                  <a:lnTo>
                    <a:pt x="1560" y="246"/>
                  </a:lnTo>
                  <a:lnTo>
                    <a:pt x="1560" y="252"/>
                  </a:lnTo>
                  <a:lnTo>
                    <a:pt x="1566" y="258"/>
                  </a:lnTo>
                  <a:lnTo>
                    <a:pt x="1578" y="270"/>
                  </a:lnTo>
                  <a:lnTo>
                    <a:pt x="1596" y="270"/>
                  </a:lnTo>
                  <a:lnTo>
                    <a:pt x="1602" y="288"/>
                  </a:lnTo>
                  <a:lnTo>
                    <a:pt x="1608" y="306"/>
                  </a:lnTo>
                  <a:lnTo>
                    <a:pt x="1608" y="318"/>
                  </a:lnTo>
                  <a:lnTo>
                    <a:pt x="1608" y="324"/>
                  </a:lnTo>
                  <a:lnTo>
                    <a:pt x="1614" y="330"/>
                  </a:lnTo>
                  <a:lnTo>
                    <a:pt x="1614" y="336"/>
                  </a:lnTo>
                  <a:lnTo>
                    <a:pt x="1614" y="342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08" y="390"/>
                  </a:lnTo>
                  <a:lnTo>
                    <a:pt x="1602" y="390"/>
                  </a:lnTo>
                  <a:lnTo>
                    <a:pt x="1602" y="396"/>
                  </a:lnTo>
                  <a:lnTo>
                    <a:pt x="1584" y="420"/>
                  </a:lnTo>
                  <a:lnTo>
                    <a:pt x="1584" y="426"/>
                  </a:lnTo>
                  <a:lnTo>
                    <a:pt x="1602" y="474"/>
                  </a:lnTo>
                  <a:lnTo>
                    <a:pt x="1608" y="480"/>
                  </a:lnTo>
                  <a:lnTo>
                    <a:pt x="1608" y="486"/>
                  </a:lnTo>
                  <a:lnTo>
                    <a:pt x="1614" y="486"/>
                  </a:lnTo>
                  <a:lnTo>
                    <a:pt x="1608" y="504"/>
                  </a:lnTo>
                  <a:lnTo>
                    <a:pt x="1572" y="504"/>
                  </a:lnTo>
                  <a:lnTo>
                    <a:pt x="1560" y="510"/>
                  </a:lnTo>
                  <a:lnTo>
                    <a:pt x="1554" y="522"/>
                  </a:lnTo>
                  <a:lnTo>
                    <a:pt x="1560" y="552"/>
                  </a:lnTo>
                  <a:lnTo>
                    <a:pt x="1566" y="552"/>
                  </a:lnTo>
                  <a:lnTo>
                    <a:pt x="1566" y="558"/>
                  </a:lnTo>
                  <a:lnTo>
                    <a:pt x="1572" y="558"/>
                  </a:lnTo>
                  <a:lnTo>
                    <a:pt x="1578" y="558"/>
                  </a:lnTo>
                  <a:lnTo>
                    <a:pt x="1578" y="552"/>
                  </a:lnTo>
                  <a:lnTo>
                    <a:pt x="1584" y="552"/>
                  </a:lnTo>
                  <a:lnTo>
                    <a:pt x="1590" y="552"/>
                  </a:lnTo>
                  <a:lnTo>
                    <a:pt x="1590" y="546"/>
                  </a:lnTo>
                  <a:lnTo>
                    <a:pt x="1596" y="546"/>
                  </a:lnTo>
                  <a:lnTo>
                    <a:pt x="1602" y="552"/>
                  </a:lnTo>
                  <a:lnTo>
                    <a:pt x="1602" y="546"/>
                  </a:lnTo>
                  <a:lnTo>
                    <a:pt x="1608" y="546"/>
                  </a:lnTo>
                  <a:lnTo>
                    <a:pt x="1608" y="552"/>
                  </a:lnTo>
                  <a:lnTo>
                    <a:pt x="1614" y="552"/>
                  </a:lnTo>
                  <a:lnTo>
                    <a:pt x="1614" y="546"/>
                  </a:lnTo>
                  <a:lnTo>
                    <a:pt x="1620" y="552"/>
                  </a:lnTo>
                  <a:lnTo>
                    <a:pt x="1626" y="552"/>
                  </a:lnTo>
                  <a:lnTo>
                    <a:pt x="1626" y="558"/>
                  </a:lnTo>
                  <a:lnTo>
                    <a:pt x="1632" y="558"/>
                  </a:lnTo>
                  <a:lnTo>
                    <a:pt x="1638" y="558"/>
                  </a:lnTo>
                  <a:lnTo>
                    <a:pt x="1644" y="558"/>
                  </a:lnTo>
                  <a:lnTo>
                    <a:pt x="1650" y="558"/>
                  </a:lnTo>
                  <a:lnTo>
                    <a:pt x="1650" y="564"/>
                  </a:lnTo>
                  <a:lnTo>
                    <a:pt x="1656" y="564"/>
                  </a:lnTo>
                  <a:lnTo>
                    <a:pt x="1662" y="564"/>
                  </a:lnTo>
                  <a:lnTo>
                    <a:pt x="1668" y="564"/>
                  </a:lnTo>
                  <a:lnTo>
                    <a:pt x="1668" y="570"/>
                  </a:lnTo>
                  <a:lnTo>
                    <a:pt x="1674" y="570"/>
                  </a:lnTo>
                  <a:lnTo>
                    <a:pt x="1680" y="570"/>
                  </a:lnTo>
                  <a:lnTo>
                    <a:pt x="1686" y="576"/>
                  </a:lnTo>
                  <a:lnTo>
                    <a:pt x="1686" y="582"/>
                  </a:lnTo>
                  <a:lnTo>
                    <a:pt x="1710" y="588"/>
                  </a:lnTo>
                  <a:lnTo>
                    <a:pt x="1710" y="594"/>
                  </a:lnTo>
                  <a:lnTo>
                    <a:pt x="1704" y="600"/>
                  </a:lnTo>
                  <a:lnTo>
                    <a:pt x="1710" y="624"/>
                  </a:lnTo>
                  <a:lnTo>
                    <a:pt x="1698" y="672"/>
                  </a:lnTo>
                  <a:lnTo>
                    <a:pt x="1704" y="678"/>
                  </a:lnTo>
                  <a:lnTo>
                    <a:pt x="1716" y="684"/>
                  </a:lnTo>
                  <a:lnTo>
                    <a:pt x="1716" y="678"/>
                  </a:lnTo>
                  <a:lnTo>
                    <a:pt x="1716" y="684"/>
                  </a:lnTo>
                  <a:lnTo>
                    <a:pt x="1728" y="684"/>
                  </a:lnTo>
                  <a:lnTo>
                    <a:pt x="1728" y="690"/>
                  </a:lnTo>
                  <a:lnTo>
                    <a:pt x="1734" y="696"/>
                  </a:lnTo>
                  <a:lnTo>
                    <a:pt x="1734" y="702"/>
                  </a:lnTo>
                  <a:lnTo>
                    <a:pt x="1740" y="708"/>
                  </a:lnTo>
                  <a:lnTo>
                    <a:pt x="1740" y="714"/>
                  </a:lnTo>
                  <a:lnTo>
                    <a:pt x="1710" y="714"/>
                  </a:lnTo>
                  <a:lnTo>
                    <a:pt x="1710" y="756"/>
                  </a:lnTo>
                  <a:lnTo>
                    <a:pt x="1704" y="762"/>
                  </a:lnTo>
                  <a:lnTo>
                    <a:pt x="1698" y="762"/>
                  </a:lnTo>
                  <a:lnTo>
                    <a:pt x="1698" y="768"/>
                  </a:lnTo>
                  <a:lnTo>
                    <a:pt x="1698" y="774"/>
                  </a:lnTo>
                  <a:lnTo>
                    <a:pt x="1692" y="780"/>
                  </a:lnTo>
                  <a:lnTo>
                    <a:pt x="1692" y="786"/>
                  </a:lnTo>
                  <a:lnTo>
                    <a:pt x="1686" y="786"/>
                  </a:lnTo>
                  <a:lnTo>
                    <a:pt x="1668" y="798"/>
                  </a:lnTo>
                  <a:lnTo>
                    <a:pt x="1662" y="810"/>
                  </a:lnTo>
                  <a:lnTo>
                    <a:pt x="1650" y="810"/>
                  </a:lnTo>
                  <a:lnTo>
                    <a:pt x="1644" y="816"/>
                  </a:lnTo>
                  <a:lnTo>
                    <a:pt x="1638" y="816"/>
                  </a:lnTo>
                  <a:lnTo>
                    <a:pt x="1626" y="852"/>
                  </a:lnTo>
                  <a:lnTo>
                    <a:pt x="1620" y="888"/>
                  </a:lnTo>
                  <a:lnTo>
                    <a:pt x="1626" y="888"/>
                  </a:lnTo>
                  <a:lnTo>
                    <a:pt x="1638" y="912"/>
                  </a:lnTo>
                  <a:lnTo>
                    <a:pt x="1644" y="918"/>
                  </a:lnTo>
                  <a:lnTo>
                    <a:pt x="1650" y="966"/>
                  </a:lnTo>
                  <a:lnTo>
                    <a:pt x="1626" y="972"/>
                  </a:lnTo>
                  <a:lnTo>
                    <a:pt x="1608" y="978"/>
                  </a:lnTo>
                  <a:lnTo>
                    <a:pt x="1614" y="984"/>
                  </a:lnTo>
                  <a:lnTo>
                    <a:pt x="1620" y="984"/>
                  </a:lnTo>
                  <a:lnTo>
                    <a:pt x="1620" y="1020"/>
                  </a:lnTo>
                  <a:lnTo>
                    <a:pt x="1614" y="1038"/>
                  </a:lnTo>
                  <a:lnTo>
                    <a:pt x="1620" y="1044"/>
                  </a:lnTo>
                  <a:lnTo>
                    <a:pt x="1626" y="1056"/>
                  </a:lnTo>
                  <a:lnTo>
                    <a:pt x="1626" y="1074"/>
                  </a:lnTo>
                  <a:lnTo>
                    <a:pt x="1620" y="1080"/>
                  </a:lnTo>
                  <a:lnTo>
                    <a:pt x="1620" y="1104"/>
                  </a:lnTo>
                  <a:lnTo>
                    <a:pt x="1620" y="1110"/>
                  </a:lnTo>
                  <a:lnTo>
                    <a:pt x="1614" y="1116"/>
                  </a:lnTo>
                  <a:lnTo>
                    <a:pt x="1608" y="1140"/>
                  </a:lnTo>
                  <a:lnTo>
                    <a:pt x="1602" y="1146"/>
                  </a:lnTo>
                  <a:lnTo>
                    <a:pt x="1602" y="1164"/>
                  </a:lnTo>
                  <a:lnTo>
                    <a:pt x="1596" y="1170"/>
                  </a:lnTo>
                  <a:lnTo>
                    <a:pt x="1590" y="1164"/>
                  </a:lnTo>
                  <a:lnTo>
                    <a:pt x="1584" y="1164"/>
                  </a:lnTo>
                  <a:lnTo>
                    <a:pt x="1578" y="1164"/>
                  </a:lnTo>
                  <a:lnTo>
                    <a:pt x="1578" y="1188"/>
                  </a:lnTo>
                  <a:lnTo>
                    <a:pt x="1584" y="1194"/>
                  </a:lnTo>
                  <a:lnTo>
                    <a:pt x="1590" y="1194"/>
                  </a:lnTo>
                  <a:lnTo>
                    <a:pt x="1590" y="1212"/>
                  </a:lnTo>
                  <a:lnTo>
                    <a:pt x="1584" y="1212"/>
                  </a:lnTo>
                  <a:lnTo>
                    <a:pt x="1584" y="1224"/>
                  </a:lnTo>
                  <a:lnTo>
                    <a:pt x="1578" y="1224"/>
                  </a:lnTo>
                  <a:lnTo>
                    <a:pt x="1578" y="1236"/>
                  </a:lnTo>
                  <a:lnTo>
                    <a:pt x="1584" y="1254"/>
                  </a:lnTo>
                  <a:lnTo>
                    <a:pt x="1584" y="1260"/>
                  </a:lnTo>
                  <a:lnTo>
                    <a:pt x="1590" y="1260"/>
                  </a:lnTo>
                  <a:lnTo>
                    <a:pt x="1590" y="1266"/>
                  </a:lnTo>
                  <a:lnTo>
                    <a:pt x="1596" y="1284"/>
                  </a:lnTo>
                  <a:lnTo>
                    <a:pt x="1602" y="1278"/>
                  </a:lnTo>
                  <a:lnTo>
                    <a:pt x="1608" y="1284"/>
                  </a:lnTo>
                  <a:lnTo>
                    <a:pt x="1632" y="1350"/>
                  </a:lnTo>
                  <a:lnTo>
                    <a:pt x="1638" y="1356"/>
                  </a:lnTo>
                  <a:lnTo>
                    <a:pt x="1644" y="1356"/>
                  </a:lnTo>
                  <a:lnTo>
                    <a:pt x="1650" y="1356"/>
                  </a:lnTo>
                  <a:lnTo>
                    <a:pt x="1656" y="1356"/>
                  </a:lnTo>
                  <a:lnTo>
                    <a:pt x="1662" y="1362"/>
                  </a:lnTo>
                  <a:lnTo>
                    <a:pt x="1668" y="1356"/>
                  </a:lnTo>
                  <a:lnTo>
                    <a:pt x="1668" y="1380"/>
                  </a:lnTo>
                  <a:lnTo>
                    <a:pt x="1662" y="1392"/>
                  </a:lnTo>
                  <a:lnTo>
                    <a:pt x="1656" y="1404"/>
                  </a:lnTo>
                  <a:lnTo>
                    <a:pt x="1656" y="1410"/>
                  </a:lnTo>
                  <a:lnTo>
                    <a:pt x="1656" y="1416"/>
                  </a:lnTo>
                  <a:lnTo>
                    <a:pt x="1650" y="1422"/>
                  </a:lnTo>
                  <a:lnTo>
                    <a:pt x="1650" y="1428"/>
                  </a:lnTo>
                  <a:lnTo>
                    <a:pt x="1644" y="1428"/>
                  </a:lnTo>
                  <a:lnTo>
                    <a:pt x="1644" y="1434"/>
                  </a:lnTo>
                  <a:lnTo>
                    <a:pt x="1638" y="1434"/>
                  </a:lnTo>
                  <a:lnTo>
                    <a:pt x="1638" y="1440"/>
                  </a:lnTo>
                  <a:lnTo>
                    <a:pt x="1632" y="1440"/>
                  </a:lnTo>
                  <a:lnTo>
                    <a:pt x="1638" y="145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8" name="Freeform 13">
              <a:extLst>
                <a:ext uri="{FF2B5EF4-FFF2-40B4-BE49-F238E27FC236}">
                  <a16:creationId xmlns:a16="http://schemas.microsoft.com/office/drawing/2014/main" id="{66308D9B-1739-4227-AAC3-BB866CD1F5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63374" y="2969626"/>
              <a:ext cx="330956" cy="357840"/>
            </a:xfrm>
            <a:custGeom>
              <a:avLst/>
              <a:gdLst>
                <a:gd name="T0" fmla="*/ 11 w 624"/>
                <a:gd name="T1" fmla="*/ 59 h 672"/>
                <a:gd name="T2" fmla="*/ 4 w 624"/>
                <a:gd name="T3" fmla="*/ 58 h 672"/>
                <a:gd name="T4" fmla="*/ 3 w 624"/>
                <a:gd name="T5" fmla="*/ 58 h 672"/>
                <a:gd name="T6" fmla="*/ 2 w 624"/>
                <a:gd name="T7" fmla="*/ 11 h 672"/>
                <a:gd name="T8" fmla="*/ 13 w 624"/>
                <a:gd name="T9" fmla="*/ 11 h 672"/>
                <a:gd name="T10" fmla="*/ 14 w 624"/>
                <a:gd name="T11" fmla="*/ 11 h 672"/>
                <a:gd name="T12" fmla="*/ 15 w 624"/>
                <a:gd name="T13" fmla="*/ 12 h 672"/>
                <a:gd name="T14" fmla="*/ 18 w 624"/>
                <a:gd name="T15" fmla="*/ 14 h 672"/>
                <a:gd name="T16" fmla="*/ 21 w 624"/>
                <a:gd name="T17" fmla="*/ 16 h 672"/>
                <a:gd name="T18" fmla="*/ 22 w 624"/>
                <a:gd name="T19" fmla="*/ 18 h 672"/>
                <a:gd name="T20" fmla="*/ 23 w 624"/>
                <a:gd name="T21" fmla="*/ 19 h 672"/>
                <a:gd name="T22" fmla="*/ 24 w 624"/>
                <a:gd name="T23" fmla="*/ 19 h 672"/>
                <a:gd name="T24" fmla="*/ 26 w 624"/>
                <a:gd name="T25" fmla="*/ 19 h 672"/>
                <a:gd name="T26" fmla="*/ 27 w 624"/>
                <a:gd name="T27" fmla="*/ 18 h 672"/>
                <a:gd name="T28" fmla="*/ 29 w 624"/>
                <a:gd name="T29" fmla="*/ 15 h 672"/>
                <a:gd name="T30" fmla="*/ 30 w 624"/>
                <a:gd name="T31" fmla="*/ 14 h 672"/>
                <a:gd name="T32" fmla="*/ 31 w 624"/>
                <a:gd name="T33" fmla="*/ 12 h 672"/>
                <a:gd name="T34" fmla="*/ 32 w 624"/>
                <a:gd name="T35" fmla="*/ 12 h 672"/>
                <a:gd name="T36" fmla="*/ 33 w 624"/>
                <a:gd name="T37" fmla="*/ 10 h 672"/>
                <a:gd name="T38" fmla="*/ 34 w 624"/>
                <a:gd name="T39" fmla="*/ 8 h 672"/>
                <a:gd name="T40" fmla="*/ 34 w 624"/>
                <a:gd name="T41" fmla="*/ 6 h 672"/>
                <a:gd name="T42" fmla="*/ 35 w 624"/>
                <a:gd name="T43" fmla="*/ 4 h 672"/>
                <a:gd name="T44" fmla="*/ 42 w 624"/>
                <a:gd name="T45" fmla="*/ 3 h 672"/>
                <a:gd name="T46" fmla="*/ 44 w 624"/>
                <a:gd name="T47" fmla="*/ 2 h 672"/>
                <a:gd name="T48" fmla="*/ 46 w 624"/>
                <a:gd name="T49" fmla="*/ 0 h 672"/>
                <a:gd name="T50" fmla="*/ 51 w 624"/>
                <a:gd name="T51" fmla="*/ 3 h 672"/>
                <a:gd name="T52" fmla="*/ 54 w 624"/>
                <a:gd name="T53" fmla="*/ 6 h 672"/>
                <a:gd name="T54" fmla="*/ 54 w 624"/>
                <a:gd name="T55" fmla="*/ 8 h 672"/>
                <a:gd name="T56" fmla="*/ 52 w 624"/>
                <a:gd name="T57" fmla="*/ 9 h 672"/>
                <a:gd name="T58" fmla="*/ 49 w 624"/>
                <a:gd name="T59" fmla="*/ 11 h 672"/>
                <a:gd name="T60" fmla="*/ 48 w 624"/>
                <a:gd name="T61" fmla="*/ 14 h 672"/>
                <a:gd name="T62" fmla="*/ 46 w 624"/>
                <a:gd name="T63" fmla="*/ 22 h 672"/>
                <a:gd name="T64" fmla="*/ 45 w 624"/>
                <a:gd name="T65" fmla="*/ 39 h 672"/>
                <a:gd name="T66" fmla="*/ 43 w 624"/>
                <a:gd name="T67" fmla="*/ 43 h 672"/>
                <a:gd name="T68" fmla="*/ 39 w 624"/>
                <a:gd name="T69" fmla="*/ 50 h 672"/>
                <a:gd name="T70" fmla="*/ 36 w 624"/>
                <a:gd name="T71" fmla="*/ 53 h 672"/>
                <a:gd name="T72" fmla="*/ 32 w 624"/>
                <a:gd name="T73" fmla="*/ 56 h 672"/>
                <a:gd name="T74" fmla="*/ 30 w 624"/>
                <a:gd name="T75" fmla="*/ 58 h 672"/>
                <a:gd name="T76" fmla="*/ 20 w 624"/>
                <a:gd name="T77" fmla="*/ 59 h 672"/>
                <a:gd name="T78" fmla="*/ 15 w 624"/>
                <a:gd name="T79" fmla="*/ 59 h 67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24"/>
                <a:gd name="T121" fmla="*/ 0 h 672"/>
                <a:gd name="T122" fmla="*/ 624 w 624"/>
                <a:gd name="T123" fmla="*/ 672 h 67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24" h="672">
                  <a:moveTo>
                    <a:pt x="168" y="672"/>
                  </a:moveTo>
                  <a:lnTo>
                    <a:pt x="132" y="672"/>
                  </a:lnTo>
                  <a:lnTo>
                    <a:pt x="72" y="666"/>
                  </a:lnTo>
                  <a:lnTo>
                    <a:pt x="42" y="666"/>
                  </a:lnTo>
                  <a:lnTo>
                    <a:pt x="36" y="666"/>
                  </a:lnTo>
                  <a:lnTo>
                    <a:pt x="30" y="660"/>
                  </a:lnTo>
                  <a:lnTo>
                    <a:pt x="0" y="660"/>
                  </a:lnTo>
                  <a:lnTo>
                    <a:pt x="24" y="120"/>
                  </a:lnTo>
                  <a:lnTo>
                    <a:pt x="60" y="120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62" y="120"/>
                  </a:lnTo>
                  <a:lnTo>
                    <a:pt x="168" y="120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10" y="156"/>
                  </a:lnTo>
                  <a:lnTo>
                    <a:pt x="222" y="174"/>
                  </a:lnTo>
                  <a:lnTo>
                    <a:pt x="240" y="186"/>
                  </a:lnTo>
                  <a:lnTo>
                    <a:pt x="252" y="198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216"/>
                  </a:lnTo>
                  <a:lnTo>
                    <a:pt x="270" y="216"/>
                  </a:lnTo>
                  <a:lnTo>
                    <a:pt x="282" y="222"/>
                  </a:lnTo>
                  <a:lnTo>
                    <a:pt x="288" y="222"/>
                  </a:lnTo>
                  <a:lnTo>
                    <a:pt x="294" y="216"/>
                  </a:lnTo>
                  <a:lnTo>
                    <a:pt x="294" y="210"/>
                  </a:lnTo>
                  <a:lnTo>
                    <a:pt x="312" y="204"/>
                  </a:lnTo>
                  <a:lnTo>
                    <a:pt x="330" y="186"/>
                  </a:lnTo>
                  <a:lnTo>
                    <a:pt x="336" y="174"/>
                  </a:lnTo>
                  <a:lnTo>
                    <a:pt x="342" y="162"/>
                  </a:lnTo>
                  <a:lnTo>
                    <a:pt x="342" y="156"/>
                  </a:lnTo>
                  <a:lnTo>
                    <a:pt x="348" y="150"/>
                  </a:lnTo>
                  <a:lnTo>
                    <a:pt x="354" y="144"/>
                  </a:lnTo>
                  <a:lnTo>
                    <a:pt x="360" y="138"/>
                  </a:lnTo>
                  <a:lnTo>
                    <a:pt x="366" y="132"/>
                  </a:lnTo>
                  <a:lnTo>
                    <a:pt x="372" y="114"/>
                  </a:lnTo>
                  <a:lnTo>
                    <a:pt x="378" y="114"/>
                  </a:lnTo>
                  <a:lnTo>
                    <a:pt x="378" y="96"/>
                  </a:lnTo>
                  <a:lnTo>
                    <a:pt x="390" y="96"/>
                  </a:lnTo>
                  <a:lnTo>
                    <a:pt x="396" y="84"/>
                  </a:lnTo>
                  <a:lnTo>
                    <a:pt x="396" y="72"/>
                  </a:lnTo>
                  <a:lnTo>
                    <a:pt x="396" y="54"/>
                  </a:lnTo>
                  <a:lnTo>
                    <a:pt x="408" y="42"/>
                  </a:lnTo>
                  <a:lnTo>
                    <a:pt x="468" y="42"/>
                  </a:lnTo>
                  <a:lnTo>
                    <a:pt x="486" y="36"/>
                  </a:lnTo>
                  <a:lnTo>
                    <a:pt x="492" y="24"/>
                  </a:lnTo>
                  <a:lnTo>
                    <a:pt x="504" y="24"/>
                  </a:lnTo>
                  <a:lnTo>
                    <a:pt x="516" y="6"/>
                  </a:lnTo>
                  <a:lnTo>
                    <a:pt x="528" y="0"/>
                  </a:lnTo>
                  <a:lnTo>
                    <a:pt x="558" y="12"/>
                  </a:lnTo>
                  <a:lnTo>
                    <a:pt x="588" y="36"/>
                  </a:lnTo>
                  <a:lnTo>
                    <a:pt x="600" y="66"/>
                  </a:lnTo>
                  <a:lnTo>
                    <a:pt x="624" y="66"/>
                  </a:lnTo>
                  <a:lnTo>
                    <a:pt x="624" y="90"/>
                  </a:lnTo>
                  <a:lnTo>
                    <a:pt x="618" y="90"/>
                  </a:lnTo>
                  <a:lnTo>
                    <a:pt x="618" y="96"/>
                  </a:lnTo>
                  <a:lnTo>
                    <a:pt x="600" y="102"/>
                  </a:lnTo>
                  <a:lnTo>
                    <a:pt x="588" y="108"/>
                  </a:lnTo>
                  <a:lnTo>
                    <a:pt x="570" y="120"/>
                  </a:lnTo>
                  <a:lnTo>
                    <a:pt x="564" y="138"/>
                  </a:lnTo>
                  <a:lnTo>
                    <a:pt x="558" y="162"/>
                  </a:lnTo>
                  <a:lnTo>
                    <a:pt x="540" y="210"/>
                  </a:lnTo>
                  <a:lnTo>
                    <a:pt x="528" y="252"/>
                  </a:lnTo>
                  <a:lnTo>
                    <a:pt x="528" y="402"/>
                  </a:lnTo>
                  <a:lnTo>
                    <a:pt x="522" y="444"/>
                  </a:lnTo>
                  <a:lnTo>
                    <a:pt x="510" y="468"/>
                  </a:lnTo>
                  <a:lnTo>
                    <a:pt x="498" y="498"/>
                  </a:lnTo>
                  <a:lnTo>
                    <a:pt x="474" y="534"/>
                  </a:lnTo>
                  <a:lnTo>
                    <a:pt x="456" y="570"/>
                  </a:lnTo>
                  <a:lnTo>
                    <a:pt x="444" y="576"/>
                  </a:lnTo>
                  <a:lnTo>
                    <a:pt x="420" y="606"/>
                  </a:lnTo>
                  <a:lnTo>
                    <a:pt x="390" y="624"/>
                  </a:lnTo>
                  <a:lnTo>
                    <a:pt x="372" y="642"/>
                  </a:lnTo>
                  <a:lnTo>
                    <a:pt x="366" y="654"/>
                  </a:lnTo>
                  <a:lnTo>
                    <a:pt x="342" y="660"/>
                  </a:lnTo>
                  <a:lnTo>
                    <a:pt x="300" y="666"/>
                  </a:lnTo>
                  <a:lnTo>
                    <a:pt x="234" y="672"/>
                  </a:lnTo>
                  <a:lnTo>
                    <a:pt x="192" y="672"/>
                  </a:lnTo>
                  <a:lnTo>
                    <a:pt x="168" y="67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9" name="Freeform 14">
              <a:extLst>
                <a:ext uri="{FF2B5EF4-FFF2-40B4-BE49-F238E27FC236}">
                  <a16:creationId xmlns:a16="http://schemas.microsoft.com/office/drawing/2014/main" id="{2EA1E999-9CDF-4391-8BC9-7DE71AF9C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0460" y="2983045"/>
              <a:ext cx="905658" cy="561362"/>
            </a:xfrm>
            <a:custGeom>
              <a:avLst/>
              <a:gdLst>
                <a:gd name="T0" fmla="*/ 31 w 1704"/>
                <a:gd name="T1" fmla="*/ 78 h 1056"/>
                <a:gd name="T2" fmla="*/ 23 w 1704"/>
                <a:gd name="T3" fmla="*/ 78 h 1056"/>
                <a:gd name="T4" fmla="*/ 11 w 1704"/>
                <a:gd name="T5" fmla="*/ 79 h 1056"/>
                <a:gd name="T6" fmla="*/ 1 w 1704"/>
                <a:gd name="T7" fmla="*/ 81 h 1056"/>
                <a:gd name="T8" fmla="*/ 0 w 1704"/>
                <a:gd name="T9" fmla="*/ 62 h 1056"/>
                <a:gd name="T10" fmla="*/ 9 w 1704"/>
                <a:gd name="T11" fmla="*/ 56 h 1056"/>
                <a:gd name="T12" fmla="*/ 27 w 1704"/>
                <a:gd name="T13" fmla="*/ 48 h 1056"/>
                <a:gd name="T14" fmla="*/ 35 w 1704"/>
                <a:gd name="T15" fmla="*/ 20 h 1056"/>
                <a:gd name="T16" fmla="*/ 43 w 1704"/>
                <a:gd name="T17" fmla="*/ 6 h 1056"/>
                <a:gd name="T18" fmla="*/ 47 w 1704"/>
                <a:gd name="T19" fmla="*/ 7 h 1056"/>
                <a:gd name="T20" fmla="*/ 52 w 1704"/>
                <a:gd name="T21" fmla="*/ 0 h 1056"/>
                <a:gd name="T22" fmla="*/ 59 w 1704"/>
                <a:gd name="T23" fmla="*/ 5 h 1056"/>
                <a:gd name="T24" fmla="*/ 63 w 1704"/>
                <a:gd name="T25" fmla="*/ 12 h 1056"/>
                <a:gd name="T26" fmla="*/ 62 w 1704"/>
                <a:gd name="T27" fmla="*/ 15 h 1056"/>
                <a:gd name="T28" fmla="*/ 62 w 1704"/>
                <a:gd name="T29" fmla="*/ 18 h 1056"/>
                <a:gd name="T30" fmla="*/ 70 w 1704"/>
                <a:gd name="T31" fmla="*/ 18 h 1056"/>
                <a:gd name="T32" fmla="*/ 71 w 1704"/>
                <a:gd name="T33" fmla="*/ 14 h 1056"/>
                <a:gd name="T34" fmla="*/ 72 w 1704"/>
                <a:gd name="T35" fmla="*/ 12 h 1056"/>
                <a:gd name="T36" fmla="*/ 78 w 1704"/>
                <a:gd name="T37" fmla="*/ 14 h 1056"/>
                <a:gd name="T38" fmla="*/ 85 w 1704"/>
                <a:gd name="T39" fmla="*/ 21 h 1056"/>
                <a:gd name="T40" fmla="*/ 91 w 1704"/>
                <a:gd name="T41" fmla="*/ 15 h 1056"/>
                <a:gd name="T42" fmla="*/ 93 w 1704"/>
                <a:gd name="T43" fmla="*/ 10 h 1056"/>
                <a:gd name="T44" fmla="*/ 101 w 1704"/>
                <a:gd name="T45" fmla="*/ 14 h 1056"/>
                <a:gd name="T46" fmla="*/ 103 w 1704"/>
                <a:gd name="T47" fmla="*/ 19 h 1056"/>
                <a:gd name="T48" fmla="*/ 115 w 1704"/>
                <a:gd name="T49" fmla="*/ 20 h 1056"/>
                <a:gd name="T50" fmla="*/ 118 w 1704"/>
                <a:gd name="T51" fmla="*/ 23 h 1056"/>
                <a:gd name="T52" fmla="*/ 117 w 1704"/>
                <a:gd name="T53" fmla="*/ 27 h 1056"/>
                <a:gd name="T54" fmla="*/ 111 w 1704"/>
                <a:gd name="T55" fmla="*/ 33 h 1056"/>
                <a:gd name="T56" fmla="*/ 108 w 1704"/>
                <a:gd name="T57" fmla="*/ 36 h 1056"/>
                <a:gd name="T58" fmla="*/ 109 w 1704"/>
                <a:gd name="T59" fmla="*/ 40 h 1056"/>
                <a:gd name="T60" fmla="*/ 111 w 1704"/>
                <a:gd name="T61" fmla="*/ 43 h 1056"/>
                <a:gd name="T62" fmla="*/ 113 w 1704"/>
                <a:gd name="T63" fmla="*/ 50 h 1056"/>
                <a:gd name="T64" fmla="*/ 121 w 1704"/>
                <a:gd name="T65" fmla="*/ 55 h 1056"/>
                <a:gd name="T66" fmla="*/ 132 w 1704"/>
                <a:gd name="T67" fmla="*/ 52 h 1056"/>
                <a:gd name="T68" fmla="*/ 148 w 1704"/>
                <a:gd name="T69" fmla="*/ 58 h 1056"/>
                <a:gd name="T70" fmla="*/ 148 w 1704"/>
                <a:gd name="T71" fmla="*/ 61 h 1056"/>
                <a:gd name="T72" fmla="*/ 148 w 1704"/>
                <a:gd name="T73" fmla="*/ 64 h 1056"/>
                <a:gd name="T74" fmla="*/ 135 w 1704"/>
                <a:gd name="T75" fmla="*/ 61 h 1056"/>
                <a:gd name="T76" fmla="*/ 135 w 1704"/>
                <a:gd name="T77" fmla="*/ 66 h 1056"/>
                <a:gd name="T78" fmla="*/ 137 w 1704"/>
                <a:gd name="T79" fmla="*/ 71 h 1056"/>
                <a:gd name="T80" fmla="*/ 136 w 1704"/>
                <a:gd name="T81" fmla="*/ 79 h 1056"/>
                <a:gd name="T82" fmla="*/ 126 w 1704"/>
                <a:gd name="T83" fmla="*/ 84 h 1056"/>
                <a:gd name="T84" fmla="*/ 121 w 1704"/>
                <a:gd name="T85" fmla="*/ 79 h 1056"/>
                <a:gd name="T86" fmla="*/ 117 w 1704"/>
                <a:gd name="T87" fmla="*/ 75 h 1056"/>
                <a:gd name="T88" fmla="*/ 98 w 1704"/>
                <a:gd name="T89" fmla="*/ 74 h 1056"/>
                <a:gd name="T90" fmla="*/ 81 w 1704"/>
                <a:gd name="T91" fmla="*/ 75 h 1056"/>
                <a:gd name="T92" fmla="*/ 83 w 1704"/>
                <a:gd name="T93" fmla="*/ 88 h 1056"/>
                <a:gd name="T94" fmla="*/ 82 w 1704"/>
                <a:gd name="T95" fmla="*/ 91 h 1056"/>
                <a:gd name="T96" fmla="*/ 77 w 1704"/>
                <a:gd name="T97" fmla="*/ 90 h 1056"/>
                <a:gd name="T98" fmla="*/ 73 w 1704"/>
                <a:gd name="T99" fmla="*/ 86 h 1056"/>
                <a:gd name="T100" fmla="*/ 68 w 1704"/>
                <a:gd name="T101" fmla="*/ 85 h 1056"/>
                <a:gd name="T102" fmla="*/ 64 w 1704"/>
                <a:gd name="T103" fmla="*/ 83 h 1056"/>
                <a:gd name="T104" fmla="*/ 57 w 1704"/>
                <a:gd name="T105" fmla="*/ 81 h 1056"/>
                <a:gd name="T106" fmla="*/ 52 w 1704"/>
                <a:gd name="T107" fmla="*/ 80 h 1056"/>
                <a:gd name="T108" fmla="*/ 50 w 1704"/>
                <a:gd name="T109" fmla="*/ 80 h 1056"/>
                <a:gd name="T110" fmla="*/ 46 w 1704"/>
                <a:gd name="T111" fmla="*/ 79 h 1056"/>
                <a:gd name="T112" fmla="*/ 41 w 1704"/>
                <a:gd name="T113" fmla="*/ 78 h 10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04"/>
                <a:gd name="T172" fmla="*/ 0 h 1056"/>
                <a:gd name="T173" fmla="*/ 1704 w 1704"/>
                <a:gd name="T174" fmla="*/ 1056 h 10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04" h="1056">
                  <a:moveTo>
                    <a:pt x="450" y="888"/>
                  </a:moveTo>
                  <a:lnTo>
                    <a:pt x="420" y="888"/>
                  </a:lnTo>
                  <a:lnTo>
                    <a:pt x="414" y="888"/>
                  </a:lnTo>
                  <a:lnTo>
                    <a:pt x="396" y="888"/>
                  </a:lnTo>
                  <a:lnTo>
                    <a:pt x="372" y="888"/>
                  </a:lnTo>
                  <a:lnTo>
                    <a:pt x="366" y="888"/>
                  </a:lnTo>
                  <a:lnTo>
                    <a:pt x="360" y="888"/>
                  </a:lnTo>
                  <a:lnTo>
                    <a:pt x="348" y="888"/>
                  </a:lnTo>
                  <a:lnTo>
                    <a:pt x="330" y="894"/>
                  </a:lnTo>
                  <a:lnTo>
                    <a:pt x="324" y="894"/>
                  </a:lnTo>
                  <a:lnTo>
                    <a:pt x="312" y="888"/>
                  </a:lnTo>
                  <a:lnTo>
                    <a:pt x="300" y="888"/>
                  </a:lnTo>
                  <a:lnTo>
                    <a:pt x="282" y="888"/>
                  </a:lnTo>
                  <a:lnTo>
                    <a:pt x="270" y="888"/>
                  </a:lnTo>
                  <a:lnTo>
                    <a:pt x="240" y="882"/>
                  </a:lnTo>
                  <a:lnTo>
                    <a:pt x="222" y="882"/>
                  </a:lnTo>
                  <a:lnTo>
                    <a:pt x="198" y="882"/>
                  </a:lnTo>
                  <a:lnTo>
                    <a:pt x="174" y="894"/>
                  </a:lnTo>
                  <a:lnTo>
                    <a:pt x="162" y="900"/>
                  </a:lnTo>
                  <a:lnTo>
                    <a:pt x="144" y="906"/>
                  </a:lnTo>
                  <a:lnTo>
                    <a:pt x="126" y="912"/>
                  </a:lnTo>
                  <a:lnTo>
                    <a:pt x="102" y="924"/>
                  </a:lnTo>
                  <a:lnTo>
                    <a:pt x="78" y="930"/>
                  </a:lnTo>
                  <a:lnTo>
                    <a:pt x="72" y="936"/>
                  </a:lnTo>
                  <a:lnTo>
                    <a:pt x="30" y="954"/>
                  </a:lnTo>
                  <a:lnTo>
                    <a:pt x="12" y="966"/>
                  </a:lnTo>
                  <a:lnTo>
                    <a:pt x="12" y="954"/>
                  </a:lnTo>
                  <a:lnTo>
                    <a:pt x="12" y="930"/>
                  </a:lnTo>
                  <a:lnTo>
                    <a:pt x="12" y="894"/>
                  </a:lnTo>
                  <a:lnTo>
                    <a:pt x="30" y="828"/>
                  </a:lnTo>
                  <a:lnTo>
                    <a:pt x="36" y="798"/>
                  </a:lnTo>
                  <a:lnTo>
                    <a:pt x="18" y="774"/>
                  </a:lnTo>
                  <a:lnTo>
                    <a:pt x="18" y="756"/>
                  </a:lnTo>
                  <a:lnTo>
                    <a:pt x="6" y="738"/>
                  </a:lnTo>
                  <a:lnTo>
                    <a:pt x="0" y="714"/>
                  </a:lnTo>
                  <a:lnTo>
                    <a:pt x="12" y="678"/>
                  </a:lnTo>
                  <a:lnTo>
                    <a:pt x="18" y="678"/>
                  </a:lnTo>
                  <a:lnTo>
                    <a:pt x="24" y="672"/>
                  </a:lnTo>
                  <a:lnTo>
                    <a:pt x="30" y="666"/>
                  </a:lnTo>
                  <a:lnTo>
                    <a:pt x="42" y="648"/>
                  </a:lnTo>
                  <a:lnTo>
                    <a:pt x="66" y="648"/>
                  </a:lnTo>
                  <a:lnTo>
                    <a:pt x="108" y="648"/>
                  </a:lnTo>
                  <a:lnTo>
                    <a:pt x="174" y="642"/>
                  </a:lnTo>
                  <a:lnTo>
                    <a:pt x="216" y="636"/>
                  </a:lnTo>
                  <a:lnTo>
                    <a:pt x="240" y="630"/>
                  </a:lnTo>
                  <a:lnTo>
                    <a:pt x="246" y="618"/>
                  </a:lnTo>
                  <a:lnTo>
                    <a:pt x="264" y="600"/>
                  </a:lnTo>
                  <a:lnTo>
                    <a:pt x="294" y="582"/>
                  </a:lnTo>
                  <a:lnTo>
                    <a:pt x="318" y="552"/>
                  </a:lnTo>
                  <a:lnTo>
                    <a:pt x="330" y="546"/>
                  </a:lnTo>
                  <a:lnTo>
                    <a:pt x="348" y="510"/>
                  </a:lnTo>
                  <a:lnTo>
                    <a:pt x="372" y="474"/>
                  </a:lnTo>
                  <a:lnTo>
                    <a:pt x="384" y="444"/>
                  </a:lnTo>
                  <a:lnTo>
                    <a:pt x="396" y="420"/>
                  </a:lnTo>
                  <a:lnTo>
                    <a:pt x="402" y="378"/>
                  </a:lnTo>
                  <a:lnTo>
                    <a:pt x="402" y="228"/>
                  </a:lnTo>
                  <a:lnTo>
                    <a:pt x="414" y="186"/>
                  </a:lnTo>
                  <a:lnTo>
                    <a:pt x="432" y="138"/>
                  </a:lnTo>
                  <a:lnTo>
                    <a:pt x="438" y="114"/>
                  </a:lnTo>
                  <a:lnTo>
                    <a:pt x="444" y="96"/>
                  </a:lnTo>
                  <a:lnTo>
                    <a:pt x="462" y="84"/>
                  </a:lnTo>
                  <a:lnTo>
                    <a:pt x="474" y="78"/>
                  </a:lnTo>
                  <a:lnTo>
                    <a:pt x="492" y="72"/>
                  </a:lnTo>
                  <a:lnTo>
                    <a:pt x="492" y="66"/>
                  </a:lnTo>
                  <a:lnTo>
                    <a:pt x="498" y="66"/>
                  </a:lnTo>
                  <a:lnTo>
                    <a:pt x="510" y="66"/>
                  </a:lnTo>
                  <a:lnTo>
                    <a:pt x="510" y="72"/>
                  </a:lnTo>
                  <a:lnTo>
                    <a:pt x="516" y="72"/>
                  </a:lnTo>
                  <a:lnTo>
                    <a:pt x="522" y="78"/>
                  </a:lnTo>
                  <a:lnTo>
                    <a:pt x="546" y="78"/>
                  </a:lnTo>
                  <a:lnTo>
                    <a:pt x="552" y="60"/>
                  </a:lnTo>
                  <a:lnTo>
                    <a:pt x="570" y="42"/>
                  </a:lnTo>
                  <a:lnTo>
                    <a:pt x="576" y="24"/>
                  </a:lnTo>
                  <a:lnTo>
                    <a:pt x="588" y="18"/>
                  </a:lnTo>
                  <a:lnTo>
                    <a:pt x="588" y="12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624" y="0"/>
                  </a:lnTo>
                  <a:lnTo>
                    <a:pt x="636" y="6"/>
                  </a:lnTo>
                  <a:lnTo>
                    <a:pt x="648" y="24"/>
                  </a:lnTo>
                  <a:lnTo>
                    <a:pt x="654" y="48"/>
                  </a:lnTo>
                  <a:lnTo>
                    <a:pt x="672" y="60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0" y="72"/>
                  </a:lnTo>
                  <a:lnTo>
                    <a:pt x="690" y="78"/>
                  </a:lnTo>
                  <a:lnTo>
                    <a:pt x="696" y="90"/>
                  </a:lnTo>
                  <a:lnTo>
                    <a:pt x="714" y="114"/>
                  </a:lnTo>
                  <a:lnTo>
                    <a:pt x="714" y="120"/>
                  </a:lnTo>
                  <a:lnTo>
                    <a:pt x="720" y="132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20" y="150"/>
                  </a:lnTo>
                  <a:lnTo>
                    <a:pt x="714" y="150"/>
                  </a:lnTo>
                  <a:lnTo>
                    <a:pt x="714" y="156"/>
                  </a:lnTo>
                  <a:lnTo>
                    <a:pt x="714" y="162"/>
                  </a:lnTo>
                  <a:lnTo>
                    <a:pt x="708" y="162"/>
                  </a:lnTo>
                  <a:lnTo>
                    <a:pt x="708" y="168"/>
                  </a:lnTo>
                  <a:lnTo>
                    <a:pt x="702" y="168"/>
                  </a:lnTo>
                  <a:lnTo>
                    <a:pt x="702" y="174"/>
                  </a:lnTo>
                  <a:lnTo>
                    <a:pt x="702" y="180"/>
                  </a:lnTo>
                  <a:lnTo>
                    <a:pt x="708" y="180"/>
                  </a:lnTo>
                  <a:lnTo>
                    <a:pt x="708" y="186"/>
                  </a:lnTo>
                  <a:lnTo>
                    <a:pt x="708" y="192"/>
                  </a:lnTo>
                  <a:lnTo>
                    <a:pt x="714" y="204"/>
                  </a:lnTo>
                  <a:lnTo>
                    <a:pt x="726" y="216"/>
                  </a:lnTo>
                  <a:lnTo>
                    <a:pt x="738" y="216"/>
                  </a:lnTo>
                  <a:lnTo>
                    <a:pt x="768" y="222"/>
                  </a:lnTo>
                  <a:lnTo>
                    <a:pt x="780" y="216"/>
                  </a:lnTo>
                  <a:lnTo>
                    <a:pt x="792" y="204"/>
                  </a:lnTo>
                  <a:lnTo>
                    <a:pt x="798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6" y="192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6" y="174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22" y="156"/>
                  </a:lnTo>
                  <a:lnTo>
                    <a:pt x="822" y="150"/>
                  </a:lnTo>
                  <a:lnTo>
                    <a:pt x="828" y="144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8" y="138"/>
                  </a:lnTo>
                  <a:lnTo>
                    <a:pt x="834" y="132"/>
                  </a:lnTo>
                  <a:lnTo>
                    <a:pt x="840" y="132"/>
                  </a:lnTo>
                  <a:lnTo>
                    <a:pt x="864" y="126"/>
                  </a:lnTo>
                  <a:lnTo>
                    <a:pt x="906" y="144"/>
                  </a:lnTo>
                  <a:lnTo>
                    <a:pt x="906" y="150"/>
                  </a:lnTo>
                  <a:lnTo>
                    <a:pt x="906" y="156"/>
                  </a:lnTo>
                  <a:lnTo>
                    <a:pt x="900" y="162"/>
                  </a:lnTo>
                  <a:lnTo>
                    <a:pt x="924" y="168"/>
                  </a:lnTo>
                  <a:lnTo>
                    <a:pt x="942" y="192"/>
                  </a:lnTo>
                  <a:lnTo>
                    <a:pt x="972" y="210"/>
                  </a:lnTo>
                  <a:lnTo>
                    <a:pt x="972" y="216"/>
                  </a:lnTo>
                  <a:lnTo>
                    <a:pt x="972" y="228"/>
                  </a:lnTo>
                  <a:lnTo>
                    <a:pt x="978" y="234"/>
                  </a:lnTo>
                  <a:lnTo>
                    <a:pt x="978" y="246"/>
                  </a:lnTo>
                  <a:lnTo>
                    <a:pt x="984" y="252"/>
                  </a:lnTo>
                  <a:lnTo>
                    <a:pt x="1014" y="252"/>
                  </a:lnTo>
                  <a:lnTo>
                    <a:pt x="1020" y="228"/>
                  </a:lnTo>
                  <a:lnTo>
                    <a:pt x="1026" y="198"/>
                  </a:lnTo>
                  <a:lnTo>
                    <a:pt x="1050" y="186"/>
                  </a:lnTo>
                  <a:lnTo>
                    <a:pt x="1056" y="180"/>
                  </a:lnTo>
                  <a:lnTo>
                    <a:pt x="1050" y="174"/>
                  </a:lnTo>
                  <a:lnTo>
                    <a:pt x="1050" y="168"/>
                  </a:lnTo>
                  <a:lnTo>
                    <a:pt x="1050" y="162"/>
                  </a:lnTo>
                  <a:lnTo>
                    <a:pt x="1056" y="162"/>
                  </a:lnTo>
                  <a:lnTo>
                    <a:pt x="1062" y="162"/>
                  </a:lnTo>
                  <a:lnTo>
                    <a:pt x="1074" y="162"/>
                  </a:lnTo>
                  <a:lnTo>
                    <a:pt x="1074" y="144"/>
                  </a:lnTo>
                  <a:lnTo>
                    <a:pt x="1074" y="120"/>
                  </a:lnTo>
                  <a:lnTo>
                    <a:pt x="1092" y="120"/>
                  </a:lnTo>
                  <a:lnTo>
                    <a:pt x="1098" y="126"/>
                  </a:lnTo>
                  <a:lnTo>
                    <a:pt x="1134" y="132"/>
                  </a:lnTo>
                  <a:lnTo>
                    <a:pt x="1146" y="132"/>
                  </a:lnTo>
                  <a:lnTo>
                    <a:pt x="1158" y="150"/>
                  </a:lnTo>
                  <a:lnTo>
                    <a:pt x="1158" y="156"/>
                  </a:lnTo>
                  <a:lnTo>
                    <a:pt x="1158" y="162"/>
                  </a:lnTo>
                  <a:lnTo>
                    <a:pt x="1158" y="180"/>
                  </a:lnTo>
                  <a:lnTo>
                    <a:pt x="1158" y="186"/>
                  </a:lnTo>
                  <a:lnTo>
                    <a:pt x="1164" y="192"/>
                  </a:lnTo>
                  <a:lnTo>
                    <a:pt x="1176" y="198"/>
                  </a:lnTo>
                  <a:lnTo>
                    <a:pt x="1182" y="198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8"/>
                  </a:lnTo>
                  <a:lnTo>
                    <a:pt x="1188" y="234"/>
                  </a:lnTo>
                  <a:lnTo>
                    <a:pt x="1212" y="234"/>
                  </a:lnTo>
                  <a:lnTo>
                    <a:pt x="1242" y="234"/>
                  </a:lnTo>
                  <a:lnTo>
                    <a:pt x="1248" y="234"/>
                  </a:lnTo>
                  <a:lnTo>
                    <a:pt x="1278" y="240"/>
                  </a:lnTo>
                  <a:lnTo>
                    <a:pt x="1320" y="234"/>
                  </a:lnTo>
                  <a:lnTo>
                    <a:pt x="1332" y="228"/>
                  </a:lnTo>
                  <a:lnTo>
                    <a:pt x="1344" y="228"/>
                  </a:lnTo>
                  <a:lnTo>
                    <a:pt x="1350" y="234"/>
                  </a:lnTo>
                  <a:lnTo>
                    <a:pt x="1350" y="240"/>
                  </a:lnTo>
                  <a:lnTo>
                    <a:pt x="1356" y="246"/>
                  </a:lnTo>
                  <a:lnTo>
                    <a:pt x="1350" y="252"/>
                  </a:lnTo>
                  <a:lnTo>
                    <a:pt x="1356" y="264"/>
                  </a:lnTo>
                  <a:lnTo>
                    <a:pt x="1356" y="270"/>
                  </a:lnTo>
                  <a:lnTo>
                    <a:pt x="1356" y="276"/>
                  </a:lnTo>
                  <a:lnTo>
                    <a:pt x="1356" y="282"/>
                  </a:lnTo>
                  <a:lnTo>
                    <a:pt x="1356" y="288"/>
                  </a:lnTo>
                  <a:lnTo>
                    <a:pt x="1350" y="294"/>
                  </a:lnTo>
                  <a:lnTo>
                    <a:pt x="1344" y="300"/>
                  </a:lnTo>
                  <a:lnTo>
                    <a:pt x="1344" y="306"/>
                  </a:lnTo>
                  <a:lnTo>
                    <a:pt x="1338" y="312"/>
                  </a:lnTo>
                  <a:lnTo>
                    <a:pt x="1326" y="342"/>
                  </a:lnTo>
                  <a:lnTo>
                    <a:pt x="1320" y="348"/>
                  </a:lnTo>
                  <a:lnTo>
                    <a:pt x="1314" y="354"/>
                  </a:lnTo>
                  <a:lnTo>
                    <a:pt x="1290" y="354"/>
                  </a:lnTo>
                  <a:lnTo>
                    <a:pt x="1284" y="360"/>
                  </a:lnTo>
                  <a:lnTo>
                    <a:pt x="1278" y="378"/>
                  </a:lnTo>
                  <a:lnTo>
                    <a:pt x="1278" y="384"/>
                  </a:lnTo>
                  <a:lnTo>
                    <a:pt x="1272" y="390"/>
                  </a:lnTo>
                  <a:lnTo>
                    <a:pt x="1266" y="396"/>
                  </a:lnTo>
                  <a:lnTo>
                    <a:pt x="1260" y="396"/>
                  </a:lnTo>
                  <a:lnTo>
                    <a:pt x="1248" y="402"/>
                  </a:lnTo>
                  <a:lnTo>
                    <a:pt x="1242" y="408"/>
                  </a:lnTo>
                  <a:lnTo>
                    <a:pt x="1242" y="414"/>
                  </a:lnTo>
                  <a:lnTo>
                    <a:pt x="1242" y="420"/>
                  </a:lnTo>
                  <a:lnTo>
                    <a:pt x="1236" y="432"/>
                  </a:lnTo>
                  <a:lnTo>
                    <a:pt x="1242" y="432"/>
                  </a:lnTo>
                  <a:lnTo>
                    <a:pt x="1242" y="444"/>
                  </a:lnTo>
                  <a:lnTo>
                    <a:pt x="1242" y="456"/>
                  </a:lnTo>
                  <a:lnTo>
                    <a:pt x="1248" y="456"/>
                  </a:lnTo>
                  <a:lnTo>
                    <a:pt x="1254" y="462"/>
                  </a:lnTo>
                  <a:lnTo>
                    <a:pt x="1248" y="468"/>
                  </a:lnTo>
                  <a:lnTo>
                    <a:pt x="1254" y="468"/>
                  </a:lnTo>
                  <a:lnTo>
                    <a:pt x="1266" y="474"/>
                  </a:lnTo>
                  <a:lnTo>
                    <a:pt x="1266" y="480"/>
                  </a:lnTo>
                  <a:lnTo>
                    <a:pt x="1266" y="486"/>
                  </a:lnTo>
                  <a:lnTo>
                    <a:pt x="1272" y="486"/>
                  </a:lnTo>
                  <a:lnTo>
                    <a:pt x="1272" y="492"/>
                  </a:lnTo>
                  <a:lnTo>
                    <a:pt x="1290" y="510"/>
                  </a:lnTo>
                  <a:lnTo>
                    <a:pt x="1296" y="516"/>
                  </a:lnTo>
                  <a:lnTo>
                    <a:pt x="1302" y="540"/>
                  </a:lnTo>
                  <a:lnTo>
                    <a:pt x="1302" y="546"/>
                  </a:lnTo>
                  <a:lnTo>
                    <a:pt x="1302" y="558"/>
                  </a:lnTo>
                  <a:lnTo>
                    <a:pt x="1302" y="570"/>
                  </a:lnTo>
                  <a:lnTo>
                    <a:pt x="1302" y="576"/>
                  </a:lnTo>
                  <a:lnTo>
                    <a:pt x="1344" y="570"/>
                  </a:lnTo>
                  <a:lnTo>
                    <a:pt x="1350" y="582"/>
                  </a:lnTo>
                  <a:lnTo>
                    <a:pt x="1368" y="594"/>
                  </a:lnTo>
                  <a:lnTo>
                    <a:pt x="1374" y="600"/>
                  </a:lnTo>
                  <a:lnTo>
                    <a:pt x="1380" y="600"/>
                  </a:lnTo>
                  <a:lnTo>
                    <a:pt x="1380" y="618"/>
                  </a:lnTo>
                  <a:lnTo>
                    <a:pt x="1386" y="624"/>
                  </a:lnTo>
                  <a:lnTo>
                    <a:pt x="1404" y="624"/>
                  </a:lnTo>
                  <a:lnTo>
                    <a:pt x="1410" y="612"/>
                  </a:lnTo>
                  <a:lnTo>
                    <a:pt x="1428" y="606"/>
                  </a:lnTo>
                  <a:lnTo>
                    <a:pt x="1488" y="606"/>
                  </a:lnTo>
                  <a:lnTo>
                    <a:pt x="1506" y="606"/>
                  </a:lnTo>
                  <a:lnTo>
                    <a:pt x="1512" y="600"/>
                  </a:lnTo>
                  <a:lnTo>
                    <a:pt x="1524" y="594"/>
                  </a:lnTo>
                  <a:lnTo>
                    <a:pt x="1554" y="594"/>
                  </a:lnTo>
                  <a:lnTo>
                    <a:pt x="1578" y="606"/>
                  </a:lnTo>
                  <a:lnTo>
                    <a:pt x="1596" y="624"/>
                  </a:lnTo>
                  <a:lnTo>
                    <a:pt x="1650" y="642"/>
                  </a:lnTo>
                  <a:lnTo>
                    <a:pt x="1686" y="648"/>
                  </a:lnTo>
                  <a:lnTo>
                    <a:pt x="1698" y="654"/>
                  </a:lnTo>
                  <a:lnTo>
                    <a:pt x="1698" y="660"/>
                  </a:lnTo>
                  <a:lnTo>
                    <a:pt x="1692" y="666"/>
                  </a:lnTo>
                  <a:lnTo>
                    <a:pt x="1692" y="672"/>
                  </a:lnTo>
                  <a:lnTo>
                    <a:pt x="1698" y="678"/>
                  </a:lnTo>
                  <a:lnTo>
                    <a:pt x="1698" y="684"/>
                  </a:lnTo>
                  <a:lnTo>
                    <a:pt x="1692" y="684"/>
                  </a:lnTo>
                  <a:lnTo>
                    <a:pt x="1692" y="690"/>
                  </a:lnTo>
                  <a:lnTo>
                    <a:pt x="1698" y="696"/>
                  </a:lnTo>
                  <a:lnTo>
                    <a:pt x="1698" y="702"/>
                  </a:lnTo>
                  <a:lnTo>
                    <a:pt x="1698" y="708"/>
                  </a:lnTo>
                  <a:lnTo>
                    <a:pt x="1704" y="714"/>
                  </a:lnTo>
                  <a:lnTo>
                    <a:pt x="1704" y="720"/>
                  </a:lnTo>
                  <a:lnTo>
                    <a:pt x="1704" y="726"/>
                  </a:lnTo>
                  <a:lnTo>
                    <a:pt x="1704" y="732"/>
                  </a:lnTo>
                  <a:lnTo>
                    <a:pt x="1704" y="738"/>
                  </a:lnTo>
                  <a:lnTo>
                    <a:pt x="1698" y="726"/>
                  </a:lnTo>
                  <a:lnTo>
                    <a:pt x="1668" y="720"/>
                  </a:lnTo>
                  <a:lnTo>
                    <a:pt x="1626" y="714"/>
                  </a:lnTo>
                  <a:lnTo>
                    <a:pt x="1614" y="708"/>
                  </a:lnTo>
                  <a:lnTo>
                    <a:pt x="1578" y="696"/>
                  </a:lnTo>
                  <a:lnTo>
                    <a:pt x="1566" y="696"/>
                  </a:lnTo>
                  <a:lnTo>
                    <a:pt x="1548" y="702"/>
                  </a:lnTo>
                  <a:lnTo>
                    <a:pt x="1542" y="714"/>
                  </a:lnTo>
                  <a:lnTo>
                    <a:pt x="1536" y="732"/>
                  </a:lnTo>
                  <a:lnTo>
                    <a:pt x="1530" y="750"/>
                  </a:lnTo>
                  <a:lnTo>
                    <a:pt x="1536" y="750"/>
                  </a:lnTo>
                  <a:lnTo>
                    <a:pt x="1542" y="756"/>
                  </a:lnTo>
                  <a:lnTo>
                    <a:pt x="1542" y="762"/>
                  </a:lnTo>
                  <a:lnTo>
                    <a:pt x="1548" y="762"/>
                  </a:lnTo>
                  <a:lnTo>
                    <a:pt x="1554" y="762"/>
                  </a:lnTo>
                  <a:lnTo>
                    <a:pt x="1554" y="768"/>
                  </a:lnTo>
                  <a:lnTo>
                    <a:pt x="1560" y="774"/>
                  </a:lnTo>
                  <a:lnTo>
                    <a:pt x="1566" y="774"/>
                  </a:lnTo>
                  <a:lnTo>
                    <a:pt x="1584" y="792"/>
                  </a:lnTo>
                  <a:lnTo>
                    <a:pt x="1584" y="810"/>
                  </a:lnTo>
                  <a:lnTo>
                    <a:pt x="1572" y="816"/>
                  </a:lnTo>
                  <a:lnTo>
                    <a:pt x="1578" y="834"/>
                  </a:lnTo>
                  <a:lnTo>
                    <a:pt x="1578" y="846"/>
                  </a:lnTo>
                  <a:lnTo>
                    <a:pt x="1584" y="858"/>
                  </a:lnTo>
                  <a:lnTo>
                    <a:pt x="1590" y="864"/>
                  </a:lnTo>
                  <a:lnTo>
                    <a:pt x="1590" y="876"/>
                  </a:lnTo>
                  <a:lnTo>
                    <a:pt x="1578" y="888"/>
                  </a:lnTo>
                  <a:lnTo>
                    <a:pt x="1560" y="906"/>
                  </a:lnTo>
                  <a:lnTo>
                    <a:pt x="1536" y="930"/>
                  </a:lnTo>
                  <a:lnTo>
                    <a:pt x="1530" y="930"/>
                  </a:lnTo>
                  <a:lnTo>
                    <a:pt x="1506" y="942"/>
                  </a:lnTo>
                  <a:lnTo>
                    <a:pt x="1488" y="948"/>
                  </a:lnTo>
                  <a:lnTo>
                    <a:pt x="1476" y="954"/>
                  </a:lnTo>
                  <a:lnTo>
                    <a:pt x="1458" y="960"/>
                  </a:lnTo>
                  <a:lnTo>
                    <a:pt x="1452" y="966"/>
                  </a:lnTo>
                  <a:lnTo>
                    <a:pt x="1446" y="966"/>
                  </a:lnTo>
                  <a:lnTo>
                    <a:pt x="1434" y="972"/>
                  </a:lnTo>
                  <a:lnTo>
                    <a:pt x="1434" y="954"/>
                  </a:lnTo>
                  <a:lnTo>
                    <a:pt x="1422" y="942"/>
                  </a:lnTo>
                  <a:lnTo>
                    <a:pt x="1398" y="924"/>
                  </a:lnTo>
                  <a:lnTo>
                    <a:pt x="1398" y="912"/>
                  </a:lnTo>
                  <a:lnTo>
                    <a:pt x="1398" y="906"/>
                  </a:lnTo>
                  <a:lnTo>
                    <a:pt x="1398" y="900"/>
                  </a:lnTo>
                  <a:lnTo>
                    <a:pt x="1380" y="900"/>
                  </a:lnTo>
                  <a:lnTo>
                    <a:pt x="1380" y="894"/>
                  </a:lnTo>
                  <a:lnTo>
                    <a:pt x="1368" y="888"/>
                  </a:lnTo>
                  <a:lnTo>
                    <a:pt x="1362" y="882"/>
                  </a:lnTo>
                  <a:lnTo>
                    <a:pt x="1356" y="876"/>
                  </a:lnTo>
                  <a:lnTo>
                    <a:pt x="1350" y="864"/>
                  </a:lnTo>
                  <a:lnTo>
                    <a:pt x="1344" y="858"/>
                  </a:lnTo>
                  <a:lnTo>
                    <a:pt x="1314" y="870"/>
                  </a:lnTo>
                  <a:lnTo>
                    <a:pt x="1272" y="876"/>
                  </a:lnTo>
                  <a:lnTo>
                    <a:pt x="1218" y="870"/>
                  </a:lnTo>
                  <a:lnTo>
                    <a:pt x="1200" y="864"/>
                  </a:lnTo>
                  <a:lnTo>
                    <a:pt x="1182" y="864"/>
                  </a:lnTo>
                  <a:lnTo>
                    <a:pt x="1134" y="858"/>
                  </a:lnTo>
                  <a:lnTo>
                    <a:pt x="1110" y="840"/>
                  </a:lnTo>
                  <a:lnTo>
                    <a:pt x="1086" y="828"/>
                  </a:lnTo>
                  <a:lnTo>
                    <a:pt x="1044" y="816"/>
                  </a:lnTo>
                  <a:lnTo>
                    <a:pt x="1014" y="816"/>
                  </a:lnTo>
                  <a:lnTo>
                    <a:pt x="990" y="822"/>
                  </a:lnTo>
                  <a:lnTo>
                    <a:pt x="948" y="858"/>
                  </a:lnTo>
                  <a:lnTo>
                    <a:pt x="930" y="864"/>
                  </a:lnTo>
                  <a:lnTo>
                    <a:pt x="924" y="876"/>
                  </a:lnTo>
                  <a:lnTo>
                    <a:pt x="918" y="906"/>
                  </a:lnTo>
                  <a:lnTo>
                    <a:pt x="924" y="930"/>
                  </a:lnTo>
                  <a:lnTo>
                    <a:pt x="948" y="984"/>
                  </a:lnTo>
                  <a:lnTo>
                    <a:pt x="954" y="1008"/>
                  </a:lnTo>
                  <a:lnTo>
                    <a:pt x="948" y="1014"/>
                  </a:lnTo>
                  <a:lnTo>
                    <a:pt x="954" y="1014"/>
                  </a:lnTo>
                  <a:lnTo>
                    <a:pt x="954" y="1032"/>
                  </a:lnTo>
                  <a:lnTo>
                    <a:pt x="966" y="1044"/>
                  </a:lnTo>
                  <a:lnTo>
                    <a:pt x="960" y="1056"/>
                  </a:lnTo>
                  <a:lnTo>
                    <a:pt x="954" y="1056"/>
                  </a:lnTo>
                  <a:lnTo>
                    <a:pt x="948" y="1056"/>
                  </a:lnTo>
                  <a:lnTo>
                    <a:pt x="942" y="1056"/>
                  </a:lnTo>
                  <a:lnTo>
                    <a:pt x="936" y="1050"/>
                  </a:lnTo>
                  <a:lnTo>
                    <a:pt x="930" y="1044"/>
                  </a:lnTo>
                  <a:lnTo>
                    <a:pt x="924" y="1044"/>
                  </a:lnTo>
                  <a:lnTo>
                    <a:pt x="918" y="1038"/>
                  </a:lnTo>
                  <a:lnTo>
                    <a:pt x="912" y="1038"/>
                  </a:lnTo>
                  <a:lnTo>
                    <a:pt x="906" y="1032"/>
                  </a:lnTo>
                  <a:lnTo>
                    <a:pt x="900" y="1032"/>
                  </a:lnTo>
                  <a:lnTo>
                    <a:pt x="888" y="1026"/>
                  </a:lnTo>
                  <a:lnTo>
                    <a:pt x="882" y="1026"/>
                  </a:lnTo>
                  <a:lnTo>
                    <a:pt x="876" y="1026"/>
                  </a:lnTo>
                  <a:lnTo>
                    <a:pt x="864" y="1014"/>
                  </a:lnTo>
                  <a:lnTo>
                    <a:pt x="846" y="1008"/>
                  </a:lnTo>
                  <a:lnTo>
                    <a:pt x="840" y="996"/>
                  </a:lnTo>
                  <a:lnTo>
                    <a:pt x="840" y="990"/>
                  </a:lnTo>
                  <a:lnTo>
                    <a:pt x="834" y="990"/>
                  </a:lnTo>
                  <a:lnTo>
                    <a:pt x="828" y="990"/>
                  </a:lnTo>
                  <a:lnTo>
                    <a:pt x="816" y="990"/>
                  </a:lnTo>
                  <a:lnTo>
                    <a:pt x="810" y="990"/>
                  </a:lnTo>
                  <a:lnTo>
                    <a:pt x="804" y="984"/>
                  </a:lnTo>
                  <a:lnTo>
                    <a:pt x="792" y="978"/>
                  </a:lnTo>
                  <a:lnTo>
                    <a:pt x="786" y="972"/>
                  </a:lnTo>
                  <a:lnTo>
                    <a:pt x="780" y="972"/>
                  </a:lnTo>
                  <a:lnTo>
                    <a:pt x="768" y="966"/>
                  </a:lnTo>
                  <a:lnTo>
                    <a:pt x="762" y="966"/>
                  </a:lnTo>
                  <a:lnTo>
                    <a:pt x="756" y="966"/>
                  </a:lnTo>
                  <a:lnTo>
                    <a:pt x="750" y="966"/>
                  </a:lnTo>
                  <a:lnTo>
                    <a:pt x="744" y="966"/>
                  </a:lnTo>
                  <a:lnTo>
                    <a:pt x="738" y="960"/>
                  </a:lnTo>
                  <a:lnTo>
                    <a:pt x="732" y="954"/>
                  </a:lnTo>
                  <a:lnTo>
                    <a:pt x="720" y="954"/>
                  </a:lnTo>
                  <a:lnTo>
                    <a:pt x="714" y="948"/>
                  </a:lnTo>
                  <a:lnTo>
                    <a:pt x="708" y="948"/>
                  </a:lnTo>
                  <a:lnTo>
                    <a:pt x="696" y="948"/>
                  </a:lnTo>
                  <a:lnTo>
                    <a:pt x="684" y="942"/>
                  </a:lnTo>
                  <a:lnTo>
                    <a:pt x="678" y="936"/>
                  </a:lnTo>
                  <a:lnTo>
                    <a:pt x="660" y="930"/>
                  </a:lnTo>
                  <a:lnTo>
                    <a:pt x="642" y="924"/>
                  </a:lnTo>
                  <a:lnTo>
                    <a:pt x="636" y="924"/>
                  </a:lnTo>
                  <a:lnTo>
                    <a:pt x="630" y="924"/>
                  </a:lnTo>
                  <a:lnTo>
                    <a:pt x="618" y="924"/>
                  </a:lnTo>
                  <a:lnTo>
                    <a:pt x="618" y="918"/>
                  </a:lnTo>
                  <a:lnTo>
                    <a:pt x="606" y="918"/>
                  </a:lnTo>
                  <a:lnTo>
                    <a:pt x="600" y="918"/>
                  </a:lnTo>
                  <a:lnTo>
                    <a:pt x="594" y="918"/>
                  </a:lnTo>
                  <a:lnTo>
                    <a:pt x="594" y="912"/>
                  </a:lnTo>
                  <a:lnTo>
                    <a:pt x="588" y="912"/>
                  </a:lnTo>
                  <a:lnTo>
                    <a:pt x="582" y="912"/>
                  </a:lnTo>
                  <a:lnTo>
                    <a:pt x="582" y="918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58" y="918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12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00"/>
                  </a:lnTo>
                  <a:lnTo>
                    <a:pt x="516" y="900"/>
                  </a:lnTo>
                  <a:lnTo>
                    <a:pt x="510" y="900"/>
                  </a:lnTo>
                  <a:lnTo>
                    <a:pt x="486" y="894"/>
                  </a:lnTo>
                  <a:lnTo>
                    <a:pt x="474" y="888"/>
                  </a:lnTo>
                  <a:lnTo>
                    <a:pt x="468" y="888"/>
                  </a:lnTo>
                  <a:lnTo>
                    <a:pt x="450" y="88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0" name="Freeform 15">
              <a:extLst>
                <a:ext uri="{FF2B5EF4-FFF2-40B4-BE49-F238E27FC236}">
                  <a16:creationId xmlns:a16="http://schemas.microsoft.com/office/drawing/2014/main" id="{8B991D7A-45C6-40F6-A035-24DFC733305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382" y="2652043"/>
              <a:ext cx="724526" cy="695552"/>
            </a:xfrm>
            <a:custGeom>
              <a:avLst/>
              <a:gdLst>
                <a:gd name="T0" fmla="*/ 44 w 1362"/>
                <a:gd name="T1" fmla="*/ 106 h 1308"/>
                <a:gd name="T2" fmla="*/ 32 w 1362"/>
                <a:gd name="T3" fmla="*/ 109 h 1308"/>
                <a:gd name="T4" fmla="*/ 25 w 1362"/>
                <a:gd name="T5" fmla="*/ 105 h 1308"/>
                <a:gd name="T6" fmla="*/ 22 w 1362"/>
                <a:gd name="T7" fmla="*/ 97 h 1308"/>
                <a:gd name="T8" fmla="*/ 21 w 1362"/>
                <a:gd name="T9" fmla="*/ 95 h 1308"/>
                <a:gd name="T10" fmla="*/ 20 w 1362"/>
                <a:gd name="T11" fmla="*/ 90 h 1308"/>
                <a:gd name="T12" fmla="*/ 23 w 1362"/>
                <a:gd name="T13" fmla="*/ 87 h 1308"/>
                <a:gd name="T14" fmla="*/ 29 w 1362"/>
                <a:gd name="T15" fmla="*/ 81 h 1308"/>
                <a:gd name="T16" fmla="*/ 30 w 1362"/>
                <a:gd name="T17" fmla="*/ 78 h 1308"/>
                <a:gd name="T18" fmla="*/ 27 w 1362"/>
                <a:gd name="T19" fmla="*/ 75 h 1308"/>
                <a:gd name="T20" fmla="*/ 15 w 1362"/>
                <a:gd name="T21" fmla="*/ 73 h 1308"/>
                <a:gd name="T22" fmla="*/ 12 w 1362"/>
                <a:gd name="T23" fmla="*/ 69 h 1308"/>
                <a:gd name="T24" fmla="*/ 5 w 1362"/>
                <a:gd name="T25" fmla="*/ 65 h 1308"/>
                <a:gd name="T26" fmla="*/ 6 w 1362"/>
                <a:gd name="T27" fmla="*/ 62 h 1308"/>
                <a:gd name="T28" fmla="*/ 7 w 1362"/>
                <a:gd name="T29" fmla="*/ 56 h 1308"/>
                <a:gd name="T30" fmla="*/ 2 w 1362"/>
                <a:gd name="T31" fmla="*/ 49 h 1308"/>
                <a:gd name="T32" fmla="*/ 0 w 1362"/>
                <a:gd name="T33" fmla="*/ 44 h 1308"/>
                <a:gd name="T34" fmla="*/ 0 w 1362"/>
                <a:gd name="T35" fmla="*/ 39 h 1308"/>
                <a:gd name="T36" fmla="*/ 3 w 1362"/>
                <a:gd name="T37" fmla="*/ 35 h 1308"/>
                <a:gd name="T38" fmla="*/ 3 w 1362"/>
                <a:gd name="T39" fmla="*/ 28 h 1308"/>
                <a:gd name="T40" fmla="*/ 6 w 1362"/>
                <a:gd name="T41" fmla="*/ 18 h 1308"/>
                <a:gd name="T42" fmla="*/ 6 w 1362"/>
                <a:gd name="T43" fmla="*/ 8 h 1308"/>
                <a:gd name="T44" fmla="*/ 10 w 1362"/>
                <a:gd name="T45" fmla="*/ 5 h 1308"/>
                <a:gd name="T46" fmla="*/ 15 w 1362"/>
                <a:gd name="T47" fmla="*/ 0 h 1308"/>
                <a:gd name="T48" fmla="*/ 21 w 1362"/>
                <a:gd name="T49" fmla="*/ 7 h 1308"/>
                <a:gd name="T50" fmla="*/ 25 w 1362"/>
                <a:gd name="T51" fmla="*/ 15 h 1308"/>
                <a:gd name="T52" fmla="*/ 24 w 1362"/>
                <a:gd name="T53" fmla="*/ 19 h 1308"/>
                <a:gd name="T54" fmla="*/ 32 w 1362"/>
                <a:gd name="T55" fmla="*/ 19 h 1308"/>
                <a:gd name="T56" fmla="*/ 35 w 1362"/>
                <a:gd name="T57" fmla="*/ 20 h 1308"/>
                <a:gd name="T58" fmla="*/ 40 w 1362"/>
                <a:gd name="T59" fmla="*/ 23 h 1308"/>
                <a:gd name="T60" fmla="*/ 40 w 1362"/>
                <a:gd name="T61" fmla="*/ 26 h 1308"/>
                <a:gd name="T62" fmla="*/ 34 w 1362"/>
                <a:gd name="T63" fmla="*/ 35 h 1308"/>
                <a:gd name="T64" fmla="*/ 41 w 1362"/>
                <a:gd name="T65" fmla="*/ 37 h 1308"/>
                <a:gd name="T66" fmla="*/ 43 w 1362"/>
                <a:gd name="T67" fmla="*/ 44 h 1308"/>
                <a:gd name="T68" fmla="*/ 48 w 1362"/>
                <a:gd name="T69" fmla="*/ 47 h 1308"/>
                <a:gd name="T70" fmla="*/ 57 w 1362"/>
                <a:gd name="T71" fmla="*/ 48 h 1308"/>
                <a:gd name="T72" fmla="*/ 70 w 1362"/>
                <a:gd name="T73" fmla="*/ 44 h 1308"/>
                <a:gd name="T74" fmla="*/ 80 w 1362"/>
                <a:gd name="T75" fmla="*/ 34 h 1308"/>
                <a:gd name="T76" fmla="*/ 95 w 1362"/>
                <a:gd name="T77" fmla="*/ 41 h 1308"/>
                <a:gd name="T78" fmla="*/ 109 w 1362"/>
                <a:gd name="T79" fmla="*/ 47 h 1308"/>
                <a:gd name="T80" fmla="*/ 111 w 1362"/>
                <a:gd name="T81" fmla="*/ 50 h 1308"/>
                <a:gd name="T82" fmla="*/ 113 w 1362"/>
                <a:gd name="T83" fmla="*/ 53 h 1308"/>
                <a:gd name="T84" fmla="*/ 113 w 1362"/>
                <a:gd name="T85" fmla="*/ 55 h 1308"/>
                <a:gd name="T86" fmla="*/ 113 w 1362"/>
                <a:gd name="T87" fmla="*/ 59 h 1308"/>
                <a:gd name="T88" fmla="*/ 113 w 1362"/>
                <a:gd name="T89" fmla="*/ 62 h 1308"/>
                <a:gd name="T90" fmla="*/ 115 w 1362"/>
                <a:gd name="T91" fmla="*/ 65 h 1308"/>
                <a:gd name="T92" fmla="*/ 115 w 1362"/>
                <a:gd name="T93" fmla="*/ 67 h 1308"/>
                <a:gd name="T94" fmla="*/ 116 w 1362"/>
                <a:gd name="T95" fmla="*/ 69 h 1308"/>
                <a:gd name="T96" fmla="*/ 116 w 1362"/>
                <a:gd name="T97" fmla="*/ 71 h 1308"/>
                <a:gd name="T98" fmla="*/ 118 w 1362"/>
                <a:gd name="T99" fmla="*/ 75 h 1308"/>
                <a:gd name="T100" fmla="*/ 116 w 1362"/>
                <a:gd name="T101" fmla="*/ 77 h 1308"/>
                <a:gd name="T102" fmla="*/ 116 w 1362"/>
                <a:gd name="T103" fmla="*/ 79 h 1308"/>
                <a:gd name="T104" fmla="*/ 101 w 1362"/>
                <a:gd name="T105" fmla="*/ 87 h 1308"/>
                <a:gd name="T106" fmla="*/ 85 w 1362"/>
                <a:gd name="T107" fmla="*/ 103 h 1308"/>
                <a:gd name="T108" fmla="*/ 67 w 1362"/>
                <a:gd name="T109" fmla="*/ 114 h 130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62"/>
                <a:gd name="T166" fmla="*/ 0 h 1308"/>
                <a:gd name="T167" fmla="*/ 1362 w 1362"/>
                <a:gd name="T168" fmla="*/ 1308 h 130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62" h="1308">
                  <a:moveTo>
                    <a:pt x="684" y="1278"/>
                  </a:moveTo>
                  <a:lnTo>
                    <a:pt x="672" y="1272"/>
                  </a:lnTo>
                  <a:lnTo>
                    <a:pt x="636" y="1266"/>
                  </a:lnTo>
                  <a:lnTo>
                    <a:pt x="582" y="1248"/>
                  </a:lnTo>
                  <a:lnTo>
                    <a:pt x="564" y="1230"/>
                  </a:lnTo>
                  <a:lnTo>
                    <a:pt x="540" y="1218"/>
                  </a:lnTo>
                  <a:lnTo>
                    <a:pt x="510" y="1218"/>
                  </a:lnTo>
                  <a:lnTo>
                    <a:pt x="498" y="1224"/>
                  </a:lnTo>
                  <a:lnTo>
                    <a:pt x="492" y="1230"/>
                  </a:lnTo>
                  <a:lnTo>
                    <a:pt x="474" y="1230"/>
                  </a:lnTo>
                  <a:lnTo>
                    <a:pt x="414" y="1230"/>
                  </a:lnTo>
                  <a:lnTo>
                    <a:pt x="396" y="1236"/>
                  </a:lnTo>
                  <a:lnTo>
                    <a:pt x="390" y="1248"/>
                  </a:lnTo>
                  <a:lnTo>
                    <a:pt x="372" y="1248"/>
                  </a:lnTo>
                  <a:lnTo>
                    <a:pt x="366" y="1242"/>
                  </a:lnTo>
                  <a:lnTo>
                    <a:pt x="366" y="1224"/>
                  </a:lnTo>
                  <a:lnTo>
                    <a:pt x="360" y="1224"/>
                  </a:lnTo>
                  <a:lnTo>
                    <a:pt x="354" y="1218"/>
                  </a:lnTo>
                  <a:lnTo>
                    <a:pt x="336" y="1206"/>
                  </a:lnTo>
                  <a:lnTo>
                    <a:pt x="330" y="1194"/>
                  </a:lnTo>
                  <a:lnTo>
                    <a:pt x="288" y="1200"/>
                  </a:lnTo>
                  <a:lnTo>
                    <a:pt x="288" y="1194"/>
                  </a:lnTo>
                  <a:lnTo>
                    <a:pt x="288" y="1182"/>
                  </a:lnTo>
                  <a:lnTo>
                    <a:pt x="288" y="1170"/>
                  </a:lnTo>
                  <a:lnTo>
                    <a:pt x="288" y="1164"/>
                  </a:lnTo>
                  <a:lnTo>
                    <a:pt x="282" y="1140"/>
                  </a:lnTo>
                  <a:lnTo>
                    <a:pt x="276" y="1134"/>
                  </a:lnTo>
                  <a:lnTo>
                    <a:pt x="258" y="1116"/>
                  </a:lnTo>
                  <a:lnTo>
                    <a:pt x="258" y="1110"/>
                  </a:lnTo>
                  <a:lnTo>
                    <a:pt x="252" y="1110"/>
                  </a:lnTo>
                  <a:lnTo>
                    <a:pt x="252" y="1104"/>
                  </a:lnTo>
                  <a:lnTo>
                    <a:pt x="252" y="1098"/>
                  </a:lnTo>
                  <a:lnTo>
                    <a:pt x="240" y="1092"/>
                  </a:lnTo>
                  <a:lnTo>
                    <a:pt x="234" y="1092"/>
                  </a:lnTo>
                  <a:lnTo>
                    <a:pt x="240" y="1086"/>
                  </a:lnTo>
                  <a:lnTo>
                    <a:pt x="234" y="1080"/>
                  </a:lnTo>
                  <a:lnTo>
                    <a:pt x="228" y="1080"/>
                  </a:lnTo>
                  <a:lnTo>
                    <a:pt x="228" y="1068"/>
                  </a:lnTo>
                  <a:lnTo>
                    <a:pt x="228" y="1056"/>
                  </a:lnTo>
                  <a:lnTo>
                    <a:pt x="222" y="1056"/>
                  </a:lnTo>
                  <a:lnTo>
                    <a:pt x="228" y="1044"/>
                  </a:lnTo>
                  <a:lnTo>
                    <a:pt x="228" y="1038"/>
                  </a:lnTo>
                  <a:lnTo>
                    <a:pt x="228" y="1032"/>
                  </a:lnTo>
                  <a:lnTo>
                    <a:pt x="234" y="1026"/>
                  </a:lnTo>
                  <a:lnTo>
                    <a:pt x="246" y="1020"/>
                  </a:lnTo>
                  <a:lnTo>
                    <a:pt x="252" y="1020"/>
                  </a:lnTo>
                  <a:lnTo>
                    <a:pt x="258" y="1014"/>
                  </a:lnTo>
                  <a:lnTo>
                    <a:pt x="264" y="1008"/>
                  </a:lnTo>
                  <a:lnTo>
                    <a:pt x="264" y="1002"/>
                  </a:lnTo>
                  <a:lnTo>
                    <a:pt x="270" y="984"/>
                  </a:lnTo>
                  <a:lnTo>
                    <a:pt x="276" y="978"/>
                  </a:lnTo>
                  <a:lnTo>
                    <a:pt x="300" y="978"/>
                  </a:lnTo>
                  <a:lnTo>
                    <a:pt x="306" y="972"/>
                  </a:lnTo>
                  <a:lnTo>
                    <a:pt x="312" y="966"/>
                  </a:lnTo>
                  <a:lnTo>
                    <a:pt x="324" y="936"/>
                  </a:lnTo>
                  <a:lnTo>
                    <a:pt x="330" y="930"/>
                  </a:lnTo>
                  <a:lnTo>
                    <a:pt x="330" y="924"/>
                  </a:lnTo>
                  <a:lnTo>
                    <a:pt x="336" y="918"/>
                  </a:lnTo>
                  <a:lnTo>
                    <a:pt x="342" y="912"/>
                  </a:lnTo>
                  <a:lnTo>
                    <a:pt x="342" y="906"/>
                  </a:lnTo>
                  <a:lnTo>
                    <a:pt x="342" y="900"/>
                  </a:lnTo>
                  <a:lnTo>
                    <a:pt x="342" y="894"/>
                  </a:lnTo>
                  <a:lnTo>
                    <a:pt x="342" y="888"/>
                  </a:lnTo>
                  <a:lnTo>
                    <a:pt x="336" y="876"/>
                  </a:lnTo>
                  <a:lnTo>
                    <a:pt x="342" y="870"/>
                  </a:lnTo>
                  <a:lnTo>
                    <a:pt x="336" y="864"/>
                  </a:lnTo>
                  <a:lnTo>
                    <a:pt x="336" y="858"/>
                  </a:lnTo>
                  <a:lnTo>
                    <a:pt x="330" y="852"/>
                  </a:lnTo>
                  <a:lnTo>
                    <a:pt x="318" y="852"/>
                  </a:lnTo>
                  <a:lnTo>
                    <a:pt x="306" y="858"/>
                  </a:lnTo>
                  <a:lnTo>
                    <a:pt x="264" y="864"/>
                  </a:lnTo>
                  <a:lnTo>
                    <a:pt x="234" y="858"/>
                  </a:lnTo>
                  <a:lnTo>
                    <a:pt x="228" y="858"/>
                  </a:lnTo>
                  <a:lnTo>
                    <a:pt x="198" y="858"/>
                  </a:lnTo>
                  <a:lnTo>
                    <a:pt x="174" y="858"/>
                  </a:lnTo>
                  <a:lnTo>
                    <a:pt x="168" y="852"/>
                  </a:lnTo>
                  <a:lnTo>
                    <a:pt x="168" y="840"/>
                  </a:lnTo>
                  <a:lnTo>
                    <a:pt x="168" y="834"/>
                  </a:lnTo>
                  <a:lnTo>
                    <a:pt x="168" y="822"/>
                  </a:lnTo>
                  <a:lnTo>
                    <a:pt x="162" y="822"/>
                  </a:lnTo>
                  <a:lnTo>
                    <a:pt x="150" y="816"/>
                  </a:lnTo>
                  <a:lnTo>
                    <a:pt x="144" y="810"/>
                  </a:lnTo>
                  <a:lnTo>
                    <a:pt x="144" y="804"/>
                  </a:lnTo>
                  <a:lnTo>
                    <a:pt x="144" y="786"/>
                  </a:lnTo>
                  <a:lnTo>
                    <a:pt x="144" y="780"/>
                  </a:lnTo>
                  <a:lnTo>
                    <a:pt x="144" y="774"/>
                  </a:lnTo>
                  <a:lnTo>
                    <a:pt x="132" y="756"/>
                  </a:lnTo>
                  <a:lnTo>
                    <a:pt x="120" y="756"/>
                  </a:lnTo>
                  <a:lnTo>
                    <a:pt x="84" y="750"/>
                  </a:lnTo>
                  <a:lnTo>
                    <a:pt x="78" y="744"/>
                  </a:lnTo>
                  <a:lnTo>
                    <a:pt x="60" y="744"/>
                  </a:lnTo>
                  <a:lnTo>
                    <a:pt x="54" y="726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66" y="720"/>
                  </a:lnTo>
                  <a:lnTo>
                    <a:pt x="66" y="714"/>
                  </a:lnTo>
                  <a:lnTo>
                    <a:pt x="72" y="714"/>
                  </a:lnTo>
                  <a:lnTo>
                    <a:pt x="72" y="708"/>
                  </a:lnTo>
                  <a:lnTo>
                    <a:pt x="78" y="702"/>
                  </a:lnTo>
                  <a:lnTo>
                    <a:pt x="78" y="696"/>
                  </a:lnTo>
                  <a:lnTo>
                    <a:pt x="78" y="690"/>
                  </a:lnTo>
                  <a:lnTo>
                    <a:pt x="84" y="678"/>
                  </a:lnTo>
                  <a:lnTo>
                    <a:pt x="90" y="666"/>
                  </a:lnTo>
                  <a:lnTo>
                    <a:pt x="90" y="642"/>
                  </a:lnTo>
                  <a:lnTo>
                    <a:pt x="84" y="648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66" y="642"/>
                  </a:lnTo>
                  <a:lnTo>
                    <a:pt x="60" y="642"/>
                  </a:lnTo>
                  <a:lnTo>
                    <a:pt x="54" y="636"/>
                  </a:lnTo>
                  <a:lnTo>
                    <a:pt x="30" y="570"/>
                  </a:lnTo>
                  <a:lnTo>
                    <a:pt x="24" y="564"/>
                  </a:lnTo>
                  <a:lnTo>
                    <a:pt x="18" y="570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6"/>
                  </a:lnTo>
                  <a:lnTo>
                    <a:pt x="6" y="540"/>
                  </a:lnTo>
                  <a:lnTo>
                    <a:pt x="0" y="522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2" y="480"/>
                  </a:lnTo>
                  <a:lnTo>
                    <a:pt x="6" y="480"/>
                  </a:lnTo>
                  <a:lnTo>
                    <a:pt x="0" y="474"/>
                  </a:lnTo>
                  <a:lnTo>
                    <a:pt x="0" y="450"/>
                  </a:lnTo>
                  <a:lnTo>
                    <a:pt x="6" y="450"/>
                  </a:lnTo>
                  <a:lnTo>
                    <a:pt x="12" y="450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32"/>
                  </a:lnTo>
                  <a:lnTo>
                    <a:pt x="30" y="426"/>
                  </a:lnTo>
                  <a:lnTo>
                    <a:pt x="36" y="402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2" y="366"/>
                  </a:lnTo>
                  <a:lnTo>
                    <a:pt x="48" y="360"/>
                  </a:lnTo>
                  <a:lnTo>
                    <a:pt x="48" y="342"/>
                  </a:lnTo>
                  <a:lnTo>
                    <a:pt x="42" y="330"/>
                  </a:lnTo>
                  <a:lnTo>
                    <a:pt x="36" y="324"/>
                  </a:lnTo>
                  <a:lnTo>
                    <a:pt x="42" y="306"/>
                  </a:lnTo>
                  <a:lnTo>
                    <a:pt x="42" y="270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48" y="258"/>
                  </a:lnTo>
                  <a:lnTo>
                    <a:pt x="72" y="252"/>
                  </a:lnTo>
                  <a:lnTo>
                    <a:pt x="66" y="204"/>
                  </a:lnTo>
                  <a:lnTo>
                    <a:pt x="60" y="198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8" y="13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84" y="96"/>
                  </a:lnTo>
                  <a:lnTo>
                    <a:pt x="90" y="84"/>
                  </a:lnTo>
                  <a:lnTo>
                    <a:pt x="108" y="72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20" y="60"/>
                  </a:lnTo>
                  <a:lnTo>
                    <a:pt x="120" y="54"/>
                  </a:lnTo>
                  <a:lnTo>
                    <a:pt x="120" y="48"/>
                  </a:lnTo>
                  <a:lnTo>
                    <a:pt x="126" y="48"/>
                  </a:lnTo>
                  <a:lnTo>
                    <a:pt x="132" y="42"/>
                  </a:lnTo>
                  <a:lnTo>
                    <a:pt x="132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240" y="18"/>
                  </a:lnTo>
                  <a:lnTo>
                    <a:pt x="246" y="42"/>
                  </a:lnTo>
                  <a:lnTo>
                    <a:pt x="240" y="72"/>
                  </a:lnTo>
                  <a:lnTo>
                    <a:pt x="246" y="78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8" y="108"/>
                  </a:lnTo>
                  <a:lnTo>
                    <a:pt x="276" y="114"/>
                  </a:lnTo>
                  <a:lnTo>
                    <a:pt x="294" y="150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82" y="186"/>
                  </a:lnTo>
                  <a:lnTo>
                    <a:pt x="282" y="192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76" y="216"/>
                  </a:lnTo>
                  <a:lnTo>
                    <a:pt x="288" y="240"/>
                  </a:lnTo>
                  <a:lnTo>
                    <a:pt x="312" y="228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66" y="228"/>
                  </a:lnTo>
                  <a:lnTo>
                    <a:pt x="372" y="228"/>
                  </a:lnTo>
                  <a:lnTo>
                    <a:pt x="372" y="222"/>
                  </a:lnTo>
                  <a:lnTo>
                    <a:pt x="378" y="222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6" y="222"/>
                  </a:lnTo>
                  <a:lnTo>
                    <a:pt x="402" y="222"/>
                  </a:lnTo>
                  <a:lnTo>
                    <a:pt x="402" y="228"/>
                  </a:lnTo>
                  <a:lnTo>
                    <a:pt x="408" y="228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26" y="216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68" y="258"/>
                  </a:lnTo>
                  <a:lnTo>
                    <a:pt x="462" y="264"/>
                  </a:lnTo>
                  <a:lnTo>
                    <a:pt x="468" y="264"/>
                  </a:lnTo>
                  <a:lnTo>
                    <a:pt x="468" y="270"/>
                  </a:lnTo>
                  <a:lnTo>
                    <a:pt x="474" y="270"/>
                  </a:lnTo>
                  <a:lnTo>
                    <a:pt x="480" y="276"/>
                  </a:lnTo>
                  <a:lnTo>
                    <a:pt x="474" y="282"/>
                  </a:lnTo>
                  <a:lnTo>
                    <a:pt x="474" y="288"/>
                  </a:lnTo>
                  <a:lnTo>
                    <a:pt x="462" y="294"/>
                  </a:lnTo>
                  <a:lnTo>
                    <a:pt x="468" y="324"/>
                  </a:lnTo>
                  <a:lnTo>
                    <a:pt x="462" y="336"/>
                  </a:lnTo>
                  <a:lnTo>
                    <a:pt x="456" y="354"/>
                  </a:lnTo>
                  <a:lnTo>
                    <a:pt x="432" y="390"/>
                  </a:lnTo>
                  <a:lnTo>
                    <a:pt x="420" y="390"/>
                  </a:lnTo>
                  <a:lnTo>
                    <a:pt x="402" y="390"/>
                  </a:lnTo>
                  <a:lnTo>
                    <a:pt x="396" y="396"/>
                  </a:lnTo>
                  <a:lnTo>
                    <a:pt x="390" y="396"/>
                  </a:lnTo>
                  <a:lnTo>
                    <a:pt x="390" y="402"/>
                  </a:lnTo>
                  <a:lnTo>
                    <a:pt x="384" y="402"/>
                  </a:lnTo>
                  <a:lnTo>
                    <a:pt x="408" y="432"/>
                  </a:lnTo>
                  <a:lnTo>
                    <a:pt x="432" y="438"/>
                  </a:lnTo>
                  <a:lnTo>
                    <a:pt x="456" y="432"/>
                  </a:lnTo>
                  <a:lnTo>
                    <a:pt x="468" y="426"/>
                  </a:lnTo>
                  <a:lnTo>
                    <a:pt x="468" y="444"/>
                  </a:lnTo>
                  <a:lnTo>
                    <a:pt x="468" y="450"/>
                  </a:lnTo>
                  <a:lnTo>
                    <a:pt x="468" y="474"/>
                  </a:lnTo>
                  <a:lnTo>
                    <a:pt x="486" y="480"/>
                  </a:lnTo>
                  <a:lnTo>
                    <a:pt x="486" y="486"/>
                  </a:lnTo>
                  <a:lnTo>
                    <a:pt x="492" y="498"/>
                  </a:lnTo>
                  <a:lnTo>
                    <a:pt x="492" y="504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504" y="516"/>
                  </a:lnTo>
                  <a:lnTo>
                    <a:pt x="510" y="516"/>
                  </a:lnTo>
                  <a:lnTo>
                    <a:pt x="522" y="528"/>
                  </a:lnTo>
                  <a:lnTo>
                    <a:pt x="546" y="540"/>
                  </a:lnTo>
                  <a:lnTo>
                    <a:pt x="552" y="546"/>
                  </a:lnTo>
                  <a:lnTo>
                    <a:pt x="570" y="552"/>
                  </a:lnTo>
                  <a:lnTo>
                    <a:pt x="594" y="552"/>
                  </a:lnTo>
                  <a:lnTo>
                    <a:pt x="606" y="546"/>
                  </a:lnTo>
                  <a:lnTo>
                    <a:pt x="612" y="540"/>
                  </a:lnTo>
                  <a:lnTo>
                    <a:pt x="630" y="540"/>
                  </a:lnTo>
                  <a:lnTo>
                    <a:pt x="630" y="552"/>
                  </a:lnTo>
                  <a:lnTo>
                    <a:pt x="654" y="552"/>
                  </a:lnTo>
                  <a:lnTo>
                    <a:pt x="702" y="558"/>
                  </a:lnTo>
                  <a:lnTo>
                    <a:pt x="762" y="546"/>
                  </a:lnTo>
                  <a:lnTo>
                    <a:pt x="780" y="546"/>
                  </a:lnTo>
                  <a:lnTo>
                    <a:pt x="780" y="528"/>
                  </a:lnTo>
                  <a:lnTo>
                    <a:pt x="798" y="522"/>
                  </a:lnTo>
                  <a:lnTo>
                    <a:pt x="810" y="510"/>
                  </a:lnTo>
                  <a:lnTo>
                    <a:pt x="810" y="504"/>
                  </a:lnTo>
                  <a:lnTo>
                    <a:pt x="828" y="492"/>
                  </a:lnTo>
                  <a:lnTo>
                    <a:pt x="888" y="486"/>
                  </a:lnTo>
                  <a:lnTo>
                    <a:pt x="912" y="486"/>
                  </a:lnTo>
                  <a:lnTo>
                    <a:pt x="930" y="474"/>
                  </a:lnTo>
                  <a:lnTo>
                    <a:pt x="918" y="456"/>
                  </a:lnTo>
                  <a:lnTo>
                    <a:pt x="912" y="450"/>
                  </a:lnTo>
                  <a:lnTo>
                    <a:pt x="918" y="390"/>
                  </a:lnTo>
                  <a:lnTo>
                    <a:pt x="954" y="396"/>
                  </a:lnTo>
                  <a:lnTo>
                    <a:pt x="984" y="402"/>
                  </a:lnTo>
                  <a:lnTo>
                    <a:pt x="1014" y="420"/>
                  </a:lnTo>
                  <a:lnTo>
                    <a:pt x="1026" y="432"/>
                  </a:lnTo>
                  <a:lnTo>
                    <a:pt x="1044" y="450"/>
                  </a:lnTo>
                  <a:lnTo>
                    <a:pt x="1062" y="462"/>
                  </a:lnTo>
                  <a:lnTo>
                    <a:pt x="1098" y="468"/>
                  </a:lnTo>
                  <a:lnTo>
                    <a:pt x="1128" y="480"/>
                  </a:lnTo>
                  <a:lnTo>
                    <a:pt x="1152" y="486"/>
                  </a:lnTo>
                  <a:lnTo>
                    <a:pt x="1188" y="498"/>
                  </a:lnTo>
                  <a:lnTo>
                    <a:pt x="1212" y="504"/>
                  </a:lnTo>
                  <a:lnTo>
                    <a:pt x="1224" y="528"/>
                  </a:lnTo>
                  <a:lnTo>
                    <a:pt x="1236" y="540"/>
                  </a:lnTo>
                  <a:lnTo>
                    <a:pt x="1254" y="540"/>
                  </a:lnTo>
                  <a:lnTo>
                    <a:pt x="1254" y="546"/>
                  </a:lnTo>
                  <a:lnTo>
                    <a:pt x="1260" y="552"/>
                  </a:lnTo>
                  <a:lnTo>
                    <a:pt x="1266" y="552"/>
                  </a:lnTo>
                  <a:lnTo>
                    <a:pt x="1266" y="558"/>
                  </a:lnTo>
                  <a:lnTo>
                    <a:pt x="1272" y="564"/>
                  </a:lnTo>
                  <a:lnTo>
                    <a:pt x="1278" y="564"/>
                  </a:lnTo>
                  <a:lnTo>
                    <a:pt x="1278" y="570"/>
                  </a:lnTo>
                  <a:lnTo>
                    <a:pt x="1284" y="576"/>
                  </a:lnTo>
                  <a:lnTo>
                    <a:pt x="1290" y="582"/>
                  </a:lnTo>
                  <a:lnTo>
                    <a:pt x="1296" y="582"/>
                  </a:lnTo>
                  <a:lnTo>
                    <a:pt x="1296" y="588"/>
                  </a:lnTo>
                  <a:lnTo>
                    <a:pt x="1308" y="594"/>
                  </a:lnTo>
                  <a:lnTo>
                    <a:pt x="1308" y="600"/>
                  </a:lnTo>
                  <a:lnTo>
                    <a:pt x="1308" y="606"/>
                  </a:lnTo>
                  <a:lnTo>
                    <a:pt x="1314" y="612"/>
                  </a:lnTo>
                  <a:lnTo>
                    <a:pt x="1308" y="618"/>
                  </a:lnTo>
                  <a:lnTo>
                    <a:pt x="1314" y="618"/>
                  </a:lnTo>
                  <a:lnTo>
                    <a:pt x="1314" y="624"/>
                  </a:lnTo>
                  <a:lnTo>
                    <a:pt x="1308" y="624"/>
                  </a:lnTo>
                  <a:lnTo>
                    <a:pt x="1302" y="630"/>
                  </a:lnTo>
                  <a:lnTo>
                    <a:pt x="1302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296" y="654"/>
                  </a:lnTo>
                  <a:lnTo>
                    <a:pt x="1302" y="660"/>
                  </a:lnTo>
                  <a:lnTo>
                    <a:pt x="1302" y="666"/>
                  </a:lnTo>
                  <a:lnTo>
                    <a:pt x="1308" y="666"/>
                  </a:lnTo>
                  <a:lnTo>
                    <a:pt x="1308" y="672"/>
                  </a:lnTo>
                  <a:lnTo>
                    <a:pt x="1308" y="678"/>
                  </a:lnTo>
                  <a:lnTo>
                    <a:pt x="1308" y="684"/>
                  </a:lnTo>
                  <a:lnTo>
                    <a:pt x="1308" y="690"/>
                  </a:lnTo>
                  <a:lnTo>
                    <a:pt x="1302" y="696"/>
                  </a:lnTo>
                  <a:lnTo>
                    <a:pt x="1302" y="702"/>
                  </a:lnTo>
                  <a:lnTo>
                    <a:pt x="1308" y="702"/>
                  </a:lnTo>
                  <a:lnTo>
                    <a:pt x="1302" y="708"/>
                  </a:lnTo>
                  <a:lnTo>
                    <a:pt x="1308" y="714"/>
                  </a:lnTo>
                  <a:lnTo>
                    <a:pt x="1308" y="720"/>
                  </a:lnTo>
                  <a:lnTo>
                    <a:pt x="1308" y="726"/>
                  </a:lnTo>
                  <a:lnTo>
                    <a:pt x="1308" y="732"/>
                  </a:lnTo>
                  <a:lnTo>
                    <a:pt x="1314" y="732"/>
                  </a:lnTo>
                  <a:lnTo>
                    <a:pt x="1314" y="738"/>
                  </a:lnTo>
                  <a:lnTo>
                    <a:pt x="1320" y="744"/>
                  </a:lnTo>
                  <a:lnTo>
                    <a:pt x="1326" y="750"/>
                  </a:lnTo>
                  <a:lnTo>
                    <a:pt x="1320" y="750"/>
                  </a:lnTo>
                  <a:lnTo>
                    <a:pt x="1320" y="756"/>
                  </a:lnTo>
                  <a:lnTo>
                    <a:pt x="1314" y="756"/>
                  </a:lnTo>
                  <a:lnTo>
                    <a:pt x="1314" y="762"/>
                  </a:lnTo>
                  <a:lnTo>
                    <a:pt x="1314" y="768"/>
                  </a:lnTo>
                  <a:lnTo>
                    <a:pt x="1320" y="768"/>
                  </a:lnTo>
                  <a:lnTo>
                    <a:pt x="1320" y="762"/>
                  </a:lnTo>
                  <a:lnTo>
                    <a:pt x="1320" y="768"/>
                  </a:lnTo>
                  <a:lnTo>
                    <a:pt x="1326" y="774"/>
                  </a:lnTo>
                  <a:lnTo>
                    <a:pt x="1332" y="774"/>
                  </a:lnTo>
                  <a:lnTo>
                    <a:pt x="1332" y="780"/>
                  </a:lnTo>
                  <a:lnTo>
                    <a:pt x="1332" y="786"/>
                  </a:lnTo>
                  <a:lnTo>
                    <a:pt x="1332" y="792"/>
                  </a:lnTo>
                  <a:lnTo>
                    <a:pt x="1338" y="786"/>
                  </a:lnTo>
                  <a:lnTo>
                    <a:pt x="1338" y="792"/>
                  </a:lnTo>
                  <a:lnTo>
                    <a:pt x="1344" y="798"/>
                  </a:lnTo>
                  <a:lnTo>
                    <a:pt x="1344" y="804"/>
                  </a:lnTo>
                  <a:lnTo>
                    <a:pt x="1344" y="810"/>
                  </a:lnTo>
                  <a:lnTo>
                    <a:pt x="1344" y="816"/>
                  </a:lnTo>
                  <a:lnTo>
                    <a:pt x="1344" y="822"/>
                  </a:lnTo>
                  <a:lnTo>
                    <a:pt x="1338" y="828"/>
                  </a:lnTo>
                  <a:lnTo>
                    <a:pt x="1332" y="828"/>
                  </a:lnTo>
                  <a:lnTo>
                    <a:pt x="1338" y="840"/>
                  </a:lnTo>
                  <a:lnTo>
                    <a:pt x="1344" y="846"/>
                  </a:lnTo>
                  <a:lnTo>
                    <a:pt x="1344" y="852"/>
                  </a:lnTo>
                  <a:lnTo>
                    <a:pt x="1350" y="852"/>
                  </a:lnTo>
                  <a:lnTo>
                    <a:pt x="1356" y="858"/>
                  </a:lnTo>
                  <a:lnTo>
                    <a:pt x="1362" y="858"/>
                  </a:lnTo>
                  <a:lnTo>
                    <a:pt x="1362" y="870"/>
                  </a:lnTo>
                  <a:lnTo>
                    <a:pt x="1356" y="870"/>
                  </a:lnTo>
                  <a:lnTo>
                    <a:pt x="1356" y="876"/>
                  </a:lnTo>
                  <a:lnTo>
                    <a:pt x="1350" y="876"/>
                  </a:lnTo>
                  <a:lnTo>
                    <a:pt x="1344" y="876"/>
                  </a:lnTo>
                  <a:lnTo>
                    <a:pt x="1344" y="882"/>
                  </a:lnTo>
                  <a:lnTo>
                    <a:pt x="1338" y="882"/>
                  </a:lnTo>
                  <a:lnTo>
                    <a:pt x="1338" y="888"/>
                  </a:lnTo>
                  <a:lnTo>
                    <a:pt x="1338" y="894"/>
                  </a:lnTo>
                  <a:lnTo>
                    <a:pt x="1344" y="900"/>
                  </a:lnTo>
                  <a:lnTo>
                    <a:pt x="1344" y="906"/>
                  </a:lnTo>
                  <a:lnTo>
                    <a:pt x="1338" y="906"/>
                  </a:lnTo>
                  <a:lnTo>
                    <a:pt x="1332" y="912"/>
                  </a:lnTo>
                  <a:lnTo>
                    <a:pt x="1332" y="918"/>
                  </a:lnTo>
                  <a:lnTo>
                    <a:pt x="1326" y="918"/>
                  </a:lnTo>
                  <a:lnTo>
                    <a:pt x="1332" y="924"/>
                  </a:lnTo>
                  <a:lnTo>
                    <a:pt x="1284" y="942"/>
                  </a:lnTo>
                  <a:lnTo>
                    <a:pt x="1236" y="948"/>
                  </a:lnTo>
                  <a:lnTo>
                    <a:pt x="1194" y="966"/>
                  </a:lnTo>
                  <a:lnTo>
                    <a:pt x="1170" y="1002"/>
                  </a:lnTo>
                  <a:lnTo>
                    <a:pt x="1134" y="1020"/>
                  </a:lnTo>
                  <a:lnTo>
                    <a:pt x="1116" y="1032"/>
                  </a:lnTo>
                  <a:lnTo>
                    <a:pt x="1098" y="1050"/>
                  </a:lnTo>
                  <a:lnTo>
                    <a:pt x="1074" y="1074"/>
                  </a:lnTo>
                  <a:lnTo>
                    <a:pt x="1008" y="1134"/>
                  </a:lnTo>
                  <a:lnTo>
                    <a:pt x="990" y="1158"/>
                  </a:lnTo>
                  <a:lnTo>
                    <a:pt x="978" y="1182"/>
                  </a:lnTo>
                  <a:lnTo>
                    <a:pt x="960" y="1194"/>
                  </a:lnTo>
                  <a:lnTo>
                    <a:pt x="942" y="1212"/>
                  </a:lnTo>
                  <a:lnTo>
                    <a:pt x="912" y="1242"/>
                  </a:lnTo>
                  <a:lnTo>
                    <a:pt x="888" y="1254"/>
                  </a:lnTo>
                  <a:lnTo>
                    <a:pt x="864" y="1278"/>
                  </a:lnTo>
                  <a:lnTo>
                    <a:pt x="828" y="1296"/>
                  </a:lnTo>
                  <a:lnTo>
                    <a:pt x="774" y="1308"/>
                  </a:lnTo>
                  <a:lnTo>
                    <a:pt x="732" y="1302"/>
                  </a:lnTo>
                  <a:lnTo>
                    <a:pt x="702" y="1284"/>
                  </a:lnTo>
                  <a:lnTo>
                    <a:pt x="684" y="12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1" name="Freeform 16">
              <a:extLst>
                <a:ext uri="{FF2B5EF4-FFF2-40B4-BE49-F238E27FC236}">
                  <a16:creationId xmlns:a16="http://schemas.microsoft.com/office/drawing/2014/main" id="{D8D8591A-D9DB-4301-BEBD-D8F5A26DA9E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3001" y="2929369"/>
              <a:ext cx="914601" cy="1037736"/>
            </a:xfrm>
            <a:custGeom>
              <a:avLst/>
              <a:gdLst>
                <a:gd name="T0" fmla="*/ 144 w 1722"/>
                <a:gd name="T1" fmla="*/ 131 h 1956"/>
                <a:gd name="T2" fmla="*/ 142 w 1722"/>
                <a:gd name="T3" fmla="*/ 139 h 1956"/>
                <a:gd name="T4" fmla="*/ 137 w 1722"/>
                <a:gd name="T5" fmla="*/ 143 h 1956"/>
                <a:gd name="T6" fmla="*/ 133 w 1722"/>
                <a:gd name="T7" fmla="*/ 147 h 1956"/>
                <a:gd name="T8" fmla="*/ 132 w 1722"/>
                <a:gd name="T9" fmla="*/ 152 h 1956"/>
                <a:gd name="T10" fmla="*/ 130 w 1722"/>
                <a:gd name="T11" fmla="*/ 159 h 1956"/>
                <a:gd name="T12" fmla="*/ 127 w 1722"/>
                <a:gd name="T13" fmla="*/ 164 h 1956"/>
                <a:gd name="T14" fmla="*/ 123 w 1722"/>
                <a:gd name="T15" fmla="*/ 168 h 1956"/>
                <a:gd name="T16" fmla="*/ 117 w 1722"/>
                <a:gd name="T17" fmla="*/ 169 h 1956"/>
                <a:gd name="T18" fmla="*/ 110 w 1722"/>
                <a:gd name="T19" fmla="*/ 168 h 1956"/>
                <a:gd name="T20" fmla="*/ 104 w 1722"/>
                <a:gd name="T21" fmla="*/ 166 h 1956"/>
                <a:gd name="T22" fmla="*/ 101 w 1722"/>
                <a:gd name="T23" fmla="*/ 159 h 1956"/>
                <a:gd name="T24" fmla="*/ 95 w 1722"/>
                <a:gd name="T25" fmla="*/ 156 h 1956"/>
                <a:gd name="T26" fmla="*/ 89 w 1722"/>
                <a:gd name="T27" fmla="*/ 151 h 1956"/>
                <a:gd name="T28" fmla="*/ 87 w 1722"/>
                <a:gd name="T29" fmla="*/ 144 h 1956"/>
                <a:gd name="T30" fmla="*/ 82 w 1722"/>
                <a:gd name="T31" fmla="*/ 141 h 1956"/>
                <a:gd name="T32" fmla="*/ 76 w 1722"/>
                <a:gd name="T33" fmla="*/ 134 h 1956"/>
                <a:gd name="T34" fmla="*/ 74 w 1722"/>
                <a:gd name="T35" fmla="*/ 143 h 1956"/>
                <a:gd name="T36" fmla="*/ 68 w 1722"/>
                <a:gd name="T37" fmla="*/ 147 h 1956"/>
                <a:gd name="T38" fmla="*/ 54 w 1722"/>
                <a:gd name="T39" fmla="*/ 144 h 1956"/>
                <a:gd name="T40" fmla="*/ 51 w 1722"/>
                <a:gd name="T41" fmla="*/ 142 h 1956"/>
                <a:gd name="T42" fmla="*/ 42 w 1722"/>
                <a:gd name="T43" fmla="*/ 151 h 1956"/>
                <a:gd name="T44" fmla="*/ 33 w 1722"/>
                <a:gd name="T45" fmla="*/ 154 h 1956"/>
                <a:gd name="T46" fmla="*/ 31 w 1722"/>
                <a:gd name="T47" fmla="*/ 159 h 1956"/>
                <a:gd name="T48" fmla="*/ 29 w 1722"/>
                <a:gd name="T49" fmla="*/ 166 h 1956"/>
                <a:gd name="T50" fmla="*/ 25 w 1722"/>
                <a:gd name="T51" fmla="*/ 169 h 1956"/>
                <a:gd name="T52" fmla="*/ 27 w 1722"/>
                <a:gd name="T53" fmla="*/ 154 h 1956"/>
                <a:gd name="T54" fmla="*/ 37 w 1722"/>
                <a:gd name="T55" fmla="*/ 133 h 1956"/>
                <a:gd name="T56" fmla="*/ 36 w 1722"/>
                <a:gd name="T57" fmla="*/ 109 h 1956"/>
                <a:gd name="T58" fmla="*/ 27 w 1722"/>
                <a:gd name="T59" fmla="*/ 101 h 1956"/>
                <a:gd name="T60" fmla="*/ 5 w 1722"/>
                <a:gd name="T61" fmla="*/ 98 h 1956"/>
                <a:gd name="T62" fmla="*/ 2 w 1722"/>
                <a:gd name="T63" fmla="*/ 93 h 1956"/>
                <a:gd name="T64" fmla="*/ 12 w 1722"/>
                <a:gd name="T65" fmla="*/ 82 h 1956"/>
                <a:gd name="T66" fmla="*/ 9 w 1722"/>
                <a:gd name="T67" fmla="*/ 74 h 1956"/>
                <a:gd name="T68" fmla="*/ 23 w 1722"/>
                <a:gd name="T69" fmla="*/ 72 h 1956"/>
                <a:gd name="T70" fmla="*/ 22 w 1722"/>
                <a:gd name="T71" fmla="*/ 67 h 1956"/>
                <a:gd name="T72" fmla="*/ 48 w 1722"/>
                <a:gd name="T73" fmla="*/ 57 h 1956"/>
                <a:gd name="T74" fmla="*/ 78 w 1722"/>
                <a:gd name="T75" fmla="*/ 34 h 1956"/>
                <a:gd name="T76" fmla="*/ 81 w 1722"/>
                <a:gd name="T77" fmla="*/ 31 h 1956"/>
                <a:gd name="T78" fmla="*/ 80 w 1722"/>
                <a:gd name="T79" fmla="*/ 26 h 1956"/>
                <a:gd name="T80" fmla="*/ 78 w 1722"/>
                <a:gd name="T81" fmla="*/ 21 h 1956"/>
                <a:gd name="T82" fmla="*/ 77 w 1722"/>
                <a:gd name="T83" fmla="*/ 18 h 1956"/>
                <a:gd name="T84" fmla="*/ 77 w 1722"/>
                <a:gd name="T85" fmla="*/ 12 h 1956"/>
                <a:gd name="T86" fmla="*/ 77 w 1722"/>
                <a:gd name="T87" fmla="*/ 7 h 1956"/>
                <a:gd name="T88" fmla="*/ 102 w 1722"/>
                <a:gd name="T89" fmla="*/ 2 h 1956"/>
                <a:gd name="T90" fmla="*/ 115 w 1722"/>
                <a:gd name="T91" fmla="*/ 3 h 1956"/>
                <a:gd name="T92" fmla="*/ 123 w 1722"/>
                <a:gd name="T93" fmla="*/ 3 h 1956"/>
                <a:gd name="T94" fmla="*/ 125 w 1722"/>
                <a:gd name="T95" fmla="*/ 9 h 1956"/>
                <a:gd name="T96" fmla="*/ 133 w 1722"/>
                <a:gd name="T97" fmla="*/ 13 h 1956"/>
                <a:gd name="T98" fmla="*/ 149 w 1722"/>
                <a:gd name="T99" fmla="*/ 37 h 1956"/>
                <a:gd name="T100" fmla="*/ 141 w 1722"/>
                <a:gd name="T101" fmla="*/ 57 h 1956"/>
                <a:gd name="T102" fmla="*/ 135 w 1722"/>
                <a:gd name="T103" fmla="*/ 63 h 1956"/>
                <a:gd name="T104" fmla="*/ 124 w 1722"/>
                <a:gd name="T105" fmla="*/ 77 h 1956"/>
                <a:gd name="T106" fmla="*/ 123 w 1722"/>
                <a:gd name="T107" fmla="*/ 96 h 1956"/>
                <a:gd name="T108" fmla="*/ 127 w 1722"/>
                <a:gd name="T109" fmla="*/ 97 h 1956"/>
                <a:gd name="T110" fmla="*/ 129 w 1722"/>
                <a:gd name="T111" fmla="*/ 92 h 1956"/>
                <a:gd name="T112" fmla="*/ 134 w 1722"/>
                <a:gd name="T113" fmla="*/ 94 h 1956"/>
                <a:gd name="T114" fmla="*/ 138 w 1722"/>
                <a:gd name="T115" fmla="*/ 99 h 1956"/>
                <a:gd name="T116" fmla="*/ 142 w 1722"/>
                <a:gd name="T117" fmla="*/ 104 h 1956"/>
                <a:gd name="T118" fmla="*/ 141 w 1722"/>
                <a:gd name="T119" fmla="*/ 115 h 19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722"/>
                <a:gd name="T181" fmla="*/ 0 h 1956"/>
                <a:gd name="T182" fmla="*/ 1722 w 1722"/>
                <a:gd name="T183" fmla="*/ 1956 h 19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722" h="1956">
                  <a:moveTo>
                    <a:pt x="1686" y="1404"/>
                  </a:moveTo>
                  <a:lnTo>
                    <a:pt x="1680" y="1416"/>
                  </a:lnTo>
                  <a:lnTo>
                    <a:pt x="1674" y="1422"/>
                  </a:lnTo>
                  <a:lnTo>
                    <a:pt x="1674" y="1428"/>
                  </a:lnTo>
                  <a:lnTo>
                    <a:pt x="1668" y="1428"/>
                  </a:lnTo>
                  <a:lnTo>
                    <a:pt x="1668" y="1434"/>
                  </a:lnTo>
                  <a:lnTo>
                    <a:pt x="1662" y="1446"/>
                  </a:lnTo>
                  <a:lnTo>
                    <a:pt x="1656" y="1464"/>
                  </a:lnTo>
                  <a:lnTo>
                    <a:pt x="1656" y="1476"/>
                  </a:lnTo>
                  <a:lnTo>
                    <a:pt x="1656" y="1488"/>
                  </a:lnTo>
                  <a:lnTo>
                    <a:pt x="1662" y="1500"/>
                  </a:lnTo>
                  <a:lnTo>
                    <a:pt x="1662" y="1506"/>
                  </a:lnTo>
                  <a:lnTo>
                    <a:pt x="1662" y="1524"/>
                  </a:lnTo>
                  <a:lnTo>
                    <a:pt x="1668" y="1542"/>
                  </a:lnTo>
                  <a:lnTo>
                    <a:pt x="1674" y="1560"/>
                  </a:lnTo>
                  <a:lnTo>
                    <a:pt x="1680" y="1578"/>
                  </a:lnTo>
                  <a:lnTo>
                    <a:pt x="1686" y="1578"/>
                  </a:lnTo>
                  <a:lnTo>
                    <a:pt x="1686" y="1584"/>
                  </a:lnTo>
                  <a:lnTo>
                    <a:pt x="1686" y="1590"/>
                  </a:lnTo>
                  <a:lnTo>
                    <a:pt x="1686" y="1596"/>
                  </a:lnTo>
                  <a:lnTo>
                    <a:pt x="1680" y="1596"/>
                  </a:lnTo>
                  <a:lnTo>
                    <a:pt x="1674" y="1602"/>
                  </a:lnTo>
                  <a:lnTo>
                    <a:pt x="1662" y="1602"/>
                  </a:lnTo>
                  <a:lnTo>
                    <a:pt x="1638" y="1596"/>
                  </a:lnTo>
                  <a:lnTo>
                    <a:pt x="1632" y="1596"/>
                  </a:lnTo>
                  <a:lnTo>
                    <a:pt x="1626" y="1602"/>
                  </a:lnTo>
                  <a:lnTo>
                    <a:pt x="1620" y="1602"/>
                  </a:lnTo>
                  <a:lnTo>
                    <a:pt x="1614" y="1602"/>
                  </a:lnTo>
                  <a:lnTo>
                    <a:pt x="1602" y="1602"/>
                  </a:lnTo>
                  <a:lnTo>
                    <a:pt x="1602" y="1608"/>
                  </a:lnTo>
                  <a:lnTo>
                    <a:pt x="1602" y="1620"/>
                  </a:lnTo>
                  <a:lnTo>
                    <a:pt x="1596" y="1620"/>
                  </a:lnTo>
                  <a:lnTo>
                    <a:pt x="1590" y="1620"/>
                  </a:lnTo>
                  <a:lnTo>
                    <a:pt x="1584" y="1626"/>
                  </a:lnTo>
                  <a:lnTo>
                    <a:pt x="1584" y="1632"/>
                  </a:lnTo>
                  <a:lnTo>
                    <a:pt x="1578" y="1644"/>
                  </a:lnTo>
                  <a:lnTo>
                    <a:pt x="1572" y="1644"/>
                  </a:lnTo>
                  <a:lnTo>
                    <a:pt x="1566" y="1644"/>
                  </a:lnTo>
                  <a:lnTo>
                    <a:pt x="1566" y="1650"/>
                  </a:lnTo>
                  <a:lnTo>
                    <a:pt x="1560" y="1650"/>
                  </a:lnTo>
                  <a:lnTo>
                    <a:pt x="1554" y="1650"/>
                  </a:lnTo>
                  <a:lnTo>
                    <a:pt x="1548" y="1650"/>
                  </a:lnTo>
                  <a:lnTo>
                    <a:pt x="1548" y="1656"/>
                  </a:lnTo>
                  <a:lnTo>
                    <a:pt x="1542" y="1668"/>
                  </a:lnTo>
                  <a:lnTo>
                    <a:pt x="1542" y="1674"/>
                  </a:lnTo>
                  <a:lnTo>
                    <a:pt x="1542" y="1692"/>
                  </a:lnTo>
                  <a:lnTo>
                    <a:pt x="1536" y="1698"/>
                  </a:lnTo>
                  <a:lnTo>
                    <a:pt x="1530" y="1698"/>
                  </a:lnTo>
                  <a:lnTo>
                    <a:pt x="1524" y="1698"/>
                  </a:lnTo>
                  <a:lnTo>
                    <a:pt x="1518" y="1704"/>
                  </a:lnTo>
                  <a:lnTo>
                    <a:pt x="1512" y="1710"/>
                  </a:lnTo>
                  <a:lnTo>
                    <a:pt x="1506" y="1722"/>
                  </a:lnTo>
                  <a:lnTo>
                    <a:pt x="1500" y="1728"/>
                  </a:lnTo>
                  <a:lnTo>
                    <a:pt x="1500" y="1734"/>
                  </a:lnTo>
                  <a:lnTo>
                    <a:pt x="1512" y="1734"/>
                  </a:lnTo>
                  <a:lnTo>
                    <a:pt x="1518" y="1740"/>
                  </a:lnTo>
                  <a:lnTo>
                    <a:pt x="1518" y="1746"/>
                  </a:lnTo>
                  <a:lnTo>
                    <a:pt x="1518" y="1752"/>
                  </a:lnTo>
                  <a:lnTo>
                    <a:pt x="1518" y="1758"/>
                  </a:lnTo>
                  <a:lnTo>
                    <a:pt x="1524" y="1758"/>
                  </a:lnTo>
                  <a:lnTo>
                    <a:pt x="1524" y="1764"/>
                  </a:lnTo>
                  <a:lnTo>
                    <a:pt x="1530" y="1770"/>
                  </a:lnTo>
                  <a:lnTo>
                    <a:pt x="1518" y="1770"/>
                  </a:lnTo>
                  <a:lnTo>
                    <a:pt x="1512" y="1782"/>
                  </a:lnTo>
                  <a:lnTo>
                    <a:pt x="1512" y="1788"/>
                  </a:lnTo>
                  <a:lnTo>
                    <a:pt x="1518" y="1788"/>
                  </a:lnTo>
                  <a:lnTo>
                    <a:pt x="1524" y="1800"/>
                  </a:lnTo>
                  <a:lnTo>
                    <a:pt x="1524" y="1806"/>
                  </a:lnTo>
                  <a:lnTo>
                    <a:pt x="1518" y="1812"/>
                  </a:lnTo>
                  <a:lnTo>
                    <a:pt x="1512" y="1818"/>
                  </a:lnTo>
                  <a:lnTo>
                    <a:pt x="1506" y="1818"/>
                  </a:lnTo>
                  <a:lnTo>
                    <a:pt x="1500" y="1824"/>
                  </a:lnTo>
                  <a:lnTo>
                    <a:pt x="1500" y="1836"/>
                  </a:lnTo>
                  <a:lnTo>
                    <a:pt x="1500" y="1842"/>
                  </a:lnTo>
                  <a:lnTo>
                    <a:pt x="1500" y="1848"/>
                  </a:lnTo>
                  <a:lnTo>
                    <a:pt x="1500" y="1854"/>
                  </a:lnTo>
                  <a:lnTo>
                    <a:pt x="1494" y="1860"/>
                  </a:lnTo>
                  <a:lnTo>
                    <a:pt x="1488" y="1860"/>
                  </a:lnTo>
                  <a:lnTo>
                    <a:pt x="1488" y="1866"/>
                  </a:lnTo>
                  <a:lnTo>
                    <a:pt x="1482" y="1872"/>
                  </a:lnTo>
                  <a:lnTo>
                    <a:pt x="1482" y="1878"/>
                  </a:lnTo>
                  <a:lnTo>
                    <a:pt x="1482" y="1884"/>
                  </a:lnTo>
                  <a:lnTo>
                    <a:pt x="1476" y="1890"/>
                  </a:lnTo>
                  <a:lnTo>
                    <a:pt x="1470" y="1890"/>
                  </a:lnTo>
                  <a:lnTo>
                    <a:pt x="1470" y="1896"/>
                  </a:lnTo>
                  <a:lnTo>
                    <a:pt x="1464" y="1896"/>
                  </a:lnTo>
                  <a:lnTo>
                    <a:pt x="1458" y="1896"/>
                  </a:lnTo>
                  <a:lnTo>
                    <a:pt x="1452" y="1896"/>
                  </a:lnTo>
                  <a:lnTo>
                    <a:pt x="1440" y="1890"/>
                  </a:lnTo>
                  <a:lnTo>
                    <a:pt x="1434" y="1896"/>
                  </a:lnTo>
                  <a:lnTo>
                    <a:pt x="1428" y="1896"/>
                  </a:lnTo>
                  <a:lnTo>
                    <a:pt x="1422" y="1896"/>
                  </a:lnTo>
                  <a:lnTo>
                    <a:pt x="1422" y="1902"/>
                  </a:lnTo>
                  <a:lnTo>
                    <a:pt x="1416" y="1902"/>
                  </a:lnTo>
                  <a:lnTo>
                    <a:pt x="1422" y="1914"/>
                  </a:lnTo>
                  <a:lnTo>
                    <a:pt x="1422" y="1932"/>
                  </a:lnTo>
                  <a:lnTo>
                    <a:pt x="1416" y="1938"/>
                  </a:lnTo>
                  <a:lnTo>
                    <a:pt x="1422" y="1938"/>
                  </a:lnTo>
                  <a:lnTo>
                    <a:pt x="1404" y="1938"/>
                  </a:lnTo>
                  <a:lnTo>
                    <a:pt x="1392" y="1944"/>
                  </a:lnTo>
                  <a:lnTo>
                    <a:pt x="1386" y="1944"/>
                  </a:lnTo>
                  <a:lnTo>
                    <a:pt x="1374" y="1944"/>
                  </a:lnTo>
                  <a:lnTo>
                    <a:pt x="1368" y="1950"/>
                  </a:lnTo>
                  <a:lnTo>
                    <a:pt x="1374" y="1956"/>
                  </a:lnTo>
                  <a:lnTo>
                    <a:pt x="1368" y="1956"/>
                  </a:lnTo>
                  <a:lnTo>
                    <a:pt x="1356" y="1956"/>
                  </a:lnTo>
                  <a:lnTo>
                    <a:pt x="1350" y="1956"/>
                  </a:lnTo>
                  <a:lnTo>
                    <a:pt x="1350" y="1950"/>
                  </a:lnTo>
                  <a:lnTo>
                    <a:pt x="1344" y="1944"/>
                  </a:lnTo>
                  <a:lnTo>
                    <a:pt x="1332" y="1938"/>
                  </a:lnTo>
                  <a:lnTo>
                    <a:pt x="1326" y="1938"/>
                  </a:lnTo>
                  <a:lnTo>
                    <a:pt x="1320" y="1938"/>
                  </a:lnTo>
                  <a:lnTo>
                    <a:pt x="1314" y="1944"/>
                  </a:lnTo>
                  <a:lnTo>
                    <a:pt x="1308" y="1944"/>
                  </a:lnTo>
                  <a:lnTo>
                    <a:pt x="1302" y="1944"/>
                  </a:lnTo>
                  <a:lnTo>
                    <a:pt x="1296" y="1938"/>
                  </a:lnTo>
                  <a:lnTo>
                    <a:pt x="1284" y="1938"/>
                  </a:lnTo>
                  <a:lnTo>
                    <a:pt x="1278" y="1938"/>
                  </a:lnTo>
                  <a:lnTo>
                    <a:pt x="1272" y="1938"/>
                  </a:lnTo>
                  <a:lnTo>
                    <a:pt x="1266" y="1932"/>
                  </a:lnTo>
                  <a:lnTo>
                    <a:pt x="1260" y="1932"/>
                  </a:lnTo>
                  <a:lnTo>
                    <a:pt x="1254" y="1920"/>
                  </a:lnTo>
                  <a:lnTo>
                    <a:pt x="1248" y="1920"/>
                  </a:lnTo>
                  <a:lnTo>
                    <a:pt x="1242" y="1920"/>
                  </a:lnTo>
                  <a:lnTo>
                    <a:pt x="1236" y="1926"/>
                  </a:lnTo>
                  <a:lnTo>
                    <a:pt x="1236" y="1932"/>
                  </a:lnTo>
                  <a:lnTo>
                    <a:pt x="1230" y="1932"/>
                  </a:lnTo>
                  <a:lnTo>
                    <a:pt x="1224" y="1932"/>
                  </a:lnTo>
                  <a:lnTo>
                    <a:pt x="1218" y="1938"/>
                  </a:lnTo>
                  <a:lnTo>
                    <a:pt x="1212" y="1932"/>
                  </a:lnTo>
                  <a:lnTo>
                    <a:pt x="1206" y="1926"/>
                  </a:lnTo>
                  <a:lnTo>
                    <a:pt x="1206" y="1908"/>
                  </a:lnTo>
                  <a:lnTo>
                    <a:pt x="1206" y="1884"/>
                  </a:lnTo>
                  <a:lnTo>
                    <a:pt x="1206" y="1866"/>
                  </a:lnTo>
                  <a:lnTo>
                    <a:pt x="1212" y="1848"/>
                  </a:lnTo>
                  <a:lnTo>
                    <a:pt x="1212" y="1842"/>
                  </a:lnTo>
                  <a:lnTo>
                    <a:pt x="1206" y="1836"/>
                  </a:lnTo>
                  <a:lnTo>
                    <a:pt x="1200" y="1830"/>
                  </a:lnTo>
                  <a:lnTo>
                    <a:pt x="1194" y="1824"/>
                  </a:lnTo>
                  <a:lnTo>
                    <a:pt x="1188" y="1824"/>
                  </a:lnTo>
                  <a:lnTo>
                    <a:pt x="1182" y="1824"/>
                  </a:lnTo>
                  <a:lnTo>
                    <a:pt x="1176" y="1824"/>
                  </a:lnTo>
                  <a:lnTo>
                    <a:pt x="1170" y="1818"/>
                  </a:lnTo>
                  <a:lnTo>
                    <a:pt x="1164" y="1830"/>
                  </a:lnTo>
                  <a:lnTo>
                    <a:pt x="1152" y="1836"/>
                  </a:lnTo>
                  <a:lnTo>
                    <a:pt x="1146" y="1842"/>
                  </a:lnTo>
                  <a:lnTo>
                    <a:pt x="1140" y="1842"/>
                  </a:lnTo>
                  <a:lnTo>
                    <a:pt x="1134" y="1842"/>
                  </a:lnTo>
                  <a:lnTo>
                    <a:pt x="1128" y="1842"/>
                  </a:lnTo>
                  <a:lnTo>
                    <a:pt x="1116" y="1836"/>
                  </a:lnTo>
                  <a:lnTo>
                    <a:pt x="1110" y="1842"/>
                  </a:lnTo>
                  <a:lnTo>
                    <a:pt x="1092" y="1830"/>
                  </a:lnTo>
                  <a:lnTo>
                    <a:pt x="1092" y="1824"/>
                  </a:lnTo>
                  <a:lnTo>
                    <a:pt x="1092" y="1806"/>
                  </a:lnTo>
                  <a:lnTo>
                    <a:pt x="1092" y="1800"/>
                  </a:lnTo>
                  <a:lnTo>
                    <a:pt x="1092" y="1794"/>
                  </a:lnTo>
                  <a:lnTo>
                    <a:pt x="1086" y="1788"/>
                  </a:lnTo>
                  <a:lnTo>
                    <a:pt x="1080" y="1794"/>
                  </a:lnTo>
                  <a:lnTo>
                    <a:pt x="1074" y="1788"/>
                  </a:lnTo>
                  <a:lnTo>
                    <a:pt x="1068" y="1770"/>
                  </a:lnTo>
                  <a:lnTo>
                    <a:pt x="1056" y="1764"/>
                  </a:lnTo>
                  <a:lnTo>
                    <a:pt x="1050" y="1764"/>
                  </a:lnTo>
                  <a:lnTo>
                    <a:pt x="1044" y="1764"/>
                  </a:lnTo>
                  <a:lnTo>
                    <a:pt x="1038" y="1758"/>
                  </a:lnTo>
                  <a:lnTo>
                    <a:pt x="1032" y="1752"/>
                  </a:lnTo>
                  <a:lnTo>
                    <a:pt x="1032" y="1746"/>
                  </a:lnTo>
                  <a:lnTo>
                    <a:pt x="1032" y="1740"/>
                  </a:lnTo>
                  <a:lnTo>
                    <a:pt x="1032" y="1734"/>
                  </a:lnTo>
                  <a:lnTo>
                    <a:pt x="1026" y="1734"/>
                  </a:lnTo>
                  <a:lnTo>
                    <a:pt x="1032" y="1728"/>
                  </a:lnTo>
                  <a:lnTo>
                    <a:pt x="1032" y="1722"/>
                  </a:lnTo>
                  <a:lnTo>
                    <a:pt x="1044" y="1686"/>
                  </a:lnTo>
                  <a:lnTo>
                    <a:pt x="1044" y="1680"/>
                  </a:lnTo>
                  <a:lnTo>
                    <a:pt x="1032" y="1674"/>
                  </a:lnTo>
                  <a:lnTo>
                    <a:pt x="1026" y="1674"/>
                  </a:lnTo>
                  <a:lnTo>
                    <a:pt x="1026" y="1668"/>
                  </a:lnTo>
                  <a:lnTo>
                    <a:pt x="1020" y="1662"/>
                  </a:lnTo>
                  <a:lnTo>
                    <a:pt x="1014" y="1668"/>
                  </a:lnTo>
                  <a:lnTo>
                    <a:pt x="1008" y="1662"/>
                  </a:lnTo>
                  <a:lnTo>
                    <a:pt x="1002" y="1662"/>
                  </a:lnTo>
                  <a:lnTo>
                    <a:pt x="1002" y="1668"/>
                  </a:lnTo>
                  <a:lnTo>
                    <a:pt x="996" y="1668"/>
                  </a:lnTo>
                  <a:lnTo>
                    <a:pt x="996" y="1662"/>
                  </a:lnTo>
                  <a:lnTo>
                    <a:pt x="984" y="1662"/>
                  </a:lnTo>
                  <a:lnTo>
                    <a:pt x="984" y="1656"/>
                  </a:lnTo>
                  <a:lnTo>
                    <a:pt x="978" y="1650"/>
                  </a:lnTo>
                  <a:lnTo>
                    <a:pt x="978" y="1644"/>
                  </a:lnTo>
                  <a:lnTo>
                    <a:pt x="966" y="1650"/>
                  </a:lnTo>
                  <a:lnTo>
                    <a:pt x="960" y="1638"/>
                  </a:lnTo>
                  <a:lnTo>
                    <a:pt x="954" y="1632"/>
                  </a:lnTo>
                  <a:lnTo>
                    <a:pt x="948" y="1632"/>
                  </a:lnTo>
                  <a:lnTo>
                    <a:pt x="942" y="1626"/>
                  </a:lnTo>
                  <a:lnTo>
                    <a:pt x="942" y="1614"/>
                  </a:lnTo>
                  <a:lnTo>
                    <a:pt x="930" y="1608"/>
                  </a:lnTo>
                  <a:lnTo>
                    <a:pt x="924" y="1614"/>
                  </a:lnTo>
                  <a:lnTo>
                    <a:pt x="912" y="1608"/>
                  </a:lnTo>
                  <a:lnTo>
                    <a:pt x="888" y="1590"/>
                  </a:lnTo>
                  <a:lnTo>
                    <a:pt x="894" y="1578"/>
                  </a:lnTo>
                  <a:lnTo>
                    <a:pt x="894" y="1572"/>
                  </a:lnTo>
                  <a:lnTo>
                    <a:pt x="894" y="1566"/>
                  </a:lnTo>
                  <a:lnTo>
                    <a:pt x="894" y="1548"/>
                  </a:lnTo>
                  <a:lnTo>
                    <a:pt x="888" y="1548"/>
                  </a:lnTo>
                  <a:lnTo>
                    <a:pt x="882" y="1542"/>
                  </a:lnTo>
                  <a:lnTo>
                    <a:pt x="876" y="1542"/>
                  </a:lnTo>
                  <a:lnTo>
                    <a:pt x="876" y="1536"/>
                  </a:lnTo>
                  <a:lnTo>
                    <a:pt x="870" y="1542"/>
                  </a:lnTo>
                  <a:lnTo>
                    <a:pt x="870" y="1554"/>
                  </a:lnTo>
                  <a:lnTo>
                    <a:pt x="870" y="1566"/>
                  </a:lnTo>
                  <a:lnTo>
                    <a:pt x="870" y="1578"/>
                  </a:lnTo>
                  <a:lnTo>
                    <a:pt x="870" y="1584"/>
                  </a:lnTo>
                  <a:lnTo>
                    <a:pt x="864" y="1584"/>
                  </a:lnTo>
                  <a:lnTo>
                    <a:pt x="870" y="1602"/>
                  </a:lnTo>
                  <a:lnTo>
                    <a:pt x="864" y="1608"/>
                  </a:lnTo>
                  <a:lnTo>
                    <a:pt x="870" y="1614"/>
                  </a:lnTo>
                  <a:lnTo>
                    <a:pt x="864" y="1644"/>
                  </a:lnTo>
                  <a:lnTo>
                    <a:pt x="858" y="1650"/>
                  </a:lnTo>
                  <a:lnTo>
                    <a:pt x="858" y="1656"/>
                  </a:lnTo>
                  <a:lnTo>
                    <a:pt x="852" y="1662"/>
                  </a:lnTo>
                  <a:lnTo>
                    <a:pt x="852" y="1680"/>
                  </a:lnTo>
                  <a:lnTo>
                    <a:pt x="846" y="1686"/>
                  </a:lnTo>
                  <a:lnTo>
                    <a:pt x="834" y="1692"/>
                  </a:lnTo>
                  <a:lnTo>
                    <a:pt x="828" y="1692"/>
                  </a:lnTo>
                  <a:lnTo>
                    <a:pt x="822" y="1698"/>
                  </a:lnTo>
                  <a:lnTo>
                    <a:pt x="822" y="1704"/>
                  </a:lnTo>
                  <a:lnTo>
                    <a:pt x="816" y="1704"/>
                  </a:lnTo>
                  <a:lnTo>
                    <a:pt x="804" y="1692"/>
                  </a:lnTo>
                  <a:lnTo>
                    <a:pt x="786" y="1698"/>
                  </a:lnTo>
                  <a:lnTo>
                    <a:pt x="780" y="1698"/>
                  </a:lnTo>
                  <a:lnTo>
                    <a:pt x="756" y="1698"/>
                  </a:lnTo>
                  <a:lnTo>
                    <a:pt x="744" y="1698"/>
                  </a:lnTo>
                  <a:lnTo>
                    <a:pt x="738" y="1698"/>
                  </a:lnTo>
                  <a:lnTo>
                    <a:pt x="732" y="1704"/>
                  </a:lnTo>
                  <a:lnTo>
                    <a:pt x="726" y="1704"/>
                  </a:lnTo>
                  <a:lnTo>
                    <a:pt x="678" y="1710"/>
                  </a:lnTo>
                  <a:lnTo>
                    <a:pt x="642" y="1710"/>
                  </a:lnTo>
                  <a:lnTo>
                    <a:pt x="618" y="1680"/>
                  </a:lnTo>
                  <a:lnTo>
                    <a:pt x="618" y="1674"/>
                  </a:lnTo>
                  <a:lnTo>
                    <a:pt x="618" y="1668"/>
                  </a:lnTo>
                  <a:lnTo>
                    <a:pt x="624" y="1662"/>
                  </a:lnTo>
                  <a:lnTo>
                    <a:pt x="624" y="1656"/>
                  </a:lnTo>
                  <a:lnTo>
                    <a:pt x="624" y="1650"/>
                  </a:lnTo>
                  <a:lnTo>
                    <a:pt x="618" y="1650"/>
                  </a:lnTo>
                  <a:lnTo>
                    <a:pt x="618" y="1644"/>
                  </a:lnTo>
                  <a:lnTo>
                    <a:pt x="618" y="1638"/>
                  </a:lnTo>
                  <a:lnTo>
                    <a:pt x="618" y="1632"/>
                  </a:lnTo>
                  <a:lnTo>
                    <a:pt x="618" y="1626"/>
                  </a:lnTo>
                  <a:lnTo>
                    <a:pt x="612" y="1626"/>
                  </a:lnTo>
                  <a:lnTo>
                    <a:pt x="612" y="1620"/>
                  </a:lnTo>
                  <a:lnTo>
                    <a:pt x="606" y="1614"/>
                  </a:lnTo>
                  <a:lnTo>
                    <a:pt x="594" y="1626"/>
                  </a:lnTo>
                  <a:lnTo>
                    <a:pt x="594" y="1632"/>
                  </a:lnTo>
                  <a:lnTo>
                    <a:pt x="588" y="1638"/>
                  </a:lnTo>
                  <a:lnTo>
                    <a:pt x="582" y="1638"/>
                  </a:lnTo>
                  <a:lnTo>
                    <a:pt x="564" y="1656"/>
                  </a:lnTo>
                  <a:lnTo>
                    <a:pt x="558" y="1662"/>
                  </a:lnTo>
                  <a:lnTo>
                    <a:pt x="552" y="1662"/>
                  </a:lnTo>
                  <a:lnTo>
                    <a:pt x="540" y="1674"/>
                  </a:lnTo>
                  <a:lnTo>
                    <a:pt x="534" y="1680"/>
                  </a:lnTo>
                  <a:lnTo>
                    <a:pt x="522" y="1692"/>
                  </a:lnTo>
                  <a:lnTo>
                    <a:pt x="516" y="1704"/>
                  </a:lnTo>
                  <a:lnTo>
                    <a:pt x="510" y="1704"/>
                  </a:lnTo>
                  <a:lnTo>
                    <a:pt x="504" y="1704"/>
                  </a:lnTo>
                  <a:lnTo>
                    <a:pt x="486" y="1722"/>
                  </a:lnTo>
                  <a:lnTo>
                    <a:pt x="480" y="1740"/>
                  </a:lnTo>
                  <a:lnTo>
                    <a:pt x="474" y="1740"/>
                  </a:lnTo>
                  <a:lnTo>
                    <a:pt x="468" y="1746"/>
                  </a:lnTo>
                  <a:lnTo>
                    <a:pt x="456" y="1758"/>
                  </a:lnTo>
                  <a:lnTo>
                    <a:pt x="444" y="1770"/>
                  </a:lnTo>
                  <a:lnTo>
                    <a:pt x="438" y="1782"/>
                  </a:lnTo>
                  <a:lnTo>
                    <a:pt x="426" y="1788"/>
                  </a:lnTo>
                  <a:lnTo>
                    <a:pt x="420" y="1788"/>
                  </a:lnTo>
                  <a:lnTo>
                    <a:pt x="420" y="1782"/>
                  </a:lnTo>
                  <a:lnTo>
                    <a:pt x="414" y="1782"/>
                  </a:lnTo>
                  <a:lnTo>
                    <a:pt x="390" y="1782"/>
                  </a:lnTo>
                  <a:lnTo>
                    <a:pt x="390" y="1776"/>
                  </a:lnTo>
                  <a:lnTo>
                    <a:pt x="384" y="1776"/>
                  </a:lnTo>
                  <a:lnTo>
                    <a:pt x="378" y="1776"/>
                  </a:lnTo>
                  <a:lnTo>
                    <a:pt x="372" y="1776"/>
                  </a:lnTo>
                  <a:lnTo>
                    <a:pt x="366" y="1770"/>
                  </a:lnTo>
                  <a:lnTo>
                    <a:pt x="366" y="1776"/>
                  </a:lnTo>
                  <a:lnTo>
                    <a:pt x="360" y="1788"/>
                  </a:lnTo>
                  <a:lnTo>
                    <a:pt x="360" y="1794"/>
                  </a:lnTo>
                  <a:lnTo>
                    <a:pt x="360" y="1800"/>
                  </a:lnTo>
                  <a:lnTo>
                    <a:pt x="354" y="1806"/>
                  </a:lnTo>
                  <a:lnTo>
                    <a:pt x="354" y="1812"/>
                  </a:lnTo>
                  <a:lnTo>
                    <a:pt x="354" y="1824"/>
                  </a:lnTo>
                  <a:lnTo>
                    <a:pt x="348" y="1830"/>
                  </a:lnTo>
                  <a:lnTo>
                    <a:pt x="354" y="1836"/>
                  </a:lnTo>
                  <a:lnTo>
                    <a:pt x="348" y="1842"/>
                  </a:lnTo>
                  <a:lnTo>
                    <a:pt x="354" y="1848"/>
                  </a:lnTo>
                  <a:lnTo>
                    <a:pt x="348" y="1854"/>
                  </a:lnTo>
                  <a:lnTo>
                    <a:pt x="354" y="1854"/>
                  </a:lnTo>
                  <a:lnTo>
                    <a:pt x="348" y="1860"/>
                  </a:lnTo>
                  <a:lnTo>
                    <a:pt x="348" y="1866"/>
                  </a:lnTo>
                  <a:lnTo>
                    <a:pt x="342" y="1866"/>
                  </a:lnTo>
                  <a:lnTo>
                    <a:pt x="342" y="1872"/>
                  </a:lnTo>
                  <a:lnTo>
                    <a:pt x="342" y="1878"/>
                  </a:lnTo>
                  <a:lnTo>
                    <a:pt x="342" y="1884"/>
                  </a:lnTo>
                  <a:lnTo>
                    <a:pt x="336" y="1896"/>
                  </a:lnTo>
                  <a:lnTo>
                    <a:pt x="330" y="1914"/>
                  </a:lnTo>
                  <a:lnTo>
                    <a:pt x="324" y="1920"/>
                  </a:lnTo>
                  <a:lnTo>
                    <a:pt x="324" y="1926"/>
                  </a:lnTo>
                  <a:lnTo>
                    <a:pt x="318" y="1944"/>
                  </a:lnTo>
                  <a:lnTo>
                    <a:pt x="318" y="1950"/>
                  </a:lnTo>
                  <a:lnTo>
                    <a:pt x="312" y="1956"/>
                  </a:lnTo>
                  <a:lnTo>
                    <a:pt x="312" y="1950"/>
                  </a:lnTo>
                  <a:lnTo>
                    <a:pt x="306" y="1950"/>
                  </a:lnTo>
                  <a:lnTo>
                    <a:pt x="306" y="1956"/>
                  </a:lnTo>
                  <a:lnTo>
                    <a:pt x="300" y="1950"/>
                  </a:lnTo>
                  <a:lnTo>
                    <a:pt x="294" y="1956"/>
                  </a:lnTo>
                  <a:lnTo>
                    <a:pt x="288" y="1950"/>
                  </a:lnTo>
                  <a:lnTo>
                    <a:pt x="288" y="1944"/>
                  </a:lnTo>
                  <a:lnTo>
                    <a:pt x="282" y="1938"/>
                  </a:lnTo>
                  <a:lnTo>
                    <a:pt x="282" y="1932"/>
                  </a:lnTo>
                  <a:lnTo>
                    <a:pt x="282" y="1890"/>
                  </a:lnTo>
                  <a:lnTo>
                    <a:pt x="288" y="1860"/>
                  </a:lnTo>
                  <a:lnTo>
                    <a:pt x="294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300" y="1818"/>
                  </a:lnTo>
                  <a:lnTo>
                    <a:pt x="306" y="1794"/>
                  </a:lnTo>
                  <a:lnTo>
                    <a:pt x="306" y="1788"/>
                  </a:lnTo>
                  <a:lnTo>
                    <a:pt x="306" y="1782"/>
                  </a:lnTo>
                  <a:lnTo>
                    <a:pt x="312" y="1776"/>
                  </a:lnTo>
                  <a:lnTo>
                    <a:pt x="306" y="1776"/>
                  </a:lnTo>
                  <a:lnTo>
                    <a:pt x="312" y="1770"/>
                  </a:lnTo>
                  <a:lnTo>
                    <a:pt x="312" y="1740"/>
                  </a:lnTo>
                  <a:lnTo>
                    <a:pt x="318" y="1722"/>
                  </a:lnTo>
                  <a:lnTo>
                    <a:pt x="312" y="1722"/>
                  </a:lnTo>
                  <a:lnTo>
                    <a:pt x="300" y="1716"/>
                  </a:lnTo>
                  <a:lnTo>
                    <a:pt x="306" y="1716"/>
                  </a:lnTo>
                  <a:lnTo>
                    <a:pt x="312" y="1710"/>
                  </a:lnTo>
                  <a:lnTo>
                    <a:pt x="324" y="1674"/>
                  </a:lnTo>
                  <a:lnTo>
                    <a:pt x="366" y="1590"/>
                  </a:lnTo>
                  <a:lnTo>
                    <a:pt x="408" y="1548"/>
                  </a:lnTo>
                  <a:lnTo>
                    <a:pt x="426" y="1530"/>
                  </a:lnTo>
                  <a:lnTo>
                    <a:pt x="432" y="1500"/>
                  </a:lnTo>
                  <a:lnTo>
                    <a:pt x="426" y="1494"/>
                  </a:lnTo>
                  <a:lnTo>
                    <a:pt x="426" y="1482"/>
                  </a:lnTo>
                  <a:lnTo>
                    <a:pt x="432" y="1464"/>
                  </a:lnTo>
                  <a:lnTo>
                    <a:pt x="438" y="1428"/>
                  </a:lnTo>
                  <a:lnTo>
                    <a:pt x="462" y="1398"/>
                  </a:lnTo>
                  <a:lnTo>
                    <a:pt x="468" y="1362"/>
                  </a:lnTo>
                  <a:lnTo>
                    <a:pt x="462" y="1314"/>
                  </a:lnTo>
                  <a:lnTo>
                    <a:pt x="444" y="1284"/>
                  </a:lnTo>
                  <a:lnTo>
                    <a:pt x="432" y="1260"/>
                  </a:lnTo>
                  <a:lnTo>
                    <a:pt x="426" y="1260"/>
                  </a:lnTo>
                  <a:lnTo>
                    <a:pt x="420" y="1254"/>
                  </a:lnTo>
                  <a:lnTo>
                    <a:pt x="408" y="1260"/>
                  </a:lnTo>
                  <a:lnTo>
                    <a:pt x="402" y="1260"/>
                  </a:lnTo>
                  <a:lnTo>
                    <a:pt x="402" y="1254"/>
                  </a:lnTo>
                  <a:lnTo>
                    <a:pt x="396" y="1254"/>
                  </a:lnTo>
                  <a:lnTo>
                    <a:pt x="396" y="1248"/>
                  </a:lnTo>
                  <a:lnTo>
                    <a:pt x="384" y="1248"/>
                  </a:lnTo>
                  <a:lnTo>
                    <a:pt x="372" y="1230"/>
                  </a:lnTo>
                  <a:lnTo>
                    <a:pt x="360" y="1212"/>
                  </a:lnTo>
                  <a:lnTo>
                    <a:pt x="348" y="1188"/>
                  </a:lnTo>
                  <a:lnTo>
                    <a:pt x="324" y="1170"/>
                  </a:lnTo>
                  <a:lnTo>
                    <a:pt x="318" y="1170"/>
                  </a:lnTo>
                  <a:lnTo>
                    <a:pt x="312" y="1158"/>
                  </a:lnTo>
                  <a:lnTo>
                    <a:pt x="312" y="1152"/>
                  </a:lnTo>
                  <a:lnTo>
                    <a:pt x="306" y="1146"/>
                  </a:lnTo>
                  <a:lnTo>
                    <a:pt x="270" y="1122"/>
                  </a:lnTo>
                  <a:lnTo>
                    <a:pt x="240" y="1122"/>
                  </a:lnTo>
                  <a:lnTo>
                    <a:pt x="180" y="1116"/>
                  </a:lnTo>
                  <a:lnTo>
                    <a:pt x="174" y="1122"/>
                  </a:lnTo>
                  <a:lnTo>
                    <a:pt x="174" y="1128"/>
                  </a:lnTo>
                  <a:lnTo>
                    <a:pt x="168" y="1122"/>
                  </a:lnTo>
                  <a:lnTo>
                    <a:pt x="162" y="1116"/>
                  </a:lnTo>
                  <a:lnTo>
                    <a:pt x="144" y="1122"/>
                  </a:lnTo>
                  <a:lnTo>
                    <a:pt x="120" y="1122"/>
                  </a:lnTo>
                  <a:lnTo>
                    <a:pt x="54" y="1134"/>
                  </a:lnTo>
                  <a:lnTo>
                    <a:pt x="24" y="1152"/>
                  </a:lnTo>
                  <a:lnTo>
                    <a:pt x="6" y="1146"/>
                  </a:lnTo>
                  <a:lnTo>
                    <a:pt x="0" y="1134"/>
                  </a:lnTo>
                  <a:lnTo>
                    <a:pt x="0" y="1128"/>
                  </a:lnTo>
                  <a:lnTo>
                    <a:pt x="18" y="1110"/>
                  </a:lnTo>
                  <a:lnTo>
                    <a:pt x="24" y="1104"/>
                  </a:lnTo>
                  <a:lnTo>
                    <a:pt x="24" y="1098"/>
                  </a:lnTo>
                  <a:lnTo>
                    <a:pt x="30" y="1086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24" y="1074"/>
                  </a:lnTo>
                  <a:lnTo>
                    <a:pt x="18" y="1068"/>
                  </a:lnTo>
                  <a:lnTo>
                    <a:pt x="24" y="1062"/>
                  </a:lnTo>
                  <a:lnTo>
                    <a:pt x="42" y="1056"/>
                  </a:lnTo>
                  <a:lnTo>
                    <a:pt x="54" y="1050"/>
                  </a:lnTo>
                  <a:lnTo>
                    <a:pt x="72" y="1044"/>
                  </a:lnTo>
                  <a:lnTo>
                    <a:pt x="96" y="1032"/>
                  </a:lnTo>
                  <a:lnTo>
                    <a:pt x="102" y="1032"/>
                  </a:lnTo>
                  <a:lnTo>
                    <a:pt x="126" y="1008"/>
                  </a:lnTo>
                  <a:lnTo>
                    <a:pt x="144" y="990"/>
                  </a:lnTo>
                  <a:lnTo>
                    <a:pt x="156" y="978"/>
                  </a:lnTo>
                  <a:lnTo>
                    <a:pt x="156" y="966"/>
                  </a:lnTo>
                  <a:lnTo>
                    <a:pt x="150" y="960"/>
                  </a:lnTo>
                  <a:lnTo>
                    <a:pt x="144" y="948"/>
                  </a:lnTo>
                  <a:lnTo>
                    <a:pt x="144" y="936"/>
                  </a:lnTo>
                  <a:lnTo>
                    <a:pt x="138" y="918"/>
                  </a:lnTo>
                  <a:lnTo>
                    <a:pt x="150" y="912"/>
                  </a:lnTo>
                  <a:lnTo>
                    <a:pt x="150" y="894"/>
                  </a:lnTo>
                  <a:lnTo>
                    <a:pt x="132" y="876"/>
                  </a:lnTo>
                  <a:lnTo>
                    <a:pt x="126" y="876"/>
                  </a:lnTo>
                  <a:lnTo>
                    <a:pt x="120" y="870"/>
                  </a:lnTo>
                  <a:lnTo>
                    <a:pt x="120" y="864"/>
                  </a:lnTo>
                  <a:lnTo>
                    <a:pt x="114" y="864"/>
                  </a:lnTo>
                  <a:lnTo>
                    <a:pt x="108" y="864"/>
                  </a:lnTo>
                  <a:lnTo>
                    <a:pt x="108" y="858"/>
                  </a:lnTo>
                  <a:lnTo>
                    <a:pt x="102" y="852"/>
                  </a:lnTo>
                  <a:lnTo>
                    <a:pt x="96" y="852"/>
                  </a:lnTo>
                  <a:lnTo>
                    <a:pt x="102" y="834"/>
                  </a:lnTo>
                  <a:lnTo>
                    <a:pt x="108" y="816"/>
                  </a:lnTo>
                  <a:lnTo>
                    <a:pt x="114" y="804"/>
                  </a:lnTo>
                  <a:lnTo>
                    <a:pt x="132" y="798"/>
                  </a:lnTo>
                  <a:lnTo>
                    <a:pt x="144" y="798"/>
                  </a:lnTo>
                  <a:lnTo>
                    <a:pt x="180" y="810"/>
                  </a:lnTo>
                  <a:lnTo>
                    <a:pt x="192" y="816"/>
                  </a:lnTo>
                  <a:lnTo>
                    <a:pt x="234" y="822"/>
                  </a:lnTo>
                  <a:lnTo>
                    <a:pt x="264" y="828"/>
                  </a:lnTo>
                  <a:lnTo>
                    <a:pt x="270" y="840"/>
                  </a:lnTo>
                  <a:lnTo>
                    <a:pt x="270" y="834"/>
                  </a:lnTo>
                  <a:lnTo>
                    <a:pt x="270" y="828"/>
                  </a:lnTo>
                  <a:lnTo>
                    <a:pt x="270" y="822"/>
                  </a:lnTo>
                  <a:lnTo>
                    <a:pt x="270" y="816"/>
                  </a:lnTo>
                  <a:lnTo>
                    <a:pt x="264" y="810"/>
                  </a:lnTo>
                  <a:lnTo>
                    <a:pt x="264" y="804"/>
                  </a:lnTo>
                  <a:lnTo>
                    <a:pt x="264" y="798"/>
                  </a:lnTo>
                  <a:lnTo>
                    <a:pt x="258" y="792"/>
                  </a:lnTo>
                  <a:lnTo>
                    <a:pt x="258" y="786"/>
                  </a:lnTo>
                  <a:lnTo>
                    <a:pt x="264" y="786"/>
                  </a:lnTo>
                  <a:lnTo>
                    <a:pt x="264" y="780"/>
                  </a:lnTo>
                  <a:lnTo>
                    <a:pt x="258" y="774"/>
                  </a:lnTo>
                  <a:lnTo>
                    <a:pt x="258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82" y="762"/>
                  </a:lnTo>
                  <a:lnTo>
                    <a:pt x="312" y="780"/>
                  </a:lnTo>
                  <a:lnTo>
                    <a:pt x="354" y="786"/>
                  </a:lnTo>
                  <a:lnTo>
                    <a:pt x="408" y="774"/>
                  </a:lnTo>
                  <a:lnTo>
                    <a:pt x="444" y="756"/>
                  </a:lnTo>
                  <a:lnTo>
                    <a:pt x="468" y="732"/>
                  </a:lnTo>
                  <a:lnTo>
                    <a:pt x="492" y="720"/>
                  </a:lnTo>
                  <a:lnTo>
                    <a:pt x="522" y="690"/>
                  </a:lnTo>
                  <a:lnTo>
                    <a:pt x="540" y="672"/>
                  </a:lnTo>
                  <a:lnTo>
                    <a:pt x="558" y="660"/>
                  </a:lnTo>
                  <a:lnTo>
                    <a:pt x="570" y="636"/>
                  </a:lnTo>
                  <a:lnTo>
                    <a:pt x="588" y="612"/>
                  </a:lnTo>
                  <a:lnTo>
                    <a:pt x="654" y="552"/>
                  </a:lnTo>
                  <a:lnTo>
                    <a:pt x="678" y="528"/>
                  </a:lnTo>
                  <a:lnTo>
                    <a:pt x="696" y="510"/>
                  </a:lnTo>
                  <a:lnTo>
                    <a:pt x="714" y="498"/>
                  </a:lnTo>
                  <a:lnTo>
                    <a:pt x="750" y="480"/>
                  </a:lnTo>
                  <a:lnTo>
                    <a:pt x="774" y="444"/>
                  </a:lnTo>
                  <a:lnTo>
                    <a:pt x="816" y="426"/>
                  </a:lnTo>
                  <a:lnTo>
                    <a:pt x="864" y="420"/>
                  </a:lnTo>
                  <a:lnTo>
                    <a:pt x="912" y="402"/>
                  </a:lnTo>
                  <a:lnTo>
                    <a:pt x="906" y="396"/>
                  </a:lnTo>
                  <a:lnTo>
                    <a:pt x="912" y="396"/>
                  </a:lnTo>
                  <a:lnTo>
                    <a:pt x="912" y="390"/>
                  </a:lnTo>
                  <a:lnTo>
                    <a:pt x="918" y="384"/>
                  </a:lnTo>
                  <a:lnTo>
                    <a:pt x="924" y="384"/>
                  </a:lnTo>
                  <a:lnTo>
                    <a:pt x="924" y="378"/>
                  </a:lnTo>
                  <a:lnTo>
                    <a:pt x="918" y="372"/>
                  </a:lnTo>
                  <a:lnTo>
                    <a:pt x="918" y="366"/>
                  </a:lnTo>
                  <a:lnTo>
                    <a:pt x="918" y="360"/>
                  </a:lnTo>
                  <a:lnTo>
                    <a:pt x="924" y="360"/>
                  </a:lnTo>
                  <a:lnTo>
                    <a:pt x="924" y="354"/>
                  </a:lnTo>
                  <a:lnTo>
                    <a:pt x="930" y="354"/>
                  </a:lnTo>
                  <a:lnTo>
                    <a:pt x="936" y="354"/>
                  </a:lnTo>
                  <a:lnTo>
                    <a:pt x="936" y="348"/>
                  </a:lnTo>
                  <a:lnTo>
                    <a:pt x="942" y="348"/>
                  </a:lnTo>
                  <a:lnTo>
                    <a:pt x="942" y="336"/>
                  </a:lnTo>
                  <a:lnTo>
                    <a:pt x="936" y="336"/>
                  </a:lnTo>
                  <a:lnTo>
                    <a:pt x="930" y="330"/>
                  </a:lnTo>
                  <a:lnTo>
                    <a:pt x="924" y="330"/>
                  </a:lnTo>
                  <a:lnTo>
                    <a:pt x="924" y="324"/>
                  </a:lnTo>
                  <a:lnTo>
                    <a:pt x="918" y="318"/>
                  </a:lnTo>
                  <a:lnTo>
                    <a:pt x="912" y="306"/>
                  </a:lnTo>
                  <a:lnTo>
                    <a:pt x="918" y="306"/>
                  </a:lnTo>
                  <a:lnTo>
                    <a:pt x="924" y="300"/>
                  </a:lnTo>
                  <a:lnTo>
                    <a:pt x="924" y="294"/>
                  </a:lnTo>
                  <a:lnTo>
                    <a:pt x="924" y="288"/>
                  </a:lnTo>
                  <a:lnTo>
                    <a:pt x="924" y="282"/>
                  </a:lnTo>
                  <a:lnTo>
                    <a:pt x="924" y="276"/>
                  </a:lnTo>
                  <a:lnTo>
                    <a:pt x="918" y="270"/>
                  </a:lnTo>
                  <a:lnTo>
                    <a:pt x="918" y="264"/>
                  </a:lnTo>
                  <a:lnTo>
                    <a:pt x="912" y="270"/>
                  </a:lnTo>
                  <a:lnTo>
                    <a:pt x="912" y="264"/>
                  </a:lnTo>
                  <a:lnTo>
                    <a:pt x="912" y="258"/>
                  </a:lnTo>
                  <a:lnTo>
                    <a:pt x="912" y="252"/>
                  </a:lnTo>
                  <a:lnTo>
                    <a:pt x="906" y="252"/>
                  </a:lnTo>
                  <a:lnTo>
                    <a:pt x="900" y="246"/>
                  </a:lnTo>
                  <a:lnTo>
                    <a:pt x="900" y="240"/>
                  </a:lnTo>
                  <a:lnTo>
                    <a:pt x="900" y="246"/>
                  </a:lnTo>
                  <a:lnTo>
                    <a:pt x="894" y="246"/>
                  </a:lnTo>
                  <a:lnTo>
                    <a:pt x="894" y="240"/>
                  </a:lnTo>
                  <a:lnTo>
                    <a:pt x="894" y="234"/>
                  </a:lnTo>
                  <a:lnTo>
                    <a:pt x="900" y="234"/>
                  </a:lnTo>
                  <a:lnTo>
                    <a:pt x="900" y="228"/>
                  </a:lnTo>
                  <a:lnTo>
                    <a:pt x="906" y="228"/>
                  </a:lnTo>
                  <a:lnTo>
                    <a:pt x="900" y="222"/>
                  </a:lnTo>
                  <a:lnTo>
                    <a:pt x="894" y="216"/>
                  </a:lnTo>
                  <a:lnTo>
                    <a:pt x="894" y="210"/>
                  </a:lnTo>
                  <a:lnTo>
                    <a:pt x="888" y="210"/>
                  </a:lnTo>
                  <a:lnTo>
                    <a:pt x="888" y="204"/>
                  </a:lnTo>
                  <a:lnTo>
                    <a:pt x="888" y="198"/>
                  </a:lnTo>
                  <a:lnTo>
                    <a:pt x="888" y="192"/>
                  </a:lnTo>
                  <a:lnTo>
                    <a:pt x="882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82" y="174"/>
                  </a:lnTo>
                  <a:lnTo>
                    <a:pt x="888" y="168"/>
                  </a:lnTo>
                  <a:lnTo>
                    <a:pt x="888" y="162"/>
                  </a:lnTo>
                  <a:lnTo>
                    <a:pt x="888" y="156"/>
                  </a:lnTo>
                  <a:lnTo>
                    <a:pt x="888" y="150"/>
                  </a:lnTo>
                  <a:lnTo>
                    <a:pt x="888" y="144"/>
                  </a:lnTo>
                  <a:lnTo>
                    <a:pt x="882" y="144"/>
                  </a:lnTo>
                  <a:lnTo>
                    <a:pt x="882" y="138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76" y="120"/>
                  </a:lnTo>
                  <a:lnTo>
                    <a:pt x="882" y="114"/>
                  </a:lnTo>
                  <a:lnTo>
                    <a:pt x="882" y="108"/>
                  </a:lnTo>
                  <a:lnTo>
                    <a:pt x="888" y="102"/>
                  </a:lnTo>
                  <a:lnTo>
                    <a:pt x="894" y="102"/>
                  </a:lnTo>
                  <a:lnTo>
                    <a:pt x="894" y="96"/>
                  </a:lnTo>
                  <a:lnTo>
                    <a:pt x="888" y="96"/>
                  </a:lnTo>
                  <a:lnTo>
                    <a:pt x="894" y="90"/>
                  </a:lnTo>
                  <a:lnTo>
                    <a:pt x="888" y="84"/>
                  </a:lnTo>
                  <a:lnTo>
                    <a:pt x="888" y="78"/>
                  </a:lnTo>
                  <a:lnTo>
                    <a:pt x="924" y="66"/>
                  </a:lnTo>
                  <a:lnTo>
                    <a:pt x="966" y="66"/>
                  </a:lnTo>
                  <a:lnTo>
                    <a:pt x="996" y="48"/>
                  </a:lnTo>
                  <a:lnTo>
                    <a:pt x="1056" y="12"/>
                  </a:lnTo>
                  <a:lnTo>
                    <a:pt x="1128" y="0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0" y="18"/>
                  </a:lnTo>
                  <a:lnTo>
                    <a:pt x="1176" y="24"/>
                  </a:lnTo>
                  <a:lnTo>
                    <a:pt x="1182" y="24"/>
                  </a:lnTo>
                  <a:lnTo>
                    <a:pt x="1188" y="30"/>
                  </a:lnTo>
                  <a:lnTo>
                    <a:pt x="1194" y="30"/>
                  </a:lnTo>
                  <a:lnTo>
                    <a:pt x="1194" y="36"/>
                  </a:lnTo>
                  <a:lnTo>
                    <a:pt x="1260" y="30"/>
                  </a:lnTo>
                  <a:lnTo>
                    <a:pt x="1272" y="30"/>
                  </a:lnTo>
                  <a:lnTo>
                    <a:pt x="1296" y="24"/>
                  </a:lnTo>
                  <a:lnTo>
                    <a:pt x="1302" y="30"/>
                  </a:lnTo>
                  <a:lnTo>
                    <a:pt x="1302" y="36"/>
                  </a:lnTo>
                  <a:lnTo>
                    <a:pt x="1308" y="36"/>
                  </a:lnTo>
                  <a:lnTo>
                    <a:pt x="1314" y="36"/>
                  </a:lnTo>
                  <a:lnTo>
                    <a:pt x="1320" y="36"/>
                  </a:lnTo>
                  <a:lnTo>
                    <a:pt x="1326" y="30"/>
                  </a:lnTo>
                  <a:lnTo>
                    <a:pt x="1332" y="30"/>
                  </a:lnTo>
                  <a:lnTo>
                    <a:pt x="1338" y="30"/>
                  </a:lnTo>
                  <a:lnTo>
                    <a:pt x="1344" y="30"/>
                  </a:lnTo>
                  <a:lnTo>
                    <a:pt x="1374" y="30"/>
                  </a:lnTo>
                  <a:lnTo>
                    <a:pt x="1386" y="30"/>
                  </a:lnTo>
                  <a:lnTo>
                    <a:pt x="1392" y="24"/>
                  </a:lnTo>
                  <a:lnTo>
                    <a:pt x="1398" y="12"/>
                  </a:lnTo>
                  <a:lnTo>
                    <a:pt x="1404" y="6"/>
                  </a:lnTo>
                  <a:lnTo>
                    <a:pt x="1410" y="6"/>
                  </a:lnTo>
                  <a:lnTo>
                    <a:pt x="1410" y="12"/>
                  </a:lnTo>
                  <a:lnTo>
                    <a:pt x="1416" y="18"/>
                  </a:lnTo>
                  <a:lnTo>
                    <a:pt x="1416" y="36"/>
                  </a:lnTo>
                  <a:lnTo>
                    <a:pt x="1434" y="54"/>
                  </a:lnTo>
                  <a:lnTo>
                    <a:pt x="1434" y="60"/>
                  </a:lnTo>
                  <a:lnTo>
                    <a:pt x="1434" y="66"/>
                  </a:lnTo>
                  <a:lnTo>
                    <a:pt x="1434" y="72"/>
                  </a:lnTo>
                  <a:lnTo>
                    <a:pt x="1428" y="72"/>
                  </a:lnTo>
                  <a:lnTo>
                    <a:pt x="1428" y="78"/>
                  </a:lnTo>
                  <a:lnTo>
                    <a:pt x="1434" y="78"/>
                  </a:lnTo>
                  <a:lnTo>
                    <a:pt x="1440" y="84"/>
                  </a:lnTo>
                  <a:lnTo>
                    <a:pt x="1440" y="90"/>
                  </a:lnTo>
                  <a:lnTo>
                    <a:pt x="1440" y="96"/>
                  </a:lnTo>
                  <a:lnTo>
                    <a:pt x="1446" y="96"/>
                  </a:lnTo>
                  <a:lnTo>
                    <a:pt x="1446" y="108"/>
                  </a:lnTo>
                  <a:lnTo>
                    <a:pt x="1452" y="108"/>
                  </a:lnTo>
                  <a:lnTo>
                    <a:pt x="1452" y="114"/>
                  </a:lnTo>
                  <a:lnTo>
                    <a:pt x="1458" y="114"/>
                  </a:lnTo>
                  <a:lnTo>
                    <a:pt x="1470" y="120"/>
                  </a:lnTo>
                  <a:lnTo>
                    <a:pt x="1476" y="120"/>
                  </a:lnTo>
                  <a:lnTo>
                    <a:pt x="1476" y="114"/>
                  </a:lnTo>
                  <a:lnTo>
                    <a:pt x="1488" y="120"/>
                  </a:lnTo>
                  <a:lnTo>
                    <a:pt x="1506" y="120"/>
                  </a:lnTo>
                  <a:lnTo>
                    <a:pt x="1512" y="120"/>
                  </a:lnTo>
                  <a:lnTo>
                    <a:pt x="1518" y="120"/>
                  </a:lnTo>
                  <a:lnTo>
                    <a:pt x="1524" y="126"/>
                  </a:lnTo>
                  <a:lnTo>
                    <a:pt x="1536" y="150"/>
                  </a:lnTo>
                  <a:lnTo>
                    <a:pt x="1548" y="162"/>
                  </a:lnTo>
                  <a:lnTo>
                    <a:pt x="1554" y="168"/>
                  </a:lnTo>
                  <a:lnTo>
                    <a:pt x="1584" y="228"/>
                  </a:lnTo>
                  <a:lnTo>
                    <a:pt x="1584" y="234"/>
                  </a:lnTo>
                  <a:lnTo>
                    <a:pt x="1578" y="312"/>
                  </a:lnTo>
                  <a:lnTo>
                    <a:pt x="1590" y="318"/>
                  </a:lnTo>
                  <a:lnTo>
                    <a:pt x="1608" y="330"/>
                  </a:lnTo>
                  <a:lnTo>
                    <a:pt x="1620" y="342"/>
                  </a:lnTo>
                  <a:lnTo>
                    <a:pt x="1626" y="342"/>
                  </a:lnTo>
                  <a:lnTo>
                    <a:pt x="1692" y="360"/>
                  </a:lnTo>
                  <a:lnTo>
                    <a:pt x="1710" y="408"/>
                  </a:lnTo>
                  <a:lnTo>
                    <a:pt x="1722" y="426"/>
                  </a:lnTo>
                  <a:lnTo>
                    <a:pt x="1716" y="468"/>
                  </a:lnTo>
                  <a:lnTo>
                    <a:pt x="1686" y="486"/>
                  </a:lnTo>
                  <a:lnTo>
                    <a:pt x="1686" y="492"/>
                  </a:lnTo>
                  <a:lnTo>
                    <a:pt x="1680" y="498"/>
                  </a:lnTo>
                  <a:lnTo>
                    <a:pt x="1650" y="558"/>
                  </a:lnTo>
                  <a:lnTo>
                    <a:pt x="1650" y="570"/>
                  </a:lnTo>
                  <a:lnTo>
                    <a:pt x="1644" y="570"/>
                  </a:lnTo>
                  <a:lnTo>
                    <a:pt x="1638" y="582"/>
                  </a:lnTo>
                  <a:lnTo>
                    <a:pt x="1638" y="624"/>
                  </a:lnTo>
                  <a:lnTo>
                    <a:pt x="1638" y="636"/>
                  </a:lnTo>
                  <a:lnTo>
                    <a:pt x="1638" y="642"/>
                  </a:lnTo>
                  <a:lnTo>
                    <a:pt x="1632" y="660"/>
                  </a:lnTo>
                  <a:lnTo>
                    <a:pt x="1608" y="678"/>
                  </a:lnTo>
                  <a:lnTo>
                    <a:pt x="1584" y="690"/>
                  </a:lnTo>
                  <a:lnTo>
                    <a:pt x="1584" y="696"/>
                  </a:lnTo>
                  <a:lnTo>
                    <a:pt x="1578" y="702"/>
                  </a:lnTo>
                  <a:lnTo>
                    <a:pt x="1584" y="702"/>
                  </a:lnTo>
                  <a:lnTo>
                    <a:pt x="1578" y="714"/>
                  </a:lnTo>
                  <a:lnTo>
                    <a:pt x="1572" y="714"/>
                  </a:lnTo>
                  <a:lnTo>
                    <a:pt x="1572" y="720"/>
                  </a:lnTo>
                  <a:lnTo>
                    <a:pt x="1566" y="720"/>
                  </a:lnTo>
                  <a:lnTo>
                    <a:pt x="1560" y="726"/>
                  </a:lnTo>
                  <a:lnTo>
                    <a:pt x="1560" y="732"/>
                  </a:lnTo>
                  <a:lnTo>
                    <a:pt x="1554" y="732"/>
                  </a:lnTo>
                  <a:lnTo>
                    <a:pt x="1554" y="738"/>
                  </a:lnTo>
                  <a:lnTo>
                    <a:pt x="1554" y="744"/>
                  </a:lnTo>
                  <a:lnTo>
                    <a:pt x="1548" y="744"/>
                  </a:lnTo>
                  <a:lnTo>
                    <a:pt x="1548" y="738"/>
                  </a:lnTo>
                  <a:lnTo>
                    <a:pt x="1542" y="738"/>
                  </a:lnTo>
                  <a:lnTo>
                    <a:pt x="1542" y="744"/>
                  </a:lnTo>
                  <a:lnTo>
                    <a:pt x="1542" y="750"/>
                  </a:lnTo>
                  <a:lnTo>
                    <a:pt x="1494" y="804"/>
                  </a:lnTo>
                  <a:lnTo>
                    <a:pt x="1446" y="876"/>
                  </a:lnTo>
                  <a:lnTo>
                    <a:pt x="1440" y="876"/>
                  </a:lnTo>
                  <a:lnTo>
                    <a:pt x="1434" y="876"/>
                  </a:lnTo>
                  <a:lnTo>
                    <a:pt x="1428" y="882"/>
                  </a:lnTo>
                  <a:lnTo>
                    <a:pt x="1422" y="882"/>
                  </a:lnTo>
                  <a:lnTo>
                    <a:pt x="1386" y="924"/>
                  </a:lnTo>
                  <a:lnTo>
                    <a:pt x="1362" y="954"/>
                  </a:lnTo>
                  <a:lnTo>
                    <a:pt x="1356" y="984"/>
                  </a:lnTo>
                  <a:lnTo>
                    <a:pt x="1362" y="1002"/>
                  </a:lnTo>
                  <a:lnTo>
                    <a:pt x="1368" y="1020"/>
                  </a:lnTo>
                  <a:lnTo>
                    <a:pt x="1386" y="1056"/>
                  </a:lnTo>
                  <a:lnTo>
                    <a:pt x="1404" y="1074"/>
                  </a:lnTo>
                  <a:lnTo>
                    <a:pt x="1416" y="1080"/>
                  </a:lnTo>
                  <a:lnTo>
                    <a:pt x="1416" y="1086"/>
                  </a:lnTo>
                  <a:lnTo>
                    <a:pt x="1422" y="1098"/>
                  </a:lnTo>
                  <a:lnTo>
                    <a:pt x="1422" y="1110"/>
                  </a:lnTo>
                  <a:lnTo>
                    <a:pt x="1428" y="1116"/>
                  </a:lnTo>
                  <a:lnTo>
                    <a:pt x="1434" y="1116"/>
                  </a:lnTo>
                  <a:lnTo>
                    <a:pt x="1434" y="1122"/>
                  </a:lnTo>
                  <a:lnTo>
                    <a:pt x="1434" y="1128"/>
                  </a:lnTo>
                  <a:lnTo>
                    <a:pt x="1440" y="1134"/>
                  </a:lnTo>
                  <a:lnTo>
                    <a:pt x="1446" y="1134"/>
                  </a:lnTo>
                  <a:lnTo>
                    <a:pt x="1458" y="1134"/>
                  </a:lnTo>
                  <a:lnTo>
                    <a:pt x="1458" y="1140"/>
                  </a:lnTo>
                  <a:lnTo>
                    <a:pt x="1464" y="1134"/>
                  </a:lnTo>
                  <a:lnTo>
                    <a:pt x="1470" y="1134"/>
                  </a:lnTo>
                  <a:lnTo>
                    <a:pt x="1464" y="1128"/>
                  </a:lnTo>
                  <a:lnTo>
                    <a:pt x="1464" y="1122"/>
                  </a:lnTo>
                  <a:lnTo>
                    <a:pt x="1470" y="1116"/>
                  </a:lnTo>
                  <a:lnTo>
                    <a:pt x="1470" y="1122"/>
                  </a:lnTo>
                  <a:lnTo>
                    <a:pt x="1476" y="1122"/>
                  </a:lnTo>
                  <a:lnTo>
                    <a:pt x="1476" y="1116"/>
                  </a:lnTo>
                  <a:lnTo>
                    <a:pt x="1482" y="1110"/>
                  </a:lnTo>
                  <a:lnTo>
                    <a:pt x="1476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82" y="1086"/>
                  </a:lnTo>
                  <a:lnTo>
                    <a:pt x="1482" y="1074"/>
                  </a:lnTo>
                  <a:lnTo>
                    <a:pt x="1488" y="1068"/>
                  </a:lnTo>
                  <a:lnTo>
                    <a:pt x="1488" y="1062"/>
                  </a:lnTo>
                  <a:lnTo>
                    <a:pt x="1494" y="1062"/>
                  </a:lnTo>
                  <a:lnTo>
                    <a:pt x="1500" y="1062"/>
                  </a:lnTo>
                  <a:lnTo>
                    <a:pt x="1506" y="1062"/>
                  </a:lnTo>
                  <a:lnTo>
                    <a:pt x="1506" y="1056"/>
                  </a:lnTo>
                  <a:lnTo>
                    <a:pt x="1506" y="1062"/>
                  </a:lnTo>
                  <a:lnTo>
                    <a:pt x="1518" y="1062"/>
                  </a:lnTo>
                  <a:lnTo>
                    <a:pt x="1524" y="1062"/>
                  </a:lnTo>
                  <a:lnTo>
                    <a:pt x="1530" y="1062"/>
                  </a:lnTo>
                  <a:lnTo>
                    <a:pt x="1536" y="1068"/>
                  </a:lnTo>
                  <a:lnTo>
                    <a:pt x="1536" y="1074"/>
                  </a:lnTo>
                  <a:lnTo>
                    <a:pt x="1542" y="1086"/>
                  </a:lnTo>
                  <a:lnTo>
                    <a:pt x="1548" y="1086"/>
                  </a:lnTo>
                  <a:lnTo>
                    <a:pt x="1554" y="1086"/>
                  </a:lnTo>
                  <a:lnTo>
                    <a:pt x="1566" y="1098"/>
                  </a:lnTo>
                  <a:lnTo>
                    <a:pt x="1572" y="1104"/>
                  </a:lnTo>
                  <a:lnTo>
                    <a:pt x="1566" y="1110"/>
                  </a:lnTo>
                  <a:lnTo>
                    <a:pt x="1572" y="1116"/>
                  </a:lnTo>
                  <a:lnTo>
                    <a:pt x="1578" y="1116"/>
                  </a:lnTo>
                  <a:lnTo>
                    <a:pt x="1578" y="1122"/>
                  </a:lnTo>
                  <a:lnTo>
                    <a:pt x="1584" y="1122"/>
                  </a:lnTo>
                  <a:lnTo>
                    <a:pt x="1584" y="1128"/>
                  </a:lnTo>
                  <a:lnTo>
                    <a:pt x="1584" y="1134"/>
                  </a:lnTo>
                  <a:lnTo>
                    <a:pt x="1590" y="1134"/>
                  </a:lnTo>
                  <a:lnTo>
                    <a:pt x="1596" y="1140"/>
                  </a:lnTo>
                  <a:lnTo>
                    <a:pt x="1602" y="1146"/>
                  </a:lnTo>
                  <a:lnTo>
                    <a:pt x="1608" y="1146"/>
                  </a:lnTo>
                  <a:lnTo>
                    <a:pt x="1614" y="1146"/>
                  </a:lnTo>
                  <a:lnTo>
                    <a:pt x="1614" y="1152"/>
                  </a:lnTo>
                  <a:lnTo>
                    <a:pt x="1620" y="1152"/>
                  </a:lnTo>
                  <a:lnTo>
                    <a:pt x="1626" y="1164"/>
                  </a:lnTo>
                  <a:lnTo>
                    <a:pt x="1632" y="1170"/>
                  </a:lnTo>
                  <a:lnTo>
                    <a:pt x="1638" y="1176"/>
                  </a:lnTo>
                  <a:lnTo>
                    <a:pt x="1638" y="1182"/>
                  </a:lnTo>
                  <a:lnTo>
                    <a:pt x="1644" y="1194"/>
                  </a:lnTo>
                  <a:lnTo>
                    <a:pt x="1644" y="1200"/>
                  </a:lnTo>
                  <a:lnTo>
                    <a:pt x="1638" y="1200"/>
                  </a:lnTo>
                  <a:lnTo>
                    <a:pt x="1638" y="1206"/>
                  </a:lnTo>
                  <a:lnTo>
                    <a:pt x="1638" y="1212"/>
                  </a:lnTo>
                  <a:lnTo>
                    <a:pt x="1638" y="1218"/>
                  </a:lnTo>
                  <a:lnTo>
                    <a:pt x="1632" y="1242"/>
                  </a:lnTo>
                  <a:lnTo>
                    <a:pt x="1632" y="1266"/>
                  </a:lnTo>
                  <a:lnTo>
                    <a:pt x="1638" y="1284"/>
                  </a:lnTo>
                  <a:lnTo>
                    <a:pt x="1638" y="1296"/>
                  </a:lnTo>
                  <a:lnTo>
                    <a:pt x="1632" y="1296"/>
                  </a:lnTo>
                  <a:lnTo>
                    <a:pt x="1632" y="1302"/>
                  </a:lnTo>
                  <a:lnTo>
                    <a:pt x="1638" y="1314"/>
                  </a:lnTo>
                  <a:lnTo>
                    <a:pt x="1638" y="1320"/>
                  </a:lnTo>
                  <a:lnTo>
                    <a:pt x="1632" y="1320"/>
                  </a:lnTo>
                  <a:lnTo>
                    <a:pt x="1632" y="1326"/>
                  </a:lnTo>
                  <a:lnTo>
                    <a:pt x="1644" y="1332"/>
                  </a:lnTo>
                  <a:lnTo>
                    <a:pt x="1644" y="1338"/>
                  </a:lnTo>
                  <a:lnTo>
                    <a:pt x="1650" y="1344"/>
                  </a:lnTo>
                  <a:lnTo>
                    <a:pt x="1668" y="1362"/>
                  </a:lnTo>
                  <a:lnTo>
                    <a:pt x="1668" y="1368"/>
                  </a:lnTo>
                  <a:lnTo>
                    <a:pt x="1674" y="1392"/>
                  </a:lnTo>
                  <a:lnTo>
                    <a:pt x="1686" y="140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2" name="Freeform 17">
              <a:extLst>
                <a:ext uri="{FF2B5EF4-FFF2-40B4-BE49-F238E27FC236}">
                  <a16:creationId xmlns:a16="http://schemas.microsoft.com/office/drawing/2014/main" id="{9F9DF7AF-2203-4CCB-AF1B-32CDAF87CC5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416927"/>
              <a:ext cx="816209" cy="574781"/>
            </a:xfrm>
            <a:custGeom>
              <a:avLst/>
              <a:gdLst>
                <a:gd name="T0" fmla="*/ 115 w 1536"/>
                <a:gd name="T1" fmla="*/ 89 h 1080"/>
                <a:gd name="T2" fmla="*/ 113 w 1536"/>
                <a:gd name="T3" fmla="*/ 92 h 1080"/>
                <a:gd name="T4" fmla="*/ 107 w 1536"/>
                <a:gd name="T5" fmla="*/ 93 h 1080"/>
                <a:gd name="T6" fmla="*/ 108 w 1536"/>
                <a:gd name="T7" fmla="*/ 90 h 1080"/>
                <a:gd name="T8" fmla="*/ 105 w 1536"/>
                <a:gd name="T9" fmla="*/ 87 h 1080"/>
                <a:gd name="T10" fmla="*/ 102 w 1536"/>
                <a:gd name="T11" fmla="*/ 85 h 1080"/>
                <a:gd name="T12" fmla="*/ 89 w 1536"/>
                <a:gd name="T13" fmla="*/ 80 h 1080"/>
                <a:gd name="T14" fmla="*/ 85 w 1536"/>
                <a:gd name="T15" fmla="*/ 82 h 1080"/>
                <a:gd name="T16" fmla="*/ 82 w 1536"/>
                <a:gd name="T17" fmla="*/ 80 h 1080"/>
                <a:gd name="T18" fmla="*/ 80 w 1536"/>
                <a:gd name="T19" fmla="*/ 75 h 1080"/>
                <a:gd name="T20" fmla="*/ 75 w 1536"/>
                <a:gd name="T21" fmla="*/ 72 h 1080"/>
                <a:gd name="T22" fmla="*/ 61 w 1536"/>
                <a:gd name="T23" fmla="*/ 70 h 1080"/>
                <a:gd name="T24" fmla="*/ 62 w 1536"/>
                <a:gd name="T25" fmla="*/ 72 h 1080"/>
                <a:gd name="T26" fmla="*/ 58 w 1536"/>
                <a:gd name="T27" fmla="*/ 75 h 1080"/>
                <a:gd name="T28" fmla="*/ 49 w 1536"/>
                <a:gd name="T29" fmla="*/ 76 h 1080"/>
                <a:gd name="T30" fmla="*/ 41 w 1536"/>
                <a:gd name="T31" fmla="*/ 79 h 1080"/>
                <a:gd name="T32" fmla="*/ 41 w 1536"/>
                <a:gd name="T33" fmla="*/ 77 h 1080"/>
                <a:gd name="T34" fmla="*/ 39 w 1536"/>
                <a:gd name="T35" fmla="*/ 74 h 1080"/>
                <a:gd name="T36" fmla="*/ 28 w 1536"/>
                <a:gd name="T37" fmla="*/ 78 h 1080"/>
                <a:gd name="T38" fmla="*/ 18 w 1536"/>
                <a:gd name="T39" fmla="*/ 85 h 1080"/>
                <a:gd name="T40" fmla="*/ 18 w 1536"/>
                <a:gd name="T41" fmla="*/ 77 h 1080"/>
                <a:gd name="T42" fmla="*/ 19 w 1536"/>
                <a:gd name="T43" fmla="*/ 69 h 1080"/>
                <a:gd name="T44" fmla="*/ 16 w 1536"/>
                <a:gd name="T45" fmla="*/ 69 h 1080"/>
                <a:gd name="T46" fmla="*/ 11 w 1536"/>
                <a:gd name="T47" fmla="*/ 69 h 1080"/>
                <a:gd name="T48" fmla="*/ 5 w 1536"/>
                <a:gd name="T49" fmla="*/ 68 h 1080"/>
                <a:gd name="T50" fmla="*/ 1 w 1536"/>
                <a:gd name="T51" fmla="*/ 63 h 1080"/>
                <a:gd name="T52" fmla="*/ 3 w 1536"/>
                <a:gd name="T53" fmla="*/ 59 h 1080"/>
                <a:gd name="T54" fmla="*/ 9 w 1536"/>
                <a:gd name="T55" fmla="*/ 54 h 1080"/>
                <a:gd name="T56" fmla="*/ 15 w 1536"/>
                <a:gd name="T57" fmla="*/ 47 h 1080"/>
                <a:gd name="T58" fmla="*/ 17 w 1536"/>
                <a:gd name="T59" fmla="*/ 40 h 1080"/>
                <a:gd name="T60" fmla="*/ 12 w 1536"/>
                <a:gd name="T61" fmla="*/ 33 h 1080"/>
                <a:gd name="T62" fmla="*/ 10 w 1536"/>
                <a:gd name="T63" fmla="*/ 21 h 1080"/>
                <a:gd name="T64" fmla="*/ 6 w 1536"/>
                <a:gd name="T65" fmla="*/ 14 h 1080"/>
                <a:gd name="T66" fmla="*/ 7 w 1536"/>
                <a:gd name="T67" fmla="*/ 9 h 1080"/>
                <a:gd name="T68" fmla="*/ 12 w 1536"/>
                <a:gd name="T69" fmla="*/ 7 h 1080"/>
                <a:gd name="T70" fmla="*/ 16 w 1536"/>
                <a:gd name="T71" fmla="*/ 8 h 1080"/>
                <a:gd name="T72" fmla="*/ 19 w 1536"/>
                <a:gd name="T73" fmla="*/ 8 h 1080"/>
                <a:gd name="T74" fmla="*/ 22 w 1536"/>
                <a:gd name="T75" fmla="*/ 9 h 1080"/>
                <a:gd name="T76" fmla="*/ 29 w 1536"/>
                <a:gd name="T77" fmla="*/ 12 h 1080"/>
                <a:gd name="T78" fmla="*/ 33 w 1536"/>
                <a:gd name="T79" fmla="*/ 13 h 1080"/>
                <a:gd name="T80" fmla="*/ 38 w 1536"/>
                <a:gd name="T81" fmla="*/ 15 h 1080"/>
                <a:gd name="T82" fmla="*/ 42 w 1536"/>
                <a:gd name="T83" fmla="*/ 17 h 1080"/>
                <a:gd name="T84" fmla="*/ 47 w 1536"/>
                <a:gd name="T85" fmla="*/ 19 h 1080"/>
                <a:gd name="T86" fmla="*/ 51 w 1536"/>
                <a:gd name="T87" fmla="*/ 21 h 1080"/>
                <a:gd name="T88" fmla="*/ 50 w 1536"/>
                <a:gd name="T89" fmla="*/ 15 h 1080"/>
                <a:gd name="T90" fmla="*/ 56 w 1536"/>
                <a:gd name="T91" fmla="*/ 0 h 1080"/>
                <a:gd name="T92" fmla="*/ 74 w 1536"/>
                <a:gd name="T93" fmla="*/ 5 h 1080"/>
                <a:gd name="T94" fmla="*/ 87 w 1536"/>
                <a:gd name="T95" fmla="*/ 6 h 1080"/>
                <a:gd name="T96" fmla="*/ 92 w 1536"/>
                <a:gd name="T97" fmla="*/ 11 h 1080"/>
                <a:gd name="T98" fmla="*/ 95 w 1536"/>
                <a:gd name="T99" fmla="*/ 15 h 1080"/>
                <a:gd name="T100" fmla="*/ 93 w 1536"/>
                <a:gd name="T101" fmla="*/ 20 h 1080"/>
                <a:gd name="T102" fmla="*/ 108 w 1536"/>
                <a:gd name="T103" fmla="*/ 18 h 1080"/>
                <a:gd name="T104" fmla="*/ 120 w 1536"/>
                <a:gd name="T105" fmla="*/ 21 h 1080"/>
                <a:gd name="T106" fmla="*/ 127 w 1536"/>
                <a:gd name="T107" fmla="*/ 29 h 1080"/>
                <a:gd name="T108" fmla="*/ 130 w 1536"/>
                <a:gd name="T109" fmla="*/ 30 h 1080"/>
                <a:gd name="T110" fmla="*/ 130 w 1536"/>
                <a:gd name="T111" fmla="*/ 49 h 1080"/>
                <a:gd name="T112" fmla="*/ 120 w 1536"/>
                <a:gd name="T113" fmla="*/ 69 h 1080"/>
                <a:gd name="T114" fmla="*/ 119 w 1536"/>
                <a:gd name="T115" fmla="*/ 74 h 1080"/>
                <a:gd name="T116" fmla="*/ 118 w 1536"/>
                <a:gd name="T117" fmla="*/ 80 h 108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536"/>
                <a:gd name="T178" fmla="*/ 0 h 1080"/>
                <a:gd name="T179" fmla="*/ 1536 w 1536"/>
                <a:gd name="T180" fmla="*/ 1080 h 108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536" h="1080">
                  <a:moveTo>
                    <a:pt x="1350" y="1020"/>
                  </a:moveTo>
                  <a:lnTo>
                    <a:pt x="1350" y="1026"/>
                  </a:lnTo>
                  <a:lnTo>
                    <a:pt x="1344" y="1026"/>
                  </a:lnTo>
                  <a:lnTo>
                    <a:pt x="1338" y="1032"/>
                  </a:lnTo>
                  <a:lnTo>
                    <a:pt x="1332" y="1026"/>
                  </a:lnTo>
                  <a:lnTo>
                    <a:pt x="1326" y="1026"/>
                  </a:lnTo>
                  <a:lnTo>
                    <a:pt x="1320" y="1020"/>
                  </a:lnTo>
                  <a:lnTo>
                    <a:pt x="1314" y="1026"/>
                  </a:lnTo>
                  <a:lnTo>
                    <a:pt x="1314" y="1032"/>
                  </a:lnTo>
                  <a:lnTo>
                    <a:pt x="1308" y="1038"/>
                  </a:lnTo>
                  <a:lnTo>
                    <a:pt x="1308" y="1044"/>
                  </a:lnTo>
                  <a:lnTo>
                    <a:pt x="1308" y="1050"/>
                  </a:lnTo>
                  <a:lnTo>
                    <a:pt x="1308" y="1056"/>
                  </a:lnTo>
                  <a:lnTo>
                    <a:pt x="1308" y="1062"/>
                  </a:lnTo>
                  <a:lnTo>
                    <a:pt x="1296" y="1068"/>
                  </a:lnTo>
                  <a:lnTo>
                    <a:pt x="1284" y="1074"/>
                  </a:lnTo>
                  <a:lnTo>
                    <a:pt x="1272" y="1080"/>
                  </a:lnTo>
                  <a:lnTo>
                    <a:pt x="1260" y="1080"/>
                  </a:lnTo>
                  <a:lnTo>
                    <a:pt x="1254" y="1074"/>
                  </a:lnTo>
                  <a:lnTo>
                    <a:pt x="1236" y="1074"/>
                  </a:lnTo>
                  <a:lnTo>
                    <a:pt x="1230" y="1074"/>
                  </a:lnTo>
                  <a:lnTo>
                    <a:pt x="1236" y="1074"/>
                  </a:lnTo>
                  <a:lnTo>
                    <a:pt x="1236" y="1068"/>
                  </a:lnTo>
                  <a:lnTo>
                    <a:pt x="1236" y="1062"/>
                  </a:lnTo>
                  <a:lnTo>
                    <a:pt x="1236" y="1056"/>
                  </a:lnTo>
                  <a:lnTo>
                    <a:pt x="1242" y="1050"/>
                  </a:lnTo>
                  <a:lnTo>
                    <a:pt x="1242" y="1044"/>
                  </a:lnTo>
                  <a:lnTo>
                    <a:pt x="1242" y="1038"/>
                  </a:lnTo>
                  <a:lnTo>
                    <a:pt x="1248" y="1032"/>
                  </a:lnTo>
                  <a:lnTo>
                    <a:pt x="1236" y="1026"/>
                  </a:lnTo>
                  <a:lnTo>
                    <a:pt x="1218" y="1020"/>
                  </a:lnTo>
                  <a:lnTo>
                    <a:pt x="1224" y="1014"/>
                  </a:lnTo>
                  <a:lnTo>
                    <a:pt x="1218" y="1008"/>
                  </a:lnTo>
                  <a:lnTo>
                    <a:pt x="1218" y="1002"/>
                  </a:lnTo>
                  <a:lnTo>
                    <a:pt x="1212" y="1008"/>
                  </a:lnTo>
                  <a:lnTo>
                    <a:pt x="1206" y="1002"/>
                  </a:lnTo>
                  <a:lnTo>
                    <a:pt x="1212" y="1002"/>
                  </a:lnTo>
                  <a:lnTo>
                    <a:pt x="1212" y="996"/>
                  </a:lnTo>
                  <a:lnTo>
                    <a:pt x="1200" y="990"/>
                  </a:lnTo>
                  <a:lnTo>
                    <a:pt x="1200" y="984"/>
                  </a:lnTo>
                  <a:lnTo>
                    <a:pt x="1188" y="984"/>
                  </a:lnTo>
                  <a:lnTo>
                    <a:pt x="1176" y="978"/>
                  </a:lnTo>
                  <a:lnTo>
                    <a:pt x="1164" y="960"/>
                  </a:lnTo>
                  <a:lnTo>
                    <a:pt x="1152" y="936"/>
                  </a:lnTo>
                  <a:lnTo>
                    <a:pt x="1146" y="936"/>
                  </a:lnTo>
                  <a:lnTo>
                    <a:pt x="1128" y="900"/>
                  </a:lnTo>
                  <a:lnTo>
                    <a:pt x="1038" y="912"/>
                  </a:lnTo>
                  <a:lnTo>
                    <a:pt x="1038" y="918"/>
                  </a:lnTo>
                  <a:lnTo>
                    <a:pt x="1032" y="924"/>
                  </a:lnTo>
                  <a:lnTo>
                    <a:pt x="1026" y="918"/>
                  </a:lnTo>
                  <a:lnTo>
                    <a:pt x="1020" y="924"/>
                  </a:lnTo>
                  <a:lnTo>
                    <a:pt x="1008" y="936"/>
                  </a:lnTo>
                  <a:lnTo>
                    <a:pt x="990" y="936"/>
                  </a:lnTo>
                  <a:lnTo>
                    <a:pt x="990" y="942"/>
                  </a:lnTo>
                  <a:lnTo>
                    <a:pt x="996" y="942"/>
                  </a:lnTo>
                  <a:lnTo>
                    <a:pt x="984" y="948"/>
                  </a:lnTo>
                  <a:lnTo>
                    <a:pt x="972" y="948"/>
                  </a:lnTo>
                  <a:lnTo>
                    <a:pt x="960" y="948"/>
                  </a:lnTo>
                  <a:lnTo>
                    <a:pt x="948" y="942"/>
                  </a:lnTo>
                  <a:lnTo>
                    <a:pt x="948" y="936"/>
                  </a:lnTo>
                  <a:lnTo>
                    <a:pt x="942" y="936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30" y="924"/>
                  </a:lnTo>
                  <a:lnTo>
                    <a:pt x="936" y="918"/>
                  </a:lnTo>
                  <a:lnTo>
                    <a:pt x="918" y="918"/>
                  </a:lnTo>
                  <a:lnTo>
                    <a:pt x="918" y="900"/>
                  </a:lnTo>
                  <a:lnTo>
                    <a:pt x="924" y="900"/>
                  </a:lnTo>
                  <a:lnTo>
                    <a:pt x="924" y="894"/>
                  </a:lnTo>
                  <a:lnTo>
                    <a:pt x="924" y="870"/>
                  </a:lnTo>
                  <a:lnTo>
                    <a:pt x="924" y="864"/>
                  </a:lnTo>
                  <a:lnTo>
                    <a:pt x="918" y="858"/>
                  </a:lnTo>
                  <a:lnTo>
                    <a:pt x="918" y="852"/>
                  </a:lnTo>
                  <a:lnTo>
                    <a:pt x="906" y="840"/>
                  </a:lnTo>
                  <a:lnTo>
                    <a:pt x="894" y="834"/>
                  </a:lnTo>
                  <a:lnTo>
                    <a:pt x="876" y="822"/>
                  </a:lnTo>
                  <a:lnTo>
                    <a:pt x="870" y="828"/>
                  </a:lnTo>
                  <a:lnTo>
                    <a:pt x="858" y="816"/>
                  </a:lnTo>
                  <a:lnTo>
                    <a:pt x="810" y="798"/>
                  </a:lnTo>
                  <a:lnTo>
                    <a:pt x="774" y="792"/>
                  </a:lnTo>
                  <a:lnTo>
                    <a:pt x="732" y="798"/>
                  </a:lnTo>
                  <a:lnTo>
                    <a:pt x="726" y="804"/>
                  </a:lnTo>
                  <a:lnTo>
                    <a:pt x="714" y="810"/>
                  </a:lnTo>
                  <a:lnTo>
                    <a:pt x="702" y="810"/>
                  </a:lnTo>
                  <a:lnTo>
                    <a:pt x="690" y="810"/>
                  </a:lnTo>
                  <a:lnTo>
                    <a:pt x="696" y="816"/>
                  </a:lnTo>
                  <a:lnTo>
                    <a:pt x="696" y="822"/>
                  </a:lnTo>
                  <a:lnTo>
                    <a:pt x="702" y="822"/>
                  </a:lnTo>
                  <a:lnTo>
                    <a:pt x="708" y="822"/>
                  </a:lnTo>
                  <a:lnTo>
                    <a:pt x="708" y="828"/>
                  </a:lnTo>
                  <a:lnTo>
                    <a:pt x="708" y="834"/>
                  </a:lnTo>
                  <a:lnTo>
                    <a:pt x="714" y="834"/>
                  </a:lnTo>
                  <a:lnTo>
                    <a:pt x="708" y="846"/>
                  </a:lnTo>
                  <a:lnTo>
                    <a:pt x="708" y="852"/>
                  </a:lnTo>
                  <a:lnTo>
                    <a:pt x="702" y="852"/>
                  </a:lnTo>
                  <a:lnTo>
                    <a:pt x="696" y="858"/>
                  </a:lnTo>
                  <a:lnTo>
                    <a:pt x="690" y="864"/>
                  </a:lnTo>
                  <a:lnTo>
                    <a:pt x="666" y="870"/>
                  </a:lnTo>
                  <a:lnTo>
                    <a:pt x="660" y="876"/>
                  </a:lnTo>
                  <a:lnTo>
                    <a:pt x="642" y="876"/>
                  </a:lnTo>
                  <a:lnTo>
                    <a:pt x="606" y="882"/>
                  </a:lnTo>
                  <a:lnTo>
                    <a:pt x="588" y="882"/>
                  </a:lnTo>
                  <a:lnTo>
                    <a:pt x="582" y="876"/>
                  </a:lnTo>
                  <a:lnTo>
                    <a:pt x="576" y="876"/>
                  </a:lnTo>
                  <a:lnTo>
                    <a:pt x="564" y="876"/>
                  </a:lnTo>
                  <a:lnTo>
                    <a:pt x="552" y="882"/>
                  </a:lnTo>
                  <a:lnTo>
                    <a:pt x="540" y="894"/>
                  </a:lnTo>
                  <a:lnTo>
                    <a:pt x="534" y="906"/>
                  </a:lnTo>
                  <a:lnTo>
                    <a:pt x="528" y="912"/>
                  </a:lnTo>
                  <a:lnTo>
                    <a:pt x="516" y="924"/>
                  </a:lnTo>
                  <a:lnTo>
                    <a:pt x="486" y="930"/>
                  </a:lnTo>
                  <a:lnTo>
                    <a:pt x="474" y="912"/>
                  </a:lnTo>
                  <a:lnTo>
                    <a:pt x="474" y="906"/>
                  </a:lnTo>
                  <a:lnTo>
                    <a:pt x="468" y="906"/>
                  </a:lnTo>
                  <a:lnTo>
                    <a:pt x="468" y="900"/>
                  </a:lnTo>
                  <a:lnTo>
                    <a:pt x="462" y="894"/>
                  </a:lnTo>
                  <a:lnTo>
                    <a:pt x="456" y="894"/>
                  </a:lnTo>
                  <a:lnTo>
                    <a:pt x="462" y="888"/>
                  </a:lnTo>
                  <a:lnTo>
                    <a:pt x="468" y="888"/>
                  </a:lnTo>
                  <a:lnTo>
                    <a:pt x="462" y="882"/>
                  </a:lnTo>
                  <a:lnTo>
                    <a:pt x="462" y="876"/>
                  </a:lnTo>
                  <a:lnTo>
                    <a:pt x="456" y="870"/>
                  </a:lnTo>
                  <a:lnTo>
                    <a:pt x="456" y="864"/>
                  </a:lnTo>
                  <a:lnTo>
                    <a:pt x="450" y="858"/>
                  </a:lnTo>
                  <a:lnTo>
                    <a:pt x="444" y="858"/>
                  </a:lnTo>
                  <a:lnTo>
                    <a:pt x="444" y="852"/>
                  </a:lnTo>
                  <a:lnTo>
                    <a:pt x="438" y="852"/>
                  </a:lnTo>
                  <a:lnTo>
                    <a:pt x="438" y="858"/>
                  </a:lnTo>
                  <a:lnTo>
                    <a:pt x="402" y="870"/>
                  </a:lnTo>
                  <a:lnTo>
                    <a:pt x="390" y="882"/>
                  </a:lnTo>
                  <a:lnTo>
                    <a:pt x="384" y="900"/>
                  </a:lnTo>
                  <a:lnTo>
                    <a:pt x="342" y="900"/>
                  </a:lnTo>
                  <a:lnTo>
                    <a:pt x="324" y="900"/>
                  </a:lnTo>
                  <a:lnTo>
                    <a:pt x="294" y="906"/>
                  </a:lnTo>
                  <a:lnTo>
                    <a:pt x="282" y="948"/>
                  </a:lnTo>
                  <a:lnTo>
                    <a:pt x="282" y="978"/>
                  </a:lnTo>
                  <a:lnTo>
                    <a:pt x="270" y="1008"/>
                  </a:lnTo>
                  <a:lnTo>
                    <a:pt x="240" y="1014"/>
                  </a:lnTo>
                  <a:lnTo>
                    <a:pt x="216" y="996"/>
                  </a:lnTo>
                  <a:lnTo>
                    <a:pt x="204" y="984"/>
                  </a:lnTo>
                  <a:lnTo>
                    <a:pt x="192" y="966"/>
                  </a:lnTo>
                  <a:lnTo>
                    <a:pt x="186" y="948"/>
                  </a:lnTo>
                  <a:lnTo>
                    <a:pt x="174" y="948"/>
                  </a:lnTo>
                  <a:lnTo>
                    <a:pt x="174" y="936"/>
                  </a:lnTo>
                  <a:lnTo>
                    <a:pt x="186" y="924"/>
                  </a:lnTo>
                  <a:lnTo>
                    <a:pt x="198" y="906"/>
                  </a:lnTo>
                  <a:lnTo>
                    <a:pt x="204" y="888"/>
                  </a:lnTo>
                  <a:lnTo>
                    <a:pt x="222" y="870"/>
                  </a:lnTo>
                  <a:lnTo>
                    <a:pt x="234" y="858"/>
                  </a:lnTo>
                  <a:lnTo>
                    <a:pt x="234" y="852"/>
                  </a:lnTo>
                  <a:lnTo>
                    <a:pt x="222" y="852"/>
                  </a:lnTo>
                  <a:lnTo>
                    <a:pt x="228" y="810"/>
                  </a:lnTo>
                  <a:lnTo>
                    <a:pt x="222" y="798"/>
                  </a:lnTo>
                  <a:lnTo>
                    <a:pt x="216" y="798"/>
                  </a:lnTo>
                  <a:lnTo>
                    <a:pt x="216" y="792"/>
                  </a:lnTo>
                  <a:lnTo>
                    <a:pt x="210" y="792"/>
                  </a:lnTo>
                  <a:lnTo>
                    <a:pt x="204" y="798"/>
                  </a:lnTo>
                  <a:lnTo>
                    <a:pt x="204" y="792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0" y="786"/>
                  </a:lnTo>
                  <a:lnTo>
                    <a:pt x="174" y="792"/>
                  </a:lnTo>
                  <a:lnTo>
                    <a:pt x="162" y="792"/>
                  </a:lnTo>
                  <a:lnTo>
                    <a:pt x="156" y="792"/>
                  </a:lnTo>
                  <a:lnTo>
                    <a:pt x="156" y="798"/>
                  </a:lnTo>
                  <a:lnTo>
                    <a:pt x="138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6" y="804"/>
                  </a:lnTo>
                  <a:lnTo>
                    <a:pt x="102" y="810"/>
                  </a:lnTo>
                  <a:lnTo>
                    <a:pt x="90" y="810"/>
                  </a:lnTo>
                  <a:lnTo>
                    <a:pt x="72" y="798"/>
                  </a:lnTo>
                  <a:lnTo>
                    <a:pt x="66" y="780"/>
                  </a:lnTo>
                  <a:lnTo>
                    <a:pt x="60" y="780"/>
                  </a:lnTo>
                  <a:lnTo>
                    <a:pt x="60" y="768"/>
                  </a:lnTo>
                  <a:lnTo>
                    <a:pt x="54" y="768"/>
                  </a:lnTo>
                  <a:lnTo>
                    <a:pt x="24" y="756"/>
                  </a:lnTo>
                  <a:lnTo>
                    <a:pt x="18" y="744"/>
                  </a:lnTo>
                  <a:lnTo>
                    <a:pt x="12" y="738"/>
                  </a:lnTo>
                  <a:lnTo>
                    <a:pt x="18" y="732"/>
                  </a:lnTo>
                  <a:lnTo>
                    <a:pt x="12" y="726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8" y="696"/>
                  </a:lnTo>
                  <a:lnTo>
                    <a:pt x="24" y="708"/>
                  </a:lnTo>
                  <a:lnTo>
                    <a:pt x="36" y="702"/>
                  </a:lnTo>
                  <a:lnTo>
                    <a:pt x="36" y="678"/>
                  </a:lnTo>
                  <a:lnTo>
                    <a:pt x="36" y="660"/>
                  </a:lnTo>
                  <a:lnTo>
                    <a:pt x="42" y="654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72" y="624"/>
                  </a:lnTo>
                  <a:lnTo>
                    <a:pt x="90" y="618"/>
                  </a:lnTo>
                  <a:lnTo>
                    <a:pt x="102" y="618"/>
                  </a:lnTo>
                  <a:lnTo>
                    <a:pt x="114" y="612"/>
                  </a:lnTo>
                  <a:lnTo>
                    <a:pt x="138" y="606"/>
                  </a:lnTo>
                  <a:lnTo>
                    <a:pt x="144" y="606"/>
                  </a:lnTo>
                  <a:lnTo>
                    <a:pt x="150" y="594"/>
                  </a:lnTo>
                  <a:lnTo>
                    <a:pt x="156" y="576"/>
                  </a:lnTo>
                  <a:lnTo>
                    <a:pt x="168" y="552"/>
                  </a:lnTo>
                  <a:lnTo>
                    <a:pt x="168" y="540"/>
                  </a:lnTo>
                  <a:lnTo>
                    <a:pt x="180" y="522"/>
                  </a:lnTo>
                  <a:lnTo>
                    <a:pt x="186" y="498"/>
                  </a:lnTo>
                  <a:lnTo>
                    <a:pt x="198" y="480"/>
                  </a:lnTo>
                  <a:lnTo>
                    <a:pt x="204" y="486"/>
                  </a:lnTo>
                  <a:lnTo>
                    <a:pt x="210" y="480"/>
                  </a:lnTo>
                  <a:lnTo>
                    <a:pt x="204" y="474"/>
                  </a:lnTo>
                  <a:lnTo>
                    <a:pt x="198" y="462"/>
                  </a:lnTo>
                  <a:lnTo>
                    <a:pt x="192" y="456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50"/>
                  </a:lnTo>
                  <a:lnTo>
                    <a:pt x="132" y="426"/>
                  </a:lnTo>
                  <a:lnTo>
                    <a:pt x="132" y="396"/>
                  </a:lnTo>
                  <a:lnTo>
                    <a:pt x="132" y="378"/>
                  </a:lnTo>
                  <a:lnTo>
                    <a:pt x="126" y="348"/>
                  </a:lnTo>
                  <a:lnTo>
                    <a:pt x="132" y="312"/>
                  </a:lnTo>
                  <a:lnTo>
                    <a:pt x="126" y="288"/>
                  </a:lnTo>
                  <a:lnTo>
                    <a:pt x="138" y="282"/>
                  </a:lnTo>
                  <a:lnTo>
                    <a:pt x="126" y="264"/>
                  </a:lnTo>
                  <a:lnTo>
                    <a:pt x="126" y="258"/>
                  </a:lnTo>
                  <a:lnTo>
                    <a:pt x="120" y="246"/>
                  </a:lnTo>
                  <a:lnTo>
                    <a:pt x="126" y="234"/>
                  </a:lnTo>
                  <a:lnTo>
                    <a:pt x="114" y="228"/>
                  </a:lnTo>
                  <a:lnTo>
                    <a:pt x="114" y="222"/>
                  </a:lnTo>
                  <a:lnTo>
                    <a:pt x="96" y="204"/>
                  </a:lnTo>
                  <a:lnTo>
                    <a:pt x="84" y="180"/>
                  </a:lnTo>
                  <a:lnTo>
                    <a:pt x="78" y="168"/>
                  </a:lnTo>
                  <a:lnTo>
                    <a:pt x="72" y="162"/>
                  </a:lnTo>
                  <a:lnTo>
                    <a:pt x="66" y="144"/>
                  </a:lnTo>
                  <a:lnTo>
                    <a:pt x="60" y="138"/>
                  </a:lnTo>
                  <a:lnTo>
                    <a:pt x="66" y="126"/>
                  </a:lnTo>
                  <a:lnTo>
                    <a:pt x="66" y="114"/>
                  </a:lnTo>
                  <a:lnTo>
                    <a:pt x="72" y="114"/>
                  </a:lnTo>
                  <a:lnTo>
                    <a:pt x="72" y="108"/>
                  </a:lnTo>
                  <a:lnTo>
                    <a:pt x="78" y="102"/>
                  </a:lnTo>
                  <a:lnTo>
                    <a:pt x="78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120" y="78"/>
                  </a:lnTo>
                  <a:lnTo>
                    <a:pt x="144" y="84"/>
                  </a:lnTo>
                  <a:lnTo>
                    <a:pt x="150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74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92" y="102"/>
                  </a:lnTo>
                  <a:lnTo>
                    <a:pt x="198" y="96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16" y="96"/>
                  </a:lnTo>
                  <a:lnTo>
                    <a:pt x="222" y="96"/>
                  </a:lnTo>
                  <a:lnTo>
                    <a:pt x="228" y="96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94" y="114"/>
                  </a:lnTo>
                  <a:lnTo>
                    <a:pt x="312" y="120"/>
                  </a:lnTo>
                  <a:lnTo>
                    <a:pt x="318" y="126"/>
                  </a:lnTo>
                  <a:lnTo>
                    <a:pt x="330" y="132"/>
                  </a:lnTo>
                  <a:lnTo>
                    <a:pt x="342" y="132"/>
                  </a:lnTo>
                  <a:lnTo>
                    <a:pt x="348" y="132"/>
                  </a:lnTo>
                  <a:lnTo>
                    <a:pt x="354" y="138"/>
                  </a:lnTo>
                  <a:lnTo>
                    <a:pt x="366" y="138"/>
                  </a:lnTo>
                  <a:lnTo>
                    <a:pt x="372" y="144"/>
                  </a:lnTo>
                  <a:lnTo>
                    <a:pt x="378" y="150"/>
                  </a:lnTo>
                  <a:lnTo>
                    <a:pt x="384" y="150"/>
                  </a:lnTo>
                  <a:lnTo>
                    <a:pt x="390" y="150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14" y="156"/>
                  </a:lnTo>
                  <a:lnTo>
                    <a:pt x="420" y="156"/>
                  </a:lnTo>
                  <a:lnTo>
                    <a:pt x="426" y="162"/>
                  </a:lnTo>
                  <a:lnTo>
                    <a:pt x="438" y="168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62" y="174"/>
                  </a:lnTo>
                  <a:lnTo>
                    <a:pt x="468" y="174"/>
                  </a:lnTo>
                  <a:lnTo>
                    <a:pt x="474" y="174"/>
                  </a:lnTo>
                  <a:lnTo>
                    <a:pt x="474" y="180"/>
                  </a:lnTo>
                  <a:lnTo>
                    <a:pt x="480" y="192"/>
                  </a:lnTo>
                  <a:lnTo>
                    <a:pt x="498" y="198"/>
                  </a:lnTo>
                  <a:lnTo>
                    <a:pt x="510" y="210"/>
                  </a:lnTo>
                  <a:lnTo>
                    <a:pt x="516" y="210"/>
                  </a:lnTo>
                  <a:lnTo>
                    <a:pt x="522" y="210"/>
                  </a:lnTo>
                  <a:lnTo>
                    <a:pt x="534" y="216"/>
                  </a:lnTo>
                  <a:lnTo>
                    <a:pt x="540" y="216"/>
                  </a:lnTo>
                  <a:lnTo>
                    <a:pt x="546" y="222"/>
                  </a:lnTo>
                  <a:lnTo>
                    <a:pt x="552" y="222"/>
                  </a:lnTo>
                  <a:lnTo>
                    <a:pt x="558" y="228"/>
                  </a:lnTo>
                  <a:lnTo>
                    <a:pt x="564" y="228"/>
                  </a:lnTo>
                  <a:lnTo>
                    <a:pt x="570" y="234"/>
                  </a:lnTo>
                  <a:lnTo>
                    <a:pt x="576" y="240"/>
                  </a:lnTo>
                  <a:lnTo>
                    <a:pt x="582" y="240"/>
                  </a:lnTo>
                  <a:lnTo>
                    <a:pt x="588" y="240"/>
                  </a:lnTo>
                  <a:lnTo>
                    <a:pt x="594" y="240"/>
                  </a:lnTo>
                  <a:lnTo>
                    <a:pt x="600" y="228"/>
                  </a:lnTo>
                  <a:lnTo>
                    <a:pt x="588" y="216"/>
                  </a:lnTo>
                  <a:lnTo>
                    <a:pt x="588" y="198"/>
                  </a:lnTo>
                  <a:lnTo>
                    <a:pt x="582" y="198"/>
                  </a:lnTo>
                  <a:lnTo>
                    <a:pt x="588" y="192"/>
                  </a:lnTo>
                  <a:lnTo>
                    <a:pt x="582" y="168"/>
                  </a:lnTo>
                  <a:lnTo>
                    <a:pt x="558" y="114"/>
                  </a:lnTo>
                  <a:lnTo>
                    <a:pt x="552" y="90"/>
                  </a:lnTo>
                  <a:lnTo>
                    <a:pt x="558" y="60"/>
                  </a:lnTo>
                  <a:lnTo>
                    <a:pt x="564" y="48"/>
                  </a:lnTo>
                  <a:lnTo>
                    <a:pt x="582" y="42"/>
                  </a:lnTo>
                  <a:lnTo>
                    <a:pt x="624" y="6"/>
                  </a:lnTo>
                  <a:lnTo>
                    <a:pt x="648" y="0"/>
                  </a:lnTo>
                  <a:lnTo>
                    <a:pt x="678" y="0"/>
                  </a:lnTo>
                  <a:lnTo>
                    <a:pt x="720" y="12"/>
                  </a:lnTo>
                  <a:lnTo>
                    <a:pt x="744" y="24"/>
                  </a:lnTo>
                  <a:lnTo>
                    <a:pt x="768" y="42"/>
                  </a:lnTo>
                  <a:lnTo>
                    <a:pt x="816" y="48"/>
                  </a:lnTo>
                  <a:lnTo>
                    <a:pt x="834" y="48"/>
                  </a:lnTo>
                  <a:lnTo>
                    <a:pt x="852" y="54"/>
                  </a:lnTo>
                  <a:lnTo>
                    <a:pt x="906" y="60"/>
                  </a:lnTo>
                  <a:lnTo>
                    <a:pt x="948" y="54"/>
                  </a:lnTo>
                  <a:lnTo>
                    <a:pt x="978" y="42"/>
                  </a:lnTo>
                  <a:lnTo>
                    <a:pt x="984" y="48"/>
                  </a:lnTo>
                  <a:lnTo>
                    <a:pt x="990" y="60"/>
                  </a:lnTo>
                  <a:lnTo>
                    <a:pt x="996" y="66"/>
                  </a:lnTo>
                  <a:lnTo>
                    <a:pt x="1002" y="72"/>
                  </a:lnTo>
                  <a:lnTo>
                    <a:pt x="1014" y="78"/>
                  </a:lnTo>
                  <a:lnTo>
                    <a:pt x="1014" y="84"/>
                  </a:lnTo>
                  <a:lnTo>
                    <a:pt x="1032" y="84"/>
                  </a:lnTo>
                  <a:lnTo>
                    <a:pt x="1032" y="90"/>
                  </a:lnTo>
                  <a:lnTo>
                    <a:pt x="1032" y="96"/>
                  </a:lnTo>
                  <a:lnTo>
                    <a:pt x="1032" y="108"/>
                  </a:lnTo>
                  <a:lnTo>
                    <a:pt x="1056" y="126"/>
                  </a:lnTo>
                  <a:lnTo>
                    <a:pt x="1068" y="138"/>
                  </a:lnTo>
                  <a:lnTo>
                    <a:pt x="1068" y="156"/>
                  </a:lnTo>
                  <a:lnTo>
                    <a:pt x="1080" y="150"/>
                  </a:lnTo>
                  <a:lnTo>
                    <a:pt x="1086" y="150"/>
                  </a:lnTo>
                  <a:lnTo>
                    <a:pt x="1092" y="156"/>
                  </a:lnTo>
                  <a:lnTo>
                    <a:pt x="1092" y="162"/>
                  </a:lnTo>
                  <a:lnTo>
                    <a:pt x="1092" y="168"/>
                  </a:lnTo>
                  <a:lnTo>
                    <a:pt x="1098" y="168"/>
                  </a:lnTo>
                  <a:lnTo>
                    <a:pt x="1092" y="180"/>
                  </a:lnTo>
                  <a:lnTo>
                    <a:pt x="1092" y="186"/>
                  </a:lnTo>
                  <a:lnTo>
                    <a:pt x="1086" y="192"/>
                  </a:lnTo>
                  <a:lnTo>
                    <a:pt x="1068" y="210"/>
                  </a:lnTo>
                  <a:lnTo>
                    <a:pt x="1068" y="216"/>
                  </a:lnTo>
                  <a:lnTo>
                    <a:pt x="1074" y="228"/>
                  </a:lnTo>
                  <a:lnTo>
                    <a:pt x="1092" y="234"/>
                  </a:lnTo>
                  <a:lnTo>
                    <a:pt x="1122" y="216"/>
                  </a:lnTo>
                  <a:lnTo>
                    <a:pt x="1188" y="204"/>
                  </a:lnTo>
                  <a:lnTo>
                    <a:pt x="1212" y="204"/>
                  </a:lnTo>
                  <a:lnTo>
                    <a:pt x="1230" y="198"/>
                  </a:lnTo>
                  <a:lnTo>
                    <a:pt x="1236" y="204"/>
                  </a:lnTo>
                  <a:lnTo>
                    <a:pt x="1242" y="210"/>
                  </a:lnTo>
                  <a:lnTo>
                    <a:pt x="1242" y="204"/>
                  </a:lnTo>
                  <a:lnTo>
                    <a:pt x="1248" y="198"/>
                  </a:lnTo>
                  <a:lnTo>
                    <a:pt x="1308" y="204"/>
                  </a:lnTo>
                  <a:lnTo>
                    <a:pt x="1338" y="204"/>
                  </a:lnTo>
                  <a:lnTo>
                    <a:pt x="1374" y="228"/>
                  </a:lnTo>
                  <a:lnTo>
                    <a:pt x="1380" y="234"/>
                  </a:lnTo>
                  <a:lnTo>
                    <a:pt x="1380" y="240"/>
                  </a:lnTo>
                  <a:lnTo>
                    <a:pt x="1386" y="252"/>
                  </a:lnTo>
                  <a:lnTo>
                    <a:pt x="1392" y="252"/>
                  </a:lnTo>
                  <a:lnTo>
                    <a:pt x="1416" y="270"/>
                  </a:lnTo>
                  <a:lnTo>
                    <a:pt x="1428" y="294"/>
                  </a:lnTo>
                  <a:lnTo>
                    <a:pt x="1440" y="312"/>
                  </a:lnTo>
                  <a:lnTo>
                    <a:pt x="1452" y="330"/>
                  </a:lnTo>
                  <a:lnTo>
                    <a:pt x="1464" y="330"/>
                  </a:lnTo>
                  <a:lnTo>
                    <a:pt x="1464" y="336"/>
                  </a:lnTo>
                  <a:lnTo>
                    <a:pt x="1470" y="336"/>
                  </a:lnTo>
                  <a:lnTo>
                    <a:pt x="1470" y="342"/>
                  </a:lnTo>
                  <a:lnTo>
                    <a:pt x="1476" y="342"/>
                  </a:lnTo>
                  <a:lnTo>
                    <a:pt x="1488" y="336"/>
                  </a:lnTo>
                  <a:lnTo>
                    <a:pt x="1494" y="342"/>
                  </a:lnTo>
                  <a:lnTo>
                    <a:pt x="1500" y="342"/>
                  </a:lnTo>
                  <a:lnTo>
                    <a:pt x="1512" y="366"/>
                  </a:lnTo>
                  <a:lnTo>
                    <a:pt x="1530" y="396"/>
                  </a:lnTo>
                  <a:lnTo>
                    <a:pt x="1536" y="444"/>
                  </a:lnTo>
                  <a:lnTo>
                    <a:pt x="1530" y="480"/>
                  </a:lnTo>
                  <a:lnTo>
                    <a:pt x="1506" y="510"/>
                  </a:lnTo>
                  <a:lnTo>
                    <a:pt x="1500" y="546"/>
                  </a:lnTo>
                  <a:lnTo>
                    <a:pt x="1494" y="564"/>
                  </a:lnTo>
                  <a:lnTo>
                    <a:pt x="1494" y="576"/>
                  </a:lnTo>
                  <a:lnTo>
                    <a:pt x="1500" y="582"/>
                  </a:lnTo>
                  <a:lnTo>
                    <a:pt x="1494" y="612"/>
                  </a:lnTo>
                  <a:lnTo>
                    <a:pt x="1476" y="630"/>
                  </a:lnTo>
                  <a:lnTo>
                    <a:pt x="1434" y="672"/>
                  </a:lnTo>
                  <a:lnTo>
                    <a:pt x="1392" y="756"/>
                  </a:lnTo>
                  <a:lnTo>
                    <a:pt x="1380" y="792"/>
                  </a:lnTo>
                  <a:lnTo>
                    <a:pt x="1374" y="798"/>
                  </a:lnTo>
                  <a:lnTo>
                    <a:pt x="1368" y="798"/>
                  </a:lnTo>
                  <a:lnTo>
                    <a:pt x="1380" y="804"/>
                  </a:lnTo>
                  <a:lnTo>
                    <a:pt x="1386" y="804"/>
                  </a:lnTo>
                  <a:lnTo>
                    <a:pt x="1380" y="822"/>
                  </a:lnTo>
                  <a:lnTo>
                    <a:pt x="1380" y="852"/>
                  </a:lnTo>
                  <a:lnTo>
                    <a:pt x="1374" y="858"/>
                  </a:lnTo>
                  <a:lnTo>
                    <a:pt x="1380" y="858"/>
                  </a:lnTo>
                  <a:lnTo>
                    <a:pt x="1374" y="864"/>
                  </a:lnTo>
                  <a:lnTo>
                    <a:pt x="1374" y="870"/>
                  </a:lnTo>
                  <a:lnTo>
                    <a:pt x="1374" y="876"/>
                  </a:lnTo>
                  <a:lnTo>
                    <a:pt x="1368" y="900"/>
                  </a:lnTo>
                  <a:lnTo>
                    <a:pt x="1362" y="906"/>
                  </a:lnTo>
                  <a:lnTo>
                    <a:pt x="1362" y="918"/>
                  </a:lnTo>
                  <a:lnTo>
                    <a:pt x="1362" y="924"/>
                  </a:lnTo>
                  <a:lnTo>
                    <a:pt x="1356" y="942"/>
                  </a:lnTo>
                  <a:lnTo>
                    <a:pt x="1350" y="972"/>
                  </a:lnTo>
                  <a:lnTo>
                    <a:pt x="1350" y="1014"/>
                  </a:lnTo>
                  <a:lnTo>
                    <a:pt x="1350" y="10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3" name="Freeform 18">
              <a:extLst>
                <a:ext uri="{FF2B5EF4-FFF2-40B4-BE49-F238E27FC236}">
                  <a16:creationId xmlns:a16="http://schemas.microsoft.com/office/drawing/2014/main" id="{EC11F2E0-3C06-46E2-8AD2-66EBE00FFE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32346" y="3837389"/>
              <a:ext cx="556811" cy="818559"/>
            </a:xfrm>
            <a:custGeom>
              <a:avLst/>
              <a:gdLst>
                <a:gd name="T0" fmla="*/ 12 w 1044"/>
                <a:gd name="T1" fmla="*/ 95 h 1542"/>
                <a:gd name="T2" fmla="*/ 7 w 1044"/>
                <a:gd name="T3" fmla="*/ 93 h 1542"/>
                <a:gd name="T4" fmla="*/ 0 w 1044"/>
                <a:gd name="T5" fmla="*/ 88 h 1542"/>
                <a:gd name="T6" fmla="*/ 3 w 1044"/>
                <a:gd name="T7" fmla="*/ 74 h 1542"/>
                <a:gd name="T8" fmla="*/ 4 w 1044"/>
                <a:gd name="T9" fmla="*/ 59 h 1542"/>
                <a:gd name="T10" fmla="*/ 7 w 1044"/>
                <a:gd name="T11" fmla="*/ 52 h 1542"/>
                <a:gd name="T12" fmla="*/ 20 w 1044"/>
                <a:gd name="T13" fmla="*/ 50 h 1542"/>
                <a:gd name="T14" fmla="*/ 24 w 1044"/>
                <a:gd name="T15" fmla="*/ 46 h 1542"/>
                <a:gd name="T16" fmla="*/ 29 w 1044"/>
                <a:gd name="T17" fmla="*/ 33 h 1542"/>
                <a:gd name="T18" fmla="*/ 32 w 1044"/>
                <a:gd name="T19" fmla="*/ 26 h 1542"/>
                <a:gd name="T20" fmla="*/ 30 w 1044"/>
                <a:gd name="T21" fmla="*/ 20 h 1542"/>
                <a:gd name="T22" fmla="*/ 26 w 1044"/>
                <a:gd name="T23" fmla="*/ 17 h 1542"/>
                <a:gd name="T24" fmla="*/ 28 w 1044"/>
                <a:gd name="T25" fmla="*/ 12 h 1542"/>
                <a:gd name="T26" fmla="*/ 44 w 1044"/>
                <a:gd name="T27" fmla="*/ 5 h 1542"/>
                <a:gd name="T28" fmla="*/ 57 w 1044"/>
                <a:gd name="T29" fmla="*/ 2 h 1542"/>
                <a:gd name="T30" fmla="*/ 65 w 1044"/>
                <a:gd name="T31" fmla="*/ 12 h 1542"/>
                <a:gd name="T32" fmla="*/ 81 w 1044"/>
                <a:gd name="T33" fmla="*/ 9 h 1542"/>
                <a:gd name="T34" fmla="*/ 91 w 1044"/>
                <a:gd name="T35" fmla="*/ 20 h 1542"/>
                <a:gd name="T36" fmla="*/ 89 w 1044"/>
                <a:gd name="T37" fmla="*/ 28 h 1542"/>
                <a:gd name="T38" fmla="*/ 83 w 1044"/>
                <a:gd name="T39" fmla="*/ 33 h 1542"/>
                <a:gd name="T40" fmla="*/ 74 w 1044"/>
                <a:gd name="T41" fmla="*/ 42 h 1542"/>
                <a:gd name="T42" fmla="*/ 58 w 1044"/>
                <a:gd name="T43" fmla="*/ 57 h 1542"/>
                <a:gd name="T44" fmla="*/ 54 w 1044"/>
                <a:gd name="T45" fmla="*/ 65 h 1542"/>
                <a:gd name="T46" fmla="*/ 59 w 1044"/>
                <a:gd name="T47" fmla="*/ 74 h 1542"/>
                <a:gd name="T48" fmla="*/ 55 w 1044"/>
                <a:gd name="T49" fmla="*/ 84 h 1542"/>
                <a:gd name="T50" fmla="*/ 52 w 1044"/>
                <a:gd name="T51" fmla="*/ 98 h 1542"/>
                <a:gd name="T52" fmla="*/ 47 w 1044"/>
                <a:gd name="T53" fmla="*/ 105 h 1542"/>
                <a:gd name="T54" fmla="*/ 42 w 1044"/>
                <a:gd name="T55" fmla="*/ 111 h 1542"/>
                <a:gd name="T56" fmla="*/ 43 w 1044"/>
                <a:gd name="T57" fmla="*/ 120 h 1542"/>
                <a:gd name="T58" fmla="*/ 45 w 1044"/>
                <a:gd name="T59" fmla="*/ 125 h 1542"/>
                <a:gd name="T60" fmla="*/ 44 w 1044"/>
                <a:gd name="T61" fmla="*/ 130 h 1542"/>
                <a:gd name="T62" fmla="*/ 45 w 1044"/>
                <a:gd name="T63" fmla="*/ 131 h 1542"/>
                <a:gd name="T64" fmla="*/ 48 w 1044"/>
                <a:gd name="T65" fmla="*/ 133 h 1542"/>
                <a:gd name="T66" fmla="*/ 39 w 1044"/>
                <a:gd name="T67" fmla="*/ 133 h 1542"/>
                <a:gd name="T68" fmla="*/ 42 w 1044"/>
                <a:gd name="T69" fmla="*/ 132 h 1542"/>
                <a:gd name="T70" fmla="*/ 38 w 1044"/>
                <a:gd name="T71" fmla="*/ 133 h 1542"/>
                <a:gd name="T72" fmla="*/ 37 w 1044"/>
                <a:gd name="T73" fmla="*/ 129 h 1542"/>
                <a:gd name="T74" fmla="*/ 40 w 1044"/>
                <a:gd name="T75" fmla="*/ 125 h 1542"/>
                <a:gd name="T76" fmla="*/ 40 w 1044"/>
                <a:gd name="T77" fmla="*/ 120 h 1542"/>
                <a:gd name="T78" fmla="*/ 40 w 1044"/>
                <a:gd name="T79" fmla="*/ 117 h 1542"/>
                <a:gd name="T80" fmla="*/ 37 w 1044"/>
                <a:gd name="T81" fmla="*/ 120 h 1542"/>
                <a:gd name="T82" fmla="*/ 34 w 1044"/>
                <a:gd name="T83" fmla="*/ 122 h 1542"/>
                <a:gd name="T84" fmla="*/ 36 w 1044"/>
                <a:gd name="T85" fmla="*/ 120 h 1542"/>
                <a:gd name="T86" fmla="*/ 30 w 1044"/>
                <a:gd name="T87" fmla="*/ 120 h 1542"/>
                <a:gd name="T88" fmla="*/ 31 w 1044"/>
                <a:gd name="T89" fmla="*/ 113 h 1542"/>
                <a:gd name="T90" fmla="*/ 29 w 1044"/>
                <a:gd name="T91" fmla="*/ 112 h 1542"/>
                <a:gd name="T92" fmla="*/ 31 w 1044"/>
                <a:gd name="T93" fmla="*/ 117 h 1542"/>
                <a:gd name="T94" fmla="*/ 27 w 1044"/>
                <a:gd name="T95" fmla="*/ 116 h 1542"/>
                <a:gd name="T96" fmla="*/ 25 w 1044"/>
                <a:gd name="T97" fmla="*/ 112 h 1542"/>
                <a:gd name="T98" fmla="*/ 21 w 1044"/>
                <a:gd name="T99" fmla="*/ 109 h 1542"/>
                <a:gd name="T100" fmla="*/ 21 w 1044"/>
                <a:gd name="T101" fmla="*/ 113 h 1542"/>
                <a:gd name="T102" fmla="*/ 40 w 1044"/>
                <a:gd name="T103" fmla="*/ 120 h 1542"/>
                <a:gd name="T104" fmla="*/ 40 w 1044"/>
                <a:gd name="T105" fmla="*/ 121 h 1542"/>
                <a:gd name="T106" fmla="*/ 40 w 1044"/>
                <a:gd name="T107" fmla="*/ 116 h 1542"/>
                <a:gd name="T108" fmla="*/ 38 w 1044"/>
                <a:gd name="T109" fmla="*/ 120 h 1542"/>
                <a:gd name="T110" fmla="*/ 23 w 1044"/>
                <a:gd name="T111" fmla="*/ 110 h 1542"/>
                <a:gd name="T112" fmla="*/ 37 w 1044"/>
                <a:gd name="T113" fmla="*/ 124 h 1542"/>
                <a:gd name="T114" fmla="*/ 40 w 1044"/>
                <a:gd name="T115" fmla="*/ 125 h 1542"/>
                <a:gd name="T116" fmla="*/ 38 w 1044"/>
                <a:gd name="T117" fmla="*/ 128 h 1542"/>
                <a:gd name="T118" fmla="*/ 25 w 1044"/>
                <a:gd name="T119" fmla="*/ 117 h 1542"/>
                <a:gd name="T120" fmla="*/ 27 w 1044"/>
                <a:gd name="T121" fmla="*/ 127 h 1542"/>
                <a:gd name="T122" fmla="*/ 24 w 1044"/>
                <a:gd name="T123" fmla="*/ 113 h 15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4"/>
                <a:gd name="T187" fmla="*/ 0 h 1542"/>
                <a:gd name="T188" fmla="*/ 1044 w 1044"/>
                <a:gd name="T189" fmla="*/ 1542 h 154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4" h="1542">
                  <a:moveTo>
                    <a:pt x="234" y="1278"/>
                  </a:moveTo>
                  <a:lnTo>
                    <a:pt x="228" y="1272"/>
                  </a:lnTo>
                  <a:lnTo>
                    <a:pt x="222" y="1266"/>
                  </a:lnTo>
                  <a:lnTo>
                    <a:pt x="222" y="1260"/>
                  </a:lnTo>
                  <a:lnTo>
                    <a:pt x="204" y="1248"/>
                  </a:lnTo>
                  <a:lnTo>
                    <a:pt x="192" y="1248"/>
                  </a:lnTo>
                  <a:lnTo>
                    <a:pt x="186" y="1236"/>
                  </a:lnTo>
                  <a:lnTo>
                    <a:pt x="174" y="1218"/>
                  </a:lnTo>
                  <a:lnTo>
                    <a:pt x="162" y="1194"/>
                  </a:lnTo>
                  <a:lnTo>
                    <a:pt x="156" y="1182"/>
                  </a:lnTo>
                  <a:lnTo>
                    <a:pt x="162" y="1146"/>
                  </a:lnTo>
                  <a:lnTo>
                    <a:pt x="156" y="1134"/>
                  </a:lnTo>
                  <a:lnTo>
                    <a:pt x="138" y="1122"/>
                  </a:lnTo>
                  <a:lnTo>
                    <a:pt x="132" y="1116"/>
                  </a:lnTo>
                  <a:lnTo>
                    <a:pt x="138" y="1098"/>
                  </a:lnTo>
                  <a:lnTo>
                    <a:pt x="138" y="1092"/>
                  </a:lnTo>
                  <a:lnTo>
                    <a:pt x="138" y="1086"/>
                  </a:lnTo>
                  <a:lnTo>
                    <a:pt x="132" y="1074"/>
                  </a:lnTo>
                  <a:lnTo>
                    <a:pt x="126" y="1074"/>
                  </a:lnTo>
                  <a:lnTo>
                    <a:pt x="126" y="1068"/>
                  </a:lnTo>
                  <a:lnTo>
                    <a:pt x="120" y="1062"/>
                  </a:lnTo>
                  <a:lnTo>
                    <a:pt x="120" y="1056"/>
                  </a:lnTo>
                  <a:lnTo>
                    <a:pt x="114" y="1050"/>
                  </a:lnTo>
                  <a:lnTo>
                    <a:pt x="108" y="1050"/>
                  </a:lnTo>
                  <a:lnTo>
                    <a:pt x="102" y="1056"/>
                  </a:lnTo>
                  <a:lnTo>
                    <a:pt x="102" y="1062"/>
                  </a:lnTo>
                  <a:lnTo>
                    <a:pt x="96" y="1062"/>
                  </a:lnTo>
                  <a:lnTo>
                    <a:pt x="96" y="1068"/>
                  </a:lnTo>
                  <a:lnTo>
                    <a:pt x="96" y="1074"/>
                  </a:lnTo>
                  <a:lnTo>
                    <a:pt x="90" y="1074"/>
                  </a:lnTo>
                  <a:lnTo>
                    <a:pt x="84" y="1080"/>
                  </a:lnTo>
                  <a:lnTo>
                    <a:pt x="78" y="1074"/>
                  </a:lnTo>
                  <a:lnTo>
                    <a:pt x="72" y="1074"/>
                  </a:lnTo>
                  <a:lnTo>
                    <a:pt x="72" y="1068"/>
                  </a:lnTo>
                  <a:lnTo>
                    <a:pt x="72" y="1062"/>
                  </a:lnTo>
                  <a:lnTo>
                    <a:pt x="60" y="1056"/>
                  </a:lnTo>
                  <a:lnTo>
                    <a:pt x="60" y="1044"/>
                  </a:lnTo>
                  <a:lnTo>
                    <a:pt x="60" y="1032"/>
                  </a:lnTo>
                  <a:lnTo>
                    <a:pt x="60" y="1026"/>
                  </a:lnTo>
                  <a:lnTo>
                    <a:pt x="54" y="1026"/>
                  </a:lnTo>
                  <a:lnTo>
                    <a:pt x="48" y="1014"/>
                  </a:lnTo>
                  <a:lnTo>
                    <a:pt x="42" y="1008"/>
                  </a:lnTo>
                  <a:lnTo>
                    <a:pt x="30" y="1008"/>
                  </a:lnTo>
                  <a:lnTo>
                    <a:pt x="30" y="1002"/>
                  </a:lnTo>
                  <a:lnTo>
                    <a:pt x="24" y="1008"/>
                  </a:lnTo>
                  <a:lnTo>
                    <a:pt x="12" y="1008"/>
                  </a:lnTo>
                  <a:lnTo>
                    <a:pt x="6" y="1008"/>
                  </a:lnTo>
                  <a:lnTo>
                    <a:pt x="0" y="1008"/>
                  </a:lnTo>
                  <a:lnTo>
                    <a:pt x="0" y="1002"/>
                  </a:lnTo>
                  <a:lnTo>
                    <a:pt x="6" y="990"/>
                  </a:lnTo>
                  <a:lnTo>
                    <a:pt x="6" y="984"/>
                  </a:lnTo>
                  <a:lnTo>
                    <a:pt x="0" y="978"/>
                  </a:lnTo>
                  <a:lnTo>
                    <a:pt x="6" y="972"/>
                  </a:lnTo>
                  <a:lnTo>
                    <a:pt x="12" y="972"/>
                  </a:lnTo>
                  <a:lnTo>
                    <a:pt x="72" y="978"/>
                  </a:lnTo>
                  <a:lnTo>
                    <a:pt x="78" y="972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30"/>
                  </a:lnTo>
                  <a:lnTo>
                    <a:pt x="54" y="912"/>
                  </a:lnTo>
                  <a:lnTo>
                    <a:pt x="42" y="906"/>
                  </a:lnTo>
                  <a:lnTo>
                    <a:pt x="36" y="894"/>
                  </a:lnTo>
                  <a:lnTo>
                    <a:pt x="30" y="876"/>
                  </a:lnTo>
                  <a:lnTo>
                    <a:pt x="30" y="858"/>
                  </a:lnTo>
                  <a:lnTo>
                    <a:pt x="30" y="840"/>
                  </a:lnTo>
                  <a:lnTo>
                    <a:pt x="36" y="816"/>
                  </a:lnTo>
                  <a:lnTo>
                    <a:pt x="36" y="792"/>
                  </a:lnTo>
                  <a:lnTo>
                    <a:pt x="36" y="780"/>
                  </a:lnTo>
                  <a:lnTo>
                    <a:pt x="12" y="774"/>
                  </a:lnTo>
                  <a:lnTo>
                    <a:pt x="24" y="756"/>
                  </a:lnTo>
                  <a:lnTo>
                    <a:pt x="24" y="744"/>
                  </a:lnTo>
                  <a:lnTo>
                    <a:pt x="30" y="738"/>
                  </a:lnTo>
                  <a:lnTo>
                    <a:pt x="30" y="732"/>
                  </a:lnTo>
                  <a:lnTo>
                    <a:pt x="36" y="720"/>
                  </a:lnTo>
                  <a:lnTo>
                    <a:pt x="42" y="714"/>
                  </a:lnTo>
                  <a:lnTo>
                    <a:pt x="54" y="708"/>
                  </a:lnTo>
                  <a:lnTo>
                    <a:pt x="60" y="702"/>
                  </a:lnTo>
                  <a:lnTo>
                    <a:pt x="48" y="690"/>
                  </a:lnTo>
                  <a:lnTo>
                    <a:pt x="48" y="684"/>
                  </a:lnTo>
                  <a:lnTo>
                    <a:pt x="48" y="678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66"/>
                  </a:lnTo>
                  <a:lnTo>
                    <a:pt x="72" y="654"/>
                  </a:lnTo>
                  <a:lnTo>
                    <a:pt x="72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84" y="630"/>
                  </a:lnTo>
                  <a:lnTo>
                    <a:pt x="90" y="630"/>
                  </a:lnTo>
                  <a:lnTo>
                    <a:pt x="96" y="630"/>
                  </a:lnTo>
                  <a:lnTo>
                    <a:pt x="96" y="624"/>
                  </a:lnTo>
                  <a:lnTo>
                    <a:pt x="90" y="624"/>
                  </a:lnTo>
                  <a:lnTo>
                    <a:pt x="84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90" y="600"/>
                  </a:lnTo>
                  <a:lnTo>
                    <a:pt x="84" y="600"/>
                  </a:lnTo>
                  <a:lnTo>
                    <a:pt x="78" y="594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126" y="564"/>
                  </a:lnTo>
                  <a:lnTo>
                    <a:pt x="144" y="564"/>
                  </a:lnTo>
                  <a:lnTo>
                    <a:pt x="156" y="582"/>
                  </a:lnTo>
                  <a:lnTo>
                    <a:pt x="162" y="600"/>
                  </a:lnTo>
                  <a:lnTo>
                    <a:pt x="180" y="588"/>
                  </a:lnTo>
                  <a:lnTo>
                    <a:pt x="192" y="588"/>
                  </a:lnTo>
                  <a:lnTo>
                    <a:pt x="198" y="588"/>
                  </a:lnTo>
                  <a:lnTo>
                    <a:pt x="210" y="582"/>
                  </a:lnTo>
                  <a:lnTo>
                    <a:pt x="216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58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46" y="558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58" y="570"/>
                  </a:lnTo>
                  <a:lnTo>
                    <a:pt x="264" y="570"/>
                  </a:lnTo>
                  <a:lnTo>
                    <a:pt x="270" y="564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46"/>
                  </a:lnTo>
                  <a:lnTo>
                    <a:pt x="276" y="540"/>
                  </a:lnTo>
                  <a:lnTo>
                    <a:pt x="276" y="534"/>
                  </a:lnTo>
                  <a:lnTo>
                    <a:pt x="276" y="528"/>
                  </a:lnTo>
                  <a:lnTo>
                    <a:pt x="282" y="528"/>
                  </a:lnTo>
                  <a:lnTo>
                    <a:pt x="282" y="522"/>
                  </a:lnTo>
                  <a:lnTo>
                    <a:pt x="282" y="516"/>
                  </a:lnTo>
                  <a:lnTo>
                    <a:pt x="282" y="510"/>
                  </a:lnTo>
                  <a:lnTo>
                    <a:pt x="282" y="504"/>
                  </a:lnTo>
                  <a:lnTo>
                    <a:pt x="282" y="492"/>
                  </a:lnTo>
                  <a:lnTo>
                    <a:pt x="288" y="486"/>
                  </a:lnTo>
                  <a:lnTo>
                    <a:pt x="300" y="480"/>
                  </a:lnTo>
                  <a:lnTo>
                    <a:pt x="306" y="462"/>
                  </a:lnTo>
                  <a:lnTo>
                    <a:pt x="318" y="444"/>
                  </a:lnTo>
                  <a:lnTo>
                    <a:pt x="330" y="444"/>
                  </a:lnTo>
                  <a:lnTo>
                    <a:pt x="330" y="432"/>
                  </a:lnTo>
                  <a:lnTo>
                    <a:pt x="342" y="432"/>
                  </a:lnTo>
                  <a:lnTo>
                    <a:pt x="354" y="402"/>
                  </a:lnTo>
                  <a:lnTo>
                    <a:pt x="348" y="390"/>
                  </a:lnTo>
                  <a:lnTo>
                    <a:pt x="336" y="384"/>
                  </a:lnTo>
                  <a:lnTo>
                    <a:pt x="336" y="360"/>
                  </a:lnTo>
                  <a:lnTo>
                    <a:pt x="336" y="354"/>
                  </a:lnTo>
                  <a:lnTo>
                    <a:pt x="336" y="342"/>
                  </a:lnTo>
                  <a:lnTo>
                    <a:pt x="342" y="336"/>
                  </a:lnTo>
                  <a:lnTo>
                    <a:pt x="342" y="324"/>
                  </a:lnTo>
                  <a:lnTo>
                    <a:pt x="372" y="324"/>
                  </a:lnTo>
                  <a:lnTo>
                    <a:pt x="378" y="324"/>
                  </a:lnTo>
                  <a:lnTo>
                    <a:pt x="378" y="318"/>
                  </a:lnTo>
                  <a:lnTo>
                    <a:pt x="372" y="312"/>
                  </a:lnTo>
                  <a:lnTo>
                    <a:pt x="378" y="312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84" y="300"/>
                  </a:lnTo>
                  <a:lnTo>
                    <a:pt x="384" y="294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66" y="294"/>
                  </a:lnTo>
                  <a:lnTo>
                    <a:pt x="366" y="288"/>
                  </a:lnTo>
                  <a:lnTo>
                    <a:pt x="372" y="288"/>
                  </a:lnTo>
                  <a:lnTo>
                    <a:pt x="372" y="282"/>
                  </a:lnTo>
                  <a:lnTo>
                    <a:pt x="366" y="276"/>
                  </a:lnTo>
                  <a:lnTo>
                    <a:pt x="360" y="270"/>
                  </a:lnTo>
                  <a:lnTo>
                    <a:pt x="360" y="264"/>
                  </a:lnTo>
                  <a:lnTo>
                    <a:pt x="354" y="264"/>
                  </a:lnTo>
                  <a:lnTo>
                    <a:pt x="348" y="258"/>
                  </a:lnTo>
                  <a:lnTo>
                    <a:pt x="354" y="258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40"/>
                  </a:lnTo>
                  <a:lnTo>
                    <a:pt x="354" y="240"/>
                  </a:lnTo>
                  <a:lnTo>
                    <a:pt x="342" y="234"/>
                  </a:lnTo>
                  <a:lnTo>
                    <a:pt x="342" y="228"/>
                  </a:lnTo>
                  <a:lnTo>
                    <a:pt x="348" y="228"/>
                  </a:lnTo>
                  <a:lnTo>
                    <a:pt x="342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6" y="216"/>
                  </a:lnTo>
                  <a:lnTo>
                    <a:pt x="330" y="222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24" y="210"/>
                  </a:lnTo>
                  <a:lnTo>
                    <a:pt x="318" y="210"/>
                  </a:lnTo>
                  <a:lnTo>
                    <a:pt x="318" y="204"/>
                  </a:lnTo>
                  <a:lnTo>
                    <a:pt x="312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294" y="192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300" y="174"/>
                  </a:lnTo>
                  <a:lnTo>
                    <a:pt x="300" y="168"/>
                  </a:lnTo>
                  <a:lnTo>
                    <a:pt x="300" y="162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88" y="150"/>
                  </a:lnTo>
                  <a:lnTo>
                    <a:pt x="288" y="144"/>
                  </a:lnTo>
                  <a:lnTo>
                    <a:pt x="282" y="144"/>
                  </a:lnTo>
                  <a:lnTo>
                    <a:pt x="282" y="138"/>
                  </a:lnTo>
                  <a:lnTo>
                    <a:pt x="312" y="132"/>
                  </a:lnTo>
                  <a:lnTo>
                    <a:pt x="324" y="120"/>
                  </a:lnTo>
                  <a:lnTo>
                    <a:pt x="330" y="114"/>
                  </a:lnTo>
                  <a:lnTo>
                    <a:pt x="336" y="102"/>
                  </a:lnTo>
                  <a:lnTo>
                    <a:pt x="348" y="90"/>
                  </a:lnTo>
                  <a:lnTo>
                    <a:pt x="360" y="84"/>
                  </a:lnTo>
                  <a:lnTo>
                    <a:pt x="372" y="84"/>
                  </a:lnTo>
                  <a:lnTo>
                    <a:pt x="378" y="84"/>
                  </a:lnTo>
                  <a:lnTo>
                    <a:pt x="384" y="90"/>
                  </a:lnTo>
                  <a:lnTo>
                    <a:pt x="402" y="90"/>
                  </a:lnTo>
                  <a:lnTo>
                    <a:pt x="438" y="84"/>
                  </a:lnTo>
                  <a:lnTo>
                    <a:pt x="456" y="84"/>
                  </a:lnTo>
                  <a:lnTo>
                    <a:pt x="462" y="78"/>
                  </a:lnTo>
                  <a:lnTo>
                    <a:pt x="486" y="72"/>
                  </a:lnTo>
                  <a:lnTo>
                    <a:pt x="492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04" y="54"/>
                  </a:lnTo>
                  <a:lnTo>
                    <a:pt x="510" y="42"/>
                  </a:lnTo>
                  <a:lnTo>
                    <a:pt x="504" y="42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498" y="30"/>
                  </a:lnTo>
                  <a:lnTo>
                    <a:pt x="492" y="30"/>
                  </a:lnTo>
                  <a:lnTo>
                    <a:pt x="492" y="24"/>
                  </a:lnTo>
                  <a:lnTo>
                    <a:pt x="486" y="18"/>
                  </a:lnTo>
                  <a:lnTo>
                    <a:pt x="498" y="18"/>
                  </a:lnTo>
                  <a:lnTo>
                    <a:pt x="510" y="18"/>
                  </a:lnTo>
                  <a:lnTo>
                    <a:pt x="522" y="12"/>
                  </a:lnTo>
                  <a:lnTo>
                    <a:pt x="528" y="6"/>
                  </a:lnTo>
                  <a:lnTo>
                    <a:pt x="570" y="0"/>
                  </a:lnTo>
                  <a:lnTo>
                    <a:pt x="606" y="6"/>
                  </a:lnTo>
                  <a:lnTo>
                    <a:pt x="654" y="24"/>
                  </a:lnTo>
                  <a:lnTo>
                    <a:pt x="666" y="36"/>
                  </a:lnTo>
                  <a:lnTo>
                    <a:pt x="672" y="30"/>
                  </a:lnTo>
                  <a:lnTo>
                    <a:pt x="690" y="42"/>
                  </a:lnTo>
                  <a:lnTo>
                    <a:pt x="702" y="48"/>
                  </a:lnTo>
                  <a:lnTo>
                    <a:pt x="714" y="60"/>
                  </a:lnTo>
                  <a:lnTo>
                    <a:pt x="714" y="66"/>
                  </a:lnTo>
                  <a:lnTo>
                    <a:pt x="720" y="72"/>
                  </a:lnTo>
                  <a:lnTo>
                    <a:pt x="720" y="78"/>
                  </a:lnTo>
                  <a:lnTo>
                    <a:pt x="720" y="102"/>
                  </a:lnTo>
                  <a:lnTo>
                    <a:pt x="720" y="108"/>
                  </a:lnTo>
                  <a:lnTo>
                    <a:pt x="714" y="108"/>
                  </a:lnTo>
                  <a:lnTo>
                    <a:pt x="714" y="126"/>
                  </a:lnTo>
                  <a:lnTo>
                    <a:pt x="732" y="126"/>
                  </a:lnTo>
                  <a:lnTo>
                    <a:pt x="726" y="132"/>
                  </a:lnTo>
                  <a:lnTo>
                    <a:pt x="738" y="132"/>
                  </a:lnTo>
                  <a:lnTo>
                    <a:pt x="738" y="138"/>
                  </a:lnTo>
                  <a:lnTo>
                    <a:pt x="738" y="144"/>
                  </a:lnTo>
                  <a:lnTo>
                    <a:pt x="744" y="144"/>
                  </a:lnTo>
                  <a:lnTo>
                    <a:pt x="744" y="150"/>
                  </a:lnTo>
                  <a:lnTo>
                    <a:pt x="756" y="156"/>
                  </a:lnTo>
                  <a:lnTo>
                    <a:pt x="768" y="156"/>
                  </a:lnTo>
                  <a:lnTo>
                    <a:pt x="780" y="156"/>
                  </a:lnTo>
                  <a:lnTo>
                    <a:pt x="792" y="150"/>
                  </a:lnTo>
                  <a:lnTo>
                    <a:pt x="786" y="150"/>
                  </a:lnTo>
                  <a:lnTo>
                    <a:pt x="786" y="144"/>
                  </a:lnTo>
                  <a:lnTo>
                    <a:pt x="804" y="144"/>
                  </a:lnTo>
                  <a:lnTo>
                    <a:pt x="816" y="132"/>
                  </a:lnTo>
                  <a:lnTo>
                    <a:pt x="822" y="126"/>
                  </a:lnTo>
                  <a:lnTo>
                    <a:pt x="828" y="132"/>
                  </a:lnTo>
                  <a:lnTo>
                    <a:pt x="834" y="126"/>
                  </a:lnTo>
                  <a:lnTo>
                    <a:pt x="834" y="120"/>
                  </a:lnTo>
                  <a:lnTo>
                    <a:pt x="924" y="108"/>
                  </a:lnTo>
                  <a:lnTo>
                    <a:pt x="942" y="144"/>
                  </a:lnTo>
                  <a:lnTo>
                    <a:pt x="948" y="144"/>
                  </a:lnTo>
                  <a:lnTo>
                    <a:pt x="960" y="168"/>
                  </a:lnTo>
                  <a:lnTo>
                    <a:pt x="972" y="186"/>
                  </a:lnTo>
                  <a:lnTo>
                    <a:pt x="984" y="192"/>
                  </a:lnTo>
                  <a:lnTo>
                    <a:pt x="996" y="192"/>
                  </a:lnTo>
                  <a:lnTo>
                    <a:pt x="996" y="198"/>
                  </a:lnTo>
                  <a:lnTo>
                    <a:pt x="1008" y="204"/>
                  </a:lnTo>
                  <a:lnTo>
                    <a:pt x="1008" y="210"/>
                  </a:lnTo>
                  <a:lnTo>
                    <a:pt x="1002" y="210"/>
                  </a:lnTo>
                  <a:lnTo>
                    <a:pt x="1008" y="216"/>
                  </a:lnTo>
                  <a:lnTo>
                    <a:pt x="1014" y="210"/>
                  </a:lnTo>
                  <a:lnTo>
                    <a:pt x="1014" y="216"/>
                  </a:lnTo>
                  <a:lnTo>
                    <a:pt x="1020" y="222"/>
                  </a:lnTo>
                  <a:lnTo>
                    <a:pt x="1014" y="228"/>
                  </a:lnTo>
                  <a:lnTo>
                    <a:pt x="1032" y="234"/>
                  </a:lnTo>
                  <a:lnTo>
                    <a:pt x="1044" y="240"/>
                  </a:lnTo>
                  <a:lnTo>
                    <a:pt x="1038" y="246"/>
                  </a:lnTo>
                  <a:lnTo>
                    <a:pt x="1038" y="252"/>
                  </a:lnTo>
                  <a:lnTo>
                    <a:pt x="1038" y="258"/>
                  </a:lnTo>
                  <a:lnTo>
                    <a:pt x="1032" y="264"/>
                  </a:lnTo>
                  <a:lnTo>
                    <a:pt x="1032" y="270"/>
                  </a:lnTo>
                  <a:lnTo>
                    <a:pt x="1032" y="276"/>
                  </a:lnTo>
                  <a:lnTo>
                    <a:pt x="1032" y="282"/>
                  </a:lnTo>
                  <a:lnTo>
                    <a:pt x="1026" y="282"/>
                  </a:lnTo>
                  <a:lnTo>
                    <a:pt x="1026" y="288"/>
                  </a:lnTo>
                  <a:lnTo>
                    <a:pt x="1026" y="294"/>
                  </a:lnTo>
                  <a:lnTo>
                    <a:pt x="1026" y="300"/>
                  </a:lnTo>
                  <a:lnTo>
                    <a:pt x="1026" y="306"/>
                  </a:lnTo>
                  <a:lnTo>
                    <a:pt x="1020" y="318"/>
                  </a:lnTo>
                  <a:lnTo>
                    <a:pt x="1020" y="324"/>
                  </a:lnTo>
                  <a:lnTo>
                    <a:pt x="1014" y="324"/>
                  </a:lnTo>
                  <a:lnTo>
                    <a:pt x="1014" y="330"/>
                  </a:lnTo>
                  <a:lnTo>
                    <a:pt x="1014" y="336"/>
                  </a:lnTo>
                  <a:lnTo>
                    <a:pt x="1008" y="366"/>
                  </a:lnTo>
                  <a:lnTo>
                    <a:pt x="1002" y="366"/>
                  </a:lnTo>
                  <a:lnTo>
                    <a:pt x="984" y="354"/>
                  </a:lnTo>
                  <a:lnTo>
                    <a:pt x="978" y="354"/>
                  </a:lnTo>
                  <a:lnTo>
                    <a:pt x="972" y="354"/>
                  </a:lnTo>
                  <a:lnTo>
                    <a:pt x="966" y="348"/>
                  </a:lnTo>
                  <a:lnTo>
                    <a:pt x="954" y="348"/>
                  </a:lnTo>
                  <a:lnTo>
                    <a:pt x="948" y="348"/>
                  </a:lnTo>
                  <a:lnTo>
                    <a:pt x="948" y="360"/>
                  </a:lnTo>
                  <a:lnTo>
                    <a:pt x="948" y="366"/>
                  </a:lnTo>
                  <a:lnTo>
                    <a:pt x="948" y="372"/>
                  </a:lnTo>
                  <a:lnTo>
                    <a:pt x="948" y="378"/>
                  </a:lnTo>
                  <a:lnTo>
                    <a:pt x="948" y="384"/>
                  </a:lnTo>
                  <a:lnTo>
                    <a:pt x="942" y="384"/>
                  </a:lnTo>
                  <a:lnTo>
                    <a:pt x="942" y="390"/>
                  </a:lnTo>
                  <a:lnTo>
                    <a:pt x="936" y="390"/>
                  </a:lnTo>
                  <a:lnTo>
                    <a:pt x="942" y="390"/>
                  </a:lnTo>
                  <a:lnTo>
                    <a:pt x="936" y="396"/>
                  </a:lnTo>
                  <a:lnTo>
                    <a:pt x="930" y="402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2" y="432"/>
                  </a:lnTo>
                  <a:lnTo>
                    <a:pt x="900" y="450"/>
                  </a:lnTo>
                  <a:lnTo>
                    <a:pt x="894" y="456"/>
                  </a:lnTo>
                  <a:lnTo>
                    <a:pt x="888" y="456"/>
                  </a:lnTo>
                  <a:lnTo>
                    <a:pt x="882" y="456"/>
                  </a:lnTo>
                  <a:lnTo>
                    <a:pt x="876" y="456"/>
                  </a:lnTo>
                  <a:lnTo>
                    <a:pt x="864" y="462"/>
                  </a:lnTo>
                  <a:lnTo>
                    <a:pt x="852" y="474"/>
                  </a:lnTo>
                  <a:lnTo>
                    <a:pt x="846" y="480"/>
                  </a:lnTo>
                  <a:lnTo>
                    <a:pt x="840" y="486"/>
                  </a:lnTo>
                  <a:lnTo>
                    <a:pt x="834" y="498"/>
                  </a:lnTo>
                  <a:lnTo>
                    <a:pt x="828" y="510"/>
                  </a:lnTo>
                  <a:lnTo>
                    <a:pt x="816" y="522"/>
                  </a:lnTo>
                  <a:lnTo>
                    <a:pt x="798" y="540"/>
                  </a:lnTo>
                  <a:lnTo>
                    <a:pt x="780" y="558"/>
                  </a:lnTo>
                  <a:lnTo>
                    <a:pt x="774" y="558"/>
                  </a:lnTo>
                  <a:lnTo>
                    <a:pt x="756" y="576"/>
                  </a:lnTo>
                  <a:lnTo>
                    <a:pt x="732" y="600"/>
                  </a:lnTo>
                  <a:lnTo>
                    <a:pt x="726" y="600"/>
                  </a:lnTo>
                  <a:lnTo>
                    <a:pt x="720" y="606"/>
                  </a:lnTo>
                  <a:lnTo>
                    <a:pt x="714" y="612"/>
                  </a:lnTo>
                  <a:lnTo>
                    <a:pt x="690" y="630"/>
                  </a:lnTo>
                  <a:lnTo>
                    <a:pt x="678" y="636"/>
                  </a:lnTo>
                  <a:lnTo>
                    <a:pt x="672" y="642"/>
                  </a:lnTo>
                  <a:lnTo>
                    <a:pt x="660" y="660"/>
                  </a:lnTo>
                  <a:lnTo>
                    <a:pt x="642" y="666"/>
                  </a:lnTo>
                  <a:lnTo>
                    <a:pt x="636" y="678"/>
                  </a:lnTo>
                  <a:lnTo>
                    <a:pt x="630" y="678"/>
                  </a:lnTo>
                  <a:lnTo>
                    <a:pt x="630" y="684"/>
                  </a:lnTo>
                  <a:lnTo>
                    <a:pt x="630" y="690"/>
                  </a:lnTo>
                  <a:lnTo>
                    <a:pt x="636" y="696"/>
                  </a:lnTo>
                  <a:lnTo>
                    <a:pt x="642" y="696"/>
                  </a:lnTo>
                  <a:lnTo>
                    <a:pt x="648" y="702"/>
                  </a:lnTo>
                  <a:lnTo>
                    <a:pt x="648" y="708"/>
                  </a:lnTo>
                  <a:lnTo>
                    <a:pt x="642" y="708"/>
                  </a:lnTo>
                  <a:lnTo>
                    <a:pt x="636" y="714"/>
                  </a:lnTo>
                  <a:lnTo>
                    <a:pt x="636" y="720"/>
                  </a:lnTo>
                  <a:lnTo>
                    <a:pt x="642" y="726"/>
                  </a:lnTo>
                  <a:lnTo>
                    <a:pt x="636" y="738"/>
                  </a:lnTo>
                  <a:lnTo>
                    <a:pt x="618" y="756"/>
                  </a:lnTo>
                  <a:lnTo>
                    <a:pt x="612" y="750"/>
                  </a:lnTo>
                  <a:lnTo>
                    <a:pt x="612" y="756"/>
                  </a:lnTo>
                  <a:lnTo>
                    <a:pt x="618" y="762"/>
                  </a:lnTo>
                  <a:lnTo>
                    <a:pt x="618" y="768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36" y="786"/>
                  </a:lnTo>
                  <a:lnTo>
                    <a:pt x="642" y="792"/>
                  </a:lnTo>
                  <a:lnTo>
                    <a:pt x="642" y="798"/>
                  </a:lnTo>
                  <a:lnTo>
                    <a:pt x="648" y="804"/>
                  </a:lnTo>
                  <a:lnTo>
                    <a:pt x="654" y="810"/>
                  </a:lnTo>
                  <a:lnTo>
                    <a:pt x="660" y="816"/>
                  </a:lnTo>
                  <a:lnTo>
                    <a:pt x="666" y="816"/>
                  </a:lnTo>
                  <a:lnTo>
                    <a:pt x="666" y="822"/>
                  </a:lnTo>
                  <a:lnTo>
                    <a:pt x="672" y="828"/>
                  </a:lnTo>
                  <a:lnTo>
                    <a:pt x="672" y="840"/>
                  </a:lnTo>
                  <a:lnTo>
                    <a:pt x="672" y="846"/>
                  </a:lnTo>
                  <a:lnTo>
                    <a:pt x="666" y="852"/>
                  </a:lnTo>
                  <a:lnTo>
                    <a:pt x="660" y="864"/>
                  </a:lnTo>
                  <a:lnTo>
                    <a:pt x="654" y="876"/>
                  </a:lnTo>
                  <a:lnTo>
                    <a:pt x="648" y="882"/>
                  </a:lnTo>
                  <a:lnTo>
                    <a:pt x="642" y="888"/>
                  </a:lnTo>
                  <a:lnTo>
                    <a:pt x="642" y="894"/>
                  </a:lnTo>
                  <a:lnTo>
                    <a:pt x="642" y="906"/>
                  </a:lnTo>
                  <a:lnTo>
                    <a:pt x="630" y="918"/>
                  </a:lnTo>
                  <a:lnTo>
                    <a:pt x="630" y="924"/>
                  </a:lnTo>
                  <a:lnTo>
                    <a:pt x="624" y="930"/>
                  </a:lnTo>
                  <a:lnTo>
                    <a:pt x="630" y="936"/>
                  </a:lnTo>
                  <a:lnTo>
                    <a:pt x="630" y="942"/>
                  </a:lnTo>
                  <a:lnTo>
                    <a:pt x="630" y="948"/>
                  </a:lnTo>
                  <a:lnTo>
                    <a:pt x="630" y="954"/>
                  </a:lnTo>
                  <a:lnTo>
                    <a:pt x="630" y="960"/>
                  </a:lnTo>
                  <a:lnTo>
                    <a:pt x="624" y="966"/>
                  </a:lnTo>
                  <a:lnTo>
                    <a:pt x="618" y="990"/>
                  </a:lnTo>
                  <a:lnTo>
                    <a:pt x="618" y="1008"/>
                  </a:lnTo>
                  <a:lnTo>
                    <a:pt x="612" y="1026"/>
                  </a:lnTo>
                  <a:lnTo>
                    <a:pt x="612" y="1038"/>
                  </a:lnTo>
                  <a:lnTo>
                    <a:pt x="612" y="1050"/>
                  </a:lnTo>
                  <a:lnTo>
                    <a:pt x="612" y="1056"/>
                  </a:lnTo>
                  <a:lnTo>
                    <a:pt x="612" y="1062"/>
                  </a:lnTo>
                  <a:lnTo>
                    <a:pt x="612" y="1068"/>
                  </a:lnTo>
                  <a:lnTo>
                    <a:pt x="612" y="1086"/>
                  </a:lnTo>
                  <a:lnTo>
                    <a:pt x="612" y="1092"/>
                  </a:lnTo>
                  <a:lnTo>
                    <a:pt x="606" y="1098"/>
                  </a:lnTo>
                  <a:lnTo>
                    <a:pt x="600" y="1110"/>
                  </a:lnTo>
                  <a:lnTo>
                    <a:pt x="600" y="1116"/>
                  </a:lnTo>
                  <a:lnTo>
                    <a:pt x="594" y="1122"/>
                  </a:lnTo>
                  <a:lnTo>
                    <a:pt x="594" y="1128"/>
                  </a:lnTo>
                  <a:lnTo>
                    <a:pt x="588" y="1134"/>
                  </a:lnTo>
                  <a:lnTo>
                    <a:pt x="582" y="1140"/>
                  </a:lnTo>
                  <a:lnTo>
                    <a:pt x="570" y="1140"/>
                  </a:lnTo>
                  <a:lnTo>
                    <a:pt x="564" y="1146"/>
                  </a:lnTo>
                  <a:lnTo>
                    <a:pt x="570" y="1146"/>
                  </a:lnTo>
                  <a:lnTo>
                    <a:pt x="564" y="1152"/>
                  </a:lnTo>
                  <a:lnTo>
                    <a:pt x="558" y="1158"/>
                  </a:lnTo>
                  <a:lnTo>
                    <a:pt x="552" y="1164"/>
                  </a:lnTo>
                  <a:lnTo>
                    <a:pt x="552" y="1170"/>
                  </a:lnTo>
                  <a:lnTo>
                    <a:pt x="546" y="1176"/>
                  </a:lnTo>
                  <a:lnTo>
                    <a:pt x="546" y="1182"/>
                  </a:lnTo>
                  <a:lnTo>
                    <a:pt x="546" y="1188"/>
                  </a:lnTo>
                  <a:lnTo>
                    <a:pt x="540" y="1188"/>
                  </a:lnTo>
                  <a:lnTo>
                    <a:pt x="540" y="1194"/>
                  </a:lnTo>
                  <a:lnTo>
                    <a:pt x="528" y="1206"/>
                  </a:lnTo>
                  <a:lnTo>
                    <a:pt x="528" y="1212"/>
                  </a:lnTo>
                  <a:lnTo>
                    <a:pt x="534" y="1212"/>
                  </a:lnTo>
                  <a:lnTo>
                    <a:pt x="540" y="1218"/>
                  </a:lnTo>
                  <a:lnTo>
                    <a:pt x="534" y="1218"/>
                  </a:lnTo>
                  <a:lnTo>
                    <a:pt x="528" y="1218"/>
                  </a:lnTo>
                  <a:lnTo>
                    <a:pt x="528" y="1224"/>
                  </a:lnTo>
                  <a:lnTo>
                    <a:pt x="522" y="1230"/>
                  </a:lnTo>
                  <a:lnTo>
                    <a:pt x="516" y="1236"/>
                  </a:lnTo>
                  <a:lnTo>
                    <a:pt x="522" y="1236"/>
                  </a:lnTo>
                  <a:lnTo>
                    <a:pt x="516" y="1242"/>
                  </a:lnTo>
                  <a:lnTo>
                    <a:pt x="510" y="1242"/>
                  </a:lnTo>
                  <a:lnTo>
                    <a:pt x="504" y="1248"/>
                  </a:lnTo>
                  <a:lnTo>
                    <a:pt x="510" y="1260"/>
                  </a:lnTo>
                  <a:lnTo>
                    <a:pt x="504" y="1266"/>
                  </a:lnTo>
                  <a:lnTo>
                    <a:pt x="492" y="1266"/>
                  </a:lnTo>
                  <a:lnTo>
                    <a:pt x="486" y="1272"/>
                  </a:lnTo>
                  <a:lnTo>
                    <a:pt x="486" y="1278"/>
                  </a:lnTo>
                  <a:lnTo>
                    <a:pt x="480" y="1278"/>
                  </a:lnTo>
                  <a:lnTo>
                    <a:pt x="480" y="1284"/>
                  </a:lnTo>
                  <a:lnTo>
                    <a:pt x="480" y="1290"/>
                  </a:lnTo>
                  <a:lnTo>
                    <a:pt x="480" y="1296"/>
                  </a:lnTo>
                  <a:lnTo>
                    <a:pt x="492" y="1302"/>
                  </a:lnTo>
                  <a:lnTo>
                    <a:pt x="492" y="1308"/>
                  </a:lnTo>
                  <a:lnTo>
                    <a:pt x="492" y="1320"/>
                  </a:lnTo>
                  <a:lnTo>
                    <a:pt x="492" y="1332"/>
                  </a:lnTo>
                  <a:lnTo>
                    <a:pt x="498" y="1344"/>
                  </a:lnTo>
                  <a:lnTo>
                    <a:pt x="498" y="1350"/>
                  </a:lnTo>
                  <a:lnTo>
                    <a:pt x="498" y="1356"/>
                  </a:lnTo>
                  <a:lnTo>
                    <a:pt x="504" y="1362"/>
                  </a:lnTo>
                  <a:lnTo>
                    <a:pt x="498" y="1362"/>
                  </a:lnTo>
                  <a:lnTo>
                    <a:pt x="498" y="1368"/>
                  </a:lnTo>
                  <a:lnTo>
                    <a:pt x="492" y="1368"/>
                  </a:lnTo>
                  <a:lnTo>
                    <a:pt x="492" y="1374"/>
                  </a:lnTo>
                  <a:lnTo>
                    <a:pt x="492" y="1380"/>
                  </a:lnTo>
                  <a:lnTo>
                    <a:pt x="498" y="1380"/>
                  </a:lnTo>
                  <a:lnTo>
                    <a:pt x="504" y="1380"/>
                  </a:lnTo>
                  <a:lnTo>
                    <a:pt x="498" y="1386"/>
                  </a:lnTo>
                  <a:lnTo>
                    <a:pt x="498" y="1392"/>
                  </a:lnTo>
                  <a:lnTo>
                    <a:pt x="498" y="1398"/>
                  </a:lnTo>
                  <a:lnTo>
                    <a:pt x="498" y="1404"/>
                  </a:lnTo>
                  <a:lnTo>
                    <a:pt x="498" y="1410"/>
                  </a:lnTo>
                  <a:lnTo>
                    <a:pt x="498" y="1416"/>
                  </a:lnTo>
                  <a:lnTo>
                    <a:pt x="492" y="1416"/>
                  </a:lnTo>
                  <a:lnTo>
                    <a:pt x="498" y="1416"/>
                  </a:lnTo>
                  <a:lnTo>
                    <a:pt x="504" y="1416"/>
                  </a:lnTo>
                  <a:lnTo>
                    <a:pt x="504" y="1422"/>
                  </a:lnTo>
                  <a:lnTo>
                    <a:pt x="510" y="1428"/>
                  </a:lnTo>
                  <a:lnTo>
                    <a:pt x="510" y="1434"/>
                  </a:lnTo>
                  <a:lnTo>
                    <a:pt x="510" y="1440"/>
                  </a:lnTo>
                  <a:lnTo>
                    <a:pt x="516" y="1446"/>
                  </a:lnTo>
                  <a:lnTo>
                    <a:pt x="516" y="1452"/>
                  </a:lnTo>
                  <a:lnTo>
                    <a:pt x="516" y="1458"/>
                  </a:lnTo>
                  <a:lnTo>
                    <a:pt x="516" y="1464"/>
                  </a:lnTo>
                  <a:lnTo>
                    <a:pt x="516" y="1482"/>
                  </a:lnTo>
                  <a:lnTo>
                    <a:pt x="516" y="1488"/>
                  </a:lnTo>
                  <a:lnTo>
                    <a:pt x="522" y="1488"/>
                  </a:lnTo>
                  <a:lnTo>
                    <a:pt x="522" y="1494"/>
                  </a:lnTo>
                  <a:lnTo>
                    <a:pt x="522" y="1500"/>
                  </a:lnTo>
                  <a:lnTo>
                    <a:pt x="516" y="1506"/>
                  </a:lnTo>
                  <a:lnTo>
                    <a:pt x="510" y="1500"/>
                  </a:lnTo>
                  <a:lnTo>
                    <a:pt x="504" y="1500"/>
                  </a:lnTo>
                  <a:lnTo>
                    <a:pt x="504" y="1494"/>
                  </a:lnTo>
                  <a:lnTo>
                    <a:pt x="504" y="1488"/>
                  </a:lnTo>
                  <a:lnTo>
                    <a:pt x="504" y="1482"/>
                  </a:lnTo>
                  <a:lnTo>
                    <a:pt x="504" y="1488"/>
                  </a:lnTo>
                  <a:lnTo>
                    <a:pt x="504" y="1494"/>
                  </a:lnTo>
                  <a:lnTo>
                    <a:pt x="504" y="1500"/>
                  </a:lnTo>
                  <a:lnTo>
                    <a:pt x="498" y="1500"/>
                  </a:lnTo>
                  <a:lnTo>
                    <a:pt x="492" y="1500"/>
                  </a:lnTo>
                  <a:lnTo>
                    <a:pt x="492" y="1494"/>
                  </a:lnTo>
                  <a:lnTo>
                    <a:pt x="492" y="1488"/>
                  </a:lnTo>
                  <a:lnTo>
                    <a:pt x="492" y="1494"/>
                  </a:lnTo>
                  <a:lnTo>
                    <a:pt x="492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00"/>
                  </a:lnTo>
                  <a:lnTo>
                    <a:pt x="510" y="1500"/>
                  </a:lnTo>
                  <a:lnTo>
                    <a:pt x="510" y="1506"/>
                  </a:lnTo>
                  <a:lnTo>
                    <a:pt x="516" y="1506"/>
                  </a:lnTo>
                  <a:lnTo>
                    <a:pt x="510" y="1506"/>
                  </a:lnTo>
                  <a:lnTo>
                    <a:pt x="510" y="1512"/>
                  </a:lnTo>
                  <a:lnTo>
                    <a:pt x="516" y="1506"/>
                  </a:lnTo>
                  <a:lnTo>
                    <a:pt x="522" y="1506"/>
                  </a:lnTo>
                  <a:lnTo>
                    <a:pt x="528" y="1506"/>
                  </a:lnTo>
                  <a:lnTo>
                    <a:pt x="528" y="1500"/>
                  </a:lnTo>
                  <a:lnTo>
                    <a:pt x="534" y="1500"/>
                  </a:lnTo>
                  <a:lnTo>
                    <a:pt x="534" y="1506"/>
                  </a:lnTo>
                  <a:lnTo>
                    <a:pt x="540" y="1512"/>
                  </a:lnTo>
                  <a:lnTo>
                    <a:pt x="540" y="1518"/>
                  </a:lnTo>
                  <a:lnTo>
                    <a:pt x="546" y="1518"/>
                  </a:lnTo>
                  <a:lnTo>
                    <a:pt x="540" y="1518"/>
                  </a:lnTo>
                  <a:lnTo>
                    <a:pt x="540" y="1524"/>
                  </a:lnTo>
                  <a:lnTo>
                    <a:pt x="534" y="1524"/>
                  </a:lnTo>
                  <a:lnTo>
                    <a:pt x="540" y="1524"/>
                  </a:lnTo>
                  <a:lnTo>
                    <a:pt x="546" y="1524"/>
                  </a:lnTo>
                  <a:lnTo>
                    <a:pt x="546" y="1530"/>
                  </a:lnTo>
                  <a:lnTo>
                    <a:pt x="540" y="1530"/>
                  </a:lnTo>
                  <a:lnTo>
                    <a:pt x="540" y="1536"/>
                  </a:lnTo>
                  <a:lnTo>
                    <a:pt x="534" y="1542"/>
                  </a:lnTo>
                  <a:lnTo>
                    <a:pt x="528" y="1542"/>
                  </a:lnTo>
                  <a:lnTo>
                    <a:pt x="522" y="1542"/>
                  </a:lnTo>
                  <a:lnTo>
                    <a:pt x="516" y="1542"/>
                  </a:lnTo>
                  <a:lnTo>
                    <a:pt x="510" y="1542"/>
                  </a:lnTo>
                  <a:lnTo>
                    <a:pt x="504" y="1542"/>
                  </a:lnTo>
                  <a:lnTo>
                    <a:pt x="492" y="1542"/>
                  </a:lnTo>
                  <a:lnTo>
                    <a:pt x="486" y="1536"/>
                  </a:lnTo>
                  <a:lnTo>
                    <a:pt x="480" y="1536"/>
                  </a:lnTo>
                  <a:lnTo>
                    <a:pt x="468" y="1536"/>
                  </a:lnTo>
                  <a:lnTo>
                    <a:pt x="468" y="1542"/>
                  </a:lnTo>
                  <a:lnTo>
                    <a:pt x="462" y="1542"/>
                  </a:lnTo>
                  <a:lnTo>
                    <a:pt x="456" y="1542"/>
                  </a:lnTo>
                  <a:lnTo>
                    <a:pt x="450" y="1542"/>
                  </a:lnTo>
                  <a:lnTo>
                    <a:pt x="444" y="1542"/>
                  </a:lnTo>
                  <a:lnTo>
                    <a:pt x="444" y="1536"/>
                  </a:lnTo>
                  <a:lnTo>
                    <a:pt x="450" y="1536"/>
                  </a:lnTo>
                  <a:lnTo>
                    <a:pt x="456" y="1536"/>
                  </a:lnTo>
                  <a:lnTo>
                    <a:pt x="450" y="1536"/>
                  </a:lnTo>
                  <a:lnTo>
                    <a:pt x="444" y="1536"/>
                  </a:lnTo>
                  <a:lnTo>
                    <a:pt x="444" y="1530"/>
                  </a:lnTo>
                  <a:lnTo>
                    <a:pt x="450" y="1530"/>
                  </a:lnTo>
                  <a:lnTo>
                    <a:pt x="456" y="1524"/>
                  </a:lnTo>
                  <a:lnTo>
                    <a:pt x="456" y="1518"/>
                  </a:lnTo>
                  <a:lnTo>
                    <a:pt x="462" y="1518"/>
                  </a:lnTo>
                  <a:lnTo>
                    <a:pt x="462" y="1524"/>
                  </a:lnTo>
                  <a:lnTo>
                    <a:pt x="468" y="1524"/>
                  </a:lnTo>
                  <a:lnTo>
                    <a:pt x="474" y="1524"/>
                  </a:lnTo>
                  <a:lnTo>
                    <a:pt x="474" y="1518"/>
                  </a:lnTo>
                  <a:lnTo>
                    <a:pt x="480" y="1518"/>
                  </a:lnTo>
                  <a:lnTo>
                    <a:pt x="474" y="1518"/>
                  </a:lnTo>
                  <a:lnTo>
                    <a:pt x="474" y="1524"/>
                  </a:lnTo>
                  <a:lnTo>
                    <a:pt x="468" y="1524"/>
                  </a:lnTo>
                  <a:lnTo>
                    <a:pt x="462" y="1518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62" y="1512"/>
                  </a:lnTo>
                  <a:lnTo>
                    <a:pt x="462" y="1506"/>
                  </a:lnTo>
                  <a:lnTo>
                    <a:pt x="456" y="1506"/>
                  </a:lnTo>
                  <a:lnTo>
                    <a:pt x="456" y="1512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50" y="1518"/>
                  </a:lnTo>
                  <a:lnTo>
                    <a:pt x="444" y="1518"/>
                  </a:lnTo>
                  <a:lnTo>
                    <a:pt x="444" y="1524"/>
                  </a:lnTo>
                  <a:lnTo>
                    <a:pt x="438" y="1524"/>
                  </a:lnTo>
                  <a:lnTo>
                    <a:pt x="438" y="1530"/>
                  </a:lnTo>
                  <a:lnTo>
                    <a:pt x="432" y="1530"/>
                  </a:lnTo>
                  <a:lnTo>
                    <a:pt x="432" y="1536"/>
                  </a:lnTo>
                  <a:lnTo>
                    <a:pt x="426" y="1530"/>
                  </a:lnTo>
                  <a:lnTo>
                    <a:pt x="420" y="1530"/>
                  </a:lnTo>
                  <a:lnTo>
                    <a:pt x="414" y="1530"/>
                  </a:lnTo>
                  <a:lnTo>
                    <a:pt x="414" y="1524"/>
                  </a:lnTo>
                  <a:lnTo>
                    <a:pt x="408" y="1518"/>
                  </a:lnTo>
                  <a:lnTo>
                    <a:pt x="414" y="1512"/>
                  </a:lnTo>
                  <a:lnTo>
                    <a:pt x="408" y="1512"/>
                  </a:lnTo>
                  <a:lnTo>
                    <a:pt x="408" y="1506"/>
                  </a:lnTo>
                  <a:lnTo>
                    <a:pt x="408" y="1500"/>
                  </a:lnTo>
                  <a:lnTo>
                    <a:pt x="408" y="1494"/>
                  </a:lnTo>
                  <a:lnTo>
                    <a:pt x="408" y="1488"/>
                  </a:lnTo>
                  <a:lnTo>
                    <a:pt x="408" y="1494"/>
                  </a:lnTo>
                  <a:lnTo>
                    <a:pt x="414" y="1494"/>
                  </a:lnTo>
                  <a:lnTo>
                    <a:pt x="420" y="1494"/>
                  </a:lnTo>
                  <a:lnTo>
                    <a:pt x="420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82"/>
                  </a:lnTo>
                  <a:lnTo>
                    <a:pt x="426" y="1476"/>
                  </a:lnTo>
                  <a:lnTo>
                    <a:pt x="432" y="1476"/>
                  </a:lnTo>
                  <a:lnTo>
                    <a:pt x="432" y="1470"/>
                  </a:lnTo>
                  <a:lnTo>
                    <a:pt x="438" y="1470"/>
                  </a:lnTo>
                  <a:lnTo>
                    <a:pt x="444" y="1464"/>
                  </a:lnTo>
                  <a:lnTo>
                    <a:pt x="450" y="1458"/>
                  </a:lnTo>
                  <a:lnTo>
                    <a:pt x="456" y="1458"/>
                  </a:lnTo>
                  <a:lnTo>
                    <a:pt x="462" y="1452"/>
                  </a:lnTo>
                  <a:lnTo>
                    <a:pt x="468" y="1452"/>
                  </a:lnTo>
                  <a:lnTo>
                    <a:pt x="468" y="1446"/>
                  </a:lnTo>
                  <a:lnTo>
                    <a:pt x="462" y="1440"/>
                  </a:lnTo>
                  <a:lnTo>
                    <a:pt x="456" y="1434"/>
                  </a:lnTo>
                  <a:lnTo>
                    <a:pt x="456" y="1428"/>
                  </a:lnTo>
                  <a:lnTo>
                    <a:pt x="456" y="1422"/>
                  </a:lnTo>
                  <a:lnTo>
                    <a:pt x="456" y="1416"/>
                  </a:lnTo>
                  <a:lnTo>
                    <a:pt x="450" y="1410"/>
                  </a:lnTo>
                  <a:lnTo>
                    <a:pt x="444" y="1410"/>
                  </a:lnTo>
                  <a:lnTo>
                    <a:pt x="450" y="1410"/>
                  </a:lnTo>
                  <a:lnTo>
                    <a:pt x="450" y="1404"/>
                  </a:lnTo>
                  <a:lnTo>
                    <a:pt x="456" y="1404"/>
                  </a:lnTo>
                  <a:lnTo>
                    <a:pt x="462" y="1404"/>
                  </a:lnTo>
                  <a:lnTo>
                    <a:pt x="468" y="1398"/>
                  </a:lnTo>
                  <a:lnTo>
                    <a:pt x="462" y="1398"/>
                  </a:lnTo>
                  <a:lnTo>
                    <a:pt x="462" y="1392"/>
                  </a:lnTo>
                  <a:lnTo>
                    <a:pt x="456" y="1392"/>
                  </a:lnTo>
                  <a:lnTo>
                    <a:pt x="456" y="1386"/>
                  </a:lnTo>
                  <a:lnTo>
                    <a:pt x="462" y="1386"/>
                  </a:lnTo>
                  <a:lnTo>
                    <a:pt x="468" y="1386"/>
                  </a:lnTo>
                  <a:lnTo>
                    <a:pt x="474" y="1386"/>
                  </a:lnTo>
                  <a:lnTo>
                    <a:pt x="468" y="1386"/>
                  </a:lnTo>
                  <a:lnTo>
                    <a:pt x="462" y="1386"/>
                  </a:lnTo>
                  <a:lnTo>
                    <a:pt x="456" y="1380"/>
                  </a:lnTo>
                  <a:lnTo>
                    <a:pt x="456" y="1374"/>
                  </a:lnTo>
                  <a:lnTo>
                    <a:pt x="462" y="1374"/>
                  </a:lnTo>
                  <a:lnTo>
                    <a:pt x="462" y="1368"/>
                  </a:lnTo>
                  <a:lnTo>
                    <a:pt x="456" y="1374"/>
                  </a:lnTo>
                  <a:lnTo>
                    <a:pt x="456" y="1368"/>
                  </a:lnTo>
                  <a:lnTo>
                    <a:pt x="456" y="1362"/>
                  </a:lnTo>
                  <a:lnTo>
                    <a:pt x="450" y="1362"/>
                  </a:lnTo>
                  <a:lnTo>
                    <a:pt x="450" y="1356"/>
                  </a:lnTo>
                  <a:lnTo>
                    <a:pt x="450" y="1350"/>
                  </a:lnTo>
                  <a:lnTo>
                    <a:pt x="450" y="1344"/>
                  </a:lnTo>
                  <a:lnTo>
                    <a:pt x="456" y="1344"/>
                  </a:lnTo>
                  <a:lnTo>
                    <a:pt x="456" y="1338"/>
                  </a:lnTo>
                  <a:lnTo>
                    <a:pt x="462" y="1338"/>
                  </a:lnTo>
                  <a:lnTo>
                    <a:pt x="462" y="1332"/>
                  </a:lnTo>
                  <a:lnTo>
                    <a:pt x="456" y="1332"/>
                  </a:lnTo>
                  <a:lnTo>
                    <a:pt x="456" y="1326"/>
                  </a:lnTo>
                  <a:lnTo>
                    <a:pt x="450" y="1326"/>
                  </a:lnTo>
                  <a:lnTo>
                    <a:pt x="444" y="1326"/>
                  </a:lnTo>
                  <a:lnTo>
                    <a:pt x="444" y="1332"/>
                  </a:lnTo>
                  <a:lnTo>
                    <a:pt x="438" y="1332"/>
                  </a:lnTo>
                  <a:lnTo>
                    <a:pt x="438" y="1338"/>
                  </a:lnTo>
                  <a:lnTo>
                    <a:pt x="432" y="1338"/>
                  </a:lnTo>
                  <a:lnTo>
                    <a:pt x="432" y="1344"/>
                  </a:lnTo>
                  <a:lnTo>
                    <a:pt x="432" y="1350"/>
                  </a:lnTo>
                  <a:lnTo>
                    <a:pt x="426" y="1356"/>
                  </a:lnTo>
                  <a:lnTo>
                    <a:pt x="426" y="1368"/>
                  </a:lnTo>
                  <a:lnTo>
                    <a:pt x="426" y="1374"/>
                  </a:lnTo>
                  <a:lnTo>
                    <a:pt x="426" y="1380"/>
                  </a:lnTo>
                  <a:lnTo>
                    <a:pt x="432" y="1386"/>
                  </a:lnTo>
                  <a:lnTo>
                    <a:pt x="432" y="1392"/>
                  </a:lnTo>
                  <a:lnTo>
                    <a:pt x="432" y="1398"/>
                  </a:lnTo>
                  <a:lnTo>
                    <a:pt x="426" y="1398"/>
                  </a:lnTo>
                  <a:lnTo>
                    <a:pt x="420" y="1398"/>
                  </a:lnTo>
                  <a:lnTo>
                    <a:pt x="414" y="1398"/>
                  </a:lnTo>
                  <a:lnTo>
                    <a:pt x="420" y="1398"/>
                  </a:lnTo>
                  <a:lnTo>
                    <a:pt x="414" y="1404"/>
                  </a:lnTo>
                  <a:lnTo>
                    <a:pt x="420" y="1404"/>
                  </a:lnTo>
                  <a:lnTo>
                    <a:pt x="414" y="1404"/>
                  </a:lnTo>
                  <a:lnTo>
                    <a:pt x="408" y="1404"/>
                  </a:lnTo>
                  <a:lnTo>
                    <a:pt x="402" y="1410"/>
                  </a:lnTo>
                  <a:lnTo>
                    <a:pt x="402" y="1404"/>
                  </a:lnTo>
                  <a:lnTo>
                    <a:pt x="396" y="1404"/>
                  </a:lnTo>
                  <a:lnTo>
                    <a:pt x="390" y="1404"/>
                  </a:lnTo>
                  <a:lnTo>
                    <a:pt x="384" y="1404"/>
                  </a:lnTo>
                  <a:lnTo>
                    <a:pt x="384" y="1398"/>
                  </a:lnTo>
                  <a:lnTo>
                    <a:pt x="384" y="1392"/>
                  </a:lnTo>
                  <a:lnTo>
                    <a:pt x="390" y="1392"/>
                  </a:lnTo>
                  <a:lnTo>
                    <a:pt x="390" y="1386"/>
                  </a:lnTo>
                  <a:lnTo>
                    <a:pt x="390" y="1380"/>
                  </a:lnTo>
                  <a:lnTo>
                    <a:pt x="396" y="1380"/>
                  </a:lnTo>
                  <a:lnTo>
                    <a:pt x="402" y="1380"/>
                  </a:lnTo>
                  <a:lnTo>
                    <a:pt x="408" y="1380"/>
                  </a:lnTo>
                  <a:lnTo>
                    <a:pt x="408" y="1374"/>
                  </a:lnTo>
                  <a:lnTo>
                    <a:pt x="414" y="1374"/>
                  </a:lnTo>
                  <a:lnTo>
                    <a:pt x="414" y="1368"/>
                  </a:lnTo>
                  <a:lnTo>
                    <a:pt x="414" y="1362"/>
                  </a:lnTo>
                  <a:lnTo>
                    <a:pt x="414" y="1368"/>
                  </a:lnTo>
                  <a:lnTo>
                    <a:pt x="414" y="1374"/>
                  </a:lnTo>
                  <a:lnTo>
                    <a:pt x="408" y="1374"/>
                  </a:lnTo>
                  <a:lnTo>
                    <a:pt x="402" y="1380"/>
                  </a:lnTo>
                  <a:lnTo>
                    <a:pt x="396" y="1380"/>
                  </a:lnTo>
                  <a:lnTo>
                    <a:pt x="396" y="1374"/>
                  </a:lnTo>
                  <a:lnTo>
                    <a:pt x="390" y="1374"/>
                  </a:lnTo>
                  <a:lnTo>
                    <a:pt x="390" y="1368"/>
                  </a:lnTo>
                  <a:lnTo>
                    <a:pt x="384" y="1368"/>
                  </a:lnTo>
                  <a:lnTo>
                    <a:pt x="384" y="1374"/>
                  </a:lnTo>
                  <a:lnTo>
                    <a:pt x="378" y="1374"/>
                  </a:lnTo>
                  <a:lnTo>
                    <a:pt x="378" y="1380"/>
                  </a:lnTo>
                  <a:lnTo>
                    <a:pt x="372" y="1380"/>
                  </a:lnTo>
                  <a:lnTo>
                    <a:pt x="366" y="1386"/>
                  </a:lnTo>
                  <a:lnTo>
                    <a:pt x="360" y="1386"/>
                  </a:lnTo>
                  <a:lnTo>
                    <a:pt x="354" y="1386"/>
                  </a:lnTo>
                  <a:lnTo>
                    <a:pt x="354" y="1380"/>
                  </a:lnTo>
                  <a:lnTo>
                    <a:pt x="348" y="1380"/>
                  </a:lnTo>
                  <a:lnTo>
                    <a:pt x="342" y="1380"/>
                  </a:lnTo>
                  <a:lnTo>
                    <a:pt x="342" y="1374"/>
                  </a:lnTo>
                  <a:lnTo>
                    <a:pt x="336" y="1368"/>
                  </a:lnTo>
                  <a:lnTo>
                    <a:pt x="342" y="1368"/>
                  </a:lnTo>
                  <a:lnTo>
                    <a:pt x="342" y="1362"/>
                  </a:lnTo>
                  <a:lnTo>
                    <a:pt x="348" y="1362"/>
                  </a:lnTo>
                  <a:lnTo>
                    <a:pt x="354" y="1362"/>
                  </a:lnTo>
                  <a:lnTo>
                    <a:pt x="354" y="1356"/>
                  </a:lnTo>
                  <a:lnTo>
                    <a:pt x="348" y="1356"/>
                  </a:lnTo>
                  <a:lnTo>
                    <a:pt x="348" y="1350"/>
                  </a:lnTo>
                  <a:lnTo>
                    <a:pt x="348" y="1344"/>
                  </a:lnTo>
                  <a:lnTo>
                    <a:pt x="354" y="1338"/>
                  </a:lnTo>
                  <a:lnTo>
                    <a:pt x="354" y="1332"/>
                  </a:lnTo>
                  <a:lnTo>
                    <a:pt x="354" y="1326"/>
                  </a:lnTo>
                  <a:lnTo>
                    <a:pt x="354" y="1320"/>
                  </a:lnTo>
                  <a:lnTo>
                    <a:pt x="354" y="1314"/>
                  </a:lnTo>
                  <a:lnTo>
                    <a:pt x="354" y="1308"/>
                  </a:lnTo>
                  <a:lnTo>
                    <a:pt x="348" y="1308"/>
                  </a:lnTo>
                  <a:lnTo>
                    <a:pt x="348" y="1302"/>
                  </a:lnTo>
                  <a:lnTo>
                    <a:pt x="342" y="1296"/>
                  </a:lnTo>
                  <a:lnTo>
                    <a:pt x="336" y="1296"/>
                  </a:lnTo>
                  <a:lnTo>
                    <a:pt x="336" y="1290"/>
                  </a:lnTo>
                  <a:lnTo>
                    <a:pt x="330" y="1290"/>
                  </a:lnTo>
                  <a:lnTo>
                    <a:pt x="324" y="1290"/>
                  </a:lnTo>
                  <a:lnTo>
                    <a:pt x="324" y="1284"/>
                  </a:lnTo>
                  <a:lnTo>
                    <a:pt x="318" y="1284"/>
                  </a:lnTo>
                  <a:lnTo>
                    <a:pt x="318" y="1278"/>
                  </a:lnTo>
                  <a:lnTo>
                    <a:pt x="312" y="1278"/>
                  </a:lnTo>
                  <a:lnTo>
                    <a:pt x="312" y="1272"/>
                  </a:lnTo>
                  <a:lnTo>
                    <a:pt x="312" y="1278"/>
                  </a:lnTo>
                  <a:lnTo>
                    <a:pt x="318" y="1284"/>
                  </a:lnTo>
                  <a:lnTo>
                    <a:pt x="324" y="1290"/>
                  </a:lnTo>
                  <a:lnTo>
                    <a:pt x="330" y="1290"/>
                  </a:lnTo>
                  <a:lnTo>
                    <a:pt x="330" y="1296"/>
                  </a:lnTo>
                  <a:lnTo>
                    <a:pt x="336" y="1296"/>
                  </a:lnTo>
                  <a:lnTo>
                    <a:pt x="336" y="1302"/>
                  </a:lnTo>
                  <a:lnTo>
                    <a:pt x="342" y="1302"/>
                  </a:lnTo>
                  <a:lnTo>
                    <a:pt x="348" y="1302"/>
                  </a:lnTo>
                  <a:lnTo>
                    <a:pt x="348" y="1308"/>
                  </a:lnTo>
                  <a:lnTo>
                    <a:pt x="348" y="1314"/>
                  </a:lnTo>
                  <a:lnTo>
                    <a:pt x="354" y="1314"/>
                  </a:lnTo>
                  <a:lnTo>
                    <a:pt x="354" y="1320"/>
                  </a:lnTo>
                  <a:lnTo>
                    <a:pt x="354" y="1326"/>
                  </a:lnTo>
                  <a:lnTo>
                    <a:pt x="348" y="1326"/>
                  </a:lnTo>
                  <a:lnTo>
                    <a:pt x="348" y="1332"/>
                  </a:lnTo>
                  <a:lnTo>
                    <a:pt x="348" y="1338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2" y="1350"/>
                  </a:lnTo>
                  <a:lnTo>
                    <a:pt x="336" y="1350"/>
                  </a:lnTo>
                  <a:lnTo>
                    <a:pt x="330" y="1350"/>
                  </a:lnTo>
                  <a:lnTo>
                    <a:pt x="330" y="1356"/>
                  </a:lnTo>
                  <a:lnTo>
                    <a:pt x="330" y="1350"/>
                  </a:lnTo>
                  <a:lnTo>
                    <a:pt x="324" y="1350"/>
                  </a:lnTo>
                  <a:lnTo>
                    <a:pt x="318" y="1344"/>
                  </a:lnTo>
                  <a:lnTo>
                    <a:pt x="318" y="1350"/>
                  </a:lnTo>
                  <a:lnTo>
                    <a:pt x="312" y="1344"/>
                  </a:lnTo>
                  <a:lnTo>
                    <a:pt x="312" y="1338"/>
                  </a:lnTo>
                  <a:lnTo>
                    <a:pt x="306" y="1338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6" y="1326"/>
                  </a:lnTo>
                  <a:lnTo>
                    <a:pt x="306" y="1320"/>
                  </a:lnTo>
                  <a:lnTo>
                    <a:pt x="306" y="1326"/>
                  </a:lnTo>
                  <a:lnTo>
                    <a:pt x="312" y="1326"/>
                  </a:lnTo>
                  <a:lnTo>
                    <a:pt x="312" y="1320"/>
                  </a:lnTo>
                  <a:lnTo>
                    <a:pt x="306" y="1320"/>
                  </a:lnTo>
                  <a:lnTo>
                    <a:pt x="300" y="1320"/>
                  </a:lnTo>
                  <a:lnTo>
                    <a:pt x="294" y="1320"/>
                  </a:lnTo>
                  <a:lnTo>
                    <a:pt x="294" y="1314"/>
                  </a:lnTo>
                  <a:lnTo>
                    <a:pt x="288" y="1314"/>
                  </a:lnTo>
                  <a:lnTo>
                    <a:pt x="288" y="1308"/>
                  </a:lnTo>
                  <a:lnTo>
                    <a:pt x="288" y="1302"/>
                  </a:lnTo>
                  <a:lnTo>
                    <a:pt x="294" y="1302"/>
                  </a:lnTo>
                  <a:lnTo>
                    <a:pt x="294" y="1296"/>
                  </a:lnTo>
                  <a:lnTo>
                    <a:pt x="288" y="1296"/>
                  </a:lnTo>
                  <a:lnTo>
                    <a:pt x="288" y="1290"/>
                  </a:lnTo>
                  <a:lnTo>
                    <a:pt x="288" y="1296"/>
                  </a:lnTo>
                  <a:lnTo>
                    <a:pt x="294" y="1302"/>
                  </a:lnTo>
                  <a:lnTo>
                    <a:pt x="288" y="1302"/>
                  </a:lnTo>
                  <a:lnTo>
                    <a:pt x="282" y="1296"/>
                  </a:lnTo>
                  <a:lnTo>
                    <a:pt x="276" y="1296"/>
                  </a:lnTo>
                  <a:lnTo>
                    <a:pt x="276" y="1290"/>
                  </a:lnTo>
                  <a:lnTo>
                    <a:pt x="270" y="1290"/>
                  </a:lnTo>
                  <a:lnTo>
                    <a:pt x="264" y="1284"/>
                  </a:lnTo>
                  <a:lnTo>
                    <a:pt x="264" y="1278"/>
                  </a:lnTo>
                  <a:lnTo>
                    <a:pt x="264" y="1272"/>
                  </a:lnTo>
                  <a:lnTo>
                    <a:pt x="264" y="1266"/>
                  </a:lnTo>
                  <a:lnTo>
                    <a:pt x="258" y="1266"/>
                  </a:lnTo>
                  <a:lnTo>
                    <a:pt x="252" y="1266"/>
                  </a:lnTo>
                  <a:lnTo>
                    <a:pt x="246" y="1260"/>
                  </a:lnTo>
                  <a:lnTo>
                    <a:pt x="240" y="1254"/>
                  </a:lnTo>
                  <a:lnTo>
                    <a:pt x="240" y="1260"/>
                  </a:lnTo>
                  <a:lnTo>
                    <a:pt x="240" y="1266"/>
                  </a:lnTo>
                  <a:lnTo>
                    <a:pt x="240" y="1272"/>
                  </a:lnTo>
                  <a:lnTo>
                    <a:pt x="246" y="1272"/>
                  </a:lnTo>
                  <a:lnTo>
                    <a:pt x="246" y="1278"/>
                  </a:lnTo>
                  <a:lnTo>
                    <a:pt x="246" y="1284"/>
                  </a:lnTo>
                  <a:lnTo>
                    <a:pt x="252" y="1284"/>
                  </a:lnTo>
                  <a:lnTo>
                    <a:pt x="252" y="1290"/>
                  </a:lnTo>
                  <a:lnTo>
                    <a:pt x="258" y="1296"/>
                  </a:lnTo>
                  <a:lnTo>
                    <a:pt x="264" y="1302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58" y="1314"/>
                  </a:lnTo>
                  <a:lnTo>
                    <a:pt x="258" y="1308"/>
                  </a:lnTo>
                  <a:lnTo>
                    <a:pt x="252" y="1308"/>
                  </a:lnTo>
                  <a:lnTo>
                    <a:pt x="252" y="1302"/>
                  </a:lnTo>
                  <a:lnTo>
                    <a:pt x="246" y="1302"/>
                  </a:lnTo>
                  <a:lnTo>
                    <a:pt x="246" y="1296"/>
                  </a:lnTo>
                  <a:lnTo>
                    <a:pt x="240" y="1296"/>
                  </a:lnTo>
                  <a:lnTo>
                    <a:pt x="240" y="1290"/>
                  </a:lnTo>
                  <a:lnTo>
                    <a:pt x="234" y="1284"/>
                  </a:lnTo>
                  <a:lnTo>
                    <a:pt x="234" y="1278"/>
                  </a:lnTo>
                  <a:close/>
                  <a:moveTo>
                    <a:pt x="444" y="1332"/>
                  </a:moveTo>
                  <a:lnTo>
                    <a:pt x="450" y="1326"/>
                  </a:lnTo>
                  <a:lnTo>
                    <a:pt x="456" y="1326"/>
                  </a:lnTo>
                  <a:lnTo>
                    <a:pt x="456" y="1332"/>
                  </a:lnTo>
                  <a:lnTo>
                    <a:pt x="456" y="1338"/>
                  </a:lnTo>
                  <a:lnTo>
                    <a:pt x="450" y="1338"/>
                  </a:lnTo>
                  <a:lnTo>
                    <a:pt x="444" y="1338"/>
                  </a:lnTo>
                  <a:lnTo>
                    <a:pt x="444" y="1332"/>
                  </a:lnTo>
                  <a:close/>
                  <a:moveTo>
                    <a:pt x="444" y="1368"/>
                  </a:moveTo>
                  <a:lnTo>
                    <a:pt x="456" y="1368"/>
                  </a:lnTo>
                  <a:lnTo>
                    <a:pt x="456" y="1374"/>
                  </a:lnTo>
                  <a:lnTo>
                    <a:pt x="444" y="1374"/>
                  </a:lnTo>
                  <a:lnTo>
                    <a:pt x="444" y="1368"/>
                  </a:lnTo>
                  <a:close/>
                  <a:moveTo>
                    <a:pt x="444" y="1386"/>
                  </a:moveTo>
                  <a:lnTo>
                    <a:pt x="444" y="1380"/>
                  </a:lnTo>
                  <a:lnTo>
                    <a:pt x="444" y="1374"/>
                  </a:lnTo>
                  <a:lnTo>
                    <a:pt x="444" y="1380"/>
                  </a:lnTo>
                  <a:lnTo>
                    <a:pt x="450" y="1380"/>
                  </a:lnTo>
                  <a:lnTo>
                    <a:pt x="456" y="1380"/>
                  </a:lnTo>
                  <a:lnTo>
                    <a:pt x="456" y="1386"/>
                  </a:lnTo>
                  <a:lnTo>
                    <a:pt x="456" y="1392"/>
                  </a:lnTo>
                  <a:lnTo>
                    <a:pt x="462" y="1392"/>
                  </a:lnTo>
                  <a:lnTo>
                    <a:pt x="462" y="1398"/>
                  </a:lnTo>
                  <a:lnTo>
                    <a:pt x="462" y="1404"/>
                  </a:lnTo>
                  <a:lnTo>
                    <a:pt x="456" y="1404"/>
                  </a:lnTo>
                  <a:lnTo>
                    <a:pt x="450" y="1404"/>
                  </a:lnTo>
                  <a:lnTo>
                    <a:pt x="450" y="1398"/>
                  </a:lnTo>
                  <a:lnTo>
                    <a:pt x="444" y="1398"/>
                  </a:lnTo>
                  <a:lnTo>
                    <a:pt x="444" y="1392"/>
                  </a:lnTo>
                  <a:lnTo>
                    <a:pt x="444" y="1386"/>
                  </a:lnTo>
                  <a:close/>
                  <a:moveTo>
                    <a:pt x="438" y="1362"/>
                  </a:moveTo>
                  <a:lnTo>
                    <a:pt x="444" y="1356"/>
                  </a:lnTo>
                  <a:lnTo>
                    <a:pt x="450" y="1356"/>
                  </a:lnTo>
                  <a:lnTo>
                    <a:pt x="450" y="1362"/>
                  </a:lnTo>
                  <a:lnTo>
                    <a:pt x="450" y="1368"/>
                  </a:lnTo>
                  <a:lnTo>
                    <a:pt x="444" y="1368"/>
                  </a:lnTo>
                  <a:lnTo>
                    <a:pt x="444" y="1362"/>
                  </a:lnTo>
                  <a:lnTo>
                    <a:pt x="438" y="1362"/>
                  </a:lnTo>
                  <a:close/>
                  <a:moveTo>
                    <a:pt x="438" y="1350"/>
                  </a:moveTo>
                  <a:lnTo>
                    <a:pt x="438" y="1344"/>
                  </a:lnTo>
                  <a:lnTo>
                    <a:pt x="438" y="1338"/>
                  </a:lnTo>
                  <a:lnTo>
                    <a:pt x="444" y="1338"/>
                  </a:lnTo>
                  <a:lnTo>
                    <a:pt x="450" y="1338"/>
                  </a:lnTo>
                  <a:lnTo>
                    <a:pt x="456" y="1338"/>
                  </a:lnTo>
                  <a:lnTo>
                    <a:pt x="450" y="1344"/>
                  </a:lnTo>
                  <a:lnTo>
                    <a:pt x="444" y="1350"/>
                  </a:lnTo>
                  <a:lnTo>
                    <a:pt x="438" y="1350"/>
                  </a:lnTo>
                  <a:close/>
                  <a:moveTo>
                    <a:pt x="432" y="1380"/>
                  </a:moveTo>
                  <a:lnTo>
                    <a:pt x="432" y="1368"/>
                  </a:lnTo>
                  <a:lnTo>
                    <a:pt x="432" y="1362"/>
                  </a:lnTo>
                  <a:lnTo>
                    <a:pt x="432" y="1356"/>
                  </a:lnTo>
                  <a:lnTo>
                    <a:pt x="438" y="1356"/>
                  </a:lnTo>
                  <a:lnTo>
                    <a:pt x="438" y="1362"/>
                  </a:lnTo>
                  <a:lnTo>
                    <a:pt x="438" y="1368"/>
                  </a:lnTo>
                  <a:lnTo>
                    <a:pt x="438" y="1374"/>
                  </a:lnTo>
                  <a:lnTo>
                    <a:pt x="438" y="1380"/>
                  </a:lnTo>
                  <a:lnTo>
                    <a:pt x="438" y="1386"/>
                  </a:lnTo>
                  <a:lnTo>
                    <a:pt x="438" y="1380"/>
                  </a:lnTo>
                  <a:lnTo>
                    <a:pt x="432" y="1380"/>
                  </a:lnTo>
                  <a:close/>
                  <a:moveTo>
                    <a:pt x="246" y="1272"/>
                  </a:moveTo>
                  <a:lnTo>
                    <a:pt x="252" y="1272"/>
                  </a:lnTo>
                  <a:lnTo>
                    <a:pt x="252" y="1278"/>
                  </a:lnTo>
                  <a:lnTo>
                    <a:pt x="246" y="1278"/>
                  </a:lnTo>
                  <a:lnTo>
                    <a:pt x="246" y="1272"/>
                  </a:lnTo>
                  <a:close/>
                  <a:moveTo>
                    <a:pt x="426" y="1416"/>
                  </a:moveTo>
                  <a:lnTo>
                    <a:pt x="432" y="1410"/>
                  </a:lnTo>
                  <a:lnTo>
                    <a:pt x="438" y="1410"/>
                  </a:lnTo>
                  <a:lnTo>
                    <a:pt x="438" y="1416"/>
                  </a:lnTo>
                  <a:lnTo>
                    <a:pt x="438" y="1422"/>
                  </a:lnTo>
                  <a:lnTo>
                    <a:pt x="432" y="1422"/>
                  </a:lnTo>
                  <a:lnTo>
                    <a:pt x="426" y="1422"/>
                  </a:lnTo>
                  <a:lnTo>
                    <a:pt x="426" y="1416"/>
                  </a:lnTo>
                  <a:close/>
                  <a:moveTo>
                    <a:pt x="246" y="1266"/>
                  </a:moveTo>
                  <a:lnTo>
                    <a:pt x="252" y="1266"/>
                  </a:lnTo>
                  <a:lnTo>
                    <a:pt x="258" y="1272"/>
                  </a:lnTo>
                  <a:lnTo>
                    <a:pt x="258" y="1278"/>
                  </a:lnTo>
                  <a:lnTo>
                    <a:pt x="258" y="1284"/>
                  </a:lnTo>
                  <a:lnTo>
                    <a:pt x="252" y="1284"/>
                  </a:lnTo>
                  <a:lnTo>
                    <a:pt x="252" y="1278"/>
                  </a:lnTo>
                  <a:lnTo>
                    <a:pt x="252" y="1272"/>
                  </a:lnTo>
                  <a:lnTo>
                    <a:pt x="252" y="1266"/>
                  </a:lnTo>
                  <a:lnTo>
                    <a:pt x="246" y="1266"/>
                  </a:lnTo>
                  <a:close/>
                  <a:moveTo>
                    <a:pt x="408" y="1458"/>
                  </a:moveTo>
                  <a:lnTo>
                    <a:pt x="408" y="1452"/>
                  </a:lnTo>
                  <a:lnTo>
                    <a:pt x="414" y="1452"/>
                  </a:lnTo>
                  <a:lnTo>
                    <a:pt x="414" y="1446"/>
                  </a:lnTo>
                  <a:lnTo>
                    <a:pt x="414" y="1440"/>
                  </a:lnTo>
                  <a:lnTo>
                    <a:pt x="420" y="1440"/>
                  </a:lnTo>
                  <a:lnTo>
                    <a:pt x="420" y="1434"/>
                  </a:lnTo>
                  <a:lnTo>
                    <a:pt x="420" y="1428"/>
                  </a:lnTo>
                  <a:lnTo>
                    <a:pt x="420" y="1422"/>
                  </a:lnTo>
                  <a:lnTo>
                    <a:pt x="426" y="1422"/>
                  </a:lnTo>
                  <a:lnTo>
                    <a:pt x="432" y="1428"/>
                  </a:lnTo>
                  <a:lnTo>
                    <a:pt x="438" y="1428"/>
                  </a:lnTo>
                  <a:lnTo>
                    <a:pt x="438" y="1434"/>
                  </a:lnTo>
                  <a:lnTo>
                    <a:pt x="438" y="1428"/>
                  </a:lnTo>
                  <a:lnTo>
                    <a:pt x="438" y="1422"/>
                  </a:lnTo>
                  <a:lnTo>
                    <a:pt x="444" y="1416"/>
                  </a:lnTo>
                  <a:lnTo>
                    <a:pt x="444" y="1410"/>
                  </a:lnTo>
                  <a:lnTo>
                    <a:pt x="450" y="1416"/>
                  </a:lnTo>
                  <a:lnTo>
                    <a:pt x="456" y="1416"/>
                  </a:lnTo>
                  <a:lnTo>
                    <a:pt x="456" y="1422"/>
                  </a:lnTo>
                  <a:lnTo>
                    <a:pt x="456" y="1428"/>
                  </a:lnTo>
                  <a:lnTo>
                    <a:pt x="456" y="1434"/>
                  </a:lnTo>
                  <a:lnTo>
                    <a:pt x="456" y="1440"/>
                  </a:lnTo>
                  <a:lnTo>
                    <a:pt x="462" y="1440"/>
                  </a:lnTo>
                  <a:lnTo>
                    <a:pt x="462" y="1446"/>
                  </a:lnTo>
                  <a:lnTo>
                    <a:pt x="462" y="1452"/>
                  </a:lnTo>
                  <a:lnTo>
                    <a:pt x="456" y="1452"/>
                  </a:lnTo>
                  <a:lnTo>
                    <a:pt x="450" y="1452"/>
                  </a:lnTo>
                  <a:lnTo>
                    <a:pt x="444" y="1446"/>
                  </a:lnTo>
                  <a:lnTo>
                    <a:pt x="444" y="1452"/>
                  </a:lnTo>
                  <a:lnTo>
                    <a:pt x="450" y="1452"/>
                  </a:lnTo>
                  <a:lnTo>
                    <a:pt x="450" y="1458"/>
                  </a:lnTo>
                  <a:lnTo>
                    <a:pt x="444" y="1458"/>
                  </a:lnTo>
                  <a:lnTo>
                    <a:pt x="438" y="1464"/>
                  </a:lnTo>
                  <a:lnTo>
                    <a:pt x="438" y="1458"/>
                  </a:lnTo>
                  <a:lnTo>
                    <a:pt x="432" y="1458"/>
                  </a:lnTo>
                  <a:lnTo>
                    <a:pt x="426" y="1458"/>
                  </a:lnTo>
                  <a:lnTo>
                    <a:pt x="432" y="1458"/>
                  </a:lnTo>
                  <a:lnTo>
                    <a:pt x="438" y="1464"/>
                  </a:lnTo>
                  <a:lnTo>
                    <a:pt x="432" y="1464"/>
                  </a:lnTo>
                  <a:lnTo>
                    <a:pt x="432" y="1470"/>
                  </a:lnTo>
                  <a:lnTo>
                    <a:pt x="426" y="1470"/>
                  </a:lnTo>
                  <a:lnTo>
                    <a:pt x="420" y="1476"/>
                  </a:lnTo>
                  <a:lnTo>
                    <a:pt x="420" y="1470"/>
                  </a:lnTo>
                  <a:lnTo>
                    <a:pt x="414" y="1470"/>
                  </a:lnTo>
                  <a:lnTo>
                    <a:pt x="414" y="1464"/>
                  </a:lnTo>
                  <a:lnTo>
                    <a:pt x="414" y="1458"/>
                  </a:lnTo>
                  <a:lnTo>
                    <a:pt x="408" y="1458"/>
                  </a:lnTo>
                  <a:close/>
                  <a:moveTo>
                    <a:pt x="270" y="1326"/>
                  </a:moveTo>
                  <a:lnTo>
                    <a:pt x="270" y="1320"/>
                  </a:lnTo>
                  <a:lnTo>
                    <a:pt x="276" y="1320"/>
                  </a:lnTo>
                  <a:lnTo>
                    <a:pt x="282" y="1326"/>
                  </a:lnTo>
                  <a:lnTo>
                    <a:pt x="288" y="1326"/>
                  </a:lnTo>
                  <a:lnTo>
                    <a:pt x="288" y="1332"/>
                  </a:lnTo>
                  <a:lnTo>
                    <a:pt x="288" y="1338"/>
                  </a:lnTo>
                  <a:lnTo>
                    <a:pt x="288" y="1344"/>
                  </a:lnTo>
                  <a:lnTo>
                    <a:pt x="282" y="1344"/>
                  </a:lnTo>
                  <a:lnTo>
                    <a:pt x="282" y="1338"/>
                  </a:lnTo>
                  <a:lnTo>
                    <a:pt x="276" y="1338"/>
                  </a:lnTo>
                  <a:lnTo>
                    <a:pt x="276" y="1332"/>
                  </a:lnTo>
                  <a:lnTo>
                    <a:pt x="270" y="1332"/>
                  </a:lnTo>
                  <a:lnTo>
                    <a:pt x="270" y="1326"/>
                  </a:lnTo>
                  <a:close/>
                  <a:moveTo>
                    <a:pt x="288" y="1458"/>
                  </a:moveTo>
                  <a:lnTo>
                    <a:pt x="294" y="1458"/>
                  </a:lnTo>
                  <a:lnTo>
                    <a:pt x="294" y="1452"/>
                  </a:lnTo>
                  <a:lnTo>
                    <a:pt x="294" y="1446"/>
                  </a:lnTo>
                  <a:lnTo>
                    <a:pt x="300" y="1446"/>
                  </a:lnTo>
                  <a:lnTo>
                    <a:pt x="300" y="1440"/>
                  </a:lnTo>
                  <a:lnTo>
                    <a:pt x="306" y="1440"/>
                  </a:lnTo>
                  <a:lnTo>
                    <a:pt x="306" y="1446"/>
                  </a:lnTo>
                  <a:lnTo>
                    <a:pt x="312" y="1452"/>
                  </a:lnTo>
                  <a:lnTo>
                    <a:pt x="306" y="1452"/>
                  </a:lnTo>
                  <a:lnTo>
                    <a:pt x="306" y="1458"/>
                  </a:lnTo>
                  <a:lnTo>
                    <a:pt x="312" y="1464"/>
                  </a:lnTo>
                  <a:lnTo>
                    <a:pt x="306" y="1464"/>
                  </a:lnTo>
                  <a:lnTo>
                    <a:pt x="306" y="1470"/>
                  </a:lnTo>
                  <a:lnTo>
                    <a:pt x="300" y="1476"/>
                  </a:lnTo>
                  <a:lnTo>
                    <a:pt x="294" y="1476"/>
                  </a:lnTo>
                  <a:lnTo>
                    <a:pt x="294" y="1470"/>
                  </a:lnTo>
                  <a:lnTo>
                    <a:pt x="288" y="1470"/>
                  </a:lnTo>
                  <a:lnTo>
                    <a:pt x="288" y="1464"/>
                  </a:lnTo>
                  <a:lnTo>
                    <a:pt x="288" y="1458"/>
                  </a:lnTo>
                  <a:close/>
                  <a:moveTo>
                    <a:pt x="270" y="1296"/>
                  </a:moveTo>
                  <a:lnTo>
                    <a:pt x="276" y="1296"/>
                  </a:lnTo>
                  <a:lnTo>
                    <a:pt x="282" y="1296"/>
                  </a:lnTo>
                  <a:lnTo>
                    <a:pt x="288" y="1296"/>
                  </a:lnTo>
                  <a:lnTo>
                    <a:pt x="288" y="1302"/>
                  </a:lnTo>
                  <a:lnTo>
                    <a:pt x="282" y="1308"/>
                  </a:lnTo>
                  <a:lnTo>
                    <a:pt x="276" y="1308"/>
                  </a:lnTo>
                  <a:lnTo>
                    <a:pt x="276" y="1302"/>
                  </a:lnTo>
                  <a:lnTo>
                    <a:pt x="270" y="12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4" name="Freeform 19">
              <a:extLst>
                <a:ext uri="{FF2B5EF4-FFF2-40B4-BE49-F238E27FC236}">
                  <a16:creationId xmlns:a16="http://schemas.microsoft.com/office/drawing/2014/main" id="{5B9020B8-E1C1-4611-A248-9642BBD69C9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7043" y="3765821"/>
              <a:ext cx="333193" cy="398097"/>
            </a:xfrm>
            <a:custGeom>
              <a:avLst/>
              <a:gdLst>
                <a:gd name="T0" fmla="*/ 30 w 624"/>
                <a:gd name="T1" fmla="*/ 61 h 750"/>
                <a:gd name="T2" fmla="*/ 27 w 624"/>
                <a:gd name="T3" fmla="*/ 62 h 750"/>
                <a:gd name="T4" fmla="*/ 23 w 624"/>
                <a:gd name="T5" fmla="*/ 59 h 750"/>
                <a:gd name="T6" fmla="*/ 20 w 624"/>
                <a:gd name="T7" fmla="*/ 58 h 750"/>
                <a:gd name="T8" fmla="*/ 19 w 624"/>
                <a:gd name="T9" fmla="*/ 56 h 750"/>
                <a:gd name="T10" fmla="*/ 17 w 624"/>
                <a:gd name="T11" fmla="*/ 55 h 750"/>
                <a:gd name="T12" fmla="*/ 16 w 624"/>
                <a:gd name="T13" fmla="*/ 51 h 750"/>
                <a:gd name="T14" fmla="*/ 14 w 624"/>
                <a:gd name="T15" fmla="*/ 48 h 750"/>
                <a:gd name="T16" fmla="*/ 12 w 624"/>
                <a:gd name="T17" fmla="*/ 46 h 750"/>
                <a:gd name="T18" fmla="*/ 12 w 624"/>
                <a:gd name="T19" fmla="*/ 44 h 750"/>
                <a:gd name="T20" fmla="*/ 11 w 624"/>
                <a:gd name="T21" fmla="*/ 41 h 750"/>
                <a:gd name="T22" fmla="*/ 8 w 624"/>
                <a:gd name="T23" fmla="*/ 38 h 750"/>
                <a:gd name="T24" fmla="*/ 6 w 624"/>
                <a:gd name="T25" fmla="*/ 38 h 750"/>
                <a:gd name="T26" fmla="*/ 6 w 624"/>
                <a:gd name="T27" fmla="*/ 35 h 750"/>
                <a:gd name="T28" fmla="*/ 7 w 624"/>
                <a:gd name="T29" fmla="*/ 31 h 750"/>
                <a:gd name="T30" fmla="*/ 10 w 624"/>
                <a:gd name="T31" fmla="*/ 27 h 750"/>
                <a:gd name="T32" fmla="*/ 8 w 624"/>
                <a:gd name="T33" fmla="*/ 23 h 750"/>
                <a:gd name="T34" fmla="*/ 6 w 624"/>
                <a:gd name="T35" fmla="*/ 23 h 750"/>
                <a:gd name="T36" fmla="*/ 3 w 624"/>
                <a:gd name="T37" fmla="*/ 22 h 750"/>
                <a:gd name="T38" fmla="*/ 0 w 624"/>
                <a:gd name="T39" fmla="*/ 22 h 750"/>
                <a:gd name="T40" fmla="*/ 0 w 624"/>
                <a:gd name="T41" fmla="*/ 19 h 750"/>
                <a:gd name="T42" fmla="*/ 1 w 624"/>
                <a:gd name="T43" fmla="*/ 18 h 750"/>
                <a:gd name="T44" fmla="*/ 2 w 624"/>
                <a:gd name="T45" fmla="*/ 14 h 750"/>
                <a:gd name="T46" fmla="*/ 4 w 624"/>
                <a:gd name="T47" fmla="*/ 17 h 750"/>
                <a:gd name="T48" fmla="*/ 6 w 624"/>
                <a:gd name="T49" fmla="*/ 17 h 750"/>
                <a:gd name="T50" fmla="*/ 7 w 624"/>
                <a:gd name="T51" fmla="*/ 17 h 750"/>
                <a:gd name="T52" fmla="*/ 9 w 624"/>
                <a:gd name="T53" fmla="*/ 15 h 750"/>
                <a:gd name="T54" fmla="*/ 10 w 624"/>
                <a:gd name="T55" fmla="*/ 14 h 750"/>
                <a:gd name="T56" fmla="*/ 11 w 624"/>
                <a:gd name="T57" fmla="*/ 12 h 750"/>
                <a:gd name="T58" fmla="*/ 13 w 624"/>
                <a:gd name="T59" fmla="*/ 12 h 750"/>
                <a:gd name="T60" fmla="*/ 18 w 624"/>
                <a:gd name="T61" fmla="*/ 10 h 750"/>
                <a:gd name="T62" fmla="*/ 22 w 624"/>
                <a:gd name="T63" fmla="*/ 4 h 750"/>
                <a:gd name="T64" fmla="*/ 24 w 624"/>
                <a:gd name="T65" fmla="*/ 4 h 750"/>
                <a:gd name="T66" fmla="*/ 26 w 624"/>
                <a:gd name="T67" fmla="*/ 2 h 750"/>
                <a:gd name="T68" fmla="*/ 29 w 624"/>
                <a:gd name="T69" fmla="*/ 0 h 750"/>
                <a:gd name="T70" fmla="*/ 32 w 624"/>
                <a:gd name="T71" fmla="*/ 2 h 750"/>
                <a:gd name="T72" fmla="*/ 34 w 624"/>
                <a:gd name="T73" fmla="*/ 5 h 750"/>
                <a:gd name="T74" fmla="*/ 35 w 624"/>
                <a:gd name="T75" fmla="*/ 8 h 750"/>
                <a:gd name="T76" fmla="*/ 39 w 624"/>
                <a:gd name="T77" fmla="*/ 11 h 750"/>
                <a:gd name="T78" fmla="*/ 42 w 624"/>
                <a:gd name="T79" fmla="*/ 14 h 750"/>
                <a:gd name="T80" fmla="*/ 46 w 624"/>
                <a:gd name="T81" fmla="*/ 12 h 750"/>
                <a:gd name="T82" fmla="*/ 49 w 624"/>
                <a:gd name="T83" fmla="*/ 12 h 750"/>
                <a:gd name="T84" fmla="*/ 51 w 624"/>
                <a:gd name="T85" fmla="*/ 12 h 750"/>
                <a:gd name="T86" fmla="*/ 53 w 624"/>
                <a:gd name="T87" fmla="*/ 12 h 750"/>
                <a:gd name="T88" fmla="*/ 53 w 624"/>
                <a:gd name="T89" fmla="*/ 17 h 750"/>
                <a:gd name="T90" fmla="*/ 51 w 624"/>
                <a:gd name="T91" fmla="*/ 20 h 750"/>
                <a:gd name="T92" fmla="*/ 49 w 624"/>
                <a:gd name="T93" fmla="*/ 26 h 750"/>
                <a:gd name="T94" fmla="*/ 47 w 624"/>
                <a:gd name="T95" fmla="*/ 26 h 750"/>
                <a:gd name="T96" fmla="*/ 44 w 624"/>
                <a:gd name="T97" fmla="*/ 26 h 750"/>
                <a:gd name="T98" fmla="*/ 43 w 624"/>
                <a:gd name="T99" fmla="*/ 27 h 750"/>
                <a:gd name="T100" fmla="*/ 45 w 624"/>
                <a:gd name="T101" fmla="*/ 32 h 750"/>
                <a:gd name="T102" fmla="*/ 44 w 624"/>
                <a:gd name="T103" fmla="*/ 43 h 750"/>
                <a:gd name="T104" fmla="*/ 44 w 624"/>
                <a:gd name="T105" fmla="*/ 47 h 750"/>
                <a:gd name="T106" fmla="*/ 44 w 624"/>
                <a:gd name="T107" fmla="*/ 54 h 750"/>
                <a:gd name="T108" fmla="*/ 41 w 624"/>
                <a:gd name="T109" fmla="*/ 60 h 750"/>
                <a:gd name="T110" fmla="*/ 42 w 624"/>
                <a:gd name="T111" fmla="*/ 62 h 750"/>
                <a:gd name="T112" fmla="*/ 43 w 624"/>
                <a:gd name="T113" fmla="*/ 65 h 750"/>
                <a:gd name="T114" fmla="*/ 39 w 624"/>
                <a:gd name="T115" fmla="*/ 63 h 750"/>
                <a:gd name="T116" fmla="*/ 35 w 624"/>
                <a:gd name="T117" fmla="*/ 62 h 75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24"/>
                <a:gd name="T178" fmla="*/ 0 h 750"/>
                <a:gd name="T179" fmla="*/ 624 w 624"/>
                <a:gd name="T180" fmla="*/ 750 h 75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24" h="750">
                  <a:moveTo>
                    <a:pt x="390" y="702"/>
                  </a:moveTo>
                  <a:lnTo>
                    <a:pt x="372" y="696"/>
                  </a:lnTo>
                  <a:lnTo>
                    <a:pt x="360" y="702"/>
                  </a:lnTo>
                  <a:lnTo>
                    <a:pt x="348" y="702"/>
                  </a:lnTo>
                  <a:lnTo>
                    <a:pt x="336" y="702"/>
                  </a:lnTo>
                  <a:lnTo>
                    <a:pt x="330" y="702"/>
                  </a:lnTo>
                  <a:lnTo>
                    <a:pt x="318" y="708"/>
                  </a:lnTo>
                  <a:lnTo>
                    <a:pt x="306" y="708"/>
                  </a:lnTo>
                  <a:lnTo>
                    <a:pt x="294" y="690"/>
                  </a:lnTo>
                  <a:lnTo>
                    <a:pt x="294" y="684"/>
                  </a:lnTo>
                  <a:lnTo>
                    <a:pt x="276" y="684"/>
                  </a:lnTo>
                  <a:lnTo>
                    <a:pt x="270" y="678"/>
                  </a:lnTo>
                  <a:lnTo>
                    <a:pt x="240" y="672"/>
                  </a:lnTo>
                  <a:lnTo>
                    <a:pt x="234" y="672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6"/>
                  </a:lnTo>
                  <a:lnTo>
                    <a:pt x="216" y="660"/>
                  </a:lnTo>
                  <a:lnTo>
                    <a:pt x="216" y="654"/>
                  </a:lnTo>
                  <a:lnTo>
                    <a:pt x="216" y="642"/>
                  </a:lnTo>
                  <a:lnTo>
                    <a:pt x="210" y="642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36"/>
                  </a:lnTo>
                  <a:lnTo>
                    <a:pt x="192" y="624"/>
                  </a:lnTo>
                  <a:lnTo>
                    <a:pt x="186" y="612"/>
                  </a:lnTo>
                  <a:lnTo>
                    <a:pt x="186" y="600"/>
                  </a:lnTo>
                  <a:lnTo>
                    <a:pt x="186" y="588"/>
                  </a:lnTo>
                  <a:lnTo>
                    <a:pt x="180" y="582"/>
                  </a:lnTo>
                  <a:lnTo>
                    <a:pt x="180" y="570"/>
                  </a:lnTo>
                  <a:lnTo>
                    <a:pt x="174" y="558"/>
                  </a:lnTo>
                  <a:lnTo>
                    <a:pt x="162" y="558"/>
                  </a:lnTo>
                  <a:lnTo>
                    <a:pt x="144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38" y="534"/>
                  </a:lnTo>
                  <a:lnTo>
                    <a:pt x="138" y="528"/>
                  </a:lnTo>
                  <a:lnTo>
                    <a:pt x="132" y="522"/>
                  </a:lnTo>
                  <a:lnTo>
                    <a:pt x="144" y="522"/>
                  </a:lnTo>
                  <a:lnTo>
                    <a:pt x="144" y="510"/>
                  </a:lnTo>
                  <a:lnTo>
                    <a:pt x="144" y="504"/>
                  </a:lnTo>
                  <a:lnTo>
                    <a:pt x="138" y="492"/>
                  </a:lnTo>
                  <a:lnTo>
                    <a:pt x="138" y="474"/>
                  </a:lnTo>
                  <a:lnTo>
                    <a:pt x="126" y="468"/>
                  </a:lnTo>
                  <a:lnTo>
                    <a:pt x="120" y="456"/>
                  </a:lnTo>
                  <a:lnTo>
                    <a:pt x="114" y="450"/>
                  </a:lnTo>
                  <a:lnTo>
                    <a:pt x="108" y="438"/>
                  </a:lnTo>
                  <a:lnTo>
                    <a:pt x="96" y="432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60" y="426"/>
                  </a:lnTo>
                  <a:lnTo>
                    <a:pt x="66" y="420"/>
                  </a:lnTo>
                  <a:lnTo>
                    <a:pt x="66" y="408"/>
                  </a:lnTo>
                  <a:lnTo>
                    <a:pt x="72" y="408"/>
                  </a:lnTo>
                  <a:lnTo>
                    <a:pt x="72" y="384"/>
                  </a:lnTo>
                  <a:lnTo>
                    <a:pt x="72" y="366"/>
                  </a:lnTo>
                  <a:lnTo>
                    <a:pt x="78" y="354"/>
                  </a:lnTo>
                  <a:lnTo>
                    <a:pt x="84" y="354"/>
                  </a:lnTo>
                  <a:lnTo>
                    <a:pt x="90" y="348"/>
                  </a:lnTo>
                  <a:lnTo>
                    <a:pt x="102" y="336"/>
                  </a:lnTo>
                  <a:lnTo>
                    <a:pt x="114" y="324"/>
                  </a:lnTo>
                  <a:lnTo>
                    <a:pt x="120" y="312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20" y="276"/>
                  </a:lnTo>
                  <a:lnTo>
                    <a:pt x="96" y="270"/>
                  </a:lnTo>
                  <a:lnTo>
                    <a:pt x="84" y="270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72" y="264"/>
                  </a:lnTo>
                  <a:lnTo>
                    <a:pt x="60" y="252"/>
                  </a:lnTo>
                  <a:lnTo>
                    <a:pt x="42" y="252"/>
                  </a:lnTo>
                  <a:lnTo>
                    <a:pt x="42" y="258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18" y="252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42" y="156"/>
                  </a:lnTo>
                  <a:lnTo>
                    <a:pt x="48" y="198"/>
                  </a:lnTo>
                  <a:lnTo>
                    <a:pt x="48" y="204"/>
                  </a:lnTo>
                  <a:lnTo>
                    <a:pt x="54" y="198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204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192"/>
                  </a:lnTo>
                  <a:lnTo>
                    <a:pt x="96" y="186"/>
                  </a:lnTo>
                  <a:lnTo>
                    <a:pt x="102" y="180"/>
                  </a:lnTo>
                  <a:lnTo>
                    <a:pt x="102" y="174"/>
                  </a:lnTo>
                  <a:lnTo>
                    <a:pt x="108" y="168"/>
                  </a:lnTo>
                  <a:lnTo>
                    <a:pt x="108" y="162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0"/>
                  </a:lnTo>
                  <a:lnTo>
                    <a:pt x="132" y="144"/>
                  </a:lnTo>
                  <a:lnTo>
                    <a:pt x="138" y="138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0" y="132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74" y="126"/>
                  </a:lnTo>
                  <a:lnTo>
                    <a:pt x="204" y="120"/>
                  </a:lnTo>
                  <a:lnTo>
                    <a:pt x="210" y="78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54"/>
                  </a:lnTo>
                  <a:lnTo>
                    <a:pt x="276" y="54"/>
                  </a:lnTo>
                  <a:lnTo>
                    <a:pt x="276" y="48"/>
                  </a:lnTo>
                  <a:lnTo>
                    <a:pt x="282" y="48"/>
                  </a:lnTo>
                  <a:lnTo>
                    <a:pt x="288" y="42"/>
                  </a:lnTo>
                  <a:lnTo>
                    <a:pt x="294" y="42"/>
                  </a:lnTo>
                  <a:lnTo>
                    <a:pt x="294" y="18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0"/>
                  </a:lnTo>
                  <a:lnTo>
                    <a:pt x="336" y="0"/>
                  </a:lnTo>
                  <a:lnTo>
                    <a:pt x="342" y="0"/>
                  </a:lnTo>
                  <a:lnTo>
                    <a:pt x="354" y="6"/>
                  </a:lnTo>
                  <a:lnTo>
                    <a:pt x="366" y="18"/>
                  </a:lnTo>
                  <a:lnTo>
                    <a:pt x="378" y="36"/>
                  </a:lnTo>
                  <a:lnTo>
                    <a:pt x="390" y="42"/>
                  </a:lnTo>
                  <a:lnTo>
                    <a:pt x="390" y="48"/>
                  </a:lnTo>
                  <a:lnTo>
                    <a:pt x="396" y="60"/>
                  </a:lnTo>
                  <a:lnTo>
                    <a:pt x="402" y="72"/>
                  </a:lnTo>
                  <a:lnTo>
                    <a:pt x="408" y="78"/>
                  </a:lnTo>
                  <a:lnTo>
                    <a:pt x="402" y="84"/>
                  </a:lnTo>
                  <a:lnTo>
                    <a:pt x="408" y="90"/>
                  </a:lnTo>
                  <a:lnTo>
                    <a:pt x="414" y="102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50" y="126"/>
                  </a:lnTo>
                  <a:lnTo>
                    <a:pt x="456" y="126"/>
                  </a:lnTo>
                  <a:lnTo>
                    <a:pt x="462" y="144"/>
                  </a:lnTo>
                  <a:lnTo>
                    <a:pt x="480" y="156"/>
                  </a:lnTo>
                  <a:lnTo>
                    <a:pt x="492" y="156"/>
                  </a:lnTo>
                  <a:lnTo>
                    <a:pt x="516" y="150"/>
                  </a:lnTo>
                  <a:lnTo>
                    <a:pt x="516" y="144"/>
                  </a:lnTo>
                  <a:lnTo>
                    <a:pt x="516" y="138"/>
                  </a:lnTo>
                  <a:lnTo>
                    <a:pt x="528" y="138"/>
                  </a:lnTo>
                  <a:lnTo>
                    <a:pt x="546" y="144"/>
                  </a:lnTo>
                  <a:lnTo>
                    <a:pt x="546" y="138"/>
                  </a:lnTo>
                  <a:lnTo>
                    <a:pt x="552" y="138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76" y="138"/>
                  </a:lnTo>
                  <a:lnTo>
                    <a:pt x="582" y="138"/>
                  </a:lnTo>
                  <a:lnTo>
                    <a:pt x="588" y="138"/>
                  </a:lnTo>
                  <a:lnTo>
                    <a:pt x="594" y="138"/>
                  </a:lnTo>
                  <a:lnTo>
                    <a:pt x="594" y="144"/>
                  </a:lnTo>
                  <a:lnTo>
                    <a:pt x="600" y="138"/>
                  </a:lnTo>
                  <a:lnTo>
                    <a:pt x="606" y="138"/>
                  </a:lnTo>
                  <a:lnTo>
                    <a:pt x="606" y="144"/>
                  </a:lnTo>
                  <a:lnTo>
                    <a:pt x="612" y="144"/>
                  </a:lnTo>
                  <a:lnTo>
                    <a:pt x="618" y="156"/>
                  </a:lnTo>
                  <a:lnTo>
                    <a:pt x="612" y="198"/>
                  </a:lnTo>
                  <a:lnTo>
                    <a:pt x="624" y="198"/>
                  </a:lnTo>
                  <a:lnTo>
                    <a:pt x="624" y="204"/>
                  </a:lnTo>
                  <a:lnTo>
                    <a:pt x="612" y="216"/>
                  </a:lnTo>
                  <a:lnTo>
                    <a:pt x="594" y="234"/>
                  </a:lnTo>
                  <a:lnTo>
                    <a:pt x="588" y="252"/>
                  </a:lnTo>
                  <a:lnTo>
                    <a:pt x="576" y="270"/>
                  </a:lnTo>
                  <a:lnTo>
                    <a:pt x="564" y="282"/>
                  </a:lnTo>
                  <a:lnTo>
                    <a:pt x="564" y="294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8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34" y="294"/>
                  </a:lnTo>
                  <a:lnTo>
                    <a:pt x="522" y="300"/>
                  </a:lnTo>
                  <a:lnTo>
                    <a:pt x="510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498" y="324"/>
                  </a:lnTo>
                  <a:lnTo>
                    <a:pt x="504" y="336"/>
                  </a:lnTo>
                  <a:lnTo>
                    <a:pt x="510" y="348"/>
                  </a:lnTo>
                  <a:lnTo>
                    <a:pt x="516" y="366"/>
                  </a:lnTo>
                  <a:lnTo>
                    <a:pt x="522" y="432"/>
                  </a:lnTo>
                  <a:lnTo>
                    <a:pt x="522" y="456"/>
                  </a:lnTo>
                  <a:lnTo>
                    <a:pt x="504" y="492"/>
                  </a:lnTo>
                  <a:lnTo>
                    <a:pt x="504" y="498"/>
                  </a:lnTo>
                  <a:lnTo>
                    <a:pt x="498" y="504"/>
                  </a:lnTo>
                  <a:lnTo>
                    <a:pt x="498" y="522"/>
                  </a:lnTo>
                  <a:lnTo>
                    <a:pt x="504" y="534"/>
                  </a:lnTo>
                  <a:lnTo>
                    <a:pt x="510" y="546"/>
                  </a:lnTo>
                  <a:lnTo>
                    <a:pt x="516" y="558"/>
                  </a:lnTo>
                  <a:lnTo>
                    <a:pt x="516" y="588"/>
                  </a:lnTo>
                  <a:lnTo>
                    <a:pt x="516" y="600"/>
                  </a:lnTo>
                  <a:lnTo>
                    <a:pt x="510" y="618"/>
                  </a:lnTo>
                  <a:lnTo>
                    <a:pt x="504" y="636"/>
                  </a:lnTo>
                  <a:lnTo>
                    <a:pt x="504" y="642"/>
                  </a:lnTo>
                  <a:lnTo>
                    <a:pt x="474" y="654"/>
                  </a:lnTo>
                  <a:lnTo>
                    <a:pt x="474" y="690"/>
                  </a:lnTo>
                  <a:lnTo>
                    <a:pt x="474" y="696"/>
                  </a:lnTo>
                  <a:lnTo>
                    <a:pt x="480" y="702"/>
                  </a:lnTo>
                  <a:lnTo>
                    <a:pt x="486" y="708"/>
                  </a:lnTo>
                  <a:lnTo>
                    <a:pt x="492" y="708"/>
                  </a:lnTo>
                  <a:lnTo>
                    <a:pt x="498" y="726"/>
                  </a:lnTo>
                  <a:lnTo>
                    <a:pt x="504" y="726"/>
                  </a:lnTo>
                  <a:lnTo>
                    <a:pt x="504" y="738"/>
                  </a:lnTo>
                  <a:lnTo>
                    <a:pt x="498" y="744"/>
                  </a:lnTo>
                  <a:lnTo>
                    <a:pt x="486" y="750"/>
                  </a:lnTo>
                  <a:lnTo>
                    <a:pt x="474" y="744"/>
                  </a:lnTo>
                  <a:lnTo>
                    <a:pt x="462" y="744"/>
                  </a:lnTo>
                  <a:lnTo>
                    <a:pt x="456" y="732"/>
                  </a:lnTo>
                  <a:lnTo>
                    <a:pt x="444" y="732"/>
                  </a:lnTo>
                  <a:lnTo>
                    <a:pt x="432" y="726"/>
                  </a:lnTo>
                  <a:lnTo>
                    <a:pt x="420" y="720"/>
                  </a:lnTo>
                  <a:lnTo>
                    <a:pt x="408" y="708"/>
                  </a:lnTo>
                  <a:lnTo>
                    <a:pt x="402" y="708"/>
                  </a:lnTo>
                  <a:lnTo>
                    <a:pt x="390" y="702"/>
                  </a:lnTo>
                  <a:close/>
                </a:path>
              </a:pathLst>
            </a:custGeom>
            <a:solidFill>
              <a:srgbClr val="BFBFBF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5" name="Freeform 20">
              <a:extLst>
                <a:ext uri="{FF2B5EF4-FFF2-40B4-BE49-F238E27FC236}">
                  <a16:creationId xmlns:a16="http://schemas.microsoft.com/office/drawing/2014/main" id="{B8342C3B-ECEC-465F-AAFF-4815B8AC392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870937"/>
              <a:ext cx="313067" cy="377968"/>
            </a:xfrm>
            <a:custGeom>
              <a:avLst/>
              <a:gdLst>
                <a:gd name="T0" fmla="*/ 15 w 588"/>
                <a:gd name="T1" fmla="*/ 59 h 714"/>
                <a:gd name="T2" fmla="*/ 14 w 588"/>
                <a:gd name="T3" fmla="*/ 58 h 714"/>
                <a:gd name="T4" fmla="*/ 9 w 588"/>
                <a:gd name="T5" fmla="*/ 54 h 714"/>
                <a:gd name="T6" fmla="*/ 4 w 588"/>
                <a:gd name="T7" fmla="*/ 54 h 714"/>
                <a:gd name="T8" fmla="*/ 0 w 588"/>
                <a:gd name="T9" fmla="*/ 50 h 714"/>
                <a:gd name="T10" fmla="*/ 0 w 588"/>
                <a:gd name="T11" fmla="*/ 44 h 714"/>
                <a:gd name="T12" fmla="*/ 4 w 588"/>
                <a:gd name="T13" fmla="*/ 46 h 714"/>
                <a:gd name="T14" fmla="*/ 7 w 588"/>
                <a:gd name="T15" fmla="*/ 47 h 714"/>
                <a:gd name="T16" fmla="*/ 10 w 588"/>
                <a:gd name="T17" fmla="*/ 46 h 714"/>
                <a:gd name="T18" fmla="*/ 8 w 588"/>
                <a:gd name="T19" fmla="*/ 44 h 714"/>
                <a:gd name="T20" fmla="*/ 10 w 588"/>
                <a:gd name="T21" fmla="*/ 39 h 714"/>
                <a:gd name="T22" fmla="*/ 11 w 588"/>
                <a:gd name="T23" fmla="*/ 34 h 714"/>
                <a:gd name="T24" fmla="*/ 9 w 588"/>
                <a:gd name="T25" fmla="*/ 28 h 714"/>
                <a:gd name="T26" fmla="*/ 11 w 588"/>
                <a:gd name="T27" fmla="*/ 22 h 714"/>
                <a:gd name="T28" fmla="*/ 10 w 588"/>
                <a:gd name="T29" fmla="*/ 12 h 714"/>
                <a:gd name="T30" fmla="*/ 9 w 588"/>
                <a:gd name="T31" fmla="*/ 9 h 714"/>
                <a:gd name="T32" fmla="*/ 12 w 588"/>
                <a:gd name="T33" fmla="*/ 8 h 714"/>
                <a:gd name="T34" fmla="*/ 14 w 588"/>
                <a:gd name="T35" fmla="*/ 7 h 714"/>
                <a:gd name="T36" fmla="*/ 17 w 588"/>
                <a:gd name="T37" fmla="*/ 10 h 714"/>
                <a:gd name="T38" fmla="*/ 23 w 588"/>
                <a:gd name="T39" fmla="*/ 14 h 714"/>
                <a:gd name="T40" fmla="*/ 28 w 588"/>
                <a:gd name="T41" fmla="*/ 4 h 714"/>
                <a:gd name="T42" fmla="*/ 35 w 588"/>
                <a:gd name="T43" fmla="*/ 2 h 714"/>
                <a:gd name="T44" fmla="*/ 38 w 588"/>
                <a:gd name="T45" fmla="*/ 0 h 714"/>
                <a:gd name="T46" fmla="*/ 40 w 588"/>
                <a:gd name="T47" fmla="*/ 2 h 714"/>
                <a:gd name="T48" fmla="*/ 39 w 588"/>
                <a:gd name="T49" fmla="*/ 4 h 714"/>
                <a:gd name="T50" fmla="*/ 41 w 588"/>
                <a:gd name="T51" fmla="*/ 5 h 714"/>
                <a:gd name="T52" fmla="*/ 42 w 588"/>
                <a:gd name="T53" fmla="*/ 7 h 714"/>
                <a:gd name="T54" fmla="*/ 43 w 588"/>
                <a:gd name="T55" fmla="*/ 9 h 714"/>
                <a:gd name="T56" fmla="*/ 43 w 588"/>
                <a:gd name="T57" fmla="*/ 10 h 714"/>
                <a:gd name="T58" fmla="*/ 43 w 588"/>
                <a:gd name="T59" fmla="*/ 12 h 714"/>
                <a:gd name="T60" fmla="*/ 44 w 588"/>
                <a:gd name="T61" fmla="*/ 12 h 714"/>
                <a:gd name="T62" fmla="*/ 46 w 588"/>
                <a:gd name="T63" fmla="*/ 13 h 714"/>
                <a:gd name="T64" fmla="*/ 47 w 588"/>
                <a:gd name="T65" fmla="*/ 14 h 714"/>
                <a:gd name="T66" fmla="*/ 48 w 588"/>
                <a:gd name="T67" fmla="*/ 15 h 714"/>
                <a:gd name="T68" fmla="*/ 49 w 588"/>
                <a:gd name="T69" fmla="*/ 15 h 714"/>
                <a:gd name="T70" fmla="*/ 48 w 588"/>
                <a:gd name="T71" fmla="*/ 17 h 714"/>
                <a:gd name="T72" fmla="*/ 49 w 588"/>
                <a:gd name="T73" fmla="*/ 19 h 714"/>
                <a:gd name="T74" fmla="*/ 49 w 588"/>
                <a:gd name="T75" fmla="*/ 20 h 714"/>
                <a:gd name="T76" fmla="*/ 51 w 588"/>
                <a:gd name="T77" fmla="*/ 21 h 714"/>
                <a:gd name="T78" fmla="*/ 50 w 588"/>
                <a:gd name="T79" fmla="*/ 22 h 714"/>
                <a:gd name="T80" fmla="*/ 47 w 588"/>
                <a:gd name="T81" fmla="*/ 23 h 714"/>
                <a:gd name="T82" fmla="*/ 47 w 588"/>
                <a:gd name="T83" fmla="*/ 26 h 714"/>
                <a:gd name="T84" fmla="*/ 47 w 588"/>
                <a:gd name="T85" fmla="*/ 32 h 714"/>
                <a:gd name="T86" fmla="*/ 44 w 588"/>
                <a:gd name="T87" fmla="*/ 35 h 714"/>
                <a:gd name="T88" fmla="*/ 42 w 588"/>
                <a:gd name="T89" fmla="*/ 39 h 714"/>
                <a:gd name="T90" fmla="*/ 42 w 588"/>
                <a:gd name="T91" fmla="*/ 41 h 714"/>
                <a:gd name="T92" fmla="*/ 42 w 588"/>
                <a:gd name="T93" fmla="*/ 42 h 714"/>
                <a:gd name="T94" fmla="*/ 41 w 588"/>
                <a:gd name="T95" fmla="*/ 44 h 714"/>
                <a:gd name="T96" fmla="*/ 39 w 588"/>
                <a:gd name="T97" fmla="*/ 43 h 714"/>
                <a:gd name="T98" fmla="*/ 37 w 588"/>
                <a:gd name="T99" fmla="*/ 44 h 714"/>
                <a:gd name="T100" fmla="*/ 35 w 588"/>
                <a:gd name="T101" fmla="*/ 46 h 714"/>
                <a:gd name="T102" fmla="*/ 31 w 588"/>
                <a:gd name="T103" fmla="*/ 45 h 714"/>
                <a:gd name="T104" fmla="*/ 24 w 588"/>
                <a:gd name="T105" fmla="*/ 45 h 714"/>
                <a:gd name="T106" fmla="*/ 25 w 588"/>
                <a:gd name="T107" fmla="*/ 47 h 714"/>
                <a:gd name="T108" fmla="*/ 25 w 588"/>
                <a:gd name="T109" fmla="*/ 49 h 714"/>
                <a:gd name="T110" fmla="*/ 25 w 588"/>
                <a:gd name="T111" fmla="*/ 50 h 714"/>
                <a:gd name="T112" fmla="*/ 24 w 588"/>
                <a:gd name="T113" fmla="*/ 51 h 714"/>
                <a:gd name="T114" fmla="*/ 22 w 588"/>
                <a:gd name="T115" fmla="*/ 53 h 714"/>
                <a:gd name="T116" fmla="*/ 23 w 588"/>
                <a:gd name="T117" fmla="*/ 56 h 714"/>
                <a:gd name="T118" fmla="*/ 20 w 588"/>
                <a:gd name="T119" fmla="*/ 58 h 714"/>
                <a:gd name="T120" fmla="*/ 19 w 588"/>
                <a:gd name="T121" fmla="*/ 62 h 7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8"/>
                <a:gd name="T184" fmla="*/ 0 h 714"/>
                <a:gd name="T185" fmla="*/ 588 w 588"/>
                <a:gd name="T186" fmla="*/ 714 h 7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8" h="714">
                  <a:moveTo>
                    <a:pt x="216" y="714"/>
                  </a:moveTo>
                  <a:lnTo>
                    <a:pt x="198" y="702"/>
                  </a:lnTo>
                  <a:lnTo>
                    <a:pt x="186" y="696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74" y="678"/>
                  </a:lnTo>
                  <a:lnTo>
                    <a:pt x="168" y="672"/>
                  </a:lnTo>
                  <a:lnTo>
                    <a:pt x="162" y="666"/>
                  </a:lnTo>
                  <a:lnTo>
                    <a:pt x="156" y="636"/>
                  </a:lnTo>
                  <a:lnTo>
                    <a:pt x="144" y="630"/>
                  </a:lnTo>
                  <a:lnTo>
                    <a:pt x="108" y="630"/>
                  </a:lnTo>
                  <a:lnTo>
                    <a:pt x="102" y="624"/>
                  </a:lnTo>
                  <a:lnTo>
                    <a:pt x="96" y="624"/>
                  </a:lnTo>
                  <a:lnTo>
                    <a:pt x="72" y="624"/>
                  </a:lnTo>
                  <a:lnTo>
                    <a:pt x="54" y="624"/>
                  </a:lnTo>
                  <a:lnTo>
                    <a:pt x="42" y="618"/>
                  </a:lnTo>
                  <a:lnTo>
                    <a:pt x="30" y="612"/>
                  </a:lnTo>
                  <a:lnTo>
                    <a:pt x="6" y="606"/>
                  </a:lnTo>
                  <a:lnTo>
                    <a:pt x="0" y="606"/>
                  </a:lnTo>
                  <a:lnTo>
                    <a:pt x="0" y="570"/>
                  </a:lnTo>
                  <a:lnTo>
                    <a:pt x="6" y="552"/>
                  </a:lnTo>
                  <a:lnTo>
                    <a:pt x="6" y="522"/>
                  </a:lnTo>
                  <a:lnTo>
                    <a:pt x="0" y="510"/>
                  </a:lnTo>
                  <a:lnTo>
                    <a:pt x="0" y="504"/>
                  </a:lnTo>
                  <a:lnTo>
                    <a:pt x="12" y="510"/>
                  </a:lnTo>
                  <a:lnTo>
                    <a:pt x="18" y="510"/>
                  </a:lnTo>
                  <a:lnTo>
                    <a:pt x="30" y="522"/>
                  </a:lnTo>
                  <a:lnTo>
                    <a:pt x="42" y="528"/>
                  </a:lnTo>
                  <a:lnTo>
                    <a:pt x="54" y="534"/>
                  </a:lnTo>
                  <a:lnTo>
                    <a:pt x="66" y="534"/>
                  </a:lnTo>
                  <a:lnTo>
                    <a:pt x="72" y="546"/>
                  </a:lnTo>
                  <a:lnTo>
                    <a:pt x="84" y="546"/>
                  </a:lnTo>
                  <a:lnTo>
                    <a:pt x="96" y="552"/>
                  </a:lnTo>
                  <a:lnTo>
                    <a:pt x="108" y="546"/>
                  </a:lnTo>
                  <a:lnTo>
                    <a:pt x="114" y="540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90" y="504"/>
                  </a:lnTo>
                  <a:lnTo>
                    <a:pt x="84" y="498"/>
                  </a:lnTo>
                  <a:lnTo>
                    <a:pt x="84" y="492"/>
                  </a:lnTo>
                  <a:lnTo>
                    <a:pt x="84" y="456"/>
                  </a:lnTo>
                  <a:lnTo>
                    <a:pt x="114" y="444"/>
                  </a:lnTo>
                  <a:lnTo>
                    <a:pt x="114" y="438"/>
                  </a:lnTo>
                  <a:lnTo>
                    <a:pt x="120" y="420"/>
                  </a:lnTo>
                  <a:lnTo>
                    <a:pt x="126" y="402"/>
                  </a:lnTo>
                  <a:lnTo>
                    <a:pt x="126" y="390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14" y="336"/>
                  </a:lnTo>
                  <a:lnTo>
                    <a:pt x="108" y="324"/>
                  </a:lnTo>
                  <a:lnTo>
                    <a:pt x="108" y="306"/>
                  </a:lnTo>
                  <a:lnTo>
                    <a:pt x="114" y="300"/>
                  </a:lnTo>
                  <a:lnTo>
                    <a:pt x="114" y="294"/>
                  </a:lnTo>
                  <a:lnTo>
                    <a:pt x="132" y="258"/>
                  </a:lnTo>
                  <a:lnTo>
                    <a:pt x="132" y="234"/>
                  </a:lnTo>
                  <a:lnTo>
                    <a:pt x="126" y="168"/>
                  </a:lnTo>
                  <a:lnTo>
                    <a:pt x="120" y="150"/>
                  </a:lnTo>
                  <a:lnTo>
                    <a:pt x="114" y="138"/>
                  </a:lnTo>
                  <a:lnTo>
                    <a:pt x="108" y="126"/>
                  </a:lnTo>
                  <a:lnTo>
                    <a:pt x="108" y="120"/>
                  </a:lnTo>
                  <a:lnTo>
                    <a:pt x="108" y="114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20" y="96"/>
                  </a:lnTo>
                  <a:lnTo>
                    <a:pt x="132" y="102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56" y="90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96"/>
                  </a:lnTo>
                  <a:lnTo>
                    <a:pt x="186" y="96"/>
                  </a:lnTo>
                  <a:lnTo>
                    <a:pt x="192" y="114"/>
                  </a:lnTo>
                  <a:lnTo>
                    <a:pt x="204" y="132"/>
                  </a:lnTo>
                  <a:lnTo>
                    <a:pt x="216" y="144"/>
                  </a:lnTo>
                  <a:lnTo>
                    <a:pt x="240" y="162"/>
                  </a:lnTo>
                  <a:lnTo>
                    <a:pt x="270" y="156"/>
                  </a:lnTo>
                  <a:lnTo>
                    <a:pt x="282" y="126"/>
                  </a:lnTo>
                  <a:lnTo>
                    <a:pt x="282" y="96"/>
                  </a:lnTo>
                  <a:lnTo>
                    <a:pt x="294" y="54"/>
                  </a:lnTo>
                  <a:lnTo>
                    <a:pt x="324" y="48"/>
                  </a:lnTo>
                  <a:lnTo>
                    <a:pt x="342" y="48"/>
                  </a:lnTo>
                  <a:lnTo>
                    <a:pt x="384" y="48"/>
                  </a:lnTo>
                  <a:lnTo>
                    <a:pt x="390" y="30"/>
                  </a:lnTo>
                  <a:lnTo>
                    <a:pt x="402" y="18"/>
                  </a:lnTo>
                  <a:lnTo>
                    <a:pt x="438" y="6"/>
                  </a:lnTo>
                  <a:lnTo>
                    <a:pt x="438" y="0"/>
                  </a:lnTo>
                  <a:lnTo>
                    <a:pt x="444" y="0"/>
                  </a:lnTo>
                  <a:lnTo>
                    <a:pt x="444" y="6"/>
                  </a:lnTo>
                  <a:lnTo>
                    <a:pt x="450" y="6"/>
                  </a:lnTo>
                  <a:lnTo>
                    <a:pt x="456" y="12"/>
                  </a:lnTo>
                  <a:lnTo>
                    <a:pt x="456" y="18"/>
                  </a:lnTo>
                  <a:lnTo>
                    <a:pt x="462" y="24"/>
                  </a:lnTo>
                  <a:lnTo>
                    <a:pt x="462" y="30"/>
                  </a:lnTo>
                  <a:lnTo>
                    <a:pt x="468" y="36"/>
                  </a:lnTo>
                  <a:lnTo>
                    <a:pt x="462" y="36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74" y="60"/>
                  </a:lnTo>
                  <a:lnTo>
                    <a:pt x="486" y="78"/>
                  </a:lnTo>
                  <a:lnTo>
                    <a:pt x="486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8" y="102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498" y="114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504" y="126"/>
                  </a:lnTo>
                  <a:lnTo>
                    <a:pt x="498" y="132"/>
                  </a:lnTo>
                  <a:lnTo>
                    <a:pt x="504" y="138"/>
                  </a:lnTo>
                  <a:lnTo>
                    <a:pt x="504" y="132"/>
                  </a:lnTo>
                  <a:lnTo>
                    <a:pt x="510" y="132"/>
                  </a:lnTo>
                  <a:lnTo>
                    <a:pt x="510" y="138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56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6" y="168"/>
                  </a:lnTo>
                  <a:lnTo>
                    <a:pt x="552" y="168"/>
                  </a:lnTo>
                  <a:lnTo>
                    <a:pt x="546" y="168"/>
                  </a:lnTo>
                  <a:lnTo>
                    <a:pt x="546" y="174"/>
                  </a:lnTo>
                  <a:lnTo>
                    <a:pt x="558" y="180"/>
                  </a:lnTo>
                  <a:lnTo>
                    <a:pt x="564" y="180"/>
                  </a:lnTo>
                  <a:lnTo>
                    <a:pt x="564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52" y="198"/>
                  </a:lnTo>
                  <a:lnTo>
                    <a:pt x="558" y="204"/>
                  </a:lnTo>
                  <a:lnTo>
                    <a:pt x="564" y="204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22"/>
                  </a:lnTo>
                  <a:lnTo>
                    <a:pt x="576" y="228"/>
                  </a:lnTo>
                  <a:lnTo>
                    <a:pt x="570" y="228"/>
                  </a:lnTo>
                  <a:lnTo>
                    <a:pt x="570" y="234"/>
                  </a:lnTo>
                  <a:lnTo>
                    <a:pt x="576" y="234"/>
                  </a:lnTo>
                  <a:lnTo>
                    <a:pt x="582" y="234"/>
                  </a:lnTo>
                  <a:lnTo>
                    <a:pt x="588" y="234"/>
                  </a:lnTo>
                  <a:lnTo>
                    <a:pt x="588" y="240"/>
                  </a:lnTo>
                  <a:lnTo>
                    <a:pt x="588" y="246"/>
                  </a:lnTo>
                  <a:lnTo>
                    <a:pt x="588" y="252"/>
                  </a:lnTo>
                  <a:lnTo>
                    <a:pt x="582" y="252"/>
                  </a:lnTo>
                  <a:lnTo>
                    <a:pt x="576" y="252"/>
                  </a:lnTo>
                  <a:lnTo>
                    <a:pt x="582" y="258"/>
                  </a:lnTo>
                  <a:lnTo>
                    <a:pt x="582" y="264"/>
                  </a:lnTo>
                  <a:lnTo>
                    <a:pt x="576" y="264"/>
                  </a:lnTo>
                  <a:lnTo>
                    <a:pt x="546" y="264"/>
                  </a:lnTo>
                  <a:lnTo>
                    <a:pt x="546" y="276"/>
                  </a:lnTo>
                  <a:lnTo>
                    <a:pt x="540" y="282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40" y="324"/>
                  </a:lnTo>
                  <a:lnTo>
                    <a:pt x="552" y="330"/>
                  </a:lnTo>
                  <a:lnTo>
                    <a:pt x="558" y="342"/>
                  </a:lnTo>
                  <a:lnTo>
                    <a:pt x="546" y="372"/>
                  </a:lnTo>
                  <a:lnTo>
                    <a:pt x="534" y="372"/>
                  </a:lnTo>
                  <a:lnTo>
                    <a:pt x="534" y="384"/>
                  </a:lnTo>
                  <a:lnTo>
                    <a:pt x="522" y="384"/>
                  </a:lnTo>
                  <a:lnTo>
                    <a:pt x="510" y="402"/>
                  </a:lnTo>
                  <a:lnTo>
                    <a:pt x="504" y="420"/>
                  </a:lnTo>
                  <a:lnTo>
                    <a:pt x="492" y="426"/>
                  </a:lnTo>
                  <a:lnTo>
                    <a:pt x="486" y="432"/>
                  </a:lnTo>
                  <a:lnTo>
                    <a:pt x="486" y="444"/>
                  </a:lnTo>
                  <a:lnTo>
                    <a:pt x="486" y="450"/>
                  </a:lnTo>
                  <a:lnTo>
                    <a:pt x="486" y="456"/>
                  </a:lnTo>
                  <a:lnTo>
                    <a:pt x="486" y="462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80" y="474"/>
                  </a:lnTo>
                  <a:lnTo>
                    <a:pt x="480" y="480"/>
                  </a:lnTo>
                  <a:lnTo>
                    <a:pt x="480" y="486"/>
                  </a:lnTo>
                  <a:lnTo>
                    <a:pt x="480" y="492"/>
                  </a:lnTo>
                  <a:lnTo>
                    <a:pt x="480" y="498"/>
                  </a:lnTo>
                  <a:lnTo>
                    <a:pt x="474" y="504"/>
                  </a:lnTo>
                  <a:lnTo>
                    <a:pt x="468" y="510"/>
                  </a:lnTo>
                  <a:lnTo>
                    <a:pt x="462" y="510"/>
                  </a:lnTo>
                  <a:lnTo>
                    <a:pt x="456" y="504"/>
                  </a:lnTo>
                  <a:lnTo>
                    <a:pt x="456" y="498"/>
                  </a:lnTo>
                  <a:lnTo>
                    <a:pt x="450" y="498"/>
                  </a:lnTo>
                  <a:lnTo>
                    <a:pt x="444" y="498"/>
                  </a:lnTo>
                  <a:lnTo>
                    <a:pt x="438" y="498"/>
                  </a:lnTo>
                  <a:lnTo>
                    <a:pt x="432" y="498"/>
                  </a:lnTo>
                  <a:lnTo>
                    <a:pt x="426" y="504"/>
                  </a:lnTo>
                  <a:lnTo>
                    <a:pt x="426" y="510"/>
                  </a:lnTo>
                  <a:lnTo>
                    <a:pt x="420" y="516"/>
                  </a:lnTo>
                  <a:lnTo>
                    <a:pt x="414" y="522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84" y="528"/>
                  </a:lnTo>
                  <a:lnTo>
                    <a:pt x="366" y="540"/>
                  </a:lnTo>
                  <a:lnTo>
                    <a:pt x="360" y="522"/>
                  </a:lnTo>
                  <a:lnTo>
                    <a:pt x="348" y="504"/>
                  </a:lnTo>
                  <a:lnTo>
                    <a:pt x="330" y="504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34"/>
                  </a:lnTo>
                  <a:lnTo>
                    <a:pt x="288" y="540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2" y="540"/>
                  </a:lnTo>
                  <a:lnTo>
                    <a:pt x="282" y="546"/>
                  </a:lnTo>
                  <a:lnTo>
                    <a:pt x="288" y="552"/>
                  </a:lnTo>
                  <a:lnTo>
                    <a:pt x="294" y="564"/>
                  </a:lnTo>
                  <a:lnTo>
                    <a:pt x="300" y="564"/>
                  </a:lnTo>
                  <a:lnTo>
                    <a:pt x="300" y="570"/>
                  </a:lnTo>
                  <a:lnTo>
                    <a:pt x="294" y="570"/>
                  </a:lnTo>
                  <a:lnTo>
                    <a:pt x="288" y="570"/>
                  </a:lnTo>
                  <a:lnTo>
                    <a:pt x="288" y="576"/>
                  </a:lnTo>
                  <a:lnTo>
                    <a:pt x="288" y="582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606"/>
                  </a:lnTo>
                  <a:lnTo>
                    <a:pt x="264" y="612"/>
                  </a:lnTo>
                  <a:lnTo>
                    <a:pt x="258" y="612"/>
                  </a:lnTo>
                  <a:lnTo>
                    <a:pt x="252" y="612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52" y="630"/>
                  </a:lnTo>
                  <a:lnTo>
                    <a:pt x="264" y="642"/>
                  </a:lnTo>
                  <a:lnTo>
                    <a:pt x="258" y="648"/>
                  </a:lnTo>
                  <a:lnTo>
                    <a:pt x="246" y="654"/>
                  </a:lnTo>
                  <a:lnTo>
                    <a:pt x="240" y="660"/>
                  </a:lnTo>
                  <a:lnTo>
                    <a:pt x="234" y="672"/>
                  </a:lnTo>
                  <a:lnTo>
                    <a:pt x="234" y="678"/>
                  </a:lnTo>
                  <a:lnTo>
                    <a:pt x="228" y="684"/>
                  </a:lnTo>
                  <a:lnTo>
                    <a:pt x="228" y="696"/>
                  </a:lnTo>
                  <a:lnTo>
                    <a:pt x="216" y="714"/>
                  </a:lnTo>
                  <a:close/>
                </a:path>
              </a:pathLst>
            </a:custGeom>
            <a:solidFill>
              <a:srgbClr val="2A4F1D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6" name="Freeform 21">
              <a:extLst>
                <a:ext uri="{FF2B5EF4-FFF2-40B4-BE49-F238E27FC236}">
                  <a16:creationId xmlns:a16="http://schemas.microsoft.com/office/drawing/2014/main" id="{DCB1E808-522D-4C19-B741-CC5DD56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4178" y="3866464"/>
              <a:ext cx="250453" cy="371259"/>
            </a:xfrm>
            <a:custGeom>
              <a:avLst/>
              <a:gdLst>
                <a:gd name="T0" fmla="*/ 0 w 468"/>
                <a:gd name="T1" fmla="*/ 61 h 696"/>
                <a:gd name="T2" fmla="*/ 1 w 468"/>
                <a:gd name="T3" fmla="*/ 58 h 696"/>
                <a:gd name="T4" fmla="*/ 2 w 468"/>
                <a:gd name="T5" fmla="*/ 54 h 696"/>
                <a:gd name="T6" fmla="*/ 3 w 468"/>
                <a:gd name="T7" fmla="*/ 51 h 696"/>
                <a:gd name="T8" fmla="*/ 4 w 468"/>
                <a:gd name="T9" fmla="*/ 48 h 696"/>
                <a:gd name="T10" fmla="*/ 6 w 468"/>
                <a:gd name="T11" fmla="*/ 44 h 696"/>
                <a:gd name="T12" fmla="*/ 5 w 468"/>
                <a:gd name="T13" fmla="*/ 41 h 696"/>
                <a:gd name="T14" fmla="*/ 7 w 468"/>
                <a:gd name="T15" fmla="*/ 38 h 696"/>
                <a:gd name="T16" fmla="*/ 8 w 468"/>
                <a:gd name="T17" fmla="*/ 36 h 696"/>
                <a:gd name="T18" fmla="*/ 7 w 468"/>
                <a:gd name="T19" fmla="*/ 33 h 696"/>
                <a:gd name="T20" fmla="*/ 6 w 468"/>
                <a:gd name="T21" fmla="*/ 29 h 696"/>
                <a:gd name="T22" fmla="*/ 4 w 468"/>
                <a:gd name="T23" fmla="*/ 22 h 696"/>
                <a:gd name="T24" fmla="*/ 2 w 468"/>
                <a:gd name="T25" fmla="*/ 14 h 696"/>
                <a:gd name="T26" fmla="*/ 12 w 468"/>
                <a:gd name="T27" fmla="*/ 11 h 696"/>
                <a:gd name="T28" fmla="*/ 14 w 468"/>
                <a:gd name="T29" fmla="*/ 2 h 696"/>
                <a:gd name="T30" fmla="*/ 16 w 468"/>
                <a:gd name="T31" fmla="*/ 0 h 696"/>
                <a:gd name="T32" fmla="*/ 17 w 468"/>
                <a:gd name="T33" fmla="*/ 0 h 696"/>
                <a:gd name="T34" fmla="*/ 18 w 468"/>
                <a:gd name="T35" fmla="*/ 1 h 696"/>
                <a:gd name="T36" fmla="*/ 17 w 468"/>
                <a:gd name="T37" fmla="*/ 2 h 696"/>
                <a:gd name="T38" fmla="*/ 17 w 468"/>
                <a:gd name="T39" fmla="*/ 4 h 696"/>
                <a:gd name="T40" fmla="*/ 17 w 468"/>
                <a:gd name="T41" fmla="*/ 6 h 696"/>
                <a:gd name="T42" fmla="*/ 20 w 468"/>
                <a:gd name="T43" fmla="*/ 6 h 696"/>
                <a:gd name="T44" fmla="*/ 22 w 468"/>
                <a:gd name="T45" fmla="*/ 5 h 696"/>
                <a:gd name="T46" fmla="*/ 24 w 468"/>
                <a:gd name="T47" fmla="*/ 7 h 696"/>
                <a:gd name="T48" fmla="*/ 28 w 468"/>
                <a:gd name="T49" fmla="*/ 7 h 696"/>
                <a:gd name="T50" fmla="*/ 28 w 468"/>
                <a:gd name="T51" fmla="*/ 11 h 696"/>
                <a:gd name="T52" fmla="*/ 25 w 468"/>
                <a:gd name="T53" fmla="*/ 14 h 696"/>
                <a:gd name="T54" fmla="*/ 23 w 468"/>
                <a:gd name="T55" fmla="*/ 15 h 696"/>
                <a:gd name="T56" fmla="*/ 23 w 468"/>
                <a:gd name="T57" fmla="*/ 19 h 696"/>
                <a:gd name="T58" fmla="*/ 23 w 468"/>
                <a:gd name="T59" fmla="*/ 21 h 696"/>
                <a:gd name="T60" fmla="*/ 24 w 468"/>
                <a:gd name="T61" fmla="*/ 21 h 696"/>
                <a:gd name="T62" fmla="*/ 27 w 468"/>
                <a:gd name="T63" fmla="*/ 23 h 696"/>
                <a:gd name="T64" fmla="*/ 29 w 468"/>
                <a:gd name="T65" fmla="*/ 24 h 696"/>
                <a:gd name="T66" fmla="*/ 29 w 468"/>
                <a:gd name="T67" fmla="*/ 28 h 696"/>
                <a:gd name="T68" fmla="*/ 29 w 468"/>
                <a:gd name="T69" fmla="*/ 29 h 696"/>
                <a:gd name="T70" fmla="*/ 29 w 468"/>
                <a:gd name="T71" fmla="*/ 32 h 696"/>
                <a:gd name="T72" fmla="*/ 32 w 468"/>
                <a:gd name="T73" fmla="*/ 32 h 696"/>
                <a:gd name="T74" fmla="*/ 33 w 468"/>
                <a:gd name="T75" fmla="*/ 35 h 696"/>
                <a:gd name="T76" fmla="*/ 34 w 468"/>
                <a:gd name="T77" fmla="*/ 38 h 696"/>
                <a:gd name="T78" fmla="*/ 35 w 468"/>
                <a:gd name="T79" fmla="*/ 39 h 696"/>
                <a:gd name="T80" fmla="*/ 36 w 468"/>
                <a:gd name="T81" fmla="*/ 40 h 696"/>
                <a:gd name="T82" fmla="*/ 37 w 468"/>
                <a:gd name="T83" fmla="*/ 41 h 696"/>
                <a:gd name="T84" fmla="*/ 38 w 468"/>
                <a:gd name="T85" fmla="*/ 42 h 696"/>
                <a:gd name="T86" fmla="*/ 41 w 468"/>
                <a:gd name="T87" fmla="*/ 44 h 696"/>
                <a:gd name="T88" fmla="*/ 40 w 468"/>
                <a:gd name="T89" fmla="*/ 44 h 696"/>
                <a:gd name="T90" fmla="*/ 37 w 468"/>
                <a:gd name="T91" fmla="*/ 45 h 696"/>
                <a:gd name="T92" fmla="*/ 36 w 468"/>
                <a:gd name="T93" fmla="*/ 48 h 696"/>
                <a:gd name="T94" fmla="*/ 34 w 468"/>
                <a:gd name="T95" fmla="*/ 49 h 696"/>
                <a:gd name="T96" fmla="*/ 32 w 468"/>
                <a:gd name="T97" fmla="*/ 51 h 696"/>
                <a:gd name="T98" fmla="*/ 31 w 468"/>
                <a:gd name="T99" fmla="*/ 51 h 696"/>
                <a:gd name="T100" fmla="*/ 26 w 468"/>
                <a:gd name="T101" fmla="*/ 49 h 696"/>
                <a:gd name="T102" fmla="*/ 23 w 468"/>
                <a:gd name="T103" fmla="*/ 51 h 696"/>
                <a:gd name="T104" fmla="*/ 21 w 468"/>
                <a:gd name="T105" fmla="*/ 51 h 696"/>
                <a:gd name="T106" fmla="*/ 20 w 468"/>
                <a:gd name="T107" fmla="*/ 52 h 696"/>
                <a:gd name="T108" fmla="*/ 17 w 468"/>
                <a:gd name="T109" fmla="*/ 55 h 696"/>
                <a:gd name="T110" fmla="*/ 15 w 468"/>
                <a:gd name="T111" fmla="*/ 56 h 696"/>
                <a:gd name="T112" fmla="*/ 15 w 468"/>
                <a:gd name="T113" fmla="*/ 59 h 696"/>
                <a:gd name="T114" fmla="*/ 14 w 468"/>
                <a:gd name="T115" fmla="*/ 59 h 696"/>
                <a:gd name="T116" fmla="*/ 12 w 468"/>
                <a:gd name="T117" fmla="*/ 59 h 696"/>
                <a:gd name="T118" fmla="*/ 11 w 468"/>
                <a:gd name="T119" fmla="*/ 57 h 696"/>
                <a:gd name="T120" fmla="*/ 9 w 468"/>
                <a:gd name="T121" fmla="*/ 57 h 696"/>
                <a:gd name="T122" fmla="*/ 6 w 468"/>
                <a:gd name="T123" fmla="*/ 58 h 696"/>
                <a:gd name="T124" fmla="*/ 4 w 468"/>
                <a:gd name="T125" fmla="*/ 60 h 69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8"/>
                <a:gd name="T190" fmla="*/ 0 h 696"/>
                <a:gd name="T191" fmla="*/ 468 w 468"/>
                <a:gd name="T192" fmla="*/ 696 h 69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8" h="696">
                  <a:moveTo>
                    <a:pt x="30" y="696"/>
                  </a:moveTo>
                  <a:lnTo>
                    <a:pt x="18" y="696"/>
                  </a:lnTo>
                  <a:lnTo>
                    <a:pt x="6" y="696"/>
                  </a:lnTo>
                  <a:lnTo>
                    <a:pt x="0" y="690"/>
                  </a:lnTo>
                  <a:lnTo>
                    <a:pt x="6" y="678"/>
                  </a:lnTo>
                  <a:lnTo>
                    <a:pt x="12" y="666"/>
                  </a:lnTo>
                  <a:lnTo>
                    <a:pt x="18" y="654"/>
                  </a:lnTo>
                  <a:lnTo>
                    <a:pt x="18" y="642"/>
                  </a:lnTo>
                  <a:lnTo>
                    <a:pt x="18" y="618"/>
                  </a:lnTo>
                  <a:lnTo>
                    <a:pt x="24" y="606"/>
                  </a:lnTo>
                  <a:lnTo>
                    <a:pt x="30" y="594"/>
                  </a:lnTo>
                  <a:lnTo>
                    <a:pt x="30" y="582"/>
                  </a:lnTo>
                  <a:lnTo>
                    <a:pt x="36" y="576"/>
                  </a:lnTo>
                  <a:lnTo>
                    <a:pt x="42" y="564"/>
                  </a:lnTo>
                  <a:lnTo>
                    <a:pt x="48" y="546"/>
                  </a:lnTo>
                  <a:lnTo>
                    <a:pt x="48" y="528"/>
                  </a:lnTo>
                  <a:lnTo>
                    <a:pt x="60" y="516"/>
                  </a:lnTo>
                  <a:lnTo>
                    <a:pt x="66" y="504"/>
                  </a:lnTo>
                  <a:lnTo>
                    <a:pt x="66" y="492"/>
                  </a:lnTo>
                  <a:lnTo>
                    <a:pt x="60" y="480"/>
                  </a:lnTo>
                  <a:lnTo>
                    <a:pt x="54" y="468"/>
                  </a:lnTo>
                  <a:lnTo>
                    <a:pt x="60" y="456"/>
                  </a:lnTo>
                  <a:lnTo>
                    <a:pt x="72" y="450"/>
                  </a:lnTo>
                  <a:lnTo>
                    <a:pt x="84" y="438"/>
                  </a:lnTo>
                  <a:lnTo>
                    <a:pt x="90" y="426"/>
                  </a:lnTo>
                  <a:lnTo>
                    <a:pt x="90" y="420"/>
                  </a:lnTo>
                  <a:lnTo>
                    <a:pt x="90" y="408"/>
                  </a:lnTo>
                  <a:lnTo>
                    <a:pt x="90" y="402"/>
                  </a:lnTo>
                  <a:lnTo>
                    <a:pt x="84" y="396"/>
                  </a:lnTo>
                  <a:lnTo>
                    <a:pt x="78" y="378"/>
                  </a:lnTo>
                  <a:lnTo>
                    <a:pt x="72" y="360"/>
                  </a:lnTo>
                  <a:lnTo>
                    <a:pt x="66" y="348"/>
                  </a:lnTo>
                  <a:lnTo>
                    <a:pt x="72" y="336"/>
                  </a:lnTo>
                  <a:lnTo>
                    <a:pt x="66" y="306"/>
                  </a:lnTo>
                  <a:lnTo>
                    <a:pt x="54" y="276"/>
                  </a:lnTo>
                  <a:lnTo>
                    <a:pt x="42" y="252"/>
                  </a:lnTo>
                  <a:lnTo>
                    <a:pt x="36" y="222"/>
                  </a:lnTo>
                  <a:lnTo>
                    <a:pt x="30" y="192"/>
                  </a:lnTo>
                  <a:lnTo>
                    <a:pt x="24" y="162"/>
                  </a:lnTo>
                  <a:lnTo>
                    <a:pt x="42" y="174"/>
                  </a:lnTo>
                  <a:lnTo>
                    <a:pt x="120" y="138"/>
                  </a:lnTo>
                  <a:lnTo>
                    <a:pt x="132" y="126"/>
                  </a:lnTo>
                  <a:lnTo>
                    <a:pt x="120" y="54"/>
                  </a:lnTo>
                  <a:lnTo>
                    <a:pt x="156" y="30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0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8" y="18"/>
                  </a:lnTo>
                  <a:lnTo>
                    <a:pt x="198" y="24"/>
                  </a:lnTo>
                  <a:lnTo>
                    <a:pt x="198" y="30"/>
                  </a:lnTo>
                  <a:lnTo>
                    <a:pt x="198" y="42"/>
                  </a:lnTo>
                  <a:lnTo>
                    <a:pt x="198" y="48"/>
                  </a:lnTo>
                  <a:lnTo>
                    <a:pt x="192" y="60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28" y="60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34" y="60"/>
                  </a:lnTo>
                  <a:lnTo>
                    <a:pt x="252" y="60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312" y="84"/>
                  </a:lnTo>
                  <a:lnTo>
                    <a:pt x="318" y="96"/>
                  </a:lnTo>
                  <a:lnTo>
                    <a:pt x="318" y="102"/>
                  </a:lnTo>
                  <a:lnTo>
                    <a:pt x="312" y="120"/>
                  </a:lnTo>
                  <a:lnTo>
                    <a:pt x="306" y="132"/>
                  </a:lnTo>
                  <a:lnTo>
                    <a:pt x="294" y="144"/>
                  </a:lnTo>
                  <a:lnTo>
                    <a:pt x="282" y="156"/>
                  </a:lnTo>
                  <a:lnTo>
                    <a:pt x="276" y="162"/>
                  </a:lnTo>
                  <a:lnTo>
                    <a:pt x="270" y="162"/>
                  </a:lnTo>
                  <a:lnTo>
                    <a:pt x="264" y="174"/>
                  </a:lnTo>
                  <a:lnTo>
                    <a:pt x="264" y="192"/>
                  </a:lnTo>
                  <a:lnTo>
                    <a:pt x="264" y="216"/>
                  </a:lnTo>
                  <a:lnTo>
                    <a:pt x="258" y="216"/>
                  </a:lnTo>
                  <a:lnTo>
                    <a:pt x="258" y="228"/>
                  </a:lnTo>
                  <a:lnTo>
                    <a:pt x="252" y="234"/>
                  </a:lnTo>
                  <a:lnTo>
                    <a:pt x="258" y="240"/>
                  </a:lnTo>
                  <a:lnTo>
                    <a:pt x="264" y="240"/>
                  </a:lnTo>
                  <a:lnTo>
                    <a:pt x="270" y="240"/>
                  </a:lnTo>
                  <a:lnTo>
                    <a:pt x="276" y="240"/>
                  </a:lnTo>
                  <a:lnTo>
                    <a:pt x="288" y="240"/>
                  </a:lnTo>
                  <a:lnTo>
                    <a:pt x="300" y="246"/>
                  </a:lnTo>
                  <a:lnTo>
                    <a:pt x="306" y="258"/>
                  </a:lnTo>
                  <a:lnTo>
                    <a:pt x="312" y="264"/>
                  </a:lnTo>
                  <a:lnTo>
                    <a:pt x="318" y="276"/>
                  </a:lnTo>
                  <a:lnTo>
                    <a:pt x="330" y="282"/>
                  </a:lnTo>
                  <a:lnTo>
                    <a:pt x="330" y="300"/>
                  </a:lnTo>
                  <a:lnTo>
                    <a:pt x="336" y="312"/>
                  </a:lnTo>
                  <a:lnTo>
                    <a:pt x="336" y="318"/>
                  </a:lnTo>
                  <a:lnTo>
                    <a:pt x="336" y="330"/>
                  </a:lnTo>
                  <a:lnTo>
                    <a:pt x="324" y="330"/>
                  </a:lnTo>
                  <a:lnTo>
                    <a:pt x="330" y="336"/>
                  </a:lnTo>
                  <a:lnTo>
                    <a:pt x="330" y="342"/>
                  </a:lnTo>
                  <a:lnTo>
                    <a:pt x="336" y="348"/>
                  </a:lnTo>
                  <a:lnTo>
                    <a:pt x="330" y="360"/>
                  </a:lnTo>
                  <a:lnTo>
                    <a:pt x="336" y="372"/>
                  </a:lnTo>
                  <a:lnTo>
                    <a:pt x="354" y="366"/>
                  </a:lnTo>
                  <a:lnTo>
                    <a:pt x="366" y="366"/>
                  </a:lnTo>
                  <a:lnTo>
                    <a:pt x="372" y="378"/>
                  </a:lnTo>
                  <a:lnTo>
                    <a:pt x="372" y="390"/>
                  </a:lnTo>
                  <a:lnTo>
                    <a:pt x="378" y="396"/>
                  </a:lnTo>
                  <a:lnTo>
                    <a:pt x="378" y="408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44"/>
                  </a:lnTo>
                  <a:lnTo>
                    <a:pt x="390" y="444"/>
                  </a:lnTo>
                  <a:lnTo>
                    <a:pt x="396" y="444"/>
                  </a:lnTo>
                  <a:lnTo>
                    <a:pt x="402" y="450"/>
                  </a:lnTo>
                  <a:lnTo>
                    <a:pt x="408" y="450"/>
                  </a:lnTo>
                  <a:lnTo>
                    <a:pt x="408" y="462"/>
                  </a:lnTo>
                  <a:lnTo>
                    <a:pt x="408" y="468"/>
                  </a:lnTo>
                  <a:lnTo>
                    <a:pt x="414" y="474"/>
                  </a:lnTo>
                  <a:lnTo>
                    <a:pt x="420" y="474"/>
                  </a:lnTo>
                  <a:lnTo>
                    <a:pt x="420" y="480"/>
                  </a:lnTo>
                  <a:lnTo>
                    <a:pt x="426" y="480"/>
                  </a:lnTo>
                  <a:lnTo>
                    <a:pt x="432" y="480"/>
                  </a:lnTo>
                  <a:lnTo>
                    <a:pt x="462" y="486"/>
                  </a:lnTo>
                  <a:lnTo>
                    <a:pt x="468" y="492"/>
                  </a:lnTo>
                  <a:lnTo>
                    <a:pt x="468" y="498"/>
                  </a:lnTo>
                  <a:lnTo>
                    <a:pt x="462" y="498"/>
                  </a:lnTo>
                  <a:lnTo>
                    <a:pt x="456" y="498"/>
                  </a:lnTo>
                  <a:lnTo>
                    <a:pt x="456" y="504"/>
                  </a:lnTo>
                  <a:lnTo>
                    <a:pt x="456" y="510"/>
                  </a:lnTo>
                  <a:lnTo>
                    <a:pt x="450" y="516"/>
                  </a:lnTo>
                  <a:lnTo>
                    <a:pt x="426" y="516"/>
                  </a:lnTo>
                  <a:lnTo>
                    <a:pt x="408" y="528"/>
                  </a:lnTo>
                  <a:lnTo>
                    <a:pt x="408" y="546"/>
                  </a:lnTo>
                  <a:lnTo>
                    <a:pt x="414" y="552"/>
                  </a:lnTo>
                  <a:lnTo>
                    <a:pt x="408" y="558"/>
                  </a:lnTo>
                  <a:lnTo>
                    <a:pt x="402" y="564"/>
                  </a:lnTo>
                  <a:lnTo>
                    <a:pt x="384" y="564"/>
                  </a:lnTo>
                  <a:lnTo>
                    <a:pt x="372" y="564"/>
                  </a:lnTo>
                  <a:lnTo>
                    <a:pt x="372" y="576"/>
                  </a:lnTo>
                  <a:lnTo>
                    <a:pt x="366" y="576"/>
                  </a:lnTo>
                  <a:lnTo>
                    <a:pt x="366" y="582"/>
                  </a:lnTo>
                  <a:lnTo>
                    <a:pt x="360" y="582"/>
                  </a:lnTo>
                  <a:lnTo>
                    <a:pt x="348" y="576"/>
                  </a:lnTo>
                  <a:lnTo>
                    <a:pt x="336" y="570"/>
                  </a:lnTo>
                  <a:lnTo>
                    <a:pt x="324" y="570"/>
                  </a:lnTo>
                  <a:lnTo>
                    <a:pt x="300" y="564"/>
                  </a:lnTo>
                  <a:lnTo>
                    <a:pt x="282" y="564"/>
                  </a:lnTo>
                  <a:lnTo>
                    <a:pt x="270" y="570"/>
                  </a:lnTo>
                  <a:lnTo>
                    <a:pt x="264" y="576"/>
                  </a:lnTo>
                  <a:lnTo>
                    <a:pt x="258" y="576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34" y="594"/>
                  </a:lnTo>
                  <a:lnTo>
                    <a:pt x="228" y="600"/>
                  </a:lnTo>
                  <a:lnTo>
                    <a:pt x="210" y="618"/>
                  </a:lnTo>
                  <a:lnTo>
                    <a:pt x="210" y="624"/>
                  </a:lnTo>
                  <a:lnTo>
                    <a:pt x="192" y="630"/>
                  </a:lnTo>
                  <a:lnTo>
                    <a:pt x="186" y="630"/>
                  </a:lnTo>
                  <a:lnTo>
                    <a:pt x="180" y="636"/>
                  </a:lnTo>
                  <a:lnTo>
                    <a:pt x="174" y="642"/>
                  </a:lnTo>
                  <a:lnTo>
                    <a:pt x="168" y="642"/>
                  </a:lnTo>
                  <a:lnTo>
                    <a:pt x="168" y="654"/>
                  </a:lnTo>
                  <a:lnTo>
                    <a:pt x="168" y="678"/>
                  </a:lnTo>
                  <a:lnTo>
                    <a:pt x="162" y="684"/>
                  </a:lnTo>
                  <a:lnTo>
                    <a:pt x="156" y="684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72"/>
                  </a:lnTo>
                  <a:lnTo>
                    <a:pt x="138" y="672"/>
                  </a:lnTo>
                  <a:lnTo>
                    <a:pt x="138" y="666"/>
                  </a:lnTo>
                  <a:lnTo>
                    <a:pt x="132" y="660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48"/>
                  </a:lnTo>
                  <a:lnTo>
                    <a:pt x="102" y="654"/>
                  </a:lnTo>
                  <a:lnTo>
                    <a:pt x="90" y="654"/>
                  </a:lnTo>
                  <a:lnTo>
                    <a:pt x="84" y="654"/>
                  </a:lnTo>
                  <a:lnTo>
                    <a:pt x="72" y="660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36" y="684"/>
                  </a:lnTo>
                  <a:lnTo>
                    <a:pt x="30" y="696"/>
                  </a:lnTo>
                  <a:close/>
                </a:path>
              </a:pathLst>
            </a:custGeom>
            <a:solidFill>
              <a:srgbClr val="BFBFBF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7" name="Freeform 22">
              <a:extLst>
                <a:ext uri="{FF2B5EF4-FFF2-40B4-BE49-F238E27FC236}">
                  <a16:creationId xmlns:a16="http://schemas.microsoft.com/office/drawing/2014/main" id="{2F7A477D-6CF8-44B3-8B32-64EE03DC4D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2895" y="3967106"/>
              <a:ext cx="610479" cy="507686"/>
            </a:xfrm>
            <a:custGeom>
              <a:avLst/>
              <a:gdLst>
                <a:gd name="T0" fmla="*/ 87 w 1146"/>
                <a:gd name="T1" fmla="*/ 56 h 954"/>
                <a:gd name="T2" fmla="*/ 83 w 1146"/>
                <a:gd name="T3" fmla="*/ 66 h 954"/>
                <a:gd name="T4" fmla="*/ 74 w 1146"/>
                <a:gd name="T5" fmla="*/ 69 h 954"/>
                <a:gd name="T6" fmla="*/ 67 w 1146"/>
                <a:gd name="T7" fmla="*/ 75 h 954"/>
                <a:gd name="T8" fmla="*/ 59 w 1146"/>
                <a:gd name="T9" fmla="*/ 78 h 954"/>
                <a:gd name="T10" fmla="*/ 52 w 1146"/>
                <a:gd name="T11" fmla="*/ 77 h 954"/>
                <a:gd name="T12" fmla="*/ 48 w 1146"/>
                <a:gd name="T13" fmla="*/ 79 h 954"/>
                <a:gd name="T14" fmla="*/ 41 w 1146"/>
                <a:gd name="T15" fmla="*/ 82 h 954"/>
                <a:gd name="T16" fmla="*/ 29 w 1146"/>
                <a:gd name="T17" fmla="*/ 78 h 954"/>
                <a:gd name="T18" fmla="*/ 28 w 1146"/>
                <a:gd name="T19" fmla="*/ 76 h 954"/>
                <a:gd name="T20" fmla="*/ 28 w 1146"/>
                <a:gd name="T21" fmla="*/ 72 h 954"/>
                <a:gd name="T22" fmla="*/ 28 w 1146"/>
                <a:gd name="T23" fmla="*/ 74 h 954"/>
                <a:gd name="T24" fmla="*/ 21 w 1146"/>
                <a:gd name="T25" fmla="*/ 74 h 954"/>
                <a:gd name="T26" fmla="*/ 20 w 1146"/>
                <a:gd name="T27" fmla="*/ 67 h 954"/>
                <a:gd name="T28" fmla="*/ 23 w 1146"/>
                <a:gd name="T29" fmla="*/ 64 h 954"/>
                <a:gd name="T30" fmla="*/ 28 w 1146"/>
                <a:gd name="T31" fmla="*/ 65 h 954"/>
                <a:gd name="T32" fmla="*/ 32 w 1146"/>
                <a:gd name="T33" fmla="*/ 62 h 954"/>
                <a:gd name="T34" fmla="*/ 31 w 1146"/>
                <a:gd name="T35" fmla="*/ 56 h 954"/>
                <a:gd name="T36" fmla="*/ 36 w 1146"/>
                <a:gd name="T37" fmla="*/ 54 h 954"/>
                <a:gd name="T38" fmla="*/ 38 w 1146"/>
                <a:gd name="T39" fmla="*/ 54 h 954"/>
                <a:gd name="T40" fmla="*/ 32 w 1146"/>
                <a:gd name="T41" fmla="*/ 54 h 954"/>
                <a:gd name="T42" fmla="*/ 29 w 1146"/>
                <a:gd name="T43" fmla="*/ 59 h 954"/>
                <a:gd name="T44" fmla="*/ 26 w 1146"/>
                <a:gd name="T45" fmla="*/ 59 h 954"/>
                <a:gd name="T46" fmla="*/ 25 w 1146"/>
                <a:gd name="T47" fmla="*/ 61 h 954"/>
                <a:gd name="T48" fmla="*/ 20 w 1146"/>
                <a:gd name="T49" fmla="*/ 61 h 954"/>
                <a:gd name="T50" fmla="*/ 11 w 1146"/>
                <a:gd name="T51" fmla="*/ 54 h 954"/>
                <a:gd name="T52" fmla="*/ 14 w 1146"/>
                <a:gd name="T53" fmla="*/ 50 h 954"/>
                <a:gd name="T54" fmla="*/ 21 w 1146"/>
                <a:gd name="T55" fmla="*/ 51 h 954"/>
                <a:gd name="T56" fmla="*/ 24 w 1146"/>
                <a:gd name="T57" fmla="*/ 50 h 954"/>
                <a:gd name="T58" fmla="*/ 28 w 1146"/>
                <a:gd name="T59" fmla="*/ 48 h 954"/>
                <a:gd name="T60" fmla="*/ 30 w 1146"/>
                <a:gd name="T61" fmla="*/ 49 h 954"/>
                <a:gd name="T62" fmla="*/ 26 w 1146"/>
                <a:gd name="T63" fmla="*/ 47 h 954"/>
                <a:gd name="T64" fmla="*/ 20 w 1146"/>
                <a:gd name="T65" fmla="*/ 50 h 954"/>
                <a:gd name="T66" fmla="*/ 20 w 1146"/>
                <a:gd name="T67" fmla="*/ 44 h 954"/>
                <a:gd name="T68" fmla="*/ 19 w 1146"/>
                <a:gd name="T69" fmla="*/ 46 h 954"/>
                <a:gd name="T70" fmla="*/ 15 w 1146"/>
                <a:gd name="T71" fmla="*/ 49 h 954"/>
                <a:gd name="T72" fmla="*/ 8 w 1146"/>
                <a:gd name="T73" fmla="*/ 48 h 954"/>
                <a:gd name="T74" fmla="*/ 6 w 1146"/>
                <a:gd name="T75" fmla="*/ 41 h 954"/>
                <a:gd name="T76" fmla="*/ 10 w 1146"/>
                <a:gd name="T77" fmla="*/ 41 h 954"/>
                <a:gd name="T78" fmla="*/ 9 w 1146"/>
                <a:gd name="T79" fmla="*/ 39 h 954"/>
                <a:gd name="T80" fmla="*/ 14 w 1146"/>
                <a:gd name="T81" fmla="*/ 35 h 954"/>
                <a:gd name="T82" fmla="*/ 19 w 1146"/>
                <a:gd name="T83" fmla="*/ 32 h 954"/>
                <a:gd name="T84" fmla="*/ 20 w 1146"/>
                <a:gd name="T85" fmla="*/ 29 h 954"/>
                <a:gd name="T86" fmla="*/ 27 w 1146"/>
                <a:gd name="T87" fmla="*/ 27 h 954"/>
                <a:gd name="T88" fmla="*/ 33 w 1146"/>
                <a:gd name="T89" fmla="*/ 28 h 954"/>
                <a:gd name="T90" fmla="*/ 44 w 1146"/>
                <a:gd name="T91" fmla="*/ 27 h 954"/>
                <a:gd name="T92" fmla="*/ 52 w 1146"/>
                <a:gd name="T93" fmla="*/ 41 h 954"/>
                <a:gd name="T94" fmla="*/ 61 w 1146"/>
                <a:gd name="T95" fmla="*/ 40 h 954"/>
                <a:gd name="T96" fmla="*/ 69 w 1146"/>
                <a:gd name="T97" fmla="*/ 34 h 954"/>
                <a:gd name="T98" fmla="*/ 62 w 1146"/>
                <a:gd name="T99" fmla="*/ 12 h 954"/>
                <a:gd name="T100" fmla="*/ 74 w 1146"/>
                <a:gd name="T101" fmla="*/ 8 h 954"/>
                <a:gd name="T102" fmla="*/ 87 w 1146"/>
                <a:gd name="T103" fmla="*/ 1 h 954"/>
                <a:gd name="T104" fmla="*/ 99 w 1146"/>
                <a:gd name="T105" fmla="*/ 12 h 954"/>
                <a:gd name="T106" fmla="*/ 98 w 1146"/>
                <a:gd name="T107" fmla="*/ 27 h 954"/>
                <a:gd name="T108" fmla="*/ 16 w 1146"/>
                <a:gd name="T109" fmla="*/ 33 h 954"/>
                <a:gd name="T110" fmla="*/ 11 w 1146"/>
                <a:gd name="T111" fmla="*/ 36 h 954"/>
                <a:gd name="T112" fmla="*/ 5 w 1146"/>
                <a:gd name="T113" fmla="*/ 41 h 954"/>
                <a:gd name="T114" fmla="*/ 2 w 1146"/>
                <a:gd name="T115" fmla="*/ 36 h 954"/>
                <a:gd name="T116" fmla="*/ 5 w 1146"/>
                <a:gd name="T117" fmla="*/ 26 h 954"/>
                <a:gd name="T118" fmla="*/ 10 w 1146"/>
                <a:gd name="T119" fmla="*/ 20 h 954"/>
                <a:gd name="T120" fmla="*/ 13 w 1146"/>
                <a:gd name="T121" fmla="*/ 20 h 954"/>
                <a:gd name="T122" fmla="*/ 15 w 1146"/>
                <a:gd name="T123" fmla="*/ 27 h 95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46"/>
                <a:gd name="T187" fmla="*/ 0 h 954"/>
                <a:gd name="T188" fmla="*/ 1146 w 1146"/>
                <a:gd name="T189" fmla="*/ 954 h 95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46" h="954">
                  <a:moveTo>
                    <a:pt x="1056" y="498"/>
                  </a:moveTo>
                  <a:lnTo>
                    <a:pt x="1044" y="510"/>
                  </a:lnTo>
                  <a:lnTo>
                    <a:pt x="1032" y="516"/>
                  </a:lnTo>
                  <a:lnTo>
                    <a:pt x="1038" y="528"/>
                  </a:lnTo>
                  <a:lnTo>
                    <a:pt x="1050" y="540"/>
                  </a:lnTo>
                  <a:lnTo>
                    <a:pt x="1050" y="546"/>
                  </a:lnTo>
                  <a:lnTo>
                    <a:pt x="1050" y="564"/>
                  </a:lnTo>
                  <a:lnTo>
                    <a:pt x="1038" y="576"/>
                  </a:lnTo>
                  <a:lnTo>
                    <a:pt x="1032" y="588"/>
                  </a:lnTo>
                  <a:lnTo>
                    <a:pt x="1020" y="594"/>
                  </a:lnTo>
                  <a:lnTo>
                    <a:pt x="1008" y="594"/>
                  </a:lnTo>
                  <a:lnTo>
                    <a:pt x="1002" y="600"/>
                  </a:lnTo>
                  <a:lnTo>
                    <a:pt x="996" y="612"/>
                  </a:lnTo>
                  <a:lnTo>
                    <a:pt x="996" y="624"/>
                  </a:lnTo>
                  <a:lnTo>
                    <a:pt x="996" y="648"/>
                  </a:lnTo>
                  <a:lnTo>
                    <a:pt x="996" y="660"/>
                  </a:lnTo>
                  <a:lnTo>
                    <a:pt x="1002" y="672"/>
                  </a:lnTo>
                  <a:lnTo>
                    <a:pt x="1002" y="684"/>
                  </a:lnTo>
                  <a:lnTo>
                    <a:pt x="996" y="684"/>
                  </a:lnTo>
                  <a:lnTo>
                    <a:pt x="984" y="690"/>
                  </a:lnTo>
                  <a:lnTo>
                    <a:pt x="972" y="690"/>
                  </a:lnTo>
                  <a:lnTo>
                    <a:pt x="966" y="696"/>
                  </a:lnTo>
                  <a:lnTo>
                    <a:pt x="966" y="702"/>
                  </a:lnTo>
                  <a:lnTo>
                    <a:pt x="966" y="714"/>
                  </a:lnTo>
                  <a:lnTo>
                    <a:pt x="972" y="726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2" y="756"/>
                  </a:lnTo>
                  <a:lnTo>
                    <a:pt x="966" y="756"/>
                  </a:lnTo>
                  <a:lnTo>
                    <a:pt x="942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18" y="768"/>
                  </a:lnTo>
                  <a:lnTo>
                    <a:pt x="906" y="768"/>
                  </a:lnTo>
                  <a:lnTo>
                    <a:pt x="894" y="762"/>
                  </a:lnTo>
                  <a:lnTo>
                    <a:pt x="882" y="756"/>
                  </a:lnTo>
                  <a:lnTo>
                    <a:pt x="876" y="756"/>
                  </a:lnTo>
                  <a:lnTo>
                    <a:pt x="876" y="762"/>
                  </a:lnTo>
                  <a:lnTo>
                    <a:pt x="864" y="768"/>
                  </a:lnTo>
                  <a:lnTo>
                    <a:pt x="858" y="774"/>
                  </a:lnTo>
                  <a:lnTo>
                    <a:pt x="852" y="774"/>
                  </a:lnTo>
                  <a:lnTo>
                    <a:pt x="840" y="780"/>
                  </a:lnTo>
                  <a:lnTo>
                    <a:pt x="840" y="786"/>
                  </a:lnTo>
                  <a:lnTo>
                    <a:pt x="840" y="792"/>
                  </a:lnTo>
                  <a:lnTo>
                    <a:pt x="840" y="804"/>
                  </a:lnTo>
                  <a:lnTo>
                    <a:pt x="840" y="810"/>
                  </a:lnTo>
                  <a:lnTo>
                    <a:pt x="828" y="816"/>
                  </a:lnTo>
                  <a:lnTo>
                    <a:pt x="810" y="810"/>
                  </a:lnTo>
                  <a:lnTo>
                    <a:pt x="792" y="810"/>
                  </a:lnTo>
                  <a:lnTo>
                    <a:pt x="786" y="816"/>
                  </a:lnTo>
                  <a:lnTo>
                    <a:pt x="780" y="816"/>
                  </a:lnTo>
                  <a:lnTo>
                    <a:pt x="780" y="822"/>
                  </a:lnTo>
                  <a:lnTo>
                    <a:pt x="780" y="828"/>
                  </a:lnTo>
                  <a:lnTo>
                    <a:pt x="780" y="834"/>
                  </a:lnTo>
                  <a:lnTo>
                    <a:pt x="786" y="840"/>
                  </a:lnTo>
                  <a:lnTo>
                    <a:pt x="786" y="846"/>
                  </a:lnTo>
                  <a:lnTo>
                    <a:pt x="786" y="852"/>
                  </a:lnTo>
                  <a:lnTo>
                    <a:pt x="780" y="858"/>
                  </a:lnTo>
                  <a:lnTo>
                    <a:pt x="768" y="858"/>
                  </a:lnTo>
                  <a:lnTo>
                    <a:pt x="762" y="864"/>
                  </a:lnTo>
                  <a:lnTo>
                    <a:pt x="756" y="864"/>
                  </a:lnTo>
                  <a:lnTo>
                    <a:pt x="750" y="870"/>
                  </a:lnTo>
                  <a:lnTo>
                    <a:pt x="744" y="876"/>
                  </a:lnTo>
                  <a:lnTo>
                    <a:pt x="732" y="876"/>
                  </a:lnTo>
                  <a:lnTo>
                    <a:pt x="726" y="876"/>
                  </a:lnTo>
                  <a:lnTo>
                    <a:pt x="720" y="870"/>
                  </a:lnTo>
                  <a:lnTo>
                    <a:pt x="714" y="864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6" y="876"/>
                  </a:lnTo>
                  <a:lnTo>
                    <a:pt x="696" y="882"/>
                  </a:lnTo>
                  <a:lnTo>
                    <a:pt x="696" y="894"/>
                  </a:lnTo>
                  <a:lnTo>
                    <a:pt x="690" y="900"/>
                  </a:lnTo>
                  <a:lnTo>
                    <a:pt x="684" y="900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54" y="888"/>
                  </a:lnTo>
                  <a:lnTo>
                    <a:pt x="654" y="882"/>
                  </a:lnTo>
                  <a:lnTo>
                    <a:pt x="642" y="876"/>
                  </a:lnTo>
                  <a:lnTo>
                    <a:pt x="636" y="876"/>
                  </a:lnTo>
                  <a:lnTo>
                    <a:pt x="630" y="876"/>
                  </a:lnTo>
                  <a:lnTo>
                    <a:pt x="630" y="870"/>
                  </a:lnTo>
                  <a:lnTo>
                    <a:pt x="618" y="858"/>
                  </a:lnTo>
                  <a:lnTo>
                    <a:pt x="612" y="858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06" y="876"/>
                  </a:lnTo>
                  <a:lnTo>
                    <a:pt x="606" y="882"/>
                  </a:lnTo>
                  <a:lnTo>
                    <a:pt x="606" y="888"/>
                  </a:lnTo>
                  <a:lnTo>
                    <a:pt x="600" y="894"/>
                  </a:lnTo>
                  <a:lnTo>
                    <a:pt x="594" y="894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76" y="894"/>
                  </a:lnTo>
                  <a:lnTo>
                    <a:pt x="582" y="900"/>
                  </a:lnTo>
                  <a:lnTo>
                    <a:pt x="576" y="906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64" y="918"/>
                  </a:lnTo>
                  <a:lnTo>
                    <a:pt x="558" y="918"/>
                  </a:lnTo>
                  <a:lnTo>
                    <a:pt x="558" y="912"/>
                  </a:lnTo>
                  <a:lnTo>
                    <a:pt x="552" y="906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06"/>
                  </a:lnTo>
                  <a:lnTo>
                    <a:pt x="534" y="906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0" y="924"/>
                  </a:lnTo>
                  <a:lnTo>
                    <a:pt x="504" y="924"/>
                  </a:lnTo>
                  <a:lnTo>
                    <a:pt x="498" y="930"/>
                  </a:lnTo>
                  <a:lnTo>
                    <a:pt x="492" y="924"/>
                  </a:lnTo>
                  <a:lnTo>
                    <a:pt x="486" y="930"/>
                  </a:lnTo>
                  <a:lnTo>
                    <a:pt x="480" y="942"/>
                  </a:lnTo>
                  <a:lnTo>
                    <a:pt x="468" y="948"/>
                  </a:lnTo>
                  <a:lnTo>
                    <a:pt x="444" y="942"/>
                  </a:lnTo>
                  <a:lnTo>
                    <a:pt x="438" y="954"/>
                  </a:lnTo>
                  <a:lnTo>
                    <a:pt x="426" y="954"/>
                  </a:lnTo>
                  <a:lnTo>
                    <a:pt x="420" y="948"/>
                  </a:lnTo>
                  <a:lnTo>
                    <a:pt x="408" y="936"/>
                  </a:lnTo>
                  <a:lnTo>
                    <a:pt x="396" y="936"/>
                  </a:lnTo>
                  <a:lnTo>
                    <a:pt x="390" y="930"/>
                  </a:lnTo>
                  <a:lnTo>
                    <a:pt x="390" y="924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66" y="924"/>
                  </a:lnTo>
                  <a:lnTo>
                    <a:pt x="360" y="924"/>
                  </a:lnTo>
                  <a:lnTo>
                    <a:pt x="348" y="918"/>
                  </a:lnTo>
                  <a:lnTo>
                    <a:pt x="342" y="906"/>
                  </a:lnTo>
                  <a:lnTo>
                    <a:pt x="336" y="906"/>
                  </a:lnTo>
                  <a:lnTo>
                    <a:pt x="330" y="906"/>
                  </a:lnTo>
                  <a:lnTo>
                    <a:pt x="312" y="906"/>
                  </a:lnTo>
                  <a:lnTo>
                    <a:pt x="312" y="900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888"/>
                  </a:lnTo>
                  <a:lnTo>
                    <a:pt x="312" y="882"/>
                  </a:lnTo>
                  <a:lnTo>
                    <a:pt x="306" y="876"/>
                  </a:lnTo>
                  <a:lnTo>
                    <a:pt x="312" y="876"/>
                  </a:lnTo>
                  <a:lnTo>
                    <a:pt x="312" y="870"/>
                  </a:lnTo>
                  <a:lnTo>
                    <a:pt x="318" y="876"/>
                  </a:lnTo>
                  <a:lnTo>
                    <a:pt x="318" y="870"/>
                  </a:lnTo>
                  <a:lnTo>
                    <a:pt x="324" y="876"/>
                  </a:lnTo>
                  <a:lnTo>
                    <a:pt x="330" y="876"/>
                  </a:lnTo>
                  <a:lnTo>
                    <a:pt x="336" y="876"/>
                  </a:lnTo>
                  <a:lnTo>
                    <a:pt x="342" y="876"/>
                  </a:lnTo>
                  <a:lnTo>
                    <a:pt x="336" y="876"/>
                  </a:lnTo>
                  <a:lnTo>
                    <a:pt x="330" y="870"/>
                  </a:lnTo>
                  <a:lnTo>
                    <a:pt x="324" y="870"/>
                  </a:lnTo>
                  <a:lnTo>
                    <a:pt x="318" y="870"/>
                  </a:lnTo>
                  <a:lnTo>
                    <a:pt x="312" y="870"/>
                  </a:lnTo>
                  <a:lnTo>
                    <a:pt x="318" y="864"/>
                  </a:lnTo>
                  <a:lnTo>
                    <a:pt x="318" y="858"/>
                  </a:lnTo>
                  <a:lnTo>
                    <a:pt x="318" y="852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6" y="846"/>
                  </a:lnTo>
                  <a:lnTo>
                    <a:pt x="312" y="828"/>
                  </a:lnTo>
                  <a:lnTo>
                    <a:pt x="312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06" y="816"/>
                  </a:lnTo>
                  <a:lnTo>
                    <a:pt x="306" y="810"/>
                  </a:lnTo>
                  <a:lnTo>
                    <a:pt x="306" y="816"/>
                  </a:lnTo>
                  <a:lnTo>
                    <a:pt x="312" y="822"/>
                  </a:lnTo>
                  <a:lnTo>
                    <a:pt x="306" y="822"/>
                  </a:lnTo>
                  <a:lnTo>
                    <a:pt x="306" y="828"/>
                  </a:lnTo>
                  <a:lnTo>
                    <a:pt x="306" y="834"/>
                  </a:lnTo>
                  <a:lnTo>
                    <a:pt x="300" y="840"/>
                  </a:lnTo>
                  <a:lnTo>
                    <a:pt x="300" y="846"/>
                  </a:lnTo>
                  <a:lnTo>
                    <a:pt x="306" y="852"/>
                  </a:lnTo>
                  <a:lnTo>
                    <a:pt x="306" y="858"/>
                  </a:lnTo>
                  <a:lnTo>
                    <a:pt x="312" y="858"/>
                  </a:lnTo>
                  <a:lnTo>
                    <a:pt x="312" y="864"/>
                  </a:lnTo>
                  <a:lnTo>
                    <a:pt x="306" y="864"/>
                  </a:lnTo>
                  <a:lnTo>
                    <a:pt x="300" y="864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82" y="870"/>
                  </a:lnTo>
                  <a:lnTo>
                    <a:pt x="276" y="870"/>
                  </a:lnTo>
                  <a:lnTo>
                    <a:pt x="270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8" y="870"/>
                  </a:lnTo>
                  <a:lnTo>
                    <a:pt x="252" y="870"/>
                  </a:lnTo>
                  <a:lnTo>
                    <a:pt x="252" y="864"/>
                  </a:lnTo>
                  <a:lnTo>
                    <a:pt x="246" y="858"/>
                  </a:lnTo>
                  <a:lnTo>
                    <a:pt x="246" y="852"/>
                  </a:lnTo>
                  <a:lnTo>
                    <a:pt x="246" y="846"/>
                  </a:lnTo>
                  <a:lnTo>
                    <a:pt x="246" y="840"/>
                  </a:lnTo>
                  <a:lnTo>
                    <a:pt x="246" y="834"/>
                  </a:lnTo>
                  <a:lnTo>
                    <a:pt x="246" y="828"/>
                  </a:lnTo>
                  <a:lnTo>
                    <a:pt x="246" y="822"/>
                  </a:lnTo>
                  <a:lnTo>
                    <a:pt x="240" y="816"/>
                  </a:lnTo>
                  <a:lnTo>
                    <a:pt x="240" y="810"/>
                  </a:lnTo>
                  <a:lnTo>
                    <a:pt x="240" y="804"/>
                  </a:lnTo>
                  <a:lnTo>
                    <a:pt x="240" y="798"/>
                  </a:lnTo>
                  <a:lnTo>
                    <a:pt x="234" y="798"/>
                  </a:lnTo>
                  <a:lnTo>
                    <a:pt x="234" y="792"/>
                  </a:lnTo>
                  <a:lnTo>
                    <a:pt x="234" y="786"/>
                  </a:lnTo>
                  <a:lnTo>
                    <a:pt x="234" y="780"/>
                  </a:lnTo>
                  <a:lnTo>
                    <a:pt x="228" y="780"/>
                  </a:lnTo>
                  <a:lnTo>
                    <a:pt x="228" y="774"/>
                  </a:lnTo>
                  <a:lnTo>
                    <a:pt x="228" y="768"/>
                  </a:lnTo>
                  <a:lnTo>
                    <a:pt x="222" y="762"/>
                  </a:lnTo>
                  <a:lnTo>
                    <a:pt x="222" y="756"/>
                  </a:lnTo>
                  <a:lnTo>
                    <a:pt x="222" y="750"/>
                  </a:lnTo>
                  <a:lnTo>
                    <a:pt x="222" y="744"/>
                  </a:lnTo>
                  <a:lnTo>
                    <a:pt x="222" y="738"/>
                  </a:lnTo>
                  <a:lnTo>
                    <a:pt x="216" y="732"/>
                  </a:lnTo>
                  <a:lnTo>
                    <a:pt x="222" y="732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32"/>
                  </a:lnTo>
                  <a:lnTo>
                    <a:pt x="246" y="732"/>
                  </a:lnTo>
                  <a:lnTo>
                    <a:pt x="246" y="738"/>
                  </a:lnTo>
                  <a:lnTo>
                    <a:pt x="252" y="738"/>
                  </a:lnTo>
                  <a:lnTo>
                    <a:pt x="258" y="738"/>
                  </a:lnTo>
                  <a:lnTo>
                    <a:pt x="258" y="732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8" y="732"/>
                  </a:lnTo>
                  <a:lnTo>
                    <a:pt x="294" y="732"/>
                  </a:lnTo>
                  <a:lnTo>
                    <a:pt x="300" y="732"/>
                  </a:lnTo>
                  <a:lnTo>
                    <a:pt x="300" y="738"/>
                  </a:lnTo>
                  <a:lnTo>
                    <a:pt x="306" y="738"/>
                  </a:lnTo>
                  <a:lnTo>
                    <a:pt x="306" y="744"/>
                  </a:lnTo>
                  <a:lnTo>
                    <a:pt x="306" y="750"/>
                  </a:lnTo>
                  <a:lnTo>
                    <a:pt x="312" y="750"/>
                  </a:lnTo>
                  <a:lnTo>
                    <a:pt x="312" y="756"/>
                  </a:lnTo>
                  <a:lnTo>
                    <a:pt x="318" y="756"/>
                  </a:lnTo>
                  <a:lnTo>
                    <a:pt x="318" y="750"/>
                  </a:lnTo>
                  <a:lnTo>
                    <a:pt x="312" y="750"/>
                  </a:lnTo>
                  <a:lnTo>
                    <a:pt x="312" y="744"/>
                  </a:lnTo>
                  <a:lnTo>
                    <a:pt x="318" y="738"/>
                  </a:lnTo>
                  <a:lnTo>
                    <a:pt x="324" y="738"/>
                  </a:lnTo>
                  <a:lnTo>
                    <a:pt x="330" y="738"/>
                  </a:lnTo>
                  <a:lnTo>
                    <a:pt x="336" y="738"/>
                  </a:lnTo>
                  <a:lnTo>
                    <a:pt x="342" y="738"/>
                  </a:lnTo>
                  <a:lnTo>
                    <a:pt x="348" y="732"/>
                  </a:lnTo>
                  <a:lnTo>
                    <a:pt x="354" y="732"/>
                  </a:lnTo>
                  <a:lnTo>
                    <a:pt x="360" y="732"/>
                  </a:lnTo>
                  <a:lnTo>
                    <a:pt x="360" y="726"/>
                  </a:lnTo>
                  <a:lnTo>
                    <a:pt x="366" y="726"/>
                  </a:lnTo>
                  <a:lnTo>
                    <a:pt x="366" y="720"/>
                  </a:lnTo>
                  <a:lnTo>
                    <a:pt x="366" y="714"/>
                  </a:lnTo>
                  <a:lnTo>
                    <a:pt x="360" y="708"/>
                  </a:lnTo>
                  <a:lnTo>
                    <a:pt x="354" y="708"/>
                  </a:lnTo>
                  <a:lnTo>
                    <a:pt x="348" y="702"/>
                  </a:lnTo>
                  <a:lnTo>
                    <a:pt x="354" y="702"/>
                  </a:lnTo>
                  <a:lnTo>
                    <a:pt x="354" y="696"/>
                  </a:lnTo>
                  <a:lnTo>
                    <a:pt x="348" y="696"/>
                  </a:lnTo>
                  <a:lnTo>
                    <a:pt x="348" y="690"/>
                  </a:lnTo>
                  <a:lnTo>
                    <a:pt x="342" y="690"/>
                  </a:lnTo>
                  <a:lnTo>
                    <a:pt x="342" y="684"/>
                  </a:lnTo>
                  <a:lnTo>
                    <a:pt x="342" y="678"/>
                  </a:lnTo>
                  <a:lnTo>
                    <a:pt x="342" y="666"/>
                  </a:lnTo>
                  <a:lnTo>
                    <a:pt x="342" y="660"/>
                  </a:lnTo>
                  <a:lnTo>
                    <a:pt x="348" y="654"/>
                  </a:lnTo>
                  <a:lnTo>
                    <a:pt x="348" y="642"/>
                  </a:lnTo>
                  <a:lnTo>
                    <a:pt x="354" y="642"/>
                  </a:lnTo>
                  <a:lnTo>
                    <a:pt x="360" y="642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66" y="642"/>
                  </a:lnTo>
                  <a:lnTo>
                    <a:pt x="372" y="642"/>
                  </a:lnTo>
                  <a:lnTo>
                    <a:pt x="378" y="642"/>
                  </a:lnTo>
                  <a:lnTo>
                    <a:pt x="384" y="642"/>
                  </a:lnTo>
                  <a:lnTo>
                    <a:pt x="390" y="642"/>
                  </a:lnTo>
                  <a:lnTo>
                    <a:pt x="396" y="642"/>
                  </a:lnTo>
                  <a:lnTo>
                    <a:pt x="396" y="636"/>
                  </a:lnTo>
                  <a:lnTo>
                    <a:pt x="402" y="636"/>
                  </a:lnTo>
                  <a:lnTo>
                    <a:pt x="408" y="636"/>
                  </a:lnTo>
                  <a:lnTo>
                    <a:pt x="402" y="636"/>
                  </a:lnTo>
                  <a:lnTo>
                    <a:pt x="402" y="630"/>
                  </a:lnTo>
                  <a:lnTo>
                    <a:pt x="408" y="630"/>
                  </a:lnTo>
                  <a:lnTo>
                    <a:pt x="408" y="624"/>
                  </a:lnTo>
                  <a:lnTo>
                    <a:pt x="408" y="618"/>
                  </a:lnTo>
                  <a:lnTo>
                    <a:pt x="414" y="618"/>
                  </a:lnTo>
                  <a:lnTo>
                    <a:pt x="420" y="618"/>
                  </a:lnTo>
                  <a:lnTo>
                    <a:pt x="426" y="624"/>
                  </a:lnTo>
                  <a:lnTo>
                    <a:pt x="432" y="624"/>
                  </a:lnTo>
                  <a:lnTo>
                    <a:pt x="438" y="624"/>
                  </a:lnTo>
                  <a:lnTo>
                    <a:pt x="438" y="618"/>
                  </a:lnTo>
                  <a:lnTo>
                    <a:pt x="444" y="618"/>
                  </a:lnTo>
                  <a:lnTo>
                    <a:pt x="450" y="618"/>
                  </a:lnTo>
                  <a:lnTo>
                    <a:pt x="444" y="618"/>
                  </a:lnTo>
                  <a:lnTo>
                    <a:pt x="438" y="618"/>
                  </a:lnTo>
                  <a:lnTo>
                    <a:pt x="438" y="612"/>
                  </a:lnTo>
                  <a:lnTo>
                    <a:pt x="438" y="618"/>
                  </a:lnTo>
                  <a:lnTo>
                    <a:pt x="432" y="624"/>
                  </a:lnTo>
                  <a:lnTo>
                    <a:pt x="426" y="618"/>
                  </a:lnTo>
                  <a:lnTo>
                    <a:pt x="420" y="612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402" y="624"/>
                  </a:lnTo>
                  <a:lnTo>
                    <a:pt x="396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78" y="630"/>
                  </a:lnTo>
                  <a:lnTo>
                    <a:pt x="378" y="636"/>
                  </a:lnTo>
                  <a:lnTo>
                    <a:pt x="372" y="630"/>
                  </a:lnTo>
                  <a:lnTo>
                    <a:pt x="366" y="630"/>
                  </a:lnTo>
                  <a:lnTo>
                    <a:pt x="360" y="630"/>
                  </a:lnTo>
                  <a:lnTo>
                    <a:pt x="354" y="630"/>
                  </a:lnTo>
                  <a:lnTo>
                    <a:pt x="354" y="636"/>
                  </a:lnTo>
                  <a:lnTo>
                    <a:pt x="348" y="636"/>
                  </a:lnTo>
                  <a:lnTo>
                    <a:pt x="348" y="642"/>
                  </a:lnTo>
                  <a:lnTo>
                    <a:pt x="342" y="642"/>
                  </a:lnTo>
                  <a:lnTo>
                    <a:pt x="342" y="648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6" y="660"/>
                  </a:lnTo>
                  <a:lnTo>
                    <a:pt x="336" y="666"/>
                  </a:lnTo>
                  <a:lnTo>
                    <a:pt x="330" y="672"/>
                  </a:lnTo>
                  <a:lnTo>
                    <a:pt x="330" y="678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24" y="696"/>
                  </a:lnTo>
                  <a:lnTo>
                    <a:pt x="324" y="702"/>
                  </a:lnTo>
                  <a:lnTo>
                    <a:pt x="318" y="702"/>
                  </a:lnTo>
                  <a:lnTo>
                    <a:pt x="318" y="708"/>
                  </a:lnTo>
                  <a:lnTo>
                    <a:pt x="312" y="708"/>
                  </a:lnTo>
                  <a:lnTo>
                    <a:pt x="312" y="702"/>
                  </a:lnTo>
                  <a:lnTo>
                    <a:pt x="306" y="702"/>
                  </a:lnTo>
                  <a:lnTo>
                    <a:pt x="300" y="702"/>
                  </a:lnTo>
                  <a:lnTo>
                    <a:pt x="294" y="696"/>
                  </a:lnTo>
                  <a:lnTo>
                    <a:pt x="288" y="696"/>
                  </a:lnTo>
                  <a:lnTo>
                    <a:pt x="282" y="690"/>
                  </a:lnTo>
                  <a:lnTo>
                    <a:pt x="288" y="684"/>
                  </a:lnTo>
                  <a:lnTo>
                    <a:pt x="294" y="684"/>
                  </a:lnTo>
                  <a:lnTo>
                    <a:pt x="294" y="678"/>
                  </a:lnTo>
                  <a:lnTo>
                    <a:pt x="300" y="678"/>
                  </a:lnTo>
                  <a:lnTo>
                    <a:pt x="294" y="678"/>
                  </a:lnTo>
                  <a:lnTo>
                    <a:pt x="294" y="672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94" y="672"/>
                  </a:lnTo>
                  <a:lnTo>
                    <a:pt x="288" y="678"/>
                  </a:lnTo>
                  <a:lnTo>
                    <a:pt x="282" y="684"/>
                  </a:lnTo>
                  <a:lnTo>
                    <a:pt x="282" y="678"/>
                  </a:lnTo>
                  <a:lnTo>
                    <a:pt x="276" y="678"/>
                  </a:lnTo>
                  <a:lnTo>
                    <a:pt x="282" y="684"/>
                  </a:lnTo>
                  <a:lnTo>
                    <a:pt x="282" y="690"/>
                  </a:lnTo>
                  <a:lnTo>
                    <a:pt x="282" y="696"/>
                  </a:lnTo>
                  <a:lnTo>
                    <a:pt x="288" y="702"/>
                  </a:lnTo>
                  <a:lnTo>
                    <a:pt x="294" y="708"/>
                  </a:lnTo>
                  <a:lnTo>
                    <a:pt x="294" y="714"/>
                  </a:lnTo>
                  <a:lnTo>
                    <a:pt x="288" y="714"/>
                  </a:lnTo>
                  <a:lnTo>
                    <a:pt x="282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64" y="714"/>
                  </a:lnTo>
                  <a:lnTo>
                    <a:pt x="258" y="714"/>
                  </a:lnTo>
                  <a:lnTo>
                    <a:pt x="252" y="714"/>
                  </a:lnTo>
                  <a:lnTo>
                    <a:pt x="246" y="714"/>
                  </a:lnTo>
                  <a:lnTo>
                    <a:pt x="240" y="714"/>
                  </a:lnTo>
                  <a:lnTo>
                    <a:pt x="240" y="708"/>
                  </a:lnTo>
                  <a:lnTo>
                    <a:pt x="234" y="708"/>
                  </a:lnTo>
                  <a:lnTo>
                    <a:pt x="228" y="708"/>
                  </a:lnTo>
                  <a:lnTo>
                    <a:pt x="222" y="702"/>
                  </a:lnTo>
                  <a:lnTo>
                    <a:pt x="216" y="702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2" y="690"/>
                  </a:lnTo>
                  <a:lnTo>
                    <a:pt x="186" y="690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68" y="684"/>
                  </a:lnTo>
                  <a:lnTo>
                    <a:pt x="168" y="678"/>
                  </a:lnTo>
                  <a:lnTo>
                    <a:pt x="156" y="672"/>
                  </a:lnTo>
                  <a:lnTo>
                    <a:pt x="150" y="660"/>
                  </a:lnTo>
                  <a:lnTo>
                    <a:pt x="126" y="630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12"/>
                  </a:lnTo>
                  <a:lnTo>
                    <a:pt x="126" y="606"/>
                  </a:lnTo>
                  <a:lnTo>
                    <a:pt x="126" y="600"/>
                  </a:lnTo>
                  <a:lnTo>
                    <a:pt x="132" y="594"/>
                  </a:lnTo>
                  <a:lnTo>
                    <a:pt x="138" y="594"/>
                  </a:lnTo>
                  <a:lnTo>
                    <a:pt x="144" y="588"/>
                  </a:lnTo>
                  <a:lnTo>
                    <a:pt x="144" y="582"/>
                  </a:lnTo>
                  <a:lnTo>
                    <a:pt x="150" y="582"/>
                  </a:lnTo>
                  <a:lnTo>
                    <a:pt x="150" y="576"/>
                  </a:lnTo>
                  <a:lnTo>
                    <a:pt x="156" y="576"/>
                  </a:lnTo>
                  <a:lnTo>
                    <a:pt x="156" y="582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8" y="576"/>
                  </a:lnTo>
                  <a:lnTo>
                    <a:pt x="174" y="576"/>
                  </a:lnTo>
                  <a:lnTo>
                    <a:pt x="180" y="582"/>
                  </a:lnTo>
                  <a:lnTo>
                    <a:pt x="192" y="582"/>
                  </a:lnTo>
                  <a:lnTo>
                    <a:pt x="198" y="582"/>
                  </a:lnTo>
                  <a:lnTo>
                    <a:pt x="204" y="582"/>
                  </a:lnTo>
                  <a:lnTo>
                    <a:pt x="210" y="582"/>
                  </a:lnTo>
                  <a:lnTo>
                    <a:pt x="216" y="588"/>
                  </a:lnTo>
                  <a:lnTo>
                    <a:pt x="222" y="588"/>
                  </a:lnTo>
                  <a:lnTo>
                    <a:pt x="234" y="588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46" y="594"/>
                  </a:lnTo>
                  <a:lnTo>
                    <a:pt x="252" y="588"/>
                  </a:lnTo>
                  <a:lnTo>
                    <a:pt x="258" y="588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52" y="600"/>
                  </a:lnTo>
                  <a:lnTo>
                    <a:pt x="246" y="600"/>
                  </a:lnTo>
                  <a:lnTo>
                    <a:pt x="246" y="606"/>
                  </a:lnTo>
                  <a:lnTo>
                    <a:pt x="246" y="600"/>
                  </a:lnTo>
                  <a:lnTo>
                    <a:pt x="252" y="600"/>
                  </a:lnTo>
                  <a:lnTo>
                    <a:pt x="258" y="594"/>
                  </a:lnTo>
                  <a:lnTo>
                    <a:pt x="264" y="594"/>
                  </a:lnTo>
                  <a:lnTo>
                    <a:pt x="264" y="588"/>
                  </a:lnTo>
                  <a:lnTo>
                    <a:pt x="270" y="588"/>
                  </a:lnTo>
                  <a:lnTo>
                    <a:pt x="270" y="582"/>
                  </a:lnTo>
                  <a:lnTo>
                    <a:pt x="270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76" y="564"/>
                  </a:lnTo>
                  <a:lnTo>
                    <a:pt x="270" y="558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58"/>
                  </a:lnTo>
                  <a:lnTo>
                    <a:pt x="282" y="558"/>
                  </a:lnTo>
                  <a:lnTo>
                    <a:pt x="288" y="558"/>
                  </a:lnTo>
                  <a:lnTo>
                    <a:pt x="294" y="558"/>
                  </a:lnTo>
                  <a:lnTo>
                    <a:pt x="300" y="558"/>
                  </a:lnTo>
                  <a:lnTo>
                    <a:pt x="306" y="558"/>
                  </a:lnTo>
                  <a:lnTo>
                    <a:pt x="312" y="558"/>
                  </a:lnTo>
                  <a:lnTo>
                    <a:pt x="318" y="558"/>
                  </a:lnTo>
                  <a:lnTo>
                    <a:pt x="318" y="564"/>
                  </a:lnTo>
                  <a:lnTo>
                    <a:pt x="324" y="564"/>
                  </a:lnTo>
                  <a:lnTo>
                    <a:pt x="324" y="570"/>
                  </a:lnTo>
                  <a:lnTo>
                    <a:pt x="330" y="570"/>
                  </a:lnTo>
                  <a:lnTo>
                    <a:pt x="336" y="570"/>
                  </a:lnTo>
                  <a:lnTo>
                    <a:pt x="342" y="570"/>
                  </a:lnTo>
                  <a:lnTo>
                    <a:pt x="348" y="570"/>
                  </a:lnTo>
                  <a:lnTo>
                    <a:pt x="354" y="570"/>
                  </a:lnTo>
                  <a:lnTo>
                    <a:pt x="360" y="570"/>
                  </a:lnTo>
                  <a:lnTo>
                    <a:pt x="366" y="570"/>
                  </a:lnTo>
                  <a:lnTo>
                    <a:pt x="360" y="570"/>
                  </a:lnTo>
                  <a:lnTo>
                    <a:pt x="360" y="564"/>
                  </a:lnTo>
                  <a:lnTo>
                    <a:pt x="354" y="564"/>
                  </a:lnTo>
                  <a:lnTo>
                    <a:pt x="348" y="564"/>
                  </a:lnTo>
                  <a:lnTo>
                    <a:pt x="342" y="564"/>
                  </a:lnTo>
                  <a:lnTo>
                    <a:pt x="342" y="570"/>
                  </a:lnTo>
                  <a:lnTo>
                    <a:pt x="336" y="564"/>
                  </a:lnTo>
                  <a:lnTo>
                    <a:pt x="336" y="570"/>
                  </a:lnTo>
                  <a:lnTo>
                    <a:pt x="336" y="564"/>
                  </a:lnTo>
                  <a:lnTo>
                    <a:pt x="330" y="564"/>
                  </a:lnTo>
                  <a:lnTo>
                    <a:pt x="324" y="558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18" y="558"/>
                  </a:lnTo>
                  <a:lnTo>
                    <a:pt x="312" y="552"/>
                  </a:lnTo>
                  <a:lnTo>
                    <a:pt x="312" y="558"/>
                  </a:lnTo>
                  <a:lnTo>
                    <a:pt x="312" y="552"/>
                  </a:lnTo>
                  <a:lnTo>
                    <a:pt x="306" y="552"/>
                  </a:lnTo>
                  <a:lnTo>
                    <a:pt x="300" y="546"/>
                  </a:lnTo>
                  <a:lnTo>
                    <a:pt x="294" y="546"/>
                  </a:lnTo>
                  <a:lnTo>
                    <a:pt x="288" y="546"/>
                  </a:lnTo>
                  <a:lnTo>
                    <a:pt x="282" y="546"/>
                  </a:lnTo>
                  <a:lnTo>
                    <a:pt x="276" y="546"/>
                  </a:lnTo>
                  <a:lnTo>
                    <a:pt x="276" y="552"/>
                  </a:lnTo>
                  <a:lnTo>
                    <a:pt x="270" y="552"/>
                  </a:lnTo>
                  <a:lnTo>
                    <a:pt x="270" y="558"/>
                  </a:lnTo>
                  <a:lnTo>
                    <a:pt x="270" y="564"/>
                  </a:lnTo>
                  <a:lnTo>
                    <a:pt x="264" y="570"/>
                  </a:lnTo>
                  <a:lnTo>
                    <a:pt x="258" y="576"/>
                  </a:lnTo>
                  <a:lnTo>
                    <a:pt x="258" y="582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34" y="576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16" y="552"/>
                  </a:lnTo>
                  <a:lnTo>
                    <a:pt x="216" y="546"/>
                  </a:lnTo>
                  <a:lnTo>
                    <a:pt x="216" y="540"/>
                  </a:lnTo>
                  <a:lnTo>
                    <a:pt x="222" y="534"/>
                  </a:lnTo>
                  <a:lnTo>
                    <a:pt x="222" y="528"/>
                  </a:lnTo>
                  <a:lnTo>
                    <a:pt x="228" y="522"/>
                  </a:lnTo>
                  <a:lnTo>
                    <a:pt x="228" y="516"/>
                  </a:lnTo>
                  <a:lnTo>
                    <a:pt x="228" y="510"/>
                  </a:lnTo>
                  <a:lnTo>
                    <a:pt x="234" y="510"/>
                  </a:lnTo>
                  <a:lnTo>
                    <a:pt x="240" y="516"/>
                  </a:lnTo>
                  <a:lnTo>
                    <a:pt x="246" y="522"/>
                  </a:lnTo>
                  <a:lnTo>
                    <a:pt x="246" y="516"/>
                  </a:lnTo>
                  <a:lnTo>
                    <a:pt x="240" y="516"/>
                  </a:lnTo>
                  <a:lnTo>
                    <a:pt x="240" y="510"/>
                  </a:lnTo>
                  <a:lnTo>
                    <a:pt x="234" y="510"/>
                  </a:lnTo>
                  <a:lnTo>
                    <a:pt x="234" y="504"/>
                  </a:lnTo>
                  <a:lnTo>
                    <a:pt x="228" y="504"/>
                  </a:lnTo>
                  <a:lnTo>
                    <a:pt x="222" y="504"/>
                  </a:lnTo>
                  <a:lnTo>
                    <a:pt x="222" y="498"/>
                  </a:lnTo>
                  <a:lnTo>
                    <a:pt x="222" y="504"/>
                  </a:lnTo>
                  <a:lnTo>
                    <a:pt x="222" y="510"/>
                  </a:lnTo>
                  <a:lnTo>
                    <a:pt x="222" y="516"/>
                  </a:lnTo>
                  <a:lnTo>
                    <a:pt x="216" y="522"/>
                  </a:lnTo>
                  <a:lnTo>
                    <a:pt x="216" y="528"/>
                  </a:lnTo>
                  <a:lnTo>
                    <a:pt x="210" y="528"/>
                  </a:lnTo>
                  <a:lnTo>
                    <a:pt x="216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04" y="546"/>
                  </a:lnTo>
                  <a:lnTo>
                    <a:pt x="204" y="552"/>
                  </a:lnTo>
                  <a:lnTo>
                    <a:pt x="204" y="558"/>
                  </a:lnTo>
                  <a:lnTo>
                    <a:pt x="204" y="564"/>
                  </a:lnTo>
                  <a:lnTo>
                    <a:pt x="198" y="570"/>
                  </a:lnTo>
                  <a:lnTo>
                    <a:pt x="192" y="564"/>
                  </a:lnTo>
                  <a:lnTo>
                    <a:pt x="186" y="564"/>
                  </a:lnTo>
                  <a:lnTo>
                    <a:pt x="180" y="564"/>
                  </a:lnTo>
                  <a:lnTo>
                    <a:pt x="174" y="564"/>
                  </a:lnTo>
                  <a:lnTo>
                    <a:pt x="168" y="564"/>
                  </a:lnTo>
                  <a:lnTo>
                    <a:pt x="162" y="564"/>
                  </a:lnTo>
                  <a:lnTo>
                    <a:pt x="156" y="570"/>
                  </a:lnTo>
                  <a:lnTo>
                    <a:pt x="150" y="570"/>
                  </a:lnTo>
                  <a:lnTo>
                    <a:pt x="150" y="564"/>
                  </a:lnTo>
                  <a:lnTo>
                    <a:pt x="150" y="570"/>
                  </a:lnTo>
                  <a:lnTo>
                    <a:pt x="150" y="576"/>
                  </a:lnTo>
                  <a:lnTo>
                    <a:pt x="144" y="576"/>
                  </a:lnTo>
                  <a:lnTo>
                    <a:pt x="138" y="576"/>
                  </a:lnTo>
                  <a:lnTo>
                    <a:pt x="132" y="582"/>
                  </a:lnTo>
                  <a:lnTo>
                    <a:pt x="126" y="582"/>
                  </a:lnTo>
                  <a:lnTo>
                    <a:pt x="120" y="582"/>
                  </a:lnTo>
                  <a:lnTo>
                    <a:pt x="114" y="576"/>
                  </a:lnTo>
                  <a:lnTo>
                    <a:pt x="108" y="564"/>
                  </a:lnTo>
                  <a:lnTo>
                    <a:pt x="102" y="558"/>
                  </a:lnTo>
                  <a:lnTo>
                    <a:pt x="96" y="552"/>
                  </a:lnTo>
                  <a:lnTo>
                    <a:pt x="90" y="546"/>
                  </a:lnTo>
                  <a:lnTo>
                    <a:pt x="90" y="540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2"/>
                  </a:lnTo>
                  <a:lnTo>
                    <a:pt x="78" y="516"/>
                  </a:lnTo>
                  <a:lnTo>
                    <a:pt x="72" y="510"/>
                  </a:lnTo>
                  <a:lnTo>
                    <a:pt x="66" y="504"/>
                  </a:lnTo>
                  <a:lnTo>
                    <a:pt x="66" y="498"/>
                  </a:lnTo>
                  <a:lnTo>
                    <a:pt x="66" y="492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6" y="474"/>
                  </a:lnTo>
                  <a:lnTo>
                    <a:pt x="72" y="474"/>
                  </a:lnTo>
                  <a:lnTo>
                    <a:pt x="72" y="468"/>
                  </a:lnTo>
                  <a:lnTo>
                    <a:pt x="78" y="462"/>
                  </a:lnTo>
                  <a:lnTo>
                    <a:pt x="78" y="456"/>
                  </a:lnTo>
                  <a:lnTo>
                    <a:pt x="84" y="456"/>
                  </a:lnTo>
                  <a:lnTo>
                    <a:pt x="84" y="450"/>
                  </a:lnTo>
                  <a:lnTo>
                    <a:pt x="84" y="444"/>
                  </a:lnTo>
                  <a:lnTo>
                    <a:pt x="90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02" y="450"/>
                  </a:lnTo>
                  <a:lnTo>
                    <a:pt x="108" y="450"/>
                  </a:lnTo>
                  <a:lnTo>
                    <a:pt x="108" y="456"/>
                  </a:lnTo>
                  <a:lnTo>
                    <a:pt x="108" y="462"/>
                  </a:lnTo>
                  <a:lnTo>
                    <a:pt x="114" y="462"/>
                  </a:lnTo>
                  <a:lnTo>
                    <a:pt x="114" y="468"/>
                  </a:lnTo>
                  <a:lnTo>
                    <a:pt x="114" y="474"/>
                  </a:lnTo>
                  <a:lnTo>
                    <a:pt x="114" y="480"/>
                  </a:lnTo>
                  <a:lnTo>
                    <a:pt x="114" y="486"/>
                  </a:lnTo>
                  <a:lnTo>
                    <a:pt x="120" y="486"/>
                  </a:lnTo>
                  <a:lnTo>
                    <a:pt x="126" y="486"/>
                  </a:lnTo>
                  <a:lnTo>
                    <a:pt x="132" y="486"/>
                  </a:lnTo>
                  <a:lnTo>
                    <a:pt x="126" y="480"/>
                  </a:lnTo>
                  <a:lnTo>
                    <a:pt x="120" y="480"/>
                  </a:lnTo>
                  <a:lnTo>
                    <a:pt x="114" y="480"/>
                  </a:lnTo>
                  <a:lnTo>
                    <a:pt x="120" y="480"/>
                  </a:lnTo>
                  <a:lnTo>
                    <a:pt x="120" y="474"/>
                  </a:lnTo>
                  <a:lnTo>
                    <a:pt x="120" y="468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108" y="450"/>
                  </a:lnTo>
                  <a:lnTo>
                    <a:pt x="108" y="444"/>
                  </a:lnTo>
                  <a:lnTo>
                    <a:pt x="114" y="438"/>
                  </a:lnTo>
                  <a:lnTo>
                    <a:pt x="120" y="438"/>
                  </a:lnTo>
                  <a:lnTo>
                    <a:pt x="120" y="432"/>
                  </a:lnTo>
                  <a:lnTo>
                    <a:pt x="132" y="426"/>
                  </a:lnTo>
                  <a:lnTo>
                    <a:pt x="138" y="420"/>
                  </a:lnTo>
                  <a:lnTo>
                    <a:pt x="144" y="420"/>
                  </a:lnTo>
                  <a:lnTo>
                    <a:pt x="144" y="414"/>
                  </a:lnTo>
                  <a:lnTo>
                    <a:pt x="144" y="420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6" y="414"/>
                  </a:lnTo>
                  <a:lnTo>
                    <a:pt x="162" y="414"/>
                  </a:lnTo>
                  <a:lnTo>
                    <a:pt x="162" y="408"/>
                  </a:lnTo>
                  <a:lnTo>
                    <a:pt x="168" y="408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86" y="396"/>
                  </a:lnTo>
                  <a:lnTo>
                    <a:pt x="186" y="390"/>
                  </a:lnTo>
                  <a:lnTo>
                    <a:pt x="192" y="390"/>
                  </a:lnTo>
                  <a:lnTo>
                    <a:pt x="198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210" y="378"/>
                  </a:lnTo>
                  <a:lnTo>
                    <a:pt x="210" y="372"/>
                  </a:lnTo>
                  <a:lnTo>
                    <a:pt x="216" y="372"/>
                  </a:lnTo>
                  <a:lnTo>
                    <a:pt x="222" y="366"/>
                  </a:lnTo>
                  <a:lnTo>
                    <a:pt x="228" y="360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6" y="348"/>
                  </a:lnTo>
                  <a:lnTo>
                    <a:pt x="252" y="348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0" y="342"/>
                  </a:lnTo>
                  <a:lnTo>
                    <a:pt x="234" y="342"/>
                  </a:lnTo>
                  <a:lnTo>
                    <a:pt x="228" y="336"/>
                  </a:lnTo>
                  <a:lnTo>
                    <a:pt x="222" y="336"/>
                  </a:lnTo>
                  <a:lnTo>
                    <a:pt x="216" y="336"/>
                  </a:lnTo>
                  <a:lnTo>
                    <a:pt x="222" y="324"/>
                  </a:lnTo>
                  <a:lnTo>
                    <a:pt x="222" y="318"/>
                  </a:lnTo>
                  <a:lnTo>
                    <a:pt x="222" y="312"/>
                  </a:lnTo>
                  <a:lnTo>
                    <a:pt x="234" y="318"/>
                  </a:lnTo>
                  <a:lnTo>
                    <a:pt x="246" y="318"/>
                  </a:lnTo>
                  <a:lnTo>
                    <a:pt x="258" y="318"/>
                  </a:lnTo>
                  <a:lnTo>
                    <a:pt x="270" y="312"/>
                  </a:lnTo>
                  <a:lnTo>
                    <a:pt x="276" y="312"/>
                  </a:lnTo>
                  <a:lnTo>
                    <a:pt x="288" y="324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94" y="306"/>
                  </a:lnTo>
                  <a:lnTo>
                    <a:pt x="300" y="300"/>
                  </a:lnTo>
                  <a:lnTo>
                    <a:pt x="306" y="306"/>
                  </a:lnTo>
                  <a:lnTo>
                    <a:pt x="312" y="318"/>
                  </a:lnTo>
                  <a:lnTo>
                    <a:pt x="318" y="312"/>
                  </a:lnTo>
                  <a:lnTo>
                    <a:pt x="324" y="312"/>
                  </a:lnTo>
                  <a:lnTo>
                    <a:pt x="330" y="312"/>
                  </a:lnTo>
                  <a:lnTo>
                    <a:pt x="342" y="306"/>
                  </a:lnTo>
                  <a:lnTo>
                    <a:pt x="348" y="306"/>
                  </a:lnTo>
                  <a:lnTo>
                    <a:pt x="348" y="312"/>
                  </a:lnTo>
                  <a:lnTo>
                    <a:pt x="348" y="318"/>
                  </a:lnTo>
                  <a:lnTo>
                    <a:pt x="354" y="318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60" y="336"/>
                  </a:lnTo>
                  <a:lnTo>
                    <a:pt x="366" y="330"/>
                  </a:lnTo>
                  <a:lnTo>
                    <a:pt x="378" y="324"/>
                  </a:lnTo>
                  <a:lnTo>
                    <a:pt x="384" y="324"/>
                  </a:lnTo>
                  <a:lnTo>
                    <a:pt x="384" y="318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6"/>
                  </a:lnTo>
                  <a:lnTo>
                    <a:pt x="402" y="306"/>
                  </a:lnTo>
                  <a:lnTo>
                    <a:pt x="408" y="306"/>
                  </a:lnTo>
                  <a:lnTo>
                    <a:pt x="414" y="300"/>
                  </a:lnTo>
                  <a:lnTo>
                    <a:pt x="420" y="300"/>
                  </a:lnTo>
                  <a:lnTo>
                    <a:pt x="426" y="300"/>
                  </a:lnTo>
                  <a:lnTo>
                    <a:pt x="432" y="300"/>
                  </a:lnTo>
                  <a:lnTo>
                    <a:pt x="444" y="288"/>
                  </a:lnTo>
                  <a:lnTo>
                    <a:pt x="450" y="294"/>
                  </a:lnTo>
                  <a:lnTo>
                    <a:pt x="468" y="300"/>
                  </a:lnTo>
                  <a:lnTo>
                    <a:pt x="498" y="312"/>
                  </a:lnTo>
                  <a:lnTo>
                    <a:pt x="504" y="324"/>
                  </a:lnTo>
                  <a:lnTo>
                    <a:pt x="516" y="330"/>
                  </a:lnTo>
                  <a:lnTo>
                    <a:pt x="516" y="336"/>
                  </a:lnTo>
                  <a:lnTo>
                    <a:pt x="540" y="342"/>
                  </a:lnTo>
                  <a:lnTo>
                    <a:pt x="558" y="372"/>
                  </a:lnTo>
                  <a:lnTo>
                    <a:pt x="594" y="384"/>
                  </a:lnTo>
                  <a:lnTo>
                    <a:pt x="606" y="402"/>
                  </a:lnTo>
                  <a:lnTo>
                    <a:pt x="600" y="420"/>
                  </a:lnTo>
                  <a:lnTo>
                    <a:pt x="588" y="444"/>
                  </a:lnTo>
                  <a:lnTo>
                    <a:pt x="588" y="450"/>
                  </a:lnTo>
                  <a:lnTo>
                    <a:pt x="588" y="456"/>
                  </a:lnTo>
                  <a:lnTo>
                    <a:pt x="594" y="456"/>
                  </a:lnTo>
                  <a:lnTo>
                    <a:pt x="594" y="462"/>
                  </a:lnTo>
                  <a:lnTo>
                    <a:pt x="594" y="468"/>
                  </a:lnTo>
                  <a:lnTo>
                    <a:pt x="594" y="474"/>
                  </a:lnTo>
                  <a:lnTo>
                    <a:pt x="600" y="474"/>
                  </a:lnTo>
                  <a:lnTo>
                    <a:pt x="606" y="480"/>
                  </a:lnTo>
                  <a:lnTo>
                    <a:pt x="606" y="486"/>
                  </a:lnTo>
                  <a:lnTo>
                    <a:pt x="612" y="486"/>
                  </a:lnTo>
                  <a:lnTo>
                    <a:pt x="618" y="486"/>
                  </a:lnTo>
                  <a:lnTo>
                    <a:pt x="624" y="486"/>
                  </a:lnTo>
                  <a:lnTo>
                    <a:pt x="636" y="486"/>
                  </a:lnTo>
                  <a:lnTo>
                    <a:pt x="642" y="486"/>
                  </a:lnTo>
                  <a:lnTo>
                    <a:pt x="648" y="480"/>
                  </a:lnTo>
                  <a:lnTo>
                    <a:pt x="654" y="474"/>
                  </a:lnTo>
                  <a:lnTo>
                    <a:pt x="660" y="468"/>
                  </a:lnTo>
                  <a:lnTo>
                    <a:pt x="666" y="468"/>
                  </a:lnTo>
                  <a:lnTo>
                    <a:pt x="684" y="468"/>
                  </a:lnTo>
                  <a:lnTo>
                    <a:pt x="696" y="468"/>
                  </a:lnTo>
                  <a:lnTo>
                    <a:pt x="696" y="462"/>
                  </a:lnTo>
                  <a:lnTo>
                    <a:pt x="702" y="456"/>
                  </a:lnTo>
                  <a:lnTo>
                    <a:pt x="708" y="450"/>
                  </a:lnTo>
                  <a:lnTo>
                    <a:pt x="714" y="450"/>
                  </a:lnTo>
                  <a:lnTo>
                    <a:pt x="720" y="450"/>
                  </a:lnTo>
                  <a:lnTo>
                    <a:pt x="720" y="438"/>
                  </a:lnTo>
                  <a:lnTo>
                    <a:pt x="726" y="432"/>
                  </a:lnTo>
                  <a:lnTo>
                    <a:pt x="738" y="420"/>
                  </a:lnTo>
                  <a:lnTo>
                    <a:pt x="744" y="420"/>
                  </a:lnTo>
                  <a:lnTo>
                    <a:pt x="750" y="414"/>
                  </a:lnTo>
                  <a:lnTo>
                    <a:pt x="762" y="408"/>
                  </a:lnTo>
                  <a:lnTo>
                    <a:pt x="768" y="408"/>
                  </a:lnTo>
                  <a:lnTo>
                    <a:pt x="768" y="402"/>
                  </a:lnTo>
                  <a:lnTo>
                    <a:pt x="780" y="396"/>
                  </a:lnTo>
                  <a:lnTo>
                    <a:pt x="786" y="396"/>
                  </a:lnTo>
                  <a:lnTo>
                    <a:pt x="786" y="390"/>
                  </a:lnTo>
                  <a:lnTo>
                    <a:pt x="792" y="384"/>
                  </a:lnTo>
                  <a:lnTo>
                    <a:pt x="792" y="378"/>
                  </a:lnTo>
                  <a:lnTo>
                    <a:pt x="798" y="366"/>
                  </a:lnTo>
                  <a:lnTo>
                    <a:pt x="804" y="360"/>
                  </a:lnTo>
                  <a:lnTo>
                    <a:pt x="816" y="342"/>
                  </a:lnTo>
                  <a:lnTo>
                    <a:pt x="816" y="312"/>
                  </a:lnTo>
                  <a:lnTo>
                    <a:pt x="804" y="300"/>
                  </a:lnTo>
                  <a:lnTo>
                    <a:pt x="798" y="288"/>
                  </a:lnTo>
                  <a:lnTo>
                    <a:pt x="762" y="264"/>
                  </a:lnTo>
                  <a:lnTo>
                    <a:pt x="738" y="234"/>
                  </a:lnTo>
                  <a:lnTo>
                    <a:pt x="738" y="222"/>
                  </a:lnTo>
                  <a:lnTo>
                    <a:pt x="744" y="210"/>
                  </a:lnTo>
                  <a:lnTo>
                    <a:pt x="732" y="174"/>
                  </a:lnTo>
                  <a:lnTo>
                    <a:pt x="714" y="156"/>
                  </a:lnTo>
                  <a:lnTo>
                    <a:pt x="708" y="144"/>
                  </a:lnTo>
                  <a:lnTo>
                    <a:pt x="714" y="126"/>
                  </a:lnTo>
                  <a:lnTo>
                    <a:pt x="720" y="114"/>
                  </a:lnTo>
                  <a:lnTo>
                    <a:pt x="732" y="102"/>
                  </a:lnTo>
                  <a:lnTo>
                    <a:pt x="744" y="102"/>
                  </a:lnTo>
                  <a:lnTo>
                    <a:pt x="762" y="108"/>
                  </a:lnTo>
                  <a:lnTo>
                    <a:pt x="774" y="114"/>
                  </a:lnTo>
                  <a:lnTo>
                    <a:pt x="780" y="138"/>
                  </a:lnTo>
                  <a:lnTo>
                    <a:pt x="786" y="144"/>
                  </a:lnTo>
                  <a:lnTo>
                    <a:pt x="798" y="138"/>
                  </a:lnTo>
                  <a:lnTo>
                    <a:pt x="804" y="132"/>
                  </a:lnTo>
                  <a:lnTo>
                    <a:pt x="816" y="120"/>
                  </a:lnTo>
                  <a:lnTo>
                    <a:pt x="816" y="108"/>
                  </a:lnTo>
                  <a:lnTo>
                    <a:pt x="828" y="102"/>
                  </a:lnTo>
                  <a:lnTo>
                    <a:pt x="828" y="96"/>
                  </a:lnTo>
                  <a:lnTo>
                    <a:pt x="840" y="96"/>
                  </a:lnTo>
                  <a:lnTo>
                    <a:pt x="840" y="84"/>
                  </a:lnTo>
                  <a:lnTo>
                    <a:pt x="852" y="90"/>
                  </a:lnTo>
                  <a:lnTo>
                    <a:pt x="852" y="96"/>
                  </a:lnTo>
                  <a:lnTo>
                    <a:pt x="870" y="90"/>
                  </a:lnTo>
                  <a:lnTo>
                    <a:pt x="894" y="78"/>
                  </a:lnTo>
                  <a:lnTo>
                    <a:pt x="912" y="78"/>
                  </a:lnTo>
                  <a:lnTo>
                    <a:pt x="942" y="66"/>
                  </a:lnTo>
                  <a:lnTo>
                    <a:pt x="942" y="60"/>
                  </a:lnTo>
                  <a:lnTo>
                    <a:pt x="954" y="48"/>
                  </a:lnTo>
                  <a:lnTo>
                    <a:pt x="966" y="30"/>
                  </a:lnTo>
                  <a:lnTo>
                    <a:pt x="978" y="30"/>
                  </a:lnTo>
                  <a:lnTo>
                    <a:pt x="978" y="24"/>
                  </a:lnTo>
                  <a:lnTo>
                    <a:pt x="984" y="12"/>
                  </a:lnTo>
                  <a:lnTo>
                    <a:pt x="990" y="12"/>
                  </a:lnTo>
                  <a:lnTo>
                    <a:pt x="996" y="12"/>
                  </a:lnTo>
                  <a:lnTo>
                    <a:pt x="1014" y="6"/>
                  </a:lnTo>
                  <a:lnTo>
                    <a:pt x="1026" y="6"/>
                  </a:lnTo>
                  <a:lnTo>
                    <a:pt x="1044" y="6"/>
                  </a:lnTo>
                  <a:lnTo>
                    <a:pt x="1050" y="6"/>
                  </a:lnTo>
                  <a:lnTo>
                    <a:pt x="1056" y="6"/>
                  </a:lnTo>
                  <a:lnTo>
                    <a:pt x="1062" y="6"/>
                  </a:lnTo>
                  <a:lnTo>
                    <a:pt x="1068" y="6"/>
                  </a:lnTo>
                  <a:lnTo>
                    <a:pt x="1074" y="6"/>
                  </a:lnTo>
                  <a:lnTo>
                    <a:pt x="1080" y="6"/>
                  </a:lnTo>
                  <a:lnTo>
                    <a:pt x="1086" y="0"/>
                  </a:lnTo>
                  <a:lnTo>
                    <a:pt x="1092" y="30"/>
                  </a:lnTo>
                  <a:lnTo>
                    <a:pt x="1098" y="60"/>
                  </a:lnTo>
                  <a:lnTo>
                    <a:pt x="1110" y="84"/>
                  </a:lnTo>
                  <a:lnTo>
                    <a:pt x="1122" y="114"/>
                  </a:lnTo>
                  <a:lnTo>
                    <a:pt x="1128" y="144"/>
                  </a:lnTo>
                  <a:lnTo>
                    <a:pt x="1122" y="156"/>
                  </a:lnTo>
                  <a:lnTo>
                    <a:pt x="1128" y="168"/>
                  </a:lnTo>
                  <a:lnTo>
                    <a:pt x="1134" y="186"/>
                  </a:lnTo>
                  <a:lnTo>
                    <a:pt x="1140" y="204"/>
                  </a:lnTo>
                  <a:lnTo>
                    <a:pt x="1146" y="210"/>
                  </a:lnTo>
                  <a:lnTo>
                    <a:pt x="1146" y="216"/>
                  </a:lnTo>
                  <a:lnTo>
                    <a:pt x="1146" y="228"/>
                  </a:lnTo>
                  <a:lnTo>
                    <a:pt x="1146" y="234"/>
                  </a:lnTo>
                  <a:lnTo>
                    <a:pt x="1140" y="246"/>
                  </a:lnTo>
                  <a:lnTo>
                    <a:pt x="1128" y="258"/>
                  </a:lnTo>
                  <a:lnTo>
                    <a:pt x="1116" y="264"/>
                  </a:lnTo>
                  <a:lnTo>
                    <a:pt x="1110" y="276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2" y="312"/>
                  </a:lnTo>
                  <a:lnTo>
                    <a:pt x="1116" y="324"/>
                  </a:lnTo>
                  <a:lnTo>
                    <a:pt x="1104" y="336"/>
                  </a:lnTo>
                  <a:lnTo>
                    <a:pt x="1104" y="354"/>
                  </a:lnTo>
                  <a:lnTo>
                    <a:pt x="1098" y="372"/>
                  </a:lnTo>
                  <a:lnTo>
                    <a:pt x="1092" y="384"/>
                  </a:lnTo>
                  <a:lnTo>
                    <a:pt x="1086" y="390"/>
                  </a:lnTo>
                  <a:lnTo>
                    <a:pt x="1086" y="402"/>
                  </a:lnTo>
                  <a:lnTo>
                    <a:pt x="1080" y="414"/>
                  </a:lnTo>
                  <a:lnTo>
                    <a:pt x="1074" y="426"/>
                  </a:lnTo>
                  <a:lnTo>
                    <a:pt x="1074" y="450"/>
                  </a:lnTo>
                  <a:lnTo>
                    <a:pt x="1074" y="462"/>
                  </a:lnTo>
                  <a:lnTo>
                    <a:pt x="1068" y="474"/>
                  </a:lnTo>
                  <a:lnTo>
                    <a:pt x="1062" y="486"/>
                  </a:lnTo>
                  <a:lnTo>
                    <a:pt x="1056" y="498"/>
                  </a:lnTo>
                  <a:close/>
                  <a:moveTo>
                    <a:pt x="186" y="378"/>
                  </a:moveTo>
                  <a:lnTo>
                    <a:pt x="186" y="384"/>
                  </a:lnTo>
                  <a:lnTo>
                    <a:pt x="180" y="390"/>
                  </a:lnTo>
                  <a:lnTo>
                    <a:pt x="174" y="396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14"/>
                  </a:lnTo>
                  <a:lnTo>
                    <a:pt x="126" y="414"/>
                  </a:lnTo>
                  <a:lnTo>
                    <a:pt x="120" y="414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2" y="426"/>
                  </a:lnTo>
                  <a:lnTo>
                    <a:pt x="102" y="432"/>
                  </a:lnTo>
                  <a:lnTo>
                    <a:pt x="96" y="432"/>
                  </a:lnTo>
                  <a:lnTo>
                    <a:pt x="90" y="432"/>
                  </a:lnTo>
                  <a:lnTo>
                    <a:pt x="84" y="438"/>
                  </a:lnTo>
                  <a:lnTo>
                    <a:pt x="78" y="438"/>
                  </a:lnTo>
                  <a:lnTo>
                    <a:pt x="78" y="444"/>
                  </a:lnTo>
                  <a:lnTo>
                    <a:pt x="72" y="444"/>
                  </a:lnTo>
                  <a:lnTo>
                    <a:pt x="72" y="450"/>
                  </a:lnTo>
                  <a:lnTo>
                    <a:pt x="66" y="456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48" y="468"/>
                  </a:lnTo>
                  <a:lnTo>
                    <a:pt x="42" y="468"/>
                  </a:lnTo>
                  <a:lnTo>
                    <a:pt x="42" y="462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8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0" y="396"/>
                  </a:lnTo>
                  <a:lnTo>
                    <a:pt x="6" y="384"/>
                  </a:lnTo>
                  <a:lnTo>
                    <a:pt x="18" y="372"/>
                  </a:lnTo>
                  <a:lnTo>
                    <a:pt x="30" y="348"/>
                  </a:lnTo>
                  <a:lnTo>
                    <a:pt x="30" y="342"/>
                  </a:lnTo>
                  <a:lnTo>
                    <a:pt x="42" y="330"/>
                  </a:lnTo>
                  <a:lnTo>
                    <a:pt x="42" y="324"/>
                  </a:lnTo>
                  <a:lnTo>
                    <a:pt x="48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60" y="282"/>
                  </a:lnTo>
                  <a:lnTo>
                    <a:pt x="60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2" y="258"/>
                  </a:lnTo>
                  <a:lnTo>
                    <a:pt x="84" y="246"/>
                  </a:lnTo>
                  <a:lnTo>
                    <a:pt x="90" y="234"/>
                  </a:lnTo>
                  <a:lnTo>
                    <a:pt x="96" y="234"/>
                  </a:lnTo>
                  <a:lnTo>
                    <a:pt x="96" y="228"/>
                  </a:lnTo>
                  <a:lnTo>
                    <a:pt x="102" y="222"/>
                  </a:lnTo>
                  <a:lnTo>
                    <a:pt x="102" y="228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14" y="228"/>
                  </a:lnTo>
                  <a:lnTo>
                    <a:pt x="114" y="234"/>
                  </a:lnTo>
                  <a:lnTo>
                    <a:pt x="120" y="228"/>
                  </a:lnTo>
                  <a:lnTo>
                    <a:pt x="120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26" y="228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8" y="234"/>
                  </a:lnTo>
                  <a:lnTo>
                    <a:pt x="144" y="234"/>
                  </a:lnTo>
                  <a:lnTo>
                    <a:pt x="144" y="228"/>
                  </a:lnTo>
                  <a:lnTo>
                    <a:pt x="150" y="228"/>
                  </a:lnTo>
                  <a:lnTo>
                    <a:pt x="156" y="228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46"/>
                  </a:lnTo>
                  <a:lnTo>
                    <a:pt x="162" y="240"/>
                  </a:lnTo>
                  <a:lnTo>
                    <a:pt x="162" y="246"/>
                  </a:lnTo>
                  <a:lnTo>
                    <a:pt x="162" y="258"/>
                  </a:lnTo>
                  <a:lnTo>
                    <a:pt x="162" y="264"/>
                  </a:lnTo>
                  <a:lnTo>
                    <a:pt x="156" y="270"/>
                  </a:lnTo>
                  <a:lnTo>
                    <a:pt x="162" y="270"/>
                  </a:lnTo>
                  <a:lnTo>
                    <a:pt x="162" y="282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86" y="288"/>
                  </a:lnTo>
                  <a:lnTo>
                    <a:pt x="186" y="294"/>
                  </a:lnTo>
                  <a:lnTo>
                    <a:pt x="180" y="300"/>
                  </a:lnTo>
                  <a:lnTo>
                    <a:pt x="174" y="318"/>
                  </a:lnTo>
                  <a:lnTo>
                    <a:pt x="174" y="324"/>
                  </a:lnTo>
                  <a:lnTo>
                    <a:pt x="168" y="330"/>
                  </a:lnTo>
                  <a:lnTo>
                    <a:pt x="168" y="342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74" y="360"/>
                  </a:lnTo>
                  <a:lnTo>
                    <a:pt x="180" y="366"/>
                  </a:lnTo>
                  <a:lnTo>
                    <a:pt x="186" y="3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8" name="Freeform 23">
              <a:extLst>
                <a:ext uri="{FF2B5EF4-FFF2-40B4-BE49-F238E27FC236}">
                  <a16:creationId xmlns:a16="http://schemas.microsoft.com/office/drawing/2014/main" id="{A539A33E-3F6E-4AF7-BD88-1853165307F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6312" y="3604793"/>
              <a:ext cx="581410" cy="621747"/>
            </a:xfrm>
            <a:custGeom>
              <a:avLst/>
              <a:gdLst>
                <a:gd name="T0" fmla="*/ 90 w 1092"/>
                <a:gd name="T1" fmla="*/ 60 h 1170"/>
                <a:gd name="T2" fmla="*/ 83 w 1092"/>
                <a:gd name="T3" fmla="*/ 62 h 1170"/>
                <a:gd name="T4" fmla="*/ 72 w 1092"/>
                <a:gd name="T5" fmla="*/ 68 h 1170"/>
                <a:gd name="T6" fmla="*/ 68 w 1092"/>
                <a:gd name="T7" fmla="*/ 71 h 1170"/>
                <a:gd name="T8" fmla="*/ 61 w 1092"/>
                <a:gd name="T9" fmla="*/ 69 h 1170"/>
                <a:gd name="T10" fmla="*/ 64 w 1092"/>
                <a:gd name="T11" fmla="*/ 82 h 1170"/>
                <a:gd name="T12" fmla="*/ 67 w 1092"/>
                <a:gd name="T13" fmla="*/ 93 h 1170"/>
                <a:gd name="T14" fmla="*/ 62 w 1092"/>
                <a:gd name="T15" fmla="*/ 96 h 1170"/>
                <a:gd name="T16" fmla="*/ 59 w 1092"/>
                <a:gd name="T17" fmla="*/ 99 h 1170"/>
                <a:gd name="T18" fmla="*/ 53 w 1092"/>
                <a:gd name="T19" fmla="*/ 101 h 1170"/>
                <a:gd name="T20" fmla="*/ 50 w 1092"/>
                <a:gd name="T21" fmla="*/ 100 h 1170"/>
                <a:gd name="T22" fmla="*/ 50 w 1092"/>
                <a:gd name="T23" fmla="*/ 93 h 1170"/>
                <a:gd name="T24" fmla="*/ 37 w 1092"/>
                <a:gd name="T25" fmla="*/ 85 h 1170"/>
                <a:gd name="T26" fmla="*/ 32 w 1092"/>
                <a:gd name="T27" fmla="*/ 86 h 1170"/>
                <a:gd name="T28" fmla="*/ 29 w 1092"/>
                <a:gd name="T29" fmla="*/ 88 h 1170"/>
                <a:gd name="T30" fmla="*/ 27 w 1092"/>
                <a:gd name="T31" fmla="*/ 86 h 1170"/>
                <a:gd name="T32" fmla="*/ 23 w 1092"/>
                <a:gd name="T33" fmla="*/ 87 h 1170"/>
                <a:gd name="T34" fmla="*/ 17 w 1092"/>
                <a:gd name="T35" fmla="*/ 87 h 1170"/>
                <a:gd name="T36" fmla="*/ 18 w 1092"/>
                <a:gd name="T37" fmla="*/ 89 h 1170"/>
                <a:gd name="T38" fmla="*/ 16 w 1092"/>
                <a:gd name="T39" fmla="*/ 92 h 1170"/>
                <a:gd name="T40" fmla="*/ 12 w 1092"/>
                <a:gd name="T41" fmla="*/ 89 h 1170"/>
                <a:gd name="T42" fmla="*/ 13 w 1092"/>
                <a:gd name="T43" fmla="*/ 84 h 1170"/>
                <a:gd name="T44" fmla="*/ 12 w 1092"/>
                <a:gd name="T45" fmla="*/ 80 h 1170"/>
                <a:gd name="T46" fmla="*/ 10 w 1092"/>
                <a:gd name="T47" fmla="*/ 80 h 1170"/>
                <a:gd name="T48" fmla="*/ 8 w 1092"/>
                <a:gd name="T49" fmla="*/ 79 h 1170"/>
                <a:gd name="T50" fmla="*/ 6 w 1092"/>
                <a:gd name="T51" fmla="*/ 78 h 1170"/>
                <a:gd name="T52" fmla="*/ 6 w 1092"/>
                <a:gd name="T53" fmla="*/ 77 h 1170"/>
                <a:gd name="T54" fmla="*/ 4 w 1092"/>
                <a:gd name="T55" fmla="*/ 75 h 1170"/>
                <a:gd name="T56" fmla="*/ 0 w 1092"/>
                <a:gd name="T57" fmla="*/ 72 h 1170"/>
                <a:gd name="T58" fmla="*/ 0 w 1092"/>
                <a:gd name="T59" fmla="*/ 69 h 1170"/>
                <a:gd name="T60" fmla="*/ 3 w 1092"/>
                <a:gd name="T61" fmla="*/ 67 h 1170"/>
                <a:gd name="T62" fmla="*/ 6 w 1092"/>
                <a:gd name="T63" fmla="*/ 62 h 1170"/>
                <a:gd name="T64" fmla="*/ 8 w 1092"/>
                <a:gd name="T65" fmla="*/ 58 h 1170"/>
                <a:gd name="T66" fmla="*/ 5 w 1092"/>
                <a:gd name="T67" fmla="*/ 54 h 1170"/>
                <a:gd name="T68" fmla="*/ 6 w 1092"/>
                <a:gd name="T69" fmla="*/ 50 h 1170"/>
                <a:gd name="T70" fmla="*/ 8 w 1092"/>
                <a:gd name="T71" fmla="*/ 46 h 1170"/>
                <a:gd name="T72" fmla="*/ 10 w 1092"/>
                <a:gd name="T73" fmla="*/ 43 h 1170"/>
                <a:gd name="T74" fmla="*/ 14 w 1092"/>
                <a:gd name="T75" fmla="*/ 38 h 1170"/>
                <a:gd name="T76" fmla="*/ 31 w 1092"/>
                <a:gd name="T77" fmla="*/ 40 h 1170"/>
                <a:gd name="T78" fmla="*/ 30 w 1092"/>
                <a:gd name="T79" fmla="*/ 46 h 1170"/>
                <a:gd name="T80" fmla="*/ 36 w 1092"/>
                <a:gd name="T81" fmla="*/ 47 h 1170"/>
                <a:gd name="T82" fmla="*/ 41 w 1092"/>
                <a:gd name="T83" fmla="*/ 44 h 1170"/>
                <a:gd name="T84" fmla="*/ 43 w 1092"/>
                <a:gd name="T85" fmla="*/ 39 h 1170"/>
                <a:gd name="T86" fmla="*/ 44 w 1092"/>
                <a:gd name="T87" fmla="*/ 35 h 1170"/>
                <a:gd name="T88" fmla="*/ 44 w 1092"/>
                <a:gd name="T89" fmla="*/ 29 h 1170"/>
                <a:gd name="T90" fmla="*/ 48 w 1092"/>
                <a:gd name="T91" fmla="*/ 24 h 1170"/>
                <a:gd name="T92" fmla="*/ 49 w 1092"/>
                <a:gd name="T93" fmla="*/ 19 h 1170"/>
                <a:gd name="T94" fmla="*/ 51 w 1092"/>
                <a:gd name="T95" fmla="*/ 14 h 1170"/>
                <a:gd name="T96" fmla="*/ 54 w 1092"/>
                <a:gd name="T97" fmla="*/ 10 h 1170"/>
                <a:gd name="T98" fmla="*/ 53 w 1092"/>
                <a:gd name="T99" fmla="*/ 7 h 1170"/>
                <a:gd name="T100" fmla="*/ 55 w 1092"/>
                <a:gd name="T101" fmla="*/ 3 h 1170"/>
                <a:gd name="T102" fmla="*/ 58 w 1092"/>
                <a:gd name="T103" fmla="*/ 0 h 1170"/>
                <a:gd name="T104" fmla="*/ 65 w 1092"/>
                <a:gd name="T105" fmla="*/ 2 h 1170"/>
                <a:gd name="T106" fmla="*/ 61 w 1092"/>
                <a:gd name="T107" fmla="*/ 6 h 1170"/>
                <a:gd name="T108" fmla="*/ 67 w 1092"/>
                <a:gd name="T109" fmla="*/ 7 h 1170"/>
                <a:gd name="T110" fmla="*/ 71 w 1092"/>
                <a:gd name="T111" fmla="*/ 6 h 1170"/>
                <a:gd name="T112" fmla="*/ 75 w 1092"/>
                <a:gd name="T113" fmla="*/ 9 h 1170"/>
                <a:gd name="T114" fmla="*/ 82 w 1092"/>
                <a:gd name="T115" fmla="*/ 12 h 1170"/>
                <a:gd name="T116" fmla="*/ 84 w 1092"/>
                <a:gd name="T117" fmla="*/ 17 h 1170"/>
                <a:gd name="T118" fmla="*/ 94 w 1092"/>
                <a:gd name="T119" fmla="*/ 23 h 1170"/>
                <a:gd name="T120" fmla="*/ 94 w 1092"/>
                <a:gd name="T121" fmla="*/ 34 h 1170"/>
                <a:gd name="T122" fmla="*/ 90 w 1092"/>
                <a:gd name="T123" fmla="*/ 41 h 1170"/>
                <a:gd name="T124" fmla="*/ 91 w 1092"/>
                <a:gd name="T125" fmla="*/ 51 h 11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92"/>
                <a:gd name="T190" fmla="*/ 0 h 1170"/>
                <a:gd name="T191" fmla="*/ 1092 w 1092"/>
                <a:gd name="T192" fmla="*/ 1170 h 117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92" h="1170">
                  <a:moveTo>
                    <a:pt x="1056" y="654"/>
                  </a:moveTo>
                  <a:lnTo>
                    <a:pt x="1062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0"/>
                  </a:lnTo>
                  <a:lnTo>
                    <a:pt x="1038" y="690"/>
                  </a:lnTo>
                  <a:lnTo>
                    <a:pt x="1032" y="690"/>
                  </a:lnTo>
                  <a:lnTo>
                    <a:pt x="1026" y="690"/>
                  </a:lnTo>
                  <a:lnTo>
                    <a:pt x="1020" y="690"/>
                  </a:lnTo>
                  <a:lnTo>
                    <a:pt x="1002" y="690"/>
                  </a:lnTo>
                  <a:lnTo>
                    <a:pt x="990" y="690"/>
                  </a:lnTo>
                  <a:lnTo>
                    <a:pt x="972" y="696"/>
                  </a:lnTo>
                  <a:lnTo>
                    <a:pt x="966" y="696"/>
                  </a:lnTo>
                  <a:lnTo>
                    <a:pt x="960" y="696"/>
                  </a:lnTo>
                  <a:lnTo>
                    <a:pt x="954" y="708"/>
                  </a:lnTo>
                  <a:lnTo>
                    <a:pt x="954" y="714"/>
                  </a:lnTo>
                  <a:lnTo>
                    <a:pt x="942" y="714"/>
                  </a:lnTo>
                  <a:lnTo>
                    <a:pt x="930" y="732"/>
                  </a:lnTo>
                  <a:lnTo>
                    <a:pt x="918" y="744"/>
                  </a:lnTo>
                  <a:lnTo>
                    <a:pt x="918" y="750"/>
                  </a:lnTo>
                  <a:lnTo>
                    <a:pt x="888" y="762"/>
                  </a:lnTo>
                  <a:lnTo>
                    <a:pt x="870" y="762"/>
                  </a:lnTo>
                  <a:lnTo>
                    <a:pt x="846" y="774"/>
                  </a:lnTo>
                  <a:lnTo>
                    <a:pt x="828" y="780"/>
                  </a:lnTo>
                  <a:lnTo>
                    <a:pt x="828" y="774"/>
                  </a:lnTo>
                  <a:lnTo>
                    <a:pt x="816" y="768"/>
                  </a:lnTo>
                  <a:lnTo>
                    <a:pt x="816" y="780"/>
                  </a:lnTo>
                  <a:lnTo>
                    <a:pt x="804" y="780"/>
                  </a:lnTo>
                  <a:lnTo>
                    <a:pt x="804" y="786"/>
                  </a:lnTo>
                  <a:lnTo>
                    <a:pt x="792" y="792"/>
                  </a:lnTo>
                  <a:lnTo>
                    <a:pt x="792" y="804"/>
                  </a:lnTo>
                  <a:lnTo>
                    <a:pt x="780" y="816"/>
                  </a:lnTo>
                  <a:lnTo>
                    <a:pt x="774" y="822"/>
                  </a:lnTo>
                  <a:lnTo>
                    <a:pt x="762" y="828"/>
                  </a:lnTo>
                  <a:lnTo>
                    <a:pt x="756" y="822"/>
                  </a:lnTo>
                  <a:lnTo>
                    <a:pt x="750" y="798"/>
                  </a:lnTo>
                  <a:lnTo>
                    <a:pt x="738" y="792"/>
                  </a:lnTo>
                  <a:lnTo>
                    <a:pt x="720" y="786"/>
                  </a:lnTo>
                  <a:lnTo>
                    <a:pt x="708" y="786"/>
                  </a:lnTo>
                  <a:lnTo>
                    <a:pt x="696" y="798"/>
                  </a:lnTo>
                  <a:lnTo>
                    <a:pt x="690" y="810"/>
                  </a:lnTo>
                  <a:lnTo>
                    <a:pt x="684" y="828"/>
                  </a:lnTo>
                  <a:lnTo>
                    <a:pt x="690" y="840"/>
                  </a:lnTo>
                  <a:lnTo>
                    <a:pt x="708" y="858"/>
                  </a:lnTo>
                  <a:lnTo>
                    <a:pt x="720" y="894"/>
                  </a:lnTo>
                  <a:lnTo>
                    <a:pt x="714" y="906"/>
                  </a:lnTo>
                  <a:lnTo>
                    <a:pt x="714" y="918"/>
                  </a:lnTo>
                  <a:lnTo>
                    <a:pt x="738" y="948"/>
                  </a:lnTo>
                  <a:lnTo>
                    <a:pt x="774" y="972"/>
                  </a:lnTo>
                  <a:lnTo>
                    <a:pt x="780" y="984"/>
                  </a:lnTo>
                  <a:lnTo>
                    <a:pt x="792" y="996"/>
                  </a:lnTo>
                  <a:lnTo>
                    <a:pt x="792" y="1026"/>
                  </a:lnTo>
                  <a:lnTo>
                    <a:pt x="780" y="1044"/>
                  </a:lnTo>
                  <a:lnTo>
                    <a:pt x="774" y="1050"/>
                  </a:lnTo>
                  <a:lnTo>
                    <a:pt x="768" y="1062"/>
                  </a:lnTo>
                  <a:lnTo>
                    <a:pt x="768" y="1068"/>
                  </a:lnTo>
                  <a:lnTo>
                    <a:pt x="762" y="1074"/>
                  </a:lnTo>
                  <a:lnTo>
                    <a:pt x="762" y="1080"/>
                  </a:lnTo>
                  <a:lnTo>
                    <a:pt x="756" y="1080"/>
                  </a:lnTo>
                  <a:lnTo>
                    <a:pt x="744" y="1086"/>
                  </a:lnTo>
                  <a:lnTo>
                    <a:pt x="744" y="1092"/>
                  </a:lnTo>
                  <a:lnTo>
                    <a:pt x="738" y="1092"/>
                  </a:lnTo>
                  <a:lnTo>
                    <a:pt x="726" y="1098"/>
                  </a:lnTo>
                  <a:lnTo>
                    <a:pt x="720" y="1104"/>
                  </a:lnTo>
                  <a:lnTo>
                    <a:pt x="714" y="1104"/>
                  </a:lnTo>
                  <a:lnTo>
                    <a:pt x="702" y="1116"/>
                  </a:lnTo>
                  <a:lnTo>
                    <a:pt x="696" y="1122"/>
                  </a:lnTo>
                  <a:lnTo>
                    <a:pt x="696" y="1134"/>
                  </a:lnTo>
                  <a:lnTo>
                    <a:pt x="690" y="1134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72" y="1146"/>
                  </a:lnTo>
                  <a:lnTo>
                    <a:pt x="672" y="1152"/>
                  </a:lnTo>
                  <a:lnTo>
                    <a:pt x="660" y="1152"/>
                  </a:lnTo>
                  <a:lnTo>
                    <a:pt x="642" y="1152"/>
                  </a:lnTo>
                  <a:lnTo>
                    <a:pt x="636" y="1152"/>
                  </a:lnTo>
                  <a:lnTo>
                    <a:pt x="630" y="1158"/>
                  </a:lnTo>
                  <a:lnTo>
                    <a:pt x="624" y="1164"/>
                  </a:lnTo>
                  <a:lnTo>
                    <a:pt x="618" y="1170"/>
                  </a:lnTo>
                  <a:lnTo>
                    <a:pt x="612" y="1170"/>
                  </a:lnTo>
                  <a:lnTo>
                    <a:pt x="600" y="1170"/>
                  </a:lnTo>
                  <a:lnTo>
                    <a:pt x="594" y="1170"/>
                  </a:lnTo>
                  <a:lnTo>
                    <a:pt x="588" y="1170"/>
                  </a:lnTo>
                  <a:lnTo>
                    <a:pt x="582" y="1170"/>
                  </a:lnTo>
                  <a:lnTo>
                    <a:pt x="582" y="1164"/>
                  </a:lnTo>
                  <a:lnTo>
                    <a:pt x="576" y="1158"/>
                  </a:lnTo>
                  <a:lnTo>
                    <a:pt x="570" y="1158"/>
                  </a:lnTo>
                  <a:lnTo>
                    <a:pt x="570" y="1152"/>
                  </a:lnTo>
                  <a:lnTo>
                    <a:pt x="570" y="1146"/>
                  </a:lnTo>
                  <a:lnTo>
                    <a:pt x="570" y="1140"/>
                  </a:lnTo>
                  <a:lnTo>
                    <a:pt x="564" y="1140"/>
                  </a:lnTo>
                  <a:lnTo>
                    <a:pt x="564" y="1134"/>
                  </a:lnTo>
                  <a:lnTo>
                    <a:pt x="564" y="1128"/>
                  </a:lnTo>
                  <a:lnTo>
                    <a:pt x="576" y="1104"/>
                  </a:lnTo>
                  <a:lnTo>
                    <a:pt x="582" y="1086"/>
                  </a:lnTo>
                  <a:lnTo>
                    <a:pt x="570" y="1068"/>
                  </a:lnTo>
                  <a:lnTo>
                    <a:pt x="534" y="1056"/>
                  </a:lnTo>
                  <a:lnTo>
                    <a:pt x="516" y="1026"/>
                  </a:lnTo>
                  <a:lnTo>
                    <a:pt x="492" y="1020"/>
                  </a:lnTo>
                  <a:lnTo>
                    <a:pt x="492" y="1014"/>
                  </a:lnTo>
                  <a:lnTo>
                    <a:pt x="480" y="1008"/>
                  </a:lnTo>
                  <a:lnTo>
                    <a:pt x="474" y="996"/>
                  </a:lnTo>
                  <a:lnTo>
                    <a:pt x="444" y="984"/>
                  </a:lnTo>
                  <a:lnTo>
                    <a:pt x="426" y="978"/>
                  </a:lnTo>
                  <a:lnTo>
                    <a:pt x="420" y="972"/>
                  </a:lnTo>
                  <a:lnTo>
                    <a:pt x="408" y="984"/>
                  </a:lnTo>
                  <a:lnTo>
                    <a:pt x="402" y="984"/>
                  </a:lnTo>
                  <a:lnTo>
                    <a:pt x="396" y="984"/>
                  </a:lnTo>
                  <a:lnTo>
                    <a:pt x="390" y="984"/>
                  </a:lnTo>
                  <a:lnTo>
                    <a:pt x="384" y="990"/>
                  </a:lnTo>
                  <a:lnTo>
                    <a:pt x="378" y="990"/>
                  </a:lnTo>
                  <a:lnTo>
                    <a:pt x="372" y="990"/>
                  </a:lnTo>
                  <a:lnTo>
                    <a:pt x="372" y="996"/>
                  </a:lnTo>
                  <a:lnTo>
                    <a:pt x="366" y="996"/>
                  </a:lnTo>
                  <a:lnTo>
                    <a:pt x="360" y="1002"/>
                  </a:lnTo>
                  <a:lnTo>
                    <a:pt x="360" y="1008"/>
                  </a:lnTo>
                  <a:lnTo>
                    <a:pt x="354" y="1008"/>
                  </a:lnTo>
                  <a:lnTo>
                    <a:pt x="342" y="1014"/>
                  </a:lnTo>
                  <a:lnTo>
                    <a:pt x="336" y="1020"/>
                  </a:lnTo>
                  <a:lnTo>
                    <a:pt x="336" y="1014"/>
                  </a:lnTo>
                  <a:lnTo>
                    <a:pt x="330" y="1014"/>
                  </a:lnTo>
                  <a:lnTo>
                    <a:pt x="330" y="1008"/>
                  </a:lnTo>
                  <a:lnTo>
                    <a:pt x="330" y="1002"/>
                  </a:lnTo>
                  <a:lnTo>
                    <a:pt x="324" y="1002"/>
                  </a:lnTo>
                  <a:lnTo>
                    <a:pt x="324" y="996"/>
                  </a:lnTo>
                  <a:lnTo>
                    <a:pt x="324" y="990"/>
                  </a:lnTo>
                  <a:lnTo>
                    <a:pt x="318" y="990"/>
                  </a:lnTo>
                  <a:lnTo>
                    <a:pt x="306" y="996"/>
                  </a:lnTo>
                  <a:lnTo>
                    <a:pt x="300" y="996"/>
                  </a:lnTo>
                  <a:lnTo>
                    <a:pt x="294" y="996"/>
                  </a:lnTo>
                  <a:lnTo>
                    <a:pt x="288" y="1002"/>
                  </a:lnTo>
                  <a:lnTo>
                    <a:pt x="282" y="990"/>
                  </a:lnTo>
                  <a:lnTo>
                    <a:pt x="276" y="984"/>
                  </a:lnTo>
                  <a:lnTo>
                    <a:pt x="270" y="990"/>
                  </a:lnTo>
                  <a:lnTo>
                    <a:pt x="270" y="996"/>
                  </a:lnTo>
                  <a:lnTo>
                    <a:pt x="270" y="1002"/>
                  </a:lnTo>
                  <a:lnTo>
                    <a:pt x="264" y="1008"/>
                  </a:lnTo>
                  <a:lnTo>
                    <a:pt x="252" y="996"/>
                  </a:lnTo>
                  <a:lnTo>
                    <a:pt x="246" y="996"/>
                  </a:lnTo>
                  <a:lnTo>
                    <a:pt x="234" y="1002"/>
                  </a:lnTo>
                  <a:lnTo>
                    <a:pt x="222" y="1002"/>
                  </a:lnTo>
                  <a:lnTo>
                    <a:pt x="210" y="1002"/>
                  </a:lnTo>
                  <a:lnTo>
                    <a:pt x="198" y="996"/>
                  </a:lnTo>
                  <a:lnTo>
                    <a:pt x="198" y="1002"/>
                  </a:lnTo>
                  <a:lnTo>
                    <a:pt x="198" y="1008"/>
                  </a:lnTo>
                  <a:lnTo>
                    <a:pt x="192" y="1020"/>
                  </a:lnTo>
                  <a:lnTo>
                    <a:pt x="198" y="1020"/>
                  </a:lnTo>
                  <a:lnTo>
                    <a:pt x="204" y="1020"/>
                  </a:lnTo>
                  <a:lnTo>
                    <a:pt x="210" y="1026"/>
                  </a:lnTo>
                  <a:lnTo>
                    <a:pt x="216" y="1026"/>
                  </a:lnTo>
                  <a:lnTo>
                    <a:pt x="216" y="1032"/>
                  </a:lnTo>
                  <a:lnTo>
                    <a:pt x="210" y="1032"/>
                  </a:lnTo>
                  <a:lnTo>
                    <a:pt x="210" y="1038"/>
                  </a:lnTo>
                  <a:lnTo>
                    <a:pt x="204" y="1038"/>
                  </a:lnTo>
                  <a:lnTo>
                    <a:pt x="204" y="1044"/>
                  </a:lnTo>
                  <a:lnTo>
                    <a:pt x="198" y="1044"/>
                  </a:lnTo>
                  <a:lnTo>
                    <a:pt x="192" y="1044"/>
                  </a:lnTo>
                  <a:lnTo>
                    <a:pt x="186" y="1050"/>
                  </a:lnTo>
                  <a:lnTo>
                    <a:pt x="186" y="1056"/>
                  </a:lnTo>
                  <a:lnTo>
                    <a:pt x="180" y="1056"/>
                  </a:lnTo>
                  <a:lnTo>
                    <a:pt x="180" y="1062"/>
                  </a:lnTo>
                  <a:lnTo>
                    <a:pt x="174" y="1062"/>
                  </a:lnTo>
                  <a:lnTo>
                    <a:pt x="168" y="1062"/>
                  </a:lnTo>
                  <a:lnTo>
                    <a:pt x="162" y="1062"/>
                  </a:lnTo>
                  <a:lnTo>
                    <a:pt x="156" y="1050"/>
                  </a:lnTo>
                  <a:lnTo>
                    <a:pt x="150" y="1044"/>
                  </a:lnTo>
                  <a:lnTo>
                    <a:pt x="150" y="1038"/>
                  </a:lnTo>
                  <a:lnTo>
                    <a:pt x="144" y="1032"/>
                  </a:lnTo>
                  <a:lnTo>
                    <a:pt x="144" y="1026"/>
                  </a:lnTo>
                  <a:lnTo>
                    <a:pt x="144" y="1014"/>
                  </a:lnTo>
                  <a:lnTo>
                    <a:pt x="150" y="1008"/>
                  </a:lnTo>
                  <a:lnTo>
                    <a:pt x="150" y="1002"/>
                  </a:lnTo>
                  <a:lnTo>
                    <a:pt x="156" y="984"/>
                  </a:lnTo>
                  <a:lnTo>
                    <a:pt x="162" y="978"/>
                  </a:lnTo>
                  <a:lnTo>
                    <a:pt x="162" y="972"/>
                  </a:lnTo>
                  <a:lnTo>
                    <a:pt x="150" y="966"/>
                  </a:lnTo>
                  <a:lnTo>
                    <a:pt x="144" y="966"/>
                  </a:lnTo>
                  <a:lnTo>
                    <a:pt x="138" y="966"/>
                  </a:lnTo>
                  <a:lnTo>
                    <a:pt x="138" y="954"/>
                  </a:lnTo>
                  <a:lnTo>
                    <a:pt x="132" y="954"/>
                  </a:lnTo>
                  <a:lnTo>
                    <a:pt x="138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8" y="924"/>
                  </a:lnTo>
                  <a:lnTo>
                    <a:pt x="132" y="930"/>
                  </a:lnTo>
                  <a:lnTo>
                    <a:pt x="132" y="924"/>
                  </a:lnTo>
                  <a:lnTo>
                    <a:pt x="126" y="918"/>
                  </a:lnTo>
                  <a:lnTo>
                    <a:pt x="132" y="918"/>
                  </a:lnTo>
                  <a:lnTo>
                    <a:pt x="132" y="912"/>
                  </a:lnTo>
                  <a:lnTo>
                    <a:pt x="126" y="912"/>
                  </a:lnTo>
                  <a:lnTo>
                    <a:pt x="120" y="912"/>
                  </a:lnTo>
                  <a:lnTo>
                    <a:pt x="120" y="918"/>
                  </a:lnTo>
                  <a:lnTo>
                    <a:pt x="114" y="918"/>
                  </a:lnTo>
                  <a:lnTo>
                    <a:pt x="114" y="912"/>
                  </a:lnTo>
                  <a:lnTo>
                    <a:pt x="108" y="912"/>
                  </a:lnTo>
                  <a:lnTo>
                    <a:pt x="102" y="912"/>
                  </a:lnTo>
                  <a:lnTo>
                    <a:pt x="108" y="906"/>
                  </a:lnTo>
                  <a:lnTo>
                    <a:pt x="102" y="906"/>
                  </a:lnTo>
                  <a:lnTo>
                    <a:pt x="96" y="906"/>
                  </a:lnTo>
                  <a:lnTo>
                    <a:pt x="96" y="912"/>
                  </a:lnTo>
                  <a:lnTo>
                    <a:pt x="90" y="918"/>
                  </a:lnTo>
                  <a:lnTo>
                    <a:pt x="90" y="912"/>
                  </a:lnTo>
                  <a:lnTo>
                    <a:pt x="84" y="912"/>
                  </a:lnTo>
                  <a:lnTo>
                    <a:pt x="84" y="918"/>
                  </a:lnTo>
                  <a:lnTo>
                    <a:pt x="78" y="918"/>
                  </a:lnTo>
                  <a:lnTo>
                    <a:pt x="78" y="912"/>
                  </a:lnTo>
                  <a:lnTo>
                    <a:pt x="78" y="906"/>
                  </a:lnTo>
                  <a:lnTo>
                    <a:pt x="72" y="900"/>
                  </a:lnTo>
                  <a:lnTo>
                    <a:pt x="78" y="900"/>
                  </a:lnTo>
                  <a:lnTo>
                    <a:pt x="72" y="900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8" y="888"/>
                  </a:lnTo>
                  <a:lnTo>
                    <a:pt x="72" y="888"/>
                  </a:lnTo>
                  <a:lnTo>
                    <a:pt x="72" y="882"/>
                  </a:lnTo>
                  <a:lnTo>
                    <a:pt x="66" y="876"/>
                  </a:lnTo>
                  <a:lnTo>
                    <a:pt x="60" y="882"/>
                  </a:lnTo>
                  <a:lnTo>
                    <a:pt x="54" y="876"/>
                  </a:lnTo>
                  <a:lnTo>
                    <a:pt x="54" y="882"/>
                  </a:lnTo>
                  <a:lnTo>
                    <a:pt x="48" y="882"/>
                  </a:lnTo>
                  <a:lnTo>
                    <a:pt x="42" y="870"/>
                  </a:lnTo>
                  <a:lnTo>
                    <a:pt x="42" y="864"/>
                  </a:lnTo>
                  <a:lnTo>
                    <a:pt x="36" y="858"/>
                  </a:lnTo>
                  <a:lnTo>
                    <a:pt x="36" y="852"/>
                  </a:lnTo>
                  <a:lnTo>
                    <a:pt x="30" y="852"/>
                  </a:lnTo>
                  <a:lnTo>
                    <a:pt x="30" y="846"/>
                  </a:lnTo>
                  <a:lnTo>
                    <a:pt x="24" y="846"/>
                  </a:lnTo>
                  <a:lnTo>
                    <a:pt x="18" y="840"/>
                  </a:lnTo>
                  <a:lnTo>
                    <a:pt x="12" y="834"/>
                  </a:lnTo>
                  <a:lnTo>
                    <a:pt x="0" y="828"/>
                  </a:lnTo>
                  <a:lnTo>
                    <a:pt x="0" y="822"/>
                  </a:lnTo>
                  <a:lnTo>
                    <a:pt x="0" y="816"/>
                  </a:lnTo>
                  <a:lnTo>
                    <a:pt x="0" y="810"/>
                  </a:lnTo>
                  <a:lnTo>
                    <a:pt x="6" y="804"/>
                  </a:lnTo>
                  <a:lnTo>
                    <a:pt x="12" y="804"/>
                  </a:lnTo>
                  <a:lnTo>
                    <a:pt x="12" y="798"/>
                  </a:lnTo>
                  <a:lnTo>
                    <a:pt x="12" y="792"/>
                  </a:lnTo>
                  <a:lnTo>
                    <a:pt x="6" y="792"/>
                  </a:lnTo>
                  <a:lnTo>
                    <a:pt x="6" y="786"/>
                  </a:lnTo>
                  <a:lnTo>
                    <a:pt x="6" y="780"/>
                  </a:lnTo>
                  <a:lnTo>
                    <a:pt x="18" y="780"/>
                  </a:lnTo>
                  <a:lnTo>
                    <a:pt x="18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0" y="774"/>
                  </a:lnTo>
                  <a:lnTo>
                    <a:pt x="36" y="768"/>
                  </a:lnTo>
                  <a:lnTo>
                    <a:pt x="42" y="768"/>
                  </a:lnTo>
                  <a:lnTo>
                    <a:pt x="60" y="750"/>
                  </a:lnTo>
                  <a:lnTo>
                    <a:pt x="60" y="744"/>
                  </a:lnTo>
                  <a:lnTo>
                    <a:pt x="54" y="738"/>
                  </a:lnTo>
                  <a:lnTo>
                    <a:pt x="60" y="732"/>
                  </a:lnTo>
                  <a:lnTo>
                    <a:pt x="54" y="732"/>
                  </a:lnTo>
                  <a:lnTo>
                    <a:pt x="60" y="726"/>
                  </a:lnTo>
                  <a:lnTo>
                    <a:pt x="66" y="720"/>
                  </a:lnTo>
                  <a:lnTo>
                    <a:pt x="72" y="714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84" y="696"/>
                  </a:lnTo>
                  <a:lnTo>
                    <a:pt x="90" y="684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66"/>
                  </a:lnTo>
                  <a:lnTo>
                    <a:pt x="90" y="660"/>
                  </a:lnTo>
                  <a:lnTo>
                    <a:pt x="84" y="654"/>
                  </a:lnTo>
                  <a:lnTo>
                    <a:pt x="84" y="648"/>
                  </a:lnTo>
                  <a:lnTo>
                    <a:pt x="78" y="636"/>
                  </a:lnTo>
                  <a:lnTo>
                    <a:pt x="66" y="630"/>
                  </a:lnTo>
                  <a:lnTo>
                    <a:pt x="66" y="624"/>
                  </a:lnTo>
                  <a:lnTo>
                    <a:pt x="60" y="624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60" y="600"/>
                  </a:lnTo>
                  <a:lnTo>
                    <a:pt x="66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6" y="588"/>
                  </a:lnTo>
                  <a:lnTo>
                    <a:pt x="66" y="582"/>
                  </a:lnTo>
                  <a:lnTo>
                    <a:pt x="72" y="582"/>
                  </a:lnTo>
                  <a:lnTo>
                    <a:pt x="78" y="576"/>
                  </a:lnTo>
                  <a:lnTo>
                    <a:pt x="72" y="576"/>
                  </a:lnTo>
                  <a:lnTo>
                    <a:pt x="66" y="570"/>
                  </a:lnTo>
                  <a:lnTo>
                    <a:pt x="72" y="564"/>
                  </a:lnTo>
                  <a:lnTo>
                    <a:pt x="78" y="558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90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102" y="516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0" y="504"/>
                  </a:lnTo>
                  <a:lnTo>
                    <a:pt x="120" y="498"/>
                  </a:lnTo>
                  <a:lnTo>
                    <a:pt x="120" y="492"/>
                  </a:lnTo>
                  <a:lnTo>
                    <a:pt x="126" y="480"/>
                  </a:lnTo>
                  <a:lnTo>
                    <a:pt x="132" y="474"/>
                  </a:lnTo>
                  <a:lnTo>
                    <a:pt x="132" y="468"/>
                  </a:lnTo>
                  <a:lnTo>
                    <a:pt x="138" y="462"/>
                  </a:lnTo>
                  <a:lnTo>
                    <a:pt x="138" y="456"/>
                  </a:lnTo>
                  <a:lnTo>
                    <a:pt x="138" y="450"/>
                  </a:lnTo>
                  <a:lnTo>
                    <a:pt x="144" y="444"/>
                  </a:lnTo>
                  <a:lnTo>
                    <a:pt x="162" y="438"/>
                  </a:lnTo>
                  <a:lnTo>
                    <a:pt x="186" y="438"/>
                  </a:lnTo>
                  <a:lnTo>
                    <a:pt x="210" y="444"/>
                  </a:lnTo>
                  <a:lnTo>
                    <a:pt x="276" y="450"/>
                  </a:lnTo>
                  <a:lnTo>
                    <a:pt x="342" y="450"/>
                  </a:lnTo>
                  <a:lnTo>
                    <a:pt x="348" y="450"/>
                  </a:lnTo>
                  <a:lnTo>
                    <a:pt x="354" y="450"/>
                  </a:lnTo>
                  <a:lnTo>
                    <a:pt x="360" y="456"/>
                  </a:lnTo>
                  <a:lnTo>
                    <a:pt x="354" y="462"/>
                  </a:lnTo>
                  <a:lnTo>
                    <a:pt x="354" y="468"/>
                  </a:lnTo>
                  <a:lnTo>
                    <a:pt x="354" y="474"/>
                  </a:lnTo>
                  <a:lnTo>
                    <a:pt x="348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48" y="498"/>
                  </a:lnTo>
                  <a:lnTo>
                    <a:pt x="342" y="510"/>
                  </a:lnTo>
                  <a:lnTo>
                    <a:pt x="348" y="528"/>
                  </a:lnTo>
                  <a:lnTo>
                    <a:pt x="348" y="534"/>
                  </a:lnTo>
                  <a:lnTo>
                    <a:pt x="354" y="552"/>
                  </a:lnTo>
                  <a:lnTo>
                    <a:pt x="366" y="546"/>
                  </a:lnTo>
                  <a:lnTo>
                    <a:pt x="372" y="540"/>
                  </a:lnTo>
                  <a:lnTo>
                    <a:pt x="384" y="540"/>
                  </a:lnTo>
                  <a:lnTo>
                    <a:pt x="396" y="534"/>
                  </a:lnTo>
                  <a:lnTo>
                    <a:pt x="402" y="534"/>
                  </a:lnTo>
                  <a:lnTo>
                    <a:pt x="414" y="546"/>
                  </a:lnTo>
                  <a:lnTo>
                    <a:pt x="432" y="540"/>
                  </a:lnTo>
                  <a:lnTo>
                    <a:pt x="450" y="534"/>
                  </a:lnTo>
                  <a:lnTo>
                    <a:pt x="450" y="528"/>
                  </a:lnTo>
                  <a:lnTo>
                    <a:pt x="456" y="528"/>
                  </a:lnTo>
                  <a:lnTo>
                    <a:pt x="456" y="522"/>
                  </a:lnTo>
                  <a:lnTo>
                    <a:pt x="456" y="516"/>
                  </a:lnTo>
                  <a:lnTo>
                    <a:pt x="462" y="516"/>
                  </a:lnTo>
                  <a:lnTo>
                    <a:pt x="468" y="510"/>
                  </a:lnTo>
                  <a:lnTo>
                    <a:pt x="468" y="504"/>
                  </a:lnTo>
                  <a:lnTo>
                    <a:pt x="474" y="504"/>
                  </a:lnTo>
                  <a:lnTo>
                    <a:pt x="480" y="504"/>
                  </a:lnTo>
                  <a:lnTo>
                    <a:pt x="486" y="498"/>
                  </a:lnTo>
                  <a:lnTo>
                    <a:pt x="492" y="498"/>
                  </a:lnTo>
                  <a:lnTo>
                    <a:pt x="486" y="480"/>
                  </a:lnTo>
                  <a:lnTo>
                    <a:pt x="492" y="462"/>
                  </a:lnTo>
                  <a:lnTo>
                    <a:pt x="498" y="444"/>
                  </a:lnTo>
                  <a:lnTo>
                    <a:pt x="498" y="426"/>
                  </a:lnTo>
                  <a:lnTo>
                    <a:pt x="498" y="420"/>
                  </a:lnTo>
                  <a:lnTo>
                    <a:pt x="504" y="426"/>
                  </a:lnTo>
                  <a:lnTo>
                    <a:pt x="504" y="420"/>
                  </a:lnTo>
                  <a:lnTo>
                    <a:pt x="510" y="420"/>
                  </a:lnTo>
                  <a:lnTo>
                    <a:pt x="510" y="414"/>
                  </a:lnTo>
                  <a:lnTo>
                    <a:pt x="510" y="408"/>
                  </a:lnTo>
                  <a:lnTo>
                    <a:pt x="504" y="402"/>
                  </a:lnTo>
                  <a:lnTo>
                    <a:pt x="504" y="396"/>
                  </a:lnTo>
                  <a:lnTo>
                    <a:pt x="504" y="384"/>
                  </a:lnTo>
                  <a:lnTo>
                    <a:pt x="504" y="378"/>
                  </a:lnTo>
                  <a:lnTo>
                    <a:pt x="504" y="360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510" y="348"/>
                  </a:lnTo>
                  <a:lnTo>
                    <a:pt x="510" y="336"/>
                  </a:lnTo>
                  <a:lnTo>
                    <a:pt x="516" y="330"/>
                  </a:lnTo>
                  <a:lnTo>
                    <a:pt x="522" y="324"/>
                  </a:lnTo>
                  <a:lnTo>
                    <a:pt x="528" y="318"/>
                  </a:lnTo>
                  <a:lnTo>
                    <a:pt x="534" y="312"/>
                  </a:lnTo>
                  <a:lnTo>
                    <a:pt x="534" y="300"/>
                  </a:lnTo>
                  <a:lnTo>
                    <a:pt x="540" y="294"/>
                  </a:lnTo>
                  <a:lnTo>
                    <a:pt x="546" y="288"/>
                  </a:lnTo>
                  <a:lnTo>
                    <a:pt x="552" y="276"/>
                  </a:lnTo>
                  <a:lnTo>
                    <a:pt x="558" y="264"/>
                  </a:lnTo>
                  <a:lnTo>
                    <a:pt x="558" y="258"/>
                  </a:lnTo>
                  <a:lnTo>
                    <a:pt x="558" y="252"/>
                  </a:lnTo>
                  <a:lnTo>
                    <a:pt x="558" y="246"/>
                  </a:lnTo>
                  <a:lnTo>
                    <a:pt x="564" y="246"/>
                  </a:lnTo>
                  <a:lnTo>
                    <a:pt x="564" y="240"/>
                  </a:lnTo>
                  <a:lnTo>
                    <a:pt x="570" y="234"/>
                  </a:lnTo>
                  <a:lnTo>
                    <a:pt x="564" y="216"/>
                  </a:lnTo>
                  <a:lnTo>
                    <a:pt x="564" y="210"/>
                  </a:lnTo>
                  <a:lnTo>
                    <a:pt x="570" y="210"/>
                  </a:lnTo>
                  <a:lnTo>
                    <a:pt x="570" y="204"/>
                  </a:lnTo>
                  <a:lnTo>
                    <a:pt x="570" y="198"/>
                  </a:lnTo>
                  <a:lnTo>
                    <a:pt x="582" y="180"/>
                  </a:lnTo>
                  <a:lnTo>
                    <a:pt x="582" y="174"/>
                  </a:lnTo>
                  <a:lnTo>
                    <a:pt x="582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606" y="150"/>
                  </a:lnTo>
                  <a:lnTo>
                    <a:pt x="612" y="150"/>
                  </a:lnTo>
                  <a:lnTo>
                    <a:pt x="618" y="150"/>
                  </a:lnTo>
                  <a:lnTo>
                    <a:pt x="624" y="138"/>
                  </a:lnTo>
                  <a:lnTo>
                    <a:pt x="618" y="132"/>
                  </a:lnTo>
                  <a:lnTo>
                    <a:pt x="618" y="126"/>
                  </a:lnTo>
                  <a:lnTo>
                    <a:pt x="618" y="120"/>
                  </a:lnTo>
                  <a:lnTo>
                    <a:pt x="618" y="114"/>
                  </a:lnTo>
                  <a:lnTo>
                    <a:pt x="612" y="108"/>
                  </a:lnTo>
                  <a:lnTo>
                    <a:pt x="612" y="102"/>
                  </a:lnTo>
                  <a:lnTo>
                    <a:pt x="618" y="90"/>
                  </a:lnTo>
                  <a:lnTo>
                    <a:pt x="624" y="84"/>
                  </a:lnTo>
                  <a:lnTo>
                    <a:pt x="618" y="84"/>
                  </a:lnTo>
                  <a:lnTo>
                    <a:pt x="618" y="78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0" y="72"/>
                  </a:lnTo>
                  <a:lnTo>
                    <a:pt x="600" y="66"/>
                  </a:lnTo>
                  <a:lnTo>
                    <a:pt x="600" y="60"/>
                  </a:lnTo>
                  <a:lnTo>
                    <a:pt x="600" y="48"/>
                  </a:lnTo>
                  <a:lnTo>
                    <a:pt x="612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36"/>
                  </a:lnTo>
                  <a:lnTo>
                    <a:pt x="630" y="30"/>
                  </a:lnTo>
                  <a:lnTo>
                    <a:pt x="636" y="24"/>
                  </a:lnTo>
                  <a:lnTo>
                    <a:pt x="642" y="24"/>
                  </a:lnTo>
                  <a:lnTo>
                    <a:pt x="648" y="24"/>
                  </a:lnTo>
                  <a:lnTo>
                    <a:pt x="648" y="18"/>
                  </a:lnTo>
                  <a:lnTo>
                    <a:pt x="654" y="12"/>
                  </a:lnTo>
                  <a:lnTo>
                    <a:pt x="660" y="0"/>
                  </a:lnTo>
                  <a:lnTo>
                    <a:pt x="678" y="0"/>
                  </a:lnTo>
                  <a:lnTo>
                    <a:pt x="696" y="0"/>
                  </a:lnTo>
                  <a:lnTo>
                    <a:pt x="702" y="0"/>
                  </a:lnTo>
                  <a:lnTo>
                    <a:pt x="714" y="0"/>
                  </a:lnTo>
                  <a:lnTo>
                    <a:pt x="720" y="6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44" y="24"/>
                  </a:lnTo>
                  <a:lnTo>
                    <a:pt x="744" y="30"/>
                  </a:lnTo>
                  <a:lnTo>
                    <a:pt x="732" y="42"/>
                  </a:lnTo>
                  <a:lnTo>
                    <a:pt x="726" y="42"/>
                  </a:lnTo>
                  <a:lnTo>
                    <a:pt x="720" y="42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54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90"/>
                  </a:lnTo>
                  <a:lnTo>
                    <a:pt x="726" y="84"/>
                  </a:lnTo>
                  <a:lnTo>
                    <a:pt x="738" y="84"/>
                  </a:lnTo>
                  <a:lnTo>
                    <a:pt x="750" y="96"/>
                  </a:lnTo>
                  <a:lnTo>
                    <a:pt x="768" y="96"/>
                  </a:lnTo>
                  <a:lnTo>
                    <a:pt x="768" y="90"/>
                  </a:lnTo>
                  <a:lnTo>
                    <a:pt x="774" y="84"/>
                  </a:lnTo>
                  <a:lnTo>
                    <a:pt x="780" y="78"/>
                  </a:lnTo>
                  <a:lnTo>
                    <a:pt x="786" y="78"/>
                  </a:lnTo>
                  <a:lnTo>
                    <a:pt x="792" y="72"/>
                  </a:lnTo>
                  <a:lnTo>
                    <a:pt x="804" y="72"/>
                  </a:lnTo>
                  <a:lnTo>
                    <a:pt x="804" y="66"/>
                  </a:lnTo>
                  <a:lnTo>
                    <a:pt x="810" y="66"/>
                  </a:lnTo>
                  <a:lnTo>
                    <a:pt x="810" y="72"/>
                  </a:lnTo>
                  <a:lnTo>
                    <a:pt x="816" y="66"/>
                  </a:lnTo>
                  <a:lnTo>
                    <a:pt x="828" y="66"/>
                  </a:lnTo>
                  <a:lnTo>
                    <a:pt x="834" y="72"/>
                  </a:lnTo>
                  <a:lnTo>
                    <a:pt x="840" y="72"/>
                  </a:lnTo>
                  <a:lnTo>
                    <a:pt x="840" y="78"/>
                  </a:lnTo>
                  <a:lnTo>
                    <a:pt x="840" y="84"/>
                  </a:lnTo>
                  <a:lnTo>
                    <a:pt x="852" y="84"/>
                  </a:lnTo>
                  <a:lnTo>
                    <a:pt x="858" y="96"/>
                  </a:lnTo>
                  <a:lnTo>
                    <a:pt x="864" y="108"/>
                  </a:lnTo>
                  <a:lnTo>
                    <a:pt x="876" y="114"/>
                  </a:lnTo>
                  <a:lnTo>
                    <a:pt x="894" y="114"/>
                  </a:lnTo>
                  <a:lnTo>
                    <a:pt x="906" y="114"/>
                  </a:lnTo>
                  <a:lnTo>
                    <a:pt x="906" y="126"/>
                  </a:lnTo>
                  <a:lnTo>
                    <a:pt x="912" y="144"/>
                  </a:lnTo>
                  <a:lnTo>
                    <a:pt x="930" y="138"/>
                  </a:lnTo>
                  <a:lnTo>
                    <a:pt x="936" y="138"/>
                  </a:lnTo>
                  <a:lnTo>
                    <a:pt x="942" y="144"/>
                  </a:lnTo>
                  <a:lnTo>
                    <a:pt x="948" y="150"/>
                  </a:lnTo>
                  <a:lnTo>
                    <a:pt x="954" y="156"/>
                  </a:lnTo>
                  <a:lnTo>
                    <a:pt x="954" y="168"/>
                  </a:lnTo>
                  <a:lnTo>
                    <a:pt x="954" y="174"/>
                  </a:lnTo>
                  <a:lnTo>
                    <a:pt x="960" y="180"/>
                  </a:lnTo>
                  <a:lnTo>
                    <a:pt x="966" y="186"/>
                  </a:lnTo>
                  <a:lnTo>
                    <a:pt x="960" y="186"/>
                  </a:lnTo>
                  <a:lnTo>
                    <a:pt x="966" y="192"/>
                  </a:lnTo>
                  <a:lnTo>
                    <a:pt x="966" y="198"/>
                  </a:lnTo>
                  <a:lnTo>
                    <a:pt x="978" y="204"/>
                  </a:lnTo>
                  <a:lnTo>
                    <a:pt x="1050" y="186"/>
                  </a:lnTo>
                  <a:lnTo>
                    <a:pt x="1056" y="198"/>
                  </a:lnTo>
                  <a:lnTo>
                    <a:pt x="1068" y="210"/>
                  </a:lnTo>
                  <a:lnTo>
                    <a:pt x="1074" y="216"/>
                  </a:lnTo>
                  <a:lnTo>
                    <a:pt x="1080" y="252"/>
                  </a:lnTo>
                  <a:lnTo>
                    <a:pt x="1086" y="270"/>
                  </a:lnTo>
                  <a:lnTo>
                    <a:pt x="1092" y="282"/>
                  </a:lnTo>
                  <a:lnTo>
                    <a:pt x="1086" y="300"/>
                  </a:lnTo>
                  <a:lnTo>
                    <a:pt x="1074" y="330"/>
                  </a:lnTo>
                  <a:lnTo>
                    <a:pt x="1068" y="336"/>
                  </a:lnTo>
                  <a:lnTo>
                    <a:pt x="1062" y="348"/>
                  </a:lnTo>
                  <a:lnTo>
                    <a:pt x="1062" y="360"/>
                  </a:lnTo>
                  <a:lnTo>
                    <a:pt x="1068" y="378"/>
                  </a:lnTo>
                  <a:lnTo>
                    <a:pt x="1074" y="390"/>
                  </a:lnTo>
                  <a:lnTo>
                    <a:pt x="1068" y="396"/>
                  </a:lnTo>
                  <a:lnTo>
                    <a:pt x="1068" y="408"/>
                  </a:lnTo>
                  <a:lnTo>
                    <a:pt x="1062" y="414"/>
                  </a:lnTo>
                  <a:lnTo>
                    <a:pt x="1050" y="432"/>
                  </a:lnTo>
                  <a:lnTo>
                    <a:pt x="1044" y="450"/>
                  </a:lnTo>
                  <a:lnTo>
                    <a:pt x="1038" y="456"/>
                  </a:lnTo>
                  <a:lnTo>
                    <a:pt x="1026" y="468"/>
                  </a:lnTo>
                  <a:lnTo>
                    <a:pt x="1026" y="474"/>
                  </a:lnTo>
                  <a:lnTo>
                    <a:pt x="1026" y="480"/>
                  </a:lnTo>
                  <a:lnTo>
                    <a:pt x="1032" y="492"/>
                  </a:lnTo>
                  <a:lnTo>
                    <a:pt x="1044" y="504"/>
                  </a:lnTo>
                  <a:lnTo>
                    <a:pt x="1044" y="516"/>
                  </a:lnTo>
                  <a:lnTo>
                    <a:pt x="1038" y="528"/>
                  </a:lnTo>
                  <a:lnTo>
                    <a:pt x="1032" y="546"/>
                  </a:lnTo>
                  <a:lnTo>
                    <a:pt x="1032" y="570"/>
                  </a:lnTo>
                  <a:lnTo>
                    <a:pt x="1050" y="594"/>
                  </a:lnTo>
                  <a:lnTo>
                    <a:pt x="1056" y="624"/>
                  </a:lnTo>
                  <a:lnTo>
                    <a:pt x="1056" y="65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9" name="Freeform 24">
              <a:extLst>
                <a:ext uri="{FF2B5EF4-FFF2-40B4-BE49-F238E27FC236}">
                  <a16:creationId xmlns:a16="http://schemas.microsoft.com/office/drawing/2014/main" id="{CAE689DA-332A-4F73-BDE6-8865C9170AA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84829" y="3213406"/>
              <a:ext cx="851989" cy="744754"/>
            </a:xfrm>
            <a:custGeom>
              <a:avLst/>
              <a:gdLst>
                <a:gd name="T0" fmla="*/ 116 w 1602"/>
                <a:gd name="T1" fmla="*/ 91 h 1404"/>
                <a:gd name="T2" fmla="*/ 111 w 1602"/>
                <a:gd name="T3" fmla="*/ 95 h 1404"/>
                <a:gd name="T4" fmla="*/ 102 w 1602"/>
                <a:gd name="T5" fmla="*/ 101 h 1404"/>
                <a:gd name="T6" fmla="*/ 99 w 1602"/>
                <a:gd name="T7" fmla="*/ 103 h 1404"/>
                <a:gd name="T8" fmla="*/ 96 w 1602"/>
                <a:gd name="T9" fmla="*/ 106 h 1404"/>
                <a:gd name="T10" fmla="*/ 93 w 1602"/>
                <a:gd name="T11" fmla="*/ 108 h 1404"/>
                <a:gd name="T12" fmla="*/ 88 w 1602"/>
                <a:gd name="T13" fmla="*/ 106 h 1404"/>
                <a:gd name="T14" fmla="*/ 86 w 1602"/>
                <a:gd name="T15" fmla="*/ 108 h 1404"/>
                <a:gd name="T16" fmla="*/ 81 w 1602"/>
                <a:gd name="T17" fmla="*/ 119 h 1404"/>
                <a:gd name="T18" fmla="*/ 71 w 1602"/>
                <a:gd name="T19" fmla="*/ 109 h 1404"/>
                <a:gd name="T20" fmla="*/ 72 w 1602"/>
                <a:gd name="T21" fmla="*/ 101 h 1404"/>
                <a:gd name="T22" fmla="*/ 74 w 1602"/>
                <a:gd name="T23" fmla="*/ 93 h 1404"/>
                <a:gd name="T24" fmla="*/ 73 w 1602"/>
                <a:gd name="T25" fmla="*/ 82 h 1404"/>
                <a:gd name="T26" fmla="*/ 64 w 1602"/>
                <a:gd name="T27" fmla="*/ 79 h 1404"/>
                <a:gd name="T28" fmla="*/ 59 w 1602"/>
                <a:gd name="T29" fmla="*/ 75 h 1404"/>
                <a:gd name="T30" fmla="*/ 54 w 1602"/>
                <a:gd name="T31" fmla="*/ 71 h 1404"/>
                <a:gd name="T32" fmla="*/ 51 w 1602"/>
                <a:gd name="T33" fmla="*/ 70 h 1404"/>
                <a:gd name="T34" fmla="*/ 45 w 1602"/>
                <a:gd name="T35" fmla="*/ 71 h 1404"/>
                <a:gd name="T36" fmla="*/ 43 w 1602"/>
                <a:gd name="T37" fmla="*/ 68 h 1404"/>
                <a:gd name="T38" fmla="*/ 43 w 1602"/>
                <a:gd name="T39" fmla="*/ 64 h 1404"/>
                <a:gd name="T40" fmla="*/ 36 w 1602"/>
                <a:gd name="T41" fmla="*/ 66 h 1404"/>
                <a:gd name="T42" fmla="*/ 31 w 1602"/>
                <a:gd name="T43" fmla="*/ 55 h 1404"/>
                <a:gd name="T44" fmla="*/ 25 w 1602"/>
                <a:gd name="T45" fmla="*/ 53 h 1404"/>
                <a:gd name="T46" fmla="*/ 19 w 1602"/>
                <a:gd name="T47" fmla="*/ 51 h 1404"/>
                <a:gd name="T48" fmla="*/ 17 w 1602"/>
                <a:gd name="T49" fmla="*/ 43 h 1404"/>
                <a:gd name="T50" fmla="*/ 17 w 1602"/>
                <a:gd name="T51" fmla="*/ 39 h 1404"/>
                <a:gd name="T52" fmla="*/ 12 w 1602"/>
                <a:gd name="T53" fmla="*/ 39 h 1404"/>
                <a:gd name="T54" fmla="*/ 10 w 1602"/>
                <a:gd name="T55" fmla="*/ 35 h 1404"/>
                <a:gd name="T56" fmla="*/ 5 w 1602"/>
                <a:gd name="T57" fmla="*/ 30 h 1404"/>
                <a:gd name="T58" fmla="*/ 3 w 1602"/>
                <a:gd name="T59" fmla="*/ 27 h 1404"/>
                <a:gd name="T60" fmla="*/ 2 w 1602"/>
                <a:gd name="T61" fmla="*/ 25 h 1404"/>
                <a:gd name="T62" fmla="*/ 0 w 1602"/>
                <a:gd name="T63" fmla="*/ 22 h 1404"/>
                <a:gd name="T64" fmla="*/ 8 w 1602"/>
                <a:gd name="T65" fmla="*/ 14 h 1404"/>
                <a:gd name="T66" fmla="*/ 16 w 1602"/>
                <a:gd name="T67" fmla="*/ 16 h 1404"/>
                <a:gd name="T68" fmla="*/ 31 w 1602"/>
                <a:gd name="T69" fmla="*/ 18 h 1404"/>
                <a:gd name="T70" fmla="*/ 43 w 1602"/>
                <a:gd name="T71" fmla="*/ 17 h 1404"/>
                <a:gd name="T72" fmla="*/ 47 w 1602"/>
                <a:gd name="T73" fmla="*/ 6 h 1404"/>
                <a:gd name="T74" fmla="*/ 52 w 1602"/>
                <a:gd name="T75" fmla="*/ 0 h 1404"/>
                <a:gd name="T76" fmla="*/ 55 w 1602"/>
                <a:gd name="T77" fmla="*/ 3 h 1404"/>
                <a:gd name="T78" fmla="*/ 59 w 1602"/>
                <a:gd name="T79" fmla="*/ 9 h 1404"/>
                <a:gd name="T80" fmla="*/ 62 w 1602"/>
                <a:gd name="T81" fmla="*/ 16 h 1404"/>
                <a:gd name="T82" fmla="*/ 66 w 1602"/>
                <a:gd name="T83" fmla="*/ 20 h 1404"/>
                <a:gd name="T84" fmla="*/ 70 w 1602"/>
                <a:gd name="T85" fmla="*/ 25 h 1404"/>
                <a:gd name="T86" fmla="*/ 74 w 1602"/>
                <a:gd name="T87" fmla="*/ 30 h 1404"/>
                <a:gd name="T88" fmla="*/ 76 w 1602"/>
                <a:gd name="T89" fmla="*/ 27 h 1404"/>
                <a:gd name="T90" fmla="*/ 78 w 1602"/>
                <a:gd name="T91" fmla="*/ 27 h 1404"/>
                <a:gd name="T92" fmla="*/ 78 w 1602"/>
                <a:gd name="T93" fmla="*/ 23 h 1404"/>
                <a:gd name="T94" fmla="*/ 82 w 1602"/>
                <a:gd name="T95" fmla="*/ 20 h 1404"/>
                <a:gd name="T96" fmla="*/ 82 w 1602"/>
                <a:gd name="T97" fmla="*/ 18 h 1404"/>
                <a:gd name="T98" fmla="*/ 90 w 1602"/>
                <a:gd name="T99" fmla="*/ 24 h 1404"/>
                <a:gd name="T100" fmla="*/ 90 w 1602"/>
                <a:gd name="T101" fmla="*/ 45 h 1404"/>
                <a:gd name="T102" fmla="*/ 104 w 1602"/>
                <a:gd name="T103" fmla="*/ 41 h 1404"/>
                <a:gd name="T104" fmla="*/ 117 w 1602"/>
                <a:gd name="T105" fmla="*/ 39 h 1404"/>
                <a:gd name="T106" fmla="*/ 125 w 1602"/>
                <a:gd name="T107" fmla="*/ 39 h 1404"/>
                <a:gd name="T108" fmla="*/ 127 w 1602"/>
                <a:gd name="T109" fmla="*/ 43 h 1404"/>
                <a:gd name="T110" fmla="*/ 131 w 1602"/>
                <a:gd name="T111" fmla="*/ 53 h 1404"/>
                <a:gd name="T112" fmla="*/ 133 w 1602"/>
                <a:gd name="T113" fmla="*/ 60 h 1404"/>
                <a:gd name="T114" fmla="*/ 138 w 1602"/>
                <a:gd name="T115" fmla="*/ 73 h 1404"/>
                <a:gd name="T116" fmla="*/ 136 w 1602"/>
                <a:gd name="T117" fmla="*/ 80 h 1404"/>
                <a:gd name="T118" fmla="*/ 129 w 1602"/>
                <a:gd name="T119" fmla="*/ 87 h 1404"/>
                <a:gd name="T120" fmla="*/ 123 w 1602"/>
                <a:gd name="T121" fmla="*/ 95 h 14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02"/>
                <a:gd name="T184" fmla="*/ 0 h 1404"/>
                <a:gd name="T185" fmla="*/ 1602 w 1602"/>
                <a:gd name="T186" fmla="*/ 1404 h 14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02" h="1404">
                  <a:moveTo>
                    <a:pt x="1392" y="1080"/>
                  </a:moveTo>
                  <a:lnTo>
                    <a:pt x="1380" y="1074"/>
                  </a:lnTo>
                  <a:lnTo>
                    <a:pt x="1368" y="1056"/>
                  </a:lnTo>
                  <a:lnTo>
                    <a:pt x="1356" y="1044"/>
                  </a:lnTo>
                  <a:lnTo>
                    <a:pt x="1344" y="1038"/>
                  </a:lnTo>
                  <a:lnTo>
                    <a:pt x="1338" y="1038"/>
                  </a:lnTo>
                  <a:lnTo>
                    <a:pt x="1332" y="1038"/>
                  </a:lnTo>
                  <a:lnTo>
                    <a:pt x="1326" y="1044"/>
                  </a:lnTo>
                  <a:lnTo>
                    <a:pt x="1320" y="1044"/>
                  </a:lnTo>
                  <a:lnTo>
                    <a:pt x="1314" y="1044"/>
                  </a:lnTo>
                  <a:lnTo>
                    <a:pt x="1296" y="1056"/>
                  </a:lnTo>
                  <a:lnTo>
                    <a:pt x="1296" y="1080"/>
                  </a:lnTo>
                  <a:lnTo>
                    <a:pt x="1290" y="1080"/>
                  </a:lnTo>
                  <a:lnTo>
                    <a:pt x="1284" y="1086"/>
                  </a:lnTo>
                  <a:lnTo>
                    <a:pt x="1278" y="1086"/>
                  </a:lnTo>
                  <a:lnTo>
                    <a:pt x="1278" y="1092"/>
                  </a:lnTo>
                  <a:lnTo>
                    <a:pt x="1272" y="1092"/>
                  </a:lnTo>
                  <a:lnTo>
                    <a:pt x="1266" y="1086"/>
                  </a:lnTo>
                  <a:lnTo>
                    <a:pt x="1260" y="1086"/>
                  </a:lnTo>
                  <a:lnTo>
                    <a:pt x="1260" y="1098"/>
                  </a:lnTo>
                  <a:lnTo>
                    <a:pt x="1248" y="1098"/>
                  </a:lnTo>
                  <a:lnTo>
                    <a:pt x="1212" y="1116"/>
                  </a:lnTo>
                  <a:lnTo>
                    <a:pt x="1206" y="1158"/>
                  </a:lnTo>
                  <a:lnTo>
                    <a:pt x="1176" y="1164"/>
                  </a:lnTo>
                  <a:lnTo>
                    <a:pt x="1158" y="1164"/>
                  </a:lnTo>
                  <a:lnTo>
                    <a:pt x="1152" y="1164"/>
                  </a:lnTo>
                  <a:lnTo>
                    <a:pt x="1152" y="1170"/>
                  </a:lnTo>
                  <a:lnTo>
                    <a:pt x="1152" y="1176"/>
                  </a:lnTo>
                  <a:lnTo>
                    <a:pt x="1146" y="1176"/>
                  </a:lnTo>
                  <a:lnTo>
                    <a:pt x="1140" y="1176"/>
                  </a:lnTo>
                  <a:lnTo>
                    <a:pt x="1134" y="1182"/>
                  </a:lnTo>
                  <a:lnTo>
                    <a:pt x="1134" y="1188"/>
                  </a:lnTo>
                  <a:lnTo>
                    <a:pt x="1128" y="1194"/>
                  </a:lnTo>
                  <a:lnTo>
                    <a:pt x="1122" y="1194"/>
                  </a:lnTo>
                  <a:lnTo>
                    <a:pt x="1116" y="1194"/>
                  </a:lnTo>
                  <a:lnTo>
                    <a:pt x="1110" y="1200"/>
                  </a:lnTo>
                  <a:lnTo>
                    <a:pt x="1110" y="1206"/>
                  </a:lnTo>
                  <a:lnTo>
                    <a:pt x="1104" y="1212"/>
                  </a:lnTo>
                  <a:lnTo>
                    <a:pt x="1104" y="1218"/>
                  </a:lnTo>
                  <a:lnTo>
                    <a:pt x="1098" y="1224"/>
                  </a:lnTo>
                  <a:lnTo>
                    <a:pt x="1092" y="1230"/>
                  </a:lnTo>
                  <a:lnTo>
                    <a:pt x="1086" y="1230"/>
                  </a:lnTo>
                  <a:lnTo>
                    <a:pt x="1080" y="1230"/>
                  </a:lnTo>
                  <a:lnTo>
                    <a:pt x="1080" y="1242"/>
                  </a:lnTo>
                  <a:lnTo>
                    <a:pt x="1074" y="1242"/>
                  </a:lnTo>
                  <a:lnTo>
                    <a:pt x="1068" y="1242"/>
                  </a:lnTo>
                  <a:lnTo>
                    <a:pt x="1068" y="1236"/>
                  </a:lnTo>
                  <a:lnTo>
                    <a:pt x="1062" y="1242"/>
                  </a:lnTo>
                  <a:lnTo>
                    <a:pt x="1056" y="1236"/>
                  </a:lnTo>
                  <a:lnTo>
                    <a:pt x="1050" y="1242"/>
                  </a:lnTo>
                  <a:lnTo>
                    <a:pt x="1050" y="1236"/>
                  </a:lnTo>
                  <a:lnTo>
                    <a:pt x="1044" y="1194"/>
                  </a:lnTo>
                  <a:lnTo>
                    <a:pt x="1032" y="1194"/>
                  </a:lnTo>
                  <a:lnTo>
                    <a:pt x="1032" y="1200"/>
                  </a:lnTo>
                  <a:lnTo>
                    <a:pt x="1026" y="1200"/>
                  </a:lnTo>
                  <a:lnTo>
                    <a:pt x="1014" y="1218"/>
                  </a:lnTo>
                  <a:lnTo>
                    <a:pt x="1014" y="1224"/>
                  </a:lnTo>
                  <a:lnTo>
                    <a:pt x="1014" y="1236"/>
                  </a:lnTo>
                  <a:lnTo>
                    <a:pt x="1014" y="1242"/>
                  </a:lnTo>
                  <a:lnTo>
                    <a:pt x="1008" y="1242"/>
                  </a:lnTo>
                  <a:lnTo>
                    <a:pt x="1002" y="1236"/>
                  </a:lnTo>
                  <a:lnTo>
                    <a:pt x="1002" y="1230"/>
                  </a:lnTo>
                  <a:lnTo>
                    <a:pt x="996" y="1236"/>
                  </a:lnTo>
                  <a:lnTo>
                    <a:pt x="990" y="1236"/>
                  </a:lnTo>
                  <a:lnTo>
                    <a:pt x="990" y="1230"/>
                  </a:lnTo>
                  <a:lnTo>
                    <a:pt x="984" y="1236"/>
                  </a:lnTo>
                  <a:lnTo>
                    <a:pt x="978" y="1248"/>
                  </a:lnTo>
                  <a:lnTo>
                    <a:pt x="972" y="1254"/>
                  </a:lnTo>
                  <a:lnTo>
                    <a:pt x="966" y="1260"/>
                  </a:lnTo>
                  <a:lnTo>
                    <a:pt x="930" y="1284"/>
                  </a:lnTo>
                  <a:lnTo>
                    <a:pt x="942" y="1356"/>
                  </a:lnTo>
                  <a:lnTo>
                    <a:pt x="930" y="1368"/>
                  </a:lnTo>
                  <a:lnTo>
                    <a:pt x="852" y="1404"/>
                  </a:lnTo>
                  <a:lnTo>
                    <a:pt x="834" y="1392"/>
                  </a:lnTo>
                  <a:lnTo>
                    <a:pt x="834" y="1362"/>
                  </a:lnTo>
                  <a:lnTo>
                    <a:pt x="828" y="1332"/>
                  </a:lnTo>
                  <a:lnTo>
                    <a:pt x="810" y="1308"/>
                  </a:lnTo>
                  <a:lnTo>
                    <a:pt x="810" y="1284"/>
                  </a:lnTo>
                  <a:lnTo>
                    <a:pt x="816" y="1266"/>
                  </a:lnTo>
                  <a:lnTo>
                    <a:pt x="822" y="1254"/>
                  </a:lnTo>
                  <a:lnTo>
                    <a:pt x="822" y="1242"/>
                  </a:lnTo>
                  <a:lnTo>
                    <a:pt x="810" y="1230"/>
                  </a:lnTo>
                  <a:lnTo>
                    <a:pt x="804" y="1218"/>
                  </a:lnTo>
                  <a:lnTo>
                    <a:pt x="804" y="1212"/>
                  </a:lnTo>
                  <a:lnTo>
                    <a:pt x="804" y="1206"/>
                  </a:lnTo>
                  <a:lnTo>
                    <a:pt x="816" y="1194"/>
                  </a:lnTo>
                  <a:lnTo>
                    <a:pt x="822" y="1188"/>
                  </a:lnTo>
                  <a:lnTo>
                    <a:pt x="828" y="1170"/>
                  </a:lnTo>
                  <a:lnTo>
                    <a:pt x="840" y="1152"/>
                  </a:lnTo>
                  <a:lnTo>
                    <a:pt x="846" y="1146"/>
                  </a:lnTo>
                  <a:lnTo>
                    <a:pt x="846" y="1134"/>
                  </a:lnTo>
                  <a:lnTo>
                    <a:pt x="852" y="1128"/>
                  </a:lnTo>
                  <a:lnTo>
                    <a:pt x="846" y="1116"/>
                  </a:lnTo>
                  <a:lnTo>
                    <a:pt x="840" y="1098"/>
                  </a:lnTo>
                  <a:lnTo>
                    <a:pt x="840" y="1086"/>
                  </a:lnTo>
                  <a:lnTo>
                    <a:pt x="846" y="1074"/>
                  </a:lnTo>
                  <a:lnTo>
                    <a:pt x="852" y="1068"/>
                  </a:lnTo>
                  <a:lnTo>
                    <a:pt x="864" y="1038"/>
                  </a:lnTo>
                  <a:lnTo>
                    <a:pt x="870" y="1020"/>
                  </a:lnTo>
                  <a:lnTo>
                    <a:pt x="864" y="1008"/>
                  </a:lnTo>
                  <a:lnTo>
                    <a:pt x="858" y="990"/>
                  </a:lnTo>
                  <a:lnTo>
                    <a:pt x="852" y="954"/>
                  </a:lnTo>
                  <a:lnTo>
                    <a:pt x="846" y="948"/>
                  </a:lnTo>
                  <a:lnTo>
                    <a:pt x="834" y="936"/>
                  </a:lnTo>
                  <a:lnTo>
                    <a:pt x="828" y="924"/>
                  </a:lnTo>
                  <a:lnTo>
                    <a:pt x="756" y="942"/>
                  </a:lnTo>
                  <a:lnTo>
                    <a:pt x="744" y="936"/>
                  </a:lnTo>
                  <a:lnTo>
                    <a:pt x="744" y="930"/>
                  </a:lnTo>
                  <a:lnTo>
                    <a:pt x="738" y="924"/>
                  </a:lnTo>
                  <a:lnTo>
                    <a:pt x="744" y="924"/>
                  </a:lnTo>
                  <a:lnTo>
                    <a:pt x="738" y="918"/>
                  </a:lnTo>
                  <a:lnTo>
                    <a:pt x="732" y="912"/>
                  </a:lnTo>
                  <a:lnTo>
                    <a:pt x="732" y="906"/>
                  </a:lnTo>
                  <a:lnTo>
                    <a:pt x="732" y="894"/>
                  </a:lnTo>
                  <a:lnTo>
                    <a:pt x="726" y="888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6"/>
                  </a:lnTo>
                  <a:lnTo>
                    <a:pt x="690" y="882"/>
                  </a:lnTo>
                  <a:lnTo>
                    <a:pt x="684" y="864"/>
                  </a:lnTo>
                  <a:lnTo>
                    <a:pt x="684" y="852"/>
                  </a:lnTo>
                  <a:lnTo>
                    <a:pt x="672" y="852"/>
                  </a:lnTo>
                  <a:lnTo>
                    <a:pt x="654" y="852"/>
                  </a:lnTo>
                  <a:lnTo>
                    <a:pt x="642" y="846"/>
                  </a:lnTo>
                  <a:lnTo>
                    <a:pt x="636" y="834"/>
                  </a:lnTo>
                  <a:lnTo>
                    <a:pt x="630" y="822"/>
                  </a:lnTo>
                  <a:lnTo>
                    <a:pt x="618" y="822"/>
                  </a:lnTo>
                  <a:lnTo>
                    <a:pt x="618" y="816"/>
                  </a:lnTo>
                  <a:lnTo>
                    <a:pt x="618" y="810"/>
                  </a:lnTo>
                  <a:lnTo>
                    <a:pt x="612" y="810"/>
                  </a:lnTo>
                  <a:lnTo>
                    <a:pt x="606" y="804"/>
                  </a:lnTo>
                  <a:lnTo>
                    <a:pt x="594" y="804"/>
                  </a:lnTo>
                  <a:lnTo>
                    <a:pt x="588" y="810"/>
                  </a:lnTo>
                  <a:lnTo>
                    <a:pt x="588" y="804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70" y="810"/>
                  </a:lnTo>
                  <a:lnTo>
                    <a:pt x="564" y="816"/>
                  </a:lnTo>
                  <a:lnTo>
                    <a:pt x="558" y="816"/>
                  </a:lnTo>
                  <a:lnTo>
                    <a:pt x="552" y="822"/>
                  </a:lnTo>
                  <a:lnTo>
                    <a:pt x="546" y="828"/>
                  </a:lnTo>
                  <a:lnTo>
                    <a:pt x="546" y="834"/>
                  </a:lnTo>
                  <a:lnTo>
                    <a:pt x="528" y="834"/>
                  </a:lnTo>
                  <a:lnTo>
                    <a:pt x="516" y="822"/>
                  </a:lnTo>
                  <a:lnTo>
                    <a:pt x="504" y="822"/>
                  </a:lnTo>
                  <a:lnTo>
                    <a:pt x="492" y="82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6" y="792"/>
                  </a:lnTo>
                  <a:lnTo>
                    <a:pt x="492" y="786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504" y="780"/>
                  </a:lnTo>
                  <a:lnTo>
                    <a:pt x="510" y="780"/>
                  </a:lnTo>
                  <a:lnTo>
                    <a:pt x="522" y="768"/>
                  </a:lnTo>
                  <a:lnTo>
                    <a:pt x="522" y="762"/>
                  </a:lnTo>
                  <a:lnTo>
                    <a:pt x="504" y="756"/>
                  </a:lnTo>
                  <a:lnTo>
                    <a:pt x="498" y="756"/>
                  </a:lnTo>
                  <a:lnTo>
                    <a:pt x="498" y="744"/>
                  </a:lnTo>
                  <a:lnTo>
                    <a:pt x="492" y="738"/>
                  </a:lnTo>
                  <a:lnTo>
                    <a:pt x="480" y="738"/>
                  </a:lnTo>
                  <a:lnTo>
                    <a:pt x="474" y="738"/>
                  </a:lnTo>
                  <a:lnTo>
                    <a:pt x="456" y="738"/>
                  </a:lnTo>
                  <a:lnTo>
                    <a:pt x="438" y="738"/>
                  </a:lnTo>
                  <a:lnTo>
                    <a:pt x="432" y="750"/>
                  </a:lnTo>
                  <a:lnTo>
                    <a:pt x="426" y="756"/>
                  </a:lnTo>
                  <a:lnTo>
                    <a:pt x="426" y="762"/>
                  </a:lnTo>
                  <a:lnTo>
                    <a:pt x="420" y="762"/>
                  </a:lnTo>
                  <a:lnTo>
                    <a:pt x="408" y="744"/>
                  </a:lnTo>
                  <a:lnTo>
                    <a:pt x="408" y="732"/>
                  </a:lnTo>
                  <a:lnTo>
                    <a:pt x="390" y="714"/>
                  </a:lnTo>
                  <a:lnTo>
                    <a:pt x="384" y="702"/>
                  </a:lnTo>
                  <a:lnTo>
                    <a:pt x="384" y="690"/>
                  </a:lnTo>
                  <a:lnTo>
                    <a:pt x="372" y="690"/>
                  </a:lnTo>
                  <a:lnTo>
                    <a:pt x="366" y="660"/>
                  </a:lnTo>
                  <a:lnTo>
                    <a:pt x="354" y="630"/>
                  </a:lnTo>
                  <a:lnTo>
                    <a:pt x="348" y="630"/>
                  </a:lnTo>
                  <a:lnTo>
                    <a:pt x="336" y="630"/>
                  </a:lnTo>
                  <a:lnTo>
                    <a:pt x="330" y="630"/>
                  </a:lnTo>
                  <a:lnTo>
                    <a:pt x="318" y="630"/>
                  </a:lnTo>
                  <a:lnTo>
                    <a:pt x="312" y="624"/>
                  </a:lnTo>
                  <a:lnTo>
                    <a:pt x="306" y="624"/>
                  </a:lnTo>
                  <a:lnTo>
                    <a:pt x="294" y="618"/>
                  </a:lnTo>
                  <a:lnTo>
                    <a:pt x="288" y="612"/>
                  </a:lnTo>
                  <a:lnTo>
                    <a:pt x="276" y="600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58" y="588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8"/>
                  </a:lnTo>
                  <a:lnTo>
                    <a:pt x="216" y="582"/>
                  </a:lnTo>
                  <a:lnTo>
                    <a:pt x="210" y="588"/>
                  </a:lnTo>
                  <a:lnTo>
                    <a:pt x="198" y="582"/>
                  </a:lnTo>
                  <a:lnTo>
                    <a:pt x="180" y="582"/>
                  </a:lnTo>
                  <a:lnTo>
                    <a:pt x="174" y="552"/>
                  </a:lnTo>
                  <a:lnTo>
                    <a:pt x="168" y="504"/>
                  </a:lnTo>
                  <a:lnTo>
                    <a:pt x="186" y="504"/>
                  </a:lnTo>
                  <a:lnTo>
                    <a:pt x="192" y="504"/>
                  </a:lnTo>
                  <a:lnTo>
                    <a:pt x="192" y="498"/>
                  </a:lnTo>
                  <a:lnTo>
                    <a:pt x="192" y="492"/>
                  </a:lnTo>
                  <a:lnTo>
                    <a:pt x="192" y="486"/>
                  </a:lnTo>
                  <a:lnTo>
                    <a:pt x="198" y="486"/>
                  </a:lnTo>
                  <a:lnTo>
                    <a:pt x="198" y="480"/>
                  </a:lnTo>
                  <a:lnTo>
                    <a:pt x="204" y="474"/>
                  </a:lnTo>
                  <a:lnTo>
                    <a:pt x="210" y="468"/>
                  </a:lnTo>
                  <a:lnTo>
                    <a:pt x="198" y="462"/>
                  </a:lnTo>
                  <a:lnTo>
                    <a:pt x="192" y="444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32"/>
                  </a:lnTo>
                  <a:lnTo>
                    <a:pt x="168" y="438"/>
                  </a:lnTo>
                  <a:lnTo>
                    <a:pt x="150" y="450"/>
                  </a:lnTo>
                  <a:lnTo>
                    <a:pt x="144" y="456"/>
                  </a:lnTo>
                  <a:lnTo>
                    <a:pt x="132" y="456"/>
                  </a:lnTo>
                  <a:lnTo>
                    <a:pt x="126" y="468"/>
                  </a:lnTo>
                  <a:lnTo>
                    <a:pt x="114" y="468"/>
                  </a:lnTo>
                  <a:lnTo>
                    <a:pt x="108" y="468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14"/>
                  </a:lnTo>
                  <a:lnTo>
                    <a:pt x="108" y="396"/>
                  </a:lnTo>
                  <a:lnTo>
                    <a:pt x="120" y="396"/>
                  </a:lnTo>
                  <a:lnTo>
                    <a:pt x="126" y="384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84" y="354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0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60" y="318"/>
                  </a:lnTo>
                  <a:lnTo>
                    <a:pt x="42" y="324"/>
                  </a:lnTo>
                  <a:lnTo>
                    <a:pt x="36" y="318"/>
                  </a:lnTo>
                  <a:lnTo>
                    <a:pt x="36" y="312"/>
                  </a:lnTo>
                  <a:lnTo>
                    <a:pt x="36" y="306"/>
                  </a:lnTo>
                  <a:lnTo>
                    <a:pt x="36" y="300"/>
                  </a:lnTo>
                  <a:lnTo>
                    <a:pt x="30" y="300"/>
                  </a:lnTo>
                  <a:lnTo>
                    <a:pt x="30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24" y="276"/>
                  </a:lnTo>
                  <a:lnTo>
                    <a:pt x="18" y="276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18" y="234"/>
                  </a:lnTo>
                  <a:lnTo>
                    <a:pt x="30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42" y="192"/>
                  </a:lnTo>
                  <a:lnTo>
                    <a:pt x="66" y="186"/>
                  </a:lnTo>
                  <a:lnTo>
                    <a:pt x="90" y="156"/>
                  </a:lnTo>
                  <a:lnTo>
                    <a:pt x="102" y="144"/>
                  </a:lnTo>
                  <a:lnTo>
                    <a:pt x="138" y="150"/>
                  </a:lnTo>
                  <a:lnTo>
                    <a:pt x="162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0" y="180"/>
                  </a:lnTo>
                  <a:lnTo>
                    <a:pt x="174" y="180"/>
                  </a:lnTo>
                  <a:lnTo>
                    <a:pt x="180" y="186"/>
                  </a:lnTo>
                  <a:lnTo>
                    <a:pt x="186" y="186"/>
                  </a:lnTo>
                  <a:lnTo>
                    <a:pt x="198" y="192"/>
                  </a:lnTo>
                  <a:lnTo>
                    <a:pt x="216" y="198"/>
                  </a:lnTo>
                  <a:lnTo>
                    <a:pt x="252" y="204"/>
                  </a:lnTo>
                  <a:lnTo>
                    <a:pt x="258" y="210"/>
                  </a:lnTo>
                  <a:lnTo>
                    <a:pt x="306" y="216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84" y="210"/>
                  </a:lnTo>
                  <a:lnTo>
                    <a:pt x="408" y="222"/>
                  </a:lnTo>
                  <a:lnTo>
                    <a:pt x="438" y="228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86" y="222"/>
                  </a:lnTo>
                  <a:lnTo>
                    <a:pt x="492" y="210"/>
                  </a:lnTo>
                  <a:lnTo>
                    <a:pt x="492" y="198"/>
                  </a:lnTo>
                  <a:lnTo>
                    <a:pt x="486" y="180"/>
                  </a:lnTo>
                  <a:lnTo>
                    <a:pt x="492" y="162"/>
                  </a:lnTo>
                  <a:lnTo>
                    <a:pt x="510" y="96"/>
                  </a:lnTo>
                  <a:lnTo>
                    <a:pt x="516" y="84"/>
                  </a:lnTo>
                  <a:lnTo>
                    <a:pt x="522" y="84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34" y="72"/>
                  </a:lnTo>
                  <a:lnTo>
                    <a:pt x="534" y="60"/>
                  </a:lnTo>
                  <a:lnTo>
                    <a:pt x="540" y="36"/>
                  </a:lnTo>
                  <a:lnTo>
                    <a:pt x="546" y="6"/>
                  </a:lnTo>
                  <a:lnTo>
                    <a:pt x="558" y="6"/>
                  </a:lnTo>
                  <a:lnTo>
                    <a:pt x="564" y="0"/>
                  </a:lnTo>
                  <a:lnTo>
                    <a:pt x="582" y="0"/>
                  </a:lnTo>
                  <a:lnTo>
                    <a:pt x="588" y="0"/>
                  </a:lnTo>
                  <a:lnTo>
                    <a:pt x="594" y="6"/>
                  </a:lnTo>
                  <a:lnTo>
                    <a:pt x="600" y="12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24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36" y="36"/>
                  </a:lnTo>
                  <a:lnTo>
                    <a:pt x="642" y="36"/>
                  </a:lnTo>
                  <a:lnTo>
                    <a:pt x="642" y="42"/>
                  </a:lnTo>
                  <a:lnTo>
                    <a:pt x="648" y="54"/>
                  </a:lnTo>
                  <a:lnTo>
                    <a:pt x="660" y="72"/>
                  </a:lnTo>
                  <a:lnTo>
                    <a:pt x="666" y="78"/>
                  </a:lnTo>
                  <a:lnTo>
                    <a:pt x="672" y="90"/>
                  </a:lnTo>
                  <a:lnTo>
                    <a:pt x="678" y="102"/>
                  </a:lnTo>
                  <a:lnTo>
                    <a:pt x="678" y="114"/>
                  </a:lnTo>
                  <a:lnTo>
                    <a:pt x="684" y="132"/>
                  </a:lnTo>
                  <a:lnTo>
                    <a:pt x="684" y="144"/>
                  </a:lnTo>
                  <a:lnTo>
                    <a:pt x="690" y="162"/>
                  </a:lnTo>
                  <a:lnTo>
                    <a:pt x="696" y="168"/>
                  </a:lnTo>
                  <a:lnTo>
                    <a:pt x="696" y="180"/>
                  </a:lnTo>
                  <a:lnTo>
                    <a:pt x="702" y="186"/>
                  </a:lnTo>
                  <a:lnTo>
                    <a:pt x="708" y="186"/>
                  </a:lnTo>
                  <a:lnTo>
                    <a:pt x="714" y="198"/>
                  </a:lnTo>
                  <a:lnTo>
                    <a:pt x="720" y="198"/>
                  </a:lnTo>
                  <a:lnTo>
                    <a:pt x="732" y="204"/>
                  </a:lnTo>
                  <a:lnTo>
                    <a:pt x="738" y="210"/>
                  </a:lnTo>
                  <a:lnTo>
                    <a:pt x="738" y="216"/>
                  </a:lnTo>
                  <a:lnTo>
                    <a:pt x="744" y="222"/>
                  </a:lnTo>
                  <a:lnTo>
                    <a:pt x="750" y="228"/>
                  </a:lnTo>
                  <a:lnTo>
                    <a:pt x="756" y="228"/>
                  </a:lnTo>
                  <a:lnTo>
                    <a:pt x="768" y="240"/>
                  </a:lnTo>
                  <a:lnTo>
                    <a:pt x="774" y="252"/>
                  </a:lnTo>
                  <a:lnTo>
                    <a:pt x="780" y="258"/>
                  </a:lnTo>
                  <a:lnTo>
                    <a:pt x="786" y="258"/>
                  </a:lnTo>
                  <a:lnTo>
                    <a:pt x="798" y="264"/>
                  </a:lnTo>
                  <a:lnTo>
                    <a:pt x="798" y="270"/>
                  </a:lnTo>
                  <a:lnTo>
                    <a:pt x="798" y="276"/>
                  </a:lnTo>
                  <a:lnTo>
                    <a:pt x="810" y="288"/>
                  </a:lnTo>
                  <a:lnTo>
                    <a:pt x="816" y="288"/>
                  </a:lnTo>
                  <a:lnTo>
                    <a:pt x="816" y="300"/>
                  </a:lnTo>
                  <a:lnTo>
                    <a:pt x="816" y="306"/>
                  </a:lnTo>
                  <a:lnTo>
                    <a:pt x="822" y="318"/>
                  </a:lnTo>
                  <a:lnTo>
                    <a:pt x="828" y="324"/>
                  </a:lnTo>
                  <a:lnTo>
                    <a:pt x="834" y="330"/>
                  </a:lnTo>
                  <a:lnTo>
                    <a:pt x="846" y="336"/>
                  </a:lnTo>
                  <a:lnTo>
                    <a:pt x="846" y="342"/>
                  </a:lnTo>
                  <a:lnTo>
                    <a:pt x="852" y="348"/>
                  </a:lnTo>
                  <a:lnTo>
                    <a:pt x="852" y="354"/>
                  </a:lnTo>
                  <a:lnTo>
                    <a:pt x="858" y="354"/>
                  </a:lnTo>
                  <a:lnTo>
                    <a:pt x="858" y="348"/>
                  </a:lnTo>
                  <a:lnTo>
                    <a:pt x="864" y="342"/>
                  </a:lnTo>
                  <a:lnTo>
                    <a:pt x="864" y="336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76" y="306"/>
                  </a:lnTo>
                  <a:lnTo>
                    <a:pt x="870" y="300"/>
                  </a:lnTo>
                  <a:lnTo>
                    <a:pt x="870" y="294"/>
                  </a:lnTo>
                  <a:lnTo>
                    <a:pt x="876" y="294"/>
                  </a:lnTo>
                  <a:lnTo>
                    <a:pt x="882" y="300"/>
                  </a:lnTo>
                  <a:lnTo>
                    <a:pt x="888" y="300"/>
                  </a:lnTo>
                  <a:lnTo>
                    <a:pt x="888" y="306"/>
                  </a:lnTo>
                  <a:lnTo>
                    <a:pt x="894" y="300"/>
                  </a:lnTo>
                  <a:lnTo>
                    <a:pt x="900" y="294"/>
                  </a:lnTo>
                  <a:lnTo>
                    <a:pt x="894" y="288"/>
                  </a:lnTo>
                  <a:lnTo>
                    <a:pt x="888" y="282"/>
                  </a:lnTo>
                  <a:lnTo>
                    <a:pt x="888" y="276"/>
                  </a:lnTo>
                  <a:lnTo>
                    <a:pt x="894" y="276"/>
                  </a:lnTo>
                  <a:lnTo>
                    <a:pt x="900" y="276"/>
                  </a:lnTo>
                  <a:lnTo>
                    <a:pt x="900" y="270"/>
                  </a:lnTo>
                  <a:lnTo>
                    <a:pt x="906" y="264"/>
                  </a:lnTo>
                  <a:lnTo>
                    <a:pt x="906" y="258"/>
                  </a:lnTo>
                  <a:lnTo>
                    <a:pt x="918" y="264"/>
                  </a:lnTo>
                  <a:lnTo>
                    <a:pt x="918" y="258"/>
                  </a:lnTo>
                  <a:lnTo>
                    <a:pt x="924" y="252"/>
                  </a:lnTo>
                  <a:lnTo>
                    <a:pt x="930" y="252"/>
                  </a:lnTo>
                  <a:lnTo>
                    <a:pt x="930" y="246"/>
                  </a:lnTo>
                  <a:lnTo>
                    <a:pt x="936" y="234"/>
                  </a:lnTo>
                  <a:lnTo>
                    <a:pt x="942" y="228"/>
                  </a:lnTo>
                  <a:lnTo>
                    <a:pt x="942" y="222"/>
                  </a:lnTo>
                  <a:lnTo>
                    <a:pt x="948" y="222"/>
                  </a:lnTo>
                  <a:lnTo>
                    <a:pt x="948" y="216"/>
                  </a:lnTo>
                  <a:lnTo>
                    <a:pt x="942" y="216"/>
                  </a:lnTo>
                  <a:lnTo>
                    <a:pt x="936" y="216"/>
                  </a:lnTo>
                  <a:lnTo>
                    <a:pt x="936" y="210"/>
                  </a:lnTo>
                  <a:lnTo>
                    <a:pt x="942" y="210"/>
                  </a:lnTo>
                  <a:lnTo>
                    <a:pt x="972" y="210"/>
                  </a:lnTo>
                  <a:lnTo>
                    <a:pt x="1032" y="216"/>
                  </a:lnTo>
                  <a:lnTo>
                    <a:pt x="1068" y="216"/>
                  </a:lnTo>
                  <a:lnTo>
                    <a:pt x="1056" y="234"/>
                  </a:lnTo>
                  <a:lnTo>
                    <a:pt x="1050" y="240"/>
                  </a:lnTo>
                  <a:lnTo>
                    <a:pt x="1044" y="246"/>
                  </a:lnTo>
                  <a:lnTo>
                    <a:pt x="1038" y="246"/>
                  </a:lnTo>
                  <a:lnTo>
                    <a:pt x="1026" y="282"/>
                  </a:lnTo>
                  <a:lnTo>
                    <a:pt x="1032" y="306"/>
                  </a:lnTo>
                  <a:lnTo>
                    <a:pt x="1044" y="324"/>
                  </a:lnTo>
                  <a:lnTo>
                    <a:pt x="1044" y="342"/>
                  </a:lnTo>
                  <a:lnTo>
                    <a:pt x="1062" y="366"/>
                  </a:lnTo>
                  <a:lnTo>
                    <a:pt x="1056" y="396"/>
                  </a:lnTo>
                  <a:lnTo>
                    <a:pt x="1038" y="462"/>
                  </a:lnTo>
                  <a:lnTo>
                    <a:pt x="1038" y="498"/>
                  </a:lnTo>
                  <a:lnTo>
                    <a:pt x="1038" y="522"/>
                  </a:lnTo>
                  <a:lnTo>
                    <a:pt x="1038" y="534"/>
                  </a:lnTo>
                  <a:lnTo>
                    <a:pt x="1056" y="522"/>
                  </a:lnTo>
                  <a:lnTo>
                    <a:pt x="1098" y="504"/>
                  </a:lnTo>
                  <a:lnTo>
                    <a:pt x="1104" y="498"/>
                  </a:lnTo>
                  <a:lnTo>
                    <a:pt x="1128" y="492"/>
                  </a:lnTo>
                  <a:lnTo>
                    <a:pt x="1152" y="480"/>
                  </a:lnTo>
                  <a:lnTo>
                    <a:pt x="1170" y="474"/>
                  </a:lnTo>
                  <a:lnTo>
                    <a:pt x="1188" y="468"/>
                  </a:lnTo>
                  <a:lnTo>
                    <a:pt x="1200" y="462"/>
                  </a:lnTo>
                  <a:lnTo>
                    <a:pt x="1224" y="450"/>
                  </a:lnTo>
                  <a:lnTo>
                    <a:pt x="1248" y="450"/>
                  </a:lnTo>
                  <a:lnTo>
                    <a:pt x="1266" y="450"/>
                  </a:lnTo>
                  <a:lnTo>
                    <a:pt x="1296" y="456"/>
                  </a:lnTo>
                  <a:lnTo>
                    <a:pt x="1308" y="456"/>
                  </a:lnTo>
                  <a:lnTo>
                    <a:pt x="1326" y="456"/>
                  </a:lnTo>
                  <a:lnTo>
                    <a:pt x="1338" y="456"/>
                  </a:lnTo>
                  <a:lnTo>
                    <a:pt x="1350" y="462"/>
                  </a:lnTo>
                  <a:lnTo>
                    <a:pt x="1356" y="462"/>
                  </a:lnTo>
                  <a:lnTo>
                    <a:pt x="1374" y="456"/>
                  </a:lnTo>
                  <a:lnTo>
                    <a:pt x="1386" y="456"/>
                  </a:lnTo>
                  <a:lnTo>
                    <a:pt x="1392" y="456"/>
                  </a:lnTo>
                  <a:lnTo>
                    <a:pt x="1398" y="456"/>
                  </a:lnTo>
                  <a:lnTo>
                    <a:pt x="1422" y="456"/>
                  </a:lnTo>
                  <a:lnTo>
                    <a:pt x="1440" y="456"/>
                  </a:lnTo>
                  <a:lnTo>
                    <a:pt x="1446" y="456"/>
                  </a:lnTo>
                  <a:lnTo>
                    <a:pt x="1476" y="456"/>
                  </a:lnTo>
                  <a:lnTo>
                    <a:pt x="1470" y="468"/>
                  </a:lnTo>
                  <a:lnTo>
                    <a:pt x="1470" y="474"/>
                  </a:lnTo>
                  <a:lnTo>
                    <a:pt x="1470" y="486"/>
                  </a:lnTo>
                  <a:lnTo>
                    <a:pt x="1464" y="492"/>
                  </a:lnTo>
                  <a:lnTo>
                    <a:pt x="1464" y="498"/>
                  </a:lnTo>
                  <a:lnTo>
                    <a:pt x="1458" y="498"/>
                  </a:lnTo>
                  <a:lnTo>
                    <a:pt x="1458" y="510"/>
                  </a:lnTo>
                  <a:lnTo>
                    <a:pt x="1452" y="522"/>
                  </a:lnTo>
                  <a:lnTo>
                    <a:pt x="1458" y="528"/>
                  </a:lnTo>
                  <a:lnTo>
                    <a:pt x="1464" y="546"/>
                  </a:lnTo>
                  <a:lnTo>
                    <a:pt x="1470" y="552"/>
                  </a:lnTo>
                  <a:lnTo>
                    <a:pt x="1476" y="564"/>
                  </a:lnTo>
                  <a:lnTo>
                    <a:pt x="1488" y="588"/>
                  </a:lnTo>
                  <a:lnTo>
                    <a:pt x="1506" y="606"/>
                  </a:lnTo>
                  <a:lnTo>
                    <a:pt x="1506" y="612"/>
                  </a:lnTo>
                  <a:lnTo>
                    <a:pt x="1518" y="618"/>
                  </a:lnTo>
                  <a:lnTo>
                    <a:pt x="1512" y="630"/>
                  </a:lnTo>
                  <a:lnTo>
                    <a:pt x="1518" y="642"/>
                  </a:lnTo>
                  <a:lnTo>
                    <a:pt x="1518" y="648"/>
                  </a:lnTo>
                  <a:lnTo>
                    <a:pt x="1530" y="666"/>
                  </a:lnTo>
                  <a:lnTo>
                    <a:pt x="1518" y="672"/>
                  </a:lnTo>
                  <a:lnTo>
                    <a:pt x="1524" y="696"/>
                  </a:lnTo>
                  <a:lnTo>
                    <a:pt x="1518" y="732"/>
                  </a:lnTo>
                  <a:lnTo>
                    <a:pt x="1524" y="762"/>
                  </a:lnTo>
                  <a:lnTo>
                    <a:pt x="1524" y="780"/>
                  </a:lnTo>
                  <a:lnTo>
                    <a:pt x="1524" y="810"/>
                  </a:lnTo>
                  <a:lnTo>
                    <a:pt x="1530" y="834"/>
                  </a:lnTo>
                  <a:lnTo>
                    <a:pt x="1536" y="846"/>
                  </a:lnTo>
                  <a:lnTo>
                    <a:pt x="1542" y="846"/>
                  </a:lnTo>
                  <a:lnTo>
                    <a:pt x="1584" y="840"/>
                  </a:lnTo>
                  <a:lnTo>
                    <a:pt x="1590" y="846"/>
                  </a:lnTo>
                  <a:lnTo>
                    <a:pt x="1596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90" y="864"/>
                  </a:lnTo>
                  <a:lnTo>
                    <a:pt x="1578" y="882"/>
                  </a:lnTo>
                  <a:lnTo>
                    <a:pt x="1572" y="906"/>
                  </a:lnTo>
                  <a:lnTo>
                    <a:pt x="1560" y="924"/>
                  </a:lnTo>
                  <a:lnTo>
                    <a:pt x="1560" y="936"/>
                  </a:lnTo>
                  <a:lnTo>
                    <a:pt x="1548" y="960"/>
                  </a:lnTo>
                  <a:lnTo>
                    <a:pt x="1542" y="978"/>
                  </a:lnTo>
                  <a:lnTo>
                    <a:pt x="1536" y="990"/>
                  </a:lnTo>
                  <a:lnTo>
                    <a:pt x="1530" y="990"/>
                  </a:lnTo>
                  <a:lnTo>
                    <a:pt x="1506" y="996"/>
                  </a:lnTo>
                  <a:lnTo>
                    <a:pt x="1494" y="1002"/>
                  </a:lnTo>
                  <a:lnTo>
                    <a:pt x="1482" y="1002"/>
                  </a:lnTo>
                  <a:lnTo>
                    <a:pt x="1464" y="1008"/>
                  </a:lnTo>
                  <a:lnTo>
                    <a:pt x="1446" y="1026"/>
                  </a:lnTo>
                  <a:lnTo>
                    <a:pt x="1440" y="1026"/>
                  </a:lnTo>
                  <a:lnTo>
                    <a:pt x="1434" y="1038"/>
                  </a:lnTo>
                  <a:lnTo>
                    <a:pt x="1428" y="1044"/>
                  </a:lnTo>
                  <a:lnTo>
                    <a:pt x="1428" y="1062"/>
                  </a:lnTo>
                  <a:lnTo>
                    <a:pt x="1428" y="1086"/>
                  </a:lnTo>
                  <a:lnTo>
                    <a:pt x="1416" y="1092"/>
                  </a:lnTo>
                  <a:lnTo>
                    <a:pt x="1410" y="1080"/>
                  </a:lnTo>
                  <a:lnTo>
                    <a:pt x="1392" y="10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0" name="Freeform 25">
              <a:extLst>
                <a:ext uri="{FF2B5EF4-FFF2-40B4-BE49-F238E27FC236}">
                  <a16:creationId xmlns:a16="http://schemas.microsoft.com/office/drawing/2014/main" id="{39FDFF90-5ACF-4D65-81AD-C44D2CBE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70228" y="3063559"/>
              <a:ext cx="644023" cy="704498"/>
            </a:xfrm>
            <a:custGeom>
              <a:avLst/>
              <a:gdLst>
                <a:gd name="T0" fmla="*/ 74 w 1212"/>
                <a:gd name="T1" fmla="*/ 113 h 1326"/>
                <a:gd name="T2" fmla="*/ 60 w 1212"/>
                <a:gd name="T3" fmla="*/ 116 h 1326"/>
                <a:gd name="T4" fmla="*/ 62 w 1212"/>
                <a:gd name="T5" fmla="*/ 110 h 1326"/>
                <a:gd name="T6" fmla="*/ 60 w 1212"/>
                <a:gd name="T7" fmla="*/ 105 h 1326"/>
                <a:gd name="T8" fmla="*/ 52 w 1212"/>
                <a:gd name="T9" fmla="*/ 96 h 1326"/>
                <a:gd name="T10" fmla="*/ 47 w 1212"/>
                <a:gd name="T11" fmla="*/ 98 h 1326"/>
                <a:gd name="T12" fmla="*/ 44 w 1212"/>
                <a:gd name="T13" fmla="*/ 93 h 1326"/>
                <a:gd name="T14" fmla="*/ 40 w 1212"/>
                <a:gd name="T15" fmla="*/ 96 h 1326"/>
                <a:gd name="T16" fmla="*/ 35 w 1212"/>
                <a:gd name="T17" fmla="*/ 102 h 1326"/>
                <a:gd name="T18" fmla="*/ 27 w 1212"/>
                <a:gd name="T19" fmla="*/ 100 h 1326"/>
                <a:gd name="T20" fmla="*/ 23 w 1212"/>
                <a:gd name="T21" fmla="*/ 96 h 1326"/>
                <a:gd name="T22" fmla="*/ 20 w 1212"/>
                <a:gd name="T23" fmla="*/ 90 h 1326"/>
                <a:gd name="T24" fmla="*/ 18 w 1212"/>
                <a:gd name="T25" fmla="*/ 89 h 1326"/>
                <a:gd name="T26" fmla="*/ 18 w 1212"/>
                <a:gd name="T27" fmla="*/ 85 h 1326"/>
                <a:gd name="T28" fmla="*/ 19 w 1212"/>
                <a:gd name="T29" fmla="*/ 83 h 1326"/>
                <a:gd name="T30" fmla="*/ 19 w 1212"/>
                <a:gd name="T31" fmla="*/ 82 h 1326"/>
                <a:gd name="T32" fmla="*/ 20 w 1212"/>
                <a:gd name="T33" fmla="*/ 79 h 1326"/>
                <a:gd name="T34" fmla="*/ 19 w 1212"/>
                <a:gd name="T35" fmla="*/ 75 h 1326"/>
                <a:gd name="T36" fmla="*/ 17 w 1212"/>
                <a:gd name="T37" fmla="*/ 77 h 1326"/>
                <a:gd name="T38" fmla="*/ 14 w 1212"/>
                <a:gd name="T39" fmla="*/ 76 h 1326"/>
                <a:gd name="T40" fmla="*/ 12 w 1212"/>
                <a:gd name="T41" fmla="*/ 71 h 1326"/>
                <a:gd name="T42" fmla="*/ 8 w 1212"/>
                <a:gd name="T43" fmla="*/ 69 h 1326"/>
                <a:gd name="T44" fmla="*/ 0 w 1212"/>
                <a:gd name="T45" fmla="*/ 72 h 1326"/>
                <a:gd name="T46" fmla="*/ 2 w 1212"/>
                <a:gd name="T47" fmla="*/ 67 h 1326"/>
                <a:gd name="T48" fmla="*/ 3 w 1212"/>
                <a:gd name="T49" fmla="*/ 61 h 1326"/>
                <a:gd name="T50" fmla="*/ 4 w 1212"/>
                <a:gd name="T51" fmla="*/ 56 h 1326"/>
                <a:gd name="T52" fmla="*/ 4 w 1212"/>
                <a:gd name="T53" fmla="*/ 52 h 1326"/>
                <a:gd name="T54" fmla="*/ 2 w 1212"/>
                <a:gd name="T55" fmla="*/ 47 h 1326"/>
                <a:gd name="T56" fmla="*/ 2 w 1212"/>
                <a:gd name="T57" fmla="*/ 42 h 1326"/>
                <a:gd name="T58" fmla="*/ 5 w 1212"/>
                <a:gd name="T59" fmla="*/ 39 h 1326"/>
                <a:gd name="T60" fmla="*/ 5 w 1212"/>
                <a:gd name="T61" fmla="*/ 35 h 1326"/>
                <a:gd name="T62" fmla="*/ 7 w 1212"/>
                <a:gd name="T63" fmla="*/ 31 h 1326"/>
                <a:gd name="T64" fmla="*/ 14 w 1212"/>
                <a:gd name="T65" fmla="*/ 31 h 1326"/>
                <a:gd name="T66" fmla="*/ 18 w 1212"/>
                <a:gd name="T67" fmla="*/ 27 h 1326"/>
                <a:gd name="T68" fmla="*/ 22 w 1212"/>
                <a:gd name="T69" fmla="*/ 24 h 1326"/>
                <a:gd name="T70" fmla="*/ 27 w 1212"/>
                <a:gd name="T71" fmla="*/ 20 h 1326"/>
                <a:gd name="T72" fmla="*/ 35 w 1212"/>
                <a:gd name="T73" fmla="*/ 21 h 1326"/>
                <a:gd name="T74" fmla="*/ 61 w 1212"/>
                <a:gd name="T75" fmla="*/ 8 h 1326"/>
                <a:gd name="T76" fmla="*/ 73 w 1212"/>
                <a:gd name="T77" fmla="*/ 4 h 1326"/>
                <a:gd name="T78" fmla="*/ 86 w 1212"/>
                <a:gd name="T79" fmla="*/ 12 h 1326"/>
                <a:gd name="T80" fmla="*/ 92 w 1212"/>
                <a:gd name="T81" fmla="*/ 13 h 1326"/>
                <a:gd name="T82" fmla="*/ 86 w 1212"/>
                <a:gd name="T83" fmla="*/ 18 h 1326"/>
                <a:gd name="T84" fmla="*/ 88 w 1212"/>
                <a:gd name="T85" fmla="*/ 33 h 1326"/>
                <a:gd name="T86" fmla="*/ 97 w 1212"/>
                <a:gd name="T87" fmla="*/ 49 h 1326"/>
                <a:gd name="T88" fmla="*/ 102 w 1212"/>
                <a:gd name="T89" fmla="*/ 57 h 1326"/>
                <a:gd name="T90" fmla="*/ 104 w 1212"/>
                <a:gd name="T91" fmla="*/ 67 h 1326"/>
                <a:gd name="T92" fmla="*/ 101 w 1212"/>
                <a:gd name="T93" fmla="*/ 69 h 1326"/>
                <a:gd name="T94" fmla="*/ 97 w 1212"/>
                <a:gd name="T95" fmla="*/ 69 h 1326"/>
                <a:gd name="T96" fmla="*/ 96 w 1212"/>
                <a:gd name="T97" fmla="*/ 71 h 1326"/>
                <a:gd name="T98" fmla="*/ 93 w 1212"/>
                <a:gd name="T99" fmla="*/ 70 h 1326"/>
                <a:gd name="T100" fmla="*/ 86 w 1212"/>
                <a:gd name="T101" fmla="*/ 69 h 1326"/>
                <a:gd name="T102" fmla="*/ 82 w 1212"/>
                <a:gd name="T103" fmla="*/ 73 h 1326"/>
                <a:gd name="T104" fmla="*/ 79 w 1212"/>
                <a:gd name="T105" fmla="*/ 74 h 1326"/>
                <a:gd name="T106" fmla="*/ 78 w 1212"/>
                <a:gd name="T107" fmla="*/ 79 h 1326"/>
                <a:gd name="T108" fmla="*/ 78 w 1212"/>
                <a:gd name="T109" fmla="*/ 83 h 1326"/>
                <a:gd name="T110" fmla="*/ 82 w 1212"/>
                <a:gd name="T111" fmla="*/ 87 h 1326"/>
                <a:gd name="T112" fmla="*/ 83 w 1212"/>
                <a:gd name="T113" fmla="*/ 90 h 1326"/>
                <a:gd name="T114" fmla="*/ 82 w 1212"/>
                <a:gd name="T115" fmla="*/ 94 h 1326"/>
                <a:gd name="T116" fmla="*/ 82 w 1212"/>
                <a:gd name="T117" fmla="*/ 98 h 1326"/>
                <a:gd name="T118" fmla="*/ 82 w 1212"/>
                <a:gd name="T119" fmla="*/ 104 h 1326"/>
                <a:gd name="T120" fmla="*/ 78 w 1212"/>
                <a:gd name="T121" fmla="*/ 110 h 132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12"/>
                <a:gd name="T184" fmla="*/ 0 h 1326"/>
                <a:gd name="T185" fmla="*/ 1212 w 1212"/>
                <a:gd name="T186" fmla="*/ 1326 h 132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12" h="1326">
                  <a:moveTo>
                    <a:pt x="906" y="1290"/>
                  </a:moveTo>
                  <a:lnTo>
                    <a:pt x="906" y="1296"/>
                  </a:lnTo>
                  <a:lnTo>
                    <a:pt x="900" y="1296"/>
                  </a:lnTo>
                  <a:lnTo>
                    <a:pt x="876" y="1290"/>
                  </a:lnTo>
                  <a:lnTo>
                    <a:pt x="870" y="1290"/>
                  </a:lnTo>
                  <a:lnTo>
                    <a:pt x="864" y="1296"/>
                  </a:lnTo>
                  <a:lnTo>
                    <a:pt x="852" y="1296"/>
                  </a:lnTo>
                  <a:lnTo>
                    <a:pt x="840" y="1302"/>
                  </a:lnTo>
                  <a:lnTo>
                    <a:pt x="834" y="1308"/>
                  </a:lnTo>
                  <a:lnTo>
                    <a:pt x="822" y="1320"/>
                  </a:lnTo>
                  <a:lnTo>
                    <a:pt x="816" y="1320"/>
                  </a:lnTo>
                  <a:lnTo>
                    <a:pt x="732" y="1320"/>
                  </a:lnTo>
                  <a:lnTo>
                    <a:pt x="696" y="1320"/>
                  </a:lnTo>
                  <a:lnTo>
                    <a:pt x="690" y="1326"/>
                  </a:lnTo>
                  <a:lnTo>
                    <a:pt x="678" y="1326"/>
                  </a:lnTo>
                  <a:lnTo>
                    <a:pt x="672" y="1308"/>
                  </a:lnTo>
                  <a:lnTo>
                    <a:pt x="696" y="1302"/>
                  </a:lnTo>
                  <a:lnTo>
                    <a:pt x="708" y="1296"/>
                  </a:lnTo>
                  <a:lnTo>
                    <a:pt x="720" y="1284"/>
                  </a:lnTo>
                  <a:lnTo>
                    <a:pt x="714" y="1278"/>
                  </a:lnTo>
                  <a:lnTo>
                    <a:pt x="714" y="1266"/>
                  </a:lnTo>
                  <a:lnTo>
                    <a:pt x="708" y="1260"/>
                  </a:lnTo>
                  <a:lnTo>
                    <a:pt x="708" y="1254"/>
                  </a:lnTo>
                  <a:lnTo>
                    <a:pt x="708" y="1248"/>
                  </a:lnTo>
                  <a:lnTo>
                    <a:pt x="702" y="1236"/>
                  </a:lnTo>
                  <a:lnTo>
                    <a:pt x="702" y="1230"/>
                  </a:lnTo>
                  <a:lnTo>
                    <a:pt x="702" y="1218"/>
                  </a:lnTo>
                  <a:lnTo>
                    <a:pt x="696" y="1200"/>
                  </a:lnTo>
                  <a:lnTo>
                    <a:pt x="696" y="1182"/>
                  </a:lnTo>
                  <a:lnTo>
                    <a:pt x="666" y="1182"/>
                  </a:lnTo>
                  <a:lnTo>
                    <a:pt x="672" y="1134"/>
                  </a:lnTo>
                  <a:lnTo>
                    <a:pt x="666" y="1128"/>
                  </a:lnTo>
                  <a:lnTo>
                    <a:pt x="660" y="1092"/>
                  </a:lnTo>
                  <a:lnTo>
                    <a:pt x="654" y="1098"/>
                  </a:lnTo>
                  <a:lnTo>
                    <a:pt x="594" y="1098"/>
                  </a:lnTo>
                  <a:lnTo>
                    <a:pt x="576" y="1098"/>
                  </a:lnTo>
                  <a:lnTo>
                    <a:pt x="570" y="1104"/>
                  </a:lnTo>
                  <a:lnTo>
                    <a:pt x="564" y="1110"/>
                  </a:lnTo>
                  <a:lnTo>
                    <a:pt x="558" y="1110"/>
                  </a:lnTo>
                  <a:lnTo>
                    <a:pt x="552" y="1110"/>
                  </a:lnTo>
                  <a:lnTo>
                    <a:pt x="546" y="1110"/>
                  </a:lnTo>
                  <a:lnTo>
                    <a:pt x="546" y="1116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10" y="1128"/>
                  </a:lnTo>
                  <a:lnTo>
                    <a:pt x="522" y="1104"/>
                  </a:lnTo>
                  <a:lnTo>
                    <a:pt x="510" y="1098"/>
                  </a:lnTo>
                  <a:lnTo>
                    <a:pt x="510" y="1074"/>
                  </a:lnTo>
                  <a:lnTo>
                    <a:pt x="504" y="1068"/>
                  </a:lnTo>
                  <a:lnTo>
                    <a:pt x="498" y="1068"/>
                  </a:lnTo>
                  <a:lnTo>
                    <a:pt x="492" y="1068"/>
                  </a:lnTo>
                  <a:lnTo>
                    <a:pt x="474" y="1080"/>
                  </a:lnTo>
                  <a:lnTo>
                    <a:pt x="474" y="1086"/>
                  </a:lnTo>
                  <a:lnTo>
                    <a:pt x="474" y="1092"/>
                  </a:lnTo>
                  <a:lnTo>
                    <a:pt x="468" y="1098"/>
                  </a:lnTo>
                  <a:lnTo>
                    <a:pt x="462" y="1104"/>
                  </a:lnTo>
                  <a:lnTo>
                    <a:pt x="456" y="1110"/>
                  </a:lnTo>
                  <a:lnTo>
                    <a:pt x="456" y="1122"/>
                  </a:lnTo>
                  <a:lnTo>
                    <a:pt x="456" y="1128"/>
                  </a:lnTo>
                  <a:lnTo>
                    <a:pt x="450" y="1140"/>
                  </a:lnTo>
                  <a:lnTo>
                    <a:pt x="444" y="1146"/>
                  </a:lnTo>
                  <a:lnTo>
                    <a:pt x="426" y="1170"/>
                  </a:lnTo>
                  <a:lnTo>
                    <a:pt x="408" y="1176"/>
                  </a:lnTo>
                  <a:lnTo>
                    <a:pt x="402" y="1170"/>
                  </a:lnTo>
                  <a:lnTo>
                    <a:pt x="396" y="1170"/>
                  </a:lnTo>
                  <a:lnTo>
                    <a:pt x="396" y="1158"/>
                  </a:lnTo>
                  <a:lnTo>
                    <a:pt x="384" y="1152"/>
                  </a:lnTo>
                  <a:lnTo>
                    <a:pt x="372" y="1140"/>
                  </a:lnTo>
                  <a:lnTo>
                    <a:pt x="354" y="1140"/>
                  </a:lnTo>
                  <a:lnTo>
                    <a:pt x="306" y="1146"/>
                  </a:lnTo>
                  <a:lnTo>
                    <a:pt x="294" y="1134"/>
                  </a:lnTo>
                  <a:lnTo>
                    <a:pt x="294" y="1128"/>
                  </a:lnTo>
                  <a:lnTo>
                    <a:pt x="288" y="1122"/>
                  </a:lnTo>
                  <a:lnTo>
                    <a:pt x="276" y="1122"/>
                  </a:lnTo>
                  <a:lnTo>
                    <a:pt x="276" y="1110"/>
                  </a:lnTo>
                  <a:lnTo>
                    <a:pt x="276" y="1104"/>
                  </a:lnTo>
                  <a:lnTo>
                    <a:pt x="270" y="1098"/>
                  </a:lnTo>
                  <a:lnTo>
                    <a:pt x="264" y="1086"/>
                  </a:lnTo>
                  <a:lnTo>
                    <a:pt x="264" y="1074"/>
                  </a:lnTo>
                  <a:lnTo>
                    <a:pt x="258" y="1068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34" y="1038"/>
                  </a:lnTo>
                  <a:lnTo>
                    <a:pt x="228" y="1038"/>
                  </a:lnTo>
                  <a:lnTo>
                    <a:pt x="222" y="1038"/>
                  </a:lnTo>
                  <a:lnTo>
                    <a:pt x="216" y="1038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0"/>
                  </a:lnTo>
                  <a:lnTo>
                    <a:pt x="204" y="1014"/>
                  </a:lnTo>
                  <a:lnTo>
                    <a:pt x="204" y="1008"/>
                  </a:lnTo>
                  <a:lnTo>
                    <a:pt x="198" y="1002"/>
                  </a:lnTo>
                  <a:lnTo>
                    <a:pt x="198" y="996"/>
                  </a:lnTo>
                  <a:lnTo>
                    <a:pt x="198" y="990"/>
                  </a:lnTo>
                  <a:lnTo>
                    <a:pt x="204" y="990"/>
                  </a:lnTo>
                  <a:lnTo>
                    <a:pt x="204" y="984"/>
                  </a:lnTo>
                  <a:lnTo>
                    <a:pt x="210" y="978"/>
                  </a:lnTo>
                  <a:lnTo>
                    <a:pt x="210" y="972"/>
                  </a:lnTo>
                  <a:lnTo>
                    <a:pt x="210" y="966"/>
                  </a:lnTo>
                  <a:lnTo>
                    <a:pt x="216" y="960"/>
                  </a:lnTo>
                  <a:lnTo>
                    <a:pt x="216" y="954"/>
                  </a:lnTo>
                  <a:lnTo>
                    <a:pt x="210" y="954"/>
                  </a:lnTo>
                  <a:lnTo>
                    <a:pt x="204" y="954"/>
                  </a:lnTo>
                  <a:lnTo>
                    <a:pt x="216" y="954"/>
                  </a:lnTo>
                  <a:lnTo>
                    <a:pt x="216" y="948"/>
                  </a:lnTo>
                  <a:lnTo>
                    <a:pt x="210" y="948"/>
                  </a:lnTo>
                  <a:lnTo>
                    <a:pt x="210" y="942"/>
                  </a:lnTo>
                  <a:lnTo>
                    <a:pt x="216" y="942"/>
                  </a:lnTo>
                  <a:lnTo>
                    <a:pt x="222" y="942"/>
                  </a:lnTo>
                  <a:lnTo>
                    <a:pt x="222" y="936"/>
                  </a:lnTo>
                  <a:lnTo>
                    <a:pt x="216" y="936"/>
                  </a:lnTo>
                  <a:lnTo>
                    <a:pt x="210" y="936"/>
                  </a:lnTo>
                  <a:lnTo>
                    <a:pt x="210" y="930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22" y="918"/>
                  </a:lnTo>
                  <a:lnTo>
                    <a:pt x="228" y="912"/>
                  </a:lnTo>
                  <a:lnTo>
                    <a:pt x="228" y="906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2" y="888"/>
                  </a:lnTo>
                  <a:lnTo>
                    <a:pt x="222" y="882"/>
                  </a:lnTo>
                  <a:lnTo>
                    <a:pt x="222" y="876"/>
                  </a:lnTo>
                  <a:lnTo>
                    <a:pt x="222" y="858"/>
                  </a:lnTo>
                  <a:lnTo>
                    <a:pt x="216" y="858"/>
                  </a:lnTo>
                  <a:lnTo>
                    <a:pt x="216" y="852"/>
                  </a:lnTo>
                  <a:lnTo>
                    <a:pt x="210" y="852"/>
                  </a:lnTo>
                  <a:lnTo>
                    <a:pt x="210" y="840"/>
                  </a:lnTo>
                  <a:lnTo>
                    <a:pt x="198" y="840"/>
                  </a:lnTo>
                  <a:lnTo>
                    <a:pt x="198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0" y="894"/>
                  </a:lnTo>
                  <a:lnTo>
                    <a:pt x="180" y="906"/>
                  </a:lnTo>
                  <a:lnTo>
                    <a:pt x="156" y="912"/>
                  </a:lnTo>
                  <a:lnTo>
                    <a:pt x="156" y="894"/>
                  </a:lnTo>
                  <a:lnTo>
                    <a:pt x="156" y="882"/>
                  </a:lnTo>
                  <a:lnTo>
                    <a:pt x="156" y="876"/>
                  </a:lnTo>
                  <a:lnTo>
                    <a:pt x="150" y="876"/>
                  </a:lnTo>
                  <a:lnTo>
                    <a:pt x="144" y="876"/>
                  </a:lnTo>
                  <a:lnTo>
                    <a:pt x="138" y="870"/>
                  </a:lnTo>
                  <a:lnTo>
                    <a:pt x="132" y="864"/>
                  </a:lnTo>
                  <a:lnTo>
                    <a:pt x="138" y="840"/>
                  </a:lnTo>
                  <a:lnTo>
                    <a:pt x="132" y="840"/>
                  </a:lnTo>
                  <a:lnTo>
                    <a:pt x="138" y="810"/>
                  </a:lnTo>
                  <a:lnTo>
                    <a:pt x="144" y="804"/>
                  </a:lnTo>
                  <a:lnTo>
                    <a:pt x="144" y="798"/>
                  </a:lnTo>
                  <a:lnTo>
                    <a:pt x="156" y="798"/>
                  </a:lnTo>
                  <a:lnTo>
                    <a:pt x="156" y="792"/>
                  </a:lnTo>
                  <a:lnTo>
                    <a:pt x="120" y="792"/>
                  </a:lnTo>
                  <a:lnTo>
                    <a:pt x="108" y="786"/>
                  </a:lnTo>
                  <a:lnTo>
                    <a:pt x="96" y="786"/>
                  </a:lnTo>
                  <a:lnTo>
                    <a:pt x="96" y="780"/>
                  </a:lnTo>
                  <a:lnTo>
                    <a:pt x="78" y="780"/>
                  </a:lnTo>
                  <a:lnTo>
                    <a:pt x="72" y="804"/>
                  </a:lnTo>
                  <a:lnTo>
                    <a:pt x="60" y="816"/>
                  </a:lnTo>
                  <a:lnTo>
                    <a:pt x="36" y="828"/>
                  </a:lnTo>
                  <a:lnTo>
                    <a:pt x="18" y="840"/>
                  </a:lnTo>
                  <a:lnTo>
                    <a:pt x="0" y="822"/>
                  </a:lnTo>
                  <a:lnTo>
                    <a:pt x="6" y="816"/>
                  </a:lnTo>
                  <a:lnTo>
                    <a:pt x="12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18" y="786"/>
                  </a:lnTo>
                  <a:lnTo>
                    <a:pt x="24" y="780"/>
                  </a:lnTo>
                  <a:lnTo>
                    <a:pt x="24" y="768"/>
                  </a:lnTo>
                  <a:lnTo>
                    <a:pt x="24" y="762"/>
                  </a:lnTo>
                  <a:lnTo>
                    <a:pt x="24" y="750"/>
                  </a:lnTo>
                  <a:lnTo>
                    <a:pt x="36" y="714"/>
                  </a:lnTo>
                  <a:lnTo>
                    <a:pt x="36" y="708"/>
                  </a:lnTo>
                  <a:lnTo>
                    <a:pt x="42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6" y="690"/>
                  </a:lnTo>
                  <a:lnTo>
                    <a:pt x="42" y="684"/>
                  </a:lnTo>
                  <a:lnTo>
                    <a:pt x="42" y="672"/>
                  </a:lnTo>
                  <a:lnTo>
                    <a:pt x="42" y="666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48" y="648"/>
                  </a:lnTo>
                  <a:lnTo>
                    <a:pt x="54" y="642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54" y="612"/>
                  </a:lnTo>
                  <a:lnTo>
                    <a:pt x="48" y="606"/>
                  </a:lnTo>
                  <a:lnTo>
                    <a:pt x="48" y="600"/>
                  </a:lnTo>
                  <a:lnTo>
                    <a:pt x="42" y="600"/>
                  </a:lnTo>
                  <a:lnTo>
                    <a:pt x="36" y="594"/>
                  </a:lnTo>
                  <a:lnTo>
                    <a:pt x="36" y="588"/>
                  </a:lnTo>
                  <a:lnTo>
                    <a:pt x="30" y="582"/>
                  </a:lnTo>
                  <a:lnTo>
                    <a:pt x="30" y="570"/>
                  </a:lnTo>
                  <a:lnTo>
                    <a:pt x="18" y="552"/>
                  </a:lnTo>
                  <a:lnTo>
                    <a:pt x="18" y="546"/>
                  </a:lnTo>
                  <a:lnTo>
                    <a:pt x="18" y="540"/>
                  </a:lnTo>
                  <a:lnTo>
                    <a:pt x="18" y="528"/>
                  </a:lnTo>
                  <a:lnTo>
                    <a:pt x="18" y="522"/>
                  </a:lnTo>
                  <a:lnTo>
                    <a:pt x="24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30" y="474"/>
                  </a:lnTo>
                  <a:lnTo>
                    <a:pt x="36" y="474"/>
                  </a:lnTo>
                  <a:lnTo>
                    <a:pt x="42" y="468"/>
                  </a:lnTo>
                  <a:lnTo>
                    <a:pt x="48" y="468"/>
                  </a:lnTo>
                  <a:lnTo>
                    <a:pt x="48" y="462"/>
                  </a:lnTo>
                  <a:lnTo>
                    <a:pt x="48" y="456"/>
                  </a:lnTo>
                  <a:lnTo>
                    <a:pt x="54" y="450"/>
                  </a:lnTo>
                  <a:lnTo>
                    <a:pt x="60" y="438"/>
                  </a:lnTo>
                  <a:lnTo>
                    <a:pt x="54" y="438"/>
                  </a:lnTo>
                  <a:lnTo>
                    <a:pt x="54" y="432"/>
                  </a:ln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54" y="402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6" y="384"/>
                  </a:lnTo>
                  <a:lnTo>
                    <a:pt x="72" y="372"/>
                  </a:lnTo>
                  <a:lnTo>
                    <a:pt x="78" y="366"/>
                  </a:lnTo>
                  <a:lnTo>
                    <a:pt x="84" y="360"/>
                  </a:lnTo>
                  <a:lnTo>
                    <a:pt x="102" y="360"/>
                  </a:lnTo>
                  <a:lnTo>
                    <a:pt x="114" y="36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8" y="360"/>
                  </a:lnTo>
                  <a:lnTo>
                    <a:pt x="156" y="360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74" y="342"/>
                  </a:lnTo>
                  <a:lnTo>
                    <a:pt x="180" y="342"/>
                  </a:lnTo>
                  <a:lnTo>
                    <a:pt x="186" y="336"/>
                  </a:lnTo>
                  <a:lnTo>
                    <a:pt x="192" y="330"/>
                  </a:lnTo>
                  <a:lnTo>
                    <a:pt x="204" y="312"/>
                  </a:lnTo>
                  <a:lnTo>
                    <a:pt x="210" y="312"/>
                  </a:lnTo>
                  <a:lnTo>
                    <a:pt x="216" y="306"/>
                  </a:lnTo>
                  <a:lnTo>
                    <a:pt x="216" y="300"/>
                  </a:lnTo>
                  <a:lnTo>
                    <a:pt x="222" y="288"/>
                  </a:lnTo>
                  <a:lnTo>
                    <a:pt x="234" y="288"/>
                  </a:lnTo>
                  <a:lnTo>
                    <a:pt x="240" y="282"/>
                  </a:lnTo>
                  <a:lnTo>
                    <a:pt x="246" y="282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70" y="270"/>
                  </a:lnTo>
                  <a:lnTo>
                    <a:pt x="276" y="264"/>
                  </a:lnTo>
                  <a:lnTo>
                    <a:pt x="282" y="26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8" y="234"/>
                  </a:lnTo>
                  <a:lnTo>
                    <a:pt x="330" y="234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72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14" y="240"/>
                  </a:lnTo>
                  <a:lnTo>
                    <a:pt x="444" y="216"/>
                  </a:lnTo>
                  <a:lnTo>
                    <a:pt x="480" y="204"/>
                  </a:lnTo>
                  <a:lnTo>
                    <a:pt x="600" y="150"/>
                  </a:lnTo>
                  <a:lnTo>
                    <a:pt x="648" y="126"/>
                  </a:lnTo>
                  <a:lnTo>
                    <a:pt x="702" y="96"/>
                  </a:lnTo>
                  <a:lnTo>
                    <a:pt x="708" y="54"/>
                  </a:lnTo>
                  <a:lnTo>
                    <a:pt x="720" y="24"/>
                  </a:lnTo>
                  <a:lnTo>
                    <a:pt x="738" y="12"/>
                  </a:lnTo>
                  <a:lnTo>
                    <a:pt x="768" y="0"/>
                  </a:lnTo>
                  <a:lnTo>
                    <a:pt x="792" y="6"/>
                  </a:lnTo>
                  <a:lnTo>
                    <a:pt x="804" y="12"/>
                  </a:lnTo>
                  <a:lnTo>
                    <a:pt x="834" y="48"/>
                  </a:lnTo>
                  <a:lnTo>
                    <a:pt x="834" y="60"/>
                  </a:lnTo>
                  <a:lnTo>
                    <a:pt x="852" y="84"/>
                  </a:lnTo>
                  <a:lnTo>
                    <a:pt x="864" y="96"/>
                  </a:lnTo>
                  <a:lnTo>
                    <a:pt x="888" y="102"/>
                  </a:lnTo>
                  <a:lnTo>
                    <a:pt x="978" y="120"/>
                  </a:lnTo>
                  <a:lnTo>
                    <a:pt x="984" y="126"/>
                  </a:lnTo>
                  <a:lnTo>
                    <a:pt x="984" y="132"/>
                  </a:lnTo>
                  <a:lnTo>
                    <a:pt x="996" y="138"/>
                  </a:lnTo>
                  <a:lnTo>
                    <a:pt x="1038" y="126"/>
                  </a:lnTo>
                  <a:lnTo>
                    <a:pt x="1056" y="114"/>
                  </a:lnTo>
                  <a:lnTo>
                    <a:pt x="1068" y="126"/>
                  </a:lnTo>
                  <a:lnTo>
                    <a:pt x="1074" y="132"/>
                  </a:lnTo>
                  <a:lnTo>
                    <a:pt x="1068" y="138"/>
                  </a:lnTo>
                  <a:lnTo>
                    <a:pt x="1056" y="150"/>
                  </a:lnTo>
                  <a:lnTo>
                    <a:pt x="1038" y="162"/>
                  </a:lnTo>
                  <a:lnTo>
                    <a:pt x="1038" y="168"/>
                  </a:lnTo>
                  <a:lnTo>
                    <a:pt x="1020" y="174"/>
                  </a:lnTo>
                  <a:lnTo>
                    <a:pt x="1014" y="180"/>
                  </a:lnTo>
                  <a:lnTo>
                    <a:pt x="1008" y="186"/>
                  </a:lnTo>
                  <a:lnTo>
                    <a:pt x="1002" y="198"/>
                  </a:lnTo>
                  <a:lnTo>
                    <a:pt x="984" y="204"/>
                  </a:lnTo>
                  <a:lnTo>
                    <a:pt x="984" y="246"/>
                  </a:lnTo>
                  <a:lnTo>
                    <a:pt x="978" y="270"/>
                  </a:lnTo>
                  <a:lnTo>
                    <a:pt x="990" y="306"/>
                  </a:lnTo>
                  <a:lnTo>
                    <a:pt x="990" y="324"/>
                  </a:lnTo>
                  <a:lnTo>
                    <a:pt x="1002" y="336"/>
                  </a:lnTo>
                  <a:lnTo>
                    <a:pt x="1020" y="372"/>
                  </a:lnTo>
                  <a:lnTo>
                    <a:pt x="1014" y="378"/>
                  </a:lnTo>
                  <a:lnTo>
                    <a:pt x="1014" y="384"/>
                  </a:lnTo>
                  <a:lnTo>
                    <a:pt x="1020" y="384"/>
                  </a:lnTo>
                  <a:lnTo>
                    <a:pt x="1020" y="396"/>
                  </a:lnTo>
                  <a:lnTo>
                    <a:pt x="1062" y="468"/>
                  </a:lnTo>
                  <a:lnTo>
                    <a:pt x="1092" y="522"/>
                  </a:lnTo>
                  <a:lnTo>
                    <a:pt x="1110" y="546"/>
                  </a:lnTo>
                  <a:lnTo>
                    <a:pt x="1122" y="564"/>
                  </a:lnTo>
                  <a:lnTo>
                    <a:pt x="1134" y="576"/>
                  </a:lnTo>
                  <a:lnTo>
                    <a:pt x="1146" y="582"/>
                  </a:lnTo>
                  <a:lnTo>
                    <a:pt x="1146" y="588"/>
                  </a:lnTo>
                  <a:lnTo>
                    <a:pt x="1164" y="600"/>
                  </a:lnTo>
                  <a:lnTo>
                    <a:pt x="1170" y="612"/>
                  </a:lnTo>
                  <a:lnTo>
                    <a:pt x="1170" y="624"/>
                  </a:lnTo>
                  <a:lnTo>
                    <a:pt x="1176" y="654"/>
                  </a:lnTo>
                  <a:lnTo>
                    <a:pt x="1176" y="666"/>
                  </a:lnTo>
                  <a:lnTo>
                    <a:pt x="1182" y="684"/>
                  </a:lnTo>
                  <a:lnTo>
                    <a:pt x="1194" y="696"/>
                  </a:lnTo>
                  <a:lnTo>
                    <a:pt x="1212" y="696"/>
                  </a:lnTo>
                  <a:lnTo>
                    <a:pt x="1206" y="762"/>
                  </a:lnTo>
                  <a:lnTo>
                    <a:pt x="1200" y="768"/>
                  </a:lnTo>
                  <a:lnTo>
                    <a:pt x="1194" y="768"/>
                  </a:lnTo>
                  <a:lnTo>
                    <a:pt x="1194" y="774"/>
                  </a:lnTo>
                  <a:lnTo>
                    <a:pt x="1188" y="774"/>
                  </a:lnTo>
                  <a:lnTo>
                    <a:pt x="1182" y="780"/>
                  </a:lnTo>
                  <a:lnTo>
                    <a:pt x="1176" y="780"/>
                  </a:lnTo>
                  <a:lnTo>
                    <a:pt x="1170" y="780"/>
                  </a:lnTo>
                  <a:lnTo>
                    <a:pt x="1164" y="786"/>
                  </a:lnTo>
                  <a:lnTo>
                    <a:pt x="1158" y="786"/>
                  </a:lnTo>
                  <a:lnTo>
                    <a:pt x="1152" y="786"/>
                  </a:lnTo>
                  <a:lnTo>
                    <a:pt x="1140" y="786"/>
                  </a:lnTo>
                  <a:lnTo>
                    <a:pt x="1134" y="786"/>
                  </a:lnTo>
                  <a:lnTo>
                    <a:pt x="1134" y="780"/>
                  </a:lnTo>
                  <a:lnTo>
                    <a:pt x="1122" y="780"/>
                  </a:lnTo>
                  <a:lnTo>
                    <a:pt x="1116" y="786"/>
                  </a:lnTo>
                  <a:lnTo>
                    <a:pt x="1116" y="792"/>
                  </a:lnTo>
                  <a:lnTo>
                    <a:pt x="1122" y="804"/>
                  </a:lnTo>
                  <a:lnTo>
                    <a:pt x="1128" y="804"/>
                  </a:lnTo>
                  <a:lnTo>
                    <a:pt x="1128" y="816"/>
                  </a:lnTo>
                  <a:lnTo>
                    <a:pt x="1122" y="822"/>
                  </a:lnTo>
                  <a:lnTo>
                    <a:pt x="1116" y="816"/>
                  </a:lnTo>
                  <a:lnTo>
                    <a:pt x="1110" y="816"/>
                  </a:lnTo>
                  <a:lnTo>
                    <a:pt x="1104" y="816"/>
                  </a:lnTo>
                  <a:lnTo>
                    <a:pt x="1098" y="816"/>
                  </a:lnTo>
                  <a:lnTo>
                    <a:pt x="1098" y="822"/>
                  </a:lnTo>
                  <a:lnTo>
                    <a:pt x="1092" y="834"/>
                  </a:lnTo>
                  <a:lnTo>
                    <a:pt x="1092" y="840"/>
                  </a:lnTo>
                  <a:lnTo>
                    <a:pt x="1074" y="840"/>
                  </a:lnTo>
                  <a:lnTo>
                    <a:pt x="1074" y="828"/>
                  </a:lnTo>
                  <a:lnTo>
                    <a:pt x="1062" y="804"/>
                  </a:lnTo>
                  <a:lnTo>
                    <a:pt x="1056" y="792"/>
                  </a:lnTo>
                  <a:lnTo>
                    <a:pt x="1056" y="786"/>
                  </a:lnTo>
                  <a:lnTo>
                    <a:pt x="1026" y="780"/>
                  </a:lnTo>
                  <a:lnTo>
                    <a:pt x="1026" y="768"/>
                  </a:lnTo>
                  <a:lnTo>
                    <a:pt x="1008" y="768"/>
                  </a:lnTo>
                  <a:lnTo>
                    <a:pt x="1002" y="780"/>
                  </a:lnTo>
                  <a:lnTo>
                    <a:pt x="996" y="792"/>
                  </a:lnTo>
                  <a:lnTo>
                    <a:pt x="978" y="798"/>
                  </a:lnTo>
                  <a:lnTo>
                    <a:pt x="972" y="810"/>
                  </a:lnTo>
                  <a:lnTo>
                    <a:pt x="972" y="822"/>
                  </a:lnTo>
                  <a:lnTo>
                    <a:pt x="978" y="828"/>
                  </a:lnTo>
                  <a:lnTo>
                    <a:pt x="978" y="834"/>
                  </a:lnTo>
                  <a:lnTo>
                    <a:pt x="960" y="840"/>
                  </a:lnTo>
                  <a:lnTo>
                    <a:pt x="936" y="840"/>
                  </a:lnTo>
                  <a:lnTo>
                    <a:pt x="918" y="846"/>
                  </a:lnTo>
                  <a:lnTo>
                    <a:pt x="912" y="840"/>
                  </a:lnTo>
                  <a:lnTo>
                    <a:pt x="912" y="834"/>
                  </a:lnTo>
                  <a:lnTo>
                    <a:pt x="906" y="834"/>
                  </a:lnTo>
                  <a:lnTo>
                    <a:pt x="906" y="840"/>
                  </a:lnTo>
                  <a:lnTo>
                    <a:pt x="900" y="846"/>
                  </a:lnTo>
                  <a:lnTo>
                    <a:pt x="906" y="852"/>
                  </a:lnTo>
                  <a:lnTo>
                    <a:pt x="900" y="864"/>
                  </a:lnTo>
                  <a:lnTo>
                    <a:pt x="900" y="876"/>
                  </a:lnTo>
                  <a:lnTo>
                    <a:pt x="900" y="882"/>
                  </a:lnTo>
                  <a:lnTo>
                    <a:pt x="894" y="888"/>
                  </a:lnTo>
                  <a:lnTo>
                    <a:pt x="900" y="900"/>
                  </a:lnTo>
                  <a:lnTo>
                    <a:pt x="900" y="906"/>
                  </a:lnTo>
                  <a:lnTo>
                    <a:pt x="894" y="906"/>
                  </a:lnTo>
                  <a:lnTo>
                    <a:pt x="894" y="912"/>
                  </a:lnTo>
                  <a:lnTo>
                    <a:pt x="900" y="918"/>
                  </a:lnTo>
                  <a:lnTo>
                    <a:pt x="900" y="924"/>
                  </a:lnTo>
                  <a:lnTo>
                    <a:pt x="900" y="948"/>
                  </a:lnTo>
                  <a:lnTo>
                    <a:pt x="888" y="948"/>
                  </a:lnTo>
                  <a:lnTo>
                    <a:pt x="888" y="954"/>
                  </a:lnTo>
                  <a:lnTo>
                    <a:pt x="894" y="954"/>
                  </a:lnTo>
                  <a:lnTo>
                    <a:pt x="900" y="960"/>
                  </a:lnTo>
                  <a:lnTo>
                    <a:pt x="900" y="972"/>
                  </a:lnTo>
                  <a:lnTo>
                    <a:pt x="906" y="984"/>
                  </a:lnTo>
                  <a:lnTo>
                    <a:pt x="912" y="984"/>
                  </a:lnTo>
                  <a:lnTo>
                    <a:pt x="918" y="990"/>
                  </a:lnTo>
                  <a:lnTo>
                    <a:pt x="936" y="990"/>
                  </a:lnTo>
                  <a:lnTo>
                    <a:pt x="936" y="996"/>
                  </a:lnTo>
                  <a:lnTo>
                    <a:pt x="942" y="996"/>
                  </a:lnTo>
                  <a:lnTo>
                    <a:pt x="942" y="1002"/>
                  </a:lnTo>
                  <a:lnTo>
                    <a:pt x="942" y="1008"/>
                  </a:lnTo>
                  <a:lnTo>
                    <a:pt x="948" y="1008"/>
                  </a:lnTo>
                  <a:lnTo>
                    <a:pt x="948" y="1014"/>
                  </a:lnTo>
                  <a:lnTo>
                    <a:pt x="948" y="1020"/>
                  </a:lnTo>
                  <a:lnTo>
                    <a:pt x="954" y="1032"/>
                  </a:lnTo>
                  <a:lnTo>
                    <a:pt x="948" y="1038"/>
                  </a:lnTo>
                  <a:lnTo>
                    <a:pt x="954" y="1044"/>
                  </a:lnTo>
                  <a:lnTo>
                    <a:pt x="954" y="1056"/>
                  </a:lnTo>
                  <a:lnTo>
                    <a:pt x="960" y="1056"/>
                  </a:lnTo>
                  <a:lnTo>
                    <a:pt x="960" y="1062"/>
                  </a:lnTo>
                  <a:lnTo>
                    <a:pt x="954" y="1068"/>
                  </a:lnTo>
                  <a:lnTo>
                    <a:pt x="948" y="1074"/>
                  </a:lnTo>
                  <a:lnTo>
                    <a:pt x="948" y="1080"/>
                  </a:lnTo>
                  <a:lnTo>
                    <a:pt x="948" y="1086"/>
                  </a:lnTo>
                  <a:lnTo>
                    <a:pt x="942" y="1092"/>
                  </a:lnTo>
                  <a:lnTo>
                    <a:pt x="942" y="1098"/>
                  </a:lnTo>
                  <a:lnTo>
                    <a:pt x="942" y="1104"/>
                  </a:lnTo>
                  <a:lnTo>
                    <a:pt x="942" y="1110"/>
                  </a:lnTo>
                  <a:lnTo>
                    <a:pt x="936" y="1116"/>
                  </a:lnTo>
                  <a:lnTo>
                    <a:pt x="936" y="1122"/>
                  </a:lnTo>
                  <a:lnTo>
                    <a:pt x="936" y="1128"/>
                  </a:lnTo>
                  <a:lnTo>
                    <a:pt x="936" y="1134"/>
                  </a:lnTo>
                  <a:lnTo>
                    <a:pt x="942" y="1146"/>
                  </a:lnTo>
                  <a:lnTo>
                    <a:pt x="936" y="1158"/>
                  </a:lnTo>
                  <a:lnTo>
                    <a:pt x="936" y="1170"/>
                  </a:lnTo>
                  <a:lnTo>
                    <a:pt x="936" y="1194"/>
                  </a:lnTo>
                  <a:lnTo>
                    <a:pt x="930" y="1200"/>
                  </a:lnTo>
                  <a:lnTo>
                    <a:pt x="930" y="1212"/>
                  </a:lnTo>
                  <a:lnTo>
                    <a:pt x="918" y="1218"/>
                  </a:lnTo>
                  <a:lnTo>
                    <a:pt x="918" y="1230"/>
                  </a:lnTo>
                  <a:lnTo>
                    <a:pt x="906" y="1230"/>
                  </a:lnTo>
                  <a:lnTo>
                    <a:pt x="900" y="1254"/>
                  </a:lnTo>
                  <a:lnTo>
                    <a:pt x="900" y="1260"/>
                  </a:lnTo>
                  <a:lnTo>
                    <a:pt x="900" y="1266"/>
                  </a:lnTo>
                  <a:lnTo>
                    <a:pt x="900" y="1272"/>
                  </a:lnTo>
                  <a:lnTo>
                    <a:pt x="900" y="1278"/>
                  </a:lnTo>
                  <a:lnTo>
                    <a:pt x="900" y="1284"/>
                  </a:lnTo>
                  <a:lnTo>
                    <a:pt x="906" y="129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1" name="Freeform 26">
              <a:extLst>
                <a:ext uri="{FF2B5EF4-FFF2-40B4-BE49-F238E27FC236}">
                  <a16:creationId xmlns:a16="http://schemas.microsoft.com/office/drawing/2014/main" id="{25725EFE-FE00-49A8-A87A-6752B785C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79173" y="3477313"/>
              <a:ext cx="650731" cy="559125"/>
            </a:xfrm>
            <a:custGeom>
              <a:avLst/>
              <a:gdLst>
                <a:gd name="T0" fmla="*/ 95 w 1224"/>
                <a:gd name="T1" fmla="*/ 89 h 1050"/>
                <a:gd name="T2" fmla="*/ 90 w 1224"/>
                <a:gd name="T3" fmla="*/ 84 h 1050"/>
                <a:gd name="T4" fmla="*/ 84 w 1224"/>
                <a:gd name="T5" fmla="*/ 83 h 1050"/>
                <a:gd name="T6" fmla="*/ 82 w 1224"/>
                <a:gd name="T7" fmla="*/ 80 h 1050"/>
                <a:gd name="T8" fmla="*/ 85 w 1224"/>
                <a:gd name="T9" fmla="*/ 77 h 1050"/>
                <a:gd name="T10" fmla="*/ 81 w 1224"/>
                <a:gd name="T11" fmla="*/ 76 h 1050"/>
                <a:gd name="T12" fmla="*/ 77 w 1224"/>
                <a:gd name="T13" fmla="*/ 77 h 1050"/>
                <a:gd name="T14" fmla="*/ 78 w 1224"/>
                <a:gd name="T15" fmla="*/ 73 h 1050"/>
                <a:gd name="T16" fmla="*/ 59 w 1224"/>
                <a:gd name="T17" fmla="*/ 71 h 1050"/>
                <a:gd name="T18" fmla="*/ 41 w 1224"/>
                <a:gd name="T19" fmla="*/ 73 h 1050"/>
                <a:gd name="T20" fmla="*/ 33 w 1224"/>
                <a:gd name="T21" fmla="*/ 71 h 1050"/>
                <a:gd name="T22" fmla="*/ 30 w 1224"/>
                <a:gd name="T23" fmla="*/ 75 h 1050"/>
                <a:gd name="T24" fmla="*/ 27 w 1224"/>
                <a:gd name="T25" fmla="*/ 80 h 1050"/>
                <a:gd name="T26" fmla="*/ 12 w 1224"/>
                <a:gd name="T27" fmla="*/ 81 h 1050"/>
                <a:gd name="T28" fmla="*/ 9 w 1224"/>
                <a:gd name="T29" fmla="*/ 84 h 1050"/>
                <a:gd name="T30" fmla="*/ 6 w 1224"/>
                <a:gd name="T31" fmla="*/ 83 h 1050"/>
                <a:gd name="T32" fmla="*/ 1 w 1224"/>
                <a:gd name="T33" fmla="*/ 83 h 1050"/>
                <a:gd name="T34" fmla="*/ 3 w 1224"/>
                <a:gd name="T35" fmla="*/ 77 h 1050"/>
                <a:gd name="T36" fmla="*/ 5 w 1224"/>
                <a:gd name="T37" fmla="*/ 70 h 1050"/>
                <a:gd name="T38" fmla="*/ 2 w 1224"/>
                <a:gd name="T39" fmla="*/ 65 h 1050"/>
                <a:gd name="T40" fmla="*/ 3 w 1224"/>
                <a:gd name="T41" fmla="*/ 58 h 1050"/>
                <a:gd name="T42" fmla="*/ 4 w 1224"/>
                <a:gd name="T43" fmla="*/ 51 h 1050"/>
                <a:gd name="T44" fmla="*/ 3 w 1224"/>
                <a:gd name="T45" fmla="*/ 47 h 1050"/>
                <a:gd name="T46" fmla="*/ 4 w 1224"/>
                <a:gd name="T47" fmla="*/ 39 h 1050"/>
                <a:gd name="T48" fmla="*/ 6 w 1224"/>
                <a:gd name="T49" fmla="*/ 29 h 1050"/>
                <a:gd name="T50" fmla="*/ 3 w 1224"/>
                <a:gd name="T51" fmla="*/ 22 h 1050"/>
                <a:gd name="T52" fmla="*/ 2 w 1224"/>
                <a:gd name="T53" fmla="*/ 14 h 1050"/>
                <a:gd name="T54" fmla="*/ 0 w 1224"/>
                <a:gd name="T55" fmla="*/ 6 h 1050"/>
                <a:gd name="T56" fmla="*/ 9 w 1224"/>
                <a:gd name="T57" fmla="*/ 1 h 1050"/>
                <a:gd name="T58" fmla="*/ 11 w 1224"/>
                <a:gd name="T59" fmla="*/ 8 h 1050"/>
                <a:gd name="T60" fmla="*/ 15 w 1224"/>
                <a:gd name="T61" fmla="*/ 9 h 1050"/>
                <a:gd name="T62" fmla="*/ 18 w 1224"/>
                <a:gd name="T63" fmla="*/ 8 h 1050"/>
                <a:gd name="T64" fmla="*/ 18 w 1224"/>
                <a:gd name="T65" fmla="*/ 13 h 1050"/>
                <a:gd name="T66" fmla="*/ 17 w 1224"/>
                <a:gd name="T67" fmla="*/ 15 h 1050"/>
                <a:gd name="T68" fmla="*/ 17 w 1224"/>
                <a:gd name="T69" fmla="*/ 17 h 1050"/>
                <a:gd name="T70" fmla="*/ 17 w 1224"/>
                <a:gd name="T71" fmla="*/ 21 h 1050"/>
                <a:gd name="T72" fmla="*/ 21 w 1224"/>
                <a:gd name="T73" fmla="*/ 25 h 1050"/>
                <a:gd name="T74" fmla="*/ 24 w 1224"/>
                <a:gd name="T75" fmla="*/ 31 h 1050"/>
                <a:gd name="T76" fmla="*/ 35 w 1224"/>
                <a:gd name="T77" fmla="*/ 34 h 1050"/>
                <a:gd name="T78" fmla="*/ 40 w 1224"/>
                <a:gd name="T79" fmla="*/ 27 h 1050"/>
                <a:gd name="T80" fmla="*/ 46 w 1224"/>
                <a:gd name="T81" fmla="*/ 30 h 1050"/>
                <a:gd name="T82" fmla="*/ 51 w 1224"/>
                <a:gd name="T83" fmla="*/ 27 h 1050"/>
                <a:gd name="T84" fmla="*/ 59 w 1224"/>
                <a:gd name="T85" fmla="*/ 39 h 1050"/>
                <a:gd name="T86" fmla="*/ 59 w 1224"/>
                <a:gd name="T87" fmla="*/ 45 h 1050"/>
                <a:gd name="T88" fmla="*/ 72 w 1224"/>
                <a:gd name="T89" fmla="*/ 45 h 1050"/>
                <a:gd name="T90" fmla="*/ 79 w 1224"/>
                <a:gd name="T91" fmla="*/ 44 h 1050"/>
                <a:gd name="T92" fmla="*/ 87 w 1224"/>
                <a:gd name="T93" fmla="*/ 48 h 1050"/>
                <a:gd name="T94" fmla="*/ 93 w 1224"/>
                <a:gd name="T95" fmla="*/ 50 h 1050"/>
                <a:gd name="T96" fmla="*/ 98 w 1224"/>
                <a:gd name="T97" fmla="*/ 51 h 1050"/>
                <a:gd name="T98" fmla="*/ 106 w 1224"/>
                <a:gd name="T99" fmla="*/ 50 h 1050"/>
                <a:gd name="T100" fmla="*/ 104 w 1224"/>
                <a:gd name="T101" fmla="*/ 54 h 1050"/>
                <a:gd name="T102" fmla="*/ 104 w 1224"/>
                <a:gd name="T103" fmla="*/ 60 h 1050"/>
                <a:gd name="T104" fmla="*/ 101 w 1224"/>
                <a:gd name="T105" fmla="*/ 63 h 1050"/>
                <a:gd name="T106" fmla="*/ 98 w 1224"/>
                <a:gd name="T107" fmla="*/ 66 h 1050"/>
                <a:gd name="T108" fmla="*/ 95 w 1224"/>
                <a:gd name="T109" fmla="*/ 68 h 1050"/>
                <a:gd name="T110" fmla="*/ 93 w 1224"/>
                <a:gd name="T111" fmla="*/ 72 h 1050"/>
                <a:gd name="T112" fmla="*/ 98 w 1224"/>
                <a:gd name="T113" fmla="*/ 75 h 1050"/>
                <a:gd name="T114" fmla="*/ 102 w 1224"/>
                <a:gd name="T115" fmla="*/ 77 h 1050"/>
                <a:gd name="T116" fmla="*/ 107 w 1224"/>
                <a:gd name="T117" fmla="*/ 76 h 1050"/>
                <a:gd name="T118" fmla="*/ 104 w 1224"/>
                <a:gd name="T119" fmla="*/ 84 h 1050"/>
                <a:gd name="T120" fmla="*/ 103 w 1224"/>
                <a:gd name="T121" fmla="*/ 87 h 1050"/>
                <a:gd name="T122" fmla="*/ 104 w 1224"/>
                <a:gd name="T123" fmla="*/ 91 h 105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24"/>
                <a:gd name="T187" fmla="*/ 0 h 1050"/>
                <a:gd name="T188" fmla="*/ 1224 w 1224"/>
                <a:gd name="T189" fmla="*/ 1050 h 105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24" h="1050">
                  <a:moveTo>
                    <a:pt x="1128" y="1032"/>
                  </a:moveTo>
                  <a:lnTo>
                    <a:pt x="1122" y="1026"/>
                  </a:lnTo>
                  <a:lnTo>
                    <a:pt x="1116" y="1026"/>
                  </a:lnTo>
                  <a:lnTo>
                    <a:pt x="1110" y="1026"/>
                  </a:lnTo>
                  <a:lnTo>
                    <a:pt x="1104" y="1026"/>
                  </a:lnTo>
                  <a:lnTo>
                    <a:pt x="1104" y="1020"/>
                  </a:lnTo>
                  <a:lnTo>
                    <a:pt x="1098" y="1020"/>
                  </a:lnTo>
                  <a:lnTo>
                    <a:pt x="1092" y="1020"/>
                  </a:lnTo>
                  <a:lnTo>
                    <a:pt x="1086" y="1020"/>
                  </a:lnTo>
                  <a:lnTo>
                    <a:pt x="1080" y="1014"/>
                  </a:lnTo>
                  <a:lnTo>
                    <a:pt x="1068" y="1014"/>
                  </a:lnTo>
                  <a:lnTo>
                    <a:pt x="1062" y="1014"/>
                  </a:lnTo>
                  <a:lnTo>
                    <a:pt x="1062" y="1008"/>
                  </a:lnTo>
                  <a:lnTo>
                    <a:pt x="1062" y="990"/>
                  </a:lnTo>
                  <a:lnTo>
                    <a:pt x="1062" y="984"/>
                  </a:lnTo>
                  <a:lnTo>
                    <a:pt x="1062" y="972"/>
                  </a:lnTo>
                  <a:lnTo>
                    <a:pt x="1044" y="966"/>
                  </a:lnTo>
                  <a:lnTo>
                    <a:pt x="1026" y="966"/>
                  </a:lnTo>
                  <a:lnTo>
                    <a:pt x="1014" y="966"/>
                  </a:lnTo>
                  <a:lnTo>
                    <a:pt x="996" y="966"/>
                  </a:lnTo>
                  <a:lnTo>
                    <a:pt x="996" y="972"/>
                  </a:lnTo>
                  <a:lnTo>
                    <a:pt x="990" y="972"/>
                  </a:lnTo>
                  <a:lnTo>
                    <a:pt x="984" y="966"/>
                  </a:lnTo>
                  <a:lnTo>
                    <a:pt x="978" y="966"/>
                  </a:lnTo>
                  <a:lnTo>
                    <a:pt x="978" y="960"/>
                  </a:lnTo>
                  <a:lnTo>
                    <a:pt x="972" y="954"/>
                  </a:lnTo>
                  <a:lnTo>
                    <a:pt x="966" y="954"/>
                  </a:lnTo>
                  <a:lnTo>
                    <a:pt x="960" y="954"/>
                  </a:lnTo>
                  <a:lnTo>
                    <a:pt x="954" y="954"/>
                  </a:lnTo>
                  <a:lnTo>
                    <a:pt x="954" y="948"/>
                  </a:lnTo>
                  <a:lnTo>
                    <a:pt x="942" y="942"/>
                  </a:lnTo>
                  <a:lnTo>
                    <a:pt x="936" y="942"/>
                  </a:lnTo>
                  <a:lnTo>
                    <a:pt x="936" y="936"/>
                  </a:lnTo>
                  <a:lnTo>
                    <a:pt x="936" y="930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42" y="918"/>
                  </a:lnTo>
                  <a:lnTo>
                    <a:pt x="948" y="918"/>
                  </a:lnTo>
                  <a:lnTo>
                    <a:pt x="960" y="918"/>
                  </a:lnTo>
                  <a:lnTo>
                    <a:pt x="966" y="912"/>
                  </a:lnTo>
                  <a:lnTo>
                    <a:pt x="978" y="906"/>
                  </a:lnTo>
                  <a:lnTo>
                    <a:pt x="978" y="900"/>
                  </a:lnTo>
                  <a:lnTo>
                    <a:pt x="978" y="894"/>
                  </a:lnTo>
                  <a:lnTo>
                    <a:pt x="978" y="888"/>
                  </a:lnTo>
                  <a:lnTo>
                    <a:pt x="972" y="888"/>
                  </a:lnTo>
                  <a:lnTo>
                    <a:pt x="978" y="888"/>
                  </a:lnTo>
                  <a:lnTo>
                    <a:pt x="978" y="882"/>
                  </a:lnTo>
                  <a:lnTo>
                    <a:pt x="972" y="876"/>
                  </a:lnTo>
                  <a:lnTo>
                    <a:pt x="966" y="870"/>
                  </a:lnTo>
                  <a:lnTo>
                    <a:pt x="954" y="876"/>
                  </a:lnTo>
                  <a:lnTo>
                    <a:pt x="948" y="876"/>
                  </a:lnTo>
                  <a:lnTo>
                    <a:pt x="942" y="870"/>
                  </a:lnTo>
                  <a:lnTo>
                    <a:pt x="936" y="876"/>
                  </a:lnTo>
                  <a:lnTo>
                    <a:pt x="930" y="876"/>
                  </a:lnTo>
                  <a:lnTo>
                    <a:pt x="924" y="882"/>
                  </a:lnTo>
                  <a:lnTo>
                    <a:pt x="912" y="888"/>
                  </a:lnTo>
                  <a:lnTo>
                    <a:pt x="906" y="894"/>
                  </a:lnTo>
                  <a:lnTo>
                    <a:pt x="900" y="900"/>
                  </a:lnTo>
                  <a:lnTo>
                    <a:pt x="894" y="888"/>
                  </a:lnTo>
                  <a:lnTo>
                    <a:pt x="888" y="894"/>
                  </a:lnTo>
                  <a:lnTo>
                    <a:pt x="882" y="888"/>
                  </a:lnTo>
                  <a:lnTo>
                    <a:pt x="876" y="894"/>
                  </a:lnTo>
                  <a:lnTo>
                    <a:pt x="876" y="888"/>
                  </a:lnTo>
                  <a:lnTo>
                    <a:pt x="876" y="882"/>
                  </a:lnTo>
                  <a:lnTo>
                    <a:pt x="876" y="876"/>
                  </a:lnTo>
                  <a:lnTo>
                    <a:pt x="870" y="858"/>
                  </a:lnTo>
                  <a:lnTo>
                    <a:pt x="864" y="858"/>
                  </a:lnTo>
                  <a:lnTo>
                    <a:pt x="870" y="852"/>
                  </a:lnTo>
                  <a:lnTo>
                    <a:pt x="870" y="846"/>
                  </a:lnTo>
                  <a:lnTo>
                    <a:pt x="876" y="846"/>
                  </a:lnTo>
                  <a:lnTo>
                    <a:pt x="882" y="846"/>
                  </a:lnTo>
                  <a:lnTo>
                    <a:pt x="888" y="840"/>
                  </a:lnTo>
                  <a:lnTo>
                    <a:pt x="894" y="834"/>
                  </a:lnTo>
                  <a:lnTo>
                    <a:pt x="894" y="828"/>
                  </a:lnTo>
                  <a:lnTo>
                    <a:pt x="894" y="816"/>
                  </a:lnTo>
                  <a:lnTo>
                    <a:pt x="858" y="810"/>
                  </a:lnTo>
                  <a:lnTo>
                    <a:pt x="858" y="816"/>
                  </a:lnTo>
                  <a:lnTo>
                    <a:pt x="852" y="816"/>
                  </a:lnTo>
                  <a:lnTo>
                    <a:pt x="780" y="816"/>
                  </a:lnTo>
                  <a:lnTo>
                    <a:pt x="750" y="816"/>
                  </a:lnTo>
                  <a:lnTo>
                    <a:pt x="684" y="816"/>
                  </a:lnTo>
                  <a:lnTo>
                    <a:pt x="636" y="816"/>
                  </a:lnTo>
                  <a:lnTo>
                    <a:pt x="612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0" y="816"/>
                  </a:lnTo>
                  <a:lnTo>
                    <a:pt x="480" y="822"/>
                  </a:lnTo>
                  <a:lnTo>
                    <a:pt x="480" y="834"/>
                  </a:lnTo>
                  <a:lnTo>
                    <a:pt x="474" y="840"/>
                  </a:lnTo>
                  <a:lnTo>
                    <a:pt x="468" y="840"/>
                  </a:lnTo>
                  <a:lnTo>
                    <a:pt x="432" y="840"/>
                  </a:lnTo>
                  <a:lnTo>
                    <a:pt x="426" y="834"/>
                  </a:lnTo>
                  <a:lnTo>
                    <a:pt x="420" y="834"/>
                  </a:lnTo>
                  <a:lnTo>
                    <a:pt x="420" y="828"/>
                  </a:lnTo>
                  <a:lnTo>
                    <a:pt x="414" y="822"/>
                  </a:lnTo>
                  <a:lnTo>
                    <a:pt x="408" y="822"/>
                  </a:lnTo>
                  <a:lnTo>
                    <a:pt x="396" y="822"/>
                  </a:lnTo>
                  <a:lnTo>
                    <a:pt x="396" y="816"/>
                  </a:lnTo>
                  <a:lnTo>
                    <a:pt x="384" y="816"/>
                  </a:lnTo>
                  <a:lnTo>
                    <a:pt x="372" y="810"/>
                  </a:lnTo>
                  <a:lnTo>
                    <a:pt x="372" y="804"/>
                  </a:lnTo>
                  <a:lnTo>
                    <a:pt x="366" y="804"/>
                  </a:lnTo>
                  <a:lnTo>
                    <a:pt x="360" y="804"/>
                  </a:lnTo>
                  <a:lnTo>
                    <a:pt x="348" y="828"/>
                  </a:lnTo>
                  <a:lnTo>
                    <a:pt x="348" y="834"/>
                  </a:lnTo>
                  <a:lnTo>
                    <a:pt x="348" y="852"/>
                  </a:lnTo>
                  <a:lnTo>
                    <a:pt x="348" y="858"/>
                  </a:lnTo>
                  <a:lnTo>
                    <a:pt x="342" y="864"/>
                  </a:lnTo>
                  <a:lnTo>
                    <a:pt x="342" y="870"/>
                  </a:lnTo>
                  <a:lnTo>
                    <a:pt x="330" y="876"/>
                  </a:lnTo>
                  <a:lnTo>
                    <a:pt x="324" y="888"/>
                  </a:lnTo>
                  <a:lnTo>
                    <a:pt x="324" y="894"/>
                  </a:lnTo>
                  <a:lnTo>
                    <a:pt x="330" y="900"/>
                  </a:lnTo>
                  <a:lnTo>
                    <a:pt x="330" y="906"/>
                  </a:lnTo>
                  <a:lnTo>
                    <a:pt x="324" y="906"/>
                  </a:lnTo>
                  <a:lnTo>
                    <a:pt x="318" y="912"/>
                  </a:lnTo>
                  <a:lnTo>
                    <a:pt x="312" y="918"/>
                  </a:lnTo>
                  <a:lnTo>
                    <a:pt x="306" y="924"/>
                  </a:lnTo>
                  <a:lnTo>
                    <a:pt x="288" y="924"/>
                  </a:lnTo>
                  <a:lnTo>
                    <a:pt x="282" y="924"/>
                  </a:lnTo>
                  <a:lnTo>
                    <a:pt x="276" y="930"/>
                  </a:lnTo>
                  <a:lnTo>
                    <a:pt x="270" y="930"/>
                  </a:lnTo>
                  <a:lnTo>
                    <a:pt x="264" y="930"/>
                  </a:lnTo>
                  <a:lnTo>
                    <a:pt x="198" y="930"/>
                  </a:lnTo>
                  <a:lnTo>
                    <a:pt x="132" y="930"/>
                  </a:lnTo>
                  <a:lnTo>
                    <a:pt x="132" y="936"/>
                  </a:lnTo>
                  <a:lnTo>
                    <a:pt x="132" y="942"/>
                  </a:lnTo>
                  <a:lnTo>
                    <a:pt x="132" y="948"/>
                  </a:lnTo>
                  <a:lnTo>
                    <a:pt x="126" y="948"/>
                  </a:lnTo>
                  <a:lnTo>
                    <a:pt x="120" y="948"/>
                  </a:lnTo>
                  <a:lnTo>
                    <a:pt x="120" y="954"/>
                  </a:lnTo>
                  <a:lnTo>
                    <a:pt x="114" y="954"/>
                  </a:lnTo>
                  <a:lnTo>
                    <a:pt x="114" y="960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02" y="966"/>
                  </a:lnTo>
                  <a:lnTo>
                    <a:pt x="102" y="972"/>
                  </a:lnTo>
                  <a:lnTo>
                    <a:pt x="96" y="972"/>
                  </a:lnTo>
                  <a:lnTo>
                    <a:pt x="96" y="966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78" y="960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60"/>
                  </a:lnTo>
                  <a:lnTo>
                    <a:pt x="54" y="966"/>
                  </a:lnTo>
                  <a:lnTo>
                    <a:pt x="48" y="966"/>
                  </a:lnTo>
                  <a:lnTo>
                    <a:pt x="42" y="966"/>
                  </a:lnTo>
                  <a:lnTo>
                    <a:pt x="36" y="966"/>
                  </a:lnTo>
                  <a:lnTo>
                    <a:pt x="30" y="966"/>
                  </a:lnTo>
                  <a:lnTo>
                    <a:pt x="24" y="960"/>
                  </a:lnTo>
                  <a:lnTo>
                    <a:pt x="18" y="960"/>
                  </a:lnTo>
                  <a:lnTo>
                    <a:pt x="12" y="960"/>
                  </a:lnTo>
                  <a:lnTo>
                    <a:pt x="12" y="948"/>
                  </a:lnTo>
                  <a:lnTo>
                    <a:pt x="18" y="942"/>
                  </a:lnTo>
                  <a:lnTo>
                    <a:pt x="18" y="936"/>
                  </a:lnTo>
                  <a:lnTo>
                    <a:pt x="18" y="930"/>
                  </a:lnTo>
                  <a:lnTo>
                    <a:pt x="18" y="924"/>
                  </a:lnTo>
                  <a:lnTo>
                    <a:pt x="18" y="912"/>
                  </a:lnTo>
                  <a:lnTo>
                    <a:pt x="24" y="906"/>
                  </a:lnTo>
                  <a:lnTo>
                    <a:pt x="30" y="900"/>
                  </a:lnTo>
                  <a:lnTo>
                    <a:pt x="36" y="894"/>
                  </a:lnTo>
                  <a:lnTo>
                    <a:pt x="36" y="882"/>
                  </a:lnTo>
                  <a:lnTo>
                    <a:pt x="30" y="876"/>
                  </a:lnTo>
                  <a:lnTo>
                    <a:pt x="30" y="870"/>
                  </a:lnTo>
                  <a:lnTo>
                    <a:pt x="24" y="858"/>
                  </a:lnTo>
                  <a:lnTo>
                    <a:pt x="24" y="846"/>
                  </a:lnTo>
                  <a:lnTo>
                    <a:pt x="36" y="822"/>
                  </a:lnTo>
                  <a:lnTo>
                    <a:pt x="42" y="816"/>
                  </a:lnTo>
                  <a:lnTo>
                    <a:pt x="48" y="816"/>
                  </a:lnTo>
                  <a:lnTo>
                    <a:pt x="60" y="804"/>
                  </a:lnTo>
                  <a:lnTo>
                    <a:pt x="60" y="786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54" y="762"/>
                  </a:lnTo>
                  <a:lnTo>
                    <a:pt x="42" y="762"/>
                  </a:lnTo>
                  <a:lnTo>
                    <a:pt x="36" y="762"/>
                  </a:lnTo>
                  <a:lnTo>
                    <a:pt x="30" y="762"/>
                  </a:lnTo>
                  <a:lnTo>
                    <a:pt x="30" y="756"/>
                  </a:lnTo>
                  <a:lnTo>
                    <a:pt x="24" y="750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702"/>
                  </a:lnTo>
                  <a:lnTo>
                    <a:pt x="36" y="684"/>
                  </a:lnTo>
                  <a:lnTo>
                    <a:pt x="36" y="678"/>
                  </a:lnTo>
                  <a:lnTo>
                    <a:pt x="36" y="666"/>
                  </a:lnTo>
                  <a:lnTo>
                    <a:pt x="36" y="654"/>
                  </a:lnTo>
                  <a:lnTo>
                    <a:pt x="18" y="654"/>
                  </a:lnTo>
                  <a:lnTo>
                    <a:pt x="18" y="648"/>
                  </a:lnTo>
                  <a:lnTo>
                    <a:pt x="18" y="618"/>
                  </a:lnTo>
                  <a:lnTo>
                    <a:pt x="18" y="612"/>
                  </a:lnTo>
                  <a:lnTo>
                    <a:pt x="24" y="612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54" y="588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76"/>
                  </a:lnTo>
                  <a:lnTo>
                    <a:pt x="48" y="564"/>
                  </a:lnTo>
                  <a:lnTo>
                    <a:pt x="42" y="564"/>
                  </a:lnTo>
                  <a:lnTo>
                    <a:pt x="36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6" y="540"/>
                  </a:lnTo>
                  <a:lnTo>
                    <a:pt x="48" y="534"/>
                  </a:lnTo>
                  <a:lnTo>
                    <a:pt x="54" y="528"/>
                  </a:lnTo>
                  <a:lnTo>
                    <a:pt x="60" y="504"/>
                  </a:lnTo>
                  <a:lnTo>
                    <a:pt x="60" y="492"/>
                  </a:lnTo>
                  <a:lnTo>
                    <a:pt x="54" y="492"/>
                  </a:lnTo>
                  <a:lnTo>
                    <a:pt x="54" y="480"/>
                  </a:lnTo>
                  <a:lnTo>
                    <a:pt x="48" y="456"/>
                  </a:lnTo>
                  <a:lnTo>
                    <a:pt x="42" y="450"/>
                  </a:lnTo>
                  <a:lnTo>
                    <a:pt x="36" y="444"/>
                  </a:lnTo>
                  <a:lnTo>
                    <a:pt x="36" y="420"/>
                  </a:lnTo>
                  <a:lnTo>
                    <a:pt x="36" y="408"/>
                  </a:lnTo>
                  <a:lnTo>
                    <a:pt x="36" y="37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60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6" y="300"/>
                  </a:lnTo>
                  <a:lnTo>
                    <a:pt x="60" y="294"/>
                  </a:lnTo>
                  <a:lnTo>
                    <a:pt x="60" y="288"/>
                  </a:lnTo>
                  <a:lnTo>
                    <a:pt x="54" y="282"/>
                  </a:lnTo>
                  <a:lnTo>
                    <a:pt x="42" y="276"/>
                  </a:lnTo>
                  <a:lnTo>
                    <a:pt x="36" y="276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0" y="252"/>
                  </a:lnTo>
                  <a:lnTo>
                    <a:pt x="24" y="246"/>
                  </a:lnTo>
                  <a:lnTo>
                    <a:pt x="24" y="240"/>
                  </a:lnTo>
                  <a:lnTo>
                    <a:pt x="24" y="228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62"/>
                  </a:lnTo>
                  <a:lnTo>
                    <a:pt x="24" y="144"/>
                  </a:lnTo>
                  <a:lnTo>
                    <a:pt x="24" y="132"/>
                  </a:lnTo>
                  <a:lnTo>
                    <a:pt x="24" y="114"/>
                  </a:lnTo>
                  <a:lnTo>
                    <a:pt x="24" y="102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18" y="48"/>
                  </a:lnTo>
                  <a:lnTo>
                    <a:pt x="42" y="36"/>
                  </a:lnTo>
                  <a:lnTo>
                    <a:pt x="54" y="24"/>
                  </a:lnTo>
                  <a:lnTo>
                    <a:pt x="60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10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14" y="60"/>
                  </a:lnTo>
                  <a:lnTo>
                    <a:pt x="120" y="60"/>
                  </a:lnTo>
                  <a:lnTo>
                    <a:pt x="114" y="84"/>
                  </a:lnTo>
                  <a:lnTo>
                    <a:pt x="120" y="90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38" y="114"/>
                  </a:lnTo>
                  <a:lnTo>
                    <a:pt x="138" y="132"/>
                  </a:lnTo>
                  <a:lnTo>
                    <a:pt x="162" y="126"/>
                  </a:lnTo>
                  <a:lnTo>
                    <a:pt x="162" y="114"/>
                  </a:lnTo>
                  <a:lnTo>
                    <a:pt x="174" y="108"/>
                  </a:lnTo>
                  <a:lnTo>
                    <a:pt x="174" y="102"/>
                  </a:lnTo>
                  <a:lnTo>
                    <a:pt x="180" y="96"/>
                  </a:lnTo>
                  <a:lnTo>
                    <a:pt x="180" y="60"/>
                  </a:lnTo>
                  <a:lnTo>
                    <a:pt x="192" y="60"/>
                  </a:lnTo>
                  <a:lnTo>
                    <a:pt x="192" y="72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04" y="108"/>
                  </a:lnTo>
                  <a:lnTo>
                    <a:pt x="204" y="114"/>
                  </a:lnTo>
                  <a:lnTo>
                    <a:pt x="204" y="120"/>
                  </a:lnTo>
                  <a:lnTo>
                    <a:pt x="204" y="126"/>
                  </a:lnTo>
                  <a:lnTo>
                    <a:pt x="210" y="126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8" y="174"/>
                  </a:lnTo>
                  <a:lnTo>
                    <a:pt x="198" y="180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86" y="204"/>
                  </a:lnTo>
                  <a:lnTo>
                    <a:pt x="186" y="210"/>
                  </a:lnTo>
                  <a:lnTo>
                    <a:pt x="180" y="210"/>
                  </a:lnTo>
                  <a:lnTo>
                    <a:pt x="180" y="216"/>
                  </a:lnTo>
                  <a:lnTo>
                    <a:pt x="180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92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8" y="258"/>
                  </a:lnTo>
                  <a:lnTo>
                    <a:pt x="204" y="258"/>
                  </a:lnTo>
                  <a:lnTo>
                    <a:pt x="210" y="258"/>
                  </a:lnTo>
                  <a:lnTo>
                    <a:pt x="216" y="258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34" y="276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46" y="306"/>
                  </a:lnTo>
                  <a:lnTo>
                    <a:pt x="252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42"/>
                  </a:lnTo>
                  <a:lnTo>
                    <a:pt x="270" y="342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88" y="366"/>
                  </a:lnTo>
                  <a:lnTo>
                    <a:pt x="336" y="360"/>
                  </a:lnTo>
                  <a:lnTo>
                    <a:pt x="354" y="360"/>
                  </a:lnTo>
                  <a:lnTo>
                    <a:pt x="366" y="372"/>
                  </a:lnTo>
                  <a:lnTo>
                    <a:pt x="378" y="378"/>
                  </a:lnTo>
                  <a:lnTo>
                    <a:pt x="378" y="390"/>
                  </a:lnTo>
                  <a:lnTo>
                    <a:pt x="384" y="390"/>
                  </a:lnTo>
                  <a:lnTo>
                    <a:pt x="390" y="396"/>
                  </a:lnTo>
                  <a:lnTo>
                    <a:pt x="408" y="390"/>
                  </a:lnTo>
                  <a:lnTo>
                    <a:pt x="426" y="366"/>
                  </a:lnTo>
                  <a:lnTo>
                    <a:pt x="432" y="360"/>
                  </a:lnTo>
                  <a:lnTo>
                    <a:pt x="438" y="348"/>
                  </a:lnTo>
                  <a:lnTo>
                    <a:pt x="438" y="342"/>
                  </a:lnTo>
                  <a:lnTo>
                    <a:pt x="438" y="330"/>
                  </a:lnTo>
                  <a:lnTo>
                    <a:pt x="444" y="324"/>
                  </a:lnTo>
                  <a:lnTo>
                    <a:pt x="450" y="318"/>
                  </a:lnTo>
                  <a:lnTo>
                    <a:pt x="456" y="312"/>
                  </a:lnTo>
                  <a:lnTo>
                    <a:pt x="456" y="306"/>
                  </a:lnTo>
                  <a:lnTo>
                    <a:pt x="456" y="300"/>
                  </a:lnTo>
                  <a:lnTo>
                    <a:pt x="474" y="288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92" y="294"/>
                  </a:lnTo>
                  <a:lnTo>
                    <a:pt x="492" y="318"/>
                  </a:lnTo>
                  <a:lnTo>
                    <a:pt x="504" y="324"/>
                  </a:lnTo>
                  <a:lnTo>
                    <a:pt x="492" y="348"/>
                  </a:lnTo>
                  <a:lnTo>
                    <a:pt x="522" y="348"/>
                  </a:lnTo>
                  <a:lnTo>
                    <a:pt x="528" y="342"/>
                  </a:lnTo>
                  <a:lnTo>
                    <a:pt x="528" y="336"/>
                  </a:lnTo>
                  <a:lnTo>
                    <a:pt x="528" y="330"/>
                  </a:lnTo>
                  <a:lnTo>
                    <a:pt x="534" y="330"/>
                  </a:lnTo>
                  <a:lnTo>
                    <a:pt x="540" y="330"/>
                  </a:lnTo>
                  <a:lnTo>
                    <a:pt x="546" y="330"/>
                  </a:lnTo>
                  <a:lnTo>
                    <a:pt x="552" y="324"/>
                  </a:lnTo>
                  <a:lnTo>
                    <a:pt x="558" y="318"/>
                  </a:lnTo>
                  <a:lnTo>
                    <a:pt x="576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8" y="348"/>
                  </a:lnTo>
                  <a:lnTo>
                    <a:pt x="654" y="354"/>
                  </a:lnTo>
                  <a:lnTo>
                    <a:pt x="648" y="402"/>
                  </a:lnTo>
                  <a:lnTo>
                    <a:pt x="678" y="402"/>
                  </a:lnTo>
                  <a:lnTo>
                    <a:pt x="678" y="420"/>
                  </a:lnTo>
                  <a:lnTo>
                    <a:pt x="684" y="438"/>
                  </a:lnTo>
                  <a:lnTo>
                    <a:pt x="684" y="450"/>
                  </a:lnTo>
                  <a:lnTo>
                    <a:pt x="684" y="456"/>
                  </a:lnTo>
                  <a:lnTo>
                    <a:pt x="690" y="468"/>
                  </a:lnTo>
                  <a:lnTo>
                    <a:pt x="690" y="474"/>
                  </a:lnTo>
                  <a:lnTo>
                    <a:pt x="690" y="480"/>
                  </a:lnTo>
                  <a:lnTo>
                    <a:pt x="696" y="486"/>
                  </a:lnTo>
                  <a:lnTo>
                    <a:pt x="696" y="498"/>
                  </a:lnTo>
                  <a:lnTo>
                    <a:pt x="702" y="504"/>
                  </a:lnTo>
                  <a:lnTo>
                    <a:pt x="690" y="516"/>
                  </a:lnTo>
                  <a:lnTo>
                    <a:pt x="678" y="522"/>
                  </a:lnTo>
                  <a:lnTo>
                    <a:pt x="654" y="528"/>
                  </a:lnTo>
                  <a:lnTo>
                    <a:pt x="660" y="546"/>
                  </a:lnTo>
                  <a:lnTo>
                    <a:pt x="672" y="546"/>
                  </a:lnTo>
                  <a:lnTo>
                    <a:pt x="678" y="540"/>
                  </a:lnTo>
                  <a:lnTo>
                    <a:pt x="714" y="540"/>
                  </a:lnTo>
                  <a:lnTo>
                    <a:pt x="798" y="540"/>
                  </a:lnTo>
                  <a:lnTo>
                    <a:pt x="804" y="540"/>
                  </a:lnTo>
                  <a:lnTo>
                    <a:pt x="816" y="528"/>
                  </a:lnTo>
                  <a:lnTo>
                    <a:pt x="822" y="522"/>
                  </a:lnTo>
                  <a:lnTo>
                    <a:pt x="834" y="516"/>
                  </a:lnTo>
                  <a:lnTo>
                    <a:pt x="846" y="516"/>
                  </a:lnTo>
                  <a:lnTo>
                    <a:pt x="852" y="510"/>
                  </a:lnTo>
                  <a:lnTo>
                    <a:pt x="858" y="510"/>
                  </a:lnTo>
                  <a:lnTo>
                    <a:pt x="882" y="516"/>
                  </a:lnTo>
                  <a:lnTo>
                    <a:pt x="888" y="516"/>
                  </a:lnTo>
                  <a:lnTo>
                    <a:pt x="888" y="510"/>
                  </a:lnTo>
                  <a:lnTo>
                    <a:pt x="894" y="510"/>
                  </a:lnTo>
                  <a:lnTo>
                    <a:pt x="906" y="504"/>
                  </a:lnTo>
                  <a:lnTo>
                    <a:pt x="918" y="498"/>
                  </a:lnTo>
                  <a:lnTo>
                    <a:pt x="930" y="492"/>
                  </a:lnTo>
                  <a:lnTo>
                    <a:pt x="936" y="492"/>
                  </a:lnTo>
                  <a:lnTo>
                    <a:pt x="948" y="492"/>
                  </a:lnTo>
                  <a:lnTo>
                    <a:pt x="954" y="528"/>
                  </a:lnTo>
                  <a:lnTo>
                    <a:pt x="954" y="564"/>
                  </a:lnTo>
                  <a:lnTo>
                    <a:pt x="972" y="564"/>
                  </a:lnTo>
                  <a:lnTo>
                    <a:pt x="978" y="558"/>
                  </a:lnTo>
                  <a:lnTo>
                    <a:pt x="990" y="552"/>
                  </a:lnTo>
                  <a:lnTo>
                    <a:pt x="1002" y="540"/>
                  </a:lnTo>
                  <a:lnTo>
                    <a:pt x="1026" y="534"/>
                  </a:lnTo>
                  <a:lnTo>
                    <a:pt x="1032" y="540"/>
                  </a:lnTo>
                  <a:lnTo>
                    <a:pt x="1044" y="546"/>
                  </a:lnTo>
                  <a:lnTo>
                    <a:pt x="1062" y="552"/>
                  </a:lnTo>
                  <a:lnTo>
                    <a:pt x="1068" y="552"/>
                  </a:lnTo>
                  <a:lnTo>
                    <a:pt x="1068" y="570"/>
                  </a:lnTo>
                  <a:lnTo>
                    <a:pt x="1068" y="576"/>
                  </a:lnTo>
                  <a:lnTo>
                    <a:pt x="1068" y="582"/>
                  </a:lnTo>
                  <a:lnTo>
                    <a:pt x="1068" y="588"/>
                  </a:lnTo>
                  <a:lnTo>
                    <a:pt x="1068" y="594"/>
                  </a:lnTo>
                  <a:lnTo>
                    <a:pt x="1080" y="600"/>
                  </a:lnTo>
                  <a:lnTo>
                    <a:pt x="1086" y="606"/>
                  </a:lnTo>
                  <a:lnTo>
                    <a:pt x="1092" y="594"/>
                  </a:lnTo>
                  <a:lnTo>
                    <a:pt x="1104" y="588"/>
                  </a:lnTo>
                  <a:lnTo>
                    <a:pt x="1116" y="588"/>
                  </a:lnTo>
                  <a:lnTo>
                    <a:pt x="1122" y="588"/>
                  </a:lnTo>
                  <a:lnTo>
                    <a:pt x="1122" y="594"/>
                  </a:lnTo>
                  <a:lnTo>
                    <a:pt x="1128" y="594"/>
                  </a:lnTo>
                  <a:lnTo>
                    <a:pt x="1134" y="594"/>
                  </a:lnTo>
                  <a:lnTo>
                    <a:pt x="1140" y="594"/>
                  </a:lnTo>
                  <a:lnTo>
                    <a:pt x="1146" y="588"/>
                  </a:lnTo>
                  <a:lnTo>
                    <a:pt x="1158" y="582"/>
                  </a:lnTo>
                  <a:lnTo>
                    <a:pt x="1164" y="576"/>
                  </a:lnTo>
                  <a:lnTo>
                    <a:pt x="1176" y="576"/>
                  </a:lnTo>
                  <a:lnTo>
                    <a:pt x="1194" y="576"/>
                  </a:lnTo>
                  <a:lnTo>
                    <a:pt x="1218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24" y="594"/>
                  </a:lnTo>
                  <a:lnTo>
                    <a:pt x="1212" y="600"/>
                  </a:lnTo>
                  <a:lnTo>
                    <a:pt x="1206" y="606"/>
                  </a:lnTo>
                  <a:lnTo>
                    <a:pt x="1200" y="606"/>
                  </a:lnTo>
                  <a:lnTo>
                    <a:pt x="1200" y="612"/>
                  </a:lnTo>
                  <a:lnTo>
                    <a:pt x="1194" y="612"/>
                  </a:lnTo>
                  <a:lnTo>
                    <a:pt x="1194" y="618"/>
                  </a:lnTo>
                  <a:lnTo>
                    <a:pt x="1194" y="624"/>
                  </a:lnTo>
                  <a:lnTo>
                    <a:pt x="1194" y="630"/>
                  </a:lnTo>
                  <a:lnTo>
                    <a:pt x="1194" y="648"/>
                  </a:lnTo>
                  <a:lnTo>
                    <a:pt x="1194" y="660"/>
                  </a:lnTo>
                  <a:lnTo>
                    <a:pt x="1194" y="666"/>
                  </a:lnTo>
                  <a:lnTo>
                    <a:pt x="1194" y="672"/>
                  </a:lnTo>
                  <a:lnTo>
                    <a:pt x="1194" y="678"/>
                  </a:lnTo>
                  <a:lnTo>
                    <a:pt x="1188" y="684"/>
                  </a:lnTo>
                  <a:lnTo>
                    <a:pt x="1188" y="690"/>
                  </a:lnTo>
                  <a:lnTo>
                    <a:pt x="1188" y="696"/>
                  </a:lnTo>
                  <a:lnTo>
                    <a:pt x="1188" y="702"/>
                  </a:lnTo>
                  <a:lnTo>
                    <a:pt x="1188" y="708"/>
                  </a:lnTo>
                  <a:lnTo>
                    <a:pt x="1188" y="714"/>
                  </a:lnTo>
                  <a:lnTo>
                    <a:pt x="1182" y="720"/>
                  </a:lnTo>
                  <a:lnTo>
                    <a:pt x="1170" y="720"/>
                  </a:lnTo>
                  <a:lnTo>
                    <a:pt x="1158" y="726"/>
                  </a:lnTo>
                  <a:lnTo>
                    <a:pt x="1152" y="726"/>
                  </a:lnTo>
                  <a:lnTo>
                    <a:pt x="1152" y="732"/>
                  </a:lnTo>
                  <a:lnTo>
                    <a:pt x="1146" y="738"/>
                  </a:lnTo>
                  <a:lnTo>
                    <a:pt x="1140" y="738"/>
                  </a:lnTo>
                  <a:lnTo>
                    <a:pt x="1140" y="744"/>
                  </a:lnTo>
                  <a:lnTo>
                    <a:pt x="1134" y="744"/>
                  </a:lnTo>
                  <a:lnTo>
                    <a:pt x="1128" y="744"/>
                  </a:lnTo>
                  <a:lnTo>
                    <a:pt x="1122" y="750"/>
                  </a:lnTo>
                  <a:lnTo>
                    <a:pt x="1128" y="750"/>
                  </a:lnTo>
                  <a:lnTo>
                    <a:pt x="1122" y="756"/>
                  </a:lnTo>
                  <a:lnTo>
                    <a:pt x="1116" y="756"/>
                  </a:lnTo>
                  <a:lnTo>
                    <a:pt x="1110" y="762"/>
                  </a:lnTo>
                  <a:lnTo>
                    <a:pt x="1104" y="762"/>
                  </a:lnTo>
                  <a:lnTo>
                    <a:pt x="1104" y="768"/>
                  </a:lnTo>
                  <a:lnTo>
                    <a:pt x="1098" y="768"/>
                  </a:lnTo>
                  <a:lnTo>
                    <a:pt x="1098" y="774"/>
                  </a:lnTo>
                  <a:lnTo>
                    <a:pt x="1092" y="774"/>
                  </a:lnTo>
                  <a:lnTo>
                    <a:pt x="1092" y="780"/>
                  </a:lnTo>
                  <a:lnTo>
                    <a:pt x="1086" y="780"/>
                  </a:lnTo>
                  <a:lnTo>
                    <a:pt x="1086" y="786"/>
                  </a:lnTo>
                  <a:lnTo>
                    <a:pt x="1080" y="786"/>
                  </a:lnTo>
                  <a:lnTo>
                    <a:pt x="1080" y="792"/>
                  </a:lnTo>
                  <a:lnTo>
                    <a:pt x="1080" y="798"/>
                  </a:lnTo>
                  <a:lnTo>
                    <a:pt x="1080" y="804"/>
                  </a:lnTo>
                  <a:lnTo>
                    <a:pt x="1086" y="810"/>
                  </a:lnTo>
                  <a:lnTo>
                    <a:pt x="1080" y="816"/>
                  </a:lnTo>
                  <a:lnTo>
                    <a:pt x="1080" y="822"/>
                  </a:lnTo>
                  <a:lnTo>
                    <a:pt x="1074" y="822"/>
                  </a:lnTo>
                  <a:lnTo>
                    <a:pt x="1068" y="828"/>
                  </a:lnTo>
                  <a:lnTo>
                    <a:pt x="1074" y="828"/>
                  </a:lnTo>
                  <a:lnTo>
                    <a:pt x="1074" y="834"/>
                  </a:lnTo>
                  <a:lnTo>
                    <a:pt x="1080" y="846"/>
                  </a:lnTo>
                  <a:lnTo>
                    <a:pt x="1086" y="846"/>
                  </a:lnTo>
                  <a:lnTo>
                    <a:pt x="1092" y="852"/>
                  </a:lnTo>
                  <a:lnTo>
                    <a:pt x="1092" y="858"/>
                  </a:lnTo>
                  <a:lnTo>
                    <a:pt x="1098" y="858"/>
                  </a:lnTo>
                  <a:lnTo>
                    <a:pt x="1110" y="864"/>
                  </a:lnTo>
                  <a:lnTo>
                    <a:pt x="1116" y="864"/>
                  </a:lnTo>
                  <a:lnTo>
                    <a:pt x="1122" y="864"/>
                  </a:lnTo>
                  <a:lnTo>
                    <a:pt x="1128" y="864"/>
                  </a:lnTo>
                  <a:lnTo>
                    <a:pt x="1134" y="876"/>
                  </a:lnTo>
                  <a:lnTo>
                    <a:pt x="1140" y="882"/>
                  </a:lnTo>
                  <a:lnTo>
                    <a:pt x="1140" y="888"/>
                  </a:lnTo>
                  <a:lnTo>
                    <a:pt x="1152" y="918"/>
                  </a:lnTo>
                  <a:lnTo>
                    <a:pt x="1158" y="894"/>
                  </a:lnTo>
                  <a:lnTo>
                    <a:pt x="1164" y="888"/>
                  </a:lnTo>
                  <a:lnTo>
                    <a:pt x="1164" y="882"/>
                  </a:lnTo>
                  <a:lnTo>
                    <a:pt x="1176" y="864"/>
                  </a:lnTo>
                  <a:lnTo>
                    <a:pt x="1182" y="858"/>
                  </a:lnTo>
                  <a:lnTo>
                    <a:pt x="1188" y="846"/>
                  </a:lnTo>
                  <a:lnTo>
                    <a:pt x="1200" y="840"/>
                  </a:lnTo>
                  <a:lnTo>
                    <a:pt x="1212" y="840"/>
                  </a:lnTo>
                  <a:lnTo>
                    <a:pt x="1218" y="846"/>
                  </a:lnTo>
                  <a:lnTo>
                    <a:pt x="1224" y="858"/>
                  </a:lnTo>
                  <a:lnTo>
                    <a:pt x="1224" y="864"/>
                  </a:lnTo>
                  <a:lnTo>
                    <a:pt x="1224" y="876"/>
                  </a:lnTo>
                  <a:lnTo>
                    <a:pt x="1212" y="912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00" y="930"/>
                  </a:lnTo>
                  <a:lnTo>
                    <a:pt x="1200" y="942"/>
                  </a:lnTo>
                  <a:lnTo>
                    <a:pt x="1194" y="948"/>
                  </a:lnTo>
                  <a:lnTo>
                    <a:pt x="1194" y="960"/>
                  </a:lnTo>
                  <a:lnTo>
                    <a:pt x="1194" y="966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70" y="984"/>
                  </a:lnTo>
                  <a:lnTo>
                    <a:pt x="1164" y="984"/>
                  </a:lnTo>
                  <a:lnTo>
                    <a:pt x="1158" y="984"/>
                  </a:lnTo>
                  <a:lnTo>
                    <a:pt x="1146" y="984"/>
                  </a:lnTo>
                  <a:lnTo>
                    <a:pt x="1140" y="990"/>
                  </a:lnTo>
                  <a:lnTo>
                    <a:pt x="1140" y="996"/>
                  </a:lnTo>
                  <a:lnTo>
                    <a:pt x="1152" y="996"/>
                  </a:lnTo>
                  <a:lnTo>
                    <a:pt x="1176" y="1002"/>
                  </a:lnTo>
                  <a:lnTo>
                    <a:pt x="1194" y="1008"/>
                  </a:lnTo>
                  <a:lnTo>
                    <a:pt x="1206" y="1008"/>
                  </a:lnTo>
                  <a:lnTo>
                    <a:pt x="1218" y="1014"/>
                  </a:lnTo>
                  <a:lnTo>
                    <a:pt x="1212" y="1038"/>
                  </a:lnTo>
                  <a:lnTo>
                    <a:pt x="1212" y="1044"/>
                  </a:lnTo>
                  <a:lnTo>
                    <a:pt x="1206" y="1044"/>
                  </a:lnTo>
                  <a:lnTo>
                    <a:pt x="1206" y="1050"/>
                  </a:lnTo>
                  <a:lnTo>
                    <a:pt x="1194" y="1050"/>
                  </a:lnTo>
                  <a:lnTo>
                    <a:pt x="1188" y="1044"/>
                  </a:lnTo>
                  <a:lnTo>
                    <a:pt x="1158" y="1020"/>
                  </a:lnTo>
                  <a:lnTo>
                    <a:pt x="1152" y="1020"/>
                  </a:lnTo>
                  <a:lnTo>
                    <a:pt x="1140" y="1020"/>
                  </a:lnTo>
                  <a:lnTo>
                    <a:pt x="1134" y="1020"/>
                  </a:lnTo>
                  <a:lnTo>
                    <a:pt x="1134" y="1026"/>
                  </a:lnTo>
                  <a:lnTo>
                    <a:pt x="1134" y="1032"/>
                  </a:lnTo>
                  <a:lnTo>
                    <a:pt x="1128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2" name="Freeform 27">
              <a:extLst>
                <a:ext uri="{FF2B5EF4-FFF2-40B4-BE49-F238E27FC236}">
                  <a16:creationId xmlns:a16="http://schemas.microsoft.com/office/drawing/2014/main" id="{CE95C9DF-B651-4085-946F-65424BC51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2063" y="3421400"/>
              <a:ext cx="342138" cy="377969"/>
            </a:xfrm>
            <a:custGeom>
              <a:avLst/>
              <a:gdLst>
                <a:gd name="T0" fmla="*/ 43 w 642"/>
                <a:gd name="T1" fmla="*/ 41 h 708"/>
                <a:gd name="T2" fmla="*/ 39 w 642"/>
                <a:gd name="T3" fmla="*/ 41 h 708"/>
                <a:gd name="T4" fmla="*/ 38 w 642"/>
                <a:gd name="T5" fmla="*/ 47 h 708"/>
                <a:gd name="T6" fmla="*/ 38 w 642"/>
                <a:gd name="T7" fmla="*/ 49 h 708"/>
                <a:gd name="T8" fmla="*/ 38 w 642"/>
                <a:gd name="T9" fmla="*/ 50 h 708"/>
                <a:gd name="T10" fmla="*/ 36 w 642"/>
                <a:gd name="T11" fmla="*/ 52 h 708"/>
                <a:gd name="T12" fmla="*/ 35 w 642"/>
                <a:gd name="T13" fmla="*/ 53 h 708"/>
                <a:gd name="T14" fmla="*/ 33 w 642"/>
                <a:gd name="T15" fmla="*/ 55 h 708"/>
                <a:gd name="T16" fmla="*/ 32 w 642"/>
                <a:gd name="T17" fmla="*/ 56 h 708"/>
                <a:gd name="T18" fmla="*/ 31 w 642"/>
                <a:gd name="T19" fmla="*/ 59 h 708"/>
                <a:gd name="T20" fmla="*/ 26 w 642"/>
                <a:gd name="T21" fmla="*/ 59 h 708"/>
                <a:gd name="T22" fmla="*/ 23 w 642"/>
                <a:gd name="T23" fmla="*/ 61 h 708"/>
                <a:gd name="T24" fmla="*/ 20 w 642"/>
                <a:gd name="T25" fmla="*/ 61 h 708"/>
                <a:gd name="T26" fmla="*/ 17 w 642"/>
                <a:gd name="T27" fmla="*/ 59 h 708"/>
                <a:gd name="T28" fmla="*/ 15 w 642"/>
                <a:gd name="T29" fmla="*/ 56 h 708"/>
                <a:gd name="T30" fmla="*/ 9 w 642"/>
                <a:gd name="T31" fmla="*/ 58 h 708"/>
                <a:gd name="T32" fmla="*/ 6 w 642"/>
                <a:gd name="T33" fmla="*/ 52 h 708"/>
                <a:gd name="T34" fmla="*/ 2 w 642"/>
                <a:gd name="T35" fmla="*/ 53 h 708"/>
                <a:gd name="T36" fmla="*/ 1 w 642"/>
                <a:gd name="T37" fmla="*/ 51 h 708"/>
                <a:gd name="T38" fmla="*/ 4 w 642"/>
                <a:gd name="T39" fmla="*/ 47 h 708"/>
                <a:gd name="T40" fmla="*/ 5 w 642"/>
                <a:gd name="T41" fmla="*/ 41 h 708"/>
                <a:gd name="T42" fmla="*/ 5 w 642"/>
                <a:gd name="T43" fmla="*/ 38 h 708"/>
                <a:gd name="T44" fmla="*/ 5 w 642"/>
                <a:gd name="T45" fmla="*/ 35 h 708"/>
                <a:gd name="T46" fmla="*/ 6 w 642"/>
                <a:gd name="T47" fmla="*/ 33 h 708"/>
                <a:gd name="T48" fmla="*/ 5 w 642"/>
                <a:gd name="T49" fmla="*/ 29 h 708"/>
                <a:gd name="T50" fmla="*/ 4 w 642"/>
                <a:gd name="T51" fmla="*/ 28 h 708"/>
                <a:gd name="T52" fmla="*/ 1 w 642"/>
                <a:gd name="T53" fmla="*/ 26 h 708"/>
                <a:gd name="T54" fmla="*/ 1 w 642"/>
                <a:gd name="T55" fmla="*/ 24 h 708"/>
                <a:gd name="T56" fmla="*/ 1 w 642"/>
                <a:gd name="T57" fmla="*/ 20 h 708"/>
                <a:gd name="T58" fmla="*/ 1 w 642"/>
                <a:gd name="T59" fmla="*/ 16 h 708"/>
                <a:gd name="T60" fmla="*/ 2 w 642"/>
                <a:gd name="T61" fmla="*/ 14 h 708"/>
                <a:gd name="T62" fmla="*/ 8 w 642"/>
                <a:gd name="T63" fmla="*/ 14 h 708"/>
                <a:gd name="T64" fmla="*/ 9 w 642"/>
                <a:gd name="T65" fmla="*/ 10 h 708"/>
                <a:gd name="T66" fmla="*/ 15 w 642"/>
                <a:gd name="T67" fmla="*/ 9 h 708"/>
                <a:gd name="T68" fmla="*/ 18 w 642"/>
                <a:gd name="T69" fmla="*/ 14 h 708"/>
                <a:gd name="T70" fmla="*/ 20 w 642"/>
                <a:gd name="T71" fmla="*/ 12 h 708"/>
                <a:gd name="T72" fmla="*/ 20 w 642"/>
                <a:gd name="T73" fmla="*/ 11 h 708"/>
                <a:gd name="T74" fmla="*/ 21 w 642"/>
                <a:gd name="T75" fmla="*/ 9 h 708"/>
                <a:gd name="T76" fmla="*/ 24 w 642"/>
                <a:gd name="T77" fmla="*/ 9 h 708"/>
                <a:gd name="T78" fmla="*/ 27 w 642"/>
                <a:gd name="T79" fmla="*/ 8 h 708"/>
                <a:gd name="T80" fmla="*/ 33 w 642"/>
                <a:gd name="T81" fmla="*/ 2 h 708"/>
                <a:gd name="T82" fmla="*/ 42 w 642"/>
                <a:gd name="T83" fmla="*/ 2 h 708"/>
                <a:gd name="T84" fmla="*/ 49 w 642"/>
                <a:gd name="T85" fmla="*/ 1 h 708"/>
                <a:gd name="T86" fmla="*/ 53 w 642"/>
                <a:gd name="T87" fmla="*/ 4 h 708"/>
                <a:gd name="T88" fmla="*/ 55 w 642"/>
                <a:gd name="T89" fmla="*/ 4 h 708"/>
                <a:gd name="T90" fmla="*/ 55 w 642"/>
                <a:gd name="T91" fmla="*/ 7 h 708"/>
                <a:gd name="T92" fmla="*/ 52 w 642"/>
                <a:gd name="T93" fmla="*/ 9 h 708"/>
                <a:gd name="T94" fmla="*/ 49 w 642"/>
                <a:gd name="T95" fmla="*/ 12 h 708"/>
                <a:gd name="T96" fmla="*/ 47 w 642"/>
                <a:gd name="T97" fmla="*/ 14 h 708"/>
                <a:gd name="T98" fmla="*/ 47 w 642"/>
                <a:gd name="T99" fmla="*/ 17 h 708"/>
                <a:gd name="T100" fmla="*/ 45 w 642"/>
                <a:gd name="T101" fmla="*/ 26 h 708"/>
                <a:gd name="T102" fmla="*/ 50 w 642"/>
                <a:gd name="T103" fmla="*/ 37 h 70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42"/>
                <a:gd name="T157" fmla="*/ 0 h 708"/>
                <a:gd name="T158" fmla="*/ 642 w 642"/>
                <a:gd name="T159" fmla="*/ 708 h 70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42" h="708">
                  <a:moveTo>
                    <a:pt x="576" y="468"/>
                  </a:moveTo>
                  <a:lnTo>
                    <a:pt x="564" y="468"/>
                  </a:lnTo>
                  <a:lnTo>
                    <a:pt x="516" y="468"/>
                  </a:lnTo>
                  <a:lnTo>
                    <a:pt x="498" y="474"/>
                  </a:lnTo>
                  <a:lnTo>
                    <a:pt x="492" y="468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68" y="474"/>
                  </a:lnTo>
                  <a:lnTo>
                    <a:pt x="456" y="468"/>
                  </a:lnTo>
                  <a:lnTo>
                    <a:pt x="444" y="474"/>
                  </a:lnTo>
                  <a:lnTo>
                    <a:pt x="438" y="492"/>
                  </a:lnTo>
                  <a:lnTo>
                    <a:pt x="438" y="504"/>
                  </a:lnTo>
                  <a:lnTo>
                    <a:pt x="432" y="516"/>
                  </a:lnTo>
                  <a:lnTo>
                    <a:pt x="432" y="528"/>
                  </a:lnTo>
                  <a:lnTo>
                    <a:pt x="432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52"/>
                  </a:lnTo>
                  <a:lnTo>
                    <a:pt x="432" y="558"/>
                  </a:lnTo>
                  <a:lnTo>
                    <a:pt x="438" y="564"/>
                  </a:lnTo>
                  <a:lnTo>
                    <a:pt x="444" y="564"/>
                  </a:lnTo>
                  <a:lnTo>
                    <a:pt x="438" y="564"/>
                  </a:lnTo>
                  <a:lnTo>
                    <a:pt x="438" y="570"/>
                  </a:lnTo>
                  <a:lnTo>
                    <a:pt x="432" y="570"/>
                  </a:lnTo>
                  <a:lnTo>
                    <a:pt x="432" y="576"/>
                  </a:lnTo>
                  <a:lnTo>
                    <a:pt x="426" y="588"/>
                  </a:lnTo>
                  <a:lnTo>
                    <a:pt x="420" y="594"/>
                  </a:lnTo>
                  <a:lnTo>
                    <a:pt x="420" y="600"/>
                  </a:lnTo>
                  <a:lnTo>
                    <a:pt x="414" y="600"/>
                  </a:lnTo>
                  <a:lnTo>
                    <a:pt x="414" y="606"/>
                  </a:lnTo>
                  <a:lnTo>
                    <a:pt x="408" y="606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396" y="612"/>
                  </a:lnTo>
                  <a:lnTo>
                    <a:pt x="390" y="612"/>
                  </a:lnTo>
                  <a:lnTo>
                    <a:pt x="390" y="618"/>
                  </a:lnTo>
                  <a:lnTo>
                    <a:pt x="384" y="618"/>
                  </a:lnTo>
                  <a:lnTo>
                    <a:pt x="378" y="618"/>
                  </a:lnTo>
                  <a:lnTo>
                    <a:pt x="378" y="624"/>
                  </a:lnTo>
                  <a:lnTo>
                    <a:pt x="384" y="630"/>
                  </a:lnTo>
                  <a:lnTo>
                    <a:pt x="384" y="636"/>
                  </a:lnTo>
                  <a:lnTo>
                    <a:pt x="378" y="630"/>
                  </a:lnTo>
                  <a:lnTo>
                    <a:pt x="372" y="636"/>
                  </a:lnTo>
                  <a:lnTo>
                    <a:pt x="372" y="642"/>
                  </a:lnTo>
                  <a:lnTo>
                    <a:pt x="366" y="642"/>
                  </a:lnTo>
                  <a:lnTo>
                    <a:pt x="360" y="654"/>
                  </a:lnTo>
                  <a:lnTo>
                    <a:pt x="354" y="666"/>
                  </a:lnTo>
                  <a:lnTo>
                    <a:pt x="354" y="672"/>
                  </a:lnTo>
                  <a:lnTo>
                    <a:pt x="354" y="678"/>
                  </a:lnTo>
                  <a:lnTo>
                    <a:pt x="354" y="684"/>
                  </a:lnTo>
                  <a:lnTo>
                    <a:pt x="348" y="678"/>
                  </a:lnTo>
                  <a:lnTo>
                    <a:pt x="324" y="678"/>
                  </a:lnTo>
                  <a:lnTo>
                    <a:pt x="306" y="678"/>
                  </a:lnTo>
                  <a:lnTo>
                    <a:pt x="294" y="678"/>
                  </a:lnTo>
                  <a:lnTo>
                    <a:pt x="288" y="684"/>
                  </a:lnTo>
                  <a:lnTo>
                    <a:pt x="276" y="690"/>
                  </a:lnTo>
                  <a:lnTo>
                    <a:pt x="270" y="696"/>
                  </a:lnTo>
                  <a:lnTo>
                    <a:pt x="264" y="696"/>
                  </a:lnTo>
                  <a:lnTo>
                    <a:pt x="258" y="696"/>
                  </a:lnTo>
                  <a:lnTo>
                    <a:pt x="252" y="696"/>
                  </a:lnTo>
                  <a:lnTo>
                    <a:pt x="252" y="690"/>
                  </a:lnTo>
                  <a:lnTo>
                    <a:pt x="246" y="690"/>
                  </a:lnTo>
                  <a:lnTo>
                    <a:pt x="234" y="690"/>
                  </a:lnTo>
                  <a:lnTo>
                    <a:pt x="222" y="696"/>
                  </a:lnTo>
                  <a:lnTo>
                    <a:pt x="216" y="708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8" y="690"/>
                  </a:lnTo>
                  <a:lnTo>
                    <a:pt x="198" y="684"/>
                  </a:lnTo>
                  <a:lnTo>
                    <a:pt x="198" y="678"/>
                  </a:lnTo>
                  <a:lnTo>
                    <a:pt x="198" y="672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74" y="648"/>
                  </a:lnTo>
                  <a:lnTo>
                    <a:pt x="162" y="642"/>
                  </a:lnTo>
                  <a:lnTo>
                    <a:pt x="156" y="636"/>
                  </a:lnTo>
                  <a:lnTo>
                    <a:pt x="132" y="642"/>
                  </a:lnTo>
                  <a:lnTo>
                    <a:pt x="120" y="654"/>
                  </a:lnTo>
                  <a:lnTo>
                    <a:pt x="108" y="660"/>
                  </a:lnTo>
                  <a:lnTo>
                    <a:pt x="102" y="666"/>
                  </a:lnTo>
                  <a:lnTo>
                    <a:pt x="84" y="666"/>
                  </a:lnTo>
                  <a:lnTo>
                    <a:pt x="84" y="630"/>
                  </a:lnTo>
                  <a:lnTo>
                    <a:pt x="78" y="594"/>
                  </a:lnTo>
                  <a:lnTo>
                    <a:pt x="66" y="594"/>
                  </a:lnTo>
                  <a:lnTo>
                    <a:pt x="60" y="594"/>
                  </a:lnTo>
                  <a:lnTo>
                    <a:pt x="48" y="600"/>
                  </a:lnTo>
                  <a:lnTo>
                    <a:pt x="36" y="606"/>
                  </a:lnTo>
                  <a:lnTo>
                    <a:pt x="24" y="612"/>
                  </a:lnTo>
                  <a:lnTo>
                    <a:pt x="18" y="612"/>
                  </a:lnTo>
                  <a:lnTo>
                    <a:pt x="12" y="606"/>
                  </a:lnTo>
                  <a:lnTo>
                    <a:pt x="12" y="600"/>
                  </a:lnTo>
                  <a:lnTo>
                    <a:pt x="12" y="594"/>
                  </a:lnTo>
                  <a:lnTo>
                    <a:pt x="12" y="588"/>
                  </a:lnTo>
                  <a:lnTo>
                    <a:pt x="12" y="582"/>
                  </a:lnTo>
                  <a:lnTo>
                    <a:pt x="12" y="576"/>
                  </a:lnTo>
                  <a:lnTo>
                    <a:pt x="18" y="552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42" y="534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48" y="492"/>
                  </a:lnTo>
                  <a:lnTo>
                    <a:pt x="48" y="480"/>
                  </a:lnTo>
                  <a:lnTo>
                    <a:pt x="54" y="468"/>
                  </a:lnTo>
                  <a:lnTo>
                    <a:pt x="48" y="456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66" y="390"/>
                  </a:lnTo>
                  <a:lnTo>
                    <a:pt x="72" y="384"/>
                  </a:lnTo>
                  <a:lnTo>
                    <a:pt x="72" y="378"/>
                  </a:lnTo>
                  <a:lnTo>
                    <a:pt x="66" y="378"/>
                  </a:lnTo>
                  <a:lnTo>
                    <a:pt x="66" y="366"/>
                  </a:lnTo>
                  <a:lnTo>
                    <a:pt x="60" y="360"/>
                  </a:lnTo>
                  <a:lnTo>
                    <a:pt x="66" y="354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48" y="312"/>
                  </a:lnTo>
                  <a:lnTo>
                    <a:pt x="30" y="312"/>
                  </a:lnTo>
                  <a:lnTo>
                    <a:pt x="24" y="306"/>
                  </a:lnTo>
                  <a:lnTo>
                    <a:pt x="18" y="306"/>
                  </a:lnTo>
                  <a:lnTo>
                    <a:pt x="12" y="294"/>
                  </a:lnTo>
                  <a:lnTo>
                    <a:pt x="12" y="282"/>
                  </a:lnTo>
                  <a:lnTo>
                    <a:pt x="6" y="276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12" y="270"/>
                  </a:lnTo>
                  <a:lnTo>
                    <a:pt x="12" y="246"/>
                  </a:lnTo>
                  <a:lnTo>
                    <a:pt x="12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8" y="174"/>
                  </a:lnTo>
                  <a:lnTo>
                    <a:pt x="12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48" y="162"/>
                  </a:lnTo>
                  <a:lnTo>
                    <a:pt x="72" y="162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84" y="132"/>
                  </a:lnTo>
                  <a:lnTo>
                    <a:pt x="90" y="120"/>
                  </a:lnTo>
                  <a:lnTo>
                    <a:pt x="108" y="114"/>
                  </a:lnTo>
                  <a:lnTo>
                    <a:pt x="114" y="102"/>
                  </a:lnTo>
                  <a:lnTo>
                    <a:pt x="120" y="90"/>
                  </a:lnTo>
                  <a:lnTo>
                    <a:pt x="138" y="90"/>
                  </a:lnTo>
                  <a:lnTo>
                    <a:pt x="138" y="102"/>
                  </a:lnTo>
                  <a:lnTo>
                    <a:pt x="168" y="108"/>
                  </a:lnTo>
                  <a:lnTo>
                    <a:pt x="168" y="114"/>
                  </a:lnTo>
                  <a:lnTo>
                    <a:pt x="174" y="126"/>
                  </a:lnTo>
                  <a:lnTo>
                    <a:pt x="186" y="150"/>
                  </a:lnTo>
                  <a:lnTo>
                    <a:pt x="186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34" y="144"/>
                  </a:lnTo>
                  <a:lnTo>
                    <a:pt x="240" y="138"/>
                  </a:lnTo>
                  <a:lnTo>
                    <a:pt x="240" y="126"/>
                  </a:lnTo>
                  <a:lnTo>
                    <a:pt x="234" y="126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34" y="102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82" y="102"/>
                  </a:lnTo>
                  <a:lnTo>
                    <a:pt x="288" y="102"/>
                  </a:lnTo>
                  <a:lnTo>
                    <a:pt x="294" y="102"/>
                  </a:lnTo>
                  <a:lnTo>
                    <a:pt x="300" y="96"/>
                  </a:lnTo>
                  <a:lnTo>
                    <a:pt x="306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84"/>
                  </a:lnTo>
                  <a:lnTo>
                    <a:pt x="324" y="18"/>
                  </a:lnTo>
                  <a:lnTo>
                    <a:pt x="360" y="18"/>
                  </a:lnTo>
                  <a:lnTo>
                    <a:pt x="378" y="18"/>
                  </a:lnTo>
                  <a:lnTo>
                    <a:pt x="378" y="30"/>
                  </a:lnTo>
                  <a:lnTo>
                    <a:pt x="390" y="30"/>
                  </a:lnTo>
                  <a:lnTo>
                    <a:pt x="432" y="30"/>
                  </a:lnTo>
                  <a:lnTo>
                    <a:pt x="456" y="24"/>
                  </a:lnTo>
                  <a:lnTo>
                    <a:pt x="480" y="24"/>
                  </a:lnTo>
                  <a:lnTo>
                    <a:pt x="498" y="30"/>
                  </a:lnTo>
                  <a:lnTo>
                    <a:pt x="522" y="18"/>
                  </a:lnTo>
                  <a:lnTo>
                    <a:pt x="528" y="0"/>
                  </a:lnTo>
                  <a:lnTo>
                    <a:pt x="558" y="6"/>
                  </a:lnTo>
                  <a:lnTo>
                    <a:pt x="558" y="12"/>
                  </a:lnTo>
                  <a:lnTo>
                    <a:pt x="570" y="18"/>
                  </a:lnTo>
                  <a:lnTo>
                    <a:pt x="576" y="24"/>
                  </a:lnTo>
                  <a:lnTo>
                    <a:pt x="588" y="36"/>
                  </a:lnTo>
                  <a:lnTo>
                    <a:pt x="594" y="48"/>
                  </a:lnTo>
                  <a:lnTo>
                    <a:pt x="606" y="48"/>
                  </a:lnTo>
                  <a:lnTo>
                    <a:pt x="606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42"/>
                  </a:lnTo>
                  <a:lnTo>
                    <a:pt x="636" y="42"/>
                  </a:lnTo>
                  <a:lnTo>
                    <a:pt x="636" y="48"/>
                  </a:lnTo>
                  <a:lnTo>
                    <a:pt x="642" y="54"/>
                  </a:lnTo>
                  <a:lnTo>
                    <a:pt x="636" y="60"/>
                  </a:lnTo>
                  <a:lnTo>
                    <a:pt x="636" y="66"/>
                  </a:lnTo>
                  <a:lnTo>
                    <a:pt x="636" y="78"/>
                  </a:lnTo>
                  <a:lnTo>
                    <a:pt x="624" y="84"/>
                  </a:lnTo>
                  <a:lnTo>
                    <a:pt x="618" y="90"/>
                  </a:lnTo>
                  <a:lnTo>
                    <a:pt x="612" y="90"/>
                  </a:lnTo>
                  <a:lnTo>
                    <a:pt x="600" y="102"/>
                  </a:lnTo>
                  <a:lnTo>
                    <a:pt x="594" y="108"/>
                  </a:lnTo>
                  <a:lnTo>
                    <a:pt x="582" y="114"/>
                  </a:lnTo>
                  <a:lnTo>
                    <a:pt x="570" y="132"/>
                  </a:lnTo>
                  <a:lnTo>
                    <a:pt x="564" y="132"/>
                  </a:lnTo>
                  <a:lnTo>
                    <a:pt x="564" y="138"/>
                  </a:lnTo>
                  <a:lnTo>
                    <a:pt x="558" y="144"/>
                  </a:lnTo>
                  <a:lnTo>
                    <a:pt x="558" y="150"/>
                  </a:lnTo>
                  <a:lnTo>
                    <a:pt x="552" y="150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0" y="162"/>
                  </a:lnTo>
                  <a:lnTo>
                    <a:pt x="534" y="168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6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28" y="234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16" y="294"/>
                  </a:lnTo>
                  <a:lnTo>
                    <a:pt x="516" y="312"/>
                  </a:lnTo>
                  <a:lnTo>
                    <a:pt x="528" y="318"/>
                  </a:lnTo>
                  <a:lnTo>
                    <a:pt x="540" y="360"/>
                  </a:lnTo>
                  <a:lnTo>
                    <a:pt x="558" y="408"/>
                  </a:lnTo>
                  <a:lnTo>
                    <a:pt x="570" y="426"/>
                  </a:lnTo>
                  <a:lnTo>
                    <a:pt x="576" y="432"/>
                  </a:lnTo>
                  <a:lnTo>
                    <a:pt x="576" y="438"/>
                  </a:lnTo>
                  <a:lnTo>
                    <a:pt x="576" y="444"/>
                  </a:lnTo>
                  <a:lnTo>
                    <a:pt x="576" y="46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3" name="Freeform 28">
              <a:extLst>
                <a:ext uri="{FF2B5EF4-FFF2-40B4-BE49-F238E27FC236}">
                  <a16:creationId xmlns:a16="http://schemas.microsoft.com/office/drawing/2014/main" id="{CF9B4F31-BF73-448E-83AA-188F6CF1BDC5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4879" y="3432583"/>
              <a:ext cx="324248" cy="270616"/>
            </a:xfrm>
            <a:custGeom>
              <a:avLst/>
              <a:gdLst>
                <a:gd name="T0" fmla="*/ 5 w 606"/>
                <a:gd name="T1" fmla="*/ 36 h 510"/>
                <a:gd name="T2" fmla="*/ 4 w 606"/>
                <a:gd name="T3" fmla="*/ 34 h 510"/>
                <a:gd name="T4" fmla="*/ 0 w 606"/>
                <a:gd name="T5" fmla="*/ 25 h 510"/>
                <a:gd name="T6" fmla="*/ 1 w 606"/>
                <a:gd name="T7" fmla="*/ 20 h 510"/>
                <a:gd name="T8" fmla="*/ 2 w 606"/>
                <a:gd name="T9" fmla="*/ 15 h 510"/>
                <a:gd name="T10" fmla="*/ 2 w 606"/>
                <a:gd name="T11" fmla="*/ 13 h 510"/>
                <a:gd name="T12" fmla="*/ 3 w 606"/>
                <a:gd name="T13" fmla="*/ 12 h 510"/>
                <a:gd name="T14" fmla="*/ 4 w 606"/>
                <a:gd name="T15" fmla="*/ 11 h 510"/>
                <a:gd name="T16" fmla="*/ 4 w 606"/>
                <a:gd name="T17" fmla="*/ 10 h 510"/>
                <a:gd name="T18" fmla="*/ 7 w 606"/>
                <a:gd name="T19" fmla="*/ 8 h 510"/>
                <a:gd name="T20" fmla="*/ 9 w 606"/>
                <a:gd name="T21" fmla="*/ 6 h 510"/>
                <a:gd name="T22" fmla="*/ 11 w 606"/>
                <a:gd name="T23" fmla="*/ 4 h 510"/>
                <a:gd name="T24" fmla="*/ 12 w 606"/>
                <a:gd name="T25" fmla="*/ 3 h 510"/>
                <a:gd name="T26" fmla="*/ 13 w 606"/>
                <a:gd name="T27" fmla="*/ 4 h 510"/>
                <a:gd name="T28" fmla="*/ 15 w 606"/>
                <a:gd name="T29" fmla="*/ 2 h 510"/>
                <a:gd name="T30" fmla="*/ 17 w 606"/>
                <a:gd name="T31" fmla="*/ 2 h 510"/>
                <a:gd name="T32" fmla="*/ 19 w 606"/>
                <a:gd name="T33" fmla="*/ 5 h 510"/>
                <a:gd name="T34" fmla="*/ 22 w 606"/>
                <a:gd name="T35" fmla="*/ 5 h 510"/>
                <a:gd name="T36" fmla="*/ 25 w 606"/>
                <a:gd name="T37" fmla="*/ 6 h 510"/>
                <a:gd name="T38" fmla="*/ 29 w 606"/>
                <a:gd name="T39" fmla="*/ 1 h 510"/>
                <a:gd name="T40" fmla="*/ 38 w 606"/>
                <a:gd name="T41" fmla="*/ 0 h 510"/>
                <a:gd name="T42" fmla="*/ 38 w 606"/>
                <a:gd name="T43" fmla="*/ 5 h 510"/>
                <a:gd name="T44" fmla="*/ 41 w 606"/>
                <a:gd name="T45" fmla="*/ 4 h 510"/>
                <a:gd name="T46" fmla="*/ 45 w 606"/>
                <a:gd name="T47" fmla="*/ 2 h 510"/>
                <a:gd name="T48" fmla="*/ 46 w 606"/>
                <a:gd name="T49" fmla="*/ 2 h 510"/>
                <a:gd name="T50" fmla="*/ 47 w 606"/>
                <a:gd name="T51" fmla="*/ 5 h 510"/>
                <a:gd name="T52" fmla="*/ 45 w 606"/>
                <a:gd name="T53" fmla="*/ 6 h 510"/>
                <a:gd name="T54" fmla="*/ 45 w 606"/>
                <a:gd name="T55" fmla="*/ 7 h 510"/>
                <a:gd name="T56" fmla="*/ 43 w 606"/>
                <a:gd name="T57" fmla="*/ 8 h 510"/>
                <a:gd name="T58" fmla="*/ 45 w 606"/>
                <a:gd name="T59" fmla="*/ 15 h 510"/>
                <a:gd name="T60" fmla="*/ 49 w 606"/>
                <a:gd name="T61" fmla="*/ 15 h 510"/>
                <a:gd name="T62" fmla="*/ 51 w 606"/>
                <a:gd name="T63" fmla="*/ 15 h 510"/>
                <a:gd name="T64" fmla="*/ 53 w 606"/>
                <a:gd name="T65" fmla="*/ 16 h 510"/>
                <a:gd name="T66" fmla="*/ 52 w 606"/>
                <a:gd name="T67" fmla="*/ 20 h 510"/>
                <a:gd name="T68" fmla="*/ 48 w 606"/>
                <a:gd name="T69" fmla="*/ 23 h 510"/>
                <a:gd name="T70" fmla="*/ 45 w 606"/>
                <a:gd name="T71" fmla="*/ 25 h 510"/>
                <a:gd name="T72" fmla="*/ 44 w 606"/>
                <a:gd name="T73" fmla="*/ 28 h 510"/>
                <a:gd name="T74" fmla="*/ 43 w 606"/>
                <a:gd name="T75" fmla="*/ 33 h 510"/>
                <a:gd name="T76" fmla="*/ 39 w 606"/>
                <a:gd name="T77" fmla="*/ 38 h 510"/>
                <a:gd name="T78" fmla="*/ 37 w 606"/>
                <a:gd name="T79" fmla="*/ 41 h 510"/>
                <a:gd name="T80" fmla="*/ 31 w 606"/>
                <a:gd name="T81" fmla="*/ 44 h 510"/>
                <a:gd name="T82" fmla="*/ 28 w 606"/>
                <a:gd name="T83" fmla="*/ 43 h 510"/>
                <a:gd name="T84" fmla="*/ 28 w 606"/>
                <a:gd name="T85" fmla="*/ 41 h 510"/>
                <a:gd name="T86" fmla="*/ 28 w 606"/>
                <a:gd name="T87" fmla="*/ 40 h 510"/>
                <a:gd name="T88" fmla="*/ 27 w 606"/>
                <a:gd name="T89" fmla="*/ 38 h 510"/>
                <a:gd name="T90" fmla="*/ 27 w 606"/>
                <a:gd name="T91" fmla="*/ 36 h 510"/>
                <a:gd name="T92" fmla="*/ 24 w 606"/>
                <a:gd name="T93" fmla="*/ 35 h 510"/>
                <a:gd name="T94" fmla="*/ 16 w 606"/>
                <a:gd name="T95" fmla="*/ 34 h 510"/>
                <a:gd name="T96" fmla="*/ 13 w 606"/>
                <a:gd name="T97" fmla="*/ 34 h 510"/>
                <a:gd name="T98" fmla="*/ 9 w 606"/>
                <a:gd name="T99" fmla="*/ 36 h 510"/>
                <a:gd name="T100" fmla="*/ 8 w 606"/>
                <a:gd name="T101" fmla="*/ 38 h 510"/>
                <a:gd name="T102" fmla="*/ 7 w 606"/>
                <a:gd name="T103" fmla="*/ 39 h 51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06"/>
                <a:gd name="T157" fmla="*/ 0 h 510"/>
                <a:gd name="T158" fmla="*/ 606 w 606"/>
                <a:gd name="T159" fmla="*/ 510 h 51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06" h="510">
                  <a:moveTo>
                    <a:pt x="60" y="450"/>
                  </a:move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42" y="390"/>
                  </a:lnTo>
                  <a:lnTo>
                    <a:pt x="24" y="342"/>
                  </a:lnTo>
                  <a:lnTo>
                    <a:pt x="12" y="300"/>
                  </a:lnTo>
                  <a:lnTo>
                    <a:pt x="0" y="294"/>
                  </a:lnTo>
                  <a:lnTo>
                    <a:pt x="0" y="276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24" y="192"/>
                  </a:lnTo>
                  <a:lnTo>
                    <a:pt x="24" y="180"/>
                  </a:lnTo>
                  <a:lnTo>
                    <a:pt x="24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6" y="96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108" y="66"/>
                  </a:lnTo>
                  <a:lnTo>
                    <a:pt x="120" y="60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36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62" y="36"/>
                  </a:lnTo>
                  <a:lnTo>
                    <a:pt x="162" y="30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0" y="54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46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76" y="66"/>
                  </a:lnTo>
                  <a:lnTo>
                    <a:pt x="312" y="66"/>
                  </a:lnTo>
                  <a:lnTo>
                    <a:pt x="318" y="60"/>
                  </a:lnTo>
                  <a:lnTo>
                    <a:pt x="330" y="12"/>
                  </a:lnTo>
                  <a:lnTo>
                    <a:pt x="414" y="6"/>
                  </a:lnTo>
                  <a:lnTo>
                    <a:pt x="420" y="0"/>
                  </a:lnTo>
                  <a:lnTo>
                    <a:pt x="426" y="6"/>
                  </a:lnTo>
                  <a:lnTo>
                    <a:pt x="426" y="12"/>
                  </a:lnTo>
                  <a:lnTo>
                    <a:pt x="426" y="54"/>
                  </a:lnTo>
                  <a:lnTo>
                    <a:pt x="432" y="54"/>
                  </a:lnTo>
                  <a:lnTo>
                    <a:pt x="444" y="54"/>
                  </a:lnTo>
                  <a:lnTo>
                    <a:pt x="450" y="42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86" y="24"/>
                  </a:lnTo>
                  <a:lnTo>
                    <a:pt x="504" y="18"/>
                  </a:lnTo>
                  <a:lnTo>
                    <a:pt x="510" y="12"/>
                  </a:lnTo>
                  <a:lnTo>
                    <a:pt x="516" y="18"/>
                  </a:lnTo>
                  <a:lnTo>
                    <a:pt x="522" y="24"/>
                  </a:lnTo>
                  <a:lnTo>
                    <a:pt x="510" y="30"/>
                  </a:lnTo>
                  <a:lnTo>
                    <a:pt x="516" y="48"/>
                  </a:lnTo>
                  <a:lnTo>
                    <a:pt x="528" y="54"/>
                  </a:lnTo>
                  <a:lnTo>
                    <a:pt x="522" y="60"/>
                  </a:lnTo>
                  <a:lnTo>
                    <a:pt x="516" y="66"/>
                  </a:lnTo>
                  <a:lnTo>
                    <a:pt x="516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0" y="84"/>
                  </a:lnTo>
                  <a:lnTo>
                    <a:pt x="510" y="90"/>
                  </a:lnTo>
                  <a:lnTo>
                    <a:pt x="504" y="90"/>
                  </a:lnTo>
                  <a:lnTo>
                    <a:pt x="486" y="90"/>
                  </a:lnTo>
                  <a:lnTo>
                    <a:pt x="492" y="138"/>
                  </a:lnTo>
                  <a:lnTo>
                    <a:pt x="498" y="168"/>
                  </a:lnTo>
                  <a:lnTo>
                    <a:pt x="516" y="168"/>
                  </a:lnTo>
                  <a:lnTo>
                    <a:pt x="528" y="174"/>
                  </a:lnTo>
                  <a:lnTo>
                    <a:pt x="534" y="168"/>
                  </a:lnTo>
                  <a:lnTo>
                    <a:pt x="558" y="174"/>
                  </a:lnTo>
                  <a:lnTo>
                    <a:pt x="564" y="168"/>
                  </a:lnTo>
                  <a:lnTo>
                    <a:pt x="570" y="168"/>
                  </a:lnTo>
                  <a:lnTo>
                    <a:pt x="576" y="174"/>
                  </a:lnTo>
                  <a:lnTo>
                    <a:pt x="588" y="168"/>
                  </a:lnTo>
                  <a:lnTo>
                    <a:pt x="594" y="168"/>
                  </a:lnTo>
                  <a:lnTo>
                    <a:pt x="594" y="186"/>
                  </a:lnTo>
                  <a:lnTo>
                    <a:pt x="606" y="198"/>
                  </a:lnTo>
                  <a:lnTo>
                    <a:pt x="600" y="210"/>
                  </a:lnTo>
                  <a:lnTo>
                    <a:pt x="588" y="234"/>
                  </a:lnTo>
                  <a:lnTo>
                    <a:pt x="564" y="246"/>
                  </a:lnTo>
                  <a:lnTo>
                    <a:pt x="546" y="258"/>
                  </a:lnTo>
                  <a:lnTo>
                    <a:pt x="540" y="270"/>
                  </a:lnTo>
                  <a:lnTo>
                    <a:pt x="534" y="294"/>
                  </a:lnTo>
                  <a:lnTo>
                    <a:pt x="528" y="300"/>
                  </a:lnTo>
                  <a:lnTo>
                    <a:pt x="516" y="294"/>
                  </a:lnTo>
                  <a:lnTo>
                    <a:pt x="510" y="300"/>
                  </a:lnTo>
                  <a:lnTo>
                    <a:pt x="498" y="318"/>
                  </a:lnTo>
                  <a:lnTo>
                    <a:pt x="492" y="324"/>
                  </a:lnTo>
                  <a:lnTo>
                    <a:pt x="486" y="336"/>
                  </a:lnTo>
                  <a:lnTo>
                    <a:pt x="486" y="354"/>
                  </a:lnTo>
                  <a:lnTo>
                    <a:pt x="486" y="384"/>
                  </a:lnTo>
                  <a:lnTo>
                    <a:pt x="474" y="408"/>
                  </a:lnTo>
                  <a:lnTo>
                    <a:pt x="450" y="426"/>
                  </a:lnTo>
                  <a:lnTo>
                    <a:pt x="444" y="444"/>
                  </a:lnTo>
                  <a:lnTo>
                    <a:pt x="426" y="474"/>
                  </a:lnTo>
                  <a:lnTo>
                    <a:pt x="420" y="486"/>
                  </a:lnTo>
                  <a:lnTo>
                    <a:pt x="414" y="486"/>
                  </a:lnTo>
                  <a:lnTo>
                    <a:pt x="414" y="498"/>
                  </a:lnTo>
                  <a:lnTo>
                    <a:pt x="378" y="504"/>
                  </a:lnTo>
                  <a:lnTo>
                    <a:pt x="348" y="510"/>
                  </a:lnTo>
                  <a:lnTo>
                    <a:pt x="330" y="510"/>
                  </a:lnTo>
                  <a:lnTo>
                    <a:pt x="324" y="504"/>
                  </a:lnTo>
                  <a:lnTo>
                    <a:pt x="318" y="504"/>
                  </a:lnTo>
                  <a:lnTo>
                    <a:pt x="312" y="504"/>
                  </a:lnTo>
                  <a:lnTo>
                    <a:pt x="312" y="498"/>
                  </a:lnTo>
                  <a:lnTo>
                    <a:pt x="312" y="486"/>
                  </a:lnTo>
                  <a:lnTo>
                    <a:pt x="312" y="480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56"/>
                  </a:lnTo>
                  <a:lnTo>
                    <a:pt x="312" y="450"/>
                  </a:lnTo>
                  <a:lnTo>
                    <a:pt x="306" y="444"/>
                  </a:lnTo>
                  <a:lnTo>
                    <a:pt x="306" y="438"/>
                  </a:lnTo>
                  <a:lnTo>
                    <a:pt x="300" y="426"/>
                  </a:lnTo>
                  <a:lnTo>
                    <a:pt x="300" y="420"/>
                  </a:lnTo>
                  <a:lnTo>
                    <a:pt x="294" y="414"/>
                  </a:lnTo>
                  <a:lnTo>
                    <a:pt x="294" y="408"/>
                  </a:lnTo>
                  <a:lnTo>
                    <a:pt x="270" y="408"/>
                  </a:lnTo>
                  <a:lnTo>
                    <a:pt x="246" y="408"/>
                  </a:lnTo>
                  <a:lnTo>
                    <a:pt x="222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56" y="402"/>
                  </a:lnTo>
                  <a:lnTo>
                    <a:pt x="144" y="396"/>
                  </a:lnTo>
                  <a:lnTo>
                    <a:pt x="126" y="396"/>
                  </a:lnTo>
                  <a:lnTo>
                    <a:pt x="108" y="408"/>
                  </a:lnTo>
                  <a:lnTo>
                    <a:pt x="102" y="414"/>
                  </a:lnTo>
                  <a:lnTo>
                    <a:pt x="102" y="420"/>
                  </a:lnTo>
                  <a:lnTo>
                    <a:pt x="96" y="426"/>
                  </a:lnTo>
                  <a:lnTo>
                    <a:pt x="96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78" y="450"/>
                  </a:lnTo>
                  <a:lnTo>
                    <a:pt x="60" y="45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4" name="Freeform 29">
              <a:extLst>
                <a:ext uri="{FF2B5EF4-FFF2-40B4-BE49-F238E27FC236}">
                  <a16:creationId xmlns:a16="http://schemas.microsoft.com/office/drawing/2014/main" id="{B6AC2B96-1504-4082-8778-17130FDA021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401" y="3537698"/>
              <a:ext cx="559048" cy="641876"/>
            </a:xfrm>
            <a:custGeom>
              <a:avLst/>
              <a:gdLst>
                <a:gd name="T0" fmla="*/ 39 w 1056"/>
                <a:gd name="T1" fmla="*/ 94 h 1206"/>
                <a:gd name="T2" fmla="*/ 35 w 1056"/>
                <a:gd name="T3" fmla="*/ 103 h 1206"/>
                <a:gd name="T4" fmla="*/ 29 w 1056"/>
                <a:gd name="T5" fmla="*/ 99 h 1206"/>
                <a:gd name="T6" fmla="*/ 23 w 1056"/>
                <a:gd name="T7" fmla="*/ 94 h 1206"/>
                <a:gd name="T8" fmla="*/ 21 w 1056"/>
                <a:gd name="T9" fmla="*/ 91 h 1206"/>
                <a:gd name="T10" fmla="*/ 18 w 1056"/>
                <a:gd name="T11" fmla="*/ 89 h 1206"/>
                <a:gd name="T12" fmla="*/ 15 w 1056"/>
                <a:gd name="T13" fmla="*/ 86 h 1206"/>
                <a:gd name="T14" fmla="*/ 11 w 1056"/>
                <a:gd name="T15" fmla="*/ 83 h 1206"/>
                <a:gd name="T16" fmla="*/ 8 w 1056"/>
                <a:gd name="T17" fmla="*/ 81 h 1206"/>
                <a:gd name="T18" fmla="*/ 6 w 1056"/>
                <a:gd name="T19" fmla="*/ 79 h 1206"/>
                <a:gd name="T20" fmla="*/ 13 w 1056"/>
                <a:gd name="T21" fmla="*/ 78 h 1206"/>
                <a:gd name="T22" fmla="*/ 8 w 1056"/>
                <a:gd name="T23" fmla="*/ 75 h 1206"/>
                <a:gd name="T24" fmla="*/ 13 w 1056"/>
                <a:gd name="T25" fmla="*/ 71 h 1206"/>
                <a:gd name="T26" fmla="*/ 10 w 1056"/>
                <a:gd name="T27" fmla="*/ 63 h 1206"/>
                <a:gd name="T28" fmla="*/ 6 w 1056"/>
                <a:gd name="T29" fmla="*/ 66 h 1206"/>
                <a:gd name="T30" fmla="*/ 1 w 1056"/>
                <a:gd name="T31" fmla="*/ 63 h 1206"/>
                <a:gd name="T32" fmla="*/ 1 w 1056"/>
                <a:gd name="T33" fmla="*/ 59 h 1206"/>
                <a:gd name="T34" fmla="*/ 3 w 1056"/>
                <a:gd name="T35" fmla="*/ 57 h 1206"/>
                <a:gd name="T36" fmla="*/ 6 w 1056"/>
                <a:gd name="T37" fmla="*/ 55 h 1206"/>
                <a:gd name="T38" fmla="*/ 10 w 1056"/>
                <a:gd name="T39" fmla="*/ 51 h 1206"/>
                <a:gd name="T40" fmla="*/ 11 w 1056"/>
                <a:gd name="T41" fmla="*/ 46 h 1206"/>
                <a:gd name="T42" fmla="*/ 14 w 1056"/>
                <a:gd name="T43" fmla="*/ 42 h 1206"/>
                <a:gd name="T44" fmla="*/ 15 w 1056"/>
                <a:gd name="T45" fmla="*/ 36 h 1206"/>
                <a:gd name="T46" fmla="*/ 17 w 1056"/>
                <a:gd name="T47" fmla="*/ 34 h 1206"/>
                <a:gd name="T48" fmla="*/ 20 w 1056"/>
                <a:gd name="T49" fmla="*/ 31 h 1206"/>
                <a:gd name="T50" fmla="*/ 21 w 1056"/>
                <a:gd name="T51" fmla="*/ 29 h 1206"/>
                <a:gd name="T52" fmla="*/ 23 w 1056"/>
                <a:gd name="T53" fmla="*/ 22 h 1206"/>
                <a:gd name="T54" fmla="*/ 35 w 1056"/>
                <a:gd name="T55" fmla="*/ 22 h 1206"/>
                <a:gd name="T56" fmla="*/ 41 w 1056"/>
                <a:gd name="T57" fmla="*/ 18 h 1206"/>
                <a:gd name="T58" fmla="*/ 54 w 1056"/>
                <a:gd name="T59" fmla="*/ 20 h 1206"/>
                <a:gd name="T60" fmla="*/ 54 w 1056"/>
                <a:gd name="T61" fmla="*/ 26 h 1206"/>
                <a:gd name="T62" fmla="*/ 64 w 1056"/>
                <a:gd name="T63" fmla="*/ 25 h 1206"/>
                <a:gd name="T64" fmla="*/ 71 w 1056"/>
                <a:gd name="T65" fmla="*/ 10 h 1206"/>
                <a:gd name="T66" fmla="*/ 80 w 1056"/>
                <a:gd name="T67" fmla="*/ 1 h 1206"/>
                <a:gd name="T68" fmla="*/ 86 w 1056"/>
                <a:gd name="T69" fmla="*/ 2 h 1206"/>
                <a:gd name="T70" fmla="*/ 91 w 1056"/>
                <a:gd name="T71" fmla="*/ 13 h 1206"/>
                <a:gd name="T72" fmla="*/ 88 w 1056"/>
                <a:gd name="T73" fmla="*/ 17 h 1206"/>
                <a:gd name="T74" fmla="*/ 89 w 1056"/>
                <a:gd name="T75" fmla="*/ 21 h 1206"/>
                <a:gd name="T76" fmla="*/ 86 w 1056"/>
                <a:gd name="T77" fmla="*/ 25 h 1206"/>
                <a:gd name="T78" fmla="*/ 85 w 1056"/>
                <a:gd name="T79" fmla="*/ 31 h 1206"/>
                <a:gd name="T80" fmla="*/ 83 w 1056"/>
                <a:gd name="T81" fmla="*/ 36 h 1206"/>
                <a:gd name="T82" fmla="*/ 80 w 1056"/>
                <a:gd name="T83" fmla="*/ 42 h 1206"/>
                <a:gd name="T84" fmla="*/ 80 w 1056"/>
                <a:gd name="T85" fmla="*/ 47 h 1206"/>
                <a:gd name="T86" fmla="*/ 77 w 1056"/>
                <a:gd name="T87" fmla="*/ 55 h 1206"/>
                <a:gd name="T88" fmla="*/ 75 w 1056"/>
                <a:gd name="T89" fmla="*/ 57 h 1206"/>
                <a:gd name="T90" fmla="*/ 66 w 1056"/>
                <a:gd name="T91" fmla="*/ 57 h 1206"/>
                <a:gd name="T92" fmla="*/ 66 w 1056"/>
                <a:gd name="T93" fmla="*/ 51 h 1206"/>
                <a:gd name="T94" fmla="*/ 48 w 1056"/>
                <a:gd name="T95" fmla="*/ 50 h 1206"/>
                <a:gd name="T96" fmla="*/ 46 w 1056"/>
                <a:gd name="T97" fmla="*/ 55 h 1206"/>
                <a:gd name="T98" fmla="*/ 42 w 1056"/>
                <a:gd name="T99" fmla="*/ 59 h 1206"/>
                <a:gd name="T100" fmla="*/ 41 w 1056"/>
                <a:gd name="T101" fmla="*/ 62 h 1206"/>
                <a:gd name="T102" fmla="*/ 43 w 1056"/>
                <a:gd name="T103" fmla="*/ 67 h 1206"/>
                <a:gd name="T104" fmla="*/ 42 w 1056"/>
                <a:gd name="T105" fmla="*/ 72 h 1206"/>
                <a:gd name="T106" fmla="*/ 39 w 1056"/>
                <a:gd name="T107" fmla="*/ 77 h 1206"/>
                <a:gd name="T108" fmla="*/ 36 w 1056"/>
                <a:gd name="T109" fmla="*/ 80 h 1206"/>
                <a:gd name="T110" fmla="*/ 37 w 1056"/>
                <a:gd name="T111" fmla="*/ 83 h 1206"/>
                <a:gd name="T112" fmla="*/ 40 w 1056"/>
                <a:gd name="T113" fmla="*/ 87 h 1206"/>
                <a:gd name="T114" fmla="*/ 42 w 1056"/>
                <a:gd name="T115" fmla="*/ 89 h 12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56"/>
                <a:gd name="T175" fmla="*/ 0 h 1206"/>
                <a:gd name="T176" fmla="*/ 1056 w 1056"/>
                <a:gd name="T177" fmla="*/ 1206 h 12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56" h="1206">
                  <a:moveTo>
                    <a:pt x="492" y="1032"/>
                  </a:moveTo>
                  <a:lnTo>
                    <a:pt x="486" y="1038"/>
                  </a:lnTo>
                  <a:lnTo>
                    <a:pt x="486" y="1044"/>
                  </a:lnTo>
                  <a:lnTo>
                    <a:pt x="480" y="1044"/>
                  </a:lnTo>
                  <a:lnTo>
                    <a:pt x="474" y="1056"/>
                  </a:lnTo>
                  <a:lnTo>
                    <a:pt x="462" y="1068"/>
                  </a:lnTo>
                  <a:lnTo>
                    <a:pt x="456" y="1080"/>
                  </a:lnTo>
                  <a:lnTo>
                    <a:pt x="450" y="1080"/>
                  </a:lnTo>
                  <a:lnTo>
                    <a:pt x="450" y="1086"/>
                  </a:lnTo>
                  <a:lnTo>
                    <a:pt x="450" y="1092"/>
                  </a:lnTo>
                  <a:lnTo>
                    <a:pt x="444" y="1104"/>
                  </a:lnTo>
                  <a:lnTo>
                    <a:pt x="444" y="1116"/>
                  </a:lnTo>
                  <a:lnTo>
                    <a:pt x="438" y="1128"/>
                  </a:lnTo>
                  <a:lnTo>
                    <a:pt x="432" y="1134"/>
                  </a:lnTo>
                  <a:lnTo>
                    <a:pt x="432" y="1140"/>
                  </a:lnTo>
                  <a:lnTo>
                    <a:pt x="420" y="1152"/>
                  </a:lnTo>
                  <a:lnTo>
                    <a:pt x="420" y="1158"/>
                  </a:lnTo>
                  <a:lnTo>
                    <a:pt x="408" y="1182"/>
                  </a:lnTo>
                  <a:lnTo>
                    <a:pt x="396" y="1194"/>
                  </a:lnTo>
                  <a:lnTo>
                    <a:pt x="390" y="1206"/>
                  </a:lnTo>
                  <a:lnTo>
                    <a:pt x="390" y="1200"/>
                  </a:lnTo>
                  <a:lnTo>
                    <a:pt x="384" y="1194"/>
                  </a:lnTo>
                  <a:lnTo>
                    <a:pt x="378" y="1188"/>
                  </a:lnTo>
                  <a:lnTo>
                    <a:pt x="366" y="1176"/>
                  </a:lnTo>
                  <a:lnTo>
                    <a:pt x="366" y="1170"/>
                  </a:lnTo>
                  <a:lnTo>
                    <a:pt x="348" y="1152"/>
                  </a:lnTo>
                  <a:lnTo>
                    <a:pt x="336" y="1140"/>
                  </a:lnTo>
                  <a:lnTo>
                    <a:pt x="330" y="1134"/>
                  </a:lnTo>
                  <a:lnTo>
                    <a:pt x="324" y="1128"/>
                  </a:lnTo>
                  <a:lnTo>
                    <a:pt x="318" y="1122"/>
                  </a:lnTo>
                  <a:lnTo>
                    <a:pt x="312" y="1116"/>
                  </a:lnTo>
                  <a:lnTo>
                    <a:pt x="306" y="1110"/>
                  </a:lnTo>
                  <a:lnTo>
                    <a:pt x="300" y="1104"/>
                  </a:lnTo>
                  <a:lnTo>
                    <a:pt x="294" y="1098"/>
                  </a:lnTo>
                  <a:lnTo>
                    <a:pt x="276" y="1080"/>
                  </a:lnTo>
                  <a:lnTo>
                    <a:pt x="270" y="1080"/>
                  </a:lnTo>
                  <a:lnTo>
                    <a:pt x="270" y="1074"/>
                  </a:lnTo>
                  <a:lnTo>
                    <a:pt x="264" y="1068"/>
                  </a:lnTo>
                  <a:lnTo>
                    <a:pt x="258" y="1062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40" y="1050"/>
                  </a:lnTo>
                  <a:lnTo>
                    <a:pt x="234" y="1044"/>
                  </a:lnTo>
                  <a:lnTo>
                    <a:pt x="228" y="1044"/>
                  </a:lnTo>
                  <a:lnTo>
                    <a:pt x="222" y="1038"/>
                  </a:lnTo>
                  <a:lnTo>
                    <a:pt x="222" y="1032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6"/>
                  </a:lnTo>
                  <a:lnTo>
                    <a:pt x="204" y="1020"/>
                  </a:lnTo>
                  <a:lnTo>
                    <a:pt x="204" y="1014"/>
                  </a:lnTo>
                  <a:lnTo>
                    <a:pt x="198" y="1014"/>
                  </a:lnTo>
                  <a:lnTo>
                    <a:pt x="192" y="1014"/>
                  </a:lnTo>
                  <a:lnTo>
                    <a:pt x="192" y="1008"/>
                  </a:lnTo>
                  <a:lnTo>
                    <a:pt x="186" y="1008"/>
                  </a:lnTo>
                  <a:lnTo>
                    <a:pt x="186" y="1002"/>
                  </a:lnTo>
                  <a:lnTo>
                    <a:pt x="180" y="1002"/>
                  </a:lnTo>
                  <a:lnTo>
                    <a:pt x="174" y="996"/>
                  </a:lnTo>
                  <a:lnTo>
                    <a:pt x="168" y="996"/>
                  </a:lnTo>
                  <a:lnTo>
                    <a:pt x="168" y="990"/>
                  </a:lnTo>
                  <a:lnTo>
                    <a:pt x="162" y="990"/>
                  </a:lnTo>
                  <a:lnTo>
                    <a:pt x="162" y="984"/>
                  </a:lnTo>
                  <a:lnTo>
                    <a:pt x="150" y="978"/>
                  </a:lnTo>
                  <a:lnTo>
                    <a:pt x="144" y="972"/>
                  </a:lnTo>
                  <a:lnTo>
                    <a:pt x="138" y="972"/>
                  </a:lnTo>
                  <a:lnTo>
                    <a:pt x="138" y="966"/>
                  </a:lnTo>
                  <a:lnTo>
                    <a:pt x="132" y="966"/>
                  </a:lnTo>
                  <a:lnTo>
                    <a:pt x="126" y="960"/>
                  </a:lnTo>
                  <a:lnTo>
                    <a:pt x="126" y="954"/>
                  </a:lnTo>
                  <a:lnTo>
                    <a:pt x="120" y="954"/>
                  </a:lnTo>
                  <a:lnTo>
                    <a:pt x="114" y="948"/>
                  </a:lnTo>
                  <a:lnTo>
                    <a:pt x="108" y="948"/>
                  </a:lnTo>
                  <a:lnTo>
                    <a:pt x="108" y="942"/>
                  </a:lnTo>
                  <a:lnTo>
                    <a:pt x="102" y="942"/>
                  </a:lnTo>
                  <a:lnTo>
                    <a:pt x="96" y="942"/>
                  </a:lnTo>
                  <a:lnTo>
                    <a:pt x="96" y="936"/>
                  </a:lnTo>
                  <a:lnTo>
                    <a:pt x="90" y="936"/>
                  </a:lnTo>
                  <a:lnTo>
                    <a:pt x="90" y="930"/>
                  </a:lnTo>
                  <a:lnTo>
                    <a:pt x="84" y="930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18"/>
                  </a:lnTo>
                  <a:lnTo>
                    <a:pt x="66" y="918"/>
                  </a:lnTo>
                  <a:lnTo>
                    <a:pt x="66" y="912"/>
                  </a:lnTo>
                  <a:lnTo>
                    <a:pt x="66" y="906"/>
                  </a:lnTo>
                  <a:lnTo>
                    <a:pt x="72" y="906"/>
                  </a:lnTo>
                  <a:lnTo>
                    <a:pt x="84" y="906"/>
                  </a:lnTo>
                  <a:lnTo>
                    <a:pt x="90" y="906"/>
                  </a:lnTo>
                  <a:lnTo>
                    <a:pt x="120" y="930"/>
                  </a:lnTo>
                  <a:lnTo>
                    <a:pt x="126" y="936"/>
                  </a:lnTo>
                  <a:lnTo>
                    <a:pt x="138" y="936"/>
                  </a:lnTo>
                  <a:lnTo>
                    <a:pt x="138" y="930"/>
                  </a:lnTo>
                  <a:lnTo>
                    <a:pt x="144" y="930"/>
                  </a:lnTo>
                  <a:lnTo>
                    <a:pt x="144" y="924"/>
                  </a:lnTo>
                  <a:lnTo>
                    <a:pt x="150" y="900"/>
                  </a:lnTo>
                  <a:lnTo>
                    <a:pt x="138" y="894"/>
                  </a:lnTo>
                  <a:lnTo>
                    <a:pt x="126" y="894"/>
                  </a:lnTo>
                  <a:lnTo>
                    <a:pt x="108" y="888"/>
                  </a:lnTo>
                  <a:lnTo>
                    <a:pt x="84" y="882"/>
                  </a:lnTo>
                  <a:lnTo>
                    <a:pt x="72" y="882"/>
                  </a:lnTo>
                  <a:lnTo>
                    <a:pt x="72" y="876"/>
                  </a:lnTo>
                  <a:lnTo>
                    <a:pt x="78" y="870"/>
                  </a:lnTo>
                  <a:lnTo>
                    <a:pt x="90" y="870"/>
                  </a:lnTo>
                  <a:lnTo>
                    <a:pt x="96" y="870"/>
                  </a:lnTo>
                  <a:lnTo>
                    <a:pt x="102" y="870"/>
                  </a:lnTo>
                  <a:lnTo>
                    <a:pt x="114" y="870"/>
                  </a:lnTo>
                  <a:lnTo>
                    <a:pt x="120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34"/>
                  </a:lnTo>
                  <a:lnTo>
                    <a:pt x="132" y="828"/>
                  </a:lnTo>
                  <a:lnTo>
                    <a:pt x="132" y="816"/>
                  </a:lnTo>
                  <a:lnTo>
                    <a:pt x="150" y="816"/>
                  </a:lnTo>
                  <a:lnTo>
                    <a:pt x="150" y="804"/>
                  </a:lnTo>
                  <a:lnTo>
                    <a:pt x="144" y="798"/>
                  </a:lnTo>
                  <a:lnTo>
                    <a:pt x="156" y="762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32"/>
                  </a:lnTo>
                  <a:lnTo>
                    <a:pt x="144" y="726"/>
                  </a:lnTo>
                  <a:lnTo>
                    <a:pt x="132" y="726"/>
                  </a:lnTo>
                  <a:lnTo>
                    <a:pt x="120" y="732"/>
                  </a:lnTo>
                  <a:lnTo>
                    <a:pt x="114" y="744"/>
                  </a:lnTo>
                  <a:lnTo>
                    <a:pt x="108" y="750"/>
                  </a:lnTo>
                  <a:lnTo>
                    <a:pt x="96" y="768"/>
                  </a:lnTo>
                  <a:lnTo>
                    <a:pt x="96" y="774"/>
                  </a:lnTo>
                  <a:lnTo>
                    <a:pt x="90" y="780"/>
                  </a:lnTo>
                  <a:lnTo>
                    <a:pt x="84" y="804"/>
                  </a:lnTo>
                  <a:lnTo>
                    <a:pt x="72" y="774"/>
                  </a:lnTo>
                  <a:lnTo>
                    <a:pt x="72" y="768"/>
                  </a:lnTo>
                  <a:lnTo>
                    <a:pt x="66" y="762"/>
                  </a:lnTo>
                  <a:lnTo>
                    <a:pt x="60" y="750"/>
                  </a:lnTo>
                  <a:lnTo>
                    <a:pt x="54" y="750"/>
                  </a:lnTo>
                  <a:lnTo>
                    <a:pt x="48" y="750"/>
                  </a:lnTo>
                  <a:lnTo>
                    <a:pt x="42" y="750"/>
                  </a:lnTo>
                  <a:lnTo>
                    <a:pt x="30" y="744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12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2" y="702"/>
                  </a:lnTo>
                  <a:lnTo>
                    <a:pt x="18" y="696"/>
                  </a:lnTo>
                  <a:lnTo>
                    <a:pt x="12" y="690"/>
                  </a:lnTo>
                  <a:lnTo>
                    <a:pt x="12" y="684"/>
                  </a:lnTo>
                  <a:lnTo>
                    <a:pt x="12" y="678"/>
                  </a:lnTo>
                  <a:lnTo>
                    <a:pt x="12" y="672"/>
                  </a:lnTo>
                  <a:lnTo>
                    <a:pt x="18" y="672"/>
                  </a:lnTo>
                  <a:lnTo>
                    <a:pt x="18" y="666"/>
                  </a:lnTo>
                  <a:lnTo>
                    <a:pt x="24" y="666"/>
                  </a:lnTo>
                  <a:lnTo>
                    <a:pt x="24" y="660"/>
                  </a:lnTo>
                  <a:lnTo>
                    <a:pt x="30" y="660"/>
                  </a:lnTo>
                  <a:lnTo>
                    <a:pt x="30" y="654"/>
                  </a:lnTo>
                  <a:lnTo>
                    <a:pt x="36" y="654"/>
                  </a:lnTo>
                  <a:lnTo>
                    <a:pt x="36" y="648"/>
                  </a:lnTo>
                  <a:lnTo>
                    <a:pt x="42" y="648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60" y="630"/>
                  </a:lnTo>
                  <a:lnTo>
                    <a:pt x="66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78" y="624"/>
                  </a:lnTo>
                  <a:lnTo>
                    <a:pt x="84" y="618"/>
                  </a:lnTo>
                  <a:lnTo>
                    <a:pt x="84" y="612"/>
                  </a:lnTo>
                  <a:lnTo>
                    <a:pt x="90" y="612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20" y="588"/>
                  </a:lnTo>
                  <a:lnTo>
                    <a:pt x="120" y="582"/>
                  </a:lnTo>
                  <a:lnTo>
                    <a:pt x="120" y="576"/>
                  </a:lnTo>
                  <a:lnTo>
                    <a:pt x="120" y="570"/>
                  </a:lnTo>
                  <a:lnTo>
                    <a:pt x="126" y="564"/>
                  </a:lnTo>
                  <a:lnTo>
                    <a:pt x="126" y="558"/>
                  </a:lnTo>
                  <a:lnTo>
                    <a:pt x="126" y="552"/>
                  </a:lnTo>
                  <a:lnTo>
                    <a:pt x="126" y="546"/>
                  </a:lnTo>
                  <a:lnTo>
                    <a:pt x="126" y="534"/>
                  </a:lnTo>
                  <a:lnTo>
                    <a:pt x="126" y="516"/>
                  </a:lnTo>
                  <a:lnTo>
                    <a:pt x="126" y="510"/>
                  </a:lnTo>
                  <a:lnTo>
                    <a:pt x="126" y="504"/>
                  </a:lnTo>
                  <a:lnTo>
                    <a:pt x="126" y="498"/>
                  </a:lnTo>
                  <a:lnTo>
                    <a:pt x="132" y="498"/>
                  </a:lnTo>
                  <a:lnTo>
                    <a:pt x="132" y="492"/>
                  </a:lnTo>
                  <a:lnTo>
                    <a:pt x="138" y="492"/>
                  </a:lnTo>
                  <a:lnTo>
                    <a:pt x="144" y="486"/>
                  </a:lnTo>
                  <a:lnTo>
                    <a:pt x="156" y="480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6" y="462"/>
                  </a:lnTo>
                  <a:lnTo>
                    <a:pt x="156" y="456"/>
                  </a:lnTo>
                  <a:lnTo>
                    <a:pt x="156" y="450"/>
                  </a:lnTo>
                  <a:lnTo>
                    <a:pt x="162" y="438"/>
                  </a:lnTo>
                  <a:lnTo>
                    <a:pt x="168" y="426"/>
                  </a:lnTo>
                  <a:lnTo>
                    <a:pt x="174" y="426"/>
                  </a:lnTo>
                  <a:lnTo>
                    <a:pt x="174" y="420"/>
                  </a:lnTo>
                  <a:lnTo>
                    <a:pt x="180" y="414"/>
                  </a:lnTo>
                  <a:lnTo>
                    <a:pt x="186" y="420"/>
                  </a:lnTo>
                  <a:lnTo>
                    <a:pt x="186" y="414"/>
                  </a:lnTo>
                  <a:lnTo>
                    <a:pt x="180" y="408"/>
                  </a:lnTo>
                  <a:lnTo>
                    <a:pt x="180" y="402"/>
                  </a:lnTo>
                  <a:lnTo>
                    <a:pt x="186" y="402"/>
                  </a:lnTo>
                  <a:lnTo>
                    <a:pt x="192" y="402"/>
                  </a:lnTo>
                  <a:lnTo>
                    <a:pt x="192" y="396"/>
                  </a:lnTo>
                  <a:lnTo>
                    <a:pt x="198" y="396"/>
                  </a:lnTo>
                  <a:lnTo>
                    <a:pt x="204" y="396"/>
                  </a:lnTo>
                  <a:lnTo>
                    <a:pt x="210" y="396"/>
                  </a:lnTo>
                  <a:lnTo>
                    <a:pt x="210" y="390"/>
                  </a:lnTo>
                  <a:lnTo>
                    <a:pt x="216" y="390"/>
                  </a:lnTo>
                  <a:lnTo>
                    <a:pt x="216" y="384"/>
                  </a:lnTo>
                  <a:lnTo>
                    <a:pt x="222" y="384"/>
                  </a:lnTo>
                  <a:lnTo>
                    <a:pt x="222" y="378"/>
                  </a:lnTo>
                  <a:lnTo>
                    <a:pt x="228" y="372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0" y="348"/>
                  </a:lnTo>
                  <a:lnTo>
                    <a:pt x="234" y="342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46" y="330"/>
                  </a:lnTo>
                  <a:lnTo>
                    <a:pt x="246" y="324"/>
                  </a:lnTo>
                  <a:lnTo>
                    <a:pt x="234" y="318"/>
                  </a:lnTo>
                  <a:lnTo>
                    <a:pt x="234" y="312"/>
                  </a:lnTo>
                  <a:lnTo>
                    <a:pt x="234" y="300"/>
                  </a:lnTo>
                  <a:lnTo>
                    <a:pt x="240" y="288"/>
                  </a:lnTo>
                  <a:lnTo>
                    <a:pt x="240" y="276"/>
                  </a:lnTo>
                  <a:lnTo>
                    <a:pt x="246" y="258"/>
                  </a:lnTo>
                  <a:lnTo>
                    <a:pt x="258" y="252"/>
                  </a:lnTo>
                  <a:lnTo>
                    <a:pt x="270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294" y="252"/>
                  </a:lnTo>
                  <a:lnTo>
                    <a:pt x="300" y="258"/>
                  </a:lnTo>
                  <a:lnTo>
                    <a:pt x="318" y="252"/>
                  </a:lnTo>
                  <a:lnTo>
                    <a:pt x="366" y="252"/>
                  </a:lnTo>
                  <a:lnTo>
                    <a:pt x="378" y="252"/>
                  </a:lnTo>
                  <a:lnTo>
                    <a:pt x="396" y="252"/>
                  </a:lnTo>
                  <a:lnTo>
                    <a:pt x="408" y="252"/>
                  </a:lnTo>
                  <a:lnTo>
                    <a:pt x="408" y="246"/>
                  </a:lnTo>
                  <a:lnTo>
                    <a:pt x="414" y="240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20" y="216"/>
                  </a:lnTo>
                  <a:lnTo>
                    <a:pt x="426" y="210"/>
                  </a:lnTo>
                  <a:lnTo>
                    <a:pt x="444" y="198"/>
                  </a:lnTo>
                  <a:lnTo>
                    <a:pt x="462" y="198"/>
                  </a:lnTo>
                  <a:lnTo>
                    <a:pt x="474" y="204"/>
                  </a:lnTo>
                  <a:lnTo>
                    <a:pt x="498" y="198"/>
                  </a:lnTo>
                  <a:lnTo>
                    <a:pt x="498" y="204"/>
                  </a:lnTo>
                  <a:lnTo>
                    <a:pt x="540" y="210"/>
                  </a:lnTo>
                  <a:lnTo>
                    <a:pt x="564" y="210"/>
                  </a:lnTo>
                  <a:lnTo>
                    <a:pt x="588" y="210"/>
                  </a:lnTo>
                  <a:lnTo>
                    <a:pt x="612" y="210"/>
                  </a:lnTo>
                  <a:lnTo>
                    <a:pt x="612" y="216"/>
                  </a:lnTo>
                  <a:lnTo>
                    <a:pt x="618" y="222"/>
                  </a:lnTo>
                  <a:lnTo>
                    <a:pt x="618" y="228"/>
                  </a:lnTo>
                  <a:lnTo>
                    <a:pt x="624" y="240"/>
                  </a:lnTo>
                  <a:lnTo>
                    <a:pt x="624" y="246"/>
                  </a:lnTo>
                  <a:lnTo>
                    <a:pt x="630" y="252"/>
                  </a:lnTo>
                  <a:lnTo>
                    <a:pt x="630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0" y="282"/>
                  </a:lnTo>
                  <a:lnTo>
                    <a:pt x="630" y="288"/>
                  </a:lnTo>
                  <a:lnTo>
                    <a:pt x="630" y="300"/>
                  </a:lnTo>
                  <a:lnTo>
                    <a:pt x="630" y="306"/>
                  </a:lnTo>
                  <a:lnTo>
                    <a:pt x="636" y="306"/>
                  </a:lnTo>
                  <a:lnTo>
                    <a:pt x="642" y="306"/>
                  </a:lnTo>
                  <a:lnTo>
                    <a:pt x="648" y="312"/>
                  </a:lnTo>
                  <a:lnTo>
                    <a:pt x="666" y="312"/>
                  </a:lnTo>
                  <a:lnTo>
                    <a:pt x="696" y="306"/>
                  </a:lnTo>
                  <a:lnTo>
                    <a:pt x="732" y="300"/>
                  </a:lnTo>
                  <a:lnTo>
                    <a:pt x="732" y="288"/>
                  </a:lnTo>
                  <a:lnTo>
                    <a:pt x="738" y="288"/>
                  </a:lnTo>
                  <a:lnTo>
                    <a:pt x="744" y="276"/>
                  </a:lnTo>
                  <a:lnTo>
                    <a:pt x="762" y="246"/>
                  </a:lnTo>
                  <a:lnTo>
                    <a:pt x="768" y="228"/>
                  </a:lnTo>
                  <a:lnTo>
                    <a:pt x="792" y="210"/>
                  </a:lnTo>
                  <a:lnTo>
                    <a:pt x="804" y="186"/>
                  </a:lnTo>
                  <a:lnTo>
                    <a:pt x="804" y="156"/>
                  </a:lnTo>
                  <a:lnTo>
                    <a:pt x="804" y="138"/>
                  </a:lnTo>
                  <a:lnTo>
                    <a:pt x="810" y="126"/>
                  </a:lnTo>
                  <a:lnTo>
                    <a:pt x="816" y="120"/>
                  </a:lnTo>
                  <a:lnTo>
                    <a:pt x="828" y="102"/>
                  </a:lnTo>
                  <a:lnTo>
                    <a:pt x="834" y="96"/>
                  </a:lnTo>
                  <a:lnTo>
                    <a:pt x="846" y="102"/>
                  </a:lnTo>
                  <a:lnTo>
                    <a:pt x="852" y="96"/>
                  </a:lnTo>
                  <a:lnTo>
                    <a:pt x="858" y="72"/>
                  </a:lnTo>
                  <a:lnTo>
                    <a:pt x="864" y="60"/>
                  </a:lnTo>
                  <a:lnTo>
                    <a:pt x="882" y="48"/>
                  </a:lnTo>
                  <a:lnTo>
                    <a:pt x="906" y="36"/>
                  </a:lnTo>
                  <a:lnTo>
                    <a:pt x="918" y="12"/>
                  </a:lnTo>
                  <a:lnTo>
                    <a:pt x="924" y="0"/>
                  </a:lnTo>
                  <a:lnTo>
                    <a:pt x="930" y="6"/>
                  </a:lnTo>
                  <a:lnTo>
                    <a:pt x="942" y="12"/>
                  </a:lnTo>
                  <a:lnTo>
                    <a:pt x="948" y="12"/>
                  </a:lnTo>
                  <a:lnTo>
                    <a:pt x="954" y="18"/>
                  </a:lnTo>
                  <a:lnTo>
                    <a:pt x="966" y="18"/>
                  </a:lnTo>
                  <a:lnTo>
                    <a:pt x="972" y="18"/>
                  </a:lnTo>
                  <a:lnTo>
                    <a:pt x="984" y="18"/>
                  </a:lnTo>
                  <a:lnTo>
                    <a:pt x="990" y="18"/>
                  </a:lnTo>
                  <a:lnTo>
                    <a:pt x="1002" y="48"/>
                  </a:lnTo>
                  <a:lnTo>
                    <a:pt x="1008" y="78"/>
                  </a:lnTo>
                  <a:lnTo>
                    <a:pt x="1020" y="78"/>
                  </a:lnTo>
                  <a:lnTo>
                    <a:pt x="1020" y="90"/>
                  </a:lnTo>
                  <a:lnTo>
                    <a:pt x="1026" y="102"/>
                  </a:lnTo>
                  <a:lnTo>
                    <a:pt x="1044" y="120"/>
                  </a:lnTo>
                  <a:lnTo>
                    <a:pt x="1044" y="132"/>
                  </a:lnTo>
                  <a:lnTo>
                    <a:pt x="1056" y="150"/>
                  </a:lnTo>
                  <a:lnTo>
                    <a:pt x="1050" y="150"/>
                  </a:lnTo>
                  <a:lnTo>
                    <a:pt x="1044" y="156"/>
                  </a:lnTo>
                  <a:lnTo>
                    <a:pt x="1044" y="162"/>
                  </a:lnTo>
                  <a:lnTo>
                    <a:pt x="1038" y="162"/>
                  </a:lnTo>
                  <a:lnTo>
                    <a:pt x="1032" y="162"/>
                  </a:lnTo>
                  <a:lnTo>
                    <a:pt x="1026" y="168"/>
                  </a:lnTo>
                  <a:lnTo>
                    <a:pt x="1014" y="174"/>
                  </a:lnTo>
                  <a:lnTo>
                    <a:pt x="1014" y="186"/>
                  </a:lnTo>
                  <a:lnTo>
                    <a:pt x="1014" y="192"/>
                  </a:lnTo>
                  <a:lnTo>
                    <a:pt x="1014" y="198"/>
                  </a:lnTo>
                  <a:lnTo>
                    <a:pt x="1020" y="204"/>
                  </a:lnTo>
                  <a:lnTo>
                    <a:pt x="1026" y="204"/>
                  </a:lnTo>
                  <a:lnTo>
                    <a:pt x="1032" y="204"/>
                  </a:lnTo>
                  <a:lnTo>
                    <a:pt x="1032" y="210"/>
                  </a:lnTo>
                  <a:lnTo>
                    <a:pt x="1038" y="210"/>
                  </a:lnTo>
                  <a:lnTo>
                    <a:pt x="1032" y="216"/>
                  </a:lnTo>
                  <a:lnTo>
                    <a:pt x="1026" y="228"/>
                  </a:lnTo>
                  <a:lnTo>
                    <a:pt x="1026" y="234"/>
                  </a:lnTo>
                  <a:lnTo>
                    <a:pt x="1032" y="240"/>
                  </a:lnTo>
                  <a:lnTo>
                    <a:pt x="1032" y="246"/>
                  </a:lnTo>
                  <a:lnTo>
                    <a:pt x="1032" y="252"/>
                  </a:lnTo>
                  <a:lnTo>
                    <a:pt x="1032" y="258"/>
                  </a:lnTo>
                  <a:lnTo>
                    <a:pt x="1038" y="264"/>
                  </a:lnTo>
                  <a:lnTo>
                    <a:pt x="1032" y="276"/>
                  </a:lnTo>
                  <a:lnTo>
                    <a:pt x="1026" y="276"/>
                  </a:lnTo>
                  <a:lnTo>
                    <a:pt x="1020" y="276"/>
                  </a:lnTo>
                  <a:lnTo>
                    <a:pt x="996" y="282"/>
                  </a:lnTo>
                  <a:lnTo>
                    <a:pt x="996" y="288"/>
                  </a:lnTo>
                  <a:lnTo>
                    <a:pt x="996" y="294"/>
                  </a:lnTo>
                  <a:lnTo>
                    <a:pt x="996" y="300"/>
                  </a:lnTo>
                  <a:lnTo>
                    <a:pt x="996" y="306"/>
                  </a:lnTo>
                  <a:lnTo>
                    <a:pt x="984" y="324"/>
                  </a:lnTo>
                  <a:lnTo>
                    <a:pt x="984" y="330"/>
                  </a:lnTo>
                  <a:lnTo>
                    <a:pt x="984" y="336"/>
                  </a:lnTo>
                  <a:lnTo>
                    <a:pt x="978" y="336"/>
                  </a:lnTo>
                  <a:lnTo>
                    <a:pt x="978" y="342"/>
                  </a:lnTo>
                  <a:lnTo>
                    <a:pt x="984" y="360"/>
                  </a:lnTo>
                  <a:lnTo>
                    <a:pt x="978" y="366"/>
                  </a:lnTo>
                  <a:lnTo>
                    <a:pt x="978" y="372"/>
                  </a:lnTo>
                  <a:lnTo>
                    <a:pt x="972" y="372"/>
                  </a:lnTo>
                  <a:lnTo>
                    <a:pt x="972" y="378"/>
                  </a:lnTo>
                  <a:lnTo>
                    <a:pt x="972" y="384"/>
                  </a:lnTo>
                  <a:lnTo>
                    <a:pt x="972" y="390"/>
                  </a:lnTo>
                  <a:lnTo>
                    <a:pt x="966" y="402"/>
                  </a:lnTo>
                  <a:lnTo>
                    <a:pt x="960" y="414"/>
                  </a:lnTo>
                  <a:lnTo>
                    <a:pt x="954" y="420"/>
                  </a:lnTo>
                  <a:lnTo>
                    <a:pt x="948" y="426"/>
                  </a:lnTo>
                  <a:lnTo>
                    <a:pt x="948" y="438"/>
                  </a:lnTo>
                  <a:lnTo>
                    <a:pt x="942" y="444"/>
                  </a:lnTo>
                  <a:lnTo>
                    <a:pt x="936" y="450"/>
                  </a:lnTo>
                  <a:lnTo>
                    <a:pt x="930" y="456"/>
                  </a:lnTo>
                  <a:lnTo>
                    <a:pt x="924" y="462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18" y="522"/>
                  </a:lnTo>
                  <a:lnTo>
                    <a:pt x="918" y="528"/>
                  </a:lnTo>
                  <a:lnTo>
                    <a:pt x="924" y="534"/>
                  </a:lnTo>
                  <a:lnTo>
                    <a:pt x="924" y="540"/>
                  </a:lnTo>
                  <a:lnTo>
                    <a:pt x="924" y="546"/>
                  </a:lnTo>
                  <a:lnTo>
                    <a:pt x="918" y="546"/>
                  </a:lnTo>
                  <a:lnTo>
                    <a:pt x="918" y="552"/>
                  </a:lnTo>
                  <a:lnTo>
                    <a:pt x="912" y="546"/>
                  </a:lnTo>
                  <a:lnTo>
                    <a:pt x="912" y="552"/>
                  </a:lnTo>
                  <a:lnTo>
                    <a:pt x="912" y="570"/>
                  </a:lnTo>
                  <a:lnTo>
                    <a:pt x="906" y="588"/>
                  </a:lnTo>
                  <a:lnTo>
                    <a:pt x="900" y="606"/>
                  </a:lnTo>
                  <a:lnTo>
                    <a:pt x="906" y="624"/>
                  </a:lnTo>
                  <a:lnTo>
                    <a:pt x="900" y="624"/>
                  </a:lnTo>
                  <a:lnTo>
                    <a:pt x="894" y="630"/>
                  </a:lnTo>
                  <a:lnTo>
                    <a:pt x="888" y="630"/>
                  </a:lnTo>
                  <a:lnTo>
                    <a:pt x="882" y="630"/>
                  </a:lnTo>
                  <a:lnTo>
                    <a:pt x="882" y="636"/>
                  </a:lnTo>
                  <a:lnTo>
                    <a:pt x="876" y="642"/>
                  </a:lnTo>
                  <a:lnTo>
                    <a:pt x="870" y="642"/>
                  </a:lnTo>
                  <a:lnTo>
                    <a:pt x="870" y="648"/>
                  </a:lnTo>
                  <a:lnTo>
                    <a:pt x="870" y="654"/>
                  </a:lnTo>
                  <a:lnTo>
                    <a:pt x="864" y="654"/>
                  </a:lnTo>
                  <a:lnTo>
                    <a:pt x="864" y="660"/>
                  </a:lnTo>
                  <a:lnTo>
                    <a:pt x="846" y="666"/>
                  </a:lnTo>
                  <a:lnTo>
                    <a:pt x="828" y="672"/>
                  </a:lnTo>
                  <a:lnTo>
                    <a:pt x="816" y="660"/>
                  </a:lnTo>
                  <a:lnTo>
                    <a:pt x="810" y="660"/>
                  </a:lnTo>
                  <a:lnTo>
                    <a:pt x="798" y="666"/>
                  </a:lnTo>
                  <a:lnTo>
                    <a:pt x="786" y="666"/>
                  </a:lnTo>
                  <a:lnTo>
                    <a:pt x="780" y="672"/>
                  </a:lnTo>
                  <a:lnTo>
                    <a:pt x="768" y="678"/>
                  </a:lnTo>
                  <a:lnTo>
                    <a:pt x="762" y="660"/>
                  </a:lnTo>
                  <a:lnTo>
                    <a:pt x="762" y="654"/>
                  </a:lnTo>
                  <a:lnTo>
                    <a:pt x="756" y="636"/>
                  </a:lnTo>
                  <a:lnTo>
                    <a:pt x="762" y="624"/>
                  </a:lnTo>
                  <a:lnTo>
                    <a:pt x="756" y="606"/>
                  </a:lnTo>
                  <a:lnTo>
                    <a:pt x="756" y="600"/>
                  </a:lnTo>
                  <a:lnTo>
                    <a:pt x="762" y="594"/>
                  </a:lnTo>
                  <a:lnTo>
                    <a:pt x="768" y="600"/>
                  </a:lnTo>
                  <a:lnTo>
                    <a:pt x="768" y="594"/>
                  </a:lnTo>
                  <a:lnTo>
                    <a:pt x="768" y="588"/>
                  </a:lnTo>
                  <a:lnTo>
                    <a:pt x="774" y="582"/>
                  </a:lnTo>
                  <a:lnTo>
                    <a:pt x="768" y="576"/>
                  </a:lnTo>
                  <a:lnTo>
                    <a:pt x="762" y="576"/>
                  </a:lnTo>
                  <a:lnTo>
                    <a:pt x="756" y="576"/>
                  </a:lnTo>
                  <a:lnTo>
                    <a:pt x="690" y="576"/>
                  </a:lnTo>
                  <a:lnTo>
                    <a:pt x="624" y="570"/>
                  </a:lnTo>
                  <a:lnTo>
                    <a:pt x="600" y="564"/>
                  </a:lnTo>
                  <a:lnTo>
                    <a:pt x="576" y="564"/>
                  </a:lnTo>
                  <a:lnTo>
                    <a:pt x="558" y="570"/>
                  </a:lnTo>
                  <a:lnTo>
                    <a:pt x="552" y="576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46" y="594"/>
                  </a:lnTo>
                  <a:lnTo>
                    <a:pt x="546" y="600"/>
                  </a:lnTo>
                  <a:lnTo>
                    <a:pt x="540" y="606"/>
                  </a:lnTo>
                  <a:lnTo>
                    <a:pt x="534" y="618"/>
                  </a:lnTo>
                  <a:lnTo>
                    <a:pt x="534" y="624"/>
                  </a:lnTo>
                  <a:lnTo>
                    <a:pt x="534" y="630"/>
                  </a:lnTo>
                  <a:lnTo>
                    <a:pt x="534" y="636"/>
                  </a:lnTo>
                  <a:lnTo>
                    <a:pt x="528" y="636"/>
                  </a:lnTo>
                  <a:lnTo>
                    <a:pt x="516" y="642"/>
                  </a:lnTo>
                  <a:lnTo>
                    <a:pt x="516" y="648"/>
                  </a:lnTo>
                  <a:lnTo>
                    <a:pt x="510" y="648"/>
                  </a:lnTo>
                  <a:lnTo>
                    <a:pt x="504" y="654"/>
                  </a:lnTo>
                  <a:lnTo>
                    <a:pt x="492" y="666"/>
                  </a:lnTo>
                  <a:lnTo>
                    <a:pt x="492" y="672"/>
                  </a:lnTo>
                  <a:lnTo>
                    <a:pt x="492" y="684"/>
                  </a:lnTo>
                  <a:lnTo>
                    <a:pt x="486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92" y="702"/>
                  </a:lnTo>
                  <a:lnTo>
                    <a:pt x="486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74" y="720"/>
                  </a:lnTo>
                  <a:lnTo>
                    <a:pt x="480" y="726"/>
                  </a:lnTo>
                  <a:lnTo>
                    <a:pt x="474" y="726"/>
                  </a:lnTo>
                  <a:lnTo>
                    <a:pt x="474" y="738"/>
                  </a:lnTo>
                  <a:lnTo>
                    <a:pt x="474" y="744"/>
                  </a:lnTo>
                  <a:lnTo>
                    <a:pt x="474" y="750"/>
                  </a:lnTo>
                  <a:lnTo>
                    <a:pt x="480" y="750"/>
                  </a:lnTo>
                  <a:lnTo>
                    <a:pt x="480" y="756"/>
                  </a:lnTo>
                  <a:lnTo>
                    <a:pt x="492" y="762"/>
                  </a:lnTo>
                  <a:lnTo>
                    <a:pt x="498" y="774"/>
                  </a:lnTo>
                  <a:lnTo>
                    <a:pt x="498" y="780"/>
                  </a:lnTo>
                  <a:lnTo>
                    <a:pt x="504" y="786"/>
                  </a:lnTo>
                  <a:lnTo>
                    <a:pt x="510" y="792"/>
                  </a:lnTo>
                  <a:lnTo>
                    <a:pt x="504" y="798"/>
                  </a:lnTo>
                  <a:lnTo>
                    <a:pt x="504" y="804"/>
                  </a:lnTo>
                  <a:lnTo>
                    <a:pt x="504" y="810"/>
                  </a:lnTo>
                  <a:lnTo>
                    <a:pt x="498" y="822"/>
                  </a:lnTo>
                  <a:lnTo>
                    <a:pt x="492" y="828"/>
                  </a:lnTo>
                  <a:lnTo>
                    <a:pt x="492" y="834"/>
                  </a:lnTo>
                  <a:lnTo>
                    <a:pt x="486" y="840"/>
                  </a:lnTo>
                  <a:lnTo>
                    <a:pt x="480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74" y="858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876"/>
                  </a:lnTo>
                  <a:lnTo>
                    <a:pt x="456" y="894"/>
                  </a:lnTo>
                  <a:lnTo>
                    <a:pt x="450" y="894"/>
                  </a:lnTo>
                  <a:lnTo>
                    <a:pt x="444" y="900"/>
                  </a:lnTo>
                  <a:lnTo>
                    <a:pt x="444" y="894"/>
                  </a:lnTo>
                  <a:lnTo>
                    <a:pt x="438" y="894"/>
                  </a:lnTo>
                  <a:lnTo>
                    <a:pt x="432" y="900"/>
                  </a:lnTo>
                  <a:lnTo>
                    <a:pt x="432" y="906"/>
                  </a:lnTo>
                  <a:lnTo>
                    <a:pt x="420" y="906"/>
                  </a:lnTo>
                  <a:lnTo>
                    <a:pt x="420" y="912"/>
                  </a:lnTo>
                  <a:lnTo>
                    <a:pt x="420" y="918"/>
                  </a:lnTo>
                  <a:lnTo>
                    <a:pt x="426" y="918"/>
                  </a:lnTo>
                  <a:lnTo>
                    <a:pt x="426" y="924"/>
                  </a:lnTo>
                  <a:lnTo>
                    <a:pt x="426" y="930"/>
                  </a:lnTo>
                  <a:lnTo>
                    <a:pt x="420" y="930"/>
                  </a:lnTo>
                  <a:lnTo>
                    <a:pt x="414" y="936"/>
                  </a:lnTo>
                  <a:lnTo>
                    <a:pt x="414" y="942"/>
                  </a:lnTo>
                  <a:lnTo>
                    <a:pt x="414" y="948"/>
                  </a:lnTo>
                  <a:lnTo>
                    <a:pt x="414" y="954"/>
                  </a:lnTo>
                  <a:lnTo>
                    <a:pt x="426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44" y="972"/>
                  </a:lnTo>
                  <a:lnTo>
                    <a:pt x="444" y="978"/>
                  </a:lnTo>
                  <a:lnTo>
                    <a:pt x="450" y="978"/>
                  </a:lnTo>
                  <a:lnTo>
                    <a:pt x="450" y="984"/>
                  </a:lnTo>
                  <a:lnTo>
                    <a:pt x="456" y="990"/>
                  </a:lnTo>
                  <a:lnTo>
                    <a:pt x="456" y="996"/>
                  </a:lnTo>
                  <a:lnTo>
                    <a:pt x="462" y="1008"/>
                  </a:lnTo>
                  <a:lnTo>
                    <a:pt x="468" y="1008"/>
                  </a:lnTo>
                  <a:lnTo>
                    <a:pt x="468" y="1002"/>
                  </a:lnTo>
                  <a:lnTo>
                    <a:pt x="474" y="1008"/>
                  </a:lnTo>
                  <a:lnTo>
                    <a:pt x="480" y="1002"/>
                  </a:lnTo>
                  <a:lnTo>
                    <a:pt x="486" y="1008"/>
                  </a:lnTo>
                  <a:lnTo>
                    <a:pt x="486" y="1014"/>
                  </a:lnTo>
                  <a:lnTo>
                    <a:pt x="492" y="1014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86" y="1026"/>
                  </a:lnTo>
                  <a:lnTo>
                    <a:pt x="492" y="1026"/>
                  </a:lnTo>
                  <a:lnTo>
                    <a:pt x="486" y="1026"/>
                  </a:lnTo>
                  <a:lnTo>
                    <a:pt x="492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5" name="Freeform 30">
              <a:extLst>
                <a:ext uri="{FF2B5EF4-FFF2-40B4-BE49-F238E27FC236}">
                  <a16:creationId xmlns:a16="http://schemas.microsoft.com/office/drawing/2014/main" id="{85C7B827-0C1A-4D72-AEBD-F01CFE7EC12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3645" y="3904484"/>
              <a:ext cx="559048" cy="111825"/>
            </a:xfrm>
            <a:custGeom>
              <a:avLst/>
              <a:gdLst>
                <a:gd name="T0" fmla="*/ 69 w 1056"/>
                <a:gd name="T1" fmla="*/ 7 h 210"/>
                <a:gd name="T2" fmla="*/ 63 w 1056"/>
                <a:gd name="T3" fmla="*/ 5 h 210"/>
                <a:gd name="T4" fmla="*/ 57 w 1056"/>
                <a:gd name="T5" fmla="*/ 5 h 210"/>
                <a:gd name="T6" fmla="*/ 54 w 1056"/>
                <a:gd name="T7" fmla="*/ 6 h 210"/>
                <a:gd name="T8" fmla="*/ 51 w 1056"/>
                <a:gd name="T9" fmla="*/ 7 h 210"/>
                <a:gd name="T10" fmla="*/ 46 w 1056"/>
                <a:gd name="T11" fmla="*/ 9 h 210"/>
                <a:gd name="T12" fmla="*/ 42 w 1056"/>
                <a:gd name="T13" fmla="*/ 8 h 210"/>
                <a:gd name="T14" fmla="*/ 42 w 1056"/>
                <a:gd name="T15" fmla="*/ 5 h 210"/>
                <a:gd name="T16" fmla="*/ 41 w 1056"/>
                <a:gd name="T17" fmla="*/ 7 h 210"/>
                <a:gd name="T18" fmla="*/ 38 w 1056"/>
                <a:gd name="T19" fmla="*/ 10 h 210"/>
                <a:gd name="T20" fmla="*/ 37 w 1056"/>
                <a:gd name="T21" fmla="*/ 12 h 210"/>
                <a:gd name="T22" fmla="*/ 37 w 1056"/>
                <a:gd name="T23" fmla="*/ 15 h 210"/>
                <a:gd name="T24" fmla="*/ 37 w 1056"/>
                <a:gd name="T25" fmla="*/ 16 h 210"/>
                <a:gd name="T26" fmla="*/ 38 w 1056"/>
                <a:gd name="T27" fmla="*/ 16 h 210"/>
                <a:gd name="T28" fmla="*/ 34 w 1056"/>
                <a:gd name="T29" fmla="*/ 16 h 210"/>
                <a:gd name="T30" fmla="*/ 26 w 1056"/>
                <a:gd name="T31" fmla="*/ 16 h 210"/>
                <a:gd name="T32" fmla="*/ 20 w 1056"/>
                <a:gd name="T33" fmla="*/ 17 h 210"/>
                <a:gd name="T34" fmla="*/ 13 w 1056"/>
                <a:gd name="T35" fmla="*/ 17 h 210"/>
                <a:gd name="T36" fmla="*/ 6 w 1056"/>
                <a:gd name="T37" fmla="*/ 17 h 210"/>
                <a:gd name="T38" fmla="*/ 1 w 1056"/>
                <a:gd name="T39" fmla="*/ 18 h 210"/>
                <a:gd name="T40" fmla="*/ 3 w 1056"/>
                <a:gd name="T41" fmla="*/ 14 h 210"/>
                <a:gd name="T42" fmla="*/ 8 w 1056"/>
                <a:gd name="T43" fmla="*/ 15 h 210"/>
                <a:gd name="T44" fmla="*/ 11 w 1056"/>
                <a:gd name="T45" fmla="*/ 12 h 210"/>
                <a:gd name="T46" fmla="*/ 26 w 1056"/>
                <a:gd name="T47" fmla="*/ 10 h 210"/>
                <a:gd name="T48" fmla="*/ 29 w 1056"/>
                <a:gd name="T49" fmla="*/ 5 h 210"/>
                <a:gd name="T50" fmla="*/ 34 w 1056"/>
                <a:gd name="T51" fmla="*/ 1 h 210"/>
                <a:gd name="T52" fmla="*/ 41 w 1056"/>
                <a:gd name="T53" fmla="*/ 3 h 210"/>
                <a:gd name="T54" fmla="*/ 73 w 1056"/>
                <a:gd name="T55" fmla="*/ 1 h 210"/>
                <a:gd name="T56" fmla="*/ 75 w 1056"/>
                <a:gd name="T57" fmla="*/ 4 h 210"/>
                <a:gd name="T58" fmla="*/ 85 w 1056"/>
                <a:gd name="T59" fmla="*/ 15 h 210"/>
                <a:gd name="T60" fmla="*/ 91 w 1056"/>
                <a:gd name="T61" fmla="*/ 18 h 210"/>
                <a:gd name="T62" fmla="*/ 85 w 1056"/>
                <a:gd name="T63" fmla="*/ 18 h 210"/>
                <a:gd name="T64" fmla="*/ 79 w 1056"/>
                <a:gd name="T65" fmla="*/ 16 h 210"/>
                <a:gd name="T66" fmla="*/ 74 w 1056"/>
                <a:gd name="T67" fmla="*/ 16 h 210"/>
                <a:gd name="T68" fmla="*/ 69 w 1056"/>
                <a:gd name="T69" fmla="*/ 15 h 210"/>
                <a:gd name="T70" fmla="*/ 65 w 1056"/>
                <a:gd name="T71" fmla="*/ 14 h 210"/>
                <a:gd name="T72" fmla="*/ 59 w 1056"/>
                <a:gd name="T73" fmla="*/ 15 h 210"/>
                <a:gd name="T74" fmla="*/ 54 w 1056"/>
                <a:gd name="T75" fmla="*/ 15 h 210"/>
                <a:gd name="T76" fmla="*/ 49 w 1056"/>
                <a:gd name="T77" fmla="*/ 15 h 210"/>
                <a:gd name="T78" fmla="*/ 42 w 1056"/>
                <a:gd name="T79" fmla="*/ 15 h 210"/>
                <a:gd name="T80" fmla="*/ 38 w 1056"/>
                <a:gd name="T81" fmla="*/ 16 h 210"/>
                <a:gd name="T82" fmla="*/ 41 w 1056"/>
                <a:gd name="T83" fmla="*/ 14 h 210"/>
                <a:gd name="T84" fmla="*/ 42 w 1056"/>
                <a:gd name="T85" fmla="*/ 13 h 210"/>
                <a:gd name="T86" fmla="*/ 45 w 1056"/>
                <a:gd name="T87" fmla="*/ 13 h 210"/>
                <a:gd name="T88" fmla="*/ 48 w 1056"/>
                <a:gd name="T89" fmla="*/ 12 h 210"/>
                <a:gd name="T90" fmla="*/ 51 w 1056"/>
                <a:gd name="T91" fmla="*/ 11 h 210"/>
                <a:gd name="T92" fmla="*/ 54 w 1056"/>
                <a:gd name="T93" fmla="*/ 9 h 210"/>
                <a:gd name="T94" fmla="*/ 57 w 1056"/>
                <a:gd name="T95" fmla="*/ 8 h 210"/>
                <a:gd name="T96" fmla="*/ 60 w 1056"/>
                <a:gd name="T97" fmla="*/ 5 h 210"/>
                <a:gd name="T98" fmla="*/ 65 w 1056"/>
                <a:gd name="T99" fmla="*/ 5 h 210"/>
                <a:gd name="T100" fmla="*/ 72 w 1056"/>
                <a:gd name="T101" fmla="*/ 7 h 210"/>
                <a:gd name="T102" fmla="*/ 77 w 1056"/>
                <a:gd name="T103" fmla="*/ 11 h 210"/>
                <a:gd name="T104" fmla="*/ 69 w 1056"/>
                <a:gd name="T105" fmla="*/ 10 h 210"/>
                <a:gd name="T106" fmla="*/ 72 w 1056"/>
                <a:gd name="T107" fmla="*/ 12 h 210"/>
                <a:gd name="T108" fmla="*/ 78 w 1056"/>
                <a:gd name="T109" fmla="*/ 15 h 210"/>
                <a:gd name="T110" fmla="*/ 84 w 1056"/>
                <a:gd name="T111" fmla="*/ 14 h 210"/>
                <a:gd name="T112" fmla="*/ 84 w 1056"/>
                <a:gd name="T113" fmla="*/ 14 h 210"/>
                <a:gd name="T114" fmla="*/ 78 w 1056"/>
                <a:gd name="T115" fmla="*/ 13 h 210"/>
                <a:gd name="T116" fmla="*/ 76 w 1056"/>
                <a:gd name="T117" fmla="*/ 14 h 210"/>
                <a:gd name="T118" fmla="*/ 38 w 1056"/>
                <a:gd name="T119" fmla="*/ 12 h 210"/>
                <a:gd name="T120" fmla="*/ 41 w 1056"/>
                <a:gd name="T121" fmla="*/ 12 h 210"/>
                <a:gd name="T122" fmla="*/ 40 w 1056"/>
                <a:gd name="T123" fmla="*/ 14 h 2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6"/>
                <a:gd name="T187" fmla="*/ 0 h 210"/>
                <a:gd name="T188" fmla="*/ 1056 w 1056"/>
                <a:gd name="T189" fmla="*/ 210 h 21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6" h="210">
                  <a:moveTo>
                    <a:pt x="870" y="90"/>
                  </a:moveTo>
                  <a:lnTo>
                    <a:pt x="864" y="90"/>
                  </a:lnTo>
                  <a:lnTo>
                    <a:pt x="852" y="84"/>
                  </a:lnTo>
                  <a:lnTo>
                    <a:pt x="846" y="84"/>
                  </a:lnTo>
                  <a:lnTo>
                    <a:pt x="846" y="78"/>
                  </a:lnTo>
                  <a:lnTo>
                    <a:pt x="840" y="78"/>
                  </a:lnTo>
                  <a:lnTo>
                    <a:pt x="834" y="78"/>
                  </a:lnTo>
                  <a:lnTo>
                    <a:pt x="834" y="72"/>
                  </a:lnTo>
                  <a:lnTo>
                    <a:pt x="804" y="78"/>
                  </a:lnTo>
                  <a:lnTo>
                    <a:pt x="798" y="78"/>
                  </a:lnTo>
                  <a:lnTo>
                    <a:pt x="792" y="72"/>
                  </a:lnTo>
                  <a:lnTo>
                    <a:pt x="780" y="60"/>
                  </a:lnTo>
                  <a:lnTo>
                    <a:pt x="768" y="54"/>
                  </a:lnTo>
                  <a:lnTo>
                    <a:pt x="756" y="54"/>
                  </a:lnTo>
                  <a:lnTo>
                    <a:pt x="750" y="54"/>
                  </a:lnTo>
                  <a:lnTo>
                    <a:pt x="750" y="48"/>
                  </a:lnTo>
                  <a:lnTo>
                    <a:pt x="744" y="48"/>
                  </a:lnTo>
                  <a:lnTo>
                    <a:pt x="738" y="48"/>
                  </a:lnTo>
                  <a:lnTo>
                    <a:pt x="732" y="48"/>
                  </a:lnTo>
                  <a:lnTo>
                    <a:pt x="732" y="54"/>
                  </a:lnTo>
                  <a:lnTo>
                    <a:pt x="726" y="48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48"/>
                  </a:lnTo>
                  <a:lnTo>
                    <a:pt x="702" y="48"/>
                  </a:lnTo>
                  <a:lnTo>
                    <a:pt x="696" y="48"/>
                  </a:lnTo>
                  <a:lnTo>
                    <a:pt x="684" y="48"/>
                  </a:lnTo>
                  <a:lnTo>
                    <a:pt x="678" y="48"/>
                  </a:lnTo>
                  <a:lnTo>
                    <a:pt x="672" y="48"/>
                  </a:lnTo>
                  <a:lnTo>
                    <a:pt x="666" y="54"/>
                  </a:lnTo>
                  <a:lnTo>
                    <a:pt x="660" y="54"/>
                  </a:lnTo>
                  <a:lnTo>
                    <a:pt x="660" y="48"/>
                  </a:lnTo>
                  <a:lnTo>
                    <a:pt x="654" y="48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42" y="54"/>
                  </a:lnTo>
                  <a:lnTo>
                    <a:pt x="63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30" y="66"/>
                  </a:lnTo>
                  <a:lnTo>
                    <a:pt x="624" y="66"/>
                  </a:lnTo>
                  <a:lnTo>
                    <a:pt x="618" y="66"/>
                  </a:lnTo>
                  <a:lnTo>
                    <a:pt x="618" y="72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6" y="84"/>
                  </a:lnTo>
                  <a:lnTo>
                    <a:pt x="600" y="84"/>
                  </a:lnTo>
                  <a:lnTo>
                    <a:pt x="594" y="90"/>
                  </a:lnTo>
                  <a:lnTo>
                    <a:pt x="588" y="90"/>
                  </a:lnTo>
                  <a:lnTo>
                    <a:pt x="588" y="84"/>
                  </a:lnTo>
                  <a:lnTo>
                    <a:pt x="582" y="84"/>
                  </a:lnTo>
                  <a:lnTo>
                    <a:pt x="576" y="84"/>
                  </a:lnTo>
                  <a:lnTo>
                    <a:pt x="570" y="84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58" y="96"/>
                  </a:lnTo>
                  <a:lnTo>
                    <a:pt x="552" y="96"/>
                  </a:lnTo>
                  <a:lnTo>
                    <a:pt x="546" y="102"/>
                  </a:lnTo>
                  <a:lnTo>
                    <a:pt x="540" y="102"/>
                  </a:lnTo>
                  <a:lnTo>
                    <a:pt x="534" y="102"/>
                  </a:lnTo>
                  <a:lnTo>
                    <a:pt x="528" y="102"/>
                  </a:lnTo>
                  <a:lnTo>
                    <a:pt x="528" y="108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16" y="102"/>
                  </a:lnTo>
                  <a:lnTo>
                    <a:pt x="510" y="102"/>
                  </a:lnTo>
                  <a:lnTo>
                    <a:pt x="504" y="102"/>
                  </a:lnTo>
                  <a:lnTo>
                    <a:pt x="498" y="102"/>
                  </a:lnTo>
                  <a:lnTo>
                    <a:pt x="498" y="96"/>
                  </a:lnTo>
                  <a:lnTo>
                    <a:pt x="492" y="96"/>
                  </a:lnTo>
                  <a:lnTo>
                    <a:pt x="492" y="90"/>
                  </a:lnTo>
                  <a:lnTo>
                    <a:pt x="492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498" y="66"/>
                  </a:lnTo>
                  <a:lnTo>
                    <a:pt x="504" y="60"/>
                  </a:lnTo>
                  <a:lnTo>
                    <a:pt x="498" y="60"/>
                  </a:lnTo>
                  <a:lnTo>
                    <a:pt x="498" y="54"/>
                  </a:lnTo>
                  <a:lnTo>
                    <a:pt x="492" y="54"/>
                  </a:lnTo>
                  <a:lnTo>
                    <a:pt x="492" y="60"/>
                  </a:lnTo>
                  <a:lnTo>
                    <a:pt x="486" y="60"/>
                  </a:lnTo>
                  <a:lnTo>
                    <a:pt x="486" y="66"/>
                  </a:lnTo>
                  <a:lnTo>
                    <a:pt x="480" y="66"/>
                  </a:lnTo>
                  <a:lnTo>
                    <a:pt x="474" y="72"/>
                  </a:lnTo>
                  <a:lnTo>
                    <a:pt x="474" y="66"/>
                  </a:lnTo>
                  <a:lnTo>
                    <a:pt x="474" y="72"/>
                  </a:lnTo>
                  <a:lnTo>
                    <a:pt x="468" y="72"/>
                  </a:lnTo>
                  <a:lnTo>
                    <a:pt x="468" y="78"/>
                  </a:lnTo>
                  <a:lnTo>
                    <a:pt x="468" y="84"/>
                  </a:lnTo>
                  <a:lnTo>
                    <a:pt x="462" y="90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0" y="84"/>
                  </a:lnTo>
                  <a:lnTo>
                    <a:pt x="450" y="90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44" y="102"/>
                  </a:lnTo>
                  <a:lnTo>
                    <a:pt x="444" y="108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38" y="126"/>
                  </a:lnTo>
                  <a:lnTo>
                    <a:pt x="438" y="132"/>
                  </a:lnTo>
                  <a:lnTo>
                    <a:pt x="438" y="138"/>
                  </a:lnTo>
                  <a:lnTo>
                    <a:pt x="438" y="144"/>
                  </a:lnTo>
                  <a:lnTo>
                    <a:pt x="432" y="144"/>
                  </a:lnTo>
                  <a:lnTo>
                    <a:pt x="432" y="150"/>
                  </a:lnTo>
                  <a:lnTo>
                    <a:pt x="432" y="144"/>
                  </a:lnTo>
                  <a:lnTo>
                    <a:pt x="426" y="144"/>
                  </a:lnTo>
                  <a:lnTo>
                    <a:pt x="426" y="150"/>
                  </a:lnTo>
                  <a:lnTo>
                    <a:pt x="426" y="156"/>
                  </a:lnTo>
                  <a:lnTo>
                    <a:pt x="432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2"/>
                  </a:lnTo>
                  <a:lnTo>
                    <a:pt x="432" y="168"/>
                  </a:lnTo>
                  <a:lnTo>
                    <a:pt x="426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44" y="168"/>
                  </a:lnTo>
                  <a:lnTo>
                    <a:pt x="444" y="174"/>
                  </a:lnTo>
                  <a:lnTo>
                    <a:pt x="444" y="180"/>
                  </a:lnTo>
                  <a:lnTo>
                    <a:pt x="444" y="186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2" y="192"/>
                  </a:lnTo>
                  <a:lnTo>
                    <a:pt x="426" y="192"/>
                  </a:lnTo>
                  <a:lnTo>
                    <a:pt x="420" y="186"/>
                  </a:lnTo>
                  <a:lnTo>
                    <a:pt x="414" y="186"/>
                  </a:lnTo>
                  <a:lnTo>
                    <a:pt x="408" y="186"/>
                  </a:lnTo>
                  <a:lnTo>
                    <a:pt x="402" y="186"/>
                  </a:lnTo>
                  <a:lnTo>
                    <a:pt x="396" y="186"/>
                  </a:lnTo>
                  <a:lnTo>
                    <a:pt x="390" y="186"/>
                  </a:lnTo>
                  <a:lnTo>
                    <a:pt x="384" y="186"/>
                  </a:lnTo>
                  <a:lnTo>
                    <a:pt x="378" y="186"/>
                  </a:lnTo>
                  <a:lnTo>
                    <a:pt x="372" y="186"/>
                  </a:lnTo>
                  <a:lnTo>
                    <a:pt x="354" y="186"/>
                  </a:lnTo>
                  <a:lnTo>
                    <a:pt x="342" y="186"/>
                  </a:lnTo>
                  <a:lnTo>
                    <a:pt x="324" y="186"/>
                  </a:lnTo>
                  <a:lnTo>
                    <a:pt x="312" y="186"/>
                  </a:lnTo>
                  <a:lnTo>
                    <a:pt x="306" y="186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82" y="186"/>
                  </a:lnTo>
                  <a:lnTo>
                    <a:pt x="270" y="186"/>
                  </a:lnTo>
                  <a:lnTo>
                    <a:pt x="264" y="186"/>
                  </a:lnTo>
                  <a:lnTo>
                    <a:pt x="258" y="192"/>
                  </a:lnTo>
                  <a:lnTo>
                    <a:pt x="258" y="186"/>
                  </a:lnTo>
                  <a:lnTo>
                    <a:pt x="246" y="186"/>
                  </a:lnTo>
                  <a:lnTo>
                    <a:pt x="240" y="186"/>
                  </a:lnTo>
                  <a:lnTo>
                    <a:pt x="234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2"/>
                  </a:lnTo>
                  <a:lnTo>
                    <a:pt x="204" y="192"/>
                  </a:lnTo>
                  <a:lnTo>
                    <a:pt x="198" y="192"/>
                  </a:lnTo>
                  <a:lnTo>
                    <a:pt x="192" y="192"/>
                  </a:lnTo>
                  <a:lnTo>
                    <a:pt x="180" y="192"/>
                  </a:lnTo>
                  <a:lnTo>
                    <a:pt x="168" y="192"/>
                  </a:lnTo>
                  <a:lnTo>
                    <a:pt x="162" y="192"/>
                  </a:lnTo>
                  <a:lnTo>
                    <a:pt x="150" y="192"/>
                  </a:lnTo>
                  <a:lnTo>
                    <a:pt x="138" y="192"/>
                  </a:lnTo>
                  <a:lnTo>
                    <a:pt x="132" y="192"/>
                  </a:lnTo>
                  <a:lnTo>
                    <a:pt x="120" y="192"/>
                  </a:lnTo>
                  <a:lnTo>
                    <a:pt x="114" y="192"/>
                  </a:lnTo>
                  <a:lnTo>
                    <a:pt x="108" y="192"/>
                  </a:lnTo>
                  <a:lnTo>
                    <a:pt x="102" y="192"/>
                  </a:lnTo>
                  <a:lnTo>
                    <a:pt x="90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2" y="198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36" y="198"/>
                  </a:lnTo>
                  <a:lnTo>
                    <a:pt x="30" y="204"/>
                  </a:lnTo>
                  <a:lnTo>
                    <a:pt x="24" y="204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6" y="210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54" y="156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56"/>
                  </a:lnTo>
                  <a:lnTo>
                    <a:pt x="78" y="162"/>
                  </a:lnTo>
                  <a:lnTo>
                    <a:pt x="84" y="162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9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0" y="126"/>
                  </a:lnTo>
                  <a:lnTo>
                    <a:pt x="276" y="120"/>
                  </a:lnTo>
                  <a:lnTo>
                    <a:pt x="282" y="120"/>
                  </a:lnTo>
                  <a:lnTo>
                    <a:pt x="300" y="120"/>
                  </a:lnTo>
                  <a:lnTo>
                    <a:pt x="306" y="114"/>
                  </a:lnTo>
                  <a:lnTo>
                    <a:pt x="312" y="108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8"/>
                  </a:lnTo>
                  <a:lnTo>
                    <a:pt x="342" y="30"/>
                  </a:lnTo>
                  <a:lnTo>
                    <a:pt x="342" y="24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8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24"/>
                  </a:lnTo>
                  <a:lnTo>
                    <a:pt x="414" y="30"/>
                  </a:lnTo>
                  <a:lnTo>
                    <a:pt x="420" y="30"/>
                  </a:lnTo>
                  <a:lnTo>
                    <a:pt x="42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74" y="30"/>
                  </a:lnTo>
                  <a:lnTo>
                    <a:pt x="474" y="18"/>
                  </a:lnTo>
                  <a:lnTo>
                    <a:pt x="474" y="12"/>
                  </a:lnTo>
                  <a:lnTo>
                    <a:pt x="480" y="12"/>
                  </a:lnTo>
                  <a:lnTo>
                    <a:pt x="486" y="12"/>
                  </a:lnTo>
                  <a:lnTo>
                    <a:pt x="606" y="12"/>
                  </a:lnTo>
                  <a:lnTo>
                    <a:pt x="630" y="12"/>
                  </a:lnTo>
                  <a:lnTo>
                    <a:pt x="678" y="12"/>
                  </a:lnTo>
                  <a:lnTo>
                    <a:pt x="744" y="12"/>
                  </a:lnTo>
                  <a:lnTo>
                    <a:pt x="774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2" y="6"/>
                  </a:lnTo>
                  <a:lnTo>
                    <a:pt x="888" y="12"/>
                  </a:lnTo>
                  <a:lnTo>
                    <a:pt x="888" y="24"/>
                  </a:lnTo>
                  <a:lnTo>
                    <a:pt x="888" y="30"/>
                  </a:lnTo>
                  <a:lnTo>
                    <a:pt x="882" y="36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64" y="42"/>
                  </a:lnTo>
                  <a:lnTo>
                    <a:pt x="864" y="48"/>
                  </a:lnTo>
                  <a:lnTo>
                    <a:pt x="858" y="54"/>
                  </a:lnTo>
                  <a:lnTo>
                    <a:pt x="864" y="54"/>
                  </a:lnTo>
                  <a:lnTo>
                    <a:pt x="870" y="72"/>
                  </a:lnTo>
                  <a:lnTo>
                    <a:pt x="870" y="78"/>
                  </a:lnTo>
                  <a:lnTo>
                    <a:pt x="870" y="84"/>
                  </a:lnTo>
                  <a:lnTo>
                    <a:pt x="870" y="90"/>
                  </a:lnTo>
                  <a:close/>
                  <a:moveTo>
                    <a:pt x="972" y="156"/>
                  </a:moveTo>
                  <a:lnTo>
                    <a:pt x="972" y="162"/>
                  </a:lnTo>
                  <a:lnTo>
                    <a:pt x="978" y="162"/>
                  </a:lnTo>
                  <a:lnTo>
                    <a:pt x="984" y="168"/>
                  </a:lnTo>
                  <a:lnTo>
                    <a:pt x="990" y="168"/>
                  </a:lnTo>
                  <a:lnTo>
                    <a:pt x="990" y="162"/>
                  </a:lnTo>
                  <a:lnTo>
                    <a:pt x="1008" y="162"/>
                  </a:lnTo>
                  <a:lnTo>
                    <a:pt x="1020" y="162"/>
                  </a:lnTo>
                  <a:lnTo>
                    <a:pt x="1038" y="162"/>
                  </a:lnTo>
                  <a:lnTo>
                    <a:pt x="1056" y="168"/>
                  </a:lnTo>
                  <a:lnTo>
                    <a:pt x="1056" y="180"/>
                  </a:lnTo>
                  <a:lnTo>
                    <a:pt x="1056" y="186"/>
                  </a:lnTo>
                  <a:lnTo>
                    <a:pt x="1056" y="204"/>
                  </a:lnTo>
                  <a:lnTo>
                    <a:pt x="1050" y="204"/>
                  </a:lnTo>
                  <a:lnTo>
                    <a:pt x="1044" y="204"/>
                  </a:lnTo>
                  <a:lnTo>
                    <a:pt x="1038" y="204"/>
                  </a:lnTo>
                  <a:lnTo>
                    <a:pt x="1032" y="204"/>
                  </a:lnTo>
                  <a:lnTo>
                    <a:pt x="1026" y="204"/>
                  </a:lnTo>
                  <a:lnTo>
                    <a:pt x="1020" y="204"/>
                  </a:lnTo>
                  <a:lnTo>
                    <a:pt x="1014" y="204"/>
                  </a:lnTo>
                  <a:lnTo>
                    <a:pt x="1008" y="204"/>
                  </a:lnTo>
                  <a:lnTo>
                    <a:pt x="1002" y="204"/>
                  </a:lnTo>
                  <a:lnTo>
                    <a:pt x="996" y="204"/>
                  </a:lnTo>
                  <a:lnTo>
                    <a:pt x="984" y="204"/>
                  </a:lnTo>
                  <a:lnTo>
                    <a:pt x="984" y="198"/>
                  </a:lnTo>
                  <a:lnTo>
                    <a:pt x="978" y="198"/>
                  </a:lnTo>
                  <a:lnTo>
                    <a:pt x="966" y="198"/>
                  </a:lnTo>
                  <a:lnTo>
                    <a:pt x="948" y="192"/>
                  </a:lnTo>
                  <a:lnTo>
                    <a:pt x="942" y="192"/>
                  </a:lnTo>
                  <a:lnTo>
                    <a:pt x="936" y="192"/>
                  </a:lnTo>
                  <a:lnTo>
                    <a:pt x="924" y="192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12" y="186"/>
                  </a:lnTo>
                  <a:lnTo>
                    <a:pt x="906" y="186"/>
                  </a:lnTo>
                  <a:lnTo>
                    <a:pt x="900" y="186"/>
                  </a:lnTo>
                  <a:lnTo>
                    <a:pt x="894" y="186"/>
                  </a:lnTo>
                  <a:lnTo>
                    <a:pt x="888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76" y="180"/>
                  </a:lnTo>
                  <a:lnTo>
                    <a:pt x="870" y="180"/>
                  </a:lnTo>
                  <a:lnTo>
                    <a:pt x="864" y="180"/>
                  </a:lnTo>
                  <a:lnTo>
                    <a:pt x="858" y="180"/>
                  </a:lnTo>
                  <a:lnTo>
                    <a:pt x="852" y="180"/>
                  </a:lnTo>
                  <a:lnTo>
                    <a:pt x="852" y="174"/>
                  </a:lnTo>
                  <a:lnTo>
                    <a:pt x="846" y="174"/>
                  </a:lnTo>
                  <a:lnTo>
                    <a:pt x="840" y="174"/>
                  </a:lnTo>
                  <a:lnTo>
                    <a:pt x="834" y="174"/>
                  </a:lnTo>
                  <a:lnTo>
                    <a:pt x="828" y="174"/>
                  </a:lnTo>
                  <a:lnTo>
                    <a:pt x="822" y="174"/>
                  </a:lnTo>
                  <a:lnTo>
                    <a:pt x="816" y="174"/>
                  </a:lnTo>
                  <a:lnTo>
                    <a:pt x="810" y="168"/>
                  </a:lnTo>
                  <a:lnTo>
                    <a:pt x="804" y="168"/>
                  </a:lnTo>
                  <a:lnTo>
                    <a:pt x="798" y="168"/>
                  </a:lnTo>
                  <a:lnTo>
                    <a:pt x="792" y="168"/>
                  </a:lnTo>
                  <a:lnTo>
                    <a:pt x="786" y="168"/>
                  </a:lnTo>
                  <a:lnTo>
                    <a:pt x="780" y="168"/>
                  </a:lnTo>
                  <a:lnTo>
                    <a:pt x="774" y="168"/>
                  </a:lnTo>
                  <a:lnTo>
                    <a:pt x="768" y="168"/>
                  </a:lnTo>
                  <a:lnTo>
                    <a:pt x="762" y="168"/>
                  </a:lnTo>
                  <a:lnTo>
                    <a:pt x="756" y="168"/>
                  </a:lnTo>
                  <a:lnTo>
                    <a:pt x="750" y="168"/>
                  </a:lnTo>
                  <a:lnTo>
                    <a:pt x="750" y="162"/>
                  </a:lnTo>
                  <a:lnTo>
                    <a:pt x="744" y="168"/>
                  </a:lnTo>
                  <a:lnTo>
                    <a:pt x="738" y="162"/>
                  </a:lnTo>
                  <a:lnTo>
                    <a:pt x="732" y="162"/>
                  </a:lnTo>
                  <a:lnTo>
                    <a:pt x="726" y="162"/>
                  </a:lnTo>
                  <a:lnTo>
                    <a:pt x="714" y="162"/>
                  </a:lnTo>
                  <a:lnTo>
                    <a:pt x="702" y="162"/>
                  </a:lnTo>
                  <a:lnTo>
                    <a:pt x="696" y="168"/>
                  </a:lnTo>
                  <a:lnTo>
                    <a:pt x="690" y="168"/>
                  </a:lnTo>
                  <a:lnTo>
                    <a:pt x="684" y="168"/>
                  </a:lnTo>
                  <a:lnTo>
                    <a:pt x="678" y="168"/>
                  </a:lnTo>
                  <a:lnTo>
                    <a:pt x="672" y="168"/>
                  </a:lnTo>
                  <a:lnTo>
                    <a:pt x="666" y="168"/>
                  </a:lnTo>
                  <a:lnTo>
                    <a:pt x="660" y="168"/>
                  </a:lnTo>
                  <a:lnTo>
                    <a:pt x="654" y="168"/>
                  </a:lnTo>
                  <a:lnTo>
                    <a:pt x="648" y="174"/>
                  </a:lnTo>
                  <a:lnTo>
                    <a:pt x="648" y="168"/>
                  </a:lnTo>
                  <a:lnTo>
                    <a:pt x="642" y="174"/>
                  </a:lnTo>
                  <a:lnTo>
                    <a:pt x="636" y="174"/>
                  </a:lnTo>
                  <a:lnTo>
                    <a:pt x="630" y="174"/>
                  </a:lnTo>
                  <a:lnTo>
                    <a:pt x="624" y="174"/>
                  </a:lnTo>
                  <a:lnTo>
                    <a:pt x="618" y="174"/>
                  </a:lnTo>
                  <a:lnTo>
                    <a:pt x="612" y="174"/>
                  </a:lnTo>
                  <a:lnTo>
                    <a:pt x="606" y="174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74"/>
                  </a:lnTo>
                  <a:lnTo>
                    <a:pt x="582" y="174"/>
                  </a:lnTo>
                  <a:lnTo>
                    <a:pt x="576" y="174"/>
                  </a:lnTo>
                  <a:lnTo>
                    <a:pt x="570" y="174"/>
                  </a:lnTo>
                  <a:lnTo>
                    <a:pt x="564" y="174"/>
                  </a:lnTo>
                  <a:lnTo>
                    <a:pt x="558" y="174"/>
                  </a:lnTo>
                  <a:lnTo>
                    <a:pt x="552" y="174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0" y="174"/>
                  </a:lnTo>
                  <a:lnTo>
                    <a:pt x="504" y="174"/>
                  </a:lnTo>
                  <a:lnTo>
                    <a:pt x="498" y="174"/>
                  </a:lnTo>
                  <a:lnTo>
                    <a:pt x="492" y="174"/>
                  </a:lnTo>
                  <a:lnTo>
                    <a:pt x="486" y="174"/>
                  </a:lnTo>
                  <a:lnTo>
                    <a:pt x="480" y="174"/>
                  </a:lnTo>
                  <a:lnTo>
                    <a:pt x="474" y="174"/>
                  </a:lnTo>
                  <a:lnTo>
                    <a:pt x="468" y="174"/>
                  </a:lnTo>
                  <a:lnTo>
                    <a:pt x="462" y="174"/>
                  </a:lnTo>
                  <a:lnTo>
                    <a:pt x="456" y="174"/>
                  </a:lnTo>
                  <a:lnTo>
                    <a:pt x="450" y="180"/>
                  </a:lnTo>
                  <a:lnTo>
                    <a:pt x="450" y="186"/>
                  </a:lnTo>
                  <a:lnTo>
                    <a:pt x="450" y="192"/>
                  </a:lnTo>
                  <a:lnTo>
                    <a:pt x="444" y="192"/>
                  </a:lnTo>
                  <a:lnTo>
                    <a:pt x="444" y="186"/>
                  </a:lnTo>
                  <a:lnTo>
                    <a:pt x="444" y="180"/>
                  </a:lnTo>
                  <a:lnTo>
                    <a:pt x="450" y="180"/>
                  </a:lnTo>
                  <a:lnTo>
                    <a:pt x="450" y="174"/>
                  </a:lnTo>
                  <a:lnTo>
                    <a:pt x="450" y="168"/>
                  </a:lnTo>
                  <a:lnTo>
                    <a:pt x="450" y="162"/>
                  </a:lnTo>
                  <a:lnTo>
                    <a:pt x="456" y="162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62" y="162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74" y="168"/>
                  </a:lnTo>
                  <a:lnTo>
                    <a:pt x="480" y="168"/>
                  </a:lnTo>
                  <a:lnTo>
                    <a:pt x="480" y="162"/>
                  </a:lnTo>
                  <a:lnTo>
                    <a:pt x="480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56"/>
                  </a:lnTo>
                  <a:lnTo>
                    <a:pt x="492" y="156"/>
                  </a:lnTo>
                  <a:lnTo>
                    <a:pt x="486" y="150"/>
                  </a:lnTo>
                  <a:lnTo>
                    <a:pt x="492" y="150"/>
                  </a:lnTo>
                  <a:lnTo>
                    <a:pt x="498" y="150"/>
                  </a:lnTo>
                  <a:lnTo>
                    <a:pt x="498" y="156"/>
                  </a:lnTo>
                  <a:lnTo>
                    <a:pt x="504" y="156"/>
                  </a:lnTo>
                  <a:lnTo>
                    <a:pt x="504" y="162"/>
                  </a:lnTo>
                  <a:lnTo>
                    <a:pt x="504" y="156"/>
                  </a:lnTo>
                  <a:lnTo>
                    <a:pt x="510" y="156"/>
                  </a:lnTo>
                  <a:lnTo>
                    <a:pt x="510" y="150"/>
                  </a:lnTo>
                  <a:lnTo>
                    <a:pt x="516" y="150"/>
                  </a:lnTo>
                  <a:lnTo>
                    <a:pt x="522" y="150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28" y="150"/>
                  </a:lnTo>
                  <a:lnTo>
                    <a:pt x="528" y="144"/>
                  </a:lnTo>
                  <a:lnTo>
                    <a:pt x="540" y="144"/>
                  </a:lnTo>
                  <a:lnTo>
                    <a:pt x="546" y="144"/>
                  </a:lnTo>
                  <a:lnTo>
                    <a:pt x="552" y="138"/>
                  </a:lnTo>
                  <a:lnTo>
                    <a:pt x="552" y="132"/>
                  </a:lnTo>
                  <a:lnTo>
                    <a:pt x="558" y="132"/>
                  </a:lnTo>
                  <a:lnTo>
                    <a:pt x="558" y="126"/>
                  </a:lnTo>
                  <a:lnTo>
                    <a:pt x="558" y="120"/>
                  </a:lnTo>
                  <a:lnTo>
                    <a:pt x="558" y="114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6" y="114"/>
                  </a:lnTo>
                  <a:lnTo>
                    <a:pt x="582" y="120"/>
                  </a:lnTo>
                  <a:lnTo>
                    <a:pt x="588" y="120"/>
                  </a:lnTo>
                  <a:lnTo>
                    <a:pt x="588" y="126"/>
                  </a:lnTo>
                  <a:lnTo>
                    <a:pt x="588" y="120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600" y="114"/>
                  </a:lnTo>
                  <a:lnTo>
                    <a:pt x="606" y="114"/>
                  </a:lnTo>
                  <a:lnTo>
                    <a:pt x="618" y="114"/>
                  </a:lnTo>
                  <a:lnTo>
                    <a:pt x="618" y="108"/>
                  </a:lnTo>
                  <a:lnTo>
                    <a:pt x="624" y="108"/>
                  </a:lnTo>
                  <a:lnTo>
                    <a:pt x="624" y="102"/>
                  </a:lnTo>
                  <a:lnTo>
                    <a:pt x="630" y="102"/>
                  </a:lnTo>
                  <a:lnTo>
                    <a:pt x="636" y="102"/>
                  </a:lnTo>
                  <a:lnTo>
                    <a:pt x="636" y="108"/>
                  </a:lnTo>
                  <a:lnTo>
                    <a:pt x="642" y="108"/>
                  </a:lnTo>
                  <a:lnTo>
                    <a:pt x="648" y="108"/>
                  </a:lnTo>
                  <a:lnTo>
                    <a:pt x="648" y="102"/>
                  </a:lnTo>
                  <a:lnTo>
                    <a:pt x="654" y="102"/>
                  </a:lnTo>
                  <a:lnTo>
                    <a:pt x="660" y="102"/>
                  </a:lnTo>
                  <a:lnTo>
                    <a:pt x="660" y="96"/>
                  </a:lnTo>
                  <a:lnTo>
                    <a:pt x="660" y="90"/>
                  </a:lnTo>
                  <a:lnTo>
                    <a:pt x="666" y="90"/>
                  </a:lnTo>
                  <a:lnTo>
                    <a:pt x="666" y="84"/>
                  </a:lnTo>
                  <a:lnTo>
                    <a:pt x="672" y="78"/>
                  </a:lnTo>
                  <a:lnTo>
                    <a:pt x="672" y="72"/>
                  </a:lnTo>
                  <a:lnTo>
                    <a:pt x="678" y="66"/>
                  </a:lnTo>
                  <a:lnTo>
                    <a:pt x="684" y="66"/>
                  </a:lnTo>
                  <a:lnTo>
                    <a:pt x="684" y="60"/>
                  </a:lnTo>
                  <a:lnTo>
                    <a:pt x="690" y="60"/>
                  </a:lnTo>
                  <a:lnTo>
                    <a:pt x="696" y="60"/>
                  </a:lnTo>
                  <a:lnTo>
                    <a:pt x="702" y="60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66"/>
                  </a:lnTo>
                  <a:lnTo>
                    <a:pt x="720" y="66"/>
                  </a:lnTo>
                  <a:lnTo>
                    <a:pt x="720" y="60"/>
                  </a:lnTo>
                  <a:lnTo>
                    <a:pt x="726" y="60"/>
                  </a:lnTo>
                  <a:lnTo>
                    <a:pt x="732" y="60"/>
                  </a:lnTo>
                  <a:lnTo>
                    <a:pt x="744" y="60"/>
                  </a:lnTo>
                  <a:lnTo>
                    <a:pt x="750" y="54"/>
                  </a:lnTo>
                  <a:lnTo>
                    <a:pt x="762" y="60"/>
                  </a:lnTo>
                  <a:lnTo>
                    <a:pt x="774" y="60"/>
                  </a:lnTo>
                  <a:lnTo>
                    <a:pt x="774" y="66"/>
                  </a:lnTo>
                  <a:lnTo>
                    <a:pt x="780" y="72"/>
                  </a:lnTo>
                  <a:lnTo>
                    <a:pt x="786" y="78"/>
                  </a:lnTo>
                  <a:lnTo>
                    <a:pt x="792" y="78"/>
                  </a:lnTo>
                  <a:lnTo>
                    <a:pt x="810" y="84"/>
                  </a:lnTo>
                  <a:lnTo>
                    <a:pt x="822" y="84"/>
                  </a:lnTo>
                  <a:lnTo>
                    <a:pt x="828" y="84"/>
                  </a:lnTo>
                  <a:lnTo>
                    <a:pt x="834" y="84"/>
                  </a:lnTo>
                  <a:lnTo>
                    <a:pt x="840" y="96"/>
                  </a:lnTo>
                  <a:lnTo>
                    <a:pt x="846" y="102"/>
                  </a:lnTo>
                  <a:lnTo>
                    <a:pt x="858" y="102"/>
                  </a:lnTo>
                  <a:lnTo>
                    <a:pt x="864" y="102"/>
                  </a:lnTo>
                  <a:lnTo>
                    <a:pt x="876" y="96"/>
                  </a:lnTo>
                  <a:lnTo>
                    <a:pt x="882" y="102"/>
                  </a:lnTo>
                  <a:lnTo>
                    <a:pt x="888" y="108"/>
                  </a:lnTo>
                  <a:lnTo>
                    <a:pt x="888" y="114"/>
                  </a:lnTo>
                  <a:lnTo>
                    <a:pt x="888" y="120"/>
                  </a:lnTo>
                  <a:lnTo>
                    <a:pt x="888" y="126"/>
                  </a:lnTo>
                  <a:lnTo>
                    <a:pt x="888" y="132"/>
                  </a:lnTo>
                  <a:lnTo>
                    <a:pt x="882" y="132"/>
                  </a:lnTo>
                  <a:lnTo>
                    <a:pt x="864" y="126"/>
                  </a:lnTo>
                  <a:lnTo>
                    <a:pt x="852" y="120"/>
                  </a:lnTo>
                  <a:lnTo>
                    <a:pt x="840" y="126"/>
                  </a:lnTo>
                  <a:lnTo>
                    <a:pt x="834" y="120"/>
                  </a:lnTo>
                  <a:lnTo>
                    <a:pt x="828" y="120"/>
                  </a:lnTo>
                  <a:lnTo>
                    <a:pt x="822" y="120"/>
                  </a:lnTo>
                  <a:lnTo>
                    <a:pt x="810" y="114"/>
                  </a:lnTo>
                  <a:lnTo>
                    <a:pt x="804" y="114"/>
                  </a:lnTo>
                  <a:lnTo>
                    <a:pt x="798" y="114"/>
                  </a:lnTo>
                  <a:lnTo>
                    <a:pt x="792" y="114"/>
                  </a:lnTo>
                  <a:lnTo>
                    <a:pt x="786" y="114"/>
                  </a:lnTo>
                  <a:lnTo>
                    <a:pt x="780" y="114"/>
                  </a:lnTo>
                  <a:lnTo>
                    <a:pt x="780" y="126"/>
                  </a:lnTo>
                  <a:lnTo>
                    <a:pt x="786" y="126"/>
                  </a:lnTo>
                  <a:lnTo>
                    <a:pt x="798" y="126"/>
                  </a:lnTo>
                  <a:lnTo>
                    <a:pt x="804" y="126"/>
                  </a:lnTo>
                  <a:lnTo>
                    <a:pt x="822" y="132"/>
                  </a:lnTo>
                  <a:lnTo>
                    <a:pt x="828" y="132"/>
                  </a:lnTo>
                  <a:lnTo>
                    <a:pt x="834" y="132"/>
                  </a:lnTo>
                  <a:lnTo>
                    <a:pt x="840" y="144"/>
                  </a:lnTo>
                  <a:lnTo>
                    <a:pt x="846" y="150"/>
                  </a:lnTo>
                  <a:lnTo>
                    <a:pt x="858" y="150"/>
                  </a:lnTo>
                  <a:lnTo>
                    <a:pt x="864" y="162"/>
                  </a:lnTo>
                  <a:lnTo>
                    <a:pt x="870" y="162"/>
                  </a:lnTo>
                  <a:lnTo>
                    <a:pt x="876" y="168"/>
                  </a:lnTo>
                  <a:lnTo>
                    <a:pt x="888" y="168"/>
                  </a:lnTo>
                  <a:lnTo>
                    <a:pt x="894" y="174"/>
                  </a:lnTo>
                  <a:lnTo>
                    <a:pt x="900" y="174"/>
                  </a:lnTo>
                  <a:lnTo>
                    <a:pt x="918" y="174"/>
                  </a:lnTo>
                  <a:lnTo>
                    <a:pt x="924" y="174"/>
                  </a:lnTo>
                  <a:lnTo>
                    <a:pt x="930" y="174"/>
                  </a:lnTo>
                  <a:lnTo>
                    <a:pt x="942" y="174"/>
                  </a:lnTo>
                  <a:lnTo>
                    <a:pt x="954" y="174"/>
                  </a:lnTo>
                  <a:lnTo>
                    <a:pt x="960" y="174"/>
                  </a:lnTo>
                  <a:lnTo>
                    <a:pt x="966" y="174"/>
                  </a:lnTo>
                  <a:lnTo>
                    <a:pt x="966" y="168"/>
                  </a:lnTo>
                  <a:lnTo>
                    <a:pt x="972" y="162"/>
                  </a:lnTo>
                  <a:lnTo>
                    <a:pt x="972" y="156"/>
                  </a:lnTo>
                  <a:close/>
                  <a:moveTo>
                    <a:pt x="942" y="174"/>
                  </a:moveTo>
                  <a:lnTo>
                    <a:pt x="936" y="174"/>
                  </a:lnTo>
                  <a:lnTo>
                    <a:pt x="936" y="168"/>
                  </a:lnTo>
                  <a:lnTo>
                    <a:pt x="936" y="162"/>
                  </a:lnTo>
                  <a:lnTo>
                    <a:pt x="948" y="162"/>
                  </a:lnTo>
                  <a:lnTo>
                    <a:pt x="948" y="156"/>
                  </a:lnTo>
                  <a:lnTo>
                    <a:pt x="954" y="156"/>
                  </a:lnTo>
                  <a:lnTo>
                    <a:pt x="960" y="156"/>
                  </a:lnTo>
                  <a:lnTo>
                    <a:pt x="966" y="156"/>
                  </a:lnTo>
                  <a:lnTo>
                    <a:pt x="966" y="162"/>
                  </a:lnTo>
                  <a:lnTo>
                    <a:pt x="960" y="168"/>
                  </a:lnTo>
                  <a:lnTo>
                    <a:pt x="942" y="174"/>
                  </a:lnTo>
                  <a:close/>
                  <a:moveTo>
                    <a:pt x="900" y="168"/>
                  </a:moveTo>
                  <a:lnTo>
                    <a:pt x="894" y="168"/>
                  </a:lnTo>
                  <a:lnTo>
                    <a:pt x="882" y="156"/>
                  </a:lnTo>
                  <a:lnTo>
                    <a:pt x="882" y="150"/>
                  </a:lnTo>
                  <a:lnTo>
                    <a:pt x="888" y="156"/>
                  </a:lnTo>
                  <a:lnTo>
                    <a:pt x="894" y="150"/>
                  </a:lnTo>
                  <a:lnTo>
                    <a:pt x="900" y="150"/>
                  </a:lnTo>
                  <a:lnTo>
                    <a:pt x="906" y="150"/>
                  </a:lnTo>
                  <a:lnTo>
                    <a:pt x="912" y="150"/>
                  </a:lnTo>
                  <a:lnTo>
                    <a:pt x="924" y="150"/>
                  </a:lnTo>
                  <a:lnTo>
                    <a:pt x="924" y="156"/>
                  </a:lnTo>
                  <a:lnTo>
                    <a:pt x="924" y="162"/>
                  </a:lnTo>
                  <a:lnTo>
                    <a:pt x="924" y="168"/>
                  </a:lnTo>
                  <a:lnTo>
                    <a:pt x="918" y="168"/>
                  </a:lnTo>
                  <a:lnTo>
                    <a:pt x="906" y="168"/>
                  </a:lnTo>
                  <a:lnTo>
                    <a:pt x="900" y="168"/>
                  </a:lnTo>
                  <a:close/>
                  <a:moveTo>
                    <a:pt x="870" y="162"/>
                  </a:moveTo>
                  <a:lnTo>
                    <a:pt x="876" y="162"/>
                  </a:lnTo>
                  <a:lnTo>
                    <a:pt x="876" y="168"/>
                  </a:lnTo>
                  <a:lnTo>
                    <a:pt x="870" y="168"/>
                  </a:lnTo>
                  <a:lnTo>
                    <a:pt x="870" y="162"/>
                  </a:lnTo>
                  <a:close/>
                  <a:moveTo>
                    <a:pt x="450" y="162"/>
                  </a:moveTo>
                  <a:lnTo>
                    <a:pt x="444" y="162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2" y="150"/>
                  </a:lnTo>
                  <a:lnTo>
                    <a:pt x="438" y="150"/>
                  </a:lnTo>
                  <a:lnTo>
                    <a:pt x="438" y="144"/>
                  </a:lnTo>
                  <a:lnTo>
                    <a:pt x="438" y="150"/>
                  </a:lnTo>
                  <a:lnTo>
                    <a:pt x="444" y="150"/>
                  </a:lnTo>
                  <a:lnTo>
                    <a:pt x="450" y="150"/>
                  </a:lnTo>
                  <a:lnTo>
                    <a:pt x="450" y="156"/>
                  </a:lnTo>
                  <a:lnTo>
                    <a:pt x="456" y="156"/>
                  </a:lnTo>
                  <a:lnTo>
                    <a:pt x="456" y="150"/>
                  </a:lnTo>
                  <a:lnTo>
                    <a:pt x="456" y="156"/>
                  </a:lnTo>
                  <a:lnTo>
                    <a:pt x="462" y="150"/>
                  </a:lnTo>
                  <a:lnTo>
                    <a:pt x="462" y="144"/>
                  </a:lnTo>
                  <a:lnTo>
                    <a:pt x="468" y="144"/>
                  </a:lnTo>
                  <a:lnTo>
                    <a:pt x="468" y="150"/>
                  </a:lnTo>
                  <a:lnTo>
                    <a:pt x="474" y="150"/>
                  </a:lnTo>
                  <a:lnTo>
                    <a:pt x="480" y="150"/>
                  </a:lnTo>
                  <a:lnTo>
                    <a:pt x="480" y="156"/>
                  </a:lnTo>
                  <a:lnTo>
                    <a:pt x="480" y="162"/>
                  </a:lnTo>
                  <a:lnTo>
                    <a:pt x="474" y="162"/>
                  </a:lnTo>
                  <a:lnTo>
                    <a:pt x="474" y="168"/>
                  </a:lnTo>
                  <a:lnTo>
                    <a:pt x="474" y="162"/>
                  </a:lnTo>
                  <a:lnTo>
                    <a:pt x="468" y="162"/>
                  </a:lnTo>
                  <a:lnTo>
                    <a:pt x="462" y="162"/>
                  </a:lnTo>
                  <a:lnTo>
                    <a:pt x="456" y="162"/>
                  </a:lnTo>
                  <a:lnTo>
                    <a:pt x="450" y="16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6" name="Freeform 31">
              <a:extLst>
                <a:ext uri="{FF2B5EF4-FFF2-40B4-BE49-F238E27FC236}">
                  <a16:creationId xmlns:a16="http://schemas.microsoft.com/office/drawing/2014/main" id="{0989F057-38E8-4AA5-8B73-27F6355E235C}"/>
                </a:ext>
              </a:extLst>
            </p:cNvPr>
            <p:cNvSpPr>
              <a:spLocks/>
            </p:cNvSpPr>
            <p:nvPr/>
          </p:nvSpPr>
          <p:spPr bwMode="gray">
            <a:xfrm>
              <a:off x="792590" y="2728084"/>
              <a:ext cx="1182944" cy="740282"/>
            </a:xfrm>
            <a:custGeom>
              <a:avLst/>
              <a:gdLst>
                <a:gd name="T0" fmla="*/ 138 w 2226"/>
                <a:gd name="T1" fmla="*/ 121 h 1392"/>
                <a:gd name="T2" fmla="*/ 133 w 2226"/>
                <a:gd name="T3" fmla="*/ 119 h 1392"/>
                <a:gd name="T4" fmla="*/ 128 w 2226"/>
                <a:gd name="T5" fmla="*/ 117 h 1392"/>
                <a:gd name="T6" fmla="*/ 119 w 2226"/>
                <a:gd name="T7" fmla="*/ 116 h 1392"/>
                <a:gd name="T8" fmla="*/ 101 w 2226"/>
                <a:gd name="T9" fmla="*/ 116 h 1392"/>
                <a:gd name="T10" fmla="*/ 94 w 2226"/>
                <a:gd name="T11" fmla="*/ 104 h 1392"/>
                <a:gd name="T12" fmla="*/ 82 w 2226"/>
                <a:gd name="T13" fmla="*/ 83 h 1392"/>
                <a:gd name="T14" fmla="*/ 87 w 2226"/>
                <a:gd name="T15" fmla="*/ 69 h 1392"/>
                <a:gd name="T16" fmla="*/ 82 w 2226"/>
                <a:gd name="T17" fmla="*/ 65 h 1392"/>
                <a:gd name="T18" fmla="*/ 59 w 2226"/>
                <a:gd name="T19" fmla="*/ 57 h 1392"/>
                <a:gd name="T20" fmla="*/ 29 w 2226"/>
                <a:gd name="T21" fmla="*/ 77 h 1392"/>
                <a:gd name="T22" fmla="*/ 20 w 2226"/>
                <a:gd name="T23" fmla="*/ 78 h 1392"/>
                <a:gd name="T24" fmla="*/ 15 w 2226"/>
                <a:gd name="T25" fmla="*/ 82 h 1392"/>
                <a:gd name="T26" fmla="*/ 8 w 2226"/>
                <a:gd name="T27" fmla="*/ 86 h 1392"/>
                <a:gd name="T28" fmla="*/ 1 w 2226"/>
                <a:gd name="T29" fmla="*/ 88 h 1392"/>
                <a:gd name="T30" fmla="*/ 0 w 2226"/>
                <a:gd name="T31" fmla="*/ 82 h 1392"/>
                <a:gd name="T32" fmla="*/ 0 w 2226"/>
                <a:gd name="T33" fmla="*/ 76 h 1392"/>
                <a:gd name="T34" fmla="*/ 2 w 2226"/>
                <a:gd name="T35" fmla="*/ 70 h 1392"/>
                <a:gd name="T36" fmla="*/ 3 w 2226"/>
                <a:gd name="T37" fmla="*/ 65 h 1392"/>
                <a:gd name="T38" fmla="*/ 2 w 2226"/>
                <a:gd name="T39" fmla="*/ 63 h 1392"/>
                <a:gd name="T40" fmla="*/ 9 w 2226"/>
                <a:gd name="T41" fmla="*/ 60 h 1392"/>
                <a:gd name="T42" fmla="*/ 17 w 2226"/>
                <a:gd name="T43" fmla="*/ 59 h 1392"/>
                <a:gd name="T44" fmla="*/ 22 w 2226"/>
                <a:gd name="T45" fmla="*/ 51 h 1392"/>
                <a:gd name="T46" fmla="*/ 23 w 2226"/>
                <a:gd name="T47" fmla="*/ 43 h 1392"/>
                <a:gd name="T48" fmla="*/ 27 w 2226"/>
                <a:gd name="T49" fmla="*/ 34 h 1392"/>
                <a:gd name="T50" fmla="*/ 30 w 2226"/>
                <a:gd name="T51" fmla="*/ 27 h 1392"/>
                <a:gd name="T52" fmla="*/ 33 w 2226"/>
                <a:gd name="T53" fmla="*/ 22 h 1392"/>
                <a:gd name="T54" fmla="*/ 42 w 2226"/>
                <a:gd name="T55" fmla="*/ 17 h 1392"/>
                <a:gd name="T56" fmla="*/ 47 w 2226"/>
                <a:gd name="T57" fmla="*/ 14 h 1392"/>
                <a:gd name="T58" fmla="*/ 49 w 2226"/>
                <a:gd name="T59" fmla="*/ 5 h 1392"/>
                <a:gd name="T60" fmla="*/ 53 w 2226"/>
                <a:gd name="T61" fmla="*/ 0 h 1392"/>
                <a:gd name="T62" fmla="*/ 55 w 2226"/>
                <a:gd name="T63" fmla="*/ 4 h 1392"/>
                <a:gd name="T64" fmla="*/ 59 w 2226"/>
                <a:gd name="T65" fmla="*/ 7 h 1392"/>
                <a:gd name="T66" fmla="*/ 63 w 2226"/>
                <a:gd name="T67" fmla="*/ 7 h 1392"/>
                <a:gd name="T68" fmla="*/ 66 w 2226"/>
                <a:gd name="T69" fmla="*/ 9 h 1392"/>
                <a:gd name="T70" fmla="*/ 67 w 2226"/>
                <a:gd name="T71" fmla="*/ 12 h 1392"/>
                <a:gd name="T72" fmla="*/ 67 w 2226"/>
                <a:gd name="T73" fmla="*/ 13 h 1392"/>
                <a:gd name="T74" fmla="*/ 70 w 2226"/>
                <a:gd name="T75" fmla="*/ 15 h 1392"/>
                <a:gd name="T76" fmla="*/ 74 w 2226"/>
                <a:gd name="T77" fmla="*/ 17 h 1392"/>
                <a:gd name="T78" fmla="*/ 78 w 2226"/>
                <a:gd name="T79" fmla="*/ 18 h 1392"/>
                <a:gd name="T80" fmla="*/ 97 w 2226"/>
                <a:gd name="T81" fmla="*/ 40 h 1392"/>
                <a:gd name="T82" fmla="*/ 102 w 2226"/>
                <a:gd name="T83" fmla="*/ 44 h 1392"/>
                <a:gd name="T84" fmla="*/ 110 w 2226"/>
                <a:gd name="T85" fmla="*/ 49 h 1392"/>
                <a:gd name="T86" fmla="*/ 113 w 2226"/>
                <a:gd name="T87" fmla="*/ 53 h 1392"/>
                <a:gd name="T88" fmla="*/ 118 w 2226"/>
                <a:gd name="T89" fmla="*/ 57 h 1392"/>
                <a:gd name="T90" fmla="*/ 124 w 2226"/>
                <a:gd name="T91" fmla="*/ 54 h 1392"/>
                <a:gd name="T92" fmla="*/ 133 w 2226"/>
                <a:gd name="T93" fmla="*/ 58 h 1392"/>
                <a:gd name="T94" fmla="*/ 137 w 2226"/>
                <a:gd name="T95" fmla="*/ 64 h 1392"/>
                <a:gd name="T96" fmla="*/ 145 w 2226"/>
                <a:gd name="T97" fmla="*/ 65 h 1392"/>
                <a:gd name="T98" fmla="*/ 152 w 2226"/>
                <a:gd name="T99" fmla="*/ 67 h 1392"/>
                <a:gd name="T100" fmla="*/ 161 w 2226"/>
                <a:gd name="T101" fmla="*/ 72 h 1392"/>
                <a:gd name="T102" fmla="*/ 168 w 2226"/>
                <a:gd name="T103" fmla="*/ 76 h 1392"/>
                <a:gd name="T104" fmla="*/ 177 w 2226"/>
                <a:gd name="T105" fmla="*/ 78 h 1392"/>
                <a:gd name="T106" fmla="*/ 184 w 2226"/>
                <a:gd name="T107" fmla="*/ 78 h 1392"/>
                <a:gd name="T108" fmla="*/ 190 w 2226"/>
                <a:gd name="T109" fmla="*/ 81 h 1392"/>
                <a:gd name="T110" fmla="*/ 192 w 2226"/>
                <a:gd name="T111" fmla="*/ 86 h 1392"/>
                <a:gd name="T112" fmla="*/ 187 w 2226"/>
                <a:gd name="T113" fmla="*/ 99 h 1392"/>
                <a:gd name="T114" fmla="*/ 165 w 2226"/>
                <a:gd name="T115" fmla="*/ 97 h 1392"/>
                <a:gd name="T116" fmla="*/ 155 w 2226"/>
                <a:gd name="T117" fmla="*/ 92 h 1392"/>
                <a:gd name="T118" fmla="*/ 146 w 2226"/>
                <a:gd name="T119" fmla="*/ 102 h 1392"/>
                <a:gd name="T120" fmla="*/ 149 w 2226"/>
                <a:gd name="T121" fmla="*/ 106 h 1392"/>
                <a:gd name="T122" fmla="*/ 151 w 2226"/>
                <a:gd name="T123" fmla="*/ 108 h 1392"/>
                <a:gd name="T124" fmla="*/ 157 w 2226"/>
                <a:gd name="T125" fmla="*/ 113 h 13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1392"/>
                <a:gd name="T191" fmla="*/ 2226 w 2226"/>
                <a:gd name="T192" fmla="*/ 1392 h 13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1392">
                  <a:moveTo>
                    <a:pt x="1782" y="1326"/>
                  </a:moveTo>
                  <a:lnTo>
                    <a:pt x="1776" y="1332"/>
                  </a:lnTo>
                  <a:lnTo>
                    <a:pt x="1692" y="1338"/>
                  </a:lnTo>
                  <a:lnTo>
                    <a:pt x="1680" y="1386"/>
                  </a:lnTo>
                  <a:lnTo>
                    <a:pt x="1674" y="1392"/>
                  </a:lnTo>
                  <a:lnTo>
                    <a:pt x="1638" y="1392"/>
                  </a:lnTo>
                  <a:lnTo>
                    <a:pt x="1620" y="1392"/>
                  </a:lnTo>
                  <a:lnTo>
                    <a:pt x="1614" y="1392"/>
                  </a:lnTo>
                  <a:lnTo>
                    <a:pt x="1608" y="1386"/>
                  </a:lnTo>
                  <a:lnTo>
                    <a:pt x="1584" y="1386"/>
                  </a:lnTo>
                  <a:lnTo>
                    <a:pt x="1578" y="1386"/>
                  </a:lnTo>
                  <a:lnTo>
                    <a:pt x="1572" y="1380"/>
                  </a:lnTo>
                  <a:lnTo>
                    <a:pt x="1578" y="1356"/>
                  </a:lnTo>
                  <a:lnTo>
                    <a:pt x="1572" y="1356"/>
                  </a:lnTo>
                  <a:lnTo>
                    <a:pt x="1560" y="1350"/>
                  </a:lnTo>
                  <a:lnTo>
                    <a:pt x="1554" y="1350"/>
                  </a:lnTo>
                  <a:lnTo>
                    <a:pt x="1542" y="1350"/>
                  </a:lnTo>
                  <a:lnTo>
                    <a:pt x="1530" y="1350"/>
                  </a:lnTo>
                  <a:lnTo>
                    <a:pt x="1524" y="1356"/>
                  </a:lnTo>
                  <a:lnTo>
                    <a:pt x="1524" y="1362"/>
                  </a:lnTo>
                  <a:lnTo>
                    <a:pt x="1512" y="1374"/>
                  </a:lnTo>
                  <a:lnTo>
                    <a:pt x="1506" y="1374"/>
                  </a:lnTo>
                  <a:lnTo>
                    <a:pt x="1500" y="1368"/>
                  </a:lnTo>
                  <a:lnTo>
                    <a:pt x="1500" y="1362"/>
                  </a:lnTo>
                  <a:lnTo>
                    <a:pt x="1488" y="1362"/>
                  </a:lnTo>
                  <a:lnTo>
                    <a:pt x="1482" y="1356"/>
                  </a:lnTo>
                  <a:lnTo>
                    <a:pt x="1482" y="1350"/>
                  </a:lnTo>
                  <a:lnTo>
                    <a:pt x="1476" y="1350"/>
                  </a:lnTo>
                  <a:lnTo>
                    <a:pt x="1470" y="1344"/>
                  </a:lnTo>
                  <a:lnTo>
                    <a:pt x="1464" y="1344"/>
                  </a:lnTo>
                  <a:lnTo>
                    <a:pt x="1452" y="1350"/>
                  </a:lnTo>
                  <a:lnTo>
                    <a:pt x="1452" y="1356"/>
                  </a:lnTo>
                  <a:lnTo>
                    <a:pt x="1440" y="1356"/>
                  </a:lnTo>
                  <a:lnTo>
                    <a:pt x="1434" y="1344"/>
                  </a:lnTo>
                  <a:lnTo>
                    <a:pt x="1422" y="1332"/>
                  </a:lnTo>
                  <a:lnTo>
                    <a:pt x="1416" y="1326"/>
                  </a:lnTo>
                  <a:lnTo>
                    <a:pt x="1404" y="1320"/>
                  </a:lnTo>
                  <a:lnTo>
                    <a:pt x="1404" y="1314"/>
                  </a:lnTo>
                  <a:lnTo>
                    <a:pt x="1374" y="1308"/>
                  </a:lnTo>
                  <a:lnTo>
                    <a:pt x="1368" y="1326"/>
                  </a:lnTo>
                  <a:lnTo>
                    <a:pt x="1344" y="1338"/>
                  </a:lnTo>
                  <a:lnTo>
                    <a:pt x="1326" y="1332"/>
                  </a:lnTo>
                  <a:lnTo>
                    <a:pt x="1302" y="1332"/>
                  </a:lnTo>
                  <a:lnTo>
                    <a:pt x="1278" y="1338"/>
                  </a:lnTo>
                  <a:lnTo>
                    <a:pt x="1236" y="1338"/>
                  </a:lnTo>
                  <a:lnTo>
                    <a:pt x="1224" y="1338"/>
                  </a:lnTo>
                  <a:lnTo>
                    <a:pt x="1224" y="1326"/>
                  </a:lnTo>
                  <a:lnTo>
                    <a:pt x="1206" y="1326"/>
                  </a:lnTo>
                  <a:lnTo>
                    <a:pt x="1170" y="1326"/>
                  </a:lnTo>
                  <a:lnTo>
                    <a:pt x="1152" y="1326"/>
                  </a:lnTo>
                  <a:lnTo>
                    <a:pt x="1140" y="1314"/>
                  </a:lnTo>
                  <a:lnTo>
                    <a:pt x="1134" y="1296"/>
                  </a:lnTo>
                  <a:lnTo>
                    <a:pt x="1134" y="1284"/>
                  </a:lnTo>
                  <a:lnTo>
                    <a:pt x="1128" y="1254"/>
                  </a:lnTo>
                  <a:lnTo>
                    <a:pt x="1128" y="1242"/>
                  </a:lnTo>
                  <a:lnTo>
                    <a:pt x="1122" y="1230"/>
                  </a:lnTo>
                  <a:lnTo>
                    <a:pt x="1104" y="1218"/>
                  </a:lnTo>
                  <a:lnTo>
                    <a:pt x="1104" y="1212"/>
                  </a:lnTo>
                  <a:lnTo>
                    <a:pt x="1092" y="1206"/>
                  </a:lnTo>
                  <a:lnTo>
                    <a:pt x="1080" y="1194"/>
                  </a:lnTo>
                  <a:lnTo>
                    <a:pt x="1068" y="1176"/>
                  </a:lnTo>
                  <a:lnTo>
                    <a:pt x="1050" y="1152"/>
                  </a:lnTo>
                  <a:lnTo>
                    <a:pt x="1020" y="1098"/>
                  </a:lnTo>
                  <a:lnTo>
                    <a:pt x="978" y="1026"/>
                  </a:lnTo>
                  <a:lnTo>
                    <a:pt x="978" y="1014"/>
                  </a:lnTo>
                  <a:lnTo>
                    <a:pt x="972" y="1014"/>
                  </a:lnTo>
                  <a:lnTo>
                    <a:pt x="972" y="1008"/>
                  </a:lnTo>
                  <a:lnTo>
                    <a:pt x="978" y="1002"/>
                  </a:lnTo>
                  <a:lnTo>
                    <a:pt x="960" y="966"/>
                  </a:lnTo>
                  <a:lnTo>
                    <a:pt x="948" y="954"/>
                  </a:lnTo>
                  <a:lnTo>
                    <a:pt x="948" y="936"/>
                  </a:lnTo>
                  <a:lnTo>
                    <a:pt x="936" y="900"/>
                  </a:lnTo>
                  <a:lnTo>
                    <a:pt x="942" y="876"/>
                  </a:lnTo>
                  <a:lnTo>
                    <a:pt x="942" y="834"/>
                  </a:lnTo>
                  <a:lnTo>
                    <a:pt x="960" y="828"/>
                  </a:lnTo>
                  <a:lnTo>
                    <a:pt x="966" y="816"/>
                  </a:lnTo>
                  <a:lnTo>
                    <a:pt x="972" y="810"/>
                  </a:lnTo>
                  <a:lnTo>
                    <a:pt x="978" y="804"/>
                  </a:lnTo>
                  <a:lnTo>
                    <a:pt x="996" y="798"/>
                  </a:lnTo>
                  <a:lnTo>
                    <a:pt x="996" y="792"/>
                  </a:lnTo>
                  <a:lnTo>
                    <a:pt x="1014" y="780"/>
                  </a:lnTo>
                  <a:lnTo>
                    <a:pt x="1026" y="768"/>
                  </a:lnTo>
                  <a:lnTo>
                    <a:pt x="1032" y="762"/>
                  </a:lnTo>
                  <a:lnTo>
                    <a:pt x="1026" y="756"/>
                  </a:lnTo>
                  <a:lnTo>
                    <a:pt x="1014" y="744"/>
                  </a:lnTo>
                  <a:lnTo>
                    <a:pt x="996" y="756"/>
                  </a:lnTo>
                  <a:lnTo>
                    <a:pt x="954" y="768"/>
                  </a:lnTo>
                  <a:lnTo>
                    <a:pt x="942" y="762"/>
                  </a:lnTo>
                  <a:lnTo>
                    <a:pt x="942" y="756"/>
                  </a:lnTo>
                  <a:lnTo>
                    <a:pt x="936" y="750"/>
                  </a:lnTo>
                  <a:lnTo>
                    <a:pt x="846" y="732"/>
                  </a:lnTo>
                  <a:lnTo>
                    <a:pt x="822" y="726"/>
                  </a:lnTo>
                  <a:lnTo>
                    <a:pt x="810" y="714"/>
                  </a:lnTo>
                  <a:lnTo>
                    <a:pt x="792" y="690"/>
                  </a:lnTo>
                  <a:lnTo>
                    <a:pt x="792" y="678"/>
                  </a:lnTo>
                  <a:lnTo>
                    <a:pt x="762" y="642"/>
                  </a:lnTo>
                  <a:lnTo>
                    <a:pt x="750" y="636"/>
                  </a:lnTo>
                  <a:lnTo>
                    <a:pt x="726" y="630"/>
                  </a:lnTo>
                  <a:lnTo>
                    <a:pt x="696" y="642"/>
                  </a:lnTo>
                  <a:lnTo>
                    <a:pt x="678" y="654"/>
                  </a:lnTo>
                  <a:lnTo>
                    <a:pt x="666" y="684"/>
                  </a:lnTo>
                  <a:lnTo>
                    <a:pt x="660" y="726"/>
                  </a:lnTo>
                  <a:lnTo>
                    <a:pt x="606" y="756"/>
                  </a:lnTo>
                  <a:lnTo>
                    <a:pt x="558" y="780"/>
                  </a:lnTo>
                  <a:lnTo>
                    <a:pt x="438" y="834"/>
                  </a:lnTo>
                  <a:lnTo>
                    <a:pt x="402" y="846"/>
                  </a:lnTo>
                  <a:lnTo>
                    <a:pt x="372" y="870"/>
                  </a:lnTo>
                  <a:lnTo>
                    <a:pt x="360" y="876"/>
                  </a:lnTo>
                  <a:lnTo>
                    <a:pt x="354" y="876"/>
                  </a:lnTo>
                  <a:lnTo>
                    <a:pt x="330" y="882"/>
                  </a:lnTo>
                  <a:lnTo>
                    <a:pt x="306" y="882"/>
                  </a:lnTo>
                  <a:lnTo>
                    <a:pt x="300" y="876"/>
                  </a:lnTo>
                  <a:lnTo>
                    <a:pt x="294" y="876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76" y="864"/>
                  </a:lnTo>
                  <a:lnTo>
                    <a:pt x="270" y="870"/>
                  </a:lnTo>
                  <a:lnTo>
                    <a:pt x="264" y="870"/>
                  </a:lnTo>
                  <a:lnTo>
                    <a:pt x="240" y="894"/>
                  </a:lnTo>
                  <a:lnTo>
                    <a:pt x="234" y="894"/>
                  </a:lnTo>
                  <a:lnTo>
                    <a:pt x="228" y="900"/>
                  </a:lnTo>
                  <a:lnTo>
                    <a:pt x="222" y="906"/>
                  </a:lnTo>
                  <a:lnTo>
                    <a:pt x="210" y="912"/>
                  </a:lnTo>
                  <a:lnTo>
                    <a:pt x="204" y="912"/>
                  </a:lnTo>
                  <a:lnTo>
                    <a:pt x="198" y="912"/>
                  </a:lnTo>
                  <a:lnTo>
                    <a:pt x="192" y="918"/>
                  </a:lnTo>
                  <a:lnTo>
                    <a:pt x="180" y="918"/>
                  </a:lnTo>
                  <a:lnTo>
                    <a:pt x="174" y="930"/>
                  </a:lnTo>
                  <a:lnTo>
                    <a:pt x="174" y="936"/>
                  </a:lnTo>
                  <a:lnTo>
                    <a:pt x="168" y="942"/>
                  </a:lnTo>
                  <a:lnTo>
                    <a:pt x="162" y="942"/>
                  </a:lnTo>
                  <a:lnTo>
                    <a:pt x="150" y="960"/>
                  </a:lnTo>
                  <a:lnTo>
                    <a:pt x="144" y="966"/>
                  </a:lnTo>
                  <a:lnTo>
                    <a:pt x="138" y="972"/>
                  </a:lnTo>
                  <a:lnTo>
                    <a:pt x="132" y="972"/>
                  </a:lnTo>
                  <a:lnTo>
                    <a:pt x="126" y="984"/>
                  </a:lnTo>
                  <a:lnTo>
                    <a:pt x="120" y="984"/>
                  </a:lnTo>
                  <a:lnTo>
                    <a:pt x="114" y="990"/>
                  </a:lnTo>
                  <a:lnTo>
                    <a:pt x="96" y="990"/>
                  </a:lnTo>
                  <a:lnTo>
                    <a:pt x="90" y="990"/>
                  </a:lnTo>
                  <a:lnTo>
                    <a:pt x="78" y="990"/>
                  </a:lnTo>
                  <a:lnTo>
                    <a:pt x="72" y="990"/>
                  </a:lnTo>
                  <a:lnTo>
                    <a:pt x="60" y="990"/>
                  </a:lnTo>
                  <a:lnTo>
                    <a:pt x="42" y="990"/>
                  </a:lnTo>
                  <a:lnTo>
                    <a:pt x="36" y="996"/>
                  </a:lnTo>
                  <a:lnTo>
                    <a:pt x="30" y="1002"/>
                  </a:lnTo>
                  <a:lnTo>
                    <a:pt x="24" y="1014"/>
                  </a:lnTo>
                  <a:lnTo>
                    <a:pt x="24" y="1020"/>
                  </a:lnTo>
                  <a:lnTo>
                    <a:pt x="18" y="1020"/>
                  </a:lnTo>
                  <a:lnTo>
                    <a:pt x="12" y="1014"/>
                  </a:lnTo>
                  <a:lnTo>
                    <a:pt x="12" y="1008"/>
                  </a:lnTo>
                  <a:lnTo>
                    <a:pt x="12" y="990"/>
                  </a:lnTo>
                  <a:lnTo>
                    <a:pt x="12" y="984"/>
                  </a:lnTo>
                  <a:lnTo>
                    <a:pt x="12" y="972"/>
                  </a:lnTo>
                  <a:lnTo>
                    <a:pt x="12" y="966"/>
                  </a:lnTo>
                  <a:lnTo>
                    <a:pt x="6" y="966"/>
                  </a:lnTo>
                  <a:lnTo>
                    <a:pt x="6" y="960"/>
                  </a:lnTo>
                  <a:lnTo>
                    <a:pt x="6" y="954"/>
                  </a:lnTo>
                  <a:lnTo>
                    <a:pt x="6" y="948"/>
                  </a:lnTo>
                  <a:lnTo>
                    <a:pt x="6" y="942"/>
                  </a:lnTo>
                  <a:lnTo>
                    <a:pt x="12" y="930"/>
                  </a:lnTo>
                  <a:lnTo>
                    <a:pt x="6" y="924"/>
                  </a:lnTo>
                  <a:lnTo>
                    <a:pt x="6" y="918"/>
                  </a:lnTo>
                  <a:lnTo>
                    <a:pt x="6" y="912"/>
                  </a:lnTo>
                  <a:lnTo>
                    <a:pt x="6" y="906"/>
                  </a:lnTo>
                  <a:lnTo>
                    <a:pt x="6" y="900"/>
                  </a:lnTo>
                  <a:lnTo>
                    <a:pt x="0" y="894"/>
                  </a:lnTo>
                  <a:lnTo>
                    <a:pt x="0" y="888"/>
                  </a:lnTo>
                  <a:lnTo>
                    <a:pt x="0" y="882"/>
                  </a:lnTo>
                  <a:lnTo>
                    <a:pt x="6" y="876"/>
                  </a:lnTo>
                  <a:lnTo>
                    <a:pt x="6" y="870"/>
                  </a:lnTo>
                  <a:lnTo>
                    <a:pt x="18" y="864"/>
                  </a:lnTo>
                  <a:lnTo>
                    <a:pt x="18" y="858"/>
                  </a:lnTo>
                  <a:lnTo>
                    <a:pt x="18" y="846"/>
                  </a:lnTo>
                  <a:lnTo>
                    <a:pt x="18" y="834"/>
                  </a:lnTo>
                  <a:lnTo>
                    <a:pt x="18" y="828"/>
                  </a:lnTo>
                  <a:lnTo>
                    <a:pt x="24" y="828"/>
                  </a:lnTo>
                  <a:lnTo>
                    <a:pt x="24" y="810"/>
                  </a:lnTo>
                  <a:lnTo>
                    <a:pt x="24" y="804"/>
                  </a:lnTo>
                  <a:lnTo>
                    <a:pt x="18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24" y="792"/>
                  </a:lnTo>
                  <a:lnTo>
                    <a:pt x="30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6" y="762"/>
                  </a:lnTo>
                  <a:lnTo>
                    <a:pt x="36" y="756"/>
                  </a:lnTo>
                  <a:lnTo>
                    <a:pt x="30" y="756"/>
                  </a:lnTo>
                  <a:lnTo>
                    <a:pt x="30" y="750"/>
                  </a:lnTo>
                  <a:lnTo>
                    <a:pt x="36" y="750"/>
                  </a:lnTo>
                  <a:lnTo>
                    <a:pt x="36" y="744"/>
                  </a:lnTo>
                  <a:lnTo>
                    <a:pt x="30" y="744"/>
                  </a:lnTo>
                  <a:lnTo>
                    <a:pt x="30" y="738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0" y="732"/>
                  </a:lnTo>
                  <a:lnTo>
                    <a:pt x="36" y="726"/>
                  </a:lnTo>
                  <a:lnTo>
                    <a:pt x="30" y="726"/>
                  </a:lnTo>
                  <a:lnTo>
                    <a:pt x="24" y="726"/>
                  </a:lnTo>
                  <a:lnTo>
                    <a:pt x="30" y="720"/>
                  </a:lnTo>
                  <a:lnTo>
                    <a:pt x="30" y="714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696"/>
                  </a:lnTo>
                  <a:lnTo>
                    <a:pt x="66" y="702"/>
                  </a:lnTo>
                  <a:lnTo>
                    <a:pt x="78" y="702"/>
                  </a:lnTo>
                  <a:lnTo>
                    <a:pt x="84" y="702"/>
                  </a:lnTo>
                  <a:lnTo>
                    <a:pt x="96" y="696"/>
                  </a:lnTo>
                  <a:lnTo>
                    <a:pt x="102" y="690"/>
                  </a:lnTo>
                  <a:lnTo>
                    <a:pt x="102" y="684"/>
                  </a:lnTo>
                  <a:lnTo>
                    <a:pt x="114" y="684"/>
                  </a:lnTo>
                  <a:lnTo>
                    <a:pt x="144" y="684"/>
                  </a:lnTo>
                  <a:lnTo>
                    <a:pt x="150" y="690"/>
                  </a:lnTo>
                  <a:lnTo>
                    <a:pt x="162" y="696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6" y="690"/>
                  </a:lnTo>
                  <a:lnTo>
                    <a:pt x="192" y="690"/>
                  </a:lnTo>
                  <a:lnTo>
                    <a:pt x="198" y="684"/>
                  </a:lnTo>
                  <a:lnTo>
                    <a:pt x="204" y="684"/>
                  </a:lnTo>
                  <a:lnTo>
                    <a:pt x="210" y="684"/>
                  </a:lnTo>
                  <a:lnTo>
                    <a:pt x="222" y="678"/>
                  </a:lnTo>
                  <a:lnTo>
                    <a:pt x="228" y="678"/>
                  </a:lnTo>
                  <a:lnTo>
                    <a:pt x="228" y="660"/>
                  </a:lnTo>
                  <a:lnTo>
                    <a:pt x="234" y="642"/>
                  </a:lnTo>
                  <a:lnTo>
                    <a:pt x="246" y="618"/>
                  </a:lnTo>
                  <a:lnTo>
                    <a:pt x="252" y="618"/>
                  </a:lnTo>
                  <a:lnTo>
                    <a:pt x="252" y="600"/>
                  </a:lnTo>
                  <a:lnTo>
                    <a:pt x="252" y="588"/>
                  </a:lnTo>
                  <a:lnTo>
                    <a:pt x="252" y="582"/>
                  </a:lnTo>
                  <a:lnTo>
                    <a:pt x="258" y="576"/>
                  </a:lnTo>
                  <a:lnTo>
                    <a:pt x="270" y="564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70" y="522"/>
                  </a:lnTo>
                  <a:lnTo>
                    <a:pt x="270" y="510"/>
                  </a:lnTo>
                  <a:lnTo>
                    <a:pt x="270" y="498"/>
                  </a:lnTo>
                  <a:lnTo>
                    <a:pt x="258" y="468"/>
                  </a:lnTo>
                  <a:lnTo>
                    <a:pt x="252" y="456"/>
                  </a:lnTo>
                  <a:lnTo>
                    <a:pt x="258" y="444"/>
                  </a:lnTo>
                  <a:lnTo>
                    <a:pt x="264" y="432"/>
                  </a:lnTo>
                  <a:lnTo>
                    <a:pt x="270" y="426"/>
                  </a:lnTo>
                  <a:lnTo>
                    <a:pt x="276" y="420"/>
                  </a:lnTo>
                  <a:lnTo>
                    <a:pt x="288" y="420"/>
                  </a:lnTo>
                  <a:lnTo>
                    <a:pt x="288" y="414"/>
                  </a:lnTo>
                  <a:lnTo>
                    <a:pt x="294" y="414"/>
                  </a:lnTo>
                  <a:lnTo>
                    <a:pt x="306" y="390"/>
                  </a:lnTo>
                  <a:lnTo>
                    <a:pt x="312" y="384"/>
                  </a:lnTo>
                  <a:lnTo>
                    <a:pt x="318" y="378"/>
                  </a:lnTo>
                  <a:lnTo>
                    <a:pt x="318" y="372"/>
                  </a:lnTo>
                  <a:lnTo>
                    <a:pt x="324" y="366"/>
                  </a:lnTo>
                  <a:lnTo>
                    <a:pt x="330" y="354"/>
                  </a:lnTo>
                  <a:lnTo>
                    <a:pt x="336" y="348"/>
                  </a:lnTo>
                  <a:lnTo>
                    <a:pt x="336" y="330"/>
                  </a:lnTo>
                  <a:lnTo>
                    <a:pt x="342" y="324"/>
                  </a:lnTo>
                  <a:lnTo>
                    <a:pt x="342" y="318"/>
                  </a:lnTo>
                  <a:lnTo>
                    <a:pt x="348" y="318"/>
                  </a:lnTo>
                  <a:lnTo>
                    <a:pt x="360" y="318"/>
                  </a:lnTo>
                  <a:lnTo>
                    <a:pt x="372" y="318"/>
                  </a:lnTo>
                  <a:lnTo>
                    <a:pt x="384" y="306"/>
                  </a:lnTo>
                  <a:lnTo>
                    <a:pt x="396" y="300"/>
                  </a:lnTo>
                  <a:lnTo>
                    <a:pt x="396" y="294"/>
                  </a:lnTo>
                  <a:lnTo>
                    <a:pt x="396" y="288"/>
                  </a:lnTo>
                  <a:lnTo>
                    <a:pt x="390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2"/>
                  </a:lnTo>
                  <a:lnTo>
                    <a:pt x="378" y="246"/>
                  </a:lnTo>
                  <a:lnTo>
                    <a:pt x="384" y="228"/>
                  </a:lnTo>
                  <a:lnTo>
                    <a:pt x="390" y="216"/>
                  </a:lnTo>
                  <a:lnTo>
                    <a:pt x="402" y="210"/>
                  </a:lnTo>
                  <a:lnTo>
                    <a:pt x="408" y="210"/>
                  </a:lnTo>
                  <a:lnTo>
                    <a:pt x="420" y="204"/>
                  </a:lnTo>
                  <a:lnTo>
                    <a:pt x="444" y="198"/>
                  </a:lnTo>
                  <a:lnTo>
                    <a:pt x="462" y="192"/>
                  </a:lnTo>
                  <a:lnTo>
                    <a:pt x="474" y="186"/>
                  </a:lnTo>
                  <a:lnTo>
                    <a:pt x="480" y="192"/>
                  </a:lnTo>
                  <a:lnTo>
                    <a:pt x="492" y="192"/>
                  </a:lnTo>
                  <a:lnTo>
                    <a:pt x="498" y="192"/>
                  </a:lnTo>
                  <a:lnTo>
                    <a:pt x="504" y="192"/>
                  </a:lnTo>
                  <a:lnTo>
                    <a:pt x="510" y="192"/>
                  </a:lnTo>
                  <a:lnTo>
                    <a:pt x="516" y="186"/>
                  </a:lnTo>
                  <a:lnTo>
                    <a:pt x="522" y="180"/>
                  </a:lnTo>
                  <a:lnTo>
                    <a:pt x="522" y="174"/>
                  </a:lnTo>
                  <a:lnTo>
                    <a:pt x="528" y="168"/>
                  </a:lnTo>
                  <a:lnTo>
                    <a:pt x="534" y="168"/>
                  </a:lnTo>
                  <a:lnTo>
                    <a:pt x="534" y="156"/>
                  </a:lnTo>
                  <a:lnTo>
                    <a:pt x="534" y="150"/>
                  </a:lnTo>
                  <a:lnTo>
                    <a:pt x="552" y="138"/>
                  </a:lnTo>
                  <a:lnTo>
                    <a:pt x="558" y="126"/>
                  </a:lnTo>
                  <a:lnTo>
                    <a:pt x="558" y="114"/>
                  </a:lnTo>
                  <a:lnTo>
                    <a:pt x="564" y="102"/>
                  </a:lnTo>
                  <a:lnTo>
                    <a:pt x="564" y="96"/>
                  </a:lnTo>
                  <a:lnTo>
                    <a:pt x="564" y="90"/>
                  </a:lnTo>
                  <a:lnTo>
                    <a:pt x="564" y="72"/>
                  </a:lnTo>
                  <a:lnTo>
                    <a:pt x="564" y="60"/>
                  </a:lnTo>
                  <a:lnTo>
                    <a:pt x="564" y="54"/>
                  </a:lnTo>
                  <a:lnTo>
                    <a:pt x="570" y="42"/>
                  </a:lnTo>
                  <a:lnTo>
                    <a:pt x="576" y="42"/>
                  </a:lnTo>
                  <a:lnTo>
                    <a:pt x="582" y="36"/>
                  </a:lnTo>
                  <a:lnTo>
                    <a:pt x="594" y="36"/>
                  </a:lnTo>
                  <a:lnTo>
                    <a:pt x="594" y="30"/>
                  </a:lnTo>
                  <a:lnTo>
                    <a:pt x="600" y="24"/>
                  </a:lnTo>
                  <a:lnTo>
                    <a:pt x="600" y="12"/>
                  </a:lnTo>
                  <a:lnTo>
                    <a:pt x="606" y="6"/>
                  </a:lnTo>
                  <a:lnTo>
                    <a:pt x="606" y="0"/>
                  </a:lnTo>
                  <a:lnTo>
                    <a:pt x="612" y="0"/>
                  </a:lnTo>
                  <a:lnTo>
                    <a:pt x="618" y="0"/>
                  </a:lnTo>
                  <a:lnTo>
                    <a:pt x="624" y="6"/>
                  </a:lnTo>
                  <a:lnTo>
                    <a:pt x="624" y="12"/>
                  </a:lnTo>
                  <a:lnTo>
                    <a:pt x="624" y="18"/>
                  </a:lnTo>
                  <a:lnTo>
                    <a:pt x="624" y="24"/>
                  </a:lnTo>
                  <a:lnTo>
                    <a:pt x="624" y="30"/>
                  </a:lnTo>
                  <a:lnTo>
                    <a:pt x="630" y="30"/>
                  </a:lnTo>
                  <a:lnTo>
                    <a:pt x="630" y="36"/>
                  </a:lnTo>
                  <a:lnTo>
                    <a:pt x="630" y="42"/>
                  </a:lnTo>
                  <a:lnTo>
                    <a:pt x="630" y="48"/>
                  </a:lnTo>
                  <a:lnTo>
                    <a:pt x="636" y="54"/>
                  </a:lnTo>
                  <a:lnTo>
                    <a:pt x="642" y="48"/>
                  </a:lnTo>
                  <a:lnTo>
                    <a:pt x="648" y="48"/>
                  </a:lnTo>
                  <a:lnTo>
                    <a:pt x="648" y="60"/>
                  </a:lnTo>
                  <a:lnTo>
                    <a:pt x="654" y="66"/>
                  </a:lnTo>
                  <a:lnTo>
                    <a:pt x="660" y="72"/>
                  </a:lnTo>
                  <a:lnTo>
                    <a:pt x="666" y="72"/>
                  </a:lnTo>
                  <a:lnTo>
                    <a:pt x="666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72" y="66"/>
                  </a:lnTo>
                  <a:lnTo>
                    <a:pt x="678" y="66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6" y="66"/>
                  </a:lnTo>
                  <a:lnTo>
                    <a:pt x="696" y="72"/>
                  </a:lnTo>
                  <a:lnTo>
                    <a:pt x="702" y="72"/>
                  </a:lnTo>
                  <a:lnTo>
                    <a:pt x="708" y="72"/>
                  </a:lnTo>
                  <a:lnTo>
                    <a:pt x="720" y="66"/>
                  </a:lnTo>
                  <a:lnTo>
                    <a:pt x="726" y="78"/>
                  </a:lnTo>
                  <a:lnTo>
                    <a:pt x="744" y="84"/>
                  </a:lnTo>
                  <a:lnTo>
                    <a:pt x="744" y="90"/>
                  </a:lnTo>
                  <a:lnTo>
                    <a:pt x="744" y="96"/>
                  </a:lnTo>
                  <a:lnTo>
                    <a:pt x="738" y="96"/>
                  </a:lnTo>
                  <a:lnTo>
                    <a:pt x="738" y="102"/>
                  </a:lnTo>
                  <a:lnTo>
                    <a:pt x="732" y="102"/>
                  </a:lnTo>
                  <a:lnTo>
                    <a:pt x="732" y="108"/>
                  </a:lnTo>
                  <a:lnTo>
                    <a:pt x="738" y="108"/>
                  </a:lnTo>
                  <a:lnTo>
                    <a:pt x="744" y="114"/>
                  </a:lnTo>
                  <a:lnTo>
                    <a:pt x="750" y="108"/>
                  </a:lnTo>
                  <a:lnTo>
                    <a:pt x="756" y="108"/>
                  </a:lnTo>
                  <a:lnTo>
                    <a:pt x="762" y="108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80" y="120"/>
                  </a:lnTo>
                  <a:lnTo>
                    <a:pt x="774" y="120"/>
                  </a:lnTo>
                  <a:lnTo>
                    <a:pt x="768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74" y="138"/>
                  </a:lnTo>
                  <a:lnTo>
                    <a:pt x="774" y="132"/>
                  </a:lnTo>
                  <a:lnTo>
                    <a:pt x="780" y="132"/>
                  </a:lnTo>
                  <a:lnTo>
                    <a:pt x="786" y="132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44"/>
                  </a:lnTo>
                  <a:lnTo>
                    <a:pt x="786" y="150"/>
                  </a:lnTo>
                  <a:lnTo>
                    <a:pt x="780" y="150"/>
                  </a:lnTo>
                  <a:lnTo>
                    <a:pt x="774" y="150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74" y="162"/>
                  </a:lnTo>
                  <a:lnTo>
                    <a:pt x="780" y="162"/>
                  </a:lnTo>
                  <a:lnTo>
                    <a:pt x="786" y="168"/>
                  </a:lnTo>
                  <a:lnTo>
                    <a:pt x="792" y="162"/>
                  </a:lnTo>
                  <a:lnTo>
                    <a:pt x="798" y="168"/>
                  </a:lnTo>
                  <a:lnTo>
                    <a:pt x="798" y="174"/>
                  </a:lnTo>
                  <a:lnTo>
                    <a:pt x="804" y="168"/>
                  </a:lnTo>
                  <a:lnTo>
                    <a:pt x="810" y="168"/>
                  </a:lnTo>
                  <a:lnTo>
                    <a:pt x="810" y="174"/>
                  </a:lnTo>
                  <a:lnTo>
                    <a:pt x="816" y="168"/>
                  </a:lnTo>
                  <a:lnTo>
                    <a:pt x="822" y="162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74"/>
                  </a:lnTo>
                  <a:lnTo>
                    <a:pt x="834" y="192"/>
                  </a:lnTo>
                  <a:lnTo>
                    <a:pt x="834" y="198"/>
                  </a:lnTo>
                  <a:lnTo>
                    <a:pt x="840" y="192"/>
                  </a:lnTo>
                  <a:lnTo>
                    <a:pt x="846" y="192"/>
                  </a:lnTo>
                  <a:lnTo>
                    <a:pt x="852" y="186"/>
                  </a:lnTo>
                  <a:lnTo>
                    <a:pt x="858" y="192"/>
                  </a:lnTo>
                  <a:lnTo>
                    <a:pt x="864" y="192"/>
                  </a:lnTo>
                  <a:lnTo>
                    <a:pt x="870" y="198"/>
                  </a:lnTo>
                  <a:lnTo>
                    <a:pt x="876" y="180"/>
                  </a:lnTo>
                  <a:lnTo>
                    <a:pt x="882" y="180"/>
                  </a:lnTo>
                  <a:lnTo>
                    <a:pt x="888" y="180"/>
                  </a:lnTo>
                  <a:lnTo>
                    <a:pt x="894" y="186"/>
                  </a:lnTo>
                  <a:lnTo>
                    <a:pt x="888" y="198"/>
                  </a:lnTo>
                  <a:lnTo>
                    <a:pt x="894" y="204"/>
                  </a:lnTo>
                  <a:lnTo>
                    <a:pt x="906" y="210"/>
                  </a:lnTo>
                  <a:lnTo>
                    <a:pt x="918" y="246"/>
                  </a:lnTo>
                  <a:lnTo>
                    <a:pt x="930" y="258"/>
                  </a:lnTo>
                  <a:lnTo>
                    <a:pt x="942" y="282"/>
                  </a:lnTo>
                  <a:lnTo>
                    <a:pt x="966" y="288"/>
                  </a:lnTo>
                  <a:lnTo>
                    <a:pt x="972" y="300"/>
                  </a:lnTo>
                  <a:lnTo>
                    <a:pt x="972" y="318"/>
                  </a:lnTo>
                  <a:lnTo>
                    <a:pt x="996" y="336"/>
                  </a:lnTo>
                  <a:lnTo>
                    <a:pt x="1050" y="390"/>
                  </a:lnTo>
                  <a:lnTo>
                    <a:pt x="1116" y="462"/>
                  </a:lnTo>
                  <a:lnTo>
                    <a:pt x="1122" y="468"/>
                  </a:lnTo>
                  <a:lnTo>
                    <a:pt x="1128" y="474"/>
                  </a:lnTo>
                  <a:lnTo>
                    <a:pt x="1140" y="474"/>
                  </a:lnTo>
                  <a:lnTo>
                    <a:pt x="1152" y="486"/>
                  </a:lnTo>
                  <a:lnTo>
                    <a:pt x="1152" y="492"/>
                  </a:lnTo>
                  <a:lnTo>
                    <a:pt x="1158" y="492"/>
                  </a:lnTo>
                  <a:lnTo>
                    <a:pt x="1164" y="492"/>
                  </a:lnTo>
                  <a:lnTo>
                    <a:pt x="1170" y="504"/>
                  </a:lnTo>
                  <a:lnTo>
                    <a:pt x="1176" y="504"/>
                  </a:lnTo>
                  <a:lnTo>
                    <a:pt x="1176" y="510"/>
                  </a:lnTo>
                  <a:lnTo>
                    <a:pt x="1200" y="516"/>
                  </a:lnTo>
                  <a:lnTo>
                    <a:pt x="1200" y="522"/>
                  </a:lnTo>
                  <a:lnTo>
                    <a:pt x="1212" y="534"/>
                  </a:lnTo>
                  <a:lnTo>
                    <a:pt x="1218" y="540"/>
                  </a:lnTo>
                  <a:lnTo>
                    <a:pt x="1224" y="552"/>
                  </a:lnTo>
                  <a:lnTo>
                    <a:pt x="1230" y="552"/>
                  </a:lnTo>
                  <a:lnTo>
                    <a:pt x="1242" y="552"/>
                  </a:lnTo>
                  <a:lnTo>
                    <a:pt x="1248" y="558"/>
                  </a:lnTo>
                  <a:lnTo>
                    <a:pt x="1254" y="558"/>
                  </a:lnTo>
                  <a:lnTo>
                    <a:pt x="1260" y="564"/>
                  </a:lnTo>
                  <a:lnTo>
                    <a:pt x="1266" y="564"/>
                  </a:lnTo>
                  <a:lnTo>
                    <a:pt x="1272" y="564"/>
                  </a:lnTo>
                  <a:lnTo>
                    <a:pt x="1284" y="564"/>
                  </a:lnTo>
                  <a:lnTo>
                    <a:pt x="1290" y="570"/>
                  </a:lnTo>
                  <a:lnTo>
                    <a:pt x="1296" y="576"/>
                  </a:lnTo>
                  <a:lnTo>
                    <a:pt x="1302" y="588"/>
                  </a:lnTo>
                  <a:lnTo>
                    <a:pt x="1296" y="594"/>
                  </a:lnTo>
                  <a:lnTo>
                    <a:pt x="1296" y="600"/>
                  </a:lnTo>
                  <a:lnTo>
                    <a:pt x="1296" y="606"/>
                  </a:lnTo>
                  <a:lnTo>
                    <a:pt x="1290" y="612"/>
                  </a:lnTo>
                  <a:lnTo>
                    <a:pt x="1290" y="624"/>
                  </a:lnTo>
                  <a:lnTo>
                    <a:pt x="1290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308" y="654"/>
                  </a:lnTo>
                  <a:lnTo>
                    <a:pt x="1320" y="654"/>
                  </a:lnTo>
                  <a:lnTo>
                    <a:pt x="1326" y="660"/>
                  </a:lnTo>
                  <a:lnTo>
                    <a:pt x="1338" y="654"/>
                  </a:lnTo>
                  <a:lnTo>
                    <a:pt x="1344" y="654"/>
                  </a:lnTo>
                  <a:lnTo>
                    <a:pt x="1356" y="654"/>
                  </a:lnTo>
                  <a:lnTo>
                    <a:pt x="1362" y="648"/>
                  </a:lnTo>
                  <a:lnTo>
                    <a:pt x="1368" y="642"/>
                  </a:lnTo>
                  <a:lnTo>
                    <a:pt x="1374" y="636"/>
                  </a:lnTo>
                  <a:lnTo>
                    <a:pt x="1380" y="636"/>
                  </a:lnTo>
                  <a:lnTo>
                    <a:pt x="1392" y="636"/>
                  </a:lnTo>
                  <a:lnTo>
                    <a:pt x="1398" y="636"/>
                  </a:lnTo>
                  <a:lnTo>
                    <a:pt x="1404" y="636"/>
                  </a:lnTo>
                  <a:lnTo>
                    <a:pt x="1410" y="630"/>
                  </a:lnTo>
                  <a:lnTo>
                    <a:pt x="1410" y="624"/>
                  </a:lnTo>
                  <a:lnTo>
                    <a:pt x="1422" y="618"/>
                  </a:lnTo>
                  <a:lnTo>
                    <a:pt x="1428" y="618"/>
                  </a:lnTo>
                  <a:lnTo>
                    <a:pt x="1440" y="612"/>
                  </a:lnTo>
                  <a:lnTo>
                    <a:pt x="1446" y="612"/>
                  </a:lnTo>
                  <a:lnTo>
                    <a:pt x="1458" y="612"/>
                  </a:lnTo>
                  <a:lnTo>
                    <a:pt x="1470" y="624"/>
                  </a:lnTo>
                  <a:lnTo>
                    <a:pt x="1488" y="642"/>
                  </a:lnTo>
                  <a:lnTo>
                    <a:pt x="1500" y="648"/>
                  </a:lnTo>
                  <a:lnTo>
                    <a:pt x="1512" y="654"/>
                  </a:lnTo>
                  <a:lnTo>
                    <a:pt x="1518" y="660"/>
                  </a:lnTo>
                  <a:lnTo>
                    <a:pt x="1524" y="660"/>
                  </a:lnTo>
                  <a:lnTo>
                    <a:pt x="1530" y="660"/>
                  </a:lnTo>
                  <a:lnTo>
                    <a:pt x="1536" y="666"/>
                  </a:lnTo>
                  <a:lnTo>
                    <a:pt x="1542" y="672"/>
                  </a:lnTo>
                  <a:lnTo>
                    <a:pt x="1548" y="672"/>
                  </a:lnTo>
                  <a:lnTo>
                    <a:pt x="1554" y="684"/>
                  </a:lnTo>
                  <a:lnTo>
                    <a:pt x="1554" y="690"/>
                  </a:lnTo>
                  <a:lnTo>
                    <a:pt x="1566" y="702"/>
                  </a:lnTo>
                  <a:lnTo>
                    <a:pt x="1572" y="720"/>
                  </a:lnTo>
                  <a:lnTo>
                    <a:pt x="1572" y="726"/>
                  </a:lnTo>
                  <a:lnTo>
                    <a:pt x="1578" y="732"/>
                  </a:lnTo>
                  <a:lnTo>
                    <a:pt x="1584" y="738"/>
                  </a:lnTo>
                  <a:lnTo>
                    <a:pt x="1590" y="738"/>
                  </a:lnTo>
                  <a:lnTo>
                    <a:pt x="1596" y="738"/>
                  </a:lnTo>
                  <a:lnTo>
                    <a:pt x="1602" y="744"/>
                  </a:lnTo>
                  <a:lnTo>
                    <a:pt x="1608" y="744"/>
                  </a:lnTo>
                  <a:lnTo>
                    <a:pt x="1614" y="744"/>
                  </a:lnTo>
                  <a:lnTo>
                    <a:pt x="1626" y="744"/>
                  </a:lnTo>
                  <a:lnTo>
                    <a:pt x="1638" y="744"/>
                  </a:lnTo>
                  <a:lnTo>
                    <a:pt x="1650" y="744"/>
                  </a:lnTo>
                  <a:lnTo>
                    <a:pt x="1662" y="744"/>
                  </a:lnTo>
                  <a:lnTo>
                    <a:pt x="1668" y="744"/>
                  </a:lnTo>
                  <a:lnTo>
                    <a:pt x="1674" y="744"/>
                  </a:lnTo>
                  <a:lnTo>
                    <a:pt x="1686" y="744"/>
                  </a:lnTo>
                  <a:lnTo>
                    <a:pt x="1698" y="750"/>
                  </a:lnTo>
                  <a:lnTo>
                    <a:pt x="1704" y="750"/>
                  </a:lnTo>
                  <a:lnTo>
                    <a:pt x="1716" y="756"/>
                  </a:lnTo>
                  <a:lnTo>
                    <a:pt x="1722" y="756"/>
                  </a:lnTo>
                  <a:lnTo>
                    <a:pt x="1728" y="756"/>
                  </a:lnTo>
                  <a:lnTo>
                    <a:pt x="1734" y="762"/>
                  </a:lnTo>
                  <a:lnTo>
                    <a:pt x="1740" y="768"/>
                  </a:lnTo>
                  <a:lnTo>
                    <a:pt x="1758" y="780"/>
                  </a:lnTo>
                  <a:lnTo>
                    <a:pt x="1770" y="780"/>
                  </a:lnTo>
                  <a:lnTo>
                    <a:pt x="1776" y="780"/>
                  </a:lnTo>
                  <a:lnTo>
                    <a:pt x="1782" y="780"/>
                  </a:lnTo>
                  <a:lnTo>
                    <a:pt x="1800" y="798"/>
                  </a:lnTo>
                  <a:lnTo>
                    <a:pt x="1818" y="810"/>
                  </a:lnTo>
                  <a:lnTo>
                    <a:pt x="1830" y="816"/>
                  </a:lnTo>
                  <a:lnTo>
                    <a:pt x="1836" y="822"/>
                  </a:lnTo>
                  <a:lnTo>
                    <a:pt x="1836" y="828"/>
                  </a:lnTo>
                  <a:lnTo>
                    <a:pt x="1842" y="828"/>
                  </a:lnTo>
                  <a:lnTo>
                    <a:pt x="1848" y="834"/>
                  </a:lnTo>
                  <a:lnTo>
                    <a:pt x="1854" y="840"/>
                  </a:lnTo>
                  <a:lnTo>
                    <a:pt x="1860" y="846"/>
                  </a:lnTo>
                  <a:lnTo>
                    <a:pt x="1872" y="852"/>
                  </a:lnTo>
                  <a:lnTo>
                    <a:pt x="1884" y="852"/>
                  </a:lnTo>
                  <a:lnTo>
                    <a:pt x="1896" y="852"/>
                  </a:lnTo>
                  <a:lnTo>
                    <a:pt x="1902" y="846"/>
                  </a:lnTo>
                  <a:lnTo>
                    <a:pt x="1908" y="852"/>
                  </a:lnTo>
                  <a:lnTo>
                    <a:pt x="1920" y="858"/>
                  </a:lnTo>
                  <a:lnTo>
                    <a:pt x="1926" y="870"/>
                  </a:lnTo>
                  <a:lnTo>
                    <a:pt x="1938" y="888"/>
                  </a:lnTo>
                  <a:lnTo>
                    <a:pt x="1944" y="900"/>
                  </a:lnTo>
                  <a:lnTo>
                    <a:pt x="1950" y="900"/>
                  </a:lnTo>
                  <a:lnTo>
                    <a:pt x="1962" y="906"/>
                  </a:lnTo>
                  <a:lnTo>
                    <a:pt x="1968" y="906"/>
                  </a:lnTo>
                  <a:lnTo>
                    <a:pt x="1980" y="906"/>
                  </a:lnTo>
                  <a:lnTo>
                    <a:pt x="1998" y="906"/>
                  </a:lnTo>
                  <a:lnTo>
                    <a:pt x="2010" y="900"/>
                  </a:lnTo>
                  <a:lnTo>
                    <a:pt x="2022" y="900"/>
                  </a:lnTo>
                  <a:lnTo>
                    <a:pt x="2028" y="900"/>
                  </a:lnTo>
                  <a:lnTo>
                    <a:pt x="2034" y="906"/>
                  </a:lnTo>
                  <a:lnTo>
                    <a:pt x="2046" y="906"/>
                  </a:lnTo>
                  <a:lnTo>
                    <a:pt x="2052" y="900"/>
                  </a:lnTo>
                  <a:lnTo>
                    <a:pt x="2058" y="900"/>
                  </a:lnTo>
                  <a:lnTo>
                    <a:pt x="2064" y="900"/>
                  </a:lnTo>
                  <a:lnTo>
                    <a:pt x="2070" y="900"/>
                  </a:lnTo>
                  <a:lnTo>
                    <a:pt x="2076" y="900"/>
                  </a:lnTo>
                  <a:lnTo>
                    <a:pt x="2076" y="906"/>
                  </a:lnTo>
                  <a:lnTo>
                    <a:pt x="2088" y="906"/>
                  </a:lnTo>
                  <a:lnTo>
                    <a:pt x="2106" y="900"/>
                  </a:lnTo>
                  <a:lnTo>
                    <a:pt x="2118" y="900"/>
                  </a:lnTo>
                  <a:lnTo>
                    <a:pt x="2130" y="900"/>
                  </a:lnTo>
                  <a:lnTo>
                    <a:pt x="2142" y="900"/>
                  </a:lnTo>
                  <a:lnTo>
                    <a:pt x="2148" y="906"/>
                  </a:lnTo>
                  <a:lnTo>
                    <a:pt x="2154" y="906"/>
                  </a:lnTo>
                  <a:lnTo>
                    <a:pt x="2160" y="906"/>
                  </a:lnTo>
                  <a:lnTo>
                    <a:pt x="2166" y="906"/>
                  </a:lnTo>
                  <a:lnTo>
                    <a:pt x="2178" y="918"/>
                  </a:lnTo>
                  <a:lnTo>
                    <a:pt x="2178" y="924"/>
                  </a:lnTo>
                  <a:lnTo>
                    <a:pt x="2184" y="924"/>
                  </a:lnTo>
                  <a:lnTo>
                    <a:pt x="2190" y="924"/>
                  </a:lnTo>
                  <a:lnTo>
                    <a:pt x="2196" y="924"/>
                  </a:lnTo>
                  <a:lnTo>
                    <a:pt x="2202" y="918"/>
                  </a:lnTo>
                  <a:lnTo>
                    <a:pt x="2208" y="918"/>
                  </a:lnTo>
                  <a:lnTo>
                    <a:pt x="2214" y="918"/>
                  </a:lnTo>
                  <a:lnTo>
                    <a:pt x="2226" y="918"/>
                  </a:lnTo>
                  <a:lnTo>
                    <a:pt x="2220" y="948"/>
                  </a:lnTo>
                  <a:lnTo>
                    <a:pt x="2214" y="972"/>
                  </a:lnTo>
                  <a:lnTo>
                    <a:pt x="2214" y="984"/>
                  </a:lnTo>
                  <a:lnTo>
                    <a:pt x="2208" y="990"/>
                  </a:lnTo>
                  <a:lnTo>
                    <a:pt x="2208" y="996"/>
                  </a:lnTo>
                  <a:lnTo>
                    <a:pt x="2202" y="996"/>
                  </a:lnTo>
                  <a:lnTo>
                    <a:pt x="2196" y="996"/>
                  </a:lnTo>
                  <a:lnTo>
                    <a:pt x="2190" y="1008"/>
                  </a:lnTo>
                  <a:lnTo>
                    <a:pt x="2172" y="1074"/>
                  </a:lnTo>
                  <a:lnTo>
                    <a:pt x="2166" y="1092"/>
                  </a:lnTo>
                  <a:lnTo>
                    <a:pt x="2172" y="1110"/>
                  </a:lnTo>
                  <a:lnTo>
                    <a:pt x="2172" y="1122"/>
                  </a:lnTo>
                  <a:lnTo>
                    <a:pt x="2166" y="1134"/>
                  </a:lnTo>
                  <a:lnTo>
                    <a:pt x="2148" y="1140"/>
                  </a:lnTo>
                  <a:lnTo>
                    <a:pt x="2148" y="1134"/>
                  </a:lnTo>
                  <a:lnTo>
                    <a:pt x="2118" y="1140"/>
                  </a:lnTo>
                  <a:lnTo>
                    <a:pt x="2088" y="1134"/>
                  </a:lnTo>
                  <a:lnTo>
                    <a:pt x="2064" y="1122"/>
                  </a:lnTo>
                  <a:lnTo>
                    <a:pt x="2034" y="1122"/>
                  </a:lnTo>
                  <a:lnTo>
                    <a:pt x="2022" y="1128"/>
                  </a:lnTo>
                  <a:lnTo>
                    <a:pt x="1986" y="1128"/>
                  </a:lnTo>
                  <a:lnTo>
                    <a:pt x="1938" y="1122"/>
                  </a:lnTo>
                  <a:lnTo>
                    <a:pt x="1932" y="1116"/>
                  </a:lnTo>
                  <a:lnTo>
                    <a:pt x="1896" y="1110"/>
                  </a:lnTo>
                  <a:lnTo>
                    <a:pt x="1878" y="1104"/>
                  </a:lnTo>
                  <a:lnTo>
                    <a:pt x="1866" y="1098"/>
                  </a:lnTo>
                  <a:lnTo>
                    <a:pt x="1860" y="1098"/>
                  </a:lnTo>
                  <a:lnTo>
                    <a:pt x="1854" y="1092"/>
                  </a:lnTo>
                  <a:lnTo>
                    <a:pt x="1860" y="1092"/>
                  </a:lnTo>
                  <a:lnTo>
                    <a:pt x="1860" y="1086"/>
                  </a:lnTo>
                  <a:lnTo>
                    <a:pt x="1854" y="1086"/>
                  </a:lnTo>
                  <a:lnTo>
                    <a:pt x="1842" y="1080"/>
                  </a:lnTo>
                  <a:lnTo>
                    <a:pt x="1818" y="1062"/>
                  </a:lnTo>
                  <a:lnTo>
                    <a:pt x="1782" y="1056"/>
                  </a:lnTo>
                  <a:lnTo>
                    <a:pt x="1770" y="1068"/>
                  </a:lnTo>
                  <a:lnTo>
                    <a:pt x="1746" y="1098"/>
                  </a:lnTo>
                  <a:lnTo>
                    <a:pt x="1722" y="1104"/>
                  </a:lnTo>
                  <a:lnTo>
                    <a:pt x="1710" y="1122"/>
                  </a:lnTo>
                  <a:lnTo>
                    <a:pt x="1710" y="1128"/>
                  </a:lnTo>
                  <a:lnTo>
                    <a:pt x="1710" y="1140"/>
                  </a:lnTo>
                  <a:lnTo>
                    <a:pt x="1698" y="1146"/>
                  </a:lnTo>
                  <a:lnTo>
                    <a:pt x="1686" y="1152"/>
                  </a:lnTo>
                  <a:lnTo>
                    <a:pt x="1680" y="1164"/>
                  </a:lnTo>
                  <a:lnTo>
                    <a:pt x="1680" y="1170"/>
                  </a:lnTo>
                  <a:lnTo>
                    <a:pt x="1686" y="1170"/>
                  </a:lnTo>
                  <a:lnTo>
                    <a:pt x="1686" y="1176"/>
                  </a:lnTo>
                  <a:lnTo>
                    <a:pt x="1698" y="1188"/>
                  </a:lnTo>
                  <a:lnTo>
                    <a:pt x="1704" y="1188"/>
                  </a:lnTo>
                  <a:lnTo>
                    <a:pt x="1698" y="1194"/>
                  </a:lnTo>
                  <a:lnTo>
                    <a:pt x="1704" y="1194"/>
                  </a:lnTo>
                  <a:lnTo>
                    <a:pt x="1704" y="1200"/>
                  </a:lnTo>
                  <a:lnTo>
                    <a:pt x="1704" y="1206"/>
                  </a:lnTo>
                  <a:lnTo>
                    <a:pt x="1704" y="1212"/>
                  </a:lnTo>
                  <a:lnTo>
                    <a:pt x="1704" y="1218"/>
                  </a:lnTo>
                  <a:lnTo>
                    <a:pt x="1710" y="1218"/>
                  </a:lnTo>
                  <a:lnTo>
                    <a:pt x="1710" y="1212"/>
                  </a:lnTo>
                  <a:lnTo>
                    <a:pt x="1716" y="1212"/>
                  </a:lnTo>
                  <a:lnTo>
                    <a:pt x="1716" y="1218"/>
                  </a:lnTo>
                  <a:lnTo>
                    <a:pt x="1716" y="1224"/>
                  </a:lnTo>
                  <a:lnTo>
                    <a:pt x="1716" y="1230"/>
                  </a:lnTo>
                  <a:lnTo>
                    <a:pt x="1722" y="1236"/>
                  </a:lnTo>
                  <a:lnTo>
                    <a:pt x="1740" y="1230"/>
                  </a:lnTo>
                  <a:lnTo>
                    <a:pt x="1734" y="1236"/>
                  </a:lnTo>
                  <a:lnTo>
                    <a:pt x="1734" y="1242"/>
                  </a:lnTo>
                  <a:lnTo>
                    <a:pt x="1734" y="1248"/>
                  </a:lnTo>
                  <a:lnTo>
                    <a:pt x="1734" y="1254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52" y="1266"/>
                  </a:lnTo>
                  <a:lnTo>
                    <a:pt x="1764" y="1266"/>
                  </a:lnTo>
                  <a:lnTo>
                    <a:pt x="1788" y="1260"/>
                  </a:lnTo>
                  <a:lnTo>
                    <a:pt x="1800" y="1260"/>
                  </a:lnTo>
                  <a:lnTo>
                    <a:pt x="1806" y="1272"/>
                  </a:lnTo>
                  <a:lnTo>
                    <a:pt x="1806" y="1296"/>
                  </a:lnTo>
                  <a:lnTo>
                    <a:pt x="1800" y="1308"/>
                  </a:lnTo>
                  <a:lnTo>
                    <a:pt x="1788" y="1308"/>
                  </a:lnTo>
                  <a:lnTo>
                    <a:pt x="1782" y="13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7" name="Freeform 32">
              <a:extLst>
                <a:ext uri="{FF2B5EF4-FFF2-40B4-BE49-F238E27FC236}">
                  <a16:creationId xmlns:a16="http://schemas.microsoft.com/office/drawing/2014/main" id="{1EF84438-BF7A-47D2-9156-E231EA2A279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3295" y="2316568"/>
              <a:ext cx="1290281" cy="1084704"/>
            </a:xfrm>
            <a:custGeom>
              <a:avLst/>
              <a:gdLst>
                <a:gd name="T0" fmla="*/ 177 w 2430"/>
                <a:gd name="T1" fmla="*/ 169 h 2040"/>
                <a:gd name="T2" fmla="*/ 174 w 2430"/>
                <a:gd name="T3" fmla="*/ 173 h 2040"/>
                <a:gd name="T4" fmla="*/ 169 w 2430"/>
                <a:gd name="T5" fmla="*/ 171 h 2040"/>
                <a:gd name="T6" fmla="*/ 160 w 2430"/>
                <a:gd name="T7" fmla="*/ 163 h 2040"/>
                <a:gd name="T8" fmla="*/ 154 w 2430"/>
                <a:gd name="T9" fmla="*/ 149 h 2040"/>
                <a:gd name="T10" fmla="*/ 144 w 2430"/>
                <a:gd name="T11" fmla="*/ 147 h 2040"/>
                <a:gd name="T12" fmla="*/ 133 w 2430"/>
                <a:gd name="T13" fmla="*/ 146 h 2040"/>
                <a:gd name="T14" fmla="*/ 121 w 2430"/>
                <a:gd name="T15" fmla="*/ 145 h 2040"/>
                <a:gd name="T16" fmla="*/ 110 w 2430"/>
                <a:gd name="T17" fmla="*/ 137 h 2040"/>
                <a:gd name="T18" fmla="*/ 97 w 2430"/>
                <a:gd name="T19" fmla="*/ 131 h 2040"/>
                <a:gd name="T20" fmla="*/ 87 w 2430"/>
                <a:gd name="T21" fmla="*/ 125 h 2040"/>
                <a:gd name="T22" fmla="*/ 75 w 2430"/>
                <a:gd name="T23" fmla="*/ 122 h 2040"/>
                <a:gd name="T24" fmla="*/ 65 w 2430"/>
                <a:gd name="T25" fmla="*/ 122 h 2040"/>
                <a:gd name="T26" fmla="*/ 59 w 2430"/>
                <a:gd name="T27" fmla="*/ 115 h 2040"/>
                <a:gd name="T28" fmla="*/ 50 w 2430"/>
                <a:gd name="T29" fmla="*/ 107 h 2040"/>
                <a:gd name="T30" fmla="*/ 28 w 2430"/>
                <a:gd name="T31" fmla="*/ 84 h 2040"/>
                <a:gd name="T32" fmla="*/ 22 w 2430"/>
                <a:gd name="T33" fmla="*/ 82 h 2040"/>
                <a:gd name="T34" fmla="*/ 20 w 2430"/>
                <a:gd name="T35" fmla="*/ 79 h 2040"/>
                <a:gd name="T36" fmla="*/ 16 w 2430"/>
                <a:gd name="T37" fmla="*/ 76 h 2040"/>
                <a:gd name="T38" fmla="*/ 11 w 2430"/>
                <a:gd name="T39" fmla="*/ 74 h 2040"/>
                <a:gd name="T40" fmla="*/ 7 w 2430"/>
                <a:gd name="T41" fmla="*/ 69 h 2040"/>
                <a:gd name="T42" fmla="*/ 0 w 2430"/>
                <a:gd name="T43" fmla="*/ 60 h 2040"/>
                <a:gd name="T44" fmla="*/ 10 w 2430"/>
                <a:gd name="T45" fmla="*/ 53 h 2040"/>
                <a:gd name="T46" fmla="*/ 15 w 2430"/>
                <a:gd name="T47" fmla="*/ 40 h 2040"/>
                <a:gd name="T48" fmla="*/ 9 w 2430"/>
                <a:gd name="T49" fmla="*/ 29 h 2040"/>
                <a:gd name="T50" fmla="*/ 7 w 2430"/>
                <a:gd name="T51" fmla="*/ 16 h 2040"/>
                <a:gd name="T52" fmla="*/ 18 w 2430"/>
                <a:gd name="T53" fmla="*/ 21 h 2040"/>
                <a:gd name="T54" fmla="*/ 48 w 2430"/>
                <a:gd name="T55" fmla="*/ 27 h 2040"/>
                <a:gd name="T56" fmla="*/ 62 w 2430"/>
                <a:gd name="T57" fmla="*/ 25 h 2040"/>
                <a:gd name="T58" fmla="*/ 59 w 2430"/>
                <a:gd name="T59" fmla="*/ 42 h 2040"/>
                <a:gd name="T60" fmla="*/ 54 w 2430"/>
                <a:gd name="T61" fmla="*/ 65 h 2040"/>
                <a:gd name="T62" fmla="*/ 65 w 2430"/>
                <a:gd name="T63" fmla="*/ 60 h 2040"/>
                <a:gd name="T64" fmla="*/ 68 w 2430"/>
                <a:gd name="T65" fmla="*/ 40 h 2040"/>
                <a:gd name="T66" fmla="*/ 75 w 2430"/>
                <a:gd name="T67" fmla="*/ 36 h 2040"/>
                <a:gd name="T68" fmla="*/ 83 w 2430"/>
                <a:gd name="T69" fmla="*/ 29 h 2040"/>
                <a:gd name="T70" fmla="*/ 81 w 2430"/>
                <a:gd name="T71" fmla="*/ 17 h 2040"/>
                <a:gd name="T72" fmla="*/ 66 w 2430"/>
                <a:gd name="T73" fmla="*/ 7 h 2040"/>
                <a:gd name="T74" fmla="*/ 80 w 2430"/>
                <a:gd name="T75" fmla="*/ 5 h 2040"/>
                <a:gd name="T76" fmla="*/ 89 w 2430"/>
                <a:gd name="T77" fmla="*/ 1 h 2040"/>
                <a:gd name="T78" fmla="*/ 101 w 2430"/>
                <a:gd name="T79" fmla="*/ 10 h 2040"/>
                <a:gd name="T80" fmla="*/ 103 w 2430"/>
                <a:gd name="T81" fmla="*/ 18 h 2040"/>
                <a:gd name="T82" fmla="*/ 110 w 2430"/>
                <a:gd name="T83" fmla="*/ 23 h 2040"/>
                <a:gd name="T84" fmla="*/ 121 w 2430"/>
                <a:gd name="T85" fmla="*/ 20 h 2040"/>
                <a:gd name="T86" fmla="*/ 129 w 2430"/>
                <a:gd name="T87" fmla="*/ 15 h 2040"/>
                <a:gd name="T88" fmla="*/ 142 w 2430"/>
                <a:gd name="T89" fmla="*/ 23 h 2040"/>
                <a:gd name="T90" fmla="*/ 141 w 2430"/>
                <a:gd name="T91" fmla="*/ 30 h 2040"/>
                <a:gd name="T92" fmla="*/ 140 w 2430"/>
                <a:gd name="T93" fmla="*/ 38 h 2040"/>
                <a:gd name="T94" fmla="*/ 139 w 2430"/>
                <a:gd name="T95" fmla="*/ 46 h 2040"/>
                <a:gd name="T96" fmla="*/ 147 w 2430"/>
                <a:gd name="T97" fmla="*/ 54 h 2040"/>
                <a:gd name="T98" fmla="*/ 152 w 2430"/>
                <a:gd name="T99" fmla="*/ 50 h 2040"/>
                <a:gd name="T100" fmla="*/ 159 w 2430"/>
                <a:gd name="T101" fmla="*/ 43 h 2040"/>
                <a:gd name="T102" fmla="*/ 174 w 2430"/>
                <a:gd name="T103" fmla="*/ 41 h 2040"/>
                <a:gd name="T104" fmla="*/ 190 w 2430"/>
                <a:gd name="T105" fmla="*/ 57 h 2040"/>
                <a:gd name="T106" fmla="*/ 187 w 2430"/>
                <a:gd name="T107" fmla="*/ 66 h 2040"/>
                <a:gd name="T108" fmla="*/ 183 w 2430"/>
                <a:gd name="T109" fmla="*/ 72 h 2040"/>
                <a:gd name="T110" fmla="*/ 194 w 2430"/>
                <a:gd name="T111" fmla="*/ 73 h 2040"/>
                <a:gd name="T112" fmla="*/ 202 w 2430"/>
                <a:gd name="T113" fmla="*/ 74 h 2040"/>
                <a:gd name="T114" fmla="*/ 204 w 2430"/>
                <a:gd name="T115" fmla="*/ 89 h 2040"/>
                <a:gd name="T116" fmla="*/ 208 w 2430"/>
                <a:gd name="T117" fmla="*/ 99 h 2040"/>
                <a:gd name="T118" fmla="*/ 203 w 2430"/>
                <a:gd name="T119" fmla="*/ 103 h 2040"/>
                <a:gd name="T120" fmla="*/ 209 w 2430"/>
                <a:gd name="T121" fmla="*/ 111 h 2040"/>
                <a:gd name="T122" fmla="*/ 204 w 2430"/>
                <a:gd name="T123" fmla="*/ 124 h 2040"/>
                <a:gd name="T124" fmla="*/ 190 w 2430"/>
                <a:gd name="T125" fmla="*/ 117 h 20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30"/>
                <a:gd name="T190" fmla="*/ 0 h 2040"/>
                <a:gd name="T191" fmla="*/ 2430 w 2430"/>
                <a:gd name="T192" fmla="*/ 2040 h 20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30" h="2040">
                  <a:moveTo>
                    <a:pt x="2076" y="1896"/>
                  </a:moveTo>
                  <a:lnTo>
                    <a:pt x="2070" y="1896"/>
                  </a:lnTo>
                  <a:lnTo>
                    <a:pt x="2070" y="1902"/>
                  </a:lnTo>
                  <a:lnTo>
                    <a:pt x="2076" y="1902"/>
                  </a:lnTo>
                  <a:lnTo>
                    <a:pt x="2082" y="1902"/>
                  </a:lnTo>
                  <a:lnTo>
                    <a:pt x="2082" y="1908"/>
                  </a:lnTo>
                  <a:lnTo>
                    <a:pt x="2076" y="1908"/>
                  </a:lnTo>
                  <a:lnTo>
                    <a:pt x="2076" y="1914"/>
                  </a:lnTo>
                  <a:lnTo>
                    <a:pt x="2070" y="1920"/>
                  </a:lnTo>
                  <a:lnTo>
                    <a:pt x="2064" y="1932"/>
                  </a:lnTo>
                  <a:lnTo>
                    <a:pt x="2064" y="1938"/>
                  </a:lnTo>
                  <a:lnTo>
                    <a:pt x="2058" y="1938"/>
                  </a:lnTo>
                  <a:lnTo>
                    <a:pt x="2052" y="1944"/>
                  </a:lnTo>
                  <a:lnTo>
                    <a:pt x="2052" y="1950"/>
                  </a:lnTo>
                  <a:lnTo>
                    <a:pt x="2040" y="1944"/>
                  </a:lnTo>
                  <a:lnTo>
                    <a:pt x="2040" y="1950"/>
                  </a:lnTo>
                  <a:lnTo>
                    <a:pt x="2034" y="1956"/>
                  </a:lnTo>
                  <a:lnTo>
                    <a:pt x="2034" y="1962"/>
                  </a:lnTo>
                  <a:lnTo>
                    <a:pt x="2028" y="1962"/>
                  </a:lnTo>
                  <a:lnTo>
                    <a:pt x="2022" y="1962"/>
                  </a:lnTo>
                  <a:lnTo>
                    <a:pt x="2022" y="1968"/>
                  </a:lnTo>
                  <a:lnTo>
                    <a:pt x="2028" y="1974"/>
                  </a:lnTo>
                  <a:lnTo>
                    <a:pt x="2034" y="1980"/>
                  </a:lnTo>
                  <a:lnTo>
                    <a:pt x="2028" y="1986"/>
                  </a:lnTo>
                  <a:lnTo>
                    <a:pt x="2022" y="1992"/>
                  </a:lnTo>
                  <a:lnTo>
                    <a:pt x="2022" y="1986"/>
                  </a:lnTo>
                  <a:lnTo>
                    <a:pt x="2016" y="1986"/>
                  </a:lnTo>
                  <a:lnTo>
                    <a:pt x="2010" y="1980"/>
                  </a:lnTo>
                  <a:lnTo>
                    <a:pt x="2004" y="1980"/>
                  </a:lnTo>
                  <a:lnTo>
                    <a:pt x="2004" y="1986"/>
                  </a:lnTo>
                  <a:lnTo>
                    <a:pt x="2010" y="1992"/>
                  </a:lnTo>
                  <a:lnTo>
                    <a:pt x="2010" y="1998"/>
                  </a:lnTo>
                  <a:lnTo>
                    <a:pt x="2004" y="2004"/>
                  </a:lnTo>
                  <a:lnTo>
                    <a:pt x="1998" y="2004"/>
                  </a:lnTo>
                  <a:lnTo>
                    <a:pt x="1998" y="2022"/>
                  </a:lnTo>
                  <a:lnTo>
                    <a:pt x="1998" y="2028"/>
                  </a:lnTo>
                  <a:lnTo>
                    <a:pt x="1992" y="2034"/>
                  </a:lnTo>
                  <a:lnTo>
                    <a:pt x="1992" y="2040"/>
                  </a:lnTo>
                  <a:lnTo>
                    <a:pt x="1986" y="2040"/>
                  </a:lnTo>
                  <a:lnTo>
                    <a:pt x="1986" y="2034"/>
                  </a:lnTo>
                  <a:lnTo>
                    <a:pt x="1980" y="2028"/>
                  </a:lnTo>
                  <a:lnTo>
                    <a:pt x="1980" y="2022"/>
                  </a:lnTo>
                  <a:lnTo>
                    <a:pt x="1968" y="2016"/>
                  </a:lnTo>
                  <a:lnTo>
                    <a:pt x="1962" y="2010"/>
                  </a:lnTo>
                  <a:lnTo>
                    <a:pt x="1956" y="2004"/>
                  </a:lnTo>
                  <a:lnTo>
                    <a:pt x="1950" y="1992"/>
                  </a:lnTo>
                  <a:lnTo>
                    <a:pt x="1950" y="1986"/>
                  </a:lnTo>
                  <a:lnTo>
                    <a:pt x="1950" y="1974"/>
                  </a:lnTo>
                  <a:lnTo>
                    <a:pt x="1944" y="1974"/>
                  </a:lnTo>
                  <a:lnTo>
                    <a:pt x="1932" y="1962"/>
                  </a:lnTo>
                  <a:lnTo>
                    <a:pt x="1932" y="1956"/>
                  </a:lnTo>
                  <a:lnTo>
                    <a:pt x="1932" y="1950"/>
                  </a:lnTo>
                  <a:lnTo>
                    <a:pt x="1920" y="1944"/>
                  </a:lnTo>
                  <a:lnTo>
                    <a:pt x="1914" y="1944"/>
                  </a:lnTo>
                  <a:lnTo>
                    <a:pt x="1908" y="1938"/>
                  </a:lnTo>
                  <a:lnTo>
                    <a:pt x="1902" y="1926"/>
                  </a:lnTo>
                  <a:lnTo>
                    <a:pt x="1890" y="1914"/>
                  </a:lnTo>
                  <a:lnTo>
                    <a:pt x="1884" y="1914"/>
                  </a:lnTo>
                  <a:lnTo>
                    <a:pt x="1878" y="1908"/>
                  </a:lnTo>
                  <a:lnTo>
                    <a:pt x="1872" y="1902"/>
                  </a:lnTo>
                  <a:lnTo>
                    <a:pt x="1872" y="1896"/>
                  </a:lnTo>
                  <a:lnTo>
                    <a:pt x="1866" y="1890"/>
                  </a:lnTo>
                  <a:lnTo>
                    <a:pt x="1854" y="1884"/>
                  </a:lnTo>
                  <a:lnTo>
                    <a:pt x="1848" y="1884"/>
                  </a:lnTo>
                  <a:lnTo>
                    <a:pt x="1842" y="1872"/>
                  </a:lnTo>
                  <a:lnTo>
                    <a:pt x="1836" y="1872"/>
                  </a:lnTo>
                  <a:lnTo>
                    <a:pt x="1830" y="1866"/>
                  </a:lnTo>
                  <a:lnTo>
                    <a:pt x="1830" y="1854"/>
                  </a:lnTo>
                  <a:lnTo>
                    <a:pt x="1824" y="1848"/>
                  </a:lnTo>
                  <a:lnTo>
                    <a:pt x="1818" y="1830"/>
                  </a:lnTo>
                  <a:lnTo>
                    <a:pt x="1818" y="1818"/>
                  </a:lnTo>
                  <a:lnTo>
                    <a:pt x="1812" y="1800"/>
                  </a:lnTo>
                  <a:lnTo>
                    <a:pt x="1812" y="1788"/>
                  </a:lnTo>
                  <a:lnTo>
                    <a:pt x="1806" y="1776"/>
                  </a:lnTo>
                  <a:lnTo>
                    <a:pt x="1800" y="1764"/>
                  </a:lnTo>
                  <a:lnTo>
                    <a:pt x="1794" y="1758"/>
                  </a:lnTo>
                  <a:lnTo>
                    <a:pt x="1782" y="1740"/>
                  </a:lnTo>
                  <a:lnTo>
                    <a:pt x="1776" y="1728"/>
                  </a:lnTo>
                  <a:lnTo>
                    <a:pt x="1776" y="1722"/>
                  </a:lnTo>
                  <a:lnTo>
                    <a:pt x="1770" y="1722"/>
                  </a:lnTo>
                  <a:lnTo>
                    <a:pt x="1770" y="1716"/>
                  </a:lnTo>
                  <a:lnTo>
                    <a:pt x="1764" y="1716"/>
                  </a:lnTo>
                  <a:lnTo>
                    <a:pt x="1758" y="1710"/>
                  </a:lnTo>
                  <a:lnTo>
                    <a:pt x="1752" y="1704"/>
                  </a:lnTo>
                  <a:lnTo>
                    <a:pt x="1746" y="1704"/>
                  </a:lnTo>
                  <a:lnTo>
                    <a:pt x="1740" y="1704"/>
                  </a:lnTo>
                  <a:lnTo>
                    <a:pt x="1734" y="1704"/>
                  </a:lnTo>
                  <a:lnTo>
                    <a:pt x="1734" y="1698"/>
                  </a:lnTo>
                  <a:lnTo>
                    <a:pt x="1728" y="1692"/>
                  </a:lnTo>
                  <a:lnTo>
                    <a:pt x="1722" y="1686"/>
                  </a:lnTo>
                  <a:lnTo>
                    <a:pt x="1716" y="1686"/>
                  </a:lnTo>
                  <a:lnTo>
                    <a:pt x="1698" y="1686"/>
                  </a:lnTo>
                  <a:lnTo>
                    <a:pt x="1692" y="1692"/>
                  </a:lnTo>
                  <a:lnTo>
                    <a:pt x="1680" y="1692"/>
                  </a:lnTo>
                  <a:lnTo>
                    <a:pt x="1668" y="1692"/>
                  </a:lnTo>
                  <a:lnTo>
                    <a:pt x="1662" y="1692"/>
                  </a:lnTo>
                  <a:lnTo>
                    <a:pt x="1656" y="1692"/>
                  </a:lnTo>
                  <a:lnTo>
                    <a:pt x="1650" y="1698"/>
                  </a:lnTo>
                  <a:lnTo>
                    <a:pt x="1644" y="1698"/>
                  </a:lnTo>
                  <a:lnTo>
                    <a:pt x="1638" y="1698"/>
                  </a:lnTo>
                  <a:lnTo>
                    <a:pt x="1632" y="1698"/>
                  </a:lnTo>
                  <a:lnTo>
                    <a:pt x="1632" y="1692"/>
                  </a:lnTo>
                  <a:lnTo>
                    <a:pt x="1620" y="1680"/>
                  </a:lnTo>
                  <a:lnTo>
                    <a:pt x="1614" y="1680"/>
                  </a:lnTo>
                  <a:lnTo>
                    <a:pt x="1608" y="1680"/>
                  </a:lnTo>
                  <a:lnTo>
                    <a:pt x="1602" y="1680"/>
                  </a:lnTo>
                  <a:lnTo>
                    <a:pt x="1596" y="1674"/>
                  </a:lnTo>
                  <a:lnTo>
                    <a:pt x="1584" y="1674"/>
                  </a:lnTo>
                  <a:lnTo>
                    <a:pt x="1572" y="1674"/>
                  </a:lnTo>
                  <a:lnTo>
                    <a:pt x="1560" y="1674"/>
                  </a:lnTo>
                  <a:lnTo>
                    <a:pt x="1542" y="1680"/>
                  </a:lnTo>
                  <a:lnTo>
                    <a:pt x="1530" y="1680"/>
                  </a:lnTo>
                  <a:lnTo>
                    <a:pt x="1530" y="1674"/>
                  </a:lnTo>
                  <a:lnTo>
                    <a:pt x="1524" y="1674"/>
                  </a:lnTo>
                  <a:lnTo>
                    <a:pt x="1518" y="1674"/>
                  </a:lnTo>
                  <a:lnTo>
                    <a:pt x="1512" y="1674"/>
                  </a:lnTo>
                  <a:lnTo>
                    <a:pt x="1506" y="1674"/>
                  </a:lnTo>
                  <a:lnTo>
                    <a:pt x="1500" y="1680"/>
                  </a:lnTo>
                  <a:lnTo>
                    <a:pt x="1488" y="1680"/>
                  </a:lnTo>
                  <a:lnTo>
                    <a:pt x="1482" y="1674"/>
                  </a:lnTo>
                  <a:lnTo>
                    <a:pt x="1476" y="1674"/>
                  </a:lnTo>
                  <a:lnTo>
                    <a:pt x="1464" y="1674"/>
                  </a:lnTo>
                  <a:lnTo>
                    <a:pt x="1452" y="1680"/>
                  </a:lnTo>
                  <a:lnTo>
                    <a:pt x="1434" y="1680"/>
                  </a:lnTo>
                  <a:lnTo>
                    <a:pt x="1422" y="1680"/>
                  </a:lnTo>
                  <a:lnTo>
                    <a:pt x="1416" y="1680"/>
                  </a:lnTo>
                  <a:lnTo>
                    <a:pt x="1404" y="1674"/>
                  </a:lnTo>
                  <a:lnTo>
                    <a:pt x="1398" y="1674"/>
                  </a:lnTo>
                  <a:lnTo>
                    <a:pt x="1392" y="1662"/>
                  </a:lnTo>
                  <a:lnTo>
                    <a:pt x="1380" y="1644"/>
                  </a:lnTo>
                  <a:lnTo>
                    <a:pt x="1374" y="1632"/>
                  </a:lnTo>
                  <a:lnTo>
                    <a:pt x="1362" y="1626"/>
                  </a:lnTo>
                  <a:lnTo>
                    <a:pt x="1356" y="1620"/>
                  </a:lnTo>
                  <a:lnTo>
                    <a:pt x="1350" y="1626"/>
                  </a:lnTo>
                  <a:lnTo>
                    <a:pt x="1338" y="1626"/>
                  </a:lnTo>
                  <a:lnTo>
                    <a:pt x="1326" y="1626"/>
                  </a:lnTo>
                  <a:lnTo>
                    <a:pt x="1314" y="1620"/>
                  </a:lnTo>
                  <a:lnTo>
                    <a:pt x="1308" y="1614"/>
                  </a:lnTo>
                  <a:lnTo>
                    <a:pt x="1302" y="1608"/>
                  </a:lnTo>
                  <a:lnTo>
                    <a:pt x="1296" y="1602"/>
                  </a:lnTo>
                  <a:lnTo>
                    <a:pt x="1290" y="1602"/>
                  </a:lnTo>
                  <a:lnTo>
                    <a:pt x="1290" y="1596"/>
                  </a:lnTo>
                  <a:lnTo>
                    <a:pt x="1284" y="1590"/>
                  </a:lnTo>
                  <a:lnTo>
                    <a:pt x="1272" y="1584"/>
                  </a:lnTo>
                  <a:lnTo>
                    <a:pt x="1254" y="1572"/>
                  </a:lnTo>
                  <a:lnTo>
                    <a:pt x="1236" y="1554"/>
                  </a:lnTo>
                  <a:lnTo>
                    <a:pt x="1230" y="1554"/>
                  </a:lnTo>
                  <a:lnTo>
                    <a:pt x="1224" y="1554"/>
                  </a:lnTo>
                  <a:lnTo>
                    <a:pt x="1212" y="1554"/>
                  </a:lnTo>
                  <a:lnTo>
                    <a:pt x="1194" y="1542"/>
                  </a:lnTo>
                  <a:lnTo>
                    <a:pt x="1188" y="1536"/>
                  </a:lnTo>
                  <a:lnTo>
                    <a:pt x="1182" y="1530"/>
                  </a:lnTo>
                  <a:lnTo>
                    <a:pt x="1176" y="1530"/>
                  </a:lnTo>
                  <a:lnTo>
                    <a:pt x="1170" y="1530"/>
                  </a:lnTo>
                  <a:lnTo>
                    <a:pt x="1158" y="1524"/>
                  </a:lnTo>
                  <a:lnTo>
                    <a:pt x="1152" y="1524"/>
                  </a:lnTo>
                  <a:lnTo>
                    <a:pt x="1140" y="1518"/>
                  </a:lnTo>
                  <a:lnTo>
                    <a:pt x="1128" y="1518"/>
                  </a:lnTo>
                  <a:lnTo>
                    <a:pt x="1122" y="1518"/>
                  </a:lnTo>
                  <a:lnTo>
                    <a:pt x="1116" y="1518"/>
                  </a:lnTo>
                  <a:lnTo>
                    <a:pt x="1104" y="1518"/>
                  </a:lnTo>
                  <a:lnTo>
                    <a:pt x="1092" y="1518"/>
                  </a:lnTo>
                  <a:lnTo>
                    <a:pt x="1080" y="1518"/>
                  </a:lnTo>
                  <a:lnTo>
                    <a:pt x="1068" y="1518"/>
                  </a:lnTo>
                  <a:lnTo>
                    <a:pt x="1062" y="1518"/>
                  </a:lnTo>
                  <a:lnTo>
                    <a:pt x="1056" y="1518"/>
                  </a:lnTo>
                  <a:lnTo>
                    <a:pt x="1050" y="1512"/>
                  </a:lnTo>
                  <a:lnTo>
                    <a:pt x="1044" y="1512"/>
                  </a:lnTo>
                  <a:lnTo>
                    <a:pt x="1038" y="1512"/>
                  </a:lnTo>
                  <a:lnTo>
                    <a:pt x="1032" y="1506"/>
                  </a:lnTo>
                  <a:lnTo>
                    <a:pt x="1026" y="1500"/>
                  </a:lnTo>
                  <a:lnTo>
                    <a:pt x="1026" y="1494"/>
                  </a:lnTo>
                  <a:lnTo>
                    <a:pt x="1020" y="1476"/>
                  </a:lnTo>
                  <a:lnTo>
                    <a:pt x="1008" y="1464"/>
                  </a:lnTo>
                  <a:lnTo>
                    <a:pt x="1008" y="1458"/>
                  </a:lnTo>
                  <a:lnTo>
                    <a:pt x="1002" y="1446"/>
                  </a:lnTo>
                  <a:lnTo>
                    <a:pt x="996" y="1446"/>
                  </a:lnTo>
                  <a:lnTo>
                    <a:pt x="990" y="1440"/>
                  </a:lnTo>
                  <a:lnTo>
                    <a:pt x="984" y="1434"/>
                  </a:lnTo>
                  <a:lnTo>
                    <a:pt x="978" y="1434"/>
                  </a:lnTo>
                  <a:lnTo>
                    <a:pt x="972" y="1434"/>
                  </a:lnTo>
                  <a:lnTo>
                    <a:pt x="966" y="1428"/>
                  </a:lnTo>
                  <a:lnTo>
                    <a:pt x="954" y="1422"/>
                  </a:lnTo>
                  <a:lnTo>
                    <a:pt x="942" y="1416"/>
                  </a:lnTo>
                  <a:lnTo>
                    <a:pt x="924" y="1398"/>
                  </a:lnTo>
                  <a:lnTo>
                    <a:pt x="912" y="1386"/>
                  </a:lnTo>
                  <a:lnTo>
                    <a:pt x="900" y="1386"/>
                  </a:lnTo>
                  <a:lnTo>
                    <a:pt x="894" y="1386"/>
                  </a:lnTo>
                  <a:lnTo>
                    <a:pt x="882" y="1392"/>
                  </a:lnTo>
                  <a:lnTo>
                    <a:pt x="876" y="1392"/>
                  </a:lnTo>
                  <a:lnTo>
                    <a:pt x="864" y="1398"/>
                  </a:lnTo>
                  <a:lnTo>
                    <a:pt x="864" y="1404"/>
                  </a:lnTo>
                  <a:lnTo>
                    <a:pt x="858" y="1410"/>
                  </a:lnTo>
                  <a:lnTo>
                    <a:pt x="852" y="1410"/>
                  </a:lnTo>
                  <a:lnTo>
                    <a:pt x="846" y="1410"/>
                  </a:lnTo>
                  <a:lnTo>
                    <a:pt x="834" y="1410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10" y="1428"/>
                  </a:lnTo>
                  <a:lnTo>
                    <a:pt x="798" y="1428"/>
                  </a:lnTo>
                  <a:lnTo>
                    <a:pt x="792" y="1428"/>
                  </a:lnTo>
                  <a:lnTo>
                    <a:pt x="780" y="1434"/>
                  </a:lnTo>
                  <a:lnTo>
                    <a:pt x="774" y="1428"/>
                  </a:lnTo>
                  <a:lnTo>
                    <a:pt x="762" y="1428"/>
                  </a:lnTo>
                  <a:lnTo>
                    <a:pt x="756" y="1422"/>
                  </a:lnTo>
                  <a:lnTo>
                    <a:pt x="750" y="1416"/>
                  </a:lnTo>
                  <a:lnTo>
                    <a:pt x="744" y="1410"/>
                  </a:lnTo>
                  <a:lnTo>
                    <a:pt x="744" y="1398"/>
                  </a:lnTo>
                  <a:lnTo>
                    <a:pt x="744" y="1386"/>
                  </a:lnTo>
                  <a:lnTo>
                    <a:pt x="750" y="1380"/>
                  </a:lnTo>
                  <a:lnTo>
                    <a:pt x="750" y="1374"/>
                  </a:lnTo>
                  <a:lnTo>
                    <a:pt x="750" y="1368"/>
                  </a:lnTo>
                  <a:lnTo>
                    <a:pt x="756" y="1362"/>
                  </a:lnTo>
                  <a:lnTo>
                    <a:pt x="750" y="1350"/>
                  </a:lnTo>
                  <a:lnTo>
                    <a:pt x="744" y="1344"/>
                  </a:lnTo>
                  <a:lnTo>
                    <a:pt x="738" y="1338"/>
                  </a:lnTo>
                  <a:lnTo>
                    <a:pt x="726" y="1338"/>
                  </a:lnTo>
                  <a:lnTo>
                    <a:pt x="720" y="1338"/>
                  </a:lnTo>
                  <a:lnTo>
                    <a:pt x="714" y="1338"/>
                  </a:lnTo>
                  <a:lnTo>
                    <a:pt x="708" y="1332"/>
                  </a:lnTo>
                  <a:lnTo>
                    <a:pt x="702" y="1332"/>
                  </a:lnTo>
                  <a:lnTo>
                    <a:pt x="696" y="1326"/>
                  </a:lnTo>
                  <a:lnTo>
                    <a:pt x="684" y="1326"/>
                  </a:lnTo>
                  <a:lnTo>
                    <a:pt x="678" y="1326"/>
                  </a:lnTo>
                  <a:lnTo>
                    <a:pt x="672" y="1314"/>
                  </a:lnTo>
                  <a:lnTo>
                    <a:pt x="666" y="1308"/>
                  </a:lnTo>
                  <a:lnTo>
                    <a:pt x="654" y="1296"/>
                  </a:lnTo>
                  <a:lnTo>
                    <a:pt x="654" y="1290"/>
                  </a:lnTo>
                  <a:lnTo>
                    <a:pt x="630" y="1284"/>
                  </a:lnTo>
                  <a:lnTo>
                    <a:pt x="630" y="1278"/>
                  </a:lnTo>
                  <a:lnTo>
                    <a:pt x="624" y="1278"/>
                  </a:lnTo>
                  <a:lnTo>
                    <a:pt x="618" y="1266"/>
                  </a:lnTo>
                  <a:lnTo>
                    <a:pt x="612" y="1266"/>
                  </a:lnTo>
                  <a:lnTo>
                    <a:pt x="606" y="1266"/>
                  </a:lnTo>
                  <a:lnTo>
                    <a:pt x="606" y="1260"/>
                  </a:lnTo>
                  <a:lnTo>
                    <a:pt x="594" y="1248"/>
                  </a:lnTo>
                  <a:lnTo>
                    <a:pt x="582" y="1248"/>
                  </a:lnTo>
                  <a:lnTo>
                    <a:pt x="576" y="1242"/>
                  </a:lnTo>
                  <a:lnTo>
                    <a:pt x="570" y="1236"/>
                  </a:lnTo>
                  <a:lnTo>
                    <a:pt x="504" y="1164"/>
                  </a:lnTo>
                  <a:lnTo>
                    <a:pt x="450" y="1110"/>
                  </a:lnTo>
                  <a:lnTo>
                    <a:pt x="426" y="1092"/>
                  </a:lnTo>
                  <a:lnTo>
                    <a:pt x="426" y="1074"/>
                  </a:lnTo>
                  <a:lnTo>
                    <a:pt x="420" y="1062"/>
                  </a:lnTo>
                  <a:lnTo>
                    <a:pt x="396" y="1056"/>
                  </a:lnTo>
                  <a:lnTo>
                    <a:pt x="384" y="1032"/>
                  </a:lnTo>
                  <a:lnTo>
                    <a:pt x="372" y="1020"/>
                  </a:lnTo>
                  <a:lnTo>
                    <a:pt x="360" y="984"/>
                  </a:lnTo>
                  <a:lnTo>
                    <a:pt x="348" y="978"/>
                  </a:lnTo>
                  <a:lnTo>
                    <a:pt x="342" y="972"/>
                  </a:lnTo>
                  <a:lnTo>
                    <a:pt x="348" y="960"/>
                  </a:lnTo>
                  <a:lnTo>
                    <a:pt x="342" y="954"/>
                  </a:lnTo>
                  <a:lnTo>
                    <a:pt x="336" y="954"/>
                  </a:lnTo>
                  <a:lnTo>
                    <a:pt x="330" y="954"/>
                  </a:lnTo>
                  <a:lnTo>
                    <a:pt x="324" y="972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0" y="966"/>
                  </a:lnTo>
                  <a:lnTo>
                    <a:pt x="294" y="966"/>
                  </a:lnTo>
                  <a:lnTo>
                    <a:pt x="288" y="972"/>
                  </a:lnTo>
                  <a:lnTo>
                    <a:pt x="288" y="966"/>
                  </a:lnTo>
                  <a:lnTo>
                    <a:pt x="282" y="948"/>
                  </a:lnTo>
                  <a:lnTo>
                    <a:pt x="282" y="942"/>
                  </a:lnTo>
                  <a:lnTo>
                    <a:pt x="276" y="942"/>
                  </a:lnTo>
                  <a:lnTo>
                    <a:pt x="276" y="936"/>
                  </a:lnTo>
                  <a:lnTo>
                    <a:pt x="270" y="942"/>
                  </a:lnTo>
                  <a:lnTo>
                    <a:pt x="264" y="948"/>
                  </a:lnTo>
                  <a:lnTo>
                    <a:pt x="264" y="942"/>
                  </a:lnTo>
                  <a:lnTo>
                    <a:pt x="258" y="942"/>
                  </a:lnTo>
                  <a:lnTo>
                    <a:pt x="252" y="948"/>
                  </a:lnTo>
                  <a:lnTo>
                    <a:pt x="252" y="942"/>
                  </a:lnTo>
                  <a:lnTo>
                    <a:pt x="246" y="936"/>
                  </a:lnTo>
                  <a:lnTo>
                    <a:pt x="240" y="942"/>
                  </a:lnTo>
                  <a:lnTo>
                    <a:pt x="234" y="936"/>
                  </a:lnTo>
                  <a:lnTo>
                    <a:pt x="228" y="936"/>
                  </a:lnTo>
                  <a:lnTo>
                    <a:pt x="222" y="936"/>
                  </a:lnTo>
                  <a:lnTo>
                    <a:pt x="222" y="930"/>
                  </a:lnTo>
                  <a:lnTo>
                    <a:pt x="222" y="924"/>
                  </a:lnTo>
                  <a:lnTo>
                    <a:pt x="228" y="924"/>
                  </a:lnTo>
                  <a:lnTo>
                    <a:pt x="234" y="924"/>
                  </a:lnTo>
                  <a:lnTo>
                    <a:pt x="240" y="924"/>
                  </a:lnTo>
                  <a:lnTo>
                    <a:pt x="240" y="918"/>
                  </a:lnTo>
                  <a:lnTo>
                    <a:pt x="246" y="918"/>
                  </a:lnTo>
                  <a:lnTo>
                    <a:pt x="246" y="912"/>
                  </a:lnTo>
                  <a:lnTo>
                    <a:pt x="240" y="906"/>
                  </a:lnTo>
                  <a:lnTo>
                    <a:pt x="234" y="906"/>
                  </a:lnTo>
                  <a:lnTo>
                    <a:pt x="228" y="906"/>
                  </a:lnTo>
                  <a:lnTo>
                    <a:pt x="228" y="912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8" y="894"/>
                  </a:lnTo>
                  <a:lnTo>
                    <a:pt x="234" y="894"/>
                  </a:lnTo>
                  <a:lnTo>
                    <a:pt x="228" y="888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198" y="888"/>
                  </a:lnTo>
                  <a:lnTo>
                    <a:pt x="192" y="882"/>
                  </a:lnTo>
                  <a:lnTo>
                    <a:pt x="186" y="882"/>
                  </a:lnTo>
                  <a:lnTo>
                    <a:pt x="186" y="876"/>
                  </a:lnTo>
                  <a:lnTo>
                    <a:pt x="192" y="876"/>
                  </a:lnTo>
                  <a:lnTo>
                    <a:pt x="192" y="870"/>
                  </a:lnTo>
                  <a:lnTo>
                    <a:pt x="198" y="870"/>
                  </a:lnTo>
                  <a:lnTo>
                    <a:pt x="198" y="864"/>
                  </a:lnTo>
                  <a:lnTo>
                    <a:pt x="198" y="858"/>
                  </a:lnTo>
                  <a:lnTo>
                    <a:pt x="180" y="852"/>
                  </a:lnTo>
                  <a:lnTo>
                    <a:pt x="174" y="840"/>
                  </a:lnTo>
                  <a:lnTo>
                    <a:pt x="162" y="846"/>
                  </a:lnTo>
                  <a:lnTo>
                    <a:pt x="156" y="846"/>
                  </a:lnTo>
                  <a:lnTo>
                    <a:pt x="150" y="846"/>
                  </a:lnTo>
                  <a:lnTo>
                    <a:pt x="150" y="840"/>
                  </a:lnTo>
                  <a:lnTo>
                    <a:pt x="138" y="834"/>
                  </a:lnTo>
                  <a:lnTo>
                    <a:pt x="132" y="834"/>
                  </a:lnTo>
                  <a:lnTo>
                    <a:pt x="132" y="840"/>
                  </a:lnTo>
                  <a:lnTo>
                    <a:pt x="126" y="840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58"/>
                  </a:lnTo>
                  <a:lnTo>
                    <a:pt x="120" y="846"/>
                  </a:lnTo>
                  <a:lnTo>
                    <a:pt x="114" y="846"/>
                  </a:lnTo>
                  <a:lnTo>
                    <a:pt x="108" y="840"/>
                  </a:lnTo>
                  <a:lnTo>
                    <a:pt x="102" y="834"/>
                  </a:lnTo>
                  <a:lnTo>
                    <a:pt x="102" y="822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78" y="804"/>
                  </a:lnTo>
                  <a:lnTo>
                    <a:pt x="78" y="798"/>
                  </a:lnTo>
                  <a:lnTo>
                    <a:pt x="78" y="792"/>
                  </a:lnTo>
                  <a:lnTo>
                    <a:pt x="78" y="786"/>
                  </a:lnTo>
                  <a:lnTo>
                    <a:pt x="78" y="780"/>
                  </a:lnTo>
                  <a:lnTo>
                    <a:pt x="72" y="774"/>
                  </a:lnTo>
                  <a:lnTo>
                    <a:pt x="66" y="774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60" y="762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6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2" y="666"/>
                  </a:lnTo>
                  <a:lnTo>
                    <a:pt x="18" y="648"/>
                  </a:lnTo>
                  <a:lnTo>
                    <a:pt x="24" y="636"/>
                  </a:lnTo>
                  <a:lnTo>
                    <a:pt x="30" y="630"/>
                  </a:lnTo>
                  <a:lnTo>
                    <a:pt x="30" y="624"/>
                  </a:lnTo>
                  <a:lnTo>
                    <a:pt x="30" y="612"/>
                  </a:lnTo>
                  <a:lnTo>
                    <a:pt x="30" y="606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66" y="582"/>
                  </a:lnTo>
                  <a:lnTo>
                    <a:pt x="72" y="588"/>
                  </a:lnTo>
                  <a:lnTo>
                    <a:pt x="84" y="594"/>
                  </a:lnTo>
                  <a:lnTo>
                    <a:pt x="90" y="600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14" y="612"/>
                  </a:lnTo>
                  <a:lnTo>
                    <a:pt x="120" y="612"/>
                  </a:lnTo>
                  <a:lnTo>
                    <a:pt x="126" y="618"/>
                  </a:lnTo>
                  <a:lnTo>
                    <a:pt x="138" y="594"/>
                  </a:lnTo>
                  <a:lnTo>
                    <a:pt x="138" y="582"/>
                  </a:lnTo>
                  <a:lnTo>
                    <a:pt x="138" y="570"/>
                  </a:lnTo>
                  <a:lnTo>
                    <a:pt x="138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50" y="528"/>
                  </a:lnTo>
                  <a:lnTo>
                    <a:pt x="156" y="510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62"/>
                  </a:lnTo>
                  <a:lnTo>
                    <a:pt x="168" y="450"/>
                  </a:lnTo>
                  <a:lnTo>
                    <a:pt x="168" y="444"/>
                  </a:lnTo>
                  <a:lnTo>
                    <a:pt x="162" y="432"/>
                  </a:lnTo>
                  <a:lnTo>
                    <a:pt x="162" y="426"/>
                  </a:lnTo>
                  <a:lnTo>
                    <a:pt x="156" y="420"/>
                  </a:lnTo>
                  <a:lnTo>
                    <a:pt x="144" y="414"/>
                  </a:lnTo>
                  <a:lnTo>
                    <a:pt x="132" y="402"/>
                  </a:lnTo>
                  <a:lnTo>
                    <a:pt x="126" y="390"/>
                  </a:lnTo>
                  <a:lnTo>
                    <a:pt x="120" y="384"/>
                  </a:lnTo>
                  <a:lnTo>
                    <a:pt x="120" y="372"/>
                  </a:lnTo>
                  <a:lnTo>
                    <a:pt x="114" y="360"/>
                  </a:lnTo>
                  <a:lnTo>
                    <a:pt x="108" y="360"/>
                  </a:lnTo>
                  <a:lnTo>
                    <a:pt x="108" y="354"/>
                  </a:lnTo>
                  <a:lnTo>
                    <a:pt x="102" y="348"/>
                  </a:lnTo>
                  <a:lnTo>
                    <a:pt x="102" y="342"/>
                  </a:lnTo>
                  <a:lnTo>
                    <a:pt x="108" y="330"/>
                  </a:lnTo>
                  <a:lnTo>
                    <a:pt x="114" y="312"/>
                  </a:lnTo>
                  <a:lnTo>
                    <a:pt x="114" y="300"/>
                  </a:lnTo>
                  <a:lnTo>
                    <a:pt x="120" y="288"/>
                  </a:lnTo>
                  <a:lnTo>
                    <a:pt x="120" y="282"/>
                  </a:lnTo>
                  <a:lnTo>
                    <a:pt x="114" y="270"/>
                  </a:lnTo>
                  <a:lnTo>
                    <a:pt x="114" y="258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84" y="222"/>
                  </a:lnTo>
                  <a:lnTo>
                    <a:pt x="84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84" y="186"/>
                  </a:lnTo>
                  <a:lnTo>
                    <a:pt x="84" y="180"/>
                  </a:lnTo>
                  <a:lnTo>
                    <a:pt x="108" y="174"/>
                  </a:lnTo>
                  <a:lnTo>
                    <a:pt x="132" y="186"/>
                  </a:lnTo>
                  <a:lnTo>
                    <a:pt x="138" y="192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56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74" y="204"/>
                  </a:lnTo>
                  <a:lnTo>
                    <a:pt x="180" y="216"/>
                  </a:lnTo>
                  <a:lnTo>
                    <a:pt x="186" y="228"/>
                  </a:lnTo>
                  <a:lnTo>
                    <a:pt x="192" y="234"/>
                  </a:lnTo>
                  <a:lnTo>
                    <a:pt x="198" y="234"/>
                  </a:lnTo>
                  <a:lnTo>
                    <a:pt x="204" y="240"/>
                  </a:lnTo>
                  <a:lnTo>
                    <a:pt x="210" y="240"/>
                  </a:lnTo>
                  <a:lnTo>
                    <a:pt x="216" y="240"/>
                  </a:lnTo>
                  <a:lnTo>
                    <a:pt x="222" y="240"/>
                  </a:lnTo>
                  <a:lnTo>
                    <a:pt x="228" y="246"/>
                  </a:lnTo>
                  <a:lnTo>
                    <a:pt x="234" y="246"/>
                  </a:lnTo>
                  <a:lnTo>
                    <a:pt x="240" y="246"/>
                  </a:lnTo>
                  <a:lnTo>
                    <a:pt x="252" y="252"/>
                  </a:lnTo>
                  <a:lnTo>
                    <a:pt x="330" y="246"/>
                  </a:lnTo>
                  <a:lnTo>
                    <a:pt x="360" y="228"/>
                  </a:lnTo>
                  <a:lnTo>
                    <a:pt x="396" y="228"/>
                  </a:lnTo>
                  <a:lnTo>
                    <a:pt x="402" y="240"/>
                  </a:lnTo>
                  <a:lnTo>
                    <a:pt x="432" y="240"/>
                  </a:lnTo>
                  <a:lnTo>
                    <a:pt x="450" y="258"/>
                  </a:lnTo>
                  <a:lnTo>
                    <a:pt x="468" y="258"/>
                  </a:lnTo>
                  <a:lnTo>
                    <a:pt x="474" y="294"/>
                  </a:lnTo>
                  <a:lnTo>
                    <a:pt x="558" y="318"/>
                  </a:lnTo>
                  <a:lnTo>
                    <a:pt x="588" y="318"/>
                  </a:lnTo>
                  <a:lnTo>
                    <a:pt x="588" y="312"/>
                  </a:lnTo>
                  <a:lnTo>
                    <a:pt x="594" y="306"/>
                  </a:lnTo>
                  <a:lnTo>
                    <a:pt x="600" y="306"/>
                  </a:lnTo>
                  <a:lnTo>
                    <a:pt x="612" y="300"/>
                  </a:lnTo>
                  <a:lnTo>
                    <a:pt x="618" y="300"/>
                  </a:lnTo>
                  <a:lnTo>
                    <a:pt x="630" y="300"/>
                  </a:lnTo>
                  <a:lnTo>
                    <a:pt x="642" y="306"/>
                  </a:lnTo>
                  <a:lnTo>
                    <a:pt x="660" y="306"/>
                  </a:lnTo>
                  <a:lnTo>
                    <a:pt x="666" y="306"/>
                  </a:lnTo>
                  <a:lnTo>
                    <a:pt x="672" y="306"/>
                  </a:lnTo>
                  <a:lnTo>
                    <a:pt x="684" y="300"/>
                  </a:lnTo>
                  <a:lnTo>
                    <a:pt x="696" y="294"/>
                  </a:lnTo>
                  <a:lnTo>
                    <a:pt x="702" y="288"/>
                  </a:lnTo>
                  <a:lnTo>
                    <a:pt x="714" y="282"/>
                  </a:lnTo>
                  <a:lnTo>
                    <a:pt x="714" y="288"/>
                  </a:lnTo>
                  <a:lnTo>
                    <a:pt x="726" y="300"/>
                  </a:lnTo>
                  <a:lnTo>
                    <a:pt x="732" y="306"/>
                  </a:lnTo>
                  <a:lnTo>
                    <a:pt x="732" y="318"/>
                  </a:lnTo>
                  <a:lnTo>
                    <a:pt x="732" y="330"/>
                  </a:lnTo>
                  <a:lnTo>
                    <a:pt x="726" y="342"/>
                  </a:lnTo>
                  <a:lnTo>
                    <a:pt x="720" y="354"/>
                  </a:lnTo>
                  <a:lnTo>
                    <a:pt x="720" y="360"/>
                  </a:lnTo>
                  <a:lnTo>
                    <a:pt x="714" y="372"/>
                  </a:lnTo>
                  <a:lnTo>
                    <a:pt x="714" y="378"/>
                  </a:lnTo>
                  <a:lnTo>
                    <a:pt x="714" y="408"/>
                  </a:lnTo>
                  <a:lnTo>
                    <a:pt x="708" y="420"/>
                  </a:lnTo>
                  <a:lnTo>
                    <a:pt x="714" y="432"/>
                  </a:lnTo>
                  <a:lnTo>
                    <a:pt x="708" y="450"/>
                  </a:lnTo>
                  <a:lnTo>
                    <a:pt x="708" y="468"/>
                  </a:lnTo>
                  <a:lnTo>
                    <a:pt x="696" y="480"/>
                  </a:lnTo>
                  <a:lnTo>
                    <a:pt x="684" y="486"/>
                  </a:lnTo>
                  <a:lnTo>
                    <a:pt x="672" y="492"/>
                  </a:lnTo>
                  <a:lnTo>
                    <a:pt x="660" y="498"/>
                  </a:lnTo>
                  <a:lnTo>
                    <a:pt x="654" y="510"/>
                  </a:lnTo>
                  <a:lnTo>
                    <a:pt x="648" y="516"/>
                  </a:lnTo>
                  <a:lnTo>
                    <a:pt x="642" y="522"/>
                  </a:lnTo>
                  <a:lnTo>
                    <a:pt x="630" y="522"/>
                  </a:lnTo>
                  <a:lnTo>
                    <a:pt x="624" y="528"/>
                  </a:lnTo>
                  <a:lnTo>
                    <a:pt x="618" y="540"/>
                  </a:lnTo>
                  <a:lnTo>
                    <a:pt x="618" y="558"/>
                  </a:lnTo>
                  <a:lnTo>
                    <a:pt x="612" y="576"/>
                  </a:lnTo>
                  <a:lnTo>
                    <a:pt x="612" y="684"/>
                  </a:lnTo>
                  <a:lnTo>
                    <a:pt x="618" y="696"/>
                  </a:lnTo>
                  <a:lnTo>
                    <a:pt x="636" y="696"/>
                  </a:lnTo>
                  <a:lnTo>
                    <a:pt x="636" y="720"/>
                  </a:lnTo>
                  <a:lnTo>
                    <a:pt x="636" y="732"/>
                  </a:lnTo>
                  <a:lnTo>
                    <a:pt x="618" y="750"/>
                  </a:lnTo>
                  <a:lnTo>
                    <a:pt x="606" y="762"/>
                  </a:lnTo>
                  <a:lnTo>
                    <a:pt x="600" y="774"/>
                  </a:lnTo>
                  <a:lnTo>
                    <a:pt x="594" y="798"/>
                  </a:lnTo>
                  <a:lnTo>
                    <a:pt x="606" y="798"/>
                  </a:lnTo>
                  <a:lnTo>
                    <a:pt x="660" y="792"/>
                  </a:lnTo>
                  <a:lnTo>
                    <a:pt x="696" y="798"/>
                  </a:lnTo>
                  <a:lnTo>
                    <a:pt x="720" y="798"/>
                  </a:lnTo>
                  <a:lnTo>
                    <a:pt x="720" y="786"/>
                  </a:lnTo>
                  <a:lnTo>
                    <a:pt x="720" y="774"/>
                  </a:lnTo>
                  <a:lnTo>
                    <a:pt x="702" y="762"/>
                  </a:lnTo>
                  <a:lnTo>
                    <a:pt x="702" y="750"/>
                  </a:lnTo>
                  <a:lnTo>
                    <a:pt x="702" y="726"/>
                  </a:lnTo>
                  <a:lnTo>
                    <a:pt x="714" y="714"/>
                  </a:lnTo>
                  <a:lnTo>
                    <a:pt x="720" y="702"/>
                  </a:lnTo>
                  <a:lnTo>
                    <a:pt x="720" y="696"/>
                  </a:lnTo>
                  <a:lnTo>
                    <a:pt x="744" y="690"/>
                  </a:lnTo>
                  <a:lnTo>
                    <a:pt x="744" y="696"/>
                  </a:lnTo>
                  <a:lnTo>
                    <a:pt x="756" y="696"/>
                  </a:lnTo>
                  <a:lnTo>
                    <a:pt x="762" y="690"/>
                  </a:lnTo>
                  <a:lnTo>
                    <a:pt x="768" y="690"/>
                  </a:lnTo>
                  <a:lnTo>
                    <a:pt x="774" y="696"/>
                  </a:lnTo>
                  <a:lnTo>
                    <a:pt x="780" y="696"/>
                  </a:lnTo>
                  <a:lnTo>
                    <a:pt x="786" y="696"/>
                  </a:lnTo>
                  <a:lnTo>
                    <a:pt x="804" y="684"/>
                  </a:lnTo>
                  <a:lnTo>
                    <a:pt x="810" y="684"/>
                  </a:lnTo>
                  <a:lnTo>
                    <a:pt x="810" y="654"/>
                  </a:lnTo>
                  <a:lnTo>
                    <a:pt x="816" y="588"/>
                  </a:lnTo>
                  <a:lnTo>
                    <a:pt x="804" y="582"/>
                  </a:lnTo>
                  <a:lnTo>
                    <a:pt x="798" y="552"/>
                  </a:lnTo>
                  <a:lnTo>
                    <a:pt x="798" y="480"/>
                  </a:lnTo>
                  <a:lnTo>
                    <a:pt x="780" y="468"/>
                  </a:lnTo>
                  <a:lnTo>
                    <a:pt x="780" y="462"/>
                  </a:lnTo>
                  <a:lnTo>
                    <a:pt x="774" y="450"/>
                  </a:lnTo>
                  <a:lnTo>
                    <a:pt x="762" y="444"/>
                  </a:lnTo>
                  <a:lnTo>
                    <a:pt x="762" y="438"/>
                  </a:lnTo>
                  <a:lnTo>
                    <a:pt x="768" y="432"/>
                  </a:lnTo>
                  <a:lnTo>
                    <a:pt x="774" y="426"/>
                  </a:lnTo>
                  <a:lnTo>
                    <a:pt x="780" y="426"/>
                  </a:lnTo>
                  <a:lnTo>
                    <a:pt x="780" y="414"/>
                  </a:lnTo>
                  <a:lnTo>
                    <a:pt x="834" y="414"/>
                  </a:lnTo>
                  <a:lnTo>
                    <a:pt x="834" y="426"/>
                  </a:lnTo>
                  <a:lnTo>
                    <a:pt x="840" y="432"/>
                  </a:lnTo>
                  <a:lnTo>
                    <a:pt x="846" y="432"/>
                  </a:lnTo>
                  <a:lnTo>
                    <a:pt x="852" y="432"/>
                  </a:lnTo>
                  <a:lnTo>
                    <a:pt x="858" y="432"/>
                  </a:lnTo>
                  <a:lnTo>
                    <a:pt x="870" y="432"/>
                  </a:lnTo>
                  <a:lnTo>
                    <a:pt x="870" y="426"/>
                  </a:lnTo>
                  <a:lnTo>
                    <a:pt x="870" y="420"/>
                  </a:lnTo>
                  <a:lnTo>
                    <a:pt x="876" y="420"/>
                  </a:lnTo>
                  <a:lnTo>
                    <a:pt x="882" y="420"/>
                  </a:lnTo>
                  <a:lnTo>
                    <a:pt x="894" y="414"/>
                  </a:lnTo>
                  <a:lnTo>
                    <a:pt x="900" y="414"/>
                  </a:lnTo>
                  <a:lnTo>
                    <a:pt x="906" y="408"/>
                  </a:lnTo>
                  <a:lnTo>
                    <a:pt x="918" y="408"/>
                  </a:lnTo>
                  <a:lnTo>
                    <a:pt x="924" y="402"/>
                  </a:lnTo>
                  <a:lnTo>
                    <a:pt x="930" y="384"/>
                  </a:lnTo>
                  <a:lnTo>
                    <a:pt x="948" y="396"/>
                  </a:lnTo>
                  <a:lnTo>
                    <a:pt x="954" y="384"/>
                  </a:lnTo>
                  <a:lnTo>
                    <a:pt x="960" y="384"/>
                  </a:lnTo>
                  <a:lnTo>
                    <a:pt x="972" y="384"/>
                  </a:lnTo>
                  <a:lnTo>
                    <a:pt x="978" y="378"/>
                  </a:lnTo>
                  <a:lnTo>
                    <a:pt x="972" y="366"/>
                  </a:lnTo>
                  <a:lnTo>
                    <a:pt x="966" y="342"/>
                  </a:lnTo>
                  <a:lnTo>
                    <a:pt x="960" y="330"/>
                  </a:lnTo>
                  <a:lnTo>
                    <a:pt x="942" y="324"/>
                  </a:lnTo>
                  <a:lnTo>
                    <a:pt x="936" y="318"/>
                  </a:lnTo>
                  <a:lnTo>
                    <a:pt x="936" y="294"/>
                  </a:lnTo>
                  <a:lnTo>
                    <a:pt x="942" y="294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282"/>
                  </a:lnTo>
                  <a:lnTo>
                    <a:pt x="954" y="276"/>
                  </a:lnTo>
                  <a:lnTo>
                    <a:pt x="960" y="276"/>
                  </a:lnTo>
                  <a:lnTo>
                    <a:pt x="966" y="276"/>
                  </a:lnTo>
                  <a:lnTo>
                    <a:pt x="960" y="258"/>
                  </a:lnTo>
                  <a:lnTo>
                    <a:pt x="954" y="240"/>
                  </a:lnTo>
                  <a:lnTo>
                    <a:pt x="948" y="204"/>
                  </a:lnTo>
                  <a:lnTo>
                    <a:pt x="954" y="204"/>
                  </a:lnTo>
                  <a:lnTo>
                    <a:pt x="960" y="198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00" y="186"/>
                  </a:lnTo>
                  <a:lnTo>
                    <a:pt x="876" y="180"/>
                  </a:lnTo>
                  <a:lnTo>
                    <a:pt x="858" y="180"/>
                  </a:lnTo>
                  <a:lnTo>
                    <a:pt x="852" y="168"/>
                  </a:lnTo>
                  <a:lnTo>
                    <a:pt x="834" y="156"/>
                  </a:lnTo>
                  <a:lnTo>
                    <a:pt x="822" y="156"/>
                  </a:lnTo>
                  <a:lnTo>
                    <a:pt x="804" y="156"/>
                  </a:lnTo>
                  <a:lnTo>
                    <a:pt x="804" y="150"/>
                  </a:lnTo>
                  <a:lnTo>
                    <a:pt x="792" y="144"/>
                  </a:lnTo>
                  <a:lnTo>
                    <a:pt x="762" y="138"/>
                  </a:lnTo>
                  <a:lnTo>
                    <a:pt x="768" y="120"/>
                  </a:lnTo>
                  <a:lnTo>
                    <a:pt x="756" y="120"/>
                  </a:lnTo>
                  <a:lnTo>
                    <a:pt x="744" y="108"/>
                  </a:lnTo>
                  <a:lnTo>
                    <a:pt x="744" y="96"/>
                  </a:lnTo>
                  <a:lnTo>
                    <a:pt x="762" y="84"/>
                  </a:lnTo>
                  <a:lnTo>
                    <a:pt x="768" y="84"/>
                  </a:lnTo>
                  <a:lnTo>
                    <a:pt x="768" y="72"/>
                  </a:lnTo>
                  <a:lnTo>
                    <a:pt x="780" y="66"/>
                  </a:lnTo>
                  <a:lnTo>
                    <a:pt x="798" y="54"/>
                  </a:lnTo>
                  <a:lnTo>
                    <a:pt x="792" y="54"/>
                  </a:lnTo>
                  <a:lnTo>
                    <a:pt x="798" y="36"/>
                  </a:lnTo>
                  <a:lnTo>
                    <a:pt x="804" y="36"/>
                  </a:lnTo>
                  <a:lnTo>
                    <a:pt x="816" y="30"/>
                  </a:lnTo>
                  <a:lnTo>
                    <a:pt x="828" y="30"/>
                  </a:lnTo>
                  <a:lnTo>
                    <a:pt x="846" y="12"/>
                  </a:lnTo>
                  <a:lnTo>
                    <a:pt x="876" y="0"/>
                  </a:lnTo>
                  <a:lnTo>
                    <a:pt x="882" y="6"/>
                  </a:lnTo>
                  <a:lnTo>
                    <a:pt x="900" y="6"/>
                  </a:lnTo>
                  <a:lnTo>
                    <a:pt x="912" y="36"/>
                  </a:lnTo>
                  <a:lnTo>
                    <a:pt x="918" y="42"/>
                  </a:lnTo>
                  <a:lnTo>
                    <a:pt x="924" y="54"/>
                  </a:lnTo>
                  <a:lnTo>
                    <a:pt x="930" y="54"/>
                  </a:lnTo>
                  <a:lnTo>
                    <a:pt x="930" y="78"/>
                  </a:lnTo>
                  <a:lnTo>
                    <a:pt x="954" y="72"/>
                  </a:lnTo>
                  <a:lnTo>
                    <a:pt x="954" y="60"/>
                  </a:lnTo>
                  <a:lnTo>
                    <a:pt x="966" y="66"/>
                  </a:lnTo>
                  <a:lnTo>
                    <a:pt x="966" y="78"/>
                  </a:lnTo>
                  <a:lnTo>
                    <a:pt x="960" y="84"/>
                  </a:lnTo>
                  <a:lnTo>
                    <a:pt x="954" y="102"/>
                  </a:lnTo>
                  <a:lnTo>
                    <a:pt x="972" y="102"/>
                  </a:lnTo>
                  <a:lnTo>
                    <a:pt x="978" y="84"/>
                  </a:lnTo>
                  <a:lnTo>
                    <a:pt x="984" y="72"/>
                  </a:lnTo>
                  <a:lnTo>
                    <a:pt x="990" y="72"/>
                  </a:lnTo>
                  <a:lnTo>
                    <a:pt x="996" y="18"/>
                  </a:lnTo>
                  <a:lnTo>
                    <a:pt x="990" y="12"/>
                  </a:lnTo>
                  <a:lnTo>
                    <a:pt x="1014" y="12"/>
                  </a:lnTo>
                  <a:lnTo>
                    <a:pt x="1026" y="12"/>
                  </a:lnTo>
                  <a:lnTo>
                    <a:pt x="1026" y="24"/>
                  </a:lnTo>
                  <a:lnTo>
                    <a:pt x="1050" y="24"/>
                  </a:lnTo>
                  <a:lnTo>
                    <a:pt x="1050" y="36"/>
                  </a:lnTo>
                  <a:lnTo>
                    <a:pt x="1062" y="66"/>
                  </a:lnTo>
                  <a:lnTo>
                    <a:pt x="1074" y="66"/>
                  </a:lnTo>
                  <a:lnTo>
                    <a:pt x="1080" y="60"/>
                  </a:lnTo>
                  <a:lnTo>
                    <a:pt x="1074" y="24"/>
                  </a:lnTo>
                  <a:lnTo>
                    <a:pt x="1086" y="18"/>
                  </a:lnTo>
                  <a:lnTo>
                    <a:pt x="1086" y="12"/>
                  </a:lnTo>
                  <a:lnTo>
                    <a:pt x="1104" y="6"/>
                  </a:lnTo>
                  <a:lnTo>
                    <a:pt x="1122" y="0"/>
                  </a:lnTo>
                  <a:lnTo>
                    <a:pt x="1134" y="6"/>
                  </a:lnTo>
                  <a:lnTo>
                    <a:pt x="1134" y="42"/>
                  </a:lnTo>
                  <a:lnTo>
                    <a:pt x="1140" y="72"/>
                  </a:lnTo>
                  <a:lnTo>
                    <a:pt x="1158" y="114"/>
                  </a:lnTo>
                  <a:lnTo>
                    <a:pt x="1170" y="114"/>
                  </a:lnTo>
                  <a:lnTo>
                    <a:pt x="1170" y="126"/>
                  </a:lnTo>
                  <a:lnTo>
                    <a:pt x="1182" y="126"/>
                  </a:lnTo>
                  <a:lnTo>
                    <a:pt x="1182" y="138"/>
                  </a:lnTo>
                  <a:lnTo>
                    <a:pt x="1194" y="144"/>
                  </a:lnTo>
                  <a:lnTo>
                    <a:pt x="1194" y="156"/>
                  </a:lnTo>
                  <a:lnTo>
                    <a:pt x="1188" y="156"/>
                  </a:lnTo>
                  <a:lnTo>
                    <a:pt x="1194" y="162"/>
                  </a:lnTo>
                  <a:lnTo>
                    <a:pt x="1194" y="168"/>
                  </a:lnTo>
                  <a:lnTo>
                    <a:pt x="1188" y="168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82" y="180"/>
                  </a:lnTo>
                  <a:lnTo>
                    <a:pt x="1188" y="186"/>
                  </a:lnTo>
                  <a:lnTo>
                    <a:pt x="1188" y="192"/>
                  </a:lnTo>
                  <a:lnTo>
                    <a:pt x="1182" y="198"/>
                  </a:lnTo>
                  <a:lnTo>
                    <a:pt x="1182" y="204"/>
                  </a:lnTo>
                  <a:lnTo>
                    <a:pt x="1182" y="210"/>
                  </a:lnTo>
                  <a:lnTo>
                    <a:pt x="1188" y="210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2"/>
                  </a:lnTo>
                  <a:lnTo>
                    <a:pt x="1194" y="264"/>
                  </a:lnTo>
                  <a:lnTo>
                    <a:pt x="1200" y="264"/>
                  </a:lnTo>
                  <a:lnTo>
                    <a:pt x="1212" y="264"/>
                  </a:lnTo>
                  <a:lnTo>
                    <a:pt x="1212" y="258"/>
                  </a:lnTo>
                  <a:lnTo>
                    <a:pt x="1224" y="258"/>
                  </a:lnTo>
                  <a:lnTo>
                    <a:pt x="1248" y="252"/>
                  </a:lnTo>
                  <a:lnTo>
                    <a:pt x="1248" y="264"/>
                  </a:lnTo>
                  <a:lnTo>
                    <a:pt x="1254" y="264"/>
                  </a:lnTo>
                  <a:lnTo>
                    <a:pt x="1254" y="270"/>
                  </a:lnTo>
                  <a:lnTo>
                    <a:pt x="1260" y="270"/>
                  </a:lnTo>
                  <a:lnTo>
                    <a:pt x="1266" y="270"/>
                  </a:lnTo>
                  <a:lnTo>
                    <a:pt x="1272" y="270"/>
                  </a:lnTo>
                  <a:lnTo>
                    <a:pt x="1272" y="264"/>
                  </a:lnTo>
                  <a:lnTo>
                    <a:pt x="1272" y="258"/>
                  </a:lnTo>
                  <a:lnTo>
                    <a:pt x="1278" y="258"/>
                  </a:lnTo>
                  <a:lnTo>
                    <a:pt x="1278" y="252"/>
                  </a:lnTo>
                  <a:lnTo>
                    <a:pt x="1290" y="252"/>
                  </a:lnTo>
                  <a:lnTo>
                    <a:pt x="1296" y="246"/>
                  </a:lnTo>
                  <a:lnTo>
                    <a:pt x="1308" y="246"/>
                  </a:lnTo>
                  <a:lnTo>
                    <a:pt x="1308" y="240"/>
                  </a:lnTo>
                  <a:lnTo>
                    <a:pt x="1320" y="240"/>
                  </a:lnTo>
                  <a:lnTo>
                    <a:pt x="1326" y="246"/>
                  </a:lnTo>
                  <a:lnTo>
                    <a:pt x="1338" y="246"/>
                  </a:lnTo>
                  <a:lnTo>
                    <a:pt x="1338" y="240"/>
                  </a:lnTo>
                  <a:lnTo>
                    <a:pt x="1350" y="240"/>
                  </a:lnTo>
                  <a:lnTo>
                    <a:pt x="1386" y="234"/>
                  </a:lnTo>
                  <a:lnTo>
                    <a:pt x="1398" y="228"/>
                  </a:lnTo>
                  <a:lnTo>
                    <a:pt x="1404" y="216"/>
                  </a:lnTo>
                  <a:lnTo>
                    <a:pt x="1416" y="204"/>
                  </a:lnTo>
                  <a:lnTo>
                    <a:pt x="1434" y="192"/>
                  </a:lnTo>
                  <a:lnTo>
                    <a:pt x="1446" y="198"/>
                  </a:lnTo>
                  <a:lnTo>
                    <a:pt x="1446" y="204"/>
                  </a:lnTo>
                  <a:lnTo>
                    <a:pt x="1452" y="210"/>
                  </a:lnTo>
                  <a:lnTo>
                    <a:pt x="1464" y="222"/>
                  </a:lnTo>
                  <a:lnTo>
                    <a:pt x="1464" y="228"/>
                  </a:lnTo>
                  <a:lnTo>
                    <a:pt x="1464" y="234"/>
                  </a:lnTo>
                  <a:lnTo>
                    <a:pt x="1470" y="240"/>
                  </a:lnTo>
                  <a:lnTo>
                    <a:pt x="1476" y="228"/>
                  </a:lnTo>
                  <a:lnTo>
                    <a:pt x="1476" y="222"/>
                  </a:lnTo>
                  <a:lnTo>
                    <a:pt x="1482" y="210"/>
                  </a:lnTo>
                  <a:lnTo>
                    <a:pt x="1488" y="192"/>
                  </a:lnTo>
                  <a:lnTo>
                    <a:pt x="1488" y="186"/>
                  </a:lnTo>
                  <a:lnTo>
                    <a:pt x="1488" y="180"/>
                  </a:lnTo>
                  <a:lnTo>
                    <a:pt x="1500" y="180"/>
                  </a:lnTo>
                  <a:lnTo>
                    <a:pt x="1500" y="174"/>
                  </a:lnTo>
                  <a:lnTo>
                    <a:pt x="1518" y="162"/>
                  </a:lnTo>
                  <a:lnTo>
                    <a:pt x="1536" y="150"/>
                  </a:lnTo>
                  <a:lnTo>
                    <a:pt x="1554" y="168"/>
                  </a:lnTo>
                  <a:lnTo>
                    <a:pt x="1572" y="180"/>
                  </a:lnTo>
                  <a:lnTo>
                    <a:pt x="1596" y="216"/>
                  </a:lnTo>
                  <a:lnTo>
                    <a:pt x="1602" y="216"/>
                  </a:lnTo>
                  <a:lnTo>
                    <a:pt x="1614" y="228"/>
                  </a:lnTo>
                  <a:lnTo>
                    <a:pt x="1614" y="234"/>
                  </a:lnTo>
                  <a:lnTo>
                    <a:pt x="1620" y="240"/>
                  </a:lnTo>
                  <a:lnTo>
                    <a:pt x="1620" y="246"/>
                  </a:lnTo>
                  <a:lnTo>
                    <a:pt x="1626" y="252"/>
                  </a:lnTo>
                  <a:lnTo>
                    <a:pt x="1632" y="258"/>
                  </a:lnTo>
                  <a:lnTo>
                    <a:pt x="1632" y="264"/>
                  </a:lnTo>
                  <a:lnTo>
                    <a:pt x="1638" y="264"/>
                  </a:lnTo>
                  <a:lnTo>
                    <a:pt x="1638" y="270"/>
                  </a:lnTo>
                  <a:lnTo>
                    <a:pt x="1638" y="276"/>
                  </a:lnTo>
                  <a:lnTo>
                    <a:pt x="1638" y="282"/>
                  </a:lnTo>
                  <a:lnTo>
                    <a:pt x="1644" y="288"/>
                  </a:lnTo>
                  <a:lnTo>
                    <a:pt x="1644" y="294"/>
                  </a:lnTo>
                  <a:lnTo>
                    <a:pt x="1644" y="300"/>
                  </a:lnTo>
                  <a:lnTo>
                    <a:pt x="1644" y="306"/>
                  </a:lnTo>
                  <a:lnTo>
                    <a:pt x="1650" y="306"/>
                  </a:lnTo>
                  <a:lnTo>
                    <a:pt x="1650" y="312"/>
                  </a:lnTo>
                  <a:lnTo>
                    <a:pt x="1650" y="318"/>
                  </a:lnTo>
                  <a:lnTo>
                    <a:pt x="1650" y="324"/>
                  </a:lnTo>
                  <a:lnTo>
                    <a:pt x="1644" y="330"/>
                  </a:lnTo>
                  <a:lnTo>
                    <a:pt x="1626" y="330"/>
                  </a:lnTo>
                  <a:lnTo>
                    <a:pt x="1626" y="336"/>
                  </a:lnTo>
                  <a:lnTo>
                    <a:pt x="1626" y="342"/>
                  </a:lnTo>
                  <a:lnTo>
                    <a:pt x="1626" y="348"/>
                  </a:lnTo>
                  <a:lnTo>
                    <a:pt x="1620" y="354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14" y="390"/>
                  </a:lnTo>
                  <a:lnTo>
                    <a:pt x="1614" y="396"/>
                  </a:lnTo>
                  <a:lnTo>
                    <a:pt x="1614" y="402"/>
                  </a:lnTo>
                  <a:lnTo>
                    <a:pt x="1614" y="408"/>
                  </a:lnTo>
                  <a:lnTo>
                    <a:pt x="1614" y="414"/>
                  </a:lnTo>
                  <a:lnTo>
                    <a:pt x="1602" y="420"/>
                  </a:lnTo>
                  <a:lnTo>
                    <a:pt x="1602" y="426"/>
                  </a:lnTo>
                  <a:lnTo>
                    <a:pt x="1608" y="432"/>
                  </a:lnTo>
                  <a:lnTo>
                    <a:pt x="1614" y="426"/>
                  </a:lnTo>
                  <a:lnTo>
                    <a:pt x="1620" y="438"/>
                  </a:lnTo>
                  <a:lnTo>
                    <a:pt x="1626" y="438"/>
                  </a:lnTo>
                  <a:lnTo>
                    <a:pt x="1632" y="444"/>
                  </a:lnTo>
                  <a:lnTo>
                    <a:pt x="1626" y="456"/>
                  </a:lnTo>
                  <a:lnTo>
                    <a:pt x="1626" y="468"/>
                  </a:lnTo>
                  <a:lnTo>
                    <a:pt x="1620" y="474"/>
                  </a:lnTo>
                  <a:lnTo>
                    <a:pt x="1614" y="474"/>
                  </a:lnTo>
                  <a:lnTo>
                    <a:pt x="1614" y="486"/>
                  </a:lnTo>
                  <a:lnTo>
                    <a:pt x="1614" y="492"/>
                  </a:lnTo>
                  <a:lnTo>
                    <a:pt x="1620" y="492"/>
                  </a:lnTo>
                  <a:lnTo>
                    <a:pt x="1626" y="498"/>
                  </a:lnTo>
                  <a:lnTo>
                    <a:pt x="1626" y="504"/>
                  </a:lnTo>
                  <a:lnTo>
                    <a:pt x="1626" y="510"/>
                  </a:lnTo>
                  <a:lnTo>
                    <a:pt x="1620" y="516"/>
                  </a:lnTo>
                  <a:lnTo>
                    <a:pt x="1620" y="522"/>
                  </a:lnTo>
                  <a:lnTo>
                    <a:pt x="1614" y="522"/>
                  </a:lnTo>
                  <a:lnTo>
                    <a:pt x="1608" y="528"/>
                  </a:lnTo>
                  <a:lnTo>
                    <a:pt x="1602" y="522"/>
                  </a:lnTo>
                  <a:lnTo>
                    <a:pt x="1602" y="528"/>
                  </a:lnTo>
                  <a:lnTo>
                    <a:pt x="1602" y="540"/>
                  </a:lnTo>
                  <a:lnTo>
                    <a:pt x="1602" y="558"/>
                  </a:lnTo>
                  <a:lnTo>
                    <a:pt x="1602" y="564"/>
                  </a:lnTo>
                  <a:lnTo>
                    <a:pt x="1602" y="570"/>
                  </a:lnTo>
                  <a:lnTo>
                    <a:pt x="1602" y="576"/>
                  </a:lnTo>
                  <a:lnTo>
                    <a:pt x="1596" y="576"/>
                  </a:lnTo>
                  <a:lnTo>
                    <a:pt x="1632" y="582"/>
                  </a:lnTo>
                  <a:lnTo>
                    <a:pt x="1644" y="618"/>
                  </a:lnTo>
                  <a:lnTo>
                    <a:pt x="1650" y="648"/>
                  </a:lnTo>
                  <a:lnTo>
                    <a:pt x="1662" y="636"/>
                  </a:lnTo>
                  <a:lnTo>
                    <a:pt x="1668" y="636"/>
                  </a:lnTo>
                  <a:lnTo>
                    <a:pt x="1674" y="636"/>
                  </a:lnTo>
                  <a:lnTo>
                    <a:pt x="1680" y="630"/>
                  </a:lnTo>
                  <a:lnTo>
                    <a:pt x="1686" y="630"/>
                  </a:lnTo>
                  <a:lnTo>
                    <a:pt x="1692" y="630"/>
                  </a:lnTo>
                  <a:lnTo>
                    <a:pt x="1698" y="630"/>
                  </a:lnTo>
                  <a:lnTo>
                    <a:pt x="1704" y="630"/>
                  </a:lnTo>
                  <a:lnTo>
                    <a:pt x="1704" y="624"/>
                  </a:lnTo>
                  <a:lnTo>
                    <a:pt x="1710" y="624"/>
                  </a:lnTo>
                  <a:lnTo>
                    <a:pt x="1716" y="624"/>
                  </a:lnTo>
                  <a:lnTo>
                    <a:pt x="1722" y="624"/>
                  </a:lnTo>
                  <a:lnTo>
                    <a:pt x="1728" y="624"/>
                  </a:lnTo>
                  <a:lnTo>
                    <a:pt x="1722" y="618"/>
                  </a:lnTo>
                  <a:lnTo>
                    <a:pt x="1728" y="606"/>
                  </a:lnTo>
                  <a:lnTo>
                    <a:pt x="1734" y="606"/>
                  </a:lnTo>
                  <a:lnTo>
                    <a:pt x="1740" y="600"/>
                  </a:lnTo>
                  <a:lnTo>
                    <a:pt x="1746" y="594"/>
                  </a:lnTo>
                  <a:lnTo>
                    <a:pt x="1752" y="588"/>
                  </a:lnTo>
                  <a:lnTo>
                    <a:pt x="1752" y="582"/>
                  </a:lnTo>
                  <a:lnTo>
                    <a:pt x="1758" y="576"/>
                  </a:lnTo>
                  <a:lnTo>
                    <a:pt x="1764" y="576"/>
                  </a:lnTo>
                  <a:lnTo>
                    <a:pt x="1770" y="570"/>
                  </a:lnTo>
                  <a:lnTo>
                    <a:pt x="1776" y="564"/>
                  </a:lnTo>
                  <a:lnTo>
                    <a:pt x="1788" y="558"/>
                  </a:lnTo>
                  <a:lnTo>
                    <a:pt x="1788" y="546"/>
                  </a:lnTo>
                  <a:lnTo>
                    <a:pt x="1788" y="540"/>
                  </a:lnTo>
                  <a:lnTo>
                    <a:pt x="1794" y="540"/>
                  </a:lnTo>
                  <a:lnTo>
                    <a:pt x="1788" y="534"/>
                  </a:lnTo>
                  <a:lnTo>
                    <a:pt x="1788" y="528"/>
                  </a:lnTo>
                  <a:lnTo>
                    <a:pt x="1794" y="516"/>
                  </a:lnTo>
                  <a:lnTo>
                    <a:pt x="1800" y="510"/>
                  </a:lnTo>
                  <a:lnTo>
                    <a:pt x="1812" y="510"/>
                  </a:lnTo>
                  <a:lnTo>
                    <a:pt x="1818" y="504"/>
                  </a:lnTo>
                  <a:lnTo>
                    <a:pt x="1824" y="504"/>
                  </a:lnTo>
                  <a:lnTo>
                    <a:pt x="1830" y="498"/>
                  </a:lnTo>
                  <a:lnTo>
                    <a:pt x="1836" y="498"/>
                  </a:lnTo>
                  <a:lnTo>
                    <a:pt x="1848" y="492"/>
                  </a:lnTo>
                  <a:lnTo>
                    <a:pt x="1848" y="480"/>
                  </a:lnTo>
                  <a:lnTo>
                    <a:pt x="1854" y="480"/>
                  </a:lnTo>
                  <a:lnTo>
                    <a:pt x="1890" y="504"/>
                  </a:lnTo>
                  <a:lnTo>
                    <a:pt x="1908" y="534"/>
                  </a:lnTo>
                  <a:lnTo>
                    <a:pt x="1902" y="534"/>
                  </a:lnTo>
                  <a:lnTo>
                    <a:pt x="1920" y="528"/>
                  </a:lnTo>
                  <a:lnTo>
                    <a:pt x="1920" y="516"/>
                  </a:lnTo>
                  <a:lnTo>
                    <a:pt x="1944" y="516"/>
                  </a:lnTo>
                  <a:lnTo>
                    <a:pt x="2004" y="516"/>
                  </a:lnTo>
                  <a:lnTo>
                    <a:pt x="2010" y="510"/>
                  </a:lnTo>
                  <a:lnTo>
                    <a:pt x="2004" y="510"/>
                  </a:lnTo>
                  <a:lnTo>
                    <a:pt x="2010" y="498"/>
                  </a:lnTo>
                  <a:lnTo>
                    <a:pt x="2004" y="486"/>
                  </a:lnTo>
                  <a:lnTo>
                    <a:pt x="2004" y="480"/>
                  </a:lnTo>
                  <a:lnTo>
                    <a:pt x="2004" y="474"/>
                  </a:lnTo>
                  <a:lnTo>
                    <a:pt x="2004" y="462"/>
                  </a:lnTo>
                  <a:lnTo>
                    <a:pt x="2004" y="456"/>
                  </a:lnTo>
                  <a:lnTo>
                    <a:pt x="2058" y="462"/>
                  </a:lnTo>
                  <a:lnTo>
                    <a:pt x="2076" y="474"/>
                  </a:lnTo>
                  <a:lnTo>
                    <a:pt x="2082" y="522"/>
                  </a:lnTo>
                  <a:lnTo>
                    <a:pt x="2088" y="516"/>
                  </a:lnTo>
                  <a:lnTo>
                    <a:pt x="2094" y="522"/>
                  </a:lnTo>
                  <a:lnTo>
                    <a:pt x="2100" y="528"/>
                  </a:lnTo>
                  <a:lnTo>
                    <a:pt x="2130" y="540"/>
                  </a:lnTo>
                  <a:lnTo>
                    <a:pt x="2160" y="564"/>
                  </a:lnTo>
                  <a:lnTo>
                    <a:pt x="2166" y="600"/>
                  </a:lnTo>
                  <a:lnTo>
                    <a:pt x="2160" y="618"/>
                  </a:lnTo>
                  <a:lnTo>
                    <a:pt x="2142" y="636"/>
                  </a:lnTo>
                  <a:lnTo>
                    <a:pt x="2148" y="648"/>
                  </a:lnTo>
                  <a:lnTo>
                    <a:pt x="2154" y="660"/>
                  </a:lnTo>
                  <a:lnTo>
                    <a:pt x="2196" y="654"/>
                  </a:lnTo>
                  <a:lnTo>
                    <a:pt x="2214" y="660"/>
                  </a:lnTo>
                  <a:lnTo>
                    <a:pt x="2214" y="666"/>
                  </a:lnTo>
                  <a:lnTo>
                    <a:pt x="2220" y="672"/>
                  </a:lnTo>
                  <a:lnTo>
                    <a:pt x="2214" y="678"/>
                  </a:lnTo>
                  <a:lnTo>
                    <a:pt x="2214" y="684"/>
                  </a:lnTo>
                  <a:lnTo>
                    <a:pt x="2214" y="690"/>
                  </a:lnTo>
                  <a:lnTo>
                    <a:pt x="2208" y="690"/>
                  </a:lnTo>
                  <a:lnTo>
                    <a:pt x="2202" y="696"/>
                  </a:lnTo>
                  <a:lnTo>
                    <a:pt x="2196" y="702"/>
                  </a:lnTo>
                  <a:lnTo>
                    <a:pt x="2190" y="708"/>
                  </a:lnTo>
                  <a:lnTo>
                    <a:pt x="2190" y="720"/>
                  </a:lnTo>
                  <a:lnTo>
                    <a:pt x="2184" y="720"/>
                  </a:lnTo>
                  <a:lnTo>
                    <a:pt x="2178" y="726"/>
                  </a:lnTo>
                  <a:lnTo>
                    <a:pt x="2166" y="732"/>
                  </a:lnTo>
                  <a:lnTo>
                    <a:pt x="2160" y="744"/>
                  </a:lnTo>
                  <a:lnTo>
                    <a:pt x="2154" y="756"/>
                  </a:lnTo>
                  <a:lnTo>
                    <a:pt x="2148" y="762"/>
                  </a:lnTo>
                  <a:lnTo>
                    <a:pt x="2124" y="762"/>
                  </a:lnTo>
                  <a:lnTo>
                    <a:pt x="2124" y="768"/>
                  </a:lnTo>
                  <a:lnTo>
                    <a:pt x="2118" y="768"/>
                  </a:lnTo>
                  <a:lnTo>
                    <a:pt x="2124" y="774"/>
                  </a:lnTo>
                  <a:lnTo>
                    <a:pt x="2118" y="774"/>
                  </a:lnTo>
                  <a:lnTo>
                    <a:pt x="2112" y="774"/>
                  </a:lnTo>
                  <a:lnTo>
                    <a:pt x="2106" y="780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06" y="798"/>
                  </a:lnTo>
                  <a:lnTo>
                    <a:pt x="2106" y="810"/>
                  </a:lnTo>
                  <a:lnTo>
                    <a:pt x="2112" y="828"/>
                  </a:lnTo>
                  <a:lnTo>
                    <a:pt x="2112" y="834"/>
                  </a:lnTo>
                  <a:lnTo>
                    <a:pt x="2112" y="840"/>
                  </a:lnTo>
                  <a:lnTo>
                    <a:pt x="2112" y="834"/>
                  </a:lnTo>
                  <a:lnTo>
                    <a:pt x="2124" y="834"/>
                  </a:lnTo>
                  <a:lnTo>
                    <a:pt x="2130" y="834"/>
                  </a:lnTo>
                  <a:lnTo>
                    <a:pt x="2136" y="840"/>
                  </a:lnTo>
                  <a:lnTo>
                    <a:pt x="2142" y="840"/>
                  </a:lnTo>
                  <a:lnTo>
                    <a:pt x="2154" y="852"/>
                  </a:lnTo>
                  <a:lnTo>
                    <a:pt x="2160" y="852"/>
                  </a:lnTo>
                  <a:lnTo>
                    <a:pt x="2172" y="846"/>
                  </a:lnTo>
                  <a:lnTo>
                    <a:pt x="2178" y="846"/>
                  </a:lnTo>
                  <a:lnTo>
                    <a:pt x="2184" y="846"/>
                  </a:lnTo>
                  <a:lnTo>
                    <a:pt x="2190" y="846"/>
                  </a:lnTo>
                  <a:lnTo>
                    <a:pt x="2196" y="852"/>
                  </a:lnTo>
                  <a:lnTo>
                    <a:pt x="2196" y="858"/>
                  </a:lnTo>
                  <a:lnTo>
                    <a:pt x="2202" y="852"/>
                  </a:lnTo>
                  <a:lnTo>
                    <a:pt x="2208" y="846"/>
                  </a:lnTo>
                  <a:lnTo>
                    <a:pt x="2214" y="846"/>
                  </a:lnTo>
                  <a:lnTo>
                    <a:pt x="2226" y="846"/>
                  </a:lnTo>
                  <a:lnTo>
                    <a:pt x="2232" y="852"/>
                  </a:lnTo>
                  <a:lnTo>
                    <a:pt x="2238" y="852"/>
                  </a:lnTo>
                  <a:lnTo>
                    <a:pt x="2244" y="858"/>
                  </a:lnTo>
                  <a:lnTo>
                    <a:pt x="2250" y="858"/>
                  </a:lnTo>
                  <a:lnTo>
                    <a:pt x="2256" y="858"/>
                  </a:lnTo>
                  <a:lnTo>
                    <a:pt x="2262" y="858"/>
                  </a:lnTo>
                  <a:lnTo>
                    <a:pt x="2268" y="852"/>
                  </a:lnTo>
                  <a:lnTo>
                    <a:pt x="2274" y="852"/>
                  </a:lnTo>
                  <a:lnTo>
                    <a:pt x="2280" y="852"/>
                  </a:lnTo>
                  <a:lnTo>
                    <a:pt x="2286" y="852"/>
                  </a:lnTo>
                  <a:lnTo>
                    <a:pt x="2298" y="858"/>
                  </a:lnTo>
                  <a:lnTo>
                    <a:pt x="2304" y="858"/>
                  </a:lnTo>
                  <a:lnTo>
                    <a:pt x="2310" y="858"/>
                  </a:lnTo>
                  <a:lnTo>
                    <a:pt x="2316" y="852"/>
                  </a:lnTo>
                  <a:lnTo>
                    <a:pt x="2322" y="858"/>
                  </a:lnTo>
                  <a:lnTo>
                    <a:pt x="2328" y="858"/>
                  </a:lnTo>
                  <a:lnTo>
                    <a:pt x="2328" y="852"/>
                  </a:lnTo>
                  <a:lnTo>
                    <a:pt x="2364" y="858"/>
                  </a:lnTo>
                  <a:lnTo>
                    <a:pt x="2376" y="876"/>
                  </a:lnTo>
                  <a:lnTo>
                    <a:pt x="2382" y="936"/>
                  </a:lnTo>
                  <a:lnTo>
                    <a:pt x="2388" y="966"/>
                  </a:lnTo>
                  <a:lnTo>
                    <a:pt x="2382" y="972"/>
                  </a:lnTo>
                  <a:lnTo>
                    <a:pt x="2382" y="978"/>
                  </a:lnTo>
                  <a:lnTo>
                    <a:pt x="2382" y="984"/>
                  </a:lnTo>
                  <a:lnTo>
                    <a:pt x="2388" y="990"/>
                  </a:lnTo>
                  <a:lnTo>
                    <a:pt x="2382" y="990"/>
                  </a:lnTo>
                  <a:lnTo>
                    <a:pt x="2382" y="996"/>
                  </a:lnTo>
                  <a:lnTo>
                    <a:pt x="2376" y="996"/>
                  </a:lnTo>
                  <a:lnTo>
                    <a:pt x="2376" y="1020"/>
                  </a:lnTo>
                  <a:lnTo>
                    <a:pt x="2370" y="1032"/>
                  </a:lnTo>
                  <a:lnTo>
                    <a:pt x="2352" y="1032"/>
                  </a:lnTo>
                  <a:lnTo>
                    <a:pt x="2346" y="1020"/>
                  </a:lnTo>
                  <a:lnTo>
                    <a:pt x="2328" y="1032"/>
                  </a:lnTo>
                  <a:lnTo>
                    <a:pt x="2316" y="1038"/>
                  </a:lnTo>
                  <a:lnTo>
                    <a:pt x="2328" y="1044"/>
                  </a:lnTo>
                  <a:lnTo>
                    <a:pt x="2340" y="1056"/>
                  </a:lnTo>
                  <a:lnTo>
                    <a:pt x="2376" y="1062"/>
                  </a:lnTo>
                  <a:lnTo>
                    <a:pt x="2376" y="1068"/>
                  </a:lnTo>
                  <a:lnTo>
                    <a:pt x="2382" y="1086"/>
                  </a:lnTo>
                  <a:lnTo>
                    <a:pt x="2376" y="1086"/>
                  </a:lnTo>
                  <a:lnTo>
                    <a:pt x="2370" y="1086"/>
                  </a:lnTo>
                  <a:lnTo>
                    <a:pt x="2364" y="1086"/>
                  </a:lnTo>
                  <a:lnTo>
                    <a:pt x="2364" y="1098"/>
                  </a:lnTo>
                  <a:lnTo>
                    <a:pt x="2388" y="1104"/>
                  </a:lnTo>
                  <a:lnTo>
                    <a:pt x="2400" y="1122"/>
                  </a:lnTo>
                  <a:lnTo>
                    <a:pt x="2400" y="1134"/>
                  </a:lnTo>
                  <a:lnTo>
                    <a:pt x="2400" y="1146"/>
                  </a:lnTo>
                  <a:lnTo>
                    <a:pt x="2394" y="1146"/>
                  </a:lnTo>
                  <a:lnTo>
                    <a:pt x="2394" y="1152"/>
                  </a:lnTo>
                  <a:lnTo>
                    <a:pt x="2388" y="1152"/>
                  </a:lnTo>
                  <a:lnTo>
                    <a:pt x="2388" y="1146"/>
                  </a:lnTo>
                  <a:lnTo>
                    <a:pt x="2382" y="1152"/>
                  </a:lnTo>
                  <a:lnTo>
                    <a:pt x="2376" y="1152"/>
                  </a:lnTo>
                  <a:lnTo>
                    <a:pt x="2370" y="1158"/>
                  </a:lnTo>
                  <a:lnTo>
                    <a:pt x="2370" y="1164"/>
                  </a:lnTo>
                  <a:lnTo>
                    <a:pt x="2364" y="1170"/>
                  </a:lnTo>
                  <a:lnTo>
                    <a:pt x="2370" y="1170"/>
                  </a:lnTo>
                  <a:lnTo>
                    <a:pt x="2376" y="1170"/>
                  </a:lnTo>
                  <a:lnTo>
                    <a:pt x="2370" y="1176"/>
                  </a:lnTo>
                  <a:lnTo>
                    <a:pt x="2364" y="1176"/>
                  </a:lnTo>
                  <a:lnTo>
                    <a:pt x="2358" y="1182"/>
                  </a:lnTo>
                  <a:lnTo>
                    <a:pt x="2352" y="1182"/>
                  </a:lnTo>
                  <a:lnTo>
                    <a:pt x="2346" y="1188"/>
                  </a:lnTo>
                  <a:lnTo>
                    <a:pt x="2340" y="1182"/>
                  </a:lnTo>
                  <a:lnTo>
                    <a:pt x="2334" y="1182"/>
                  </a:lnTo>
                  <a:lnTo>
                    <a:pt x="2334" y="1188"/>
                  </a:lnTo>
                  <a:lnTo>
                    <a:pt x="2328" y="1194"/>
                  </a:lnTo>
                  <a:lnTo>
                    <a:pt x="2328" y="1200"/>
                  </a:lnTo>
                  <a:lnTo>
                    <a:pt x="2322" y="1224"/>
                  </a:lnTo>
                  <a:lnTo>
                    <a:pt x="2328" y="1230"/>
                  </a:lnTo>
                  <a:lnTo>
                    <a:pt x="2358" y="1230"/>
                  </a:lnTo>
                  <a:lnTo>
                    <a:pt x="2358" y="1242"/>
                  </a:lnTo>
                  <a:lnTo>
                    <a:pt x="2358" y="1254"/>
                  </a:lnTo>
                  <a:lnTo>
                    <a:pt x="2346" y="1254"/>
                  </a:lnTo>
                  <a:lnTo>
                    <a:pt x="2346" y="1278"/>
                  </a:lnTo>
                  <a:lnTo>
                    <a:pt x="2358" y="1278"/>
                  </a:lnTo>
                  <a:lnTo>
                    <a:pt x="2358" y="1284"/>
                  </a:lnTo>
                  <a:lnTo>
                    <a:pt x="2376" y="1284"/>
                  </a:lnTo>
                  <a:lnTo>
                    <a:pt x="2388" y="1278"/>
                  </a:lnTo>
                  <a:lnTo>
                    <a:pt x="2406" y="1278"/>
                  </a:lnTo>
                  <a:lnTo>
                    <a:pt x="2430" y="1284"/>
                  </a:lnTo>
                  <a:lnTo>
                    <a:pt x="2430" y="1302"/>
                  </a:lnTo>
                  <a:lnTo>
                    <a:pt x="2430" y="1314"/>
                  </a:lnTo>
                  <a:lnTo>
                    <a:pt x="2424" y="1326"/>
                  </a:lnTo>
                  <a:lnTo>
                    <a:pt x="2412" y="1326"/>
                  </a:lnTo>
                  <a:lnTo>
                    <a:pt x="2412" y="1344"/>
                  </a:lnTo>
                  <a:lnTo>
                    <a:pt x="2406" y="1344"/>
                  </a:lnTo>
                  <a:lnTo>
                    <a:pt x="2400" y="1362"/>
                  </a:lnTo>
                  <a:lnTo>
                    <a:pt x="2394" y="1368"/>
                  </a:lnTo>
                  <a:lnTo>
                    <a:pt x="2388" y="1374"/>
                  </a:lnTo>
                  <a:lnTo>
                    <a:pt x="2382" y="1380"/>
                  </a:lnTo>
                  <a:lnTo>
                    <a:pt x="2376" y="1386"/>
                  </a:lnTo>
                  <a:lnTo>
                    <a:pt x="2376" y="1392"/>
                  </a:lnTo>
                  <a:lnTo>
                    <a:pt x="2370" y="1404"/>
                  </a:lnTo>
                  <a:lnTo>
                    <a:pt x="2364" y="1416"/>
                  </a:lnTo>
                  <a:lnTo>
                    <a:pt x="2346" y="1434"/>
                  </a:lnTo>
                  <a:lnTo>
                    <a:pt x="2328" y="1440"/>
                  </a:lnTo>
                  <a:lnTo>
                    <a:pt x="2328" y="1446"/>
                  </a:lnTo>
                  <a:lnTo>
                    <a:pt x="2322" y="1452"/>
                  </a:lnTo>
                  <a:lnTo>
                    <a:pt x="2316" y="1452"/>
                  </a:lnTo>
                  <a:lnTo>
                    <a:pt x="2304" y="1446"/>
                  </a:lnTo>
                  <a:lnTo>
                    <a:pt x="2298" y="1446"/>
                  </a:lnTo>
                  <a:lnTo>
                    <a:pt x="2298" y="1434"/>
                  </a:lnTo>
                  <a:lnTo>
                    <a:pt x="2292" y="1434"/>
                  </a:lnTo>
                  <a:lnTo>
                    <a:pt x="2286" y="1428"/>
                  </a:lnTo>
                  <a:lnTo>
                    <a:pt x="2274" y="1416"/>
                  </a:lnTo>
                  <a:lnTo>
                    <a:pt x="2256" y="1404"/>
                  </a:lnTo>
                  <a:lnTo>
                    <a:pt x="2244" y="1386"/>
                  </a:lnTo>
                  <a:lnTo>
                    <a:pt x="2220" y="1368"/>
                  </a:lnTo>
                  <a:lnTo>
                    <a:pt x="2208" y="1362"/>
                  </a:lnTo>
                  <a:lnTo>
                    <a:pt x="2202" y="1350"/>
                  </a:lnTo>
                  <a:lnTo>
                    <a:pt x="2196" y="1350"/>
                  </a:lnTo>
                  <a:lnTo>
                    <a:pt x="2190" y="1356"/>
                  </a:lnTo>
                  <a:lnTo>
                    <a:pt x="2184" y="1356"/>
                  </a:lnTo>
                  <a:lnTo>
                    <a:pt x="2094" y="1350"/>
                  </a:lnTo>
                  <a:lnTo>
                    <a:pt x="2058" y="1350"/>
                  </a:lnTo>
                  <a:lnTo>
                    <a:pt x="2034" y="1890"/>
                  </a:lnTo>
                  <a:lnTo>
                    <a:pt x="2064" y="1890"/>
                  </a:lnTo>
                  <a:lnTo>
                    <a:pt x="2070" y="1896"/>
                  </a:lnTo>
                  <a:lnTo>
                    <a:pt x="2076" y="18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8" name="Freeform 33">
              <a:extLst>
                <a:ext uri="{FF2B5EF4-FFF2-40B4-BE49-F238E27FC236}">
                  <a16:creationId xmlns:a16="http://schemas.microsoft.com/office/drawing/2014/main" id="{0E96F118-1F4D-4E52-AF27-149259451CD6}"/>
                </a:ext>
              </a:extLst>
            </p:cNvPr>
            <p:cNvSpPr>
              <a:spLocks/>
            </p:cNvSpPr>
            <p:nvPr/>
          </p:nvSpPr>
          <p:spPr bwMode="gray">
            <a:xfrm>
              <a:off x="1266662" y="1459989"/>
              <a:ext cx="903421" cy="778302"/>
            </a:xfrm>
            <a:custGeom>
              <a:avLst/>
              <a:gdLst>
                <a:gd name="T0" fmla="*/ 143 w 1698"/>
                <a:gd name="T1" fmla="*/ 43 h 1464"/>
                <a:gd name="T2" fmla="*/ 131 w 1698"/>
                <a:gd name="T3" fmla="*/ 44 h 1464"/>
                <a:gd name="T4" fmla="*/ 126 w 1698"/>
                <a:gd name="T5" fmla="*/ 41 h 1464"/>
                <a:gd name="T6" fmla="*/ 119 w 1698"/>
                <a:gd name="T7" fmla="*/ 45 h 1464"/>
                <a:gd name="T8" fmla="*/ 111 w 1698"/>
                <a:gd name="T9" fmla="*/ 46 h 1464"/>
                <a:gd name="T10" fmla="*/ 107 w 1698"/>
                <a:gd name="T11" fmla="*/ 50 h 1464"/>
                <a:gd name="T12" fmla="*/ 107 w 1698"/>
                <a:gd name="T13" fmla="*/ 60 h 1464"/>
                <a:gd name="T14" fmla="*/ 104 w 1698"/>
                <a:gd name="T15" fmla="*/ 62 h 1464"/>
                <a:gd name="T16" fmla="*/ 97 w 1698"/>
                <a:gd name="T17" fmla="*/ 59 h 1464"/>
                <a:gd name="T18" fmla="*/ 92 w 1698"/>
                <a:gd name="T19" fmla="*/ 59 h 1464"/>
                <a:gd name="T20" fmla="*/ 90 w 1698"/>
                <a:gd name="T21" fmla="*/ 62 h 1464"/>
                <a:gd name="T22" fmla="*/ 93 w 1698"/>
                <a:gd name="T23" fmla="*/ 77 h 1464"/>
                <a:gd name="T24" fmla="*/ 85 w 1698"/>
                <a:gd name="T25" fmla="*/ 88 h 1464"/>
                <a:gd name="T26" fmla="*/ 70 w 1698"/>
                <a:gd name="T27" fmla="*/ 89 h 1464"/>
                <a:gd name="T28" fmla="*/ 65 w 1698"/>
                <a:gd name="T29" fmla="*/ 88 h 1464"/>
                <a:gd name="T30" fmla="*/ 50 w 1698"/>
                <a:gd name="T31" fmla="*/ 88 h 1464"/>
                <a:gd name="T32" fmla="*/ 48 w 1698"/>
                <a:gd name="T33" fmla="*/ 107 h 1464"/>
                <a:gd name="T34" fmla="*/ 47 w 1698"/>
                <a:gd name="T35" fmla="*/ 120 h 1464"/>
                <a:gd name="T36" fmla="*/ 43 w 1698"/>
                <a:gd name="T37" fmla="*/ 121 h 1464"/>
                <a:gd name="T38" fmla="*/ 40 w 1698"/>
                <a:gd name="T39" fmla="*/ 120 h 1464"/>
                <a:gd name="T40" fmla="*/ 35 w 1698"/>
                <a:gd name="T41" fmla="*/ 122 h 1464"/>
                <a:gd name="T42" fmla="*/ 29 w 1698"/>
                <a:gd name="T43" fmla="*/ 123 h 1464"/>
                <a:gd name="T44" fmla="*/ 24 w 1698"/>
                <a:gd name="T45" fmla="*/ 125 h 1464"/>
                <a:gd name="T46" fmla="*/ 20 w 1698"/>
                <a:gd name="T47" fmla="*/ 125 h 1464"/>
                <a:gd name="T48" fmla="*/ 18 w 1698"/>
                <a:gd name="T49" fmla="*/ 122 h 1464"/>
                <a:gd name="T50" fmla="*/ 26 w 1698"/>
                <a:gd name="T51" fmla="*/ 108 h 1464"/>
                <a:gd name="T52" fmla="*/ 24 w 1698"/>
                <a:gd name="T53" fmla="*/ 89 h 1464"/>
                <a:gd name="T54" fmla="*/ 28 w 1698"/>
                <a:gd name="T55" fmla="*/ 85 h 1464"/>
                <a:gd name="T56" fmla="*/ 32 w 1698"/>
                <a:gd name="T57" fmla="*/ 80 h 1464"/>
                <a:gd name="T58" fmla="*/ 36 w 1698"/>
                <a:gd name="T59" fmla="*/ 86 h 1464"/>
                <a:gd name="T60" fmla="*/ 39 w 1698"/>
                <a:gd name="T61" fmla="*/ 80 h 1464"/>
                <a:gd name="T62" fmla="*/ 41 w 1698"/>
                <a:gd name="T63" fmla="*/ 73 h 1464"/>
                <a:gd name="T64" fmla="*/ 38 w 1698"/>
                <a:gd name="T65" fmla="*/ 64 h 1464"/>
                <a:gd name="T66" fmla="*/ 39 w 1698"/>
                <a:gd name="T67" fmla="*/ 59 h 1464"/>
                <a:gd name="T68" fmla="*/ 32 w 1698"/>
                <a:gd name="T69" fmla="*/ 54 h 1464"/>
                <a:gd name="T70" fmla="*/ 32 w 1698"/>
                <a:gd name="T71" fmla="*/ 45 h 1464"/>
                <a:gd name="T72" fmla="*/ 31 w 1698"/>
                <a:gd name="T73" fmla="*/ 41 h 1464"/>
                <a:gd name="T74" fmla="*/ 24 w 1698"/>
                <a:gd name="T75" fmla="*/ 43 h 1464"/>
                <a:gd name="T76" fmla="*/ 17 w 1698"/>
                <a:gd name="T77" fmla="*/ 40 h 1464"/>
                <a:gd name="T78" fmla="*/ 11 w 1698"/>
                <a:gd name="T79" fmla="*/ 38 h 1464"/>
                <a:gd name="T80" fmla="*/ 2 w 1698"/>
                <a:gd name="T81" fmla="*/ 36 h 1464"/>
                <a:gd name="T82" fmla="*/ 0 w 1698"/>
                <a:gd name="T83" fmla="*/ 24 h 1464"/>
                <a:gd name="T84" fmla="*/ 11 w 1698"/>
                <a:gd name="T85" fmla="*/ 18 h 1464"/>
                <a:gd name="T86" fmla="*/ 19 w 1698"/>
                <a:gd name="T87" fmla="*/ 10 h 1464"/>
                <a:gd name="T88" fmla="*/ 28 w 1698"/>
                <a:gd name="T89" fmla="*/ 9 h 1464"/>
                <a:gd name="T90" fmla="*/ 40 w 1698"/>
                <a:gd name="T91" fmla="*/ 6 h 1464"/>
                <a:gd name="T92" fmla="*/ 49 w 1698"/>
                <a:gd name="T93" fmla="*/ 8 h 1464"/>
                <a:gd name="T94" fmla="*/ 56 w 1698"/>
                <a:gd name="T95" fmla="*/ 8 h 1464"/>
                <a:gd name="T96" fmla="*/ 64 w 1698"/>
                <a:gd name="T97" fmla="*/ 7 h 1464"/>
                <a:gd name="T98" fmla="*/ 74 w 1698"/>
                <a:gd name="T99" fmla="*/ 1 h 1464"/>
                <a:gd name="T100" fmla="*/ 83 w 1698"/>
                <a:gd name="T101" fmla="*/ 3 h 1464"/>
                <a:gd name="T102" fmla="*/ 99 w 1698"/>
                <a:gd name="T103" fmla="*/ 9 h 1464"/>
                <a:gd name="T104" fmla="*/ 112 w 1698"/>
                <a:gd name="T105" fmla="*/ 14 h 1464"/>
                <a:gd name="T106" fmla="*/ 119 w 1698"/>
                <a:gd name="T107" fmla="*/ 12 h 1464"/>
                <a:gd name="T108" fmla="*/ 128 w 1698"/>
                <a:gd name="T109" fmla="*/ 17 h 1464"/>
                <a:gd name="T110" fmla="*/ 141 w 1698"/>
                <a:gd name="T111" fmla="*/ 29 h 1464"/>
                <a:gd name="T112" fmla="*/ 145 w 1698"/>
                <a:gd name="T113" fmla="*/ 35 h 14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98"/>
                <a:gd name="T172" fmla="*/ 0 h 1464"/>
                <a:gd name="T173" fmla="*/ 1698 w 1698"/>
                <a:gd name="T174" fmla="*/ 1464 h 14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98" h="1464">
                  <a:moveTo>
                    <a:pt x="1698" y="462"/>
                  </a:moveTo>
                  <a:lnTo>
                    <a:pt x="1686" y="468"/>
                  </a:lnTo>
                  <a:lnTo>
                    <a:pt x="1680" y="474"/>
                  </a:lnTo>
                  <a:lnTo>
                    <a:pt x="1674" y="480"/>
                  </a:lnTo>
                  <a:lnTo>
                    <a:pt x="1668" y="480"/>
                  </a:lnTo>
                  <a:lnTo>
                    <a:pt x="1662" y="486"/>
                  </a:lnTo>
                  <a:lnTo>
                    <a:pt x="1656" y="492"/>
                  </a:lnTo>
                  <a:lnTo>
                    <a:pt x="1644" y="498"/>
                  </a:lnTo>
                  <a:lnTo>
                    <a:pt x="1626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0" y="516"/>
                  </a:lnTo>
                  <a:lnTo>
                    <a:pt x="1590" y="522"/>
                  </a:lnTo>
                  <a:lnTo>
                    <a:pt x="1566" y="522"/>
                  </a:lnTo>
                  <a:lnTo>
                    <a:pt x="1506" y="510"/>
                  </a:lnTo>
                  <a:lnTo>
                    <a:pt x="1500" y="510"/>
                  </a:lnTo>
                  <a:lnTo>
                    <a:pt x="1488" y="504"/>
                  </a:lnTo>
                  <a:lnTo>
                    <a:pt x="1482" y="498"/>
                  </a:lnTo>
                  <a:lnTo>
                    <a:pt x="1476" y="498"/>
                  </a:lnTo>
                  <a:lnTo>
                    <a:pt x="1476" y="492"/>
                  </a:lnTo>
                  <a:lnTo>
                    <a:pt x="1470" y="492"/>
                  </a:lnTo>
                  <a:lnTo>
                    <a:pt x="1464" y="486"/>
                  </a:lnTo>
                  <a:lnTo>
                    <a:pt x="1452" y="486"/>
                  </a:lnTo>
                  <a:lnTo>
                    <a:pt x="1446" y="474"/>
                  </a:lnTo>
                  <a:lnTo>
                    <a:pt x="1434" y="468"/>
                  </a:lnTo>
                  <a:lnTo>
                    <a:pt x="1416" y="468"/>
                  </a:lnTo>
                  <a:lnTo>
                    <a:pt x="1392" y="468"/>
                  </a:lnTo>
                  <a:lnTo>
                    <a:pt x="1374" y="474"/>
                  </a:lnTo>
                  <a:lnTo>
                    <a:pt x="1368" y="474"/>
                  </a:lnTo>
                  <a:lnTo>
                    <a:pt x="1368" y="486"/>
                  </a:lnTo>
                  <a:lnTo>
                    <a:pt x="1368" y="498"/>
                  </a:lnTo>
                  <a:lnTo>
                    <a:pt x="1368" y="522"/>
                  </a:lnTo>
                  <a:lnTo>
                    <a:pt x="1368" y="534"/>
                  </a:lnTo>
                  <a:lnTo>
                    <a:pt x="1362" y="546"/>
                  </a:lnTo>
                  <a:lnTo>
                    <a:pt x="1356" y="546"/>
                  </a:lnTo>
                  <a:lnTo>
                    <a:pt x="1344" y="540"/>
                  </a:lnTo>
                  <a:lnTo>
                    <a:pt x="1338" y="534"/>
                  </a:lnTo>
                  <a:lnTo>
                    <a:pt x="1308" y="522"/>
                  </a:lnTo>
                  <a:lnTo>
                    <a:pt x="1296" y="522"/>
                  </a:lnTo>
                  <a:lnTo>
                    <a:pt x="1278" y="528"/>
                  </a:lnTo>
                  <a:lnTo>
                    <a:pt x="1260" y="534"/>
                  </a:lnTo>
                  <a:lnTo>
                    <a:pt x="1242" y="546"/>
                  </a:lnTo>
                  <a:lnTo>
                    <a:pt x="1236" y="552"/>
                  </a:lnTo>
                  <a:lnTo>
                    <a:pt x="1224" y="558"/>
                  </a:lnTo>
                  <a:lnTo>
                    <a:pt x="1218" y="558"/>
                  </a:lnTo>
                  <a:lnTo>
                    <a:pt x="1218" y="564"/>
                  </a:lnTo>
                  <a:lnTo>
                    <a:pt x="1224" y="570"/>
                  </a:lnTo>
                  <a:lnTo>
                    <a:pt x="1224" y="582"/>
                  </a:lnTo>
                  <a:lnTo>
                    <a:pt x="1224" y="594"/>
                  </a:lnTo>
                  <a:lnTo>
                    <a:pt x="1212" y="618"/>
                  </a:lnTo>
                  <a:lnTo>
                    <a:pt x="1212" y="624"/>
                  </a:lnTo>
                  <a:lnTo>
                    <a:pt x="1212" y="630"/>
                  </a:lnTo>
                  <a:lnTo>
                    <a:pt x="1212" y="636"/>
                  </a:lnTo>
                  <a:lnTo>
                    <a:pt x="1218" y="654"/>
                  </a:lnTo>
                  <a:lnTo>
                    <a:pt x="1224" y="672"/>
                  </a:lnTo>
                  <a:lnTo>
                    <a:pt x="1230" y="696"/>
                  </a:lnTo>
                  <a:lnTo>
                    <a:pt x="1236" y="708"/>
                  </a:lnTo>
                  <a:lnTo>
                    <a:pt x="1236" y="714"/>
                  </a:lnTo>
                  <a:lnTo>
                    <a:pt x="1236" y="720"/>
                  </a:lnTo>
                  <a:lnTo>
                    <a:pt x="1218" y="726"/>
                  </a:lnTo>
                  <a:lnTo>
                    <a:pt x="1212" y="726"/>
                  </a:lnTo>
                  <a:lnTo>
                    <a:pt x="1206" y="726"/>
                  </a:lnTo>
                  <a:lnTo>
                    <a:pt x="1194" y="720"/>
                  </a:lnTo>
                  <a:lnTo>
                    <a:pt x="1194" y="714"/>
                  </a:lnTo>
                  <a:lnTo>
                    <a:pt x="1176" y="714"/>
                  </a:lnTo>
                  <a:lnTo>
                    <a:pt x="1164" y="708"/>
                  </a:lnTo>
                  <a:lnTo>
                    <a:pt x="1158" y="708"/>
                  </a:lnTo>
                  <a:lnTo>
                    <a:pt x="1140" y="702"/>
                  </a:lnTo>
                  <a:lnTo>
                    <a:pt x="1134" y="696"/>
                  </a:lnTo>
                  <a:lnTo>
                    <a:pt x="1128" y="690"/>
                  </a:lnTo>
                  <a:lnTo>
                    <a:pt x="1116" y="678"/>
                  </a:lnTo>
                  <a:lnTo>
                    <a:pt x="1110" y="678"/>
                  </a:lnTo>
                  <a:lnTo>
                    <a:pt x="1104" y="672"/>
                  </a:lnTo>
                  <a:lnTo>
                    <a:pt x="1092" y="672"/>
                  </a:lnTo>
                  <a:lnTo>
                    <a:pt x="1086" y="672"/>
                  </a:lnTo>
                  <a:lnTo>
                    <a:pt x="1080" y="672"/>
                  </a:lnTo>
                  <a:lnTo>
                    <a:pt x="1074" y="672"/>
                  </a:lnTo>
                  <a:lnTo>
                    <a:pt x="1068" y="672"/>
                  </a:lnTo>
                  <a:lnTo>
                    <a:pt x="1062" y="678"/>
                  </a:lnTo>
                  <a:lnTo>
                    <a:pt x="1056" y="678"/>
                  </a:lnTo>
                  <a:lnTo>
                    <a:pt x="1056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6"/>
                  </a:lnTo>
                  <a:lnTo>
                    <a:pt x="1032" y="708"/>
                  </a:lnTo>
                  <a:lnTo>
                    <a:pt x="1026" y="708"/>
                  </a:lnTo>
                  <a:lnTo>
                    <a:pt x="1032" y="714"/>
                  </a:lnTo>
                  <a:lnTo>
                    <a:pt x="1026" y="720"/>
                  </a:lnTo>
                  <a:lnTo>
                    <a:pt x="1020" y="720"/>
                  </a:lnTo>
                  <a:lnTo>
                    <a:pt x="1014" y="732"/>
                  </a:lnTo>
                  <a:lnTo>
                    <a:pt x="1014" y="744"/>
                  </a:lnTo>
                  <a:lnTo>
                    <a:pt x="1038" y="810"/>
                  </a:lnTo>
                  <a:lnTo>
                    <a:pt x="1050" y="834"/>
                  </a:lnTo>
                  <a:lnTo>
                    <a:pt x="1056" y="858"/>
                  </a:lnTo>
                  <a:lnTo>
                    <a:pt x="1062" y="876"/>
                  </a:lnTo>
                  <a:lnTo>
                    <a:pt x="1068" y="882"/>
                  </a:lnTo>
                  <a:lnTo>
                    <a:pt x="1062" y="972"/>
                  </a:lnTo>
                  <a:lnTo>
                    <a:pt x="1056" y="972"/>
                  </a:lnTo>
                  <a:lnTo>
                    <a:pt x="1050" y="996"/>
                  </a:lnTo>
                  <a:lnTo>
                    <a:pt x="1044" y="1014"/>
                  </a:lnTo>
                  <a:lnTo>
                    <a:pt x="1008" y="1014"/>
                  </a:lnTo>
                  <a:lnTo>
                    <a:pt x="1008" y="1008"/>
                  </a:lnTo>
                  <a:lnTo>
                    <a:pt x="990" y="1008"/>
                  </a:lnTo>
                  <a:lnTo>
                    <a:pt x="972" y="1014"/>
                  </a:lnTo>
                  <a:lnTo>
                    <a:pt x="948" y="1020"/>
                  </a:lnTo>
                  <a:lnTo>
                    <a:pt x="918" y="1026"/>
                  </a:lnTo>
                  <a:lnTo>
                    <a:pt x="840" y="1032"/>
                  </a:lnTo>
                  <a:lnTo>
                    <a:pt x="834" y="1032"/>
                  </a:lnTo>
                  <a:lnTo>
                    <a:pt x="834" y="1026"/>
                  </a:lnTo>
                  <a:lnTo>
                    <a:pt x="822" y="1026"/>
                  </a:lnTo>
                  <a:lnTo>
                    <a:pt x="816" y="1032"/>
                  </a:lnTo>
                  <a:lnTo>
                    <a:pt x="804" y="1032"/>
                  </a:lnTo>
                  <a:lnTo>
                    <a:pt x="798" y="1026"/>
                  </a:lnTo>
                  <a:lnTo>
                    <a:pt x="780" y="1026"/>
                  </a:lnTo>
                  <a:lnTo>
                    <a:pt x="762" y="1026"/>
                  </a:lnTo>
                  <a:lnTo>
                    <a:pt x="756" y="1026"/>
                  </a:lnTo>
                  <a:lnTo>
                    <a:pt x="750" y="1026"/>
                  </a:lnTo>
                  <a:lnTo>
                    <a:pt x="756" y="1020"/>
                  </a:lnTo>
                  <a:lnTo>
                    <a:pt x="750" y="1020"/>
                  </a:lnTo>
                  <a:lnTo>
                    <a:pt x="744" y="1014"/>
                  </a:lnTo>
                  <a:lnTo>
                    <a:pt x="684" y="1020"/>
                  </a:lnTo>
                  <a:lnTo>
                    <a:pt x="648" y="1020"/>
                  </a:lnTo>
                  <a:lnTo>
                    <a:pt x="630" y="1020"/>
                  </a:lnTo>
                  <a:lnTo>
                    <a:pt x="618" y="1020"/>
                  </a:lnTo>
                  <a:lnTo>
                    <a:pt x="606" y="1014"/>
                  </a:lnTo>
                  <a:lnTo>
                    <a:pt x="582" y="1014"/>
                  </a:lnTo>
                  <a:lnTo>
                    <a:pt x="576" y="1014"/>
                  </a:lnTo>
                  <a:lnTo>
                    <a:pt x="570" y="1014"/>
                  </a:lnTo>
                  <a:lnTo>
                    <a:pt x="564" y="1020"/>
                  </a:lnTo>
                  <a:lnTo>
                    <a:pt x="558" y="1026"/>
                  </a:lnTo>
                  <a:lnTo>
                    <a:pt x="552" y="1032"/>
                  </a:lnTo>
                  <a:lnTo>
                    <a:pt x="552" y="1038"/>
                  </a:lnTo>
                  <a:lnTo>
                    <a:pt x="558" y="1194"/>
                  </a:lnTo>
                  <a:lnTo>
                    <a:pt x="558" y="1206"/>
                  </a:lnTo>
                  <a:lnTo>
                    <a:pt x="552" y="1218"/>
                  </a:lnTo>
                  <a:lnTo>
                    <a:pt x="552" y="1236"/>
                  </a:lnTo>
                  <a:lnTo>
                    <a:pt x="546" y="1272"/>
                  </a:lnTo>
                  <a:lnTo>
                    <a:pt x="546" y="1308"/>
                  </a:lnTo>
                  <a:lnTo>
                    <a:pt x="540" y="1332"/>
                  </a:lnTo>
                  <a:lnTo>
                    <a:pt x="546" y="1356"/>
                  </a:lnTo>
                  <a:lnTo>
                    <a:pt x="546" y="1362"/>
                  </a:lnTo>
                  <a:lnTo>
                    <a:pt x="546" y="1374"/>
                  </a:lnTo>
                  <a:lnTo>
                    <a:pt x="546" y="1380"/>
                  </a:lnTo>
                  <a:lnTo>
                    <a:pt x="540" y="1380"/>
                  </a:lnTo>
                  <a:lnTo>
                    <a:pt x="522" y="1380"/>
                  </a:lnTo>
                  <a:lnTo>
                    <a:pt x="516" y="1380"/>
                  </a:lnTo>
                  <a:lnTo>
                    <a:pt x="516" y="1386"/>
                  </a:lnTo>
                  <a:lnTo>
                    <a:pt x="516" y="1392"/>
                  </a:lnTo>
                  <a:lnTo>
                    <a:pt x="510" y="1392"/>
                  </a:lnTo>
                  <a:lnTo>
                    <a:pt x="504" y="1386"/>
                  </a:lnTo>
                  <a:lnTo>
                    <a:pt x="498" y="1392"/>
                  </a:lnTo>
                  <a:lnTo>
                    <a:pt x="492" y="1398"/>
                  </a:lnTo>
                  <a:lnTo>
                    <a:pt x="486" y="1398"/>
                  </a:lnTo>
                  <a:lnTo>
                    <a:pt x="486" y="1392"/>
                  </a:lnTo>
                  <a:lnTo>
                    <a:pt x="486" y="1380"/>
                  </a:lnTo>
                  <a:lnTo>
                    <a:pt x="486" y="1374"/>
                  </a:lnTo>
                  <a:lnTo>
                    <a:pt x="480" y="1374"/>
                  </a:lnTo>
                  <a:lnTo>
                    <a:pt x="474" y="1374"/>
                  </a:lnTo>
                  <a:lnTo>
                    <a:pt x="468" y="1380"/>
                  </a:lnTo>
                  <a:lnTo>
                    <a:pt x="462" y="1380"/>
                  </a:lnTo>
                  <a:lnTo>
                    <a:pt x="456" y="1380"/>
                  </a:lnTo>
                  <a:lnTo>
                    <a:pt x="450" y="1386"/>
                  </a:lnTo>
                  <a:lnTo>
                    <a:pt x="444" y="1386"/>
                  </a:lnTo>
                  <a:lnTo>
                    <a:pt x="444" y="1392"/>
                  </a:lnTo>
                  <a:lnTo>
                    <a:pt x="432" y="1398"/>
                  </a:lnTo>
                  <a:lnTo>
                    <a:pt x="426" y="1404"/>
                  </a:lnTo>
                  <a:lnTo>
                    <a:pt x="420" y="1404"/>
                  </a:lnTo>
                  <a:lnTo>
                    <a:pt x="408" y="1404"/>
                  </a:lnTo>
                  <a:lnTo>
                    <a:pt x="378" y="1410"/>
                  </a:lnTo>
                  <a:lnTo>
                    <a:pt x="372" y="1410"/>
                  </a:lnTo>
                  <a:lnTo>
                    <a:pt x="360" y="1410"/>
                  </a:lnTo>
                  <a:lnTo>
                    <a:pt x="354" y="1416"/>
                  </a:lnTo>
                  <a:lnTo>
                    <a:pt x="348" y="1416"/>
                  </a:lnTo>
                  <a:lnTo>
                    <a:pt x="342" y="1410"/>
                  </a:lnTo>
                  <a:lnTo>
                    <a:pt x="336" y="1410"/>
                  </a:lnTo>
                  <a:lnTo>
                    <a:pt x="336" y="1416"/>
                  </a:lnTo>
                  <a:lnTo>
                    <a:pt x="330" y="1422"/>
                  </a:lnTo>
                  <a:lnTo>
                    <a:pt x="324" y="1422"/>
                  </a:lnTo>
                  <a:lnTo>
                    <a:pt x="318" y="1422"/>
                  </a:lnTo>
                  <a:lnTo>
                    <a:pt x="312" y="1428"/>
                  </a:lnTo>
                  <a:lnTo>
                    <a:pt x="312" y="1434"/>
                  </a:lnTo>
                  <a:lnTo>
                    <a:pt x="300" y="1428"/>
                  </a:lnTo>
                  <a:lnTo>
                    <a:pt x="288" y="1434"/>
                  </a:lnTo>
                  <a:lnTo>
                    <a:pt x="282" y="1440"/>
                  </a:lnTo>
                  <a:lnTo>
                    <a:pt x="282" y="1446"/>
                  </a:lnTo>
                  <a:lnTo>
                    <a:pt x="276" y="1446"/>
                  </a:lnTo>
                  <a:lnTo>
                    <a:pt x="276" y="1452"/>
                  </a:lnTo>
                  <a:lnTo>
                    <a:pt x="270" y="1452"/>
                  </a:lnTo>
                  <a:lnTo>
                    <a:pt x="258" y="1464"/>
                  </a:lnTo>
                  <a:lnTo>
                    <a:pt x="240" y="1458"/>
                  </a:lnTo>
                  <a:lnTo>
                    <a:pt x="234" y="1452"/>
                  </a:lnTo>
                  <a:lnTo>
                    <a:pt x="234" y="1446"/>
                  </a:lnTo>
                  <a:lnTo>
                    <a:pt x="228" y="1446"/>
                  </a:lnTo>
                  <a:lnTo>
                    <a:pt x="222" y="1440"/>
                  </a:lnTo>
                  <a:lnTo>
                    <a:pt x="216" y="1440"/>
                  </a:lnTo>
                  <a:lnTo>
                    <a:pt x="210" y="1428"/>
                  </a:lnTo>
                  <a:lnTo>
                    <a:pt x="210" y="1422"/>
                  </a:lnTo>
                  <a:lnTo>
                    <a:pt x="198" y="1416"/>
                  </a:lnTo>
                  <a:lnTo>
                    <a:pt x="204" y="1410"/>
                  </a:lnTo>
                  <a:lnTo>
                    <a:pt x="210" y="1404"/>
                  </a:lnTo>
                  <a:lnTo>
                    <a:pt x="210" y="1398"/>
                  </a:lnTo>
                  <a:lnTo>
                    <a:pt x="252" y="1368"/>
                  </a:lnTo>
                  <a:lnTo>
                    <a:pt x="276" y="1350"/>
                  </a:lnTo>
                  <a:lnTo>
                    <a:pt x="300" y="1338"/>
                  </a:lnTo>
                  <a:lnTo>
                    <a:pt x="294" y="1314"/>
                  </a:lnTo>
                  <a:lnTo>
                    <a:pt x="288" y="1308"/>
                  </a:lnTo>
                  <a:lnTo>
                    <a:pt x="300" y="1266"/>
                  </a:lnTo>
                  <a:lnTo>
                    <a:pt x="300" y="1242"/>
                  </a:lnTo>
                  <a:lnTo>
                    <a:pt x="300" y="1206"/>
                  </a:lnTo>
                  <a:lnTo>
                    <a:pt x="300" y="1164"/>
                  </a:lnTo>
                  <a:lnTo>
                    <a:pt x="294" y="1134"/>
                  </a:lnTo>
                  <a:lnTo>
                    <a:pt x="282" y="1086"/>
                  </a:lnTo>
                  <a:lnTo>
                    <a:pt x="276" y="1074"/>
                  </a:lnTo>
                  <a:lnTo>
                    <a:pt x="276" y="1056"/>
                  </a:lnTo>
                  <a:lnTo>
                    <a:pt x="270" y="1038"/>
                  </a:lnTo>
                  <a:lnTo>
                    <a:pt x="270" y="1020"/>
                  </a:lnTo>
                  <a:lnTo>
                    <a:pt x="282" y="1020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94" y="1002"/>
                  </a:lnTo>
                  <a:lnTo>
                    <a:pt x="306" y="996"/>
                  </a:lnTo>
                  <a:lnTo>
                    <a:pt x="312" y="990"/>
                  </a:lnTo>
                  <a:lnTo>
                    <a:pt x="318" y="990"/>
                  </a:lnTo>
                  <a:lnTo>
                    <a:pt x="324" y="984"/>
                  </a:lnTo>
                  <a:lnTo>
                    <a:pt x="324" y="978"/>
                  </a:lnTo>
                  <a:lnTo>
                    <a:pt x="324" y="972"/>
                  </a:lnTo>
                  <a:lnTo>
                    <a:pt x="324" y="954"/>
                  </a:lnTo>
                  <a:lnTo>
                    <a:pt x="336" y="948"/>
                  </a:lnTo>
                  <a:lnTo>
                    <a:pt x="342" y="936"/>
                  </a:lnTo>
                  <a:lnTo>
                    <a:pt x="348" y="924"/>
                  </a:lnTo>
                  <a:lnTo>
                    <a:pt x="354" y="924"/>
                  </a:lnTo>
                  <a:lnTo>
                    <a:pt x="372" y="924"/>
                  </a:lnTo>
                  <a:lnTo>
                    <a:pt x="372" y="930"/>
                  </a:lnTo>
                  <a:lnTo>
                    <a:pt x="378" y="930"/>
                  </a:lnTo>
                  <a:lnTo>
                    <a:pt x="378" y="936"/>
                  </a:lnTo>
                  <a:lnTo>
                    <a:pt x="384" y="936"/>
                  </a:lnTo>
                  <a:lnTo>
                    <a:pt x="384" y="942"/>
                  </a:lnTo>
                  <a:lnTo>
                    <a:pt x="402" y="942"/>
                  </a:lnTo>
                  <a:lnTo>
                    <a:pt x="402" y="996"/>
                  </a:lnTo>
                  <a:lnTo>
                    <a:pt x="414" y="996"/>
                  </a:lnTo>
                  <a:lnTo>
                    <a:pt x="420" y="996"/>
                  </a:lnTo>
                  <a:lnTo>
                    <a:pt x="426" y="996"/>
                  </a:lnTo>
                  <a:lnTo>
                    <a:pt x="432" y="996"/>
                  </a:lnTo>
                  <a:lnTo>
                    <a:pt x="438" y="996"/>
                  </a:lnTo>
                  <a:lnTo>
                    <a:pt x="438" y="942"/>
                  </a:lnTo>
                  <a:lnTo>
                    <a:pt x="444" y="930"/>
                  </a:lnTo>
                  <a:lnTo>
                    <a:pt x="444" y="924"/>
                  </a:lnTo>
                  <a:lnTo>
                    <a:pt x="444" y="918"/>
                  </a:lnTo>
                  <a:lnTo>
                    <a:pt x="462" y="918"/>
                  </a:lnTo>
                  <a:lnTo>
                    <a:pt x="474" y="906"/>
                  </a:lnTo>
                  <a:lnTo>
                    <a:pt x="480" y="900"/>
                  </a:lnTo>
                  <a:lnTo>
                    <a:pt x="486" y="888"/>
                  </a:lnTo>
                  <a:lnTo>
                    <a:pt x="492" y="876"/>
                  </a:lnTo>
                  <a:lnTo>
                    <a:pt x="492" y="858"/>
                  </a:lnTo>
                  <a:lnTo>
                    <a:pt x="480" y="858"/>
                  </a:lnTo>
                  <a:lnTo>
                    <a:pt x="474" y="840"/>
                  </a:lnTo>
                  <a:lnTo>
                    <a:pt x="450" y="834"/>
                  </a:lnTo>
                  <a:lnTo>
                    <a:pt x="438" y="816"/>
                  </a:lnTo>
                  <a:lnTo>
                    <a:pt x="432" y="792"/>
                  </a:lnTo>
                  <a:lnTo>
                    <a:pt x="432" y="786"/>
                  </a:lnTo>
                  <a:lnTo>
                    <a:pt x="432" y="774"/>
                  </a:lnTo>
                  <a:lnTo>
                    <a:pt x="432" y="762"/>
                  </a:lnTo>
                  <a:lnTo>
                    <a:pt x="438" y="750"/>
                  </a:lnTo>
                  <a:lnTo>
                    <a:pt x="438" y="738"/>
                  </a:lnTo>
                  <a:lnTo>
                    <a:pt x="444" y="732"/>
                  </a:lnTo>
                  <a:lnTo>
                    <a:pt x="450" y="732"/>
                  </a:lnTo>
                  <a:lnTo>
                    <a:pt x="456" y="732"/>
                  </a:lnTo>
                  <a:lnTo>
                    <a:pt x="456" y="726"/>
                  </a:lnTo>
                  <a:lnTo>
                    <a:pt x="456" y="714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44" y="684"/>
                  </a:lnTo>
                  <a:lnTo>
                    <a:pt x="438" y="666"/>
                  </a:lnTo>
                  <a:lnTo>
                    <a:pt x="426" y="666"/>
                  </a:lnTo>
                  <a:lnTo>
                    <a:pt x="432" y="666"/>
                  </a:lnTo>
                  <a:lnTo>
                    <a:pt x="420" y="666"/>
                  </a:lnTo>
                  <a:lnTo>
                    <a:pt x="414" y="660"/>
                  </a:lnTo>
                  <a:lnTo>
                    <a:pt x="396" y="654"/>
                  </a:lnTo>
                  <a:lnTo>
                    <a:pt x="384" y="642"/>
                  </a:lnTo>
                  <a:lnTo>
                    <a:pt x="366" y="624"/>
                  </a:lnTo>
                  <a:lnTo>
                    <a:pt x="354" y="606"/>
                  </a:lnTo>
                  <a:lnTo>
                    <a:pt x="342" y="588"/>
                  </a:lnTo>
                  <a:lnTo>
                    <a:pt x="342" y="582"/>
                  </a:lnTo>
                  <a:lnTo>
                    <a:pt x="360" y="564"/>
                  </a:lnTo>
                  <a:lnTo>
                    <a:pt x="372" y="540"/>
                  </a:lnTo>
                  <a:lnTo>
                    <a:pt x="366" y="528"/>
                  </a:lnTo>
                  <a:lnTo>
                    <a:pt x="366" y="522"/>
                  </a:lnTo>
                  <a:lnTo>
                    <a:pt x="372" y="516"/>
                  </a:lnTo>
                  <a:lnTo>
                    <a:pt x="384" y="504"/>
                  </a:lnTo>
                  <a:lnTo>
                    <a:pt x="378" y="492"/>
                  </a:lnTo>
                  <a:lnTo>
                    <a:pt x="378" y="486"/>
                  </a:lnTo>
                  <a:lnTo>
                    <a:pt x="378" y="480"/>
                  </a:lnTo>
                  <a:lnTo>
                    <a:pt x="378" y="474"/>
                  </a:lnTo>
                  <a:lnTo>
                    <a:pt x="378" y="468"/>
                  </a:lnTo>
                  <a:lnTo>
                    <a:pt x="366" y="468"/>
                  </a:lnTo>
                  <a:lnTo>
                    <a:pt x="360" y="474"/>
                  </a:lnTo>
                  <a:lnTo>
                    <a:pt x="354" y="480"/>
                  </a:lnTo>
                  <a:lnTo>
                    <a:pt x="348" y="486"/>
                  </a:lnTo>
                  <a:lnTo>
                    <a:pt x="348" y="492"/>
                  </a:lnTo>
                  <a:lnTo>
                    <a:pt x="336" y="510"/>
                  </a:lnTo>
                  <a:lnTo>
                    <a:pt x="300" y="516"/>
                  </a:lnTo>
                  <a:lnTo>
                    <a:pt x="300" y="510"/>
                  </a:lnTo>
                  <a:lnTo>
                    <a:pt x="282" y="504"/>
                  </a:lnTo>
                  <a:lnTo>
                    <a:pt x="282" y="498"/>
                  </a:lnTo>
                  <a:lnTo>
                    <a:pt x="264" y="486"/>
                  </a:lnTo>
                  <a:lnTo>
                    <a:pt x="258" y="492"/>
                  </a:lnTo>
                  <a:lnTo>
                    <a:pt x="234" y="492"/>
                  </a:lnTo>
                  <a:lnTo>
                    <a:pt x="222" y="486"/>
                  </a:lnTo>
                  <a:lnTo>
                    <a:pt x="204" y="480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92" y="462"/>
                  </a:lnTo>
                  <a:lnTo>
                    <a:pt x="186" y="462"/>
                  </a:lnTo>
                  <a:lnTo>
                    <a:pt x="180" y="468"/>
                  </a:lnTo>
                  <a:lnTo>
                    <a:pt x="150" y="450"/>
                  </a:lnTo>
                  <a:lnTo>
                    <a:pt x="144" y="438"/>
                  </a:lnTo>
                  <a:lnTo>
                    <a:pt x="138" y="438"/>
                  </a:lnTo>
                  <a:lnTo>
                    <a:pt x="132" y="432"/>
                  </a:lnTo>
                  <a:lnTo>
                    <a:pt x="126" y="432"/>
                  </a:lnTo>
                  <a:lnTo>
                    <a:pt x="120" y="432"/>
                  </a:lnTo>
                  <a:lnTo>
                    <a:pt x="102" y="426"/>
                  </a:lnTo>
                  <a:lnTo>
                    <a:pt x="96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2" y="414"/>
                  </a:lnTo>
                  <a:lnTo>
                    <a:pt x="60" y="414"/>
                  </a:lnTo>
                  <a:lnTo>
                    <a:pt x="30" y="414"/>
                  </a:lnTo>
                  <a:lnTo>
                    <a:pt x="24" y="414"/>
                  </a:lnTo>
                  <a:lnTo>
                    <a:pt x="12" y="414"/>
                  </a:lnTo>
                  <a:lnTo>
                    <a:pt x="0" y="420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0" y="336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30" y="270"/>
                  </a:lnTo>
                  <a:lnTo>
                    <a:pt x="42" y="270"/>
                  </a:lnTo>
                  <a:lnTo>
                    <a:pt x="54" y="264"/>
                  </a:lnTo>
                  <a:lnTo>
                    <a:pt x="78" y="240"/>
                  </a:lnTo>
                  <a:lnTo>
                    <a:pt x="102" y="216"/>
                  </a:lnTo>
                  <a:lnTo>
                    <a:pt x="114" y="210"/>
                  </a:lnTo>
                  <a:lnTo>
                    <a:pt x="120" y="204"/>
                  </a:lnTo>
                  <a:lnTo>
                    <a:pt x="126" y="198"/>
                  </a:lnTo>
                  <a:lnTo>
                    <a:pt x="138" y="18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38"/>
                  </a:lnTo>
                  <a:lnTo>
                    <a:pt x="210" y="126"/>
                  </a:lnTo>
                  <a:lnTo>
                    <a:pt x="216" y="120"/>
                  </a:lnTo>
                  <a:lnTo>
                    <a:pt x="222" y="120"/>
                  </a:lnTo>
                  <a:lnTo>
                    <a:pt x="258" y="114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300" y="102"/>
                  </a:lnTo>
                  <a:lnTo>
                    <a:pt x="312" y="102"/>
                  </a:lnTo>
                  <a:lnTo>
                    <a:pt x="318" y="102"/>
                  </a:lnTo>
                  <a:lnTo>
                    <a:pt x="348" y="96"/>
                  </a:lnTo>
                  <a:lnTo>
                    <a:pt x="366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408" y="84"/>
                  </a:lnTo>
                  <a:lnTo>
                    <a:pt x="420" y="84"/>
                  </a:lnTo>
                  <a:lnTo>
                    <a:pt x="462" y="72"/>
                  </a:lnTo>
                  <a:lnTo>
                    <a:pt x="474" y="72"/>
                  </a:lnTo>
                  <a:lnTo>
                    <a:pt x="474" y="78"/>
                  </a:lnTo>
                  <a:lnTo>
                    <a:pt x="492" y="90"/>
                  </a:lnTo>
                  <a:lnTo>
                    <a:pt x="498" y="90"/>
                  </a:lnTo>
                  <a:lnTo>
                    <a:pt x="522" y="96"/>
                  </a:lnTo>
                  <a:lnTo>
                    <a:pt x="540" y="96"/>
                  </a:lnTo>
                  <a:lnTo>
                    <a:pt x="546" y="96"/>
                  </a:lnTo>
                  <a:lnTo>
                    <a:pt x="558" y="96"/>
                  </a:lnTo>
                  <a:lnTo>
                    <a:pt x="564" y="96"/>
                  </a:lnTo>
                  <a:lnTo>
                    <a:pt x="576" y="96"/>
                  </a:lnTo>
                  <a:lnTo>
                    <a:pt x="588" y="96"/>
                  </a:lnTo>
                  <a:lnTo>
                    <a:pt x="612" y="90"/>
                  </a:lnTo>
                  <a:lnTo>
                    <a:pt x="624" y="90"/>
                  </a:lnTo>
                  <a:lnTo>
                    <a:pt x="636" y="90"/>
                  </a:lnTo>
                  <a:lnTo>
                    <a:pt x="642" y="90"/>
                  </a:lnTo>
                  <a:lnTo>
                    <a:pt x="648" y="96"/>
                  </a:lnTo>
                  <a:lnTo>
                    <a:pt x="660" y="96"/>
                  </a:lnTo>
                  <a:lnTo>
                    <a:pt x="666" y="96"/>
                  </a:lnTo>
                  <a:lnTo>
                    <a:pt x="672" y="96"/>
                  </a:lnTo>
                  <a:lnTo>
                    <a:pt x="684" y="96"/>
                  </a:lnTo>
                  <a:lnTo>
                    <a:pt x="708" y="96"/>
                  </a:lnTo>
                  <a:lnTo>
                    <a:pt x="714" y="96"/>
                  </a:lnTo>
                  <a:lnTo>
                    <a:pt x="726" y="96"/>
                  </a:lnTo>
                  <a:lnTo>
                    <a:pt x="738" y="84"/>
                  </a:lnTo>
                  <a:lnTo>
                    <a:pt x="744" y="78"/>
                  </a:lnTo>
                  <a:lnTo>
                    <a:pt x="756" y="66"/>
                  </a:lnTo>
                  <a:lnTo>
                    <a:pt x="774" y="42"/>
                  </a:lnTo>
                  <a:lnTo>
                    <a:pt x="780" y="30"/>
                  </a:lnTo>
                  <a:lnTo>
                    <a:pt x="816" y="24"/>
                  </a:lnTo>
                  <a:lnTo>
                    <a:pt x="840" y="18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64" y="6"/>
                  </a:lnTo>
                  <a:lnTo>
                    <a:pt x="870" y="6"/>
                  </a:lnTo>
                  <a:lnTo>
                    <a:pt x="894" y="0"/>
                  </a:lnTo>
                  <a:lnTo>
                    <a:pt x="900" y="6"/>
                  </a:lnTo>
                  <a:lnTo>
                    <a:pt x="930" y="18"/>
                  </a:lnTo>
                  <a:lnTo>
                    <a:pt x="942" y="24"/>
                  </a:lnTo>
                  <a:lnTo>
                    <a:pt x="954" y="30"/>
                  </a:lnTo>
                  <a:lnTo>
                    <a:pt x="1026" y="60"/>
                  </a:lnTo>
                  <a:lnTo>
                    <a:pt x="1032" y="60"/>
                  </a:lnTo>
                  <a:lnTo>
                    <a:pt x="1038" y="66"/>
                  </a:lnTo>
                  <a:lnTo>
                    <a:pt x="1068" y="72"/>
                  </a:lnTo>
                  <a:lnTo>
                    <a:pt x="1098" y="84"/>
                  </a:lnTo>
                  <a:lnTo>
                    <a:pt x="1122" y="90"/>
                  </a:lnTo>
                  <a:lnTo>
                    <a:pt x="1122" y="96"/>
                  </a:lnTo>
                  <a:lnTo>
                    <a:pt x="1140" y="102"/>
                  </a:lnTo>
                  <a:lnTo>
                    <a:pt x="1182" y="114"/>
                  </a:lnTo>
                  <a:lnTo>
                    <a:pt x="1188" y="114"/>
                  </a:lnTo>
                  <a:lnTo>
                    <a:pt x="1200" y="120"/>
                  </a:lnTo>
                  <a:lnTo>
                    <a:pt x="1212" y="126"/>
                  </a:lnTo>
                  <a:lnTo>
                    <a:pt x="1224" y="126"/>
                  </a:lnTo>
                  <a:lnTo>
                    <a:pt x="1248" y="138"/>
                  </a:lnTo>
                  <a:lnTo>
                    <a:pt x="1272" y="150"/>
                  </a:lnTo>
                  <a:lnTo>
                    <a:pt x="1284" y="156"/>
                  </a:lnTo>
                  <a:lnTo>
                    <a:pt x="1290" y="162"/>
                  </a:lnTo>
                  <a:lnTo>
                    <a:pt x="1296" y="162"/>
                  </a:lnTo>
                  <a:lnTo>
                    <a:pt x="1308" y="156"/>
                  </a:lnTo>
                  <a:lnTo>
                    <a:pt x="1320" y="150"/>
                  </a:lnTo>
                  <a:lnTo>
                    <a:pt x="1326" y="150"/>
                  </a:lnTo>
                  <a:lnTo>
                    <a:pt x="1338" y="144"/>
                  </a:lnTo>
                  <a:lnTo>
                    <a:pt x="1362" y="144"/>
                  </a:lnTo>
                  <a:lnTo>
                    <a:pt x="1368" y="144"/>
                  </a:lnTo>
                  <a:lnTo>
                    <a:pt x="1374" y="144"/>
                  </a:lnTo>
                  <a:lnTo>
                    <a:pt x="1386" y="150"/>
                  </a:lnTo>
                  <a:lnTo>
                    <a:pt x="1392" y="150"/>
                  </a:lnTo>
                  <a:lnTo>
                    <a:pt x="1398" y="150"/>
                  </a:lnTo>
                  <a:lnTo>
                    <a:pt x="1416" y="162"/>
                  </a:lnTo>
                  <a:lnTo>
                    <a:pt x="1458" y="186"/>
                  </a:lnTo>
                  <a:lnTo>
                    <a:pt x="1464" y="186"/>
                  </a:lnTo>
                  <a:lnTo>
                    <a:pt x="1470" y="192"/>
                  </a:lnTo>
                  <a:lnTo>
                    <a:pt x="1482" y="204"/>
                  </a:lnTo>
                  <a:lnTo>
                    <a:pt x="1512" y="234"/>
                  </a:lnTo>
                  <a:lnTo>
                    <a:pt x="1554" y="276"/>
                  </a:lnTo>
                  <a:lnTo>
                    <a:pt x="1560" y="276"/>
                  </a:lnTo>
                  <a:lnTo>
                    <a:pt x="1566" y="282"/>
                  </a:lnTo>
                  <a:lnTo>
                    <a:pt x="1578" y="294"/>
                  </a:lnTo>
                  <a:lnTo>
                    <a:pt x="1602" y="318"/>
                  </a:lnTo>
                  <a:lnTo>
                    <a:pt x="1614" y="330"/>
                  </a:lnTo>
                  <a:lnTo>
                    <a:pt x="1620" y="336"/>
                  </a:lnTo>
                  <a:lnTo>
                    <a:pt x="1626" y="342"/>
                  </a:lnTo>
                  <a:lnTo>
                    <a:pt x="1632" y="354"/>
                  </a:lnTo>
                  <a:lnTo>
                    <a:pt x="1644" y="366"/>
                  </a:lnTo>
                  <a:lnTo>
                    <a:pt x="1650" y="378"/>
                  </a:lnTo>
                  <a:lnTo>
                    <a:pt x="1650" y="384"/>
                  </a:lnTo>
                  <a:lnTo>
                    <a:pt x="1656" y="384"/>
                  </a:lnTo>
                  <a:lnTo>
                    <a:pt x="1662" y="402"/>
                  </a:lnTo>
                  <a:lnTo>
                    <a:pt x="1668" y="408"/>
                  </a:lnTo>
                  <a:lnTo>
                    <a:pt x="1674" y="426"/>
                  </a:lnTo>
                  <a:lnTo>
                    <a:pt x="1686" y="438"/>
                  </a:lnTo>
                  <a:lnTo>
                    <a:pt x="1698" y="46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9" name="Freeform 34">
              <a:extLst>
                <a:ext uri="{FF2B5EF4-FFF2-40B4-BE49-F238E27FC236}">
                  <a16:creationId xmlns:a16="http://schemas.microsoft.com/office/drawing/2014/main" id="{94603F24-8CF7-4226-A433-00D18CA7D9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1988" y="1681402"/>
              <a:ext cx="869877" cy="1060101"/>
            </a:xfrm>
            <a:custGeom>
              <a:avLst/>
              <a:gdLst>
                <a:gd name="T0" fmla="*/ 4 w 1638"/>
                <a:gd name="T1" fmla="*/ 111 h 1998"/>
                <a:gd name="T2" fmla="*/ 6 w 1638"/>
                <a:gd name="T3" fmla="*/ 87 h 1998"/>
                <a:gd name="T4" fmla="*/ 10 w 1638"/>
                <a:gd name="T5" fmla="*/ 80 h 1998"/>
                <a:gd name="T6" fmla="*/ 10 w 1638"/>
                <a:gd name="T7" fmla="*/ 71 h 1998"/>
                <a:gd name="T8" fmla="*/ 9 w 1638"/>
                <a:gd name="T9" fmla="*/ 56 h 1998"/>
                <a:gd name="T10" fmla="*/ 8 w 1638"/>
                <a:gd name="T11" fmla="*/ 40 h 1998"/>
                <a:gd name="T12" fmla="*/ 20 w 1638"/>
                <a:gd name="T13" fmla="*/ 30 h 1998"/>
                <a:gd name="T14" fmla="*/ 30 w 1638"/>
                <a:gd name="T15" fmla="*/ 19 h 1998"/>
                <a:gd name="T16" fmla="*/ 35 w 1638"/>
                <a:gd name="T17" fmla="*/ 2 h 1998"/>
                <a:gd name="T18" fmla="*/ 47 w 1638"/>
                <a:gd name="T19" fmla="*/ 2 h 1998"/>
                <a:gd name="T20" fmla="*/ 56 w 1638"/>
                <a:gd name="T21" fmla="*/ 7 h 1998"/>
                <a:gd name="T22" fmla="*/ 67 w 1638"/>
                <a:gd name="T23" fmla="*/ 5 h 1998"/>
                <a:gd name="T24" fmla="*/ 65 w 1638"/>
                <a:gd name="T25" fmla="*/ 15 h 1998"/>
                <a:gd name="T26" fmla="*/ 74 w 1638"/>
                <a:gd name="T27" fmla="*/ 24 h 1998"/>
                <a:gd name="T28" fmla="*/ 73 w 1638"/>
                <a:gd name="T29" fmla="*/ 33 h 1998"/>
                <a:gd name="T30" fmla="*/ 74 w 1638"/>
                <a:gd name="T31" fmla="*/ 44 h 1998"/>
                <a:gd name="T32" fmla="*/ 68 w 1638"/>
                <a:gd name="T33" fmla="*/ 45 h 1998"/>
                <a:gd name="T34" fmla="*/ 63 w 1638"/>
                <a:gd name="T35" fmla="*/ 50 h 1998"/>
                <a:gd name="T36" fmla="*/ 61 w 1638"/>
                <a:gd name="T37" fmla="*/ 62 h 1998"/>
                <a:gd name="T38" fmla="*/ 53 w 1638"/>
                <a:gd name="T39" fmla="*/ 86 h 1998"/>
                <a:gd name="T40" fmla="*/ 59 w 1638"/>
                <a:gd name="T41" fmla="*/ 90 h 1998"/>
                <a:gd name="T42" fmla="*/ 65 w 1638"/>
                <a:gd name="T43" fmla="*/ 86 h 1998"/>
                <a:gd name="T44" fmla="*/ 74 w 1638"/>
                <a:gd name="T45" fmla="*/ 84 h 1998"/>
                <a:gd name="T46" fmla="*/ 79 w 1638"/>
                <a:gd name="T47" fmla="*/ 85 h 1998"/>
                <a:gd name="T48" fmla="*/ 84 w 1638"/>
                <a:gd name="T49" fmla="*/ 84 h 1998"/>
                <a:gd name="T50" fmla="*/ 91 w 1638"/>
                <a:gd name="T51" fmla="*/ 84 h 1998"/>
                <a:gd name="T52" fmla="*/ 94 w 1638"/>
                <a:gd name="T53" fmla="*/ 81 h 1998"/>
                <a:gd name="T54" fmla="*/ 100 w 1638"/>
                <a:gd name="T55" fmla="*/ 81 h 1998"/>
                <a:gd name="T56" fmla="*/ 102 w 1638"/>
                <a:gd name="T57" fmla="*/ 84 h 1998"/>
                <a:gd name="T58" fmla="*/ 108 w 1638"/>
                <a:gd name="T59" fmla="*/ 85 h 1998"/>
                <a:gd name="T60" fmla="*/ 113 w 1638"/>
                <a:gd name="T61" fmla="*/ 88 h 1998"/>
                <a:gd name="T62" fmla="*/ 116 w 1638"/>
                <a:gd name="T63" fmla="*/ 88 h 1998"/>
                <a:gd name="T64" fmla="*/ 123 w 1638"/>
                <a:gd name="T65" fmla="*/ 87 h 1998"/>
                <a:gd name="T66" fmla="*/ 128 w 1638"/>
                <a:gd name="T67" fmla="*/ 86 h 1998"/>
                <a:gd name="T68" fmla="*/ 132 w 1638"/>
                <a:gd name="T69" fmla="*/ 90 h 1998"/>
                <a:gd name="T70" fmla="*/ 138 w 1638"/>
                <a:gd name="T71" fmla="*/ 96 h 1998"/>
                <a:gd name="T72" fmla="*/ 138 w 1638"/>
                <a:gd name="T73" fmla="*/ 110 h 1998"/>
                <a:gd name="T74" fmla="*/ 137 w 1638"/>
                <a:gd name="T75" fmla="*/ 118 h 1998"/>
                <a:gd name="T76" fmla="*/ 133 w 1638"/>
                <a:gd name="T77" fmla="*/ 124 h 1998"/>
                <a:gd name="T78" fmla="*/ 122 w 1638"/>
                <a:gd name="T79" fmla="*/ 125 h 1998"/>
                <a:gd name="T80" fmla="*/ 116 w 1638"/>
                <a:gd name="T81" fmla="*/ 127 h 1998"/>
                <a:gd name="T82" fmla="*/ 108 w 1638"/>
                <a:gd name="T83" fmla="*/ 123 h 1998"/>
                <a:gd name="T84" fmla="*/ 109 w 1638"/>
                <a:gd name="T85" fmla="*/ 119 h 1998"/>
                <a:gd name="T86" fmla="*/ 104 w 1638"/>
                <a:gd name="T87" fmla="*/ 104 h 1998"/>
                <a:gd name="T88" fmla="*/ 94 w 1638"/>
                <a:gd name="T89" fmla="*/ 105 h 1998"/>
                <a:gd name="T90" fmla="*/ 88 w 1638"/>
                <a:gd name="T91" fmla="*/ 109 h 1998"/>
                <a:gd name="T92" fmla="*/ 76 w 1638"/>
                <a:gd name="T93" fmla="*/ 107 h 1998"/>
                <a:gd name="T94" fmla="*/ 72 w 1638"/>
                <a:gd name="T95" fmla="*/ 114 h 1998"/>
                <a:gd name="T96" fmla="*/ 86 w 1638"/>
                <a:gd name="T97" fmla="*/ 121 h 1998"/>
                <a:gd name="T98" fmla="*/ 87 w 1638"/>
                <a:gd name="T99" fmla="*/ 129 h 1998"/>
                <a:gd name="T100" fmla="*/ 86 w 1638"/>
                <a:gd name="T101" fmla="*/ 137 h 1998"/>
                <a:gd name="T102" fmla="*/ 79 w 1638"/>
                <a:gd name="T103" fmla="*/ 141 h 1998"/>
                <a:gd name="T104" fmla="*/ 73 w 1638"/>
                <a:gd name="T105" fmla="*/ 144 h 1998"/>
                <a:gd name="T106" fmla="*/ 72 w 1638"/>
                <a:gd name="T107" fmla="*/ 164 h 1998"/>
                <a:gd name="T108" fmla="*/ 68 w 1638"/>
                <a:gd name="T109" fmla="*/ 172 h 1998"/>
                <a:gd name="T110" fmla="*/ 59 w 1638"/>
                <a:gd name="T111" fmla="*/ 164 h 1998"/>
                <a:gd name="T112" fmla="*/ 65 w 1638"/>
                <a:gd name="T113" fmla="*/ 146 h 1998"/>
                <a:gd name="T114" fmla="*/ 69 w 1638"/>
                <a:gd name="T115" fmla="*/ 133 h 1998"/>
                <a:gd name="T116" fmla="*/ 61 w 1638"/>
                <a:gd name="T117" fmla="*/ 131 h 1998"/>
                <a:gd name="T118" fmla="*/ 43 w 1638"/>
                <a:gd name="T119" fmla="*/ 125 h 1998"/>
                <a:gd name="T120" fmla="*/ 23 w 1638"/>
                <a:gd name="T121" fmla="*/ 125 h 1998"/>
                <a:gd name="T122" fmla="*/ 17 w 1638"/>
                <a:gd name="T123" fmla="*/ 121 h 19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638"/>
                <a:gd name="T187" fmla="*/ 0 h 1998"/>
                <a:gd name="T188" fmla="*/ 1638 w 1638"/>
                <a:gd name="T189" fmla="*/ 1998 h 19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638" h="1998">
                  <a:moveTo>
                    <a:pt x="144" y="1380"/>
                  </a:moveTo>
                  <a:lnTo>
                    <a:pt x="150" y="1368"/>
                  </a:lnTo>
                  <a:lnTo>
                    <a:pt x="150" y="1362"/>
                  </a:lnTo>
                  <a:lnTo>
                    <a:pt x="150" y="1356"/>
                  </a:lnTo>
                  <a:lnTo>
                    <a:pt x="144" y="1356"/>
                  </a:lnTo>
                  <a:lnTo>
                    <a:pt x="138" y="1356"/>
                  </a:lnTo>
                  <a:lnTo>
                    <a:pt x="126" y="1356"/>
                  </a:lnTo>
                  <a:lnTo>
                    <a:pt x="114" y="1344"/>
                  </a:lnTo>
                  <a:lnTo>
                    <a:pt x="84" y="1320"/>
                  </a:lnTo>
                  <a:lnTo>
                    <a:pt x="54" y="1296"/>
                  </a:lnTo>
                  <a:lnTo>
                    <a:pt x="48" y="1290"/>
                  </a:lnTo>
                  <a:lnTo>
                    <a:pt x="42" y="1278"/>
                  </a:lnTo>
                  <a:lnTo>
                    <a:pt x="30" y="1272"/>
                  </a:lnTo>
                  <a:lnTo>
                    <a:pt x="0" y="1248"/>
                  </a:lnTo>
                  <a:lnTo>
                    <a:pt x="6" y="1230"/>
                  </a:lnTo>
                  <a:lnTo>
                    <a:pt x="12" y="1194"/>
                  </a:lnTo>
                  <a:lnTo>
                    <a:pt x="18" y="1170"/>
                  </a:lnTo>
                  <a:lnTo>
                    <a:pt x="30" y="1134"/>
                  </a:lnTo>
                  <a:lnTo>
                    <a:pt x="36" y="1086"/>
                  </a:lnTo>
                  <a:lnTo>
                    <a:pt x="42" y="1050"/>
                  </a:lnTo>
                  <a:lnTo>
                    <a:pt x="48" y="1044"/>
                  </a:lnTo>
                  <a:lnTo>
                    <a:pt x="54" y="1026"/>
                  </a:lnTo>
                  <a:lnTo>
                    <a:pt x="60" y="1014"/>
                  </a:lnTo>
                  <a:lnTo>
                    <a:pt x="66" y="1002"/>
                  </a:lnTo>
                  <a:lnTo>
                    <a:pt x="66" y="996"/>
                  </a:lnTo>
                  <a:lnTo>
                    <a:pt x="72" y="996"/>
                  </a:lnTo>
                  <a:lnTo>
                    <a:pt x="72" y="990"/>
                  </a:lnTo>
                  <a:lnTo>
                    <a:pt x="78" y="990"/>
                  </a:lnTo>
                  <a:lnTo>
                    <a:pt x="90" y="978"/>
                  </a:lnTo>
                  <a:lnTo>
                    <a:pt x="96" y="966"/>
                  </a:lnTo>
                  <a:lnTo>
                    <a:pt x="102" y="966"/>
                  </a:lnTo>
                  <a:lnTo>
                    <a:pt x="114" y="954"/>
                  </a:lnTo>
                  <a:lnTo>
                    <a:pt x="120" y="954"/>
                  </a:lnTo>
                  <a:lnTo>
                    <a:pt x="120" y="948"/>
                  </a:lnTo>
                  <a:lnTo>
                    <a:pt x="114" y="930"/>
                  </a:lnTo>
                  <a:lnTo>
                    <a:pt x="114" y="924"/>
                  </a:lnTo>
                  <a:lnTo>
                    <a:pt x="108" y="918"/>
                  </a:lnTo>
                  <a:lnTo>
                    <a:pt x="102" y="912"/>
                  </a:lnTo>
                  <a:lnTo>
                    <a:pt x="90" y="906"/>
                  </a:lnTo>
                  <a:lnTo>
                    <a:pt x="84" y="900"/>
                  </a:lnTo>
                  <a:lnTo>
                    <a:pt x="84" y="888"/>
                  </a:lnTo>
                  <a:lnTo>
                    <a:pt x="84" y="882"/>
                  </a:lnTo>
                  <a:lnTo>
                    <a:pt x="78" y="858"/>
                  </a:lnTo>
                  <a:lnTo>
                    <a:pt x="78" y="852"/>
                  </a:lnTo>
                  <a:lnTo>
                    <a:pt x="84" y="846"/>
                  </a:lnTo>
                  <a:lnTo>
                    <a:pt x="84" y="840"/>
                  </a:lnTo>
                  <a:lnTo>
                    <a:pt x="96" y="828"/>
                  </a:lnTo>
                  <a:lnTo>
                    <a:pt x="114" y="816"/>
                  </a:lnTo>
                  <a:lnTo>
                    <a:pt x="114" y="810"/>
                  </a:lnTo>
                  <a:lnTo>
                    <a:pt x="114" y="804"/>
                  </a:lnTo>
                  <a:lnTo>
                    <a:pt x="108" y="780"/>
                  </a:lnTo>
                  <a:lnTo>
                    <a:pt x="96" y="756"/>
                  </a:lnTo>
                  <a:lnTo>
                    <a:pt x="96" y="750"/>
                  </a:lnTo>
                  <a:lnTo>
                    <a:pt x="90" y="720"/>
                  </a:lnTo>
                  <a:lnTo>
                    <a:pt x="90" y="708"/>
                  </a:lnTo>
                  <a:lnTo>
                    <a:pt x="90" y="690"/>
                  </a:lnTo>
                  <a:lnTo>
                    <a:pt x="96" y="672"/>
                  </a:lnTo>
                  <a:lnTo>
                    <a:pt x="90" y="666"/>
                  </a:lnTo>
                  <a:lnTo>
                    <a:pt x="96" y="666"/>
                  </a:lnTo>
                  <a:lnTo>
                    <a:pt x="102" y="642"/>
                  </a:lnTo>
                  <a:lnTo>
                    <a:pt x="108" y="624"/>
                  </a:lnTo>
                  <a:lnTo>
                    <a:pt x="102" y="618"/>
                  </a:lnTo>
                  <a:lnTo>
                    <a:pt x="102" y="588"/>
                  </a:lnTo>
                  <a:lnTo>
                    <a:pt x="102" y="564"/>
                  </a:lnTo>
                  <a:lnTo>
                    <a:pt x="102" y="546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0"/>
                  </a:lnTo>
                  <a:lnTo>
                    <a:pt x="96" y="498"/>
                  </a:lnTo>
                  <a:lnTo>
                    <a:pt x="96" y="486"/>
                  </a:lnTo>
                  <a:lnTo>
                    <a:pt x="96" y="474"/>
                  </a:lnTo>
                  <a:lnTo>
                    <a:pt x="96" y="462"/>
                  </a:lnTo>
                  <a:lnTo>
                    <a:pt x="114" y="450"/>
                  </a:lnTo>
                  <a:lnTo>
                    <a:pt x="126" y="438"/>
                  </a:lnTo>
                  <a:lnTo>
                    <a:pt x="132" y="432"/>
                  </a:lnTo>
                  <a:lnTo>
                    <a:pt x="144" y="426"/>
                  </a:lnTo>
                  <a:lnTo>
                    <a:pt x="144" y="420"/>
                  </a:lnTo>
                  <a:lnTo>
                    <a:pt x="156" y="414"/>
                  </a:lnTo>
                  <a:lnTo>
                    <a:pt x="162" y="408"/>
                  </a:lnTo>
                  <a:lnTo>
                    <a:pt x="180" y="396"/>
                  </a:lnTo>
                  <a:lnTo>
                    <a:pt x="210" y="372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34" y="348"/>
                  </a:lnTo>
                  <a:lnTo>
                    <a:pt x="240" y="348"/>
                  </a:lnTo>
                  <a:lnTo>
                    <a:pt x="246" y="342"/>
                  </a:lnTo>
                  <a:lnTo>
                    <a:pt x="276" y="318"/>
                  </a:lnTo>
                  <a:lnTo>
                    <a:pt x="282" y="312"/>
                  </a:lnTo>
                  <a:lnTo>
                    <a:pt x="288" y="306"/>
                  </a:lnTo>
                  <a:lnTo>
                    <a:pt x="300" y="288"/>
                  </a:lnTo>
                  <a:lnTo>
                    <a:pt x="306" y="276"/>
                  </a:lnTo>
                  <a:lnTo>
                    <a:pt x="324" y="246"/>
                  </a:lnTo>
                  <a:lnTo>
                    <a:pt x="330" y="240"/>
                  </a:lnTo>
                  <a:lnTo>
                    <a:pt x="336" y="234"/>
                  </a:lnTo>
                  <a:lnTo>
                    <a:pt x="342" y="228"/>
                  </a:lnTo>
                  <a:lnTo>
                    <a:pt x="342" y="216"/>
                  </a:lnTo>
                  <a:lnTo>
                    <a:pt x="354" y="204"/>
                  </a:lnTo>
                  <a:lnTo>
                    <a:pt x="360" y="204"/>
                  </a:lnTo>
                  <a:lnTo>
                    <a:pt x="366" y="186"/>
                  </a:lnTo>
                  <a:lnTo>
                    <a:pt x="384" y="162"/>
                  </a:lnTo>
                  <a:lnTo>
                    <a:pt x="390" y="144"/>
                  </a:lnTo>
                  <a:lnTo>
                    <a:pt x="396" y="114"/>
                  </a:lnTo>
                  <a:lnTo>
                    <a:pt x="396" y="102"/>
                  </a:lnTo>
                  <a:lnTo>
                    <a:pt x="402" y="90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08" y="36"/>
                  </a:lnTo>
                  <a:lnTo>
                    <a:pt x="408" y="24"/>
                  </a:lnTo>
                  <a:lnTo>
                    <a:pt x="408" y="6"/>
                  </a:lnTo>
                  <a:lnTo>
                    <a:pt x="420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68" y="0"/>
                  </a:lnTo>
                  <a:lnTo>
                    <a:pt x="480" y="0"/>
                  </a:lnTo>
                  <a:lnTo>
                    <a:pt x="492" y="0"/>
                  </a:lnTo>
                  <a:lnTo>
                    <a:pt x="498" y="0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8" y="18"/>
                  </a:lnTo>
                  <a:lnTo>
                    <a:pt x="534" y="18"/>
                  </a:lnTo>
                  <a:lnTo>
                    <a:pt x="540" y="18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8" y="36"/>
                  </a:lnTo>
                  <a:lnTo>
                    <a:pt x="588" y="54"/>
                  </a:lnTo>
                  <a:lnTo>
                    <a:pt x="594" y="48"/>
                  </a:lnTo>
                  <a:lnTo>
                    <a:pt x="600" y="48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12" y="66"/>
                  </a:lnTo>
                  <a:lnTo>
                    <a:pt x="630" y="72"/>
                  </a:lnTo>
                  <a:lnTo>
                    <a:pt x="642" y="78"/>
                  </a:lnTo>
                  <a:lnTo>
                    <a:pt x="666" y="78"/>
                  </a:lnTo>
                  <a:lnTo>
                    <a:pt x="672" y="72"/>
                  </a:lnTo>
                  <a:lnTo>
                    <a:pt x="690" y="84"/>
                  </a:lnTo>
                  <a:lnTo>
                    <a:pt x="690" y="90"/>
                  </a:lnTo>
                  <a:lnTo>
                    <a:pt x="708" y="96"/>
                  </a:lnTo>
                  <a:lnTo>
                    <a:pt x="708" y="102"/>
                  </a:lnTo>
                  <a:lnTo>
                    <a:pt x="744" y="96"/>
                  </a:lnTo>
                  <a:lnTo>
                    <a:pt x="756" y="78"/>
                  </a:lnTo>
                  <a:lnTo>
                    <a:pt x="756" y="72"/>
                  </a:lnTo>
                  <a:lnTo>
                    <a:pt x="762" y="66"/>
                  </a:lnTo>
                  <a:lnTo>
                    <a:pt x="768" y="60"/>
                  </a:lnTo>
                  <a:lnTo>
                    <a:pt x="774" y="54"/>
                  </a:lnTo>
                  <a:lnTo>
                    <a:pt x="786" y="54"/>
                  </a:lnTo>
                  <a:lnTo>
                    <a:pt x="786" y="60"/>
                  </a:lnTo>
                  <a:lnTo>
                    <a:pt x="786" y="66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92" y="90"/>
                  </a:lnTo>
                  <a:lnTo>
                    <a:pt x="780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26"/>
                  </a:lnTo>
                  <a:lnTo>
                    <a:pt x="768" y="150"/>
                  </a:lnTo>
                  <a:lnTo>
                    <a:pt x="750" y="168"/>
                  </a:lnTo>
                  <a:lnTo>
                    <a:pt x="750" y="174"/>
                  </a:lnTo>
                  <a:lnTo>
                    <a:pt x="762" y="192"/>
                  </a:lnTo>
                  <a:lnTo>
                    <a:pt x="774" y="210"/>
                  </a:lnTo>
                  <a:lnTo>
                    <a:pt x="792" y="228"/>
                  </a:lnTo>
                  <a:lnTo>
                    <a:pt x="804" y="240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40" y="252"/>
                  </a:lnTo>
                  <a:lnTo>
                    <a:pt x="834" y="252"/>
                  </a:lnTo>
                  <a:lnTo>
                    <a:pt x="846" y="252"/>
                  </a:lnTo>
                  <a:lnTo>
                    <a:pt x="852" y="270"/>
                  </a:lnTo>
                  <a:lnTo>
                    <a:pt x="858" y="282"/>
                  </a:lnTo>
                  <a:lnTo>
                    <a:pt x="858" y="288"/>
                  </a:lnTo>
                  <a:lnTo>
                    <a:pt x="864" y="300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58" y="318"/>
                  </a:lnTo>
                  <a:lnTo>
                    <a:pt x="852" y="318"/>
                  </a:lnTo>
                  <a:lnTo>
                    <a:pt x="846" y="324"/>
                  </a:lnTo>
                  <a:lnTo>
                    <a:pt x="846" y="336"/>
                  </a:lnTo>
                  <a:lnTo>
                    <a:pt x="840" y="348"/>
                  </a:lnTo>
                  <a:lnTo>
                    <a:pt x="840" y="360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46" y="402"/>
                  </a:lnTo>
                  <a:lnTo>
                    <a:pt x="858" y="420"/>
                  </a:lnTo>
                  <a:lnTo>
                    <a:pt x="882" y="426"/>
                  </a:lnTo>
                  <a:lnTo>
                    <a:pt x="888" y="444"/>
                  </a:lnTo>
                  <a:lnTo>
                    <a:pt x="900" y="444"/>
                  </a:lnTo>
                  <a:lnTo>
                    <a:pt x="900" y="462"/>
                  </a:lnTo>
                  <a:lnTo>
                    <a:pt x="894" y="474"/>
                  </a:lnTo>
                  <a:lnTo>
                    <a:pt x="888" y="486"/>
                  </a:lnTo>
                  <a:lnTo>
                    <a:pt x="882" y="492"/>
                  </a:lnTo>
                  <a:lnTo>
                    <a:pt x="870" y="504"/>
                  </a:lnTo>
                  <a:lnTo>
                    <a:pt x="852" y="504"/>
                  </a:lnTo>
                  <a:lnTo>
                    <a:pt x="852" y="510"/>
                  </a:lnTo>
                  <a:lnTo>
                    <a:pt x="852" y="516"/>
                  </a:lnTo>
                  <a:lnTo>
                    <a:pt x="846" y="528"/>
                  </a:lnTo>
                  <a:lnTo>
                    <a:pt x="846" y="582"/>
                  </a:lnTo>
                  <a:lnTo>
                    <a:pt x="840" y="582"/>
                  </a:lnTo>
                  <a:lnTo>
                    <a:pt x="834" y="582"/>
                  </a:lnTo>
                  <a:lnTo>
                    <a:pt x="828" y="582"/>
                  </a:lnTo>
                  <a:lnTo>
                    <a:pt x="822" y="582"/>
                  </a:lnTo>
                  <a:lnTo>
                    <a:pt x="810" y="582"/>
                  </a:lnTo>
                  <a:lnTo>
                    <a:pt x="810" y="528"/>
                  </a:lnTo>
                  <a:lnTo>
                    <a:pt x="792" y="528"/>
                  </a:lnTo>
                  <a:lnTo>
                    <a:pt x="792" y="522"/>
                  </a:lnTo>
                  <a:lnTo>
                    <a:pt x="786" y="522"/>
                  </a:lnTo>
                  <a:lnTo>
                    <a:pt x="786" y="516"/>
                  </a:lnTo>
                  <a:lnTo>
                    <a:pt x="780" y="516"/>
                  </a:lnTo>
                  <a:lnTo>
                    <a:pt x="780" y="510"/>
                  </a:lnTo>
                  <a:lnTo>
                    <a:pt x="762" y="510"/>
                  </a:lnTo>
                  <a:lnTo>
                    <a:pt x="756" y="510"/>
                  </a:lnTo>
                  <a:lnTo>
                    <a:pt x="750" y="522"/>
                  </a:lnTo>
                  <a:lnTo>
                    <a:pt x="744" y="534"/>
                  </a:lnTo>
                  <a:lnTo>
                    <a:pt x="732" y="540"/>
                  </a:lnTo>
                  <a:lnTo>
                    <a:pt x="732" y="558"/>
                  </a:lnTo>
                  <a:lnTo>
                    <a:pt x="732" y="564"/>
                  </a:lnTo>
                  <a:lnTo>
                    <a:pt x="732" y="570"/>
                  </a:lnTo>
                  <a:lnTo>
                    <a:pt x="726" y="576"/>
                  </a:lnTo>
                  <a:lnTo>
                    <a:pt x="720" y="576"/>
                  </a:lnTo>
                  <a:lnTo>
                    <a:pt x="714" y="582"/>
                  </a:lnTo>
                  <a:lnTo>
                    <a:pt x="702" y="588"/>
                  </a:lnTo>
                  <a:lnTo>
                    <a:pt x="696" y="594"/>
                  </a:lnTo>
                  <a:lnTo>
                    <a:pt x="690" y="600"/>
                  </a:lnTo>
                  <a:lnTo>
                    <a:pt x="690" y="606"/>
                  </a:lnTo>
                  <a:lnTo>
                    <a:pt x="678" y="606"/>
                  </a:lnTo>
                  <a:lnTo>
                    <a:pt x="678" y="624"/>
                  </a:lnTo>
                  <a:lnTo>
                    <a:pt x="684" y="642"/>
                  </a:lnTo>
                  <a:lnTo>
                    <a:pt x="684" y="660"/>
                  </a:lnTo>
                  <a:lnTo>
                    <a:pt x="690" y="672"/>
                  </a:lnTo>
                  <a:lnTo>
                    <a:pt x="702" y="720"/>
                  </a:lnTo>
                  <a:lnTo>
                    <a:pt x="708" y="750"/>
                  </a:lnTo>
                  <a:lnTo>
                    <a:pt x="708" y="792"/>
                  </a:lnTo>
                  <a:lnTo>
                    <a:pt x="708" y="828"/>
                  </a:lnTo>
                  <a:lnTo>
                    <a:pt x="708" y="852"/>
                  </a:lnTo>
                  <a:lnTo>
                    <a:pt x="696" y="894"/>
                  </a:lnTo>
                  <a:lnTo>
                    <a:pt x="702" y="900"/>
                  </a:lnTo>
                  <a:lnTo>
                    <a:pt x="708" y="924"/>
                  </a:lnTo>
                  <a:lnTo>
                    <a:pt x="684" y="936"/>
                  </a:lnTo>
                  <a:lnTo>
                    <a:pt x="660" y="954"/>
                  </a:lnTo>
                  <a:lnTo>
                    <a:pt x="618" y="984"/>
                  </a:lnTo>
                  <a:lnTo>
                    <a:pt x="618" y="990"/>
                  </a:lnTo>
                  <a:lnTo>
                    <a:pt x="612" y="996"/>
                  </a:lnTo>
                  <a:lnTo>
                    <a:pt x="606" y="1002"/>
                  </a:lnTo>
                  <a:lnTo>
                    <a:pt x="618" y="1008"/>
                  </a:lnTo>
                  <a:lnTo>
                    <a:pt x="618" y="1014"/>
                  </a:lnTo>
                  <a:lnTo>
                    <a:pt x="624" y="1026"/>
                  </a:lnTo>
                  <a:lnTo>
                    <a:pt x="630" y="1026"/>
                  </a:lnTo>
                  <a:lnTo>
                    <a:pt x="636" y="1032"/>
                  </a:lnTo>
                  <a:lnTo>
                    <a:pt x="642" y="1032"/>
                  </a:lnTo>
                  <a:lnTo>
                    <a:pt x="642" y="1038"/>
                  </a:lnTo>
                  <a:lnTo>
                    <a:pt x="648" y="1044"/>
                  </a:lnTo>
                  <a:lnTo>
                    <a:pt x="666" y="1050"/>
                  </a:lnTo>
                  <a:lnTo>
                    <a:pt x="678" y="1038"/>
                  </a:lnTo>
                  <a:lnTo>
                    <a:pt x="684" y="1038"/>
                  </a:lnTo>
                  <a:lnTo>
                    <a:pt x="684" y="1032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20"/>
                  </a:lnTo>
                  <a:lnTo>
                    <a:pt x="708" y="1014"/>
                  </a:lnTo>
                  <a:lnTo>
                    <a:pt x="720" y="1020"/>
                  </a:lnTo>
                  <a:lnTo>
                    <a:pt x="720" y="1014"/>
                  </a:lnTo>
                  <a:lnTo>
                    <a:pt x="726" y="1008"/>
                  </a:lnTo>
                  <a:lnTo>
                    <a:pt x="732" y="1008"/>
                  </a:lnTo>
                  <a:lnTo>
                    <a:pt x="738" y="1008"/>
                  </a:lnTo>
                  <a:lnTo>
                    <a:pt x="744" y="1002"/>
                  </a:lnTo>
                  <a:lnTo>
                    <a:pt x="744" y="996"/>
                  </a:lnTo>
                  <a:lnTo>
                    <a:pt x="750" y="996"/>
                  </a:lnTo>
                  <a:lnTo>
                    <a:pt x="756" y="1002"/>
                  </a:lnTo>
                  <a:lnTo>
                    <a:pt x="762" y="1002"/>
                  </a:lnTo>
                  <a:lnTo>
                    <a:pt x="768" y="996"/>
                  </a:lnTo>
                  <a:lnTo>
                    <a:pt x="780" y="996"/>
                  </a:lnTo>
                  <a:lnTo>
                    <a:pt x="786" y="996"/>
                  </a:lnTo>
                  <a:lnTo>
                    <a:pt x="816" y="990"/>
                  </a:lnTo>
                  <a:lnTo>
                    <a:pt x="828" y="990"/>
                  </a:lnTo>
                  <a:lnTo>
                    <a:pt x="834" y="990"/>
                  </a:lnTo>
                  <a:lnTo>
                    <a:pt x="840" y="984"/>
                  </a:lnTo>
                  <a:lnTo>
                    <a:pt x="852" y="978"/>
                  </a:lnTo>
                  <a:lnTo>
                    <a:pt x="852" y="972"/>
                  </a:lnTo>
                  <a:lnTo>
                    <a:pt x="858" y="972"/>
                  </a:lnTo>
                  <a:lnTo>
                    <a:pt x="864" y="966"/>
                  </a:lnTo>
                  <a:lnTo>
                    <a:pt x="870" y="966"/>
                  </a:lnTo>
                  <a:lnTo>
                    <a:pt x="876" y="966"/>
                  </a:lnTo>
                  <a:lnTo>
                    <a:pt x="882" y="960"/>
                  </a:lnTo>
                  <a:lnTo>
                    <a:pt x="888" y="960"/>
                  </a:lnTo>
                  <a:lnTo>
                    <a:pt x="894" y="960"/>
                  </a:lnTo>
                  <a:lnTo>
                    <a:pt x="894" y="966"/>
                  </a:lnTo>
                  <a:lnTo>
                    <a:pt x="894" y="978"/>
                  </a:lnTo>
                  <a:lnTo>
                    <a:pt x="894" y="984"/>
                  </a:lnTo>
                  <a:lnTo>
                    <a:pt x="900" y="984"/>
                  </a:lnTo>
                  <a:lnTo>
                    <a:pt x="906" y="978"/>
                  </a:lnTo>
                  <a:lnTo>
                    <a:pt x="912" y="972"/>
                  </a:lnTo>
                  <a:lnTo>
                    <a:pt x="918" y="978"/>
                  </a:lnTo>
                  <a:lnTo>
                    <a:pt x="924" y="978"/>
                  </a:lnTo>
                  <a:lnTo>
                    <a:pt x="924" y="972"/>
                  </a:lnTo>
                  <a:lnTo>
                    <a:pt x="924" y="966"/>
                  </a:lnTo>
                  <a:lnTo>
                    <a:pt x="930" y="966"/>
                  </a:lnTo>
                  <a:lnTo>
                    <a:pt x="948" y="966"/>
                  </a:lnTo>
                  <a:lnTo>
                    <a:pt x="954" y="966"/>
                  </a:lnTo>
                  <a:lnTo>
                    <a:pt x="954" y="960"/>
                  </a:lnTo>
                  <a:lnTo>
                    <a:pt x="960" y="960"/>
                  </a:lnTo>
                  <a:lnTo>
                    <a:pt x="966" y="960"/>
                  </a:lnTo>
                  <a:lnTo>
                    <a:pt x="966" y="966"/>
                  </a:lnTo>
                  <a:lnTo>
                    <a:pt x="978" y="972"/>
                  </a:lnTo>
                  <a:lnTo>
                    <a:pt x="978" y="978"/>
                  </a:lnTo>
                  <a:lnTo>
                    <a:pt x="978" y="984"/>
                  </a:lnTo>
                  <a:lnTo>
                    <a:pt x="984" y="978"/>
                  </a:lnTo>
                  <a:lnTo>
                    <a:pt x="990" y="978"/>
                  </a:lnTo>
                  <a:lnTo>
                    <a:pt x="996" y="984"/>
                  </a:lnTo>
                  <a:lnTo>
                    <a:pt x="1002" y="990"/>
                  </a:lnTo>
                  <a:lnTo>
                    <a:pt x="1008" y="972"/>
                  </a:lnTo>
                  <a:lnTo>
                    <a:pt x="1026" y="972"/>
                  </a:lnTo>
                  <a:lnTo>
                    <a:pt x="1032" y="972"/>
                  </a:lnTo>
                  <a:lnTo>
                    <a:pt x="1038" y="972"/>
                  </a:lnTo>
                  <a:lnTo>
                    <a:pt x="1050" y="972"/>
                  </a:lnTo>
                  <a:lnTo>
                    <a:pt x="1056" y="972"/>
                  </a:lnTo>
                  <a:lnTo>
                    <a:pt x="1062" y="966"/>
                  </a:lnTo>
                  <a:lnTo>
                    <a:pt x="1074" y="966"/>
                  </a:lnTo>
                  <a:lnTo>
                    <a:pt x="1074" y="960"/>
                  </a:lnTo>
                  <a:lnTo>
                    <a:pt x="1080" y="954"/>
                  </a:lnTo>
                  <a:lnTo>
                    <a:pt x="1080" y="948"/>
                  </a:lnTo>
                  <a:lnTo>
                    <a:pt x="1074" y="948"/>
                  </a:lnTo>
                  <a:lnTo>
                    <a:pt x="1068" y="948"/>
                  </a:lnTo>
                  <a:lnTo>
                    <a:pt x="1062" y="942"/>
                  </a:lnTo>
                  <a:lnTo>
                    <a:pt x="1068" y="936"/>
                  </a:lnTo>
                  <a:lnTo>
                    <a:pt x="1074" y="936"/>
                  </a:lnTo>
                  <a:lnTo>
                    <a:pt x="1080" y="936"/>
                  </a:lnTo>
                  <a:lnTo>
                    <a:pt x="1086" y="942"/>
                  </a:lnTo>
                  <a:lnTo>
                    <a:pt x="1092" y="942"/>
                  </a:lnTo>
                  <a:lnTo>
                    <a:pt x="1098" y="948"/>
                  </a:lnTo>
                  <a:lnTo>
                    <a:pt x="1104" y="954"/>
                  </a:lnTo>
                  <a:lnTo>
                    <a:pt x="1110" y="954"/>
                  </a:lnTo>
                  <a:lnTo>
                    <a:pt x="1116" y="948"/>
                  </a:lnTo>
                  <a:lnTo>
                    <a:pt x="1122" y="942"/>
                  </a:lnTo>
                  <a:lnTo>
                    <a:pt x="1128" y="942"/>
                  </a:lnTo>
                  <a:lnTo>
                    <a:pt x="1134" y="942"/>
                  </a:lnTo>
                  <a:lnTo>
                    <a:pt x="1140" y="948"/>
                  </a:lnTo>
                  <a:lnTo>
                    <a:pt x="1146" y="942"/>
                  </a:lnTo>
                  <a:lnTo>
                    <a:pt x="1152" y="942"/>
                  </a:lnTo>
                  <a:lnTo>
                    <a:pt x="1152" y="930"/>
                  </a:lnTo>
                  <a:lnTo>
                    <a:pt x="1164" y="936"/>
                  </a:lnTo>
                  <a:lnTo>
                    <a:pt x="1158" y="942"/>
                  </a:lnTo>
                  <a:lnTo>
                    <a:pt x="1158" y="948"/>
                  </a:lnTo>
                  <a:lnTo>
                    <a:pt x="1146" y="954"/>
                  </a:lnTo>
                  <a:lnTo>
                    <a:pt x="1152" y="954"/>
                  </a:lnTo>
                  <a:lnTo>
                    <a:pt x="1158" y="954"/>
                  </a:lnTo>
                  <a:lnTo>
                    <a:pt x="1158" y="948"/>
                  </a:lnTo>
                  <a:lnTo>
                    <a:pt x="1164" y="948"/>
                  </a:lnTo>
                  <a:lnTo>
                    <a:pt x="1170" y="948"/>
                  </a:lnTo>
                  <a:lnTo>
                    <a:pt x="1176" y="954"/>
                  </a:lnTo>
                  <a:lnTo>
                    <a:pt x="1176" y="966"/>
                  </a:lnTo>
                  <a:lnTo>
                    <a:pt x="1182" y="972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88" y="984"/>
                  </a:lnTo>
                  <a:lnTo>
                    <a:pt x="1194" y="984"/>
                  </a:lnTo>
                  <a:lnTo>
                    <a:pt x="1200" y="984"/>
                  </a:lnTo>
                  <a:lnTo>
                    <a:pt x="1212" y="984"/>
                  </a:lnTo>
                  <a:lnTo>
                    <a:pt x="1218" y="990"/>
                  </a:lnTo>
                  <a:lnTo>
                    <a:pt x="1224" y="990"/>
                  </a:lnTo>
                  <a:lnTo>
                    <a:pt x="1224" y="984"/>
                  </a:lnTo>
                  <a:lnTo>
                    <a:pt x="1230" y="990"/>
                  </a:lnTo>
                  <a:lnTo>
                    <a:pt x="1236" y="984"/>
                  </a:lnTo>
                  <a:lnTo>
                    <a:pt x="1242" y="984"/>
                  </a:lnTo>
                  <a:lnTo>
                    <a:pt x="1248" y="990"/>
                  </a:lnTo>
                  <a:lnTo>
                    <a:pt x="1254" y="990"/>
                  </a:lnTo>
                  <a:lnTo>
                    <a:pt x="1254" y="996"/>
                  </a:lnTo>
                  <a:lnTo>
                    <a:pt x="1254" y="1002"/>
                  </a:lnTo>
                  <a:lnTo>
                    <a:pt x="1254" y="1008"/>
                  </a:lnTo>
                  <a:lnTo>
                    <a:pt x="1260" y="1014"/>
                  </a:lnTo>
                  <a:lnTo>
                    <a:pt x="1266" y="1014"/>
                  </a:lnTo>
                  <a:lnTo>
                    <a:pt x="1272" y="1014"/>
                  </a:lnTo>
                  <a:lnTo>
                    <a:pt x="1278" y="1020"/>
                  </a:lnTo>
                  <a:lnTo>
                    <a:pt x="1284" y="1020"/>
                  </a:lnTo>
                  <a:lnTo>
                    <a:pt x="1290" y="1014"/>
                  </a:lnTo>
                  <a:lnTo>
                    <a:pt x="1290" y="1008"/>
                  </a:lnTo>
                  <a:lnTo>
                    <a:pt x="1296" y="1008"/>
                  </a:lnTo>
                  <a:lnTo>
                    <a:pt x="1302" y="1014"/>
                  </a:lnTo>
                  <a:lnTo>
                    <a:pt x="1308" y="1014"/>
                  </a:lnTo>
                  <a:lnTo>
                    <a:pt x="1314" y="1008"/>
                  </a:lnTo>
                  <a:lnTo>
                    <a:pt x="1320" y="1008"/>
                  </a:lnTo>
                  <a:lnTo>
                    <a:pt x="1320" y="1002"/>
                  </a:lnTo>
                  <a:lnTo>
                    <a:pt x="1320" y="996"/>
                  </a:lnTo>
                  <a:lnTo>
                    <a:pt x="1332" y="1002"/>
                  </a:lnTo>
                  <a:lnTo>
                    <a:pt x="1332" y="1008"/>
                  </a:lnTo>
                  <a:lnTo>
                    <a:pt x="1326" y="1014"/>
                  </a:lnTo>
                  <a:lnTo>
                    <a:pt x="1332" y="1014"/>
                  </a:lnTo>
                  <a:lnTo>
                    <a:pt x="1338" y="1014"/>
                  </a:lnTo>
                  <a:lnTo>
                    <a:pt x="1338" y="1008"/>
                  </a:lnTo>
                  <a:lnTo>
                    <a:pt x="1344" y="1008"/>
                  </a:lnTo>
                  <a:lnTo>
                    <a:pt x="1350" y="1008"/>
                  </a:lnTo>
                  <a:lnTo>
                    <a:pt x="1356" y="1014"/>
                  </a:lnTo>
                  <a:lnTo>
                    <a:pt x="1356" y="1008"/>
                  </a:lnTo>
                  <a:lnTo>
                    <a:pt x="1362" y="1014"/>
                  </a:lnTo>
                  <a:lnTo>
                    <a:pt x="1392" y="1014"/>
                  </a:lnTo>
                  <a:lnTo>
                    <a:pt x="1398" y="1014"/>
                  </a:lnTo>
                  <a:lnTo>
                    <a:pt x="1404" y="1008"/>
                  </a:lnTo>
                  <a:lnTo>
                    <a:pt x="1404" y="1014"/>
                  </a:lnTo>
                  <a:lnTo>
                    <a:pt x="1410" y="1008"/>
                  </a:lnTo>
                  <a:lnTo>
                    <a:pt x="1416" y="1008"/>
                  </a:lnTo>
                  <a:lnTo>
                    <a:pt x="1422" y="1002"/>
                  </a:lnTo>
                  <a:lnTo>
                    <a:pt x="1428" y="1002"/>
                  </a:lnTo>
                  <a:lnTo>
                    <a:pt x="1428" y="996"/>
                  </a:lnTo>
                  <a:lnTo>
                    <a:pt x="1428" y="990"/>
                  </a:lnTo>
                  <a:lnTo>
                    <a:pt x="1440" y="1002"/>
                  </a:lnTo>
                  <a:lnTo>
                    <a:pt x="1446" y="1002"/>
                  </a:lnTo>
                  <a:lnTo>
                    <a:pt x="1452" y="1002"/>
                  </a:lnTo>
                  <a:lnTo>
                    <a:pt x="1446" y="996"/>
                  </a:lnTo>
                  <a:lnTo>
                    <a:pt x="1452" y="996"/>
                  </a:lnTo>
                  <a:lnTo>
                    <a:pt x="1458" y="996"/>
                  </a:lnTo>
                  <a:lnTo>
                    <a:pt x="1464" y="996"/>
                  </a:lnTo>
                  <a:lnTo>
                    <a:pt x="1464" y="1002"/>
                  </a:lnTo>
                  <a:lnTo>
                    <a:pt x="1476" y="1014"/>
                  </a:lnTo>
                  <a:lnTo>
                    <a:pt x="1476" y="1008"/>
                  </a:lnTo>
                  <a:lnTo>
                    <a:pt x="1482" y="1008"/>
                  </a:lnTo>
                  <a:lnTo>
                    <a:pt x="1488" y="1020"/>
                  </a:lnTo>
                  <a:lnTo>
                    <a:pt x="1494" y="1020"/>
                  </a:lnTo>
                  <a:lnTo>
                    <a:pt x="1500" y="1014"/>
                  </a:lnTo>
                  <a:lnTo>
                    <a:pt x="1500" y="1020"/>
                  </a:lnTo>
                  <a:lnTo>
                    <a:pt x="1506" y="1026"/>
                  </a:lnTo>
                  <a:lnTo>
                    <a:pt x="1512" y="1032"/>
                  </a:lnTo>
                  <a:lnTo>
                    <a:pt x="1518" y="1032"/>
                  </a:lnTo>
                  <a:lnTo>
                    <a:pt x="1518" y="1038"/>
                  </a:lnTo>
                  <a:lnTo>
                    <a:pt x="1518" y="1044"/>
                  </a:lnTo>
                  <a:lnTo>
                    <a:pt x="1524" y="1044"/>
                  </a:lnTo>
                  <a:lnTo>
                    <a:pt x="1524" y="1050"/>
                  </a:lnTo>
                  <a:lnTo>
                    <a:pt x="1530" y="1056"/>
                  </a:lnTo>
                  <a:lnTo>
                    <a:pt x="1548" y="1062"/>
                  </a:lnTo>
                  <a:lnTo>
                    <a:pt x="1560" y="1074"/>
                  </a:lnTo>
                  <a:lnTo>
                    <a:pt x="1560" y="1080"/>
                  </a:lnTo>
                  <a:lnTo>
                    <a:pt x="1560" y="1086"/>
                  </a:lnTo>
                  <a:lnTo>
                    <a:pt x="1566" y="1086"/>
                  </a:lnTo>
                  <a:lnTo>
                    <a:pt x="1572" y="1098"/>
                  </a:lnTo>
                  <a:lnTo>
                    <a:pt x="1572" y="1104"/>
                  </a:lnTo>
                  <a:lnTo>
                    <a:pt x="1584" y="1110"/>
                  </a:lnTo>
                  <a:lnTo>
                    <a:pt x="1590" y="1116"/>
                  </a:lnTo>
                  <a:lnTo>
                    <a:pt x="1596" y="1116"/>
                  </a:lnTo>
                  <a:lnTo>
                    <a:pt x="1608" y="1122"/>
                  </a:lnTo>
                  <a:lnTo>
                    <a:pt x="1620" y="1140"/>
                  </a:lnTo>
                  <a:lnTo>
                    <a:pt x="1626" y="1158"/>
                  </a:lnTo>
                  <a:lnTo>
                    <a:pt x="1638" y="1200"/>
                  </a:lnTo>
                  <a:lnTo>
                    <a:pt x="1638" y="1218"/>
                  </a:lnTo>
                  <a:lnTo>
                    <a:pt x="1620" y="1230"/>
                  </a:lnTo>
                  <a:lnTo>
                    <a:pt x="1554" y="1230"/>
                  </a:lnTo>
                  <a:lnTo>
                    <a:pt x="1560" y="1248"/>
                  </a:lnTo>
                  <a:lnTo>
                    <a:pt x="1584" y="1260"/>
                  </a:lnTo>
                  <a:lnTo>
                    <a:pt x="1584" y="1266"/>
                  </a:lnTo>
                  <a:lnTo>
                    <a:pt x="1578" y="1272"/>
                  </a:lnTo>
                  <a:lnTo>
                    <a:pt x="1572" y="1272"/>
                  </a:lnTo>
                  <a:lnTo>
                    <a:pt x="1566" y="1278"/>
                  </a:lnTo>
                  <a:lnTo>
                    <a:pt x="1566" y="1284"/>
                  </a:lnTo>
                  <a:lnTo>
                    <a:pt x="1560" y="1290"/>
                  </a:lnTo>
                  <a:lnTo>
                    <a:pt x="1554" y="1290"/>
                  </a:lnTo>
                  <a:lnTo>
                    <a:pt x="1554" y="1296"/>
                  </a:lnTo>
                  <a:lnTo>
                    <a:pt x="1554" y="1302"/>
                  </a:lnTo>
                  <a:lnTo>
                    <a:pt x="1560" y="1332"/>
                  </a:lnTo>
                  <a:lnTo>
                    <a:pt x="1566" y="1356"/>
                  </a:lnTo>
                  <a:lnTo>
                    <a:pt x="1572" y="1356"/>
                  </a:lnTo>
                  <a:lnTo>
                    <a:pt x="1572" y="1362"/>
                  </a:lnTo>
                  <a:lnTo>
                    <a:pt x="1578" y="1362"/>
                  </a:lnTo>
                  <a:lnTo>
                    <a:pt x="1560" y="1374"/>
                  </a:lnTo>
                  <a:lnTo>
                    <a:pt x="1560" y="1380"/>
                  </a:lnTo>
                  <a:lnTo>
                    <a:pt x="1548" y="1380"/>
                  </a:lnTo>
                  <a:lnTo>
                    <a:pt x="1548" y="1386"/>
                  </a:lnTo>
                  <a:lnTo>
                    <a:pt x="1548" y="1392"/>
                  </a:lnTo>
                  <a:lnTo>
                    <a:pt x="1542" y="1410"/>
                  </a:lnTo>
                  <a:lnTo>
                    <a:pt x="1536" y="1422"/>
                  </a:lnTo>
                  <a:lnTo>
                    <a:pt x="1536" y="1428"/>
                  </a:lnTo>
                  <a:lnTo>
                    <a:pt x="1530" y="1440"/>
                  </a:lnTo>
                  <a:lnTo>
                    <a:pt x="1524" y="1434"/>
                  </a:lnTo>
                  <a:lnTo>
                    <a:pt x="1524" y="1428"/>
                  </a:lnTo>
                  <a:lnTo>
                    <a:pt x="1524" y="1422"/>
                  </a:lnTo>
                  <a:lnTo>
                    <a:pt x="1512" y="1410"/>
                  </a:lnTo>
                  <a:lnTo>
                    <a:pt x="1506" y="1404"/>
                  </a:lnTo>
                  <a:lnTo>
                    <a:pt x="1506" y="1398"/>
                  </a:lnTo>
                  <a:lnTo>
                    <a:pt x="1494" y="1392"/>
                  </a:lnTo>
                  <a:lnTo>
                    <a:pt x="1476" y="1404"/>
                  </a:lnTo>
                  <a:lnTo>
                    <a:pt x="1464" y="1416"/>
                  </a:lnTo>
                  <a:lnTo>
                    <a:pt x="1458" y="1428"/>
                  </a:lnTo>
                  <a:lnTo>
                    <a:pt x="1446" y="1434"/>
                  </a:lnTo>
                  <a:lnTo>
                    <a:pt x="1410" y="1440"/>
                  </a:lnTo>
                  <a:lnTo>
                    <a:pt x="1398" y="1440"/>
                  </a:lnTo>
                  <a:lnTo>
                    <a:pt x="1398" y="1446"/>
                  </a:lnTo>
                  <a:lnTo>
                    <a:pt x="1386" y="1446"/>
                  </a:lnTo>
                  <a:lnTo>
                    <a:pt x="1380" y="1440"/>
                  </a:lnTo>
                  <a:lnTo>
                    <a:pt x="1368" y="1440"/>
                  </a:lnTo>
                  <a:lnTo>
                    <a:pt x="1368" y="1446"/>
                  </a:lnTo>
                  <a:lnTo>
                    <a:pt x="1356" y="1446"/>
                  </a:lnTo>
                  <a:lnTo>
                    <a:pt x="1350" y="1452"/>
                  </a:lnTo>
                  <a:lnTo>
                    <a:pt x="1338" y="1452"/>
                  </a:lnTo>
                  <a:lnTo>
                    <a:pt x="1338" y="1458"/>
                  </a:lnTo>
                  <a:lnTo>
                    <a:pt x="1332" y="1458"/>
                  </a:lnTo>
                  <a:lnTo>
                    <a:pt x="1332" y="1464"/>
                  </a:lnTo>
                  <a:lnTo>
                    <a:pt x="1332" y="1470"/>
                  </a:lnTo>
                  <a:lnTo>
                    <a:pt x="1326" y="1470"/>
                  </a:lnTo>
                  <a:lnTo>
                    <a:pt x="1320" y="1470"/>
                  </a:lnTo>
                  <a:lnTo>
                    <a:pt x="1314" y="1470"/>
                  </a:lnTo>
                  <a:lnTo>
                    <a:pt x="1314" y="1464"/>
                  </a:lnTo>
                  <a:lnTo>
                    <a:pt x="1308" y="1464"/>
                  </a:lnTo>
                  <a:lnTo>
                    <a:pt x="1308" y="1452"/>
                  </a:lnTo>
                  <a:lnTo>
                    <a:pt x="1284" y="1458"/>
                  </a:lnTo>
                  <a:lnTo>
                    <a:pt x="1272" y="1458"/>
                  </a:lnTo>
                  <a:lnTo>
                    <a:pt x="1272" y="1464"/>
                  </a:lnTo>
                  <a:lnTo>
                    <a:pt x="1260" y="1464"/>
                  </a:lnTo>
                  <a:lnTo>
                    <a:pt x="1254" y="1464"/>
                  </a:lnTo>
                  <a:lnTo>
                    <a:pt x="1242" y="1422"/>
                  </a:lnTo>
                  <a:lnTo>
                    <a:pt x="1242" y="1416"/>
                  </a:lnTo>
                  <a:lnTo>
                    <a:pt x="1242" y="1410"/>
                  </a:lnTo>
                  <a:lnTo>
                    <a:pt x="1248" y="1410"/>
                  </a:lnTo>
                  <a:lnTo>
                    <a:pt x="1242" y="1410"/>
                  </a:lnTo>
                  <a:lnTo>
                    <a:pt x="1242" y="1404"/>
                  </a:lnTo>
                  <a:lnTo>
                    <a:pt x="1242" y="1398"/>
                  </a:lnTo>
                  <a:lnTo>
                    <a:pt x="1248" y="1392"/>
                  </a:lnTo>
                  <a:lnTo>
                    <a:pt x="1248" y="1386"/>
                  </a:lnTo>
                  <a:lnTo>
                    <a:pt x="1242" y="1380"/>
                  </a:lnTo>
                  <a:lnTo>
                    <a:pt x="1248" y="1380"/>
                  </a:lnTo>
                  <a:lnTo>
                    <a:pt x="1248" y="1374"/>
                  </a:lnTo>
                  <a:lnTo>
                    <a:pt x="1248" y="1368"/>
                  </a:lnTo>
                  <a:lnTo>
                    <a:pt x="1254" y="1368"/>
                  </a:lnTo>
                  <a:lnTo>
                    <a:pt x="1254" y="1362"/>
                  </a:lnTo>
                  <a:lnTo>
                    <a:pt x="1248" y="1356"/>
                  </a:lnTo>
                  <a:lnTo>
                    <a:pt x="1254" y="1356"/>
                  </a:lnTo>
                  <a:lnTo>
                    <a:pt x="1254" y="1344"/>
                  </a:lnTo>
                  <a:lnTo>
                    <a:pt x="1242" y="1338"/>
                  </a:lnTo>
                  <a:lnTo>
                    <a:pt x="1242" y="1326"/>
                  </a:lnTo>
                  <a:lnTo>
                    <a:pt x="1230" y="1326"/>
                  </a:lnTo>
                  <a:lnTo>
                    <a:pt x="1230" y="1314"/>
                  </a:lnTo>
                  <a:lnTo>
                    <a:pt x="1218" y="1314"/>
                  </a:lnTo>
                  <a:lnTo>
                    <a:pt x="1200" y="1272"/>
                  </a:lnTo>
                  <a:lnTo>
                    <a:pt x="1194" y="1242"/>
                  </a:lnTo>
                  <a:lnTo>
                    <a:pt x="1194" y="1206"/>
                  </a:lnTo>
                  <a:lnTo>
                    <a:pt x="1182" y="1200"/>
                  </a:lnTo>
                  <a:lnTo>
                    <a:pt x="1164" y="1206"/>
                  </a:lnTo>
                  <a:lnTo>
                    <a:pt x="1146" y="1212"/>
                  </a:lnTo>
                  <a:lnTo>
                    <a:pt x="1146" y="1218"/>
                  </a:lnTo>
                  <a:lnTo>
                    <a:pt x="1134" y="1224"/>
                  </a:lnTo>
                  <a:lnTo>
                    <a:pt x="1140" y="1260"/>
                  </a:lnTo>
                  <a:lnTo>
                    <a:pt x="1134" y="1266"/>
                  </a:lnTo>
                  <a:lnTo>
                    <a:pt x="1122" y="1266"/>
                  </a:lnTo>
                  <a:lnTo>
                    <a:pt x="1110" y="1236"/>
                  </a:lnTo>
                  <a:lnTo>
                    <a:pt x="1110" y="1224"/>
                  </a:lnTo>
                  <a:lnTo>
                    <a:pt x="1086" y="1224"/>
                  </a:lnTo>
                  <a:lnTo>
                    <a:pt x="1086" y="1212"/>
                  </a:lnTo>
                  <a:lnTo>
                    <a:pt x="1074" y="1212"/>
                  </a:lnTo>
                  <a:lnTo>
                    <a:pt x="1050" y="1212"/>
                  </a:lnTo>
                  <a:lnTo>
                    <a:pt x="1056" y="1218"/>
                  </a:lnTo>
                  <a:lnTo>
                    <a:pt x="1050" y="1272"/>
                  </a:lnTo>
                  <a:lnTo>
                    <a:pt x="1044" y="1272"/>
                  </a:lnTo>
                  <a:lnTo>
                    <a:pt x="1038" y="1284"/>
                  </a:lnTo>
                  <a:lnTo>
                    <a:pt x="1032" y="1302"/>
                  </a:lnTo>
                  <a:lnTo>
                    <a:pt x="1014" y="1302"/>
                  </a:lnTo>
                  <a:lnTo>
                    <a:pt x="1020" y="1284"/>
                  </a:lnTo>
                  <a:lnTo>
                    <a:pt x="1026" y="1278"/>
                  </a:lnTo>
                  <a:lnTo>
                    <a:pt x="1026" y="1266"/>
                  </a:lnTo>
                  <a:lnTo>
                    <a:pt x="1014" y="1260"/>
                  </a:lnTo>
                  <a:lnTo>
                    <a:pt x="1014" y="1272"/>
                  </a:lnTo>
                  <a:lnTo>
                    <a:pt x="990" y="1278"/>
                  </a:lnTo>
                  <a:lnTo>
                    <a:pt x="990" y="1254"/>
                  </a:lnTo>
                  <a:lnTo>
                    <a:pt x="984" y="1254"/>
                  </a:lnTo>
                  <a:lnTo>
                    <a:pt x="978" y="1242"/>
                  </a:lnTo>
                  <a:lnTo>
                    <a:pt x="972" y="1236"/>
                  </a:lnTo>
                  <a:lnTo>
                    <a:pt x="960" y="1206"/>
                  </a:lnTo>
                  <a:lnTo>
                    <a:pt x="942" y="1206"/>
                  </a:lnTo>
                  <a:lnTo>
                    <a:pt x="936" y="1200"/>
                  </a:lnTo>
                  <a:lnTo>
                    <a:pt x="906" y="1212"/>
                  </a:lnTo>
                  <a:lnTo>
                    <a:pt x="888" y="1230"/>
                  </a:lnTo>
                  <a:lnTo>
                    <a:pt x="876" y="1230"/>
                  </a:lnTo>
                  <a:lnTo>
                    <a:pt x="864" y="1236"/>
                  </a:lnTo>
                  <a:lnTo>
                    <a:pt x="858" y="1236"/>
                  </a:lnTo>
                  <a:lnTo>
                    <a:pt x="852" y="1254"/>
                  </a:lnTo>
                  <a:lnTo>
                    <a:pt x="858" y="1254"/>
                  </a:lnTo>
                  <a:lnTo>
                    <a:pt x="840" y="1266"/>
                  </a:lnTo>
                  <a:lnTo>
                    <a:pt x="828" y="1272"/>
                  </a:lnTo>
                  <a:lnTo>
                    <a:pt x="828" y="1284"/>
                  </a:lnTo>
                  <a:lnTo>
                    <a:pt x="822" y="1284"/>
                  </a:lnTo>
                  <a:lnTo>
                    <a:pt x="804" y="1296"/>
                  </a:lnTo>
                  <a:lnTo>
                    <a:pt x="804" y="1308"/>
                  </a:lnTo>
                  <a:lnTo>
                    <a:pt x="816" y="1320"/>
                  </a:lnTo>
                  <a:lnTo>
                    <a:pt x="828" y="1320"/>
                  </a:lnTo>
                  <a:lnTo>
                    <a:pt x="822" y="1338"/>
                  </a:lnTo>
                  <a:lnTo>
                    <a:pt x="852" y="1344"/>
                  </a:lnTo>
                  <a:lnTo>
                    <a:pt x="864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94" y="1356"/>
                  </a:lnTo>
                  <a:lnTo>
                    <a:pt x="912" y="1368"/>
                  </a:lnTo>
                  <a:lnTo>
                    <a:pt x="918" y="1380"/>
                  </a:lnTo>
                  <a:lnTo>
                    <a:pt x="936" y="1380"/>
                  </a:lnTo>
                  <a:lnTo>
                    <a:pt x="960" y="1386"/>
                  </a:lnTo>
                  <a:lnTo>
                    <a:pt x="990" y="1386"/>
                  </a:lnTo>
                  <a:lnTo>
                    <a:pt x="990" y="1392"/>
                  </a:lnTo>
                  <a:lnTo>
                    <a:pt x="1020" y="1398"/>
                  </a:lnTo>
                  <a:lnTo>
                    <a:pt x="1014" y="1404"/>
                  </a:lnTo>
                  <a:lnTo>
                    <a:pt x="1008" y="1404"/>
                  </a:lnTo>
                  <a:lnTo>
                    <a:pt x="1014" y="1440"/>
                  </a:lnTo>
                  <a:lnTo>
                    <a:pt x="1020" y="1458"/>
                  </a:lnTo>
                  <a:lnTo>
                    <a:pt x="1026" y="1476"/>
                  </a:lnTo>
                  <a:lnTo>
                    <a:pt x="1020" y="1476"/>
                  </a:lnTo>
                  <a:lnTo>
                    <a:pt x="1014" y="1476"/>
                  </a:lnTo>
                  <a:lnTo>
                    <a:pt x="1014" y="1482"/>
                  </a:lnTo>
                  <a:lnTo>
                    <a:pt x="1014" y="1488"/>
                  </a:lnTo>
                  <a:lnTo>
                    <a:pt x="1002" y="1488"/>
                  </a:lnTo>
                  <a:lnTo>
                    <a:pt x="1002" y="1494"/>
                  </a:lnTo>
                  <a:lnTo>
                    <a:pt x="996" y="1494"/>
                  </a:lnTo>
                  <a:lnTo>
                    <a:pt x="996" y="1518"/>
                  </a:lnTo>
                  <a:lnTo>
                    <a:pt x="1002" y="1524"/>
                  </a:lnTo>
                  <a:lnTo>
                    <a:pt x="1020" y="1530"/>
                  </a:lnTo>
                  <a:lnTo>
                    <a:pt x="1026" y="1542"/>
                  </a:lnTo>
                  <a:lnTo>
                    <a:pt x="1032" y="1566"/>
                  </a:lnTo>
                  <a:lnTo>
                    <a:pt x="1038" y="1578"/>
                  </a:lnTo>
                  <a:lnTo>
                    <a:pt x="1032" y="1584"/>
                  </a:lnTo>
                  <a:lnTo>
                    <a:pt x="1020" y="1584"/>
                  </a:lnTo>
                  <a:lnTo>
                    <a:pt x="1014" y="1584"/>
                  </a:lnTo>
                  <a:lnTo>
                    <a:pt x="1008" y="1596"/>
                  </a:lnTo>
                  <a:lnTo>
                    <a:pt x="990" y="1584"/>
                  </a:lnTo>
                  <a:lnTo>
                    <a:pt x="984" y="1602"/>
                  </a:lnTo>
                  <a:lnTo>
                    <a:pt x="978" y="1608"/>
                  </a:lnTo>
                  <a:lnTo>
                    <a:pt x="966" y="1608"/>
                  </a:lnTo>
                  <a:lnTo>
                    <a:pt x="960" y="1614"/>
                  </a:lnTo>
                  <a:lnTo>
                    <a:pt x="954" y="1614"/>
                  </a:lnTo>
                  <a:lnTo>
                    <a:pt x="942" y="1620"/>
                  </a:lnTo>
                  <a:lnTo>
                    <a:pt x="936" y="1620"/>
                  </a:lnTo>
                  <a:lnTo>
                    <a:pt x="930" y="1620"/>
                  </a:lnTo>
                  <a:lnTo>
                    <a:pt x="930" y="1626"/>
                  </a:lnTo>
                  <a:lnTo>
                    <a:pt x="930" y="1632"/>
                  </a:lnTo>
                  <a:lnTo>
                    <a:pt x="918" y="1632"/>
                  </a:lnTo>
                  <a:lnTo>
                    <a:pt x="912" y="1632"/>
                  </a:lnTo>
                  <a:lnTo>
                    <a:pt x="906" y="1632"/>
                  </a:lnTo>
                  <a:lnTo>
                    <a:pt x="900" y="1632"/>
                  </a:lnTo>
                  <a:lnTo>
                    <a:pt x="894" y="1626"/>
                  </a:lnTo>
                  <a:lnTo>
                    <a:pt x="894" y="1614"/>
                  </a:lnTo>
                  <a:lnTo>
                    <a:pt x="840" y="1614"/>
                  </a:lnTo>
                  <a:lnTo>
                    <a:pt x="840" y="1626"/>
                  </a:lnTo>
                  <a:lnTo>
                    <a:pt x="834" y="1626"/>
                  </a:lnTo>
                  <a:lnTo>
                    <a:pt x="828" y="1632"/>
                  </a:lnTo>
                  <a:lnTo>
                    <a:pt x="822" y="1638"/>
                  </a:lnTo>
                  <a:lnTo>
                    <a:pt x="822" y="1644"/>
                  </a:lnTo>
                  <a:lnTo>
                    <a:pt x="834" y="1650"/>
                  </a:lnTo>
                  <a:lnTo>
                    <a:pt x="840" y="1662"/>
                  </a:lnTo>
                  <a:lnTo>
                    <a:pt x="840" y="1668"/>
                  </a:lnTo>
                  <a:lnTo>
                    <a:pt x="858" y="1680"/>
                  </a:lnTo>
                  <a:lnTo>
                    <a:pt x="858" y="1752"/>
                  </a:lnTo>
                  <a:lnTo>
                    <a:pt x="864" y="1782"/>
                  </a:lnTo>
                  <a:lnTo>
                    <a:pt x="876" y="1788"/>
                  </a:lnTo>
                  <a:lnTo>
                    <a:pt x="870" y="1854"/>
                  </a:lnTo>
                  <a:lnTo>
                    <a:pt x="870" y="1884"/>
                  </a:lnTo>
                  <a:lnTo>
                    <a:pt x="864" y="1884"/>
                  </a:lnTo>
                  <a:lnTo>
                    <a:pt x="846" y="1896"/>
                  </a:lnTo>
                  <a:lnTo>
                    <a:pt x="840" y="1896"/>
                  </a:lnTo>
                  <a:lnTo>
                    <a:pt x="834" y="1896"/>
                  </a:lnTo>
                  <a:lnTo>
                    <a:pt x="828" y="1890"/>
                  </a:lnTo>
                  <a:lnTo>
                    <a:pt x="822" y="1890"/>
                  </a:lnTo>
                  <a:lnTo>
                    <a:pt x="816" y="1896"/>
                  </a:lnTo>
                  <a:lnTo>
                    <a:pt x="804" y="1896"/>
                  </a:lnTo>
                  <a:lnTo>
                    <a:pt x="804" y="1890"/>
                  </a:lnTo>
                  <a:lnTo>
                    <a:pt x="780" y="1896"/>
                  </a:lnTo>
                  <a:lnTo>
                    <a:pt x="780" y="1902"/>
                  </a:lnTo>
                  <a:lnTo>
                    <a:pt x="774" y="1914"/>
                  </a:lnTo>
                  <a:lnTo>
                    <a:pt x="762" y="1926"/>
                  </a:lnTo>
                  <a:lnTo>
                    <a:pt x="762" y="1950"/>
                  </a:lnTo>
                  <a:lnTo>
                    <a:pt x="762" y="1962"/>
                  </a:lnTo>
                  <a:lnTo>
                    <a:pt x="780" y="1974"/>
                  </a:lnTo>
                  <a:lnTo>
                    <a:pt x="780" y="1986"/>
                  </a:lnTo>
                  <a:lnTo>
                    <a:pt x="780" y="1998"/>
                  </a:lnTo>
                  <a:lnTo>
                    <a:pt x="756" y="1998"/>
                  </a:lnTo>
                  <a:lnTo>
                    <a:pt x="720" y="1992"/>
                  </a:lnTo>
                  <a:lnTo>
                    <a:pt x="666" y="1998"/>
                  </a:lnTo>
                  <a:lnTo>
                    <a:pt x="654" y="1998"/>
                  </a:lnTo>
                  <a:lnTo>
                    <a:pt x="660" y="1974"/>
                  </a:lnTo>
                  <a:lnTo>
                    <a:pt x="666" y="1962"/>
                  </a:lnTo>
                  <a:lnTo>
                    <a:pt x="678" y="1950"/>
                  </a:lnTo>
                  <a:lnTo>
                    <a:pt x="696" y="1932"/>
                  </a:lnTo>
                  <a:lnTo>
                    <a:pt x="696" y="1920"/>
                  </a:lnTo>
                  <a:lnTo>
                    <a:pt x="696" y="1896"/>
                  </a:lnTo>
                  <a:lnTo>
                    <a:pt x="678" y="1896"/>
                  </a:lnTo>
                  <a:lnTo>
                    <a:pt x="672" y="1884"/>
                  </a:lnTo>
                  <a:lnTo>
                    <a:pt x="672" y="1776"/>
                  </a:lnTo>
                  <a:lnTo>
                    <a:pt x="678" y="1758"/>
                  </a:lnTo>
                  <a:lnTo>
                    <a:pt x="678" y="1740"/>
                  </a:lnTo>
                  <a:lnTo>
                    <a:pt x="684" y="1728"/>
                  </a:lnTo>
                  <a:lnTo>
                    <a:pt x="690" y="1722"/>
                  </a:lnTo>
                  <a:lnTo>
                    <a:pt x="702" y="1722"/>
                  </a:lnTo>
                  <a:lnTo>
                    <a:pt x="708" y="1716"/>
                  </a:lnTo>
                  <a:lnTo>
                    <a:pt x="714" y="1710"/>
                  </a:lnTo>
                  <a:lnTo>
                    <a:pt x="720" y="1698"/>
                  </a:lnTo>
                  <a:lnTo>
                    <a:pt x="732" y="1692"/>
                  </a:lnTo>
                  <a:lnTo>
                    <a:pt x="744" y="1686"/>
                  </a:lnTo>
                  <a:lnTo>
                    <a:pt x="756" y="1680"/>
                  </a:lnTo>
                  <a:lnTo>
                    <a:pt x="768" y="1668"/>
                  </a:lnTo>
                  <a:lnTo>
                    <a:pt x="768" y="1650"/>
                  </a:lnTo>
                  <a:lnTo>
                    <a:pt x="774" y="1632"/>
                  </a:lnTo>
                  <a:lnTo>
                    <a:pt x="768" y="1620"/>
                  </a:lnTo>
                  <a:lnTo>
                    <a:pt x="774" y="1608"/>
                  </a:lnTo>
                  <a:lnTo>
                    <a:pt x="774" y="1578"/>
                  </a:lnTo>
                  <a:lnTo>
                    <a:pt x="774" y="1572"/>
                  </a:lnTo>
                  <a:lnTo>
                    <a:pt x="780" y="1560"/>
                  </a:lnTo>
                  <a:lnTo>
                    <a:pt x="780" y="1554"/>
                  </a:lnTo>
                  <a:lnTo>
                    <a:pt x="786" y="1542"/>
                  </a:lnTo>
                  <a:lnTo>
                    <a:pt x="792" y="1530"/>
                  </a:lnTo>
                  <a:lnTo>
                    <a:pt x="792" y="1518"/>
                  </a:lnTo>
                  <a:lnTo>
                    <a:pt x="792" y="1506"/>
                  </a:lnTo>
                  <a:lnTo>
                    <a:pt x="786" y="1500"/>
                  </a:lnTo>
                  <a:lnTo>
                    <a:pt x="774" y="1488"/>
                  </a:lnTo>
                  <a:lnTo>
                    <a:pt x="774" y="1482"/>
                  </a:lnTo>
                  <a:lnTo>
                    <a:pt x="762" y="1488"/>
                  </a:lnTo>
                  <a:lnTo>
                    <a:pt x="756" y="1494"/>
                  </a:lnTo>
                  <a:lnTo>
                    <a:pt x="744" y="1500"/>
                  </a:lnTo>
                  <a:lnTo>
                    <a:pt x="732" y="1506"/>
                  </a:lnTo>
                  <a:lnTo>
                    <a:pt x="726" y="1506"/>
                  </a:lnTo>
                  <a:lnTo>
                    <a:pt x="720" y="1506"/>
                  </a:lnTo>
                  <a:lnTo>
                    <a:pt x="702" y="1506"/>
                  </a:lnTo>
                  <a:lnTo>
                    <a:pt x="690" y="1500"/>
                  </a:lnTo>
                  <a:lnTo>
                    <a:pt x="678" y="1500"/>
                  </a:lnTo>
                  <a:lnTo>
                    <a:pt x="672" y="1500"/>
                  </a:lnTo>
                  <a:lnTo>
                    <a:pt x="660" y="1506"/>
                  </a:lnTo>
                  <a:lnTo>
                    <a:pt x="654" y="1506"/>
                  </a:lnTo>
                  <a:lnTo>
                    <a:pt x="648" y="1512"/>
                  </a:lnTo>
                  <a:lnTo>
                    <a:pt x="648" y="1518"/>
                  </a:lnTo>
                  <a:lnTo>
                    <a:pt x="618" y="1518"/>
                  </a:lnTo>
                  <a:lnTo>
                    <a:pt x="534" y="1494"/>
                  </a:lnTo>
                  <a:lnTo>
                    <a:pt x="528" y="1458"/>
                  </a:lnTo>
                  <a:lnTo>
                    <a:pt x="510" y="1458"/>
                  </a:lnTo>
                  <a:lnTo>
                    <a:pt x="492" y="1440"/>
                  </a:lnTo>
                  <a:lnTo>
                    <a:pt x="462" y="1440"/>
                  </a:lnTo>
                  <a:lnTo>
                    <a:pt x="456" y="1428"/>
                  </a:lnTo>
                  <a:lnTo>
                    <a:pt x="420" y="1428"/>
                  </a:lnTo>
                  <a:lnTo>
                    <a:pt x="390" y="1446"/>
                  </a:lnTo>
                  <a:lnTo>
                    <a:pt x="312" y="1452"/>
                  </a:lnTo>
                  <a:lnTo>
                    <a:pt x="300" y="1446"/>
                  </a:lnTo>
                  <a:lnTo>
                    <a:pt x="294" y="1446"/>
                  </a:lnTo>
                  <a:lnTo>
                    <a:pt x="288" y="1446"/>
                  </a:lnTo>
                  <a:lnTo>
                    <a:pt x="282" y="1440"/>
                  </a:lnTo>
                  <a:lnTo>
                    <a:pt x="276" y="1440"/>
                  </a:lnTo>
                  <a:lnTo>
                    <a:pt x="270" y="1440"/>
                  </a:lnTo>
                  <a:lnTo>
                    <a:pt x="264" y="1440"/>
                  </a:lnTo>
                  <a:lnTo>
                    <a:pt x="258" y="1434"/>
                  </a:lnTo>
                  <a:lnTo>
                    <a:pt x="252" y="1434"/>
                  </a:lnTo>
                  <a:lnTo>
                    <a:pt x="246" y="1428"/>
                  </a:lnTo>
                  <a:lnTo>
                    <a:pt x="240" y="1416"/>
                  </a:lnTo>
                  <a:lnTo>
                    <a:pt x="234" y="1404"/>
                  </a:lnTo>
                  <a:lnTo>
                    <a:pt x="228" y="1398"/>
                  </a:lnTo>
                  <a:lnTo>
                    <a:pt x="222" y="1398"/>
                  </a:lnTo>
                  <a:lnTo>
                    <a:pt x="216" y="1404"/>
                  </a:lnTo>
                  <a:lnTo>
                    <a:pt x="210" y="1404"/>
                  </a:lnTo>
                  <a:lnTo>
                    <a:pt x="204" y="1404"/>
                  </a:lnTo>
                  <a:lnTo>
                    <a:pt x="204" y="1398"/>
                  </a:lnTo>
                  <a:lnTo>
                    <a:pt x="198" y="1392"/>
                  </a:lnTo>
                  <a:lnTo>
                    <a:pt x="192" y="1386"/>
                  </a:lnTo>
                  <a:lnTo>
                    <a:pt x="168" y="1374"/>
                  </a:lnTo>
                  <a:lnTo>
                    <a:pt x="144" y="13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0" name="Freeform 35">
              <a:extLst>
                <a:ext uri="{FF2B5EF4-FFF2-40B4-BE49-F238E27FC236}">
                  <a16:creationId xmlns:a16="http://schemas.microsoft.com/office/drawing/2014/main" id="{F64BF16E-9D62-438E-A1CC-CD4088AC7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2895" y="1706004"/>
              <a:ext cx="767013" cy="785011"/>
            </a:xfrm>
            <a:custGeom>
              <a:avLst/>
              <a:gdLst>
                <a:gd name="T0" fmla="*/ 102 w 1440"/>
                <a:gd name="T1" fmla="*/ 104 h 1476"/>
                <a:gd name="T2" fmla="*/ 99 w 1440"/>
                <a:gd name="T3" fmla="*/ 108 h 1476"/>
                <a:gd name="T4" fmla="*/ 98 w 1440"/>
                <a:gd name="T5" fmla="*/ 112 h 1476"/>
                <a:gd name="T6" fmla="*/ 96 w 1440"/>
                <a:gd name="T7" fmla="*/ 116 h 1476"/>
                <a:gd name="T8" fmla="*/ 91 w 1440"/>
                <a:gd name="T9" fmla="*/ 118 h 1476"/>
                <a:gd name="T10" fmla="*/ 87 w 1440"/>
                <a:gd name="T11" fmla="*/ 120 h 1476"/>
                <a:gd name="T12" fmla="*/ 75 w 1440"/>
                <a:gd name="T13" fmla="*/ 120 h 1476"/>
                <a:gd name="T14" fmla="*/ 72 w 1440"/>
                <a:gd name="T15" fmla="*/ 123 h 1476"/>
                <a:gd name="T16" fmla="*/ 69 w 1440"/>
                <a:gd name="T17" fmla="*/ 128 h 1476"/>
                <a:gd name="T18" fmla="*/ 67 w 1440"/>
                <a:gd name="T19" fmla="*/ 127 h 1476"/>
                <a:gd name="T20" fmla="*/ 66 w 1440"/>
                <a:gd name="T21" fmla="*/ 123 h 1476"/>
                <a:gd name="T22" fmla="*/ 63 w 1440"/>
                <a:gd name="T23" fmla="*/ 119 h 1476"/>
                <a:gd name="T24" fmla="*/ 54 w 1440"/>
                <a:gd name="T25" fmla="*/ 114 h 1476"/>
                <a:gd name="T26" fmla="*/ 55 w 1440"/>
                <a:gd name="T27" fmla="*/ 106 h 1476"/>
                <a:gd name="T28" fmla="*/ 60 w 1440"/>
                <a:gd name="T29" fmla="*/ 100 h 1476"/>
                <a:gd name="T30" fmla="*/ 55 w 1440"/>
                <a:gd name="T31" fmla="*/ 91 h 1476"/>
                <a:gd name="T32" fmla="*/ 51 w 1440"/>
                <a:gd name="T33" fmla="*/ 86 h 1476"/>
                <a:gd name="T34" fmla="*/ 47 w 1440"/>
                <a:gd name="T35" fmla="*/ 85 h 1476"/>
                <a:gd name="T36" fmla="*/ 44 w 1440"/>
                <a:gd name="T37" fmla="*/ 82 h 1476"/>
                <a:gd name="T38" fmla="*/ 41 w 1440"/>
                <a:gd name="T39" fmla="*/ 83 h 1476"/>
                <a:gd name="T40" fmla="*/ 36 w 1440"/>
                <a:gd name="T41" fmla="*/ 83 h 1476"/>
                <a:gd name="T42" fmla="*/ 33 w 1440"/>
                <a:gd name="T43" fmla="*/ 83 h 1476"/>
                <a:gd name="T44" fmla="*/ 30 w 1440"/>
                <a:gd name="T45" fmla="*/ 83 h 1476"/>
                <a:gd name="T46" fmla="*/ 27 w 1440"/>
                <a:gd name="T47" fmla="*/ 83 h 1476"/>
                <a:gd name="T48" fmla="*/ 24 w 1440"/>
                <a:gd name="T49" fmla="*/ 82 h 1476"/>
                <a:gd name="T50" fmla="*/ 21 w 1440"/>
                <a:gd name="T51" fmla="*/ 80 h 1476"/>
                <a:gd name="T52" fmla="*/ 18 w 1440"/>
                <a:gd name="T53" fmla="*/ 79 h 1476"/>
                <a:gd name="T54" fmla="*/ 17 w 1440"/>
                <a:gd name="T55" fmla="*/ 78 h 1476"/>
                <a:gd name="T56" fmla="*/ 12 w 1440"/>
                <a:gd name="T57" fmla="*/ 78 h 1476"/>
                <a:gd name="T58" fmla="*/ 12 w 1440"/>
                <a:gd name="T59" fmla="*/ 78 h 1476"/>
                <a:gd name="T60" fmla="*/ 7 w 1440"/>
                <a:gd name="T61" fmla="*/ 80 h 1476"/>
                <a:gd name="T62" fmla="*/ 3 w 1440"/>
                <a:gd name="T63" fmla="*/ 81 h 1476"/>
                <a:gd name="T64" fmla="*/ 0 w 1440"/>
                <a:gd name="T65" fmla="*/ 76 h 1476"/>
                <a:gd name="T66" fmla="*/ 1 w 1440"/>
                <a:gd name="T67" fmla="*/ 50 h 1476"/>
                <a:gd name="T68" fmla="*/ 8 w 1440"/>
                <a:gd name="T69" fmla="*/ 48 h 1476"/>
                <a:gd name="T70" fmla="*/ 20 w 1440"/>
                <a:gd name="T71" fmla="*/ 49 h 1476"/>
                <a:gd name="T72" fmla="*/ 26 w 1440"/>
                <a:gd name="T73" fmla="*/ 50 h 1476"/>
                <a:gd name="T74" fmla="*/ 44 w 1440"/>
                <a:gd name="T75" fmla="*/ 47 h 1476"/>
                <a:gd name="T76" fmla="*/ 41 w 1440"/>
                <a:gd name="T77" fmla="*/ 24 h 1476"/>
                <a:gd name="T78" fmla="*/ 44 w 1440"/>
                <a:gd name="T79" fmla="*/ 20 h 1476"/>
                <a:gd name="T80" fmla="*/ 47 w 1440"/>
                <a:gd name="T81" fmla="*/ 18 h 1476"/>
                <a:gd name="T82" fmla="*/ 54 w 1440"/>
                <a:gd name="T83" fmla="*/ 21 h 1476"/>
                <a:gd name="T84" fmla="*/ 61 w 1440"/>
                <a:gd name="T85" fmla="*/ 23 h 1476"/>
                <a:gd name="T86" fmla="*/ 59 w 1440"/>
                <a:gd name="T87" fmla="*/ 14 h 1476"/>
                <a:gd name="T88" fmla="*/ 61 w 1440"/>
                <a:gd name="T89" fmla="*/ 8 h 1476"/>
                <a:gd name="T90" fmla="*/ 71 w 1440"/>
                <a:gd name="T91" fmla="*/ 7 h 1476"/>
                <a:gd name="T92" fmla="*/ 75 w 1440"/>
                <a:gd name="T93" fmla="*/ 0 h 1476"/>
                <a:gd name="T94" fmla="*/ 82 w 1440"/>
                <a:gd name="T95" fmla="*/ 3 h 1476"/>
                <a:gd name="T96" fmla="*/ 93 w 1440"/>
                <a:gd name="T97" fmla="*/ 5 h 1476"/>
                <a:gd name="T98" fmla="*/ 100 w 1440"/>
                <a:gd name="T99" fmla="*/ 1 h 1476"/>
                <a:gd name="T100" fmla="*/ 104 w 1440"/>
                <a:gd name="T101" fmla="*/ 4 h 1476"/>
                <a:gd name="T102" fmla="*/ 110 w 1440"/>
                <a:gd name="T103" fmla="*/ 10 h 1476"/>
                <a:gd name="T104" fmla="*/ 115 w 1440"/>
                <a:gd name="T105" fmla="*/ 23 h 1476"/>
                <a:gd name="T106" fmla="*/ 117 w 1440"/>
                <a:gd name="T107" fmla="*/ 42 h 1476"/>
                <a:gd name="T108" fmla="*/ 121 w 1440"/>
                <a:gd name="T109" fmla="*/ 52 h 1476"/>
                <a:gd name="T110" fmla="*/ 118 w 1440"/>
                <a:gd name="T111" fmla="*/ 62 h 1476"/>
                <a:gd name="T112" fmla="*/ 124 w 1440"/>
                <a:gd name="T113" fmla="*/ 66 h 1476"/>
                <a:gd name="T114" fmla="*/ 121 w 1440"/>
                <a:gd name="T115" fmla="*/ 71 h 1476"/>
                <a:gd name="T116" fmla="*/ 115 w 1440"/>
                <a:gd name="T117" fmla="*/ 76 h 1476"/>
                <a:gd name="T118" fmla="*/ 109 w 1440"/>
                <a:gd name="T119" fmla="*/ 76 h 1476"/>
                <a:gd name="T120" fmla="*/ 105 w 1440"/>
                <a:gd name="T121" fmla="*/ 86 h 1476"/>
                <a:gd name="T122" fmla="*/ 107 w 1440"/>
                <a:gd name="T123" fmla="*/ 97 h 147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40"/>
                <a:gd name="T187" fmla="*/ 0 h 1476"/>
                <a:gd name="T188" fmla="*/ 1440 w 1440"/>
                <a:gd name="T189" fmla="*/ 1476 h 147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40" h="1476">
                  <a:moveTo>
                    <a:pt x="1212" y="1164"/>
                  </a:moveTo>
                  <a:lnTo>
                    <a:pt x="1206" y="1170"/>
                  </a:lnTo>
                  <a:lnTo>
                    <a:pt x="1200" y="1176"/>
                  </a:lnTo>
                  <a:lnTo>
                    <a:pt x="1194" y="1176"/>
                  </a:lnTo>
                  <a:lnTo>
                    <a:pt x="1188" y="1188"/>
                  </a:lnTo>
                  <a:lnTo>
                    <a:pt x="1182" y="1194"/>
                  </a:lnTo>
                  <a:lnTo>
                    <a:pt x="1176" y="1194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64" y="1206"/>
                  </a:lnTo>
                  <a:lnTo>
                    <a:pt x="1158" y="1206"/>
                  </a:lnTo>
                  <a:lnTo>
                    <a:pt x="1152" y="1212"/>
                  </a:lnTo>
                  <a:lnTo>
                    <a:pt x="1146" y="1212"/>
                  </a:lnTo>
                  <a:lnTo>
                    <a:pt x="1140" y="1224"/>
                  </a:lnTo>
                  <a:lnTo>
                    <a:pt x="1134" y="1230"/>
                  </a:lnTo>
                  <a:lnTo>
                    <a:pt x="1128" y="1236"/>
                  </a:lnTo>
                  <a:lnTo>
                    <a:pt x="1128" y="1242"/>
                  </a:lnTo>
                  <a:lnTo>
                    <a:pt x="1128" y="1254"/>
                  </a:lnTo>
                  <a:lnTo>
                    <a:pt x="1128" y="1260"/>
                  </a:lnTo>
                  <a:lnTo>
                    <a:pt x="1122" y="1260"/>
                  </a:lnTo>
                  <a:lnTo>
                    <a:pt x="1122" y="1266"/>
                  </a:lnTo>
                  <a:lnTo>
                    <a:pt x="1128" y="1278"/>
                  </a:lnTo>
                  <a:lnTo>
                    <a:pt x="1122" y="1278"/>
                  </a:lnTo>
                  <a:lnTo>
                    <a:pt x="1122" y="1284"/>
                  </a:lnTo>
                  <a:lnTo>
                    <a:pt x="1128" y="1290"/>
                  </a:lnTo>
                  <a:lnTo>
                    <a:pt x="1122" y="1296"/>
                  </a:lnTo>
                  <a:lnTo>
                    <a:pt x="1122" y="1302"/>
                  </a:lnTo>
                  <a:lnTo>
                    <a:pt x="1116" y="1302"/>
                  </a:lnTo>
                  <a:lnTo>
                    <a:pt x="1110" y="1314"/>
                  </a:lnTo>
                  <a:lnTo>
                    <a:pt x="1110" y="1320"/>
                  </a:lnTo>
                  <a:lnTo>
                    <a:pt x="1110" y="1326"/>
                  </a:lnTo>
                  <a:lnTo>
                    <a:pt x="1098" y="1332"/>
                  </a:lnTo>
                  <a:lnTo>
                    <a:pt x="1092" y="1338"/>
                  </a:lnTo>
                  <a:lnTo>
                    <a:pt x="1092" y="1344"/>
                  </a:lnTo>
                  <a:lnTo>
                    <a:pt x="1086" y="1350"/>
                  </a:lnTo>
                  <a:lnTo>
                    <a:pt x="1080" y="1350"/>
                  </a:lnTo>
                  <a:lnTo>
                    <a:pt x="1074" y="1350"/>
                  </a:lnTo>
                  <a:lnTo>
                    <a:pt x="1068" y="1356"/>
                  </a:lnTo>
                  <a:lnTo>
                    <a:pt x="1062" y="1356"/>
                  </a:lnTo>
                  <a:lnTo>
                    <a:pt x="1044" y="1356"/>
                  </a:lnTo>
                  <a:lnTo>
                    <a:pt x="1038" y="1362"/>
                  </a:lnTo>
                  <a:lnTo>
                    <a:pt x="1032" y="1368"/>
                  </a:lnTo>
                  <a:lnTo>
                    <a:pt x="1026" y="1368"/>
                  </a:lnTo>
                  <a:lnTo>
                    <a:pt x="1020" y="1374"/>
                  </a:lnTo>
                  <a:lnTo>
                    <a:pt x="1008" y="1374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74"/>
                  </a:lnTo>
                  <a:lnTo>
                    <a:pt x="978" y="1380"/>
                  </a:lnTo>
                  <a:lnTo>
                    <a:pt x="972" y="1380"/>
                  </a:lnTo>
                  <a:lnTo>
                    <a:pt x="954" y="1368"/>
                  </a:lnTo>
                  <a:lnTo>
                    <a:pt x="930" y="1368"/>
                  </a:lnTo>
                  <a:lnTo>
                    <a:pt x="918" y="1368"/>
                  </a:lnTo>
                  <a:lnTo>
                    <a:pt x="906" y="1368"/>
                  </a:lnTo>
                  <a:lnTo>
                    <a:pt x="894" y="1368"/>
                  </a:lnTo>
                  <a:lnTo>
                    <a:pt x="864" y="1374"/>
                  </a:lnTo>
                  <a:lnTo>
                    <a:pt x="852" y="1374"/>
                  </a:lnTo>
                  <a:lnTo>
                    <a:pt x="846" y="1386"/>
                  </a:lnTo>
                  <a:lnTo>
                    <a:pt x="846" y="1392"/>
                  </a:lnTo>
                  <a:lnTo>
                    <a:pt x="840" y="1398"/>
                  </a:lnTo>
                  <a:lnTo>
                    <a:pt x="840" y="1404"/>
                  </a:lnTo>
                  <a:lnTo>
                    <a:pt x="834" y="1416"/>
                  </a:lnTo>
                  <a:lnTo>
                    <a:pt x="828" y="1416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04" y="1428"/>
                  </a:lnTo>
                  <a:lnTo>
                    <a:pt x="804" y="1434"/>
                  </a:lnTo>
                  <a:lnTo>
                    <a:pt x="804" y="1440"/>
                  </a:lnTo>
                  <a:lnTo>
                    <a:pt x="798" y="1446"/>
                  </a:lnTo>
                  <a:lnTo>
                    <a:pt x="798" y="1458"/>
                  </a:lnTo>
                  <a:lnTo>
                    <a:pt x="792" y="1464"/>
                  </a:lnTo>
                  <a:lnTo>
                    <a:pt x="786" y="1476"/>
                  </a:lnTo>
                  <a:lnTo>
                    <a:pt x="780" y="1470"/>
                  </a:lnTo>
                  <a:lnTo>
                    <a:pt x="774" y="1470"/>
                  </a:lnTo>
                  <a:lnTo>
                    <a:pt x="768" y="1470"/>
                  </a:lnTo>
                  <a:lnTo>
                    <a:pt x="762" y="1476"/>
                  </a:lnTo>
                  <a:lnTo>
                    <a:pt x="762" y="1470"/>
                  </a:lnTo>
                  <a:lnTo>
                    <a:pt x="762" y="1464"/>
                  </a:lnTo>
                  <a:lnTo>
                    <a:pt x="762" y="1458"/>
                  </a:lnTo>
                  <a:lnTo>
                    <a:pt x="756" y="1458"/>
                  </a:lnTo>
                  <a:lnTo>
                    <a:pt x="756" y="1452"/>
                  </a:lnTo>
                  <a:lnTo>
                    <a:pt x="756" y="1446"/>
                  </a:lnTo>
                  <a:lnTo>
                    <a:pt x="756" y="1440"/>
                  </a:lnTo>
                  <a:lnTo>
                    <a:pt x="750" y="1434"/>
                  </a:lnTo>
                  <a:lnTo>
                    <a:pt x="750" y="1428"/>
                  </a:lnTo>
                  <a:lnTo>
                    <a:pt x="750" y="1422"/>
                  </a:lnTo>
                  <a:lnTo>
                    <a:pt x="750" y="1416"/>
                  </a:lnTo>
                  <a:lnTo>
                    <a:pt x="744" y="1416"/>
                  </a:lnTo>
                  <a:lnTo>
                    <a:pt x="744" y="1410"/>
                  </a:lnTo>
                  <a:lnTo>
                    <a:pt x="738" y="1404"/>
                  </a:lnTo>
                  <a:lnTo>
                    <a:pt x="732" y="1398"/>
                  </a:lnTo>
                  <a:lnTo>
                    <a:pt x="732" y="1392"/>
                  </a:lnTo>
                  <a:lnTo>
                    <a:pt x="726" y="1386"/>
                  </a:lnTo>
                  <a:lnTo>
                    <a:pt x="726" y="1380"/>
                  </a:lnTo>
                  <a:lnTo>
                    <a:pt x="714" y="1368"/>
                  </a:lnTo>
                  <a:lnTo>
                    <a:pt x="708" y="1368"/>
                  </a:lnTo>
                  <a:lnTo>
                    <a:pt x="684" y="1332"/>
                  </a:lnTo>
                  <a:lnTo>
                    <a:pt x="666" y="1320"/>
                  </a:lnTo>
                  <a:lnTo>
                    <a:pt x="648" y="1302"/>
                  </a:lnTo>
                  <a:lnTo>
                    <a:pt x="630" y="1314"/>
                  </a:lnTo>
                  <a:lnTo>
                    <a:pt x="624" y="1314"/>
                  </a:lnTo>
                  <a:lnTo>
                    <a:pt x="624" y="1308"/>
                  </a:lnTo>
                  <a:lnTo>
                    <a:pt x="618" y="1308"/>
                  </a:lnTo>
                  <a:lnTo>
                    <a:pt x="612" y="1284"/>
                  </a:lnTo>
                  <a:lnTo>
                    <a:pt x="606" y="1254"/>
                  </a:lnTo>
                  <a:lnTo>
                    <a:pt x="606" y="1248"/>
                  </a:lnTo>
                  <a:lnTo>
                    <a:pt x="606" y="1242"/>
                  </a:lnTo>
                  <a:lnTo>
                    <a:pt x="612" y="1242"/>
                  </a:lnTo>
                  <a:lnTo>
                    <a:pt x="618" y="1236"/>
                  </a:lnTo>
                  <a:lnTo>
                    <a:pt x="618" y="1230"/>
                  </a:lnTo>
                  <a:lnTo>
                    <a:pt x="624" y="1224"/>
                  </a:lnTo>
                  <a:lnTo>
                    <a:pt x="630" y="1224"/>
                  </a:lnTo>
                  <a:lnTo>
                    <a:pt x="636" y="1218"/>
                  </a:lnTo>
                  <a:lnTo>
                    <a:pt x="636" y="1212"/>
                  </a:lnTo>
                  <a:lnTo>
                    <a:pt x="612" y="1200"/>
                  </a:lnTo>
                  <a:lnTo>
                    <a:pt x="606" y="1182"/>
                  </a:lnTo>
                  <a:lnTo>
                    <a:pt x="672" y="1182"/>
                  </a:lnTo>
                  <a:lnTo>
                    <a:pt x="690" y="1170"/>
                  </a:lnTo>
                  <a:lnTo>
                    <a:pt x="690" y="1152"/>
                  </a:lnTo>
                  <a:lnTo>
                    <a:pt x="678" y="1110"/>
                  </a:lnTo>
                  <a:lnTo>
                    <a:pt x="672" y="1092"/>
                  </a:lnTo>
                  <a:lnTo>
                    <a:pt x="660" y="1074"/>
                  </a:lnTo>
                  <a:lnTo>
                    <a:pt x="648" y="1068"/>
                  </a:lnTo>
                  <a:lnTo>
                    <a:pt x="642" y="1068"/>
                  </a:lnTo>
                  <a:lnTo>
                    <a:pt x="636" y="1062"/>
                  </a:lnTo>
                  <a:lnTo>
                    <a:pt x="624" y="1056"/>
                  </a:lnTo>
                  <a:lnTo>
                    <a:pt x="624" y="1050"/>
                  </a:lnTo>
                  <a:lnTo>
                    <a:pt x="618" y="1038"/>
                  </a:lnTo>
                  <a:lnTo>
                    <a:pt x="612" y="1038"/>
                  </a:lnTo>
                  <a:lnTo>
                    <a:pt x="612" y="1032"/>
                  </a:lnTo>
                  <a:lnTo>
                    <a:pt x="612" y="1026"/>
                  </a:lnTo>
                  <a:lnTo>
                    <a:pt x="600" y="1014"/>
                  </a:lnTo>
                  <a:lnTo>
                    <a:pt x="582" y="1008"/>
                  </a:lnTo>
                  <a:lnTo>
                    <a:pt x="576" y="1002"/>
                  </a:lnTo>
                  <a:lnTo>
                    <a:pt x="576" y="996"/>
                  </a:lnTo>
                  <a:lnTo>
                    <a:pt x="570" y="996"/>
                  </a:lnTo>
                  <a:lnTo>
                    <a:pt x="570" y="990"/>
                  </a:lnTo>
                  <a:lnTo>
                    <a:pt x="570" y="984"/>
                  </a:lnTo>
                  <a:lnTo>
                    <a:pt x="564" y="984"/>
                  </a:lnTo>
                  <a:lnTo>
                    <a:pt x="558" y="978"/>
                  </a:lnTo>
                  <a:lnTo>
                    <a:pt x="552" y="972"/>
                  </a:lnTo>
                  <a:lnTo>
                    <a:pt x="552" y="966"/>
                  </a:lnTo>
                  <a:lnTo>
                    <a:pt x="546" y="972"/>
                  </a:lnTo>
                  <a:lnTo>
                    <a:pt x="540" y="972"/>
                  </a:lnTo>
                  <a:lnTo>
                    <a:pt x="534" y="960"/>
                  </a:lnTo>
                  <a:lnTo>
                    <a:pt x="528" y="960"/>
                  </a:lnTo>
                  <a:lnTo>
                    <a:pt x="528" y="966"/>
                  </a:lnTo>
                  <a:lnTo>
                    <a:pt x="516" y="954"/>
                  </a:lnTo>
                  <a:lnTo>
                    <a:pt x="516" y="948"/>
                  </a:lnTo>
                  <a:lnTo>
                    <a:pt x="510" y="948"/>
                  </a:lnTo>
                  <a:lnTo>
                    <a:pt x="504" y="948"/>
                  </a:lnTo>
                  <a:lnTo>
                    <a:pt x="498" y="948"/>
                  </a:lnTo>
                  <a:lnTo>
                    <a:pt x="504" y="954"/>
                  </a:lnTo>
                  <a:lnTo>
                    <a:pt x="498" y="954"/>
                  </a:lnTo>
                  <a:lnTo>
                    <a:pt x="492" y="954"/>
                  </a:lnTo>
                  <a:lnTo>
                    <a:pt x="480" y="942"/>
                  </a:lnTo>
                  <a:lnTo>
                    <a:pt x="480" y="948"/>
                  </a:lnTo>
                  <a:lnTo>
                    <a:pt x="480" y="954"/>
                  </a:lnTo>
                  <a:lnTo>
                    <a:pt x="474" y="954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56" y="966"/>
                  </a:lnTo>
                  <a:lnTo>
                    <a:pt x="456" y="960"/>
                  </a:lnTo>
                  <a:lnTo>
                    <a:pt x="450" y="966"/>
                  </a:lnTo>
                  <a:lnTo>
                    <a:pt x="444" y="966"/>
                  </a:lnTo>
                  <a:lnTo>
                    <a:pt x="414" y="966"/>
                  </a:lnTo>
                  <a:lnTo>
                    <a:pt x="408" y="960"/>
                  </a:lnTo>
                  <a:lnTo>
                    <a:pt x="408" y="966"/>
                  </a:lnTo>
                  <a:lnTo>
                    <a:pt x="402" y="960"/>
                  </a:lnTo>
                  <a:lnTo>
                    <a:pt x="396" y="960"/>
                  </a:lnTo>
                  <a:lnTo>
                    <a:pt x="390" y="960"/>
                  </a:lnTo>
                  <a:lnTo>
                    <a:pt x="390" y="966"/>
                  </a:lnTo>
                  <a:lnTo>
                    <a:pt x="384" y="966"/>
                  </a:lnTo>
                  <a:lnTo>
                    <a:pt x="378" y="966"/>
                  </a:lnTo>
                  <a:lnTo>
                    <a:pt x="384" y="960"/>
                  </a:lnTo>
                  <a:lnTo>
                    <a:pt x="384" y="954"/>
                  </a:lnTo>
                  <a:lnTo>
                    <a:pt x="372" y="948"/>
                  </a:lnTo>
                  <a:lnTo>
                    <a:pt x="372" y="954"/>
                  </a:lnTo>
                  <a:lnTo>
                    <a:pt x="372" y="960"/>
                  </a:lnTo>
                  <a:lnTo>
                    <a:pt x="366" y="960"/>
                  </a:lnTo>
                  <a:lnTo>
                    <a:pt x="360" y="966"/>
                  </a:lnTo>
                  <a:lnTo>
                    <a:pt x="354" y="966"/>
                  </a:lnTo>
                  <a:lnTo>
                    <a:pt x="348" y="960"/>
                  </a:lnTo>
                  <a:lnTo>
                    <a:pt x="342" y="960"/>
                  </a:lnTo>
                  <a:lnTo>
                    <a:pt x="342" y="966"/>
                  </a:lnTo>
                  <a:lnTo>
                    <a:pt x="336" y="972"/>
                  </a:lnTo>
                  <a:lnTo>
                    <a:pt x="330" y="972"/>
                  </a:lnTo>
                  <a:lnTo>
                    <a:pt x="324" y="966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6" y="954"/>
                  </a:lnTo>
                  <a:lnTo>
                    <a:pt x="306" y="948"/>
                  </a:lnTo>
                  <a:lnTo>
                    <a:pt x="306" y="942"/>
                  </a:lnTo>
                  <a:lnTo>
                    <a:pt x="300" y="942"/>
                  </a:lnTo>
                  <a:lnTo>
                    <a:pt x="294" y="936"/>
                  </a:lnTo>
                  <a:lnTo>
                    <a:pt x="288" y="936"/>
                  </a:lnTo>
                  <a:lnTo>
                    <a:pt x="282" y="942"/>
                  </a:lnTo>
                  <a:lnTo>
                    <a:pt x="276" y="936"/>
                  </a:lnTo>
                  <a:lnTo>
                    <a:pt x="276" y="942"/>
                  </a:lnTo>
                  <a:lnTo>
                    <a:pt x="270" y="942"/>
                  </a:lnTo>
                  <a:lnTo>
                    <a:pt x="264" y="936"/>
                  </a:lnTo>
                  <a:lnTo>
                    <a:pt x="252" y="936"/>
                  </a:lnTo>
                  <a:lnTo>
                    <a:pt x="246" y="936"/>
                  </a:lnTo>
                  <a:lnTo>
                    <a:pt x="240" y="936"/>
                  </a:lnTo>
                  <a:lnTo>
                    <a:pt x="234" y="936"/>
                  </a:lnTo>
                  <a:lnTo>
                    <a:pt x="240" y="924"/>
                  </a:lnTo>
                  <a:lnTo>
                    <a:pt x="234" y="924"/>
                  </a:lnTo>
                  <a:lnTo>
                    <a:pt x="228" y="918"/>
                  </a:lnTo>
                  <a:lnTo>
                    <a:pt x="228" y="906"/>
                  </a:lnTo>
                  <a:lnTo>
                    <a:pt x="222" y="900"/>
                  </a:lnTo>
                  <a:lnTo>
                    <a:pt x="216" y="900"/>
                  </a:lnTo>
                  <a:lnTo>
                    <a:pt x="210" y="900"/>
                  </a:lnTo>
                  <a:lnTo>
                    <a:pt x="210" y="906"/>
                  </a:lnTo>
                  <a:lnTo>
                    <a:pt x="204" y="906"/>
                  </a:lnTo>
                  <a:lnTo>
                    <a:pt x="198" y="906"/>
                  </a:lnTo>
                  <a:lnTo>
                    <a:pt x="210" y="900"/>
                  </a:lnTo>
                  <a:lnTo>
                    <a:pt x="210" y="894"/>
                  </a:lnTo>
                  <a:lnTo>
                    <a:pt x="216" y="888"/>
                  </a:lnTo>
                  <a:lnTo>
                    <a:pt x="204" y="882"/>
                  </a:lnTo>
                  <a:lnTo>
                    <a:pt x="204" y="894"/>
                  </a:lnTo>
                  <a:lnTo>
                    <a:pt x="198" y="894"/>
                  </a:lnTo>
                  <a:lnTo>
                    <a:pt x="192" y="900"/>
                  </a:lnTo>
                  <a:lnTo>
                    <a:pt x="186" y="894"/>
                  </a:lnTo>
                  <a:lnTo>
                    <a:pt x="180" y="894"/>
                  </a:lnTo>
                  <a:lnTo>
                    <a:pt x="174" y="894"/>
                  </a:lnTo>
                  <a:lnTo>
                    <a:pt x="168" y="900"/>
                  </a:lnTo>
                  <a:lnTo>
                    <a:pt x="162" y="906"/>
                  </a:lnTo>
                  <a:lnTo>
                    <a:pt x="156" y="906"/>
                  </a:lnTo>
                  <a:lnTo>
                    <a:pt x="150" y="900"/>
                  </a:lnTo>
                  <a:lnTo>
                    <a:pt x="144" y="894"/>
                  </a:lnTo>
                  <a:lnTo>
                    <a:pt x="138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0" y="888"/>
                  </a:lnTo>
                  <a:lnTo>
                    <a:pt x="114" y="894"/>
                  </a:lnTo>
                  <a:lnTo>
                    <a:pt x="120" y="900"/>
                  </a:lnTo>
                  <a:lnTo>
                    <a:pt x="126" y="900"/>
                  </a:lnTo>
                  <a:lnTo>
                    <a:pt x="132" y="900"/>
                  </a:lnTo>
                  <a:lnTo>
                    <a:pt x="132" y="906"/>
                  </a:lnTo>
                  <a:lnTo>
                    <a:pt x="126" y="912"/>
                  </a:lnTo>
                  <a:lnTo>
                    <a:pt x="126" y="918"/>
                  </a:lnTo>
                  <a:lnTo>
                    <a:pt x="114" y="918"/>
                  </a:lnTo>
                  <a:lnTo>
                    <a:pt x="108" y="924"/>
                  </a:lnTo>
                  <a:lnTo>
                    <a:pt x="102" y="924"/>
                  </a:lnTo>
                  <a:lnTo>
                    <a:pt x="90" y="924"/>
                  </a:lnTo>
                  <a:lnTo>
                    <a:pt x="84" y="924"/>
                  </a:lnTo>
                  <a:lnTo>
                    <a:pt x="78" y="924"/>
                  </a:lnTo>
                  <a:lnTo>
                    <a:pt x="60" y="924"/>
                  </a:lnTo>
                  <a:lnTo>
                    <a:pt x="54" y="942"/>
                  </a:lnTo>
                  <a:lnTo>
                    <a:pt x="48" y="936"/>
                  </a:lnTo>
                  <a:lnTo>
                    <a:pt x="42" y="930"/>
                  </a:lnTo>
                  <a:lnTo>
                    <a:pt x="36" y="930"/>
                  </a:lnTo>
                  <a:lnTo>
                    <a:pt x="30" y="936"/>
                  </a:lnTo>
                  <a:lnTo>
                    <a:pt x="30" y="930"/>
                  </a:lnTo>
                  <a:lnTo>
                    <a:pt x="30" y="924"/>
                  </a:lnTo>
                  <a:lnTo>
                    <a:pt x="18" y="918"/>
                  </a:lnTo>
                  <a:lnTo>
                    <a:pt x="18" y="912"/>
                  </a:lnTo>
                  <a:lnTo>
                    <a:pt x="12" y="912"/>
                  </a:lnTo>
                  <a:lnTo>
                    <a:pt x="6" y="912"/>
                  </a:lnTo>
                  <a:lnTo>
                    <a:pt x="6" y="900"/>
                  </a:lnTo>
                  <a:lnTo>
                    <a:pt x="6" y="894"/>
                  </a:lnTo>
                  <a:lnTo>
                    <a:pt x="0" y="870"/>
                  </a:lnTo>
                  <a:lnTo>
                    <a:pt x="6" y="846"/>
                  </a:lnTo>
                  <a:lnTo>
                    <a:pt x="6" y="810"/>
                  </a:lnTo>
                  <a:lnTo>
                    <a:pt x="12" y="774"/>
                  </a:lnTo>
                  <a:lnTo>
                    <a:pt x="12" y="756"/>
                  </a:lnTo>
                  <a:lnTo>
                    <a:pt x="18" y="744"/>
                  </a:lnTo>
                  <a:lnTo>
                    <a:pt x="18" y="732"/>
                  </a:lnTo>
                  <a:lnTo>
                    <a:pt x="12" y="576"/>
                  </a:lnTo>
                  <a:lnTo>
                    <a:pt x="12" y="570"/>
                  </a:lnTo>
                  <a:lnTo>
                    <a:pt x="18" y="564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42" y="552"/>
                  </a:lnTo>
                  <a:lnTo>
                    <a:pt x="66" y="552"/>
                  </a:lnTo>
                  <a:lnTo>
                    <a:pt x="78" y="558"/>
                  </a:lnTo>
                  <a:lnTo>
                    <a:pt x="90" y="558"/>
                  </a:lnTo>
                  <a:lnTo>
                    <a:pt x="108" y="558"/>
                  </a:lnTo>
                  <a:lnTo>
                    <a:pt x="144" y="558"/>
                  </a:lnTo>
                  <a:lnTo>
                    <a:pt x="204" y="552"/>
                  </a:lnTo>
                  <a:lnTo>
                    <a:pt x="210" y="558"/>
                  </a:lnTo>
                  <a:lnTo>
                    <a:pt x="216" y="558"/>
                  </a:lnTo>
                  <a:lnTo>
                    <a:pt x="210" y="564"/>
                  </a:lnTo>
                  <a:lnTo>
                    <a:pt x="216" y="564"/>
                  </a:lnTo>
                  <a:lnTo>
                    <a:pt x="222" y="564"/>
                  </a:lnTo>
                  <a:lnTo>
                    <a:pt x="240" y="564"/>
                  </a:lnTo>
                  <a:lnTo>
                    <a:pt x="258" y="564"/>
                  </a:lnTo>
                  <a:lnTo>
                    <a:pt x="264" y="570"/>
                  </a:lnTo>
                  <a:lnTo>
                    <a:pt x="276" y="570"/>
                  </a:lnTo>
                  <a:lnTo>
                    <a:pt x="282" y="564"/>
                  </a:lnTo>
                  <a:lnTo>
                    <a:pt x="294" y="564"/>
                  </a:lnTo>
                  <a:lnTo>
                    <a:pt x="294" y="570"/>
                  </a:lnTo>
                  <a:lnTo>
                    <a:pt x="300" y="570"/>
                  </a:lnTo>
                  <a:lnTo>
                    <a:pt x="378" y="564"/>
                  </a:lnTo>
                  <a:lnTo>
                    <a:pt x="408" y="558"/>
                  </a:lnTo>
                  <a:lnTo>
                    <a:pt x="432" y="552"/>
                  </a:lnTo>
                  <a:lnTo>
                    <a:pt x="450" y="546"/>
                  </a:lnTo>
                  <a:lnTo>
                    <a:pt x="468" y="546"/>
                  </a:lnTo>
                  <a:lnTo>
                    <a:pt x="468" y="552"/>
                  </a:lnTo>
                  <a:lnTo>
                    <a:pt x="504" y="552"/>
                  </a:lnTo>
                  <a:lnTo>
                    <a:pt x="510" y="534"/>
                  </a:lnTo>
                  <a:lnTo>
                    <a:pt x="516" y="510"/>
                  </a:lnTo>
                  <a:lnTo>
                    <a:pt x="522" y="510"/>
                  </a:lnTo>
                  <a:lnTo>
                    <a:pt x="528" y="420"/>
                  </a:lnTo>
                  <a:lnTo>
                    <a:pt x="522" y="414"/>
                  </a:lnTo>
                  <a:lnTo>
                    <a:pt x="516" y="396"/>
                  </a:lnTo>
                  <a:lnTo>
                    <a:pt x="510" y="372"/>
                  </a:lnTo>
                  <a:lnTo>
                    <a:pt x="498" y="348"/>
                  </a:lnTo>
                  <a:lnTo>
                    <a:pt x="474" y="282"/>
                  </a:lnTo>
                  <a:lnTo>
                    <a:pt x="474" y="270"/>
                  </a:lnTo>
                  <a:lnTo>
                    <a:pt x="480" y="258"/>
                  </a:lnTo>
                  <a:lnTo>
                    <a:pt x="486" y="258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92" y="246"/>
                  </a:lnTo>
                  <a:lnTo>
                    <a:pt x="504" y="234"/>
                  </a:lnTo>
                  <a:lnTo>
                    <a:pt x="510" y="228"/>
                  </a:lnTo>
                  <a:lnTo>
                    <a:pt x="516" y="228"/>
                  </a:lnTo>
                  <a:lnTo>
                    <a:pt x="516" y="222"/>
                  </a:lnTo>
                  <a:lnTo>
                    <a:pt x="516" y="216"/>
                  </a:lnTo>
                  <a:lnTo>
                    <a:pt x="522" y="216"/>
                  </a:lnTo>
                  <a:lnTo>
                    <a:pt x="528" y="210"/>
                  </a:lnTo>
                  <a:lnTo>
                    <a:pt x="534" y="210"/>
                  </a:lnTo>
                  <a:lnTo>
                    <a:pt x="540" y="210"/>
                  </a:lnTo>
                  <a:lnTo>
                    <a:pt x="546" y="210"/>
                  </a:lnTo>
                  <a:lnTo>
                    <a:pt x="552" y="210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16"/>
                  </a:lnTo>
                  <a:lnTo>
                    <a:pt x="588" y="228"/>
                  </a:lnTo>
                  <a:lnTo>
                    <a:pt x="594" y="234"/>
                  </a:lnTo>
                  <a:lnTo>
                    <a:pt x="600" y="240"/>
                  </a:lnTo>
                  <a:lnTo>
                    <a:pt x="618" y="246"/>
                  </a:lnTo>
                  <a:lnTo>
                    <a:pt x="624" y="246"/>
                  </a:lnTo>
                  <a:lnTo>
                    <a:pt x="636" y="252"/>
                  </a:lnTo>
                  <a:lnTo>
                    <a:pt x="654" y="252"/>
                  </a:lnTo>
                  <a:lnTo>
                    <a:pt x="654" y="258"/>
                  </a:lnTo>
                  <a:lnTo>
                    <a:pt x="666" y="264"/>
                  </a:lnTo>
                  <a:lnTo>
                    <a:pt x="672" y="264"/>
                  </a:lnTo>
                  <a:lnTo>
                    <a:pt x="678" y="264"/>
                  </a:lnTo>
                  <a:lnTo>
                    <a:pt x="696" y="258"/>
                  </a:lnTo>
                  <a:lnTo>
                    <a:pt x="696" y="252"/>
                  </a:lnTo>
                  <a:lnTo>
                    <a:pt x="696" y="246"/>
                  </a:lnTo>
                  <a:lnTo>
                    <a:pt x="690" y="234"/>
                  </a:lnTo>
                  <a:lnTo>
                    <a:pt x="684" y="210"/>
                  </a:lnTo>
                  <a:lnTo>
                    <a:pt x="678" y="192"/>
                  </a:lnTo>
                  <a:lnTo>
                    <a:pt x="672" y="174"/>
                  </a:lnTo>
                  <a:lnTo>
                    <a:pt x="672" y="168"/>
                  </a:lnTo>
                  <a:lnTo>
                    <a:pt x="672" y="162"/>
                  </a:lnTo>
                  <a:lnTo>
                    <a:pt x="672" y="156"/>
                  </a:lnTo>
                  <a:lnTo>
                    <a:pt x="684" y="132"/>
                  </a:lnTo>
                  <a:lnTo>
                    <a:pt x="684" y="120"/>
                  </a:lnTo>
                  <a:lnTo>
                    <a:pt x="684" y="108"/>
                  </a:lnTo>
                  <a:lnTo>
                    <a:pt x="678" y="102"/>
                  </a:lnTo>
                  <a:lnTo>
                    <a:pt x="678" y="96"/>
                  </a:lnTo>
                  <a:lnTo>
                    <a:pt x="684" y="96"/>
                  </a:lnTo>
                  <a:lnTo>
                    <a:pt x="696" y="90"/>
                  </a:lnTo>
                  <a:lnTo>
                    <a:pt x="702" y="84"/>
                  </a:lnTo>
                  <a:lnTo>
                    <a:pt x="720" y="72"/>
                  </a:lnTo>
                  <a:lnTo>
                    <a:pt x="738" y="66"/>
                  </a:lnTo>
                  <a:lnTo>
                    <a:pt x="756" y="60"/>
                  </a:lnTo>
                  <a:lnTo>
                    <a:pt x="768" y="60"/>
                  </a:lnTo>
                  <a:lnTo>
                    <a:pt x="798" y="72"/>
                  </a:lnTo>
                  <a:lnTo>
                    <a:pt x="804" y="78"/>
                  </a:lnTo>
                  <a:lnTo>
                    <a:pt x="816" y="84"/>
                  </a:lnTo>
                  <a:lnTo>
                    <a:pt x="822" y="84"/>
                  </a:lnTo>
                  <a:lnTo>
                    <a:pt x="828" y="72"/>
                  </a:lnTo>
                  <a:lnTo>
                    <a:pt x="828" y="60"/>
                  </a:lnTo>
                  <a:lnTo>
                    <a:pt x="828" y="36"/>
                  </a:lnTo>
                  <a:lnTo>
                    <a:pt x="828" y="24"/>
                  </a:lnTo>
                  <a:lnTo>
                    <a:pt x="828" y="12"/>
                  </a:lnTo>
                  <a:lnTo>
                    <a:pt x="834" y="12"/>
                  </a:lnTo>
                  <a:lnTo>
                    <a:pt x="852" y="6"/>
                  </a:lnTo>
                  <a:lnTo>
                    <a:pt x="876" y="6"/>
                  </a:lnTo>
                  <a:lnTo>
                    <a:pt x="894" y="6"/>
                  </a:lnTo>
                  <a:lnTo>
                    <a:pt x="906" y="12"/>
                  </a:lnTo>
                  <a:lnTo>
                    <a:pt x="912" y="24"/>
                  </a:lnTo>
                  <a:lnTo>
                    <a:pt x="924" y="24"/>
                  </a:lnTo>
                  <a:lnTo>
                    <a:pt x="930" y="30"/>
                  </a:lnTo>
                  <a:lnTo>
                    <a:pt x="936" y="30"/>
                  </a:lnTo>
                  <a:lnTo>
                    <a:pt x="936" y="36"/>
                  </a:lnTo>
                  <a:lnTo>
                    <a:pt x="942" y="36"/>
                  </a:lnTo>
                  <a:lnTo>
                    <a:pt x="948" y="42"/>
                  </a:lnTo>
                  <a:lnTo>
                    <a:pt x="960" y="48"/>
                  </a:lnTo>
                  <a:lnTo>
                    <a:pt x="966" y="48"/>
                  </a:lnTo>
                  <a:lnTo>
                    <a:pt x="1026" y="60"/>
                  </a:lnTo>
                  <a:lnTo>
                    <a:pt x="1050" y="60"/>
                  </a:lnTo>
                  <a:lnTo>
                    <a:pt x="1050" y="54"/>
                  </a:lnTo>
                  <a:lnTo>
                    <a:pt x="1062" y="54"/>
                  </a:lnTo>
                  <a:lnTo>
                    <a:pt x="1074" y="48"/>
                  </a:lnTo>
                  <a:lnTo>
                    <a:pt x="1086" y="42"/>
                  </a:lnTo>
                  <a:lnTo>
                    <a:pt x="1104" y="36"/>
                  </a:lnTo>
                  <a:lnTo>
                    <a:pt x="1116" y="30"/>
                  </a:lnTo>
                  <a:lnTo>
                    <a:pt x="1122" y="24"/>
                  </a:lnTo>
                  <a:lnTo>
                    <a:pt x="1128" y="18"/>
                  </a:lnTo>
                  <a:lnTo>
                    <a:pt x="1134" y="18"/>
                  </a:lnTo>
                  <a:lnTo>
                    <a:pt x="1140" y="12"/>
                  </a:lnTo>
                  <a:lnTo>
                    <a:pt x="1146" y="6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24"/>
                  </a:lnTo>
                  <a:lnTo>
                    <a:pt x="1176" y="36"/>
                  </a:lnTo>
                  <a:lnTo>
                    <a:pt x="1188" y="42"/>
                  </a:lnTo>
                  <a:lnTo>
                    <a:pt x="1200" y="54"/>
                  </a:lnTo>
                  <a:lnTo>
                    <a:pt x="1224" y="84"/>
                  </a:lnTo>
                  <a:lnTo>
                    <a:pt x="1224" y="90"/>
                  </a:lnTo>
                  <a:lnTo>
                    <a:pt x="1236" y="96"/>
                  </a:lnTo>
                  <a:lnTo>
                    <a:pt x="1236" y="108"/>
                  </a:lnTo>
                  <a:lnTo>
                    <a:pt x="1248" y="114"/>
                  </a:lnTo>
                  <a:lnTo>
                    <a:pt x="1254" y="114"/>
                  </a:lnTo>
                  <a:lnTo>
                    <a:pt x="1260" y="114"/>
                  </a:lnTo>
                  <a:lnTo>
                    <a:pt x="1296" y="114"/>
                  </a:lnTo>
                  <a:lnTo>
                    <a:pt x="1302" y="114"/>
                  </a:lnTo>
                  <a:lnTo>
                    <a:pt x="1320" y="108"/>
                  </a:lnTo>
                  <a:lnTo>
                    <a:pt x="1326" y="108"/>
                  </a:lnTo>
                  <a:lnTo>
                    <a:pt x="1326" y="138"/>
                  </a:lnTo>
                  <a:lnTo>
                    <a:pt x="1326" y="210"/>
                  </a:lnTo>
                  <a:lnTo>
                    <a:pt x="1320" y="252"/>
                  </a:lnTo>
                  <a:lnTo>
                    <a:pt x="1320" y="270"/>
                  </a:lnTo>
                  <a:lnTo>
                    <a:pt x="1320" y="288"/>
                  </a:lnTo>
                  <a:lnTo>
                    <a:pt x="1320" y="318"/>
                  </a:lnTo>
                  <a:lnTo>
                    <a:pt x="1326" y="354"/>
                  </a:lnTo>
                  <a:lnTo>
                    <a:pt x="1326" y="372"/>
                  </a:lnTo>
                  <a:lnTo>
                    <a:pt x="1332" y="420"/>
                  </a:lnTo>
                  <a:lnTo>
                    <a:pt x="1332" y="450"/>
                  </a:lnTo>
                  <a:lnTo>
                    <a:pt x="1338" y="480"/>
                  </a:lnTo>
                  <a:lnTo>
                    <a:pt x="1344" y="486"/>
                  </a:lnTo>
                  <a:lnTo>
                    <a:pt x="1338" y="492"/>
                  </a:lnTo>
                  <a:lnTo>
                    <a:pt x="1344" y="492"/>
                  </a:lnTo>
                  <a:lnTo>
                    <a:pt x="1344" y="498"/>
                  </a:lnTo>
                  <a:lnTo>
                    <a:pt x="1350" y="498"/>
                  </a:lnTo>
                  <a:lnTo>
                    <a:pt x="1350" y="522"/>
                  </a:lnTo>
                  <a:lnTo>
                    <a:pt x="1362" y="564"/>
                  </a:lnTo>
                  <a:lnTo>
                    <a:pt x="1368" y="582"/>
                  </a:lnTo>
                  <a:lnTo>
                    <a:pt x="1380" y="600"/>
                  </a:lnTo>
                  <a:lnTo>
                    <a:pt x="1386" y="636"/>
                  </a:lnTo>
                  <a:lnTo>
                    <a:pt x="1380" y="660"/>
                  </a:lnTo>
                  <a:lnTo>
                    <a:pt x="1380" y="678"/>
                  </a:lnTo>
                  <a:lnTo>
                    <a:pt x="1380" y="684"/>
                  </a:lnTo>
                  <a:lnTo>
                    <a:pt x="1374" y="684"/>
                  </a:lnTo>
                  <a:lnTo>
                    <a:pt x="1368" y="690"/>
                  </a:lnTo>
                  <a:lnTo>
                    <a:pt x="1356" y="702"/>
                  </a:lnTo>
                  <a:lnTo>
                    <a:pt x="1350" y="708"/>
                  </a:lnTo>
                  <a:lnTo>
                    <a:pt x="1356" y="714"/>
                  </a:lnTo>
                  <a:lnTo>
                    <a:pt x="1368" y="726"/>
                  </a:lnTo>
                  <a:lnTo>
                    <a:pt x="1380" y="738"/>
                  </a:lnTo>
                  <a:lnTo>
                    <a:pt x="1386" y="744"/>
                  </a:lnTo>
                  <a:lnTo>
                    <a:pt x="1392" y="744"/>
                  </a:lnTo>
                  <a:lnTo>
                    <a:pt x="1410" y="750"/>
                  </a:lnTo>
                  <a:lnTo>
                    <a:pt x="1416" y="756"/>
                  </a:lnTo>
                  <a:lnTo>
                    <a:pt x="1422" y="756"/>
                  </a:lnTo>
                  <a:lnTo>
                    <a:pt x="1422" y="762"/>
                  </a:lnTo>
                  <a:lnTo>
                    <a:pt x="1428" y="774"/>
                  </a:lnTo>
                  <a:lnTo>
                    <a:pt x="1428" y="780"/>
                  </a:lnTo>
                  <a:lnTo>
                    <a:pt x="1434" y="780"/>
                  </a:lnTo>
                  <a:lnTo>
                    <a:pt x="1440" y="798"/>
                  </a:lnTo>
                  <a:lnTo>
                    <a:pt x="1422" y="816"/>
                  </a:lnTo>
                  <a:lnTo>
                    <a:pt x="1386" y="810"/>
                  </a:lnTo>
                  <a:lnTo>
                    <a:pt x="1380" y="816"/>
                  </a:lnTo>
                  <a:lnTo>
                    <a:pt x="1374" y="840"/>
                  </a:lnTo>
                  <a:lnTo>
                    <a:pt x="1350" y="852"/>
                  </a:lnTo>
                  <a:lnTo>
                    <a:pt x="1350" y="858"/>
                  </a:lnTo>
                  <a:lnTo>
                    <a:pt x="1350" y="864"/>
                  </a:lnTo>
                  <a:lnTo>
                    <a:pt x="1344" y="864"/>
                  </a:lnTo>
                  <a:lnTo>
                    <a:pt x="1338" y="870"/>
                  </a:lnTo>
                  <a:lnTo>
                    <a:pt x="1332" y="876"/>
                  </a:lnTo>
                  <a:lnTo>
                    <a:pt x="1314" y="876"/>
                  </a:lnTo>
                  <a:lnTo>
                    <a:pt x="1314" y="870"/>
                  </a:lnTo>
                  <a:lnTo>
                    <a:pt x="1308" y="870"/>
                  </a:lnTo>
                  <a:lnTo>
                    <a:pt x="1302" y="864"/>
                  </a:lnTo>
                  <a:lnTo>
                    <a:pt x="1296" y="864"/>
                  </a:lnTo>
                  <a:lnTo>
                    <a:pt x="1284" y="870"/>
                  </a:lnTo>
                  <a:lnTo>
                    <a:pt x="1266" y="870"/>
                  </a:lnTo>
                  <a:lnTo>
                    <a:pt x="1260" y="870"/>
                  </a:lnTo>
                  <a:lnTo>
                    <a:pt x="1248" y="876"/>
                  </a:lnTo>
                  <a:lnTo>
                    <a:pt x="1236" y="876"/>
                  </a:lnTo>
                  <a:lnTo>
                    <a:pt x="1230" y="882"/>
                  </a:lnTo>
                  <a:lnTo>
                    <a:pt x="1224" y="894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18" y="942"/>
                  </a:lnTo>
                  <a:lnTo>
                    <a:pt x="1212" y="948"/>
                  </a:lnTo>
                  <a:lnTo>
                    <a:pt x="1200" y="984"/>
                  </a:lnTo>
                  <a:lnTo>
                    <a:pt x="1194" y="1008"/>
                  </a:lnTo>
                  <a:lnTo>
                    <a:pt x="1218" y="1038"/>
                  </a:lnTo>
                  <a:lnTo>
                    <a:pt x="1224" y="1044"/>
                  </a:lnTo>
                  <a:lnTo>
                    <a:pt x="1224" y="1062"/>
                  </a:lnTo>
                  <a:lnTo>
                    <a:pt x="1236" y="1080"/>
                  </a:lnTo>
                  <a:lnTo>
                    <a:pt x="1236" y="1086"/>
                  </a:lnTo>
                  <a:lnTo>
                    <a:pt x="1230" y="1092"/>
                  </a:lnTo>
                  <a:lnTo>
                    <a:pt x="1224" y="1110"/>
                  </a:lnTo>
                  <a:lnTo>
                    <a:pt x="1218" y="1122"/>
                  </a:lnTo>
                  <a:lnTo>
                    <a:pt x="1224" y="1140"/>
                  </a:lnTo>
                  <a:lnTo>
                    <a:pt x="1218" y="1146"/>
                  </a:lnTo>
                  <a:lnTo>
                    <a:pt x="1218" y="1152"/>
                  </a:lnTo>
                  <a:lnTo>
                    <a:pt x="1212" y="116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1" name="Freeform 36">
              <a:extLst>
                <a:ext uri="{FF2B5EF4-FFF2-40B4-BE49-F238E27FC236}">
                  <a16:creationId xmlns:a16="http://schemas.microsoft.com/office/drawing/2014/main" id="{B9C0D6BE-CB1C-4E69-B224-1ABF097AA8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90208" y="1647855"/>
              <a:ext cx="742415" cy="758173"/>
            </a:xfrm>
            <a:custGeom>
              <a:avLst/>
              <a:gdLst>
                <a:gd name="T0" fmla="*/ 75 w 1398"/>
                <a:gd name="T1" fmla="*/ 48 h 1428"/>
                <a:gd name="T2" fmla="*/ 68 w 1398"/>
                <a:gd name="T3" fmla="*/ 54 h 1428"/>
                <a:gd name="T4" fmla="*/ 57 w 1398"/>
                <a:gd name="T5" fmla="*/ 59 h 1428"/>
                <a:gd name="T6" fmla="*/ 55 w 1398"/>
                <a:gd name="T7" fmla="*/ 68 h 1428"/>
                <a:gd name="T8" fmla="*/ 55 w 1398"/>
                <a:gd name="T9" fmla="*/ 77 h 1428"/>
                <a:gd name="T10" fmla="*/ 57 w 1398"/>
                <a:gd name="T11" fmla="*/ 81 h 1428"/>
                <a:gd name="T12" fmla="*/ 56 w 1398"/>
                <a:gd name="T13" fmla="*/ 86 h 1428"/>
                <a:gd name="T14" fmla="*/ 57 w 1398"/>
                <a:gd name="T15" fmla="*/ 89 h 1428"/>
                <a:gd name="T16" fmla="*/ 58 w 1398"/>
                <a:gd name="T17" fmla="*/ 92 h 1428"/>
                <a:gd name="T18" fmla="*/ 58 w 1398"/>
                <a:gd name="T19" fmla="*/ 96 h 1428"/>
                <a:gd name="T20" fmla="*/ 49 w 1398"/>
                <a:gd name="T21" fmla="*/ 100 h 1428"/>
                <a:gd name="T22" fmla="*/ 47 w 1398"/>
                <a:gd name="T23" fmla="*/ 108 h 1428"/>
                <a:gd name="T24" fmla="*/ 48 w 1398"/>
                <a:gd name="T25" fmla="*/ 113 h 1428"/>
                <a:gd name="T26" fmla="*/ 43 w 1398"/>
                <a:gd name="T27" fmla="*/ 114 h 1428"/>
                <a:gd name="T28" fmla="*/ 39 w 1398"/>
                <a:gd name="T29" fmla="*/ 113 h 1428"/>
                <a:gd name="T30" fmla="*/ 33 w 1398"/>
                <a:gd name="T31" fmla="*/ 109 h 1428"/>
                <a:gd name="T32" fmla="*/ 29 w 1398"/>
                <a:gd name="T33" fmla="*/ 114 h 1428"/>
                <a:gd name="T34" fmla="*/ 22 w 1398"/>
                <a:gd name="T35" fmla="*/ 115 h 1428"/>
                <a:gd name="T36" fmla="*/ 21 w 1398"/>
                <a:gd name="T37" fmla="*/ 121 h 1428"/>
                <a:gd name="T38" fmla="*/ 12 w 1398"/>
                <a:gd name="T39" fmla="*/ 119 h 1428"/>
                <a:gd name="T40" fmla="*/ 9 w 1398"/>
                <a:gd name="T41" fmla="*/ 113 h 1428"/>
                <a:gd name="T42" fmla="*/ 2 w 1398"/>
                <a:gd name="T43" fmla="*/ 109 h 1428"/>
                <a:gd name="T44" fmla="*/ 4 w 1398"/>
                <a:gd name="T45" fmla="*/ 103 h 1428"/>
                <a:gd name="T46" fmla="*/ 2 w 1398"/>
                <a:gd name="T47" fmla="*/ 91 h 1428"/>
                <a:gd name="T48" fmla="*/ 6 w 1398"/>
                <a:gd name="T49" fmla="*/ 85 h 1428"/>
                <a:gd name="T50" fmla="*/ 10 w 1398"/>
                <a:gd name="T51" fmla="*/ 85 h 1428"/>
                <a:gd name="T52" fmla="*/ 15 w 1398"/>
                <a:gd name="T53" fmla="*/ 82 h 1428"/>
                <a:gd name="T54" fmla="*/ 20 w 1398"/>
                <a:gd name="T55" fmla="*/ 77 h 1428"/>
                <a:gd name="T56" fmla="*/ 16 w 1398"/>
                <a:gd name="T57" fmla="*/ 73 h 1428"/>
                <a:gd name="T58" fmla="*/ 16 w 1398"/>
                <a:gd name="T59" fmla="*/ 69 h 1428"/>
                <a:gd name="T60" fmla="*/ 14 w 1398"/>
                <a:gd name="T61" fmla="*/ 54 h 1428"/>
                <a:gd name="T62" fmla="*/ 12 w 1398"/>
                <a:gd name="T63" fmla="*/ 48 h 1428"/>
                <a:gd name="T64" fmla="*/ 11 w 1398"/>
                <a:gd name="T65" fmla="*/ 31 h 1428"/>
                <a:gd name="T66" fmla="*/ 14 w 1398"/>
                <a:gd name="T67" fmla="*/ 18 h 1428"/>
                <a:gd name="T68" fmla="*/ 19 w 1398"/>
                <a:gd name="T69" fmla="*/ 15 h 1428"/>
                <a:gd name="T70" fmla="*/ 26 w 1398"/>
                <a:gd name="T71" fmla="*/ 13 h 1428"/>
                <a:gd name="T72" fmla="*/ 34 w 1398"/>
                <a:gd name="T73" fmla="*/ 12 h 1428"/>
                <a:gd name="T74" fmla="*/ 39 w 1398"/>
                <a:gd name="T75" fmla="*/ 9 h 1428"/>
                <a:gd name="T76" fmla="*/ 43 w 1398"/>
                <a:gd name="T77" fmla="*/ 7 h 1428"/>
                <a:gd name="T78" fmla="*/ 48 w 1398"/>
                <a:gd name="T79" fmla="*/ 3 h 1428"/>
                <a:gd name="T80" fmla="*/ 54 w 1398"/>
                <a:gd name="T81" fmla="*/ 0 h 1428"/>
                <a:gd name="T82" fmla="*/ 58 w 1398"/>
                <a:gd name="T83" fmla="*/ 0 h 1428"/>
                <a:gd name="T84" fmla="*/ 66 w 1398"/>
                <a:gd name="T85" fmla="*/ 2 h 1428"/>
                <a:gd name="T86" fmla="*/ 70 w 1398"/>
                <a:gd name="T87" fmla="*/ 3 h 1428"/>
                <a:gd name="T88" fmla="*/ 75 w 1398"/>
                <a:gd name="T89" fmla="*/ 6 h 1428"/>
                <a:gd name="T90" fmla="*/ 80 w 1398"/>
                <a:gd name="T91" fmla="*/ 9 h 1428"/>
                <a:gd name="T92" fmla="*/ 83 w 1398"/>
                <a:gd name="T93" fmla="*/ 12 h 1428"/>
                <a:gd name="T94" fmla="*/ 87 w 1398"/>
                <a:gd name="T95" fmla="*/ 15 h 1428"/>
                <a:gd name="T96" fmla="*/ 94 w 1398"/>
                <a:gd name="T97" fmla="*/ 15 h 1428"/>
                <a:gd name="T98" fmla="*/ 99 w 1398"/>
                <a:gd name="T99" fmla="*/ 21 h 1428"/>
                <a:gd name="T100" fmla="*/ 103 w 1398"/>
                <a:gd name="T101" fmla="*/ 23 h 1428"/>
                <a:gd name="T102" fmla="*/ 110 w 1398"/>
                <a:gd name="T103" fmla="*/ 26 h 1428"/>
                <a:gd name="T104" fmla="*/ 116 w 1398"/>
                <a:gd name="T105" fmla="*/ 27 h 1428"/>
                <a:gd name="T106" fmla="*/ 120 w 1398"/>
                <a:gd name="T107" fmla="*/ 27 h 1428"/>
                <a:gd name="T108" fmla="*/ 116 w 1398"/>
                <a:gd name="T109" fmla="*/ 35 h 1428"/>
                <a:gd name="T110" fmla="*/ 104 w 1398"/>
                <a:gd name="T111" fmla="*/ 37 h 1428"/>
                <a:gd name="T112" fmla="*/ 97 w 1398"/>
                <a:gd name="T113" fmla="*/ 34 h 1428"/>
                <a:gd name="T114" fmla="*/ 91 w 1398"/>
                <a:gd name="T115" fmla="*/ 29 h 1428"/>
                <a:gd name="T116" fmla="*/ 75 w 1398"/>
                <a:gd name="T117" fmla="*/ 29 h 1428"/>
                <a:gd name="T118" fmla="*/ 72 w 1398"/>
                <a:gd name="T119" fmla="*/ 39 h 1428"/>
                <a:gd name="T120" fmla="*/ 80 w 1398"/>
                <a:gd name="T121" fmla="*/ 41 h 142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98"/>
                <a:gd name="T184" fmla="*/ 0 h 1428"/>
                <a:gd name="T185" fmla="*/ 1398 w 1398"/>
                <a:gd name="T186" fmla="*/ 1428 h 142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98" h="1428">
                  <a:moveTo>
                    <a:pt x="924" y="474"/>
                  </a:moveTo>
                  <a:lnTo>
                    <a:pt x="900" y="480"/>
                  </a:lnTo>
                  <a:lnTo>
                    <a:pt x="864" y="486"/>
                  </a:lnTo>
                  <a:lnTo>
                    <a:pt x="864" y="504"/>
                  </a:lnTo>
                  <a:lnTo>
                    <a:pt x="858" y="522"/>
                  </a:lnTo>
                  <a:lnTo>
                    <a:pt x="864" y="528"/>
                  </a:lnTo>
                  <a:lnTo>
                    <a:pt x="864" y="552"/>
                  </a:lnTo>
                  <a:lnTo>
                    <a:pt x="852" y="552"/>
                  </a:lnTo>
                  <a:lnTo>
                    <a:pt x="846" y="564"/>
                  </a:lnTo>
                  <a:lnTo>
                    <a:pt x="840" y="582"/>
                  </a:lnTo>
                  <a:lnTo>
                    <a:pt x="834" y="594"/>
                  </a:lnTo>
                  <a:lnTo>
                    <a:pt x="828" y="606"/>
                  </a:lnTo>
                  <a:lnTo>
                    <a:pt x="828" y="618"/>
                  </a:lnTo>
                  <a:lnTo>
                    <a:pt x="786" y="630"/>
                  </a:lnTo>
                  <a:lnTo>
                    <a:pt x="774" y="636"/>
                  </a:lnTo>
                  <a:lnTo>
                    <a:pt x="762" y="642"/>
                  </a:lnTo>
                  <a:lnTo>
                    <a:pt x="744" y="648"/>
                  </a:lnTo>
                  <a:lnTo>
                    <a:pt x="714" y="660"/>
                  </a:lnTo>
                  <a:lnTo>
                    <a:pt x="696" y="666"/>
                  </a:lnTo>
                  <a:lnTo>
                    <a:pt x="666" y="672"/>
                  </a:lnTo>
                  <a:lnTo>
                    <a:pt x="654" y="684"/>
                  </a:lnTo>
                  <a:lnTo>
                    <a:pt x="648" y="684"/>
                  </a:lnTo>
                  <a:lnTo>
                    <a:pt x="642" y="696"/>
                  </a:lnTo>
                  <a:lnTo>
                    <a:pt x="636" y="696"/>
                  </a:lnTo>
                  <a:lnTo>
                    <a:pt x="630" y="714"/>
                  </a:lnTo>
                  <a:lnTo>
                    <a:pt x="624" y="738"/>
                  </a:lnTo>
                  <a:lnTo>
                    <a:pt x="624" y="762"/>
                  </a:lnTo>
                  <a:lnTo>
                    <a:pt x="630" y="780"/>
                  </a:lnTo>
                  <a:lnTo>
                    <a:pt x="636" y="804"/>
                  </a:lnTo>
                  <a:lnTo>
                    <a:pt x="642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6" y="834"/>
                  </a:lnTo>
                  <a:lnTo>
                    <a:pt x="636" y="870"/>
                  </a:lnTo>
                  <a:lnTo>
                    <a:pt x="636" y="882"/>
                  </a:lnTo>
                  <a:lnTo>
                    <a:pt x="636" y="906"/>
                  </a:lnTo>
                  <a:lnTo>
                    <a:pt x="630" y="906"/>
                  </a:lnTo>
                  <a:lnTo>
                    <a:pt x="636" y="918"/>
                  </a:lnTo>
                  <a:lnTo>
                    <a:pt x="642" y="918"/>
                  </a:lnTo>
                  <a:lnTo>
                    <a:pt x="642" y="930"/>
                  </a:lnTo>
                  <a:lnTo>
                    <a:pt x="648" y="936"/>
                  </a:lnTo>
                  <a:lnTo>
                    <a:pt x="654" y="936"/>
                  </a:lnTo>
                  <a:lnTo>
                    <a:pt x="654" y="942"/>
                  </a:lnTo>
                  <a:lnTo>
                    <a:pt x="654" y="948"/>
                  </a:lnTo>
                  <a:lnTo>
                    <a:pt x="648" y="954"/>
                  </a:lnTo>
                  <a:lnTo>
                    <a:pt x="648" y="960"/>
                  </a:lnTo>
                  <a:lnTo>
                    <a:pt x="648" y="966"/>
                  </a:lnTo>
                  <a:lnTo>
                    <a:pt x="648" y="972"/>
                  </a:lnTo>
                  <a:lnTo>
                    <a:pt x="648" y="990"/>
                  </a:lnTo>
                  <a:lnTo>
                    <a:pt x="654" y="996"/>
                  </a:lnTo>
                  <a:lnTo>
                    <a:pt x="648" y="1002"/>
                  </a:lnTo>
                  <a:lnTo>
                    <a:pt x="648" y="1008"/>
                  </a:lnTo>
                  <a:lnTo>
                    <a:pt x="654" y="1014"/>
                  </a:lnTo>
                  <a:lnTo>
                    <a:pt x="654" y="1020"/>
                  </a:lnTo>
                  <a:lnTo>
                    <a:pt x="654" y="1026"/>
                  </a:lnTo>
                  <a:lnTo>
                    <a:pt x="660" y="1026"/>
                  </a:lnTo>
                  <a:lnTo>
                    <a:pt x="660" y="1032"/>
                  </a:lnTo>
                  <a:lnTo>
                    <a:pt x="660" y="1038"/>
                  </a:lnTo>
                  <a:lnTo>
                    <a:pt x="666" y="1044"/>
                  </a:lnTo>
                  <a:lnTo>
                    <a:pt x="672" y="1050"/>
                  </a:lnTo>
                  <a:lnTo>
                    <a:pt x="672" y="1056"/>
                  </a:lnTo>
                  <a:lnTo>
                    <a:pt x="672" y="1062"/>
                  </a:lnTo>
                  <a:lnTo>
                    <a:pt x="672" y="1068"/>
                  </a:lnTo>
                  <a:lnTo>
                    <a:pt x="672" y="1074"/>
                  </a:lnTo>
                  <a:lnTo>
                    <a:pt x="678" y="1074"/>
                  </a:lnTo>
                  <a:lnTo>
                    <a:pt x="678" y="1080"/>
                  </a:lnTo>
                  <a:lnTo>
                    <a:pt x="678" y="1086"/>
                  </a:lnTo>
                  <a:lnTo>
                    <a:pt x="672" y="1092"/>
                  </a:lnTo>
                  <a:lnTo>
                    <a:pt x="672" y="1098"/>
                  </a:lnTo>
                  <a:lnTo>
                    <a:pt x="672" y="1104"/>
                  </a:lnTo>
                  <a:lnTo>
                    <a:pt x="666" y="1116"/>
                  </a:lnTo>
                  <a:lnTo>
                    <a:pt x="624" y="1122"/>
                  </a:lnTo>
                  <a:lnTo>
                    <a:pt x="576" y="1134"/>
                  </a:lnTo>
                  <a:lnTo>
                    <a:pt x="570" y="1140"/>
                  </a:lnTo>
                  <a:lnTo>
                    <a:pt x="570" y="1146"/>
                  </a:lnTo>
                  <a:lnTo>
                    <a:pt x="564" y="1146"/>
                  </a:lnTo>
                  <a:lnTo>
                    <a:pt x="564" y="1152"/>
                  </a:lnTo>
                  <a:lnTo>
                    <a:pt x="564" y="1164"/>
                  </a:lnTo>
                  <a:lnTo>
                    <a:pt x="564" y="1170"/>
                  </a:lnTo>
                  <a:lnTo>
                    <a:pt x="564" y="1176"/>
                  </a:lnTo>
                  <a:lnTo>
                    <a:pt x="546" y="1176"/>
                  </a:lnTo>
                  <a:lnTo>
                    <a:pt x="540" y="1212"/>
                  </a:lnTo>
                  <a:lnTo>
                    <a:pt x="540" y="1230"/>
                  </a:lnTo>
                  <a:lnTo>
                    <a:pt x="546" y="1242"/>
                  </a:lnTo>
                  <a:lnTo>
                    <a:pt x="546" y="1254"/>
                  </a:lnTo>
                  <a:lnTo>
                    <a:pt x="558" y="1266"/>
                  </a:lnTo>
                  <a:lnTo>
                    <a:pt x="576" y="1272"/>
                  </a:lnTo>
                  <a:lnTo>
                    <a:pt x="570" y="1278"/>
                  </a:lnTo>
                  <a:lnTo>
                    <a:pt x="576" y="1284"/>
                  </a:lnTo>
                  <a:lnTo>
                    <a:pt x="570" y="1296"/>
                  </a:lnTo>
                  <a:lnTo>
                    <a:pt x="558" y="1302"/>
                  </a:lnTo>
                  <a:lnTo>
                    <a:pt x="540" y="1308"/>
                  </a:lnTo>
                  <a:lnTo>
                    <a:pt x="522" y="1314"/>
                  </a:lnTo>
                  <a:lnTo>
                    <a:pt x="516" y="1314"/>
                  </a:lnTo>
                  <a:lnTo>
                    <a:pt x="510" y="1314"/>
                  </a:lnTo>
                  <a:lnTo>
                    <a:pt x="504" y="1314"/>
                  </a:lnTo>
                  <a:lnTo>
                    <a:pt x="498" y="1320"/>
                  </a:lnTo>
                  <a:lnTo>
                    <a:pt x="492" y="1320"/>
                  </a:lnTo>
                  <a:lnTo>
                    <a:pt x="492" y="1326"/>
                  </a:lnTo>
                  <a:lnTo>
                    <a:pt x="486" y="1326"/>
                  </a:lnTo>
                  <a:lnTo>
                    <a:pt x="480" y="1326"/>
                  </a:lnTo>
                  <a:lnTo>
                    <a:pt x="480" y="1320"/>
                  </a:lnTo>
                  <a:lnTo>
                    <a:pt x="468" y="1314"/>
                  </a:lnTo>
                  <a:lnTo>
                    <a:pt x="462" y="1308"/>
                  </a:lnTo>
                  <a:lnTo>
                    <a:pt x="456" y="1302"/>
                  </a:lnTo>
                  <a:lnTo>
                    <a:pt x="444" y="1296"/>
                  </a:lnTo>
                  <a:lnTo>
                    <a:pt x="420" y="1290"/>
                  </a:lnTo>
                  <a:lnTo>
                    <a:pt x="414" y="1278"/>
                  </a:lnTo>
                  <a:lnTo>
                    <a:pt x="408" y="1278"/>
                  </a:lnTo>
                  <a:lnTo>
                    <a:pt x="408" y="1266"/>
                  </a:lnTo>
                  <a:lnTo>
                    <a:pt x="402" y="1260"/>
                  </a:lnTo>
                  <a:lnTo>
                    <a:pt x="384" y="1260"/>
                  </a:lnTo>
                  <a:lnTo>
                    <a:pt x="372" y="1266"/>
                  </a:lnTo>
                  <a:lnTo>
                    <a:pt x="360" y="1272"/>
                  </a:lnTo>
                  <a:lnTo>
                    <a:pt x="348" y="1272"/>
                  </a:lnTo>
                  <a:lnTo>
                    <a:pt x="342" y="1284"/>
                  </a:lnTo>
                  <a:lnTo>
                    <a:pt x="336" y="1290"/>
                  </a:lnTo>
                  <a:lnTo>
                    <a:pt x="336" y="1308"/>
                  </a:lnTo>
                  <a:lnTo>
                    <a:pt x="336" y="1314"/>
                  </a:lnTo>
                  <a:lnTo>
                    <a:pt x="336" y="1320"/>
                  </a:lnTo>
                  <a:lnTo>
                    <a:pt x="330" y="1326"/>
                  </a:lnTo>
                  <a:lnTo>
                    <a:pt x="330" y="1332"/>
                  </a:lnTo>
                  <a:lnTo>
                    <a:pt x="330" y="1338"/>
                  </a:lnTo>
                  <a:lnTo>
                    <a:pt x="300" y="1338"/>
                  </a:lnTo>
                  <a:lnTo>
                    <a:pt x="288" y="1338"/>
                  </a:lnTo>
                  <a:lnTo>
                    <a:pt x="258" y="1326"/>
                  </a:lnTo>
                  <a:lnTo>
                    <a:pt x="246" y="1332"/>
                  </a:lnTo>
                  <a:lnTo>
                    <a:pt x="240" y="1338"/>
                  </a:lnTo>
                  <a:lnTo>
                    <a:pt x="234" y="1338"/>
                  </a:lnTo>
                  <a:lnTo>
                    <a:pt x="228" y="1350"/>
                  </a:lnTo>
                  <a:lnTo>
                    <a:pt x="228" y="1374"/>
                  </a:lnTo>
                  <a:lnTo>
                    <a:pt x="234" y="1392"/>
                  </a:lnTo>
                  <a:lnTo>
                    <a:pt x="246" y="1398"/>
                  </a:lnTo>
                  <a:lnTo>
                    <a:pt x="246" y="1410"/>
                  </a:lnTo>
                  <a:lnTo>
                    <a:pt x="216" y="1428"/>
                  </a:lnTo>
                  <a:lnTo>
                    <a:pt x="198" y="1428"/>
                  </a:lnTo>
                  <a:lnTo>
                    <a:pt x="192" y="1422"/>
                  </a:lnTo>
                  <a:lnTo>
                    <a:pt x="174" y="1410"/>
                  </a:lnTo>
                  <a:lnTo>
                    <a:pt x="156" y="1386"/>
                  </a:lnTo>
                  <a:lnTo>
                    <a:pt x="132" y="1374"/>
                  </a:lnTo>
                  <a:lnTo>
                    <a:pt x="108" y="1368"/>
                  </a:lnTo>
                  <a:lnTo>
                    <a:pt x="84" y="1368"/>
                  </a:lnTo>
                  <a:lnTo>
                    <a:pt x="96" y="1356"/>
                  </a:lnTo>
                  <a:lnTo>
                    <a:pt x="102" y="1344"/>
                  </a:lnTo>
                  <a:lnTo>
                    <a:pt x="102" y="1332"/>
                  </a:lnTo>
                  <a:lnTo>
                    <a:pt x="108" y="1320"/>
                  </a:lnTo>
                  <a:lnTo>
                    <a:pt x="108" y="1302"/>
                  </a:lnTo>
                  <a:lnTo>
                    <a:pt x="96" y="1278"/>
                  </a:lnTo>
                  <a:lnTo>
                    <a:pt x="66" y="1284"/>
                  </a:lnTo>
                  <a:lnTo>
                    <a:pt x="54" y="1278"/>
                  </a:lnTo>
                  <a:lnTo>
                    <a:pt x="36" y="1278"/>
                  </a:lnTo>
                  <a:lnTo>
                    <a:pt x="18" y="1284"/>
                  </a:lnTo>
                  <a:lnTo>
                    <a:pt x="18" y="1272"/>
                  </a:lnTo>
                  <a:lnTo>
                    <a:pt x="24" y="1260"/>
                  </a:lnTo>
                  <a:lnTo>
                    <a:pt x="24" y="1254"/>
                  </a:lnTo>
                  <a:lnTo>
                    <a:pt x="30" y="1248"/>
                  </a:lnTo>
                  <a:lnTo>
                    <a:pt x="24" y="1230"/>
                  </a:lnTo>
                  <a:lnTo>
                    <a:pt x="30" y="1218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30" y="1170"/>
                  </a:lnTo>
                  <a:lnTo>
                    <a:pt x="30" y="1152"/>
                  </a:lnTo>
                  <a:lnTo>
                    <a:pt x="24" y="1146"/>
                  </a:lnTo>
                  <a:lnTo>
                    <a:pt x="0" y="1116"/>
                  </a:lnTo>
                  <a:lnTo>
                    <a:pt x="6" y="1092"/>
                  </a:lnTo>
                  <a:lnTo>
                    <a:pt x="18" y="1056"/>
                  </a:lnTo>
                  <a:lnTo>
                    <a:pt x="24" y="1050"/>
                  </a:lnTo>
                  <a:lnTo>
                    <a:pt x="24" y="1038"/>
                  </a:lnTo>
                  <a:lnTo>
                    <a:pt x="24" y="1026"/>
                  </a:lnTo>
                  <a:lnTo>
                    <a:pt x="30" y="1002"/>
                  </a:lnTo>
                  <a:lnTo>
                    <a:pt x="36" y="990"/>
                  </a:lnTo>
                  <a:lnTo>
                    <a:pt x="42" y="984"/>
                  </a:lnTo>
                  <a:lnTo>
                    <a:pt x="54" y="984"/>
                  </a:lnTo>
                  <a:lnTo>
                    <a:pt x="66" y="978"/>
                  </a:lnTo>
                  <a:lnTo>
                    <a:pt x="72" y="978"/>
                  </a:lnTo>
                  <a:lnTo>
                    <a:pt x="90" y="978"/>
                  </a:lnTo>
                  <a:lnTo>
                    <a:pt x="102" y="972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78"/>
                  </a:lnTo>
                  <a:lnTo>
                    <a:pt x="120" y="984"/>
                  </a:lnTo>
                  <a:lnTo>
                    <a:pt x="138" y="984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6" y="972"/>
                  </a:lnTo>
                  <a:lnTo>
                    <a:pt x="156" y="966"/>
                  </a:lnTo>
                  <a:lnTo>
                    <a:pt x="156" y="960"/>
                  </a:lnTo>
                  <a:lnTo>
                    <a:pt x="180" y="948"/>
                  </a:lnTo>
                  <a:lnTo>
                    <a:pt x="186" y="924"/>
                  </a:lnTo>
                  <a:lnTo>
                    <a:pt x="192" y="918"/>
                  </a:lnTo>
                  <a:lnTo>
                    <a:pt x="228" y="924"/>
                  </a:lnTo>
                  <a:lnTo>
                    <a:pt x="246" y="906"/>
                  </a:lnTo>
                  <a:lnTo>
                    <a:pt x="240" y="888"/>
                  </a:lnTo>
                  <a:lnTo>
                    <a:pt x="234" y="888"/>
                  </a:lnTo>
                  <a:lnTo>
                    <a:pt x="234" y="882"/>
                  </a:lnTo>
                  <a:lnTo>
                    <a:pt x="228" y="870"/>
                  </a:lnTo>
                  <a:lnTo>
                    <a:pt x="228" y="864"/>
                  </a:lnTo>
                  <a:lnTo>
                    <a:pt x="222" y="864"/>
                  </a:lnTo>
                  <a:lnTo>
                    <a:pt x="216" y="858"/>
                  </a:lnTo>
                  <a:lnTo>
                    <a:pt x="198" y="852"/>
                  </a:lnTo>
                  <a:lnTo>
                    <a:pt x="192" y="852"/>
                  </a:lnTo>
                  <a:lnTo>
                    <a:pt x="186" y="846"/>
                  </a:lnTo>
                  <a:lnTo>
                    <a:pt x="174" y="834"/>
                  </a:lnTo>
                  <a:lnTo>
                    <a:pt x="162" y="822"/>
                  </a:lnTo>
                  <a:lnTo>
                    <a:pt x="156" y="816"/>
                  </a:lnTo>
                  <a:lnTo>
                    <a:pt x="162" y="810"/>
                  </a:lnTo>
                  <a:lnTo>
                    <a:pt x="174" y="798"/>
                  </a:lnTo>
                  <a:lnTo>
                    <a:pt x="180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68"/>
                  </a:lnTo>
                  <a:lnTo>
                    <a:pt x="192" y="744"/>
                  </a:lnTo>
                  <a:lnTo>
                    <a:pt x="186" y="708"/>
                  </a:lnTo>
                  <a:lnTo>
                    <a:pt x="174" y="690"/>
                  </a:lnTo>
                  <a:lnTo>
                    <a:pt x="168" y="672"/>
                  </a:lnTo>
                  <a:lnTo>
                    <a:pt x="156" y="630"/>
                  </a:lnTo>
                  <a:lnTo>
                    <a:pt x="156" y="606"/>
                  </a:lnTo>
                  <a:lnTo>
                    <a:pt x="150" y="606"/>
                  </a:lnTo>
                  <a:lnTo>
                    <a:pt x="150" y="600"/>
                  </a:lnTo>
                  <a:lnTo>
                    <a:pt x="144" y="600"/>
                  </a:lnTo>
                  <a:lnTo>
                    <a:pt x="150" y="594"/>
                  </a:lnTo>
                  <a:lnTo>
                    <a:pt x="144" y="588"/>
                  </a:lnTo>
                  <a:lnTo>
                    <a:pt x="138" y="558"/>
                  </a:lnTo>
                  <a:lnTo>
                    <a:pt x="138" y="528"/>
                  </a:lnTo>
                  <a:lnTo>
                    <a:pt x="132" y="480"/>
                  </a:lnTo>
                  <a:lnTo>
                    <a:pt x="132" y="462"/>
                  </a:lnTo>
                  <a:lnTo>
                    <a:pt x="126" y="426"/>
                  </a:lnTo>
                  <a:lnTo>
                    <a:pt x="126" y="396"/>
                  </a:lnTo>
                  <a:lnTo>
                    <a:pt x="126" y="378"/>
                  </a:lnTo>
                  <a:lnTo>
                    <a:pt x="126" y="360"/>
                  </a:lnTo>
                  <a:lnTo>
                    <a:pt x="132" y="318"/>
                  </a:lnTo>
                  <a:lnTo>
                    <a:pt x="132" y="24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2" y="210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92" y="198"/>
                  </a:lnTo>
                  <a:lnTo>
                    <a:pt x="198" y="198"/>
                  </a:lnTo>
                  <a:lnTo>
                    <a:pt x="216" y="180"/>
                  </a:lnTo>
                  <a:lnTo>
                    <a:pt x="222" y="174"/>
                  </a:lnTo>
                  <a:lnTo>
                    <a:pt x="222" y="168"/>
                  </a:lnTo>
                  <a:lnTo>
                    <a:pt x="228" y="168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44"/>
                  </a:lnTo>
                  <a:lnTo>
                    <a:pt x="258" y="144"/>
                  </a:lnTo>
                  <a:lnTo>
                    <a:pt x="276" y="150"/>
                  </a:lnTo>
                  <a:lnTo>
                    <a:pt x="300" y="150"/>
                  </a:lnTo>
                  <a:lnTo>
                    <a:pt x="312" y="150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8" y="156"/>
                  </a:lnTo>
                  <a:lnTo>
                    <a:pt x="354" y="150"/>
                  </a:lnTo>
                  <a:lnTo>
                    <a:pt x="372" y="144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08" y="126"/>
                  </a:lnTo>
                  <a:lnTo>
                    <a:pt x="414" y="120"/>
                  </a:lnTo>
                  <a:lnTo>
                    <a:pt x="420" y="120"/>
                  </a:lnTo>
                  <a:lnTo>
                    <a:pt x="426" y="120"/>
                  </a:lnTo>
                  <a:lnTo>
                    <a:pt x="432" y="114"/>
                  </a:lnTo>
                  <a:lnTo>
                    <a:pt x="450" y="102"/>
                  </a:lnTo>
                  <a:lnTo>
                    <a:pt x="456" y="96"/>
                  </a:lnTo>
                  <a:lnTo>
                    <a:pt x="468" y="90"/>
                  </a:lnTo>
                  <a:lnTo>
                    <a:pt x="474" y="90"/>
                  </a:lnTo>
                  <a:lnTo>
                    <a:pt x="480" y="84"/>
                  </a:lnTo>
                  <a:lnTo>
                    <a:pt x="486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504" y="72"/>
                  </a:lnTo>
                  <a:lnTo>
                    <a:pt x="510" y="66"/>
                  </a:lnTo>
                  <a:lnTo>
                    <a:pt x="516" y="66"/>
                  </a:lnTo>
                  <a:lnTo>
                    <a:pt x="522" y="60"/>
                  </a:lnTo>
                  <a:lnTo>
                    <a:pt x="552" y="42"/>
                  </a:lnTo>
                  <a:lnTo>
                    <a:pt x="558" y="36"/>
                  </a:lnTo>
                  <a:lnTo>
                    <a:pt x="576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94" y="18"/>
                  </a:lnTo>
                  <a:lnTo>
                    <a:pt x="600" y="12"/>
                  </a:lnTo>
                  <a:lnTo>
                    <a:pt x="612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6"/>
                  </a:lnTo>
                  <a:lnTo>
                    <a:pt x="648" y="6"/>
                  </a:lnTo>
                  <a:lnTo>
                    <a:pt x="660" y="6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38" y="18"/>
                  </a:lnTo>
                  <a:lnTo>
                    <a:pt x="744" y="18"/>
                  </a:lnTo>
                  <a:lnTo>
                    <a:pt x="756" y="18"/>
                  </a:lnTo>
                  <a:lnTo>
                    <a:pt x="762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80" y="24"/>
                  </a:lnTo>
                  <a:lnTo>
                    <a:pt x="792" y="24"/>
                  </a:lnTo>
                  <a:lnTo>
                    <a:pt x="792" y="30"/>
                  </a:lnTo>
                  <a:lnTo>
                    <a:pt x="810" y="30"/>
                  </a:lnTo>
                  <a:lnTo>
                    <a:pt x="822" y="36"/>
                  </a:lnTo>
                  <a:lnTo>
                    <a:pt x="834" y="42"/>
                  </a:lnTo>
                  <a:lnTo>
                    <a:pt x="840" y="48"/>
                  </a:lnTo>
                  <a:lnTo>
                    <a:pt x="846" y="54"/>
                  </a:lnTo>
                  <a:lnTo>
                    <a:pt x="852" y="60"/>
                  </a:lnTo>
                  <a:lnTo>
                    <a:pt x="858" y="66"/>
                  </a:lnTo>
                  <a:lnTo>
                    <a:pt x="864" y="66"/>
                  </a:lnTo>
                  <a:lnTo>
                    <a:pt x="864" y="72"/>
                  </a:lnTo>
                  <a:lnTo>
                    <a:pt x="876" y="78"/>
                  </a:lnTo>
                  <a:lnTo>
                    <a:pt x="900" y="84"/>
                  </a:lnTo>
                  <a:lnTo>
                    <a:pt x="906" y="90"/>
                  </a:lnTo>
                  <a:lnTo>
                    <a:pt x="912" y="90"/>
                  </a:lnTo>
                  <a:lnTo>
                    <a:pt x="912" y="96"/>
                  </a:lnTo>
                  <a:lnTo>
                    <a:pt x="924" y="108"/>
                  </a:lnTo>
                  <a:lnTo>
                    <a:pt x="930" y="108"/>
                  </a:lnTo>
                  <a:lnTo>
                    <a:pt x="936" y="114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60" y="138"/>
                  </a:lnTo>
                  <a:lnTo>
                    <a:pt x="966" y="144"/>
                  </a:lnTo>
                  <a:lnTo>
                    <a:pt x="972" y="156"/>
                  </a:lnTo>
                  <a:lnTo>
                    <a:pt x="978" y="162"/>
                  </a:lnTo>
                  <a:lnTo>
                    <a:pt x="984" y="162"/>
                  </a:lnTo>
                  <a:lnTo>
                    <a:pt x="990" y="168"/>
                  </a:lnTo>
                  <a:lnTo>
                    <a:pt x="996" y="174"/>
                  </a:lnTo>
                  <a:lnTo>
                    <a:pt x="1002" y="180"/>
                  </a:lnTo>
                  <a:lnTo>
                    <a:pt x="1008" y="180"/>
                  </a:lnTo>
                  <a:lnTo>
                    <a:pt x="1020" y="180"/>
                  </a:lnTo>
                  <a:lnTo>
                    <a:pt x="1038" y="174"/>
                  </a:lnTo>
                  <a:lnTo>
                    <a:pt x="1050" y="174"/>
                  </a:lnTo>
                  <a:lnTo>
                    <a:pt x="1056" y="174"/>
                  </a:lnTo>
                  <a:lnTo>
                    <a:pt x="1068" y="180"/>
                  </a:lnTo>
                  <a:lnTo>
                    <a:pt x="1080" y="180"/>
                  </a:lnTo>
                  <a:lnTo>
                    <a:pt x="1086" y="186"/>
                  </a:lnTo>
                  <a:lnTo>
                    <a:pt x="1098" y="192"/>
                  </a:lnTo>
                  <a:lnTo>
                    <a:pt x="1116" y="204"/>
                  </a:lnTo>
                  <a:lnTo>
                    <a:pt x="1122" y="210"/>
                  </a:lnTo>
                  <a:lnTo>
                    <a:pt x="1134" y="222"/>
                  </a:lnTo>
                  <a:lnTo>
                    <a:pt x="1146" y="234"/>
                  </a:lnTo>
                  <a:lnTo>
                    <a:pt x="1146" y="240"/>
                  </a:lnTo>
                  <a:lnTo>
                    <a:pt x="1152" y="246"/>
                  </a:lnTo>
                  <a:lnTo>
                    <a:pt x="1152" y="252"/>
                  </a:lnTo>
                  <a:lnTo>
                    <a:pt x="1152" y="258"/>
                  </a:lnTo>
                  <a:lnTo>
                    <a:pt x="1164" y="258"/>
                  </a:lnTo>
                  <a:lnTo>
                    <a:pt x="1170" y="264"/>
                  </a:lnTo>
                  <a:lnTo>
                    <a:pt x="1182" y="270"/>
                  </a:lnTo>
                  <a:lnTo>
                    <a:pt x="1188" y="270"/>
                  </a:lnTo>
                  <a:lnTo>
                    <a:pt x="1194" y="270"/>
                  </a:lnTo>
                  <a:lnTo>
                    <a:pt x="1206" y="276"/>
                  </a:lnTo>
                  <a:lnTo>
                    <a:pt x="1224" y="282"/>
                  </a:lnTo>
                  <a:lnTo>
                    <a:pt x="1236" y="282"/>
                  </a:lnTo>
                  <a:lnTo>
                    <a:pt x="1242" y="288"/>
                  </a:lnTo>
                  <a:lnTo>
                    <a:pt x="1254" y="288"/>
                  </a:lnTo>
                  <a:lnTo>
                    <a:pt x="1266" y="294"/>
                  </a:lnTo>
                  <a:lnTo>
                    <a:pt x="1272" y="294"/>
                  </a:lnTo>
                  <a:lnTo>
                    <a:pt x="1284" y="300"/>
                  </a:lnTo>
                  <a:lnTo>
                    <a:pt x="1290" y="300"/>
                  </a:lnTo>
                  <a:lnTo>
                    <a:pt x="1296" y="300"/>
                  </a:lnTo>
                  <a:lnTo>
                    <a:pt x="1302" y="306"/>
                  </a:lnTo>
                  <a:lnTo>
                    <a:pt x="1326" y="312"/>
                  </a:lnTo>
                  <a:lnTo>
                    <a:pt x="1338" y="312"/>
                  </a:lnTo>
                  <a:lnTo>
                    <a:pt x="1338" y="318"/>
                  </a:lnTo>
                  <a:lnTo>
                    <a:pt x="1344" y="318"/>
                  </a:lnTo>
                  <a:lnTo>
                    <a:pt x="1350" y="318"/>
                  </a:lnTo>
                  <a:lnTo>
                    <a:pt x="1362" y="324"/>
                  </a:lnTo>
                  <a:lnTo>
                    <a:pt x="1368" y="318"/>
                  </a:lnTo>
                  <a:lnTo>
                    <a:pt x="1374" y="318"/>
                  </a:lnTo>
                  <a:lnTo>
                    <a:pt x="1386" y="318"/>
                  </a:lnTo>
                  <a:lnTo>
                    <a:pt x="1398" y="324"/>
                  </a:lnTo>
                  <a:lnTo>
                    <a:pt x="1398" y="342"/>
                  </a:lnTo>
                  <a:lnTo>
                    <a:pt x="1356" y="342"/>
                  </a:lnTo>
                  <a:lnTo>
                    <a:pt x="1350" y="348"/>
                  </a:lnTo>
                  <a:lnTo>
                    <a:pt x="1350" y="372"/>
                  </a:lnTo>
                  <a:lnTo>
                    <a:pt x="1338" y="384"/>
                  </a:lnTo>
                  <a:lnTo>
                    <a:pt x="1332" y="408"/>
                  </a:lnTo>
                  <a:lnTo>
                    <a:pt x="1320" y="420"/>
                  </a:lnTo>
                  <a:lnTo>
                    <a:pt x="1254" y="426"/>
                  </a:lnTo>
                  <a:lnTo>
                    <a:pt x="1248" y="432"/>
                  </a:lnTo>
                  <a:lnTo>
                    <a:pt x="1230" y="432"/>
                  </a:lnTo>
                  <a:lnTo>
                    <a:pt x="1212" y="432"/>
                  </a:lnTo>
                  <a:lnTo>
                    <a:pt x="1212" y="426"/>
                  </a:lnTo>
                  <a:lnTo>
                    <a:pt x="1200" y="426"/>
                  </a:lnTo>
                  <a:lnTo>
                    <a:pt x="1182" y="414"/>
                  </a:lnTo>
                  <a:lnTo>
                    <a:pt x="1182" y="420"/>
                  </a:lnTo>
                  <a:lnTo>
                    <a:pt x="1164" y="420"/>
                  </a:lnTo>
                  <a:lnTo>
                    <a:pt x="1158" y="414"/>
                  </a:lnTo>
                  <a:lnTo>
                    <a:pt x="1152" y="408"/>
                  </a:lnTo>
                  <a:lnTo>
                    <a:pt x="1146" y="402"/>
                  </a:lnTo>
                  <a:lnTo>
                    <a:pt x="1122" y="396"/>
                  </a:lnTo>
                  <a:lnTo>
                    <a:pt x="1116" y="366"/>
                  </a:lnTo>
                  <a:lnTo>
                    <a:pt x="1116" y="348"/>
                  </a:lnTo>
                  <a:lnTo>
                    <a:pt x="1110" y="342"/>
                  </a:lnTo>
                  <a:lnTo>
                    <a:pt x="1104" y="336"/>
                  </a:lnTo>
                  <a:lnTo>
                    <a:pt x="1092" y="330"/>
                  </a:lnTo>
                  <a:lnTo>
                    <a:pt x="1074" y="330"/>
                  </a:lnTo>
                  <a:lnTo>
                    <a:pt x="1044" y="330"/>
                  </a:lnTo>
                  <a:lnTo>
                    <a:pt x="1014" y="336"/>
                  </a:lnTo>
                  <a:lnTo>
                    <a:pt x="984" y="342"/>
                  </a:lnTo>
                  <a:lnTo>
                    <a:pt x="978" y="330"/>
                  </a:lnTo>
                  <a:lnTo>
                    <a:pt x="966" y="324"/>
                  </a:lnTo>
                  <a:lnTo>
                    <a:pt x="888" y="336"/>
                  </a:lnTo>
                  <a:lnTo>
                    <a:pt x="888" y="330"/>
                  </a:lnTo>
                  <a:lnTo>
                    <a:pt x="870" y="336"/>
                  </a:lnTo>
                  <a:lnTo>
                    <a:pt x="858" y="336"/>
                  </a:lnTo>
                  <a:lnTo>
                    <a:pt x="852" y="354"/>
                  </a:lnTo>
                  <a:lnTo>
                    <a:pt x="852" y="402"/>
                  </a:lnTo>
                  <a:lnTo>
                    <a:pt x="840" y="414"/>
                  </a:lnTo>
                  <a:lnTo>
                    <a:pt x="834" y="420"/>
                  </a:lnTo>
                  <a:lnTo>
                    <a:pt x="834" y="444"/>
                  </a:lnTo>
                  <a:lnTo>
                    <a:pt x="834" y="450"/>
                  </a:lnTo>
                  <a:lnTo>
                    <a:pt x="852" y="456"/>
                  </a:lnTo>
                  <a:lnTo>
                    <a:pt x="864" y="462"/>
                  </a:lnTo>
                  <a:lnTo>
                    <a:pt x="894" y="456"/>
                  </a:lnTo>
                  <a:lnTo>
                    <a:pt x="900" y="468"/>
                  </a:lnTo>
                  <a:lnTo>
                    <a:pt x="918" y="462"/>
                  </a:lnTo>
                  <a:lnTo>
                    <a:pt x="924" y="468"/>
                  </a:lnTo>
                  <a:lnTo>
                    <a:pt x="924" y="47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2" name="Freeform 37">
              <a:extLst>
                <a:ext uri="{FF2B5EF4-FFF2-40B4-BE49-F238E27FC236}">
                  <a16:creationId xmlns:a16="http://schemas.microsoft.com/office/drawing/2014/main" id="{DED8A1FF-B656-4D37-BD26-5B0A7B1A4A6D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441" y="1898343"/>
              <a:ext cx="567992" cy="686605"/>
            </a:xfrm>
            <a:custGeom>
              <a:avLst/>
              <a:gdLst>
                <a:gd name="T0" fmla="*/ 79 w 1068"/>
                <a:gd name="T1" fmla="*/ 72 h 1290"/>
                <a:gd name="T2" fmla="*/ 75 w 1068"/>
                <a:gd name="T3" fmla="*/ 73 h 1290"/>
                <a:gd name="T4" fmla="*/ 72 w 1068"/>
                <a:gd name="T5" fmla="*/ 76 h 1290"/>
                <a:gd name="T6" fmla="*/ 70 w 1068"/>
                <a:gd name="T7" fmla="*/ 78 h 1290"/>
                <a:gd name="T8" fmla="*/ 67 w 1068"/>
                <a:gd name="T9" fmla="*/ 82 h 1290"/>
                <a:gd name="T10" fmla="*/ 61 w 1068"/>
                <a:gd name="T11" fmla="*/ 86 h 1290"/>
                <a:gd name="T12" fmla="*/ 60 w 1068"/>
                <a:gd name="T13" fmla="*/ 93 h 1290"/>
                <a:gd name="T14" fmla="*/ 59 w 1068"/>
                <a:gd name="T15" fmla="*/ 97 h 1290"/>
                <a:gd name="T16" fmla="*/ 61 w 1068"/>
                <a:gd name="T17" fmla="*/ 101 h 1290"/>
                <a:gd name="T18" fmla="*/ 63 w 1068"/>
                <a:gd name="T19" fmla="*/ 104 h 1290"/>
                <a:gd name="T20" fmla="*/ 62 w 1068"/>
                <a:gd name="T21" fmla="*/ 108 h 1290"/>
                <a:gd name="T22" fmla="*/ 60 w 1068"/>
                <a:gd name="T23" fmla="*/ 111 h 1290"/>
                <a:gd name="T24" fmla="*/ 56 w 1068"/>
                <a:gd name="T25" fmla="*/ 111 h 1290"/>
                <a:gd name="T26" fmla="*/ 53 w 1068"/>
                <a:gd name="T27" fmla="*/ 110 h 1290"/>
                <a:gd name="T28" fmla="*/ 50 w 1068"/>
                <a:gd name="T29" fmla="*/ 109 h 1290"/>
                <a:gd name="T30" fmla="*/ 47 w 1068"/>
                <a:gd name="T31" fmla="*/ 110 h 1290"/>
                <a:gd name="T32" fmla="*/ 51 w 1068"/>
                <a:gd name="T33" fmla="*/ 104 h 1290"/>
                <a:gd name="T34" fmla="*/ 50 w 1068"/>
                <a:gd name="T35" fmla="*/ 95 h 1290"/>
                <a:gd name="T36" fmla="*/ 51 w 1068"/>
                <a:gd name="T37" fmla="*/ 90 h 1290"/>
                <a:gd name="T38" fmla="*/ 47 w 1068"/>
                <a:gd name="T39" fmla="*/ 84 h 1290"/>
                <a:gd name="T40" fmla="*/ 42 w 1068"/>
                <a:gd name="T41" fmla="*/ 78 h 1290"/>
                <a:gd name="T42" fmla="*/ 33 w 1068"/>
                <a:gd name="T43" fmla="*/ 73 h 1290"/>
                <a:gd name="T44" fmla="*/ 26 w 1068"/>
                <a:gd name="T45" fmla="*/ 68 h 1290"/>
                <a:gd name="T46" fmla="*/ 22 w 1068"/>
                <a:gd name="T47" fmla="*/ 63 h 1290"/>
                <a:gd name="T48" fmla="*/ 11 w 1068"/>
                <a:gd name="T49" fmla="*/ 67 h 1290"/>
                <a:gd name="T50" fmla="*/ 0 w 1068"/>
                <a:gd name="T51" fmla="*/ 68 h 1290"/>
                <a:gd name="T52" fmla="*/ 2 w 1068"/>
                <a:gd name="T53" fmla="*/ 59 h 1290"/>
                <a:gd name="T54" fmla="*/ 12 w 1068"/>
                <a:gd name="T55" fmla="*/ 55 h 1290"/>
                <a:gd name="T56" fmla="*/ 12 w 1068"/>
                <a:gd name="T57" fmla="*/ 51 h 1290"/>
                <a:gd name="T58" fmla="*/ 10 w 1068"/>
                <a:gd name="T59" fmla="*/ 47 h 1290"/>
                <a:gd name="T60" fmla="*/ 9 w 1068"/>
                <a:gd name="T61" fmla="*/ 42 h 1290"/>
                <a:gd name="T62" fmla="*/ 8 w 1068"/>
                <a:gd name="T63" fmla="*/ 38 h 1290"/>
                <a:gd name="T64" fmla="*/ 8 w 1068"/>
                <a:gd name="T65" fmla="*/ 29 h 1290"/>
                <a:gd name="T66" fmla="*/ 10 w 1068"/>
                <a:gd name="T67" fmla="*/ 18 h 1290"/>
                <a:gd name="T68" fmla="*/ 25 w 1068"/>
                <a:gd name="T69" fmla="*/ 12 h 1290"/>
                <a:gd name="T70" fmla="*/ 27 w 1068"/>
                <a:gd name="T71" fmla="*/ 4 h 1290"/>
                <a:gd name="T72" fmla="*/ 35 w 1068"/>
                <a:gd name="T73" fmla="*/ 6 h 1290"/>
                <a:gd name="T74" fmla="*/ 39 w 1068"/>
                <a:gd name="T75" fmla="*/ 8 h 1290"/>
                <a:gd name="T76" fmla="*/ 41 w 1068"/>
                <a:gd name="T77" fmla="*/ 3 h 1290"/>
                <a:gd name="T78" fmla="*/ 45 w 1068"/>
                <a:gd name="T79" fmla="*/ 0 h 1290"/>
                <a:gd name="T80" fmla="*/ 51 w 1068"/>
                <a:gd name="T81" fmla="*/ 0 h 1290"/>
                <a:gd name="T82" fmla="*/ 56 w 1068"/>
                <a:gd name="T83" fmla="*/ 4 h 1290"/>
                <a:gd name="T84" fmla="*/ 62 w 1068"/>
                <a:gd name="T85" fmla="*/ 12 h 1290"/>
                <a:gd name="T86" fmla="*/ 58 w 1068"/>
                <a:gd name="T87" fmla="*/ 17 h 1290"/>
                <a:gd name="T88" fmla="*/ 60 w 1068"/>
                <a:gd name="T89" fmla="*/ 18 h 1290"/>
                <a:gd name="T90" fmla="*/ 64 w 1068"/>
                <a:gd name="T91" fmla="*/ 16 h 1290"/>
                <a:gd name="T92" fmla="*/ 68 w 1068"/>
                <a:gd name="T93" fmla="*/ 18 h 1290"/>
                <a:gd name="T94" fmla="*/ 71 w 1068"/>
                <a:gd name="T95" fmla="*/ 27 h 1290"/>
                <a:gd name="T96" fmla="*/ 74 w 1068"/>
                <a:gd name="T97" fmla="*/ 30 h 1290"/>
                <a:gd name="T98" fmla="*/ 82 w 1068"/>
                <a:gd name="T99" fmla="*/ 30 h 1290"/>
                <a:gd name="T100" fmla="*/ 87 w 1068"/>
                <a:gd name="T101" fmla="*/ 35 h 1290"/>
                <a:gd name="T102" fmla="*/ 85 w 1068"/>
                <a:gd name="T103" fmla="*/ 42 h 1290"/>
                <a:gd name="T104" fmla="*/ 81 w 1068"/>
                <a:gd name="T105" fmla="*/ 46 h 1290"/>
                <a:gd name="T106" fmla="*/ 86 w 1068"/>
                <a:gd name="T107" fmla="*/ 50 h 1290"/>
                <a:gd name="T108" fmla="*/ 89 w 1068"/>
                <a:gd name="T109" fmla="*/ 58 h 1290"/>
                <a:gd name="T110" fmla="*/ 92 w 1068"/>
                <a:gd name="T111" fmla="*/ 61 h 1290"/>
                <a:gd name="T112" fmla="*/ 86 w 1068"/>
                <a:gd name="T113" fmla="*/ 66 h 1290"/>
                <a:gd name="T114" fmla="*/ 85 w 1068"/>
                <a:gd name="T115" fmla="*/ 70 h 129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68"/>
                <a:gd name="T175" fmla="*/ 0 h 1290"/>
                <a:gd name="T176" fmla="*/ 1068 w 1068"/>
                <a:gd name="T177" fmla="*/ 1290 h 129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68" h="1290">
                  <a:moveTo>
                    <a:pt x="978" y="804"/>
                  </a:moveTo>
                  <a:lnTo>
                    <a:pt x="972" y="810"/>
                  </a:lnTo>
                  <a:lnTo>
                    <a:pt x="966" y="810"/>
                  </a:lnTo>
                  <a:lnTo>
                    <a:pt x="966" y="816"/>
                  </a:lnTo>
                  <a:lnTo>
                    <a:pt x="936" y="828"/>
                  </a:lnTo>
                  <a:lnTo>
                    <a:pt x="924" y="822"/>
                  </a:lnTo>
                  <a:lnTo>
                    <a:pt x="912" y="822"/>
                  </a:lnTo>
                  <a:lnTo>
                    <a:pt x="906" y="828"/>
                  </a:lnTo>
                  <a:lnTo>
                    <a:pt x="900" y="828"/>
                  </a:lnTo>
                  <a:lnTo>
                    <a:pt x="900" y="822"/>
                  </a:lnTo>
                  <a:lnTo>
                    <a:pt x="894" y="822"/>
                  </a:lnTo>
                  <a:lnTo>
                    <a:pt x="888" y="828"/>
                  </a:lnTo>
                  <a:lnTo>
                    <a:pt x="882" y="834"/>
                  </a:lnTo>
                  <a:lnTo>
                    <a:pt x="876" y="834"/>
                  </a:lnTo>
                  <a:lnTo>
                    <a:pt x="870" y="840"/>
                  </a:lnTo>
                  <a:lnTo>
                    <a:pt x="864" y="840"/>
                  </a:lnTo>
                  <a:lnTo>
                    <a:pt x="864" y="846"/>
                  </a:lnTo>
                  <a:lnTo>
                    <a:pt x="858" y="846"/>
                  </a:lnTo>
                  <a:lnTo>
                    <a:pt x="852" y="846"/>
                  </a:lnTo>
                  <a:lnTo>
                    <a:pt x="852" y="858"/>
                  </a:lnTo>
                  <a:lnTo>
                    <a:pt x="846" y="864"/>
                  </a:lnTo>
                  <a:lnTo>
                    <a:pt x="840" y="870"/>
                  </a:lnTo>
                  <a:lnTo>
                    <a:pt x="834" y="870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34" y="876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10" y="894"/>
                  </a:lnTo>
                  <a:lnTo>
                    <a:pt x="810" y="900"/>
                  </a:lnTo>
                  <a:lnTo>
                    <a:pt x="804" y="900"/>
                  </a:lnTo>
                  <a:lnTo>
                    <a:pt x="798" y="900"/>
                  </a:lnTo>
                  <a:lnTo>
                    <a:pt x="798" y="906"/>
                  </a:lnTo>
                  <a:lnTo>
                    <a:pt x="792" y="906"/>
                  </a:lnTo>
                  <a:lnTo>
                    <a:pt x="792" y="912"/>
                  </a:lnTo>
                  <a:lnTo>
                    <a:pt x="792" y="924"/>
                  </a:lnTo>
                  <a:lnTo>
                    <a:pt x="786" y="930"/>
                  </a:lnTo>
                  <a:lnTo>
                    <a:pt x="774" y="942"/>
                  </a:lnTo>
                  <a:lnTo>
                    <a:pt x="774" y="948"/>
                  </a:lnTo>
                  <a:lnTo>
                    <a:pt x="768" y="954"/>
                  </a:lnTo>
                  <a:lnTo>
                    <a:pt x="762" y="954"/>
                  </a:lnTo>
                  <a:lnTo>
                    <a:pt x="750" y="972"/>
                  </a:lnTo>
                  <a:lnTo>
                    <a:pt x="720" y="978"/>
                  </a:lnTo>
                  <a:lnTo>
                    <a:pt x="714" y="978"/>
                  </a:lnTo>
                  <a:lnTo>
                    <a:pt x="708" y="978"/>
                  </a:lnTo>
                  <a:lnTo>
                    <a:pt x="702" y="990"/>
                  </a:lnTo>
                  <a:lnTo>
                    <a:pt x="696" y="990"/>
                  </a:lnTo>
                  <a:lnTo>
                    <a:pt x="696" y="1008"/>
                  </a:lnTo>
                  <a:lnTo>
                    <a:pt x="690" y="1008"/>
                  </a:lnTo>
                  <a:lnTo>
                    <a:pt x="690" y="1014"/>
                  </a:lnTo>
                  <a:lnTo>
                    <a:pt x="684" y="1032"/>
                  </a:lnTo>
                  <a:lnTo>
                    <a:pt x="690" y="1050"/>
                  </a:lnTo>
                  <a:lnTo>
                    <a:pt x="690" y="1062"/>
                  </a:lnTo>
                  <a:lnTo>
                    <a:pt x="690" y="1068"/>
                  </a:lnTo>
                  <a:lnTo>
                    <a:pt x="690" y="1074"/>
                  </a:lnTo>
                  <a:lnTo>
                    <a:pt x="684" y="1074"/>
                  </a:lnTo>
                  <a:lnTo>
                    <a:pt x="684" y="1080"/>
                  </a:lnTo>
                  <a:lnTo>
                    <a:pt x="678" y="1086"/>
                  </a:lnTo>
                  <a:lnTo>
                    <a:pt x="678" y="1104"/>
                  </a:lnTo>
                  <a:lnTo>
                    <a:pt x="678" y="1110"/>
                  </a:lnTo>
                  <a:lnTo>
                    <a:pt x="678" y="1116"/>
                  </a:lnTo>
                  <a:lnTo>
                    <a:pt x="684" y="1116"/>
                  </a:lnTo>
                  <a:lnTo>
                    <a:pt x="678" y="1128"/>
                  </a:lnTo>
                  <a:lnTo>
                    <a:pt x="684" y="1128"/>
                  </a:lnTo>
                  <a:lnTo>
                    <a:pt x="690" y="1134"/>
                  </a:lnTo>
                  <a:lnTo>
                    <a:pt x="690" y="1140"/>
                  </a:lnTo>
                  <a:lnTo>
                    <a:pt x="696" y="1140"/>
                  </a:lnTo>
                  <a:lnTo>
                    <a:pt x="696" y="1146"/>
                  </a:lnTo>
                  <a:lnTo>
                    <a:pt x="696" y="1152"/>
                  </a:lnTo>
                  <a:lnTo>
                    <a:pt x="702" y="1152"/>
                  </a:lnTo>
                  <a:lnTo>
                    <a:pt x="708" y="1152"/>
                  </a:lnTo>
                  <a:lnTo>
                    <a:pt x="714" y="1158"/>
                  </a:lnTo>
                  <a:lnTo>
                    <a:pt x="714" y="1164"/>
                  </a:lnTo>
                  <a:lnTo>
                    <a:pt x="720" y="1170"/>
                  </a:lnTo>
                  <a:lnTo>
                    <a:pt x="720" y="1176"/>
                  </a:lnTo>
                  <a:lnTo>
                    <a:pt x="720" y="1182"/>
                  </a:lnTo>
                  <a:lnTo>
                    <a:pt x="726" y="1188"/>
                  </a:lnTo>
                  <a:lnTo>
                    <a:pt x="726" y="1194"/>
                  </a:lnTo>
                  <a:lnTo>
                    <a:pt x="732" y="1194"/>
                  </a:lnTo>
                  <a:lnTo>
                    <a:pt x="732" y="1200"/>
                  </a:lnTo>
                  <a:lnTo>
                    <a:pt x="738" y="1212"/>
                  </a:lnTo>
                  <a:lnTo>
                    <a:pt x="732" y="1218"/>
                  </a:lnTo>
                  <a:lnTo>
                    <a:pt x="732" y="1224"/>
                  </a:lnTo>
                  <a:lnTo>
                    <a:pt x="726" y="1230"/>
                  </a:lnTo>
                  <a:lnTo>
                    <a:pt x="720" y="1230"/>
                  </a:lnTo>
                  <a:lnTo>
                    <a:pt x="720" y="1236"/>
                  </a:lnTo>
                  <a:lnTo>
                    <a:pt x="720" y="1242"/>
                  </a:lnTo>
                  <a:lnTo>
                    <a:pt x="720" y="1248"/>
                  </a:lnTo>
                  <a:lnTo>
                    <a:pt x="714" y="1248"/>
                  </a:lnTo>
                  <a:lnTo>
                    <a:pt x="714" y="1254"/>
                  </a:lnTo>
                  <a:lnTo>
                    <a:pt x="708" y="1260"/>
                  </a:lnTo>
                  <a:lnTo>
                    <a:pt x="702" y="1272"/>
                  </a:lnTo>
                  <a:lnTo>
                    <a:pt x="696" y="1272"/>
                  </a:lnTo>
                  <a:lnTo>
                    <a:pt x="696" y="1278"/>
                  </a:lnTo>
                  <a:lnTo>
                    <a:pt x="690" y="1284"/>
                  </a:lnTo>
                  <a:lnTo>
                    <a:pt x="690" y="1290"/>
                  </a:lnTo>
                  <a:lnTo>
                    <a:pt x="684" y="1290"/>
                  </a:lnTo>
                  <a:lnTo>
                    <a:pt x="660" y="1284"/>
                  </a:lnTo>
                  <a:lnTo>
                    <a:pt x="660" y="1278"/>
                  </a:lnTo>
                  <a:lnTo>
                    <a:pt x="654" y="1272"/>
                  </a:lnTo>
                  <a:lnTo>
                    <a:pt x="648" y="1272"/>
                  </a:lnTo>
                  <a:lnTo>
                    <a:pt x="642" y="1272"/>
                  </a:lnTo>
                  <a:lnTo>
                    <a:pt x="642" y="1266"/>
                  </a:lnTo>
                  <a:lnTo>
                    <a:pt x="636" y="1266"/>
                  </a:lnTo>
                  <a:lnTo>
                    <a:pt x="630" y="1266"/>
                  </a:lnTo>
                  <a:lnTo>
                    <a:pt x="624" y="1266"/>
                  </a:lnTo>
                  <a:lnTo>
                    <a:pt x="624" y="1260"/>
                  </a:lnTo>
                  <a:lnTo>
                    <a:pt x="618" y="1260"/>
                  </a:lnTo>
                  <a:lnTo>
                    <a:pt x="612" y="1260"/>
                  </a:lnTo>
                  <a:lnTo>
                    <a:pt x="606" y="1260"/>
                  </a:lnTo>
                  <a:lnTo>
                    <a:pt x="600" y="1260"/>
                  </a:lnTo>
                  <a:lnTo>
                    <a:pt x="600" y="1254"/>
                  </a:lnTo>
                  <a:lnTo>
                    <a:pt x="594" y="1254"/>
                  </a:lnTo>
                  <a:lnTo>
                    <a:pt x="588" y="1248"/>
                  </a:lnTo>
                  <a:lnTo>
                    <a:pt x="588" y="1254"/>
                  </a:lnTo>
                  <a:lnTo>
                    <a:pt x="582" y="1254"/>
                  </a:lnTo>
                  <a:lnTo>
                    <a:pt x="582" y="1248"/>
                  </a:lnTo>
                  <a:lnTo>
                    <a:pt x="576" y="1248"/>
                  </a:lnTo>
                  <a:lnTo>
                    <a:pt x="576" y="1254"/>
                  </a:lnTo>
                  <a:lnTo>
                    <a:pt x="570" y="1248"/>
                  </a:lnTo>
                  <a:lnTo>
                    <a:pt x="564" y="1248"/>
                  </a:lnTo>
                  <a:lnTo>
                    <a:pt x="564" y="1254"/>
                  </a:lnTo>
                  <a:lnTo>
                    <a:pt x="558" y="1254"/>
                  </a:lnTo>
                  <a:lnTo>
                    <a:pt x="552" y="1254"/>
                  </a:lnTo>
                  <a:lnTo>
                    <a:pt x="552" y="1260"/>
                  </a:lnTo>
                  <a:lnTo>
                    <a:pt x="546" y="1260"/>
                  </a:lnTo>
                  <a:lnTo>
                    <a:pt x="540" y="1260"/>
                  </a:lnTo>
                  <a:lnTo>
                    <a:pt x="540" y="1254"/>
                  </a:lnTo>
                  <a:lnTo>
                    <a:pt x="534" y="1254"/>
                  </a:lnTo>
                  <a:lnTo>
                    <a:pt x="528" y="1224"/>
                  </a:lnTo>
                  <a:lnTo>
                    <a:pt x="534" y="1212"/>
                  </a:lnTo>
                  <a:lnTo>
                    <a:pt x="546" y="1206"/>
                  </a:lnTo>
                  <a:lnTo>
                    <a:pt x="582" y="1206"/>
                  </a:lnTo>
                  <a:lnTo>
                    <a:pt x="588" y="1188"/>
                  </a:lnTo>
                  <a:lnTo>
                    <a:pt x="582" y="1188"/>
                  </a:lnTo>
                  <a:lnTo>
                    <a:pt x="582" y="1182"/>
                  </a:lnTo>
                  <a:lnTo>
                    <a:pt x="576" y="1176"/>
                  </a:lnTo>
                  <a:lnTo>
                    <a:pt x="558" y="1128"/>
                  </a:lnTo>
                  <a:lnTo>
                    <a:pt x="558" y="1122"/>
                  </a:lnTo>
                  <a:lnTo>
                    <a:pt x="576" y="1098"/>
                  </a:lnTo>
                  <a:lnTo>
                    <a:pt x="576" y="1092"/>
                  </a:lnTo>
                  <a:lnTo>
                    <a:pt x="582" y="1092"/>
                  </a:lnTo>
                  <a:lnTo>
                    <a:pt x="582" y="1086"/>
                  </a:lnTo>
                  <a:lnTo>
                    <a:pt x="582" y="1080"/>
                  </a:lnTo>
                  <a:lnTo>
                    <a:pt x="582" y="1074"/>
                  </a:lnTo>
                  <a:lnTo>
                    <a:pt x="588" y="1074"/>
                  </a:lnTo>
                  <a:lnTo>
                    <a:pt x="588" y="1062"/>
                  </a:lnTo>
                  <a:lnTo>
                    <a:pt x="588" y="1056"/>
                  </a:lnTo>
                  <a:lnTo>
                    <a:pt x="588" y="1044"/>
                  </a:lnTo>
                  <a:lnTo>
                    <a:pt x="588" y="1038"/>
                  </a:lnTo>
                  <a:lnTo>
                    <a:pt x="588" y="1032"/>
                  </a:lnTo>
                  <a:lnTo>
                    <a:pt x="582" y="1026"/>
                  </a:lnTo>
                  <a:lnTo>
                    <a:pt x="582" y="1020"/>
                  </a:lnTo>
                  <a:lnTo>
                    <a:pt x="582" y="1008"/>
                  </a:lnTo>
                  <a:lnTo>
                    <a:pt x="576" y="990"/>
                  </a:lnTo>
                  <a:lnTo>
                    <a:pt x="570" y="972"/>
                  </a:lnTo>
                  <a:lnTo>
                    <a:pt x="552" y="972"/>
                  </a:lnTo>
                  <a:lnTo>
                    <a:pt x="540" y="960"/>
                  </a:lnTo>
                  <a:lnTo>
                    <a:pt x="534" y="954"/>
                  </a:lnTo>
                  <a:lnTo>
                    <a:pt x="534" y="948"/>
                  </a:lnTo>
                  <a:lnTo>
                    <a:pt x="516" y="948"/>
                  </a:lnTo>
                  <a:lnTo>
                    <a:pt x="522" y="936"/>
                  </a:lnTo>
                  <a:lnTo>
                    <a:pt x="522" y="930"/>
                  </a:lnTo>
                  <a:lnTo>
                    <a:pt x="504" y="918"/>
                  </a:lnTo>
                  <a:lnTo>
                    <a:pt x="492" y="906"/>
                  </a:lnTo>
                  <a:lnTo>
                    <a:pt x="486" y="894"/>
                  </a:lnTo>
                  <a:lnTo>
                    <a:pt x="468" y="876"/>
                  </a:lnTo>
                  <a:lnTo>
                    <a:pt x="450" y="876"/>
                  </a:lnTo>
                  <a:lnTo>
                    <a:pt x="414" y="882"/>
                  </a:lnTo>
                  <a:lnTo>
                    <a:pt x="402" y="870"/>
                  </a:lnTo>
                  <a:lnTo>
                    <a:pt x="390" y="864"/>
                  </a:lnTo>
                  <a:lnTo>
                    <a:pt x="384" y="852"/>
                  </a:lnTo>
                  <a:lnTo>
                    <a:pt x="378" y="840"/>
                  </a:lnTo>
                  <a:lnTo>
                    <a:pt x="378" y="834"/>
                  </a:lnTo>
                  <a:lnTo>
                    <a:pt x="360" y="822"/>
                  </a:lnTo>
                  <a:lnTo>
                    <a:pt x="342" y="828"/>
                  </a:lnTo>
                  <a:lnTo>
                    <a:pt x="324" y="816"/>
                  </a:lnTo>
                  <a:lnTo>
                    <a:pt x="318" y="816"/>
                  </a:lnTo>
                  <a:lnTo>
                    <a:pt x="306" y="810"/>
                  </a:lnTo>
                  <a:lnTo>
                    <a:pt x="306" y="804"/>
                  </a:lnTo>
                  <a:lnTo>
                    <a:pt x="300" y="804"/>
                  </a:lnTo>
                  <a:lnTo>
                    <a:pt x="300" y="780"/>
                  </a:lnTo>
                  <a:lnTo>
                    <a:pt x="300" y="774"/>
                  </a:lnTo>
                  <a:lnTo>
                    <a:pt x="306" y="774"/>
                  </a:lnTo>
                  <a:lnTo>
                    <a:pt x="312" y="756"/>
                  </a:lnTo>
                  <a:lnTo>
                    <a:pt x="312" y="732"/>
                  </a:lnTo>
                  <a:lnTo>
                    <a:pt x="300" y="720"/>
                  </a:lnTo>
                  <a:lnTo>
                    <a:pt x="288" y="702"/>
                  </a:lnTo>
                  <a:lnTo>
                    <a:pt x="276" y="702"/>
                  </a:lnTo>
                  <a:lnTo>
                    <a:pt x="258" y="714"/>
                  </a:lnTo>
                  <a:lnTo>
                    <a:pt x="246" y="726"/>
                  </a:lnTo>
                  <a:lnTo>
                    <a:pt x="222" y="726"/>
                  </a:lnTo>
                  <a:lnTo>
                    <a:pt x="192" y="726"/>
                  </a:lnTo>
                  <a:lnTo>
                    <a:pt x="174" y="738"/>
                  </a:lnTo>
                  <a:lnTo>
                    <a:pt x="162" y="750"/>
                  </a:lnTo>
                  <a:lnTo>
                    <a:pt x="144" y="762"/>
                  </a:lnTo>
                  <a:lnTo>
                    <a:pt x="138" y="768"/>
                  </a:lnTo>
                  <a:lnTo>
                    <a:pt x="126" y="774"/>
                  </a:lnTo>
                  <a:lnTo>
                    <a:pt x="114" y="780"/>
                  </a:lnTo>
                  <a:lnTo>
                    <a:pt x="108" y="786"/>
                  </a:lnTo>
                  <a:lnTo>
                    <a:pt x="102" y="786"/>
                  </a:lnTo>
                  <a:lnTo>
                    <a:pt x="54" y="786"/>
                  </a:lnTo>
                  <a:lnTo>
                    <a:pt x="48" y="792"/>
                  </a:lnTo>
                  <a:lnTo>
                    <a:pt x="36" y="798"/>
                  </a:lnTo>
                  <a:lnTo>
                    <a:pt x="18" y="792"/>
                  </a:lnTo>
                  <a:lnTo>
                    <a:pt x="6" y="780"/>
                  </a:lnTo>
                  <a:lnTo>
                    <a:pt x="6" y="768"/>
                  </a:lnTo>
                  <a:lnTo>
                    <a:pt x="0" y="756"/>
                  </a:lnTo>
                  <a:lnTo>
                    <a:pt x="0" y="738"/>
                  </a:lnTo>
                  <a:lnTo>
                    <a:pt x="6" y="702"/>
                  </a:lnTo>
                  <a:lnTo>
                    <a:pt x="24" y="702"/>
                  </a:lnTo>
                  <a:lnTo>
                    <a:pt x="24" y="696"/>
                  </a:lnTo>
                  <a:lnTo>
                    <a:pt x="24" y="690"/>
                  </a:lnTo>
                  <a:lnTo>
                    <a:pt x="24" y="678"/>
                  </a:lnTo>
                  <a:lnTo>
                    <a:pt x="24" y="672"/>
                  </a:lnTo>
                  <a:lnTo>
                    <a:pt x="30" y="672"/>
                  </a:lnTo>
                  <a:lnTo>
                    <a:pt x="30" y="666"/>
                  </a:lnTo>
                  <a:lnTo>
                    <a:pt x="36" y="660"/>
                  </a:lnTo>
                  <a:lnTo>
                    <a:pt x="84" y="648"/>
                  </a:lnTo>
                  <a:lnTo>
                    <a:pt x="126" y="642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32" y="618"/>
                  </a:lnTo>
                  <a:lnTo>
                    <a:pt x="138" y="612"/>
                  </a:lnTo>
                  <a:lnTo>
                    <a:pt x="138" y="606"/>
                  </a:lnTo>
                  <a:lnTo>
                    <a:pt x="138" y="600"/>
                  </a:lnTo>
                  <a:lnTo>
                    <a:pt x="132" y="600"/>
                  </a:lnTo>
                  <a:lnTo>
                    <a:pt x="132" y="594"/>
                  </a:lnTo>
                  <a:lnTo>
                    <a:pt x="132" y="588"/>
                  </a:lnTo>
                  <a:lnTo>
                    <a:pt x="132" y="582"/>
                  </a:lnTo>
                  <a:lnTo>
                    <a:pt x="132" y="576"/>
                  </a:lnTo>
                  <a:lnTo>
                    <a:pt x="126" y="570"/>
                  </a:lnTo>
                  <a:lnTo>
                    <a:pt x="120" y="564"/>
                  </a:lnTo>
                  <a:lnTo>
                    <a:pt x="120" y="558"/>
                  </a:lnTo>
                  <a:lnTo>
                    <a:pt x="120" y="552"/>
                  </a:lnTo>
                  <a:lnTo>
                    <a:pt x="114" y="552"/>
                  </a:lnTo>
                  <a:lnTo>
                    <a:pt x="114" y="546"/>
                  </a:lnTo>
                  <a:lnTo>
                    <a:pt x="114" y="540"/>
                  </a:lnTo>
                  <a:lnTo>
                    <a:pt x="108" y="534"/>
                  </a:lnTo>
                  <a:lnTo>
                    <a:pt x="108" y="528"/>
                  </a:lnTo>
                  <a:lnTo>
                    <a:pt x="114" y="522"/>
                  </a:lnTo>
                  <a:lnTo>
                    <a:pt x="108" y="516"/>
                  </a:lnTo>
                  <a:lnTo>
                    <a:pt x="108" y="498"/>
                  </a:lnTo>
                  <a:lnTo>
                    <a:pt x="108" y="492"/>
                  </a:lnTo>
                  <a:lnTo>
                    <a:pt x="108" y="486"/>
                  </a:lnTo>
                  <a:lnTo>
                    <a:pt x="108" y="480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08" y="462"/>
                  </a:lnTo>
                  <a:lnTo>
                    <a:pt x="102" y="456"/>
                  </a:lnTo>
                  <a:lnTo>
                    <a:pt x="102" y="444"/>
                  </a:lnTo>
                  <a:lnTo>
                    <a:pt x="96" y="444"/>
                  </a:lnTo>
                  <a:lnTo>
                    <a:pt x="90" y="432"/>
                  </a:lnTo>
                  <a:lnTo>
                    <a:pt x="96" y="432"/>
                  </a:lnTo>
                  <a:lnTo>
                    <a:pt x="96" y="408"/>
                  </a:lnTo>
                  <a:lnTo>
                    <a:pt x="96" y="396"/>
                  </a:lnTo>
                  <a:lnTo>
                    <a:pt x="96" y="360"/>
                  </a:lnTo>
                  <a:lnTo>
                    <a:pt x="96" y="354"/>
                  </a:lnTo>
                  <a:lnTo>
                    <a:pt x="102" y="354"/>
                  </a:lnTo>
                  <a:lnTo>
                    <a:pt x="102" y="348"/>
                  </a:lnTo>
                  <a:lnTo>
                    <a:pt x="96" y="330"/>
                  </a:lnTo>
                  <a:lnTo>
                    <a:pt x="90" y="306"/>
                  </a:lnTo>
                  <a:lnTo>
                    <a:pt x="84" y="288"/>
                  </a:lnTo>
                  <a:lnTo>
                    <a:pt x="84" y="264"/>
                  </a:lnTo>
                  <a:lnTo>
                    <a:pt x="90" y="240"/>
                  </a:lnTo>
                  <a:lnTo>
                    <a:pt x="96" y="222"/>
                  </a:lnTo>
                  <a:lnTo>
                    <a:pt x="102" y="222"/>
                  </a:lnTo>
                  <a:lnTo>
                    <a:pt x="108" y="210"/>
                  </a:lnTo>
                  <a:lnTo>
                    <a:pt x="114" y="210"/>
                  </a:lnTo>
                  <a:lnTo>
                    <a:pt x="126" y="198"/>
                  </a:lnTo>
                  <a:lnTo>
                    <a:pt x="156" y="192"/>
                  </a:lnTo>
                  <a:lnTo>
                    <a:pt x="174" y="186"/>
                  </a:lnTo>
                  <a:lnTo>
                    <a:pt x="204" y="174"/>
                  </a:lnTo>
                  <a:lnTo>
                    <a:pt x="222" y="168"/>
                  </a:lnTo>
                  <a:lnTo>
                    <a:pt x="234" y="162"/>
                  </a:lnTo>
                  <a:lnTo>
                    <a:pt x="246" y="156"/>
                  </a:lnTo>
                  <a:lnTo>
                    <a:pt x="288" y="144"/>
                  </a:lnTo>
                  <a:lnTo>
                    <a:pt x="288" y="132"/>
                  </a:lnTo>
                  <a:lnTo>
                    <a:pt x="294" y="120"/>
                  </a:lnTo>
                  <a:lnTo>
                    <a:pt x="300" y="108"/>
                  </a:lnTo>
                  <a:lnTo>
                    <a:pt x="306" y="90"/>
                  </a:lnTo>
                  <a:lnTo>
                    <a:pt x="312" y="78"/>
                  </a:lnTo>
                  <a:lnTo>
                    <a:pt x="324" y="78"/>
                  </a:lnTo>
                  <a:lnTo>
                    <a:pt x="324" y="54"/>
                  </a:lnTo>
                  <a:lnTo>
                    <a:pt x="318" y="48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60" y="6"/>
                  </a:lnTo>
                  <a:lnTo>
                    <a:pt x="384" y="0"/>
                  </a:lnTo>
                  <a:lnTo>
                    <a:pt x="390" y="6"/>
                  </a:lnTo>
                  <a:lnTo>
                    <a:pt x="390" y="18"/>
                  </a:lnTo>
                  <a:lnTo>
                    <a:pt x="390" y="54"/>
                  </a:lnTo>
                  <a:lnTo>
                    <a:pt x="396" y="66"/>
                  </a:lnTo>
                  <a:lnTo>
                    <a:pt x="414" y="84"/>
                  </a:lnTo>
                  <a:lnTo>
                    <a:pt x="426" y="90"/>
                  </a:lnTo>
                  <a:lnTo>
                    <a:pt x="432" y="96"/>
                  </a:lnTo>
                  <a:lnTo>
                    <a:pt x="426" y="102"/>
                  </a:lnTo>
                  <a:lnTo>
                    <a:pt x="438" y="102"/>
                  </a:lnTo>
                  <a:lnTo>
                    <a:pt x="444" y="108"/>
                  </a:lnTo>
                  <a:lnTo>
                    <a:pt x="444" y="102"/>
                  </a:lnTo>
                  <a:lnTo>
                    <a:pt x="450" y="90"/>
                  </a:lnTo>
                  <a:lnTo>
                    <a:pt x="450" y="84"/>
                  </a:lnTo>
                  <a:lnTo>
                    <a:pt x="450" y="78"/>
                  </a:lnTo>
                  <a:lnTo>
                    <a:pt x="456" y="72"/>
                  </a:lnTo>
                  <a:lnTo>
                    <a:pt x="462" y="66"/>
                  </a:lnTo>
                  <a:lnTo>
                    <a:pt x="462" y="60"/>
                  </a:lnTo>
                  <a:lnTo>
                    <a:pt x="462" y="54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74" y="24"/>
                  </a:lnTo>
                  <a:lnTo>
                    <a:pt x="480" y="18"/>
                  </a:lnTo>
                  <a:lnTo>
                    <a:pt x="486" y="12"/>
                  </a:lnTo>
                  <a:lnTo>
                    <a:pt x="492" y="12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2" y="6"/>
                  </a:lnTo>
                  <a:lnTo>
                    <a:pt x="534" y="6"/>
                  </a:lnTo>
                  <a:lnTo>
                    <a:pt x="540" y="6"/>
                  </a:lnTo>
                  <a:lnTo>
                    <a:pt x="546" y="6"/>
                  </a:lnTo>
                  <a:lnTo>
                    <a:pt x="564" y="0"/>
                  </a:lnTo>
                  <a:lnTo>
                    <a:pt x="570" y="0"/>
                  </a:lnTo>
                  <a:lnTo>
                    <a:pt x="576" y="6"/>
                  </a:lnTo>
                  <a:lnTo>
                    <a:pt x="582" y="6"/>
                  </a:lnTo>
                  <a:lnTo>
                    <a:pt x="594" y="6"/>
                  </a:lnTo>
                  <a:lnTo>
                    <a:pt x="600" y="6"/>
                  </a:lnTo>
                  <a:lnTo>
                    <a:pt x="606" y="6"/>
                  </a:lnTo>
                  <a:lnTo>
                    <a:pt x="624" y="0"/>
                  </a:lnTo>
                  <a:lnTo>
                    <a:pt x="636" y="0"/>
                  </a:lnTo>
                  <a:lnTo>
                    <a:pt x="636" y="6"/>
                  </a:lnTo>
                  <a:lnTo>
                    <a:pt x="654" y="18"/>
                  </a:lnTo>
                  <a:lnTo>
                    <a:pt x="654" y="30"/>
                  </a:lnTo>
                  <a:lnTo>
                    <a:pt x="642" y="42"/>
                  </a:lnTo>
                  <a:lnTo>
                    <a:pt x="630" y="66"/>
                  </a:lnTo>
                  <a:lnTo>
                    <a:pt x="636" y="84"/>
                  </a:lnTo>
                  <a:lnTo>
                    <a:pt x="636" y="96"/>
                  </a:lnTo>
                  <a:lnTo>
                    <a:pt x="648" y="102"/>
                  </a:lnTo>
                  <a:lnTo>
                    <a:pt x="672" y="114"/>
                  </a:lnTo>
                  <a:lnTo>
                    <a:pt x="702" y="120"/>
                  </a:lnTo>
                  <a:lnTo>
                    <a:pt x="714" y="126"/>
                  </a:lnTo>
                  <a:lnTo>
                    <a:pt x="720" y="144"/>
                  </a:lnTo>
                  <a:lnTo>
                    <a:pt x="720" y="156"/>
                  </a:lnTo>
                  <a:lnTo>
                    <a:pt x="708" y="156"/>
                  </a:lnTo>
                  <a:lnTo>
                    <a:pt x="702" y="162"/>
                  </a:lnTo>
                  <a:lnTo>
                    <a:pt x="702" y="174"/>
                  </a:lnTo>
                  <a:lnTo>
                    <a:pt x="696" y="174"/>
                  </a:lnTo>
                  <a:lnTo>
                    <a:pt x="690" y="180"/>
                  </a:lnTo>
                  <a:lnTo>
                    <a:pt x="678" y="186"/>
                  </a:lnTo>
                  <a:lnTo>
                    <a:pt x="672" y="192"/>
                  </a:lnTo>
                  <a:lnTo>
                    <a:pt x="654" y="210"/>
                  </a:lnTo>
                  <a:lnTo>
                    <a:pt x="654" y="216"/>
                  </a:lnTo>
                  <a:lnTo>
                    <a:pt x="648" y="246"/>
                  </a:lnTo>
                  <a:lnTo>
                    <a:pt x="660" y="246"/>
                  </a:lnTo>
                  <a:lnTo>
                    <a:pt x="666" y="234"/>
                  </a:lnTo>
                  <a:lnTo>
                    <a:pt x="678" y="240"/>
                  </a:lnTo>
                  <a:lnTo>
                    <a:pt x="684" y="228"/>
                  </a:lnTo>
                  <a:lnTo>
                    <a:pt x="690" y="210"/>
                  </a:lnTo>
                  <a:lnTo>
                    <a:pt x="696" y="204"/>
                  </a:lnTo>
                  <a:lnTo>
                    <a:pt x="702" y="204"/>
                  </a:lnTo>
                  <a:lnTo>
                    <a:pt x="708" y="192"/>
                  </a:lnTo>
                  <a:lnTo>
                    <a:pt x="714" y="192"/>
                  </a:lnTo>
                  <a:lnTo>
                    <a:pt x="714" y="186"/>
                  </a:lnTo>
                  <a:lnTo>
                    <a:pt x="726" y="186"/>
                  </a:lnTo>
                  <a:lnTo>
                    <a:pt x="732" y="186"/>
                  </a:lnTo>
                  <a:lnTo>
                    <a:pt x="738" y="186"/>
                  </a:lnTo>
                  <a:lnTo>
                    <a:pt x="744" y="216"/>
                  </a:lnTo>
                  <a:lnTo>
                    <a:pt x="750" y="210"/>
                  </a:lnTo>
                  <a:lnTo>
                    <a:pt x="750" y="204"/>
                  </a:lnTo>
                  <a:lnTo>
                    <a:pt x="756" y="192"/>
                  </a:lnTo>
                  <a:lnTo>
                    <a:pt x="762" y="192"/>
                  </a:lnTo>
                  <a:lnTo>
                    <a:pt x="768" y="192"/>
                  </a:lnTo>
                  <a:lnTo>
                    <a:pt x="780" y="186"/>
                  </a:lnTo>
                  <a:lnTo>
                    <a:pt x="786" y="204"/>
                  </a:lnTo>
                  <a:lnTo>
                    <a:pt x="774" y="210"/>
                  </a:lnTo>
                  <a:lnTo>
                    <a:pt x="774" y="234"/>
                  </a:lnTo>
                  <a:lnTo>
                    <a:pt x="780" y="246"/>
                  </a:lnTo>
                  <a:lnTo>
                    <a:pt x="804" y="264"/>
                  </a:lnTo>
                  <a:lnTo>
                    <a:pt x="816" y="276"/>
                  </a:lnTo>
                  <a:lnTo>
                    <a:pt x="822" y="288"/>
                  </a:lnTo>
                  <a:lnTo>
                    <a:pt x="822" y="312"/>
                  </a:lnTo>
                  <a:lnTo>
                    <a:pt x="816" y="312"/>
                  </a:lnTo>
                  <a:lnTo>
                    <a:pt x="810" y="318"/>
                  </a:lnTo>
                  <a:lnTo>
                    <a:pt x="810" y="348"/>
                  </a:lnTo>
                  <a:lnTo>
                    <a:pt x="816" y="348"/>
                  </a:lnTo>
                  <a:lnTo>
                    <a:pt x="816" y="342"/>
                  </a:lnTo>
                  <a:lnTo>
                    <a:pt x="834" y="342"/>
                  </a:lnTo>
                  <a:lnTo>
                    <a:pt x="834" y="348"/>
                  </a:lnTo>
                  <a:lnTo>
                    <a:pt x="846" y="348"/>
                  </a:lnTo>
                  <a:lnTo>
                    <a:pt x="846" y="342"/>
                  </a:lnTo>
                  <a:lnTo>
                    <a:pt x="882" y="342"/>
                  </a:lnTo>
                  <a:lnTo>
                    <a:pt x="894" y="366"/>
                  </a:lnTo>
                  <a:lnTo>
                    <a:pt x="900" y="372"/>
                  </a:lnTo>
                  <a:lnTo>
                    <a:pt x="906" y="384"/>
                  </a:lnTo>
                  <a:lnTo>
                    <a:pt x="924" y="384"/>
                  </a:lnTo>
                  <a:lnTo>
                    <a:pt x="930" y="372"/>
                  </a:lnTo>
                  <a:lnTo>
                    <a:pt x="936" y="372"/>
                  </a:lnTo>
                  <a:lnTo>
                    <a:pt x="942" y="348"/>
                  </a:lnTo>
                  <a:lnTo>
                    <a:pt x="954" y="348"/>
                  </a:lnTo>
                  <a:lnTo>
                    <a:pt x="954" y="342"/>
                  </a:lnTo>
                  <a:lnTo>
                    <a:pt x="984" y="342"/>
                  </a:lnTo>
                  <a:lnTo>
                    <a:pt x="978" y="390"/>
                  </a:lnTo>
                  <a:lnTo>
                    <a:pt x="984" y="390"/>
                  </a:lnTo>
                  <a:lnTo>
                    <a:pt x="990" y="396"/>
                  </a:lnTo>
                  <a:lnTo>
                    <a:pt x="996" y="396"/>
                  </a:lnTo>
                  <a:lnTo>
                    <a:pt x="1002" y="396"/>
                  </a:lnTo>
                  <a:lnTo>
                    <a:pt x="1002" y="408"/>
                  </a:lnTo>
                  <a:lnTo>
                    <a:pt x="990" y="414"/>
                  </a:lnTo>
                  <a:lnTo>
                    <a:pt x="984" y="426"/>
                  </a:lnTo>
                  <a:lnTo>
                    <a:pt x="990" y="444"/>
                  </a:lnTo>
                  <a:lnTo>
                    <a:pt x="996" y="450"/>
                  </a:lnTo>
                  <a:lnTo>
                    <a:pt x="990" y="462"/>
                  </a:lnTo>
                  <a:lnTo>
                    <a:pt x="990" y="468"/>
                  </a:lnTo>
                  <a:lnTo>
                    <a:pt x="984" y="480"/>
                  </a:lnTo>
                  <a:lnTo>
                    <a:pt x="978" y="486"/>
                  </a:lnTo>
                  <a:lnTo>
                    <a:pt x="972" y="486"/>
                  </a:lnTo>
                  <a:lnTo>
                    <a:pt x="966" y="492"/>
                  </a:lnTo>
                  <a:lnTo>
                    <a:pt x="966" y="498"/>
                  </a:lnTo>
                  <a:lnTo>
                    <a:pt x="954" y="510"/>
                  </a:lnTo>
                  <a:lnTo>
                    <a:pt x="948" y="510"/>
                  </a:lnTo>
                  <a:lnTo>
                    <a:pt x="942" y="516"/>
                  </a:lnTo>
                  <a:lnTo>
                    <a:pt x="936" y="528"/>
                  </a:lnTo>
                  <a:lnTo>
                    <a:pt x="936" y="534"/>
                  </a:lnTo>
                  <a:lnTo>
                    <a:pt x="936" y="546"/>
                  </a:lnTo>
                  <a:lnTo>
                    <a:pt x="936" y="558"/>
                  </a:lnTo>
                  <a:lnTo>
                    <a:pt x="948" y="558"/>
                  </a:lnTo>
                  <a:lnTo>
                    <a:pt x="954" y="558"/>
                  </a:lnTo>
                  <a:lnTo>
                    <a:pt x="996" y="558"/>
                  </a:lnTo>
                  <a:lnTo>
                    <a:pt x="1002" y="570"/>
                  </a:lnTo>
                  <a:lnTo>
                    <a:pt x="996" y="576"/>
                  </a:lnTo>
                  <a:lnTo>
                    <a:pt x="996" y="588"/>
                  </a:lnTo>
                  <a:lnTo>
                    <a:pt x="984" y="588"/>
                  </a:lnTo>
                  <a:lnTo>
                    <a:pt x="990" y="612"/>
                  </a:lnTo>
                  <a:lnTo>
                    <a:pt x="1014" y="606"/>
                  </a:lnTo>
                  <a:lnTo>
                    <a:pt x="1014" y="636"/>
                  </a:lnTo>
                  <a:lnTo>
                    <a:pt x="1014" y="648"/>
                  </a:lnTo>
                  <a:lnTo>
                    <a:pt x="1020" y="648"/>
                  </a:lnTo>
                  <a:lnTo>
                    <a:pt x="1026" y="660"/>
                  </a:lnTo>
                  <a:lnTo>
                    <a:pt x="1038" y="654"/>
                  </a:lnTo>
                  <a:lnTo>
                    <a:pt x="1050" y="654"/>
                  </a:lnTo>
                  <a:lnTo>
                    <a:pt x="1062" y="654"/>
                  </a:lnTo>
                  <a:lnTo>
                    <a:pt x="1068" y="660"/>
                  </a:lnTo>
                  <a:lnTo>
                    <a:pt x="1068" y="678"/>
                  </a:lnTo>
                  <a:lnTo>
                    <a:pt x="1068" y="684"/>
                  </a:lnTo>
                  <a:lnTo>
                    <a:pt x="1062" y="690"/>
                  </a:lnTo>
                  <a:lnTo>
                    <a:pt x="1056" y="696"/>
                  </a:lnTo>
                  <a:lnTo>
                    <a:pt x="1056" y="702"/>
                  </a:lnTo>
                  <a:lnTo>
                    <a:pt x="1038" y="714"/>
                  </a:lnTo>
                  <a:lnTo>
                    <a:pt x="1026" y="720"/>
                  </a:lnTo>
                  <a:lnTo>
                    <a:pt x="1008" y="726"/>
                  </a:lnTo>
                  <a:lnTo>
                    <a:pt x="1008" y="732"/>
                  </a:lnTo>
                  <a:lnTo>
                    <a:pt x="990" y="732"/>
                  </a:lnTo>
                  <a:lnTo>
                    <a:pt x="984" y="744"/>
                  </a:lnTo>
                  <a:lnTo>
                    <a:pt x="990" y="750"/>
                  </a:lnTo>
                  <a:lnTo>
                    <a:pt x="984" y="762"/>
                  </a:lnTo>
                  <a:lnTo>
                    <a:pt x="984" y="768"/>
                  </a:lnTo>
                  <a:lnTo>
                    <a:pt x="984" y="774"/>
                  </a:lnTo>
                  <a:lnTo>
                    <a:pt x="984" y="780"/>
                  </a:lnTo>
                  <a:lnTo>
                    <a:pt x="984" y="786"/>
                  </a:lnTo>
                  <a:lnTo>
                    <a:pt x="984" y="792"/>
                  </a:lnTo>
                  <a:lnTo>
                    <a:pt x="978" y="798"/>
                  </a:lnTo>
                  <a:lnTo>
                    <a:pt x="978" y="80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3" name="Freeform 38">
              <a:extLst>
                <a:ext uri="{FF2B5EF4-FFF2-40B4-BE49-F238E27FC236}">
                  <a16:creationId xmlns:a16="http://schemas.microsoft.com/office/drawing/2014/main" id="{819B99CE-D972-4530-8964-A992C1EC87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2825" y="1634436"/>
              <a:ext cx="959326" cy="959458"/>
            </a:xfrm>
            <a:custGeom>
              <a:avLst/>
              <a:gdLst>
                <a:gd name="T0" fmla="*/ 105 w 1806"/>
                <a:gd name="T1" fmla="*/ 155 h 1806"/>
                <a:gd name="T2" fmla="*/ 103 w 1806"/>
                <a:gd name="T3" fmla="*/ 155 h 1806"/>
                <a:gd name="T4" fmla="*/ 103 w 1806"/>
                <a:gd name="T5" fmla="*/ 150 h 1806"/>
                <a:gd name="T6" fmla="*/ 104 w 1806"/>
                <a:gd name="T7" fmla="*/ 141 h 1806"/>
                <a:gd name="T8" fmla="*/ 104 w 1806"/>
                <a:gd name="T9" fmla="*/ 136 h 1806"/>
                <a:gd name="T10" fmla="*/ 100 w 1806"/>
                <a:gd name="T11" fmla="*/ 131 h 1806"/>
                <a:gd name="T12" fmla="*/ 96 w 1806"/>
                <a:gd name="T13" fmla="*/ 127 h 1806"/>
                <a:gd name="T14" fmla="*/ 91 w 1806"/>
                <a:gd name="T15" fmla="*/ 121 h 1806"/>
                <a:gd name="T16" fmla="*/ 87 w 1806"/>
                <a:gd name="T17" fmla="*/ 120 h 1806"/>
                <a:gd name="T18" fmla="*/ 81 w 1806"/>
                <a:gd name="T19" fmla="*/ 117 h 1806"/>
                <a:gd name="T20" fmla="*/ 65 w 1806"/>
                <a:gd name="T21" fmla="*/ 113 h 1806"/>
                <a:gd name="T22" fmla="*/ 69 w 1806"/>
                <a:gd name="T23" fmla="*/ 105 h 1806"/>
                <a:gd name="T24" fmla="*/ 66 w 1806"/>
                <a:gd name="T25" fmla="*/ 89 h 1806"/>
                <a:gd name="T26" fmla="*/ 63 w 1806"/>
                <a:gd name="T27" fmla="*/ 84 h 1806"/>
                <a:gd name="T28" fmla="*/ 62 w 1806"/>
                <a:gd name="T29" fmla="*/ 74 h 1806"/>
                <a:gd name="T30" fmla="*/ 58 w 1806"/>
                <a:gd name="T31" fmla="*/ 52 h 1806"/>
                <a:gd name="T32" fmla="*/ 53 w 1806"/>
                <a:gd name="T33" fmla="*/ 49 h 1806"/>
                <a:gd name="T34" fmla="*/ 51 w 1806"/>
                <a:gd name="T35" fmla="*/ 36 h 1806"/>
                <a:gd name="T36" fmla="*/ 43 w 1806"/>
                <a:gd name="T37" fmla="*/ 32 h 1806"/>
                <a:gd name="T38" fmla="*/ 33 w 1806"/>
                <a:gd name="T39" fmla="*/ 30 h 1806"/>
                <a:gd name="T40" fmla="*/ 30 w 1806"/>
                <a:gd name="T41" fmla="*/ 21 h 1806"/>
                <a:gd name="T42" fmla="*/ 17 w 1806"/>
                <a:gd name="T43" fmla="*/ 25 h 1806"/>
                <a:gd name="T44" fmla="*/ 4 w 1806"/>
                <a:gd name="T45" fmla="*/ 33 h 1806"/>
                <a:gd name="T46" fmla="*/ 7 w 1806"/>
                <a:gd name="T47" fmla="*/ 26 h 1806"/>
                <a:gd name="T48" fmla="*/ 11 w 1806"/>
                <a:gd name="T49" fmla="*/ 20 h 1806"/>
                <a:gd name="T50" fmla="*/ 18 w 1806"/>
                <a:gd name="T51" fmla="*/ 12 h 1806"/>
                <a:gd name="T52" fmla="*/ 26 w 1806"/>
                <a:gd name="T53" fmla="*/ 8 h 1806"/>
                <a:gd name="T54" fmla="*/ 35 w 1806"/>
                <a:gd name="T55" fmla="*/ 6 h 1806"/>
                <a:gd name="T56" fmla="*/ 44 w 1806"/>
                <a:gd name="T57" fmla="*/ 5 h 1806"/>
                <a:gd name="T58" fmla="*/ 54 w 1806"/>
                <a:gd name="T59" fmla="*/ 2 h 1806"/>
                <a:gd name="T60" fmla="*/ 65 w 1806"/>
                <a:gd name="T61" fmla="*/ 0 h 1806"/>
                <a:gd name="T62" fmla="*/ 76 w 1806"/>
                <a:gd name="T63" fmla="*/ 0 h 1806"/>
                <a:gd name="T64" fmla="*/ 85 w 1806"/>
                <a:gd name="T65" fmla="*/ 0 h 1806"/>
                <a:gd name="T66" fmla="*/ 97 w 1806"/>
                <a:gd name="T67" fmla="*/ 0 h 1806"/>
                <a:gd name="T68" fmla="*/ 108 w 1806"/>
                <a:gd name="T69" fmla="*/ 3 h 1806"/>
                <a:gd name="T70" fmla="*/ 115 w 1806"/>
                <a:gd name="T71" fmla="*/ 5 h 1806"/>
                <a:gd name="T72" fmla="*/ 123 w 1806"/>
                <a:gd name="T73" fmla="*/ 7 h 1806"/>
                <a:gd name="T74" fmla="*/ 133 w 1806"/>
                <a:gd name="T75" fmla="*/ 14 h 1806"/>
                <a:gd name="T76" fmla="*/ 138 w 1806"/>
                <a:gd name="T77" fmla="*/ 16 h 1806"/>
                <a:gd name="T78" fmla="*/ 140 w 1806"/>
                <a:gd name="T79" fmla="*/ 14 h 1806"/>
                <a:gd name="T80" fmla="*/ 145 w 1806"/>
                <a:gd name="T81" fmla="*/ 16 h 1806"/>
                <a:gd name="T82" fmla="*/ 147 w 1806"/>
                <a:gd name="T83" fmla="*/ 16 h 1806"/>
                <a:gd name="T84" fmla="*/ 150 w 1806"/>
                <a:gd name="T85" fmla="*/ 17 h 1806"/>
                <a:gd name="T86" fmla="*/ 152 w 1806"/>
                <a:gd name="T87" fmla="*/ 18 h 1806"/>
                <a:gd name="T88" fmla="*/ 155 w 1806"/>
                <a:gd name="T89" fmla="*/ 37 h 1806"/>
                <a:gd name="T90" fmla="*/ 146 w 1806"/>
                <a:gd name="T91" fmla="*/ 66 h 1806"/>
                <a:gd name="T92" fmla="*/ 143 w 1806"/>
                <a:gd name="T93" fmla="*/ 88 h 1806"/>
                <a:gd name="T94" fmla="*/ 144 w 1806"/>
                <a:gd name="T95" fmla="*/ 98 h 1806"/>
                <a:gd name="T96" fmla="*/ 137 w 1806"/>
                <a:gd name="T97" fmla="*/ 118 h 1806"/>
                <a:gd name="T98" fmla="*/ 132 w 1806"/>
                <a:gd name="T99" fmla="*/ 129 h 1806"/>
                <a:gd name="T100" fmla="*/ 124 w 1806"/>
                <a:gd name="T101" fmla="*/ 135 h 1806"/>
                <a:gd name="T102" fmla="*/ 119 w 1806"/>
                <a:gd name="T103" fmla="*/ 136 h 1806"/>
                <a:gd name="T104" fmla="*/ 116 w 1806"/>
                <a:gd name="T105" fmla="*/ 137 h 1806"/>
                <a:gd name="T106" fmla="*/ 112 w 1806"/>
                <a:gd name="T107" fmla="*/ 139 h 1806"/>
                <a:gd name="T108" fmla="*/ 112 w 1806"/>
                <a:gd name="T109" fmla="*/ 141 h 1806"/>
                <a:gd name="T110" fmla="*/ 116 w 1806"/>
                <a:gd name="T111" fmla="*/ 146 h 1806"/>
                <a:gd name="T112" fmla="*/ 116 w 1806"/>
                <a:gd name="T113" fmla="*/ 151 h 1806"/>
                <a:gd name="T114" fmla="*/ 113 w 1806"/>
                <a:gd name="T115" fmla="*/ 153 h 18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6"/>
                <a:gd name="T175" fmla="*/ 0 h 1806"/>
                <a:gd name="T176" fmla="*/ 1806 w 1806"/>
                <a:gd name="T177" fmla="*/ 1806 h 18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6" h="1806">
                  <a:moveTo>
                    <a:pt x="1260" y="1776"/>
                  </a:moveTo>
                  <a:lnTo>
                    <a:pt x="1254" y="1776"/>
                  </a:lnTo>
                  <a:lnTo>
                    <a:pt x="1248" y="1776"/>
                  </a:lnTo>
                  <a:lnTo>
                    <a:pt x="1242" y="1782"/>
                  </a:lnTo>
                  <a:lnTo>
                    <a:pt x="1236" y="1782"/>
                  </a:lnTo>
                  <a:lnTo>
                    <a:pt x="1230" y="1788"/>
                  </a:lnTo>
                  <a:lnTo>
                    <a:pt x="1224" y="1782"/>
                  </a:lnTo>
                  <a:lnTo>
                    <a:pt x="1218" y="1782"/>
                  </a:lnTo>
                  <a:lnTo>
                    <a:pt x="1218" y="1788"/>
                  </a:lnTo>
                  <a:lnTo>
                    <a:pt x="1212" y="1788"/>
                  </a:lnTo>
                  <a:lnTo>
                    <a:pt x="1206" y="1788"/>
                  </a:lnTo>
                  <a:lnTo>
                    <a:pt x="1206" y="1794"/>
                  </a:lnTo>
                  <a:lnTo>
                    <a:pt x="1200" y="1806"/>
                  </a:lnTo>
                  <a:lnTo>
                    <a:pt x="1194" y="1800"/>
                  </a:lnTo>
                  <a:lnTo>
                    <a:pt x="1194" y="1794"/>
                  </a:lnTo>
                  <a:lnTo>
                    <a:pt x="1194" y="1788"/>
                  </a:lnTo>
                  <a:lnTo>
                    <a:pt x="1188" y="1788"/>
                  </a:lnTo>
                  <a:lnTo>
                    <a:pt x="1188" y="1782"/>
                  </a:lnTo>
                  <a:lnTo>
                    <a:pt x="1188" y="1776"/>
                  </a:lnTo>
                  <a:lnTo>
                    <a:pt x="1194" y="1770"/>
                  </a:lnTo>
                  <a:lnTo>
                    <a:pt x="1194" y="1764"/>
                  </a:lnTo>
                  <a:lnTo>
                    <a:pt x="1194" y="1758"/>
                  </a:lnTo>
                  <a:lnTo>
                    <a:pt x="1194" y="1752"/>
                  </a:lnTo>
                  <a:lnTo>
                    <a:pt x="1200" y="1746"/>
                  </a:lnTo>
                  <a:lnTo>
                    <a:pt x="1200" y="1740"/>
                  </a:lnTo>
                  <a:lnTo>
                    <a:pt x="1200" y="1734"/>
                  </a:lnTo>
                  <a:lnTo>
                    <a:pt x="1188" y="1722"/>
                  </a:lnTo>
                  <a:lnTo>
                    <a:pt x="1188" y="1716"/>
                  </a:lnTo>
                  <a:lnTo>
                    <a:pt x="1194" y="1704"/>
                  </a:lnTo>
                  <a:lnTo>
                    <a:pt x="1194" y="1692"/>
                  </a:lnTo>
                  <a:lnTo>
                    <a:pt x="1200" y="1680"/>
                  </a:lnTo>
                  <a:lnTo>
                    <a:pt x="1200" y="1662"/>
                  </a:lnTo>
                  <a:lnTo>
                    <a:pt x="1200" y="1650"/>
                  </a:lnTo>
                  <a:lnTo>
                    <a:pt x="1206" y="1644"/>
                  </a:lnTo>
                  <a:lnTo>
                    <a:pt x="1206" y="1638"/>
                  </a:lnTo>
                  <a:lnTo>
                    <a:pt x="1206" y="1626"/>
                  </a:lnTo>
                  <a:lnTo>
                    <a:pt x="1206" y="1620"/>
                  </a:lnTo>
                  <a:lnTo>
                    <a:pt x="1206" y="1614"/>
                  </a:lnTo>
                  <a:lnTo>
                    <a:pt x="1200" y="1608"/>
                  </a:lnTo>
                  <a:lnTo>
                    <a:pt x="1200" y="1602"/>
                  </a:lnTo>
                  <a:lnTo>
                    <a:pt x="1200" y="1596"/>
                  </a:lnTo>
                  <a:lnTo>
                    <a:pt x="1200" y="1590"/>
                  </a:lnTo>
                  <a:lnTo>
                    <a:pt x="1200" y="1572"/>
                  </a:lnTo>
                  <a:lnTo>
                    <a:pt x="1200" y="1566"/>
                  </a:lnTo>
                  <a:lnTo>
                    <a:pt x="1200" y="1560"/>
                  </a:lnTo>
                  <a:lnTo>
                    <a:pt x="1194" y="1554"/>
                  </a:lnTo>
                  <a:lnTo>
                    <a:pt x="1188" y="1548"/>
                  </a:lnTo>
                  <a:lnTo>
                    <a:pt x="1188" y="1542"/>
                  </a:lnTo>
                  <a:lnTo>
                    <a:pt x="1176" y="1536"/>
                  </a:lnTo>
                  <a:lnTo>
                    <a:pt x="1176" y="1530"/>
                  </a:lnTo>
                  <a:lnTo>
                    <a:pt x="1170" y="1524"/>
                  </a:lnTo>
                  <a:lnTo>
                    <a:pt x="1170" y="1518"/>
                  </a:lnTo>
                  <a:lnTo>
                    <a:pt x="1164" y="1512"/>
                  </a:lnTo>
                  <a:lnTo>
                    <a:pt x="1158" y="1506"/>
                  </a:lnTo>
                  <a:lnTo>
                    <a:pt x="1152" y="1500"/>
                  </a:lnTo>
                  <a:lnTo>
                    <a:pt x="1146" y="1494"/>
                  </a:lnTo>
                  <a:lnTo>
                    <a:pt x="1140" y="1488"/>
                  </a:lnTo>
                  <a:lnTo>
                    <a:pt x="1134" y="1482"/>
                  </a:lnTo>
                  <a:lnTo>
                    <a:pt x="1128" y="1476"/>
                  </a:lnTo>
                  <a:lnTo>
                    <a:pt x="1122" y="1470"/>
                  </a:lnTo>
                  <a:lnTo>
                    <a:pt x="1116" y="1464"/>
                  </a:lnTo>
                  <a:lnTo>
                    <a:pt x="1110" y="1464"/>
                  </a:lnTo>
                  <a:lnTo>
                    <a:pt x="1104" y="1458"/>
                  </a:lnTo>
                  <a:lnTo>
                    <a:pt x="1098" y="1464"/>
                  </a:lnTo>
                  <a:lnTo>
                    <a:pt x="1092" y="1464"/>
                  </a:lnTo>
                  <a:lnTo>
                    <a:pt x="1086" y="1446"/>
                  </a:lnTo>
                  <a:lnTo>
                    <a:pt x="1086" y="1440"/>
                  </a:lnTo>
                  <a:lnTo>
                    <a:pt x="1080" y="1416"/>
                  </a:lnTo>
                  <a:lnTo>
                    <a:pt x="1068" y="1404"/>
                  </a:lnTo>
                  <a:lnTo>
                    <a:pt x="1062" y="1398"/>
                  </a:lnTo>
                  <a:lnTo>
                    <a:pt x="1056" y="1398"/>
                  </a:lnTo>
                  <a:lnTo>
                    <a:pt x="1050" y="1398"/>
                  </a:lnTo>
                  <a:lnTo>
                    <a:pt x="1044" y="1398"/>
                  </a:lnTo>
                  <a:lnTo>
                    <a:pt x="1044" y="1392"/>
                  </a:lnTo>
                  <a:lnTo>
                    <a:pt x="1038" y="1392"/>
                  </a:lnTo>
                  <a:lnTo>
                    <a:pt x="1032" y="1392"/>
                  </a:lnTo>
                  <a:lnTo>
                    <a:pt x="1020" y="1386"/>
                  </a:lnTo>
                  <a:lnTo>
                    <a:pt x="1014" y="1386"/>
                  </a:lnTo>
                  <a:lnTo>
                    <a:pt x="1014" y="1380"/>
                  </a:lnTo>
                  <a:lnTo>
                    <a:pt x="1008" y="1380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62"/>
                  </a:lnTo>
                  <a:lnTo>
                    <a:pt x="984" y="1356"/>
                  </a:lnTo>
                  <a:lnTo>
                    <a:pt x="978" y="1356"/>
                  </a:lnTo>
                  <a:lnTo>
                    <a:pt x="972" y="1356"/>
                  </a:lnTo>
                  <a:lnTo>
                    <a:pt x="966" y="1356"/>
                  </a:lnTo>
                  <a:lnTo>
                    <a:pt x="966" y="1350"/>
                  </a:lnTo>
                  <a:lnTo>
                    <a:pt x="948" y="1350"/>
                  </a:lnTo>
                  <a:lnTo>
                    <a:pt x="936" y="1344"/>
                  </a:lnTo>
                  <a:lnTo>
                    <a:pt x="930" y="1338"/>
                  </a:lnTo>
                  <a:lnTo>
                    <a:pt x="918" y="1332"/>
                  </a:lnTo>
                  <a:lnTo>
                    <a:pt x="900" y="1326"/>
                  </a:lnTo>
                  <a:lnTo>
                    <a:pt x="864" y="1332"/>
                  </a:lnTo>
                  <a:lnTo>
                    <a:pt x="828" y="1332"/>
                  </a:lnTo>
                  <a:lnTo>
                    <a:pt x="792" y="1314"/>
                  </a:lnTo>
                  <a:lnTo>
                    <a:pt x="780" y="1314"/>
                  </a:lnTo>
                  <a:lnTo>
                    <a:pt x="780" y="1308"/>
                  </a:lnTo>
                  <a:lnTo>
                    <a:pt x="756" y="1296"/>
                  </a:lnTo>
                  <a:lnTo>
                    <a:pt x="756" y="1278"/>
                  </a:lnTo>
                  <a:lnTo>
                    <a:pt x="768" y="1278"/>
                  </a:lnTo>
                  <a:lnTo>
                    <a:pt x="774" y="1272"/>
                  </a:lnTo>
                  <a:lnTo>
                    <a:pt x="780" y="1266"/>
                  </a:lnTo>
                  <a:lnTo>
                    <a:pt x="786" y="1260"/>
                  </a:lnTo>
                  <a:lnTo>
                    <a:pt x="792" y="1254"/>
                  </a:lnTo>
                  <a:lnTo>
                    <a:pt x="798" y="1242"/>
                  </a:lnTo>
                  <a:lnTo>
                    <a:pt x="804" y="1242"/>
                  </a:lnTo>
                  <a:lnTo>
                    <a:pt x="804" y="1206"/>
                  </a:lnTo>
                  <a:lnTo>
                    <a:pt x="804" y="1182"/>
                  </a:lnTo>
                  <a:lnTo>
                    <a:pt x="804" y="1158"/>
                  </a:lnTo>
                  <a:lnTo>
                    <a:pt x="804" y="1134"/>
                  </a:lnTo>
                  <a:lnTo>
                    <a:pt x="798" y="1116"/>
                  </a:lnTo>
                  <a:lnTo>
                    <a:pt x="792" y="1092"/>
                  </a:lnTo>
                  <a:lnTo>
                    <a:pt x="786" y="1062"/>
                  </a:lnTo>
                  <a:lnTo>
                    <a:pt x="768" y="1032"/>
                  </a:lnTo>
                  <a:lnTo>
                    <a:pt x="762" y="1032"/>
                  </a:lnTo>
                  <a:lnTo>
                    <a:pt x="762" y="1020"/>
                  </a:lnTo>
                  <a:lnTo>
                    <a:pt x="762" y="1014"/>
                  </a:lnTo>
                  <a:lnTo>
                    <a:pt x="756" y="1008"/>
                  </a:lnTo>
                  <a:lnTo>
                    <a:pt x="750" y="1002"/>
                  </a:lnTo>
                  <a:lnTo>
                    <a:pt x="738" y="1002"/>
                  </a:lnTo>
                  <a:lnTo>
                    <a:pt x="738" y="990"/>
                  </a:lnTo>
                  <a:lnTo>
                    <a:pt x="726" y="990"/>
                  </a:lnTo>
                  <a:lnTo>
                    <a:pt x="726" y="978"/>
                  </a:lnTo>
                  <a:lnTo>
                    <a:pt x="732" y="972"/>
                  </a:lnTo>
                  <a:lnTo>
                    <a:pt x="732" y="966"/>
                  </a:lnTo>
                  <a:lnTo>
                    <a:pt x="726" y="966"/>
                  </a:lnTo>
                  <a:lnTo>
                    <a:pt x="732" y="948"/>
                  </a:lnTo>
                  <a:lnTo>
                    <a:pt x="726" y="942"/>
                  </a:lnTo>
                  <a:lnTo>
                    <a:pt x="726" y="930"/>
                  </a:lnTo>
                  <a:lnTo>
                    <a:pt x="720" y="924"/>
                  </a:lnTo>
                  <a:lnTo>
                    <a:pt x="714" y="912"/>
                  </a:lnTo>
                  <a:lnTo>
                    <a:pt x="714" y="882"/>
                  </a:lnTo>
                  <a:lnTo>
                    <a:pt x="714" y="870"/>
                  </a:lnTo>
                  <a:lnTo>
                    <a:pt x="714" y="858"/>
                  </a:lnTo>
                  <a:lnTo>
                    <a:pt x="714" y="846"/>
                  </a:lnTo>
                  <a:lnTo>
                    <a:pt x="708" y="822"/>
                  </a:lnTo>
                  <a:lnTo>
                    <a:pt x="702" y="798"/>
                  </a:lnTo>
                  <a:lnTo>
                    <a:pt x="696" y="792"/>
                  </a:lnTo>
                  <a:lnTo>
                    <a:pt x="684" y="726"/>
                  </a:lnTo>
                  <a:lnTo>
                    <a:pt x="678" y="666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66" y="600"/>
                  </a:lnTo>
                  <a:lnTo>
                    <a:pt x="660" y="594"/>
                  </a:lnTo>
                  <a:lnTo>
                    <a:pt x="654" y="594"/>
                  </a:lnTo>
                  <a:lnTo>
                    <a:pt x="636" y="582"/>
                  </a:lnTo>
                  <a:lnTo>
                    <a:pt x="630" y="576"/>
                  </a:lnTo>
                  <a:lnTo>
                    <a:pt x="624" y="576"/>
                  </a:lnTo>
                  <a:lnTo>
                    <a:pt x="618" y="570"/>
                  </a:lnTo>
                  <a:lnTo>
                    <a:pt x="612" y="564"/>
                  </a:lnTo>
                  <a:lnTo>
                    <a:pt x="606" y="558"/>
                  </a:lnTo>
                  <a:lnTo>
                    <a:pt x="606" y="564"/>
                  </a:lnTo>
                  <a:lnTo>
                    <a:pt x="600" y="564"/>
                  </a:lnTo>
                  <a:lnTo>
                    <a:pt x="594" y="558"/>
                  </a:lnTo>
                  <a:lnTo>
                    <a:pt x="594" y="540"/>
                  </a:lnTo>
                  <a:lnTo>
                    <a:pt x="594" y="528"/>
                  </a:lnTo>
                  <a:lnTo>
                    <a:pt x="594" y="516"/>
                  </a:lnTo>
                  <a:lnTo>
                    <a:pt x="594" y="510"/>
                  </a:lnTo>
                  <a:lnTo>
                    <a:pt x="594" y="492"/>
                  </a:lnTo>
                  <a:lnTo>
                    <a:pt x="594" y="456"/>
                  </a:lnTo>
                  <a:lnTo>
                    <a:pt x="588" y="414"/>
                  </a:lnTo>
                  <a:lnTo>
                    <a:pt x="588" y="408"/>
                  </a:lnTo>
                  <a:lnTo>
                    <a:pt x="582" y="396"/>
                  </a:lnTo>
                  <a:lnTo>
                    <a:pt x="582" y="384"/>
                  </a:lnTo>
                  <a:lnTo>
                    <a:pt x="582" y="372"/>
                  </a:lnTo>
                  <a:lnTo>
                    <a:pt x="564" y="372"/>
                  </a:lnTo>
                  <a:lnTo>
                    <a:pt x="552" y="366"/>
                  </a:lnTo>
                  <a:lnTo>
                    <a:pt x="552" y="372"/>
                  </a:lnTo>
                  <a:lnTo>
                    <a:pt x="498" y="372"/>
                  </a:lnTo>
                  <a:lnTo>
                    <a:pt x="498" y="366"/>
                  </a:lnTo>
                  <a:lnTo>
                    <a:pt x="474" y="360"/>
                  </a:lnTo>
                  <a:lnTo>
                    <a:pt x="456" y="354"/>
                  </a:lnTo>
                  <a:lnTo>
                    <a:pt x="438" y="348"/>
                  </a:lnTo>
                  <a:lnTo>
                    <a:pt x="426" y="354"/>
                  </a:lnTo>
                  <a:lnTo>
                    <a:pt x="408" y="360"/>
                  </a:lnTo>
                  <a:lnTo>
                    <a:pt x="378" y="360"/>
                  </a:lnTo>
                  <a:lnTo>
                    <a:pt x="378" y="354"/>
                  </a:lnTo>
                  <a:lnTo>
                    <a:pt x="378" y="348"/>
                  </a:lnTo>
                  <a:lnTo>
                    <a:pt x="378" y="342"/>
                  </a:lnTo>
                  <a:lnTo>
                    <a:pt x="390" y="330"/>
                  </a:lnTo>
                  <a:lnTo>
                    <a:pt x="396" y="312"/>
                  </a:lnTo>
                  <a:lnTo>
                    <a:pt x="396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8"/>
                  </a:lnTo>
                  <a:lnTo>
                    <a:pt x="372" y="234"/>
                  </a:lnTo>
                  <a:lnTo>
                    <a:pt x="354" y="234"/>
                  </a:lnTo>
                  <a:lnTo>
                    <a:pt x="342" y="246"/>
                  </a:lnTo>
                  <a:lnTo>
                    <a:pt x="330" y="252"/>
                  </a:lnTo>
                  <a:lnTo>
                    <a:pt x="318" y="252"/>
                  </a:lnTo>
                  <a:lnTo>
                    <a:pt x="276" y="258"/>
                  </a:lnTo>
                  <a:lnTo>
                    <a:pt x="276" y="264"/>
                  </a:lnTo>
                  <a:lnTo>
                    <a:pt x="252" y="270"/>
                  </a:lnTo>
                  <a:lnTo>
                    <a:pt x="240" y="270"/>
                  </a:lnTo>
                  <a:lnTo>
                    <a:pt x="228" y="276"/>
                  </a:lnTo>
                  <a:lnTo>
                    <a:pt x="210" y="282"/>
                  </a:lnTo>
                  <a:lnTo>
                    <a:pt x="198" y="288"/>
                  </a:lnTo>
                  <a:lnTo>
                    <a:pt x="186" y="294"/>
                  </a:lnTo>
                  <a:lnTo>
                    <a:pt x="174" y="330"/>
                  </a:lnTo>
                  <a:lnTo>
                    <a:pt x="162" y="342"/>
                  </a:lnTo>
                  <a:lnTo>
                    <a:pt x="156" y="354"/>
                  </a:lnTo>
                  <a:lnTo>
                    <a:pt x="150" y="360"/>
                  </a:lnTo>
                  <a:lnTo>
                    <a:pt x="150" y="366"/>
                  </a:lnTo>
                  <a:lnTo>
                    <a:pt x="108" y="372"/>
                  </a:lnTo>
                  <a:lnTo>
                    <a:pt x="60" y="378"/>
                  </a:lnTo>
                  <a:lnTo>
                    <a:pt x="42" y="378"/>
                  </a:lnTo>
                  <a:lnTo>
                    <a:pt x="12" y="378"/>
                  </a:lnTo>
                  <a:lnTo>
                    <a:pt x="6" y="378"/>
                  </a:lnTo>
                  <a:lnTo>
                    <a:pt x="0" y="366"/>
                  </a:lnTo>
                  <a:lnTo>
                    <a:pt x="12" y="360"/>
                  </a:lnTo>
                  <a:lnTo>
                    <a:pt x="24" y="348"/>
                  </a:lnTo>
                  <a:lnTo>
                    <a:pt x="30" y="342"/>
                  </a:lnTo>
                  <a:lnTo>
                    <a:pt x="36" y="330"/>
                  </a:lnTo>
                  <a:lnTo>
                    <a:pt x="72" y="300"/>
                  </a:lnTo>
                  <a:lnTo>
                    <a:pt x="78" y="294"/>
                  </a:lnTo>
                  <a:lnTo>
                    <a:pt x="78" y="288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96" y="270"/>
                  </a:lnTo>
                  <a:lnTo>
                    <a:pt x="102" y="264"/>
                  </a:lnTo>
                  <a:lnTo>
                    <a:pt x="108" y="258"/>
                  </a:lnTo>
                  <a:lnTo>
                    <a:pt x="114" y="246"/>
                  </a:lnTo>
                  <a:lnTo>
                    <a:pt x="120" y="240"/>
                  </a:lnTo>
                  <a:lnTo>
                    <a:pt x="126" y="234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0" y="210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86" y="174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22" y="138"/>
                  </a:lnTo>
                  <a:lnTo>
                    <a:pt x="234" y="132"/>
                  </a:lnTo>
                  <a:lnTo>
                    <a:pt x="246" y="126"/>
                  </a:lnTo>
                  <a:lnTo>
                    <a:pt x="246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88" y="102"/>
                  </a:lnTo>
                  <a:lnTo>
                    <a:pt x="300" y="96"/>
                  </a:lnTo>
                  <a:lnTo>
                    <a:pt x="306" y="90"/>
                  </a:lnTo>
                  <a:lnTo>
                    <a:pt x="318" y="90"/>
                  </a:lnTo>
                  <a:lnTo>
                    <a:pt x="324" y="84"/>
                  </a:lnTo>
                  <a:lnTo>
                    <a:pt x="348" y="72"/>
                  </a:lnTo>
                  <a:lnTo>
                    <a:pt x="354" y="72"/>
                  </a:lnTo>
                  <a:lnTo>
                    <a:pt x="384" y="66"/>
                  </a:lnTo>
                  <a:lnTo>
                    <a:pt x="390" y="66"/>
                  </a:lnTo>
                  <a:lnTo>
                    <a:pt x="396" y="66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66"/>
                  </a:lnTo>
                  <a:lnTo>
                    <a:pt x="438" y="66"/>
                  </a:lnTo>
                  <a:lnTo>
                    <a:pt x="468" y="66"/>
                  </a:lnTo>
                  <a:lnTo>
                    <a:pt x="480" y="66"/>
                  </a:lnTo>
                  <a:lnTo>
                    <a:pt x="486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22" y="60"/>
                  </a:lnTo>
                  <a:lnTo>
                    <a:pt x="534" y="54"/>
                  </a:lnTo>
                  <a:lnTo>
                    <a:pt x="564" y="42"/>
                  </a:lnTo>
                  <a:lnTo>
                    <a:pt x="570" y="42"/>
                  </a:lnTo>
                  <a:lnTo>
                    <a:pt x="582" y="36"/>
                  </a:lnTo>
                  <a:lnTo>
                    <a:pt x="588" y="36"/>
                  </a:lnTo>
                  <a:lnTo>
                    <a:pt x="600" y="30"/>
                  </a:lnTo>
                  <a:lnTo>
                    <a:pt x="606" y="30"/>
                  </a:lnTo>
                  <a:lnTo>
                    <a:pt x="618" y="24"/>
                  </a:lnTo>
                  <a:lnTo>
                    <a:pt x="642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72" y="12"/>
                  </a:lnTo>
                  <a:lnTo>
                    <a:pt x="696" y="12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50" y="6"/>
                  </a:lnTo>
                  <a:lnTo>
                    <a:pt x="768" y="6"/>
                  </a:lnTo>
                  <a:lnTo>
                    <a:pt x="774" y="6"/>
                  </a:lnTo>
                  <a:lnTo>
                    <a:pt x="786" y="6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6" y="6"/>
                  </a:lnTo>
                  <a:lnTo>
                    <a:pt x="846" y="6"/>
                  </a:lnTo>
                  <a:lnTo>
                    <a:pt x="852" y="0"/>
                  </a:lnTo>
                  <a:lnTo>
                    <a:pt x="876" y="0"/>
                  </a:lnTo>
                  <a:lnTo>
                    <a:pt x="876" y="6"/>
                  </a:lnTo>
                  <a:lnTo>
                    <a:pt x="888" y="0"/>
                  </a:lnTo>
                  <a:lnTo>
                    <a:pt x="900" y="0"/>
                  </a:lnTo>
                  <a:lnTo>
                    <a:pt x="906" y="0"/>
                  </a:lnTo>
                  <a:lnTo>
                    <a:pt x="912" y="0"/>
                  </a:lnTo>
                  <a:lnTo>
                    <a:pt x="948" y="0"/>
                  </a:lnTo>
                  <a:lnTo>
                    <a:pt x="954" y="0"/>
                  </a:lnTo>
                  <a:lnTo>
                    <a:pt x="972" y="0"/>
                  </a:lnTo>
                  <a:lnTo>
                    <a:pt x="978" y="0"/>
                  </a:lnTo>
                  <a:lnTo>
                    <a:pt x="996" y="0"/>
                  </a:lnTo>
                  <a:lnTo>
                    <a:pt x="1032" y="0"/>
                  </a:lnTo>
                  <a:lnTo>
                    <a:pt x="1044" y="0"/>
                  </a:lnTo>
                  <a:lnTo>
                    <a:pt x="1050" y="0"/>
                  </a:lnTo>
                  <a:lnTo>
                    <a:pt x="1056" y="6"/>
                  </a:lnTo>
                  <a:lnTo>
                    <a:pt x="1056" y="0"/>
                  </a:lnTo>
                  <a:lnTo>
                    <a:pt x="1074" y="0"/>
                  </a:lnTo>
                  <a:lnTo>
                    <a:pt x="1098" y="6"/>
                  </a:lnTo>
                  <a:lnTo>
                    <a:pt x="1116" y="6"/>
                  </a:lnTo>
                  <a:lnTo>
                    <a:pt x="1140" y="12"/>
                  </a:lnTo>
                  <a:lnTo>
                    <a:pt x="1152" y="12"/>
                  </a:lnTo>
                  <a:lnTo>
                    <a:pt x="1158" y="12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6" y="12"/>
                  </a:lnTo>
                  <a:lnTo>
                    <a:pt x="1194" y="18"/>
                  </a:lnTo>
                  <a:lnTo>
                    <a:pt x="1206" y="18"/>
                  </a:lnTo>
                  <a:lnTo>
                    <a:pt x="1242" y="36"/>
                  </a:lnTo>
                  <a:lnTo>
                    <a:pt x="1248" y="36"/>
                  </a:lnTo>
                  <a:lnTo>
                    <a:pt x="1254" y="36"/>
                  </a:lnTo>
                  <a:lnTo>
                    <a:pt x="1260" y="42"/>
                  </a:lnTo>
                  <a:lnTo>
                    <a:pt x="1272" y="48"/>
                  </a:lnTo>
                  <a:lnTo>
                    <a:pt x="1278" y="48"/>
                  </a:lnTo>
                  <a:lnTo>
                    <a:pt x="1284" y="48"/>
                  </a:lnTo>
                  <a:lnTo>
                    <a:pt x="1290" y="54"/>
                  </a:lnTo>
                  <a:lnTo>
                    <a:pt x="1308" y="60"/>
                  </a:lnTo>
                  <a:lnTo>
                    <a:pt x="1326" y="60"/>
                  </a:lnTo>
                  <a:lnTo>
                    <a:pt x="1338" y="66"/>
                  </a:lnTo>
                  <a:lnTo>
                    <a:pt x="1344" y="66"/>
                  </a:lnTo>
                  <a:lnTo>
                    <a:pt x="1350" y="66"/>
                  </a:lnTo>
                  <a:lnTo>
                    <a:pt x="1356" y="66"/>
                  </a:lnTo>
                  <a:lnTo>
                    <a:pt x="1362" y="72"/>
                  </a:lnTo>
                  <a:lnTo>
                    <a:pt x="1368" y="72"/>
                  </a:lnTo>
                  <a:lnTo>
                    <a:pt x="1380" y="72"/>
                  </a:lnTo>
                  <a:lnTo>
                    <a:pt x="1386" y="72"/>
                  </a:lnTo>
                  <a:lnTo>
                    <a:pt x="1422" y="84"/>
                  </a:lnTo>
                  <a:lnTo>
                    <a:pt x="1428" y="84"/>
                  </a:lnTo>
                  <a:lnTo>
                    <a:pt x="1446" y="90"/>
                  </a:lnTo>
                  <a:lnTo>
                    <a:pt x="1458" y="102"/>
                  </a:lnTo>
                  <a:lnTo>
                    <a:pt x="1494" y="126"/>
                  </a:lnTo>
                  <a:lnTo>
                    <a:pt x="1500" y="132"/>
                  </a:lnTo>
                  <a:lnTo>
                    <a:pt x="1512" y="138"/>
                  </a:lnTo>
                  <a:lnTo>
                    <a:pt x="1512" y="144"/>
                  </a:lnTo>
                  <a:lnTo>
                    <a:pt x="1518" y="150"/>
                  </a:lnTo>
                  <a:lnTo>
                    <a:pt x="1530" y="156"/>
                  </a:lnTo>
                  <a:lnTo>
                    <a:pt x="1530" y="162"/>
                  </a:lnTo>
                  <a:lnTo>
                    <a:pt x="1548" y="168"/>
                  </a:lnTo>
                  <a:lnTo>
                    <a:pt x="1566" y="180"/>
                  </a:lnTo>
                  <a:lnTo>
                    <a:pt x="1578" y="186"/>
                  </a:lnTo>
                  <a:lnTo>
                    <a:pt x="1578" y="180"/>
                  </a:lnTo>
                  <a:lnTo>
                    <a:pt x="1584" y="186"/>
                  </a:lnTo>
                  <a:lnTo>
                    <a:pt x="1584" y="174"/>
                  </a:lnTo>
                  <a:lnTo>
                    <a:pt x="1590" y="174"/>
                  </a:lnTo>
                  <a:lnTo>
                    <a:pt x="1590" y="180"/>
                  </a:lnTo>
                  <a:lnTo>
                    <a:pt x="1596" y="180"/>
                  </a:lnTo>
                  <a:lnTo>
                    <a:pt x="1596" y="174"/>
                  </a:lnTo>
                  <a:lnTo>
                    <a:pt x="1602" y="174"/>
                  </a:lnTo>
                  <a:lnTo>
                    <a:pt x="1608" y="174"/>
                  </a:lnTo>
                  <a:lnTo>
                    <a:pt x="1614" y="180"/>
                  </a:lnTo>
                  <a:lnTo>
                    <a:pt x="1620" y="174"/>
                  </a:lnTo>
                  <a:lnTo>
                    <a:pt x="1614" y="168"/>
                  </a:lnTo>
                  <a:lnTo>
                    <a:pt x="1614" y="162"/>
                  </a:lnTo>
                  <a:lnTo>
                    <a:pt x="1620" y="162"/>
                  </a:lnTo>
                  <a:lnTo>
                    <a:pt x="1626" y="162"/>
                  </a:lnTo>
                  <a:lnTo>
                    <a:pt x="1632" y="162"/>
                  </a:lnTo>
                  <a:lnTo>
                    <a:pt x="1638" y="168"/>
                  </a:lnTo>
                  <a:lnTo>
                    <a:pt x="1644" y="168"/>
                  </a:lnTo>
                  <a:lnTo>
                    <a:pt x="1650" y="174"/>
                  </a:lnTo>
                  <a:lnTo>
                    <a:pt x="1656" y="168"/>
                  </a:lnTo>
                  <a:lnTo>
                    <a:pt x="1668" y="168"/>
                  </a:lnTo>
                  <a:lnTo>
                    <a:pt x="1674" y="174"/>
                  </a:lnTo>
                  <a:lnTo>
                    <a:pt x="1674" y="180"/>
                  </a:lnTo>
                  <a:lnTo>
                    <a:pt x="1674" y="186"/>
                  </a:lnTo>
                  <a:lnTo>
                    <a:pt x="1680" y="186"/>
                  </a:lnTo>
                  <a:lnTo>
                    <a:pt x="1680" y="192"/>
                  </a:lnTo>
                  <a:lnTo>
                    <a:pt x="1686" y="192"/>
                  </a:lnTo>
                  <a:lnTo>
                    <a:pt x="1686" y="186"/>
                  </a:lnTo>
                  <a:lnTo>
                    <a:pt x="1680" y="186"/>
                  </a:lnTo>
                  <a:lnTo>
                    <a:pt x="1686" y="180"/>
                  </a:lnTo>
                  <a:lnTo>
                    <a:pt x="1692" y="180"/>
                  </a:lnTo>
                  <a:lnTo>
                    <a:pt x="1698" y="180"/>
                  </a:lnTo>
                  <a:lnTo>
                    <a:pt x="1704" y="180"/>
                  </a:lnTo>
                  <a:lnTo>
                    <a:pt x="1704" y="186"/>
                  </a:lnTo>
                  <a:lnTo>
                    <a:pt x="1710" y="186"/>
                  </a:lnTo>
                  <a:lnTo>
                    <a:pt x="1716" y="186"/>
                  </a:lnTo>
                  <a:lnTo>
                    <a:pt x="1716" y="192"/>
                  </a:lnTo>
                  <a:lnTo>
                    <a:pt x="1716" y="198"/>
                  </a:lnTo>
                  <a:lnTo>
                    <a:pt x="1722" y="192"/>
                  </a:lnTo>
                  <a:lnTo>
                    <a:pt x="1722" y="186"/>
                  </a:lnTo>
                  <a:lnTo>
                    <a:pt x="1728" y="192"/>
                  </a:lnTo>
                  <a:lnTo>
                    <a:pt x="1734" y="192"/>
                  </a:lnTo>
                  <a:lnTo>
                    <a:pt x="1734" y="186"/>
                  </a:lnTo>
                  <a:lnTo>
                    <a:pt x="1740" y="186"/>
                  </a:lnTo>
                  <a:lnTo>
                    <a:pt x="1740" y="192"/>
                  </a:lnTo>
                  <a:lnTo>
                    <a:pt x="1746" y="192"/>
                  </a:lnTo>
                  <a:lnTo>
                    <a:pt x="1758" y="192"/>
                  </a:lnTo>
                  <a:lnTo>
                    <a:pt x="1764" y="192"/>
                  </a:lnTo>
                  <a:lnTo>
                    <a:pt x="1764" y="198"/>
                  </a:lnTo>
                  <a:lnTo>
                    <a:pt x="1758" y="204"/>
                  </a:lnTo>
                  <a:lnTo>
                    <a:pt x="1752" y="210"/>
                  </a:lnTo>
                  <a:lnTo>
                    <a:pt x="1746" y="216"/>
                  </a:lnTo>
                  <a:lnTo>
                    <a:pt x="1746" y="222"/>
                  </a:lnTo>
                  <a:lnTo>
                    <a:pt x="1734" y="228"/>
                  </a:lnTo>
                  <a:lnTo>
                    <a:pt x="1734" y="234"/>
                  </a:lnTo>
                  <a:lnTo>
                    <a:pt x="1734" y="258"/>
                  </a:lnTo>
                  <a:lnTo>
                    <a:pt x="1740" y="330"/>
                  </a:lnTo>
                  <a:lnTo>
                    <a:pt x="1746" y="372"/>
                  </a:lnTo>
                  <a:lnTo>
                    <a:pt x="1788" y="426"/>
                  </a:lnTo>
                  <a:lnTo>
                    <a:pt x="1806" y="438"/>
                  </a:lnTo>
                  <a:lnTo>
                    <a:pt x="1794" y="480"/>
                  </a:lnTo>
                  <a:lnTo>
                    <a:pt x="1770" y="516"/>
                  </a:lnTo>
                  <a:lnTo>
                    <a:pt x="1746" y="546"/>
                  </a:lnTo>
                  <a:lnTo>
                    <a:pt x="1716" y="570"/>
                  </a:lnTo>
                  <a:lnTo>
                    <a:pt x="1680" y="594"/>
                  </a:lnTo>
                  <a:lnTo>
                    <a:pt x="1668" y="630"/>
                  </a:lnTo>
                  <a:lnTo>
                    <a:pt x="1680" y="684"/>
                  </a:lnTo>
                  <a:lnTo>
                    <a:pt x="1686" y="756"/>
                  </a:lnTo>
                  <a:lnTo>
                    <a:pt x="1662" y="870"/>
                  </a:lnTo>
                  <a:lnTo>
                    <a:pt x="1656" y="888"/>
                  </a:lnTo>
                  <a:lnTo>
                    <a:pt x="1650" y="972"/>
                  </a:lnTo>
                  <a:lnTo>
                    <a:pt x="1656" y="978"/>
                  </a:lnTo>
                  <a:lnTo>
                    <a:pt x="1650" y="984"/>
                  </a:lnTo>
                  <a:lnTo>
                    <a:pt x="1650" y="990"/>
                  </a:lnTo>
                  <a:lnTo>
                    <a:pt x="1650" y="1002"/>
                  </a:lnTo>
                  <a:lnTo>
                    <a:pt x="1656" y="1008"/>
                  </a:lnTo>
                  <a:lnTo>
                    <a:pt x="1656" y="1014"/>
                  </a:lnTo>
                  <a:lnTo>
                    <a:pt x="1662" y="1026"/>
                  </a:lnTo>
                  <a:lnTo>
                    <a:pt x="1650" y="1032"/>
                  </a:lnTo>
                  <a:lnTo>
                    <a:pt x="1638" y="1044"/>
                  </a:lnTo>
                  <a:lnTo>
                    <a:pt x="1626" y="1080"/>
                  </a:lnTo>
                  <a:lnTo>
                    <a:pt x="1614" y="1116"/>
                  </a:lnTo>
                  <a:lnTo>
                    <a:pt x="1614" y="1128"/>
                  </a:lnTo>
                  <a:lnTo>
                    <a:pt x="1626" y="1134"/>
                  </a:lnTo>
                  <a:lnTo>
                    <a:pt x="1644" y="1134"/>
                  </a:lnTo>
                  <a:lnTo>
                    <a:pt x="1662" y="1134"/>
                  </a:lnTo>
                  <a:lnTo>
                    <a:pt x="1680" y="1140"/>
                  </a:lnTo>
                  <a:lnTo>
                    <a:pt x="1698" y="1170"/>
                  </a:lnTo>
                  <a:lnTo>
                    <a:pt x="1704" y="1194"/>
                  </a:lnTo>
                  <a:lnTo>
                    <a:pt x="1692" y="1206"/>
                  </a:lnTo>
                  <a:lnTo>
                    <a:pt x="1662" y="1242"/>
                  </a:lnTo>
                  <a:lnTo>
                    <a:pt x="1632" y="1266"/>
                  </a:lnTo>
                  <a:lnTo>
                    <a:pt x="1620" y="1314"/>
                  </a:lnTo>
                  <a:lnTo>
                    <a:pt x="1584" y="1356"/>
                  </a:lnTo>
                  <a:lnTo>
                    <a:pt x="1578" y="1356"/>
                  </a:lnTo>
                  <a:lnTo>
                    <a:pt x="1578" y="1362"/>
                  </a:lnTo>
                  <a:lnTo>
                    <a:pt x="1572" y="1410"/>
                  </a:lnTo>
                  <a:lnTo>
                    <a:pt x="1584" y="1452"/>
                  </a:lnTo>
                  <a:lnTo>
                    <a:pt x="1608" y="1476"/>
                  </a:lnTo>
                  <a:lnTo>
                    <a:pt x="1596" y="1476"/>
                  </a:lnTo>
                  <a:lnTo>
                    <a:pt x="1584" y="1482"/>
                  </a:lnTo>
                  <a:lnTo>
                    <a:pt x="1560" y="1482"/>
                  </a:lnTo>
                  <a:lnTo>
                    <a:pt x="1536" y="1482"/>
                  </a:lnTo>
                  <a:lnTo>
                    <a:pt x="1524" y="1482"/>
                  </a:lnTo>
                  <a:lnTo>
                    <a:pt x="1506" y="1500"/>
                  </a:lnTo>
                  <a:lnTo>
                    <a:pt x="1482" y="1530"/>
                  </a:lnTo>
                  <a:lnTo>
                    <a:pt x="1452" y="1542"/>
                  </a:lnTo>
                  <a:lnTo>
                    <a:pt x="1446" y="1542"/>
                  </a:lnTo>
                  <a:lnTo>
                    <a:pt x="1440" y="1542"/>
                  </a:lnTo>
                  <a:lnTo>
                    <a:pt x="1440" y="1548"/>
                  </a:lnTo>
                  <a:lnTo>
                    <a:pt x="1434" y="1548"/>
                  </a:lnTo>
                  <a:lnTo>
                    <a:pt x="1428" y="1548"/>
                  </a:lnTo>
                  <a:lnTo>
                    <a:pt x="1428" y="1554"/>
                  </a:lnTo>
                  <a:lnTo>
                    <a:pt x="1422" y="1560"/>
                  </a:lnTo>
                  <a:lnTo>
                    <a:pt x="1416" y="1560"/>
                  </a:lnTo>
                  <a:lnTo>
                    <a:pt x="1410" y="1566"/>
                  </a:lnTo>
                  <a:lnTo>
                    <a:pt x="1410" y="1560"/>
                  </a:lnTo>
                  <a:lnTo>
                    <a:pt x="1404" y="1560"/>
                  </a:lnTo>
                  <a:lnTo>
                    <a:pt x="1392" y="1560"/>
                  </a:lnTo>
                  <a:lnTo>
                    <a:pt x="1386" y="1560"/>
                  </a:lnTo>
                  <a:lnTo>
                    <a:pt x="1380" y="1566"/>
                  </a:lnTo>
                  <a:lnTo>
                    <a:pt x="1374" y="1560"/>
                  </a:lnTo>
                  <a:lnTo>
                    <a:pt x="1368" y="1566"/>
                  </a:lnTo>
                  <a:lnTo>
                    <a:pt x="1362" y="1566"/>
                  </a:lnTo>
                  <a:lnTo>
                    <a:pt x="1362" y="1572"/>
                  </a:lnTo>
                  <a:lnTo>
                    <a:pt x="1356" y="1572"/>
                  </a:lnTo>
                  <a:lnTo>
                    <a:pt x="1356" y="1578"/>
                  </a:lnTo>
                  <a:lnTo>
                    <a:pt x="1350" y="1578"/>
                  </a:lnTo>
                  <a:lnTo>
                    <a:pt x="1350" y="1572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32" y="1584"/>
                  </a:lnTo>
                  <a:lnTo>
                    <a:pt x="1326" y="1590"/>
                  </a:lnTo>
                  <a:lnTo>
                    <a:pt x="1320" y="1584"/>
                  </a:lnTo>
                  <a:lnTo>
                    <a:pt x="1314" y="1590"/>
                  </a:lnTo>
                  <a:lnTo>
                    <a:pt x="1308" y="1596"/>
                  </a:lnTo>
                  <a:lnTo>
                    <a:pt x="1302" y="1596"/>
                  </a:lnTo>
                  <a:lnTo>
                    <a:pt x="1296" y="1596"/>
                  </a:lnTo>
                  <a:lnTo>
                    <a:pt x="1290" y="1596"/>
                  </a:lnTo>
                  <a:lnTo>
                    <a:pt x="1284" y="1596"/>
                  </a:lnTo>
                  <a:lnTo>
                    <a:pt x="1278" y="1602"/>
                  </a:lnTo>
                  <a:lnTo>
                    <a:pt x="1266" y="1602"/>
                  </a:lnTo>
                  <a:lnTo>
                    <a:pt x="1272" y="1608"/>
                  </a:lnTo>
                  <a:lnTo>
                    <a:pt x="1278" y="1608"/>
                  </a:lnTo>
                  <a:lnTo>
                    <a:pt x="1284" y="1608"/>
                  </a:lnTo>
                  <a:lnTo>
                    <a:pt x="1290" y="1614"/>
                  </a:lnTo>
                  <a:lnTo>
                    <a:pt x="1296" y="1620"/>
                  </a:lnTo>
                  <a:lnTo>
                    <a:pt x="1302" y="1626"/>
                  </a:lnTo>
                  <a:lnTo>
                    <a:pt x="1308" y="1632"/>
                  </a:lnTo>
                  <a:lnTo>
                    <a:pt x="1314" y="1638"/>
                  </a:lnTo>
                  <a:lnTo>
                    <a:pt x="1314" y="1644"/>
                  </a:lnTo>
                  <a:lnTo>
                    <a:pt x="1320" y="1644"/>
                  </a:lnTo>
                  <a:lnTo>
                    <a:pt x="1320" y="1650"/>
                  </a:lnTo>
                  <a:lnTo>
                    <a:pt x="1326" y="1656"/>
                  </a:lnTo>
                  <a:lnTo>
                    <a:pt x="1332" y="1668"/>
                  </a:lnTo>
                  <a:lnTo>
                    <a:pt x="1338" y="1680"/>
                  </a:lnTo>
                  <a:lnTo>
                    <a:pt x="1338" y="1698"/>
                  </a:lnTo>
                  <a:lnTo>
                    <a:pt x="1350" y="1710"/>
                  </a:lnTo>
                  <a:lnTo>
                    <a:pt x="1350" y="1716"/>
                  </a:lnTo>
                  <a:lnTo>
                    <a:pt x="1350" y="1722"/>
                  </a:lnTo>
                  <a:lnTo>
                    <a:pt x="1350" y="1728"/>
                  </a:lnTo>
                  <a:lnTo>
                    <a:pt x="1356" y="1728"/>
                  </a:lnTo>
                  <a:lnTo>
                    <a:pt x="1356" y="1734"/>
                  </a:lnTo>
                  <a:lnTo>
                    <a:pt x="1350" y="1734"/>
                  </a:lnTo>
                  <a:lnTo>
                    <a:pt x="1344" y="1740"/>
                  </a:lnTo>
                  <a:lnTo>
                    <a:pt x="1338" y="1740"/>
                  </a:lnTo>
                  <a:lnTo>
                    <a:pt x="1332" y="1746"/>
                  </a:lnTo>
                  <a:lnTo>
                    <a:pt x="1326" y="1746"/>
                  </a:lnTo>
                  <a:lnTo>
                    <a:pt x="1326" y="1752"/>
                  </a:lnTo>
                  <a:lnTo>
                    <a:pt x="1320" y="1752"/>
                  </a:lnTo>
                  <a:lnTo>
                    <a:pt x="1320" y="1758"/>
                  </a:lnTo>
                  <a:lnTo>
                    <a:pt x="1314" y="1758"/>
                  </a:lnTo>
                  <a:lnTo>
                    <a:pt x="1308" y="1758"/>
                  </a:lnTo>
                  <a:lnTo>
                    <a:pt x="1302" y="1758"/>
                  </a:lnTo>
                  <a:lnTo>
                    <a:pt x="1296" y="1758"/>
                  </a:lnTo>
                  <a:lnTo>
                    <a:pt x="1290" y="1764"/>
                  </a:lnTo>
                  <a:lnTo>
                    <a:pt x="1284" y="1770"/>
                  </a:lnTo>
                  <a:lnTo>
                    <a:pt x="1278" y="1770"/>
                  </a:lnTo>
                  <a:lnTo>
                    <a:pt x="1272" y="1770"/>
                  </a:lnTo>
                  <a:lnTo>
                    <a:pt x="1266" y="1770"/>
                  </a:lnTo>
                  <a:lnTo>
                    <a:pt x="1266" y="1776"/>
                  </a:lnTo>
                  <a:lnTo>
                    <a:pt x="1260" y="1776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4" name="Freeform 39">
              <a:extLst>
                <a:ext uri="{FF2B5EF4-FFF2-40B4-BE49-F238E27FC236}">
                  <a16:creationId xmlns:a16="http://schemas.microsoft.com/office/drawing/2014/main" id="{E01CDA8B-32C7-421A-B23E-968CAC7F78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2974" y="1759680"/>
              <a:ext cx="825155" cy="700024"/>
            </a:xfrm>
            <a:custGeom>
              <a:avLst/>
              <a:gdLst>
                <a:gd name="T0" fmla="*/ 60 w 1554"/>
                <a:gd name="T1" fmla="*/ 86 h 1320"/>
                <a:gd name="T2" fmla="*/ 66 w 1554"/>
                <a:gd name="T3" fmla="*/ 80 h 1320"/>
                <a:gd name="T4" fmla="*/ 61 w 1554"/>
                <a:gd name="T5" fmla="*/ 73 h 1320"/>
                <a:gd name="T6" fmla="*/ 57 w 1554"/>
                <a:gd name="T7" fmla="*/ 67 h 1320"/>
                <a:gd name="T8" fmla="*/ 60 w 1554"/>
                <a:gd name="T9" fmla="*/ 59 h 1320"/>
                <a:gd name="T10" fmla="*/ 56 w 1554"/>
                <a:gd name="T11" fmla="*/ 55 h 1320"/>
                <a:gd name="T12" fmla="*/ 45 w 1554"/>
                <a:gd name="T13" fmla="*/ 53 h 1320"/>
                <a:gd name="T14" fmla="*/ 42 w 1554"/>
                <a:gd name="T15" fmla="*/ 41 h 1320"/>
                <a:gd name="T16" fmla="*/ 37 w 1554"/>
                <a:gd name="T17" fmla="*/ 39 h 1320"/>
                <a:gd name="T18" fmla="*/ 31 w 1554"/>
                <a:gd name="T19" fmla="*/ 44 h 1320"/>
                <a:gd name="T20" fmla="*/ 37 w 1554"/>
                <a:gd name="T21" fmla="*/ 35 h 1320"/>
                <a:gd name="T22" fmla="*/ 30 w 1554"/>
                <a:gd name="T23" fmla="*/ 23 h 1320"/>
                <a:gd name="T24" fmla="*/ 21 w 1554"/>
                <a:gd name="T25" fmla="*/ 23 h 1320"/>
                <a:gd name="T26" fmla="*/ 15 w 1554"/>
                <a:gd name="T27" fmla="*/ 27 h 1320"/>
                <a:gd name="T28" fmla="*/ 11 w 1554"/>
                <a:gd name="T29" fmla="*/ 32 h 1320"/>
                <a:gd name="T30" fmla="*/ 6 w 1554"/>
                <a:gd name="T31" fmla="*/ 22 h 1320"/>
                <a:gd name="T32" fmla="*/ 3 w 1554"/>
                <a:gd name="T33" fmla="*/ 11 h 1320"/>
                <a:gd name="T34" fmla="*/ 24 w 1554"/>
                <a:gd name="T35" fmla="*/ 12 h 1320"/>
                <a:gd name="T36" fmla="*/ 33 w 1554"/>
                <a:gd name="T37" fmla="*/ 19 h 1320"/>
                <a:gd name="T38" fmla="*/ 49 w 1554"/>
                <a:gd name="T39" fmla="*/ 12 h 1320"/>
                <a:gd name="T40" fmla="*/ 58 w 1554"/>
                <a:gd name="T41" fmla="*/ 10 h 1320"/>
                <a:gd name="T42" fmla="*/ 68 w 1554"/>
                <a:gd name="T43" fmla="*/ 11 h 1320"/>
                <a:gd name="T44" fmla="*/ 79 w 1554"/>
                <a:gd name="T45" fmla="*/ 12 h 1320"/>
                <a:gd name="T46" fmla="*/ 96 w 1554"/>
                <a:gd name="T47" fmla="*/ 11 h 1320"/>
                <a:gd name="T48" fmla="*/ 107 w 1554"/>
                <a:gd name="T49" fmla="*/ 2 h 1320"/>
                <a:gd name="T50" fmla="*/ 117 w 1554"/>
                <a:gd name="T51" fmla="*/ 8 h 1320"/>
                <a:gd name="T52" fmla="*/ 126 w 1554"/>
                <a:gd name="T53" fmla="*/ 12 h 1320"/>
                <a:gd name="T54" fmla="*/ 134 w 1554"/>
                <a:gd name="T55" fmla="*/ 24 h 1320"/>
                <a:gd name="T56" fmla="*/ 133 w 1554"/>
                <a:gd name="T57" fmla="*/ 29 h 1320"/>
                <a:gd name="T58" fmla="*/ 129 w 1554"/>
                <a:gd name="T59" fmla="*/ 31 h 1320"/>
                <a:gd name="T60" fmla="*/ 125 w 1554"/>
                <a:gd name="T61" fmla="*/ 32 h 1320"/>
                <a:gd name="T62" fmla="*/ 115 w 1554"/>
                <a:gd name="T63" fmla="*/ 34 h 1320"/>
                <a:gd name="T64" fmla="*/ 113 w 1554"/>
                <a:gd name="T65" fmla="*/ 44 h 1320"/>
                <a:gd name="T66" fmla="*/ 111 w 1554"/>
                <a:gd name="T67" fmla="*/ 54 h 1320"/>
                <a:gd name="T68" fmla="*/ 107 w 1554"/>
                <a:gd name="T69" fmla="*/ 56 h 1320"/>
                <a:gd name="T70" fmla="*/ 102 w 1554"/>
                <a:gd name="T71" fmla="*/ 58 h 1320"/>
                <a:gd name="T72" fmla="*/ 99 w 1554"/>
                <a:gd name="T73" fmla="*/ 60 h 1320"/>
                <a:gd name="T74" fmla="*/ 93 w 1554"/>
                <a:gd name="T75" fmla="*/ 62 h 1320"/>
                <a:gd name="T76" fmla="*/ 87 w 1554"/>
                <a:gd name="T77" fmla="*/ 64 h 1320"/>
                <a:gd name="T78" fmla="*/ 84 w 1554"/>
                <a:gd name="T79" fmla="*/ 65 h 1320"/>
                <a:gd name="T80" fmla="*/ 81 w 1554"/>
                <a:gd name="T81" fmla="*/ 69 h 1320"/>
                <a:gd name="T82" fmla="*/ 83 w 1554"/>
                <a:gd name="T83" fmla="*/ 72 h 1320"/>
                <a:gd name="T84" fmla="*/ 92 w 1554"/>
                <a:gd name="T85" fmla="*/ 73 h 1320"/>
                <a:gd name="T86" fmla="*/ 93 w 1554"/>
                <a:gd name="T87" fmla="*/ 87 h 1320"/>
                <a:gd name="T88" fmla="*/ 104 w 1554"/>
                <a:gd name="T89" fmla="*/ 98 h 1320"/>
                <a:gd name="T90" fmla="*/ 108 w 1554"/>
                <a:gd name="T91" fmla="*/ 98 h 1320"/>
                <a:gd name="T92" fmla="*/ 112 w 1554"/>
                <a:gd name="T93" fmla="*/ 100 h 1320"/>
                <a:gd name="T94" fmla="*/ 118 w 1554"/>
                <a:gd name="T95" fmla="*/ 100 h 1320"/>
                <a:gd name="T96" fmla="*/ 122 w 1554"/>
                <a:gd name="T97" fmla="*/ 102 h 1320"/>
                <a:gd name="T98" fmla="*/ 118 w 1554"/>
                <a:gd name="T99" fmla="*/ 105 h 1320"/>
                <a:gd name="T100" fmla="*/ 114 w 1554"/>
                <a:gd name="T101" fmla="*/ 107 h 1320"/>
                <a:gd name="T102" fmla="*/ 113 w 1554"/>
                <a:gd name="T103" fmla="*/ 113 h 1320"/>
                <a:gd name="T104" fmla="*/ 104 w 1554"/>
                <a:gd name="T105" fmla="*/ 113 h 1320"/>
                <a:gd name="T106" fmla="*/ 93 w 1554"/>
                <a:gd name="T107" fmla="*/ 109 h 1320"/>
                <a:gd name="T108" fmla="*/ 96 w 1554"/>
                <a:gd name="T109" fmla="*/ 103 h 1320"/>
                <a:gd name="T110" fmla="*/ 95 w 1554"/>
                <a:gd name="T111" fmla="*/ 97 h 1320"/>
                <a:gd name="T112" fmla="*/ 87 w 1554"/>
                <a:gd name="T113" fmla="*/ 98 h 1320"/>
                <a:gd name="T114" fmla="*/ 81 w 1554"/>
                <a:gd name="T115" fmla="*/ 98 h 1320"/>
                <a:gd name="T116" fmla="*/ 78 w 1554"/>
                <a:gd name="T117" fmla="*/ 93 h 1320"/>
                <a:gd name="T118" fmla="*/ 65 w 1554"/>
                <a:gd name="T119" fmla="*/ 92 h 1320"/>
                <a:gd name="T120" fmla="*/ 59 w 1554"/>
                <a:gd name="T121" fmla="*/ 92 h 13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54"/>
                <a:gd name="T184" fmla="*/ 0 h 1320"/>
                <a:gd name="T185" fmla="*/ 1554 w 1554"/>
                <a:gd name="T186" fmla="*/ 1320 h 132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54" h="1320">
                  <a:moveTo>
                    <a:pt x="684" y="1068"/>
                  </a:moveTo>
                  <a:lnTo>
                    <a:pt x="684" y="1062"/>
                  </a:lnTo>
                  <a:lnTo>
                    <a:pt x="690" y="1056"/>
                  </a:lnTo>
                  <a:lnTo>
                    <a:pt x="690" y="1050"/>
                  </a:lnTo>
                  <a:lnTo>
                    <a:pt x="690" y="1044"/>
                  </a:lnTo>
                  <a:lnTo>
                    <a:pt x="690" y="1038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14"/>
                  </a:lnTo>
                  <a:lnTo>
                    <a:pt x="690" y="1008"/>
                  </a:lnTo>
                  <a:lnTo>
                    <a:pt x="696" y="996"/>
                  </a:lnTo>
                  <a:lnTo>
                    <a:pt x="714" y="996"/>
                  </a:lnTo>
                  <a:lnTo>
                    <a:pt x="714" y="990"/>
                  </a:lnTo>
                  <a:lnTo>
                    <a:pt x="732" y="984"/>
                  </a:lnTo>
                  <a:lnTo>
                    <a:pt x="744" y="978"/>
                  </a:lnTo>
                  <a:lnTo>
                    <a:pt x="762" y="966"/>
                  </a:lnTo>
                  <a:lnTo>
                    <a:pt x="762" y="960"/>
                  </a:lnTo>
                  <a:lnTo>
                    <a:pt x="768" y="954"/>
                  </a:lnTo>
                  <a:lnTo>
                    <a:pt x="774" y="948"/>
                  </a:lnTo>
                  <a:lnTo>
                    <a:pt x="774" y="942"/>
                  </a:lnTo>
                  <a:lnTo>
                    <a:pt x="774" y="924"/>
                  </a:lnTo>
                  <a:lnTo>
                    <a:pt x="768" y="918"/>
                  </a:lnTo>
                  <a:lnTo>
                    <a:pt x="756" y="918"/>
                  </a:lnTo>
                  <a:lnTo>
                    <a:pt x="744" y="918"/>
                  </a:lnTo>
                  <a:lnTo>
                    <a:pt x="732" y="924"/>
                  </a:lnTo>
                  <a:lnTo>
                    <a:pt x="726" y="912"/>
                  </a:lnTo>
                  <a:lnTo>
                    <a:pt x="720" y="912"/>
                  </a:lnTo>
                  <a:lnTo>
                    <a:pt x="720" y="900"/>
                  </a:lnTo>
                  <a:lnTo>
                    <a:pt x="720" y="870"/>
                  </a:lnTo>
                  <a:lnTo>
                    <a:pt x="696" y="876"/>
                  </a:lnTo>
                  <a:lnTo>
                    <a:pt x="690" y="852"/>
                  </a:lnTo>
                  <a:lnTo>
                    <a:pt x="702" y="852"/>
                  </a:lnTo>
                  <a:lnTo>
                    <a:pt x="702" y="840"/>
                  </a:lnTo>
                  <a:lnTo>
                    <a:pt x="708" y="834"/>
                  </a:lnTo>
                  <a:lnTo>
                    <a:pt x="702" y="822"/>
                  </a:lnTo>
                  <a:lnTo>
                    <a:pt x="660" y="822"/>
                  </a:lnTo>
                  <a:lnTo>
                    <a:pt x="654" y="822"/>
                  </a:lnTo>
                  <a:lnTo>
                    <a:pt x="642" y="822"/>
                  </a:lnTo>
                  <a:lnTo>
                    <a:pt x="642" y="810"/>
                  </a:lnTo>
                  <a:lnTo>
                    <a:pt x="642" y="798"/>
                  </a:lnTo>
                  <a:lnTo>
                    <a:pt x="642" y="792"/>
                  </a:lnTo>
                  <a:lnTo>
                    <a:pt x="648" y="780"/>
                  </a:lnTo>
                  <a:lnTo>
                    <a:pt x="654" y="774"/>
                  </a:lnTo>
                  <a:lnTo>
                    <a:pt x="660" y="774"/>
                  </a:lnTo>
                  <a:lnTo>
                    <a:pt x="672" y="762"/>
                  </a:lnTo>
                  <a:lnTo>
                    <a:pt x="672" y="756"/>
                  </a:lnTo>
                  <a:lnTo>
                    <a:pt x="678" y="750"/>
                  </a:lnTo>
                  <a:lnTo>
                    <a:pt x="684" y="750"/>
                  </a:lnTo>
                  <a:lnTo>
                    <a:pt x="690" y="744"/>
                  </a:lnTo>
                  <a:lnTo>
                    <a:pt x="696" y="732"/>
                  </a:lnTo>
                  <a:lnTo>
                    <a:pt x="696" y="726"/>
                  </a:lnTo>
                  <a:lnTo>
                    <a:pt x="702" y="714"/>
                  </a:lnTo>
                  <a:lnTo>
                    <a:pt x="696" y="708"/>
                  </a:lnTo>
                  <a:lnTo>
                    <a:pt x="690" y="690"/>
                  </a:lnTo>
                  <a:lnTo>
                    <a:pt x="696" y="678"/>
                  </a:lnTo>
                  <a:lnTo>
                    <a:pt x="708" y="672"/>
                  </a:lnTo>
                  <a:lnTo>
                    <a:pt x="708" y="660"/>
                  </a:lnTo>
                  <a:lnTo>
                    <a:pt x="702" y="660"/>
                  </a:lnTo>
                  <a:lnTo>
                    <a:pt x="696" y="660"/>
                  </a:lnTo>
                  <a:lnTo>
                    <a:pt x="690" y="654"/>
                  </a:lnTo>
                  <a:lnTo>
                    <a:pt x="684" y="654"/>
                  </a:lnTo>
                  <a:lnTo>
                    <a:pt x="690" y="606"/>
                  </a:lnTo>
                  <a:lnTo>
                    <a:pt x="660" y="606"/>
                  </a:lnTo>
                  <a:lnTo>
                    <a:pt x="660" y="612"/>
                  </a:lnTo>
                  <a:lnTo>
                    <a:pt x="648" y="612"/>
                  </a:lnTo>
                  <a:lnTo>
                    <a:pt x="642" y="636"/>
                  </a:lnTo>
                  <a:lnTo>
                    <a:pt x="636" y="636"/>
                  </a:lnTo>
                  <a:lnTo>
                    <a:pt x="630" y="648"/>
                  </a:lnTo>
                  <a:lnTo>
                    <a:pt x="612" y="648"/>
                  </a:lnTo>
                  <a:lnTo>
                    <a:pt x="606" y="636"/>
                  </a:lnTo>
                  <a:lnTo>
                    <a:pt x="600" y="630"/>
                  </a:lnTo>
                  <a:lnTo>
                    <a:pt x="588" y="606"/>
                  </a:lnTo>
                  <a:lnTo>
                    <a:pt x="552" y="606"/>
                  </a:lnTo>
                  <a:lnTo>
                    <a:pt x="552" y="612"/>
                  </a:lnTo>
                  <a:lnTo>
                    <a:pt x="540" y="612"/>
                  </a:lnTo>
                  <a:lnTo>
                    <a:pt x="540" y="606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16" y="612"/>
                  </a:lnTo>
                  <a:lnTo>
                    <a:pt x="516" y="582"/>
                  </a:lnTo>
                  <a:lnTo>
                    <a:pt x="522" y="576"/>
                  </a:lnTo>
                  <a:lnTo>
                    <a:pt x="528" y="576"/>
                  </a:lnTo>
                  <a:lnTo>
                    <a:pt x="528" y="552"/>
                  </a:lnTo>
                  <a:lnTo>
                    <a:pt x="522" y="540"/>
                  </a:lnTo>
                  <a:lnTo>
                    <a:pt x="510" y="528"/>
                  </a:lnTo>
                  <a:lnTo>
                    <a:pt x="486" y="510"/>
                  </a:lnTo>
                  <a:lnTo>
                    <a:pt x="480" y="498"/>
                  </a:lnTo>
                  <a:lnTo>
                    <a:pt x="480" y="474"/>
                  </a:lnTo>
                  <a:lnTo>
                    <a:pt x="492" y="468"/>
                  </a:lnTo>
                  <a:lnTo>
                    <a:pt x="486" y="450"/>
                  </a:lnTo>
                  <a:lnTo>
                    <a:pt x="474" y="456"/>
                  </a:lnTo>
                  <a:lnTo>
                    <a:pt x="468" y="456"/>
                  </a:lnTo>
                  <a:lnTo>
                    <a:pt x="462" y="456"/>
                  </a:lnTo>
                  <a:lnTo>
                    <a:pt x="456" y="468"/>
                  </a:lnTo>
                  <a:lnTo>
                    <a:pt x="456" y="474"/>
                  </a:lnTo>
                  <a:lnTo>
                    <a:pt x="450" y="480"/>
                  </a:lnTo>
                  <a:lnTo>
                    <a:pt x="444" y="450"/>
                  </a:lnTo>
                  <a:lnTo>
                    <a:pt x="438" y="450"/>
                  </a:lnTo>
                  <a:lnTo>
                    <a:pt x="432" y="450"/>
                  </a:lnTo>
                  <a:lnTo>
                    <a:pt x="420" y="450"/>
                  </a:lnTo>
                  <a:lnTo>
                    <a:pt x="420" y="456"/>
                  </a:lnTo>
                  <a:lnTo>
                    <a:pt x="414" y="456"/>
                  </a:lnTo>
                  <a:lnTo>
                    <a:pt x="408" y="468"/>
                  </a:lnTo>
                  <a:lnTo>
                    <a:pt x="402" y="468"/>
                  </a:lnTo>
                  <a:lnTo>
                    <a:pt x="396" y="474"/>
                  </a:lnTo>
                  <a:lnTo>
                    <a:pt x="390" y="492"/>
                  </a:lnTo>
                  <a:lnTo>
                    <a:pt x="384" y="504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54" y="510"/>
                  </a:lnTo>
                  <a:lnTo>
                    <a:pt x="360" y="480"/>
                  </a:lnTo>
                  <a:lnTo>
                    <a:pt x="360" y="474"/>
                  </a:lnTo>
                  <a:lnTo>
                    <a:pt x="378" y="456"/>
                  </a:lnTo>
                  <a:lnTo>
                    <a:pt x="384" y="450"/>
                  </a:lnTo>
                  <a:lnTo>
                    <a:pt x="396" y="444"/>
                  </a:lnTo>
                  <a:lnTo>
                    <a:pt x="402" y="438"/>
                  </a:lnTo>
                  <a:lnTo>
                    <a:pt x="408" y="438"/>
                  </a:lnTo>
                  <a:lnTo>
                    <a:pt x="408" y="426"/>
                  </a:lnTo>
                  <a:lnTo>
                    <a:pt x="414" y="420"/>
                  </a:lnTo>
                  <a:lnTo>
                    <a:pt x="426" y="420"/>
                  </a:lnTo>
                  <a:lnTo>
                    <a:pt x="426" y="408"/>
                  </a:lnTo>
                  <a:lnTo>
                    <a:pt x="420" y="390"/>
                  </a:lnTo>
                  <a:lnTo>
                    <a:pt x="408" y="384"/>
                  </a:lnTo>
                  <a:lnTo>
                    <a:pt x="378" y="378"/>
                  </a:lnTo>
                  <a:lnTo>
                    <a:pt x="354" y="366"/>
                  </a:lnTo>
                  <a:lnTo>
                    <a:pt x="342" y="360"/>
                  </a:lnTo>
                  <a:lnTo>
                    <a:pt x="342" y="348"/>
                  </a:lnTo>
                  <a:lnTo>
                    <a:pt x="336" y="330"/>
                  </a:lnTo>
                  <a:lnTo>
                    <a:pt x="348" y="306"/>
                  </a:lnTo>
                  <a:lnTo>
                    <a:pt x="360" y="294"/>
                  </a:lnTo>
                  <a:lnTo>
                    <a:pt x="360" y="282"/>
                  </a:lnTo>
                  <a:lnTo>
                    <a:pt x="342" y="270"/>
                  </a:lnTo>
                  <a:lnTo>
                    <a:pt x="342" y="264"/>
                  </a:lnTo>
                  <a:lnTo>
                    <a:pt x="330" y="264"/>
                  </a:lnTo>
                  <a:lnTo>
                    <a:pt x="312" y="270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88" y="270"/>
                  </a:lnTo>
                  <a:lnTo>
                    <a:pt x="282" y="270"/>
                  </a:lnTo>
                  <a:lnTo>
                    <a:pt x="276" y="264"/>
                  </a:lnTo>
                  <a:lnTo>
                    <a:pt x="270" y="264"/>
                  </a:lnTo>
                  <a:lnTo>
                    <a:pt x="252" y="270"/>
                  </a:lnTo>
                  <a:lnTo>
                    <a:pt x="246" y="270"/>
                  </a:lnTo>
                  <a:lnTo>
                    <a:pt x="240" y="270"/>
                  </a:lnTo>
                  <a:lnTo>
                    <a:pt x="228" y="270"/>
                  </a:lnTo>
                  <a:lnTo>
                    <a:pt x="216" y="276"/>
                  </a:lnTo>
                  <a:lnTo>
                    <a:pt x="210" y="270"/>
                  </a:lnTo>
                  <a:lnTo>
                    <a:pt x="204" y="270"/>
                  </a:lnTo>
                  <a:lnTo>
                    <a:pt x="198" y="276"/>
                  </a:lnTo>
                  <a:lnTo>
                    <a:pt x="192" y="276"/>
                  </a:lnTo>
                  <a:lnTo>
                    <a:pt x="186" y="282"/>
                  </a:lnTo>
                  <a:lnTo>
                    <a:pt x="180" y="288"/>
                  </a:lnTo>
                  <a:lnTo>
                    <a:pt x="174" y="300"/>
                  </a:lnTo>
                  <a:lnTo>
                    <a:pt x="168" y="306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8" y="330"/>
                  </a:lnTo>
                  <a:lnTo>
                    <a:pt x="162" y="336"/>
                  </a:lnTo>
                  <a:lnTo>
                    <a:pt x="156" y="342"/>
                  </a:lnTo>
                  <a:lnTo>
                    <a:pt x="156" y="348"/>
                  </a:lnTo>
                  <a:lnTo>
                    <a:pt x="156" y="354"/>
                  </a:lnTo>
                  <a:lnTo>
                    <a:pt x="150" y="366"/>
                  </a:lnTo>
                  <a:lnTo>
                    <a:pt x="150" y="372"/>
                  </a:lnTo>
                  <a:lnTo>
                    <a:pt x="144" y="366"/>
                  </a:lnTo>
                  <a:lnTo>
                    <a:pt x="132" y="366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20" y="348"/>
                  </a:lnTo>
                  <a:lnTo>
                    <a:pt x="102" y="330"/>
                  </a:lnTo>
                  <a:lnTo>
                    <a:pt x="96" y="318"/>
                  </a:lnTo>
                  <a:lnTo>
                    <a:pt x="96" y="282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0" y="258"/>
                  </a:lnTo>
                  <a:lnTo>
                    <a:pt x="84" y="252"/>
                  </a:lnTo>
                  <a:lnTo>
                    <a:pt x="66" y="258"/>
                  </a:lnTo>
                  <a:lnTo>
                    <a:pt x="60" y="246"/>
                  </a:lnTo>
                  <a:lnTo>
                    <a:pt x="30" y="252"/>
                  </a:lnTo>
                  <a:lnTo>
                    <a:pt x="18" y="246"/>
                  </a:lnTo>
                  <a:lnTo>
                    <a:pt x="0" y="240"/>
                  </a:lnTo>
                  <a:lnTo>
                    <a:pt x="0" y="234"/>
                  </a:lnTo>
                  <a:lnTo>
                    <a:pt x="0" y="210"/>
                  </a:lnTo>
                  <a:lnTo>
                    <a:pt x="6" y="204"/>
                  </a:lnTo>
                  <a:lnTo>
                    <a:pt x="18" y="192"/>
                  </a:lnTo>
                  <a:lnTo>
                    <a:pt x="18" y="144"/>
                  </a:lnTo>
                  <a:lnTo>
                    <a:pt x="24" y="126"/>
                  </a:lnTo>
                  <a:lnTo>
                    <a:pt x="36" y="126"/>
                  </a:lnTo>
                  <a:lnTo>
                    <a:pt x="54" y="120"/>
                  </a:lnTo>
                  <a:lnTo>
                    <a:pt x="54" y="126"/>
                  </a:lnTo>
                  <a:lnTo>
                    <a:pt x="132" y="114"/>
                  </a:lnTo>
                  <a:lnTo>
                    <a:pt x="144" y="120"/>
                  </a:lnTo>
                  <a:lnTo>
                    <a:pt x="150" y="132"/>
                  </a:lnTo>
                  <a:lnTo>
                    <a:pt x="180" y="126"/>
                  </a:lnTo>
                  <a:lnTo>
                    <a:pt x="210" y="120"/>
                  </a:lnTo>
                  <a:lnTo>
                    <a:pt x="240" y="120"/>
                  </a:lnTo>
                  <a:lnTo>
                    <a:pt x="258" y="120"/>
                  </a:lnTo>
                  <a:lnTo>
                    <a:pt x="270" y="126"/>
                  </a:lnTo>
                  <a:lnTo>
                    <a:pt x="276" y="132"/>
                  </a:lnTo>
                  <a:lnTo>
                    <a:pt x="282" y="138"/>
                  </a:lnTo>
                  <a:lnTo>
                    <a:pt x="282" y="156"/>
                  </a:lnTo>
                  <a:lnTo>
                    <a:pt x="288" y="186"/>
                  </a:lnTo>
                  <a:lnTo>
                    <a:pt x="312" y="192"/>
                  </a:lnTo>
                  <a:lnTo>
                    <a:pt x="318" y="198"/>
                  </a:lnTo>
                  <a:lnTo>
                    <a:pt x="324" y="204"/>
                  </a:lnTo>
                  <a:lnTo>
                    <a:pt x="330" y="210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66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86" y="210"/>
                  </a:lnTo>
                  <a:lnTo>
                    <a:pt x="498" y="198"/>
                  </a:lnTo>
                  <a:lnTo>
                    <a:pt x="504" y="174"/>
                  </a:lnTo>
                  <a:lnTo>
                    <a:pt x="516" y="162"/>
                  </a:lnTo>
                  <a:lnTo>
                    <a:pt x="516" y="138"/>
                  </a:lnTo>
                  <a:lnTo>
                    <a:pt x="522" y="132"/>
                  </a:lnTo>
                  <a:lnTo>
                    <a:pt x="564" y="132"/>
                  </a:lnTo>
                  <a:lnTo>
                    <a:pt x="564" y="114"/>
                  </a:lnTo>
                  <a:lnTo>
                    <a:pt x="582" y="114"/>
                  </a:lnTo>
                  <a:lnTo>
                    <a:pt x="594" y="114"/>
                  </a:lnTo>
                  <a:lnTo>
                    <a:pt x="606" y="114"/>
                  </a:lnTo>
                  <a:lnTo>
                    <a:pt x="612" y="114"/>
                  </a:lnTo>
                  <a:lnTo>
                    <a:pt x="630" y="114"/>
                  </a:lnTo>
                  <a:lnTo>
                    <a:pt x="636" y="114"/>
                  </a:lnTo>
                  <a:lnTo>
                    <a:pt x="648" y="114"/>
                  </a:lnTo>
                  <a:lnTo>
                    <a:pt x="654" y="114"/>
                  </a:lnTo>
                  <a:lnTo>
                    <a:pt x="660" y="120"/>
                  </a:lnTo>
                  <a:lnTo>
                    <a:pt x="672" y="120"/>
                  </a:lnTo>
                  <a:lnTo>
                    <a:pt x="684" y="120"/>
                  </a:lnTo>
                  <a:lnTo>
                    <a:pt x="690" y="120"/>
                  </a:lnTo>
                  <a:lnTo>
                    <a:pt x="702" y="120"/>
                  </a:lnTo>
                  <a:lnTo>
                    <a:pt x="708" y="120"/>
                  </a:lnTo>
                  <a:lnTo>
                    <a:pt x="726" y="126"/>
                  </a:lnTo>
                  <a:lnTo>
                    <a:pt x="732" y="126"/>
                  </a:lnTo>
                  <a:lnTo>
                    <a:pt x="738" y="126"/>
                  </a:lnTo>
                  <a:lnTo>
                    <a:pt x="750" y="126"/>
                  </a:lnTo>
                  <a:lnTo>
                    <a:pt x="756" y="126"/>
                  </a:lnTo>
                  <a:lnTo>
                    <a:pt x="768" y="126"/>
                  </a:lnTo>
                  <a:lnTo>
                    <a:pt x="780" y="126"/>
                  </a:lnTo>
                  <a:lnTo>
                    <a:pt x="786" y="120"/>
                  </a:lnTo>
                  <a:lnTo>
                    <a:pt x="792" y="120"/>
                  </a:lnTo>
                  <a:lnTo>
                    <a:pt x="810" y="120"/>
                  </a:lnTo>
                  <a:lnTo>
                    <a:pt x="822" y="120"/>
                  </a:lnTo>
                  <a:lnTo>
                    <a:pt x="846" y="126"/>
                  </a:lnTo>
                  <a:lnTo>
                    <a:pt x="858" y="126"/>
                  </a:lnTo>
                  <a:lnTo>
                    <a:pt x="870" y="132"/>
                  </a:lnTo>
                  <a:lnTo>
                    <a:pt x="882" y="132"/>
                  </a:lnTo>
                  <a:lnTo>
                    <a:pt x="894" y="132"/>
                  </a:lnTo>
                  <a:lnTo>
                    <a:pt x="900" y="132"/>
                  </a:lnTo>
                  <a:lnTo>
                    <a:pt x="912" y="132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36" y="132"/>
                  </a:lnTo>
                  <a:lnTo>
                    <a:pt x="960" y="132"/>
                  </a:lnTo>
                  <a:lnTo>
                    <a:pt x="966" y="144"/>
                  </a:lnTo>
                  <a:lnTo>
                    <a:pt x="972" y="144"/>
                  </a:lnTo>
                  <a:lnTo>
                    <a:pt x="1002" y="144"/>
                  </a:lnTo>
                  <a:lnTo>
                    <a:pt x="1020" y="144"/>
                  </a:lnTo>
                  <a:lnTo>
                    <a:pt x="1068" y="138"/>
                  </a:lnTo>
                  <a:lnTo>
                    <a:pt x="1110" y="132"/>
                  </a:lnTo>
                  <a:lnTo>
                    <a:pt x="1110" y="126"/>
                  </a:lnTo>
                  <a:lnTo>
                    <a:pt x="1116" y="120"/>
                  </a:lnTo>
                  <a:lnTo>
                    <a:pt x="1122" y="108"/>
                  </a:lnTo>
                  <a:lnTo>
                    <a:pt x="1134" y="96"/>
                  </a:lnTo>
                  <a:lnTo>
                    <a:pt x="1146" y="60"/>
                  </a:lnTo>
                  <a:lnTo>
                    <a:pt x="1158" y="54"/>
                  </a:lnTo>
                  <a:lnTo>
                    <a:pt x="1170" y="48"/>
                  </a:lnTo>
                  <a:lnTo>
                    <a:pt x="1188" y="42"/>
                  </a:lnTo>
                  <a:lnTo>
                    <a:pt x="1200" y="36"/>
                  </a:lnTo>
                  <a:lnTo>
                    <a:pt x="1212" y="36"/>
                  </a:lnTo>
                  <a:lnTo>
                    <a:pt x="1236" y="30"/>
                  </a:lnTo>
                  <a:lnTo>
                    <a:pt x="1236" y="24"/>
                  </a:lnTo>
                  <a:lnTo>
                    <a:pt x="1278" y="18"/>
                  </a:lnTo>
                  <a:lnTo>
                    <a:pt x="1290" y="18"/>
                  </a:lnTo>
                  <a:lnTo>
                    <a:pt x="1302" y="12"/>
                  </a:lnTo>
                  <a:lnTo>
                    <a:pt x="1314" y="0"/>
                  </a:lnTo>
                  <a:lnTo>
                    <a:pt x="1332" y="0"/>
                  </a:lnTo>
                  <a:lnTo>
                    <a:pt x="1338" y="24"/>
                  </a:lnTo>
                  <a:lnTo>
                    <a:pt x="1344" y="30"/>
                  </a:lnTo>
                  <a:lnTo>
                    <a:pt x="1350" y="42"/>
                  </a:lnTo>
                  <a:lnTo>
                    <a:pt x="1356" y="48"/>
                  </a:lnTo>
                  <a:lnTo>
                    <a:pt x="1356" y="78"/>
                  </a:lnTo>
                  <a:lnTo>
                    <a:pt x="1350" y="96"/>
                  </a:lnTo>
                  <a:lnTo>
                    <a:pt x="1338" y="108"/>
                  </a:lnTo>
                  <a:lnTo>
                    <a:pt x="1338" y="114"/>
                  </a:lnTo>
                  <a:lnTo>
                    <a:pt x="1338" y="120"/>
                  </a:lnTo>
                  <a:lnTo>
                    <a:pt x="1338" y="126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398" y="114"/>
                  </a:lnTo>
                  <a:lnTo>
                    <a:pt x="1416" y="120"/>
                  </a:lnTo>
                  <a:lnTo>
                    <a:pt x="1434" y="126"/>
                  </a:lnTo>
                  <a:lnTo>
                    <a:pt x="1458" y="132"/>
                  </a:lnTo>
                  <a:lnTo>
                    <a:pt x="1458" y="138"/>
                  </a:lnTo>
                  <a:lnTo>
                    <a:pt x="1512" y="138"/>
                  </a:lnTo>
                  <a:lnTo>
                    <a:pt x="1512" y="132"/>
                  </a:lnTo>
                  <a:lnTo>
                    <a:pt x="1524" y="138"/>
                  </a:lnTo>
                  <a:lnTo>
                    <a:pt x="1542" y="138"/>
                  </a:lnTo>
                  <a:lnTo>
                    <a:pt x="1542" y="150"/>
                  </a:lnTo>
                  <a:lnTo>
                    <a:pt x="1542" y="162"/>
                  </a:lnTo>
                  <a:lnTo>
                    <a:pt x="1548" y="174"/>
                  </a:lnTo>
                  <a:lnTo>
                    <a:pt x="1548" y="180"/>
                  </a:lnTo>
                  <a:lnTo>
                    <a:pt x="1554" y="222"/>
                  </a:lnTo>
                  <a:lnTo>
                    <a:pt x="1554" y="258"/>
                  </a:lnTo>
                  <a:lnTo>
                    <a:pt x="1554" y="276"/>
                  </a:lnTo>
                  <a:lnTo>
                    <a:pt x="1554" y="282"/>
                  </a:lnTo>
                  <a:lnTo>
                    <a:pt x="1554" y="294"/>
                  </a:lnTo>
                  <a:lnTo>
                    <a:pt x="1554" y="306"/>
                  </a:lnTo>
                  <a:lnTo>
                    <a:pt x="1554" y="324"/>
                  </a:lnTo>
                  <a:lnTo>
                    <a:pt x="1554" y="330"/>
                  </a:lnTo>
                  <a:lnTo>
                    <a:pt x="1548" y="330"/>
                  </a:lnTo>
                  <a:lnTo>
                    <a:pt x="1548" y="336"/>
                  </a:lnTo>
                  <a:lnTo>
                    <a:pt x="1548" y="342"/>
                  </a:lnTo>
                  <a:lnTo>
                    <a:pt x="1542" y="336"/>
                  </a:lnTo>
                  <a:lnTo>
                    <a:pt x="1542" y="330"/>
                  </a:lnTo>
                  <a:lnTo>
                    <a:pt x="1536" y="330"/>
                  </a:lnTo>
                  <a:lnTo>
                    <a:pt x="1530" y="330"/>
                  </a:lnTo>
                  <a:lnTo>
                    <a:pt x="1530" y="336"/>
                  </a:lnTo>
                  <a:lnTo>
                    <a:pt x="1536" y="342"/>
                  </a:lnTo>
                  <a:lnTo>
                    <a:pt x="1530" y="342"/>
                  </a:lnTo>
                  <a:lnTo>
                    <a:pt x="1518" y="348"/>
                  </a:lnTo>
                  <a:lnTo>
                    <a:pt x="1512" y="354"/>
                  </a:lnTo>
                  <a:lnTo>
                    <a:pt x="1506" y="354"/>
                  </a:lnTo>
                  <a:lnTo>
                    <a:pt x="1500" y="354"/>
                  </a:lnTo>
                  <a:lnTo>
                    <a:pt x="1494" y="354"/>
                  </a:lnTo>
                  <a:lnTo>
                    <a:pt x="1494" y="360"/>
                  </a:lnTo>
                  <a:lnTo>
                    <a:pt x="1488" y="360"/>
                  </a:lnTo>
                  <a:lnTo>
                    <a:pt x="1488" y="366"/>
                  </a:lnTo>
                  <a:lnTo>
                    <a:pt x="1488" y="372"/>
                  </a:lnTo>
                  <a:lnTo>
                    <a:pt x="1482" y="372"/>
                  </a:lnTo>
                  <a:lnTo>
                    <a:pt x="1476" y="372"/>
                  </a:lnTo>
                  <a:lnTo>
                    <a:pt x="1470" y="372"/>
                  </a:lnTo>
                  <a:lnTo>
                    <a:pt x="1470" y="378"/>
                  </a:lnTo>
                  <a:lnTo>
                    <a:pt x="1470" y="384"/>
                  </a:lnTo>
                  <a:lnTo>
                    <a:pt x="1470" y="390"/>
                  </a:lnTo>
                  <a:lnTo>
                    <a:pt x="1464" y="402"/>
                  </a:lnTo>
                  <a:lnTo>
                    <a:pt x="1446" y="402"/>
                  </a:lnTo>
                  <a:lnTo>
                    <a:pt x="1440" y="372"/>
                  </a:lnTo>
                  <a:lnTo>
                    <a:pt x="1410" y="372"/>
                  </a:lnTo>
                  <a:lnTo>
                    <a:pt x="1380" y="372"/>
                  </a:lnTo>
                  <a:lnTo>
                    <a:pt x="1374" y="372"/>
                  </a:lnTo>
                  <a:lnTo>
                    <a:pt x="1368" y="378"/>
                  </a:lnTo>
                  <a:lnTo>
                    <a:pt x="1362" y="378"/>
                  </a:lnTo>
                  <a:lnTo>
                    <a:pt x="1356" y="378"/>
                  </a:lnTo>
                  <a:lnTo>
                    <a:pt x="1350" y="384"/>
                  </a:lnTo>
                  <a:lnTo>
                    <a:pt x="1350" y="390"/>
                  </a:lnTo>
                  <a:lnTo>
                    <a:pt x="1344" y="390"/>
                  </a:lnTo>
                  <a:lnTo>
                    <a:pt x="1338" y="390"/>
                  </a:lnTo>
                  <a:lnTo>
                    <a:pt x="1332" y="390"/>
                  </a:lnTo>
                  <a:lnTo>
                    <a:pt x="1332" y="396"/>
                  </a:lnTo>
                  <a:lnTo>
                    <a:pt x="1332" y="390"/>
                  </a:lnTo>
                  <a:lnTo>
                    <a:pt x="1326" y="402"/>
                  </a:lnTo>
                  <a:lnTo>
                    <a:pt x="1320" y="402"/>
                  </a:lnTo>
                  <a:lnTo>
                    <a:pt x="1302" y="474"/>
                  </a:lnTo>
                  <a:lnTo>
                    <a:pt x="1308" y="480"/>
                  </a:lnTo>
                  <a:lnTo>
                    <a:pt x="1314" y="480"/>
                  </a:lnTo>
                  <a:lnTo>
                    <a:pt x="1308" y="498"/>
                  </a:lnTo>
                  <a:lnTo>
                    <a:pt x="1308" y="504"/>
                  </a:lnTo>
                  <a:lnTo>
                    <a:pt x="1314" y="510"/>
                  </a:lnTo>
                  <a:lnTo>
                    <a:pt x="1308" y="510"/>
                  </a:lnTo>
                  <a:lnTo>
                    <a:pt x="1308" y="516"/>
                  </a:lnTo>
                  <a:lnTo>
                    <a:pt x="1302" y="516"/>
                  </a:lnTo>
                  <a:lnTo>
                    <a:pt x="1296" y="510"/>
                  </a:lnTo>
                  <a:lnTo>
                    <a:pt x="1296" y="516"/>
                  </a:lnTo>
                  <a:lnTo>
                    <a:pt x="1290" y="540"/>
                  </a:lnTo>
                  <a:lnTo>
                    <a:pt x="1290" y="552"/>
                  </a:lnTo>
                  <a:lnTo>
                    <a:pt x="1284" y="558"/>
                  </a:lnTo>
                  <a:lnTo>
                    <a:pt x="1290" y="576"/>
                  </a:lnTo>
                  <a:lnTo>
                    <a:pt x="1290" y="600"/>
                  </a:lnTo>
                  <a:lnTo>
                    <a:pt x="1284" y="618"/>
                  </a:lnTo>
                  <a:lnTo>
                    <a:pt x="1290" y="624"/>
                  </a:lnTo>
                  <a:lnTo>
                    <a:pt x="1284" y="630"/>
                  </a:lnTo>
                  <a:lnTo>
                    <a:pt x="1278" y="630"/>
                  </a:lnTo>
                  <a:lnTo>
                    <a:pt x="1272" y="630"/>
                  </a:lnTo>
                  <a:lnTo>
                    <a:pt x="1266" y="636"/>
                  </a:lnTo>
                  <a:lnTo>
                    <a:pt x="1260" y="642"/>
                  </a:lnTo>
                  <a:lnTo>
                    <a:pt x="1260" y="636"/>
                  </a:lnTo>
                  <a:lnTo>
                    <a:pt x="1254" y="636"/>
                  </a:lnTo>
                  <a:lnTo>
                    <a:pt x="1248" y="636"/>
                  </a:lnTo>
                  <a:lnTo>
                    <a:pt x="1248" y="642"/>
                  </a:lnTo>
                  <a:lnTo>
                    <a:pt x="1242" y="642"/>
                  </a:lnTo>
                  <a:lnTo>
                    <a:pt x="1242" y="648"/>
                  </a:lnTo>
                  <a:lnTo>
                    <a:pt x="1236" y="654"/>
                  </a:lnTo>
                  <a:lnTo>
                    <a:pt x="1230" y="654"/>
                  </a:lnTo>
                  <a:lnTo>
                    <a:pt x="1224" y="654"/>
                  </a:lnTo>
                  <a:lnTo>
                    <a:pt x="1218" y="660"/>
                  </a:lnTo>
                  <a:lnTo>
                    <a:pt x="1212" y="660"/>
                  </a:lnTo>
                  <a:lnTo>
                    <a:pt x="1206" y="660"/>
                  </a:lnTo>
                  <a:lnTo>
                    <a:pt x="1200" y="660"/>
                  </a:lnTo>
                  <a:lnTo>
                    <a:pt x="1200" y="666"/>
                  </a:lnTo>
                  <a:lnTo>
                    <a:pt x="1194" y="666"/>
                  </a:lnTo>
                  <a:lnTo>
                    <a:pt x="1188" y="666"/>
                  </a:lnTo>
                  <a:lnTo>
                    <a:pt x="1182" y="672"/>
                  </a:lnTo>
                  <a:lnTo>
                    <a:pt x="1176" y="672"/>
                  </a:lnTo>
                  <a:lnTo>
                    <a:pt x="1170" y="672"/>
                  </a:lnTo>
                  <a:lnTo>
                    <a:pt x="1164" y="678"/>
                  </a:lnTo>
                  <a:lnTo>
                    <a:pt x="1170" y="678"/>
                  </a:lnTo>
                  <a:lnTo>
                    <a:pt x="1164" y="684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52" y="684"/>
                  </a:lnTo>
                  <a:lnTo>
                    <a:pt x="1152" y="690"/>
                  </a:lnTo>
                  <a:lnTo>
                    <a:pt x="1146" y="690"/>
                  </a:lnTo>
                  <a:lnTo>
                    <a:pt x="1140" y="690"/>
                  </a:lnTo>
                  <a:lnTo>
                    <a:pt x="1134" y="696"/>
                  </a:lnTo>
                  <a:lnTo>
                    <a:pt x="1128" y="696"/>
                  </a:lnTo>
                  <a:lnTo>
                    <a:pt x="1122" y="702"/>
                  </a:lnTo>
                  <a:lnTo>
                    <a:pt x="1116" y="702"/>
                  </a:lnTo>
                  <a:lnTo>
                    <a:pt x="1110" y="708"/>
                  </a:lnTo>
                  <a:lnTo>
                    <a:pt x="1104" y="708"/>
                  </a:lnTo>
                  <a:lnTo>
                    <a:pt x="1098" y="708"/>
                  </a:lnTo>
                  <a:lnTo>
                    <a:pt x="1092" y="708"/>
                  </a:lnTo>
                  <a:lnTo>
                    <a:pt x="1092" y="714"/>
                  </a:lnTo>
                  <a:lnTo>
                    <a:pt x="1086" y="720"/>
                  </a:lnTo>
                  <a:lnTo>
                    <a:pt x="1080" y="720"/>
                  </a:lnTo>
                  <a:lnTo>
                    <a:pt x="1074" y="720"/>
                  </a:lnTo>
                  <a:lnTo>
                    <a:pt x="1068" y="720"/>
                  </a:lnTo>
                  <a:lnTo>
                    <a:pt x="1062" y="720"/>
                  </a:lnTo>
                  <a:lnTo>
                    <a:pt x="1050" y="726"/>
                  </a:lnTo>
                  <a:lnTo>
                    <a:pt x="1044" y="726"/>
                  </a:lnTo>
                  <a:lnTo>
                    <a:pt x="1038" y="732"/>
                  </a:lnTo>
                  <a:lnTo>
                    <a:pt x="1026" y="732"/>
                  </a:lnTo>
                  <a:lnTo>
                    <a:pt x="1020" y="732"/>
                  </a:lnTo>
                  <a:lnTo>
                    <a:pt x="1014" y="738"/>
                  </a:lnTo>
                  <a:lnTo>
                    <a:pt x="1008" y="738"/>
                  </a:lnTo>
                  <a:lnTo>
                    <a:pt x="1002" y="738"/>
                  </a:lnTo>
                  <a:lnTo>
                    <a:pt x="996" y="738"/>
                  </a:lnTo>
                  <a:lnTo>
                    <a:pt x="990" y="738"/>
                  </a:lnTo>
                  <a:lnTo>
                    <a:pt x="990" y="732"/>
                  </a:lnTo>
                  <a:lnTo>
                    <a:pt x="984" y="732"/>
                  </a:lnTo>
                  <a:lnTo>
                    <a:pt x="978" y="738"/>
                  </a:lnTo>
                  <a:lnTo>
                    <a:pt x="978" y="744"/>
                  </a:lnTo>
                  <a:lnTo>
                    <a:pt x="984" y="744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8" y="756"/>
                  </a:lnTo>
                  <a:lnTo>
                    <a:pt x="972" y="756"/>
                  </a:lnTo>
                  <a:lnTo>
                    <a:pt x="972" y="762"/>
                  </a:lnTo>
                  <a:lnTo>
                    <a:pt x="966" y="768"/>
                  </a:lnTo>
                  <a:lnTo>
                    <a:pt x="966" y="762"/>
                  </a:lnTo>
                  <a:lnTo>
                    <a:pt x="960" y="762"/>
                  </a:lnTo>
                  <a:lnTo>
                    <a:pt x="954" y="768"/>
                  </a:lnTo>
                  <a:lnTo>
                    <a:pt x="954" y="774"/>
                  </a:lnTo>
                  <a:lnTo>
                    <a:pt x="948" y="774"/>
                  </a:lnTo>
                  <a:lnTo>
                    <a:pt x="948" y="780"/>
                  </a:lnTo>
                  <a:lnTo>
                    <a:pt x="948" y="786"/>
                  </a:lnTo>
                  <a:lnTo>
                    <a:pt x="942" y="786"/>
                  </a:lnTo>
                  <a:lnTo>
                    <a:pt x="942" y="792"/>
                  </a:lnTo>
                  <a:lnTo>
                    <a:pt x="936" y="792"/>
                  </a:lnTo>
                  <a:lnTo>
                    <a:pt x="942" y="798"/>
                  </a:lnTo>
                  <a:lnTo>
                    <a:pt x="942" y="804"/>
                  </a:lnTo>
                  <a:lnTo>
                    <a:pt x="942" y="810"/>
                  </a:lnTo>
                  <a:lnTo>
                    <a:pt x="948" y="810"/>
                  </a:lnTo>
                  <a:lnTo>
                    <a:pt x="942" y="816"/>
                  </a:lnTo>
                  <a:lnTo>
                    <a:pt x="948" y="816"/>
                  </a:lnTo>
                  <a:lnTo>
                    <a:pt x="948" y="822"/>
                  </a:lnTo>
                  <a:lnTo>
                    <a:pt x="954" y="822"/>
                  </a:lnTo>
                  <a:lnTo>
                    <a:pt x="960" y="828"/>
                  </a:lnTo>
                  <a:lnTo>
                    <a:pt x="960" y="834"/>
                  </a:lnTo>
                  <a:lnTo>
                    <a:pt x="966" y="834"/>
                  </a:lnTo>
                  <a:lnTo>
                    <a:pt x="960" y="840"/>
                  </a:lnTo>
                  <a:lnTo>
                    <a:pt x="966" y="846"/>
                  </a:lnTo>
                  <a:lnTo>
                    <a:pt x="966" y="840"/>
                  </a:lnTo>
                  <a:lnTo>
                    <a:pt x="972" y="840"/>
                  </a:lnTo>
                  <a:lnTo>
                    <a:pt x="990" y="840"/>
                  </a:lnTo>
                  <a:lnTo>
                    <a:pt x="1002" y="834"/>
                  </a:lnTo>
                  <a:lnTo>
                    <a:pt x="1020" y="828"/>
                  </a:lnTo>
                  <a:lnTo>
                    <a:pt x="1032" y="828"/>
                  </a:lnTo>
                  <a:lnTo>
                    <a:pt x="1050" y="828"/>
                  </a:lnTo>
                  <a:lnTo>
                    <a:pt x="1062" y="846"/>
                  </a:lnTo>
                  <a:lnTo>
                    <a:pt x="1074" y="876"/>
                  </a:lnTo>
                  <a:lnTo>
                    <a:pt x="1068" y="900"/>
                  </a:lnTo>
                  <a:lnTo>
                    <a:pt x="1074" y="912"/>
                  </a:lnTo>
                  <a:lnTo>
                    <a:pt x="1074" y="936"/>
                  </a:lnTo>
                  <a:lnTo>
                    <a:pt x="1068" y="942"/>
                  </a:lnTo>
                  <a:lnTo>
                    <a:pt x="1062" y="954"/>
                  </a:lnTo>
                  <a:lnTo>
                    <a:pt x="1056" y="978"/>
                  </a:lnTo>
                  <a:lnTo>
                    <a:pt x="1056" y="996"/>
                  </a:lnTo>
                  <a:lnTo>
                    <a:pt x="1068" y="990"/>
                  </a:lnTo>
                  <a:lnTo>
                    <a:pt x="1074" y="990"/>
                  </a:lnTo>
                  <a:lnTo>
                    <a:pt x="1074" y="1008"/>
                  </a:lnTo>
                  <a:lnTo>
                    <a:pt x="1080" y="1008"/>
                  </a:lnTo>
                  <a:lnTo>
                    <a:pt x="1092" y="1014"/>
                  </a:lnTo>
                  <a:lnTo>
                    <a:pt x="1110" y="1044"/>
                  </a:lnTo>
                  <a:lnTo>
                    <a:pt x="1110" y="1062"/>
                  </a:lnTo>
                  <a:lnTo>
                    <a:pt x="1128" y="1068"/>
                  </a:lnTo>
                  <a:lnTo>
                    <a:pt x="1128" y="1092"/>
                  </a:lnTo>
                  <a:lnTo>
                    <a:pt x="1134" y="1098"/>
                  </a:lnTo>
                  <a:lnTo>
                    <a:pt x="1158" y="1122"/>
                  </a:lnTo>
                  <a:lnTo>
                    <a:pt x="1188" y="1122"/>
                  </a:lnTo>
                  <a:lnTo>
                    <a:pt x="1188" y="1128"/>
                  </a:lnTo>
                  <a:lnTo>
                    <a:pt x="1200" y="1134"/>
                  </a:lnTo>
                  <a:lnTo>
                    <a:pt x="1206" y="1134"/>
                  </a:lnTo>
                  <a:lnTo>
                    <a:pt x="1206" y="1128"/>
                  </a:lnTo>
                  <a:lnTo>
                    <a:pt x="1212" y="1128"/>
                  </a:lnTo>
                  <a:lnTo>
                    <a:pt x="1218" y="1128"/>
                  </a:lnTo>
                  <a:lnTo>
                    <a:pt x="1224" y="1122"/>
                  </a:lnTo>
                  <a:lnTo>
                    <a:pt x="1224" y="1128"/>
                  </a:lnTo>
                  <a:lnTo>
                    <a:pt x="1230" y="1128"/>
                  </a:lnTo>
                  <a:lnTo>
                    <a:pt x="1236" y="1128"/>
                  </a:lnTo>
                  <a:lnTo>
                    <a:pt x="1236" y="1122"/>
                  </a:lnTo>
                  <a:lnTo>
                    <a:pt x="1242" y="1122"/>
                  </a:lnTo>
                  <a:lnTo>
                    <a:pt x="1248" y="1128"/>
                  </a:lnTo>
                  <a:lnTo>
                    <a:pt x="1254" y="1128"/>
                  </a:lnTo>
                  <a:lnTo>
                    <a:pt x="1260" y="1134"/>
                  </a:lnTo>
                  <a:lnTo>
                    <a:pt x="1260" y="1140"/>
                  </a:lnTo>
                  <a:lnTo>
                    <a:pt x="1266" y="1140"/>
                  </a:lnTo>
                  <a:lnTo>
                    <a:pt x="1272" y="1140"/>
                  </a:lnTo>
                  <a:lnTo>
                    <a:pt x="1278" y="1140"/>
                  </a:lnTo>
                  <a:lnTo>
                    <a:pt x="1284" y="1140"/>
                  </a:lnTo>
                  <a:lnTo>
                    <a:pt x="1290" y="1146"/>
                  </a:lnTo>
                  <a:lnTo>
                    <a:pt x="1290" y="1152"/>
                  </a:lnTo>
                  <a:lnTo>
                    <a:pt x="1296" y="1146"/>
                  </a:lnTo>
                  <a:lnTo>
                    <a:pt x="1296" y="1152"/>
                  </a:lnTo>
                  <a:lnTo>
                    <a:pt x="1308" y="1152"/>
                  </a:lnTo>
                  <a:lnTo>
                    <a:pt x="1314" y="1152"/>
                  </a:lnTo>
                  <a:lnTo>
                    <a:pt x="1320" y="1152"/>
                  </a:lnTo>
                  <a:lnTo>
                    <a:pt x="1332" y="1152"/>
                  </a:lnTo>
                  <a:lnTo>
                    <a:pt x="1338" y="1152"/>
                  </a:lnTo>
                  <a:lnTo>
                    <a:pt x="1344" y="1152"/>
                  </a:lnTo>
                  <a:lnTo>
                    <a:pt x="1344" y="1158"/>
                  </a:lnTo>
                  <a:lnTo>
                    <a:pt x="1350" y="1158"/>
                  </a:lnTo>
                  <a:lnTo>
                    <a:pt x="1356" y="1158"/>
                  </a:lnTo>
                  <a:lnTo>
                    <a:pt x="1362" y="1158"/>
                  </a:lnTo>
                  <a:lnTo>
                    <a:pt x="1368" y="1158"/>
                  </a:lnTo>
                  <a:lnTo>
                    <a:pt x="1374" y="1164"/>
                  </a:lnTo>
                  <a:lnTo>
                    <a:pt x="1380" y="1164"/>
                  </a:lnTo>
                  <a:lnTo>
                    <a:pt x="1386" y="1170"/>
                  </a:lnTo>
                  <a:lnTo>
                    <a:pt x="1392" y="1170"/>
                  </a:lnTo>
                  <a:lnTo>
                    <a:pt x="1398" y="1164"/>
                  </a:lnTo>
                  <a:lnTo>
                    <a:pt x="1404" y="1164"/>
                  </a:lnTo>
                  <a:lnTo>
                    <a:pt x="1410" y="1164"/>
                  </a:lnTo>
                  <a:lnTo>
                    <a:pt x="1416" y="1164"/>
                  </a:lnTo>
                  <a:lnTo>
                    <a:pt x="1416" y="1170"/>
                  </a:lnTo>
                  <a:lnTo>
                    <a:pt x="1422" y="1176"/>
                  </a:lnTo>
                  <a:lnTo>
                    <a:pt x="1416" y="1176"/>
                  </a:lnTo>
                  <a:lnTo>
                    <a:pt x="1416" y="1182"/>
                  </a:lnTo>
                  <a:lnTo>
                    <a:pt x="1410" y="1188"/>
                  </a:lnTo>
                  <a:lnTo>
                    <a:pt x="1404" y="1194"/>
                  </a:lnTo>
                  <a:lnTo>
                    <a:pt x="1404" y="1200"/>
                  </a:lnTo>
                  <a:lnTo>
                    <a:pt x="1404" y="1206"/>
                  </a:lnTo>
                  <a:lnTo>
                    <a:pt x="1398" y="1212"/>
                  </a:lnTo>
                  <a:lnTo>
                    <a:pt x="1398" y="1206"/>
                  </a:lnTo>
                  <a:lnTo>
                    <a:pt x="1392" y="1206"/>
                  </a:lnTo>
                  <a:lnTo>
                    <a:pt x="1386" y="1206"/>
                  </a:lnTo>
                  <a:lnTo>
                    <a:pt x="1380" y="1212"/>
                  </a:lnTo>
                  <a:lnTo>
                    <a:pt x="1374" y="1212"/>
                  </a:lnTo>
                  <a:lnTo>
                    <a:pt x="1368" y="1218"/>
                  </a:lnTo>
                  <a:lnTo>
                    <a:pt x="1362" y="1218"/>
                  </a:lnTo>
                  <a:lnTo>
                    <a:pt x="1362" y="1224"/>
                  </a:lnTo>
                  <a:lnTo>
                    <a:pt x="1356" y="1230"/>
                  </a:lnTo>
                  <a:lnTo>
                    <a:pt x="1350" y="1230"/>
                  </a:lnTo>
                  <a:lnTo>
                    <a:pt x="1344" y="1236"/>
                  </a:lnTo>
                  <a:lnTo>
                    <a:pt x="1338" y="1230"/>
                  </a:lnTo>
                  <a:lnTo>
                    <a:pt x="1332" y="1230"/>
                  </a:lnTo>
                  <a:lnTo>
                    <a:pt x="1326" y="1230"/>
                  </a:lnTo>
                  <a:lnTo>
                    <a:pt x="1320" y="1230"/>
                  </a:lnTo>
                  <a:lnTo>
                    <a:pt x="1314" y="1230"/>
                  </a:lnTo>
                  <a:lnTo>
                    <a:pt x="1296" y="1242"/>
                  </a:lnTo>
                  <a:lnTo>
                    <a:pt x="1296" y="1248"/>
                  </a:lnTo>
                  <a:lnTo>
                    <a:pt x="1290" y="1248"/>
                  </a:lnTo>
                  <a:lnTo>
                    <a:pt x="1290" y="1260"/>
                  </a:lnTo>
                  <a:lnTo>
                    <a:pt x="1278" y="1272"/>
                  </a:lnTo>
                  <a:lnTo>
                    <a:pt x="1278" y="1278"/>
                  </a:lnTo>
                  <a:lnTo>
                    <a:pt x="1278" y="1284"/>
                  </a:lnTo>
                  <a:lnTo>
                    <a:pt x="1278" y="1290"/>
                  </a:lnTo>
                  <a:lnTo>
                    <a:pt x="1284" y="1296"/>
                  </a:lnTo>
                  <a:lnTo>
                    <a:pt x="1302" y="1302"/>
                  </a:lnTo>
                  <a:lnTo>
                    <a:pt x="1308" y="1308"/>
                  </a:lnTo>
                  <a:lnTo>
                    <a:pt x="1308" y="1314"/>
                  </a:lnTo>
                  <a:lnTo>
                    <a:pt x="1302" y="1320"/>
                  </a:lnTo>
                  <a:lnTo>
                    <a:pt x="1278" y="1314"/>
                  </a:lnTo>
                  <a:lnTo>
                    <a:pt x="1266" y="1308"/>
                  </a:lnTo>
                  <a:lnTo>
                    <a:pt x="1260" y="1296"/>
                  </a:lnTo>
                  <a:lnTo>
                    <a:pt x="1236" y="1296"/>
                  </a:lnTo>
                  <a:lnTo>
                    <a:pt x="1224" y="1308"/>
                  </a:lnTo>
                  <a:lnTo>
                    <a:pt x="1218" y="1308"/>
                  </a:lnTo>
                  <a:lnTo>
                    <a:pt x="1218" y="1302"/>
                  </a:lnTo>
                  <a:lnTo>
                    <a:pt x="1212" y="1302"/>
                  </a:lnTo>
                  <a:lnTo>
                    <a:pt x="1206" y="1302"/>
                  </a:lnTo>
                  <a:lnTo>
                    <a:pt x="1170" y="1314"/>
                  </a:lnTo>
                  <a:lnTo>
                    <a:pt x="1134" y="1296"/>
                  </a:lnTo>
                  <a:lnTo>
                    <a:pt x="1122" y="1290"/>
                  </a:lnTo>
                  <a:lnTo>
                    <a:pt x="1104" y="1290"/>
                  </a:lnTo>
                  <a:lnTo>
                    <a:pt x="1098" y="1278"/>
                  </a:lnTo>
                  <a:lnTo>
                    <a:pt x="1092" y="1242"/>
                  </a:lnTo>
                  <a:lnTo>
                    <a:pt x="1086" y="1242"/>
                  </a:lnTo>
                  <a:lnTo>
                    <a:pt x="1086" y="1248"/>
                  </a:lnTo>
                  <a:lnTo>
                    <a:pt x="1086" y="1254"/>
                  </a:lnTo>
                  <a:lnTo>
                    <a:pt x="1080" y="1254"/>
                  </a:lnTo>
                  <a:lnTo>
                    <a:pt x="1080" y="1260"/>
                  </a:lnTo>
                  <a:lnTo>
                    <a:pt x="1074" y="1260"/>
                  </a:lnTo>
                  <a:lnTo>
                    <a:pt x="1068" y="1236"/>
                  </a:lnTo>
                  <a:lnTo>
                    <a:pt x="1068" y="1206"/>
                  </a:lnTo>
                  <a:lnTo>
                    <a:pt x="1080" y="1194"/>
                  </a:lnTo>
                  <a:lnTo>
                    <a:pt x="1086" y="1194"/>
                  </a:lnTo>
                  <a:lnTo>
                    <a:pt x="1092" y="1200"/>
                  </a:lnTo>
                  <a:lnTo>
                    <a:pt x="1098" y="1206"/>
                  </a:lnTo>
                  <a:lnTo>
                    <a:pt x="1104" y="1200"/>
                  </a:lnTo>
                  <a:lnTo>
                    <a:pt x="1104" y="1194"/>
                  </a:lnTo>
                  <a:lnTo>
                    <a:pt x="1110" y="1194"/>
                  </a:lnTo>
                  <a:lnTo>
                    <a:pt x="1110" y="1188"/>
                  </a:lnTo>
                  <a:lnTo>
                    <a:pt x="1116" y="1182"/>
                  </a:lnTo>
                  <a:lnTo>
                    <a:pt x="1110" y="1182"/>
                  </a:lnTo>
                  <a:lnTo>
                    <a:pt x="1110" y="1170"/>
                  </a:lnTo>
                  <a:lnTo>
                    <a:pt x="1110" y="1158"/>
                  </a:lnTo>
                  <a:lnTo>
                    <a:pt x="1110" y="1152"/>
                  </a:lnTo>
                  <a:lnTo>
                    <a:pt x="1104" y="1146"/>
                  </a:lnTo>
                  <a:lnTo>
                    <a:pt x="1098" y="1140"/>
                  </a:lnTo>
                  <a:lnTo>
                    <a:pt x="1098" y="1134"/>
                  </a:lnTo>
                  <a:lnTo>
                    <a:pt x="1098" y="1128"/>
                  </a:lnTo>
                  <a:lnTo>
                    <a:pt x="1092" y="1128"/>
                  </a:lnTo>
                  <a:lnTo>
                    <a:pt x="1092" y="1122"/>
                  </a:lnTo>
                  <a:lnTo>
                    <a:pt x="1092" y="1116"/>
                  </a:lnTo>
                  <a:lnTo>
                    <a:pt x="1092" y="1110"/>
                  </a:lnTo>
                  <a:lnTo>
                    <a:pt x="1056" y="1122"/>
                  </a:lnTo>
                  <a:lnTo>
                    <a:pt x="1038" y="1128"/>
                  </a:lnTo>
                  <a:lnTo>
                    <a:pt x="1032" y="1128"/>
                  </a:lnTo>
                  <a:lnTo>
                    <a:pt x="1026" y="1128"/>
                  </a:lnTo>
                  <a:lnTo>
                    <a:pt x="1020" y="1128"/>
                  </a:lnTo>
                  <a:lnTo>
                    <a:pt x="1014" y="1128"/>
                  </a:lnTo>
                  <a:lnTo>
                    <a:pt x="1014" y="1122"/>
                  </a:lnTo>
                  <a:lnTo>
                    <a:pt x="1008" y="1122"/>
                  </a:lnTo>
                  <a:lnTo>
                    <a:pt x="1002" y="1128"/>
                  </a:lnTo>
                  <a:lnTo>
                    <a:pt x="1002" y="1134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84" y="1140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66" y="1140"/>
                  </a:lnTo>
                  <a:lnTo>
                    <a:pt x="954" y="1140"/>
                  </a:lnTo>
                  <a:lnTo>
                    <a:pt x="954" y="1134"/>
                  </a:lnTo>
                  <a:lnTo>
                    <a:pt x="948" y="1134"/>
                  </a:lnTo>
                  <a:lnTo>
                    <a:pt x="942" y="1134"/>
                  </a:lnTo>
                  <a:lnTo>
                    <a:pt x="936" y="1134"/>
                  </a:lnTo>
                  <a:lnTo>
                    <a:pt x="930" y="1134"/>
                  </a:lnTo>
                  <a:lnTo>
                    <a:pt x="924" y="1134"/>
                  </a:lnTo>
                  <a:lnTo>
                    <a:pt x="918" y="1134"/>
                  </a:lnTo>
                  <a:lnTo>
                    <a:pt x="918" y="1128"/>
                  </a:lnTo>
                  <a:lnTo>
                    <a:pt x="918" y="1104"/>
                  </a:lnTo>
                  <a:lnTo>
                    <a:pt x="906" y="1104"/>
                  </a:lnTo>
                  <a:lnTo>
                    <a:pt x="900" y="1098"/>
                  </a:lnTo>
                  <a:lnTo>
                    <a:pt x="900" y="1092"/>
                  </a:lnTo>
                  <a:lnTo>
                    <a:pt x="900" y="1086"/>
                  </a:lnTo>
                  <a:lnTo>
                    <a:pt x="900" y="1080"/>
                  </a:lnTo>
                  <a:lnTo>
                    <a:pt x="894" y="1080"/>
                  </a:lnTo>
                  <a:lnTo>
                    <a:pt x="858" y="1074"/>
                  </a:lnTo>
                  <a:lnTo>
                    <a:pt x="852" y="1080"/>
                  </a:lnTo>
                  <a:lnTo>
                    <a:pt x="846" y="1086"/>
                  </a:lnTo>
                  <a:lnTo>
                    <a:pt x="840" y="1086"/>
                  </a:lnTo>
                  <a:lnTo>
                    <a:pt x="840" y="1092"/>
                  </a:lnTo>
                  <a:lnTo>
                    <a:pt x="834" y="1092"/>
                  </a:lnTo>
                  <a:lnTo>
                    <a:pt x="828" y="1098"/>
                  </a:lnTo>
                  <a:lnTo>
                    <a:pt x="822" y="1098"/>
                  </a:lnTo>
                  <a:lnTo>
                    <a:pt x="762" y="1074"/>
                  </a:lnTo>
                  <a:lnTo>
                    <a:pt x="756" y="1068"/>
                  </a:lnTo>
                  <a:lnTo>
                    <a:pt x="750" y="1068"/>
                  </a:lnTo>
                  <a:lnTo>
                    <a:pt x="744" y="1062"/>
                  </a:lnTo>
                  <a:lnTo>
                    <a:pt x="744" y="1068"/>
                  </a:lnTo>
                  <a:lnTo>
                    <a:pt x="744" y="1074"/>
                  </a:lnTo>
                  <a:lnTo>
                    <a:pt x="738" y="1074"/>
                  </a:lnTo>
                  <a:lnTo>
                    <a:pt x="738" y="1068"/>
                  </a:lnTo>
                  <a:lnTo>
                    <a:pt x="732" y="1068"/>
                  </a:lnTo>
                  <a:lnTo>
                    <a:pt x="726" y="1068"/>
                  </a:lnTo>
                  <a:lnTo>
                    <a:pt x="726" y="1074"/>
                  </a:lnTo>
                  <a:lnTo>
                    <a:pt x="720" y="1074"/>
                  </a:lnTo>
                  <a:lnTo>
                    <a:pt x="684" y="106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5" name="Freeform 40">
              <a:extLst>
                <a:ext uri="{FF2B5EF4-FFF2-40B4-BE49-F238E27FC236}">
                  <a16:creationId xmlns:a16="http://schemas.microsoft.com/office/drawing/2014/main" id="{37EC2F22-BDB9-4162-8FA4-08493F6898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3558" y="1520374"/>
              <a:ext cx="1057717" cy="1252440"/>
            </a:xfrm>
            <a:custGeom>
              <a:avLst/>
              <a:gdLst>
                <a:gd name="T0" fmla="*/ 98 w 1992"/>
                <a:gd name="T1" fmla="*/ 162 h 2358"/>
                <a:gd name="T2" fmla="*/ 93 w 1992"/>
                <a:gd name="T3" fmla="*/ 172 h 2358"/>
                <a:gd name="T4" fmla="*/ 82 w 1992"/>
                <a:gd name="T5" fmla="*/ 179 h 2358"/>
                <a:gd name="T6" fmla="*/ 70 w 1992"/>
                <a:gd name="T7" fmla="*/ 174 h 2358"/>
                <a:gd name="T8" fmla="*/ 62 w 1992"/>
                <a:gd name="T9" fmla="*/ 182 h 2358"/>
                <a:gd name="T10" fmla="*/ 45 w 1992"/>
                <a:gd name="T11" fmla="*/ 189 h 2358"/>
                <a:gd name="T12" fmla="*/ 24 w 1992"/>
                <a:gd name="T13" fmla="*/ 205 h 2358"/>
                <a:gd name="T14" fmla="*/ 17 w 1992"/>
                <a:gd name="T15" fmla="*/ 204 h 2358"/>
                <a:gd name="T16" fmla="*/ 7 w 1992"/>
                <a:gd name="T17" fmla="*/ 197 h 2358"/>
                <a:gd name="T18" fmla="*/ 1 w 1992"/>
                <a:gd name="T19" fmla="*/ 191 h 2358"/>
                <a:gd name="T20" fmla="*/ 4 w 1992"/>
                <a:gd name="T21" fmla="*/ 175 h 2358"/>
                <a:gd name="T22" fmla="*/ 7 w 1992"/>
                <a:gd name="T23" fmla="*/ 172 h 2358"/>
                <a:gd name="T24" fmla="*/ 11 w 1992"/>
                <a:gd name="T25" fmla="*/ 168 h 2358"/>
                <a:gd name="T26" fmla="*/ 5 w 1992"/>
                <a:gd name="T27" fmla="*/ 159 h 2358"/>
                <a:gd name="T28" fmla="*/ 10 w 1992"/>
                <a:gd name="T29" fmla="*/ 156 h 2358"/>
                <a:gd name="T30" fmla="*/ 15 w 1992"/>
                <a:gd name="T31" fmla="*/ 155 h 2358"/>
                <a:gd name="T32" fmla="*/ 24 w 1992"/>
                <a:gd name="T33" fmla="*/ 149 h 2358"/>
                <a:gd name="T34" fmla="*/ 38 w 1992"/>
                <a:gd name="T35" fmla="*/ 127 h 2358"/>
                <a:gd name="T36" fmla="*/ 38 w 1992"/>
                <a:gd name="T37" fmla="*/ 107 h 2358"/>
                <a:gd name="T38" fmla="*/ 45 w 1992"/>
                <a:gd name="T39" fmla="*/ 66 h 2358"/>
                <a:gd name="T40" fmla="*/ 47 w 1992"/>
                <a:gd name="T41" fmla="*/ 36 h 2358"/>
                <a:gd name="T42" fmla="*/ 51 w 1992"/>
                <a:gd name="T43" fmla="*/ 35 h 2358"/>
                <a:gd name="T44" fmla="*/ 55 w 1992"/>
                <a:gd name="T45" fmla="*/ 30 h 2358"/>
                <a:gd name="T46" fmla="*/ 56 w 1992"/>
                <a:gd name="T47" fmla="*/ 27 h 2358"/>
                <a:gd name="T48" fmla="*/ 60 w 1992"/>
                <a:gd name="T49" fmla="*/ 23 h 2358"/>
                <a:gd name="T50" fmla="*/ 63 w 1992"/>
                <a:gd name="T51" fmla="*/ 23 h 2358"/>
                <a:gd name="T52" fmla="*/ 70 w 1992"/>
                <a:gd name="T53" fmla="*/ 18 h 2358"/>
                <a:gd name="T54" fmla="*/ 71 w 1992"/>
                <a:gd name="T55" fmla="*/ 15 h 2358"/>
                <a:gd name="T56" fmla="*/ 72 w 1992"/>
                <a:gd name="T57" fmla="*/ 13 h 2358"/>
                <a:gd name="T58" fmla="*/ 77 w 1992"/>
                <a:gd name="T59" fmla="*/ 12 h 2358"/>
                <a:gd name="T60" fmla="*/ 83 w 1992"/>
                <a:gd name="T61" fmla="*/ 10 h 2358"/>
                <a:gd name="T62" fmla="*/ 87 w 1992"/>
                <a:gd name="T63" fmla="*/ 10 h 2358"/>
                <a:gd name="T64" fmla="*/ 89 w 1992"/>
                <a:gd name="T65" fmla="*/ 10 h 2358"/>
                <a:gd name="T66" fmla="*/ 93 w 1992"/>
                <a:gd name="T67" fmla="*/ 8 h 2358"/>
                <a:gd name="T68" fmla="*/ 95 w 1992"/>
                <a:gd name="T69" fmla="*/ 4 h 2358"/>
                <a:gd name="T70" fmla="*/ 99 w 1992"/>
                <a:gd name="T71" fmla="*/ 0 h 2358"/>
                <a:gd name="T72" fmla="*/ 111 w 1992"/>
                <a:gd name="T73" fmla="*/ 0 h 2358"/>
                <a:gd name="T74" fmla="*/ 121 w 1992"/>
                <a:gd name="T75" fmla="*/ 9 h 2358"/>
                <a:gd name="T76" fmla="*/ 128 w 1992"/>
                <a:gd name="T77" fmla="*/ 19 h 2358"/>
                <a:gd name="T78" fmla="*/ 138 w 1992"/>
                <a:gd name="T79" fmla="*/ 33 h 2358"/>
                <a:gd name="T80" fmla="*/ 142 w 1992"/>
                <a:gd name="T81" fmla="*/ 47 h 2358"/>
                <a:gd name="T82" fmla="*/ 145 w 1992"/>
                <a:gd name="T83" fmla="*/ 62 h 2358"/>
                <a:gd name="T84" fmla="*/ 145 w 1992"/>
                <a:gd name="T85" fmla="*/ 70 h 2358"/>
                <a:gd name="T86" fmla="*/ 147 w 1992"/>
                <a:gd name="T87" fmla="*/ 75 h 2358"/>
                <a:gd name="T88" fmla="*/ 153 w 1992"/>
                <a:gd name="T89" fmla="*/ 75 h 2358"/>
                <a:gd name="T90" fmla="*/ 160 w 1992"/>
                <a:gd name="T91" fmla="*/ 76 h 2358"/>
                <a:gd name="T92" fmla="*/ 164 w 1992"/>
                <a:gd name="T93" fmla="*/ 79 h 2358"/>
                <a:gd name="T94" fmla="*/ 168 w 1992"/>
                <a:gd name="T95" fmla="*/ 83 h 2358"/>
                <a:gd name="T96" fmla="*/ 172 w 1992"/>
                <a:gd name="T97" fmla="*/ 86 h 2358"/>
                <a:gd name="T98" fmla="*/ 170 w 1992"/>
                <a:gd name="T99" fmla="*/ 93 h 2358"/>
                <a:gd name="T100" fmla="*/ 170 w 1992"/>
                <a:gd name="T101" fmla="*/ 99 h 2358"/>
                <a:gd name="T102" fmla="*/ 169 w 1992"/>
                <a:gd name="T103" fmla="*/ 106 h 2358"/>
                <a:gd name="T104" fmla="*/ 166 w 1992"/>
                <a:gd name="T105" fmla="*/ 113 h 2358"/>
                <a:gd name="T106" fmla="*/ 170 w 1992"/>
                <a:gd name="T107" fmla="*/ 122 h 2358"/>
                <a:gd name="T108" fmla="*/ 159 w 1992"/>
                <a:gd name="T109" fmla="*/ 128 h 2358"/>
                <a:gd name="T110" fmla="*/ 148 w 1992"/>
                <a:gd name="T111" fmla="*/ 134 h 2358"/>
                <a:gd name="T112" fmla="*/ 139 w 1992"/>
                <a:gd name="T113" fmla="*/ 136 h 2358"/>
                <a:gd name="T114" fmla="*/ 132 w 1992"/>
                <a:gd name="T115" fmla="*/ 138 h 2358"/>
                <a:gd name="T116" fmla="*/ 128 w 1992"/>
                <a:gd name="T117" fmla="*/ 145 h 2358"/>
                <a:gd name="T118" fmla="*/ 124 w 1992"/>
                <a:gd name="T119" fmla="*/ 150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92"/>
                <a:gd name="T181" fmla="*/ 0 h 2358"/>
                <a:gd name="T182" fmla="*/ 1992 w 1992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92" h="2358">
                  <a:moveTo>
                    <a:pt x="1356" y="1782"/>
                  </a:moveTo>
                  <a:lnTo>
                    <a:pt x="1350" y="1788"/>
                  </a:lnTo>
                  <a:lnTo>
                    <a:pt x="1266" y="1788"/>
                  </a:lnTo>
                  <a:lnTo>
                    <a:pt x="1260" y="1800"/>
                  </a:lnTo>
                  <a:lnTo>
                    <a:pt x="1242" y="1806"/>
                  </a:lnTo>
                  <a:lnTo>
                    <a:pt x="1218" y="1812"/>
                  </a:lnTo>
                  <a:lnTo>
                    <a:pt x="1182" y="1812"/>
                  </a:lnTo>
                  <a:lnTo>
                    <a:pt x="1158" y="1806"/>
                  </a:lnTo>
                  <a:lnTo>
                    <a:pt x="1134" y="1800"/>
                  </a:lnTo>
                  <a:lnTo>
                    <a:pt x="1134" y="1806"/>
                  </a:lnTo>
                  <a:lnTo>
                    <a:pt x="1134" y="1830"/>
                  </a:lnTo>
                  <a:lnTo>
                    <a:pt x="1128" y="1842"/>
                  </a:lnTo>
                  <a:lnTo>
                    <a:pt x="1128" y="1854"/>
                  </a:lnTo>
                  <a:lnTo>
                    <a:pt x="1128" y="1860"/>
                  </a:lnTo>
                  <a:lnTo>
                    <a:pt x="1128" y="1866"/>
                  </a:lnTo>
                  <a:lnTo>
                    <a:pt x="1128" y="1872"/>
                  </a:lnTo>
                  <a:lnTo>
                    <a:pt x="1128" y="1884"/>
                  </a:lnTo>
                  <a:lnTo>
                    <a:pt x="1128" y="1890"/>
                  </a:lnTo>
                  <a:lnTo>
                    <a:pt x="1128" y="1896"/>
                  </a:lnTo>
                  <a:lnTo>
                    <a:pt x="1122" y="1902"/>
                  </a:lnTo>
                  <a:lnTo>
                    <a:pt x="1122" y="1920"/>
                  </a:lnTo>
                  <a:lnTo>
                    <a:pt x="1116" y="1920"/>
                  </a:lnTo>
                  <a:lnTo>
                    <a:pt x="1110" y="1926"/>
                  </a:lnTo>
                  <a:lnTo>
                    <a:pt x="1110" y="1932"/>
                  </a:lnTo>
                  <a:lnTo>
                    <a:pt x="1104" y="1938"/>
                  </a:lnTo>
                  <a:lnTo>
                    <a:pt x="1086" y="1962"/>
                  </a:lnTo>
                  <a:lnTo>
                    <a:pt x="1074" y="1974"/>
                  </a:lnTo>
                  <a:lnTo>
                    <a:pt x="1074" y="1980"/>
                  </a:lnTo>
                  <a:lnTo>
                    <a:pt x="1068" y="1986"/>
                  </a:lnTo>
                  <a:lnTo>
                    <a:pt x="1062" y="1998"/>
                  </a:lnTo>
                  <a:lnTo>
                    <a:pt x="1062" y="2004"/>
                  </a:lnTo>
                  <a:lnTo>
                    <a:pt x="1068" y="2004"/>
                  </a:lnTo>
                  <a:lnTo>
                    <a:pt x="1056" y="2034"/>
                  </a:lnTo>
                  <a:lnTo>
                    <a:pt x="1050" y="2076"/>
                  </a:lnTo>
                  <a:lnTo>
                    <a:pt x="1056" y="2100"/>
                  </a:lnTo>
                  <a:lnTo>
                    <a:pt x="1038" y="2106"/>
                  </a:lnTo>
                  <a:lnTo>
                    <a:pt x="1002" y="2106"/>
                  </a:lnTo>
                  <a:lnTo>
                    <a:pt x="978" y="2094"/>
                  </a:lnTo>
                  <a:lnTo>
                    <a:pt x="972" y="2082"/>
                  </a:lnTo>
                  <a:lnTo>
                    <a:pt x="966" y="2070"/>
                  </a:lnTo>
                  <a:lnTo>
                    <a:pt x="954" y="2064"/>
                  </a:lnTo>
                  <a:lnTo>
                    <a:pt x="942" y="2058"/>
                  </a:lnTo>
                  <a:lnTo>
                    <a:pt x="936" y="2058"/>
                  </a:lnTo>
                  <a:lnTo>
                    <a:pt x="918" y="2046"/>
                  </a:lnTo>
                  <a:lnTo>
                    <a:pt x="906" y="2028"/>
                  </a:lnTo>
                  <a:lnTo>
                    <a:pt x="900" y="2022"/>
                  </a:lnTo>
                  <a:lnTo>
                    <a:pt x="894" y="2022"/>
                  </a:lnTo>
                  <a:lnTo>
                    <a:pt x="882" y="2022"/>
                  </a:lnTo>
                  <a:lnTo>
                    <a:pt x="870" y="2016"/>
                  </a:lnTo>
                  <a:lnTo>
                    <a:pt x="864" y="2016"/>
                  </a:lnTo>
                  <a:lnTo>
                    <a:pt x="852" y="2010"/>
                  </a:lnTo>
                  <a:lnTo>
                    <a:pt x="846" y="2004"/>
                  </a:lnTo>
                  <a:lnTo>
                    <a:pt x="840" y="2004"/>
                  </a:lnTo>
                  <a:lnTo>
                    <a:pt x="828" y="1998"/>
                  </a:lnTo>
                  <a:lnTo>
                    <a:pt x="816" y="1998"/>
                  </a:lnTo>
                  <a:lnTo>
                    <a:pt x="810" y="1998"/>
                  </a:lnTo>
                  <a:lnTo>
                    <a:pt x="804" y="1998"/>
                  </a:lnTo>
                  <a:lnTo>
                    <a:pt x="798" y="1998"/>
                  </a:lnTo>
                  <a:lnTo>
                    <a:pt x="792" y="2004"/>
                  </a:lnTo>
                  <a:lnTo>
                    <a:pt x="786" y="2010"/>
                  </a:lnTo>
                  <a:lnTo>
                    <a:pt x="762" y="2010"/>
                  </a:lnTo>
                  <a:lnTo>
                    <a:pt x="756" y="2010"/>
                  </a:lnTo>
                  <a:lnTo>
                    <a:pt x="744" y="2022"/>
                  </a:lnTo>
                  <a:lnTo>
                    <a:pt x="738" y="2034"/>
                  </a:lnTo>
                  <a:lnTo>
                    <a:pt x="732" y="2040"/>
                  </a:lnTo>
                  <a:lnTo>
                    <a:pt x="732" y="2046"/>
                  </a:lnTo>
                  <a:lnTo>
                    <a:pt x="726" y="2058"/>
                  </a:lnTo>
                  <a:lnTo>
                    <a:pt x="720" y="2064"/>
                  </a:lnTo>
                  <a:lnTo>
                    <a:pt x="714" y="2070"/>
                  </a:lnTo>
                  <a:lnTo>
                    <a:pt x="708" y="2088"/>
                  </a:lnTo>
                  <a:lnTo>
                    <a:pt x="702" y="2100"/>
                  </a:lnTo>
                  <a:lnTo>
                    <a:pt x="690" y="2100"/>
                  </a:lnTo>
                  <a:lnTo>
                    <a:pt x="684" y="2094"/>
                  </a:lnTo>
                  <a:lnTo>
                    <a:pt x="666" y="2100"/>
                  </a:lnTo>
                  <a:lnTo>
                    <a:pt x="636" y="2106"/>
                  </a:lnTo>
                  <a:lnTo>
                    <a:pt x="636" y="2112"/>
                  </a:lnTo>
                  <a:lnTo>
                    <a:pt x="636" y="2118"/>
                  </a:lnTo>
                  <a:lnTo>
                    <a:pt x="636" y="2124"/>
                  </a:lnTo>
                  <a:lnTo>
                    <a:pt x="630" y="2124"/>
                  </a:lnTo>
                  <a:lnTo>
                    <a:pt x="630" y="2148"/>
                  </a:lnTo>
                  <a:lnTo>
                    <a:pt x="612" y="2160"/>
                  </a:lnTo>
                  <a:lnTo>
                    <a:pt x="576" y="2172"/>
                  </a:lnTo>
                  <a:lnTo>
                    <a:pt x="546" y="2172"/>
                  </a:lnTo>
                  <a:lnTo>
                    <a:pt x="516" y="2172"/>
                  </a:lnTo>
                  <a:lnTo>
                    <a:pt x="486" y="2172"/>
                  </a:lnTo>
                  <a:lnTo>
                    <a:pt x="462" y="2172"/>
                  </a:lnTo>
                  <a:lnTo>
                    <a:pt x="444" y="2196"/>
                  </a:lnTo>
                  <a:lnTo>
                    <a:pt x="432" y="2232"/>
                  </a:lnTo>
                  <a:lnTo>
                    <a:pt x="408" y="2238"/>
                  </a:lnTo>
                  <a:lnTo>
                    <a:pt x="390" y="2256"/>
                  </a:lnTo>
                  <a:lnTo>
                    <a:pt x="372" y="2274"/>
                  </a:lnTo>
                  <a:lnTo>
                    <a:pt x="360" y="2274"/>
                  </a:lnTo>
                  <a:lnTo>
                    <a:pt x="336" y="2328"/>
                  </a:lnTo>
                  <a:lnTo>
                    <a:pt x="324" y="2340"/>
                  </a:lnTo>
                  <a:lnTo>
                    <a:pt x="300" y="2346"/>
                  </a:lnTo>
                  <a:lnTo>
                    <a:pt x="294" y="2352"/>
                  </a:lnTo>
                  <a:lnTo>
                    <a:pt x="288" y="2352"/>
                  </a:lnTo>
                  <a:lnTo>
                    <a:pt x="282" y="2352"/>
                  </a:lnTo>
                  <a:lnTo>
                    <a:pt x="276" y="2352"/>
                  </a:lnTo>
                  <a:lnTo>
                    <a:pt x="270" y="2352"/>
                  </a:lnTo>
                  <a:lnTo>
                    <a:pt x="270" y="2346"/>
                  </a:lnTo>
                  <a:lnTo>
                    <a:pt x="264" y="2346"/>
                  </a:lnTo>
                  <a:lnTo>
                    <a:pt x="258" y="2352"/>
                  </a:lnTo>
                  <a:lnTo>
                    <a:pt x="252" y="2352"/>
                  </a:lnTo>
                  <a:lnTo>
                    <a:pt x="240" y="2352"/>
                  </a:lnTo>
                  <a:lnTo>
                    <a:pt x="228" y="2352"/>
                  </a:lnTo>
                  <a:lnTo>
                    <a:pt x="222" y="2352"/>
                  </a:lnTo>
                  <a:lnTo>
                    <a:pt x="216" y="2358"/>
                  </a:lnTo>
                  <a:lnTo>
                    <a:pt x="216" y="2352"/>
                  </a:lnTo>
                  <a:lnTo>
                    <a:pt x="210" y="2346"/>
                  </a:lnTo>
                  <a:lnTo>
                    <a:pt x="204" y="2346"/>
                  </a:lnTo>
                  <a:lnTo>
                    <a:pt x="198" y="2340"/>
                  </a:lnTo>
                  <a:lnTo>
                    <a:pt x="192" y="2340"/>
                  </a:lnTo>
                  <a:lnTo>
                    <a:pt x="186" y="2340"/>
                  </a:lnTo>
                  <a:lnTo>
                    <a:pt x="180" y="2340"/>
                  </a:lnTo>
                  <a:lnTo>
                    <a:pt x="174" y="2340"/>
                  </a:lnTo>
                  <a:lnTo>
                    <a:pt x="162" y="2328"/>
                  </a:lnTo>
                  <a:lnTo>
                    <a:pt x="156" y="2322"/>
                  </a:lnTo>
                  <a:lnTo>
                    <a:pt x="156" y="2316"/>
                  </a:lnTo>
                  <a:lnTo>
                    <a:pt x="156" y="2310"/>
                  </a:lnTo>
                  <a:lnTo>
                    <a:pt x="132" y="2286"/>
                  </a:lnTo>
                  <a:lnTo>
                    <a:pt x="120" y="2280"/>
                  </a:lnTo>
                  <a:lnTo>
                    <a:pt x="96" y="2274"/>
                  </a:lnTo>
                  <a:lnTo>
                    <a:pt x="84" y="2268"/>
                  </a:lnTo>
                  <a:lnTo>
                    <a:pt x="78" y="2268"/>
                  </a:lnTo>
                  <a:lnTo>
                    <a:pt x="78" y="2262"/>
                  </a:lnTo>
                  <a:lnTo>
                    <a:pt x="78" y="2256"/>
                  </a:lnTo>
                  <a:lnTo>
                    <a:pt x="78" y="2250"/>
                  </a:lnTo>
                  <a:lnTo>
                    <a:pt x="72" y="2250"/>
                  </a:lnTo>
                  <a:lnTo>
                    <a:pt x="66" y="2250"/>
                  </a:lnTo>
                  <a:lnTo>
                    <a:pt x="60" y="2250"/>
                  </a:lnTo>
                  <a:lnTo>
                    <a:pt x="48" y="2244"/>
                  </a:lnTo>
                  <a:lnTo>
                    <a:pt x="36" y="2238"/>
                  </a:lnTo>
                  <a:lnTo>
                    <a:pt x="36" y="2226"/>
                  </a:lnTo>
                  <a:lnTo>
                    <a:pt x="30" y="2226"/>
                  </a:lnTo>
                  <a:lnTo>
                    <a:pt x="30" y="2220"/>
                  </a:lnTo>
                  <a:lnTo>
                    <a:pt x="24" y="2208"/>
                  </a:lnTo>
                  <a:lnTo>
                    <a:pt x="18" y="2202"/>
                  </a:lnTo>
                  <a:lnTo>
                    <a:pt x="18" y="2196"/>
                  </a:lnTo>
                  <a:lnTo>
                    <a:pt x="12" y="2190"/>
                  </a:lnTo>
                  <a:lnTo>
                    <a:pt x="0" y="2190"/>
                  </a:lnTo>
                  <a:lnTo>
                    <a:pt x="6" y="2184"/>
                  </a:lnTo>
                  <a:lnTo>
                    <a:pt x="12" y="2178"/>
                  </a:lnTo>
                  <a:lnTo>
                    <a:pt x="18" y="2172"/>
                  </a:lnTo>
                  <a:lnTo>
                    <a:pt x="24" y="2166"/>
                  </a:lnTo>
                  <a:lnTo>
                    <a:pt x="30" y="2166"/>
                  </a:lnTo>
                  <a:lnTo>
                    <a:pt x="24" y="2160"/>
                  </a:lnTo>
                  <a:lnTo>
                    <a:pt x="30" y="2160"/>
                  </a:lnTo>
                  <a:lnTo>
                    <a:pt x="36" y="2154"/>
                  </a:lnTo>
                  <a:lnTo>
                    <a:pt x="36" y="2136"/>
                  </a:lnTo>
                  <a:lnTo>
                    <a:pt x="36" y="2118"/>
                  </a:lnTo>
                  <a:lnTo>
                    <a:pt x="48" y="2058"/>
                  </a:lnTo>
                  <a:lnTo>
                    <a:pt x="48" y="2022"/>
                  </a:lnTo>
                  <a:lnTo>
                    <a:pt x="48" y="2016"/>
                  </a:lnTo>
                  <a:lnTo>
                    <a:pt x="48" y="2010"/>
                  </a:lnTo>
                  <a:lnTo>
                    <a:pt x="48" y="2004"/>
                  </a:lnTo>
                  <a:lnTo>
                    <a:pt x="42" y="2004"/>
                  </a:lnTo>
                  <a:lnTo>
                    <a:pt x="42" y="1998"/>
                  </a:lnTo>
                  <a:lnTo>
                    <a:pt x="36" y="1992"/>
                  </a:lnTo>
                  <a:lnTo>
                    <a:pt x="42" y="1992"/>
                  </a:lnTo>
                  <a:lnTo>
                    <a:pt x="42" y="1986"/>
                  </a:lnTo>
                  <a:lnTo>
                    <a:pt x="48" y="1986"/>
                  </a:lnTo>
                  <a:lnTo>
                    <a:pt x="54" y="1986"/>
                  </a:lnTo>
                  <a:lnTo>
                    <a:pt x="60" y="1986"/>
                  </a:lnTo>
                  <a:lnTo>
                    <a:pt x="66" y="1980"/>
                  </a:lnTo>
                  <a:lnTo>
                    <a:pt x="72" y="1974"/>
                  </a:lnTo>
                  <a:lnTo>
                    <a:pt x="78" y="1974"/>
                  </a:lnTo>
                  <a:lnTo>
                    <a:pt x="84" y="1974"/>
                  </a:lnTo>
                  <a:lnTo>
                    <a:pt x="90" y="1974"/>
                  </a:lnTo>
                  <a:lnTo>
                    <a:pt x="96" y="1974"/>
                  </a:lnTo>
                  <a:lnTo>
                    <a:pt x="96" y="1968"/>
                  </a:lnTo>
                  <a:lnTo>
                    <a:pt x="102" y="1968"/>
                  </a:lnTo>
                  <a:lnTo>
                    <a:pt x="102" y="1962"/>
                  </a:lnTo>
                  <a:lnTo>
                    <a:pt x="108" y="1962"/>
                  </a:lnTo>
                  <a:lnTo>
                    <a:pt x="114" y="1956"/>
                  </a:lnTo>
                  <a:lnTo>
                    <a:pt x="120" y="1956"/>
                  </a:lnTo>
                  <a:lnTo>
                    <a:pt x="126" y="1950"/>
                  </a:lnTo>
                  <a:lnTo>
                    <a:pt x="132" y="1950"/>
                  </a:lnTo>
                  <a:lnTo>
                    <a:pt x="132" y="1944"/>
                  </a:lnTo>
                  <a:lnTo>
                    <a:pt x="126" y="1944"/>
                  </a:lnTo>
                  <a:lnTo>
                    <a:pt x="126" y="1938"/>
                  </a:lnTo>
                  <a:lnTo>
                    <a:pt x="126" y="1932"/>
                  </a:lnTo>
                  <a:lnTo>
                    <a:pt x="126" y="1926"/>
                  </a:lnTo>
                  <a:lnTo>
                    <a:pt x="114" y="1914"/>
                  </a:lnTo>
                  <a:lnTo>
                    <a:pt x="114" y="1896"/>
                  </a:lnTo>
                  <a:lnTo>
                    <a:pt x="108" y="1884"/>
                  </a:lnTo>
                  <a:lnTo>
                    <a:pt x="102" y="1872"/>
                  </a:lnTo>
                  <a:lnTo>
                    <a:pt x="96" y="1866"/>
                  </a:lnTo>
                  <a:lnTo>
                    <a:pt x="96" y="1860"/>
                  </a:lnTo>
                  <a:lnTo>
                    <a:pt x="90" y="1860"/>
                  </a:lnTo>
                  <a:lnTo>
                    <a:pt x="90" y="1854"/>
                  </a:lnTo>
                  <a:lnTo>
                    <a:pt x="84" y="1848"/>
                  </a:lnTo>
                  <a:lnTo>
                    <a:pt x="78" y="1842"/>
                  </a:lnTo>
                  <a:lnTo>
                    <a:pt x="72" y="1836"/>
                  </a:lnTo>
                  <a:lnTo>
                    <a:pt x="66" y="1830"/>
                  </a:lnTo>
                  <a:lnTo>
                    <a:pt x="60" y="1824"/>
                  </a:lnTo>
                  <a:lnTo>
                    <a:pt x="54" y="1824"/>
                  </a:lnTo>
                  <a:lnTo>
                    <a:pt x="48" y="1824"/>
                  </a:lnTo>
                  <a:lnTo>
                    <a:pt x="42" y="1818"/>
                  </a:lnTo>
                  <a:lnTo>
                    <a:pt x="54" y="1818"/>
                  </a:lnTo>
                  <a:lnTo>
                    <a:pt x="60" y="1812"/>
                  </a:lnTo>
                  <a:lnTo>
                    <a:pt x="66" y="1812"/>
                  </a:lnTo>
                  <a:lnTo>
                    <a:pt x="72" y="1812"/>
                  </a:lnTo>
                  <a:lnTo>
                    <a:pt x="78" y="1812"/>
                  </a:lnTo>
                  <a:lnTo>
                    <a:pt x="84" y="1812"/>
                  </a:lnTo>
                  <a:lnTo>
                    <a:pt x="90" y="1806"/>
                  </a:lnTo>
                  <a:lnTo>
                    <a:pt x="96" y="1800"/>
                  </a:lnTo>
                  <a:lnTo>
                    <a:pt x="102" y="1806"/>
                  </a:lnTo>
                  <a:lnTo>
                    <a:pt x="108" y="1800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26" y="1788"/>
                  </a:lnTo>
                  <a:lnTo>
                    <a:pt x="126" y="1794"/>
                  </a:lnTo>
                  <a:lnTo>
                    <a:pt x="132" y="1794"/>
                  </a:lnTo>
                  <a:lnTo>
                    <a:pt x="132" y="1788"/>
                  </a:lnTo>
                  <a:lnTo>
                    <a:pt x="138" y="1788"/>
                  </a:lnTo>
                  <a:lnTo>
                    <a:pt x="138" y="1782"/>
                  </a:lnTo>
                  <a:lnTo>
                    <a:pt x="144" y="1782"/>
                  </a:lnTo>
                  <a:lnTo>
                    <a:pt x="150" y="1776"/>
                  </a:lnTo>
                  <a:lnTo>
                    <a:pt x="156" y="1782"/>
                  </a:lnTo>
                  <a:lnTo>
                    <a:pt x="162" y="1776"/>
                  </a:lnTo>
                  <a:lnTo>
                    <a:pt x="168" y="1776"/>
                  </a:lnTo>
                  <a:lnTo>
                    <a:pt x="180" y="1776"/>
                  </a:lnTo>
                  <a:lnTo>
                    <a:pt x="186" y="1776"/>
                  </a:lnTo>
                  <a:lnTo>
                    <a:pt x="186" y="1782"/>
                  </a:lnTo>
                  <a:lnTo>
                    <a:pt x="192" y="1776"/>
                  </a:lnTo>
                  <a:lnTo>
                    <a:pt x="198" y="1776"/>
                  </a:lnTo>
                  <a:lnTo>
                    <a:pt x="204" y="1770"/>
                  </a:lnTo>
                  <a:lnTo>
                    <a:pt x="204" y="1764"/>
                  </a:lnTo>
                  <a:lnTo>
                    <a:pt x="210" y="1764"/>
                  </a:lnTo>
                  <a:lnTo>
                    <a:pt x="216" y="1764"/>
                  </a:lnTo>
                  <a:lnTo>
                    <a:pt x="216" y="1758"/>
                  </a:lnTo>
                  <a:lnTo>
                    <a:pt x="222" y="1758"/>
                  </a:lnTo>
                  <a:lnTo>
                    <a:pt x="228" y="1758"/>
                  </a:lnTo>
                  <a:lnTo>
                    <a:pt x="258" y="1746"/>
                  </a:lnTo>
                  <a:lnTo>
                    <a:pt x="282" y="1716"/>
                  </a:lnTo>
                  <a:lnTo>
                    <a:pt x="300" y="1698"/>
                  </a:lnTo>
                  <a:lnTo>
                    <a:pt x="312" y="1698"/>
                  </a:lnTo>
                  <a:lnTo>
                    <a:pt x="336" y="1698"/>
                  </a:lnTo>
                  <a:lnTo>
                    <a:pt x="360" y="1698"/>
                  </a:lnTo>
                  <a:lnTo>
                    <a:pt x="372" y="1692"/>
                  </a:lnTo>
                  <a:lnTo>
                    <a:pt x="384" y="1692"/>
                  </a:lnTo>
                  <a:lnTo>
                    <a:pt x="360" y="1668"/>
                  </a:lnTo>
                  <a:lnTo>
                    <a:pt x="348" y="1626"/>
                  </a:lnTo>
                  <a:lnTo>
                    <a:pt x="354" y="1578"/>
                  </a:lnTo>
                  <a:lnTo>
                    <a:pt x="354" y="1572"/>
                  </a:lnTo>
                  <a:lnTo>
                    <a:pt x="360" y="1572"/>
                  </a:lnTo>
                  <a:lnTo>
                    <a:pt x="396" y="1530"/>
                  </a:lnTo>
                  <a:lnTo>
                    <a:pt x="408" y="1482"/>
                  </a:lnTo>
                  <a:lnTo>
                    <a:pt x="438" y="1458"/>
                  </a:lnTo>
                  <a:lnTo>
                    <a:pt x="468" y="1422"/>
                  </a:lnTo>
                  <a:lnTo>
                    <a:pt x="480" y="1410"/>
                  </a:lnTo>
                  <a:lnTo>
                    <a:pt x="474" y="1386"/>
                  </a:lnTo>
                  <a:lnTo>
                    <a:pt x="456" y="1356"/>
                  </a:lnTo>
                  <a:lnTo>
                    <a:pt x="438" y="1350"/>
                  </a:lnTo>
                  <a:lnTo>
                    <a:pt x="420" y="1350"/>
                  </a:lnTo>
                  <a:lnTo>
                    <a:pt x="402" y="1350"/>
                  </a:lnTo>
                  <a:lnTo>
                    <a:pt x="390" y="1344"/>
                  </a:lnTo>
                  <a:lnTo>
                    <a:pt x="390" y="1332"/>
                  </a:lnTo>
                  <a:lnTo>
                    <a:pt x="402" y="1296"/>
                  </a:lnTo>
                  <a:lnTo>
                    <a:pt x="414" y="1260"/>
                  </a:lnTo>
                  <a:lnTo>
                    <a:pt x="426" y="1248"/>
                  </a:lnTo>
                  <a:lnTo>
                    <a:pt x="438" y="1242"/>
                  </a:lnTo>
                  <a:lnTo>
                    <a:pt x="432" y="1230"/>
                  </a:lnTo>
                  <a:lnTo>
                    <a:pt x="432" y="1224"/>
                  </a:lnTo>
                  <a:lnTo>
                    <a:pt x="426" y="1218"/>
                  </a:lnTo>
                  <a:lnTo>
                    <a:pt x="426" y="1206"/>
                  </a:lnTo>
                  <a:lnTo>
                    <a:pt x="426" y="1200"/>
                  </a:lnTo>
                  <a:lnTo>
                    <a:pt x="432" y="1194"/>
                  </a:lnTo>
                  <a:lnTo>
                    <a:pt x="426" y="1188"/>
                  </a:lnTo>
                  <a:lnTo>
                    <a:pt x="432" y="1104"/>
                  </a:lnTo>
                  <a:lnTo>
                    <a:pt x="438" y="1086"/>
                  </a:lnTo>
                  <a:lnTo>
                    <a:pt x="462" y="972"/>
                  </a:lnTo>
                  <a:lnTo>
                    <a:pt x="456" y="900"/>
                  </a:lnTo>
                  <a:lnTo>
                    <a:pt x="444" y="846"/>
                  </a:lnTo>
                  <a:lnTo>
                    <a:pt x="456" y="810"/>
                  </a:lnTo>
                  <a:lnTo>
                    <a:pt x="492" y="786"/>
                  </a:lnTo>
                  <a:lnTo>
                    <a:pt x="522" y="762"/>
                  </a:lnTo>
                  <a:lnTo>
                    <a:pt x="546" y="732"/>
                  </a:lnTo>
                  <a:lnTo>
                    <a:pt x="570" y="696"/>
                  </a:lnTo>
                  <a:lnTo>
                    <a:pt x="582" y="654"/>
                  </a:lnTo>
                  <a:lnTo>
                    <a:pt x="564" y="642"/>
                  </a:lnTo>
                  <a:lnTo>
                    <a:pt x="522" y="588"/>
                  </a:lnTo>
                  <a:lnTo>
                    <a:pt x="516" y="546"/>
                  </a:lnTo>
                  <a:lnTo>
                    <a:pt x="510" y="474"/>
                  </a:lnTo>
                  <a:lnTo>
                    <a:pt x="510" y="450"/>
                  </a:lnTo>
                  <a:lnTo>
                    <a:pt x="510" y="444"/>
                  </a:lnTo>
                  <a:lnTo>
                    <a:pt x="522" y="438"/>
                  </a:lnTo>
                  <a:lnTo>
                    <a:pt x="522" y="432"/>
                  </a:lnTo>
                  <a:lnTo>
                    <a:pt x="528" y="426"/>
                  </a:lnTo>
                  <a:lnTo>
                    <a:pt x="534" y="420"/>
                  </a:lnTo>
                  <a:lnTo>
                    <a:pt x="540" y="414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08"/>
                  </a:lnTo>
                  <a:lnTo>
                    <a:pt x="546" y="408"/>
                  </a:lnTo>
                  <a:lnTo>
                    <a:pt x="558" y="414"/>
                  </a:lnTo>
                  <a:lnTo>
                    <a:pt x="564" y="414"/>
                  </a:lnTo>
                  <a:lnTo>
                    <a:pt x="570" y="414"/>
                  </a:lnTo>
                  <a:lnTo>
                    <a:pt x="582" y="414"/>
                  </a:lnTo>
                  <a:lnTo>
                    <a:pt x="582" y="420"/>
                  </a:lnTo>
                  <a:lnTo>
                    <a:pt x="588" y="414"/>
                  </a:lnTo>
                  <a:lnTo>
                    <a:pt x="582" y="408"/>
                  </a:lnTo>
                  <a:lnTo>
                    <a:pt x="588" y="402"/>
                  </a:lnTo>
                  <a:lnTo>
                    <a:pt x="594" y="402"/>
                  </a:lnTo>
                  <a:lnTo>
                    <a:pt x="594" y="396"/>
                  </a:lnTo>
                  <a:lnTo>
                    <a:pt x="594" y="390"/>
                  </a:lnTo>
                  <a:lnTo>
                    <a:pt x="594" y="384"/>
                  </a:lnTo>
                  <a:lnTo>
                    <a:pt x="594" y="378"/>
                  </a:lnTo>
                  <a:lnTo>
                    <a:pt x="600" y="366"/>
                  </a:lnTo>
                  <a:lnTo>
                    <a:pt x="606" y="366"/>
                  </a:lnTo>
                  <a:lnTo>
                    <a:pt x="612" y="360"/>
                  </a:lnTo>
                  <a:lnTo>
                    <a:pt x="612" y="366"/>
                  </a:lnTo>
                  <a:lnTo>
                    <a:pt x="618" y="366"/>
                  </a:lnTo>
                  <a:lnTo>
                    <a:pt x="624" y="366"/>
                  </a:lnTo>
                  <a:lnTo>
                    <a:pt x="630" y="360"/>
                  </a:lnTo>
                  <a:lnTo>
                    <a:pt x="636" y="354"/>
                  </a:lnTo>
                  <a:lnTo>
                    <a:pt x="630" y="354"/>
                  </a:lnTo>
                  <a:lnTo>
                    <a:pt x="630" y="348"/>
                  </a:lnTo>
                  <a:lnTo>
                    <a:pt x="630" y="342"/>
                  </a:lnTo>
                  <a:lnTo>
                    <a:pt x="636" y="342"/>
                  </a:lnTo>
                  <a:lnTo>
                    <a:pt x="642" y="336"/>
                  </a:lnTo>
                  <a:lnTo>
                    <a:pt x="636" y="330"/>
                  </a:lnTo>
                  <a:lnTo>
                    <a:pt x="630" y="336"/>
                  </a:lnTo>
                  <a:lnTo>
                    <a:pt x="624" y="336"/>
                  </a:lnTo>
                  <a:lnTo>
                    <a:pt x="624" y="330"/>
                  </a:lnTo>
                  <a:lnTo>
                    <a:pt x="624" y="324"/>
                  </a:lnTo>
                  <a:lnTo>
                    <a:pt x="618" y="324"/>
                  </a:lnTo>
                  <a:lnTo>
                    <a:pt x="624" y="324"/>
                  </a:lnTo>
                  <a:lnTo>
                    <a:pt x="630" y="330"/>
                  </a:lnTo>
                  <a:lnTo>
                    <a:pt x="630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2" y="306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8" y="288"/>
                  </a:lnTo>
                  <a:lnTo>
                    <a:pt x="648" y="282"/>
                  </a:lnTo>
                  <a:lnTo>
                    <a:pt x="654" y="288"/>
                  </a:lnTo>
                  <a:lnTo>
                    <a:pt x="654" y="282"/>
                  </a:lnTo>
                  <a:lnTo>
                    <a:pt x="660" y="282"/>
                  </a:lnTo>
                  <a:lnTo>
                    <a:pt x="666" y="282"/>
                  </a:lnTo>
                  <a:lnTo>
                    <a:pt x="672" y="282"/>
                  </a:lnTo>
                  <a:lnTo>
                    <a:pt x="678" y="282"/>
                  </a:lnTo>
                  <a:lnTo>
                    <a:pt x="684" y="276"/>
                  </a:lnTo>
                  <a:lnTo>
                    <a:pt x="690" y="270"/>
                  </a:lnTo>
                  <a:lnTo>
                    <a:pt x="690" y="264"/>
                  </a:lnTo>
                  <a:lnTo>
                    <a:pt x="690" y="270"/>
                  </a:lnTo>
                  <a:lnTo>
                    <a:pt x="690" y="276"/>
                  </a:lnTo>
                  <a:lnTo>
                    <a:pt x="696" y="276"/>
                  </a:lnTo>
                  <a:lnTo>
                    <a:pt x="702" y="276"/>
                  </a:lnTo>
                  <a:lnTo>
                    <a:pt x="702" y="282"/>
                  </a:lnTo>
                  <a:lnTo>
                    <a:pt x="708" y="282"/>
                  </a:lnTo>
                  <a:lnTo>
                    <a:pt x="720" y="270"/>
                  </a:lnTo>
                  <a:lnTo>
                    <a:pt x="720" y="264"/>
                  </a:lnTo>
                  <a:lnTo>
                    <a:pt x="720" y="258"/>
                  </a:lnTo>
                  <a:lnTo>
                    <a:pt x="726" y="258"/>
                  </a:lnTo>
                  <a:lnTo>
                    <a:pt x="732" y="258"/>
                  </a:lnTo>
                  <a:lnTo>
                    <a:pt x="732" y="264"/>
                  </a:lnTo>
                  <a:lnTo>
                    <a:pt x="738" y="264"/>
                  </a:lnTo>
                  <a:lnTo>
                    <a:pt x="738" y="258"/>
                  </a:lnTo>
                  <a:lnTo>
                    <a:pt x="732" y="258"/>
                  </a:lnTo>
                  <a:lnTo>
                    <a:pt x="732" y="252"/>
                  </a:lnTo>
                  <a:lnTo>
                    <a:pt x="744" y="252"/>
                  </a:lnTo>
                  <a:lnTo>
                    <a:pt x="750" y="252"/>
                  </a:lnTo>
                  <a:lnTo>
                    <a:pt x="750" y="246"/>
                  </a:lnTo>
                  <a:lnTo>
                    <a:pt x="750" y="240"/>
                  </a:lnTo>
                  <a:lnTo>
                    <a:pt x="762" y="234"/>
                  </a:lnTo>
                  <a:lnTo>
                    <a:pt x="768" y="234"/>
                  </a:lnTo>
                  <a:lnTo>
                    <a:pt x="774" y="234"/>
                  </a:lnTo>
                  <a:lnTo>
                    <a:pt x="780" y="228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16"/>
                  </a:lnTo>
                  <a:lnTo>
                    <a:pt x="792" y="210"/>
                  </a:lnTo>
                  <a:lnTo>
                    <a:pt x="804" y="204"/>
                  </a:lnTo>
                  <a:lnTo>
                    <a:pt x="804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0" y="192"/>
                  </a:lnTo>
                  <a:lnTo>
                    <a:pt x="798" y="186"/>
                  </a:lnTo>
                  <a:lnTo>
                    <a:pt x="810" y="186"/>
                  </a:lnTo>
                  <a:lnTo>
                    <a:pt x="810" y="180"/>
                  </a:lnTo>
                  <a:lnTo>
                    <a:pt x="810" y="186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0" y="180"/>
                  </a:lnTo>
                  <a:lnTo>
                    <a:pt x="816" y="174"/>
                  </a:lnTo>
                  <a:lnTo>
                    <a:pt x="822" y="174"/>
                  </a:lnTo>
                  <a:lnTo>
                    <a:pt x="822" y="180"/>
                  </a:lnTo>
                  <a:lnTo>
                    <a:pt x="828" y="180"/>
                  </a:lnTo>
                  <a:lnTo>
                    <a:pt x="828" y="174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62"/>
                  </a:lnTo>
                  <a:lnTo>
                    <a:pt x="828" y="156"/>
                  </a:lnTo>
                  <a:lnTo>
                    <a:pt x="822" y="156"/>
                  </a:lnTo>
                  <a:lnTo>
                    <a:pt x="828" y="156"/>
                  </a:lnTo>
                  <a:lnTo>
                    <a:pt x="828" y="150"/>
                  </a:lnTo>
                  <a:lnTo>
                    <a:pt x="834" y="150"/>
                  </a:lnTo>
                  <a:lnTo>
                    <a:pt x="840" y="156"/>
                  </a:lnTo>
                  <a:lnTo>
                    <a:pt x="840" y="150"/>
                  </a:lnTo>
                  <a:lnTo>
                    <a:pt x="834" y="150"/>
                  </a:lnTo>
                  <a:lnTo>
                    <a:pt x="834" y="144"/>
                  </a:lnTo>
                  <a:lnTo>
                    <a:pt x="840" y="138"/>
                  </a:lnTo>
                  <a:lnTo>
                    <a:pt x="846" y="144"/>
                  </a:lnTo>
                  <a:lnTo>
                    <a:pt x="846" y="150"/>
                  </a:lnTo>
                  <a:lnTo>
                    <a:pt x="852" y="150"/>
                  </a:lnTo>
                  <a:lnTo>
                    <a:pt x="858" y="150"/>
                  </a:lnTo>
                  <a:lnTo>
                    <a:pt x="870" y="150"/>
                  </a:lnTo>
                  <a:lnTo>
                    <a:pt x="870" y="144"/>
                  </a:lnTo>
                  <a:lnTo>
                    <a:pt x="876" y="138"/>
                  </a:lnTo>
                  <a:lnTo>
                    <a:pt x="882" y="138"/>
                  </a:lnTo>
                  <a:lnTo>
                    <a:pt x="888" y="132"/>
                  </a:lnTo>
                  <a:lnTo>
                    <a:pt x="888" y="138"/>
                  </a:lnTo>
                  <a:lnTo>
                    <a:pt x="894" y="138"/>
                  </a:lnTo>
                  <a:lnTo>
                    <a:pt x="894" y="132"/>
                  </a:lnTo>
                  <a:lnTo>
                    <a:pt x="900" y="126"/>
                  </a:lnTo>
                  <a:lnTo>
                    <a:pt x="900" y="132"/>
                  </a:lnTo>
                  <a:lnTo>
                    <a:pt x="906" y="132"/>
                  </a:lnTo>
                  <a:lnTo>
                    <a:pt x="912" y="132"/>
                  </a:lnTo>
                  <a:lnTo>
                    <a:pt x="918" y="126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24" y="126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8" y="120"/>
                  </a:lnTo>
                  <a:lnTo>
                    <a:pt x="948" y="114"/>
                  </a:lnTo>
                  <a:lnTo>
                    <a:pt x="948" y="108"/>
                  </a:lnTo>
                  <a:lnTo>
                    <a:pt x="954" y="114"/>
                  </a:lnTo>
                  <a:lnTo>
                    <a:pt x="960" y="108"/>
                  </a:lnTo>
                  <a:lnTo>
                    <a:pt x="966" y="108"/>
                  </a:lnTo>
                  <a:lnTo>
                    <a:pt x="972" y="108"/>
                  </a:lnTo>
                  <a:lnTo>
                    <a:pt x="966" y="114"/>
                  </a:lnTo>
                  <a:lnTo>
                    <a:pt x="960" y="114"/>
                  </a:lnTo>
                  <a:lnTo>
                    <a:pt x="960" y="120"/>
                  </a:lnTo>
                  <a:lnTo>
                    <a:pt x="966" y="126"/>
                  </a:lnTo>
                  <a:lnTo>
                    <a:pt x="972" y="126"/>
                  </a:lnTo>
                  <a:lnTo>
                    <a:pt x="978" y="126"/>
                  </a:lnTo>
                  <a:lnTo>
                    <a:pt x="984" y="120"/>
                  </a:lnTo>
                  <a:lnTo>
                    <a:pt x="984" y="114"/>
                  </a:lnTo>
                  <a:lnTo>
                    <a:pt x="996" y="126"/>
                  </a:lnTo>
                  <a:lnTo>
                    <a:pt x="996" y="120"/>
                  </a:lnTo>
                  <a:lnTo>
                    <a:pt x="1002" y="120"/>
                  </a:lnTo>
                  <a:lnTo>
                    <a:pt x="996" y="114"/>
                  </a:lnTo>
                  <a:lnTo>
                    <a:pt x="1002" y="114"/>
                  </a:lnTo>
                  <a:lnTo>
                    <a:pt x="1008" y="114"/>
                  </a:lnTo>
                  <a:lnTo>
                    <a:pt x="1008" y="108"/>
                  </a:lnTo>
                  <a:lnTo>
                    <a:pt x="1014" y="108"/>
                  </a:lnTo>
                  <a:lnTo>
                    <a:pt x="1008" y="114"/>
                  </a:lnTo>
                  <a:lnTo>
                    <a:pt x="1008" y="120"/>
                  </a:lnTo>
                  <a:lnTo>
                    <a:pt x="1008" y="126"/>
                  </a:lnTo>
                  <a:lnTo>
                    <a:pt x="1014" y="126"/>
                  </a:lnTo>
                  <a:lnTo>
                    <a:pt x="1014" y="132"/>
                  </a:lnTo>
                  <a:lnTo>
                    <a:pt x="1020" y="132"/>
                  </a:lnTo>
                  <a:lnTo>
                    <a:pt x="1020" y="126"/>
                  </a:lnTo>
                  <a:lnTo>
                    <a:pt x="1020" y="120"/>
                  </a:lnTo>
                  <a:lnTo>
                    <a:pt x="1032" y="120"/>
                  </a:lnTo>
                  <a:lnTo>
                    <a:pt x="1038" y="120"/>
                  </a:lnTo>
                  <a:lnTo>
                    <a:pt x="1038" y="126"/>
                  </a:lnTo>
                  <a:lnTo>
                    <a:pt x="1044" y="132"/>
                  </a:lnTo>
                  <a:lnTo>
                    <a:pt x="1044" y="126"/>
                  </a:lnTo>
                  <a:lnTo>
                    <a:pt x="1050" y="120"/>
                  </a:lnTo>
                  <a:lnTo>
                    <a:pt x="1050" y="114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68" y="102"/>
                  </a:lnTo>
                  <a:lnTo>
                    <a:pt x="1074" y="96"/>
                  </a:lnTo>
                  <a:lnTo>
                    <a:pt x="1074" y="90"/>
                  </a:lnTo>
                  <a:lnTo>
                    <a:pt x="1068" y="90"/>
                  </a:lnTo>
                  <a:lnTo>
                    <a:pt x="1068" y="84"/>
                  </a:lnTo>
                  <a:lnTo>
                    <a:pt x="1080" y="84"/>
                  </a:lnTo>
                  <a:lnTo>
                    <a:pt x="1086" y="78"/>
                  </a:lnTo>
                  <a:lnTo>
                    <a:pt x="1086" y="72"/>
                  </a:lnTo>
                  <a:lnTo>
                    <a:pt x="1080" y="78"/>
                  </a:lnTo>
                  <a:lnTo>
                    <a:pt x="1080" y="72"/>
                  </a:lnTo>
                  <a:lnTo>
                    <a:pt x="1080" y="66"/>
                  </a:lnTo>
                  <a:lnTo>
                    <a:pt x="1074" y="66"/>
                  </a:lnTo>
                  <a:lnTo>
                    <a:pt x="1080" y="66"/>
                  </a:lnTo>
                  <a:lnTo>
                    <a:pt x="1080" y="60"/>
                  </a:lnTo>
                  <a:lnTo>
                    <a:pt x="1086" y="60"/>
                  </a:lnTo>
                  <a:lnTo>
                    <a:pt x="1086" y="54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2" y="42"/>
                  </a:lnTo>
                  <a:lnTo>
                    <a:pt x="1098" y="42"/>
                  </a:lnTo>
                  <a:lnTo>
                    <a:pt x="1104" y="36"/>
                  </a:lnTo>
                  <a:lnTo>
                    <a:pt x="1110" y="36"/>
                  </a:lnTo>
                  <a:lnTo>
                    <a:pt x="1110" y="30"/>
                  </a:lnTo>
                  <a:lnTo>
                    <a:pt x="1110" y="24"/>
                  </a:lnTo>
                  <a:lnTo>
                    <a:pt x="1116" y="24"/>
                  </a:lnTo>
                  <a:lnTo>
                    <a:pt x="1116" y="18"/>
                  </a:lnTo>
                  <a:lnTo>
                    <a:pt x="1122" y="18"/>
                  </a:lnTo>
                  <a:lnTo>
                    <a:pt x="1128" y="18"/>
                  </a:lnTo>
                  <a:lnTo>
                    <a:pt x="1134" y="12"/>
                  </a:lnTo>
                  <a:lnTo>
                    <a:pt x="1134" y="6"/>
                  </a:lnTo>
                  <a:lnTo>
                    <a:pt x="1140" y="6"/>
                  </a:lnTo>
                  <a:lnTo>
                    <a:pt x="1146" y="0"/>
                  </a:lnTo>
                  <a:lnTo>
                    <a:pt x="1152" y="0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70" y="0"/>
                  </a:lnTo>
                  <a:lnTo>
                    <a:pt x="1176" y="6"/>
                  </a:lnTo>
                  <a:lnTo>
                    <a:pt x="1182" y="6"/>
                  </a:lnTo>
                  <a:lnTo>
                    <a:pt x="1194" y="6"/>
                  </a:lnTo>
                  <a:lnTo>
                    <a:pt x="1200" y="6"/>
                  </a:lnTo>
                  <a:lnTo>
                    <a:pt x="1212" y="0"/>
                  </a:lnTo>
                  <a:lnTo>
                    <a:pt x="1212" y="6"/>
                  </a:lnTo>
                  <a:lnTo>
                    <a:pt x="1218" y="6"/>
                  </a:lnTo>
                  <a:lnTo>
                    <a:pt x="1266" y="6"/>
                  </a:lnTo>
                  <a:lnTo>
                    <a:pt x="1272" y="0"/>
                  </a:lnTo>
                  <a:lnTo>
                    <a:pt x="1278" y="6"/>
                  </a:lnTo>
                  <a:lnTo>
                    <a:pt x="1290" y="6"/>
                  </a:lnTo>
                  <a:lnTo>
                    <a:pt x="1296" y="6"/>
                  </a:lnTo>
                  <a:lnTo>
                    <a:pt x="1308" y="6"/>
                  </a:lnTo>
                  <a:lnTo>
                    <a:pt x="1314" y="6"/>
                  </a:lnTo>
                  <a:lnTo>
                    <a:pt x="1320" y="6"/>
                  </a:lnTo>
                  <a:lnTo>
                    <a:pt x="1326" y="12"/>
                  </a:lnTo>
                  <a:lnTo>
                    <a:pt x="1338" y="30"/>
                  </a:lnTo>
                  <a:lnTo>
                    <a:pt x="1344" y="36"/>
                  </a:lnTo>
                  <a:lnTo>
                    <a:pt x="1356" y="48"/>
                  </a:lnTo>
                  <a:lnTo>
                    <a:pt x="1362" y="60"/>
                  </a:lnTo>
                  <a:lnTo>
                    <a:pt x="1368" y="66"/>
                  </a:lnTo>
                  <a:lnTo>
                    <a:pt x="1374" y="72"/>
                  </a:lnTo>
                  <a:lnTo>
                    <a:pt x="1374" y="78"/>
                  </a:lnTo>
                  <a:lnTo>
                    <a:pt x="1398" y="108"/>
                  </a:lnTo>
                  <a:lnTo>
                    <a:pt x="1398" y="114"/>
                  </a:lnTo>
                  <a:lnTo>
                    <a:pt x="1404" y="114"/>
                  </a:lnTo>
                  <a:lnTo>
                    <a:pt x="1404" y="120"/>
                  </a:lnTo>
                  <a:lnTo>
                    <a:pt x="1410" y="132"/>
                  </a:lnTo>
                  <a:lnTo>
                    <a:pt x="1416" y="132"/>
                  </a:lnTo>
                  <a:lnTo>
                    <a:pt x="1416" y="138"/>
                  </a:lnTo>
                  <a:lnTo>
                    <a:pt x="1422" y="144"/>
                  </a:lnTo>
                  <a:lnTo>
                    <a:pt x="1428" y="150"/>
                  </a:lnTo>
                  <a:lnTo>
                    <a:pt x="1428" y="156"/>
                  </a:lnTo>
                  <a:lnTo>
                    <a:pt x="1458" y="192"/>
                  </a:lnTo>
                  <a:lnTo>
                    <a:pt x="1458" y="198"/>
                  </a:lnTo>
                  <a:lnTo>
                    <a:pt x="1464" y="204"/>
                  </a:lnTo>
                  <a:lnTo>
                    <a:pt x="1470" y="210"/>
                  </a:lnTo>
                  <a:lnTo>
                    <a:pt x="1476" y="216"/>
                  </a:lnTo>
                  <a:lnTo>
                    <a:pt x="1482" y="228"/>
                  </a:lnTo>
                  <a:lnTo>
                    <a:pt x="1488" y="234"/>
                  </a:lnTo>
                  <a:lnTo>
                    <a:pt x="1512" y="270"/>
                  </a:lnTo>
                  <a:lnTo>
                    <a:pt x="1512" y="276"/>
                  </a:lnTo>
                  <a:lnTo>
                    <a:pt x="1530" y="300"/>
                  </a:lnTo>
                  <a:lnTo>
                    <a:pt x="1536" y="306"/>
                  </a:lnTo>
                  <a:lnTo>
                    <a:pt x="1542" y="312"/>
                  </a:lnTo>
                  <a:lnTo>
                    <a:pt x="1542" y="318"/>
                  </a:lnTo>
                  <a:lnTo>
                    <a:pt x="1560" y="336"/>
                  </a:lnTo>
                  <a:lnTo>
                    <a:pt x="1566" y="348"/>
                  </a:lnTo>
                  <a:lnTo>
                    <a:pt x="1572" y="354"/>
                  </a:lnTo>
                  <a:lnTo>
                    <a:pt x="1578" y="360"/>
                  </a:lnTo>
                  <a:lnTo>
                    <a:pt x="1584" y="378"/>
                  </a:lnTo>
                  <a:lnTo>
                    <a:pt x="1590" y="378"/>
                  </a:lnTo>
                  <a:lnTo>
                    <a:pt x="1596" y="390"/>
                  </a:lnTo>
                  <a:lnTo>
                    <a:pt x="1602" y="396"/>
                  </a:lnTo>
                  <a:lnTo>
                    <a:pt x="1608" y="408"/>
                  </a:lnTo>
                  <a:lnTo>
                    <a:pt x="1614" y="408"/>
                  </a:lnTo>
                  <a:lnTo>
                    <a:pt x="1614" y="432"/>
                  </a:lnTo>
                  <a:lnTo>
                    <a:pt x="1620" y="438"/>
                  </a:lnTo>
                  <a:lnTo>
                    <a:pt x="1620" y="450"/>
                  </a:lnTo>
                  <a:lnTo>
                    <a:pt x="1620" y="462"/>
                  </a:lnTo>
                  <a:lnTo>
                    <a:pt x="1626" y="474"/>
                  </a:lnTo>
                  <a:lnTo>
                    <a:pt x="1626" y="480"/>
                  </a:lnTo>
                  <a:lnTo>
                    <a:pt x="1626" y="486"/>
                  </a:lnTo>
                  <a:lnTo>
                    <a:pt x="1632" y="522"/>
                  </a:lnTo>
                  <a:lnTo>
                    <a:pt x="1632" y="528"/>
                  </a:lnTo>
                  <a:lnTo>
                    <a:pt x="1632" y="534"/>
                  </a:lnTo>
                  <a:lnTo>
                    <a:pt x="1638" y="540"/>
                  </a:lnTo>
                  <a:lnTo>
                    <a:pt x="1638" y="558"/>
                  </a:lnTo>
                  <a:lnTo>
                    <a:pt x="1638" y="570"/>
                  </a:lnTo>
                  <a:lnTo>
                    <a:pt x="1644" y="582"/>
                  </a:lnTo>
                  <a:lnTo>
                    <a:pt x="1650" y="618"/>
                  </a:lnTo>
                  <a:lnTo>
                    <a:pt x="1650" y="624"/>
                  </a:lnTo>
                  <a:lnTo>
                    <a:pt x="1650" y="636"/>
                  </a:lnTo>
                  <a:lnTo>
                    <a:pt x="1656" y="642"/>
                  </a:lnTo>
                  <a:lnTo>
                    <a:pt x="1656" y="648"/>
                  </a:lnTo>
                  <a:lnTo>
                    <a:pt x="1656" y="654"/>
                  </a:lnTo>
                  <a:lnTo>
                    <a:pt x="1656" y="660"/>
                  </a:lnTo>
                  <a:lnTo>
                    <a:pt x="1662" y="696"/>
                  </a:lnTo>
                  <a:lnTo>
                    <a:pt x="1668" y="708"/>
                  </a:lnTo>
                  <a:lnTo>
                    <a:pt x="1668" y="714"/>
                  </a:lnTo>
                  <a:lnTo>
                    <a:pt x="1668" y="732"/>
                  </a:lnTo>
                  <a:lnTo>
                    <a:pt x="1668" y="744"/>
                  </a:lnTo>
                  <a:lnTo>
                    <a:pt x="1674" y="756"/>
                  </a:lnTo>
                  <a:lnTo>
                    <a:pt x="1680" y="762"/>
                  </a:lnTo>
                  <a:lnTo>
                    <a:pt x="1680" y="768"/>
                  </a:lnTo>
                  <a:lnTo>
                    <a:pt x="1680" y="774"/>
                  </a:lnTo>
                  <a:lnTo>
                    <a:pt x="1680" y="780"/>
                  </a:lnTo>
                  <a:lnTo>
                    <a:pt x="1674" y="786"/>
                  </a:lnTo>
                  <a:lnTo>
                    <a:pt x="1668" y="792"/>
                  </a:lnTo>
                  <a:lnTo>
                    <a:pt x="1668" y="798"/>
                  </a:lnTo>
                  <a:lnTo>
                    <a:pt x="1668" y="804"/>
                  </a:lnTo>
                  <a:lnTo>
                    <a:pt x="1674" y="804"/>
                  </a:lnTo>
                  <a:lnTo>
                    <a:pt x="1668" y="810"/>
                  </a:lnTo>
                  <a:lnTo>
                    <a:pt x="1674" y="810"/>
                  </a:lnTo>
                  <a:lnTo>
                    <a:pt x="1680" y="810"/>
                  </a:lnTo>
                  <a:lnTo>
                    <a:pt x="1680" y="816"/>
                  </a:lnTo>
                  <a:lnTo>
                    <a:pt x="1680" y="822"/>
                  </a:lnTo>
                  <a:lnTo>
                    <a:pt x="1674" y="822"/>
                  </a:lnTo>
                  <a:lnTo>
                    <a:pt x="1674" y="828"/>
                  </a:lnTo>
                  <a:lnTo>
                    <a:pt x="1668" y="828"/>
                  </a:lnTo>
                  <a:lnTo>
                    <a:pt x="1674" y="834"/>
                  </a:lnTo>
                  <a:lnTo>
                    <a:pt x="1668" y="834"/>
                  </a:lnTo>
                  <a:lnTo>
                    <a:pt x="1668" y="840"/>
                  </a:lnTo>
                  <a:lnTo>
                    <a:pt x="1674" y="840"/>
                  </a:lnTo>
                  <a:lnTo>
                    <a:pt x="1686" y="852"/>
                  </a:lnTo>
                  <a:lnTo>
                    <a:pt x="1692" y="858"/>
                  </a:lnTo>
                  <a:lnTo>
                    <a:pt x="1698" y="858"/>
                  </a:lnTo>
                  <a:lnTo>
                    <a:pt x="1698" y="864"/>
                  </a:lnTo>
                  <a:lnTo>
                    <a:pt x="1698" y="870"/>
                  </a:lnTo>
                  <a:lnTo>
                    <a:pt x="1704" y="864"/>
                  </a:lnTo>
                  <a:lnTo>
                    <a:pt x="1716" y="864"/>
                  </a:lnTo>
                  <a:lnTo>
                    <a:pt x="1722" y="864"/>
                  </a:lnTo>
                  <a:lnTo>
                    <a:pt x="1728" y="864"/>
                  </a:lnTo>
                  <a:lnTo>
                    <a:pt x="1734" y="864"/>
                  </a:lnTo>
                  <a:lnTo>
                    <a:pt x="1740" y="864"/>
                  </a:lnTo>
                  <a:lnTo>
                    <a:pt x="1746" y="876"/>
                  </a:lnTo>
                  <a:lnTo>
                    <a:pt x="1746" y="870"/>
                  </a:lnTo>
                  <a:lnTo>
                    <a:pt x="1740" y="864"/>
                  </a:lnTo>
                  <a:lnTo>
                    <a:pt x="1746" y="864"/>
                  </a:lnTo>
                  <a:lnTo>
                    <a:pt x="1752" y="870"/>
                  </a:lnTo>
                  <a:lnTo>
                    <a:pt x="1758" y="864"/>
                  </a:lnTo>
                  <a:lnTo>
                    <a:pt x="1764" y="864"/>
                  </a:lnTo>
                  <a:lnTo>
                    <a:pt x="1770" y="858"/>
                  </a:lnTo>
                  <a:lnTo>
                    <a:pt x="1782" y="864"/>
                  </a:lnTo>
                  <a:lnTo>
                    <a:pt x="1782" y="870"/>
                  </a:lnTo>
                  <a:lnTo>
                    <a:pt x="1788" y="864"/>
                  </a:lnTo>
                  <a:lnTo>
                    <a:pt x="1794" y="864"/>
                  </a:lnTo>
                  <a:lnTo>
                    <a:pt x="1800" y="870"/>
                  </a:lnTo>
                  <a:lnTo>
                    <a:pt x="1818" y="864"/>
                  </a:lnTo>
                  <a:lnTo>
                    <a:pt x="1824" y="870"/>
                  </a:lnTo>
                  <a:lnTo>
                    <a:pt x="1830" y="864"/>
                  </a:lnTo>
                  <a:lnTo>
                    <a:pt x="1836" y="864"/>
                  </a:lnTo>
                  <a:lnTo>
                    <a:pt x="1842" y="870"/>
                  </a:lnTo>
                  <a:lnTo>
                    <a:pt x="1842" y="876"/>
                  </a:lnTo>
                  <a:lnTo>
                    <a:pt x="1848" y="876"/>
                  </a:lnTo>
                  <a:lnTo>
                    <a:pt x="1848" y="870"/>
                  </a:lnTo>
                  <a:lnTo>
                    <a:pt x="1854" y="870"/>
                  </a:lnTo>
                  <a:lnTo>
                    <a:pt x="1860" y="870"/>
                  </a:lnTo>
                  <a:lnTo>
                    <a:pt x="1860" y="876"/>
                  </a:lnTo>
                  <a:lnTo>
                    <a:pt x="1866" y="876"/>
                  </a:lnTo>
                  <a:lnTo>
                    <a:pt x="1866" y="882"/>
                  </a:lnTo>
                  <a:lnTo>
                    <a:pt x="1872" y="882"/>
                  </a:lnTo>
                  <a:lnTo>
                    <a:pt x="1878" y="888"/>
                  </a:lnTo>
                  <a:lnTo>
                    <a:pt x="1890" y="888"/>
                  </a:lnTo>
                  <a:lnTo>
                    <a:pt x="1890" y="894"/>
                  </a:lnTo>
                  <a:lnTo>
                    <a:pt x="1890" y="900"/>
                  </a:lnTo>
                  <a:lnTo>
                    <a:pt x="1884" y="900"/>
                  </a:lnTo>
                  <a:lnTo>
                    <a:pt x="1884" y="906"/>
                  </a:lnTo>
                  <a:lnTo>
                    <a:pt x="1884" y="912"/>
                  </a:lnTo>
                  <a:lnTo>
                    <a:pt x="1890" y="912"/>
                  </a:lnTo>
                  <a:lnTo>
                    <a:pt x="1896" y="912"/>
                  </a:lnTo>
                  <a:lnTo>
                    <a:pt x="1902" y="912"/>
                  </a:lnTo>
                  <a:lnTo>
                    <a:pt x="1908" y="918"/>
                  </a:lnTo>
                  <a:lnTo>
                    <a:pt x="1908" y="924"/>
                  </a:lnTo>
                  <a:lnTo>
                    <a:pt x="1908" y="930"/>
                  </a:lnTo>
                  <a:lnTo>
                    <a:pt x="1908" y="936"/>
                  </a:lnTo>
                  <a:lnTo>
                    <a:pt x="1914" y="936"/>
                  </a:lnTo>
                  <a:lnTo>
                    <a:pt x="1914" y="942"/>
                  </a:lnTo>
                  <a:lnTo>
                    <a:pt x="1908" y="948"/>
                  </a:lnTo>
                  <a:lnTo>
                    <a:pt x="1914" y="948"/>
                  </a:lnTo>
                  <a:lnTo>
                    <a:pt x="1920" y="954"/>
                  </a:lnTo>
                  <a:lnTo>
                    <a:pt x="1926" y="954"/>
                  </a:lnTo>
                  <a:lnTo>
                    <a:pt x="1932" y="954"/>
                  </a:lnTo>
                  <a:lnTo>
                    <a:pt x="1938" y="954"/>
                  </a:lnTo>
                  <a:lnTo>
                    <a:pt x="1938" y="960"/>
                  </a:lnTo>
                  <a:lnTo>
                    <a:pt x="1944" y="966"/>
                  </a:lnTo>
                  <a:lnTo>
                    <a:pt x="1944" y="972"/>
                  </a:lnTo>
                  <a:lnTo>
                    <a:pt x="1944" y="978"/>
                  </a:lnTo>
                  <a:lnTo>
                    <a:pt x="1950" y="978"/>
                  </a:lnTo>
                  <a:lnTo>
                    <a:pt x="1950" y="984"/>
                  </a:lnTo>
                  <a:lnTo>
                    <a:pt x="1956" y="984"/>
                  </a:lnTo>
                  <a:lnTo>
                    <a:pt x="1962" y="984"/>
                  </a:lnTo>
                  <a:lnTo>
                    <a:pt x="1962" y="978"/>
                  </a:lnTo>
                  <a:lnTo>
                    <a:pt x="1968" y="978"/>
                  </a:lnTo>
                  <a:lnTo>
                    <a:pt x="1974" y="978"/>
                  </a:lnTo>
                  <a:lnTo>
                    <a:pt x="1980" y="972"/>
                  </a:lnTo>
                  <a:lnTo>
                    <a:pt x="1980" y="978"/>
                  </a:lnTo>
                  <a:lnTo>
                    <a:pt x="1980" y="984"/>
                  </a:lnTo>
                  <a:lnTo>
                    <a:pt x="1986" y="984"/>
                  </a:lnTo>
                  <a:lnTo>
                    <a:pt x="1992" y="990"/>
                  </a:lnTo>
                  <a:lnTo>
                    <a:pt x="1992" y="996"/>
                  </a:lnTo>
                  <a:lnTo>
                    <a:pt x="1992" y="1002"/>
                  </a:lnTo>
                  <a:lnTo>
                    <a:pt x="1974" y="1008"/>
                  </a:lnTo>
                  <a:lnTo>
                    <a:pt x="1974" y="1014"/>
                  </a:lnTo>
                  <a:lnTo>
                    <a:pt x="1974" y="1020"/>
                  </a:lnTo>
                  <a:lnTo>
                    <a:pt x="1974" y="1026"/>
                  </a:lnTo>
                  <a:lnTo>
                    <a:pt x="1968" y="1038"/>
                  </a:lnTo>
                  <a:lnTo>
                    <a:pt x="1968" y="1044"/>
                  </a:lnTo>
                  <a:lnTo>
                    <a:pt x="1974" y="1056"/>
                  </a:lnTo>
                  <a:lnTo>
                    <a:pt x="1968" y="1062"/>
                  </a:lnTo>
                  <a:lnTo>
                    <a:pt x="1962" y="1062"/>
                  </a:lnTo>
                  <a:lnTo>
                    <a:pt x="1956" y="1068"/>
                  </a:lnTo>
                  <a:lnTo>
                    <a:pt x="1956" y="1074"/>
                  </a:lnTo>
                  <a:lnTo>
                    <a:pt x="1956" y="1080"/>
                  </a:lnTo>
                  <a:lnTo>
                    <a:pt x="1956" y="1086"/>
                  </a:lnTo>
                  <a:lnTo>
                    <a:pt x="1956" y="1092"/>
                  </a:lnTo>
                  <a:lnTo>
                    <a:pt x="1962" y="1092"/>
                  </a:lnTo>
                  <a:lnTo>
                    <a:pt x="1962" y="1104"/>
                  </a:lnTo>
                  <a:lnTo>
                    <a:pt x="1968" y="1110"/>
                  </a:lnTo>
                  <a:lnTo>
                    <a:pt x="1968" y="1116"/>
                  </a:lnTo>
                  <a:lnTo>
                    <a:pt x="1974" y="1116"/>
                  </a:lnTo>
                  <a:lnTo>
                    <a:pt x="1974" y="1122"/>
                  </a:lnTo>
                  <a:lnTo>
                    <a:pt x="1980" y="1122"/>
                  </a:lnTo>
                  <a:lnTo>
                    <a:pt x="1974" y="1128"/>
                  </a:lnTo>
                  <a:lnTo>
                    <a:pt x="1968" y="1134"/>
                  </a:lnTo>
                  <a:lnTo>
                    <a:pt x="1962" y="1140"/>
                  </a:lnTo>
                  <a:lnTo>
                    <a:pt x="1962" y="1146"/>
                  </a:lnTo>
                  <a:lnTo>
                    <a:pt x="1968" y="1152"/>
                  </a:lnTo>
                  <a:lnTo>
                    <a:pt x="1968" y="1158"/>
                  </a:lnTo>
                  <a:lnTo>
                    <a:pt x="1962" y="1158"/>
                  </a:lnTo>
                  <a:lnTo>
                    <a:pt x="1962" y="1164"/>
                  </a:lnTo>
                  <a:lnTo>
                    <a:pt x="1956" y="1164"/>
                  </a:lnTo>
                  <a:lnTo>
                    <a:pt x="1956" y="1170"/>
                  </a:lnTo>
                  <a:lnTo>
                    <a:pt x="1944" y="1182"/>
                  </a:lnTo>
                  <a:lnTo>
                    <a:pt x="1944" y="1188"/>
                  </a:lnTo>
                  <a:lnTo>
                    <a:pt x="1950" y="1188"/>
                  </a:lnTo>
                  <a:lnTo>
                    <a:pt x="1944" y="1200"/>
                  </a:lnTo>
                  <a:lnTo>
                    <a:pt x="1944" y="1206"/>
                  </a:lnTo>
                  <a:lnTo>
                    <a:pt x="1944" y="1212"/>
                  </a:lnTo>
                  <a:lnTo>
                    <a:pt x="1944" y="1218"/>
                  </a:lnTo>
                  <a:lnTo>
                    <a:pt x="1944" y="1230"/>
                  </a:lnTo>
                  <a:lnTo>
                    <a:pt x="1944" y="1236"/>
                  </a:lnTo>
                  <a:lnTo>
                    <a:pt x="1944" y="1242"/>
                  </a:lnTo>
                  <a:lnTo>
                    <a:pt x="1938" y="1248"/>
                  </a:lnTo>
                  <a:lnTo>
                    <a:pt x="1938" y="1254"/>
                  </a:lnTo>
                  <a:lnTo>
                    <a:pt x="1932" y="1254"/>
                  </a:lnTo>
                  <a:lnTo>
                    <a:pt x="1926" y="1260"/>
                  </a:lnTo>
                  <a:lnTo>
                    <a:pt x="1920" y="1266"/>
                  </a:lnTo>
                  <a:lnTo>
                    <a:pt x="1914" y="1272"/>
                  </a:lnTo>
                  <a:lnTo>
                    <a:pt x="1908" y="1272"/>
                  </a:lnTo>
                  <a:lnTo>
                    <a:pt x="1908" y="1278"/>
                  </a:lnTo>
                  <a:lnTo>
                    <a:pt x="1914" y="1278"/>
                  </a:lnTo>
                  <a:lnTo>
                    <a:pt x="1914" y="1290"/>
                  </a:lnTo>
                  <a:lnTo>
                    <a:pt x="1920" y="1296"/>
                  </a:lnTo>
                  <a:lnTo>
                    <a:pt x="1938" y="1302"/>
                  </a:lnTo>
                  <a:lnTo>
                    <a:pt x="1944" y="1308"/>
                  </a:lnTo>
                  <a:lnTo>
                    <a:pt x="1950" y="1314"/>
                  </a:lnTo>
                  <a:lnTo>
                    <a:pt x="1956" y="1314"/>
                  </a:lnTo>
                  <a:lnTo>
                    <a:pt x="1962" y="1320"/>
                  </a:lnTo>
                  <a:lnTo>
                    <a:pt x="1962" y="1326"/>
                  </a:lnTo>
                  <a:lnTo>
                    <a:pt x="1968" y="1326"/>
                  </a:lnTo>
                  <a:lnTo>
                    <a:pt x="1968" y="1332"/>
                  </a:lnTo>
                  <a:lnTo>
                    <a:pt x="1968" y="1344"/>
                  </a:lnTo>
                  <a:lnTo>
                    <a:pt x="1968" y="1350"/>
                  </a:lnTo>
                  <a:lnTo>
                    <a:pt x="1968" y="1368"/>
                  </a:lnTo>
                  <a:lnTo>
                    <a:pt x="1962" y="1380"/>
                  </a:lnTo>
                  <a:lnTo>
                    <a:pt x="1968" y="1392"/>
                  </a:lnTo>
                  <a:lnTo>
                    <a:pt x="1962" y="1398"/>
                  </a:lnTo>
                  <a:lnTo>
                    <a:pt x="1956" y="1404"/>
                  </a:lnTo>
                  <a:lnTo>
                    <a:pt x="1950" y="1410"/>
                  </a:lnTo>
                  <a:lnTo>
                    <a:pt x="1944" y="1410"/>
                  </a:lnTo>
                  <a:lnTo>
                    <a:pt x="1932" y="1416"/>
                  </a:lnTo>
                  <a:lnTo>
                    <a:pt x="1926" y="1416"/>
                  </a:lnTo>
                  <a:lnTo>
                    <a:pt x="1896" y="1428"/>
                  </a:lnTo>
                  <a:lnTo>
                    <a:pt x="1884" y="1434"/>
                  </a:lnTo>
                  <a:lnTo>
                    <a:pt x="1878" y="1434"/>
                  </a:lnTo>
                  <a:lnTo>
                    <a:pt x="1866" y="1434"/>
                  </a:lnTo>
                  <a:lnTo>
                    <a:pt x="1854" y="1440"/>
                  </a:lnTo>
                  <a:lnTo>
                    <a:pt x="1848" y="1440"/>
                  </a:lnTo>
                  <a:lnTo>
                    <a:pt x="1842" y="1446"/>
                  </a:lnTo>
                  <a:lnTo>
                    <a:pt x="1842" y="1458"/>
                  </a:lnTo>
                  <a:lnTo>
                    <a:pt x="1836" y="1470"/>
                  </a:lnTo>
                  <a:lnTo>
                    <a:pt x="1830" y="1476"/>
                  </a:lnTo>
                  <a:lnTo>
                    <a:pt x="1824" y="1476"/>
                  </a:lnTo>
                  <a:lnTo>
                    <a:pt x="1806" y="1482"/>
                  </a:lnTo>
                  <a:lnTo>
                    <a:pt x="1800" y="1488"/>
                  </a:lnTo>
                  <a:lnTo>
                    <a:pt x="1794" y="1488"/>
                  </a:lnTo>
                  <a:lnTo>
                    <a:pt x="1788" y="1488"/>
                  </a:lnTo>
                  <a:lnTo>
                    <a:pt x="1776" y="1494"/>
                  </a:lnTo>
                  <a:lnTo>
                    <a:pt x="1764" y="1494"/>
                  </a:lnTo>
                  <a:lnTo>
                    <a:pt x="1758" y="1500"/>
                  </a:lnTo>
                  <a:lnTo>
                    <a:pt x="1746" y="1506"/>
                  </a:lnTo>
                  <a:lnTo>
                    <a:pt x="1728" y="1518"/>
                  </a:lnTo>
                  <a:lnTo>
                    <a:pt x="1716" y="1524"/>
                  </a:lnTo>
                  <a:lnTo>
                    <a:pt x="1710" y="1530"/>
                  </a:lnTo>
                  <a:lnTo>
                    <a:pt x="1704" y="1536"/>
                  </a:lnTo>
                  <a:lnTo>
                    <a:pt x="1698" y="1542"/>
                  </a:lnTo>
                  <a:lnTo>
                    <a:pt x="1692" y="1554"/>
                  </a:lnTo>
                  <a:lnTo>
                    <a:pt x="1686" y="1560"/>
                  </a:lnTo>
                  <a:lnTo>
                    <a:pt x="1680" y="1560"/>
                  </a:lnTo>
                  <a:lnTo>
                    <a:pt x="1674" y="1560"/>
                  </a:lnTo>
                  <a:lnTo>
                    <a:pt x="1656" y="1572"/>
                  </a:lnTo>
                  <a:lnTo>
                    <a:pt x="1650" y="1572"/>
                  </a:lnTo>
                  <a:lnTo>
                    <a:pt x="1644" y="1572"/>
                  </a:lnTo>
                  <a:lnTo>
                    <a:pt x="1638" y="1578"/>
                  </a:lnTo>
                  <a:lnTo>
                    <a:pt x="1632" y="1578"/>
                  </a:lnTo>
                  <a:lnTo>
                    <a:pt x="1626" y="1578"/>
                  </a:lnTo>
                  <a:lnTo>
                    <a:pt x="1620" y="1572"/>
                  </a:lnTo>
                  <a:lnTo>
                    <a:pt x="1614" y="1572"/>
                  </a:lnTo>
                  <a:lnTo>
                    <a:pt x="1608" y="1566"/>
                  </a:lnTo>
                  <a:lnTo>
                    <a:pt x="1602" y="1560"/>
                  </a:lnTo>
                  <a:lnTo>
                    <a:pt x="1596" y="1554"/>
                  </a:lnTo>
                  <a:lnTo>
                    <a:pt x="1590" y="1548"/>
                  </a:lnTo>
                  <a:lnTo>
                    <a:pt x="1578" y="1548"/>
                  </a:lnTo>
                  <a:lnTo>
                    <a:pt x="1572" y="1548"/>
                  </a:lnTo>
                  <a:lnTo>
                    <a:pt x="1566" y="1548"/>
                  </a:lnTo>
                  <a:lnTo>
                    <a:pt x="1554" y="1536"/>
                  </a:lnTo>
                  <a:lnTo>
                    <a:pt x="1548" y="1536"/>
                  </a:lnTo>
                  <a:lnTo>
                    <a:pt x="1542" y="1542"/>
                  </a:lnTo>
                  <a:lnTo>
                    <a:pt x="1536" y="1548"/>
                  </a:lnTo>
                  <a:lnTo>
                    <a:pt x="1536" y="1566"/>
                  </a:lnTo>
                  <a:lnTo>
                    <a:pt x="1530" y="1572"/>
                  </a:lnTo>
                  <a:lnTo>
                    <a:pt x="1524" y="1578"/>
                  </a:lnTo>
                  <a:lnTo>
                    <a:pt x="1518" y="1584"/>
                  </a:lnTo>
                  <a:lnTo>
                    <a:pt x="1512" y="1596"/>
                  </a:lnTo>
                  <a:lnTo>
                    <a:pt x="1506" y="1602"/>
                  </a:lnTo>
                  <a:lnTo>
                    <a:pt x="1506" y="1608"/>
                  </a:lnTo>
                  <a:lnTo>
                    <a:pt x="1506" y="1614"/>
                  </a:lnTo>
                  <a:lnTo>
                    <a:pt x="1500" y="1614"/>
                  </a:lnTo>
                  <a:lnTo>
                    <a:pt x="1500" y="1620"/>
                  </a:lnTo>
                  <a:lnTo>
                    <a:pt x="1500" y="1626"/>
                  </a:lnTo>
                  <a:lnTo>
                    <a:pt x="1494" y="1632"/>
                  </a:lnTo>
                  <a:lnTo>
                    <a:pt x="1488" y="1638"/>
                  </a:lnTo>
                  <a:lnTo>
                    <a:pt x="1482" y="1638"/>
                  </a:lnTo>
                  <a:lnTo>
                    <a:pt x="1482" y="1644"/>
                  </a:lnTo>
                  <a:lnTo>
                    <a:pt x="1482" y="1650"/>
                  </a:lnTo>
                  <a:lnTo>
                    <a:pt x="1482" y="1656"/>
                  </a:lnTo>
                  <a:lnTo>
                    <a:pt x="1476" y="1662"/>
                  </a:lnTo>
                  <a:lnTo>
                    <a:pt x="1470" y="1668"/>
                  </a:lnTo>
                  <a:lnTo>
                    <a:pt x="1464" y="1674"/>
                  </a:lnTo>
                  <a:lnTo>
                    <a:pt x="1464" y="1680"/>
                  </a:lnTo>
                  <a:lnTo>
                    <a:pt x="1458" y="1680"/>
                  </a:lnTo>
                  <a:lnTo>
                    <a:pt x="1452" y="1686"/>
                  </a:lnTo>
                  <a:lnTo>
                    <a:pt x="1446" y="1686"/>
                  </a:lnTo>
                  <a:lnTo>
                    <a:pt x="1440" y="1698"/>
                  </a:lnTo>
                  <a:lnTo>
                    <a:pt x="1440" y="1704"/>
                  </a:lnTo>
                  <a:lnTo>
                    <a:pt x="1434" y="1710"/>
                  </a:lnTo>
                  <a:lnTo>
                    <a:pt x="1434" y="1716"/>
                  </a:lnTo>
                  <a:lnTo>
                    <a:pt x="1428" y="1716"/>
                  </a:lnTo>
                  <a:lnTo>
                    <a:pt x="1428" y="1722"/>
                  </a:lnTo>
                  <a:lnTo>
                    <a:pt x="1428" y="1728"/>
                  </a:lnTo>
                  <a:lnTo>
                    <a:pt x="1422" y="1728"/>
                  </a:lnTo>
                  <a:lnTo>
                    <a:pt x="1422" y="1734"/>
                  </a:lnTo>
                  <a:lnTo>
                    <a:pt x="1416" y="1734"/>
                  </a:lnTo>
                  <a:lnTo>
                    <a:pt x="1410" y="1734"/>
                  </a:lnTo>
                  <a:lnTo>
                    <a:pt x="1392" y="1746"/>
                  </a:lnTo>
                  <a:lnTo>
                    <a:pt x="1386" y="1746"/>
                  </a:lnTo>
                  <a:lnTo>
                    <a:pt x="1368" y="1752"/>
                  </a:lnTo>
                  <a:lnTo>
                    <a:pt x="1362" y="1758"/>
                  </a:lnTo>
                  <a:lnTo>
                    <a:pt x="1362" y="1770"/>
                  </a:lnTo>
                  <a:lnTo>
                    <a:pt x="1356" y="178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</p:grpSp>
      <p:graphicFrame>
        <p:nvGraphicFramePr>
          <p:cNvPr id="357" name="Group 76">
            <a:extLst>
              <a:ext uri="{FF2B5EF4-FFF2-40B4-BE49-F238E27FC236}">
                <a16:creationId xmlns:a16="http://schemas.microsoft.com/office/drawing/2014/main" id="{57830D68-CF73-4A3E-9D36-141B03AADB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8758334"/>
              </p:ext>
            </p:extLst>
          </p:nvPr>
        </p:nvGraphicFramePr>
        <p:xfrm>
          <a:off x="541338" y="3402013"/>
          <a:ext cx="3735387" cy="1827306"/>
        </p:xfrm>
        <a:graphic>
          <a:graphicData uri="http://schemas.openxmlformats.org/drawingml/2006/table">
            <a:tbl>
              <a:tblPr/>
              <a:tblGrid>
                <a:gridCol w="1316931">
                  <a:extLst>
                    <a:ext uri="{9D8B030D-6E8A-4147-A177-3AD203B41FA5}">
                      <a16:colId xmlns:a16="http://schemas.microsoft.com/office/drawing/2014/main" val="2027704273"/>
                    </a:ext>
                  </a:extLst>
                </a:gridCol>
                <a:gridCol w="603796">
                  <a:extLst>
                    <a:ext uri="{9D8B030D-6E8A-4147-A177-3AD203B41FA5}">
                      <a16:colId xmlns:a16="http://schemas.microsoft.com/office/drawing/2014/main" val="3432768286"/>
                    </a:ext>
                  </a:extLst>
                </a:gridCol>
                <a:gridCol w="744015">
                  <a:extLst>
                    <a:ext uri="{9D8B030D-6E8A-4147-A177-3AD203B41FA5}">
                      <a16:colId xmlns:a16="http://schemas.microsoft.com/office/drawing/2014/main" val="3730294207"/>
                    </a:ext>
                  </a:extLst>
                </a:gridCol>
                <a:gridCol w="1070645">
                  <a:extLst>
                    <a:ext uri="{9D8B030D-6E8A-4147-A177-3AD203B41FA5}">
                      <a16:colId xmlns:a16="http://schemas.microsoft.com/office/drawing/2014/main" val="2258321117"/>
                    </a:ext>
                  </a:extLst>
                </a:gridCol>
              </a:tblGrid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apital</a:t>
                      </a:r>
                      <a:endParaRPr kumimoji="0" lang="en-SG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292929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SG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Abakaliki</a:t>
                      </a:r>
                      <a:endParaRPr kumimoji="0" lang="en-SG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703009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nd Are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6,400 km</a:t>
                      </a:r>
                      <a:r>
                        <a:rPr kumimoji="0" lang="en-US" altLang="en-US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2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603614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Population (2017E)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,869,320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5 of 37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505851"/>
                  </a:ext>
                </a:extLst>
              </a:tr>
              <a:tr h="203024">
                <a:tc row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Dem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0-14: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,188,659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41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130093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5-64: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,578,373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55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387564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65+: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   102,288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[4%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38801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bour force 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,439,380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13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797882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limate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ropical savann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3942226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op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Grassland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32899"/>
                  </a:ext>
                </a:extLst>
              </a:tr>
            </a:tbl>
          </a:graphicData>
        </a:graphic>
      </p:graphicFrame>
      <p:pic>
        <p:nvPicPr>
          <p:cNvPr id="23609" name="Picture 13">
            <a:extLst>
              <a:ext uri="{FF2B5EF4-FFF2-40B4-BE49-F238E27FC236}">
                <a16:creationId xmlns:a16="http://schemas.microsoft.com/office/drawing/2014/main" id="{952964D5-F0ED-4CAE-B71C-DB4A723FA5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0" y="3006725"/>
            <a:ext cx="1116013" cy="155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9" name="TextBox 378">
            <a:extLst>
              <a:ext uri="{FF2B5EF4-FFF2-40B4-BE49-F238E27FC236}">
                <a16:creationId xmlns:a16="http://schemas.microsoft.com/office/drawing/2014/main" id="{1B3FD4BF-4685-4C74-821F-10048D6246BF}"/>
              </a:ext>
            </a:extLst>
          </p:cNvPr>
          <p:cNvSpPr txBox="1"/>
          <p:nvPr/>
        </p:nvSpPr>
        <p:spPr>
          <a:xfrm>
            <a:off x="6124575" y="957263"/>
            <a:ext cx="3475038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mpetitive Advantages</a:t>
            </a: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455FE7A1-ADE5-4F7B-A489-00196671A53E}"/>
              </a:ext>
            </a:extLst>
          </p:cNvPr>
          <p:cNvSpPr/>
          <p:nvPr/>
        </p:nvSpPr>
        <p:spPr>
          <a:xfrm>
            <a:off x="4267248" y="1187511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5.1bn/$16.7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EBB25788-D073-4A78-9D6C-DF3836CFFFBB}"/>
              </a:ext>
            </a:extLst>
          </p:cNvPr>
          <p:cNvSpPr txBox="1"/>
          <p:nvPr/>
        </p:nvSpPr>
        <p:spPr>
          <a:xfrm>
            <a:off x="4267200" y="955675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GR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6F07DF39-553B-44F0-8864-1F897C2BD79A}"/>
              </a:ext>
            </a:extLst>
          </p:cNvPr>
          <p:cNvSpPr/>
          <p:nvPr/>
        </p:nvSpPr>
        <p:spPr>
          <a:xfrm>
            <a:off x="4267252" y="1809750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208.3bn/$682.9bn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2508695A-2D2C-45A3-80FE-9C2CB18200C2}"/>
              </a:ext>
            </a:extLst>
          </p:cNvPr>
          <p:cNvSpPr txBox="1"/>
          <p:nvPr/>
        </p:nvSpPr>
        <p:spPr>
          <a:xfrm>
            <a:off x="4267200" y="1576388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Budget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8)</a:t>
            </a: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86A33ABE-3AE3-40A7-A6A6-1B757A6A9B0F}"/>
              </a:ext>
            </a:extLst>
          </p:cNvPr>
          <p:cNvSpPr/>
          <p:nvPr/>
        </p:nvSpPr>
        <p:spPr>
          <a:xfrm>
            <a:off x="4256076" y="2667155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815bn /$2.7bn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1E919764-A18B-4532-A533-A84A31D7FEFE}"/>
              </a:ext>
            </a:extLst>
          </p:cNvPr>
          <p:cNvSpPr txBox="1"/>
          <p:nvPr/>
        </p:nvSpPr>
        <p:spPr>
          <a:xfrm>
            <a:off x="4256088" y="2185988"/>
            <a:ext cx="1811337" cy="50641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Household </a:t>
            </a:r>
          </a:p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nsumption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96" name="Plaque 95">
            <a:extLst>
              <a:ext uri="{FF2B5EF4-FFF2-40B4-BE49-F238E27FC236}">
                <a16:creationId xmlns:a16="http://schemas.microsoft.com/office/drawing/2014/main" id="{E3BE1182-17B4-4194-8641-F1EA2CCBB757}"/>
              </a:ext>
            </a:extLst>
          </p:cNvPr>
          <p:cNvSpPr/>
          <p:nvPr/>
        </p:nvSpPr>
        <p:spPr>
          <a:xfrm>
            <a:off x="5638800" y="2805162"/>
            <a:ext cx="428625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31 of 36</a:t>
            </a:r>
          </a:p>
        </p:txBody>
      </p:sp>
      <p:sp>
        <p:nvSpPr>
          <p:cNvPr id="99" name="Plaque 98">
            <a:extLst>
              <a:ext uri="{FF2B5EF4-FFF2-40B4-BE49-F238E27FC236}">
                <a16:creationId xmlns:a16="http://schemas.microsoft.com/office/drawing/2014/main" id="{8620E393-1C52-4CE1-9888-20922FA6DFEA}"/>
              </a:ext>
            </a:extLst>
          </p:cNvPr>
          <p:cNvSpPr/>
          <p:nvPr/>
        </p:nvSpPr>
        <p:spPr>
          <a:xfrm>
            <a:off x="5638800" y="1960612"/>
            <a:ext cx="428626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3 of 36</a:t>
            </a:r>
          </a:p>
        </p:txBody>
      </p:sp>
      <p:sp>
        <p:nvSpPr>
          <p:cNvPr id="100" name="Plaque 99">
            <a:extLst>
              <a:ext uri="{FF2B5EF4-FFF2-40B4-BE49-F238E27FC236}">
                <a16:creationId xmlns:a16="http://schemas.microsoft.com/office/drawing/2014/main" id="{3BFA6D28-9A42-4459-8BF1-090CE1B45216}"/>
              </a:ext>
            </a:extLst>
          </p:cNvPr>
          <p:cNvSpPr/>
          <p:nvPr/>
        </p:nvSpPr>
        <p:spPr>
          <a:xfrm>
            <a:off x="5638800" y="1333500"/>
            <a:ext cx="430213" cy="1539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latin typeface="Calibri" panose="020F0502020204030204" pitchFamily="34" charset="0"/>
                <a:cs typeface="Calibri" panose="020F0502020204030204" pitchFamily="34" charset="0"/>
              </a:rPr>
              <a:t>31 of 36</a:t>
            </a:r>
          </a:p>
        </p:txBody>
      </p:sp>
      <p:sp>
        <p:nvSpPr>
          <p:cNvPr id="101" name="Pentagon 19">
            <a:extLst>
              <a:ext uri="{FF2B5EF4-FFF2-40B4-BE49-F238E27FC236}">
                <a16:creationId xmlns:a16="http://schemas.microsoft.com/office/drawing/2014/main" id="{CCD74FA4-19D0-4356-90C9-B3B49BCC3F54}"/>
              </a:ext>
            </a:extLst>
          </p:cNvPr>
          <p:cNvSpPr>
            <a:spLocks/>
          </p:cNvSpPr>
          <p:nvPr/>
        </p:nvSpPr>
        <p:spPr bwMode="auto">
          <a:xfrm>
            <a:off x="688340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32 of 37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12EE735-1E43-4799-A46A-5D0787F375CE}"/>
              </a:ext>
            </a:extLst>
          </p:cNvPr>
          <p:cNvSpPr/>
          <p:nvPr/>
        </p:nvSpPr>
        <p:spPr>
          <a:xfrm>
            <a:off x="6880225" y="5726113"/>
            <a:ext cx="642938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Starting a Business</a:t>
            </a:r>
          </a:p>
        </p:txBody>
      </p:sp>
      <p:pic>
        <p:nvPicPr>
          <p:cNvPr id="23622" name="Picture 3">
            <a:extLst>
              <a:ext uri="{FF2B5EF4-FFF2-40B4-BE49-F238E27FC236}">
                <a16:creationId xmlns:a16="http://schemas.microsoft.com/office/drawing/2014/main" id="{53FAD0C6-8FFE-437B-B7E4-F2A938D3BE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350" y="5249863"/>
            <a:ext cx="41910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23" name="Freeform 15">
            <a:extLst>
              <a:ext uri="{FF2B5EF4-FFF2-40B4-BE49-F238E27FC236}">
                <a16:creationId xmlns:a16="http://schemas.microsoft.com/office/drawing/2014/main" id="{183A3C8B-011E-4D99-9165-3FF03A2D3207}"/>
              </a:ext>
            </a:extLst>
          </p:cNvPr>
          <p:cNvSpPr>
            <a:spLocks noEditPoints="1"/>
          </p:cNvSpPr>
          <p:nvPr/>
        </p:nvSpPr>
        <p:spPr bwMode="auto">
          <a:xfrm>
            <a:off x="9093200" y="5257800"/>
            <a:ext cx="276225" cy="347663"/>
          </a:xfrm>
          <a:custGeom>
            <a:avLst/>
            <a:gdLst>
              <a:gd name="T0" fmla="*/ 2147483646 w 3556"/>
              <a:gd name="T1" fmla="*/ 2147483646 h 3950"/>
              <a:gd name="T2" fmla="*/ 2147483646 w 3556"/>
              <a:gd name="T3" fmla="*/ 2147483646 h 3950"/>
              <a:gd name="T4" fmla="*/ 2147483646 w 3556"/>
              <a:gd name="T5" fmla="*/ 2147483646 h 3950"/>
              <a:gd name="T6" fmla="*/ 2147483646 w 3556"/>
              <a:gd name="T7" fmla="*/ 2147483646 h 3950"/>
              <a:gd name="T8" fmla="*/ 2147483646 w 3556"/>
              <a:gd name="T9" fmla="*/ 2147483646 h 3950"/>
              <a:gd name="T10" fmla="*/ 2147483646 w 3556"/>
              <a:gd name="T11" fmla="*/ 2147483646 h 3950"/>
              <a:gd name="T12" fmla="*/ 2147483646 w 3556"/>
              <a:gd name="T13" fmla="*/ 2147483646 h 3950"/>
              <a:gd name="T14" fmla="*/ 2147483646 w 3556"/>
              <a:gd name="T15" fmla="*/ 2147483646 h 3950"/>
              <a:gd name="T16" fmla="*/ 2147483646 w 3556"/>
              <a:gd name="T17" fmla="*/ 2147483646 h 3950"/>
              <a:gd name="T18" fmla="*/ 2147483646 w 3556"/>
              <a:gd name="T19" fmla="*/ 2147483646 h 3950"/>
              <a:gd name="T20" fmla="*/ 2147483646 w 3556"/>
              <a:gd name="T21" fmla="*/ 2147483646 h 3950"/>
              <a:gd name="T22" fmla="*/ 0 w 3556"/>
              <a:gd name="T23" fmla="*/ 2147483646 h 3950"/>
              <a:gd name="T24" fmla="*/ 2147483646 w 3556"/>
              <a:gd name="T25" fmla="*/ 2147483646 h 3950"/>
              <a:gd name="T26" fmla="*/ 2147483646 w 3556"/>
              <a:gd name="T27" fmla="*/ 2147483646 h 3950"/>
              <a:gd name="T28" fmla="*/ 2147483646 w 3556"/>
              <a:gd name="T29" fmla="*/ 2147483646 h 3950"/>
              <a:gd name="T30" fmla="*/ 2147483646 w 3556"/>
              <a:gd name="T31" fmla="*/ 2147483646 h 3950"/>
              <a:gd name="T32" fmla="*/ 2147483646 w 3556"/>
              <a:gd name="T33" fmla="*/ 2147483646 h 3950"/>
              <a:gd name="T34" fmla="*/ 2147483646 w 3556"/>
              <a:gd name="T35" fmla="*/ 2147483646 h 3950"/>
              <a:gd name="T36" fmla="*/ 2147483646 w 3556"/>
              <a:gd name="T37" fmla="*/ 2147483646 h 3950"/>
              <a:gd name="T38" fmla="*/ 2147483646 w 3556"/>
              <a:gd name="T39" fmla="*/ 2147483646 h 3950"/>
              <a:gd name="T40" fmla="*/ 2147483646 w 3556"/>
              <a:gd name="T41" fmla="*/ 2147483646 h 3950"/>
              <a:gd name="T42" fmla="*/ 2147483646 w 3556"/>
              <a:gd name="T43" fmla="*/ 2147483646 h 3950"/>
              <a:gd name="T44" fmla="*/ 2147483646 w 3556"/>
              <a:gd name="T45" fmla="*/ 2147483646 h 3950"/>
              <a:gd name="T46" fmla="*/ 2147483646 w 3556"/>
              <a:gd name="T47" fmla="*/ 2147483646 h 3950"/>
              <a:gd name="T48" fmla="*/ 2147483646 w 3556"/>
              <a:gd name="T49" fmla="*/ 2147483646 h 3950"/>
              <a:gd name="T50" fmla="*/ 2147483646 w 3556"/>
              <a:gd name="T51" fmla="*/ 2147483646 h 3950"/>
              <a:gd name="T52" fmla="*/ 2147483646 w 3556"/>
              <a:gd name="T53" fmla="*/ 2147483646 h 3950"/>
              <a:gd name="T54" fmla="*/ 2147483646 w 3556"/>
              <a:gd name="T55" fmla="*/ 2147483646 h 3950"/>
              <a:gd name="T56" fmla="*/ 2147483646 w 3556"/>
              <a:gd name="T57" fmla="*/ 2147483646 h 3950"/>
              <a:gd name="T58" fmla="*/ 2147483646 w 3556"/>
              <a:gd name="T59" fmla="*/ 2147483646 h 3950"/>
              <a:gd name="T60" fmla="*/ 2147483646 w 3556"/>
              <a:gd name="T61" fmla="*/ 2147483646 h 3950"/>
              <a:gd name="T62" fmla="*/ 2147483646 w 3556"/>
              <a:gd name="T63" fmla="*/ 2147483646 h 3950"/>
              <a:gd name="T64" fmla="*/ 2147483646 w 3556"/>
              <a:gd name="T65" fmla="*/ 2147483646 h 3950"/>
              <a:gd name="T66" fmla="*/ 2147483646 w 3556"/>
              <a:gd name="T67" fmla="*/ 2147483646 h 3950"/>
              <a:gd name="T68" fmla="*/ 2147483646 w 3556"/>
              <a:gd name="T69" fmla="*/ 2147483646 h 3950"/>
              <a:gd name="T70" fmla="*/ 2147483646 w 3556"/>
              <a:gd name="T71" fmla="*/ 2147483646 h 3950"/>
              <a:gd name="T72" fmla="*/ 2147483646 w 3556"/>
              <a:gd name="T73" fmla="*/ 2147483646 h 3950"/>
              <a:gd name="T74" fmla="*/ 2147483646 w 3556"/>
              <a:gd name="T75" fmla="*/ 2147483646 h 3950"/>
              <a:gd name="T76" fmla="*/ 2147483646 w 3556"/>
              <a:gd name="T77" fmla="*/ 2147483646 h 3950"/>
              <a:gd name="T78" fmla="*/ 2147483646 w 3556"/>
              <a:gd name="T79" fmla="*/ 2147483646 h 3950"/>
              <a:gd name="T80" fmla="*/ 2147483646 w 3556"/>
              <a:gd name="T81" fmla="*/ 0 h 3950"/>
              <a:gd name="T82" fmla="*/ 2147483646 w 3556"/>
              <a:gd name="T83" fmla="*/ 2147483646 h 3950"/>
              <a:gd name="T84" fmla="*/ 2147483646 w 3556"/>
              <a:gd name="T85" fmla="*/ 2147483646 h 3950"/>
              <a:gd name="T86" fmla="*/ 2147483646 w 3556"/>
              <a:gd name="T87" fmla="*/ 2147483646 h 395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556"/>
              <a:gd name="T133" fmla="*/ 0 h 3950"/>
              <a:gd name="T134" fmla="*/ 3556 w 3556"/>
              <a:gd name="T135" fmla="*/ 3950 h 395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556" h="3950">
                <a:moveTo>
                  <a:pt x="909" y="3917"/>
                </a:moveTo>
                <a:cubicBezTo>
                  <a:pt x="824" y="3832"/>
                  <a:pt x="894" y="3725"/>
                  <a:pt x="1036" y="3725"/>
                </a:cubicBezTo>
                <a:cubicBezTo>
                  <a:pt x="1119" y="3725"/>
                  <a:pt x="1129" y="3717"/>
                  <a:pt x="1129" y="3645"/>
                </a:cubicBezTo>
                <a:cubicBezTo>
                  <a:pt x="1129" y="3472"/>
                  <a:pt x="1135" y="3471"/>
                  <a:pt x="2192" y="3471"/>
                </a:cubicBezTo>
                <a:cubicBezTo>
                  <a:pt x="3086" y="3471"/>
                  <a:pt x="3155" y="3475"/>
                  <a:pt x="3199" y="3523"/>
                </a:cubicBezTo>
                <a:cubicBezTo>
                  <a:pt x="3225" y="3551"/>
                  <a:pt x="3246" y="3608"/>
                  <a:pt x="3246" y="3648"/>
                </a:cubicBezTo>
                <a:cubicBezTo>
                  <a:pt x="3246" y="3712"/>
                  <a:pt x="3259" y="3723"/>
                  <a:pt x="3349" y="3730"/>
                </a:cubicBezTo>
                <a:cubicBezTo>
                  <a:pt x="3470" y="3741"/>
                  <a:pt x="3530" y="3811"/>
                  <a:pt x="3482" y="3887"/>
                </a:cubicBezTo>
                <a:cubicBezTo>
                  <a:pt x="3453" y="3933"/>
                  <a:pt x="3356" y="3937"/>
                  <a:pt x="2197" y="3944"/>
                </a:cubicBezTo>
                <a:cubicBezTo>
                  <a:pt x="1245" y="3950"/>
                  <a:pt x="935" y="3943"/>
                  <a:pt x="909" y="3917"/>
                </a:cubicBezTo>
                <a:close/>
                <a:moveTo>
                  <a:pt x="87" y="3370"/>
                </a:moveTo>
                <a:cubicBezTo>
                  <a:pt x="24" y="3317"/>
                  <a:pt x="0" y="3272"/>
                  <a:pt x="0" y="3209"/>
                </a:cubicBezTo>
                <a:cubicBezTo>
                  <a:pt x="0" y="3132"/>
                  <a:pt x="86" y="3035"/>
                  <a:pt x="705" y="2414"/>
                </a:cubicBezTo>
                <a:lnTo>
                  <a:pt x="1411" y="1706"/>
                </a:lnTo>
                <a:lnTo>
                  <a:pt x="1235" y="1530"/>
                </a:lnTo>
                <a:lnTo>
                  <a:pt x="1059" y="1355"/>
                </a:lnTo>
                <a:lnTo>
                  <a:pt x="1510" y="903"/>
                </a:lnTo>
                <a:lnTo>
                  <a:pt x="1960" y="452"/>
                </a:lnTo>
                <a:lnTo>
                  <a:pt x="2135" y="624"/>
                </a:lnTo>
                <a:cubicBezTo>
                  <a:pt x="2305" y="793"/>
                  <a:pt x="2310" y="796"/>
                  <a:pt x="2374" y="751"/>
                </a:cubicBezTo>
                <a:cubicBezTo>
                  <a:pt x="2469" y="685"/>
                  <a:pt x="2547" y="695"/>
                  <a:pt x="2633" y="785"/>
                </a:cubicBezTo>
                <a:cubicBezTo>
                  <a:pt x="2720" y="875"/>
                  <a:pt x="2731" y="974"/>
                  <a:pt x="2662" y="1050"/>
                </a:cubicBezTo>
                <a:cubicBezTo>
                  <a:pt x="2616" y="1100"/>
                  <a:pt x="2624" y="1112"/>
                  <a:pt x="2823" y="1313"/>
                </a:cubicBezTo>
                <a:lnTo>
                  <a:pt x="3033" y="1524"/>
                </a:lnTo>
                <a:lnTo>
                  <a:pt x="2582" y="1975"/>
                </a:lnTo>
                <a:lnTo>
                  <a:pt x="2132" y="2427"/>
                </a:lnTo>
                <a:lnTo>
                  <a:pt x="1933" y="2229"/>
                </a:lnTo>
                <a:cubicBezTo>
                  <a:pt x="1824" y="2121"/>
                  <a:pt x="1722" y="2032"/>
                  <a:pt x="1707" y="2032"/>
                </a:cubicBezTo>
                <a:cubicBezTo>
                  <a:pt x="1693" y="2032"/>
                  <a:pt x="1362" y="2349"/>
                  <a:pt x="973" y="2737"/>
                </a:cubicBezTo>
                <a:cubicBezTo>
                  <a:pt x="584" y="3125"/>
                  <a:pt x="245" y="3443"/>
                  <a:pt x="220" y="3443"/>
                </a:cubicBezTo>
                <a:cubicBezTo>
                  <a:pt x="194" y="3443"/>
                  <a:pt x="135" y="3410"/>
                  <a:pt x="87" y="3370"/>
                </a:cubicBezTo>
                <a:close/>
                <a:moveTo>
                  <a:pt x="2258" y="2887"/>
                </a:moveTo>
                <a:cubicBezTo>
                  <a:pt x="2196" y="2865"/>
                  <a:pt x="2145" y="2792"/>
                  <a:pt x="2145" y="2725"/>
                </a:cubicBezTo>
                <a:cubicBezTo>
                  <a:pt x="2145" y="2686"/>
                  <a:pt x="2337" y="2474"/>
                  <a:pt x="2703" y="2109"/>
                </a:cubicBezTo>
                <a:cubicBezTo>
                  <a:pt x="3289" y="1523"/>
                  <a:pt x="3346" y="1485"/>
                  <a:pt x="3453" y="1604"/>
                </a:cubicBezTo>
                <a:cubicBezTo>
                  <a:pt x="3556" y="1717"/>
                  <a:pt x="3522" y="1766"/>
                  <a:pt x="2956" y="2331"/>
                </a:cubicBezTo>
                <a:cubicBezTo>
                  <a:pt x="2657" y="2630"/>
                  <a:pt x="2388" y="2880"/>
                  <a:pt x="2357" y="2888"/>
                </a:cubicBezTo>
                <a:cubicBezTo>
                  <a:pt x="2326" y="2895"/>
                  <a:pt x="2281" y="2895"/>
                  <a:pt x="2258" y="2887"/>
                </a:cubicBezTo>
                <a:close/>
                <a:moveTo>
                  <a:pt x="637" y="1282"/>
                </a:moveTo>
                <a:cubicBezTo>
                  <a:pt x="528" y="1172"/>
                  <a:pt x="568" y="1113"/>
                  <a:pt x="1137" y="544"/>
                </a:cubicBezTo>
                <a:cubicBezTo>
                  <a:pt x="1607" y="74"/>
                  <a:pt x="1693" y="0"/>
                  <a:pt x="1767" y="0"/>
                </a:cubicBezTo>
                <a:cubicBezTo>
                  <a:pt x="1862" y="0"/>
                  <a:pt x="1947" y="73"/>
                  <a:pt x="1947" y="156"/>
                </a:cubicBezTo>
                <a:cubicBezTo>
                  <a:pt x="1947" y="186"/>
                  <a:pt x="1715" y="442"/>
                  <a:pt x="1391" y="767"/>
                </a:cubicBezTo>
                <a:cubicBezTo>
                  <a:pt x="808" y="1353"/>
                  <a:pt x="749" y="1393"/>
                  <a:pt x="637" y="12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4" name="Group 118">
            <a:extLst>
              <a:ext uri="{FF2B5EF4-FFF2-40B4-BE49-F238E27FC236}">
                <a16:creationId xmlns:a16="http://schemas.microsoft.com/office/drawing/2014/main" id="{FB3D6A90-C4FD-433A-A1C1-A4B3864804A5}"/>
              </a:ext>
            </a:extLst>
          </p:cNvPr>
          <p:cNvGrpSpPr/>
          <p:nvPr/>
        </p:nvGrpSpPr>
        <p:grpSpPr>
          <a:xfrm>
            <a:off x="8409631" y="5248358"/>
            <a:ext cx="346498" cy="347472"/>
            <a:chOff x="1468138" y="5997240"/>
            <a:chExt cx="283642" cy="307072"/>
          </a:xfrm>
          <a:solidFill>
            <a:schemeClr val="bg1"/>
          </a:solidFill>
        </p:grpSpPr>
        <p:sp>
          <p:nvSpPr>
            <p:cNvPr id="120" name="Freeform 16">
              <a:extLst>
                <a:ext uri="{FF2B5EF4-FFF2-40B4-BE49-F238E27FC236}">
                  <a16:creationId xmlns:a16="http://schemas.microsoft.com/office/drawing/2014/main" id="{D6134FC8-4249-4088-8AE8-003C8AAC7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6136" y="6255221"/>
              <a:ext cx="26428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1 w 349"/>
                <a:gd name="T25" fmla="*/ 226 h 350"/>
                <a:gd name="T26" fmla="*/ 225 w 349"/>
                <a:gd name="T27" fmla="*/ 213 h 350"/>
                <a:gd name="T28" fmla="*/ 234 w 349"/>
                <a:gd name="T29" fmla="*/ 194 h 350"/>
                <a:gd name="T30" fmla="*/ 237 w 349"/>
                <a:gd name="T31" fmla="*/ 175 h 350"/>
                <a:gd name="T32" fmla="*/ 235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5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4 w 349"/>
                <a:gd name="T47" fmla="*/ 3 h 350"/>
                <a:gd name="T48" fmla="*/ 234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8 w 349"/>
                <a:gd name="T55" fmla="*/ 63 h 350"/>
                <a:gd name="T56" fmla="*/ 325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5 w 349"/>
                <a:gd name="T65" fmla="*/ 210 h 350"/>
                <a:gd name="T66" fmla="*/ 335 w 349"/>
                <a:gd name="T67" fmla="*/ 243 h 350"/>
                <a:gd name="T68" fmla="*/ 319 w 349"/>
                <a:gd name="T69" fmla="*/ 273 h 350"/>
                <a:gd name="T70" fmla="*/ 297 w 349"/>
                <a:gd name="T71" fmla="*/ 299 h 350"/>
                <a:gd name="T72" fmla="*/ 272 w 349"/>
                <a:gd name="T73" fmla="*/ 319 h 350"/>
                <a:gd name="T74" fmla="*/ 242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39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29 w 349"/>
                <a:gd name="T89" fmla="*/ 273 h 350"/>
                <a:gd name="T90" fmla="*/ 14 w 349"/>
                <a:gd name="T91" fmla="*/ 243 h 350"/>
                <a:gd name="T92" fmla="*/ 3 w 349"/>
                <a:gd name="T93" fmla="*/ 210 h 350"/>
                <a:gd name="T94" fmla="*/ 0 w 349"/>
                <a:gd name="T95" fmla="*/ 175 h 350"/>
                <a:gd name="T96" fmla="*/ 3 w 349"/>
                <a:gd name="T97" fmla="*/ 140 h 350"/>
                <a:gd name="T98" fmla="*/ 14 w 349"/>
                <a:gd name="T99" fmla="*/ 107 h 350"/>
                <a:gd name="T100" fmla="*/ 29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39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1" y="226"/>
                  </a:lnTo>
                  <a:lnTo>
                    <a:pt x="225" y="213"/>
                  </a:lnTo>
                  <a:lnTo>
                    <a:pt x="234" y="194"/>
                  </a:lnTo>
                  <a:lnTo>
                    <a:pt x="237" y="175"/>
                  </a:lnTo>
                  <a:lnTo>
                    <a:pt x="235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5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4" y="3"/>
                  </a:lnTo>
                  <a:lnTo>
                    <a:pt x="234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8" y="63"/>
                  </a:lnTo>
                  <a:lnTo>
                    <a:pt x="325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5" y="210"/>
                  </a:lnTo>
                  <a:lnTo>
                    <a:pt x="335" y="243"/>
                  </a:lnTo>
                  <a:lnTo>
                    <a:pt x="319" y="273"/>
                  </a:lnTo>
                  <a:lnTo>
                    <a:pt x="297" y="299"/>
                  </a:lnTo>
                  <a:lnTo>
                    <a:pt x="272" y="319"/>
                  </a:lnTo>
                  <a:lnTo>
                    <a:pt x="242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39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29" y="273"/>
                  </a:lnTo>
                  <a:lnTo>
                    <a:pt x="14" y="243"/>
                  </a:lnTo>
                  <a:lnTo>
                    <a:pt x="3" y="210"/>
                  </a:lnTo>
                  <a:lnTo>
                    <a:pt x="0" y="175"/>
                  </a:lnTo>
                  <a:lnTo>
                    <a:pt x="3" y="140"/>
                  </a:lnTo>
                  <a:lnTo>
                    <a:pt x="14" y="107"/>
                  </a:lnTo>
                  <a:lnTo>
                    <a:pt x="29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39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1" name="Freeform 17">
              <a:extLst>
                <a:ext uri="{FF2B5EF4-FFF2-40B4-BE49-F238E27FC236}">
                  <a16:creationId xmlns:a16="http://schemas.microsoft.com/office/drawing/2014/main" id="{67A5F0B0-C078-4A85-9E32-409FF0B3D5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2133" y="6255221"/>
              <a:ext cx="26656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2 w 349"/>
                <a:gd name="T25" fmla="*/ 226 h 350"/>
                <a:gd name="T26" fmla="*/ 226 w 349"/>
                <a:gd name="T27" fmla="*/ 213 h 350"/>
                <a:gd name="T28" fmla="*/ 235 w 349"/>
                <a:gd name="T29" fmla="*/ 194 h 350"/>
                <a:gd name="T30" fmla="*/ 237 w 349"/>
                <a:gd name="T31" fmla="*/ 175 h 350"/>
                <a:gd name="T32" fmla="*/ 236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7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5 w 349"/>
                <a:gd name="T47" fmla="*/ 3 h 350"/>
                <a:gd name="T48" fmla="*/ 235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9 w 349"/>
                <a:gd name="T55" fmla="*/ 63 h 350"/>
                <a:gd name="T56" fmla="*/ 326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6 w 349"/>
                <a:gd name="T65" fmla="*/ 210 h 350"/>
                <a:gd name="T66" fmla="*/ 336 w 349"/>
                <a:gd name="T67" fmla="*/ 243 h 350"/>
                <a:gd name="T68" fmla="*/ 319 w 349"/>
                <a:gd name="T69" fmla="*/ 273 h 350"/>
                <a:gd name="T70" fmla="*/ 298 w 349"/>
                <a:gd name="T71" fmla="*/ 299 h 350"/>
                <a:gd name="T72" fmla="*/ 272 w 349"/>
                <a:gd name="T73" fmla="*/ 319 h 350"/>
                <a:gd name="T74" fmla="*/ 243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40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30 w 349"/>
                <a:gd name="T89" fmla="*/ 273 h 350"/>
                <a:gd name="T90" fmla="*/ 14 w 349"/>
                <a:gd name="T91" fmla="*/ 243 h 350"/>
                <a:gd name="T92" fmla="*/ 4 w 349"/>
                <a:gd name="T93" fmla="*/ 210 h 350"/>
                <a:gd name="T94" fmla="*/ 0 w 349"/>
                <a:gd name="T95" fmla="*/ 175 h 350"/>
                <a:gd name="T96" fmla="*/ 4 w 349"/>
                <a:gd name="T97" fmla="*/ 140 h 350"/>
                <a:gd name="T98" fmla="*/ 14 w 349"/>
                <a:gd name="T99" fmla="*/ 107 h 350"/>
                <a:gd name="T100" fmla="*/ 30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40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7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7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5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19" y="273"/>
                  </a:lnTo>
                  <a:lnTo>
                    <a:pt x="298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2" name="Freeform 18">
              <a:extLst>
                <a:ext uri="{FF2B5EF4-FFF2-40B4-BE49-F238E27FC236}">
                  <a16:creationId xmlns:a16="http://schemas.microsoft.com/office/drawing/2014/main" id="{BF1784DA-3E40-44FD-998D-DB1DD379C0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8357" y="6255221"/>
              <a:ext cx="26428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7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1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7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8 w 350"/>
                <a:gd name="T31" fmla="*/ 175 h 350"/>
                <a:gd name="T32" fmla="*/ 236 w 350"/>
                <a:gd name="T33" fmla="*/ 158 h 350"/>
                <a:gd name="T34" fmla="*/ 229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7 w 350"/>
                <a:gd name="T53" fmla="*/ 41 h 350"/>
                <a:gd name="T54" fmla="*/ 309 w 350"/>
                <a:gd name="T55" fmla="*/ 63 h 350"/>
                <a:gd name="T56" fmla="*/ 326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2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7 w 350"/>
                <a:gd name="T85" fmla="*/ 319 h 350"/>
                <a:gd name="T86" fmla="*/ 51 w 350"/>
                <a:gd name="T87" fmla="*/ 299 h 350"/>
                <a:gd name="T88" fmla="*/ 30 w 350"/>
                <a:gd name="T89" fmla="*/ 273 h 350"/>
                <a:gd name="T90" fmla="*/ 14 w 350"/>
                <a:gd name="T91" fmla="*/ 243 h 350"/>
                <a:gd name="T92" fmla="*/ 4 w 350"/>
                <a:gd name="T93" fmla="*/ 210 h 350"/>
                <a:gd name="T94" fmla="*/ 0 w 350"/>
                <a:gd name="T95" fmla="*/ 175 h 350"/>
                <a:gd name="T96" fmla="*/ 4 w 350"/>
                <a:gd name="T97" fmla="*/ 140 h 350"/>
                <a:gd name="T98" fmla="*/ 14 w 350"/>
                <a:gd name="T99" fmla="*/ 107 h 350"/>
                <a:gd name="T100" fmla="*/ 30 w 350"/>
                <a:gd name="T101" fmla="*/ 78 h 350"/>
                <a:gd name="T102" fmla="*/ 51 w 350"/>
                <a:gd name="T103" fmla="*/ 52 h 350"/>
                <a:gd name="T104" fmla="*/ 77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8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3" name="Freeform 19">
              <a:extLst>
                <a:ext uri="{FF2B5EF4-FFF2-40B4-BE49-F238E27FC236}">
                  <a16:creationId xmlns:a16="http://schemas.microsoft.com/office/drawing/2014/main" id="{FF26547B-24B3-4108-8095-A2794E966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4353" y="6255221"/>
              <a:ext cx="26656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8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3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8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9 w 350"/>
                <a:gd name="T31" fmla="*/ 175 h 350"/>
                <a:gd name="T32" fmla="*/ 236 w 350"/>
                <a:gd name="T33" fmla="*/ 158 h 350"/>
                <a:gd name="T34" fmla="*/ 231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8 w 350"/>
                <a:gd name="T53" fmla="*/ 41 h 350"/>
                <a:gd name="T54" fmla="*/ 309 w 350"/>
                <a:gd name="T55" fmla="*/ 63 h 350"/>
                <a:gd name="T56" fmla="*/ 327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3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8 w 350"/>
                <a:gd name="T85" fmla="*/ 319 h 350"/>
                <a:gd name="T86" fmla="*/ 53 w 350"/>
                <a:gd name="T87" fmla="*/ 299 h 350"/>
                <a:gd name="T88" fmla="*/ 31 w 350"/>
                <a:gd name="T89" fmla="*/ 273 h 350"/>
                <a:gd name="T90" fmla="*/ 15 w 350"/>
                <a:gd name="T91" fmla="*/ 243 h 350"/>
                <a:gd name="T92" fmla="*/ 5 w 350"/>
                <a:gd name="T93" fmla="*/ 210 h 350"/>
                <a:gd name="T94" fmla="*/ 0 w 350"/>
                <a:gd name="T95" fmla="*/ 175 h 350"/>
                <a:gd name="T96" fmla="*/ 5 w 350"/>
                <a:gd name="T97" fmla="*/ 140 h 350"/>
                <a:gd name="T98" fmla="*/ 15 w 350"/>
                <a:gd name="T99" fmla="*/ 107 h 350"/>
                <a:gd name="T100" fmla="*/ 31 w 350"/>
                <a:gd name="T101" fmla="*/ 78 h 350"/>
                <a:gd name="T102" fmla="*/ 53 w 350"/>
                <a:gd name="T103" fmla="*/ 52 h 350"/>
                <a:gd name="T104" fmla="*/ 78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8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3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8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9" y="175"/>
                  </a:lnTo>
                  <a:lnTo>
                    <a:pt x="236" y="158"/>
                  </a:lnTo>
                  <a:lnTo>
                    <a:pt x="231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8" y="41"/>
                  </a:lnTo>
                  <a:lnTo>
                    <a:pt x="309" y="63"/>
                  </a:lnTo>
                  <a:lnTo>
                    <a:pt x="327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3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8" y="319"/>
                  </a:lnTo>
                  <a:lnTo>
                    <a:pt x="53" y="299"/>
                  </a:lnTo>
                  <a:lnTo>
                    <a:pt x="31" y="273"/>
                  </a:lnTo>
                  <a:lnTo>
                    <a:pt x="15" y="243"/>
                  </a:lnTo>
                  <a:lnTo>
                    <a:pt x="5" y="210"/>
                  </a:lnTo>
                  <a:lnTo>
                    <a:pt x="0" y="175"/>
                  </a:lnTo>
                  <a:lnTo>
                    <a:pt x="5" y="140"/>
                  </a:lnTo>
                  <a:lnTo>
                    <a:pt x="15" y="107"/>
                  </a:lnTo>
                  <a:lnTo>
                    <a:pt x="31" y="78"/>
                  </a:lnTo>
                  <a:lnTo>
                    <a:pt x="53" y="52"/>
                  </a:lnTo>
                  <a:lnTo>
                    <a:pt x="78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4" name="Freeform 20">
              <a:extLst>
                <a:ext uri="{FF2B5EF4-FFF2-40B4-BE49-F238E27FC236}">
                  <a16:creationId xmlns:a16="http://schemas.microsoft.com/office/drawing/2014/main" id="{6F553FA1-4728-401A-8C20-F18E165CA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80832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2 h 111"/>
                <a:gd name="T10" fmla="*/ 168 w 171"/>
                <a:gd name="T11" fmla="*/ 37 h 111"/>
                <a:gd name="T12" fmla="*/ 171 w 171"/>
                <a:gd name="T13" fmla="*/ 55 h 111"/>
                <a:gd name="T14" fmla="*/ 168 w 171"/>
                <a:gd name="T15" fmla="*/ 72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8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8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2 h 111"/>
                <a:gd name="T34" fmla="*/ 0 w 171"/>
                <a:gd name="T35" fmla="*/ 55 h 111"/>
                <a:gd name="T36" fmla="*/ 2 w 171"/>
                <a:gd name="T37" fmla="*/ 37 h 111"/>
                <a:gd name="T38" fmla="*/ 10 w 171"/>
                <a:gd name="T39" fmla="*/ 22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2"/>
                  </a:lnTo>
                  <a:lnTo>
                    <a:pt x="168" y="37"/>
                  </a:lnTo>
                  <a:lnTo>
                    <a:pt x="171" y="55"/>
                  </a:lnTo>
                  <a:lnTo>
                    <a:pt x="168" y="72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8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8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2"/>
                  </a:lnTo>
                  <a:lnTo>
                    <a:pt x="0" y="55"/>
                  </a:lnTo>
                  <a:lnTo>
                    <a:pt x="2" y="37"/>
                  </a:lnTo>
                  <a:lnTo>
                    <a:pt x="10" y="22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5" name="Freeform 21">
              <a:extLst>
                <a:ext uri="{FF2B5EF4-FFF2-40B4-BE49-F238E27FC236}">
                  <a16:creationId xmlns:a16="http://schemas.microsoft.com/office/drawing/2014/main" id="{2A783787-5E9B-43C9-9BF4-073950C97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95860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3 h 111"/>
                <a:gd name="T10" fmla="*/ 168 w 171"/>
                <a:gd name="T11" fmla="*/ 38 h 111"/>
                <a:gd name="T12" fmla="*/ 171 w 171"/>
                <a:gd name="T13" fmla="*/ 55 h 111"/>
                <a:gd name="T14" fmla="*/ 168 w 171"/>
                <a:gd name="T15" fmla="*/ 74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9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9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4 h 111"/>
                <a:gd name="T34" fmla="*/ 0 w 171"/>
                <a:gd name="T35" fmla="*/ 55 h 111"/>
                <a:gd name="T36" fmla="*/ 2 w 171"/>
                <a:gd name="T37" fmla="*/ 38 h 111"/>
                <a:gd name="T38" fmla="*/ 10 w 171"/>
                <a:gd name="T39" fmla="*/ 23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3"/>
                  </a:lnTo>
                  <a:lnTo>
                    <a:pt x="168" y="38"/>
                  </a:lnTo>
                  <a:lnTo>
                    <a:pt x="171" y="55"/>
                  </a:lnTo>
                  <a:lnTo>
                    <a:pt x="168" y="74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9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9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4"/>
                  </a:lnTo>
                  <a:lnTo>
                    <a:pt x="0" y="55"/>
                  </a:lnTo>
                  <a:lnTo>
                    <a:pt x="2" y="38"/>
                  </a:lnTo>
                  <a:lnTo>
                    <a:pt x="10" y="23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6" name="Freeform 22">
              <a:extLst>
                <a:ext uri="{FF2B5EF4-FFF2-40B4-BE49-F238E27FC236}">
                  <a16:creationId xmlns:a16="http://schemas.microsoft.com/office/drawing/2014/main" id="{6465D05A-ED22-49B3-924E-6DFC4C8C8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8138" y="5997240"/>
              <a:ext cx="283642" cy="307072"/>
            </a:xfrm>
            <a:custGeom>
              <a:avLst/>
              <a:gdLst>
                <a:gd name="T0" fmla="*/ 185 w 3736"/>
                <a:gd name="T1" fmla="*/ 3069 h 3678"/>
                <a:gd name="T2" fmla="*/ 125 w 3736"/>
                <a:gd name="T3" fmla="*/ 3352 h 3678"/>
                <a:gd name="T4" fmla="*/ 325 w 3736"/>
                <a:gd name="T5" fmla="*/ 3554 h 3678"/>
                <a:gd name="T6" fmla="*/ 2002 w 3736"/>
                <a:gd name="T7" fmla="*/ 3518 h 3678"/>
                <a:gd name="T8" fmla="*/ 2140 w 3736"/>
                <a:gd name="T9" fmla="*/ 3266 h 3678"/>
                <a:gd name="T10" fmla="*/ 2002 w 3736"/>
                <a:gd name="T11" fmla="*/ 3013 h 3678"/>
                <a:gd name="T12" fmla="*/ 943 w 3736"/>
                <a:gd name="T13" fmla="*/ 2853 h 3678"/>
                <a:gd name="T14" fmla="*/ 2970 w 3736"/>
                <a:gd name="T15" fmla="*/ 2765 h 3678"/>
                <a:gd name="T16" fmla="*/ 3240 w 3736"/>
                <a:gd name="T17" fmla="*/ 2787 h 3678"/>
                <a:gd name="T18" fmla="*/ 3506 w 3736"/>
                <a:gd name="T19" fmla="*/ 2599 h 3678"/>
                <a:gd name="T20" fmla="*/ 302 w 3736"/>
                <a:gd name="T21" fmla="*/ 2099 h 3678"/>
                <a:gd name="T22" fmla="*/ 333 w 3736"/>
                <a:gd name="T23" fmla="*/ 2613 h 3678"/>
                <a:gd name="T24" fmla="*/ 3524 w 3736"/>
                <a:gd name="T25" fmla="*/ 1966 h 3678"/>
                <a:gd name="T26" fmla="*/ 3542 w 3736"/>
                <a:gd name="T27" fmla="*/ 2077 h 3678"/>
                <a:gd name="T28" fmla="*/ 3622 w 3736"/>
                <a:gd name="T29" fmla="*/ 1998 h 3678"/>
                <a:gd name="T30" fmla="*/ 893 w 3736"/>
                <a:gd name="T31" fmla="*/ 1458 h 3678"/>
                <a:gd name="T32" fmla="*/ 1843 w 3736"/>
                <a:gd name="T33" fmla="*/ 2616 h 3678"/>
                <a:gd name="T34" fmla="*/ 1132 w 3736"/>
                <a:gd name="T35" fmla="*/ 2414 h 3678"/>
                <a:gd name="T36" fmla="*/ 954 w 3736"/>
                <a:gd name="T37" fmla="*/ 2256 h 3678"/>
                <a:gd name="T38" fmla="*/ 1082 w 3736"/>
                <a:gd name="T39" fmla="*/ 2271 h 3678"/>
                <a:gd name="T40" fmla="*/ 1271 w 3736"/>
                <a:gd name="T41" fmla="*/ 1557 h 3678"/>
                <a:gd name="T42" fmla="*/ 1360 w 3736"/>
                <a:gd name="T43" fmla="*/ 1601 h 3678"/>
                <a:gd name="T44" fmla="*/ 1958 w 3736"/>
                <a:gd name="T45" fmla="*/ 2171 h 3678"/>
                <a:gd name="T46" fmla="*/ 1525 w 3736"/>
                <a:gd name="T47" fmla="*/ 1457 h 3678"/>
                <a:gd name="T48" fmla="*/ 2749 w 3736"/>
                <a:gd name="T49" fmla="*/ 361 h 3678"/>
                <a:gd name="T50" fmla="*/ 3541 w 3736"/>
                <a:gd name="T51" fmla="*/ 1844 h 3678"/>
                <a:gd name="T52" fmla="*/ 1658 w 3736"/>
                <a:gd name="T53" fmla="*/ 1439 h 3678"/>
                <a:gd name="T54" fmla="*/ 2419 w 3736"/>
                <a:gd name="T55" fmla="*/ 427 h 3678"/>
                <a:gd name="T56" fmla="*/ 2498 w 3736"/>
                <a:gd name="T57" fmla="*/ 124 h 3678"/>
                <a:gd name="T58" fmla="*/ 2441 w 3736"/>
                <a:gd name="T59" fmla="*/ 287 h 3678"/>
                <a:gd name="T60" fmla="*/ 2599 w 3736"/>
                <a:gd name="T61" fmla="*/ 347 h 3678"/>
                <a:gd name="T62" fmla="*/ 2672 w 3736"/>
                <a:gd name="T63" fmla="*/ 256 h 3678"/>
                <a:gd name="T64" fmla="*/ 2625 w 3736"/>
                <a:gd name="T65" fmla="*/ 136 h 3678"/>
                <a:gd name="T66" fmla="*/ 2665 w 3736"/>
                <a:gd name="T67" fmla="*/ 28 h 3678"/>
                <a:gd name="T68" fmla="*/ 3734 w 3736"/>
                <a:gd name="T69" fmla="*/ 1986 h 3678"/>
                <a:gd name="T70" fmla="*/ 3646 w 3736"/>
                <a:gd name="T71" fmla="*/ 2170 h 3678"/>
                <a:gd name="T72" fmla="*/ 3580 w 3736"/>
                <a:gd name="T73" fmla="*/ 2724 h 3678"/>
                <a:gd name="T74" fmla="*/ 3180 w 3736"/>
                <a:gd name="T75" fmla="*/ 2918 h 3678"/>
                <a:gd name="T76" fmla="*/ 2865 w 3736"/>
                <a:gd name="T77" fmla="*/ 2826 h 3678"/>
                <a:gd name="T78" fmla="*/ 2459 w 3736"/>
                <a:gd name="T79" fmla="*/ 2397 h 3678"/>
                <a:gd name="T80" fmla="*/ 3431 w 3736"/>
                <a:gd name="T81" fmla="*/ 2200 h 3678"/>
                <a:gd name="T82" fmla="*/ 3506 w 3736"/>
                <a:gd name="T83" fmla="*/ 2183 h 3678"/>
                <a:gd name="T84" fmla="*/ 1983 w 3736"/>
                <a:gd name="T85" fmla="*/ 1926 h 3678"/>
                <a:gd name="T86" fmla="*/ 2073 w 3736"/>
                <a:gd name="T87" fmla="*/ 2433 h 3678"/>
                <a:gd name="T88" fmla="*/ 2059 w 3736"/>
                <a:gd name="T89" fmla="*/ 2469 h 3678"/>
                <a:gd name="T90" fmla="*/ 2043 w 3736"/>
                <a:gd name="T91" fmla="*/ 2482 h 3678"/>
                <a:gd name="T92" fmla="*/ 2024 w 3736"/>
                <a:gd name="T93" fmla="*/ 2489 h 3678"/>
                <a:gd name="T94" fmla="*/ 1942 w 3736"/>
                <a:gd name="T95" fmla="*/ 2705 h 3678"/>
                <a:gd name="T96" fmla="*/ 1890 w 3736"/>
                <a:gd name="T97" fmla="*/ 2857 h 3678"/>
                <a:gd name="T98" fmla="*/ 2177 w 3736"/>
                <a:gd name="T99" fmla="*/ 3030 h 3678"/>
                <a:gd name="T100" fmla="*/ 2238 w 3736"/>
                <a:gd name="T101" fmla="*/ 3367 h 3678"/>
                <a:gd name="T102" fmla="*/ 2032 w 3736"/>
                <a:gd name="T103" fmla="*/ 3630 h 3678"/>
                <a:gd name="T104" fmla="*/ 311 w 3736"/>
                <a:gd name="T105" fmla="*/ 3666 h 3678"/>
                <a:gd name="T106" fmla="*/ 49 w 3736"/>
                <a:gd name="T107" fmla="*/ 3460 h 3678"/>
                <a:gd name="T108" fmla="*/ 28 w 3736"/>
                <a:gd name="T109" fmla="*/ 3116 h 3678"/>
                <a:gd name="T110" fmla="*/ 263 w 3736"/>
                <a:gd name="T111" fmla="*/ 2882 h 3678"/>
                <a:gd name="T112" fmla="*/ 317 w 3736"/>
                <a:gd name="T113" fmla="*/ 2724 h 3678"/>
                <a:gd name="T114" fmla="*/ 178 w 3736"/>
                <a:gd name="T115" fmla="*/ 2553 h 3678"/>
                <a:gd name="T116" fmla="*/ 284 w 3736"/>
                <a:gd name="T117" fmla="*/ 1975 h 3678"/>
                <a:gd name="T118" fmla="*/ 740 w 3736"/>
                <a:gd name="T119" fmla="*/ 1477 h 3678"/>
                <a:gd name="T120" fmla="*/ 963 w 3736"/>
                <a:gd name="T121" fmla="*/ 1310 h 3678"/>
                <a:gd name="T122" fmla="*/ 2410 w 3736"/>
                <a:gd name="T123" fmla="*/ 48 h 3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6" h="3678">
                  <a:moveTo>
                    <a:pt x="413" y="2964"/>
                  </a:moveTo>
                  <a:lnTo>
                    <a:pt x="367" y="2968"/>
                  </a:lnTo>
                  <a:lnTo>
                    <a:pt x="325" y="2978"/>
                  </a:lnTo>
                  <a:lnTo>
                    <a:pt x="286" y="2993"/>
                  </a:lnTo>
                  <a:lnTo>
                    <a:pt x="248" y="3013"/>
                  </a:lnTo>
                  <a:lnTo>
                    <a:pt x="215" y="3039"/>
                  </a:lnTo>
                  <a:lnTo>
                    <a:pt x="185" y="3069"/>
                  </a:lnTo>
                  <a:lnTo>
                    <a:pt x="160" y="3102"/>
                  </a:lnTo>
                  <a:lnTo>
                    <a:pt x="139" y="3139"/>
                  </a:lnTo>
                  <a:lnTo>
                    <a:pt x="125" y="3179"/>
                  </a:lnTo>
                  <a:lnTo>
                    <a:pt x="114" y="3222"/>
                  </a:lnTo>
                  <a:lnTo>
                    <a:pt x="111" y="3266"/>
                  </a:lnTo>
                  <a:lnTo>
                    <a:pt x="114" y="3310"/>
                  </a:lnTo>
                  <a:lnTo>
                    <a:pt x="125" y="3352"/>
                  </a:lnTo>
                  <a:lnTo>
                    <a:pt x="139" y="3393"/>
                  </a:lnTo>
                  <a:lnTo>
                    <a:pt x="160" y="3430"/>
                  </a:lnTo>
                  <a:lnTo>
                    <a:pt x="185" y="3464"/>
                  </a:lnTo>
                  <a:lnTo>
                    <a:pt x="215" y="3493"/>
                  </a:lnTo>
                  <a:lnTo>
                    <a:pt x="248" y="3518"/>
                  </a:lnTo>
                  <a:lnTo>
                    <a:pt x="286" y="3538"/>
                  </a:lnTo>
                  <a:lnTo>
                    <a:pt x="325" y="3554"/>
                  </a:lnTo>
                  <a:lnTo>
                    <a:pt x="367" y="3563"/>
                  </a:lnTo>
                  <a:lnTo>
                    <a:pt x="413" y="3567"/>
                  </a:lnTo>
                  <a:lnTo>
                    <a:pt x="1838" y="3567"/>
                  </a:lnTo>
                  <a:lnTo>
                    <a:pt x="1882" y="3563"/>
                  </a:lnTo>
                  <a:lnTo>
                    <a:pt x="1925" y="3554"/>
                  </a:lnTo>
                  <a:lnTo>
                    <a:pt x="1965" y="3538"/>
                  </a:lnTo>
                  <a:lnTo>
                    <a:pt x="2002" y="3518"/>
                  </a:lnTo>
                  <a:lnTo>
                    <a:pt x="2035" y="3493"/>
                  </a:lnTo>
                  <a:lnTo>
                    <a:pt x="2065" y="3464"/>
                  </a:lnTo>
                  <a:lnTo>
                    <a:pt x="2091" y="3430"/>
                  </a:lnTo>
                  <a:lnTo>
                    <a:pt x="2111" y="3393"/>
                  </a:lnTo>
                  <a:lnTo>
                    <a:pt x="2126" y="3352"/>
                  </a:lnTo>
                  <a:lnTo>
                    <a:pt x="2136" y="3310"/>
                  </a:lnTo>
                  <a:lnTo>
                    <a:pt x="2140" y="3266"/>
                  </a:lnTo>
                  <a:lnTo>
                    <a:pt x="2136" y="3222"/>
                  </a:lnTo>
                  <a:lnTo>
                    <a:pt x="2126" y="3179"/>
                  </a:lnTo>
                  <a:lnTo>
                    <a:pt x="2111" y="3139"/>
                  </a:lnTo>
                  <a:lnTo>
                    <a:pt x="2091" y="3102"/>
                  </a:lnTo>
                  <a:lnTo>
                    <a:pt x="2065" y="3069"/>
                  </a:lnTo>
                  <a:lnTo>
                    <a:pt x="2035" y="3039"/>
                  </a:lnTo>
                  <a:lnTo>
                    <a:pt x="2002" y="3013"/>
                  </a:lnTo>
                  <a:lnTo>
                    <a:pt x="1965" y="2993"/>
                  </a:lnTo>
                  <a:lnTo>
                    <a:pt x="1925" y="2978"/>
                  </a:lnTo>
                  <a:lnTo>
                    <a:pt x="1882" y="2968"/>
                  </a:lnTo>
                  <a:lnTo>
                    <a:pt x="1838" y="2964"/>
                  </a:lnTo>
                  <a:lnTo>
                    <a:pt x="413" y="2964"/>
                  </a:lnTo>
                  <a:close/>
                  <a:moveTo>
                    <a:pt x="943" y="2727"/>
                  </a:moveTo>
                  <a:lnTo>
                    <a:pt x="943" y="2853"/>
                  </a:lnTo>
                  <a:lnTo>
                    <a:pt x="1307" y="2853"/>
                  </a:lnTo>
                  <a:lnTo>
                    <a:pt x="1307" y="2727"/>
                  </a:lnTo>
                  <a:lnTo>
                    <a:pt x="943" y="2727"/>
                  </a:lnTo>
                  <a:close/>
                  <a:moveTo>
                    <a:pt x="3407" y="2328"/>
                  </a:moveTo>
                  <a:lnTo>
                    <a:pt x="2754" y="2590"/>
                  </a:lnTo>
                  <a:lnTo>
                    <a:pt x="2936" y="2741"/>
                  </a:lnTo>
                  <a:lnTo>
                    <a:pt x="2970" y="2765"/>
                  </a:lnTo>
                  <a:lnTo>
                    <a:pt x="3005" y="2783"/>
                  </a:lnTo>
                  <a:lnTo>
                    <a:pt x="3042" y="2797"/>
                  </a:lnTo>
                  <a:lnTo>
                    <a:pt x="3081" y="2806"/>
                  </a:lnTo>
                  <a:lnTo>
                    <a:pt x="3121" y="2809"/>
                  </a:lnTo>
                  <a:lnTo>
                    <a:pt x="3161" y="2808"/>
                  </a:lnTo>
                  <a:lnTo>
                    <a:pt x="3201" y="2800"/>
                  </a:lnTo>
                  <a:lnTo>
                    <a:pt x="3240" y="2787"/>
                  </a:lnTo>
                  <a:lnTo>
                    <a:pt x="3429" y="2711"/>
                  </a:lnTo>
                  <a:lnTo>
                    <a:pt x="3452" y="2700"/>
                  </a:lnTo>
                  <a:lnTo>
                    <a:pt x="3470" y="2684"/>
                  </a:lnTo>
                  <a:lnTo>
                    <a:pt x="3485" y="2666"/>
                  </a:lnTo>
                  <a:lnTo>
                    <a:pt x="3496" y="2646"/>
                  </a:lnTo>
                  <a:lnTo>
                    <a:pt x="3504" y="2623"/>
                  </a:lnTo>
                  <a:lnTo>
                    <a:pt x="3506" y="2599"/>
                  </a:lnTo>
                  <a:lnTo>
                    <a:pt x="3504" y="2575"/>
                  </a:lnTo>
                  <a:lnTo>
                    <a:pt x="3497" y="2551"/>
                  </a:lnTo>
                  <a:lnTo>
                    <a:pt x="3407" y="2328"/>
                  </a:lnTo>
                  <a:close/>
                  <a:moveTo>
                    <a:pt x="353" y="2073"/>
                  </a:moveTo>
                  <a:lnTo>
                    <a:pt x="333" y="2076"/>
                  </a:lnTo>
                  <a:lnTo>
                    <a:pt x="315" y="2085"/>
                  </a:lnTo>
                  <a:lnTo>
                    <a:pt x="302" y="2099"/>
                  </a:lnTo>
                  <a:lnTo>
                    <a:pt x="292" y="2116"/>
                  </a:lnTo>
                  <a:lnTo>
                    <a:pt x="289" y="2136"/>
                  </a:lnTo>
                  <a:lnTo>
                    <a:pt x="289" y="2553"/>
                  </a:lnTo>
                  <a:lnTo>
                    <a:pt x="292" y="2572"/>
                  </a:lnTo>
                  <a:lnTo>
                    <a:pt x="302" y="2590"/>
                  </a:lnTo>
                  <a:lnTo>
                    <a:pt x="315" y="2604"/>
                  </a:lnTo>
                  <a:lnTo>
                    <a:pt x="333" y="2613"/>
                  </a:lnTo>
                  <a:lnTo>
                    <a:pt x="353" y="2616"/>
                  </a:lnTo>
                  <a:lnTo>
                    <a:pt x="713" y="2616"/>
                  </a:lnTo>
                  <a:lnTo>
                    <a:pt x="713" y="2073"/>
                  </a:lnTo>
                  <a:lnTo>
                    <a:pt x="353" y="2073"/>
                  </a:lnTo>
                  <a:close/>
                  <a:moveTo>
                    <a:pt x="3562" y="1955"/>
                  </a:moveTo>
                  <a:lnTo>
                    <a:pt x="3542" y="1957"/>
                  </a:lnTo>
                  <a:lnTo>
                    <a:pt x="3524" y="1966"/>
                  </a:lnTo>
                  <a:lnTo>
                    <a:pt x="3511" y="1980"/>
                  </a:lnTo>
                  <a:lnTo>
                    <a:pt x="3502" y="1998"/>
                  </a:lnTo>
                  <a:lnTo>
                    <a:pt x="3498" y="2017"/>
                  </a:lnTo>
                  <a:lnTo>
                    <a:pt x="3502" y="2038"/>
                  </a:lnTo>
                  <a:lnTo>
                    <a:pt x="3511" y="2055"/>
                  </a:lnTo>
                  <a:lnTo>
                    <a:pt x="3524" y="2068"/>
                  </a:lnTo>
                  <a:lnTo>
                    <a:pt x="3542" y="2077"/>
                  </a:lnTo>
                  <a:lnTo>
                    <a:pt x="3562" y="2081"/>
                  </a:lnTo>
                  <a:lnTo>
                    <a:pt x="3582" y="2077"/>
                  </a:lnTo>
                  <a:lnTo>
                    <a:pt x="3599" y="2068"/>
                  </a:lnTo>
                  <a:lnTo>
                    <a:pt x="3613" y="2055"/>
                  </a:lnTo>
                  <a:lnTo>
                    <a:pt x="3622" y="2038"/>
                  </a:lnTo>
                  <a:lnTo>
                    <a:pt x="3625" y="2017"/>
                  </a:lnTo>
                  <a:lnTo>
                    <a:pt x="3622" y="1998"/>
                  </a:lnTo>
                  <a:lnTo>
                    <a:pt x="3613" y="1980"/>
                  </a:lnTo>
                  <a:lnTo>
                    <a:pt x="3599" y="1966"/>
                  </a:lnTo>
                  <a:lnTo>
                    <a:pt x="3582" y="1957"/>
                  </a:lnTo>
                  <a:lnTo>
                    <a:pt x="3562" y="1955"/>
                  </a:lnTo>
                  <a:close/>
                  <a:moveTo>
                    <a:pt x="950" y="1428"/>
                  </a:moveTo>
                  <a:lnTo>
                    <a:pt x="921" y="1441"/>
                  </a:lnTo>
                  <a:lnTo>
                    <a:pt x="893" y="1458"/>
                  </a:lnTo>
                  <a:lnTo>
                    <a:pt x="871" y="1481"/>
                  </a:lnTo>
                  <a:lnTo>
                    <a:pt x="851" y="1507"/>
                  </a:lnTo>
                  <a:lnTo>
                    <a:pt x="837" y="1536"/>
                  </a:lnTo>
                  <a:lnTo>
                    <a:pt x="828" y="1568"/>
                  </a:lnTo>
                  <a:lnTo>
                    <a:pt x="824" y="1601"/>
                  </a:lnTo>
                  <a:lnTo>
                    <a:pt x="824" y="2616"/>
                  </a:lnTo>
                  <a:lnTo>
                    <a:pt x="1843" y="2616"/>
                  </a:lnTo>
                  <a:lnTo>
                    <a:pt x="1843" y="2489"/>
                  </a:lnTo>
                  <a:lnTo>
                    <a:pt x="1556" y="2489"/>
                  </a:lnTo>
                  <a:lnTo>
                    <a:pt x="1468" y="2487"/>
                  </a:lnTo>
                  <a:lnTo>
                    <a:pt x="1382" y="2478"/>
                  </a:lnTo>
                  <a:lnTo>
                    <a:pt x="1297" y="2462"/>
                  </a:lnTo>
                  <a:lnTo>
                    <a:pt x="1213" y="2441"/>
                  </a:lnTo>
                  <a:lnTo>
                    <a:pt x="1132" y="2414"/>
                  </a:lnTo>
                  <a:lnTo>
                    <a:pt x="1050" y="2382"/>
                  </a:lnTo>
                  <a:lnTo>
                    <a:pt x="1026" y="2369"/>
                  </a:lnTo>
                  <a:lnTo>
                    <a:pt x="1005" y="2352"/>
                  </a:lnTo>
                  <a:lnTo>
                    <a:pt x="985" y="2331"/>
                  </a:lnTo>
                  <a:lnTo>
                    <a:pt x="971" y="2309"/>
                  </a:lnTo>
                  <a:lnTo>
                    <a:pt x="960" y="2284"/>
                  </a:lnTo>
                  <a:lnTo>
                    <a:pt x="954" y="2256"/>
                  </a:lnTo>
                  <a:lnTo>
                    <a:pt x="950" y="2228"/>
                  </a:lnTo>
                  <a:lnTo>
                    <a:pt x="950" y="1428"/>
                  </a:lnTo>
                  <a:close/>
                  <a:moveTo>
                    <a:pt x="1062" y="1419"/>
                  </a:moveTo>
                  <a:lnTo>
                    <a:pt x="1062" y="2228"/>
                  </a:lnTo>
                  <a:lnTo>
                    <a:pt x="1065" y="2245"/>
                  </a:lnTo>
                  <a:lnTo>
                    <a:pt x="1071" y="2259"/>
                  </a:lnTo>
                  <a:lnTo>
                    <a:pt x="1082" y="2271"/>
                  </a:lnTo>
                  <a:lnTo>
                    <a:pt x="1095" y="2280"/>
                  </a:lnTo>
                  <a:lnTo>
                    <a:pt x="1171" y="2311"/>
                  </a:lnTo>
                  <a:lnTo>
                    <a:pt x="1248" y="2335"/>
                  </a:lnTo>
                  <a:lnTo>
                    <a:pt x="1248" y="1601"/>
                  </a:lnTo>
                  <a:lnTo>
                    <a:pt x="1251" y="1584"/>
                  </a:lnTo>
                  <a:lnTo>
                    <a:pt x="1259" y="1568"/>
                  </a:lnTo>
                  <a:lnTo>
                    <a:pt x="1271" y="1557"/>
                  </a:lnTo>
                  <a:lnTo>
                    <a:pt x="1286" y="1549"/>
                  </a:lnTo>
                  <a:lnTo>
                    <a:pt x="1304" y="1545"/>
                  </a:lnTo>
                  <a:lnTo>
                    <a:pt x="1321" y="1549"/>
                  </a:lnTo>
                  <a:lnTo>
                    <a:pt x="1337" y="1557"/>
                  </a:lnTo>
                  <a:lnTo>
                    <a:pt x="1348" y="1568"/>
                  </a:lnTo>
                  <a:lnTo>
                    <a:pt x="1356" y="1584"/>
                  </a:lnTo>
                  <a:lnTo>
                    <a:pt x="1360" y="1601"/>
                  </a:lnTo>
                  <a:lnTo>
                    <a:pt x="1360" y="2361"/>
                  </a:lnTo>
                  <a:lnTo>
                    <a:pt x="1424" y="2370"/>
                  </a:lnTo>
                  <a:lnTo>
                    <a:pt x="1490" y="2376"/>
                  </a:lnTo>
                  <a:lnTo>
                    <a:pt x="1556" y="2378"/>
                  </a:lnTo>
                  <a:lnTo>
                    <a:pt x="1961" y="2378"/>
                  </a:lnTo>
                  <a:lnTo>
                    <a:pt x="1961" y="2221"/>
                  </a:lnTo>
                  <a:lnTo>
                    <a:pt x="1958" y="2171"/>
                  </a:lnTo>
                  <a:lnTo>
                    <a:pt x="1949" y="2123"/>
                  </a:lnTo>
                  <a:lnTo>
                    <a:pt x="1936" y="2076"/>
                  </a:lnTo>
                  <a:lnTo>
                    <a:pt x="1915" y="2031"/>
                  </a:lnTo>
                  <a:lnTo>
                    <a:pt x="1890" y="1988"/>
                  </a:lnTo>
                  <a:lnTo>
                    <a:pt x="1566" y="1500"/>
                  </a:lnTo>
                  <a:lnTo>
                    <a:pt x="1547" y="1477"/>
                  </a:lnTo>
                  <a:lnTo>
                    <a:pt x="1525" y="1457"/>
                  </a:lnTo>
                  <a:lnTo>
                    <a:pt x="1500" y="1441"/>
                  </a:lnTo>
                  <a:lnTo>
                    <a:pt x="1473" y="1428"/>
                  </a:lnTo>
                  <a:lnTo>
                    <a:pt x="1445" y="1422"/>
                  </a:lnTo>
                  <a:lnTo>
                    <a:pt x="1414" y="1419"/>
                  </a:lnTo>
                  <a:lnTo>
                    <a:pt x="1062" y="1419"/>
                  </a:lnTo>
                  <a:close/>
                  <a:moveTo>
                    <a:pt x="2753" y="353"/>
                  </a:moveTo>
                  <a:lnTo>
                    <a:pt x="2749" y="361"/>
                  </a:lnTo>
                  <a:lnTo>
                    <a:pt x="2571" y="659"/>
                  </a:lnTo>
                  <a:lnTo>
                    <a:pt x="3419" y="1917"/>
                  </a:lnTo>
                  <a:lnTo>
                    <a:pt x="3437" y="1895"/>
                  </a:lnTo>
                  <a:lnTo>
                    <a:pt x="3460" y="1876"/>
                  </a:lnTo>
                  <a:lnTo>
                    <a:pt x="3485" y="1861"/>
                  </a:lnTo>
                  <a:lnTo>
                    <a:pt x="3512" y="1850"/>
                  </a:lnTo>
                  <a:lnTo>
                    <a:pt x="3541" y="1844"/>
                  </a:lnTo>
                  <a:lnTo>
                    <a:pt x="2753" y="353"/>
                  </a:lnTo>
                  <a:close/>
                  <a:moveTo>
                    <a:pt x="2334" y="320"/>
                  </a:moveTo>
                  <a:lnTo>
                    <a:pt x="1562" y="1348"/>
                  </a:lnTo>
                  <a:lnTo>
                    <a:pt x="1590" y="1366"/>
                  </a:lnTo>
                  <a:lnTo>
                    <a:pt x="1616" y="1387"/>
                  </a:lnTo>
                  <a:lnTo>
                    <a:pt x="1638" y="1411"/>
                  </a:lnTo>
                  <a:lnTo>
                    <a:pt x="1658" y="1439"/>
                  </a:lnTo>
                  <a:lnTo>
                    <a:pt x="1827" y="1690"/>
                  </a:lnTo>
                  <a:lnTo>
                    <a:pt x="2555" y="467"/>
                  </a:lnTo>
                  <a:lnTo>
                    <a:pt x="2551" y="467"/>
                  </a:lnTo>
                  <a:lnTo>
                    <a:pt x="2515" y="465"/>
                  </a:lnTo>
                  <a:lnTo>
                    <a:pt x="2481" y="457"/>
                  </a:lnTo>
                  <a:lnTo>
                    <a:pt x="2448" y="444"/>
                  </a:lnTo>
                  <a:lnTo>
                    <a:pt x="2419" y="427"/>
                  </a:lnTo>
                  <a:lnTo>
                    <a:pt x="2391" y="405"/>
                  </a:lnTo>
                  <a:lnTo>
                    <a:pt x="2369" y="380"/>
                  </a:lnTo>
                  <a:lnTo>
                    <a:pt x="2349" y="351"/>
                  </a:lnTo>
                  <a:lnTo>
                    <a:pt x="2334" y="320"/>
                  </a:lnTo>
                  <a:close/>
                  <a:moveTo>
                    <a:pt x="2551" y="111"/>
                  </a:moveTo>
                  <a:lnTo>
                    <a:pt x="2523" y="115"/>
                  </a:lnTo>
                  <a:lnTo>
                    <a:pt x="2498" y="124"/>
                  </a:lnTo>
                  <a:lnTo>
                    <a:pt x="2475" y="138"/>
                  </a:lnTo>
                  <a:lnTo>
                    <a:pt x="2456" y="157"/>
                  </a:lnTo>
                  <a:lnTo>
                    <a:pt x="2441" y="180"/>
                  </a:lnTo>
                  <a:lnTo>
                    <a:pt x="2432" y="205"/>
                  </a:lnTo>
                  <a:lnTo>
                    <a:pt x="2429" y="234"/>
                  </a:lnTo>
                  <a:lnTo>
                    <a:pt x="2432" y="262"/>
                  </a:lnTo>
                  <a:lnTo>
                    <a:pt x="2441" y="287"/>
                  </a:lnTo>
                  <a:lnTo>
                    <a:pt x="2456" y="311"/>
                  </a:lnTo>
                  <a:lnTo>
                    <a:pt x="2475" y="329"/>
                  </a:lnTo>
                  <a:lnTo>
                    <a:pt x="2498" y="344"/>
                  </a:lnTo>
                  <a:lnTo>
                    <a:pt x="2523" y="353"/>
                  </a:lnTo>
                  <a:lnTo>
                    <a:pt x="2551" y="356"/>
                  </a:lnTo>
                  <a:lnTo>
                    <a:pt x="2576" y="354"/>
                  </a:lnTo>
                  <a:lnTo>
                    <a:pt x="2599" y="347"/>
                  </a:lnTo>
                  <a:lnTo>
                    <a:pt x="2619" y="336"/>
                  </a:lnTo>
                  <a:lnTo>
                    <a:pt x="2638" y="321"/>
                  </a:lnTo>
                  <a:lnTo>
                    <a:pt x="2653" y="303"/>
                  </a:lnTo>
                  <a:lnTo>
                    <a:pt x="2656" y="298"/>
                  </a:lnTo>
                  <a:lnTo>
                    <a:pt x="2657" y="297"/>
                  </a:lnTo>
                  <a:lnTo>
                    <a:pt x="2666" y="278"/>
                  </a:lnTo>
                  <a:lnTo>
                    <a:pt x="2672" y="256"/>
                  </a:lnTo>
                  <a:lnTo>
                    <a:pt x="2674" y="234"/>
                  </a:lnTo>
                  <a:lnTo>
                    <a:pt x="2672" y="210"/>
                  </a:lnTo>
                  <a:lnTo>
                    <a:pt x="2665" y="187"/>
                  </a:lnTo>
                  <a:lnTo>
                    <a:pt x="2661" y="180"/>
                  </a:lnTo>
                  <a:lnTo>
                    <a:pt x="2658" y="174"/>
                  </a:lnTo>
                  <a:lnTo>
                    <a:pt x="2643" y="153"/>
                  </a:lnTo>
                  <a:lnTo>
                    <a:pt x="2625" y="136"/>
                  </a:lnTo>
                  <a:lnTo>
                    <a:pt x="2603" y="123"/>
                  </a:lnTo>
                  <a:lnTo>
                    <a:pt x="2579" y="115"/>
                  </a:lnTo>
                  <a:lnTo>
                    <a:pt x="2551" y="111"/>
                  </a:lnTo>
                  <a:close/>
                  <a:moveTo>
                    <a:pt x="2551" y="0"/>
                  </a:moveTo>
                  <a:lnTo>
                    <a:pt x="2591" y="3"/>
                  </a:lnTo>
                  <a:lnTo>
                    <a:pt x="2630" y="12"/>
                  </a:lnTo>
                  <a:lnTo>
                    <a:pt x="2665" y="28"/>
                  </a:lnTo>
                  <a:lnTo>
                    <a:pt x="2696" y="50"/>
                  </a:lnTo>
                  <a:lnTo>
                    <a:pt x="2724" y="75"/>
                  </a:lnTo>
                  <a:lnTo>
                    <a:pt x="2747" y="106"/>
                  </a:lnTo>
                  <a:lnTo>
                    <a:pt x="2766" y="138"/>
                  </a:lnTo>
                  <a:lnTo>
                    <a:pt x="3713" y="1930"/>
                  </a:lnTo>
                  <a:lnTo>
                    <a:pt x="3726" y="1957"/>
                  </a:lnTo>
                  <a:lnTo>
                    <a:pt x="3734" y="1986"/>
                  </a:lnTo>
                  <a:lnTo>
                    <a:pt x="3736" y="2017"/>
                  </a:lnTo>
                  <a:lnTo>
                    <a:pt x="3733" y="2050"/>
                  </a:lnTo>
                  <a:lnTo>
                    <a:pt x="3725" y="2080"/>
                  </a:lnTo>
                  <a:lnTo>
                    <a:pt x="3711" y="2108"/>
                  </a:lnTo>
                  <a:lnTo>
                    <a:pt x="3693" y="2132"/>
                  </a:lnTo>
                  <a:lnTo>
                    <a:pt x="3672" y="2153"/>
                  </a:lnTo>
                  <a:lnTo>
                    <a:pt x="3646" y="2170"/>
                  </a:lnTo>
                  <a:lnTo>
                    <a:pt x="3617" y="2183"/>
                  </a:lnTo>
                  <a:lnTo>
                    <a:pt x="3617" y="2612"/>
                  </a:lnTo>
                  <a:lnTo>
                    <a:pt x="3617" y="2620"/>
                  </a:lnTo>
                  <a:lnTo>
                    <a:pt x="3616" y="2626"/>
                  </a:lnTo>
                  <a:lnTo>
                    <a:pt x="3609" y="2660"/>
                  </a:lnTo>
                  <a:lnTo>
                    <a:pt x="3597" y="2693"/>
                  </a:lnTo>
                  <a:lnTo>
                    <a:pt x="3580" y="2724"/>
                  </a:lnTo>
                  <a:lnTo>
                    <a:pt x="3559" y="2752"/>
                  </a:lnTo>
                  <a:lnTo>
                    <a:pt x="3533" y="2777"/>
                  </a:lnTo>
                  <a:lnTo>
                    <a:pt x="3504" y="2799"/>
                  </a:lnTo>
                  <a:lnTo>
                    <a:pt x="3471" y="2815"/>
                  </a:lnTo>
                  <a:lnTo>
                    <a:pt x="3282" y="2891"/>
                  </a:lnTo>
                  <a:lnTo>
                    <a:pt x="3231" y="2908"/>
                  </a:lnTo>
                  <a:lnTo>
                    <a:pt x="3180" y="2918"/>
                  </a:lnTo>
                  <a:lnTo>
                    <a:pt x="3127" y="2920"/>
                  </a:lnTo>
                  <a:lnTo>
                    <a:pt x="3081" y="2918"/>
                  </a:lnTo>
                  <a:lnTo>
                    <a:pt x="3034" y="2910"/>
                  </a:lnTo>
                  <a:lnTo>
                    <a:pt x="2989" y="2896"/>
                  </a:lnTo>
                  <a:lnTo>
                    <a:pt x="2946" y="2878"/>
                  </a:lnTo>
                  <a:lnTo>
                    <a:pt x="2904" y="2855"/>
                  </a:lnTo>
                  <a:lnTo>
                    <a:pt x="2865" y="2826"/>
                  </a:lnTo>
                  <a:lnTo>
                    <a:pt x="2454" y="2487"/>
                  </a:lnTo>
                  <a:lnTo>
                    <a:pt x="2442" y="2474"/>
                  </a:lnTo>
                  <a:lnTo>
                    <a:pt x="2436" y="2458"/>
                  </a:lnTo>
                  <a:lnTo>
                    <a:pt x="2433" y="2441"/>
                  </a:lnTo>
                  <a:lnTo>
                    <a:pt x="2438" y="2424"/>
                  </a:lnTo>
                  <a:lnTo>
                    <a:pt x="2447" y="2409"/>
                  </a:lnTo>
                  <a:lnTo>
                    <a:pt x="2459" y="2397"/>
                  </a:lnTo>
                  <a:lnTo>
                    <a:pt x="2475" y="2390"/>
                  </a:lnTo>
                  <a:lnTo>
                    <a:pt x="2492" y="2388"/>
                  </a:lnTo>
                  <a:lnTo>
                    <a:pt x="2509" y="2393"/>
                  </a:lnTo>
                  <a:lnTo>
                    <a:pt x="2525" y="2402"/>
                  </a:lnTo>
                  <a:lnTo>
                    <a:pt x="2656" y="2509"/>
                  </a:lnTo>
                  <a:lnTo>
                    <a:pt x="3418" y="2203"/>
                  </a:lnTo>
                  <a:lnTo>
                    <a:pt x="3431" y="2200"/>
                  </a:lnTo>
                  <a:lnTo>
                    <a:pt x="3446" y="2200"/>
                  </a:lnTo>
                  <a:lnTo>
                    <a:pt x="3460" y="2204"/>
                  </a:lnTo>
                  <a:lnTo>
                    <a:pt x="3472" y="2211"/>
                  </a:lnTo>
                  <a:lnTo>
                    <a:pt x="3482" y="2221"/>
                  </a:lnTo>
                  <a:lnTo>
                    <a:pt x="3490" y="2235"/>
                  </a:lnTo>
                  <a:lnTo>
                    <a:pt x="3506" y="2275"/>
                  </a:lnTo>
                  <a:lnTo>
                    <a:pt x="3506" y="2183"/>
                  </a:lnTo>
                  <a:lnTo>
                    <a:pt x="3478" y="2170"/>
                  </a:lnTo>
                  <a:lnTo>
                    <a:pt x="3452" y="2152"/>
                  </a:lnTo>
                  <a:lnTo>
                    <a:pt x="3429" y="2131"/>
                  </a:lnTo>
                  <a:lnTo>
                    <a:pt x="3411" y="2106"/>
                  </a:lnTo>
                  <a:lnTo>
                    <a:pt x="2507" y="766"/>
                  </a:lnTo>
                  <a:lnTo>
                    <a:pt x="1895" y="1794"/>
                  </a:lnTo>
                  <a:lnTo>
                    <a:pt x="1983" y="1926"/>
                  </a:lnTo>
                  <a:lnTo>
                    <a:pt x="2010" y="1971"/>
                  </a:lnTo>
                  <a:lnTo>
                    <a:pt x="2032" y="2018"/>
                  </a:lnTo>
                  <a:lnTo>
                    <a:pt x="2050" y="2067"/>
                  </a:lnTo>
                  <a:lnTo>
                    <a:pt x="2063" y="2117"/>
                  </a:lnTo>
                  <a:lnTo>
                    <a:pt x="2069" y="2168"/>
                  </a:lnTo>
                  <a:lnTo>
                    <a:pt x="2073" y="2221"/>
                  </a:lnTo>
                  <a:lnTo>
                    <a:pt x="2073" y="2433"/>
                  </a:lnTo>
                  <a:lnTo>
                    <a:pt x="2072" y="2441"/>
                  </a:lnTo>
                  <a:lnTo>
                    <a:pt x="2069" y="2452"/>
                  </a:lnTo>
                  <a:lnTo>
                    <a:pt x="2066" y="2460"/>
                  </a:lnTo>
                  <a:lnTo>
                    <a:pt x="2064" y="2463"/>
                  </a:lnTo>
                  <a:lnTo>
                    <a:pt x="2063" y="2465"/>
                  </a:lnTo>
                  <a:lnTo>
                    <a:pt x="2060" y="2469"/>
                  </a:lnTo>
                  <a:lnTo>
                    <a:pt x="2059" y="2469"/>
                  </a:lnTo>
                  <a:lnTo>
                    <a:pt x="2058" y="2471"/>
                  </a:lnTo>
                  <a:lnTo>
                    <a:pt x="2056" y="2473"/>
                  </a:lnTo>
                  <a:lnTo>
                    <a:pt x="2055" y="2474"/>
                  </a:lnTo>
                  <a:lnTo>
                    <a:pt x="2052" y="2477"/>
                  </a:lnTo>
                  <a:lnTo>
                    <a:pt x="2050" y="2478"/>
                  </a:lnTo>
                  <a:lnTo>
                    <a:pt x="2048" y="2480"/>
                  </a:lnTo>
                  <a:lnTo>
                    <a:pt x="2043" y="2482"/>
                  </a:lnTo>
                  <a:lnTo>
                    <a:pt x="2039" y="2485"/>
                  </a:lnTo>
                  <a:lnTo>
                    <a:pt x="2039" y="2485"/>
                  </a:lnTo>
                  <a:lnTo>
                    <a:pt x="2035" y="2486"/>
                  </a:lnTo>
                  <a:lnTo>
                    <a:pt x="2033" y="2487"/>
                  </a:lnTo>
                  <a:lnTo>
                    <a:pt x="2031" y="2488"/>
                  </a:lnTo>
                  <a:lnTo>
                    <a:pt x="2027" y="2488"/>
                  </a:lnTo>
                  <a:lnTo>
                    <a:pt x="2024" y="2489"/>
                  </a:lnTo>
                  <a:lnTo>
                    <a:pt x="2023" y="2489"/>
                  </a:lnTo>
                  <a:lnTo>
                    <a:pt x="2019" y="2489"/>
                  </a:lnTo>
                  <a:lnTo>
                    <a:pt x="2017" y="2489"/>
                  </a:lnTo>
                  <a:lnTo>
                    <a:pt x="1954" y="2489"/>
                  </a:lnTo>
                  <a:lnTo>
                    <a:pt x="1954" y="2672"/>
                  </a:lnTo>
                  <a:lnTo>
                    <a:pt x="1950" y="2689"/>
                  </a:lnTo>
                  <a:lnTo>
                    <a:pt x="1942" y="2705"/>
                  </a:lnTo>
                  <a:lnTo>
                    <a:pt x="1931" y="2716"/>
                  </a:lnTo>
                  <a:lnTo>
                    <a:pt x="1915" y="2724"/>
                  </a:lnTo>
                  <a:lnTo>
                    <a:pt x="1898" y="2727"/>
                  </a:lnTo>
                  <a:lnTo>
                    <a:pt x="1418" y="2727"/>
                  </a:lnTo>
                  <a:lnTo>
                    <a:pt x="1418" y="2853"/>
                  </a:lnTo>
                  <a:lnTo>
                    <a:pt x="1838" y="2853"/>
                  </a:lnTo>
                  <a:lnTo>
                    <a:pt x="1890" y="2857"/>
                  </a:lnTo>
                  <a:lnTo>
                    <a:pt x="1940" y="2866"/>
                  </a:lnTo>
                  <a:lnTo>
                    <a:pt x="1988" y="2882"/>
                  </a:lnTo>
                  <a:lnTo>
                    <a:pt x="2032" y="2902"/>
                  </a:lnTo>
                  <a:lnTo>
                    <a:pt x="2074" y="2927"/>
                  </a:lnTo>
                  <a:lnTo>
                    <a:pt x="2112" y="2958"/>
                  </a:lnTo>
                  <a:lnTo>
                    <a:pt x="2146" y="2992"/>
                  </a:lnTo>
                  <a:lnTo>
                    <a:pt x="2177" y="3030"/>
                  </a:lnTo>
                  <a:lnTo>
                    <a:pt x="2202" y="3072"/>
                  </a:lnTo>
                  <a:lnTo>
                    <a:pt x="2222" y="3116"/>
                  </a:lnTo>
                  <a:lnTo>
                    <a:pt x="2238" y="3164"/>
                  </a:lnTo>
                  <a:lnTo>
                    <a:pt x="2247" y="3214"/>
                  </a:lnTo>
                  <a:lnTo>
                    <a:pt x="2251" y="3266"/>
                  </a:lnTo>
                  <a:lnTo>
                    <a:pt x="2247" y="3317"/>
                  </a:lnTo>
                  <a:lnTo>
                    <a:pt x="2238" y="3367"/>
                  </a:lnTo>
                  <a:lnTo>
                    <a:pt x="2222" y="3415"/>
                  </a:lnTo>
                  <a:lnTo>
                    <a:pt x="2202" y="3460"/>
                  </a:lnTo>
                  <a:lnTo>
                    <a:pt x="2177" y="3501"/>
                  </a:lnTo>
                  <a:lnTo>
                    <a:pt x="2146" y="3540"/>
                  </a:lnTo>
                  <a:lnTo>
                    <a:pt x="2112" y="3574"/>
                  </a:lnTo>
                  <a:lnTo>
                    <a:pt x="2074" y="3604"/>
                  </a:lnTo>
                  <a:lnTo>
                    <a:pt x="2032" y="3630"/>
                  </a:lnTo>
                  <a:lnTo>
                    <a:pt x="1988" y="3651"/>
                  </a:lnTo>
                  <a:lnTo>
                    <a:pt x="1940" y="3666"/>
                  </a:lnTo>
                  <a:lnTo>
                    <a:pt x="1890" y="3676"/>
                  </a:lnTo>
                  <a:lnTo>
                    <a:pt x="1838" y="3678"/>
                  </a:lnTo>
                  <a:lnTo>
                    <a:pt x="413" y="3678"/>
                  </a:lnTo>
                  <a:lnTo>
                    <a:pt x="360" y="3676"/>
                  </a:lnTo>
                  <a:lnTo>
                    <a:pt x="311" y="3666"/>
                  </a:lnTo>
                  <a:lnTo>
                    <a:pt x="263" y="3651"/>
                  </a:lnTo>
                  <a:lnTo>
                    <a:pt x="219" y="3630"/>
                  </a:lnTo>
                  <a:lnTo>
                    <a:pt x="177" y="3604"/>
                  </a:lnTo>
                  <a:lnTo>
                    <a:pt x="138" y="3574"/>
                  </a:lnTo>
                  <a:lnTo>
                    <a:pt x="104" y="3540"/>
                  </a:lnTo>
                  <a:lnTo>
                    <a:pt x="74" y="3501"/>
                  </a:lnTo>
                  <a:lnTo>
                    <a:pt x="49" y="3460"/>
                  </a:lnTo>
                  <a:lnTo>
                    <a:pt x="28" y="3415"/>
                  </a:lnTo>
                  <a:lnTo>
                    <a:pt x="12" y="3367"/>
                  </a:lnTo>
                  <a:lnTo>
                    <a:pt x="3" y="3317"/>
                  </a:lnTo>
                  <a:lnTo>
                    <a:pt x="0" y="3266"/>
                  </a:lnTo>
                  <a:lnTo>
                    <a:pt x="3" y="3214"/>
                  </a:lnTo>
                  <a:lnTo>
                    <a:pt x="12" y="3164"/>
                  </a:lnTo>
                  <a:lnTo>
                    <a:pt x="28" y="3116"/>
                  </a:lnTo>
                  <a:lnTo>
                    <a:pt x="49" y="3072"/>
                  </a:lnTo>
                  <a:lnTo>
                    <a:pt x="74" y="3030"/>
                  </a:lnTo>
                  <a:lnTo>
                    <a:pt x="104" y="2992"/>
                  </a:lnTo>
                  <a:lnTo>
                    <a:pt x="138" y="2958"/>
                  </a:lnTo>
                  <a:lnTo>
                    <a:pt x="177" y="2927"/>
                  </a:lnTo>
                  <a:lnTo>
                    <a:pt x="219" y="2902"/>
                  </a:lnTo>
                  <a:lnTo>
                    <a:pt x="263" y="2882"/>
                  </a:lnTo>
                  <a:lnTo>
                    <a:pt x="311" y="2866"/>
                  </a:lnTo>
                  <a:lnTo>
                    <a:pt x="360" y="2857"/>
                  </a:lnTo>
                  <a:lnTo>
                    <a:pt x="413" y="2853"/>
                  </a:lnTo>
                  <a:lnTo>
                    <a:pt x="832" y="2853"/>
                  </a:lnTo>
                  <a:lnTo>
                    <a:pt x="832" y="2727"/>
                  </a:lnTo>
                  <a:lnTo>
                    <a:pt x="353" y="2727"/>
                  </a:lnTo>
                  <a:lnTo>
                    <a:pt x="317" y="2724"/>
                  </a:lnTo>
                  <a:lnTo>
                    <a:pt x="284" y="2714"/>
                  </a:lnTo>
                  <a:lnTo>
                    <a:pt x="255" y="2698"/>
                  </a:lnTo>
                  <a:lnTo>
                    <a:pt x="229" y="2676"/>
                  </a:lnTo>
                  <a:lnTo>
                    <a:pt x="209" y="2650"/>
                  </a:lnTo>
                  <a:lnTo>
                    <a:pt x="192" y="2621"/>
                  </a:lnTo>
                  <a:lnTo>
                    <a:pt x="181" y="2588"/>
                  </a:lnTo>
                  <a:lnTo>
                    <a:pt x="178" y="2553"/>
                  </a:lnTo>
                  <a:lnTo>
                    <a:pt x="178" y="2136"/>
                  </a:lnTo>
                  <a:lnTo>
                    <a:pt x="181" y="2101"/>
                  </a:lnTo>
                  <a:lnTo>
                    <a:pt x="192" y="2068"/>
                  </a:lnTo>
                  <a:lnTo>
                    <a:pt x="209" y="2039"/>
                  </a:lnTo>
                  <a:lnTo>
                    <a:pt x="229" y="2013"/>
                  </a:lnTo>
                  <a:lnTo>
                    <a:pt x="255" y="1991"/>
                  </a:lnTo>
                  <a:lnTo>
                    <a:pt x="284" y="1975"/>
                  </a:lnTo>
                  <a:lnTo>
                    <a:pt x="317" y="1965"/>
                  </a:lnTo>
                  <a:lnTo>
                    <a:pt x="353" y="1962"/>
                  </a:lnTo>
                  <a:lnTo>
                    <a:pt x="713" y="1962"/>
                  </a:lnTo>
                  <a:lnTo>
                    <a:pt x="713" y="1601"/>
                  </a:lnTo>
                  <a:lnTo>
                    <a:pt x="717" y="1558"/>
                  </a:lnTo>
                  <a:lnTo>
                    <a:pt x="726" y="1517"/>
                  </a:lnTo>
                  <a:lnTo>
                    <a:pt x="740" y="1477"/>
                  </a:lnTo>
                  <a:lnTo>
                    <a:pt x="761" y="1442"/>
                  </a:lnTo>
                  <a:lnTo>
                    <a:pt x="785" y="1409"/>
                  </a:lnTo>
                  <a:lnTo>
                    <a:pt x="814" y="1380"/>
                  </a:lnTo>
                  <a:lnTo>
                    <a:pt x="847" y="1355"/>
                  </a:lnTo>
                  <a:lnTo>
                    <a:pt x="883" y="1335"/>
                  </a:lnTo>
                  <a:lnTo>
                    <a:pt x="922" y="1321"/>
                  </a:lnTo>
                  <a:lnTo>
                    <a:pt x="963" y="1310"/>
                  </a:lnTo>
                  <a:lnTo>
                    <a:pt x="1007" y="1308"/>
                  </a:lnTo>
                  <a:lnTo>
                    <a:pt x="1414" y="1308"/>
                  </a:lnTo>
                  <a:lnTo>
                    <a:pt x="1452" y="1310"/>
                  </a:lnTo>
                  <a:lnTo>
                    <a:pt x="2359" y="101"/>
                  </a:lnTo>
                  <a:lnTo>
                    <a:pt x="2359" y="101"/>
                  </a:lnTo>
                  <a:lnTo>
                    <a:pt x="2382" y="73"/>
                  </a:lnTo>
                  <a:lnTo>
                    <a:pt x="2410" y="48"/>
                  </a:lnTo>
                  <a:lnTo>
                    <a:pt x="2441" y="27"/>
                  </a:lnTo>
                  <a:lnTo>
                    <a:pt x="2475" y="12"/>
                  </a:lnTo>
                  <a:lnTo>
                    <a:pt x="2513" y="3"/>
                  </a:lnTo>
                  <a:lnTo>
                    <a:pt x="2551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</p:grpSp>
      <p:sp>
        <p:nvSpPr>
          <p:cNvPr id="23625" name="TextBox 158">
            <a:extLst>
              <a:ext uri="{FF2B5EF4-FFF2-40B4-BE49-F238E27FC236}">
                <a16:creationId xmlns:a16="http://schemas.microsoft.com/office/drawing/2014/main" id="{E039C87F-72AD-4054-B63A-554ACFFB9E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4663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6" name="TextBox 159">
            <a:extLst>
              <a:ext uri="{FF2B5EF4-FFF2-40B4-BE49-F238E27FC236}">
                <a16:creationId xmlns:a16="http://schemas.microsoft.com/office/drawing/2014/main" id="{C89D28E8-6E73-4458-A352-42A749EC09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3488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7" name="TextBox 127">
            <a:extLst>
              <a:ext uri="{FF2B5EF4-FFF2-40B4-BE49-F238E27FC236}">
                <a16:creationId xmlns:a16="http://schemas.microsoft.com/office/drawing/2014/main" id="{D2C4F5E9-E854-4896-8355-45DEC69063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7813" y="6378575"/>
            <a:ext cx="426243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Sources: National Bureau of Statistics, World Bank Report on Doing Business in Nigeria 2018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climate-</a:t>
            </a:r>
            <a:r>
              <a:rPr lang="en-GB" altLang="en-US" sz="800" dirty="0" err="1">
                <a:latin typeface="Calibri" panose="020F0502020204030204" pitchFamily="34" charset="0"/>
              </a:rPr>
              <a:t>data.org</a:t>
            </a:r>
            <a:r>
              <a:rPr lang="en-GB" altLang="en-US" sz="800" dirty="0">
                <a:latin typeface="Calibri" panose="020F0502020204030204" pitchFamily="34" charset="0"/>
              </a:rPr>
              <a:t>, State Government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Exchange rate= $1/N305 (Central Bank of Nigeria)</a:t>
            </a:r>
          </a:p>
        </p:txBody>
      </p:sp>
      <p:sp>
        <p:nvSpPr>
          <p:cNvPr id="23628" name="TextBox 128">
            <a:extLst>
              <a:ext uri="{FF2B5EF4-FFF2-40B4-BE49-F238E27FC236}">
                <a16:creationId xmlns:a16="http://schemas.microsoft.com/office/drawing/2014/main" id="{409BCC6F-A5F0-4C79-BB4A-38A1ABC14F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27647" y="3649889"/>
            <a:ext cx="49564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Health</a:t>
            </a:r>
          </a:p>
        </p:txBody>
      </p:sp>
      <p:sp>
        <p:nvSpPr>
          <p:cNvPr id="23629" name="TextBox 129">
            <a:extLst>
              <a:ext uri="{FF2B5EF4-FFF2-40B4-BE49-F238E27FC236}">
                <a16:creationId xmlns:a16="http://schemas.microsoft.com/office/drawing/2014/main" id="{489E7B41-20C9-4493-8E7D-07238EB8FA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80042" y="3654980"/>
            <a:ext cx="388248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Yam</a:t>
            </a:r>
          </a:p>
        </p:txBody>
      </p:sp>
      <p:sp>
        <p:nvSpPr>
          <p:cNvPr id="23630" name="TextBox 130">
            <a:extLst>
              <a:ext uri="{FF2B5EF4-FFF2-40B4-BE49-F238E27FC236}">
                <a16:creationId xmlns:a16="http://schemas.microsoft.com/office/drawing/2014/main" id="{048DE5D8-5309-42DA-9D97-2935A10CB7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31" name="TextBox 131">
            <a:extLst>
              <a:ext uri="{FF2B5EF4-FFF2-40B4-BE49-F238E27FC236}">
                <a16:creationId xmlns:a16="http://schemas.microsoft.com/office/drawing/2014/main" id="{FF8B6C80-43E2-43AF-A364-A31845F05C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79666" y="3656613"/>
            <a:ext cx="57579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Palm Oil</a:t>
            </a:r>
          </a:p>
        </p:txBody>
      </p:sp>
      <p:sp>
        <p:nvSpPr>
          <p:cNvPr id="23632" name="TextBox 132">
            <a:extLst>
              <a:ext uri="{FF2B5EF4-FFF2-40B4-BE49-F238E27FC236}">
                <a16:creationId xmlns:a16="http://schemas.microsoft.com/office/drawing/2014/main" id="{A1C640C1-61D1-4BA5-8A76-E684397E8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51464" y="3650683"/>
            <a:ext cx="35779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Salt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238751" y="3833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23638" name="TextBox 141">
            <a:extLst>
              <a:ext uri="{FF2B5EF4-FFF2-40B4-BE49-F238E27FC236}">
                <a16:creationId xmlns:a16="http://schemas.microsoft.com/office/drawing/2014/main" id="{EE481231-8673-4FD7-B5CC-900AEE7A9F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8233" y="3652271"/>
            <a:ext cx="38023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Rice</a:t>
            </a:r>
          </a:p>
        </p:txBody>
      </p:sp>
      <p:pic>
        <p:nvPicPr>
          <p:cNvPr id="23640" name="Picture 144">
            <a:extLst>
              <a:ext uri="{FF2B5EF4-FFF2-40B4-BE49-F238E27FC236}">
                <a16:creationId xmlns:a16="http://schemas.microsoft.com/office/drawing/2014/main" id="{9C10FE81-7367-4227-B282-92FCD551E44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6035" y="3921230"/>
            <a:ext cx="468378" cy="4696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49" name="TextBox 165">
            <a:extLst>
              <a:ext uri="{FF2B5EF4-FFF2-40B4-BE49-F238E27FC236}">
                <a16:creationId xmlns:a16="http://schemas.microsoft.com/office/drawing/2014/main" id="{1242633E-9CB1-48ED-83F4-2223DFC7ED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81236" y="4459560"/>
            <a:ext cx="57259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Industry</a:t>
            </a:r>
          </a:p>
        </p:txBody>
      </p:sp>
      <p:sp>
        <p:nvSpPr>
          <p:cNvPr id="23650" name="TextBox 166">
            <a:extLst>
              <a:ext uri="{FF2B5EF4-FFF2-40B4-BE49-F238E27FC236}">
                <a16:creationId xmlns:a16="http://schemas.microsoft.com/office/drawing/2014/main" id="{6B51369B-8FA6-464A-B908-12B0FFE6B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51841" y="4458812"/>
            <a:ext cx="55175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Cassava</a:t>
            </a:r>
          </a:p>
        </p:txBody>
      </p:sp>
      <p:sp>
        <p:nvSpPr>
          <p:cNvPr id="23651" name="TextBox 167">
            <a:extLst>
              <a:ext uri="{FF2B5EF4-FFF2-40B4-BE49-F238E27FC236}">
                <a16:creationId xmlns:a16="http://schemas.microsoft.com/office/drawing/2014/main" id="{4F9404E1-8339-401B-8B10-4C7D1A8CEC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39786" y="4457881"/>
            <a:ext cx="56778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Tourism</a:t>
            </a:r>
          </a:p>
        </p:txBody>
      </p:sp>
      <p:sp>
        <p:nvSpPr>
          <p:cNvPr id="23652" name="TextBox 168">
            <a:extLst>
              <a:ext uri="{FF2B5EF4-FFF2-40B4-BE49-F238E27FC236}">
                <a16:creationId xmlns:a16="http://schemas.microsoft.com/office/drawing/2014/main" id="{1C04917D-B2C3-4C21-8CC2-A45C349B4B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65456" y="4457133"/>
            <a:ext cx="46519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Beans</a:t>
            </a:r>
          </a:p>
        </p:txBody>
      </p:sp>
      <p:sp>
        <p:nvSpPr>
          <p:cNvPr id="23653" name="TextBox 169">
            <a:extLst>
              <a:ext uri="{FF2B5EF4-FFF2-40B4-BE49-F238E27FC236}">
                <a16:creationId xmlns:a16="http://schemas.microsoft.com/office/drawing/2014/main" id="{4BADA327-4F2D-4897-B7C0-4647A1484B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3926" y="4458166"/>
            <a:ext cx="652462" cy="13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Education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8A28B48-1841-45BB-BFBC-EADE77B37C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1436611"/>
              </p:ext>
            </p:extLst>
          </p:nvPr>
        </p:nvGraphicFramePr>
        <p:xfrm>
          <a:off x="2779712" y="2589213"/>
          <a:ext cx="1482725" cy="812800"/>
        </p:xfrm>
        <a:graphic>
          <a:graphicData uri="http://schemas.openxmlformats.org/drawingml/2006/table">
            <a:tbl>
              <a:tblPr/>
              <a:tblGrid>
                <a:gridCol w="11367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9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32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GB" sz="1000" b="1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Domestic</a:t>
                      </a:r>
                      <a:r>
                        <a:rPr lang="en-GB" sz="10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US" sz="1000" b="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International 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Railway</a:t>
                      </a:r>
                      <a:r>
                        <a:rPr lang="en-GB" sz="1000" b="1" kern="1200" baseline="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 Station</a:t>
                      </a:r>
                      <a:endParaRPr lang="en-GB" sz="1000" b="1" kern="1200" dirty="0">
                        <a:solidFill>
                          <a:srgbClr val="292929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32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Sea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7" name="TextBox 136">
            <a:extLst>
              <a:ext uri="{FF2B5EF4-FFF2-40B4-BE49-F238E27FC236}">
                <a16:creationId xmlns:a16="http://schemas.microsoft.com/office/drawing/2014/main" id="{2F4C4876-7073-4C13-A183-127A8909BDC0}"/>
              </a:ext>
            </a:extLst>
          </p:cNvPr>
          <p:cNvSpPr txBox="1"/>
          <p:nvPr/>
        </p:nvSpPr>
        <p:spPr>
          <a:xfrm>
            <a:off x="538163" y="5268913"/>
            <a:ext cx="373856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For further details</a:t>
            </a:r>
          </a:p>
        </p:txBody>
      </p:sp>
      <p:sp>
        <p:nvSpPr>
          <p:cNvPr id="23676" name="TextBox 156">
            <a:extLst>
              <a:ext uri="{FF2B5EF4-FFF2-40B4-BE49-F238E27FC236}">
                <a16:creationId xmlns:a16="http://schemas.microsoft.com/office/drawing/2014/main" id="{95D66AAF-6B48-4B9E-9E5B-F1BB063A89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6300" y="6342063"/>
            <a:ext cx="37306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Abbreviations: </a:t>
            </a:r>
            <a:r>
              <a:rPr lang="en-GB" altLang="en-US" sz="800" b="1" dirty="0">
                <a:latin typeface="Calibri" panose="020F0502020204030204" pitchFamily="34" charset="0"/>
              </a:rPr>
              <a:t>	NICPS</a:t>
            </a:r>
            <a:r>
              <a:rPr lang="en-GB" altLang="en-US" sz="800" dirty="0">
                <a:latin typeface="Calibri" panose="020F0502020204030204" pitchFamily="34" charset="0"/>
              </a:rPr>
              <a:t>: Nigerian Investment Certification Programme for States                  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	</a:t>
            </a:r>
            <a:r>
              <a:rPr lang="en-GB" altLang="en-US" sz="800" b="1" dirty="0">
                <a:latin typeface="Calibri" panose="020F0502020204030204" pitchFamily="34" charset="0"/>
              </a:rPr>
              <a:t>IGR</a:t>
            </a:r>
            <a:r>
              <a:rPr lang="en-GB" altLang="en-US" sz="800" dirty="0">
                <a:latin typeface="Calibri" panose="020F0502020204030204" pitchFamily="34" charset="0"/>
              </a:rPr>
              <a:t>:     Internal Generated Revenue</a:t>
            </a:r>
          </a:p>
        </p:txBody>
      </p:sp>
      <p:sp>
        <p:nvSpPr>
          <p:cNvPr id="23678" name="TextBox 152">
            <a:extLst>
              <a:ext uri="{FF2B5EF4-FFF2-40B4-BE49-F238E27FC236}">
                <a16:creationId xmlns:a16="http://schemas.microsoft.com/office/drawing/2014/main" id="{BFAF6896-F732-45FC-AC47-950DF99D9E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4575" y="1136113"/>
            <a:ext cx="3446463" cy="2092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15888" indent="-11588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</a:rPr>
              <a:t>Huge salt deposi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</a:rPr>
              <a:t>3</a:t>
            </a:r>
            <a:r>
              <a:rPr lang="en-US" sz="1300" baseline="30000" dirty="0">
                <a:latin typeface="Calibri" panose="020F0502020204030204" pitchFamily="34" charset="0"/>
              </a:rPr>
              <a:t>rd</a:t>
            </a:r>
            <a:r>
              <a:rPr lang="en-US" sz="1300" dirty="0">
                <a:latin typeface="Calibri" panose="020F0502020204030204" pitchFamily="34" charset="0"/>
              </a:rPr>
              <a:t> largest producer of rice in Nigeria (1.5m metric </a:t>
            </a:r>
            <a:r>
              <a:rPr lang="en-US" sz="1300" dirty="0" err="1">
                <a:latin typeface="Calibri" panose="020F0502020204030204" pitchFamily="34" charset="0"/>
              </a:rPr>
              <a:t>tonnes</a:t>
            </a:r>
            <a:r>
              <a:rPr lang="en-US" sz="1300" dirty="0">
                <a:latin typeface="Calibri" panose="020F0502020204030204" pitchFamily="34" charset="0"/>
              </a:rPr>
              <a:t> annually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Lead and natural gas deposi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Best roads in South East (spans 198km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Tourist attraction (</a:t>
            </a:r>
            <a:r>
              <a:rPr lang="en-GB" sz="1300" dirty="0" err="1">
                <a:latin typeface="Calibri" panose="020F0502020204030204" pitchFamily="34" charset="0"/>
              </a:rPr>
              <a:t>Abakaliki</a:t>
            </a:r>
            <a:r>
              <a:rPr lang="en-GB" sz="1300" dirty="0">
                <a:latin typeface="Calibri" panose="020F0502020204030204" pitchFamily="34" charset="0"/>
              </a:rPr>
              <a:t> Green Lake, </a:t>
            </a:r>
            <a:r>
              <a:rPr lang="en-GB" sz="1300" dirty="0" err="1">
                <a:latin typeface="Calibri" panose="020F0502020204030204" pitchFamily="34" charset="0"/>
              </a:rPr>
              <a:t>Amanchore</a:t>
            </a:r>
            <a:r>
              <a:rPr lang="en-GB" sz="1300" dirty="0">
                <a:latin typeface="Calibri" panose="020F0502020204030204" pitchFamily="34" charset="0"/>
              </a:rPr>
              <a:t> cave)</a:t>
            </a:r>
          </a:p>
          <a:p>
            <a:pPr>
              <a:buFont typeface="Arial" panose="020B0604020202020204" pitchFamily="34" charset="0"/>
              <a:buChar char="•"/>
            </a:pPr>
            <a:endParaRPr lang="en-GB" sz="1300" dirty="0">
              <a:latin typeface="Calibri" panose="020F050202020403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GB" sz="1300" dirty="0">
              <a:latin typeface="Calibri" panose="020F050202020403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GB" sz="1300" dirty="0">
              <a:latin typeface="Calibri" panose="020F0502020204030204" pitchFamily="34" charset="0"/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D4E23C6-26A0-4545-B8F7-7007C8EEBFE4}"/>
              </a:ext>
            </a:extLst>
          </p:cNvPr>
          <p:cNvSpPr txBox="1"/>
          <p:nvPr/>
        </p:nvSpPr>
        <p:spPr>
          <a:xfrm>
            <a:off x="4338638" y="5265738"/>
            <a:ext cx="247491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id you know?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132" name="Text Placeholder 42">
            <a:extLst>
              <a:ext uri="{FF2B5EF4-FFF2-40B4-BE49-F238E27FC236}">
                <a16:creationId xmlns:a16="http://schemas.microsoft.com/office/drawing/2014/main" id="{D510D0DC-1548-4249-8DB1-9A1055126D07}"/>
              </a:ext>
            </a:extLst>
          </p:cNvPr>
          <p:cNvSpPr txBox="1">
            <a:spLocks/>
          </p:cNvSpPr>
          <p:nvPr/>
        </p:nvSpPr>
        <p:spPr>
          <a:xfrm>
            <a:off x="522288" y="5511800"/>
            <a:ext cx="3733800" cy="701675"/>
          </a:xfrm>
          <a:prstGeom prst="rect">
            <a:avLst/>
          </a:prstGeom>
        </p:spPr>
        <p:txBody>
          <a:bodyPr lIns="36576" tIns="0" rIns="36576" bIns="0"/>
          <a:lstStyle>
            <a:lvl1pPr marL="0" indent="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/>
              <a:buNone/>
              <a:defRPr sz="800" b="1" baseline="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6575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93763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 charset="0"/>
              <a:buChar char="►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50950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619250" indent="-188913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0764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25336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29908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34480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NIGERIAN INVESTMENT PROMOTION COMMISSION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>
                <a:solidFill>
                  <a:schemeClr val="tx1"/>
                </a:solidFill>
                <a:hlinkClick r:id="rId8"/>
              </a:rPr>
              <a:t>statesco@nipc.gov.ng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endParaRPr lang="en-US" sz="5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EBONYI STATE INVESTMENT &amp; PROPERTY CO.LTD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>
                <a:solidFill>
                  <a:schemeClr val="tx1"/>
                </a:solidFill>
                <a:hlinkClick r:id="rId9"/>
              </a:rPr>
              <a:t>ebinpro14@gmail.com</a:t>
            </a:r>
            <a:r>
              <a:rPr lang="en-US" sz="1000" b="0" kern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FF015425-7997-4612-9D0E-1F6C433DFCC7}"/>
              </a:ext>
            </a:extLst>
          </p:cNvPr>
          <p:cNvSpPr/>
          <p:nvPr/>
        </p:nvSpPr>
        <p:spPr>
          <a:xfrm>
            <a:off x="6080877" y="3040856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4C0B7457-CABD-4AC8-8A1A-1FD468581E4D}"/>
              </a:ext>
            </a:extLst>
          </p:cNvPr>
          <p:cNvSpPr/>
          <p:nvPr/>
        </p:nvSpPr>
        <p:spPr>
          <a:xfrm>
            <a:off x="6784796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2D626A89-F50C-45A3-9271-5D3F2EEA9C83}"/>
              </a:ext>
            </a:extLst>
          </p:cNvPr>
          <p:cNvSpPr/>
          <p:nvPr/>
        </p:nvSpPr>
        <p:spPr>
          <a:xfrm>
            <a:off x="7518399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240713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A62E850A-D87D-46D0-9257-0071E677FCF0}"/>
              </a:ext>
            </a:extLst>
          </p:cNvPr>
          <p:cNvSpPr/>
          <p:nvPr/>
        </p:nvSpPr>
        <p:spPr>
          <a:xfrm>
            <a:off x="8947150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4D1FAA17-3EFF-404B-B4C4-B468BCE2E9A5}"/>
              </a:ext>
            </a:extLst>
          </p:cNvPr>
          <p:cNvSpPr/>
          <p:nvPr/>
        </p:nvSpPr>
        <p:spPr>
          <a:xfrm>
            <a:off x="6078265" y="3836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E861211D-5D09-4577-8A09-FD96D972A5D4}"/>
              </a:ext>
            </a:extLst>
          </p:cNvPr>
          <p:cNvSpPr/>
          <p:nvPr/>
        </p:nvSpPr>
        <p:spPr>
          <a:xfrm>
            <a:off x="6780509" y="3833831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D9F8790B-E97D-4D8F-AD51-26FAFBF8CA40}"/>
              </a:ext>
            </a:extLst>
          </p:cNvPr>
          <p:cNvSpPr/>
          <p:nvPr/>
        </p:nvSpPr>
        <p:spPr>
          <a:xfrm>
            <a:off x="8946402" y="3833630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3CBEFD1C-6360-47CD-AEDD-DFB49FC0E0C7}"/>
              </a:ext>
            </a:extLst>
          </p:cNvPr>
          <p:cNvSpPr/>
          <p:nvPr/>
        </p:nvSpPr>
        <p:spPr>
          <a:xfrm>
            <a:off x="7518603" y="3830834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pic>
        <p:nvPicPr>
          <p:cNvPr id="127" name="Picture 126">
            <a:extLst>
              <a:ext uri="{FF2B5EF4-FFF2-40B4-BE49-F238E27FC236}">
                <a16:creationId xmlns:a16="http://schemas.microsoft.com/office/drawing/2014/main" id="{CF0C2E77-F808-4A6A-A188-62AA4A2BC87D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11890" y="3088728"/>
            <a:ext cx="469246" cy="487053"/>
          </a:xfrm>
          <a:prstGeom prst="rect">
            <a:avLst/>
          </a:prstGeom>
        </p:spPr>
      </p:pic>
      <p:pic>
        <p:nvPicPr>
          <p:cNvPr id="134" name="Picture 133" descr="rice.png">
            <a:extLst>
              <a:ext uri="{FF2B5EF4-FFF2-40B4-BE49-F238E27FC236}">
                <a16:creationId xmlns:a16="http://schemas.microsoft.com/office/drawing/2014/main" id="{5CF9C8BE-40DC-42EA-AA13-4FA9CA67D74B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15867" r="20664"/>
          <a:stretch>
            <a:fillRect/>
          </a:stretch>
        </p:blipFill>
        <p:spPr>
          <a:xfrm>
            <a:off x="6164075" y="3131255"/>
            <a:ext cx="476674" cy="465587"/>
          </a:xfrm>
          <a:prstGeom prst="rect">
            <a:avLst/>
          </a:prstGeom>
        </p:spPr>
      </p:pic>
      <p:pic>
        <p:nvPicPr>
          <p:cNvPr id="135" name="Picture 2">
            <a:extLst>
              <a:ext uri="{FF2B5EF4-FFF2-40B4-BE49-F238E27FC236}">
                <a16:creationId xmlns:a16="http://schemas.microsoft.com/office/drawing/2014/main" id="{6B9B8552-FC10-4BA7-967D-1E6FB58F33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5046" y="3162512"/>
            <a:ext cx="360795" cy="39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6" name="Picture 3">
            <a:extLst>
              <a:ext uri="{FF2B5EF4-FFF2-40B4-BE49-F238E27FC236}">
                <a16:creationId xmlns:a16="http://schemas.microsoft.com/office/drawing/2014/main" id="{ABE461C2-3EEB-4486-AAC6-F052BB251E1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3" t="12594" r="5245" b="11453"/>
          <a:stretch/>
        </p:blipFill>
        <p:spPr bwMode="auto">
          <a:xfrm>
            <a:off x="8324129" y="3057235"/>
            <a:ext cx="433459" cy="4590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9" name="Picture 3">
            <a:extLst>
              <a:ext uri="{FF2B5EF4-FFF2-40B4-BE49-F238E27FC236}">
                <a16:creationId xmlns:a16="http://schemas.microsoft.com/office/drawing/2014/main" id="{D2B39B48-4718-4085-8B5B-0E33D9D9A7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0791" y="3010319"/>
            <a:ext cx="579896" cy="659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1" name="Picture 6">
            <a:extLst>
              <a:ext uri="{FF2B5EF4-FFF2-40B4-BE49-F238E27FC236}">
                <a16:creationId xmlns:a16="http://schemas.microsoft.com/office/drawing/2014/main" id="{397182D3-E1CF-4052-9473-D31960828D1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44814" r="9340" b="9302"/>
          <a:stretch/>
        </p:blipFill>
        <p:spPr bwMode="auto">
          <a:xfrm>
            <a:off x="6845262" y="3944436"/>
            <a:ext cx="476068" cy="318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0" name="Picture 149">
            <a:extLst>
              <a:ext uri="{FF2B5EF4-FFF2-40B4-BE49-F238E27FC236}">
                <a16:creationId xmlns:a16="http://schemas.microsoft.com/office/drawing/2014/main" id="{91B02B36-82B8-4ED0-8946-670F85C04179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27371" t="7919" r="25181" b="39570"/>
          <a:stretch/>
        </p:blipFill>
        <p:spPr>
          <a:xfrm>
            <a:off x="8289157" y="3920574"/>
            <a:ext cx="507194" cy="396897"/>
          </a:xfrm>
          <a:prstGeom prst="rect">
            <a:avLst/>
          </a:prstGeom>
        </p:spPr>
      </p:pic>
      <p:sp>
        <p:nvSpPr>
          <p:cNvPr id="144" name="TextBox 143">
            <a:extLst>
              <a:ext uri="{FF2B5EF4-FFF2-40B4-BE49-F238E27FC236}">
                <a16:creationId xmlns:a16="http://schemas.microsoft.com/office/drawing/2014/main" id="{D0A41506-8873-4C2F-B45B-4459F0229CA3}"/>
              </a:ext>
            </a:extLst>
          </p:cNvPr>
          <p:cNvSpPr txBox="1"/>
          <p:nvPr/>
        </p:nvSpPr>
        <p:spPr>
          <a:xfrm>
            <a:off x="4374578" y="4541674"/>
            <a:ext cx="17988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te Investment Certification Process Not Started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276725" y="5451729"/>
            <a:ext cx="2575116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Ebonyi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 was created from the old </a:t>
            </a:r>
            <a:r>
              <a:rPr lang="en-US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Abakaliki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 division of Enugu State and old </a:t>
            </a:r>
            <a:r>
              <a:rPr lang="en-US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Afikpo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 division of </a:t>
            </a:r>
            <a:r>
              <a:rPr lang="en-US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Abia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 State</a:t>
            </a:r>
          </a:p>
        </p:txBody>
      </p:sp>
      <p:pic>
        <p:nvPicPr>
          <p:cNvPr id="116" name="Picture 115"/>
          <p:cNvPicPr>
            <a:picLocks noChangeAspect="1"/>
          </p:cNvPicPr>
          <p:nvPr/>
        </p:nvPicPr>
        <p:blipFill rotWithShape="1">
          <a:blip r:embed="rId18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72" r="6398" b="16626"/>
          <a:stretch/>
        </p:blipFill>
        <p:spPr>
          <a:xfrm>
            <a:off x="7570816" y="3887378"/>
            <a:ext cx="472799" cy="45190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19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52" r="11379" b="18555"/>
          <a:stretch/>
        </p:blipFill>
        <p:spPr>
          <a:xfrm>
            <a:off x="9033924" y="3927456"/>
            <a:ext cx="390291" cy="411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0606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Pentagon 19">
            <a:extLst>
              <a:ext uri="{FF2B5EF4-FFF2-40B4-BE49-F238E27FC236}">
                <a16:creationId xmlns:a16="http://schemas.microsoft.com/office/drawing/2014/main" id="{CAD93C59-72A9-4F6D-A654-02B9F8A5EFF9}"/>
              </a:ext>
            </a:extLst>
          </p:cNvPr>
          <p:cNvSpPr>
            <a:spLocks/>
          </p:cNvSpPr>
          <p:nvPr/>
        </p:nvSpPr>
        <p:spPr bwMode="auto">
          <a:xfrm>
            <a:off x="756602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9 of 37</a:t>
            </a:r>
          </a:p>
        </p:txBody>
      </p:sp>
      <p:sp>
        <p:nvSpPr>
          <p:cNvPr id="376" name="Pentagon 19">
            <a:extLst>
              <a:ext uri="{FF2B5EF4-FFF2-40B4-BE49-F238E27FC236}">
                <a16:creationId xmlns:a16="http://schemas.microsoft.com/office/drawing/2014/main" id="{1BDC5465-6022-4404-B4D8-ED55CF961B8A}"/>
              </a:ext>
            </a:extLst>
          </p:cNvPr>
          <p:cNvSpPr>
            <a:spLocks/>
          </p:cNvSpPr>
          <p:nvPr/>
        </p:nvSpPr>
        <p:spPr bwMode="auto">
          <a:xfrm>
            <a:off x="824865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9 of 3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57F1EBC-D01A-4083-B657-63AFB1490839}"/>
              </a:ext>
            </a:extLst>
          </p:cNvPr>
          <p:cNvSpPr txBox="1"/>
          <p:nvPr/>
        </p:nvSpPr>
        <p:spPr>
          <a:xfrm>
            <a:off x="6122988" y="2792413"/>
            <a:ext cx="3475037" cy="241299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nvestment Opportunit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D251BD-538A-4F4F-847E-620EEDA298A0}"/>
              </a:ext>
            </a:extLst>
          </p:cNvPr>
          <p:cNvSpPr txBox="1"/>
          <p:nvPr/>
        </p:nvSpPr>
        <p:spPr>
          <a:xfrm>
            <a:off x="6881813" y="4632911"/>
            <a:ext cx="2697162" cy="33855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oing Business Ranking(2018)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1B8F13C-F732-4DA1-9250-DB02936E7688}"/>
              </a:ext>
            </a:extLst>
          </p:cNvPr>
          <p:cNvSpPr/>
          <p:nvPr/>
        </p:nvSpPr>
        <p:spPr>
          <a:xfrm>
            <a:off x="756602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Registering Propert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6BA1818-32ED-44D1-975C-958200BDD124}"/>
              </a:ext>
            </a:extLst>
          </p:cNvPr>
          <p:cNvSpPr/>
          <p:nvPr/>
        </p:nvSpPr>
        <p:spPr>
          <a:xfrm>
            <a:off x="8248650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Dealing with Construction Permits</a:t>
            </a:r>
          </a:p>
        </p:txBody>
      </p:sp>
      <p:sp>
        <p:nvSpPr>
          <p:cNvPr id="23560" name="TextBox 174">
            <a:extLst>
              <a:ext uri="{FF2B5EF4-FFF2-40B4-BE49-F238E27FC236}">
                <a16:creationId xmlns:a16="http://schemas.microsoft.com/office/drawing/2014/main" id="{1573FD4E-62B9-45E8-8F28-CED990ED2D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0B63A6C-2A5E-4CA3-BC66-4CBC6008BC9A}"/>
              </a:ext>
            </a:extLst>
          </p:cNvPr>
          <p:cNvSpPr/>
          <p:nvPr/>
        </p:nvSpPr>
        <p:spPr>
          <a:xfrm>
            <a:off x="893127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Enforcing Contracts</a:t>
            </a:r>
          </a:p>
        </p:txBody>
      </p:sp>
      <p:pic>
        <p:nvPicPr>
          <p:cNvPr id="23562" name="Picture 4">
            <a:extLst>
              <a:ext uri="{FF2B5EF4-FFF2-40B4-BE49-F238E27FC236}">
                <a16:creationId xmlns:a16="http://schemas.microsoft.com/office/drawing/2014/main" id="{7C8EEAB2-0239-4BB5-94B3-23E319AF1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513" y="5249863"/>
            <a:ext cx="439737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6" name="Pentagon 19">
            <a:extLst>
              <a:ext uri="{FF2B5EF4-FFF2-40B4-BE49-F238E27FC236}">
                <a16:creationId xmlns:a16="http://schemas.microsoft.com/office/drawing/2014/main" id="{5F8E9670-D71A-4765-B6B5-D711BC9AD6E1}"/>
              </a:ext>
            </a:extLst>
          </p:cNvPr>
          <p:cNvSpPr>
            <a:spLocks/>
          </p:cNvSpPr>
          <p:nvPr/>
        </p:nvSpPr>
        <p:spPr bwMode="auto">
          <a:xfrm>
            <a:off x="893127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8</a:t>
            </a:r>
            <a:r>
              <a:rPr lang="en-GB" sz="1000" baseline="3000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of 37</a:t>
            </a:r>
          </a:p>
        </p:txBody>
      </p:sp>
      <p:sp>
        <p:nvSpPr>
          <p:cNvPr id="23564" name="Title 3">
            <a:extLst>
              <a:ext uri="{FF2B5EF4-FFF2-40B4-BE49-F238E27FC236}">
                <a16:creationId xmlns:a16="http://schemas.microsoft.com/office/drawing/2014/main" id="{C62A749B-CFC7-4224-A789-D20A772AC33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77813" y="222250"/>
            <a:ext cx="8543925" cy="5619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en-GB" alt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do State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6882DF2C-9120-4A66-8487-575D9494F4D6}"/>
              </a:ext>
            </a:extLst>
          </p:cNvPr>
          <p:cNvSpPr txBox="1"/>
          <p:nvPr/>
        </p:nvSpPr>
        <p:spPr>
          <a:xfrm rot="16200000">
            <a:off x="-2290084" y="3478372"/>
            <a:ext cx="5303837" cy="2743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The Heart of the Nation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grpSp>
        <p:nvGrpSpPr>
          <p:cNvPr id="23566" name="Group 9">
            <a:extLst>
              <a:ext uri="{FF2B5EF4-FFF2-40B4-BE49-F238E27FC236}">
                <a16:creationId xmlns:a16="http://schemas.microsoft.com/office/drawing/2014/main" id="{5B6131BD-3CE3-4FC4-B13A-FA9B797C1EF5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41338" y="963613"/>
            <a:ext cx="2897187" cy="2319337"/>
            <a:chOff x="770228" y="1459989"/>
            <a:chExt cx="4081047" cy="3267527"/>
          </a:xfrm>
        </p:grpSpPr>
        <p:sp>
          <p:nvSpPr>
            <p:cNvPr id="299" name="Freeform 4">
              <a:extLst>
                <a:ext uri="{FF2B5EF4-FFF2-40B4-BE49-F238E27FC236}">
                  <a16:creationId xmlns:a16="http://schemas.microsoft.com/office/drawing/2014/main" id="{B6150C82-CBE5-48B4-B60C-C210BB7B26A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91538" y="4349548"/>
              <a:ext cx="418167" cy="377968"/>
            </a:xfrm>
            <a:custGeom>
              <a:avLst/>
              <a:gdLst>
                <a:gd name="T0" fmla="*/ 12 w 786"/>
                <a:gd name="T1" fmla="*/ 19 h 714"/>
                <a:gd name="T2" fmla="*/ 22 w 786"/>
                <a:gd name="T3" fmla="*/ 18 h 714"/>
                <a:gd name="T4" fmla="*/ 27 w 786"/>
                <a:gd name="T5" fmla="*/ 17 h 714"/>
                <a:gd name="T6" fmla="*/ 30 w 786"/>
                <a:gd name="T7" fmla="*/ 14 h 714"/>
                <a:gd name="T8" fmla="*/ 37 w 786"/>
                <a:gd name="T9" fmla="*/ 16 h 714"/>
                <a:gd name="T10" fmla="*/ 43 w 786"/>
                <a:gd name="T11" fmla="*/ 13 h 714"/>
                <a:gd name="T12" fmla="*/ 48 w 786"/>
                <a:gd name="T13" fmla="*/ 8 h 714"/>
                <a:gd name="T14" fmla="*/ 55 w 786"/>
                <a:gd name="T15" fmla="*/ 4 h 714"/>
                <a:gd name="T16" fmla="*/ 66 w 786"/>
                <a:gd name="T17" fmla="*/ 0 h 714"/>
                <a:gd name="T18" fmla="*/ 63 w 786"/>
                <a:gd name="T19" fmla="*/ 12 h 714"/>
                <a:gd name="T20" fmla="*/ 59 w 786"/>
                <a:gd name="T21" fmla="*/ 19 h 714"/>
                <a:gd name="T22" fmla="*/ 57 w 786"/>
                <a:gd name="T23" fmla="*/ 29 h 714"/>
                <a:gd name="T24" fmla="*/ 59 w 786"/>
                <a:gd name="T25" fmla="*/ 36 h 714"/>
                <a:gd name="T26" fmla="*/ 66 w 786"/>
                <a:gd name="T27" fmla="*/ 35 h 714"/>
                <a:gd name="T28" fmla="*/ 64 w 786"/>
                <a:gd name="T29" fmla="*/ 41 h 714"/>
                <a:gd name="T30" fmla="*/ 64 w 786"/>
                <a:gd name="T31" fmla="*/ 48 h 714"/>
                <a:gd name="T32" fmla="*/ 63 w 786"/>
                <a:gd name="T33" fmla="*/ 56 h 714"/>
                <a:gd name="T34" fmla="*/ 60 w 786"/>
                <a:gd name="T35" fmla="*/ 60 h 714"/>
                <a:gd name="T36" fmla="*/ 57 w 786"/>
                <a:gd name="T37" fmla="*/ 58 h 714"/>
                <a:gd name="T38" fmla="*/ 54 w 786"/>
                <a:gd name="T39" fmla="*/ 54 h 714"/>
                <a:gd name="T40" fmla="*/ 53 w 786"/>
                <a:gd name="T41" fmla="*/ 51 h 714"/>
                <a:gd name="T42" fmla="*/ 51 w 786"/>
                <a:gd name="T43" fmla="*/ 53 h 714"/>
                <a:gd name="T44" fmla="*/ 49 w 786"/>
                <a:gd name="T45" fmla="*/ 54 h 714"/>
                <a:gd name="T46" fmla="*/ 47 w 786"/>
                <a:gd name="T47" fmla="*/ 50 h 714"/>
                <a:gd name="T48" fmla="*/ 48 w 786"/>
                <a:gd name="T49" fmla="*/ 54 h 714"/>
                <a:gd name="T50" fmla="*/ 47 w 786"/>
                <a:gd name="T51" fmla="*/ 54 h 714"/>
                <a:gd name="T52" fmla="*/ 46 w 786"/>
                <a:gd name="T53" fmla="*/ 59 h 714"/>
                <a:gd name="T54" fmla="*/ 47 w 786"/>
                <a:gd name="T55" fmla="*/ 62 h 714"/>
                <a:gd name="T56" fmla="*/ 42 w 786"/>
                <a:gd name="T57" fmla="*/ 62 h 714"/>
                <a:gd name="T58" fmla="*/ 39 w 786"/>
                <a:gd name="T59" fmla="*/ 57 h 714"/>
                <a:gd name="T60" fmla="*/ 40 w 786"/>
                <a:gd name="T61" fmla="*/ 54 h 714"/>
                <a:gd name="T62" fmla="*/ 43 w 786"/>
                <a:gd name="T63" fmla="*/ 55 h 714"/>
                <a:gd name="T64" fmla="*/ 40 w 786"/>
                <a:gd name="T65" fmla="*/ 53 h 714"/>
                <a:gd name="T66" fmla="*/ 38 w 786"/>
                <a:gd name="T67" fmla="*/ 57 h 714"/>
                <a:gd name="T68" fmla="*/ 37 w 786"/>
                <a:gd name="T69" fmla="*/ 57 h 714"/>
                <a:gd name="T70" fmla="*/ 37 w 786"/>
                <a:gd name="T71" fmla="*/ 60 h 714"/>
                <a:gd name="T72" fmla="*/ 33 w 786"/>
                <a:gd name="T73" fmla="*/ 56 h 714"/>
                <a:gd name="T74" fmla="*/ 32 w 786"/>
                <a:gd name="T75" fmla="*/ 58 h 714"/>
                <a:gd name="T76" fmla="*/ 26 w 786"/>
                <a:gd name="T77" fmla="*/ 54 h 714"/>
                <a:gd name="T78" fmla="*/ 26 w 786"/>
                <a:gd name="T79" fmla="*/ 54 h 714"/>
                <a:gd name="T80" fmla="*/ 24 w 786"/>
                <a:gd name="T81" fmla="*/ 51 h 714"/>
                <a:gd name="T82" fmla="*/ 22 w 786"/>
                <a:gd name="T83" fmla="*/ 51 h 714"/>
                <a:gd name="T84" fmla="*/ 20 w 786"/>
                <a:gd name="T85" fmla="*/ 50 h 714"/>
                <a:gd name="T86" fmla="*/ 20 w 786"/>
                <a:gd name="T87" fmla="*/ 48 h 714"/>
                <a:gd name="T88" fmla="*/ 18 w 786"/>
                <a:gd name="T89" fmla="*/ 47 h 714"/>
                <a:gd name="T90" fmla="*/ 15 w 786"/>
                <a:gd name="T91" fmla="*/ 45 h 714"/>
                <a:gd name="T92" fmla="*/ 11 w 786"/>
                <a:gd name="T93" fmla="*/ 39 h 714"/>
                <a:gd name="T94" fmla="*/ 12 w 786"/>
                <a:gd name="T95" fmla="*/ 36 h 714"/>
                <a:gd name="T96" fmla="*/ 7 w 786"/>
                <a:gd name="T97" fmla="*/ 33 h 714"/>
                <a:gd name="T98" fmla="*/ 5 w 786"/>
                <a:gd name="T99" fmla="*/ 28 h 714"/>
                <a:gd name="T100" fmla="*/ 7 w 786"/>
                <a:gd name="T101" fmla="*/ 30 h 714"/>
                <a:gd name="T102" fmla="*/ 4 w 786"/>
                <a:gd name="T103" fmla="*/ 24 h 714"/>
                <a:gd name="T104" fmla="*/ 2 w 786"/>
                <a:gd name="T105" fmla="*/ 20 h 714"/>
                <a:gd name="T106" fmla="*/ 0 w 786"/>
                <a:gd name="T107" fmla="*/ 15 h 714"/>
                <a:gd name="T108" fmla="*/ 4 w 786"/>
                <a:gd name="T109" fmla="*/ 16 h 714"/>
                <a:gd name="T110" fmla="*/ 55 w 786"/>
                <a:gd name="T111" fmla="*/ 60 h 714"/>
                <a:gd name="T112" fmla="*/ 47 w 786"/>
                <a:gd name="T113" fmla="*/ 60 h 714"/>
                <a:gd name="T114" fmla="*/ 51 w 786"/>
                <a:gd name="T115" fmla="*/ 54 h 714"/>
                <a:gd name="T116" fmla="*/ 54 w 786"/>
                <a:gd name="T117" fmla="*/ 56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86"/>
                <a:gd name="T178" fmla="*/ 0 h 714"/>
                <a:gd name="T179" fmla="*/ 786 w 786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86" h="714">
                  <a:moveTo>
                    <a:pt x="54" y="186"/>
                  </a:moveTo>
                  <a:lnTo>
                    <a:pt x="54" y="192"/>
                  </a:lnTo>
                  <a:lnTo>
                    <a:pt x="72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204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20" y="210"/>
                  </a:lnTo>
                  <a:lnTo>
                    <a:pt x="126" y="210"/>
                  </a:lnTo>
                  <a:lnTo>
                    <a:pt x="132" y="210"/>
                  </a:lnTo>
                  <a:lnTo>
                    <a:pt x="132" y="216"/>
                  </a:lnTo>
                  <a:lnTo>
                    <a:pt x="138" y="222"/>
                  </a:lnTo>
                  <a:lnTo>
                    <a:pt x="150" y="222"/>
                  </a:lnTo>
                  <a:lnTo>
                    <a:pt x="162" y="234"/>
                  </a:lnTo>
                  <a:lnTo>
                    <a:pt x="168" y="240"/>
                  </a:lnTo>
                  <a:lnTo>
                    <a:pt x="180" y="240"/>
                  </a:lnTo>
                  <a:lnTo>
                    <a:pt x="186" y="228"/>
                  </a:lnTo>
                  <a:lnTo>
                    <a:pt x="210" y="234"/>
                  </a:lnTo>
                  <a:lnTo>
                    <a:pt x="222" y="228"/>
                  </a:lnTo>
                  <a:lnTo>
                    <a:pt x="228" y="216"/>
                  </a:lnTo>
                  <a:lnTo>
                    <a:pt x="234" y="210"/>
                  </a:lnTo>
                  <a:lnTo>
                    <a:pt x="240" y="216"/>
                  </a:lnTo>
                  <a:lnTo>
                    <a:pt x="246" y="210"/>
                  </a:lnTo>
                  <a:lnTo>
                    <a:pt x="252" y="210"/>
                  </a:lnTo>
                  <a:lnTo>
                    <a:pt x="258" y="210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192"/>
                  </a:lnTo>
                  <a:lnTo>
                    <a:pt x="270" y="192"/>
                  </a:lnTo>
                  <a:lnTo>
                    <a:pt x="276" y="192"/>
                  </a:lnTo>
                  <a:lnTo>
                    <a:pt x="282" y="192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192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198"/>
                  </a:lnTo>
                  <a:lnTo>
                    <a:pt x="312" y="198"/>
                  </a:lnTo>
                  <a:lnTo>
                    <a:pt x="312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24" y="186"/>
                  </a:lnTo>
                  <a:lnTo>
                    <a:pt x="318" y="180"/>
                  </a:lnTo>
                  <a:lnTo>
                    <a:pt x="324" y="180"/>
                  </a:lnTo>
                  <a:lnTo>
                    <a:pt x="330" y="186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74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54" y="144"/>
                  </a:lnTo>
                  <a:lnTo>
                    <a:pt x="360" y="144"/>
                  </a:lnTo>
                  <a:lnTo>
                    <a:pt x="372" y="156"/>
                  </a:lnTo>
                  <a:lnTo>
                    <a:pt x="372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96" y="168"/>
                  </a:lnTo>
                  <a:lnTo>
                    <a:pt x="396" y="174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26" y="186"/>
                  </a:lnTo>
                  <a:lnTo>
                    <a:pt x="432" y="186"/>
                  </a:lnTo>
                  <a:lnTo>
                    <a:pt x="438" y="180"/>
                  </a:lnTo>
                  <a:lnTo>
                    <a:pt x="438" y="168"/>
                  </a:lnTo>
                  <a:lnTo>
                    <a:pt x="438" y="162"/>
                  </a:lnTo>
                  <a:lnTo>
                    <a:pt x="444" y="156"/>
                  </a:lnTo>
                  <a:lnTo>
                    <a:pt x="450" y="156"/>
                  </a:lnTo>
                  <a:lnTo>
                    <a:pt x="456" y="150"/>
                  </a:lnTo>
                  <a:lnTo>
                    <a:pt x="462" y="156"/>
                  </a:lnTo>
                  <a:lnTo>
                    <a:pt x="468" y="162"/>
                  </a:lnTo>
                  <a:lnTo>
                    <a:pt x="474" y="162"/>
                  </a:lnTo>
                  <a:lnTo>
                    <a:pt x="486" y="162"/>
                  </a:lnTo>
                  <a:lnTo>
                    <a:pt x="492" y="156"/>
                  </a:lnTo>
                  <a:lnTo>
                    <a:pt x="498" y="150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28" y="126"/>
                  </a:lnTo>
                  <a:lnTo>
                    <a:pt x="522" y="120"/>
                  </a:lnTo>
                  <a:lnTo>
                    <a:pt x="522" y="114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28" y="102"/>
                  </a:lnTo>
                  <a:lnTo>
                    <a:pt x="534" y="96"/>
                  </a:lnTo>
                  <a:lnTo>
                    <a:pt x="552" y="96"/>
                  </a:lnTo>
                  <a:lnTo>
                    <a:pt x="570" y="102"/>
                  </a:lnTo>
                  <a:lnTo>
                    <a:pt x="582" y="96"/>
                  </a:lnTo>
                  <a:lnTo>
                    <a:pt x="582" y="90"/>
                  </a:lnTo>
                  <a:lnTo>
                    <a:pt x="582" y="78"/>
                  </a:lnTo>
                  <a:lnTo>
                    <a:pt x="582" y="72"/>
                  </a:lnTo>
                  <a:lnTo>
                    <a:pt x="582" y="66"/>
                  </a:lnTo>
                  <a:lnTo>
                    <a:pt x="594" y="60"/>
                  </a:lnTo>
                  <a:lnTo>
                    <a:pt x="600" y="60"/>
                  </a:lnTo>
                  <a:lnTo>
                    <a:pt x="606" y="54"/>
                  </a:lnTo>
                  <a:lnTo>
                    <a:pt x="618" y="48"/>
                  </a:lnTo>
                  <a:lnTo>
                    <a:pt x="618" y="42"/>
                  </a:lnTo>
                  <a:lnTo>
                    <a:pt x="624" y="42"/>
                  </a:lnTo>
                  <a:lnTo>
                    <a:pt x="636" y="48"/>
                  </a:lnTo>
                  <a:lnTo>
                    <a:pt x="648" y="54"/>
                  </a:lnTo>
                  <a:lnTo>
                    <a:pt x="660" y="54"/>
                  </a:lnTo>
                  <a:lnTo>
                    <a:pt x="666" y="60"/>
                  </a:lnTo>
                  <a:lnTo>
                    <a:pt x="672" y="54"/>
                  </a:lnTo>
                  <a:lnTo>
                    <a:pt x="684" y="48"/>
                  </a:lnTo>
                  <a:lnTo>
                    <a:pt x="708" y="42"/>
                  </a:lnTo>
                  <a:lnTo>
                    <a:pt x="714" y="42"/>
                  </a:lnTo>
                  <a:lnTo>
                    <a:pt x="720" y="36"/>
                  </a:lnTo>
                  <a:lnTo>
                    <a:pt x="720" y="30"/>
                  </a:lnTo>
                  <a:lnTo>
                    <a:pt x="714" y="12"/>
                  </a:lnTo>
                  <a:lnTo>
                    <a:pt x="708" y="0"/>
                  </a:lnTo>
                  <a:lnTo>
                    <a:pt x="738" y="6"/>
                  </a:lnTo>
                  <a:lnTo>
                    <a:pt x="756" y="6"/>
                  </a:lnTo>
                  <a:lnTo>
                    <a:pt x="762" y="42"/>
                  </a:lnTo>
                  <a:lnTo>
                    <a:pt x="738" y="72"/>
                  </a:lnTo>
                  <a:lnTo>
                    <a:pt x="750" y="90"/>
                  </a:lnTo>
                  <a:lnTo>
                    <a:pt x="762" y="96"/>
                  </a:lnTo>
                  <a:lnTo>
                    <a:pt x="756" y="102"/>
                  </a:lnTo>
                  <a:lnTo>
                    <a:pt x="750" y="108"/>
                  </a:lnTo>
                  <a:lnTo>
                    <a:pt x="750" y="114"/>
                  </a:lnTo>
                  <a:lnTo>
                    <a:pt x="750" y="120"/>
                  </a:lnTo>
                  <a:lnTo>
                    <a:pt x="750" y="126"/>
                  </a:lnTo>
                  <a:lnTo>
                    <a:pt x="750" y="132"/>
                  </a:lnTo>
                  <a:lnTo>
                    <a:pt x="738" y="132"/>
                  </a:lnTo>
                  <a:lnTo>
                    <a:pt x="732" y="138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14" y="144"/>
                  </a:lnTo>
                  <a:lnTo>
                    <a:pt x="714" y="150"/>
                  </a:lnTo>
                  <a:lnTo>
                    <a:pt x="720" y="156"/>
                  </a:lnTo>
                  <a:lnTo>
                    <a:pt x="720" y="162"/>
                  </a:lnTo>
                  <a:lnTo>
                    <a:pt x="714" y="162"/>
                  </a:lnTo>
                  <a:lnTo>
                    <a:pt x="708" y="168"/>
                  </a:lnTo>
                  <a:lnTo>
                    <a:pt x="708" y="180"/>
                  </a:lnTo>
                  <a:lnTo>
                    <a:pt x="708" y="192"/>
                  </a:lnTo>
                  <a:lnTo>
                    <a:pt x="696" y="198"/>
                  </a:lnTo>
                  <a:lnTo>
                    <a:pt x="696" y="204"/>
                  </a:lnTo>
                  <a:lnTo>
                    <a:pt x="684" y="210"/>
                  </a:lnTo>
                  <a:lnTo>
                    <a:pt x="684" y="216"/>
                  </a:lnTo>
                  <a:lnTo>
                    <a:pt x="684" y="222"/>
                  </a:lnTo>
                  <a:lnTo>
                    <a:pt x="678" y="228"/>
                  </a:lnTo>
                  <a:lnTo>
                    <a:pt x="678" y="234"/>
                  </a:lnTo>
                  <a:lnTo>
                    <a:pt x="672" y="240"/>
                  </a:lnTo>
                  <a:lnTo>
                    <a:pt x="672" y="252"/>
                  </a:lnTo>
                  <a:lnTo>
                    <a:pt x="672" y="258"/>
                  </a:lnTo>
                  <a:lnTo>
                    <a:pt x="666" y="264"/>
                  </a:lnTo>
                  <a:lnTo>
                    <a:pt x="678" y="264"/>
                  </a:lnTo>
                  <a:lnTo>
                    <a:pt x="684" y="276"/>
                  </a:lnTo>
                  <a:lnTo>
                    <a:pt x="684" y="288"/>
                  </a:lnTo>
                  <a:lnTo>
                    <a:pt x="672" y="300"/>
                  </a:lnTo>
                  <a:lnTo>
                    <a:pt x="660" y="318"/>
                  </a:lnTo>
                  <a:lnTo>
                    <a:pt x="660" y="336"/>
                  </a:lnTo>
                  <a:lnTo>
                    <a:pt x="654" y="342"/>
                  </a:lnTo>
                  <a:lnTo>
                    <a:pt x="660" y="354"/>
                  </a:lnTo>
                  <a:lnTo>
                    <a:pt x="660" y="366"/>
                  </a:lnTo>
                  <a:lnTo>
                    <a:pt x="666" y="378"/>
                  </a:lnTo>
                  <a:lnTo>
                    <a:pt x="672" y="390"/>
                  </a:lnTo>
                  <a:lnTo>
                    <a:pt x="678" y="396"/>
                  </a:lnTo>
                  <a:lnTo>
                    <a:pt x="684" y="390"/>
                  </a:lnTo>
                  <a:lnTo>
                    <a:pt x="690" y="390"/>
                  </a:lnTo>
                  <a:lnTo>
                    <a:pt x="690" y="396"/>
                  </a:lnTo>
                  <a:lnTo>
                    <a:pt x="684" y="396"/>
                  </a:lnTo>
                  <a:lnTo>
                    <a:pt x="684" y="402"/>
                  </a:lnTo>
                  <a:lnTo>
                    <a:pt x="684" y="408"/>
                  </a:lnTo>
                  <a:lnTo>
                    <a:pt x="678" y="414"/>
                  </a:lnTo>
                  <a:lnTo>
                    <a:pt x="684" y="414"/>
                  </a:lnTo>
                  <a:lnTo>
                    <a:pt x="684" y="420"/>
                  </a:lnTo>
                  <a:lnTo>
                    <a:pt x="684" y="426"/>
                  </a:lnTo>
                  <a:lnTo>
                    <a:pt x="690" y="420"/>
                  </a:lnTo>
                  <a:lnTo>
                    <a:pt x="696" y="420"/>
                  </a:lnTo>
                  <a:lnTo>
                    <a:pt x="696" y="426"/>
                  </a:lnTo>
                  <a:lnTo>
                    <a:pt x="690" y="426"/>
                  </a:lnTo>
                  <a:lnTo>
                    <a:pt x="696" y="426"/>
                  </a:lnTo>
                  <a:lnTo>
                    <a:pt x="708" y="426"/>
                  </a:lnTo>
                  <a:lnTo>
                    <a:pt x="726" y="414"/>
                  </a:lnTo>
                  <a:lnTo>
                    <a:pt x="732" y="408"/>
                  </a:lnTo>
                  <a:lnTo>
                    <a:pt x="744" y="402"/>
                  </a:lnTo>
                  <a:lnTo>
                    <a:pt x="756" y="402"/>
                  </a:lnTo>
                  <a:lnTo>
                    <a:pt x="768" y="402"/>
                  </a:lnTo>
                  <a:lnTo>
                    <a:pt x="786" y="408"/>
                  </a:lnTo>
                  <a:lnTo>
                    <a:pt x="786" y="414"/>
                  </a:lnTo>
                  <a:lnTo>
                    <a:pt x="774" y="420"/>
                  </a:lnTo>
                  <a:lnTo>
                    <a:pt x="774" y="426"/>
                  </a:lnTo>
                  <a:lnTo>
                    <a:pt x="768" y="432"/>
                  </a:lnTo>
                  <a:lnTo>
                    <a:pt x="762" y="438"/>
                  </a:lnTo>
                  <a:lnTo>
                    <a:pt x="756" y="438"/>
                  </a:lnTo>
                  <a:lnTo>
                    <a:pt x="756" y="444"/>
                  </a:lnTo>
                  <a:lnTo>
                    <a:pt x="756" y="450"/>
                  </a:lnTo>
                  <a:lnTo>
                    <a:pt x="762" y="450"/>
                  </a:lnTo>
                  <a:lnTo>
                    <a:pt x="750" y="456"/>
                  </a:lnTo>
                  <a:lnTo>
                    <a:pt x="738" y="468"/>
                  </a:lnTo>
                  <a:lnTo>
                    <a:pt x="726" y="480"/>
                  </a:lnTo>
                  <a:lnTo>
                    <a:pt x="726" y="486"/>
                  </a:lnTo>
                  <a:lnTo>
                    <a:pt x="732" y="486"/>
                  </a:lnTo>
                  <a:lnTo>
                    <a:pt x="732" y="492"/>
                  </a:lnTo>
                  <a:lnTo>
                    <a:pt x="732" y="504"/>
                  </a:lnTo>
                  <a:lnTo>
                    <a:pt x="738" y="504"/>
                  </a:lnTo>
                  <a:lnTo>
                    <a:pt x="744" y="510"/>
                  </a:lnTo>
                  <a:lnTo>
                    <a:pt x="738" y="522"/>
                  </a:lnTo>
                  <a:lnTo>
                    <a:pt x="744" y="528"/>
                  </a:lnTo>
                  <a:lnTo>
                    <a:pt x="756" y="534"/>
                  </a:lnTo>
                  <a:lnTo>
                    <a:pt x="756" y="540"/>
                  </a:lnTo>
                  <a:lnTo>
                    <a:pt x="744" y="552"/>
                  </a:lnTo>
                  <a:lnTo>
                    <a:pt x="738" y="552"/>
                  </a:lnTo>
                  <a:lnTo>
                    <a:pt x="738" y="558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64"/>
                  </a:lnTo>
                  <a:lnTo>
                    <a:pt x="744" y="576"/>
                  </a:lnTo>
                  <a:lnTo>
                    <a:pt x="738" y="588"/>
                  </a:lnTo>
                  <a:lnTo>
                    <a:pt x="738" y="594"/>
                  </a:lnTo>
                  <a:lnTo>
                    <a:pt x="738" y="600"/>
                  </a:lnTo>
                  <a:lnTo>
                    <a:pt x="738" y="606"/>
                  </a:lnTo>
                  <a:lnTo>
                    <a:pt x="732" y="612"/>
                  </a:lnTo>
                  <a:lnTo>
                    <a:pt x="726" y="624"/>
                  </a:lnTo>
                  <a:lnTo>
                    <a:pt x="726" y="636"/>
                  </a:lnTo>
                  <a:lnTo>
                    <a:pt x="726" y="648"/>
                  </a:lnTo>
                  <a:lnTo>
                    <a:pt x="738" y="654"/>
                  </a:lnTo>
                  <a:lnTo>
                    <a:pt x="750" y="660"/>
                  </a:lnTo>
                  <a:lnTo>
                    <a:pt x="750" y="666"/>
                  </a:lnTo>
                  <a:lnTo>
                    <a:pt x="750" y="678"/>
                  </a:lnTo>
                  <a:lnTo>
                    <a:pt x="744" y="678"/>
                  </a:lnTo>
                  <a:lnTo>
                    <a:pt x="738" y="684"/>
                  </a:lnTo>
                  <a:lnTo>
                    <a:pt x="732" y="684"/>
                  </a:lnTo>
                  <a:lnTo>
                    <a:pt x="720" y="678"/>
                  </a:lnTo>
                  <a:lnTo>
                    <a:pt x="714" y="684"/>
                  </a:lnTo>
                  <a:lnTo>
                    <a:pt x="708" y="684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0" y="690"/>
                  </a:lnTo>
                  <a:lnTo>
                    <a:pt x="690" y="684"/>
                  </a:lnTo>
                  <a:lnTo>
                    <a:pt x="690" y="690"/>
                  </a:lnTo>
                  <a:lnTo>
                    <a:pt x="684" y="690"/>
                  </a:lnTo>
                  <a:lnTo>
                    <a:pt x="684" y="684"/>
                  </a:lnTo>
                  <a:lnTo>
                    <a:pt x="678" y="684"/>
                  </a:lnTo>
                  <a:lnTo>
                    <a:pt x="672" y="678"/>
                  </a:lnTo>
                  <a:lnTo>
                    <a:pt x="672" y="672"/>
                  </a:lnTo>
                  <a:lnTo>
                    <a:pt x="678" y="672"/>
                  </a:lnTo>
                  <a:lnTo>
                    <a:pt x="672" y="672"/>
                  </a:lnTo>
                  <a:lnTo>
                    <a:pt x="666" y="672"/>
                  </a:lnTo>
                  <a:lnTo>
                    <a:pt x="660" y="672"/>
                  </a:lnTo>
                  <a:lnTo>
                    <a:pt x="654" y="672"/>
                  </a:lnTo>
                  <a:lnTo>
                    <a:pt x="654" y="666"/>
                  </a:lnTo>
                  <a:lnTo>
                    <a:pt x="648" y="666"/>
                  </a:lnTo>
                  <a:lnTo>
                    <a:pt x="642" y="660"/>
                  </a:lnTo>
                  <a:lnTo>
                    <a:pt x="642" y="654"/>
                  </a:lnTo>
                  <a:lnTo>
                    <a:pt x="642" y="648"/>
                  </a:lnTo>
                  <a:lnTo>
                    <a:pt x="636" y="648"/>
                  </a:lnTo>
                  <a:lnTo>
                    <a:pt x="630" y="648"/>
                  </a:lnTo>
                  <a:lnTo>
                    <a:pt x="624" y="648"/>
                  </a:lnTo>
                  <a:lnTo>
                    <a:pt x="624" y="642"/>
                  </a:lnTo>
                  <a:lnTo>
                    <a:pt x="618" y="636"/>
                  </a:lnTo>
                  <a:lnTo>
                    <a:pt x="624" y="636"/>
                  </a:lnTo>
                  <a:lnTo>
                    <a:pt x="624" y="630"/>
                  </a:lnTo>
                  <a:lnTo>
                    <a:pt x="618" y="630"/>
                  </a:lnTo>
                  <a:lnTo>
                    <a:pt x="618" y="624"/>
                  </a:lnTo>
                  <a:lnTo>
                    <a:pt x="618" y="618"/>
                  </a:lnTo>
                  <a:lnTo>
                    <a:pt x="618" y="612"/>
                  </a:lnTo>
                  <a:lnTo>
                    <a:pt x="618" y="606"/>
                  </a:lnTo>
                  <a:lnTo>
                    <a:pt x="624" y="606"/>
                  </a:lnTo>
                  <a:lnTo>
                    <a:pt x="624" y="600"/>
                  </a:lnTo>
                  <a:lnTo>
                    <a:pt x="618" y="600"/>
                  </a:lnTo>
                  <a:lnTo>
                    <a:pt x="618" y="594"/>
                  </a:lnTo>
                  <a:lnTo>
                    <a:pt x="618" y="588"/>
                  </a:lnTo>
                  <a:lnTo>
                    <a:pt x="618" y="582"/>
                  </a:lnTo>
                  <a:lnTo>
                    <a:pt x="612" y="582"/>
                  </a:lnTo>
                  <a:lnTo>
                    <a:pt x="606" y="582"/>
                  </a:lnTo>
                  <a:lnTo>
                    <a:pt x="612" y="582"/>
                  </a:lnTo>
                  <a:lnTo>
                    <a:pt x="612" y="588"/>
                  </a:lnTo>
                  <a:lnTo>
                    <a:pt x="612" y="594"/>
                  </a:lnTo>
                  <a:lnTo>
                    <a:pt x="618" y="594"/>
                  </a:lnTo>
                  <a:lnTo>
                    <a:pt x="618" y="600"/>
                  </a:lnTo>
                  <a:lnTo>
                    <a:pt x="618" y="606"/>
                  </a:lnTo>
                  <a:lnTo>
                    <a:pt x="618" y="612"/>
                  </a:lnTo>
                  <a:lnTo>
                    <a:pt x="612" y="612"/>
                  </a:lnTo>
                  <a:lnTo>
                    <a:pt x="612" y="618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94" y="612"/>
                  </a:lnTo>
                  <a:lnTo>
                    <a:pt x="588" y="606"/>
                  </a:lnTo>
                  <a:lnTo>
                    <a:pt x="588" y="612"/>
                  </a:lnTo>
                  <a:lnTo>
                    <a:pt x="594" y="612"/>
                  </a:lnTo>
                  <a:lnTo>
                    <a:pt x="594" y="618"/>
                  </a:lnTo>
                  <a:lnTo>
                    <a:pt x="588" y="618"/>
                  </a:lnTo>
                  <a:lnTo>
                    <a:pt x="588" y="624"/>
                  </a:lnTo>
                  <a:lnTo>
                    <a:pt x="582" y="624"/>
                  </a:lnTo>
                  <a:lnTo>
                    <a:pt x="582" y="630"/>
                  </a:lnTo>
                  <a:lnTo>
                    <a:pt x="576" y="630"/>
                  </a:lnTo>
                  <a:lnTo>
                    <a:pt x="576" y="636"/>
                  </a:lnTo>
                  <a:lnTo>
                    <a:pt x="570" y="636"/>
                  </a:lnTo>
                  <a:lnTo>
                    <a:pt x="570" y="642"/>
                  </a:lnTo>
                  <a:lnTo>
                    <a:pt x="564" y="642"/>
                  </a:lnTo>
                  <a:lnTo>
                    <a:pt x="564" y="636"/>
                  </a:lnTo>
                  <a:lnTo>
                    <a:pt x="564" y="630"/>
                  </a:lnTo>
                  <a:lnTo>
                    <a:pt x="564" y="624"/>
                  </a:lnTo>
                  <a:lnTo>
                    <a:pt x="564" y="618"/>
                  </a:lnTo>
                  <a:lnTo>
                    <a:pt x="570" y="612"/>
                  </a:lnTo>
                  <a:lnTo>
                    <a:pt x="564" y="606"/>
                  </a:lnTo>
                  <a:lnTo>
                    <a:pt x="564" y="600"/>
                  </a:lnTo>
                  <a:lnTo>
                    <a:pt x="564" y="594"/>
                  </a:lnTo>
                  <a:lnTo>
                    <a:pt x="558" y="594"/>
                  </a:lnTo>
                  <a:lnTo>
                    <a:pt x="558" y="588"/>
                  </a:lnTo>
                  <a:lnTo>
                    <a:pt x="552" y="582"/>
                  </a:lnTo>
                  <a:lnTo>
                    <a:pt x="552" y="576"/>
                  </a:lnTo>
                  <a:lnTo>
                    <a:pt x="552" y="570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6" y="582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58" y="588"/>
                  </a:lnTo>
                  <a:lnTo>
                    <a:pt x="558" y="594"/>
                  </a:lnTo>
                  <a:lnTo>
                    <a:pt x="558" y="600"/>
                  </a:lnTo>
                  <a:lnTo>
                    <a:pt x="558" y="606"/>
                  </a:lnTo>
                  <a:lnTo>
                    <a:pt x="552" y="612"/>
                  </a:lnTo>
                  <a:lnTo>
                    <a:pt x="558" y="612"/>
                  </a:lnTo>
                  <a:lnTo>
                    <a:pt x="558" y="618"/>
                  </a:lnTo>
                  <a:lnTo>
                    <a:pt x="558" y="624"/>
                  </a:lnTo>
                  <a:lnTo>
                    <a:pt x="558" y="630"/>
                  </a:lnTo>
                  <a:lnTo>
                    <a:pt x="552" y="630"/>
                  </a:lnTo>
                  <a:lnTo>
                    <a:pt x="552" y="624"/>
                  </a:lnTo>
                  <a:lnTo>
                    <a:pt x="546" y="624"/>
                  </a:lnTo>
                  <a:lnTo>
                    <a:pt x="546" y="618"/>
                  </a:lnTo>
                  <a:lnTo>
                    <a:pt x="546" y="612"/>
                  </a:lnTo>
                  <a:lnTo>
                    <a:pt x="540" y="612"/>
                  </a:lnTo>
                  <a:lnTo>
                    <a:pt x="534" y="612"/>
                  </a:lnTo>
                  <a:lnTo>
                    <a:pt x="528" y="612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28" y="618"/>
                  </a:lnTo>
                  <a:lnTo>
                    <a:pt x="534" y="618"/>
                  </a:lnTo>
                  <a:lnTo>
                    <a:pt x="540" y="618"/>
                  </a:lnTo>
                  <a:lnTo>
                    <a:pt x="540" y="624"/>
                  </a:lnTo>
                  <a:lnTo>
                    <a:pt x="546" y="624"/>
                  </a:lnTo>
                  <a:lnTo>
                    <a:pt x="546" y="630"/>
                  </a:lnTo>
                  <a:lnTo>
                    <a:pt x="552" y="630"/>
                  </a:lnTo>
                  <a:lnTo>
                    <a:pt x="552" y="636"/>
                  </a:lnTo>
                  <a:lnTo>
                    <a:pt x="546" y="642"/>
                  </a:lnTo>
                  <a:lnTo>
                    <a:pt x="546" y="648"/>
                  </a:lnTo>
                  <a:lnTo>
                    <a:pt x="540" y="648"/>
                  </a:lnTo>
                  <a:lnTo>
                    <a:pt x="540" y="654"/>
                  </a:lnTo>
                  <a:lnTo>
                    <a:pt x="540" y="660"/>
                  </a:lnTo>
                  <a:lnTo>
                    <a:pt x="534" y="666"/>
                  </a:lnTo>
                  <a:lnTo>
                    <a:pt x="534" y="672"/>
                  </a:lnTo>
                  <a:lnTo>
                    <a:pt x="534" y="678"/>
                  </a:lnTo>
                  <a:lnTo>
                    <a:pt x="534" y="684"/>
                  </a:lnTo>
                  <a:lnTo>
                    <a:pt x="534" y="678"/>
                  </a:lnTo>
                  <a:lnTo>
                    <a:pt x="528" y="678"/>
                  </a:lnTo>
                  <a:lnTo>
                    <a:pt x="528" y="684"/>
                  </a:lnTo>
                  <a:lnTo>
                    <a:pt x="522" y="690"/>
                  </a:lnTo>
                  <a:lnTo>
                    <a:pt x="528" y="690"/>
                  </a:lnTo>
                  <a:lnTo>
                    <a:pt x="528" y="684"/>
                  </a:lnTo>
                  <a:lnTo>
                    <a:pt x="534" y="684"/>
                  </a:lnTo>
                  <a:lnTo>
                    <a:pt x="534" y="690"/>
                  </a:lnTo>
                  <a:lnTo>
                    <a:pt x="534" y="696"/>
                  </a:lnTo>
                  <a:lnTo>
                    <a:pt x="540" y="696"/>
                  </a:lnTo>
                  <a:lnTo>
                    <a:pt x="540" y="702"/>
                  </a:lnTo>
                  <a:lnTo>
                    <a:pt x="540" y="708"/>
                  </a:lnTo>
                  <a:lnTo>
                    <a:pt x="534" y="708"/>
                  </a:lnTo>
                  <a:lnTo>
                    <a:pt x="528" y="708"/>
                  </a:lnTo>
                  <a:lnTo>
                    <a:pt x="522" y="708"/>
                  </a:lnTo>
                  <a:lnTo>
                    <a:pt x="516" y="708"/>
                  </a:lnTo>
                  <a:lnTo>
                    <a:pt x="510" y="708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2" y="708"/>
                  </a:lnTo>
                  <a:lnTo>
                    <a:pt x="486" y="714"/>
                  </a:lnTo>
                  <a:lnTo>
                    <a:pt x="480" y="708"/>
                  </a:lnTo>
                  <a:lnTo>
                    <a:pt x="474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68" y="714"/>
                  </a:lnTo>
                  <a:lnTo>
                    <a:pt x="456" y="714"/>
                  </a:lnTo>
                  <a:lnTo>
                    <a:pt x="450" y="714"/>
                  </a:lnTo>
                  <a:lnTo>
                    <a:pt x="450" y="708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50" y="690"/>
                  </a:lnTo>
                  <a:lnTo>
                    <a:pt x="450" y="684"/>
                  </a:lnTo>
                  <a:lnTo>
                    <a:pt x="450" y="678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56" y="660"/>
                  </a:lnTo>
                  <a:lnTo>
                    <a:pt x="462" y="660"/>
                  </a:lnTo>
                  <a:lnTo>
                    <a:pt x="462" y="654"/>
                  </a:lnTo>
                  <a:lnTo>
                    <a:pt x="456" y="654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48"/>
                  </a:lnTo>
                  <a:lnTo>
                    <a:pt x="444" y="648"/>
                  </a:lnTo>
                  <a:lnTo>
                    <a:pt x="444" y="642"/>
                  </a:lnTo>
                  <a:lnTo>
                    <a:pt x="444" y="636"/>
                  </a:lnTo>
                  <a:lnTo>
                    <a:pt x="450" y="636"/>
                  </a:lnTo>
                  <a:lnTo>
                    <a:pt x="450" y="630"/>
                  </a:lnTo>
                  <a:lnTo>
                    <a:pt x="456" y="630"/>
                  </a:lnTo>
                  <a:lnTo>
                    <a:pt x="462" y="630"/>
                  </a:lnTo>
                  <a:lnTo>
                    <a:pt x="462" y="624"/>
                  </a:lnTo>
                  <a:lnTo>
                    <a:pt x="468" y="624"/>
                  </a:lnTo>
                  <a:lnTo>
                    <a:pt x="474" y="624"/>
                  </a:lnTo>
                  <a:lnTo>
                    <a:pt x="474" y="618"/>
                  </a:lnTo>
                  <a:lnTo>
                    <a:pt x="480" y="618"/>
                  </a:lnTo>
                  <a:lnTo>
                    <a:pt x="486" y="618"/>
                  </a:lnTo>
                  <a:lnTo>
                    <a:pt x="486" y="624"/>
                  </a:lnTo>
                  <a:lnTo>
                    <a:pt x="486" y="636"/>
                  </a:lnTo>
                  <a:lnTo>
                    <a:pt x="486" y="642"/>
                  </a:lnTo>
                  <a:lnTo>
                    <a:pt x="486" y="648"/>
                  </a:lnTo>
                  <a:lnTo>
                    <a:pt x="492" y="648"/>
                  </a:lnTo>
                  <a:lnTo>
                    <a:pt x="492" y="642"/>
                  </a:lnTo>
                  <a:lnTo>
                    <a:pt x="498" y="636"/>
                  </a:lnTo>
                  <a:lnTo>
                    <a:pt x="492" y="636"/>
                  </a:lnTo>
                  <a:lnTo>
                    <a:pt x="492" y="630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6" y="618"/>
                  </a:lnTo>
                  <a:lnTo>
                    <a:pt x="486" y="612"/>
                  </a:lnTo>
                  <a:lnTo>
                    <a:pt x="486" y="606"/>
                  </a:lnTo>
                  <a:lnTo>
                    <a:pt x="480" y="606"/>
                  </a:lnTo>
                  <a:lnTo>
                    <a:pt x="480" y="612"/>
                  </a:lnTo>
                  <a:lnTo>
                    <a:pt x="474" y="618"/>
                  </a:lnTo>
                  <a:lnTo>
                    <a:pt x="468" y="618"/>
                  </a:lnTo>
                  <a:lnTo>
                    <a:pt x="462" y="618"/>
                  </a:lnTo>
                  <a:lnTo>
                    <a:pt x="462" y="612"/>
                  </a:lnTo>
                  <a:lnTo>
                    <a:pt x="456" y="612"/>
                  </a:lnTo>
                  <a:lnTo>
                    <a:pt x="456" y="618"/>
                  </a:lnTo>
                  <a:lnTo>
                    <a:pt x="462" y="618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30"/>
                  </a:lnTo>
                  <a:lnTo>
                    <a:pt x="444" y="630"/>
                  </a:lnTo>
                  <a:lnTo>
                    <a:pt x="444" y="636"/>
                  </a:lnTo>
                  <a:lnTo>
                    <a:pt x="444" y="642"/>
                  </a:lnTo>
                  <a:lnTo>
                    <a:pt x="444" y="654"/>
                  </a:lnTo>
                  <a:lnTo>
                    <a:pt x="444" y="660"/>
                  </a:lnTo>
                  <a:lnTo>
                    <a:pt x="438" y="660"/>
                  </a:lnTo>
                  <a:lnTo>
                    <a:pt x="432" y="660"/>
                  </a:lnTo>
                  <a:lnTo>
                    <a:pt x="432" y="654"/>
                  </a:lnTo>
                  <a:lnTo>
                    <a:pt x="438" y="654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48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26" y="660"/>
                  </a:lnTo>
                  <a:lnTo>
                    <a:pt x="432" y="666"/>
                  </a:lnTo>
                  <a:lnTo>
                    <a:pt x="432" y="672"/>
                  </a:lnTo>
                  <a:lnTo>
                    <a:pt x="438" y="672"/>
                  </a:lnTo>
                  <a:lnTo>
                    <a:pt x="438" y="678"/>
                  </a:lnTo>
                  <a:lnTo>
                    <a:pt x="444" y="678"/>
                  </a:lnTo>
                  <a:lnTo>
                    <a:pt x="444" y="684"/>
                  </a:lnTo>
                  <a:lnTo>
                    <a:pt x="438" y="690"/>
                  </a:lnTo>
                  <a:lnTo>
                    <a:pt x="438" y="696"/>
                  </a:lnTo>
                  <a:lnTo>
                    <a:pt x="438" y="702"/>
                  </a:lnTo>
                  <a:lnTo>
                    <a:pt x="432" y="702"/>
                  </a:lnTo>
                  <a:lnTo>
                    <a:pt x="426" y="702"/>
                  </a:lnTo>
                  <a:lnTo>
                    <a:pt x="426" y="696"/>
                  </a:lnTo>
                  <a:lnTo>
                    <a:pt x="414" y="696"/>
                  </a:lnTo>
                  <a:lnTo>
                    <a:pt x="402" y="696"/>
                  </a:lnTo>
                  <a:lnTo>
                    <a:pt x="402" y="690"/>
                  </a:lnTo>
                  <a:lnTo>
                    <a:pt x="396" y="690"/>
                  </a:lnTo>
                  <a:lnTo>
                    <a:pt x="390" y="690"/>
                  </a:lnTo>
                  <a:lnTo>
                    <a:pt x="384" y="690"/>
                  </a:lnTo>
                  <a:lnTo>
                    <a:pt x="384" y="684"/>
                  </a:lnTo>
                  <a:lnTo>
                    <a:pt x="384" y="678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390" y="660"/>
                  </a:lnTo>
                  <a:lnTo>
                    <a:pt x="390" y="654"/>
                  </a:lnTo>
                  <a:lnTo>
                    <a:pt x="384" y="648"/>
                  </a:lnTo>
                  <a:lnTo>
                    <a:pt x="384" y="642"/>
                  </a:lnTo>
                  <a:lnTo>
                    <a:pt x="378" y="636"/>
                  </a:lnTo>
                  <a:lnTo>
                    <a:pt x="378" y="642"/>
                  </a:lnTo>
                  <a:lnTo>
                    <a:pt x="378" y="648"/>
                  </a:lnTo>
                  <a:lnTo>
                    <a:pt x="372" y="648"/>
                  </a:lnTo>
                  <a:lnTo>
                    <a:pt x="378" y="654"/>
                  </a:lnTo>
                  <a:lnTo>
                    <a:pt x="378" y="660"/>
                  </a:lnTo>
                  <a:lnTo>
                    <a:pt x="378" y="666"/>
                  </a:lnTo>
                  <a:lnTo>
                    <a:pt x="372" y="672"/>
                  </a:lnTo>
                  <a:lnTo>
                    <a:pt x="378" y="672"/>
                  </a:lnTo>
                  <a:lnTo>
                    <a:pt x="378" y="678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54" y="666"/>
                  </a:lnTo>
                  <a:lnTo>
                    <a:pt x="354" y="660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0" y="654"/>
                  </a:lnTo>
                  <a:lnTo>
                    <a:pt x="324" y="648"/>
                  </a:lnTo>
                  <a:lnTo>
                    <a:pt x="318" y="648"/>
                  </a:lnTo>
                  <a:lnTo>
                    <a:pt x="318" y="642"/>
                  </a:lnTo>
                  <a:lnTo>
                    <a:pt x="312" y="642"/>
                  </a:lnTo>
                  <a:lnTo>
                    <a:pt x="306" y="636"/>
                  </a:lnTo>
                  <a:lnTo>
                    <a:pt x="300" y="636"/>
                  </a:lnTo>
                  <a:lnTo>
                    <a:pt x="300" y="630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0" y="618"/>
                  </a:lnTo>
                  <a:lnTo>
                    <a:pt x="306" y="612"/>
                  </a:lnTo>
                  <a:lnTo>
                    <a:pt x="300" y="612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294" y="612"/>
                  </a:lnTo>
                  <a:lnTo>
                    <a:pt x="288" y="618"/>
                  </a:lnTo>
                  <a:lnTo>
                    <a:pt x="288" y="612"/>
                  </a:lnTo>
                  <a:lnTo>
                    <a:pt x="288" y="618"/>
                  </a:lnTo>
                  <a:lnTo>
                    <a:pt x="294" y="618"/>
                  </a:lnTo>
                  <a:lnTo>
                    <a:pt x="300" y="624"/>
                  </a:lnTo>
                  <a:lnTo>
                    <a:pt x="294" y="624"/>
                  </a:lnTo>
                  <a:lnTo>
                    <a:pt x="288" y="624"/>
                  </a:lnTo>
                  <a:lnTo>
                    <a:pt x="282" y="61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70" y="600"/>
                  </a:lnTo>
                  <a:lnTo>
                    <a:pt x="270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82" y="588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594"/>
                  </a:lnTo>
                  <a:lnTo>
                    <a:pt x="264" y="600"/>
                  </a:lnTo>
                  <a:lnTo>
                    <a:pt x="264" y="594"/>
                  </a:lnTo>
                  <a:lnTo>
                    <a:pt x="270" y="594"/>
                  </a:lnTo>
                  <a:lnTo>
                    <a:pt x="270" y="588"/>
                  </a:lnTo>
                  <a:lnTo>
                    <a:pt x="264" y="594"/>
                  </a:lnTo>
                  <a:lnTo>
                    <a:pt x="258" y="594"/>
                  </a:lnTo>
                  <a:lnTo>
                    <a:pt x="258" y="588"/>
                  </a:lnTo>
                  <a:lnTo>
                    <a:pt x="252" y="588"/>
                  </a:lnTo>
                  <a:lnTo>
                    <a:pt x="246" y="588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52" y="588"/>
                  </a:lnTo>
                  <a:lnTo>
                    <a:pt x="252" y="594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46" y="594"/>
                  </a:lnTo>
                  <a:lnTo>
                    <a:pt x="246" y="588"/>
                  </a:lnTo>
                  <a:lnTo>
                    <a:pt x="240" y="588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2" y="570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64"/>
                  </a:lnTo>
                  <a:lnTo>
                    <a:pt x="234" y="564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34" y="558"/>
                  </a:lnTo>
                  <a:lnTo>
                    <a:pt x="228" y="558"/>
                  </a:lnTo>
                  <a:lnTo>
                    <a:pt x="222" y="558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2" y="564"/>
                  </a:lnTo>
                  <a:lnTo>
                    <a:pt x="222" y="558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04" y="546"/>
                  </a:lnTo>
                  <a:lnTo>
                    <a:pt x="204" y="540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10" y="540"/>
                  </a:lnTo>
                  <a:lnTo>
                    <a:pt x="210" y="534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8"/>
                  </a:lnTo>
                  <a:lnTo>
                    <a:pt x="174" y="516"/>
                  </a:lnTo>
                  <a:lnTo>
                    <a:pt x="168" y="510"/>
                  </a:lnTo>
                  <a:lnTo>
                    <a:pt x="162" y="504"/>
                  </a:lnTo>
                  <a:lnTo>
                    <a:pt x="156" y="498"/>
                  </a:lnTo>
                  <a:lnTo>
                    <a:pt x="156" y="492"/>
                  </a:lnTo>
                  <a:lnTo>
                    <a:pt x="150" y="486"/>
                  </a:lnTo>
                  <a:lnTo>
                    <a:pt x="144" y="480"/>
                  </a:lnTo>
                  <a:lnTo>
                    <a:pt x="144" y="474"/>
                  </a:lnTo>
                  <a:lnTo>
                    <a:pt x="138" y="474"/>
                  </a:lnTo>
                  <a:lnTo>
                    <a:pt x="138" y="468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26" y="450"/>
                  </a:lnTo>
                  <a:lnTo>
                    <a:pt x="126" y="444"/>
                  </a:lnTo>
                  <a:lnTo>
                    <a:pt x="114" y="438"/>
                  </a:lnTo>
                  <a:lnTo>
                    <a:pt x="114" y="432"/>
                  </a:lnTo>
                  <a:lnTo>
                    <a:pt x="114" y="426"/>
                  </a:lnTo>
                  <a:lnTo>
                    <a:pt x="114" y="432"/>
                  </a:lnTo>
                  <a:lnTo>
                    <a:pt x="120" y="432"/>
                  </a:lnTo>
                  <a:lnTo>
                    <a:pt x="120" y="438"/>
                  </a:lnTo>
                  <a:lnTo>
                    <a:pt x="120" y="444"/>
                  </a:lnTo>
                  <a:lnTo>
                    <a:pt x="126" y="444"/>
                  </a:lnTo>
                  <a:lnTo>
                    <a:pt x="126" y="438"/>
                  </a:lnTo>
                  <a:lnTo>
                    <a:pt x="120" y="438"/>
                  </a:lnTo>
                  <a:lnTo>
                    <a:pt x="126" y="432"/>
                  </a:lnTo>
                  <a:lnTo>
                    <a:pt x="126" y="426"/>
                  </a:lnTo>
                  <a:lnTo>
                    <a:pt x="132" y="420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08" y="414"/>
                  </a:lnTo>
                  <a:lnTo>
                    <a:pt x="102" y="414"/>
                  </a:lnTo>
                  <a:lnTo>
                    <a:pt x="102" y="408"/>
                  </a:lnTo>
                  <a:lnTo>
                    <a:pt x="96" y="402"/>
                  </a:lnTo>
                  <a:lnTo>
                    <a:pt x="96" y="396"/>
                  </a:lnTo>
                  <a:lnTo>
                    <a:pt x="96" y="390"/>
                  </a:lnTo>
                  <a:lnTo>
                    <a:pt x="90" y="390"/>
                  </a:lnTo>
                  <a:lnTo>
                    <a:pt x="90" y="384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78" y="372"/>
                  </a:lnTo>
                  <a:lnTo>
                    <a:pt x="78" y="366"/>
                  </a:lnTo>
                  <a:lnTo>
                    <a:pt x="78" y="360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6" y="348"/>
                  </a:lnTo>
                  <a:lnTo>
                    <a:pt x="66" y="342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6" y="336"/>
                  </a:lnTo>
                  <a:lnTo>
                    <a:pt x="66" y="342"/>
                  </a:lnTo>
                  <a:lnTo>
                    <a:pt x="72" y="348"/>
                  </a:lnTo>
                  <a:lnTo>
                    <a:pt x="78" y="354"/>
                  </a:lnTo>
                  <a:lnTo>
                    <a:pt x="84" y="360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0" y="360"/>
                  </a:lnTo>
                  <a:lnTo>
                    <a:pt x="84" y="360"/>
                  </a:lnTo>
                  <a:lnTo>
                    <a:pt x="84" y="354"/>
                  </a:lnTo>
                  <a:lnTo>
                    <a:pt x="78" y="348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66" y="330"/>
                  </a:lnTo>
                  <a:lnTo>
                    <a:pt x="66" y="324"/>
                  </a:lnTo>
                  <a:lnTo>
                    <a:pt x="60" y="318"/>
                  </a:lnTo>
                  <a:lnTo>
                    <a:pt x="60" y="312"/>
                  </a:lnTo>
                  <a:lnTo>
                    <a:pt x="54" y="306"/>
                  </a:lnTo>
                  <a:lnTo>
                    <a:pt x="54" y="300"/>
                  </a:lnTo>
                  <a:lnTo>
                    <a:pt x="54" y="294"/>
                  </a:lnTo>
                  <a:lnTo>
                    <a:pt x="48" y="288"/>
                  </a:lnTo>
                  <a:lnTo>
                    <a:pt x="48" y="294"/>
                  </a:lnTo>
                  <a:lnTo>
                    <a:pt x="48" y="288"/>
                  </a:lnTo>
                  <a:lnTo>
                    <a:pt x="48" y="282"/>
                  </a:lnTo>
                  <a:lnTo>
                    <a:pt x="48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18" y="216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62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68"/>
                  </a:lnTo>
                  <a:lnTo>
                    <a:pt x="42" y="168"/>
                  </a:lnTo>
                  <a:lnTo>
                    <a:pt x="42" y="174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86"/>
                  </a:lnTo>
                  <a:close/>
                  <a:moveTo>
                    <a:pt x="642" y="660"/>
                  </a:moveTo>
                  <a:lnTo>
                    <a:pt x="642" y="666"/>
                  </a:lnTo>
                  <a:lnTo>
                    <a:pt x="648" y="666"/>
                  </a:lnTo>
                  <a:lnTo>
                    <a:pt x="648" y="672"/>
                  </a:lnTo>
                  <a:lnTo>
                    <a:pt x="648" y="678"/>
                  </a:lnTo>
                  <a:lnTo>
                    <a:pt x="654" y="678"/>
                  </a:lnTo>
                  <a:lnTo>
                    <a:pt x="654" y="684"/>
                  </a:lnTo>
                  <a:lnTo>
                    <a:pt x="660" y="684"/>
                  </a:lnTo>
                  <a:lnTo>
                    <a:pt x="660" y="690"/>
                  </a:lnTo>
                  <a:lnTo>
                    <a:pt x="654" y="690"/>
                  </a:lnTo>
                  <a:lnTo>
                    <a:pt x="648" y="690"/>
                  </a:lnTo>
                  <a:lnTo>
                    <a:pt x="636" y="696"/>
                  </a:lnTo>
                  <a:lnTo>
                    <a:pt x="630" y="696"/>
                  </a:lnTo>
                  <a:lnTo>
                    <a:pt x="624" y="696"/>
                  </a:lnTo>
                  <a:lnTo>
                    <a:pt x="618" y="696"/>
                  </a:lnTo>
                  <a:lnTo>
                    <a:pt x="612" y="696"/>
                  </a:lnTo>
                  <a:lnTo>
                    <a:pt x="594" y="696"/>
                  </a:lnTo>
                  <a:lnTo>
                    <a:pt x="588" y="696"/>
                  </a:lnTo>
                  <a:lnTo>
                    <a:pt x="582" y="696"/>
                  </a:lnTo>
                  <a:lnTo>
                    <a:pt x="570" y="702"/>
                  </a:lnTo>
                  <a:lnTo>
                    <a:pt x="564" y="702"/>
                  </a:lnTo>
                  <a:lnTo>
                    <a:pt x="558" y="702"/>
                  </a:lnTo>
                  <a:lnTo>
                    <a:pt x="552" y="702"/>
                  </a:lnTo>
                  <a:lnTo>
                    <a:pt x="552" y="696"/>
                  </a:lnTo>
                  <a:lnTo>
                    <a:pt x="546" y="696"/>
                  </a:lnTo>
                  <a:lnTo>
                    <a:pt x="546" y="690"/>
                  </a:lnTo>
                  <a:lnTo>
                    <a:pt x="552" y="684"/>
                  </a:lnTo>
                  <a:lnTo>
                    <a:pt x="552" y="678"/>
                  </a:lnTo>
                  <a:lnTo>
                    <a:pt x="558" y="672"/>
                  </a:lnTo>
                  <a:lnTo>
                    <a:pt x="558" y="666"/>
                  </a:lnTo>
                  <a:lnTo>
                    <a:pt x="564" y="666"/>
                  </a:lnTo>
                  <a:lnTo>
                    <a:pt x="570" y="666"/>
                  </a:lnTo>
                  <a:lnTo>
                    <a:pt x="570" y="654"/>
                  </a:lnTo>
                  <a:lnTo>
                    <a:pt x="570" y="648"/>
                  </a:lnTo>
                  <a:lnTo>
                    <a:pt x="582" y="642"/>
                  </a:lnTo>
                  <a:lnTo>
                    <a:pt x="582" y="636"/>
                  </a:lnTo>
                  <a:lnTo>
                    <a:pt x="588" y="636"/>
                  </a:lnTo>
                  <a:lnTo>
                    <a:pt x="588" y="630"/>
                  </a:lnTo>
                  <a:lnTo>
                    <a:pt x="594" y="624"/>
                  </a:lnTo>
                  <a:lnTo>
                    <a:pt x="594" y="618"/>
                  </a:lnTo>
                  <a:lnTo>
                    <a:pt x="600" y="618"/>
                  </a:lnTo>
                  <a:lnTo>
                    <a:pt x="600" y="612"/>
                  </a:lnTo>
                  <a:lnTo>
                    <a:pt x="606" y="612"/>
                  </a:lnTo>
                  <a:lnTo>
                    <a:pt x="606" y="618"/>
                  </a:lnTo>
                  <a:lnTo>
                    <a:pt x="612" y="618"/>
                  </a:lnTo>
                  <a:lnTo>
                    <a:pt x="618" y="618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18" y="636"/>
                  </a:lnTo>
                  <a:lnTo>
                    <a:pt x="618" y="642"/>
                  </a:lnTo>
                  <a:lnTo>
                    <a:pt x="618" y="648"/>
                  </a:lnTo>
                  <a:lnTo>
                    <a:pt x="624" y="648"/>
                  </a:lnTo>
                  <a:lnTo>
                    <a:pt x="630" y="648"/>
                  </a:lnTo>
                  <a:lnTo>
                    <a:pt x="636" y="654"/>
                  </a:lnTo>
                  <a:lnTo>
                    <a:pt x="642" y="654"/>
                  </a:lnTo>
                  <a:lnTo>
                    <a:pt x="642" y="66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0" name="Freeform 5">
              <a:extLst>
                <a:ext uri="{FF2B5EF4-FFF2-40B4-BE49-F238E27FC236}">
                  <a16:creationId xmlns:a16="http://schemas.microsoft.com/office/drawing/2014/main" id="{5577BDCA-F2C7-42E0-A391-018D79AA29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0384" y="4231013"/>
              <a:ext cx="404750" cy="480848"/>
            </a:xfrm>
            <a:custGeom>
              <a:avLst/>
              <a:gdLst>
                <a:gd name="T0" fmla="*/ 9 w 762"/>
                <a:gd name="T1" fmla="*/ 58 h 900"/>
                <a:gd name="T2" fmla="*/ 4 w 762"/>
                <a:gd name="T3" fmla="*/ 56 h 900"/>
                <a:gd name="T4" fmla="*/ 0 w 762"/>
                <a:gd name="T5" fmla="*/ 49 h 900"/>
                <a:gd name="T6" fmla="*/ 4 w 762"/>
                <a:gd name="T7" fmla="*/ 36 h 900"/>
                <a:gd name="T8" fmla="*/ 8 w 762"/>
                <a:gd name="T9" fmla="*/ 28 h 900"/>
                <a:gd name="T10" fmla="*/ 7 w 762"/>
                <a:gd name="T11" fmla="*/ 13 h 900"/>
                <a:gd name="T12" fmla="*/ 15 w 762"/>
                <a:gd name="T13" fmla="*/ 0 h 900"/>
                <a:gd name="T14" fmla="*/ 16 w 762"/>
                <a:gd name="T15" fmla="*/ 13 h 900"/>
                <a:gd name="T16" fmla="*/ 31 w 762"/>
                <a:gd name="T17" fmla="*/ 28 h 900"/>
                <a:gd name="T18" fmla="*/ 49 w 762"/>
                <a:gd name="T19" fmla="*/ 33 h 900"/>
                <a:gd name="T20" fmla="*/ 42 w 762"/>
                <a:gd name="T21" fmla="*/ 48 h 900"/>
                <a:gd name="T22" fmla="*/ 51 w 762"/>
                <a:gd name="T23" fmla="*/ 48 h 900"/>
                <a:gd name="T24" fmla="*/ 61 w 762"/>
                <a:gd name="T25" fmla="*/ 51 h 900"/>
                <a:gd name="T26" fmla="*/ 63 w 762"/>
                <a:gd name="T27" fmla="*/ 60 h 900"/>
                <a:gd name="T28" fmla="*/ 63 w 762"/>
                <a:gd name="T29" fmla="*/ 66 h 900"/>
                <a:gd name="T30" fmla="*/ 65 w 762"/>
                <a:gd name="T31" fmla="*/ 69 h 900"/>
                <a:gd name="T32" fmla="*/ 66 w 762"/>
                <a:gd name="T33" fmla="*/ 72 h 900"/>
                <a:gd name="T34" fmla="*/ 56 w 762"/>
                <a:gd name="T35" fmla="*/ 73 h 900"/>
                <a:gd name="T36" fmla="*/ 55 w 762"/>
                <a:gd name="T37" fmla="*/ 69 h 900"/>
                <a:gd name="T38" fmla="*/ 57 w 762"/>
                <a:gd name="T39" fmla="*/ 67 h 900"/>
                <a:gd name="T40" fmla="*/ 55 w 762"/>
                <a:gd name="T41" fmla="*/ 65 h 900"/>
                <a:gd name="T42" fmla="*/ 53 w 762"/>
                <a:gd name="T43" fmla="*/ 68 h 900"/>
                <a:gd name="T44" fmla="*/ 49 w 762"/>
                <a:gd name="T45" fmla="*/ 68 h 900"/>
                <a:gd name="T46" fmla="*/ 44 w 762"/>
                <a:gd name="T47" fmla="*/ 63 h 900"/>
                <a:gd name="T48" fmla="*/ 40 w 762"/>
                <a:gd name="T49" fmla="*/ 59 h 900"/>
                <a:gd name="T50" fmla="*/ 38 w 762"/>
                <a:gd name="T51" fmla="*/ 57 h 900"/>
                <a:gd name="T52" fmla="*/ 43 w 762"/>
                <a:gd name="T53" fmla="*/ 62 h 900"/>
                <a:gd name="T54" fmla="*/ 43 w 762"/>
                <a:gd name="T55" fmla="*/ 66 h 900"/>
                <a:gd name="T56" fmla="*/ 41 w 762"/>
                <a:gd name="T57" fmla="*/ 71 h 900"/>
                <a:gd name="T58" fmla="*/ 37 w 762"/>
                <a:gd name="T59" fmla="*/ 69 h 900"/>
                <a:gd name="T60" fmla="*/ 35 w 762"/>
                <a:gd name="T61" fmla="*/ 64 h 900"/>
                <a:gd name="T62" fmla="*/ 31 w 762"/>
                <a:gd name="T63" fmla="*/ 57 h 900"/>
                <a:gd name="T64" fmla="*/ 30 w 762"/>
                <a:gd name="T65" fmla="*/ 62 h 900"/>
                <a:gd name="T66" fmla="*/ 29 w 762"/>
                <a:gd name="T67" fmla="*/ 61 h 900"/>
                <a:gd name="T68" fmla="*/ 31 w 762"/>
                <a:gd name="T69" fmla="*/ 66 h 900"/>
                <a:gd name="T70" fmla="*/ 33 w 762"/>
                <a:gd name="T71" fmla="*/ 72 h 900"/>
                <a:gd name="T72" fmla="*/ 32 w 762"/>
                <a:gd name="T73" fmla="*/ 76 h 900"/>
                <a:gd name="T74" fmla="*/ 28 w 762"/>
                <a:gd name="T75" fmla="*/ 75 h 900"/>
                <a:gd name="T76" fmla="*/ 24 w 762"/>
                <a:gd name="T77" fmla="*/ 69 h 900"/>
                <a:gd name="T78" fmla="*/ 24 w 762"/>
                <a:gd name="T79" fmla="*/ 62 h 900"/>
                <a:gd name="T80" fmla="*/ 23 w 762"/>
                <a:gd name="T81" fmla="*/ 62 h 900"/>
                <a:gd name="T82" fmla="*/ 23 w 762"/>
                <a:gd name="T83" fmla="*/ 68 h 900"/>
                <a:gd name="T84" fmla="*/ 25 w 762"/>
                <a:gd name="T85" fmla="*/ 77 h 900"/>
                <a:gd name="T86" fmla="*/ 17 w 762"/>
                <a:gd name="T87" fmla="*/ 74 h 900"/>
                <a:gd name="T88" fmla="*/ 17 w 762"/>
                <a:gd name="T89" fmla="*/ 67 h 900"/>
                <a:gd name="T90" fmla="*/ 16 w 762"/>
                <a:gd name="T91" fmla="*/ 67 h 900"/>
                <a:gd name="T92" fmla="*/ 15 w 762"/>
                <a:gd name="T93" fmla="*/ 71 h 900"/>
                <a:gd name="T94" fmla="*/ 12 w 762"/>
                <a:gd name="T95" fmla="*/ 68 h 900"/>
                <a:gd name="T96" fmla="*/ 15 w 762"/>
                <a:gd name="T97" fmla="*/ 72 h 900"/>
                <a:gd name="T98" fmla="*/ 17 w 762"/>
                <a:gd name="T99" fmla="*/ 77 h 900"/>
                <a:gd name="T100" fmla="*/ 11 w 762"/>
                <a:gd name="T101" fmla="*/ 77 h 900"/>
                <a:gd name="T102" fmla="*/ 10 w 762"/>
                <a:gd name="T103" fmla="*/ 69 h 900"/>
                <a:gd name="T104" fmla="*/ 11 w 762"/>
                <a:gd name="T105" fmla="*/ 72 h 900"/>
                <a:gd name="T106" fmla="*/ 9 w 762"/>
                <a:gd name="T107" fmla="*/ 78 h 900"/>
                <a:gd name="T108" fmla="*/ 43 w 762"/>
                <a:gd name="T109" fmla="*/ 71 h 900"/>
                <a:gd name="T110" fmla="*/ 51 w 762"/>
                <a:gd name="T111" fmla="*/ 69 h 900"/>
                <a:gd name="T112" fmla="*/ 43 w 762"/>
                <a:gd name="T113" fmla="*/ 76 h 900"/>
                <a:gd name="T114" fmla="*/ 36 w 762"/>
                <a:gd name="T115" fmla="*/ 65 h 900"/>
                <a:gd name="T116" fmla="*/ 38 w 762"/>
                <a:gd name="T117" fmla="*/ 72 h 900"/>
                <a:gd name="T118" fmla="*/ 34 w 762"/>
                <a:gd name="T119" fmla="*/ 69 h 900"/>
                <a:gd name="T120" fmla="*/ 29 w 762"/>
                <a:gd name="T121" fmla="*/ 64 h 900"/>
                <a:gd name="T122" fmla="*/ 32 w 762"/>
                <a:gd name="T123" fmla="*/ 66 h 9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900"/>
                <a:gd name="T188" fmla="*/ 762 w 762"/>
                <a:gd name="T189" fmla="*/ 900 h 90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900">
                  <a:moveTo>
                    <a:pt x="90" y="768"/>
                  </a:moveTo>
                  <a:lnTo>
                    <a:pt x="102" y="756"/>
                  </a:lnTo>
                  <a:lnTo>
                    <a:pt x="102" y="750"/>
                  </a:lnTo>
                  <a:lnTo>
                    <a:pt x="90" y="744"/>
                  </a:lnTo>
                  <a:lnTo>
                    <a:pt x="84" y="738"/>
                  </a:lnTo>
                  <a:lnTo>
                    <a:pt x="90" y="726"/>
                  </a:lnTo>
                  <a:lnTo>
                    <a:pt x="84" y="720"/>
                  </a:lnTo>
                  <a:lnTo>
                    <a:pt x="78" y="720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72" y="702"/>
                  </a:lnTo>
                  <a:lnTo>
                    <a:pt x="72" y="696"/>
                  </a:lnTo>
                  <a:lnTo>
                    <a:pt x="84" y="684"/>
                  </a:lnTo>
                  <a:lnTo>
                    <a:pt x="96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102" y="654"/>
                  </a:lnTo>
                  <a:lnTo>
                    <a:pt x="108" y="654"/>
                  </a:lnTo>
                  <a:lnTo>
                    <a:pt x="114" y="648"/>
                  </a:lnTo>
                  <a:lnTo>
                    <a:pt x="120" y="642"/>
                  </a:lnTo>
                  <a:lnTo>
                    <a:pt x="120" y="636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14" y="618"/>
                  </a:lnTo>
                  <a:lnTo>
                    <a:pt x="102" y="618"/>
                  </a:lnTo>
                  <a:lnTo>
                    <a:pt x="90" y="618"/>
                  </a:lnTo>
                  <a:lnTo>
                    <a:pt x="78" y="624"/>
                  </a:lnTo>
                  <a:lnTo>
                    <a:pt x="72" y="630"/>
                  </a:lnTo>
                  <a:lnTo>
                    <a:pt x="54" y="642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42" y="642"/>
                  </a:lnTo>
                  <a:lnTo>
                    <a:pt x="42" y="636"/>
                  </a:lnTo>
                  <a:lnTo>
                    <a:pt x="36" y="636"/>
                  </a:lnTo>
                  <a:lnTo>
                    <a:pt x="30" y="642"/>
                  </a:lnTo>
                  <a:lnTo>
                    <a:pt x="30" y="636"/>
                  </a:lnTo>
                  <a:lnTo>
                    <a:pt x="30" y="630"/>
                  </a:lnTo>
                  <a:lnTo>
                    <a:pt x="24" y="630"/>
                  </a:lnTo>
                  <a:lnTo>
                    <a:pt x="30" y="624"/>
                  </a:lnTo>
                  <a:lnTo>
                    <a:pt x="30" y="618"/>
                  </a:lnTo>
                  <a:lnTo>
                    <a:pt x="30" y="612"/>
                  </a:lnTo>
                  <a:lnTo>
                    <a:pt x="36" y="612"/>
                  </a:lnTo>
                  <a:lnTo>
                    <a:pt x="36" y="606"/>
                  </a:lnTo>
                  <a:lnTo>
                    <a:pt x="30" y="606"/>
                  </a:lnTo>
                  <a:lnTo>
                    <a:pt x="24" y="612"/>
                  </a:lnTo>
                  <a:lnTo>
                    <a:pt x="18" y="606"/>
                  </a:lnTo>
                  <a:lnTo>
                    <a:pt x="12" y="594"/>
                  </a:lnTo>
                  <a:lnTo>
                    <a:pt x="6" y="582"/>
                  </a:lnTo>
                  <a:lnTo>
                    <a:pt x="6" y="570"/>
                  </a:lnTo>
                  <a:lnTo>
                    <a:pt x="0" y="558"/>
                  </a:lnTo>
                  <a:lnTo>
                    <a:pt x="6" y="552"/>
                  </a:lnTo>
                  <a:lnTo>
                    <a:pt x="6" y="534"/>
                  </a:lnTo>
                  <a:lnTo>
                    <a:pt x="18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12" y="480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54" y="408"/>
                  </a:lnTo>
                  <a:lnTo>
                    <a:pt x="54" y="396"/>
                  </a:lnTo>
                  <a:lnTo>
                    <a:pt x="54" y="384"/>
                  </a:lnTo>
                  <a:lnTo>
                    <a:pt x="60" y="378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66"/>
                  </a:lnTo>
                  <a:lnTo>
                    <a:pt x="60" y="360"/>
                  </a:lnTo>
                  <a:lnTo>
                    <a:pt x="66" y="360"/>
                  </a:lnTo>
                  <a:lnTo>
                    <a:pt x="72" y="354"/>
                  </a:lnTo>
                  <a:lnTo>
                    <a:pt x="78" y="354"/>
                  </a:lnTo>
                  <a:lnTo>
                    <a:pt x="84" y="348"/>
                  </a:lnTo>
                  <a:lnTo>
                    <a:pt x="96" y="348"/>
                  </a:lnTo>
                  <a:lnTo>
                    <a:pt x="96" y="342"/>
                  </a:lnTo>
                  <a:lnTo>
                    <a:pt x="96" y="336"/>
                  </a:lnTo>
                  <a:lnTo>
                    <a:pt x="96" y="330"/>
                  </a:lnTo>
                  <a:lnTo>
                    <a:pt x="96" y="324"/>
                  </a:lnTo>
                  <a:lnTo>
                    <a:pt x="102" y="318"/>
                  </a:lnTo>
                  <a:lnTo>
                    <a:pt x="108" y="312"/>
                  </a:lnTo>
                  <a:lnTo>
                    <a:pt x="96" y="306"/>
                  </a:lnTo>
                  <a:lnTo>
                    <a:pt x="84" y="288"/>
                  </a:lnTo>
                  <a:lnTo>
                    <a:pt x="108" y="258"/>
                  </a:lnTo>
                  <a:lnTo>
                    <a:pt x="102" y="222"/>
                  </a:lnTo>
                  <a:lnTo>
                    <a:pt x="84" y="222"/>
                  </a:lnTo>
                  <a:lnTo>
                    <a:pt x="54" y="216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2"/>
                  </a:lnTo>
                  <a:lnTo>
                    <a:pt x="72" y="192"/>
                  </a:lnTo>
                  <a:lnTo>
                    <a:pt x="84" y="186"/>
                  </a:lnTo>
                  <a:lnTo>
                    <a:pt x="90" y="186"/>
                  </a:lnTo>
                  <a:lnTo>
                    <a:pt x="90" y="174"/>
                  </a:lnTo>
                  <a:lnTo>
                    <a:pt x="84" y="162"/>
                  </a:lnTo>
                  <a:lnTo>
                    <a:pt x="84" y="150"/>
                  </a:lnTo>
                  <a:lnTo>
                    <a:pt x="84" y="126"/>
                  </a:lnTo>
                  <a:lnTo>
                    <a:pt x="84" y="114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8" y="96"/>
                  </a:lnTo>
                  <a:lnTo>
                    <a:pt x="120" y="90"/>
                  </a:lnTo>
                  <a:lnTo>
                    <a:pt x="126" y="78"/>
                  </a:lnTo>
                  <a:lnTo>
                    <a:pt x="138" y="66"/>
                  </a:lnTo>
                  <a:lnTo>
                    <a:pt x="138" y="48"/>
                  </a:lnTo>
                  <a:lnTo>
                    <a:pt x="138" y="42"/>
                  </a:lnTo>
                  <a:lnTo>
                    <a:pt x="126" y="30"/>
                  </a:lnTo>
                  <a:lnTo>
                    <a:pt x="120" y="18"/>
                  </a:lnTo>
                  <a:lnTo>
                    <a:pt x="132" y="12"/>
                  </a:lnTo>
                  <a:lnTo>
                    <a:pt x="144" y="0"/>
                  </a:lnTo>
                  <a:lnTo>
                    <a:pt x="150" y="6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6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74" y="66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68" y="72"/>
                  </a:lnTo>
                  <a:lnTo>
                    <a:pt x="156" y="150"/>
                  </a:lnTo>
                  <a:lnTo>
                    <a:pt x="168" y="144"/>
                  </a:lnTo>
                  <a:lnTo>
                    <a:pt x="180" y="150"/>
                  </a:lnTo>
                  <a:lnTo>
                    <a:pt x="186" y="150"/>
                  </a:lnTo>
                  <a:lnTo>
                    <a:pt x="186" y="144"/>
                  </a:lnTo>
                  <a:lnTo>
                    <a:pt x="192" y="150"/>
                  </a:lnTo>
                  <a:lnTo>
                    <a:pt x="222" y="150"/>
                  </a:lnTo>
                  <a:lnTo>
                    <a:pt x="222" y="168"/>
                  </a:lnTo>
                  <a:lnTo>
                    <a:pt x="222" y="186"/>
                  </a:lnTo>
                  <a:lnTo>
                    <a:pt x="234" y="198"/>
                  </a:lnTo>
                  <a:lnTo>
                    <a:pt x="234" y="234"/>
                  </a:lnTo>
                  <a:lnTo>
                    <a:pt x="228" y="270"/>
                  </a:lnTo>
                  <a:lnTo>
                    <a:pt x="246" y="282"/>
                  </a:lnTo>
                  <a:lnTo>
                    <a:pt x="258" y="294"/>
                  </a:lnTo>
                  <a:lnTo>
                    <a:pt x="270" y="300"/>
                  </a:lnTo>
                  <a:lnTo>
                    <a:pt x="294" y="300"/>
                  </a:lnTo>
                  <a:lnTo>
                    <a:pt x="288" y="306"/>
                  </a:lnTo>
                  <a:lnTo>
                    <a:pt x="300" y="312"/>
                  </a:lnTo>
                  <a:lnTo>
                    <a:pt x="306" y="318"/>
                  </a:lnTo>
                  <a:lnTo>
                    <a:pt x="324" y="324"/>
                  </a:lnTo>
                  <a:lnTo>
                    <a:pt x="354" y="318"/>
                  </a:lnTo>
                  <a:lnTo>
                    <a:pt x="354" y="312"/>
                  </a:lnTo>
                  <a:lnTo>
                    <a:pt x="366" y="312"/>
                  </a:lnTo>
                  <a:lnTo>
                    <a:pt x="384" y="312"/>
                  </a:lnTo>
                  <a:lnTo>
                    <a:pt x="390" y="306"/>
                  </a:lnTo>
                  <a:lnTo>
                    <a:pt x="396" y="306"/>
                  </a:lnTo>
                  <a:lnTo>
                    <a:pt x="408" y="306"/>
                  </a:lnTo>
                  <a:lnTo>
                    <a:pt x="426" y="312"/>
                  </a:lnTo>
                  <a:lnTo>
                    <a:pt x="456" y="324"/>
                  </a:lnTo>
                  <a:lnTo>
                    <a:pt x="504" y="330"/>
                  </a:lnTo>
                  <a:lnTo>
                    <a:pt x="510" y="336"/>
                  </a:lnTo>
                  <a:lnTo>
                    <a:pt x="534" y="336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58" y="330"/>
                  </a:lnTo>
                  <a:lnTo>
                    <a:pt x="564" y="330"/>
                  </a:lnTo>
                  <a:lnTo>
                    <a:pt x="570" y="354"/>
                  </a:lnTo>
                  <a:lnTo>
                    <a:pt x="564" y="378"/>
                  </a:lnTo>
                  <a:lnTo>
                    <a:pt x="558" y="396"/>
                  </a:lnTo>
                  <a:lnTo>
                    <a:pt x="546" y="414"/>
                  </a:lnTo>
                  <a:lnTo>
                    <a:pt x="546" y="438"/>
                  </a:lnTo>
                  <a:lnTo>
                    <a:pt x="540" y="456"/>
                  </a:lnTo>
                  <a:lnTo>
                    <a:pt x="540" y="474"/>
                  </a:lnTo>
                  <a:lnTo>
                    <a:pt x="528" y="480"/>
                  </a:lnTo>
                  <a:lnTo>
                    <a:pt x="522" y="492"/>
                  </a:lnTo>
                  <a:lnTo>
                    <a:pt x="504" y="498"/>
                  </a:lnTo>
                  <a:lnTo>
                    <a:pt x="498" y="498"/>
                  </a:lnTo>
                  <a:lnTo>
                    <a:pt x="492" y="504"/>
                  </a:lnTo>
                  <a:lnTo>
                    <a:pt x="486" y="510"/>
                  </a:lnTo>
                  <a:lnTo>
                    <a:pt x="480" y="510"/>
                  </a:lnTo>
                  <a:lnTo>
                    <a:pt x="480" y="516"/>
                  </a:lnTo>
                  <a:lnTo>
                    <a:pt x="474" y="522"/>
                  </a:lnTo>
                  <a:lnTo>
                    <a:pt x="474" y="528"/>
                  </a:lnTo>
                  <a:lnTo>
                    <a:pt x="474" y="534"/>
                  </a:lnTo>
                  <a:lnTo>
                    <a:pt x="480" y="540"/>
                  </a:lnTo>
                  <a:lnTo>
                    <a:pt x="492" y="540"/>
                  </a:lnTo>
                  <a:lnTo>
                    <a:pt x="498" y="546"/>
                  </a:lnTo>
                  <a:lnTo>
                    <a:pt x="504" y="552"/>
                  </a:lnTo>
                  <a:lnTo>
                    <a:pt x="510" y="552"/>
                  </a:lnTo>
                  <a:lnTo>
                    <a:pt x="516" y="558"/>
                  </a:lnTo>
                  <a:lnTo>
                    <a:pt x="528" y="558"/>
                  </a:lnTo>
                  <a:lnTo>
                    <a:pt x="534" y="552"/>
                  </a:lnTo>
                  <a:lnTo>
                    <a:pt x="540" y="552"/>
                  </a:lnTo>
                  <a:lnTo>
                    <a:pt x="546" y="552"/>
                  </a:lnTo>
                  <a:lnTo>
                    <a:pt x="558" y="546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70" y="546"/>
                  </a:lnTo>
                  <a:lnTo>
                    <a:pt x="570" y="540"/>
                  </a:lnTo>
                  <a:lnTo>
                    <a:pt x="570" y="546"/>
                  </a:lnTo>
                  <a:lnTo>
                    <a:pt x="576" y="546"/>
                  </a:lnTo>
                  <a:lnTo>
                    <a:pt x="582" y="546"/>
                  </a:lnTo>
                  <a:lnTo>
                    <a:pt x="588" y="540"/>
                  </a:lnTo>
                  <a:lnTo>
                    <a:pt x="594" y="546"/>
                  </a:lnTo>
                  <a:lnTo>
                    <a:pt x="606" y="546"/>
                  </a:lnTo>
                  <a:lnTo>
                    <a:pt x="612" y="546"/>
                  </a:lnTo>
                  <a:lnTo>
                    <a:pt x="612" y="552"/>
                  </a:lnTo>
                  <a:lnTo>
                    <a:pt x="618" y="552"/>
                  </a:lnTo>
                  <a:lnTo>
                    <a:pt x="624" y="552"/>
                  </a:lnTo>
                  <a:lnTo>
                    <a:pt x="630" y="552"/>
                  </a:lnTo>
                  <a:lnTo>
                    <a:pt x="648" y="546"/>
                  </a:lnTo>
                  <a:lnTo>
                    <a:pt x="654" y="546"/>
                  </a:lnTo>
                  <a:lnTo>
                    <a:pt x="654" y="552"/>
                  </a:lnTo>
                  <a:lnTo>
                    <a:pt x="660" y="558"/>
                  </a:lnTo>
                  <a:lnTo>
                    <a:pt x="666" y="564"/>
                  </a:lnTo>
                  <a:lnTo>
                    <a:pt x="672" y="564"/>
                  </a:lnTo>
                  <a:lnTo>
                    <a:pt x="678" y="564"/>
                  </a:lnTo>
                  <a:lnTo>
                    <a:pt x="696" y="576"/>
                  </a:lnTo>
                  <a:lnTo>
                    <a:pt x="696" y="582"/>
                  </a:lnTo>
                  <a:lnTo>
                    <a:pt x="708" y="588"/>
                  </a:lnTo>
                  <a:lnTo>
                    <a:pt x="708" y="594"/>
                  </a:lnTo>
                  <a:lnTo>
                    <a:pt x="720" y="606"/>
                  </a:lnTo>
                  <a:lnTo>
                    <a:pt x="720" y="618"/>
                  </a:lnTo>
                  <a:lnTo>
                    <a:pt x="720" y="624"/>
                  </a:lnTo>
                  <a:lnTo>
                    <a:pt x="726" y="630"/>
                  </a:lnTo>
                  <a:lnTo>
                    <a:pt x="732" y="636"/>
                  </a:lnTo>
                  <a:lnTo>
                    <a:pt x="732" y="642"/>
                  </a:lnTo>
                  <a:lnTo>
                    <a:pt x="732" y="648"/>
                  </a:lnTo>
                  <a:lnTo>
                    <a:pt x="726" y="654"/>
                  </a:lnTo>
                  <a:lnTo>
                    <a:pt x="720" y="660"/>
                  </a:lnTo>
                  <a:lnTo>
                    <a:pt x="714" y="666"/>
                  </a:lnTo>
                  <a:lnTo>
                    <a:pt x="714" y="672"/>
                  </a:lnTo>
                  <a:lnTo>
                    <a:pt x="714" y="678"/>
                  </a:lnTo>
                  <a:lnTo>
                    <a:pt x="720" y="678"/>
                  </a:lnTo>
                  <a:lnTo>
                    <a:pt x="720" y="684"/>
                  </a:lnTo>
                  <a:lnTo>
                    <a:pt x="714" y="690"/>
                  </a:lnTo>
                  <a:lnTo>
                    <a:pt x="714" y="696"/>
                  </a:lnTo>
                  <a:lnTo>
                    <a:pt x="714" y="702"/>
                  </a:lnTo>
                  <a:lnTo>
                    <a:pt x="714" y="708"/>
                  </a:lnTo>
                  <a:lnTo>
                    <a:pt x="720" y="708"/>
                  </a:lnTo>
                  <a:lnTo>
                    <a:pt x="720" y="720"/>
                  </a:lnTo>
                  <a:lnTo>
                    <a:pt x="720" y="726"/>
                  </a:lnTo>
                  <a:lnTo>
                    <a:pt x="726" y="726"/>
                  </a:lnTo>
                  <a:lnTo>
                    <a:pt x="726" y="732"/>
                  </a:lnTo>
                  <a:lnTo>
                    <a:pt x="732" y="732"/>
                  </a:lnTo>
                  <a:lnTo>
                    <a:pt x="732" y="738"/>
                  </a:lnTo>
                  <a:lnTo>
                    <a:pt x="726" y="738"/>
                  </a:lnTo>
                  <a:lnTo>
                    <a:pt x="720" y="738"/>
                  </a:lnTo>
                  <a:lnTo>
                    <a:pt x="720" y="744"/>
                  </a:lnTo>
                  <a:lnTo>
                    <a:pt x="720" y="750"/>
                  </a:lnTo>
                  <a:lnTo>
                    <a:pt x="714" y="750"/>
                  </a:lnTo>
                  <a:lnTo>
                    <a:pt x="714" y="756"/>
                  </a:lnTo>
                  <a:lnTo>
                    <a:pt x="720" y="756"/>
                  </a:lnTo>
                  <a:lnTo>
                    <a:pt x="714" y="762"/>
                  </a:lnTo>
                  <a:lnTo>
                    <a:pt x="720" y="762"/>
                  </a:lnTo>
                  <a:lnTo>
                    <a:pt x="726" y="768"/>
                  </a:lnTo>
                  <a:lnTo>
                    <a:pt x="726" y="774"/>
                  </a:lnTo>
                  <a:lnTo>
                    <a:pt x="732" y="774"/>
                  </a:lnTo>
                  <a:lnTo>
                    <a:pt x="732" y="780"/>
                  </a:lnTo>
                  <a:lnTo>
                    <a:pt x="726" y="780"/>
                  </a:lnTo>
                  <a:lnTo>
                    <a:pt x="726" y="786"/>
                  </a:lnTo>
                  <a:lnTo>
                    <a:pt x="720" y="786"/>
                  </a:lnTo>
                  <a:lnTo>
                    <a:pt x="726" y="786"/>
                  </a:lnTo>
                  <a:lnTo>
                    <a:pt x="732" y="780"/>
                  </a:lnTo>
                  <a:lnTo>
                    <a:pt x="738" y="780"/>
                  </a:lnTo>
                  <a:lnTo>
                    <a:pt x="744" y="780"/>
                  </a:lnTo>
                  <a:lnTo>
                    <a:pt x="744" y="786"/>
                  </a:lnTo>
                  <a:lnTo>
                    <a:pt x="750" y="786"/>
                  </a:lnTo>
                  <a:lnTo>
                    <a:pt x="744" y="786"/>
                  </a:lnTo>
                  <a:lnTo>
                    <a:pt x="744" y="792"/>
                  </a:lnTo>
                  <a:lnTo>
                    <a:pt x="744" y="786"/>
                  </a:lnTo>
                  <a:lnTo>
                    <a:pt x="738" y="792"/>
                  </a:lnTo>
                  <a:lnTo>
                    <a:pt x="744" y="792"/>
                  </a:lnTo>
                  <a:lnTo>
                    <a:pt x="750" y="792"/>
                  </a:lnTo>
                  <a:lnTo>
                    <a:pt x="750" y="786"/>
                  </a:lnTo>
                  <a:lnTo>
                    <a:pt x="756" y="786"/>
                  </a:lnTo>
                  <a:lnTo>
                    <a:pt x="756" y="792"/>
                  </a:lnTo>
                  <a:lnTo>
                    <a:pt x="762" y="792"/>
                  </a:lnTo>
                  <a:lnTo>
                    <a:pt x="756" y="798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0" y="810"/>
                  </a:lnTo>
                  <a:lnTo>
                    <a:pt x="756" y="810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6" y="816"/>
                  </a:lnTo>
                  <a:lnTo>
                    <a:pt x="750" y="816"/>
                  </a:lnTo>
                  <a:lnTo>
                    <a:pt x="738" y="810"/>
                  </a:lnTo>
                  <a:lnTo>
                    <a:pt x="732" y="810"/>
                  </a:lnTo>
                  <a:lnTo>
                    <a:pt x="732" y="816"/>
                  </a:lnTo>
                  <a:lnTo>
                    <a:pt x="726" y="810"/>
                  </a:lnTo>
                  <a:lnTo>
                    <a:pt x="714" y="816"/>
                  </a:lnTo>
                  <a:lnTo>
                    <a:pt x="708" y="816"/>
                  </a:lnTo>
                  <a:lnTo>
                    <a:pt x="702" y="816"/>
                  </a:lnTo>
                  <a:lnTo>
                    <a:pt x="696" y="816"/>
                  </a:lnTo>
                  <a:lnTo>
                    <a:pt x="690" y="822"/>
                  </a:lnTo>
                  <a:lnTo>
                    <a:pt x="684" y="822"/>
                  </a:lnTo>
                  <a:lnTo>
                    <a:pt x="678" y="822"/>
                  </a:lnTo>
                  <a:lnTo>
                    <a:pt x="672" y="822"/>
                  </a:lnTo>
                  <a:lnTo>
                    <a:pt x="666" y="822"/>
                  </a:lnTo>
                  <a:lnTo>
                    <a:pt x="666" y="828"/>
                  </a:lnTo>
                  <a:lnTo>
                    <a:pt x="654" y="828"/>
                  </a:lnTo>
                  <a:lnTo>
                    <a:pt x="648" y="828"/>
                  </a:lnTo>
                  <a:lnTo>
                    <a:pt x="642" y="828"/>
                  </a:lnTo>
                  <a:lnTo>
                    <a:pt x="630" y="828"/>
                  </a:lnTo>
                  <a:lnTo>
                    <a:pt x="624" y="822"/>
                  </a:lnTo>
                  <a:lnTo>
                    <a:pt x="618" y="822"/>
                  </a:lnTo>
                  <a:lnTo>
                    <a:pt x="612" y="822"/>
                  </a:lnTo>
                  <a:lnTo>
                    <a:pt x="606" y="822"/>
                  </a:lnTo>
                  <a:lnTo>
                    <a:pt x="600" y="822"/>
                  </a:lnTo>
                  <a:lnTo>
                    <a:pt x="594" y="822"/>
                  </a:lnTo>
                  <a:lnTo>
                    <a:pt x="594" y="816"/>
                  </a:lnTo>
                  <a:lnTo>
                    <a:pt x="594" y="810"/>
                  </a:lnTo>
                  <a:lnTo>
                    <a:pt x="600" y="804"/>
                  </a:lnTo>
                  <a:lnTo>
                    <a:pt x="600" y="798"/>
                  </a:lnTo>
                  <a:lnTo>
                    <a:pt x="600" y="792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2" y="786"/>
                  </a:lnTo>
                  <a:lnTo>
                    <a:pt x="618" y="786"/>
                  </a:lnTo>
                  <a:lnTo>
                    <a:pt x="624" y="786"/>
                  </a:lnTo>
                  <a:lnTo>
                    <a:pt x="624" y="780"/>
                  </a:lnTo>
                  <a:lnTo>
                    <a:pt x="630" y="780"/>
                  </a:lnTo>
                  <a:lnTo>
                    <a:pt x="630" y="774"/>
                  </a:lnTo>
                  <a:lnTo>
                    <a:pt x="636" y="774"/>
                  </a:lnTo>
                  <a:lnTo>
                    <a:pt x="642" y="780"/>
                  </a:lnTo>
                  <a:lnTo>
                    <a:pt x="642" y="786"/>
                  </a:lnTo>
                  <a:lnTo>
                    <a:pt x="642" y="792"/>
                  </a:lnTo>
                  <a:lnTo>
                    <a:pt x="648" y="792"/>
                  </a:lnTo>
                  <a:lnTo>
                    <a:pt x="648" y="786"/>
                  </a:lnTo>
                  <a:lnTo>
                    <a:pt x="642" y="786"/>
                  </a:lnTo>
                  <a:lnTo>
                    <a:pt x="642" y="780"/>
                  </a:lnTo>
                  <a:lnTo>
                    <a:pt x="642" y="774"/>
                  </a:lnTo>
                  <a:lnTo>
                    <a:pt x="648" y="768"/>
                  </a:lnTo>
                  <a:lnTo>
                    <a:pt x="642" y="768"/>
                  </a:lnTo>
                  <a:lnTo>
                    <a:pt x="648" y="768"/>
                  </a:lnTo>
                  <a:lnTo>
                    <a:pt x="648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66" y="762"/>
                  </a:lnTo>
                  <a:lnTo>
                    <a:pt x="672" y="756"/>
                  </a:lnTo>
                  <a:lnTo>
                    <a:pt x="666" y="756"/>
                  </a:lnTo>
                  <a:lnTo>
                    <a:pt x="660" y="756"/>
                  </a:lnTo>
                  <a:lnTo>
                    <a:pt x="660" y="750"/>
                  </a:lnTo>
                  <a:lnTo>
                    <a:pt x="654" y="750"/>
                  </a:lnTo>
                  <a:lnTo>
                    <a:pt x="648" y="750"/>
                  </a:lnTo>
                  <a:lnTo>
                    <a:pt x="648" y="756"/>
                  </a:lnTo>
                  <a:lnTo>
                    <a:pt x="642" y="756"/>
                  </a:lnTo>
                  <a:lnTo>
                    <a:pt x="642" y="750"/>
                  </a:lnTo>
                  <a:lnTo>
                    <a:pt x="642" y="744"/>
                  </a:lnTo>
                  <a:lnTo>
                    <a:pt x="642" y="750"/>
                  </a:lnTo>
                  <a:lnTo>
                    <a:pt x="636" y="750"/>
                  </a:lnTo>
                  <a:lnTo>
                    <a:pt x="636" y="744"/>
                  </a:lnTo>
                  <a:lnTo>
                    <a:pt x="630" y="744"/>
                  </a:lnTo>
                  <a:lnTo>
                    <a:pt x="630" y="738"/>
                  </a:lnTo>
                  <a:lnTo>
                    <a:pt x="630" y="744"/>
                  </a:lnTo>
                  <a:lnTo>
                    <a:pt x="630" y="750"/>
                  </a:lnTo>
                  <a:lnTo>
                    <a:pt x="636" y="750"/>
                  </a:lnTo>
                  <a:lnTo>
                    <a:pt x="636" y="756"/>
                  </a:lnTo>
                  <a:lnTo>
                    <a:pt x="630" y="756"/>
                  </a:lnTo>
                  <a:lnTo>
                    <a:pt x="636" y="762"/>
                  </a:lnTo>
                  <a:lnTo>
                    <a:pt x="630" y="762"/>
                  </a:lnTo>
                  <a:lnTo>
                    <a:pt x="624" y="762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24" y="786"/>
                  </a:lnTo>
                  <a:lnTo>
                    <a:pt x="618" y="786"/>
                  </a:lnTo>
                  <a:lnTo>
                    <a:pt x="618" y="78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12" y="774"/>
                  </a:lnTo>
                  <a:lnTo>
                    <a:pt x="612" y="780"/>
                  </a:lnTo>
                  <a:lnTo>
                    <a:pt x="606" y="780"/>
                  </a:lnTo>
                  <a:lnTo>
                    <a:pt x="600" y="780"/>
                  </a:lnTo>
                  <a:lnTo>
                    <a:pt x="600" y="774"/>
                  </a:lnTo>
                  <a:lnTo>
                    <a:pt x="594" y="768"/>
                  </a:lnTo>
                  <a:lnTo>
                    <a:pt x="594" y="762"/>
                  </a:lnTo>
                  <a:lnTo>
                    <a:pt x="594" y="756"/>
                  </a:lnTo>
                  <a:lnTo>
                    <a:pt x="594" y="762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594" y="780"/>
                  </a:lnTo>
                  <a:lnTo>
                    <a:pt x="588" y="780"/>
                  </a:lnTo>
                  <a:lnTo>
                    <a:pt x="582" y="780"/>
                  </a:lnTo>
                  <a:lnTo>
                    <a:pt x="576" y="780"/>
                  </a:lnTo>
                  <a:lnTo>
                    <a:pt x="570" y="780"/>
                  </a:lnTo>
                  <a:lnTo>
                    <a:pt x="564" y="780"/>
                  </a:lnTo>
                  <a:lnTo>
                    <a:pt x="564" y="786"/>
                  </a:lnTo>
                  <a:lnTo>
                    <a:pt x="558" y="786"/>
                  </a:lnTo>
                  <a:lnTo>
                    <a:pt x="552" y="786"/>
                  </a:lnTo>
                  <a:lnTo>
                    <a:pt x="552" y="780"/>
                  </a:lnTo>
                  <a:lnTo>
                    <a:pt x="552" y="774"/>
                  </a:lnTo>
                  <a:lnTo>
                    <a:pt x="552" y="768"/>
                  </a:lnTo>
                  <a:lnTo>
                    <a:pt x="546" y="768"/>
                  </a:lnTo>
                  <a:lnTo>
                    <a:pt x="540" y="762"/>
                  </a:lnTo>
                  <a:lnTo>
                    <a:pt x="540" y="756"/>
                  </a:lnTo>
                  <a:lnTo>
                    <a:pt x="534" y="756"/>
                  </a:lnTo>
                  <a:lnTo>
                    <a:pt x="534" y="750"/>
                  </a:lnTo>
                  <a:lnTo>
                    <a:pt x="534" y="744"/>
                  </a:lnTo>
                  <a:lnTo>
                    <a:pt x="528" y="738"/>
                  </a:lnTo>
                  <a:lnTo>
                    <a:pt x="522" y="738"/>
                  </a:lnTo>
                  <a:lnTo>
                    <a:pt x="522" y="732"/>
                  </a:lnTo>
                  <a:lnTo>
                    <a:pt x="510" y="726"/>
                  </a:lnTo>
                  <a:lnTo>
                    <a:pt x="510" y="720"/>
                  </a:lnTo>
                  <a:lnTo>
                    <a:pt x="504" y="720"/>
                  </a:lnTo>
                  <a:lnTo>
                    <a:pt x="504" y="714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8" y="702"/>
                  </a:lnTo>
                  <a:lnTo>
                    <a:pt x="498" y="696"/>
                  </a:lnTo>
                  <a:lnTo>
                    <a:pt x="492" y="690"/>
                  </a:lnTo>
                  <a:lnTo>
                    <a:pt x="492" y="684"/>
                  </a:lnTo>
                  <a:lnTo>
                    <a:pt x="486" y="684"/>
                  </a:lnTo>
                  <a:lnTo>
                    <a:pt x="486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74" y="678"/>
                  </a:lnTo>
                  <a:lnTo>
                    <a:pt x="468" y="678"/>
                  </a:lnTo>
                  <a:lnTo>
                    <a:pt x="462" y="678"/>
                  </a:lnTo>
                  <a:lnTo>
                    <a:pt x="462" y="672"/>
                  </a:lnTo>
                  <a:lnTo>
                    <a:pt x="456" y="672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44" y="666"/>
                  </a:lnTo>
                  <a:lnTo>
                    <a:pt x="438" y="660"/>
                  </a:lnTo>
                  <a:lnTo>
                    <a:pt x="438" y="648"/>
                  </a:lnTo>
                  <a:lnTo>
                    <a:pt x="438" y="642"/>
                  </a:lnTo>
                  <a:lnTo>
                    <a:pt x="438" y="636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36"/>
                  </a:lnTo>
                  <a:lnTo>
                    <a:pt x="420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60"/>
                  </a:lnTo>
                  <a:lnTo>
                    <a:pt x="432" y="666"/>
                  </a:lnTo>
                  <a:lnTo>
                    <a:pt x="438" y="666"/>
                  </a:lnTo>
                  <a:lnTo>
                    <a:pt x="438" y="672"/>
                  </a:lnTo>
                  <a:lnTo>
                    <a:pt x="444" y="672"/>
                  </a:lnTo>
                  <a:lnTo>
                    <a:pt x="444" y="678"/>
                  </a:lnTo>
                  <a:lnTo>
                    <a:pt x="450" y="678"/>
                  </a:lnTo>
                  <a:lnTo>
                    <a:pt x="456" y="678"/>
                  </a:lnTo>
                  <a:lnTo>
                    <a:pt x="456" y="684"/>
                  </a:lnTo>
                  <a:lnTo>
                    <a:pt x="462" y="684"/>
                  </a:lnTo>
                  <a:lnTo>
                    <a:pt x="468" y="684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80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86" y="708"/>
                  </a:lnTo>
                  <a:lnTo>
                    <a:pt x="492" y="714"/>
                  </a:lnTo>
                  <a:lnTo>
                    <a:pt x="492" y="720"/>
                  </a:lnTo>
                  <a:lnTo>
                    <a:pt x="492" y="726"/>
                  </a:lnTo>
                  <a:lnTo>
                    <a:pt x="498" y="732"/>
                  </a:lnTo>
                  <a:lnTo>
                    <a:pt x="492" y="738"/>
                  </a:lnTo>
                  <a:lnTo>
                    <a:pt x="492" y="744"/>
                  </a:lnTo>
                  <a:lnTo>
                    <a:pt x="492" y="750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68" y="738"/>
                  </a:lnTo>
                  <a:lnTo>
                    <a:pt x="468" y="744"/>
                  </a:lnTo>
                  <a:lnTo>
                    <a:pt x="474" y="750"/>
                  </a:lnTo>
                  <a:lnTo>
                    <a:pt x="480" y="756"/>
                  </a:lnTo>
                  <a:lnTo>
                    <a:pt x="486" y="756"/>
                  </a:lnTo>
                  <a:lnTo>
                    <a:pt x="492" y="762"/>
                  </a:lnTo>
                  <a:lnTo>
                    <a:pt x="498" y="768"/>
                  </a:lnTo>
                  <a:lnTo>
                    <a:pt x="492" y="774"/>
                  </a:lnTo>
                  <a:lnTo>
                    <a:pt x="492" y="780"/>
                  </a:lnTo>
                  <a:lnTo>
                    <a:pt x="498" y="780"/>
                  </a:lnTo>
                  <a:lnTo>
                    <a:pt x="492" y="786"/>
                  </a:lnTo>
                  <a:lnTo>
                    <a:pt x="492" y="792"/>
                  </a:lnTo>
                  <a:lnTo>
                    <a:pt x="492" y="79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0" y="810"/>
                  </a:lnTo>
                  <a:lnTo>
                    <a:pt x="480" y="804"/>
                  </a:lnTo>
                  <a:lnTo>
                    <a:pt x="474" y="804"/>
                  </a:lnTo>
                  <a:lnTo>
                    <a:pt x="474" y="798"/>
                  </a:lnTo>
                  <a:lnTo>
                    <a:pt x="474" y="804"/>
                  </a:lnTo>
                  <a:lnTo>
                    <a:pt x="468" y="804"/>
                  </a:lnTo>
                  <a:lnTo>
                    <a:pt x="468" y="810"/>
                  </a:lnTo>
                  <a:lnTo>
                    <a:pt x="462" y="810"/>
                  </a:lnTo>
                  <a:lnTo>
                    <a:pt x="456" y="810"/>
                  </a:lnTo>
                  <a:lnTo>
                    <a:pt x="450" y="810"/>
                  </a:lnTo>
                  <a:lnTo>
                    <a:pt x="450" y="816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50" y="822"/>
                  </a:lnTo>
                  <a:lnTo>
                    <a:pt x="450" y="816"/>
                  </a:lnTo>
                  <a:lnTo>
                    <a:pt x="444" y="816"/>
                  </a:lnTo>
                  <a:lnTo>
                    <a:pt x="438" y="810"/>
                  </a:lnTo>
                  <a:lnTo>
                    <a:pt x="432" y="810"/>
                  </a:lnTo>
                  <a:lnTo>
                    <a:pt x="426" y="804"/>
                  </a:lnTo>
                  <a:lnTo>
                    <a:pt x="426" y="798"/>
                  </a:lnTo>
                  <a:lnTo>
                    <a:pt x="420" y="798"/>
                  </a:lnTo>
                  <a:lnTo>
                    <a:pt x="426" y="798"/>
                  </a:lnTo>
                  <a:lnTo>
                    <a:pt x="426" y="792"/>
                  </a:lnTo>
                  <a:lnTo>
                    <a:pt x="426" y="786"/>
                  </a:lnTo>
                  <a:lnTo>
                    <a:pt x="432" y="786"/>
                  </a:lnTo>
                  <a:lnTo>
                    <a:pt x="432" y="780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0" y="756"/>
                  </a:lnTo>
                  <a:lnTo>
                    <a:pt x="420" y="750"/>
                  </a:lnTo>
                  <a:lnTo>
                    <a:pt x="414" y="750"/>
                  </a:lnTo>
                  <a:lnTo>
                    <a:pt x="420" y="750"/>
                  </a:lnTo>
                  <a:lnTo>
                    <a:pt x="420" y="744"/>
                  </a:lnTo>
                  <a:lnTo>
                    <a:pt x="414" y="744"/>
                  </a:lnTo>
                  <a:lnTo>
                    <a:pt x="414" y="738"/>
                  </a:lnTo>
                  <a:lnTo>
                    <a:pt x="414" y="732"/>
                  </a:lnTo>
                  <a:lnTo>
                    <a:pt x="408" y="732"/>
                  </a:lnTo>
                  <a:lnTo>
                    <a:pt x="408" y="726"/>
                  </a:lnTo>
                  <a:lnTo>
                    <a:pt x="402" y="726"/>
                  </a:lnTo>
                  <a:lnTo>
                    <a:pt x="396" y="726"/>
                  </a:lnTo>
                  <a:lnTo>
                    <a:pt x="390" y="726"/>
                  </a:lnTo>
                  <a:lnTo>
                    <a:pt x="390" y="720"/>
                  </a:lnTo>
                  <a:lnTo>
                    <a:pt x="390" y="714"/>
                  </a:lnTo>
                  <a:lnTo>
                    <a:pt x="384" y="708"/>
                  </a:lnTo>
                  <a:lnTo>
                    <a:pt x="384" y="702"/>
                  </a:lnTo>
                  <a:lnTo>
                    <a:pt x="378" y="702"/>
                  </a:lnTo>
                  <a:lnTo>
                    <a:pt x="378" y="696"/>
                  </a:lnTo>
                  <a:lnTo>
                    <a:pt x="378" y="690"/>
                  </a:lnTo>
                  <a:lnTo>
                    <a:pt x="372" y="684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66" y="666"/>
                  </a:lnTo>
                  <a:lnTo>
                    <a:pt x="366" y="660"/>
                  </a:lnTo>
                  <a:lnTo>
                    <a:pt x="366" y="654"/>
                  </a:lnTo>
                  <a:lnTo>
                    <a:pt x="360" y="648"/>
                  </a:lnTo>
                  <a:lnTo>
                    <a:pt x="360" y="654"/>
                  </a:lnTo>
                  <a:lnTo>
                    <a:pt x="360" y="660"/>
                  </a:lnTo>
                  <a:lnTo>
                    <a:pt x="360" y="666"/>
                  </a:lnTo>
                  <a:lnTo>
                    <a:pt x="360" y="672"/>
                  </a:lnTo>
                  <a:lnTo>
                    <a:pt x="360" y="678"/>
                  </a:lnTo>
                  <a:lnTo>
                    <a:pt x="366" y="678"/>
                  </a:lnTo>
                  <a:lnTo>
                    <a:pt x="366" y="684"/>
                  </a:lnTo>
                  <a:lnTo>
                    <a:pt x="366" y="690"/>
                  </a:lnTo>
                  <a:lnTo>
                    <a:pt x="372" y="696"/>
                  </a:lnTo>
                  <a:lnTo>
                    <a:pt x="372" y="702"/>
                  </a:lnTo>
                  <a:lnTo>
                    <a:pt x="372" y="708"/>
                  </a:lnTo>
                  <a:lnTo>
                    <a:pt x="372" y="714"/>
                  </a:lnTo>
                  <a:lnTo>
                    <a:pt x="366" y="714"/>
                  </a:lnTo>
                  <a:lnTo>
                    <a:pt x="360" y="714"/>
                  </a:lnTo>
                  <a:lnTo>
                    <a:pt x="354" y="714"/>
                  </a:lnTo>
                  <a:lnTo>
                    <a:pt x="348" y="714"/>
                  </a:lnTo>
                  <a:lnTo>
                    <a:pt x="348" y="708"/>
                  </a:lnTo>
                  <a:lnTo>
                    <a:pt x="342" y="708"/>
                  </a:lnTo>
                  <a:lnTo>
                    <a:pt x="342" y="702"/>
                  </a:lnTo>
                  <a:lnTo>
                    <a:pt x="342" y="696"/>
                  </a:lnTo>
                  <a:lnTo>
                    <a:pt x="336" y="696"/>
                  </a:lnTo>
                  <a:lnTo>
                    <a:pt x="336" y="690"/>
                  </a:lnTo>
                  <a:lnTo>
                    <a:pt x="336" y="684"/>
                  </a:lnTo>
                  <a:lnTo>
                    <a:pt x="330" y="684"/>
                  </a:lnTo>
                  <a:lnTo>
                    <a:pt x="330" y="678"/>
                  </a:lnTo>
                  <a:lnTo>
                    <a:pt x="324" y="672"/>
                  </a:lnTo>
                  <a:lnTo>
                    <a:pt x="324" y="666"/>
                  </a:lnTo>
                  <a:lnTo>
                    <a:pt x="318" y="666"/>
                  </a:lnTo>
                  <a:lnTo>
                    <a:pt x="318" y="672"/>
                  </a:lnTo>
                  <a:lnTo>
                    <a:pt x="324" y="672"/>
                  </a:lnTo>
                  <a:lnTo>
                    <a:pt x="324" y="678"/>
                  </a:lnTo>
                  <a:lnTo>
                    <a:pt x="324" y="684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30" y="696"/>
                  </a:lnTo>
                  <a:lnTo>
                    <a:pt x="336" y="702"/>
                  </a:lnTo>
                  <a:lnTo>
                    <a:pt x="342" y="708"/>
                  </a:lnTo>
                  <a:lnTo>
                    <a:pt x="342" y="714"/>
                  </a:lnTo>
                  <a:lnTo>
                    <a:pt x="348" y="720"/>
                  </a:lnTo>
                  <a:lnTo>
                    <a:pt x="342" y="720"/>
                  </a:lnTo>
                  <a:lnTo>
                    <a:pt x="336" y="720"/>
                  </a:lnTo>
                  <a:lnTo>
                    <a:pt x="330" y="720"/>
                  </a:lnTo>
                  <a:lnTo>
                    <a:pt x="330" y="726"/>
                  </a:lnTo>
                  <a:lnTo>
                    <a:pt x="336" y="726"/>
                  </a:lnTo>
                  <a:lnTo>
                    <a:pt x="330" y="732"/>
                  </a:lnTo>
                  <a:lnTo>
                    <a:pt x="330" y="738"/>
                  </a:lnTo>
                  <a:lnTo>
                    <a:pt x="330" y="744"/>
                  </a:lnTo>
                  <a:lnTo>
                    <a:pt x="336" y="744"/>
                  </a:lnTo>
                  <a:lnTo>
                    <a:pt x="342" y="744"/>
                  </a:lnTo>
                  <a:lnTo>
                    <a:pt x="348" y="744"/>
                  </a:lnTo>
                  <a:lnTo>
                    <a:pt x="348" y="750"/>
                  </a:lnTo>
                  <a:lnTo>
                    <a:pt x="354" y="750"/>
                  </a:lnTo>
                  <a:lnTo>
                    <a:pt x="360" y="756"/>
                  </a:lnTo>
                  <a:lnTo>
                    <a:pt x="360" y="762"/>
                  </a:lnTo>
                  <a:lnTo>
                    <a:pt x="366" y="762"/>
                  </a:lnTo>
                  <a:lnTo>
                    <a:pt x="366" y="768"/>
                  </a:lnTo>
                  <a:lnTo>
                    <a:pt x="366" y="774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72" y="792"/>
                  </a:lnTo>
                  <a:lnTo>
                    <a:pt x="372" y="798"/>
                  </a:lnTo>
                  <a:lnTo>
                    <a:pt x="372" y="804"/>
                  </a:lnTo>
                  <a:lnTo>
                    <a:pt x="378" y="804"/>
                  </a:lnTo>
                  <a:lnTo>
                    <a:pt x="378" y="810"/>
                  </a:lnTo>
                  <a:lnTo>
                    <a:pt x="378" y="816"/>
                  </a:lnTo>
                  <a:lnTo>
                    <a:pt x="372" y="816"/>
                  </a:lnTo>
                  <a:lnTo>
                    <a:pt x="378" y="816"/>
                  </a:lnTo>
                  <a:lnTo>
                    <a:pt x="378" y="822"/>
                  </a:lnTo>
                  <a:lnTo>
                    <a:pt x="378" y="828"/>
                  </a:lnTo>
                  <a:lnTo>
                    <a:pt x="378" y="834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0" y="864"/>
                  </a:lnTo>
                  <a:lnTo>
                    <a:pt x="384" y="864"/>
                  </a:lnTo>
                  <a:lnTo>
                    <a:pt x="384" y="870"/>
                  </a:lnTo>
                  <a:lnTo>
                    <a:pt x="378" y="864"/>
                  </a:lnTo>
                  <a:lnTo>
                    <a:pt x="372" y="864"/>
                  </a:lnTo>
                  <a:lnTo>
                    <a:pt x="366" y="858"/>
                  </a:lnTo>
                  <a:lnTo>
                    <a:pt x="366" y="852"/>
                  </a:lnTo>
                  <a:lnTo>
                    <a:pt x="360" y="852"/>
                  </a:lnTo>
                  <a:lnTo>
                    <a:pt x="360" y="858"/>
                  </a:lnTo>
                  <a:lnTo>
                    <a:pt x="366" y="858"/>
                  </a:lnTo>
                  <a:lnTo>
                    <a:pt x="366" y="864"/>
                  </a:lnTo>
                  <a:lnTo>
                    <a:pt x="360" y="864"/>
                  </a:lnTo>
                  <a:lnTo>
                    <a:pt x="354" y="864"/>
                  </a:lnTo>
                  <a:lnTo>
                    <a:pt x="354" y="870"/>
                  </a:lnTo>
                  <a:lnTo>
                    <a:pt x="354" y="864"/>
                  </a:lnTo>
                  <a:lnTo>
                    <a:pt x="348" y="864"/>
                  </a:lnTo>
                  <a:lnTo>
                    <a:pt x="342" y="864"/>
                  </a:lnTo>
                  <a:lnTo>
                    <a:pt x="342" y="858"/>
                  </a:lnTo>
                  <a:lnTo>
                    <a:pt x="336" y="858"/>
                  </a:lnTo>
                  <a:lnTo>
                    <a:pt x="330" y="858"/>
                  </a:lnTo>
                  <a:lnTo>
                    <a:pt x="324" y="858"/>
                  </a:lnTo>
                  <a:lnTo>
                    <a:pt x="318" y="858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0" y="852"/>
                  </a:lnTo>
                  <a:lnTo>
                    <a:pt x="294" y="852"/>
                  </a:lnTo>
                  <a:lnTo>
                    <a:pt x="294" y="846"/>
                  </a:lnTo>
                  <a:lnTo>
                    <a:pt x="288" y="840"/>
                  </a:lnTo>
                  <a:lnTo>
                    <a:pt x="288" y="828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2" y="816"/>
                  </a:lnTo>
                  <a:lnTo>
                    <a:pt x="282" y="810"/>
                  </a:lnTo>
                  <a:lnTo>
                    <a:pt x="276" y="810"/>
                  </a:lnTo>
                  <a:lnTo>
                    <a:pt x="276" y="804"/>
                  </a:lnTo>
                  <a:lnTo>
                    <a:pt x="276" y="798"/>
                  </a:lnTo>
                  <a:lnTo>
                    <a:pt x="276" y="792"/>
                  </a:lnTo>
                  <a:lnTo>
                    <a:pt x="270" y="786"/>
                  </a:lnTo>
                  <a:lnTo>
                    <a:pt x="270" y="780"/>
                  </a:lnTo>
                  <a:lnTo>
                    <a:pt x="270" y="774"/>
                  </a:lnTo>
                  <a:lnTo>
                    <a:pt x="264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64" y="750"/>
                  </a:lnTo>
                  <a:lnTo>
                    <a:pt x="264" y="744"/>
                  </a:lnTo>
                  <a:lnTo>
                    <a:pt x="264" y="738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26"/>
                  </a:lnTo>
                  <a:lnTo>
                    <a:pt x="276" y="720"/>
                  </a:lnTo>
                  <a:lnTo>
                    <a:pt x="282" y="720"/>
                  </a:lnTo>
                  <a:lnTo>
                    <a:pt x="282" y="714"/>
                  </a:lnTo>
                  <a:lnTo>
                    <a:pt x="282" y="708"/>
                  </a:lnTo>
                  <a:lnTo>
                    <a:pt x="276" y="708"/>
                  </a:lnTo>
                  <a:lnTo>
                    <a:pt x="276" y="702"/>
                  </a:lnTo>
                  <a:lnTo>
                    <a:pt x="270" y="702"/>
                  </a:lnTo>
                  <a:lnTo>
                    <a:pt x="270" y="696"/>
                  </a:lnTo>
                  <a:lnTo>
                    <a:pt x="264" y="690"/>
                  </a:lnTo>
                  <a:lnTo>
                    <a:pt x="258" y="690"/>
                  </a:lnTo>
                  <a:lnTo>
                    <a:pt x="258" y="684"/>
                  </a:lnTo>
                  <a:lnTo>
                    <a:pt x="252" y="684"/>
                  </a:lnTo>
                  <a:lnTo>
                    <a:pt x="252" y="678"/>
                  </a:lnTo>
                  <a:lnTo>
                    <a:pt x="246" y="678"/>
                  </a:lnTo>
                  <a:lnTo>
                    <a:pt x="240" y="678"/>
                  </a:lnTo>
                  <a:lnTo>
                    <a:pt x="240" y="684"/>
                  </a:lnTo>
                  <a:lnTo>
                    <a:pt x="246" y="684"/>
                  </a:lnTo>
                  <a:lnTo>
                    <a:pt x="252" y="690"/>
                  </a:lnTo>
                  <a:lnTo>
                    <a:pt x="258" y="690"/>
                  </a:lnTo>
                  <a:lnTo>
                    <a:pt x="258" y="696"/>
                  </a:lnTo>
                  <a:lnTo>
                    <a:pt x="258" y="702"/>
                  </a:lnTo>
                  <a:lnTo>
                    <a:pt x="264" y="702"/>
                  </a:lnTo>
                  <a:lnTo>
                    <a:pt x="270" y="708"/>
                  </a:lnTo>
                  <a:lnTo>
                    <a:pt x="270" y="714"/>
                  </a:lnTo>
                  <a:lnTo>
                    <a:pt x="270" y="720"/>
                  </a:lnTo>
                  <a:lnTo>
                    <a:pt x="276" y="720"/>
                  </a:lnTo>
                  <a:lnTo>
                    <a:pt x="270" y="720"/>
                  </a:lnTo>
                  <a:lnTo>
                    <a:pt x="270" y="726"/>
                  </a:lnTo>
                  <a:lnTo>
                    <a:pt x="264" y="726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52" y="738"/>
                  </a:lnTo>
                  <a:lnTo>
                    <a:pt x="252" y="744"/>
                  </a:lnTo>
                  <a:lnTo>
                    <a:pt x="252" y="750"/>
                  </a:lnTo>
                  <a:lnTo>
                    <a:pt x="252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58" y="774"/>
                  </a:lnTo>
                  <a:lnTo>
                    <a:pt x="258" y="780"/>
                  </a:lnTo>
                  <a:lnTo>
                    <a:pt x="264" y="786"/>
                  </a:lnTo>
                  <a:lnTo>
                    <a:pt x="264" y="792"/>
                  </a:lnTo>
                  <a:lnTo>
                    <a:pt x="264" y="798"/>
                  </a:lnTo>
                  <a:lnTo>
                    <a:pt x="270" y="810"/>
                  </a:lnTo>
                  <a:lnTo>
                    <a:pt x="270" y="816"/>
                  </a:lnTo>
                  <a:lnTo>
                    <a:pt x="270" y="822"/>
                  </a:lnTo>
                  <a:lnTo>
                    <a:pt x="276" y="822"/>
                  </a:lnTo>
                  <a:lnTo>
                    <a:pt x="276" y="828"/>
                  </a:lnTo>
                  <a:lnTo>
                    <a:pt x="276" y="834"/>
                  </a:lnTo>
                  <a:lnTo>
                    <a:pt x="276" y="840"/>
                  </a:lnTo>
                  <a:lnTo>
                    <a:pt x="276" y="846"/>
                  </a:lnTo>
                  <a:lnTo>
                    <a:pt x="282" y="852"/>
                  </a:lnTo>
                  <a:lnTo>
                    <a:pt x="282" y="858"/>
                  </a:lnTo>
                  <a:lnTo>
                    <a:pt x="294" y="864"/>
                  </a:lnTo>
                  <a:lnTo>
                    <a:pt x="300" y="870"/>
                  </a:lnTo>
                  <a:lnTo>
                    <a:pt x="300" y="876"/>
                  </a:lnTo>
                  <a:lnTo>
                    <a:pt x="288" y="876"/>
                  </a:lnTo>
                  <a:lnTo>
                    <a:pt x="282" y="876"/>
                  </a:lnTo>
                  <a:lnTo>
                    <a:pt x="276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2" y="882"/>
                  </a:lnTo>
                  <a:lnTo>
                    <a:pt x="246" y="882"/>
                  </a:lnTo>
                  <a:lnTo>
                    <a:pt x="240" y="882"/>
                  </a:lnTo>
                  <a:lnTo>
                    <a:pt x="234" y="882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204" y="876"/>
                  </a:lnTo>
                  <a:lnTo>
                    <a:pt x="198" y="876"/>
                  </a:lnTo>
                  <a:lnTo>
                    <a:pt x="198" y="870"/>
                  </a:lnTo>
                  <a:lnTo>
                    <a:pt x="198" y="852"/>
                  </a:lnTo>
                  <a:lnTo>
                    <a:pt x="198" y="846"/>
                  </a:lnTo>
                  <a:lnTo>
                    <a:pt x="204" y="846"/>
                  </a:lnTo>
                  <a:lnTo>
                    <a:pt x="198" y="840"/>
                  </a:lnTo>
                  <a:lnTo>
                    <a:pt x="198" y="834"/>
                  </a:lnTo>
                  <a:lnTo>
                    <a:pt x="198" y="828"/>
                  </a:lnTo>
                  <a:lnTo>
                    <a:pt x="198" y="822"/>
                  </a:lnTo>
                  <a:lnTo>
                    <a:pt x="198" y="816"/>
                  </a:lnTo>
                  <a:lnTo>
                    <a:pt x="198" y="810"/>
                  </a:lnTo>
                  <a:lnTo>
                    <a:pt x="192" y="810"/>
                  </a:lnTo>
                  <a:lnTo>
                    <a:pt x="192" y="804"/>
                  </a:lnTo>
                  <a:lnTo>
                    <a:pt x="192" y="798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2" y="774"/>
                  </a:lnTo>
                  <a:lnTo>
                    <a:pt x="192" y="768"/>
                  </a:lnTo>
                  <a:lnTo>
                    <a:pt x="198" y="768"/>
                  </a:lnTo>
                  <a:lnTo>
                    <a:pt x="198" y="762"/>
                  </a:lnTo>
                  <a:lnTo>
                    <a:pt x="198" y="756"/>
                  </a:lnTo>
                  <a:lnTo>
                    <a:pt x="204" y="756"/>
                  </a:lnTo>
                  <a:lnTo>
                    <a:pt x="204" y="750"/>
                  </a:lnTo>
                  <a:lnTo>
                    <a:pt x="210" y="744"/>
                  </a:lnTo>
                  <a:lnTo>
                    <a:pt x="210" y="738"/>
                  </a:lnTo>
                  <a:lnTo>
                    <a:pt x="210" y="732"/>
                  </a:lnTo>
                  <a:lnTo>
                    <a:pt x="210" y="726"/>
                  </a:lnTo>
                  <a:lnTo>
                    <a:pt x="210" y="720"/>
                  </a:lnTo>
                  <a:lnTo>
                    <a:pt x="204" y="714"/>
                  </a:lnTo>
                  <a:lnTo>
                    <a:pt x="204" y="720"/>
                  </a:lnTo>
                  <a:lnTo>
                    <a:pt x="204" y="732"/>
                  </a:lnTo>
                  <a:lnTo>
                    <a:pt x="204" y="738"/>
                  </a:lnTo>
                  <a:lnTo>
                    <a:pt x="198" y="738"/>
                  </a:lnTo>
                  <a:lnTo>
                    <a:pt x="198" y="744"/>
                  </a:lnTo>
                  <a:lnTo>
                    <a:pt x="198" y="750"/>
                  </a:lnTo>
                  <a:lnTo>
                    <a:pt x="192" y="756"/>
                  </a:lnTo>
                  <a:lnTo>
                    <a:pt x="186" y="762"/>
                  </a:lnTo>
                  <a:lnTo>
                    <a:pt x="186" y="768"/>
                  </a:lnTo>
                  <a:lnTo>
                    <a:pt x="186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98"/>
                  </a:lnTo>
                  <a:lnTo>
                    <a:pt x="186" y="804"/>
                  </a:lnTo>
                  <a:lnTo>
                    <a:pt x="186" y="810"/>
                  </a:lnTo>
                  <a:lnTo>
                    <a:pt x="192" y="816"/>
                  </a:lnTo>
                  <a:lnTo>
                    <a:pt x="192" y="828"/>
                  </a:lnTo>
                  <a:lnTo>
                    <a:pt x="192" y="834"/>
                  </a:lnTo>
                  <a:lnTo>
                    <a:pt x="186" y="834"/>
                  </a:lnTo>
                  <a:lnTo>
                    <a:pt x="186" y="828"/>
                  </a:lnTo>
                  <a:lnTo>
                    <a:pt x="180" y="822"/>
                  </a:lnTo>
                  <a:lnTo>
                    <a:pt x="180" y="816"/>
                  </a:lnTo>
                  <a:lnTo>
                    <a:pt x="180" y="810"/>
                  </a:lnTo>
                  <a:lnTo>
                    <a:pt x="174" y="810"/>
                  </a:lnTo>
                  <a:lnTo>
                    <a:pt x="174" y="804"/>
                  </a:lnTo>
                  <a:lnTo>
                    <a:pt x="174" y="798"/>
                  </a:lnTo>
                  <a:lnTo>
                    <a:pt x="174" y="792"/>
                  </a:lnTo>
                  <a:lnTo>
                    <a:pt x="168" y="786"/>
                  </a:lnTo>
                  <a:lnTo>
                    <a:pt x="168" y="780"/>
                  </a:lnTo>
                  <a:lnTo>
                    <a:pt x="162" y="780"/>
                  </a:lnTo>
                  <a:lnTo>
                    <a:pt x="168" y="774"/>
                  </a:lnTo>
                  <a:lnTo>
                    <a:pt x="168" y="768"/>
                  </a:lnTo>
                  <a:lnTo>
                    <a:pt x="174" y="768"/>
                  </a:lnTo>
                  <a:lnTo>
                    <a:pt x="168" y="768"/>
                  </a:lnTo>
                  <a:lnTo>
                    <a:pt x="162" y="774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50" y="774"/>
                  </a:lnTo>
                  <a:lnTo>
                    <a:pt x="144" y="774"/>
                  </a:lnTo>
                  <a:lnTo>
                    <a:pt x="144" y="768"/>
                  </a:lnTo>
                  <a:lnTo>
                    <a:pt x="144" y="762"/>
                  </a:lnTo>
                  <a:lnTo>
                    <a:pt x="138" y="756"/>
                  </a:lnTo>
                  <a:lnTo>
                    <a:pt x="132" y="756"/>
                  </a:lnTo>
                  <a:lnTo>
                    <a:pt x="138" y="756"/>
                  </a:lnTo>
                  <a:lnTo>
                    <a:pt x="138" y="762"/>
                  </a:lnTo>
                  <a:lnTo>
                    <a:pt x="138" y="768"/>
                  </a:lnTo>
                  <a:lnTo>
                    <a:pt x="144" y="768"/>
                  </a:lnTo>
                  <a:lnTo>
                    <a:pt x="144" y="774"/>
                  </a:lnTo>
                  <a:lnTo>
                    <a:pt x="150" y="780"/>
                  </a:lnTo>
                  <a:lnTo>
                    <a:pt x="156" y="780"/>
                  </a:lnTo>
                  <a:lnTo>
                    <a:pt x="156" y="786"/>
                  </a:lnTo>
                  <a:lnTo>
                    <a:pt x="162" y="786"/>
                  </a:lnTo>
                  <a:lnTo>
                    <a:pt x="168" y="792"/>
                  </a:lnTo>
                  <a:lnTo>
                    <a:pt x="168" y="798"/>
                  </a:lnTo>
                  <a:lnTo>
                    <a:pt x="168" y="804"/>
                  </a:lnTo>
                  <a:lnTo>
                    <a:pt x="174" y="810"/>
                  </a:lnTo>
                  <a:lnTo>
                    <a:pt x="174" y="816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68" y="828"/>
                  </a:lnTo>
                  <a:lnTo>
                    <a:pt x="168" y="834"/>
                  </a:lnTo>
                  <a:lnTo>
                    <a:pt x="174" y="840"/>
                  </a:lnTo>
                  <a:lnTo>
                    <a:pt x="180" y="840"/>
                  </a:lnTo>
                  <a:lnTo>
                    <a:pt x="180" y="846"/>
                  </a:lnTo>
                  <a:lnTo>
                    <a:pt x="186" y="846"/>
                  </a:lnTo>
                  <a:lnTo>
                    <a:pt x="186" y="852"/>
                  </a:lnTo>
                  <a:lnTo>
                    <a:pt x="186" y="858"/>
                  </a:lnTo>
                  <a:lnTo>
                    <a:pt x="186" y="864"/>
                  </a:lnTo>
                  <a:lnTo>
                    <a:pt x="192" y="864"/>
                  </a:lnTo>
                  <a:lnTo>
                    <a:pt x="192" y="870"/>
                  </a:lnTo>
                  <a:lnTo>
                    <a:pt x="192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6" y="888"/>
                  </a:lnTo>
                  <a:lnTo>
                    <a:pt x="180" y="888"/>
                  </a:lnTo>
                  <a:lnTo>
                    <a:pt x="174" y="888"/>
                  </a:lnTo>
                  <a:lnTo>
                    <a:pt x="168" y="894"/>
                  </a:lnTo>
                  <a:lnTo>
                    <a:pt x="162" y="894"/>
                  </a:lnTo>
                  <a:lnTo>
                    <a:pt x="156" y="894"/>
                  </a:lnTo>
                  <a:lnTo>
                    <a:pt x="150" y="894"/>
                  </a:lnTo>
                  <a:lnTo>
                    <a:pt x="144" y="894"/>
                  </a:lnTo>
                  <a:lnTo>
                    <a:pt x="144" y="900"/>
                  </a:lnTo>
                  <a:lnTo>
                    <a:pt x="138" y="894"/>
                  </a:lnTo>
                  <a:lnTo>
                    <a:pt x="138" y="900"/>
                  </a:lnTo>
                  <a:lnTo>
                    <a:pt x="132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6" y="882"/>
                  </a:lnTo>
                  <a:lnTo>
                    <a:pt x="126" y="876"/>
                  </a:lnTo>
                  <a:lnTo>
                    <a:pt x="120" y="876"/>
                  </a:lnTo>
                  <a:lnTo>
                    <a:pt x="126" y="870"/>
                  </a:lnTo>
                  <a:lnTo>
                    <a:pt x="126" y="864"/>
                  </a:lnTo>
                  <a:lnTo>
                    <a:pt x="126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26" y="828"/>
                  </a:lnTo>
                  <a:lnTo>
                    <a:pt x="126" y="822"/>
                  </a:lnTo>
                  <a:lnTo>
                    <a:pt x="126" y="816"/>
                  </a:lnTo>
                  <a:lnTo>
                    <a:pt x="126" y="810"/>
                  </a:lnTo>
                  <a:lnTo>
                    <a:pt x="126" y="804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20" y="792"/>
                  </a:lnTo>
                  <a:lnTo>
                    <a:pt x="114" y="792"/>
                  </a:lnTo>
                  <a:lnTo>
                    <a:pt x="114" y="786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96" y="780"/>
                  </a:lnTo>
                  <a:lnTo>
                    <a:pt x="96" y="774"/>
                  </a:lnTo>
                  <a:lnTo>
                    <a:pt x="90" y="774"/>
                  </a:lnTo>
                  <a:lnTo>
                    <a:pt x="90" y="768"/>
                  </a:lnTo>
                  <a:close/>
                  <a:moveTo>
                    <a:pt x="96" y="780"/>
                  </a:moveTo>
                  <a:lnTo>
                    <a:pt x="102" y="780"/>
                  </a:lnTo>
                  <a:lnTo>
                    <a:pt x="102" y="786"/>
                  </a:lnTo>
                  <a:lnTo>
                    <a:pt x="108" y="786"/>
                  </a:lnTo>
                  <a:lnTo>
                    <a:pt x="114" y="792"/>
                  </a:lnTo>
                  <a:lnTo>
                    <a:pt x="120" y="798"/>
                  </a:lnTo>
                  <a:lnTo>
                    <a:pt x="120" y="804"/>
                  </a:lnTo>
                  <a:lnTo>
                    <a:pt x="126" y="810"/>
                  </a:lnTo>
                  <a:lnTo>
                    <a:pt x="126" y="816"/>
                  </a:lnTo>
                  <a:lnTo>
                    <a:pt x="126" y="822"/>
                  </a:lnTo>
                  <a:lnTo>
                    <a:pt x="120" y="828"/>
                  </a:lnTo>
                  <a:lnTo>
                    <a:pt x="120" y="840"/>
                  </a:lnTo>
                  <a:lnTo>
                    <a:pt x="120" y="852"/>
                  </a:lnTo>
                  <a:lnTo>
                    <a:pt x="120" y="858"/>
                  </a:lnTo>
                  <a:lnTo>
                    <a:pt x="120" y="864"/>
                  </a:lnTo>
                  <a:lnTo>
                    <a:pt x="120" y="870"/>
                  </a:lnTo>
                  <a:lnTo>
                    <a:pt x="114" y="870"/>
                  </a:lnTo>
                  <a:lnTo>
                    <a:pt x="108" y="870"/>
                  </a:lnTo>
                  <a:lnTo>
                    <a:pt x="108" y="876"/>
                  </a:lnTo>
                  <a:lnTo>
                    <a:pt x="114" y="876"/>
                  </a:lnTo>
                  <a:lnTo>
                    <a:pt x="120" y="876"/>
                  </a:lnTo>
                  <a:lnTo>
                    <a:pt x="120" y="882"/>
                  </a:lnTo>
                  <a:lnTo>
                    <a:pt x="114" y="888"/>
                  </a:lnTo>
                  <a:lnTo>
                    <a:pt x="120" y="888"/>
                  </a:lnTo>
                  <a:lnTo>
                    <a:pt x="120" y="894"/>
                  </a:lnTo>
                  <a:lnTo>
                    <a:pt x="114" y="894"/>
                  </a:lnTo>
                  <a:lnTo>
                    <a:pt x="108" y="894"/>
                  </a:lnTo>
                  <a:lnTo>
                    <a:pt x="96" y="894"/>
                  </a:lnTo>
                  <a:lnTo>
                    <a:pt x="96" y="882"/>
                  </a:lnTo>
                  <a:lnTo>
                    <a:pt x="96" y="876"/>
                  </a:lnTo>
                  <a:lnTo>
                    <a:pt x="84" y="870"/>
                  </a:lnTo>
                  <a:lnTo>
                    <a:pt x="72" y="864"/>
                  </a:lnTo>
                  <a:lnTo>
                    <a:pt x="72" y="852"/>
                  </a:lnTo>
                  <a:lnTo>
                    <a:pt x="72" y="840"/>
                  </a:lnTo>
                  <a:lnTo>
                    <a:pt x="78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90" y="792"/>
                  </a:lnTo>
                  <a:lnTo>
                    <a:pt x="96" y="780"/>
                  </a:lnTo>
                  <a:close/>
                  <a:moveTo>
                    <a:pt x="492" y="810"/>
                  </a:moveTo>
                  <a:lnTo>
                    <a:pt x="498" y="810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510" y="792"/>
                  </a:lnTo>
                  <a:lnTo>
                    <a:pt x="516" y="786"/>
                  </a:lnTo>
                  <a:lnTo>
                    <a:pt x="522" y="780"/>
                  </a:lnTo>
                  <a:lnTo>
                    <a:pt x="522" y="774"/>
                  </a:lnTo>
                  <a:lnTo>
                    <a:pt x="528" y="768"/>
                  </a:lnTo>
                  <a:lnTo>
                    <a:pt x="528" y="762"/>
                  </a:lnTo>
                  <a:lnTo>
                    <a:pt x="534" y="762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46" y="780"/>
                  </a:lnTo>
                  <a:lnTo>
                    <a:pt x="552" y="786"/>
                  </a:lnTo>
                  <a:lnTo>
                    <a:pt x="558" y="786"/>
                  </a:lnTo>
                  <a:lnTo>
                    <a:pt x="564" y="786"/>
                  </a:lnTo>
                  <a:lnTo>
                    <a:pt x="576" y="786"/>
                  </a:lnTo>
                  <a:lnTo>
                    <a:pt x="582" y="786"/>
                  </a:lnTo>
                  <a:lnTo>
                    <a:pt x="588" y="786"/>
                  </a:lnTo>
                  <a:lnTo>
                    <a:pt x="594" y="786"/>
                  </a:lnTo>
                  <a:lnTo>
                    <a:pt x="588" y="792"/>
                  </a:lnTo>
                  <a:lnTo>
                    <a:pt x="588" y="798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82" y="822"/>
                  </a:lnTo>
                  <a:lnTo>
                    <a:pt x="588" y="828"/>
                  </a:lnTo>
                  <a:lnTo>
                    <a:pt x="588" y="834"/>
                  </a:lnTo>
                  <a:lnTo>
                    <a:pt x="582" y="840"/>
                  </a:lnTo>
                  <a:lnTo>
                    <a:pt x="570" y="840"/>
                  </a:lnTo>
                  <a:lnTo>
                    <a:pt x="558" y="846"/>
                  </a:lnTo>
                  <a:lnTo>
                    <a:pt x="552" y="846"/>
                  </a:lnTo>
                  <a:lnTo>
                    <a:pt x="534" y="852"/>
                  </a:lnTo>
                  <a:lnTo>
                    <a:pt x="522" y="858"/>
                  </a:lnTo>
                  <a:lnTo>
                    <a:pt x="510" y="858"/>
                  </a:lnTo>
                  <a:lnTo>
                    <a:pt x="498" y="864"/>
                  </a:lnTo>
                  <a:lnTo>
                    <a:pt x="474" y="864"/>
                  </a:lnTo>
                  <a:lnTo>
                    <a:pt x="468" y="858"/>
                  </a:lnTo>
                  <a:lnTo>
                    <a:pt x="468" y="852"/>
                  </a:lnTo>
                  <a:lnTo>
                    <a:pt x="468" y="846"/>
                  </a:lnTo>
                  <a:lnTo>
                    <a:pt x="474" y="840"/>
                  </a:lnTo>
                  <a:lnTo>
                    <a:pt x="474" y="834"/>
                  </a:lnTo>
                  <a:lnTo>
                    <a:pt x="480" y="828"/>
                  </a:lnTo>
                  <a:lnTo>
                    <a:pt x="492" y="822"/>
                  </a:lnTo>
                  <a:lnTo>
                    <a:pt x="492" y="810"/>
                  </a:lnTo>
                  <a:close/>
                  <a:moveTo>
                    <a:pt x="384" y="720"/>
                  </a:moveTo>
                  <a:lnTo>
                    <a:pt x="384" y="726"/>
                  </a:lnTo>
                  <a:lnTo>
                    <a:pt x="390" y="726"/>
                  </a:lnTo>
                  <a:lnTo>
                    <a:pt x="396" y="726"/>
                  </a:lnTo>
                  <a:lnTo>
                    <a:pt x="402" y="732"/>
                  </a:lnTo>
                  <a:lnTo>
                    <a:pt x="408" y="732"/>
                  </a:lnTo>
                  <a:lnTo>
                    <a:pt x="414" y="732"/>
                  </a:lnTo>
                  <a:lnTo>
                    <a:pt x="414" y="738"/>
                  </a:lnTo>
                  <a:lnTo>
                    <a:pt x="414" y="744"/>
                  </a:lnTo>
                  <a:lnTo>
                    <a:pt x="414" y="750"/>
                  </a:lnTo>
                  <a:lnTo>
                    <a:pt x="414" y="756"/>
                  </a:lnTo>
                  <a:lnTo>
                    <a:pt x="414" y="762"/>
                  </a:lnTo>
                  <a:lnTo>
                    <a:pt x="420" y="768"/>
                  </a:lnTo>
                  <a:lnTo>
                    <a:pt x="420" y="774"/>
                  </a:lnTo>
                  <a:lnTo>
                    <a:pt x="426" y="780"/>
                  </a:lnTo>
                  <a:lnTo>
                    <a:pt x="426" y="786"/>
                  </a:lnTo>
                  <a:lnTo>
                    <a:pt x="420" y="786"/>
                  </a:lnTo>
                  <a:lnTo>
                    <a:pt x="420" y="792"/>
                  </a:lnTo>
                  <a:lnTo>
                    <a:pt x="420" y="798"/>
                  </a:lnTo>
                  <a:lnTo>
                    <a:pt x="420" y="804"/>
                  </a:lnTo>
                  <a:lnTo>
                    <a:pt x="426" y="804"/>
                  </a:lnTo>
                  <a:lnTo>
                    <a:pt x="426" y="810"/>
                  </a:lnTo>
                  <a:lnTo>
                    <a:pt x="426" y="816"/>
                  </a:lnTo>
                  <a:lnTo>
                    <a:pt x="432" y="816"/>
                  </a:lnTo>
                  <a:lnTo>
                    <a:pt x="438" y="816"/>
                  </a:lnTo>
                  <a:lnTo>
                    <a:pt x="438" y="822"/>
                  </a:lnTo>
                  <a:lnTo>
                    <a:pt x="432" y="822"/>
                  </a:lnTo>
                  <a:lnTo>
                    <a:pt x="426" y="828"/>
                  </a:lnTo>
                  <a:lnTo>
                    <a:pt x="420" y="828"/>
                  </a:lnTo>
                  <a:lnTo>
                    <a:pt x="414" y="828"/>
                  </a:lnTo>
                  <a:lnTo>
                    <a:pt x="408" y="828"/>
                  </a:lnTo>
                  <a:lnTo>
                    <a:pt x="402" y="828"/>
                  </a:lnTo>
                  <a:lnTo>
                    <a:pt x="402" y="822"/>
                  </a:lnTo>
                  <a:lnTo>
                    <a:pt x="396" y="822"/>
                  </a:lnTo>
                  <a:lnTo>
                    <a:pt x="402" y="822"/>
                  </a:lnTo>
                  <a:lnTo>
                    <a:pt x="402" y="816"/>
                  </a:lnTo>
                  <a:lnTo>
                    <a:pt x="396" y="816"/>
                  </a:lnTo>
                  <a:lnTo>
                    <a:pt x="396" y="810"/>
                  </a:lnTo>
                  <a:lnTo>
                    <a:pt x="396" y="804"/>
                  </a:lnTo>
                  <a:lnTo>
                    <a:pt x="390" y="798"/>
                  </a:lnTo>
                  <a:lnTo>
                    <a:pt x="390" y="792"/>
                  </a:lnTo>
                  <a:lnTo>
                    <a:pt x="390" y="786"/>
                  </a:lnTo>
                  <a:lnTo>
                    <a:pt x="390" y="780"/>
                  </a:lnTo>
                  <a:lnTo>
                    <a:pt x="390" y="774"/>
                  </a:lnTo>
                  <a:lnTo>
                    <a:pt x="390" y="768"/>
                  </a:lnTo>
                  <a:lnTo>
                    <a:pt x="390" y="762"/>
                  </a:lnTo>
                  <a:lnTo>
                    <a:pt x="384" y="756"/>
                  </a:lnTo>
                  <a:lnTo>
                    <a:pt x="384" y="750"/>
                  </a:lnTo>
                  <a:lnTo>
                    <a:pt x="384" y="744"/>
                  </a:lnTo>
                  <a:lnTo>
                    <a:pt x="378" y="744"/>
                  </a:lnTo>
                  <a:lnTo>
                    <a:pt x="384" y="744"/>
                  </a:lnTo>
                  <a:lnTo>
                    <a:pt x="384" y="738"/>
                  </a:lnTo>
                  <a:lnTo>
                    <a:pt x="378" y="738"/>
                  </a:lnTo>
                  <a:lnTo>
                    <a:pt x="378" y="732"/>
                  </a:lnTo>
                  <a:lnTo>
                    <a:pt x="378" y="726"/>
                  </a:lnTo>
                  <a:lnTo>
                    <a:pt x="378" y="720"/>
                  </a:lnTo>
                  <a:lnTo>
                    <a:pt x="384" y="720"/>
                  </a:lnTo>
                  <a:close/>
                  <a:moveTo>
                    <a:pt x="330" y="738"/>
                  </a:moveTo>
                  <a:lnTo>
                    <a:pt x="336" y="732"/>
                  </a:lnTo>
                  <a:lnTo>
                    <a:pt x="336" y="726"/>
                  </a:lnTo>
                  <a:lnTo>
                    <a:pt x="342" y="720"/>
                  </a:lnTo>
                  <a:lnTo>
                    <a:pt x="348" y="720"/>
                  </a:lnTo>
                  <a:lnTo>
                    <a:pt x="360" y="720"/>
                  </a:lnTo>
                  <a:lnTo>
                    <a:pt x="366" y="726"/>
                  </a:lnTo>
                  <a:lnTo>
                    <a:pt x="372" y="732"/>
                  </a:lnTo>
                  <a:lnTo>
                    <a:pt x="372" y="738"/>
                  </a:lnTo>
                  <a:lnTo>
                    <a:pt x="366" y="750"/>
                  </a:lnTo>
                  <a:lnTo>
                    <a:pt x="372" y="756"/>
                  </a:lnTo>
                  <a:lnTo>
                    <a:pt x="372" y="762"/>
                  </a:lnTo>
                  <a:lnTo>
                    <a:pt x="372" y="768"/>
                  </a:lnTo>
                  <a:lnTo>
                    <a:pt x="372" y="774"/>
                  </a:lnTo>
                  <a:lnTo>
                    <a:pt x="372" y="780"/>
                  </a:lnTo>
                  <a:lnTo>
                    <a:pt x="372" y="774"/>
                  </a:lnTo>
                  <a:lnTo>
                    <a:pt x="366" y="768"/>
                  </a:lnTo>
                  <a:lnTo>
                    <a:pt x="366" y="762"/>
                  </a:lnTo>
                  <a:lnTo>
                    <a:pt x="366" y="756"/>
                  </a:lnTo>
                  <a:lnTo>
                    <a:pt x="360" y="756"/>
                  </a:lnTo>
                  <a:lnTo>
                    <a:pt x="360" y="750"/>
                  </a:lnTo>
                  <a:lnTo>
                    <a:pt x="354" y="750"/>
                  </a:lnTo>
                  <a:lnTo>
                    <a:pt x="348" y="744"/>
                  </a:lnTo>
                  <a:lnTo>
                    <a:pt x="342" y="744"/>
                  </a:lnTo>
                  <a:lnTo>
                    <a:pt x="336" y="744"/>
                  </a:lnTo>
                  <a:lnTo>
                    <a:pt x="330" y="73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1" name="Freeform 6">
              <a:extLst>
                <a:ext uri="{FF2B5EF4-FFF2-40B4-BE49-F238E27FC236}">
                  <a16:creationId xmlns:a16="http://schemas.microsoft.com/office/drawing/2014/main" id="{0656C385-F30A-4AC8-AE9F-B1F66208B38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3123" y="4163918"/>
              <a:ext cx="266107" cy="248252"/>
            </a:xfrm>
            <a:custGeom>
              <a:avLst/>
              <a:gdLst>
                <a:gd name="T0" fmla="*/ 33 w 504"/>
                <a:gd name="T1" fmla="*/ 41 h 468"/>
                <a:gd name="T2" fmla="*/ 26 w 504"/>
                <a:gd name="T3" fmla="*/ 39 h 468"/>
                <a:gd name="T4" fmla="*/ 21 w 504"/>
                <a:gd name="T5" fmla="*/ 38 h 468"/>
                <a:gd name="T6" fmla="*/ 18 w 504"/>
                <a:gd name="T7" fmla="*/ 38 h 468"/>
                <a:gd name="T8" fmla="*/ 15 w 504"/>
                <a:gd name="T9" fmla="*/ 39 h 468"/>
                <a:gd name="T10" fmla="*/ 12 w 504"/>
                <a:gd name="T11" fmla="*/ 38 h 468"/>
                <a:gd name="T12" fmla="*/ 9 w 504"/>
                <a:gd name="T13" fmla="*/ 37 h 468"/>
                <a:gd name="T14" fmla="*/ 7 w 504"/>
                <a:gd name="T15" fmla="*/ 32 h 468"/>
                <a:gd name="T16" fmla="*/ 6 w 504"/>
                <a:gd name="T17" fmla="*/ 26 h 468"/>
                <a:gd name="T18" fmla="*/ 3 w 504"/>
                <a:gd name="T19" fmla="*/ 24 h 468"/>
                <a:gd name="T20" fmla="*/ 1 w 504"/>
                <a:gd name="T21" fmla="*/ 24 h 468"/>
                <a:gd name="T22" fmla="*/ 2 w 504"/>
                <a:gd name="T23" fmla="*/ 18 h 468"/>
                <a:gd name="T24" fmla="*/ 1 w 504"/>
                <a:gd name="T25" fmla="*/ 17 h 468"/>
                <a:gd name="T26" fmla="*/ 0 w 504"/>
                <a:gd name="T27" fmla="*/ 17 h 468"/>
                <a:gd name="T28" fmla="*/ 0 w 504"/>
                <a:gd name="T29" fmla="*/ 15 h 468"/>
                <a:gd name="T30" fmla="*/ 2 w 504"/>
                <a:gd name="T31" fmla="*/ 12 h 468"/>
                <a:gd name="T32" fmla="*/ 4 w 504"/>
                <a:gd name="T33" fmla="*/ 10 h 468"/>
                <a:gd name="T34" fmla="*/ 6 w 504"/>
                <a:gd name="T35" fmla="*/ 8 h 468"/>
                <a:gd name="T36" fmla="*/ 8 w 504"/>
                <a:gd name="T37" fmla="*/ 8 h 468"/>
                <a:gd name="T38" fmla="*/ 10 w 504"/>
                <a:gd name="T39" fmla="*/ 9 h 468"/>
                <a:gd name="T40" fmla="*/ 12 w 504"/>
                <a:gd name="T41" fmla="*/ 10 h 468"/>
                <a:gd name="T42" fmla="*/ 12 w 504"/>
                <a:gd name="T43" fmla="*/ 11 h 468"/>
                <a:gd name="T44" fmla="*/ 14 w 504"/>
                <a:gd name="T45" fmla="*/ 8 h 468"/>
                <a:gd name="T46" fmla="*/ 15 w 504"/>
                <a:gd name="T47" fmla="*/ 7 h 468"/>
                <a:gd name="T48" fmla="*/ 17 w 504"/>
                <a:gd name="T49" fmla="*/ 6 h 468"/>
                <a:gd name="T50" fmla="*/ 19 w 504"/>
                <a:gd name="T51" fmla="*/ 3 h 468"/>
                <a:gd name="T52" fmla="*/ 20 w 504"/>
                <a:gd name="T53" fmla="*/ 2 h 468"/>
                <a:gd name="T54" fmla="*/ 22 w 504"/>
                <a:gd name="T55" fmla="*/ 1 h 468"/>
                <a:gd name="T56" fmla="*/ 27 w 504"/>
                <a:gd name="T57" fmla="*/ 1 h 468"/>
                <a:gd name="T58" fmla="*/ 30 w 504"/>
                <a:gd name="T59" fmla="*/ 2 h 468"/>
                <a:gd name="T60" fmla="*/ 31 w 504"/>
                <a:gd name="T61" fmla="*/ 2 h 468"/>
                <a:gd name="T62" fmla="*/ 34 w 504"/>
                <a:gd name="T63" fmla="*/ 0 h 468"/>
                <a:gd name="T64" fmla="*/ 37 w 504"/>
                <a:gd name="T65" fmla="*/ 1 h 468"/>
                <a:gd name="T66" fmla="*/ 41 w 504"/>
                <a:gd name="T67" fmla="*/ 2 h 468"/>
                <a:gd name="T68" fmla="*/ 42 w 504"/>
                <a:gd name="T69" fmla="*/ 4 h 468"/>
                <a:gd name="T70" fmla="*/ 42 w 504"/>
                <a:gd name="T71" fmla="*/ 10 h 468"/>
                <a:gd name="T72" fmla="*/ 41 w 504"/>
                <a:gd name="T73" fmla="*/ 14 h 468"/>
                <a:gd name="T74" fmla="*/ 42 w 504"/>
                <a:gd name="T75" fmla="*/ 15 h 468"/>
                <a:gd name="T76" fmla="*/ 44 w 504"/>
                <a:gd name="T77" fmla="*/ 18 h 468"/>
                <a:gd name="T78" fmla="*/ 43 w 504"/>
                <a:gd name="T79" fmla="*/ 19 h 468"/>
                <a:gd name="T80" fmla="*/ 42 w 504"/>
                <a:gd name="T81" fmla="*/ 21 h 468"/>
                <a:gd name="T82" fmla="*/ 42 w 504"/>
                <a:gd name="T83" fmla="*/ 23 h 468"/>
                <a:gd name="T84" fmla="*/ 39 w 504"/>
                <a:gd name="T85" fmla="*/ 27 h 468"/>
                <a:gd name="T86" fmla="*/ 38 w 504"/>
                <a:gd name="T87" fmla="*/ 29 h 468"/>
                <a:gd name="T88" fmla="*/ 38 w 504"/>
                <a:gd name="T89" fmla="*/ 31 h 468"/>
                <a:gd name="T90" fmla="*/ 36 w 504"/>
                <a:gd name="T91" fmla="*/ 32 h 468"/>
                <a:gd name="T92" fmla="*/ 35 w 504"/>
                <a:gd name="T93" fmla="*/ 34 h 468"/>
                <a:gd name="T94" fmla="*/ 34 w 504"/>
                <a:gd name="T95" fmla="*/ 38 h 46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04"/>
                <a:gd name="T145" fmla="*/ 0 h 468"/>
                <a:gd name="T146" fmla="*/ 504 w 504"/>
                <a:gd name="T147" fmla="*/ 468 h 46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04" h="468">
                  <a:moveTo>
                    <a:pt x="390" y="456"/>
                  </a:moveTo>
                  <a:lnTo>
                    <a:pt x="384" y="468"/>
                  </a:lnTo>
                  <a:lnTo>
                    <a:pt x="378" y="468"/>
                  </a:lnTo>
                  <a:lnTo>
                    <a:pt x="354" y="468"/>
                  </a:lnTo>
                  <a:lnTo>
                    <a:pt x="348" y="462"/>
                  </a:lnTo>
                  <a:lnTo>
                    <a:pt x="300" y="456"/>
                  </a:lnTo>
                  <a:lnTo>
                    <a:pt x="270" y="444"/>
                  </a:lnTo>
                  <a:lnTo>
                    <a:pt x="252" y="438"/>
                  </a:lnTo>
                  <a:lnTo>
                    <a:pt x="240" y="438"/>
                  </a:lnTo>
                  <a:lnTo>
                    <a:pt x="234" y="438"/>
                  </a:lnTo>
                  <a:lnTo>
                    <a:pt x="228" y="444"/>
                  </a:lnTo>
                  <a:lnTo>
                    <a:pt x="210" y="444"/>
                  </a:lnTo>
                  <a:lnTo>
                    <a:pt x="198" y="444"/>
                  </a:lnTo>
                  <a:lnTo>
                    <a:pt x="198" y="450"/>
                  </a:lnTo>
                  <a:lnTo>
                    <a:pt x="168" y="456"/>
                  </a:lnTo>
                  <a:lnTo>
                    <a:pt x="150" y="450"/>
                  </a:lnTo>
                  <a:lnTo>
                    <a:pt x="144" y="444"/>
                  </a:lnTo>
                  <a:lnTo>
                    <a:pt x="132" y="438"/>
                  </a:lnTo>
                  <a:lnTo>
                    <a:pt x="138" y="432"/>
                  </a:lnTo>
                  <a:lnTo>
                    <a:pt x="114" y="432"/>
                  </a:lnTo>
                  <a:lnTo>
                    <a:pt x="102" y="426"/>
                  </a:lnTo>
                  <a:lnTo>
                    <a:pt x="90" y="414"/>
                  </a:lnTo>
                  <a:lnTo>
                    <a:pt x="72" y="402"/>
                  </a:lnTo>
                  <a:lnTo>
                    <a:pt x="78" y="366"/>
                  </a:lnTo>
                  <a:lnTo>
                    <a:pt x="78" y="330"/>
                  </a:lnTo>
                  <a:lnTo>
                    <a:pt x="66" y="318"/>
                  </a:lnTo>
                  <a:lnTo>
                    <a:pt x="66" y="300"/>
                  </a:lnTo>
                  <a:lnTo>
                    <a:pt x="66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30" y="282"/>
                  </a:lnTo>
                  <a:lnTo>
                    <a:pt x="24" y="282"/>
                  </a:lnTo>
                  <a:lnTo>
                    <a:pt x="12" y="276"/>
                  </a:lnTo>
                  <a:lnTo>
                    <a:pt x="0" y="282"/>
                  </a:lnTo>
                  <a:lnTo>
                    <a:pt x="12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2" y="198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6" y="180"/>
                  </a:lnTo>
                  <a:lnTo>
                    <a:pt x="12" y="186"/>
                  </a:lnTo>
                  <a:lnTo>
                    <a:pt x="18" y="138"/>
                  </a:lnTo>
                  <a:lnTo>
                    <a:pt x="24" y="126"/>
                  </a:lnTo>
                  <a:lnTo>
                    <a:pt x="30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20" y="102"/>
                  </a:lnTo>
                  <a:lnTo>
                    <a:pt x="126" y="108"/>
                  </a:lnTo>
                  <a:lnTo>
                    <a:pt x="126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0"/>
                  </a:lnTo>
                  <a:lnTo>
                    <a:pt x="156" y="96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16" y="42"/>
                  </a:lnTo>
                  <a:lnTo>
                    <a:pt x="222" y="36"/>
                  </a:lnTo>
                  <a:lnTo>
                    <a:pt x="228" y="36"/>
                  </a:lnTo>
                  <a:lnTo>
                    <a:pt x="228" y="30"/>
                  </a:lnTo>
                  <a:lnTo>
                    <a:pt x="228" y="24"/>
                  </a:lnTo>
                  <a:lnTo>
                    <a:pt x="246" y="18"/>
                  </a:lnTo>
                  <a:lnTo>
                    <a:pt x="252" y="18"/>
                  </a:lnTo>
                  <a:lnTo>
                    <a:pt x="258" y="12"/>
                  </a:lnTo>
                  <a:lnTo>
                    <a:pt x="270" y="6"/>
                  </a:lnTo>
                  <a:lnTo>
                    <a:pt x="288" y="6"/>
                  </a:lnTo>
                  <a:lnTo>
                    <a:pt x="312" y="12"/>
                  </a:lnTo>
                  <a:lnTo>
                    <a:pt x="324" y="12"/>
                  </a:lnTo>
                  <a:lnTo>
                    <a:pt x="336" y="18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14" y="12"/>
                  </a:lnTo>
                  <a:lnTo>
                    <a:pt x="426" y="12"/>
                  </a:lnTo>
                  <a:lnTo>
                    <a:pt x="444" y="18"/>
                  </a:lnTo>
                  <a:lnTo>
                    <a:pt x="462" y="18"/>
                  </a:lnTo>
                  <a:lnTo>
                    <a:pt x="474" y="18"/>
                  </a:lnTo>
                  <a:lnTo>
                    <a:pt x="480" y="18"/>
                  </a:lnTo>
                  <a:lnTo>
                    <a:pt x="486" y="36"/>
                  </a:lnTo>
                  <a:lnTo>
                    <a:pt x="480" y="42"/>
                  </a:lnTo>
                  <a:lnTo>
                    <a:pt x="480" y="54"/>
                  </a:lnTo>
                  <a:lnTo>
                    <a:pt x="486" y="78"/>
                  </a:lnTo>
                  <a:lnTo>
                    <a:pt x="486" y="114"/>
                  </a:lnTo>
                  <a:lnTo>
                    <a:pt x="486" y="150"/>
                  </a:lnTo>
                  <a:lnTo>
                    <a:pt x="468" y="150"/>
                  </a:lnTo>
                  <a:lnTo>
                    <a:pt x="474" y="162"/>
                  </a:lnTo>
                  <a:lnTo>
                    <a:pt x="480" y="162"/>
                  </a:lnTo>
                  <a:lnTo>
                    <a:pt x="486" y="174"/>
                  </a:lnTo>
                  <a:lnTo>
                    <a:pt x="492" y="174"/>
                  </a:lnTo>
                  <a:lnTo>
                    <a:pt x="492" y="192"/>
                  </a:lnTo>
                  <a:lnTo>
                    <a:pt x="498" y="198"/>
                  </a:lnTo>
                  <a:lnTo>
                    <a:pt x="504" y="204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8" y="222"/>
                  </a:lnTo>
                  <a:lnTo>
                    <a:pt x="492" y="228"/>
                  </a:lnTo>
                  <a:lnTo>
                    <a:pt x="492" y="234"/>
                  </a:lnTo>
                  <a:lnTo>
                    <a:pt x="492" y="240"/>
                  </a:lnTo>
                  <a:lnTo>
                    <a:pt x="486" y="246"/>
                  </a:lnTo>
                  <a:lnTo>
                    <a:pt x="486" y="258"/>
                  </a:lnTo>
                  <a:lnTo>
                    <a:pt x="480" y="264"/>
                  </a:lnTo>
                  <a:lnTo>
                    <a:pt x="474" y="276"/>
                  </a:lnTo>
                  <a:lnTo>
                    <a:pt x="468" y="288"/>
                  </a:lnTo>
                  <a:lnTo>
                    <a:pt x="456" y="306"/>
                  </a:lnTo>
                  <a:lnTo>
                    <a:pt x="456" y="312"/>
                  </a:lnTo>
                  <a:lnTo>
                    <a:pt x="444" y="318"/>
                  </a:lnTo>
                  <a:lnTo>
                    <a:pt x="432" y="336"/>
                  </a:lnTo>
                  <a:lnTo>
                    <a:pt x="432" y="342"/>
                  </a:lnTo>
                  <a:lnTo>
                    <a:pt x="432" y="348"/>
                  </a:lnTo>
                  <a:lnTo>
                    <a:pt x="432" y="354"/>
                  </a:lnTo>
                  <a:lnTo>
                    <a:pt x="426" y="366"/>
                  </a:lnTo>
                  <a:lnTo>
                    <a:pt x="420" y="366"/>
                  </a:lnTo>
                  <a:lnTo>
                    <a:pt x="420" y="372"/>
                  </a:lnTo>
                  <a:lnTo>
                    <a:pt x="414" y="378"/>
                  </a:lnTo>
                  <a:lnTo>
                    <a:pt x="414" y="390"/>
                  </a:lnTo>
                  <a:lnTo>
                    <a:pt x="408" y="390"/>
                  </a:lnTo>
                  <a:lnTo>
                    <a:pt x="408" y="402"/>
                  </a:lnTo>
                  <a:lnTo>
                    <a:pt x="402" y="414"/>
                  </a:lnTo>
                  <a:lnTo>
                    <a:pt x="396" y="438"/>
                  </a:lnTo>
                  <a:lnTo>
                    <a:pt x="396" y="444"/>
                  </a:lnTo>
                  <a:lnTo>
                    <a:pt x="390" y="45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11" name="Freeform 7">
              <a:extLst>
                <a:ext uri="{FF2B5EF4-FFF2-40B4-BE49-F238E27FC236}">
                  <a16:creationId xmlns:a16="http://schemas.microsoft.com/office/drawing/2014/main" id="{0D8DE62D-4554-4314-9F3A-7208D89B4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90838" y="4128134"/>
              <a:ext cx="283995" cy="411516"/>
            </a:xfrm>
            <a:custGeom>
              <a:avLst/>
              <a:gdLst>
                <a:gd name="T0" fmla="*/ 39 w 534"/>
                <a:gd name="T1" fmla="*/ 35 h 774"/>
                <a:gd name="T2" fmla="*/ 35 w 534"/>
                <a:gd name="T3" fmla="*/ 31 h 774"/>
                <a:gd name="T4" fmla="*/ 32 w 534"/>
                <a:gd name="T5" fmla="*/ 29 h 774"/>
                <a:gd name="T6" fmla="*/ 32 w 534"/>
                <a:gd name="T7" fmla="*/ 31 h 774"/>
                <a:gd name="T8" fmla="*/ 29 w 534"/>
                <a:gd name="T9" fmla="*/ 33 h 774"/>
                <a:gd name="T10" fmla="*/ 27 w 534"/>
                <a:gd name="T11" fmla="*/ 36 h 774"/>
                <a:gd name="T12" fmla="*/ 30 w 534"/>
                <a:gd name="T13" fmla="*/ 38 h 774"/>
                <a:gd name="T14" fmla="*/ 29 w 534"/>
                <a:gd name="T15" fmla="*/ 40 h 774"/>
                <a:gd name="T16" fmla="*/ 25 w 534"/>
                <a:gd name="T17" fmla="*/ 40 h 774"/>
                <a:gd name="T18" fmla="*/ 23 w 534"/>
                <a:gd name="T19" fmla="*/ 42 h 774"/>
                <a:gd name="T20" fmla="*/ 22 w 534"/>
                <a:gd name="T21" fmla="*/ 47 h 774"/>
                <a:gd name="T22" fmla="*/ 22 w 534"/>
                <a:gd name="T23" fmla="*/ 51 h 774"/>
                <a:gd name="T24" fmla="*/ 22 w 534"/>
                <a:gd name="T25" fmla="*/ 54 h 774"/>
                <a:gd name="T26" fmla="*/ 21 w 534"/>
                <a:gd name="T27" fmla="*/ 56 h 774"/>
                <a:gd name="T28" fmla="*/ 19 w 534"/>
                <a:gd name="T29" fmla="*/ 58 h 774"/>
                <a:gd name="T30" fmla="*/ 20 w 534"/>
                <a:gd name="T31" fmla="*/ 59 h 774"/>
                <a:gd name="T32" fmla="*/ 19 w 534"/>
                <a:gd name="T33" fmla="*/ 62 h 774"/>
                <a:gd name="T34" fmla="*/ 19 w 534"/>
                <a:gd name="T35" fmla="*/ 64 h 774"/>
                <a:gd name="T36" fmla="*/ 20 w 534"/>
                <a:gd name="T37" fmla="*/ 66 h 774"/>
                <a:gd name="T38" fmla="*/ 17 w 534"/>
                <a:gd name="T39" fmla="*/ 66 h 774"/>
                <a:gd name="T40" fmla="*/ 16 w 534"/>
                <a:gd name="T41" fmla="*/ 65 h 774"/>
                <a:gd name="T42" fmla="*/ 13 w 534"/>
                <a:gd name="T43" fmla="*/ 65 h 774"/>
                <a:gd name="T44" fmla="*/ 11 w 534"/>
                <a:gd name="T45" fmla="*/ 65 h 774"/>
                <a:gd name="T46" fmla="*/ 8 w 534"/>
                <a:gd name="T47" fmla="*/ 65 h 774"/>
                <a:gd name="T48" fmla="*/ 8 w 534"/>
                <a:gd name="T49" fmla="*/ 64 h 774"/>
                <a:gd name="T50" fmla="*/ 5 w 534"/>
                <a:gd name="T51" fmla="*/ 65 h 774"/>
                <a:gd name="T52" fmla="*/ 3 w 534"/>
                <a:gd name="T53" fmla="*/ 65 h 774"/>
                <a:gd name="T54" fmla="*/ 0 w 534"/>
                <a:gd name="T55" fmla="*/ 64 h 774"/>
                <a:gd name="T56" fmla="*/ 0 w 534"/>
                <a:gd name="T57" fmla="*/ 62 h 774"/>
                <a:gd name="T58" fmla="*/ 3 w 534"/>
                <a:gd name="T59" fmla="*/ 60 h 774"/>
                <a:gd name="T60" fmla="*/ 6 w 534"/>
                <a:gd name="T61" fmla="*/ 57 h 774"/>
                <a:gd name="T62" fmla="*/ 8 w 534"/>
                <a:gd name="T63" fmla="*/ 50 h 774"/>
                <a:gd name="T64" fmla="*/ 6 w 534"/>
                <a:gd name="T65" fmla="*/ 45 h 774"/>
                <a:gd name="T66" fmla="*/ 8 w 534"/>
                <a:gd name="T67" fmla="*/ 41 h 774"/>
                <a:gd name="T68" fmla="*/ 9 w 534"/>
                <a:gd name="T69" fmla="*/ 38 h 774"/>
                <a:gd name="T70" fmla="*/ 10 w 534"/>
                <a:gd name="T71" fmla="*/ 36 h 774"/>
                <a:gd name="T72" fmla="*/ 12 w 534"/>
                <a:gd name="T73" fmla="*/ 33 h 774"/>
                <a:gd name="T74" fmla="*/ 14 w 534"/>
                <a:gd name="T75" fmla="*/ 29 h 774"/>
                <a:gd name="T76" fmla="*/ 16 w 534"/>
                <a:gd name="T77" fmla="*/ 26 h 774"/>
                <a:gd name="T78" fmla="*/ 16 w 534"/>
                <a:gd name="T79" fmla="*/ 24 h 774"/>
                <a:gd name="T80" fmla="*/ 16 w 534"/>
                <a:gd name="T81" fmla="*/ 21 h 774"/>
                <a:gd name="T82" fmla="*/ 13 w 534"/>
                <a:gd name="T83" fmla="*/ 19 h 774"/>
                <a:gd name="T84" fmla="*/ 14 w 534"/>
                <a:gd name="T85" fmla="*/ 10 h 774"/>
                <a:gd name="T86" fmla="*/ 14 w 534"/>
                <a:gd name="T87" fmla="*/ 7 h 774"/>
                <a:gd name="T88" fmla="*/ 8 w 534"/>
                <a:gd name="T89" fmla="*/ 7 h 774"/>
                <a:gd name="T90" fmla="*/ 7 w 534"/>
                <a:gd name="T91" fmla="*/ 3 h 774"/>
                <a:gd name="T92" fmla="*/ 11 w 534"/>
                <a:gd name="T93" fmla="*/ 1 h 774"/>
                <a:gd name="T94" fmla="*/ 12 w 534"/>
                <a:gd name="T95" fmla="*/ 0 h 774"/>
                <a:gd name="T96" fmla="*/ 16 w 534"/>
                <a:gd name="T97" fmla="*/ 2 h 774"/>
                <a:gd name="T98" fmla="*/ 20 w 534"/>
                <a:gd name="T99" fmla="*/ 2 h 774"/>
                <a:gd name="T100" fmla="*/ 23 w 534"/>
                <a:gd name="T101" fmla="*/ 3 h 774"/>
                <a:gd name="T102" fmla="*/ 23 w 534"/>
                <a:gd name="T103" fmla="*/ 10 h 774"/>
                <a:gd name="T104" fmla="*/ 29 w 534"/>
                <a:gd name="T105" fmla="*/ 12 h 774"/>
                <a:gd name="T106" fmla="*/ 35 w 534"/>
                <a:gd name="T107" fmla="*/ 12 h 774"/>
                <a:gd name="T108" fmla="*/ 38 w 534"/>
                <a:gd name="T109" fmla="*/ 17 h 774"/>
                <a:gd name="T110" fmla="*/ 40 w 534"/>
                <a:gd name="T111" fmla="*/ 19 h 774"/>
                <a:gd name="T112" fmla="*/ 44 w 534"/>
                <a:gd name="T113" fmla="*/ 23 h 774"/>
                <a:gd name="T114" fmla="*/ 44 w 534"/>
                <a:gd name="T115" fmla="*/ 30 h 774"/>
                <a:gd name="T116" fmla="*/ 46 w 534"/>
                <a:gd name="T117" fmla="*/ 36 h 774"/>
                <a:gd name="T118" fmla="*/ 41 w 534"/>
                <a:gd name="T119" fmla="*/ 37 h 77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34"/>
                <a:gd name="T181" fmla="*/ 0 h 774"/>
                <a:gd name="T182" fmla="*/ 534 w 534"/>
                <a:gd name="T183" fmla="*/ 774 h 77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34" h="774">
                  <a:moveTo>
                    <a:pt x="462" y="426"/>
                  </a:moveTo>
                  <a:lnTo>
                    <a:pt x="462" y="414"/>
                  </a:lnTo>
                  <a:lnTo>
                    <a:pt x="450" y="402"/>
                  </a:lnTo>
                  <a:lnTo>
                    <a:pt x="444" y="396"/>
                  </a:lnTo>
                  <a:lnTo>
                    <a:pt x="420" y="396"/>
                  </a:lnTo>
                  <a:lnTo>
                    <a:pt x="408" y="390"/>
                  </a:lnTo>
                  <a:lnTo>
                    <a:pt x="402" y="366"/>
                  </a:lnTo>
                  <a:lnTo>
                    <a:pt x="390" y="354"/>
                  </a:lnTo>
                  <a:lnTo>
                    <a:pt x="384" y="336"/>
                  </a:lnTo>
                  <a:lnTo>
                    <a:pt x="378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8" y="348"/>
                  </a:lnTo>
                  <a:lnTo>
                    <a:pt x="360" y="354"/>
                  </a:lnTo>
                  <a:lnTo>
                    <a:pt x="360" y="390"/>
                  </a:lnTo>
                  <a:lnTo>
                    <a:pt x="348" y="390"/>
                  </a:lnTo>
                  <a:lnTo>
                    <a:pt x="342" y="384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90"/>
                  </a:lnTo>
                  <a:lnTo>
                    <a:pt x="312" y="402"/>
                  </a:lnTo>
                  <a:lnTo>
                    <a:pt x="306" y="420"/>
                  </a:lnTo>
                  <a:lnTo>
                    <a:pt x="324" y="414"/>
                  </a:lnTo>
                  <a:lnTo>
                    <a:pt x="330" y="414"/>
                  </a:lnTo>
                  <a:lnTo>
                    <a:pt x="336" y="420"/>
                  </a:lnTo>
                  <a:lnTo>
                    <a:pt x="336" y="432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6"/>
                  </a:lnTo>
                  <a:lnTo>
                    <a:pt x="318" y="456"/>
                  </a:lnTo>
                  <a:lnTo>
                    <a:pt x="300" y="456"/>
                  </a:lnTo>
                  <a:lnTo>
                    <a:pt x="288" y="462"/>
                  </a:lnTo>
                  <a:lnTo>
                    <a:pt x="276" y="462"/>
                  </a:lnTo>
                  <a:lnTo>
                    <a:pt x="270" y="462"/>
                  </a:lnTo>
                  <a:lnTo>
                    <a:pt x="270" y="468"/>
                  </a:lnTo>
                  <a:lnTo>
                    <a:pt x="252" y="468"/>
                  </a:lnTo>
                  <a:lnTo>
                    <a:pt x="258" y="480"/>
                  </a:lnTo>
                  <a:lnTo>
                    <a:pt x="258" y="492"/>
                  </a:lnTo>
                  <a:lnTo>
                    <a:pt x="258" y="498"/>
                  </a:lnTo>
                  <a:lnTo>
                    <a:pt x="258" y="510"/>
                  </a:lnTo>
                  <a:lnTo>
                    <a:pt x="252" y="540"/>
                  </a:lnTo>
                  <a:lnTo>
                    <a:pt x="246" y="564"/>
                  </a:lnTo>
                  <a:lnTo>
                    <a:pt x="246" y="570"/>
                  </a:lnTo>
                  <a:lnTo>
                    <a:pt x="252" y="576"/>
                  </a:lnTo>
                  <a:lnTo>
                    <a:pt x="246" y="582"/>
                  </a:lnTo>
                  <a:lnTo>
                    <a:pt x="252" y="600"/>
                  </a:lnTo>
                  <a:lnTo>
                    <a:pt x="258" y="606"/>
                  </a:lnTo>
                  <a:lnTo>
                    <a:pt x="258" y="612"/>
                  </a:lnTo>
                  <a:lnTo>
                    <a:pt x="252" y="618"/>
                  </a:lnTo>
                  <a:lnTo>
                    <a:pt x="246" y="624"/>
                  </a:lnTo>
                  <a:lnTo>
                    <a:pt x="246" y="630"/>
                  </a:lnTo>
                  <a:lnTo>
                    <a:pt x="246" y="636"/>
                  </a:lnTo>
                  <a:lnTo>
                    <a:pt x="240" y="642"/>
                  </a:lnTo>
                  <a:lnTo>
                    <a:pt x="234" y="654"/>
                  </a:lnTo>
                  <a:lnTo>
                    <a:pt x="228" y="654"/>
                  </a:lnTo>
                  <a:lnTo>
                    <a:pt x="222" y="660"/>
                  </a:lnTo>
                  <a:lnTo>
                    <a:pt x="216" y="666"/>
                  </a:lnTo>
                  <a:lnTo>
                    <a:pt x="210" y="666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22" y="684"/>
                  </a:lnTo>
                  <a:lnTo>
                    <a:pt x="222" y="690"/>
                  </a:lnTo>
                  <a:lnTo>
                    <a:pt x="222" y="696"/>
                  </a:lnTo>
                  <a:lnTo>
                    <a:pt x="222" y="702"/>
                  </a:lnTo>
                  <a:lnTo>
                    <a:pt x="216" y="708"/>
                  </a:lnTo>
                  <a:lnTo>
                    <a:pt x="210" y="720"/>
                  </a:lnTo>
                  <a:lnTo>
                    <a:pt x="216" y="732"/>
                  </a:lnTo>
                  <a:lnTo>
                    <a:pt x="210" y="732"/>
                  </a:lnTo>
                  <a:lnTo>
                    <a:pt x="216" y="738"/>
                  </a:lnTo>
                  <a:lnTo>
                    <a:pt x="216" y="744"/>
                  </a:lnTo>
                  <a:lnTo>
                    <a:pt x="222" y="750"/>
                  </a:lnTo>
                  <a:lnTo>
                    <a:pt x="228" y="756"/>
                  </a:lnTo>
                  <a:lnTo>
                    <a:pt x="222" y="762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04" y="762"/>
                  </a:lnTo>
                  <a:lnTo>
                    <a:pt x="198" y="762"/>
                  </a:lnTo>
                  <a:lnTo>
                    <a:pt x="192" y="762"/>
                  </a:lnTo>
                  <a:lnTo>
                    <a:pt x="186" y="756"/>
                  </a:lnTo>
                  <a:lnTo>
                    <a:pt x="180" y="750"/>
                  </a:lnTo>
                  <a:lnTo>
                    <a:pt x="180" y="744"/>
                  </a:lnTo>
                  <a:lnTo>
                    <a:pt x="174" y="744"/>
                  </a:lnTo>
                  <a:lnTo>
                    <a:pt x="156" y="750"/>
                  </a:lnTo>
                  <a:lnTo>
                    <a:pt x="150" y="750"/>
                  </a:lnTo>
                  <a:lnTo>
                    <a:pt x="144" y="750"/>
                  </a:lnTo>
                  <a:lnTo>
                    <a:pt x="138" y="750"/>
                  </a:lnTo>
                  <a:lnTo>
                    <a:pt x="138" y="744"/>
                  </a:lnTo>
                  <a:lnTo>
                    <a:pt x="132" y="744"/>
                  </a:lnTo>
                  <a:lnTo>
                    <a:pt x="120" y="744"/>
                  </a:lnTo>
                  <a:lnTo>
                    <a:pt x="114" y="738"/>
                  </a:lnTo>
                  <a:lnTo>
                    <a:pt x="108" y="744"/>
                  </a:lnTo>
                  <a:lnTo>
                    <a:pt x="102" y="744"/>
                  </a:lnTo>
                  <a:lnTo>
                    <a:pt x="96" y="744"/>
                  </a:lnTo>
                  <a:lnTo>
                    <a:pt x="96" y="738"/>
                  </a:lnTo>
                  <a:lnTo>
                    <a:pt x="96" y="744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44"/>
                  </a:lnTo>
                  <a:lnTo>
                    <a:pt x="72" y="750"/>
                  </a:lnTo>
                  <a:lnTo>
                    <a:pt x="66" y="750"/>
                  </a:lnTo>
                  <a:lnTo>
                    <a:pt x="60" y="750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0"/>
                  </a:lnTo>
                  <a:lnTo>
                    <a:pt x="30" y="750"/>
                  </a:lnTo>
                  <a:lnTo>
                    <a:pt x="24" y="744"/>
                  </a:lnTo>
                  <a:lnTo>
                    <a:pt x="18" y="738"/>
                  </a:lnTo>
                  <a:lnTo>
                    <a:pt x="6" y="738"/>
                  </a:lnTo>
                  <a:lnTo>
                    <a:pt x="0" y="732"/>
                  </a:lnTo>
                  <a:lnTo>
                    <a:pt x="0" y="726"/>
                  </a:lnTo>
                  <a:lnTo>
                    <a:pt x="0" y="720"/>
                  </a:lnTo>
                  <a:lnTo>
                    <a:pt x="6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8" y="702"/>
                  </a:lnTo>
                  <a:lnTo>
                    <a:pt x="24" y="696"/>
                  </a:lnTo>
                  <a:lnTo>
                    <a:pt x="30" y="696"/>
                  </a:lnTo>
                  <a:lnTo>
                    <a:pt x="48" y="690"/>
                  </a:lnTo>
                  <a:lnTo>
                    <a:pt x="54" y="678"/>
                  </a:lnTo>
                  <a:lnTo>
                    <a:pt x="66" y="672"/>
                  </a:lnTo>
                  <a:lnTo>
                    <a:pt x="66" y="654"/>
                  </a:lnTo>
                  <a:lnTo>
                    <a:pt x="72" y="636"/>
                  </a:lnTo>
                  <a:lnTo>
                    <a:pt x="72" y="612"/>
                  </a:lnTo>
                  <a:lnTo>
                    <a:pt x="84" y="594"/>
                  </a:lnTo>
                  <a:lnTo>
                    <a:pt x="90" y="576"/>
                  </a:lnTo>
                  <a:lnTo>
                    <a:pt x="96" y="552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72" y="522"/>
                  </a:lnTo>
                  <a:lnTo>
                    <a:pt x="78" y="510"/>
                  </a:lnTo>
                  <a:lnTo>
                    <a:pt x="78" y="504"/>
                  </a:lnTo>
                  <a:lnTo>
                    <a:pt x="84" y="480"/>
                  </a:lnTo>
                  <a:lnTo>
                    <a:pt x="90" y="468"/>
                  </a:lnTo>
                  <a:lnTo>
                    <a:pt x="90" y="456"/>
                  </a:lnTo>
                  <a:lnTo>
                    <a:pt x="96" y="456"/>
                  </a:lnTo>
                  <a:lnTo>
                    <a:pt x="96" y="444"/>
                  </a:lnTo>
                  <a:lnTo>
                    <a:pt x="102" y="438"/>
                  </a:lnTo>
                  <a:lnTo>
                    <a:pt x="102" y="432"/>
                  </a:lnTo>
                  <a:lnTo>
                    <a:pt x="108" y="432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14" y="408"/>
                  </a:lnTo>
                  <a:lnTo>
                    <a:pt x="114" y="402"/>
                  </a:lnTo>
                  <a:lnTo>
                    <a:pt x="126" y="384"/>
                  </a:lnTo>
                  <a:lnTo>
                    <a:pt x="138" y="378"/>
                  </a:lnTo>
                  <a:lnTo>
                    <a:pt x="138" y="372"/>
                  </a:lnTo>
                  <a:lnTo>
                    <a:pt x="150" y="354"/>
                  </a:lnTo>
                  <a:lnTo>
                    <a:pt x="156" y="342"/>
                  </a:lnTo>
                  <a:lnTo>
                    <a:pt x="162" y="330"/>
                  </a:lnTo>
                  <a:lnTo>
                    <a:pt x="168" y="324"/>
                  </a:lnTo>
                  <a:lnTo>
                    <a:pt x="168" y="312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74" y="294"/>
                  </a:lnTo>
                  <a:lnTo>
                    <a:pt x="180" y="288"/>
                  </a:lnTo>
                  <a:lnTo>
                    <a:pt x="180" y="276"/>
                  </a:lnTo>
                  <a:lnTo>
                    <a:pt x="186" y="276"/>
                  </a:lnTo>
                  <a:lnTo>
                    <a:pt x="186" y="270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40"/>
                  </a:lnTo>
                  <a:lnTo>
                    <a:pt x="168" y="240"/>
                  </a:lnTo>
                  <a:lnTo>
                    <a:pt x="162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68" y="216"/>
                  </a:lnTo>
                  <a:lnTo>
                    <a:pt x="168" y="180"/>
                  </a:lnTo>
                  <a:lnTo>
                    <a:pt x="168" y="144"/>
                  </a:lnTo>
                  <a:lnTo>
                    <a:pt x="162" y="120"/>
                  </a:lnTo>
                  <a:lnTo>
                    <a:pt x="162" y="108"/>
                  </a:lnTo>
                  <a:lnTo>
                    <a:pt x="168" y="102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44" y="84"/>
                  </a:lnTo>
                  <a:lnTo>
                    <a:pt x="126" y="84"/>
                  </a:lnTo>
                  <a:lnTo>
                    <a:pt x="108" y="78"/>
                  </a:lnTo>
                  <a:lnTo>
                    <a:pt x="96" y="78"/>
                  </a:lnTo>
                  <a:lnTo>
                    <a:pt x="78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8" y="36"/>
                  </a:lnTo>
                  <a:lnTo>
                    <a:pt x="96" y="24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56" y="0"/>
                  </a:lnTo>
                  <a:lnTo>
                    <a:pt x="156" y="6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18"/>
                  </a:lnTo>
                  <a:lnTo>
                    <a:pt x="198" y="18"/>
                  </a:lnTo>
                  <a:lnTo>
                    <a:pt x="210" y="18"/>
                  </a:lnTo>
                  <a:lnTo>
                    <a:pt x="222" y="18"/>
                  </a:lnTo>
                  <a:lnTo>
                    <a:pt x="234" y="12"/>
                  </a:lnTo>
                  <a:lnTo>
                    <a:pt x="252" y="18"/>
                  </a:lnTo>
                  <a:lnTo>
                    <a:pt x="252" y="24"/>
                  </a:lnTo>
                  <a:lnTo>
                    <a:pt x="258" y="36"/>
                  </a:lnTo>
                  <a:lnTo>
                    <a:pt x="258" y="66"/>
                  </a:lnTo>
                  <a:lnTo>
                    <a:pt x="252" y="84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82" y="126"/>
                  </a:lnTo>
                  <a:lnTo>
                    <a:pt x="294" y="132"/>
                  </a:lnTo>
                  <a:lnTo>
                    <a:pt x="306" y="138"/>
                  </a:lnTo>
                  <a:lnTo>
                    <a:pt x="324" y="138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60" y="144"/>
                  </a:lnTo>
                  <a:lnTo>
                    <a:pt x="396" y="144"/>
                  </a:lnTo>
                  <a:lnTo>
                    <a:pt x="408" y="150"/>
                  </a:lnTo>
                  <a:lnTo>
                    <a:pt x="414" y="180"/>
                  </a:lnTo>
                  <a:lnTo>
                    <a:pt x="420" y="186"/>
                  </a:lnTo>
                  <a:lnTo>
                    <a:pt x="426" y="192"/>
                  </a:lnTo>
                  <a:lnTo>
                    <a:pt x="426" y="198"/>
                  </a:lnTo>
                  <a:lnTo>
                    <a:pt x="432" y="198"/>
                  </a:lnTo>
                  <a:lnTo>
                    <a:pt x="438" y="210"/>
                  </a:lnTo>
                  <a:lnTo>
                    <a:pt x="450" y="216"/>
                  </a:lnTo>
                  <a:lnTo>
                    <a:pt x="468" y="228"/>
                  </a:lnTo>
                  <a:lnTo>
                    <a:pt x="492" y="234"/>
                  </a:lnTo>
                  <a:lnTo>
                    <a:pt x="492" y="246"/>
                  </a:lnTo>
                  <a:lnTo>
                    <a:pt x="492" y="270"/>
                  </a:lnTo>
                  <a:lnTo>
                    <a:pt x="486" y="294"/>
                  </a:lnTo>
                  <a:lnTo>
                    <a:pt x="486" y="312"/>
                  </a:lnTo>
                  <a:lnTo>
                    <a:pt x="486" y="330"/>
                  </a:lnTo>
                  <a:lnTo>
                    <a:pt x="492" y="348"/>
                  </a:lnTo>
                  <a:lnTo>
                    <a:pt x="498" y="360"/>
                  </a:lnTo>
                  <a:lnTo>
                    <a:pt x="510" y="366"/>
                  </a:lnTo>
                  <a:lnTo>
                    <a:pt x="516" y="384"/>
                  </a:lnTo>
                  <a:lnTo>
                    <a:pt x="522" y="414"/>
                  </a:lnTo>
                  <a:lnTo>
                    <a:pt x="528" y="414"/>
                  </a:lnTo>
                  <a:lnTo>
                    <a:pt x="534" y="426"/>
                  </a:lnTo>
                  <a:lnTo>
                    <a:pt x="528" y="432"/>
                  </a:lnTo>
                  <a:lnTo>
                    <a:pt x="468" y="426"/>
                  </a:lnTo>
                  <a:lnTo>
                    <a:pt x="462" y="4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3" name="Freeform 8">
              <a:extLst>
                <a:ext uri="{FF2B5EF4-FFF2-40B4-BE49-F238E27FC236}">
                  <a16:creationId xmlns:a16="http://schemas.microsoft.com/office/drawing/2014/main" id="{D473457C-872E-4E31-888A-D60FD52063A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98175" y="4307054"/>
              <a:ext cx="295177" cy="348894"/>
            </a:xfrm>
            <a:custGeom>
              <a:avLst/>
              <a:gdLst>
                <a:gd name="T0" fmla="*/ 3 w 552"/>
                <a:gd name="T1" fmla="*/ 46 h 660"/>
                <a:gd name="T2" fmla="*/ 4 w 552"/>
                <a:gd name="T3" fmla="*/ 42 h 660"/>
                <a:gd name="T4" fmla="*/ 2 w 552"/>
                <a:gd name="T5" fmla="*/ 38 h 660"/>
                <a:gd name="T6" fmla="*/ 0 w 552"/>
                <a:gd name="T7" fmla="*/ 34 h 660"/>
                <a:gd name="T8" fmla="*/ 2 w 552"/>
                <a:gd name="T9" fmla="*/ 30 h 660"/>
                <a:gd name="T10" fmla="*/ 3 w 552"/>
                <a:gd name="T11" fmla="*/ 27 h 660"/>
                <a:gd name="T12" fmla="*/ 5 w 552"/>
                <a:gd name="T13" fmla="*/ 23 h 660"/>
                <a:gd name="T14" fmla="*/ 5 w 552"/>
                <a:gd name="T15" fmla="*/ 15 h 660"/>
                <a:gd name="T16" fmla="*/ 6 w 552"/>
                <a:gd name="T17" fmla="*/ 11 h 660"/>
                <a:gd name="T18" fmla="*/ 11 w 552"/>
                <a:gd name="T19" fmla="*/ 9 h 660"/>
                <a:gd name="T20" fmla="*/ 10 w 552"/>
                <a:gd name="T21" fmla="*/ 5 h 660"/>
                <a:gd name="T22" fmla="*/ 12 w 552"/>
                <a:gd name="T23" fmla="*/ 1 h 660"/>
                <a:gd name="T24" fmla="*/ 16 w 552"/>
                <a:gd name="T25" fmla="*/ 2 h 660"/>
                <a:gd name="T26" fmla="*/ 23 w 552"/>
                <a:gd name="T27" fmla="*/ 8 h 660"/>
                <a:gd name="T28" fmla="*/ 23 w 552"/>
                <a:gd name="T29" fmla="*/ 11 h 660"/>
                <a:gd name="T30" fmla="*/ 27 w 552"/>
                <a:gd name="T31" fmla="*/ 12 h 660"/>
                <a:gd name="T32" fmla="*/ 29 w 552"/>
                <a:gd name="T33" fmla="*/ 17 h 660"/>
                <a:gd name="T34" fmla="*/ 31 w 552"/>
                <a:gd name="T35" fmla="*/ 15 h 660"/>
                <a:gd name="T36" fmla="*/ 33 w 552"/>
                <a:gd name="T37" fmla="*/ 17 h 660"/>
                <a:gd name="T38" fmla="*/ 36 w 552"/>
                <a:gd name="T39" fmla="*/ 23 h 660"/>
                <a:gd name="T40" fmla="*/ 41 w 552"/>
                <a:gd name="T41" fmla="*/ 33 h 660"/>
                <a:gd name="T42" fmla="*/ 43 w 552"/>
                <a:gd name="T43" fmla="*/ 36 h 660"/>
                <a:gd name="T44" fmla="*/ 43 w 552"/>
                <a:gd name="T45" fmla="*/ 37 h 660"/>
                <a:gd name="T46" fmla="*/ 41 w 552"/>
                <a:gd name="T47" fmla="*/ 35 h 660"/>
                <a:gd name="T48" fmla="*/ 43 w 552"/>
                <a:gd name="T49" fmla="*/ 37 h 660"/>
                <a:gd name="T50" fmla="*/ 44 w 552"/>
                <a:gd name="T51" fmla="*/ 39 h 660"/>
                <a:gd name="T52" fmla="*/ 47 w 552"/>
                <a:gd name="T53" fmla="*/ 41 h 660"/>
                <a:gd name="T54" fmla="*/ 47 w 552"/>
                <a:gd name="T55" fmla="*/ 44 h 660"/>
                <a:gd name="T56" fmla="*/ 48 w 552"/>
                <a:gd name="T57" fmla="*/ 46 h 660"/>
                <a:gd name="T58" fmla="*/ 47 w 552"/>
                <a:gd name="T59" fmla="*/ 46 h 660"/>
                <a:gd name="T60" fmla="*/ 44 w 552"/>
                <a:gd name="T61" fmla="*/ 46 h 660"/>
                <a:gd name="T62" fmla="*/ 47 w 552"/>
                <a:gd name="T63" fmla="*/ 47 h 660"/>
                <a:gd name="T64" fmla="*/ 47 w 552"/>
                <a:gd name="T65" fmla="*/ 49 h 660"/>
                <a:gd name="T66" fmla="*/ 47 w 552"/>
                <a:gd name="T67" fmla="*/ 52 h 660"/>
                <a:gd name="T68" fmla="*/ 46 w 552"/>
                <a:gd name="T69" fmla="*/ 53 h 660"/>
                <a:gd name="T70" fmla="*/ 43 w 552"/>
                <a:gd name="T71" fmla="*/ 54 h 660"/>
                <a:gd name="T72" fmla="*/ 37 w 552"/>
                <a:gd name="T73" fmla="*/ 54 h 660"/>
                <a:gd name="T74" fmla="*/ 30 w 552"/>
                <a:gd name="T75" fmla="*/ 54 h 660"/>
                <a:gd name="T76" fmla="*/ 29 w 552"/>
                <a:gd name="T77" fmla="*/ 53 h 660"/>
                <a:gd name="T78" fmla="*/ 27 w 552"/>
                <a:gd name="T79" fmla="*/ 53 h 660"/>
                <a:gd name="T80" fmla="*/ 29 w 552"/>
                <a:gd name="T81" fmla="*/ 53 h 660"/>
                <a:gd name="T82" fmla="*/ 28 w 552"/>
                <a:gd name="T83" fmla="*/ 54 h 660"/>
                <a:gd name="T84" fmla="*/ 24 w 552"/>
                <a:gd name="T85" fmla="*/ 54 h 660"/>
                <a:gd name="T86" fmla="*/ 20 w 552"/>
                <a:gd name="T87" fmla="*/ 55 h 660"/>
                <a:gd name="T88" fmla="*/ 15 w 552"/>
                <a:gd name="T89" fmla="*/ 56 h 660"/>
                <a:gd name="T90" fmla="*/ 12 w 552"/>
                <a:gd name="T91" fmla="*/ 56 h 660"/>
                <a:gd name="T92" fmla="*/ 11 w 552"/>
                <a:gd name="T93" fmla="*/ 57 h 660"/>
                <a:gd name="T94" fmla="*/ 9 w 552"/>
                <a:gd name="T95" fmla="*/ 57 h 660"/>
                <a:gd name="T96" fmla="*/ 7 w 552"/>
                <a:gd name="T97" fmla="*/ 56 h 660"/>
                <a:gd name="T98" fmla="*/ 5 w 552"/>
                <a:gd name="T99" fmla="*/ 55 h 660"/>
                <a:gd name="T100" fmla="*/ 7 w 552"/>
                <a:gd name="T101" fmla="*/ 54 h 660"/>
                <a:gd name="T102" fmla="*/ 5 w 552"/>
                <a:gd name="T103" fmla="*/ 54 h 660"/>
                <a:gd name="T104" fmla="*/ 5 w 552"/>
                <a:gd name="T105" fmla="*/ 53 h 660"/>
                <a:gd name="T106" fmla="*/ 4 w 552"/>
                <a:gd name="T107" fmla="*/ 49 h 660"/>
                <a:gd name="T108" fmla="*/ 45 w 552"/>
                <a:gd name="T109" fmla="*/ 38 h 66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52"/>
                <a:gd name="T166" fmla="*/ 0 h 660"/>
                <a:gd name="T167" fmla="*/ 552 w 552"/>
                <a:gd name="T168" fmla="*/ 660 h 66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52" h="660">
                  <a:moveTo>
                    <a:pt x="36" y="564"/>
                  </a:moveTo>
                  <a:lnTo>
                    <a:pt x="36" y="558"/>
                  </a:lnTo>
                  <a:lnTo>
                    <a:pt x="36" y="552"/>
                  </a:lnTo>
                  <a:lnTo>
                    <a:pt x="42" y="546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34"/>
                  </a:lnTo>
                  <a:lnTo>
                    <a:pt x="36" y="528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54" y="510"/>
                  </a:lnTo>
                  <a:lnTo>
                    <a:pt x="54" y="504"/>
                  </a:lnTo>
                  <a:lnTo>
                    <a:pt x="54" y="498"/>
                  </a:lnTo>
                  <a:lnTo>
                    <a:pt x="48" y="492"/>
                  </a:lnTo>
                  <a:lnTo>
                    <a:pt x="42" y="486"/>
                  </a:lnTo>
                  <a:lnTo>
                    <a:pt x="42" y="480"/>
                  </a:lnTo>
                  <a:lnTo>
                    <a:pt x="42" y="468"/>
                  </a:lnTo>
                  <a:lnTo>
                    <a:pt x="30" y="456"/>
                  </a:lnTo>
                  <a:lnTo>
                    <a:pt x="30" y="450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2"/>
                  </a:lnTo>
                  <a:lnTo>
                    <a:pt x="18" y="426"/>
                  </a:lnTo>
                  <a:lnTo>
                    <a:pt x="24" y="420"/>
                  </a:lnTo>
                  <a:lnTo>
                    <a:pt x="18" y="414"/>
                  </a:lnTo>
                  <a:lnTo>
                    <a:pt x="12" y="408"/>
                  </a:lnTo>
                  <a:lnTo>
                    <a:pt x="12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6" y="384"/>
                  </a:lnTo>
                  <a:lnTo>
                    <a:pt x="12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8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36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54" y="270"/>
                  </a:lnTo>
                  <a:lnTo>
                    <a:pt x="48" y="264"/>
                  </a:lnTo>
                  <a:lnTo>
                    <a:pt x="42" y="246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8" y="204"/>
                  </a:lnTo>
                  <a:lnTo>
                    <a:pt x="54" y="174"/>
                  </a:lnTo>
                  <a:lnTo>
                    <a:pt x="54" y="162"/>
                  </a:lnTo>
                  <a:lnTo>
                    <a:pt x="54" y="156"/>
                  </a:lnTo>
                  <a:lnTo>
                    <a:pt x="54" y="144"/>
                  </a:lnTo>
                  <a:lnTo>
                    <a:pt x="48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72" y="126"/>
                  </a:lnTo>
                  <a:lnTo>
                    <a:pt x="84" y="126"/>
                  </a:lnTo>
                  <a:lnTo>
                    <a:pt x="96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2" y="84"/>
                  </a:lnTo>
                  <a:lnTo>
                    <a:pt x="126" y="78"/>
                  </a:lnTo>
                  <a:lnTo>
                    <a:pt x="120" y="78"/>
                  </a:lnTo>
                  <a:lnTo>
                    <a:pt x="102" y="84"/>
                  </a:lnTo>
                  <a:lnTo>
                    <a:pt x="108" y="66"/>
                  </a:lnTo>
                  <a:lnTo>
                    <a:pt x="114" y="54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8" y="4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6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74" y="0"/>
                  </a:lnTo>
                  <a:lnTo>
                    <a:pt x="180" y="0"/>
                  </a:lnTo>
                  <a:lnTo>
                    <a:pt x="186" y="18"/>
                  </a:lnTo>
                  <a:lnTo>
                    <a:pt x="198" y="30"/>
                  </a:lnTo>
                  <a:lnTo>
                    <a:pt x="204" y="54"/>
                  </a:lnTo>
                  <a:lnTo>
                    <a:pt x="216" y="60"/>
                  </a:lnTo>
                  <a:lnTo>
                    <a:pt x="240" y="60"/>
                  </a:lnTo>
                  <a:lnTo>
                    <a:pt x="246" y="66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2" y="120"/>
                  </a:lnTo>
                  <a:lnTo>
                    <a:pt x="25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6" y="126"/>
                  </a:lnTo>
                  <a:lnTo>
                    <a:pt x="282" y="120"/>
                  </a:lnTo>
                  <a:lnTo>
                    <a:pt x="282" y="126"/>
                  </a:lnTo>
                  <a:lnTo>
                    <a:pt x="294" y="126"/>
                  </a:lnTo>
                  <a:lnTo>
                    <a:pt x="300" y="132"/>
                  </a:lnTo>
                  <a:lnTo>
                    <a:pt x="306" y="144"/>
                  </a:lnTo>
                  <a:lnTo>
                    <a:pt x="312" y="144"/>
                  </a:lnTo>
                  <a:lnTo>
                    <a:pt x="312" y="150"/>
                  </a:lnTo>
                  <a:lnTo>
                    <a:pt x="312" y="162"/>
                  </a:lnTo>
                  <a:lnTo>
                    <a:pt x="312" y="174"/>
                  </a:lnTo>
                  <a:lnTo>
                    <a:pt x="324" y="180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30" y="192"/>
                  </a:lnTo>
                  <a:lnTo>
                    <a:pt x="336" y="198"/>
                  </a:lnTo>
                  <a:lnTo>
                    <a:pt x="342" y="192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54" y="180"/>
                  </a:lnTo>
                  <a:lnTo>
                    <a:pt x="354" y="174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84" y="192"/>
                  </a:lnTo>
                  <a:lnTo>
                    <a:pt x="390" y="204"/>
                  </a:lnTo>
                  <a:lnTo>
                    <a:pt x="390" y="210"/>
                  </a:lnTo>
                  <a:lnTo>
                    <a:pt x="390" y="216"/>
                  </a:lnTo>
                  <a:lnTo>
                    <a:pt x="384" y="234"/>
                  </a:lnTo>
                  <a:lnTo>
                    <a:pt x="390" y="240"/>
                  </a:lnTo>
                  <a:lnTo>
                    <a:pt x="408" y="252"/>
                  </a:lnTo>
                  <a:lnTo>
                    <a:pt x="414" y="264"/>
                  </a:lnTo>
                  <a:lnTo>
                    <a:pt x="408" y="300"/>
                  </a:lnTo>
                  <a:lnTo>
                    <a:pt x="414" y="312"/>
                  </a:lnTo>
                  <a:lnTo>
                    <a:pt x="426" y="336"/>
                  </a:lnTo>
                  <a:lnTo>
                    <a:pt x="438" y="354"/>
                  </a:lnTo>
                  <a:lnTo>
                    <a:pt x="444" y="366"/>
                  </a:lnTo>
                  <a:lnTo>
                    <a:pt x="456" y="366"/>
                  </a:lnTo>
                  <a:lnTo>
                    <a:pt x="474" y="378"/>
                  </a:lnTo>
                  <a:lnTo>
                    <a:pt x="474" y="384"/>
                  </a:lnTo>
                  <a:lnTo>
                    <a:pt x="480" y="390"/>
                  </a:lnTo>
                  <a:lnTo>
                    <a:pt x="486" y="396"/>
                  </a:lnTo>
                  <a:lnTo>
                    <a:pt x="486" y="402"/>
                  </a:lnTo>
                  <a:lnTo>
                    <a:pt x="480" y="408"/>
                  </a:lnTo>
                  <a:lnTo>
                    <a:pt x="486" y="408"/>
                  </a:lnTo>
                  <a:lnTo>
                    <a:pt x="486" y="414"/>
                  </a:lnTo>
                  <a:lnTo>
                    <a:pt x="492" y="414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32"/>
                  </a:lnTo>
                  <a:lnTo>
                    <a:pt x="498" y="438"/>
                  </a:lnTo>
                  <a:lnTo>
                    <a:pt x="492" y="432"/>
                  </a:lnTo>
                  <a:lnTo>
                    <a:pt x="486" y="426"/>
                  </a:lnTo>
                  <a:lnTo>
                    <a:pt x="486" y="420"/>
                  </a:lnTo>
                  <a:lnTo>
                    <a:pt x="486" y="414"/>
                  </a:lnTo>
                  <a:lnTo>
                    <a:pt x="480" y="414"/>
                  </a:lnTo>
                  <a:lnTo>
                    <a:pt x="480" y="408"/>
                  </a:lnTo>
                  <a:lnTo>
                    <a:pt x="474" y="408"/>
                  </a:lnTo>
                  <a:lnTo>
                    <a:pt x="468" y="408"/>
                  </a:lnTo>
                  <a:lnTo>
                    <a:pt x="468" y="402"/>
                  </a:lnTo>
                  <a:lnTo>
                    <a:pt x="462" y="402"/>
                  </a:lnTo>
                  <a:lnTo>
                    <a:pt x="462" y="408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80" y="426"/>
                  </a:lnTo>
                  <a:lnTo>
                    <a:pt x="486" y="426"/>
                  </a:lnTo>
                  <a:lnTo>
                    <a:pt x="486" y="432"/>
                  </a:lnTo>
                  <a:lnTo>
                    <a:pt x="492" y="438"/>
                  </a:lnTo>
                  <a:lnTo>
                    <a:pt x="498" y="438"/>
                  </a:lnTo>
                  <a:lnTo>
                    <a:pt x="504" y="444"/>
                  </a:lnTo>
                  <a:lnTo>
                    <a:pt x="510" y="444"/>
                  </a:lnTo>
                  <a:lnTo>
                    <a:pt x="510" y="450"/>
                  </a:lnTo>
                  <a:lnTo>
                    <a:pt x="510" y="456"/>
                  </a:lnTo>
                  <a:lnTo>
                    <a:pt x="516" y="456"/>
                  </a:lnTo>
                  <a:lnTo>
                    <a:pt x="516" y="462"/>
                  </a:lnTo>
                  <a:lnTo>
                    <a:pt x="522" y="462"/>
                  </a:lnTo>
                  <a:lnTo>
                    <a:pt x="522" y="468"/>
                  </a:lnTo>
                  <a:lnTo>
                    <a:pt x="528" y="468"/>
                  </a:lnTo>
                  <a:lnTo>
                    <a:pt x="534" y="468"/>
                  </a:lnTo>
                  <a:lnTo>
                    <a:pt x="534" y="474"/>
                  </a:lnTo>
                  <a:lnTo>
                    <a:pt x="540" y="474"/>
                  </a:lnTo>
                  <a:lnTo>
                    <a:pt x="540" y="480"/>
                  </a:lnTo>
                  <a:lnTo>
                    <a:pt x="546" y="486"/>
                  </a:lnTo>
                  <a:lnTo>
                    <a:pt x="546" y="492"/>
                  </a:lnTo>
                  <a:lnTo>
                    <a:pt x="546" y="498"/>
                  </a:lnTo>
                  <a:lnTo>
                    <a:pt x="546" y="504"/>
                  </a:lnTo>
                  <a:lnTo>
                    <a:pt x="540" y="504"/>
                  </a:lnTo>
                  <a:lnTo>
                    <a:pt x="546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10"/>
                  </a:lnTo>
                  <a:lnTo>
                    <a:pt x="552" y="516"/>
                  </a:lnTo>
                  <a:lnTo>
                    <a:pt x="552" y="522"/>
                  </a:lnTo>
                  <a:lnTo>
                    <a:pt x="552" y="528"/>
                  </a:lnTo>
                  <a:lnTo>
                    <a:pt x="552" y="534"/>
                  </a:lnTo>
                  <a:lnTo>
                    <a:pt x="552" y="540"/>
                  </a:lnTo>
                  <a:lnTo>
                    <a:pt x="546" y="540"/>
                  </a:lnTo>
                  <a:lnTo>
                    <a:pt x="546" y="546"/>
                  </a:lnTo>
                  <a:lnTo>
                    <a:pt x="546" y="540"/>
                  </a:lnTo>
                  <a:lnTo>
                    <a:pt x="546" y="534"/>
                  </a:lnTo>
                  <a:lnTo>
                    <a:pt x="540" y="534"/>
                  </a:lnTo>
                  <a:lnTo>
                    <a:pt x="540" y="528"/>
                  </a:lnTo>
                  <a:lnTo>
                    <a:pt x="534" y="528"/>
                  </a:lnTo>
                  <a:lnTo>
                    <a:pt x="528" y="528"/>
                  </a:lnTo>
                  <a:lnTo>
                    <a:pt x="522" y="528"/>
                  </a:lnTo>
                  <a:lnTo>
                    <a:pt x="516" y="528"/>
                  </a:lnTo>
                  <a:lnTo>
                    <a:pt x="510" y="528"/>
                  </a:lnTo>
                  <a:lnTo>
                    <a:pt x="510" y="534"/>
                  </a:lnTo>
                  <a:lnTo>
                    <a:pt x="510" y="528"/>
                  </a:lnTo>
                  <a:lnTo>
                    <a:pt x="516" y="528"/>
                  </a:lnTo>
                  <a:lnTo>
                    <a:pt x="522" y="528"/>
                  </a:lnTo>
                  <a:lnTo>
                    <a:pt x="528" y="528"/>
                  </a:lnTo>
                  <a:lnTo>
                    <a:pt x="534" y="534"/>
                  </a:lnTo>
                  <a:lnTo>
                    <a:pt x="540" y="534"/>
                  </a:lnTo>
                  <a:lnTo>
                    <a:pt x="540" y="540"/>
                  </a:lnTo>
                  <a:lnTo>
                    <a:pt x="540" y="546"/>
                  </a:lnTo>
                  <a:lnTo>
                    <a:pt x="546" y="546"/>
                  </a:lnTo>
                  <a:lnTo>
                    <a:pt x="546" y="552"/>
                  </a:lnTo>
                  <a:lnTo>
                    <a:pt x="552" y="552"/>
                  </a:lnTo>
                  <a:lnTo>
                    <a:pt x="552" y="558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0" y="576"/>
                  </a:lnTo>
                  <a:lnTo>
                    <a:pt x="540" y="582"/>
                  </a:lnTo>
                  <a:lnTo>
                    <a:pt x="540" y="588"/>
                  </a:lnTo>
                  <a:lnTo>
                    <a:pt x="534" y="594"/>
                  </a:lnTo>
                  <a:lnTo>
                    <a:pt x="534" y="600"/>
                  </a:lnTo>
                  <a:lnTo>
                    <a:pt x="528" y="600"/>
                  </a:lnTo>
                  <a:lnTo>
                    <a:pt x="522" y="594"/>
                  </a:lnTo>
                  <a:lnTo>
                    <a:pt x="528" y="600"/>
                  </a:lnTo>
                  <a:lnTo>
                    <a:pt x="534" y="600"/>
                  </a:lnTo>
                  <a:lnTo>
                    <a:pt x="534" y="606"/>
                  </a:lnTo>
                  <a:lnTo>
                    <a:pt x="528" y="606"/>
                  </a:lnTo>
                  <a:lnTo>
                    <a:pt x="528" y="612"/>
                  </a:lnTo>
                  <a:lnTo>
                    <a:pt x="522" y="612"/>
                  </a:lnTo>
                  <a:lnTo>
                    <a:pt x="522" y="618"/>
                  </a:lnTo>
                  <a:lnTo>
                    <a:pt x="522" y="624"/>
                  </a:lnTo>
                  <a:lnTo>
                    <a:pt x="510" y="624"/>
                  </a:lnTo>
                  <a:lnTo>
                    <a:pt x="498" y="624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0" y="624"/>
                  </a:lnTo>
                  <a:lnTo>
                    <a:pt x="474" y="624"/>
                  </a:lnTo>
                  <a:lnTo>
                    <a:pt x="468" y="618"/>
                  </a:lnTo>
                  <a:lnTo>
                    <a:pt x="456" y="618"/>
                  </a:lnTo>
                  <a:lnTo>
                    <a:pt x="450" y="618"/>
                  </a:lnTo>
                  <a:lnTo>
                    <a:pt x="426" y="618"/>
                  </a:lnTo>
                  <a:lnTo>
                    <a:pt x="420" y="618"/>
                  </a:lnTo>
                  <a:lnTo>
                    <a:pt x="414" y="618"/>
                  </a:lnTo>
                  <a:lnTo>
                    <a:pt x="408" y="618"/>
                  </a:lnTo>
                  <a:lnTo>
                    <a:pt x="396" y="618"/>
                  </a:lnTo>
                  <a:lnTo>
                    <a:pt x="366" y="618"/>
                  </a:lnTo>
                  <a:lnTo>
                    <a:pt x="348" y="624"/>
                  </a:lnTo>
                  <a:lnTo>
                    <a:pt x="342" y="624"/>
                  </a:lnTo>
                  <a:lnTo>
                    <a:pt x="342" y="618"/>
                  </a:lnTo>
                  <a:lnTo>
                    <a:pt x="336" y="618"/>
                  </a:lnTo>
                  <a:lnTo>
                    <a:pt x="336" y="612"/>
                  </a:lnTo>
                  <a:lnTo>
                    <a:pt x="342" y="612"/>
                  </a:lnTo>
                  <a:lnTo>
                    <a:pt x="348" y="612"/>
                  </a:lnTo>
                  <a:lnTo>
                    <a:pt x="342" y="612"/>
                  </a:lnTo>
                  <a:lnTo>
                    <a:pt x="336" y="612"/>
                  </a:lnTo>
                  <a:lnTo>
                    <a:pt x="336" y="606"/>
                  </a:lnTo>
                  <a:lnTo>
                    <a:pt x="330" y="606"/>
                  </a:lnTo>
                  <a:lnTo>
                    <a:pt x="330" y="600"/>
                  </a:lnTo>
                  <a:lnTo>
                    <a:pt x="324" y="600"/>
                  </a:lnTo>
                  <a:lnTo>
                    <a:pt x="324" y="606"/>
                  </a:lnTo>
                  <a:lnTo>
                    <a:pt x="318" y="606"/>
                  </a:lnTo>
                  <a:lnTo>
                    <a:pt x="318" y="612"/>
                  </a:lnTo>
                  <a:lnTo>
                    <a:pt x="312" y="612"/>
                  </a:lnTo>
                  <a:lnTo>
                    <a:pt x="306" y="606"/>
                  </a:lnTo>
                  <a:lnTo>
                    <a:pt x="306" y="612"/>
                  </a:lnTo>
                  <a:lnTo>
                    <a:pt x="312" y="612"/>
                  </a:lnTo>
                  <a:lnTo>
                    <a:pt x="318" y="612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30" y="606"/>
                  </a:lnTo>
                  <a:lnTo>
                    <a:pt x="336" y="612"/>
                  </a:lnTo>
                  <a:lnTo>
                    <a:pt x="336" y="618"/>
                  </a:lnTo>
                  <a:lnTo>
                    <a:pt x="330" y="618"/>
                  </a:lnTo>
                  <a:lnTo>
                    <a:pt x="336" y="618"/>
                  </a:lnTo>
                  <a:lnTo>
                    <a:pt x="336" y="624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288" y="624"/>
                  </a:lnTo>
                  <a:lnTo>
                    <a:pt x="282" y="624"/>
                  </a:lnTo>
                  <a:lnTo>
                    <a:pt x="270" y="630"/>
                  </a:lnTo>
                  <a:lnTo>
                    <a:pt x="264" y="630"/>
                  </a:lnTo>
                  <a:lnTo>
                    <a:pt x="258" y="630"/>
                  </a:lnTo>
                  <a:lnTo>
                    <a:pt x="252" y="630"/>
                  </a:lnTo>
                  <a:lnTo>
                    <a:pt x="246" y="630"/>
                  </a:lnTo>
                  <a:lnTo>
                    <a:pt x="240" y="630"/>
                  </a:lnTo>
                  <a:lnTo>
                    <a:pt x="228" y="636"/>
                  </a:lnTo>
                  <a:lnTo>
                    <a:pt x="222" y="636"/>
                  </a:lnTo>
                  <a:lnTo>
                    <a:pt x="210" y="636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42"/>
                  </a:lnTo>
                  <a:lnTo>
                    <a:pt x="186" y="642"/>
                  </a:lnTo>
                  <a:lnTo>
                    <a:pt x="180" y="642"/>
                  </a:lnTo>
                  <a:lnTo>
                    <a:pt x="168" y="642"/>
                  </a:lnTo>
                  <a:lnTo>
                    <a:pt x="162" y="642"/>
                  </a:lnTo>
                  <a:lnTo>
                    <a:pt x="162" y="648"/>
                  </a:lnTo>
                  <a:lnTo>
                    <a:pt x="156" y="648"/>
                  </a:lnTo>
                  <a:lnTo>
                    <a:pt x="150" y="648"/>
                  </a:lnTo>
                  <a:lnTo>
                    <a:pt x="144" y="648"/>
                  </a:lnTo>
                  <a:lnTo>
                    <a:pt x="138" y="648"/>
                  </a:lnTo>
                  <a:lnTo>
                    <a:pt x="132" y="648"/>
                  </a:lnTo>
                  <a:lnTo>
                    <a:pt x="126" y="642"/>
                  </a:lnTo>
                  <a:lnTo>
                    <a:pt x="126" y="636"/>
                  </a:lnTo>
                  <a:lnTo>
                    <a:pt x="120" y="636"/>
                  </a:lnTo>
                  <a:lnTo>
                    <a:pt x="126" y="642"/>
                  </a:lnTo>
                  <a:lnTo>
                    <a:pt x="126" y="648"/>
                  </a:lnTo>
                  <a:lnTo>
                    <a:pt x="132" y="648"/>
                  </a:lnTo>
                  <a:lnTo>
                    <a:pt x="126" y="654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54"/>
                  </a:lnTo>
                  <a:lnTo>
                    <a:pt x="108" y="660"/>
                  </a:lnTo>
                  <a:lnTo>
                    <a:pt x="108" y="654"/>
                  </a:lnTo>
                  <a:lnTo>
                    <a:pt x="102" y="654"/>
                  </a:lnTo>
                  <a:lnTo>
                    <a:pt x="102" y="660"/>
                  </a:lnTo>
                  <a:lnTo>
                    <a:pt x="108" y="660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0" y="660"/>
                  </a:lnTo>
                  <a:lnTo>
                    <a:pt x="90" y="654"/>
                  </a:lnTo>
                  <a:lnTo>
                    <a:pt x="84" y="648"/>
                  </a:lnTo>
                  <a:lnTo>
                    <a:pt x="84" y="642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72" y="636"/>
                  </a:lnTo>
                  <a:lnTo>
                    <a:pt x="78" y="636"/>
                  </a:lnTo>
                  <a:lnTo>
                    <a:pt x="72" y="636"/>
                  </a:lnTo>
                  <a:lnTo>
                    <a:pt x="66" y="636"/>
                  </a:lnTo>
                  <a:lnTo>
                    <a:pt x="60" y="636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60" y="618"/>
                  </a:lnTo>
                  <a:lnTo>
                    <a:pt x="66" y="618"/>
                  </a:lnTo>
                  <a:lnTo>
                    <a:pt x="72" y="618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2" y="612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12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54" y="618"/>
                  </a:lnTo>
                  <a:lnTo>
                    <a:pt x="54" y="624"/>
                  </a:lnTo>
                  <a:lnTo>
                    <a:pt x="48" y="618"/>
                  </a:lnTo>
                  <a:lnTo>
                    <a:pt x="42" y="618"/>
                  </a:lnTo>
                  <a:lnTo>
                    <a:pt x="42" y="612"/>
                  </a:lnTo>
                  <a:lnTo>
                    <a:pt x="48" y="606"/>
                  </a:lnTo>
                  <a:lnTo>
                    <a:pt x="54" y="606"/>
                  </a:lnTo>
                  <a:lnTo>
                    <a:pt x="54" y="600"/>
                  </a:lnTo>
                  <a:lnTo>
                    <a:pt x="54" y="594"/>
                  </a:lnTo>
                  <a:lnTo>
                    <a:pt x="54" y="588"/>
                  </a:lnTo>
                  <a:lnTo>
                    <a:pt x="48" y="588"/>
                  </a:lnTo>
                  <a:lnTo>
                    <a:pt x="48" y="582"/>
                  </a:lnTo>
                  <a:lnTo>
                    <a:pt x="42" y="582"/>
                  </a:lnTo>
                  <a:lnTo>
                    <a:pt x="42" y="570"/>
                  </a:lnTo>
                  <a:lnTo>
                    <a:pt x="42" y="564"/>
                  </a:lnTo>
                  <a:lnTo>
                    <a:pt x="36" y="564"/>
                  </a:lnTo>
                  <a:close/>
                  <a:moveTo>
                    <a:pt x="498" y="420"/>
                  </a:moveTo>
                  <a:lnTo>
                    <a:pt x="504" y="426"/>
                  </a:lnTo>
                  <a:lnTo>
                    <a:pt x="510" y="432"/>
                  </a:lnTo>
                  <a:lnTo>
                    <a:pt x="516" y="432"/>
                  </a:lnTo>
                  <a:lnTo>
                    <a:pt x="516" y="438"/>
                  </a:lnTo>
                  <a:lnTo>
                    <a:pt x="510" y="438"/>
                  </a:lnTo>
                  <a:lnTo>
                    <a:pt x="504" y="438"/>
                  </a:lnTo>
                  <a:lnTo>
                    <a:pt x="504" y="432"/>
                  </a:lnTo>
                  <a:lnTo>
                    <a:pt x="498" y="432"/>
                  </a:lnTo>
                  <a:lnTo>
                    <a:pt x="498" y="426"/>
                  </a:lnTo>
                  <a:lnTo>
                    <a:pt x="498" y="42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4" name="Freeform 9">
              <a:extLst>
                <a:ext uri="{FF2B5EF4-FFF2-40B4-BE49-F238E27FC236}">
                  <a16:creationId xmlns:a16="http://schemas.microsoft.com/office/drawing/2014/main" id="{E0116D32-BD2E-45EA-B818-A3082585D5F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3055" y="2468650"/>
              <a:ext cx="800556" cy="1207710"/>
            </a:xfrm>
            <a:custGeom>
              <a:avLst/>
              <a:gdLst>
                <a:gd name="T0" fmla="*/ 24 w 1506"/>
                <a:gd name="T1" fmla="*/ 190 h 2274"/>
                <a:gd name="T2" fmla="*/ 25 w 1506"/>
                <a:gd name="T3" fmla="*/ 180 h 2274"/>
                <a:gd name="T4" fmla="*/ 21 w 1506"/>
                <a:gd name="T5" fmla="*/ 174 h 2274"/>
                <a:gd name="T6" fmla="*/ 17 w 1506"/>
                <a:gd name="T7" fmla="*/ 170 h 2274"/>
                <a:gd name="T8" fmla="*/ 12 w 1506"/>
                <a:gd name="T9" fmla="*/ 168 h 2274"/>
                <a:gd name="T10" fmla="*/ 10 w 1506"/>
                <a:gd name="T11" fmla="*/ 173 h 2274"/>
                <a:gd name="T12" fmla="*/ 7 w 1506"/>
                <a:gd name="T13" fmla="*/ 174 h 2274"/>
                <a:gd name="T14" fmla="*/ 0 w 1506"/>
                <a:gd name="T15" fmla="*/ 163 h 2274"/>
                <a:gd name="T16" fmla="*/ 16 w 1506"/>
                <a:gd name="T17" fmla="*/ 140 h 2274"/>
                <a:gd name="T18" fmla="*/ 19 w 1506"/>
                <a:gd name="T19" fmla="*/ 137 h 2274"/>
                <a:gd name="T20" fmla="*/ 24 w 1506"/>
                <a:gd name="T21" fmla="*/ 126 h 2274"/>
                <a:gd name="T22" fmla="*/ 23 w 1506"/>
                <a:gd name="T23" fmla="*/ 105 h 2274"/>
                <a:gd name="T24" fmla="*/ 14 w 1506"/>
                <a:gd name="T25" fmla="*/ 86 h 2274"/>
                <a:gd name="T26" fmla="*/ 8 w 1506"/>
                <a:gd name="T27" fmla="*/ 84 h 2274"/>
                <a:gd name="T28" fmla="*/ 5 w 1506"/>
                <a:gd name="T29" fmla="*/ 79 h 2274"/>
                <a:gd name="T30" fmla="*/ 16 w 1506"/>
                <a:gd name="T31" fmla="*/ 71 h 2274"/>
                <a:gd name="T32" fmla="*/ 28 w 1506"/>
                <a:gd name="T33" fmla="*/ 55 h 2274"/>
                <a:gd name="T34" fmla="*/ 29 w 1506"/>
                <a:gd name="T35" fmla="*/ 48 h 2274"/>
                <a:gd name="T36" fmla="*/ 35 w 1506"/>
                <a:gd name="T37" fmla="*/ 50 h 2274"/>
                <a:gd name="T38" fmla="*/ 42 w 1506"/>
                <a:gd name="T39" fmla="*/ 47 h 2274"/>
                <a:gd name="T40" fmla="*/ 63 w 1506"/>
                <a:gd name="T41" fmla="*/ 34 h 2274"/>
                <a:gd name="T42" fmla="*/ 74 w 1506"/>
                <a:gd name="T43" fmla="*/ 27 h 2274"/>
                <a:gd name="T44" fmla="*/ 81 w 1506"/>
                <a:gd name="T45" fmla="*/ 20 h 2274"/>
                <a:gd name="T46" fmla="*/ 89 w 1506"/>
                <a:gd name="T47" fmla="*/ 20 h 2274"/>
                <a:gd name="T48" fmla="*/ 98 w 1506"/>
                <a:gd name="T49" fmla="*/ 27 h 2274"/>
                <a:gd name="T50" fmla="*/ 106 w 1506"/>
                <a:gd name="T51" fmla="*/ 17 h 2274"/>
                <a:gd name="T52" fmla="*/ 111 w 1506"/>
                <a:gd name="T53" fmla="*/ 8 h 2274"/>
                <a:gd name="T54" fmla="*/ 121 w 1506"/>
                <a:gd name="T55" fmla="*/ 2 h 2274"/>
                <a:gd name="T56" fmla="*/ 129 w 1506"/>
                <a:gd name="T57" fmla="*/ 5 h 2274"/>
                <a:gd name="T58" fmla="*/ 125 w 1506"/>
                <a:gd name="T59" fmla="*/ 12 h 2274"/>
                <a:gd name="T60" fmla="*/ 122 w 1506"/>
                <a:gd name="T61" fmla="*/ 20 h 2274"/>
                <a:gd name="T62" fmla="*/ 122 w 1506"/>
                <a:gd name="T63" fmla="*/ 27 h 2274"/>
                <a:gd name="T64" fmla="*/ 120 w 1506"/>
                <a:gd name="T65" fmla="*/ 36 h 2274"/>
                <a:gd name="T66" fmla="*/ 116 w 1506"/>
                <a:gd name="T67" fmla="*/ 43 h 2274"/>
                <a:gd name="T68" fmla="*/ 109 w 1506"/>
                <a:gd name="T69" fmla="*/ 47 h 2274"/>
                <a:gd name="T70" fmla="*/ 108 w 1506"/>
                <a:gd name="T71" fmla="*/ 54 h 2274"/>
                <a:gd name="T72" fmla="*/ 106 w 1506"/>
                <a:gd name="T73" fmla="*/ 59 h 2274"/>
                <a:gd name="T74" fmla="*/ 109 w 1506"/>
                <a:gd name="T75" fmla="*/ 64 h 2274"/>
                <a:gd name="T76" fmla="*/ 106 w 1506"/>
                <a:gd name="T77" fmla="*/ 70 h 2274"/>
                <a:gd name="T78" fmla="*/ 105 w 1506"/>
                <a:gd name="T79" fmla="*/ 75 h 2274"/>
                <a:gd name="T80" fmla="*/ 101 w 1506"/>
                <a:gd name="T81" fmla="*/ 78 h 2274"/>
                <a:gd name="T82" fmla="*/ 92 w 1506"/>
                <a:gd name="T83" fmla="*/ 81 h 2274"/>
                <a:gd name="T84" fmla="*/ 85 w 1506"/>
                <a:gd name="T85" fmla="*/ 85 h 2274"/>
                <a:gd name="T86" fmla="*/ 87 w 1506"/>
                <a:gd name="T87" fmla="*/ 91 h 2274"/>
                <a:gd name="T88" fmla="*/ 86 w 1506"/>
                <a:gd name="T89" fmla="*/ 98 h 2274"/>
                <a:gd name="T90" fmla="*/ 86 w 1506"/>
                <a:gd name="T91" fmla="*/ 103 h 2274"/>
                <a:gd name="T92" fmla="*/ 82 w 1506"/>
                <a:gd name="T93" fmla="*/ 111 h 2274"/>
                <a:gd name="T94" fmla="*/ 81 w 1506"/>
                <a:gd name="T95" fmla="*/ 116 h 2274"/>
                <a:gd name="T96" fmla="*/ 78 w 1506"/>
                <a:gd name="T97" fmla="*/ 120 h 2274"/>
                <a:gd name="T98" fmla="*/ 76 w 1506"/>
                <a:gd name="T99" fmla="*/ 126 h 2274"/>
                <a:gd name="T100" fmla="*/ 68 w 1506"/>
                <a:gd name="T101" fmla="*/ 129 h 2274"/>
                <a:gd name="T102" fmla="*/ 62 w 1506"/>
                <a:gd name="T103" fmla="*/ 131 h 2274"/>
                <a:gd name="T104" fmla="*/ 58 w 1506"/>
                <a:gd name="T105" fmla="*/ 136 h 2274"/>
                <a:gd name="T106" fmla="*/ 51 w 1506"/>
                <a:gd name="T107" fmla="*/ 138 h 2274"/>
                <a:gd name="T108" fmla="*/ 51 w 1506"/>
                <a:gd name="T109" fmla="*/ 147 h 2274"/>
                <a:gd name="T110" fmla="*/ 49 w 1506"/>
                <a:gd name="T111" fmla="*/ 159 h 2274"/>
                <a:gd name="T112" fmla="*/ 48 w 1506"/>
                <a:gd name="T113" fmla="*/ 166 h 2274"/>
                <a:gd name="T114" fmla="*/ 41 w 1506"/>
                <a:gd name="T115" fmla="*/ 174 h 2274"/>
                <a:gd name="T116" fmla="*/ 39 w 1506"/>
                <a:gd name="T117" fmla="*/ 181 h 2274"/>
                <a:gd name="T118" fmla="*/ 37 w 1506"/>
                <a:gd name="T119" fmla="*/ 190 h 2274"/>
                <a:gd name="T120" fmla="*/ 29 w 1506"/>
                <a:gd name="T121" fmla="*/ 198 h 22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06"/>
                <a:gd name="T184" fmla="*/ 0 h 2274"/>
                <a:gd name="T185" fmla="*/ 1506 w 1506"/>
                <a:gd name="T186" fmla="*/ 2274 h 227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06" h="2274">
                  <a:moveTo>
                    <a:pt x="330" y="2274"/>
                  </a:moveTo>
                  <a:lnTo>
                    <a:pt x="318" y="2262"/>
                  </a:lnTo>
                  <a:lnTo>
                    <a:pt x="312" y="2238"/>
                  </a:lnTo>
                  <a:lnTo>
                    <a:pt x="312" y="2232"/>
                  </a:lnTo>
                  <a:lnTo>
                    <a:pt x="294" y="2214"/>
                  </a:lnTo>
                  <a:lnTo>
                    <a:pt x="288" y="2208"/>
                  </a:lnTo>
                  <a:lnTo>
                    <a:pt x="288" y="2202"/>
                  </a:lnTo>
                  <a:lnTo>
                    <a:pt x="276" y="2196"/>
                  </a:lnTo>
                  <a:lnTo>
                    <a:pt x="276" y="2190"/>
                  </a:lnTo>
                  <a:lnTo>
                    <a:pt x="282" y="2190"/>
                  </a:lnTo>
                  <a:lnTo>
                    <a:pt x="282" y="2184"/>
                  </a:lnTo>
                  <a:lnTo>
                    <a:pt x="276" y="2172"/>
                  </a:lnTo>
                  <a:lnTo>
                    <a:pt x="276" y="2166"/>
                  </a:lnTo>
                  <a:lnTo>
                    <a:pt x="282" y="2166"/>
                  </a:lnTo>
                  <a:lnTo>
                    <a:pt x="282" y="2154"/>
                  </a:lnTo>
                  <a:lnTo>
                    <a:pt x="276" y="2136"/>
                  </a:lnTo>
                  <a:lnTo>
                    <a:pt x="276" y="2112"/>
                  </a:lnTo>
                  <a:lnTo>
                    <a:pt x="282" y="2088"/>
                  </a:lnTo>
                  <a:lnTo>
                    <a:pt x="282" y="2082"/>
                  </a:lnTo>
                  <a:lnTo>
                    <a:pt x="282" y="2076"/>
                  </a:lnTo>
                  <a:lnTo>
                    <a:pt x="282" y="2070"/>
                  </a:lnTo>
                  <a:lnTo>
                    <a:pt x="288" y="2070"/>
                  </a:lnTo>
                  <a:lnTo>
                    <a:pt x="288" y="2064"/>
                  </a:lnTo>
                  <a:lnTo>
                    <a:pt x="282" y="2052"/>
                  </a:lnTo>
                  <a:lnTo>
                    <a:pt x="282" y="2046"/>
                  </a:lnTo>
                  <a:lnTo>
                    <a:pt x="276" y="2040"/>
                  </a:lnTo>
                  <a:lnTo>
                    <a:pt x="270" y="2034"/>
                  </a:lnTo>
                  <a:lnTo>
                    <a:pt x="264" y="2022"/>
                  </a:lnTo>
                  <a:lnTo>
                    <a:pt x="258" y="2022"/>
                  </a:lnTo>
                  <a:lnTo>
                    <a:pt x="258" y="2016"/>
                  </a:lnTo>
                  <a:lnTo>
                    <a:pt x="252" y="2016"/>
                  </a:lnTo>
                  <a:lnTo>
                    <a:pt x="246" y="2016"/>
                  </a:lnTo>
                  <a:lnTo>
                    <a:pt x="240" y="2010"/>
                  </a:lnTo>
                  <a:lnTo>
                    <a:pt x="234" y="2004"/>
                  </a:lnTo>
                  <a:lnTo>
                    <a:pt x="228" y="2004"/>
                  </a:lnTo>
                  <a:lnTo>
                    <a:pt x="228" y="1998"/>
                  </a:lnTo>
                  <a:lnTo>
                    <a:pt x="228" y="1992"/>
                  </a:lnTo>
                  <a:lnTo>
                    <a:pt x="222" y="1992"/>
                  </a:lnTo>
                  <a:lnTo>
                    <a:pt x="222" y="1986"/>
                  </a:lnTo>
                  <a:lnTo>
                    <a:pt x="216" y="1986"/>
                  </a:lnTo>
                  <a:lnTo>
                    <a:pt x="210" y="1980"/>
                  </a:lnTo>
                  <a:lnTo>
                    <a:pt x="216" y="1974"/>
                  </a:lnTo>
                  <a:lnTo>
                    <a:pt x="210" y="1968"/>
                  </a:lnTo>
                  <a:lnTo>
                    <a:pt x="198" y="1956"/>
                  </a:lnTo>
                  <a:lnTo>
                    <a:pt x="192" y="1956"/>
                  </a:lnTo>
                  <a:lnTo>
                    <a:pt x="186" y="1956"/>
                  </a:lnTo>
                  <a:lnTo>
                    <a:pt x="180" y="1944"/>
                  </a:lnTo>
                  <a:lnTo>
                    <a:pt x="180" y="1938"/>
                  </a:lnTo>
                  <a:lnTo>
                    <a:pt x="174" y="1932"/>
                  </a:lnTo>
                  <a:lnTo>
                    <a:pt x="168" y="1932"/>
                  </a:lnTo>
                  <a:lnTo>
                    <a:pt x="162" y="1932"/>
                  </a:lnTo>
                  <a:lnTo>
                    <a:pt x="150" y="1932"/>
                  </a:lnTo>
                  <a:lnTo>
                    <a:pt x="150" y="1926"/>
                  </a:lnTo>
                  <a:lnTo>
                    <a:pt x="150" y="1932"/>
                  </a:lnTo>
                  <a:lnTo>
                    <a:pt x="144" y="1932"/>
                  </a:lnTo>
                  <a:lnTo>
                    <a:pt x="138" y="1932"/>
                  </a:lnTo>
                  <a:lnTo>
                    <a:pt x="132" y="1932"/>
                  </a:lnTo>
                  <a:lnTo>
                    <a:pt x="132" y="1938"/>
                  </a:lnTo>
                  <a:lnTo>
                    <a:pt x="126" y="1944"/>
                  </a:lnTo>
                  <a:lnTo>
                    <a:pt x="126" y="1956"/>
                  </a:lnTo>
                  <a:lnTo>
                    <a:pt x="120" y="1968"/>
                  </a:lnTo>
                  <a:lnTo>
                    <a:pt x="120" y="1974"/>
                  </a:lnTo>
                  <a:lnTo>
                    <a:pt x="120" y="1980"/>
                  </a:lnTo>
                  <a:lnTo>
                    <a:pt x="126" y="1980"/>
                  </a:lnTo>
                  <a:lnTo>
                    <a:pt x="120" y="1986"/>
                  </a:lnTo>
                  <a:lnTo>
                    <a:pt x="120" y="1992"/>
                  </a:lnTo>
                  <a:lnTo>
                    <a:pt x="114" y="1992"/>
                  </a:lnTo>
                  <a:lnTo>
                    <a:pt x="114" y="1986"/>
                  </a:lnTo>
                  <a:lnTo>
                    <a:pt x="108" y="1992"/>
                  </a:lnTo>
                  <a:lnTo>
                    <a:pt x="108" y="1998"/>
                  </a:lnTo>
                  <a:lnTo>
                    <a:pt x="114" y="2004"/>
                  </a:lnTo>
                  <a:lnTo>
                    <a:pt x="108" y="2004"/>
                  </a:lnTo>
                  <a:lnTo>
                    <a:pt x="102" y="2010"/>
                  </a:lnTo>
                  <a:lnTo>
                    <a:pt x="102" y="2004"/>
                  </a:lnTo>
                  <a:lnTo>
                    <a:pt x="90" y="2004"/>
                  </a:lnTo>
                  <a:lnTo>
                    <a:pt x="84" y="2004"/>
                  </a:lnTo>
                  <a:lnTo>
                    <a:pt x="78" y="1998"/>
                  </a:lnTo>
                  <a:lnTo>
                    <a:pt x="78" y="1992"/>
                  </a:lnTo>
                  <a:lnTo>
                    <a:pt x="78" y="1986"/>
                  </a:lnTo>
                  <a:lnTo>
                    <a:pt x="72" y="1986"/>
                  </a:lnTo>
                  <a:lnTo>
                    <a:pt x="66" y="1980"/>
                  </a:lnTo>
                  <a:lnTo>
                    <a:pt x="66" y="1968"/>
                  </a:lnTo>
                  <a:lnTo>
                    <a:pt x="60" y="1956"/>
                  </a:lnTo>
                  <a:lnTo>
                    <a:pt x="60" y="1950"/>
                  </a:lnTo>
                  <a:lnTo>
                    <a:pt x="48" y="1944"/>
                  </a:lnTo>
                  <a:lnTo>
                    <a:pt x="30" y="1926"/>
                  </a:lnTo>
                  <a:lnTo>
                    <a:pt x="12" y="1890"/>
                  </a:lnTo>
                  <a:lnTo>
                    <a:pt x="6" y="1872"/>
                  </a:lnTo>
                  <a:lnTo>
                    <a:pt x="0" y="1854"/>
                  </a:lnTo>
                  <a:lnTo>
                    <a:pt x="6" y="1824"/>
                  </a:lnTo>
                  <a:lnTo>
                    <a:pt x="30" y="1794"/>
                  </a:lnTo>
                  <a:lnTo>
                    <a:pt x="66" y="1752"/>
                  </a:lnTo>
                  <a:lnTo>
                    <a:pt x="72" y="1752"/>
                  </a:lnTo>
                  <a:lnTo>
                    <a:pt x="78" y="1746"/>
                  </a:lnTo>
                  <a:lnTo>
                    <a:pt x="84" y="1746"/>
                  </a:lnTo>
                  <a:lnTo>
                    <a:pt x="90" y="1746"/>
                  </a:lnTo>
                  <a:lnTo>
                    <a:pt x="138" y="1674"/>
                  </a:lnTo>
                  <a:lnTo>
                    <a:pt x="186" y="1620"/>
                  </a:lnTo>
                  <a:lnTo>
                    <a:pt x="186" y="1614"/>
                  </a:lnTo>
                  <a:lnTo>
                    <a:pt x="186" y="1608"/>
                  </a:lnTo>
                  <a:lnTo>
                    <a:pt x="192" y="1608"/>
                  </a:lnTo>
                  <a:lnTo>
                    <a:pt x="192" y="1614"/>
                  </a:lnTo>
                  <a:lnTo>
                    <a:pt x="198" y="1614"/>
                  </a:lnTo>
                  <a:lnTo>
                    <a:pt x="198" y="1608"/>
                  </a:lnTo>
                  <a:lnTo>
                    <a:pt x="198" y="1602"/>
                  </a:lnTo>
                  <a:lnTo>
                    <a:pt x="204" y="1602"/>
                  </a:lnTo>
                  <a:lnTo>
                    <a:pt x="204" y="1596"/>
                  </a:lnTo>
                  <a:lnTo>
                    <a:pt x="210" y="1590"/>
                  </a:lnTo>
                  <a:lnTo>
                    <a:pt x="216" y="1590"/>
                  </a:lnTo>
                  <a:lnTo>
                    <a:pt x="216" y="1584"/>
                  </a:lnTo>
                  <a:lnTo>
                    <a:pt x="222" y="1584"/>
                  </a:lnTo>
                  <a:lnTo>
                    <a:pt x="228" y="1572"/>
                  </a:lnTo>
                  <a:lnTo>
                    <a:pt x="222" y="1572"/>
                  </a:lnTo>
                  <a:lnTo>
                    <a:pt x="228" y="1566"/>
                  </a:lnTo>
                  <a:lnTo>
                    <a:pt x="228" y="1560"/>
                  </a:lnTo>
                  <a:lnTo>
                    <a:pt x="252" y="1548"/>
                  </a:lnTo>
                  <a:lnTo>
                    <a:pt x="276" y="1530"/>
                  </a:lnTo>
                  <a:lnTo>
                    <a:pt x="282" y="1512"/>
                  </a:lnTo>
                  <a:lnTo>
                    <a:pt x="282" y="1506"/>
                  </a:lnTo>
                  <a:lnTo>
                    <a:pt x="282" y="1494"/>
                  </a:lnTo>
                  <a:lnTo>
                    <a:pt x="282" y="1452"/>
                  </a:lnTo>
                  <a:lnTo>
                    <a:pt x="288" y="1440"/>
                  </a:lnTo>
                  <a:lnTo>
                    <a:pt x="294" y="1440"/>
                  </a:lnTo>
                  <a:lnTo>
                    <a:pt x="294" y="1428"/>
                  </a:lnTo>
                  <a:lnTo>
                    <a:pt x="324" y="1368"/>
                  </a:lnTo>
                  <a:lnTo>
                    <a:pt x="330" y="1362"/>
                  </a:lnTo>
                  <a:lnTo>
                    <a:pt x="330" y="1356"/>
                  </a:lnTo>
                  <a:lnTo>
                    <a:pt x="360" y="1338"/>
                  </a:lnTo>
                  <a:lnTo>
                    <a:pt x="366" y="1296"/>
                  </a:lnTo>
                  <a:lnTo>
                    <a:pt x="354" y="1278"/>
                  </a:lnTo>
                  <a:lnTo>
                    <a:pt x="336" y="1230"/>
                  </a:lnTo>
                  <a:lnTo>
                    <a:pt x="270" y="1212"/>
                  </a:lnTo>
                  <a:lnTo>
                    <a:pt x="264" y="1212"/>
                  </a:lnTo>
                  <a:lnTo>
                    <a:pt x="252" y="1200"/>
                  </a:lnTo>
                  <a:lnTo>
                    <a:pt x="234" y="1188"/>
                  </a:lnTo>
                  <a:lnTo>
                    <a:pt x="222" y="1182"/>
                  </a:lnTo>
                  <a:lnTo>
                    <a:pt x="228" y="1104"/>
                  </a:lnTo>
                  <a:lnTo>
                    <a:pt x="228" y="1098"/>
                  </a:lnTo>
                  <a:lnTo>
                    <a:pt x="198" y="1038"/>
                  </a:lnTo>
                  <a:lnTo>
                    <a:pt x="192" y="1032"/>
                  </a:lnTo>
                  <a:lnTo>
                    <a:pt x="180" y="1020"/>
                  </a:lnTo>
                  <a:lnTo>
                    <a:pt x="168" y="996"/>
                  </a:lnTo>
                  <a:lnTo>
                    <a:pt x="162" y="990"/>
                  </a:lnTo>
                  <a:lnTo>
                    <a:pt x="156" y="990"/>
                  </a:lnTo>
                  <a:lnTo>
                    <a:pt x="150" y="990"/>
                  </a:lnTo>
                  <a:lnTo>
                    <a:pt x="132" y="990"/>
                  </a:lnTo>
                  <a:lnTo>
                    <a:pt x="120" y="984"/>
                  </a:lnTo>
                  <a:lnTo>
                    <a:pt x="120" y="990"/>
                  </a:lnTo>
                  <a:lnTo>
                    <a:pt x="114" y="990"/>
                  </a:lnTo>
                  <a:lnTo>
                    <a:pt x="102" y="984"/>
                  </a:lnTo>
                  <a:lnTo>
                    <a:pt x="96" y="984"/>
                  </a:lnTo>
                  <a:lnTo>
                    <a:pt x="96" y="978"/>
                  </a:lnTo>
                  <a:lnTo>
                    <a:pt x="90" y="978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84" y="960"/>
                  </a:lnTo>
                  <a:lnTo>
                    <a:pt x="84" y="954"/>
                  </a:lnTo>
                  <a:lnTo>
                    <a:pt x="78" y="948"/>
                  </a:lnTo>
                  <a:lnTo>
                    <a:pt x="72" y="948"/>
                  </a:lnTo>
                  <a:lnTo>
                    <a:pt x="72" y="942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06"/>
                  </a:lnTo>
                  <a:lnTo>
                    <a:pt x="60" y="888"/>
                  </a:lnTo>
                  <a:lnTo>
                    <a:pt x="54" y="882"/>
                  </a:lnTo>
                  <a:lnTo>
                    <a:pt x="60" y="882"/>
                  </a:lnTo>
                  <a:lnTo>
                    <a:pt x="72" y="876"/>
                  </a:lnTo>
                  <a:lnTo>
                    <a:pt x="78" y="876"/>
                  </a:lnTo>
                  <a:lnTo>
                    <a:pt x="90" y="870"/>
                  </a:lnTo>
                  <a:lnTo>
                    <a:pt x="90" y="864"/>
                  </a:lnTo>
                  <a:lnTo>
                    <a:pt x="96" y="840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80" y="822"/>
                  </a:lnTo>
                  <a:lnTo>
                    <a:pt x="204" y="798"/>
                  </a:lnTo>
                  <a:lnTo>
                    <a:pt x="222" y="786"/>
                  </a:lnTo>
                  <a:lnTo>
                    <a:pt x="252" y="780"/>
                  </a:lnTo>
                  <a:lnTo>
                    <a:pt x="264" y="762"/>
                  </a:lnTo>
                  <a:lnTo>
                    <a:pt x="276" y="762"/>
                  </a:lnTo>
                  <a:lnTo>
                    <a:pt x="288" y="744"/>
                  </a:lnTo>
                  <a:lnTo>
                    <a:pt x="306" y="738"/>
                  </a:lnTo>
                  <a:lnTo>
                    <a:pt x="318" y="732"/>
                  </a:lnTo>
                  <a:lnTo>
                    <a:pt x="324" y="648"/>
                  </a:lnTo>
                  <a:lnTo>
                    <a:pt x="324" y="636"/>
                  </a:lnTo>
                  <a:lnTo>
                    <a:pt x="324" y="630"/>
                  </a:lnTo>
                  <a:lnTo>
                    <a:pt x="330" y="624"/>
                  </a:lnTo>
                  <a:lnTo>
                    <a:pt x="324" y="618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24" y="588"/>
                  </a:lnTo>
                  <a:lnTo>
                    <a:pt x="318" y="576"/>
                  </a:lnTo>
                  <a:lnTo>
                    <a:pt x="318" y="570"/>
                  </a:lnTo>
                  <a:lnTo>
                    <a:pt x="324" y="570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30" y="558"/>
                  </a:lnTo>
                  <a:lnTo>
                    <a:pt x="336" y="558"/>
                  </a:lnTo>
                  <a:lnTo>
                    <a:pt x="342" y="558"/>
                  </a:lnTo>
                  <a:lnTo>
                    <a:pt x="348" y="558"/>
                  </a:lnTo>
                  <a:lnTo>
                    <a:pt x="354" y="564"/>
                  </a:lnTo>
                  <a:lnTo>
                    <a:pt x="360" y="564"/>
                  </a:lnTo>
                  <a:lnTo>
                    <a:pt x="366" y="570"/>
                  </a:lnTo>
                  <a:lnTo>
                    <a:pt x="366" y="576"/>
                  </a:lnTo>
                  <a:lnTo>
                    <a:pt x="372" y="570"/>
                  </a:lnTo>
                  <a:lnTo>
                    <a:pt x="378" y="570"/>
                  </a:lnTo>
                  <a:lnTo>
                    <a:pt x="390" y="570"/>
                  </a:lnTo>
                  <a:lnTo>
                    <a:pt x="402" y="570"/>
                  </a:lnTo>
                  <a:lnTo>
                    <a:pt x="408" y="570"/>
                  </a:lnTo>
                  <a:lnTo>
                    <a:pt x="414" y="564"/>
                  </a:lnTo>
                  <a:lnTo>
                    <a:pt x="420" y="564"/>
                  </a:lnTo>
                  <a:lnTo>
                    <a:pt x="420" y="570"/>
                  </a:lnTo>
                  <a:lnTo>
                    <a:pt x="426" y="570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44" y="570"/>
                  </a:lnTo>
                  <a:lnTo>
                    <a:pt x="450" y="564"/>
                  </a:lnTo>
                  <a:lnTo>
                    <a:pt x="474" y="558"/>
                  </a:lnTo>
                  <a:lnTo>
                    <a:pt x="486" y="54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40" y="474"/>
                  </a:lnTo>
                  <a:lnTo>
                    <a:pt x="558" y="456"/>
                  </a:lnTo>
                  <a:lnTo>
                    <a:pt x="582" y="450"/>
                  </a:lnTo>
                  <a:lnTo>
                    <a:pt x="594" y="414"/>
                  </a:lnTo>
                  <a:lnTo>
                    <a:pt x="612" y="390"/>
                  </a:lnTo>
                  <a:lnTo>
                    <a:pt x="636" y="390"/>
                  </a:lnTo>
                  <a:lnTo>
                    <a:pt x="666" y="390"/>
                  </a:lnTo>
                  <a:lnTo>
                    <a:pt x="696" y="390"/>
                  </a:lnTo>
                  <a:lnTo>
                    <a:pt x="726" y="390"/>
                  </a:lnTo>
                  <a:lnTo>
                    <a:pt x="762" y="378"/>
                  </a:lnTo>
                  <a:lnTo>
                    <a:pt x="780" y="366"/>
                  </a:lnTo>
                  <a:lnTo>
                    <a:pt x="780" y="342"/>
                  </a:lnTo>
                  <a:lnTo>
                    <a:pt x="786" y="342"/>
                  </a:lnTo>
                  <a:lnTo>
                    <a:pt x="786" y="336"/>
                  </a:lnTo>
                  <a:lnTo>
                    <a:pt x="786" y="330"/>
                  </a:lnTo>
                  <a:lnTo>
                    <a:pt x="786" y="324"/>
                  </a:lnTo>
                  <a:lnTo>
                    <a:pt x="816" y="318"/>
                  </a:lnTo>
                  <a:lnTo>
                    <a:pt x="834" y="312"/>
                  </a:lnTo>
                  <a:lnTo>
                    <a:pt x="840" y="318"/>
                  </a:lnTo>
                  <a:lnTo>
                    <a:pt x="852" y="318"/>
                  </a:lnTo>
                  <a:lnTo>
                    <a:pt x="858" y="306"/>
                  </a:lnTo>
                  <a:lnTo>
                    <a:pt x="864" y="288"/>
                  </a:lnTo>
                  <a:lnTo>
                    <a:pt x="870" y="282"/>
                  </a:lnTo>
                  <a:lnTo>
                    <a:pt x="876" y="276"/>
                  </a:lnTo>
                  <a:lnTo>
                    <a:pt x="882" y="264"/>
                  </a:lnTo>
                  <a:lnTo>
                    <a:pt x="882" y="258"/>
                  </a:lnTo>
                  <a:lnTo>
                    <a:pt x="888" y="252"/>
                  </a:lnTo>
                  <a:lnTo>
                    <a:pt x="894" y="240"/>
                  </a:lnTo>
                  <a:lnTo>
                    <a:pt x="906" y="228"/>
                  </a:lnTo>
                  <a:lnTo>
                    <a:pt x="912" y="228"/>
                  </a:lnTo>
                  <a:lnTo>
                    <a:pt x="936" y="228"/>
                  </a:lnTo>
                  <a:lnTo>
                    <a:pt x="942" y="222"/>
                  </a:lnTo>
                  <a:lnTo>
                    <a:pt x="948" y="216"/>
                  </a:lnTo>
                  <a:lnTo>
                    <a:pt x="954" y="216"/>
                  </a:lnTo>
                  <a:lnTo>
                    <a:pt x="960" y="216"/>
                  </a:lnTo>
                  <a:lnTo>
                    <a:pt x="966" y="216"/>
                  </a:lnTo>
                  <a:lnTo>
                    <a:pt x="978" y="216"/>
                  </a:lnTo>
                  <a:lnTo>
                    <a:pt x="990" y="222"/>
                  </a:lnTo>
                  <a:lnTo>
                    <a:pt x="996" y="222"/>
                  </a:lnTo>
                  <a:lnTo>
                    <a:pt x="1002" y="228"/>
                  </a:lnTo>
                  <a:lnTo>
                    <a:pt x="1014" y="234"/>
                  </a:lnTo>
                  <a:lnTo>
                    <a:pt x="1020" y="234"/>
                  </a:lnTo>
                  <a:lnTo>
                    <a:pt x="1032" y="240"/>
                  </a:lnTo>
                  <a:lnTo>
                    <a:pt x="1044" y="240"/>
                  </a:lnTo>
                  <a:lnTo>
                    <a:pt x="1050" y="240"/>
                  </a:lnTo>
                  <a:lnTo>
                    <a:pt x="1056" y="246"/>
                  </a:lnTo>
                  <a:lnTo>
                    <a:pt x="1068" y="264"/>
                  </a:lnTo>
                  <a:lnTo>
                    <a:pt x="1086" y="276"/>
                  </a:lnTo>
                  <a:lnTo>
                    <a:pt x="1092" y="276"/>
                  </a:lnTo>
                  <a:lnTo>
                    <a:pt x="1104" y="282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8" y="312"/>
                  </a:lnTo>
                  <a:lnTo>
                    <a:pt x="1152" y="324"/>
                  </a:lnTo>
                  <a:lnTo>
                    <a:pt x="1188" y="324"/>
                  </a:lnTo>
                  <a:lnTo>
                    <a:pt x="1206" y="318"/>
                  </a:lnTo>
                  <a:lnTo>
                    <a:pt x="1200" y="294"/>
                  </a:lnTo>
                  <a:lnTo>
                    <a:pt x="1206" y="252"/>
                  </a:lnTo>
                  <a:lnTo>
                    <a:pt x="1218" y="222"/>
                  </a:lnTo>
                  <a:lnTo>
                    <a:pt x="1212" y="222"/>
                  </a:lnTo>
                  <a:lnTo>
                    <a:pt x="1212" y="216"/>
                  </a:lnTo>
                  <a:lnTo>
                    <a:pt x="1218" y="204"/>
                  </a:lnTo>
                  <a:lnTo>
                    <a:pt x="1224" y="198"/>
                  </a:lnTo>
                  <a:lnTo>
                    <a:pt x="1224" y="192"/>
                  </a:lnTo>
                  <a:lnTo>
                    <a:pt x="1236" y="180"/>
                  </a:lnTo>
                  <a:lnTo>
                    <a:pt x="1254" y="156"/>
                  </a:lnTo>
                  <a:lnTo>
                    <a:pt x="1260" y="150"/>
                  </a:lnTo>
                  <a:lnTo>
                    <a:pt x="1260" y="144"/>
                  </a:lnTo>
                  <a:lnTo>
                    <a:pt x="1266" y="138"/>
                  </a:lnTo>
                  <a:lnTo>
                    <a:pt x="1272" y="138"/>
                  </a:lnTo>
                  <a:lnTo>
                    <a:pt x="1272" y="120"/>
                  </a:lnTo>
                  <a:lnTo>
                    <a:pt x="1278" y="114"/>
                  </a:lnTo>
                  <a:lnTo>
                    <a:pt x="1278" y="108"/>
                  </a:lnTo>
                  <a:lnTo>
                    <a:pt x="1278" y="102"/>
                  </a:lnTo>
                  <a:lnTo>
                    <a:pt x="1278" y="90"/>
                  </a:lnTo>
                  <a:lnTo>
                    <a:pt x="1278" y="84"/>
                  </a:lnTo>
                  <a:lnTo>
                    <a:pt x="1278" y="78"/>
                  </a:lnTo>
                  <a:lnTo>
                    <a:pt x="1278" y="72"/>
                  </a:lnTo>
                  <a:lnTo>
                    <a:pt x="1278" y="60"/>
                  </a:lnTo>
                  <a:lnTo>
                    <a:pt x="1284" y="48"/>
                  </a:lnTo>
                  <a:lnTo>
                    <a:pt x="1284" y="24"/>
                  </a:lnTo>
                  <a:lnTo>
                    <a:pt x="1284" y="18"/>
                  </a:lnTo>
                  <a:lnTo>
                    <a:pt x="1308" y="24"/>
                  </a:lnTo>
                  <a:lnTo>
                    <a:pt x="1332" y="30"/>
                  </a:lnTo>
                  <a:lnTo>
                    <a:pt x="1368" y="30"/>
                  </a:lnTo>
                  <a:lnTo>
                    <a:pt x="1392" y="24"/>
                  </a:lnTo>
                  <a:lnTo>
                    <a:pt x="1410" y="18"/>
                  </a:lnTo>
                  <a:lnTo>
                    <a:pt x="1416" y="6"/>
                  </a:lnTo>
                  <a:lnTo>
                    <a:pt x="1500" y="6"/>
                  </a:lnTo>
                  <a:lnTo>
                    <a:pt x="1506" y="0"/>
                  </a:lnTo>
                  <a:lnTo>
                    <a:pt x="1506" y="6"/>
                  </a:lnTo>
                  <a:lnTo>
                    <a:pt x="1506" y="18"/>
                  </a:lnTo>
                  <a:lnTo>
                    <a:pt x="1506" y="24"/>
                  </a:lnTo>
                  <a:lnTo>
                    <a:pt x="1500" y="30"/>
                  </a:lnTo>
                  <a:lnTo>
                    <a:pt x="1500" y="42"/>
                  </a:lnTo>
                  <a:lnTo>
                    <a:pt x="1494" y="54"/>
                  </a:lnTo>
                  <a:lnTo>
                    <a:pt x="1488" y="60"/>
                  </a:lnTo>
                  <a:lnTo>
                    <a:pt x="1482" y="60"/>
                  </a:lnTo>
                  <a:lnTo>
                    <a:pt x="1476" y="66"/>
                  </a:lnTo>
                  <a:lnTo>
                    <a:pt x="1476" y="72"/>
                  </a:lnTo>
                  <a:lnTo>
                    <a:pt x="1476" y="78"/>
                  </a:lnTo>
                  <a:lnTo>
                    <a:pt x="1470" y="78"/>
                  </a:lnTo>
                  <a:lnTo>
                    <a:pt x="1464" y="90"/>
                  </a:lnTo>
                  <a:lnTo>
                    <a:pt x="1458" y="96"/>
                  </a:lnTo>
                  <a:lnTo>
                    <a:pt x="1458" y="102"/>
                  </a:lnTo>
                  <a:lnTo>
                    <a:pt x="1452" y="120"/>
                  </a:lnTo>
                  <a:lnTo>
                    <a:pt x="1452" y="132"/>
                  </a:lnTo>
                  <a:lnTo>
                    <a:pt x="1446" y="144"/>
                  </a:lnTo>
                  <a:lnTo>
                    <a:pt x="1446" y="150"/>
                  </a:lnTo>
                  <a:lnTo>
                    <a:pt x="1440" y="150"/>
                  </a:lnTo>
                  <a:lnTo>
                    <a:pt x="1434" y="156"/>
                  </a:lnTo>
                  <a:lnTo>
                    <a:pt x="1428" y="168"/>
                  </a:lnTo>
                  <a:lnTo>
                    <a:pt x="1422" y="168"/>
                  </a:lnTo>
                  <a:lnTo>
                    <a:pt x="1416" y="174"/>
                  </a:lnTo>
                  <a:lnTo>
                    <a:pt x="1410" y="186"/>
                  </a:lnTo>
                  <a:lnTo>
                    <a:pt x="1410" y="204"/>
                  </a:lnTo>
                  <a:lnTo>
                    <a:pt x="1404" y="210"/>
                  </a:lnTo>
                  <a:lnTo>
                    <a:pt x="1404" y="216"/>
                  </a:lnTo>
                  <a:lnTo>
                    <a:pt x="1410" y="228"/>
                  </a:lnTo>
                  <a:lnTo>
                    <a:pt x="1410" y="234"/>
                  </a:lnTo>
                  <a:lnTo>
                    <a:pt x="1410" y="240"/>
                  </a:lnTo>
                  <a:lnTo>
                    <a:pt x="1416" y="252"/>
                  </a:lnTo>
                  <a:lnTo>
                    <a:pt x="1416" y="258"/>
                  </a:lnTo>
                  <a:lnTo>
                    <a:pt x="1422" y="264"/>
                  </a:lnTo>
                  <a:lnTo>
                    <a:pt x="1422" y="270"/>
                  </a:lnTo>
                  <a:lnTo>
                    <a:pt x="1422" y="282"/>
                  </a:lnTo>
                  <a:lnTo>
                    <a:pt x="1416" y="288"/>
                  </a:lnTo>
                  <a:lnTo>
                    <a:pt x="1410" y="294"/>
                  </a:lnTo>
                  <a:lnTo>
                    <a:pt x="1404" y="300"/>
                  </a:lnTo>
                  <a:lnTo>
                    <a:pt x="1404" y="306"/>
                  </a:lnTo>
                  <a:lnTo>
                    <a:pt x="1398" y="324"/>
                  </a:lnTo>
                  <a:lnTo>
                    <a:pt x="1404" y="330"/>
                  </a:lnTo>
                  <a:lnTo>
                    <a:pt x="1404" y="342"/>
                  </a:lnTo>
                  <a:lnTo>
                    <a:pt x="1392" y="354"/>
                  </a:lnTo>
                  <a:lnTo>
                    <a:pt x="1392" y="360"/>
                  </a:lnTo>
                  <a:lnTo>
                    <a:pt x="1392" y="372"/>
                  </a:lnTo>
                  <a:lnTo>
                    <a:pt x="1392" y="384"/>
                  </a:lnTo>
                  <a:lnTo>
                    <a:pt x="1392" y="396"/>
                  </a:lnTo>
                  <a:lnTo>
                    <a:pt x="1392" y="408"/>
                  </a:lnTo>
                  <a:lnTo>
                    <a:pt x="1386" y="414"/>
                  </a:lnTo>
                  <a:lnTo>
                    <a:pt x="1380" y="420"/>
                  </a:lnTo>
                  <a:lnTo>
                    <a:pt x="1380" y="426"/>
                  </a:lnTo>
                  <a:lnTo>
                    <a:pt x="1368" y="432"/>
                  </a:lnTo>
                  <a:lnTo>
                    <a:pt x="1362" y="444"/>
                  </a:lnTo>
                  <a:lnTo>
                    <a:pt x="1362" y="450"/>
                  </a:lnTo>
                  <a:lnTo>
                    <a:pt x="1362" y="462"/>
                  </a:lnTo>
                  <a:lnTo>
                    <a:pt x="1362" y="468"/>
                  </a:lnTo>
                  <a:lnTo>
                    <a:pt x="1362" y="474"/>
                  </a:lnTo>
                  <a:lnTo>
                    <a:pt x="1356" y="474"/>
                  </a:lnTo>
                  <a:lnTo>
                    <a:pt x="1350" y="480"/>
                  </a:lnTo>
                  <a:lnTo>
                    <a:pt x="1344" y="486"/>
                  </a:lnTo>
                  <a:lnTo>
                    <a:pt x="1338" y="498"/>
                  </a:lnTo>
                  <a:lnTo>
                    <a:pt x="1332" y="510"/>
                  </a:lnTo>
                  <a:lnTo>
                    <a:pt x="1320" y="510"/>
                  </a:lnTo>
                  <a:lnTo>
                    <a:pt x="1314" y="516"/>
                  </a:lnTo>
                  <a:lnTo>
                    <a:pt x="1302" y="522"/>
                  </a:lnTo>
                  <a:lnTo>
                    <a:pt x="1296" y="522"/>
                  </a:lnTo>
                  <a:lnTo>
                    <a:pt x="1284" y="516"/>
                  </a:lnTo>
                  <a:lnTo>
                    <a:pt x="1278" y="516"/>
                  </a:lnTo>
                  <a:lnTo>
                    <a:pt x="1272" y="522"/>
                  </a:lnTo>
                  <a:lnTo>
                    <a:pt x="1266" y="522"/>
                  </a:lnTo>
                  <a:lnTo>
                    <a:pt x="1266" y="528"/>
                  </a:lnTo>
                  <a:lnTo>
                    <a:pt x="1254" y="540"/>
                  </a:lnTo>
                  <a:lnTo>
                    <a:pt x="1248" y="546"/>
                  </a:lnTo>
                  <a:lnTo>
                    <a:pt x="1242" y="558"/>
                  </a:lnTo>
                  <a:lnTo>
                    <a:pt x="1230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30" y="594"/>
                  </a:lnTo>
                  <a:lnTo>
                    <a:pt x="1230" y="600"/>
                  </a:lnTo>
                  <a:lnTo>
                    <a:pt x="1236" y="606"/>
                  </a:lnTo>
                  <a:lnTo>
                    <a:pt x="1242" y="606"/>
                  </a:lnTo>
                  <a:lnTo>
                    <a:pt x="1242" y="612"/>
                  </a:lnTo>
                  <a:lnTo>
                    <a:pt x="1242" y="618"/>
                  </a:lnTo>
                  <a:lnTo>
                    <a:pt x="1242" y="624"/>
                  </a:lnTo>
                  <a:lnTo>
                    <a:pt x="1236" y="630"/>
                  </a:lnTo>
                  <a:lnTo>
                    <a:pt x="1230" y="642"/>
                  </a:lnTo>
                  <a:lnTo>
                    <a:pt x="1230" y="648"/>
                  </a:lnTo>
                  <a:lnTo>
                    <a:pt x="1218" y="654"/>
                  </a:lnTo>
                  <a:lnTo>
                    <a:pt x="1212" y="654"/>
                  </a:lnTo>
                  <a:lnTo>
                    <a:pt x="1212" y="660"/>
                  </a:lnTo>
                  <a:lnTo>
                    <a:pt x="1212" y="666"/>
                  </a:lnTo>
                  <a:lnTo>
                    <a:pt x="1212" y="672"/>
                  </a:lnTo>
                  <a:lnTo>
                    <a:pt x="1212" y="678"/>
                  </a:lnTo>
                  <a:lnTo>
                    <a:pt x="1218" y="684"/>
                  </a:lnTo>
                  <a:lnTo>
                    <a:pt x="1218" y="690"/>
                  </a:lnTo>
                  <a:lnTo>
                    <a:pt x="1224" y="696"/>
                  </a:lnTo>
                  <a:lnTo>
                    <a:pt x="1230" y="702"/>
                  </a:lnTo>
                  <a:lnTo>
                    <a:pt x="1236" y="696"/>
                  </a:lnTo>
                  <a:lnTo>
                    <a:pt x="1242" y="702"/>
                  </a:lnTo>
                  <a:lnTo>
                    <a:pt x="1248" y="708"/>
                  </a:lnTo>
                  <a:lnTo>
                    <a:pt x="1254" y="714"/>
                  </a:lnTo>
                  <a:lnTo>
                    <a:pt x="1254" y="720"/>
                  </a:lnTo>
                  <a:lnTo>
                    <a:pt x="1260" y="720"/>
                  </a:lnTo>
                  <a:lnTo>
                    <a:pt x="1254" y="732"/>
                  </a:lnTo>
                  <a:lnTo>
                    <a:pt x="1248" y="738"/>
                  </a:lnTo>
                  <a:lnTo>
                    <a:pt x="1242" y="744"/>
                  </a:lnTo>
                  <a:lnTo>
                    <a:pt x="1236" y="750"/>
                  </a:lnTo>
                  <a:lnTo>
                    <a:pt x="1236" y="756"/>
                  </a:lnTo>
                  <a:lnTo>
                    <a:pt x="1236" y="762"/>
                  </a:lnTo>
                  <a:lnTo>
                    <a:pt x="1236" y="768"/>
                  </a:lnTo>
                  <a:lnTo>
                    <a:pt x="1236" y="780"/>
                  </a:lnTo>
                  <a:lnTo>
                    <a:pt x="1230" y="780"/>
                  </a:lnTo>
                  <a:lnTo>
                    <a:pt x="1230" y="786"/>
                  </a:lnTo>
                  <a:lnTo>
                    <a:pt x="1230" y="792"/>
                  </a:lnTo>
                  <a:lnTo>
                    <a:pt x="1230" y="804"/>
                  </a:lnTo>
                  <a:lnTo>
                    <a:pt x="1224" y="810"/>
                  </a:lnTo>
                  <a:lnTo>
                    <a:pt x="1218" y="816"/>
                  </a:lnTo>
                  <a:lnTo>
                    <a:pt x="1224" y="822"/>
                  </a:lnTo>
                  <a:lnTo>
                    <a:pt x="1224" y="828"/>
                  </a:lnTo>
                  <a:lnTo>
                    <a:pt x="1218" y="834"/>
                  </a:lnTo>
                  <a:lnTo>
                    <a:pt x="1224" y="834"/>
                  </a:lnTo>
                  <a:lnTo>
                    <a:pt x="1224" y="840"/>
                  </a:lnTo>
                  <a:lnTo>
                    <a:pt x="1224" y="846"/>
                  </a:lnTo>
                  <a:lnTo>
                    <a:pt x="1224" y="852"/>
                  </a:lnTo>
                  <a:lnTo>
                    <a:pt x="1218" y="858"/>
                  </a:lnTo>
                  <a:lnTo>
                    <a:pt x="1218" y="870"/>
                  </a:lnTo>
                  <a:lnTo>
                    <a:pt x="1212" y="870"/>
                  </a:lnTo>
                  <a:lnTo>
                    <a:pt x="1212" y="876"/>
                  </a:lnTo>
                  <a:lnTo>
                    <a:pt x="1206" y="888"/>
                  </a:lnTo>
                  <a:lnTo>
                    <a:pt x="1200" y="882"/>
                  </a:lnTo>
                  <a:lnTo>
                    <a:pt x="1194" y="888"/>
                  </a:lnTo>
                  <a:lnTo>
                    <a:pt x="1188" y="894"/>
                  </a:lnTo>
                  <a:lnTo>
                    <a:pt x="1182" y="894"/>
                  </a:lnTo>
                  <a:lnTo>
                    <a:pt x="1182" y="900"/>
                  </a:lnTo>
                  <a:lnTo>
                    <a:pt x="1176" y="900"/>
                  </a:lnTo>
                  <a:lnTo>
                    <a:pt x="1170" y="894"/>
                  </a:lnTo>
                  <a:lnTo>
                    <a:pt x="1164" y="900"/>
                  </a:lnTo>
                  <a:lnTo>
                    <a:pt x="1158" y="900"/>
                  </a:lnTo>
                  <a:lnTo>
                    <a:pt x="1152" y="900"/>
                  </a:lnTo>
                  <a:lnTo>
                    <a:pt x="1140" y="900"/>
                  </a:lnTo>
                  <a:lnTo>
                    <a:pt x="1134" y="900"/>
                  </a:lnTo>
                  <a:lnTo>
                    <a:pt x="1128" y="906"/>
                  </a:lnTo>
                  <a:lnTo>
                    <a:pt x="1110" y="906"/>
                  </a:lnTo>
                  <a:lnTo>
                    <a:pt x="1104" y="906"/>
                  </a:lnTo>
                  <a:lnTo>
                    <a:pt x="1098" y="906"/>
                  </a:lnTo>
                  <a:lnTo>
                    <a:pt x="1092" y="912"/>
                  </a:lnTo>
                  <a:lnTo>
                    <a:pt x="1080" y="918"/>
                  </a:lnTo>
                  <a:lnTo>
                    <a:pt x="1068" y="930"/>
                  </a:lnTo>
                  <a:lnTo>
                    <a:pt x="1062" y="930"/>
                  </a:lnTo>
                  <a:lnTo>
                    <a:pt x="1056" y="930"/>
                  </a:lnTo>
                  <a:lnTo>
                    <a:pt x="1050" y="930"/>
                  </a:lnTo>
                  <a:lnTo>
                    <a:pt x="1050" y="936"/>
                  </a:lnTo>
                  <a:lnTo>
                    <a:pt x="1038" y="942"/>
                  </a:lnTo>
                  <a:lnTo>
                    <a:pt x="1032" y="948"/>
                  </a:lnTo>
                  <a:lnTo>
                    <a:pt x="1026" y="954"/>
                  </a:lnTo>
                  <a:lnTo>
                    <a:pt x="1020" y="960"/>
                  </a:lnTo>
                  <a:lnTo>
                    <a:pt x="1014" y="966"/>
                  </a:lnTo>
                  <a:lnTo>
                    <a:pt x="1002" y="966"/>
                  </a:lnTo>
                  <a:lnTo>
                    <a:pt x="990" y="978"/>
                  </a:lnTo>
                  <a:lnTo>
                    <a:pt x="984" y="978"/>
                  </a:lnTo>
                  <a:lnTo>
                    <a:pt x="978" y="984"/>
                  </a:lnTo>
                  <a:lnTo>
                    <a:pt x="972" y="984"/>
                  </a:lnTo>
                  <a:lnTo>
                    <a:pt x="978" y="990"/>
                  </a:lnTo>
                  <a:lnTo>
                    <a:pt x="972" y="996"/>
                  </a:lnTo>
                  <a:lnTo>
                    <a:pt x="978" y="1002"/>
                  </a:lnTo>
                  <a:lnTo>
                    <a:pt x="1002" y="1002"/>
                  </a:lnTo>
                  <a:lnTo>
                    <a:pt x="1002" y="1008"/>
                  </a:lnTo>
                  <a:lnTo>
                    <a:pt x="1008" y="1020"/>
                  </a:lnTo>
                  <a:lnTo>
                    <a:pt x="1002" y="1026"/>
                  </a:lnTo>
                  <a:lnTo>
                    <a:pt x="1002" y="1032"/>
                  </a:lnTo>
                  <a:lnTo>
                    <a:pt x="1002" y="1050"/>
                  </a:lnTo>
                  <a:lnTo>
                    <a:pt x="1002" y="1056"/>
                  </a:lnTo>
                  <a:lnTo>
                    <a:pt x="1008" y="1062"/>
                  </a:lnTo>
                  <a:lnTo>
                    <a:pt x="1008" y="1074"/>
                  </a:lnTo>
                  <a:lnTo>
                    <a:pt x="1008" y="1086"/>
                  </a:lnTo>
                  <a:lnTo>
                    <a:pt x="996" y="1092"/>
                  </a:lnTo>
                  <a:lnTo>
                    <a:pt x="996" y="1098"/>
                  </a:lnTo>
                  <a:lnTo>
                    <a:pt x="996" y="1104"/>
                  </a:lnTo>
                  <a:lnTo>
                    <a:pt x="990" y="1110"/>
                  </a:lnTo>
                  <a:lnTo>
                    <a:pt x="990" y="1116"/>
                  </a:lnTo>
                  <a:lnTo>
                    <a:pt x="996" y="1122"/>
                  </a:lnTo>
                  <a:lnTo>
                    <a:pt x="990" y="1128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96" y="1140"/>
                  </a:lnTo>
                  <a:lnTo>
                    <a:pt x="996" y="1146"/>
                  </a:lnTo>
                  <a:lnTo>
                    <a:pt x="996" y="1152"/>
                  </a:lnTo>
                  <a:lnTo>
                    <a:pt x="996" y="1158"/>
                  </a:lnTo>
                  <a:lnTo>
                    <a:pt x="996" y="1164"/>
                  </a:lnTo>
                  <a:lnTo>
                    <a:pt x="996" y="1170"/>
                  </a:lnTo>
                  <a:lnTo>
                    <a:pt x="996" y="1176"/>
                  </a:lnTo>
                  <a:lnTo>
                    <a:pt x="990" y="1182"/>
                  </a:lnTo>
                  <a:lnTo>
                    <a:pt x="990" y="1188"/>
                  </a:lnTo>
                  <a:lnTo>
                    <a:pt x="984" y="1200"/>
                  </a:lnTo>
                  <a:lnTo>
                    <a:pt x="990" y="1206"/>
                  </a:lnTo>
                  <a:lnTo>
                    <a:pt x="990" y="1212"/>
                  </a:lnTo>
                  <a:lnTo>
                    <a:pt x="990" y="1218"/>
                  </a:lnTo>
                  <a:lnTo>
                    <a:pt x="978" y="1230"/>
                  </a:lnTo>
                  <a:lnTo>
                    <a:pt x="972" y="1236"/>
                  </a:lnTo>
                  <a:lnTo>
                    <a:pt x="972" y="1242"/>
                  </a:lnTo>
                  <a:lnTo>
                    <a:pt x="966" y="1248"/>
                  </a:lnTo>
                  <a:lnTo>
                    <a:pt x="960" y="1260"/>
                  </a:lnTo>
                  <a:lnTo>
                    <a:pt x="954" y="1266"/>
                  </a:lnTo>
                  <a:lnTo>
                    <a:pt x="942" y="1278"/>
                  </a:lnTo>
                  <a:lnTo>
                    <a:pt x="936" y="1278"/>
                  </a:lnTo>
                  <a:lnTo>
                    <a:pt x="936" y="1284"/>
                  </a:lnTo>
                  <a:lnTo>
                    <a:pt x="936" y="1296"/>
                  </a:lnTo>
                  <a:lnTo>
                    <a:pt x="936" y="1302"/>
                  </a:lnTo>
                  <a:lnTo>
                    <a:pt x="942" y="1302"/>
                  </a:lnTo>
                  <a:lnTo>
                    <a:pt x="942" y="1308"/>
                  </a:lnTo>
                  <a:lnTo>
                    <a:pt x="936" y="1314"/>
                  </a:lnTo>
                  <a:lnTo>
                    <a:pt x="930" y="1320"/>
                  </a:lnTo>
                  <a:lnTo>
                    <a:pt x="930" y="1326"/>
                  </a:lnTo>
                  <a:lnTo>
                    <a:pt x="930" y="1332"/>
                  </a:lnTo>
                  <a:lnTo>
                    <a:pt x="936" y="1338"/>
                  </a:lnTo>
                  <a:lnTo>
                    <a:pt x="936" y="1344"/>
                  </a:lnTo>
                  <a:lnTo>
                    <a:pt x="942" y="1356"/>
                  </a:lnTo>
                  <a:lnTo>
                    <a:pt x="948" y="1368"/>
                  </a:lnTo>
                  <a:lnTo>
                    <a:pt x="942" y="1380"/>
                  </a:lnTo>
                  <a:lnTo>
                    <a:pt x="936" y="1386"/>
                  </a:lnTo>
                  <a:lnTo>
                    <a:pt x="930" y="1392"/>
                  </a:lnTo>
                  <a:lnTo>
                    <a:pt x="924" y="1392"/>
                  </a:lnTo>
                  <a:lnTo>
                    <a:pt x="918" y="1386"/>
                  </a:lnTo>
                  <a:lnTo>
                    <a:pt x="912" y="1386"/>
                  </a:lnTo>
                  <a:lnTo>
                    <a:pt x="906" y="1386"/>
                  </a:lnTo>
                  <a:lnTo>
                    <a:pt x="900" y="1386"/>
                  </a:lnTo>
                  <a:lnTo>
                    <a:pt x="900" y="1392"/>
                  </a:lnTo>
                  <a:lnTo>
                    <a:pt x="894" y="1392"/>
                  </a:lnTo>
                  <a:lnTo>
                    <a:pt x="888" y="1392"/>
                  </a:lnTo>
                  <a:lnTo>
                    <a:pt x="888" y="1398"/>
                  </a:lnTo>
                  <a:lnTo>
                    <a:pt x="882" y="1404"/>
                  </a:lnTo>
                  <a:lnTo>
                    <a:pt x="882" y="1416"/>
                  </a:lnTo>
                  <a:lnTo>
                    <a:pt x="882" y="1428"/>
                  </a:lnTo>
                  <a:lnTo>
                    <a:pt x="882" y="1434"/>
                  </a:lnTo>
                  <a:lnTo>
                    <a:pt x="870" y="1440"/>
                  </a:lnTo>
                  <a:lnTo>
                    <a:pt x="864" y="1452"/>
                  </a:lnTo>
                  <a:lnTo>
                    <a:pt x="870" y="1452"/>
                  </a:lnTo>
                  <a:lnTo>
                    <a:pt x="864" y="1458"/>
                  </a:lnTo>
                  <a:lnTo>
                    <a:pt x="858" y="1464"/>
                  </a:lnTo>
                  <a:lnTo>
                    <a:pt x="852" y="1464"/>
                  </a:lnTo>
                  <a:lnTo>
                    <a:pt x="846" y="1458"/>
                  </a:lnTo>
                  <a:lnTo>
                    <a:pt x="840" y="1458"/>
                  </a:lnTo>
                  <a:lnTo>
                    <a:pt x="828" y="1470"/>
                  </a:lnTo>
                  <a:lnTo>
                    <a:pt x="810" y="1482"/>
                  </a:lnTo>
                  <a:lnTo>
                    <a:pt x="804" y="1488"/>
                  </a:lnTo>
                  <a:lnTo>
                    <a:pt x="798" y="1488"/>
                  </a:lnTo>
                  <a:lnTo>
                    <a:pt x="792" y="1488"/>
                  </a:lnTo>
                  <a:lnTo>
                    <a:pt x="786" y="1488"/>
                  </a:lnTo>
                  <a:lnTo>
                    <a:pt x="768" y="1482"/>
                  </a:lnTo>
                  <a:lnTo>
                    <a:pt x="762" y="1476"/>
                  </a:lnTo>
                  <a:lnTo>
                    <a:pt x="744" y="1476"/>
                  </a:lnTo>
                  <a:lnTo>
                    <a:pt x="738" y="1476"/>
                  </a:lnTo>
                  <a:lnTo>
                    <a:pt x="732" y="1476"/>
                  </a:lnTo>
                  <a:lnTo>
                    <a:pt x="726" y="1482"/>
                  </a:lnTo>
                  <a:lnTo>
                    <a:pt x="726" y="1488"/>
                  </a:lnTo>
                  <a:lnTo>
                    <a:pt x="726" y="1494"/>
                  </a:lnTo>
                  <a:lnTo>
                    <a:pt x="726" y="1500"/>
                  </a:lnTo>
                  <a:lnTo>
                    <a:pt x="720" y="1500"/>
                  </a:lnTo>
                  <a:lnTo>
                    <a:pt x="720" y="1506"/>
                  </a:lnTo>
                  <a:lnTo>
                    <a:pt x="714" y="1512"/>
                  </a:lnTo>
                  <a:lnTo>
                    <a:pt x="714" y="1518"/>
                  </a:lnTo>
                  <a:lnTo>
                    <a:pt x="708" y="1518"/>
                  </a:lnTo>
                  <a:lnTo>
                    <a:pt x="708" y="1530"/>
                  </a:lnTo>
                  <a:lnTo>
                    <a:pt x="708" y="1536"/>
                  </a:lnTo>
                  <a:lnTo>
                    <a:pt x="708" y="1542"/>
                  </a:lnTo>
                  <a:lnTo>
                    <a:pt x="696" y="1554"/>
                  </a:lnTo>
                  <a:lnTo>
                    <a:pt x="690" y="1560"/>
                  </a:lnTo>
                  <a:lnTo>
                    <a:pt x="684" y="1566"/>
                  </a:lnTo>
                  <a:lnTo>
                    <a:pt x="672" y="1566"/>
                  </a:lnTo>
                  <a:lnTo>
                    <a:pt x="666" y="1566"/>
                  </a:lnTo>
                  <a:lnTo>
                    <a:pt x="660" y="1566"/>
                  </a:lnTo>
                  <a:lnTo>
                    <a:pt x="654" y="1572"/>
                  </a:lnTo>
                  <a:lnTo>
                    <a:pt x="654" y="1578"/>
                  </a:lnTo>
                  <a:lnTo>
                    <a:pt x="642" y="1578"/>
                  </a:lnTo>
                  <a:lnTo>
                    <a:pt x="630" y="1572"/>
                  </a:lnTo>
                  <a:lnTo>
                    <a:pt x="624" y="1572"/>
                  </a:lnTo>
                  <a:lnTo>
                    <a:pt x="618" y="1578"/>
                  </a:lnTo>
                  <a:lnTo>
                    <a:pt x="612" y="1584"/>
                  </a:lnTo>
                  <a:lnTo>
                    <a:pt x="606" y="1584"/>
                  </a:lnTo>
                  <a:lnTo>
                    <a:pt x="600" y="1590"/>
                  </a:lnTo>
                  <a:lnTo>
                    <a:pt x="594" y="1590"/>
                  </a:lnTo>
                  <a:lnTo>
                    <a:pt x="588" y="1590"/>
                  </a:lnTo>
                  <a:lnTo>
                    <a:pt x="582" y="1590"/>
                  </a:lnTo>
                  <a:lnTo>
                    <a:pt x="582" y="1596"/>
                  </a:lnTo>
                  <a:lnTo>
                    <a:pt x="576" y="1614"/>
                  </a:lnTo>
                  <a:lnTo>
                    <a:pt x="570" y="1632"/>
                  </a:lnTo>
                  <a:lnTo>
                    <a:pt x="570" y="1638"/>
                  </a:lnTo>
                  <a:lnTo>
                    <a:pt x="576" y="1644"/>
                  </a:lnTo>
                  <a:lnTo>
                    <a:pt x="576" y="1650"/>
                  </a:lnTo>
                  <a:lnTo>
                    <a:pt x="582" y="1662"/>
                  </a:lnTo>
                  <a:lnTo>
                    <a:pt x="582" y="1668"/>
                  </a:lnTo>
                  <a:lnTo>
                    <a:pt x="588" y="1692"/>
                  </a:lnTo>
                  <a:lnTo>
                    <a:pt x="594" y="1728"/>
                  </a:lnTo>
                  <a:lnTo>
                    <a:pt x="594" y="1752"/>
                  </a:lnTo>
                  <a:lnTo>
                    <a:pt x="594" y="1764"/>
                  </a:lnTo>
                  <a:lnTo>
                    <a:pt x="582" y="1770"/>
                  </a:lnTo>
                  <a:lnTo>
                    <a:pt x="582" y="1782"/>
                  </a:lnTo>
                  <a:lnTo>
                    <a:pt x="576" y="1788"/>
                  </a:lnTo>
                  <a:lnTo>
                    <a:pt x="570" y="1794"/>
                  </a:lnTo>
                  <a:lnTo>
                    <a:pt x="564" y="1806"/>
                  </a:lnTo>
                  <a:lnTo>
                    <a:pt x="564" y="1812"/>
                  </a:lnTo>
                  <a:lnTo>
                    <a:pt x="558" y="1812"/>
                  </a:lnTo>
                  <a:lnTo>
                    <a:pt x="564" y="1824"/>
                  </a:lnTo>
                  <a:lnTo>
                    <a:pt x="564" y="1830"/>
                  </a:lnTo>
                  <a:lnTo>
                    <a:pt x="564" y="1842"/>
                  </a:lnTo>
                  <a:lnTo>
                    <a:pt x="564" y="1848"/>
                  </a:lnTo>
                  <a:lnTo>
                    <a:pt x="564" y="1854"/>
                  </a:lnTo>
                  <a:lnTo>
                    <a:pt x="570" y="1860"/>
                  </a:lnTo>
                  <a:lnTo>
                    <a:pt x="570" y="1866"/>
                  </a:lnTo>
                  <a:lnTo>
                    <a:pt x="570" y="1872"/>
                  </a:lnTo>
                  <a:lnTo>
                    <a:pt x="570" y="1878"/>
                  </a:lnTo>
                  <a:lnTo>
                    <a:pt x="564" y="1890"/>
                  </a:lnTo>
                  <a:lnTo>
                    <a:pt x="558" y="1896"/>
                  </a:lnTo>
                  <a:lnTo>
                    <a:pt x="552" y="1908"/>
                  </a:lnTo>
                  <a:lnTo>
                    <a:pt x="546" y="1914"/>
                  </a:lnTo>
                  <a:lnTo>
                    <a:pt x="540" y="1920"/>
                  </a:lnTo>
                  <a:lnTo>
                    <a:pt x="534" y="1932"/>
                  </a:lnTo>
                  <a:lnTo>
                    <a:pt x="528" y="1944"/>
                  </a:lnTo>
                  <a:lnTo>
                    <a:pt x="516" y="1950"/>
                  </a:lnTo>
                  <a:lnTo>
                    <a:pt x="510" y="1956"/>
                  </a:lnTo>
                  <a:lnTo>
                    <a:pt x="498" y="1962"/>
                  </a:lnTo>
                  <a:lnTo>
                    <a:pt x="492" y="1974"/>
                  </a:lnTo>
                  <a:lnTo>
                    <a:pt x="486" y="1980"/>
                  </a:lnTo>
                  <a:lnTo>
                    <a:pt x="480" y="1998"/>
                  </a:lnTo>
                  <a:lnTo>
                    <a:pt x="474" y="2004"/>
                  </a:lnTo>
                  <a:lnTo>
                    <a:pt x="474" y="2010"/>
                  </a:lnTo>
                  <a:lnTo>
                    <a:pt x="474" y="2016"/>
                  </a:lnTo>
                  <a:lnTo>
                    <a:pt x="468" y="2016"/>
                  </a:lnTo>
                  <a:lnTo>
                    <a:pt x="468" y="2028"/>
                  </a:lnTo>
                  <a:lnTo>
                    <a:pt x="462" y="2034"/>
                  </a:lnTo>
                  <a:lnTo>
                    <a:pt x="456" y="2040"/>
                  </a:lnTo>
                  <a:lnTo>
                    <a:pt x="456" y="2052"/>
                  </a:lnTo>
                  <a:lnTo>
                    <a:pt x="450" y="2058"/>
                  </a:lnTo>
                  <a:lnTo>
                    <a:pt x="450" y="2070"/>
                  </a:lnTo>
                  <a:lnTo>
                    <a:pt x="450" y="2076"/>
                  </a:lnTo>
                  <a:lnTo>
                    <a:pt x="450" y="2082"/>
                  </a:lnTo>
                  <a:lnTo>
                    <a:pt x="444" y="2088"/>
                  </a:lnTo>
                  <a:lnTo>
                    <a:pt x="438" y="2094"/>
                  </a:lnTo>
                  <a:lnTo>
                    <a:pt x="444" y="2100"/>
                  </a:lnTo>
                  <a:lnTo>
                    <a:pt x="444" y="2124"/>
                  </a:lnTo>
                  <a:lnTo>
                    <a:pt x="444" y="2142"/>
                  </a:lnTo>
                  <a:lnTo>
                    <a:pt x="444" y="2160"/>
                  </a:lnTo>
                  <a:lnTo>
                    <a:pt x="450" y="2166"/>
                  </a:lnTo>
                  <a:lnTo>
                    <a:pt x="456" y="2178"/>
                  </a:lnTo>
                  <a:lnTo>
                    <a:pt x="438" y="2184"/>
                  </a:lnTo>
                  <a:lnTo>
                    <a:pt x="432" y="2184"/>
                  </a:lnTo>
                  <a:lnTo>
                    <a:pt x="426" y="2190"/>
                  </a:lnTo>
                  <a:lnTo>
                    <a:pt x="408" y="2190"/>
                  </a:lnTo>
                  <a:lnTo>
                    <a:pt x="402" y="2196"/>
                  </a:lnTo>
                  <a:lnTo>
                    <a:pt x="396" y="2196"/>
                  </a:lnTo>
                  <a:lnTo>
                    <a:pt x="384" y="2208"/>
                  </a:lnTo>
                  <a:lnTo>
                    <a:pt x="378" y="2220"/>
                  </a:lnTo>
                  <a:lnTo>
                    <a:pt x="366" y="2232"/>
                  </a:lnTo>
                  <a:lnTo>
                    <a:pt x="366" y="2238"/>
                  </a:lnTo>
                  <a:lnTo>
                    <a:pt x="360" y="2238"/>
                  </a:lnTo>
                  <a:lnTo>
                    <a:pt x="360" y="2244"/>
                  </a:lnTo>
                  <a:lnTo>
                    <a:pt x="354" y="2244"/>
                  </a:lnTo>
                  <a:lnTo>
                    <a:pt x="330" y="227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5" name="Freeform 10">
              <a:extLst>
                <a:ext uri="{FF2B5EF4-FFF2-40B4-BE49-F238E27FC236}">
                  <a16:creationId xmlns:a16="http://schemas.microsoft.com/office/drawing/2014/main" id="{3AD2FC58-3490-4B7F-A8BE-621F3CDD69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1996" y="1931890"/>
              <a:ext cx="805029" cy="1037736"/>
            </a:xfrm>
            <a:custGeom>
              <a:avLst/>
              <a:gdLst>
                <a:gd name="T0" fmla="*/ 124 w 1512"/>
                <a:gd name="T1" fmla="*/ 76 h 1956"/>
                <a:gd name="T2" fmla="*/ 120 w 1512"/>
                <a:gd name="T3" fmla="*/ 80 h 1956"/>
                <a:gd name="T4" fmla="*/ 106 w 1512"/>
                <a:gd name="T5" fmla="*/ 84 h 1956"/>
                <a:gd name="T6" fmla="*/ 105 w 1512"/>
                <a:gd name="T7" fmla="*/ 91 h 1956"/>
                <a:gd name="T8" fmla="*/ 101 w 1512"/>
                <a:gd name="T9" fmla="*/ 99 h 1956"/>
                <a:gd name="T10" fmla="*/ 105 w 1512"/>
                <a:gd name="T11" fmla="*/ 107 h 1956"/>
                <a:gd name="T12" fmla="*/ 119 w 1512"/>
                <a:gd name="T13" fmla="*/ 116 h 1956"/>
                <a:gd name="T14" fmla="*/ 121 w 1512"/>
                <a:gd name="T15" fmla="*/ 128 h 1956"/>
                <a:gd name="T16" fmla="*/ 112 w 1512"/>
                <a:gd name="T17" fmla="*/ 136 h 1956"/>
                <a:gd name="T18" fmla="*/ 119 w 1512"/>
                <a:gd name="T19" fmla="*/ 143 h 1956"/>
                <a:gd name="T20" fmla="*/ 126 w 1512"/>
                <a:gd name="T21" fmla="*/ 148 h 1956"/>
                <a:gd name="T22" fmla="*/ 126 w 1512"/>
                <a:gd name="T23" fmla="*/ 160 h 1956"/>
                <a:gd name="T24" fmla="*/ 104 w 1512"/>
                <a:gd name="T25" fmla="*/ 170 h 1956"/>
                <a:gd name="T26" fmla="*/ 99 w 1512"/>
                <a:gd name="T27" fmla="*/ 164 h 1956"/>
                <a:gd name="T28" fmla="*/ 73 w 1512"/>
                <a:gd name="T29" fmla="*/ 152 h 1956"/>
                <a:gd name="T30" fmla="*/ 56 w 1512"/>
                <a:gd name="T31" fmla="*/ 165 h 1956"/>
                <a:gd name="T32" fmla="*/ 33 w 1512"/>
                <a:gd name="T33" fmla="*/ 162 h 1956"/>
                <a:gd name="T34" fmla="*/ 25 w 1512"/>
                <a:gd name="T35" fmla="*/ 155 h 1956"/>
                <a:gd name="T36" fmla="*/ 31 w 1512"/>
                <a:gd name="T37" fmla="*/ 142 h 1956"/>
                <a:gd name="T38" fmla="*/ 24 w 1512"/>
                <a:gd name="T39" fmla="*/ 137 h 1956"/>
                <a:gd name="T40" fmla="*/ 14 w 1512"/>
                <a:gd name="T41" fmla="*/ 136 h 1956"/>
                <a:gd name="T42" fmla="*/ 11 w 1512"/>
                <a:gd name="T43" fmla="*/ 125 h 1956"/>
                <a:gd name="T44" fmla="*/ 3 w 1512"/>
                <a:gd name="T45" fmla="*/ 116 h 1956"/>
                <a:gd name="T46" fmla="*/ 2 w 1512"/>
                <a:gd name="T47" fmla="*/ 106 h 1956"/>
                <a:gd name="T48" fmla="*/ 5 w 1512"/>
                <a:gd name="T49" fmla="*/ 101 h 1956"/>
                <a:gd name="T50" fmla="*/ 2 w 1512"/>
                <a:gd name="T51" fmla="*/ 95 h 1956"/>
                <a:gd name="T52" fmla="*/ 1 w 1512"/>
                <a:gd name="T53" fmla="*/ 88 h 1956"/>
                <a:gd name="T54" fmla="*/ 4 w 1512"/>
                <a:gd name="T55" fmla="*/ 80 h 1956"/>
                <a:gd name="T56" fmla="*/ 12 w 1512"/>
                <a:gd name="T57" fmla="*/ 73 h 1956"/>
                <a:gd name="T58" fmla="*/ 16 w 1512"/>
                <a:gd name="T59" fmla="*/ 68 h 1956"/>
                <a:gd name="T60" fmla="*/ 22 w 1512"/>
                <a:gd name="T61" fmla="*/ 66 h 1956"/>
                <a:gd name="T62" fmla="*/ 32 w 1512"/>
                <a:gd name="T63" fmla="*/ 65 h 1956"/>
                <a:gd name="T64" fmla="*/ 45 w 1512"/>
                <a:gd name="T65" fmla="*/ 66 h 1956"/>
                <a:gd name="T66" fmla="*/ 50 w 1512"/>
                <a:gd name="T67" fmla="*/ 70 h 1956"/>
                <a:gd name="T68" fmla="*/ 55 w 1512"/>
                <a:gd name="T69" fmla="*/ 70 h 1956"/>
                <a:gd name="T70" fmla="*/ 63 w 1512"/>
                <a:gd name="T71" fmla="*/ 71 h 1956"/>
                <a:gd name="T72" fmla="*/ 61 w 1512"/>
                <a:gd name="T73" fmla="*/ 75 h 1956"/>
                <a:gd name="T74" fmla="*/ 66 w 1512"/>
                <a:gd name="T75" fmla="*/ 84 h 1956"/>
                <a:gd name="T76" fmla="*/ 81 w 1512"/>
                <a:gd name="T77" fmla="*/ 85 h 1956"/>
                <a:gd name="T78" fmla="*/ 83 w 1512"/>
                <a:gd name="T79" fmla="*/ 79 h 1956"/>
                <a:gd name="T80" fmla="*/ 89 w 1512"/>
                <a:gd name="T81" fmla="*/ 77 h 1956"/>
                <a:gd name="T82" fmla="*/ 89 w 1512"/>
                <a:gd name="T83" fmla="*/ 73 h 1956"/>
                <a:gd name="T84" fmla="*/ 83 w 1512"/>
                <a:gd name="T85" fmla="*/ 72 h 1956"/>
                <a:gd name="T86" fmla="*/ 77 w 1512"/>
                <a:gd name="T87" fmla="*/ 70 h 1956"/>
                <a:gd name="T88" fmla="*/ 71 w 1512"/>
                <a:gd name="T89" fmla="*/ 70 h 1956"/>
                <a:gd name="T90" fmla="*/ 59 w 1512"/>
                <a:gd name="T91" fmla="*/ 58 h 1956"/>
                <a:gd name="T92" fmla="*/ 54 w 1512"/>
                <a:gd name="T93" fmla="*/ 45 h 1956"/>
                <a:gd name="T94" fmla="*/ 49 w 1512"/>
                <a:gd name="T95" fmla="*/ 42 h 1956"/>
                <a:gd name="T96" fmla="*/ 51 w 1512"/>
                <a:gd name="T97" fmla="*/ 39 h 1956"/>
                <a:gd name="T98" fmla="*/ 55 w 1512"/>
                <a:gd name="T99" fmla="*/ 36 h 1956"/>
                <a:gd name="T100" fmla="*/ 63 w 1512"/>
                <a:gd name="T101" fmla="*/ 34 h 1956"/>
                <a:gd name="T102" fmla="*/ 68 w 1512"/>
                <a:gd name="T103" fmla="*/ 32 h 1956"/>
                <a:gd name="T104" fmla="*/ 73 w 1512"/>
                <a:gd name="T105" fmla="*/ 29 h 1956"/>
                <a:gd name="T106" fmla="*/ 78 w 1512"/>
                <a:gd name="T107" fmla="*/ 27 h 1956"/>
                <a:gd name="T108" fmla="*/ 81 w 1512"/>
                <a:gd name="T109" fmla="*/ 17 h 1956"/>
                <a:gd name="T110" fmla="*/ 84 w 1512"/>
                <a:gd name="T111" fmla="*/ 6 h 1956"/>
                <a:gd name="T112" fmla="*/ 95 w 1512"/>
                <a:gd name="T113" fmla="*/ 6 h 1956"/>
                <a:gd name="T114" fmla="*/ 99 w 1512"/>
                <a:gd name="T115" fmla="*/ 3 h 1956"/>
                <a:gd name="T116" fmla="*/ 103 w 1512"/>
                <a:gd name="T117" fmla="*/ 0 h 1956"/>
                <a:gd name="T118" fmla="*/ 110 w 1512"/>
                <a:gd name="T119" fmla="*/ 4 h 1956"/>
                <a:gd name="T120" fmla="*/ 114 w 1512"/>
                <a:gd name="T121" fmla="*/ 33 h 1956"/>
                <a:gd name="T122" fmla="*/ 117 w 1512"/>
                <a:gd name="T123" fmla="*/ 41 h 1956"/>
                <a:gd name="T124" fmla="*/ 119 w 1512"/>
                <a:gd name="T125" fmla="*/ 62 h 195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12"/>
                <a:gd name="T190" fmla="*/ 0 h 1956"/>
                <a:gd name="T191" fmla="*/ 1512 w 1512"/>
                <a:gd name="T192" fmla="*/ 1956 h 195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12" h="1956">
                  <a:moveTo>
                    <a:pt x="1512" y="780"/>
                  </a:moveTo>
                  <a:lnTo>
                    <a:pt x="1482" y="786"/>
                  </a:lnTo>
                  <a:lnTo>
                    <a:pt x="1476" y="792"/>
                  </a:lnTo>
                  <a:lnTo>
                    <a:pt x="1476" y="798"/>
                  </a:lnTo>
                  <a:lnTo>
                    <a:pt x="1476" y="804"/>
                  </a:lnTo>
                  <a:lnTo>
                    <a:pt x="1476" y="816"/>
                  </a:lnTo>
                  <a:lnTo>
                    <a:pt x="1470" y="834"/>
                  </a:lnTo>
                  <a:lnTo>
                    <a:pt x="1464" y="840"/>
                  </a:lnTo>
                  <a:lnTo>
                    <a:pt x="1452" y="852"/>
                  </a:lnTo>
                  <a:lnTo>
                    <a:pt x="1440" y="864"/>
                  </a:lnTo>
                  <a:lnTo>
                    <a:pt x="1434" y="864"/>
                  </a:lnTo>
                  <a:lnTo>
                    <a:pt x="1434" y="870"/>
                  </a:lnTo>
                  <a:lnTo>
                    <a:pt x="1422" y="876"/>
                  </a:lnTo>
                  <a:lnTo>
                    <a:pt x="1410" y="894"/>
                  </a:lnTo>
                  <a:lnTo>
                    <a:pt x="1404" y="894"/>
                  </a:lnTo>
                  <a:lnTo>
                    <a:pt x="1404" y="900"/>
                  </a:lnTo>
                  <a:lnTo>
                    <a:pt x="1404" y="906"/>
                  </a:lnTo>
                  <a:lnTo>
                    <a:pt x="1410" y="918"/>
                  </a:lnTo>
                  <a:lnTo>
                    <a:pt x="1404" y="918"/>
                  </a:lnTo>
                  <a:lnTo>
                    <a:pt x="1392" y="924"/>
                  </a:lnTo>
                  <a:lnTo>
                    <a:pt x="1386" y="924"/>
                  </a:lnTo>
                  <a:lnTo>
                    <a:pt x="1380" y="924"/>
                  </a:lnTo>
                  <a:lnTo>
                    <a:pt x="1380" y="930"/>
                  </a:lnTo>
                  <a:lnTo>
                    <a:pt x="1374" y="930"/>
                  </a:lnTo>
                  <a:lnTo>
                    <a:pt x="1374" y="924"/>
                  </a:lnTo>
                  <a:lnTo>
                    <a:pt x="1374" y="918"/>
                  </a:lnTo>
                  <a:lnTo>
                    <a:pt x="1368" y="912"/>
                  </a:lnTo>
                  <a:lnTo>
                    <a:pt x="1368" y="906"/>
                  </a:lnTo>
                  <a:lnTo>
                    <a:pt x="1368" y="900"/>
                  </a:lnTo>
                  <a:lnTo>
                    <a:pt x="1368" y="894"/>
                  </a:lnTo>
                  <a:lnTo>
                    <a:pt x="1362" y="894"/>
                  </a:lnTo>
                  <a:lnTo>
                    <a:pt x="1326" y="894"/>
                  </a:lnTo>
                  <a:lnTo>
                    <a:pt x="1302" y="906"/>
                  </a:lnTo>
                  <a:lnTo>
                    <a:pt x="1284" y="918"/>
                  </a:lnTo>
                  <a:lnTo>
                    <a:pt x="1284" y="924"/>
                  </a:lnTo>
                  <a:lnTo>
                    <a:pt x="1278" y="930"/>
                  </a:lnTo>
                  <a:lnTo>
                    <a:pt x="1266" y="930"/>
                  </a:lnTo>
                  <a:lnTo>
                    <a:pt x="1236" y="954"/>
                  </a:lnTo>
                  <a:lnTo>
                    <a:pt x="1212" y="972"/>
                  </a:lnTo>
                  <a:lnTo>
                    <a:pt x="1218" y="996"/>
                  </a:lnTo>
                  <a:lnTo>
                    <a:pt x="1224" y="1008"/>
                  </a:lnTo>
                  <a:lnTo>
                    <a:pt x="1236" y="1014"/>
                  </a:lnTo>
                  <a:lnTo>
                    <a:pt x="1242" y="1026"/>
                  </a:lnTo>
                  <a:lnTo>
                    <a:pt x="1248" y="1038"/>
                  </a:lnTo>
                  <a:lnTo>
                    <a:pt x="1260" y="1050"/>
                  </a:lnTo>
                  <a:lnTo>
                    <a:pt x="1260" y="1056"/>
                  </a:lnTo>
                  <a:lnTo>
                    <a:pt x="1260" y="1074"/>
                  </a:lnTo>
                  <a:lnTo>
                    <a:pt x="1254" y="1074"/>
                  </a:lnTo>
                  <a:lnTo>
                    <a:pt x="1236" y="1056"/>
                  </a:lnTo>
                  <a:lnTo>
                    <a:pt x="1224" y="1050"/>
                  </a:lnTo>
                  <a:lnTo>
                    <a:pt x="1212" y="1050"/>
                  </a:lnTo>
                  <a:lnTo>
                    <a:pt x="1206" y="1050"/>
                  </a:lnTo>
                  <a:lnTo>
                    <a:pt x="1200" y="1056"/>
                  </a:lnTo>
                  <a:lnTo>
                    <a:pt x="1194" y="1062"/>
                  </a:lnTo>
                  <a:lnTo>
                    <a:pt x="1188" y="1068"/>
                  </a:lnTo>
                  <a:lnTo>
                    <a:pt x="1188" y="1074"/>
                  </a:lnTo>
                  <a:lnTo>
                    <a:pt x="1176" y="1086"/>
                  </a:lnTo>
                  <a:lnTo>
                    <a:pt x="1170" y="1086"/>
                  </a:lnTo>
                  <a:lnTo>
                    <a:pt x="1170" y="1092"/>
                  </a:lnTo>
                  <a:lnTo>
                    <a:pt x="1164" y="1098"/>
                  </a:lnTo>
                  <a:lnTo>
                    <a:pt x="1158" y="1110"/>
                  </a:lnTo>
                  <a:lnTo>
                    <a:pt x="1152" y="1116"/>
                  </a:lnTo>
                  <a:lnTo>
                    <a:pt x="1152" y="1122"/>
                  </a:lnTo>
                  <a:lnTo>
                    <a:pt x="1146" y="1128"/>
                  </a:lnTo>
                  <a:lnTo>
                    <a:pt x="1152" y="1140"/>
                  </a:lnTo>
                  <a:lnTo>
                    <a:pt x="1158" y="1140"/>
                  </a:lnTo>
                  <a:lnTo>
                    <a:pt x="1164" y="1146"/>
                  </a:lnTo>
                  <a:lnTo>
                    <a:pt x="1164" y="1152"/>
                  </a:lnTo>
                  <a:lnTo>
                    <a:pt x="1170" y="1164"/>
                  </a:lnTo>
                  <a:lnTo>
                    <a:pt x="1164" y="1176"/>
                  </a:lnTo>
                  <a:lnTo>
                    <a:pt x="1170" y="1182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82" y="1218"/>
                  </a:lnTo>
                  <a:lnTo>
                    <a:pt x="1188" y="1218"/>
                  </a:lnTo>
                  <a:lnTo>
                    <a:pt x="1194" y="1218"/>
                  </a:lnTo>
                  <a:lnTo>
                    <a:pt x="1194" y="1224"/>
                  </a:lnTo>
                  <a:lnTo>
                    <a:pt x="1200" y="1230"/>
                  </a:lnTo>
                  <a:lnTo>
                    <a:pt x="1200" y="1248"/>
                  </a:lnTo>
                  <a:lnTo>
                    <a:pt x="1212" y="1266"/>
                  </a:lnTo>
                  <a:lnTo>
                    <a:pt x="1218" y="1278"/>
                  </a:lnTo>
                  <a:lnTo>
                    <a:pt x="1224" y="1284"/>
                  </a:lnTo>
                  <a:lnTo>
                    <a:pt x="1236" y="1296"/>
                  </a:lnTo>
                  <a:lnTo>
                    <a:pt x="1242" y="1302"/>
                  </a:lnTo>
                  <a:lnTo>
                    <a:pt x="1242" y="1308"/>
                  </a:lnTo>
                  <a:lnTo>
                    <a:pt x="1272" y="1308"/>
                  </a:lnTo>
                  <a:lnTo>
                    <a:pt x="1296" y="1314"/>
                  </a:lnTo>
                  <a:lnTo>
                    <a:pt x="1320" y="1320"/>
                  </a:lnTo>
                  <a:lnTo>
                    <a:pt x="1338" y="1320"/>
                  </a:lnTo>
                  <a:lnTo>
                    <a:pt x="1356" y="1332"/>
                  </a:lnTo>
                  <a:lnTo>
                    <a:pt x="1368" y="1344"/>
                  </a:lnTo>
                  <a:lnTo>
                    <a:pt x="1374" y="1362"/>
                  </a:lnTo>
                  <a:lnTo>
                    <a:pt x="1368" y="1362"/>
                  </a:lnTo>
                  <a:lnTo>
                    <a:pt x="1368" y="1398"/>
                  </a:lnTo>
                  <a:lnTo>
                    <a:pt x="1368" y="1410"/>
                  </a:lnTo>
                  <a:lnTo>
                    <a:pt x="1368" y="1428"/>
                  </a:lnTo>
                  <a:lnTo>
                    <a:pt x="1368" y="1434"/>
                  </a:lnTo>
                  <a:lnTo>
                    <a:pt x="1368" y="1440"/>
                  </a:lnTo>
                  <a:lnTo>
                    <a:pt x="1374" y="1446"/>
                  </a:lnTo>
                  <a:lnTo>
                    <a:pt x="1374" y="1452"/>
                  </a:lnTo>
                  <a:lnTo>
                    <a:pt x="1380" y="1458"/>
                  </a:lnTo>
                  <a:lnTo>
                    <a:pt x="1386" y="1464"/>
                  </a:lnTo>
                  <a:lnTo>
                    <a:pt x="1386" y="1470"/>
                  </a:lnTo>
                  <a:lnTo>
                    <a:pt x="1380" y="1476"/>
                  </a:lnTo>
                  <a:lnTo>
                    <a:pt x="1374" y="1482"/>
                  </a:lnTo>
                  <a:lnTo>
                    <a:pt x="1362" y="1500"/>
                  </a:lnTo>
                  <a:lnTo>
                    <a:pt x="1362" y="1506"/>
                  </a:lnTo>
                  <a:lnTo>
                    <a:pt x="1362" y="1512"/>
                  </a:lnTo>
                  <a:lnTo>
                    <a:pt x="1362" y="1518"/>
                  </a:lnTo>
                  <a:lnTo>
                    <a:pt x="1362" y="1524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38" y="1548"/>
                  </a:lnTo>
                  <a:lnTo>
                    <a:pt x="1296" y="1548"/>
                  </a:lnTo>
                  <a:lnTo>
                    <a:pt x="1290" y="1554"/>
                  </a:lnTo>
                  <a:lnTo>
                    <a:pt x="1284" y="1560"/>
                  </a:lnTo>
                  <a:lnTo>
                    <a:pt x="1284" y="1566"/>
                  </a:lnTo>
                  <a:lnTo>
                    <a:pt x="1290" y="1578"/>
                  </a:lnTo>
                  <a:lnTo>
                    <a:pt x="1296" y="1590"/>
                  </a:lnTo>
                  <a:lnTo>
                    <a:pt x="1302" y="1590"/>
                  </a:lnTo>
                  <a:lnTo>
                    <a:pt x="1308" y="1596"/>
                  </a:lnTo>
                  <a:lnTo>
                    <a:pt x="1320" y="1602"/>
                  </a:lnTo>
                  <a:lnTo>
                    <a:pt x="1326" y="1602"/>
                  </a:lnTo>
                  <a:lnTo>
                    <a:pt x="1326" y="1608"/>
                  </a:lnTo>
                  <a:lnTo>
                    <a:pt x="1332" y="1614"/>
                  </a:lnTo>
                  <a:lnTo>
                    <a:pt x="1344" y="1620"/>
                  </a:lnTo>
                  <a:lnTo>
                    <a:pt x="1356" y="1626"/>
                  </a:lnTo>
                  <a:lnTo>
                    <a:pt x="1356" y="1632"/>
                  </a:lnTo>
                  <a:lnTo>
                    <a:pt x="1356" y="1638"/>
                  </a:lnTo>
                  <a:lnTo>
                    <a:pt x="1362" y="1644"/>
                  </a:lnTo>
                  <a:lnTo>
                    <a:pt x="1368" y="1644"/>
                  </a:lnTo>
                  <a:lnTo>
                    <a:pt x="1380" y="1650"/>
                  </a:lnTo>
                  <a:lnTo>
                    <a:pt x="1386" y="1650"/>
                  </a:lnTo>
                  <a:lnTo>
                    <a:pt x="1386" y="1656"/>
                  </a:lnTo>
                  <a:lnTo>
                    <a:pt x="1392" y="1656"/>
                  </a:lnTo>
                  <a:lnTo>
                    <a:pt x="1398" y="1662"/>
                  </a:lnTo>
                  <a:lnTo>
                    <a:pt x="1410" y="1674"/>
                  </a:lnTo>
                  <a:lnTo>
                    <a:pt x="1428" y="1680"/>
                  </a:lnTo>
                  <a:lnTo>
                    <a:pt x="1428" y="1686"/>
                  </a:lnTo>
                  <a:lnTo>
                    <a:pt x="1428" y="1698"/>
                  </a:lnTo>
                  <a:lnTo>
                    <a:pt x="1434" y="1704"/>
                  </a:lnTo>
                  <a:lnTo>
                    <a:pt x="1434" y="1710"/>
                  </a:lnTo>
                  <a:lnTo>
                    <a:pt x="1440" y="1710"/>
                  </a:lnTo>
                  <a:lnTo>
                    <a:pt x="1446" y="1710"/>
                  </a:lnTo>
                  <a:lnTo>
                    <a:pt x="1446" y="1716"/>
                  </a:lnTo>
                  <a:lnTo>
                    <a:pt x="1440" y="1722"/>
                  </a:lnTo>
                  <a:lnTo>
                    <a:pt x="1440" y="1728"/>
                  </a:lnTo>
                  <a:lnTo>
                    <a:pt x="1440" y="1734"/>
                  </a:lnTo>
                  <a:lnTo>
                    <a:pt x="1440" y="1740"/>
                  </a:lnTo>
                  <a:lnTo>
                    <a:pt x="1440" y="1746"/>
                  </a:lnTo>
                  <a:lnTo>
                    <a:pt x="1440" y="1788"/>
                  </a:lnTo>
                  <a:lnTo>
                    <a:pt x="1440" y="1800"/>
                  </a:lnTo>
                  <a:lnTo>
                    <a:pt x="1440" y="1806"/>
                  </a:lnTo>
                  <a:lnTo>
                    <a:pt x="1440" y="1836"/>
                  </a:lnTo>
                  <a:lnTo>
                    <a:pt x="1440" y="1848"/>
                  </a:lnTo>
                  <a:lnTo>
                    <a:pt x="1446" y="1848"/>
                  </a:lnTo>
                  <a:lnTo>
                    <a:pt x="1446" y="1854"/>
                  </a:lnTo>
                  <a:lnTo>
                    <a:pt x="1452" y="1848"/>
                  </a:lnTo>
                  <a:lnTo>
                    <a:pt x="1458" y="1854"/>
                  </a:lnTo>
                  <a:lnTo>
                    <a:pt x="1452" y="1860"/>
                  </a:lnTo>
                  <a:lnTo>
                    <a:pt x="1452" y="1866"/>
                  </a:lnTo>
                  <a:lnTo>
                    <a:pt x="1458" y="1872"/>
                  </a:lnTo>
                  <a:lnTo>
                    <a:pt x="1464" y="1884"/>
                  </a:lnTo>
                  <a:lnTo>
                    <a:pt x="1428" y="1878"/>
                  </a:lnTo>
                  <a:lnTo>
                    <a:pt x="1356" y="1890"/>
                  </a:lnTo>
                  <a:lnTo>
                    <a:pt x="1296" y="1926"/>
                  </a:lnTo>
                  <a:lnTo>
                    <a:pt x="1266" y="1944"/>
                  </a:lnTo>
                  <a:lnTo>
                    <a:pt x="1224" y="1944"/>
                  </a:lnTo>
                  <a:lnTo>
                    <a:pt x="1188" y="1956"/>
                  </a:lnTo>
                  <a:lnTo>
                    <a:pt x="1188" y="1950"/>
                  </a:lnTo>
                  <a:lnTo>
                    <a:pt x="1176" y="1944"/>
                  </a:lnTo>
                  <a:lnTo>
                    <a:pt x="1176" y="1938"/>
                  </a:lnTo>
                  <a:lnTo>
                    <a:pt x="1170" y="1938"/>
                  </a:lnTo>
                  <a:lnTo>
                    <a:pt x="1164" y="1932"/>
                  </a:lnTo>
                  <a:lnTo>
                    <a:pt x="1158" y="1926"/>
                  </a:lnTo>
                  <a:lnTo>
                    <a:pt x="1158" y="1920"/>
                  </a:lnTo>
                  <a:lnTo>
                    <a:pt x="1152" y="1920"/>
                  </a:lnTo>
                  <a:lnTo>
                    <a:pt x="1146" y="1914"/>
                  </a:lnTo>
                  <a:lnTo>
                    <a:pt x="1146" y="1908"/>
                  </a:lnTo>
                  <a:lnTo>
                    <a:pt x="1140" y="1908"/>
                  </a:lnTo>
                  <a:lnTo>
                    <a:pt x="1134" y="1902"/>
                  </a:lnTo>
                  <a:lnTo>
                    <a:pt x="1134" y="1896"/>
                  </a:lnTo>
                  <a:lnTo>
                    <a:pt x="1116" y="1896"/>
                  </a:lnTo>
                  <a:lnTo>
                    <a:pt x="1104" y="1884"/>
                  </a:lnTo>
                  <a:lnTo>
                    <a:pt x="1092" y="1860"/>
                  </a:lnTo>
                  <a:lnTo>
                    <a:pt x="1068" y="1854"/>
                  </a:lnTo>
                  <a:lnTo>
                    <a:pt x="1032" y="1842"/>
                  </a:lnTo>
                  <a:lnTo>
                    <a:pt x="1008" y="1836"/>
                  </a:lnTo>
                  <a:lnTo>
                    <a:pt x="978" y="1824"/>
                  </a:lnTo>
                  <a:lnTo>
                    <a:pt x="942" y="1818"/>
                  </a:lnTo>
                  <a:lnTo>
                    <a:pt x="924" y="1806"/>
                  </a:lnTo>
                  <a:lnTo>
                    <a:pt x="906" y="1788"/>
                  </a:lnTo>
                  <a:lnTo>
                    <a:pt x="894" y="1776"/>
                  </a:lnTo>
                  <a:lnTo>
                    <a:pt x="864" y="1758"/>
                  </a:lnTo>
                  <a:lnTo>
                    <a:pt x="834" y="1752"/>
                  </a:lnTo>
                  <a:lnTo>
                    <a:pt x="798" y="1746"/>
                  </a:lnTo>
                  <a:lnTo>
                    <a:pt x="792" y="1806"/>
                  </a:lnTo>
                  <a:lnTo>
                    <a:pt x="798" y="1812"/>
                  </a:lnTo>
                  <a:lnTo>
                    <a:pt x="810" y="1830"/>
                  </a:lnTo>
                  <a:lnTo>
                    <a:pt x="792" y="1842"/>
                  </a:lnTo>
                  <a:lnTo>
                    <a:pt x="768" y="1842"/>
                  </a:lnTo>
                  <a:lnTo>
                    <a:pt x="708" y="1848"/>
                  </a:lnTo>
                  <a:lnTo>
                    <a:pt x="690" y="1860"/>
                  </a:lnTo>
                  <a:lnTo>
                    <a:pt x="690" y="1866"/>
                  </a:lnTo>
                  <a:lnTo>
                    <a:pt x="678" y="1878"/>
                  </a:lnTo>
                  <a:lnTo>
                    <a:pt x="660" y="1884"/>
                  </a:lnTo>
                  <a:lnTo>
                    <a:pt x="660" y="1902"/>
                  </a:lnTo>
                  <a:lnTo>
                    <a:pt x="642" y="1902"/>
                  </a:lnTo>
                  <a:lnTo>
                    <a:pt x="582" y="1914"/>
                  </a:lnTo>
                  <a:lnTo>
                    <a:pt x="534" y="1908"/>
                  </a:lnTo>
                  <a:lnTo>
                    <a:pt x="510" y="1908"/>
                  </a:lnTo>
                  <a:lnTo>
                    <a:pt x="510" y="1896"/>
                  </a:lnTo>
                  <a:lnTo>
                    <a:pt x="492" y="1896"/>
                  </a:lnTo>
                  <a:lnTo>
                    <a:pt x="486" y="1902"/>
                  </a:lnTo>
                  <a:lnTo>
                    <a:pt x="474" y="1908"/>
                  </a:lnTo>
                  <a:lnTo>
                    <a:pt x="450" y="1908"/>
                  </a:lnTo>
                  <a:lnTo>
                    <a:pt x="432" y="1902"/>
                  </a:lnTo>
                  <a:lnTo>
                    <a:pt x="426" y="1896"/>
                  </a:lnTo>
                  <a:lnTo>
                    <a:pt x="402" y="1884"/>
                  </a:lnTo>
                  <a:lnTo>
                    <a:pt x="390" y="1872"/>
                  </a:lnTo>
                  <a:lnTo>
                    <a:pt x="384" y="1872"/>
                  </a:lnTo>
                  <a:lnTo>
                    <a:pt x="378" y="1872"/>
                  </a:lnTo>
                  <a:lnTo>
                    <a:pt x="378" y="1866"/>
                  </a:lnTo>
                  <a:lnTo>
                    <a:pt x="372" y="1860"/>
                  </a:lnTo>
                  <a:lnTo>
                    <a:pt x="372" y="1854"/>
                  </a:lnTo>
                  <a:lnTo>
                    <a:pt x="366" y="1842"/>
                  </a:lnTo>
                  <a:lnTo>
                    <a:pt x="366" y="1836"/>
                  </a:lnTo>
                  <a:lnTo>
                    <a:pt x="348" y="1830"/>
                  </a:lnTo>
                  <a:lnTo>
                    <a:pt x="348" y="1806"/>
                  </a:lnTo>
                  <a:lnTo>
                    <a:pt x="348" y="1800"/>
                  </a:lnTo>
                  <a:lnTo>
                    <a:pt x="348" y="1782"/>
                  </a:lnTo>
                  <a:lnTo>
                    <a:pt x="336" y="1788"/>
                  </a:lnTo>
                  <a:lnTo>
                    <a:pt x="312" y="1794"/>
                  </a:lnTo>
                  <a:lnTo>
                    <a:pt x="288" y="1788"/>
                  </a:lnTo>
                  <a:lnTo>
                    <a:pt x="264" y="1758"/>
                  </a:lnTo>
                  <a:lnTo>
                    <a:pt x="270" y="1758"/>
                  </a:lnTo>
                  <a:lnTo>
                    <a:pt x="270" y="1752"/>
                  </a:lnTo>
                  <a:lnTo>
                    <a:pt x="276" y="1752"/>
                  </a:lnTo>
                  <a:lnTo>
                    <a:pt x="282" y="1746"/>
                  </a:lnTo>
                  <a:lnTo>
                    <a:pt x="300" y="1746"/>
                  </a:lnTo>
                  <a:lnTo>
                    <a:pt x="312" y="1746"/>
                  </a:lnTo>
                  <a:lnTo>
                    <a:pt x="336" y="1710"/>
                  </a:lnTo>
                  <a:lnTo>
                    <a:pt x="342" y="1692"/>
                  </a:lnTo>
                  <a:lnTo>
                    <a:pt x="348" y="1680"/>
                  </a:lnTo>
                  <a:lnTo>
                    <a:pt x="342" y="1650"/>
                  </a:lnTo>
                  <a:lnTo>
                    <a:pt x="354" y="1644"/>
                  </a:lnTo>
                  <a:lnTo>
                    <a:pt x="354" y="1638"/>
                  </a:lnTo>
                  <a:lnTo>
                    <a:pt x="360" y="1632"/>
                  </a:lnTo>
                  <a:lnTo>
                    <a:pt x="354" y="1626"/>
                  </a:lnTo>
                  <a:lnTo>
                    <a:pt x="348" y="1626"/>
                  </a:lnTo>
                  <a:lnTo>
                    <a:pt x="348" y="1620"/>
                  </a:lnTo>
                  <a:lnTo>
                    <a:pt x="342" y="1620"/>
                  </a:lnTo>
                  <a:lnTo>
                    <a:pt x="348" y="1614"/>
                  </a:lnTo>
                  <a:lnTo>
                    <a:pt x="324" y="1566"/>
                  </a:lnTo>
                  <a:lnTo>
                    <a:pt x="318" y="1566"/>
                  </a:lnTo>
                  <a:lnTo>
                    <a:pt x="306" y="1572"/>
                  </a:lnTo>
                  <a:lnTo>
                    <a:pt x="300" y="1572"/>
                  </a:lnTo>
                  <a:lnTo>
                    <a:pt x="294" y="1578"/>
                  </a:lnTo>
                  <a:lnTo>
                    <a:pt x="288" y="1584"/>
                  </a:lnTo>
                  <a:lnTo>
                    <a:pt x="282" y="1584"/>
                  </a:lnTo>
                  <a:lnTo>
                    <a:pt x="282" y="1578"/>
                  </a:lnTo>
                  <a:lnTo>
                    <a:pt x="276" y="1578"/>
                  </a:lnTo>
                  <a:lnTo>
                    <a:pt x="270" y="1578"/>
                  </a:lnTo>
                  <a:lnTo>
                    <a:pt x="264" y="1578"/>
                  </a:lnTo>
                  <a:lnTo>
                    <a:pt x="258" y="1578"/>
                  </a:lnTo>
                  <a:lnTo>
                    <a:pt x="252" y="1578"/>
                  </a:lnTo>
                  <a:lnTo>
                    <a:pt x="252" y="1584"/>
                  </a:lnTo>
                  <a:lnTo>
                    <a:pt x="246" y="1584"/>
                  </a:lnTo>
                  <a:lnTo>
                    <a:pt x="210" y="1584"/>
                  </a:lnTo>
                  <a:lnTo>
                    <a:pt x="204" y="1584"/>
                  </a:lnTo>
                  <a:lnTo>
                    <a:pt x="192" y="1584"/>
                  </a:lnTo>
                  <a:lnTo>
                    <a:pt x="168" y="1596"/>
                  </a:lnTo>
                  <a:lnTo>
                    <a:pt x="156" y="1572"/>
                  </a:lnTo>
                  <a:lnTo>
                    <a:pt x="156" y="1566"/>
                  </a:lnTo>
                  <a:lnTo>
                    <a:pt x="156" y="1560"/>
                  </a:lnTo>
                  <a:lnTo>
                    <a:pt x="162" y="1548"/>
                  </a:lnTo>
                  <a:lnTo>
                    <a:pt x="162" y="1542"/>
                  </a:lnTo>
                  <a:lnTo>
                    <a:pt x="162" y="1536"/>
                  </a:lnTo>
                  <a:lnTo>
                    <a:pt x="168" y="1530"/>
                  </a:lnTo>
                  <a:lnTo>
                    <a:pt x="168" y="1524"/>
                  </a:lnTo>
                  <a:lnTo>
                    <a:pt x="168" y="1518"/>
                  </a:lnTo>
                  <a:lnTo>
                    <a:pt x="174" y="1518"/>
                  </a:lnTo>
                  <a:lnTo>
                    <a:pt x="174" y="1506"/>
                  </a:lnTo>
                  <a:lnTo>
                    <a:pt x="156" y="1470"/>
                  </a:lnTo>
                  <a:lnTo>
                    <a:pt x="138" y="1464"/>
                  </a:lnTo>
                  <a:lnTo>
                    <a:pt x="126" y="1446"/>
                  </a:lnTo>
                  <a:lnTo>
                    <a:pt x="126" y="1440"/>
                  </a:lnTo>
                  <a:lnTo>
                    <a:pt x="126" y="1434"/>
                  </a:lnTo>
                  <a:lnTo>
                    <a:pt x="120" y="1428"/>
                  </a:lnTo>
                  <a:lnTo>
                    <a:pt x="126" y="1398"/>
                  </a:lnTo>
                  <a:lnTo>
                    <a:pt x="120" y="1374"/>
                  </a:lnTo>
                  <a:lnTo>
                    <a:pt x="60" y="1374"/>
                  </a:lnTo>
                  <a:lnTo>
                    <a:pt x="60" y="1368"/>
                  </a:lnTo>
                  <a:lnTo>
                    <a:pt x="54" y="1362"/>
                  </a:lnTo>
                  <a:lnTo>
                    <a:pt x="48" y="1356"/>
                  </a:lnTo>
                  <a:lnTo>
                    <a:pt x="42" y="1356"/>
                  </a:lnTo>
                  <a:lnTo>
                    <a:pt x="42" y="1350"/>
                  </a:lnTo>
                  <a:lnTo>
                    <a:pt x="36" y="1344"/>
                  </a:lnTo>
                  <a:lnTo>
                    <a:pt x="36" y="1338"/>
                  </a:lnTo>
                  <a:lnTo>
                    <a:pt x="30" y="1332"/>
                  </a:lnTo>
                  <a:lnTo>
                    <a:pt x="30" y="1326"/>
                  </a:lnTo>
                  <a:lnTo>
                    <a:pt x="18" y="1326"/>
                  </a:lnTo>
                  <a:lnTo>
                    <a:pt x="18" y="1320"/>
                  </a:lnTo>
                  <a:lnTo>
                    <a:pt x="18" y="1326"/>
                  </a:lnTo>
                  <a:lnTo>
                    <a:pt x="6" y="1320"/>
                  </a:lnTo>
                  <a:lnTo>
                    <a:pt x="0" y="1314"/>
                  </a:lnTo>
                  <a:lnTo>
                    <a:pt x="12" y="1266"/>
                  </a:lnTo>
                  <a:lnTo>
                    <a:pt x="6" y="1242"/>
                  </a:lnTo>
                  <a:lnTo>
                    <a:pt x="12" y="1236"/>
                  </a:lnTo>
                  <a:lnTo>
                    <a:pt x="12" y="1230"/>
                  </a:lnTo>
                  <a:lnTo>
                    <a:pt x="18" y="1230"/>
                  </a:lnTo>
                  <a:lnTo>
                    <a:pt x="18" y="1224"/>
                  </a:lnTo>
                  <a:lnTo>
                    <a:pt x="24" y="1218"/>
                  </a:lnTo>
                  <a:lnTo>
                    <a:pt x="24" y="1212"/>
                  </a:lnTo>
                  <a:lnTo>
                    <a:pt x="30" y="1212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48" y="1188"/>
                  </a:lnTo>
                  <a:lnTo>
                    <a:pt x="48" y="1182"/>
                  </a:lnTo>
                  <a:lnTo>
                    <a:pt x="48" y="1176"/>
                  </a:lnTo>
                  <a:lnTo>
                    <a:pt x="48" y="1170"/>
                  </a:lnTo>
                  <a:lnTo>
                    <a:pt x="54" y="1170"/>
                  </a:lnTo>
                  <a:lnTo>
                    <a:pt x="60" y="1164"/>
                  </a:lnTo>
                  <a:lnTo>
                    <a:pt x="60" y="1158"/>
                  </a:lnTo>
                  <a:lnTo>
                    <a:pt x="66" y="1152"/>
                  </a:lnTo>
                  <a:lnTo>
                    <a:pt x="60" y="1140"/>
                  </a:lnTo>
                  <a:lnTo>
                    <a:pt x="60" y="1134"/>
                  </a:lnTo>
                  <a:lnTo>
                    <a:pt x="54" y="1134"/>
                  </a:lnTo>
                  <a:lnTo>
                    <a:pt x="54" y="1128"/>
                  </a:lnTo>
                  <a:lnTo>
                    <a:pt x="48" y="1122"/>
                  </a:lnTo>
                  <a:lnTo>
                    <a:pt x="48" y="1116"/>
                  </a:lnTo>
                  <a:lnTo>
                    <a:pt x="48" y="1110"/>
                  </a:lnTo>
                  <a:lnTo>
                    <a:pt x="42" y="1104"/>
                  </a:lnTo>
                  <a:lnTo>
                    <a:pt x="42" y="1098"/>
                  </a:lnTo>
                  <a:lnTo>
                    <a:pt x="36" y="1092"/>
                  </a:lnTo>
                  <a:lnTo>
                    <a:pt x="30" y="1092"/>
                  </a:lnTo>
                  <a:lnTo>
                    <a:pt x="24" y="1092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18" y="1080"/>
                  </a:lnTo>
                  <a:lnTo>
                    <a:pt x="18" y="1074"/>
                  </a:lnTo>
                  <a:lnTo>
                    <a:pt x="12" y="1068"/>
                  </a:lnTo>
                  <a:lnTo>
                    <a:pt x="6" y="1068"/>
                  </a:lnTo>
                  <a:lnTo>
                    <a:pt x="12" y="1056"/>
                  </a:lnTo>
                  <a:lnTo>
                    <a:pt x="6" y="1056"/>
                  </a:lnTo>
                  <a:lnTo>
                    <a:pt x="6" y="1050"/>
                  </a:lnTo>
                  <a:lnTo>
                    <a:pt x="6" y="1044"/>
                  </a:lnTo>
                  <a:lnTo>
                    <a:pt x="6" y="1026"/>
                  </a:lnTo>
                  <a:lnTo>
                    <a:pt x="12" y="1020"/>
                  </a:lnTo>
                  <a:lnTo>
                    <a:pt x="12" y="1014"/>
                  </a:lnTo>
                  <a:lnTo>
                    <a:pt x="18" y="1014"/>
                  </a:lnTo>
                  <a:lnTo>
                    <a:pt x="18" y="1008"/>
                  </a:lnTo>
                  <a:lnTo>
                    <a:pt x="18" y="1002"/>
                  </a:lnTo>
                  <a:lnTo>
                    <a:pt x="18" y="990"/>
                  </a:lnTo>
                  <a:lnTo>
                    <a:pt x="12" y="972"/>
                  </a:lnTo>
                  <a:lnTo>
                    <a:pt x="18" y="954"/>
                  </a:lnTo>
                  <a:lnTo>
                    <a:pt x="18" y="948"/>
                  </a:lnTo>
                  <a:lnTo>
                    <a:pt x="24" y="948"/>
                  </a:lnTo>
                  <a:lnTo>
                    <a:pt x="24" y="930"/>
                  </a:lnTo>
                  <a:lnTo>
                    <a:pt x="30" y="930"/>
                  </a:lnTo>
                  <a:lnTo>
                    <a:pt x="36" y="918"/>
                  </a:lnTo>
                  <a:lnTo>
                    <a:pt x="42" y="918"/>
                  </a:lnTo>
                  <a:lnTo>
                    <a:pt x="48" y="918"/>
                  </a:lnTo>
                  <a:lnTo>
                    <a:pt x="78" y="912"/>
                  </a:lnTo>
                  <a:lnTo>
                    <a:pt x="90" y="894"/>
                  </a:lnTo>
                  <a:lnTo>
                    <a:pt x="96" y="894"/>
                  </a:lnTo>
                  <a:lnTo>
                    <a:pt x="102" y="888"/>
                  </a:lnTo>
                  <a:lnTo>
                    <a:pt x="102" y="882"/>
                  </a:lnTo>
                  <a:lnTo>
                    <a:pt x="114" y="870"/>
                  </a:lnTo>
                  <a:lnTo>
                    <a:pt x="120" y="864"/>
                  </a:lnTo>
                  <a:lnTo>
                    <a:pt x="120" y="852"/>
                  </a:lnTo>
                  <a:lnTo>
                    <a:pt x="120" y="846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32" y="840"/>
                  </a:lnTo>
                  <a:lnTo>
                    <a:pt x="138" y="840"/>
                  </a:lnTo>
                  <a:lnTo>
                    <a:pt x="138" y="834"/>
                  </a:lnTo>
                  <a:lnTo>
                    <a:pt x="144" y="834"/>
                  </a:lnTo>
                  <a:lnTo>
                    <a:pt x="144" y="828"/>
                  </a:lnTo>
                  <a:lnTo>
                    <a:pt x="150" y="828"/>
                  </a:lnTo>
                  <a:lnTo>
                    <a:pt x="156" y="822"/>
                  </a:lnTo>
                  <a:lnTo>
                    <a:pt x="162" y="816"/>
                  </a:lnTo>
                  <a:lnTo>
                    <a:pt x="162" y="822"/>
                  </a:lnTo>
                  <a:lnTo>
                    <a:pt x="162" y="816"/>
                  </a:lnTo>
                  <a:lnTo>
                    <a:pt x="162" y="810"/>
                  </a:lnTo>
                  <a:lnTo>
                    <a:pt x="168" y="810"/>
                  </a:lnTo>
                  <a:lnTo>
                    <a:pt x="174" y="804"/>
                  </a:lnTo>
                  <a:lnTo>
                    <a:pt x="180" y="798"/>
                  </a:lnTo>
                  <a:lnTo>
                    <a:pt x="180" y="786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8" y="780"/>
                  </a:lnTo>
                  <a:lnTo>
                    <a:pt x="204" y="774"/>
                  </a:lnTo>
                  <a:lnTo>
                    <a:pt x="210" y="774"/>
                  </a:lnTo>
                  <a:lnTo>
                    <a:pt x="216" y="768"/>
                  </a:lnTo>
                  <a:lnTo>
                    <a:pt x="222" y="762"/>
                  </a:lnTo>
                  <a:lnTo>
                    <a:pt x="228" y="762"/>
                  </a:lnTo>
                  <a:lnTo>
                    <a:pt x="228" y="768"/>
                  </a:lnTo>
                  <a:lnTo>
                    <a:pt x="234" y="768"/>
                  </a:lnTo>
                  <a:lnTo>
                    <a:pt x="240" y="762"/>
                  </a:lnTo>
                  <a:lnTo>
                    <a:pt x="252" y="762"/>
                  </a:lnTo>
                  <a:lnTo>
                    <a:pt x="264" y="768"/>
                  </a:lnTo>
                  <a:lnTo>
                    <a:pt x="294" y="756"/>
                  </a:lnTo>
                  <a:lnTo>
                    <a:pt x="294" y="750"/>
                  </a:lnTo>
                  <a:lnTo>
                    <a:pt x="300" y="750"/>
                  </a:lnTo>
                  <a:lnTo>
                    <a:pt x="306" y="744"/>
                  </a:lnTo>
                  <a:lnTo>
                    <a:pt x="342" y="750"/>
                  </a:lnTo>
                  <a:lnTo>
                    <a:pt x="348" y="750"/>
                  </a:lnTo>
                  <a:lnTo>
                    <a:pt x="348" y="744"/>
                  </a:lnTo>
                  <a:lnTo>
                    <a:pt x="354" y="744"/>
                  </a:lnTo>
                  <a:lnTo>
                    <a:pt x="360" y="744"/>
                  </a:lnTo>
                  <a:lnTo>
                    <a:pt x="360" y="750"/>
                  </a:lnTo>
                  <a:lnTo>
                    <a:pt x="366" y="750"/>
                  </a:lnTo>
                  <a:lnTo>
                    <a:pt x="366" y="744"/>
                  </a:lnTo>
                  <a:lnTo>
                    <a:pt x="366" y="738"/>
                  </a:lnTo>
                  <a:lnTo>
                    <a:pt x="372" y="744"/>
                  </a:lnTo>
                  <a:lnTo>
                    <a:pt x="378" y="744"/>
                  </a:lnTo>
                  <a:lnTo>
                    <a:pt x="384" y="750"/>
                  </a:lnTo>
                  <a:lnTo>
                    <a:pt x="444" y="774"/>
                  </a:lnTo>
                  <a:lnTo>
                    <a:pt x="450" y="774"/>
                  </a:lnTo>
                  <a:lnTo>
                    <a:pt x="456" y="768"/>
                  </a:lnTo>
                  <a:lnTo>
                    <a:pt x="462" y="768"/>
                  </a:lnTo>
                  <a:lnTo>
                    <a:pt x="462" y="762"/>
                  </a:lnTo>
                  <a:lnTo>
                    <a:pt x="468" y="762"/>
                  </a:lnTo>
                  <a:lnTo>
                    <a:pt x="474" y="756"/>
                  </a:lnTo>
                  <a:lnTo>
                    <a:pt x="480" y="750"/>
                  </a:lnTo>
                  <a:lnTo>
                    <a:pt x="516" y="756"/>
                  </a:lnTo>
                  <a:lnTo>
                    <a:pt x="522" y="756"/>
                  </a:lnTo>
                  <a:lnTo>
                    <a:pt x="522" y="762"/>
                  </a:lnTo>
                  <a:lnTo>
                    <a:pt x="522" y="768"/>
                  </a:lnTo>
                  <a:lnTo>
                    <a:pt x="522" y="774"/>
                  </a:lnTo>
                  <a:lnTo>
                    <a:pt x="528" y="780"/>
                  </a:lnTo>
                  <a:lnTo>
                    <a:pt x="540" y="780"/>
                  </a:lnTo>
                  <a:lnTo>
                    <a:pt x="540" y="804"/>
                  </a:lnTo>
                  <a:lnTo>
                    <a:pt x="540" y="810"/>
                  </a:lnTo>
                  <a:lnTo>
                    <a:pt x="546" y="810"/>
                  </a:lnTo>
                  <a:lnTo>
                    <a:pt x="552" y="810"/>
                  </a:lnTo>
                  <a:lnTo>
                    <a:pt x="558" y="810"/>
                  </a:lnTo>
                  <a:lnTo>
                    <a:pt x="564" y="810"/>
                  </a:lnTo>
                  <a:lnTo>
                    <a:pt x="570" y="810"/>
                  </a:lnTo>
                  <a:lnTo>
                    <a:pt x="576" y="810"/>
                  </a:lnTo>
                  <a:lnTo>
                    <a:pt x="576" y="816"/>
                  </a:lnTo>
                  <a:lnTo>
                    <a:pt x="588" y="816"/>
                  </a:lnTo>
                  <a:lnTo>
                    <a:pt x="594" y="816"/>
                  </a:lnTo>
                  <a:lnTo>
                    <a:pt x="600" y="822"/>
                  </a:lnTo>
                  <a:lnTo>
                    <a:pt x="606" y="816"/>
                  </a:lnTo>
                  <a:lnTo>
                    <a:pt x="612" y="816"/>
                  </a:lnTo>
                  <a:lnTo>
                    <a:pt x="612" y="810"/>
                  </a:lnTo>
                  <a:lnTo>
                    <a:pt x="624" y="810"/>
                  </a:lnTo>
                  <a:lnTo>
                    <a:pt x="624" y="804"/>
                  </a:lnTo>
                  <a:lnTo>
                    <a:pt x="630" y="798"/>
                  </a:lnTo>
                  <a:lnTo>
                    <a:pt x="636" y="798"/>
                  </a:lnTo>
                  <a:lnTo>
                    <a:pt x="636" y="804"/>
                  </a:lnTo>
                  <a:lnTo>
                    <a:pt x="642" y="804"/>
                  </a:lnTo>
                  <a:lnTo>
                    <a:pt x="648" y="804"/>
                  </a:lnTo>
                  <a:lnTo>
                    <a:pt x="654" y="804"/>
                  </a:lnTo>
                  <a:lnTo>
                    <a:pt x="660" y="804"/>
                  </a:lnTo>
                  <a:lnTo>
                    <a:pt x="678" y="798"/>
                  </a:lnTo>
                  <a:lnTo>
                    <a:pt x="714" y="786"/>
                  </a:lnTo>
                  <a:lnTo>
                    <a:pt x="714" y="792"/>
                  </a:lnTo>
                  <a:lnTo>
                    <a:pt x="714" y="798"/>
                  </a:lnTo>
                  <a:lnTo>
                    <a:pt x="714" y="804"/>
                  </a:lnTo>
                  <a:lnTo>
                    <a:pt x="720" y="804"/>
                  </a:lnTo>
                  <a:lnTo>
                    <a:pt x="720" y="810"/>
                  </a:lnTo>
                  <a:lnTo>
                    <a:pt x="720" y="816"/>
                  </a:lnTo>
                  <a:lnTo>
                    <a:pt x="726" y="822"/>
                  </a:lnTo>
                  <a:lnTo>
                    <a:pt x="732" y="828"/>
                  </a:lnTo>
                  <a:lnTo>
                    <a:pt x="732" y="834"/>
                  </a:lnTo>
                  <a:lnTo>
                    <a:pt x="732" y="846"/>
                  </a:lnTo>
                  <a:lnTo>
                    <a:pt x="732" y="858"/>
                  </a:lnTo>
                  <a:lnTo>
                    <a:pt x="738" y="858"/>
                  </a:lnTo>
                  <a:lnTo>
                    <a:pt x="732" y="864"/>
                  </a:lnTo>
                  <a:lnTo>
                    <a:pt x="732" y="870"/>
                  </a:lnTo>
                  <a:lnTo>
                    <a:pt x="726" y="870"/>
                  </a:lnTo>
                  <a:lnTo>
                    <a:pt x="726" y="876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0" y="882"/>
                  </a:lnTo>
                  <a:lnTo>
                    <a:pt x="690" y="912"/>
                  </a:lnTo>
                  <a:lnTo>
                    <a:pt x="696" y="936"/>
                  </a:lnTo>
                  <a:lnTo>
                    <a:pt x="702" y="936"/>
                  </a:lnTo>
                  <a:lnTo>
                    <a:pt x="702" y="930"/>
                  </a:lnTo>
                  <a:lnTo>
                    <a:pt x="708" y="930"/>
                  </a:lnTo>
                  <a:lnTo>
                    <a:pt x="708" y="924"/>
                  </a:lnTo>
                  <a:lnTo>
                    <a:pt x="708" y="918"/>
                  </a:lnTo>
                  <a:lnTo>
                    <a:pt x="714" y="918"/>
                  </a:lnTo>
                  <a:lnTo>
                    <a:pt x="720" y="954"/>
                  </a:lnTo>
                  <a:lnTo>
                    <a:pt x="726" y="966"/>
                  </a:lnTo>
                  <a:lnTo>
                    <a:pt x="744" y="966"/>
                  </a:lnTo>
                  <a:lnTo>
                    <a:pt x="756" y="972"/>
                  </a:lnTo>
                  <a:lnTo>
                    <a:pt x="792" y="990"/>
                  </a:lnTo>
                  <a:lnTo>
                    <a:pt x="828" y="978"/>
                  </a:lnTo>
                  <a:lnTo>
                    <a:pt x="834" y="978"/>
                  </a:lnTo>
                  <a:lnTo>
                    <a:pt x="840" y="978"/>
                  </a:lnTo>
                  <a:lnTo>
                    <a:pt x="840" y="984"/>
                  </a:lnTo>
                  <a:lnTo>
                    <a:pt x="846" y="984"/>
                  </a:lnTo>
                  <a:lnTo>
                    <a:pt x="858" y="972"/>
                  </a:lnTo>
                  <a:lnTo>
                    <a:pt x="882" y="972"/>
                  </a:lnTo>
                  <a:lnTo>
                    <a:pt x="888" y="984"/>
                  </a:lnTo>
                  <a:lnTo>
                    <a:pt x="900" y="990"/>
                  </a:lnTo>
                  <a:lnTo>
                    <a:pt x="924" y="996"/>
                  </a:lnTo>
                  <a:lnTo>
                    <a:pt x="930" y="990"/>
                  </a:lnTo>
                  <a:lnTo>
                    <a:pt x="930" y="984"/>
                  </a:lnTo>
                  <a:lnTo>
                    <a:pt x="924" y="978"/>
                  </a:lnTo>
                  <a:lnTo>
                    <a:pt x="906" y="972"/>
                  </a:lnTo>
                  <a:lnTo>
                    <a:pt x="900" y="966"/>
                  </a:lnTo>
                  <a:lnTo>
                    <a:pt x="900" y="960"/>
                  </a:lnTo>
                  <a:lnTo>
                    <a:pt x="900" y="954"/>
                  </a:lnTo>
                  <a:lnTo>
                    <a:pt x="900" y="948"/>
                  </a:lnTo>
                  <a:lnTo>
                    <a:pt x="912" y="936"/>
                  </a:lnTo>
                  <a:lnTo>
                    <a:pt x="912" y="924"/>
                  </a:lnTo>
                  <a:lnTo>
                    <a:pt x="918" y="924"/>
                  </a:lnTo>
                  <a:lnTo>
                    <a:pt x="918" y="918"/>
                  </a:lnTo>
                  <a:lnTo>
                    <a:pt x="936" y="906"/>
                  </a:lnTo>
                  <a:lnTo>
                    <a:pt x="942" y="906"/>
                  </a:lnTo>
                  <a:lnTo>
                    <a:pt x="948" y="906"/>
                  </a:lnTo>
                  <a:lnTo>
                    <a:pt x="954" y="906"/>
                  </a:lnTo>
                  <a:lnTo>
                    <a:pt x="960" y="906"/>
                  </a:lnTo>
                  <a:lnTo>
                    <a:pt x="966" y="912"/>
                  </a:lnTo>
                  <a:lnTo>
                    <a:pt x="972" y="906"/>
                  </a:lnTo>
                  <a:lnTo>
                    <a:pt x="978" y="906"/>
                  </a:lnTo>
                  <a:lnTo>
                    <a:pt x="984" y="900"/>
                  </a:lnTo>
                  <a:lnTo>
                    <a:pt x="984" y="894"/>
                  </a:lnTo>
                  <a:lnTo>
                    <a:pt x="990" y="894"/>
                  </a:lnTo>
                  <a:lnTo>
                    <a:pt x="996" y="888"/>
                  </a:lnTo>
                  <a:lnTo>
                    <a:pt x="1002" y="888"/>
                  </a:lnTo>
                  <a:lnTo>
                    <a:pt x="1008" y="882"/>
                  </a:lnTo>
                  <a:lnTo>
                    <a:pt x="1014" y="882"/>
                  </a:lnTo>
                  <a:lnTo>
                    <a:pt x="1020" y="882"/>
                  </a:lnTo>
                  <a:lnTo>
                    <a:pt x="1020" y="888"/>
                  </a:lnTo>
                  <a:lnTo>
                    <a:pt x="1026" y="882"/>
                  </a:lnTo>
                  <a:lnTo>
                    <a:pt x="1026" y="876"/>
                  </a:lnTo>
                  <a:lnTo>
                    <a:pt x="1026" y="870"/>
                  </a:lnTo>
                  <a:lnTo>
                    <a:pt x="1032" y="864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44" y="852"/>
                  </a:lnTo>
                  <a:lnTo>
                    <a:pt x="1038" y="846"/>
                  </a:lnTo>
                  <a:lnTo>
                    <a:pt x="1038" y="840"/>
                  </a:lnTo>
                  <a:lnTo>
                    <a:pt x="1032" y="840"/>
                  </a:lnTo>
                  <a:lnTo>
                    <a:pt x="1026" y="840"/>
                  </a:lnTo>
                  <a:lnTo>
                    <a:pt x="1020" y="840"/>
                  </a:lnTo>
                  <a:lnTo>
                    <a:pt x="1014" y="846"/>
                  </a:lnTo>
                  <a:lnTo>
                    <a:pt x="1008" y="846"/>
                  </a:lnTo>
                  <a:lnTo>
                    <a:pt x="1002" y="840"/>
                  </a:lnTo>
                  <a:lnTo>
                    <a:pt x="996" y="840"/>
                  </a:lnTo>
                  <a:lnTo>
                    <a:pt x="990" y="834"/>
                  </a:lnTo>
                  <a:lnTo>
                    <a:pt x="984" y="834"/>
                  </a:lnTo>
                  <a:lnTo>
                    <a:pt x="978" y="834"/>
                  </a:lnTo>
                  <a:lnTo>
                    <a:pt x="972" y="834"/>
                  </a:lnTo>
                  <a:lnTo>
                    <a:pt x="966" y="834"/>
                  </a:lnTo>
                  <a:lnTo>
                    <a:pt x="966" y="828"/>
                  </a:lnTo>
                  <a:lnTo>
                    <a:pt x="960" y="828"/>
                  </a:lnTo>
                  <a:lnTo>
                    <a:pt x="954" y="828"/>
                  </a:lnTo>
                  <a:lnTo>
                    <a:pt x="942" y="828"/>
                  </a:lnTo>
                  <a:lnTo>
                    <a:pt x="936" y="828"/>
                  </a:lnTo>
                  <a:lnTo>
                    <a:pt x="930" y="828"/>
                  </a:lnTo>
                  <a:lnTo>
                    <a:pt x="918" y="828"/>
                  </a:lnTo>
                  <a:lnTo>
                    <a:pt x="918" y="822"/>
                  </a:lnTo>
                  <a:lnTo>
                    <a:pt x="912" y="828"/>
                  </a:lnTo>
                  <a:lnTo>
                    <a:pt x="912" y="822"/>
                  </a:lnTo>
                  <a:lnTo>
                    <a:pt x="906" y="816"/>
                  </a:lnTo>
                  <a:lnTo>
                    <a:pt x="900" y="816"/>
                  </a:lnTo>
                  <a:lnTo>
                    <a:pt x="894" y="816"/>
                  </a:lnTo>
                  <a:lnTo>
                    <a:pt x="888" y="816"/>
                  </a:lnTo>
                  <a:lnTo>
                    <a:pt x="882" y="816"/>
                  </a:lnTo>
                  <a:lnTo>
                    <a:pt x="882" y="810"/>
                  </a:lnTo>
                  <a:lnTo>
                    <a:pt x="876" y="804"/>
                  </a:lnTo>
                  <a:lnTo>
                    <a:pt x="870" y="804"/>
                  </a:lnTo>
                  <a:lnTo>
                    <a:pt x="864" y="798"/>
                  </a:lnTo>
                  <a:lnTo>
                    <a:pt x="858" y="798"/>
                  </a:lnTo>
                  <a:lnTo>
                    <a:pt x="858" y="804"/>
                  </a:lnTo>
                  <a:lnTo>
                    <a:pt x="852" y="804"/>
                  </a:lnTo>
                  <a:lnTo>
                    <a:pt x="846" y="804"/>
                  </a:lnTo>
                  <a:lnTo>
                    <a:pt x="846" y="798"/>
                  </a:lnTo>
                  <a:lnTo>
                    <a:pt x="840" y="804"/>
                  </a:lnTo>
                  <a:lnTo>
                    <a:pt x="834" y="804"/>
                  </a:lnTo>
                  <a:lnTo>
                    <a:pt x="828" y="804"/>
                  </a:lnTo>
                  <a:lnTo>
                    <a:pt x="828" y="810"/>
                  </a:lnTo>
                  <a:lnTo>
                    <a:pt x="822" y="810"/>
                  </a:lnTo>
                  <a:lnTo>
                    <a:pt x="810" y="804"/>
                  </a:lnTo>
                  <a:lnTo>
                    <a:pt x="810" y="798"/>
                  </a:lnTo>
                  <a:lnTo>
                    <a:pt x="780" y="798"/>
                  </a:lnTo>
                  <a:lnTo>
                    <a:pt x="756" y="774"/>
                  </a:lnTo>
                  <a:lnTo>
                    <a:pt x="750" y="768"/>
                  </a:lnTo>
                  <a:lnTo>
                    <a:pt x="750" y="744"/>
                  </a:lnTo>
                  <a:lnTo>
                    <a:pt x="732" y="738"/>
                  </a:lnTo>
                  <a:lnTo>
                    <a:pt x="732" y="720"/>
                  </a:lnTo>
                  <a:lnTo>
                    <a:pt x="714" y="690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6" y="666"/>
                  </a:lnTo>
                  <a:lnTo>
                    <a:pt x="690" y="666"/>
                  </a:lnTo>
                  <a:lnTo>
                    <a:pt x="678" y="672"/>
                  </a:lnTo>
                  <a:lnTo>
                    <a:pt x="678" y="654"/>
                  </a:lnTo>
                  <a:lnTo>
                    <a:pt x="684" y="630"/>
                  </a:lnTo>
                  <a:lnTo>
                    <a:pt x="690" y="618"/>
                  </a:lnTo>
                  <a:lnTo>
                    <a:pt x="696" y="612"/>
                  </a:lnTo>
                  <a:lnTo>
                    <a:pt x="696" y="588"/>
                  </a:lnTo>
                  <a:lnTo>
                    <a:pt x="690" y="576"/>
                  </a:lnTo>
                  <a:lnTo>
                    <a:pt x="696" y="552"/>
                  </a:lnTo>
                  <a:lnTo>
                    <a:pt x="684" y="522"/>
                  </a:lnTo>
                  <a:lnTo>
                    <a:pt x="672" y="504"/>
                  </a:lnTo>
                  <a:lnTo>
                    <a:pt x="654" y="504"/>
                  </a:lnTo>
                  <a:lnTo>
                    <a:pt x="642" y="504"/>
                  </a:lnTo>
                  <a:lnTo>
                    <a:pt x="624" y="510"/>
                  </a:lnTo>
                  <a:lnTo>
                    <a:pt x="612" y="516"/>
                  </a:lnTo>
                  <a:lnTo>
                    <a:pt x="594" y="516"/>
                  </a:lnTo>
                  <a:lnTo>
                    <a:pt x="588" y="516"/>
                  </a:lnTo>
                  <a:lnTo>
                    <a:pt x="588" y="522"/>
                  </a:lnTo>
                  <a:lnTo>
                    <a:pt x="582" y="516"/>
                  </a:lnTo>
                  <a:lnTo>
                    <a:pt x="588" y="510"/>
                  </a:lnTo>
                  <a:lnTo>
                    <a:pt x="582" y="510"/>
                  </a:lnTo>
                  <a:lnTo>
                    <a:pt x="582" y="504"/>
                  </a:lnTo>
                  <a:lnTo>
                    <a:pt x="576" y="498"/>
                  </a:lnTo>
                  <a:lnTo>
                    <a:pt x="570" y="498"/>
                  </a:lnTo>
                  <a:lnTo>
                    <a:pt x="570" y="492"/>
                  </a:lnTo>
                  <a:lnTo>
                    <a:pt x="564" y="492"/>
                  </a:lnTo>
                  <a:lnTo>
                    <a:pt x="570" y="486"/>
                  </a:lnTo>
                  <a:lnTo>
                    <a:pt x="564" y="486"/>
                  </a:lnTo>
                  <a:lnTo>
                    <a:pt x="564" y="480"/>
                  </a:lnTo>
                  <a:lnTo>
                    <a:pt x="564" y="474"/>
                  </a:lnTo>
                  <a:lnTo>
                    <a:pt x="558" y="468"/>
                  </a:lnTo>
                  <a:lnTo>
                    <a:pt x="564" y="468"/>
                  </a:lnTo>
                  <a:lnTo>
                    <a:pt x="564" y="462"/>
                  </a:lnTo>
                  <a:lnTo>
                    <a:pt x="570" y="462"/>
                  </a:lnTo>
                  <a:lnTo>
                    <a:pt x="570" y="456"/>
                  </a:lnTo>
                  <a:lnTo>
                    <a:pt x="570" y="450"/>
                  </a:lnTo>
                  <a:lnTo>
                    <a:pt x="576" y="450"/>
                  </a:lnTo>
                  <a:lnTo>
                    <a:pt x="576" y="444"/>
                  </a:lnTo>
                  <a:lnTo>
                    <a:pt x="582" y="438"/>
                  </a:lnTo>
                  <a:lnTo>
                    <a:pt x="588" y="438"/>
                  </a:lnTo>
                  <a:lnTo>
                    <a:pt x="588" y="444"/>
                  </a:lnTo>
                  <a:lnTo>
                    <a:pt x="594" y="438"/>
                  </a:lnTo>
                  <a:lnTo>
                    <a:pt x="594" y="432"/>
                  </a:lnTo>
                  <a:lnTo>
                    <a:pt x="600" y="432"/>
                  </a:lnTo>
                  <a:lnTo>
                    <a:pt x="600" y="426"/>
                  </a:lnTo>
                  <a:lnTo>
                    <a:pt x="600" y="420"/>
                  </a:lnTo>
                  <a:lnTo>
                    <a:pt x="606" y="420"/>
                  </a:lnTo>
                  <a:lnTo>
                    <a:pt x="600" y="420"/>
                  </a:lnTo>
                  <a:lnTo>
                    <a:pt x="600" y="414"/>
                  </a:lnTo>
                  <a:lnTo>
                    <a:pt x="606" y="408"/>
                  </a:lnTo>
                  <a:lnTo>
                    <a:pt x="612" y="408"/>
                  </a:lnTo>
                  <a:lnTo>
                    <a:pt x="612" y="414"/>
                  </a:lnTo>
                  <a:lnTo>
                    <a:pt x="618" y="414"/>
                  </a:lnTo>
                  <a:lnTo>
                    <a:pt x="624" y="414"/>
                  </a:lnTo>
                  <a:lnTo>
                    <a:pt x="630" y="414"/>
                  </a:lnTo>
                  <a:lnTo>
                    <a:pt x="636" y="414"/>
                  </a:lnTo>
                  <a:lnTo>
                    <a:pt x="642" y="408"/>
                  </a:lnTo>
                  <a:lnTo>
                    <a:pt x="648" y="408"/>
                  </a:lnTo>
                  <a:lnTo>
                    <a:pt x="660" y="408"/>
                  </a:lnTo>
                  <a:lnTo>
                    <a:pt x="666" y="402"/>
                  </a:lnTo>
                  <a:lnTo>
                    <a:pt x="672" y="402"/>
                  </a:lnTo>
                  <a:lnTo>
                    <a:pt x="684" y="396"/>
                  </a:lnTo>
                  <a:lnTo>
                    <a:pt x="690" y="396"/>
                  </a:lnTo>
                  <a:lnTo>
                    <a:pt x="696" y="396"/>
                  </a:lnTo>
                  <a:lnTo>
                    <a:pt x="702" y="396"/>
                  </a:lnTo>
                  <a:lnTo>
                    <a:pt x="708" y="396"/>
                  </a:lnTo>
                  <a:lnTo>
                    <a:pt x="714" y="390"/>
                  </a:lnTo>
                  <a:lnTo>
                    <a:pt x="714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32" y="384"/>
                  </a:lnTo>
                  <a:lnTo>
                    <a:pt x="738" y="378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56" y="372"/>
                  </a:lnTo>
                  <a:lnTo>
                    <a:pt x="762" y="366"/>
                  </a:lnTo>
                  <a:lnTo>
                    <a:pt x="768" y="366"/>
                  </a:lnTo>
                  <a:lnTo>
                    <a:pt x="774" y="366"/>
                  </a:lnTo>
                  <a:lnTo>
                    <a:pt x="774" y="360"/>
                  </a:lnTo>
                  <a:lnTo>
                    <a:pt x="780" y="366"/>
                  </a:lnTo>
                  <a:lnTo>
                    <a:pt x="786" y="366"/>
                  </a:lnTo>
                  <a:lnTo>
                    <a:pt x="786" y="360"/>
                  </a:lnTo>
                  <a:lnTo>
                    <a:pt x="792" y="354"/>
                  </a:lnTo>
                  <a:lnTo>
                    <a:pt x="786" y="354"/>
                  </a:lnTo>
                  <a:lnTo>
                    <a:pt x="792" y="348"/>
                  </a:lnTo>
                  <a:lnTo>
                    <a:pt x="798" y="348"/>
                  </a:lnTo>
                  <a:lnTo>
                    <a:pt x="804" y="348"/>
                  </a:lnTo>
                  <a:lnTo>
                    <a:pt x="810" y="342"/>
                  </a:lnTo>
                  <a:lnTo>
                    <a:pt x="816" y="342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28" y="336"/>
                  </a:lnTo>
                  <a:lnTo>
                    <a:pt x="834" y="336"/>
                  </a:lnTo>
                  <a:lnTo>
                    <a:pt x="840" y="336"/>
                  </a:lnTo>
                  <a:lnTo>
                    <a:pt x="846" y="330"/>
                  </a:lnTo>
                  <a:lnTo>
                    <a:pt x="852" y="330"/>
                  </a:lnTo>
                  <a:lnTo>
                    <a:pt x="858" y="330"/>
                  </a:lnTo>
                  <a:lnTo>
                    <a:pt x="864" y="324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0" y="312"/>
                  </a:lnTo>
                  <a:lnTo>
                    <a:pt x="876" y="312"/>
                  </a:lnTo>
                  <a:lnTo>
                    <a:pt x="882" y="312"/>
                  </a:lnTo>
                  <a:lnTo>
                    <a:pt x="882" y="318"/>
                  </a:lnTo>
                  <a:lnTo>
                    <a:pt x="888" y="312"/>
                  </a:lnTo>
                  <a:lnTo>
                    <a:pt x="894" y="306"/>
                  </a:lnTo>
                  <a:lnTo>
                    <a:pt x="900" y="306"/>
                  </a:lnTo>
                  <a:lnTo>
                    <a:pt x="906" y="306"/>
                  </a:lnTo>
                  <a:lnTo>
                    <a:pt x="912" y="300"/>
                  </a:lnTo>
                  <a:lnTo>
                    <a:pt x="906" y="294"/>
                  </a:lnTo>
                  <a:lnTo>
                    <a:pt x="912" y="276"/>
                  </a:lnTo>
                  <a:lnTo>
                    <a:pt x="912" y="252"/>
                  </a:lnTo>
                  <a:lnTo>
                    <a:pt x="906" y="234"/>
                  </a:lnTo>
                  <a:lnTo>
                    <a:pt x="912" y="228"/>
                  </a:lnTo>
                  <a:lnTo>
                    <a:pt x="912" y="216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24" y="192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36" y="186"/>
                  </a:lnTo>
                  <a:lnTo>
                    <a:pt x="930" y="180"/>
                  </a:lnTo>
                  <a:lnTo>
                    <a:pt x="930" y="174"/>
                  </a:lnTo>
                  <a:lnTo>
                    <a:pt x="936" y="156"/>
                  </a:lnTo>
                  <a:lnTo>
                    <a:pt x="930" y="156"/>
                  </a:lnTo>
                  <a:lnTo>
                    <a:pt x="924" y="150"/>
                  </a:lnTo>
                  <a:lnTo>
                    <a:pt x="942" y="78"/>
                  </a:lnTo>
                  <a:lnTo>
                    <a:pt x="948" y="78"/>
                  </a:lnTo>
                  <a:lnTo>
                    <a:pt x="954" y="66"/>
                  </a:lnTo>
                  <a:lnTo>
                    <a:pt x="954" y="72"/>
                  </a:lnTo>
                  <a:lnTo>
                    <a:pt x="954" y="66"/>
                  </a:lnTo>
                  <a:lnTo>
                    <a:pt x="960" y="66"/>
                  </a:lnTo>
                  <a:lnTo>
                    <a:pt x="966" y="66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54"/>
                  </a:lnTo>
                  <a:lnTo>
                    <a:pt x="990" y="54"/>
                  </a:lnTo>
                  <a:lnTo>
                    <a:pt x="996" y="48"/>
                  </a:lnTo>
                  <a:lnTo>
                    <a:pt x="1002" y="48"/>
                  </a:lnTo>
                  <a:lnTo>
                    <a:pt x="1032" y="48"/>
                  </a:lnTo>
                  <a:lnTo>
                    <a:pt x="1062" y="48"/>
                  </a:lnTo>
                  <a:lnTo>
                    <a:pt x="1068" y="78"/>
                  </a:lnTo>
                  <a:lnTo>
                    <a:pt x="1086" y="78"/>
                  </a:lnTo>
                  <a:lnTo>
                    <a:pt x="1092" y="66"/>
                  </a:lnTo>
                  <a:lnTo>
                    <a:pt x="1092" y="60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8" y="48"/>
                  </a:lnTo>
                  <a:lnTo>
                    <a:pt x="1104" y="48"/>
                  </a:lnTo>
                  <a:lnTo>
                    <a:pt x="1110" y="48"/>
                  </a:lnTo>
                  <a:lnTo>
                    <a:pt x="1110" y="42"/>
                  </a:lnTo>
                  <a:lnTo>
                    <a:pt x="1110" y="36"/>
                  </a:lnTo>
                  <a:lnTo>
                    <a:pt x="1116" y="36"/>
                  </a:lnTo>
                  <a:lnTo>
                    <a:pt x="1116" y="30"/>
                  </a:lnTo>
                  <a:lnTo>
                    <a:pt x="1122" y="30"/>
                  </a:lnTo>
                  <a:lnTo>
                    <a:pt x="1128" y="30"/>
                  </a:lnTo>
                  <a:lnTo>
                    <a:pt x="1134" y="30"/>
                  </a:lnTo>
                  <a:lnTo>
                    <a:pt x="1140" y="24"/>
                  </a:lnTo>
                  <a:lnTo>
                    <a:pt x="1152" y="18"/>
                  </a:lnTo>
                  <a:lnTo>
                    <a:pt x="1158" y="18"/>
                  </a:lnTo>
                  <a:lnTo>
                    <a:pt x="1152" y="12"/>
                  </a:lnTo>
                  <a:lnTo>
                    <a:pt x="1152" y="6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8"/>
                  </a:lnTo>
                  <a:lnTo>
                    <a:pt x="1170" y="12"/>
                  </a:lnTo>
                  <a:lnTo>
                    <a:pt x="1170" y="6"/>
                  </a:lnTo>
                  <a:lnTo>
                    <a:pt x="1176" y="6"/>
                  </a:lnTo>
                  <a:lnTo>
                    <a:pt x="1176" y="0"/>
                  </a:lnTo>
                  <a:lnTo>
                    <a:pt x="1182" y="6"/>
                  </a:lnTo>
                  <a:lnTo>
                    <a:pt x="1188" y="6"/>
                  </a:lnTo>
                  <a:lnTo>
                    <a:pt x="1188" y="0"/>
                  </a:lnTo>
                  <a:lnTo>
                    <a:pt x="1194" y="6"/>
                  </a:lnTo>
                  <a:lnTo>
                    <a:pt x="1200" y="12"/>
                  </a:lnTo>
                  <a:lnTo>
                    <a:pt x="1206" y="18"/>
                  </a:lnTo>
                  <a:lnTo>
                    <a:pt x="1212" y="18"/>
                  </a:lnTo>
                  <a:lnTo>
                    <a:pt x="1218" y="24"/>
                  </a:lnTo>
                  <a:lnTo>
                    <a:pt x="1236" y="36"/>
                  </a:lnTo>
                  <a:lnTo>
                    <a:pt x="1242" y="36"/>
                  </a:lnTo>
                  <a:lnTo>
                    <a:pt x="1248" y="42"/>
                  </a:lnTo>
                  <a:lnTo>
                    <a:pt x="1248" y="48"/>
                  </a:lnTo>
                  <a:lnTo>
                    <a:pt x="1260" y="48"/>
                  </a:lnTo>
                  <a:lnTo>
                    <a:pt x="1260" y="108"/>
                  </a:lnTo>
                  <a:lnTo>
                    <a:pt x="1266" y="168"/>
                  </a:lnTo>
                  <a:lnTo>
                    <a:pt x="1278" y="234"/>
                  </a:lnTo>
                  <a:lnTo>
                    <a:pt x="1284" y="240"/>
                  </a:lnTo>
                  <a:lnTo>
                    <a:pt x="1290" y="264"/>
                  </a:lnTo>
                  <a:lnTo>
                    <a:pt x="1296" y="288"/>
                  </a:lnTo>
                  <a:lnTo>
                    <a:pt x="1296" y="300"/>
                  </a:lnTo>
                  <a:lnTo>
                    <a:pt x="1296" y="312"/>
                  </a:lnTo>
                  <a:lnTo>
                    <a:pt x="1296" y="324"/>
                  </a:lnTo>
                  <a:lnTo>
                    <a:pt x="1296" y="354"/>
                  </a:lnTo>
                  <a:lnTo>
                    <a:pt x="1302" y="366"/>
                  </a:lnTo>
                  <a:lnTo>
                    <a:pt x="1308" y="372"/>
                  </a:lnTo>
                  <a:lnTo>
                    <a:pt x="1308" y="384"/>
                  </a:lnTo>
                  <a:lnTo>
                    <a:pt x="1314" y="390"/>
                  </a:lnTo>
                  <a:lnTo>
                    <a:pt x="1308" y="408"/>
                  </a:lnTo>
                  <a:lnTo>
                    <a:pt x="1314" y="408"/>
                  </a:lnTo>
                  <a:lnTo>
                    <a:pt x="1314" y="414"/>
                  </a:lnTo>
                  <a:lnTo>
                    <a:pt x="1308" y="420"/>
                  </a:lnTo>
                  <a:lnTo>
                    <a:pt x="1308" y="432"/>
                  </a:lnTo>
                  <a:lnTo>
                    <a:pt x="1320" y="432"/>
                  </a:lnTo>
                  <a:lnTo>
                    <a:pt x="1320" y="444"/>
                  </a:lnTo>
                  <a:lnTo>
                    <a:pt x="1332" y="444"/>
                  </a:lnTo>
                  <a:lnTo>
                    <a:pt x="1338" y="450"/>
                  </a:lnTo>
                  <a:lnTo>
                    <a:pt x="1344" y="456"/>
                  </a:lnTo>
                  <a:lnTo>
                    <a:pt x="1344" y="462"/>
                  </a:lnTo>
                  <a:lnTo>
                    <a:pt x="1344" y="474"/>
                  </a:lnTo>
                  <a:lnTo>
                    <a:pt x="1350" y="474"/>
                  </a:lnTo>
                  <a:lnTo>
                    <a:pt x="1368" y="504"/>
                  </a:lnTo>
                  <a:lnTo>
                    <a:pt x="1374" y="534"/>
                  </a:lnTo>
                  <a:lnTo>
                    <a:pt x="1380" y="558"/>
                  </a:lnTo>
                  <a:lnTo>
                    <a:pt x="1386" y="576"/>
                  </a:lnTo>
                  <a:lnTo>
                    <a:pt x="1386" y="600"/>
                  </a:lnTo>
                  <a:lnTo>
                    <a:pt x="1386" y="624"/>
                  </a:lnTo>
                  <a:lnTo>
                    <a:pt x="1386" y="648"/>
                  </a:lnTo>
                  <a:lnTo>
                    <a:pt x="1386" y="684"/>
                  </a:lnTo>
                  <a:lnTo>
                    <a:pt x="1380" y="684"/>
                  </a:lnTo>
                  <a:lnTo>
                    <a:pt x="1374" y="696"/>
                  </a:lnTo>
                  <a:lnTo>
                    <a:pt x="1368" y="702"/>
                  </a:lnTo>
                  <a:lnTo>
                    <a:pt x="1362" y="708"/>
                  </a:lnTo>
                  <a:lnTo>
                    <a:pt x="1356" y="714"/>
                  </a:lnTo>
                  <a:lnTo>
                    <a:pt x="1350" y="720"/>
                  </a:lnTo>
                  <a:lnTo>
                    <a:pt x="1338" y="720"/>
                  </a:lnTo>
                  <a:lnTo>
                    <a:pt x="1338" y="738"/>
                  </a:lnTo>
                  <a:lnTo>
                    <a:pt x="1362" y="750"/>
                  </a:lnTo>
                  <a:lnTo>
                    <a:pt x="1362" y="756"/>
                  </a:lnTo>
                  <a:lnTo>
                    <a:pt x="1374" y="756"/>
                  </a:lnTo>
                  <a:lnTo>
                    <a:pt x="1410" y="774"/>
                  </a:lnTo>
                  <a:lnTo>
                    <a:pt x="1446" y="774"/>
                  </a:lnTo>
                  <a:lnTo>
                    <a:pt x="1482" y="768"/>
                  </a:lnTo>
                  <a:lnTo>
                    <a:pt x="1500" y="774"/>
                  </a:lnTo>
                  <a:lnTo>
                    <a:pt x="1512" y="78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6" name="Freeform 11">
              <a:extLst>
                <a:ext uri="{FF2B5EF4-FFF2-40B4-BE49-F238E27FC236}">
                  <a16:creationId xmlns:a16="http://schemas.microsoft.com/office/drawing/2014/main" id="{1FF8E66F-B850-456A-B132-C45FEEDE95C6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2475" y="2345643"/>
              <a:ext cx="445003" cy="603855"/>
            </a:xfrm>
            <a:custGeom>
              <a:avLst/>
              <a:gdLst>
                <a:gd name="T0" fmla="*/ 47 w 840"/>
                <a:gd name="T1" fmla="*/ 98 h 1134"/>
                <a:gd name="T2" fmla="*/ 41 w 840"/>
                <a:gd name="T3" fmla="*/ 98 h 1134"/>
                <a:gd name="T4" fmla="*/ 37 w 840"/>
                <a:gd name="T5" fmla="*/ 98 h 1134"/>
                <a:gd name="T6" fmla="*/ 29 w 840"/>
                <a:gd name="T7" fmla="*/ 97 h 1134"/>
                <a:gd name="T8" fmla="*/ 27 w 840"/>
                <a:gd name="T9" fmla="*/ 94 h 1134"/>
                <a:gd name="T10" fmla="*/ 26 w 840"/>
                <a:gd name="T11" fmla="*/ 93 h 1134"/>
                <a:gd name="T12" fmla="*/ 26 w 840"/>
                <a:gd name="T13" fmla="*/ 83 h 1134"/>
                <a:gd name="T14" fmla="*/ 26 w 840"/>
                <a:gd name="T15" fmla="*/ 81 h 1134"/>
                <a:gd name="T16" fmla="*/ 23 w 840"/>
                <a:gd name="T17" fmla="*/ 77 h 1134"/>
                <a:gd name="T18" fmla="*/ 19 w 840"/>
                <a:gd name="T19" fmla="*/ 75 h 1134"/>
                <a:gd name="T20" fmla="*/ 16 w 840"/>
                <a:gd name="T21" fmla="*/ 72 h 1134"/>
                <a:gd name="T22" fmla="*/ 13 w 840"/>
                <a:gd name="T23" fmla="*/ 70 h 1134"/>
                <a:gd name="T24" fmla="*/ 17 w 840"/>
                <a:gd name="T25" fmla="*/ 67 h 1134"/>
                <a:gd name="T26" fmla="*/ 19 w 840"/>
                <a:gd name="T27" fmla="*/ 63 h 1134"/>
                <a:gd name="T28" fmla="*/ 20 w 840"/>
                <a:gd name="T29" fmla="*/ 59 h 1134"/>
                <a:gd name="T30" fmla="*/ 19 w 840"/>
                <a:gd name="T31" fmla="*/ 55 h 1134"/>
                <a:gd name="T32" fmla="*/ 17 w 840"/>
                <a:gd name="T33" fmla="*/ 47 h 1134"/>
                <a:gd name="T34" fmla="*/ 8 w 840"/>
                <a:gd name="T35" fmla="*/ 45 h 1134"/>
                <a:gd name="T36" fmla="*/ 4 w 840"/>
                <a:gd name="T37" fmla="*/ 39 h 1134"/>
                <a:gd name="T38" fmla="*/ 2 w 840"/>
                <a:gd name="T39" fmla="*/ 35 h 1134"/>
                <a:gd name="T40" fmla="*/ 0 w 840"/>
                <a:gd name="T41" fmla="*/ 31 h 1134"/>
                <a:gd name="T42" fmla="*/ 2 w 840"/>
                <a:gd name="T43" fmla="*/ 27 h 1134"/>
                <a:gd name="T44" fmla="*/ 5 w 840"/>
                <a:gd name="T45" fmla="*/ 24 h 1134"/>
                <a:gd name="T46" fmla="*/ 10 w 840"/>
                <a:gd name="T47" fmla="*/ 26 h 1134"/>
                <a:gd name="T48" fmla="*/ 7 w 840"/>
                <a:gd name="T49" fmla="*/ 20 h 1134"/>
                <a:gd name="T50" fmla="*/ 12 w 840"/>
                <a:gd name="T51" fmla="*/ 12 h 1134"/>
                <a:gd name="T52" fmla="*/ 19 w 840"/>
                <a:gd name="T53" fmla="*/ 10 h 1134"/>
                <a:gd name="T54" fmla="*/ 20 w 840"/>
                <a:gd name="T55" fmla="*/ 13 h 1134"/>
                <a:gd name="T56" fmla="*/ 22 w 840"/>
                <a:gd name="T57" fmla="*/ 11 h 1134"/>
                <a:gd name="T58" fmla="*/ 25 w 840"/>
                <a:gd name="T59" fmla="*/ 7 h 1134"/>
                <a:gd name="T60" fmla="*/ 29 w 840"/>
                <a:gd name="T61" fmla="*/ 2 h 1134"/>
                <a:gd name="T62" fmla="*/ 33 w 840"/>
                <a:gd name="T63" fmla="*/ 1 h 1134"/>
                <a:gd name="T64" fmla="*/ 37 w 840"/>
                <a:gd name="T65" fmla="*/ 2 h 1134"/>
                <a:gd name="T66" fmla="*/ 39 w 840"/>
                <a:gd name="T67" fmla="*/ 4 h 1134"/>
                <a:gd name="T68" fmla="*/ 43 w 840"/>
                <a:gd name="T69" fmla="*/ 5 h 1134"/>
                <a:gd name="T70" fmla="*/ 46 w 840"/>
                <a:gd name="T71" fmla="*/ 11 h 1134"/>
                <a:gd name="T72" fmla="*/ 49 w 840"/>
                <a:gd name="T73" fmla="*/ 12 h 1134"/>
                <a:gd name="T74" fmla="*/ 52 w 840"/>
                <a:gd name="T75" fmla="*/ 15 h 1134"/>
                <a:gd name="T76" fmla="*/ 54 w 840"/>
                <a:gd name="T77" fmla="*/ 18 h 1134"/>
                <a:gd name="T78" fmla="*/ 55 w 840"/>
                <a:gd name="T79" fmla="*/ 22 h 1134"/>
                <a:gd name="T80" fmla="*/ 56 w 840"/>
                <a:gd name="T81" fmla="*/ 26 h 1134"/>
                <a:gd name="T82" fmla="*/ 55 w 840"/>
                <a:gd name="T83" fmla="*/ 32 h 1134"/>
                <a:gd name="T84" fmla="*/ 55 w 840"/>
                <a:gd name="T85" fmla="*/ 36 h 1134"/>
                <a:gd name="T86" fmla="*/ 54 w 840"/>
                <a:gd name="T87" fmla="*/ 39 h 1134"/>
                <a:gd name="T88" fmla="*/ 56 w 840"/>
                <a:gd name="T89" fmla="*/ 39 h 1134"/>
                <a:gd name="T90" fmla="*/ 58 w 840"/>
                <a:gd name="T91" fmla="*/ 39 h 1134"/>
                <a:gd name="T92" fmla="*/ 61 w 840"/>
                <a:gd name="T93" fmla="*/ 39 h 1134"/>
                <a:gd name="T94" fmla="*/ 60 w 840"/>
                <a:gd name="T95" fmla="*/ 49 h 1134"/>
                <a:gd name="T96" fmla="*/ 59 w 840"/>
                <a:gd name="T97" fmla="*/ 53 h 1134"/>
                <a:gd name="T98" fmla="*/ 59 w 840"/>
                <a:gd name="T99" fmla="*/ 56 h 1134"/>
                <a:gd name="T100" fmla="*/ 60 w 840"/>
                <a:gd name="T101" fmla="*/ 59 h 1134"/>
                <a:gd name="T102" fmla="*/ 64 w 840"/>
                <a:gd name="T103" fmla="*/ 61 h 1134"/>
                <a:gd name="T104" fmla="*/ 69 w 840"/>
                <a:gd name="T105" fmla="*/ 63 h 1134"/>
                <a:gd name="T106" fmla="*/ 72 w 840"/>
                <a:gd name="T107" fmla="*/ 69 h 1134"/>
                <a:gd name="T108" fmla="*/ 72 w 840"/>
                <a:gd name="T109" fmla="*/ 73 h 1134"/>
                <a:gd name="T110" fmla="*/ 72 w 840"/>
                <a:gd name="T111" fmla="*/ 83 h 1134"/>
                <a:gd name="T112" fmla="*/ 63 w 840"/>
                <a:gd name="T113" fmla="*/ 88 h 1134"/>
                <a:gd name="T114" fmla="*/ 52 w 840"/>
                <a:gd name="T115" fmla="*/ 95 h 11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40"/>
                <a:gd name="T175" fmla="*/ 0 h 1134"/>
                <a:gd name="T176" fmla="*/ 840 w 840"/>
                <a:gd name="T177" fmla="*/ 1134 h 11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40" h="1134">
                  <a:moveTo>
                    <a:pt x="564" y="1110"/>
                  </a:moveTo>
                  <a:lnTo>
                    <a:pt x="564" y="1104"/>
                  </a:lnTo>
                  <a:lnTo>
                    <a:pt x="558" y="1104"/>
                  </a:lnTo>
                  <a:lnTo>
                    <a:pt x="552" y="1110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28" y="1128"/>
                  </a:lnTo>
                  <a:lnTo>
                    <a:pt x="498" y="1128"/>
                  </a:lnTo>
                  <a:lnTo>
                    <a:pt x="492" y="1128"/>
                  </a:lnTo>
                  <a:lnTo>
                    <a:pt x="486" y="1128"/>
                  </a:lnTo>
                  <a:lnTo>
                    <a:pt x="480" y="1128"/>
                  </a:lnTo>
                  <a:lnTo>
                    <a:pt x="474" y="1134"/>
                  </a:lnTo>
                  <a:lnTo>
                    <a:pt x="468" y="1134"/>
                  </a:lnTo>
                  <a:lnTo>
                    <a:pt x="462" y="1134"/>
                  </a:lnTo>
                  <a:lnTo>
                    <a:pt x="456" y="1134"/>
                  </a:lnTo>
                  <a:lnTo>
                    <a:pt x="456" y="1128"/>
                  </a:lnTo>
                  <a:lnTo>
                    <a:pt x="450" y="1122"/>
                  </a:lnTo>
                  <a:lnTo>
                    <a:pt x="426" y="1128"/>
                  </a:lnTo>
                  <a:lnTo>
                    <a:pt x="414" y="1128"/>
                  </a:lnTo>
                  <a:lnTo>
                    <a:pt x="348" y="1134"/>
                  </a:lnTo>
                  <a:lnTo>
                    <a:pt x="348" y="1128"/>
                  </a:lnTo>
                  <a:lnTo>
                    <a:pt x="342" y="1128"/>
                  </a:lnTo>
                  <a:lnTo>
                    <a:pt x="336" y="1122"/>
                  </a:lnTo>
                  <a:lnTo>
                    <a:pt x="330" y="1122"/>
                  </a:lnTo>
                  <a:lnTo>
                    <a:pt x="324" y="1116"/>
                  </a:lnTo>
                  <a:lnTo>
                    <a:pt x="324" y="1110"/>
                  </a:lnTo>
                  <a:lnTo>
                    <a:pt x="318" y="1110"/>
                  </a:lnTo>
                  <a:lnTo>
                    <a:pt x="318" y="1104"/>
                  </a:lnTo>
                  <a:lnTo>
                    <a:pt x="312" y="1092"/>
                  </a:lnTo>
                  <a:lnTo>
                    <a:pt x="306" y="1086"/>
                  </a:lnTo>
                  <a:lnTo>
                    <a:pt x="306" y="1080"/>
                  </a:lnTo>
                  <a:lnTo>
                    <a:pt x="312" y="1074"/>
                  </a:lnTo>
                  <a:lnTo>
                    <a:pt x="306" y="1068"/>
                  </a:lnTo>
                  <a:lnTo>
                    <a:pt x="300" y="1074"/>
                  </a:lnTo>
                  <a:lnTo>
                    <a:pt x="300" y="1068"/>
                  </a:lnTo>
                  <a:lnTo>
                    <a:pt x="294" y="1068"/>
                  </a:lnTo>
                  <a:lnTo>
                    <a:pt x="294" y="1056"/>
                  </a:lnTo>
                  <a:lnTo>
                    <a:pt x="294" y="1026"/>
                  </a:lnTo>
                  <a:lnTo>
                    <a:pt x="294" y="1020"/>
                  </a:lnTo>
                  <a:lnTo>
                    <a:pt x="294" y="1008"/>
                  </a:lnTo>
                  <a:lnTo>
                    <a:pt x="294" y="966"/>
                  </a:lnTo>
                  <a:lnTo>
                    <a:pt x="294" y="960"/>
                  </a:lnTo>
                  <a:lnTo>
                    <a:pt x="294" y="954"/>
                  </a:lnTo>
                  <a:lnTo>
                    <a:pt x="294" y="948"/>
                  </a:lnTo>
                  <a:lnTo>
                    <a:pt x="294" y="942"/>
                  </a:lnTo>
                  <a:lnTo>
                    <a:pt x="300" y="936"/>
                  </a:lnTo>
                  <a:lnTo>
                    <a:pt x="300" y="930"/>
                  </a:lnTo>
                  <a:lnTo>
                    <a:pt x="294" y="930"/>
                  </a:lnTo>
                  <a:lnTo>
                    <a:pt x="288" y="930"/>
                  </a:lnTo>
                  <a:lnTo>
                    <a:pt x="288" y="924"/>
                  </a:lnTo>
                  <a:lnTo>
                    <a:pt x="282" y="918"/>
                  </a:lnTo>
                  <a:lnTo>
                    <a:pt x="282" y="906"/>
                  </a:lnTo>
                  <a:lnTo>
                    <a:pt x="282" y="900"/>
                  </a:lnTo>
                  <a:lnTo>
                    <a:pt x="264" y="894"/>
                  </a:lnTo>
                  <a:lnTo>
                    <a:pt x="252" y="882"/>
                  </a:lnTo>
                  <a:lnTo>
                    <a:pt x="246" y="876"/>
                  </a:lnTo>
                  <a:lnTo>
                    <a:pt x="240" y="876"/>
                  </a:lnTo>
                  <a:lnTo>
                    <a:pt x="240" y="870"/>
                  </a:lnTo>
                  <a:lnTo>
                    <a:pt x="234" y="870"/>
                  </a:lnTo>
                  <a:lnTo>
                    <a:pt x="222" y="864"/>
                  </a:lnTo>
                  <a:lnTo>
                    <a:pt x="216" y="864"/>
                  </a:lnTo>
                  <a:lnTo>
                    <a:pt x="210" y="858"/>
                  </a:lnTo>
                  <a:lnTo>
                    <a:pt x="210" y="852"/>
                  </a:lnTo>
                  <a:lnTo>
                    <a:pt x="210" y="846"/>
                  </a:lnTo>
                  <a:lnTo>
                    <a:pt x="198" y="840"/>
                  </a:lnTo>
                  <a:lnTo>
                    <a:pt x="186" y="834"/>
                  </a:lnTo>
                  <a:lnTo>
                    <a:pt x="180" y="828"/>
                  </a:lnTo>
                  <a:lnTo>
                    <a:pt x="180" y="822"/>
                  </a:lnTo>
                  <a:lnTo>
                    <a:pt x="174" y="822"/>
                  </a:lnTo>
                  <a:lnTo>
                    <a:pt x="162" y="816"/>
                  </a:lnTo>
                  <a:lnTo>
                    <a:pt x="156" y="810"/>
                  </a:lnTo>
                  <a:lnTo>
                    <a:pt x="150" y="810"/>
                  </a:lnTo>
                  <a:lnTo>
                    <a:pt x="144" y="798"/>
                  </a:lnTo>
                  <a:lnTo>
                    <a:pt x="138" y="786"/>
                  </a:lnTo>
                  <a:lnTo>
                    <a:pt x="138" y="780"/>
                  </a:lnTo>
                  <a:lnTo>
                    <a:pt x="144" y="774"/>
                  </a:lnTo>
                  <a:lnTo>
                    <a:pt x="150" y="768"/>
                  </a:lnTo>
                  <a:lnTo>
                    <a:pt x="192" y="768"/>
                  </a:lnTo>
                  <a:lnTo>
                    <a:pt x="210" y="762"/>
                  </a:lnTo>
                  <a:lnTo>
                    <a:pt x="216" y="756"/>
                  </a:lnTo>
                  <a:lnTo>
                    <a:pt x="216" y="744"/>
                  </a:lnTo>
                  <a:lnTo>
                    <a:pt x="216" y="738"/>
                  </a:lnTo>
                  <a:lnTo>
                    <a:pt x="216" y="732"/>
                  </a:lnTo>
                  <a:lnTo>
                    <a:pt x="216" y="726"/>
                  </a:lnTo>
                  <a:lnTo>
                    <a:pt x="216" y="720"/>
                  </a:lnTo>
                  <a:lnTo>
                    <a:pt x="228" y="702"/>
                  </a:lnTo>
                  <a:lnTo>
                    <a:pt x="234" y="696"/>
                  </a:lnTo>
                  <a:lnTo>
                    <a:pt x="240" y="690"/>
                  </a:lnTo>
                  <a:lnTo>
                    <a:pt x="240" y="684"/>
                  </a:lnTo>
                  <a:lnTo>
                    <a:pt x="234" y="678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0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22" y="630"/>
                  </a:lnTo>
                  <a:lnTo>
                    <a:pt x="222" y="618"/>
                  </a:lnTo>
                  <a:lnTo>
                    <a:pt x="222" y="582"/>
                  </a:lnTo>
                  <a:lnTo>
                    <a:pt x="228" y="582"/>
                  </a:lnTo>
                  <a:lnTo>
                    <a:pt x="222" y="564"/>
                  </a:lnTo>
                  <a:lnTo>
                    <a:pt x="210" y="552"/>
                  </a:lnTo>
                  <a:lnTo>
                    <a:pt x="192" y="540"/>
                  </a:lnTo>
                  <a:lnTo>
                    <a:pt x="174" y="540"/>
                  </a:lnTo>
                  <a:lnTo>
                    <a:pt x="150" y="534"/>
                  </a:lnTo>
                  <a:lnTo>
                    <a:pt x="126" y="528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90" y="516"/>
                  </a:lnTo>
                  <a:lnTo>
                    <a:pt x="78" y="504"/>
                  </a:lnTo>
                  <a:lnTo>
                    <a:pt x="72" y="498"/>
                  </a:lnTo>
                  <a:lnTo>
                    <a:pt x="66" y="486"/>
                  </a:lnTo>
                  <a:lnTo>
                    <a:pt x="54" y="468"/>
                  </a:lnTo>
                  <a:lnTo>
                    <a:pt x="54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42" y="438"/>
                  </a:lnTo>
                  <a:lnTo>
                    <a:pt x="36" y="438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24" y="384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2" y="360"/>
                  </a:lnTo>
                  <a:lnTo>
                    <a:pt x="6" y="360"/>
                  </a:lnTo>
                  <a:lnTo>
                    <a:pt x="0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0"/>
                  </a:lnTo>
                  <a:lnTo>
                    <a:pt x="18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8" y="270"/>
                  </a:lnTo>
                  <a:lnTo>
                    <a:pt x="90" y="276"/>
                  </a:lnTo>
                  <a:lnTo>
                    <a:pt x="108" y="294"/>
                  </a:lnTo>
                  <a:lnTo>
                    <a:pt x="114" y="294"/>
                  </a:lnTo>
                  <a:lnTo>
                    <a:pt x="114" y="276"/>
                  </a:lnTo>
                  <a:lnTo>
                    <a:pt x="114" y="270"/>
                  </a:lnTo>
                  <a:lnTo>
                    <a:pt x="102" y="258"/>
                  </a:lnTo>
                  <a:lnTo>
                    <a:pt x="96" y="246"/>
                  </a:lnTo>
                  <a:lnTo>
                    <a:pt x="90" y="234"/>
                  </a:lnTo>
                  <a:lnTo>
                    <a:pt x="78" y="228"/>
                  </a:lnTo>
                  <a:lnTo>
                    <a:pt x="72" y="216"/>
                  </a:lnTo>
                  <a:lnTo>
                    <a:pt x="66" y="192"/>
                  </a:lnTo>
                  <a:lnTo>
                    <a:pt x="90" y="174"/>
                  </a:lnTo>
                  <a:lnTo>
                    <a:pt x="120" y="150"/>
                  </a:lnTo>
                  <a:lnTo>
                    <a:pt x="132" y="150"/>
                  </a:lnTo>
                  <a:lnTo>
                    <a:pt x="138" y="144"/>
                  </a:lnTo>
                  <a:lnTo>
                    <a:pt x="138" y="138"/>
                  </a:lnTo>
                  <a:lnTo>
                    <a:pt x="156" y="126"/>
                  </a:lnTo>
                  <a:lnTo>
                    <a:pt x="180" y="114"/>
                  </a:lnTo>
                  <a:lnTo>
                    <a:pt x="216" y="114"/>
                  </a:lnTo>
                  <a:lnTo>
                    <a:pt x="222" y="114"/>
                  </a:lnTo>
                  <a:lnTo>
                    <a:pt x="222" y="120"/>
                  </a:lnTo>
                  <a:lnTo>
                    <a:pt x="222" y="126"/>
                  </a:lnTo>
                  <a:lnTo>
                    <a:pt x="222" y="132"/>
                  </a:lnTo>
                  <a:lnTo>
                    <a:pt x="228" y="138"/>
                  </a:lnTo>
                  <a:lnTo>
                    <a:pt x="228" y="144"/>
                  </a:lnTo>
                  <a:lnTo>
                    <a:pt x="228" y="150"/>
                  </a:lnTo>
                  <a:lnTo>
                    <a:pt x="234" y="150"/>
                  </a:lnTo>
                  <a:lnTo>
                    <a:pt x="234" y="144"/>
                  </a:lnTo>
                  <a:lnTo>
                    <a:pt x="240" y="144"/>
                  </a:lnTo>
                  <a:lnTo>
                    <a:pt x="246" y="144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58" y="126"/>
                  </a:lnTo>
                  <a:lnTo>
                    <a:pt x="258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76" y="96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6" y="72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36"/>
                  </a:lnTo>
                  <a:lnTo>
                    <a:pt x="330" y="24"/>
                  </a:lnTo>
                  <a:lnTo>
                    <a:pt x="330" y="18"/>
                  </a:lnTo>
                  <a:lnTo>
                    <a:pt x="330" y="12"/>
                  </a:lnTo>
                  <a:lnTo>
                    <a:pt x="336" y="6"/>
                  </a:lnTo>
                  <a:lnTo>
                    <a:pt x="366" y="0"/>
                  </a:lnTo>
                  <a:lnTo>
                    <a:pt x="372" y="6"/>
                  </a:lnTo>
                  <a:lnTo>
                    <a:pt x="384" y="12"/>
                  </a:lnTo>
                  <a:lnTo>
                    <a:pt x="402" y="12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18"/>
                  </a:lnTo>
                  <a:lnTo>
                    <a:pt x="420" y="18"/>
                  </a:lnTo>
                  <a:lnTo>
                    <a:pt x="426" y="24"/>
                  </a:lnTo>
                  <a:lnTo>
                    <a:pt x="432" y="30"/>
                  </a:lnTo>
                  <a:lnTo>
                    <a:pt x="438" y="36"/>
                  </a:lnTo>
                  <a:lnTo>
                    <a:pt x="444" y="42"/>
                  </a:lnTo>
                  <a:lnTo>
                    <a:pt x="450" y="42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16" y="78"/>
                  </a:lnTo>
                  <a:lnTo>
                    <a:pt x="522" y="102"/>
                  </a:lnTo>
                  <a:lnTo>
                    <a:pt x="522" y="108"/>
                  </a:lnTo>
                  <a:lnTo>
                    <a:pt x="528" y="126"/>
                  </a:lnTo>
                  <a:lnTo>
                    <a:pt x="534" y="126"/>
                  </a:lnTo>
                  <a:lnTo>
                    <a:pt x="540" y="120"/>
                  </a:lnTo>
                  <a:lnTo>
                    <a:pt x="546" y="126"/>
                  </a:lnTo>
                  <a:lnTo>
                    <a:pt x="552" y="126"/>
                  </a:lnTo>
                  <a:lnTo>
                    <a:pt x="558" y="132"/>
                  </a:lnTo>
                  <a:lnTo>
                    <a:pt x="564" y="138"/>
                  </a:lnTo>
                  <a:lnTo>
                    <a:pt x="570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594" y="168"/>
                  </a:lnTo>
                  <a:lnTo>
                    <a:pt x="600" y="174"/>
                  </a:lnTo>
                  <a:lnTo>
                    <a:pt x="606" y="180"/>
                  </a:lnTo>
                  <a:lnTo>
                    <a:pt x="606" y="186"/>
                  </a:lnTo>
                  <a:lnTo>
                    <a:pt x="612" y="192"/>
                  </a:lnTo>
                  <a:lnTo>
                    <a:pt x="612" y="198"/>
                  </a:lnTo>
                  <a:lnTo>
                    <a:pt x="624" y="204"/>
                  </a:lnTo>
                  <a:lnTo>
                    <a:pt x="624" y="210"/>
                  </a:lnTo>
                  <a:lnTo>
                    <a:pt x="630" y="216"/>
                  </a:lnTo>
                  <a:lnTo>
                    <a:pt x="636" y="222"/>
                  </a:lnTo>
                  <a:lnTo>
                    <a:pt x="636" y="228"/>
                  </a:lnTo>
                  <a:lnTo>
                    <a:pt x="636" y="234"/>
                  </a:lnTo>
                  <a:lnTo>
                    <a:pt x="636" y="252"/>
                  </a:lnTo>
                  <a:lnTo>
                    <a:pt x="636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42" y="276"/>
                  </a:lnTo>
                  <a:lnTo>
                    <a:pt x="642" y="282"/>
                  </a:lnTo>
                  <a:lnTo>
                    <a:pt x="642" y="288"/>
                  </a:lnTo>
                  <a:lnTo>
                    <a:pt x="642" y="300"/>
                  </a:lnTo>
                  <a:lnTo>
                    <a:pt x="642" y="306"/>
                  </a:lnTo>
                  <a:lnTo>
                    <a:pt x="636" y="312"/>
                  </a:lnTo>
                  <a:lnTo>
                    <a:pt x="636" y="324"/>
                  </a:lnTo>
                  <a:lnTo>
                    <a:pt x="636" y="342"/>
                  </a:lnTo>
                  <a:lnTo>
                    <a:pt x="630" y="354"/>
                  </a:lnTo>
                  <a:lnTo>
                    <a:pt x="630" y="366"/>
                  </a:lnTo>
                  <a:lnTo>
                    <a:pt x="624" y="378"/>
                  </a:lnTo>
                  <a:lnTo>
                    <a:pt x="624" y="384"/>
                  </a:lnTo>
                  <a:lnTo>
                    <a:pt x="636" y="396"/>
                  </a:lnTo>
                  <a:lnTo>
                    <a:pt x="636" y="402"/>
                  </a:lnTo>
                  <a:lnTo>
                    <a:pt x="636" y="408"/>
                  </a:lnTo>
                  <a:lnTo>
                    <a:pt x="630" y="414"/>
                  </a:lnTo>
                  <a:lnTo>
                    <a:pt x="630" y="420"/>
                  </a:lnTo>
                  <a:lnTo>
                    <a:pt x="630" y="426"/>
                  </a:lnTo>
                  <a:lnTo>
                    <a:pt x="630" y="432"/>
                  </a:lnTo>
                  <a:lnTo>
                    <a:pt x="624" y="438"/>
                  </a:lnTo>
                  <a:lnTo>
                    <a:pt x="624" y="444"/>
                  </a:lnTo>
                  <a:lnTo>
                    <a:pt x="624" y="450"/>
                  </a:lnTo>
                  <a:lnTo>
                    <a:pt x="630" y="450"/>
                  </a:lnTo>
                  <a:lnTo>
                    <a:pt x="630" y="456"/>
                  </a:lnTo>
                  <a:lnTo>
                    <a:pt x="630" y="462"/>
                  </a:lnTo>
                  <a:lnTo>
                    <a:pt x="636" y="468"/>
                  </a:lnTo>
                  <a:lnTo>
                    <a:pt x="642" y="456"/>
                  </a:lnTo>
                  <a:lnTo>
                    <a:pt x="642" y="450"/>
                  </a:lnTo>
                  <a:lnTo>
                    <a:pt x="648" y="450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60" y="444"/>
                  </a:lnTo>
                  <a:lnTo>
                    <a:pt x="666" y="450"/>
                  </a:lnTo>
                  <a:lnTo>
                    <a:pt x="672" y="444"/>
                  </a:lnTo>
                  <a:lnTo>
                    <a:pt x="678" y="444"/>
                  </a:lnTo>
                  <a:lnTo>
                    <a:pt x="684" y="438"/>
                  </a:lnTo>
                  <a:lnTo>
                    <a:pt x="690" y="438"/>
                  </a:lnTo>
                  <a:lnTo>
                    <a:pt x="696" y="438"/>
                  </a:lnTo>
                  <a:lnTo>
                    <a:pt x="702" y="444"/>
                  </a:lnTo>
                  <a:lnTo>
                    <a:pt x="702" y="450"/>
                  </a:lnTo>
                  <a:lnTo>
                    <a:pt x="708" y="450"/>
                  </a:lnTo>
                  <a:lnTo>
                    <a:pt x="708" y="456"/>
                  </a:lnTo>
                  <a:lnTo>
                    <a:pt x="708" y="462"/>
                  </a:lnTo>
                  <a:lnTo>
                    <a:pt x="708" y="468"/>
                  </a:lnTo>
                  <a:lnTo>
                    <a:pt x="708" y="504"/>
                  </a:lnTo>
                  <a:lnTo>
                    <a:pt x="696" y="564"/>
                  </a:lnTo>
                  <a:lnTo>
                    <a:pt x="696" y="582"/>
                  </a:lnTo>
                  <a:lnTo>
                    <a:pt x="696" y="600"/>
                  </a:lnTo>
                  <a:lnTo>
                    <a:pt x="690" y="606"/>
                  </a:lnTo>
                  <a:lnTo>
                    <a:pt x="684" y="606"/>
                  </a:lnTo>
                  <a:lnTo>
                    <a:pt x="690" y="612"/>
                  </a:lnTo>
                  <a:lnTo>
                    <a:pt x="684" y="612"/>
                  </a:lnTo>
                  <a:lnTo>
                    <a:pt x="678" y="618"/>
                  </a:lnTo>
                  <a:lnTo>
                    <a:pt x="672" y="624"/>
                  </a:lnTo>
                  <a:lnTo>
                    <a:pt x="666" y="630"/>
                  </a:lnTo>
                  <a:lnTo>
                    <a:pt x="660" y="636"/>
                  </a:lnTo>
                  <a:lnTo>
                    <a:pt x="672" y="636"/>
                  </a:lnTo>
                  <a:lnTo>
                    <a:pt x="678" y="642"/>
                  </a:lnTo>
                  <a:lnTo>
                    <a:pt x="678" y="648"/>
                  </a:lnTo>
                  <a:lnTo>
                    <a:pt x="684" y="654"/>
                  </a:lnTo>
                  <a:lnTo>
                    <a:pt x="690" y="666"/>
                  </a:lnTo>
                  <a:lnTo>
                    <a:pt x="690" y="672"/>
                  </a:lnTo>
                  <a:lnTo>
                    <a:pt x="696" y="672"/>
                  </a:lnTo>
                  <a:lnTo>
                    <a:pt x="696" y="684"/>
                  </a:lnTo>
                  <a:lnTo>
                    <a:pt x="708" y="690"/>
                  </a:lnTo>
                  <a:lnTo>
                    <a:pt x="720" y="696"/>
                  </a:lnTo>
                  <a:lnTo>
                    <a:pt x="726" y="696"/>
                  </a:lnTo>
                  <a:lnTo>
                    <a:pt x="732" y="696"/>
                  </a:lnTo>
                  <a:lnTo>
                    <a:pt x="738" y="696"/>
                  </a:lnTo>
                  <a:lnTo>
                    <a:pt x="738" y="702"/>
                  </a:lnTo>
                  <a:lnTo>
                    <a:pt x="738" y="708"/>
                  </a:lnTo>
                  <a:lnTo>
                    <a:pt x="738" y="714"/>
                  </a:lnTo>
                  <a:lnTo>
                    <a:pt x="744" y="714"/>
                  </a:lnTo>
                  <a:lnTo>
                    <a:pt x="756" y="720"/>
                  </a:lnTo>
                  <a:lnTo>
                    <a:pt x="780" y="726"/>
                  </a:lnTo>
                  <a:lnTo>
                    <a:pt x="792" y="732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22" y="774"/>
                  </a:lnTo>
                  <a:lnTo>
                    <a:pt x="834" y="786"/>
                  </a:lnTo>
                  <a:lnTo>
                    <a:pt x="834" y="792"/>
                  </a:lnTo>
                  <a:lnTo>
                    <a:pt x="834" y="798"/>
                  </a:lnTo>
                  <a:lnTo>
                    <a:pt x="828" y="798"/>
                  </a:lnTo>
                  <a:lnTo>
                    <a:pt x="828" y="804"/>
                  </a:lnTo>
                  <a:lnTo>
                    <a:pt x="834" y="816"/>
                  </a:lnTo>
                  <a:lnTo>
                    <a:pt x="834" y="834"/>
                  </a:lnTo>
                  <a:lnTo>
                    <a:pt x="834" y="840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34" y="858"/>
                  </a:lnTo>
                  <a:lnTo>
                    <a:pt x="834" y="864"/>
                  </a:lnTo>
                  <a:lnTo>
                    <a:pt x="834" y="876"/>
                  </a:lnTo>
                  <a:lnTo>
                    <a:pt x="828" y="960"/>
                  </a:lnTo>
                  <a:lnTo>
                    <a:pt x="816" y="966"/>
                  </a:lnTo>
                  <a:lnTo>
                    <a:pt x="798" y="972"/>
                  </a:lnTo>
                  <a:lnTo>
                    <a:pt x="786" y="990"/>
                  </a:lnTo>
                  <a:lnTo>
                    <a:pt x="774" y="990"/>
                  </a:lnTo>
                  <a:lnTo>
                    <a:pt x="762" y="1008"/>
                  </a:lnTo>
                  <a:lnTo>
                    <a:pt x="732" y="1014"/>
                  </a:lnTo>
                  <a:lnTo>
                    <a:pt x="714" y="1026"/>
                  </a:lnTo>
                  <a:lnTo>
                    <a:pt x="690" y="1050"/>
                  </a:lnTo>
                  <a:lnTo>
                    <a:pt x="654" y="1056"/>
                  </a:lnTo>
                  <a:lnTo>
                    <a:pt x="630" y="1056"/>
                  </a:lnTo>
                  <a:lnTo>
                    <a:pt x="606" y="1068"/>
                  </a:lnTo>
                  <a:lnTo>
                    <a:pt x="600" y="1092"/>
                  </a:lnTo>
                  <a:lnTo>
                    <a:pt x="600" y="1098"/>
                  </a:lnTo>
                  <a:lnTo>
                    <a:pt x="588" y="1104"/>
                  </a:lnTo>
                  <a:lnTo>
                    <a:pt x="582" y="1104"/>
                  </a:lnTo>
                  <a:lnTo>
                    <a:pt x="570" y="1110"/>
                  </a:lnTo>
                  <a:lnTo>
                    <a:pt x="564" y="111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7" name="Freeform 12">
              <a:extLst>
                <a:ext uri="{FF2B5EF4-FFF2-40B4-BE49-F238E27FC236}">
                  <a16:creationId xmlns:a16="http://schemas.microsoft.com/office/drawing/2014/main" id="{6C93C114-E5D0-49BB-A44C-A127CE01CFE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810" y="2271838"/>
              <a:ext cx="923547" cy="845397"/>
            </a:xfrm>
            <a:custGeom>
              <a:avLst/>
              <a:gdLst>
                <a:gd name="T0" fmla="*/ 138 w 1740"/>
                <a:gd name="T1" fmla="*/ 134 h 1590"/>
                <a:gd name="T2" fmla="*/ 128 w 1740"/>
                <a:gd name="T3" fmla="*/ 131 h 1590"/>
                <a:gd name="T4" fmla="*/ 121 w 1740"/>
                <a:gd name="T5" fmla="*/ 130 h 1590"/>
                <a:gd name="T6" fmla="*/ 119 w 1740"/>
                <a:gd name="T7" fmla="*/ 134 h 1590"/>
                <a:gd name="T8" fmla="*/ 110 w 1740"/>
                <a:gd name="T9" fmla="*/ 132 h 1590"/>
                <a:gd name="T10" fmla="*/ 111 w 1740"/>
                <a:gd name="T11" fmla="*/ 127 h 1590"/>
                <a:gd name="T12" fmla="*/ 103 w 1740"/>
                <a:gd name="T13" fmla="*/ 117 h 1590"/>
                <a:gd name="T14" fmla="*/ 93 w 1740"/>
                <a:gd name="T15" fmla="*/ 123 h 1590"/>
                <a:gd name="T16" fmla="*/ 80 w 1740"/>
                <a:gd name="T17" fmla="*/ 118 h 1590"/>
                <a:gd name="T18" fmla="*/ 66 w 1740"/>
                <a:gd name="T19" fmla="*/ 117 h 1590"/>
                <a:gd name="T20" fmla="*/ 66 w 1740"/>
                <a:gd name="T21" fmla="*/ 110 h 1590"/>
                <a:gd name="T22" fmla="*/ 69 w 1740"/>
                <a:gd name="T23" fmla="*/ 107 h 1590"/>
                <a:gd name="T24" fmla="*/ 68 w 1740"/>
                <a:gd name="T25" fmla="*/ 102 h 1590"/>
                <a:gd name="T26" fmla="*/ 68 w 1740"/>
                <a:gd name="T27" fmla="*/ 96 h 1590"/>
                <a:gd name="T28" fmla="*/ 67 w 1740"/>
                <a:gd name="T29" fmla="*/ 82 h 1590"/>
                <a:gd name="T30" fmla="*/ 58 w 1740"/>
                <a:gd name="T31" fmla="*/ 82 h 1590"/>
                <a:gd name="T32" fmla="*/ 52 w 1740"/>
                <a:gd name="T33" fmla="*/ 82 h 1590"/>
                <a:gd name="T34" fmla="*/ 46 w 1740"/>
                <a:gd name="T35" fmla="*/ 80 h 1590"/>
                <a:gd name="T36" fmla="*/ 45 w 1740"/>
                <a:gd name="T37" fmla="*/ 74 h 1590"/>
                <a:gd name="T38" fmla="*/ 52 w 1740"/>
                <a:gd name="T39" fmla="*/ 70 h 1590"/>
                <a:gd name="T40" fmla="*/ 52 w 1740"/>
                <a:gd name="T41" fmla="*/ 64 h 1590"/>
                <a:gd name="T42" fmla="*/ 42 w 1740"/>
                <a:gd name="T43" fmla="*/ 53 h 1590"/>
                <a:gd name="T44" fmla="*/ 35 w 1740"/>
                <a:gd name="T45" fmla="*/ 52 h 1590"/>
                <a:gd name="T46" fmla="*/ 20 w 1740"/>
                <a:gd name="T47" fmla="*/ 51 h 1590"/>
                <a:gd name="T48" fmla="*/ 17 w 1740"/>
                <a:gd name="T49" fmla="*/ 56 h 1590"/>
                <a:gd name="T50" fmla="*/ 11 w 1740"/>
                <a:gd name="T51" fmla="*/ 61 h 1590"/>
                <a:gd name="T52" fmla="*/ 7 w 1740"/>
                <a:gd name="T53" fmla="*/ 63 h 1590"/>
                <a:gd name="T54" fmla="*/ 0 w 1740"/>
                <a:gd name="T55" fmla="*/ 55 h 1590"/>
                <a:gd name="T56" fmla="*/ 2 w 1740"/>
                <a:gd name="T57" fmla="*/ 50 h 1590"/>
                <a:gd name="T58" fmla="*/ 0 w 1740"/>
                <a:gd name="T59" fmla="*/ 44 h 1590"/>
                <a:gd name="T60" fmla="*/ 2 w 1740"/>
                <a:gd name="T61" fmla="*/ 38 h 1590"/>
                <a:gd name="T62" fmla="*/ 7 w 1740"/>
                <a:gd name="T63" fmla="*/ 35 h 1590"/>
                <a:gd name="T64" fmla="*/ 11 w 1740"/>
                <a:gd name="T65" fmla="*/ 30 h 1590"/>
                <a:gd name="T66" fmla="*/ 21 w 1740"/>
                <a:gd name="T67" fmla="*/ 26 h 1590"/>
                <a:gd name="T68" fmla="*/ 29 w 1740"/>
                <a:gd name="T69" fmla="*/ 25 h 1590"/>
                <a:gd name="T70" fmla="*/ 35 w 1740"/>
                <a:gd name="T71" fmla="*/ 21 h 1590"/>
                <a:gd name="T72" fmla="*/ 36 w 1740"/>
                <a:gd name="T73" fmla="*/ 16 h 1590"/>
                <a:gd name="T74" fmla="*/ 41 w 1740"/>
                <a:gd name="T75" fmla="*/ 11 h 1590"/>
                <a:gd name="T76" fmla="*/ 51 w 1740"/>
                <a:gd name="T77" fmla="*/ 9 h 1590"/>
                <a:gd name="T78" fmla="*/ 59 w 1740"/>
                <a:gd name="T79" fmla="*/ 21 h 1590"/>
                <a:gd name="T80" fmla="*/ 65 w 1740"/>
                <a:gd name="T81" fmla="*/ 13 h 1590"/>
                <a:gd name="T82" fmla="*/ 73 w 1740"/>
                <a:gd name="T83" fmla="*/ 8 h 1590"/>
                <a:gd name="T84" fmla="*/ 82 w 1740"/>
                <a:gd name="T85" fmla="*/ 12 h 1590"/>
                <a:gd name="T86" fmla="*/ 88 w 1740"/>
                <a:gd name="T87" fmla="*/ 12 h 1590"/>
                <a:gd name="T88" fmla="*/ 99 w 1740"/>
                <a:gd name="T89" fmla="*/ 7 h 1590"/>
                <a:gd name="T90" fmla="*/ 114 w 1740"/>
                <a:gd name="T91" fmla="*/ 0 h 1590"/>
                <a:gd name="T92" fmla="*/ 117 w 1740"/>
                <a:gd name="T93" fmla="*/ 10 h 1590"/>
                <a:gd name="T94" fmla="*/ 132 w 1740"/>
                <a:gd name="T95" fmla="*/ 17 h 1590"/>
                <a:gd name="T96" fmla="*/ 140 w 1740"/>
                <a:gd name="T97" fmla="*/ 25 h 1590"/>
                <a:gd name="T98" fmla="*/ 140 w 1740"/>
                <a:gd name="T99" fmla="*/ 33 h 1590"/>
                <a:gd name="T100" fmla="*/ 140 w 1740"/>
                <a:gd name="T101" fmla="*/ 44 h 1590"/>
                <a:gd name="T102" fmla="*/ 138 w 1740"/>
                <a:gd name="T103" fmla="*/ 48 h 1590"/>
                <a:gd name="T104" fmla="*/ 141 w 1740"/>
                <a:gd name="T105" fmla="*/ 49 h 1590"/>
                <a:gd name="T106" fmla="*/ 146 w 1740"/>
                <a:gd name="T107" fmla="*/ 50 h 1590"/>
                <a:gd name="T108" fmla="*/ 149 w 1740"/>
                <a:gd name="T109" fmla="*/ 59 h 1590"/>
                <a:gd name="T110" fmla="*/ 148 w 1740"/>
                <a:gd name="T111" fmla="*/ 67 h 1590"/>
                <a:gd name="T112" fmla="*/ 141 w 1740"/>
                <a:gd name="T113" fmla="*/ 78 h 1590"/>
                <a:gd name="T114" fmla="*/ 141 w 1740"/>
                <a:gd name="T115" fmla="*/ 91 h 1590"/>
                <a:gd name="T116" fmla="*/ 138 w 1740"/>
                <a:gd name="T117" fmla="*/ 102 h 1590"/>
                <a:gd name="T118" fmla="*/ 138 w 1740"/>
                <a:gd name="T119" fmla="*/ 110 h 1590"/>
                <a:gd name="T120" fmla="*/ 144 w 1740"/>
                <a:gd name="T121" fmla="*/ 118 h 1590"/>
                <a:gd name="T122" fmla="*/ 143 w 1740"/>
                <a:gd name="T123" fmla="*/ 125 h 159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740"/>
                <a:gd name="T187" fmla="*/ 0 h 1590"/>
                <a:gd name="T188" fmla="*/ 1740 w 1740"/>
                <a:gd name="T189" fmla="*/ 1590 h 159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740" h="1590">
                  <a:moveTo>
                    <a:pt x="1638" y="1458"/>
                  </a:moveTo>
                  <a:lnTo>
                    <a:pt x="1638" y="1482"/>
                  </a:lnTo>
                  <a:lnTo>
                    <a:pt x="1638" y="1500"/>
                  </a:lnTo>
                  <a:lnTo>
                    <a:pt x="1626" y="1500"/>
                  </a:lnTo>
                  <a:lnTo>
                    <a:pt x="1620" y="1500"/>
                  </a:lnTo>
                  <a:lnTo>
                    <a:pt x="1614" y="1500"/>
                  </a:lnTo>
                  <a:lnTo>
                    <a:pt x="1614" y="1506"/>
                  </a:lnTo>
                  <a:lnTo>
                    <a:pt x="1614" y="1512"/>
                  </a:lnTo>
                  <a:lnTo>
                    <a:pt x="1620" y="1518"/>
                  </a:lnTo>
                  <a:lnTo>
                    <a:pt x="1614" y="1524"/>
                  </a:lnTo>
                  <a:lnTo>
                    <a:pt x="1590" y="1536"/>
                  </a:lnTo>
                  <a:lnTo>
                    <a:pt x="1584" y="1566"/>
                  </a:lnTo>
                  <a:lnTo>
                    <a:pt x="1578" y="1590"/>
                  </a:lnTo>
                  <a:lnTo>
                    <a:pt x="1548" y="1590"/>
                  </a:lnTo>
                  <a:lnTo>
                    <a:pt x="1542" y="1584"/>
                  </a:lnTo>
                  <a:lnTo>
                    <a:pt x="1542" y="1572"/>
                  </a:lnTo>
                  <a:lnTo>
                    <a:pt x="1536" y="1566"/>
                  </a:lnTo>
                  <a:lnTo>
                    <a:pt x="1536" y="1554"/>
                  </a:lnTo>
                  <a:lnTo>
                    <a:pt x="1536" y="1548"/>
                  </a:lnTo>
                  <a:lnTo>
                    <a:pt x="1506" y="1530"/>
                  </a:lnTo>
                  <a:lnTo>
                    <a:pt x="1488" y="1506"/>
                  </a:lnTo>
                  <a:lnTo>
                    <a:pt x="1464" y="1500"/>
                  </a:lnTo>
                  <a:lnTo>
                    <a:pt x="1470" y="1494"/>
                  </a:lnTo>
                  <a:lnTo>
                    <a:pt x="1470" y="1488"/>
                  </a:lnTo>
                  <a:lnTo>
                    <a:pt x="1470" y="1482"/>
                  </a:lnTo>
                  <a:lnTo>
                    <a:pt x="1428" y="1464"/>
                  </a:lnTo>
                  <a:lnTo>
                    <a:pt x="1404" y="1470"/>
                  </a:lnTo>
                  <a:lnTo>
                    <a:pt x="1398" y="1470"/>
                  </a:lnTo>
                  <a:lnTo>
                    <a:pt x="1392" y="1476"/>
                  </a:lnTo>
                  <a:lnTo>
                    <a:pt x="1386" y="1476"/>
                  </a:lnTo>
                  <a:lnTo>
                    <a:pt x="1386" y="1482"/>
                  </a:lnTo>
                  <a:lnTo>
                    <a:pt x="1392" y="1482"/>
                  </a:lnTo>
                  <a:lnTo>
                    <a:pt x="1386" y="1488"/>
                  </a:lnTo>
                  <a:lnTo>
                    <a:pt x="1386" y="1494"/>
                  </a:lnTo>
                  <a:lnTo>
                    <a:pt x="1380" y="1494"/>
                  </a:lnTo>
                  <a:lnTo>
                    <a:pt x="1380" y="1500"/>
                  </a:lnTo>
                  <a:lnTo>
                    <a:pt x="1380" y="1512"/>
                  </a:lnTo>
                  <a:lnTo>
                    <a:pt x="1380" y="1518"/>
                  </a:lnTo>
                  <a:lnTo>
                    <a:pt x="1380" y="1524"/>
                  </a:lnTo>
                  <a:lnTo>
                    <a:pt x="1380" y="1530"/>
                  </a:lnTo>
                  <a:lnTo>
                    <a:pt x="1374" y="1536"/>
                  </a:lnTo>
                  <a:lnTo>
                    <a:pt x="1374" y="1542"/>
                  </a:lnTo>
                  <a:lnTo>
                    <a:pt x="1368" y="1542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44" y="1554"/>
                  </a:lnTo>
                  <a:lnTo>
                    <a:pt x="1332" y="1560"/>
                  </a:lnTo>
                  <a:lnTo>
                    <a:pt x="1302" y="1554"/>
                  </a:lnTo>
                  <a:lnTo>
                    <a:pt x="1290" y="1554"/>
                  </a:lnTo>
                  <a:lnTo>
                    <a:pt x="1278" y="1542"/>
                  </a:lnTo>
                  <a:lnTo>
                    <a:pt x="1272" y="1530"/>
                  </a:lnTo>
                  <a:lnTo>
                    <a:pt x="1272" y="1524"/>
                  </a:lnTo>
                  <a:lnTo>
                    <a:pt x="1272" y="1518"/>
                  </a:lnTo>
                  <a:lnTo>
                    <a:pt x="1266" y="1518"/>
                  </a:lnTo>
                  <a:lnTo>
                    <a:pt x="1266" y="1512"/>
                  </a:lnTo>
                  <a:lnTo>
                    <a:pt x="1266" y="1506"/>
                  </a:lnTo>
                  <a:lnTo>
                    <a:pt x="1272" y="1506"/>
                  </a:lnTo>
                  <a:lnTo>
                    <a:pt x="1272" y="1500"/>
                  </a:lnTo>
                  <a:lnTo>
                    <a:pt x="1278" y="1500"/>
                  </a:lnTo>
                  <a:lnTo>
                    <a:pt x="1278" y="1494"/>
                  </a:lnTo>
                  <a:lnTo>
                    <a:pt x="1278" y="1488"/>
                  </a:lnTo>
                  <a:lnTo>
                    <a:pt x="1284" y="1488"/>
                  </a:lnTo>
                  <a:lnTo>
                    <a:pt x="1284" y="1482"/>
                  </a:lnTo>
                  <a:lnTo>
                    <a:pt x="1290" y="1476"/>
                  </a:lnTo>
                  <a:lnTo>
                    <a:pt x="1284" y="1470"/>
                  </a:lnTo>
                  <a:lnTo>
                    <a:pt x="1278" y="1458"/>
                  </a:lnTo>
                  <a:lnTo>
                    <a:pt x="1278" y="1452"/>
                  </a:lnTo>
                  <a:lnTo>
                    <a:pt x="1260" y="1428"/>
                  </a:lnTo>
                  <a:lnTo>
                    <a:pt x="1254" y="1416"/>
                  </a:lnTo>
                  <a:lnTo>
                    <a:pt x="1254" y="1410"/>
                  </a:lnTo>
                  <a:lnTo>
                    <a:pt x="1248" y="1398"/>
                  </a:lnTo>
                  <a:lnTo>
                    <a:pt x="1242" y="1398"/>
                  </a:lnTo>
                  <a:lnTo>
                    <a:pt x="1236" y="1398"/>
                  </a:lnTo>
                  <a:lnTo>
                    <a:pt x="1218" y="1386"/>
                  </a:lnTo>
                  <a:lnTo>
                    <a:pt x="1212" y="1362"/>
                  </a:lnTo>
                  <a:lnTo>
                    <a:pt x="1200" y="1344"/>
                  </a:lnTo>
                  <a:lnTo>
                    <a:pt x="1188" y="1338"/>
                  </a:lnTo>
                  <a:lnTo>
                    <a:pt x="1164" y="1338"/>
                  </a:lnTo>
                  <a:lnTo>
                    <a:pt x="1158" y="1344"/>
                  </a:lnTo>
                  <a:lnTo>
                    <a:pt x="1152" y="1350"/>
                  </a:lnTo>
                  <a:lnTo>
                    <a:pt x="1152" y="1356"/>
                  </a:lnTo>
                  <a:lnTo>
                    <a:pt x="1140" y="1362"/>
                  </a:lnTo>
                  <a:lnTo>
                    <a:pt x="1134" y="1380"/>
                  </a:lnTo>
                  <a:lnTo>
                    <a:pt x="1116" y="1398"/>
                  </a:lnTo>
                  <a:lnTo>
                    <a:pt x="1110" y="1416"/>
                  </a:lnTo>
                  <a:lnTo>
                    <a:pt x="1086" y="1416"/>
                  </a:lnTo>
                  <a:lnTo>
                    <a:pt x="1080" y="1410"/>
                  </a:lnTo>
                  <a:lnTo>
                    <a:pt x="1074" y="1410"/>
                  </a:lnTo>
                  <a:lnTo>
                    <a:pt x="1074" y="1404"/>
                  </a:lnTo>
                  <a:lnTo>
                    <a:pt x="1062" y="1404"/>
                  </a:lnTo>
                  <a:lnTo>
                    <a:pt x="1062" y="1380"/>
                  </a:lnTo>
                  <a:lnTo>
                    <a:pt x="1038" y="1380"/>
                  </a:lnTo>
                  <a:lnTo>
                    <a:pt x="1026" y="1350"/>
                  </a:lnTo>
                  <a:lnTo>
                    <a:pt x="996" y="1326"/>
                  </a:lnTo>
                  <a:lnTo>
                    <a:pt x="966" y="1314"/>
                  </a:lnTo>
                  <a:lnTo>
                    <a:pt x="954" y="1320"/>
                  </a:lnTo>
                  <a:lnTo>
                    <a:pt x="942" y="1338"/>
                  </a:lnTo>
                  <a:lnTo>
                    <a:pt x="930" y="1338"/>
                  </a:lnTo>
                  <a:lnTo>
                    <a:pt x="924" y="1350"/>
                  </a:lnTo>
                  <a:lnTo>
                    <a:pt x="906" y="1356"/>
                  </a:lnTo>
                  <a:lnTo>
                    <a:pt x="846" y="1356"/>
                  </a:lnTo>
                  <a:lnTo>
                    <a:pt x="834" y="1368"/>
                  </a:lnTo>
                  <a:lnTo>
                    <a:pt x="810" y="1362"/>
                  </a:lnTo>
                  <a:lnTo>
                    <a:pt x="792" y="1362"/>
                  </a:lnTo>
                  <a:lnTo>
                    <a:pt x="780" y="1368"/>
                  </a:lnTo>
                  <a:lnTo>
                    <a:pt x="762" y="1368"/>
                  </a:lnTo>
                  <a:lnTo>
                    <a:pt x="762" y="1362"/>
                  </a:lnTo>
                  <a:lnTo>
                    <a:pt x="750" y="1362"/>
                  </a:lnTo>
                  <a:lnTo>
                    <a:pt x="750" y="1338"/>
                  </a:lnTo>
                  <a:lnTo>
                    <a:pt x="762" y="1338"/>
                  </a:lnTo>
                  <a:lnTo>
                    <a:pt x="762" y="1326"/>
                  </a:lnTo>
                  <a:lnTo>
                    <a:pt x="762" y="1314"/>
                  </a:lnTo>
                  <a:lnTo>
                    <a:pt x="732" y="1314"/>
                  </a:lnTo>
                  <a:lnTo>
                    <a:pt x="726" y="1308"/>
                  </a:lnTo>
                  <a:lnTo>
                    <a:pt x="732" y="1284"/>
                  </a:lnTo>
                  <a:lnTo>
                    <a:pt x="732" y="1278"/>
                  </a:lnTo>
                  <a:lnTo>
                    <a:pt x="738" y="1272"/>
                  </a:lnTo>
                  <a:lnTo>
                    <a:pt x="738" y="1266"/>
                  </a:lnTo>
                  <a:lnTo>
                    <a:pt x="744" y="1266"/>
                  </a:lnTo>
                  <a:lnTo>
                    <a:pt x="750" y="1272"/>
                  </a:lnTo>
                  <a:lnTo>
                    <a:pt x="756" y="1266"/>
                  </a:lnTo>
                  <a:lnTo>
                    <a:pt x="762" y="1266"/>
                  </a:lnTo>
                  <a:lnTo>
                    <a:pt x="768" y="1260"/>
                  </a:lnTo>
                  <a:lnTo>
                    <a:pt x="774" y="1260"/>
                  </a:lnTo>
                  <a:lnTo>
                    <a:pt x="780" y="1254"/>
                  </a:lnTo>
                  <a:lnTo>
                    <a:pt x="774" y="1254"/>
                  </a:lnTo>
                  <a:lnTo>
                    <a:pt x="768" y="1254"/>
                  </a:lnTo>
                  <a:lnTo>
                    <a:pt x="774" y="1248"/>
                  </a:lnTo>
                  <a:lnTo>
                    <a:pt x="774" y="1242"/>
                  </a:lnTo>
                  <a:lnTo>
                    <a:pt x="780" y="1236"/>
                  </a:lnTo>
                  <a:lnTo>
                    <a:pt x="786" y="1236"/>
                  </a:lnTo>
                  <a:lnTo>
                    <a:pt x="792" y="1230"/>
                  </a:lnTo>
                  <a:lnTo>
                    <a:pt x="792" y="1236"/>
                  </a:lnTo>
                  <a:lnTo>
                    <a:pt x="798" y="1236"/>
                  </a:lnTo>
                  <a:lnTo>
                    <a:pt x="798" y="1230"/>
                  </a:lnTo>
                  <a:lnTo>
                    <a:pt x="804" y="1230"/>
                  </a:lnTo>
                  <a:lnTo>
                    <a:pt x="804" y="1218"/>
                  </a:lnTo>
                  <a:lnTo>
                    <a:pt x="804" y="1206"/>
                  </a:lnTo>
                  <a:lnTo>
                    <a:pt x="792" y="1188"/>
                  </a:lnTo>
                  <a:lnTo>
                    <a:pt x="768" y="1182"/>
                  </a:lnTo>
                  <a:lnTo>
                    <a:pt x="768" y="1170"/>
                  </a:lnTo>
                  <a:lnTo>
                    <a:pt x="774" y="1170"/>
                  </a:lnTo>
                  <a:lnTo>
                    <a:pt x="780" y="1170"/>
                  </a:lnTo>
                  <a:lnTo>
                    <a:pt x="786" y="1170"/>
                  </a:lnTo>
                  <a:lnTo>
                    <a:pt x="780" y="1152"/>
                  </a:lnTo>
                  <a:lnTo>
                    <a:pt x="780" y="1146"/>
                  </a:lnTo>
                  <a:lnTo>
                    <a:pt x="744" y="1140"/>
                  </a:lnTo>
                  <a:lnTo>
                    <a:pt x="732" y="1128"/>
                  </a:lnTo>
                  <a:lnTo>
                    <a:pt x="720" y="1122"/>
                  </a:lnTo>
                  <a:lnTo>
                    <a:pt x="732" y="1116"/>
                  </a:lnTo>
                  <a:lnTo>
                    <a:pt x="750" y="1104"/>
                  </a:lnTo>
                  <a:lnTo>
                    <a:pt x="756" y="1116"/>
                  </a:lnTo>
                  <a:lnTo>
                    <a:pt x="774" y="1116"/>
                  </a:lnTo>
                  <a:lnTo>
                    <a:pt x="780" y="1104"/>
                  </a:lnTo>
                  <a:lnTo>
                    <a:pt x="780" y="1080"/>
                  </a:lnTo>
                  <a:lnTo>
                    <a:pt x="786" y="1080"/>
                  </a:lnTo>
                  <a:lnTo>
                    <a:pt x="786" y="1074"/>
                  </a:lnTo>
                  <a:lnTo>
                    <a:pt x="792" y="1074"/>
                  </a:lnTo>
                  <a:lnTo>
                    <a:pt x="786" y="1068"/>
                  </a:lnTo>
                  <a:lnTo>
                    <a:pt x="786" y="1062"/>
                  </a:lnTo>
                  <a:lnTo>
                    <a:pt x="786" y="1056"/>
                  </a:lnTo>
                  <a:lnTo>
                    <a:pt x="792" y="1050"/>
                  </a:lnTo>
                  <a:lnTo>
                    <a:pt x="786" y="1020"/>
                  </a:lnTo>
                  <a:lnTo>
                    <a:pt x="780" y="960"/>
                  </a:lnTo>
                  <a:lnTo>
                    <a:pt x="768" y="942"/>
                  </a:lnTo>
                  <a:lnTo>
                    <a:pt x="732" y="936"/>
                  </a:lnTo>
                  <a:lnTo>
                    <a:pt x="732" y="942"/>
                  </a:lnTo>
                  <a:lnTo>
                    <a:pt x="726" y="942"/>
                  </a:lnTo>
                  <a:lnTo>
                    <a:pt x="720" y="936"/>
                  </a:lnTo>
                  <a:lnTo>
                    <a:pt x="714" y="942"/>
                  </a:lnTo>
                  <a:lnTo>
                    <a:pt x="708" y="942"/>
                  </a:lnTo>
                  <a:lnTo>
                    <a:pt x="702" y="942"/>
                  </a:lnTo>
                  <a:lnTo>
                    <a:pt x="690" y="936"/>
                  </a:lnTo>
                  <a:lnTo>
                    <a:pt x="684" y="936"/>
                  </a:lnTo>
                  <a:lnTo>
                    <a:pt x="678" y="936"/>
                  </a:lnTo>
                  <a:lnTo>
                    <a:pt x="672" y="936"/>
                  </a:lnTo>
                  <a:lnTo>
                    <a:pt x="666" y="942"/>
                  </a:lnTo>
                  <a:lnTo>
                    <a:pt x="660" y="942"/>
                  </a:lnTo>
                  <a:lnTo>
                    <a:pt x="654" y="942"/>
                  </a:lnTo>
                  <a:lnTo>
                    <a:pt x="648" y="942"/>
                  </a:lnTo>
                  <a:lnTo>
                    <a:pt x="642" y="936"/>
                  </a:lnTo>
                  <a:lnTo>
                    <a:pt x="636" y="936"/>
                  </a:lnTo>
                  <a:lnTo>
                    <a:pt x="630" y="930"/>
                  </a:lnTo>
                  <a:lnTo>
                    <a:pt x="618" y="930"/>
                  </a:lnTo>
                  <a:lnTo>
                    <a:pt x="612" y="930"/>
                  </a:lnTo>
                  <a:lnTo>
                    <a:pt x="606" y="936"/>
                  </a:lnTo>
                  <a:lnTo>
                    <a:pt x="600" y="942"/>
                  </a:lnTo>
                  <a:lnTo>
                    <a:pt x="600" y="936"/>
                  </a:lnTo>
                  <a:lnTo>
                    <a:pt x="594" y="930"/>
                  </a:lnTo>
                  <a:lnTo>
                    <a:pt x="588" y="930"/>
                  </a:lnTo>
                  <a:lnTo>
                    <a:pt x="582" y="930"/>
                  </a:lnTo>
                  <a:lnTo>
                    <a:pt x="576" y="930"/>
                  </a:lnTo>
                  <a:lnTo>
                    <a:pt x="564" y="936"/>
                  </a:lnTo>
                  <a:lnTo>
                    <a:pt x="558" y="936"/>
                  </a:lnTo>
                  <a:lnTo>
                    <a:pt x="546" y="924"/>
                  </a:lnTo>
                  <a:lnTo>
                    <a:pt x="540" y="924"/>
                  </a:lnTo>
                  <a:lnTo>
                    <a:pt x="534" y="918"/>
                  </a:lnTo>
                  <a:lnTo>
                    <a:pt x="528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6" y="918"/>
                  </a:lnTo>
                  <a:lnTo>
                    <a:pt x="516" y="912"/>
                  </a:lnTo>
                  <a:lnTo>
                    <a:pt x="510" y="894"/>
                  </a:lnTo>
                  <a:lnTo>
                    <a:pt x="510" y="882"/>
                  </a:lnTo>
                  <a:lnTo>
                    <a:pt x="510" y="876"/>
                  </a:lnTo>
                  <a:lnTo>
                    <a:pt x="516" y="870"/>
                  </a:lnTo>
                  <a:lnTo>
                    <a:pt x="510" y="864"/>
                  </a:lnTo>
                  <a:lnTo>
                    <a:pt x="516" y="858"/>
                  </a:lnTo>
                  <a:lnTo>
                    <a:pt x="522" y="858"/>
                  </a:lnTo>
                  <a:lnTo>
                    <a:pt x="528" y="858"/>
                  </a:lnTo>
                  <a:lnTo>
                    <a:pt x="522" y="852"/>
                  </a:lnTo>
                  <a:lnTo>
                    <a:pt x="528" y="852"/>
                  </a:lnTo>
                  <a:lnTo>
                    <a:pt x="528" y="846"/>
                  </a:lnTo>
                  <a:lnTo>
                    <a:pt x="552" y="846"/>
                  </a:lnTo>
                  <a:lnTo>
                    <a:pt x="558" y="840"/>
                  </a:lnTo>
                  <a:lnTo>
                    <a:pt x="564" y="828"/>
                  </a:lnTo>
                  <a:lnTo>
                    <a:pt x="570" y="816"/>
                  </a:lnTo>
                  <a:lnTo>
                    <a:pt x="582" y="810"/>
                  </a:lnTo>
                  <a:lnTo>
                    <a:pt x="588" y="804"/>
                  </a:lnTo>
                  <a:lnTo>
                    <a:pt x="594" y="804"/>
                  </a:lnTo>
                  <a:lnTo>
                    <a:pt x="594" y="792"/>
                  </a:lnTo>
                  <a:lnTo>
                    <a:pt x="600" y="786"/>
                  </a:lnTo>
                  <a:lnTo>
                    <a:pt x="606" y="780"/>
                  </a:lnTo>
                  <a:lnTo>
                    <a:pt x="612" y="774"/>
                  </a:lnTo>
                  <a:lnTo>
                    <a:pt x="618" y="774"/>
                  </a:lnTo>
                  <a:lnTo>
                    <a:pt x="618" y="768"/>
                  </a:lnTo>
                  <a:lnTo>
                    <a:pt x="618" y="762"/>
                  </a:lnTo>
                  <a:lnTo>
                    <a:pt x="624" y="756"/>
                  </a:lnTo>
                  <a:lnTo>
                    <a:pt x="618" y="750"/>
                  </a:lnTo>
                  <a:lnTo>
                    <a:pt x="618" y="744"/>
                  </a:lnTo>
                  <a:lnTo>
                    <a:pt x="600" y="738"/>
                  </a:lnTo>
                  <a:lnTo>
                    <a:pt x="558" y="744"/>
                  </a:lnTo>
                  <a:lnTo>
                    <a:pt x="552" y="732"/>
                  </a:lnTo>
                  <a:lnTo>
                    <a:pt x="546" y="720"/>
                  </a:lnTo>
                  <a:lnTo>
                    <a:pt x="564" y="702"/>
                  </a:lnTo>
                  <a:lnTo>
                    <a:pt x="570" y="684"/>
                  </a:lnTo>
                  <a:lnTo>
                    <a:pt x="564" y="648"/>
                  </a:lnTo>
                  <a:lnTo>
                    <a:pt x="534" y="624"/>
                  </a:lnTo>
                  <a:lnTo>
                    <a:pt x="504" y="612"/>
                  </a:lnTo>
                  <a:lnTo>
                    <a:pt x="498" y="606"/>
                  </a:lnTo>
                  <a:lnTo>
                    <a:pt x="492" y="600"/>
                  </a:lnTo>
                  <a:lnTo>
                    <a:pt x="486" y="606"/>
                  </a:lnTo>
                  <a:lnTo>
                    <a:pt x="480" y="558"/>
                  </a:lnTo>
                  <a:lnTo>
                    <a:pt x="462" y="546"/>
                  </a:lnTo>
                  <a:lnTo>
                    <a:pt x="408" y="540"/>
                  </a:lnTo>
                  <a:lnTo>
                    <a:pt x="408" y="546"/>
                  </a:lnTo>
                  <a:lnTo>
                    <a:pt x="408" y="558"/>
                  </a:lnTo>
                  <a:lnTo>
                    <a:pt x="408" y="564"/>
                  </a:lnTo>
                  <a:lnTo>
                    <a:pt x="408" y="570"/>
                  </a:lnTo>
                  <a:lnTo>
                    <a:pt x="414" y="582"/>
                  </a:lnTo>
                  <a:lnTo>
                    <a:pt x="408" y="594"/>
                  </a:lnTo>
                  <a:lnTo>
                    <a:pt x="414" y="594"/>
                  </a:lnTo>
                  <a:lnTo>
                    <a:pt x="408" y="600"/>
                  </a:lnTo>
                  <a:lnTo>
                    <a:pt x="348" y="600"/>
                  </a:lnTo>
                  <a:lnTo>
                    <a:pt x="324" y="600"/>
                  </a:lnTo>
                  <a:lnTo>
                    <a:pt x="324" y="612"/>
                  </a:lnTo>
                  <a:lnTo>
                    <a:pt x="306" y="618"/>
                  </a:lnTo>
                  <a:lnTo>
                    <a:pt x="312" y="618"/>
                  </a:lnTo>
                  <a:lnTo>
                    <a:pt x="294" y="588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76"/>
                  </a:lnTo>
                  <a:lnTo>
                    <a:pt x="240" y="582"/>
                  </a:lnTo>
                  <a:lnTo>
                    <a:pt x="234" y="582"/>
                  </a:lnTo>
                  <a:lnTo>
                    <a:pt x="228" y="588"/>
                  </a:lnTo>
                  <a:lnTo>
                    <a:pt x="222" y="588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8" y="600"/>
                  </a:lnTo>
                  <a:lnTo>
                    <a:pt x="192" y="612"/>
                  </a:lnTo>
                  <a:lnTo>
                    <a:pt x="192" y="618"/>
                  </a:lnTo>
                  <a:lnTo>
                    <a:pt x="198" y="624"/>
                  </a:lnTo>
                  <a:lnTo>
                    <a:pt x="192" y="624"/>
                  </a:lnTo>
                  <a:lnTo>
                    <a:pt x="192" y="630"/>
                  </a:lnTo>
                  <a:lnTo>
                    <a:pt x="192" y="642"/>
                  </a:lnTo>
                  <a:lnTo>
                    <a:pt x="180" y="648"/>
                  </a:lnTo>
                  <a:lnTo>
                    <a:pt x="174" y="654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6"/>
                  </a:lnTo>
                  <a:lnTo>
                    <a:pt x="156" y="672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90"/>
                  </a:lnTo>
                  <a:lnTo>
                    <a:pt x="132" y="690"/>
                  </a:lnTo>
                  <a:lnTo>
                    <a:pt x="126" y="702"/>
                  </a:lnTo>
                  <a:lnTo>
                    <a:pt x="132" y="708"/>
                  </a:lnTo>
                  <a:lnTo>
                    <a:pt x="126" y="708"/>
                  </a:lnTo>
                  <a:lnTo>
                    <a:pt x="120" y="708"/>
                  </a:lnTo>
                  <a:lnTo>
                    <a:pt x="114" y="708"/>
                  </a:lnTo>
                  <a:lnTo>
                    <a:pt x="108" y="708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78" y="720"/>
                  </a:lnTo>
                  <a:lnTo>
                    <a:pt x="72" y="720"/>
                  </a:lnTo>
                  <a:lnTo>
                    <a:pt x="66" y="720"/>
                  </a:lnTo>
                  <a:lnTo>
                    <a:pt x="54" y="732"/>
                  </a:lnTo>
                  <a:lnTo>
                    <a:pt x="48" y="702"/>
                  </a:lnTo>
                  <a:lnTo>
                    <a:pt x="36" y="666"/>
                  </a:lnTo>
                  <a:lnTo>
                    <a:pt x="0" y="660"/>
                  </a:lnTo>
                  <a:lnTo>
                    <a:pt x="6" y="660"/>
                  </a:lnTo>
                  <a:lnTo>
                    <a:pt x="6" y="654"/>
                  </a:lnTo>
                  <a:lnTo>
                    <a:pt x="6" y="648"/>
                  </a:lnTo>
                  <a:lnTo>
                    <a:pt x="6" y="642"/>
                  </a:lnTo>
                  <a:lnTo>
                    <a:pt x="6" y="624"/>
                  </a:lnTo>
                  <a:lnTo>
                    <a:pt x="6" y="612"/>
                  </a:lnTo>
                  <a:lnTo>
                    <a:pt x="6" y="606"/>
                  </a:lnTo>
                  <a:lnTo>
                    <a:pt x="12" y="612"/>
                  </a:lnTo>
                  <a:lnTo>
                    <a:pt x="18" y="606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30" y="594"/>
                  </a:lnTo>
                  <a:lnTo>
                    <a:pt x="30" y="588"/>
                  </a:lnTo>
                  <a:lnTo>
                    <a:pt x="30" y="582"/>
                  </a:lnTo>
                  <a:lnTo>
                    <a:pt x="24" y="576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18" y="558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36" y="528"/>
                  </a:lnTo>
                  <a:lnTo>
                    <a:pt x="30" y="522"/>
                  </a:lnTo>
                  <a:lnTo>
                    <a:pt x="24" y="522"/>
                  </a:lnTo>
                  <a:lnTo>
                    <a:pt x="18" y="510"/>
                  </a:lnTo>
                  <a:lnTo>
                    <a:pt x="12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8" y="474"/>
                  </a:lnTo>
                  <a:lnTo>
                    <a:pt x="12" y="468"/>
                  </a:lnTo>
                  <a:lnTo>
                    <a:pt x="12" y="462"/>
                  </a:lnTo>
                  <a:lnTo>
                    <a:pt x="18" y="456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0" y="420"/>
                  </a:lnTo>
                  <a:lnTo>
                    <a:pt x="30" y="414"/>
                  </a:lnTo>
                  <a:lnTo>
                    <a:pt x="48" y="414"/>
                  </a:lnTo>
                  <a:lnTo>
                    <a:pt x="54" y="408"/>
                  </a:lnTo>
                  <a:lnTo>
                    <a:pt x="60" y="402"/>
                  </a:lnTo>
                  <a:lnTo>
                    <a:pt x="66" y="402"/>
                  </a:lnTo>
                  <a:lnTo>
                    <a:pt x="72" y="402"/>
                  </a:lnTo>
                  <a:lnTo>
                    <a:pt x="78" y="408"/>
                  </a:lnTo>
                  <a:lnTo>
                    <a:pt x="84" y="396"/>
                  </a:lnTo>
                  <a:lnTo>
                    <a:pt x="90" y="390"/>
                  </a:lnTo>
                  <a:lnTo>
                    <a:pt x="90" y="378"/>
                  </a:lnTo>
                  <a:lnTo>
                    <a:pt x="96" y="372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8" y="354"/>
                  </a:lnTo>
                  <a:lnTo>
                    <a:pt x="114" y="348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32" y="336"/>
                  </a:lnTo>
                  <a:lnTo>
                    <a:pt x="132" y="330"/>
                  </a:lnTo>
                  <a:lnTo>
                    <a:pt x="138" y="324"/>
                  </a:lnTo>
                  <a:lnTo>
                    <a:pt x="138" y="318"/>
                  </a:lnTo>
                  <a:lnTo>
                    <a:pt x="144" y="306"/>
                  </a:lnTo>
                  <a:lnTo>
                    <a:pt x="156" y="306"/>
                  </a:lnTo>
                  <a:lnTo>
                    <a:pt x="186" y="300"/>
                  </a:lnTo>
                  <a:lnTo>
                    <a:pt x="198" y="300"/>
                  </a:lnTo>
                  <a:lnTo>
                    <a:pt x="210" y="300"/>
                  </a:lnTo>
                  <a:lnTo>
                    <a:pt x="222" y="300"/>
                  </a:lnTo>
                  <a:lnTo>
                    <a:pt x="246" y="300"/>
                  </a:lnTo>
                  <a:lnTo>
                    <a:pt x="264" y="312"/>
                  </a:lnTo>
                  <a:lnTo>
                    <a:pt x="270" y="312"/>
                  </a:lnTo>
                  <a:lnTo>
                    <a:pt x="282" y="306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300" y="306"/>
                  </a:lnTo>
                  <a:lnTo>
                    <a:pt x="312" y="306"/>
                  </a:lnTo>
                  <a:lnTo>
                    <a:pt x="318" y="300"/>
                  </a:lnTo>
                  <a:lnTo>
                    <a:pt x="324" y="300"/>
                  </a:lnTo>
                  <a:lnTo>
                    <a:pt x="330" y="294"/>
                  </a:lnTo>
                  <a:lnTo>
                    <a:pt x="336" y="288"/>
                  </a:lnTo>
                  <a:lnTo>
                    <a:pt x="354" y="288"/>
                  </a:lnTo>
                  <a:lnTo>
                    <a:pt x="360" y="288"/>
                  </a:lnTo>
                  <a:lnTo>
                    <a:pt x="366" y="282"/>
                  </a:lnTo>
                  <a:lnTo>
                    <a:pt x="372" y="282"/>
                  </a:lnTo>
                  <a:lnTo>
                    <a:pt x="378" y="282"/>
                  </a:lnTo>
                  <a:lnTo>
                    <a:pt x="384" y="276"/>
                  </a:lnTo>
                  <a:lnTo>
                    <a:pt x="384" y="270"/>
                  </a:lnTo>
                  <a:lnTo>
                    <a:pt x="390" y="264"/>
                  </a:lnTo>
                  <a:lnTo>
                    <a:pt x="402" y="258"/>
                  </a:lnTo>
                  <a:lnTo>
                    <a:pt x="402" y="252"/>
                  </a:lnTo>
                  <a:lnTo>
                    <a:pt x="402" y="246"/>
                  </a:lnTo>
                  <a:lnTo>
                    <a:pt x="408" y="234"/>
                  </a:lnTo>
                  <a:lnTo>
                    <a:pt x="414" y="234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14" y="216"/>
                  </a:lnTo>
                  <a:lnTo>
                    <a:pt x="414" y="210"/>
                  </a:lnTo>
                  <a:lnTo>
                    <a:pt x="420" y="210"/>
                  </a:lnTo>
                  <a:lnTo>
                    <a:pt x="414" y="198"/>
                  </a:lnTo>
                  <a:lnTo>
                    <a:pt x="414" y="192"/>
                  </a:lnTo>
                  <a:lnTo>
                    <a:pt x="420" y="192"/>
                  </a:lnTo>
                  <a:lnTo>
                    <a:pt x="420" y="186"/>
                  </a:lnTo>
                  <a:lnTo>
                    <a:pt x="420" y="174"/>
                  </a:lnTo>
                  <a:lnTo>
                    <a:pt x="420" y="168"/>
                  </a:lnTo>
                  <a:lnTo>
                    <a:pt x="426" y="162"/>
                  </a:lnTo>
                  <a:lnTo>
                    <a:pt x="432" y="156"/>
                  </a:lnTo>
                  <a:lnTo>
                    <a:pt x="438" y="144"/>
                  </a:lnTo>
                  <a:lnTo>
                    <a:pt x="444" y="144"/>
                  </a:lnTo>
                  <a:lnTo>
                    <a:pt x="450" y="138"/>
                  </a:lnTo>
                  <a:lnTo>
                    <a:pt x="456" y="138"/>
                  </a:lnTo>
                  <a:lnTo>
                    <a:pt x="462" y="132"/>
                  </a:lnTo>
                  <a:lnTo>
                    <a:pt x="462" y="126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0"/>
                  </a:lnTo>
                  <a:lnTo>
                    <a:pt x="486" y="108"/>
                  </a:lnTo>
                  <a:lnTo>
                    <a:pt x="492" y="108"/>
                  </a:lnTo>
                  <a:lnTo>
                    <a:pt x="498" y="102"/>
                  </a:lnTo>
                  <a:lnTo>
                    <a:pt x="504" y="96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40" y="102"/>
                  </a:lnTo>
                  <a:lnTo>
                    <a:pt x="552" y="108"/>
                  </a:lnTo>
                  <a:lnTo>
                    <a:pt x="582" y="102"/>
                  </a:lnTo>
                  <a:lnTo>
                    <a:pt x="594" y="126"/>
                  </a:lnTo>
                  <a:lnTo>
                    <a:pt x="594" y="144"/>
                  </a:lnTo>
                  <a:lnTo>
                    <a:pt x="588" y="156"/>
                  </a:lnTo>
                  <a:lnTo>
                    <a:pt x="588" y="168"/>
                  </a:lnTo>
                  <a:lnTo>
                    <a:pt x="582" y="180"/>
                  </a:lnTo>
                  <a:lnTo>
                    <a:pt x="570" y="192"/>
                  </a:lnTo>
                  <a:lnTo>
                    <a:pt x="594" y="192"/>
                  </a:lnTo>
                  <a:lnTo>
                    <a:pt x="618" y="198"/>
                  </a:lnTo>
                  <a:lnTo>
                    <a:pt x="642" y="210"/>
                  </a:lnTo>
                  <a:lnTo>
                    <a:pt x="660" y="234"/>
                  </a:lnTo>
                  <a:lnTo>
                    <a:pt x="678" y="246"/>
                  </a:lnTo>
                  <a:lnTo>
                    <a:pt x="684" y="252"/>
                  </a:lnTo>
                  <a:lnTo>
                    <a:pt x="702" y="252"/>
                  </a:lnTo>
                  <a:lnTo>
                    <a:pt x="732" y="234"/>
                  </a:lnTo>
                  <a:lnTo>
                    <a:pt x="732" y="222"/>
                  </a:lnTo>
                  <a:lnTo>
                    <a:pt x="720" y="216"/>
                  </a:lnTo>
                  <a:lnTo>
                    <a:pt x="714" y="198"/>
                  </a:lnTo>
                  <a:lnTo>
                    <a:pt x="714" y="174"/>
                  </a:lnTo>
                  <a:lnTo>
                    <a:pt x="720" y="162"/>
                  </a:lnTo>
                  <a:lnTo>
                    <a:pt x="726" y="162"/>
                  </a:lnTo>
                  <a:lnTo>
                    <a:pt x="732" y="156"/>
                  </a:lnTo>
                  <a:lnTo>
                    <a:pt x="744" y="150"/>
                  </a:lnTo>
                  <a:lnTo>
                    <a:pt x="774" y="162"/>
                  </a:lnTo>
                  <a:lnTo>
                    <a:pt x="786" y="162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16" y="150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2" y="132"/>
                  </a:lnTo>
                  <a:lnTo>
                    <a:pt x="822" y="114"/>
                  </a:lnTo>
                  <a:lnTo>
                    <a:pt x="828" y="108"/>
                  </a:lnTo>
                  <a:lnTo>
                    <a:pt x="834" y="96"/>
                  </a:lnTo>
                  <a:lnTo>
                    <a:pt x="846" y="96"/>
                  </a:lnTo>
                  <a:lnTo>
                    <a:pt x="858" y="90"/>
                  </a:lnTo>
                  <a:lnTo>
                    <a:pt x="870" y="84"/>
                  </a:lnTo>
                  <a:lnTo>
                    <a:pt x="888" y="84"/>
                  </a:lnTo>
                  <a:lnTo>
                    <a:pt x="894" y="90"/>
                  </a:lnTo>
                  <a:lnTo>
                    <a:pt x="894" y="102"/>
                  </a:lnTo>
                  <a:lnTo>
                    <a:pt x="900" y="102"/>
                  </a:lnTo>
                  <a:lnTo>
                    <a:pt x="906" y="114"/>
                  </a:lnTo>
                  <a:lnTo>
                    <a:pt x="930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54" y="138"/>
                  </a:lnTo>
                  <a:lnTo>
                    <a:pt x="966" y="144"/>
                  </a:lnTo>
                  <a:lnTo>
                    <a:pt x="966" y="150"/>
                  </a:lnTo>
                  <a:lnTo>
                    <a:pt x="972" y="150"/>
                  </a:lnTo>
                  <a:lnTo>
                    <a:pt x="978" y="150"/>
                  </a:lnTo>
                  <a:lnTo>
                    <a:pt x="978" y="144"/>
                  </a:lnTo>
                  <a:lnTo>
                    <a:pt x="984" y="144"/>
                  </a:lnTo>
                  <a:lnTo>
                    <a:pt x="990" y="138"/>
                  </a:lnTo>
                  <a:lnTo>
                    <a:pt x="996" y="138"/>
                  </a:lnTo>
                  <a:lnTo>
                    <a:pt x="1002" y="138"/>
                  </a:lnTo>
                  <a:lnTo>
                    <a:pt x="1008" y="138"/>
                  </a:lnTo>
                  <a:lnTo>
                    <a:pt x="1026" y="132"/>
                  </a:lnTo>
                  <a:lnTo>
                    <a:pt x="1044" y="126"/>
                  </a:lnTo>
                  <a:lnTo>
                    <a:pt x="1056" y="120"/>
                  </a:lnTo>
                  <a:lnTo>
                    <a:pt x="1062" y="108"/>
                  </a:lnTo>
                  <a:lnTo>
                    <a:pt x="1056" y="102"/>
                  </a:lnTo>
                  <a:lnTo>
                    <a:pt x="1062" y="96"/>
                  </a:lnTo>
                  <a:lnTo>
                    <a:pt x="1074" y="90"/>
                  </a:lnTo>
                  <a:lnTo>
                    <a:pt x="1080" y="84"/>
                  </a:lnTo>
                  <a:lnTo>
                    <a:pt x="1128" y="84"/>
                  </a:lnTo>
                  <a:lnTo>
                    <a:pt x="1134" y="84"/>
                  </a:lnTo>
                  <a:lnTo>
                    <a:pt x="1140" y="78"/>
                  </a:lnTo>
                  <a:lnTo>
                    <a:pt x="1152" y="72"/>
                  </a:lnTo>
                  <a:lnTo>
                    <a:pt x="1164" y="66"/>
                  </a:lnTo>
                  <a:lnTo>
                    <a:pt x="1170" y="60"/>
                  </a:lnTo>
                  <a:lnTo>
                    <a:pt x="1188" y="48"/>
                  </a:lnTo>
                  <a:lnTo>
                    <a:pt x="1200" y="36"/>
                  </a:lnTo>
                  <a:lnTo>
                    <a:pt x="1218" y="24"/>
                  </a:lnTo>
                  <a:lnTo>
                    <a:pt x="1248" y="24"/>
                  </a:lnTo>
                  <a:lnTo>
                    <a:pt x="1272" y="24"/>
                  </a:lnTo>
                  <a:lnTo>
                    <a:pt x="1284" y="12"/>
                  </a:lnTo>
                  <a:lnTo>
                    <a:pt x="1302" y="0"/>
                  </a:lnTo>
                  <a:lnTo>
                    <a:pt x="1314" y="0"/>
                  </a:lnTo>
                  <a:lnTo>
                    <a:pt x="1326" y="18"/>
                  </a:lnTo>
                  <a:lnTo>
                    <a:pt x="1338" y="30"/>
                  </a:lnTo>
                  <a:lnTo>
                    <a:pt x="1338" y="54"/>
                  </a:lnTo>
                  <a:lnTo>
                    <a:pt x="1332" y="72"/>
                  </a:lnTo>
                  <a:lnTo>
                    <a:pt x="1326" y="72"/>
                  </a:lnTo>
                  <a:lnTo>
                    <a:pt x="1326" y="78"/>
                  </a:lnTo>
                  <a:lnTo>
                    <a:pt x="1326" y="102"/>
                  </a:lnTo>
                  <a:lnTo>
                    <a:pt x="1332" y="102"/>
                  </a:lnTo>
                  <a:lnTo>
                    <a:pt x="1332" y="108"/>
                  </a:lnTo>
                  <a:lnTo>
                    <a:pt x="1344" y="114"/>
                  </a:lnTo>
                  <a:lnTo>
                    <a:pt x="1350" y="114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404" y="132"/>
                  </a:lnTo>
                  <a:lnTo>
                    <a:pt x="1404" y="138"/>
                  </a:lnTo>
                  <a:lnTo>
                    <a:pt x="1410" y="150"/>
                  </a:lnTo>
                  <a:lnTo>
                    <a:pt x="1416" y="162"/>
                  </a:lnTo>
                  <a:lnTo>
                    <a:pt x="1428" y="168"/>
                  </a:lnTo>
                  <a:lnTo>
                    <a:pt x="1440" y="180"/>
                  </a:lnTo>
                  <a:lnTo>
                    <a:pt x="1476" y="174"/>
                  </a:lnTo>
                  <a:lnTo>
                    <a:pt x="1494" y="174"/>
                  </a:lnTo>
                  <a:lnTo>
                    <a:pt x="1512" y="192"/>
                  </a:lnTo>
                  <a:lnTo>
                    <a:pt x="1518" y="204"/>
                  </a:lnTo>
                  <a:lnTo>
                    <a:pt x="1530" y="216"/>
                  </a:lnTo>
                  <a:lnTo>
                    <a:pt x="1548" y="228"/>
                  </a:lnTo>
                  <a:lnTo>
                    <a:pt x="1548" y="234"/>
                  </a:lnTo>
                  <a:lnTo>
                    <a:pt x="1542" y="246"/>
                  </a:lnTo>
                  <a:lnTo>
                    <a:pt x="1560" y="246"/>
                  </a:lnTo>
                  <a:lnTo>
                    <a:pt x="1560" y="252"/>
                  </a:lnTo>
                  <a:lnTo>
                    <a:pt x="1566" y="258"/>
                  </a:lnTo>
                  <a:lnTo>
                    <a:pt x="1578" y="270"/>
                  </a:lnTo>
                  <a:lnTo>
                    <a:pt x="1596" y="270"/>
                  </a:lnTo>
                  <a:lnTo>
                    <a:pt x="1602" y="288"/>
                  </a:lnTo>
                  <a:lnTo>
                    <a:pt x="1608" y="306"/>
                  </a:lnTo>
                  <a:lnTo>
                    <a:pt x="1608" y="318"/>
                  </a:lnTo>
                  <a:lnTo>
                    <a:pt x="1608" y="324"/>
                  </a:lnTo>
                  <a:lnTo>
                    <a:pt x="1614" y="330"/>
                  </a:lnTo>
                  <a:lnTo>
                    <a:pt x="1614" y="336"/>
                  </a:lnTo>
                  <a:lnTo>
                    <a:pt x="1614" y="342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08" y="390"/>
                  </a:lnTo>
                  <a:lnTo>
                    <a:pt x="1602" y="390"/>
                  </a:lnTo>
                  <a:lnTo>
                    <a:pt x="1602" y="396"/>
                  </a:lnTo>
                  <a:lnTo>
                    <a:pt x="1584" y="420"/>
                  </a:lnTo>
                  <a:lnTo>
                    <a:pt x="1584" y="426"/>
                  </a:lnTo>
                  <a:lnTo>
                    <a:pt x="1602" y="474"/>
                  </a:lnTo>
                  <a:lnTo>
                    <a:pt x="1608" y="480"/>
                  </a:lnTo>
                  <a:lnTo>
                    <a:pt x="1608" y="486"/>
                  </a:lnTo>
                  <a:lnTo>
                    <a:pt x="1614" y="486"/>
                  </a:lnTo>
                  <a:lnTo>
                    <a:pt x="1608" y="504"/>
                  </a:lnTo>
                  <a:lnTo>
                    <a:pt x="1572" y="504"/>
                  </a:lnTo>
                  <a:lnTo>
                    <a:pt x="1560" y="510"/>
                  </a:lnTo>
                  <a:lnTo>
                    <a:pt x="1554" y="522"/>
                  </a:lnTo>
                  <a:lnTo>
                    <a:pt x="1560" y="552"/>
                  </a:lnTo>
                  <a:lnTo>
                    <a:pt x="1566" y="552"/>
                  </a:lnTo>
                  <a:lnTo>
                    <a:pt x="1566" y="558"/>
                  </a:lnTo>
                  <a:lnTo>
                    <a:pt x="1572" y="558"/>
                  </a:lnTo>
                  <a:lnTo>
                    <a:pt x="1578" y="558"/>
                  </a:lnTo>
                  <a:lnTo>
                    <a:pt x="1578" y="552"/>
                  </a:lnTo>
                  <a:lnTo>
                    <a:pt x="1584" y="552"/>
                  </a:lnTo>
                  <a:lnTo>
                    <a:pt x="1590" y="552"/>
                  </a:lnTo>
                  <a:lnTo>
                    <a:pt x="1590" y="546"/>
                  </a:lnTo>
                  <a:lnTo>
                    <a:pt x="1596" y="546"/>
                  </a:lnTo>
                  <a:lnTo>
                    <a:pt x="1602" y="552"/>
                  </a:lnTo>
                  <a:lnTo>
                    <a:pt x="1602" y="546"/>
                  </a:lnTo>
                  <a:lnTo>
                    <a:pt x="1608" y="546"/>
                  </a:lnTo>
                  <a:lnTo>
                    <a:pt x="1608" y="552"/>
                  </a:lnTo>
                  <a:lnTo>
                    <a:pt x="1614" y="552"/>
                  </a:lnTo>
                  <a:lnTo>
                    <a:pt x="1614" y="546"/>
                  </a:lnTo>
                  <a:lnTo>
                    <a:pt x="1620" y="552"/>
                  </a:lnTo>
                  <a:lnTo>
                    <a:pt x="1626" y="552"/>
                  </a:lnTo>
                  <a:lnTo>
                    <a:pt x="1626" y="558"/>
                  </a:lnTo>
                  <a:lnTo>
                    <a:pt x="1632" y="558"/>
                  </a:lnTo>
                  <a:lnTo>
                    <a:pt x="1638" y="558"/>
                  </a:lnTo>
                  <a:lnTo>
                    <a:pt x="1644" y="558"/>
                  </a:lnTo>
                  <a:lnTo>
                    <a:pt x="1650" y="558"/>
                  </a:lnTo>
                  <a:lnTo>
                    <a:pt x="1650" y="564"/>
                  </a:lnTo>
                  <a:lnTo>
                    <a:pt x="1656" y="564"/>
                  </a:lnTo>
                  <a:lnTo>
                    <a:pt x="1662" y="564"/>
                  </a:lnTo>
                  <a:lnTo>
                    <a:pt x="1668" y="564"/>
                  </a:lnTo>
                  <a:lnTo>
                    <a:pt x="1668" y="570"/>
                  </a:lnTo>
                  <a:lnTo>
                    <a:pt x="1674" y="570"/>
                  </a:lnTo>
                  <a:lnTo>
                    <a:pt x="1680" y="570"/>
                  </a:lnTo>
                  <a:lnTo>
                    <a:pt x="1686" y="576"/>
                  </a:lnTo>
                  <a:lnTo>
                    <a:pt x="1686" y="582"/>
                  </a:lnTo>
                  <a:lnTo>
                    <a:pt x="1710" y="588"/>
                  </a:lnTo>
                  <a:lnTo>
                    <a:pt x="1710" y="594"/>
                  </a:lnTo>
                  <a:lnTo>
                    <a:pt x="1704" y="600"/>
                  </a:lnTo>
                  <a:lnTo>
                    <a:pt x="1710" y="624"/>
                  </a:lnTo>
                  <a:lnTo>
                    <a:pt x="1698" y="672"/>
                  </a:lnTo>
                  <a:lnTo>
                    <a:pt x="1704" y="678"/>
                  </a:lnTo>
                  <a:lnTo>
                    <a:pt x="1716" y="684"/>
                  </a:lnTo>
                  <a:lnTo>
                    <a:pt x="1716" y="678"/>
                  </a:lnTo>
                  <a:lnTo>
                    <a:pt x="1716" y="684"/>
                  </a:lnTo>
                  <a:lnTo>
                    <a:pt x="1728" y="684"/>
                  </a:lnTo>
                  <a:lnTo>
                    <a:pt x="1728" y="690"/>
                  </a:lnTo>
                  <a:lnTo>
                    <a:pt x="1734" y="696"/>
                  </a:lnTo>
                  <a:lnTo>
                    <a:pt x="1734" y="702"/>
                  </a:lnTo>
                  <a:lnTo>
                    <a:pt x="1740" y="708"/>
                  </a:lnTo>
                  <a:lnTo>
                    <a:pt x="1740" y="714"/>
                  </a:lnTo>
                  <a:lnTo>
                    <a:pt x="1710" y="714"/>
                  </a:lnTo>
                  <a:lnTo>
                    <a:pt x="1710" y="756"/>
                  </a:lnTo>
                  <a:lnTo>
                    <a:pt x="1704" y="762"/>
                  </a:lnTo>
                  <a:lnTo>
                    <a:pt x="1698" y="762"/>
                  </a:lnTo>
                  <a:lnTo>
                    <a:pt x="1698" y="768"/>
                  </a:lnTo>
                  <a:lnTo>
                    <a:pt x="1698" y="774"/>
                  </a:lnTo>
                  <a:lnTo>
                    <a:pt x="1692" y="780"/>
                  </a:lnTo>
                  <a:lnTo>
                    <a:pt x="1692" y="786"/>
                  </a:lnTo>
                  <a:lnTo>
                    <a:pt x="1686" y="786"/>
                  </a:lnTo>
                  <a:lnTo>
                    <a:pt x="1668" y="798"/>
                  </a:lnTo>
                  <a:lnTo>
                    <a:pt x="1662" y="810"/>
                  </a:lnTo>
                  <a:lnTo>
                    <a:pt x="1650" y="810"/>
                  </a:lnTo>
                  <a:lnTo>
                    <a:pt x="1644" y="816"/>
                  </a:lnTo>
                  <a:lnTo>
                    <a:pt x="1638" y="816"/>
                  </a:lnTo>
                  <a:lnTo>
                    <a:pt x="1626" y="852"/>
                  </a:lnTo>
                  <a:lnTo>
                    <a:pt x="1620" y="888"/>
                  </a:lnTo>
                  <a:lnTo>
                    <a:pt x="1626" y="888"/>
                  </a:lnTo>
                  <a:lnTo>
                    <a:pt x="1638" y="912"/>
                  </a:lnTo>
                  <a:lnTo>
                    <a:pt x="1644" y="918"/>
                  </a:lnTo>
                  <a:lnTo>
                    <a:pt x="1650" y="966"/>
                  </a:lnTo>
                  <a:lnTo>
                    <a:pt x="1626" y="972"/>
                  </a:lnTo>
                  <a:lnTo>
                    <a:pt x="1608" y="978"/>
                  </a:lnTo>
                  <a:lnTo>
                    <a:pt x="1614" y="984"/>
                  </a:lnTo>
                  <a:lnTo>
                    <a:pt x="1620" y="984"/>
                  </a:lnTo>
                  <a:lnTo>
                    <a:pt x="1620" y="1020"/>
                  </a:lnTo>
                  <a:lnTo>
                    <a:pt x="1614" y="1038"/>
                  </a:lnTo>
                  <a:lnTo>
                    <a:pt x="1620" y="1044"/>
                  </a:lnTo>
                  <a:lnTo>
                    <a:pt x="1626" y="1056"/>
                  </a:lnTo>
                  <a:lnTo>
                    <a:pt x="1626" y="1074"/>
                  </a:lnTo>
                  <a:lnTo>
                    <a:pt x="1620" y="1080"/>
                  </a:lnTo>
                  <a:lnTo>
                    <a:pt x="1620" y="1104"/>
                  </a:lnTo>
                  <a:lnTo>
                    <a:pt x="1620" y="1110"/>
                  </a:lnTo>
                  <a:lnTo>
                    <a:pt x="1614" y="1116"/>
                  </a:lnTo>
                  <a:lnTo>
                    <a:pt x="1608" y="1140"/>
                  </a:lnTo>
                  <a:lnTo>
                    <a:pt x="1602" y="1146"/>
                  </a:lnTo>
                  <a:lnTo>
                    <a:pt x="1602" y="1164"/>
                  </a:lnTo>
                  <a:lnTo>
                    <a:pt x="1596" y="1170"/>
                  </a:lnTo>
                  <a:lnTo>
                    <a:pt x="1590" y="1164"/>
                  </a:lnTo>
                  <a:lnTo>
                    <a:pt x="1584" y="1164"/>
                  </a:lnTo>
                  <a:lnTo>
                    <a:pt x="1578" y="1164"/>
                  </a:lnTo>
                  <a:lnTo>
                    <a:pt x="1578" y="1188"/>
                  </a:lnTo>
                  <a:lnTo>
                    <a:pt x="1584" y="1194"/>
                  </a:lnTo>
                  <a:lnTo>
                    <a:pt x="1590" y="1194"/>
                  </a:lnTo>
                  <a:lnTo>
                    <a:pt x="1590" y="1212"/>
                  </a:lnTo>
                  <a:lnTo>
                    <a:pt x="1584" y="1212"/>
                  </a:lnTo>
                  <a:lnTo>
                    <a:pt x="1584" y="1224"/>
                  </a:lnTo>
                  <a:lnTo>
                    <a:pt x="1578" y="1224"/>
                  </a:lnTo>
                  <a:lnTo>
                    <a:pt x="1578" y="1236"/>
                  </a:lnTo>
                  <a:lnTo>
                    <a:pt x="1584" y="1254"/>
                  </a:lnTo>
                  <a:lnTo>
                    <a:pt x="1584" y="1260"/>
                  </a:lnTo>
                  <a:lnTo>
                    <a:pt x="1590" y="1260"/>
                  </a:lnTo>
                  <a:lnTo>
                    <a:pt x="1590" y="1266"/>
                  </a:lnTo>
                  <a:lnTo>
                    <a:pt x="1596" y="1284"/>
                  </a:lnTo>
                  <a:lnTo>
                    <a:pt x="1602" y="1278"/>
                  </a:lnTo>
                  <a:lnTo>
                    <a:pt x="1608" y="1284"/>
                  </a:lnTo>
                  <a:lnTo>
                    <a:pt x="1632" y="1350"/>
                  </a:lnTo>
                  <a:lnTo>
                    <a:pt x="1638" y="1356"/>
                  </a:lnTo>
                  <a:lnTo>
                    <a:pt x="1644" y="1356"/>
                  </a:lnTo>
                  <a:lnTo>
                    <a:pt x="1650" y="1356"/>
                  </a:lnTo>
                  <a:lnTo>
                    <a:pt x="1656" y="1356"/>
                  </a:lnTo>
                  <a:lnTo>
                    <a:pt x="1662" y="1362"/>
                  </a:lnTo>
                  <a:lnTo>
                    <a:pt x="1668" y="1356"/>
                  </a:lnTo>
                  <a:lnTo>
                    <a:pt x="1668" y="1380"/>
                  </a:lnTo>
                  <a:lnTo>
                    <a:pt x="1662" y="1392"/>
                  </a:lnTo>
                  <a:lnTo>
                    <a:pt x="1656" y="1404"/>
                  </a:lnTo>
                  <a:lnTo>
                    <a:pt x="1656" y="1410"/>
                  </a:lnTo>
                  <a:lnTo>
                    <a:pt x="1656" y="1416"/>
                  </a:lnTo>
                  <a:lnTo>
                    <a:pt x="1650" y="1422"/>
                  </a:lnTo>
                  <a:lnTo>
                    <a:pt x="1650" y="1428"/>
                  </a:lnTo>
                  <a:lnTo>
                    <a:pt x="1644" y="1428"/>
                  </a:lnTo>
                  <a:lnTo>
                    <a:pt x="1644" y="1434"/>
                  </a:lnTo>
                  <a:lnTo>
                    <a:pt x="1638" y="1434"/>
                  </a:lnTo>
                  <a:lnTo>
                    <a:pt x="1638" y="1440"/>
                  </a:lnTo>
                  <a:lnTo>
                    <a:pt x="1632" y="1440"/>
                  </a:lnTo>
                  <a:lnTo>
                    <a:pt x="1638" y="145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8" name="Freeform 13">
              <a:extLst>
                <a:ext uri="{FF2B5EF4-FFF2-40B4-BE49-F238E27FC236}">
                  <a16:creationId xmlns:a16="http://schemas.microsoft.com/office/drawing/2014/main" id="{66308D9B-1739-4227-AAC3-BB866CD1F5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63374" y="2969626"/>
              <a:ext cx="330956" cy="357840"/>
            </a:xfrm>
            <a:custGeom>
              <a:avLst/>
              <a:gdLst>
                <a:gd name="T0" fmla="*/ 11 w 624"/>
                <a:gd name="T1" fmla="*/ 59 h 672"/>
                <a:gd name="T2" fmla="*/ 4 w 624"/>
                <a:gd name="T3" fmla="*/ 58 h 672"/>
                <a:gd name="T4" fmla="*/ 3 w 624"/>
                <a:gd name="T5" fmla="*/ 58 h 672"/>
                <a:gd name="T6" fmla="*/ 2 w 624"/>
                <a:gd name="T7" fmla="*/ 11 h 672"/>
                <a:gd name="T8" fmla="*/ 13 w 624"/>
                <a:gd name="T9" fmla="*/ 11 h 672"/>
                <a:gd name="T10" fmla="*/ 14 w 624"/>
                <a:gd name="T11" fmla="*/ 11 h 672"/>
                <a:gd name="T12" fmla="*/ 15 w 624"/>
                <a:gd name="T13" fmla="*/ 12 h 672"/>
                <a:gd name="T14" fmla="*/ 18 w 624"/>
                <a:gd name="T15" fmla="*/ 14 h 672"/>
                <a:gd name="T16" fmla="*/ 21 w 624"/>
                <a:gd name="T17" fmla="*/ 16 h 672"/>
                <a:gd name="T18" fmla="*/ 22 w 624"/>
                <a:gd name="T19" fmla="*/ 18 h 672"/>
                <a:gd name="T20" fmla="*/ 23 w 624"/>
                <a:gd name="T21" fmla="*/ 19 h 672"/>
                <a:gd name="T22" fmla="*/ 24 w 624"/>
                <a:gd name="T23" fmla="*/ 19 h 672"/>
                <a:gd name="T24" fmla="*/ 26 w 624"/>
                <a:gd name="T25" fmla="*/ 19 h 672"/>
                <a:gd name="T26" fmla="*/ 27 w 624"/>
                <a:gd name="T27" fmla="*/ 18 h 672"/>
                <a:gd name="T28" fmla="*/ 29 w 624"/>
                <a:gd name="T29" fmla="*/ 15 h 672"/>
                <a:gd name="T30" fmla="*/ 30 w 624"/>
                <a:gd name="T31" fmla="*/ 14 h 672"/>
                <a:gd name="T32" fmla="*/ 31 w 624"/>
                <a:gd name="T33" fmla="*/ 12 h 672"/>
                <a:gd name="T34" fmla="*/ 32 w 624"/>
                <a:gd name="T35" fmla="*/ 12 h 672"/>
                <a:gd name="T36" fmla="*/ 33 w 624"/>
                <a:gd name="T37" fmla="*/ 10 h 672"/>
                <a:gd name="T38" fmla="*/ 34 w 624"/>
                <a:gd name="T39" fmla="*/ 8 h 672"/>
                <a:gd name="T40" fmla="*/ 34 w 624"/>
                <a:gd name="T41" fmla="*/ 6 h 672"/>
                <a:gd name="T42" fmla="*/ 35 w 624"/>
                <a:gd name="T43" fmla="*/ 4 h 672"/>
                <a:gd name="T44" fmla="*/ 42 w 624"/>
                <a:gd name="T45" fmla="*/ 3 h 672"/>
                <a:gd name="T46" fmla="*/ 44 w 624"/>
                <a:gd name="T47" fmla="*/ 2 h 672"/>
                <a:gd name="T48" fmla="*/ 46 w 624"/>
                <a:gd name="T49" fmla="*/ 0 h 672"/>
                <a:gd name="T50" fmla="*/ 51 w 624"/>
                <a:gd name="T51" fmla="*/ 3 h 672"/>
                <a:gd name="T52" fmla="*/ 54 w 624"/>
                <a:gd name="T53" fmla="*/ 6 h 672"/>
                <a:gd name="T54" fmla="*/ 54 w 624"/>
                <a:gd name="T55" fmla="*/ 8 h 672"/>
                <a:gd name="T56" fmla="*/ 52 w 624"/>
                <a:gd name="T57" fmla="*/ 9 h 672"/>
                <a:gd name="T58" fmla="*/ 49 w 624"/>
                <a:gd name="T59" fmla="*/ 11 h 672"/>
                <a:gd name="T60" fmla="*/ 48 w 624"/>
                <a:gd name="T61" fmla="*/ 14 h 672"/>
                <a:gd name="T62" fmla="*/ 46 w 624"/>
                <a:gd name="T63" fmla="*/ 22 h 672"/>
                <a:gd name="T64" fmla="*/ 45 w 624"/>
                <a:gd name="T65" fmla="*/ 39 h 672"/>
                <a:gd name="T66" fmla="*/ 43 w 624"/>
                <a:gd name="T67" fmla="*/ 43 h 672"/>
                <a:gd name="T68" fmla="*/ 39 w 624"/>
                <a:gd name="T69" fmla="*/ 50 h 672"/>
                <a:gd name="T70" fmla="*/ 36 w 624"/>
                <a:gd name="T71" fmla="*/ 53 h 672"/>
                <a:gd name="T72" fmla="*/ 32 w 624"/>
                <a:gd name="T73" fmla="*/ 56 h 672"/>
                <a:gd name="T74" fmla="*/ 30 w 624"/>
                <a:gd name="T75" fmla="*/ 58 h 672"/>
                <a:gd name="T76" fmla="*/ 20 w 624"/>
                <a:gd name="T77" fmla="*/ 59 h 672"/>
                <a:gd name="T78" fmla="*/ 15 w 624"/>
                <a:gd name="T79" fmla="*/ 59 h 67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24"/>
                <a:gd name="T121" fmla="*/ 0 h 672"/>
                <a:gd name="T122" fmla="*/ 624 w 624"/>
                <a:gd name="T123" fmla="*/ 672 h 67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24" h="672">
                  <a:moveTo>
                    <a:pt x="168" y="672"/>
                  </a:moveTo>
                  <a:lnTo>
                    <a:pt x="132" y="672"/>
                  </a:lnTo>
                  <a:lnTo>
                    <a:pt x="72" y="666"/>
                  </a:lnTo>
                  <a:lnTo>
                    <a:pt x="42" y="666"/>
                  </a:lnTo>
                  <a:lnTo>
                    <a:pt x="36" y="666"/>
                  </a:lnTo>
                  <a:lnTo>
                    <a:pt x="30" y="660"/>
                  </a:lnTo>
                  <a:lnTo>
                    <a:pt x="0" y="660"/>
                  </a:lnTo>
                  <a:lnTo>
                    <a:pt x="24" y="120"/>
                  </a:lnTo>
                  <a:lnTo>
                    <a:pt x="60" y="120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62" y="120"/>
                  </a:lnTo>
                  <a:lnTo>
                    <a:pt x="168" y="120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10" y="156"/>
                  </a:lnTo>
                  <a:lnTo>
                    <a:pt x="222" y="174"/>
                  </a:lnTo>
                  <a:lnTo>
                    <a:pt x="240" y="186"/>
                  </a:lnTo>
                  <a:lnTo>
                    <a:pt x="252" y="198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216"/>
                  </a:lnTo>
                  <a:lnTo>
                    <a:pt x="270" y="216"/>
                  </a:lnTo>
                  <a:lnTo>
                    <a:pt x="282" y="222"/>
                  </a:lnTo>
                  <a:lnTo>
                    <a:pt x="288" y="222"/>
                  </a:lnTo>
                  <a:lnTo>
                    <a:pt x="294" y="216"/>
                  </a:lnTo>
                  <a:lnTo>
                    <a:pt x="294" y="210"/>
                  </a:lnTo>
                  <a:lnTo>
                    <a:pt x="312" y="204"/>
                  </a:lnTo>
                  <a:lnTo>
                    <a:pt x="330" y="186"/>
                  </a:lnTo>
                  <a:lnTo>
                    <a:pt x="336" y="174"/>
                  </a:lnTo>
                  <a:lnTo>
                    <a:pt x="342" y="162"/>
                  </a:lnTo>
                  <a:lnTo>
                    <a:pt x="342" y="156"/>
                  </a:lnTo>
                  <a:lnTo>
                    <a:pt x="348" y="150"/>
                  </a:lnTo>
                  <a:lnTo>
                    <a:pt x="354" y="144"/>
                  </a:lnTo>
                  <a:lnTo>
                    <a:pt x="360" y="138"/>
                  </a:lnTo>
                  <a:lnTo>
                    <a:pt x="366" y="132"/>
                  </a:lnTo>
                  <a:lnTo>
                    <a:pt x="372" y="114"/>
                  </a:lnTo>
                  <a:lnTo>
                    <a:pt x="378" y="114"/>
                  </a:lnTo>
                  <a:lnTo>
                    <a:pt x="378" y="96"/>
                  </a:lnTo>
                  <a:lnTo>
                    <a:pt x="390" y="96"/>
                  </a:lnTo>
                  <a:lnTo>
                    <a:pt x="396" y="84"/>
                  </a:lnTo>
                  <a:lnTo>
                    <a:pt x="396" y="72"/>
                  </a:lnTo>
                  <a:lnTo>
                    <a:pt x="396" y="54"/>
                  </a:lnTo>
                  <a:lnTo>
                    <a:pt x="408" y="42"/>
                  </a:lnTo>
                  <a:lnTo>
                    <a:pt x="468" y="42"/>
                  </a:lnTo>
                  <a:lnTo>
                    <a:pt x="486" y="36"/>
                  </a:lnTo>
                  <a:lnTo>
                    <a:pt x="492" y="24"/>
                  </a:lnTo>
                  <a:lnTo>
                    <a:pt x="504" y="24"/>
                  </a:lnTo>
                  <a:lnTo>
                    <a:pt x="516" y="6"/>
                  </a:lnTo>
                  <a:lnTo>
                    <a:pt x="528" y="0"/>
                  </a:lnTo>
                  <a:lnTo>
                    <a:pt x="558" y="12"/>
                  </a:lnTo>
                  <a:lnTo>
                    <a:pt x="588" y="36"/>
                  </a:lnTo>
                  <a:lnTo>
                    <a:pt x="600" y="66"/>
                  </a:lnTo>
                  <a:lnTo>
                    <a:pt x="624" y="66"/>
                  </a:lnTo>
                  <a:lnTo>
                    <a:pt x="624" y="90"/>
                  </a:lnTo>
                  <a:lnTo>
                    <a:pt x="618" y="90"/>
                  </a:lnTo>
                  <a:lnTo>
                    <a:pt x="618" y="96"/>
                  </a:lnTo>
                  <a:lnTo>
                    <a:pt x="600" y="102"/>
                  </a:lnTo>
                  <a:lnTo>
                    <a:pt x="588" y="108"/>
                  </a:lnTo>
                  <a:lnTo>
                    <a:pt x="570" y="120"/>
                  </a:lnTo>
                  <a:lnTo>
                    <a:pt x="564" y="138"/>
                  </a:lnTo>
                  <a:lnTo>
                    <a:pt x="558" y="162"/>
                  </a:lnTo>
                  <a:lnTo>
                    <a:pt x="540" y="210"/>
                  </a:lnTo>
                  <a:lnTo>
                    <a:pt x="528" y="252"/>
                  </a:lnTo>
                  <a:lnTo>
                    <a:pt x="528" y="402"/>
                  </a:lnTo>
                  <a:lnTo>
                    <a:pt x="522" y="444"/>
                  </a:lnTo>
                  <a:lnTo>
                    <a:pt x="510" y="468"/>
                  </a:lnTo>
                  <a:lnTo>
                    <a:pt x="498" y="498"/>
                  </a:lnTo>
                  <a:lnTo>
                    <a:pt x="474" y="534"/>
                  </a:lnTo>
                  <a:lnTo>
                    <a:pt x="456" y="570"/>
                  </a:lnTo>
                  <a:lnTo>
                    <a:pt x="444" y="576"/>
                  </a:lnTo>
                  <a:lnTo>
                    <a:pt x="420" y="606"/>
                  </a:lnTo>
                  <a:lnTo>
                    <a:pt x="390" y="624"/>
                  </a:lnTo>
                  <a:lnTo>
                    <a:pt x="372" y="642"/>
                  </a:lnTo>
                  <a:lnTo>
                    <a:pt x="366" y="654"/>
                  </a:lnTo>
                  <a:lnTo>
                    <a:pt x="342" y="660"/>
                  </a:lnTo>
                  <a:lnTo>
                    <a:pt x="300" y="666"/>
                  </a:lnTo>
                  <a:lnTo>
                    <a:pt x="234" y="672"/>
                  </a:lnTo>
                  <a:lnTo>
                    <a:pt x="192" y="672"/>
                  </a:lnTo>
                  <a:lnTo>
                    <a:pt x="168" y="67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9" name="Freeform 14">
              <a:extLst>
                <a:ext uri="{FF2B5EF4-FFF2-40B4-BE49-F238E27FC236}">
                  <a16:creationId xmlns:a16="http://schemas.microsoft.com/office/drawing/2014/main" id="{2EA1E999-9CDF-4391-8BC9-7DE71AF9C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0460" y="2983045"/>
              <a:ext cx="905658" cy="561362"/>
            </a:xfrm>
            <a:custGeom>
              <a:avLst/>
              <a:gdLst>
                <a:gd name="T0" fmla="*/ 31 w 1704"/>
                <a:gd name="T1" fmla="*/ 78 h 1056"/>
                <a:gd name="T2" fmla="*/ 23 w 1704"/>
                <a:gd name="T3" fmla="*/ 78 h 1056"/>
                <a:gd name="T4" fmla="*/ 11 w 1704"/>
                <a:gd name="T5" fmla="*/ 79 h 1056"/>
                <a:gd name="T6" fmla="*/ 1 w 1704"/>
                <a:gd name="T7" fmla="*/ 81 h 1056"/>
                <a:gd name="T8" fmla="*/ 0 w 1704"/>
                <a:gd name="T9" fmla="*/ 62 h 1056"/>
                <a:gd name="T10" fmla="*/ 9 w 1704"/>
                <a:gd name="T11" fmla="*/ 56 h 1056"/>
                <a:gd name="T12" fmla="*/ 27 w 1704"/>
                <a:gd name="T13" fmla="*/ 48 h 1056"/>
                <a:gd name="T14" fmla="*/ 35 w 1704"/>
                <a:gd name="T15" fmla="*/ 20 h 1056"/>
                <a:gd name="T16" fmla="*/ 43 w 1704"/>
                <a:gd name="T17" fmla="*/ 6 h 1056"/>
                <a:gd name="T18" fmla="*/ 47 w 1704"/>
                <a:gd name="T19" fmla="*/ 7 h 1056"/>
                <a:gd name="T20" fmla="*/ 52 w 1704"/>
                <a:gd name="T21" fmla="*/ 0 h 1056"/>
                <a:gd name="T22" fmla="*/ 59 w 1704"/>
                <a:gd name="T23" fmla="*/ 5 h 1056"/>
                <a:gd name="T24" fmla="*/ 63 w 1704"/>
                <a:gd name="T25" fmla="*/ 12 h 1056"/>
                <a:gd name="T26" fmla="*/ 62 w 1704"/>
                <a:gd name="T27" fmla="*/ 15 h 1056"/>
                <a:gd name="T28" fmla="*/ 62 w 1704"/>
                <a:gd name="T29" fmla="*/ 18 h 1056"/>
                <a:gd name="T30" fmla="*/ 70 w 1704"/>
                <a:gd name="T31" fmla="*/ 18 h 1056"/>
                <a:gd name="T32" fmla="*/ 71 w 1704"/>
                <a:gd name="T33" fmla="*/ 14 h 1056"/>
                <a:gd name="T34" fmla="*/ 72 w 1704"/>
                <a:gd name="T35" fmla="*/ 12 h 1056"/>
                <a:gd name="T36" fmla="*/ 78 w 1704"/>
                <a:gd name="T37" fmla="*/ 14 h 1056"/>
                <a:gd name="T38" fmla="*/ 85 w 1704"/>
                <a:gd name="T39" fmla="*/ 21 h 1056"/>
                <a:gd name="T40" fmla="*/ 91 w 1704"/>
                <a:gd name="T41" fmla="*/ 15 h 1056"/>
                <a:gd name="T42" fmla="*/ 93 w 1704"/>
                <a:gd name="T43" fmla="*/ 10 h 1056"/>
                <a:gd name="T44" fmla="*/ 101 w 1704"/>
                <a:gd name="T45" fmla="*/ 14 h 1056"/>
                <a:gd name="T46" fmla="*/ 103 w 1704"/>
                <a:gd name="T47" fmla="*/ 19 h 1056"/>
                <a:gd name="T48" fmla="*/ 115 w 1704"/>
                <a:gd name="T49" fmla="*/ 20 h 1056"/>
                <a:gd name="T50" fmla="*/ 118 w 1704"/>
                <a:gd name="T51" fmla="*/ 23 h 1056"/>
                <a:gd name="T52" fmla="*/ 117 w 1704"/>
                <a:gd name="T53" fmla="*/ 27 h 1056"/>
                <a:gd name="T54" fmla="*/ 111 w 1704"/>
                <a:gd name="T55" fmla="*/ 33 h 1056"/>
                <a:gd name="T56" fmla="*/ 108 w 1704"/>
                <a:gd name="T57" fmla="*/ 36 h 1056"/>
                <a:gd name="T58" fmla="*/ 109 w 1704"/>
                <a:gd name="T59" fmla="*/ 40 h 1056"/>
                <a:gd name="T60" fmla="*/ 111 w 1704"/>
                <a:gd name="T61" fmla="*/ 43 h 1056"/>
                <a:gd name="T62" fmla="*/ 113 w 1704"/>
                <a:gd name="T63" fmla="*/ 50 h 1056"/>
                <a:gd name="T64" fmla="*/ 121 w 1704"/>
                <a:gd name="T65" fmla="*/ 55 h 1056"/>
                <a:gd name="T66" fmla="*/ 132 w 1704"/>
                <a:gd name="T67" fmla="*/ 52 h 1056"/>
                <a:gd name="T68" fmla="*/ 148 w 1704"/>
                <a:gd name="T69" fmla="*/ 58 h 1056"/>
                <a:gd name="T70" fmla="*/ 148 w 1704"/>
                <a:gd name="T71" fmla="*/ 61 h 1056"/>
                <a:gd name="T72" fmla="*/ 148 w 1704"/>
                <a:gd name="T73" fmla="*/ 64 h 1056"/>
                <a:gd name="T74" fmla="*/ 135 w 1704"/>
                <a:gd name="T75" fmla="*/ 61 h 1056"/>
                <a:gd name="T76" fmla="*/ 135 w 1704"/>
                <a:gd name="T77" fmla="*/ 66 h 1056"/>
                <a:gd name="T78" fmla="*/ 137 w 1704"/>
                <a:gd name="T79" fmla="*/ 71 h 1056"/>
                <a:gd name="T80" fmla="*/ 136 w 1704"/>
                <a:gd name="T81" fmla="*/ 79 h 1056"/>
                <a:gd name="T82" fmla="*/ 126 w 1704"/>
                <a:gd name="T83" fmla="*/ 84 h 1056"/>
                <a:gd name="T84" fmla="*/ 121 w 1704"/>
                <a:gd name="T85" fmla="*/ 79 h 1056"/>
                <a:gd name="T86" fmla="*/ 117 w 1704"/>
                <a:gd name="T87" fmla="*/ 75 h 1056"/>
                <a:gd name="T88" fmla="*/ 98 w 1704"/>
                <a:gd name="T89" fmla="*/ 74 h 1056"/>
                <a:gd name="T90" fmla="*/ 81 w 1704"/>
                <a:gd name="T91" fmla="*/ 75 h 1056"/>
                <a:gd name="T92" fmla="*/ 83 w 1704"/>
                <a:gd name="T93" fmla="*/ 88 h 1056"/>
                <a:gd name="T94" fmla="*/ 82 w 1704"/>
                <a:gd name="T95" fmla="*/ 91 h 1056"/>
                <a:gd name="T96" fmla="*/ 77 w 1704"/>
                <a:gd name="T97" fmla="*/ 90 h 1056"/>
                <a:gd name="T98" fmla="*/ 73 w 1704"/>
                <a:gd name="T99" fmla="*/ 86 h 1056"/>
                <a:gd name="T100" fmla="*/ 68 w 1704"/>
                <a:gd name="T101" fmla="*/ 85 h 1056"/>
                <a:gd name="T102" fmla="*/ 64 w 1704"/>
                <a:gd name="T103" fmla="*/ 83 h 1056"/>
                <a:gd name="T104" fmla="*/ 57 w 1704"/>
                <a:gd name="T105" fmla="*/ 81 h 1056"/>
                <a:gd name="T106" fmla="*/ 52 w 1704"/>
                <a:gd name="T107" fmla="*/ 80 h 1056"/>
                <a:gd name="T108" fmla="*/ 50 w 1704"/>
                <a:gd name="T109" fmla="*/ 80 h 1056"/>
                <a:gd name="T110" fmla="*/ 46 w 1704"/>
                <a:gd name="T111" fmla="*/ 79 h 1056"/>
                <a:gd name="T112" fmla="*/ 41 w 1704"/>
                <a:gd name="T113" fmla="*/ 78 h 10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04"/>
                <a:gd name="T172" fmla="*/ 0 h 1056"/>
                <a:gd name="T173" fmla="*/ 1704 w 1704"/>
                <a:gd name="T174" fmla="*/ 1056 h 10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04" h="1056">
                  <a:moveTo>
                    <a:pt x="450" y="888"/>
                  </a:moveTo>
                  <a:lnTo>
                    <a:pt x="420" y="888"/>
                  </a:lnTo>
                  <a:lnTo>
                    <a:pt x="414" y="888"/>
                  </a:lnTo>
                  <a:lnTo>
                    <a:pt x="396" y="888"/>
                  </a:lnTo>
                  <a:lnTo>
                    <a:pt x="372" y="888"/>
                  </a:lnTo>
                  <a:lnTo>
                    <a:pt x="366" y="888"/>
                  </a:lnTo>
                  <a:lnTo>
                    <a:pt x="360" y="888"/>
                  </a:lnTo>
                  <a:lnTo>
                    <a:pt x="348" y="888"/>
                  </a:lnTo>
                  <a:lnTo>
                    <a:pt x="330" y="894"/>
                  </a:lnTo>
                  <a:lnTo>
                    <a:pt x="324" y="894"/>
                  </a:lnTo>
                  <a:lnTo>
                    <a:pt x="312" y="888"/>
                  </a:lnTo>
                  <a:lnTo>
                    <a:pt x="300" y="888"/>
                  </a:lnTo>
                  <a:lnTo>
                    <a:pt x="282" y="888"/>
                  </a:lnTo>
                  <a:lnTo>
                    <a:pt x="270" y="888"/>
                  </a:lnTo>
                  <a:lnTo>
                    <a:pt x="240" y="882"/>
                  </a:lnTo>
                  <a:lnTo>
                    <a:pt x="222" y="882"/>
                  </a:lnTo>
                  <a:lnTo>
                    <a:pt x="198" y="882"/>
                  </a:lnTo>
                  <a:lnTo>
                    <a:pt x="174" y="894"/>
                  </a:lnTo>
                  <a:lnTo>
                    <a:pt x="162" y="900"/>
                  </a:lnTo>
                  <a:lnTo>
                    <a:pt x="144" y="906"/>
                  </a:lnTo>
                  <a:lnTo>
                    <a:pt x="126" y="912"/>
                  </a:lnTo>
                  <a:lnTo>
                    <a:pt x="102" y="924"/>
                  </a:lnTo>
                  <a:lnTo>
                    <a:pt x="78" y="930"/>
                  </a:lnTo>
                  <a:lnTo>
                    <a:pt x="72" y="936"/>
                  </a:lnTo>
                  <a:lnTo>
                    <a:pt x="30" y="954"/>
                  </a:lnTo>
                  <a:lnTo>
                    <a:pt x="12" y="966"/>
                  </a:lnTo>
                  <a:lnTo>
                    <a:pt x="12" y="954"/>
                  </a:lnTo>
                  <a:lnTo>
                    <a:pt x="12" y="930"/>
                  </a:lnTo>
                  <a:lnTo>
                    <a:pt x="12" y="894"/>
                  </a:lnTo>
                  <a:lnTo>
                    <a:pt x="30" y="828"/>
                  </a:lnTo>
                  <a:lnTo>
                    <a:pt x="36" y="798"/>
                  </a:lnTo>
                  <a:lnTo>
                    <a:pt x="18" y="774"/>
                  </a:lnTo>
                  <a:lnTo>
                    <a:pt x="18" y="756"/>
                  </a:lnTo>
                  <a:lnTo>
                    <a:pt x="6" y="738"/>
                  </a:lnTo>
                  <a:lnTo>
                    <a:pt x="0" y="714"/>
                  </a:lnTo>
                  <a:lnTo>
                    <a:pt x="12" y="678"/>
                  </a:lnTo>
                  <a:lnTo>
                    <a:pt x="18" y="678"/>
                  </a:lnTo>
                  <a:lnTo>
                    <a:pt x="24" y="672"/>
                  </a:lnTo>
                  <a:lnTo>
                    <a:pt x="30" y="666"/>
                  </a:lnTo>
                  <a:lnTo>
                    <a:pt x="42" y="648"/>
                  </a:lnTo>
                  <a:lnTo>
                    <a:pt x="66" y="648"/>
                  </a:lnTo>
                  <a:lnTo>
                    <a:pt x="108" y="648"/>
                  </a:lnTo>
                  <a:lnTo>
                    <a:pt x="174" y="642"/>
                  </a:lnTo>
                  <a:lnTo>
                    <a:pt x="216" y="636"/>
                  </a:lnTo>
                  <a:lnTo>
                    <a:pt x="240" y="630"/>
                  </a:lnTo>
                  <a:lnTo>
                    <a:pt x="246" y="618"/>
                  </a:lnTo>
                  <a:lnTo>
                    <a:pt x="264" y="600"/>
                  </a:lnTo>
                  <a:lnTo>
                    <a:pt x="294" y="582"/>
                  </a:lnTo>
                  <a:lnTo>
                    <a:pt x="318" y="552"/>
                  </a:lnTo>
                  <a:lnTo>
                    <a:pt x="330" y="546"/>
                  </a:lnTo>
                  <a:lnTo>
                    <a:pt x="348" y="510"/>
                  </a:lnTo>
                  <a:lnTo>
                    <a:pt x="372" y="474"/>
                  </a:lnTo>
                  <a:lnTo>
                    <a:pt x="384" y="444"/>
                  </a:lnTo>
                  <a:lnTo>
                    <a:pt x="396" y="420"/>
                  </a:lnTo>
                  <a:lnTo>
                    <a:pt x="402" y="378"/>
                  </a:lnTo>
                  <a:lnTo>
                    <a:pt x="402" y="228"/>
                  </a:lnTo>
                  <a:lnTo>
                    <a:pt x="414" y="186"/>
                  </a:lnTo>
                  <a:lnTo>
                    <a:pt x="432" y="138"/>
                  </a:lnTo>
                  <a:lnTo>
                    <a:pt x="438" y="114"/>
                  </a:lnTo>
                  <a:lnTo>
                    <a:pt x="444" y="96"/>
                  </a:lnTo>
                  <a:lnTo>
                    <a:pt x="462" y="84"/>
                  </a:lnTo>
                  <a:lnTo>
                    <a:pt x="474" y="78"/>
                  </a:lnTo>
                  <a:lnTo>
                    <a:pt x="492" y="72"/>
                  </a:lnTo>
                  <a:lnTo>
                    <a:pt x="492" y="66"/>
                  </a:lnTo>
                  <a:lnTo>
                    <a:pt x="498" y="66"/>
                  </a:lnTo>
                  <a:lnTo>
                    <a:pt x="510" y="66"/>
                  </a:lnTo>
                  <a:lnTo>
                    <a:pt x="510" y="72"/>
                  </a:lnTo>
                  <a:lnTo>
                    <a:pt x="516" y="72"/>
                  </a:lnTo>
                  <a:lnTo>
                    <a:pt x="522" y="78"/>
                  </a:lnTo>
                  <a:lnTo>
                    <a:pt x="546" y="78"/>
                  </a:lnTo>
                  <a:lnTo>
                    <a:pt x="552" y="60"/>
                  </a:lnTo>
                  <a:lnTo>
                    <a:pt x="570" y="42"/>
                  </a:lnTo>
                  <a:lnTo>
                    <a:pt x="576" y="24"/>
                  </a:lnTo>
                  <a:lnTo>
                    <a:pt x="588" y="18"/>
                  </a:lnTo>
                  <a:lnTo>
                    <a:pt x="588" y="12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624" y="0"/>
                  </a:lnTo>
                  <a:lnTo>
                    <a:pt x="636" y="6"/>
                  </a:lnTo>
                  <a:lnTo>
                    <a:pt x="648" y="24"/>
                  </a:lnTo>
                  <a:lnTo>
                    <a:pt x="654" y="48"/>
                  </a:lnTo>
                  <a:lnTo>
                    <a:pt x="672" y="60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0" y="72"/>
                  </a:lnTo>
                  <a:lnTo>
                    <a:pt x="690" y="78"/>
                  </a:lnTo>
                  <a:lnTo>
                    <a:pt x="696" y="90"/>
                  </a:lnTo>
                  <a:lnTo>
                    <a:pt x="714" y="114"/>
                  </a:lnTo>
                  <a:lnTo>
                    <a:pt x="714" y="120"/>
                  </a:lnTo>
                  <a:lnTo>
                    <a:pt x="720" y="132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20" y="150"/>
                  </a:lnTo>
                  <a:lnTo>
                    <a:pt x="714" y="150"/>
                  </a:lnTo>
                  <a:lnTo>
                    <a:pt x="714" y="156"/>
                  </a:lnTo>
                  <a:lnTo>
                    <a:pt x="714" y="162"/>
                  </a:lnTo>
                  <a:lnTo>
                    <a:pt x="708" y="162"/>
                  </a:lnTo>
                  <a:lnTo>
                    <a:pt x="708" y="168"/>
                  </a:lnTo>
                  <a:lnTo>
                    <a:pt x="702" y="168"/>
                  </a:lnTo>
                  <a:lnTo>
                    <a:pt x="702" y="174"/>
                  </a:lnTo>
                  <a:lnTo>
                    <a:pt x="702" y="180"/>
                  </a:lnTo>
                  <a:lnTo>
                    <a:pt x="708" y="180"/>
                  </a:lnTo>
                  <a:lnTo>
                    <a:pt x="708" y="186"/>
                  </a:lnTo>
                  <a:lnTo>
                    <a:pt x="708" y="192"/>
                  </a:lnTo>
                  <a:lnTo>
                    <a:pt x="714" y="204"/>
                  </a:lnTo>
                  <a:lnTo>
                    <a:pt x="726" y="216"/>
                  </a:lnTo>
                  <a:lnTo>
                    <a:pt x="738" y="216"/>
                  </a:lnTo>
                  <a:lnTo>
                    <a:pt x="768" y="222"/>
                  </a:lnTo>
                  <a:lnTo>
                    <a:pt x="780" y="216"/>
                  </a:lnTo>
                  <a:lnTo>
                    <a:pt x="792" y="204"/>
                  </a:lnTo>
                  <a:lnTo>
                    <a:pt x="798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6" y="192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6" y="174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22" y="156"/>
                  </a:lnTo>
                  <a:lnTo>
                    <a:pt x="822" y="150"/>
                  </a:lnTo>
                  <a:lnTo>
                    <a:pt x="828" y="144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8" y="138"/>
                  </a:lnTo>
                  <a:lnTo>
                    <a:pt x="834" y="132"/>
                  </a:lnTo>
                  <a:lnTo>
                    <a:pt x="840" y="132"/>
                  </a:lnTo>
                  <a:lnTo>
                    <a:pt x="864" y="126"/>
                  </a:lnTo>
                  <a:lnTo>
                    <a:pt x="906" y="144"/>
                  </a:lnTo>
                  <a:lnTo>
                    <a:pt x="906" y="150"/>
                  </a:lnTo>
                  <a:lnTo>
                    <a:pt x="906" y="156"/>
                  </a:lnTo>
                  <a:lnTo>
                    <a:pt x="900" y="162"/>
                  </a:lnTo>
                  <a:lnTo>
                    <a:pt x="924" y="168"/>
                  </a:lnTo>
                  <a:lnTo>
                    <a:pt x="942" y="192"/>
                  </a:lnTo>
                  <a:lnTo>
                    <a:pt x="972" y="210"/>
                  </a:lnTo>
                  <a:lnTo>
                    <a:pt x="972" y="216"/>
                  </a:lnTo>
                  <a:lnTo>
                    <a:pt x="972" y="228"/>
                  </a:lnTo>
                  <a:lnTo>
                    <a:pt x="978" y="234"/>
                  </a:lnTo>
                  <a:lnTo>
                    <a:pt x="978" y="246"/>
                  </a:lnTo>
                  <a:lnTo>
                    <a:pt x="984" y="252"/>
                  </a:lnTo>
                  <a:lnTo>
                    <a:pt x="1014" y="252"/>
                  </a:lnTo>
                  <a:lnTo>
                    <a:pt x="1020" y="228"/>
                  </a:lnTo>
                  <a:lnTo>
                    <a:pt x="1026" y="198"/>
                  </a:lnTo>
                  <a:lnTo>
                    <a:pt x="1050" y="186"/>
                  </a:lnTo>
                  <a:lnTo>
                    <a:pt x="1056" y="180"/>
                  </a:lnTo>
                  <a:lnTo>
                    <a:pt x="1050" y="174"/>
                  </a:lnTo>
                  <a:lnTo>
                    <a:pt x="1050" y="168"/>
                  </a:lnTo>
                  <a:lnTo>
                    <a:pt x="1050" y="162"/>
                  </a:lnTo>
                  <a:lnTo>
                    <a:pt x="1056" y="162"/>
                  </a:lnTo>
                  <a:lnTo>
                    <a:pt x="1062" y="162"/>
                  </a:lnTo>
                  <a:lnTo>
                    <a:pt x="1074" y="162"/>
                  </a:lnTo>
                  <a:lnTo>
                    <a:pt x="1074" y="144"/>
                  </a:lnTo>
                  <a:lnTo>
                    <a:pt x="1074" y="120"/>
                  </a:lnTo>
                  <a:lnTo>
                    <a:pt x="1092" y="120"/>
                  </a:lnTo>
                  <a:lnTo>
                    <a:pt x="1098" y="126"/>
                  </a:lnTo>
                  <a:lnTo>
                    <a:pt x="1134" y="132"/>
                  </a:lnTo>
                  <a:lnTo>
                    <a:pt x="1146" y="132"/>
                  </a:lnTo>
                  <a:lnTo>
                    <a:pt x="1158" y="150"/>
                  </a:lnTo>
                  <a:lnTo>
                    <a:pt x="1158" y="156"/>
                  </a:lnTo>
                  <a:lnTo>
                    <a:pt x="1158" y="162"/>
                  </a:lnTo>
                  <a:lnTo>
                    <a:pt x="1158" y="180"/>
                  </a:lnTo>
                  <a:lnTo>
                    <a:pt x="1158" y="186"/>
                  </a:lnTo>
                  <a:lnTo>
                    <a:pt x="1164" y="192"/>
                  </a:lnTo>
                  <a:lnTo>
                    <a:pt x="1176" y="198"/>
                  </a:lnTo>
                  <a:lnTo>
                    <a:pt x="1182" y="198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8"/>
                  </a:lnTo>
                  <a:lnTo>
                    <a:pt x="1188" y="234"/>
                  </a:lnTo>
                  <a:lnTo>
                    <a:pt x="1212" y="234"/>
                  </a:lnTo>
                  <a:lnTo>
                    <a:pt x="1242" y="234"/>
                  </a:lnTo>
                  <a:lnTo>
                    <a:pt x="1248" y="234"/>
                  </a:lnTo>
                  <a:lnTo>
                    <a:pt x="1278" y="240"/>
                  </a:lnTo>
                  <a:lnTo>
                    <a:pt x="1320" y="234"/>
                  </a:lnTo>
                  <a:lnTo>
                    <a:pt x="1332" y="228"/>
                  </a:lnTo>
                  <a:lnTo>
                    <a:pt x="1344" y="228"/>
                  </a:lnTo>
                  <a:lnTo>
                    <a:pt x="1350" y="234"/>
                  </a:lnTo>
                  <a:lnTo>
                    <a:pt x="1350" y="240"/>
                  </a:lnTo>
                  <a:lnTo>
                    <a:pt x="1356" y="246"/>
                  </a:lnTo>
                  <a:lnTo>
                    <a:pt x="1350" y="252"/>
                  </a:lnTo>
                  <a:lnTo>
                    <a:pt x="1356" y="264"/>
                  </a:lnTo>
                  <a:lnTo>
                    <a:pt x="1356" y="270"/>
                  </a:lnTo>
                  <a:lnTo>
                    <a:pt x="1356" y="276"/>
                  </a:lnTo>
                  <a:lnTo>
                    <a:pt x="1356" y="282"/>
                  </a:lnTo>
                  <a:lnTo>
                    <a:pt x="1356" y="288"/>
                  </a:lnTo>
                  <a:lnTo>
                    <a:pt x="1350" y="294"/>
                  </a:lnTo>
                  <a:lnTo>
                    <a:pt x="1344" y="300"/>
                  </a:lnTo>
                  <a:lnTo>
                    <a:pt x="1344" y="306"/>
                  </a:lnTo>
                  <a:lnTo>
                    <a:pt x="1338" y="312"/>
                  </a:lnTo>
                  <a:lnTo>
                    <a:pt x="1326" y="342"/>
                  </a:lnTo>
                  <a:lnTo>
                    <a:pt x="1320" y="348"/>
                  </a:lnTo>
                  <a:lnTo>
                    <a:pt x="1314" y="354"/>
                  </a:lnTo>
                  <a:lnTo>
                    <a:pt x="1290" y="354"/>
                  </a:lnTo>
                  <a:lnTo>
                    <a:pt x="1284" y="360"/>
                  </a:lnTo>
                  <a:lnTo>
                    <a:pt x="1278" y="378"/>
                  </a:lnTo>
                  <a:lnTo>
                    <a:pt x="1278" y="384"/>
                  </a:lnTo>
                  <a:lnTo>
                    <a:pt x="1272" y="390"/>
                  </a:lnTo>
                  <a:lnTo>
                    <a:pt x="1266" y="396"/>
                  </a:lnTo>
                  <a:lnTo>
                    <a:pt x="1260" y="396"/>
                  </a:lnTo>
                  <a:lnTo>
                    <a:pt x="1248" y="402"/>
                  </a:lnTo>
                  <a:lnTo>
                    <a:pt x="1242" y="408"/>
                  </a:lnTo>
                  <a:lnTo>
                    <a:pt x="1242" y="414"/>
                  </a:lnTo>
                  <a:lnTo>
                    <a:pt x="1242" y="420"/>
                  </a:lnTo>
                  <a:lnTo>
                    <a:pt x="1236" y="432"/>
                  </a:lnTo>
                  <a:lnTo>
                    <a:pt x="1242" y="432"/>
                  </a:lnTo>
                  <a:lnTo>
                    <a:pt x="1242" y="444"/>
                  </a:lnTo>
                  <a:lnTo>
                    <a:pt x="1242" y="456"/>
                  </a:lnTo>
                  <a:lnTo>
                    <a:pt x="1248" y="456"/>
                  </a:lnTo>
                  <a:lnTo>
                    <a:pt x="1254" y="462"/>
                  </a:lnTo>
                  <a:lnTo>
                    <a:pt x="1248" y="468"/>
                  </a:lnTo>
                  <a:lnTo>
                    <a:pt x="1254" y="468"/>
                  </a:lnTo>
                  <a:lnTo>
                    <a:pt x="1266" y="474"/>
                  </a:lnTo>
                  <a:lnTo>
                    <a:pt x="1266" y="480"/>
                  </a:lnTo>
                  <a:lnTo>
                    <a:pt x="1266" y="486"/>
                  </a:lnTo>
                  <a:lnTo>
                    <a:pt x="1272" y="486"/>
                  </a:lnTo>
                  <a:lnTo>
                    <a:pt x="1272" y="492"/>
                  </a:lnTo>
                  <a:lnTo>
                    <a:pt x="1290" y="510"/>
                  </a:lnTo>
                  <a:lnTo>
                    <a:pt x="1296" y="516"/>
                  </a:lnTo>
                  <a:lnTo>
                    <a:pt x="1302" y="540"/>
                  </a:lnTo>
                  <a:lnTo>
                    <a:pt x="1302" y="546"/>
                  </a:lnTo>
                  <a:lnTo>
                    <a:pt x="1302" y="558"/>
                  </a:lnTo>
                  <a:lnTo>
                    <a:pt x="1302" y="570"/>
                  </a:lnTo>
                  <a:lnTo>
                    <a:pt x="1302" y="576"/>
                  </a:lnTo>
                  <a:lnTo>
                    <a:pt x="1344" y="570"/>
                  </a:lnTo>
                  <a:lnTo>
                    <a:pt x="1350" y="582"/>
                  </a:lnTo>
                  <a:lnTo>
                    <a:pt x="1368" y="594"/>
                  </a:lnTo>
                  <a:lnTo>
                    <a:pt x="1374" y="600"/>
                  </a:lnTo>
                  <a:lnTo>
                    <a:pt x="1380" y="600"/>
                  </a:lnTo>
                  <a:lnTo>
                    <a:pt x="1380" y="618"/>
                  </a:lnTo>
                  <a:lnTo>
                    <a:pt x="1386" y="624"/>
                  </a:lnTo>
                  <a:lnTo>
                    <a:pt x="1404" y="624"/>
                  </a:lnTo>
                  <a:lnTo>
                    <a:pt x="1410" y="612"/>
                  </a:lnTo>
                  <a:lnTo>
                    <a:pt x="1428" y="606"/>
                  </a:lnTo>
                  <a:lnTo>
                    <a:pt x="1488" y="606"/>
                  </a:lnTo>
                  <a:lnTo>
                    <a:pt x="1506" y="606"/>
                  </a:lnTo>
                  <a:lnTo>
                    <a:pt x="1512" y="600"/>
                  </a:lnTo>
                  <a:lnTo>
                    <a:pt x="1524" y="594"/>
                  </a:lnTo>
                  <a:lnTo>
                    <a:pt x="1554" y="594"/>
                  </a:lnTo>
                  <a:lnTo>
                    <a:pt x="1578" y="606"/>
                  </a:lnTo>
                  <a:lnTo>
                    <a:pt x="1596" y="624"/>
                  </a:lnTo>
                  <a:lnTo>
                    <a:pt x="1650" y="642"/>
                  </a:lnTo>
                  <a:lnTo>
                    <a:pt x="1686" y="648"/>
                  </a:lnTo>
                  <a:lnTo>
                    <a:pt x="1698" y="654"/>
                  </a:lnTo>
                  <a:lnTo>
                    <a:pt x="1698" y="660"/>
                  </a:lnTo>
                  <a:lnTo>
                    <a:pt x="1692" y="666"/>
                  </a:lnTo>
                  <a:lnTo>
                    <a:pt x="1692" y="672"/>
                  </a:lnTo>
                  <a:lnTo>
                    <a:pt x="1698" y="678"/>
                  </a:lnTo>
                  <a:lnTo>
                    <a:pt x="1698" y="684"/>
                  </a:lnTo>
                  <a:lnTo>
                    <a:pt x="1692" y="684"/>
                  </a:lnTo>
                  <a:lnTo>
                    <a:pt x="1692" y="690"/>
                  </a:lnTo>
                  <a:lnTo>
                    <a:pt x="1698" y="696"/>
                  </a:lnTo>
                  <a:lnTo>
                    <a:pt x="1698" y="702"/>
                  </a:lnTo>
                  <a:lnTo>
                    <a:pt x="1698" y="708"/>
                  </a:lnTo>
                  <a:lnTo>
                    <a:pt x="1704" y="714"/>
                  </a:lnTo>
                  <a:lnTo>
                    <a:pt x="1704" y="720"/>
                  </a:lnTo>
                  <a:lnTo>
                    <a:pt x="1704" y="726"/>
                  </a:lnTo>
                  <a:lnTo>
                    <a:pt x="1704" y="732"/>
                  </a:lnTo>
                  <a:lnTo>
                    <a:pt x="1704" y="738"/>
                  </a:lnTo>
                  <a:lnTo>
                    <a:pt x="1698" y="726"/>
                  </a:lnTo>
                  <a:lnTo>
                    <a:pt x="1668" y="720"/>
                  </a:lnTo>
                  <a:lnTo>
                    <a:pt x="1626" y="714"/>
                  </a:lnTo>
                  <a:lnTo>
                    <a:pt x="1614" y="708"/>
                  </a:lnTo>
                  <a:lnTo>
                    <a:pt x="1578" y="696"/>
                  </a:lnTo>
                  <a:lnTo>
                    <a:pt x="1566" y="696"/>
                  </a:lnTo>
                  <a:lnTo>
                    <a:pt x="1548" y="702"/>
                  </a:lnTo>
                  <a:lnTo>
                    <a:pt x="1542" y="714"/>
                  </a:lnTo>
                  <a:lnTo>
                    <a:pt x="1536" y="732"/>
                  </a:lnTo>
                  <a:lnTo>
                    <a:pt x="1530" y="750"/>
                  </a:lnTo>
                  <a:lnTo>
                    <a:pt x="1536" y="750"/>
                  </a:lnTo>
                  <a:lnTo>
                    <a:pt x="1542" y="756"/>
                  </a:lnTo>
                  <a:lnTo>
                    <a:pt x="1542" y="762"/>
                  </a:lnTo>
                  <a:lnTo>
                    <a:pt x="1548" y="762"/>
                  </a:lnTo>
                  <a:lnTo>
                    <a:pt x="1554" y="762"/>
                  </a:lnTo>
                  <a:lnTo>
                    <a:pt x="1554" y="768"/>
                  </a:lnTo>
                  <a:lnTo>
                    <a:pt x="1560" y="774"/>
                  </a:lnTo>
                  <a:lnTo>
                    <a:pt x="1566" y="774"/>
                  </a:lnTo>
                  <a:lnTo>
                    <a:pt x="1584" y="792"/>
                  </a:lnTo>
                  <a:lnTo>
                    <a:pt x="1584" y="810"/>
                  </a:lnTo>
                  <a:lnTo>
                    <a:pt x="1572" y="816"/>
                  </a:lnTo>
                  <a:lnTo>
                    <a:pt x="1578" y="834"/>
                  </a:lnTo>
                  <a:lnTo>
                    <a:pt x="1578" y="846"/>
                  </a:lnTo>
                  <a:lnTo>
                    <a:pt x="1584" y="858"/>
                  </a:lnTo>
                  <a:lnTo>
                    <a:pt x="1590" y="864"/>
                  </a:lnTo>
                  <a:lnTo>
                    <a:pt x="1590" y="876"/>
                  </a:lnTo>
                  <a:lnTo>
                    <a:pt x="1578" y="888"/>
                  </a:lnTo>
                  <a:lnTo>
                    <a:pt x="1560" y="906"/>
                  </a:lnTo>
                  <a:lnTo>
                    <a:pt x="1536" y="930"/>
                  </a:lnTo>
                  <a:lnTo>
                    <a:pt x="1530" y="930"/>
                  </a:lnTo>
                  <a:lnTo>
                    <a:pt x="1506" y="942"/>
                  </a:lnTo>
                  <a:lnTo>
                    <a:pt x="1488" y="948"/>
                  </a:lnTo>
                  <a:lnTo>
                    <a:pt x="1476" y="954"/>
                  </a:lnTo>
                  <a:lnTo>
                    <a:pt x="1458" y="960"/>
                  </a:lnTo>
                  <a:lnTo>
                    <a:pt x="1452" y="966"/>
                  </a:lnTo>
                  <a:lnTo>
                    <a:pt x="1446" y="966"/>
                  </a:lnTo>
                  <a:lnTo>
                    <a:pt x="1434" y="972"/>
                  </a:lnTo>
                  <a:lnTo>
                    <a:pt x="1434" y="954"/>
                  </a:lnTo>
                  <a:lnTo>
                    <a:pt x="1422" y="942"/>
                  </a:lnTo>
                  <a:lnTo>
                    <a:pt x="1398" y="924"/>
                  </a:lnTo>
                  <a:lnTo>
                    <a:pt x="1398" y="912"/>
                  </a:lnTo>
                  <a:lnTo>
                    <a:pt x="1398" y="906"/>
                  </a:lnTo>
                  <a:lnTo>
                    <a:pt x="1398" y="900"/>
                  </a:lnTo>
                  <a:lnTo>
                    <a:pt x="1380" y="900"/>
                  </a:lnTo>
                  <a:lnTo>
                    <a:pt x="1380" y="894"/>
                  </a:lnTo>
                  <a:lnTo>
                    <a:pt x="1368" y="888"/>
                  </a:lnTo>
                  <a:lnTo>
                    <a:pt x="1362" y="882"/>
                  </a:lnTo>
                  <a:lnTo>
                    <a:pt x="1356" y="876"/>
                  </a:lnTo>
                  <a:lnTo>
                    <a:pt x="1350" y="864"/>
                  </a:lnTo>
                  <a:lnTo>
                    <a:pt x="1344" y="858"/>
                  </a:lnTo>
                  <a:lnTo>
                    <a:pt x="1314" y="870"/>
                  </a:lnTo>
                  <a:lnTo>
                    <a:pt x="1272" y="876"/>
                  </a:lnTo>
                  <a:lnTo>
                    <a:pt x="1218" y="870"/>
                  </a:lnTo>
                  <a:lnTo>
                    <a:pt x="1200" y="864"/>
                  </a:lnTo>
                  <a:lnTo>
                    <a:pt x="1182" y="864"/>
                  </a:lnTo>
                  <a:lnTo>
                    <a:pt x="1134" y="858"/>
                  </a:lnTo>
                  <a:lnTo>
                    <a:pt x="1110" y="840"/>
                  </a:lnTo>
                  <a:lnTo>
                    <a:pt x="1086" y="828"/>
                  </a:lnTo>
                  <a:lnTo>
                    <a:pt x="1044" y="816"/>
                  </a:lnTo>
                  <a:lnTo>
                    <a:pt x="1014" y="816"/>
                  </a:lnTo>
                  <a:lnTo>
                    <a:pt x="990" y="822"/>
                  </a:lnTo>
                  <a:lnTo>
                    <a:pt x="948" y="858"/>
                  </a:lnTo>
                  <a:lnTo>
                    <a:pt x="930" y="864"/>
                  </a:lnTo>
                  <a:lnTo>
                    <a:pt x="924" y="876"/>
                  </a:lnTo>
                  <a:lnTo>
                    <a:pt x="918" y="906"/>
                  </a:lnTo>
                  <a:lnTo>
                    <a:pt x="924" y="930"/>
                  </a:lnTo>
                  <a:lnTo>
                    <a:pt x="948" y="984"/>
                  </a:lnTo>
                  <a:lnTo>
                    <a:pt x="954" y="1008"/>
                  </a:lnTo>
                  <a:lnTo>
                    <a:pt x="948" y="1014"/>
                  </a:lnTo>
                  <a:lnTo>
                    <a:pt x="954" y="1014"/>
                  </a:lnTo>
                  <a:lnTo>
                    <a:pt x="954" y="1032"/>
                  </a:lnTo>
                  <a:lnTo>
                    <a:pt x="966" y="1044"/>
                  </a:lnTo>
                  <a:lnTo>
                    <a:pt x="960" y="1056"/>
                  </a:lnTo>
                  <a:lnTo>
                    <a:pt x="954" y="1056"/>
                  </a:lnTo>
                  <a:lnTo>
                    <a:pt x="948" y="1056"/>
                  </a:lnTo>
                  <a:lnTo>
                    <a:pt x="942" y="1056"/>
                  </a:lnTo>
                  <a:lnTo>
                    <a:pt x="936" y="1050"/>
                  </a:lnTo>
                  <a:lnTo>
                    <a:pt x="930" y="1044"/>
                  </a:lnTo>
                  <a:lnTo>
                    <a:pt x="924" y="1044"/>
                  </a:lnTo>
                  <a:lnTo>
                    <a:pt x="918" y="1038"/>
                  </a:lnTo>
                  <a:lnTo>
                    <a:pt x="912" y="1038"/>
                  </a:lnTo>
                  <a:lnTo>
                    <a:pt x="906" y="1032"/>
                  </a:lnTo>
                  <a:lnTo>
                    <a:pt x="900" y="1032"/>
                  </a:lnTo>
                  <a:lnTo>
                    <a:pt x="888" y="1026"/>
                  </a:lnTo>
                  <a:lnTo>
                    <a:pt x="882" y="1026"/>
                  </a:lnTo>
                  <a:lnTo>
                    <a:pt x="876" y="1026"/>
                  </a:lnTo>
                  <a:lnTo>
                    <a:pt x="864" y="1014"/>
                  </a:lnTo>
                  <a:lnTo>
                    <a:pt x="846" y="1008"/>
                  </a:lnTo>
                  <a:lnTo>
                    <a:pt x="840" y="996"/>
                  </a:lnTo>
                  <a:lnTo>
                    <a:pt x="840" y="990"/>
                  </a:lnTo>
                  <a:lnTo>
                    <a:pt x="834" y="990"/>
                  </a:lnTo>
                  <a:lnTo>
                    <a:pt x="828" y="990"/>
                  </a:lnTo>
                  <a:lnTo>
                    <a:pt x="816" y="990"/>
                  </a:lnTo>
                  <a:lnTo>
                    <a:pt x="810" y="990"/>
                  </a:lnTo>
                  <a:lnTo>
                    <a:pt x="804" y="984"/>
                  </a:lnTo>
                  <a:lnTo>
                    <a:pt x="792" y="978"/>
                  </a:lnTo>
                  <a:lnTo>
                    <a:pt x="786" y="972"/>
                  </a:lnTo>
                  <a:lnTo>
                    <a:pt x="780" y="972"/>
                  </a:lnTo>
                  <a:lnTo>
                    <a:pt x="768" y="966"/>
                  </a:lnTo>
                  <a:lnTo>
                    <a:pt x="762" y="966"/>
                  </a:lnTo>
                  <a:lnTo>
                    <a:pt x="756" y="966"/>
                  </a:lnTo>
                  <a:lnTo>
                    <a:pt x="750" y="966"/>
                  </a:lnTo>
                  <a:lnTo>
                    <a:pt x="744" y="966"/>
                  </a:lnTo>
                  <a:lnTo>
                    <a:pt x="738" y="960"/>
                  </a:lnTo>
                  <a:lnTo>
                    <a:pt x="732" y="954"/>
                  </a:lnTo>
                  <a:lnTo>
                    <a:pt x="720" y="954"/>
                  </a:lnTo>
                  <a:lnTo>
                    <a:pt x="714" y="948"/>
                  </a:lnTo>
                  <a:lnTo>
                    <a:pt x="708" y="948"/>
                  </a:lnTo>
                  <a:lnTo>
                    <a:pt x="696" y="948"/>
                  </a:lnTo>
                  <a:lnTo>
                    <a:pt x="684" y="942"/>
                  </a:lnTo>
                  <a:lnTo>
                    <a:pt x="678" y="936"/>
                  </a:lnTo>
                  <a:lnTo>
                    <a:pt x="660" y="930"/>
                  </a:lnTo>
                  <a:lnTo>
                    <a:pt x="642" y="924"/>
                  </a:lnTo>
                  <a:lnTo>
                    <a:pt x="636" y="924"/>
                  </a:lnTo>
                  <a:lnTo>
                    <a:pt x="630" y="924"/>
                  </a:lnTo>
                  <a:lnTo>
                    <a:pt x="618" y="924"/>
                  </a:lnTo>
                  <a:lnTo>
                    <a:pt x="618" y="918"/>
                  </a:lnTo>
                  <a:lnTo>
                    <a:pt x="606" y="918"/>
                  </a:lnTo>
                  <a:lnTo>
                    <a:pt x="600" y="918"/>
                  </a:lnTo>
                  <a:lnTo>
                    <a:pt x="594" y="918"/>
                  </a:lnTo>
                  <a:lnTo>
                    <a:pt x="594" y="912"/>
                  </a:lnTo>
                  <a:lnTo>
                    <a:pt x="588" y="912"/>
                  </a:lnTo>
                  <a:lnTo>
                    <a:pt x="582" y="912"/>
                  </a:lnTo>
                  <a:lnTo>
                    <a:pt x="582" y="918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58" y="918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12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00"/>
                  </a:lnTo>
                  <a:lnTo>
                    <a:pt x="516" y="900"/>
                  </a:lnTo>
                  <a:lnTo>
                    <a:pt x="510" y="900"/>
                  </a:lnTo>
                  <a:lnTo>
                    <a:pt x="486" y="894"/>
                  </a:lnTo>
                  <a:lnTo>
                    <a:pt x="474" y="888"/>
                  </a:lnTo>
                  <a:lnTo>
                    <a:pt x="468" y="888"/>
                  </a:lnTo>
                  <a:lnTo>
                    <a:pt x="450" y="88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0" name="Freeform 15">
              <a:extLst>
                <a:ext uri="{FF2B5EF4-FFF2-40B4-BE49-F238E27FC236}">
                  <a16:creationId xmlns:a16="http://schemas.microsoft.com/office/drawing/2014/main" id="{8B991D7A-45C6-40F6-A035-24DFC733305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382" y="2652043"/>
              <a:ext cx="724526" cy="695552"/>
            </a:xfrm>
            <a:custGeom>
              <a:avLst/>
              <a:gdLst>
                <a:gd name="T0" fmla="*/ 44 w 1362"/>
                <a:gd name="T1" fmla="*/ 106 h 1308"/>
                <a:gd name="T2" fmla="*/ 32 w 1362"/>
                <a:gd name="T3" fmla="*/ 109 h 1308"/>
                <a:gd name="T4" fmla="*/ 25 w 1362"/>
                <a:gd name="T5" fmla="*/ 105 h 1308"/>
                <a:gd name="T6" fmla="*/ 22 w 1362"/>
                <a:gd name="T7" fmla="*/ 97 h 1308"/>
                <a:gd name="T8" fmla="*/ 21 w 1362"/>
                <a:gd name="T9" fmla="*/ 95 h 1308"/>
                <a:gd name="T10" fmla="*/ 20 w 1362"/>
                <a:gd name="T11" fmla="*/ 90 h 1308"/>
                <a:gd name="T12" fmla="*/ 23 w 1362"/>
                <a:gd name="T13" fmla="*/ 87 h 1308"/>
                <a:gd name="T14" fmla="*/ 29 w 1362"/>
                <a:gd name="T15" fmla="*/ 81 h 1308"/>
                <a:gd name="T16" fmla="*/ 30 w 1362"/>
                <a:gd name="T17" fmla="*/ 78 h 1308"/>
                <a:gd name="T18" fmla="*/ 27 w 1362"/>
                <a:gd name="T19" fmla="*/ 75 h 1308"/>
                <a:gd name="T20" fmla="*/ 15 w 1362"/>
                <a:gd name="T21" fmla="*/ 73 h 1308"/>
                <a:gd name="T22" fmla="*/ 12 w 1362"/>
                <a:gd name="T23" fmla="*/ 69 h 1308"/>
                <a:gd name="T24" fmla="*/ 5 w 1362"/>
                <a:gd name="T25" fmla="*/ 65 h 1308"/>
                <a:gd name="T26" fmla="*/ 6 w 1362"/>
                <a:gd name="T27" fmla="*/ 62 h 1308"/>
                <a:gd name="T28" fmla="*/ 7 w 1362"/>
                <a:gd name="T29" fmla="*/ 56 h 1308"/>
                <a:gd name="T30" fmla="*/ 2 w 1362"/>
                <a:gd name="T31" fmla="*/ 49 h 1308"/>
                <a:gd name="T32" fmla="*/ 0 w 1362"/>
                <a:gd name="T33" fmla="*/ 44 h 1308"/>
                <a:gd name="T34" fmla="*/ 0 w 1362"/>
                <a:gd name="T35" fmla="*/ 39 h 1308"/>
                <a:gd name="T36" fmla="*/ 3 w 1362"/>
                <a:gd name="T37" fmla="*/ 35 h 1308"/>
                <a:gd name="T38" fmla="*/ 3 w 1362"/>
                <a:gd name="T39" fmla="*/ 28 h 1308"/>
                <a:gd name="T40" fmla="*/ 6 w 1362"/>
                <a:gd name="T41" fmla="*/ 18 h 1308"/>
                <a:gd name="T42" fmla="*/ 6 w 1362"/>
                <a:gd name="T43" fmla="*/ 8 h 1308"/>
                <a:gd name="T44" fmla="*/ 10 w 1362"/>
                <a:gd name="T45" fmla="*/ 5 h 1308"/>
                <a:gd name="T46" fmla="*/ 15 w 1362"/>
                <a:gd name="T47" fmla="*/ 0 h 1308"/>
                <a:gd name="T48" fmla="*/ 21 w 1362"/>
                <a:gd name="T49" fmla="*/ 7 h 1308"/>
                <a:gd name="T50" fmla="*/ 25 w 1362"/>
                <a:gd name="T51" fmla="*/ 15 h 1308"/>
                <a:gd name="T52" fmla="*/ 24 w 1362"/>
                <a:gd name="T53" fmla="*/ 19 h 1308"/>
                <a:gd name="T54" fmla="*/ 32 w 1362"/>
                <a:gd name="T55" fmla="*/ 19 h 1308"/>
                <a:gd name="T56" fmla="*/ 35 w 1362"/>
                <a:gd name="T57" fmla="*/ 20 h 1308"/>
                <a:gd name="T58" fmla="*/ 40 w 1362"/>
                <a:gd name="T59" fmla="*/ 23 h 1308"/>
                <a:gd name="T60" fmla="*/ 40 w 1362"/>
                <a:gd name="T61" fmla="*/ 26 h 1308"/>
                <a:gd name="T62" fmla="*/ 34 w 1362"/>
                <a:gd name="T63" fmla="*/ 35 h 1308"/>
                <a:gd name="T64" fmla="*/ 41 w 1362"/>
                <a:gd name="T65" fmla="*/ 37 h 1308"/>
                <a:gd name="T66" fmla="*/ 43 w 1362"/>
                <a:gd name="T67" fmla="*/ 44 h 1308"/>
                <a:gd name="T68" fmla="*/ 48 w 1362"/>
                <a:gd name="T69" fmla="*/ 47 h 1308"/>
                <a:gd name="T70" fmla="*/ 57 w 1362"/>
                <a:gd name="T71" fmla="*/ 48 h 1308"/>
                <a:gd name="T72" fmla="*/ 70 w 1362"/>
                <a:gd name="T73" fmla="*/ 44 h 1308"/>
                <a:gd name="T74" fmla="*/ 80 w 1362"/>
                <a:gd name="T75" fmla="*/ 34 h 1308"/>
                <a:gd name="T76" fmla="*/ 95 w 1362"/>
                <a:gd name="T77" fmla="*/ 41 h 1308"/>
                <a:gd name="T78" fmla="*/ 109 w 1362"/>
                <a:gd name="T79" fmla="*/ 47 h 1308"/>
                <a:gd name="T80" fmla="*/ 111 w 1362"/>
                <a:gd name="T81" fmla="*/ 50 h 1308"/>
                <a:gd name="T82" fmla="*/ 113 w 1362"/>
                <a:gd name="T83" fmla="*/ 53 h 1308"/>
                <a:gd name="T84" fmla="*/ 113 w 1362"/>
                <a:gd name="T85" fmla="*/ 55 h 1308"/>
                <a:gd name="T86" fmla="*/ 113 w 1362"/>
                <a:gd name="T87" fmla="*/ 59 h 1308"/>
                <a:gd name="T88" fmla="*/ 113 w 1362"/>
                <a:gd name="T89" fmla="*/ 62 h 1308"/>
                <a:gd name="T90" fmla="*/ 115 w 1362"/>
                <a:gd name="T91" fmla="*/ 65 h 1308"/>
                <a:gd name="T92" fmla="*/ 115 w 1362"/>
                <a:gd name="T93" fmla="*/ 67 h 1308"/>
                <a:gd name="T94" fmla="*/ 116 w 1362"/>
                <a:gd name="T95" fmla="*/ 69 h 1308"/>
                <a:gd name="T96" fmla="*/ 116 w 1362"/>
                <a:gd name="T97" fmla="*/ 71 h 1308"/>
                <a:gd name="T98" fmla="*/ 118 w 1362"/>
                <a:gd name="T99" fmla="*/ 75 h 1308"/>
                <a:gd name="T100" fmla="*/ 116 w 1362"/>
                <a:gd name="T101" fmla="*/ 77 h 1308"/>
                <a:gd name="T102" fmla="*/ 116 w 1362"/>
                <a:gd name="T103" fmla="*/ 79 h 1308"/>
                <a:gd name="T104" fmla="*/ 101 w 1362"/>
                <a:gd name="T105" fmla="*/ 87 h 1308"/>
                <a:gd name="T106" fmla="*/ 85 w 1362"/>
                <a:gd name="T107" fmla="*/ 103 h 1308"/>
                <a:gd name="T108" fmla="*/ 67 w 1362"/>
                <a:gd name="T109" fmla="*/ 114 h 130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62"/>
                <a:gd name="T166" fmla="*/ 0 h 1308"/>
                <a:gd name="T167" fmla="*/ 1362 w 1362"/>
                <a:gd name="T168" fmla="*/ 1308 h 130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62" h="1308">
                  <a:moveTo>
                    <a:pt x="684" y="1278"/>
                  </a:moveTo>
                  <a:lnTo>
                    <a:pt x="672" y="1272"/>
                  </a:lnTo>
                  <a:lnTo>
                    <a:pt x="636" y="1266"/>
                  </a:lnTo>
                  <a:lnTo>
                    <a:pt x="582" y="1248"/>
                  </a:lnTo>
                  <a:lnTo>
                    <a:pt x="564" y="1230"/>
                  </a:lnTo>
                  <a:lnTo>
                    <a:pt x="540" y="1218"/>
                  </a:lnTo>
                  <a:lnTo>
                    <a:pt x="510" y="1218"/>
                  </a:lnTo>
                  <a:lnTo>
                    <a:pt x="498" y="1224"/>
                  </a:lnTo>
                  <a:lnTo>
                    <a:pt x="492" y="1230"/>
                  </a:lnTo>
                  <a:lnTo>
                    <a:pt x="474" y="1230"/>
                  </a:lnTo>
                  <a:lnTo>
                    <a:pt x="414" y="1230"/>
                  </a:lnTo>
                  <a:lnTo>
                    <a:pt x="396" y="1236"/>
                  </a:lnTo>
                  <a:lnTo>
                    <a:pt x="390" y="1248"/>
                  </a:lnTo>
                  <a:lnTo>
                    <a:pt x="372" y="1248"/>
                  </a:lnTo>
                  <a:lnTo>
                    <a:pt x="366" y="1242"/>
                  </a:lnTo>
                  <a:lnTo>
                    <a:pt x="366" y="1224"/>
                  </a:lnTo>
                  <a:lnTo>
                    <a:pt x="360" y="1224"/>
                  </a:lnTo>
                  <a:lnTo>
                    <a:pt x="354" y="1218"/>
                  </a:lnTo>
                  <a:lnTo>
                    <a:pt x="336" y="1206"/>
                  </a:lnTo>
                  <a:lnTo>
                    <a:pt x="330" y="1194"/>
                  </a:lnTo>
                  <a:lnTo>
                    <a:pt x="288" y="1200"/>
                  </a:lnTo>
                  <a:lnTo>
                    <a:pt x="288" y="1194"/>
                  </a:lnTo>
                  <a:lnTo>
                    <a:pt x="288" y="1182"/>
                  </a:lnTo>
                  <a:lnTo>
                    <a:pt x="288" y="1170"/>
                  </a:lnTo>
                  <a:lnTo>
                    <a:pt x="288" y="1164"/>
                  </a:lnTo>
                  <a:lnTo>
                    <a:pt x="282" y="1140"/>
                  </a:lnTo>
                  <a:lnTo>
                    <a:pt x="276" y="1134"/>
                  </a:lnTo>
                  <a:lnTo>
                    <a:pt x="258" y="1116"/>
                  </a:lnTo>
                  <a:lnTo>
                    <a:pt x="258" y="1110"/>
                  </a:lnTo>
                  <a:lnTo>
                    <a:pt x="252" y="1110"/>
                  </a:lnTo>
                  <a:lnTo>
                    <a:pt x="252" y="1104"/>
                  </a:lnTo>
                  <a:lnTo>
                    <a:pt x="252" y="1098"/>
                  </a:lnTo>
                  <a:lnTo>
                    <a:pt x="240" y="1092"/>
                  </a:lnTo>
                  <a:lnTo>
                    <a:pt x="234" y="1092"/>
                  </a:lnTo>
                  <a:lnTo>
                    <a:pt x="240" y="1086"/>
                  </a:lnTo>
                  <a:lnTo>
                    <a:pt x="234" y="1080"/>
                  </a:lnTo>
                  <a:lnTo>
                    <a:pt x="228" y="1080"/>
                  </a:lnTo>
                  <a:lnTo>
                    <a:pt x="228" y="1068"/>
                  </a:lnTo>
                  <a:lnTo>
                    <a:pt x="228" y="1056"/>
                  </a:lnTo>
                  <a:lnTo>
                    <a:pt x="222" y="1056"/>
                  </a:lnTo>
                  <a:lnTo>
                    <a:pt x="228" y="1044"/>
                  </a:lnTo>
                  <a:lnTo>
                    <a:pt x="228" y="1038"/>
                  </a:lnTo>
                  <a:lnTo>
                    <a:pt x="228" y="1032"/>
                  </a:lnTo>
                  <a:lnTo>
                    <a:pt x="234" y="1026"/>
                  </a:lnTo>
                  <a:lnTo>
                    <a:pt x="246" y="1020"/>
                  </a:lnTo>
                  <a:lnTo>
                    <a:pt x="252" y="1020"/>
                  </a:lnTo>
                  <a:lnTo>
                    <a:pt x="258" y="1014"/>
                  </a:lnTo>
                  <a:lnTo>
                    <a:pt x="264" y="1008"/>
                  </a:lnTo>
                  <a:lnTo>
                    <a:pt x="264" y="1002"/>
                  </a:lnTo>
                  <a:lnTo>
                    <a:pt x="270" y="984"/>
                  </a:lnTo>
                  <a:lnTo>
                    <a:pt x="276" y="978"/>
                  </a:lnTo>
                  <a:lnTo>
                    <a:pt x="300" y="978"/>
                  </a:lnTo>
                  <a:lnTo>
                    <a:pt x="306" y="972"/>
                  </a:lnTo>
                  <a:lnTo>
                    <a:pt x="312" y="966"/>
                  </a:lnTo>
                  <a:lnTo>
                    <a:pt x="324" y="936"/>
                  </a:lnTo>
                  <a:lnTo>
                    <a:pt x="330" y="930"/>
                  </a:lnTo>
                  <a:lnTo>
                    <a:pt x="330" y="924"/>
                  </a:lnTo>
                  <a:lnTo>
                    <a:pt x="336" y="918"/>
                  </a:lnTo>
                  <a:lnTo>
                    <a:pt x="342" y="912"/>
                  </a:lnTo>
                  <a:lnTo>
                    <a:pt x="342" y="906"/>
                  </a:lnTo>
                  <a:lnTo>
                    <a:pt x="342" y="900"/>
                  </a:lnTo>
                  <a:lnTo>
                    <a:pt x="342" y="894"/>
                  </a:lnTo>
                  <a:lnTo>
                    <a:pt x="342" y="888"/>
                  </a:lnTo>
                  <a:lnTo>
                    <a:pt x="336" y="876"/>
                  </a:lnTo>
                  <a:lnTo>
                    <a:pt x="342" y="870"/>
                  </a:lnTo>
                  <a:lnTo>
                    <a:pt x="336" y="864"/>
                  </a:lnTo>
                  <a:lnTo>
                    <a:pt x="336" y="858"/>
                  </a:lnTo>
                  <a:lnTo>
                    <a:pt x="330" y="852"/>
                  </a:lnTo>
                  <a:lnTo>
                    <a:pt x="318" y="852"/>
                  </a:lnTo>
                  <a:lnTo>
                    <a:pt x="306" y="858"/>
                  </a:lnTo>
                  <a:lnTo>
                    <a:pt x="264" y="864"/>
                  </a:lnTo>
                  <a:lnTo>
                    <a:pt x="234" y="858"/>
                  </a:lnTo>
                  <a:lnTo>
                    <a:pt x="228" y="858"/>
                  </a:lnTo>
                  <a:lnTo>
                    <a:pt x="198" y="858"/>
                  </a:lnTo>
                  <a:lnTo>
                    <a:pt x="174" y="858"/>
                  </a:lnTo>
                  <a:lnTo>
                    <a:pt x="168" y="852"/>
                  </a:lnTo>
                  <a:lnTo>
                    <a:pt x="168" y="840"/>
                  </a:lnTo>
                  <a:lnTo>
                    <a:pt x="168" y="834"/>
                  </a:lnTo>
                  <a:lnTo>
                    <a:pt x="168" y="822"/>
                  </a:lnTo>
                  <a:lnTo>
                    <a:pt x="162" y="822"/>
                  </a:lnTo>
                  <a:lnTo>
                    <a:pt x="150" y="816"/>
                  </a:lnTo>
                  <a:lnTo>
                    <a:pt x="144" y="810"/>
                  </a:lnTo>
                  <a:lnTo>
                    <a:pt x="144" y="804"/>
                  </a:lnTo>
                  <a:lnTo>
                    <a:pt x="144" y="786"/>
                  </a:lnTo>
                  <a:lnTo>
                    <a:pt x="144" y="780"/>
                  </a:lnTo>
                  <a:lnTo>
                    <a:pt x="144" y="774"/>
                  </a:lnTo>
                  <a:lnTo>
                    <a:pt x="132" y="756"/>
                  </a:lnTo>
                  <a:lnTo>
                    <a:pt x="120" y="756"/>
                  </a:lnTo>
                  <a:lnTo>
                    <a:pt x="84" y="750"/>
                  </a:lnTo>
                  <a:lnTo>
                    <a:pt x="78" y="744"/>
                  </a:lnTo>
                  <a:lnTo>
                    <a:pt x="60" y="744"/>
                  </a:lnTo>
                  <a:lnTo>
                    <a:pt x="54" y="726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66" y="720"/>
                  </a:lnTo>
                  <a:lnTo>
                    <a:pt x="66" y="714"/>
                  </a:lnTo>
                  <a:lnTo>
                    <a:pt x="72" y="714"/>
                  </a:lnTo>
                  <a:lnTo>
                    <a:pt x="72" y="708"/>
                  </a:lnTo>
                  <a:lnTo>
                    <a:pt x="78" y="702"/>
                  </a:lnTo>
                  <a:lnTo>
                    <a:pt x="78" y="696"/>
                  </a:lnTo>
                  <a:lnTo>
                    <a:pt x="78" y="690"/>
                  </a:lnTo>
                  <a:lnTo>
                    <a:pt x="84" y="678"/>
                  </a:lnTo>
                  <a:lnTo>
                    <a:pt x="90" y="666"/>
                  </a:lnTo>
                  <a:lnTo>
                    <a:pt x="90" y="642"/>
                  </a:lnTo>
                  <a:lnTo>
                    <a:pt x="84" y="648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66" y="642"/>
                  </a:lnTo>
                  <a:lnTo>
                    <a:pt x="60" y="642"/>
                  </a:lnTo>
                  <a:lnTo>
                    <a:pt x="54" y="636"/>
                  </a:lnTo>
                  <a:lnTo>
                    <a:pt x="30" y="570"/>
                  </a:lnTo>
                  <a:lnTo>
                    <a:pt x="24" y="564"/>
                  </a:lnTo>
                  <a:lnTo>
                    <a:pt x="18" y="570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6"/>
                  </a:lnTo>
                  <a:lnTo>
                    <a:pt x="6" y="540"/>
                  </a:lnTo>
                  <a:lnTo>
                    <a:pt x="0" y="522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2" y="480"/>
                  </a:lnTo>
                  <a:lnTo>
                    <a:pt x="6" y="480"/>
                  </a:lnTo>
                  <a:lnTo>
                    <a:pt x="0" y="474"/>
                  </a:lnTo>
                  <a:lnTo>
                    <a:pt x="0" y="450"/>
                  </a:lnTo>
                  <a:lnTo>
                    <a:pt x="6" y="450"/>
                  </a:lnTo>
                  <a:lnTo>
                    <a:pt x="12" y="450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32"/>
                  </a:lnTo>
                  <a:lnTo>
                    <a:pt x="30" y="426"/>
                  </a:lnTo>
                  <a:lnTo>
                    <a:pt x="36" y="402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2" y="366"/>
                  </a:lnTo>
                  <a:lnTo>
                    <a:pt x="48" y="360"/>
                  </a:lnTo>
                  <a:lnTo>
                    <a:pt x="48" y="342"/>
                  </a:lnTo>
                  <a:lnTo>
                    <a:pt x="42" y="330"/>
                  </a:lnTo>
                  <a:lnTo>
                    <a:pt x="36" y="324"/>
                  </a:lnTo>
                  <a:lnTo>
                    <a:pt x="42" y="306"/>
                  </a:lnTo>
                  <a:lnTo>
                    <a:pt x="42" y="270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48" y="258"/>
                  </a:lnTo>
                  <a:lnTo>
                    <a:pt x="72" y="252"/>
                  </a:lnTo>
                  <a:lnTo>
                    <a:pt x="66" y="204"/>
                  </a:lnTo>
                  <a:lnTo>
                    <a:pt x="60" y="198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8" y="13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84" y="96"/>
                  </a:lnTo>
                  <a:lnTo>
                    <a:pt x="90" y="84"/>
                  </a:lnTo>
                  <a:lnTo>
                    <a:pt x="108" y="72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20" y="60"/>
                  </a:lnTo>
                  <a:lnTo>
                    <a:pt x="120" y="54"/>
                  </a:lnTo>
                  <a:lnTo>
                    <a:pt x="120" y="48"/>
                  </a:lnTo>
                  <a:lnTo>
                    <a:pt x="126" y="48"/>
                  </a:lnTo>
                  <a:lnTo>
                    <a:pt x="132" y="42"/>
                  </a:lnTo>
                  <a:lnTo>
                    <a:pt x="132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240" y="18"/>
                  </a:lnTo>
                  <a:lnTo>
                    <a:pt x="246" y="42"/>
                  </a:lnTo>
                  <a:lnTo>
                    <a:pt x="240" y="72"/>
                  </a:lnTo>
                  <a:lnTo>
                    <a:pt x="246" y="78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8" y="108"/>
                  </a:lnTo>
                  <a:lnTo>
                    <a:pt x="276" y="114"/>
                  </a:lnTo>
                  <a:lnTo>
                    <a:pt x="294" y="150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82" y="186"/>
                  </a:lnTo>
                  <a:lnTo>
                    <a:pt x="282" y="192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76" y="216"/>
                  </a:lnTo>
                  <a:lnTo>
                    <a:pt x="288" y="240"/>
                  </a:lnTo>
                  <a:lnTo>
                    <a:pt x="312" y="228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66" y="228"/>
                  </a:lnTo>
                  <a:lnTo>
                    <a:pt x="372" y="228"/>
                  </a:lnTo>
                  <a:lnTo>
                    <a:pt x="372" y="222"/>
                  </a:lnTo>
                  <a:lnTo>
                    <a:pt x="378" y="222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6" y="222"/>
                  </a:lnTo>
                  <a:lnTo>
                    <a:pt x="402" y="222"/>
                  </a:lnTo>
                  <a:lnTo>
                    <a:pt x="402" y="228"/>
                  </a:lnTo>
                  <a:lnTo>
                    <a:pt x="408" y="228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26" y="216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68" y="258"/>
                  </a:lnTo>
                  <a:lnTo>
                    <a:pt x="462" y="264"/>
                  </a:lnTo>
                  <a:lnTo>
                    <a:pt x="468" y="264"/>
                  </a:lnTo>
                  <a:lnTo>
                    <a:pt x="468" y="270"/>
                  </a:lnTo>
                  <a:lnTo>
                    <a:pt x="474" y="270"/>
                  </a:lnTo>
                  <a:lnTo>
                    <a:pt x="480" y="276"/>
                  </a:lnTo>
                  <a:lnTo>
                    <a:pt x="474" y="282"/>
                  </a:lnTo>
                  <a:lnTo>
                    <a:pt x="474" y="288"/>
                  </a:lnTo>
                  <a:lnTo>
                    <a:pt x="462" y="294"/>
                  </a:lnTo>
                  <a:lnTo>
                    <a:pt x="468" y="324"/>
                  </a:lnTo>
                  <a:lnTo>
                    <a:pt x="462" y="336"/>
                  </a:lnTo>
                  <a:lnTo>
                    <a:pt x="456" y="354"/>
                  </a:lnTo>
                  <a:lnTo>
                    <a:pt x="432" y="390"/>
                  </a:lnTo>
                  <a:lnTo>
                    <a:pt x="420" y="390"/>
                  </a:lnTo>
                  <a:lnTo>
                    <a:pt x="402" y="390"/>
                  </a:lnTo>
                  <a:lnTo>
                    <a:pt x="396" y="396"/>
                  </a:lnTo>
                  <a:lnTo>
                    <a:pt x="390" y="396"/>
                  </a:lnTo>
                  <a:lnTo>
                    <a:pt x="390" y="402"/>
                  </a:lnTo>
                  <a:lnTo>
                    <a:pt x="384" y="402"/>
                  </a:lnTo>
                  <a:lnTo>
                    <a:pt x="408" y="432"/>
                  </a:lnTo>
                  <a:lnTo>
                    <a:pt x="432" y="438"/>
                  </a:lnTo>
                  <a:lnTo>
                    <a:pt x="456" y="432"/>
                  </a:lnTo>
                  <a:lnTo>
                    <a:pt x="468" y="426"/>
                  </a:lnTo>
                  <a:lnTo>
                    <a:pt x="468" y="444"/>
                  </a:lnTo>
                  <a:lnTo>
                    <a:pt x="468" y="450"/>
                  </a:lnTo>
                  <a:lnTo>
                    <a:pt x="468" y="474"/>
                  </a:lnTo>
                  <a:lnTo>
                    <a:pt x="486" y="480"/>
                  </a:lnTo>
                  <a:lnTo>
                    <a:pt x="486" y="486"/>
                  </a:lnTo>
                  <a:lnTo>
                    <a:pt x="492" y="498"/>
                  </a:lnTo>
                  <a:lnTo>
                    <a:pt x="492" y="504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504" y="516"/>
                  </a:lnTo>
                  <a:lnTo>
                    <a:pt x="510" y="516"/>
                  </a:lnTo>
                  <a:lnTo>
                    <a:pt x="522" y="528"/>
                  </a:lnTo>
                  <a:lnTo>
                    <a:pt x="546" y="540"/>
                  </a:lnTo>
                  <a:lnTo>
                    <a:pt x="552" y="546"/>
                  </a:lnTo>
                  <a:lnTo>
                    <a:pt x="570" y="552"/>
                  </a:lnTo>
                  <a:lnTo>
                    <a:pt x="594" y="552"/>
                  </a:lnTo>
                  <a:lnTo>
                    <a:pt x="606" y="546"/>
                  </a:lnTo>
                  <a:lnTo>
                    <a:pt x="612" y="540"/>
                  </a:lnTo>
                  <a:lnTo>
                    <a:pt x="630" y="540"/>
                  </a:lnTo>
                  <a:lnTo>
                    <a:pt x="630" y="552"/>
                  </a:lnTo>
                  <a:lnTo>
                    <a:pt x="654" y="552"/>
                  </a:lnTo>
                  <a:lnTo>
                    <a:pt x="702" y="558"/>
                  </a:lnTo>
                  <a:lnTo>
                    <a:pt x="762" y="546"/>
                  </a:lnTo>
                  <a:lnTo>
                    <a:pt x="780" y="546"/>
                  </a:lnTo>
                  <a:lnTo>
                    <a:pt x="780" y="528"/>
                  </a:lnTo>
                  <a:lnTo>
                    <a:pt x="798" y="522"/>
                  </a:lnTo>
                  <a:lnTo>
                    <a:pt x="810" y="510"/>
                  </a:lnTo>
                  <a:lnTo>
                    <a:pt x="810" y="504"/>
                  </a:lnTo>
                  <a:lnTo>
                    <a:pt x="828" y="492"/>
                  </a:lnTo>
                  <a:lnTo>
                    <a:pt x="888" y="486"/>
                  </a:lnTo>
                  <a:lnTo>
                    <a:pt x="912" y="486"/>
                  </a:lnTo>
                  <a:lnTo>
                    <a:pt x="930" y="474"/>
                  </a:lnTo>
                  <a:lnTo>
                    <a:pt x="918" y="456"/>
                  </a:lnTo>
                  <a:lnTo>
                    <a:pt x="912" y="450"/>
                  </a:lnTo>
                  <a:lnTo>
                    <a:pt x="918" y="390"/>
                  </a:lnTo>
                  <a:lnTo>
                    <a:pt x="954" y="396"/>
                  </a:lnTo>
                  <a:lnTo>
                    <a:pt x="984" y="402"/>
                  </a:lnTo>
                  <a:lnTo>
                    <a:pt x="1014" y="420"/>
                  </a:lnTo>
                  <a:lnTo>
                    <a:pt x="1026" y="432"/>
                  </a:lnTo>
                  <a:lnTo>
                    <a:pt x="1044" y="450"/>
                  </a:lnTo>
                  <a:lnTo>
                    <a:pt x="1062" y="462"/>
                  </a:lnTo>
                  <a:lnTo>
                    <a:pt x="1098" y="468"/>
                  </a:lnTo>
                  <a:lnTo>
                    <a:pt x="1128" y="480"/>
                  </a:lnTo>
                  <a:lnTo>
                    <a:pt x="1152" y="486"/>
                  </a:lnTo>
                  <a:lnTo>
                    <a:pt x="1188" y="498"/>
                  </a:lnTo>
                  <a:lnTo>
                    <a:pt x="1212" y="504"/>
                  </a:lnTo>
                  <a:lnTo>
                    <a:pt x="1224" y="528"/>
                  </a:lnTo>
                  <a:lnTo>
                    <a:pt x="1236" y="540"/>
                  </a:lnTo>
                  <a:lnTo>
                    <a:pt x="1254" y="540"/>
                  </a:lnTo>
                  <a:lnTo>
                    <a:pt x="1254" y="546"/>
                  </a:lnTo>
                  <a:lnTo>
                    <a:pt x="1260" y="552"/>
                  </a:lnTo>
                  <a:lnTo>
                    <a:pt x="1266" y="552"/>
                  </a:lnTo>
                  <a:lnTo>
                    <a:pt x="1266" y="558"/>
                  </a:lnTo>
                  <a:lnTo>
                    <a:pt x="1272" y="564"/>
                  </a:lnTo>
                  <a:lnTo>
                    <a:pt x="1278" y="564"/>
                  </a:lnTo>
                  <a:lnTo>
                    <a:pt x="1278" y="570"/>
                  </a:lnTo>
                  <a:lnTo>
                    <a:pt x="1284" y="576"/>
                  </a:lnTo>
                  <a:lnTo>
                    <a:pt x="1290" y="582"/>
                  </a:lnTo>
                  <a:lnTo>
                    <a:pt x="1296" y="582"/>
                  </a:lnTo>
                  <a:lnTo>
                    <a:pt x="1296" y="588"/>
                  </a:lnTo>
                  <a:lnTo>
                    <a:pt x="1308" y="594"/>
                  </a:lnTo>
                  <a:lnTo>
                    <a:pt x="1308" y="600"/>
                  </a:lnTo>
                  <a:lnTo>
                    <a:pt x="1308" y="606"/>
                  </a:lnTo>
                  <a:lnTo>
                    <a:pt x="1314" y="612"/>
                  </a:lnTo>
                  <a:lnTo>
                    <a:pt x="1308" y="618"/>
                  </a:lnTo>
                  <a:lnTo>
                    <a:pt x="1314" y="618"/>
                  </a:lnTo>
                  <a:lnTo>
                    <a:pt x="1314" y="624"/>
                  </a:lnTo>
                  <a:lnTo>
                    <a:pt x="1308" y="624"/>
                  </a:lnTo>
                  <a:lnTo>
                    <a:pt x="1302" y="630"/>
                  </a:lnTo>
                  <a:lnTo>
                    <a:pt x="1302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296" y="654"/>
                  </a:lnTo>
                  <a:lnTo>
                    <a:pt x="1302" y="660"/>
                  </a:lnTo>
                  <a:lnTo>
                    <a:pt x="1302" y="666"/>
                  </a:lnTo>
                  <a:lnTo>
                    <a:pt x="1308" y="666"/>
                  </a:lnTo>
                  <a:lnTo>
                    <a:pt x="1308" y="672"/>
                  </a:lnTo>
                  <a:lnTo>
                    <a:pt x="1308" y="678"/>
                  </a:lnTo>
                  <a:lnTo>
                    <a:pt x="1308" y="684"/>
                  </a:lnTo>
                  <a:lnTo>
                    <a:pt x="1308" y="690"/>
                  </a:lnTo>
                  <a:lnTo>
                    <a:pt x="1302" y="696"/>
                  </a:lnTo>
                  <a:lnTo>
                    <a:pt x="1302" y="702"/>
                  </a:lnTo>
                  <a:lnTo>
                    <a:pt x="1308" y="702"/>
                  </a:lnTo>
                  <a:lnTo>
                    <a:pt x="1302" y="708"/>
                  </a:lnTo>
                  <a:lnTo>
                    <a:pt x="1308" y="714"/>
                  </a:lnTo>
                  <a:lnTo>
                    <a:pt x="1308" y="720"/>
                  </a:lnTo>
                  <a:lnTo>
                    <a:pt x="1308" y="726"/>
                  </a:lnTo>
                  <a:lnTo>
                    <a:pt x="1308" y="732"/>
                  </a:lnTo>
                  <a:lnTo>
                    <a:pt x="1314" y="732"/>
                  </a:lnTo>
                  <a:lnTo>
                    <a:pt x="1314" y="738"/>
                  </a:lnTo>
                  <a:lnTo>
                    <a:pt x="1320" y="744"/>
                  </a:lnTo>
                  <a:lnTo>
                    <a:pt x="1326" y="750"/>
                  </a:lnTo>
                  <a:lnTo>
                    <a:pt x="1320" y="750"/>
                  </a:lnTo>
                  <a:lnTo>
                    <a:pt x="1320" y="756"/>
                  </a:lnTo>
                  <a:lnTo>
                    <a:pt x="1314" y="756"/>
                  </a:lnTo>
                  <a:lnTo>
                    <a:pt x="1314" y="762"/>
                  </a:lnTo>
                  <a:lnTo>
                    <a:pt x="1314" y="768"/>
                  </a:lnTo>
                  <a:lnTo>
                    <a:pt x="1320" y="768"/>
                  </a:lnTo>
                  <a:lnTo>
                    <a:pt x="1320" y="762"/>
                  </a:lnTo>
                  <a:lnTo>
                    <a:pt x="1320" y="768"/>
                  </a:lnTo>
                  <a:lnTo>
                    <a:pt x="1326" y="774"/>
                  </a:lnTo>
                  <a:lnTo>
                    <a:pt x="1332" y="774"/>
                  </a:lnTo>
                  <a:lnTo>
                    <a:pt x="1332" y="780"/>
                  </a:lnTo>
                  <a:lnTo>
                    <a:pt x="1332" y="786"/>
                  </a:lnTo>
                  <a:lnTo>
                    <a:pt x="1332" y="792"/>
                  </a:lnTo>
                  <a:lnTo>
                    <a:pt x="1338" y="786"/>
                  </a:lnTo>
                  <a:lnTo>
                    <a:pt x="1338" y="792"/>
                  </a:lnTo>
                  <a:lnTo>
                    <a:pt x="1344" y="798"/>
                  </a:lnTo>
                  <a:lnTo>
                    <a:pt x="1344" y="804"/>
                  </a:lnTo>
                  <a:lnTo>
                    <a:pt x="1344" y="810"/>
                  </a:lnTo>
                  <a:lnTo>
                    <a:pt x="1344" y="816"/>
                  </a:lnTo>
                  <a:lnTo>
                    <a:pt x="1344" y="822"/>
                  </a:lnTo>
                  <a:lnTo>
                    <a:pt x="1338" y="828"/>
                  </a:lnTo>
                  <a:lnTo>
                    <a:pt x="1332" y="828"/>
                  </a:lnTo>
                  <a:lnTo>
                    <a:pt x="1338" y="840"/>
                  </a:lnTo>
                  <a:lnTo>
                    <a:pt x="1344" y="846"/>
                  </a:lnTo>
                  <a:lnTo>
                    <a:pt x="1344" y="852"/>
                  </a:lnTo>
                  <a:lnTo>
                    <a:pt x="1350" y="852"/>
                  </a:lnTo>
                  <a:lnTo>
                    <a:pt x="1356" y="858"/>
                  </a:lnTo>
                  <a:lnTo>
                    <a:pt x="1362" y="858"/>
                  </a:lnTo>
                  <a:lnTo>
                    <a:pt x="1362" y="870"/>
                  </a:lnTo>
                  <a:lnTo>
                    <a:pt x="1356" y="870"/>
                  </a:lnTo>
                  <a:lnTo>
                    <a:pt x="1356" y="876"/>
                  </a:lnTo>
                  <a:lnTo>
                    <a:pt x="1350" y="876"/>
                  </a:lnTo>
                  <a:lnTo>
                    <a:pt x="1344" y="876"/>
                  </a:lnTo>
                  <a:lnTo>
                    <a:pt x="1344" y="882"/>
                  </a:lnTo>
                  <a:lnTo>
                    <a:pt x="1338" y="882"/>
                  </a:lnTo>
                  <a:lnTo>
                    <a:pt x="1338" y="888"/>
                  </a:lnTo>
                  <a:lnTo>
                    <a:pt x="1338" y="894"/>
                  </a:lnTo>
                  <a:lnTo>
                    <a:pt x="1344" y="900"/>
                  </a:lnTo>
                  <a:lnTo>
                    <a:pt x="1344" y="906"/>
                  </a:lnTo>
                  <a:lnTo>
                    <a:pt x="1338" y="906"/>
                  </a:lnTo>
                  <a:lnTo>
                    <a:pt x="1332" y="912"/>
                  </a:lnTo>
                  <a:lnTo>
                    <a:pt x="1332" y="918"/>
                  </a:lnTo>
                  <a:lnTo>
                    <a:pt x="1326" y="918"/>
                  </a:lnTo>
                  <a:lnTo>
                    <a:pt x="1332" y="924"/>
                  </a:lnTo>
                  <a:lnTo>
                    <a:pt x="1284" y="942"/>
                  </a:lnTo>
                  <a:lnTo>
                    <a:pt x="1236" y="948"/>
                  </a:lnTo>
                  <a:lnTo>
                    <a:pt x="1194" y="966"/>
                  </a:lnTo>
                  <a:lnTo>
                    <a:pt x="1170" y="1002"/>
                  </a:lnTo>
                  <a:lnTo>
                    <a:pt x="1134" y="1020"/>
                  </a:lnTo>
                  <a:lnTo>
                    <a:pt x="1116" y="1032"/>
                  </a:lnTo>
                  <a:lnTo>
                    <a:pt x="1098" y="1050"/>
                  </a:lnTo>
                  <a:lnTo>
                    <a:pt x="1074" y="1074"/>
                  </a:lnTo>
                  <a:lnTo>
                    <a:pt x="1008" y="1134"/>
                  </a:lnTo>
                  <a:lnTo>
                    <a:pt x="990" y="1158"/>
                  </a:lnTo>
                  <a:lnTo>
                    <a:pt x="978" y="1182"/>
                  </a:lnTo>
                  <a:lnTo>
                    <a:pt x="960" y="1194"/>
                  </a:lnTo>
                  <a:lnTo>
                    <a:pt x="942" y="1212"/>
                  </a:lnTo>
                  <a:lnTo>
                    <a:pt x="912" y="1242"/>
                  </a:lnTo>
                  <a:lnTo>
                    <a:pt x="888" y="1254"/>
                  </a:lnTo>
                  <a:lnTo>
                    <a:pt x="864" y="1278"/>
                  </a:lnTo>
                  <a:lnTo>
                    <a:pt x="828" y="1296"/>
                  </a:lnTo>
                  <a:lnTo>
                    <a:pt x="774" y="1308"/>
                  </a:lnTo>
                  <a:lnTo>
                    <a:pt x="732" y="1302"/>
                  </a:lnTo>
                  <a:lnTo>
                    <a:pt x="702" y="1284"/>
                  </a:lnTo>
                  <a:lnTo>
                    <a:pt x="684" y="12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1" name="Freeform 16">
              <a:extLst>
                <a:ext uri="{FF2B5EF4-FFF2-40B4-BE49-F238E27FC236}">
                  <a16:creationId xmlns:a16="http://schemas.microsoft.com/office/drawing/2014/main" id="{D8D8591A-D9DB-4301-BEBD-D8F5A26DA9E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3001" y="2929369"/>
              <a:ext cx="914601" cy="1037736"/>
            </a:xfrm>
            <a:custGeom>
              <a:avLst/>
              <a:gdLst>
                <a:gd name="T0" fmla="*/ 144 w 1722"/>
                <a:gd name="T1" fmla="*/ 131 h 1956"/>
                <a:gd name="T2" fmla="*/ 142 w 1722"/>
                <a:gd name="T3" fmla="*/ 139 h 1956"/>
                <a:gd name="T4" fmla="*/ 137 w 1722"/>
                <a:gd name="T5" fmla="*/ 143 h 1956"/>
                <a:gd name="T6" fmla="*/ 133 w 1722"/>
                <a:gd name="T7" fmla="*/ 147 h 1956"/>
                <a:gd name="T8" fmla="*/ 132 w 1722"/>
                <a:gd name="T9" fmla="*/ 152 h 1956"/>
                <a:gd name="T10" fmla="*/ 130 w 1722"/>
                <a:gd name="T11" fmla="*/ 159 h 1956"/>
                <a:gd name="T12" fmla="*/ 127 w 1722"/>
                <a:gd name="T13" fmla="*/ 164 h 1956"/>
                <a:gd name="T14" fmla="*/ 123 w 1722"/>
                <a:gd name="T15" fmla="*/ 168 h 1956"/>
                <a:gd name="T16" fmla="*/ 117 w 1722"/>
                <a:gd name="T17" fmla="*/ 169 h 1956"/>
                <a:gd name="T18" fmla="*/ 110 w 1722"/>
                <a:gd name="T19" fmla="*/ 168 h 1956"/>
                <a:gd name="T20" fmla="*/ 104 w 1722"/>
                <a:gd name="T21" fmla="*/ 166 h 1956"/>
                <a:gd name="T22" fmla="*/ 101 w 1722"/>
                <a:gd name="T23" fmla="*/ 159 h 1956"/>
                <a:gd name="T24" fmla="*/ 95 w 1722"/>
                <a:gd name="T25" fmla="*/ 156 h 1956"/>
                <a:gd name="T26" fmla="*/ 89 w 1722"/>
                <a:gd name="T27" fmla="*/ 151 h 1956"/>
                <a:gd name="T28" fmla="*/ 87 w 1722"/>
                <a:gd name="T29" fmla="*/ 144 h 1956"/>
                <a:gd name="T30" fmla="*/ 82 w 1722"/>
                <a:gd name="T31" fmla="*/ 141 h 1956"/>
                <a:gd name="T32" fmla="*/ 76 w 1722"/>
                <a:gd name="T33" fmla="*/ 134 h 1956"/>
                <a:gd name="T34" fmla="*/ 74 w 1722"/>
                <a:gd name="T35" fmla="*/ 143 h 1956"/>
                <a:gd name="T36" fmla="*/ 68 w 1722"/>
                <a:gd name="T37" fmla="*/ 147 h 1956"/>
                <a:gd name="T38" fmla="*/ 54 w 1722"/>
                <a:gd name="T39" fmla="*/ 144 h 1956"/>
                <a:gd name="T40" fmla="*/ 51 w 1722"/>
                <a:gd name="T41" fmla="*/ 142 h 1956"/>
                <a:gd name="T42" fmla="*/ 42 w 1722"/>
                <a:gd name="T43" fmla="*/ 151 h 1956"/>
                <a:gd name="T44" fmla="*/ 33 w 1722"/>
                <a:gd name="T45" fmla="*/ 154 h 1956"/>
                <a:gd name="T46" fmla="*/ 31 w 1722"/>
                <a:gd name="T47" fmla="*/ 159 h 1956"/>
                <a:gd name="T48" fmla="*/ 29 w 1722"/>
                <a:gd name="T49" fmla="*/ 166 h 1956"/>
                <a:gd name="T50" fmla="*/ 25 w 1722"/>
                <a:gd name="T51" fmla="*/ 169 h 1956"/>
                <a:gd name="T52" fmla="*/ 27 w 1722"/>
                <a:gd name="T53" fmla="*/ 154 h 1956"/>
                <a:gd name="T54" fmla="*/ 37 w 1722"/>
                <a:gd name="T55" fmla="*/ 133 h 1956"/>
                <a:gd name="T56" fmla="*/ 36 w 1722"/>
                <a:gd name="T57" fmla="*/ 109 h 1956"/>
                <a:gd name="T58" fmla="*/ 27 w 1722"/>
                <a:gd name="T59" fmla="*/ 101 h 1956"/>
                <a:gd name="T60" fmla="*/ 5 w 1722"/>
                <a:gd name="T61" fmla="*/ 98 h 1956"/>
                <a:gd name="T62" fmla="*/ 2 w 1722"/>
                <a:gd name="T63" fmla="*/ 93 h 1956"/>
                <a:gd name="T64" fmla="*/ 12 w 1722"/>
                <a:gd name="T65" fmla="*/ 82 h 1956"/>
                <a:gd name="T66" fmla="*/ 9 w 1722"/>
                <a:gd name="T67" fmla="*/ 74 h 1956"/>
                <a:gd name="T68" fmla="*/ 23 w 1722"/>
                <a:gd name="T69" fmla="*/ 72 h 1956"/>
                <a:gd name="T70" fmla="*/ 22 w 1722"/>
                <a:gd name="T71" fmla="*/ 67 h 1956"/>
                <a:gd name="T72" fmla="*/ 48 w 1722"/>
                <a:gd name="T73" fmla="*/ 57 h 1956"/>
                <a:gd name="T74" fmla="*/ 78 w 1722"/>
                <a:gd name="T75" fmla="*/ 34 h 1956"/>
                <a:gd name="T76" fmla="*/ 81 w 1722"/>
                <a:gd name="T77" fmla="*/ 31 h 1956"/>
                <a:gd name="T78" fmla="*/ 80 w 1722"/>
                <a:gd name="T79" fmla="*/ 26 h 1956"/>
                <a:gd name="T80" fmla="*/ 78 w 1722"/>
                <a:gd name="T81" fmla="*/ 21 h 1956"/>
                <a:gd name="T82" fmla="*/ 77 w 1722"/>
                <a:gd name="T83" fmla="*/ 18 h 1956"/>
                <a:gd name="T84" fmla="*/ 77 w 1722"/>
                <a:gd name="T85" fmla="*/ 12 h 1956"/>
                <a:gd name="T86" fmla="*/ 77 w 1722"/>
                <a:gd name="T87" fmla="*/ 7 h 1956"/>
                <a:gd name="T88" fmla="*/ 102 w 1722"/>
                <a:gd name="T89" fmla="*/ 2 h 1956"/>
                <a:gd name="T90" fmla="*/ 115 w 1722"/>
                <a:gd name="T91" fmla="*/ 3 h 1956"/>
                <a:gd name="T92" fmla="*/ 123 w 1722"/>
                <a:gd name="T93" fmla="*/ 3 h 1956"/>
                <a:gd name="T94" fmla="*/ 125 w 1722"/>
                <a:gd name="T95" fmla="*/ 9 h 1956"/>
                <a:gd name="T96" fmla="*/ 133 w 1722"/>
                <a:gd name="T97" fmla="*/ 13 h 1956"/>
                <a:gd name="T98" fmla="*/ 149 w 1722"/>
                <a:gd name="T99" fmla="*/ 37 h 1956"/>
                <a:gd name="T100" fmla="*/ 141 w 1722"/>
                <a:gd name="T101" fmla="*/ 57 h 1956"/>
                <a:gd name="T102" fmla="*/ 135 w 1722"/>
                <a:gd name="T103" fmla="*/ 63 h 1956"/>
                <a:gd name="T104" fmla="*/ 124 w 1722"/>
                <a:gd name="T105" fmla="*/ 77 h 1956"/>
                <a:gd name="T106" fmla="*/ 123 w 1722"/>
                <a:gd name="T107" fmla="*/ 96 h 1956"/>
                <a:gd name="T108" fmla="*/ 127 w 1722"/>
                <a:gd name="T109" fmla="*/ 97 h 1956"/>
                <a:gd name="T110" fmla="*/ 129 w 1722"/>
                <a:gd name="T111" fmla="*/ 92 h 1956"/>
                <a:gd name="T112" fmla="*/ 134 w 1722"/>
                <a:gd name="T113" fmla="*/ 94 h 1956"/>
                <a:gd name="T114" fmla="*/ 138 w 1722"/>
                <a:gd name="T115" fmla="*/ 99 h 1956"/>
                <a:gd name="T116" fmla="*/ 142 w 1722"/>
                <a:gd name="T117" fmla="*/ 104 h 1956"/>
                <a:gd name="T118" fmla="*/ 141 w 1722"/>
                <a:gd name="T119" fmla="*/ 115 h 19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722"/>
                <a:gd name="T181" fmla="*/ 0 h 1956"/>
                <a:gd name="T182" fmla="*/ 1722 w 1722"/>
                <a:gd name="T183" fmla="*/ 1956 h 19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722" h="1956">
                  <a:moveTo>
                    <a:pt x="1686" y="1404"/>
                  </a:moveTo>
                  <a:lnTo>
                    <a:pt x="1680" y="1416"/>
                  </a:lnTo>
                  <a:lnTo>
                    <a:pt x="1674" y="1422"/>
                  </a:lnTo>
                  <a:lnTo>
                    <a:pt x="1674" y="1428"/>
                  </a:lnTo>
                  <a:lnTo>
                    <a:pt x="1668" y="1428"/>
                  </a:lnTo>
                  <a:lnTo>
                    <a:pt x="1668" y="1434"/>
                  </a:lnTo>
                  <a:lnTo>
                    <a:pt x="1662" y="1446"/>
                  </a:lnTo>
                  <a:lnTo>
                    <a:pt x="1656" y="1464"/>
                  </a:lnTo>
                  <a:lnTo>
                    <a:pt x="1656" y="1476"/>
                  </a:lnTo>
                  <a:lnTo>
                    <a:pt x="1656" y="1488"/>
                  </a:lnTo>
                  <a:lnTo>
                    <a:pt x="1662" y="1500"/>
                  </a:lnTo>
                  <a:lnTo>
                    <a:pt x="1662" y="1506"/>
                  </a:lnTo>
                  <a:lnTo>
                    <a:pt x="1662" y="1524"/>
                  </a:lnTo>
                  <a:lnTo>
                    <a:pt x="1668" y="1542"/>
                  </a:lnTo>
                  <a:lnTo>
                    <a:pt x="1674" y="1560"/>
                  </a:lnTo>
                  <a:lnTo>
                    <a:pt x="1680" y="1578"/>
                  </a:lnTo>
                  <a:lnTo>
                    <a:pt x="1686" y="1578"/>
                  </a:lnTo>
                  <a:lnTo>
                    <a:pt x="1686" y="1584"/>
                  </a:lnTo>
                  <a:lnTo>
                    <a:pt x="1686" y="1590"/>
                  </a:lnTo>
                  <a:lnTo>
                    <a:pt x="1686" y="1596"/>
                  </a:lnTo>
                  <a:lnTo>
                    <a:pt x="1680" y="1596"/>
                  </a:lnTo>
                  <a:lnTo>
                    <a:pt x="1674" y="1602"/>
                  </a:lnTo>
                  <a:lnTo>
                    <a:pt x="1662" y="1602"/>
                  </a:lnTo>
                  <a:lnTo>
                    <a:pt x="1638" y="1596"/>
                  </a:lnTo>
                  <a:lnTo>
                    <a:pt x="1632" y="1596"/>
                  </a:lnTo>
                  <a:lnTo>
                    <a:pt x="1626" y="1602"/>
                  </a:lnTo>
                  <a:lnTo>
                    <a:pt x="1620" y="1602"/>
                  </a:lnTo>
                  <a:lnTo>
                    <a:pt x="1614" y="1602"/>
                  </a:lnTo>
                  <a:lnTo>
                    <a:pt x="1602" y="1602"/>
                  </a:lnTo>
                  <a:lnTo>
                    <a:pt x="1602" y="1608"/>
                  </a:lnTo>
                  <a:lnTo>
                    <a:pt x="1602" y="1620"/>
                  </a:lnTo>
                  <a:lnTo>
                    <a:pt x="1596" y="1620"/>
                  </a:lnTo>
                  <a:lnTo>
                    <a:pt x="1590" y="1620"/>
                  </a:lnTo>
                  <a:lnTo>
                    <a:pt x="1584" y="1626"/>
                  </a:lnTo>
                  <a:lnTo>
                    <a:pt x="1584" y="1632"/>
                  </a:lnTo>
                  <a:lnTo>
                    <a:pt x="1578" y="1644"/>
                  </a:lnTo>
                  <a:lnTo>
                    <a:pt x="1572" y="1644"/>
                  </a:lnTo>
                  <a:lnTo>
                    <a:pt x="1566" y="1644"/>
                  </a:lnTo>
                  <a:lnTo>
                    <a:pt x="1566" y="1650"/>
                  </a:lnTo>
                  <a:lnTo>
                    <a:pt x="1560" y="1650"/>
                  </a:lnTo>
                  <a:lnTo>
                    <a:pt x="1554" y="1650"/>
                  </a:lnTo>
                  <a:lnTo>
                    <a:pt x="1548" y="1650"/>
                  </a:lnTo>
                  <a:lnTo>
                    <a:pt x="1548" y="1656"/>
                  </a:lnTo>
                  <a:lnTo>
                    <a:pt x="1542" y="1668"/>
                  </a:lnTo>
                  <a:lnTo>
                    <a:pt x="1542" y="1674"/>
                  </a:lnTo>
                  <a:lnTo>
                    <a:pt x="1542" y="1692"/>
                  </a:lnTo>
                  <a:lnTo>
                    <a:pt x="1536" y="1698"/>
                  </a:lnTo>
                  <a:lnTo>
                    <a:pt x="1530" y="1698"/>
                  </a:lnTo>
                  <a:lnTo>
                    <a:pt x="1524" y="1698"/>
                  </a:lnTo>
                  <a:lnTo>
                    <a:pt x="1518" y="1704"/>
                  </a:lnTo>
                  <a:lnTo>
                    <a:pt x="1512" y="1710"/>
                  </a:lnTo>
                  <a:lnTo>
                    <a:pt x="1506" y="1722"/>
                  </a:lnTo>
                  <a:lnTo>
                    <a:pt x="1500" y="1728"/>
                  </a:lnTo>
                  <a:lnTo>
                    <a:pt x="1500" y="1734"/>
                  </a:lnTo>
                  <a:lnTo>
                    <a:pt x="1512" y="1734"/>
                  </a:lnTo>
                  <a:lnTo>
                    <a:pt x="1518" y="1740"/>
                  </a:lnTo>
                  <a:lnTo>
                    <a:pt x="1518" y="1746"/>
                  </a:lnTo>
                  <a:lnTo>
                    <a:pt x="1518" y="1752"/>
                  </a:lnTo>
                  <a:lnTo>
                    <a:pt x="1518" y="1758"/>
                  </a:lnTo>
                  <a:lnTo>
                    <a:pt x="1524" y="1758"/>
                  </a:lnTo>
                  <a:lnTo>
                    <a:pt x="1524" y="1764"/>
                  </a:lnTo>
                  <a:lnTo>
                    <a:pt x="1530" y="1770"/>
                  </a:lnTo>
                  <a:lnTo>
                    <a:pt x="1518" y="1770"/>
                  </a:lnTo>
                  <a:lnTo>
                    <a:pt x="1512" y="1782"/>
                  </a:lnTo>
                  <a:lnTo>
                    <a:pt x="1512" y="1788"/>
                  </a:lnTo>
                  <a:lnTo>
                    <a:pt x="1518" y="1788"/>
                  </a:lnTo>
                  <a:lnTo>
                    <a:pt x="1524" y="1800"/>
                  </a:lnTo>
                  <a:lnTo>
                    <a:pt x="1524" y="1806"/>
                  </a:lnTo>
                  <a:lnTo>
                    <a:pt x="1518" y="1812"/>
                  </a:lnTo>
                  <a:lnTo>
                    <a:pt x="1512" y="1818"/>
                  </a:lnTo>
                  <a:lnTo>
                    <a:pt x="1506" y="1818"/>
                  </a:lnTo>
                  <a:lnTo>
                    <a:pt x="1500" y="1824"/>
                  </a:lnTo>
                  <a:lnTo>
                    <a:pt x="1500" y="1836"/>
                  </a:lnTo>
                  <a:lnTo>
                    <a:pt x="1500" y="1842"/>
                  </a:lnTo>
                  <a:lnTo>
                    <a:pt x="1500" y="1848"/>
                  </a:lnTo>
                  <a:lnTo>
                    <a:pt x="1500" y="1854"/>
                  </a:lnTo>
                  <a:lnTo>
                    <a:pt x="1494" y="1860"/>
                  </a:lnTo>
                  <a:lnTo>
                    <a:pt x="1488" y="1860"/>
                  </a:lnTo>
                  <a:lnTo>
                    <a:pt x="1488" y="1866"/>
                  </a:lnTo>
                  <a:lnTo>
                    <a:pt x="1482" y="1872"/>
                  </a:lnTo>
                  <a:lnTo>
                    <a:pt x="1482" y="1878"/>
                  </a:lnTo>
                  <a:lnTo>
                    <a:pt x="1482" y="1884"/>
                  </a:lnTo>
                  <a:lnTo>
                    <a:pt x="1476" y="1890"/>
                  </a:lnTo>
                  <a:lnTo>
                    <a:pt x="1470" y="1890"/>
                  </a:lnTo>
                  <a:lnTo>
                    <a:pt x="1470" y="1896"/>
                  </a:lnTo>
                  <a:lnTo>
                    <a:pt x="1464" y="1896"/>
                  </a:lnTo>
                  <a:lnTo>
                    <a:pt x="1458" y="1896"/>
                  </a:lnTo>
                  <a:lnTo>
                    <a:pt x="1452" y="1896"/>
                  </a:lnTo>
                  <a:lnTo>
                    <a:pt x="1440" y="1890"/>
                  </a:lnTo>
                  <a:lnTo>
                    <a:pt x="1434" y="1896"/>
                  </a:lnTo>
                  <a:lnTo>
                    <a:pt x="1428" y="1896"/>
                  </a:lnTo>
                  <a:lnTo>
                    <a:pt x="1422" y="1896"/>
                  </a:lnTo>
                  <a:lnTo>
                    <a:pt x="1422" y="1902"/>
                  </a:lnTo>
                  <a:lnTo>
                    <a:pt x="1416" y="1902"/>
                  </a:lnTo>
                  <a:lnTo>
                    <a:pt x="1422" y="1914"/>
                  </a:lnTo>
                  <a:lnTo>
                    <a:pt x="1422" y="1932"/>
                  </a:lnTo>
                  <a:lnTo>
                    <a:pt x="1416" y="1938"/>
                  </a:lnTo>
                  <a:lnTo>
                    <a:pt x="1422" y="1938"/>
                  </a:lnTo>
                  <a:lnTo>
                    <a:pt x="1404" y="1938"/>
                  </a:lnTo>
                  <a:lnTo>
                    <a:pt x="1392" y="1944"/>
                  </a:lnTo>
                  <a:lnTo>
                    <a:pt x="1386" y="1944"/>
                  </a:lnTo>
                  <a:lnTo>
                    <a:pt x="1374" y="1944"/>
                  </a:lnTo>
                  <a:lnTo>
                    <a:pt x="1368" y="1950"/>
                  </a:lnTo>
                  <a:lnTo>
                    <a:pt x="1374" y="1956"/>
                  </a:lnTo>
                  <a:lnTo>
                    <a:pt x="1368" y="1956"/>
                  </a:lnTo>
                  <a:lnTo>
                    <a:pt x="1356" y="1956"/>
                  </a:lnTo>
                  <a:lnTo>
                    <a:pt x="1350" y="1956"/>
                  </a:lnTo>
                  <a:lnTo>
                    <a:pt x="1350" y="1950"/>
                  </a:lnTo>
                  <a:lnTo>
                    <a:pt x="1344" y="1944"/>
                  </a:lnTo>
                  <a:lnTo>
                    <a:pt x="1332" y="1938"/>
                  </a:lnTo>
                  <a:lnTo>
                    <a:pt x="1326" y="1938"/>
                  </a:lnTo>
                  <a:lnTo>
                    <a:pt x="1320" y="1938"/>
                  </a:lnTo>
                  <a:lnTo>
                    <a:pt x="1314" y="1944"/>
                  </a:lnTo>
                  <a:lnTo>
                    <a:pt x="1308" y="1944"/>
                  </a:lnTo>
                  <a:lnTo>
                    <a:pt x="1302" y="1944"/>
                  </a:lnTo>
                  <a:lnTo>
                    <a:pt x="1296" y="1938"/>
                  </a:lnTo>
                  <a:lnTo>
                    <a:pt x="1284" y="1938"/>
                  </a:lnTo>
                  <a:lnTo>
                    <a:pt x="1278" y="1938"/>
                  </a:lnTo>
                  <a:lnTo>
                    <a:pt x="1272" y="1938"/>
                  </a:lnTo>
                  <a:lnTo>
                    <a:pt x="1266" y="1932"/>
                  </a:lnTo>
                  <a:lnTo>
                    <a:pt x="1260" y="1932"/>
                  </a:lnTo>
                  <a:lnTo>
                    <a:pt x="1254" y="1920"/>
                  </a:lnTo>
                  <a:lnTo>
                    <a:pt x="1248" y="1920"/>
                  </a:lnTo>
                  <a:lnTo>
                    <a:pt x="1242" y="1920"/>
                  </a:lnTo>
                  <a:lnTo>
                    <a:pt x="1236" y="1926"/>
                  </a:lnTo>
                  <a:lnTo>
                    <a:pt x="1236" y="1932"/>
                  </a:lnTo>
                  <a:lnTo>
                    <a:pt x="1230" y="1932"/>
                  </a:lnTo>
                  <a:lnTo>
                    <a:pt x="1224" y="1932"/>
                  </a:lnTo>
                  <a:lnTo>
                    <a:pt x="1218" y="1938"/>
                  </a:lnTo>
                  <a:lnTo>
                    <a:pt x="1212" y="1932"/>
                  </a:lnTo>
                  <a:lnTo>
                    <a:pt x="1206" y="1926"/>
                  </a:lnTo>
                  <a:lnTo>
                    <a:pt x="1206" y="1908"/>
                  </a:lnTo>
                  <a:lnTo>
                    <a:pt x="1206" y="1884"/>
                  </a:lnTo>
                  <a:lnTo>
                    <a:pt x="1206" y="1866"/>
                  </a:lnTo>
                  <a:lnTo>
                    <a:pt x="1212" y="1848"/>
                  </a:lnTo>
                  <a:lnTo>
                    <a:pt x="1212" y="1842"/>
                  </a:lnTo>
                  <a:lnTo>
                    <a:pt x="1206" y="1836"/>
                  </a:lnTo>
                  <a:lnTo>
                    <a:pt x="1200" y="1830"/>
                  </a:lnTo>
                  <a:lnTo>
                    <a:pt x="1194" y="1824"/>
                  </a:lnTo>
                  <a:lnTo>
                    <a:pt x="1188" y="1824"/>
                  </a:lnTo>
                  <a:lnTo>
                    <a:pt x="1182" y="1824"/>
                  </a:lnTo>
                  <a:lnTo>
                    <a:pt x="1176" y="1824"/>
                  </a:lnTo>
                  <a:lnTo>
                    <a:pt x="1170" y="1818"/>
                  </a:lnTo>
                  <a:lnTo>
                    <a:pt x="1164" y="1830"/>
                  </a:lnTo>
                  <a:lnTo>
                    <a:pt x="1152" y="1836"/>
                  </a:lnTo>
                  <a:lnTo>
                    <a:pt x="1146" y="1842"/>
                  </a:lnTo>
                  <a:lnTo>
                    <a:pt x="1140" y="1842"/>
                  </a:lnTo>
                  <a:lnTo>
                    <a:pt x="1134" y="1842"/>
                  </a:lnTo>
                  <a:lnTo>
                    <a:pt x="1128" y="1842"/>
                  </a:lnTo>
                  <a:lnTo>
                    <a:pt x="1116" y="1836"/>
                  </a:lnTo>
                  <a:lnTo>
                    <a:pt x="1110" y="1842"/>
                  </a:lnTo>
                  <a:lnTo>
                    <a:pt x="1092" y="1830"/>
                  </a:lnTo>
                  <a:lnTo>
                    <a:pt x="1092" y="1824"/>
                  </a:lnTo>
                  <a:lnTo>
                    <a:pt x="1092" y="1806"/>
                  </a:lnTo>
                  <a:lnTo>
                    <a:pt x="1092" y="1800"/>
                  </a:lnTo>
                  <a:lnTo>
                    <a:pt x="1092" y="1794"/>
                  </a:lnTo>
                  <a:lnTo>
                    <a:pt x="1086" y="1788"/>
                  </a:lnTo>
                  <a:lnTo>
                    <a:pt x="1080" y="1794"/>
                  </a:lnTo>
                  <a:lnTo>
                    <a:pt x="1074" y="1788"/>
                  </a:lnTo>
                  <a:lnTo>
                    <a:pt x="1068" y="1770"/>
                  </a:lnTo>
                  <a:lnTo>
                    <a:pt x="1056" y="1764"/>
                  </a:lnTo>
                  <a:lnTo>
                    <a:pt x="1050" y="1764"/>
                  </a:lnTo>
                  <a:lnTo>
                    <a:pt x="1044" y="1764"/>
                  </a:lnTo>
                  <a:lnTo>
                    <a:pt x="1038" y="1758"/>
                  </a:lnTo>
                  <a:lnTo>
                    <a:pt x="1032" y="1752"/>
                  </a:lnTo>
                  <a:lnTo>
                    <a:pt x="1032" y="1746"/>
                  </a:lnTo>
                  <a:lnTo>
                    <a:pt x="1032" y="1740"/>
                  </a:lnTo>
                  <a:lnTo>
                    <a:pt x="1032" y="1734"/>
                  </a:lnTo>
                  <a:lnTo>
                    <a:pt x="1026" y="1734"/>
                  </a:lnTo>
                  <a:lnTo>
                    <a:pt x="1032" y="1728"/>
                  </a:lnTo>
                  <a:lnTo>
                    <a:pt x="1032" y="1722"/>
                  </a:lnTo>
                  <a:lnTo>
                    <a:pt x="1044" y="1686"/>
                  </a:lnTo>
                  <a:lnTo>
                    <a:pt x="1044" y="1680"/>
                  </a:lnTo>
                  <a:lnTo>
                    <a:pt x="1032" y="1674"/>
                  </a:lnTo>
                  <a:lnTo>
                    <a:pt x="1026" y="1674"/>
                  </a:lnTo>
                  <a:lnTo>
                    <a:pt x="1026" y="1668"/>
                  </a:lnTo>
                  <a:lnTo>
                    <a:pt x="1020" y="1662"/>
                  </a:lnTo>
                  <a:lnTo>
                    <a:pt x="1014" y="1668"/>
                  </a:lnTo>
                  <a:lnTo>
                    <a:pt x="1008" y="1662"/>
                  </a:lnTo>
                  <a:lnTo>
                    <a:pt x="1002" y="1662"/>
                  </a:lnTo>
                  <a:lnTo>
                    <a:pt x="1002" y="1668"/>
                  </a:lnTo>
                  <a:lnTo>
                    <a:pt x="996" y="1668"/>
                  </a:lnTo>
                  <a:lnTo>
                    <a:pt x="996" y="1662"/>
                  </a:lnTo>
                  <a:lnTo>
                    <a:pt x="984" y="1662"/>
                  </a:lnTo>
                  <a:lnTo>
                    <a:pt x="984" y="1656"/>
                  </a:lnTo>
                  <a:lnTo>
                    <a:pt x="978" y="1650"/>
                  </a:lnTo>
                  <a:lnTo>
                    <a:pt x="978" y="1644"/>
                  </a:lnTo>
                  <a:lnTo>
                    <a:pt x="966" y="1650"/>
                  </a:lnTo>
                  <a:lnTo>
                    <a:pt x="960" y="1638"/>
                  </a:lnTo>
                  <a:lnTo>
                    <a:pt x="954" y="1632"/>
                  </a:lnTo>
                  <a:lnTo>
                    <a:pt x="948" y="1632"/>
                  </a:lnTo>
                  <a:lnTo>
                    <a:pt x="942" y="1626"/>
                  </a:lnTo>
                  <a:lnTo>
                    <a:pt x="942" y="1614"/>
                  </a:lnTo>
                  <a:lnTo>
                    <a:pt x="930" y="1608"/>
                  </a:lnTo>
                  <a:lnTo>
                    <a:pt x="924" y="1614"/>
                  </a:lnTo>
                  <a:lnTo>
                    <a:pt x="912" y="1608"/>
                  </a:lnTo>
                  <a:lnTo>
                    <a:pt x="888" y="1590"/>
                  </a:lnTo>
                  <a:lnTo>
                    <a:pt x="894" y="1578"/>
                  </a:lnTo>
                  <a:lnTo>
                    <a:pt x="894" y="1572"/>
                  </a:lnTo>
                  <a:lnTo>
                    <a:pt x="894" y="1566"/>
                  </a:lnTo>
                  <a:lnTo>
                    <a:pt x="894" y="1548"/>
                  </a:lnTo>
                  <a:lnTo>
                    <a:pt x="888" y="1548"/>
                  </a:lnTo>
                  <a:lnTo>
                    <a:pt x="882" y="1542"/>
                  </a:lnTo>
                  <a:lnTo>
                    <a:pt x="876" y="1542"/>
                  </a:lnTo>
                  <a:lnTo>
                    <a:pt x="876" y="1536"/>
                  </a:lnTo>
                  <a:lnTo>
                    <a:pt x="870" y="1542"/>
                  </a:lnTo>
                  <a:lnTo>
                    <a:pt x="870" y="1554"/>
                  </a:lnTo>
                  <a:lnTo>
                    <a:pt x="870" y="1566"/>
                  </a:lnTo>
                  <a:lnTo>
                    <a:pt x="870" y="1578"/>
                  </a:lnTo>
                  <a:lnTo>
                    <a:pt x="870" y="1584"/>
                  </a:lnTo>
                  <a:lnTo>
                    <a:pt x="864" y="1584"/>
                  </a:lnTo>
                  <a:lnTo>
                    <a:pt x="870" y="1602"/>
                  </a:lnTo>
                  <a:lnTo>
                    <a:pt x="864" y="1608"/>
                  </a:lnTo>
                  <a:lnTo>
                    <a:pt x="870" y="1614"/>
                  </a:lnTo>
                  <a:lnTo>
                    <a:pt x="864" y="1644"/>
                  </a:lnTo>
                  <a:lnTo>
                    <a:pt x="858" y="1650"/>
                  </a:lnTo>
                  <a:lnTo>
                    <a:pt x="858" y="1656"/>
                  </a:lnTo>
                  <a:lnTo>
                    <a:pt x="852" y="1662"/>
                  </a:lnTo>
                  <a:lnTo>
                    <a:pt x="852" y="1680"/>
                  </a:lnTo>
                  <a:lnTo>
                    <a:pt x="846" y="1686"/>
                  </a:lnTo>
                  <a:lnTo>
                    <a:pt x="834" y="1692"/>
                  </a:lnTo>
                  <a:lnTo>
                    <a:pt x="828" y="1692"/>
                  </a:lnTo>
                  <a:lnTo>
                    <a:pt x="822" y="1698"/>
                  </a:lnTo>
                  <a:lnTo>
                    <a:pt x="822" y="1704"/>
                  </a:lnTo>
                  <a:lnTo>
                    <a:pt x="816" y="1704"/>
                  </a:lnTo>
                  <a:lnTo>
                    <a:pt x="804" y="1692"/>
                  </a:lnTo>
                  <a:lnTo>
                    <a:pt x="786" y="1698"/>
                  </a:lnTo>
                  <a:lnTo>
                    <a:pt x="780" y="1698"/>
                  </a:lnTo>
                  <a:lnTo>
                    <a:pt x="756" y="1698"/>
                  </a:lnTo>
                  <a:lnTo>
                    <a:pt x="744" y="1698"/>
                  </a:lnTo>
                  <a:lnTo>
                    <a:pt x="738" y="1698"/>
                  </a:lnTo>
                  <a:lnTo>
                    <a:pt x="732" y="1704"/>
                  </a:lnTo>
                  <a:lnTo>
                    <a:pt x="726" y="1704"/>
                  </a:lnTo>
                  <a:lnTo>
                    <a:pt x="678" y="1710"/>
                  </a:lnTo>
                  <a:lnTo>
                    <a:pt x="642" y="1710"/>
                  </a:lnTo>
                  <a:lnTo>
                    <a:pt x="618" y="1680"/>
                  </a:lnTo>
                  <a:lnTo>
                    <a:pt x="618" y="1674"/>
                  </a:lnTo>
                  <a:lnTo>
                    <a:pt x="618" y="1668"/>
                  </a:lnTo>
                  <a:lnTo>
                    <a:pt x="624" y="1662"/>
                  </a:lnTo>
                  <a:lnTo>
                    <a:pt x="624" y="1656"/>
                  </a:lnTo>
                  <a:lnTo>
                    <a:pt x="624" y="1650"/>
                  </a:lnTo>
                  <a:lnTo>
                    <a:pt x="618" y="1650"/>
                  </a:lnTo>
                  <a:lnTo>
                    <a:pt x="618" y="1644"/>
                  </a:lnTo>
                  <a:lnTo>
                    <a:pt x="618" y="1638"/>
                  </a:lnTo>
                  <a:lnTo>
                    <a:pt x="618" y="1632"/>
                  </a:lnTo>
                  <a:lnTo>
                    <a:pt x="618" y="1626"/>
                  </a:lnTo>
                  <a:lnTo>
                    <a:pt x="612" y="1626"/>
                  </a:lnTo>
                  <a:lnTo>
                    <a:pt x="612" y="1620"/>
                  </a:lnTo>
                  <a:lnTo>
                    <a:pt x="606" y="1614"/>
                  </a:lnTo>
                  <a:lnTo>
                    <a:pt x="594" y="1626"/>
                  </a:lnTo>
                  <a:lnTo>
                    <a:pt x="594" y="1632"/>
                  </a:lnTo>
                  <a:lnTo>
                    <a:pt x="588" y="1638"/>
                  </a:lnTo>
                  <a:lnTo>
                    <a:pt x="582" y="1638"/>
                  </a:lnTo>
                  <a:lnTo>
                    <a:pt x="564" y="1656"/>
                  </a:lnTo>
                  <a:lnTo>
                    <a:pt x="558" y="1662"/>
                  </a:lnTo>
                  <a:lnTo>
                    <a:pt x="552" y="1662"/>
                  </a:lnTo>
                  <a:lnTo>
                    <a:pt x="540" y="1674"/>
                  </a:lnTo>
                  <a:lnTo>
                    <a:pt x="534" y="1680"/>
                  </a:lnTo>
                  <a:lnTo>
                    <a:pt x="522" y="1692"/>
                  </a:lnTo>
                  <a:lnTo>
                    <a:pt x="516" y="1704"/>
                  </a:lnTo>
                  <a:lnTo>
                    <a:pt x="510" y="1704"/>
                  </a:lnTo>
                  <a:lnTo>
                    <a:pt x="504" y="1704"/>
                  </a:lnTo>
                  <a:lnTo>
                    <a:pt x="486" y="1722"/>
                  </a:lnTo>
                  <a:lnTo>
                    <a:pt x="480" y="1740"/>
                  </a:lnTo>
                  <a:lnTo>
                    <a:pt x="474" y="1740"/>
                  </a:lnTo>
                  <a:lnTo>
                    <a:pt x="468" y="1746"/>
                  </a:lnTo>
                  <a:lnTo>
                    <a:pt x="456" y="1758"/>
                  </a:lnTo>
                  <a:lnTo>
                    <a:pt x="444" y="1770"/>
                  </a:lnTo>
                  <a:lnTo>
                    <a:pt x="438" y="1782"/>
                  </a:lnTo>
                  <a:lnTo>
                    <a:pt x="426" y="1788"/>
                  </a:lnTo>
                  <a:lnTo>
                    <a:pt x="420" y="1788"/>
                  </a:lnTo>
                  <a:lnTo>
                    <a:pt x="420" y="1782"/>
                  </a:lnTo>
                  <a:lnTo>
                    <a:pt x="414" y="1782"/>
                  </a:lnTo>
                  <a:lnTo>
                    <a:pt x="390" y="1782"/>
                  </a:lnTo>
                  <a:lnTo>
                    <a:pt x="390" y="1776"/>
                  </a:lnTo>
                  <a:lnTo>
                    <a:pt x="384" y="1776"/>
                  </a:lnTo>
                  <a:lnTo>
                    <a:pt x="378" y="1776"/>
                  </a:lnTo>
                  <a:lnTo>
                    <a:pt x="372" y="1776"/>
                  </a:lnTo>
                  <a:lnTo>
                    <a:pt x="366" y="1770"/>
                  </a:lnTo>
                  <a:lnTo>
                    <a:pt x="366" y="1776"/>
                  </a:lnTo>
                  <a:lnTo>
                    <a:pt x="360" y="1788"/>
                  </a:lnTo>
                  <a:lnTo>
                    <a:pt x="360" y="1794"/>
                  </a:lnTo>
                  <a:lnTo>
                    <a:pt x="360" y="1800"/>
                  </a:lnTo>
                  <a:lnTo>
                    <a:pt x="354" y="1806"/>
                  </a:lnTo>
                  <a:lnTo>
                    <a:pt x="354" y="1812"/>
                  </a:lnTo>
                  <a:lnTo>
                    <a:pt x="354" y="1824"/>
                  </a:lnTo>
                  <a:lnTo>
                    <a:pt x="348" y="1830"/>
                  </a:lnTo>
                  <a:lnTo>
                    <a:pt x="354" y="1836"/>
                  </a:lnTo>
                  <a:lnTo>
                    <a:pt x="348" y="1842"/>
                  </a:lnTo>
                  <a:lnTo>
                    <a:pt x="354" y="1848"/>
                  </a:lnTo>
                  <a:lnTo>
                    <a:pt x="348" y="1854"/>
                  </a:lnTo>
                  <a:lnTo>
                    <a:pt x="354" y="1854"/>
                  </a:lnTo>
                  <a:lnTo>
                    <a:pt x="348" y="1860"/>
                  </a:lnTo>
                  <a:lnTo>
                    <a:pt x="348" y="1866"/>
                  </a:lnTo>
                  <a:lnTo>
                    <a:pt x="342" y="1866"/>
                  </a:lnTo>
                  <a:lnTo>
                    <a:pt x="342" y="1872"/>
                  </a:lnTo>
                  <a:lnTo>
                    <a:pt x="342" y="1878"/>
                  </a:lnTo>
                  <a:lnTo>
                    <a:pt x="342" y="1884"/>
                  </a:lnTo>
                  <a:lnTo>
                    <a:pt x="336" y="1896"/>
                  </a:lnTo>
                  <a:lnTo>
                    <a:pt x="330" y="1914"/>
                  </a:lnTo>
                  <a:lnTo>
                    <a:pt x="324" y="1920"/>
                  </a:lnTo>
                  <a:lnTo>
                    <a:pt x="324" y="1926"/>
                  </a:lnTo>
                  <a:lnTo>
                    <a:pt x="318" y="1944"/>
                  </a:lnTo>
                  <a:lnTo>
                    <a:pt x="318" y="1950"/>
                  </a:lnTo>
                  <a:lnTo>
                    <a:pt x="312" y="1956"/>
                  </a:lnTo>
                  <a:lnTo>
                    <a:pt x="312" y="1950"/>
                  </a:lnTo>
                  <a:lnTo>
                    <a:pt x="306" y="1950"/>
                  </a:lnTo>
                  <a:lnTo>
                    <a:pt x="306" y="1956"/>
                  </a:lnTo>
                  <a:lnTo>
                    <a:pt x="300" y="1950"/>
                  </a:lnTo>
                  <a:lnTo>
                    <a:pt x="294" y="1956"/>
                  </a:lnTo>
                  <a:lnTo>
                    <a:pt x="288" y="1950"/>
                  </a:lnTo>
                  <a:lnTo>
                    <a:pt x="288" y="1944"/>
                  </a:lnTo>
                  <a:lnTo>
                    <a:pt x="282" y="1938"/>
                  </a:lnTo>
                  <a:lnTo>
                    <a:pt x="282" y="1932"/>
                  </a:lnTo>
                  <a:lnTo>
                    <a:pt x="282" y="1890"/>
                  </a:lnTo>
                  <a:lnTo>
                    <a:pt x="288" y="1860"/>
                  </a:lnTo>
                  <a:lnTo>
                    <a:pt x="294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300" y="1818"/>
                  </a:lnTo>
                  <a:lnTo>
                    <a:pt x="306" y="1794"/>
                  </a:lnTo>
                  <a:lnTo>
                    <a:pt x="306" y="1788"/>
                  </a:lnTo>
                  <a:lnTo>
                    <a:pt x="306" y="1782"/>
                  </a:lnTo>
                  <a:lnTo>
                    <a:pt x="312" y="1776"/>
                  </a:lnTo>
                  <a:lnTo>
                    <a:pt x="306" y="1776"/>
                  </a:lnTo>
                  <a:lnTo>
                    <a:pt x="312" y="1770"/>
                  </a:lnTo>
                  <a:lnTo>
                    <a:pt x="312" y="1740"/>
                  </a:lnTo>
                  <a:lnTo>
                    <a:pt x="318" y="1722"/>
                  </a:lnTo>
                  <a:lnTo>
                    <a:pt x="312" y="1722"/>
                  </a:lnTo>
                  <a:lnTo>
                    <a:pt x="300" y="1716"/>
                  </a:lnTo>
                  <a:lnTo>
                    <a:pt x="306" y="1716"/>
                  </a:lnTo>
                  <a:lnTo>
                    <a:pt x="312" y="1710"/>
                  </a:lnTo>
                  <a:lnTo>
                    <a:pt x="324" y="1674"/>
                  </a:lnTo>
                  <a:lnTo>
                    <a:pt x="366" y="1590"/>
                  </a:lnTo>
                  <a:lnTo>
                    <a:pt x="408" y="1548"/>
                  </a:lnTo>
                  <a:lnTo>
                    <a:pt x="426" y="1530"/>
                  </a:lnTo>
                  <a:lnTo>
                    <a:pt x="432" y="1500"/>
                  </a:lnTo>
                  <a:lnTo>
                    <a:pt x="426" y="1494"/>
                  </a:lnTo>
                  <a:lnTo>
                    <a:pt x="426" y="1482"/>
                  </a:lnTo>
                  <a:lnTo>
                    <a:pt x="432" y="1464"/>
                  </a:lnTo>
                  <a:lnTo>
                    <a:pt x="438" y="1428"/>
                  </a:lnTo>
                  <a:lnTo>
                    <a:pt x="462" y="1398"/>
                  </a:lnTo>
                  <a:lnTo>
                    <a:pt x="468" y="1362"/>
                  </a:lnTo>
                  <a:lnTo>
                    <a:pt x="462" y="1314"/>
                  </a:lnTo>
                  <a:lnTo>
                    <a:pt x="444" y="1284"/>
                  </a:lnTo>
                  <a:lnTo>
                    <a:pt x="432" y="1260"/>
                  </a:lnTo>
                  <a:lnTo>
                    <a:pt x="426" y="1260"/>
                  </a:lnTo>
                  <a:lnTo>
                    <a:pt x="420" y="1254"/>
                  </a:lnTo>
                  <a:lnTo>
                    <a:pt x="408" y="1260"/>
                  </a:lnTo>
                  <a:lnTo>
                    <a:pt x="402" y="1260"/>
                  </a:lnTo>
                  <a:lnTo>
                    <a:pt x="402" y="1254"/>
                  </a:lnTo>
                  <a:lnTo>
                    <a:pt x="396" y="1254"/>
                  </a:lnTo>
                  <a:lnTo>
                    <a:pt x="396" y="1248"/>
                  </a:lnTo>
                  <a:lnTo>
                    <a:pt x="384" y="1248"/>
                  </a:lnTo>
                  <a:lnTo>
                    <a:pt x="372" y="1230"/>
                  </a:lnTo>
                  <a:lnTo>
                    <a:pt x="360" y="1212"/>
                  </a:lnTo>
                  <a:lnTo>
                    <a:pt x="348" y="1188"/>
                  </a:lnTo>
                  <a:lnTo>
                    <a:pt x="324" y="1170"/>
                  </a:lnTo>
                  <a:lnTo>
                    <a:pt x="318" y="1170"/>
                  </a:lnTo>
                  <a:lnTo>
                    <a:pt x="312" y="1158"/>
                  </a:lnTo>
                  <a:lnTo>
                    <a:pt x="312" y="1152"/>
                  </a:lnTo>
                  <a:lnTo>
                    <a:pt x="306" y="1146"/>
                  </a:lnTo>
                  <a:lnTo>
                    <a:pt x="270" y="1122"/>
                  </a:lnTo>
                  <a:lnTo>
                    <a:pt x="240" y="1122"/>
                  </a:lnTo>
                  <a:lnTo>
                    <a:pt x="180" y="1116"/>
                  </a:lnTo>
                  <a:lnTo>
                    <a:pt x="174" y="1122"/>
                  </a:lnTo>
                  <a:lnTo>
                    <a:pt x="174" y="1128"/>
                  </a:lnTo>
                  <a:lnTo>
                    <a:pt x="168" y="1122"/>
                  </a:lnTo>
                  <a:lnTo>
                    <a:pt x="162" y="1116"/>
                  </a:lnTo>
                  <a:lnTo>
                    <a:pt x="144" y="1122"/>
                  </a:lnTo>
                  <a:lnTo>
                    <a:pt x="120" y="1122"/>
                  </a:lnTo>
                  <a:lnTo>
                    <a:pt x="54" y="1134"/>
                  </a:lnTo>
                  <a:lnTo>
                    <a:pt x="24" y="1152"/>
                  </a:lnTo>
                  <a:lnTo>
                    <a:pt x="6" y="1146"/>
                  </a:lnTo>
                  <a:lnTo>
                    <a:pt x="0" y="1134"/>
                  </a:lnTo>
                  <a:lnTo>
                    <a:pt x="0" y="1128"/>
                  </a:lnTo>
                  <a:lnTo>
                    <a:pt x="18" y="1110"/>
                  </a:lnTo>
                  <a:lnTo>
                    <a:pt x="24" y="1104"/>
                  </a:lnTo>
                  <a:lnTo>
                    <a:pt x="24" y="1098"/>
                  </a:lnTo>
                  <a:lnTo>
                    <a:pt x="30" y="1086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24" y="1074"/>
                  </a:lnTo>
                  <a:lnTo>
                    <a:pt x="18" y="1068"/>
                  </a:lnTo>
                  <a:lnTo>
                    <a:pt x="24" y="1062"/>
                  </a:lnTo>
                  <a:lnTo>
                    <a:pt x="42" y="1056"/>
                  </a:lnTo>
                  <a:lnTo>
                    <a:pt x="54" y="1050"/>
                  </a:lnTo>
                  <a:lnTo>
                    <a:pt x="72" y="1044"/>
                  </a:lnTo>
                  <a:lnTo>
                    <a:pt x="96" y="1032"/>
                  </a:lnTo>
                  <a:lnTo>
                    <a:pt x="102" y="1032"/>
                  </a:lnTo>
                  <a:lnTo>
                    <a:pt x="126" y="1008"/>
                  </a:lnTo>
                  <a:lnTo>
                    <a:pt x="144" y="990"/>
                  </a:lnTo>
                  <a:lnTo>
                    <a:pt x="156" y="978"/>
                  </a:lnTo>
                  <a:lnTo>
                    <a:pt x="156" y="966"/>
                  </a:lnTo>
                  <a:lnTo>
                    <a:pt x="150" y="960"/>
                  </a:lnTo>
                  <a:lnTo>
                    <a:pt x="144" y="948"/>
                  </a:lnTo>
                  <a:lnTo>
                    <a:pt x="144" y="936"/>
                  </a:lnTo>
                  <a:lnTo>
                    <a:pt x="138" y="918"/>
                  </a:lnTo>
                  <a:lnTo>
                    <a:pt x="150" y="912"/>
                  </a:lnTo>
                  <a:lnTo>
                    <a:pt x="150" y="894"/>
                  </a:lnTo>
                  <a:lnTo>
                    <a:pt x="132" y="876"/>
                  </a:lnTo>
                  <a:lnTo>
                    <a:pt x="126" y="876"/>
                  </a:lnTo>
                  <a:lnTo>
                    <a:pt x="120" y="870"/>
                  </a:lnTo>
                  <a:lnTo>
                    <a:pt x="120" y="864"/>
                  </a:lnTo>
                  <a:lnTo>
                    <a:pt x="114" y="864"/>
                  </a:lnTo>
                  <a:lnTo>
                    <a:pt x="108" y="864"/>
                  </a:lnTo>
                  <a:lnTo>
                    <a:pt x="108" y="858"/>
                  </a:lnTo>
                  <a:lnTo>
                    <a:pt x="102" y="852"/>
                  </a:lnTo>
                  <a:lnTo>
                    <a:pt x="96" y="852"/>
                  </a:lnTo>
                  <a:lnTo>
                    <a:pt x="102" y="834"/>
                  </a:lnTo>
                  <a:lnTo>
                    <a:pt x="108" y="816"/>
                  </a:lnTo>
                  <a:lnTo>
                    <a:pt x="114" y="804"/>
                  </a:lnTo>
                  <a:lnTo>
                    <a:pt x="132" y="798"/>
                  </a:lnTo>
                  <a:lnTo>
                    <a:pt x="144" y="798"/>
                  </a:lnTo>
                  <a:lnTo>
                    <a:pt x="180" y="810"/>
                  </a:lnTo>
                  <a:lnTo>
                    <a:pt x="192" y="816"/>
                  </a:lnTo>
                  <a:lnTo>
                    <a:pt x="234" y="822"/>
                  </a:lnTo>
                  <a:lnTo>
                    <a:pt x="264" y="828"/>
                  </a:lnTo>
                  <a:lnTo>
                    <a:pt x="270" y="840"/>
                  </a:lnTo>
                  <a:lnTo>
                    <a:pt x="270" y="834"/>
                  </a:lnTo>
                  <a:lnTo>
                    <a:pt x="270" y="828"/>
                  </a:lnTo>
                  <a:lnTo>
                    <a:pt x="270" y="822"/>
                  </a:lnTo>
                  <a:lnTo>
                    <a:pt x="270" y="816"/>
                  </a:lnTo>
                  <a:lnTo>
                    <a:pt x="264" y="810"/>
                  </a:lnTo>
                  <a:lnTo>
                    <a:pt x="264" y="804"/>
                  </a:lnTo>
                  <a:lnTo>
                    <a:pt x="264" y="798"/>
                  </a:lnTo>
                  <a:lnTo>
                    <a:pt x="258" y="792"/>
                  </a:lnTo>
                  <a:lnTo>
                    <a:pt x="258" y="786"/>
                  </a:lnTo>
                  <a:lnTo>
                    <a:pt x="264" y="786"/>
                  </a:lnTo>
                  <a:lnTo>
                    <a:pt x="264" y="780"/>
                  </a:lnTo>
                  <a:lnTo>
                    <a:pt x="258" y="774"/>
                  </a:lnTo>
                  <a:lnTo>
                    <a:pt x="258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82" y="762"/>
                  </a:lnTo>
                  <a:lnTo>
                    <a:pt x="312" y="780"/>
                  </a:lnTo>
                  <a:lnTo>
                    <a:pt x="354" y="786"/>
                  </a:lnTo>
                  <a:lnTo>
                    <a:pt x="408" y="774"/>
                  </a:lnTo>
                  <a:lnTo>
                    <a:pt x="444" y="756"/>
                  </a:lnTo>
                  <a:lnTo>
                    <a:pt x="468" y="732"/>
                  </a:lnTo>
                  <a:lnTo>
                    <a:pt x="492" y="720"/>
                  </a:lnTo>
                  <a:lnTo>
                    <a:pt x="522" y="690"/>
                  </a:lnTo>
                  <a:lnTo>
                    <a:pt x="540" y="672"/>
                  </a:lnTo>
                  <a:lnTo>
                    <a:pt x="558" y="660"/>
                  </a:lnTo>
                  <a:lnTo>
                    <a:pt x="570" y="636"/>
                  </a:lnTo>
                  <a:lnTo>
                    <a:pt x="588" y="612"/>
                  </a:lnTo>
                  <a:lnTo>
                    <a:pt x="654" y="552"/>
                  </a:lnTo>
                  <a:lnTo>
                    <a:pt x="678" y="528"/>
                  </a:lnTo>
                  <a:lnTo>
                    <a:pt x="696" y="510"/>
                  </a:lnTo>
                  <a:lnTo>
                    <a:pt x="714" y="498"/>
                  </a:lnTo>
                  <a:lnTo>
                    <a:pt x="750" y="480"/>
                  </a:lnTo>
                  <a:lnTo>
                    <a:pt x="774" y="444"/>
                  </a:lnTo>
                  <a:lnTo>
                    <a:pt x="816" y="426"/>
                  </a:lnTo>
                  <a:lnTo>
                    <a:pt x="864" y="420"/>
                  </a:lnTo>
                  <a:lnTo>
                    <a:pt x="912" y="402"/>
                  </a:lnTo>
                  <a:lnTo>
                    <a:pt x="906" y="396"/>
                  </a:lnTo>
                  <a:lnTo>
                    <a:pt x="912" y="396"/>
                  </a:lnTo>
                  <a:lnTo>
                    <a:pt x="912" y="390"/>
                  </a:lnTo>
                  <a:lnTo>
                    <a:pt x="918" y="384"/>
                  </a:lnTo>
                  <a:lnTo>
                    <a:pt x="924" y="384"/>
                  </a:lnTo>
                  <a:lnTo>
                    <a:pt x="924" y="378"/>
                  </a:lnTo>
                  <a:lnTo>
                    <a:pt x="918" y="372"/>
                  </a:lnTo>
                  <a:lnTo>
                    <a:pt x="918" y="366"/>
                  </a:lnTo>
                  <a:lnTo>
                    <a:pt x="918" y="360"/>
                  </a:lnTo>
                  <a:lnTo>
                    <a:pt x="924" y="360"/>
                  </a:lnTo>
                  <a:lnTo>
                    <a:pt x="924" y="354"/>
                  </a:lnTo>
                  <a:lnTo>
                    <a:pt x="930" y="354"/>
                  </a:lnTo>
                  <a:lnTo>
                    <a:pt x="936" y="354"/>
                  </a:lnTo>
                  <a:lnTo>
                    <a:pt x="936" y="348"/>
                  </a:lnTo>
                  <a:lnTo>
                    <a:pt x="942" y="348"/>
                  </a:lnTo>
                  <a:lnTo>
                    <a:pt x="942" y="336"/>
                  </a:lnTo>
                  <a:lnTo>
                    <a:pt x="936" y="336"/>
                  </a:lnTo>
                  <a:lnTo>
                    <a:pt x="930" y="330"/>
                  </a:lnTo>
                  <a:lnTo>
                    <a:pt x="924" y="330"/>
                  </a:lnTo>
                  <a:lnTo>
                    <a:pt x="924" y="324"/>
                  </a:lnTo>
                  <a:lnTo>
                    <a:pt x="918" y="318"/>
                  </a:lnTo>
                  <a:lnTo>
                    <a:pt x="912" y="306"/>
                  </a:lnTo>
                  <a:lnTo>
                    <a:pt x="918" y="306"/>
                  </a:lnTo>
                  <a:lnTo>
                    <a:pt x="924" y="300"/>
                  </a:lnTo>
                  <a:lnTo>
                    <a:pt x="924" y="294"/>
                  </a:lnTo>
                  <a:lnTo>
                    <a:pt x="924" y="288"/>
                  </a:lnTo>
                  <a:lnTo>
                    <a:pt x="924" y="282"/>
                  </a:lnTo>
                  <a:lnTo>
                    <a:pt x="924" y="276"/>
                  </a:lnTo>
                  <a:lnTo>
                    <a:pt x="918" y="270"/>
                  </a:lnTo>
                  <a:lnTo>
                    <a:pt x="918" y="264"/>
                  </a:lnTo>
                  <a:lnTo>
                    <a:pt x="912" y="270"/>
                  </a:lnTo>
                  <a:lnTo>
                    <a:pt x="912" y="264"/>
                  </a:lnTo>
                  <a:lnTo>
                    <a:pt x="912" y="258"/>
                  </a:lnTo>
                  <a:lnTo>
                    <a:pt x="912" y="252"/>
                  </a:lnTo>
                  <a:lnTo>
                    <a:pt x="906" y="252"/>
                  </a:lnTo>
                  <a:lnTo>
                    <a:pt x="900" y="246"/>
                  </a:lnTo>
                  <a:lnTo>
                    <a:pt x="900" y="240"/>
                  </a:lnTo>
                  <a:lnTo>
                    <a:pt x="900" y="246"/>
                  </a:lnTo>
                  <a:lnTo>
                    <a:pt x="894" y="246"/>
                  </a:lnTo>
                  <a:lnTo>
                    <a:pt x="894" y="240"/>
                  </a:lnTo>
                  <a:lnTo>
                    <a:pt x="894" y="234"/>
                  </a:lnTo>
                  <a:lnTo>
                    <a:pt x="900" y="234"/>
                  </a:lnTo>
                  <a:lnTo>
                    <a:pt x="900" y="228"/>
                  </a:lnTo>
                  <a:lnTo>
                    <a:pt x="906" y="228"/>
                  </a:lnTo>
                  <a:lnTo>
                    <a:pt x="900" y="222"/>
                  </a:lnTo>
                  <a:lnTo>
                    <a:pt x="894" y="216"/>
                  </a:lnTo>
                  <a:lnTo>
                    <a:pt x="894" y="210"/>
                  </a:lnTo>
                  <a:lnTo>
                    <a:pt x="888" y="210"/>
                  </a:lnTo>
                  <a:lnTo>
                    <a:pt x="888" y="204"/>
                  </a:lnTo>
                  <a:lnTo>
                    <a:pt x="888" y="198"/>
                  </a:lnTo>
                  <a:lnTo>
                    <a:pt x="888" y="192"/>
                  </a:lnTo>
                  <a:lnTo>
                    <a:pt x="882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82" y="174"/>
                  </a:lnTo>
                  <a:lnTo>
                    <a:pt x="888" y="168"/>
                  </a:lnTo>
                  <a:lnTo>
                    <a:pt x="888" y="162"/>
                  </a:lnTo>
                  <a:lnTo>
                    <a:pt x="888" y="156"/>
                  </a:lnTo>
                  <a:lnTo>
                    <a:pt x="888" y="150"/>
                  </a:lnTo>
                  <a:lnTo>
                    <a:pt x="888" y="144"/>
                  </a:lnTo>
                  <a:lnTo>
                    <a:pt x="882" y="144"/>
                  </a:lnTo>
                  <a:lnTo>
                    <a:pt x="882" y="138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76" y="120"/>
                  </a:lnTo>
                  <a:lnTo>
                    <a:pt x="882" y="114"/>
                  </a:lnTo>
                  <a:lnTo>
                    <a:pt x="882" y="108"/>
                  </a:lnTo>
                  <a:lnTo>
                    <a:pt x="888" y="102"/>
                  </a:lnTo>
                  <a:lnTo>
                    <a:pt x="894" y="102"/>
                  </a:lnTo>
                  <a:lnTo>
                    <a:pt x="894" y="96"/>
                  </a:lnTo>
                  <a:lnTo>
                    <a:pt x="888" y="96"/>
                  </a:lnTo>
                  <a:lnTo>
                    <a:pt x="894" y="90"/>
                  </a:lnTo>
                  <a:lnTo>
                    <a:pt x="888" y="84"/>
                  </a:lnTo>
                  <a:lnTo>
                    <a:pt x="888" y="78"/>
                  </a:lnTo>
                  <a:lnTo>
                    <a:pt x="924" y="66"/>
                  </a:lnTo>
                  <a:lnTo>
                    <a:pt x="966" y="66"/>
                  </a:lnTo>
                  <a:lnTo>
                    <a:pt x="996" y="48"/>
                  </a:lnTo>
                  <a:lnTo>
                    <a:pt x="1056" y="12"/>
                  </a:lnTo>
                  <a:lnTo>
                    <a:pt x="1128" y="0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0" y="18"/>
                  </a:lnTo>
                  <a:lnTo>
                    <a:pt x="1176" y="24"/>
                  </a:lnTo>
                  <a:lnTo>
                    <a:pt x="1182" y="24"/>
                  </a:lnTo>
                  <a:lnTo>
                    <a:pt x="1188" y="30"/>
                  </a:lnTo>
                  <a:lnTo>
                    <a:pt x="1194" y="30"/>
                  </a:lnTo>
                  <a:lnTo>
                    <a:pt x="1194" y="36"/>
                  </a:lnTo>
                  <a:lnTo>
                    <a:pt x="1260" y="30"/>
                  </a:lnTo>
                  <a:lnTo>
                    <a:pt x="1272" y="30"/>
                  </a:lnTo>
                  <a:lnTo>
                    <a:pt x="1296" y="24"/>
                  </a:lnTo>
                  <a:lnTo>
                    <a:pt x="1302" y="30"/>
                  </a:lnTo>
                  <a:lnTo>
                    <a:pt x="1302" y="36"/>
                  </a:lnTo>
                  <a:lnTo>
                    <a:pt x="1308" y="36"/>
                  </a:lnTo>
                  <a:lnTo>
                    <a:pt x="1314" y="36"/>
                  </a:lnTo>
                  <a:lnTo>
                    <a:pt x="1320" y="36"/>
                  </a:lnTo>
                  <a:lnTo>
                    <a:pt x="1326" y="30"/>
                  </a:lnTo>
                  <a:lnTo>
                    <a:pt x="1332" y="30"/>
                  </a:lnTo>
                  <a:lnTo>
                    <a:pt x="1338" y="30"/>
                  </a:lnTo>
                  <a:lnTo>
                    <a:pt x="1344" y="30"/>
                  </a:lnTo>
                  <a:lnTo>
                    <a:pt x="1374" y="30"/>
                  </a:lnTo>
                  <a:lnTo>
                    <a:pt x="1386" y="30"/>
                  </a:lnTo>
                  <a:lnTo>
                    <a:pt x="1392" y="24"/>
                  </a:lnTo>
                  <a:lnTo>
                    <a:pt x="1398" y="12"/>
                  </a:lnTo>
                  <a:lnTo>
                    <a:pt x="1404" y="6"/>
                  </a:lnTo>
                  <a:lnTo>
                    <a:pt x="1410" y="6"/>
                  </a:lnTo>
                  <a:lnTo>
                    <a:pt x="1410" y="12"/>
                  </a:lnTo>
                  <a:lnTo>
                    <a:pt x="1416" y="18"/>
                  </a:lnTo>
                  <a:lnTo>
                    <a:pt x="1416" y="36"/>
                  </a:lnTo>
                  <a:lnTo>
                    <a:pt x="1434" y="54"/>
                  </a:lnTo>
                  <a:lnTo>
                    <a:pt x="1434" y="60"/>
                  </a:lnTo>
                  <a:lnTo>
                    <a:pt x="1434" y="66"/>
                  </a:lnTo>
                  <a:lnTo>
                    <a:pt x="1434" y="72"/>
                  </a:lnTo>
                  <a:lnTo>
                    <a:pt x="1428" y="72"/>
                  </a:lnTo>
                  <a:lnTo>
                    <a:pt x="1428" y="78"/>
                  </a:lnTo>
                  <a:lnTo>
                    <a:pt x="1434" y="78"/>
                  </a:lnTo>
                  <a:lnTo>
                    <a:pt x="1440" y="84"/>
                  </a:lnTo>
                  <a:lnTo>
                    <a:pt x="1440" y="90"/>
                  </a:lnTo>
                  <a:lnTo>
                    <a:pt x="1440" y="96"/>
                  </a:lnTo>
                  <a:lnTo>
                    <a:pt x="1446" y="96"/>
                  </a:lnTo>
                  <a:lnTo>
                    <a:pt x="1446" y="108"/>
                  </a:lnTo>
                  <a:lnTo>
                    <a:pt x="1452" y="108"/>
                  </a:lnTo>
                  <a:lnTo>
                    <a:pt x="1452" y="114"/>
                  </a:lnTo>
                  <a:lnTo>
                    <a:pt x="1458" y="114"/>
                  </a:lnTo>
                  <a:lnTo>
                    <a:pt x="1470" y="120"/>
                  </a:lnTo>
                  <a:lnTo>
                    <a:pt x="1476" y="120"/>
                  </a:lnTo>
                  <a:lnTo>
                    <a:pt x="1476" y="114"/>
                  </a:lnTo>
                  <a:lnTo>
                    <a:pt x="1488" y="120"/>
                  </a:lnTo>
                  <a:lnTo>
                    <a:pt x="1506" y="120"/>
                  </a:lnTo>
                  <a:lnTo>
                    <a:pt x="1512" y="120"/>
                  </a:lnTo>
                  <a:lnTo>
                    <a:pt x="1518" y="120"/>
                  </a:lnTo>
                  <a:lnTo>
                    <a:pt x="1524" y="126"/>
                  </a:lnTo>
                  <a:lnTo>
                    <a:pt x="1536" y="150"/>
                  </a:lnTo>
                  <a:lnTo>
                    <a:pt x="1548" y="162"/>
                  </a:lnTo>
                  <a:lnTo>
                    <a:pt x="1554" y="168"/>
                  </a:lnTo>
                  <a:lnTo>
                    <a:pt x="1584" y="228"/>
                  </a:lnTo>
                  <a:lnTo>
                    <a:pt x="1584" y="234"/>
                  </a:lnTo>
                  <a:lnTo>
                    <a:pt x="1578" y="312"/>
                  </a:lnTo>
                  <a:lnTo>
                    <a:pt x="1590" y="318"/>
                  </a:lnTo>
                  <a:lnTo>
                    <a:pt x="1608" y="330"/>
                  </a:lnTo>
                  <a:lnTo>
                    <a:pt x="1620" y="342"/>
                  </a:lnTo>
                  <a:lnTo>
                    <a:pt x="1626" y="342"/>
                  </a:lnTo>
                  <a:lnTo>
                    <a:pt x="1692" y="360"/>
                  </a:lnTo>
                  <a:lnTo>
                    <a:pt x="1710" y="408"/>
                  </a:lnTo>
                  <a:lnTo>
                    <a:pt x="1722" y="426"/>
                  </a:lnTo>
                  <a:lnTo>
                    <a:pt x="1716" y="468"/>
                  </a:lnTo>
                  <a:lnTo>
                    <a:pt x="1686" y="486"/>
                  </a:lnTo>
                  <a:lnTo>
                    <a:pt x="1686" y="492"/>
                  </a:lnTo>
                  <a:lnTo>
                    <a:pt x="1680" y="498"/>
                  </a:lnTo>
                  <a:lnTo>
                    <a:pt x="1650" y="558"/>
                  </a:lnTo>
                  <a:lnTo>
                    <a:pt x="1650" y="570"/>
                  </a:lnTo>
                  <a:lnTo>
                    <a:pt x="1644" y="570"/>
                  </a:lnTo>
                  <a:lnTo>
                    <a:pt x="1638" y="582"/>
                  </a:lnTo>
                  <a:lnTo>
                    <a:pt x="1638" y="624"/>
                  </a:lnTo>
                  <a:lnTo>
                    <a:pt x="1638" y="636"/>
                  </a:lnTo>
                  <a:lnTo>
                    <a:pt x="1638" y="642"/>
                  </a:lnTo>
                  <a:lnTo>
                    <a:pt x="1632" y="660"/>
                  </a:lnTo>
                  <a:lnTo>
                    <a:pt x="1608" y="678"/>
                  </a:lnTo>
                  <a:lnTo>
                    <a:pt x="1584" y="690"/>
                  </a:lnTo>
                  <a:lnTo>
                    <a:pt x="1584" y="696"/>
                  </a:lnTo>
                  <a:lnTo>
                    <a:pt x="1578" y="702"/>
                  </a:lnTo>
                  <a:lnTo>
                    <a:pt x="1584" y="702"/>
                  </a:lnTo>
                  <a:lnTo>
                    <a:pt x="1578" y="714"/>
                  </a:lnTo>
                  <a:lnTo>
                    <a:pt x="1572" y="714"/>
                  </a:lnTo>
                  <a:lnTo>
                    <a:pt x="1572" y="720"/>
                  </a:lnTo>
                  <a:lnTo>
                    <a:pt x="1566" y="720"/>
                  </a:lnTo>
                  <a:lnTo>
                    <a:pt x="1560" y="726"/>
                  </a:lnTo>
                  <a:lnTo>
                    <a:pt x="1560" y="732"/>
                  </a:lnTo>
                  <a:lnTo>
                    <a:pt x="1554" y="732"/>
                  </a:lnTo>
                  <a:lnTo>
                    <a:pt x="1554" y="738"/>
                  </a:lnTo>
                  <a:lnTo>
                    <a:pt x="1554" y="744"/>
                  </a:lnTo>
                  <a:lnTo>
                    <a:pt x="1548" y="744"/>
                  </a:lnTo>
                  <a:lnTo>
                    <a:pt x="1548" y="738"/>
                  </a:lnTo>
                  <a:lnTo>
                    <a:pt x="1542" y="738"/>
                  </a:lnTo>
                  <a:lnTo>
                    <a:pt x="1542" y="744"/>
                  </a:lnTo>
                  <a:lnTo>
                    <a:pt x="1542" y="750"/>
                  </a:lnTo>
                  <a:lnTo>
                    <a:pt x="1494" y="804"/>
                  </a:lnTo>
                  <a:lnTo>
                    <a:pt x="1446" y="876"/>
                  </a:lnTo>
                  <a:lnTo>
                    <a:pt x="1440" y="876"/>
                  </a:lnTo>
                  <a:lnTo>
                    <a:pt x="1434" y="876"/>
                  </a:lnTo>
                  <a:lnTo>
                    <a:pt x="1428" y="882"/>
                  </a:lnTo>
                  <a:lnTo>
                    <a:pt x="1422" y="882"/>
                  </a:lnTo>
                  <a:lnTo>
                    <a:pt x="1386" y="924"/>
                  </a:lnTo>
                  <a:lnTo>
                    <a:pt x="1362" y="954"/>
                  </a:lnTo>
                  <a:lnTo>
                    <a:pt x="1356" y="984"/>
                  </a:lnTo>
                  <a:lnTo>
                    <a:pt x="1362" y="1002"/>
                  </a:lnTo>
                  <a:lnTo>
                    <a:pt x="1368" y="1020"/>
                  </a:lnTo>
                  <a:lnTo>
                    <a:pt x="1386" y="1056"/>
                  </a:lnTo>
                  <a:lnTo>
                    <a:pt x="1404" y="1074"/>
                  </a:lnTo>
                  <a:lnTo>
                    <a:pt x="1416" y="1080"/>
                  </a:lnTo>
                  <a:lnTo>
                    <a:pt x="1416" y="1086"/>
                  </a:lnTo>
                  <a:lnTo>
                    <a:pt x="1422" y="1098"/>
                  </a:lnTo>
                  <a:lnTo>
                    <a:pt x="1422" y="1110"/>
                  </a:lnTo>
                  <a:lnTo>
                    <a:pt x="1428" y="1116"/>
                  </a:lnTo>
                  <a:lnTo>
                    <a:pt x="1434" y="1116"/>
                  </a:lnTo>
                  <a:lnTo>
                    <a:pt x="1434" y="1122"/>
                  </a:lnTo>
                  <a:lnTo>
                    <a:pt x="1434" y="1128"/>
                  </a:lnTo>
                  <a:lnTo>
                    <a:pt x="1440" y="1134"/>
                  </a:lnTo>
                  <a:lnTo>
                    <a:pt x="1446" y="1134"/>
                  </a:lnTo>
                  <a:lnTo>
                    <a:pt x="1458" y="1134"/>
                  </a:lnTo>
                  <a:lnTo>
                    <a:pt x="1458" y="1140"/>
                  </a:lnTo>
                  <a:lnTo>
                    <a:pt x="1464" y="1134"/>
                  </a:lnTo>
                  <a:lnTo>
                    <a:pt x="1470" y="1134"/>
                  </a:lnTo>
                  <a:lnTo>
                    <a:pt x="1464" y="1128"/>
                  </a:lnTo>
                  <a:lnTo>
                    <a:pt x="1464" y="1122"/>
                  </a:lnTo>
                  <a:lnTo>
                    <a:pt x="1470" y="1116"/>
                  </a:lnTo>
                  <a:lnTo>
                    <a:pt x="1470" y="1122"/>
                  </a:lnTo>
                  <a:lnTo>
                    <a:pt x="1476" y="1122"/>
                  </a:lnTo>
                  <a:lnTo>
                    <a:pt x="1476" y="1116"/>
                  </a:lnTo>
                  <a:lnTo>
                    <a:pt x="1482" y="1110"/>
                  </a:lnTo>
                  <a:lnTo>
                    <a:pt x="1476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82" y="1086"/>
                  </a:lnTo>
                  <a:lnTo>
                    <a:pt x="1482" y="1074"/>
                  </a:lnTo>
                  <a:lnTo>
                    <a:pt x="1488" y="1068"/>
                  </a:lnTo>
                  <a:lnTo>
                    <a:pt x="1488" y="1062"/>
                  </a:lnTo>
                  <a:lnTo>
                    <a:pt x="1494" y="1062"/>
                  </a:lnTo>
                  <a:lnTo>
                    <a:pt x="1500" y="1062"/>
                  </a:lnTo>
                  <a:lnTo>
                    <a:pt x="1506" y="1062"/>
                  </a:lnTo>
                  <a:lnTo>
                    <a:pt x="1506" y="1056"/>
                  </a:lnTo>
                  <a:lnTo>
                    <a:pt x="1506" y="1062"/>
                  </a:lnTo>
                  <a:lnTo>
                    <a:pt x="1518" y="1062"/>
                  </a:lnTo>
                  <a:lnTo>
                    <a:pt x="1524" y="1062"/>
                  </a:lnTo>
                  <a:lnTo>
                    <a:pt x="1530" y="1062"/>
                  </a:lnTo>
                  <a:lnTo>
                    <a:pt x="1536" y="1068"/>
                  </a:lnTo>
                  <a:lnTo>
                    <a:pt x="1536" y="1074"/>
                  </a:lnTo>
                  <a:lnTo>
                    <a:pt x="1542" y="1086"/>
                  </a:lnTo>
                  <a:lnTo>
                    <a:pt x="1548" y="1086"/>
                  </a:lnTo>
                  <a:lnTo>
                    <a:pt x="1554" y="1086"/>
                  </a:lnTo>
                  <a:lnTo>
                    <a:pt x="1566" y="1098"/>
                  </a:lnTo>
                  <a:lnTo>
                    <a:pt x="1572" y="1104"/>
                  </a:lnTo>
                  <a:lnTo>
                    <a:pt x="1566" y="1110"/>
                  </a:lnTo>
                  <a:lnTo>
                    <a:pt x="1572" y="1116"/>
                  </a:lnTo>
                  <a:lnTo>
                    <a:pt x="1578" y="1116"/>
                  </a:lnTo>
                  <a:lnTo>
                    <a:pt x="1578" y="1122"/>
                  </a:lnTo>
                  <a:lnTo>
                    <a:pt x="1584" y="1122"/>
                  </a:lnTo>
                  <a:lnTo>
                    <a:pt x="1584" y="1128"/>
                  </a:lnTo>
                  <a:lnTo>
                    <a:pt x="1584" y="1134"/>
                  </a:lnTo>
                  <a:lnTo>
                    <a:pt x="1590" y="1134"/>
                  </a:lnTo>
                  <a:lnTo>
                    <a:pt x="1596" y="1140"/>
                  </a:lnTo>
                  <a:lnTo>
                    <a:pt x="1602" y="1146"/>
                  </a:lnTo>
                  <a:lnTo>
                    <a:pt x="1608" y="1146"/>
                  </a:lnTo>
                  <a:lnTo>
                    <a:pt x="1614" y="1146"/>
                  </a:lnTo>
                  <a:lnTo>
                    <a:pt x="1614" y="1152"/>
                  </a:lnTo>
                  <a:lnTo>
                    <a:pt x="1620" y="1152"/>
                  </a:lnTo>
                  <a:lnTo>
                    <a:pt x="1626" y="1164"/>
                  </a:lnTo>
                  <a:lnTo>
                    <a:pt x="1632" y="1170"/>
                  </a:lnTo>
                  <a:lnTo>
                    <a:pt x="1638" y="1176"/>
                  </a:lnTo>
                  <a:lnTo>
                    <a:pt x="1638" y="1182"/>
                  </a:lnTo>
                  <a:lnTo>
                    <a:pt x="1644" y="1194"/>
                  </a:lnTo>
                  <a:lnTo>
                    <a:pt x="1644" y="1200"/>
                  </a:lnTo>
                  <a:lnTo>
                    <a:pt x="1638" y="1200"/>
                  </a:lnTo>
                  <a:lnTo>
                    <a:pt x="1638" y="1206"/>
                  </a:lnTo>
                  <a:lnTo>
                    <a:pt x="1638" y="1212"/>
                  </a:lnTo>
                  <a:lnTo>
                    <a:pt x="1638" y="1218"/>
                  </a:lnTo>
                  <a:lnTo>
                    <a:pt x="1632" y="1242"/>
                  </a:lnTo>
                  <a:lnTo>
                    <a:pt x="1632" y="1266"/>
                  </a:lnTo>
                  <a:lnTo>
                    <a:pt x="1638" y="1284"/>
                  </a:lnTo>
                  <a:lnTo>
                    <a:pt x="1638" y="1296"/>
                  </a:lnTo>
                  <a:lnTo>
                    <a:pt x="1632" y="1296"/>
                  </a:lnTo>
                  <a:lnTo>
                    <a:pt x="1632" y="1302"/>
                  </a:lnTo>
                  <a:lnTo>
                    <a:pt x="1638" y="1314"/>
                  </a:lnTo>
                  <a:lnTo>
                    <a:pt x="1638" y="1320"/>
                  </a:lnTo>
                  <a:lnTo>
                    <a:pt x="1632" y="1320"/>
                  </a:lnTo>
                  <a:lnTo>
                    <a:pt x="1632" y="1326"/>
                  </a:lnTo>
                  <a:lnTo>
                    <a:pt x="1644" y="1332"/>
                  </a:lnTo>
                  <a:lnTo>
                    <a:pt x="1644" y="1338"/>
                  </a:lnTo>
                  <a:lnTo>
                    <a:pt x="1650" y="1344"/>
                  </a:lnTo>
                  <a:lnTo>
                    <a:pt x="1668" y="1362"/>
                  </a:lnTo>
                  <a:lnTo>
                    <a:pt x="1668" y="1368"/>
                  </a:lnTo>
                  <a:lnTo>
                    <a:pt x="1674" y="1392"/>
                  </a:lnTo>
                  <a:lnTo>
                    <a:pt x="1686" y="140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2" name="Freeform 17">
              <a:extLst>
                <a:ext uri="{FF2B5EF4-FFF2-40B4-BE49-F238E27FC236}">
                  <a16:creationId xmlns:a16="http://schemas.microsoft.com/office/drawing/2014/main" id="{9F9DF7AF-2203-4CCB-AF1B-32CDAF87CC5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416927"/>
              <a:ext cx="816209" cy="574781"/>
            </a:xfrm>
            <a:custGeom>
              <a:avLst/>
              <a:gdLst>
                <a:gd name="T0" fmla="*/ 115 w 1536"/>
                <a:gd name="T1" fmla="*/ 89 h 1080"/>
                <a:gd name="T2" fmla="*/ 113 w 1536"/>
                <a:gd name="T3" fmla="*/ 92 h 1080"/>
                <a:gd name="T4" fmla="*/ 107 w 1536"/>
                <a:gd name="T5" fmla="*/ 93 h 1080"/>
                <a:gd name="T6" fmla="*/ 108 w 1536"/>
                <a:gd name="T7" fmla="*/ 90 h 1080"/>
                <a:gd name="T8" fmla="*/ 105 w 1536"/>
                <a:gd name="T9" fmla="*/ 87 h 1080"/>
                <a:gd name="T10" fmla="*/ 102 w 1536"/>
                <a:gd name="T11" fmla="*/ 85 h 1080"/>
                <a:gd name="T12" fmla="*/ 89 w 1536"/>
                <a:gd name="T13" fmla="*/ 80 h 1080"/>
                <a:gd name="T14" fmla="*/ 85 w 1536"/>
                <a:gd name="T15" fmla="*/ 82 h 1080"/>
                <a:gd name="T16" fmla="*/ 82 w 1536"/>
                <a:gd name="T17" fmla="*/ 80 h 1080"/>
                <a:gd name="T18" fmla="*/ 80 w 1536"/>
                <a:gd name="T19" fmla="*/ 75 h 1080"/>
                <a:gd name="T20" fmla="*/ 75 w 1536"/>
                <a:gd name="T21" fmla="*/ 72 h 1080"/>
                <a:gd name="T22" fmla="*/ 61 w 1536"/>
                <a:gd name="T23" fmla="*/ 70 h 1080"/>
                <a:gd name="T24" fmla="*/ 62 w 1536"/>
                <a:gd name="T25" fmla="*/ 72 h 1080"/>
                <a:gd name="T26" fmla="*/ 58 w 1536"/>
                <a:gd name="T27" fmla="*/ 75 h 1080"/>
                <a:gd name="T28" fmla="*/ 49 w 1536"/>
                <a:gd name="T29" fmla="*/ 76 h 1080"/>
                <a:gd name="T30" fmla="*/ 41 w 1536"/>
                <a:gd name="T31" fmla="*/ 79 h 1080"/>
                <a:gd name="T32" fmla="*/ 41 w 1536"/>
                <a:gd name="T33" fmla="*/ 77 h 1080"/>
                <a:gd name="T34" fmla="*/ 39 w 1536"/>
                <a:gd name="T35" fmla="*/ 74 h 1080"/>
                <a:gd name="T36" fmla="*/ 28 w 1536"/>
                <a:gd name="T37" fmla="*/ 78 h 1080"/>
                <a:gd name="T38" fmla="*/ 18 w 1536"/>
                <a:gd name="T39" fmla="*/ 85 h 1080"/>
                <a:gd name="T40" fmla="*/ 18 w 1536"/>
                <a:gd name="T41" fmla="*/ 77 h 1080"/>
                <a:gd name="T42" fmla="*/ 19 w 1536"/>
                <a:gd name="T43" fmla="*/ 69 h 1080"/>
                <a:gd name="T44" fmla="*/ 16 w 1536"/>
                <a:gd name="T45" fmla="*/ 69 h 1080"/>
                <a:gd name="T46" fmla="*/ 11 w 1536"/>
                <a:gd name="T47" fmla="*/ 69 h 1080"/>
                <a:gd name="T48" fmla="*/ 5 w 1536"/>
                <a:gd name="T49" fmla="*/ 68 h 1080"/>
                <a:gd name="T50" fmla="*/ 1 w 1536"/>
                <a:gd name="T51" fmla="*/ 63 h 1080"/>
                <a:gd name="T52" fmla="*/ 3 w 1536"/>
                <a:gd name="T53" fmla="*/ 59 h 1080"/>
                <a:gd name="T54" fmla="*/ 9 w 1536"/>
                <a:gd name="T55" fmla="*/ 54 h 1080"/>
                <a:gd name="T56" fmla="*/ 15 w 1536"/>
                <a:gd name="T57" fmla="*/ 47 h 1080"/>
                <a:gd name="T58" fmla="*/ 17 w 1536"/>
                <a:gd name="T59" fmla="*/ 40 h 1080"/>
                <a:gd name="T60" fmla="*/ 12 w 1536"/>
                <a:gd name="T61" fmla="*/ 33 h 1080"/>
                <a:gd name="T62" fmla="*/ 10 w 1536"/>
                <a:gd name="T63" fmla="*/ 21 h 1080"/>
                <a:gd name="T64" fmla="*/ 6 w 1536"/>
                <a:gd name="T65" fmla="*/ 14 h 1080"/>
                <a:gd name="T66" fmla="*/ 7 w 1536"/>
                <a:gd name="T67" fmla="*/ 9 h 1080"/>
                <a:gd name="T68" fmla="*/ 12 w 1536"/>
                <a:gd name="T69" fmla="*/ 7 h 1080"/>
                <a:gd name="T70" fmla="*/ 16 w 1536"/>
                <a:gd name="T71" fmla="*/ 8 h 1080"/>
                <a:gd name="T72" fmla="*/ 19 w 1536"/>
                <a:gd name="T73" fmla="*/ 8 h 1080"/>
                <a:gd name="T74" fmla="*/ 22 w 1536"/>
                <a:gd name="T75" fmla="*/ 9 h 1080"/>
                <a:gd name="T76" fmla="*/ 29 w 1536"/>
                <a:gd name="T77" fmla="*/ 12 h 1080"/>
                <a:gd name="T78" fmla="*/ 33 w 1536"/>
                <a:gd name="T79" fmla="*/ 13 h 1080"/>
                <a:gd name="T80" fmla="*/ 38 w 1536"/>
                <a:gd name="T81" fmla="*/ 15 h 1080"/>
                <a:gd name="T82" fmla="*/ 42 w 1536"/>
                <a:gd name="T83" fmla="*/ 17 h 1080"/>
                <a:gd name="T84" fmla="*/ 47 w 1536"/>
                <a:gd name="T85" fmla="*/ 19 h 1080"/>
                <a:gd name="T86" fmla="*/ 51 w 1536"/>
                <a:gd name="T87" fmla="*/ 21 h 1080"/>
                <a:gd name="T88" fmla="*/ 50 w 1536"/>
                <a:gd name="T89" fmla="*/ 15 h 1080"/>
                <a:gd name="T90" fmla="*/ 56 w 1536"/>
                <a:gd name="T91" fmla="*/ 0 h 1080"/>
                <a:gd name="T92" fmla="*/ 74 w 1536"/>
                <a:gd name="T93" fmla="*/ 5 h 1080"/>
                <a:gd name="T94" fmla="*/ 87 w 1536"/>
                <a:gd name="T95" fmla="*/ 6 h 1080"/>
                <a:gd name="T96" fmla="*/ 92 w 1536"/>
                <a:gd name="T97" fmla="*/ 11 h 1080"/>
                <a:gd name="T98" fmla="*/ 95 w 1536"/>
                <a:gd name="T99" fmla="*/ 15 h 1080"/>
                <a:gd name="T100" fmla="*/ 93 w 1536"/>
                <a:gd name="T101" fmla="*/ 20 h 1080"/>
                <a:gd name="T102" fmla="*/ 108 w 1536"/>
                <a:gd name="T103" fmla="*/ 18 h 1080"/>
                <a:gd name="T104" fmla="*/ 120 w 1536"/>
                <a:gd name="T105" fmla="*/ 21 h 1080"/>
                <a:gd name="T106" fmla="*/ 127 w 1536"/>
                <a:gd name="T107" fmla="*/ 29 h 1080"/>
                <a:gd name="T108" fmla="*/ 130 w 1536"/>
                <a:gd name="T109" fmla="*/ 30 h 1080"/>
                <a:gd name="T110" fmla="*/ 130 w 1536"/>
                <a:gd name="T111" fmla="*/ 49 h 1080"/>
                <a:gd name="T112" fmla="*/ 120 w 1536"/>
                <a:gd name="T113" fmla="*/ 69 h 1080"/>
                <a:gd name="T114" fmla="*/ 119 w 1536"/>
                <a:gd name="T115" fmla="*/ 74 h 1080"/>
                <a:gd name="T116" fmla="*/ 118 w 1536"/>
                <a:gd name="T117" fmla="*/ 80 h 108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536"/>
                <a:gd name="T178" fmla="*/ 0 h 1080"/>
                <a:gd name="T179" fmla="*/ 1536 w 1536"/>
                <a:gd name="T180" fmla="*/ 1080 h 108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536" h="1080">
                  <a:moveTo>
                    <a:pt x="1350" y="1020"/>
                  </a:moveTo>
                  <a:lnTo>
                    <a:pt x="1350" y="1026"/>
                  </a:lnTo>
                  <a:lnTo>
                    <a:pt x="1344" y="1026"/>
                  </a:lnTo>
                  <a:lnTo>
                    <a:pt x="1338" y="1032"/>
                  </a:lnTo>
                  <a:lnTo>
                    <a:pt x="1332" y="1026"/>
                  </a:lnTo>
                  <a:lnTo>
                    <a:pt x="1326" y="1026"/>
                  </a:lnTo>
                  <a:lnTo>
                    <a:pt x="1320" y="1020"/>
                  </a:lnTo>
                  <a:lnTo>
                    <a:pt x="1314" y="1026"/>
                  </a:lnTo>
                  <a:lnTo>
                    <a:pt x="1314" y="1032"/>
                  </a:lnTo>
                  <a:lnTo>
                    <a:pt x="1308" y="1038"/>
                  </a:lnTo>
                  <a:lnTo>
                    <a:pt x="1308" y="1044"/>
                  </a:lnTo>
                  <a:lnTo>
                    <a:pt x="1308" y="1050"/>
                  </a:lnTo>
                  <a:lnTo>
                    <a:pt x="1308" y="1056"/>
                  </a:lnTo>
                  <a:lnTo>
                    <a:pt x="1308" y="1062"/>
                  </a:lnTo>
                  <a:lnTo>
                    <a:pt x="1296" y="1068"/>
                  </a:lnTo>
                  <a:lnTo>
                    <a:pt x="1284" y="1074"/>
                  </a:lnTo>
                  <a:lnTo>
                    <a:pt x="1272" y="1080"/>
                  </a:lnTo>
                  <a:lnTo>
                    <a:pt x="1260" y="1080"/>
                  </a:lnTo>
                  <a:lnTo>
                    <a:pt x="1254" y="1074"/>
                  </a:lnTo>
                  <a:lnTo>
                    <a:pt x="1236" y="1074"/>
                  </a:lnTo>
                  <a:lnTo>
                    <a:pt x="1230" y="1074"/>
                  </a:lnTo>
                  <a:lnTo>
                    <a:pt x="1236" y="1074"/>
                  </a:lnTo>
                  <a:lnTo>
                    <a:pt x="1236" y="1068"/>
                  </a:lnTo>
                  <a:lnTo>
                    <a:pt x="1236" y="1062"/>
                  </a:lnTo>
                  <a:lnTo>
                    <a:pt x="1236" y="1056"/>
                  </a:lnTo>
                  <a:lnTo>
                    <a:pt x="1242" y="1050"/>
                  </a:lnTo>
                  <a:lnTo>
                    <a:pt x="1242" y="1044"/>
                  </a:lnTo>
                  <a:lnTo>
                    <a:pt x="1242" y="1038"/>
                  </a:lnTo>
                  <a:lnTo>
                    <a:pt x="1248" y="1032"/>
                  </a:lnTo>
                  <a:lnTo>
                    <a:pt x="1236" y="1026"/>
                  </a:lnTo>
                  <a:lnTo>
                    <a:pt x="1218" y="1020"/>
                  </a:lnTo>
                  <a:lnTo>
                    <a:pt x="1224" y="1014"/>
                  </a:lnTo>
                  <a:lnTo>
                    <a:pt x="1218" y="1008"/>
                  </a:lnTo>
                  <a:lnTo>
                    <a:pt x="1218" y="1002"/>
                  </a:lnTo>
                  <a:lnTo>
                    <a:pt x="1212" y="1008"/>
                  </a:lnTo>
                  <a:lnTo>
                    <a:pt x="1206" y="1002"/>
                  </a:lnTo>
                  <a:lnTo>
                    <a:pt x="1212" y="1002"/>
                  </a:lnTo>
                  <a:lnTo>
                    <a:pt x="1212" y="996"/>
                  </a:lnTo>
                  <a:lnTo>
                    <a:pt x="1200" y="990"/>
                  </a:lnTo>
                  <a:lnTo>
                    <a:pt x="1200" y="984"/>
                  </a:lnTo>
                  <a:lnTo>
                    <a:pt x="1188" y="984"/>
                  </a:lnTo>
                  <a:lnTo>
                    <a:pt x="1176" y="978"/>
                  </a:lnTo>
                  <a:lnTo>
                    <a:pt x="1164" y="960"/>
                  </a:lnTo>
                  <a:lnTo>
                    <a:pt x="1152" y="936"/>
                  </a:lnTo>
                  <a:lnTo>
                    <a:pt x="1146" y="936"/>
                  </a:lnTo>
                  <a:lnTo>
                    <a:pt x="1128" y="900"/>
                  </a:lnTo>
                  <a:lnTo>
                    <a:pt x="1038" y="912"/>
                  </a:lnTo>
                  <a:lnTo>
                    <a:pt x="1038" y="918"/>
                  </a:lnTo>
                  <a:lnTo>
                    <a:pt x="1032" y="924"/>
                  </a:lnTo>
                  <a:lnTo>
                    <a:pt x="1026" y="918"/>
                  </a:lnTo>
                  <a:lnTo>
                    <a:pt x="1020" y="924"/>
                  </a:lnTo>
                  <a:lnTo>
                    <a:pt x="1008" y="936"/>
                  </a:lnTo>
                  <a:lnTo>
                    <a:pt x="990" y="936"/>
                  </a:lnTo>
                  <a:lnTo>
                    <a:pt x="990" y="942"/>
                  </a:lnTo>
                  <a:lnTo>
                    <a:pt x="996" y="942"/>
                  </a:lnTo>
                  <a:lnTo>
                    <a:pt x="984" y="948"/>
                  </a:lnTo>
                  <a:lnTo>
                    <a:pt x="972" y="948"/>
                  </a:lnTo>
                  <a:lnTo>
                    <a:pt x="960" y="948"/>
                  </a:lnTo>
                  <a:lnTo>
                    <a:pt x="948" y="942"/>
                  </a:lnTo>
                  <a:lnTo>
                    <a:pt x="948" y="936"/>
                  </a:lnTo>
                  <a:lnTo>
                    <a:pt x="942" y="936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30" y="924"/>
                  </a:lnTo>
                  <a:lnTo>
                    <a:pt x="936" y="918"/>
                  </a:lnTo>
                  <a:lnTo>
                    <a:pt x="918" y="918"/>
                  </a:lnTo>
                  <a:lnTo>
                    <a:pt x="918" y="900"/>
                  </a:lnTo>
                  <a:lnTo>
                    <a:pt x="924" y="900"/>
                  </a:lnTo>
                  <a:lnTo>
                    <a:pt x="924" y="894"/>
                  </a:lnTo>
                  <a:lnTo>
                    <a:pt x="924" y="870"/>
                  </a:lnTo>
                  <a:lnTo>
                    <a:pt x="924" y="864"/>
                  </a:lnTo>
                  <a:lnTo>
                    <a:pt x="918" y="858"/>
                  </a:lnTo>
                  <a:lnTo>
                    <a:pt x="918" y="852"/>
                  </a:lnTo>
                  <a:lnTo>
                    <a:pt x="906" y="840"/>
                  </a:lnTo>
                  <a:lnTo>
                    <a:pt x="894" y="834"/>
                  </a:lnTo>
                  <a:lnTo>
                    <a:pt x="876" y="822"/>
                  </a:lnTo>
                  <a:lnTo>
                    <a:pt x="870" y="828"/>
                  </a:lnTo>
                  <a:lnTo>
                    <a:pt x="858" y="816"/>
                  </a:lnTo>
                  <a:lnTo>
                    <a:pt x="810" y="798"/>
                  </a:lnTo>
                  <a:lnTo>
                    <a:pt x="774" y="792"/>
                  </a:lnTo>
                  <a:lnTo>
                    <a:pt x="732" y="798"/>
                  </a:lnTo>
                  <a:lnTo>
                    <a:pt x="726" y="804"/>
                  </a:lnTo>
                  <a:lnTo>
                    <a:pt x="714" y="810"/>
                  </a:lnTo>
                  <a:lnTo>
                    <a:pt x="702" y="810"/>
                  </a:lnTo>
                  <a:lnTo>
                    <a:pt x="690" y="810"/>
                  </a:lnTo>
                  <a:lnTo>
                    <a:pt x="696" y="816"/>
                  </a:lnTo>
                  <a:lnTo>
                    <a:pt x="696" y="822"/>
                  </a:lnTo>
                  <a:lnTo>
                    <a:pt x="702" y="822"/>
                  </a:lnTo>
                  <a:lnTo>
                    <a:pt x="708" y="822"/>
                  </a:lnTo>
                  <a:lnTo>
                    <a:pt x="708" y="828"/>
                  </a:lnTo>
                  <a:lnTo>
                    <a:pt x="708" y="834"/>
                  </a:lnTo>
                  <a:lnTo>
                    <a:pt x="714" y="834"/>
                  </a:lnTo>
                  <a:lnTo>
                    <a:pt x="708" y="846"/>
                  </a:lnTo>
                  <a:lnTo>
                    <a:pt x="708" y="852"/>
                  </a:lnTo>
                  <a:lnTo>
                    <a:pt x="702" y="852"/>
                  </a:lnTo>
                  <a:lnTo>
                    <a:pt x="696" y="858"/>
                  </a:lnTo>
                  <a:lnTo>
                    <a:pt x="690" y="864"/>
                  </a:lnTo>
                  <a:lnTo>
                    <a:pt x="666" y="870"/>
                  </a:lnTo>
                  <a:lnTo>
                    <a:pt x="660" y="876"/>
                  </a:lnTo>
                  <a:lnTo>
                    <a:pt x="642" y="876"/>
                  </a:lnTo>
                  <a:lnTo>
                    <a:pt x="606" y="882"/>
                  </a:lnTo>
                  <a:lnTo>
                    <a:pt x="588" y="882"/>
                  </a:lnTo>
                  <a:lnTo>
                    <a:pt x="582" y="876"/>
                  </a:lnTo>
                  <a:lnTo>
                    <a:pt x="576" y="876"/>
                  </a:lnTo>
                  <a:lnTo>
                    <a:pt x="564" y="876"/>
                  </a:lnTo>
                  <a:lnTo>
                    <a:pt x="552" y="882"/>
                  </a:lnTo>
                  <a:lnTo>
                    <a:pt x="540" y="894"/>
                  </a:lnTo>
                  <a:lnTo>
                    <a:pt x="534" y="906"/>
                  </a:lnTo>
                  <a:lnTo>
                    <a:pt x="528" y="912"/>
                  </a:lnTo>
                  <a:lnTo>
                    <a:pt x="516" y="924"/>
                  </a:lnTo>
                  <a:lnTo>
                    <a:pt x="486" y="930"/>
                  </a:lnTo>
                  <a:lnTo>
                    <a:pt x="474" y="912"/>
                  </a:lnTo>
                  <a:lnTo>
                    <a:pt x="474" y="906"/>
                  </a:lnTo>
                  <a:lnTo>
                    <a:pt x="468" y="906"/>
                  </a:lnTo>
                  <a:lnTo>
                    <a:pt x="468" y="900"/>
                  </a:lnTo>
                  <a:lnTo>
                    <a:pt x="462" y="894"/>
                  </a:lnTo>
                  <a:lnTo>
                    <a:pt x="456" y="894"/>
                  </a:lnTo>
                  <a:lnTo>
                    <a:pt x="462" y="888"/>
                  </a:lnTo>
                  <a:lnTo>
                    <a:pt x="468" y="888"/>
                  </a:lnTo>
                  <a:lnTo>
                    <a:pt x="462" y="882"/>
                  </a:lnTo>
                  <a:lnTo>
                    <a:pt x="462" y="876"/>
                  </a:lnTo>
                  <a:lnTo>
                    <a:pt x="456" y="870"/>
                  </a:lnTo>
                  <a:lnTo>
                    <a:pt x="456" y="864"/>
                  </a:lnTo>
                  <a:lnTo>
                    <a:pt x="450" y="858"/>
                  </a:lnTo>
                  <a:lnTo>
                    <a:pt x="444" y="858"/>
                  </a:lnTo>
                  <a:lnTo>
                    <a:pt x="444" y="852"/>
                  </a:lnTo>
                  <a:lnTo>
                    <a:pt x="438" y="852"/>
                  </a:lnTo>
                  <a:lnTo>
                    <a:pt x="438" y="858"/>
                  </a:lnTo>
                  <a:lnTo>
                    <a:pt x="402" y="870"/>
                  </a:lnTo>
                  <a:lnTo>
                    <a:pt x="390" y="882"/>
                  </a:lnTo>
                  <a:lnTo>
                    <a:pt x="384" y="900"/>
                  </a:lnTo>
                  <a:lnTo>
                    <a:pt x="342" y="900"/>
                  </a:lnTo>
                  <a:lnTo>
                    <a:pt x="324" y="900"/>
                  </a:lnTo>
                  <a:lnTo>
                    <a:pt x="294" y="906"/>
                  </a:lnTo>
                  <a:lnTo>
                    <a:pt x="282" y="948"/>
                  </a:lnTo>
                  <a:lnTo>
                    <a:pt x="282" y="978"/>
                  </a:lnTo>
                  <a:lnTo>
                    <a:pt x="270" y="1008"/>
                  </a:lnTo>
                  <a:lnTo>
                    <a:pt x="240" y="1014"/>
                  </a:lnTo>
                  <a:lnTo>
                    <a:pt x="216" y="996"/>
                  </a:lnTo>
                  <a:lnTo>
                    <a:pt x="204" y="984"/>
                  </a:lnTo>
                  <a:lnTo>
                    <a:pt x="192" y="966"/>
                  </a:lnTo>
                  <a:lnTo>
                    <a:pt x="186" y="948"/>
                  </a:lnTo>
                  <a:lnTo>
                    <a:pt x="174" y="948"/>
                  </a:lnTo>
                  <a:lnTo>
                    <a:pt x="174" y="936"/>
                  </a:lnTo>
                  <a:lnTo>
                    <a:pt x="186" y="924"/>
                  </a:lnTo>
                  <a:lnTo>
                    <a:pt x="198" y="906"/>
                  </a:lnTo>
                  <a:lnTo>
                    <a:pt x="204" y="888"/>
                  </a:lnTo>
                  <a:lnTo>
                    <a:pt x="222" y="870"/>
                  </a:lnTo>
                  <a:lnTo>
                    <a:pt x="234" y="858"/>
                  </a:lnTo>
                  <a:lnTo>
                    <a:pt x="234" y="852"/>
                  </a:lnTo>
                  <a:lnTo>
                    <a:pt x="222" y="852"/>
                  </a:lnTo>
                  <a:lnTo>
                    <a:pt x="228" y="810"/>
                  </a:lnTo>
                  <a:lnTo>
                    <a:pt x="222" y="798"/>
                  </a:lnTo>
                  <a:lnTo>
                    <a:pt x="216" y="798"/>
                  </a:lnTo>
                  <a:lnTo>
                    <a:pt x="216" y="792"/>
                  </a:lnTo>
                  <a:lnTo>
                    <a:pt x="210" y="792"/>
                  </a:lnTo>
                  <a:lnTo>
                    <a:pt x="204" y="798"/>
                  </a:lnTo>
                  <a:lnTo>
                    <a:pt x="204" y="792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0" y="786"/>
                  </a:lnTo>
                  <a:lnTo>
                    <a:pt x="174" y="792"/>
                  </a:lnTo>
                  <a:lnTo>
                    <a:pt x="162" y="792"/>
                  </a:lnTo>
                  <a:lnTo>
                    <a:pt x="156" y="792"/>
                  </a:lnTo>
                  <a:lnTo>
                    <a:pt x="156" y="798"/>
                  </a:lnTo>
                  <a:lnTo>
                    <a:pt x="138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6" y="804"/>
                  </a:lnTo>
                  <a:lnTo>
                    <a:pt x="102" y="810"/>
                  </a:lnTo>
                  <a:lnTo>
                    <a:pt x="90" y="810"/>
                  </a:lnTo>
                  <a:lnTo>
                    <a:pt x="72" y="798"/>
                  </a:lnTo>
                  <a:lnTo>
                    <a:pt x="66" y="780"/>
                  </a:lnTo>
                  <a:lnTo>
                    <a:pt x="60" y="780"/>
                  </a:lnTo>
                  <a:lnTo>
                    <a:pt x="60" y="768"/>
                  </a:lnTo>
                  <a:lnTo>
                    <a:pt x="54" y="768"/>
                  </a:lnTo>
                  <a:lnTo>
                    <a:pt x="24" y="756"/>
                  </a:lnTo>
                  <a:lnTo>
                    <a:pt x="18" y="744"/>
                  </a:lnTo>
                  <a:lnTo>
                    <a:pt x="12" y="738"/>
                  </a:lnTo>
                  <a:lnTo>
                    <a:pt x="18" y="732"/>
                  </a:lnTo>
                  <a:lnTo>
                    <a:pt x="12" y="726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8" y="696"/>
                  </a:lnTo>
                  <a:lnTo>
                    <a:pt x="24" y="708"/>
                  </a:lnTo>
                  <a:lnTo>
                    <a:pt x="36" y="702"/>
                  </a:lnTo>
                  <a:lnTo>
                    <a:pt x="36" y="678"/>
                  </a:lnTo>
                  <a:lnTo>
                    <a:pt x="36" y="660"/>
                  </a:lnTo>
                  <a:lnTo>
                    <a:pt x="42" y="654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72" y="624"/>
                  </a:lnTo>
                  <a:lnTo>
                    <a:pt x="90" y="618"/>
                  </a:lnTo>
                  <a:lnTo>
                    <a:pt x="102" y="618"/>
                  </a:lnTo>
                  <a:lnTo>
                    <a:pt x="114" y="612"/>
                  </a:lnTo>
                  <a:lnTo>
                    <a:pt x="138" y="606"/>
                  </a:lnTo>
                  <a:lnTo>
                    <a:pt x="144" y="606"/>
                  </a:lnTo>
                  <a:lnTo>
                    <a:pt x="150" y="594"/>
                  </a:lnTo>
                  <a:lnTo>
                    <a:pt x="156" y="576"/>
                  </a:lnTo>
                  <a:lnTo>
                    <a:pt x="168" y="552"/>
                  </a:lnTo>
                  <a:lnTo>
                    <a:pt x="168" y="540"/>
                  </a:lnTo>
                  <a:lnTo>
                    <a:pt x="180" y="522"/>
                  </a:lnTo>
                  <a:lnTo>
                    <a:pt x="186" y="498"/>
                  </a:lnTo>
                  <a:lnTo>
                    <a:pt x="198" y="480"/>
                  </a:lnTo>
                  <a:lnTo>
                    <a:pt x="204" y="486"/>
                  </a:lnTo>
                  <a:lnTo>
                    <a:pt x="210" y="480"/>
                  </a:lnTo>
                  <a:lnTo>
                    <a:pt x="204" y="474"/>
                  </a:lnTo>
                  <a:lnTo>
                    <a:pt x="198" y="462"/>
                  </a:lnTo>
                  <a:lnTo>
                    <a:pt x="192" y="456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50"/>
                  </a:lnTo>
                  <a:lnTo>
                    <a:pt x="132" y="426"/>
                  </a:lnTo>
                  <a:lnTo>
                    <a:pt x="132" y="396"/>
                  </a:lnTo>
                  <a:lnTo>
                    <a:pt x="132" y="378"/>
                  </a:lnTo>
                  <a:lnTo>
                    <a:pt x="126" y="348"/>
                  </a:lnTo>
                  <a:lnTo>
                    <a:pt x="132" y="312"/>
                  </a:lnTo>
                  <a:lnTo>
                    <a:pt x="126" y="288"/>
                  </a:lnTo>
                  <a:lnTo>
                    <a:pt x="138" y="282"/>
                  </a:lnTo>
                  <a:lnTo>
                    <a:pt x="126" y="264"/>
                  </a:lnTo>
                  <a:lnTo>
                    <a:pt x="126" y="258"/>
                  </a:lnTo>
                  <a:lnTo>
                    <a:pt x="120" y="246"/>
                  </a:lnTo>
                  <a:lnTo>
                    <a:pt x="126" y="234"/>
                  </a:lnTo>
                  <a:lnTo>
                    <a:pt x="114" y="228"/>
                  </a:lnTo>
                  <a:lnTo>
                    <a:pt x="114" y="222"/>
                  </a:lnTo>
                  <a:lnTo>
                    <a:pt x="96" y="204"/>
                  </a:lnTo>
                  <a:lnTo>
                    <a:pt x="84" y="180"/>
                  </a:lnTo>
                  <a:lnTo>
                    <a:pt x="78" y="168"/>
                  </a:lnTo>
                  <a:lnTo>
                    <a:pt x="72" y="162"/>
                  </a:lnTo>
                  <a:lnTo>
                    <a:pt x="66" y="144"/>
                  </a:lnTo>
                  <a:lnTo>
                    <a:pt x="60" y="138"/>
                  </a:lnTo>
                  <a:lnTo>
                    <a:pt x="66" y="126"/>
                  </a:lnTo>
                  <a:lnTo>
                    <a:pt x="66" y="114"/>
                  </a:lnTo>
                  <a:lnTo>
                    <a:pt x="72" y="114"/>
                  </a:lnTo>
                  <a:lnTo>
                    <a:pt x="72" y="108"/>
                  </a:lnTo>
                  <a:lnTo>
                    <a:pt x="78" y="102"/>
                  </a:lnTo>
                  <a:lnTo>
                    <a:pt x="78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120" y="78"/>
                  </a:lnTo>
                  <a:lnTo>
                    <a:pt x="144" y="84"/>
                  </a:lnTo>
                  <a:lnTo>
                    <a:pt x="150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74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92" y="102"/>
                  </a:lnTo>
                  <a:lnTo>
                    <a:pt x="198" y="96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16" y="96"/>
                  </a:lnTo>
                  <a:lnTo>
                    <a:pt x="222" y="96"/>
                  </a:lnTo>
                  <a:lnTo>
                    <a:pt x="228" y="96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94" y="114"/>
                  </a:lnTo>
                  <a:lnTo>
                    <a:pt x="312" y="120"/>
                  </a:lnTo>
                  <a:lnTo>
                    <a:pt x="318" y="126"/>
                  </a:lnTo>
                  <a:lnTo>
                    <a:pt x="330" y="132"/>
                  </a:lnTo>
                  <a:lnTo>
                    <a:pt x="342" y="132"/>
                  </a:lnTo>
                  <a:lnTo>
                    <a:pt x="348" y="132"/>
                  </a:lnTo>
                  <a:lnTo>
                    <a:pt x="354" y="138"/>
                  </a:lnTo>
                  <a:lnTo>
                    <a:pt x="366" y="138"/>
                  </a:lnTo>
                  <a:lnTo>
                    <a:pt x="372" y="144"/>
                  </a:lnTo>
                  <a:lnTo>
                    <a:pt x="378" y="150"/>
                  </a:lnTo>
                  <a:lnTo>
                    <a:pt x="384" y="150"/>
                  </a:lnTo>
                  <a:lnTo>
                    <a:pt x="390" y="150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14" y="156"/>
                  </a:lnTo>
                  <a:lnTo>
                    <a:pt x="420" y="156"/>
                  </a:lnTo>
                  <a:lnTo>
                    <a:pt x="426" y="162"/>
                  </a:lnTo>
                  <a:lnTo>
                    <a:pt x="438" y="168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62" y="174"/>
                  </a:lnTo>
                  <a:lnTo>
                    <a:pt x="468" y="174"/>
                  </a:lnTo>
                  <a:lnTo>
                    <a:pt x="474" y="174"/>
                  </a:lnTo>
                  <a:lnTo>
                    <a:pt x="474" y="180"/>
                  </a:lnTo>
                  <a:lnTo>
                    <a:pt x="480" y="192"/>
                  </a:lnTo>
                  <a:lnTo>
                    <a:pt x="498" y="198"/>
                  </a:lnTo>
                  <a:lnTo>
                    <a:pt x="510" y="210"/>
                  </a:lnTo>
                  <a:lnTo>
                    <a:pt x="516" y="210"/>
                  </a:lnTo>
                  <a:lnTo>
                    <a:pt x="522" y="210"/>
                  </a:lnTo>
                  <a:lnTo>
                    <a:pt x="534" y="216"/>
                  </a:lnTo>
                  <a:lnTo>
                    <a:pt x="540" y="216"/>
                  </a:lnTo>
                  <a:lnTo>
                    <a:pt x="546" y="222"/>
                  </a:lnTo>
                  <a:lnTo>
                    <a:pt x="552" y="222"/>
                  </a:lnTo>
                  <a:lnTo>
                    <a:pt x="558" y="228"/>
                  </a:lnTo>
                  <a:lnTo>
                    <a:pt x="564" y="228"/>
                  </a:lnTo>
                  <a:lnTo>
                    <a:pt x="570" y="234"/>
                  </a:lnTo>
                  <a:lnTo>
                    <a:pt x="576" y="240"/>
                  </a:lnTo>
                  <a:lnTo>
                    <a:pt x="582" y="240"/>
                  </a:lnTo>
                  <a:lnTo>
                    <a:pt x="588" y="240"/>
                  </a:lnTo>
                  <a:lnTo>
                    <a:pt x="594" y="240"/>
                  </a:lnTo>
                  <a:lnTo>
                    <a:pt x="600" y="228"/>
                  </a:lnTo>
                  <a:lnTo>
                    <a:pt x="588" y="216"/>
                  </a:lnTo>
                  <a:lnTo>
                    <a:pt x="588" y="198"/>
                  </a:lnTo>
                  <a:lnTo>
                    <a:pt x="582" y="198"/>
                  </a:lnTo>
                  <a:lnTo>
                    <a:pt x="588" y="192"/>
                  </a:lnTo>
                  <a:lnTo>
                    <a:pt x="582" y="168"/>
                  </a:lnTo>
                  <a:lnTo>
                    <a:pt x="558" y="114"/>
                  </a:lnTo>
                  <a:lnTo>
                    <a:pt x="552" y="90"/>
                  </a:lnTo>
                  <a:lnTo>
                    <a:pt x="558" y="60"/>
                  </a:lnTo>
                  <a:lnTo>
                    <a:pt x="564" y="48"/>
                  </a:lnTo>
                  <a:lnTo>
                    <a:pt x="582" y="42"/>
                  </a:lnTo>
                  <a:lnTo>
                    <a:pt x="624" y="6"/>
                  </a:lnTo>
                  <a:lnTo>
                    <a:pt x="648" y="0"/>
                  </a:lnTo>
                  <a:lnTo>
                    <a:pt x="678" y="0"/>
                  </a:lnTo>
                  <a:lnTo>
                    <a:pt x="720" y="12"/>
                  </a:lnTo>
                  <a:lnTo>
                    <a:pt x="744" y="24"/>
                  </a:lnTo>
                  <a:lnTo>
                    <a:pt x="768" y="42"/>
                  </a:lnTo>
                  <a:lnTo>
                    <a:pt x="816" y="48"/>
                  </a:lnTo>
                  <a:lnTo>
                    <a:pt x="834" y="48"/>
                  </a:lnTo>
                  <a:lnTo>
                    <a:pt x="852" y="54"/>
                  </a:lnTo>
                  <a:lnTo>
                    <a:pt x="906" y="60"/>
                  </a:lnTo>
                  <a:lnTo>
                    <a:pt x="948" y="54"/>
                  </a:lnTo>
                  <a:lnTo>
                    <a:pt x="978" y="42"/>
                  </a:lnTo>
                  <a:lnTo>
                    <a:pt x="984" y="48"/>
                  </a:lnTo>
                  <a:lnTo>
                    <a:pt x="990" y="60"/>
                  </a:lnTo>
                  <a:lnTo>
                    <a:pt x="996" y="66"/>
                  </a:lnTo>
                  <a:lnTo>
                    <a:pt x="1002" y="72"/>
                  </a:lnTo>
                  <a:lnTo>
                    <a:pt x="1014" y="78"/>
                  </a:lnTo>
                  <a:lnTo>
                    <a:pt x="1014" y="84"/>
                  </a:lnTo>
                  <a:lnTo>
                    <a:pt x="1032" y="84"/>
                  </a:lnTo>
                  <a:lnTo>
                    <a:pt x="1032" y="90"/>
                  </a:lnTo>
                  <a:lnTo>
                    <a:pt x="1032" y="96"/>
                  </a:lnTo>
                  <a:lnTo>
                    <a:pt x="1032" y="108"/>
                  </a:lnTo>
                  <a:lnTo>
                    <a:pt x="1056" y="126"/>
                  </a:lnTo>
                  <a:lnTo>
                    <a:pt x="1068" y="138"/>
                  </a:lnTo>
                  <a:lnTo>
                    <a:pt x="1068" y="156"/>
                  </a:lnTo>
                  <a:lnTo>
                    <a:pt x="1080" y="150"/>
                  </a:lnTo>
                  <a:lnTo>
                    <a:pt x="1086" y="150"/>
                  </a:lnTo>
                  <a:lnTo>
                    <a:pt x="1092" y="156"/>
                  </a:lnTo>
                  <a:lnTo>
                    <a:pt x="1092" y="162"/>
                  </a:lnTo>
                  <a:lnTo>
                    <a:pt x="1092" y="168"/>
                  </a:lnTo>
                  <a:lnTo>
                    <a:pt x="1098" y="168"/>
                  </a:lnTo>
                  <a:lnTo>
                    <a:pt x="1092" y="180"/>
                  </a:lnTo>
                  <a:lnTo>
                    <a:pt x="1092" y="186"/>
                  </a:lnTo>
                  <a:lnTo>
                    <a:pt x="1086" y="192"/>
                  </a:lnTo>
                  <a:lnTo>
                    <a:pt x="1068" y="210"/>
                  </a:lnTo>
                  <a:lnTo>
                    <a:pt x="1068" y="216"/>
                  </a:lnTo>
                  <a:lnTo>
                    <a:pt x="1074" y="228"/>
                  </a:lnTo>
                  <a:lnTo>
                    <a:pt x="1092" y="234"/>
                  </a:lnTo>
                  <a:lnTo>
                    <a:pt x="1122" y="216"/>
                  </a:lnTo>
                  <a:lnTo>
                    <a:pt x="1188" y="204"/>
                  </a:lnTo>
                  <a:lnTo>
                    <a:pt x="1212" y="204"/>
                  </a:lnTo>
                  <a:lnTo>
                    <a:pt x="1230" y="198"/>
                  </a:lnTo>
                  <a:lnTo>
                    <a:pt x="1236" y="204"/>
                  </a:lnTo>
                  <a:lnTo>
                    <a:pt x="1242" y="210"/>
                  </a:lnTo>
                  <a:lnTo>
                    <a:pt x="1242" y="204"/>
                  </a:lnTo>
                  <a:lnTo>
                    <a:pt x="1248" y="198"/>
                  </a:lnTo>
                  <a:lnTo>
                    <a:pt x="1308" y="204"/>
                  </a:lnTo>
                  <a:lnTo>
                    <a:pt x="1338" y="204"/>
                  </a:lnTo>
                  <a:lnTo>
                    <a:pt x="1374" y="228"/>
                  </a:lnTo>
                  <a:lnTo>
                    <a:pt x="1380" y="234"/>
                  </a:lnTo>
                  <a:lnTo>
                    <a:pt x="1380" y="240"/>
                  </a:lnTo>
                  <a:lnTo>
                    <a:pt x="1386" y="252"/>
                  </a:lnTo>
                  <a:lnTo>
                    <a:pt x="1392" y="252"/>
                  </a:lnTo>
                  <a:lnTo>
                    <a:pt x="1416" y="270"/>
                  </a:lnTo>
                  <a:lnTo>
                    <a:pt x="1428" y="294"/>
                  </a:lnTo>
                  <a:lnTo>
                    <a:pt x="1440" y="312"/>
                  </a:lnTo>
                  <a:lnTo>
                    <a:pt x="1452" y="330"/>
                  </a:lnTo>
                  <a:lnTo>
                    <a:pt x="1464" y="330"/>
                  </a:lnTo>
                  <a:lnTo>
                    <a:pt x="1464" y="336"/>
                  </a:lnTo>
                  <a:lnTo>
                    <a:pt x="1470" y="336"/>
                  </a:lnTo>
                  <a:lnTo>
                    <a:pt x="1470" y="342"/>
                  </a:lnTo>
                  <a:lnTo>
                    <a:pt x="1476" y="342"/>
                  </a:lnTo>
                  <a:lnTo>
                    <a:pt x="1488" y="336"/>
                  </a:lnTo>
                  <a:lnTo>
                    <a:pt x="1494" y="342"/>
                  </a:lnTo>
                  <a:lnTo>
                    <a:pt x="1500" y="342"/>
                  </a:lnTo>
                  <a:lnTo>
                    <a:pt x="1512" y="366"/>
                  </a:lnTo>
                  <a:lnTo>
                    <a:pt x="1530" y="396"/>
                  </a:lnTo>
                  <a:lnTo>
                    <a:pt x="1536" y="444"/>
                  </a:lnTo>
                  <a:lnTo>
                    <a:pt x="1530" y="480"/>
                  </a:lnTo>
                  <a:lnTo>
                    <a:pt x="1506" y="510"/>
                  </a:lnTo>
                  <a:lnTo>
                    <a:pt x="1500" y="546"/>
                  </a:lnTo>
                  <a:lnTo>
                    <a:pt x="1494" y="564"/>
                  </a:lnTo>
                  <a:lnTo>
                    <a:pt x="1494" y="576"/>
                  </a:lnTo>
                  <a:lnTo>
                    <a:pt x="1500" y="582"/>
                  </a:lnTo>
                  <a:lnTo>
                    <a:pt x="1494" y="612"/>
                  </a:lnTo>
                  <a:lnTo>
                    <a:pt x="1476" y="630"/>
                  </a:lnTo>
                  <a:lnTo>
                    <a:pt x="1434" y="672"/>
                  </a:lnTo>
                  <a:lnTo>
                    <a:pt x="1392" y="756"/>
                  </a:lnTo>
                  <a:lnTo>
                    <a:pt x="1380" y="792"/>
                  </a:lnTo>
                  <a:lnTo>
                    <a:pt x="1374" y="798"/>
                  </a:lnTo>
                  <a:lnTo>
                    <a:pt x="1368" y="798"/>
                  </a:lnTo>
                  <a:lnTo>
                    <a:pt x="1380" y="804"/>
                  </a:lnTo>
                  <a:lnTo>
                    <a:pt x="1386" y="804"/>
                  </a:lnTo>
                  <a:lnTo>
                    <a:pt x="1380" y="822"/>
                  </a:lnTo>
                  <a:lnTo>
                    <a:pt x="1380" y="852"/>
                  </a:lnTo>
                  <a:lnTo>
                    <a:pt x="1374" y="858"/>
                  </a:lnTo>
                  <a:lnTo>
                    <a:pt x="1380" y="858"/>
                  </a:lnTo>
                  <a:lnTo>
                    <a:pt x="1374" y="864"/>
                  </a:lnTo>
                  <a:lnTo>
                    <a:pt x="1374" y="870"/>
                  </a:lnTo>
                  <a:lnTo>
                    <a:pt x="1374" y="876"/>
                  </a:lnTo>
                  <a:lnTo>
                    <a:pt x="1368" y="900"/>
                  </a:lnTo>
                  <a:lnTo>
                    <a:pt x="1362" y="906"/>
                  </a:lnTo>
                  <a:lnTo>
                    <a:pt x="1362" y="918"/>
                  </a:lnTo>
                  <a:lnTo>
                    <a:pt x="1362" y="924"/>
                  </a:lnTo>
                  <a:lnTo>
                    <a:pt x="1356" y="942"/>
                  </a:lnTo>
                  <a:lnTo>
                    <a:pt x="1350" y="972"/>
                  </a:lnTo>
                  <a:lnTo>
                    <a:pt x="1350" y="1014"/>
                  </a:lnTo>
                  <a:lnTo>
                    <a:pt x="1350" y="10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3" name="Freeform 18">
              <a:extLst>
                <a:ext uri="{FF2B5EF4-FFF2-40B4-BE49-F238E27FC236}">
                  <a16:creationId xmlns:a16="http://schemas.microsoft.com/office/drawing/2014/main" id="{EC11F2E0-3C06-46E2-8AD2-66EBE00FFE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32346" y="3837389"/>
              <a:ext cx="556811" cy="818559"/>
            </a:xfrm>
            <a:custGeom>
              <a:avLst/>
              <a:gdLst>
                <a:gd name="T0" fmla="*/ 12 w 1044"/>
                <a:gd name="T1" fmla="*/ 95 h 1542"/>
                <a:gd name="T2" fmla="*/ 7 w 1044"/>
                <a:gd name="T3" fmla="*/ 93 h 1542"/>
                <a:gd name="T4" fmla="*/ 0 w 1044"/>
                <a:gd name="T5" fmla="*/ 88 h 1542"/>
                <a:gd name="T6" fmla="*/ 3 w 1044"/>
                <a:gd name="T7" fmla="*/ 74 h 1542"/>
                <a:gd name="T8" fmla="*/ 4 w 1044"/>
                <a:gd name="T9" fmla="*/ 59 h 1542"/>
                <a:gd name="T10" fmla="*/ 7 w 1044"/>
                <a:gd name="T11" fmla="*/ 52 h 1542"/>
                <a:gd name="T12" fmla="*/ 20 w 1044"/>
                <a:gd name="T13" fmla="*/ 50 h 1542"/>
                <a:gd name="T14" fmla="*/ 24 w 1044"/>
                <a:gd name="T15" fmla="*/ 46 h 1542"/>
                <a:gd name="T16" fmla="*/ 29 w 1044"/>
                <a:gd name="T17" fmla="*/ 33 h 1542"/>
                <a:gd name="T18" fmla="*/ 32 w 1044"/>
                <a:gd name="T19" fmla="*/ 26 h 1542"/>
                <a:gd name="T20" fmla="*/ 30 w 1044"/>
                <a:gd name="T21" fmla="*/ 20 h 1542"/>
                <a:gd name="T22" fmla="*/ 26 w 1044"/>
                <a:gd name="T23" fmla="*/ 17 h 1542"/>
                <a:gd name="T24" fmla="*/ 28 w 1044"/>
                <a:gd name="T25" fmla="*/ 12 h 1542"/>
                <a:gd name="T26" fmla="*/ 44 w 1044"/>
                <a:gd name="T27" fmla="*/ 5 h 1542"/>
                <a:gd name="T28" fmla="*/ 57 w 1044"/>
                <a:gd name="T29" fmla="*/ 2 h 1542"/>
                <a:gd name="T30" fmla="*/ 65 w 1044"/>
                <a:gd name="T31" fmla="*/ 12 h 1542"/>
                <a:gd name="T32" fmla="*/ 81 w 1044"/>
                <a:gd name="T33" fmla="*/ 9 h 1542"/>
                <a:gd name="T34" fmla="*/ 91 w 1044"/>
                <a:gd name="T35" fmla="*/ 20 h 1542"/>
                <a:gd name="T36" fmla="*/ 89 w 1044"/>
                <a:gd name="T37" fmla="*/ 28 h 1542"/>
                <a:gd name="T38" fmla="*/ 83 w 1044"/>
                <a:gd name="T39" fmla="*/ 33 h 1542"/>
                <a:gd name="T40" fmla="*/ 74 w 1044"/>
                <a:gd name="T41" fmla="*/ 42 h 1542"/>
                <a:gd name="T42" fmla="*/ 58 w 1044"/>
                <a:gd name="T43" fmla="*/ 57 h 1542"/>
                <a:gd name="T44" fmla="*/ 54 w 1044"/>
                <a:gd name="T45" fmla="*/ 65 h 1542"/>
                <a:gd name="T46" fmla="*/ 59 w 1044"/>
                <a:gd name="T47" fmla="*/ 74 h 1542"/>
                <a:gd name="T48" fmla="*/ 55 w 1044"/>
                <a:gd name="T49" fmla="*/ 84 h 1542"/>
                <a:gd name="T50" fmla="*/ 52 w 1044"/>
                <a:gd name="T51" fmla="*/ 98 h 1542"/>
                <a:gd name="T52" fmla="*/ 47 w 1044"/>
                <a:gd name="T53" fmla="*/ 105 h 1542"/>
                <a:gd name="T54" fmla="*/ 42 w 1044"/>
                <a:gd name="T55" fmla="*/ 111 h 1542"/>
                <a:gd name="T56" fmla="*/ 43 w 1044"/>
                <a:gd name="T57" fmla="*/ 120 h 1542"/>
                <a:gd name="T58" fmla="*/ 45 w 1044"/>
                <a:gd name="T59" fmla="*/ 125 h 1542"/>
                <a:gd name="T60" fmla="*/ 44 w 1044"/>
                <a:gd name="T61" fmla="*/ 130 h 1542"/>
                <a:gd name="T62" fmla="*/ 45 w 1044"/>
                <a:gd name="T63" fmla="*/ 131 h 1542"/>
                <a:gd name="T64" fmla="*/ 48 w 1044"/>
                <a:gd name="T65" fmla="*/ 133 h 1542"/>
                <a:gd name="T66" fmla="*/ 39 w 1044"/>
                <a:gd name="T67" fmla="*/ 133 h 1542"/>
                <a:gd name="T68" fmla="*/ 42 w 1044"/>
                <a:gd name="T69" fmla="*/ 132 h 1542"/>
                <a:gd name="T70" fmla="*/ 38 w 1044"/>
                <a:gd name="T71" fmla="*/ 133 h 1542"/>
                <a:gd name="T72" fmla="*/ 37 w 1044"/>
                <a:gd name="T73" fmla="*/ 129 h 1542"/>
                <a:gd name="T74" fmla="*/ 40 w 1044"/>
                <a:gd name="T75" fmla="*/ 125 h 1542"/>
                <a:gd name="T76" fmla="*/ 40 w 1044"/>
                <a:gd name="T77" fmla="*/ 120 h 1542"/>
                <a:gd name="T78" fmla="*/ 40 w 1044"/>
                <a:gd name="T79" fmla="*/ 117 h 1542"/>
                <a:gd name="T80" fmla="*/ 37 w 1044"/>
                <a:gd name="T81" fmla="*/ 120 h 1542"/>
                <a:gd name="T82" fmla="*/ 34 w 1044"/>
                <a:gd name="T83" fmla="*/ 122 h 1542"/>
                <a:gd name="T84" fmla="*/ 36 w 1044"/>
                <a:gd name="T85" fmla="*/ 120 h 1542"/>
                <a:gd name="T86" fmla="*/ 30 w 1044"/>
                <a:gd name="T87" fmla="*/ 120 h 1542"/>
                <a:gd name="T88" fmla="*/ 31 w 1044"/>
                <a:gd name="T89" fmla="*/ 113 h 1542"/>
                <a:gd name="T90" fmla="*/ 29 w 1044"/>
                <a:gd name="T91" fmla="*/ 112 h 1542"/>
                <a:gd name="T92" fmla="*/ 31 w 1044"/>
                <a:gd name="T93" fmla="*/ 117 h 1542"/>
                <a:gd name="T94" fmla="*/ 27 w 1044"/>
                <a:gd name="T95" fmla="*/ 116 h 1542"/>
                <a:gd name="T96" fmla="*/ 25 w 1044"/>
                <a:gd name="T97" fmla="*/ 112 h 1542"/>
                <a:gd name="T98" fmla="*/ 21 w 1044"/>
                <a:gd name="T99" fmla="*/ 109 h 1542"/>
                <a:gd name="T100" fmla="*/ 21 w 1044"/>
                <a:gd name="T101" fmla="*/ 113 h 1542"/>
                <a:gd name="T102" fmla="*/ 40 w 1044"/>
                <a:gd name="T103" fmla="*/ 120 h 1542"/>
                <a:gd name="T104" fmla="*/ 40 w 1044"/>
                <a:gd name="T105" fmla="*/ 121 h 1542"/>
                <a:gd name="T106" fmla="*/ 40 w 1044"/>
                <a:gd name="T107" fmla="*/ 116 h 1542"/>
                <a:gd name="T108" fmla="*/ 38 w 1044"/>
                <a:gd name="T109" fmla="*/ 120 h 1542"/>
                <a:gd name="T110" fmla="*/ 23 w 1044"/>
                <a:gd name="T111" fmla="*/ 110 h 1542"/>
                <a:gd name="T112" fmla="*/ 37 w 1044"/>
                <a:gd name="T113" fmla="*/ 124 h 1542"/>
                <a:gd name="T114" fmla="*/ 40 w 1044"/>
                <a:gd name="T115" fmla="*/ 125 h 1542"/>
                <a:gd name="T116" fmla="*/ 38 w 1044"/>
                <a:gd name="T117" fmla="*/ 128 h 1542"/>
                <a:gd name="T118" fmla="*/ 25 w 1044"/>
                <a:gd name="T119" fmla="*/ 117 h 1542"/>
                <a:gd name="T120" fmla="*/ 27 w 1044"/>
                <a:gd name="T121" fmla="*/ 127 h 1542"/>
                <a:gd name="T122" fmla="*/ 24 w 1044"/>
                <a:gd name="T123" fmla="*/ 113 h 15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4"/>
                <a:gd name="T187" fmla="*/ 0 h 1542"/>
                <a:gd name="T188" fmla="*/ 1044 w 1044"/>
                <a:gd name="T189" fmla="*/ 1542 h 154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4" h="1542">
                  <a:moveTo>
                    <a:pt x="234" y="1278"/>
                  </a:moveTo>
                  <a:lnTo>
                    <a:pt x="228" y="1272"/>
                  </a:lnTo>
                  <a:lnTo>
                    <a:pt x="222" y="1266"/>
                  </a:lnTo>
                  <a:lnTo>
                    <a:pt x="222" y="1260"/>
                  </a:lnTo>
                  <a:lnTo>
                    <a:pt x="204" y="1248"/>
                  </a:lnTo>
                  <a:lnTo>
                    <a:pt x="192" y="1248"/>
                  </a:lnTo>
                  <a:lnTo>
                    <a:pt x="186" y="1236"/>
                  </a:lnTo>
                  <a:lnTo>
                    <a:pt x="174" y="1218"/>
                  </a:lnTo>
                  <a:lnTo>
                    <a:pt x="162" y="1194"/>
                  </a:lnTo>
                  <a:lnTo>
                    <a:pt x="156" y="1182"/>
                  </a:lnTo>
                  <a:lnTo>
                    <a:pt x="162" y="1146"/>
                  </a:lnTo>
                  <a:lnTo>
                    <a:pt x="156" y="1134"/>
                  </a:lnTo>
                  <a:lnTo>
                    <a:pt x="138" y="1122"/>
                  </a:lnTo>
                  <a:lnTo>
                    <a:pt x="132" y="1116"/>
                  </a:lnTo>
                  <a:lnTo>
                    <a:pt x="138" y="1098"/>
                  </a:lnTo>
                  <a:lnTo>
                    <a:pt x="138" y="1092"/>
                  </a:lnTo>
                  <a:lnTo>
                    <a:pt x="138" y="1086"/>
                  </a:lnTo>
                  <a:lnTo>
                    <a:pt x="132" y="1074"/>
                  </a:lnTo>
                  <a:lnTo>
                    <a:pt x="126" y="1074"/>
                  </a:lnTo>
                  <a:lnTo>
                    <a:pt x="126" y="1068"/>
                  </a:lnTo>
                  <a:lnTo>
                    <a:pt x="120" y="1062"/>
                  </a:lnTo>
                  <a:lnTo>
                    <a:pt x="120" y="1056"/>
                  </a:lnTo>
                  <a:lnTo>
                    <a:pt x="114" y="1050"/>
                  </a:lnTo>
                  <a:lnTo>
                    <a:pt x="108" y="1050"/>
                  </a:lnTo>
                  <a:lnTo>
                    <a:pt x="102" y="1056"/>
                  </a:lnTo>
                  <a:lnTo>
                    <a:pt x="102" y="1062"/>
                  </a:lnTo>
                  <a:lnTo>
                    <a:pt x="96" y="1062"/>
                  </a:lnTo>
                  <a:lnTo>
                    <a:pt x="96" y="1068"/>
                  </a:lnTo>
                  <a:lnTo>
                    <a:pt x="96" y="1074"/>
                  </a:lnTo>
                  <a:lnTo>
                    <a:pt x="90" y="1074"/>
                  </a:lnTo>
                  <a:lnTo>
                    <a:pt x="84" y="1080"/>
                  </a:lnTo>
                  <a:lnTo>
                    <a:pt x="78" y="1074"/>
                  </a:lnTo>
                  <a:lnTo>
                    <a:pt x="72" y="1074"/>
                  </a:lnTo>
                  <a:lnTo>
                    <a:pt x="72" y="1068"/>
                  </a:lnTo>
                  <a:lnTo>
                    <a:pt x="72" y="1062"/>
                  </a:lnTo>
                  <a:lnTo>
                    <a:pt x="60" y="1056"/>
                  </a:lnTo>
                  <a:lnTo>
                    <a:pt x="60" y="1044"/>
                  </a:lnTo>
                  <a:lnTo>
                    <a:pt x="60" y="1032"/>
                  </a:lnTo>
                  <a:lnTo>
                    <a:pt x="60" y="1026"/>
                  </a:lnTo>
                  <a:lnTo>
                    <a:pt x="54" y="1026"/>
                  </a:lnTo>
                  <a:lnTo>
                    <a:pt x="48" y="1014"/>
                  </a:lnTo>
                  <a:lnTo>
                    <a:pt x="42" y="1008"/>
                  </a:lnTo>
                  <a:lnTo>
                    <a:pt x="30" y="1008"/>
                  </a:lnTo>
                  <a:lnTo>
                    <a:pt x="30" y="1002"/>
                  </a:lnTo>
                  <a:lnTo>
                    <a:pt x="24" y="1008"/>
                  </a:lnTo>
                  <a:lnTo>
                    <a:pt x="12" y="1008"/>
                  </a:lnTo>
                  <a:lnTo>
                    <a:pt x="6" y="1008"/>
                  </a:lnTo>
                  <a:lnTo>
                    <a:pt x="0" y="1008"/>
                  </a:lnTo>
                  <a:lnTo>
                    <a:pt x="0" y="1002"/>
                  </a:lnTo>
                  <a:lnTo>
                    <a:pt x="6" y="990"/>
                  </a:lnTo>
                  <a:lnTo>
                    <a:pt x="6" y="984"/>
                  </a:lnTo>
                  <a:lnTo>
                    <a:pt x="0" y="978"/>
                  </a:lnTo>
                  <a:lnTo>
                    <a:pt x="6" y="972"/>
                  </a:lnTo>
                  <a:lnTo>
                    <a:pt x="12" y="972"/>
                  </a:lnTo>
                  <a:lnTo>
                    <a:pt x="72" y="978"/>
                  </a:lnTo>
                  <a:lnTo>
                    <a:pt x="78" y="972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30"/>
                  </a:lnTo>
                  <a:lnTo>
                    <a:pt x="54" y="912"/>
                  </a:lnTo>
                  <a:lnTo>
                    <a:pt x="42" y="906"/>
                  </a:lnTo>
                  <a:lnTo>
                    <a:pt x="36" y="894"/>
                  </a:lnTo>
                  <a:lnTo>
                    <a:pt x="30" y="876"/>
                  </a:lnTo>
                  <a:lnTo>
                    <a:pt x="30" y="858"/>
                  </a:lnTo>
                  <a:lnTo>
                    <a:pt x="30" y="840"/>
                  </a:lnTo>
                  <a:lnTo>
                    <a:pt x="36" y="816"/>
                  </a:lnTo>
                  <a:lnTo>
                    <a:pt x="36" y="792"/>
                  </a:lnTo>
                  <a:lnTo>
                    <a:pt x="36" y="780"/>
                  </a:lnTo>
                  <a:lnTo>
                    <a:pt x="12" y="774"/>
                  </a:lnTo>
                  <a:lnTo>
                    <a:pt x="24" y="756"/>
                  </a:lnTo>
                  <a:lnTo>
                    <a:pt x="24" y="744"/>
                  </a:lnTo>
                  <a:lnTo>
                    <a:pt x="30" y="738"/>
                  </a:lnTo>
                  <a:lnTo>
                    <a:pt x="30" y="732"/>
                  </a:lnTo>
                  <a:lnTo>
                    <a:pt x="36" y="720"/>
                  </a:lnTo>
                  <a:lnTo>
                    <a:pt x="42" y="714"/>
                  </a:lnTo>
                  <a:lnTo>
                    <a:pt x="54" y="708"/>
                  </a:lnTo>
                  <a:lnTo>
                    <a:pt x="60" y="702"/>
                  </a:lnTo>
                  <a:lnTo>
                    <a:pt x="48" y="690"/>
                  </a:lnTo>
                  <a:lnTo>
                    <a:pt x="48" y="684"/>
                  </a:lnTo>
                  <a:lnTo>
                    <a:pt x="48" y="678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66"/>
                  </a:lnTo>
                  <a:lnTo>
                    <a:pt x="72" y="654"/>
                  </a:lnTo>
                  <a:lnTo>
                    <a:pt x="72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84" y="630"/>
                  </a:lnTo>
                  <a:lnTo>
                    <a:pt x="90" y="630"/>
                  </a:lnTo>
                  <a:lnTo>
                    <a:pt x="96" y="630"/>
                  </a:lnTo>
                  <a:lnTo>
                    <a:pt x="96" y="624"/>
                  </a:lnTo>
                  <a:lnTo>
                    <a:pt x="90" y="624"/>
                  </a:lnTo>
                  <a:lnTo>
                    <a:pt x="84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90" y="600"/>
                  </a:lnTo>
                  <a:lnTo>
                    <a:pt x="84" y="600"/>
                  </a:lnTo>
                  <a:lnTo>
                    <a:pt x="78" y="594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126" y="564"/>
                  </a:lnTo>
                  <a:lnTo>
                    <a:pt x="144" y="564"/>
                  </a:lnTo>
                  <a:lnTo>
                    <a:pt x="156" y="582"/>
                  </a:lnTo>
                  <a:lnTo>
                    <a:pt x="162" y="600"/>
                  </a:lnTo>
                  <a:lnTo>
                    <a:pt x="180" y="588"/>
                  </a:lnTo>
                  <a:lnTo>
                    <a:pt x="192" y="588"/>
                  </a:lnTo>
                  <a:lnTo>
                    <a:pt x="198" y="588"/>
                  </a:lnTo>
                  <a:lnTo>
                    <a:pt x="210" y="582"/>
                  </a:lnTo>
                  <a:lnTo>
                    <a:pt x="216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58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46" y="558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58" y="570"/>
                  </a:lnTo>
                  <a:lnTo>
                    <a:pt x="264" y="570"/>
                  </a:lnTo>
                  <a:lnTo>
                    <a:pt x="270" y="564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46"/>
                  </a:lnTo>
                  <a:lnTo>
                    <a:pt x="276" y="540"/>
                  </a:lnTo>
                  <a:lnTo>
                    <a:pt x="276" y="534"/>
                  </a:lnTo>
                  <a:lnTo>
                    <a:pt x="276" y="528"/>
                  </a:lnTo>
                  <a:lnTo>
                    <a:pt x="282" y="528"/>
                  </a:lnTo>
                  <a:lnTo>
                    <a:pt x="282" y="522"/>
                  </a:lnTo>
                  <a:lnTo>
                    <a:pt x="282" y="516"/>
                  </a:lnTo>
                  <a:lnTo>
                    <a:pt x="282" y="510"/>
                  </a:lnTo>
                  <a:lnTo>
                    <a:pt x="282" y="504"/>
                  </a:lnTo>
                  <a:lnTo>
                    <a:pt x="282" y="492"/>
                  </a:lnTo>
                  <a:lnTo>
                    <a:pt x="288" y="486"/>
                  </a:lnTo>
                  <a:lnTo>
                    <a:pt x="300" y="480"/>
                  </a:lnTo>
                  <a:lnTo>
                    <a:pt x="306" y="462"/>
                  </a:lnTo>
                  <a:lnTo>
                    <a:pt x="318" y="444"/>
                  </a:lnTo>
                  <a:lnTo>
                    <a:pt x="330" y="444"/>
                  </a:lnTo>
                  <a:lnTo>
                    <a:pt x="330" y="432"/>
                  </a:lnTo>
                  <a:lnTo>
                    <a:pt x="342" y="432"/>
                  </a:lnTo>
                  <a:lnTo>
                    <a:pt x="354" y="402"/>
                  </a:lnTo>
                  <a:lnTo>
                    <a:pt x="348" y="390"/>
                  </a:lnTo>
                  <a:lnTo>
                    <a:pt x="336" y="384"/>
                  </a:lnTo>
                  <a:lnTo>
                    <a:pt x="336" y="360"/>
                  </a:lnTo>
                  <a:lnTo>
                    <a:pt x="336" y="354"/>
                  </a:lnTo>
                  <a:lnTo>
                    <a:pt x="336" y="342"/>
                  </a:lnTo>
                  <a:lnTo>
                    <a:pt x="342" y="336"/>
                  </a:lnTo>
                  <a:lnTo>
                    <a:pt x="342" y="324"/>
                  </a:lnTo>
                  <a:lnTo>
                    <a:pt x="372" y="324"/>
                  </a:lnTo>
                  <a:lnTo>
                    <a:pt x="378" y="324"/>
                  </a:lnTo>
                  <a:lnTo>
                    <a:pt x="378" y="318"/>
                  </a:lnTo>
                  <a:lnTo>
                    <a:pt x="372" y="312"/>
                  </a:lnTo>
                  <a:lnTo>
                    <a:pt x="378" y="312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84" y="300"/>
                  </a:lnTo>
                  <a:lnTo>
                    <a:pt x="384" y="294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66" y="294"/>
                  </a:lnTo>
                  <a:lnTo>
                    <a:pt x="366" y="288"/>
                  </a:lnTo>
                  <a:lnTo>
                    <a:pt x="372" y="288"/>
                  </a:lnTo>
                  <a:lnTo>
                    <a:pt x="372" y="282"/>
                  </a:lnTo>
                  <a:lnTo>
                    <a:pt x="366" y="276"/>
                  </a:lnTo>
                  <a:lnTo>
                    <a:pt x="360" y="270"/>
                  </a:lnTo>
                  <a:lnTo>
                    <a:pt x="360" y="264"/>
                  </a:lnTo>
                  <a:lnTo>
                    <a:pt x="354" y="264"/>
                  </a:lnTo>
                  <a:lnTo>
                    <a:pt x="348" y="258"/>
                  </a:lnTo>
                  <a:lnTo>
                    <a:pt x="354" y="258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40"/>
                  </a:lnTo>
                  <a:lnTo>
                    <a:pt x="354" y="240"/>
                  </a:lnTo>
                  <a:lnTo>
                    <a:pt x="342" y="234"/>
                  </a:lnTo>
                  <a:lnTo>
                    <a:pt x="342" y="228"/>
                  </a:lnTo>
                  <a:lnTo>
                    <a:pt x="348" y="228"/>
                  </a:lnTo>
                  <a:lnTo>
                    <a:pt x="342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6" y="216"/>
                  </a:lnTo>
                  <a:lnTo>
                    <a:pt x="330" y="222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24" y="210"/>
                  </a:lnTo>
                  <a:lnTo>
                    <a:pt x="318" y="210"/>
                  </a:lnTo>
                  <a:lnTo>
                    <a:pt x="318" y="204"/>
                  </a:lnTo>
                  <a:lnTo>
                    <a:pt x="312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294" y="192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300" y="174"/>
                  </a:lnTo>
                  <a:lnTo>
                    <a:pt x="300" y="168"/>
                  </a:lnTo>
                  <a:lnTo>
                    <a:pt x="300" y="162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88" y="150"/>
                  </a:lnTo>
                  <a:lnTo>
                    <a:pt x="288" y="144"/>
                  </a:lnTo>
                  <a:lnTo>
                    <a:pt x="282" y="144"/>
                  </a:lnTo>
                  <a:lnTo>
                    <a:pt x="282" y="138"/>
                  </a:lnTo>
                  <a:lnTo>
                    <a:pt x="312" y="132"/>
                  </a:lnTo>
                  <a:lnTo>
                    <a:pt x="324" y="120"/>
                  </a:lnTo>
                  <a:lnTo>
                    <a:pt x="330" y="114"/>
                  </a:lnTo>
                  <a:lnTo>
                    <a:pt x="336" y="102"/>
                  </a:lnTo>
                  <a:lnTo>
                    <a:pt x="348" y="90"/>
                  </a:lnTo>
                  <a:lnTo>
                    <a:pt x="360" y="84"/>
                  </a:lnTo>
                  <a:lnTo>
                    <a:pt x="372" y="84"/>
                  </a:lnTo>
                  <a:lnTo>
                    <a:pt x="378" y="84"/>
                  </a:lnTo>
                  <a:lnTo>
                    <a:pt x="384" y="90"/>
                  </a:lnTo>
                  <a:lnTo>
                    <a:pt x="402" y="90"/>
                  </a:lnTo>
                  <a:lnTo>
                    <a:pt x="438" y="84"/>
                  </a:lnTo>
                  <a:lnTo>
                    <a:pt x="456" y="84"/>
                  </a:lnTo>
                  <a:lnTo>
                    <a:pt x="462" y="78"/>
                  </a:lnTo>
                  <a:lnTo>
                    <a:pt x="486" y="72"/>
                  </a:lnTo>
                  <a:lnTo>
                    <a:pt x="492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04" y="54"/>
                  </a:lnTo>
                  <a:lnTo>
                    <a:pt x="510" y="42"/>
                  </a:lnTo>
                  <a:lnTo>
                    <a:pt x="504" y="42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498" y="30"/>
                  </a:lnTo>
                  <a:lnTo>
                    <a:pt x="492" y="30"/>
                  </a:lnTo>
                  <a:lnTo>
                    <a:pt x="492" y="24"/>
                  </a:lnTo>
                  <a:lnTo>
                    <a:pt x="486" y="18"/>
                  </a:lnTo>
                  <a:lnTo>
                    <a:pt x="498" y="18"/>
                  </a:lnTo>
                  <a:lnTo>
                    <a:pt x="510" y="18"/>
                  </a:lnTo>
                  <a:lnTo>
                    <a:pt x="522" y="12"/>
                  </a:lnTo>
                  <a:lnTo>
                    <a:pt x="528" y="6"/>
                  </a:lnTo>
                  <a:lnTo>
                    <a:pt x="570" y="0"/>
                  </a:lnTo>
                  <a:lnTo>
                    <a:pt x="606" y="6"/>
                  </a:lnTo>
                  <a:lnTo>
                    <a:pt x="654" y="24"/>
                  </a:lnTo>
                  <a:lnTo>
                    <a:pt x="666" y="36"/>
                  </a:lnTo>
                  <a:lnTo>
                    <a:pt x="672" y="30"/>
                  </a:lnTo>
                  <a:lnTo>
                    <a:pt x="690" y="42"/>
                  </a:lnTo>
                  <a:lnTo>
                    <a:pt x="702" y="48"/>
                  </a:lnTo>
                  <a:lnTo>
                    <a:pt x="714" y="60"/>
                  </a:lnTo>
                  <a:lnTo>
                    <a:pt x="714" y="66"/>
                  </a:lnTo>
                  <a:lnTo>
                    <a:pt x="720" y="72"/>
                  </a:lnTo>
                  <a:lnTo>
                    <a:pt x="720" y="78"/>
                  </a:lnTo>
                  <a:lnTo>
                    <a:pt x="720" y="102"/>
                  </a:lnTo>
                  <a:lnTo>
                    <a:pt x="720" y="108"/>
                  </a:lnTo>
                  <a:lnTo>
                    <a:pt x="714" y="108"/>
                  </a:lnTo>
                  <a:lnTo>
                    <a:pt x="714" y="126"/>
                  </a:lnTo>
                  <a:lnTo>
                    <a:pt x="732" y="126"/>
                  </a:lnTo>
                  <a:lnTo>
                    <a:pt x="726" y="132"/>
                  </a:lnTo>
                  <a:lnTo>
                    <a:pt x="738" y="132"/>
                  </a:lnTo>
                  <a:lnTo>
                    <a:pt x="738" y="138"/>
                  </a:lnTo>
                  <a:lnTo>
                    <a:pt x="738" y="144"/>
                  </a:lnTo>
                  <a:lnTo>
                    <a:pt x="744" y="144"/>
                  </a:lnTo>
                  <a:lnTo>
                    <a:pt x="744" y="150"/>
                  </a:lnTo>
                  <a:lnTo>
                    <a:pt x="756" y="156"/>
                  </a:lnTo>
                  <a:lnTo>
                    <a:pt x="768" y="156"/>
                  </a:lnTo>
                  <a:lnTo>
                    <a:pt x="780" y="156"/>
                  </a:lnTo>
                  <a:lnTo>
                    <a:pt x="792" y="150"/>
                  </a:lnTo>
                  <a:lnTo>
                    <a:pt x="786" y="150"/>
                  </a:lnTo>
                  <a:lnTo>
                    <a:pt x="786" y="144"/>
                  </a:lnTo>
                  <a:lnTo>
                    <a:pt x="804" y="144"/>
                  </a:lnTo>
                  <a:lnTo>
                    <a:pt x="816" y="132"/>
                  </a:lnTo>
                  <a:lnTo>
                    <a:pt x="822" y="126"/>
                  </a:lnTo>
                  <a:lnTo>
                    <a:pt x="828" y="132"/>
                  </a:lnTo>
                  <a:lnTo>
                    <a:pt x="834" y="126"/>
                  </a:lnTo>
                  <a:lnTo>
                    <a:pt x="834" y="120"/>
                  </a:lnTo>
                  <a:lnTo>
                    <a:pt x="924" y="108"/>
                  </a:lnTo>
                  <a:lnTo>
                    <a:pt x="942" y="144"/>
                  </a:lnTo>
                  <a:lnTo>
                    <a:pt x="948" y="144"/>
                  </a:lnTo>
                  <a:lnTo>
                    <a:pt x="960" y="168"/>
                  </a:lnTo>
                  <a:lnTo>
                    <a:pt x="972" y="186"/>
                  </a:lnTo>
                  <a:lnTo>
                    <a:pt x="984" y="192"/>
                  </a:lnTo>
                  <a:lnTo>
                    <a:pt x="996" y="192"/>
                  </a:lnTo>
                  <a:lnTo>
                    <a:pt x="996" y="198"/>
                  </a:lnTo>
                  <a:lnTo>
                    <a:pt x="1008" y="204"/>
                  </a:lnTo>
                  <a:lnTo>
                    <a:pt x="1008" y="210"/>
                  </a:lnTo>
                  <a:lnTo>
                    <a:pt x="1002" y="210"/>
                  </a:lnTo>
                  <a:lnTo>
                    <a:pt x="1008" y="216"/>
                  </a:lnTo>
                  <a:lnTo>
                    <a:pt x="1014" y="210"/>
                  </a:lnTo>
                  <a:lnTo>
                    <a:pt x="1014" y="216"/>
                  </a:lnTo>
                  <a:lnTo>
                    <a:pt x="1020" y="222"/>
                  </a:lnTo>
                  <a:lnTo>
                    <a:pt x="1014" y="228"/>
                  </a:lnTo>
                  <a:lnTo>
                    <a:pt x="1032" y="234"/>
                  </a:lnTo>
                  <a:lnTo>
                    <a:pt x="1044" y="240"/>
                  </a:lnTo>
                  <a:lnTo>
                    <a:pt x="1038" y="246"/>
                  </a:lnTo>
                  <a:lnTo>
                    <a:pt x="1038" y="252"/>
                  </a:lnTo>
                  <a:lnTo>
                    <a:pt x="1038" y="258"/>
                  </a:lnTo>
                  <a:lnTo>
                    <a:pt x="1032" y="264"/>
                  </a:lnTo>
                  <a:lnTo>
                    <a:pt x="1032" y="270"/>
                  </a:lnTo>
                  <a:lnTo>
                    <a:pt x="1032" y="276"/>
                  </a:lnTo>
                  <a:lnTo>
                    <a:pt x="1032" y="282"/>
                  </a:lnTo>
                  <a:lnTo>
                    <a:pt x="1026" y="282"/>
                  </a:lnTo>
                  <a:lnTo>
                    <a:pt x="1026" y="288"/>
                  </a:lnTo>
                  <a:lnTo>
                    <a:pt x="1026" y="294"/>
                  </a:lnTo>
                  <a:lnTo>
                    <a:pt x="1026" y="300"/>
                  </a:lnTo>
                  <a:lnTo>
                    <a:pt x="1026" y="306"/>
                  </a:lnTo>
                  <a:lnTo>
                    <a:pt x="1020" y="318"/>
                  </a:lnTo>
                  <a:lnTo>
                    <a:pt x="1020" y="324"/>
                  </a:lnTo>
                  <a:lnTo>
                    <a:pt x="1014" y="324"/>
                  </a:lnTo>
                  <a:lnTo>
                    <a:pt x="1014" y="330"/>
                  </a:lnTo>
                  <a:lnTo>
                    <a:pt x="1014" y="336"/>
                  </a:lnTo>
                  <a:lnTo>
                    <a:pt x="1008" y="366"/>
                  </a:lnTo>
                  <a:lnTo>
                    <a:pt x="1002" y="366"/>
                  </a:lnTo>
                  <a:lnTo>
                    <a:pt x="984" y="354"/>
                  </a:lnTo>
                  <a:lnTo>
                    <a:pt x="978" y="354"/>
                  </a:lnTo>
                  <a:lnTo>
                    <a:pt x="972" y="354"/>
                  </a:lnTo>
                  <a:lnTo>
                    <a:pt x="966" y="348"/>
                  </a:lnTo>
                  <a:lnTo>
                    <a:pt x="954" y="348"/>
                  </a:lnTo>
                  <a:lnTo>
                    <a:pt x="948" y="348"/>
                  </a:lnTo>
                  <a:lnTo>
                    <a:pt x="948" y="360"/>
                  </a:lnTo>
                  <a:lnTo>
                    <a:pt x="948" y="366"/>
                  </a:lnTo>
                  <a:lnTo>
                    <a:pt x="948" y="372"/>
                  </a:lnTo>
                  <a:lnTo>
                    <a:pt x="948" y="378"/>
                  </a:lnTo>
                  <a:lnTo>
                    <a:pt x="948" y="384"/>
                  </a:lnTo>
                  <a:lnTo>
                    <a:pt x="942" y="384"/>
                  </a:lnTo>
                  <a:lnTo>
                    <a:pt x="942" y="390"/>
                  </a:lnTo>
                  <a:lnTo>
                    <a:pt x="936" y="390"/>
                  </a:lnTo>
                  <a:lnTo>
                    <a:pt x="942" y="390"/>
                  </a:lnTo>
                  <a:lnTo>
                    <a:pt x="936" y="396"/>
                  </a:lnTo>
                  <a:lnTo>
                    <a:pt x="930" y="402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2" y="432"/>
                  </a:lnTo>
                  <a:lnTo>
                    <a:pt x="900" y="450"/>
                  </a:lnTo>
                  <a:lnTo>
                    <a:pt x="894" y="456"/>
                  </a:lnTo>
                  <a:lnTo>
                    <a:pt x="888" y="456"/>
                  </a:lnTo>
                  <a:lnTo>
                    <a:pt x="882" y="456"/>
                  </a:lnTo>
                  <a:lnTo>
                    <a:pt x="876" y="456"/>
                  </a:lnTo>
                  <a:lnTo>
                    <a:pt x="864" y="462"/>
                  </a:lnTo>
                  <a:lnTo>
                    <a:pt x="852" y="474"/>
                  </a:lnTo>
                  <a:lnTo>
                    <a:pt x="846" y="480"/>
                  </a:lnTo>
                  <a:lnTo>
                    <a:pt x="840" y="486"/>
                  </a:lnTo>
                  <a:lnTo>
                    <a:pt x="834" y="498"/>
                  </a:lnTo>
                  <a:lnTo>
                    <a:pt x="828" y="510"/>
                  </a:lnTo>
                  <a:lnTo>
                    <a:pt x="816" y="522"/>
                  </a:lnTo>
                  <a:lnTo>
                    <a:pt x="798" y="540"/>
                  </a:lnTo>
                  <a:lnTo>
                    <a:pt x="780" y="558"/>
                  </a:lnTo>
                  <a:lnTo>
                    <a:pt x="774" y="558"/>
                  </a:lnTo>
                  <a:lnTo>
                    <a:pt x="756" y="576"/>
                  </a:lnTo>
                  <a:lnTo>
                    <a:pt x="732" y="600"/>
                  </a:lnTo>
                  <a:lnTo>
                    <a:pt x="726" y="600"/>
                  </a:lnTo>
                  <a:lnTo>
                    <a:pt x="720" y="606"/>
                  </a:lnTo>
                  <a:lnTo>
                    <a:pt x="714" y="612"/>
                  </a:lnTo>
                  <a:lnTo>
                    <a:pt x="690" y="630"/>
                  </a:lnTo>
                  <a:lnTo>
                    <a:pt x="678" y="636"/>
                  </a:lnTo>
                  <a:lnTo>
                    <a:pt x="672" y="642"/>
                  </a:lnTo>
                  <a:lnTo>
                    <a:pt x="660" y="660"/>
                  </a:lnTo>
                  <a:lnTo>
                    <a:pt x="642" y="666"/>
                  </a:lnTo>
                  <a:lnTo>
                    <a:pt x="636" y="678"/>
                  </a:lnTo>
                  <a:lnTo>
                    <a:pt x="630" y="678"/>
                  </a:lnTo>
                  <a:lnTo>
                    <a:pt x="630" y="684"/>
                  </a:lnTo>
                  <a:lnTo>
                    <a:pt x="630" y="690"/>
                  </a:lnTo>
                  <a:lnTo>
                    <a:pt x="636" y="696"/>
                  </a:lnTo>
                  <a:lnTo>
                    <a:pt x="642" y="696"/>
                  </a:lnTo>
                  <a:lnTo>
                    <a:pt x="648" y="702"/>
                  </a:lnTo>
                  <a:lnTo>
                    <a:pt x="648" y="708"/>
                  </a:lnTo>
                  <a:lnTo>
                    <a:pt x="642" y="708"/>
                  </a:lnTo>
                  <a:lnTo>
                    <a:pt x="636" y="714"/>
                  </a:lnTo>
                  <a:lnTo>
                    <a:pt x="636" y="720"/>
                  </a:lnTo>
                  <a:lnTo>
                    <a:pt x="642" y="726"/>
                  </a:lnTo>
                  <a:lnTo>
                    <a:pt x="636" y="738"/>
                  </a:lnTo>
                  <a:lnTo>
                    <a:pt x="618" y="756"/>
                  </a:lnTo>
                  <a:lnTo>
                    <a:pt x="612" y="750"/>
                  </a:lnTo>
                  <a:lnTo>
                    <a:pt x="612" y="756"/>
                  </a:lnTo>
                  <a:lnTo>
                    <a:pt x="618" y="762"/>
                  </a:lnTo>
                  <a:lnTo>
                    <a:pt x="618" y="768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36" y="786"/>
                  </a:lnTo>
                  <a:lnTo>
                    <a:pt x="642" y="792"/>
                  </a:lnTo>
                  <a:lnTo>
                    <a:pt x="642" y="798"/>
                  </a:lnTo>
                  <a:lnTo>
                    <a:pt x="648" y="804"/>
                  </a:lnTo>
                  <a:lnTo>
                    <a:pt x="654" y="810"/>
                  </a:lnTo>
                  <a:lnTo>
                    <a:pt x="660" y="816"/>
                  </a:lnTo>
                  <a:lnTo>
                    <a:pt x="666" y="816"/>
                  </a:lnTo>
                  <a:lnTo>
                    <a:pt x="666" y="822"/>
                  </a:lnTo>
                  <a:lnTo>
                    <a:pt x="672" y="828"/>
                  </a:lnTo>
                  <a:lnTo>
                    <a:pt x="672" y="840"/>
                  </a:lnTo>
                  <a:lnTo>
                    <a:pt x="672" y="846"/>
                  </a:lnTo>
                  <a:lnTo>
                    <a:pt x="666" y="852"/>
                  </a:lnTo>
                  <a:lnTo>
                    <a:pt x="660" y="864"/>
                  </a:lnTo>
                  <a:lnTo>
                    <a:pt x="654" y="876"/>
                  </a:lnTo>
                  <a:lnTo>
                    <a:pt x="648" y="882"/>
                  </a:lnTo>
                  <a:lnTo>
                    <a:pt x="642" y="888"/>
                  </a:lnTo>
                  <a:lnTo>
                    <a:pt x="642" y="894"/>
                  </a:lnTo>
                  <a:lnTo>
                    <a:pt x="642" y="906"/>
                  </a:lnTo>
                  <a:lnTo>
                    <a:pt x="630" y="918"/>
                  </a:lnTo>
                  <a:lnTo>
                    <a:pt x="630" y="924"/>
                  </a:lnTo>
                  <a:lnTo>
                    <a:pt x="624" y="930"/>
                  </a:lnTo>
                  <a:lnTo>
                    <a:pt x="630" y="936"/>
                  </a:lnTo>
                  <a:lnTo>
                    <a:pt x="630" y="942"/>
                  </a:lnTo>
                  <a:lnTo>
                    <a:pt x="630" y="948"/>
                  </a:lnTo>
                  <a:lnTo>
                    <a:pt x="630" y="954"/>
                  </a:lnTo>
                  <a:lnTo>
                    <a:pt x="630" y="960"/>
                  </a:lnTo>
                  <a:lnTo>
                    <a:pt x="624" y="966"/>
                  </a:lnTo>
                  <a:lnTo>
                    <a:pt x="618" y="990"/>
                  </a:lnTo>
                  <a:lnTo>
                    <a:pt x="618" y="1008"/>
                  </a:lnTo>
                  <a:lnTo>
                    <a:pt x="612" y="1026"/>
                  </a:lnTo>
                  <a:lnTo>
                    <a:pt x="612" y="1038"/>
                  </a:lnTo>
                  <a:lnTo>
                    <a:pt x="612" y="1050"/>
                  </a:lnTo>
                  <a:lnTo>
                    <a:pt x="612" y="1056"/>
                  </a:lnTo>
                  <a:lnTo>
                    <a:pt x="612" y="1062"/>
                  </a:lnTo>
                  <a:lnTo>
                    <a:pt x="612" y="1068"/>
                  </a:lnTo>
                  <a:lnTo>
                    <a:pt x="612" y="1086"/>
                  </a:lnTo>
                  <a:lnTo>
                    <a:pt x="612" y="1092"/>
                  </a:lnTo>
                  <a:lnTo>
                    <a:pt x="606" y="1098"/>
                  </a:lnTo>
                  <a:lnTo>
                    <a:pt x="600" y="1110"/>
                  </a:lnTo>
                  <a:lnTo>
                    <a:pt x="600" y="1116"/>
                  </a:lnTo>
                  <a:lnTo>
                    <a:pt x="594" y="1122"/>
                  </a:lnTo>
                  <a:lnTo>
                    <a:pt x="594" y="1128"/>
                  </a:lnTo>
                  <a:lnTo>
                    <a:pt x="588" y="1134"/>
                  </a:lnTo>
                  <a:lnTo>
                    <a:pt x="582" y="1140"/>
                  </a:lnTo>
                  <a:lnTo>
                    <a:pt x="570" y="1140"/>
                  </a:lnTo>
                  <a:lnTo>
                    <a:pt x="564" y="1146"/>
                  </a:lnTo>
                  <a:lnTo>
                    <a:pt x="570" y="1146"/>
                  </a:lnTo>
                  <a:lnTo>
                    <a:pt x="564" y="1152"/>
                  </a:lnTo>
                  <a:lnTo>
                    <a:pt x="558" y="1158"/>
                  </a:lnTo>
                  <a:lnTo>
                    <a:pt x="552" y="1164"/>
                  </a:lnTo>
                  <a:lnTo>
                    <a:pt x="552" y="1170"/>
                  </a:lnTo>
                  <a:lnTo>
                    <a:pt x="546" y="1176"/>
                  </a:lnTo>
                  <a:lnTo>
                    <a:pt x="546" y="1182"/>
                  </a:lnTo>
                  <a:lnTo>
                    <a:pt x="546" y="1188"/>
                  </a:lnTo>
                  <a:lnTo>
                    <a:pt x="540" y="1188"/>
                  </a:lnTo>
                  <a:lnTo>
                    <a:pt x="540" y="1194"/>
                  </a:lnTo>
                  <a:lnTo>
                    <a:pt x="528" y="1206"/>
                  </a:lnTo>
                  <a:lnTo>
                    <a:pt x="528" y="1212"/>
                  </a:lnTo>
                  <a:lnTo>
                    <a:pt x="534" y="1212"/>
                  </a:lnTo>
                  <a:lnTo>
                    <a:pt x="540" y="1218"/>
                  </a:lnTo>
                  <a:lnTo>
                    <a:pt x="534" y="1218"/>
                  </a:lnTo>
                  <a:lnTo>
                    <a:pt x="528" y="1218"/>
                  </a:lnTo>
                  <a:lnTo>
                    <a:pt x="528" y="1224"/>
                  </a:lnTo>
                  <a:lnTo>
                    <a:pt x="522" y="1230"/>
                  </a:lnTo>
                  <a:lnTo>
                    <a:pt x="516" y="1236"/>
                  </a:lnTo>
                  <a:lnTo>
                    <a:pt x="522" y="1236"/>
                  </a:lnTo>
                  <a:lnTo>
                    <a:pt x="516" y="1242"/>
                  </a:lnTo>
                  <a:lnTo>
                    <a:pt x="510" y="1242"/>
                  </a:lnTo>
                  <a:lnTo>
                    <a:pt x="504" y="1248"/>
                  </a:lnTo>
                  <a:lnTo>
                    <a:pt x="510" y="1260"/>
                  </a:lnTo>
                  <a:lnTo>
                    <a:pt x="504" y="1266"/>
                  </a:lnTo>
                  <a:lnTo>
                    <a:pt x="492" y="1266"/>
                  </a:lnTo>
                  <a:lnTo>
                    <a:pt x="486" y="1272"/>
                  </a:lnTo>
                  <a:lnTo>
                    <a:pt x="486" y="1278"/>
                  </a:lnTo>
                  <a:lnTo>
                    <a:pt x="480" y="1278"/>
                  </a:lnTo>
                  <a:lnTo>
                    <a:pt x="480" y="1284"/>
                  </a:lnTo>
                  <a:lnTo>
                    <a:pt x="480" y="1290"/>
                  </a:lnTo>
                  <a:lnTo>
                    <a:pt x="480" y="1296"/>
                  </a:lnTo>
                  <a:lnTo>
                    <a:pt x="492" y="1302"/>
                  </a:lnTo>
                  <a:lnTo>
                    <a:pt x="492" y="1308"/>
                  </a:lnTo>
                  <a:lnTo>
                    <a:pt x="492" y="1320"/>
                  </a:lnTo>
                  <a:lnTo>
                    <a:pt x="492" y="1332"/>
                  </a:lnTo>
                  <a:lnTo>
                    <a:pt x="498" y="1344"/>
                  </a:lnTo>
                  <a:lnTo>
                    <a:pt x="498" y="1350"/>
                  </a:lnTo>
                  <a:lnTo>
                    <a:pt x="498" y="1356"/>
                  </a:lnTo>
                  <a:lnTo>
                    <a:pt x="504" y="1362"/>
                  </a:lnTo>
                  <a:lnTo>
                    <a:pt x="498" y="1362"/>
                  </a:lnTo>
                  <a:lnTo>
                    <a:pt x="498" y="1368"/>
                  </a:lnTo>
                  <a:lnTo>
                    <a:pt x="492" y="1368"/>
                  </a:lnTo>
                  <a:lnTo>
                    <a:pt x="492" y="1374"/>
                  </a:lnTo>
                  <a:lnTo>
                    <a:pt x="492" y="1380"/>
                  </a:lnTo>
                  <a:lnTo>
                    <a:pt x="498" y="1380"/>
                  </a:lnTo>
                  <a:lnTo>
                    <a:pt x="504" y="1380"/>
                  </a:lnTo>
                  <a:lnTo>
                    <a:pt x="498" y="1386"/>
                  </a:lnTo>
                  <a:lnTo>
                    <a:pt x="498" y="1392"/>
                  </a:lnTo>
                  <a:lnTo>
                    <a:pt x="498" y="1398"/>
                  </a:lnTo>
                  <a:lnTo>
                    <a:pt x="498" y="1404"/>
                  </a:lnTo>
                  <a:lnTo>
                    <a:pt x="498" y="1410"/>
                  </a:lnTo>
                  <a:lnTo>
                    <a:pt x="498" y="1416"/>
                  </a:lnTo>
                  <a:lnTo>
                    <a:pt x="492" y="1416"/>
                  </a:lnTo>
                  <a:lnTo>
                    <a:pt x="498" y="1416"/>
                  </a:lnTo>
                  <a:lnTo>
                    <a:pt x="504" y="1416"/>
                  </a:lnTo>
                  <a:lnTo>
                    <a:pt x="504" y="1422"/>
                  </a:lnTo>
                  <a:lnTo>
                    <a:pt x="510" y="1428"/>
                  </a:lnTo>
                  <a:lnTo>
                    <a:pt x="510" y="1434"/>
                  </a:lnTo>
                  <a:lnTo>
                    <a:pt x="510" y="1440"/>
                  </a:lnTo>
                  <a:lnTo>
                    <a:pt x="516" y="1446"/>
                  </a:lnTo>
                  <a:lnTo>
                    <a:pt x="516" y="1452"/>
                  </a:lnTo>
                  <a:lnTo>
                    <a:pt x="516" y="1458"/>
                  </a:lnTo>
                  <a:lnTo>
                    <a:pt x="516" y="1464"/>
                  </a:lnTo>
                  <a:lnTo>
                    <a:pt x="516" y="1482"/>
                  </a:lnTo>
                  <a:lnTo>
                    <a:pt x="516" y="1488"/>
                  </a:lnTo>
                  <a:lnTo>
                    <a:pt x="522" y="1488"/>
                  </a:lnTo>
                  <a:lnTo>
                    <a:pt x="522" y="1494"/>
                  </a:lnTo>
                  <a:lnTo>
                    <a:pt x="522" y="1500"/>
                  </a:lnTo>
                  <a:lnTo>
                    <a:pt x="516" y="1506"/>
                  </a:lnTo>
                  <a:lnTo>
                    <a:pt x="510" y="1500"/>
                  </a:lnTo>
                  <a:lnTo>
                    <a:pt x="504" y="1500"/>
                  </a:lnTo>
                  <a:lnTo>
                    <a:pt x="504" y="1494"/>
                  </a:lnTo>
                  <a:lnTo>
                    <a:pt x="504" y="1488"/>
                  </a:lnTo>
                  <a:lnTo>
                    <a:pt x="504" y="1482"/>
                  </a:lnTo>
                  <a:lnTo>
                    <a:pt x="504" y="1488"/>
                  </a:lnTo>
                  <a:lnTo>
                    <a:pt x="504" y="1494"/>
                  </a:lnTo>
                  <a:lnTo>
                    <a:pt x="504" y="1500"/>
                  </a:lnTo>
                  <a:lnTo>
                    <a:pt x="498" y="1500"/>
                  </a:lnTo>
                  <a:lnTo>
                    <a:pt x="492" y="1500"/>
                  </a:lnTo>
                  <a:lnTo>
                    <a:pt x="492" y="1494"/>
                  </a:lnTo>
                  <a:lnTo>
                    <a:pt x="492" y="1488"/>
                  </a:lnTo>
                  <a:lnTo>
                    <a:pt x="492" y="1494"/>
                  </a:lnTo>
                  <a:lnTo>
                    <a:pt x="492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00"/>
                  </a:lnTo>
                  <a:lnTo>
                    <a:pt x="510" y="1500"/>
                  </a:lnTo>
                  <a:lnTo>
                    <a:pt x="510" y="1506"/>
                  </a:lnTo>
                  <a:lnTo>
                    <a:pt x="516" y="1506"/>
                  </a:lnTo>
                  <a:lnTo>
                    <a:pt x="510" y="1506"/>
                  </a:lnTo>
                  <a:lnTo>
                    <a:pt x="510" y="1512"/>
                  </a:lnTo>
                  <a:lnTo>
                    <a:pt x="516" y="1506"/>
                  </a:lnTo>
                  <a:lnTo>
                    <a:pt x="522" y="1506"/>
                  </a:lnTo>
                  <a:lnTo>
                    <a:pt x="528" y="1506"/>
                  </a:lnTo>
                  <a:lnTo>
                    <a:pt x="528" y="1500"/>
                  </a:lnTo>
                  <a:lnTo>
                    <a:pt x="534" y="1500"/>
                  </a:lnTo>
                  <a:lnTo>
                    <a:pt x="534" y="1506"/>
                  </a:lnTo>
                  <a:lnTo>
                    <a:pt x="540" y="1512"/>
                  </a:lnTo>
                  <a:lnTo>
                    <a:pt x="540" y="1518"/>
                  </a:lnTo>
                  <a:lnTo>
                    <a:pt x="546" y="1518"/>
                  </a:lnTo>
                  <a:lnTo>
                    <a:pt x="540" y="1518"/>
                  </a:lnTo>
                  <a:lnTo>
                    <a:pt x="540" y="1524"/>
                  </a:lnTo>
                  <a:lnTo>
                    <a:pt x="534" y="1524"/>
                  </a:lnTo>
                  <a:lnTo>
                    <a:pt x="540" y="1524"/>
                  </a:lnTo>
                  <a:lnTo>
                    <a:pt x="546" y="1524"/>
                  </a:lnTo>
                  <a:lnTo>
                    <a:pt x="546" y="1530"/>
                  </a:lnTo>
                  <a:lnTo>
                    <a:pt x="540" y="1530"/>
                  </a:lnTo>
                  <a:lnTo>
                    <a:pt x="540" y="1536"/>
                  </a:lnTo>
                  <a:lnTo>
                    <a:pt x="534" y="1542"/>
                  </a:lnTo>
                  <a:lnTo>
                    <a:pt x="528" y="1542"/>
                  </a:lnTo>
                  <a:lnTo>
                    <a:pt x="522" y="1542"/>
                  </a:lnTo>
                  <a:lnTo>
                    <a:pt x="516" y="1542"/>
                  </a:lnTo>
                  <a:lnTo>
                    <a:pt x="510" y="1542"/>
                  </a:lnTo>
                  <a:lnTo>
                    <a:pt x="504" y="1542"/>
                  </a:lnTo>
                  <a:lnTo>
                    <a:pt x="492" y="1542"/>
                  </a:lnTo>
                  <a:lnTo>
                    <a:pt x="486" y="1536"/>
                  </a:lnTo>
                  <a:lnTo>
                    <a:pt x="480" y="1536"/>
                  </a:lnTo>
                  <a:lnTo>
                    <a:pt x="468" y="1536"/>
                  </a:lnTo>
                  <a:lnTo>
                    <a:pt x="468" y="1542"/>
                  </a:lnTo>
                  <a:lnTo>
                    <a:pt x="462" y="1542"/>
                  </a:lnTo>
                  <a:lnTo>
                    <a:pt x="456" y="1542"/>
                  </a:lnTo>
                  <a:lnTo>
                    <a:pt x="450" y="1542"/>
                  </a:lnTo>
                  <a:lnTo>
                    <a:pt x="444" y="1542"/>
                  </a:lnTo>
                  <a:lnTo>
                    <a:pt x="444" y="1536"/>
                  </a:lnTo>
                  <a:lnTo>
                    <a:pt x="450" y="1536"/>
                  </a:lnTo>
                  <a:lnTo>
                    <a:pt x="456" y="1536"/>
                  </a:lnTo>
                  <a:lnTo>
                    <a:pt x="450" y="1536"/>
                  </a:lnTo>
                  <a:lnTo>
                    <a:pt x="444" y="1536"/>
                  </a:lnTo>
                  <a:lnTo>
                    <a:pt x="444" y="1530"/>
                  </a:lnTo>
                  <a:lnTo>
                    <a:pt x="450" y="1530"/>
                  </a:lnTo>
                  <a:lnTo>
                    <a:pt x="456" y="1524"/>
                  </a:lnTo>
                  <a:lnTo>
                    <a:pt x="456" y="1518"/>
                  </a:lnTo>
                  <a:lnTo>
                    <a:pt x="462" y="1518"/>
                  </a:lnTo>
                  <a:lnTo>
                    <a:pt x="462" y="1524"/>
                  </a:lnTo>
                  <a:lnTo>
                    <a:pt x="468" y="1524"/>
                  </a:lnTo>
                  <a:lnTo>
                    <a:pt x="474" y="1524"/>
                  </a:lnTo>
                  <a:lnTo>
                    <a:pt x="474" y="1518"/>
                  </a:lnTo>
                  <a:lnTo>
                    <a:pt x="480" y="1518"/>
                  </a:lnTo>
                  <a:lnTo>
                    <a:pt x="474" y="1518"/>
                  </a:lnTo>
                  <a:lnTo>
                    <a:pt x="474" y="1524"/>
                  </a:lnTo>
                  <a:lnTo>
                    <a:pt x="468" y="1524"/>
                  </a:lnTo>
                  <a:lnTo>
                    <a:pt x="462" y="1518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62" y="1512"/>
                  </a:lnTo>
                  <a:lnTo>
                    <a:pt x="462" y="1506"/>
                  </a:lnTo>
                  <a:lnTo>
                    <a:pt x="456" y="1506"/>
                  </a:lnTo>
                  <a:lnTo>
                    <a:pt x="456" y="1512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50" y="1518"/>
                  </a:lnTo>
                  <a:lnTo>
                    <a:pt x="444" y="1518"/>
                  </a:lnTo>
                  <a:lnTo>
                    <a:pt x="444" y="1524"/>
                  </a:lnTo>
                  <a:lnTo>
                    <a:pt x="438" y="1524"/>
                  </a:lnTo>
                  <a:lnTo>
                    <a:pt x="438" y="1530"/>
                  </a:lnTo>
                  <a:lnTo>
                    <a:pt x="432" y="1530"/>
                  </a:lnTo>
                  <a:lnTo>
                    <a:pt x="432" y="1536"/>
                  </a:lnTo>
                  <a:lnTo>
                    <a:pt x="426" y="1530"/>
                  </a:lnTo>
                  <a:lnTo>
                    <a:pt x="420" y="1530"/>
                  </a:lnTo>
                  <a:lnTo>
                    <a:pt x="414" y="1530"/>
                  </a:lnTo>
                  <a:lnTo>
                    <a:pt x="414" y="1524"/>
                  </a:lnTo>
                  <a:lnTo>
                    <a:pt x="408" y="1518"/>
                  </a:lnTo>
                  <a:lnTo>
                    <a:pt x="414" y="1512"/>
                  </a:lnTo>
                  <a:lnTo>
                    <a:pt x="408" y="1512"/>
                  </a:lnTo>
                  <a:lnTo>
                    <a:pt x="408" y="1506"/>
                  </a:lnTo>
                  <a:lnTo>
                    <a:pt x="408" y="1500"/>
                  </a:lnTo>
                  <a:lnTo>
                    <a:pt x="408" y="1494"/>
                  </a:lnTo>
                  <a:lnTo>
                    <a:pt x="408" y="1488"/>
                  </a:lnTo>
                  <a:lnTo>
                    <a:pt x="408" y="1494"/>
                  </a:lnTo>
                  <a:lnTo>
                    <a:pt x="414" y="1494"/>
                  </a:lnTo>
                  <a:lnTo>
                    <a:pt x="420" y="1494"/>
                  </a:lnTo>
                  <a:lnTo>
                    <a:pt x="420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82"/>
                  </a:lnTo>
                  <a:lnTo>
                    <a:pt x="426" y="1476"/>
                  </a:lnTo>
                  <a:lnTo>
                    <a:pt x="432" y="1476"/>
                  </a:lnTo>
                  <a:lnTo>
                    <a:pt x="432" y="1470"/>
                  </a:lnTo>
                  <a:lnTo>
                    <a:pt x="438" y="1470"/>
                  </a:lnTo>
                  <a:lnTo>
                    <a:pt x="444" y="1464"/>
                  </a:lnTo>
                  <a:lnTo>
                    <a:pt x="450" y="1458"/>
                  </a:lnTo>
                  <a:lnTo>
                    <a:pt x="456" y="1458"/>
                  </a:lnTo>
                  <a:lnTo>
                    <a:pt x="462" y="1452"/>
                  </a:lnTo>
                  <a:lnTo>
                    <a:pt x="468" y="1452"/>
                  </a:lnTo>
                  <a:lnTo>
                    <a:pt x="468" y="1446"/>
                  </a:lnTo>
                  <a:lnTo>
                    <a:pt x="462" y="1440"/>
                  </a:lnTo>
                  <a:lnTo>
                    <a:pt x="456" y="1434"/>
                  </a:lnTo>
                  <a:lnTo>
                    <a:pt x="456" y="1428"/>
                  </a:lnTo>
                  <a:lnTo>
                    <a:pt x="456" y="1422"/>
                  </a:lnTo>
                  <a:lnTo>
                    <a:pt x="456" y="1416"/>
                  </a:lnTo>
                  <a:lnTo>
                    <a:pt x="450" y="1410"/>
                  </a:lnTo>
                  <a:lnTo>
                    <a:pt x="444" y="1410"/>
                  </a:lnTo>
                  <a:lnTo>
                    <a:pt x="450" y="1410"/>
                  </a:lnTo>
                  <a:lnTo>
                    <a:pt x="450" y="1404"/>
                  </a:lnTo>
                  <a:lnTo>
                    <a:pt x="456" y="1404"/>
                  </a:lnTo>
                  <a:lnTo>
                    <a:pt x="462" y="1404"/>
                  </a:lnTo>
                  <a:lnTo>
                    <a:pt x="468" y="1398"/>
                  </a:lnTo>
                  <a:lnTo>
                    <a:pt x="462" y="1398"/>
                  </a:lnTo>
                  <a:lnTo>
                    <a:pt x="462" y="1392"/>
                  </a:lnTo>
                  <a:lnTo>
                    <a:pt x="456" y="1392"/>
                  </a:lnTo>
                  <a:lnTo>
                    <a:pt x="456" y="1386"/>
                  </a:lnTo>
                  <a:lnTo>
                    <a:pt x="462" y="1386"/>
                  </a:lnTo>
                  <a:lnTo>
                    <a:pt x="468" y="1386"/>
                  </a:lnTo>
                  <a:lnTo>
                    <a:pt x="474" y="1386"/>
                  </a:lnTo>
                  <a:lnTo>
                    <a:pt x="468" y="1386"/>
                  </a:lnTo>
                  <a:lnTo>
                    <a:pt x="462" y="1386"/>
                  </a:lnTo>
                  <a:lnTo>
                    <a:pt x="456" y="1380"/>
                  </a:lnTo>
                  <a:lnTo>
                    <a:pt x="456" y="1374"/>
                  </a:lnTo>
                  <a:lnTo>
                    <a:pt x="462" y="1374"/>
                  </a:lnTo>
                  <a:lnTo>
                    <a:pt x="462" y="1368"/>
                  </a:lnTo>
                  <a:lnTo>
                    <a:pt x="456" y="1374"/>
                  </a:lnTo>
                  <a:lnTo>
                    <a:pt x="456" y="1368"/>
                  </a:lnTo>
                  <a:lnTo>
                    <a:pt x="456" y="1362"/>
                  </a:lnTo>
                  <a:lnTo>
                    <a:pt x="450" y="1362"/>
                  </a:lnTo>
                  <a:lnTo>
                    <a:pt x="450" y="1356"/>
                  </a:lnTo>
                  <a:lnTo>
                    <a:pt x="450" y="1350"/>
                  </a:lnTo>
                  <a:lnTo>
                    <a:pt x="450" y="1344"/>
                  </a:lnTo>
                  <a:lnTo>
                    <a:pt x="456" y="1344"/>
                  </a:lnTo>
                  <a:lnTo>
                    <a:pt x="456" y="1338"/>
                  </a:lnTo>
                  <a:lnTo>
                    <a:pt x="462" y="1338"/>
                  </a:lnTo>
                  <a:lnTo>
                    <a:pt x="462" y="1332"/>
                  </a:lnTo>
                  <a:lnTo>
                    <a:pt x="456" y="1332"/>
                  </a:lnTo>
                  <a:lnTo>
                    <a:pt x="456" y="1326"/>
                  </a:lnTo>
                  <a:lnTo>
                    <a:pt x="450" y="1326"/>
                  </a:lnTo>
                  <a:lnTo>
                    <a:pt x="444" y="1326"/>
                  </a:lnTo>
                  <a:lnTo>
                    <a:pt x="444" y="1332"/>
                  </a:lnTo>
                  <a:lnTo>
                    <a:pt x="438" y="1332"/>
                  </a:lnTo>
                  <a:lnTo>
                    <a:pt x="438" y="1338"/>
                  </a:lnTo>
                  <a:lnTo>
                    <a:pt x="432" y="1338"/>
                  </a:lnTo>
                  <a:lnTo>
                    <a:pt x="432" y="1344"/>
                  </a:lnTo>
                  <a:lnTo>
                    <a:pt x="432" y="1350"/>
                  </a:lnTo>
                  <a:lnTo>
                    <a:pt x="426" y="1356"/>
                  </a:lnTo>
                  <a:lnTo>
                    <a:pt x="426" y="1368"/>
                  </a:lnTo>
                  <a:lnTo>
                    <a:pt x="426" y="1374"/>
                  </a:lnTo>
                  <a:lnTo>
                    <a:pt x="426" y="1380"/>
                  </a:lnTo>
                  <a:lnTo>
                    <a:pt x="432" y="1386"/>
                  </a:lnTo>
                  <a:lnTo>
                    <a:pt x="432" y="1392"/>
                  </a:lnTo>
                  <a:lnTo>
                    <a:pt x="432" y="1398"/>
                  </a:lnTo>
                  <a:lnTo>
                    <a:pt x="426" y="1398"/>
                  </a:lnTo>
                  <a:lnTo>
                    <a:pt x="420" y="1398"/>
                  </a:lnTo>
                  <a:lnTo>
                    <a:pt x="414" y="1398"/>
                  </a:lnTo>
                  <a:lnTo>
                    <a:pt x="420" y="1398"/>
                  </a:lnTo>
                  <a:lnTo>
                    <a:pt x="414" y="1404"/>
                  </a:lnTo>
                  <a:lnTo>
                    <a:pt x="420" y="1404"/>
                  </a:lnTo>
                  <a:lnTo>
                    <a:pt x="414" y="1404"/>
                  </a:lnTo>
                  <a:lnTo>
                    <a:pt x="408" y="1404"/>
                  </a:lnTo>
                  <a:lnTo>
                    <a:pt x="402" y="1410"/>
                  </a:lnTo>
                  <a:lnTo>
                    <a:pt x="402" y="1404"/>
                  </a:lnTo>
                  <a:lnTo>
                    <a:pt x="396" y="1404"/>
                  </a:lnTo>
                  <a:lnTo>
                    <a:pt x="390" y="1404"/>
                  </a:lnTo>
                  <a:lnTo>
                    <a:pt x="384" y="1404"/>
                  </a:lnTo>
                  <a:lnTo>
                    <a:pt x="384" y="1398"/>
                  </a:lnTo>
                  <a:lnTo>
                    <a:pt x="384" y="1392"/>
                  </a:lnTo>
                  <a:lnTo>
                    <a:pt x="390" y="1392"/>
                  </a:lnTo>
                  <a:lnTo>
                    <a:pt x="390" y="1386"/>
                  </a:lnTo>
                  <a:lnTo>
                    <a:pt x="390" y="1380"/>
                  </a:lnTo>
                  <a:lnTo>
                    <a:pt x="396" y="1380"/>
                  </a:lnTo>
                  <a:lnTo>
                    <a:pt x="402" y="1380"/>
                  </a:lnTo>
                  <a:lnTo>
                    <a:pt x="408" y="1380"/>
                  </a:lnTo>
                  <a:lnTo>
                    <a:pt x="408" y="1374"/>
                  </a:lnTo>
                  <a:lnTo>
                    <a:pt x="414" y="1374"/>
                  </a:lnTo>
                  <a:lnTo>
                    <a:pt x="414" y="1368"/>
                  </a:lnTo>
                  <a:lnTo>
                    <a:pt x="414" y="1362"/>
                  </a:lnTo>
                  <a:lnTo>
                    <a:pt x="414" y="1368"/>
                  </a:lnTo>
                  <a:lnTo>
                    <a:pt x="414" y="1374"/>
                  </a:lnTo>
                  <a:lnTo>
                    <a:pt x="408" y="1374"/>
                  </a:lnTo>
                  <a:lnTo>
                    <a:pt x="402" y="1380"/>
                  </a:lnTo>
                  <a:lnTo>
                    <a:pt x="396" y="1380"/>
                  </a:lnTo>
                  <a:lnTo>
                    <a:pt x="396" y="1374"/>
                  </a:lnTo>
                  <a:lnTo>
                    <a:pt x="390" y="1374"/>
                  </a:lnTo>
                  <a:lnTo>
                    <a:pt x="390" y="1368"/>
                  </a:lnTo>
                  <a:lnTo>
                    <a:pt x="384" y="1368"/>
                  </a:lnTo>
                  <a:lnTo>
                    <a:pt x="384" y="1374"/>
                  </a:lnTo>
                  <a:lnTo>
                    <a:pt x="378" y="1374"/>
                  </a:lnTo>
                  <a:lnTo>
                    <a:pt x="378" y="1380"/>
                  </a:lnTo>
                  <a:lnTo>
                    <a:pt x="372" y="1380"/>
                  </a:lnTo>
                  <a:lnTo>
                    <a:pt x="366" y="1386"/>
                  </a:lnTo>
                  <a:lnTo>
                    <a:pt x="360" y="1386"/>
                  </a:lnTo>
                  <a:lnTo>
                    <a:pt x="354" y="1386"/>
                  </a:lnTo>
                  <a:lnTo>
                    <a:pt x="354" y="1380"/>
                  </a:lnTo>
                  <a:lnTo>
                    <a:pt x="348" y="1380"/>
                  </a:lnTo>
                  <a:lnTo>
                    <a:pt x="342" y="1380"/>
                  </a:lnTo>
                  <a:lnTo>
                    <a:pt x="342" y="1374"/>
                  </a:lnTo>
                  <a:lnTo>
                    <a:pt x="336" y="1368"/>
                  </a:lnTo>
                  <a:lnTo>
                    <a:pt x="342" y="1368"/>
                  </a:lnTo>
                  <a:lnTo>
                    <a:pt x="342" y="1362"/>
                  </a:lnTo>
                  <a:lnTo>
                    <a:pt x="348" y="1362"/>
                  </a:lnTo>
                  <a:lnTo>
                    <a:pt x="354" y="1362"/>
                  </a:lnTo>
                  <a:lnTo>
                    <a:pt x="354" y="1356"/>
                  </a:lnTo>
                  <a:lnTo>
                    <a:pt x="348" y="1356"/>
                  </a:lnTo>
                  <a:lnTo>
                    <a:pt x="348" y="1350"/>
                  </a:lnTo>
                  <a:lnTo>
                    <a:pt x="348" y="1344"/>
                  </a:lnTo>
                  <a:lnTo>
                    <a:pt x="354" y="1338"/>
                  </a:lnTo>
                  <a:lnTo>
                    <a:pt x="354" y="1332"/>
                  </a:lnTo>
                  <a:lnTo>
                    <a:pt x="354" y="1326"/>
                  </a:lnTo>
                  <a:lnTo>
                    <a:pt x="354" y="1320"/>
                  </a:lnTo>
                  <a:lnTo>
                    <a:pt x="354" y="1314"/>
                  </a:lnTo>
                  <a:lnTo>
                    <a:pt x="354" y="1308"/>
                  </a:lnTo>
                  <a:lnTo>
                    <a:pt x="348" y="1308"/>
                  </a:lnTo>
                  <a:lnTo>
                    <a:pt x="348" y="1302"/>
                  </a:lnTo>
                  <a:lnTo>
                    <a:pt x="342" y="1296"/>
                  </a:lnTo>
                  <a:lnTo>
                    <a:pt x="336" y="1296"/>
                  </a:lnTo>
                  <a:lnTo>
                    <a:pt x="336" y="1290"/>
                  </a:lnTo>
                  <a:lnTo>
                    <a:pt x="330" y="1290"/>
                  </a:lnTo>
                  <a:lnTo>
                    <a:pt x="324" y="1290"/>
                  </a:lnTo>
                  <a:lnTo>
                    <a:pt x="324" y="1284"/>
                  </a:lnTo>
                  <a:lnTo>
                    <a:pt x="318" y="1284"/>
                  </a:lnTo>
                  <a:lnTo>
                    <a:pt x="318" y="1278"/>
                  </a:lnTo>
                  <a:lnTo>
                    <a:pt x="312" y="1278"/>
                  </a:lnTo>
                  <a:lnTo>
                    <a:pt x="312" y="1272"/>
                  </a:lnTo>
                  <a:lnTo>
                    <a:pt x="312" y="1278"/>
                  </a:lnTo>
                  <a:lnTo>
                    <a:pt x="318" y="1284"/>
                  </a:lnTo>
                  <a:lnTo>
                    <a:pt x="324" y="1290"/>
                  </a:lnTo>
                  <a:lnTo>
                    <a:pt x="330" y="1290"/>
                  </a:lnTo>
                  <a:lnTo>
                    <a:pt x="330" y="1296"/>
                  </a:lnTo>
                  <a:lnTo>
                    <a:pt x="336" y="1296"/>
                  </a:lnTo>
                  <a:lnTo>
                    <a:pt x="336" y="1302"/>
                  </a:lnTo>
                  <a:lnTo>
                    <a:pt x="342" y="1302"/>
                  </a:lnTo>
                  <a:lnTo>
                    <a:pt x="348" y="1302"/>
                  </a:lnTo>
                  <a:lnTo>
                    <a:pt x="348" y="1308"/>
                  </a:lnTo>
                  <a:lnTo>
                    <a:pt x="348" y="1314"/>
                  </a:lnTo>
                  <a:lnTo>
                    <a:pt x="354" y="1314"/>
                  </a:lnTo>
                  <a:lnTo>
                    <a:pt x="354" y="1320"/>
                  </a:lnTo>
                  <a:lnTo>
                    <a:pt x="354" y="1326"/>
                  </a:lnTo>
                  <a:lnTo>
                    <a:pt x="348" y="1326"/>
                  </a:lnTo>
                  <a:lnTo>
                    <a:pt x="348" y="1332"/>
                  </a:lnTo>
                  <a:lnTo>
                    <a:pt x="348" y="1338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2" y="1350"/>
                  </a:lnTo>
                  <a:lnTo>
                    <a:pt x="336" y="1350"/>
                  </a:lnTo>
                  <a:lnTo>
                    <a:pt x="330" y="1350"/>
                  </a:lnTo>
                  <a:lnTo>
                    <a:pt x="330" y="1356"/>
                  </a:lnTo>
                  <a:lnTo>
                    <a:pt x="330" y="1350"/>
                  </a:lnTo>
                  <a:lnTo>
                    <a:pt x="324" y="1350"/>
                  </a:lnTo>
                  <a:lnTo>
                    <a:pt x="318" y="1344"/>
                  </a:lnTo>
                  <a:lnTo>
                    <a:pt x="318" y="1350"/>
                  </a:lnTo>
                  <a:lnTo>
                    <a:pt x="312" y="1344"/>
                  </a:lnTo>
                  <a:lnTo>
                    <a:pt x="312" y="1338"/>
                  </a:lnTo>
                  <a:lnTo>
                    <a:pt x="306" y="1338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6" y="1326"/>
                  </a:lnTo>
                  <a:lnTo>
                    <a:pt x="306" y="1320"/>
                  </a:lnTo>
                  <a:lnTo>
                    <a:pt x="306" y="1326"/>
                  </a:lnTo>
                  <a:lnTo>
                    <a:pt x="312" y="1326"/>
                  </a:lnTo>
                  <a:lnTo>
                    <a:pt x="312" y="1320"/>
                  </a:lnTo>
                  <a:lnTo>
                    <a:pt x="306" y="1320"/>
                  </a:lnTo>
                  <a:lnTo>
                    <a:pt x="300" y="1320"/>
                  </a:lnTo>
                  <a:lnTo>
                    <a:pt x="294" y="1320"/>
                  </a:lnTo>
                  <a:lnTo>
                    <a:pt x="294" y="1314"/>
                  </a:lnTo>
                  <a:lnTo>
                    <a:pt x="288" y="1314"/>
                  </a:lnTo>
                  <a:lnTo>
                    <a:pt x="288" y="1308"/>
                  </a:lnTo>
                  <a:lnTo>
                    <a:pt x="288" y="1302"/>
                  </a:lnTo>
                  <a:lnTo>
                    <a:pt x="294" y="1302"/>
                  </a:lnTo>
                  <a:lnTo>
                    <a:pt x="294" y="1296"/>
                  </a:lnTo>
                  <a:lnTo>
                    <a:pt x="288" y="1296"/>
                  </a:lnTo>
                  <a:lnTo>
                    <a:pt x="288" y="1290"/>
                  </a:lnTo>
                  <a:lnTo>
                    <a:pt x="288" y="1296"/>
                  </a:lnTo>
                  <a:lnTo>
                    <a:pt x="294" y="1302"/>
                  </a:lnTo>
                  <a:lnTo>
                    <a:pt x="288" y="1302"/>
                  </a:lnTo>
                  <a:lnTo>
                    <a:pt x="282" y="1296"/>
                  </a:lnTo>
                  <a:lnTo>
                    <a:pt x="276" y="1296"/>
                  </a:lnTo>
                  <a:lnTo>
                    <a:pt x="276" y="1290"/>
                  </a:lnTo>
                  <a:lnTo>
                    <a:pt x="270" y="1290"/>
                  </a:lnTo>
                  <a:lnTo>
                    <a:pt x="264" y="1284"/>
                  </a:lnTo>
                  <a:lnTo>
                    <a:pt x="264" y="1278"/>
                  </a:lnTo>
                  <a:lnTo>
                    <a:pt x="264" y="1272"/>
                  </a:lnTo>
                  <a:lnTo>
                    <a:pt x="264" y="1266"/>
                  </a:lnTo>
                  <a:lnTo>
                    <a:pt x="258" y="1266"/>
                  </a:lnTo>
                  <a:lnTo>
                    <a:pt x="252" y="1266"/>
                  </a:lnTo>
                  <a:lnTo>
                    <a:pt x="246" y="1260"/>
                  </a:lnTo>
                  <a:lnTo>
                    <a:pt x="240" y="1254"/>
                  </a:lnTo>
                  <a:lnTo>
                    <a:pt x="240" y="1260"/>
                  </a:lnTo>
                  <a:lnTo>
                    <a:pt x="240" y="1266"/>
                  </a:lnTo>
                  <a:lnTo>
                    <a:pt x="240" y="1272"/>
                  </a:lnTo>
                  <a:lnTo>
                    <a:pt x="246" y="1272"/>
                  </a:lnTo>
                  <a:lnTo>
                    <a:pt x="246" y="1278"/>
                  </a:lnTo>
                  <a:lnTo>
                    <a:pt x="246" y="1284"/>
                  </a:lnTo>
                  <a:lnTo>
                    <a:pt x="252" y="1284"/>
                  </a:lnTo>
                  <a:lnTo>
                    <a:pt x="252" y="1290"/>
                  </a:lnTo>
                  <a:lnTo>
                    <a:pt x="258" y="1296"/>
                  </a:lnTo>
                  <a:lnTo>
                    <a:pt x="264" y="1302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58" y="1314"/>
                  </a:lnTo>
                  <a:lnTo>
                    <a:pt x="258" y="1308"/>
                  </a:lnTo>
                  <a:lnTo>
                    <a:pt x="252" y="1308"/>
                  </a:lnTo>
                  <a:lnTo>
                    <a:pt x="252" y="1302"/>
                  </a:lnTo>
                  <a:lnTo>
                    <a:pt x="246" y="1302"/>
                  </a:lnTo>
                  <a:lnTo>
                    <a:pt x="246" y="1296"/>
                  </a:lnTo>
                  <a:lnTo>
                    <a:pt x="240" y="1296"/>
                  </a:lnTo>
                  <a:lnTo>
                    <a:pt x="240" y="1290"/>
                  </a:lnTo>
                  <a:lnTo>
                    <a:pt x="234" y="1284"/>
                  </a:lnTo>
                  <a:lnTo>
                    <a:pt x="234" y="1278"/>
                  </a:lnTo>
                  <a:close/>
                  <a:moveTo>
                    <a:pt x="444" y="1332"/>
                  </a:moveTo>
                  <a:lnTo>
                    <a:pt x="450" y="1326"/>
                  </a:lnTo>
                  <a:lnTo>
                    <a:pt x="456" y="1326"/>
                  </a:lnTo>
                  <a:lnTo>
                    <a:pt x="456" y="1332"/>
                  </a:lnTo>
                  <a:lnTo>
                    <a:pt x="456" y="1338"/>
                  </a:lnTo>
                  <a:lnTo>
                    <a:pt x="450" y="1338"/>
                  </a:lnTo>
                  <a:lnTo>
                    <a:pt x="444" y="1338"/>
                  </a:lnTo>
                  <a:lnTo>
                    <a:pt x="444" y="1332"/>
                  </a:lnTo>
                  <a:close/>
                  <a:moveTo>
                    <a:pt x="444" y="1368"/>
                  </a:moveTo>
                  <a:lnTo>
                    <a:pt x="456" y="1368"/>
                  </a:lnTo>
                  <a:lnTo>
                    <a:pt x="456" y="1374"/>
                  </a:lnTo>
                  <a:lnTo>
                    <a:pt x="444" y="1374"/>
                  </a:lnTo>
                  <a:lnTo>
                    <a:pt x="444" y="1368"/>
                  </a:lnTo>
                  <a:close/>
                  <a:moveTo>
                    <a:pt x="444" y="1386"/>
                  </a:moveTo>
                  <a:lnTo>
                    <a:pt x="444" y="1380"/>
                  </a:lnTo>
                  <a:lnTo>
                    <a:pt x="444" y="1374"/>
                  </a:lnTo>
                  <a:lnTo>
                    <a:pt x="444" y="1380"/>
                  </a:lnTo>
                  <a:lnTo>
                    <a:pt x="450" y="1380"/>
                  </a:lnTo>
                  <a:lnTo>
                    <a:pt x="456" y="1380"/>
                  </a:lnTo>
                  <a:lnTo>
                    <a:pt x="456" y="1386"/>
                  </a:lnTo>
                  <a:lnTo>
                    <a:pt x="456" y="1392"/>
                  </a:lnTo>
                  <a:lnTo>
                    <a:pt x="462" y="1392"/>
                  </a:lnTo>
                  <a:lnTo>
                    <a:pt x="462" y="1398"/>
                  </a:lnTo>
                  <a:lnTo>
                    <a:pt x="462" y="1404"/>
                  </a:lnTo>
                  <a:lnTo>
                    <a:pt x="456" y="1404"/>
                  </a:lnTo>
                  <a:lnTo>
                    <a:pt x="450" y="1404"/>
                  </a:lnTo>
                  <a:lnTo>
                    <a:pt x="450" y="1398"/>
                  </a:lnTo>
                  <a:lnTo>
                    <a:pt x="444" y="1398"/>
                  </a:lnTo>
                  <a:lnTo>
                    <a:pt x="444" y="1392"/>
                  </a:lnTo>
                  <a:lnTo>
                    <a:pt x="444" y="1386"/>
                  </a:lnTo>
                  <a:close/>
                  <a:moveTo>
                    <a:pt x="438" y="1362"/>
                  </a:moveTo>
                  <a:lnTo>
                    <a:pt x="444" y="1356"/>
                  </a:lnTo>
                  <a:lnTo>
                    <a:pt x="450" y="1356"/>
                  </a:lnTo>
                  <a:lnTo>
                    <a:pt x="450" y="1362"/>
                  </a:lnTo>
                  <a:lnTo>
                    <a:pt x="450" y="1368"/>
                  </a:lnTo>
                  <a:lnTo>
                    <a:pt x="444" y="1368"/>
                  </a:lnTo>
                  <a:lnTo>
                    <a:pt x="444" y="1362"/>
                  </a:lnTo>
                  <a:lnTo>
                    <a:pt x="438" y="1362"/>
                  </a:lnTo>
                  <a:close/>
                  <a:moveTo>
                    <a:pt x="438" y="1350"/>
                  </a:moveTo>
                  <a:lnTo>
                    <a:pt x="438" y="1344"/>
                  </a:lnTo>
                  <a:lnTo>
                    <a:pt x="438" y="1338"/>
                  </a:lnTo>
                  <a:lnTo>
                    <a:pt x="444" y="1338"/>
                  </a:lnTo>
                  <a:lnTo>
                    <a:pt x="450" y="1338"/>
                  </a:lnTo>
                  <a:lnTo>
                    <a:pt x="456" y="1338"/>
                  </a:lnTo>
                  <a:lnTo>
                    <a:pt x="450" y="1344"/>
                  </a:lnTo>
                  <a:lnTo>
                    <a:pt x="444" y="1350"/>
                  </a:lnTo>
                  <a:lnTo>
                    <a:pt x="438" y="1350"/>
                  </a:lnTo>
                  <a:close/>
                  <a:moveTo>
                    <a:pt x="432" y="1380"/>
                  </a:moveTo>
                  <a:lnTo>
                    <a:pt x="432" y="1368"/>
                  </a:lnTo>
                  <a:lnTo>
                    <a:pt x="432" y="1362"/>
                  </a:lnTo>
                  <a:lnTo>
                    <a:pt x="432" y="1356"/>
                  </a:lnTo>
                  <a:lnTo>
                    <a:pt x="438" y="1356"/>
                  </a:lnTo>
                  <a:lnTo>
                    <a:pt x="438" y="1362"/>
                  </a:lnTo>
                  <a:lnTo>
                    <a:pt x="438" y="1368"/>
                  </a:lnTo>
                  <a:lnTo>
                    <a:pt x="438" y="1374"/>
                  </a:lnTo>
                  <a:lnTo>
                    <a:pt x="438" y="1380"/>
                  </a:lnTo>
                  <a:lnTo>
                    <a:pt x="438" y="1386"/>
                  </a:lnTo>
                  <a:lnTo>
                    <a:pt x="438" y="1380"/>
                  </a:lnTo>
                  <a:lnTo>
                    <a:pt x="432" y="1380"/>
                  </a:lnTo>
                  <a:close/>
                  <a:moveTo>
                    <a:pt x="246" y="1272"/>
                  </a:moveTo>
                  <a:lnTo>
                    <a:pt x="252" y="1272"/>
                  </a:lnTo>
                  <a:lnTo>
                    <a:pt x="252" y="1278"/>
                  </a:lnTo>
                  <a:lnTo>
                    <a:pt x="246" y="1278"/>
                  </a:lnTo>
                  <a:lnTo>
                    <a:pt x="246" y="1272"/>
                  </a:lnTo>
                  <a:close/>
                  <a:moveTo>
                    <a:pt x="426" y="1416"/>
                  </a:moveTo>
                  <a:lnTo>
                    <a:pt x="432" y="1410"/>
                  </a:lnTo>
                  <a:lnTo>
                    <a:pt x="438" y="1410"/>
                  </a:lnTo>
                  <a:lnTo>
                    <a:pt x="438" y="1416"/>
                  </a:lnTo>
                  <a:lnTo>
                    <a:pt x="438" y="1422"/>
                  </a:lnTo>
                  <a:lnTo>
                    <a:pt x="432" y="1422"/>
                  </a:lnTo>
                  <a:lnTo>
                    <a:pt x="426" y="1422"/>
                  </a:lnTo>
                  <a:lnTo>
                    <a:pt x="426" y="1416"/>
                  </a:lnTo>
                  <a:close/>
                  <a:moveTo>
                    <a:pt x="246" y="1266"/>
                  </a:moveTo>
                  <a:lnTo>
                    <a:pt x="252" y="1266"/>
                  </a:lnTo>
                  <a:lnTo>
                    <a:pt x="258" y="1272"/>
                  </a:lnTo>
                  <a:lnTo>
                    <a:pt x="258" y="1278"/>
                  </a:lnTo>
                  <a:lnTo>
                    <a:pt x="258" y="1284"/>
                  </a:lnTo>
                  <a:lnTo>
                    <a:pt x="252" y="1284"/>
                  </a:lnTo>
                  <a:lnTo>
                    <a:pt x="252" y="1278"/>
                  </a:lnTo>
                  <a:lnTo>
                    <a:pt x="252" y="1272"/>
                  </a:lnTo>
                  <a:lnTo>
                    <a:pt x="252" y="1266"/>
                  </a:lnTo>
                  <a:lnTo>
                    <a:pt x="246" y="1266"/>
                  </a:lnTo>
                  <a:close/>
                  <a:moveTo>
                    <a:pt x="408" y="1458"/>
                  </a:moveTo>
                  <a:lnTo>
                    <a:pt x="408" y="1452"/>
                  </a:lnTo>
                  <a:lnTo>
                    <a:pt x="414" y="1452"/>
                  </a:lnTo>
                  <a:lnTo>
                    <a:pt x="414" y="1446"/>
                  </a:lnTo>
                  <a:lnTo>
                    <a:pt x="414" y="1440"/>
                  </a:lnTo>
                  <a:lnTo>
                    <a:pt x="420" y="1440"/>
                  </a:lnTo>
                  <a:lnTo>
                    <a:pt x="420" y="1434"/>
                  </a:lnTo>
                  <a:lnTo>
                    <a:pt x="420" y="1428"/>
                  </a:lnTo>
                  <a:lnTo>
                    <a:pt x="420" y="1422"/>
                  </a:lnTo>
                  <a:lnTo>
                    <a:pt x="426" y="1422"/>
                  </a:lnTo>
                  <a:lnTo>
                    <a:pt x="432" y="1428"/>
                  </a:lnTo>
                  <a:lnTo>
                    <a:pt x="438" y="1428"/>
                  </a:lnTo>
                  <a:lnTo>
                    <a:pt x="438" y="1434"/>
                  </a:lnTo>
                  <a:lnTo>
                    <a:pt x="438" y="1428"/>
                  </a:lnTo>
                  <a:lnTo>
                    <a:pt x="438" y="1422"/>
                  </a:lnTo>
                  <a:lnTo>
                    <a:pt x="444" y="1416"/>
                  </a:lnTo>
                  <a:lnTo>
                    <a:pt x="444" y="1410"/>
                  </a:lnTo>
                  <a:lnTo>
                    <a:pt x="450" y="1416"/>
                  </a:lnTo>
                  <a:lnTo>
                    <a:pt x="456" y="1416"/>
                  </a:lnTo>
                  <a:lnTo>
                    <a:pt x="456" y="1422"/>
                  </a:lnTo>
                  <a:lnTo>
                    <a:pt x="456" y="1428"/>
                  </a:lnTo>
                  <a:lnTo>
                    <a:pt x="456" y="1434"/>
                  </a:lnTo>
                  <a:lnTo>
                    <a:pt x="456" y="1440"/>
                  </a:lnTo>
                  <a:lnTo>
                    <a:pt x="462" y="1440"/>
                  </a:lnTo>
                  <a:lnTo>
                    <a:pt x="462" y="1446"/>
                  </a:lnTo>
                  <a:lnTo>
                    <a:pt x="462" y="1452"/>
                  </a:lnTo>
                  <a:lnTo>
                    <a:pt x="456" y="1452"/>
                  </a:lnTo>
                  <a:lnTo>
                    <a:pt x="450" y="1452"/>
                  </a:lnTo>
                  <a:lnTo>
                    <a:pt x="444" y="1446"/>
                  </a:lnTo>
                  <a:lnTo>
                    <a:pt x="444" y="1452"/>
                  </a:lnTo>
                  <a:lnTo>
                    <a:pt x="450" y="1452"/>
                  </a:lnTo>
                  <a:lnTo>
                    <a:pt x="450" y="1458"/>
                  </a:lnTo>
                  <a:lnTo>
                    <a:pt x="444" y="1458"/>
                  </a:lnTo>
                  <a:lnTo>
                    <a:pt x="438" y="1464"/>
                  </a:lnTo>
                  <a:lnTo>
                    <a:pt x="438" y="1458"/>
                  </a:lnTo>
                  <a:lnTo>
                    <a:pt x="432" y="1458"/>
                  </a:lnTo>
                  <a:lnTo>
                    <a:pt x="426" y="1458"/>
                  </a:lnTo>
                  <a:lnTo>
                    <a:pt x="432" y="1458"/>
                  </a:lnTo>
                  <a:lnTo>
                    <a:pt x="438" y="1464"/>
                  </a:lnTo>
                  <a:lnTo>
                    <a:pt x="432" y="1464"/>
                  </a:lnTo>
                  <a:lnTo>
                    <a:pt x="432" y="1470"/>
                  </a:lnTo>
                  <a:lnTo>
                    <a:pt x="426" y="1470"/>
                  </a:lnTo>
                  <a:lnTo>
                    <a:pt x="420" y="1476"/>
                  </a:lnTo>
                  <a:lnTo>
                    <a:pt x="420" y="1470"/>
                  </a:lnTo>
                  <a:lnTo>
                    <a:pt x="414" y="1470"/>
                  </a:lnTo>
                  <a:lnTo>
                    <a:pt x="414" y="1464"/>
                  </a:lnTo>
                  <a:lnTo>
                    <a:pt x="414" y="1458"/>
                  </a:lnTo>
                  <a:lnTo>
                    <a:pt x="408" y="1458"/>
                  </a:lnTo>
                  <a:close/>
                  <a:moveTo>
                    <a:pt x="270" y="1326"/>
                  </a:moveTo>
                  <a:lnTo>
                    <a:pt x="270" y="1320"/>
                  </a:lnTo>
                  <a:lnTo>
                    <a:pt x="276" y="1320"/>
                  </a:lnTo>
                  <a:lnTo>
                    <a:pt x="282" y="1326"/>
                  </a:lnTo>
                  <a:lnTo>
                    <a:pt x="288" y="1326"/>
                  </a:lnTo>
                  <a:lnTo>
                    <a:pt x="288" y="1332"/>
                  </a:lnTo>
                  <a:lnTo>
                    <a:pt x="288" y="1338"/>
                  </a:lnTo>
                  <a:lnTo>
                    <a:pt x="288" y="1344"/>
                  </a:lnTo>
                  <a:lnTo>
                    <a:pt x="282" y="1344"/>
                  </a:lnTo>
                  <a:lnTo>
                    <a:pt x="282" y="1338"/>
                  </a:lnTo>
                  <a:lnTo>
                    <a:pt x="276" y="1338"/>
                  </a:lnTo>
                  <a:lnTo>
                    <a:pt x="276" y="1332"/>
                  </a:lnTo>
                  <a:lnTo>
                    <a:pt x="270" y="1332"/>
                  </a:lnTo>
                  <a:lnTo>
                    <a:pt x="270" y="1326"/>
                  </a:lnTo>
                  <a:close/>
                  <a:moveTo>
                    <a:pt x="288" y="1458"/>
                  </a:moveTo>
                  <a:lnTo>
                    <a:pt x="294" y="1458"/>
                  </a:lnTo>
                  <a:lnTo>
                    <a:pt x="294" y="1452"/>
                  </a:lnTo>
                  <a:lnTo>
                    <a:pt x="294" y="1446"/>
                  </a:lnTo>
                  <a:lnTo>
                    <a:pt x="300" y="1446"/>
                  </a:lnTo>
                  <a:lnTo>
                    <a:pt x="300" y="1440"/>
                  </a:lnTo>
                  <a:lnTo>
                    <a:pt x="306" y="1440"/>
                  </a:lnTo>
                  <a:lnTo>
                    <a:pt x="306" y="1446"/>
                  </a:lnTo>
                  <a:lnTo>
                    <a:pt x="312" y="1452"/>
                  </a:lnTo>
                  <a:lnTo>
                    <a:pt x="306" y="1452"/>
                  </a:lnTo>
                  <a:lnTo>
                    <a:pt x="306" y="1458"/>
                  </a:lnTo>
                  <a:lnTo>
                    <a:pt x="312" y="1464"/>
                  </a:lnTo>
                  <a:lnTo>
                    <a:pt x="306" y="1464"/>
                  </a:lnTo>
                  <a:lnTo>
                    <a:pt x="306" y="1470"/>
                  </a:lnTo>
                  <a:lnTo>
                    <a:pt x="300" y="1476"/>
                  </a:lnTo>
                  <a:lnTo>
                    <a:pt x="294" y="1476"/>
                  </a:lnTo>
                  <a:lnTo>
                    <a:pt x="294" y="1470"/>
                  </a:lnTo>
                  <a:lnTo>
                    <a:pt x="288" y="1470"/>
                  </a:lnTo>
                  <a:lnTo>
                    <a:pt x="288" y="1464"/>
                  </a:lnTo>
                  <a:lnTo>
                    <a:pt x="288" y="1458"/>
                  </a:lnTo>
                  <a:close/>
                  <a:moveTo>
                    <a:pt x="270" y="1296"/>
                  </a:moveTo>
                  <a:lnTo>
                    <a:pt x="276" y="1296"/>
                  </a:lnTo>
                  <a:lnTo>
                    <a:pt x="282" y="1296"/>
                  </a:lnTo>
                  <a:lnTo>
                    <a:pt x="288" y="1296"/>
                  </a:lnTo>
                  <a:lnTo>
                    <a:pt x="288" y="1302"/>
                  </a:lnTo>
                  <a:lnTo>
                    <a:pt x="282" y="1308"/>
                  </a:lnTo>
                  <a:lnTo>
                    <a:pt x="276" y="1308"/>
                  </a:lnTo>
                  <a:lnTo>
                    <a:pt x="276" y="1302"/>
                  </a:lnTo>
                  <a:lnTo>
                    <a:pt x="270" y="129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4" name="Freeform 19">
              <a:extLst>
                <a:ext uri="{FF2B5EF4-FFF2-40B4-BE49-F238E27FC236}">
                  <a16:creationId xmlns:a16="http://schemas.microsoft.com/office/drawing/2014/main" id="{5B9020B8-E1C1-4611-A248-9642BBD69C9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7043" y="3765821"/>
              <a:ext cx="333193" cy="398097"/>
            </a:xfrm>
            <a:custGeom>
              <a:avLst/>
              <a:gdLst>
                <a:gd name="T0" fmla="*/ 30 w 624"/>
                <a:gd name="T1" fmla="*/ 61 h 750"/>
                <a:gd name="T2" fmla="*/ 27 w 624"/>
                <a:gd name="T3" fmla="*/ 62 h 750"/>
                <a:gd name="T4" fmla="*/ 23 w 624"/>
                <a:gd name="T5" fmla="*/ 59 h 750"/>
                <a:gd name="T6" fmla="*/ 20 w 624"/>
                <a:gd name="T7" fmla="*/ 58 h 750"/>
                <a:gd name="T8" fmla="*/ 19 w 624"/>
                <a:gd name="T9" fmla="*/ 56 h 750"/>
                <a:gd name="T10" fmla="*/ 17 w 624"/>
                <a:gd name="T11" fmla="*/ 55 h 750"/>
                <a:gd name="T12" fmla="*/ 16 w 624"/>
                <a:gd name="T13" fmla="*/ 51 h 750"/>
                <a:gd name="T14" fmla="*/ 14 w 624"/>
                <a:gd name="T15" fmla="*/ 48 h 750"/>
                <a:gd name="T16" fmla="*/ 12 w 624"/>
                <a:gd name="T17" fmla="*/ 46 h 750"/>
                <a:gd name="T18" fmla="*/ 12 w 624"/>
                <a:gd name="T19" fmla="*/ 44 h 750"/>
                <a:gd name="T20" fmla="*/ 11 w 624"/>
                <a:gd name="T21" fmla="*/ 41 h 750"/>
                <a:gd name="T22" fmla="*/ 8 w 624"/>
                <a:gd name="T23" fmla="*/ 38 h 750"/>
                <a:gd name="T24" fmla="*/ 6 w 624"/>
                <a:gd name="T25" fmla="*/ 38 h 750"/>
                <a:gd name="T26" fmla="*/ 6 w 624"/>
                <a:gd name="T27" fmla="*/ 35 h 750"/>
                <a:gd name="T28" fmla="*/ 7 w 624"/>
                <a:gd name="T29" fmla="*/ 31 h 750"/>
                <a:gd name="T30" fmla="*/ 10 w 624"/>
                <a:gd name="T31" fmla="*/ 27 h 750"/>
                <a:gd name="T32" fmla="*/ 8 w 624"/>
                <a:gd name="T33" fmla="*/ 23 h 750"/>
                <a:gd name="T34" fmla="*/ 6 w 624"/>
                <a:gd name="T35" fmla="*/ 23 h 750"/>
                <a:gd name="T36" fmla="*/ 3 w 624"/>
                <a:gd name="T37" fmla="*/ 22 h 750"/>
                <a:gd name="T38" fmla="*/ 0 w 624"/>
                <a:gd name="T39" fmla="*/ 22 h 750"/>
                <a:gd name="T40" fmla="*/ 0 w 624"/>
                <a:gd name="T41" fmla="*/ 19 h 750"/>
                <a:gd name="T42" fmla="*/ 1 w 624"/>
                <a:gd name="T43" fmla="*/ 18 h 750"/>
                <a:gd name="T44" fmla="*/ 2 w 624"/>
                <a:gd name="T45" fmla="*/ 14 h 750"/>
                <a:gd name="T46" fmla="*/ 4 w 624"/>
                <a:gd name="T47" fmla="*/ 17 h 750"/>
                <a:gd name="T48" fmla="*/ 6 w 624"/>
                <a:gd name="T49" fmla="*/ 17 h 750"/>
                <a:gd name="T50" fmla="*/ 7 w 624"/>
                <a:gd name="T51" fmla="*/ 17 h 750"/>
                <a:gd name="T52" fmla="*/ 9 w 624"/>
                <a:gd name="T53" fmla="*/ 15 h 750"/>
                <a:gd name="T54" fmla="*/ 10 w 624"/>
                <a:gd name="T55" fmla="*/ 14 h 750"/>
                <a:gd name="T56" fmla="*/ 11 w 624"/>
                <a:gd name="T57" fmla="*/ 12 h 750"/>
                <a:gd name="T58" fmla="*/ 13 w 624"/>
                <a:gd name="T59" fmla="*/ 12 h 750"/>
                <a:gd name="T60" fmla="*/ 18 w 624"/>
                <a:gd name="T61" fmla="*/ 10 h 750"/>
                <a:gd name="T62" fmla="*/ 22 w 624"/>
                <a:gd name="T63" fmla="*/ 4 h 750"/>
                <a:gd name="T64" fmla="*/ 24 w 624"/>
                <a:gd name="T65" fmla="*/ 4 h 750"/>
                <a:gd name="T66" fmla="*/ 26 w 624"/>
                <a:gd name="T67" fmla="*/ 2 h 750"/>
                <a:gd name="T68" fmla="*/ 29 w 624"/>
                <a:gd name="T69" fmla="*/ 0 h 750"/>
                <a:gd name="T70" fmla="*/ 32 w 624"/>
                <a:gd name="T71" fmla="*/ 2 h 750"/>
                <a:gd name="T72" fmla="*/ 34 w 624"/>
                <a:gd name="T73" fmla="*/ 5 h 750"/>
                <a:gd name="T74" fmla="*/ 35 w 624"/>
                <a:gd name="T75" fmla="*/ 8 h 750"/>
                <a:gd name="T76" fmla="*/ 39 w 624"/>
                <a:gd name="T77" fmla="*/ 11 h 750"/>
                <a:gd name="T78" fmla="*/ 42 w 624"/>
                <a:gd name="T79" fmla="*/ 14 h 750"/>
                <a:gd name="T80" fmla="*/ 46 w 624"/>
                <a:gd name="T81" fmla="*/ 12 h 750"/>
                <a:gd name="T82" fmla="*/ 49 w 624"/>
                <a:gd name="T83" fmla="*/ 12 h 750"/>
                <a:gd name="T84" fmla="*/ 51 w 624"/>
                <a:gd name="T85" fmla="*/ 12 h 750"/>
                <a:gd name="T86" fmla="*/ 53 w 624"/>
                <a:gd name="T87" fmla="*/ 12 h 750"/>
                <a:gd name="T88" fmla="*/ 53 w 624"/>
                <a:gd name="T89" fmla="*/ 17 h 750"/>
                <a:gd name="T90" fmla="*/ 51 w 624"/>
                <a:gd name="T91" fmla="*/ 20 h 750"/>
                <a:gd name="T92" fmla="*/ 49 w 624"/>
                <a:gd name="T93" fmla="*/ 26 h 750"/>
                <a:gd name="T94" fmla="*/ 47 w 624"/>
                <a:gd name="T95" fmla="*/ 26 h 750"/>
                <a:gd name="T96" fmla="*/ 44 w 624"/>
                <a:gd name="T97" fmla="*/ 26 h 750"/>
                <a:gd name="T98" fmla="*/ 43 w 624"/>
                <a:gd name="T99" fmla="*/ 27 h 750"/>
                <a:gd name="T100" fmla="*/ 45 w 624"/>
                <a:gd name="T101" fmla="*/ 32 h 750"/>
                <a:gd name="T102" fmla="*/ 44 w 624"/>
                <a:gd name="T103" fmla="*/ 43 h 750"/>
                <a:gd name="T104" fmla="*/ 44 w 624"/>
                <a:gd name="T105" fmla="*/ 47 h 750"/>
                <a:gd name="T106" fmla="*/ 44 w 624"/>
                <a:gd name="T107" fmla="*/ 54 h 750"/>
                <a:gd name="T108" fmla="*/ 41 w 624"/>
                <a:gd name="T109" fmla="*/ 60 h 750"/>
                <a:gd name="T110" fmla="*/ 42 w 624"/>
                <a:gd name="T111" fmla="*/ 62 h 750"/>
                <a:gd name="T112" fmla="*/ 43 w 624"/>
                <a:gd name="T113" fmla="*/ 65 h 750"/>
                <a:gd name="T114" fmla="*/ 39 w 624"/>
                <a:gd name="T115" fmla="*/ 63 h 750"/>
                <a:gd name="T116" fmla="*/ 35 w 624"/>
                <a:gd name="T117" fmla="*/ 62 h 75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24"/>
                <a:gd name="T178" fmla="*/ 0 h 750"/>
                <a:gd name="T179" fmla="*/ 624 w 624"/>
                <a:gd name="T180" fmla="*/ 750 h 75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24" h="750">
                  <a:moveTo>
                    <a:pt x="390" y="702"/>
                  </a:moveTo>
                  <a:lnTo>
                    <a:pt x="372" y="696"/>
                  </a:lnTo>
                  <a:lnTo>
                    <a:pt x="360" y="702"/>
                  </a:lnTo>
                  <a:lnTo>
                    <a:pt x="348" y="702"/>
                  </a:lnTo>
                  <a:lnTo>
                    <a:pt x="336" y="702"/>
                  </a:lnTo>
                  <a:lnTo>
                    <a:pt x="330" y="702"/>
                  </a:lnTo>
                  <a:lnTo>
                    <a:pt x="318" y="708"/>
                  </a:lnTo>
                  <a:lnTo>
                    <a:pt x="306" y="708"/>
                  </a:lnTo>
                  <a:lnTo>
                    <a:pt x="294" y="690"/>
                  </a:lnTo>
                  <a:lnTo>
                    <a:pt x="294" y="684"/>
                  </a:lnTo>
                  <a:lnTo>
                    <a:pt x="276" y="684"/>
                  </a:lnTo>
                  <a:lnTo>
                    <a:pt x="270" y="678"/>
                  </a:lnTo>
                  <a:lnTo>
                    <a:pt x="240" y="672"/>
                  </a:lnTo>
                  <a:lnTo>
                    <a:pt x="234" y="672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6"/>
                  </a:lnTo>
                  <a:lnTo>
                    <a:pt x="216" y="660"/>
                  </a:lnTo>
                  <a:lnTo>
                    <a:pt x="216" y="654"/>
                  </a:lnTo>
                  <a:lnTo>
                    <a:pt x="216" y="642"/>
                  </a:lnTo>
                  <a:lnTo>
                    <a:pt x="210" y="642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36"/>
                  </a:lnTo>
                  <a:lnTo>
                    <a:pt x="192" y="624"/>
                  </a:lnTo>
                  <a:lnTo>
                    <a:pt x="186" y="612"/>
                  </a:lnTo>
                  <a:lnTo>
                    <a:pt x="186" y="600"/>
                  </a:lnTo>
                  <a:lnTo>
                    <a:pt x="186" y="588"/>
                  </a:lnTo>
                  <a:lnTo>
                    <a:pt x="180" y="582"/>
                  </a:lnTo>
                  <a:lnTo>
                    <a:pt x="180" y="570"/>
                  </a:lnTo>
                  <a:lnTo>
                    <a:pt x="174" y="558"/>
                  </a:lnTo>
                  <a:lnTo>
                    <a:pt x="162" y="558"/>
                  </a:lnTo>
                  <a:lnTo>
                    <a:pt x="144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38" y="534"/>
                  </a:lnTo>
                  <a:lnTo>
                    <a:pt x="138" y="528"/>
                  </a:lnTo>
                  <a:lnTo>
                    <a:pt x="132" y="522"/>
                  </a:lnTo>
                  <a:lnTo>
                    <a:pt x="144" y="522"/>
                  </a:lnTo>
                  <a:lnTo>
                    <a:pt x="144" y="510"/>
                  </a:lnTo>
                  <a:lnTo>
                    <a:pt x="144" y="504"/>
                  </a:lnTo>
                  <a:lnTo>
                    <a:pt x="138" y="492"/>
                  </a:lnTo>
                  <a:lnTo>
                    <a:pt x="138" y="474"/>
                  </a:lnTo>
                  <a:lnTo>
                    <a:pt x="126" y="468"/>
                  </a:lnTo>
                  <a:lnTo>
                    <a:pt x="120" y="456"/>
                  </a:lnTo>
                  <a:lnTo>
                    <a:pt x="114" y="450"/>
                  </a:lnTo>
                  <a:lnTo>
                    <a:pt x="108" y="438"/>
                  </a:lnTo>
                  <a:lnTo>
                    <a:pt x="96" y="432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60" y="426"/>
                  </a:lnTo>
                  <a:lnTo>
                    <a:pt x="66" y="420"/>
                  </a:lnTo>
                  <a:lnTo>
                    <a:pt x="66" y="408"/>
                  </a:lnTo>
                  <a:lnTo>
                    <a:pt x="72" y="408"/>
                  </a:lnTo>
                  <a:lnTo>
                    <a:pt x="72" y="384"/>
                  </a:lnTo>
                  <a:lnTo>
                    <a:pt x="72" y="366"/>
                  </a:lnTo>
                  <a:lnTo>
                    <a:pt x="78" y="354"/>
                  </a:lnTo>
                  <a:lnTo>
                    <a:pt x="84" y="354"/>
                  </a:lnTo>
                  <a:lnTo>
                    <a:pt x="90" y="348"/>
                  </a:lnTo>
                  <a:lnTo>
                    <a:pt x="102" y="336"/>
                  </a:lnTo>
                  <a:lnTo>
                    <a:pt x="114" y="324"/>
                  </a:lnTo>
                  <a:lnTo>
                    <a:pt x="120" y="312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20" y="276"/>
                  </a:lnTo>
                  <a:lnTo>
                    <a:pt x="96" y="270"/>
                  </a:lnTo>
                  <a:lnTo>
                    <a:pt x="84" y="270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72" y="264"/>
                  </a:lnTo>
                  <a:lnTo>
                    <a:pt x="60" y="252"/>
                  </a:lnTo>
                  <a:lnTo>
                    <a:pt x="42" y="252"/>
                  </a:lnTo>
                  <a:lnTo>
                    <a:pt x="42" y="258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18" y="252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42" y="156"/>
                  </a:lnTo>
                  <a:lnTo>
                    <a:pt x="48" y="198"/>
                  </a:lnTo>
                  <a:lnTo>
                    <a:pt x="48" y="204"/>
                  </a:lnTo>
                  <a:lnTo>
                    <a:pt x="54" y="198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204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192"/>
                  </a:lnTo>
                  <a:lnTo>
                    <a:pt x="96" y="186"/>
                  </a:lnTo>
                  <a:lnTo>
                    <a:pt x="102" y="180"/>
                  </a:lnTo>
                  <a:lnTo>
                    <a:pt x="102" y="174"/>
                  </a:lnTo>
                  <a:lnTo>
                    <a:pt x="108" y="168"/>
                  </a:lnTo>
                  <a:lnTo>
                    <a:pt x="108" y="162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0"/>
                  </a:lnTo>
                  <a:lnTo>
                    <a:pt x="132" y="144"/>
                  </a:lnTo>
                  <a:lnTo>
                    <a:pt x="138" y="138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0" y="132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74" y="126"/>
                  </a:lnTo>
                  <a:lnTo>
                    <a:pt x="204" y="120"/>
                  </a:lnTo>
                  <a:lnTo>
                    <a:pt x="210" y="78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54"/>
                  </a:lnTo>
                  <a:lnTo>
                    <a:pt x="276" y="54"/>
                  </a:lnTo>
                  <a:lnTo>
                    <a:pt x="276" y="48"/>
                  </a:lnTo>
                  <a:lnTo>
                    <a:pt x="282" y="48"/>
                  </a:lnTo>
                  <a:lnTo>
                    <a:pt x="288" y="42"/>
                  </a:lnTo>
                  <a:lnTo>
                    <a:pt x="294" y="42"/>
                  </a:lnTo>
                  <a:lnTo>
                    <a:pt x="294" y="18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0"/>
                  </a:lnTo>
                  <a:lnTo>
                    <a:pt x="336" y="0"/>
                  </a:lnTo>
                  <a:lnTo>
                    <a:pt x="342" y="0"/>
                  </a:lnTo>
                  <a:lnTo>
                    <a:pt x="354" y="6"/>
                  </a:lnTo>
                  <a:lnTo>
                    <a:pt x="366" y="18"/>
                  </a:lnTo>
                  <a:lnTo>
                    <a:pt x="378" y="36"/>
                  </a:lnTo>
                  <a:lnTo>
                    <a:pt x="390" y="42"/>
                  </a:lnTo>
                  <a:lnTo>
                    <a:pt x="390" y="48"/>
                  </a:lnTo>
                  <a:lnTo>
                    <a:pt x="396" y="60"/>
                  </a:lnTo>
                  <a:lnTo>
                    <a:pt x="402" y="72"/>
                  </a:lnTo>
                  <a:lnTo>
                    <a:pt x="408" y="78"/>
                  </a:lnTo>
                  <a:lnTo>
                    <a:pt x="402" y="84"/>
                  </a:lnTo>
                  <a:lnTo>
                    <a:pt x="408" y="90"/>
                  </a:lnTo>
                  <a:lnTo>
                    <a:pt x="414" y="102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50" y="126"/>
                  </a:lnTo>
                  <a:lnTo>
                    <a:pt x="456" y="126"/>
                  </a:lnTo>
                  <a:lnTo>
                    <a:pt x="462" y="144"/>
                  </a:lnTo>
                  <a:lnTo>
                    <a:pt x="480" y="156"/>
                  </a:lnTo>
                  <a:lnTo>
                    <a:pt x="492" y="156"/>
                  </a:lnTo>
                  <a:lnTo>
                    <a:pt x="516" y="150"/>
                  </a:lnTo>
                  <a:lnTo>
                    <a:pt x="516" y="144"/>
                  </a:lnTo>
                  <a:lnTo>
                    <a:pt x="516" y="138"/>
                  </a:lnTo>
                  <a:lnTo>
                    <a:pt x="528" y="138"/>
                  </a:lnTo>
                  <a:lnTo>
                    <a:pt x="546" y="144"/>
                  </a:lnTo>
                  <a:lnTo>
                    <a:pt x="546" y="138"/>
                  </a:lnTo>
                  <a:lnTo>
                    <a:pt x="552" y="138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76" y="138"/>
                  </a:lnTo>
                  <a:lnTo>
                    <a:pt x="582" y="138"/>
                  </a:lnTo>
                  <a:lnTo>
                    <a:pt x="588" y="138"/>
                  </a:lnTo>
                  <a:lnTo>
                    <a:pt x="594" y="138"/>
                  </a:lnTo>
                  <a:lnTo>
                    <a:pt x="594" y="144"/>
                  </a:lnTo>
                  <a:lnTo>
                    <a:pt x="600" y="138"/>
                  </a:lnTo>
                  <a:lnTo>
                    <a:pt x="606" y="138"/>
                  </a:lnTo>
                  <a:lnTo>
                    <a:pt x="606" y="144"/>
                  </a:lnTo>
                  <a:lnTo>
                    <a:pt x="612" y="144"/>
                  </a:lnTo>
                  <a:lnTo>
                    <a:pt x="618" y="156"/>
                  </a:lnTo>
                  <a:lnTo>
                    <a:pt x="612" y="198"/>
                  </a:lnTo>
                  <a:lnTo>
                    <a:pt x="624" y="198"/>
                  </a:lnTo>
                  <a:lnTo>
                    <a:pt x="624" y="204"/>
                  </a:lnTo>
                  <a:lnTo>
                    <a:pt x="612" y="216"/>
                  </a:lnTo>
                  <a:lnTo>
                    <a:pt x="594" y="234"/>
                  </a:lnTo>
                  <a:lnTo>
                    <a:pt x="588" y="252"/>
                  </a:lnTo>
                  <a:lnTo>
                    <a:pt x="576" y="270"/>
                  </a:lnTo>
                  <a:lnTo>
                    <a:pt x="564" y="282"/>
                  </a:lnTo>
                  <a:lnTo>
                    <a:pt x="564" y="294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8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34" y="294"/>
                  </a:lnTo>
                  <a:lnTo>
                    <a:pt x="522" y="300"/>
                  </a:lnTo>
                  <a:lnTo>
                    <a:pt x="510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498" y="324"/>
                  </a:lnTo>
                  <a:lnTo>
                    <a:pt x="504" y="336"/>
                  </a:lnTo>
                  <a:lnTo>
                    <a:pt x="510" y="348"/>
                  </a:lnTo>
                  <a:lnTo>
                    <a:pt x="516" y="366"/>
                  </a:lnTo>
                  <a:lnTo>
                    <a:pt x="522" y="432"/>
                  </a:lnTo>
                  <a:lnTo>
                    <a:pt x="522" y="456"/>
                  </a:lnTo>
                  <a:lnTo>
                    <a:pt x="504" y="492"/>
                  </a:lnTo>
                  <a:lnTo>
                    <a:pt x="504" y="498"/>
                  </a:lnTo>
                  <a:lnTo>
                    <a:pt x="498" y="504"/>
                  </a:lnTo>
                  <a:lnTo>
                    <a:pt x="498" y="522"/>
                  </a:lnTo>
                  <a:lnTo>
                    <a:pt x="504" y="534"/>
                  </a:lnTo>
                  <a:lnTo>
                    <a:pt x="510" y="546"/>
                  </a:lnTo>
                  <a:lnTo>
                    <a:pt x="516" y="558"/>
                  </a:lnTo>
                  <a:lnTo>
                    <a:pt x="516" y="588"/>
                  </a:lnTo>
                  <a:lnTo>
                    <a:pt x="516" y="600"/>
                  </a:lnTo>
                  <a:lnTo>
                    <a:pt x="510" y="618"/>
                  </a:lnTo>
                  <a:lnTo>
                    <a:pt x="504" y="636"/>
                  </a:lnTo>
                  <a:lnTo>
                    <a:pt x="504" y="642"/>
                  </a:lnTo>
                  <a:lnTo>
                    <a:pt x="474" y="654"/>
                  </a:lnTo>
                  <a:lnTo>
                    <a:pt x="474" y="690"/>
                  </a:lnTo>
                  <a:lnTo>
                    <a:pt x="474" y="696"/>
                  </a:lnTo>
                  <a:lnTo>
                    <a:pt x="480" y="702"/>
                  </a:lnTo>
                  <a:lnTo>
                    <a:pt x="486" y="708"/>
                  </a:lnTo>
                  <a:lnTo>
                    <a:pt x="492" y="708"/>
                  </a:lnTo>
                  <a:lnTo>
                    <a:pt x="498" y="726"/>
                  </a:lnTo>
                  <a:lnTo>
                    <a:pt x="504" y="726"/>
                  </a:lnTo>
                  <a:lnTo>
                    <a:pt x="504" y="738"/>
                  </a:lnTo>
                  <a:lnTo>
                    <a:pt x="498" y="744"/>
                  </a:lnTo>
                  <a:lnTo>
                    <a:pt x="486" y="750"/>
                  </a:lnTo>
                  <a:lnTo>
                    <a:pt x="474" y="744"/>
                  </a:lnTo>
                  <a:lnTo>
                    <a:pt x="462" y="744"/>
                  </a:lnTo>
                  <a:lnTo>
                    <a:pt x="456" y="732"/>
                  </a:lnTo>
                  <a:lnTo>
                    <a:pt x="444" y="732"/>
                  </a:lnTo>
                  <a:lnTo>
                    <a:pt x="432" y="726"/>
                  </a:lnTo>
                  <a:lnTo>
                    <a:pt x="420" y="720"/>
                  </a:lnTo>
                  <a:lnTo>
                    <a:pt x="408" y="708"/>
                  </a:lnTo>
                  <a:lnTo>
                    <a:pt x="402" y="708"/>
                  </a:lnTo>
                  <a:lnTo>
                    <a:pt x="390" y="70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5" name="Freeform 20">
              <a:extLst>
                <a:ext uri="{FF2B5EF4-FFF2-40B4-BE49-F238E27FC236}">
                  <a16:creationId xmlns:a16="http://schemas.microsoft.com/office/drawing/2014/main" id="{B8342C3B-ECEC-465F-AAFF-4815B8AC392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870937"/>
              <a:ext cx="313067" cy="377968"/>
            </a:xfrm>
            <a:custGeom>
              <a:avLst/>
              <a:gdLst>
                <a:gd name="T0" fmla="*/ 15 w 588"/>
                <a:gd name="T1" fmla="*/ 59 h 714"/>
                <a:gd name="T2" fmla="*/ 14 w 588"/>
                <a:gd name="T3" fmla="*/ 58 h 714"/>
                <a:gd name="T4" fmla="*/ 9 w 588"/>
                <a:gd name="T5" fmla="*/ 54 h 714"/>
                <a:gd name="T6" fmla="*/ 4 w 588"/>
                <a:gd name="T7" fmla="*/ 54 h 714"/>
                <a:gd name="T8" fmla="*/ 0 w 588"/>
                <a:gd name="T9" fmla="*/ 50 h 714"/>
                <a:gd name="T10" fmla="*/ 0 w 588"/>
                <a:gd name="T11" fmla="*/ 44 h 714"/>
                <a:gd name="T12" fmla="*/ 4 w 588"/>
                <a:gd name="T13" fmla="*/ 46 h 714"/>
                <a:gd name="T14" fmla="*/ 7 w 588"/>
                <a:gd name="T15" fmla="*/ 47 h 714"/>
                <a:gd name="T16" fmla="*/ 10 w 588"/>
                <a:gd name="T17" fmla="*/ 46 h 714"/>
                <a:gd name="T18" fmla="*/ 8 w 588"/>
                <a:gd name="T19" fmla="*/ 44 h 714"/>
                <a:gd name="T20" fmla="*/ 10 w 588"/>
                <a:gd name="T21" fmla="*/ 39 h 714"/>
                <a:gd name="T22" fmla="*/ 11 w 588"/>
                <a:gd name="T23" fmla="*/ 34 h 714"/>
                <a:gd name="T24" fmla="*/ 9 w 588"/>
                <a:gd name="T25" fmla="*/ 28 h 714"/>
                <a:gd name="T26" fmla="*/ 11 w 588"/>
                <a:gd name="T27" fmla="*/ 22 h 714"/>
                <a:gd name="T28" fmla="*/ 10 w 588"/>
                <a:gd name="T29" fmla="*/ 12 h 714"/>
                <a:gd name="T30" fmla="*/ 9 w 588"/>
                <a:gd name="T31" fmla="*/ 9 h 714"/>
                <a:gd name="T32" fmla="*/ 12 w 588"/>
                <a:gd name="T33" fmla="*/ 8 h 714"/>
                <a:gd name="T34" fmla="*/ 14 w 588"/>
                <a:gd name="T35" fmla="*/ 7 h 714"/>
                <a:gd name="T36" fmla="*/ 17 w 588"/>
                <a:gd name="T37" fmla="*/ 10 h 714"/>
                <a:gd name="T38" fmla="*/ 23 w 588"/>
                <a:gd name="T39" fmla="*/ 14 h 714"/>
                <a:gd name="T40" fmla="*/ 28 w 588"/>
                <a:gd name="T41" fmla="*/ 4 h 714"/>
                <a:gd name="T42" fmla="*/ 35 w 588"/>
                <a:gd name="T43" fmla="*/ 2 h 714"/>
                <a:gd name="T44" fmla="*/ 38 w 588"/>
                <a:gd name="T45" fmla="*/ 0 h 714"/>
                <a:gd name="T46" fmla="*/ 40 w 588"/>
                <a:gd name="T47" fmla="*/ 2 h 714"/>
                <a:gd name="T48" fmla="*/ 39 w 588"/>
                <a:gd name="T49" fmla="*/ 4 h 714"/>
                <a:gd name="T50" fmla="*/ 41 w 588"/>
                <a:gd name="T51" fmla="*/ 5 h 714"/>
                <a:gd name="T52" fmla="*/ 42 w 588"/>
                <a:gd name="T53" fmla="*/ 7 h 714"/>
                <a:gd name="T54" fmla="*/ 43 w 588"/>
                <a:gd name="T55" fmla="*/ 9 h 714"/>
                <a:gd name="T56" fmla="*/ 43 w 588"/>
                <a:gd name="T57" fmla="*/ 10 h 714"/>
                <a:gd name="T58" fmla="*/ 43 w 588"/>
                <a:gd name="T59" fmla="*/ 12 h 714"/>
                <a:gd name="T60" fmla="*/ 44 w 588"/>
                <a:gd name="T61" fmla="*/ 12 h 714"/>
                <a:gd name="T62" fmla="*/ 46 w 588"/>
                <a:gd name="T63" fmla="*/ 13 h 714"/>
                <a:gd name="T64" fmla="*/ 47 w 588"/>
                <a:gd name="T65" fmla="*/ 14 h 714"/>
                <a:gd name="T66" fmla="*/ 48 w 588"/>
                <a:gd name="T67" fmla="*/ 15 h 714"/>
                <a:gd name="T68" fmla="*/ 49 w 588"/>
                <a:gd name="T69" fmla="*/ 15 h 714"/>
                <a:gd name="T70" fmla="*/ 48 w 588"/>
                <a:gd name="T71" fmla="*/ 17 h 714"/>
                <a:gd name="T72" fmla="*/ 49 w 588"/>
                <a:gd name="T73" fmla="*/ 19 h 714"/>
                <a:gd name="T74" fmla="*/ 49 w 588"/>
                <a:gd name="T75" fmla="*/ 20 h 714"/>
                <a:gd name="T76" fmla="*/ 51 w 588"/>
                <a:gd name="T77" fmla="*/ 21 h 714"/>
                <a:gd name="T78" fmla="*/ 50 w 588"/>
                <a:gd name="T79" fmla="*/ 22 h 714"/>
                <a:gd name="T80" fmla="*/ 47 w 588"/>
                <a:gd name="T81" fmla="*/ 23 h 714"/>
                <a:gd name="T82" fmla="*/ 47 w 588"/>
                <a:gd name="T83" fmla="*/ 26 h 714"/>
                <a:gd name="T84" fmla="*/ 47 w 588"/>
                <a:gd name="T85" fmla="*/ 32 h 714"/>
                <a:gd name="T86" fmla="*/ 44 w 588"/>
                <a:gd name="T87" fmla="*/ 35 h 714"/>
                <a:gd name="T88" fmla="*/ 42 w 588"/>
                <a:gd name="T89" fmla="*/ 39 h 714"/>
                <a:gd name="T90" fmla="*/ 42 w 588"/>
                <a:gd name="T91" fmla="*/ 41 h 714"/>
                <a:gd name="T92" fmla="*/ 42 w 588"/>
                <a:gd name="T93" fmla="*/ 42 h 714"/>
                <a:gd name="T94" fmla="*/ 41 w 588"/>
                <a:gd name="T95" fmla="*/ 44 h 714"/>
                <a:gd name="T96" fmla="*/ 39 w 588"/>
                <a:gd name="T97" fmla="*/ 43 h 714"/>
                <a:gd name="T98" fmla="*/ 37 w 588"/>
                <a:gd name="T99" fmla="*/ 44 h 714"/>
                <a:gd name="T100" fmla="*/ 35 w 588"/>
                <a:gd name="T101" fmla="*/ 46 h 714"/>
                <a:gd name="T102" fmla="*/ 31 w 588"/>
                <a:gd name="T103" fmla="*/ 45 h 714"/>
                <a:gd name="T104" fmla="*/ 24 w 588"/>
                <a:gd name="T105" fmla="*/ 45 h 714"/>
                <a:gd name="T106" fmla="*/ 25 w 588"/>
                <a:gd name="T107" fmla="*/ 47 h 714"/>
                <a:gd name="T108" fmla="*/ 25 w 588"/>
                <a:gd name="T109" fmla="*/ 49 h 714"/>
                <a:gd name="T110" fmla="*/ 25 w 588"/>
                <a:gd name="T111" fmla="*/ 50 h 714"/>
                <a:gd name="T112" fmla="*/ 24 w 588"/>
                <a:gd name="T113" fmla="*/ 51 h 714"/>
                <a:gd name="T114" fmla="*/ 22 w 588"/>
                <a:gd name="T115" fmla="*/ 53 h 714"/>
                <a:gd name="T116" fmla="*/ 23 w 588"/>
                <a:gd name="T117" fmla="*/ 56 h 714"/>
                <a:gd name="T118" fmla="*/ 20 w 588"/>
                <a:gd name="T119" fmla="*/ 58 h 714"/>
                <a:gd name="T120" fmla="*/ 19 w 588"/>
                <a:gd name="T121" fmla="*/ 62 h 7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8"/>
                <a:gd name="T184" fmla="*/ 0 h 714"/>
                <a:gd name="T185" fmla="*/ 588 w 588"/>
                <a:gd name="T186" fmla="*/ 714 h 7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8" h="714">
                  <a:moveTo>
                    <a:pt x="216" y="714"/>
                  </a:moveTo>
                  <a:lnTo>
                    <a:pt x="198" y="702"/>
                  </a:lnTo>
                  <a:lnTo>
                    <a:pt x="186" y="696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74" y="678"/>
                  </a:lnTo>
                  <a:lnTo>
                    <a:pt x="168" y="672"/>
                  </a:lnTo>
                  <a:lnTo>
                    <a:pt x="162" y="666"/>
                  </a:lnTo>
                  <a:lnTo>
                    <a:pt x="156" y="636"/>
                  </a:lnTo>
                  <a:lnTo>
                    <a:pt x="144" y="630"/>
                  </a:lnTo>
                  <a:lnTo>
                    <a:pt x="108" y="630"/>
                  </a:lnTo>
                  <a:lnTo>
                    <a:pt x="102" y="624"/>
                  </a:lnTo>
                  <a:lnTo>
                    <a:pt x="96" y="624"/>
                  </a:lnTo>
                  <a:lnTo>
                    <a:pt x="72" y="624"/>
                  </a:lnTo>
                  <a:lnTo>
                    <a:pt x="54" y="624"/>
                  </a:lnTo>
                  <a:lnTo>
                    <a:pt x="42" y="618"/>
                  </a:lnTo>
                  <a:lnTo>
                    <a:pt x="30" y="612"/>
                  </a:lnTo>
                  <a:lnTo>
                    <a:pt x="6" y="606"/>
                  </a:lnTo>
                  <a:lnTo>
                    <a:pt x="0" y="606"/>
                  </a:lnTo>
                  <a:lnTo>
                    <a:pt x="0" y="570"/>
                  </a:lnTo>
                  <a:lnTo>
                    <a:pt x="6" y="552"/>
                  </a:lnTo>
                  <a:lnTo>
                    <a:pt x="6" y="522"/>
                  </a:lnTo>
                  <a:lnTo>
                    <a:pt x="0" y="510"/>
                  </a:lnTo>
                  <a:lnTo>
                    <a:pt x="0" y="504"/>
                  </a:lnTo>
                  <a:lnTo>
                    <a:pt x="12" y="510"/>
                  </a:lnTo>
                  <a:lnTo>
                    <a:pt x="18" y="510"/>
                  </a:lnTo>
                  <a:lnTo>
                    <a:pt x="30" y="522"/>
                  </a:lnTo>
                  <a:lnTo>
                    <a:pt x="42" y="528"/>
                  </a:lnTo>
                  <a:lnTo>
                    <a:pt x="54" y="534"/>
                  </a:lnTo>
                  <a:lnTo>
                    <a:pt x="66" y="534"/>
                  </a:lnTo>
                  <a:lnTo>
                    <a:pt x="72" y="546"/>
                  </a:lnTo>
                  <a:lnTo>
                    <a:pt x="84" y="546"/>
                  </a:lnTo>
                  <a:lnTo>
                    <a:pt x="96" y="552"/>
                  </a:lnTo>
                  <a:lnTo>
                    <a:pt x="108" y="546"/>
                  </a:lnTo>
                  <a:lnTo>
                    <a:pt x="114" y="540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90" y="504"/>
                  </a:lnTo>
                  <a:lnTo>
                    <a:pt x="84" y="498"/>
                  </a:lnTo>
                  <a:lnTo>
                    <a:pt x="84" y="492"/>
                  </a:lnTo>
                  <a:lnTo>
                    <a:pt x="84" y="456"/>
                  </a:lnTo>
                  <a:lnTo>
                    <a:pt x="114" y="444"/>
                  </a:lnTo>
                  <a:lnTo>
                    <a:pt x="114" y="438"/>
                  </a:lnTo>
                  <a:lnTo>
                    <a:pt x="120" y="420"/>
                  </a:lnTo>
                  <a:lnTo>
                    <a:pt x="126" y="402"/>
                  </a:lnTo>
                  <a:lnTo>
                    <a:pt x="126" y="390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14" y="336"/>
                  </a:lnTo>
                  <a:lnTo>
                    <a:pt x="108" y="324"/>
                  </a:lnTo>
                  <a:lnTo>
                    <a:pt x="108" y="306"/>
                  </a:lnTo>
                  <a:lnTo>
                    <a:pt x="114" y="300"/>
                  </a:lnTo>
                  <a:lnTo>
                    <a:pt x="114" y="294"/>
                  </a:lnTo>
                  <a:lnTo>
                    <a:pt x="132" y="258"/>
                  </a:lnTo>
                  <a:lnTo>
                    <a:pt x="132" y="234"/>
                  </a:lnTo>
                  <a:lnTo>
                    <a:pt x="126" y="168"/>
                  </a:lnTo>
                  <a:lnTo>
                    <a:pt x="120" y="150"/>
                  </a:lnTo>
                  <a:lnTo>
                    <a:pt x="114" y="138"/>
                  </a:lnTo>
                  <a:lnTo>
                    <a:pt x="108" y="126"/>
                  </a:lnTo>
                  <a:lnTo>
                    <a:pt x="108" y="120"/>
                  </a:lnTo>
                  <a:lnTo>
                    <a:pt x="108" y="114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20" y="96"/>
                  </a:lnTo>
                  <a:lnTo>
                    <a:pt x="132" y="102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56" y="90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96"/>
                  </a:lnTo>
                  <a:lnTo>
                    <a:pt x="186" y="96"/>
                  </a:lnTo>
                  <a:lnTo>
                    <a:pt x="192" y="114"/>
                  </a:lnTo>
                  <a:lnTo>
                    <a:pt x="204" y="132"/>
                  </a:lnTo>
                  <a:lnTo>
                    <a:pt x="216" y="144"/>
                  </a:lnTo>
                  <a:lnTo>
                    <a:pt x="240" y="162"/>
                  </a:lnTo>
                  <a:lnTo>
                    <a:pt x="270" y="156"/>
                  </a:lnTo>
                  <a:lnTo>
                    <a:pt x="282" y="126"/>
                  </a:lnTo>
                  <a:lnTo>
                    <a:pt x="282" y="96"/>
                  </a:lnTo>
                  <a:lnTo>
                    <a:pt x="294" y="54"/>
                  </a:lnTo>
                  <a:lnTo>
                    <a:pt x="324" y="48"/>
                  </a:lnTo>
                  <a:lnTo>
                    <a:pt x="342" y="48"/>
                  </a:lnTo>
                  <a:lnTo>
                    <a:pt x="384" y="48"/>
                  </a:lnTo>
                  <a:lnTo>
                    <a:pt x="390" y="30"/>
                  </a:lnTo>
                  <a:lnTo>
                    <a:pt x="402" y="18"/>
                  </a:lnTo>
                  <a:lnTo>
                    <a:pt x="438" y="6"/>
                  </a:lnTo>
                  <a:lnTo>
                    <a:pt x="438" y="0"/>
                  </a:lnTo>
                  <a:lnTo>
                    <a:pt x="444" y="0"/>
                  </a:lnTo>
                  <a:lnTo>
                    <a:pt x="444" y="6"/>
                  </a:lnTo>
                  <a:lnTo>
                    <a:pt x="450" y="6"/>
                  </a:lnTo>
                  <a:lnTo>
                    <a:pt x="456" y="12"/>
                  </a:lnTo>
                  <a:lnTo>
                    <a:pt x="456" y="18"/>
                  </a:lnTo>
                  <a:lnTo>
                    <a:pt x="462" y="24"/>
                  </a:lnTo>
                  <a:lnTo>
                    <a:pt x="462" y="30"/>
                  </a:lnTo>
                  <a:lnTo>
                    <a:pt x="468" y="36"/>
                  </a:lnTo>
                  <a:lnTo>
                    <a:pt x="462" y="36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74" y="60"/>
                  </a:lnTo>
                  <a:lnTo>
                    <a:pt x="486" y="78"/>
                  </a:lnTo>
                  <a:lnTo>
                    <a:pt x="486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8" y="102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498" y="114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504" y="126"/>
                  </a:lnTo>
                  <a:lnTo>
                    <a:pt x="498" y="132"/>
                  </a:lnTo>
                  <a:lnTo>
                    <a:pt x="504" y="138"/>
                  </a:lnTo>
                  <a:lnTo>
                    <a:pt x="504" y="132"/>
                  </a:lnTo>
                  <a:lnTo>
                    <a:pt x="510" y="132"/>
                  </a:lnTo>
                  <a:lnTo>
                    <a:pt x="510" y="138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56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6" y="168"/>
                  </a:lnTo>
                  <a:lnTo>
                    <a:pt x="552" y="168"/>
                  </a:lnTo>
                  <a:lnTo>
                    <a:pt x="546" y="168"/>
                  </a:lnTo>
                  <a:lnTo>
                    <a:pt x="546" y="174"/>
                  </a:lnTo>
                  <a:lnTo>
                    <a:pt x="558" y="180"/>
                  </a:lnTo>
                  <a:lnTo>
                    <a:pt x="564" y="180"/>
                  </a:lnTo>
                  <a:lnTo>
                    <a:pt x="564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52" y="198"/>
                  </a:lnTo>
                  <a:lnTo>
                    <a:pt x="558" y="204"/>
                  </a:lnTo>
                  <a:lnTo>
                    <a:pt x="564" y="204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22"/>
                  </a:lnTo>
                  <a:lnTo>
                    <a:pt x="576" y="228"/>
                  </a:lnTo>
                  <a:lnTo>
                    <a:pt x="570" y="228"/>
                  </a:lnTo>
                  <a:lnTo>
                    <a:pt x="570" y="234"/>
                  </a:lnTo>
                  <a:lnTo>
                    <a:pt x="576" y="234"/>
                  </a:lnTo>
                  <a:lnTo>
                    <a:pt x="582" y="234"/>
                  </a:lnTo>
                  <a:lnTo>
                    <a:pt x="588" y="234"/>
                  </a:lnTo>
                  <a:lnTo>
                    <a:pt x="588" y="240"/>
                  </a:lnTo>
                  <a:lnTo>
                    <a:pt x="588" y="246"/>
                  </a:lnTo>
                  <a:lnTo>
                    <a:pt x="588" y="252"/>
                  </a:lnTo>
                  <a:lnTo>
                    <a:pt x="582" y="252"/>
                  </a:lnTo>
                  <a:lnTo>
                    <a:pt x="576" y="252"/>
                  </a:lnTo>
                  <a:lnTo>
                    <a:pt x="582" y="258"/>
                  </a:lnTo>
                  <a:lnTo>
                    <a:pt x="582" y="264"/>
                  </a:lnTo>
                  <a:lnTo>
                    <a:pt x="576" y="264"/>
                  </a:lnTo>
                  <a:lnTo>
                    <a:pt x="546" y="264"/>
                  </a:lnTo>
                  <a:lnTo>
                    <a:pt x="546" y="276"/>
                  </a:lnTo>
                  <a:lnTo>
                    <a:pt x="540" y="282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40" y="324"/>
                  </a:lnTo>
                  <a:lnTo>
                    <a:pt x="552" y="330"/>
                  </a:lnTo>
                  <a:lnTo>
                    <a:pt x="558" y="342"/>
                  </a:lnTo>
                  <a:lnTo>
                    <a:pt x="546" y="372"/>
                  </a:lnTo>
                  <a:lnTo>
                    <a:pt x="534" y="372"/>
                  </a:lnTo>
                  <a:lnTo>
                    <a:pt x="534" y="384"/>
                  </a:lnTo>
                  <a:lnTo>
                    <a:pt x="522" y="384"/>
                  </a:lnTo>
                  <a:lnTo>
                    <a:pt x="510" y="402"/>
                  </a:lnTo>
                  <a:lnTo>
                    <a:pt x="504" y="420"/>
                  </a:lnTo>
                  <a:lnTo>
                    <a:pt x="492" y="426"/>
                  </a:lnTo>
                  <a:lnTo>
                    <a:pt x="486" y="432"/>
                  </a:lnTo>
                  <a:lnTo>
                    <a:pt x="486" y="444"/>
                  </a:lnTo>
                  <a:lnTo>
                    <a:pt x="486" y="450"/>
                  </a:lnTo>
                  <a:lnTo>
                    <a:pt x="486" y="456"/>
                  </a:lnTo>
                  <a:lnTo>
                    <a:pt x="486" y="462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80" y="474"/>
                  </a:lnTo>
                  <a:lnTo>
                    <a:pt x="480" y="480"/>
                  </a:lnTo>
                  <a:lnTo>
                    <a:pt x="480" y="486"/>
                  </a:lnTo>
                  <a:lnTo>
                    <a:pt x="480" y="492"/>
                  </a:lnTo>
                  <a:lnTo>
                    <a:pt x="480" y="498"/>
                  </a:lnTo>
                  <a:lnTo>
                    <a:pt x="474" y="504"/>
                  </a:lnTo>
                  <a:lnTo>
                    <a:pt x="468" y="510"/>
                  </a:lnTo>
                  <a:lnTo>
                    <a:pt x="462" y="510"/>
                  </a:lnTo>
                  <a:lnTo>
                    <a:pt x="456" y="504"/>
                  </a:lnTo>
                  <a:lnTo>
                    <a:pt x="456" y="498"/>
                  </a:lnTo>
                  <a:lnTo>
                    <a:pt x="450" y="498"/>
                  </a:lnTo>
                  <a:lnTo>
                    <a:pt x="444" y="498"/>
                  </a:lnTo>
                  <a:lnTo>
                    <a:pt x="438" y="498"/>
                  </a:lnTo>
                  <a:lnTo>
                    <a:pt x="432" y="498"/>
                  </a:lnTo>
                  <a:lnTo>
                    <a:pt x="426" y="504"/>
                  </a:lnTo>
                  <a:lnTo>
                    <a:pt x="426" y="510"/>
                  </a:lnTo>
                  <a:lnTo>
                    <a:pt x="420" y="516"/>
                  </a:lnTo>
                  <a:lnTo>
                    <a:pt x="414" y="522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84" y="528"/>
                  </a:lnTo>
                  <a:lnTo>
                    <a:pt x="366" y="540"/>
                  </a:lnTo>
                  <a:lnTo>
                    <a:pt x="360" y="522"/>
                  </a:lnTo>
                  <a:lnTo>
                    <a:pt x="348" y="504"/>
                  </a:lnTo>
                  <a:lnTo>
                    <a:pt x="330" y="504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34"/>
                  </a:lnTo>
                  <a:lnTo>
                    <a:pt x="288" y="540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2" y="540"/>
                  </a:lnTo>
                  <a:lnTo>
                    <a:pt x="282" y="546"/>
                  </a:lnTo>
                  <a:lnTo>
                    <a:pt x="288" y="552"/>
                  </a:lnTo>
                  <a:lnTo>
                    <a:pt x="294" y="564"/>
                  </a:lnTo>
                  <a:lnTo>
                    <a:pt x="300" y="564"/>
                  </a:lnTo>
                  <a:lnTo>
                    <a:pt x="300" y="570"/>
                  </a:lnTo>
                  <a:lnTo>
                    <a:pt x="294" y="570"/>
                  </a:lnTo>
                  <a:lnTo>
                    <a:pt x="288" y="570"/>
                  </a:lnTo>
                  <a:lnTo>
                    <a:pt x="288" y="576"/>
                  </a:lnTo>
                  <a:lnTo>
                    <a:pt x="288" y="582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606"/>
                  </a:lnTo>
                  <a:lnTo>
                    <a:pt x="264" y="612"/>
                  </a:lnTo>
                  <a:lnTo>
                    <a:pt x="258" y="612"/>
                  </a:lnTo>
                  <a:lnTo>
                    <a:pt x="252" y="612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52" y="630"/>
                  </a:lnTo>
                  <a:lnTo>
                    <a:pt x="264" y="642"/>
                  </a:lnTo>
                  <a:lnTo>
                    <a:pt x="258" y="648"/>
                  </a:lnTo>
                  <a:lnTo>
                    <a:pt x="246" y="654"/>
                  </a:lnTo>
                  <a:lnTo>
                    <a:pt x="240" y="660"/>
                  </a:lnTo>
                  <a:lnTo>
                    <a:pt x="234" y="672"/>
                  </a:lnTo>
                  <a:lnTo>
                    <a:pt x="234" y="678"/>
                  </a:lnTo>
                  <a:lnTo>
                    <a:pt x="228" y="684"/>
                  </a:lnTo>
                  <a:lnTo>
                    <a:pt x="228" y="696"/>
                  </a:lnTo>
                  <a:lnTo>
                    <a:pt x="216" y="71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6" name="Freeform 21">
              <a:extLst>
                <a:ext uri="{FF2B5EF4-FFF2-40B4-BE49-F238E27FC236}">
                  <a16:creationId xmlns:a16="http://schemas.microsoft.com/office/drawing/2014/main" id="{DCB1E808-522D-4C19-B741-CC5DD56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4178" y="3866464"/>
              <a:ext cx="250453" cy="371259"/>
            </a:xfrm>
            <a:custGeom>
              <a:avLst/>
              <a:gdLst>
                <a:gd name="T0" fmla="*/ 0 w 468"/>
                <a:gd name="T1" fmla="*/ 61 h 696"/>
                <a:gd name="T2" fmla="*/ 1 w 468"/>
                <a:gd name="T3" fmla="*/ 58 h 696"/>
                <a:gd name="T4" fmla="*/ 2 w 468"/>
                <a:gd name="T5" fmla="*/ 54 h 696"/>
                <a:gd name="T6" fmla="*/ 3 w 468"/>
                <a:gd name="T7" fmla="*/ 51 h 696"/>
                <a:gd name="T8" fmla="*/ 4 w 468"/>
                <a:gd name="T9" fmla="*/ 48 h 696"/>
                <a:gd name="T10" fmla="*/ 6 w 468"/>
                <a:gd name="T11" fmla="*/ 44 h 696"/>
                <a:gd name="T12" fmla="*/ 5 w 468"/>
                <a:gd name="T13" fmla="*/ 41 h 696"/>
                <a:gd name="T14" fmla="*/ 7 w 468"/>
                <a:gd name="T15" fmla="*/ 38 h 696"/>
                <a:gd name="T16" fmla="*/ 8 w 468"/>
                <a:gd name="T17" fmla="*/ 36 h 696"/>
                <a:gd name="T18" fmla="*/ 7 w 468"/>
                <a:gd name="T19" fmla="*/ 33 h 696"/>
                <a:gd name="T20" fmla="*/ 6 w 468"/>
                <a:gd name="T21" fmla="*/ 29 h 696"/>
                <a:gd name="T22" fmla="*/ 4 w 468"/>
                <a:gd name="T23" fmla="*/ 22 h 696"/>
                <a:gd name="T24" fmla="*/ 2 w 468"/>
                <a:gd name="T25" fmla="*/ 14 h 696"/>
                <a:gd name="T26" fmla="*/ 12 w 468"/>
                <a:gd name="T27" fmla="*/ 11 h 696"/>
                <a:gd name="T28" fmla="*/ 14 w 468"/>
                <a:gd name="T29" fmla="*/ 2 h 696"/>
                <a:gd name="T30" fmla="*/ 16 w 468"/>
                <a:gd name="T31" fmla="*/ 0 h 696"/>
                <a:gd name="T32" fmla="*/ 17 w 468"/>
                <a:gd name="T33" fmla="*/ 0 h 696"/>
                <a:gd name="T34" fmla="*/ 18 w 468"/>
                <a:gd name="T35" fmla="*/ 1 h 696"/>
                <a:gd name="T36" fmla="*/ 17 w 468"/>
                <a:gd name="T37" fmla="*/ 2 h 696"/>
                <a:gd name="T38" fmla="*/ 17 w 468"/>
                <a:gd name="T39" fmla="*/ 4 h 696"/>
                <a:gd name="T40" fmla="*/ 17 w 468"/>
                <a:gd name="T41" fmla="*/ 6 h 696"/>
                <a:gd name="T42" fmla="*/ 20 w 468"/>
                <a:gd name="T43" fmla="*/ 6 h 696"/>
                <a:gd name="T44" fmla="*/ 22 w 468"/>
                <a:gd name="T45" fmla="*/ 5 h 696"/>
                <a:gd name="T46" fmla="*/ 24 w 468"/>
                <a:gd name="T47" fmla="*/ 7 h 696"/>
                <a:gd name="T48" fmla="*/ 28 w 468"/>
                <a:gd name="T49" fmla="*/ 7 h 696"/>
                <a:gd name="T50" fmla="*/ 28 w 468"/>
                <a:gd name="T51" fmla="*/ 11 h 696"/>
                <a:gd name="T52" fmla="*/ 25 w 468"/>
                <a:gd name="T53" fmla="*/ 14 h 696"/>
                <a:gd name="T54" fmla="*/ 23 w 468"/>
                <a:gd name="T55" fmla="*/ 15 h 696"/>
                <a:gd name="T56" fmla="*/ 23 w 468"/>
                <a:gd name="T57" fmla="*/ 19 h 696"/>
                <a:gd name="T58" fmla="*/ 23 w 468"/>
                <a:gd name="T59" fmla="*/ 21 h 696"/>
                <a:gd name="T60" fmla="*/ 24 w 468"/>
                <a:gd name="T61" fmla="*/ 21 h 696"/>
                <a:gd name="T62" fmla="*/ 27 w 468"/>
                <a:gd name="T63" fmla="*/ 23 h 696"/>
                <a:gd name="T64" fmla="*/ 29 w 468"/>
                <a:gd name="T65" fmla="*/ 24 h 696"/>
                <a:gd name="T66" fmla="*/ 29 w 468"/>
                <a:gd name="T67" fmla="*/ 28 h 696"/>
                <a:gd name="T68" fmla="*/ 29 w 468"/>
                <a:gd name="T69" fmla="*/ 29 h 696"/>
                <a:gd name="T70" fmla="*/ 29 w 468"/>
                <a:gd name="T71" fmla="*/ 32 h 696"/>
                <a:gd name="T72" fmla="*/ 32 w 468"/>
                <a:gd name="T73" fmla="*/ 32 h 696"/>
                <a:gd name="T74" fmla="*/ 33 w 468"/>
                <a:gd name="T75" fmla="*/ 35 h 696"/>
                <a:gd name="T76" fmla="*/ 34 w 468"/>
                <a:gd name="T77" fmla="*/ 38 h 696"/>
                <a:gd name="T78" fmla="*/ 35 w 468"/>
                <a:gd name="T79" fmla="*/ 39 h 696"/>
                <a:gd name="T80" fmla="*/ 36 w 468"/>
                <a:gd name="T81" fmla="*/ 40 h 696"/>
                <a:gd name="T82" fmla="*/ 37 w 468"/>
                <a:gd name="T83" fmla="*/ 41 h 696"/>
                <a:gd name="T84" fmla="*/ 38 w 468"/>
                <a:gd name="T85" fmla="*/ 42 h 696"/>
                <a:gd name="T86" fmla="*/ 41 w 468"/>
                <a:gd name="T87" fmla="*/ 44 h 696"/>
                <a:gd name="T88" fmla="*/ 40 w 468"/>
                <a:gd name="T89" fmla="*/ 44 h 696"/>
                <a:gd name="T90" fmla="*/ 37 w 468"/>
                <a:gd name="T91" fmla="*/ 45 h 696"/>
                <a:gd name="T92" fmla="*/ 36 w 468"/>
                <a:gd name="T93" fmla="*/ 48 h 696"/>
                <a:gd name="T94" fmla="*/ 34 w 468"/>
                <a:gd name="T95" fmla="*/ 49 h 696"/>
                <a:gd name="T96" fmla="*/ 32 w 468"/>
                <a:gd name="T97" fmla="*/ 51 h 696"/>
                <a:gd name="T98" fmla="*/ 31 w 468"/>
                <a:gd name="T99" fmla="*/ 51 h 696"/>
                <a:gd name="T100" fmla="*/ 26 w 468"/>
                <a:gd name="T101" fmla="*/ 49 h 696"/>
                <a:gd name="T102" fmla="*/ 23 w 468"/>
                <a:gd name="T103" fmla="*/ 51 h 696"/>
                <a:gd name="T104" fmla="*/ 21 w 468"/>
                <a:gd name="T105" fmla="*/ 51 h 696"/>
                <a:gd name="T106" fmla="*/ 20 w 468"/>
                <a:gd name="T107" fmla="*/ 52 h 696"/>
                <a:gd name="T108" fmla="*/ 17 w 468"/>
                <a:gd name="T109" fmla="*/ 55 h 696"/>
                <a:gd name="T110" fmla="*/ 15 w 468"/>
                <a:gd name="T111" fmla="*/ 56 h 696"/>
                <a:gd name="T112" fmla="*/ 15 w 468"/>
                <a:gd name="T113" fmla="*/ 59 h 696"/>
                <a:gd name="T114" fmla="*/ 14 w 468"/>
                <a:gd name="T115" fmla="*/ 59 h 696"/>
                <a:gd name="T116" fmla="*/ 12 w 468"/>
                <a:gd name="T117" fmla="*/ 59 h 696"/>
                <a:gd name="T118" fmla="*/ 11 w 468"/>
                <a:gd name="T119" fmla="*/ 57 h 696"/>
                <a:gd name="T120" fmla="*/ 9 w 468"/>
                <a:gd name="T121" fmla="*/ 57 h 696"/>
                <a:gd name="T122" fmla="*/ 6 w 468"/>
                <a:gd name="T123" fmla="*/ 58 h 696"/>
                <a:gd name="T124" fmla="*/ 4 w 468"/>
                <a:gd name="T125" fmla="*/ 60 h 69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8"/>
                <a:gd name="T190" fmla="*/ 0 h 696"/>
                <a:gd name="T191" fmla="*/ 468 w 468"/>
                <a:gd name="T192" fmla="*/ 696 h 69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8" h="696">
                  <a:moveTo>
                    <a:pt x="30" y="696"/>
                  </a:moveTo>
                  <a:lnTo>
                    <a:pt x="18" y="696"/>
                  </a:lnTo>
                  <a:lnTo>
                    <a:pt x="6" y="696"/>
                  </a:lnTo>
                  <a:lnTo>
                    <a:pt x="0" y="690"/>
                  </a:lnTo>
                  <a:lnTo>
                    <a:pt x="6" y="678"/>
                  </a:lnTo>
                  <a:lnTo>
                    <a:pt x="12" y="666"/>
                  </a:lnTo>
                  <a:lnTo>
                    <a:pt x="18" y="654"/>
                  </a:lnTo>
                  <a:lnTo>
                    <a:pt x="18" y="642"/>
                  </a:lnTo>
                  <a:lnTo>
                    <a:pt x="18" y="618"/>
                  </a:lnTo>
                  <a:lnTo>
                    <a:pt x="24" y="606"/>
                  </a:lnTo>
                  <a:lnTo>
                    <a:pt x="30" y="594"/>
                  </a:lnTo>
                  <a:lnTo>
                    <a:pt x="30" y="582"/>
                  </a:lnTo>
                  <a:lnTo>
                    <a:pt x="36" y="576"/>
                  </a:lnTo>
                  <a:lnTo>
                    <a:pt x="42" y="564"/>
                  </a:lnTo>
                  <a:lnTo>
                    <a:pt x="48" y="546"/>
                  </a:lnTo>
                  <a:lnTo>
                    <a:pt x="48" y="528"/>
                  </a:lnTo>
                  <a:lnTo>
                    <a:pt x="60" y="516"/>
                  </a:lnTo>
                  <a:lnTo>
                    <a:pt x="66" y="504"/>
                  </a:lnTo>
                  <a:lnTo>
                    <a:pt x="66" y="492"/>
                  </a:lnTo>
                  <a:lnTo>
                    <a:pt x="60" y="480"/>
                  </a:lnTo>
                  <a:lnTo>
                    <a:pt x="54" y="468"/>
                  </a:lnTo>
                  <a:lnTo>
                    <a:pt x="60" y="456"/>
                  </a:lnTo>
                  <a:lnTo>
                    <a:pt x="72" y="450"/>
                  </a:lnTo>
                  <a:lnTo>
                    <a:pt x="84" y="438"/>
                  </a:lnTo>
                  <a:lnTo>
                    <a:pt x="90" y="426"/>
                  </a:lnTo>
                  <a:lnTo>
                    <a:pt x="90" y="420"/>
                  </a:lnTo>
                  <a:lnTo>
                    <a:pt x="90" y="408"/>
                  </a:lnTo>
                  <a:lnTo>
                    <a:pt x="90" y="402"/>
                  </a:lnTo>
                  <a:lnTo>
                    <a:pt x="84" y="396"/>
                  </a:lnTo>
                  <a:lnTo>
                    <a:pt x="78" y="378"/>
                  </a:lnTo>
                  <a:lnTo>
                    <a:pt x="72" y="360"/>
                  </a:lnTo>
                  <a:lnTo>
                    <a:pt x="66" y="348"/>
                  </a:lnTo>
                  <a:lnTo>
                    <a:pt x="72" y="336"/>
                  </a:lnTo>
                  <a:lnTo>
                    <a:pt x="66" y="306"/>
                  </a:lnTo>
                  <a:lnTo>
                    <a:pt x="54" y="276"/>
                  </a:lnTo>
                  <a:lnTo>
                    <a:pt x="42" y="252"/>
                  </a:lnTo>
                  <a:lnTo>
                    <a:pt x="36" y="222"/>
                  </a:lnTo>
                  <a:lnTo>
                    <a:pt x="30" y="192"/>
                  </a:lnTo>
                  <a:lnTo>
                    <a:pt x="24" y="162"/>
                  </a:lnTo>
                  <a:lnTo>
                    <a:pt x="42" y="174"/>
                  </a:lnTo>
                  <a:lnTo>
                    <a:pt x="120" y="138"/>
                  </a:lnTo>
                  <a:lnTo>
                    <a:pt x="132" y="126"/>
                  </a:lnTo>
                  <a:lnTo>
                    <a:pt x="120" y="54"/>
                  </a:lnTo>
                  <a:lnTo>
                    <a:pt x="156" y="30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0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8" y="18"/>
                  </a:lnTo>
                  <a:lnTo>
                    <a:pt x="198" y="24"/>
                  </a:lnTo>
                  <a:lnTo>
                    <a:pt x="198" y="30"/>
                  </a:lnTo>
                  <a:lnTo>
                    <a:pt x="198" y="42"/>
                  </a:lnTo>
                  <a:lnTo>
                    <a:pt x="198" y="48"/>
                  </a:lnTo>
                  <a:lnTo>
                    <a:pt x="192" y="60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28" y="60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34" y="60"/>
                  </a:lnTo>
                  <a:lnTo>
                    <a:pt x="252" y="60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312" y="84"/>
                  </a:lnTo>
                  <a:lnTo>
                    <a:pt x="318" y="96"/>
                  </a:lnTo>
                  <a:lnTo>
                    <a:pt x="318" y="102"/>
                  </a:lnTo>
                  <a:lnTo>
                    <a:pt x="312" y="120"/>
                  </a:lnTo>
                  <a:lnTo>
                    <a:pt x="306" y="132"/>
                  </a:lnTo>
                  <a:lnTo>
                    <a:pt x="294" y="144"/>
                  </a:lnTo>
                  <a:lnTo>
                    <a:pt x="282" y="156"/>
                  </a:lnTo>
                  <a:lnTo>
                    <a:pt x="276" y="162"/>
                  </a:lnTo>
                  <a:lnTo>
                    <a:pt x="270" y="162"/>
                  </a:lnTo>
                  <a:lnTo>
                    <a:pt x="264" y="174"/>
                  </a:lnTo>
                  <a:lnTo>
                    <a:pt x="264" y="192"/>
                  </a:lnTo>
                  <a:lnTo>
                    <a:pt x="264" y="216"/>
                  </a:lnTo>
                  <a:lnTo>
                    <a:pt x="258" y="216"/>
                  </a:lnTo>
                  <a:lnTo>
                    <a:pt x="258" y="228"/>
                  </a:lnTo>
                  <a:lnTo>
                    <a:pt x="252" y="234"/>
                  </a:lnTo>
                  <a:lnTo>
                    <a:pt x="258" y="240"/>
                  </a:lnTo>
                  <a:lnTo>
                    <a:pt x="264" y="240"/>
                  </a:lnTo>
                  <a:lnTo>
                    <a:pt x="270" y="240"/>
                  </a:lnTo>
                  <a:lnTo>
                    <a:pt x="276" y="240"/>
                  </a:lnTo>
                  <a:lnTo>
                    <a:pt x="288" y="240"/>
                  </a:lnTo>
                  <a:lnTo>
                    <a:pt x="300" y="246"/>
                  </a:lnTo>
                  <a:lnTo>
                    <a:pt x="306" y="258"/>
                  </a:lnTo>
                  <a:lnTo>
                    <a:pt x="312" y="264"/>
                  </a:lnTo>
                  <a:lnTo>
                    <a:pt x="318" y="276"/>
                  </a:lnTo>
                  <a:lnTo>
                    <a:pt x="330" y="282"/>
                  </a:lnTo>
                  <a:lnTo>
                    <a:pt x="330" y="300"/>
                  </a:lnTo>
                  <a:lnTo>
                    <a:pt x="336" y="312"/>
                  </a:lnTo>
                  <a:lnTo>
                    <a:pt x="336" y="318"/>
                  </a:lnTo>
                  <a:lnTo>
                    <a:pt x="336" y="330"/>
                  </a:lnTo>
                  <a:lnTo>
                    <a:pt x="324" y="330"/>
                  </a:lnTo>
                  <a:lnTo>
                    <a:pt x="330" y="336"/>
                  </a:lnTo>
                  <a:lnTo>
                    <a:pt x="330" y="342"/>
                  </a:lnTo>
                  <a:lnTo>
                    <a:pt x="336" y="348"/>
                  </a:lnTo>
                  <a:lnTo>
                    <a:pt x="330" y="360"/>
                  </a:lnTo>
                  <a:lnTo>
                    <a:pt x="336" y="372"/>
                  </a:lnTo>
                  <a:lnTo>
                    <a:pt x="354" y="366"/>
                  </a:lnTo>
                  <a:lnTo>
                    <a:pt x="366" y="366"/>
                  </a:lnTo>
                  <a:lnTo>
                    <a:pt x="372" y="378"/>
                  </a:lnTo>
                  <a:lnTo>
                    <a:pt x="372" y="390"/>
                  </a:lnTo>
                  <a:lnTo>
                    <a:pt x="378" y="396"/>
                  </a:lnTo>
                  <a:lnTo>
                    <a:pt x="378" y="408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44"/>
                  </a:lnTo>
                  <a:lnTo>
                    <a:pt x="390" y="444"/>
                  </a:lnTo>
                  <a:lnTo>
                    <a:pt x="396" y="444"/>
                  </a:lnTo>
                  <a:lnTo>
                    <a:pt x="402" y="450"/>
                  </a:lnTo>
                  <a:lnTo>
                    <a:pt x="408" y="450"/>
                  </a:lnTo>
                  <a:lnTo>
                    <a:pt x="408" y="462"/>
                  </a:lnTo>
                  <a:lnTo>
                    <a:pt x="408" y="468"/>
                  </a:lnTo>
                  <a:lnTo>
                    <a:pt x="414" y="474"/>
                  </a:lnTo>
                  <a:lnTo>
                    <a:pt x="420" y="474"/>
                  </a:lnTo>
                  <a:lnTo>
                    <a:pt x="420" y="480"/>
                  </a:lnTo>
                  <a:lnTo>
                    <a:pt x="426" y="480"/>
                  </a:lnTo>
                  <a:lnTo>
                    <a:pt x="432" y="480"/>
                  </a:lnTo>
                  <a:lnTo>
                    <a:pt x="462" y="486"/>
                  </a:lnTo>
                  <a:lnTo>
                    <a:pt x="468" y="492"/>
                  </a:lnTo>
                  <a:lnTo>
                    <a:pt x="468" y="498"/>
                  </a:lnTo>
                  <a:lnTo>
                    <a:pt x="462" y="498"/>
                  </a:lnTo>
                  <a:lnTo>
                    <a:pt x="456" y="498"/>
                  </a:lnTo>
                  <a:lnTo>
                    <a:pt x="456" y="504"/>
                  </a:lnTo>
                  <a:lnTo>
                    <a:pt x="456" y="510"/>
                  </a:lnTo>
                  <a:lnTo>
                    <a:pt x="450" y="516"/>
                  </a:lnTo>
                  <a:lnTo>
                    <a:pt x="426" y="516"/>
                  </a:lnTo>
                  <a:lnTo>
                    <a:pt x="408" y="528"/>
                  </a:lnTo>
                  <a:lnTo>
                    <a:pt x="408" y="546"/>
                  </a:lnTo>
                  <a:lnTo>
                    <a:pt x="414" y="552"/>
                  </a:lnTo>
                  <a:lnTo>
                    <a:pt x="408" y="558"/>
                  </a:lnTo>
                  <a:lnTo>
                    <a:pt x="402" y="564"/>
                  </a:lnTo>
                  <a:lnTo>
                    <a:pt x="384" y="564"/>
                  </a:lnTo>
                  <a:lnTo>
                    <a:pt x="372" y="564"/>
                  </a:lnTo>
                  <a:lnTo>
                    <a:pt x="372" y="576"/>
                  </a:lnTo>
                  <a:lnTo>
                    <a:pt x="366" y="576"/>
                  </a:lnTo>
                  <a:lnTo>
                    <a:pt x="366" y="582"/>
                  </a:lnTo>
                  <a:lnTo>
                    <a:pt x="360" y="582"/>
                  </a:lnTo>
                  <a:lnTo>
                    <a:pt x="348" y="576"/>
                  </a:lnTo>
                  <a:lnTo>
                    <a:pt x="336" y="570"/>
                  </a:lnTo>
                  <a:lnTo>
                    <a:pt x="324" y="570"/>
                  </a:lnTo>
                  <a:lnTo>
                    <a:pt x="300" y="564"/>
                  </a:lnTo>
                  <a:lnTo>
                    <a:pt x="282" y="564"/>
                  </a:lnTo>
                  <a:lnTo>
                    <a:pt x="270" y="570"/>
                  </a:lnTo>
                  <a:lnTo>
                    <a:pt x="264" y="576"/>
                  </a:lnTo>
                  <a:lnTo>
                    <a:pt x="258" y="576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34" y="594"/>
                  </a:lnTo>
                  <a:lnTo>
                    <a:pt x="228" y="600"/>
                  </a:lnTo>
                  <a:lnTo>
                    <a:pt x="210" y="618"/>
                  </a:lnTo>
                  <a:lnTo>
                    <a:pt x="210" y="624"/>
                  </a:lnTo>
                  <a:lnTo>
                    <a:pt x="192" y="630"/>
                  </a:lnTo>
                  <a:lnTo>
                    <a:pt x="186" y="630"/>
                  </a:lnTo>
                  <a:lnTo>
                    <a:pt x="180" y="636"/>
                  </a:lnTo>
                  <a:lnTo>
                    <a:pt x="174" y="642"/>
                  </a:lnTo>
                  <a:lnTo>
                    <a:pt x="168" y="642"/>
                  </a:lnTo>
                  <a:lnTo>
                    <a:pt x="168" y="654"/>
                  </a:lnTo>
                  <a:lnTo>
                    <a:pt x="168" y="678"/>
                  </a:lnTo>
                  <a:lnTo>
                    <a:pt x="162" y="684"/>
                  </a:lnTo>
                  <a:lnTo>
                    <a:pt x="156" y="684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72"/>
                  </a:lnTo>
                  <a:lnTo>
                    <a:pt x="138" y="672"/>
                  </a:lnTo>
                  <a:lnTo>
                    <a:pt x="138" y="666"/>
                  </a:lnTo>
                  <a:lnTo>
                    <a:pt x="132" y="660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48"/>
                  </a:lnTo>
                  <a:lnTo>
                    <a:pt x="102" y="654"/>
                  </a:lnTo>
                  <a:lnTo>
                    <a:pt x="90" y="654"/>
                  </a:lnTo>
                  <a:lnTo>
                    <a:pt x="84" y="654"/>
                  </a:lnTo>
                  <a:lnTo>
                    <a:pt x="72" y="660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36" y="684"/>
                  </a:lnTo>
                  <a:lnTo>
                    <a:pt x="30" y="6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7" name="Freeform 22">
              <a:extLst>
                <a:ext uri="{FF2B5EF4-FFF2-40B4-BE49-F238E27FC236}">
                  <a16:creationId xmlns:a16="http://schemas.microsoft.com/office/drawing/2014/main" id="{2F7A477D-6CF8-44B3-8B32-64EE03DC4D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2895" y="3967106"/>
              <a:ext cx="610479" cy="507686"/>
            </a:xfrm>
            <a:custGeom>
              <a:avLst/>
              <a:gdLst>
                <a:gd name="T0" fmla="*/ 87 w 1146"/>
                <a:gd name="T1" fmla="*/ 56 h 954"/>
                <a:gd name="T2" fmla="*/ 83 w 1146"/>
                <a:gd name="T3" fmla="*/ 66 h 954"/>
                <a:gd name="T4" fmla="*/ 74 w 1146"/>
                <a:gd name="T5" fmla="*/ 69 h 954"/>
                <a:gd name="T6" fmla="*/ 67 w 1146"/>
                <a:gd name="T7" fmla="*/ 75 h 954"/>
                <a:gd name="T8" fmla="*/ 59 w 1146"/>
                <a:gd name="T9" fmla="*/ 78 h 954"/>
                <a:gd name="T10" fmla="*/ 52 w 1146"/>
                <a:gd name="T11" fmla="*/ 77 h 954"/>
                <a:gd name="T12" fmla="*/ 48 w 1146"/>
                <a:gd name="T13" fmla="*/ 79 h 954"/>
                <a:gd name="T14" fmla="*/ 41 w 1146"/>
                <a:gd name="T15" fmla="*/ 82 h 954"/>
                <a:gd name="T16" fmla="*/ 29 w 1146"/>
                <a:gd name="T17" fmla="*/ 78 h 954"/>
                <a:gd name="T18" fmla="*/ 28 w 1146"/>
                <a:gd name="T19" fmla="*/ 76 h 954"/>
                <a:gd name="T20" fmla="*/ 28 w 1146"/>
                <a:gd name="T21" fmla="*/ 72 h 954"/>
                <a:gd name="T22" fmla="*/ 28 w 1146"/>
                <a:gd name="T23" fmla="*/ 74 h 954"/>
                <a:gd name="T24" fmla="*/ 21 w 1146"/>
                <a:gd name="T25" fmla="*/ 74 h 954"/>
                <a:gd name="T26" fmla="*/ 20 w 1146"/>
                <a:gd name="T27" fmla="*/ 67 h 954"/>
                <a:gd name="T28" fmla="*/ 23 w 1146"/>
                <a:gd name="T29" fmla="*/ 64 h 954"/>
                <a:gd name="T30" fmla="*/ 28 w 1146"/>
                <a:gd name="T31" fmla="*/ 65 h 954"/>
                <a:gd name="T32" fmla="*/ 32 w 1146"/>
                <a:gd name="T33" fmla="*/ 62 h 954"/>
                <a:gd name="T34" fmla="*/ 31 w 1146"/>
                <a:gd name="T35" fmla="*/ 56 h 954"/>
                <a:gd name="T36" fmla="*/ 36 w 1146"/>
                <a:gd name="T37" fmla="*/ 54 h 954"/>
                <a:gd name="T38" fmla="*/ 38 w 1146"/>
                <a:gd name="T39" fmla="*/ 54 h 954"/>
                <a:gd name="T40" fmla="*/ 32 w 1146"/>
                <a:gd name="T41" fmla="*/ 54 h 954"/>
                <a:gd name="T42" fmla="*/ 29 w 1146"/>
                <a:gd name="T43" fmla="*/ 59 h 954"/>
                <a:gd name="T44" fmla="*/ 26 w 1146"/>
                <a:gd name="T45" fmla="*/ 59 h 954"/>
                <a:gd name="T46" fmla="*/ 25 w 1146"/>
                <a:gd name="T47" fmla="*/ 61 h 954"/>
                <a:gd name="T48" fmla="*/ 20 w 1146"/>
                <a:gd name="T49" fmla="*/ 61 h 954"/>
                <a:gd name="T50" fmla="*/ 11 w 1146"/>
                <a:gd name="T51" fmla="*/ 54 h 954"/>
                <a:gd name="T52" fmla="*/ 14 w 1146"/>
                <a:gd name="T53" fmla="*/ 50 h 954"/>
                <a:gd name="T54" fmla="*/ 21 w 1146"/>
                <a:gd name="T55" fmla="*/ 51 h 954"/>
                <a:gd name="T56" fmla="*/ 24 w 1146"/>
                <a:gd name="T57" fmla="*/ 50 h 954"/>
                <a:gd name="T58" fmla="*/ 28 w 1146"/>
                <a:gd name="T59" fmla="*/ 48 h 954"/>
                <a:gd name="T60" fmla="*/ 30 w 1146"/>
                <a:gd name="T61" fmla="*/ 49 h 954"/>
                <a:gd name="T62" fmla="*/ 26 w 1146"/>
                <a:gd name="T63" fmla="*/ 47 h 954"/>
                <a:gd name="T64" fmla="*/ 20 w 1146"/>
                <a:gd name="T65" fmla="*/ 50 h 954"/>
                <a:gd name="T66" fmla="*/ 20 w 1146"/>
                <a:gd name="T67" fmla="*/ 44 h 954"/>
                <a:gd name="T68" fmla="*/ 19 w 1146"/>
                <a:gd name="T69" fmla="*/ 46 h 954"/>
                <a:gd name="T70" fmla="*/ 15 w 1146"/>
                <a:gd name="T71" fmla="*/ 49 h 954"/>
                <a:gd name="T72" fmla="*/ 8 w 1146"/>
                <a:gd name="T73" fmla="*/ 48 h 954"/>
                <a:gd name="T74" fmla="*/ 6 w 1146"/>
                <a:gd name="T75" fmla="*/ 41 h 954"/>
                <a:gd name="T76" fmla="*/ 10 w 1146"/>
                <a:gd name="T77" fmla="*/ 41 h 954"/>
                <a:gd name="T78" fmla="*/ 9 w 1146"/>
                <a:gd name="T79" fmla="*/ 39 h 954"/>
                <a:gd name="T80" fmla="*/ 14 w 1146"/>
                <a:gd name="T81" fmla="*/ 35 h 954"/>
                <a:gd name="T82" fmla="*/ 19 w 1146"/>
                <a:gd name="T83" fmla="*/ 32 h 954"/>
                <a:gd name="T84" fmla="*/ 20 w 1146"/>
                <a:gd name="T85" fmla="*/ 29 h 954"/>
                <a:gd name="T86" fmla="*/ 27 w 1146"/>
                <a:gd name="T87" fmla="*/ 27 h 954"/>
                <a:gd name="T88" fmla="*/ 33 w 1146"/>
                <a:gd name="T89" fmla="*/ 28 h 954"/>
                <a:gd name="T90" fmla="*/ 44 w 1146"/>
                <a:gd name="T91" fmla="*/ 27 h 954"/>
                <a:gd name="T92" fmla="*/ 52 w 1146"/>
                <a:gd name="T93" fmla="*/ 41 h 954"/>
                <a:gd name="T94" fmla="*/ 61 w 1146"/>
                <a:gd name="T95" fmla="*/ 40 h 954"/>
                <a:gd name="T96" fmla="*/ 69 w 1146"/>
                <a:gd name="T97" fmla="*/ 34 h 954"/>
                <a:gd name="T98" fmla="*/ 62 w 1146"/>
                <a:gd name="T99" fmla="*/ 12 h 954"/>
                <a:gd name="T100" fmla="*/ 74 w 1146"/>
                <a:gd name="T101" fmla="*/ 8 h 954"/>
                <a:gd name="T102" fmla="*/ 87 w 1146"/>
                <a:gd name="T103" fmla="*/ 1 h 954"/>
                <a:gd name="T104" fmla="*/ 99 w 1146"/>
                <a:gd name="T105" fmla="*/ 12 h 954"/>
                <a:gd name="T106" fmla="*/ 98 w 1146"/>
                <a:gd name="T107" fmla="*/ 27 h 954"/>
                <a:gd name="T108" fmla="*/ 16 w 1146"/>
                <a:gd name="T109" fmla="*/ 33 h 954"/>
                <a:gd name="T110" fmla="*/ 11 w 1146"/>
                <a:gd name="T111" fmla="*/ 36 h 954"/>
                <a:gd name="T112" fmla="*/ 5 w 1146"/>
                <a:gd name="T113" fmla="*/ 41 h 954"/>
                <a:gd name="T114" fmla="*/ 2 w 1146"/>
                <a:gd name="T115" fmla="*/ 36 h 954"/>
                <a:gd name="T116" fmla="*/ 5 w 1146"/>
                <a:gd name="T117" fmla="*/ 26 h 954"/>
                <a:gd name="T118" fmla="*/ 10 w 1146"/>
                <a:gd name="T119" fmla="*/ 20 h 954"/>
                <a:gd name="T120" fmla="*/ 13 w 1146"/>
                <a:gd name="T121" fmla="*/ 20 h 954"/>
                <a:gd name="T122" fmla="*/ 15 w 1146"/>
                <a:gd name="T123" fmla="*/ 27 h 95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46"/>
                <a:gd name="T187" fmla="*/ 0 h 954"/>
                <a:gd name="T188" fmla="*/ 1146 w 1146"/>
                <a:gd name="T189" fmla="*/ 954 h 95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46" h="954">
                  <a:moveTo>
                    <a:pt x="1056" y="498"/>
                  </a:moveTo>
                  <a:lnTo>
                    <a:pt x="1044" y="510"/>
                  </a:lnTo>
                  <a:lnTo>
                    <a:pt x="1032" y="516"/>
                  </a:lnTo>
                  <a:lnTo>
                    <a:pt x="1038" y="528"/>
                  </a:lnTo>
                  <a:lnTo>
                    <a:pt x="1050" y="540"/>
                  </a:lnTo>
                  <a:lnTo>
                    <a:pt x="1050" y="546"/>
                  </a:lnTo>
                  <a:lnTo>
                    <a:pt x="1050" y="564"/>
                  </a:lnTo>
                  <a:lnTo>
                    <a:pt x="1038" y="576"/>
                  </a:lnTo>
                  <a:lnTo>
                    <a:pt x="1032" y="588"/>
                  </a:lnTo>
                  <a:lnTo>
                    <a:pt x="1020" y="594"/>
                  </a:lnTo>
                  <a:lnTo>
                    <a:pt x="1008" y="594"/>
                  </a:lnTo>
                  <a:lnTo>
                    <a:pt x="1002" y="600"/>
                  </a:lnTo>
                  <a:lnTo>
                    <a:pt x="996" y="612"/>
                  </a:lnTo>
                  <a:lnTo>
                    <a:pt x="996" y="624"/>
                  </a:lnTo>
                  <a:lnTo>
                    <a:pt x="996" y="648"/>
                  </a:lnTo>
                  <a:lnTo>
                    <a:pt x="996" y="660"/>
                  </a:lnTo>
                  <a:lnTo>
                    <a:pt x="1002" y="672"/>
                  </a:lnTo>
                  <a:lnTo>
                    <a:pt x="1002" y="684"/>
                  </a:lnTo>
                  <a:lnTo>
                    <a:pt x="996" y="684"/>
                  </a:lnTo>
                  <a:lnTo>
                    <a:pt x="984" y="690"/>
                  </a:lnTo>
                  <a:lnTo>
                    <a:pt x="972" y="690"/>
                  </a:lnTo>
                  <a:lnTo>
                    <a:pt x="966" y="696"/>
                  </a:lnTo>
                  <a:lnTo>
                    <a:pt x="966" y="702"/>
                  </a:lnTo>
                  <a:lnTo>
                    <a:pt x="966" y="714"/>
                  </a:lnTo>
                  <a:lnTo>
                    <a:pt x="972" y="726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2" y="756"/>
                  </a:lnTo>
                  <a:lnTo>
                    <a:pt x="966" y="756"/>
                  </a:lnTo>
                  <a:lnTo>
                    <a:pt x="942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18" y="768"/>
                  </a:lnTo>
                  <a:lnTo>
                    <a:pt x="906" y="768"/>
                  </a:lnTo>
                  <a:lnTo>
                    <a:pt x="894" y="762"/>
                  </a:lnTo>
                  <a:lnTo>
                    <a:pt x="882" y="756"/>
                  </a:lnTo>
                  <a:lnTo>
                    <a:pt x="876" y="756"/>
                  </a:lnTo>
                  <a:lnTo>
                    <a:pt x="876" y="762"/>
                  </a:lnTo>
                  <a:lnTo>
                    <a:pt x="864" y="768"/>
                  </a:lnTo>
                  <a:lnTo>
                    <a:pt x="858" y="774"/>
                  </a:lnTo>
                  <a:lnTo>
                    <a:pt x="852" y="774"/>
                  </a:lnTo>
                  <a:lnTo>
                    <a:pt x="840" y="780"/>
                  </a:lnTo>
                  <a:lnTo>
                    <a:pt x="840" y="786"/>
                  </a:lnTo>
                  <a:lnTo>
                    <a:pt x="840" y="792"/>
                  </a:lnTo>
                  <a:lnTo>
                    <a:pt x="840" y="804"/>
                  </a:lnTo>
                  <a:lnTo>
                    <a:pt x="840" y="810"/>
                  </a:lnTo>
                  <a:lnTo>
                    <a:pt x="828" y="816"/>
                  </a:lnTo>
                  <a:lnTo>
                    <a:pt x="810" y="810"/>
                  </a:lnTo>
                  <a:lnTo>
                    <a:pt x="792" y="810"/>
                  </a:lnTo>
                  <a:lnTo>
                    <a:pt x="786" y="816"/>
                  </a:lnTo>
                  <a:lnTo>
                    <a:pt x="780" y="816"/>
                  </a:lnTo>
                  <a:lnTo>
                    <a:pt x="780" y="822"/>
                  </a:lnTo>
                  <a:lnTo>
                    <a:pt x="780" y="828"/>
                  </a:lnTo>
                  <a:lnTo>
                    <a:pt x="780" y="834"/>
                  </a:lnTo>
                  <a:lnTo>
                    <a:pt x="786" y="840"/>
                  </a:lnTo>
                  <a:lnTo>
                    <a:pt x="786" y="846"/>
                  </a:lnTo>
                  <a:lnTo>
                    <a:pt x="786" y="852"/>
                  </a:lnTo>
                  <a:lnTo>
                    <a:pt x="780" y="858"/>
                  </a:lnTo>
                  <a:lnTo>
                    <a:pt x="768" y="858"/>
                  </a:lnTo>
                  <a:lnTo>
                    <a:pt x="762" y="864"/>
                  </a:lnTo>
                  <a:lnTo>
                    <a:pt x="756" y="864"/>
                  </a:lnTo>
                  <a:lnTo>
                    <a:pt x="750" y="870"/>
                  </a:lnTo>
                  <a:lnTo>
                    <a:pt x="744" y="876"/>
                  </a:lnTo>
                  <a:lnTo>
                    <a:pt x="732" y="876"/>
                  </a:lnTo>
                  <a:lnTo>
                    <a:pt x="726" y="876"/>
                  </a:lnTo>
                  <a:lnTo>
                    <a:pt x="720" y="870"/>
                  </a:lnTo>
                  <a:lnTo>
                    <a:pt x="714" y="864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6" y="876"/>
                  </a:lnTo>
                  <a:lnTo>
                    <a:pt x="696" y="882"/>
                  </a:lnTo>
                  <a:lnTo>
                    <a:pt x="696" y="894"/>
                  </a:lnTo>
                  <a:lnTo>
                    <a:pt x="690" y="900"/>
                  </a:lnTo>
                  <a:lnTo>
                    <a:pt x="684" y="900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54" y="888"/>
                  </a:lnTo>
                  <a:lnTo>
                    <a:pt x="654" y="882"/>
                  </a:lnTo>
                  <a:lnTo>
                    <a:pt x="642" y="876"/>
                  </a:lnTo>
                  <a:lnTo>
                    <a:pt x="636" y="876"/>
                  </a:lnTo>
                  <a:lnTo>
                    <a:pt x="630" y="876"/>
                  </a:lnTo>
                  <a:lnTo>
                    <a:pt x="630" y="870"/>
                  </a:lnTo>
                  <a:lnTo>
                    <a:pt x="618" y="858"/>
                  </a:lnTo>
                  <a:lnTo>
                    <a:pt x="612" y="858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06" y="876"/>
                  </a:lnTo>
                  <a:lnTo>
                    <a:pt x="606" y="882"/>
                  </a:lnTo>
                  <a:lnTo>
                    <a:pt x="606" y="888"/>
                  </a:lnTo>
                  <a:lnTo>
                    <a:pt x="600" y="894"/>
                  </a:lnTo>
                  <a:lnTo>
                    <a:pt x="594" y="894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76" y="894"/>
                  </a:lnTo>
                  <a:lnTo>
                    <a:pt x="582" y="900"/>
                  </a:lnTo>
                  <a:lnTo>
                    <a:pt x="576" y="906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64" y="918"/>
                  </a:lnTo>
                  <a:lnTo>
                    <a:pt x="558" y="918"/>
                  </a:lnTo>
                  <a:lnTo>
                    <a:pt x="558" y="912"/>
                  </a:lnTo>
                  <a:lnTo>
                    <a:pt x="552" y="906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06"/>
                  </a:lnTo>
                  <a:lnTo>
                    <a:pt x="534" y="906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0" y="924"/>
                  </a:lnTo>
                  <a:lnTo>
                    <a:pt x="504" y="924"/>
                  </a:lnTo>
                  <a:lnTo>
                    <a:pt x="498" y="930"/>
                  </a:lnTo>
                  <a:lnTo>
                    <a:pt x="492" y="924"/>
                  </a:lnTo>
                  <a:lnTo>
                    <a:pt x="486" y="930"/>
                  </a:lnTo>
                  <a:lnTo>
                    <a:pt x="480" y="942"/>
                  </a:lnTo>
                  <a:lnTo>
                    <a:pt x="468" y="948"/>
                  </a:lnTo>
                  <a:lnTo>
                    <a:pt x="444" y="942"/>
                  </a:lnTo>
                  <a:lnTo>
                    <a:pt x="438" y="954"/>
                  </a:lnTo>
                  <a:lnTo>
                    <a:pt x="426" y="954"/>
                  </a:lnTo>
                  <a:lnTo>
                    <a:pt x="420" y="948"/>
                  </a:lnTo>
                  <a:lnTo>
                    <a:pt x="408" y="936"/>
                  </a:lnTo>
                  <a:lnTo>
                    <a:pt x="396" y="936"/>
                  </a:lnTo>
                  <a:lnTo>
                    <a:pt x="390" y="930"/>
                  </a:lnTo>
                  <a:lnTo>
                    <a:pt x="390" y="924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66" y="924"/>
                  </a:lnTo>
                  <a:lnTo>
                    <a:pt x="360" y="924"/>
                  </a:lnTo>
                  <a:lnTo>
                    <a:pt x="348" y="918"/>
                  </a:lnTo>
                  <a:lnTo>
                    <a:pt x="342" y="906"/>
                  </a:lnTo>
                  <a:lnTo>
                    <a:pt x="336" y="906"/>
                  </a:lnTo>
                  <a:lnTo>
                    <a:pt x="330" y="906"/>
                  </a:lnTo>
                  <a:lnTo>
                    <a:pt x="312" y="906"/>
                  </a:lnTo>
                  <a:lnTo>
                    <a:pt x="312" y="900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888"/>
                  </a:lnTo>
                  <a:lnTo>
                    <a:pt x="312" y="882"/>
                  </a:lnTo>
                  <a:lnTo>
                    <a:pt x="306" y="876"/>
                  </a:lnTo>
                  <a:lnTo>
                    <a:pt x="312" y="876"/>
                  </a:lnTo>
                  <a:lnTo>
                    <a:pt x="312" y="870"/>
                  </a:lnTo>
                  <a:lnTo>
                    <a:pt x="318" y="876"/>
                  </a:lnTo>
                  <a:lnTo>
                    <a:pt x="318" y="870"/>
                  </a:lnTo>
                  <a:lnTo>
                    <a:pt x="324" y="876"/>
                  </a:lnTo>
                  <a:lnTo>
                    <a:pt x="330" y="876"/>
                  </a:lnTo>
                  <a:lnTo>
                    <a:pt x="336" y="876"/>
                  </a:lnTo>
                  <a:lnTo>
                    <a:pt x="342" y="876"/>
                  </a:lnTo>
                  <a:lnTo>
                    <a:pt x="336" y="876"/>
                  </a:lnTo>
                  <a:lnTo>
                    <a:pt x="330" y="870"/>
                  </a:lnTo>
                  <a:lnTo>
                    <a:pt x="324" y="870"/>
                  </a:lnTo>
                  <a:lnTo>
                    <a:pt x="318" y="870"/>
                  </a:lnTo>
                  <a:lnTo>
                    <a:pt x="312" y="870"/>
                  </a:lnTo>
                  <a:lnTo>
                    <a:pt x="318" y="864"/>
                  </a:lnTo>
                  <a:lnTo>
                    <a:pt x="318" y="858"/>
                  </a:lnTo>
                  <a:lnTo>
                    <a:pt x="318" y="852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6" y="846"/>
                  </a:lnTo>
                  <a:lnTo>
                    <a:pt x="312" y="828"/>
                  </a:lnTo>
                  <a:lnTo>
                    <a:pt x="312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06" y="816"/>
                  </a:lnTo>
                  <a:lnTo>
                    <a:pt x="306" y="810"/>
                  </a:lnTo>
                  <a:lnTo>
                    <a:pt x="306" y="816"/>
                  </a:lnTo>
                  <a:lnTo>
                    <a:pt x="312" y="822"/>
                  </a:lnTo>
                  <a:lnTo>
                    <a:pt x="306" y="822"/>
                  </a:lnTo>
                  <a:lnTo>
                    <a:pt x="306" y="828"/>
                  </a:lnTo>
                  <a:lnTo>
                    <a:pt x="306" y="834"/>
                  </a:lnTo>
                  <a:lnTo>
                    <a:pt x="300" y="840"/>
                  </a:lnTo>
                  <a:lnTo>
                    <a:pt x="300" y="846"/>
                  </a:lnTo>
                  <a:lnTo>
                    <a:pt x="306" y="852"/>
                  </a:lnTo>
                  <a:lnTo>
                    <a:pt x="306" y="858"/>
                  </a:lnTo>
                  <a:lnTo>
                    <a:pt x="312" y="858"/>
                  </a:lnTo>
                  <a:lnTo>
                    <a:pt x="312" y="864"/>
                  </a:lnTo>
                  <a:lnTo>
                    <a:pt x="306" y="864"/>
                  </a:lnTo>
                  <a:lnTo>
                    <a:pt x="300" y="864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82" y="870"/>
                  </a:lnTo>
                  <a:lnTo>
                    <a:pt x="276" y="870"/>
                  </a:lnTo>
                  <a:lnTo>
                    <a:pt x="270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8" y="870"/>
                  </a:lnTo>
                  <a:lnTo>
                    <a:pt x="252" y="870"/>
                  </a:lnTo>
                  <a:lnTo>
                    <a:pt x="252" y="864"/>
                  </a:lnTo>
                  <a:lnTo>
                    <a:pt x="246" y="858"/>
                  </a:lnTo>
                  <a:lnTo>
                    <a:pt x="246" y="852"/>
                  </a:lnTo>
                  <a:lnTo>
                    <a:pt x="246" y="846"/>
                  </a:lnTo>
                  <a:lnTo>
                    <a:pt x="246" y="840"/>
                  </a:lnTo>
                  <a:lnTo>
                    <a:pt x="246" y="834"/>
                  </a:lnTo>
                  <a:lnTo>
                    <a:pt x="246" y="828"/>
                  </a:lnTo>
                  <a:lnTo>
                    <a:pt x="246" y="822"/>
                  </a:lnTo>
                  <a:lnTo>
                    <a:pt x="240" y="816"/>
                  </a:lnTo>
                  <a:lnTo>
                    <a:pt x="240" y="810"/>
                  </a:lnTo>
                  <a:lnTo>
                    <a:pt x="240" y="804"/>
                  </a:lnTo>
                  <a:lnTo>
                    <a:pt x="240" y="798"/>
                  </a:lnTo>
                  <a:lnTo>
                    <a:pt x="234" y="798"/>
                  </a:lnTo>
                  <a:lnTo>
                    <a:pt x="234" y="792"/>
                  </a:lnTo>
                  <a:lnTo>
                    <a:pt x="234" y="786"/>
                  </a:lnTo>
                  <a:lnTo>
                    <a:pt x="234" y="780"/>
                  </a:lnTo>
                  <a:lnTo>
                    <a:pt x="228" y="780"/>
                  </a:lnTo>
                  <a:lnTo>
                    <a:pt x="228" y="774"/>
                  </a:lnTo>
                  <a:lnTo>
                    <a:pt x="228" y="768"/>
                  </a:lnTo>
                  <a:lnTo>
                    <a:pt x="222" y="762"/>
                  </a:lnTo>
                  <a:lnTo>
                    <a:pt x="222" y="756"/>
                  </a:lnTo>
                  <a:lnTo>
                    <a:pt x="222" y="750"/>
                  </a:lnTo>
                  <a:lnTo>
                    <a:pt x="222" y="744"/>
                  </a:lnTo>
                  <a:lnTo>
                    <a:pt x="222" y="738"/>
                  </a:lnTo>
                  <a:lnTo>
                    <a:pt x="216" y="732"/>
                  </a:lnTo>
                  <a:lnTo>
                    <a:pt x="222" y="732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32"/>
                  </a:lnTo>
                  <a:lnTo>
                    <a:pt x="246" y="732"/>
                  </a:lnTo>
                  <a:lnTo>
                    <a:pt x="246" y="738"/>
                  </a:lnTo>
                  <a:lnTo>
                    <a:pt x="252" y="738"/>
                  </a:lnTo>
                  <a:lnTo>
                    <a:pt x="258" y="738"/>
                  </a:lnTo>
                  <a:lnTo>
                    <a:pt x="258" y="732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8" y="732"/>
                  </a:lnTo>
                  <a:lnTo>
                    <a:pt x="294" y="732"/>
                  </a:lnTo>
                  <a:lnTo>
                    <a:pt x="300" y="732"/>
                  </a:lnTo>
                  <a:lnTo>
                    <a:pt x="300" y="738"/>
                  </a:lnTo>
                  <a:lnTo>
                    <a:pt x="306" y="738"/>
                  </a:lnTo>
                  <a:lnTo>
                    <a:pt x="306" y="744"/>
                  </a:lnTo>
                  <a:lnTo>
                    <a:pt x="306" y="750"/>
                  </a:lnTo>
                  <a:lnTo>
                    <a:pt x="312" y="750"/>
                  </a:lnTo>
                  <a:lnTo>
                    <a:pt x="312" y="756"/>
                  </a:lnTo>
                  <a:lnTo>
                    <a:pt x="318" y="756"/>
                  </a:lnTo>
                  <a:lnTo>
                    <a:pt x="318" y="750"/>
                  </a:lnTo>
                  <a:lnTo>
                    <a:pt x="312" y="750"/>
                  </a:lnTo>
                  <a:lnTo>
                    <a:pt x="312" y="744"/>
                  </a:lnTo>
                  <a:lnTo>
                    <a:pt x="318" y="738"/>
                  </a:lnTo>
                  <a:lnTo>
                    <a:pt x="324" y="738"/>
                  </a:lnTo>
                  <a:lnTo>
                    <a:pt x="330" y="738"/>
                  </a:lnTo>
                  <a:lnTo>
                    <a:pt x="336" y="738"/>
                  </a:lnTo>
                  <a:lnTo>
                    <a:pt x="342" y="738"/>
                  </a:lnTo>
                  <a:lnTo>
                    <a:pt x="348" y="732"/>
                  </a:lnTo>
                  <a:lnTo>
                    <a:pt x="354" y="732"/>
                  </a:lnTo>
                  <a:lnTo>
                    <a:pt x="360" y="732"/>
                  </a:lnTo>
                  <a:lnTo>
                    <a:pt x="360" y="726"/>
                  </a:lnTo>
                  <a:lnTo>
                    <a:pt x="366" y="726"/>
                  </a:lnTo>
                  <a:lnTo>
                    <a:pt x="366" y="720"/>
                  </a:lnTo>
                  <a:lnTo>
                    <a:pt x="366" y="714"/>
                  </a:lnTo>
                  <a:lnTo>
                    <a:pt x="360" y="708"/>
                  </a:lnTo>
                  <a:lnTo>
                    <a:pt x="354" y="708"/>
                  </a:lnTo>
                  <a:lnTo>
                    <a:pt x="348" y="702"/>
                  </a:lnTo>
                  <a:lnTo>
                    <a:pt x="354" y="702"/>
                  </a:lnTo>
                  <a:lnTo>
                    <a:pt x="354" y="696"/>
                  </a:lnTo>
                  <a:lnTo>
                    <a:pt x="348" y="696"/>
                  </a:lnTo>
                  <a:lnTo>
                    <a:pt x="348" y="690"/>
                  </a:lnTo>
                  <a:lnTo>
                    <a:pt x="342" y="690"/>
                  </a:lnTo>
                  <a:lnTo>
                    <a:pt x="342" y="684"/>
                  </a:lnTo>
                  <a:lnTo>
                    <a:pt x="342" y="678"/>
                  </a:lnTo>
                  <a:lnTo>
                    <a:pt x="342" y="666"/>
                  </a:lnTo>
                  <a:lnTo>
                    <a:pt x="342" y="660"/>
                  </a:lnTo>
                  <a:lnTo>
                    <a:pt x="348" y="654"/>
                  </a:lnTo>
                  <a:lnTo>
                    <a:pt x="348" y="642"/>
                  </a:lnTo>
                  <a:lnTo>
                    <a:pt x="354" y="642"/>
                  </a:lnTo>
                  <a:lnTo>
                    <a:pt x="360" y="642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66" y="642"/>
                  </a:lnTo>
                  <a:lnTo>
                    <a:pt x="372" y="642"/>
                  </a:lnTo>
                  <a:lnTo>
                    <a:pt x="378" y="642"/>
                  </a:lnTo>
                  <a:lnTo>
                    <a:pt x="384" y="642"/>
                  </a:lnTo>
                  <a:lnTo>
                    <a:pt x="390" y="642"/>
                  </a:lnTo>
                  <a:lnTo>
                    <a:pt x="396" y="642"/>
                  </a:lnTo>
                  <a:lnTo>
                    <a:pt x="396" y="636"/>
                  </a:lnTo>
                  <a:lnTo>
                    <a:pt x="402" y="636"/>
                  </a:lnTo>
                  <a:lnTo>
                    <a:pt x="408" y="636"/>
                  </a:lnTo>
                  <a:lnTo>
                    <a:pt x="402" y="636"/>
                  </a:lnTo>
                  <a:lnTo>
                    <a:pt x="402" y="630"/>
                  </a:lnTo>
                  <a:lnTo>
                    <a:pt x="408" y="630"/>
                  </a:lnTo>
                  <a:lnTo>
                    <a:pt x="408" y="624"/>
                  </a:lnTo>
                  <a:lnTo>
                    <a:pt x="408" y="618"/>
                  </a:lnTo>
                  <a:lnTo>
                    <a:pt x="414" y="618"/>
                  </a:lnTo>
                  <a:lnTo>
                    <a:pt x="420" y="618"/>
                  </a:lnTo>
                  <a:lnTo>
                    <a:pt x="426" y="624"/>
                  </a:lnTo>
                  <a:lnTo>
                    <a:pt x="432" y="624"/>
                  </a:lnTo>
                  <a:lnTo>
                    <a:pt x="438" y="624"/>
                  </a:lnTo>
                  <a:lnTo>
                    <a:pt x="438" y="618"/>
                  </a:lnTo>
                  <a:lnTo>
                    <a:pt x="444" y="618"/>
                  </a:lnTo>
                  <a:lnTo>
                    <a:pt x="450" y="618"/>
                  </a:lnTo>
                  <a:lnTo>
                    <a:pt x="444" y="618"/>
                  </a:lnTo>
                  <a:lnTo>
                    <a:pt x="438" y="618"/>
                  </a:lnTo>
                  <a:lnTo>
                    <a:pt x="438" y="612"/>
                  </a:lnTo>
                  <a:lnTo>
                    <a:pt x="438" y="618"/>
                  </a:lnTo>
                  <a:lnTo>
                    <a:pt x="432" y="624"/>
                  </a:lnTo>
                  <a:lnTo>
                    <a:pt x="426" y="618"/>
                  </a:lnTo>
                  <a:lnTo>
                    <a:pt x="420" y="612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402" y="624"/>
                  </a:lnTo>
                  <a:lnTo>
                    <a:pt x="396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78" y="630"/>
                  </a:lnTo>
                  <a:lnTo>
                    <a:pt x="378" y="636"/>
                  </a:lnTo>
                  <a:lnTo>
                    <a:pt x="372" y="630"/>
                  </a:lnTo>
                  <a:lnTo>
                    <a:pt x="366" y="630"/>
                  </a:lnTo>
                  <a:lnTo>
                    <a:pt x="360" y="630"/>
                  </a:lnTo>
                  <a:lnTo>
                    <a:pt x="354" y="630"/>
                  </a:lnTo>
                  <a:lnTo>
                    <a:pt x="354" y="636"/>
                  </a:lnTo>
                  <a:lnTo>
                    <a:pt x="348" y="636"/>
                  </a:lnTo>
                  <a:lnTo>
                    <a:pt x="348" y="642"/>
                  </a:lnTo>
                  <a:lnTo>
                    <a:pt x="342" y="642"/>
                  </a:lnTo>
                  <a:lnTo>
                    <a:pt x="342" y="648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6" y="660"/>
                  </a:lnTo>
                  <a:lnTo>
                    <a:pt x="336" y="666"/>
                  </a:lnTo>
                  <a:lnTo>
                    <a:pt x="330" y="672"/>
                  </a:lnTo>
                  <a:lnTo>
                    <a:pt x="330" y="678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24" y="696"/>
                  </a:lnTo>
                  <a:lnTo>
                    <a:pt x="324" y="702"/>
                  </a:lnTo>
                  <a:lnTo>
                    <a:pt x="318" y="702"/>
                  </a:lnTo>
                  <a:lnTo>
                    <a:pt x="318" y="708"/>
                  </a:lnTo>
                  <a:lnTo>
                    <a:pt x="312" y="708"/>
                  </a:lnTo>
                  <a:lnTo>
                    <a:pt x="312" y="702"/>
                  </a:lnTo>
                  <a:lnTo>
                    <a:pt x="306" y="702"/>
                  </a:lnTo>
                  <a:lnTo>
                    <a:pt x="300" y="702"/>
                  </a:lnTo>
                  <a:lnTo>
                    <a:pt x="294" y="696"/>
                  </a:lnTo>
                  <a:lnTo>
                    <a:pt x="288" y="696"/>
                  </a:lnTo>
                  <a:lnTo>
                    <a:pt x="282" y="690"/>
                  </a:lnTo>
                  <a:lnTo>
                    <a:pt x="288" y="684"/>
                  </a:lnTo>
                  <a:lnTo>
                    <a:pt x="294" y="684"/>
                  </a:lnTo>
                  <a:lnTo>
                    <a:pt x="294" y="678"/>
                  </a:lnTo>
                  <a:lnTo>
                    <a:pt x="300" y="678"/>
                  </a:lnTo>
                  <a:lnTo>
                    <a:pt x="294" y="678"/>
                  </a:lnTo>
                  <a:lnTo>
                    <a:pt x="294" y="672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94" y="672"/>
                  </a:lnTo>
                  <a:lnTo>
                    <a:pt x="288" y="678"/>
                  </a:lnTo>
                  <a:lnTo>
                    <a:pt x="282" y="684"/>
                  </a:lnTo>
                  <a:lnTo>
                    <a:pt x="282" y="678"/>
                  </a:lnTo>
                  <a:lnTo>
                    <a:pt x="276" y="678"/>
                  </a:lnTo>
                  <a:lnTo>
                    <a:pt x="282" y="684"/>
                  </a:lnTo>
                  <a:lnTo>
                    <a:pt x="282" y="690"/>
                  </a:lnTo>
                  <a:lnTo>
                    <a:pt x="282" y="696"/>
                  </a:lnTo>
                  <a:lnTo>
                    <a:pt x="288" y="702"/>
                  </a:lnTo>
                  <a:lnTo>
                    <a:pt x="294" y="708"/>
                  </a:lnTo>
                  <a:lnTo>
                    <a:pt x="294" y="714"/>
                  </a:lnTo>
                  <a:lnTo>
                    <a:pt x="288" y="714"/>
                  </a:lnTo>
                  <a:lnTo>
                    <a:pt x="282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64" y="714"/>
                  </a:lnTo>
                  <a:lnTo>
                    <a:pt x="258" y="714"/>
                  </a:lnTo>
                  <a:lnTo>
                    <a:pt x="252" y="714"/>
                  </a:lnTo>
                  <a:lnTo>
                    <a:pt x="246" y="714"/>
                  </a:lnTo>
                  <a:lnTo>
                    <a:pt x="240" y="714"/>
                  </a:lnTo>
                  <a:lnTo>
                    <a:pt x="240" y="708"/>
                  </a:lnTo>
                  <a:lnTo>
                    <a:pt x="234" y="708"/>
                  </a:lnTo>
                  <a:lnTo>
                    <a:pt x="228" y="708"/>
                  </a:lnTo>
                  <a:lnTo>
                    <a:pt x="222" y="702"/>
                  </a:lnTo>
                  <a:lnTo>
                    <a:pt x="216" y="702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2" y="690"/>
                  </a:lnTo>
                  <a:lnTo>
                    <a:pt x="186" y="690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68" y="684"/>
                  </a:lnTo>
                  <a:lnTo>
                    <a:pt x="168" y="678"/>
                  </a:lnTo>
                  <a:lnTo>
                    <a:pt x="156" y="672"/>
                  </a:lnTo>
                  <a:lnTo>
                    <a:pt x="150" y="660"/>
                  </a:lnTo>
                  <a:lnTo>
                    <a:pt x="126" y="630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12"/>
                  </a:lnTo>
                  <a:lnTo>
                    <a:pt x="126" y="606"/>
                  </a:lnTo>
                  <a:lnTo>
                    <a:pt x="126" y="600"/>
                  </a:lnTo>
                  <a:lnTo>
                    <a:pt x="132" y="594"/>
                  </a:lnTo>
                  <a:lnTo>
                    <a:pt x="138" y="594"/>
                  </a:lnTo>
                  <a:lnTo>
                    <a:pt x="144" y="588"/>
                  </a:lnTo>
                  <a:lnTo>
                    <a:pt x="144" y="582"/>
                  </a:lnTo>
                  <a:lnTo>
                    <a:pt x="150" y="582"/>
                  </a:lnTo>
                  <a:lnTo>
                    <a:pt x="150" y="576"/>
                  </a:lnTo>
                  <a:lnTo>
                    <a:pt x="156" y="576"/>
                  </a:lnTo>
                  <a:lnTo>
                    <a:pt x="156" y="582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8" y="576"/>
                  </a:lnTo>
                  <a:lnTo>
                    <a:pt x="174" y="576"/>
                  </a:lnTo>
                  <a:lnTo>
                    <a:pt x="180" y="582"/>
                  </a:lnTo>
                  <a:lnTo>
                    <a:pt x="192" y="582"/>
                  </a:lnTo>
                  <a:lnTo>
                    <a:pt x="198" y="582"/>
                  </a:lnTo>
                  <a:lnTo>
                    <a:pt x="204" y="582"/>
                  </a:lnTo>
                  <a:lnTo>
                    <a:pt x="210" y="582"/>
                  </a:lnTo>
                  <a:lnTo>
                    <a:pt x="216" y="588"/>
                  </a:lnTo>
                  <a:lnTo>
                    <a:pt x="222" y="588"/>
                  </a:lnTo>
                  <a:lnTo>
                    <a:pt x="234" y="588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46" y="594"/>
                  </a:lnTo>
                  <a:lnTo>
                    <a:pt x="252" y="588"/>
                  </a:lnTo>
                  <a:lnTo>
                    <a:pt x="258" y="588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52" y="600"/>
                  </a:lnTo>
                  <a:lnTo>
                    <a:pt x="246" y="600"/>
                  </a:lnTo>
                  <a:lnTo>
                    <a:pt x="246" y="606"/>
                  </a:lnTo>
                  <a:lnTo>
                    <a:pt x="246" y="600"/>
                  </a:lnTo>
                  <a:lnTo>
                    <a:pt x="252" y="600"/>
                  </a:lnTo>
                  <a:lnTo>
                    <a:pt x="258" y="594"/>
                  </a:lnTo>
                  <a:lnTo>
                    <a:pt x="264" y="594"/>
                  </a:lnTo>
                  <a:lnTo>
                    <a:pt x="264" y="588"/>
                  </a:lnTo>
                  <a:lnTo>
                    <a:pt x="270" y="588"/>
                  </a:lnTo>
                  <a:lnTo>
                    <a:pt x="270" y="582"/>
                  </a:lnTo>
                  <a:lnTo>
                    <a:pt x="270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76" y="564"/>
                  </a:lnTo>
                  <a:lnTo>
                    <a:pt x="270" y="558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58"/>
                  </a:lnTo>
                  <a:lnTo>
                    <a:pt x="282" y="558"/>
                  </a:lnTo>
                  <a:lnTo>
                    <a:pt x="288" y="558"/>
                  </a:lnTo>
                  <a:lnTo>
                    <a:pt x="294" y="558"/>
                  </a:lnTo>
                  <a:lnTo>
                    <a:pt x="300" y="558"/>
                  </a:lnTo>
                  <a:lnTo>
                    <a:pt x="306" y="558"/>
                  </a:lnTo>
                  <a:lnTo>
                    <a:pt x="312" y="558"/>
                  </a:lnTo>
                  <a:lnTo>
                    <a:pt x="318" y="558"/>
                  </a:lnTo>
                  <a:lnTo>
                    <a:pt x="318" y="564"/>
                  </a:lnTo>
                  <a:lnTo>
                    <a:pt x="324" y="564"/>
                  </a:lnTo>
                  <a:lnTo>
                    <a:pt x="324" y="570"/>
                  </a:lnTo>
                  <a:lnTo>
                    <a:pt x="330" y="570"/>
                  </a:lnTo>
                  <a:lnTo>
                    <a:pt x="336" y="570"/>
                  </a:lnTo>
                  <a:lnTo>
                    <a:pt x="342" y="570"/>
                  </a:lnTo>
                  <a:lnTo>
                    <a:pt x="348" y="570"/>
                  </a:lnTo>
                  <a:lnTo>
                    <a:pt x="354" y="570"/>
                  </a:lnTo>
                  <a:lnTo>
                    <a:pt x="360" y="570"/>
                  </a:lnTo>
                  <a:lnTo>
                    <a:pt x="366" y="570"/>
                  </a:lnTo>
                  <a:lnTo>
                    <a:pt x="360" y="570"/>
                  </a:lnTo>
                  <a:lnTo>
                    <a:pt x="360" y="564"/>
                  </a:lnTo>
                  <a:lnTo>
                    <a:pt x="354" y="564"/>
                  </a:lnTo>
                  <a:lnTo>
                    <a:pt x="348" y="564"/>
                  </a:lnTo>
                  <a:lnTo>
                    <a:pt x="342" y="564"/>
                  </a:lnTo>
                  <a:lnTo>
                    <a:pt x="342" y="570"/>
                  </a:lnTo>
                  <a:lnTo>
                    <a:pt x="336" y="564"/>
                  </a:lnTo>
                  <a:lnTo>
                    <a:pt x="336" y="570"/>
                  </a:lnTo>
                  <a:lnTo>
                    <a:pt x="336" y="564"/>
                  </a:lnTo>
                  <a:lnTo>
                    <a:pt x="330" y="564"/>
                  </a:lnTo>
                  <a:lnTo>
                    <a:pt x="324" y="558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18" y="558"/>
                  </a:lnTo>
                  <a:lnTo>
                    <a:pt x="312" y="552"/>
                  </a:lnTo>
                  <a:lnTo>
                    <a:pt x="312" y="558"/>
                  </a:lnTo>
                  <a:lnTo>
                    <a:pt x="312" y="552"/>
                  </a:lnTo>
                  <a:lnTo>
                    <a:pt x="306" y="552"/>
                  </a:lnTo>
                  <a:lnTo>
                    <a:pt x="300" y="546"/>
                  </a:lnTo>
                  <a:lnTo>
                    <a:pt x="294" y="546"/>
                  </a:lnTo>
                  <a:lnTo>
                    <a:pt x="288" y="546"/>
                  </a:lnTo>
                  <a:lnTo>
                    <a:pt x="282" y="546"/>
                  </a:lnTo>
                  <a:lnTo>
                    <a:pt x="276" y="546"/>
                  </a:lnTo>
                  <a:lnTo>
                    <a:pt x="276" y="552"/>
                  </a:lnTo>
                  <a:lnTo>
                    <a:pt x="270" y="552"/>
                  </a:lnTo>
                  <a:lnTo>
                    <a:pt x="270" y="558"/>
                  </a:lnTo>
                  <a:lnTo>
                    <a:pt x="270" y="564"/>
                  </a:lnTo>
                  <a:lnTo>
                    <a:pt x="264" y="570"/>
                  </a:lnTo>
                  <a:lnTo>
                    <a:pt x="258" y="576"/>
                  </a:lnTo>
                  <a:lnTo>
                    <a:pt x="258" y="582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34" y="576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16" y="552"/>
                  </a:lnTo>
                  <a:lnTo>
                    <a:pt x="216" y="546"/>
                  </a:lnTo>
                  <a:lnTo>
                    <a:pt x="216" y="540"/>
                  </a:lnTo>
                  <a:lnTo>
                    <a:pt x="222" y="534"/>
                  </a:lnTo>
                  <a:lnTo>
                    <a:pt x="222" y="528"/>
                  </a:lnTo>
                  <a:lnTo>
                    <a:pt x="228" y="522"/>
                  </a:lnTo>
                  <a:lnTo>
                    <a:pt x="228" y="516"/>
                  </a:lnTo>
                  <a:lnTo>
                    <a:pt x="228" y="510"/>
                  </a:lnTo>
                  <a:lnTo>
                    <a:pt x="234" y="510"/>
                  </a:lnTo>
                  <a:lnTo>
                    <a:pt x="240" y="516"/>
                  </a:lnTo>
                  <a:lnTo>
                    <a:pt x="246" y="522"/>
                  </a:lnTo>
                  <a:lnTo>
                    <a:pt x="246" y="516"/>
                  </a:lnTo>
                  <a:lnTo>
                    <a:pt x="240" y="516"/>
                  </a:lnTo>
                  <a:lnTo>
                    <a:pt x="240" y="510"/>
                  </a:lnTo>
                  <a:lnTo>
                    <a:pt x="234" y="510"/>
                  </a:lnTo>
                  <a:lnTo>
                    <a:pt x="234" y="504"/>
                  </a:lnTo>
                  <a:lnTo>
                    <a:pt x="228" y="504"/>
                  </a:lnTo>
                  <a:lnTo>
                    <a:pt x="222" y="504"/>
                  </a:lnTo>
                  <a:lnTo>
                    <a:pt x="222" y="498"/>
                  </a:lnTo>
                  <a:lnTo>
                    <a:pt x="222" y="504"/>
                  </a:lnTo>
                  <a:lnTo>
                    <a:pt x="222" y="510"/>
                  </a:lnTo>
                  <a:lnTo>
                    <a:pt x="222" y="516"/>
                  </a:lnTo>
                  <a:lnTo>
                    <a:pt x="216" y="522"/>
                  </a:lnTo>
                  <a:lnTo>
                    <a:pt x="216" y="528"/>
                  </a:lnTo>
                  <a:lnTo>
                    <a:pt x="210" y="528"/>
                  </a:lnTo>
                  <a:lnTo>
                    <a:pt x="216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04" y="546"/>
                  </a:lnTo>
                  <a:lnTo>
                    <a:pt x="204" y="552"/>
                  </a:lnTo>
                  <a:lnTo>
                    <a:pt x="204" y="558"/>
                  </a:lnTo>
                  <a:lnTo>
                    <a:pt x="204" y="564"/>
                  </a:lnTo>
                  <a:lnTo>
                    <a:pt x="198" y="570"/>
                  </a:lnTo>
                  <a:lnTo>
                    <a:pt x="192" y="564"/>
                  </a:lnTo>
                  <a:lnTo>
                    <a:pt x="186" y="564"/>
                  </a:lnTo>
                  <a:lnTo>
                    <a:pt x="180" y="564"/>
                  </a:lnTo>
                  <a:lnTo>
                    <a:pt x="174" y="564"/>
                  </a:lnTo>
                  <a:lnTo>
                    <a:pt x="168" y="564"/>
                  </a:lnTo>
                  <a:lnTo>
                    <a:pt x="162" y="564"/>
                  </a:lnTo>
                  <a:lnTo>
                    <a:pt x="156" y="570"/>
                  </a:lnTo>
                  <a:lnTo>
                    <a:pt x="150" y="570"/>
                  </a:lnTo>
                  <a:lnTo>
                    <a:pt x="150" y="564"/>
                  </a:lnTo>
                  <a:lnTo>
                    <a:pt x="150" y="570"/>
                  </a:lnTo>
                  <a:lnTo>
                    <a:pt x="150" y="576"/>
                  </a:lnTo>
                  <a:lnTo>
                    <a:pt x="144" y="576"/>
                  </a:lnTo>
                  <a:lnTo>
                    <a:pt x="138" y="576"/>
                  </a:lnTo>
                  <a:lnTo>
                    <a:pt x="132" y="582"/>
                  </a:lnTo>
                  <a:lnTo>
                    <a:pt x="126" y="582"/>
                  </a:lnTo>
                  <a:lnTo>
                    <a:pt x="120" y="582"/>
                  </a:lnTo>
                  <a:lnTo>
                    <a:pt x="114" y="576"/>
                  </a:lnTo>
                  <a:lnTo>
                    <a:pt x="108" y="564"/>
                  </a:lnTo>
                  <a:lnTo>
                    <a:pt x="102" y="558"/>
                  </a:lnTo>
                  <a:lnTo>
                    <a:pt x="96" y="552"/>
                  </a:lnTo>
                  <a:lnTo>
                    <a:pt x="90" y="546"/>
                  </a:lnTo>
                  <a:lnTo>
                    <a:pt x="90" y="540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2"/>
                  </a:lnTo>
                  <a:lnTo>
                    <a:pt x="78" y="516"/>
                  </a:lnTo>
                  <a:lnTo>
                    <a:pt x="72" y="510"/>
                  </a:lnTo>
                  <a:lnTo>
                    <a:pt x="66" y="504"/>
                  </a:lnTo>
                  <a:lnTo>
                    <a:pt x="66" y="498"/>
                  </a:lnTo>
                  <a:lnTo>
                    <a:pt x="66" y="492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6" y="474"/>
                  </a:lnTo>
                  <a:lnTo>
                    <a:pt x="72" y="474"/>
                  </a:lnTo>
                  <a:lnTo>
                    <a:pt x="72" y="468"/>
                  </a:lnTo>
                  <a:lnTo>
                    <a:pt x="78" y="462"/>
                  </a:lnTo>
                  <a:lnTo>
                    <a:pt x="78" y="456"/>
                  </a:lnTo>
                  <a:lnTo>
                    <a:pt x="84" y="456"/>
                  </a:lnTo>
                  <a:lnTo>
                    <a:pt x="84" y="450"/>
                  </a:lnTo>
                  <a:lnTo>
                    <a:pt x="84" y="444"/>
                  </a:lnTo>
                  <a:lnTo>
                    <a:pt x="90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02" y="450"/>
                  </a:lnTo>
                  <a:lnTo>
                    <a:pt x="108" y="450"/>
                  </a:lnTo>
                  <a:lnTo>
                    <a:pt x="108" y="456"/>
                  </a:lnTo>
                  <a:lnTo>
                    <a:pt x="108" y="462"/>
                  </a:lnTo>
                  <a:lnTo>
                    <a:pt x="114" y="462"/>
                  </a:lnTo>
                  <a:lnTo>
                    <a:pt x="114" y="468"/>
                  </a:lnTo>
                  <a:lnTo>
                    <a:pt x="114" y="474"/>
                  </a:lnTo>
                  <a:lnTo>
                    <a:pt x="114" y="480"/>
                  </a:lnTo>
                  <a:lnTo>
                    <a:pt x="114" y="486"/>
                  </a:lnTo>
                  <a:lnTo>
                    <a:pt x="120" y="486"/>
                  </a:lnTo>
                  <a:lnTo>
                    <a:pt x="126" y="486"/>
                  </a:lnTo>
                  <a:lnTo>
                    <a:pt x="132" y="486"/>
                  </a:lnTo>
                  <a:lnTo>
                    <a:pt x="126" y="480"/>
                  </a:lnTo>
                  <a:lnTo>
                    <a:pt x="120" y="480"/>
                  </a:lnTo>
                  <a:lnTo>
                    <a:pt x="114" y="480"/>
                  </a:lnTo>
                  <a:lnTo>
                    <a:pt x="120" y="480"/>
                  </a:lnTo>
                  <a:lnTo>
                    <a:pt x="120" y="474"/>
                  </a:lnTo>
                  <a:lnTo>
                    <a:pt x="120" y="468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108" y="450"/>
                  </a:lnTo>
                  <a:lnTo>
                    <a:pt x="108" y="444"/>
                  </a:lnTo>
                  <a:lnTo>
                    <a:pt x="114" y="438"/>
                  </a:lnTo>
                  <a:lnTo>
                    <a:pt x="120" y="438"/>
                  </a:lnTo>
                  <a:lnTo>
                    <a:pt x="120" y="432"/>
                  </a:lnTo>
                  <a:lnTo>
                    <a:pt x="132" y="426"/>
                  </a:lnTo>
                  <a:lnTo>
                    <a:pt x="138" y="420"/>
                  </a:lnTo>
                  <a:lnTo>
                    <a:pt x="144" y="420"/>
                  </a:lnTo>
                  <a:lnTo>
                    <a:pt x="144" y="414"/>
                  </a:lnTo>
                  <a:lnTo>
                    <a:pt x="144" y="420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6" y="414"/>
                  </a:lnTo>
                  <a:lnTo>
                    <a:pt x="162" y="414"/>
                  </a:lnTo>
                  <a:lnTo>
                    <a:pt x="162" y="408"/>
                  </a:lnTo>
                  <a:lnTo>
                    <a:pt x="168" y="408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86" y="396"/>
                  </a:lnTo>
                  <a:lnTo>
                    <a:pt x="186" y="390"/>
                  </a:lnTo>
                  <a:lnTo>
                    <a:pt x="192" y="390"/>
                  </a:lnTo>
                  <a:lnTo>
                    <a:pt x="198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210" y="378"/>
                  </a:lnTo>
                  <a:lnTo>
                    <a:pt x="210" y="372"/>
                  </a:lnTo>
                  <a:lnTo>
                    <a:pt x="216" y="372"/>
                  </a:lnTo>
                  <a:lnTo>
                    <a:pt x="222" y="366"/>
                  </a:lnTo>
                  <a:lnTo>
                    <a:pt x="228" y="360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6" y="348"/>
                  </a:lnTo>
                  <a:lnTo>
                    <a:pt x="252" y="348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0" y="342"/>
                  </a:lnTo>
                  <a:lnTo>
                    <a:pt x="234" y="342"/>
                  </a:lnTo>
                  <a:lnTo>
                    <a:pt x="228" y="336"/>
                  </a:lnTo>
                  <a:lnTo>
                    <a:pt x="222" y="336"/>
                  </a:lnTo>
                  <a:lnTo>
                    <a:pt x="216" y="336"/>
                  </a:lnTo>
                  <a:lnTo>
                    <a:pt x="222" y="324"/>
                  </a:lnTo>
                  <a:lnTo>
                    <a:pt x="222" y="318"/>
                  </a:lnTo>
                  <a:lnTo>
                    <a:pt x="222" y="312"/>
                  </a:lnTo>
                  <a:lnTo>
                    <a:pt x="234" y="318"/>
                  </a:lnTo>
                  <a:lnTo>
                    <a:pt x="246" y="318"/>
                  </a:lnTo>
                  <a:lnTo>
                    <a:pt x="258" y="318"/>
                  </a:lnTo>
                  <a:lnTo>
                    <a:pt x="270" y="312"/>
                  </a:lnTo>
                  <a:lnTo>
                    <a:pt x="276" y="312"/>
                  </a:lnTo>
                  <a:lnTo>
                    <a:pt x="288" y="324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94" y="306"/>
                  </a:lnTo>
                  <a:lnTo>
                    <a:pt x="300" y="300"/>
                  </a:lnTo>
                  <a:lnTo>
                    <a:pt x="306" y="306"/>
                  </a:lnTo>
                  <a:lnTo>
                    <a:pt x="312" y="318"/>
                  </a:lnTo>
                  <a:lnTo>
                    <a:pt x="318" y="312"/>
                  </a:lnTo>
                  <a:lnTo>
                    <a:pt x="324" y="312"/>
                  </a:lnTo>
                  <a:lnTo>
                    <a:pt x="330" y="312"/>
                  </a:lnTo>
                  <a:lnTo>
                    <a:pt x="342" y="306"/>
                  </a:lnTo>
                  <a:lnTo>
                    <a:pt x="348" y="306"/>
                  </a:lnTo>
                  <a:lnTo>
                    <a:pt x="348" y="312"/>
                  </a:lnTo>
                  <a:lnTo>
                    <a:pt x="348" y="318"/>
                  </a:lnTo>
                  <a:lnTo>
                    <a:pt x="354" y="318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60" y="336"/>
                  </a:lnTo>
                  <a:lnTo>
                    <a:pt x="366" y="330"/>
                  </a:lnTo>
                  <a:lnTo>
                    <a:pt x="378" y="324"/>
                  </a:lnTo>
                  <a:lnTo>
                    <a:pt x="384" y="324"/>
                  </a:lnTo>
                  <a:lnTo>
                    <a:pt x="384" y="318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6"/>
                  </a:lnTo>
                  <a:lnTo>
                    <a:pt x="402" y="306"/>
                  </a:lnTo>
                  <a:lnTo>
                    <a:pt x="408" y="306"/>
                  </a:lnTo>
                  <a:lnTo>
                    <a:pt x="414" y="300"/>
                  </a:lnTo>
                  <a:lnTo>
                    <a:pt x="420" y="300"/>
                  </a:lnTo>
                  <a:lnTo>
                    <a:pt x="426" y="300"/>
                  </a:lnTo>
                  <a:lnTo>
                    <a:pt x="432" y="300"/>
                  </a:lnTo>
                  <a:lnTo>
                    <a:pt x="444" y="288"/>
                  </a:lnTo>
                  <a:lnTo>
                    <a:pt x="450" y="294"/>
                  </a:lnTo>
                  <a:lnTo>
                    <a:pt x="468" y="300"/>
                  </a:lnTo>
                  <a:lnTo>
                    <a:pt x="498" y="312"/>
                  </a:lnTo>
                  <a:lnTo>
                    <a:pt x="504" y="324"/>
                  </a:lnTo>
                  <a:lnTo>
                    <a:pt x="516" y="330"/>
                  </a:lnTo>
                  <a:lnTo>
                    <a:pt x="516" y="336"/>
                  </a:lnTo>
                  <a:lnTo>
                    <a:pt x="540" y="342"/>
                  </a:lnTo>
                  <a:lnTo>
                    <a:pt x="558" y="372"/>
                  </a:lnTo>
                  <a:lnTo>
                    <a:pt x="594" y="384"/>
                  </a:lnTo>
                  <a:lnTo>
                    <a:pt x="606" y="402"/>
                  </a:lnTo>
                  <a:lnTo>
                    <a:pt x="600" y="420"/>
                  </a:lnTo>
                  <a:lnTo>
                    <a:pt x="588" y="444"/>
                  </a:lnTo>
                  <a:lnTo>
                    <a:pt x="588" y="450"/>
                  </a:lnTo>
                  <a:lnTo>
                    <a:pt x="588" y="456"/>
                  </a:lnTo>
                  <a:lnTo>
                    <a:pt x="594" y="456"/>
                  </a:lnTo>
                  <a:lnTo>
                    <a:pt x="594" y="462"/>
                  </a:lnTo>
                  <a:lnTo>
                    <a:pt x="594" y="468"/>
                  </a:lnTo>
                  <a:lnTo>
                    <a:pt x="594" y="474"/>
                  </a:lnTo>
                  <a:lnTo>
                    <a:pt x="600" y="474"/>
                  </a:lnTo>
                  <a:lnTo>
                    <a:pt x="606" y="480"/>
                  </a:lnTo>
                  <a:lnTo>
                    <a:pt x="606" y="486"/>
                  </a:lnTo>
                  <a:lnTo>
                    <a:pt x="612" y="486"/>
                  </a:lnTo>
                  <a:lnTo>
                    <a:pt x="618" y="486"/>
                  </a:lnTo>
                  <a:lnTo>
                    <a:pt x="624" y="486"/>
                  </a:lnTo>
                  <a:lnTo>
                    <a:pt x="636" y="486"/>
                  </a:lnTo>
                  <a:lnTo>
                    <a:pt x="642" y="486"/>
                  </a:lnTo>
                  <a:lnTo>
                    <a:pt x="648" y="480"/>
                  </a:lnTo>
                  <a:lnTo>
                    <a:pt x="654" y="474"/>
                  </a:lnTo>
                  <a:lnTo>
                    <a:pt x="660" y="468"/>
                  </a:lnTo>
                  <a:lnTo>
                    <a:pt x="666" y="468"/>
                  </a:lnTo>
                  <a:lnTo>
                    <a:pt x="684" y="468"/>
                  </a:lnTo>
                  <a:lnTo>
                    <a:pt x="696" y="468"/>
                  </a:lnTo>
                  <a:lnTo>
                    <a:pt x="696" y="462"/>
                  </a:lnTo>
                  <a:lnTo>
                    <a:pt x="702" y="456"/>
                  </a:lnTo>
                  <a:lnTo>
                    <a:pt x="708" y="450"/>
                  </a:lnTo>
                  <a:lnTo>
                    <a:pt x="714" y="450"/>
                  </a:lnTo>
                  <a:lnTo>
                    <a:pt x="720" y="450"/>
                  </a:lnTo>
                  <a:lnTo>
                    <a:pt x="720" y="438"/>
                  </a:lnTo>
                  <a:lnTo>
                    <a:pt x="726" y="432"/>
                  </a:lnTo>
                  <a:lnTo>
                    <a:pt x="738" y="420"/>
                  </a:lnTo>
                  <a:lnTo>
                    <a:pt x="744" y="420"/>
                  </a:lnTo>
                  <a:lnTo>
                    <a:pt x="750" y="414"/>
                  </a:lnTo>
                  <a:lnTo>
                    <a:pt x="762" y="408"/>
                  </a:lnTo>
                  <a:lnTo>
                    <a:pt x="768" y="408"/>
                  </a:lnTo>
                  <a:lnTo>
                    <a:pt x="768" y="402"/>
                  </a:lnTo>
                  <a:lnTo>
                    <a:pt x="780" y="396"/>
                  </a:lnTo>
                  <a:lnTo>
                    <a:pt x="786" y="396"/>
                  </a:lnTo>
                  <a:lnTo>
                    <a:pt x="786" y="390"/>
                  </a:lnTo>
                  <a:lnTo>
                    <a:pt x="792" y="384"/>
                  </a:lnTo>
                  <a:lnTo>
                    <a:pt x="792" y="378"/>
                  </a:lnTo>
                  <a:lnTo>
                    <a:pt x="798" y="366"/>
                  </a:lnTo>
                  <a:lnTo>
                    <a:pt x="804" y="360"/>
                  </a:lnTo>
                  <a:lnTo>
                    <a:pt x="816" y="342"/>
                  </a:lnTo>
                  <a:lnTo>
                    <a:pt x="816" y="312"/>
                  </a:lnTo>
                  <a:lnTo>
                    <a:pt x="804" y="300"/>
                  </a:lnTo>
                  <a:lnTo>
                    <a:pt x="798" y="288"/>
                  </a:lnTo>
                  <a:lnTo>
                    <a:pt x="762" y="264"/>
                  </a:lnTo>
                  <a:lnTo>
                    <a:pt x="738" y="234"/>
                  </a:lnTo>
                  <a:lnTo>
                    <a:pt x="738" y="222"/>
                  </a:lnTo>
                  <a:lnTo>
                    <a:pt x="744" y="210"/>
                  </a:lnTo>
                  <a:lnTo>
                    <a:pt x="732" y="174"/>
                  </a:lnTo>
                  <a:lnTo>
                    <a:pt x="714" y="156"/>
                  </a:lnTo>
                  <a:lnTo>
                    <a:pt x="708" y="144"/>
                  </a:lnTo>
                  <a:lnTo>
                    <a:pt x="714" y="126"/>
                  </a:lnTo>
                  <a:lnTo>
                    <a:pt x="720" y="114"/>
                  </a:lnTo>
                  <a:lnTo>
                    <a:pt x="732" y="102"/>
                  </a:lnTo>
                  <a:lnTo>
                    <a:pt x="744" y="102"/>
                  </a:lnTo>
                  <a:lnTo>
                    <a:pt x="762" y="108"/>
                  </a:lnTo>
                  <a:lnTo>
                    <a:pt x="774" y="114"/>
                  </a:lnTo>
                  <a:lnTo>
                    <a:pt x="780" y="138"/>
                  </a:lnTo>
                  <a:lnTo>
                    <a:pt x="786" y="144"/>
                  </a:lnTo>
                  <a:lnTo>
                    <a:pt x="798" y="138"/>
                  </a:lnTo>
                  <a:lnTo>
                    <a:pt x="804" y="132"/>
                  </a:lnTo>
                  <a:lnTo>
                    <a:pt x="816" y="120"/>
                  </a:lnTo>
                  <a:lnTo>
                    <a:pt x="816" y="108"/>
                  </a:lnTo>
                  <a:lnTo>
                    <a:pt x="828" y="102"/>
                  </a:lnTo>
                  <a:lnTo>
                    <a:pt x="828" y="96"/>
                  </a:lnTo>
                  <a:lnTo>
                    <a:pt x="840" y="96"/>
                  </a:lnTo>
                  <a:lnTo>
                    <a:pt x="840" y="84"/>
                  </a:lnTo>
                  <a:lnTo>
                    <a:pt x="852" y="90"/>
                  </a:lnTo>
                  <a:lnTo>
                    <a:pt x="852" y="96"/>
                  </a:lnTo>
                  <a:lnTo>
                    <a:pt x="870" y="90"/>
                  </a:lnTo>
                  <a:lnTo>
                    <a:pt x="894" y="78"/>
                  </a:lnTo>
                  <a:lnTo>
                    <a:pt x="912" y="78"/>
                  </a:lnTo>
                  <a:lnTo>
                    <a:pt x="942" y="66"/>
                  </a:lnTo>
                  <a:lnTo>
                    <a:pt x="942" y="60"/>
                  </a:lnTo>
                  <a:lnTo>
                    <a:pt x="954" y="48"/>
                  </a:lnTo>
                  <a:lnTo>
                    <a:pt x="966" y="30"/>
                  </a:lnTo>
                  <a:lnTo>
                    <a:pt x="978" y="30"/>
                  </a:lnTo>
                  <a:lnTo>
                    <a:pt x="978" y="24"/>
                  </a:lnTo>
                  <a:lnTo>
                    <a:pt x="984" y="12"/>
                  </a:lnTo>
                  <a:lnTo>
                    <a:pt x="990" y="12"/>
                  </a:lnTo>
                  <a:lnTo>
                    <a:pt x="996" y="12"/>
                  </a:lnTo>
                  <a:lnTo>
                    <a:pt x="1014" y="6"/>
                  </a:lnTo>
                  <a:lnTo>
                    <a:pt x="1026" y="6"/>
                  </a:lnTo>
                  <a:lnTo>
                    <a:pt x="1044" y="6"/>
                  </a:lnTo>
                  <a:lnTo>
                    <a:pt x="1050" y="6"/>
                  </a:lnTo>
                  <a:lnTo>
                    <a:pt x="1056" y="6"/>
                  </a:lnTo>
                  <a:lnTo>
                    <a:pt x="1062" y="6"/>
                  </a:lnTo>
                  <a:lnTo>
                    <a:pt x="1068" y="6"/>
                  </a:lnTo>
                  <a:lnTo>
                    <a:pt x="1074" y="6"/>
                  </a:lnTo>
                  <a:lnTo>
                    <a:pt x="1080" y="6"/>
                  </a:lnTo>
                  <a:lnTo>
                    <a:pt x="1086" y="0"/>
                  </a:lnTo>
                  <a:lnTo>
                    <a:pt x="1092" y="30"/>
                  </a:lnTo>
                  <a:lnTo>
                    <a:pt x="1098" y="60"/>
                  </a:lnTo>
                  <a:lnTo>
                    <a:pt x="1110" y="84"/>
                  </a:lnTo>
                  <a:lnTo>
                    <a:pt x="1122" y="114"/>
                  </a:lnTo>
                  <a:lnTo>
                    <a:pt x="1128" y="144"/>
                  </a:lnTo>
                  <a:lnTo>
                    <a:pt x="1122" y="156"/>
                  </a:lnTo>
                  <a:lnTo>
                    <a:pt x="1128" y="168"/>
                  </a:lnTo>
                  <a:lnTo>
                    <a:pt x="1134" y="186"/>
                  </a:lnTo>
                  <a:lnTo>
                    <a:pt x="1140" y="204"/>
                  </a:lnTo>
                  <a:lnTo>
                    <a:pt x="1146" y="210"/>
                  </a:lnTo>
                  <a:lnTo>
                    <a:pt x="1146" y="216"/>
                  </a:lnTo>
                  <a:lnTo>
                    <a:pt x="1146" y="228"/>
                  </a:lnTo>
                  <a:lnTo>
                    <a:pt x="1146" y="234"/>
                  </a:lnTo>
                  <a:lnTo>
                    <a:pt x="1140" y="246"/>
                  </a:lnTo>
                  <a:lnTo>
                    <a:pt x="1128" y="258"/>
                  </a:lnTo>
                  <a:lnTo>
                    <a:pt x="1116" y="264"/>
                  </a:lnTo>
                  <a:lnTo>
                    <a:pt x="1110" y="276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2" y="312"/>
                  </a:lnTo>
                  <a:lnTo>
                    <a:pt x="1116" y="324"/>
                  </a:lnTo>
                  <a:lnTo>
                    <a:pt x="1104" y="336"/>
                  </a:lnTo>
                  <a:lnTo>
                    <a:pt x="1104" y="354"/>
                  </a:lnTo>
                  <a:lnTo>
                    <a:pt x="1098" y="372"/>
                  </a:lnTo>
                  <a:lnTo>
                    <a:pt x="1092" y="384"/>
                  </a:lnTo>
                  <a:lnTo>
                    <a:pt x="1086" y="390"/>
                  </a:lnTo>
                  <a:lnTo>
                    <a:pt x="1086" y="402"/>
                  </a:lnTo>
                  <a:lnTo>
                    <a:pt x="1080" y="414"/>
                  </a:lnTo>
                  <a:lnTo>
                    <a:pt x="1074" y="426"/>
                  </a:lnTo>
                  <a:lnTo>
                    <a:pt x="1074" y="450"/>
                  </a:lnTo>
                  <a:lnTo>
                    <a:pt x="1074" y="462"/>
                  </a:lnTo>
                  <a:lnTo>
                    <a:pt x="1068" y="474"/>
                  </a:lnTo>
                  <a:lnTo>
                    <a:pt x="1062" y="486"/>
                  </a:lnTo>
                  <a:lnTo>
                    <a:pt x="1056" y="498"/>
                  </a:lnTo>
                  <a:close/>
                  <a:moveTo>
                    <a:pt x="186" y="378"/>
                  </a:moveTo>
                  <a:lnTo>
                    <a:pt x="186" y="384"/>
                  </a:lnTo>
                  <a:lnTo>
                    <a:pt x="180" y="390"/>
                  </a:lnTo>
                  <a:lnTo>
                    <a:pt x="174" y="396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14"/>
                  </a:lnTo>
                  <a:lnTo>
                    <a:pt x="126" y="414"/>
                  </a:lnTo>
                  <a:lnTo>
                    <a:pt x="120" y="414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2" y="426"/>
                  </a:lnTo>
                  <a:lnTo>
                    <a:pt x="102" y="432"/>
                  </a:lnTo>
                  <a:lnTo>
                    <a:pt x="96" y="432"/>
                  </a:lnTo>
                  <a:lnTo>
                    <a:pt x="90" y="432"/>
                  </a:lnTo>
                  <a:lnTo>
                    <a:pt x="84" y="438"/>
                  </a:lnTo>
                  <a:lnTo>
                    <a:pt x="78" y="438"/>
                  </a:lnTo>
                  <a:lnTo>
                    <a:pt x="78" y="444"/>
                  </a:lnTo>
                  <a:lnTo>
                    <a:pt x="72" y="444"/>
                  </a:lnTo>
                  <a:lnTo>
                    <a:pt x="72" y="450"/>
                  </a:lnTo>
                  <a:lnTo>
                    <a:pt x="66" y="456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48" y="468"/>
                  </a:lnTo>
                  <a:lnTo>
                    <a:pt x="42" y="468"/>
                  </a:lnTo>
                  <a:lnTo>
                    <a:pt x="42" y="462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8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0" y="396"/>
                  </a:lnTo>
                  <a:lnTo>
                    <a:pt x="6" y="384"/>
                  </a:lnTo>
                  <a:lnTo>
                    <a:pt x="18" y="372"/>
                  </a:lnTo>
                  <a:lnTo>
                    <a:pt x="30" y="348"/>
                  </a:lnTo>
                  <a:lnTo>
                    <a:pt x="30" y="342"/>
                  </a:lnTo>
                  <a:lnTo>
                    <a:pt x="42" y="330"/>
                  </a:lnTo>
                  <a:lnTo>
                    <a:pt x="42" y="324"/>
                  </a:lnTo>
                  <a:lnTo>
                    <a:pt x="48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60" y="282"/>
                  </a:lnTo>
                  <a:lnTo>
                    <a:pt x="60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2" y="258"/>
                  </a:lnTo>
                  <a:lnTo>
                    <a:pt x="84" y="246"/>
                  </a:lnTo>
                  <a:lnTo>
                    <a:pt x="90" y="234"/>
                  </a:lnTo>
                  <a:lnTo>
                    <a:pt x="96" y="234"/>
                  </a:lnTo>
                  <a:lnTo>
                    <a:pt x="96" y="228"/>
                  </a:lnTo>
                  <a:lnTo>
                    <a:pt x="102" y="222"/>
                  </a:lnTo>
                  <a:lnTo>
                    <a:pt x="102" y="228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14" y="228"/>
                  </a:lnTo>
                  <a:lnTo>
                    <a:pt x="114" y="234"/>
                  </a:lnTo>
                  <a:lnTo>
                    <a:pt x="120" y="228"/>
                  </a:lnTo>
                  <a:lnTo>
                    <a:pt x="120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26" y="228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8" y="234"/>
                  </a:lnTo>
                  <a:lnTo>
                    <a:pt x="144" y="234"/>
                  </a:lnTo>
                  <a:lnTo>
                    <a:pt x="144" y="228"/>
                  </a:lnTo>
                  <a:lnTo>
                    <a:pt x="150" y="228"/>
                  </a:lnTo>
                  <a:lnTo>
                    <a:pt x="156" y="228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46"/>
                  </a:lnTo>
                  <a:lnTo>
                    <a:pt x="162" y="240"/>
                  </a:lnTo>
                  <a:lnTo>
                    <a:pt x="162" y="246"/>
                  </a:lnTo>
                  <a:lnTo>
                    <a:pt x="162" y="258"/>
                  </a:lnTo>
                  <a:lnTo>
                    <a:pt x="162" y="264"/>
                  </a:lnTo>
                  <a:lnTo>
                    <a:pt x="156" y="270"/>
                  </a:lnTo>
                  <a:lnTo>
                    <a:pt x="162" y="270"/>
                  </a:lnTo>
                  <a:lnTo>
                    <a:pt x="162" y="282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86" y="288"/>
                  </a:lnTo>
                  <a:lnTo>
                    <a:pt x="186" y="294"/>
                  </a:lnTo>
                  <a:lnTo>
                    <a:pt x="180" y="300"/>
                  </a:lnTo>
                  <a:lnTo>
                    <a:pt x="174" y="318"/>
                  </a:lnTo>
                  <a:lnTo>
                    <a:pt x="174" y="324"/>
                  </a:lnTo>
                  <a:lnTo>
                    <a:pt x="168" y="330"/>
                  </a:lnTo>
                  <a:lnTo>
                    <a:pt x="168" y="342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74" y="360"/>
                  </a:lnTo>
                  <a:lnTo>
                    <a:pt x="180" y="366"/>
                  </a:lnTo>
                  <a:lnTo>
                    <a:pt x="186" y="37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8" name="Freeform 23">
              <a:extLst>
                <a:ext uri="{FF2B5EF4-FFF2-40B4-BE49-F238E27FC236}">
                  <a16:creationId xmlns:a16="http://schemas.microsoft.com/office/drawing/2014/main" id="{A539A33E-3F6E-4AF7-BD88-1853165307F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6312" y="3604793"/>
              <a:ext cx="581410" cy="621747"/>
            </a:xfrm>
            <a:custGeom>
              <a:avLst/>
              <a:gdLst>
                <a:gd name="T0" fmla="*/ 90 w 1092"/>
                <a:gd name="T1" fmla="*/ 60 h 1170"/>
                <a:gd name="T2" fmla="*/ 83 w 1092"/>
                <a:gd name="T3" fmla="*/ 62 h 1170"/>
                <a:gd name="T4" fmla="*/ 72 w 1092"/>
                <a:gd name="T5" fmla="*/ 68 h 1170"/>
                <a:gd name="T6" fmla="*/ 68 w 1092"/>
                <a:gd name="T7" fmla="*/ 71 h 1170"/>
                <a:gd name="T8" fmla="*/ 61 w 1092"/>
                <a:gd name="T9" fmla="*/ 69 h 1170"/>
                <a:gd name="T10" fmla="*/ 64 w 1092"/>
                <a:gd name="T11" fmla="*/ 82 h 1170"/>
                <a:gd name="T12" fmla="*/ 67 w 1092"/>
                <a:gd name="T13" fmla="*/ 93 h 1170"/>
                <a:gd name="T14" fmla="*/ 62 w 1092"/>
                <a:gd name="T15" fmla="*/ 96 h 1170"/>
                <a:gd name="T16" fmla="*/ 59 w 1092"/>
                <a:gd name="T17" fmla="*/ 99 h 1170"/>
                <a:gd name="T18" fmla="*/ 53 w 1092"/>
                <a:gd name="T19" fmla="*/ 101 h 1170"/>
                <a:gd name="T20" fmla="*/ 50 w 1092"/>
                <a:gd name="T21" fmla="*/ 100 h 1170"/>
                <a:gd name="T22" fmla="*/ 50 w 1092"/>
                <a:gd name="T23" fmla="*/ 93 h 1170"/>
                <a:gd name="T24" fmla="*/ 37 w 1092"/>
                <a:gd name="T25" fmla="*/ 85 h 1170"/>
                <a:gd name="T26" fmla="*/ 32 w 1092"/>
                <a:gd name="T27" fmla="*/ 86 h 1170"/>
                <a:gd name="T28" fmla="*/ 29 w 1092"/>
                <a:gd name="T29" fmla="*/ 88 h 1170"/>
                <a:gd name="T30" fmla="*/ 27 w 1092"/>
                <a:gd name="T31" fmla="*/ 86 h 1170"/>
                <a:gd name="T32" fmla="*/ 23 w 1092"/>
                <a:gd name="T33" fmla="*/ 87 h 1170"/>
                <a:gd name="T34" fmla="*/ 17 w 1092"/>
                <a:gd name="T35" fmla="*/ 87 h 1170"/>
                <a:gd name="T36" fmla="*/ 18 w 1092"/>
                <a:gd name="T37" fmla="*/ 89 h 1170"/>
                <a:gd name="T38" fmla="*/ 16 w 1092"/>
                <a:gd name="T39" fmla="*/ 92 h 1170"/>
                <a:gd name="T40" fmla="*/ 12 w 1092"/>
                <a:gd name="T41" fmla="*/ 89 h 1170"/>
                <a:gd name="T42" fmla="*/ 13 w 1092"/>
                <a:gd name="T43" fmla="*/ 84 h 1170"/>
                <a:gd name="T44" fmla="*/ 12 w 1092"/>
                <a:gd name="T45" fmla="*/ 80 h 1170"/>
                <a:gd name="T46" fmla="*/ 10 w 1092"/>
                <a:gd name="T47" fmla="*/ 80 h 1170"/>
                <a:gd name="T48" fmla="*/ 8 w 1092"/>
                <a:gd name="T49" fmla="*/ 79 h 1170"/>
                <a:gd name="T50" fmla="*/ 6 w 1092"/>
                <a:gd name="T51" fmla="*/ 78 h 1170"/>
                <a:gd name="T52" fmla="*/ 6 w 1092"/>
                <a:gd name="T53" fmla="*/ 77 h 1170"/>
                <a:gd name="T54" fmla="*/ 4 w 1092"/>
                <a:gd name="T55" fmla="*/ 75 h 1170"/>
                <a:gd name="T56" fmla="*/ 0 w 1092"/>
                <a:gd name="T57" fmla="*/ 72 h 1170"/>
                <a:gd name="T58" fmla="*/ 0 w 1092"/>
                <a:gd name="T59" fmla="*/ 69 h 1170"/>
                <a:gd name="T60" fmla="*/ 3 w 1092"/>
                <a:gd name="T61" fmla="*/ 67 h 1170"/>
                <a:gd name="T62" fmla="*/ 6 w 1092"/>
                <a:gd name="T63" fmla="*/ 62 h 1170"/>
                <a:gd name="T64" fmla="*/ 8 w 1092"/>
                <a:gd name="T65" fmla="*/ 58 h 1170"/>
                <a:gd name="T66" fmla="*/ 5 w 1092"/>
                <a:gd name="T67" fmla="*/ 54 h 1170"/>
                <a:gd name="T68" fmla="*/ 6 w 1092"/>
                <a:gd name="T69" fmla="*/ 50 h 1170"/>
                <a:gd name="T70" fmla="*/ 8 w 1092"/>
                <a:gd name="T71" fmla="*/ 46 h 1170"/>
                <a:gd name="T72" fmla="*/ 10 w 1092"/>
                <a:gd name="T73" fmla="*/ 43 h 1170"/>
                <a:gd name="T74" fmla="*/ 14 w 1092"/>
                <a:gd name="T75" fmla="*/ 38 h 1170"/>
                <a:gd name="T76" fmla="*/ 31 w 1092"/>
                <a:gd name="T77" fmla="*/ 40 h 1170"/>
                <a:gd name="T78" fmla="*/ 30 w 1092"/>
                <a:gd name="T79" fmla="*/ 46 h 1170"/>
                <a:gd name="T80" fmla="*/ 36 w 1092"/>
                <a:gd name="T81" fmla="*/ 47 h 1170"/>
                <a:gd name="T82" fmla="*/ 41 w 1092"/>
                <a:gd name="T83" fmla="*/ 44 h 1170"/>
                <a:gd name="T84" fmla="*/ 43 w 1092"/>
                <a:gd name="T85" fmla="*/ 39 h 1170"/>
                <a:gd name="T86" fmla="*/ 44 w 1092"/>
                <a:gd name="T87" fmla="*/ 35 h 1170"/>
                <a:gd name="T88" fmla="*/ 44 w 1092"/>
                <a:gd name="T89" fmla="*/ 29 h 1170"/>
                <a:gd name="T90" fmla="*/ 48 w 1092"/>
                <a:gd name="T91" fmla="*/ 24 h 1170"/>
                <a:gd name="T92" fmla="*/ 49 w 1092"/>
                <a:gd name="T93" fmla="*/ 19 h 1170"/>
                <a:gd name="T94" fmla="*/ 51 w 1092"/>
                <a:gd name="T95" fmla="*/ 14 h 1170"/>
                <a:gd name="T96" fmla="*/ 54 w 1092"/>
                <a:gd name="T97" fmla="*/ 10 h 1170"/>
                <a:gd name="T98" fmla="*/ 53 w 1092"/>
                <a:gd name="T99" fmla="*/ 7 h 1170"/>
                <a:gd name="T100" fmla="*/ 55 w 1092"/>
                <a:gd name="T101" fmla="*/ 3 h 1170"/>
                <a:gd name="T102" fmla="*/ 58 w 1092"/>
                <a:gd name="T103" fmla="*/ 0 h 1170"/>
                <a:gd name="T104" fmla="*/ 65 w 1092"/>
                <a:gd name="T105" fmla="*/ 2 h 1170"/>
                <a:gd name="T106" fmla="*/ 61 w 1092"/>
                <a:gd name="T107" fmla="*/ 6 h 1170"/>
                <a:gd name="T108" fmla="*/ 67 w 1092"/>
                <a:gd name="T109" fmla="*/ 7 h 1170"/>
                <a:gd name="T110" fmla="*/ 71 w 1092"/>
                <a:gd name="T111" fmla="*/ 6 h 1170"/>
                <a:gd name="T112" fmla="*/ 75 w 1092"/>
                <a:gd name="T113" fmla="*/ 9 h 1170"/>
                <a:gd name="T114" fmla="*/ 82 w 1092"/>
                <a:gd name="T115" fmla="*/ 12 h 1170"/>
                <a:gd name="T116" fmla="*/ 84 w 1092"/>
                <a:gd name="T117" fmla="*/ 17 h 1170"/>
                <a:gd name="T118" fmla="*/ 94 w 1092"/>
                <a:gd name="T119" fmla="*/ 23 h 1170"/>
                <a:gd name="T120" fmla="*/ 94 w 1092"/>
                <a:gd name="T121" fmla="*/ 34 h 1170"/>
                <a:gd name="T122" fmla="*/ 90 w 1092"/>
                <a:gd name="T123" fmla="*/ 41 h 1170"/>
                <a:gd name="T124" fmla="*/ 91 w 1092"/>
                <a:gd name="T125" fmla="*/ 51 h 11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92"/>
                <a:gd name="T190" fmla="*/ 0 h 1170"/>
                <a:gd name="T191" fmla="*/ 1092 w 1092"/>
                <a:gd name="T192" fmla="*/ 1170 h 117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92" h="1170">
                  <a:moveTo>
                    <a:pt x="1056" y="654"/>
                  </a:moveTo>
                  <a:lnTo>
                    <a:pt x="1062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0"/>
                  </a:lnTo>
                  <a:lnTo>
                    <a:pt x="1038" y="690"/>
                  </a:lnTo>
                  <a:lnTo>
                    <a:pt x="1032" y="690"/>
                  </a:lnTo>
                  <a:lnTo>
                    <a:pt x="1026" y="690"/>
                  </a:lnTo>
                  <a:lnTo>
                    <a:pt x="1020" y="690"/>
                  </a:lnTo>
                  <a:lnTo>
                    <a:pt x="1002" y="690"/>
                  </a:lnTo>
                  <a:lnTo>
                    <a:pt x="990" y="690"/>
                  </a:lnTo>
                  <a:lnTo>
                    <a:pt x="972" y="696"/>
                  </a:lnTo>
                  <a:lnTo>
                    <a:pt x="966" y="696"/>
                  </a:lnTo>
                  <a:lnTo>
                    <a:pt x="960" y="696"/>
                  </a:lnTo>
                  <a:lnTo>
                    <a:pt x="954" y="708"/>
                  </a:lnTo>
                  <a:lnTo>
                    <a:pt x="954" y="714"/>
                  </a:lnTo>
                  <a:lnTo>
                    <a:pt x="942" y="714"/>
                  </a:lnTo>
                  <a:lnTo>
                    <a:pt x="930" y="732"/>
                  </a:lnTo>
                  <a:lnTo>
                    <a:pt x="918" y="744"/>
                  </a:lnTo>
                  <a:lnTo>
                    <a:pt x="918" y="750"/>
                  </a:lnTo>
                  <a:lnTo>
                    <a:pt x="888" y="762"/>
                  </a:lnTo>
                  <a:lnTo>
                    <a:pt x="870" y="762"/>
                  </a:lnTo>
                  <a:lnTo>
                    <a:pt x="846" y="774"/>
                  </a:lnTo>
                  <a:lnTo>
                    <a:pt x="828" y="780"/>
                  </a:lnTo>
                  <a:lnTo>
                    <a:pt x="828" y="774"/>
                  </a:lnTo>
                  <a:lnTo>
                    <a:pt x="816" y="768"/>
                  </a:lnTo>
                  <a:lnTo>
                    <a:pt x="816" y="780"/>
                  </a:lnTo>
                  <a:lnTo>
                    <a:pt x="804" y="780"/>
                  </a:lnTo>
                  <a:lnTo>
                    <a:pt x="804" y="786"/>
                  </a:lnTo>
                  <a:lnTo>
                    <a:pt x="792" y="792"/>
                  </a:lnTo>
                  <a:lnTo>
                    <a:pt x="792" y="804"/>
                  </a:lnTo>
                  <a:lnTo>
                    <a:pt x="780" y="816"/>
                  </a:lnTo>
                  <a:lnTo>
                    <a:pt x="774" y="822"/>
                  </a:lnTo>
                  <a:lnTo>
                    <a:pt x="762" y="828"/>
                  </a:lnTo>
                  <a:lnTo>
                    <a:pt x="756" y="822"/>
                  </a:lnTo>
                  <a:lnTo>
                    <a:pt x="750" y="798"/>
                  </a:lnTo>
                  <a:lnTo>
                    <a:pt x="738" y="792"/>
                  </a:lnTo>
                  <a:lnTo>
                    <a:pt x="720" y="786"/>
                  </a:lnTo>
                  <a:lnTo>
                    <a:pt x="708" y="786"/>
                  </a:lnTo>
                  <a:lnTo>
                    <a:pt x="696" y="798"/>
                  </a:lnTo>
                  <a:lnTo>
                    <a:pt x="690" y="810"/>
                  </a:lnTo>
                  <a:lnTo>
                    <a:pt x="684" y="828"/>
                  </a:lnTo>
                  <a:lnTo>
                    <a:pt x="690" y="840"/>
                  </a:lnTo>
                  <a:lnTo>
                    <a:pt x="708" y="858"/>
                  </a:lnTo>
                  <a:lnTo>
                    <a:pt x="720" y="894"/>
                  </a:lnTo>
                  <a:lnTo>
                    <a:pt x="714" y="906"/>
                  </a:lnTo>
                  <a:lnTo>
                    <a:pt x="714" y="918"/>
                  </a:lnTo>
                  <a:lnTo>
                    <a:pt x="738" y="948"/>
                  </a:lnTo>
                  <a:lnTo>
                    <a:pt x="774" y="972"/>
                  </a:lnTo>
                  <a:lnTo>
                    <a:pt x="780" y="984"/>
                  </a:lnTo>
                  <a:lnTo>
                    <a:pt x="792" y="996"/>
                  </a:lnTo>
                  <a:lnTo>
                    <a:pt x="792" y="1026"/>
                  </a:lnTo>
                  <a:lnTo>
                    <a:pt x="780" y="1044"/>
                  </a:lnTo>
                  <a:lnTo>
                    <a:pt x="774" y="1050"/>
                  </a:lnTo>
                  <a:lnTo>
                    <a:pt x="768" y="1062"/>
                  </a:lnTo>
                  <a:lnTo>
                    <a:pt x="768" y="1068"/>
                  </a:lnTo>
                  <a:lnTo>
                    <a:pt x="762" y="1074"/>
                  </a:lnTo>
                  <a:lnTo>
                    <a:pt x="762" y="1080"/>
                  </a:lnTo>
                  <a:lnTo>
                    <a:pt x="756" y="1080"/>
                  </a:lnTo>
                  <a:lnTo>
                    <a:pt x="744" y="1086"/>
                  </a:lnTo>
                  <a:lnTo>
                    <a:pt x="744" y="1092"/>
                  </a:lnTo>
                  <a:lnTo>
                    <a:pt x="738" y="1092"/>
                  </a:lnTo>
                  <a:lnTo>
                    <a:pt x="726" y="1098"/>
                  </a:lnTo>
                  <a:lnTo>
                    <a:pt x="720" y="1104"/>
                  </a:lnTo>
                  <a:lnTo>
                    <a:pt x="714" y="1104"/>
                  </a:lnTo>
                  <a:lnTo>
                    <a:pt x="702" y="1116"/>
                  </a:lnTo>
                  <a:lnTo>
                    <a:pt x="696" y="1122"/>
                  </a:lnTo>
                  <a:lnTo>
                    <a:pt x="696" y="1134"/>
                  </a:lnTo>
                  <a:lnTo>
                    <a:pt x="690" y="1134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72" y="1146"/>
                  </a:lnTo>
                  <a:lnTo>
                    <a:pt x="672" y="1152"/>
                  </a:lnTo>
                  <a:lnTo>
                    <a:pt x="660" y="1152"/>
                  </a:lnTo>
                  <a:lnTo>
                    <a:pt x="642" y="1152"/>
                  </a:lnTo>
                  <a:lnTo>
                    <a:pt x="636" y="1152"/>
                  </a:lnTo>
                  <a:lnTo>
                    <a:pt x="630" y="1158"/>
                  </a:lnTo>
                  <a:lnTo>
                    <a:pt x="624" y="1164"/>
                  </a:lnTo>
                  <a:lnTo>
                    <a:pt x="618" y="1170"/>
                  </a:lnTo>
                  <a:lnTo>
                    <a:pt x="612" y="1170"/>
                  </a:lnTo>
                  <a:lnTo>
                    <a:pt x="600" y="1170"/>
                  </a:lnTo>
                  <a:lnTo>
                    <a:pt x="594" y="1170"/>
                  </a:lnTo>
                  <a:lnTo>
                    <a:pt x="588" y="1170"/>
                  </a:lnTo>
                  <a:lnTo>
                    <a:pt x="582" y="1170"/>
                  </a:lnTo>
                  <a:lnTo>
                    <a:pt x="582" y="1164"/>
                  </a:lnTo>
                  <a:lnTo>
                    <a:pt x="576" y="1158"/>
                  </a:lnTo>
                  <a:lnTo>
                    <a:pt x="570" y="1158"/>
                  </a:lnTo>
                  <a:lnTo>
                    <a:pt x="570" y="1152"/>
                  </a:lnTo>
                  <a:lnTo>
                    <a:pt x="570" y="1146"/>
                  </a:lnTo>
                  <a:lnTo>
                    <a:pt x="570" y="1140"/>
                  </a:lnTo>
                  <a:lnTo>
                    <a:pt x="564" y="1140"/>
                  </a:lnTo>
                  <a:lnTo>
                    <a:pt x="564" y="1134"/>
                  </a:lnTo>
                  <a:lnTo>
                    <a:pt x="564" y="1128"/>
                  </a:lnTo>
                  <a:lnTo>
                    <a:pt x="576" y="1104"/>
                  </a:lnTo>
                  <a:lnTo>
                    <a:pt x="582" y="1086"/>
                  </a:lnTo>
                  <a:lnTo>
                    <a:pt x="570" y="1068"/>
                  </a:lnTo>
                  <a:lnTo>
                    <a:pt x="534" y="1056"/>
                  </a:lnTo>
                  <a:lnTo>
                    <a:pt x="516" y="1026"/>
                  </a:lnTo>
                  <a:lnTo>
                    <a:pt x="492" y="1020"/>
                  </a:lnTo>
                  <a:lnTo>
                    <a:pt x="492" y="1014"/>
                  </a:lnTo>
                  <a:lnTo>
                    <a:pt x="480" y="1008"/>
                  </a:lnTo>
                  <a:lnTo>
                    <a:pt x="474" y="996"/>
                  </a:lnTo>
                  <a:lnTo>
                    <a:pt x="444" y="984"/>
                  </a:lnTo>
                  <a:lnTo>
                    <a:pt x="426" y="978"/>
                  </a:lnTo>
                  <a:lnTo>
                    <a:pt x="420" y="972"/>
                  </a:lnTo>
                  <a:lnTo>
                    <a:pt x="408" y="984"/>
                  </a:lnTo>
                  <a:lnTo>
                    <a:pt x="402" y="984"/>
                  </a:lnTo>
                  <a:lnTo>
                    <a:pt x="396" y="984"/>
                  </a:lnTo>
                  <a:lnTo>
                    <a:pt x="390" y="984"/>
                  </a:lnTo>
                  <a:lnTo>
                    <a:pt x="384" y="990"/>
                  </a:lnTo>
                  <a:lnTo>
                    <a:pt x="378" y="990"/>
                  </a:lnTo>
                  <a:lnTo>
                    <a:pt x="372" y="990"/>
                  </a:lnTo>
                  <a:lnTo>
                    <a:pt x="372" y="996"/>
                  </a:lnTo>
                  <a:lnTo>
                    <a:pt x="366" y="996"/>
                  </a:lnTo>
                  <a:lnTo>
                    <a:pt x="360" y="1002"/>
                  </a:lnTo>
                  <a:lnTo>
                    <a:pt x="360" y="1008"/>
                  </a:lnTo>
                  <a:lnTo>
                    <a:pt x="354" y="1008"/>
                  </a:lnTo>
                  <a:lnTo>
                    <a:pt x="342" y="1014"/>
                  </a:lnTo>
                  <a:lnTo>
                    <a:pt x="336" y="1020"/>
                  </a:lnTo>
                  <a:lnTo>
                    <a:pt x="336" y="1014"/>
                  </a:lnTo>
                  <a:lnTo>
                    <a:pt x="330" y="1014"/>
                  </a:lnTo>
                  <a:lnTo>
                    <a:pt x="330" y="1008"/>
                  </a:lnTo>
                  <a:lnTo>
                    <a:pt x="330" y="1002"/>
                  </a:lnTo>
                  <a:lnTo>
                    <a:pt x="324" y="1002"/>
                  </a:lnTo>
                  <a:lnTo>
                    <a:pt x="324" y="996"/>
                  </a:lnTo>
                  <a:lnTo>
                    <a:pt x="324" y="990"/>
                  </a:lnTo>
                  <a:lnTo>
                    <a:pt x="318" y="990"/>
                  </a:lnTo>
                  <a:lnTo>
                    <a:pt x="306" y="996"/>
                  </a:lnTo>
                  <a:lnTo>
                    <a:pt x="300" y="996"/>
                  </a:lnTo>
                  <a:lnTo>
                    <a:pt x="294" y="996"/>
                  </a:lnTo>
                  <a:lnTo>
                    <a:pt x="288" y="1002"/>
                  </a:lnTo>
                  <a:lnTo>
                    <a:pt x="282" y="990"/>
                  </a:lnTo>
                  <a:lnTo>
                    <a:pt x="276" y="984"/>
                  </a:lnTo>
                  <a:lnTo>
                    <a:pt x="270" y="990"/>
                  </a:lnTo>
                  <a:lnTo>
                    <a:pt x="270" y="996"/>
                  </a:lnTo>
                  <a:lnTo>
                    <a:pt x="270" y="1002"/>
                  </a:lnTo>
                  <a:lnTo>
                    <a:pt x="264" y="1008"/>
                  </a:lnTo>
                  <a:lnTo>
                    <a:pt x="252" y="996"/>
                  </a:lnTo>
                  <a:lnTo>
                    <a:pt x="246" y="996"/>
                  </a:lnTo>
                  <a:lnTo>
                    <a:pt x="234" y="1002"/>
                  </a:lnTo>
                  <a:lnTo>
                    <a:pt x="222" y="1002"/>
                  </a:lnTo>
                  <a:lnTo>
                    <a:pt x="210" y="1002"/>
                  </a:lnTo>
                  <a:lnTo>
                    <a:pt x="198" y="996"/>
                  </a:lnTo>
                  <a:lnTo>
                    <a:pt x="198" y="1002"/>
                  </a:lnTo>
                  <a:lnTo>
                    <a:pt x="198" y="1008"/>
                  </a:lnTo>
                  <a:lnTo>
                    <a:pt x="192" y="1020"/>
                  </a:lnTo>
                  <a:lnTo>
                    <a:pt x="198" y="1020"/>
                  </a:lnTo>
                  <a:lnTo>
                    <a:pt x="204" y="1020"/>
                  </a:lnTo>
                  <a:lnTo>
                    <a:pt x="210" y="1026"/>
                  </a:lnTo>
                  <a:lnTo>
                    <a:pt x="216" y="1026"/>
                  </a:lnTo>
                  <a:lnTo>
                    <a:pt x="216" y="1032"/>
                  </a:lnTo>
                  <a:lnTo>
                    <a:pt x="210" y="1032"/>
                  </a:lnTo>
                  <a:lnTo>
                    <a:pt x="210" y="1038"/>
                  </a:lnTo>
                  <a:lnTo>
                    <a:pt x="204" y="1038"/>
                  </a:lnTo>
                  <a:lnTo>
                    <a:pt x="204" y="1044"/>
                  </a:lnTo>
                  <a:lnTo>
                    <a:pt x="198" y="1044"/>
                  </a:lnTo>
                  <a:lnTo>
                    <a:pt x="192" y="1044"/>
                  </a:lnTo>
                  <a:lnTo>
                    <a:pt x="186" y="1050"/>
                  </a:lnTo>
                  <a:lnTo>
                    <a:pt x="186" y="1056"/>
                  </a:lnTo>
                  <a:lnTo>
                    <a:pt x="180" y="1056"/>
                  </a:lnTo>
                  <a:lnTo>
                    <a:pt x="180" y="1062"/>
                  </a:lnTo>
                  <a:lnTo>
                    <a:pt x="174" y="1062"/>
                  </a:lnTo>
                  <a:lnTo>
                    <a:pt x="168" y="1062"/>
                  </a:lnTo>
                  <a:lnTo>
                    <a:pt x="162" y="1062"/>
                  </a:lnTo>
                  <a:lnTo>
                    <a:pt x="156" y="1050"/>
                  </a:lnTo>
                  <a:lnTo>
                    <a:pt x="150" y="1044"/>
                  </a:lnTo>
                  <a:lnTo>
                    <a:pt x="150" y="1038"/>
                  </a:lnTo>
                  <a:lnTo>
                    <a:pt x="144" y="1032"/>
                  </a:lnTo>
                  <a:lnTo>
                    <a:pt x="144" y="1026"/>
                  </a:lnTo>
                  <a:lnTo>
                    <a:pt x="144" y="1014"/>
                  </a:lnTo>
                  <a:lnTo>
                    <a:pt x="150" y="1008"/>
                  </a:lnTo>
                  <a:lnTo>
                    <a:pt x="150" y="1002"/>
                  </a:lnTo>
                  <a:lnTo>
                    <a:pt x="156" y="984"/>
                  </a:lnTo>
                  <a:lnTo>
                    <a:pt x="162" y="978"/>
                  </a:lnTo>
                  <a:lnTo>
                    <a:pt x="162" y="972"/>
                  </a:lnTo>
                  <a:lnTo>
                    <a:pt x="150" y="966"/>
                  </a:lnTo>
                  <a:lnTo>
                    <a:pt x="144" y="966"/>
                  </a:lnTo>
                  <a:lnTo>
                    <a:pt x="138" y="966"/>
                  </a:lnTo>
                  <a:lnTo>
                    <a:pt x="138" y="954"/>
                  </a:lnTo>
                  <a:lnTo>
                    <a:pt x="132" y="954"/>
                  </a:lnTo>
                  <a:lnTo>
                    <a:pt x="138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8" y="924"/>
                  </a:lnTo>
                  <a:lnTo>
                    <a:pt x="132" y="930"/>
                  </a:lnTo>
                  <a:lnTo>
                    <a:pt x="132" y="924"/>
                  </a:lnTo>
                  <a:lnTo>
                    <a:pt x="126" y="918"/>
                  </a:lnTo>
                  <a:lnTo>
                    <a:pt x="132" y="918"/>
                  </a:lnTo>
                  <a:lnTo>
                    <a:pt x="132" y="912"/>
                  </a:lnTo>
                  <a:lnTo>
                    <a:pt x="126" y="912"/>
                  </a:lnTo>
                  <a:lnTo>
                    <a:pt x="120" y="912"/>
                  </a:lnTo>
                  <a:lnTo>
                    <a:pt x="120" y="918"/>
                  </a:lnTo>
                  <a:lnTo>
                    <a:pt x="114" y="918"/>
                  </a:lnTo>
                  <a:lnTo>
                    <a:pt x="114" y="912"/>
                  </a:lnTo>
                  <a:lnTo>
                    <a:pt x="108" y="912"/>
                  </a:lnTo>
                  <a:lnTo>
                    <a:pt x="102" y="912"/>
                  </a:lnTo>
                  <a:lnTo>
                    <a:pt x="108" y="906"/>
                  </a:lnTo>
                  <a:lnTo>
                    <a:pt x="102" y="906"/>
                  </a:lnTo>
                  <a:lnTo>
                    <a:pt x="96" y="906"/>
                  </a:lnTo>
                  <a:lnTo>
                    <a:pt x="96" y="912"/>
                  </a:lnTo>
                  <a:lnTo>
                    <a:pt x="90" y="918"/>
                  </a:lnTo>
                  <a:lnTo>
                    <a:pt x="90" y="912"/>
                  </a:lnTo>
                  <a:lnTo>
                    <a:pt x="84" y="912"/>
                  </a:lnTo>
                  <a:lnTo>
                    <a:pt x="84" y="918"/>
                  </a:lnTo>
                  <a:lnTo>
                    <a:pt x="78" y="918"/>
                  </a:lnTo>
                  <a:lnTo>
                    <a:pt x="78" y="912"/>
                  </a:lnTo>
                  <a:lnTo>
                    <a:pt x="78" y="906"/>
                  </a:lnTo>
                  <a:lnTo>
                    <a:pt x="72" y="900"/>
                  </a:lnTo>
                  <a:lnTo>
                    <a:pt x="78" y="900"/>
                  </a:lnTo>
                  <a:lnTo>
                    <a:pt x="72" y="900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8" y="888"/>
                  </a:lnTo>
                  <a:lnTo>
                    <a:pt x="72" y="888"/>
                  </a:lnTo>
                  <a:lnTo>
                    <a:pt x="72" y="882"/>
                  </a:lnTo>
                  <a:lnTo>
                    <a:pt x="66" y="876"/>
                  </a:lnTo>
                  <a:lnTo>
                    <a:pt x="60" y="882"/>
                  </a:lnTo>
                  <a:lnTo>
                    <a:pt x="54" y="876"/>
                  </a:lnTo>
                  <a:lnTo>
                    <a:pt x="54" y="882"/>
                  </a:lnTo>
                  <a:lnTo>
                    <a:pt x="48" y="882"/>
                  </a:lnTo>
                  <a:lnTo>
                    <a:pt x="42" y="870"/>
                  </a:lnTo>
                  <a:lnTo>
                    <a:pt x="42" y="864"/>
                  </a:lnTo>
                  <a:lnTo>
                    <a:pt x="36" y="858"/>
                  </a:lnTo>
                  <a:lnTo>
                    <a:pt x="36" y="852"/>
                  </a:lnTo>
                  <a:lnTo>
                    <a:pt x="30" y="852"/>
                  </a:lnTo>
                  <a:lnTo>
                    <a:pt x="30" y="846"/>
                  </a:lnTo>
                  <a:lnTo>
                    <a:pt x="24" y="846"/>
                  </a:lnTo>
                  <a:lnTo>
                    <a:pt x="18" y="840"/>
                  </a:lnTo>
                  <a:lnTo>
                    <a:pt x="12" y="834"/>
                  </a:lnTo>
                  <a:lnTo>
                    <a:pt x="0" y="828"/>
                  </a:lnTo>
                  <a:lnTo>
                    <a:pt x="0" y="822"/>
                  </a:lnTo>
                  <a:lnTo>
                    <a:pt x="0" y="816"/>
                  </a:lnTo>
                  <a:lnTo>
                    <a:pt x="0" y="810"/>
                  </a:lnTo>
                  <a:lnTo>
                    <a:pt x="6" y="804"/>
                  </a:lnTo>
                  <a:lnTo>
                    <a:pt x="12" y="804"/>
                  </a:lnTo>
                  <a:lnTo>
                    <a:pt x="12" y="798"/>
                  </a:lnTo>
                  <a:lnTo>
                    <a:pt x="12" y="792"/>
                  </a:lnTo>
                  <a:lnTo>
                    <a:pt x="6" y="792"/>
                  </a:lnTo>
                  <a:lnTo>
                    <a:pt x="6" y="786"/>
                  </a:lnTo>
                  <a:lnTo>
                    <a:pt x="6" y="780"/>
                  </a:lnTo>
                  <a:lnTo>
                    <a:pt x="18" y="780"/>
                  </a:lnTo>
                  <a:lnTo>
                    <a:pt x="18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0" y="774"/>
                  </a:lnTo>
                  <a:lnTo>
                    <a:pt x="36" y="768"/>
                  </a:lnTo>
                  <a:lnTo>
                    <a:pt x="42" y="768"/>
                  </a:lnTo>
                  <a:lnTo>
                    <a:pt x="60" y="750"/>
                  </a:lnTo>
                  <a:lnTo>
                    <a:pt x="60" y="744"/>
                  </a:lnTo>
                  <a:lnTo>
                    <a:pt x="54" y="738"/>
                  </a:lnTo>
                  <a:lnTo>
                    <a:pt x="60" y="732"/>
                  </a:lnTo>
                  <a:lnTo>
                    <a:pt x="54" y="732"/>
                  </a:lnTo>
                  <a:lnTo>
                    <a:pt x="60" y="726"/>
                  </a:lnTo>
                  <a:lnTo>
                    <a:pt x="66" y="720"/>
                  </a:lnTo>
                  <a:lnTo>
                    <a:pt x="72" y="714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84" y="696"/>
                  </a:lnTo>
                  <a:lnTo>
                    <a:pt x="90" y="684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66"/>
                  </a:lnTo>
                  <a:lnTo>
                    <a:pt x="90" y="660"/>
                  </a:lnTo>
                  <a:lnTo>
                    <a:pt x="84" y="654"/>
                  </a:lnTo>
                  <a:lnTo>
                    <a:pt x="84" y="648"/>
                  </a:lnTo>
                  <a:lnTo>
                    <a:pt x="78" y="636"/>
                  </a:lnTo>
                  <a:lnTo>
                    <a:pt x="66" y="630"/>
                  </a:lnTo>
                  <a:lnTo>
                    <a:pt x="66" y="624"/>
                  </a:lnTo>
                  <a:lnTo>
                    <a:pt x="60" y="624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60" y="600"/>
                  </a:lnTo>
                  <a:lnTo>
                    <a:pt x="66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6" y="588"/>
                  </a:lnTo>
                  <a:lnTo>
                    <a:pt x="66" y="582"/>
                  </a:lnTo>
                  <a:lnTo>
                    <a:pt x="72" y="582"/>
                  </a:lnTo>
                  <a:lnTo>
                    <a:pt x="78" y="576"/>
                  </a:lnTo>
                  <a:lnTo>
                    <a:pt x="72" y="576"/>
                  </a:lnTo>
                  <a:lnTo>
                    <a:pt x="66" y="570"/>
                  </a:lnTo>
                  <a:lnTo>
                    <a:pt x="72" y="564"/>
                  </a:lnTo>
                  <a:lnTo>
                    <a:pt x="78" y="558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90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102" y="516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0" y="504"/>
                  </a:lnTo>
                  <a:lnTo>
                    <a:pt x="120" y="498"/>
                  </a:lnTo>
                  <a:lnTo>
                    <a:pt x="120" y="492"/>
                  </a:lnTo>
                  <a:lnTo>
                    <a:pt x="126" y="480"/>
                  </a:lnTo>
                  <a:lnTo>
                    <a:pt x="132" y="474"/>
                  </a:lnTo>
                  <a:lnTo>
                    <a:pt x="132" y="468"/>
                  </a:lnTo>
                  <a:lnTo>
                    <a:pt x="138" y="462"/>
                  </a:lnTo>
                  <a:lnTo>
                    <a:pt x="138" y="456"/>
                  </a:lnTo>
                  <a:lnTo>
                    <a:pt x="138" y="450"/>
                  </a:lnTo>
                  <a:lnTo>
                    <a:pt x="144" y="444"/>
                  </a:lnTo>
                  <a:lnTo>
                    <a:pt x="162" y="438"/>
                  </a:lnTo>
                  <a:lnTo>
                    <a:pt x="186" y="438"/>
                  </a:lnTo>
                  <a:lnTo>
                    <a:pt x="210" y="444"/>
                  </a:lnTo>
                  <a:lnTo>
                    <a:pt x="276" y="450"/>
                  </a:lnTo>
                  <a:lnTo>
                    <a:pt x="342" y="450"/>
                  </a:lnTo>
                  <a:lnTo>
                    <a:pt x="348" y="450"/>
                  </a:lnTo>
                  <a:lnTo>
                    <a:pt x="354" y="450"/>
                  </a:lnTo>
                  <a:lnTo>
                    <a:pt x="360" y="456"/>
                  </a:lnTo>
                  <a:lnTo>
                    <a:pt x="354" y="462"/>
                  </a:lnTo>
                  <a:lnTo>
                    <a:pt x="354" y="468"/>
                  </a:lnTo>
                  <a:lnTo>
                    <a:pt x="354" y="474"/>
                  </a:lnTo>
                  <a:lnTo>
                    <a:pt x="348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48" y="498"/>
                  </a:lnTo>
                  <a:lnTo>
                    <a:pt x="342" y="510"/>
                  </a:lnTo>
                  <a:lnTo>
                    <a:pt x="348" y="528"/>
                  </a:lnTo>
                  <a:lnTo>
                    <a:pt x="348" y="534"/>
                  </a:lnTo>
                  <a:lnTo>
                    <a:pt x="354" y="552"/>
                  </a:lnTo>
                  <a:lnTo>
                    <a:pt x="366" y="546"/>
                  </a:lnTo>
                  <a:lnTo>
                    <a:pt x="372" y="540"/>
                  </a:lnTo>
                  <a:lnTo>
                    <a:pt x="384" y="540"/>
                  </a:lnTo>
                  <a:lnTo>
                    <a:pt x="396" y="534"/>
                  </a:lnTo>
                  <a:lnTo>
                    <a:pt x="402" y="534"/>
                  </a:lnTo>
                  <a:lnTo>
                    <a:pt x="414" y="546"/>
                  </a:lnTo>
                  <a:lnTo>
                    <a:pt x="432" y="540"/>
                  </a:lnTo>
                  <a:lnTo>
                    <a:pt x="450" y="534"/>
                  </a:lnTo>
                  <a:lnTo>
                    <a:pt x="450" y="528"/>
                  </a:lnTo>
                  <a:lnTo>
                    <a:pt x="456" y="528"/>
                  </a:lnTo>
                  <a:lnTo>
                    <a:pt x="456" y="522"/>
                  </a:lnTo>
                  <a:lnTo>
                    <a:pt x="456" y="516"/>
                  </a:lnTo>
                  <a:lnTo>
                    <a:pt x="462" y="516"/>
                  </a:lnTo>
                  <a:lnTo>
                    <a:pt x="468" y="510"/>
                  </a:lnTo>
                  <a:lnTo>
                    <a:pt x="468" y="504"/>
                  </a:lnTo>
                  <a:lnTo>
                    <a:pt x="474" y="504"/>
                  </a:lnTo>
                  <a:lnTo>
                    <a:pt x="480" y="504"/>
                  </a:lnTo>
                  <a:lnTo>
                    <a:pt x="486" y="498"/>
                  </a:lnTo>
                  <a:lnTo>
                    <a:pt x="492" y="498"/>
                  </a:lnTo>
                  <a:lnTo>
                    <a:pt x="486" y="480"/>
                  </a:lnTo>
                  <a:lnTo>
                    <a:pt x="492" y="462"/>
                  </a:lnTo>
                  <a:lnTo>
                    <a:pt x="498" y="444"/>
                  </a:lnTo>
                  <a:lnTo>
                    <a:pt x="498" y="426"/>
                  </a:lnTo>
                  <a:lnTo>
                    <a:pt x="498" y="420"/>
                  </a:lnTo>
                  <a:lnTo>
                    <a:pt x="504" y="426"/>
                  </a:lnTo>
                  <a:lnTo>
                    <a:pt x="504" y="420"/>
                  </a:lnTo>
                  <a:lnTo>
                    <a:pt x="510" y="420"/>
                  </a:lnTo>
                  <a:lnTo>
                    <a:pt x="510" y="414"/>
                  </a:lnTo>
                  <a:lnTo>
                    <a:pt x="510" y="408"/>
                  </a:lnTo>
                  <a:lnTo>
                    <a:pt x="504" y="402"/>
                  </a:lnTo>
                  <a:lnTo>
                    <a:pt x="504" y="396"/>
                  </a:lnTo>
                  <a:lnTo>
                    <a:pt x="504" y="384"/>
                  </a:lnTo>
                  <a:lnTo>
                    <a:pt x="504" y="378"/>
                  </a:lnTo>
                  <a:lnTo>
                    <a:pt x="504" y="360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510" y="348"/>
                  </a:lnTo>
                  <a:lnTo>
                    <a:pt x="510" y="336"/>
                  </a:lnTo>
                  <a:lnTo>
                    <a:pt x="516" y="330"/>
                  </a:lnTo>
                  <a:lnTo>
                    <a:pt x="522" y="324"/>
                  </a:lnTo>
                  <a:lnTo>
                    <a:pt x="528" y="318"/>
                  </a:lnTo>
                  <a:lnTo>
                    <a:pt x="534" y="312"/>
                  </a:lnTo>
                  <a:lnTo>
                    <a:pt x="534" y="300"/>
                  </a:lnTo>
                  <a:lnTo>
                    <a:pt x="540" y="294"/>
                  </a:lnTo>
                  <a:lnTo>
                    <a:pt x="546" y="288"/>
                  </a:lnTo>
                  <a:lnTo>
                    <a:pt x="552" y="276"/>
                  </a:lnTo>
                  <a:lnTo>
                    <a:pt x="558" y="264"/>
                  </a:lnTo>
                  <a:lnTo>
                    <a:pt x="558" y="258"/>
                  </a:lnTo>
                  <a:lnTo>
                    <a:pt x="558" y="252"/>
                  </a:lnTo>
                  <a:lnTo>
                    <a:pt x="558" y="246"/>
                  </a:lnTo>
                  <a:lnTo>
                    <a:pt x="564" y="246"/>
                  </a:lnTo>
                  <a:lnTo>
                    <a:pt x="564" y="240"/>
                  </a:lnTo>
                  <a:lnTo>
                    <a:pt x="570" y="234"/>
                  </a:lnTo>
                  <a:lnTo>
                    <a:pt x="564" y="216"/>
                  </a:lnTo>
                  <a:lnTo>
                    <a:pt x="564" y="210"/>
                  </a:lnTo>
                  <a:lnTo>
                    <a:pt x="570" y="210"/>
                  </a:lnTo>
                  <a:lnTo>
                    <a:pt x="570" y="204"/>
                  </a:lnTo>
                  <a:lnTo>
                    <a:pt x="570" y="198"/>
                  </a:lnTo>
                  <a:lnTo>
                    <a:pt x="582" y="180"/>
                  </a:lnTo>
                  <a:lnTo>
                    <a:pt x="582" y="174"/>
                  </a:lnTo>
                  <a:lnTo>
                    <a:pt x="582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606" y="150"/>
                  </a:lnTo>
                  <a:lnTo>
                    <a:pt x="612" y="150"/>
                  </a:lnTo>
                  <a:lnTo>
                    <a:pt x="618" y="150"/>
                  </a:lnTo>
                  <a:lnTo>
                    <a:pt x="624" y="138"/>
                  </a:lnTo>
                  <a:lnTo>
                    <a:pt x="618" y="132"/>
                  </a:lnTo>
                  <a:lnTo>
                    <a:pt x="618" y="126"/>
                  </a:lnTo>
                  <a:lnTo>
                    <a:pt x="618" y="120"/>
                  </a:lnTo>
                  <a:lnTo>
                    <a:pt x="618" y="114"/>
                  </a:lnTo>
                  <a:lnTo>
                    <a:pt x="612" y="108"/>
                  </a:lnTo>
                  <a:lnTo>
                    <a:pt x="612" y="102"/>
                  </a:lnTo>
                  <a:lnTo>
                    <a:pt x="618" y="90"/>
                  </a:lnTo>
                  <a:lnTo>
                    <a:pt x="624" y="84"/>
                  </a:lnTo>
                  <a:lnTo>
                    <a:pt x="618" y="84"/>
                  </a:lnTo>
                  <a:lnTo>
                    <a:pt x="618" y="78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0" y="72"/>
                  </a:lnTo>
                  <a:lnTo>
                    <a:pt x="600" y="66"/>
                  </a:lnTo>
                  <a:lnTo>
                    <a:pt x="600" y="60"/>
                  </a:lnTo>
                  <a:lnTo>
                    <a:pt x="600" y="48"/>
                  </a:lnTo>
                  <a:lnTo>
                    <a:pt x="612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36"/>
                  </a:lnTo>
                  <a:lnTo>
                    <a:pt x="630" y="30"/>
                  </a:lnTo>
                  <a:lnTo>
                    <a:pt x="636" y="24"/>
                  </a:lnTo>
                  <a:lnTo>
                    <a:pt x="642" y="24"/>
                  </a:lnTo>
                  <a:lnTo>
                    <a:pt x="648" y="24"/>
                  </a:lnTo>
                  <a:lnTo>
                    <a:pt x="648" y="18"/>
                  </a:lnTo>
                  <a:lnTo>
                    <a:pt x="654" y="12"/>
                  </a:lnTo>
                  <a:lnTo>
                    <a:pt x="660" y="0"/>
                  </a:lnTo>
                  <a:lnTo>
                    <a:pt x="678" y="0"/>
                  </a:lnTo>
                  <a:lnTo>
                    <a:pt x="696" y="0"/>
                  </a:lnTo>
                  <a:lnTo>
                    <a:pt x="702" y="0"/>
                  </a:lnTo>
                  <a:lnTo>
                    <a:pt x="714" y="0"/>
                  </a:lnTo>
                  <a:lnTo>
                    <a:pt x="720" y="6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44" y="24"/>
                  </a:lnTo>
                  <a:lnTo>
                    <a:pt x="744" y="30"/>
                  </a:lnTo>
                  <a:lnTo>
                    <a:pt x="732" y="42"/>
                  </a:lnTo>
                  <a:lnTo>
                    <a:pt x="726" y="42"/>
                  </a:lnTo>
                  <a:lnTo>
                    <a:pt x="720" y="42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54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90"/>
                  </a:lnTo>
                  <a:lnTo>
                    <a:pt x="726" y="84"/>
                  </a:lnTo>
                  <a:lnTo>
                    <a:pt x="738" y="84"/>
                  </a:lnTo>
                  <a:lnTo>
                    <a:pt x="750" y="96"/>
                  </a:lnTo>
                  <a:lnTo>
                    <a:pt x="768" y="96"/>
                  </a:lnTo>
                  <a:lnTo>
                    <a:pt x="768" y="90"/>
                  </a:lnTo>
                  <a:lnTo>
                    <a:pt x="774" y="84"/>
                  </a:lnTo>
                  <a:lnTo>
                    <a:pt x="780" y="78"/>
                  </a:lnTo>
                  <a:lnTo>
                    <a:pt x="786" y="78"/>
                  </a:lnTo>
                  <a:lnTo>
                    <a:pt x="792" y="72"/>
                  </a:lnTo>
                  <a:lnTo>
                    <a:pt x="804" y="72"/>
                  </a:lnTo>
                  <a:lnTo>
                    <a:pt x="804" y="66"/>
                  </a:lnTo>
                  <a:lnTo>
                    <a:pt x="810" y="66"/>
                  </a:lnTo>
                  <a:lnTo>
                    <a:pt x="810" y="72"/>
                  </a:lnTo>
                  <a:lnTo>
                    <a:pt x="816" y="66"/>
                  </a:lnTo>
                  <a:lnTo>
                    <a:pt x="828" y="66"/>
                  </a:lnTo>
                  <a:lnTo>
                    <a:pt x="834" y="72"/>
                  </a:lnTo>
                  <a:lnTo>
                    <a:pt x="840" y="72"/>
                  </a:lnTo>
                  <a:lnTo>
                    <a:pt x="840" y="78"/>
                  </a:lnTo>
                  <a:lnTo>
                    <a:pt x="840" y="84"/>
                  </a:lnTo>
                  <a:lnTo>
                    <a:pt x="852" y="84"/>
                  </a:lnTo>
                  <a:lnTo>
                    <a:pt x="858" y="96"/>
                  </a:lnTo>
                  <a:lnTo>
                    <a:pt x="864" y="108"/>
                  </a:lnTo>
                  <a:lnTo>
                    <a:pt x="876" y="114"/>
                  </a:lnTo>
                  <a:lnTo>
                    <a:pt x="894" y="114"/>
                  </a:lnTo>
                  <a:lnTo>
                    <a:pt x="906" y="114"/>
                  </a:lnTo>
                  <a:lnTo>
                    <a:pt x="906" y="126"/>
                  </a:lnTo>
                  <a:lnTo>
                    <a:pt x="912" y="144"/>
                  </a:lnTo>
                  <a:lnTo>
                    <a:pt x="930" y="138"/>
                  </a:lnTo>
                  <a:lnTo>
                    <a:pt x="936" y="138"/>
                  </a:lnTo>
                  <a:lnTo>
                    <a:pt x="942" y="144"/>
                  </a:lnTo>
                  <a:lnTo>
                    <a:pt x="948" y="150"/>
                  </a:lnTo>
                  <a:lnTo>
                    <a:pt x="954" y="156"/>
                  </a:lnTo>
                  <a:lnTo>
                    <a:pt x="954" y="168"/>
                  </a:lnTo>
                  <a:lnTo>
                    <a:pt x="954" y="174"/>
                  </a:lnTo>
                  <a:lnTo>
                    <a:pt x="960" y="180"/>
                  </a:lnTo>
                  <a:lnTo>
                    <a:pt x="966" y="186"/>
                  </a:lnTo>
                  <a:lnTo>
                    <a:pt x="960" y="186"/>
                  </a:lnTo>
                  <a:lnTo>
                    <a:pt x="966" y="192"/>
                  </a:lnTo>
                  <a:lnTo>
                    <a:pt x="966" y="198"/>
                  </a:lnTo>
                  <a:lnTo>
                    <a:pt x="978" y="204"/>
                  </a:lnTo>
                  <a:lnTo>
                    <a:pt x="1050" y="186"/>
                  </a:lnTo>
                  <a:lnTo>
                    <a:pt x="1056" y="198"/>
                  </a:lnTo>
                  <a:lnTo>
                    <a:pt x="1068" y="210"/>
                  </a:lnTo>
                  <a:lnTo>
                    <a:pt x="1074" y="216"/>
                  </a:lnTo>
                  <a:lnTo>
                    <a:pt x="1080" y="252"/>
                  </a:lnTo>
                  <a:lnTo>
                    <a:pt x="1086" y="270"/>
                  </a:lnTo>
                  <a:lnTo>
                    <a:pt x="1092" y="282"/>
                  </a:lnTo>
                  <a:lnTo>
                    <a:pt x="1086" y="300"/>
                  </a:lnTo>
                  <a:lnTo>
                    <a:pt x="1074" y="330"/>
                  </a:lnTo>
                  <a:lnTo>
                    <a:pt x="1068" y="336"/>
                  </a:lnTo>
                  <a:lnTo>
                    <a:pt x="1062" y="348"/>
                  </a:lnTo>
                  <a:lnTo>
                    <a:pt x="1062" y="360"/>
                  </a:lnTo>
                  <a:lnTo>
                    <a:pt x="1068" y="378"/>
                  </a:lnTo>
                  <a:lnTo>
                    <a:pt x="1074" y="390"/>
                  </a:lnTo>
                  <a:lnTo>
                    <a:pt x="1068" y="396"/>
                  </a:lnTo>
                  <a:lnTo>
                    <a:pt x="1068" y="408"/>
                  </a:lnTo>
                  <a:lnTo>
                    <a:pt x="1062" y="414"/>
                  </a:lnTo>
                  <a:lnTo>
                    <a:pt x="1050" y="432"/>
                  </a:lnTo>
                  <a:lnTo>
                    <a:pt x="1044" y="450"/>
                  </a:lnTo>
                  <a:lnTo>
                    <a:pt x="1038" y="456"/>
                  </a:lnTo>
                  <a:lnTo>
                    <a:pt x="1026" y="468"/>
                  </a:lnTo>
                  <a:lnTo>
                    <a:pt x="1026" y="474"/>
                  </a:lnTo>
                  <a:lnTo>
                    <a:pt x="1026" y="480"/>
                  </a:lnTo>
                  <a:lnTo>
                    <a:pt x="1032" y="492"/>
                  </a:lnTo>
                  <a:lnTo>
                    <a:pt x="1044" y="504"/>
                  </a:lnTo>
                  <a:lnTo>
                    <a:pt x="1044" y="516"/>
                  </a:lnTo>
                  <a:lnTo>
                    <a:pt x="1038" y="528"/>
                  </a:lnTo>
                  <a:lnTo>
                    <a:pt x="1032" y="546"/>
                  </a:lnTo>
                  <a:lnTo>
                    <a:pt x="1032" y="570"/>
                  </a:lnTo>
                  <a:lnTo>
                    <a:pt x="1050" y="594"/>
                  </a:lnTo>
                  <a:lnTo>
                    <a:pt x="1056" y="624"/>
                  </a:lnTo>
                  <a:lnTo>
                    <a:pt x="1056" y="654"/>
                  </a:lnTo>
                  <a:close/>
                </a:path>
              </a:pathLst>
            </a:custGeom>
            <a:solidFill>
              <a:srgbClr val="2A4F1D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9" name="Freeform 24">
              <a:extLst>
                <a:ext uri="{FF2B5EF4-FFF2-40B4-BE49-F238E27FC236}">
                  <a16:creationId xmlns:a16="http://schemas.microsoft.com/office/drawing/2014/main" id="{CAE689DA-332A-4F73-BDE6-8865C9170AA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84829" y="3213406"/>
              <a:ext cx="851989" cy="744754"/>
            </a:xfrm>
            <a:custGeom>
              <a:avLst/>
              <a:gdLst>
                <a:gd name="T0" fmla="*/ 116 w 1602"/>
                <a:gd name="T1" fmla="*/ 91 h 1404"/>
                <a:gd name="T2" fmla="*/ 111 w 1602"/>
                <a:gd name="T3" fmla="*/ 95 h 1404"/>
                <a:gd name="T4" fmla="*/ 102 w 1602"/>
                <a:gd name="T5" fmla="*/ 101 h 1404"/>
                <a:gd name="T6" fmla="*/ 99 w 1602"/>
                <a:gd name="T7" fmla="*/ 103 h 1404"/>
                <a:gd name="T8" fmla="*/ 96 w 1602"/>
                <a:gd name="T9" fmla="*/ 106 h 1404"/>
                <a:gd name="T10" fmla="*/ 93 w 1602"/>
                <a:gd name="T11" fmla="*/ 108 h 1404"/>
                <a:gd name="T12" fmla="*/ 88 w 1602"/>
                <a:gd name="T13" fmla="*/ 106 h 1404"/>
                <a:gd name="T14" fmla="*/ 86 w 1602"/>
                <a:gd name="T15" fmla="*/ 108 h 1404"/>
                <a:gd name="T16" fmla="*/ 81 w 1602"/>
                <a:gd name="T17" fmla="*/ 119 h 1404"/>
                <a:gd name="T18" fmla="*/ 71 w 1602"/>
                <a:gd name="T19" fmla="*/ 109 h 1404"/>
                <a:gd name="T20" fmla="*/ 72 w 1602"/>
                <a:gd name="T21" fmla="*/ 101 h 1404"/>
                <a:gd name="T22" fmla="*/ 74 w 1602"/>
                <a:gd name="T23" fmla="*/ 93 h 1404"/>
                <a:gd name="T24" fmla="*/ 73 w 1602"/>
                <a:gd name="T25" fmla="*/ 82 h 1404"/>
                <a:gd name="T26" fmla="*/ 64 w 1602"/>
                <a:gd name="T27" fmla="*/ 79 h 1404"/>
                <a:gd name="T28" fmla="*/ 59 w 1602"/>
                <a:gd name="T29" fmla="*/ 75 h 1404"/>
                <a:gd name="T30" fmla="*/ 54 w 1602"/>
                <a:gd name="T31" fmla="*/ 71 h 1404"/>
                <a:gd name="T32" fmla="*/ 51 w 1602"/>
                <a:gd name="T33" fmla="*/ 70 h 1404"/>
                <a:gd name="T34" fmla="*/ 45 w 1602"/>
                <a:gd name="T35" fmla="*/ 71 h 1404"/>
                <a:gd name="T36" fmla="*/ 43 w 1602"/>
                <a:gd name="T37" fmla="*/ 68 h 1404"/>
                <a:gd name="T38" fmla="*/ 43 w 1602"/>
                <a:gd name="T39" fmla="*/ 64 h 1404"/>
                <a:gd name="T40" fmla="*/ 36 w 1602"/>
                <a:gd name="T41" fmla="*/ 66 h 1404"/>
                <a:gd name="T42" fmla="*/ 31 w 1602"/>
                <a:gd name="T43" fmla="*/ 55 h 1404"/>
                <a:gd name="T44" fmla="*/ 25 w 1602"/>
                <a:gd name="T45" fmla="*/ 53 h 1404"/>
                <a:gd name="T46" fmla="*/ 19 w 1602"/>
                <a:gd name="T47" fmla="*/ 51 h 1404"/>
                <a:gd name="T48" fmla="*/ 17 w 1602"/>
                <a:gd name="T49" fmla="*/ 43 h 1404"/>
                <a:gd name="T50" fmla="*/ 17 w 1602"/>
                <a:gd name="T51" fmla="*/ 39 h 1404"/>
                <a:gd name="T52" fmla="*/ 12 w 1602"/>
                <a:gd name="T53" fmla="*/ 39 h 1404"/>
                <a:gd name="T54" fmla="*/ 10 w 1602"/>
                <a:gd name="T55" fmla="*/ 35 h 1404"/>
                <a:gd name="T56" fmla="*/ 5 w 1602"/>
                <a:gd name="T57" fmla="*/ 30 h 1404"/>
                <a:gd name="T58" fmla="*/ 3 w 1602"/>
                <a:gd name="T59" fmla="*/ 27 h 1404"/>
                <a:gd name="T60" fmla="*/ 2 w 1602"/>
                <a:gd name="T61" fmla="*/ 25 h 1404"/>
                <a:gd name="T62" fmla="*/ 0 w 1602"/>
                <a:gd name="T63" fmla="*/ 22 h 1404"/>
                <a:gd name="T64" fmla="*/ 8 w 1602"/>
                <a:gd name="T65" fmla="*/ 14 h 1404"/>
                <a:gd name="T66" fmla="*/ 16 w 1602"/>
                <a:gd name="T67" fmla="*/ 16 h 1404"/>
                <a:gd name="T68" fmla="*/ 31 w 1602"/>
                <a:gd name="T69" fmla="*/ 18 h 1404"/>
                <a:gd name="T70" fmla="*/ 43 w 1602"/>
                <a:gd name="T71" fmla="*/ 17 h 1404"/>
                <a:gd name="T72" fmla="*/ 47 w 1602"/>
                <a:gd name="T73" fmla="*/ 6 h 1404"/>
                <a:gd name="T74" fmla="*/ 52 w 1602"/>
                <a:gd name="T75" fmla="*/ 0 h 1404"/>
                <a:gd name="T76" fmla="*/ 55 w 1602"/>
                <a:gd name="T77" fmla="*/ 3 h 1404"/>
                <a:gd name="T78" fmla="*/ 59 w 1602"/>
                <a:gd name="T79" fmla="*/ 9 h 1404"/>
                <a:gd name="T80" fmla="*/ 62 w 1602"/>
                <a:gd name="T81" fmla="*/ 16 h 1404"/>
                <a:gd name="T82" fmla="*/ 66 w 1602"/>
                <a:gd name="T83" fmla="*/ 20 h 1404"/>
                <a:gd name="T84" fmla="*/ 70 w 1602"/>
                <a:gd name="T85" fmla="*/ 25 h 1404"/>
                <a:gd name="T86" fmla="*/ 74 w 1602"/>
                <a:gd name="T87" fmla="*/ 30 h 1404"/>
                <a:gd name="T88" fmla="*/ 76 w 1602"/>
                <a:gd name="T89" fmla="*/ 27 h 1404"/>
                <a:gd name="T90" fmla="*/ 78 w 1602"/>
                <a:gd name="T91" fmla="*/ 27 h 1404"/>
                <a:gd name="T92" fmla="*/ 78 w 1602"/>
                <a:gd name="T93" fmla="*/ 23 h 1404"/>
                <a:gd name="T94" fmla="*/ 82 w 1602"/>
                <a:gd name="T95" fmla="*/ 20 h 1404"/>
                <a:gd name="T96" fmla="*/ 82 w 1602"/>
                <a:gd name="T97" fmla="*/ 18 h 1404"/>
                <a:gd name="T98" fmla="*/ 90 w 1602"/>
                <a:gd name="T99" fmla="*/ 24 h 1404"/>
                <a:gd name="T100" fmla="*/ 90 w 1602"/>
                <a:gd name="T101" fmla="*/ 45 h 1404"/>
                <a:gd name="T102" fmla="*/ 104 w 1602"/>
                <a:gd name="T103" fmla="*/ 41 h 1404"/>
                <a:gd name="T104" fmla="*/ 117 w 1602"/>
                <a:gd name="T105" fmla="*/ 39 h 1404"/>
                <a:gd name="T106" fmla="*/ 125 w 1602"/>
                <a:gd name="T107" fmla="*/ 39 h 1404"/>
                <a:gd name="T108" fmla="*/ 127 w 1602"/>
                <a:gd name="T109" fmla="*/ 43 h 1404"/>
                <a:gd name="T110" fmla="*/ 131 w 1602"/>
                <a:gd name="T111" fmla="*/ 53 h 1404"/>
                <a:gd name="T112" fmla="*/ 133 w 1602"/>
                <a:gd name="T113" fmla="*/ 60 h 1404"/>
                <a:gd name="T114" fmla="*/ 138 w 1602"/>
                <a:gd name="T115" fmla="*/ 73 h 1404"/>
                <a:gd name="T116" fmla="*/ 136 w 1602"/>
                <a:gd name="T117" fmla="*/ 80 h 1404"/>
                <a:gd name="T118" fmla="*/ 129 w 1602"/>
                <a:gd name="T119" fmla="*/ 87 h 1404"/>
                <a:gd name="T120" fmla="*/ 123 w 1602"/>
                <a:gd name="T121" fmla="*/ 95 h 14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02"/>
                <a:gd name="T184" fmla="*/ 0 h 1404"/>
                <a:gd name="T185" fmla="*/ 1602 w 1602"/>
                <a:gd name="T186" fmla="*/ 1404 h 14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02" h="1404">
                  <a:moveTo>
                    <a:pt x="1392" y="1080"/>
                  </a:moveTo>
                  <a:lnTo>
                    <a:pt x="1380" y="1074"/>
                  </a:lnTo>
                  <a:lnTo>
                    <a:pt x="1368" y="1056"/>
                  </a:lnTo>
                  <a:lnTo>
                    <a:pt x="1356" y="1044"/>
                  </a:lnTo>
                  <a:lnTo>
                    <a:pt x="1344" y="1038"/>
                  </a:lnTo>
                  <a:lnTo>
                    <a:pt x="1338" y="1038"/>
                  </a:lnTo>
                  <a:lnTo>
                    <a:pt x="1332" y="1038"/>
                  </a:lnTo>
                  <a:lnTo>
                    <a:pt x="1326" y="1044"/>
                  </a:lnTo>
                  <a:lnTo>
                    <a:pt x="1320" y="1044"/>
                  </a:lnTo>
                  <a:lnTo>
                    <a:pt x="1314" y="1044"/>
                  </a:lnTo>
                  <a:lnTo>
                    <a:pt x="1296" y="1056"/>
                  </a:lnTo>
                  <a:lnTo>
                    <a:pt x="1296" y="1080"/>
                  </a:lnTo>
                  <a:lnTo>
                    <a:pt x="1290" y="1080"/>
                  </a:lnTo>
                  <a:lnTo>
                    <a:pt x="1284" y="1086"/>
                  </a:lnTo>
                  <a:lnTo>
                    <a:pt x="1278" y="1086"/>
                  </a:lnTo>
                  <a:lnTo>
                    <a:pt x="1278" y="1092"/>
                  </a:lnTo>
                  <a:lnTo>
                    <a:pt x="1272" y="1092"/>
                  </a:lnTo>
                  <a:lnTo>
                    <a:pt x="1266" y="1086"/>
                  </a:lnTo>
                  <a:lnTo>
                    <a:pt x="1260" y="1086"/>
                  </a:lnTo>
                  <a:lnTo>
                    <a:pt x="1260" y="1098"/>
                  </a:lnTo>
                  <a:lnTo>
                    <a:pt x="1248" y="1098"/>
                  </a:lnTo>
                  <a:lnTo>
                    <a:pt x="1212" y="1116"/>
                  </a:lnTo>
                  <a:lnTo>
                    <a:pt x="1206" y="1158"/>
                  </a:lnTo>
                  <a:lnTo>
                    <a:pt x="1176" y="1164"/>
                  </a:lnTo>
                  <a:lnTo>
                    <a:pt x="1158" y="1164"/>
                  </a:lnTo>
                  <a:lnTo>
                    <a:pt x="1152" y="1164"/>
                  </a:lnTo>
                  <a:lnTo>
                    <a:pt x="1152" y="1170"/>
                  </a:lnTo>
                  <a:lnTo>
                    <a:pt x="1152" y="1176"/>
                  </a:lnTo>
                  <a:lnTo>
                    <a:pt x="1146" y="1176"/>
                  </a:lnTo>
                  <a:lnTo>
                    <a:pt x="1140" y="1176"/>
                  </a:lnTo>
                  <a:lnTo>
                    <a:pt x="1134" y="1182"/>
                  </a:lnTo>
                  <a:lnTo>
                    <a:pt x="1134" y="1188"/>
                  </a:lnTo>
                  <a:lnTo>
                    <a:pt x="1128" y="1194"/>
                  </a:lnTo>
                  <a:lnTo>
                    <a:pt x="1122" y="1194"/>
                  </a:lnTo>
                  <a:lnTo>
                    <a:pt x="1116" y="1194"/>
                  </a:lnTo>
                  <a:lnTo>
                    <a:pt x="1110" y="1200"/>
                  </a:lnTo>
                  <a:lnTo>
                    <a:pt x="1110" y="1206"/>
                  </a:lnTo>
                  <a:lnTo>
                    <a:pt x="1104" y="1212"/>
                  </a:lnTo>
                  <a:lnTo>
                    <a:pt x="1104" y="1218"/>
                  </a:lnTo>
                  <a:lnTo>
                    <a:pt x="1098" y="1224"/>
                  </a:lnTo>
                  <a:lnTo>
                    <a:pt x="1092" y="1230"/>
                  </a:lnTo>
                  <a:lnTo>
                    <a:pt x="1086" y="1230"/>
                  </a:lnTo>
                  <a:lnTo>
                    <a:pt x="1080" y="1230"/>
                  </a:lnTo>
                  <a:lnTo>
                    <a:pt x="1080" y="1242"/>
                  </a:lnTo>
                  <a:lnTo>
                    <a:pt x="1074" y="1242"/>
                  </a:lnTo>
                  <a:lnTo>
                    <a:pt x="1068" y="1242"/>
                  </a:lnTo>
                  <a:lnTo>
                    <a:pt x="1068" y="1236"/>
                  </a:lnTo>
                  <a:lnTo>
                    <a:pt x="1062" y="1242"/>
                  </a:lnTo>
                  <a:lnTo>
                    <a:pt x="1056" y="1236"/>
                  </a:lnTo>
                  <a:lnTo>
                    <a:pt x="1050" y="1242"/>
                  </a:lnTo>
                  <a:lnTo>
                    <a:pt x="1050" y="1236"/>
                  </a:lnTo>
                  <a:lnTo>
                    <a:pt x="1044" y="1194"/>
                  </a:lnTo>
                  <a:lnTo>
                    <a:pt x="1032" y="1194"/>
                  </a:lnTo>
                  <a:lnTo>
                    <a:pt x="1032" y="1200"/>
                  </a:lnTo>
                  <a:lnTo>
                    <a:pt x="1026" y="1200"/>
                  </a:lnTo>
                  <a:lnTo>
                    <a:pt x="1014" y="1218"/>
                  </a:lnTo>
                  <a:lnTo>
                    <a:pt x="1014" y="1224"/>
                  </a:lnTo>
                  <a:lnTo>
                    <a:pt x="1014" y="1236"/>
                  </a:lnTo>
                  <a:lnTo>
                    <a:pt x="1014" y="1242"/>
                  </a:lnTo>
                  <a:lnTo>
                    <a:pt x="1008" y="1242"/>
                  </a:lnTo>
                  <a:lnTo>
                    <a:pt x="1002" y="1236"/>
                  </a:lnTo>
                  <a:lnTo>
                    <a:pt x="1002" y="1230"/>
                  </a:lnTo>
                  <a:lnTo>
                    <a:pt x="996" y="1236"/>
                  </a:lnTo>
                  <a:lnTo>
                    <a:pt x="990" y="1236"/>
                  </a:lnTo>
                  <a:lnTo>
                    <a:pt x="990" y="1230"/>
                  </a:lnTo>
                  <a:lnTo>
                    <a:pt x="984" y="1236"/>
                  </a:lnTo>
                  <a:lnTo>
                    <a:pt x="978" y="1248"/>
                  </a:lnTo>
                  <a:lnTo>
                    <a:pt x="972" y="1254"/>
                  </a:lnTo>
                  <a:lnTo>
                    <a:pt x="966" y="1260"/>
                  </a:lnTo>
                  <a:lnTo>
                    <a:pt x="930" y="1284"/>
                  </a:lnTo>
                  <a:lnTo>
                    <a:pt x="942" y="1356"/>
                  </a:lnTo>
                  <a:lnTo>
                    <a:pt x="930" y="1368"/>
                  </a:lnTo>
                  <a:lnTo>
                    <a:pt x="852" y="1404"/>
                  </a:lnTo>
                  <a:lnTo>
                    <a:pt x="834" y="1392"/>
                  </a:lnTo>
                  <a:lnTo>
                    <a:pt x="834" y="1362"/>
                  </a:lnTo>
                  <a:lnTo>
                    <a:pt x="828" y="1332"/>
                  </a:lnTo>
                  <a:lnTo>
                    <a:pt x="810" y="1308"/>
                  </a:lnTo>
                  <a:lnTo>
                    <a:pt x="810" y="1284"/>
                  </a:lnTo>
                  <a:lnTo>
                    <a:pt x="816" y="1266"/>
                  </a:lnTo>
                  <a:lnTo>
                    <a:pt x="822" y="1254"/>
                  </a:lnTo>
                  <a:lnTo>
                    <a:pt x="822" y="1242"/>
                  </a:lnTo>
                  <a:lnTo>
                    <a:pt x="810" y="1230"/>
                  </a:lnTo>
                  <a:lnTo>
                    <a:pt x="804" y="1218"/>
                  </a:lnTo>
                  <a:lnTo>
                    <a:pt x="804" y="1212"/>
                  </a:lnTo>
                  <a:lnTo>
                    <a:pt x="804" y="1206"/>
                  </a:lnTo>
                  <a:lnTo>
                    <a:pt x="816" y="1194"/>
                  </a:lnTo>
                  <a:lnTo>
                    <a:pt x="822" y="1188"/>
                  </a:lnTo>
                  <a:lnTo>
                    <a:pt x="828" y="1170"/>
                  </a:lnTo>
                  <a:lnTo>
                    <a:pt x="840" y="1152"/>
                  </a:lnTo>
                  <a:lnTo>
                    <a:pt x="846" y="1146"/>
                  </a:lnTo>
                  <a:lnTo>
                    <a:pt x="846" y="1134"/>
                  </a:lnTo>
                  <a:lnTo>
                    <a:pt x="852" y="1128"/>
                  </a:lnTo>
                  <a:lnTo>
                    <a:pt x="846" y="1116"/>
                  </a:lnTo>
                  <a:lnTo>
                    <a:pt x="840" y="1098"/>
                  </a:lnTo>
                  <a:lnTo>
                    <a:pt x="840" y="1086"/>
                  </a:lnTo>
                  <a:lnTo>
                    <a:pt x="846" y="1074"/>
                  </a:lnTo>
                  <a:lnTo>
                    <a:pt x="852" y="1068"/>
                  </a:lnTo>
                  <a:lnTo>
                    <a:pt x="864" y="1038"/>
                  </a:lnTo>
                  <a:lnTo>
                    <a:pt x="870" y="1020"/>
                  </a:lnTo>
                  <a:lnTo>
                    <a:pt x="864" y="1008"/>
                  </a:lnTo>
                  <a:lnTo>
                    <a:pt x="858" y="990"/>
                  </a:lnTo>
                  <a:lnTo>
                    <a:pt x="852" y="954"/>
                  </a:lnTo>
                  <a:lnTo>
                    <a:pt x="846" y="948"/>
                  </a:lnTo>
                  <a:lnTo>
                    <a:pt x="834" y="936"/>
                  </a:lnTo>
                  <a:lnTo>
                    <a:pt x="828" y="924"/>
                  </a:lnTo>
                  <a:lnTo>
                    <a:pt x="756" y="942"/>
                  </a:lnTo>
                  <a:lnTo>
                    <a:pt x="744" y="936"/>
                  </a:lnTo>
                  <a:lnTo>
                    <a:pt x="744" y="930"/>
                  </a:lnTo>
                  <a:lnTo>
                    <a:pt x="738" y="924"/>
                  </a:lnTo>
                  <a:lnTo>
                    <a:pt x="744" y="924"/>
                  </a:lnTo>
                  <a:lnTo>
                    <a:pt x="738" y="918"/>
                  </a:lnTo>
                  <a:lnTo>
                    <a:pt x="732" y="912"/>
                  </a:lnTo>
                  <a:lnTo>
                    <a:pt x="732" y="906"/>
                  </a:lnTo>
                  <a:lnTo>
                    <a:pt x="732" y="894"/>
                  </a:lnTo>
                  <a:lnTo>
                    <a:pt x="726" y="888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6"/>
                  </a:lnTo>
                  <a:lnTo>
                    <a:pt x="690" y="882"/>
                  </a:lnTo>
                  <a:lnTo>
                    <a:pt x="684" y="864"/>
                  </a:lnTo>
                  <a:lnTo>
                    <a:pt x="684" y="852"/>
                  </a:lnTo>
                  <a:lnTo>
                    <a:pt x="672" y="852"/>
                  </a:lnTo>
                  <a:lnTo>
                    <a:pt x="654" y="852"/>
                  </a:lnTo>
                  <a:lnTo>
                    <a:pt x="642" y="846"/>
                  </a:lnTo>
                  <a:lnTo>
                    <a:pt x="636" y="834"/>
                  </a:lnTo>
                  <a:lnTo>
                    <a:pt x="630" y="822"/>
                  </a:lnTo>
                  <a:lnTo>
                    <a:pt x="618" y="822"/>
                  </a:lnTo>
                  <a:lnTo>
                    <a:pt x="618" y="816"/>
                  </a:lnTo>
                  <a:lnTo>
                    <a:pt x="618" y="810"/>
                  </a:lnTo>
                  <a:lnTo>
                    <a:pt x="612" y="810"/>
                  </a:lnTo>
                  <a:lnTo>
                    <a:pt x="606" y="804"/>
                  </a:lnTo>
                  <a:lnTo>
                    <a:pt x="594" y="804"/>
                  </a:lnTo>
                  <a:lnTo>
                    <a:pt x="588" y="810"/>
                  </a:lnTo>
                  <a:lnTo>
                    <a:pt x="588" y="804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70" y="810"/>
                  </a:lnTo>
                  <a:lnTo>
                    <a:pt x="564" y="816"/>
                  </a:lnTo>
                  <a:lnTo>
                    <a:pt x="558" y="816"/>
                  </a:lnTo>
                  <a:lnTo>
                    <a:pt x="552" y="822"/>
                  </a:lnTo>
                  <a:lnTo>
                    <a:pt x="546" y="828"/>
                  </a:lnTo>
                  <a:lnTo>
                    <a:pt x="546" y="834"/>
                  </a:lnTo>
                  <a:lnTo>
                    <a:pt x="528" y="834"/>
                  </a:lnTo>
                  <a:lnTo>
                    <a:pt x="516" y="822"/>
                  </a:lnTo>
                  <a:lnTo>
                    <a:pt x="504" y="822"/>
                  </a:lnTo>
                  <a:lnTo>
                    <a:pt x="492" y="82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6" y="792"/>
                  </a:lnTo>
                  <a:lnTo>
                    <a:pt x="492" y="786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504" y="780"/>
                  </a:lnTo>
                  <a:lnTo>
                    <a:pt x="510" y="780"/>
                  </a:lnTo>
                  <a:lnTo>
                    <a:pt x="522" y="768"/>
                  </a:lnTo>
                  <a:lnTo>
                    <a:pt x="522" y="762"/>
                  </a:lnTo>
                  <a:lnTo>
                    <a:pt x="504" y="756"/>
                  </a:lnTo>
                  <a:lnTo>
                    <a:pt x="498" y="756"/>
                  </a:lnTo>
                  <a:lnTo>
                    <a:pt x="498" y="744"/>
                  </a:lnTo>
                  <a:lnTo>
                    <a:pt x="492" y="738"/>
                  </a:lnTo>
                  <a:lnTo>
                    <a:pt x="480" y="738"/>
                  </a:lnTo>
                  <a:lnTo>
                    <a:pt x="474" y="738"/>
                  </a:lnTo>
                  <a:lnTo>
                    <a:pt x="456" y="738"/>
                  </a:lnTo>
                  <a:lnTo>
                    <a:pt x="438" y="738"/>
                  </a:lnTo>
                  <a:lnTo>
                    <a:pt x="432" y="750"/>
                  </a:lnTo>
                  <a:lnTo>
                    <a:pt x="426" y="756"/>
                  </a:lnTo>
                  <a:lnTo>
                    <a:pt x="426" y="762"/>
                  </a:lnTo>
                  <a:lnTo>
                    <a:pt x="420" y="762"/>
                  </a:lnTo>
                  <a:lnTo>
                    <a:pt x="408" y="744"/>
                  </a:lnTo>
                  <a:lnTo>
                    <a:pt x="408" y="732"/>
                  </a:lnTo>
                  <a:lnTo>
                    <a:pt x="390" y="714"/>
                  </a:lnTo>
                  <a:lnTo>
                    <a:pt x="384" y="702"/>
                  </a:lnTo>
                  <a:lnTo>
                    <a:pt x="384" y="690"/>
                  </a:lnTo>
                  <a:lnTo>
                    <a:pt x="372" y="690"/>
                  </a:lnTo>
                  <a:lnTo>
                    <a:pt x="366" y="660"/>
                  </a:lnTo>
                  <a:lnTo>
                    <a:pt x="354" y="630"/>
                  </a:lnTo>
                  <a:lnTo>
                    <a:pt x="348" y="630"/>
                  </a:lnTo>
                  <a:lnTo>
                    <a:pt x="336" y="630"/>
                  </a:lnTo>
                  <a:lnTo>
                    <a:pt x="330" y="630"/>
                  </a:lnTo>
                  <a:lnTo>
                    <a:pt x="318" y="630"/>
                  </a:lnTo>
                  <a:lnTo>
                    <a:pt x="312" y="624"/>
                  </a:lnTo>
                  <a:lnTo>
                    <a:pt x="306" y="624"/>
                  </a:lnTo>
                  <a:lnTo>
                    <a:pt x="294" y="618"/>
                  </a:lnTo>
                  <a:lnTo>
                    <a:pt x="288" y="612"/>
                  </a:lnTo>
                  <a:lnTo>
                    <a:pt x="276" y="600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58" y="588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8"/>
                  </a:lnTo>
                  <a:lnTo>
                    <a:pt x="216" y="582"/>
                  </a:lnTo>
                  <a:lnTo>
                    <a:pt x="210" y="588"/>
                  </a:lnTo>
                  <a:lnTo>
                    <a:pt x="198" y="582"/>
                  </a:lnTo>
                  <a:lnTo>
                    <a:pt x="180" y="582"/>
                  </a:lnTo>
                  <a:lnTo>
                    <a:pt x="174" y="552"/>
                  </a:lnTo>
                  <a:lnTo>
                    <a:pt x="168" y="504"/>
                  </a:lnTo>
                  <a:lnTo>
                    <a:pt x="186" y="504"/>
                  </a:lnTo>
                  <a:lnTo>
                    <a:pt x="192" y="504"/>
                  </a:lnTo>
                  <a:lnTo>
                    <a:pt x="192" y="498"/>
                  </a:lnTo>
                  <a:lnTo>
                    <a:pt x="192" y="492"/>
                  </a:lnTo>
                  <a:lnTo>
                    <a:pt x="192" y="486"/>
                  </a:lnTo>
                  <a:lnTo>
                    <a:pt x="198" y="486"/>
                  </a:lnTo>
                  <a:lnTo>
                    <a:pt x="198" y="480"/>
                  </a:lnTo>
                  <a:lnTo>
                    <a:pt x="204" y="474"/>
                  </a:lnTo>
                  <a:lnTo>
                    <a:pt x="210" y="468"/>
                  </a:lnTo>
                  <a:lnTo>
                    <a:pt x="198" y="462"/>
                  </a:lnTo>
                  <a:lnTo>
                    <a:pt x="192" y="444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32"/>
                  </a:lnTo>
                  <a:lnTo>
                    <a:pt x="168" y="438"/>
                  </a:lnTo>
                  <a:lnTo>
                    <a:pt x="150" y="450"/>
                  </a:lnTo>
                  <a:lnTo>
                    <a:pt x="144" y="456"/>
                  </a:lnTo>
                  <a:lnTo>
                    <a:pt x="132" y="456"/>
                  </a:lnTo>
                  <a:lnTo>
                    <a:pt x="126" y="468"/>
                  </a:lnTo>
                  <a:lnTo>
                    <a:pt x="114" y="468"/>
                  </a:lnTo>
                  <a:lnTo>
                    <a:pt x="108" y="468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14"/>
                  </a:lnTo>
                  <a:lnTo>
                    <a:pt x="108" y="396"/>
                  </a:lnTo>
                  <a:lnTo>
                    <a:pt x="120" y="396"/>
                  </a:lnTo>
                  <a:lnTo>
                    <a:pt x="126" y="384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84" y="354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0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60" y="318"/>
                  </a:lnTo>
                  <a:lnTo>
                    <a:pt x="42" y="324"/>
                  </a:lnTo>
                  <a:lnTo>
                    <a:pt x="36" y="318"/>
                  </a:lnTo>
                  <a:lnTo>
                    <a:pt x="36" y="312"/>
                  </a:lnTo>
                  <a:lnTo>
                    <a:pt x="36" y="306"/>
                  </a:lnTo>
                  <a:lnTo>
                    <a:pt x="36" y="300"/>
                  </a:lnTo>
                  <a:lnTo>
                    <a:pt x="30" y="300"/>
                  </a:lnTo>
                  <a:lnTo>
                    <a:pt x="30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24" y="276"/>
                  </a:lnTo>
                  <a:lnTo>
                    <a:pt x="18" y="276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18" y="234"/>
                  </a:lnTo>
                  <a:lnTo>
                    <a:pt x="30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42" y="192"/>
                  </a:lnTo>
                  <a:lnTo>
                    <a:pt x="66" y="186"/>
                  </a:lnTo>
                  <a:lnTo>
                    <a:pt x="90" y="156"/>
                  </a:lnTo>
                  <a:lnTo>
                    <a:pt x="102" y="144"/>
                  </a:lnTo>
                  <a:lnTo>
                    <a:pt x="138" y="150"/>
                  </a:lnTo>
                  <a:lnTo>
                    <a:pt x="162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0" y="180"/>
                  </a:lnTo>
                  <a:lnTo>
                    <a:pt x="174" y="180"/>
                  </a:lnTo>
                  <a:lnTo>
                    <a:pt x="180" y="186"/>
                  </a:lnTo>
                  <a:lnTo>
                    <a:pt x="186" y="186"/>
                  </a:lnTo>
                  <a:lnTo>
                    <a:pt x="198" y="192"/>
                  </a:lnTo>
                  <a:lnTo>
                    <a:pt x="216" y="198"/>
                  </a:lnTo>
                  <a:lnTo>
                    <a:pt x="252" y="204"/>
                  </a:lnTo>
                  <a:lnTo>
                    <a:pt x="258" y="210"/>
                  </a:lnTo>
                  <a:lnTo>
                    <a:pt x="306" y="216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84" y="210"/>
                  </a:lnTo>
                  <a:lnTo>
                    <a:pt x="408" y="222"/>
                  </a:lnTo>
                  <a:lnTo>
                    <a:pt x="438" y="228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86" y="222"/>
                  </a:lnTo>
                  <a:lnTo>
                    <a:pt x="492" y="210"/>
                  </a:lnTo>
                  <a:lnTo>
                    <a:pt x="492" y="198"/>
                  </a:lnTo>
                  <a:lnTo>
                    <a:pt x="486" y="180"/>
                  </a:lnTo>
                  <a:lnTo>
                    <a:pt x="492" y="162"/>
                  </a:lnTo>
                  <a:lnTo>
                    <a:pt x="510" y="96"/>
                  </a:lnTo>
                  <a:lnTo>
                    <a:pt x="516" y="84"/>
                  </a:lnTo>
                  <a:lnTo>
                    <a:pt x="522" y="84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34" y="72"/>
                  </a:lnTo>
                  <a:lnTo>
                    <a:pt x="534" y="60"/>
                  </a:lnTo>
                  <a:lnTo>
                    <a:pt x="540" y="36"/>
                  </a:lnTo>
                  <a:lnTo>
                    <a:pt x="546" y="6"/>
                  </a:lnTo>
                  <a:lnTo>
                    <a:pt x="558" y="6"/>
                  </a:lnTo>
                  <a:lnTo>
                    <a:pt x="564" y="0"/>
                  </a:lnTo>
                  <a:lnTo>
                    <a:pt x="582" y="0"/>
                  </a:lnTo>
                  <a:lnTo>
                    <a:pt x="588" y="0"/>
                  </a:lnTo>
                  <a:lnTo>
                    <a:pt x="594" y="6"/>
                  </a:lnTo>
                  <a:lnTo>
                    <a:pt x="600" y="12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24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36" y="36"/>
                  </a:lnTo>
                  <a:lnTo>
                    <a:pt x="642" y="36"/>
                  </a:lnTo>
                  <a:lnTo>
                    <a:pt x="642" y="42"/>
                  </a:lnTo>
                  <a:lnTo>
                    <a:pt x="648" y="54"/>
                  </a:lnTo>
                  <a:lnTo>
                    <a:pt x="660" y="72"/>
                  </a:lnTo>
                  <a:lnTo>
                    <a:pt x="666" y="78"/>
                  </a:lnTo>
                  <a:lnTo>
                    <a:pt x="672" y="90"/>
                  </a:lnTo>
                  <a:lnTo>
                    <a:pt x="678" y="102"/>
                  </a:lnTo>
                  <a:lnTo>
                    <a:pt x="678" y="114"/>
                  </a:lnTo>
                  <a:lnTo>
                    <a:pt x="684" y="132"/>
                  </a:lnTo>
                  <a:lnTo>
                    <a:pt x="684" y="144"/>
                  </a:lnTo>
                  <a:lnTo>
                    <a:pt x="690" y="162"/>
                  </a:lnTo>
                  <a:lnTo>
                    <a:pt x="696" y="168"/>
                  </a:lnTo>
                  <a:lnTo>
                    <a:pt x="696" y="180"/>
                  </a:lnTo>
                  <a:lnTo>
                    <a:pt x="702" y="186"/>
                  </a:lnTo>
                  <a:lnTo>
                    <a:pt x="708" y="186"/>
                  </a:lnTo>
                  <a:lnTo>
                    <a:pt x="714" y="198"/>
                  </a:lnTo>
                  <a:lnTo>
                    <a:pt x="720" y="198"/>
                  </a:lnTo>
                  <a:lnTo>
                    <a:pt x="732" y="204"/>
                  </a:lnTo>
                  <a:lnTo>
                    <a:pt x="738" y="210"/>
                  </a:lnTo>
                  <a:lnTo>
                    <a:pt x="738" y="216"/>
                  </a:lnTo>
                  <a:lnTo>
                    <a:pt x="744" y="222"/>
                  </a:lnTo>
                  <a:lnTo>
                    <a:pt x="750" y="228"/>
                  </a:lnTo>
                  <a:lnTo>
                    <a:pt x="756" y="228"/>
                  </a:lnTo>
                  <a:lnTo>
                    <a:pt x="768" y="240"/>
                  </a:lnTo>
                  <a:lnTo>
                    <a:pt x="774" y="252"/>
                  </a:lnTo>
                  <a:lnTo>
                    <a:pt x="780" y="258"/>
                  </a:lnTo>
                  <a:lnTo>
                    <a:pt x="786" y="258"/>
                  </a:lnTo>
                  <a:lnTo>
                    <a:pt x="798" y="264"/>
                  </a:lnTo>
                  <a:lnTo>
                    <a:pt x="798" y="270"/>
                  </a:lnTo>
                  <a:lnTo>
                    <a:pt x="798" y="276"/>
                  </a:lnTo>
                  <a:lnTo>
                    <a:pt x="810" y="288"/>
                  </a:lnTo>
                  <a:lnTo>
                    <a:pt x="816" y="288"/>
                  </a:lnTo>
                  <a:lnTo>
                    <a:pt x="816" y="300"/>
                  </a:lnTo>
                  <a:lnTo>
                    <a:pt x="816" y="306"/>
                  </a:lnTo>
                  <a:lnTo>
                    <a:pt x="822" y="318"/>
                  </a:lnTo>
                  <a:lnTo>
                    <a:pt x="828" y="324"/>
                  </a:lnTo>
                  <a:lnTo>
                    <a:pt x="834" y="330"/>
                  </a:lnTo>
                  <a:lnTo>
                    <a:pt x="846" y="336"/>
                  </a:lnTo>
                  <a:lnTo>
                    <a:pt x="846" y="342"/>
                  </a:lnTo>
                  <a:lnTo>
                    <a:pt x="852" y="348"/>
                  </a:lnTo>
                  <a:lnTo>
                    <a:pt x="852" y="354"/>
                  </a:lnTo>
                  <a:lnTo>
                    <a:pt x="858" y="354"/>
                  </a:lnTo>
                  <a:lnTo>
                    <a:pt x="858" y="348"/>
                  </a:lnTo>
                  <a:lnTo>
                    <a:pt x="864" y="342"/>
                  </a:lnTo>
                  <a:lnTo>
                    <a:pt x="864" y="336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76" y="306"/>
                  </a:lnTo>
                  <a:lnTo>
                    <a:pt x="870" y="300"/>
                  </a:lnTo>
                  <a:lnTo>
                    <a:pt x="870" y="294"/>
                  </a:lnTo>
                  <a:lnTo>
                    <a:pt x="876" y="294"/>
                  </a:lnTo>
                  <a:lnTo>
                    <a:pt x="882" y="300"/>
                  </a:lnTo>
                  <a:lnTo>
                    <a:pt x="888" y="300"/>
                  </a:lnTo>
                  <a:lnTo>
                    <a:pt x="888" y="306"/>
                  </a:lnTo>
                  <a:lnTo>
                    <a:pt x="894" y="300"/>
                  </a:lnTo>
                  <a:lnTo>
                    <a:pt x="900" y="294"/>
                  </a:lnTo>
                  <a:lnTo>
                    <a:pt x="894" y="288"/>
                  </a:lnTo>
                  <a:lnTo>
                    <a:pt x="888" y="282"/>
                  </a:lnTo>
                  <a:lnTo>
                    <a:pt x="888" y="276"/>
                  </a:lnTo>
                  <a:lnTo>
                    <a:pt x="894" y="276"/>
                  </a:lnTo>
                  <a:lnTo>
                    <a:pt x="900" y="276"/>
                  </a:lnTo>
                  <a:lnTo>
                    <a:pt x="900" y="270"/>
                  </a:lnTo>
                  <a:lnTo>
                    <a:pt x="906" y="264"/>
                  </a:lnTo>
                  <a:lnTo>
                    <a:pt x="906" y="258"/>
                  </a:lnTo>
                  <a:lnTo>
                    <a:pt x="918" y="264"/>
                  </a:lnTo>
                  <a:lnTo>
                    <a:pt x="918" y="258"/>
                  </a:lnTo>
                  <a:lnTo>
                    <a:pt x="924" y="252"/>
                  </a:lnTo>
                  <a:lnTo>
                    <a:pt x="930" y="252"/>
                  </a:lnTo>
                  <a:lnTo>
                    <a:pt x="930" y="246"/>
                  </a:lnTo>
                  <a:lnTo>
                    <a:pt x="936" y="234"/>
                  </a:lnTo>
                  <a:lnTo>
                    <a:pt x="942" y="228"/>
                  </a:lnTo>
                  <a:lnTo>
                    <a:pt x="942" y="222"/>
                  </a:lnTo>
                  <a:lnTo>
                    <a:pt x="948" y="222"/>
                  </a:lnTo>
                  <a:lnTo>
                    <a:pt x="948" y="216"/>
                  </a:lnTo>
                  <a:lnTo>
                    <a:pt x="942" y="216"/>
                  </a:lnTo>
                  <a:lnTo>
                    <a:pt x="936" y="216"/>
                  </a:lnTo>
                  <a:lnTo>
                    <a:pt x="936" y="210"/>
                  </a:lnTo>
                  <a:lnTo>
                    <a:pt x="942" y="210"/>
                  </a:lnTo>
                  <a:lnTo>
                    <a:pt x="972" y="210"/>
                  </a:lnTo>
                  <a:lnTo>
                    <a:pt x="1032" y="216"/>
                  </a:lnTo>
                  <a:lnTo>
                    <a:pt x="1068" y="216"/>
                  </a:lnTo>
                  <a:lnTo>
                    <a:pt x="1056" y="234"/>
                  </a:lnTo>
                  <a:lnTo>
                    <a:pt x="1050" y="240"/>
                  </a:lnTo>
                  <a:lnTo>
                    <a:pt x="1044" y="246"/>
                  </a:lnTo>
                  <a:lnTo>
                    <a:pt x="1038" y="246"/>
                  </a:lnTo>
                  <a:lnTo>
                    <a:pt x="1026" y="282"/>
                  </a:lnTo>
                  <a:lnTo>
                    <a:pt x="1032" y="306"/>
                  </a:lnTo>
                  <a:lnTo>
                    <a:pt x="1044" y="324"/>
                  </a:lnTo>
                  <a:lnTo>
                    <a:pt x="1044" y="342"/>
                  </a:lnTo>
                  <a:lnTo>
                    <a:pt x="1062" y="366"/>
                  </a:lnTo>
                  <a:lnTo>
                    <a:pt x="1056" y="396"/>
                  </a:lnTo>
                  <a:lnTo>
                    <a:pt x="1038" y="462"/>
                  </a:lnTo>
                  <a:lnTo>
                    <a:pt x="1038" y="498"/>
                  </a:lnTo>
                  <a:lnTo>
                    <a:pt x="1038" y="522"/>
                  </a:lnTo>
                  <a:lnTo>
                    <a:pt x="1038" y="534"/>
                  </a:lnTo>
                  <a:lnTo>
                    <a:pt x="1056" y="522"/>
                  </a:lnTo>
                  <a:lnTo>
                    <a:pt x="1098" y="504"/>
                  </a:lnTo>
                  <a:lnTo>
                    <a:pt x="1104" y="498"/>
                  </a:lnTo>
                  <a:lnTo>
                    <a:pt x="1128" y="492"/>
                  </a:lnTo>
                  <a:lnTo>
                    <a:pt x="1152" y="480"/>
                  </a:lnTo>
                  <a:lnTo>
                    <a:pt x="1170" y="474"/>
                  </a:lnTo>
                  <a:lnTo>
                    <a:pt x="1188" y="468"/>
                  </a:lnTo>
                  <a:lnTo>
                    <a:pt x="1200" y="462"/>
                  </a:lnTo>
                  <a:lnTo>
                    <a:pt x="1224" y="450"/>
                  </a:lnTo>
                  <a:lnTo>
                    <a:pt x="1248" y="450"/>
                  </a:lnTo>
                  <a:lnTo>
                    <a:pt x="1266" y="450"/>
                  </a:lnTo>
                  <a:lnTo>
                    <a:pt x="1296" y="456"/>
                  </a:lnTo>
                  <a:lnTo>
                    <a:pt x="1308" y="456"/>
                  </a:lnTo>
                  <a:lnTo>
                    <a:pt x="1326" y="456"/>
                  </a:lnTo>
                  <a:lnTo>
                    <a:pt x="1338" y="456"/>
                  </a:lnTo>
                  <a:lnTo>
                    <a:pt x="1350" y="462"/>
                  </a:lnTo>
                  <a:lnTo>
                    <a:pt x="1356" y="462"/>
                  </a:lnTo>
                  <a:lnTo>
                    <a:pt x="1374" y="456"/>
                  </a:lnTo>
                  <a:lnTo>
                    <a:pt x="1386" y="456"/>
                  </a:lnTo>
                  <a:lnTo>
                    <a:pt x="1392" y="456"/>
                  </a:lnTo>
                  <a:lnTo>
                    <a:pt x="1398" y="456"/>
                  </a:lnTo>
                  <a:lnTo>
                    <a:pt x="1422" y="456"/>
                  </a:lnTo>
                  <a:lnTo>
                    <a:pt x="1440" y="456"/>
                  </a:lnTo>
                  <a:lnTo>
                    <a:pt x="1446" y="456"/>
                  </a:lnTo>
                  <a:lnTo>
                    <a:pt x="1476" y="456"/>
                  </a:lnTo>
                  <a:lnTo>
                    <a:pt x="1470" y="468"/>
                  </a:lnTo>
                  <a:lnTo>
                    <a:pt x="1470" y="474"/>
                  </a:lnTo>
                  <a:lnTo>
                    <a:pt x="1470" y="486"/>
                  </a:lnTo>
                  <a:lnTo>
                    <a:pt x="1464" y="492"/>
                  </a:lnTo>
                  <a:lnTo>
                    <a:pt x="1464" y="498"/>
                  </a:lnTo>
                  <a:lnTo>
                    <a:pt x="1458" y="498"/>
                  </a:lnTo>
                  <a:lnTo>
                    <a:pt x="1458" y="510"/>
                  </a:lnTo>
                  <a:lnTo>
                    <a:pt x="1452" y="522"/>
                  </a:lnTo>
                  <a:lnTo>
                    <a:pt x="1458" y="528"/>
                  </a:lnTo>
                  <a:lnTo>
                    <a:pt x="1464" y="546"/>
                  </a:lnTo>
                  <a:lnTo>
                    <a:pt x="1470" y="552"/>
                  </a:lnTo>
                  <a:lnTo>
                    <a:pt x="1476" y="564"/>
                  </a:lnTo>
                  <a:lnTo>
                    <a:pt x="1488" y="588"/>
                  </a:lnTo>
                  <a:lnTo>
                    <a:pt x="1506" y="606"/>
                  </a:lnTo>
                  <a:lnTo>
                    <a:pt x="1506" y="612"/>
                  </a:lnTo>
                  <a:lnTo>
                    <a:pt x="1518" y="618"/>
                  </a:lnTo>
                  <a:lnTo>
                    <a:pt x="1512" y="630"/>
                  </a:lnTo>
                  <a:lnTo>
                    <a:pt x="1518" y="642"/>
                  </a:lnTo>
                  <a:lnTo>
                    <a:pt x="1518" y="648"/>
                  </a:lnTo>
                  <a:lnTo>
                    <a:pt x="1530" y="666"/>
                  </a:lnTo>
                  <a:lnTo>
                    <a:pt x="1518" y="672"/>
                  </a:lnTo>
                  <a:lnTo>
                    <a:pt x="1524" y="696"/>
                  </a:lnTo>
                  <a:lnTo>
                    <a:pt x="1518" y="732"/>
                  </a:lnTo>
                  <a:lnTo>
                    <a:pt x="1524" y="762"/>
                  </a:lnTo>
                  <a:lnTo>
                    <a:pt x="1524" y="780"/>
                  </a:lnTo>
                  <a:lnTo>
                    <a:pt x="1524" y="810"/>
                  </a:lnTo>
                  <a:lnTo>
                    <a:pt x="1530" y="834"/>
                  </a:lnTo>
                  <a:lnTo>
                    <a:pt x="1536" y="846"/>
                  </a:lnTo>
                  <a:lnTo>
                    <a:pt x="1542" y="846"/>
                  </a:lnTo>
                  <a:lnTo>
                    <a:pt x="1584" y="840"/>
                  </a:lnTo>
                  <a:lnTo>
                    <a:pt x="1590" y="846"/>
                  </a:lnTo>
                  <a:lnTo>
                    <a:pt x="1596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90" y="864"/>
                  </a:lnTo>
                  <a:lnTo>
                    <a:pt x="1578" y="882"/>
                  </a:lnTo>
                  <a:lnTo>
                    <a:pt x="1572" y="906"/>
                  </a:lnTo>
                  <a:lnTo>
                    <a:pt x="1560" y="924"/>
                  </a:lnTo>
                  <a:lnTo>
                    <a:pt x="1560" y="936"/>
                  </a:lnTo>
                  <a:lnTo>
                    <a:pt x="1548" y="960"/>
                  </a:lnTo>
                  <a:lnTo>
                    <a:pt x="1542" y="978"/>
                  </a:lnTo>
                  <a:lnTo>
                    <a:pt x="1536" y="990"/>
                  </a:lnTo>
                  <a:lnTo>
                    <a:pt x="1530" y="990"/>
                  </a:lnTo>
                  <a:lnTo>
                    <a:pt x="1506" y="996"/>
                  </a:lnTo>
                  <a:lnTo>
                    <a:pt x="1494" y="1002"/>
                  </a:lnTo>
                  <a:lnTo>
                    <a:pt x="1482" y="1002"/>
                  </a:lnTo>
                  <a:lnTo>
                    <a:pt x="1464" y="1008"/>
                  </a:lnTo>
                  <a:lnTo>
                    <a:pt x="1446" y="1026"/>
                  </a:lnTo>
                  <a:lnTo>
                    <a:pt x="1440" y="1026"/>
                  </a:lnTo>
                  <a:lnTo>
                    <a:pt x="1434" y="1038"/>
                  </a:lnTo>
                  <a:lnTo>
                    <a:pt x="1428" y="1044"/>
                  </a:lnTo>
                  <a:lnTo>
                    <a:pt x="1428" y="1062"/>
                  </a:lnTo>
                  <a:lnTo>
                    <a:pt x="1428" y="1086"/>
                  </a:lnTo>
                  <a:lnTo>
                    <a:pt x="1416" y="1092"/>
                  </a:lnTo>
                  <a:lnTo>
                    <a:pt x="1410" y="1080"/>
                  </a:lnTo>
                  <a:lnTo>
                    <a:pt x="1392" y="10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0" name="Freeform 25">
              <a:extLst>
                <a:ext uri="{FF2B5EF4-FFF2-40B4-BE49-F238E27FC236}">
                  <a16:creationId xmlns:a16="http://schemas.microsoft.com/office/drawing/2014/main" id="{39FDFF90-5ACF-4D65-81AD-C44D2CBE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70228" y="3063559"/>
              <a:ext cx="644023" cy="704498"/>
            </a:xfrm>
            <a:custGeom>
              <a:avLst/>
              <a:gdLst>
                <a:gd name="T0" fmla="*/ 74 w 1212"/>
                <a:gd name="T1" fmla="*/ 113 h 1326"/>
                <a:gd name="T2" fmla="*/ 60 w 1212"/>
                <a:gd name="T3" fmla="*/ 116 h 1326"/>
                <a:gd name="T4" fmla="*/ 62 w 1212"/>
                <a:gd name="T5" fmla="*/ 110 h 1326"/>
                <a:gd name="T6" fmla="*/ 60 w 1212"/>
                <a:gd name="T7" fmla="*/ 105 h 1326"/>
                <a:gd name="T8" fmla="*/ 52 w 1212"/>
                <a:gd name="T9" fmla="*/ 96 h 1326"/>
                <a:gd name="T10" fmla="*/ 47 w 1212"/>
                <a:gd name="T11" fmla="*/ 98 h 1326"/>
                <a:gd name="T12" fmla="*/ 44 w 1212"/>
                <a:gd name="T13" fmla="*/ 93 h 1326"/>
                <a:gd name="T14" fmla="*/ 40 w 1212"/>
                <a:gd name="T15" fmla="*/ 96 h 1326"/>
                <a:gd name="T16" fmla="*/ 35 w 1212"/>
                <a:gd name="T17" fmla="*/ 102 h 1326"/>
                <a:gd name="T18" fmla="*/ 27 w 1212"/>
                <a:gd name="T19" fmla="*/ 100 h 1326"/>
                <a:gd name="T20" fmla="*/ 23 w 1212"/>
                <a:gd name="T21" fmla="*/ 96 h 1326"/>
                <a:gd name="T22" fmla="*/ 20 w 1212"/>
                <a:gd name="T23" fmla="*/ 90 h 1326"/>
                <a:gd name="T24" fmla="*/ 18 w 1212"/>
                <a:gd name="T25" fmla="*/ 89 h 1326"/>
                <a:gd name="T26" fmla="*/ 18 w 1212"/>
                <a:gd name="T27" fmla="*/ 85 h 1326"/>
                <a:gd name="T28" fmla="*/ 19 w 1212"/>
                <a:gd name="T29" fmla="*/ 83 h 1326"/>
                <a:gd name="T30" fmla="*/ 19 w 1212"/>
                <a:gd name="T31" fmla="*/ 82 h 1326"/>
                <a:gd name="T32" fmla="*/ 20 w 1212"/>
                <a:gd name="T33" fmla="*/ 79 h 1326"/>
                <a:gd name="T34" fmla="*/ 19 w 1212"/>
                <a:gd name="T35" fmla="*/ 75 h 1326"/>
                <a:gd name="T36" fmla="*/ 17 w 1212"/>
                <a:gd name="T37" fmla="*/ 77 h 1326"/>
                <a:gd name="T38" fmla="*/ 14 w 1212"/>
                <a:gd name="T39" fmla="*/ 76 h 1326"/>
                <a:gd name="T40" fmla="*/ 12 w 1212"/>
                <a:gd name="T41" fmla="*/ 71 h 1326"/>
                <a:gd name="T42" fmla="*/ 8 w 1212"/>
                <a:gd name="T43" fmla="*/ 69 h 1326"/>
                <a:gd name="T44" fmla="*/ 0 w 1212"/>
                <a:gd name="T45" fmla="*/ 72 h 1326"/>
                <a:gd name="T46" fmla="*/ 2 w 1212"/>
                <a:gd name="T47" fmla="*/ 67 h 1326"/>
                <a:gd name="T48" fmla="*/ 3 w 1212"/>
                <a:gd name="T49" fmla="*/ 61 h 1326"/>
                <a:gd name="T50" fmla="*/ 4 w 1212"/>
                <a:gd name="T51" fmla="*/ 56 h 1326"/>
                <a:gd name="T52" fmla="*/ 4 w 1212"/>
                <a:gd name="T53" fmla="*/ 52 h 1326"/>
                <a:gd name="T54" fmla="*/ 2 w 1212"/>
                <a:gd name="T55" fmla="*/ 47 h 1326"/>
                <a:gd name="T56" fmla="*/ 2 w 1212"/>
                <a:gd name="T57" fmla="*/ 42 h 1326"/>
                <a:gd name="T58" fmla="*/ 5 w 1212"/>
                <a:gd name="T59" fmla="*/ 39 h 1326"/>
                <a:gd name="T60" fmla="*/ 5 w 1212"/>
                <a:gd name="T61" fmla="*/ 35 h 1326"/>
                <a:gd name="T62" fmla="*/ 7 w 1212"/>
                <a:gd name="T63" fmla="*/ 31 h 1326"/>
                <a:gd name="T64" fmla="*/ 14 w 1212"/>
                <a:gd name="T65" fmla="*/ 31 h 1326"/>
                <a:gd name="T66" fmla="*/ 18 w 1212"/>
                <a:gd name="T67" fmla="*/ 27 h 1326"/>
                <a:gd name="T68" fmla="*/ 22 w 1212"/>
                <a:gd name="T69" fmla="*/ 24 h 1326"/>
                <a:gd name="T70" fmla="*/ 27 w 1212"/>
                <a:gd name="T71" fmla="*/ 20 h 1326"/>
                <a:gd name="T72" fmla="*/ 35 w 1212"/>
                <a:gd name="T73" fmla="*/ 21 h 1326"/>
                <a:gd name="T74" fmla="*/ 61 w 1212"/>
                <a:gd name="T75" fmla="*/ 8 h 1326"/>
                <a:gd name="T76" fmla="*/ 73 w 1212"/>
                <a:gd name="T77" fmla="*/ 4 h 1326"/>
                <a:gd name="T78" fmla="*/ 86 w 1212"/>
                <a:gd name="T79" fmla="*/ 12 h 1326"/>
                <a:gd name="T80" fmla="*/ 92 w 1212"/>
                <a:gd name="T81" fmla="*/ 13 h 1326"/>
                <a:gd name="T82" fmla="*/ 86 w 1212"/>
                <a:gd name="T83" fmla="*/ 18 h 1326"/>
                <a:gd name="T84" fmla="*/ 88 w 1212"/>
                <a:gd name="T85" fmla="*/ 33 h 1326"/>
                <a:gd name="T86" fmla="*/ 97 w 1212"/>
                <a:gd name="T87" fmla="*/ 49 h 1326"/>
                <a:gd name="T88" fmla="*/ 102 w 1212"/>
                <a:gd name="T89" fmla="*/ 57 h 1326"/>
                <a:gd name="T90" fmla="*/ 104 w 1212"/>
                <a:gd name="T91" fmla="*/ 67 h 1326"/>
                <a:gd name="T92" fmla="*/ 101 w 1212"/>
                <a:gd name="T93" fmla="*/ 69 h 1326"/>
                <a:gd name="T94" fmla="*/ 97 w 1212"/>
                <a:gd name="T95" fmla="*/ 69 h 1326"/>
                <a:gd name="T96" fmla="*/ 96 w 1212"/>
                <a:gd name="T97" fmla="*/ 71 h 1326"/>
                <a:gd name="T98" fmla="*/ 93 w 1212"/>
                <a:gd name="T99" fmla="*/ 70 h 1326"/>
                <a:gd name="T100" fmla="*/ 86 w 1212"/>
                <a:gd name="T101" fmla="*/ 69 h 1326"/>
                <a:gd name="T102" fmla="*/ 82 w 1212"/>
                <a:gd name="T103" fmla="*/ 73 h 1326"/>
                <a:gd name="T104" fmla="*/ 79 w 1212"/>
                <a:gd name="T105" fmla="*/ 74 h 1326"/>
                <a:gd name="T106" fmla="*/ 78 w 1212"/>
                <a:gd name="T107" fmla="*/ 79 h 1326"/>
                <a:gd name="T108" fmla="*/ 78 w 1212"/>
                <a:gd name="T109" fmla="*/ 83 h 1326"/>
                <a:gd name="T110" fmla="*/ 82 w 1212"/>
                <a:gd name="T111" fmla="*/ 87 h 1326"/>
                <a:gd name="T112" fmla="*/ 83 w 1212"/>
                <a:gd name="T113" fmla="*/ 90 h 1326"/>
                <a:gd name="T114" fmla="*/ 82 w 1212"/>
                <a:gd name="T115" fmla="*/ 94 h 1326"/>
                <a:gd name="T116" fmla="*/ 82 w 1212"/>
                <a:gd name="T117" fmla="*/ 98 h 1326"/>
                <a:gd name="T118" fmla="*/ 82 w 1212"/>
                <a:gd name="T119" fmla="*/ 104 h 1326"/>
                <a:gd name="T120" fmla="*/ 78 w 1212"/>
                <a:gd name="T121" fmla="*/ 110 h 132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12"/>
                <a:gd name="T184" fmla="*/ 0 h 1326"/>
                <a:gd name="T185" fmla="*/ 1212 w 1212"/>
                <a:gd name="T186" fmla="*/ 1326 h 132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12" h="1326">
                  <a:moveTo>
                    <a:pt x="906" y="1290"/>
                  </a:moveTo>
                  <a:lnTo>
                    <a:pt x="906" y="1296"/>
                  </a:lnTo>
                  <a:lnTo>
                    <a:pt x="900" y="1296"/>
                  </a:lnTo>
                  <a:lnTo>
                    <a:pt x="876" y="1290"/>
                  </a:lnTo>
                  <a:lnTo>
                    <a:pt x="870" y="1290"/>
                  </a:lnTo>
                  <a:lnTo>
                    <a:pt x="864" y="1296"/>
                  </a:lnTo>
                  <a:lnTo>
                    <a:pt x="852" y="1296"/>
                  </a:lnTo>
                  <a:lnTo>
                    <a:pt x="840" y="1302"/>
                  </a:lnTo>
                  <a:lnTo>
                    <a:pt x="834" y="1308"/>
                  </a:lnTo>
                  <a:lnTo>
                    <a:pt x="822" y="1320"/>
                  </a:lnTo>
                  <a:lnTo>
                    <a:pt x="816" y="1320"/>
                  </a:lnTo>
                  <a:lnTo>
                    <a:pt x="732" y="1320"/>
                  </a:lnTo>
                  <a:lnTo>
                    <a:pt x="696" y="1320"/>
                  </a:lnTo>
                  <a:lnTo>
                    <a:pt x="690" y="1326"/>
                  </a:lnTo>
                  <a:lnTo>
                    <a:pt x="678" y="1326"/>
                  </a:lnTo>
                  <a:lnTo>
                    <a:pt x="672" y="1308"/>
                  </a:lnTo>
                  <a:lnTo>
                    <a:pt x="696" y="1302"/>
                  </a:lnTo>
                  <a:lnTo>
                    <a:pt x="708" y="1296"/>
                  </a:lnTo>
                  <a:lnTo>
                    <a:pt x="720" y="1284"/>
                  </a:lnTo>
                  <a:lnTo>
                    <a:pt x="714" y="1278"/>
                  </a:lnTo>
                  <a:lnTo>
                    <a:pt x="714" y="1266"/>
                  </a:lnTo>
                  <a:lnTo>
                    <a:pt x="708" y="1260"/>
                  </a:lnTo>
                  <a:lnTo>
                    <a:pt x="708" y="1254"/>
                  </a:lnTo>
                  <a:lnTo>
                    <a:pt x="708" y="1248"/>
                  </a:lnTo>
                  <a:lnTo>
                    <a:pt x="702" y="1236"/>
                  </a:lnTo>
                  <a:lnTo>
                    <a:pt x="702" y="1230"/>
                  </a:lnTo>
                  <a:lnTo>
                    <a:pt x="702" y="1218"/>
                  </a:lnTo>
                  <a:lnTo>
                    <a:pt x="696" y="1200"/>
                  </a:lnTo>
                  <a:lnTo>
                    <a:pt x="696" y="1182"/>
                  </a:lnTo>
                  <a:lnTo>
                    <a:pt x="666" y="1182"/>
                  </a:lnTo>
                  <a:lnTo>
                    <a:pt x="672" y="1134"/>
                  </a:lnTo>
                  <a:lnTo>
                    <a:pt x="666" y="1128"/>
                  </a:lnTo>
                  <a:lnTo>
                    <a:pt x="660" y="1092"/>
                  </a:lnTo>
                  <a:lnTo>
                    <a:pt x="654" y="1098"/>
                  </a:lnTo>
                  <a:lnTo>
                    <a:pt x="594" y="1098"/>
                  </a:lnTo>
                  <a:lnTo>
                    <a:pt x="576" y="1098"/>
                  </a:lnTo>
                  <a:lnTo>
                    <a:pt x="570" y="1104"/>
                  </a:lnTo>
                  <a:lnTo>
                    <a:pt x="564" y="1110"/>
                  </a:lnTo>
                  <a:lnTo>
                    <a:pt x="558" y="1110"/>
                  </a:lnTo>
                  <a:lnTo>
                    <a:pt x="552" y="1110"/>
                  </a:lnTo>
                  <a:lnTo>
                    <a:pt x="546" y="1110"/>
                  </a:lnTo>
                  <a:lnTo>
                    <a:pt x="546" y="1116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10" y="1128"/>
                  </a:lnTo>
                  <a:lnTo>
                    <a:pt x="522" y="1104"/>
                  </a:lnTo>
                  <a:lnTo>
                    <a:pt x="510" y="1098"/>
                  </a:lnTo>
                  <a:lnTo>
                    <a:pt x="510" y="1074"/>
                  </a:lnTo>
                  <a:lnTo>
                    <a:pt x="504" y="1068"/>
                  </a:lnTo>
                  <a:lnTo>
                    <a:pt x="498" y="1068"/>
                  </a:lnTo>
                  <a:lnTo>
                    <a:pt x="492" y="1068"/>
                  </a:lnTo>
                  <a:lnTo>
                    <a:pt x="474" y="1080"/>
                  </a:lnTo>
                  <a:lnTo>
                    <a:pt x="474" y="1086"/>
                  </a:lnTo>
                  <a:lnTo>
                    <a:pt x="474" y="1092"/>
                  </a:lnTo>
                  <a:lnTo>
                    <a:pt x="468" y="1098"/>
                  </a:lnTo>
                  <a:lnTo>
                    <a:pt x="462" y="1104"/>
                  </a:lnTo>
                  <a:lnTo>
                    <a:pt x="456" y="1110"/>
                  </a:lnTo>
                  <a:lnTo>
                    <a:pt x="456" y="1122"/>
                  </a:lnTo>
                  <a:lnTo>
                    <a:pt x="456" y="1128"/>
                  </a:lnTo>
                  <a:lnTo>
                    <a:pt x="450" y="1140"/>
                  </a:lnTo>
                  <a:lnTo>
                    <a:pt x="444" y="1146"/>
                  </a:lnTo>
                  <a:lnTo>
                    <a:pt x="426" y="1170"/>
                  </a:lnTo>
                  <a:lnTo>
                    <a:pt x="408" y="1176"/>
                  </a:lnTo>
                  <a:lnTo>
                    <a:pt x="402" y="1170"/>
                  </a:lnTo>
                  <a:lnTo>
                    <a:pt x="396" y="1170"/>
                  </a:lnTo>
                  <a:lnTo>
                    <a:pt x="396" y="1158"/>
                  </a:lnTo>
                  <a:lnTo>
                    <a:pt x="384" y="1152"/>
                  </a:lnTo>
                  <a:lnTo>
                    <a:pt x="372" y="1140"/>
                  </a:lnTo>
                  <a:lnTo>
                    <a:pt x="354" y="1140"/>
                  </a:lnTo>
                  <a:lnTo>
                    <a:pt x="306" y="1146"/>
                  </a:lnTo>
                  <a:lnTo>
                    <a:pt x="294" y="1134"/>
                  </a:lnTo>
                  <a:lnTo>
                    <a:pt x="294" y="1128"/>
                  </a:lnTo>
                  <a:lnTo>
                    <a:pt x="288" y="1122"/>
                  </a:lnTo>
                  <a:lnTo>
                    <a:pt x="276" y="1122"/>
                  </a:lnTo>
                  <a:lnTo>
                    <a:pt x="276" y="1110"/>
                  </a:lnTo>
                  <a:lnTo>
                    <a:pt x="276" y="1104"/>
                  </a:lnTo>
                  <a:lnTo>
                    <a:pt x="270" y="1098"/>
                  </a:lnTo>
                  <a:lnTo>
                    <a:pt x="264" y="1086"/>
                  </a:lnTo>
                  <a:lnTo>
                    <a:pt x="264" y="1074"/>
                  </a:lnTo>
                  <a:lnTo>
                    <a:pt x="258" y="1068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34" y="1038"/>
                  </a:lnTo>
                  <a:lnTo>
                    <a:pt x="228" y="1038"/>
                  </a:lnTo>
                  <a:lnTo>
                    <a:pt x="222" y="1038"/>
                  </a:lnTo>
                  <a:lnTo>
                    <a:pt x="216" y="1038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0"/>
                  </a:lnTo>
                  <a:lnTo>
                    <a:pt x="204" y="1014"/>
                  </a:lnTo>
                  <a:lnTo>
                    <a:pt x="204" y="1008"/>
                  </a:lnTo>
                  <a:lnTo>
                    <a:pt x="198" y="1002"/>
                  </a:lnTo>
                  <a:lnTo>
                    <a:pt x="198" y="996"/>
                  </a:lnTo>
                  <a:lnTo>
                    <a:pt x="198" y="990"/>
                  </a:lnTo>
                  <a:lnTo>
                    <a:pt x="204" y="990"/>
                  </a:lnTo>
                  <a:lnTo>
                    <a:pt x="204" y="984"/>
                  </a:lnTo>
                  <a:lnTo>
                    <a:pt x="210" y="978"/>
                  </a:lnTo>
                  <a:lnTo>
                    <a:pt x="210" y="972"/>
                  </a:lnTo>
                  <a:lnTo>
                    <a:pt x="210" y="966"/>
                  </a:lnTo>
                  <a:lnTo>
                    <a:pt x="216" y="960"/>
                  </a:lnTo>
                  <a:lnTo>
                    <a:pt x="216" y="954"/>
                  </a:lnTo>
                  <a:lnTo>
                    <a:pt x="210" y="954"/>
                  </a:lnTo>
                  <a:lnTo>
                    <a:pt x="204" y="954"/>
                  </a:lnTo>
                  <a:lnTo>
                    <a:pt x="216" y="954"/>
                  </a:lnTo>
                  <a:lnTo>
                    <a:pt x="216" y="948"/>
                  </a:lnTo>
                  <a:lnTo>
                    <a:pt x="210" y="948"/>
                  </a:lnTo>
                  <a:lnTo>
                    <a:pt x="210" y="942"/>
                  </a:lnTo>
                  <a:lnTo>
                    <a:pt x="216" y="942"/>
                  </a:lnTo>
                  <a:lnTo>
                    <a:pt x="222" y="942"/>
                  </a:lnTo>
                  <a:lnTo>
                    <a:pt x="222" y="936"/>
                  </a:lnTo>
                  <a:lnTo>
                    <a:pt x="216" y="936"/>
                  </a:lnTo>
                  <a:lnTo>
                    <a:pt x="210" y="936"/>
                  </a:lnTo>
                  <a:lnTo>
                    <a:pt x="210" y="930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22" y="918"/>
                  </a:lnTo>
                  <a:lnTo>
                    <a:pt x="228" y="912"/>
                  </a:lnTo>
                  <a:lnTo>
                    <a:pt x="228" y="906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2" y="888"/>
                  </a:lnTo>
                  <a:lnTo>
                    <a:pt x="222" y="882"/>
                  </a:lnTo>
                  <a:lnTo>
                    <a:pt x="222" y="876"/>
                  </a:lnTo>
                  <a:lnTo>
                    <a:pt x="222" y="858"/>
                  </a:lnTo>
                  <a:lnTo>
                    <a:pt x="216" y="858"/>
                  </a:lnTo>
                  <a:lnTo>
                    <a:pt x="216" y="852"/>
                  </a:lnTo>
                  <a:lnTo>
                    <a:pt x="210" y="852"/>
                  </a:lnTo>
                  <a:lnTo>
                    <a:pt x="210" y="840"/>
                  </a:lnTo>
                  <a:lnTo>
                    <a:pt x="198" y="840"/>
                  </a:lnTo>
                  <a:lnTo>
                    <a:pt x="198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0" y="894"/>
                  </a:lnTo>
                  <a:lnTo>
                    <a:pt x="180" y="906"/>
                  </a:lnTo>
                  <a:lnTo>
                    <a:pt x="156" y="912"/>
                  </a:lnTo>
                  <a:lnTo>
                    <a:pt x="156" y="894"/>
                  </a:lnTo>
                  <a:lnTo>
                    <a:pt x="156" y="882"/>
                  </a:lnTo>
                  <a:lnTo>
                    <a:pt x="156" y="876"/>
                  </a:lnTo>
                  <a:lnTo>
                    <a:pt x="150" y="876"/>
                  </a:lnTo>
                  <a:lnTo>
                    <a:pt x="144" y="876"/>
                  </a:lnTo>
                  <a:lnTo>
                    <a:pt x="138" y="870"/>
                  </a:lnTo>
                  <a:lnTo>
                    <a:pt x="132" y="864"/>
                  </a:lnTo>
                  <a:lnTo>
                    <a:pt x="138" y="840"/>
                  </a:lnTo>
                  <a:lnTo>
                    <a:pt x="132" y="840"/>
                  </a:lnTo>
                  <a:lnTo>
                    <a:pt x="138" y="810"/>
                  </a:lnTo>
                  <a:lnTo>
                    <a:pt x="144" y="804"/>
                  </a:lnTo>
                  <a:lnTo>
                    <a:pt x="144" y="798"/>
                  </a:lnTo>
                  <a:lnTo>
                    <a:pt x="156" y="798"/>
                  </a:lnTo>
                  <a:lnTo>
                    <a:pt x="156" y="792"/>
                  </a:lnTo>
                  <a:lnTo>
                    <a:pt x="120" y="792"/>
                  </a:lnTo>
                  <a:lnTo>
                    <a:pt x="108" y="786"/>
                  </a:lnTo>
                  <a:lnTo>
                    <a:pt x="96" y="786"/>
                  </a:lnTo>
                  <a:lnTo>
                    <a:pt x="96" y="780"/>
                  </a:lnTo>
                  <a:lnTo>
                    <a:pt x="78" y="780"/>
                  </a:lnTo>
                  <a:lnTo>
                    <a:pt x="72" y="804"/>
                  </a:lnTo>
                  <a:lnTo>
                    <a:pt x="60" y="816"/>
                  </a:lnTo>
                  <a:lnTo>
                    <a:pt x="36" y="828"/>
                  </a:lnTo>
                  <a:lnTo>
                    <a:pt x="18" y="840"/>
                  </a:lnTo>
                  <a:lnTo>
                    <a:pt x="0" y="822"/>
                  </a:lnTo>
                  <a:lnTo>
                    <a:pt x="6" y="816"/>
                  </a:lnTo>
                  <a:lnTo>
                    <a:pt x="12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18" y="786"/>
                  </a:lnTo>
                  <a:lnTo>
                    <a:pt x="24" y="780"/>
                  </a:lnTo>
                  <a:lnTo>
                    <a:pt x="24" y="768"/>
                  </a:lnTo>
                  <a:lnTo>
                    <a:pt x="24" y="762"/>
                  </a:lnTo>
                  <a:lnTo>
                    <a:pt x="24" y="750"/>
                  </a:lnTo>
                  <a:lnTo>
                    <a:pt x="36" y="714"/>
                  </a:lnTo>
                  <a:lnTo>
                    <a:pt x="36" y="708"/>
                  </a:lnTo>
                  <a:lnTo>
                    <a:pt x="42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6" y="690"/>
                  </a:lnTo>
                  <a:lnTo>
                    <a:pt x="42" y="684"/>
                  </a:lnTo>
                  <a:lnTo>
                    <a:pt x="42" y="672"/>
                  </a:lnTo>
                  <a:lnTo>
                    <a:pt x="42" y="666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48" y="648"/>
                  </a:lnTo>
                  <a:lnTo>
                    <a:pt x="54" y="642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54" y="612"/>
                  </a:lnTo>
                  <a:lnTo>
                    <a:pt x="48" y="606"/>
                  </a:lnTo>
                  <a:lnTo>
                    <a:pt x="48" y="600"/>
                  </a:lnTo>
                  <a:lnTo>
                    <a:pt x="42" y="600"/>
                  </a:lnTo>
                  <a:lnTo>
                    <a:pt x="36" y="594"/>
                  </a:lnTo>
                  <a:lnTo>
                    <a:pt x="36" y="588"/>
                  </a:lnTo>
                  <a:lnTo>
                    <a:pt x="30" y="582"/>
                  </a:lnTo>
                  <a:lnTo>
                    <a:pt x="30" y="570"/>
                  </a:lnTo>
                  <a:lnTo>
                    <a:pt x="18" y="552"/>
                  </a:lnTo>
                  <a:lnTo>
                    <a:pt x="18" y="546"/>
                  </a:lnTo>
                  <a:lnTo>
                    <a:pt x="18" y="540"/>
                  </a:lnTo>
                  <a:lnTo>
                    <a:pt x="18" y="528"/>
                  </a:lnTo>
                  <a:lnTo>
                    <a:pt x="18" y="522"/>
                  </a:lnTo>
                  <a:lnTo>
                    <a:pt x="24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30" y="474"/>
                  </a:lnTo>
                  <a:lnTo>
                    <a:pt x="36" y="474"/>
                  </a:lnTo>
                  <a:lnTo>
                    <a:pt x="42" y="468"/>
                  </a:lnTo>
                  <a:lnTo>
                    <a:pt x="48" y="468"/>
                  </a:lnTo>
                  <a:lnTo>
                    <a:pt x="48" y="462"/>
                  </a:lnTo>
                  <a:lnTo>
                    <a:pt x="48" y="456"/>
                  </a:lnTo>
                  <a:lnTo>
                    <a:pt x="54" y="450"/>
                  </a:lnTo>
                  <a:lnTo>
                    <a:pt x="60" y="438"/>
                  </a:lnTo>
                  <a:lnTo>
                    <a:pt x="54" y="438"/>
                  </a:lnTo>
                  <a:lnTo>
                    <a:pt x="54" y="432"/>
                  </a:ln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54" y="402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6" y="384"/>
                  </a:lnTo>
                  <a:lnTo>
                    <a:pt x="72" y="372"/>
                  </a:lnTo>
                  <a:lnTo>
                    <a:pt x="78" y="366"/>
                  </a:lnTo>
                  <a:lnTo>
                    <a:pt x="84" y="360"/>
                  </a:lnTo>
                  <a:lnTo>
                    <a:pt x="102" y="360"/>
                  </a:lnTo>
                  <a:lnTo>
                    <a:pt x="114" y="36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8" y="360"/>
                  </a:lnTo>
                  <a:lnTo>
                    <a:pt x="156" y="360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74" y="342"/>
                  </a:lnTo>
                  <a:lnTo>
                    <a:pt x="180" y="342"/>
                  </a:lnTo>
                  <a:lnTo>
                    <a:pt x="186" y="336"/>
                  </a:lnTo>
                  <a:lnTo>
                    <a:pt x="192" y="330"/>
                  </a:lnTo>
                  <a:lnTo>
                    <a:pt x="204" y="312"/>
                  </a:lnTo>
                  <a:lnTo>
                    <a:pt x="210" y="312"/>
                  </a:lnTo>
                  <a:lnTo>
                    <a:pt x="216" y="306"/>
                  </a:lnTo>
                  <a:lnTo>
                    <a:pt x="216" y="300"/>
                  </a:lnTo>
                  <a:lnTo>
                    <a:pt x="222" y="288"/>
                  </a:lnTo>
                  <a:lnTo>
                    <a:pt x="234" y="288"/>
                  </a:lnTo>
                  <a:lnTo>
                    <a:pt x="240" y="282"/>
                  </a:lnTo>
                  <a:lnTo>
                    <a:pt x="246" y="282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70" y="270"/>
                  </a:lnTo>
                  <a:lnTo>
                    <a:pt x="276" y="264"/>
                  </a:lnTo>
                  <a:lnTo>
                    <a:pt x="282" y="26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8" y="234"/>
                  </a:lnTo>
                  <a:lnTo>
                    <a:pt x="330" y="234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72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14" y="240"/>
                  </a:lnTo>
                  <a:lnTo>
                    <a:pt x="444" y="216"/>
                  </a:lnTo>
                  <a:lnTo>
                    <a:pt x="480" y="204"/>
                  </a:lnTo>
                  <a:lnTo>
                    <a:pt x="600" y="150"/>
                  </a:lnTo>
                  <a:lnTo>
                    <a:pt x="648" y="126"/>
                  </a:lnTo>
                  <a:lnTo>
                    <a:pt x="702" y="96"/>
                  </a:lnTo>
                  <a:lnTo>
                    <a:pt x="708" y="54"/>
                  </a:lnTo>
                  <a:lnTo>
                    <a:pt x="720" y="24"/>
                  </a:lnTo>
                  <a:lnTo>
                    <a:pt x="738" y="12"/>
                  </a:lnTo>
                  <a:lnTo>
                    <a:pt x="768" y="0"/>
                  </a:lnTo>
                  <a:lnTo>
                    <a:pt x="792" y="6"/>
                  </a:lnTo>
                  <a:lnTo>
                    <a:pt x="804" y="12"/>
                  </a:lnTo>
                  <a:lnTo>
                    <a:pt x="834" y="48"/>
                  </a:lnTo>
                  <a:lnTo>
                    <a:pt x="834" y="60"/>
                  </a:lnTo>
                  <a:lnTo>
                    <a:pt x="852" y="84"/>
                  </a:lnTo>
                  <a:lnTo>
                    <a:pt x="864" y="96"/>
                  </a:lnTo>
                  <a:lnTo>
                    <a:pt x="888" y="102"/>
                  </a:lnTo>
                  <a:lnTo>
                    <a:pt x="978" y="120"/>
                  </a:lnTo>
                  <a:lnTo>
                    <a:pt x="984" y="126"/>
                  </a:lnTo>
                  <a:lnTo>
                    <a:pt x="984" y="132"/>
                  </a:lnTo>
                  <a:lnTo>
                    <a:pt x="996" y="138"/>
                  </a:lnTo>
                  <a:lnTo>
                    <a:pt x="1038" y="126"/>
                  </a:lnTo>
                  <a:lnTo>
                    <a:pt x="1056" y="114"/>
                  </a:lnTo>
                  <a:lnTo>
                    <a:pt x="1068" y="126"/>
                  </a:lnTo>
                  <a:lnTo>
                    <a:pt x="1074" y="132"/>
                  </a:lnTo>
                  <a:lnTo>
                    <a:pt x="1068" y="138"/>
                  </a:lnTo>
                  <a:lnTo>
                    <a:pt x="1056" y="150"/>
                  </a:lnTo>
                  <a:lnTo>
                    <a:pt x="1038" y="162"/>
                  </a:lnTo>
                  <a:lnTo>
                    <a:pt x="1038" y="168"/>
                  </a:lnTo>
                  <a:lnTo>
                    <a:pt x="1020" y="174"/>
                  </a:lnTo>
                  <a:lnTo>
                    <a:pt x="1014" y="180"/>
                  </a:lnTo>
                  <a:lnTo>
                    <a:pt x="1008" y="186"/>
                  </a:lnTo>
                  <a:lnTo>
                    <a:pt x="1002" y="198"/>
                  </a:lnTo>
                  <a:lnTo>
                    <a:pt x="984" y="204"/>
                  </a:lnTo>
                  <a:lnTo>
                    <a:pt x="984" y="246"/>
                  </a:lnTo>
                  <a:lnTo>
                    <a:pt x="978" y="270"/>
                  </a:lnTo>
                  <a:lnTo>
                    <a:pt x="990" y="306"/>
                  </a:lnTo>
                  <a:lnTo>
                    <a:pt x="990" y="324"/>
                  </a:lnTo>
                  <a:lnTo>
                    <a:pt x="1002" y="336"/>
                  </a:lnTo>
                  <a:lnTo>
                    <a:pt x="1020" y="372"/>
                  </a:lnTo>
                  <a:lnTo>
                    <a:pt x="1014" y="378"/>
                  </a:lnTo>
                  <a:lnTo>
                    <a:pt x="1014" y="384"/>
                  </a:lnTo>
                  <a:lnTo>
                    <a:pt x="1020" y="384"/>
                  </a:lnTo>
                  <a:lnTo>
                    <a:pt x="1020" y="396"/>
                  </a:lnTo>
                  <a:lnTo>
                    <a:pt x="1062" y="468"/>
                  </a:lnTo>
                  <a:lnTo>
                    <a:pt x="1092" y="522"/>
                  </a:lnTo>
                  <a:lnTo>
                    <a:pt x="1110" y="546"/>
                  </a:lnTo>
                  <a:lnTo>
                    <a:pt x="1122" y="564"/>
                  </a:lnTo>
                  <a:lnTo>
                    <a:pt x="1134" y="576"/>
                  </a:lnTo>
                  <a:lnTo>
                    <a:pt x="1146" y="582"/>
                  </a:lnTo>
                  <a:lnTo>
                    <a:pt x="1146" y="588"/>
                  </a:lnTo>
                  <a:lnTo>
                    <a:pt x="1164" y="600"/>
                  </a:lnTo>
                  <a:lnTo>
                    <a:pt x="1170" y="612"/>
                  </a:lnTo>
                  <a:lnTo>
                    <a:pt x="1170" y="624"/>
                  </a:lnTo>
                  <a:lnTo>
                    <a:pt x="1176" y="654"/>
                  </a:lnTo>
                  <a:lnTo>
                    <a:pt x="1176" y="666"/>
                  </a:lnTo>
                  <a:lnTo>
                    <a:pt x="1182" y="684"/>
                  </a:lnTo>
                  <a:lnTo>
                    <a:pt x="1194" y="696"/>
                  </a:lnTo>
                  <a:lnTo>
                    <a:pt x="1212" y="696"/>
                  </a:lnTo>
                  <a:lnTo>
                    <a:pt x="1206" y="762"/>
                  </a:lnTo>
                  <a:lnTo>
                    <a:pt x="1200" y="768"/>
                  </a:lnTo>
                  <a:lnTo>
                    <a:pt x="1194" y="768"/>
                  </a:lnTo>
                  <a:lnTo>
                    <a:pt x="1194" y="774"/>
                  </a:lnTo>
                  <a:lnTo>
                    <a:pt x="1188" y="774"/>
                  </a:lnTo>
                  <a:lnTo>
                    <a:pt x="1182" y="780"/>
                  </a:lnTo>
                  <a:lnTo>
                    <a:pt x="1176" y="780"/>
                  </a:lnTo>
                  <a:lnTo>
                    <a:pt x="1170" y="780"/>
                  </a:lnTo>
                  <a:lnTo>
                    <a:pt x="1164" y="786"/>
                  </a:lnTo>
                  <a:lnTo>
                    <a:pt x="1158" y="786"/>
                  </a:lnTo>
                  <a:lnTo>
                    <a:pt x="1152" y="786"/>
                  </a:lnTo>
                  <a:lnTo>
                    <a:pt x="1140" y="786"/>
                  </a:lnTo>
                  <a:lnTo>
                    <a:pt x="1134" y="786"/>
                  </a:lnTo>
                  <a:lnTo>
                    <a:pt x="1134" y="780"/>
                  </a:lnTo>
                  <a:lnTo>
                    <a:pt x="1122" y="780"/>
                  </a:lnTo>
                  <a:lnTo>
                    <a:pt x="1116" y="786"/>
                  </a:lnTo>
                  <a:lnTo>
                    <a:pt x="1116" y="792"/>
                  </a:lnTo>
                  <a:lnTo>
                    <a:pt x="1122" y="804"/>
                  </a:lnTo>
                  <a:lnTo>
                    <a:pt x="1128" y="804"/>
                  </a:lnTo>
                  <a:lnTo>
                    <a:pt x="1128" y="816"/>
                  </a:lnTo>
                  <a:lnTo>
                    <a:pt x="1122" y="822"/>
                  </a:lnTo>
                  <a:lnTo>
                    <a:pt x="1116" y="816"/>
                  </a:lnTo>
                  <a:lnTo>
                    <a:pt x="1110" y="816"/>
                  </a:lnTo>
                  <a:lnTo>
                    <a:pt x="1104" y="816"/>
                  </a:lnTo>
                  <a:lnTo>
                    <a:pt x="1098" y="816"/>
                  </a:lnTo>
                  <a:lnTo>
                    <a:pt x="1098" y="822"/>
                  </a:lnTo>
                  <a:lnTo>
                    <a:pt x="1092" y="834"/>
                  </a:lnTo>
                  <a:lnTo>
                    <a:pt x="1092" y="840"/>
                  </a:lnTo>
                  <a:lnTo>
                    <a:pt x="1074" y="840"/>
                  </a:lnTo>
                  <a:lnTo>
                    <a:pt x="1074" y="828"/>
                  </a:lnTo>
                  <a:lnTo>
                    <a:pt x="1062" y="804"/>
                  </a:lnTo>
                  <a:lnTo>
                    <a:pt x="1056" y="792"/>
                  </a:lnTo>
                  <a:lnTo>
                    <a:pt x="1056" y="786"/>
                  </a:lnTo>
                  <a:lnTo>
                    <a:pt x="1026" y="780"/>
                  </a:lnTo>
                  <a:lnTo>
                    <a:pt x="1026" y="768"/>
                  </a:lnTo>
                  <a:lnTo>
                    <a:pt x="1008" y="768"/>
                  </a:lnTo>
                  <a:lnTo>
                    <a:pt x="1002" y="780"/>
                  </a:lnTo>
                  <a:lnTo>
                    <a:pt x="996" y="792"/>
                  </a:lnTo>
                  <a:lnTo>
                    <a:pt x="978" y="798"/>
                  </a:lnTo>
                  <a:lnTo>
                    <a:pt x="972" y="810"/>
                  </a:lnTo>
                  <a:lnTo>
                    <a:pt x="972" y="822"/>
                  </a:lnTo>
                  <a:lnTo>
                    <a:pt x="978" y="828"/>
                  </a:lnTo>
                  <a:lnTo>
                    <a:pt x="978" y="834"/>
                  </a:lnTo>
                  <a:lnTo>
                    <a:pt x="960" y="840"/>
                  </a:lnTo>
                  <a:lnTo>
                    <a:pt x="936" y="840"/>
                  </a:lnTo>
                  <a:lnTo>
                    <a:pt x="918" y="846"/>
                  </a:lnTo>
                  <a:lnTo>
                    <a:pt x="912" y="840"/>
                  </a:lnTo>
                  <a:lnTo>
                    <a:pt x="912" y="834"/>
                  </a:lnTo>
                  <a:lnTo>
                    <a:pt x="906" y="834"/>
                  </a:lnTo>
                  <a:lnTo>
                    <a:pt x="906" y="840"/>
                  </a:lnTo>
                  <a:lnTo>
                    <a:pt x="900" y="846"/>
                  </a:lnTo>
                  <a:lnTo>
                    <a:pt x="906" y="852"/>
                  </a:lnTo>
                  <a:lnTo>
                    <a:pt x="900" y="864"/>
                  </a:lnTo>
                  <a:lnTo>
                    <a:pt x="900" y="876"/>
                  </a:lnTo>
                  <a:lnTo>
                    <a:pt x="900" y="882"/>
                  </a:lnTo>
                  <a:lnTo>
                    <a:pt x="894" y="888"/>
                  </a:lnTo>
                  <a:lnTo>
                    <a:pt x="900" y="900"/>
                  </a:lnTo>
                  <a:lnTo>
                    <a:pt x="900" y="906"/>
                  </a:lnTo>
                  <a:lnTo>
                    <a:pt x="894" y="906"/>
                  </a:lnTo>
                  <a:lnTo>
                    <a:pt x="894" y="912"/>
                  </a:lnTo>
                  <a:lnTo>
                    <a:pt x="900" y="918"/>
                  </a:lnTo>
                  <a:lnTo>
                    <a:pt x="900" y="924"/>
                  </a:lnTo>
                  <a:lnTo>
                    <a:pt x="900" y="948"/>
                  </a:lnTo>
                  <a:lnTo>
                    <a:pt x="888" y="948"/>
                  </a:lnTo>
                  <a:lnTo>
                    <a:pt x="888" y="954"/>
                  </a:lnTo>
                  <a:lnTo>
                    <a:pt x="894" y="954"/>
                  </a:lnTo>
                  <a:lnTo>
                    <a:pt x="900" y="960"/>
                  </a:lnTo>
                  <a:lnTo>
                    <a:pt x="900" y="972"/>
                  </a:lnTo>
                  <a:lnTo>
                    <a:pt x="906" y="984"/>
                  </a:lnTo>
                  <a:lnTo>
                    <a:pt x="912" y="984"/>
                  </a:lnTo>
                  <a:lnTo>
                    <a:pt x="918" y="990"/>
                  </a:lnTo>
                  <a:lnTo>
                    <a:pt x="936" y="990"/>
                  </a:lnTo>
                  <a:lnTo>
                    <a:pt x="936" y="996"/>
                  </a:lnTo>
                  <a:lnTo>
                    <a:pt x="942" y="996"/>
                  </a:lnTo>
                  <a:lnTo>
                    <a:pt x="942" y="1002"/>
                  </a:lnTo>
                  <a:lnTo>
                    <a:pt x="942" y="1008"/>
                  </a:lnTo>
                  <a:lnTo>
                    <a:pt x="948" y="1008"/>
                  </a:lnTo>
                  <a:lnTo>
                    <a:pt x="948" y="1014"/>
                  </a:lnTo>
                  <a:lnTo>
                    <a:pt x="948" y="1020"/>
                  </a:lnTo>
                  <a:lnTo>
                    <a:pt x="954" y="1032"/>
                  </a:lnTo>
                  <a:lnTo>
                    <a:pt x="948" y="1038"/>
                  </a:lnTo>
                  <a:lnTo>
                    <a:pt x="954" y="1044"/>
                  </a:lnTo>
                  <a:lnTo>
                    <a:pt x="954" y="1056"/>
                  </a:lnTo>
                  <a:lnTo>
                    <a:pt x="960" y="1056"/>
                  </a:lnTo>
                  <a:lnTo>
                    <a:pt x="960" y="1062"/>
                  </a:lnTo>
                  <a:lnTo>
                    <a:pt x="954" y="1068"/>
                  </a:lnTo>
                  <a:lnTo>
                    <a:pt x="948" y="1074"/>
                  </a:lnTo>
                  <a:lnTo>
                    <a:pt x="948" y="1080"/>
                  </a:lnTo>
                  <a:lnTo>
                    <a:pt x="948" y="1086"/>
                  </a:lnTo>
                  <a:lnTo>
                    <a:pt x="942" y="1092"/>
                  </a:lnTo>
                  <a:lnTo>
                    <a:pt x="942" y="1098"/>
                  </a:lnTo>
                  <a:lnTo>
                    <a:pt x="942" y="1104"/>
                  </a:lnTo>
                  <a:lnTo>
                    <a:pt x="942" y="1110"/>
                  </a:lnTo>
                  <a:lnTo>
                    <a:pt x="936" y="1116"/>
                  </a:lnTo>
                  <a:lnTo>
                    <a:pt x="936" y="1122"/>
                  </a:lnTo>
                  <a:lnTo>
                    <a:pt x="936" y="1128"/>
                  </a:lnTo>
                  <a:lnTo>
                    <a:pt x="936" y="1134"/>
                  </a:lnTo>
                  <a:lnTo>
                    <a:pt x="942" y="1146"/>
                  </a:lnTo>
                  <a:lnTo>
                    <a:pt x="936" y="1158"/>
                  </a:lnTo>
                  <a:lnTo>
                    <a:pt x="936" y="1170"/>
                  </a:lnTo>
                  <a:lnTo>
                    <a:pt x="936" y="1194"/>
                  </a:lnTo>
                  <a:lnTo>
                    <a:pt x="930" y="1200"/>
                  </a:lnTo>
                  <a:lnTo>
                    <a:pt x="930" y="1212"/>
                  </a:lnTo>
                  <a:lnTo>
                    <a:pt x="918" y="1218"/>
                  </a:lnTo>
                  <a:lnTo>
                    <a:pt x="918" y="1230"/>
                  </a:lnTo>
                  <a:lnTo>
                    <a:pt x="906" y="1230"/>
                  </a:lnTo>
                  <a:lnTo>
                    <a:pt x="900" y="1254"/>
                  </a:lnTo>
                  <a:lnTo>
                    <a:pt x="900" y="1260"/>
                  </a:lnTo>
                  <a:lnTo>
                    <a:pt x="900" y="1266"/>
                  </a:lnTo>
                  <a:lnTo>
                    <a:pt x="900" y="1272"/>
                  </a:lnTo>
                  <a:lnTo>
                    <a:pt x="900" y="1278"/>
                  </a:lnTo>
                  <a:lnTo>
                    <a:pt x="900" y="1284"/>
                  </a:lnTo>
                  <a:lnTo>
                    <a:pt x="906" y="129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1" name="Freeform 26">
              <a:extLst>
                <a:ext uri="{FF2B5EF4-FFF2-40B4-BE49-F238E27FC236}">
                  <a16:creationId xmlns:a16="http://schemas.microsoft.com/office/drawing/2014/main" id="{25725EFE-FE00-49A8-A87A-6752B785C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79173" y="3477313"/>
              <a:ext cx="650731" cy="559125"/>
            </a:xfrm>
            <a:custGeom>
              <a:avLst/>
              <a:gdLst>
                <a:gd name="T0" fmla="*/ 95 w 1224"/>
                <a:gd name="T1" fmla="*/ 89 h 1050"/>
                <a:gd name="T2" fmla="*/ 90 w 1224"/>
                <a:gd name="T3" fmla="*/ 84 h 1050"/>
                <a:gd name="T4" fmla="*/ 84 w 1224"/>
                <a:gd name="T5" fmla="*/ 83 h 1050"/>
                <a:gd name="T6" fmla="*/ 82 w 1224"/>
                <a:gd name="T7" fmla="*/ 80 h 1050"/>
                <a:gd name="T8" fmla="*/ 85 w 1224"/>
                <a:gd name="T9" fmla="*/ 77 h 1050"/>
                <a:gd name="T10" fmla="*/ 81 w 1224"/>
                <a:gd name="T11" fmla="*/ 76 h 1050"/>
                <a:gd name="T12" fmla="*/ 77 w 1224"/>
                <a:gd name="T13" fmla="*/ 77 h 1050"/>
                <a:gd name="T14" fmla="*/ 78 w 1224"/>
                <a:gd name="T15" fmla="*/ 73 h 1050"/>
                <a:gd name="T16" fmla="*/ 59 w 1224"/>
                <a:gd name="T17" fmla="*/ 71 h 1050"/>
                <a:gd name="T18" fmla="*/ 41 w 1224"/>
                <a:gd name="T19" fmla="*/ 73 h 1050"/>
                <a:gd name="T20" fmla="*/ 33 w 1224"/>
                <a:gd name="T21" fmla="*/ 71 h 1050"/>
                <a:gd name="T22" fmla="*/ 30 w 1224"/>
                <a:gd name="T23" fmla="*/ 75 h 1050"/>
                <a:gd name="T24" fmla="*/ 27 w 1224"/>
                <a:gd name="T25" fmla="*/ 80 h 1050"/>
                <a:gd name="T26" fmla="*/ 12 w 1224"/>
                <a:gd name="T27" fmla="*/ 81 h 1050"/>
                <a:gd name="T28" fmla="*/ 9 w 1224"/>
                <a:gd name="T29" fmla="*/ 84 h 1050"/>
                <a:gd name="T30" fmla="*/ 6 w 1224"/>
                <a:gd name="T31" fmla="*/ 83 h 1050"/>
                <a:gd name="T32" fmla="*/ 1 w 1224"/>
                <a:gd name="T33" fmla="*/ 83 h 1050"/>
                <a:gd name="T34" fmla="*/ 3 w 1224"/>
                <a:gd name="T35" fmla="*/ 77 h 1050"/>
                <a:gd name="T36" fmla="*/ 5 w 1224"/>
                <a:gd name="T37" fmla="*/ 70 h 1050"/>
                <a:gd name="T38" fmla="*/ 2 w 1224"/>
                <a:gd name="T39" fmla="*/ 65 h 1050"/>
                <a:gd name="T40" fmla="*/ 3 w 1224"/>
                <a:gd name="T41" fmla="*/ 58 h 1050"/>
                <a:gd name="T42" fmla="*/ 4 w 1224"/>
                <a:gd name="T43" fmla="*/ 51 h 1050"/>
                <a:gd name="T44" fmla="*/ 3 w 1224"/>
                <a:gd name="T45" fmla="*/ 47 h 1050"/>
                <a:gd name="T46" fmla="*/ 4 w 1224"/>
                <a:gd name="T47" fmla="*/ 39 h 1050"/>
                <a:gd name="T48" fmla="*/ 6 w 1224"/>
                <a:gd name="T49" fmla="*/ 29 h 1050"/>
                <a:gd name="T50" fmla="*/ 3 w 1224"/>
                <a:gd name="T51" fmla="*/ 22 h 1050"/>
                <a:gd name="T52" fmla="*/ 2 w 1224"/>
                <a:gd name="T53" fmla="*/ 14 h 1050"/>
                <a:gd name="T54" fmla="*/ 0 w 1224"/>
                <a:gd name="T55" fmla="*/ 6 h 1050"/>
                <a:gd name="T56" fmla="*/ 9 w 1224"/>
                <a:gd name="T57" fmla="*/ 1 h 1050"/>
                <a:gd name="T58" fmla="*/ 11 w 1224"/>
                <a:gd name="T59" fmla="*/ 8 h 1050"/>
                <a:gd name="T60" fmla="*/ 15 w 1224"/>
                <a:gd name="T61" fmla="*/ 9 h 1050"/>
                <a:gd name="T62" fmla="*/ 18 w 1224"/>
                <a:gd name="T63" fmla="*/ 8 h 1050"/>
                <a:gd name="T64" fmla="*/ 18 w 1224"/>
                <a:gd name="T65" fmla="*/ 13 h 1050"/>
                <a:gd name="T66" fmla="*/ 17 w 1224"/>
                <a:gd name="T67" fmla="*/ 15 h 1050"/>
                <a:gd name="T68" fmla="*/ 17 w 1224"/>
                <a:gd name="T69" fmla="*/ 17 h 1050"/>
                <a:gd name="T70" fmla="*/ 17 w 1224"/>
                <a:gd name="T71" fmla="*/ 21 h 1050"/>
                <a:gd name="T72" fmla="*/ 21 w 1224"/>
                <a:gd name="T73" fmla="*/ 25 h 1050"/>
                <a:gd name="T74" fmla="*/ 24 w 1224"/>
                <a:gd name="T75" fmla="*/ 31 h 1050"/>
                <a:gd name="T76" fmla="*/ 35 w 1224"/>
                <a:gd name="T77" fmla="*/ 34 h 1050"/>
                <a:gd name="T78" fmla="*/ 40 w 1224"/>
                <a:gd name="T79" fmla="*/ 27 h 1050"/>
                <a:gd name="T80" fmla="*/ 46 w 1224"/>
                <a:gd name="T81" fmla="*/ 30 h 1050"/>
                <a:gd name="T82" fmla="*/ 51 w 1224"/>
                <a:gd name="T83" fmla="*/ 27 h 1050"/>
                <a:gd name="T84" fmla="*/ 59 w 1224"/>
                <a:gd name="T85" fmla="*/ 39 h 1050"/>
                <a:gd name="T86" fmla="*/ 59 w 1224"/>
                <a:gd name="T87" fmla="*/ 45 h 1050"/>
                <a:gd name="T88" fmla="*/ 72 w 1224"/>
                <a:gd name="T89" fmla="*/ 45 h 1050"/>
                <a:gd name="T90" fmla="*/ 79 w 1224"/>
                <a:gd name="T91" fmla="*/ 44 h 1050"/>
                <a:gd name="T92" fmla="*/ 87 w 1224"/>
                <a:gd name="T93" fmla="*/ 48 h 1050"/>
                <a:gd name="T94" fmla="*/ 93 w 1224"/>
                <a:gd name="T95" fmla="*/ 50 h 1050"/>
                <a:gd name="T96" fmla="*/ 98 w 1224"/>
                <a:gd name="T97" fmla="*/ 51 h 1050"/>
                <a:gd name="T98" fmla="*/ 106 w 1224"/>
                <a:gd name="T99" fmla="*/ 50 h 1050"/>
                <a:gd name="T100" fmla="*/ 104 w 1224"/>
                <a:gd name="T101" fmla="*/ 54 h 1050"/>
                <a:gd name="T102" fmla="*/ 104 w 1224"/>
                <a:gd name="T103" fmla="*/ 60 h 1050"/>
                <a:gd name="T104" fmla="*/ 101 w 1224"/>
                <a:gd name="T105" fmla="*/ 63 h 1050"/>
                <a:gd name="T106" fmla="*/ 98 w 1224"/>
                <a:gd name="T107" fmla="*/ 66 h 1050"/>
                <a:gd name="T108" fmla="*/ 95 w 1224"/>
                <a:gd name="T109" fmla="*/ 68 h 1050"/>
                <a:gd name="T110" fmla="*/ 93 w 1224"/>
                <a:gd name="T111" fmla="*/ 72 h 1050"/>
                <a:gd name="T112" fmla="*/ 98 w 1224"/>
                <a:gd name="T113" fmla="*/ 75 h 1050"/>
                <a:gd name="T114" fmla="*/ 102 w 1224"/>
                <a:gd name="T115" fmla="*/ 77 h 1050"/>
                <a:gd name="T116" fmla="*/ 107 w 1224"/>
                <a:gd name="T117" fmla="*/ 76 h 1050"/>
                <a:gd name="T118" fmla="*/ 104 w 1224"/>
                <a:gd name="T119" fmla="*/ 84 h 1050"/>
                <a:gd name="T120" fmla="*/ 103 w 1224"/>
                <a:gd name="T121" fmla="*/ 87 h 1050"/>
                <a:gd name="T122" fmla="*/ 104 w 1224"/>
                <a:gd name="T123" fmla="*/ 91 h 105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24"/>
                <a:gd name="T187" fmla="*/ 0 h 1050"/>
                <a:gd name="T188" fmla="*/ 1224 w 1224"/>
                <a:gd name="T189" fmla="*/ 1050 h 105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24" h="1050">
                  <a:moveTo>
                    <a:pt x="1128" y="1032"/>
                  </a:moveTo>
                  <a:lnTo>
                    <a:pt x="1122" y="1026"/>
                  </a:lnTo>
                  <a:lnTo>
                    <a:pt x="1116" y="1026"/>
                  </a:lnTo>
                  <a:lnTo>
                    <a:pt x="1110" y="1026"/>
                  </a:lnTo>
                  <a:lnTo>
                    <a:pt x="1104" y="1026"/>
                  </a:lnTo>
                  <a:lnTo>
                    <a:pt x="1104" y="1020"/>
                  </a:lnTo>
                  <a:lnTo>
                    <a:pt x="1098" y="1020"/>
                  </a:lnTo>
                  <a:lnTo>
                    <a:pt x="1092" y="1020"/>
                  </a:lnTo>
                  <a:lnTo>
                    <a:pt x="1086" y="1020"/>
                  </a:lnTo>
                  <a:lnTo>
                    <a:pt x="1080" y="1014"/>
                  </a:lnTo>
                  <a:lnTo>
                    <a:pt x="1068" y="1014"/>
                  </a:lnTo>
                  <a:lnTo>
                    <a:pt x="1062" y="1014"/>
                  </a:lnTo>
                  <a:lnTo>
                    <a:pt x="1062" y="1008"/>
                  </a:lnTo>
                  <a:lnTo>
                    <a:pt x="1062" y="990"/>
                  </a:lnTo>
                  <a:lnTo>
                    <a:pt x="1062" y="984"/>
                  </a:lnTo>
                  <a:lnTo>
                    <a:pt x="1062" y="972"/>
                  </a:lnTo>
                  <a:lnTo>
                    <a:pt x="1044" y="966"/>
                  </a:lnTo>
                  <a:lnTo>
                    <a:pt x="1026" y="966"/>
                  </a:lnTo>
                  <a:lnTo>
                    <a:pt x="1014" y="966"/>
                  </a:lnTo>
                  <a:lnTo>
                    <a:pt x="996" y="966"/>
                  </a:lnTo>
                  <a:lnTo>
                    <a:pt x="996" y="972"/>
                  </a:lnTo>
                  <a:lnTo>
                    <a:pt x="990" y="972"/>
                  </a:lnTo>
                  <a:lnTo>
                    <a:pt x="984" y="966"/>
                  </a:lnTo>
                  <a:lnTo>
                    <a:pt x="978" y="966"/>
                  </a:lnTo>
                  <a:lnTo>
                    <a:pt x="978" y="960"/>
                  </a:lnTo>
                  <a:lnTo>
                    <a:pt x="972" y="954"/>
                  </a:lnTo>
                  <a:lnTo>
                    <a:pt x="966" y="954"/>
                  </a:lnTo>
                  <a:lnTo>
                    <a:pt x="960" y="954"/>
                  </a:lnTo>
                  <a:lnTo>
                    <a:pt x="954" y="954"/>
                  </a:lnTo>
                  <a:lnTo>
                    <a:pt x="954" y="948"/>
                  </a:lnTo>
                  <a:lnTo>
                    <a:pt x="942" y="942"/>
                  </a:lnTo>
                  <a:lnTo>
                    <a:pt x="936" y="942"/>
                  </a:lnTo>
                  <a:lnTo>
                    <a:pt x="936" y="936"/>
                  </a:lnTo>
                  <a:lnTo>
                    <a:pt x="936" y="930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42" y="918"/>
                  </a:lnTo>
                  <a:lnTo>
                    <a:pt x="948" y="918"/>
                  </a:lnTo>
                  <a:lnTo>
                    <a:pt x="960" y="918"/>
                  </a:lnTo>
                  <a:lnTo>
                    <a:pt x="966" y="912"/>
                  </a:lnTo>
                  <a:lnTo>
                    <a:pt x="978" y="906"/>
                  </a:lnTo>
                  <a:lnTo>
                    <a:pt x="978" y="900"/>
                  </a:lnTo>
                  <a:lnTo>
                    <a:pt x="978" y="894"/>
                  </a:lnTo>
                  <a:lnTo>
                    <a:pt x="978" y="888"/>
                  </a:lnTo>
                  <a:lnTo>
                    <a:pt x="972" y="888"/>
                  </a:lnTo>
                  <a:lnTo>
                    <a:pt x="978" y="888"/>
                  </a:lnTo>
                  <a:lnTo>
                    <a:pt x="978" y="882"/>
                  </a:lnTo>
                  <a:lnTo>
                    <a:pt x="972" y="876"/>
                  </a:lnTo>
                  <a:lnTo>
                    <a:pt x="966" y="870"/>
                  </a:lnTo>
                  <a:lnTo>
                    <a:pt x="954" y="876"/>
                  </a:lnTo>
                  <a:lnTo>
                    <a:pt x="948" y="876"/>
                  </a:lnTo>
                  <a:lnTo>
                    <a:pt x="942" y="870"/>
                  </a:lnTo>
                  <a:lnTo>
                    <a:pt x="936" y="876"/>
                  </a:lnTo>
                  <a:lnTo>
                    <a:pt x="930" y="876"/>
                  </a:lnTo>
                  <a:lnTo>
                    <a:pt x="924" y="882"/>
                  </a:lnTo>
                  <a:lnTo>
                    <a:pt x="912" y="888"/>
                  </a:lnTo>
                  <a:lnTo>
                    <a:pt x="906" y="894"/>
                  </a:lnTo>
                  <a:lnTo>
                    <a:pt x="900" y="900"/>
                  </a:lnTo>
                  <a:lnTo>
                    <a:pt x="894" y="888"/>
                  </a:lnTo>
                  <a:lnTo>
                    <a:pt x="888" y="894"/>
                  </a:lnTo>
                  <a:lnTo>
                    <a:pt x="882" y="888"/>
                  </a:lnTo>
                  <a:lnTo>
                    <a:pt x="876" y="894"/>
                  </a:lnTo>
                  <a:lnTo>
                    <a:pt x="876" y="888"/>
                  </a:lnTo>
                  <a:lnTo>
                    <a:pt x="876" y="882"/>
                  </a:lnTo>
                  <a:lnTo>
                    <a:pt x="876" y="876"/>
                  </a:lnTo>
                  <a:lnTo>
                    <a:pt x="870" y="858"/>
                  </a:lnTo>
                  <a:lnTo>
                    <a:pt x="864" y="858"/>
                  </a:lnTo>
                  <a:lnTo>
                    <a:pt x="870" y="852"/>
                  </a:lnTo>
                  <a:lnTo>
                    <a:pt x="870" y="846"/>
                  </a:lnTo>
                  <a:lnTo>
                    <a:pt x="876" y="846"/>
                  </a:lnTo>
                  <a:lnTo>
                    <a:pt x="882" y="846"/>
                  </a:lnTo>
                  <a:lnTo>
                    <a:pt x="888" y="840"/>
                  </a:lnTo>
                  <a:lnTo>
                    <a:pt x="894" y="834"/>
                  </a:lnTo>
                  <a:lnTo>
                    <a:pt x="894" y="828"/>
                  </a:lnTo>
                  <a:lnTo>
                    <a:pt x="894" y="816"/>
                  </a:lnTo>
                  <a:lnTo>
                    <a:pt x="858" y="810"/>
                  </a:lnTo>
                  <a:lnTo>
                    <a:pt x="858" y="816"/>
                  </a:lnTo>
                  <a:lnTo>
                    <a:pt x="852" y="816"/>
                  </a:lnTo>
                  <a:lnTo>
                    <a:pt x="780" y="816"/>
                  </a:lnTo>
                  <a:lnTo>
                    <a:pt x="750" y="816"/>
                  </a:lnTo>
                  <a:lnTo>
                    <a:pt x="684" y="816"/>
                  </a:lnTo>
                  <a:lnTo>
                    <a:pt x="636" y="816"/>
                  </a:lnTo>
                  <a:lnTo>
                    <a:pt x="612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0" y="816"/>
                  </a:lnTo>
                  <a:lnTo>
                    <a:pt x="480" y="822"/>
                  </a:lnTo>
                  <a:lnTo>
                    <a:pt x="480" y="834"/>
                  </a:lnTo>
                  <a:lnTo>
                    <a:pt x="474" y="840"/>
                  </a:lnTo>
                  <a:lnTo>
                    <a:pt x="468" y="840"/>
                  </a:lnTo>
                  <a:lnTo>
                    <a:pt x="432" y="840"/>
                  </a:lnTo>
                  <a:lnTo>
                    <a:pt x="426" y="834"/>
                  </a:lnTo>
                  <a:lnTo>
                    <a:pt x="420" y="834"/>
                  </a:lnTo>
                  <a:lnTo>
                    <a:pt x="420" y="828"/>
                  </a:lnTo>
                  <a:lnTo>
                    <a:pt x="414" y="822"/>
                  </a:lnTo>
                  <a:lnTo>
                    <a:pt x="408" y="822"/>
                  </a:lnTo>
                  <a:lnTo>
                    <a:pt x="396" y="822"/>
                  </a:lnTo>
                  <a:lnTo>
                    <a:pt x="396" y="816"/>
                  </a:lnTo>
                  <a:lnTo>
                    <a:pt x="384" y="816"/>
                  </a:lnTo>
                  <a:lnTo>
                    <a:pt x="372" y="810"/>
                  </a:lnTo>
                  <a:lnTo>
                    <a:pt x="372" y="804"/>
                  </a:lnTo>
                  <a:lnTo>
                    <a:pt x="366" y="804"/>
                  </a:lnTo>
                  <a:lnTo>
                    <a:pt x="360" y="804"/>
                  </a:lnTo>
                  <a:lnTo>
                    <a:pt x="348" y="828"/>
                  </a:lnTo>
                  <a:lnTo>
                    <a:pt x="348" y="834"/>
                  </a:lnTo>
                  <a:lnTo>
                    <a:pt x="348" y="852"/>
                  </a:lnTo>
                  <a:lnTo>
                    <a:pt x="348" y="858"/>
                  </a:lnTo>
                  <a:lnTo>
                    <a:pt x="342" y="864"/>
                  </a:lnTo>
                  <a:lnTo>
                    <a:pt x="342" y="870"/>
                  </a:lnTo>
                  <a:lnTo>
                    <a:pt x="330" y="876"/>
                  </a:lnTo>
                  <a:lnTo>
                    <a:pt x="324" y="888"/>
                  </a:lnTo>
                  <a:lnTo>
                    <a:pt x="324" y="894"/>
                  </a:lnTo>
                  <a:lnTo>
                    <a:pt x="330" y="900"/>
                  </a:lnTo>
                  <a:lnTo>
                    <a:pt x="330" y="906"/>
                  </a:lnTo>
                  <a:lnTo>
                    <a:pt x="324" y="906"/>
                  </a:lnTo>
                  <a:lnTo>
                    <a:pt x="318" y="912"/>
                  </a:lnTo>
                  <a:lnTo>
                    <a:pt x="312" y="918"/>
                  </a:lnTo>
                  <a:lnTo>
                    <a:pt x="306" y="924"/>
                  </a:lnTo>
                  <a:lnTo>
                    <a:pt x="288" y="924"/>
                  </a:lnTo>
                  <a:lnTo>
                    <a:pt x="282" y="924"/>
                  </a:lnTo>
                  <a:lnTo>
                    <a:pt x="276" y="930"/>
                  </a:lnTo>
                  <a:lnTo>
                    <a:pt x="270" y="930"/>
                  </a:lnTo>
                  <a:lnTo>
                    <a:pt x="264" y="930"/>
                  </a:lnTo>
                  <a:lnTo>
                    <a:pt x="198" y="930"/>
                  </a:lnTo>
                  <a:lnTo>
                    <a:pt x="132" y="930"/>
                  </a:lnTo>
                  <a:lnTo>
                    <a:pt x="132" y="936"/>
                  </a:lnTo>
                  <a:lnTo>
                    <a:pt x="132" y="942"/>
                  </a:lnTo>
                  <a:lnTo>
                    <a:pt x="132" y="948"/>
                  </a:lnTo>
                  <a:lnTo>
                    <a:pt x="126" y="948"/>
                  </a:lnTo>
                  <a:lnTo>
                    <a:pt x="120" y="948"/>
                  </a:lnTo>
                  <a:lnTo>
                    <a:pt x="120" y="954"/>
                  </a:lnTo>
                  <a:lnTo>
                    <a:pt x="114" y="954"/>
                  </a:lnTo>
                  <a:lnTo>
                    <a:pt x="114" y="960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02" y="966"/>
                  </a:lnTo>
                  <a:lnTo>
                    <a:pt x="102" y="972"/>
                  </a:lnTo>
                  <a:lnTo>
                    <a:pt x="96" y="972"/>
                  </a:lnTo>
                  <a:lnTo>
                    <a:pt x="96" y="966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78" y="960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60"/>
                  </a:lnTo>
                  <a:lnTo>
                    <a:pt x="54" y="966"/>
                  </a:lnTo>
                  <a:lnTo>
                    <a:pt x="48" y="966"/>
                  </a:lnTo>
                  <a:lnTo>
                    <a:pt x="42" y="966"/>
                  </a:lnTo>
                  <a:lnTo>
                    <a:pt x="36" y="966"/>
                  </a:lnTo>
                  <a:lnTo>
                    <a:pt x="30" y="966"/>
                  </a:lnTo>
                  <a:lnTo>
                    <a:pt x="24" y="960"/>
                  </a:lnTo>
                  <a:lnTo>
                    <a:pt x="18" y="960"/>
                  </a:lnTo>
                  <a:lnTo>
                    <a:pt x="12" y="960"/>
                  </a:lnTo>
                  <a:lnTo>
                    <a:pt x="12" y="948"/>
                  </a:lnTo>
                  <a:lnTo>
                    <a:pt x="18" y="942"/>
                  </a:lnTo>
                  <a:lnTo>
                    <a:pt x="18" y="936"/>
                  </a:lnTo>
                  <a:lnTo>
                    <a:pt x="18" y="930"/>
                  </a:lnTo>
                  <a:lnTo>
                    <a:pt x="18" y="924"/>
                  </a:lnTo>
                  <a:lnTo>
                    <a:pt x="18" y="912"/>
                  </a:lnTo>
                  <a:lnTo>
                    <a:pt x="24" y="906"/>
                  </a:lnTo>
                  <a:lnTo>
                    <a:pt x="30" y="900"/>
                  </a:lnTo>
                  <a:lnTo>
                    <a:pt x="36" y="894"/>
                  </a:lnTo>
                  <a:lnTo>
                    <a:pt x="36" y="882"/>
                  </a:lnTo>
                  <a:lnTo>
                    <a:pt x="30" y="876"/>
                  </a:lnTo>
                  <a:lnTo>
                    <a:pt x="30" y="870"/>
                  </a:lnTo>
                  <a:lnTo>
                    <a:pt x="24" y="858"/>
                  </a:lnTo>
                  <a:lnTo>
                    <a:pt x="24" y="846"/>
                  </a:lnTo>
                  <a:lnTo>
                    <a:pt x="36" y="822"/>
                  </a:lnTo>
                  <a:lnTo>
                    <a:pt x="42" y="816"/>
                  </a:lnTo>
                  <a:lnTo>
                    <a:pt x="48" y="816"/>
                  </a:lnTo>
                  <a:lnTo>
                    <a:pt x="60" y="804"/>
                  </a:lnTo>
                  <a:lnTo>
                    <a:pt x="60" y="786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54" y="762"/>
                  </a:lnTo>
                  <a:lnTo>
                    <a:pt x="42" y="762"/>
                  </a:lnTo>
                  <a:lnTo>
                    <a:pt x="36" y="762"/>
                  </a:lnTo>
                  <a:lnTo>
                    <a:pt x="30" y="762"/>
                  </a:lnTo>
                  <a:lnTo>
                    <a:pt x="30" y="756"/>
                  </a:lnTo>
                  <a:lnTo>
                    <a:pt x="24" y="750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702"/>
                  </a:lnTo>
                  <a:lnTo>
                    <a:pt x="36" y="684"/>
                  </a:lnTo>
                  <a:lnTo>
                    <a:pt x="36" y="678"/>
                  </a:lnTo>
                  <a:lnTo>
                    <a:pt x="36" y="666"/>
                  </a:lnTo>
                  <a:lnTo>
                    <a:pt x="36" y="654"/>
                  </a:lnTo>
                  <a:lnTo>
                    <a:pt x="18" y="654"/>
                  </a:lnTo>
                  <a:lnTo>
                    <a:pt x="18" y="648"/>
                  </a:lnTo>
                  <a:lnTo>
                    <a:pt x="18" y="618"/>
                  </a:lnTo>
                  <a:lnTo>
                    <a:pt x="18" y="612"/>
                  </a:lnTo>
                  <a:lnTo>
                    <a:pt x="24" y="612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54" y="588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76"/>
                  </a:lnTo>
                  <a:lnTo>
                    <a:pt x="48" y="564"/>
                  </a:lnTo>
                  <a:lnTo>
                    <a:pt x="42" y="564"/>
                  </a:lnTo>
                  <a:lnTo>
                    <a:pt x="36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6" y="540"/>
                  </a:lnTo>
                  <a:lnTo>
                    <a:pt x="48" y="534"/>
                  </a:lnTo>
                  <a:lnTo>
                    <a:pt x="54" y="528"/>
                  </a:lnTo>
                  <a:lnTo>
                    <a:pt x="60" y="504"/>
                  </a:lnTo>
                  <a:lnTo>
                    <a:pt x="60" y="492"/>
                  </a:lnTo>
                  <a:lnTo>
                    <a:pt x="54" y="492"/>
                  </a:lnTo>
                  <a:lnTo>
                    <a:pt x="54" y="480"/>
                  </a:lnTo>
                  <a:lnTo>
                    <a:pt x="48" y="456"/>
                  </a:lnTo>
                  <a:lnTo>
                    <a:pt x="42" y="450"/>
                  </a:lnTo>
                  <a:lnTo>
                    <a:pt x="36" y="444"/>
                  </a:lnTo>
                  <a:lnTo>
                    <a:pt x="36" y="420"/>
                  </a:lnTo>
                  <a:lnTo>
                    <a:pt x="36" y="408"/>
                  </a:lnTo>
                  <a:lnTo>
                    <a:pt x="36" y="37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60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6" y="300"/>
                  </a:lnTo>
                  <a:lnTo>
                    <a:pt x="60" y="294"/>
                  </a:lnTo>
                  <a:lnTo>
                    <a:pt x="60" y="288"/>
                  </a:lnTo>
                  <a:lnTo>
                    <a:pt x="54" y="282"/>
                  </a:lnTo>
                  <a:lnTo>
                    <a:pt x="42" y="276"/>
                  </a:lnTo>
                  <a:lnTo>
                    <a:pt x="36" y="276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0" y="252"/>
                  </a:lnTo>
                  <a:lnTo>
                    <a:pt x="24" y="246"/>
                  </a:lnTo>
                  <a:lnTo>
                    <a:pt x="24" y="240"/>
                  </a:lnTo>
                  <a:lnTo>
                    <a:pt x="24" y="228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62"/>
                  </a:lnTo>
                  <a:lnTo>
                    <a:pt x="24" y="144"/>
                  </a:lnTo>
                  <a:lnTo>
                    <a:pt x="24" y="132"/>
                  </a:lnTo>
                  <a:lnTo>
                    <a:pt x="24" y="114"/>
                  </a:lnTo>
                  <a:lnTo>
                    <a:pt x="24" y="102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18" y="48"/>
                  </a:lnTo>
                  <a:lnTo>
                    <a:pt x="42" y="36"/>
                  </a:lnTo>
                  <a:lnTo>
                    <a:pt x="54" y="24"/>
                  </a:lnTo>
                  <a:lnTo>
                    <a:pt x="60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10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14" y="60"/>
                  </a:lnTo>
                  <a:lnTo>
                    <a:pt x="120" y="60"/>
                  </a:lnTo>
                  <a:lnTo>
                    <a:pt x="114" y="84"/>
                  </a:lnTo>
                  <a:lnTo>
                    <a:pt x="120" y="90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38" y="114"/>
                  </a:lnTo>
                  <a:lnTo>
                    <a:pt x="138" y="132"/>
                  </a:lnTo>
                  <a:lnTo>
                    <a:pt x="162" y="126"/>
                  </a:lnTo>
                  <a:lnTo>
                    <a:pt x="162" y="114"/>
                  </a:lnTo>
                  <a:lnTo>
                    <a:pt x="174" y="108"/>
                  </a:lnTo>
                  <a:lnTo>
                    <a:pt x="174" y="102"/>
                  </a:lnTo>
                  <a:lnTo>
                    <a:pt x="180" y="96"/>
                  </a:lnTo>
                  <a:lnTo>
                    <a:pt x="180" y="60"/>
                  </a:lnTo>
                  <a:lnTo>
                    <a:pt x="192" y="60"/>
                  </a:lnTo>
                  <a:lnTo>
                    <a:pt x="192" y="72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04" y="108"/>
                  </a:lnTo>
                  <a:lnTo>
                    <a:pt x="204" y="114"/>
                  </a:lnTo>
                  <a:lnTo>
                    <a:pt x="204" y="120"/>
                  </a:lnTo>
                  <a:lnTo>
                    <a:pt x="204" y="126"/>
                  </a:lnTo>
                  <a:lnTo>
                    <a:pt x="210" y="126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8" y="174"/>
                  </a:lnTo>
                  <a:lnTo>
                    <a:pt x="198" y="180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86" y="204"/>
                  </a:lnTo>
                  <a:lnTo>
                    <a:pt x="186" y="210"/>
                  </a:lnTo>
                  <a:lnTo>
                    <a:pt x="180" y="210"/>
                  </a:lnTo>
                  <a:lnTo>
                    <a:pt x="180" y="216"/>
                  </a:lnTo>
                  <a:lnTo>
                    <a:pt x="180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92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8" y="258"/>
                  </a:lnTo>
                  <a:lnTo>
                    <a:pt x="204" y="258"/>
                  </a:lnTo>
                  <a:lnTo>
                    <a:pt x="210" y="258"/>
                  </a:lnTo>
                  <a:lnTo>
                    <a:pt x="216" y="258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34" y="276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46" y="306"/>
                  </a:lnTo>
                  <a:lnTo>
                    <a:pt x="252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42"/>
                  </a:lnTo>
                  <a:lnTo>
                    <a:pt x="270" y="342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88" y="366"/>
                  </a:lnTo>
                  <a:lnTo>
                    <a:pt x="336" y="360"/>
                  </a:lnTo>
                  <a:lnTo>
                    <a:pt x="354" y="360"/>
                  </a:lnTo>
                  <a:lnTo>
                    <a:pt x="366" y="372"/>
                  </a:lnTo>
                  <a:lnTo>
                    <a:pt x="378" y="378"/>
                  </a:lnTo>
                  <a:lnTo>
                    <a:pt x="378" y="390"/>
                  </a:lnTo>
                  <a:lnTo>
                    <a:pt x="384" y="390"/>
                  </a:lnTo>
                  <a:lnTo>
                    <a:pt x="390" y="396"/>
                  </a:lnTo>
                  <a:lnTo>
                    <a:pt x="408" y="390"/>
                  </a:lnTo>
                  <a:lnTo>
                    <a:pt x="426" y="366"/>
                  </a:lnTo>
                  <a:lnTo>
                    <a:pt x="432" y="360"/>
                  </a:lnTo>
                  <a:lnTo>
                    <a:pt x="438" y="348"/>
                  </a:lnTo>
                  <a:lnTo>
                    <a:pt x="438" y="342"/>
                  </a:lnTo>
                  <a:lnTo>
                    <a:pt x="438" y="330"/>
                  </a:lnTo>
                  <a:lnTo>
                    <a:pt x="444" y="324"/>
                  </a:lnTo>
                  <a:lnTo>
                    <a:pt x="450" y="318"/>
                  </a:lnTo>
                  <a:lnTo>
                    <a:pt x="456" y="312"/>
                  </a:lnTo>
                  <a:lnTo>
                    <a:pt x="456" y="306"/>
                  </a:lnTo>
                  <a:lnTo>
                    <a:pt x="456" y="300"/>
                  </a:lnTo>
                  <a:lnTo>
                    <a:pt x="474" y="288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92" y="294"/>
                  </a:lnTo>
                  <a:lnTo>
                    <a:pt x="492" y="318"/>
                  </a:lnTo>
                  <a:lnTo>
                    <a:pt x="504" y="324"/>
                  </a:lnTo>
                  <a:lnTo>
                    <a:pt x="492" y="348"/>
                  </a:lnTo>
                  <a:lnTo>
                    <a:pt x="522" y="348"/>
                  </a:lnTo>
                  <a:lnTo>
                    <a:pt x="528" y="342"/>
                  </a:lnTo>
                  <a:lnTo>
                    <a:pt x="528" y="336"/>
                  </a:lnTo>
                  <a:lnTo>
                    <a:pt x="528" y="330"/>
                  </a:lnTo>
                  <a:lnTo>
                    <a:pt x="534" y="330"/>
                  </a:lnTo>
                  <a:lnTo>
                    <a:pt x="540" y="330"/>
                  </a:lnTo>
                  <a:lnTo>
                    <a:pt x="546" y="330"/>
                  </a:lnTo>
                  <a:lnTo>
                    <a:pt x="552" y="324"/>
                  </a:lnTo>
                  <a:lnTo>
                    <a:pt x="558" y="318"/>
                  </a:lnTo>
                  <a:lnTo>
                    <a:pt x="576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8" y="348"/>
                  </a:lnTo>
                  <a:lnTo>
                    <a:pt x="654" y="354"/>
                  </a:lnTo>
                  <a:lnTo>
                    <a:pt x="648" y="402"/>
                  </a:lnTo>
                  <a:lnTo>
                    <a:pt x="678" y="402"/>
                  </a:lnTo>
                  <a:lnTo>
                    <a:pt x="678" y="420"/>
                  </a:lnTo>
                  <a:lnTo>
                    <a:pt x="684" y="438"/>
                  </a:lnTo>
                  <a:lnTo>
                    <a:pt x="684" y="450"/>
                  </a:lnTo>
                  <a:lnTo>
                    <a:pt x="684" y="456"/>
                  </a:lnTo>
                  <a:lnTo>
                    <a:pt x="690" y="468"/>
                  </a:lnTo>
                  <a:lnTo>
                    <a:pt x="690" y="474"/>
                  </a:lnTo>
                  <a:lnTo>
                    <a:pt x="690" y="480"/>
                  </a:lnTo>
                  <a:lnTo>
                    <a:pt x="696" y="486"/>
                  </a:lnTo>
                  <a:lnTo>
                    <a:pt x="696" y="498"/>
                  </a:lnTo>
                  <a:lnTo>
                    <a:pt x="702" y="504"/>
                  </a:lnTo>
                  <a:lnTo>
                    <a:pt x="690" y="516"/>
                  </a:lnTo>
                  <a:lnTo>
                    <a:pt x="678" y="522"/>
                  </a:lnTo>
                  <a:lnTo>
                    <a:pt x="654" y="528"/>
                  </a:lnTo>
                  <a:lnTo>
                    <a:pt x="660" y="546"/>
                  </a:lnTo>
                  <a:lnTo>
                    <a:pt x="672" y="546"/>
                  </a:lnTo>
                  <a:lnTo>
                    <a:pt x="678" y="540"/>
                  </a:lnTo>
                  <a:lnTo>
                    <a:pt x="714" y="540"/>
                  </a:lnTo>
                  <a:lnTo>
                    <a:pt x="798" y="540"/>
                  </a:lnTo>
                  <a:lnTo>
                    <a:pt x="804" y="540"/>
                  </a:lnTo>
                  <a:lnTo>
                    <a:pt x="816" y="528"/>
                  </a:lnTo>
                  <a:lnTo>
                    <a:pt x="822" y="522"/>
                  </a:lnTo>
                  <a:lnTo>
                    <a:pt x="834" y="516"/>
                  </a:lnTo>
                  <a:lnTo>
                    <a:pt x="846" y="516"/>
                  </a:lnTo>
                  <a:lnTo>
                    <a:pt x="852" y="510"/>
                  </a:lnTo>
                  <a:lnTo>
                    <a:pt x="858" y="510"/>
                  </a:lnTo>
                  <a:lnTo>
                    <a:pt x="882" y="516"/>
                  </a:lnTo>
                  <a:lnTo>
                    <a:pt x="888" y="516"/>
                  </a:lnTo>
                  <a:lnTo>
                    <a:pt x="888" y="510"/>
                  </a:lnTo>
                  <a:lnTo>
                    <a:pt x="894" y="510"/>
                  </a:lnTo>
                  <a:lnTo>
                    <a:pt x="906" y="504"/>
                  </a:lnTo>
                  <a:lnTo>
                    <a:pt x="918" y="498"/>
                  </a:lnTo>
                  <a:lnTo>
                    <a:pt x="930" y="492"/>
                  </a:lnTo>
                  <a:lnTo>
                    <a:pt x="936" y="492"/>
                  </a:lnTo>
                  <a:lnTo>
                    <a:pt x="948" y="492"/>
                  </a:lnTo>
                  <a:lnTo>
                    <a:pt x="954" y="528"/>
                  </a:lnTo>
                  <a:lnTo>
                    <a:pt x="954" y="564"/>
                  </a:lnTo>
                  <a:lnTo>
                    <a:pt x="972" y="564"/>
                  </a:lnTo>
                  <a:lnTo>
                    <a:pt x="978" y="558"/>
                  </a:lnTo>
                  <a:lnTo>
                    <a:pt x="990" y="552"/>
                  </a:lnTo>
                  <a:lnTo>
                    <a:pt x="1002" y="540"/>
                  </a:lnTo>
                  <a:lnTo>
                    <a:pt x="1026" y="534"/>
                  </a:lnTo>
                  <a:lnTo>
                    <a:pt x="1032" y="540"/>
                  </a:lnTo>
                  <a:lnTo>
                    <a:pt x="1044" y="546"/>
                  </a:lnTo>
                  <a:lnTo>
                    <a:pt x="1062" y="552"/>
                  </a:lnTo>
                  <a:lnTo>
                    <a:pt x="1068" y="552"/>
                  </a:lnTo>
                  <a:lnTo>
                    <a:pt x="1068" y="570"/>
                  </a:lnTo>
                  <a:lnTo>
                    <a:pt x="1068" y="576"/>
                  </a:lnTo>
                  <a:lnTo>
                    <a:pt x="1068" y="582"/>
                  </a:lnTo>
                  <a:lnTo>
                    <a:pt x="1068" y="588"/>
                  </a:lnTo>
                  <a:lnTo>
                    <a:pt x="1068" y="594"/>
                  </a:lnTo>
                  <a:lnTo>
                    <a:pt x="1080" y="600"/>
                  </a:lnTo>
                  <a:lnTo>
                    <a:pt x="1086" y="606"/>
                  </a:lnTo>
                  <a:lnTo>
                    <a:pt x="1092" y="594"/>
                  </a:lnTo>
                  <a:lnTo>
                    <a:pt x="1104" y="588"/>
                  </a:lnTo>
                  <a:lnTo>
                    <a:pt x="1116" y="588"/>
                  </a:lnTo>
                  <a:lnTo>
                    <a:pt x="1122" y="588"/>
                  </a:lnTo>
                  <a:lnTo>
                    <a:pt x="1122" y="594"/>
                  </a:lnTo>
                  <a:lnTo>
                    <a:pt x="1128" y="594"/>
                  </a:lnTo>
                  <a:lnTo>
                    <a:pt x="1134" y="594"/>
                  </a:lnTo>
                  <a:lnTo>
                    <a:pt x="1140" y="594"/>
                  </a:lnTo>
                  <a:lnTo>
                    <a:pt x="1146" y="588"/>
                  </a:lnTo>
                  <a:lnTo>
                    <a:pt x="1158" y="582"/>
                  </a:lnTo>
                  <a:lnTo>
                    <a:pt x="1164" y="576"/>
                  </a:lnTo>
                  <a:lnTo>
                    <a:pt x="1176" y="576"/>
                  </a:lnTo>
                  <a:lnTo>
                    <a:pt x="1194" y="576"/>
                  </a:lnTo>
                  <a:lnTo>
                    <a:pt x="1218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24" y="594"/>
                  </a:lnTo>
                  <a:lnTo>
                    <a:pt x="1212" y="600"/>
                  </a:lnTo>
                  <a:lnTo>
                    <a:pt x="1206" y="606"/>
                  </a:lnTo>
                  <a:lnTo>
                    <a:pt x="1200" y="606"/>
                  </a:lnTo>
                  <a:lnTo>
                    <a:pt x="1200" y="612"/>
                  </a:lnTo>
                  <a:lnTo>
                    <a:pt x="1194" y="612"/>
                  </a:lnTo>
                  <a:lnTo>
                    <a:pt x="1194" y="618"/>
                  </a:lnTo>
                  <a:lnTo>
                    <a:pt x="1194" y="624"/>
                  </a:lnTo>
                  <a:lnTo>
                    <a:pt x="1194" y="630"/>
                  </a:lnTo>
                  <a:lnTo>
                    <a:pt x="1194" y="648"/>
                  </a:lnTo>
                  <a:lnTo>
                    <a:pt x="1194" y="660"/>
                  </a:lnTo>
                  <a:lnTo>
                    <a:pt x="1194" y="666"/>
                  </a:lnTo>
                  <a:lnTo>
                    <a:pt x="1194" y="672"/>
                  </a:lnTo>
                  <a:lnTo>
                    <a:pt x="1194" y="678"/>
                  </a:lnTo>
                  <a:lnTo>
                    <a:pt x="1188" y="684"/>
                  </a:lnTo>
                  <a:lnTo>
                    <a:pt x="1188" y="690"/>
                  </a:lnTo>
                  <a:lnTo>
                    <a:pt x="1188" y="696"/>
                  </a:lnTo>
                  <a:lnTo>
                    <a:pt x="1188" y="702"/>
                  </a:lnTo>
                  <a:lnTo>
                    <a:pt x="1188" y="708"/>
                  </a:lnTo>
                  <a:lnTo>
                    <a:pt x="1188" y="714"/>
                  </a:lnTo>
                  <a:lnTo>
                    <a:pt x="1182" y="720"/>
                  </a:lnTo>
                  <a:lnTo>
                    <a:pt x="1170" y="720"/>
                  </a:lnTo>
                  <a:lnTo>
                    <a:pt x="1158" y="726"/>
                  </a:lnTo>
                  <a:lnTo>
                    <a:pt x="1152" y="726"/>
                  </a:lnTo>
                  <a:lnTo>
                    <a:pt x="1152" y="732"/>
                  </a:lnTo>
                  <a:lnTo>
                    <a:pt x="1146" y="738"/>
                  </a:lnTo>
                  <a:lnTo>
                    <a:pt x="1140" y="738"/>
                  </a:lnTo>
                  <a:lnTo>
                    <a:pt x="1140" y="744"/>
                  </a:lnTo>
                  <a:lnTo>
                    <a:pt x="1134" y="744"/>
                  </a:lnTo>
                  <a:lnTo>
                    <a:pt x="1128" y="744"/>
                  </a:lnTo>
                  <a:lnTo>
                    <a:pt x="1122" y="750"/>
                  </a:lnTo>
                  <a:lnTo>
                    <a:pt x="1128" y="750"/>
                  </a:lnTo>
                  <a:lnTo>
                    <a:pt x="1122" y="756"/>
                  </a:lnTo>
                  <a:lnTo>
                    <a:pt x="1116" y="756"/>
                  </a:lnTo>
                  <a:lnTo>
                    <a:pt x="1110" y="762"/>
                  </a:lnTo>
                  <a:lnTo>
                    <a:pt x="1104" y="762"/>
                  </a:lnTo>
                  <a:lnTo>
                    <a:pt x="1104" y="768"/>
                  </a:lnTo>
                  <a:lnTo>
                    <a:pt x="1098" y="768"/>
                  </a:lnTo>
                  <a:lnTo>
                    <a:pt x="1098" y="774"/>
                  </a:lnTo>
                  <a:lnTo>
                    <a:pt x="1092" y="774"/>
                  </a:lnTo>
                  <a:lnTo>
                    <a:pt x="1092" y="780"/>
                  </a:lnTo>
                  <a:lnTo>
                    <a:pt x="1086" y="780"/>
                  </a:lnTo>
                  <a:lnTo>
                    <a:pt x="1086" y="786"/>
                  </a:lnTo>
                  <a:lnTo>
                    <a:pt x="1080" y="786"/>
                  </a:lnTo>
                  <a:lnTo>
                    <a:pt x="1080" y="792"/>
                  </a:lnTo>
                  <a:lnTo>
                    <a:pt x="1080" y="798"/>
                  </a:lnTo>
                  <a:lnTo>
                    <a:pt x="1080" y="804"/>
                  </a:lnTo>
                  <a:lnTo>
                    <a:pt x="1086" y="810"/>
                  </a:lnTo>
                  <a:lnTo>
                    <a:pt x="1080" y="816"/>
                  </a:lnTo>
                  <a:lnTo>
                    <a:pt x="1080" y="822"/>
                  </a:lnTo>
                  <a:lnTo>
                    <a:pt x="1074" y="822"/>
                  </a:lnTo>
                  <a:lnTo>
                    <a:pt x="1068" y="828"/>
                  </a:lnTo>
                  <a:lnTo>
                    <a:pt x="1074" y="828"/>
                  </a:lnTo>
                  <a:lnTo>
                    <a:pt x="1074" y="834"/>
                  </a:lnTo>
                  <a:lnTo>
                    <a:pt x="1080" y="846"/>
                  </a:lnTo>
                  <a:lnTo>
                    <a:pt x="1086" y="846"/>
                  </a:lnTo>
                  <a:lnTo>
                    <a:pt x="1092" y="852"/>
                  </a:lnTo>
                  <a:lnTo>
                    <a:pt x="1092" y="858"/>
                  </a:lnTo>
                  <a:lnTo>
                    <a:pt x="1098" y="858"/>
                  </a:lnTo>
                  <a:lnTo>
                    <a:pt x="1110" y="864"/>
                  </a:lnTo>
                  <a:lnTo>
                    <a:pt x="1116" y="864"/>
                  </a:lnTo>
                  <a:lnTo>
                    <a:pt x="1122" y="864"/>
                  </a:lnTo>
                  <a:lnTo>
                    <a:pt x="1128" y="864"/>
                  </a:lnTo>
                  <a:lnTo>
                    <a:pt x="1134" y="876"/>
                  </a:lnTo>
                  <a:lnTo>
                    <a:pt x="1140" y="882"/>
                  </a:lnTo>
                  <a:lnTo>
                    <a:pt x="1140" y="888"/>
                  </a:lnTo>
                  <a:lnTo>
                    <a:pt x="1152" y="918"/>
                  </a:lnTo>
                  <a:lnTo>
                    <a:pt x="1158" y="894"/>
                  </a:lnTo>
                  <a:lnTo>
                    <a:pt x="1164" y="888"/>
                  </a:lnTo>
                  <a:lnTo>
                    <a:pt x="1164" y="882"/>
                  </a:lnTo>
                  <a:lnTo>
                    <a:pt x="1176" y="864"/>
                  </a:lnTo>
                  <a:lnTo>
                    <a:pt x="1182" y="858"/>
                  </a:lnTo>
                  <a:lnTo>
                    <a:pt x="1188" y="846"/>
                  </a:lnTo>
                  <a:lnTo>
                    <a:pt x="1200" y="840"/>
                  </a:lnTo>
                  <a:lnTo>
                    <a:pt x="1212" y="840"/>
                  </a:lnTo>
                  <a:lnTo>
                    <a:pt x="1218" y="846"/>
                  </a:lnTo>
                  <a:lnTo>
                    <a:pt x="1224" y="858"/>
                  </a:lnTo>
                  <a:lnTo>
                    <a:pt x="1224" y="864"/>
                  </a:lnTo>
                  <a:lnTo>
                    <a:pt x="1224" y="876"/>
                  </a:lnTo>
                  <a:lnTo>
                    <a:pt x="1212" y="912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00" y="930"/>
                  </a:lnTo>
                  <a:lnTo>
                    <a:pt x="1200" y="942"/>
                  </a:lnTo>
                  <a:lnTo>
                    <a:pt x="1194" y="948"/>
                  </a:lnTo>
                  <a:lnTo>
                    <a:pt x="1194" y="960"/>
                  </a:lnTo>
                  <a:lnTo>
                    <a:pt x="1194" y="966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70" y="984"/>
                  </a:lnTo>
                  <a:lnTo>
                    <a:pt x="1164" y="984"/>
                  </a:lnTo>
                  <a:lnTo>
                    <a:pt x="1158" y="984"/>
                  </a:lnTo>
                  <a:lnTo>
                    <a:pt x="1146" y="984"/>
                  </a:lnTo>
                  <a:lnTo>
                    <a:pt x="1140" y="990"/>
                  </a:lnTo>
                  <a:lnTo>
                    <a:pt x="1140" y="996"/>
                  </a:lnTo>
                  <a:lnTo>
                    <a:pt x="1152" y="996"/>
                  </a:lnTo>
                  <a:lnTo>
                    <a:pt x="1176" y="1002"/>
                  </a:lnTo>
                  <a:lnTo>
                    <a:pt x="1194" y="1008"/>
                  </a:lnTo>
                  <a:lnTo>
                    <a:pt x="1206" y="1008"/>
                  </a:lnTo>
                  <a:lnTo>
                    <a:pt x="1218" y="1014"/>
                  </a:lnTo>
                  <a:lnTo>
                    <a:pt x="1212" y="1038"/>
                  </a:lnTo>
                  <a:lnTo>
                    <a:pt x="1212" y="1044"/>
                  </a:lnTo>
                  <a:lnTo>
                    <a:pt x="1206" y="1044"/>
                  </a:lnTo>
                  <a:lnTo>
                    <a:pt x="1206" y="1050"/>
                  </a:lnTo>
                  <a:lnTo>
                    <a:pt x="1194" y="1050"/>
                  </a:lnTo>
                  <a:lnTo>
                    <a:pt x="1188" y="1044"/>
                  </a:lnTo>
                  <a:lnTo>
                    <a:pt x="1158" y="1020"/>
                  </a:lnTo>
                  <a:lnTo>
                    <a:pt x="1152" y="1020"/>
                  </a:lnTo>
                  <a:lnTo>
                    <a:pt x="1140" y="1020"/>
                  </a:lnTo>
                  <a:lnTo>
                    <a:pt x="1134" y="1020"/>
                  </a:lnTo>
                  <a:lnTo>
                    <a:pt x="1134" y="1026"/>
                  </a:lnTo>
                  <a:lnTo>
                    <a:pt x="1134" y="1032"/>
                  </a:lnTo>
                  <a:lnTo>
                    <a:pt x="1128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2" name="Freeform 27">
              <a:extLst>
                <a:ext uri="{FF2B5EF4-FFF2-40B4-BE49-F238E27FC236}">
                  <a16:creationId xmlns:a16="http://schemas.microsoft.com/office/drawing/2014/main" id="{CE95C9DF-B651-4085-946F-65424BC51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2063" y="3421400"/>
              <a:ext cx="342138" cy="377969"/>
            </a:xfrm>
            <a:custGeom>
              <a:avLst/>
              <a:gdLst>
                <a:gd name="T0" fmla="*/ 43 w 642"/>
                <a:gd name="T1" fmla="*/ 41 h 708"/>
                <a:gd name="T2" fmla="*/ 39 w 642"/>
                <a:gd name="T3" fmla="*/ 41 h 708"/>
                <a:gd name="T4" fmla="*/ 38 w 642"/>
                <a:gd name="T5" fmla="*/ 47 h 708"/>
                <a:gd name="T6" fmla="*/ 38 w 642"/>
                <a:gd name="T7" fmla="*/ 49 h 708"/>
                <a:gd name="T8" fmla="*/ 38 w 642"/>
                <a:gd name="T9" fmla="*/ 50 h 708"/>
                <a:gd name="T10" fmla="*/ 36 w 642"/>
                <a:gd name="T11" fmla="*/ 52 h 708"/>
                <a:gd name="T12" fmla="*/ 35 w 642"/>
                <a:gd name="T13" fmla="*/ 53 h 708"/>
                <a:gd name="T14" fmla="*/ 33 w 642"/>
                <a:gd name="T15" fmla="*/ 55 h 708"/>
                <a:gd name="T16" fmla="*/ 32 w 642"/>
                <a:gd name="T17" fmla="*/ 56 h 708"/>
                <a:gd name="T18" fmla="*/ 31 w 642"/>
                <a:gd name="T19" fmla="*/ 59 h 708"/>
                <a:gd name="T20" fmla="*/ 26 w 642"/>
                <a:gd name="T21" fmla="*/ 59 h 708"/>
                <a:gd name="T22" fmla="*/ 23 w 642"/>
                <a:gd name="T23" fmla="*/ 61 h 708"/>
                <a:gd name="T24" fmla="*/ 20 w 642"/>
                <a:gd name="T25" fmla="*/ 61 h 708"/>
                <a:gd name="T26" fmla="*/ 17 w 642"/>
                <a:gd name="T27" fmla="*/ 59 h 708"/>
                <a:gd name="T28" fmla="*/ 15 w 642"/>
                <a:gd name="T29" fmla="*/ 56 h 708"/>
                <a:gd name="T30" fmla="*/ 9 w 642"/>
                <a:gd name="T31" fmla="*/ 58 h 708"/>
                <a:gd name="T32" fmla="*/ 6 w 642"/>
                <a:gd name="T33" fmla="*/ 52 h 708"/>
                <a:gd name="T34" fmla="*/ 2 w 642"/>
                <a:gd name="T35" fmla="*/ 53 h 708"/>
                <a:gd name="T36" fmla="*/ 1 w 642"/>
                <a:gd name="T37" fmla="*/ 51 h 708"/>
                <a:gd name="T38" fmla="*/ 4 w 642"/>
                <a:gd name="T39" fmla="*/ 47 h 708"/>
                <a:gd name="T40" fmla="*/ 5 w 642"/>
                <a:gd name="T41" fmla="*/ 41 h 708"/>
                <a:gd name="T42" fmla="*/ 5 w 642"/>
                <a:gd name="T43" fmla="*/ 38 h 708"/>
                <a:gd name="T44" fmla="*/ 5 w 642"/>
                <a:gd name="T45" fmla="*/ 35 h 708"/>
                <a:gd name="T46" fmla="*/ 6 w 642"/>
                <a:gd name="T47" fmla="*/ 33 h 708"/>
                <a:gd name="T48" fmla="*/ 5 w 642"/>
                <a:gd name="T49" fmla="*/ 29 h 708"/>
                <a:gd name="T50" fmla="*/ 4 w 642"/>
                <a:gd name="T51" fmla="*/ 28 h 708"/>
                <a:gd name="T52" fmla="*/ 1 w 642"/>
                <a:gd name="T53" fmla="*/ 26 h 708"/>
                <a:gd name="T54" fmla="*/ 1 w 642"/>
                <a:gd name="T55" fmla="*/ 24 h 708"/>
                <a:gd name="T56" fmla="*/ 1 w 642"/>
                <a:gd name="T57" fmla="*/ 20 h 708"/>
                <a:gd name="T58" fmla="*/ 1 w 642"/>
                <a:gd name="T59" fmla="*/ 16 h 708"/>
                <a:gd name="T60" fmla="*/ 2 w 642"/>
                <a:gd name="T61" fmla="*/ 14 h 708"/>
                <a:gd name="T62" fmla="*/ 8 w 642"/>
                <a:gd name="T63" fmla="*/ 14 h 708"/>
                <a:gd name="T64" fmla="*/ 9 w 642"/>
                <a:gd name="T65" fmla="*/ 10 h 708"/>
                <a:gd name="T66" fmla="*/ 15 w 642"/>
                <a:gd name="T67" fmla="*/ 9 h 708"/>
                <a:gd name="T68" fmla="*/ 18 w 642"/>
                <a:gd name="T69" fmla="*/ 14 h 708"/>
                <a:gd name="T70" fmla="*/ 20 w 642"/>
                <a:gd name="T71" fmla="*/ 12 h 708"/>
                <a:gd name="T72" fmla="*/ 20 w 642"/>
                <a:gd name="T73" fmla="*/ 11 h 708"/>
                <a:gd name="T74" fmla="*/ 21 w 642"/>
                <a:gd name="T75" fmla="*/ 9 h 708"/>
                <a:gd name="T76" fmla="*/ 24 w 642"/>
                <a:gd name="T77" fmla="*/ 9 h 708"/>
                <a:gd name="T78" fmla="*/ 27 w 642"/>
                <a:gd name="T79" fmla="*/ 8 h 708"/>
                <a:gd name="T80" fmla="*/ 33 w 642"/>
                <a:gd name="T81" fmla="*/ 2 h 708"/>
                <a:gd name="T82" fmla="*/ 42 w 642"/>
                <a:gd name="T83" fmla="*/ 2 h 708"/>
                <a:gd name="T84" fmla="*/ 49 w 642"/>
                <a:gd name="T85" fmla="*/ 1 h 708"/>
                <a:gd name="T86" fmla="*/ 53 w 642"/>
                <a:gd name="T87" fmla="*/ 4 h 708"/>
                <a:gd name="T88" fmla="*/ 55 w 642"/>
                <a:gd name="T89" fmla="*/ 4 h 708"/>
                <a:gd name="T90" fmla="*/ 55 w 642"/>
                <a:gd name="T91" fmla="*/ 7 h 708"/>
                <a:gd name="T92" fmla="*/ 52 w 642"/>
                <a:gd name="T93" fmla="*/ 9 h 708"/>
                <a:gd name="T94" fmla="*/ 49 w 642"/>
                <a:gd name="T95" fmla="*/ 12 h 708"/>
                <a:gd name="T96" fmla="*/ 47 w 642"/>
                <a:gd name="T97" fmla="*/ 14 h 708"/>
                <a:gd name="T98" fmla="*/ 47 w 642"/>
                <a:gd name="T99" fmla="*/ 17 h 708"/>
                <a:gd name="T100" fmla="*/ 45 w 642"/>
                <a:gd name="T101" fmla="*/ 26 h 708"/>
                <a:gd name="T102" fmla="*/ 50 w 642"/>
                <a:gd name="T103" fmla="*/ 37 h 70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42"/>
                <a:gd name="T157" fmla="*/ 0 h 708"/>
                <a:gd name="T158" fmla="*/ 642 w 642"/>
                <a:gd name="T159" fmla="*/ 708 h 70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42" h="708">
                  <a:moveTo>
                    <a:pt x="576" y="468"/>
                  </a:moveTo>
                  <a:lnTo>
                    <a:pt x="564" y="468"/>
                  </a:lnTo>
                  <a:lnTo>
                    <a:pt x="516" y="468"/>
                  </a:lnTo>
                  <a:lnTo>
                    <a:pt x="498" y="474"/>
                  </a:lnTo>
                  <a:lnTo>
                    <a:pt x="492" y="468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68" y="474"/>
                  </a:lnTo>
                  <a:lnTo>
                    <a:pt x="456" y="468"/>
                  </a:lnTo>
                  <a:lnTo>
                    <a:pt x="444" y="474"/>
                  </a:lnTo>
                  <a:lnTo>
                    <a:pt x="438" y="492"/>
                  </a:lnTo>
                  <a:lnTo>
                    <a:pt x="438" y="504"/>
                  </a:lnTo>
                  <a:lnTo>
                    <a:pt x="432" y="516"/>
                  </a:lnTo>
                  <a:lnTo>
                    <a:pt x="432" y="528"/>
                  </a:lnTo>
                  <a:lnTo>
                    <a:pt x="432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52"/>
                  </a:lnTo>
                  <a:lnTo>
                    <a:pt x="432" y="558"/>
                  </a:lnTo>
                  <a:lnTo>
                    <a:pt x="438" y="564"/>
                  </a:lnTo>
                  <a:lnTo>
                    <a:pt x="444" y="564"/>
                  </a:lnTo>
                  <a:lnTo>
                    <a:pt x="438" y="564"/>
                  </a:lnTo>
                  <a:lnTo>
                    <a:pt x="438" y="570"/>
                  </a:lnTo>
                  <a:lnTo>
                    <a:pt x="432" y="570"/>
                  </a:lnTo>
                  <a:lnTo>
                    <a:pt x="432" y="576"/>
                  </a:lnTo>
                  <a:lnTo>
                    <a:pt x="426" y="588"/>
                  </a:lnTo>
                  <a:lnTo>
                    <a:pt x="420" y="594"/>
                  </a:lnTo>
                  <a:lnTo>
                    <a:pt x="420" y="600"/>
                  </a:lnTo>
                  <a:lnTo>
                    <a:pt x="414" y="600"/>
                  </a:lnTo>
                  <a:lnTo>
                    <a:pt x="414" y="606"/>
                  </a:lnTo>
                  <a:lnTo>
                    <a:pt x="408" y="606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396" y="612"/>
                  </a:lnTo>
                  <a:lnTo>
                    <a:pt x="390" y="612"/>
                  </a:lnTo>
                  <a:lnTo>
                    <a:pt x="390" y="618"/>
                  </a:lnTo>
                  <a:lnTo>
                    <a:pt x="384" y="618"/>
                  </a:lnTo>
                  <a:lnTo>
                    <a:pt x="378" y="618"/>
                  </a:lnTo>
                  <a:lnTo>
                    <a:pt x="378" y="624"/>
                  </a:lnTo>
                  <a:lnTo>
                    <a:pt x="384" y="630"/>
                  </a:lnTo>
                  <a:lnTo>
                    <a:pt x="384" y="636"/>
                  </a:lnTo>
                  <a:lnTo>
                    <a:pt x="378" y="630"/>
                  </a:lnTo>
                  <a:lnTo>
                    <a:pt x="372" y="636"/>
                  </a:lnTo>
                  <a:lnTo>
                    <a:pt x="372" y="642"/>
                  </a:lnTo>
                  <a:lnTo>
                    <a:pt x="366" y="642"/>
                  </a:lnTo>
                  <a:lnTo>
                    <a:pt x="360" y="654"/>
                  </a:lnTo>
                  <a:lnTo>
                    <a:pt x="354" y="666"/>
                  </a:lnTo>
                  <a:lnTo>
                    <a:pt x="354" y="672"/>
                  </a:lnTo>
                  <a:lnTo>
                    <a:pt x="354" y="678"/>
                  </a:lnTo>
                  <a:lnTo>
                    <a:pt x="354" y="684"/>
                  </a:lnTo>
                  <a:lnTo>
                    <a:pt x="348" y="678"/>
                  </a:lnTo>
                  <a:lnTo>
                    <a:pt x="324" y="678"/>
                  </a:lnTo>
                  <a:lnTo>
                    <a:pt x="306" y="678"/>
                  </a:lnTo>
                  <a:lnTo>
                    <a:pt x="294" y="678"/>
                  </a:lnTo>
                  <a:lnTo>
                    <a:pt x="288" y="684"/>
                  </a:lnTo>
                  <a:lnTo>
                    <a:pt x="276" y="690"/>
                  </a:lnTo>
                  <a:lnTo>
                    <a:pt x="270" y="696"/>
                  </a:lnTo>
                  <a:lnTo>
                    <a:pt x="264" y="696"/>
                  </a:lnTo>
                  <a:lnTo>
                    <a:pt x="258" y="696"/>
                  </a:lnTo>
                  <a:lnTo>
                    <a:pt x="252" y="696"/>
                  </a:lnTo>
                  <a:lnTo>
                    <a:pt x="252" y="690"/>
                  </a:lnTo>
                  <a:lnTo>
                    <a:pt x="246" y="690"/>
                  </a:lnTo>
                  <a:lnTo>
                    <a:pt x="234" y="690"/>
                  </a:lnTo>
                  <a:lnTo>
                    <a:pt x="222" y="696"/>
                  </a:lnTo>
                  <a:lnTo>
                    <a:pt x="216" y="708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8" y="690"/>
                  </a:lnTo>
                  <a:lnTo>
                    <a:pt x="198" y="684"/>
                  </a:lnTo>
                  <a:lnTo>
                    <a:pt x="198" y="678"/>
                  </a:lnTo>
                  <a:lnTo>
                    <a:pt x="198" y="672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74" y="648"/>
                  </a:lnTo>
                  <a:lnTo>
                    <a:pt x="162" y="642"/>
                  </a:lnTo>
                  <a:lnTo>
                    <a:pt x="156" y="636"/>
                  </a:lnTo>
                  <a:lnTo>
                    <a:pt x="132" y="642"/>
                  </a:lnTo>
                  <a:lnTo>
                    <a:pt x="120" y="654"/>
                  </a:lnTo>
                  <a:lnTo>
                    <a:pt x="108" y="660"/>
                  </a:lnTo>
                  <a:lnTo>
                    <a:pt x="102" y="666"/>
                  </a:lnTo>
                  <a:lnTo>
                    <a:pt x="84" y="666"/>
                  </a:lnTo>
                  <a:lnTo>
                    <a:pt x="84" y="630"/>
                  </a:lnTo>
                  <a:lnTo>
                    <a:pt x="78" y="594"/>
                  </a:lnTo>
                  <a:lnTo>
                    <a:pt x="66" y="594"/>
                  </a:lnTo>
                  <a:lnTo>
                    <a:pt x="60" y="594"/>
                  </a:lnTo>
                  <a:lnTo>
                    <a:pt x="48" y="600"/>
                  </a:lnTo>
                  <a:lnTo>
                    <a:pt x="36" y="606"/>
                  </a:lnTo>
                  <a:lnTo>
                    <a:pt x="24" y="612"/>
                  </a:lnTo>
                  <a:lnTo>
                    <a:pt x="18" y="612"/>
                  </a:lnTo>
                  <a:lnTo>
                    <a:pt x="12" y="606"/>
                  </a:lnTo>
                  <a:lnTo>
                    <a:pt x="12" y="600"/>
                  </a:lnTo>
                  <a:lnTo>
                    <a:pt x="12" y="594"/>
                  </a:lnTo>
                  <a:lnTo>
                    <a:pt x="12" y="588"/>
                  </a:lnTo>
                  <a:lnTo>
                    <a:pt x="12" y="582"/>
                  </a:lnTo>
                  <a:lnTo>
                    <a:pt x="12" y="576"/>
                  </a:lnTo>
                  <a:lnTo>
                    <a:pt x="18" y="552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42" y="534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48" y="492"/>
                  </a:lnTo>
                  <a:lnTo>
                    <a:pt x="48" y="480"/>
                  </a:lnTo>
                  <a:lnTo>
                    <a:pt x="54" y="468"/>
                  </a:lnTo>
                  <a:lnTo>
                    <a:pt x="48" y="456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66" y="390"/>
                  </a:lnTo>
                  <a:lnTo>
                    <a:pt x="72" y="384"/>
                  </a:lnTo>
                  <a:lnTo>
                    <a:pt x="72" y="378"/>
                  </a:lnTo>
                  <a:lnTo>
                    <a:pt x="66" y="378"/>
                  </a:lnTo>
                  <a:lnTo>
                    <a:pt x="66" y="366"/>
                  </a:lnTo>
                  <a:lnTo>
                    <a:pt x="60" y="360"/>
                  </a:lnTo>
                  <a:lnTo>
                    <a:pt x="66" y="354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48" y="312"/>
                  </a:lnTo>
                  <a:lnTo>
                    <a:pt x="30" y="312"/>
                  </a:lnTo>
                  <a:lnTo>
                    <a:pt x="24" y="306"/>
                  </a:lnTo>
                  <a:lnTo>
                    <a:pt x="18" y="306"/>
                  </a:lnTo>
                  <a:lnTo>
                    <a:pt x="12" y="294"/>
                  </a:lnTo>
                  <a:lnTo>
                    <a:pt x="12" y="282"/>
                  </a:lnTo>
                  <a:lnTo>
                    <a:pt x="6" y="276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12" y="270"/>
                  </a:lnTo>
                  <a:lnTo>
                    <a:pt x="12" y="246"/>
                  </a:lnTo>
                  <a:lnTo>
                    <a:pt x="12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8" y="174"/>
                  </a:lnTo>
                  <a:lnTo>
                    <a:pt x="12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48" y="162"/>
                  </a:lnTo>
                  <a:lnTo>
                    <a:pt x="72" y="162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84" y="132"/>
                  </a:lnTo>
                  <a:lnTo>
                    <a:pt x="90" y="120"/>
                  </a:lnTo>
                  <a:lnTo>
                    <a:pt x="108" y="114"/>
                  </a:lnTo>
                  <a:lnTo>
                    <a:pt x="114" y="102"/>
                  </a:lnTo>
                  <a:lnTo>
                    <a:pt x="120" y="90"/>
                  </a:lnTo>
                  <a:lnTo>
                    <a:pt x="138" y="90"/>
                  </a:lnTo>
                  <a:lnTo>
                    <a:pt x="138" y="102"/>
                  </a:lnTo>
                  <a:lnTo>
                    <a:pt x="168" y="108"/>
                  </a:lnTo>
                  <a:lnTo>
                    <a:pt x="168" y="114"/>
                  </a:lnTo>
                  <a:lnTo>
                    <a:pt x="174" y="126"/>
                  </a:lnTo>
                  <a:lnTo>
                    <a:pt x="186" y="150"/>
                  </a:lnTo>
                  <a:lnTo>
                    <a:pt x="186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34" y="144"/>
                  </a:lnTo>
                  <a:lnTo>
                    <a:pt x="240" y="138"/>
                  </a:lnTo>
                  <a:lnTo>
                    <a:pt x="240" y="126"/>
                  </a:lnTo>
                  <a:lnTo>
                    <a:pt x="234" y="126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34" y="102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82" y="102"/>
                  </a:lnTo>
                  <a:lnTo>
                    <a:pt x="288" y="102"/>
                  </a:lnTo>
                  <a:lnTo>
                    <a:pt x="294" y="102"/>
                  </a:lnTo>
                  <a:lnTo>
                    <a:pt x="300" y="96"/>
                  </a:lnTo>
                  <a:lnTo>
                    <a:pt x="306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84"/>
                  </a:lnTo>
                  <a:lnTo>
                    <a:pt x="324" y="18"/>
                  </a:lnTo>
                  <a:lnTo>
                    <a:pt x="360" y="18"/>
                  </a:lnTo>
                  <a:lnTo>
                    <a:pt x="378" y="18"/>
                  </a:lnTo>
                  <a:lnTo>
                    <a:pt x="378" y="30"/>
                  </a:lnTo>
                  <a:lnTo>
                    <a:pt x="390" y="30"/>
                  </a:lnTo>
                  <a:lnTo>
                    <a:pt x="432" y="30"/>
                  </a:lnTo>
                  <a:lnTo>
                    <a:pt x="456" y="24"/>
                  </a:lnTo>
                  <a:lnTo>
                    <a:pt x="480" y="24"/>
                  </a:lnTo>
                  <a:lnTo>
                    <a:pt x="498" y="30"/>
                  </a:lnTo>
                  <a:lnTo>
                    <a:pt x="522" y="18"/>
                  </a:lnTo>
                  <a:lnTo>
                    <a:pt x="528" y="0"/>
                  </a:lnTo>
                  <a:lnTo>
                    <a:pt x="558" y="6"/>
                  </a:lnTo>
                  <a:lnTo>
                    <a:pt x="558" y="12"/>
                  </a:lnTo>
                  <a:lnTo>
                    <a:pt x="570" y="18"/>
                  </a:lnTo>
                  <a:lnTo>
                    <a:pt x="576" y="24"/>
                  </a:lnTo>
                  <a:lnTo>
                    <a:pt x="588" y="36"/>
                  </a:lnTo>
                  <a:lnTo>
                    <a:pt x="594" y="48"/>
                  </a:lnTo>
                  <a:lnTo>
                    <a:pt x="606" y="48"/>
                  </a:lnTo>
                  <a:lnTo>
                    <a:pt x="606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42"/>
                  </a:lnTo>
                  <a:lnTo>
                    <a:pt x="636" y="42"/>
                  </a:lnTo>
                  <a:lnTo>
                    <a:pt x="636" y="48"/>
                  </a:lnTo>
                  <a:lnTo>
                    <a:pt x="642" y="54"/>
                  </a:lnTo>
                  <a:lnTo>
                    <a:pt x="636" y="60"/>
                  </a:lnTo>
                  <a:lnTo>
                    <a:pt x="636" y="66"/>
                  </a:lnTo>
                  <a:lnTo>
                    <a:pt x="636" y="78"/>
                  </a:lnTo>
                  <a:lnTo>
                    <a:pt x="624" y="84"/>
                  </a:lnTo>
                  <a:lnTo>
                    <a:pt x="618" y="90"/>
                  </a:lnTo>
                  <a:lnTo>
                    <a:pt x="612" y="90"/>
                  </a:lnTo>
                  <a:lnTo>
                    <a:pt x="600" y="102"/>
                  </a:lnTo>
                  <a:lnTo>
                    <a:pt x="594" y="108"/>
                  </a:lnTo>
                  <a:lnTo>
                    <a:pt x="582" y="114"/>
                  </a:lnTo>
                  <a:lnTo>
                    <a:pt x="570" y="132"/>
                  </a:lnTo>
                  <a:lnTo>
                    <a:pt x="564" y="132"/>
                  </a:lnTo>
                  <a:lnTo>
                    <a:pt x="564" y="138"/>
                  </a:lnTo>
                  <a:lnTo>
                    <a:pt x="558" y="144"/>
                  </a:lnTo>
                  <a:lnTo>
                    <a:pt x="558" y="150"/>
                  </a:lnTo>
                  <a:lnTo>
                    <a:pt x="552" y="150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0" y="162"/>
                  </a:lnTo>
                  <a:lnTo>
                    <a:pt x="534" y="168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6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28" y="234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16" y="294"/>
                  </a:lnTo>
                  <a:lnTo>
                    <a:pt x="516" y="312"/>
                  </a:lnTo>
                  <a:lnTo>
                    <a:pt x="528" y="318"/>
                  </a:lnTo>
                  <a:lnTo>
                    <a:pt x="540" y="360"/>
                  </a:lnTo>
                  <a:lnTo>
                    <a:pt x="558" y="408"/>
                  </a:lnTo>
                  <a:lnTo>
                    <a:pt x="570" y="426"/>
                  </a:lnTo>
                  <a:lnTo>
                    <a:pt x="576" y="432"/>
                  </a:lnTo>
                  <a:lnTo>
                    <a:pt x="576" y="438"/>
                  </a:lnTo>
                  <a:lnTo>
                    <a:pt x="576" y="444"/>
                  </a:lnTo>
                  <a:lnTo>
                    <a:pt x="576" y="46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3" name="Freeform 28">
              <a:extLst>
                <a:ext uri="{FF2B5EF4-FFF2-40B4-BE49-F238E27FC236}">
                  <a16:creationId xmlns:a16="http://schemas.microsoft.com/office/drawing/2014/main" id="{CF9B4F31-BF73-448E-83AA-188F6CF1BDC5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4879" y="3432583"/>
              <a:ext cx="324248" cy="270616"/>
            </a:xfrm>
            <a:custGeom>
              <a:avLst/>
              <a:gdLst>
                <a:gd name="T0" fmla="*/ 5 w 606"/>
                <a:gd name="T1" fmla="*/ 36 h 510"/>
                <a:gd name="T2" fmla="*/ 4 w 606"/>
                <a:gd name="T3" fmla="*/ 34 h 510"/>
                <a:gd name="T4" fmla="*/ 0 w 606"/>
                <a:gd name="T5" fmla="*/ 25 h 510"/>
                <a:gd name="T6" fmla="*/ 1 w 606"/>
                <a:gd name="T7" fmla="*/ 20 h 510"/>
                <a:gd name="T8" fmla="*/ 2 w 606"/>
                <a:gd name="T9" fmla="*/ 15 h 510"/>
                <a:gd name="T10" fmla="*/ 2 w 606"/>
                <a:gd name="T11" fmla="*/ 13 h 510"/>
                <a:gd name="T12" fmla="*/ 3 w 606"/>
                <a:gd name="T13" fmla="*/ 12 h 510"/>
                <a:gd name="T14" fmla="*/ 4 w 606"/>
                <a:gd name="T15" fmla="*/ 11 h 510"/>
                <a:gd name="T16" fmla="*/ 4 w 606"/>
                <a:gd name="T17" fmla="*/ 10 h 510"/>
                <a:gd name="T18" fmla="*/ 7 w 606"/>
                <a:gd name="T19" fmla="*/ 8 h 510"/>
                <a:gd name="T20" fmla="*/ 9 w 606"/>
                <a:gd name="T21" fmla="*/ 6 h 510"/>
                <a:gd name="T22" fmla="*/ 11 w 606"/>
                <a:gd name="T23" fmla="*/ 4 h 510"/>
                <a:gd name="T24" fmla="*/ 12 w 606"/>
                <a:gd name="T25" fmla="*/ 3 h 510"/>
                <a:gd name="T26" fmla="*/ 13 w 606"/>
                <a:gd name="T27" fmla="*/ 4 h 510"/>
                <a:gd name="T28" fmla="*/ 15 w 606"/>
                <a:gd name="T29" fmla="*/ 2 h 510"/>
                <a:gd name="T30" fmla="*/ 17 w 606"/>
                <a:gd name="T31" fmla="*/ 2 h 510"/>
                <a:gd name="T32" fmla="*/ 19 w 606"/>
                <a:gd name="T33" fmla="*/ 5 h 510"/>
                <a:gd name="T34" fmla="*/ 22 w 606"/>
                <a:gd name="T35" fmla="*/ 5 h 510"/>
                <a:gd name="T36" fmla="*/ 25 w 606"/>
                <a:gd name="T37" fmla="*/ 6 h 510"/>
                <a:gd name="T38" fmla="*/ 29 w 606"/>
                <a:gd name="T39" fmla="*/ 1 h 510"/>
                <a:gd name="T40" fmla="*/ 38 w 606"/>
                <a:gd name="T41" fmla="*/ 0 h 510"/>
                <a:gd name="T42" fmla="*/ 38 w 606"/>
                <a:gd name="T43" fmla="*/ 5 h 510"/>
                <a:gd name="T44" fmla="*/ 41 w 606"/>
                <a:gd name="T45" fmla="*/ 4 h 510"/>
                <a:gd name="T46" fmla="*/ 45 w 606"/>
                <a:gd name="T47" fmla="*/ 2 h 510"/>
                <a:gd name="T48" fmla="*/ 46 w 606"/>
                <a:gd name="T49" fmla="*/ 2 h 510"/>
                <a:gd name="T50" fmla="*/ 47 w 606"/>
                <a:gd name="T51" fmla="*/ 5 h 510"/>
                <a:gd name="T52" fmla="*/ 45 w 606"/>
                <a:gd name="T53" fmla="*/ 6 h 510"/>
                <a:gd name="T54" fmla="*/ 45 w 606"/>
                <a:gd name="T55" fmla="*/ 7 h 510"/>
                <a:gd name="T56" fmla="*/ 43 w 606"/>
                <a:gd name="T57" fmla="*/ 8 h 510"/>
                <a:gd name="T58" fmla="*/ 45 w 606"/>
                <a:gd name="T59" fmla="*/ 15 h 510"/>
                <a:gd name="T60" fmla="*/ 49 w 606"/>
                <a:gd name="T61" fmla="*/ 15 h 510"/>
                <a:gd name="T62" fmla="*/ 51 w 606"/>
                <a:gd name="T63" fmla="*/ 15 h 510"/>
                <a:gd name="T64" fmla="*/ 53 w 606"/>
                <a:gd name="T65" fmla="*/ 16 h 510"/>
                <a:gd name="T66" fmla="*/ 52 w 606"/>
                <a:gd name="T67" fmla="*/ 20 h 510"/>
                <a:gd name="T68" fmla="*/ 48 w 606"/>
                <a:gd name="T69" fmla="*/ 23 h 510"/>
                <a:gd name="T70" fmla="*/ 45 w 606"/>
                <a:gd name="T71" fmla="*/ 25 h 510"/>
                <a:gd name="T72" fmla="*/ 44 w 606"/>
                <a:gd name="T73" fmla="*/ 28 h 510"/>
                <a:gd name="T74" fmla="*/ 43 w 606"/>
                <a:gd name="T75" fmla="*/ 33 h 510"/>
                <a:gd name="T76" fmla="*/ 39 w 606"/>
                <a:gd name="T77" fmla="*/ 38 h 510"/>
                <a:gd name="T78" fmla="*/ 37 w 606"/>
                <a:gd name="T79" fmla="*/ 41 h 510"/>
                <a:gd name="T80" fmla="*/ 31 w 606"/>
                <a:gd name="T81" fmla="*/ 44 h 510"/>
                <a:gd name="T82" fmla="*/ 28 w 606"/>
                <a:gd name="T83" fmla="*/ 43 h 510"/>
                <a:gd name="T84" fmla="*/ 28 w 606"/>
                <a:gd name="T85" fmla="*/ 41 h 510"/>
                <a:gd name="T86" fmla="*/ 28 w 606"/>
                <a:gd name="T87" fmla="*/ 40 h 510"/>
                <a:gd name="T88" fmla="*/ 27 w 606"/>
                <a:gd name="T89" fmla="*/ 38 h 510"/>
                <a:gd name="T90" fmla="*/ 27 w 606"/>
                <a:gd name="T91" fmla="*/ 36 h 510"/>
                <a:gd name="T92" fmla="*/ 24 w 606"/>
                <a:gd name="T93" fmla="*/ 35 h 510"/>
                <a:gd name="T94" fmla="*/ 16 w 606"/>
                <a:gd name="T95" fmla="*/ 34 h 510"/>
                <a:gd name="T96" fmla="*/ 13 w 606"/>
                <a:gd name="T97" fmla="*/ 34 h 510"/>
                <a:gd name="T98" fmla="*/ 9 w 606"/>
                <a:gd name="T99" fmla="*/ 36 h 510"/>
                <a:gd name="T100" fmla="*/ 8 w 606"/>
                <a:gd name="T101" fmla="*/ 38 h 510"/>
                <a:gd name="T102" fmla="*/ 7 w 606"/>
                <a:gd name="T103" fmla="*/ 39 h 51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06"/>
                <a:gd name="T157" fmla="*/ 0 h 510"/>
                <a:gd name="T158" fmla="*/ 606 w 606"/>
                <a:gd name="T159" fmla="*/ 510 h 51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06" h="510">
                  <a:moveTo>
                    <a:pt x="60" y="450"/>
                  </a:move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42" y="390"/>
                  </a:lnTo>
                  <a:lnTo>
                    <a:pt x="24" y="342"/>
                  </a:lnTo>
                  <a:lnTo>
                    <a:pt x="12" y="300"/>
                  </a:lnTo>
                  <a:lnTo>
                    <a:pt x="0" y="294"/>
                  </a:lnTo>
                  <a:lnTo>
                    <a:pt x="0" y="276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24" y="192"/>
                  </a:lnTo>
                  <a:lnTo>
                    <a:pt x="24" y="180"/>
                  </a:lnTo>
                  <a:lnTo>
                    <a:pt x="24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6" y="96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108" y="66"/>
                  </a:lnTo>
                  <a:lnTo>
                    <a:pt x="120" y="60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36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62" y="36"/>
                  </a:lnTo>
                  <a:lnTo>
                    <a:pt x="162" y="30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0" y="54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46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76" y="66"/>
                  </a:lnTo>
                  <a:lnTo>
                    <a:pt x="312" y="66"/>
                  </a:lnTo>
                  <a:lnTo>
                    <a:pt x="318" y="60"/>
                  </a:lnTo>
                  <a:lnTo>
                    <a:pt x="330" y="12"/>
                  </a:lnTo>
                  <a:lnTo>
                    <a:pt x="414" y="6"/>
                  </a:lnTo>
                  <a:lnTo>
                    <a:pt x="420" y="0"/>
                  </a:lnTo>
                  <a:lnTo>
                    <a:pt x="426" y="6"/>
                  </a:lnTo>
                  <a:lnTo>
                    <a:pt x="426" y="12"/>
                  </a:lnTo>
                  <a:lnTo>
                    <a:pt x="426" y="54"/>
                  </a:lnTo>
                  <a:lnTo>
                    <a:pt x="432" y="54"/>
                  </a:lnTo>
                  <a:lnTo>
                    <a:pt x="444" y="54"/>
                  </a:lnTo>
                  <a:lnTo>
                    <a:pt x="450" y="42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86" y="24"/>
                  </a:lnTo>
                  <a:lnTo>
                    <a:pt x="504" y="18"/>
                  </a:lnTo>
                  <a:lnTo>
                    <a:pt x="510" y="12"/>
                  </a:lnTo>
                  <a:lnTo>
                    <a:pt x="516" y="18"/>
                  </a:lnTo>
                  <a:lnTo>
                    <a:pt x="522" y="24"/>
                  </a:lnTo>
                  <a:lnTo>
                    <a:pt x="510" y="30"/>
                  </a:lnTo>
                  <a:lnTo>
                    <a:pt x="516" y="48"/>
                  </a:lnTo>
                  <a:lnTo>
                    <a:pt x="528" y="54"/>
                  </a:lnTo>
                  <a:lnTo>
                    <a:pt x="522" y="60"/>
                  </a:lnTo>
                  <a:lnTo>
                    <a:pt x="516" y="66"/>
                  </a:lnTo>
                  <a:lnTo>
                    <a:pt x="516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0" y="84"/>
                  </a:lnTo>
                  <a:lnTo>
                    <a:pt x="510" y="90"/>
                  </a:lnTo>
                  <a:lnTo>
                    <a:pt x="504" y="90"/>
                  </a:lnTo>
                  <a:lnTo>
                    <a:pt x="486" y="90"/>
                  </a:lnTo>
                  <a:lnTo>
                    <a:pt x="492" y="138"/>
                  </a:lnTo>
                  <a:lnTo>
                    <a:pt x="498" y="168"/>
                  </a:lnTo>
                  <a:lnTo>
                    <a:pt x="516" y="168"/>
                  </a:lnTo>
                  <a:lnTo>
                    <a:pt x="528" y="174"/>
                  </a:lnTo>
                  <a:lnTo>
                    <a:pt x="534" y="168"/>
                  </a:lnTo>
                  <a:lnTo>
                    <a:pt x="558" y="174"/>
                  </a:lnTo>
                  <a:lnTo>
                    <a:pt x="564" y="168"/>
                  </a:lnTo>
                  <a:lnTo>
                    <a:pt x="570" y="168"/>
                  </a:lnTo>
                  <a:lnTo>
                    <a:pt x="576" y="174"/>
                  </a:lnTo>
                  <a:lnTo>
                    <a:pt x="588" y="168"/>
                  </a:lnTo>
                  <a:lnTo>
                    <a:pt x="594" y="168"/>
                  </a:lnTo>
                  <a:lnTo>
                    <a:pt x="594" y="186"/>
                  </a:lnTo>
                  <a:lnTo>
                    <a:pt x="606" y="198"/>
                  </a:lnTo>
                  <a:lnTo>
                    <a:pt x="600" y="210"/>
                  </a:lnTo>
                  <a:lnTo>
                    <a:pt x="588" y="234"/>
                  </a:lnTo>
                  <a:lnTo>
                    <a:pt x="564" y="246"/>
                  </a:lnTo>
                  <a:lnTo>
                    <a:pt x="546" y="258"/>
                  </a:lnTo>
                  <a:lnTo>
                    <a:pt x="540" y="270"/>
                  </a:lnTo>
                  <a:lnTo>
                    <a:pt x="534" y="294"/>
                  </a:lnTo>
                  <a:lnTo>
                    <a:pt x="528" y="300"/>
                  </a:lnTo>
                  <a:lnTo>
                    <a:pt x="516" y="294"/>
                  </a:lnTo>
                  <a:lnTo>
                    <a:pt x="510" y="300"/>
                  </a:lnTo>
                  <a:lnTo>
                    <a:pt x="498" y="318"/>
                  </a:lnTo>
                  <a:lnTo>
                    <a:pt x="492" y="324"/>
                  </a:lnTo>
                  <a:lnTo>
                    <a:pt x="486" y="336"/>
                  </a:lnTo>
                  <a:lnTo>
                    <a:pt x="486" y="354"/>
                  </a:lnTo>
                  <a:lnTo>
                    <a:pt x="486" y="384"/>
                  </a:lnTo>
                  <a:lnTo>
                    <a:pt x="474" y="408"/>
                  </a:lnTo>
                  <a:lnTo>
                    <a:pt x="450" y="426"/>
                  </a:lnTo>
                  <a:lnTo>
                    <a:pt x="444" y="444"/>
                  </a:lnTo>
                  <a:lnTo>
                    <a:pt x="426" y="474"/>
                  </a:lnTo>
                  <a:lnTo>
                    <a:pt x="420" y="486"/>
                  </a:lnTo>
                  <a:lnTo>
                    <a:pt x="414" y="486"/>
                  </a:lnTo>
                  <a:lnTo>
                    <a:pt x="414" y="498"/>
                  </a:lnTo>
                  <a:lnTo>
                    <a:pt x="378" y="504"/>
                  </a:lnTo>
                  <a:lnTo>
                    <a:pt x="348" y="510"/>
                  </a:lnTo>
                  <a:lnTo>
                    <a:pt x="330" y="510"/>
                  </a:lnTo>
                  <a:lnTo>
                    <a:pt x="324" y="504"/>
                  </a:lnTo>
                  <a:lnTo>
                    <a:pt x="318" y="504"/>
                  </a:lnTo>
                  <a:lnTo>
                    <a:pt x="312" y="504"/>
                  </a:lnTo>
                  <a:lnTo>
                    <a:pt x="312" y="498"/>
                  </a:lnTo>
                  <a:lnTo>
                    <a:pt x="312" y="486"/>
                  </a:lnTo>
                  <a:lnTo>
                    <a:pt x="312" y="480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56"/>
                  </a:lnTo>
                  <a:lnTo>
                    <a:pt x="312" y="450"/>
                  </a:lnTo>
                  <a:lnTo>
                    <a:pt x="306" y="444"/>
                  </a:lnTo>
                  <a:lnTo>
                    <a:pt x="306" y="438"/>
                  </a:lnTo>
                  <a:lnTo>
                    <a:pt x="300" y="426"/>
                  </a:lnTo>
                  <a:lnTo>
                    <a:pt x="300" y="420"/>
                  </a:lnTo>
                  <a:lnTo>
                    <a:pt x="294" y="414"/>
                  </a:lnTo>
                  <a:lnTo>
                    <a:pt x="294" y="408"/>
                  </a:lnTo>
                  <a:lnTo>
                    <a:pt x="270" y="408"/>
                  </a:lnTo>
                  <a:lnTo>
                    <a:pt x="246" y="408"/>
                  </a:lnTo>
                  <a:lnTo>
                    <a:pt x="222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56" y="402"/>
                  </a:lnTo>
                  <a:lnTo>
                    <a:pt x="144" y="396"/>
                  </a:lnTo>
                  <a:lnTo>
                    <a:pt x="126" y="396"/>
                  </a:lnTo>
                  <a:lnTo>
                    <a:pt x="108" y="408"/>
                  </a:lnTo>
                  <a:lnTo>
                    <a:pt x="102" y="414"/>
                  </a:lnTo>
                  <a:lnTo>
                    <a:pt x="102" y="420"/>
                  </a:lnTo>
                  <a:lnTo>
                    <a:pt x="96" y="426"/>
                  </a:lnTo>
                  <a:lnTo>
                    <a:pt x="96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78" y="450"/>
                  </a:lnTo>
                  <a:lnTo>
                    <a:pt x="60" y="45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4" name="Freeform 29">
              <a:extLst>
                <a:ext uri="{FF2B5EF4-FFF2-40B4-BE49-F238E27FC236}">
                  <a16:creationId xmlns:a16="http://schemas.microsoft.com/office/drawing/2014/main" id="{B6AC2B96-1504-4082-8778-17130FDA021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401" y="3537698"/>
              <a:ext cx="559048" cy="641876"/>
            </a:xfrm>
            <a:custGeom>
              <a:avLst/>
              <a:gdLst>
                <a:gd name="T0" fmla="*/ 39 w 1056"/>
                <a:gd name="T1" fmla="*/ 94 h 1206"/>
                <a:gd name="T2" fmla="*/ 35 w 1056"/>
                <a:gd name="T3" fmla="*/ 103 h 1206"/>
                <a:gd name="T4" fmla="*/ 29 w 1056"/>
                <a:gd name="T5" fmla="*/ 99 h 1206"/>
                <a:gd name="T6" fmla="*/ 23 w 1056"/>
                <a:gd name="T7" fmla="*/ 94 h 1206"/>
                <a:gd name="T8" fmla="*/ 21 w 1056"/>
                <a:gd name="T9" fmla="*/ 91 h 1206"/>
                <a:gd name="T10" fmla="*/ 18 w 1056"/>
                <a:gd name="T11" fmla="*/ 89 h 1206"/>
                <a:gd name="T12" fmla="*/ 15 w 1056"/>
                <a:gd name="T13" fmla="*/ 86 h 1206"/>
                <a:gd name="T14" fmla="*/ 11 w 1056"/>
                <a:gd name="T15" fmla="*/ 83 h 1206"/>
                <a:gd name="T16" fmla="*/ 8 w 1056"/>
                <a:gd name="T17" fmla="*/ 81 h 1206"/>
                <a:gd name="T18" fmla="*/ 6 w 1056"/>
                <a:gd name="T19" fmla="*/ 79 h 1206"/>
                <a:gd name="T20" fmla="*/ 13 w 1056"/>
                <a:gd name="T21" fmla="*/ 78 h 1206"/>
                <a:gd name="T22" fmla="*/ 8 w 1056"/>
                <a:gd name="T23" fmla="*/ 75 h 1206"/>
                <a:gd name="T24" fmla="*/ 13 w 1056"/>
                <a:gd name="T25" fmla="*/ 71 h 1206"/>
                <a:gd name="T26" fmla="*/ 10 w 1056"/>
                <a:gd name="T27" fmla="*/ 63 h 1206"/>
                <a:gd name="T28" fmla="*/ 6 w 1056"/>
                <a:gd name="T29" fmla="*/ 66 h 1206"/>
                <a:gd name="T30" fmla="*/ 1 w 1056"/>
                <a:gd name="T31" fmla="*/ 63 h 1206"/>
                <a:gd name="T32" fmla="*/ 1 w 1056"/>
                <a:gd name="T33" fmla="*/ 59 h 1206"/>
                <a:gd name="T34" fmla="*/ 3 w 1056"/>
                <a:gd name="T35" fmla="*/ 57 h 1206"/>
                <a:gd name="T36" fmla="*/ 6 w 1056"/>
                <a:gd name="T37" fmla="*/ 55 h 1206"/>
                <a:gd name="T38" fmla="*/ 10 w 1056"/>
                <a:gd name="T39" fmla="*/ 51 h 1206"/>
                <a:gd name="T40" fmla="*/ 11 w 1056"/>
                <a:gd name="T41" fmla="*/ 46 h 1206"/>
                <a:gd name="T42" fmla="*/ 14 w 1056"/>
                <a:gd name="T43" fmla="*/ 42 h 1206"/>
                <a:gd name="T44" fmla="*/ 15 w 1056"/>
                <a:gd name="T45" fmla="*/ 36 h 1206"/>
                <a:gd name="T46" fmla="*/ 17 w 1056"/>
                <a:gd name="T47" fmla="*/ 34 h 1206"/>
                <a:gd name="T48" fmla="*/ 20 w 1056"/>
                <a:gd name="T49" fmla="*/ 31 h 1206"/>
                <a:gd name="T50" fmla="*/ 21 w 1056"/>
                <a:gd name="T51" fmla="*/ 29 h 1206"/>
                <a:gd name="T52" fmla="*/ 23 w 1056"/>
                <a:gd name="T53" fmla="*/ 22 h 1206"/>
                <a:gd name="T54" fmla="*/ 35 w 1056"/>
                <a:gd name="T55" fmla="*/ 22 h 1206"/>
                <a:gd name="T56" fmla="*/ 41 w 1056"/>
                <a:gd name="T57" fmla="*/ 18 h 1206"/>
                <a:gd name="T58" fmla="*/ 54 w 1056"/>
                <a:gd name="T59" fmla="*/ 20 h 1206"/>
                <a:gd name="T60" fmla="*/ 54 w 1056"/>
                <a:gd name="T61" fmla="*/ 26 h 1206"/>
                <a:gd name="T62" fmla="*/ 64 w 1056"/>
                <a:gd name="T63" fmla="*/ 25 h 1206"/>
                <a:gd name="T64" fmla="*/ 71 w 1056"/>
                <a:gd name="T65" fmla="*/ 10 h 1206"/>
                <a:gd name="T66" fmla="*/ 80 w 1056"/>
                <a:gd name="T67" fmla="*/ 1 h 1206"/>
                <a:gd name="T68" fmla="*/ 86 w 1056"/>
                <a:gd name="T69" fmla="*/ 2 h 1206"/>
                <a:gd name="T70" fmla="*/ 91 w 1056"/>
                <a:gd name="T71" fmla="*/ 13 h 1206"/>
                <a:gd name="T72" fmla="*/ 88 w 1056"/>
                <a:gd name="T73" fmla="*/ 17 h 1206"/>
                <a:gd name="T74" fmla="*/ 89 w 1056"/>
                <a:gd name="T75" fmla="*/ 21 h 1206"/>
                <a:gd name="T76" fmla="*/ 86 w 1056"/>
                <a:gd name="T77" fmla="*/ 25 h 1206"/>
                <a:gd name="T78" fmla="*/ 85 w 1056"/>
                <a:gd name="T79" fmla="*/ 31 h 1206"/>
                <a:gd name="T80" fmla="*/ 83 w 1056"/>
                <a:gd name="T81" fmla="*/ 36 h 1206"/>
                <a:gd name="T82" fmla="*/ 80 w 1056"/>
                <a:gd name="T83" fmla="*/ 42 h 1206"/>
                <a:gd name="T84" fmla="*/ 80 w 1056"/>
                <a:gd name="T85" fmla="*/ 47 h 1206"/>
                <a:gd name="T86" fmla="*/ 77 w 1056"/>
                <a:gd name="T87" fmla="*/ 55 h 1206"/>
                <a:gd name="T88" fmla="*/ 75 w 1056"/>
                <a:gd name="T89" fmla="*/ 57 h 1206"/>
                <a:gd name="T90" fmla="*/ 66 w 1056"/>
                <a:gd name="T91" fmla="*/ 57 h 1206"/>
                <a:gd name="T92" fmla="*/ 66 w 1056"/>
                <a:gd name="T93" fmla="*/ 51 h 1206"/>
                <a:gd name="T94" fmla="*/ 48 w 1056"/>
                <a:gd name="T95" fmla="*/ 50 h 1206"/>
                <a:gd name="T96" fmla="*/ 46 w 1056"/>
                <a:gd name="T97" fmla="*/ 55 h 1206"/>
                <a:gd name="T98" fmla="*/ 42 w 1056"/>
                <a:gd name="T99" fmla="*/ 59 h 1206"/>
                <a:gd name="T100" fmla="*/ 41 w 1056"/>
                <a:gd name="T101" fmla="*/ 62 h 1206"/>
                <a:gd name="T102" fmla="*/ 43 w 1056"/>
                <a:gd name="T103" fmla="*/ 67 h 1206"/>
                <a:gd name="T104" fmla="*/ 42 w 1056"/>
                <a:gd name="T105" fmla="*/ 72 h 1206"/>
                <a:gd name="T106" fmla="*/ 39 w 1056"/>
                <a:gd name="T107" fmla="*/ 77 h 1206"/>
                <a:gd name="T108" fmla="*/ 36 w 1056"/>
                <a:gd name="T109" fmla="*/ 80 h 1206"/>
                <a:gd name="T110" fmla="*/ 37 w 1056"/>
                <a:gd name="T111" fmla="*/ 83 h 1206"/>
                <a:gd name="T112" fmla="*/ 40 w 1056"/>
                <a:gd name="T113" fmla="*/ 87 h 1206"/>
                <a:gd name="T114" fmla="*/ 42 w 1056"/>
                <a:gd name="T115" fmla="*/ 89 h 12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56"/>
                <a:gd name="T175" fmla="*/ 0 h 1206"/>
                <a:gd name="T176" fmla="*/ 1056 w 1056"/>
                <a:gd name="T177" fmla="*/ 1206 h 12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56" h="1206">
                  <a:moveTo>
                    <a:pt x="492" y="1032"/>
                  </a:moveTo>
                  <a:lnTo>
                    <a:pt x="486" y="1038"/>
                  </a:lnTo>
                  <a:lnTo>
                    <a:pt x="486" y="1044"/>
                  </a:lnTo>
                  <a:lnTo>
                    <a:pt x="480" y="1044"/>
                  </a:lnTo>
                  <a:lnTo>
                    <a:pt x="474" y="1056"/>
                  </a:lnTo>
                  <a:lnTo>
                    <a:pt x="462" y="1068"/>
                  </a:lnTo>
                  <a:lnTo>
                    <a:pt x="456" y="1080"/>
                  </a:lnTo>
                  <a:lnTo>
                    <a:pt x="450" y="1080"/>
                  </a:lnTo>
                  <a:lnTo>
                    <a:pt x="450" y="1086"/>
                  </a:lnTo>
                  <a:lnTo>
                    <a:pt x="450" y="1092"/>
                  </a:lnTo>
                  <a:lnTo>
                    <a:pt x="444" y="1104"/>
                  </a:lnTo>
                  <a:lnTo>
                    <a:pt x="444" y="1116"/>
                  </a:lnTo>
                  <a:lnTo>
                    <a:pt x="438" y="1128"/>
                  </a:lnTo>
                  <a:lnTo>
                    <a:pt x="432" y="1134"/>
                  </a:lnTo>
                  <a:lnTo>
                    <a:pt x="432" y="1140"/>
                  </a:lnTo>
                  <a:lnTo>
                    <a:pt x="420" y="1152"/>
                  </a:lnTo>
                  <a:lnTo>
                    <a:pt x="420" y="1158"/>
                  </a:lnTo>
                  <a:lnTo>
                    <a:pt x="408" y="1182"/>
                  </a:lnTo>
                  <a:lnTo>
                    <a:pt x="396" y="1194"/>
                  </a:lnTo>
                  <a:lnTo>
                    <a:pt x="390" y="1206"/>
                  </a:lnTo>
                  <a:lnTo>
                    <a:pt x="390" y="1200"/>
                  </a:lnTo>
                  <a:lnTo>
                    <a:pt x="384" y="1194"/>
                  </a:lnTo>
                  <a:lnTo>
                    <a:pt x="378" y="1188"/>
                  </a:lnTo>
                  <a:lnTo>
                    <a:pt x="366" y="1176"/>
                  </a:lnTo>
                  <a:lnTo>
                    <a:pt x="366" y="1170"/>
                  </a:lnTo>
                  <a:lnTo>
                    <a:pt x="348" y="1152"/>
                  </a:lnTo>
                  <a:lnTo>
                    <a:pt x="336" y="1140"/>
                  </a:lnTo>
                  <a:lnTo>
                    <a:pt x="330" y="1134"/>
                  </a:lnTo>
                  <a:lnTo>
                    <a:pt x="324" y="1128"/>
                  </a:lnTo>
                  <a:lnTo>
                    <a:pt x="318" y="1122"/>
                  </a:lnTo>
                  <a:lnTo>
                    <a:pt x="312" y="1116"/>
                  </a:lnTo>
                  <a:lnTo>
                    <a:pt x="306" y="1110"/>
                  </a:lnTo>
                  <a:lnTo>
                    <a:pt x="300" y="1104"/>
                  </a:lnTo>
                  <a:lnTo>
                    <a:pt x="294" y="1098"/>
                  </a:lnTo>
                  <a:lnTo>
                    <a:pt x="276" y="1080"/>
                  </a:lnTo>
                  <a:lnTo>
                    <a:pt x="270" y="1080"/>
                  </a:lnTo>
                  <a:lnTo>
                    <a:pt x="270" y="1074"/>
                  </a:lnTo>
                  <a:lnTo>
                    <a:pt x="264" y="1068"/>
                  </a:lnTo>
                  <a:lnTo>
                    <a:pt x="258" y="1062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40" y="1050"/>
                  </a:lnTo>
                  <a:lnTo>
                    <a:pt x="234" y="1044"/>
                  </a:lnTo>
                  <a:lnTo>
                    <a:pt x="228" y="1044"/>
                  </a:lnTo>
                  <a:lnTo>
                    <a:pt x="222" y="1038"/>
                  </a:lnTo>
                  <a:lnTo>
                    <a:pt x="222" y="1032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6"/>
                  </a:lnTo>
                  <a:lnTo>
                    <a:pt x="204" y="1020"/>
                  </a:lnTo>
                  <a:lnTo>
                    <a:pt x="204" y="1014"/>
                  </a:lnTo>
                  <a:lnTo>
                    <a:pt x="198" y="1014"/>
                  </a:lnTo>
                  <a:lnTo>
                    <a:pt x="192" y="1014"/>
                  </a:lnTo>
                  <a:lnTo>
                    <a:pt x="192" y="1008"/>
                  </a:lnTo>
                  <a:lnTo>
                    <a:pt x="186" y="1008"/>
                  </a:lnTo>
                  <a:lnTo>
                    <a:pt x="186" y="1002"/>
                  </a:lnTo>
                  <a:lnTo>
                    <a:pt x="180" y="1002"/>
                  </a:lnTo>
                  <a:lnTo>
                    <a:pt x="174" y="996"/>
                  </a:lnTo>
                  <a:lnTo>
                    <a:pt x="168" y="996"/>
                  </a:lnTo>
                  <a:lnTo>
                    <a:pt x="168" y="990"/>
                  </a:lnTo>
                  <a:lnTo>
                    <a:pt x="162" y="990"/>
                  </a:lnTo>
                  <a:lnTo>
                    <a:pt x="162" y="984"/>
                  </a:lnTo>
                  <a:lnTo>
                    <a:pt x="150" y="978"/>
                  </a:lnTo>
                  <a:lnTo>
                    <a:pt x="144" y="972"/>
                  </a:lnTo>
                  <a:lnTo>
                    <a:pt x="138" y="972"/>
                  </a:lnTo>
                  <a:lnTo>
                    <a:pt x="138" y="966"/>
                  </a:lnTo>
                  <a:lnTo>
                    <a:pt x="132" y="966"/>
                  </a:lnTo>
                  <a:lnTo>
                    <a:pt x="126" y="960"/>
                  </a:lnTo>
                  <a:lnTo>
                    <a:pt x="126" y="954"/>
                  </a:lnTo>
                  <a:lnTo>
                    <a:pt x="120" y="954"/>
                  </a:lnTo>
                  <a:lnTo>
                    <a:pt x="114" y="948"/>
                  </a:lnTo>
                  <a:lnTo>
                    <a:pt x="108" y="948"/>
                  </a:lnTo>
                  <a:lnTo>
                    <a:pt x="108" y="942"/>
                  </a:lnTo>
                  <a:lnTo>
                    <a:pt x="102" y="942"/>
                  </a:lnTo>
                  <a:lnTo>
                    <a:pt x="96" y="942"/>
                  </a:lnTo>
                  <a:lnTo>
                    <a:pt x="96" y="936"/>
                  </a:lnTo>
                  <a:lnTo>
                    <a:pt x="90" y="936"/>
                  </a:lnTo>
                  <a:lnTo>
                    <a:pt x="90" y="930"/>
                  </a:lnTo>
                  <a:lnTo>
                    <a:pt x="84" y="930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18"/>
                  </a:lnTo>
                  <a:lnTo>
                    <a:pt x="66" y="918"/>
                  </a:lnTo>
                  <a:lnTo>
                    <a:pt x="66" y="912"/>
                  </a:lnTo>
                  <a:lnTo>
                    <a:pt x="66" y="906"/>
                  </a:lnTo>
                  <a:lnTo>
                    <a:pt x="72" y="906"/>
                  </a:lnTo>
                  <a:lnTo>
                    <a:pt x="84" y="906"/>
                  </a:lnTo>
                  <a:lnTo>
                    <a:pt x="90" y="906"/>
                  </a:lnTo>
                  <a:lnTo>
                    <a:pt x="120" y="930"/>
                  </a:lnTo>
                  <a:lnTo>
                    <a:pt x="126" y="936"/>
                  </a:lnTo>
                  <a:lnTo>
                    <a:pt x="138" y="936"/>
                  </a:lnTo>
                  <a:lnTo>
                    <a:pt x="138" y="930"/>
                  </a:lnTo>
                  <a:lnTo>
                    <a:pt x="144" y="930"/>
                  </a:lnTo>
                  <a:lnTo>
                    <a:pt x="144" y="924"/>
                  </a:lnTo>
                  <a:lnTo>
                    <a:pt x="150" y="900"/>
                  </a:lnTo>
                  <a:lnTo>
                    <a:pt x="138" y="894"/>
                  </a:lnTo>
                  <a:lnTo>
                    <a:pt x="126" y="894"/>
                  </a:lnTo>
                  <a:lnTo>
                    <a:pt x="108" y="888"/>
                  </a:lnTo>
                  <a:lnTo>
                    <a:pt x="84" y="882"/>
                  </a:lnTo>
                  <a:lnTo>
                    <a:pt x="72" y="882"/>
                  </a:lnTo>
                  <a:lnTo>
                    <a:pt x="72" y="876"/>
                  </a:lnTo>
                  <a:lnTo>
                    <a:pt x="78" y="870"/>
                  </a:lnTo>
                  <a:lnTo>
                    <a:pt x="90" y="870"/>
                  </a:lnTo>
                  <a:lnTo>
                    <a:pt x="96" y="870"/>
                  </a:lnTo>
                  <a:lnTo>
                    <a:pt x="102" y="870"/>
                  </a:lnTo>
                  <a:lnTo>
                    <a:pt x="114" y="870"/>
                  </a:lnTo>
                  <a:lnTo>
                    <a:pt x="120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34"/>
                  </a:lnTo>
                  <a:lnTo>
                    <a:pt x="132" y="828"/>
                  </a:lnTo>
                  <a:lnTo>
                    <a:pt x="132" y="816"/>
                  </a:lnTo>
                  <a:lnTo>
                    <a:pt x="150" y="816"/>
                  </a:lnTo>
                  <a:lnTo>
                    <a:pt x="150" y="804"/>
                  </a:lnTo>
                  <a:lnTo>
                    <a:pt x="144" y="798"/>
                  </a:lnTo>
                  <a:lnTo>
                    <a:pt x="156" y="762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32"/>
                  </a:lnTo>
                  <a:lnTo>
                    <a:pt x="144" y="726"/>
                  </a:lnTo>
                  <a:lnTo>
                    <a:pt x="132" y="726"/>
                  </a:lnTo>
                  <a:lnTo>
                    <a:pt x="120" y="732"/>
                  </a:lnTo>
                  <a:lnTo>
                    <a:pt x="114" y="744"/>
                  </a:lnTo>
                  <a:lnTo>
                    <a:pt x="108" y="750"/>
                  </a:lnTo>
                  <a:lnTo>
                    <a:pt x="96" y="768"/>
                  </a:lnTo>
                  <a:lnTo>
                    <a:pt x="96" y="774"/>
                  </a:lnTo>
                  <a:lnTo>
                    <a:pt x="90" y="780"/>
                  </a:lnTo>
                  <a:lnTo>
                    <a:pt x="84" y="804"/>
                  </a:lnTo>
                  <a:lnTo>
                    <a:pt x="72" y="774"/>
                  </a:lnTo>
                  <a:lnTo>
                    <a:pt x="72" y="768"/>
                  </a:lnTo>
                  <a:lnTo>
                    <a:pt x="66" y="762"/>
                  </a:lnTo>
                  <a:lnTo>
                    <a:pt x="60" y="750"/>
                  </a:lnTo>
                  <a:lnTo>
                    <a:pt x="54" y="750"/>
                  </a:lnTo>
                  <a:lnTo>
                    <a:pt x="48" y="750"/>
                  </a:lnTo>
                  <a:lnTo>
                    <a:pt x="42" y="750"/>
                  </a:lnTo>
                  <a:lnTo>
                    <a:pt x="30" y="744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12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2" y="702"/>
                  </a:lnTo>
                  <a:lnTo>
                    <a:pt x="18" y="696"/>
                  </a:lnTo>
                  <a:lnTo>
                    <a:pt x="12" y="690"/>
                  </a:lnTo>
                  <a:lnTo>
                    <a:pt x="12" y="684"/>
                  </a:lnTo>
                  <a:lnTo>
                    <a:pt x="12" y="678"/>
                  </a:lnTo>
                  <a:lnTo>
                    <a:pt x="12" y="672"/>
                  </a:lnTo>
                  <a:lnTo>
                    <a:pt x="18" y="672"/>
                  </a:lnTo>
                  <a:lnTo>
                    <a:pt x="18" y="666"/>
                  </a:lnTo>
                  <a:lnTo>
                    <a:pt x="24" y="666"/>
                  </a:lnTo>
                  <a:lnTo>
                    <a:pt x="24" y="660"/>
                  </a:lnTo>
                  <a:lnTo>
                    <a:pt x="30" y="660"/>
                  </a:lnTo>
                  <a:lnTo>
                    <a:pt x="30" y="654"/>
                  </a:lnTo>
                  <a:lnTo>
                    <a:pt x="36" y="654"/>
                  </a:lnTo>
                  <a:lnTo>
                    <a:pt x="36" y="648"/>
                  </a:lnTo>
                  <a:lnTo>
                    <a:pt x="42" y="648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60" y="630"/>
                  </a:lnTo>
                  <a:lnTo>
                    <a:pt x="66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78" y="624"/>
                  </a:lnTo>
                  <a:lnTo>
                    <a:pt x="84" y="618"/>
                  </a:lnTo>
                  <a:lnTo>
                    <a:pt x="84" y="612"/>
                  </a:lnTo>
                  <a:lnTo>
                    <a:pt x="90" y="612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20" y="588"/>
                  </a:lnTo>
                  <a:lnTo>
                    <a:pt x="120" y="582"/>
                  </a:lnTo>
                  <a:lnTo>
                    <a:pt x="120" y="576"/>
                  </a:lnTo>
                  <a:lnTo>
                    <a:pt x="120" y="570"/>
                  </a:lnTo>
                  <a:lnTo>
                    <a:pt x="126" y="564"/>
                  </a:lnTo>
                  <a:lnTo>
                    <a:pt x="126" y="558"/>
                  </a:lnTo>
                  <a:lnTo>
                    <a:pt x="126" y="552"/>
                  </a:lnTo>
                  <a:lnTo>
                    <a:pt x="126" y="546"/>
                  </a:lnTo>
                  <a:lnTo>
                    <a:pt x="126" y="534"/>
                  </a:lnTo>
                  <a:lnTo>
                    <a:pt x="126" y="516"/>
                  </a:lnTo>
                  <a:lnTo>
                    <a:pt x="126" y="510"/>
                  </a:lnTo>
                  <a:lnTo>
                    <a:pt x="126" y="504"/>
                  </a:lnTo>
                  <a:lnTo>
                    <a:pt x="126" y="498"/>
                  </a:lnTo>
                  <a:lnTo>
                    <a:pt x="132" y="498"/>
                  </a:lnTo>
                  <a:lnTo>
                    <a:pt x="132" y="492"/>
                  </a:lnTo>
                  <a:lnTo>
                    <a:pt x="138" y="492"/>
                  </a:lnTo>
                  <a:lnTo>
                    <a:pt x="144" y="486"/>
                  </a:lnTo>
                  <a:lnTo>
                    <a:pt x="156" y="480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6" y="462"/>
                  </a:lnTo>
                  <a:lnTo>
                    <a:pt x="156" y="456"/>
                  </a:lnTo>
                  <a:lnTo>
                    <a:pt x="156" y="450"/>
                  </a:lnTo>
                  <a:lnTo>
                    <a:pt x="162" y="438"/>
                  </a:lnTo>
                  <a:lnTo>
                    <a:pt x="168" y="426"/>
                  </a:lnTo>
                  <a:lnTo>
                    <a:pt x="174" y="426"/>
                  </a:lnTo>
                  <a:lnTo>
                    <a:pt x="174" y="420"/>
                  </a:lnTo>
                  <a:lnTo>
                    <a:pt x="180" y="414"/>
                  </a:lnTo>
                  <a:lnTo>
                    <a:pt x="186" y="420"/>
                  </a:lnTo>
                  <a:lnTo>
                    <a:pt x="186" y="414"/>
                  </a:lnTo>
                  <a:lnTo>
                    <a:pt x="180" y="408"/>
                  </a:lnTo>
                  <a:lnTo>
                    <a:pt x="180" y="402"/>
                  </a:lnTo>
                  <a:lnTo>
                    <a:pt x="186" y="402"/>
                  </a:lnTo>
                  <a:lnTo>
                    <a:pt x="192" y="402"/>
                  </a:lnTo>
                  <a:lnTo>
                    <a:pt x="192" y="396"/>
                  </a:lnTo>
                  <a:lnTo>
                    <a:pt x="198" y="396"/>
                  </a:lnTo>
                  <a:lnTo>
                    <a:pt x="204" y="396"/>
                  </a:lnTo>
                  <a:lnTo>
                    <a:pt x="210" y="396"/>
                  </a:lnTo>
                  <a:lnTo>
                    <a:pt x="210" y="390"/>
                  </a:lnTo>
                  <a:lnTo>
                    <a:pt x="216" y="390"/>
                  </a:lnTo>
                  <a:lnTo>
                    <a:pt x="216" y="384"/>
                  </a:lnTo>
                  <a:lnTo>
                    <a:pt x="222" y="384"/>
                  </a:lnTo>
                  <a:lnTo>
                    <a:pt x="222" y="378"/>
                  </a:lnTo>
                  <a:lnTo>
                    <a:pt x="228" y="372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0" y="348"/>
                  </a:lnTo>
                  <a:lnTo>
                    <a:pt x="234" y="342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46" y="330"/>
                  </a:lnTo>
                  <a:lnTo>
                    <a:pt x="246" y="324"/>
                  </a:lnTo>
                  <a:lnTo>
                    <a:pt x="234" y="318"/>
                  </a:lnTo>
                  <a:lnTo>
                    <a:pt x="234" y="312"/>
                  </a:lnTo>
                  <a:lnTo>
                    <a:pt x="234" y="300"/>
                  </a:lnTo>
                  <a:lnTo>
                    <a:pt x="240" y="288"/>
                  </a:lnTo>
                  <a:lnTo>
                    <a:pt x="240" y="276"/>
                  </a:lnTo>
                  <a:lnTo>
                    <a:pt x="246" y="258"/>
                  </a:lnTo>
                  <a:lnTo>
                    <a:pt x="258" y="252"/>
                  </a:lnTo>
                  <a:lnTo>
                    <a:pt x="270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294" y="252"/>
                  </a:lnTo>
                  <a:lnTo>
                    <a:pt x="300" y="258"/>
                  </a:lnTo>
                  <a:lnTo>
                    <a:pt x="318" y="252"/>
                  </a:lnTo>
                  <a:lnTo>
                    <a:pt x="366" y="252"/>
                  </a:lnTo>
                  <a:lnTo>
                    <a:pt x="378" y="252"/>
                  </a:lnTo>
                  <a:lnTo>
                    <a:pt x="396" y="252"/>
                  </a:lnTo>
                  <a:lnTo>
                    <a:pt x="408" y="252"/>
                  </a:lnTo>
                  <a:lnTo>
                    <a:pt x="408" y="246"/>
                  </a:lnTo>
                  <a:lnTo>
                    <a:pt x="414" y="240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20" y="216"/>
                  </a:lnTo>
                  <a:lnTo>
                    <a:pt x="426" y="210"/>
                  </a:lnTo>
                  <a:lnTo>
                    <a:pt x="444" y="198"/>
                  </a:lnTo>
                  <a:lnTo>
                    <a:pt x="462" y="198"/>
                  </a:lnTo>
                  <a:lnTo>
                    <a:pt x="474" y="204"/>
                  </a:lnTo>
                  <a:lnTo>
                    <a:pt x="498" y="198"/>
                  </a:lnTo>
                  <a:lnTo>
                    <a:pt x="498" y="204"/>
                  </a:lnTo>
                  <a:lnTo>
                    <a:pt x="540" y="210"/>
                  </a:lnTo>
                  <a:lnTo>
                    <a:pt x="564" y="210"/>
                  </a:lnTo>
                  <a:lnTo>
                    <a:pt x="588" y="210"/>
                  </a:lnTo>
                  <a:lnTo>
                    <a:pt x="612" y="210"/>
                  </a:lnTo>
                  <a:lnTo>
                    <a:pt x="612" y="216"/>
                  </a:lnTo>
                  <a:lnTo>
                    <a:pt x="618" y="222"/>
                  </a:lnTo>
                  <a:lnTo>
                    <a:pt x="618" y="228"/>
                  </a:lnTo>
                  <a:lnTo>
                    <a:pt x="624" y="240"/>
                  </a:lnTo>
                  <a:lnTo>
                    <a:pt x="624" y="246"/>
                  </a:lnTo>
                  <a:lnTo>
                    <a:pt x="630" y="252"/>
                  </a:lnTo>
                  <a:lnTo>
                    <a:pt x="630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0" y="282"/>
                  </a:lnTo>
                  <a:lnTo>
                    <a:pt x="630" y="288"/>
                  </a:lnTo>
                  <a:lnTo>
                    <a:pt x="630" y="300"/>
                  </a:lnTo>
                  <a:lnTo>
                    <a:pt x="630" y="306"/>
                  </a:lnTo>
                  <a:lnTo>
                    <a:pt x="636" y="306"/>
                  </a:lnTo>
                  <a:lnTo>
                    <a:pt x="642" y="306"/>
                  </a:lnTo>
                  <a:lnTo>
                    <a:pt x="648" y="312"/>
                  </a:lnTo>
                  <a:lnTo>
                    <a:pt x="666" y="312"/>
                  </a:lnTo>
                  <a:lnTo>
                    <a:pt x="696" y="306"/>
                  </a:lnTo>
                  <a:lnTo>
                    <a:pt x="732" y="300"/>
                  </a:lnTo>
                  <a:lnTo>
                    <a:pt x="732" y="288"/>
                  </a:lnTo>
                  <a:lnTo>
                    <a:pt x="738" y="288"/>
                  </a:lnTo>
                  <a:lnTo>
                    <a:pt x="744" y="276"/>
                  </a:lnTo>
                  <a:lnTo>
                    <a:pt x="762" y="246"/>
                  </a:lnTo>
                  <a:lnTo>
                    <a:pt x="768" y="228"/>
                  </a:lnTo>
                  <a:lnTo>
                    <a:pt x="792" y="210"/>
                  </a:lnTo>
                  <a:lnTo>
                    <a:pt x="804" y="186"/>
                  </a:lnTo>
                  <a:lnTo>
                    <a:pt x="804" y="156"/>
                  </a:lnTo>
                  <a:lnTo>
                    <a:pt x="804" y="138"/>
                  </a:lnTo>
                  <a:lnTo>
                    <a:pt x="810" y="126"/>
                  </a:lnTo>
                  <a:lnTo>
                    <a:pt x="816" y="120"/>
                  </a:lnTo>
                  <a:lnTo>
                    <a:pt x="828" y="102"/>
                  </a:lnTo>
                  <a:lnTo>
                    <a:pt x="834" y="96"/>
                  </a:lnTo>
                  <a:lnTo>
                    <a:pt x="846" y="102"/>
                  </a:lnTo>
                  <a:lnTo>
                    <a:pt x="852" y="96"/>
                  </a:lnTo>
                  <a:lnTo>
                    <a:pt x="858" y="72"/>
                  </a:lnTo>
                  <a:lnTo>
                    <a:pt x="864" y="60"/>
                  </a:lnTo>
                  <a:lnTo>
                    <a:pt x="882" y="48"/>
                  </a:lnTo>
                  <a:lnTo>
                    <a:pt x="906" y="36"/>
                  </a:lnTo>
                  <a:lnTo>
                    <a:pt x="918" y="12"/>
                  </a:lnTo>
                  <a:lnTo>
                    <a:pt x="924" y="0"/>
                  </a:lnTo>
                  <a:lnTo>
                    <a:pt x="930" y="6"/>
                  </a:lnTo>
                  <a:lnTo>
                    <a:pt x="942" y="12"/>
                  </a:lnTo>
                  <a:lnTo>
                    <a:pt x="948" y="12"/>
                  </a:lnTo>
                  <a:lnTo>
                    <a:pt x="954" y="18"/>
                  </a:lnTo>
                  <a:lnTo>
                    <a:pt x="966" y="18"/>
                  </a:lnTo>
                  <a:lnTo>
                    <a:pt x="972" y="18"/>
                  </a:lnTo>
                  <a:lnTo>
                    <a:pt x="984" y="18"/>
                  </a:lnTo>
                  <a:lnTo>
                    <a:pt x="990" y="18"/>
                  </a:lnTo>
                  <a:lnTo>
                    <a:pt x="1002" y="48"/>
                  </a:lnTo>
                  <a:lnTo>
                    <a:pt x="1008" y="78"/>
                  </a:lnTo>
                  <a:lnTo>
                    <a:pt x="1020" y="78"/>
                  </a:lnTo>
                  <a:lnTo>
                    <a:pt x="1020" y="90"/>
                  </a:lnTo>
                  <a:lnTo>
                    <a:pt x="1026" y="102"/>
                  </a:lnTo>
                  <a:lnTo>
                    <a:pt x="1044" y="120"/>
                  </a:lnTo>
                  <a:lnTo>
                    <a:pt x="1044" y="132"/>
                  </a:lnTo>
                  <a:lnTo>
                    <a:pt x="1056" y="150"/>
                  </a:lnTo>
                  <a:lnTo>
                    <a:pt x="1050" y="150"/>
                  </a:lnTo>
                  <a:lnTo>
                    <a:pt x="1044" y="156"/>
                  </a:lnTo>
                  <a:lnTo>
                    <a:pt x="1044" y="162"/>
                  </a:lnTo>
                  <a:lnTo>
                    <a:pt x="1038" y="162"/>
                  </a:lnTo>
                  <a:lnTo>
                    <a:pt x="1032" y="162"/>
                  </a:lnTo>
                  <a:lnTo>
                    <a:pt x="1026" y="168"/>
                  </a:lnTo>
                  <a:lnTo>
                    <a:pt x="1014" y="174"/>
                  </a:lnTo>
                  <a:lnTo>
                    <a:pt x="1014" y="186"/>
                  </a:lnTo>
                  <a:lnTo>
                    <a:pt x="1014" y="192"/>
                  </a:lnTo>
                  <a:lnTo>
                    <a:pt x="1014" y="198"/>
                  </a:lnTo>
                  <a:lnTo>
                    <a:pt x="1020" y="204"/>
                  </a:lnTo>
                  <a:lnTo>
                    <a:pt x="1026" y="204"/>
                  </a:lnTo>
                  <a:lnTo>
                    <a:pt x="1032" y="204"/>
                  </a:lnTo>
                  <a:lnTo>
                    <a:pt x="1032" y="210"/>
                  </a:lnTo>
                  <a:lnTo>
                    <a:pt x="1038" y="210"/>
                  </a:lnTo>
                  <a:lnTo>
                    <a:pt x="1032" y="216"/>
                  </a:lnTo>
                  <a:lnTo>
                    <a:pt x="1026" y="228"/>
                  </a:lnTo>
                  <a:lnTo>
                    <a:pt x="1026" y="234"/>
                  </a:lnTo>
                  <a:lnTo>
                    <a:pt x="1032" y="240"/>
                  </a:lnTo>
                  <a:lnTo>
                    <a:pt x="1032" y="246"/>
                  </a:lnTo>
                  <a:lnTo>
                    <a:pt x="1032" y="252"/>
                  </a:lnTo>
                  <a:lnTo>
                    <a:pt x="1032" y="258"/>
                  </a:lnTo>
                  <a:lnTo>
                    <a:pt x="1038" y="264"/>
                  </a:lnTo>
                  <a:lnTo>
                    <a:pt x="1032" y="276"/>
                  </a:lnTo>
                  <a:lnTo>
                    <a:pt x="1026" y="276"/>
                  </a:lnTo>
                  <a:lnTo>
                    <a:pt x="1020" y="276"/>
                  </a:lnTo>
                  <a:lnTo>
                    <a:pt x="996" y="282"/>
                  </a:lnTo>
                  <a:lnTo>
                    <a:pt x="996" y="288"/>
                  </a:lnTo>
                  <a:lnTo>
                    <a:pt x="996" y="294"/>
                  </a:lnTo>
                  <a:lnTo>
                    <a:pt x="996" y="300"/>
                  </a:lnTo>
                  <a:lnTo>
                    <a:pt x="996" y="306"/>
                  </a:lnTo>
                  <a:lnTo>
                    <a:pt x="984" y="324"/>
                  </a:lnTo>
                  <a:lnTo>
                    <a:pt x="984" y="330"/>
                  </a:lnTo>
                  <a:lnTo>
                    <a:pt x="984" y="336"/>
                  </a:lnTo>
                  <a:lnTo>
                    <a:pt x="978" y="336"/>
                  </a:lnTo>
                  <a:lnTo>
                    <a:pt x="978" y="342"/>
                  </a:lnTo>
                  <a:lnTo>
                    <a:pt x="984" y="360"/>
                  </a:lnTo>
                  <a:lnTo>
                    <a:pt x="978" y="366"/>
                  </a:lnTo>
                  <a:lnTo>
                    <a:pt x="978" y="372"/>
                  </a:lnTo>
                  <a:lnTo>
                    <a:pt x="972" y="372"/>
                  </a:lnTo>
                  <a:lnTo>
                    <a:pt x="972" y="378"/>
                  </a:lnTo>
                  <a:lnTo>
                    <a:pt x="972" y="384"/>
                  </a:lnTo>
                  <a:lnTo>
                    <a:pt x="972" y="390"/>
                  </a:lnTo>
                  <a:lnTo>
                    <a:pt x="966" y="402"/>
                  </a:lnTo>
                  <a:lnTo>
                    <a:pt x="960" y="414"/>
                  </a:lnTo>
                  <a:lnTo>
                    <a:pt x="954" y="420"/>
                  </a:lnTo>
                  <a:lnTo>
                    <a:pt x="948" y="426"/>
                  </a:lnTo>
                  <a:lnTo>
                    <a:pt x="948" y="438"/>
                  </a:lnTo>
                  <a:lnTo>
                    <a:pt x="942" y="444"/>
                  </a:lnTo>
                  <a:lnTo>
                    <a:pt x="936" y="450"/>
                  </a:lnTo>
                  <a:lnTo>
                    <a:pt x="930" y="456"/>
                  </a:lnTo>
                  <a:lnTo>
                    <a:pt x="924" y="462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18" y="522"/>
                  </a:lnTo>
                  <a:lnTo>
                    <a:pt x="918" y="528"/>
                  </a:lnTo>
                  <a:lnTo>
                    <a:pt x="924" y="534"/>
                  </a:lnTo>
                  <a:lnTo>
                    <a:pt x="924" y="540"/>
                  </a:lnTo>
                  <a:lnTo>
                    <a:pt x="924" y="546"/>
                  </a:lnTo>
                  <a:lnTo>
                    <a:pt x="918" y="546"/>
                  </a:lnTo>
                  <a:lnTo>
                    <a:pt x="918" y="552"/>
                  </a:lnTo>
                  <a:lnTo>
                    <a:pt x="912" y="546"/>
                  </a:lnTo>
                  <a:lnTo>
                    <a:pt x="912" y="552"/>
                  </a:lnTo>
                  <a:lnTo>
                    <a:pt x="912" y="570"/>
                  </a:lnTo>
                  <a:lnTo>
                    <a:pt x="906" y="588"/>
                  </a:lnTo>
                  <a:lnTo>
                    <a:pt x="900" y="606"/>
                  </a:lnTo>
                  <a:lnTo>
                    <a:pt x="906" y="624"/>
                  </a:lnTo>
                  <a:lnTo>
                    <a:pt x="900" y="624"/>
                  </a:lnTo>
                  <a:lnTo>
                    <a:pt x="894" y="630"/>
                  </a:lnTo>
                  <a:lnTo>
                    <a:pt x="888" y="630"/>
                  </a:lnTo>
                  <a:lnTo>
                    <a:pt x="882" y="630"/>
                  </a:lnTo>
                  <a:lnTo>
                    <a:pt x="882" y="636"/>
                  </a:lnTo>
                  <a:lnTo>
                    <a:pt x="876" y="642"/>
                  </a:lnTo>
                  <a:lnTo>
                    <a:pt x="870" y="642"/>
                  </a:lnTo>
                  <a:lnTo>
                    <a:pt x="870" y="648"/>
                  </a:lnTo>
                  <a:lnTo>
                    <a:pt x="870" y="654"/>
                  </a:lnTo>
                  <a:lnTo>
                    <a:pt x="864" y="654"/>
                  </a:lnTo>
                  <a:lnTo>
                    <a:pt x="864" y="660"/>
                  </a:lnTo>
                  <a:lnTo>
                    <a:pt x="846" y="666"/>
                  </a:lnTo>
                  <a:lnTo>
                    <a:pt x="828" y="672"/>
                  </a:lnTo>
                  <a:lnTo>
                    <a:pt x="816" y="660"/>
                  </a:lnTo>
                  <a:lnTo>
                    <a:pt x="810" y="660"/>
                  </a:lnTo>
                  <a:lnTo>
                    <a:pt x="798" y="666"/>
                  </a:lnTo>
                  <a:lnTo>
                    <a:pt x="786" y="666"/>
                  </a:lnTo>
                  <a:lnTo>
                    <a:pt x="780" y="672"/>
                  </a:lnTo>
                  <a:lnTo>
                    <a:pt x="768" y="678"/>
                  </a:lnTo>
                  <a:lnTo>
                    <a:pt x="762" y="660"/>
                  </a:lnTo>
                  <a:lnTo>
                    <a:pt x="762" y="654"/>
                  </a:lnTo>
                  <a:lnTo>
                    <a:pt x="756" y="636"/>
                  </a:lnTo>
                  <a:lnTo>
                    <a:pt x="762" y="624"/>
                  </a:lnTo>
                  <a:lnTo>
                    <a:pt x="756" y="606"/>
                  </a:lnTo>
                  <a:lnTo>
                    <a:pt x="756" y="600"/>
                  </a:lnTo>
                  <a:lnTo>
                    <a:pt x="762" y="594"/>
                  </a:lnTo>
                  <a:lnTo>
                    <a:pt x="768" y="600"/>
                  </a:lnTo>
                  <a:lnTo>
                    <a:pt x="768" y="594"/>
                  </a:lnTo>
                  <a:lnTo>
                    <a:pt x="768" y="588"/>
                  </a:lnTo>
                  <a:lnTo>
                    <a:pt x="774" y="582"/>
                  </a:lnTo>
                  <a:lnTo>
                    <a:pt x="768" y="576"/>
                  </a:lnTo>
                  <a:lnTo>
                    <a:pt x="762" y="576"/>
                  </a:lnTo>
                  <a:lnTo>
                    <a:pt x="756" y="576"/>
                  </a:lnTo>
                  <a:lnTo>
                    <a:pt x="690" y="576"/>
                  </a:lnTo>
                  <a:lnTo>
                    <a:pt x="624" y="570"/>
                  </a:lnTo>
                  <a:lnTo>
                    <a:pt x="600" y="564"/>
                  </a:lnTo>
                  <a:lnTo>
                    <a:pt x="576" y="564"/>
                  </a:lnTo>
                  <a:lnTo>
                    <a:pt x="558" y="570"/>
                  </a:lnTo>
                  <a:lnTo>
                    <a:pt x="552" y="576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46" y="594"/>
                  </a:lnTo>
                  <a:lnTo>
                    <a:pt x="546" y="600"/>
                  </a:lnTo>
                  <a:lnTo>
                    <a:pt x="540" y="606"/>
                  </a:lnTo>
                  <a:lnTo>
                    <a:pt x="534" y="618"/>
                  </a:lnTo>
                  <a:lnTo>
                    <a:pt x="534" y="624"/>
                  </a:lnTo>
                  <a:lnTo>
                    <a:pt x="534" y="630"/>
                  </a:lnTo>
                  <a:lnTo>
                    <a:pt x="534" y="636"/>
                  </a:lnTo>
                  <a:lnTo>
                    <a:pt x="528" y="636"/>
                  </a:lnTo>
                  <a:lnTo>
                    <a:pt x="516" y="642"/>
                  </a:lnTo>
                  <a:lnTo>
                    <a:pt x="516" y="648"/>
                  </a:lnTo>
                  <a:lnTo>
                    <a:pt x="510" y="648"/>
                  </a:lnTo>
                  <a:lnTo>
                    <a:pt x="504" y="654"/>
                  </a:lnTo>
                  <a:lnTo>
                    <a:pt x="492" y="666"/>
                  </a:lnTo>
                  <a:lnTo>
                    <a:pt x="492" y="672"/>
                  </a:lnTo>
                  <a:lnTo>
                    <a:pt x="492" y="684"/>
                  </a:lnTo>
                  <a:lnTo>
                    <a:pt x="486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92" y="702"/>
                  </a:lnTo>
                  <a:lnTo>
                    <a:pt x="486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74" y="720"/>
                  </a:lnTo>
                  <a:lnTo>
                    <a:pt x="480" y="726"/>
                  </a:lnTo>
                  <a:lnTo>
                    <a:pt x="474" y="726"/>
                  </a:lnTo>
                  <a:lnTo>
                    <a:pt x="474" y="738"/>
                  </a:lnTo>
                  <a:lnTo>
                    <a:pt x="474" y="744"/>
                  </a:lnTo>
                  <a:lnTo>
                    <a:pt x="474" y="750"/>
                  </a:lnTo>
                  <a:lnTo>
                    <a:pt x="480" y="750"/>
                  </a:lnTo>
                  <a:lnTo>
                    <a:pt x="480" y="756"/>
                  </a:lnTo>
                  <a:lnTo>
                    <a:pt x="492" y="762"/>
                  </a:lnTo>
                  <a:lnTo>
                    <a:pt x="498" y="774"/>
                  </a:lnTo>
                  <a:lnTo>
                    <a:pt x="498" y="780"/>
                  </a:lnTo>
                  <a:lnTo>
                    <a:pt x="504" y="786"/>
                  </a:lnTo>
                  <a:lnTo>
                    <a:pt x="510" y="792"/>
                  </a:lnTo>
                  <a:lnTo>
                    <a:pt x="504" y="798"/>
                  </a:lnTo>
                  <a:lnTo>
                    <a:pt x="504" y="804"/>
                  </a:lnTo>
                  <a:lnTo>
                    <a:pt x="504" y="810"/>
                  </a:lnTo>
                  <a:lnTo>
                    <a:pt x="498" y="822"/>
                  </a:lnTo>
                  <a:lnTo>
                    <a:pt x="492" y="828"/>
                  </a:lnTo>
                  <a:lnTo>
                    <a:pt x="492" y="834"/>
                  </a:lnTo>
                  <a:lnTo>
                    <a:pt x="486" y="840"/>
                  </a:lnTo>
                  <a:lnTo>
                    <a:pt x="480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74" y="858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876"/>
                  </a:lnTo>
                  <a:lnTo>
                    <a:pt x="456" y="894"/>
                  </a:lnTo>
                  <a:lnTo>
                    <a:pt x="450" y="894"/>
                  </a:lnTo>
                  <a:lnTo>
                    <a:pt x="444" y="900"/>
                  </a:lnTo>
                  <a:lnTo>
                    <a:pt x="444" y="894"/>
                  </a:lnTo>
                  <a:lnTo>
                    <a:pt x="438" y="894"/>
                  </a:lnTo>
                  <a:lnTo>
                    <a:pt x="432" y="900"/>
                  </a:lnTo>
                  <a:lnTo>
                    <a:pt x="432" y="906"/>
                  </a:lnTo>
                  <a:lnTo>
                    <a:pt x="420" y="906"/>
                  </a:lnTo>
                  <a:lnTo>
                    <a:pt x="420" y="912"/>
                  </a:lnTo>
                  <a:lnTo>
                    <a:pt x="420" y="918"/>
                  </a:lnTo>
                  <a:lnTo>
                    <a:pt x="426" y="918"/>
                  </a:lnTo>
                  <a:lnTo>
                    <a:pt x="426" y="924"/>
                  </a:lnTo>
                  <a:lnTo>
                    <a:pt x="426" y="930"/>
                  </a:lnTo>
                  <a:lnTo>
                    <a:pt x="420" y="930"/>
                  </a:lnTo>
                  <a:lnTo>
                    <a:pt x="414" y="936"/>
                  </a:lnTo>
                  <a:lnTo>
                    <a:pt x="414" y="942"/>
                  </a:lnTo>
                  <a:lnTo>
                    <a:pt x="414" y="948"/>
                  </a:lnTo>
                  <a:lnTo>
                    <a:pt x="414" y="954"/>
                  </a:lnTo>
                  <a:lnTo>
                    <a:pt x="426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44" y="972"/>
                  </a:lnTo>
                  <a:lnTo>
                    <a:pt x="444" y="978"/>
                  </a:lnTo>
                  <a:lnTo>
                    <a:pt x="450" y="978"/>
                  </a:lnTo>
                  <a:lnTo>
                    <a:pt x="450" y="984"/>
                  </a:lnTo>
                  <a:lnTo>
                    <a:pt x="456" y="990"/>
                  </a:lnTo>
                  <a:lnTo>
                    <a:pt x="456" y="996"/>
                  </a:lnTo>
                  <a:lnTo>
                    <a:pt x="462" y="1008"/>
                  </a:lnTo>
                  <a:lnTo>
                    <a:pt x="468" y="1008"/>
                  </a:lnTo>
                  <a:lnTo>
                    <a:pt x="468" y="1002"/>
                  </a:lnTo>
                  <a:lnTo>
                    <a:pt x="474" y="1008"/>
                  </a:lnTo>
                  <a:lnTo>
                    <a:pt x="480" y="1002"/>
                  </a:lnTo>
                  <a:lnTo>
                    <a:pt x="486" y="1008"/>
                  </a:lnTo>
                  <a:lnTo>
                    <a:pt x="486" y="1014"/>
                  </a:lnTo>
                  <a:lnTo>
                    <a:pt x="492" y="1014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86" y="1026"/>
                  </a:lnTo>
                  <a:lnTo>
                    <a:pt x="492" y="1026"/>
                  </a:lnTo>
                  <a:lnTo>
                    <a:pt x="486" y="1026"/>
                  </a:lnTo>
                  <a:lnTo>
                    <a:pt x="492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5" name="Freeform 30">
              <a:extLst>
                <a:ext uri="{FF2B5EF4-FFF2-40B4-BE49-F238E27FC236}">
                  <a16:creationId xmlns:a16="http://schemas.microsoft.com/office/drawing/2014/main" id="{85C7B827-0C1A-4D72-AEBD-F01CFE7EC12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3645" y="3904484"/>
              <a:ext cx="559048" cy="111825"/>
            </a:xfrm>
            <a:custGeom>
              <a:avLst/>
              <a:gdLst>
                <a:gd name="T0" fmla="*/ 69 w 1056"/>
                <a:gd name="T1" fmla="*/ 7 h 210"/>
                <a:gd name="T2" fmla="*/ 63 w 1056"/>
                <a:gd name="T3" fmla="*/ 5 h 210"/>
                <a:gd name="T4" fmla="*/ 57 w 1056"/>
                <a:gd name="T5" fmla="*/ 5 h 210"/>
                <a:gd name="T6" fmla="*/ 54 w 1056"/>
                <a:gd name="T7" fmla="*/ 6 h 210"/>
                <a:gd name="T8" fmla="*/ 51 w 1056"/>
                <a:gd name="T9" fmla="*/ 7 h 210"/>
                <a:gd name="T10" fmla="*/ 46 w 1056"/>
                <a:gd name="T11" fmla="*/ 9 h 210"/>
                <a:gd name="T12" fmla="*/ 42 w 1056"/>
                <a:gd name="T13" fmla="*/ 8 h 210"/>
                <a:gd name="T14" fmla="*/ 42 w 1056"/>
                <a:gd name="T15" fmla="*/ 5 h 210"/>
                <a:gd name="T16" fmla="*/ 41 w 1056"/>
                <a:gd name="T17" fmla="*/ 7 h 210"/>
                <a:gd name="T18" fmla="*/ 38 w 1056"/>
                <a:gd name="T19" fmla="*/ 10 h 210"/>
                <a:gd name="T20" fmla="*/ 37 w 1056"/>
                <a:gd name="T21" fmla="*/ 12 h 210"/>
                <a:gd name="T22" fmla="*/ 37 w 1056"/>
                <a:gd name="T23" fmla="*/ 15 h 210"/>
                <a:gd name="T24" fmla="*/ 37 w 1056"/>
                <a:gd name="T25" fmla="*/ 16 h 210"/>
                <a:gd name="T26" fmla="*/ 38 w 1056"/>
                <a:gd name="T27" fmla="*/ 16 h 210"/>
                <a:gd name="T28" fmla="*/ 34 w 1056"/>
                <a:gd name="T29" fmla="*/ 16 h 210"/>
                <a:gd name="T30" fmla="*/ 26 w 1056"/>
                <a:gd name="T31" fmla="*/ 16 h 210"/>
                <a:gd name="T32" fmla="*/ 20 w 1056"/>
                <a:gd name="T33" fmla="*/ 17 h 210"/>
                <a:gd name="T34" fmla="*/ 13 w 1056"/>
                <a:gd name="T35" fmla="*/ 17 h 210"/>
                <a:gd name="T36" fmla="*/ 6 w 1056"/>
                <a:gd name="T37" fmla="*/ 17 h 210"/>
                <a:gd name="T38" fmla="*/ 1 w 1056"/>
                <a:gd name="T39" fmla="*/ 18 h 210"/>
                <a:gd name="T40" fmla="*/ 3 w 1056"/>
                <a:gd name="T41" fmla="*/ 14 h 210"/>
                <a:gd name="T42" fmla="*/ 8 w 1056"/>
                <a:gd name="T43" fmla="*/ 15 h 210"/>
                <a:gd name="T44" fmla="*/ 11 w 1056"/>
                <a:gd name="T45" fmla="*/ 12 h 210"/>
                <a:gd name="T46" fmla="*/ 26 w 1056"/>
                <a:gd name="T47" fmla="*/ 10 h 210"/>
                <a:gd name="T48" fmla="*/ 29 w 1056"/>
                <a:gd name="T49" fmla="*/ 5 h 210"/>
                <a:gd name="T50" fmla="*/ 34 w 1056"/>
                <a:gd name="T51" fmla="*/ 1 h 210"/>
                <a:gd name="T52" fmla="*/ 41 w 1056"/>
                <a:gd name="T53" fmla="*/ 3 h 210"/>
                <a:gd name="T54" fmla="*/ 73 w 1056"/>
                <a:gd name="T55" fmla="*/ 1 h 210"/>
                <a:gd name="T56" fmla="*/ 75 w 1056"/>
                <a:gd name="T57" fmla="*/ 4 h 210"/>
                <a:gd name="T58" fmla="*/ 85 w 1056"/>
                <a:gd name="T59" fmla="*/ 15 h 210"/>
                <a:gd name="T60" fmla="*/ 91 w 1056"/>
                <a:gd name="T61" fmla="*/ 18 h 210"/>
                <a:gd name="T62" fmla="*/ 85 w 1056"/>
                <a:gd name="T63" fmla="*/ 18 h 210"/>
                <a:gd name="T64" fmla="*/ 79 w 1056"/>
                <a:gd name="T65" fmla="*/ 16 h 210"/>
                <a:gd name="T66" fmla="*/ 74 w 1056"/>
                <a:gd name="T67" fmla="*/ 16 h 210"/>
                <a:gd name="T68" fmla="*/ 69 w 1056"/>
                <a:gd name="T69" fmla="*/ 15 h 210"/>
                <a:gd name="T70" fmla="*/ 65 w 1056"/>
                <a:gd name="T71" fmla="*/ 14 h 210"/>
                <a:gd name="T72" fmla="*/ 59 w 1056"/>
                <a:gd name="T73" fmla="*/ 15 h 210"/>
                <a:gd name="T74" fmla="*/ 54 w 1056"/>
                <a:gd name="T75" fmla="*/ 15 h 210"/>
                <a:gd name="T76" fmla="*/ 49 w 1056"/>
                <a:gd name="T77" fmla="*/ 15 h 210"/>
                <a:gd name="T78" fmla="*/ 42 w 1056"/>
                <a:gd name="T79" fmla="*/ 15 h 210"/>
                <a:gd name="T80" fmla="*/ 38 w 1056"/>
                <a:gd name="T81" fmla="*/ 16 h 210"/>
                <a:gd name="T82" fmla="*/ 41 w 1056"/>
                <a:gd name="T83" fmla="*/ 14 h 210"/>
                <a:gd name="T84" fmla="*/ 42 w 1056"/>
                <a:gd name="T85" fmla="*/ 13 h 210"/>
                <a:gd name="T86" fmla="*/ 45 w 1056"/>
                <a:gd name="T87" fmla="*/ 13 h 210"/>
                <a:gd name="T88" fmla="*/ 48 w 1056"/>
                <a:gd name="T89" fmla="*/ 12 h 210"/>
                <a:gd name="T90" fmla="*/ 51 w 1056"/>
                <a:gd name="T91" fmla="*/ 11 h 210"/>
                <a:gd name="T92" fmla="*/ 54 w 1056"/>
                <a:gd name="T93" fmla="*/ 9 h 210"/>
                <a:gd name="T94" fmla="*/ 57 w 1056"/>
                <a:gd name="T95" fmla="*/ 8 h 210"/>
                <a:gd name="T96" fmla="*/ 60 w 1056"/>
                <a:gd name="T97" fmla="*/ 5 h 210"/>
                <a:gd name="T98" fmla="*/ 65 w 1056"/>
                <a:gd name="T99" fmla="*/ 5 h 210"/>
                <a:gd name="T100" fmla="*/ 72 w 1056"/>
                <a:gd name="T101" fmla="*/ 7 h 210"/>
                <a:gd name="T102" fmla="*/ 77 w 1056"/>
                <a:gd name="T103" fmla="*/ 11 h 210"/>
                <a:gd name="T104" fmla="*/ 69 w 1056"/>
                <a:gd name="T105" fmla="*/ 10 h 210"/>
                <a:gd name="T106" fmla="*/ 72 w 1056"/>
                <a:gd name="T107" fmla="*/ 12 h 210"/>
                <a:gd name="T108" fmla="*/ 78 w 1056"/>
                <a:gd name="T109" fmla="*/ 15 h 210"/>
                <a:gd name="T110" fmla="*/ 84 w 1056"/>
                <a:gd name="T111" fmla="*/ 14 h 210"/>
                <a:gd name="T112" fmla="*/ 84 w 1056"/>
                <a:gd name="T113" fmla="*/ 14 h 210"/>
                <a:gd name="T114" fmla="*/ 78 w 1056"/>
                <a:gd name="T115" fmla="*/ 13 h 210"/>
                <a:gd name="T116" fmla="*/ 76 w 1056"/>
                <a:gd name="T117" fmla="*/ 14 h 210"/>
                <a:gd name="T118" fmla="*/ 38 w 1056"/>
                <a:gd name="T119" fmla="*/ 12 h 210"/>
                <a:gd name="T120" fmla="*/ 41 w 1056"/>
                <a:gd name="T121" fmla="*/ 12 h 210"/>
                <a:gd name="T122" fmla="*/ 40 w 1056"/>
                <a:gd name="T123" fmla="*/ 14 h 2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6"/>
                <a:gd name="T187" fmla="*/ 0 h 210"/>
                <a:gd name="T188" fmla="*/ 1056 w 1056"/>
                <a:gd name="T189" fmla="*/ 210 h 21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6" h="210">
                  <a:moveTo>
                    <a:pt x="870" y="90"/>
                  </a:moveTo>
                  <a:lnTo>
                    <a:pt x="864" y="90"/>
                  </a:lnTo>
                  <a:lnTo>
                    <a:pt x="852" y="84"/>
                  </a:lnTo>
                  <a:lnTo>
                    <a:pt x="846" y="84"/>
                  </a:lnTo>
                  <a:lnTo>
                    <a:pt x="846" y="78"/>
                  </a:lnTo>
                  <a:lnTo>
                    <a:pt x="840" y="78"/>
                  </a:lnTo>
                  <a:lnTo>
                    <a:pt x="834" y="78"/>
                  </a:lnTo>
                  <a:lnTo>
                    <a:pt x="834" y="72"/>
                  </a:lnTo>
                  <a:lnTo>
                    <a:pt x="804" y="78"/>
                  </a:lnTo>
                  <a:lnTo>
                    <a:pt x="798" y="78"/>
                  </a:lnTo>
                  <a:lnTo>
                    <a:pt x="792" y="72"/>
                  </a:lnTo>
                  <a:lnTo>
                    <a:pt x="780" y="60"/>
                  </a:lnTo>
                  <a:lnTo>
                    <a:pt x="768" y="54"/>
                  </a:lnTo>
                  <a:lnTo>
                    <a:pt x="756" y="54"/>
                  </a:lnTo>
                  <a:lnTo>
                    <a:pt x="750" y="54"/>
                  </a:lnTo>
                  <a:lnTo>
                    <a:pt x="750" y="48"/>
                  </a:lnTo>
                  <a:lnTo>
                    <a:pt x="744" y="48"/>
                  </a:lnTo>
                  <a:lnTo>
                    <a:pt x="738" y="48"/>
                  </a:lnTo>
                  <a:lnTo>
                    <a:pt x="732" y="48"/>
                  </a:lnTo>
                  <a:lnTo>
                    <a:pt x="732" y="54"/>
                  </a:lnTo>
                  <a:lnTo>
                    <a:pt x="726" y="48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48"/>
                  </a:lnTo>
                  <a:lnTo>
                    <a:pt x="702" y="48"/>
                  </a:lnTo>
                  <a:lnTo>
                    <a:pt x="696" y="48"/>
                  </a:lnTo>
                  <a:lnTo>
                    <a:pt x="684" y="48"/>
                  </a:lnTo>
                  <a:lnTo>
                    <a:pt x="678" y="48"/>
                  </a:lnTo>
                  <a:lnTo>
                    <a:pt x="672" y="48"/>
                  </a:lnTo>
                  <a:lnTo>
                    <a:pt x="666" y="54"/>
                  </a:lnTo>
                  <a:lnTo>
                    <a:pt x="660" y="54"/>
                  </a:lnTo>
                  <a:lnTo>
                    <a:pt x="660" y="48"/>
                  </a:lnTo>
                  <a:lnTo>
                    <a:pt x="654" y="48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42" y="54"/>
                  </a:lnTo>
                  <a:lnTo>
                    <a:pt x="63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30" y="66"/>
                  </a:lnTo>
                  <a:lnTo>
                    <a:pt x="624" y="66"/>
                  </a:lnTo>
                  <a:lnTo>
                    <a:pt x="618" y="66"/>
                  </a:lnTo>
                  <a:lnTo>
                    <a:pt x="618" y="72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6" y="84"/>
                  </a:lnTo>
                  <a:lnTo>
                    <a:pt x="600" y="84"/>
                  </a:lnTo>
                  <a:lnTo>
                    <a:pt x="594" y="90"/>
                  </a:lnTo>
                  <a:lnTo>
                    <a:pt x="588" y="90"/>
                  </a:lnTo>
                  <a:lnTo>
                    <a:pt x="588" y="84"/>
                  </a:lnTo>
                  <a:lnTo>
                    <a:pt x="582" y="84"/>
                  </a:lnTo>
                  <a:lnTo>
                    <a:pt x="576" y="84"/>
                  </a:lnTo>
                  <a:lnTo>
                    <a:pt x="570" y="84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58" y="96"/>
                  </a:lnTo>
                  <a:lnTo>
                    <a:pt x="552" y="96"/>
                  </a:lnTo>
                  <a:lnTo>
                    <a:pt x="546" y="102"/>
                  </a:lnTo>
                  <a:lnTo>
                    <a:pt x="540" y="102"/>
                  </a:lnTo>
                  <a:lnTo>
                    <a:pt x="534" y="102"/>
                  </a:lnTo>
                  <a:lnTo>
                    <a:pt x="528" y="102"/>
                  </a:lnTo>
                  <a:lnTo>
                    <a:pt x="528" y="108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16" y="102"/>
                  </a:lnTo>
                  <a:lnTo>
                    <a:pt x="510" y="102"/>
                  </a:lnTo>
                  <a:lnTo>
                    <a:pt x="504" y="102"/>
                  </a:lnTo>
                  <a:lnTo>
                    <a:pt x="498" y="102"/>
                  </a:lnTo>
                  <a:lnTo>
                    <a:pt x="498" y="96"/>
                  </a:lnTo>
                  <a:lnTo>
                    <a:pt x="492" y="96"/>
                  </a:lnTo>
                  <a:lnTo>
                    <a:pt x="492" y="90"/>
                  </a:lnTo>
                  <a:lnTo>
                    <a:pt x="492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498" y="66"/>
                  </a:lnTo>
                  <a:lnTo>
                    <a:pt x="504" y="60"/>
                  </a:lnTo>
                  <a:lnTo>
                    <a:pt x="498" y="60"/>
                  </a:lnTo>
                  <a:lnTo>
                    <a:pt x="498" y="54"/>
                  </a:lnTo>
                  <a:lnTo>
                    <a:pt x="492" y="54"/>
                  </a:lnTo>
                  <a:lnTo>
                    <a:pt x="492" y="60"/>
                  </a:lnTo>
                  <a:lnTo>
                    <a:pt x="486" y="60"/>
                  </a:lnTo>
                  <a:lnTo>
                    <a:pt x="486" y="66"/>
                  </a:lnTo>
                  <a:lnTo>
                    <a:pt x="480" y="66"/>
                  </a:lnTo>
                  <a:lnTo>
                    <a:pt x="474" y="72"/>
                  </a:lnTo>
                  <a:lnTo>
                    <a:pt x="474" y="66"/>
                  </a:lnTo>
                  <a:lnTo>
                    <a:pt x="474" y="72"/>
                  </a:lnTo>
                  <a:lnTo>
                    <a:pt x="468" y="72"/>
                  </a:lnTo>
                  <a:lnTo>
                    <a:pt x="468" y="78"/>
                  </a:lnTo>
                  <a:lnTo>
                    <a:pt x="468" y="84"/>
                  </a:lnTo>
                  <a:lnTo>
                    <a:pt x="462" y="90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0" y="84"/>
                  </a:lnTo>
                  <a:lnTo>
                    <a:pt x="450" y="90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44" y="102"/>
                  </a:lnTo>
                  <a:lnTo>
                    <a:pt x="444" y="108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38" y="126"/>
                  </a:lnTo>
                  <a:lnTo>
                    <a:pt x="438" y="132"/>
                  </a:lnTo>
                  <a:lnTo>
                    <a:pt x="438" y="138"/>
                  </a:lnTo>
                  <a:lnTo>
                    <a:pt x="438" y="144"/>
                  </a:lnTo>
                  <a:lnTo>
                    <a:pt x="432" y="144"/>
                  </a:lnTo>
                  <a:lnTo>
                    <a:pt x="432" y="150"/>
                  </a:lnTo>
                  <a:lnTo>
                    <a:pt x="432" y="144"/>
                  </a:lnTo>
                  <a:lnTo>
                    <a:pt x="426" y="144"/>
                  </a:lnTo>
                  <a:lnTo>
                    <a:pt x="426" y="150"/>
                  </a:lnTo>
                  <a:lnTo>
                    <a:pt x="426" y="156"/>
                  </a:lnTo>
                  <a:lnTo>
                    <a:pt x="432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2"/>
                  </a:lnTo>
                  <a:lnTo>
                    <a:pt x="432" y="168"/>
                  </a:lnTo>
                  <a:lnTo>
                    <a:pt x="426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44" y="168"/>
                  </a:lnTo>
                  <a:lnTo>
                    <a:pt x="444" y="174"/>
                  </a:lnTo>
                  <a:lnTo>
                    <a:pt x="444" y="180"/>
                  </a:lnTo>
                  <a:lnTo>
                    <a:pt x="444" y="186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2" y="192"/>
                  </a:lnTo>
                  <a:lnTo>
                    <a:pt x="426" y="192"/>
                  </a:lnTo>
                  <a:lnTo>
                    <a:pt x="420" y="186"/>
                  </a:lnTo>
                  <a:lnTo>
                    <a:pt x="414" y="186"/>
                  </a:lnTo>
                  <a:lnTo>
                    <a:pt x="408" y="186"/>
                  </a:lnTo>
                  <a:lnTo>
                    <a:pt x="402" y="186"/>
                  </a:lnTo>
                  <a:lnTo>
                    <a:pt x="396" y="186"/>
                  </a:lnTo>
                  <a:lnTo>
                    <a:pt x="390" y="186"/>
                  </a:lnTo>
                  <a:lnTo>
                    <a:pt x="384" y="186"/>
                  </a:lnTo>
                  <a:lnTo>
                    <a:pt x="378" y="186"/>
                  </a:lnTo>
                  <a:lnTo>
                    <a:pt x="372" y="186"/>
                  </a:lnTo>
                  <a:lnTo>
                    <a:pt x="354" y="186"/>
                  </a:lnTo>
                  <a:lnTo>
                    <a:pt x="342" y="186"/>
                  </a:lnTo>
                  <a:lnTo>
                    <a:pt x="324" y="186"/>
                  </a:lnTo>
                  <a:lnTo>
                    <a:pt x="312" y="186"/>
                  </a:lnTo>
                  <a:lnTo>
                    <a:pt x="306" y="186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82" y="186"/>
                  </a:lnTo>
                  <a:lnTo>
                    <a:pt x="270" y="186"/>
                  </a:lnTo>
                  <a:lnTo>
                    <a:pt x="264" y="186"/>
                  </a:lnTo>
                  <a:lnTo>
                    <a:pt x="258" y="192"/>
                  </a:lnTo>
                  <a:lnTo>
                    <a:pt x="258" y="186"/>
                  </a:lnTo>
                  <a:lnTo>
                    <a:pt x="246" y="186"/>
                  </a:lnTo>
                  <a:lnTo>
                    <a:pt x="240" y="186"/>
                  </a:lnTo>
                  <a:lnTo>
                    <a:pt x="234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2"/>
                  </a:lnTo>
                  <a:lnTo>
                    <a:pt x="204" y="192"/>
                  </a:lnTo>
                  <a:lnTo>
                    <a:pt x="198" y="192"/>
                  </a:lnTo>
                  <a:lnTo>
                    <a:pt x="192" y="192"/>
                  </a:lnTo>
                  <a:lnTo>
                    <a:pt x="180" y="192"/>
                  </a:lnTo>
                  <a:lnTo>
                    <a:pt x="168" y="192"/>
                  </a:lnTo>
                  <a:lnTo>
                    <a:pt x="162" y="192"/>
                  </a:lnTo>
                  <a:lnTo>
                    <a:pt x="150" y="192"/>
                  </a:lnTo>
                  <a:lnTo>
                    <a:pt x="138" y="192"/>
                  </a:lnTo>
                  <a:lnTo>
                    <a:pt x="132" y="192"/>
                  </a:lnTo>
                  <a:lnTo>
                    <a:pt x="120" y="192"/>
                  </a:lnTo>
                  <a:lnTo>
                    <a:pt x="114" y="192"/>
                  </a:lnTo>
                  <a:lnTo>
                    <a:pt x="108" y="192"/>
                  </a:lnTo>
                  <a:lnTo>
                    <a:pt x="102" y="192"/>
                  </a:lnTo>
                  <a:lnTo>
                    <a:pt x="90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2" y="198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36" y="198"/>
                  </a:lnTo>
                  <a:lnTo>
                    <a:pt x="30" y="204"/>
                  </a:lnTo>
                  <a:lnTo>
                    <a:pt x="24" y="204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6" y="210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54" y="156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56"/>
                  </a:lnTo>
                  <a:lnTo>
                    <a:pt x="78" y="162"/>
                  </a:lnTo>
                  <a:lnTo>
                    <a:pt x="84" y="162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9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0" y="126"/>
                  </a:lnTo>
                  <a:lnTo>
                    <a:pt x="276" y="120"/>
                  </a:lnTo>
                  <a:lnTo>
                    <a:pt x="282" y="120"/>
                  </a:lnTo>
                  <a:lnTo>
                    <a:pt x="300" y="120"/>
                  </a:lnTo>
                  <a:lnTo>
                    <a:pt x="306" y="114"/>
                  </a:lnTo>
                  <a:lnTo>
                    <a:pt x="312" y="108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8"/>
                  </a:lnTo>
                  <a:lnTo>
                    <a:pt x="342" y="30"/>
                  </a:lnTo>
                  <a:lnTo>
                    <a:pt x="342" y="24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8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24"/>
                  </a:lnTo>
                  <a:lnTo>
                    <a:pt x="414" y="30"/>
                  </a:lnTo>
                  <a:lnTo>
                    <a:pt x="420" y="30"/>
                  </a:lnTo>
                  <a:lnTo>
                    <a:pt x="42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74" y="30"/>
                  </a:lnTo>
                  <a:lnTo>
                    <a:pt x="474" y="18"/>
                  </a:lnTo>
                  <a:lnTo>
                    <a:pt x="474" y="12"/>
                  </a:lnTo>
                  <a:lnTo>
                    <a:pt x="480" y="12"/>
                  </a:lnTo>
                  <a:lnTo>
                    <a:pt x="486" y="12"/>
                  </a:lnTo>
                  <a:lnTo>
                    <a:pt x="606" y="12"/>
                  </a:lnTo>
                  <a:lnTo>
                    <a:pt x="630" y="12"/>
                  </a:lnTo>
                  <a:lnTo>
                    <a:pt x="678" y="12"/>
                  </a:lnTo>
                  <a:lnTo>
                    <a:pt x="744" y="12"/>
                  </a:lnTo>
                  <a:lnTo>
                    <a:pt x="774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2" y="6"/>
                  </a:lnTo>
                  <a:lnTo>
                    <a:pt x="888" y="12"/>
                  </a:lnTo>
                  <a:lnTo>
                    <a:pt x="888" y="24"/>
                  </a:lnTo>
                  <a:lnTo>
                    <a:pt x="888" y="30"/>
                  </a:lnTo>
                  <a:lnTo>
                    <a:pt x="882" y="36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64" y="42"/>
                  </a:lnTo>
                  <a:lnTo>
                    <a:pt x="864" y="48"/>
                  </a:lnTo>
                  <a:lnTo>
                    <a:pt x="858" y="54"/>
                  </a:lnTo>
                  <a:lnTo>
                    <a:pt x="864" y="54"/>
                  </a:lnTo>
                  <a:lnTo>
                    <a:pt x="870" y="72"/>
                  </a:lnTo>
                  <a:lnTo>
                    <a:pt x="870" y="78"/>
                  </a:lnTo>
                  <a:lnTo>
                    <a:pt x="870" y="84"/>
                  </a:lnTo>
                  <a:lnTo>
                    <a:pt x="870" y="90"/>
                  </a:lnTo>
                  <a:close/>
                  <a:moveTo>
                    <a:pt x="972" y="156"/>
                  </a:moveTo>
                  <a:lnTo>
                    <a:pt x="972" y="162"/>
                  </a:lnTo>
                  <a:lnTo>
                    <a:pt x="978" y="162"/>
                  </a:lnTo>
                  <a:lnTo>
                    <a:pt x="984" y="168"/>
                  </a:lnTo>
                  <a:lnTo>
                    <a:pt x="990" y="168"/>
                  </a:lnTo>
                  <a:lnTo>
                    <a:pt x="990" y="162"/>
                  </a:lnTo>
                  <a:lnTo>
                    <a:pt x="1008" y="162"/>
                  </a:lnTo>
                  <a:lnTo>
                    <a:pt x="1020" y="162"/>
                  </a:lnTo>
                  <a:lnTo>
                    <a:pt x="1038" y="162"/>
                  </a:lnTo>
                  <a:lnTo>
                    <a:pt x="1056" y="168"/>
                  </a:lnTo>
                  <a:lnTo>
                    <a:pt x="1056" y="180"/>
                  </a:lnTo>
                  <a:lnTo>
                    <a:pt x="1056" y="186"/>
                  </a:lnTo>
                  <a:lnTo>
                    <a:pt x="1056" y="204"/>
                  </a:lnTo>
                  <a:lnTo>
                    <a:pt x="1050" y="204"/>
                  </a:lnTo>
                  <a:lnTo>
                    <a:pt x="1044" y="204"/>
                  </a:lnTo>
                  <a:lnTo>
                    <a:pt x="1038" y="204"/>
                  </a:lnTo>
                  <a:lnTo>
                    <a:pt x="1032" y="204"/>
                  </a:lnTo>
                  <a:lnTo>
                    <a:pt x="1026" y="204"/>
                  </a:lnTo>
                  <a:lnTo>
                    <a:pt x="1020" y="204"/>
                  </a:lnTo>
                  <a:lnTo>
                    <a:pt x="1014" y="204"/>
                  </a:lnTo>
                  <a:lnTo>
                    <a:pt x="1008" y="204"/>
                  </a:lnTo>
                  <a:lnTo>
                    <a:pt x="1002" y="204"/>
                  </a:lnTo>
                  <a:lnTo>
                    <a:pt x="996" y="204"/>
                  </a:lnTo>
                  <a:lnTo>
                    <a:pt x="984" y="204"/>
                  </a:lnTo>
                  <a:lnTo>
                    <a:pt x="984" y="198"/>
                  </a:lnTo>
                  <a:lnTo>
                    <a:pt x="978" y="198"/>
                  </a:lnTo>
                  <a:lnTo>
                    <a:pt x="966" y="198"/>
                  </a:lnTo>
                  <a:lnTo>
                    <a:pt x="948" y="192"/>
                  </a:lnTo>
                  <a:lnTo>
                    <a:pt x="942" y="192"/>
                  </a:lnTo>
                  <a:lnTo>
                    <a:pt x="936" y="192"/>
                  </a:lnTo>
                  <a:lnTo>
                    <a:pt x="924" y="192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12" y="186"/>
                  </a:lnTo>
                  <a:lnTo>
                    <a:pt x="906" y="186"/>
                  </a:lnTo>
                  <a:lnTo>
                    <a:pt x="900" y="186"/>
                  </a:lnTo>
                  <a:lnTo>
                    <a:pt x="894" y="186"/>
                  </a:lnTo>
                  <a:lnTo>
                    <a:pt x="888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76" y="180"/>
                  </a:lnTo>
                  <a:lnTo>
                    <a:pt x="870" y="180"/>
                  </a:lnTo>
                  <a:lnTo>
                    <a:pt x="864" y="180"/>
                  </a:lnTo>
                  <a:lnTo>
                    <a:pt x="858" y="180"/>
                  </a:lnTo>
                  <a:lnTo>
                    <a:pt x="852" y="180"/>
                  </a:lnTo>
                  <a:lnTo>
                    <a:pt x="852" y="174"/>
                  </a:lnTo>
                  <a:lnTo>
                    <a:pt x="846" y="174"/>
                  </a:lnTo>
                  <a:lnTo>
                    <a:pt x="840" y="174"/>
                  </a:lnTo>
                  <a:lnTo>
                    <a:pt x="834" y="174"/>
                  </a:lnTo>
                  <a:lnTo>
                    <a:pt x="828" y="174"/>
                  </a:lnTo>
                  <a:lnTo>
                    <a:pt x="822" y="174"/>
                  </a:lnTo>
                  <a:lnTo>
                    <a:pt x="816" y="174"/>
                  </a:lnTo>
                  <a:lnTo>
                    <a:pt x="810" y="168"/>
                  </a:lnTo>
                  <a:lnTo>
                    <a:pt x="804" y="168"/>
                  </a:lnTo>
                  <a:lnTo>
                    <a:pt x="798" y="168"/>
                  </a:lnTo>
                  <a:lnTo>
                    <a:pt x="792" y="168"/>
                  </a:lnTo>
                  <a:lnTo>
                    <a:pt x="786" y="168"/>
                  </a:lnTo>
                  <a:lnTo>
                    <a:pt x="780" y="168"/>
                  </a:lnTo>
                  <a:lnTo>
                    <a:pt x="774" y="168"/>
                  </a:lnTo>
                  <a:lnTo>
                    <a:pt x="768" y="168"/>
                  </a:lnTo>
                  <a:lnTo>
                    <a:pt x="762" y="168"/>
                  </a:lnTo>
                  <a:lnTo>
                    <a:pt x="756" y="168"/>
                  </a:lnTo>
                  <a:lnTo>
                    <a:pt x="750" y="168"/>
                  </a:lnTo>
                  <a:lnTo>
                    <a:pt x="750" y="162"/>
                  </a:lnTo>
                  <a:lnTo>
                    <a:pt x="744" y="168"/>
                  </a:lnTo>
                  <a:lnTo>
                    <a:pt x="738" y="162"/>
                  </a:lnTo>
                  <a:lnTo>
                    <a:pt x="732" y="162"/>
                  </a:lnTo>
                  <a:lnTo>
                    <a:pt x="726" y="162"/>
                  </a:lnTo>
                  <a:lnTo>
                    <a:pt x="714" y="162"/>
                  </a:lnTo>
                  <a:lnTo>
                    <a:pt x="702" y="162"/>
                  </a:lnTo>
                  <a:lnTo>
                    <a:pt x="696" y="168"/>
                  </a:lnTo>
                  <a:lnTo>
                    <a:pt x="690" y="168"/>
                  </a:lnTo>
                  <a:lnTo>
                    <a:pt x="684" y="168"/>
                  </a:lnTo>
                  <a:lnTo>
                    <a:pt x="678" y="168"/>
                  </a:lnTo>
                  <a:lnTo>
                    <a:pt x="672" y="168"/>
                  </a:lnTo>
                  <a:lnTo>
                    <a:pt x="666" y="168"/>
                  </a:lnTo>
                  <a:lnTo>
                    <a:pt x="660" y="168"/>
                  </a:lnTo>
                  <a:lnTo>
                    <a:pt x="654" y="168"/>
                  </a:lnTo>
                  <a:lnTo>
                    <a:pt x="648" y="174"/>
                  </a:lnTo>
                  <a:lnTo>
                    <a:pt x="648" y="168"/>
                  </a:lnTo>
                  <a:lnTo>
                    <a:pt x="642" y="174"/>
                  </a:lnTo>
                  <a:lnTo>
                    <a:pt x="636" y="174"/>
                  </a:lnTo>
                  <a:lnTo>
                    <a:pt x="630" y="174"/>
                  </a:lnTo>
                  <a:lnTo>
                    <a:pt x="624" y="174"/>
                  </a:lnTo>
                  <a:lnTo>
                    <a:pt x="618" y="174"/>
                  </a:lnTo>
                  <a:lnTo>
                    <a:pt x="612" y="174"/>
                  </a:lnTo>
                  <a:lnTo>
                    <a:pt x="606" y="174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74"/>
                  </a:lnTo>
                  <a:lnTo>
                    <a:pt x="582" y="174"/>
                  </a:lnTo>
                  <a:lnTo>
                    <a:pt x="576" y="174"/>
                  </a:lnTo>
                  <a:lnTo>
                    <a:pt x="570" y="174"/>
                  </a:lnTo>
                  <a:lnTo>
                    <a:pt x="564" y="174"/>
                  </a:lnTo>
                  <a:lnTo>
                    <a:pt x="558" y="174"/>
                  </a:lnTo>
                  <a:lnTo>
                    <a:pt x="552" y="174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0" y="174"/>
                  </a:lnTo>
                  <a:lnTo>
                    <a:pt x="504" y="174"/>
                  </a:lnTo>
                  <a:lnTo>
                    <a:pt x="498" y="174"/>
                  </a:lnTo>
                  <a:lnTo>
                    <a:pt x="492" y="174"/>
                  </a:lnTo>
                  <a:lnTo>
                    <a:pt x="486" y="174"/>
                  </a:lnTo>
                  <a:lnTo>
                    <a:pt x="480" y="174"/>
                  </a:lnTo>
                  <a:lnTo>
                    <a:pt x="474" y="174"/>
                  </a:lnTo>
                  <a:lnTo>
                    <a:pt x="468" y="174"/>
                  </a:lnTo>
                  <a:lnTo>
                    <a:pt x="462" y="174"/>
                  </a:lnTo>
                  <a:lnTo>
                    <a:pt x="456" y="174"/>
                  </a:lnTo>
                  <a:lnTo>
                    <a:pt x="450" y="180"/>
                  </a:lnTo>
                  <a:lnTo>
                    <a:pt x="450" y="186"/>
                  </a:lnTo>
                  <a:lnTo>
                    <a:pt x="450" y="192"/>
                  </a:lnTo>
                  <a:lnTo>
                    <a:pt x="444" y="192"/>
                  </a:lnTo>
                  <a:lnTo>
                    <a:pt x="444" y="186"/>
                  </a:lnTo>
                  <a:lnTo>
                    <a:pt x="444" y="180"/>
                  </a:lnTo>
                  <a:lnTo>
                    <a:pt x="450" y="180"/>
                  </a:lnTo>
                  <a:lnTo>
                    <a:pt x="450" y="174"/>
                  </a:lnTo>
                  <a:lnTo>
                    <a:pt x="450" y="168"/>
                  </a:lnTo>
                  <a:lnTo>
                    <a:pt x="450" y="162"/>
                  </a:lnTo>
                  <a:lnTo>
                    <a:pt x="456" y="162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62" y="162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74" y="168"/>
                  </a:lnTo>
                  <a:lnTo>
                    <a:pt x="480" y="168"/>
                  </a:lnTo>
                  <a:lnTo>
                    <a:pt x="480" y="162"/>
                  </a:lnTo>
                  <a:lnTo>
                    <a:pt x="480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56"/>
                  </a:lnTo>
                  <a:lnTo>
                    <a:pt x="492" y="156"/>
                  </a:lnTo>
                  <a:lnTo>
                    <a:pt x="486" y="150"/>
                  </a:lnTo>
                  <a:lnTo>
                    <a:pt x="492" y="150"/>
                  </a:lnTo>
                  <a:lnTo>
                    <a:pt x="498" y="150"/>
                  </a:lnTo>
                  <a:lnTo>
                    <a:pt x="498" y="156"/>
                  </a:lnTo>
                  <a:lnTo>
                    <a:pt x="504" y="156"/>
                  </a:lnTo>
                  <a:lnTo>
                    <a:pt x="504" y="162"/>
                  </a:lnTo>
                  <a:lnTo>
                    <a:pt x="504" y="156"/>
                  </a:lnTo>
                  <a:lnTo>
                    <a:pt x="510" y="156"/>
                  </a:lnTo>
                  <a:lnTo>
                    <a:pt x="510" y="150"/>
                  </a:lnTo>
                  <a:lnTo>
                    <a:pt x="516" y="150"/>
                  </a:lnTo>
                  <a:lnTo>
                    <a:pt x="522" y="150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28" y="150"/>
                  </a:lnTo>
                  <a:lnTo>
                    <a:pt x="528" y="144"/>
                  </a:lnTo>
                  <a:lnTo>
                    <a:pt x="540" y="144"/>
                  </a:lnTo>
                  <a:lnTo>
                    <a:pt x="546" y="144"/>
                  </a:lnTo>
                  <a:lnTo>
                    <a:pt x="552" y="138"/>
                  </a:lnTo>
                  <a:lnTo>
                    <a:pt x="552" y="132"/>
                  </a:lnTo>
                  <a:lnTo>
                    <a:pt x="558" y="132"/>
                  </a:lnTo>
                  <a:lnTo>
                    <a:pt x="558" y="126"/>
                  </a:lnTo>
                  <a:lnTo>
                    <a:pt x="558" y="120"/>
                  </a:lnTo>
                  <a:lnTo>
                    <a:pt x="558" y="114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6" y="114"/>
                  </a:lnTo>
                  <a:lnTo>
                    <a:pt x="582" y="120"/>
                  </a:lnTo>
                  <a:lnTo>
                    <a:pt x="588" y="120"/>
                  </a:lnTo>
                  <a:lnTo>
                    <a:pt x="588" y="126"/>
                  </a:lnTo>
                  <a:lnTo>
                    <a:pt x="588" y="120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600" y="114"/>
                  </a:lnTo>
                  <a:lnTo>
                    <a:pt x="606" y="114"/>
                  </a:lnTo>
                  <a:lnTo>
                    <a:pt x="618" y="114"/>
                  </a:lnTo>
                  <a:lnTo>
                    <a:pt x="618" y="108"/>
                  </a:lnTo>
                  <a:lnTo>
                    <a:pt x="624" y="108"/>
                  </a:lnTo>
                  <a:lnTo>
                    <a:pt x="624" y="102"/>
                  </a:lnTo>
                  <a:lnTo>
                    <a:pt x="630" y="102"/>
                  </a:lnTo>
                  <a:lnTo>
                    <a:pt x="636" y="102"/>
                  </a:lnTo>
                  <a:lnTo>
                    <a:pt x="636" y="108"/>
                  </a:lnTo>
                  <a:lnTo>
                    <a:pt x="642" y="108"/>
                  </a:lnTo>
                  <a:lnTo>
                    <a:pt x="648" y="108"/>
                  </a:lnTo>
                  <a:lnTo>
                    <a:pt x="648" y="102"/>
                  </a:lnTo>
                  <a:lnTo>
                    <a:pt x="654" y="102"/>
                  </a:lnTo>
                  <a:lnTo>
                    <a:pt x="660" y="102"/>
                  </a:lnTo>
                  <a:lnTo>
                    <a:pt x="660" y="96"/>
                  </a:lnTo>
                  <a:lnTo>
                    <a:pt x="660" y="90"/>
                  </a:lnTo>
                  <a:lnTo>
                    <a:pt x="666" y="90"/>
                  </a:lnTo>
                  <a:lnTo>
                    <a:pt x="666" y="84"/>
                  </a:lnTo>
                  <a:lnTo>
                    <a:pt x="672" y="78"/>
                  </a:lnTo>
                  <a:lnTo>
                    <a:pt x="672" y="72"/>
                  </a:lnTo>
                  <a:lnTo>
                    <a:pt x="678" y="66"/>
                  </a:lnTo>
                  <a:lnTo>
                    <a:pt x="684" y="66"/>
                  </a:lnTo>
                  <a:lnTo>
                    <a:pt x="684" y="60"/>
                  </a:lnTo>
                  <a:lnTo>
                    <a:pt x="690" y="60"/>
                  </a:lnTo>
                  <a:lnTo>
                    <a:pt x="696" y="60"/>
                  </a:lnTo>
                  <a:lnTo>
                    <a:pt x="702" y="60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66"/>
                  </a:lnTo>
                  <a:lnTo>
                    <a:pt x="720" y="66"/>
                  </a:lnTo>
                  <a:lnTo>
                    <a:pt x="720" y="60"/>
                  </a:lnTo>
                  <a:lnTo>
                    <a:pt x="726" y="60"/>
                  </a:lnTo>
                  <a:lnTo>
                    <a:pt x="732" y="60"/>
                  </a:lnTo>
                  <a:lnTo>
                    <a:pt x="744" y="60"/>
                  </a:lnTo>
                  <a:lnTo>
                    <a:pt x="750" y="54"/>
                  </a:lnTo>
                  <a:lnTo>
                    <a:pt x="762" y="60"/>
                  </a:lnTo>
                  <a:lnTo>
                    <a:pt x="774" y="60"/>
                  </a:lnTo>
                  <a:lnTo>
                    <a:pt x="774" y="66"/>
                  </a:lnTo>
                  <a:lnTo>
                    <a:pt x="780" y="72"/>
                  </a:lnTo>
                  <a:lnTo>
                    <a:pt x="786" y="78"/>
                  </a:lnTo>
                  <a:lnTo>
                    <a:pt x="792" y="78"/>
                  </a:lnTo>
                  <a:lnTo>
                    <a:pt x="810" y="84"/>
                  </a:lnTo>
                  <a:lnTo>
                    <a:pt x="822" y="84"/>
                  </a:lnTo>
                  <a:lnTo>
                    <a:pt x="828" y="84"/>
                  </a:lnTo>
                  <a:lnTo>
                    <a:pt x="834" y="84"/>
                  </a:lnTo>
                  <a:lnTo>
                    <a:pt x="840" y="96"/>
                  </a:lnTo>
                  <a:lnTo>
                    <a:pt x="846" y="102"/>
                  </a:lnTo>
                  <a:lnTo>
                    <a:pt x="858" y="102"/>
                  </a:lnTo>
                  <a:lnTo>
                    <a:pt x="864" y="102"/>
                  </a:lnTo>
                  <a:lnTo>
                    <a:pt x="876" y="96"/>
                  </a:lnTo>
                  <a:lnTo>
                    <a:pt x="882" y="102"/>
                  </a:lnTo>
                  <a:lnTo>
                    <a:pt x="888" y="108"/>
                  </a:lnTo>
                  <a:lnTo>
                    <a:pt x="888" y="114"/>
                  </a:lnTo>
                  <a:lnTo>
                    <a:pt x="888" y="120"/>
                  </a:lnTo>
                  <a:lnTo>
                    <a:pt x="888" y="126"/>
                  </a:lnTo>
                  <a:lnTo>
                    <a:pt x="888" y="132"/>
                  </a:lnTo>
                  <a:lnTo>
                    <a:pt x="882" y="132"/>
                  </a:lnTo>
                  <a:lnTo>
                    <a:pt x="864" y="126"/>
                  </a:lnTo>
                  <a:lnTo>
                    <a:pt x="852" y="120"/>
                  </a:lnTo>
                  <a:lnTo>
                    <a:pt x="840" y="126"/>
                  </a:lnTo>
                  <a:lnTo>
                    <a:pt x="834" y="120"/>
                  </a:lnTo>
                  <a:lnTo>
                    <a:pt x="828" y="120"/>
                  </a:lnTo>
                  <a:lnTo>
                    <a:pt x="822" y="120"/>
                  </a:lnTo>
                  <a:lnTo>
                    <a:pt x="810" y="114"/>
                  </a:lnTo>
                  <a:lnTo>
                    <a:pt x="804" y="114"/>
                  </a:lnTo>
                  <a:lnTo>
                    <a:pt x="798" y="114"/>
                  </a:lnTo>
                  <a:lnTo>
                    <a:pt x="792" y="114"/>
                  </a:lnTo>
                  <a:lnTo>
                    <a:pt x="786" y="114"/>
                  </a:lnTo>
                  <a:lnTo>
                    <a:pt x="780" y="114"/>
                  </a:lnTo>
                  <a:lnTo>
                    <a:pt x="780" y="126"/>
                  </a:lnTo>
                  <a:lnTo>
                    <a:pt x="786" y="126"/>
                  </a:lnTo>
                  <a:lnTo>
                    <a:pt x="798" y="126"/>
                  </a:lnTo>
                  <a:lnTo>
                    <a:pt x="804" y="126"/>
                  </a:lnTo>
                  <a:lnTo>
                    <a:pt x="822" y="132"/>
                  </a:lnTo>
                  <a:lnTo>
                    <a:pt x="828" y="132"/>
                  </a:lnTo>
                  <a:lnTo>
                    <a:pt x="834" y="132"/>
                  </a:lnTo>
                  <a:lnTo>
                    <a:pt x="840" y="144"/>
                  </a:lnTo>
                  <a:lnTo>
                    <a:pt x="846" y="150"/>
                  </a:lnTo>
                  <a:lnTo>
                    <a:pt x="858" y="150"/>
                  </a:lnTo>
                  <a:lnTo>
                    <a:pt x="864" y="162"/>
                  </a:lnTo>
                  <a:lnTo>
                    <a:pt x="870" y="162"/>
                  </a:lnTo>
                  <a:lnTo>
                    <a:pt x="876" y="168"/>
                  </a:lnTo>
                  <a:lnTo>
                    <a:pt x="888" y="168"/>
                  </a:lnTo>
                  <a:lnTo>
                    <a:pt x="894" y="174"/>
                  </a:lnTo>
                  <a:lnTo>
                    <a:pt x="900" y="174"/>
                  </a:lnTo>
                  <a:lnTo>
                    <a:pt x="918" y="174"/>
                  </a:lnTo>
                  <a:lnTo>
                    <a:pt x="924" y="174"/>
                  </a:lnTo>
                  <a:lnTo>
                    <a:pt x="930" y="174"/>
                  </a:lnTo>
                  <a:lnTo>
                    <a:pt x="942" y="174"/>
                  </a:lnTo>
                  <a:lnTo>
                    <a:pt x="954" y="174"/>
                  </a:lnTo>
                  <a:lnTo>
                    <a:pt x="960" y="174"/>
                  </a:lnTo>
                  <a:lnTo>
                    <a:pt x="966" y="174"/>
                  </a:lnTo>
                  <a:lnTo>
                    <a:pt x="966" y="168"/>
                  </a:lnTo>
                  <a:lnTo>
                    <a:pt x="972" y="162"/>
                  </a:lnTo>
                  <a:lnTo>
                    <a:pt x="972" y="156"/>
                  </a:lnTo>
                  <a:close/>
                  <a:moveTo>
                    <a:pt x="942" y="174"/>
                  </a:moveTo>
                  <a:lnTo>
                    <a:pt x="936" y="174"/>
                  </a:lnTo>
                  <a:lnTo>
                    <a:pt x="936" y="168"/>
                  </a:lnTo>
                  <a:lnTo>
                    <a:pt x="936" y="162"/>
                  </a:lnTo>
                  <a:lnTo>
                    <a:pt x="948" y="162"/>
                  </a:lnTo>
                  <a:lnTo>
                    <a:pt x="948" y="156"/>
                  </a:lnTo>
                  <a:lnTo>
                    <a:pt x="954" y="156"/>
                  </a:lnTo>
                  <a:lnTo>
                    <a:pt x="960" y="156"/>
                  </a:lnTo>
                  <a:lnTo>
                    <a:pt x="966" y="156"/>
                  </a:lnTo>
                  <a:lnTo>
                    <a:pt x="966" y="162"/>
                  </a:lnTo>
                  <a:lnTo>
                    <a:pt x="960" y="168"/>
                  </a:lnTo>
                  <a:lnTo>
                    <a:pt x="942" y="174"/>
                  </a:lnTo>
                  <a:close/>
                  <a:moveTo>
                    <a:pt x="900" y="168"/>
                  </a:moveTo>
                  <a:lnTo>
                    <a:pt x="894" y="168"/>
                  </a:lnTo>
                  <a:lnTo>
                    <a:pt x="882" y="156"/>
                  </a:lnTo>
                  <a:lnTo>
                    <a:pt x="882" y="150"/>
                  </a:lnTo>
                  <a:lnTo>
                    <a:pt x="888" y="156"/>
                  </a:lnTo>
                  <a:lnTo>
                    <a:pt x="894" y="150"/>
                  </a:lnTo>
                  <a:lnTo>
                    <a:pt x="900" y="150"/>
                  </a:lnTo>
                  <a:lnTo>
                    <a:pt x="906" y="150"/>
                  </a:lnTo>
                  <a:lnTo>
                    <a:pt x="912" y="150"/>
                  </a:lnTo>
                  <a:lnTo>
                    <a:pt x="924" y="150"/>
                  </a:lnTo>
                  <a:lnTo>
                    <a:pt x="924" y="156"/>
                  </a:lnTo>
                  <a:lnTo>
                    <a:pt x="924" y="162"/>
                  </a:lnTo>
                  <a:lnTo>
                    <a:pt x="924" y="168"/>
                  </a:lnTo>
                  <a:lnTo>
                    <a:pt x="918" y="168"/>
                  </a:lnTo>
                  <a:lnTo>
                    <a:pt x="906" y="168"/>
                  </a:lnTo>
                  <a:lnTo>
                    <a:pt x="900" y="168"/>
                  </a:lnTo>
                  <a:close/>
                  <a:moveTo>
                    <a:pt x="870" y="162"/>
                  </a:moveTo>
                  <a:lnTo>
                    <a:pt x="876" y="162"/>
                  </a:lnTo>
                  <a:lnTo>
                    <a:pt x="876" y="168"/>
                  </a:lnTo>
                  <a:lnTo>
                    <a:pt x="870" y="168"/>
                  </a:lnTo>
                  <a:lnTo>
                    <a:pt x="870" y="162"/>
                  </a:lnTo>
                  <a:close/>
                  <a:moveTo>
                    <a:pt x="450" y="162"/>
                  </a:moveTo>
                  <a:lnTo>
                    <a:pt x="444" y="162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2" y="150"/>
                  </a:lnTo>
                  <a:lnTo>
                    <a:pt x="438" y="150"/>
                  </a:lnTo>
                  <a:lnTo>
                    <a:pt x="438" y="144"/>
                  </a:lnTo>
                  <a:lnTo>
                    <a:pt x="438" y="150"/>
                  </a:lnTo>
                  <a:lnTo>
                    <a:pt x="444" y="150"/>
                  </a:lnTo>
                  <a:lnTo>
                    <a:pt x="450" y="150"/>
                  </a:lnTo>
                  <a:lnTo>
                    <a:pt x="450" y="156"/>
                  </a:lnTo>
                  <a:lnTo>
                    <a:pt x="456" y="156"/>
                  </a:lnTo>
                  <a:lnTo>
                    <a:pt x="456" y="150"/>
                  </a:lnTo>
                  <a:lnTo>
                    <a:pt x="456" y="156"/>
                  </a:lnTo>
                  <a:lnTo>
                    <a:pt x="462" y="150"/>
                  </a:lnTo>
                  <a:lnTo>
                    <a:pt x="462" y="144"/>
                  </a:lnTo>
                  <a:lnTo>
                    <a:pt x="468" y="144"/>
                  </a:lnTo>
                  <a:lnTo>
                    <a:pt x="468" y="150"/>
                  </a:lnTo>
                  <a:lnTo>
                    <a:pt x="474" y="150"/>
                  </a:lnTo>
                  <a:lnTo>
                    <a:pt x="480" y="150"/>
                  </a:lnTo>
                  <a:lnTo>
                    <a:pt x="480" y="156"/>
                  </a:lnTo>
                  <a:lnTo>
                    <a:pt x="480" y="162"/>
                  </a:lnTo>
                  <a:lnTo>
                    <a:pt x="474" y="162"/>
                  </a:lnTo>
                  <a:lnTo>
                    <a:pt x="474" y="168"/>
                  </a:lnTo>
                  <a:lnTo>
                    <a:pt x="474" y="162"/>
                  </a:lnTo>
                  <a:lnTo>
                    <a:pt x="468" y="162"/>
                  </a:lnTo>
                  <a:lnTo>
                    <a:pt x="462" y="162"/>
                  </a:lnTo>
                  <a:lnTo>
                    <a:pt x="456" y="162"/>
                  </a:lnTo>
                  <a:lnTo>
                    <a:pt x="450" y="16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6" name="Freeform 31">
              <a:extLst>
                <a:ext uri="{FF2B5EF4-FFF2-40B4-BE49-F238E27FC236}">
                  <a16:creationId xmlns:a16="http://schemas.microsoft.com/office/drawing/2014/main" id="{0989F057-38E8-4AA5-8B73-27F6355E235C}"/>
                </a:ext>
              </a:extLst>
            </p:cNvPr>
            <p:cNvSpPr>
              <a:spLocks/>
            </p:cNvSpPr>
            <p:nvPr/>
          </p:nvSpPr>
          <p:spPr bwMode="gray">
            <a:xfrm>
              <a:off x="792590" y="2728084"/>
              <a:ext cx="1182944" cy="740282"/>
            </a:xfrm>
            <a:custGeom>
              <a:avLst/>
              <a:gdLst>
                <a:gd name="T0" fmla="*/ 138 w 2226"/>
                <a:gd name="T1" fmla="*/ 121 h 1392"/>
                <a:gd name="T2" fmla="*/ 133 w 2226"/>
                <a:gd name="T3" fmla="*/ 119 h 1392"/>
                <a:gd name="T4" fmla="*/ 128 w 2226"/>
                <a:gd name="T5" fmla="*/ 117 h 1392"/>
                <a:gd name="T6" fmla="*/ 119 w 2226"/>
                <a:gd name="T7" fmla="*/ 116 h 1392"/>
                <a:gd name="T8" fmla="*/ 101 w 2226"/>
                <a:gd name="T9" fmla="*/ 116 h 1392"/>
                <a:gd name="T10" fmla="*/ 94 w 2226"/>
                <a:gd name="T11" fmla="*/ 104 h 1392"/>
                <a:gd name="T12" fmla="*/ 82 w 2226"/>
                <a:gd name="T13" fmla="*/ 83 h 1392"/>
                <a:gd name="T14" fmla="*/ 87 w 2226"/>
                <a:gd name="T15" fmla="*/ 69 h 1392"/>
                <a:gd name="T16" fmla="*/ 82 w 2226"/>
                <a:gd name="T17" fmla="*/ 65 h 1392"/>
                <a:gd name="T18" fmla="*/ 59 w 2226"/>
                <a:gd name="T19" fmla="*/ 57 h 1392"/>
                <a:gd name="T20" fmla="*/ 29 w 2226"/>
                <a:gd name="T21" fmla="*/ 77 h 1392"/>
                <a:gd name="T22" fmla="*/ 20 w 2226"/>
                <a:gd name="T23" fmla="*/ 78 h 1392"/>
                <a:gd name="T24" fmla="*/ 15 w 2226"/>
                <a:gd name="T25" fmla="*/ 82 h 1392"/>
                <a:gd name="T26" fmla="*/ 8 w 2226"/>
                <a:gd name="T27" fmla="*/ 86 h 1392"/>
                <a:gd name="T28" fmla="*/ 1 w 2226"/>
                <a:gd name="T29" fmla="*/ 88 h 1392"/>
                <a:gd name="T30" fmla="*/ 0 w 2226"/>
                <a:gd name="T31" fmla="*/ 82 h 1392"/>
                <a:gd name="T32" fmla="*/ 0 w 2226"/>
                <a:gd name="T33" fmla="*/ 76 h 1392"/>
                <a:gd name="T34" fmla="*/ 2 w 2226"/>
                <a:gd name="T35" fmla="*/ 70 h 1392"/>
                <a:gd name="T36" fmla="*/ 3 w 2226"/>
                <a:gd name="T37" fmla="*/ 65 h 1392"/>
                <a:gd name="T38" fmla="*/ 2 w 2226"/>
                <a:gd name="T39" fmla="*/ 63 h 1392"/>
                <a:gd name="T40" fmla="*/ 9 w 2226"/>
                <a:gd name="T41" fmla="*/ 60 h 1392"/>
                <a:gd name="T42" fmla="*/ 17 w 2226"/>
                <a:gd name="T43" fmla="*/ 59 h 1392"/>
                <a:gd name="T44" fmla="*/ 22 w 2226"/>
                <a:gd name="T45" fmla="*/ 51 h 1392"/>
                <a:gd name="T46" fmla="*/ 23 w 2226"/>
                <a:gd name="T47" fmla="*/ 43 h 1392"/>
                <a:gd name="T48" fmla="*/ 27 w 2226"/>
                <a:gd name="T49" fmla="*/ 34 h 1392"/>
                <a:gd name="T50" fmla="*/ 30 w 2226"/>
                <a:gd name="T51" fmla="*/ 27 h 1392"/>
                <a:gd name="T52" fmla="*/ 33 w 2226"/>
                <a:gd name="T53" fmla="*/ 22 h 1392"/>
                <a:gd name="T54" fmla="*/ 42 w 2226"/>
                <a:gd name="T55" fmla="*/ 17 h 1392"/>
                <a:gd name="T56" fmla="*/ 47 w 2226"/>
                <a:gd name="T57" fmla="*/ 14 h 1392"/>
                <a:gd name="T58" fmla="*/ 49 w 2226"/>
                <a:gd name="T59" fmla="*/ 5 h 1392"/>
                <a:gd name="T60" fmla="*/ 53 w 2226"/>
                <a:gd name="T61" fmla="*/ 0 h 1392"/>
                <a:gd name="T62" fmla="*/ 55 w 2226"/>
                <a:gd name="T63" fmla="*/ 4 h 1392"/>
                <a:gd name="T64" fmla="*/ 59 w 2226"/>
                <a:gd name="T65" fmla="*/ 7 h 1392"/>
                <a:gd name="T66" fmla="*/ 63 w 2226"/>
                <a:gd name="T67" fmla="*/ 7 h 1392"/>
                <a:gd name="T68" fmla="*/ 66 w 2226"/>
                <a:gd name="T69" fmla="*/ 9 h 1392"/>
                <a:gd name="T70" fmla="*/ 67 w 2226"/>
                <a:gd name="T71" fmla="*/ 12 h 1392"/>
                <a:gd name="T72" fmla="*/ 67 w 2226"/>
                <a:gd name="T73" fmla="*/ 13 h 1392"/>
                <a:gd name="T74" fmla="*/ 70 w 2226"/>
                <a:gd name="T75" fmla="*/ 15 h 1392"/>
                <a:gd name="T76" fmla="*/ 74 w 2226"/>
                <a:gd name="T77" fmla="*/ 17 h 1392"/>
                <a:gd name="T78" fmla="*/ 78 w 2226"/>
                <a:gd name="T79" fmla="*/ 18 h 1392"/>
                <a:gd name="T80" fmla="*/ 97 w 2226"/>
                <a:gd name="T81" fmla="*/ 40 h 1392"/>
                <a:gd name="T82" fmla="*/ 102 w 2226"/>
                <a:gd name="T83" fmla="*/ 44 h 1392"/>
                <a:gd name="T84" fmla="*/ 110 w 2226"/>
                <a:gd name="T85" fmla="*/ 49 h 1392"/>
                <a:gd name="T86" fmla="*/ 113 w 2226"/>
                <a:gd name="T87" fmla="*/ 53 h 1392"/>
                <a:gd name="T88" fmla="*/ 118 w 2226"/>
                <a:gd name="T89" fmla="*/ 57 h 1392"/>
                <a:gd name="T90" fmla="*/ 124 w 2226"/>
                <a:gd name="T91" fmla="*/ 54 h 1392"/>
                <a:gd name="T92" fmla="*/ 133 w 2226"/>
                <a:gd name="T93" fmla="*/ 58 h 1392"/>
                <a:gd name="T94" fmla="*/ 137 w 2226"/>
                <a:gd name="T95" fmla="*/ 64 h 1392"/>
                <a:gd name="T96" fmla="*/ 145 w 2226"/>
                <a:gd name="T97" fmla="*/ 65 h 1392"/>
                <a:gd name="T98" fmla="*/ 152 w 2226"/>
                <a:gd name="T99" fmla="*/ 67 h 1392"/>
                <a:gd name="T100" fmla="*/ 161 w 2226"/>
                <a:gd name="T101" fmla="*/ 72 h 1392"/>
                <a:gd name="T102" fmla="*/ 168 w 2226"/>
                <a:gd name="T103" fmla="*/ 76 h 1392"/>
                <a:gd name="T104" fmla="*/ 177 w 2226"/>
                <a:gd name="T105" fmla="*/ 78 h 1392"/>
                <a:gd name="T106" fmla="*/ 184 w 2226"/>
                <a:gd name="T107" fmla="*/ 78 h 1392"/>
                <a:gd name="T108" fmla="*/ 190 w 2226"/>
                <a:gd name="T109" fmla="*/ 81 h 1392"/>
                <a:gd name="T110" fmla="*/ 192 w 2226"/>
                <a:gd name="T111" fmla="*/ 86 h 1392"/>
                <a:gd name="T112" fmla="*/ 187 w 2226"/>
                <a:gd name="T113" fmla="*/ 99 h 1392"/>
                <a:gd name="T114" fmla="*/ 165 w 2226"/>
                <a:gd name="T115" fmla="*/ 97 h 1392"/>
                <a:gd name="T116" fmla="*/ 155 w 2226"/>
                <a:gd name="T117" fmla="*/ 92 h 1392"/>
                <a:gd name="T118" fmla="*/ 146 w 2226"/>
                <a:gd name="T119" fmla="*/ 102 h 1392"/>
                <a:gd name="T120" fmla="*/ 149 w 2226"/>
                <a:gd name="T121" fmla="*/ 106 h 1392"/>
                <a:gd name="T122" fmla="*/ 151 w 2226"/>
                <a:gd name="T123" fmla="*/ 108 h 1392"/>
                <a:gd name="T124" fmla="*/ 157 w 2226"/>
                <a:gd name="T125" fmla="*/ 113 h 13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1392"/>
                <a:gd name="T191" fmla="*/ 2226 w 2226"/>
                <a:gd name="T192" fmla="*/ 1392 h 13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1392">
                  <a:moveTo>
                    <a:pt x="1782" y="1326"/>
                  </a:moveTo>
                  <a:lnTo>
                    <a:pt x="1776" y="1332"/>
                  </a:lnTo>
                  <a:lnTo>
                    <a:pt x="1692" y="1338"/>
                  </a:lnTo>
                  <a:lnTo>
                    <a:pt x="1680" y="1386"/>
                  </a:lnTo>
                  <a:lnTo>
                    <a:pt x="1674" y="1392"/>
                  </a:lnTo>
                  <a:lnTo>
                    <a:pt x="1638" y="1392"/>
                  </a:lnTo>
                  <a:lnTo>
                    <a:pt x="1620" y="1392"/>
                  </a:lnTo>
                  <a:lnTo>
                    <a:pt x="1614" y="1392"/>
                  </a:lnTo>
                  <a:lnTo>
                    <a:pt x="1608" y="1386"/>
                  </a:lnTo>
                  <a:lnTo>
                    <a:pt x="1584" y="1386"/>
                  </a:lnTo>
                  <a:lnTo>
                    <a:pt x="1578" y="1386"/>
                  </a:lnTo>
                  <a:lnTo>
                    <a:pt x="1572" y="1380"/>
                  </a:lnTo>
                  <a:lnTo>
                    <a:pt x="1578" y="1356"/>
                  </a:lnTo>
                  <a:lnTo>
                    <a:pt x="1572" y="1356"/>
                  </a:lnTo>
                  <a:lnTo>
                    <a:pt x="1560" y="1350"/>
                  </a:lnTo>
                  <a:lnTo>
                    <a:pt x="1554" y="1350"/>
                  </a:lnTo>
                  <a:lnTo>
                    <a:pt x="1542" y="1350"/>
                  </a:lnTo>
                  <a:lnTo>
                    <a:pt x="1530" y="1350"/>
                  </a:lnTo>
                  <a:lnTo>
                    <a:pt x="1524" y="1356"/>
                  </a:lnTo>
                  <a:lnTo>
                    <a:pt x="1524" y="1362"/>
                  </a:lnTo>
                  <a:lnTo>
                    <a:pt x="1512" y="1374"/>
                  </a:lnTo>
                  <a:lnTo>
                    <a:pt x="1506" y="1374"/>
                  </a:lnTo>
                  <a:lnTo>
                    <a:pt x="1500" y="1368"/>
                  </a:lnTo>
                  <a:lnTo>
                    <a:pt x="1500" y="1362"/>
                  </a:lnTo>
                  <a:lnTo>
                    <a:pt x="1488" y="1362"/>
                  </a:lnTo>
                  <a:lnTo>
                    <a:pt x="1482" y="1356"/>
                  </a:lnTo>
                  <a:lnTo>
                    <a:pt x="1482" y="1350"/>
                  </a:lnTo>
                  <a:lnTo>
                    <a:pt x="1476" y="1350"/>
                  </a:lnTo>
                  <a:lnTo>
                    <a:pt x="1470" y="1344"/>
                  </a:lnTo>
                  <a:lnTo>
                    <a:pt x="1464" y="1344"/>
                  </a:lnTo>
                  <a:lnTo>
                    <a:pt x="1452" y="1350"/>
                  </a:lnTo>
                  <a:lnTo>
                    <a:pt x="1452" y="1356"/>
                  </a:lnTo>
                  <a:lnTo>
                    <a:pt x="1440" y="1356"/>
                  </a:lnTo>
                  <a:lnTo>
                    <a:pt x="1434" y="1344"/>
                  </a:lnTo>
                  <a:lnTo>
                    <a:pt x="1422" y="1332"/>
                  </a:lnTo>
                  <a:lnTo>
                    <a:pt x="1416" y="1326"/>
                  </a:lnTo>
                  <a:lnTo>
                    <a:pt x="1404" y="1320"/>
                  </a:lnTo>
                  <a:lnTo>
                    <a:pt x="1404" y="1314"/>
                  </a:lnTo>
                  <a:lnTo>
                    <a:pt x="1374" y="1308"/>
                  </a:lnTo>
                  <a:lnTo>
                    <a:pt x="1368" y="1326"/>
                  </a:lnTo>
                  <a:lnTo>
                    <a:pt x="1344" y="1338"/>
                  </a:lnTo>
                  <a:lnTo>
                    <a:pt x="1326" y="1332"/>
                  </a:lnTo>
                  <a:lnTo>
                    <a:pt x="1302" y="1332"/>
                  </a:lnTo>
                  <a:lnTo>
                    <a:pt x="1278" y="1338"/>
                  </a:lnTo>
                  <a:lnTo>
                    <a:pt x="1236" y="1338"/>
                  </a:lnTo>
                  <a:lnTo>
                    <a:pt x="1224" y="1338"/>
                  </a:lnTo>
                  <a:lnTo>
                    <a:pt x="1224" y="1326"/>
                  </a:lnTo>
                  <a:lnTo>
                    <a:pt x="1206" y="1326"/>
                  </a:lnTo>
                  <a:lnTo>
                    <a:pt x="1170" y="1326"/>
                  </a:lnTo>
                  <a:lnTo>
                    <a:pt x="1152" y="1326"/>
                  </a:lnTo>
                  <a:lnTo>
                    <a:pt x="1140" y="1314"/>
                  </a:lnTo>
                  <a:lnTo>
                    <a:pt x="1134" y="1296"/>
                  </a:lnTo>
                  <a:lnTo>
                    <a:pt x="1134" y="1284"/>
                  </a:lnTo>
                  <a:lnTo>
                    <a:pt x="1128" y="1254"/>
                  </a:lnTo>
                  <a:lnTo>
                    <a:pt x="1128" y="1242"/>
                  </a:lnTo>
                  <a:lnTo>
                    <a:pt x="1122" y="1230"/>
                  </a:lnTo>
                  <a:lnTo>
                    <a:pt x="1104" y="1218"/>
                  </a:lnTo>
                  <a:lnTo>
                    <a:pt x="1104" y="1212"/>
                  </a:lnTo>
                  <a:lnTo>
                    <a:pt x="1092" y="1206"/>
                  </a:lnTo>
                  <a:lnTo>
                    <a:pt x="1080" y="1194"/>
                  </a:lnTo>
                  <a:lnTo>
                    <a:pt x="1068" y="1176"/>
                  </a:lnTo>
                  <a:lnTo>
                    <a:pt x="1050" y="1152"/>
                  </a:lnTo>
                  <a:lnTo>
                    <a:pt x="1020" y="1098"/>
                  </a:lnTo>
                  <a:lnTo>
                    <a:pt x="978" y="1026"/>
                  </a:lnTo>
                  <a:lnTo>
                    <a:pt x="978" y="1014"/>
                  </a:lnTo>
                  <a:lnTo>
                    <a:pt x="972" y="1014"/>
                  </a:lnTo>
                  <a:lnTo>
                    <a:pt x="972" y="1008"/>
                  </a:lnTo>
                  <a:lnTo>
                    <a:pt x="978" y="1002"/>
                  </a:lnTo>
                  <a:lnTo>
                    <a:pt x="960" y="966"/>
                  </a:lnTo>
                  <a:lnTo>
                    <a:pt x="948" y="954"/>
                  </a:lnTo>
                  <a:lnTo>
                    <a:pt x="948" y="936"/>
                  </a:lnTo>
                  <a:lnTo>
                    <a:pt x="936" y="900"/>
                  </a:lnTo>
                  <a:lnTo>
                    <a:pt x="942" y="876"/>
                  </a:lnTo>
                  <a:lnTo>
                    <a:pt x="942" y="834"/>
                  </a:lnTo>
                  <a:lnTo>
                    <a:pt x="960" y="828"/>
                  </a:lnTo>
                  <a:lnTo>
                    <a:pt x="966" y="816"/>
                  </a:lnTo>
                  <a:lnTo>
                    <a:pt x="972" y="810"/>
                  </a:lnTo>
                  <a:lnTo>
                    <a:pt x="978" y="804"/>
                  </a:lnTo>
                  <a:lnTo>
                    <a:pt x="996" y="798"/>
                  </a:lnTo>
                  <a:lnTo>
                    <a:pt x="996" y="792"/>
                  </a:lnTo>
                  <a:lnTo>
                    <a:pt x="1014" y="780"/>
                  </a:lnTo>
                  <a:lnTo>
                    <a:pt x="1026" y="768"/>
                  </a:lnTo>
                  <a:lnTo>
                    <a:pt x="1032" y="762"/>
                  </a:lnTo>
                  <a:lnTo>
                    <a:pt x="1026" y="756"/>
                  </a:lnTo>
                  <a:lnTo>
                    <a:pt x="1014" y="744"/>
                  </a:lnTo>
                  <a:lnTo>
                    <a:pt x="996" y="756"/>
                  </a:lnTo>
                  <a:lnTo>
                    <a:pt x="954" y="768"/>
                  </a:lnTo>
                  <a:lnTo>
                    <a:pt x="942" y="762"/>
                  </a:lnTo>
                  <a:lnTo>
                    <a:pt x="942" y="756"/>
                  </a:lnTo>
                  <a:lnTo>
                    <a:pt x="936" y="750"/>
                  </a:lnTo>
                  <a:lnTo>
                    <a:pt x="846" y="732"/>
                  </a:lnTo>
                  <a:lnTo>
                    <a:pt x="822" y="726"/>
                  </a:lnTo>
                  <a:lnTo>
                    <a:pt x="810" y="714"/>
                  </a:lnTo>
                  <a:lnTo>
                    <a:pt x="792" y="690"/>
                  </a:lnTo>
                  <a:lnTo>
                    <a:pt x="792" y="678"/>
                  </a:lnTo>
                  <a:lnTo>
                    <a:pt x="762" y="642"/>
                  </a:lnTo>
                  <a:lnTo>
                    <a:pt x="750" y="636"/>
                  </a:lnTo>
                  <a:lnTo>
                    <a:pt x="726" y="630"/>
                  </a:lnTo>
                  <a:lnTo>
                    <a:pt x="696" y="642"/>
                  </a:lnTo>
                  <a:lnTo>
                    <a:pt x="678" y="654"/>
                  </a:lnTo>
                  <a:lnTo>
                    <a:pt x="666" y="684"/>
                  </a:lnTo>
                  <a:lnTo>
                    <a:pt x="660" y="726"/>
                  </a:lnTo>
                  <a:lnTo>
                    <a:pt x="606" y="756"/>
                  </a:lnTo>
                  <a:lnTo>
                    <a:pt x="558" y="780"/>
                  </a:lnTo>
                  <a:lnTo>
                    <a:pt x="438" y="834"/>
                  </a:lnTo>
                  <a:lnTo>
                    <a:pt x="402" y="846"/>
                  </a:lnTo>
                  <a:lnTo>
                    <a:pt x="372" y="870"/>
                  </a:lnTo>
                  <a:lnTo>
                    <a:pt x="360" y="876"/>
                  </a:lnTo>
                  <a:lnTo>
                    <a:pt x="354" y="876"/>
                  </a:lnTo>
                  <a:lnTo>
                    <a:pt x="330" y="882"/>
                  </a:lnTo>
                  <a:lnTo>
                    <a:pt x="306" y="882"/>
                  </a:lnTo>
                  <a:lnTo>
                    <a:pt x="300" y="876"/>
                  </a:lnTo>
                  <a:lnTo>
                    <a:pt x="294" y="876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76" y="864"/>
                  </a:lnTo>
                  <a:lnTo>
                    <a:pt x="270" y="870"/>
                  </a:lnTo>
                  <a:lnTo>
                    <a:pt x="264" y="870"/>
                  </a:lnTo>
                  <a:lnTo>
                    <a:pt x="240" y="894"/>
                  </a:lnTo>
                  <a:lnTo>
                    <a:pt x="234" y="894"/>
                  </a:lnTo>
                  <a:lnTo>
                    <a:pt x="228" y="900"/>
                  </a:lnTo>
                  <a:lnTo>
                    <a:pt x="222" y="906"/>
                  </a:lnTo>
                  <a:lnTo>
                    <a:pt x="210" y="912"/>
                  </a:lnTo>
                  <a:lnTo>
                    <a:pt x="204" y="912"/>
                  </a:lnTo>
                  <a:lnTo>
                    <a:pt x="198" y="912"/>
                  </a:lnTo>
                  <a:lnTo>
                    <a:pt x="192" y="918"/>
                  </a:lnTo>
                  <a:lnTo>
                    <a:pt x="180" y="918"/>
                  </a:lnTo>
                  <a:lnTo>
                    <a:pt x="174" y="930"/>
                  </a:lnTo>
                  <a:lnTo>
                    <a:pt x="174" y="936"/>
                  </a:lnTo>
                  <a:lnTo>
                    <a:pt x="168" y="942"/>
                  </a:lnTo>
                  <a:lnTo>
                    <a:pt x="162" y="942"/>
                  </a:lnTo>
                  <a:lnTo>
                    <a:pt x="150" y="960"/>
                  </a:lnTo>
                  <a:lnTo>
                    <a:pt x="144" y="966"/>
                  </a:lnTo>
                  <a:lnTo>
                    <a:pt x="138" y="972"/>
                  </a:lnTo>
                  <a:lnTo>
                    <a:pt x="132" y="972"/>
                  </a:lnTo>
                  <a:lnTo>
                    <a:pt x="126" y="984"/>
                  </a:lnTo>
                  <a:lnTo>
                    <a:pt x="120" y="984"/>
                  </a:lnTo>
                  <a:lnTo>
                    <a:pt x="114" y="990"/>
                  </a:lnTo>
                  <a:lnTo>
                    <a:pt x="96" y="990"/>
                  </a:lnTo>
                  <a:lnTo>
                    <a:pt x="90" y="990"/>
                  </a:lnTo>
                  <a:lnTo>
                    <a:pt x="78" y="990"/>
                  </a:lnTo>
                  <a:lnTo>
                    <a:pt x="72" y="990"/>
                  </a:lnTo>
                  <a:lnTo>
                    <a:pt x="60" y="990"/>
                  </a:lnTo>
                  <a:lnTo>
                    <a:pt x="42" y="990"/>
                  </a:lnTo>
                  <a:lnTo>
                    <a:pt x="36" y="996"/>
                  </a:lnTo>
                  <a:lnTo>
                    <a:pt x="30" y="1002"/>
                  </a:lnTo>
                  <a:lnTo>
                    <a:pt x="24" y="1014"/>
                  </a:lnTo>
                  <a:lnTo>
                    <a:pt x="24" y="1020"/>
                  </a:lnTo>
                  <a:lnTo>
                    <a:pt x="18" y="1020"/>
                  </a:lnTo>
                  <a:lnTo>
                    <a:pt x="12" y="1014"/>
                  </a:lnTo>
                  <a:lnTo>
                    <a:pt x="12" y="1008"/>
                  </a:lnTo>
                  <a:lnTo>
                    <a:pt x="12" y="990"/>
                  </a:lnTo>
                  <a:lnTo>
                    <a:pt x="12" y="984"/>
                  </a:lnTo>
                  <a:lnTo>
                    <a:pt x="12" y="972"/>
                  </a:lnTo>
                  <a:lnTo>
                    <a:pt x="12" y="966"/>
                  </a:lnTo>
                  <a:lnTo>
                    <a:pt x="6" y="966"/>
                  </a:lnTo>
                  <a:lnTo>
                    <a:pt x="6" y="960"/>
                  </a:lnTo>
                  <a:lnTo>
                    <a:pt x="6" y="954"/>
                  </a:lnTo>
                  <a:lnTo>
                    <a:pt x="6" y="948"/>
                  </a:lnTo>
                  <a:lnTo>
                    <a:pt x="6" y="942"/>
                  </a:lnTo>
                  <a:lnTo>
                    <a:pt x="12" y="930"/>
                  </a:lnTo>
                  <a:lnTo>
                    <a:pt x="6" y="924"/>
                  </a:lnTo>
                  <a:lnTo>
                    <a:pt x="6" y="918"/>
                  </a:lnTo>
                  <a:lnTo>
                    <a:pt x="6" y="912"/>
                  </a:lnTo>
                  <a:lnTo>
                    <a:pt x="6" y="906"/>
                  </a:lnTo>
                  <a:lnTo>
                    <a:pt x="6" y="900"/>
                  </a:lnTo>
                  <a:lnTo>
                    <a:pt x="0" y="894"/>
                  </a:lnTo>
                  <a:lnTo>
                    <a:pt x="0" y="888"/>
                  </a:lnTo>
                  <a:lnTo>
                    <a:pt x="0" y="882"/>
                  </a:lnTo>
                  <a:lnTo>
                    <a:pt x="6" y="876"/>
                  </a:lnTo>
                  <a:lnTo>
                    <a:pt x="6" y="870"/>
                  </a:lnTo>
                  <a:lnTo>
                    <a:pt x="18" y="864"/>
                  </a:lnTo>
                  <a:lnTo>
                    <a:pt x="18" y="858"/>
                  </a:lnTo>
                  <a:lnTo>
                    <a:pt x="18" y="846"/>
                  </a:lnTo>
                  <a:lnTo>
                    <a:pt x="18" y="834"/>
                  </a:lnTo>
                  <a:lnTo>
                    <a:pt x="18" y="828"/>
                  </a:lnTo>
                  <a:lnTo>
                    <a:pt x="24" y="828"/>
                  </a:lnTo>
                  <a:lnTo>
                    <a:pt x="24" y="810"/>
                  </a:lnTo>
                  <a:lnTo>
                    <a:pt x="24" y="804"/>
                  </a:lnTo>
                  <a:lnTo>
                    <a:pt x="18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24" y="792"/>
                  </a:lnTo>
                  <a:lnTo>
                    <a:pt x="30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6" y="762"/>
                  </a:lnTo>
                  <a:lnTo>
                    <a:pt x="36" y="756"/>
                  </a:lnTo>
                  <a:lnTo>
                    <a:pt x="30" y="756"/>
                  </a:lnTo>
                  <a:lnTo>
                    <a:pt x="30" y="750"/>
                  </a:lnTo>
                  <a:lnTo>
                    <a:pt x="36" y="750"/>
                  </a:lnTo>
                  <a:lnTo>
                    <a:pt x="36" y="744"/>
                  </a:lnTo>
                  <a:lnTo>
                    <a:pt x="30" y="744"/>
                  </a:lnTo>
                  <a:lnTo>
                    <a:pt x="30" y="738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0" y="732"/>
                  </a:lnTo>
                  <a:lnTo>
                    <a:pt x="36" y="726"/>
                  </a:lnTo>
                  <a:lnTo>
                    <a:pt x="30" y="726"/>
                  </a:lnTo>
                  <a:lnTo>
                    <a:pt x="24" y="726"/>
                  </a:lnTo>
                  <a:lnTo>
                    <a:pt x="30" y="720"/>
                  </a:lnTo>
                  <a:lnTo>
                    <a:pt x="30" y="714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696"/>
                  </a:lnTo>
                  <a:lnTo>
                    <a:pt x="66" y="702"/>
                  </a:lnTo>
                  <a:lnTo>
                    <a:pt x="78" y="702"/>
                  </a:lnTo>
                  <a:lnTo>
                    <a:pt x="84" y="702"/>
                  </a:lnTo>
                  <a:lnTo>
                    <a:pt x="96" y="696"/>
                  </a:lnTo>
                  <a:lnTo>
                    <a:pt x="102" y="690"/>
                  </a:lnTo>
                  <a:lnTo>
                    <a:pt x="102" y="684"/>
                  </a:lnTo>
                  <a:lnTo>
                    <a:pt x="114" y="684"/>
                  </a:lnTo>
                  <a:lnTo>
                    <a:pt x="144" y="684"/>
                  </a:lnTo>
                  <a:lnTo>
                    <a:pt x="150" y="690"/>
                  </a:lnTo>
                  <a:lnTo>
                    <a:pt x="162" y="696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6" y="690"/>
                  </a:lnTo>
                  <a:lnTo>
                    <a:pt x="192" y="690"/>
                  </a:lnTo>
                  <a:lnTo>
                    <a:pt x="198" y="684"/>
                  </a:lnTo>
                  <a:lnTo>
                    <a:pt x="204" y="684"/>
                  </a:lnTo>
                  <a:lnTo>
                    <a:pt x="210" y="684"/>
                  </a:lnTo>
                  <a:lnTo>
                    <a:pt x="222" y="678"/>
                  </a:lnTo>
                  <a:lnTo>
                    <a:pt x="228" y="678"/>
                  </a:lnTo>
                  <a:lnTo>
                    <a:pt x="228" y="660"/>
                  </a:lnTo>
                  <a:lnTo>
                    <a:pt x="234" y="642"/>
                  </a:lnTo>
                  <a:lnTo>
                    <a:pt x="246" y="618"/>
                  </a:lnTo>
                  <a:lnTo>
                    <a:pt x="252" y="618"/>
                  </a:lnTo>
                  <a:lnTo>
                    <a:pt x="252" y="600"/>
                  </a:lnTo>
                  <a:lnTo>
                    <a:pt x="252" y="588"/>
                  </a:lnTo>
                  <a:lnTo>
                    <a:pt x="252" y="582"/>
                  </a:lnTo>
                  <a:lnTo>
                    <a:pt x="258" y="576"/>
                  </a:lnTo>
                  <a:lnTo>
                    <a:pt x="270" y="564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70" y="522"/>
                  </a:lnTo>
                  <a:lnTo>
                    <a:pt x="270" y="510"/>
                  </a:lnTo>
                  <a:lnTo>
                    <a:pt x="270" y="498"/>
                  </a:lnTo>
                  <a:lnTo>
                    <a:pt x="258" y="468"/>
                  </a:lnTo>
                  <a:lnTo>
                    <a:pt x="252" y="456"/>
                  </a:lnTo>
                  <a:lnTo>
                    <a:pt x="258" y="444"/>
                  </a:lnTo>
                  <a:lnTo>
                    <a:pt x="264" y="432"/>
                  </a:lnTo>
                  <a:lnTo>
                    <a:pt x="270" y="426"/>
                  </a:lnTo>
                  <a:lnTo>
                    <a:pt x="276" y="420"/>
                  </a:lnTo>
                  <a:lnTo>
                    <a:pt x="288" y="420"/>
                  </a:lnTo>
                  <a:lnTo>
                    <a:pt x="288" y="414"/>
                  </a:lnTo>
                  <a:lnTo>
                    <a:pt x="294" y="414"/>
                  </a:lnTo>
                  <a:lnTo>
                    <a:pt x="306" y="390"/>
                  </a:lnTo>
                  <a:lnTo>
                    <a:pt x="312" y="384"/>
                  </a:lnTo>
                  <a:lnTo>
                    <a:pt x="318" y="378"/>
                  </a:lnTo>
                  <a:lnTo>
                    <a:pt x="318" y="372"/>
                  </a:lnTo>
                  <a:lnTo>
                    <a:pt x="324" y="366"/>
                  </a:lnTo>
                  <a:lnTo>
                    <a:pt x="330" y="354"/>
                  </a:lnTo>
                  <a:lnTo>
                    <a:pt x="336" y="348"/>
                  </a:lnTo>
                  <a:lnTo>
                    <a:pt x="336" y="330"/>
                  </a:lnTo>
                  <a:lnTo>
                    <a:pt x="342" y="324"/>
                  </a:lnTo>
                  <a:lnTo>
                    <a:pt x="342" y="318"/>
                  </a:lnTo>
                  <a:lnTo>
                    <a:pt x="348" y="318"/>
                  </a:lnTo>
                  <a:lnTo>
                    <a:pt x="360" y="318"/>
                  </a:lnTo>
                  <a:lnTo>
                    <a:pt x="372" y="318"/>
                  </a:lnTo>
                  <a:lnTo>
                    <a:pt x="384" y="306"/>
                  </a:lnTo>
                  <a:lnTo>
                    <a:pt x="396" y="300"/>
                  </a:lnTo>
                  <a:lnTo>
                    <a:pt x="396" y="294"/>
                  </a:lnTo>
                  <a:lnTo>
                    <a:pt x="396" y="288"/>
                  </a:lnTo>
                  <a:lnTo>
                    <a:pt x="390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2"/>
                  </a:lnTo>
                  <a:lnTo>
                    <a:pt x="378" y="246"/>
                  </a:lnTo>
                  <a:lnTo>
                    <a:pt x="384" y="228"/>
                  </a:lnTo>
                  <a:lnTo>
                    <a:pt x="390" y="216"/>
                  </a:lnTo>
                  <a:lnTo>
                    <a:pt x="402" y="210"/>
                  </a:lnTo>
                  <a:lnTo>
                    <a:pt x="408" y="210"/>
                  </a:lnTo>
                  <a:lnTo>
                    <a:pt x="420" y="204"/>
                  </a:lnTo>
                  <a:lnTo>
                    <a:pt x="444" y="198"/>
                  </a:lnTo>
                  <a:lnTo>
                    <a:pt x="462" y="192"/>
                  </a:lnTo>
                  <a:lnTo>
                    <a:pt x="474" y="186"/>
                  </a:lnTo>
                  <a:lnTo>
                    <a:pt x="480" y="192"/>
                  </a:lnTo>
                  <a:lnTo>
                    <a:pt x="492" y="192"/>
                  </a:lnTo>
                  <a:lnTo>
                    <a:pt x="498" y="192"/>
                  </a:lnTo>
                  <a:lnTo>
                    <a:pt x="504" y="192"/>
                  </a:lnTo>
                  <a:lnTo>
                    <a:pt x="510" y="192"/>
                  </a:lnTo>
                  <a:lnTo>
                    <a:pt x="516" y="186"/>
                  </a:lnTo>
                  <a:lnTo>
                    <a:pt x="522" y="180"/>
                  </a:lnTo>
                  <a:lnTo>
                    <a:pt x="522" y="174"/>
                  </a:lnTo>
                  <a:lnTo>
                    <a:pt x="528" y="168"/>
                  </a:lnTo>
                  <a:lnTo>
                    <a:pt x="534" y="168"/>
                  </a:lnTo>
                  <a:lnTo>
                    <a:pt x="534" y="156"/>
                  </a:lnTo>
                  <a:lnTo>
                    <a:pt x="534" y="150"/>
                  </a:lnTo>
                  <a:lnTo>
                    <a:pt x="552" y="138"/>
                  </a:lnTo>
                  <a:lnTo>
                    <a:pt x="558" y="126"/>
                  </a:lnTo>
                  <a:lnTo>
                    <a:pt x="558" y="114"/>
                  </a:lnTo>
                  <a:lnTo>
                    <a:pt x="564" y="102"/>
                  </a:lnTo>
                  <a:lnTo>
                    <a:pt x="564" y="96"/>
                  </a:lnTo>
                  <a:lnTo>
                    <a:pt x="564" y="90"/>
                  </a:lnTo>
                  <a:lnTo>
                    <a:pt x="564" y="72"/>
                  </a:lnTo>
                  <a:lnTo>
                    <a:pt x="564" y="60"/>
                  </a:lnTo>
                  <a:lnTo>
                    <a:pt x="564" y="54"/>
                  </a:lnTo>
                  <a:lnTo>
                    <a:pt x="570" y="42"/>
                  </a:lnTo>
                  <a:lnTo>
                    <a:pt x="576" y="42"/>
                  </a:lnTo>
                  <a:lnTo>
                    <a:pt x="582" y="36"/>
                  </a:lnTo>
                  <a:lnTo>
                    <a:pt x="594" y="36"/>
                  </a:lnTo>
                  <a:lnTo>
                    <a:pt x="594" y="30"/>
                  </a:lnTo>
                  <a:lnTo>
                    <a:pt x="600" y="24"/>
                  </a:lnTo>
                  <a:lnTo>
                    <a:pt x="600" y="12"/>
                  </a:lnTo>
                  <a:lnTo>
                    <a:pt x="606" y="6"/>
                  </a:lnTo>
                  <a:lnTo>
                    <a:pt x="606" y="0"/>
                  </a:lnTo>
                  <a:lnTo>
                    <a:pt x="612" y="0"/>
                  </a:lnTo>
                  <a:lnTo>
                    <a:pt x="618" y="0"/>
                  </a:lnTo>
                  <a:lnTo>
                    <a:pt x="624" y="6"/>
                  </a:lnTo>
                  <a:lnTo>
                    <a:pt x="624" y="12"/>
                  </a:lnTo>
                  <a:lnTo>
                    <a:pt x="624" y="18"/>
                  </a:lnTo>
                  <a:lnTo>
                    <a:pt x="624" y="24"/>
                  </a:lnTo>
                  <a:lnTo>
                    <a:pt x="624" y="30"/>
                  </a:lnTo>
                  <a:lnTo>
                    <a:pt x="630" y="30"/>
                  </a:lnTo>
                  <a:lnTo>
                    <a:pt x="630" y="36"/>
                  </a:lnTo>
                  <a:lnTo>
                    <a:pt x="630" y="42"/>
                  </a:lnTo>
                  <a:lnTo>
                    <a:pt x="630" y="48"/>
                  </a:lnTo>
                  <a:lnTo>
                    <a:pt x="636" y="54"/>
                  </a:lnTo>
                  <a:lnTo>
                    <a:pt x="642" y="48"/>
                  </a:lnTo>
                  <a:lnTo>
                    <a:pt x="648" y="48"/>
                  </a:lnTo>
                  <a:lnTo>
                    <a:pt x="648" y="60"/>
                  </a:lnTo>
                  <a:lnTo>
                    <a:pt x="654" y="66"/>
                  </a:lnTo>
                  <a:lnTo>
                    <a:pt x="660" y="72"/>
                  </a:lnTo>
                  <a:lnTo>
                    <a:pt x="666" y="72"/>
                  </a:lnTo>
                  <a:lnTo>
                    <a:pt x="666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72" y="66"/>
                  </a:lnTo>
                  <a:lnTo>
                    <a:pt x="678" y="66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6" y="66"/>
                  </a:lnTo>
                  <a:lnTo>
                    <a:pt x="696" y="72"/>
                  </a:lnTo>
                  <a:lnTo>
                    <a:pt x="702" y="72"/>
                  </a:lnTo>
                  <a:lnTo>
                    <a:pt x="708" y="72"/>
                  </a:lnTo>
                  <a:lnTo>
                    <a:pt x="720" y="66"/>
                  </a:lnTo>
                  <a:lnTo>
                    <a:pt x="726" y="78"/>
                  </a:lnTo>
                  <a:lnTo>
                    <a:pt x="744" y="84"/>
                  </a:lnTo>
                  <a:lnTo>
                    <a:pt x="744" y="90"/>
                  </a:lnTo>
                  <a:lnTo>
                    <a:pt x="744" y="96"/>
                  </a:lnTo>
                  <a:lnTo>
                    <a:pt x="738" y="96"/>
                  </a:lnTo>
                  <a:lnTo>
                    <a:pt x="738" y="102"/>
                  </a:lnTo>
                  <a:lnTo>
                    <a:pt x="732" y="102"/>
                  </a:lnTo>
                  <a:lnTo>
                    <a:pt x="732" y="108"/>
                  </a:lnTo>
                  <a:lnTo>
                    <a:pt x="738" y="108"/>
                  </a:lnTo>
                  <a:lnTo>
                    <a:pt x="744" y="114"/>
                  </a:lnTo>
                  <a:lnTo>
                    <a:pt x="750" y="108"/>
                  </a:lnTo>
                  <a:lnTo>
                    <a:pt x="756" y="108"/>
                  </a:lnTo>
                  <a:lnTo>
                    <a:pt x="762" y="108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80" y="120"/>
                  </a:lnTo>
                  <a:lnTo>
                    <a:pt x="774" y="120"/>
                  </a:lnTo>
                  <a:lnTo>
                    <a:pt x="768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74" y="138"/>
                  </a:lnTo>
                  <a:lnTo>
                    <a:pt x="774" y="132"/>
                  </a:lnTo>
                  <a:lnTo>
                    <a:pt x="780" y="132"/>
                  </a:lnTo>
                  <a:lnTo>
                    <a:pt x="786" y="132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44"/>
                  </a:lnTo>
                  <a:lnTo>
                    <a:pt x="786" y="150"/>
                  </a:lnTo>
                  <a:lnTo>
                    <a:pt x="780" y="150"/>
                  </a:lnTo>
                  <a:lnTo>
                    <a:pt x="774" y="150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74" y="162"/>
                  </a:lnTo>
                  <a:lnTo>
                    <a:pt x="780" y="162"/>
                  </a:lnTo>
                  <a:lnTo>
                    <a:pt x="786" y="168"/>
                  </a:lnTo>
                  <a:lnTo>
                    <a:pt x="792" y="162"/>
                  </a:lnTo>
                  <a:lnTo>
                    <a:pt x="798" y="168"/>
                  </a:lnTo>
                  <a:lnTo>
                    <a:pt x="798" y="174"/>
                  </a:lnTo>
                  <a:lnTo>
                    <a:pt x="804" y="168"/>
                  </a:lnTo>
                  <a:lnTo>
                    <a:pt x="810" y="168"/>
                  </a:lnTo>
                  <a:lnTo>
                    <a:pt x="810" y="174"/>
                  </a:lnTo>
                  <a:lnTo>
                    <a:pt x="816" y="168"/>
                  </a:lnTo>
                  <a:lnTo>
                    <a:pt x="822" y="162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74"/>
                  </a:lnTo>
                  <a:lnTo>
                    <a:pt x="834" y="192"/>
                  </a:lnTo>
                  <a:lnTo>
                    <a:pt x="834" y="198"/>
                  </a:lnTo>
                  <a:lnTo>
                    <a:pt x="840" y="192"/>
                  </a:lnTo>
                  <a:lnTo>
                    <a:pt x="846" y="192"/>
                  </a:lnTo>
                  <a:lnTo>
                    <a:pt x="852" y="186"/>
                  </a:lnTo>
                  <a:lnTo>
                    <a:pt x="858" y="192"/>
                  </a:lnTo>
                  <a:lnTo>
                    <a:pt x="864" y="192"/>
                  </a:lnTo>
                  <a:lnTo>
                    <a:pt x="870" y="198"/>
                  </a:lnTo>
                  <a:lnTo>
                    <a:pt x="876" y="180"/>
                  </a:lnTo>
                  <a:lnTo>
                    <a:pt x="882" y="180"/>
                  </a:lnTo>
                  <a:lnTo>
                    <a:pt x="888" y="180"/>
                  </a:lnTo>
                  <a:lnTo>
                    <a:pt x="894" y="186"/>
                  </a:lnTo>
                  <a:lnTo>
                    <a:pt x="888" y="198"/>
                  </a:lnTo>
                  <a:lnTo>
                    <a:pt x="894" y="204"/>
                  </a:lnTo>
                  <a:lnTo>
                    <a:pt x="906" y="210"/>
                  </a:lnTo>
                  <a:lnTo>
                    <a:pt x="918" y="246"/>
                  </a:lnTo>
                  <a:lnTo>
                    <a:pt x="930" y="258"/>
                  </a:lnTo>
                  <a:lnTo>
                    <a:pt x="942" y="282"/>
                  </a:lnTo>
                  <a:lnTo>
                    <a:pt x="966" y="288"/>
                  </a:lnTo>
                  <a:lnTo>
                    <a:pt x="972" y="300"/>
                  </a:lnTo>
                  <a:lnTo>
                    <a:pt x="972" y="318"/>
                  </a:lnTo>
                  <a:lnTo>
                    <a:pt x="996" y="336"/>
                  </a:lnTo>
                  <a:lnTo>
                    <a:pt x="1050" y="390"/>
                  </a:lnTo>
                  <a:lnTo>
                    <a:pt x="1116" y="462"/>
                  </a:lnTo>
                  <a:lnTo>
                    <a:pt x="1122" y="468"/>
                  </a:lnTo>
                  <a:lnTo>
                    <a:pt x="1128" y="474"/>
                  </a:lnTo>
                  <a:lnTo>
                    <a:pt x="1140" y="474"/>
                  </a:lnTo>
                  <a:lnTo>
                    <a:pt x="1152" y="486"/>
                  </a:lnTo>
                  <a:lnTo>
                    <a:pt x="1152" y="492"/>
                  </a:lnTo>
                  <a:lnTo>
                    <a:pt x="1158" y="492"/>
                  </a:lnTo>
                  <a:lnTo>
                    <a:pt x="1164" y="492"/>
                  </a:lnTo>
                  <a:lnTo>
                    <a:pt x="1170" y="504"/>
                  </a:lnTo>
                  <a:lnTo>
                    <a:pt x="1176" y="504"/>
                  </a:lnTo>
                  <a:lnTo>
                    <a:pt x="1176" y="510"/>
                  </a:lnTo>
                  <a:lnTo>
                    <a:pt x="1200" y="516"/>
                  </a:lnTo>
                  <a:lnTo>
                    <a:pt x="1200" y="522"/>
                  </a:lnTo>
                  <a:lnTo>
                    <a:pt x="1212" y="534"/>
                  </a:lnTo>
                  <a:lnTo>
                    <a:pt x="1218" y="540"/>
                  </a:lnTo>
                  <a:lnTo>
                    <a:pt x="1224" y="552"/>
                  </a:lnTo>
                  <a:lnTo>
                    <a:pt x="1230" y="552"/>
                  </a:lnTo>
                  <a:lnTo>
                    <a:pt x="1242" y="552"/>
                  </a:lnTo>
                  <a:lnTo>
                    <a:pt x="1248" y="558"/>
                  </a:lnTo>
                  <a:lnTo>
                    <a:pt x="1254" y="558"/>
                  </a:lnTo>
                  <a:lnTo>
                    <a:pt x="1260" y="564"/>
                  </a:lnTo>
                  <a:lnTo>
                    <a:pt x="1266" y="564"/>
                  </a:lnTo>
                  <a:lnTo>
                    <a:pt x="1272" y="564"/>
                  </a:lnTo>
                  <a:lnTo>
                    <a:pt x="1284" y="564"/>
                  </a:lnTo>
                  <a:lnTo>
                    <a:pt x="1290" y="570"/>
                  </a:lnTo>
                  <a:lnTo>
                    <a:pt x="1296" y="576"/>
                  </a:lnTo>
                  <a:lnTo>
                    <a:pt x="1302" y="588"/>
                  </a:lnTo>
                  <a:lnTo>
                    <a:pt x="1296" y="594"/>
                  </a:lnTo>
                  <a:lnTo>
                    <a:pt x="1296" y="600"/>
                  </a:lnTo>
                  <a:lnTo>
                    <a:pt x="1296" y="606"/>
                  </a:lnTo>
                  <a:lnTo>
                    <a:pt x="1290" y="612"/>
                  </a:lnTo>
                  <a:lnTo>
                    <a:pt x="1290" y="624"/>
                  </a:lnTo>
                  <a:lnTo>
                    <a:pt x="1290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308" y="654"/>
                  </a:lnTo>
                  <a:lnTo>
                    <a:pt x="1320" y="654"/>
                  </a:lnTo>
                  <a:lnTo>
                    <a:pt x="1326" y="660"/>
                  </a:lnTo>
                  <a:lnTo>
                    <a:pt x="1338" y="654"/>
                  </a:lnTo>
                  <a:lnTo>
                    <a:pt x="1344" y="654"/>
                  </a:lnTo>
                  <a:lnTo>
                    <a:pt x="1356" y="654"/>
                  </a:lnTo>
                  <a:lnTo>
                    <a:pt x="1362" y="648"/>
                  </a:lnTo>
                  <a:lnTo>
                    <a:pt x="1368" y="642"/>
                  </a:lnTo>
                  <a:lnTo>
                    <a:pt x="1374" y="636"/>
                  </a:lnTo>
                  <a:lnTo>
                    <a:pt x="1380" y="636"/>
                  </a:lnTo>
                  <a:lnTo>
                    <a:pt x="1392" y="636"/>
                  </a:lnTo>
                  <a:lnTo>
                    <a:pt x="1398" y="636"/>
                  </a:lnTo>
                  <a:lnTo>
                    <a:pt x="1404" y="636"/>
                  </a:lnTo>
                  <a:lnTo>
                    <a:pt x="1410" y="630"/>
                  </a:lnTo>
                  <a:lnTo>
                    <a:pt x="1410" y="624"/>
                  </a:lnTo>
                  <a:lnTo>
                    <a:pt x="1422" y="618"/>
                  </a:lnTo>
                  <a:lnTo>
                    <a:pt x="1428" y="618"/>
                  </a:lnTo>
                  <a:lnTo>
                    <a:pt x="1440" y="612"/>
                  </a:lnTo>
                  <a:lnTo>
                    <a:pt x="1446" y="612"/>
                  </a:lnTo>
                  <a:lnTo>
                    <a:pt x="1458" y="612"/>
                  </a:lnTo>
                  <a:lnTo>
                    <a:pt x="1470" y="624"/>
                  </a:lnTo>
                  <a:lnTo>
                    <a:pt x="1488" y="642"/>
                  </a:lnTo>
                  <a:lnTo>
                    <a:pt x="1500" y="648"/>
                  </a:lnTo>
                  <a:lnTo>
                    <a:pt x="1512" y="654"/>
                  </a:lnTo>
                  <a:lnTo>
                    <a:pt x="1518" y="660"/>
                  </a:lnTo>
                  <a:lnTo>
                    <a:pt x="1524" y="660"/>
                  </a:lnTo>
                  <a:lnTo>
                    <a:pt x="1530" y="660"/>
                  </a:lnTo>
                  <a:lnTo>
                    <a:pt x="1536" y="666"/>
                  </a:lnTo>
                  <a:lnTo>
                    <a:pt x="1542" y="672"/>
                  </a:lnTo>
                  <a:lnTo>
                    <a:pt x="1548" y="672"/>
                  </a:lnTo>
                  <a:lnTo>
                    <a:pt x="1554" y="684"/>
                  </a:lnTo>
                  <a:lnTo>
                    <a:pt x="1554" y="690"/>
                  </a:lnTo>
                  <a:lnTo>
                    <a:pt x="1566" y="702"/>
                  </a:lnTo>
                  <a:lnTo>
                    <a:pt x="1572" y="720"/>
                  </a:lnTo>
                  <a:lnTo>
                    <a:pt x="1572" y="726"/>
                  </a:lnTo>
                  <a:lnTo>
                    <a:pt x="1578" y="732"/>
                  </a:lnTo>
                  <a:lnTo>
                    <a:pt x="1584" y="738"/>
                  </a:lnTo>
                  <a:lnTo>
                    <a:pt x="1590" y="738"/>
                  </a:lnTo>
                  <a:lnTo>
                    <a:pt x="1596" y="738"/>
                  </a:lnTo>
                  <a:lnTo>
                    <a:pt x="1602" y="744"/>
                  </a:lnTo>
                  <a:lnTo>
                    <a:pt x="1608" y="744"/>
                  </a:lnTo>
                  <a:lnTo>
                    <a:pt x="1614" y="744"/>
                  </a:lnTo>
                  <a:lnTo>
                    <a:pt x="1626" y="744"/>
                  </a:lnTo>
                  <a:lnTo>
                    <a:pt x="1638" y="744"/>
                  </a:lnTo>
                  <a:lnTo>
                    <a:pt x="1650" y="744"/>
                  </a:lnTo>
                  <a:lnTo>
                    <a:pt x="1662" y="744"/>
                  </a:lnTo>
                  <a:lnTo>
                    <a:pt x="1668" y="744"/>
                  </a:lnTo>
                  <a:lnTo>
                    <a:pt x="1674" y="744"/>
                  </a:lnTo>
                  <a:lnTo>
                    <a:pt x="1686" y="744"/>
                  </a:lnTo>
                  <a:lnTo>
                    <a:pt x="1698" y="750"/>
                  </a:lnTo>
                  <a:lnTo>
                    <a:pt x="1704" y="750"/>
                  </a:lnTo>
                  <a:lnTo>
                    <a:pt x="1716" y="756"/>
                  </a:lnTo>
                  <a:lnTo>
                    <a:pt x="1722" y="756"/>
                  </a:lnTo>
                  <a:lnTo>
                    <a:pt x="1728" y="756"/>
                  </a:lnTo>
                  <a:lnTo>
                    <a:pt x="1734" y="762"/>
                  </a:lnTo>
                  <a:lnTo>
                    <a:pt x="1740" y="768"/>
                  </a:lnTo>
                  <a:lnTo>
                    <a:pt x="1758" y="780"/>
                  </a:lnTo>
                  <a:lnTo>
                    <a:pt x="1770" y="780"/>
                  </a:lnTo>
                  <a:lnTo>
                    <a:pt x="1776" y="780"/>
                  </a:lnTo>
                  <a:lnTo>
                    <a:pt x="1782" y="780"/>
                  </a:lnTo>
                  <a:lnTo>
                    <a:pt x="1800" y="798"/>
                  </a:lnTo>
                  <a:lnTo>
                    <a:pt x="1818" y="810"/>
                  </a:lnTo>
                  <a:lnTo>
                    <a:pt x="1830" y="816"/>
                  </a:lnTo>
                  <a:lnTo>
                    <a:pt x="1836" y="822"/>
                  </a:lnTo>
                  <a:lnTo>
                    <a:pt x="1836" y="828"/>
                  </a:lnTo>
                  <a:lnTo>
                    <a:pt x="1842" y="828"/>
                  </a:lnTo>
                  <a:lnTo>
                    <a:pt x="1848" y="834"/>
                  </a:lnTo>
                  <a:lnTo>
                    <a:pt x="1854" y="840"/>
                  </a:lnTo>
                  <a:lnTo>
                    <a:pt x="1860" y="846"/>
                  </a:lnTo>
                  <a:lnTo>
                    <a:pt x="1872" y="852"/>
                  </a:lnTo>
                  <a:lnTo>
                    <a:pt x="1884" y="852"/>
                  </a:lnTo>
                  <a:lnTo>
                    <a:pt x="1896" y="852"/>
                  </a:lnTo>
                  <a:lnTo>
                    <a:pt x="1902" y="846"/>
                  </a:lnTo>
                  <a:lnTo>
                    <a:pt x="1908" y="852"/>
                  </a:lnTo>
                  <a:lnTo>
                    <a:pt x="1920" y="858"/>
                  </a:lnTo>
                  <a:lnTo>
                    <a:pt x="1926" y="870"/>
                  </a:lnTo>
                  <a:lnTo>
                    <a:pt x="1938" y="888"/>
                  </a:lnTo>
                  <a:lnTo>
                    <a:pt x="1944" y="900"/>
                  </a:lnTo>
                  <a:lnTo>
                    <a:pt x="1950" y="900"/>
                  </a:lnTo>
                  <a:lnTo>
                    <a:pt x="1962" y="906"/>
                  </a:lnTo>
                  <a:lnTo>
                    <a:pt x="1968" y="906"/>
                  </a:lnTo>
                  <a:lnTo>
                    <a:pt x="1980" y="906"/>
                  </a:lnTo>
                  <a:lnTo>
                    <a:pt x="1998" y="906"/>
                  </a:lnTo>
                  <a:lnTo>
                    <a:pt x="2010" y="900"/>
                  </a:lnTo>
                  <a:lnTo>
                    <a:pt x="2022" y="900"/>
                  </a:lnTo>
                  <a:lnTo>
                    <a:pt x="2028" y="900"/>
                  </a:lnTo>
                  <a:lnTo>
                    <a:pt x="2034" y="906"/>
                  </a:lnTo>
                  <a:lnTo>
                    <a:pt x="2046" y="906"/>
                  </a:lnTo>
                  <a:lnTo>
                    <a:pt x="2052" y="900"/>
                  </a:lnTo>
                  <a:lnTo>
                    <a:pt x="2058" y="900"/>
                  </a:lnTo>
                  <a:lnTo>
                    <a:pt x="2064" y="900"/>
                  </a:lnTo>
                  <a:lnTo>
                    <a:pt x="2070" y="900"/>
                  </a:lnTo>
                  <a:lnTo>
                    <a:pt x="2076" y="900"/>
                  </a:lnTo>
                  <a:lnTo>
                    <a:pt x="2076" y="906"/>
                  </a:lnTo>
                  <a:lnTo>
                    <a:pt x="2088" y="906"/>
                  </a:lnTo>
                  <a:lnTo>
                    <a:pt x="2106" y="900"/>
                  </a:lnTo>
                  <a:lnTo>
                    <a:pt x="2118" y="900"/>
                  </a:lnTo>
                  <a:lnTo>
                    <a:pt x="2130" y="900"/>
                  </a:lnTo>
                  <a:lnTo>
                    <a:pt x="2142" y="900"/>
                  </a:lnTo>
                  <a:lnTo>
                    <a:pt x="2148" y="906"/>
                  </a:lnTo>
                  <a:lnTo>
                    <a:pt x="2154" y="906"/>
                  </a:lnTo>
                  <a:lnTo>
                    <a:pt x="2160" y="906"/>
                  </a:lnTo>
                  <a:lnTo>
                    <a:pt x="2166" y="906"/>
                  </a:lnTo>
                  <a:lnTo>
                    <a:pt x="2178" y="918"/>
                  </a:lnTo>
                  <a:lnTo>
                    <a:pt x="2178" y="924"/>
                  </a:lnTo>
                  <a:lnTo>
                    <a:pt x="2184" y="924"/>
                  </a:lnTo>
                  <a:lnTo>
                    <a:pt x="2190" y="924"/>
                  </a:lnTo>
                  <a:lnTo>
                    <a:pt x="2196" y="924"/>
                  </a:lnTo>
                  <a:lnTo>
                    <a:pt x="2202" y="918"/>
                  </a:lnTo>
                  <a:lnTo>
                    <a:pt x="2208" y="918"/>
                  </a:lnTo>
                  <a:lnTo>
                    <a:pt x="2214" y="918"/>
                  </a:lnTo>
                  <a:lnTo>
                    <a:pt x="2226" y="918"/>
                  </a:lnTo>
                  <a:lnTo>
                    <a:pt x="2220" y="948"/>
                  </a:lnTo>
                  <a:lnTo>
                    <a:pt x="2214" y="972"/>
                  </a:lnTo>
                  <a:lnTo>
                    <a:pt x="2214" y="984"/>
                  </a:lnTo>
                  <a:lnTo>
                    <a:pt x="2208" y="990"/>
                  </a:lnTo>
                  <a:lnTo>
                    <a:pt x="2208" y="996"/>
                  </a:lnTo>
                  <a:lnTo>
                    <a:pt x="2202" y="996"/>
                  </a:lnTo>
                  <a:lnTo>
                    <a:pt x="2196" y="996"/>
                  </a:lnTo>
                  <a:lnTo>
                    <a:pt x="2190" y="1008"/>
                  </a:lnTo>
                  <a:lnTo>
                    <a:pt x="2172" y="1074"/>
                  </a:lnTo>
                  <a:lnTo>
                    <a:pt x="2166" y="1092"/>
                  </a:lnTo>
                  <a:lnTo>
                    <a:pt x="2172" y="1110"/>
                  </a:lnTo>
                  <a:lnTo>
                    <a:pt x="2172" y="1122"/>
                  </a:lnTo>
                  <a:lnTo>
                    <a:pt x="2166" y="1134"/>
                  </a:lnTo>
                  <a:lnTo>
                    <a:pt x="2148" y="1140"/>
                  </a:lnTo>
                  <a:lnTo>
                    <a:pt x="2148" y="1134"/>
                  </a:lnTo>
                  <a:lnTo>
                    <a:pt x="2118" y="1140"/>
                  </a:lnTo>
                  <a:lnTo>
                    <a:pt x="2088" y="1134"/>
                  </a:lnTo>
                  <a:lnTo>
                    <a:pt x="2064" y="1122"/>
                  </a:lnTo>
                  <a:lnTo>
                    <a:pt x="2034" y="1122"/>
                  </a:lnTo>
                  <a:lnTo>
                    <a:pt x="2022" y="1128"/>
                  </a:lnTo>
                  <a:lnTo>
                    <a:pt x="1986" y="1128"/>
                  </a:lnTo>
                  <a:lnTo>
                    <a:pt x="1938" y="1122"/>
                  </a:lnTo>
                  <a:lnTo>
                    <a:pt x="1932" y="1116"/>
                  </a:lnTo>
                  <a:lnTo>
                    <a:pt x="1896" y="1110"/>
                  </a:lnTo>
                  <a:lnTo>
                    <a:pt x="1878" y="1104"/>
                  </a:lnTo>
                  <a:lnTo>
                    <a:pt x="1866" y="1098"/>
                  </a:lnTo>
                  <a:lnTo>
                    <a:pt x="1860" y="1098"/>
                  </a:lnTo>
                  <a:lnTo>
                    <a:pt x="1854" y="1092"/>
                  </a:lnTo>
                  <a:lnTo>
                    <a:pt x="1860" y="1092"/>
                  </a:lnTo>
                  <a:lnTo>
                    <a:pt x="1860" y="1086"/>
                  </a:lnTo>
                  <a:lnTo>
                    <a:pt x="1854" y="1086"/>
                  </a:lnTo>
                  <a:lnTo>
                    <a:pt x="1842" y="1080"/>
                  </a:lnTo>
                  <a:lnTo>
                    <a:pt x="1818" y="1062"/>
                  </a:lnTo>
                  <a:lnTo>
                    <a:pt x="1782" y="1056"/>
                  </a:lnTo>
                  <a:lnTo>
                    <a:pt x="1770" y="1068"/>
                  </a:lnTo>
                  <a:lnTo>
                    <a:pt x="1746" y="1098"/>
                  </a:lnTo>
                  <a:lnTo>
                    <a:pt x="1722" y="1104"/>
                  </a:lnTo>
                  <a:lnTo>
                    <a:pt x="1710" y="1122"/>
                  </a:lnTo>
                  <a:lnTo>
                    <a:pt x="1710" y="1128"/>
                  </a:lnTo>
                  <a:lnTo>
                    <a:pt x="1710" y="1140"/>
                  </a:lnTo>
                  <a:lnTo>
                    <a:pt x="1698" y="1146"/>
                  </a:lnTo>
                  <a:lnTo>
                    <a:pt x="1686" y="1152"/>
                  </a:lnTo>
                  <a:lnTo>
                    <a:pt x="1680" y="1164"/>
                  </a:lnTo>
                  <a:lnTo>
                    <a:pt x="1680" y="1170"/>
                  </a:lnTo>
                  <a:lnTo>
                    <a:pt x="1686" y="1170"/>
                  </a:lnTo>
                  <a:lnTo>
                    <a:pt x="1686" y="1176"/>
                  </a:lnTo>
                  <a:lnTo>
                    <a:pt x="1698" y="1188"/>
                  </a:lnTo>
                  <a:lnTo>
                    <a:pt x="1704" y="1188"/>
                  </a:lnTo>
                  <a:lnTo>
                    <a:pt x="1698" y="1194"/>
                  </a:lnTo>
                  <a:lnTo>
                    <a:pt x="1704" y="1194"/>
                  </a:lnTo>
                  <a:lnTo>
                    <a:pt x="1704" y="1200"/>
                  </a:lnTo>
                  <a:lnTo>
                    <a:pt x="1704" y="1206"/>
                  </a:lnTo>
                  <a:lnTo>
                    <a:pt x="1704" y="1212"/>
                  </a:lnTo>
                  <a:lnTo>
                    <a:pt x="1704" y="1218"/>
                  </a:lnTo>
                  <a:lnTo>
                    <a:pt x="1710" y="1218"/>
                  </a:lnTo>
                  <a:lnTo>
                    <a:pt x="1710" y="1212"/>
                  </a:lnTo>
                  <a:lnTo>
                    <a:pt x="1716" y="1212"/>
                  </a:lnTo>
                  <a:lnTo>
                    <a:pt x="1716" y="1218"/>
                  </a:lnTo>
                  <a:lnTo>
                    <a:pt x="1716" y="1224"/>
                  </a:lnTo>
                  <a:lnTo>
                    <a:pt x="1716" y="1230"/>
                  </a:lnTo>
                  <a:lnTo>
                    <a:pt x="1722" y="1236"/>
                  </a:lnTo>
                  <a:lnTo>
                    <a:pt x="1740" y="1230"/>
                  </a:lnTo>
                  <a:lnTo>
                    <a:pt x="1734" y="1236"/>
                  </a:lnTo>
                  <a:lnTo>
                    <a:pt x="1734" y="1242"/>
                  </a:lnTo>
                  <a:lnTo>
                    <a:pt x="1734" y="1248"/>
                  </a:lnTo>
                  <a:lnTo>
                    <a:pt x="1734" y="1254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52" y="1266"/>
                  </a:lnTo>
                  <a:lnTo>
                    <a:pt x="1764" y="1266"/>
                  </a:lnTo>
                  <a:lnTo>
                    <a:pt x="1788" y="1260"/>
                  </a:lnTo>
                  <a:lnTo>
                    <a:pt x="1800" y="1260"/>
                  </a:lnTo>
                  <a:lnTo>
                    <a:pt x="1806" y="1272"/>
                  </a:lnTo>
                  <a:lnTo>
                    <a:pt x="1806" y="1296"/>
                  </a:lnTo>
                  <a:lnTo>
                    <a:pt x="1800" y="1308"/>
                  </a:lnTo>
                  <a:lnTo>
                    <a:pt x="1788" y="1308"/>
                  </a:lnTo>
                  <a:lnTo>
                    <a:pt x="1782" y="13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7" name="Freeform 32">
              <a:extLst>
                <a:ext uri="{FF2B5EF4-FFF2-40B4-BE49-F238E27FC236}">
                  <a16:creationId xmlns:a16="http://schemas.microsoft.com/office/drawing/2014/main" id="{1EF84438-BF7A-47D2-9156-E231EA2A279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3295" y="2316568"/>
              <a:ext cx="1290281" cy="1084704"/>
            </a:xfrm>
            <a:custGeom>
              <a:avLst/>
              <a:gdLst>
                <a:gd name="T0" fmla="*/ 177 w 2430"/>
                <a:gd name="T1" fmla="*/ 169 h 2040"/>
                <a:gd name="T2" fmla="*/ 174 w 2430"/>
                <a:gd name="T3" fmla="*/ 173 h 2040"/>
                <a:gd name="T4" fmla="*/ 169 w 2430"/>
                <a:gd name="T5" fmla="*/ 171 h 2040"/>
                <a:gd name="T6" fmla="*/ 160 w 2430"/>
                <a:gd name="T7" fmla="*/ 163 h 2040"/>
                <a:gd name="T8" fmla="*/ 154 w 2430"/>
                <a:gd name="T9" fmla="*/ 149 h 2040"/>
                <a:gd name="T10" fmla="*/ 144 w 2430"/>
                <a:gd name="T11" fmla="*/ 147 h 2040"/>
                <a:gd name="T12" fmla="*/ 133 w 2430"/>
                <a:gd name="T13" fmla="*/ 146 h 2040"/>
                <a:gd name="T14" fmla="*/ 121 w 2430"/>
                <a:gd name="T15" fmla="*/ 145 h 2040"/>
                <a:gd name="T16" fmla="*/ 110 w 2430"/>
                <a:gd name="T17" fmla="*/ 137 h 2040"/>
                <a:gd name="T18" fmla="*/ 97 w 2430"/>
                <a:gd name="T19" fmla="*/ 131 h 2040"/>
                <a:gd name="T20" fmla="*/ 87 w 2430"/>
                <a:gd name="T21" fmla="*/ 125 h 2040"/>
                <a:gd name="T22" fmla="*/ 75 w 2430"/>
                <a:gd name="T23" fmla="*/ 122 h 2040"/>
                <a:gd name="T24" fmla="*/ 65 w 2430"/>
                <a:gd name="T25" fmla="*/ 122 h 2040"/>
                <a:gd name="T26" fmla="*/ 59 w 2430"/>
                <a:gd name="T27" fmla="*/ 115 h 2040"/>
                <a:gd name="T28" fmla="*/ 50 w 2430"/>
                <a:gd name="T29" fmla="*/ 107 h 2040"/>
                <a:gd name="T30" fmla="*/ 28 w 2430"/>
                <a:gd name="T31" fmla="*/ 84 h 2040"/>
                <a:gd name="T32" fmla="*/ 22 w 2430"/>
                <a:gd name="T33" fmla="*/ 82 h 2040"/>
                <a:gd name="T34" fmla="*/ 20 w 2430"/>
                <a:gd name="T35" fmla="*/ 79 h 2040"/>
                <a:gd name="T36" fmla="*/ 16 w 2430"/>
                <a:gd name="T37" fmla="*/ 76 h 2040"/>
                <a:gd name="T38" fmla="*/ 11 w 2430"/>
                <a:gd name="T39" fmla="*/ 74 h 2040"/>
                <a:gd name="T40" fmla="*/ 7 w 2430"/>
                <a:gd name="T41" fmla="*/ 69 h 2040"/>
                <a:gd name="T42" fmla="*/ 0 w 2430"/>
                <a:gd name="T43" fmla="*/ 60 h 2040"/>
                <a:gd name="T44" fmla="*/ 10 w 2430"/>
                <a:gd name="T45" fmla="*/ 53 h 2040"/>
                <a:gd name="T46" fmla="*/ 15 w 2430"/>
                <a:gd name="T47" fmla="*/ 40 h 2040"/>
                <a:gd name="T48" fmla="*/ 9 w 2430"/>
                <a:gd name="T49" fmla="*/ 29 h 2040"/>
                <a:gd name="T50" fmla="*/ 7 w 2430"/>
                <a:gd name="T51" fmla="*/ 16 h 2040"/>
                <a:gd name="T52" fmla="*/ 18 w 2430"/>
                <a:gd name="T53" fmla="*/ 21 h 2040"/>
                <a:gd name="T54" fmla="*/ 48 w 2430"/>
                <a:gd name="T55" fmla="*/ 27 h 2040"/>
                <a:gd name="T56" fmla="*/ 62 w 2430"/>
                <a:gd name="T57" fmla="*/ 25 h 2040"/>
                <a:gd name="T58" fmla="*/ 59 w 2430"/>
                <a:gd name="T59" fmla="*/ 42 h 2040"/>
                <a:gd name="T60" fmla="*/ 54 w 2430"/>
                <a:gd name="T61" fmla="*/ 65 h 2040"/>
                <a:gd name="T62" fmla="*/ 65 w 2430"/>
                <a:gd name="T63" fmla="*/ 60 h 2040"/>
                <a:gd name="T64" fmla="*/ 68 w 2430"/>
                <a:gd name="T65" fmla="*/ 40 h 2040"/>
                <a:gd name="T66" fmla="*/ 75 w 2430"/>
                <a:gd name="T67" fmla="*/ 36 h 2040"/>
                <a:gd name="T68" fmla="*/ 83 w 2430"/>
                <a:gd name="T69" fmla="*/ 29 h 2040"/>
                <a:gd name="T70" fmla="*/ 81 w 2430"/>
                <a:gd name="T71" fmla="*/ 17 h 2040"/>
                <a:gd name="T72" fmla="*/ 66 w 2430"/>
                <a:gd name="T73" fmla="*/ 7 h 2040"/>
                <a:gd name="T74" fmla="*/ 80 w 2430"/>
                <a:gd name="T75" fmla="*/ 5 h 2040"/>
                <a:gd name="T76" fmla="*/ 89 w 2430"/>
                <a:gd name="T77" fmla="*/ 1 h 2040"/>
                <a:gd name="T78" fmla="*/ 101 w 2430"/>
                <a:gd name="T79" fmla="*/ 10 h 2040"/>
                <a:gd name="T80" fmla="*/ 103 w 2430"/>
                <a:gd name="T81" fmla="*/ 18 h 2040"/>
                <a:gd name="T82" fmla="*/ 110 w 2430"/>
                <a:gd name="T83" fmla="*/ 23 h 2040"/>
                <a:gd name="T84" fmla="*/ 121 w 2430"/>
                <a:gd name="T85" fmla="*/ 20 h 2040"/>
                <a:gd name="T86" fmla="*/ 129 w 2430"/>
                <a:gd name="T87" fmla="*/ 15 h 2040"/>
                <a:gd name="T88" fmla="*/ 142 w 2430"/>
                <a:gd name="T89" fmla="*/ 23 h 2040"/>
                <a:gd name="T90" fmla="*/ 141 w 2430"/>
                <a:gd name="T91" fmla="*/ 30 h 2040"/>
                <a:gd name="T92" fmla="*/ 140 w 2430"/>
                <a:gd name="T93" fmla="*/ 38 h 2040"/>
                <a:gd name="T94" fmla="*/ 139 w 2430"/>
                <a:gd name="T95" fmla="*/ 46 h 2040"/>
                <a:gd name="T96" fmla="*/ 147 w 2430"/>
                <a:gd name="T97" fmla="*/ 54 h 2040"/>
                <a:gd name="T98" fmla="*/ 152 w 2430"/>
                <a:gd name="T99" fmla="*/ 50 h 2040"/>
                <a:gd name="T100" fmla="*/ 159 w 2430"/>
                <a:gd name="T101" fmla="*/ 43 h 2040"/>
                <a:gd name="T102" fmla="*/ 174 w 2430"/>
                <a:gd name="T103" fmla="*/ 41 h 2040"/>
                <a:gd name="T104" fmla="*/ 190 w 2430"/>
                <a:gd name="T105" fmla="*/ 57 h 2040"/>
                <a:gd name="T106" fmla="*/ 187 w 2430"/>
                <a:gd name="T107" fmla="*/ 66 h 2040"/>
                <a:gd name="T108" fmla="*/ 183 w 2430"/>
                <a:gd name="T109" fmla="*/ 72 h 2040"/>
                <a:gd name="T110" fmla="*/ 194 w 2430"/>
                <a:gd name="T111" fmla="*/ 73 h 2040"/>
                <a:gd name="T112" fmla="*/ 202 w 2430"/>
                <a:gd name="T113" fmla="*/ 74 h 2040"/>
                <a:gd name="T114" fmla="*/ 204 w 2430"/>
                <a:gd name="T115" fmla="*/ 89 h 2040"/>
                <a:gd name="T116" fmla="*/ 208 w 2430"/>
                <a:gd name="T117" fmla="*/ 99 h 2040"/>
                <a:gd name="T118" fmla="*/ 203 w 2430"/>
                <a:gd name="T119" fmla="*/ 103 h 2040"/>
                <a:gd name="T120" fmla="*/ 209 w 2430"/>
                <a:gd name="T121" fmla="*/ 111 h 2040"/>
                <a:gd name="T122" fmla="*/ 204 w 2430"/>
                <a:gd name="T123" fmla="*/ 124 h 2040"/>
                <a:gd name="T124" fmla="*/ 190 w 2430"/>
                <a:gd name="T125" fmla="*/ 117 h 20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30"/>
                <a:gd name="T190" fmla="*/ 0 h 2040"/>
                <a:gd name="T191" fmla="*/ 2430 w 2430"/>
                <a:gd name="T192" fmla="*/ 2040 h 20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30" h="2040">
                  <a:moveTo>
                    <a:pt x="2076" y="1896"/>
                  </a:moveTo>
                  <a:lnTo>
                    <a:pt x="2070" y="1896"/>
                  </a:lnTo>
                  <a:lnTo>
                    <a:pt x="2070" y="1902"/>
                  </a:lnTo>
                  <a:lnTo>
                    <a:pt x="2076" y="1902"/>
                  </a:lnTo>
                  <a:lnTo>
                    <a:pt x="2082" y="1902"/>
                  </a:lnTo>
                  <a:lnTo>
                    <a:pt x="2082" y="1908"/>
                  </a:lnTo>
                  <a:lnTo>
                    <a:pt x="2076" y="1908"/>
                  </a:lnTo>
                  <a:lnTo>
                    <a:pt x="2076" y="1914"/>
                  </a:lnTo>
                  <a:lnTo>
                    <a:pt x="2070" y="1920"/>
                  </a:lnTo>
                  <a:lnTo>
                    <a:pt x="2064" y="1932"/>
                  </a:lnTo>
                  <a:lnTo>
                    <a:pt x="2064" y="1938"/>
                  </a:lnTo>
                  <a:lnTo>
                    <a:pt x="2058" y="1938"/>
                  </a:lnTo>
                  <a:lnTo>
                    <a:pt x="2052" y="1944"/>
                  </a:lnTo>
                  <a:lnTo>
                    <a:pt x="2052" y="1950"/>
                  </a:lnTo>
                  <a:lnTo>
                    <a:pt x="2040" y="1944"/>
                  </a:lnTo>
                  <a:lnTo>
                    <a:pt x="2040" y="1950"/>
                  </a:lnTo>
                  <a:lnTo>
                    <a:pt x="2034" y="1956"/>
                  </a:lnTo>
                  <a:lnTo>
                    <a:pt x="2034" y="1962"/>
                  </a:lnTo>
                  <a:lnTo>
                    <a:pt x="2028" y="1962"/>
                  </a:lnTo>
                  <a:lnTo>
                    <a:pt x="2022" y="1962"/>
                  </a:lnTo>
                  <a:lnTo>
                    <a:pt x="2022" y="1968"/>
                  </a:lnTo>
                  <a:lnTo>
                    <a:pt x="2028" y="1974"/>
                  </a:lnTo>
                  <a:lnTo>
                    <a:pt x="2034" y="1980"/>
                  </a:lnTo>
                  <a:lnTo>
                    <a:pt x="2028" y="1986"/>
                  </a:lnTo>
                  <a:lnTo>
                    <a:pt x="2022" y="1992"/>
                  </a:lnTo>
                  <a:lnTo>
                    <a:pt x="2022" y="1986"/>
                  </a:lnTo>
                  <a:lnTo>
                    <a:pt x="2016" y="1986"/>
                  </a:lnTo>
                  <a:lnTo>
                    <a:pt x="2010" y="1980"/>
                  </a:lnTo>
                  <a:lnTo>
                    <a:pt x="2004" y="1980"/>
                  </a:lnTo>
                  <a:lnTo>
                    <a:pt x="2004" y="1986"/>
                  </a:lnTo>
                  <a:lnTo>
                    <a:pt x="2010" y="1992"/>
                  </a:lnTo>
                  <a:lnTo>
                    <a:pt x="2010" y="1998"/>
                  </a:lnTo>
                  <a:lnTo>
                    <a:pt x="2004" y="2004"/>
                  </a:lnTo>
                  <a:lnTo>
                    <a:pt x="1998" y="2004"/>
                  </a:lnTo>
                  <a:lnTo>
                    <a:pt x="1998" y="2022"/>
                  </a:lnTo>
                  <a:lnTo>
                    <a:pt x="1998" y="2028"/>
                  </a:lnTo>
                  <a:lnTo>
                    <a:pt x="1992" y="2034"/>
                  </a:lnTo>
                  <a:lnTo>
                    <a:pt x="1992" y="2040"/>
                  </a:lnTo>
                  <a:lnTo>
                    <a:pt x="1986" y="2040"/>
                  </a:lnTo>
                  <a:lnTo>
                    <a:pt x="1986" y="2034"/>
                  </a:lnTo>
                  <a:lnTo>
                    <a:pt x="1980" y="2028"/>
                  </a:lnTo>
                  <a:lnTo>
                    <a:pt x="1980" y="2022"/>
                  </a:lnTo>
                  <a:lnTo>
                    <a:pt x="1968" y="2016"/>
                  </a:lnTo>
                  <a:lnTo>
                    <a:pt x="1962" y="2010"/>
                  </a:lnTo>
                  <a:lnTo>
                    <a:pt x="1956" y="2004"/>
                  </a:lnTo>
                  <a:lnTo>
                    <a:pt x="1950" y="1992"/>
                  </a:lnTo>
                  <a:lnTo>
                    <a:pt x="1950" y="1986"/>
                  </a:lnTo>
                  <a:lnTo>
                    <a:pt x="1950" y="1974"/>
                  </a:lnTo>
                  <a:lnTo>
                    <a:pt x="1944" y="1974"/>
                  </a:lnTo>
                  <a:lnTo>
                    <a:pt x="1932" y="1962"/>
                  </a:lnTo>
                  <a:lnTo>
                    <a:pt x="1932" y="1956"/>
                  </a:lnTo>
                  <a:lnTo>
                    <a:pt x="1932" y="1950"/>
                  </a:lnTo>
                  <a:lnTo>
                    <a:pt x="1920" y="1944"/>
                  </a:lnTo>
                  <a:lnTo>
                    <a:pt x="1914" y="1944"/>
                  </a:lnTo>
                  <a:lnTo>
                    <a:pt x="1908" y="1938"/>
                  </a:lnTo>
                  <a:lnTo>
                    <a:pt x="1902" y="1926"/>
                  </a:lnTo>
                  <a:lnTo>
                    <a:pt x="1890" y="1914"/>
                  </a:lnTo>
                  <a:lnTo>
                    <a:pt x="1884" y="1914"/>
                  </a:lnTo>
                  <a:lnTo>
                    <a:pt x="1878" y="1908"/>
                  </a:lnTo>
                  <a:lnTo>
                    <a:pt x="1872" y="1902"/>
                  </a:lnTo>
                  <a:lnTo>
                    <a:pt x="1872" y="1896"/>
                  </a:lnTo>
                  <a:lnTo>
                    <a:pt x="1866" y="1890"/>
                  </a:lnTo>
                  <a:lnTo>
                    <a:pt x="1854" y="1884"/>
                  </a:lnTo>
                  <a:lnTo>
                    <a:pt x="1848" y="1884"/>
                  </a:lnTo>
                  <a:lnTo>
                    <a:pt x="1842" y="1872"/>
                  </a:lnTo>
                  <a:lnTo>
                    <a:pt x="1836" y="1872"/>
                  </a:lnTo>
                  <a:lnTo>
                    <a:pt x="1830" y="1866"/>
                  </a:lnTo>
                  <a:lnTo>
                    <a:pt x="1830" y="1854"/>
                  </a:lnTo>
                  <a:lnTo>
                    <a:pt x="1824" y="1848"/>
                  </a:lnTo>
                  <a:lnTo>
                    <a:pt x="1818" y="1830"/>
                  </a:lnTo>
                  <a:lnTo>
                    <a:pt x="1818" y="1818"/>
                  </a:lnTo>
                  <a:lnTo>
                    <a:pt x="1812" y="1800"/>
                  </a:lnTo>
                  <a:lnTo>
                    <a:pt x="1812" y="1788"/>
                  </a:lnTo>
                  <a:lnTo>
                    <a:pt x="1806" y="1776"/>
                  </a:lnTo>
                  <a:lnTo>
                    <a:pt x="1800" y="1764"/>
                  </a:lnTo>
                  <a:lnTo>
                    <a:pt x="1794" y="1758"/>
                  </a:lnTo>
                  <a:lnTo>
                    <a:pt x="1782" y="1740"/>
                  </a:lnTo>
                  <a:lnTo>
                    <a:pt x="1776" y="1728"/>
                  </a:lnTo>
                  <a:lnTo>
                    <a:pt x="1776" y="1722"/>
                  </a:lnTo>
                  <a:lnTo>
                    <a:pt x="1770" y="1722"/>
                  </a:lnTo>
                  <a:lnTo>
                    <a:pt x="1770" y="1716"/>
                  </a:lnTo>
                  <a:lnTo>
                    <a:pt x="1764" y="1716"/>
                  </a:lnTo>
                  <a:lnTo>
                    <a:pt x="1758" y="1710"/>
                  </a:lnTo>
                  <a:lnTo>
                    <a:pt x="1752" y="1704"/>
                  </a:lnTo>
                  <a:lnTo>
                    <a:pt x="1746" y="1704"/>
                  </a:lnTo>
                  <a:lnTo>
                    <a:pt x="1740" y="1704"/>
                  </a:lnTo>
                  <a:lnTo>
                    <a:pt x="1734" y="1704"/>
                  </a:lnTo>
                  <a:lnTo>
                    <a:pt x="1734" y="1698"/>
                  </a:lnTo>
                  <a:lnTo>
                    <a:pt x="1728" y="1692"/>
                  </a:lnTo>
                  <a:lnTo>
                    <a:pt x="1722" y="1686"/>
                  </a:lnTo>
                  <a:lnTo>
                    <a:pt x="1716" y="1686"/>
                  </a:lnTo>
                  <a:lnTo>
                    <a:pt x="1698" y="1686"/>
                  </a:lnTo>
                  <a:lnTo>
                    <a:pt x="1692" y="1692"/>
                  </a:lnTo>
                  <a:lnTo>
                    <a:pt x="1680" y="1692"/>
                  </a:lnTo>
                  <a:lnTo>
                    <a:pt x="1668" y="1692"/>
                  </a:lnTo>
                  <a:lnTo>
                    <a:pt x="1662" y="1692"/>
                  </a:lnTo>
                  <a:lnTo>
                    <a:pt x="1656" y="1692"/>
                  </a:lnTo>
                  <a:lnTo>
                    <a:pt x="1650" y="1698"/>
                  </a:lnTo>
                  <a:lnTo>
                    <a:pt x="1644" y="1698"/>
                  </a:lnTo>
                  <a:lnTo>
                    <a:pt x="1638" y="1698"/>
                  </a:lnTo>
                  <a:lnTo>
                    <a:pt x="1632" y="1698"/>
                  </a:lnTo>
                  <a:lnTo>
                    <a:pt x="1632" y="1692"/>
                  </a:lnTo>
                  <a:lnTo>
                    <a:pt x="1620" y="1680"/>
                  </a:lnTo>
                  <a:lnTo>
                    <a:pt x="1614" y="1680"/>
                  </a:lnTo>
                  <a:lnTo>
                    <a:pt x="1608" y="1680"/>
                  </a:lnTo>
                  <a:lnTo>
                    <a:pt x="1602" y="1680"/>
                  </a:lnTo>
                  <a:lnTo>
                    <a:pt x="1596" y="1674"/>
                  </a:lnTo>
                  <a:lnTo>
                    <a:pt x="1584" y="1674"/>
                  </a:lnTo>
                  <a:lnTo>
                    <a:pt x="1572" y="1674"/>
                  </a:lnTo>
                  <a:lnTo>
                    <a:pt x="1560" y="1674"/>
                  </a:lnTo>
                  <a:lnTo>
                    <a:pt x="1542" y="1680"/>
                  </a:lnTo>
                  <a:lnTo>
                    <a:pt x="1530" y="1680"/>
                  </a:lnTo>
                  <a:lnTo>
                    <a:pt x="1530" y="1674"/>
                  </a:lnTo>
                  <a:lnTo>
                    <a:pt x="1524" y="1674"/>
                  </a:lnTo>
                  <a:lnTo>
                    <a:pt x="1518" y="1674"/>
                  </a:lnTo>
                  <a:lnTo>
                    <a:pt x="1512" y="1674"/>
                  </a:lnTo>
                  <a:lnTo>
                    <a:pt x="1506" y="1674"/>
                  </a:lnTo>
                  <a:lnTo>
                    <a:pt x="1500" y="1680"/>
                  </a:lnTo>
                  <a:lnTo>
                    <a:pt x="1488" y="1680"/>
                  </a:lnTo>
                  <a:lnTo>
                    <a:pt x="1482" y="1674"/>
                  </a:lnTo>
                  <a:lnTo>
                    <a:pt x="1476" y="1674"/>
                  </a:lnTo>
                  <a:lnTo>
                    <a:pt x="1464" y="1674"/>
                  </a:lnTo>
                  <a:lnTo>
                    <a:pt x="1452" y="1680"/>
                  </a:lnTo>
                  <a:lnTo>
                    <a:pt x="1434" y="1680"/>
                  </a:lnTo>
                  <a:lnTo>
                    <a:pt x="1422" y="1680"/>
                  </a:lnTo>
                  <a:lnTo>
                    <a:pt x="1416" y="1680"/>
                  </a:lnTo>
                  <a:lnTo>
                    <a:pt x="1404" y="1674"/>
                  </a:lnTo>
                  <a:lnTo>
                    <a:pt x="1398" y="1674"/>
                  </a:lnTo>
                  <a:lnTo>
                    <a:pt x="1392" y="1662"/>
                  </a:lnTo>
                  <a:lnTo>
                    <a:pt x="1380" y="1644"/>
                  </a:lnTo>
                  <a:lnTo>
                    <a:pt x="1374" y="1632"/>
                  </a:lnTo>
                  <a:lnTo>
                    <a:pt x="1362" y="1626"/>
                  </a:lnTo>
                  <a:lnTo>
                    <a:pt x="1356" y="1620"/>
                  </a:lnTo>
                  <a:lnTo>
                    <a:pt x="1350" y="1626"/>
                  </a:lnTo>
                  <a:lnTo>
                    <a:pt x="1338" y="1626"/>
                  </a:lnTo>
                  <a:lnTo>
                    <a:pt x="1326" y="1626"/>
                  </a:lnTo>
                  <a:lnTo>
                    <a:pt x="1314" y="1620"/>
                  </a:lnTo>
                  <a:lnTo>
                    <a:pt x="1308" y="1614"/>
                  </a:lnTo>
                  <a:lnTo>
                    <a:pt x="1302" y="1608"/>
                  </a:lnTo>
                  <a:lnTo>
                    <a:pt x="1296" y="1602"/>
                  </a:lnTo>
                  <a:lnTo>
                    <a:pt x="1290" y="1602"/>
                  </a:lnTo>
                  <a:lnTo>
                    <a:pt x="1290" y="1596"/>
                  </a:lnTo>
                  <a:lnTo>
                    <a:pt x="1284" y="1590"/>
                  </a:lnTo>
                  <a:lnTo>
                    <a:pt x="1272" y="1584"/>
                  </a:lnTo>
                  <a:lnTo>
                    <a:pt x="1254" y="1572"/>
                  </a:lnTo>
                  <a:lnTo>
                    <a:pt x="1236" y="1554"/>
                  </a:lnTo>
                  <a:lnTo>
                    <a:pt x="1230" y="1554"/>
                  </a:lnTo>
                  <a:lnTo>
                    <a:pt x="1224" y="1554"/>
                  </a:lnTo>
                  <a:lnTo>
                    <a:pt x="1212" y="1554"/>
                  </a:lnTo>
                  <a:lnTo>
                    <a:pt x="1194" y="1542"/>
                  </a:lnTo>
                  <a:lnTo>
                    <a:pt x="1188" y="1536"/>
                  </a:lnTo>
                  <a:lnTo>
                    <a:pt x="1182" y="1530"/>
                  </a:lnTo>
                  <a:lnTo>
                    <a:pt x="1176" y="1530"/>
                  </a:lnTo>
                  <a:lnTo>
                    <a:pt x="1170" y="1530"/>
                  </a:lnTo>
                  <a:lnTo>
                    <a:pt x="1158" y="1524"/>
                  </a:lnTo>
                  <a:lnTo>
                    <a:pt x="1152" y="1524"/>
                  </a:lnTo>
                  <a:lnTo>
                    <a:pt x="1140" y="1518"/>
                  </a:lnTo>
                  <a:lnTo>
                    <a:pt x="1128" y="1518"/>
                  </a:lnTo>
                  <a:lnTo>
                    <a:pt x="1122" y="1518"/>
                  </a:lnTo>
                  <a:lnTo>
                    <a:pt x="1116" y="1518"/>
                  </a:lnTo>
                  <a:lnTo>
                    <a:pt x="1104" y="1518"/>
                  </a:lnTo>
                  <a:lnTo>
                    <a:pt x="1092" y="1518"/>
                  </a:lnTo>
                  <a:lnTo>
                    <a:pt x="1080" y="1518"/>
                  </a:lnTo>
                  <a:lnTo>
                    <a:pt x="1068" y="1518"/>
                  </a:lnTo>
                  <a:lnTo>
                    <a:pt x="1062" y="1518"/>
                  </a:lnTo>
                  <a:lnTo>
                    <a:pt x="1056" y="1518"/>
                  </a:lnTo>
                  <a:lnTo>
                    <a:pt x="1050" y="1512"/>
                  </a:lnTo>
                  <a:lnTo>
                    <a:pt x="1044" y="1512"/>
                  </a:lnTo>
                  <a:lnTo>
                    <a:pt x="1038" y="1512"/>
                  </a:lnTo>
                  <a:lnTo>
                    <a:pt x="1032" y="1506"/>
                  </a:lnTo>
                  <a:lnTo>
                    <a:pt x="1026" y="1500"/>
                  </a:lnTo>
                  <a:lnTo>
                    <a:pt x="1026" y="1494"/>
                  </a:lnTo>
                  <a:lnTo>
                    <a:pt x="1020" y="1476"/>
                  </a:lnTo>
                  <a:lnTo>
                    <a:pt x="1008" y="1464"/>
                  </a:lnTo>
                  <a:lnTo>
                    <a:pt x="1008" y="1458"/>
                  </a:lnTo>
                  <a:lnTo>
                    <a:pt x="1002" y="1446"/>
                  </a:lnTo>
                  <a:lnTo>
                    <a:pt x="996" y="1446"/>
                  </a:lnTo>
                  <a:lnTo>
                    <a:pt x="990" y="1440"/>
                  </a:lnTo>
                  <a:lnTo>
                    <a:pt x="984" y="1434"/>
                  </a:lnTo>
                  <a:lnTo>
                    <a:pt x="978" y="1434"/>
                  </a:lnTo>
                  <a:lnTo>
                    <a:pt x="972" y="1434"/>
                  </a:lnTo>
                  <a:lnTo>
                    <a:pt x="966" y="1428"/>
                  </a:lnTo>
                  <a:lnTo>
                    <a:pt x="954" y="1422"/>
                  </a:lnTo>
                  <a:lnTo>
                    <a:pt x="942" y="1416"/>
                  </a:lnTo>
                  <a:lnTo>
                    <a:pt x="924" y="1398"/>
                  </a:lnTo>
                  <a:lnTo>
                    <a:pt x="912" y="1386"/>
                  </a:lnTo>
                  <a:lnTo>
                    <a:pt x="900" y="1386"/>
                  </a:lnTo>
                  <a:lnTo>
                    <a:pt x="894" y="1386"/>
                  </a:lnTo>
                  <a:lnTo>
                    <a:pt x="882" y="1392"/>
                  </a:lnTo>
                  <a:lnTo>
                    <a:pt x="876" y="1392"/>
                  </a:lnTo>
                  <a:lnTo>
                    <a:pt x="864" y="1398"/>
                  </a:lnTo>
                  <a:lnTo>
                    <a:pt x="864" y="1404"/>
                  </a:lnTo>
                  <a:lnTo>
                    <a:pt x="858" y="1410"/>
                  </a:lnTo>
                  <a:lnTo>
                    <a:pt x="852" y="1410"/>
                  </a:lnTo>
                  <a:lnTo>
                    <a:pt x="846" y="1410"/>
                  </a:lnTo>
                  <a:lnTo>
                    <a:pt x="834" y="1410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10" y="1428"/>
                  </a:lnTo>
                  <a:lnTo>
                    <a:pt x="798" y="1428"/>
                  </a:lnTo>
                  <a:lnTo>
                    <a:pt x="792" y="1428"/>
                  </a:lnTo>
                  <a:lnTo>
                    <a:pt x="780" y="1434"/>
                  </a:lnTo>
                  <a:lnTo>
                    <a:pt x="774" y="1428"/>
                  </a:lnTo>
                  <a:lnTo>
                    <a:pt x="762" y="1428"/>
                  </a:lnTo>
                  <a:lnTo>
                    <a:pt x="756" y="1422"/>
                  </a:lnTo>
                  <a:lnTo>
                    <a:pt x="750" y="1416"/>
                  </a:lnTo>
                  <a:lnTo>
                    <a:pt x="744" y="1410"/>
                  </a:lnTo>
                  <a:lnTo>
                    <a:pt x="744" y="1398"/>
                  </a:lnTo>
                  <a:lnTo>
                    <a:pt x="744" y="1386"/>
                  </a:lnTo>
                  <a:lnTo>
                    <a:pt x="750" y="1380"/>
                  </a:lnTo>
                  <a:lnTo>
                    <a:pt x="750" y="1374"/>
                  </a:lnTo>
                  <a:lnTo>
                    <a:pt x="750" y="1368"/>
                  </a:lnTo>
                  <a:lnTo>
                    <a:pt x="756" y="1362"/>
                  </a:lnTo>
                  <a:lnTo>
                    <a:pt x="750" y="1350"/>
                  </a:lnTo>
                  <a:lnTo>
                    <a:pt x="744" y="1344"/>
                  </a:lnTo>
                  <a:lnTo>
                    <a:pt x="738" y="1338"/>
                  </a:lnTo>
                  <a:lnTo>
                    <a:pt x="726" y="1338"/>
                  </a:lnTo>
                  <a:lnTo>
                    <a:pt x="720" y="1338"/>
                  </a:lnTo>
                  <a:lnTo>
                    <a:pt x="714" y="1338"/>
                  </a:lnTo>
                  <a:lnTo>
                    <a:pt x="708" y="1332"/>
                  </a:lnTo>
                  <a:lnTo>
                    <a:pt x="702" y="1332"/>
                  </a:lnTo>
                  <a:lnTo>
                    <a:pt x="696" y="1326"/>
                  </a:lnTo>
                  <a:lnTo>
                    <a:pt x="684" y="1326"/>
                  </a:lnTo>
                  <a:lnTo>
                    <a:pt x="678" y="1326"/>
                  </a:lnTo>
                  <a:lnTo>
                    <a:pt x="672" y="1314"/>
                  </a:lnTo>
                  <a:lnTo>
                    <a:pt x="666" y="1308"/>
                  </a:lnTo>
                  <a:lnTo>
                    <a:pt x="654" y="1296"/>
                  </a:lnTo>
                  <a:lnTo>
                    <a:pt x="654" y="1290"/>
                  </a:lnTo>
                  <a:lnTo>
                    <a:pt x="630" y="1284"/>
                  </a:lnTo>
                  <a:lnTo>
                    <a:pt x="630" y="1278"/>
                  </a:lnTo>
                  <a:lnTo>
                    <a:pt x="624" y="1278"/>
                  </a:lnTo>
                  <a:lnTo>
                    <a:pt x="618" y="1266"/>
                  </a:lnTo>
                  <a:lnTo>
                    <a:pt x="612" y="1266"/>
                  </a:lnTo>
                  <a:lnTo>
                    <a:pt x="606" y="1266"/>
                  </a:lnTo>
                  <a:lnTo>
                    <a:pt x="606" y="1260"/>
                  </a:lnTo>
                  <a:lnTo>
                    <a:pt x="594" y="1248"/>
                  </a:lnTo>
                  <a:lnTo>
                    <a:pt x="582" y="1248"/>
                  </a:lnTo>
                  <a:lnTo>
                    <a:pt x="576" y="1242"/>
                  </a:lnTo>
                  <a:lnTo>
                    <a:pt x="570" y="1236"/>
                  </a:lnTo>
                  <a:lnTo>
                    <a:pt x="504" y="1164"/>
                  </a:lnTo>
                  <a:lnTo>
                    <a:pt x="450" y="1110"/>
                  </a:lnTo>
                  <a:lnTo>
                    <a:pt x="426" y="1092"/>
                  </a:lnTo>
                  <a:lnTo>
                    <a:pt x="426" y="1074"/>
                  </a:lnTo>
                  <a:lnTo>
                    <a:pt x="420" y="1062"/>
                  </a:lnTo>
                  <a:lnTo>
                    <a:pt x="396" y="1056"/>
                  </a:lnTo>
                  <a:lnTo>
                    <a:pt x="384" y="1032"/>
                  </a:lnTo>
                  <a:lnTo>
                    <a:pt x="372" y="1020"/>
                  </a:lnTo>
                  <a:lnTo>
                    <a:pt x="360" y="984"/>
                  </a:lnTo>
                  <a:lnTo>
                    <a:pt x="348" y="978"/>
                  </a:lnTo>
                  <a:lnTo>
                    <a:pt x="342" y="972"/>
                  </a:lnTo>
                  <a:lnTo>
                    <a:pt x="348" y="960"/>
                  </a:lnTo>
                  <a:lnTo>
                    <a:pt x="342" y="954"/>
                  </a:lnTo>
                  <a:lnTo>
                    <a:pt x="336" y="954"/>
                  </a:lnTo>
                  <a:lnTo>
                    <a:pt x="330" y="954"/>
                  </a:lnTo>
                  <a:lnTo>
                    <a:pt x="324" y="972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0" y="966"/>
                  </a:lnTo>
                  <a:lnTo>
                    <a:pt x="294" y="966"/>
                  </a:lnTo>
                  <a:lnTo>
                    <a:pt x="288" y="972"/>
                  </a:lnTo>
                  <a:lnTo>
                    <a:pt x="288" y="966"/>
                  </a:lnTo>
                  <a:lnTo>
                    <a:pt x="282" y="948"/>
                  </a:lnTo>
                  <a:lnTo>
                    <a:pt x="282" y="942"/>
                  </a:lnTo>
                  <a:lnTo>
                    <a:pt x="276" y="942"/>
                  </a:lnTo>
                  <a:lnTo>
                    <a:pt x="276" y="936"/>
                  </a:lnTo>
                  <a:lnTo>
                    <a:pt x="270" y="942"/>
                  </a:lnTo>
                  <a:lnTo>
                    <a:pt x="264" y="948"/>
                  </a:lnTo>
                  <a:lnTo>
                    <a:pt x="264" y="942"/>
                  </a:lnTo>
                  <a:lnTo>
                    <a:pt x="258" y="942"/>
                  </a:lnTo>
                  <a:lnTo>
                    <a:pt x="252" y="948"/>
                  </a:lnTo>
                  <a:lnTo>
                    <a:pt x="252" y="942"/>
                  </a:lnTo>
                  <a:lnTo>
                    <a:pt x="246" y="936"/>
                  </a:lnTo>
                  <a:lnTo>
                    <a:pt x="240" y="942"/>
                  </a:lnTo>
                  <a:lnTo>
                    <a:pt x="234" y="936"/>
                  </a:lnTo>
                  <a:lnTo>
                    <a:pt x="228" y="936"/>
                  </a:lnTo>
                  <a:lnTo>
                    <a:pt x="222" y="936"/>
                  </a:lnTo>
                  <a:lnTo>
                    <a:pt x="222" y="930"/>
                  </a:lnTo>
                  <a:lnTo>
                    <a:pt x="222" y="924"/>
                  </a:lnTo>
                  <a:lnTo>
                    <a:pt x="228" y="924"/>
                  </a:lnTo>
                  <a:lnTo>
                    <a:pt x="234" y="924"/>
                  </a:lnTo>
                  <a:lnTo>
                    <a:pt x="240" y="924"/>
                  </a:lnTo>
                  <a:lnTo>
                    <a:pt x="240" y="918"/>
                  </a:lnTo>
                  <a:lnTo>
                    <a:pt x="246" y="918"/>
                  </a:lnTo>
                  <a:lnTo>
                    <a:pt x="246" y="912"/>
                  </a:lnTo>
                  <a:lnTo>
                    <a:pt x="240" y="906"/>
                  </a:lnTo>
                  <a:lnTo>
                    <a:pt x="234" y="906"/>
                  </a:lnTo>
                  <a:lnTo>
                    <a:pt x="228" y="906"/>
                  </a:lnTo>
                  <a:lnTo>
                    <a:pt x="228" y="912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8" y="894"/>
                  </a:lnTo>
                  <a:lnTo>
                    <a:pt x="234" y="894"/>
                  </a:lnTo>
                  <a:lnTo>
                    <a:pt x="228" y="888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198" y="888"/>
                  </a:lnTo>
                  <a:lnTo>
                    <a:pt x="192" y="882"/>
                  </a:lnTo>
                  <a:lnTo>
                    <a:pt x="186" y="882"/>
                  </a:lnTo>
                  <a:lnTo>
                    <a:pt x="186" y="876"/>
                  </a:lnTo>
                  <a:lnTo>
                    <a:pt x="192" y="876"/>
                  </a:lnTo>
                  <a:lnTo>
                    <a:pt x="192" y="870"/>
                  </a:lnTo>
                  <a:lnTo>
                    <a:pt x="198" y="870"/>
                  </a:lnTo>
                  <a:lnTo>
                    <a:pt x="198" y="864"/>
                  </a:lnTo>
                  <a:lnTo>
                    <a:pt x="198" y="858"/>
                  </a:lnTo>
                  <a:lnTo>
                    <a:pt x="180" y="852"/>
                  </a:lnTo>
                  <a:lnTo>
                    <a:pt x="174" y="840"/>
                  </a:lnTo>
                  <a:lnTo>
                    <a:pt x="162" y="846"/>
                  </a:lnTo>
                  <a:lnTo>
                    <a:pt x="156" y="846"/>
                  </a:lnTo>
                  <a:lnTo>
                    <a:pt x="150" y="846"/>
                  </a:lnTo>
                  <a:lnTo>
                    <a:pt x="150" y="840"/>
                  </a:lnTo>
                  <a:lnTo>
                    <a:pt x="138" y="834"/>
                  </a:lnTo>
                  <a:lnTo>
                    <a:pt x="132" y="834"/>
                  </a:lnTo>
                  <a:lnTo>
                    <a:pt x="132" y="840"/>
                  </a:lnTo>
                  <a:lnTo>
                    <a:pt x="126" y="840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58"/>
                  </a:lnTo>
                  <a:lnTo>
                    <a:pt x="120" y="846"/>
                  </a:lnTo>
                  <a:lnTo>
                    <a:pt x="114" y="846"/>
                  </a:lnTo>
                  <a:lnTo>
                    <a:pt x="108" y="840"/>
                  </a:lnTo>
                  <a:lnTo>
                    <a:pt x="102" y="834"/>
                  </a:lnTo>
                  <a:lnTo>
                    <a:pt x="102" y="822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78" y="804"/>
                  </a:lnTo>
                  <a:lnTo>
                    <a:pt x="78" y="798"/>
                  </a:lnTo>
                  <a:lnTo>
                    <a:pt x="78" y="792"/>
                  </a:lnTo>
                  <a:lnTo>
                    <a:pt x="78" y="786"/>
                  </a:lnTo>
                  <a:lnTo>
                    <a:pt x="78" y="780"/>
                  </a:lnTo>
                  <a:lnTo>
                    <a:pt x="72" y="774"/>
                  </a:lnTo>
                  <a:lnTo>
                    <a:pt x="66" y="774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60" y="762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6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2" y="666"/>
                  </a:lnTo>
                  <a:lnTo>
                    <a:pt x="18" y="648"/>
                  </a:lnTo>
                  <a:lnTo>
                    <a:pt x="24" y="636"/>
                  </a:lnTo>
                  <a:lnTo>
                    <a:pt x="30" y="630"/>
                  </a:lnTo>
                  <a:lnTo>
                    <a:pt x="30" y="624"/>
                  </a:lnTo>
                  <a:lnTo>
                    <a:pt x="30" y="612"/>
                  </a:lnTo>
                  <a:lnTo>
                    <a:pt x="30" y="606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66" y="582"/>
                  </a:lnTo>
                  <a:lnTo>
                    <a:pt x="72" y="588"/>
                  </a:lnTo>
                  <a:lnTo>
                    <a:pt x="84" y="594"/>
                  </a:lnTo>
                  <a:lnTo>
                    <a:pt x="90" y="600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14" y="612"/>
                  </a:lnTo>
                  <a:lnTo>
                    <a:pt x="120" y="612"/>
                  </a:lnTo>
                  <a:lnTo>
                    <a:pt x="126" y="618"/>
                  </a:lnTo>
                  <a:lnTo>
                    <a:pt x="138" y="594"/>
                  </a:lnTo>
                  <a:lnTo>
                    <a:pt x="138" y="582"/>
                  </a:lnTo>
                  <a:lnTo>
                    <a:pt x="138" y="570"/>
                  </a:lnTo>
                  <a:lnTo>
                    <a:pt x="138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50" y="528"/>
                  </a:lnTo>
                  <a:lnTo>
                    <a:pt x="156" y="510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62"/>
                  </a:lnTo>
                  <a:lnTo>
                    <a:pt x="168" y="450"/>
                  </a:lnTo>
                  <a:lnTo>
                    <a:pt x="168" y="444"/>
                  </a:lnTo>
                  <a:lnTo>
                    <a:pt x="162" y="432"/>
                  </a:lnTo>
                  <a:lnTo>
                    <a:pt x="162" y="426"/>
                  </a:lnTo>
                  <a:lnTo>
                    <a:pt x="156" y="420"/>
                  </a:lnTo>
                  <a:lnTo>
                    <a:pt x="144" y="414"/>
                  </a:lnTo>
                  <a:lnTo>
                    <a:pt x="132" y="402"/>
                  </a:lnTo>
                  <a:lnTo>
                    <a:pt x="126" y="390"/>
                  </a:lnTo>
                  <a:lnTo>
                    <a:pt x="120" y="384"/>
                  </a:lnTo>
                  <a:lnTo>
                    <a:pt x="120" y="372"/>
                  </a:lnTo>
                  <a:lnTo>
                    <a:pt x="114" y="360"/>
                  </a:lnTo>
                  <a:lnTo>
                    <a:pt x="108" y="360"/>
                  </a:lnTo>
                  <a:lnTo>
                    <a:pt x="108" y="354"/>
                  </a:lnTo>
                  <a:lnTo>
                    <a:pt x="102" y="348"/>
                  </a:lnTo>
                  <a:lnTo>
                    <a:pt x="102" y="342"/>
                  </a:lnTo>
                  <a:lnTo>
                    <a:pt x="108" y="330"/>
                  </a:lnTo>
                  <a:lnTo>
                    <a:pt x="114" y="312"/>
                  </a:lnTo>
                  <a:lnTo>
                    <a:pt x="114" y="300"/>
                  </a:lnTo>
                  <a:lnTo>
                    <a:pt x="120" y="288"/>
                  </a:lnTo>
                  <a:lnTo>
                    <a:pt x="120" y="282"/>
                  </a:lnTo>
                  <a:lnTo>
                    <a:pt x="114" y="270"/>
                  </a:lnTo>
                  <a:lnTo>
                    <a:pt x="114" y="258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84" y="222"/>
                  </a:lnTo>
                  <a:lnTo>
                    <a:pt x="84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84" y="186"/>
                  </a:lnTo>
                  <a:lnTo>
                    <a:pt x="84" y="180"/>
                  </a:lnTo>
                  <a:lnTo>
                    <a:pt x="108" y="174"/>
                  </a:lnTo>
                  <a:lnTo>
                    <a:pt x="132" y="186"/>
                  </a:lnTo>
                  <a:lnTo>
                    <a:pt x="138" y="192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56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74" y="204"/>
                  </a:lnTo>
                  <a:lnTo>
                    <a:pt x="180" y="216"/>
                  </a:lnTo>
                  <a:lnTo>
                    <a:pt x="186" y="228"/>
                  </a:lnTo>
                  <a:lnTo>
                    <a:pt x="192" y="234"/>
                  </a:lnTo>
                  <a:lnTo>
                    <a:pt x="198" y="234"/>
                  </a:lnTo>
                  <a:lnTo>
                    <a:pt x="204" y="240"/>
                  </a:lnTo>
                  <a:lnTo>
                    <a:pt x="210" y="240"/>
                  </a:lnTo>
                  <a:lnTo>
                    <a:pt x="216" y="240"/>
                  </a:lnTo>
                  <a:lnTo>
                    <a:pt x="222" y="240"/>
                  </a:lnTo>
                  <a:lnTo>
                    <a:pt x="228" y="246"/>
                  </a:lnTo>
                  <a:lnTo>
                    <a:pt x="234" y="246"/>
                  </a:lnTo>
                  <a:lnTo>
                    <a:pt x="240" y="246"/>
                  </a:lnTo>
                  <a:lnTo>
                    <a:pt x="252" y="252"/>
                  </a:lnTo>
                  <a:lnTo>
                    <a:pt x="330" y="246"/>
                  </a:lnTo>
                  <a:lnTo>
                    <a:pt x="360" y="228"/>
                  </a:lnTo>
                  <a:lnTo>
                    <a:pt x="396" y="228"/>
                  </a:lnTo>
                  <a:lnTo>
                    <a:pt x="402" y="240"/>
                  </a:lnTo>
                  <a:lnTo>
                    <a:pt x="432" y="240"/>
                  </a:lnTo>
                  <a:lnTo>
                    <a:pt x="450" y="258"/>
                  </a:lnTo>
                  <a:lnTo>
                    <a:pt x="468" y="258"/>
                  </a:lnTo>
                  <a:lnTo>
                    <a:pt x="474" y="294"/>
                  </a:lnTo>
                  <a:lnTo>
                    <a:pt x="558" y="318"/>
                  </a:lnTo>
                  <a:lnTo>
                    <a:pt x="588" y="318"/>
                  </a:lnTo>
                  <a:lnTo>
                    <a:pt x="588" y="312"/>
                  </a:lnTo>
                  <a:lnTo>
                    <a:pt x="594" y="306"/>
                  </a:lnTo>
                  <a:lnTo>
                    <a:pt x="600" y="306"/>
                  </a:lnTo>
                  <a:lnTo>
                    <a:pt x="612" y="300"/>
                  </a:lnTo>
                  <a:lnTo>
                    <a:pt x="618" y="300"/>
                  </a:lnTo>
                  <a:lnTo>
                    <a:pt x="630" y="300"/>
                  </a:lnTo>
                  <a:lnTo>
                    <a:pt x="642" y="306"/>
                  </a:lnTo>
                  <a:lnTo>
                    <a:pt x="660" y="306"/>
                  </a:lnTo>
                  <a:lnTo>
                    <a:pt x="666" y="306"/>
                  </a:lnTo>
                  <a:lnTo>
                    <a:pt x="672" y="306"/>
                  </a:lnTo>
                  <a:lnTo>
                    <a:pt x="684" y="300"/>
                  </a:lnTo>
                  <a:lnTo>
                    <a:pt x="696" y="294"/>
                  </a:lnTo>
                  <a:lnTo>
                    <a:pt x="702" y="288"/>
                  </a:lnTo>
                  <a:lnTo>
                    <a:pt x="714" y="282"/>
                  </a:lnTo>
                  <a:lnTo>
                    <a:pt x="714" y="288"/>
                  </a:lnTo>
                  <a:lnTo>
                    <a:pt x="726" y="300"/>
                  </a:lnTo>
                  <a:lnTo>
                    <a:pt x="732" y="306"/>
                  </a:lnTo>
                  <a:lnTo>
                    <a:pt x="732" y="318"/>
                  </a:lnTo>
                  <a:lnTo>
                    <a:pt x="732" y="330"/>
                  </a:lnTo>
                  <a:lnTo>
                    <a:pt x="726" y="342"/>
                  </a:lnTo>
                  <a:lnTo>
                    <a:pt x="720" y="354"/>
                  </a:lnTo>
                  <a:lnTo>
                    <a:pt x="720" y="360"/>
                  </a:lnTo>
                  <a:lnTo>
                    <a:pt x="714" y="372"/>
                  </a:lnTo>
                  <a:lnTo>
                    <a:pt x="714" y="378"/>
                  </a:lnTo>
                  <a:lnTo>
                    <a:pt x="714" y="408"/>
                  </a:lnTo>
                  <a:lnTo>
                    <a:pt x="708" y="420"/>
                  </a:lnTo>
                  <a:lnTo>
                    <a:pt x="714" y="432"/>
                  </a:lnTo>
                  <a:lnTo>
                    <a:pt x="708" y="450"/>
                  </a:lnTo>
                  <a:lnTo>
                    <a:pt x="708" y="468"/>
                  </a:lnTo>
                  <a:lnTo>
                    <a:pt x="696" y="480"/>
                  </a:lnTo>
                  <a:lnTo>
                    <a:pt x="684" y="486"/>
                  </a:lnTo>
                  <a:lnTo>
                    <a:pt x="672" y="492"/>
                  </a:lnTo>
                  <a:lnTo>
                    <a:pt x="660" y="498"/>
                  </a:lnTo>
                  <a:lnTo>
                    <a:pt x="654" y="510"/>
                  </a:lnTo>
                  <a:lnTo>
                    <a:pt x="648" y="516"/>
                  </a:lnTo>
                  <a:lnTo>
                    <a:pt x="642" y="522"/>
                  </a:lnTo>
                  <a:lnTo>
                    <a:pt x="630" y="522"/>
                  </a:lnTo>
                  <a:lnTo>
                    <a:pt x="624" y="528"/>
                  </a:lnTo>
                  <a:lnTo>
                    <a:pt x="618" y="540"/>
                  </a:lnTo>
                  <a:lnTo>
                    <a:pt x="618" y="558"/>
                  </a:lnTo>
                  <a:lnTo>
                    <a:pt x="612" y="576"/>
                  </a:lnTo>
                  <a:lnTo>
                    <a:pt x="612" y="684"/>
                  </a:lnTo>
                  <a:lnTo>
                    <a:pt x="618" y="696"/>
                  </a:lnTo>
                  <a:lnTo>
                    <a:pt x="636" y="696"/>
                  </a:lnTo>
                  <a:lnTo>
                    <a:pt x="636" y="720"/>
                  </a:lnTo>
                  <a:lnTo>
                    <a:pt x="636" y="732"/>
                  </a:lnTo>
                  <a:lnTo>
                    <a:pt x="618" y="750"/>
                  </a:lnTo>
                  <a:lnTo>
                    <a:pt x="606" y="762"/>
                  </a:lnTo>
                  <a:lnTo>
                    <a:pt x="600" y="774"/>
                  </a:lnTo>
                  <a:lnTo>
                    <a:pt x="594" y="798"/>
                  </a:lnTo>
                  <a:lnTo>
                    <a:pt x="606" y="798"/>
                  </a:lnTo>
                  <a:lnTo>
                    <a:pt x="660" y="792"/>
                  </a:lnTo>
                  <a:lnTo>
                    <a:pt x="696" y="798"/>
                  </a:lnTo>
                  <a:lnTo>
                    <a:pt x="720" y="798"/>
                  </a:lnTo>
                  <a:lnTo>
                    <a:pt x="720" y="786"/>
                  </a:lnTo>
                  <a:lnTo>
                    <a:pt x="720" y="774"/>
                  </a:lnTo>
                  <a:lnTo>
                    <a:pt x="702" y="762"/>
                  </a:lnTo>
                  <a:lnTo>
                    <a:pt x="702" y="750"/>
                  </a:lnTo>
                  <a:lnTo>
                    <a:pt x="702" y="726"/>
                  </a:lnTo>
                  <a:lnTo>
                    <a:pt x="714" y="714"/>
                  </a:lnTo>
                  <a:lnTo>
                    <a:pt x="720" y="702"/>
                  </a:lnTo>
                  <a:lnTo>
                    <a:pt x="720" y="696"/>
                  </a:lnTo>
                  <a:lnTo>
                    <a:pt x="744" y="690"/>
                  </a:lnTo>
                  <a:lnTo>
                    <a:pt x="744" y="696"/>
                  </a:lnTo>
                  <a:lnTo>
                    <a:pt x="756" y="696"/>
                  </a:lnTo>
                  <a:lnTo>
                    <a:pt x="762" y="690"/>
                  </a:lnTo>
                  <a:lnTo>
                    <a:pt x="768" y="690"/>
                  </a:lnTo>
                  <a:lnTo>
                    <a:pt x="774" y="696"/>
                  </a:lnTo>
                  <a:lnTo>
                    <a:pt x="780" y="696"/>
                  </a:lnTo>
                  <a:lnTo>
                    <a:pt x="786" y="696"/>
                  </a:lnTo>
                  <a:lnTo>
                    <a:pt x="804" y="684"/>
                  </a:lnTo>
                  <a:lnTo>
                    <a:pt x="810" y="684"/>
                  </a:lnTo>
                  <a:lnTo>
                    <a:pt x="810" y="654"/>
                  </a:lnTo>
                  <a:lnTo>
                    <a:pt x="816" y="588"/>
                  </a:lnTo>
                  <a:lnTo>
                    <a:pt x="804" y="582"/>
                  </a:lnTo>
                  <a:lnTo>
                    <a:pt x="798" y="552"/>
                  </a:lnTo>
                  <a:lnTo>
                    <a:pt x="798" y="480"/>
                  </a:lnTo>
                  <a:lnTo>
                    <a:pt x="780" y="468"/>
                  </a:lnTo>
                  <a:lnTo>
                    <a:pt x="780" y="462"/>
                  </a:lnTo>
                  <a:lnTo>
                    <a:pt x="774" y="450"/>
                  </a:lnTo>
                  <a:lnTo>
                    <a:pt x="762" y="444"/>
                  </a:lnTo>
                  <a:lnTo>
                    <a:pt x="762" y="438"/>
                  </a:lnTo>
                  <a:lnTo>
                    <a:pt x="768" y="432"/>
                  </a:lnTo>
                  <a:lnTo>
                    <a:pt x="774" y="426"/>
                  </a:lnTo>
                  <a:lnTo>
                    <a:pt x="780" y="426"/>
                  </a:lnTo>
                  <a:lnTo>
                    <a:pt x="780" y="414"/>
                  </a:lnTo>
                  <a:lnTo>
                    <a:pt x="834" y="414"/>
                  </a:lnTo>
                  <a:lnTo>
                    <a:pt x="834" y="426"/>
                  </a:lnTo>
                  <a:lnTo>
                    <a:pt x="840" y="432"/>
                  </a:lnTo>
                  <a:lnTo>
                    <a:pt x="846" y="432"/>
                  </a:lnTo>
                  <a:lnTo>
                    <a:pt x="852" y="432"/>
                  </a:lnTo>
                  <a:lnTo>
                    <a:pt x="858" y="432"/>
                  </a:lnTo>
                  <a:lnTo>
                    <a:pt x="870" y="432"/>
                  </a:lnTo>
                  <a:lnTo>
                    <a:pt x="870" y="426"/>
                  </a:lnTo>
                  <a:lnTo>
                    <a:pt x="870" y="420"/>
                  </a:lnTo>
                  <a:lnTo>
                    <a:pt x="876" y="420"/>
                  </a:lnTo>
                  <a:lnTo>
                    <a:pt x="882" y="420"/>
                  </a:lnTo>
                  <a:lnTo>
                    <a:pt x="894" y="414"/>
                  </a:lnTo>
                  <a:lnTo>
                    <a:pt x="900" y="414"/>
                  </a:lnTo>
                  <a:lnTo>
                    <a:pt x="906" y="408"/>
                  </a:lnTo>
                  <a:lnTo>
                    <a:pt x="918" y="408"/>
                  </a:lnTo>
                  <a:lnTo>
                    <a:pt x="924" y="402"/>
                  </a:lnTo>
                  <a:lnTo>
                    <a:pt x="930" y="384"/>
                  </a:lnTo>
                  <a:lnTo>
                    <a:pt x="948" y="396"/>
                  </a:lnTo>
                  <a:lnTo>
                    <a:pt x="954" y="384"/>
                  </a:lnTo>
                  <a:lnTo>
                    <a:pt x="960" y="384"/>
                  </a:lnTo>
                  <a:lnTo>
                    <a:pt x="972" y="384"/>
                  </a:lnTo>
                  <a:lnTo>
                    <a:pt x="978" y="378"/>
                  </a:lnTo>
                  <a:lnTo>
                    <a:pt x="972" y="366"/>
                  </a:lnTo>
                  <a:lnTo>
                    <a:pt x="966" y="342"/>
                  </a:lnTo>
                  <a:lnTo>
                    <a:pt x="960" y="330"/>
                  </a:lnTo>
                  <a:lnTo>
                    <a:pt x="942" y="324"/>
                  </a:lnTo>
                  <a:lnTo>
                    <a:pt x="936" y="318"/>
                  </a:lnTo>
                  <a:lnTo>
                    <a:pt x="936" y="294"/>
                  </a:lnTo>
                  <a:lnTo>
                    <a:pt x="942" y="294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282"/>
                  </a:lnTo>
                  <a:lnTo>
                    <a:pt x="954" y="276"/>
                  </a:lnTo>
                  <a:lnTo>
                    <a:pt x="960" y="276"/>
                  </a:lnTo>
                  <a:lnTo>
                    <a:pt x="966" y="276"/>
                  </a:lnTo>
                  <a:lnTo>
                    <a:pt x="960" y="258"/>
                  </a:lnTo>
                  <a:lnTo>
                    <a:pt x="954" y="240"/>
                  </a:lnTo>
                  <a:lnTo>
                    <a:pt x="948" y="204"/>
                  </a:lnTo>
                  <a:lnTo>
                    <a:pt x="954" y="204"/>
                  </a:lnTo>
                  <a:lnTo>
                    <a:pt x="960" y="198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00" y="186"/>
                  </a:lnTo>
                  <a:lnTo>
                    <a:pt x="876" y="180"/>
                  </a:lnTo>
                  <a:lnTo>
                    <a:pt x="858" y="180"/>
                  </a:lnTo>
                  <a:lnTo>
                    <a:pt x="852" y="168"/>
                  </a:lnTo>
                  <a:lnTo>
                    <a:pt x="834" y="156"/>
                  </a:lnTo>
                  <a:lnTo>
                    <a:pt x="822" y="156"/>
                  </a:lnTo>
                  <a:lnTo>
                    <a:pt x="804" y="156"/>
                  </a:lnTo>
                  <a:lnTo>
                    <a:pt x="804" y="150"/>
                  </a:lnTo>
                  <a:lnTo>
                    <a:pt x="792" y="144"/>
                  </a:lnTo>
                  <a:lnTo>
                    <a:pt x="762" y="138"/>
                  </a:lnTo>
                  <a:lnTo>
                    <a:pt x="768" y="120"/>
                  </a:lnTo>
                  <a:lnTo>
                    <a:pt x="756" y="120"/>
                  </a:lnTo>
                  <a:lnTo>
                    <a:pt x="744" y="108"/>
                  </a:lnTo>
                  <a:lnTo>
                    <a:pt x="744" y="96"/>
                  </a:lnTo>
                  <a:lnTo>
                    <a:pt x="762" y="84"/>
                  </a:lnTo>
                  <a:lnTo>
                    <a:pt x="768" y="84"/>
                  </a:lnTo>
                  <a:lnTo>
                    <a:pt x="768" y="72"/>
                  </a:lnTo>
                  <a:lnTo>
                    <a:pt x="780" y="66"/>
                  </a:lnTo>
                  <a:lnTo>
                    <a:pt x="798" y="54"/>
                  </a:lnTo>
                  <a:lnTo>
                    <a:pt x="792" y="54"/>
                  </a:lnTo>
                  <a:lnTo>
                    <a:pt x="798" y="36"/>
                  </a:lnTo>
                  <a:lnTo>
                    <a:pt x="804" y="36"/>
                  </a:lnTo>
                  <a:lnTo>
                    <a:pt x="816" y="30"/>
                  </a:lnTo>
                  <a:lnTo>
                    <a:pt x="828" y="30"/>
                  </a:lnTo>
                  <a:lnTo>
                    <a:pt x="846" y="12"/>
                  </a:lnTo>
                  <a:lnTo>
                    <a:pt x="876" y="0"/>
                  </a:lnTo>
                  <a:lnTo>
                    <a:pt x="882" y="6"/>
                  </a:lnTo>
                  <a:lnTo>
                    <a:pt x="900" y="6"/>
                  </a:lnTo>
                  <a:lnTo>
                    <a:pt x="912" y="36"/>
                  </a:lnTo>
                  <a:lnTo>
                    <a:pt x="918" y="42"/>
                  </a:lnTo>
                  <a:lnTo>
                    <a:pt x="924" y="54"/>
                  </a:lnTo>
                  <a:lnTo>
                    <a:pt x="930" y="54"/>
                  </a:lnTo>
                  <a:lnTo>
                    <a:pt x="930" y="78"/>
                  </a:lnTo>
                  <a:lnTo>
                    <a:pt x="954" y="72"/>
                  </a:lnTo>
                  <a:lnTo>
                    <a:pt x="954" y="60"/>
                  </a:lnTo>
                  <a:lnTo>
                    <a:pt x="966" y="66"/>
                  </a:lnTo>
                  <a:lnTo>
                    <a:pt x="966" y="78"/>
                  </a:lnTo>
                  <a:lnTo>
                    <a:pt x="960" y="84"/>
                  </a:lnTo>
                  <a:lnTo>
                    <a:pt x="954" y="102"/>
                  </a:lnTo>
                  <a:lnTo>
                    <a:pt x="972" y="102"/>
                  </a:lnTo>
                  <a:lnTo>
                    <a:pt x="978" y="84"/>
                  </a:lnTo>
                  <a:lnTo>
                    <a:pt x="984" y="72"/>
                  </a:lnTo>
                  <a:lnTo>
                    <a:pt x="990" y="72"/>
                  </a:lnTo>
                  <a:lnTo>
                    <a:pt x="996" y="18"/>
                  </a:lnTo>
                  <a:lnTo>
                    <a:pt x="990" y="12"/>
                  </a:lnTo>
                  <a:lnTo>
                    <a:pt x="1014" y="12"/>
                  </a:lnTo>
                  <a:lnTo>
                    <a:pt x="1026" y="12"/>
                  </a:lnTo>
                  <a:lnTo>
                    <a:pt x="1026" y="24"/>
                  </a:lnTo>
                  <a:lnTo>
                    <a:pt x="1050" y="24"/>
                  </a:lnTo>
                  <a:lnTo>
                    <a:pt x="1050" y="36"/>
                  </a:lnTo>
                  <a:lnTo>
                    <a:pt x="1062" y="66"/>
                  </a:lnTo>
                  <a:lnTo>
                    <a:pt x="1074" y="66"/>
                  </a:lnTo>
                  <a:lnTo>
                    <a:pt x="1080" y="60"/>
                  </a:lnTo>
                  <a:lnTo>
                    <a:pt x="1074" y="24"/>
                  </a:lnTo>
                  <a:lnTo>
                    <a:pt x="1086" y="18"/>
                  </a:lnTo>
                  <a:lnTo>
                    <a:pt x="1086" y="12"/>
                  </a:lnTo>
                  <a:lnTo>
                    <a:pt x="1104" y="6"/>
                  </a:lnTo>
                  <a:lnTo>
                    <a:pt x="1122" y="0"/>
                  </a:lnTo>
                  <a:lnTo>
                    <a:pt x="1134" y="6"/>
                  </a:lnTo>
                  <a:lnTo>
                    <a:pt x="1134" y="42"/>
                  </a:lnTo>
                  <a:lnTo>
                    <a:pt x="1140" y="72"/>
                  </a:lnTo>
                  <a:lnTo>
                    <a:pt x="1158" y="114"/>
                  </a:lnTo>
                  <a:lnTo>
                    <a:pt x="1170" y="114"/>
                  </a:lnTo>
                  <a:lnTo>
                    <a:pt x="1170" y="126"/>
                  </a:lnTo>
                  <a:lnTo>
                    <a:pt x="1182" y="126"/>
                  </a:lnTo>
                  <a:lnTo>
                    <a:pt x="1182" y="138"/>
                  </a:lnTo>
                  <a:lnTo>
                    <a:pt x="1194" y="144"/>
                  </a:lnTo>
                  <a:lnTo>
                    <a:pt x="1194" y="156"/>
                  </a:lnTo>
                  <a:lnTo>
                    <a:pt x="1188" y="156"/>
                  </a:lnTo>
                  <a:lnTo>
                    <a:pt x="1194" y="162"/>
                  </a:lnTo>
                  <a:lnTo>
                    <a:pt x="1194" y="168"/>
                  </a:lnTo>
                  <a:lnTo>
                    <a:pt x="1188" y="168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82" y="180"/>
                  </a:lnTo>
                  <a:lnTo>
                    <a:pt x="1188" y="186"/>
                  </a:lnTo>
                  <a:lnTo>
                    <a:pt x="1188" y="192"/>
                  </a:lnTo>
                  <a:lnTo>
                    <a:pt x="1182" y="198"/>
                  </a:lnTo>
                  <a:lnTo>
                    <a:pt x="1182" y="204"/>
                  </a:lnTo>
                  <a:lnTo>
                    <a:pt x="1182" y="210"/>
                  </a:lnTo>
                  <a:lnTo>
                    <a:pt x="1188" y="210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2"/>
                  </a:lnTo>
                  <a:lnTo>
                    <a:pt x="1194" y="264"/>
                  </a:lnTo>
                  <a:lnTo>
                    <a:pt x="1200" y="264"/>
                  </a:lnTo>
                  <a:lnTo>
                    <a:pt x="1212" y="264"/>
                  </a:lnTo>
                  <a:lnTo>
                    <a:pt x="1212" y="258"/>
                  </a:lnTo>
                  <a:lnTo>
                    <a:pt x="1224" y="258"/>
                  </a:lnTo>
                  <a:lnTo>
                    <a:pt x="1248" y="252"/>
                  </a:lnTo>
                  <a:lnTo>
                    <a:pt x="1248" y="264"/>
                  </a:lnTo>
                  <a:lnTo>
                    <a:pt x="1254" y="264"/>
                  </a:lnTo>
                  <a:lnTo>
                    <a:pt x="1254" y="270"/>
                  </a:lnTo>
                  <a:lnTo>
                    <a:pt x="1260" y="270"/>
                  </a:lnTo>
                  <a:lnTo>
                    <a:pt x="1266" y="270"/>
                  </a:lnTo>
                  <a:lnTo>
                    <a:pt x="1272" y="270"/>
                  </a:lnTo>
                  <a:lnTo>
                    <a:pt x="1272" y="264"/>
                  </a:lnTo>
                  <a:lnTo>
                    <a:pt x="1272" y="258"/>
                  </a:lnTo>
                  <a:lnTo>
                    <a:pt x="1278" y="258"/>
                  </a:lnTo>
                  <a:lnTo>
                    <a:pt x="1278" y="252"/>
                  </a:lnTo>
                  <a:lnTo>
                    <a:pt x="1290" y="252"/>
                  </a:lnTo>
                  <a:lnTo>
                    <a:pt x="1296" y="246"/>
                  </a:lnTo>
                  <a:lnTo>
                    <a:pt x="1308" y="246"/>
                  </a:lnTo>
                  <a:lnTo>
                    <a:pt x="1308" y="240"/>
                  </a:lnTo>
                  <a:lnTo>
                    <a:pt x="1320" y="240"/>
                  </a:lnTo>
                  <a:lnTo>
                    <a:pt x="1326" y="246"/>
                  </a:lnTo>
                  <a:lnTo>
                    <a:pt x="1338" y="246"/>
                  </a:lnTo>
                  <a:lnTo>
                    <a:pt x="1338" y="240"/>
                  </a:lnTo>
                  <a:lnTo>
                    <a:pt x="1350" y="240"/>
                  </a:lnTo>
                  <a:lnTo>
                    <a:pt x="1386" y="234"/>
                  </a:lnTo>
                  <a:lnTo>
                    <a:pt x="1398" y="228"/>
                  </a:lnTo>
                  <a:lnTo>
                    <a:pt x="1404" y="216"/>
                  </a:lnTo>
                  <a:lnTo>
                    <a:pt x="1416" y="204"/>
                  </a:lnTo>
                  <a:lnTo>
                    <a:pt x="1434" y="192"/>
                  </a:lnTo>
                  <a:lnTo>
                    <a:pt x="1446" y="198"/>
                  </a:lnTo>
                  <a:lnTo>
                    <a:pt x="1446" y="204"/>
                  </a:lnTo>
                  <a:lnTo>
                    <a:pt x="1452" y="210"/>
                  </a:lnTo>
                  <a:lnTo>
                    <a:pt x="1464" y="222"/>
                  </a:lnTo>
                  <a:lnTo>
                    <a:pt x="1464" y="228"/>
                  </a:lnTo>
                  <a:lnTo>
                    <a:pt x="1464" y="234"/>
                  </a:lnTo>
                  <a:lnTo>
                    <a:pt x="1470" y="240"/>
                  </a:lnTo>
                  <a:lnTo>
                    <a:pt x="1476" y="228"/>
                  </a:lnTo>
                  <a:lnTo>
                    <a:pt x="1476" y="222"/>
                  </a:lnTo>
                  <a:lnTo>
                    <a:pt x="1482" y="210"/>
                  </a:lnTo>
                  <a:lnTo>
                    <a:pt x="1488" y="192"/>
                  </a:lnTo>
                  <a:lnTo>
                    <a:pt x="1488" y="186"/>
                  </a:lnTo>
                  <a:lnTo>
                    <a:pt x="1488" y="180"/>
                  </a:lnTo>
                  <a:lnTo>
                    <a:pt x="1500" y="180"/>
                  </a:lnTo>
                  <a:lnTo>
                    <a:pt x="1500" y="174"/>
                  </a:lnTo>
                  <a:lnTo>
                    <a:pt x="1518" y="162"/>
                  </a:lnTo>
                  <a:lnTo>
                    <a:pt x="1536" y="150"/>
                  </a:lnTo>
                  <a:lnTo>
                    <a:pt x="1554" y="168"/>
                  </a:lnTo>
                  <a:lnTo>
                    <a:pt x="1572" y="180"/>
                  </a:lnTo>
                  <a:lnTo>
                    <a:pt x="1596" y="216"/>
                  </a:lnTo>
                  <a:lnTo>
                    <a:pt x="1602" y="216"/>
                  </a:lnTo>
                  <a:lnTo>
                    <a:pt x="1614" y="228"/>
                  </a:lnTo>
                  <a:lnTo>
                    <a:pt x="1614" y="234"/>
                  </a:lnTo>
                  <a:lnTo>
                    <a:pt x="1620" y="240"/>
                  </a:lnTo>
                  <a:lnTo>
                    <a:pt x="1620" y="246"/>
                  </a:lnTo>
                  <a:lnTo>
                    <a:pt x="1626" y="252"/>
                  </a:lnTo>
                  <a:lnTo>
                    <a:pt x="1632" y="258"/>
                  </a:lnTo>
                  <a:lnTo>
                    <a:pt x="1632" y="264"/>
                  </a:lnTo>
                  <a:lnTo>
                    <a:pt x="1638" y="264"/>
                  </a:lnTo>
                  <a:lnTo>
                    <a:pt x="1638" y="270"/>
                  </a:lnTo>
                  <a:lnTo>
                    <a:pt x="1638" y="276"/>
                  </a:lnTo>
                  <a:lnTo>
                    <a:pt x="1638" y="282"/>
                  </a:lnTo>
                  <a:lnTo>
                    <a:pt x="1644" y="288"/>
                  </a:lnTo>
                  <a:lnTo>
                    <a:pt x="1644" y="294"/>
                  </a:lnTo>
                  <a:lnTo>
                    <a:pt x="1644" y="300"/>
                  </a:lnTo>
                  <a:lnTo>
                    <a:pt x="1644" y="306"/>
                  </a:lnTo>
                  <a:lnTo>
                    <a:pt x="1650" y="306"/>
                  </a:lnTo>
                  <a:lnTo>
                    <a:pt x="1650" y="312"/>
                  </a:lnTo>
                  <a:lnTo>
                    <a:pt x="1650" y="318"/>
                  </a:lnTo>
                  <a:lnTo>
                    <a:pt x="1650" y="324"/>
                  </a:lnTo>
                  <a:lnTo>
                    <a:pt x="1644" y="330"/>
                  </a:lnTo>
                  <a:lnTo>
                    <a:pt x="1626" y="330"/>
                  </a:lnTo>
                  <a:lnTo>
                    <a:pt x="1626" y="336"/>
                  </a:lnTo>
                  <a:lnTo>
                    <a:pt x="1626" y="342"/>
                  </a:lnTo>
                  <a:lnTo>
                    <a:pt x="1626" y="348"/>
                  </a:lnTo>
                  <a:lnTo>
                    <a:pt x="1620" y="354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14" y="390"/>
                  </a:lnTo>
                  <a:lnTo>
                    <a:pt x="1614" y="396"/>
                  </a:lnTo>
                  <a:lnTo>
                    <a:pt x="1614" y="402"/>
                  </a:lnTo>
                  <a:lnTo>
                    <a:pt x="1614" y="408"/>
                  </a:lnTo>
                  <a:lnTo>
                    <a:pt x="1614" y="414"/>
                  </a:lnTo>
                  <a:lnTo>
                    <a:pt x="1602" y="420"/>
                  </a:lnTo>
                  <a:lnTo>
                    <a:pt x="1602" y="426"/>
                  </a:lnTo>
                  <a:lnTo>
                    <a:pt x="1608" y="432"/>
                  </a:lnTo>
                  <a:lnTo>
                    <a:pt x="1614" y="426"/>
                  </a:lnTo>
                  <a:lnTo>
                    <a:pt x="1620" y="438"/>
                  </a:lnTo>
                  <a:lnTo>
                    <a:pt x="1626" y="438"/>
                  </a:lnTo>
                  <a:lnTo>
                    <a:pt x="1632" y="444"/>
                  </a:lnTo>
                  <a:lnTo>
                    <a:pt x="1626" y="456"/>
                  </a:lnTo>
                  <a:lnTo>
                    <a:pt x="1626" y="468"/>
                  </a:lnTo>
                  <a:lnTo>
                    <a:pt x="1620" y="474"/>
                  </a:lnTo>
                  <a:lnTo>
                    <a:pt x="1614" y="474"/>
                  </a:lnTo>
                  <a:lnTo>
                    <a:pt x="1614" y="486"/>
                  </a:lnTo>
                  <a:lnTo>
                    <a:pt x="1614" y="492"/>
                  </a:lnTo>
                  <a:lnTo>
                    <a:pt x="1620" y="492"/>
                  </a:lnTo>
                  <a:lnTo>
                    <a:pt x="1626" y="498"/>
                  </a:lnTo>
                  <a:lnTo>
                    <a:pt x="1626" y="504"/>
                  </a:lnTo>
                  <a:lnTo>
                    <a:pt x="1626" y="510"/>
                  </a:lnTo>
                  <a:lnTo>
                    <a:pt x="1620" y="516"/>
                  </a:lnTo>
                  <a:lnTo>
                    <a:pt x="1620" y="522"/>
                  </a:lnTo>
                  <a:lnTo>
                    <a:pt x="1614" y="522"/>
                  </a:lnTo>
                  <a:lnTo>
                    <a:pt x="1608" y="528"/>
                  </a:lnTo>
                  <a:lnTo>
                    <a:pt x="1602" y="522"/>
                  </a:lnTo>
                  <a:lnTo>
                    <a:pt x="1602" y="528"/>
                  </a:lnTo>
                  <a:lnTo>
                    <a:pt x="1602" y="540"/>
                  </a:lnTo>
                  <a:lnTo>
                    <a:pt x="1602" y="558"/>
                  </a:lnTo>
                  <a:lnTo>
                    <a:pt x="1602" y="564"/>
                  </a:lnTo>
                  <a:lnTo>
                    <a:pt x="1602" y="570"/>
                  </a:lnTo>
                  <a:lnTo>
                    <a:pt x="1602" y="576"/>
                  </a:lnTo>
                  <a:lnTo>
                    <a:pt x="1596" y="576"/>
                  </a:lnTo>
                  <a:lnTo>
                    <a:pt x="1632" y="582"/>
                  </a:lnTo>
                  <a:lnTo>
                    <a:pt x="1644" y="618"/>
                  </a:lnTo>
                  <a:lnTo>
                    <a:pt x="1650" y="648"/>
                  </a:lnTo>
                  <a:lnTo>
                    <a:pt x="1662" y="636"/>
                  </a:lnTo>
                  <a:lnTo>
                    <a:pt x="1668" y="636"/>
                  </a:lnTo>
                  <a:lnTo>
                    <a:pt x="1674" y="636"/>
                  </a:lnTo>
                  <a:lnTo>
                    <a:pt x="1680" y="630"/>
                  </a:lnTo>
                  <a:lnTo>
                    <a:pt x="1686" y="630"/>
                  </a:lnTo>
                  <a:lnTo>
                    <a:pt x="1692" y="630"/>
                  </a:lnTo>
                  <a:lnTo>
                    <a:pt x="1698" y="630"/>
                  </a:lnTo>
                  <a:lnTo>
                    <a:pt x="1704" y="630"/>
                  </a:lnTo>
                  <a:lnTo>
                    <a:pt x="1704" y="624"/>
                  </a:lnTo>
                  <a:lnTo>
                    <a:pt x="1710" y="624"/>
                  </a:lnTo>
                  <a:lnTo>
                    <a:pt x="1716" y="624"/>
                  </a:lnTo>
                  <a:lnTo>
                    <a:pt x="1722" y="624"/>
                  </a:lnTo>
                  <a:lnTo>
                    <a:pt x="1728" y="624"/>
                  </a:lnTo>
                  <a:lnTo>
                    <a:pt x="1722" y="618"/>
                  </a:lnTo>
                  <a:lnTo>
                    <a:pt x="1728" y="606"/>
                  </a:lnTo>
                  <a:lnTo>
                    <a:pt x="1734" y="606"/>
                  </a:lnTo>
                  <a:lnTo>
                    <a:pt x="1740" y="600"/>
                  </a:lnTo>
                  <a:lnTo>
                    <a:pt x="1746" y="594"/>
                  </a:lnTo>
                  <a:lnTo>
                    <a:pt x="1752" y="588"/>
                  </a:lnTo>
                  <a:lnTo>
                    <a:pt x="1752" y="582"/>
                  </a:lnTo>
                  <a:lnTo>
                    <a:pt x="1758" y="576"/>
                  </a:lnTo>
                  <a:lnTo>
                    <a:pt x="1764" y="576"/>
                  </a:lnTo>
                  <a:lnTo>
                    <a:pt x="1770" y="570"/>
                  </a:lnTo>
                  <a:lnTo>
                    <a:pt x="1776" y="564"/>
                  </a:lnTo>
                  <a:lnTo>
                    <a:pt x="1788" y="558"/>
                  </a:lnTo>
                  <a:lnTo>
                    <a:pt x="1788" y="546"/>
                  </a:lnTo>
                  <a:lnTo>
                    <a:pt x="1788" y="540"/>
                  </a:lnTo>
                  <a:lnTo>
                    <a:pt x="1794" y="540"/>
                  </a:lnTo>
                  <a:lnTo>
                    <a:pt x="1788" y="534"/>
                  </a:lnTo>
                  <a:lnTo>
                    <a:pt x="1788" y="528"/>
                  </a:lnTo>
                  <a:lnTo>
                    <a:pt x="1794" y="516"/>
                  </a:lnTo>
                  <a:lnTo>
                    <a:pt x="1800" y="510"/>
                  </a:lnTo>
                  <a:lnTo>
                    <a:pt x="1812" y="510"/>
                  </a:lnTo>
                  <a:lnTo>
                    <a:pt x="1818" y="504"/>
                  </a:lnTo>
                  <a:lnTo>
                    <a:pt x="1824" y="504"/>
                  </a:lnTo>
                  <a:lnTo>
                    <a:pt x="1830" y="498"/>
                  </a:lnTo>
                  <a:lnTo>
                    <a:pt x="1836" y="498"/>
                  </a:lnTo>
                  <a:lnTo>
                    <a:pt x="1848" y="492"/>
                  </a:lnTo>
                  <a:lnTo>
                    <a:pt x="1848" y="480"/>
                  </a:lnTo>
                  <a:lnTo>
                    <a:pt x="1854" y="480"/>
                  </a:lnTo>
                  <a:lnTo>
                    <a:pt x="1890" y="504"/>
                  </a:lnTo>
                  <a:lnTo>
                    <a:pt x="1908" y="534"/>
                  </a:lnTo>
                  <a:lnTo>
                    <a:pt x="1902" y="534"/>
                  </a:lnTo>
                  <a:lnTo>
                    <a:pt x="1920" y="528"/>
                  </a:lnTo>
                  <a:lnTo>
                    <a:pt x="1920" y="516"/>
                  </a:lnTo>
                  <a:lnTo>
                    <a:pt x="1944" y="516"/>
                  </a:lnTo>
                  <a:lnTo>
                    <a:pt x="2004" y="516"/>
                  </a:lnTo>
                  <a:lnTo>
                    <a:pt x="2010" y="510"/>
                  </a:lnTo>
                  <a:lnTo>
                    <a:pt x="2004" y="510"/>
                  </a:lnTo>
                  <a:lnTo>
                    <a:pt x="2010" y="498"/>
                  </a:lnTo>
                  <a:lnTo>
                    <a:pt x="2004" y="486"/>
                  </a:lnTo>
                  <a:lnTo>
                    <a:pt x="2004" y="480"/>
                  </a:lnTo>
                  <a:lnTo>
                    <a:pt x="2004" y="474"/>
                  </a:lnTo>
                  <a:lnTo>
                    <a:pt x="2004" y="462"/>
                  </a:lnTo>
                  <a:lnTo>
                    <a:pt x="2004" y="456"/>
                  </a:lnTo>
                  <a:lnTo>
                    <a:pt x="2058" y="462"/>
                  </a:lnTo>
                  <a:lnTo>
                    <a:pt x="2076" y="474"/>
                  </a:lnTo>
                  <a:lnTo>
                    <a:pt x="2082" y="522"/>
                  </a:lnTo>
                  <a:lnTo>
                    <a:pt x="2088" y="516"/>
                  </a:lnTo>
                  <a:lnTo>
                    <a:pt x="2094" y="522"/>
                  </a:lnTo>
                  <a:lnTo>
                    <a:pt x="2100" y="528"/>
                  </a:lnTo>
                  <a:lnTo>
                    <a:pt x="2130" y="540"/>
                  </a:lnTo>
                  <a:lnTo>
                    <a:pt x="2160" y="564"/>
                  </a:lnTo>
                  <a:lnTo>
                    <a:pt x="2166" y="600"/>
                  </a:lnTo>
                  <a:lnTo>
                    <a:pt x="2160" y="618"/>
                  </a:lnTo>
                  <a:lnTo>
                    <a:pt x="2142" y="636"/>
                  </a:lnTo>
                  <a:lnTo>
                    <a:pt x="2148" y="648"/>
                  </a:lnTo>
                  <a:lnTo>
                    <a:pt x="2154" y="660"/>
                  </a:lnTo>
                  <a:lnTo>
                    <a:pt x="2196" y="654"/>
                  </a:lnTo>
                  <a:lnTo>
                    <a:pt x="2214" y="660"/>
                  </a:lnTo>
                  <a:lnTo>
                    <a:pt x="2214" y="666"/>
                  </a:lnTo>
                  <a:lnTo>
                    <a:pt x="2220" y="672"/>
                  </a:lnTo>
                  <a:lnTo>
                    <a:pt x="2214" y="678"/>
                  </a:lnTo>
                  <a:lnTo>
                    <a:pt x="2214" y="684"/>
                  </a:lnTo>
                  <a:lnTo>
                    <a:pt x="2214" y="690"/>
                  </a:lnTo>
                  <a:lnTo>
                    <a:pt x="2208" y="690"/>
                  </a:lnTo>
                  <a:lnTo>
                    <a:pt x="2202" y="696"/>
                  </a:lnTo>
                  <a:lnTo>
                    <a:pt x="2196" y="702"/>
                  </a:lnTo>
                  <a:lnTo>
                    <a:pt x="2190" y="708"/>
                  </a:lnTo>
                  <a:lnTo>
                    <a:pt x="2190" y="720"/>
                  </a:lnTo>
                  <a:lnTo>
                    <a:pt x="2184" y="720"/>
                  </a:lnTo>
                  <a:lnTo>
                    <a:pt x="2178" y="726"/>
                  </a:lnTo>
                  <a:lnTo>
                    <a:pt x="2166" y="732"/>
                  </a:lnTo>
                  <a:lnTo>
                    <a:pt x="2160" y="744"/>
                  </a:lnTo>
                  <a:lnTo>
                    <a:pt x="2154" y="756"/>
                  </a:lnTo>
                  <a:lnTo>
                    <a:pt x="2148" y="762"/>
                  </a:lnTo>
                  <a:lnTo>
                    <a:pt x="2124" y="762"/>
                  </a:lnTo>
                  <a:lnTo>
                    <a:pt x="2124" y="768"/>
                  </a:lnTo>
                  <a:lnTo>
                    <a:pt x="2118" y="768"/>
                  </a:lnTo>
                  <a:lnTo>
                    <a:pt x="2124" y="774"/>
                  </a:lnTo>
                  <a:lnTo>
                    <a:pt x="2118" y="774"/>
                  </a:lnTo>
                  <a:lnTo>
                    <a:pt x="2112" y="774"/>
                  </a:lnTo>
                  <a:lnTo>
                    <a:pt x="2106" y="780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06" y="798"/>
                  </a:lnTo>
                  <a:lnTo>
                    <a:pt x="2106" y="810"/>
                  </a:lnTo>
                  <a:lnTo>
                    <a:pt x="2112" y="828"/>
                  </a:lnTo>
                  <a:lnTo>
                    <a:pt x="2112" y="834"/>
                  </a:lnTo>
                  <a:lnTo>
                    <a:pt x="2112" y="840"/>
                  </a:lnTo>
                  <a:lnTo>
                    <a:pt x="2112" y="834"/>
                  </a:lnTo>
                  <a:lnTo>
                    <a:pt x="2124" y="834"/>
                  </a:lnTo>
                  <a:lnTo>
                    <a:pt x="2130" y="834"/>
                  </a:lnTo>
                  <a:lnTo>
                    <a:pt x="2136" y="840"/>
                  </a:lnTo>
                  <a:lnTo>
                    <a:pt x="2142" y="840"/>
                  </a:lnTo>
                  <a:lnTo>
                    <a:pt x="2154" y="852"/>
                  </a:lnTo>
                  <a:lnTo>
                    <a:pt x="2160" y="852"/>
                  </a:lnTo>
                  <a:lnTo>
                    <a:pt x="2172" y="846"/>
                  </a:lnTo>
                  <a:lnTo>
                    <a:pt x="2178" y="846"/>
                  </a:lnTo>
                  <a:lnTo>
                    <a:pt x="2184" y="846"/>
                  </a:lnTo>
                  <a:lnTo>
                    <a:pt x="2190" y="846"/>
                  </a:lnTo>
                  <a:lnTo>
                    <a:pt x="2196" y="852"/>
                  </a:lnTo>
                  <a:lnTo>
                    <a:pt x="2196" y="858"/>
                  </a:lnTo>
                  <a:lnTo>
                    <a:pt x="2202" y="852"/>
                  </a:lnTo>
                  <a:lnTo>
                    <a:pt x="2208" y="846"/>
                  </a:lnTo>
                  <a:lnTo>
                    <a:pt x="2214" y="846"/>
                  </a:lnTo>
                  <a:lnTo>
                    <a:pt x="2226" y="846"/>
                  </a:lnTo>
                  <a:lnTo>
                    <a:pt x="2232" y="852"/>
                  </a:lnTo>
                  <a:lnTo>
                    <a:pt x="2238" y="852"/>
                  </a:lnTo>
                  <a:lnTo>
                    <a:pt x="2244" y="858"/>
                  </a:lnTo>
                  <a:lnTo>
                    <a:pt x="2250" y="858"/>
                  </a:lnTo>
                  <a:lnTo>
                    <a:pt x="2256" y="858"/>
                  </a:lnTo>
                  <a:lnTo>
                    <a:pt x="2262" y="858"/>
                  </a:lnTo>
                  <a:lnTo>
                    <a:pt x="2268" y="852"/>
                  </a:lnTo>
                  <a:lnTo>
                    <a:pt x="2274" y="852"/>
                  </a:lnTo>
                  <a:lnTo>
                    <a:pt x="2280" y="852"/>
                  </a:lnTo>
                  <a:lnTo>
                    <a:pt x="2286" y="852"/>
                  </a:lnTo>
                  <a:lnTo>
                    <a:pt x="2298" y="858"/>
                  </a:lnTo>
                  <a:lnTo>
                    <a:pt x="2304" y="858"/>
                  </a:lnTo>
                  <a:lnTo>
                    <a:pt x="2310" y="858"/>
                  </a:lnTo>
                  <a:lnTo>
                    <a:pt x="2316" y="852"/>
                  </a:lnTo>
                  <a:lnTo>
                    <a:pt x="2322" y="858"/>
                  </a:lnTo>
                  <a:lnTo>
                    <a:pt x="2328" y="858"/>
                  </a:lnTo>
                  <a:lnTo>
                    <a:pt x="2328" y="852"/>
                  </a:lnTo>
                  <a:lnTo>
                    <a:pt x="2364" y="858"/>
                  </a:lnTo>
                  <a:lnTo>
                    <a:pt x="2376" y="876"/>
                  </a:lnTo>
                  <a:lnTo>
                    <a:pt x="2382" y="936"/>
                  </a:lnTo>
                  <a:lnTo>
                    <a:pt x="2388" y="966"/>
                  </a:lnTo>
                  <a:lnTo>
                    <a:pt x="2382" y="972"/>
                  </a:lnTo>
                  <a:lnTo>
                    <a:pt x="2382" y="978"/>
                  </a:lnTo>
                  <a:lnTo>
                    <a:pt x="2382" y="984"/>
                  </a:lnTo>
                  <a:lnTo>
                    <a:pt x="2388" y="990"/>
                  </a:lnTo>
                  <a:lnTo>
                    <a:pt x="2382" y="990"/>
                  </a:lnTo>
                  <a:lnTo>
                    <a:pt x="2382" y="996"/>
                  </a:lnTo>
                  <a:lnTo>
                    <a:pt x="2376" y="996"/>
                  </a:lnTo>
                  <a:lnTo>
                    <a:pt x="2376" y="1020"/>
                  </a:lnTo>
                  <a:lnTo>
                    <a:pt x="2370" y="1032"/>
                  </a:lnTo>
                  <a:lnTo>
                    <a:pt x="2352" y="1032"/>
                  </a:lnTo>
                  <a:lnTo>
                    <a:pt x="2346" y="1020"/>
                  </a:lnTo>
                  <a:lnTo>
                    <a:pt x="2328" y="1032"/>
                  </a:lnTo>
                  <a:lnTo>
                    <a:pt x="2316" y="1038"/>
                  </a:lnTo>
                  <a:lnTo>
                    <a:pt x="2328" y="1044"/>
                  </a:lnTo>
                  <a:lnTo>
                    <a:pt x="2340" y="1056"/>
                  </a:lnTo>
                  <a:lnTo>
                    <a:pt x="2376" y="1062"/>
                  </a:lnTo>
                  <a:lnTo>
                    <a:pt x="2376" y="1068"/>
                  </a:lnTo>
                  <a:lnTo>
                    <a:pt x="2382" y="1086"/>
                  </a:lnTo>
                  <a:lnTo>
                    <a:pt x="2376" y="1086"/>
                  </a:lnTo>
                  <a:lnTo>
                    <a:pt x="2370" y="1086"/>
                  </a:lnTo>
                  <a:lnTo>
                    <a:pt x="2364" y="1086"/>
                  </a:lnTo>
                  <a:lnTo>
                    <a:pt x="2364" y="1098"/>
                  </a:lnTo>
                  <a:lnTo>
                    <a:pt x="2388" y="1104"/>
                  </a:lnTo>
                  <a:lnTo>
                    <a:pt x="2400" y="1122"/>
                  </a:lnTo>
                  <a:lnTo>
                    <a:pt x="2400" y="1134"/>
                  </a:lnTo>
                  <a:lnTo>
                    <a:pt x="2400" y="1146"/>
                  </a:lnTo>
                  <a:lnTo>
                    <a:pt x="2394" y="1146"/>
                  </a:lnTo>
                  <a:lnTo>
                    <a:pt x="2394" y="1152"/>
                  </a:lnTo>
                  <a:lnTo>
                    <a:pt x="2388" y="1152"/>
                  </a:lnTo>
                  <a:lnTo>
                    <a:pt x="2388" y="1146"/>
                  </a:lnTo>
                  <a:lnTo>
                    <a:pt x="2382" y="1152"/>
                  </a:lnTo>
                  <a:lnTo>
                    <a:pt x="2376" y="1152"/>
                  </a:lnTo>
                  <a:lnTo>
                    <a:pt x="2370" y="1158"/>
                  </a:lnTo>
                  <a:lnTo>
                    <a:pt x="2370" y="1164"/>
                  </a:lnTo>
                  <a:lnTo>
                    <a:pt x="2364" y="1170"/>
                  </a:lnTo>
                  <a:lnTo>
                    <a:pt x="2370" y="1170"/>
                  </a:lnTo>
                  <a:lnTo>
                    <a:pt x="2376" y="1170"/>
                  </a:lnTo>
                  <a:lnTo>
                    <a:pt x="2370" y="1176"/>
                  </a:lnTo>
                  <a:lnTo>
                    <a:pt x="2364" y="1176"/>
                  </a:lnTo>
                  <a:lnTo>
                    <a:pt x="2358" y="1182"/>
                  </a:lnTo>
                  <a:lnTo>
                    <a:pt x="2352" y="1182"/>
                  </a:lnTo>
                  <a:lnTo>
                    <a:pt x="2346" y="1188"/>
                  </a:lnTo>
                  <a:lnTo>
                    <a:pt x="2340" y="1182"/>
                  </a:lnTo>
                  <a:lnTo>
                    <a:pt x="2334" y="1182"/>
                  </a:lnTo>
                  <a:lnTo>
                    <a:pt x="2334" y="1188"/>
                  </a:lnTo>
                  <a:lnTo>
                    <a:pt x="2328" y="1194"/>
                  </a:lnTo>
                  <a:lnTo>
                    <a:pt x="2328" y="1200"/>
                  </a:lnTo>
                  <a:lnTo>
                    <a:pt x="2322" y="1224"/>
                  </a:lnTo>
                  <a:lnTo>
                    <a:pt x="2328" y="1230"/>
                  </a:lnTo>
                  <a:lnTo>
                    <a:pt x="2358" y="1230"/>
                  </a:lnTo>
                  <a:lnTo>
                    <a:pt x="2358" y="1242"/>
                  </a:lnTo>
                  <a:lnTo>
                    <a:pt x="2358" y="1254"/>
                  </a:lnTo>
                  <a:lnTo>
                    <a:pt x="2346" y="1254"/>
                  </a:lnTo>
                  <a:lnTo>
                    <a:pt x="2346" y="1278"/>
                  </a:lnTo>
                  <a:lnTo>
                    <a:pt x="2358" y="1278"/>
                  </a:lnTo>
                  <a:lnTo>
                    <a:pt x="2358" y="1284"/>
                  </a:lnTo>
                  <a:lnTo>
                    <a:pt x="2376" y="1284"/>
                  </a:lnTo>
                  <a:lnTo>
                    <a:pt x="2388" y="1278"/>
                  </a:lnTo>
                  <a:lnTo>
                    <a:pt x="2406" y="1278"/>
                  </a:lnTo>
                  <a:lnTo>
                    <a:pt x="2430" y="1284"/>
                  </a:lnTo>
                  <a:lnTo>
                    <a:pt x="2430" y="1302"/>
                  </a:lnTo>
                  <a:lnTo>
                    <a:pt x="2430" y="1314"/>
                  </a:lnTo>
                  <a:lnTo>
                    <a:pt x="2424" y="1326"/>
                  </a:lnTo>
                  <a:lnTo>
                    <a:pt x="2412" y="1326"/>
                  </a:lnTo>
                  <a:lnTo>
                    <a:pt x="2412" y="1344"/>
                  </a:lnTo>
                  <a:lnTo>
                    <a:pt x="2406" y="1344"/>
                  </a:lnTo>
                  <a:lnTo>
                    <a:pt x="2400" y="1362"/>
                  </a:lnTo>
                  <a:lnTo>
                    <a:pt x="2394" y="1368"/>
                  </a:lnTo>
                  <a:lnTo>
                    <a:pt x="2388" y="1374"/>
                  </a:lnTo>
                  <a:lnTo>
                    <a:pt x="2382" y="1380"/>
                  </a:lnTo>
                  <a:lnTo>
                    <a:pt x="2376" y="1386"/>
                  </a:lnTo>
                  <a:lnTo>
                    <a:pt x="2376" y="1392"/>
                  </a:lnTo>
                  <a:lnTo>
                    <a:pt x="2370" y="1404"/>
                  </a:lnTo>
                  <a:lnTo>
                    <a:pt x="2364" y="1416"/>
                  </a:lnTo>
                  <a:lnTo>
                    <a:pt x="2346" y="1434"/>
                  </a:lnTo>
                  <a:lnTo>
                    <a:pt x="2328" y="1440"/>
                  </a:lnTo>
                  <a:lnTo>
                    <a:pt x="2328" y="1446"/>
                  </a:lnTo>
                  <a:lnTo>
                    <a:pt x="2322" y="1452"/>
                  </a:lnTo>
                  <a:lnTo>
                    <a:pt x="2316" y="1452"/>
                  </a:lnTo>
                  <a:lnTo>
                    <a:pt x="2304" y="1446"/>
                  </a:lnTo>
                  <a:lnTo>
                    <a:pt x="2298" y="1446"/>
                  </a:lnTo>
                  <a:lnTo>
                    <a:pt x="2298" y="1434"/>
                  </a:lnTo>
                  <a:lnTo>
                    <a:pt x="2292" y="1434"/>
                  </a:lnTo>
                  <a:lnTo>
                    <a:pt x="2286" y="1428"/>
                  </a:lnTo>
                  <a:lnTo>
                    <a:pt x="2274" y="1416"/>
                  </a:lnTo>
                  <a:lnTo>
                    <a:pt x="2256" y="1404"/>
                  </a:lnTo>
                  <a:lnTo>
                    <a:pt x="2244" y="1386"/>
                  </a:lnTo>
                  <a:lnTo>
                    <a:pt x="2220" y="1368"/>
                  </a:lnTo>
                  <a:lnTo>
                    <a:pt x="2208" y="1362"/>
                  </a:lnTo>
                  <a:lnTo>
                    <a:pt x="2202" y="1350"/>
                  </a:lnTo>
                  <a:lnTo>
                    <a:pt x="2196" y="1350"/>
                  </a:lnTo>
                  <a:lnTo>
                    <a:pt x="2190" y="1356"/>
                  </a:lnTo>
                  <a:lnTo>
                    <a:pt x="2184" y="1356"/>
                  </a:lnTo>
                  <a:lnTo>
                    <a:pt x="2094" y="1350"/>
                  </a:lnTo>
                  <a:lnTo>
                    <a:pt x="2058" y="1350"/>
                  </a:lnTo>
                  <a:lnTo>
                    <a:pt x="2034" y="1890"/>
                  </a:lnTo>
                  <a:lnTo>
                    <a:pt x="2064" y="1890"/>
                  </a:lnTo>
                  <a:lnTo>
                    <a:pt x="2070" y="1896"/>
                  </a:lnTo>
                  <a:lnTo>
                    <a:pt x="2076" y="18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8" name="Freeform 33">
              <a:extLst>
                <a:ext uri="{FF2B5EF4-FFF2-40B4-BE49-F238E27FC236}">
                  <a16:creationId xmlns:a16="http://schemas.microsoft.com/office/drawing/2014/main" id="{0E96F118-1F4D-4E52-AF27-149259451CD6}"/>
                </a:ext>
              </a:extLst>
            </p:cNvPr>
            <p:cNvSpPr>
              <a:spLocks/>
            </p:cNvSpPr>
            <p:nvPr/>
          </p:nvSpPr>
          <p:spPr bwMode="gray">
            <a:xfrm>
              <a:off x="1266662" y="1459989"/>
              <a:ext cx="903421" cy="778302"/>
            </a:xfrm>
            <a:custGeom>
              <a:avLst/>
              <a:gdLst>
                <a:gd name="T0" fmla="*/ 143 w 1698"/>
                <a:gd name="T1" fmla="*/ 43 h 1464"/>
                <a:gd name="T2" fmla="*/ 131 w 1698"/>
                <a:gd name="T3" fmla="*/ 44 h 1464"/>
                <a:gd name="T4" fmla="*/ 126 w 1698"/>
                <a:gd name="T5" fmla="*/ 41 h 1464"/>
                <a:gd name="T6" fmla="*/ 119 w 1698"/>
                <a:gd name="T7" fmla="*/ 45 h 1464"/>
                <a:gd name="T8" fmla="*/ 111 w 1698"/>
                <a:gd name="T9" fmla="*/ 46 h 1464"/>
                <a:gd name="T10" fmla="*/ 107 w 1698"/>
                <a:gd name="T11" fmla="*/ 50 h 1464"/>
                <a:gd name="T12" fmla="*/ 107 w 1698"/>
                <a:gd name="T13" fmla="*/ 60 h 1464"/>
                <a:gd name="T14" fmla="*/ 104 w 1698"/>
                <a:gd name="T15" fmla="*/ 62 h 1464"/>
                <a:gd name="T16" fmla="*/ 97 w 1698"/>
                <a:gd name="T17" fmla="*/ 59 h 1464"/>
                <a:gd name="T18" fmla="*/ 92 w 1698"/>
                <a:gd name="T19" fmla="*/ 59 h 1464"/>
                <a:gd name="T20" fmla="*/ 90 w 1698"/>
                <a:gd name="T21" fmla="*/ 62 h 1464"/>
                <a:gd name="T22" fmla="*/ 93 w 1698"/>
                <a:gd name="T23" fmla="*/ 77 h 1464"/>
                <a:gd name="T24" fmla="*/ 85 w 1698"/>
                <a:gd name="T25" fmla="*/ 88 h 1464"/>
                <a:gd name="T26" fmla="*/ 70 w 1698"/>
                <a:gd name="T27" fmla="*/ 89 h 1464"/>
                <a:gd name="T28" fmla="*/ 65 w 1698"/>
                <a:gd name="T29" fmla="*/ 88 h 1464"/>
                <a:gd name="T30" fmla="*/ 50 w 1698"/>
                <a:gd name="T31" fmla="*/ 88 h 1464"/>
                <a:gd name="T32" fmla="*/ 48 w 1698"/>
                <a:gd name="T33" fmla="*/ 107 h 1464"/>
                <a:gd name="T34" fmla="*/ 47 w 1698"/>
                <a:gd name="T35" fmla="*/ 120 h 1464"/>
                <a:gd name="T36" fmla="*/ 43 w 1698"/>
                <a:gd name="T37" fmla="*/ 121 h 1464"/>
                <a:gd name="T38" fmla="*/ 40 w 1698"/>
                <a:gd name="T39" fmla="*/ 120 h 1464"/>
                <a:gd name="T40" fmla="*/ 35 w 1698"/>
                <a:gd name="T41" fmla="*/ 122 h 1464"/>
                <a:gd name="T42" fmla="*/ 29 w 1698"/>
                <a:gd name="T43" fmla="*/ 123 h 1464"/>
                <a:gd name="T44" fmla="*/ 24 w 1698"/>
                <a:gd name="T45" fmla="*/ 125 h 1464"/>
                <a:gd name="T46" fmla="*/ 20 w 1698"/>
                <a:gd name="T47" fmla="*/ 125 h 1464"/>
                <a:gd name="T48" fmla="*/ 18 w 1698"/>
                <a:gd name="T49" fmla="*/ 122 h 1464"/>
                <a:gd name="T50" fmla="*/ 26 w 1698"/>
                <a:gd name="T51" fmla="*/ 108 h 1464"/>
                <a:gd name="T52" fmla="*/ 24 w 1698"/>
                <a:gd name="T53" fmla="*/ 89 h 1464"/>
                <a:gd name="T54" fmla="*/ 28 w 1698"/>
                <a:gd name="T55" fmla="*/ 85 h 1464"/>
                <a:gd name="T56" fmla="*/ 32 w 1698"/>
                <a:gd name="T57" fmla="*/ 80 h 1464"/>
                <a:gd name="T58" fmla="*/ 36 w 1698"/>
                <a:gd name="T59" fmla="*/ 86 h 1464"/>
                <a:gd name="T60" fmla="*/ 39 w 1698"/>
                <a:gd name="T61" fmla="*/ 80 h 1464"/>
                <a:gd name="T62" fmla="*/ 41 w 1698"/>
                <a:gd name="T63" fmla="*/ 73 h 1464"/>
                <a:gd name="T64" fmla="*/ 38 w 1698"/>
                <a:gd name="T65" fmla="*/ 64 h 1464"/>
                <a:gd name="T66" fmla="*/ 39 w 1698"/>
                <a:gd name="T67" fmla="*/ 59 h 1464"/>
                <a:gd name="T68" fmla="*/ 32 w 1698"/>
                <a:gd name="T69" fmla="*/ 54 h 1464"/>
                <a:gd name="T70" fmla="*/ 32 w 1698"/>
                <a:gd name="T71" fmla="*/ 45 h 1464"/>
                <a:gd name="T72" fmla="*/ 31 w 1698"/>
                <a:gd name="T73" fmla="*/ 41 h 1464"/>
                <a:gd name="T74" fmla="*/ 24 w 1698"/>
                <a:gd name="T75" fmla="*/ 43 h 1464"/>
                <a:gd name="T76" fmla="*/ 17 w 1698"/>
                <a:gd name="T77" fmla="*/ 40 h 1464"/>
                <a:gd name="T78" fmla="*/ 11 w 1698"/>
                <a:gd name="T79" fmla="*/ 38 h 1464"/>
                <a:gd name="T80" fmla="*/ 2 w 1698"/>
                <a:gd name="T81" fmla="*/ 36 h 1464"/>
                <a:gd name="T82" fmla="*/ 0 w 1698"/>
                <a:gd name="T83" fmla="*/ 24 h 1464"/>
                <a:gd name="T84" fmla="*/ 11 w 1698"/>
                <a:gd name="T85" fmla="*/ 18 h 1464"/>
                <a:gd name="T86" fmla="*/ 19 w 1698"/>
                <a:gd name="T87" fmla="*/ 10 h 1464"/>
                <a:gd name="T88" fmla="*/ 28 w 1698"/>
                <a:gd name="T89" fmla="*/ 9 h 1464"/>
                <a:gd name="T90" fmla="*/ 40 w 1698"/>
                <a:gd name="T91" fmla="*/ 6 h 1464"/>
                <a:gd name="T92" fmla="*/ 49 w 1698"/>
                <a:gd name="T93" fmla="*/ 8 h 1464"/>
                <a:gd name="T94" fmla="*/ 56 w 1698"/>
                <a:gd name="T95" fmla="*/ 8 h 1464"/>
                <a:gd name="T96" fmla="*/ 64 w 1698"/>
                <a:gd name="T97" fmla="*/ 7 h 1464"/>
                <a:gd name="T98" fmla="*/ 74 w 1698"/>
                <a:gd name="T99" fmla="*/ 1 h 1464"/>
                <a:gd name="T100" fmla="*/ 83 w 1698"/>
                <a:gd name="T101" fmla="*/ 3 h 1464"/>
                <a:gd name="T102" fmla="*/ 99 w 1698"/>
                <a:gd name="T103" fmla="*/ 9 h 1464"/>
                <a:gd name="T104" fmla="*/ 112 w 1698"/>
                <a:gd name="T105" fmla="*/ 14 h 1464"/>
                <a:gd name="T106" fmla="*/ 119 w 1698"/>
                <a:gd name="T107" fmla="*/ 12 h 1464"/>
                <a:gd name="T108" fmla="*/ 128 w 1698"/>
                <a:gd name="T109" fmla="*/ 17 h 1464"/>
                <a:gd name="T110" fmla="*/ 141 w 1698"/>
                <a:gd name="T111" fmla="*/ 29 h 1464"/>
                <a:gd name="T112" fmla="*/ 145 w 1698"/>
                <a:gd name="T113" fmla="*/ 35 h 14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98"/>
                <a:gd name="T172" fmla="*/ 0 h 1464"/>
                <a:gd name="T173" fmla="*/ 1698 w 1698"/>
                <a:gd name="T174" fmla="*/ 1464 h 14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98" h="1464">
                  <a:moveTo>
                    <a:pt x="1698" y="462"/>
                  </a:moveTo>
                  <a:lnTo>
                    <a:pt x="1686" y="468"/>
                  </a:lnTo>
                  <a:lnTo>
                    <a:pt x="1680" y="474"/>
                  </a:lnTo>
                  <a:lnTo>
                    <a:pt x="1674" y="480"/>
                  </a:lnTo>
                  <a:lnTo>
                    <a:pt x="1668" y="480"/>
                  </a:lnTo>
                  <a:lnTo>
                    <a:pt x="1662" y="486"/>
                  </a:lnTo>
                  <a:lnTo>
                    <a:pt x="1656" y="492"/>
                  </a:lnTo>
                  <a:lnTo>
                    <a:pt x="1644" y="498"/>
                  </a:lnTo>
                  <a:lnTo>
                    <a:pt x="1626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0" y="516"/>
                  </a:lnTo>
                  <a:lnTo>
                    <a:pt x="1590" y="522"/>
                  </a:lnTo>
                  <a:lnTo>
                    <a:pt x="1566" y="522"/>
                  </a:lnTo>
                  <a:lnTo>
                    <a:pt x="1506" y="510"/>
                  </a:lnTo>
                  <a:lnTo>
                    <a:pt x="1500" y="510"/>
                  </a:lnTo>
                  <a:lnTo>
                    <a:pt x="1488" y="504"/>
                  </a:lnTo>
                  <a:lnTo>
                    <a:pt x="1482" y="498"/>
                  </a:lnTo>
                  <a:lnTo>
                    <a:pt x="1476" y="498"/>
                  </a:lnTo>
                  <a:lnTo>
                    <a:pt x="1476" y="492"/>
                  </a:lnTo>
                  <a:lnTo>
                    <a:pt x="1470" y="492"/>
                  </a:lnTo>
                  <a:lnTo>
                    <a:pt x="1464" y="486"/>
                  </a:lnTo>
                  <a:lnTo>
                    <a:pt x="1452" y="486"/>
                  </a:lnTo>
                  <a:lnTo>
                    <a:pt x="1446" y="474"/>
                  </a:lnTo>
                  <a:lnTo>
                    <a:pt x="1434" y="468"/>
                  </a:lnTo>
                  <a:lnTo>
                    <a:pt x="1416" y="468"/>
                  </a:lnTo>
                  <a:lnTo>
                    <a:pt x="1392" y="468"/>
                  </a:lnTo>
                  <a:lnTo>
                    <a:pt x="1374" y="474"/>
                  </a:lnTo>
                  <a:lnTo>
                    <a:pt x="1368" y="474"/>
                  </a:lnTo>
                  <a:lnTo>
                    <a:pt x="1368" y="486"/>
                  </a:lnTo>
                  <a:lnTo>
                    <a:pt x="1368" y="498"/>
                  </a:lnTo>
                  <a:lnTo>
                    <a:pt x="1368" y="522"/>
                  </a:lnTo>
                  <a:lnTo>
                    <a:pt x="1368" y="534"/>
                  </a:lnTo>
                  <a:lnTo>
                    <a:pt x="1362" y="546"/>
                  </a:lnTo>
                  <a:lnTo>
                    <a:pt x="1356" y="546"/>
                  </a:lnTo>
                  <a:lnTo>
                    <a:pt x="1344" y="540"/>
                  </a:lnTo>
                  <a:lnTo>
                    <a:pt x="1338" y="534"/>
                  </a:lnTo>
                  <a:lnTo>
                    <a:pt x="1308" y="522"/>
                  </a:lnTo>
                  <a:lnTo>
                    <a:pt x="1296" y="522"/>
                  </a:lnTo>
                  <a:lnTo>
                    <a:pt x="1278" y="528"/>
                  </a:lnTo>
                  <a:lnTo>
                    <a:pt x="1260" y="534"/>
                  </a:lnTo>
                  <a:lnTo>
                    <a:pt x="1242" y="546"/>
                  </a:lnTo>
                  <a:lnTo>
                    <a:pt x="1236" y="552"/>
                  </a:lnTo>
                  <a:lnTo>
                    <a:pt x="1224" y="558"/>
                  </a:lnTo>
                  <a:lnTo>
                    <a:pt x="1218" y="558"/>
                  </a:lnTo>
                  <a:lnTo>
                    <a:pt x="1218" y="564"/>
                  </a:lnTo>
                  <a:lnTo>
                    <a:pt x="1224" y="570"/>
                  </a:lnTo>
                  <a:lnTo>
                    <a:pt x="1224" y="582"/>
                  </a:lnTo>
                  <a:lnTo>
                    <a:pt x="1224" y="594"/>
                  </a:lnTo>
                  <a:lnTo>
                    <a:pt x="1212" y="618"/>
                  </a:lnTo>
                  <a:lnTo>
                    <a:pt x="1212" y="624"/>
                  </a:lnTo>
                  <a:lnTo>
                    <a:pt x="1212" y="630"/>
                  </a:lnTo>
                  <a:lnTo>
                    <a:pt x="1212" y="636"/>
                  </a:lnTo>
                  <a:lnTo>
                    <a:pt x="1218" y="654"/>
                  </a:lnTo>
                  <a:lnTo>
                    <a:pt x="1224" y="672"/>
                  </a:lnTo>
                  <a:lnTo>
                    <a:pt x="1230" y="696"/>
                  </a:lnTo>
                  <a:lnTo>
                    <a:pt x="1236" y="708"/>
                  </a:lnTo>
                  <a:lnTo>
                    <a:pt x="1236" y="714"/>
                  </a:lnTo>
                  <a:lnTo>
                    <a:pt x="1236" y="720"/>
                  </a:lnTo>
                  <a:lnTo>
                    <a:pt x="1218" y="726"/>
                  </a:lnTo>
                  <a:lnTo>
                    <a:pt x="1212" y="726"/>
                  </a:lnTo>
                  <a:lnTo>
                    <a:pt x="1206" y="726"/>
                  </a:lnTo>
                  <a:lnTo>
                    <a:pt x="1194" y="720"/>
                  </a:lnTo>
                  <a:lnTo>
                    <a:pt x="1194" y="714"/>
                  </a:lnTo>
                  <a:lnTo>
                    <a:pt x="1176" y="714"/>
                  </a:lnTo>
                  <a:lnTo>
                    <a:pt x="1164" y="708"/>
                  </a:lnTo>
                  <a:lnTo>
                    <a:pt x="1158" y="708"/>
                  </a:lnTo>
                  <a:lnTo>
                    <a:pt x="1140" y="702"/>
                  </a:lnTo>
                  <a:lnTo>
                    <a:pt x="1134" y="696"/>
                  </a:lnTo>
                  <a:lnTo>
                    <a:pt x="1128" y="690"/>
                  </a:lnTo>
                  <a:lnTo>
                    <a:pt x="1116" y="678"/>
                  </a:lnTo>
                  <a:lnTo>
                    <a:pt x="1110" y="678"/>
                  </a:lnTo>
                  <a:lnTo>
                    <a:pt x="1104" y="672"/>
                  </a:lnTo>
                  <a:lnTo>
                    <a:pt x="1092" y="672"/>
                  </a:lnTo>
                  <a:lnTo>
                    <a:pt x="1086" y="672"/>
                  </a:lnTo>
                  <a:lnTo>
                    <a:pt x="1080" y="672"/>
                  </a:lnTo>
                  <a:lnTo>
                    <a:pt x="1074" y="672"/>
                  </a:lnTo>
                  <a:lnTo>
                    <a:pt x="1068" y="672"/>
                  </a:lnTo>
                  <a:lnTo>
                    <a:pt x="1062" y="678"/>
                  </a:lnTo>
                  <a:lnTo>
                    <a:pt x="1056" y="678"/>
                  </a:lnTo>
                  <a:lnTo>
                    <a:pt x="1056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6"/>
                  </a:lnTo>
                  <a:lnTo>
                    <a:pt x="1032" y="708"/>
                  </a:lnTo>
                  <a:lnTo>
                    <a:pt x="1026" y="708"/>
                  </a:lnTo>
                  <a:lnTo>
                    <a:pt x="1032" y="714"/>
                  </a:lnTo>
                  <a:lnTo>
                    <a:pt x="1026" y="720"/>
                  </a:lnTo>
                  <a:lnTo>
                    <a:pt x="1020" y="720"/>
                  </a:lnTo>
                  <a:lnTo>
                    <a:pt x="1014" y="732"/>
                  </a:lnTo>
                  <a:lnTo>
                    <a:pt x="1014" y="744"/>
                  </a:lnTo>
                  <a:lnTo>
                    <a:pt x="1038" y="810"/>
                  </a:lnTo>
                  <a:lnTo>
                    <a:pt x="1050" y="834"/>
                  </a:lnTo>
                  <a:lnTo>
                    <a:pt x="1056" y="858"/>
                  </a:lnTo>
                  <a:lnTo>
                    <a:pt x="1062" y="876"/>
                  </a:lnTo>
                  <a:lnTo>
                    <a:pt x="1068" y="882"/>
                  </a:lnTo>
                  <a:lnTo>
                    <a:pt x="1062" y="972"/>
                  </a:lnTo>
                  <a:lnTo>
                    <a:pt x="1056" y="972"/>
                  </a:lnTo>
                  <a:lnTo>
                    <a:pt x="1050" y="996"/>
                  </a:lnTo>
                  <a:lnTo>
                    <a:pt x="1044" y="1014"/>
                  </a:lnTo>
                  <a:lnTo>
                    <a:pt x="1008" y="1014"/>
                  </a:lnTo>
                  <a:lnTo>
                    <a:pt x="1008" y="1008"/>
                  </a:lnTo>
                  <a:lnTo>
                    <a:pt x="990" y="1008"/>
                  </a:lnTo>
                  <a:lnTo>
                    <a:pt x="972" y="1014"/>
                  </a:lnTo>
                  <a:lnTo>
                    <a:pt x="948" y="1020"/>
                  </a:lnTo>
                  <a:lnTo>
                    <a:pt x="918" y="1026"/>
                  </a:lnTo>
                  <a:lnTo>
                    <a:pt x="840" y="1032"/>
                  </a:lnTo>
                  <a:lnTo>
                    <a:pt x="834" y="1032"/>
                  </a:lnTo>
                  <a:lnTo>
                    <a:pt x="834" y="1026"/>
                  </a:lnTo>
                  <a:lnTo>
                    <a:pt x="822" y="1026"/>
                  </a:lnTo>
                  <a:lnTo>
                    <a:pt x="816" y="1032"/>
                  </a:lnTo>
                  <a:lnTo>
                    <a:pt x="804" y="1032"/>
                  </a:lnTo>
                  <a:lnTo>
                    <a:pt x="798" y="1026"/>
                  </a:lnTo>
                  <a:lnTo>
                    <a:pt x="780" y="1026"/>
                  </a:lnTo>
                  <a:lnTo>
                    <a:pt x="762" y="1026"/>
                  </a:lnTo>
                  <a:lnTo>
                    <a:pt x="756" y="1026"/>
                  </a:lnTo>
                  <a:lnTo>
                    <a:pt x="750" y="1026"/>
                  </a:lnTo>
                  <a:lnTo>
                    <a:pt x="756" y="1020"/>
                  </a:lnTo>
                  <a:lnTo>
                    <a:pt x="750" y="1020"/>
                  </a:lnTo>
                  <a:lnTo>
                    <a:pt x="744" y="1014"/>
                  </a:lnTo>
                  <a:lnTo>
                    <a:pt x="684" y="1020"/>
                  </a:lnTo>
                  <a:lnTo>
                    <a:pt x="648" y="1020"/>
                  </a:lnTo>
                  <a:lnTo>
                    <a:pt x="630" y="1020"/>
                  </a:lnTo>
                  <a:lnTo>
                    <a:pt x="618" y="1020"/>
                  </a:lnTo>
                  <a:lnTo>
                    <a:pt x="606" y="1014"/>
                  </a:lnTo>
                  <a:lnTo>
                    <a:pt x="582" y="1014"/>
                  </a:lnTo>
                  <a:lnTo>
                    <a:pt x="576" y="1014"/>
                  </a:lnTo>
                  <a:lnTo>
                    <a:pt x="570" y="1014"/>
                  </a:lnTo>
                  <a:lnTo>
                    <a:pt x="564" y="1020"/>
                  </a:lnTo>
                  <a:lnTo>
                    <a:pt x="558" y="1026"/>
                  </a:lnTo>
                  <a:lnTo>
                    <a:pt x="552" y="1032"/>
                  </a:lnTo>
                  <a:lnTo>
                    <a:pt x="552" y="1038"/>
                  </a:lnTo>
                  <a:lnTo>
                    <a:pt x="558" y="1194"/>
                  </a:lnTo>
                  <a:lnTo>
                    <a:pt x="558" y="1206"/>
                  </a:lnTo>
                  <a:lnTo>
                    <a:pt x="552" y="1218"/>
                  </a:lnTo>
                  <a:lnTo>
                    <a:pt x="552" y="1236"/>
                  </a:lnTo>
                  <a:lnTo>
                    <a:pt x="546" y="1272"/>
                  </a:lnTo>
                  <a:lnTo>
                    <a:pt x="546" y="1308"/>
                  </a:lnTo>
                  <a:lnTo>
                    <a:pt x="540" y="1332"/>
                  </a:lnTo>
                  <a:lnTo>
                    <a:pt x="546" y="1356"/>
                  </a:lnTo>
                  <a:lnTo>
                    <a:pt x="546" y="1362"/>
                  </a:lnTo>
                  <a:lnTo>
                    <a:pt x="546" y="1374"/>
                  </a:lnTo>
                  <a:lnTo>
                    <a:pt x="546" y="1380"/>
                  </a:lnTo>
                  <a:lnTo>
                    <a:pt x="540" y="1380"/>
                  </a:lnTo>
                  <a:lnTo>
                    <a:pt x="522" y="1380"/>
                  </a:lnTo>
                  <a:lnTo>
                    <a:pt x="516" y="1380"/>
                  </a:lnTo>
                  <a:lnTo>
                    <a:pt x="516" y="1386"/>
                  </a:lnTo>
                  <a:lnTo>
                    <a:pt x="516" y="1392"/>
                  </a:lnTo>
                  <a:lnTo>
                    <a:pt x="510" y="1392"/>
                  </a:lnTo>
                  <a:lnTo>
                    <a:pt x="504" y="1386"/>
                  </a:lnTo>
                  <a:lnTo>
                    <a:pt x="498" y="1392"/>
                  </a:lnTo>
                  <a:lnTo>
                    <a:pt x="492" y="1398"/>
                  </a:lnTo>
                  <a:lnTo>
                    <a:pt x="486" y="1398"/>
                  </a:lnTo>
                  <a:lnTo>
                    <a:pt x="486" y="1392"/>
                  </a:lnTo>
                  <a:lnTo>
                    <a:pt x="486" y="1380"/>
                  </a:lnTo>
                  <a:lnTo>
                    <a:pt x="486" y="1374"/>
                  </a:lnTo>
                  <a:lnTo>
                    <a:pt x="480" y="1374"/>
                  </a:lnTo>
                  <a:lnTo>
                    <a:pt x="474" y="1374"/>
                  </a:lnTo>
                  <a:lnTo>
                    <a:pt x="468" y="1380"/>
                  </a:lnTo>
                  <a:lnTo>
                    <a:pt x="462" y="1380"/>
                  </a:lnTo>
                  <a:lnTo>
                    <a:pt x="456" y="1380"/>
                  </a:lnTo>
                  <a:lnTo>
                    <a:pt x="450" y="1386"/>
                  </a:lnTo>
                  <a:lnTo>
                    <a:pt x="444" y="1386"/>
                  </a:lnTo>
                  <a:lnTo>
                    <a:pt x="444" y="1392"/>
                  </a:lnTo>
                  <a:lnTo>
                    <a:pt x="432" y="1398"/>
                  </a:lnTo>
                  <a:lnTo>
                    <a:pt x="426" y="1404"/>
                  </a:lnTo>
                  <a:lnTo>
                    <a:pt x="420" y="1404"/>
                  </a:lnTo>
                  <a:lnTo>
                    <a:pt x="408" y="1404"/>
                  </a:lnTo>
                  <a:lnTo>
                    <a:pt x="378" y="1410"/>
                  </a:lnTo>
                  <a:lnTo>
                    <a:pt x="372" y="1410"/>
                  </a:lnTo>
                  <a:lnTo>
                    <a:pt x="360" y="1410"/>
                  </a:lnTo>
                  <a:lnTo>
                    <a:pt x="354" y="1416"/>
                  </a:lnTo>
                  <a:lnTo>
                    <a:pt x="348" y="1416"/>
                  </a:lnTo>
                  <a:lnTo>
                    <a:pt x="342" y="1410"/>
                  </a:lnTo>
                  <a:lnTo>
                    <a:pt x="336" y="1410"/>
                  </a:lnTo>
                  <a:lnTo>
                    <a:pt x="336" y="1416"/>
                  </a:lnTo>
                  <a:lnTo>
                    <a:pt x="330" y="1422"/>
                  </a:lnTo>
                  <a:lnTo>
                    <a:pt x="324" y="1422"/>
                  </a:lnTo>
                  <a:lnTo>
                    <a:pt x="318" y="1422"/>
                  </a:lnTo>
                  <a:lnTo>
                    <a:pt x="312" y="1428"/>
                  </a:lnTo>
                  <a:lnTo>
                    <a:pt x="312" y="1434"/>
                  </a:lnTo>
                  <a:lnTo>
                    <a:pt x="300" y="1428"/>
                  </a:lnTo>
                  <a:lnTo>
                    <a:pt x="288" y="1434"/>
                  </a:lnTo>
                  <a:lnTo>
                    <a:pt x="282" y="1440"/>
                  </a:lnTo>
                  <a:lnTo>
                    <a:pt x="282" y="1446"/>
                  </a:lnTo>
                  <a:lnTo>
                    <a:pt x="276" y="1446"/>
                  </a:lnTo>
                  <a:lnTo>
                    <a:pt x="276" y="1452"/>
                  </a:lnTo>
                  <a:lnTo>
                    <a:pt x="270" y="1452"/>
                  </a:lnTo>
                  <a:lnTo>
                    <a:pt x="258" y="1464"/>
                  </a:lnTo>
                  <a:lnTo>
                    <a:pt x="240" y="1458"/>
                  </a:lnTo>
                  <a:lnTo>
                    <a:pt x="234" y="1452"/>
                  </a:lnTo>
                  <a:lnTo>
                    <a:pt x="234" y="1446"/>
                  </a:lnTo>
                  <a:lnTo>
                    <a:pt x="228" y="1446"/>
                  </a:lnTo>
                  <a:lnTo>
                    <a:pt x="222" y="1440"/>
                  </a:lnTo>
                  <a:lnTo>
                    <a:pt x="216" y="1440"/>
                  </a:lnTo>
                  <a:lnTo>
                    <a:pt x="210" y="1428"/>
                  </a:lnTo>
                  <a:lnTo>
                    <a:pt x="210" y="1422"/>
                  </a:lnTo>
                  <a:lnTo>
                    <a:pt x="198" y="1416"/>
                  </a:lnTo>
                  <a:lnTo>
                    <a:pt x="204" y="1410"/>
                  </a:lnTo>
                  <a:lnTo>
                    <a:pt x="210" y="1404"/>
                  </a:lnTo>
                  <a:lnTo>
                    <a:pt x="210" y="1398"/>
                  </a:lnTo>
                  <a:lnTo>
                    <a:pt x="252" y="1368"/>
                  </a:lnTo>
                  <a:lnTo>
                    <a:pt x="276" y="1350"/>
                  </a:lnTo>
                  <a:lnTo>
                    <a:pt x="300" y="1338"/>
                  </a:lnTo>
                  <a:lnTo>
                    <a:pt x="294" y="1314"/>
                  </a:lnTo>
                  <a:lnTo>
                    <a:pt x="288" y="1308"/>
                  </a:lnTo>
                  <a:lnTo>
                    <a:pt x="300" y="1266"/>
                  </a:lnTo>
                  <a:lnTo>
                    <a:pt x="300" y="1242"/>
                  </a:lnTo>
                  <a:lnTo>
                    <a:pt x="300" y="1206"/>
                  </a:lnTo>
                  <a:lnTo>
                    <a:pt x="300" y="1164"/>
                  </a:lnTo>
                  <a:lnTo>
                    <a:pt x="294" y="1134"/>
                  </a:lnTo>
                  <a:lnTo>
                    <a:pt x="282" y="1086"/>
                  </a:lnTo>
                  <a:lnTo>
                    <a:pt x="276" y="1074"/>
                  </a:lnTo>
                  <a:lnTo>
                    <a:pt x="276" y="1056"/>
                  </a:lnTo>
                  <a:lnTo>
                    <a:pt x="270" y="1038"/>
                  </a:lnTo>
                  <a:lnTo>
                    <a:pt x="270" y="1020"/>
                  </a:lnTo>
                  <a:lnTo>
                    <a:pt x="282" y="1020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94" y="1002"/>
                  </a:lnTo>
                  <a:lnTo>
                    <a:pt x="306" y="996"/>
                  </a:lnTo>
                  <a:lnTo>
                    <a:pt x="312" y="990"/>
                  </a:lnTo>
                  <a:lnTo>
                    <a:pt x="318" y="990"/>
                  </a:lnTo>
                  <a:lnTo>
                    <a:pt x="324" y="984"/>
                  </a:lnTo>
                  <a:lnTo>
                    <a:pt x="324" y="978"/>
                  </a:lnTo>
                  <a:lnTo>
                    <a:pt x="324" y="972"/>
                  </a:lnTo>
                  <a:lnTo>
                    <a:pt x="324" y="954"/>
                  </a:lnTo>
                  <a:lnTo>
                    <a:pt x="336" y="948"/>
                  </a:lnTo>
                  <a:lnTo>
                    <a:pt x="342" y="936"/>
                  </a:lnTo>
                  <a:lnTo>
                    <a:pt x="348" y="924"/>
                  </a:lnTo>
                  <a:lnTo>
                    <a:pt x="354" y="924"/>
                  </a:lnTo>
                  <a:lnTo>
                    <a:pt x="372" y="924"/>
                  </a:lnTo>
                  <a:lnTo>
                    <a:pt x="372" y="930"/>
                  </a:lnTo>
                  <a:lnTo>
                    <a:pt x="378" y="930"/>
                  </a:lnTo>
                  <a:lnTo>
                    <a:pt x="378" y="936"/>
                  </a:lnTo>
                  <a:lnTo>
                    <a:pt x="384" y="936"/>
                  </a:lnTo>
                  <a:lnTo>
                    <a:pt x="384" y="942"/>
                  </a:lnTo>
                  <a:lnTo>
                    <a:pt x="402" y="942"/>
                  </a:lnTo>
                  <a:lnTo>
                    <a:pt x="402" y="996"/>
                  </a:lnTo>
                  <a:lnTo>
                    <a:pt x="414" y="996"/>
                  </a:lnTo>
                  <a:lnTo>
                    <a:pt x="420" y="996"/>
                  </a:lnTo>
                  <a:lnTo>
                    <a:pt x="426" y="996"/>
                  </a:lnTo>
                  <a:lnTo>
                    <a:pt x="432" y="996"/>
                  </a:lnTo>
                  <a:lnTo>
                    <a:pt x="438" y="996"/>
                  </a:lnTo>
                  <a:lnTo>
                    <a:pt x="438" y="942"/>
                  </a:lnTo>
                  <a:lnTo>
                    <a:pt x="444" y="930"/>
                  </a:lnTo>
                  <a:lnTo>
                    <a:pt x="444" y="924"/>
                  </a:lnTo>
                  <a:lnTo>
                    <a:pt x="444" y="918"/>
                  </a:lnTo>
                  <a:lnTo>
                    <a:pt x="462" y="918"/>
                  </a:lnTo>
                  <a:lnTo>
                    <a:pt x="474" y="906"/>
                  </a:lnTo>
                  <a:lnTo>
                    <a:pt x="480" y="900"/>
                  </a:lnTo>
                  <a:lnTo>
                    <a:pt x="486" y="888"/>
                  </a:lnTo>
                  <a:lnTo>
                    <a:pt x="492" y="876"/>
                  </a:lnTo>
                  <a:lnTo>
                    <a:pt x="492" y="858"/>
                  </a:lnTo>
                  <a:lnTo>
                    <a:pt x="480" y="858"/>
                  </a:lnTo>
                  <a:lnTo>
                    <a:pt x="474" y="840"/>
                  </a:lnTo>
                  <a:lnTo>
                    <a:pt x="450" y="834"/>
                  </a:lnTo>
                  <a:lnTo>
                    <a:pt x="438" y="816"/>
                  </a:lnTo>
                  <a:lnTo>
                    <a:pt x="432" y="792"/>
                  </a:lnTo>
                  <a:lnTo>
                    <a:pt x="432" y="786"/>
                  </a:lnTo>
                  <a:lnTo>
                    <a:pt x="432" y="774"/>
                  </a:lnTo>
                  <a:lnTo>
                    <a:pt x="432" y="762"/>
                  </a:lnTo>
                  <a:lnTo>
                    <a:pt x="438" y="750"/>
                  </a:lnTo>
                  <a:lnTo>
                    <a:pt x="438" y="738"/>
                  </a:lnTo>
                  <a:lnTo>
                    <a:pt x="444" y="732"/>
                  </a:lnTo>
                  <a:lnTo>
                    <a:pt x="450" y="732"/>
                  </a:lnTo>
                  <a:lnTo>
                    <a:pt x="456" y="732"/>
                  </a:lnTo>
                  <a:lnTo>
                    <a:pt x="456" y="726"/>
                  </a:lnTo>
                  <a:lnTo>
                    <a:pt x="456" y="714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44" y="684"/>
                  </a:lnTo>
                  <a:lnTo>
                    <a:pt x="438" y="666"/>
                  </a:lnTo>
                  <a:lnTo>
                    <a:pt x="426" y="666"/>
                  </a:lnTo>
                  <a:lnTo>
                    <a:pt x="432" y="666"/>
                  </a:lnTo>
                  <a:lnTo>
                    <a:pt x="420" y="666"/>
                  </a:lnTo>
                  <a:lnTo>
                    <a:pt x="414" y="660"/>
                  </a:lnTo>
                  <a:lnTo>
                    <a:pt x="396" y="654"/>
                  </a:lnTo>
                  <a:lnTo>
                    <a:pt x="384" y="642"/>
                  </a:lnTo>
                  <a:lnTo>
                    <a:pt x="366" y="624"/>
                  </a:lnTo>
                  <a:lnTo>
                    <a:pt x="354" y="606"/>
                  </a:lnTo>
                  <a:lnTo>
                    <a:pt x="342" y="588"/>
                  </a:lnTo>
                  <a:lnTo>
                    <a:pt x="342" y="582"/>
                  </a:lnTo>
                  <a:lnTo>
                    <a:pt x="360" y="564"/>
                  </a:lnTo>
                  <a:lnTo>
                    <a:pt x="372" y="540"/>
                  </a:lnTo>
                  <a:lnTo>
                    <a:pt x="366" y="528"/>
                  </a:lnTo>
                  <a:lnTo>
                    <a:pt x="366" y="522"/>
                  </a:lnTo>
                  <a:lnTo>
                    <a:pt x="372" y="516"/>
                  </a:lnTo>
                  <a:lnTo>
                    <a:pt x="384" y="504"/>
                  </a:lnTo>
                  <a:lnTo>
                    <a:pt x="378" y="492"/>
                  </a:lnTo>
                  <a:lnTo>
                    <a:pt x="378" y="486"/>
                  </a:lnTo>
                  <a:lnTo>
                    <a:pt x="378" y="480"/>
                  </a:lnTo>
                  <a:lnTo>
                    <a:pt x="378" y="474"/>
                  </a:lnTo>
                  <a:lnTo>
                    <a:pt x="378" y="468"/>
                  </a:lnTo>
                  <a:lnTo>
                    <a:pt x="366" y="468"/>
                  </a:lnTo>
                  <a:lnTo>
                    <a:pt x="360" y="474"/>
                  </a:lnTo>
                  <a:lnTo>
                    <a:pt x="354" y="480"/>
                  </a:lnTo>
                  <a:lnTo>
                    <a:pt x="348" y="486"/>
                  </a:lnTo>
                  <a:lnTo>
                    <a:pt x="348" y="492"/>
                  </a:lnTo>
                  <a:lnTo>
                    <a:pt x="336" y="510"/>
                  </a:lnTo>
                  <a:lnTo>
                    <a:pt x="300" y="516"/>
                  </a:lnTo>
                  <a:lnTo>
                    <a:pt x="300" y="510"/>
                  </a:lnTo>
                  <a:lnTo>
                    <a:pt x="282" y="504"/>
                  </a:lnTo>
                  <a:lnTo>
                    <a:pt x="282" y="498"/>
                  </a:lnTo>
                  <a:lnTo>
                    <a:pt x="264" y="486"/>
                  </a:lnTo>
                  <a:lnTo>
                    <a:pt x="258" y="492"/>
                  </a:lnTo>
                  <a:lnTo>
                    <a:pt x="234" y="492"/>
                  </a:lnTo>
                  <a:lnTo>
                    <a:pt x="222" y="486"/>
                  </a:lnTo>
                  <a:lnTo>
                    <a:pt x="204" y="480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92" y="462"/>
                  </a:lnTo>
                  <a:lnTo>
                    <a:pt x="186" y="462"/>
                  </a:lnTo>
                  <a:lnTo>
                    <a:pt x="180" y="468"/>
                  </a:lnTo>
                  <a:lnTo>
                    <a:pt x="150" y="450"/>
                  </a:lnTo>
                  <a:lnTo>
                    <a:pt x="144" y="438"/>
                  </a:lnTo>
                  <a:lnTo>
                    <a:pt x="138" y="438"/>
                  </a:lnTo>
                  <a:lnTo>
                    <a:pt x="132" y="432"/>
                  </a:lnTo>
                  <a:lnTo>
                    <a:pt x="126" y="432"/>
                  </a:lnTo>
                  <a:lnTo>
                    <a:pt x="120" y="432"/>
                  </a:lnTo>
                  <a:lnTo>
                    <a:pt x="102" y="426"/>
                  </a:lnTo>
                  <a:lnTo>
                    <a:pt x="96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2" y="414"/>
                  </a:lnTo>
                  <a:lnTo>
                    <a:pt x="60" y="414"/>
                  </a:lnTo>
                  <a:lnTo>
                    <a:pt x="30" y="414"/>
                  </a:lnTo>
                  <a:lnTo>
                    <a:pt x="24" y="414"/>
                  </a:lnTo>
                  <a:lnTo>
                    <a:pt x="12" y="414"/>
                  </a:lnTo>
                  <a:lnTo>
                    <a:pt x="0" y="420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0" y="336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30" y="270"/>
                  </a:lnTo>
                  <a:lnTo>
                    <a:pt x="42" y="270"/>
                  </a:lnTo>
                  <a:lnTo>
                    <a:pt x="54" y="264"/>
                  </a:lnTo>
                  <a:lnTo>
                    <a:pt x="78" y="240"/>
                  </a:lnTo>
                  <a:lnTo>
                    <a:pt x="102" y="216"/>
                  </a:lnTo>
                  <a:lnTo>
                    <a:pt x="114" y="210"/>
                  </a:lnTo>
                  <a:lnTo>
                    <a:pt x="120" y="204"/>
                  </a:lnTo>
                  <a:lnTo>
                    <a:pt x="126" y="198"/>
                  </a:lnTo>
                  <a:lnTo>
                    <a:pt x="138" y="18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38"/>
                  </a:lnTo>
                  <a:lnTo>
                    <a:pt x="210" y="126"/>
                  </a:lnTo>
                  <a:lnTo>
                    <a:pt x="216" y="120"/>
                  </a:lnTo>
                  <a:lnTo>
                    <a:pt x="222" y="120"/>
                  </a:lnTo>
                  <a:lnTo>
                    <a:pt x="258" y="114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300" y="102"/>
                  </a:lnTo>
                  <a:lnTo>
                    <a:pt x="312" y="102"/>
                  </a:lnTo>
                  <a:lnTo>
                    <a:pt x="318" y="102"/>
                  </a:lnTo>
                  <a:lnTo>
                    <a:pt x="348" y="96"/>
                  </a:lnTo>
                  <a:lnTo>
                    <a:pt x="366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408" y="84"/>
                  </a:lnTo>
                  <a:lnTo>
                    <a:pt x="420" y="84"/>
                  </a:lnTo>
                  <a:lnTo>
                    <a:pt x="462" y="72"/>
                  </a:lnTo>
                  <a:lnTo>
                    <a:pt x="474" y="72"/>
                  </a:lnTo>
                  <a:lnTo>
                    <a:pt x="474" y="78"/>
                  </a:lnTo>
                  <a:lnTo>
                    <a:pt x="492" y="90"/>
                  </a:lnTo>
                  <a:lnTo>
                    <a:pt x="498" y="90"/>
                  </a:lnTo>
                  <a:lnTo>
                    <a:pt x="522" y="96"/>
                  </a:lnTo>
                  <a:lnTo>
                    <a:pt x="540" y="96"/>
                  </a:lnTo>
                  <a:lnTo>
                    <a:pt x="546" y="96"/>
                  </a:lnTo>
                  <a:lnTo>
                    <a:pt x="558" y="96"/>
                  </a:lnTo>
                  <a:lnTo>
                    <a:pt x="564" y="96"/>
                  </a:lnTo>
                  <a:lnTo>
                    <a:pt x="576" y="96"/>
                  </a:lnTo>
                  <a:lnTo>
                    <a:pt x="588" y="96"/>
                  </a:lnTo>
                  <a:lnTo>
                    <a:pt x="612" y="90"/>
                  </a:lnTo>
                  <a:lnTo>
                    <a:pt x="624" y="90"/>
                  </a:lnTo>
                  <a:lnTo>
                    <a:pt x="636" y="90"/>
                  </a:lnTo>
                  <a:lnTo>
                    <a:pt x="642" y="90"/>
                  </a:lnTo>
                  <a:lnTo>
                    <a:pt x="648" y="96"/>
                  </a:lnTo>
                  <a:lnTo>
                    <a:pt x="660" y="96"/>
                  </a:lnTo>
                  <a:lnTo>
                    <a:pt x="666" y="96"/>
                  </a:lnTo>
                  <a:lnTo>
                    <a:pt x="672" y="96"/>
                  </a:lnTo>
                  <a:lnTo>
                    <a:pt x="684" y="96"/>
                  </a:lnTo>
                  <a:lnTo>
                    <a:pt x="708" y="96"/>
                  </a:lnTo>
                  <a:lnTo>
                    <a:pt x="714" y="96"/>
                  </a:lnTo>
                  <a:lnTo>
                    <a:pt x="726" y="96"/>
                  </a:lnTo>
                  <a:lnTo>
                    <a:pt x="738" y="84"/>
                  </a:lnTo>
                  <a:lnTo>
                    <a:pt x="744" y="78"/>
                  </a:lnTo>
                  <a:lnTo>
                    <a:pt x="756" y="66"/>
                  </a:lnTo>
                  <a:lnTo>
                    <a:pt x="774" y="42"/>
                  </a:lnTo>
                  <a:lnTo>
                    <a:pt x="780" y="30"/>
                  </a:lnTo>
                  <a:lnTo>
                    <a:pt x="816" y="24"/>
                  </a:lnTo>
                  <a:lnTo>
                    <a:pt x="840" y="18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64" y="6"/>
                  </a:lnTo>
                  <a:lnTo>
                    <a:pt x="870" y="6"/>
                  </a:lnTo>
                  <a:lnTo>
                    <a:pt x="894" y="0"/>
                  </a:lnTo>
                  <a:lnTo>
                    <a:pt x="900" y="6"/>
                  </a:lnTo>
                  <a:lnTo>
                    <a:pt x="930" y="18"/>
                  </a:lnTo>
                  <a:lnTo>
                    <a:pt x="942" y="24"/>
                  </a:lnTo>
                  <a:lnTo>
                    <a:pt x="954" y="30"/>
                  </a:lnTo>
                  <a:lnTo>
                    <a:pt x="1026" y="60"/>
                  </a:lnTo>
                  <a:lnTo>
                    <a:pt x="1032" y="60"/>
                  </a:lnTo>
                  <a:lnTo>
                    <a:pt x="1038" y="66"/>
                  </a:lnTo>
                  <a:lnTo>
                    <a:pt x="1068" y="72"/>
                  </a:lnTo>
                  <a:lnTo>
                    <a:pt x="1098" y="84"/>
                  </a:lnTo>
                  <a:lnTo>
                    <a:pt x="1122" y="90"/>
                  </a:lnTo>
                  <a:lnTo>
                    <a:pt x="1122" y="96"/>
                  </a:lnTo>
                  <a:lnTo>
                    <a:pt x="1140" y="102"/>
                  </a:lnTo>
                  <a:lnTo>
                    <a:pt x="1182" y="114"/>
                  </a:lnTo>
                  <a:lnTo>
                    <a:pt x="1188" y="114"/>
                  </a:lnTo>
                  <a:lnTo>
                    <a:pt x="1200" y="120"/>
                  </a:lnTo>
                  <a:lnTo>
                    <a:pt x="1212" y="126"/>
                  </a:lnTo>
                  <a:lnTo>
                    <a:pt x="1224" y="126"/>
                  </a:lnTo>
                  <a:lnTo>
                    <a:pt x="1248" y="138"/>
                  </a:lnTo>
                  <a:lnTo>
                    <a:pt x="1272" y="150"/>
                  </a:lnTo>
                  <a:lnTo>
                    <a:pt x="1284" y="156"/>
                  </a:lnTo>
                  <a:lnTo>
                    <a:pt x="1290" y="162"/>
                  </a:lnTo>
                  <a:lnTo>
                    <a:pt x="1296" y="162"/>
                  </a:lnTo>
                  <a:lnTo>
                    <a:pt x="1308" y="156"/>
                  </a:lnTo>
                  <a:lnTo>
                    <a:pt x="1320" y="150"/>
                  </a:lnTo>
                  <a:lnTo>
                    <a:pt x="1326" y="150"/>
                  </a:lnTo>
                  <a:lnTo>
                    <a:pt x="1338" y="144"/>
                  </a:lnTo>
                  <a:lnTo>
                    <a:pt x="1362" y="144"/>
                  </a:lnTo>
                  <a:lnTo>
                    <a:pt x="1368" y="144"/>
                  </a:lnTo>
                  <a:lnTo>
                    <a:pt x="1374" y="144"/>
                  </a:lnTo>
                  <a:lnTo>
                    <a:pt x="1386" y="150"/>
                  </a:lnTo>
                  <a:lnTo>
                    <a:pt x="1392" y="150"/>
                  </a:lnTo>
                  <a:lnTo>
                    <a:pt x="1398" y="150"/>
                  </a:lnTo>
                  <a:lnTo>
                    <a:pt x="1416" y="162"/>
                  </a:lnTo>
                  <a:lnTo>
                    <a:pt x="1458" y="186"/>
                  </a:lnTo>
                  <a:lnTo>
                    <a:pt x="1464" y="186"/>
                  </a:lnTo>
                  <a:lnTo>
                    <a:pt x="1470" y="192"/>
                  </a:lnTo>
                  <a:lnTo>
                    <a:pt x="1482" y="204"/>
                  </a:lnTo>
                  <a:lnTo>
                    <a:pt x="1512" y="234"/>
                  </a:lnTo>
                  <a:lnTo>
                    <a:pt x="1554" y="276"/>
                  </a:lnTo>
                  <a:lnTo>
                    <a:pt x="1560" y="276"/>
                  </a:lnTo>
                  <a:lnTo>
                    <a:pt x="1566" y="282"/>
                  </a:lnTo>
                  <a:lnTo>
                    <a:pt x="1578" y="294"/>
                  </a:lnTo>
                  <a:lnTo>
                    <a:pt x="1602" y="318"/>
                  </a:lnTo>
                  <a:lnTo>
                    <a:pt x="1614" y="330"/>
                  </a:lnTo>
                  <a:lnTo>
                    <a:pt x="1620" y="336"/>
                  </a:lnTo>
                  <a:lnTo>
                    <a:pt x="1626" y="342"/>
                  </a:lnTo>
                  <a:lnTo>
                    <a:pt x="1632" y="354"/>
                  </a:lnTo>
                  <a:lnTo>
                    <a:pt x="1644" y="366"/>
                  </a:lnTo>
                  <a:lnTo>
                    <a:pt x="1650" y="378"/>
                  </a:lnTo>
                  <a:lnTo>
                    <a:pt x="1650" y="384"/>
                  </a:lnTo>
                  <a:lnTo>
                    <a:pt x="1656" y="384"/>
                  </a:lnTo>
                  <a:lnTo>
                    <a:pt x="1662" y="402"/>
                  </a:lnTo>
                  <a:lnTo>
                    <a:pt x="1668" y="408"/>
                  </a:lnTo>
                  <a:lnTo>
                    <a:pt x="1674" y="426"/>
                  </a:lnTo>
                  <a:lnTo>
                    <a:pt x="1686" y="438"/>
                  </a:lnTo>
                  <a:lnTo>
                    <a:pt x="1698" y="46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9" name="Freeform 34">
              <a:extLst>
                <a:ext uri="{FF2B5EF4-FFF2-40B4-BE49-F238E27FC236}">
                  <a16:creationId xmlns:a16="http://schemas.microsoft.com/office/drawing/2014/main" id="{94603F24-8CF7-4226-A433-00D18CA7D9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1988" y="1681402"/>
              <a:ext cx="869877" cy="1060101"/>
            </a:xfrm>
            <a:custGeom>
              <a:avLst/>
              <a:gdLst>
                <a:gd name="T0" fmla="*/ 4 w 1638"/>
                <a:gd name="T1" fmla="*/ 111 h 1998"/>
                <a:gd name="T2" fmla="*/ 6 w 1638"/>
                <a:gd name="T3" fmla="*/ 87 h 1998"/>
                <a:gd name="T4" fmla="*/ 10 w 1638"/>
                <a:gd name="T5" fmla="*/ 80 h 1998"/>
                <a:gd name="T6" fmla="*/ 10 w 1638"/>
                <a:gd name="T7" fmla="*/ 71 h 1998"/>
                <a:gd name="T8" fmla="*/ 9 w 1638"/>
                <a:gd name="T9" fmla="*/ 56 h 1998"/>
                <a:gd name="T10" fmla="*/ 8 w 1638"/>
                <a:gd name="T11" fmla="*/ 40 h 1998"/>
                <a:gd name="T12" fmla="*/ 20 w 1638"/>
                <a:gd name="T13" fmla="*/ 30 h 1998"/>
                <a:gd name="T14" fmla="*/ 30 w 1638"/>
                <a:gd name="T15" fmla="*/ 19 h 1998"/>
                <a:gd name="T16" fmla="*/ 35 w 1638"/>
                <a:gd name="T17" fmla="*/ 2 h 1998"/>
                <a:gd name="T18" fmla="*/ 47 w 1638"/>
                <a:gd name="T19" fmla="*/ 2 h 1998"/>
                <a:gd name="T20" fmla="*/ 56 w 1638"/>
                <a:gd name="T21" fmla="*/ 7 h 1998"/>
                <a:gd name="T22" fmla="*/ 67 w 1638"/>
                <a:gd name="T23" fmla="*/ 5 h 1998"/>
                <a:gd name="T24" fmla="*/ 65 w 1638"/>
                <a:gd name="T25" fmla="*/ 15 h 1998"/>
                <a:gd name="T26" fmla="*/ 74 w 1638"/>
                <a:gd name="T27" fmla="*/ 24 h 1998"/>
                <a:gd name="T28" fmla="*/ 73 w 1638"/>
                <a:gd name="T29" fmla="*/ 33 h 1998"/>
                <a:gd name="T30" fmla="*/ 74 w 1638"/>
                <a:gd name="T31" fmla="*/ 44 h 1998"/>
                <a:gd name="T32" fmla="*/ 68 w 1638"/>
                <a:gd name="T33" fmla="*/ 45 h 1998"/>
                <a:gd name="T34" fmla="*/ 63 w 1638"/>
                <a:gd name="T35" fmla="*/ 50 h 1998"/>
                <a:gd name="T36" fmla="*/ 61 w 1638"/>
                <a:gd name="T37" fmla="*/ 62 h 1998"/>
                <a:gd name="T38" fmla="*/ 53 w 1638"/>
                <a:gd name="T39" fmla="*/ 86 h 1998"/>
                <a:gd name="T40" fmla="*/ 59 w 1638"/>
                <a:gd name="T41" fmla="*/ 90 h 1998"/>
                <a:gd name="T42" fmla="*/ 65 w 1638"/>
                <a:gd name="T43" fmla="*/ 86 h 1998"/>
                <a:gd name="T44" fmla="*/ 74 w 1638"/>
                <a:gd name="T45" fmla="*/ 84 h 1998"/>
                <a:gd name="T46" fmla="*/ 79 w 1638"/>
                <a:gd name="T47" fmla="*/ 85 h 1998"/>
                <a:gd name="T48" fmla="*/ 84 w 1638"/>
                <a:gd name="T49" fmla="*/ 84 h 1998"/>
                <a:gd name="T50" fmla="*/ 91 w 1638"/>
                <a:gd name="T51" fmla="*/ 84 h 1998"/>
                <a:gd name="T52" fmla="*/ 94 w 1638"/>
                <a:gd name="T53" fmla="*/ 81 h 1998"/>
                <a:gd name="T54" fmla="*/ 100 w 1638"/>
                <a:gd name="T55" fmla="*/ 81 h 1998"/>
                <a:gd name="T56" fmla="*/ 102 w 1638"/>
                <a:gd name="T57" fmla="*/ 84 h 1998"/>
                <a:gd name="T58" fmla="*/ 108 w 1638"/>
                <a:gd name="T59" fmla="*/ 85 h 1998"/>
                <a:gd name="T60" fmla="*/ 113 w 1638"/>
                <a:gd name="T61" fmla="*/ 88 h 1998"/>
                <a:gd name="T62" fmla="*/ 116 w 1638"/>
                <a:gd name="T63" fmla="*/ 88 h 1998"/>
                <a:gd name="T64" fmla="*/ 123 w 1638"/>
                <a:gd name="T65" fmla="*/ 87 h 1998"/>
                <a:gd name="T66" fmla="*/ 128 w 1638"/>
                <a:gd name="T67" fmla="*/ 86 h 1998"/>
                <a:gd name="T68" fmla="*/ 132 w 1638"/>
                <a:gd name="T69" fmla="*/ 90 h 1998"/>
                <a:gd name="T70" fmla="*/ 138 w 1638"/>
                <a:gd name="T71" fmla="*/ 96 h 1998"/>
                <a:gd name="T72" fmla="*/ 138 w 1638"/>
                <a:gd name="T73" fmla="*/ 110 h 1998"/>
                <a:gd name="T74" fmla="*/ 137 w 1638"/>
                <a:gd name="T75" fmla="*/ 118 h 1998"/>
                <a:gd name="T76" fmla="*/ 133 w 1638"/>
                <a:gd name="T77" fmla="*/ 124 h 1998"/>
                <a:gd name="T78" fmla="*/ 122 w 1638"/>
                <a:gd name="T79" fmla="*/ 125 h 1998"/>
                <a:gd name="T80" fmla="*/ 116 w 1638"/>
                <a:gd name="T81" fmla="*/ 127 h 1998"/>
                <a:gd name="T82" fmla="*/ 108 w 1638"/>
                <a:gd name="T83" fmla="*/ 123 h 1998"/>
                <a:gd name="T84" fmla="*/ 109 w 1638"/>
                <a:gd name="T85" fmla="*/ 119 h 1998"/>
                <a:gd name="T86" fmla="*/ 104 w 1638"/>
                <a:gd name="T87" fmla="*/ 104 h 1998"/>
                <a:gd name="T88" fmla="*/ 94 w 1638"/>
                <a:gd name="T89" fmla="*/ 105 h 1998"/>
                <a:gd name="T90" fmla="*/ 88 w 1638"/>
                <a:gd name="T91" fmla="*/ 109 h 1998"/>
                <a:gd name="T92" fmla="*/ 76 w 1638"/>
                <a:gd name="T93" fmla="*/ 107 h 1998"/>
                <a:gd name="T94" fmla="*/ 72 w 1638"/>
                <a:gd name="T95" fmla="*/ 114 h 1998"/>
                <a:gd name="T96" fmla="*/ 86 w 1638"/>
                <a:gd name="T97" fmla="*/ 121 h 1998"/>
                <a:gd name="T98" fmla="*/ 87 w 1638"/>
                <a:gd name="T99" fmla="*/ 129 h 1998"/>
                <a:gd name="T100" fmla="*/ 86 w 1638"/>
                <a:gd name="T101" fmla="*/ 137 h 1998"/>
                <a:gd name="T102" fmla="*/ 79 w 1638"/>
                <a:gd name="T103" fmla="*/ 141 h 1998"/>
                <a:gd name="T104" fmla="*/ 73 w 1638"/>
                <a:gd name="T105" fmla="*/ 144 h 1998"/>
                <a:gd name="T106" fmla="*/ 72 w 1638"/>
                <a:gd name="T107" fmla="*/ 164 h 1998"/>
                <a:gd name="T108" fmla="*/ 68 w 1638"/>
                <a:gd name="T109" fmla="*/ 172 h 1998"/>
                <a:gd name="T110" fmla="*/ 59 w 1638"/>
                <a:gd name="T111" fmla="*/ 164 h 1998"/>
                <a:gd name="T112" fmla="*/ 65 w 1638"/>
                <a:gd name="T113" fmla="*/ 146 h 1998"/>
                <a:gd name="T114" fmla="*/ 69 w 1638"/>
                <a:gd name="T115" fmla="*/ 133 h 1998"/>
                <a:gd name="T116" fmla="*/ 61 w 1638"/>
                <a:gd name="T117" fmla="*/ 131 h 1998"/>
                <a:gd name="T118" fmla="*/ 43 w 1638"/>
                <a:gd name="T119" fmla="*/ 125 h 1998"/>
                <a:gd name="T120" fmla="*/ 23 w 1638"/>
                <a:gd name="T121" fmla="*/ 125 h 1998"/>
                <a:gd name="T122" fmla="*/ 17 w 1638"/>
                <a:gd name="T123" fmla="*/ 121 h 19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638"/>
                <a:gd name="T187" fmla="*/ 0 h 1998"/>
                <a:gd name="T188" fmla="*/ 1638 w 1638"/>
                <a:gd name="T189" fmla="*/ 1998 h 19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638" h="1998">
                  <a:moveTo>
                    <a:pt x="144" y="1380"/>
                  </a:moveTo>
                  <a:lnTo>
                    <a:pt x="150" y="1368"/>
                  </a:lnTo>
                  <a:lnTo>
                    <a:pt x="150" y="1362"/>
                  </a:lnTo>
                  <a:lnTo>
                    <a:pt x="150" y="1356"/>
                  </a:lnTo>
                  <a:lnTo>
                    <a:pt x="144" y="1356"/>
                  </a:lnTo>
                  <a:lnTo>
                    <a:pt x="138" y="1356"/>
                  </a:lnTo>
                  <a:lnTo>
                    <a:pt x="126" y="1356"/>
                  </a:lnTo>
                  <a:lnTo>
                    <a:pt x="114" y="1344"/>
                  </a:lnTo>
                  <a:lnTo>
                    <a:pt x="84" y="1320"/>
                  </a:lnTo>
                  <a:lnTo>
                    <a:pt x="54" y="1296"/>
                  </a:lnTo>
                  <a:lnTo>
                    <a:pt x="48" y="1290"/>
                  </a:lnTo>
                  <a:lnTo>
                    <a:pt x="42" y="1278"/>
                  </a:lnTo>
                  <a:lnTo>
                    <a:pt x="30" y="1272"/>
                  </a:lnTo>
                  <a:lnTo>
                    <a:pt x="0" y="1248"/>
                  </a:lnTo>
                  <a:lnTo>
                    <a:pt x="6" y="1230"/>
                  </a:lnTo>
                  <a:lnTo>
                    <a:pt x="12" y="1194"/>
                  </a:lnTo>
                  <a:lnTo>
                    <a:pt x="18" y="1170"/>
                  </a:lnTo>
                  <a:lnTo>
                    <a:pt x="30" y="1134"/>
                  </a:lnTo>
                  <a:lnTo>
                    <a:pt x="36" y="1086"/>
                  </a:lnTo>
                  <a:lnTo>
                    <a:pt x="42" y="1050"/>
                  </a:lnTo>
                  <a:lnTo>
                    <a:pt x="48" y="1044"/>
                  </a:lnTo>
                  <a:lnTo>
                    <a:pt x="54" y="1026"/>
                  </a:lnTo>
                  <a:lnTo>
                    <a:pt x="60" y="1014"/>
                  </a:lnTo>
                  <a:lnTo>
                    <a:pt x="66" y="1002"/>
                  </a:lnTo>
                  <a:lnTo>
                    <a:pt x="66" y="996"/>
                  </a:lnTo>
                  <a:lnTo>
                    <a:pt x="72" y="996"/>
                  </a:lnTo>
                  <a:lnTo>
                    <a:pt x="72" y="990"/>
                  </a:lnTo>
                  <a:lnTo>
                    <a:pt x="78" y="990"/>
                  </a:lnTo>
                  <a:lnTo>
                    <a:pt x="90" y="978"/>
                  </a:lnTo>
                  <a:lnTo>
                    <a:pt x="96" y="966"/>
                  </a:lnTo>
                  <a:lnTo>
                    <a:pt x="102" y="966"/>
                  </a:lnTo>
                  <a:lnTo>
                    <a:pt x="114" y="954"/>
                  </a:lnTo>
                  <a:lnTo>
                    <a:pt x="120" y="954"/>
                  </a:lnTo>
                  <a:lnTo>
                    <a:pt x="120" y="948"/>
                  </a:lnTo>
                  <a:lnTo>
                    <a:pt x="114" y="930"/>
                  </a:lnTo>
                  <a:lnTo>
                    <a:pt x="114" y="924"/>
                  </a:lnTo>
                  <a:lnTo>
                    <a:pt x="108" y="918"/>
                  </a:lnTo>
                  <a:lnTo>
                    <a:pt x="102" y="912"/>
                  </a:lnTo>
                  <a:lnTo>
                    <a:pt x="90" y="906"/>
                  </a:lnTo>
                  <a:lnTo>
                    <a:pt x="84" y="900"/>
                  </a:lnTo>
                  <a:lnTo>
                    <a:pt x="84" y="888"/>
                  </a:lnTo>
                  <a:lnTo>
                    <a:pt x="84" y="882"/>
                  </a:lnTo>
                  <a:lnTo>
                    <a:pt x="78" y="858"/>
                  </a:lnTo>
                  <a:lnTo>
                    <a:pt x="78" y="852"/>
                  </a:lnTo>
                  <a:lnTo>
                    <a:pt x="84" y="846"/>
                  </a:lnTo>
                  <a:lnTo>
                    <a:pt x="84" y="840"/>
                  </a:lnTo>
                  <a:lnTo>
                    <a:pt x="96" y="828"/>
                  </a:lnTo>
                  <a:lnTo>
                    <a:pt x="114" y="816"/>
                  </a:lnTo>
                  <a:lnTo>
                    <a:pt x="114" y="810"/>
                  </a:lnTo>
                  <a:lnTo>
                    <a:pt x="114" y="804"/>
                  </a:lnTo>
                  <a:lnTo>
                    <a:pt x="108" y="780"/>
                  </a:lnTo>
                  <a:lnTo>
                    <a:pt x="96" y="756"/>
                  </a:lnTo>
                  <a:lnTo>
                    <a:pt x="96" y="750"/>
                  </a:lnTo>
                  <a:lnTo>
                    <a:pt x="90" y="720"/>
                  </a:lnTo>
                  <a:lnTo>
                    <a:pt x="90" y="708"/>
                  </a:lnTo>
                  <a:lnTo>
                    <a:pt x="90" y="690"/>
                  </a:lnTo>
                  <a:lnTo>
                    <a:pt x="96" y="672"/>
                  </a:lnTo>
                  <a:lnTo>
                    <a:pt x="90" y="666"/>
                  </a:lnTo>
                  <a:lnTo>
                    <a:pt x="96" y="666"/>
                  </a:lnTo>
                  <a:lnTo>
                    <a:pt x="102" y="642"/>
                  </a:lnTo>
                  <a:lnTo>
                    <a:pt x="108" y="624"/>
                  </a:lnTo>
                  <a:lnTo>
                    <a:pt x="102" y="618"/>
                  </a:lnTo>
                  <a:lnTo>
                    <a:pt x="102" y="588"/>
                  </a:lnTo>
                  <a:lnTo>
                    <a:pt x="102" y="564"/>
                  </a:lnTo>
                  <a:lnTo>
                    <a:pt x="102" y="546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0"/>
                  </a:lnTo>
                  <a:lnTo>
                    <a:pt x="96" y="498"/>
                  </a:lnTo>
                  <a:lnTo>
                    <a:pt x="96" y="486"/>
                  </a:lnTo>
                  <a:lnTo>
                    <a:pt x="96" y="474"/>
                  </a:lnTo>
                  <a:lnTo>
                    <a:pt x="96" y="462"/>
                  </a:lnTo>
                  <a:lnTo>
                    <a:pt x="114" y="450"/>
                  </a:lnTo>
                  <a:lnTo>
                    <a:pt x="126" y="438"/>
                  </a:lnTo>
                  <a:lnTo>
                    <a:pt x="132" y="432"/>
                  </a:lnTo>
                  <a:lnTo>
                    <a:pt x="144" y="426"/>
                  </a:lnTo>
                  <a:lnTo>
                    <a:pt x="144" y="420"/>
                  </a:lnTo>
                  <a:lnTo>
                    <a:pt x="156" y="414"/>
                  </a:lnTo>
                  <a:lnTo>
                    <a:pt x="162" y="408"/>
                  </a:lnTo>
                  <a:lnTo>
                    <a:pt x="180" y="396"/>
                  </a:lnTo>
                  <a:lnTo>
                    <a:pt x="210" y="372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34" y="348"/>
                  </a:lnTo>
                  <a:lnTo>
                    <a:pt x="240" y="348"/>
                  </a:lnTo>
                  <a:lnTo>
                    <a:pt x="246" y="342"/>
                  </a:lnTo>
                  <a:lnTo>
                    <a:pt x="276" y="318"/>
                  </a:lnTo>
                  <a:lnTo>
                    <a:pt x="282" y="312"/>
                  </a:lnTo>
                  <a:lnTo>
                    <a:pt x="288" y="306"/>
                  </a:lnTo>
                  <a:lnTo>
                    <a:pt x="300" y="288"/>
                  </a:lnTo>
                  <a:lnTo>
                    <a:pt x="306" y="276"/>
                  </a:lnTo>
                  <a:lnTo>
                    <a:pt x="324" y="246"/>
                  </a:lnTo>
                  <a:lnTo>
                    <a:pt x="330" y="240"/>
                  </a:lnTo>
                  <a:lnTo>
                    <a:pt x="336" y="234"/>
                  </a:lnTo>
                  <a:lnTo>
                    <a:pt x="342" y="228"/>
                  </a:lnTo>
                  <a:lnTo>
                    <a:pt x="342" y="216"/>
                  </a:lnTo>
                  <a:lnTo>
                    <a:pt x="354" y="204"/>
                  </a:lnTo>
                  <a:lnTo>
                    <a:pt x="360" y="204"/>
                  </a:lnTo>
                  <a:lnTo>
                    <a:pt x="366" y="186"/>
                  </a:lnTo>
                  <a:lnTo>
                    <a:pt x="384" y="162"/>
                  </a:lnTo>
                  <a:lnTo>
                    <a:pt x="390" y="144"/>
                  </a:lnTo>
                  <a:lnTo>
                    <a:pt x="396" y="114"/>
                  </a:lnTo>
                  <a:lnTo>
                    <a:pt x="396" y="102"/>
                  </a:lnTo>
                  <a:lnTo>
                    <a:pt x="402" y="90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08" y="36"/>
                  </a:lnTo>
                  <a:lnTo>
                    <a:pt x="408" y="24"/>
                  </a:lnTo>
                  <a:lnTo>
                    <a:pt x="408" y="6"/>
                  </a:lnTo>
                  <a:lnTo>
                    <a:pt x="420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68" y="0"/>
                  </a:lnTo>
                  <a:lnTo>
                    <a:pt x="480" y="0"/>
                  </a:lnTo>
                  <a:lnTo>
                    <a:pt x="492" y="0"/>
                  </a:lnTo>
                  <a:lnTo>
                    <a:pt x="498" y="0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8" y="18"/>
                  </a:lnTo>
                  <a:lnTo>
                    <a:pt x="534" y="18"/>
                  </a:lnTo>
                  <a:lnTo>
                    <a:pt x="540" y="18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8" y="36"/>
                  </a:lnTo>
                  <a:lnTo>
                    <a:pt x="588" y="54"/>
                  </a:lnTo>
                  <a:lnTo>
                    <a:pt x="594" y="48"/>
                  </a:lnTo>
                  <a:lnTo>
                    <a:pt x="600" y="48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12" y="66"/>
                  </a:lnTo>
                  <a:lnTo>
                    <a:pt x="630" y="72"/>
                  </a:lnTo>
                  <a:lnTo>
                    <a:pt x="642" y="78"/>
                  </a:lnTo>
                  <a:lnTo>
                    <a:pt x="666" y="78"/>
                  </a:lnTo>
                  <a:lnTo>
                    <a:pt x="672" y="72"/>
                  </a:lnTo>
                  <a:lnTo>
                    <a:pt x="690" y="84"/>
                  </a:lnTo>
                  <a:lnTo>
                    <a:pt x="690" y="90"/>
                  </a:lnTo>
                  <a:lnTo>
                    <a:pt x="708" y="96"/>
                  </a:lnTo>
                  <a:lnTo>
                    <a:pt x="708" y="102"/>
                  </a:lnTo>
                  <a:lnTo>
                    <a:pt x="744" y="96"/>
                  </a:lnTo>
                  <a:lnTo>
                    <a:pt x="756" y="78"/>
                  </a:lnTo>
                  <a:lnTo>
                    <a:pt x="756" y="72"/>
                  </a:lnTo>
                  <a:lnTo>
                    <a:pt x="762" y="66"/>
                  </a:lnTo>
                  <a:lnTo>
                    <a:pt x="768" y="60"/>
                  </a:lnTo>
                  <a:lnTo>
                    <a:pt x="774" y="54"/>
                  </a:lnTo>
                  <a:lnTo>
                    <a:pt x="786" y="54"/>
                  </a:lnTo>
                  <a:lnTo>
                    <a:pt x="786" y="60"/>
                  </a:lnTo>
                  <a:lnTo>
                    <a:pt x="786" y="66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92" y="90"/>
                  </a:lnTo>
                  <a:lnTo>
                    <a:pt x="780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26"/>
                  </a:lnTo>
                  <a:lnTo>
                    <a:pt x="768" y="150"/>
                  </a:lnTo>
                  <a:lnTo>
                    <a:pt x="750" y="168"/>
                  </a:lnTo>
                  <a:lnTo>
                    <a:pt x="750" y="174"/>
                  </a:lnTo>
                  <a:lnTo>
                    <a:pt x="762" y="192"/>
                  </a:lnTo>
                  <a:lnTo>
                    <a:pt x="774" y="210"/>
                  </a:lnTo>
                  <a:lnTo>
                    <a:pt x="792" y="228"/>
                  </a:lnTo>
                  <a:lnTo>
                    <a:pt x="804" y="240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40" y="252"/>
                  </a:lnTo>
                  <a:lnTo>
                    <a:pt x="834" y="252"/>
                  </a:lnTo>
                  <a:lnTo>
                    <a:pt x="846" y="252"/>
                  </a:lnTo>
                  <a:lnTo>
                    <a:pt x="852" y="270"/>
                  </a:lnTo>
                  <a:lnTo>
                    <a:pt x="858" y="282"/>
                  </a:lnTo>
                  <a:lnTo>
                    <a:pt x="858" y="288"/>
                  </a:lnTo>
                  <a:lnTo>
                    <a:pt x="864" y="300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58" y="318"/>
                  </a:lnTo>
                  <a:lnTo>
                    <a:pt x="852" y="318"/>
                  </a:lnTo>
                  <a:lnTo>
                    <a:pt x="846" y="324"/>
                  </a:lnTo>
                  <a:lnTo>
                    <a:pt x="846" y="336"/>
                  </a:lnTo>
                  <a:lnTo>
                    <a:pt x="840" y="348"/>
                  </a:lnTo>
                  <a:lnTo>
                    <a:pt x="840" y="360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46" y="402"/>
                  </a:lnTo>
                  <a:lnTo>
                    <a:pt x="858" y="420"/>
                  </a:lnTo>
                  <a:lnTo>
                    <a:pt x="882" y="426"/>
                  </a:lnTo>
                  <a:lnTo>
                    <a:pt x="888" y="444"/>
                  </a:lnTo>
                  <a:lnTo>
                    <a:pt x="900" y="444"/>
                  </a:lnTo>
                  <a:lnTo>
                    <a:pt x="900" y="462"/>
                  </a:lnTo>
                  <a:lnTo>
                    <a:pt x="894" y="474"/>
                  </a:lnTo>
                  <a:lnTo>
                    <a:pt x="888" y="486"/>
                  </a:lnTo>
                  <a:lnTo>
                    <a:pt x="882" y="492"/>
                  </a:lnTo>
                  <a:lnTo>
                    <a:pt x="870" y="504"/>
                  </a:lnTo>
                  <a:lnTo>
                    <a:pt x="852" y="504"/>
                  </a:lnTo>
                  <a:lnTo>
                    <a:pt x="852" y="510"/>
                  </a:lnTo>
                  <a:lnTo>
                    <a:pt x="852" y="516"/>
                  </a:lnTo>
                  <a:lnTo>
                    <a:pt x="846" y="528"/>
                  </a:lnTo>
                  <a:lnTo>
                    <a:pt x="846" y="582"/>
                  </a:lnTo>
                  <a:lnTo>
                    <a:pt x="840" y="582"/>
                  </a:lnTo>
                  <a:lnTo>
                    <a:pt x="834" y="582"/>
                  </a:lnTo>
                  <a:lnTo>
                    <a:pt x="828" y="582"/>
                  </a:lnTo>
                  <a:lnTo>
                    <a:pt x="822" y="582"/>
                  </a:lnTo>
                  <a:lnTo>
                    <a:pt x="810" y="582"/>
                  </a:lnTo>
                  <a:lnTo>
                    <a:pt x="810" y="528"/>
                  </a:lnTo>
                  <a:lnTo>
                    <a:pt x="792" y="528"/>
                  </a:lnTo>
                  <a:lnTo>
                    <a:pt x="792" y="522"/>
                  </a:lnTo>
                  <a:lnTo>
                    <a:pt x="786" y="522"/>
                  </a:lnTo>
                  <a:lnTo>
                    <a:pt x="786" y="516"/>
                  </a:lnTo>
                  <a:lnTo>
                    <a:pt x="780" y="516"/>
                  </a:lnTo>
                  <a:lnTo>
                    <a:pt x="780" y="510"/>
                  </a:lnTo>
                  <a:lnTo>
                    <a:pt x="762" y="510"/>
                  </a:lnTo>
                  <a:lnTo>
                    <a:pt x="756" y="510"/>
                  </a:lnTo>
                  <a:lnTo>
                    <a:pt x="750" y="522"/>
                  </a:lnTo>
                  <a:lnTo>
                    <a:pt x="744" y="534"/>
                  </a:lnTo>
                  <a:lnTo>
                    <a:pt x="732" y="540"/>
                  </a:lnTo>
                  <a:lnTo>
                    <a:pt x="732" y="558"/>
                  </a:lnTo>
                  <a:lnTo>
                    <a:pt x="732" y="564"/>
                  </a:lnTo>
                  <a:lnTo>
                    <a:pt x="732" y="570"/>
                  </a:lnTo>
                  <a:lnTo>
                    <a:pt x="726" y="576"/>
                  </a:lnTo>
                  <a:lnTo>
                    <a:pt x="720" y="576"/>
                  </a:lnTo>
                  <a:lnTo>
                    <a:pt x="714" y="582"/>
                  </a:lnTo>
                  <a:lnTo>
                    <a:pt x="702" y="588"/>
                  </a:lnTo>
                  <a:lnTo>
                    <a:pt x="696" y="594"/>
                  </a:lnTo>
                  <a:lnTo>
                    <a:pt x="690" y="600"/>
                  </a:lnTo>
                  <a:lnTo>
                    <a:pt x="690" y="606"/>
                  </a:lnTo>
                  <a:lnTo>
                    <a:pt x="678" y="606"/>
                  </a:lnTo>
                  <a:lnTo>
                    <a:pt x="678" y="624"/>
                  </a:lnTo>
                  <a:lnTo>
                    <a:pt x="684" y="642"/>
                  </a:lnTo>
                  <a:lnTo>
                    <a:pt x="684" y="660"/>
                  </a:lnTo>
                  <a:lnTo>
                    <a:pt x="690" y="672"/>
                  </a:lnTo>
                  <a:lnTo>
                    <a:pt x="702" y="720"/>
                  </a:lnTo>
                  <a:lnTo>
                    <a:pt x="708" y="750"/>
                  </a:lnTo>
                  <a:lnTo>
                    <a:pt x="708" y="792"/>
                  </a:lnTo>
                  <a:lnTo>
                    <a:pt x="708" y="828"/>
                  </a:lnTo>
                  <a:lnTo>
                    <a:pt x="708" y="852"/>
                  </a:lnTo>
                  <a:lnTo>
                    <a:pt x="696" y="894"/>
                  </a:lnTo>
                  <a:lnTo>
                    <a:pt x="702" y="900"/>
                  </a:lnTo>
                  <a:lnTo>
                    <a:pt x="708" y="924"/>
                  </a:lnTo>
                  <a:lnTo>
                    <a:pt x="684" y="936"/>
                  </a:lnTo>
                  <a:lnTo>
                    <a:pt x="660" y="954"/>
                  </a:lnTo>
                  <a:lnTo>
                    <a:pt x="618" y="984"/>
                  </a:lnTo>
                  <a:lnTo>
                    <a:pt x="618" y="990"/>
                  </a:lnTo>
                  <a:lnTo>
                    <a:pt x="612" y="996"/>
                  </a:lnTo>
                  <a:lnTo>
                    <a:pt x="606" y="1002"/>
                  </a:lnTo>
                  <a:lnTo>
                    <a:pt x="618" y="1008"/>
                  </a:lnTo>
                  <a:lnTo>
                    <a:pt x="618" y="1014"/>
                  </a:lnTo>
                  <a:lnTo>
                    <a:pt x="624" y="1026"/>
                  </a:lnTo>
                  <a:lnTo>
                    <a:pt x="630" y="1026"/>
                  </a:lnTo>
                  <a:lnTo>
                    <a:pt x="636" y="1032"/>
                  </a:lnTo>
                  <a:lnTo>
                    <a:pt x="642" y="1032"/>
                  </a:lnTo>
                  <a:lnTo>
                    <a:pt x="642" y="1038"/>
                  </a:lnTo>
                  <a:lnTo>
                    <a:pt x="648" y="1044"/>
                  </a:lnTo>
                  <a:lnTo>
                    <a:pt x="666" y="1050"/>
                  </a:lnTo>
                  <a:lnTo>
                    <a:pt x="678" y="1038"/>
                  </a:lnTo>
                  <a:lnTo>
                    <a:pt x="684" y="1038"/>
                  </a:lnTo>
                  <a:lnTo>
                    <a:pt x="684" y="1032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20"/>
                  </a:lnTo>
                  <a:lnTo>
                    <a:pt x="708" y="1014"/>
                  </a:lnTo>
                  <a:lnTo>
                    <a:pt x="720" y="1020"/>
                  </a:lnTo>
                  <a:lnTo>
                    <a:pt x="720" y="1014"/>
                  </a:lnTo>
                  <a:lnTo>
                    <a:pt x="726" y="1008"/>
                  </a:lnTo>
                  <a:lnTo>
                    <a:pt x="732" y="1008"/>
                  </a:lnTo>
                  <a:lnTo>
                    <a:pt x="738" y="1008"/>
                  </a:lnTo>
                  <a:lnTo>
                    <a:pt x="744" y="1002"/>
                  </a:lnTo>
                  <a:lnTo>
                    <a:pt x="744" y="996"/>
                  </a:lnTo>
                  <a:lnTo>
                    <a:pt x="750" y="996"/>
                  </a:lnTo>
                  <a:lnTo>
                    <a:pt x="756" y="1002"/>
                  </a:lnTo>
                  <a:lnTo>
                    <a:pt x="762" y="1002"/>
                  </a:lnTo>
                  <a:lnTo>
                    <a:pt x="768" y="996"/>
                  </a:lnTo>
                  <a:lnTo>
                    <a:pt x="780" y="996"/>
                  </a:lnTo>
                  <a:lnTo>
                    <a:pt x="786" y="996"/>
                  </a:lnTo>
                  <a:lnTo>
                    <a:pt x="816" y="990"/>
                  </a:lnTo>
                  <a:lnTo>
                    <a:pt x="828" y="990"/>
                  </a:lnTo>
                  <a:lnTo>
                    <a:pt x="834" y="990"/>
                  </a:lnTo>
                  <a:lnTo>
                    <a:pt x="840" y="984"/>
                  </a:lnTo>
                  <a:lnTo>
                    <a:pt x="852" y="978"/>
                  </a:lnTo>
                  <a:lnTo>
                    <a:pt x="852" y="972"/>
                  </a:lnTo>
                  <a:lnTo>
                    <a:pt x="858" y="972"/>
                  </a:lnTo>
                  <a:lnTo>
                    <a:pt x="864" y="966"/>
                  </a:lnTo>
                  <a:lnTo>
                    <a:pt x="870" y="966"/>
                  </a:lnTo>
                  <a:lnTo>
                    <a:pt x="876" y="966"/>
                  </a:lnTo>
                  <a:lnTo>
                    <a:pt x="882" y="960"/>
                  </a:lnTo>
                  <a:lnTo>
                    <a:pt x="888" y="960"/>
                  </a:lnTo>
                  <a:lnTo>
                    <a:pt x="894" y="960"/>
                  </a:lnTo>
                  <a:lnTo>
                    <a:pt x="894" y="966"/>
                  </a:lnTo>
                  <a:lnTo>
                    <a:pt x="894" y="978"/>
                  </a:lnTo>
                  <a:lnTo>
                    <a:pt x="894" y="984"/>
                  </a:lnTo>
                  <a:lnTo>
                    <a:pt x="900" y="984"/>
                  </a:lnTo>
                  <a:lnTo>
                    <a:pt x="906" y="978"/>
                  </a:lnTo>
                  <a:lnTo>
                    <a:pt x="912" y="972"/>
                  </a:lnTo>
                  <a:lnTo>
                    <a:pt x="918" y="978"/>
                  </a:lnTo>
                  <a:lnTo>
                    <a:pt x="924" y="978"/>
                  </a:lnTo>
                  <a:lnTo>
                    <a:pt x="924" y="972"/>
                  </a:lnTo>
                  <a:lnTo>
                    <a:pt x="924" y="966"/>
                  </a:lnTo>
                  <a:lnTo>
                    <a:pt x="930" y="966"/>
                  </a:lnTo>
                  <a:lnTo>
                    <a:pt x="948" y="966"/>
                  </a:lnTo>
                  <a:lnTo>
                    <a:pt x="954" y="966"/>
                  </a:lnTo>
                  <a:lnTo>
                    <a:pt x="954" y="960"/>
                  </a:lnTo>
                  <a:lnTo>
                    <a:pt x="960" y="960"/>
                  </a:lnTo>
                  <a:lnTo>
                    <a:pt x="966" y="960"/>
                  </a:lnTo>
                  <a:lnTo>
                    <a:pt x="966" y="966"/>
                  </a:lnTo>
                  <a:lnTo>
                    <a:pt x="978" y="972"/>
                  </a:lnTo>
                  <a:lnTo>
                    <a:pt x="978" y="978"/>
                  </a:lnTo>
                  <a:lnTo>
                    <a:pt x="978" y="984"/>
                  </a:lnTo>
                  <a:lnTo>
                    <a:pt x="984" y="978"/>
                  </a:lnTo>
                  <a:lnTo>
                    <a:pt x="990" y="978"/>
                  </a:lnTo>
                  <a:lnTo>
                    <a:pt x="996" y="984"/>
                  </a:lnTo>
                  <a:lnTo>
                    <a:pt x="1002" y="990"/>
                  </a:lnTo>
                  <a:lnTo>
                    <a:pt x="1008" y="972"/>
                  </a:lnTo>
                  <a:lnTo>
                    <a:pt x="1026" y="972"/>
                  </a:lnTo>
                  <a:lnTo>
                    <a:pt x="1032" y="972"/>
                  </a:lnTo>
                  <a:lnTo>
                    <a:pt x="1038" y="972"/>
                  </a:lnTo>
                  <a:lnTo>
                    <a:pt x="1050" y="972"/>
                  </a:lnTo>
                  <a:lnTo>
                    <a:pt x="1056" y="972"/>
                  </a:lnTo>
                  <a:lnTo>
                    <a:pt x="1062" y="966"/>
                  </a:lnTo>
                  <a:lnTo>
                    <a:pt x="1074" y="966"/>
                  </a:lnTo>
                  <a:lnTo>
                    <a:pt x="1074" y="960"/>
                  </a:lnTo>
                  <a:lnTo>
                    <a:pt x="1080" y="954"/>
                  </a:lnTo>
                  <a:lnTo>
                    <a:pt x="1080" y="948"/>
                  </a:lnTo>
                  <a:lnTo>
                    <a:pt x="1074" y="948"/>
                  </a:lnTo>
                  <a:lnTo>
                    <a:pt x="1068" y="948"/>
                  </a:lnTo>
                  <a:lnTo>
                    <a:pt x="1062" y="942"/>
                  </a:lnTo>
                  <a:lnTo>
                    <a:pt x="1068" y="936"/>
                  </a:lnTo>
                  <a:lnTo>
                    <a:pt x="1074" y="936"/>
                  </a:lnTo>
                  <a:lnTo>
                    <a:pt x="1080" y="936"/>
                  </a:lnTo>
                  <a:lnTo>
                    <a:pt x="1086" y="942"/>
                  </a:lnTo>
                  <a:lnTo>
                    <a:pt x="1092" y="942"/>
                  </a:lnTo>
                  <a:lnTo>
                    <a:pt x="1098" y="948"/>
                  </a:lnTo>
                  <a:lnTo>
                    <a:pt x="1104" y="954"/>
                  </a:lnTo>
                  <a:lnTo>
                    <a:pt x="1110" y="954"/>
                  </a:lnTo>
                  <a:lnTo>
                    <a:pt x="1116" y="948"/>
                  </a:lnTo>
                  <a:lnTo>
                    <a:pt x="1122" y="942"/>
                  </a:lnTo>
                  <a:lnTo>
                    <a:pt x="1128" y="942"/>
                  </a:lnTo>
                  <a:lnTo>
                    <a:pt x="1134" y="942"/>
                  </a:lnTo>
                  <a:lnTo>
                    <a:pt x="1140" y="948"/>
                  </a:lnTo>
                  <a:lnTo>
                    <a:pt x="1146" y="942"/>
                  </a:lnTo>
                  <a:lnTo>
                    <a:pt x="1152" y="942"/>
                  </a:lnTo>
                  <a:lnTo>
                    <a:pt x="1152" y="930"/>
                  </a:lnTo>
                  <a:lnTo>
                    <a:pt x="1164" y="936"/>
                  </a:lnTo>
                  <a:lnTo>
                    <a:pt x="1158" y="942"/>
                  </a:lnTo>
                  <a:lnTo>
                    <a:pt x="1158" y="948"/>
                  </a:lnTo>
                  <a:lnTo>
                    <a:pt x="1146" y="954"/>
                  </a:lnTo>
                  <a:lnTo>
                    <a:pt x="1152" y="954"/>
                  </a:lnTo>
                  <a:lnTo>
                    <a:pt x="1158" y="954"/>
                  </a:lnTo>
                  <a:lnTo>
                    <a:pt x="1158" y="948"/>
                  </a:lnTo>
                  <a:lnTo>
                    <a:pt x="1164" y="948"/>
                  </a:lnTo>
                  <a:lnTo>
                    <a:pt x="1170" y="948"/>
                  </a:lnTo>
                  <a:lnTo>
                    <a:pt x="1176" y="954"/>
                  </a:lnTo>
                  <a:lnTo>
                    <a:pt x="1176" y="966"/>
                  </a:lnTo>
                  <a:lnTo>
                    <a:pt x="1182" y="972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88" y="984"/>
                  </a:lnTo>
                  <a:lnTo>
                    <a:pt x="1194" y="984"/>
                  </a:lnTo>
                  <a:lnTo>
                    <a:pt x="1200" y="984"/>
                  </a:lnTo>
                  <a:lnTo>
                    <a:pt x="1212" y="984"/>
                  </a:lnTo>
                  <a:lnTo>
                    <a:pt x="1218" y="990"/>
                  </a:lnTo>
                  <a:lnTo>
                    <a:pt x="1224" y="990"/>
                  </a:lnTo>
                  <a:lnTo>
                    <a:pt x="1224" y="984"/>
                  </a:lnTo>
                  <a:lnTo>
                    <a:pt x="1230" y="990"/>
                  </a:lnTo>
                  <a:lnTo>
                    <a:pt x="1236" y="984"/>
                  </a:lnTo>
                  <a:lnTo>
                    <a:pt x="1242" y="984"/>
                  </a:lnTo>
                  <a:lnTo>
                    <a:pt x="1248" y="990"/>
                  </a:lnTo>
                  <a:lnTo>
                    <a:pt x="1254" y="990"/>
                  </a:lnTo>
                  <a:lnTo>
                    <a:pt x="1254" y="996"/>
                  </a:lnTo>
                  <a:lnTo>
                    <a:pt x="1254" y="1002"/>
                  </a:lnTo>
                  <a:lnTo>
                    <a:pt x="1254" y="1008"/>
                  </a:lnTo>
                  <a:lnTo>
                    <a:pt x="1260" y="1014"/>
                  </a:lnTo>
                  <a:lnTo>
                    <a:pt x="1266" y="1014"/>
                  </a:lnTo>
                  <a:lnTo>
                    <a:pt x="1272" y="1014"/>
                  </a:lnTo>
                  <a:lnTo>
                    <a:pt x="1278" y="1020"/>
                  </a:lnTo>
                  <a:lnTo>
                    <a:pt x="1284" y="1020"/>
                  </a:lnTo>
                  <a:lnTo>
                    <a:pt x="1290" y="1014"/>
                  </a:lnTo>
                  <a:lnTo>
                    <a:pt x="1290" y="1008"/>
                  </a:lnTo>
                  <a:lnTo>
                    <a:pt x="1296" y="1008"/>
                  </a:lnTo>
                  <a:lnTo>
                    <a:pt x="1302" y="1014"/>
                  </a:lnTo>
                  <a:lnTo>
                    <a:pt x="1308" y="1014"/>
                  </a:lnTo>
                  <a:lnTo>
                    <a:pt x="1314" y="1008"/>
                  </a:lnTo>
                  <a:lnTo>
                    <a:pt x="1320" y="1008"/>
                  </a:lnTo>
                  <a:lnTo>
                    <a:pt x="1320" y="1002"/>
                  </a:lnTo>
                  <a:lnTo>
                    <a:pt x="1320" y="996"/>
                  </a:lnTo>
                  <a:lnTo>
                    <a:pt x="1332" y="1002"/>
                  </a:lnTo>
                  <a:lnTo>
                    <a:pt x="1332" y="1008"/>
                  </a:lnTo>
                  <a:lnTo>
                    <a:pt x="1326" y="1014"/>
                  </a:lnTo>
                  <a:lnTo>
                    <a:pt x="1332" y="1014"/>
                  </a:lnTo>
                  <a:lnTo>
                    <a:pt x="1338" y="1014"/>
                  </a:lnTo>
                  <a:lnTo>
                    <a:pt x="1338" y="1008"/>
                  </a:lnTo>
                  <a:lnTo>
                    <a:pt x="1344" y="1008"/>
                  </a:lnTo>
                  <a:lnTo>
                    <a:pt x="1350" y="1008"/>
                  </a:lnTo>
                  <a:lnTo>
                    <a:pt x="1356" y="1014"/>
                  </a:lnTo>
                  <a:lnTo>
                    <a:pt x="1356" y="1008"/>
                  </a:lnTo>
                  <a:lnTo>
                    <a:pt x="1362" y="1014"/>
                  </a:lnTo>
                  <a:lnTo>
                    <a:pt x="1392" y="1014"/>
                  </a:lnTo>
                  <a:lnTo>
                    <a:pt x="1398" y="1014"/>
                  </a:lnTo>
                  <a:lnTo>
                    <a:pt x="1404" y="1008"/>
                  </a:lnTo>
                  <a:lnTo>
                    <a:pt x="1404" y="1014"/>
                  </a:lnTo>
                  <a:lnTo>
                    <a:pt x="1410" y="1008"/>
                  </a:lnTo>
                  <a:lnTo>
                    <a:pt x="1416" y="1008"/>
                  </a:lnTo>
                  <a:lnTo>
                    <a:pt x="1422" y="1002"/>
                  </a:lnTo>
                  <a:lnTo>
                    <a:pt x="1428" y="1002"/>
                  </a:lnTo>
                  <a:lnTo>
                    <a:pt x="1428" y="996"/>
                  </a:lnTo>
                  <a:lnTo>
                    <a:pt x="1428" y="990"/>
                  </a:lnTo>
                  <a:lnTo>
                    <a:pt x="1440" y="1002"/>
                  </a:lnTo>
                  <a:lnTo>
                    <a:pt x="1446" y="1002"/>
                  </a:lnTo>
                  <a:lnTo>
                    <a:pt x="1452" y="1002"/>
                  </a:lnTo>
                  <a:lnTo>
                    <a:pt x="1446" y="996"/>
                  </a:lnTo>
                  <a:lnTo>
                    <a:pt x="1452" y="996"/>
                  </a:lnTo>
                  <a:lnTo>
                    <a:pt x="1458" y="996"/>
                  </a:lnTo>
                  <a:lnTo>
                    <a:pt x="1464" y="996"/>
                  </a:lnTo>
                  <a:lnTo>
                    <a:pt x="1464" y="1002"/>
                  </a:lnTo>
                  <a:lnTo>
                    <a:pt x="1476" y="1014"/>
                  </a:lnTo>
                  <a:lnTo>
                    <a:pt x="1476" y="1008"/>
                  </a:lnTo>
                  <a:lnTo>
                    <a:pt x="1482" y="1008"/>
                  </a:lnTo>
                  <a:lnTo>
                    <a:pt x="1488" y="1020"/>
                  </a:lnTo>
                  <a:lnTo>
                    <a:pt x="1494" y="1020"/>
                  </a:lnTo>
                  <a:lnTo>
                    <a:pt x="1500" y="1014"/>
                  </a:lnTo>
                  <a:lnTo>
                    <a:pt x="1500" y="1020"/>
                  </a:lnTo>
                  <a:lnTo>
                    <a:pt x="1506" y="1026"/>
                  </a:lnTo>
                  <a:lnTo>
                    <a:pt x="1512" y="1032"/>
                  </a:lnTo>
                  <a:lnTo>
                    <a:pt x="1518" y="1032"/>
                  </a:lnTo>
                  <a:lnTo>
                    <a:pt x="1518" y="1038"/>
                  </a:lnTo>
                  <a:lnTo>
                    <a:pt x="1518" y="1044"/>
                  </a:lnTo>
                  <a:lnTo>
                    <a:pt x="1524" y="1044"/>
                  </a:lnTo>
                  <a:lnTo>
                    <a:pt x="1524" y="1050"/>
                  </a:lnTo>
                  <a:lnTo>
                    <a:pt x="1530" y="1056"/>
                  </a:lnTo>
                  <a:lnTo>
                    <a:pt x="1548" y="1062"/>
                  </a:lnTo>
                  <a:lnTo>
                    <a:pt x="1560" y="1074"/>
                  </a:lnTo>
                  <a:lnTo>
                    <a:pt x="1560" y="1080"/>
                  </a:lnTo>
                  <a:lnTo>
                    <a:pt x="1560" y="1086"/>
                  </a:lnTo>
                  <a:lnTo>
                    <a:pt x="1566" y="1086"/>
                  </a:lnTo>
                  <a:lnTo>
                    <a:pt x="1572" y="1098"/>
                  </a:lnTo>
                  <a:lnTo>
                    <a:pt x="1572" y="1104"/>
                  </a:lnTo>
                  <a:lnTo>
                    <a:pt x="1584" y="1110"/>
                  </a:lnTo>
                  <a:lnTo>
                    <a:pt x="1590" y="1116"/>
                  </a:lnTo>
                  <a:lnTo>
                    <a:pt x="1596" y="1116"/>
                  </a:lnTo>
                  <a:lnTo>
                    <a:pt x="1608" y="1122"/>
                  </a:lnTo>
                  <a:lnTo>
                    <a:pt x="1620" y="1140"/>
                  </a:lnTo>
                  <a:lnTo>
                    <a:pt x="1626" y="1158"/>
                  </a:lnTo>
                  <a:lnTo>
                    <a:pt x="1638" y="1200"/>
                  </a:lnTo>
                  <a:lnTo>
                    <a:pt x="1638" y="1218"/>
                  </a:lnTo>
                  <a:lnTo>
                    <a:pt x="1620" y="1230"/>
                  </a:lnTo>
                  <a:lnTo>
                    <a:pt x="1554" y="1230"/>
                  </a:lnTo>
                  <a:lnTo>
                    <a:pt x="1560" y="1248"/>
                  </a:lnTo>
                  <a:lnTo>
                    <a:pt x="1584" y="1260"/>
                  </a:lnTo>
                  <a:lnTo>
                    <a:pt x="1584" y="1266"/>
                  </a:lnTo>
                  <a:lnTo>
                    <a:pt x="1578" y="1272"/>
                  </a:lnTo>
                  <a:lnTo>
                    <a:pt x="1572" y="1272"/>
                  </a:lnTo>
                  <a:lnTo>
                    <a:pt x="1566" y="1278"/>
                  </a:lnTo>
                  <a:lnTo>
                    <a:pt x="1566" y="1284"/>
                  </a:lnTo>
                  <a:lnTo>
                    <a:pt x="1560" y="1290"/>
                  </a:lnTo>
                  <a:lnTo>
                    <a:pt x="1554" y="1290"/>
                  </a:lnTo>
                  <a:lnTo>
                    <a:pt x="1554" y="1296"/>
                  </a:lnTo>
                  <a:lnTo>
                    <a:pt x="1554" y="1302"/>
                  </a:lnTo>
                  <a:lnTo>
                    <a:pt x="1560" y="1332"/>
                  </a:lnTo>
                  <a:lnTo>
                    <a:pt x="1566" y="1356"/>
                  </a:lnTo>
                  <a:lnTo>
                    <a:pt x="1572" y="1356"/>
                  </a:lnTo>
                  <a:lnTo>
                    <a:pt x="1572" y="1362"/>
                  </a:lnTo>
                  <a:lnTo>
                    <a:pt x="1578" y="1362"/>
                  </a:lnTo>
                  <a:lnTo>
                    <a:pt x="1560" y="1374"/>
                  </a:lnTo>
                  <a:lnTo>
                    <a:pt x="1560" y="1380"/>
                  </a:lnTo>
                  <a:lnTo>
                    <a:pt x="1548" y="1380"/>
                  </a:lnTo>
                  <a:lnTo>
                    <a:pt x="1548" y="1386"/>
                  </a:lnTo>
                  <a:lnTo>
                    <a:pt x="1548" y="1392"/>
                  </a:lnTo>
                  <a:lnTo>
                    <a:pt x="1542" y="1410"/>
                  </a:lnTo>
                  <a:lnTo>
                    <a:pt x="1536" y="1422"/>
                  </a:lnTo>
                  <a:lnTo>
                    <a:pt x="1536" y="1428"/>
                  </a:lnTo>
                  <a:lnTo>
                    <a:pt x="1530" y="1440"/>
                  </a:lnTo>
                  <a:lnTo>
                    <a:pt x="1524" y="1434"/>
                  </a:lnTo>
                  <a:lnTo>
                    <a:pt x="1524" y="1428"/>
                  </a:lnTo>
                  <a:lnTo>
                    <a:pt x="1524" y="1422"/>
                  </a:lnTo>
                  <a:lnTo>
                    <a:pt x="1512" y="1410"/>
                  </a:lnTo>
                  <a:lnTo>
                    <a:pt x="1506" y="1404"/>
                  </a:lnTo>
                  <a:lnTo>
                    <a:pt x="1506" y="1398"/>
                  </a:lnTo>
                  <a:lnTo>
                    <a:pt x="1494" y="1392"/>
                  </a:lnTo>
                  <a:lnTo>
                    <a:pt x="1476" y="1404"/>
                  </a:lnTo>
                  <a:lnTo>
                    <a:pt x="1464" y="1416"/>
                  </a:lnTo>
                  <a:lnTo>
                    <a:pt x="1458" y="1428"/>
                  </a:lnTo>
                  <a:lnTo>
                    <a:pt x="1446" y="1434"/>
                  </a:lnTo>
                  <a:lnTo>
                    <a:pt x="1410" y="1440"/>
                  </a:lnTo>
                  <a:lnTo>
                    <a:pt x="1398" y="1440"/>
                  </a:lnTo>
                  <a:lnTo>
                    <a:pt x="1398" y="1446"/>
                  </a:lnTo>
                  <a:lnTo>
                    <a:pt x="1386" y="1446"/>
                  </a:lnTo>
                  <a:lnTo>
                    <a:pt x="1380" y="1440"/>
                  </a:lnTo>
                  <a:lnTo>
                    <a:pt x="1368" y="1440"/>
                  </a:lnTo>
                  <a:lnTo>
                    <a:pt x="1368" y="1446"/>
                  </a:lnTo>
                  <a:lnTo>
                    <a:pt x="1356" y="1446"/>
                  </a:lnTo>
                  <a:lnTo>
                    <a:pt x="1350" y="1452"/>
                  </a:lnTo>
                  <a:lnTo>
                    <a:pt x="1338" y="1452"/>
                  </a:lnTo>
                  <a:lnTo>
                    <a:pt x="1338" y="1458"/>
                  </a:lnTo>
                  <a:lnTo>
                    <a:pt x="1332" y="1458"/>
                  </a:lnTo>
                  <a:lnTo>
                    <a:pt x="1332" y="1464"/>
                  </a:lnTo>
                  <a:lnTo>
                    <a:pt x="1332" y="1470"/>
                  </a:lnTo>
                  <a:lnTo>
                    <a:pt x="1326" y="1470"/>
                  </a:lnTo>
                  <a:lnTo>
                    <a:pt x="1320" y="1470"/>
                  </a:lnTo>
                  <a:lnTo>
                    <a:pt x="1314" y="1470"/>
                  </a:lnTo>
                  <a:lnTo>
                    <a:pt x="1314" y="1464"/>
                  </a:lnTo>
                  <a:lnTo>
                    <a:pt x="1308" y="1464"/>
                  </a:lnTo>
                  <a:lnTo>
                    <a:pt x="1308" y="1452"/>
                  </a:lnTo>
                  <a:lnTo>
                    <a:pt x="1284" y="1458"/>
                  </a:lnTo>
                  <a:lnTo>
                    <a:pt x="1272" y="1458"/>
                  </a:lnTo>
                  <a:lnTo>
                    <a:pt x="1272" y="1464"/>
                  </a:lnTo>
                  <a:lnTo>
                    <a:pt x="1260" y="1464"/>
                  </a:lnTo>
                  <a:lnTo>
                    <a:pt x="1254" y="1464"/>
                  </a:lnTo>
                  <a:lnTo>
                    <a:pt x="1242" y="1422"/>
                  </a:lnTo>
                  <a:lnTo>
                    <a:pt x="1242" y="1416"/>
                  </a:lnTo>
                  <a:lnTo>
                    <a:pt x="1242" y="1410"/>
                  </a:lnTo>
                  <a:lnTo>
                    <a:pt x="1248" y="1410"/>
                  </a:lnTo>
                  <a:lnTo>
                    <a:pt x="1242" y="1410"/>
                  </a:lnTo>
                  <a:lnTo>
                    <a:pt x="1242" y="1404"/>
                  </a:lnTo>
                  <a:lnTo>
                    <a:pt x="1242" y="1398"/>
                  </a:lnTo>
                  <a:lnTo>
                    <a:pt x="1248" y="1392"/>
                  </a:lnTo>
                  <a:lnTo>
                    <a:pt x="1248" y="1386"/>
                  </a:lnTo>
                  <a:lnTo>
                    <a:pt x="1242" y="1380"/>
                  </a:lnTo>
                  <a:lnTo>
                    <a:pt x="1248" y="1380"/>
                  </a:lnTo>
                  <a:lnTo>
                    <a:pt x="1248" y="1374"/>
                  </a:lnTo>
                  <a:lnTo>
                    <a:pt x="1248" y="1368"/>
                  </a:lnTo>
                  <a:lnTo>
                    <a:pt x="1254" y="1368"/>
                  </a:lnTo>
                  <a:lnTo>
                    <a:pt x="1254" y="1362"/>
                  </a:lnTo>
                  <a:lnTo>
                    <a:pt x="1248" y="1356"/>
                  </a:lnTo>
                  <a:lnTo>
                    <a:pt x="1254" y="1356"/>
                  </a:lnTo>
                  <a:lnTo>
                    <a:pt x="1254" y="1344"/>
                  </a:lnTo>
                  <a:lnTo>
                    <a:pt x="1242" y="1338"/>
                  </a:lnTo>
                  <a:lnTo>
                    <a:pt x="1242" y="1326"/>
                  </a:lnTo>
                  <a:lnTo>
                    <a:pt x="1230" y="1326"/>
                  </a:lnTo>
                  <a:lnTo>
                    <a:pt x="1230" y="1314"/>
                  </a:lnTo>
                  <a:lnTo>
                    <a:pt x="1218" y="1314"/>
                  </a:lnTo>
                  <a:lnTo>
                    <a:pt x="1200" y="1272"/>
                  </a:lnTo>
                  <a:lnTo>
                    <a:pt x="1194" y="1242"/>
                  </a:lnTo>
                  <a:lnTo>
                    <a:pt x="1194" y="1206"/>
                  </a:lnTo>
                  <a:lnTo>
                    <a:pt x="1182" y="1200"/>
                  </a:lnTo>
                  <a:lnTo>
                    <a:pt x="1164" y="1206"/>
                  </a:lnTo>
                  <a:lnTo>
                    <a:pt x="1146" y="1212"/>
                  </a:lnTo>
                  <a:lnTo>
                    <a:pt x="1146" y="1218"/>
                  </a:lnTo>
                  <a:lnTo>
                    <a:pt x="1134" y="1224"/>
                  </a:lnTo>
                  <a:lnTo>
                    <a:pt x="1140" y="1260"/>
                  </a:lnTo>
                  <a:lnTo>
                    <a:pt x="1134" y="1266"/>
                  </a:lnTo>
                  <a:lnTo>
                    <a:pt x="1122" y="1266"/>
                  </a:lnTo>
                  <a:lnTo>
                    <a:pt x="1110" y="1236"/>
                  </a:lnTo>
                  <a:lnTo>
                    <a:pt x="1110" y="1224"/>
                  </a:lnTo>
                  <a:lnTo>
                    <a:pt x="1086" y="1224"/>
                  </a:lnTo>
                  <a:lnTo>
                    <a:pt x="1086" y="1212"/>
                  </a:lnTo>
                  <a:lnTo>
                    <a:pt x="1074" y="1212"/>
                  </a:lnTo>
                  <a:lnTo>
                    <a:pt x="1050" y="1212"/>
                  </a:lnTo>
                  <a:lnTo>
                    <a:pt x="1056" y="1218"/>
                  </a:lnTo>
                  <a:lnTo>
                    <a:pt x="1050" y="1272"/>
                  </a:lnTo>
                  <a:lnTo>
                    <a:pt x="1044" y="1272"/>
                  </a:lnTo>
                  <a:lnTo>
                    <a:pt x="1038" y="1284"/>
                  </a:lnTo>
                  <a:lnTo>
                    <a:pt x="1032" y="1302"/>
                  </a:lnTo>
                  <a:lnTo>
                    <a:pt x="1014" y="1302"/>
                  </a:lnTo>
                  <a:lnTo>
                    <a:pt x="1020" y="1284"/>
                  </a:lnTo>
                  <a:lnTo>
                    <a:pt x="1026" y="1278"/>
                  </a:lnTo>
                  <a:lnTo>
                    <a:pt x="1026" y="1266"/>
                  </a:lnTo>
                  <a:lnTo>
                    <a:pt x="1014" y="1260"/>
                  </a:lnTo>
                  <a:lnTo>
                    <a:pt x="1014" y="1272"/>
                  </a:lnTo>
                  <a:lnTo>
                    <a:pt x="990" y="1278"/>
                  </a:lnTo>
                  <a:lnTo>
                    <a:pt x="990" y="1254"/>
                  </a:lnTo>
                  <a:lnTo>
                    <a:pt x="984" y="1254"/>
                  </a:lnTo>
                  <a:lnTo>
                    <a:pt x="978" y="1242"/>
                  </a:lnTo>
                  <a:lnTo>
                    <a:pt x="972" y="1236"/>
                  </a:lnTo>
                  <a:lnTo>
                    <a:pt x="960" y="1206"/>
                  </a:lnTo>
                  <a:lnTo>
                    <a:pt x="942" y="1206"/>
                  </a:lnTo>
                  <a:lnTo>
                    <a:pt x="936" y="1200"/>
                  </a:lnTo>
                  <a:lnTo>
                    <a:pt x="906" y="1212"/>
                  </a:lnTo>
                  <a:lnTo>
                    <a:pt x="888" y="1230"/>
                  </a:lnTo>
                  <a:lnTo>
                    <a:pt x="876" y="1230"/>
                  </a:lnTo>
                  <a:lnTo>
                    <a:pt x="864" y="1236"/>
                  </a:lnTo>
                  <a:lnTo>
                    <a:pt x="858" y="1236"/>
                  </a:lnTo>
                  <a:lnTo>
                    <a:pt x="852" y="1254"/>
                  </a:lnTo>
                  <a:lnTo>
                    <a:pt x="858" y="1254"/>
                  </a:lnTo>
                  <a:lnTo>
                    <a:pt x="840" y="1266"/>
                  </a:lnTo>
                  <a:lnTo>
                    <a:pt x="828" y="1272"/>
                  </a:lnTo>
                  <a:lnTo>
                    <a:pt x="828" y="1284"/>
                  </a:lnTo>
                  <a:lnTo>
                    <a:pt x="822" y="1284"/>
                  </a:lnTo>
                  <a:lnTo>
                    <a:pt x="804" y="1296"/>
                  </a:lnTo>
                  <a:lnTo>
                    <a:pt x="804" y="1308"/>
                  </a:lnTo>
                  <a:lnTo>
                    <a:pt x="816" y="1320"/>
                  </a:lnTo>
                  <a:lnTo>
                    <a:pt x="828" y="1320"/>
                  </a:lnTo>
                  <a:lnTo>
                    <a:pt x="822" y="1338"/>
                  </a:lnTo>
                  <a:lnTo>
                    <a:pt x="852" y="1344"/>
                  </a:lnTo>
                  <a:lnTo>
                    <a:pt x="864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94" y="1356"/>
                  </a:lnTo>
                  <a:lnTo>
                    <a:pt x="912" y="1368"/>
                  </a:lnTo>
                  <a:lnTo>
                    <a:pt x="918" y="1380"/>
                  </a:lnTo>
                  <a:lnTo>
                    <a:pt x="936" y="1380"/>
                  </a:lnTo>
                  <a:lnTo>
                    <a:pt x="960" y="1386"/>
                  </a:lnTo>
                  <a:lnTo>
                    <a:pt x="990" y="1386"/>
                  </a:lnTo>
                  <a:lnTo>
                    <a:pt x="990" y="1392"/>
                  </a:lnTo>
                  <a:lnTo>
                    <a:pt x="1020" y="1398"/>
                  </a:lnTo>
                  <a:lnTo>
                    <a:pt x="1014" y="1404"/>
                  </a:lnTo>
                  <a:lnTo>
                    <a:pt x="1008" y="1404"/>
                  </a:lnTo>
                  <a:lnTo>
                    <a:pt x="1014" y="1440"/>
                  </a:lnTo>
                  <a:lnTo>
                    <a:pt x="1020" y="1458"/>
                  </a:lnTo>
                  <a:lnTo>
                    <a:pt x="1026" y="1476"/>
                  </a:lnTo>
                  <a:lnTo>
                    <a:pt x="1020" y="1476"/>
                  </a:lnTo>
                  <a:lnTo>
                    <a:pt x="1014" y="1476"/>
                  </a:lnTo>
                  <a:lnTo>
                    <a:pt x="1014" y="1482"/>
                  </a:lnTo>
                  <a:lnTo>
                    <a:pt x="1014" y="1488"/>
                  </a:lnTo>
                  <a:lnTo>
                    <a:pt x="1002" y="1488"/>
                  </a:lnTo>
                  <a:lnTo>
                    <a:pt x="1002" y="1494"/>
                  </a:lnTo>
                  <a:lnTo>
                    <a:pt x="996" y="1494"/>
                  </a:lnTo>
                  <a:lnTo>
                    <a:pt x="996" y="1518"/>
                  </a:lnTo>
                  <a:lnTo>
                    <a:pt x="1002" y="1524"/>
                  </a:lnTo>
                  <a:lnTo>
                    <a:pt x="1020" y="1530"/>
                  </a:lnTo>
                  <a:lnTo>
                    <a:pt x="1026" y="1542"/>
                  </a:lnTo>
                  <a:lnTo>
                    <a:pt x="1032" y="1566"/>
                  </a:lnTo>
                  <a:lnTo>
                    <a:pt x="1038" y="1578"/>
                  </a:lnTo>
                  <a:lnTo>
                    <a:pt x="1032" y="1584"/>
                  </a:lnTo>
                  <a:lnTo>
                    <a:pt x="1020" y="1584"/>
                  </a:lnTo>
                  <a:lnTo>
                    <a:pt x="1014" y="1584"/>
                  </a:lnTo>
                  <a:lnTo>
                    <a:pt x="1008" y="1596"/>
                  </a:lnTo>
                  <a:lnTo>
                    <a:pt x="990" y="1584"/>
                  </a:lnTo>
                  <a:lnTo>
                    <a:pt x="984" y="1602"/>
                  </a:lnTo>
                  <a:lnTo>
                    <a:pt x="978" y="1608"/>
                  </a:lnTo>
                  <a:lnTo>
                    <a:pt x="966" y="1608"/>
                  </a:lnTo>
                  <a:lnTo>
                    <a:pt x="960" y="1614"/>
                  </a:lnTo>
                  <a:lnTo>
                    <a:pt x="954" y="1614"/>
                  </a:lnTo>
                  <a:lnTo>
                    <a:pt x="942" y="1620"/>
                  </a:lnTo>
                  <a:lnTo>
                    <a:pt x="936" y="1620"/>
                  </a:lnTo>
                  <a:lnTo>
                    <a:pt x="930" y="1620"/>
                  </a:lnTo>
                  <a:lnTo>
                    <a:pt x="930" y="1626"/>
                  </a:lnTo>
                  <a:lnTo>
                    <a:pt x="930" y="1632"/>
                  </a:lnTo>
                  <a:lnTo>
                    <a:pt x="918" y="1632"/>
                  </a:lnTo>
                  <a:lnTo>
                    <a:pt x="912" y="1632"/>
                  </a:lnTo>
                  <a:lnTo>
                    <a:pt x="906" y="1632"/>
                  </a:lnTo>
                  <a:lnTo>
                    <a:pt x="900" y="1632"/>
                  </a:lnTo>
                  <a:lnTo>
                    <a:pt x="894" y="1626"/>
                  </a:lnTo>
                  <a:lnTo>
                    <a:pt x="894" y="1614"/>
                  </a:lnTo>
                  <a:lnTo>
                    <a:pt x="840" y="1614"/>
                  </a:lnTo>
                  <a:lnTo>
                    <a:pt x="840" y="1626"/>
                  </a:lnTo>
                  <a:lnTo>
                    <a:pt x="834" y="1626"/>
                  </a:lnTo>
                  <a:lnTo>
                    <a:pt x="828" y="1632"/>
                  </a:lnTo>
                  <a:lnTo>
                    <a:pt x="822" y="1638"/>
                  </a:lnTo>
                  <a:lnTo>
                    <a:pt x="822" y="1644"/>
                  </a:lnTo>
                  <a:lnTo>
                    <a:pt x="834" y="1650"/>
                  </a:lnTo>
                  <a:lnTo>
                    <a:pt x="840" y="1662"/>
                  </a:lnTo>
                  <a:lnTo>
                    <a:pt x="840" y="1668"/>
                  </a:lnTo>
                  <a:lnTo>
                    <a:pt x="858" y="1680"/>
                  </a:lnTo>
                  <a:lnTo>
                    <a:pt x="858" y="1752"/>
                  </a:lnTo>
                  <a:lnTo>
                    <a:pt x="864" y="1782"/>
                  </a:lnTo>
                  <a:lnTo>
                    <a:pt x="876" y="1788"/>
                  </a:lnTo>
                  <a:lnTo>
                    <a:pt x="870" y="1854"/>
                  </a:lnTo>
                  <a:lnTo>
                    <a:pt x="870" y="1884"/>
                  </a:lnTo>
                  <a:lnTo>
                    <a:pt x="864" y="1884"/>
                  </a:lnTo>
                  <a:lnTo>
                    <a:pt x="846" y="1896"/>
                  </a:lnTo>
                  <a:lnTo>
                    <a:pt x="840" y="1896"/>
                  </a:lnTo>
                  <a:lnTo>
                    <a:pt x="834" y="1896"/>
                  </a:lnTo>
                  <a:lnTo>
                    <a:pt x="828" y="1890"/>
                  </a:lnTo>
                  <a:lnTo>
                    <a:pt x="822" y="1890"/>
                  </a:lnTo>
                  <a:lnTo>
                    <a:pt x="816" y="1896"/>
                  </a:lnTo>
                  <a:lnTo>
                    <a:pt x="804" y="1896"/>
                  </a:lnTo>
                  <a:lnTo>
                    <a:pt x="804" y="1890"/>
                  </a:lnTo>
                  <a:lnTo>
                    <a:pt x="780" y="1896"/>
                  </a:lnTo>
                  <a:lnTo>
                    <a:pt x="780" y="1902"/>
                  </a:lnTo>
                  <a:lnTo>
                    <a:pt x="774" y="1914"/>
                  </a:lnTo>
                  <a:lnTo>
                    <a:pt x="762" y="1926"/>
                  </a:lnTo>
                  <a:lnTo>
                    <a:pt x="762" y="1950"/>
                  </a:lnTo>
                  <a:lnTo>
                    <a:pt x="762" y="1962"/>
                  </a:lnTo>
                  <a:lnTo>
                    <a:pt x="780" y="1974"/>
                  </a:lnTo>
                  <a:lnTo>
                    <a:pt x="780" y="1986"/>
                  </a:lnTo>
                  <a:lnTo>
                    <a:pt x="780" y="1998"/>
                  </a:lnTo>
                  <a:lnTo>
                    <a:pt x="756" y="1998"/>
                  </a:lnTo>
                  <a:lnTo>
                    <a:pt x="720" y="1992"/>
                  </a:lnTo>
                  <a:lnTo>
                    <a:pt x="666" y="1998"/>
                  </a:lnTo>
                  <a:lnTo>
                    <a:pt x="654" y="1998"/>
                  </a:lnTo>
                  <a:lnTo>
                    <a:pt x="660" y="1974"/>
                  </a:lnTo>
                  <a:lnTo>
                    <a:pt x="666" y="1962"/>
                  </a:lnTo>
                  <a:lnTo>
                    <a:pt x="678" y="1950"/>
                  </a:lnTo>
                  <a:lnTo>
                    <a:pt x="696" y="1932"/>
                  </a:lnTo>
                  <a:lnTo>
                    <a:pt x="696" y="1920"/>
                  </a:lnTo>
                  <a:lnTo>
                    <a:pt x="696" y="1896"/>
                  </a:lnTo>
                  <a:lnTo>
                    <a:pt x="678" y="1896"/>
                  </a:lnTo>
                  <a:lnTo>
                    <a:pt x="672" y="1884"/>
                  </a:lnTo>
                  <a:lnTo>
                    <a:pt x="672" y="1776"/>
                  </a:lnTo>
                  <a:lnTo>
                    <a:pt x="678" y="1758"/>
                  </a:lnTo>
                  <a:lnTo>
                    <a:pt x="678" y="1740"/>
                  </a:lnTo>
                  <a:lnTo>
                    <a:pt x="684" y="1728"/>
                  </a:lnTo>
                  <a:lnTo>
                    <a:pt x="690" y="1722"/>
                  </a:lnTo>
                  <a:lnTo>
                    <a:pt x="702" y="1722"/>
                  </a:lnTo>
                  <a:lnTo>
                    <a:pt x="708" y="1716"/>
                  </a:lnTo>
                  <a:lnTo>
                    <a:pt x="714" y="1710"/>
                  </a:lnTo>
                  <a:lnTo>
                    <a:pt x="720" y="1698"/>
                  </a:lnTo>
                  <a:lnTo>
                    <a:pt x="732" y="1692"/>
                  </a:lnTo>
                  <a:lnTo>
                    <a:pt x="744" y="1686"/>
                  </a:lnTo>
                  <a:lnTo>
                    <a:pt x="756" y="1680"/>
                  </a:lnTo>
                  <a:lnTo>
                    <a:pt x="768" y="1668"/>
                  </a:lnTo>
                  <a:lnTo>
                    <a:pt x="768" y="1650"/>
                  </a:lnTo>
                  <a:lnTo>
                    <a:pt x="774" y="1632"/>
                  </a:lnTo>
                  <a:lnTo>
                    <a:pt x="768" y="1620"/>
                  </a:lnTo>
                  <a:lnTo>
                    <a:pt x="774" y="1608"/>
                  </a:lnTo>
                  <a:lnTo>
                    <a:pt x="774" y="1578"/>
                  </a:lnTo>
                  <a:lnTo>
                    <a:pt x="774" y="1572"/>
                  </a:lnTo>
                  <a:lnTo>
                    <a:pt x="780" y="1560"/>
                  </a:lnTo>
                  <a:lnTo>
                    <a:pt x="780" y="1554"/>
                  </a:lnTo>
                  <a:lnTo>
                    <a:pt x="786" y="1542"/>
                  </a:lnTo>
                  <a:lnTo>
                    <a:pt x="792" y="1530"/>
                  </a:lnTo>
                  <a:lnTo>
                    <a:pt x="792" y="1518"/>
                  </a:lnTo>
                  <a:lnTo>
                    <a:pt x="792" y="1506"/>
                  </a:lnTo>
                  <a:lnTo>
                    <a:pt x="786" y="1500"/>
                  </a:lnTo>
                  <a:lnTo>
                    <a:pt x="774" y="1488"/>
                  </a:lnTo>
                  <a:lnTo>
                    <a:pt x="774" y="1482"/>
                  </a:lnTo>
                  <a:lnTo>
                    <a:pt x="762" y="1488"/>
                  </a:lnTo>
                  <a:lnTo>
                    <a:pt x="756" y="1494"/>
                  </a:lnTo>
                  <a:lnTo>
                    <a:pt x="744" y="1500"/>
                  </a:lnTo>
                  <a:lnTo>
                    <a:pt x="732" y="1506"/>
                  </a:lnTo>
                  <a:lnTo>
                    <a:pt x="726" y="1506"/>
                  </a:lnTo>
                  <a:lnTo>
                    <a:pt x="720" y="1506"/>
                  </a:lnTo>
                  <a:lnTo>
                    <a:pt x="702" y="1506"/>
                  </a:lnTo>
                  <a:lnTo>
                    <a:pt x="690" y="1500"/>
                  </a:lnTo>
                  <a:lnTo>
                    <a:pt x="678" y="1500"/>
                  </a:lnTo>
                  <a:lnTo>
                    <a:pt x="672" y="1500"/>
                  </a:lnTo>
                  <a:lnTo>
                    <a:pt x="660" y="1506"/>
                  </a:lnTo>
                  <a:lnTo>
                    <a:pt x="654" y="1506"/>
                  </a:lnTo>
                  <a:lnTo>
                    <a:pt x="648" y="1512"/>
                  </a:lnTo>
                  <a:lnTo>
                    <a:pt x="648" y="1518"/>
                  </a:lnTo>
                  <a:lnTo>
                    <a:pt x="618" y="1518"/>
                  </a:lnTo>
                  <a:lnTo>
                    <a:pt x="534" y="1494"/>
                  </a:lnTo>
                  <a:lnTo>
                    <a:pt x="528" y="1458"/>
                  </a:lnTo>
                  <a:lnTo>
                    <a:pt x="510" y="1458"/>
                  </a:lnTo>
                  <a:lnTo>
                    <a:pt x="492" y="1440"/>
                  </a:lnTo>
                  <a:lnTo>
                    <a:pt x="462" y="1440"/>
                  </a:lnTo>
                  <a:lnTo>
                    <a:pt x="456" y="1428"/>
                  </a:lnTo>
                  <a:lnTo>
                    <a:pt x="420" y="1428"/>
                  </a:lnTo>
                  <a:lnTo>
                    <a:pt x="390" y="1446"/>
                  </a:lnTo>
                  <a:lnTo>
                    <a:pt x="312" y="1452"/>
                  </a:lnTo>
                  <a:lnTo>
                    <a:pt x="300" y="1446"/>
                  </a:lnTo>
                  <a:lnTo>
                    <a:pt x="294" y="1446"/>
                  </a:lnTo>
                  <a:lnTo>
                    <a:pt x="288" y="1446"/>
                  </a:lnTo>
                  <a:lnTo>
                    <a:pt x="282" y="1440"/>
                  </a:lnTo>
                  <a:lnTo>
                    <a:pt x="276" y="1440"/>
                  </a:lnTo>
                  <a:lnTo>
                    <a:pt x="270" y="1440"/>
                  </a:lnTo>
                  <a:lnTo>
                    <a:pt x="264" y="1440"/>
                  </a:lnTo>
                  <a:lnTo>
                    <a:pt x="258" y="1434"/>
                  </a:lnTo>
                  <a:lnTo>
                    <a:pt x="252" y="1434"/>
                  </a:lnTo>
                  <a:lnTo>
                    <a:pt x="246" y="1428"/>
                  </a:lnTo>
                  <a:lnTo>
                    <a:pt x="240" y="1416"/>
                  </a:lnTo>
                  <a:lnTo>
                    <a:pt x="234" y="1404"/>
                  </a:lnTo>
                  <a:lnTo>
                    <a:pt x="228" y="1398"/>
                  </a:lnTo>
                  <a:lnTo>
                    <a:pt x="222" y="1398"/>
                  </a:lnTo>
                  <a:lnTo>
                    <a:pt x="216" y="1404"/>
                  </a:lnTo>
                  <a:lnTo>
                    <a:pt x="210" y="1404"/>
                  </a:lnTo>
                  <a:lnTo>
                    <a:pt x="204" y="1404"/>
                  </a:lnTo>
                  <a:lnTo>
                    <a:pt x="204" y="1398"/>
                  </a:lnTo>
                  <a:lnTo>
                    <a:pt x="198" y="1392"/>
                  </a:lnTo>
                  <a:lnTo>
                    <a:pt x="192" y="1386"/>
                  </a:lnTo>
                  <a:lnTo>
                    <a:pt x="168" y="1374"/>
                  </a:lnTo>
                  <a:lnTo>
                    <a:pt x="144" y="13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0" name="Freeform 35">
              <a:extLst>
                <a:ext uri="{FF2B5EF4-FFF2-40B4-BE49-F238E27FC236}">
                  <a16:creationId xmlns:a16="http://schemas.microsoft.com/office/drawing/2014/main" id="{F64BF16E-9D62-438E-A1CC-CD4088AC7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2895" y="1706004"/>
              <a:ext cx="767013" cy="785011"/>
            </a:xfrm>
            <a:custGeom>
              <a:avLst/>
              <a:gdLst>
                <a:gd name="T0" fmla="*/ 102 w 1440"/>
                <a:gd name="T1" fmla="*/ 104 h 1476"/>
                <a:gd name="T2" fmla="*/ 99 w 1440"/>
                <a:gd name="T3" fmla="*/ 108 h 1476"/>
                <a:gd name="T4" fmla="*/ 98 w 1440"/>
                <a:gd name="T5" fmla="*/ 112 h 1476"/>
                <a:gd name="T6" fmla="*/ 96 w 1440"/>
                <a:gd name="T7" fmla="*/ 116 h 1476"/>
                <a:gd name="T8" fmla="*/ 91 w 1440"/>
                <a:gd name="T9" fmla="*/ 118 h 1476"/>
                <a:gd name="T10" fmla="*/ 87 w 1440"/>
                <a:gd name="T11" fmla="*/ 120 h 1476"/>
                <a:gd name="T12" fmla="*/ 75 w 1440"/>
                <a:gd name="T13" fmla="*/ 120 h 1476"/>
                <a:gd name="T14" fmla="*/ 72 w 1440"/>
                <a:gd name="T15" fmla="*/ 123 h 1476"/>
                <a:gd name="T16" fmla="*/ 69 w 1440"/>
                <a:gd name="T17" fmla="*/ 128 h 1476"/>
                <a:gd name="T18" fmla="*/ 67 w 1440"/>
                <a:gd name="T19" fmla="*/ 127 h 1476"/>
                <a:gd name="T20" fmla="*/ 66 w 1440"/>
                <a:gd name="T21" fmla="*/ 123 h 1476"/>
                <a:gd name="T22" fmla="*/ 63 w 1440"/>
                <a:gd name="T23" fmla="*/ 119 h 1476"/>
                <a:gd name="T24" fmla="*/ 54 w 1440"/>
                <a:gd name="T25" fmla="*/ 114 h 1476"/>
                <a:gd name="T26" fmla="*/ 55 w 1440"/>
                <a:gd name="T27" fmla="*/ 106 h 1476"/>
                <a:gd name="T28" fmla="*/ 60 w 1440"/>
                <a:gd name="T29" fmla="*/ 100 h 1476"/>
                <a:gd name="T30" fmla="*/ 55 w 1440"/>
                <a:gd name="T31" fmla="*/ 91 h 1476"/>
                <a:gd name="T32" fmla="*/ 51 w 1440"/>
                <a:gd name="T33" fmla="*/ 86 h 1476"/>
                <a:gd name="T34" fmla="*/ 47 w 1440"/>
                <a:gd name="T35" fmla="*/ 85 h 1476"/>
                <a:gd name="T36" fmla="*/ 44 w 1440"/>
                <a:gd name="T37" fmla="*/ 82 h 1476"/>
                <a:gd name="T38" fmla="*/ 41 w 1440"/>
                <a:gd name="T39" fmla="*/ 83 h 1476"/>
                <a:gd name="T40" fmla="*/ 36 w 1440"/>
                <a:gd name="T41" fmla="*/ 83 h 1476"/>
                <a:gd name="T42" fmla="*/ 33 w 1440"/>
                <a:gd name="T43" fmla="*/ 83 h 1476"/>
                <a:gd name="T44" fmla="*/ 30 w 1440"/>
                <a:gd name="T45" fmla="*/ 83 h 1476"/>
                <a:gd name="T46" fmla="*/ 27 w 1440"/>
                <a:gd name="T47" fmla="*/ 83 h 1476"/>
                <a:gd name="T48" fmla="*/ 24 w 1440"/>
                <a:gd name="T49" fmla="*/ 82 h 1476"/>
                <a:gd name="T50" fmla="*/ 21 w 1440"/>
                <a:gd name="T51" fmla="*/ 80 h 1476"/>
                <a:gd name="T52" fmla="*/ 18 w 1440"/>
                <a:gd name="T53" fmla="*/ 79 h 1476"/>
                <a:gd name="T54" fmla="*/ 17 w 1440"/>
                <a:gd name="T55" fmla="*/ 78 h 1476"/>
                <a:gd name="T56" fmla="*/ 12 w 1440"/>
                <a:gd name="T57" fmla="*/ 78 h 1476"/>
                <a:gd name="T58" fmla="*/ 12 w 1440"/>
                <a:gd name="T59" fmla="*/ 78 h 1476"/>
                <a:gd name="T60" fmla="*/ 7 w 1440"/>
                <a:gd name="T61" fmla="*/ 80 h 1476"/>
                <a:gd name="T62" fmla="*/ 3 w 1440"/>
                <a:gd name="T63" fmla="*/ 81 h 1476"/>
                <a:gd name="T64" fmla="*/ 0 w 1440"/>
                <a:gd name="T65" fmla="*/ 76 h 1476"/>
                <a:gd name="T66" fmla="*/ 1 w 1440"/>
                <a:gd name="T67" fmla="*/ 50 h 1476"/>
                <a:gd name="T68" fmla="*/ 8 w 1440"/>
                <a:gd name="T69" fmla="*/ 48 h 1476"/>
                <a:gd name="T70" fmla="*/ 20 w 1440"/>
                <a:gd name="T71" fmla="*/ 49 h 1476"/>
                <a:gd name="T72" fmla="*/ 26 w 1440"/>
                <a:gd name="T73" fmla="*/ 50 h 1476"/>
                <a:gd name="T74" fmla="*/ 44 w 1440"/>
                <a:gd name="T75" fmla="*/ 47 h 1476"/>
                <a:gd name="T76" fmla="*/ 41 w 1440"/>
                <a:gd name="T77" fmla="*/ 24 h 1476"/>
                <a:gd name="T78" fmla="*/ 44 w 1440"/>
                <a:gd name="T79" fmla="*/ 20 h 1476"/>
                <a:gd name="T80" fmla="*/ 47 w 1440"/>
                <a:gd name="T81" fmla="*/ 18 h 1476"/>
                <a:gd name="T82" fmla="*/ 54 w 1440"/>
                <a:gd name="T83" fmla="*/ 21 h 1476"/>
                <a:gd name="T84" fmla="*/ 61 w 1440"/>
                <a:gd name="T85" fmla="*/ 23 h 1476"/>
                <a:gd name="T86" fmla="*/ 59 w 1440"/>
                <a:gd name="T87" fmla="*/ 14 h 1476"/>
                <a:gd name="T88" fmla="*/ 61 w 1440"/>
                <a:gd name="T89" fmla="*/ 8 h 1476"/>
                <a:gd name="T90" fmla="*/ 71 w 1440"/>
                <a:gd name="T91" fmla="*/ 7 h 1476"/>
                <a:gd name="T92" fmla="*/ 75 w 1440"/>
                <a:gd name="T93" fmla="*/ 0 h 1476"/>
                <a:gd name="T94" fmla="*/ 82 w 1440"/>
                <a:gd name="T95" fmla="*/ 3 h 1476"/>
                <a:gd name="T96" fmla="*/ 93 w 1440"/>
                <a:gd name="T97" fmla="*/ 5 h 1476"/>
                <a:gd name="T98" fmla="*/ 100 w 1440"/>
                <a:gd name="T99" fmla="*/ 1 h 1476"/>
                <a:gd name="T100" fmla="*/ 104 w 1440"/>
                <a:gd name="T101" fmla="*/ 4 h 1476"/>
                <a:gd name="T102" fmla="*/ 110 w 1440"/>
                <a:gd name="T103" fmla="*/ 10 h 1476"/>
                <a:gd name="T104" fmla="*/ 115 w 1440"/>
                <a:gd name="T105" fmla="*/ 23 h 1476"/>
                <a:gd name="T106" fmla="*/ 117 w 1440"/>
                <a:gd name="T107" fmla="*/ 42 h 1476"/>
                <a:gd name="T108" fmla="*/ 121 w 1440"/>
                <a:gd name="T109" fmla="*/ 52 h 1476"/>
                <a:gd name="T110" fmla="*/ 118 w 1440"/>
                <a:gd name="T111" fmla="*/ 62 h 1476"/>
                <a:gd name="T112" fmla="*/ 124 w 1440"/>
                <a:gd name="T113" fmla="*/ 66 h 1476"/>
                <a:gd name="T114" fmla="*/ 121 w 1440"/>
                <a:gd name="T115" fmla="*/ 71 h 1476"/>
                <a:gd name="T116" fmla="*/ 115 w 1440"/>
                <a:gd name="T117" fmla="*/ 76 h 1476"/>
                <a:gd name="T118" fmla="*/ 109 w 1440"/>
                <a:gd name="T119" fmla="*/ 76 h 1476"/>
                <a:gd name="T120" fmla="*/ 105 w 1440"/>
                <a:gd name="T121" fmla="*/ 86 h 1476"/>
                <a:gd name="T122" fmla="*/ 107 w 1440"/>
                <a:gd name="T123" fmla="*/ 97 h 147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40"/>
                <a:gd name="T187" fmla="*/ 0 h 1476"/>
                <a:gd name="T188" fmla="*/ 1440 w 1440"/>
                <a:gd name="T189" fmla="*/ 1476 h 147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40" h="1476">
                  <a:moveTo>
                    <a:pt x="1212" y="1164"/>
                  </a:moveTo>
                  <a:lnTo>
                    <a:pt x="1206" y="1170"/>
                  </a:lnTo>
                  <a:lnTo>
                    <a:pt x="1200" y="1176"/>
                  </a:lnTo>
                  <a:lnTo>
                    <a:pt x="1194" y="1176"/>
                  </a:lnTo>
                  <a:lnTo>
                    <a:pt x="1188" y="1188"/>
                  </a:lnTo>
                  <a:lnTo>
                    <a:pt x="1182" y="1194"/>
                  </a:lnTo>
                  <a:lnTo>
                    <a:pt x="1176" y="1194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64" y="1206"/>
                  </a:lnTo>
                  <a:lnTo>
                    <a:pt x="1158" y="1206"/>
                  </a:lnTo>
                  <a:lnTo>
                    <a:pt x="1152" y="1212"/>
                  </a:lnTo>
                  <a:lnTo>
                    <a:pt x="1146" y="1212"/>
                  </a:lnTo>
                  <a:lnTo>
                    <a:pt x="1140" y="1224"/>
                  </a:lnTo>
                  <a:lnTo>
                    <a:pt x="1134" y="1230"/>
                  </a:lnTo>
                  <a:lnTo>
                    <a:pt x="1128" y="1236"/>
                  </a:lnTo>
                  <a:lnTo>
                    <a:pt x="1128" y="1242"/>
                  </a:lnTo>
                  <a:lnTo>
                    <a:pt x="1128" y="1254"/>
                  </a:lnTo>
                  <a:lnTo>
                    <a:pt x="1128" y="1260"/>
                  </a:lnTo>
                  <a:lnTo>
                    <a:pt x="1122" y="1260"/>
                  </a:lnTo>
                  <a:lnTo>
                    <a:pt x="1122" y="1266"/>
                  </a:lnTo>
                  <a:lnTo>
                    <a:pt x="1128" y="1278"/>
                  </a:lnTo>
                  <a:lnTo>
                    <a:pt x="1122" y="1278"/>
                  </a:lnTo>
                  <a:lnTo>
                    <a:pt x="1122" y="1284"/>
                  </a:lnTo>
                  <a:lnTo>
                    <a:pt x="1128" y="1290"/>
                  </a:lnTo>
                  <a:lnTo>
                    <a:pt x="1122" y="1296"/>
                  </a:lnTo>
                  <a:lnTo>
                    <a:pt x="1122" y="1302"/>
                  </a:lnTo>
                  <a:lnTo>
                    <a:pt x="1116" y="1302"/>
                  </a:lnTo>
                  <a:lnTo>
                    <a:pt x="1110" y="1314"/>
                  </a:lnTo>
                  <a:lnTo>
                    <a:pt x="1110" y="1320"/>
                  </a:lnTo>
                  <a:lnTo>
                    <a:pt x="1110" y="1326"/>
                  </a:lnTo>
                  <a:lnTo>
                    <a:pt x="1098" y="1332"/>
                  </a:lnTo>
                  <a:lnTo>
                    <a:pt x="1092" y="1338"/>
                  </a:lnTo>
                  <a:lnTo>
                    <a:pt x="1092" y="1344"/>
                  </a:lnTo>
                  <a:lnTo>
                    <a:pt x="1086" y="1350"/>
                  </a:lnTo>
                  <a:lnTo>
                    <a:pt x="1080" y="1350"/>
                  </a:lnTo>
                  <a:lnTo>
                    <a:pt x="1074" y="1350"/>
                  </a:lnTo>
                  <a:lnTo>
                    <a:pt x="1068" y="1356"/>
                  </a:lnTo>
                  <a:lnTo>
                    <a:pt x="1062" y="1356"/>
                  </a:lnTo>
                  <a:lnTo>
                    <a:pt x="1044" y="1356"/>
                  </a:lnTo>
                  <a:lnTo>
                    <a:pt x="1038" y="1362"/>
                  </a:lnTo>
                  <a:lnTo>
                    <a:pt x="1032" y="1368"/>
                  </a:lnTo>
                  <a:lnTo>
                    <a:pt x="1026" y="1368"/>
                  </a:lnTo>
                  <a:lnTo>
                    <a:pt x="1020" y="1374"/>
                  </a:lnTo>
                  <a:lnTo>
                    <a:pt x="1008" y="1374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74"/>
                  </a:lnTo>
                  <a:lnTo>
                    <a:pt x="978" y="1380"/>
                  </a:lnTo>
                  <a:lnTo>
                    <a:pt x="972" y="1380"/>
                  </a:lnTo>
                  <a:lnTo>
                    <a:pt x="954" y="1368"/>
                  </a:lnTo>
                  <a:lnTo>
                    <a:pt x="930" y="1368"/>
                  </a:lnTo>
                  <a:lnTo>
                    <a:pt x="918" y="1368"/>
                  </a:lnTo>
                  <a:lnTo>
                    <a:pt x="906" y="1368"/>
                  </a:lnTo>
                  <a:lnTo>
                    <a:pt x="894" y="1368"/>
                  </a:lnTo>
                  <a:lnTo>
                    <a:pt x="864" y="1374"/>
                  </a:lnTo>
                  <a:lnTo>
                    <a:pt x="852" y="1374"/>
                  </a:lnTo>
                  <a:lnTo>
                    <a:pt x="846" y="1386"/>
                  </a:lnTo>
                  <a:lnTo>
                    <a:pt x="846" y="1392"/>
                  </a:lnTo>
                  <a:lnTo>
                    <a:pt x="840" y="1398"/>
                  </a:lnTo>
                  <a:lnTo>
                    <a:pt x="840" y="1404"/>
                  </a:lnTo>
                  <a:lnTo>
                    <a:pt x="834" y="1416"/>
                  </a:lnTo>
                  <a:lnTo>
                    <a:pt x="828" y="1416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04" y="1428"/>
                  </a:lnTo>
                  <a:lnTo>
                    <a:pt x="804" y="1434"/>
                  </a:lnTo>
                  <a:lnTo>
                    <a:pt x="804" y="1440"/>
                  </a:lnTo>
                  <a:lnTo>
                    <a:pt x="798" y="1446"/>
                  </a:lnTo>
                  <a:lnTo>
                    <a:pt x="798" y="1458"/>
                  </a:lnTo>
                  <a:lnTo>
                    <a:pt x="792" y="1464"/>
                  </a:lnTo>
                  <a:lnTo>
                    <a:pt x="786" y="1476"/>
                  </a:lnTo>
                  <a:lnTo>
                    <a:pt x="780" y="1470"/>
                  </a:lnTo>
                  <a:lnTo>
                    <a:pt x="774" y="1470"/>
                  </a:lnTo>
                  <a:lnTo>
                    <a:pt x="768" y="1470"/>
                  </a:lnTo>
                  <a:lnTo>
                    <a:pt x="762" y="1476"/>
                  </a:lnTo>
                  <a:lnTo>
                    <a:pt x="762" y="1470"/>
                  </a:lnTo>
                  <a:lnTo>
                    <a:pt x="762" y="1464"/>
                  </a:lnTo>
                  <a:lnTo>
                    <a:pt x="762" y="1458"/>
                  </a:lnTo>
                  <a:lnTo>
                    <a:pt x="756" y="1458"/>
                  </a:lnTo>
                  <a:lnTo>
                    <a:pt x="756" y="1452"/>
                  </a:lnTo>
                  <a:lnTo>
                    <a:pt x="756" y="1446"/>
                  </a:lnTo>
                  <a:lnTo>
                    <a:pt x="756" y="1440"/>
                  </a:lnTo>
                  <a:lnTo>
                    <a:pt x="750" y="1434"/>
                  </a:lnTo>
                  <a:lnTo>
                    <a:pt x="750" y="1428"/>
                  </a:lnTo>
                  <a:lnTo>
                    <a:pt x="750" y="1422"/>
                  </a:lnTo>
                  <a:lnTo>
                    <a:pt x="750" y="1416"/>
                  </a:lnTo>
                  <a:lnTo>
                    <a:pt x="744" y="1416"/>
                  </a:lnTo>
                  <a:lnTo>
                    <a:pt x="744" y="1410"/>
                  </a:lnTo>
                  <a:lnTo>
                    <a:pt x="738" y="1404"/>
                  </a:lnTo>
                  <a:lnTo>
                    <a:pt x="732" y="1398"/>
                  </a:lnTo>
                  <a:lnTo>
                    <a:pt x="732" y="1392"/>
                  </a:lnTo>
                  <a:lnTo>
                    <a:pt x="726" y="1386"/>
                  </a:lnTo>
                  <a:lnTo>
                    <a:pt x="726" y="1380"/>
                  </a:lnTo>
                  <a:lnTo>
                    <a:pt x="714" y="1368"/>
                  </a:lnTo>
                  <a:lnTo>
                    <a:pt x="708" y="1368"/>
                  </a:lnTo>
                  <a:lnTo>
                    <a:pt x="684" y="1332"/>
                  </a:lnTo>
                  <a:lnTo>
                    <a:pt x="666" y="1320"/>
                  </a:lnTo>
                  <a:lnTo>
                    <a:pt x="648" y="1302"/>
                  </a:lnTo>
                  <a:lnTo>
                    <a:pt x="630" y="1314"/>
                  </a:lnTo>
                  <a:lnTo>
                    <a:pt x="624" y="1314"/>
                  </a:lnTo>
                  <a:lnTo>
                    <a:pt x="624" y="1308"/>
                  </a:lnTo>
                  <a:lnTo>
                    <a:pt x="618" y="1308"/>
                  </a:lnTo>
                  <a:lnTo>
                    <a:pt x="612" y="1284"/>
                  </a:lnTo>
                  <a:lnTo>
                    <a:pt x="606" y="1254"/>
                  </a:lnTo>
                  <a:lnTo>
                    <a:pt x="606" y="1248"/>
                  </a:lnTo>
                  <a:lnTo>
                    <a:pt x="606" y="1242"/>
                  </a:lnTo>
                  <a:lnTo>
                    <a:pt x="612" y="1242"/>
                  </a:lnTo>
                  <a:lnTo>
                    <a:pt x="618" y="1236"/>
                  </a:lnTo>
                  <a:lnTo>
                    <a:pt x="618" y="1230"/>
                  </a:lnTo>
                  <a:lnTo>
                    <a:pt x="624" y="1224"/>
                  </a:lnTo>
                  <a:lnTo>
                    <a:pt x="630" y="1224"/>
                  </a:lnTo>
                  <a:lnTo>
                    <a:pt x="636" y="1218"/>
                  </a:lnTo>
                  <a:lnTo>
                    <a:pt x="636" y="1212"/>
                  </a:lnTo>
                  <a:lnTo>
                    <a:pt x="612" y="1200"/>
                  </a:lnTo>
                  <a:lnTo>
                    <a:pt x="606" y="1182"/>
                  </a:lnTo>
                  <a:lnTo>
                    <a:pt x="672" y="1182"/>
                  </a:lnTo>
                  <a:lnTo>
                    <a:pt x="690" y="1170"/>
                  </a:lnTo>
                  <a:lnTo>
                    <a:pt x="690" y="1152"/>
                  </a:lnTo>
                  <a:lnTo>
                    <a:pt x="678" y="1110"/>
                  </a:lnTo>
                  <a:lnTo>
                    <a:pt x="672" y="1092"/>
                  </a:lnTo>
                  <a:lnTo>
                    <a:pt x="660" y="1074"/>
                  </a:lnTo>
                  <a:lnTo>
                    <a:pt x="648" y="1068"/>
                  </a:lnTo>
                  <a:lnTo>
                    <a:pt x="642" y="1068"/>
                  </a:lnTo>
                  <a:lnTo>
                    <a:pt x="636" y="1062"/>
                  </a:lnTo>
                  <a:lnTo>
                    <a:pt x="624" y="1056"/>
                  </a:lnTo>
                  <a:lnTo>
                    <a:pt x="624" y="1050"/>
                  </a:lnTo>
                  <a:lnTo>
                    <a:pt x="618" y="1038"/>
                  </a:lnTo>
                  <a:lnTo>
                    <a:pt x="612" y="1038"/>
                  </a:lnTo>
                  <a:lnTo>
                    <a:pt x="612" y="1032"/>
                  </a:lnTo>
                  <a:lnTo>
                    <a:pt x="612" y="1026"/>
                  </a:lnTo>
                  <a:lnTo>
                    <a:pt x="600" y="1014"/>
                  </a:lnTo>
                  <a:lnTo>
                    <a:pt x="582" y="1008"/>
                  </a:lnTo>
                  <a:lnTo>
                    <a:pt x="576" y="1002"/>
                  </a:lnTo>
                  <a:lnTo>
                    <a:pt x="576" y="996"/>
                  </a:lnTo>
                  <a:lnTo>
                    <a:pt x="570" y="996"/>
                  </a:lnTo>
                  <a:lnTo>
                    <a:pt x="570" y="990"/>
                  </a:lnTo>
                  <a:lnTo>
                    <a:pt x="570" y="984"/>
                  </a:lnTo>
                  <a:lnTo>
                    <a:pt x="564" y="984"/>
                  </a:lnTo>
                  <a:lnTo>
                    <a:pt x="558" y="978"/>
                  </a:lnTo>
                  <a:lnTo>
                    <a:pt x="552" y="972"/>
                  </a:lnTo>
                  <a:lnTo>
                    <a:pt x="552" y="966"/>
                  </a:lnTo>
                  <a:lnTo>
                    <a:pt x="546" y="972"/>
                  </a:lnTo>
                  <a:lnTo>
                    <a:pt x="540" y="972"/>
                  </a:lnTo>
                  <a:lnTo>
                    <a:pt x="534" y="960"/>
                  </a:lnTo>
                  <a:lnTo>
                    <a:pt x="528" y="960"/>
                  </a:lnTo>
                  <a:lnTo>
                    <a:pt x="528" y="966"/>
                  </a:lnTo>
                  <a:lnTo>
                    <a:pt x="516" y="954"/>
                  </a:lnTo>
                  <a:lnTo>
                    <a:pt x="516" y="948"/>
                  </a:lnTo>
                  <a:lnTo>
                    <a:pt x="510" y="948"/>
                  </a:lnTo>
                  <a:lnTo>
                    <a:pt x="504" y="948"/>
                  </a:lnTo>
                  <a:lnTo>
                    <a:pt x="498" y="948"/>
                  </a:lnTo>
                  <a:lnTo>
                    <a:pt x="504" y="954"/>
                  </a:lnTo>
                  <a:lnTo>
                    <a:pt x="498" y="954"/>
                  </a:lnTo>
                  <a:lnTo>
                    <a:pt x="492" y="954"/>
                  </a:lnTo>
                  <a:lnTo>
                    <a:pt x="480" y="942"/>
                  </a:lnTo>
                  <a:lnTo>
                    <a:pt x="480" y="948"/>
                  </a:lnTo>
                  <a:lnTo>
                    <a:pt x="480" y="954"/>
                  </a:lnTo>
                  <a:lnTo>
                    <a:pt x="474" y="954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56" y="966"/>
                  </a:lnTo>
                  <a:lnTo>
                    <a:pt x="456" y="960"/>
                  </a:lnTo>
                  <a:lnTo>
                    <a:pt x="450" y="966"/>
                  </a:lnTo>
                  <a:lnTo>
                    <a:pt x="444" y="966"/>
                  </a:lnTo>
                  <a:lnTo>
                    <a:pt x="414" y="966"/>
                  </a:lnTo>
                  <a:lnTo>
                    <a:pt x="408" y="960"/>
                  </a:lnTo>
                  <a:lnTo>
                    <a:pt x="408" y="966"/>
                  </a:lnTo>
                  <a:lnTo>
                    <a:pt x="402" y="960"/>
                  </a:lnTo>
                  <a:lnTo>
                    <a:pt x="396" y="960"/>
                  </a:lnTo>
                  <a:lnTo>
                    <a:pt x="390" y="960"/>
                  </a:lnTo>
                  <a:lnTo>
                    <a:pt x="390" y="966"/>
                  </a:lnTo>
                  <a:lnTo>
                    <a:pt x="384" y="966"/>
                  </a:lnTo>
                  <a:lnTo>
                    <a:pt x="378" y="966"/>
                  </a:lnTo>
                  <a:lnTo>
                    <a:pt x="384" y="960"/>
                  </a:lnTo>
                  <a:lnTo>
                    <a:pt x="384" y="954"/>
                  </a:lnTo>
                  <a:lnTo>
                    <a:pt x="372" y="948"/>
                  </a:lnTo>
                  <a:lnTo>
                    <a:pt x="372" y="954"/>
                  </a:lnTo>
                  <a:lnTo>
                    <a:pt x="372" y="960"/>
                  </a:lnTo>
                  <a:lnTo>
                    <a:pt x="366" y="960"/>
                  </a:lnTo>
                  <a:lnTo>
                    <a:pt x="360" y="966"/>
                  </a:lnTo>
                  <a:lnTo>
                    <a:pt x="354" y="966"/>
                  </a:lnTo>
                  <a:lnTo>
                    <a:pt x="348" y="960"/>
                  </a:lnTo>
                  <a:lnTo>
                    <a:pt x="342" y="960"/>
                  </a:lnTo>
                  <a:lnTo>
                    <a:pt x="342" y="966"/>
                  </a:lnTo>
                  <a:lnTo>
                    <a:pt x="336" y="972"/>
                  </a:lnTo>
                  <a:lnTo>
                    <a:pt x="330" y="972"/>
                  </a:lnTo>
                  <a:lnTo>
                    <a:pt x="324" y="966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6" y="954"/>
                  </a:lnTo>
                  <a:lnTo>
                    <a:pt x="306" y="948"/>
                  </a:lnTo>
                  <a:lnTo>
                    <a:pt x="306" y="942"/>
                  </a:lnTo>
                  <a:lnTo>
                    <a:pt x="300" y="942"/>
                  </a:lnTo>
                  <a:lnTo>
                    <a:pt x="294" y="936"/>
                  </a:lnTo>
                  <a:lnTo>
                    <a:pt x="288" y="936"/>
                  </a:lnTo>
                  <a:lnTo>
                    <a:pt x="282" y="942"/>
                  </a:lnTo>
                  <a:lnTo>
                    <a:pt x="276" y="936"/>
                  </a:lnTo>
                  <a:lnTo>
                    <a:pt x="276" y="942"/>
                  </a:lnTo>
                  <a:lnTo>
                    <a:pt x="270" y="942"/>
                  </a:lnTo>
                  <a:lnTo>
                    <a:pt x="264" y="936"/>
                  </a:lnTo>
                  <a:lnTo>
                    <a:pt x="252" y="936"/>
                  </a:lnTo>
                  <a:lnTo>
                    <a:pt x="246" y="936"/>
                  </a:lnTo>
                  <a:lnTo>
                    <a:pt x="240" y="936"/>
                  </a:lnTo>
                  <a:lnTo>
                    <a:pt x="234" y="936"/>
                  </a:lnTo>
                  <a:lnTo>
                    <a:pt x="240" y="924"/>
                  </a:lnTo>
                  <a:lnTo>
                    <a:pt x="234" y="924"/>
                  </a:lnTo>
                  <a:lnTo>
                    <a:pt x="228" y="918"/>
                  </a:lnTo>
                  <a:lnTo>
                    <a:pt x="228" y="906"/>
                  </a:lnTo>
                  <a:lnTo>
                    <a:pt x="222" y="900"/>
                  </a:lnTo>
                  <a:lnTo>
                    <a:pt x="216" y="900"/>
                  </a:lnTo>
                  <a:lnTo>
                    <a:pt x="210" y="900"/>
                  </a:lnTo>
                  <a:lnTo>
                    <a:pt x="210" y="906"/>
                  </a:lnTo>
                  <a:lnTo>
                    <a:pt x="204" y="906"/>
                  </a:lnTo>
                  <a:lnTo>
                    <a:pt x="198" y="906"/>
                  </a:lnTo>
                  <a:lnTo>
                    <a:pt x="210" y="900"/>
                  </a:lnTo>
                  <a:lnTo>
                    <a:pt x="210" y="894"/>
                  </a:lnTo>
                  <a:lnTo>
                    <a:pt x="216" y="888"/>
                  </a:lnTo>
                  <a:lnTo>
                    <a:pt x="204" y="882"/>
                  </a:lnTo>
                  <a:lnTo>
                    <a:pt x="204" y="894"/>
                  </a:lnTo>
                  <a:lnTo>
                    <a:pt x="198" y="894"/>
                  </a:lnTo>
                  <a:lnTo>
                    <a:pt x="192" y="900"/>
                  </a:lnTo>
                  <a:lnTo>
                    <a:pt x="186" y="894"/>
                  </a:lnTo>
                  <a:lnTo>
                    <a:pt x="180" y="894"/>
                  </a:lnTo>
                  <a:lnTo>
                    <a:pt x="174" y="894"/>
                  </a:lnTo>
                  <a:lnTo>
                    <a:pt x="168" y="900"/>
                  </a:lnTo>
                  <a:lnTo>
                    <a:pt x="162" y="906"/>
                  </a:lnTo>
                  <a:lnTo>
                    <a:pt x="156" y="906"/>
                  </a:lnTo>
                  <a:lnTo>
                    <a:pt x="150" y="900"/>
                  </a:lnTo>
                  <a:lnTo>
                    <a:pt x="144" y="894"/>
                  </a:lnTo>
                  <a:lnTo>
                    <a:pt x="138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0" y="888"/>
                  </a:lnTo>
                  <a:lnTo>
                    <a:pt x="114" y="894"/>
                  </a:lnTo>
                  <a:lnTo>
                    <a:pt x="120" y="900"/>
                  </a:lnTo>
                  <a:lnTo>
                    <a:pt x="126" y="900"/>
                  </a:lnTo>
                  <a:lnTo>
                    <a:pt x="132" y="900"/>
                  </a:lnTo>
                  <a:lnTo>
                    <a:pt x="132" y="906"/>
                  </a:lnTo>
                  <a:lnTo>
                    <a:pt x="126" y="912"/>
                  </a:lnTo>
                  <a:lnTo>
                    <a:pt x="126" y="918"/>
                  </a:lnTo>
                  <a:lnTo>
                    <a:pt x="114" y="918"/>
                  </a:lnTo>
                  <a:lnTo>
                    <a:pt x="108" y="924"/>
                  </a:lnTo>
                  <a:lnTo>
                    <a:pt x="102" y="924"/>
                  </a:lnTo>
                  <a:lnTo>
                    <a:pt x="90" y="924"/>
                  </a:lnTo>
                  <a:lnTo>
                    <a:pt x="84" y="924"/>
                  </a:lnTo>
                  <a:lnTo>
                    <a:pt x="78" y="924"/>
                  </a:lnTo>
                  <a:lnTo>
                    <a:pt x="60" y="924"/>
                  </a:lnTo>
                  <a:lnTo>
                    <a:pt x="54" y="942"/>
                  </a:lnTo>
                  <a:lnTo>
                    <a:pt x="48" y="936"/>
                  </a:lnTo>
                  <a:lnTo>
                    <a:pt x="42" y="930"/>
                  </a:lnTo>
                  <a:lnTo>
                    <a:pt x="36" y="930"/>
                  </a:lnTo>
                  <a:lnTo>
                    <a:pt x="30" y="936"/>
                  </a:lnTo>
                  <a:lnTo>
                    <a:pt x="30" y="930"/>
                  </a:lnTo>
                  <a:lnTo>
                    <a:pt x="30" y="924"/>
                  </a:lnTo>
                  <a:lnTo>
                    <a:pt x="18" y="918"/>
                  </a:lnTo>
                  <a:lnTo>
                    <a:pt x="18" y="912"/>
                  </a:lnTo>
                  <a:lnTo>
                    <a:pt x="12" y="912"/>
                  </a:lnTo>
                  <a:lnTo>
                    <a:pt x="6" y="912"/>
                  </a:lnTo>
                  <a:lnTo>
                    <a:pt x="6" y="900"/>
                  </a:lnTo>
                  <a:lnTo>
                    <a:pt x="6" y="894"/>
                  </a:lnTo>
                  <a:lnTo>
                    <a:pt x="0" y="870"/>
                  </a:lnTo>
                  <a:lnTo>
                    <a:pt x="6" y="846"/>
                  </a:lnTo>
                  <a:lnTo>
                    <a:pt x="6" y="810"/>
                  </a:lnTo>
                  <a:lnTo>
                    <a:pt x="12" y="774"/>
                  </a:lnTo>
                  <a:lnTo>
                    <a:pt x="12" y="756"/>
                  </a:lnTo>
                  <a:lnTo>
                    <a:pt x="18" y="744"/>
                  </a:lnTo>
                  <a:lnTo>
                    <a:pt x="18" y="732"/>
                  </a:lnTo>
                  <a:lnTo>
                    <a:pt x="12" y="576"/>
                  </a:lnTo>
                  <a:lnTo>
                    <a:pt x="12" y="570"/>
                  </a:lnTo>
                  <a:lnTo>
                    <a:pt x="18" y="564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42" y="552"/>
                  </a:lnTo>
                  <a:lnTo>
                    <a:pt x="66" y="552"/>
                  </a:lnTo>
                  <a:lnTo>
                    <a:pt x="78" y="558"/>
                  </a:lnTo>
                  <a:lnTo>
                    <a:pt x="90" y="558"/>
                  </a:lnTo>
                  <a:lnTo>
                    <a:pt x="108" y="558"/>
                  </a:lnTo>
                  <a:lnTo>
                    <a:pt x="144" y="558"/>
                  </a:lnTo>
                  <a:lnTo>
                    <a:pt x="204" y="552"/>
                  </a:lnTo>
                  <a:lnTo>
                    <a:pt x="210" y="558"/>
                  </a:lnTo>
                  <a:lnTo>
                    <a:pt x="216" y="558"/>
                  </a:lnTo>
                  <a:lnTo>
                    <a:pt x="210" y="564"/>
                  </a:lnTo>
                  <a:lnTo>
                    <a:pt x="216" y="564"/>
                  </a:lnTo>
                  <a:lnTo>
                    <a:pt x="222" y="564"/>
                  </a:lnTo>
                  <a:lnTo>
                    <a:pt x="240" y="564"/>
                  </a:lnTo>
                  <a:lnTo>
                    <a:pt x="258" y="564"/>
                  </a:lnTo>
                  <a:lnTo>
                    <a:pt x="264" y="570"/>
                  </a:lnTo>
                  <a:lnTo>
                    <a:pt x="276" y="570"/>
                  </a:lnTo>
                  <a:lnTo>
                    <a:pt x="282" y="564"/>
                  </a:lnTo>
                  <a:lnTo>
                    <a:pt x="294" y="564"/>
                  </a:lnTo>
                  <a:lnTo>
                    <a:pt x="294" y="570"/>
                  </a:lnTo>
                  <a:lnTo>
                    <a:pt x="300" y="570"/>
                  </a:lnTo>
                  <a:lnTo>
                    <a:pt x="378" y="564"/>
                  </a:lnTo>
                  <a:lnTo>
                    <a:pt x="408" y="558"/>
                  </a:lnTo>
                  <a:lnTo>
                    <a:pt x="432" y="552"/>
                  </a:lnTo>
                  <a:lnTo>
                    <a:pt x="450" y="546"/>
                  </a:lnTo>
                  <a:lnTo>
                    <a:pt x="468" y="546"/>
                  </a:lnTo>
                  <a:lnTo>
                    <a:pt x="468" y="552"/>
                  </a:lnTo>
                  <a:lnTo>
                    <a:pt x="504" y="552"/>
                  </a:lnTo>
                  <a:lnTo>
                    <a:pt x="510" y="534"/>
                  </a:lnTo>
                  <a:lnTo>
                    <a:pt x="516" y="510"/>
                  </a:lnTo>
                  <a:lnTo>
                    <a:pt x="522" y="510"/>
                  </a:lnTo>
                  <a:lnTo>
                    <a:pt x="528" y="420"/>
                  </a:lnTo>
                  <a:lnTo>
                    <a:pt x="522" y="414"/>
                  </a:lnTo>
                  <a:lnTo>
                    <a:pt x="516" y="396"/>
                  </a:lnTo>
                  <a:lnTo>
                    <a:pt x="510" y="372"/>
                  </a:lnTo>
                  <a:lnTo>
                    <a:pt x="498" y="348"/>
                  </a:lnTo>
                  <a:lnTo>
                    <a:pt x="474" y="282"/>
                  </a:lnTo>
                  <a:lnTo>
                    <a:pt x="474" y="270"/>
                  </a:lnTo>
                  <a:lnTo>
                    <a:pt x="480" y="258"/>
                  </a:lnTo>
                  <a:lnTo>
                    <a:pt x="486" y="258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92" y="246"/>
                  </a:lnTo>
                  <a:lnTo>
                    <a:pt x="504" y="234"/>
                  </a:lnTo>
                  <a:lnTo>
                    <a:pt x="510" y="228"/>
                  </a:lnTo>
                  <a:lnTo>
                    <a:pt x="516" y="228"/>
                  </a:lnTo>
                  <a:lnTo>
                    <a:pt x="516" y="222"/>
                  </a:lnTo>
                  <a:lnTo>
                    <a:pt x="516" y="216"/>
                  </a:lnTo>
                  <a:lnTo>
                    <a:pt x="522" y="216"/>
                  </a:lnTo>
                  <a:lnTo>
                    <a:pt x="528" y="210"/>
                  </a:lnTo>
                  <a:lnTo>
                    <a:pt x="534" y="210"/>
                  </a:lnTo>
                  <a:lnTo>
                    <a:pt x="540" y="210"/>
                  </a:lnTo>
                  <a:lnTo>
                    <a:pt x="546" y="210"/>
                  </a:lnTo>
                  <a:lnTo>
                    <a:pt x="552" y="210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16"/>
                  </a:lnTo>
                  <a:lnTo>
                    <a:pt x="588" y="228"/>
                  </a:lnTo>
                  <a:lnTo>
                    <a:pt x="594" y="234"/>
                  </a:lnTo>
                  <a:lnTo>
                    <a:pt x="600" y="240"/>
                  </a:lnTo>
                  <a:lnTo>
                    <a:pt x="618" y="246"/>
                  </a:lnTo>
                  <a:lnTo>
                    <a:pt x="624" y="246"/>
                  </a:lnTo>
                  <a:lnTo>
                    <a:pt x="636" y="252"/>
                  </a:lnTo>
                  <a:lnTo>
                    <a:pt x="654" y="252"/>
                  </a:lnTo>
                  <a:lnTo>
                    <a:pt x="654" y="258"/>
                  </a:lnTo>
                  <a:lnTo>
                    <a:pt x="666" y="264"/>
                  </a:lnTo>
                  <a:lnTo>
                    <a:pt x="672" y="264"/>
                  </a:lnTo>
                  <a:lnTo>
                    <a:pt x="678" y="264"/>
                  </a:lnTo>
                  <a:lnTo>
                    <a:pt x="696" y="258"/>
                  </a:lnTo>
                  <a:lnTo>
                    <a:pt x="696" y="252"/>
                  </a:lnTo>
                  <a:lnTo>
                    <a:pt x="696" y="246"/>
                  </a:lnTo>
                  <a:lnTo>
                    <a:pt x="690" y="234"/>
                  </a:lnTo>
                  <a:lnTo>
                    <a:pt x="684" y="210"/>
                  </a:lnTo>
                  <a:lnTo>
                    <a:pt x="678" y="192"/>
                  </a:lnTo>
                  <a:lnTo>
                    <a:pt x="672" y="174"/>
                  </a:lnTo>
                  <a:lnTo>
                    <a:pt x="672" y="168"/>
                  </a:lnTo>
                  <a:lnTo>
                    <a:pt x="672" y="162"/>
                  </a:lnTo>
                  <a:lnTo>
                    <a:pt x="672" y="156"/>
                  </a:lnTo>
                  <a:lnTo>
                    <a:pt x="684" y="132"/>
                  </a:lnTo>
                  <a:lnTo>
                    <a:pt x="684" y="120"/>
                  </a:lnTo>
                  <a:lnTo>
                    <a:pt x="684" y="108"/>
                  </a:lnTo>
                  <a:lnTo>
                    <a:pt x="678" y="102"/>
                  </a:lnTo>
                  <a:lnTo>
                    <a:pt x="678" y="96"/>
                  </a:lnTo>
                  <a:lnTo>
                    <a:pt x="684" y="96"/>
                  </a:lnTo>
                  <a:lnTo>
                    <a:pt x="696" y="90"/>
                  </a:lnTo>
                  <a:lnTo>
                    <a:pt x="702" y="84"/>
                  </a:lnTo>
                  <a:lnTo>
                    <a:pt x="720" y="72"/>
                  </a:lnTo>
                  <a:lnTo>
                    <a:pt x="738" y="66"/>
                  </a:lnTo>
                  <a:lnTo>
                    <a:pt x="756" y="60"/>
                  </a:lnTo>
                  <a:lnTo>
                    <a:pt x="768" y="60"/>
                  </a:lnTo>
                  <a:lnTo>
                    <a:pt x="798" y="72"/>
                  </a:lnTo>
                  <a:lnTo>
                    <a:pt x="804" y="78"/>
                  </a:lnTo>
                  <a:lnTo>
                    <a:pt x="816" y="84"/>
                  </a:lnTo>
                  <a:lnTo>
                    <a:pt x="822" y="84"/>
                  </a:lnTo>
                  <a:lnTo>
                    <a:pt x="828" y="72"/>
                  </a:lnTo>
                  <a:lnTo>
                    <a:pt x="828" y="60"/>
                  </a:lnTo>
                  <a:lnTo>
                    <a:pt x="828" y="36"/>
                  </a:lnTo>
                  <a:lnTo>
                    <a:pt x="828" y="24"/>
                  </a:lnTo>
                  <a:lnTo>
                    <a:pt x="828" y="12"/>
                  </a:lnTo>
                  <a:lnTo>
                    <a:pt x="834" y="12"/>
                  </a:lnTo>
                  <a:lnTo>
                    <a:pt x="852" y="6"/>
                  </a:lnTo>
                  <a:lnTo>
                    <a:pt x="876" y="6"/>
                  </a:lnTo>
                  <a:lnTo>
                    <a:pt x="894" y="6"/>
                  </a:lnTo>
                  <a:lnTo>
                    <a:pt x="906" y="12"/>
                  </a:lnTo>
                  <a:lnTo>
                    <a:pt x="912" y="24"/>
                  </a:lnTo>
                  <a:lnTo>
                    <a:pt x="924" y="24"/>
                  </a:lnTo>
                  <a:lnTo>
                    <a:pt x="930" y="30"/>
                  </a:lnTo>
                  <a:lnTo>
                    <a:pt x="936" y="30"/>
                  </a:lnTo>
                  <a:lnTo>
                    <a:pt x="936" y="36"/>
                  </a:lnTo>
                  <a:lnTo>
                    <a:pt x="942" y="36"/>
                  </a:lnTo>
                  <a:lnTo>
                    <a:pt x="948" y="42"/>
                  </a:lnTo>
                  <a:lnTo>
                    <a:pt x="960" y="48"/>
                  </a:lnTo>
                  <a:lnTo>
                    <a:pt x="966" y="48"/>
                  </a:lnTo>
                  <a:lnTo>
                    <a:pt x="1026" y="60"/>
                  </a:lnTo>
                  <a:lnTo>
                    <a:pt x="1050" y="60"/>
                  </a:lnTo>
                  <a:lnTo>
                    <a:pt x="1050" y="54"/>
                  </a:lnTo>
                  <a:lnTo>
                    <a:pt x="1062" y="54"/>
                  </a:lnTo>
                  <a:lnTo>
                    <a:pt x="1074" y="48"/>
                  </a:lnTo>
                  <a:lnTo>
                    <a:pt x="1086" y="42"/>
                  </a:lnTo>
                  <a:lnTo>
                    <a:pt x="1104" y="36"/>
                  </a:lnTo>
                  <a:lnTo>
                    <a:pt x="1116" y="30"/>
                  </a:lnTo>
                  <a:lnTo>
                    <a:pt x="1122" y="24"/>
                  </a:lnTo>
                  <a:lnTo>
                    <a:pt x="1128" y="18"/>
                  </a:lnTo>
                  <a:lnTo>
                    <a:pt x="1134" y="18"/>
                  </a:lnTo>
                  <a:lnTo>
                    <a:pt x="1140" y="12"/>
                  </a:lnTo>
                  <a:lnTo>
                    <a:pt x="1146" y="6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24"/>
                  </a:lnTo>
                  <a:lnTo>
                    <a:pt x="1176" y="36"/>
                  </a:lnTo>
                  <a:lnTo>
                    <a:pt x="1188" y="42"/>
                  </a:lnTo>
                  <a:lnTo>
                    <a:pt x="1200" y="54"/>
                  </a:lnTo>
                  <a:lnTo>
                    <a:pt x="1224" y="84"/>
                  </a:lnTo>
                  <a:lnTo>
                    <a:pt x="1224" y="90"/>
                  </a:lnTo>
                  <a:lnTo>
                    <a:pt x="1236" y="96"/>
                  </a:lnTo>
                  <a:lnTo>
                    <a:pt x="1236" y="108"/>
                  </a:lnTo>
                  <a:lnTo>
                    <a:pt x="1248" y="114"/>
                  </a:lnTo>
                  <a:lnTo>
                    <a:pt x="1254" y="114"/>
                  </a:lnTo>
                  <a:lnTo>
                    <a:pt x="1260" y="114"/>
                  </a:lnTo>
                  <a:lnTo>
                    <a:pt x="1296" y="114"/>
                  </a:lnTo>
                  <a:lnTo>
                    <a:pt x="1302" y="114"/>
                  </a:lnTo>
                  <a:lnTo>
                    <a:pt x="1320" y="108"/>
                  </a:lnTo>
                  <a:lnTo>
                    <a:pt x="1326" y="108"/>
                  </a:lnTo>
                  <a:lnTo>
                    <a:pt x="1326" y="138"/>
                  </a:lnTo>
                  <a:lnTo>
                    <a:pt x="1326" y="210"/>
                  </a:lnTo>
                  <a:lnTo>
                    <a:pt x="1320" y="252"/>
                  </a:lnTo>
                  <a:lnTo>
                    <a:pt x="1320" y="270"/>
                  </a:lnTo>
                  <a:lnTo>
                    <a:pt x="1320" y="288"/>
                  </a:lnTo>
                  <a:lnTo>
                    <a:pt x="1320" y="318"/>
                  </a:lnTo>
                  <a:lnTo>
                    <a:pt x="1326" y="354"/>
                  </a:lnTo>
                  <a:lnTo>
                    <a:pt x="1326" y="372"/>
                  </a:lnTo>
                  <a:lnTo>
                    <a:pt x="1332" y="420"/>
                  </a:lnTo>
                  <a:lnTo>
                    <a:pt x="1332" y="450"/>
                  </a:lnTo>
                  <a:lnTo>
                    <a:pt x="1338" y="480"/>
                  </a:lnTo>
                  <a:lnTo>
                    <a:pt x="1344" y="486"/>
                  </a:lnTo>
                  <a:lnTo>
                    <a:pt x="1338" y="492"/>
                  </a:lnTo>
                  <a:lnTo>
                    <a:pt x="1344" y="492"/>
                  </a:lnTo>
                  <a:lnTo>
                    <a:pt x="1344" y="498"/>
                  </a:lnTo>
                  <a:lnTo>
                    <a:pt x="1350" y="498"/>
                  </a:lnTo>
                  <a:lnTo>
                    <a:pt x="1350" y="522"/>
                  </a:lnTo>
                  <a:lnTo>
                    <a:pt x="1362" y="564"/>
                  </a:lnTo>
                  <a:lnTo>
                    <a:pt x="1368" y="582"/>
                  </a:lnTo>
                  <a:lnTo>
                    <a:pt x="1380" y="600"/>
                  </a:lnTo>
                  <a:lnTo>
                    <a:pt x="1386" y="636"/>
                  </a:lnTo>
                  <a:lnTo>
                    <a:pt x="1380" y="660"/>
                  </a:lnTo>
                  <a:lnTo>
                    <a:pt x="1380" y="678"/>
                  </a:lnTo>
                  <a:lnTo>
                    <a:pt x="1380" y="684"/>
                  </a:lnTo>
                  <a:lnTo>
                    <a:pt x="1374" y="684"/>
                  </a:lnTo>
                  <a:lnTo>
                    <a:pt x="1368" y="690"/>
                  </a:lnTo>
                  <a:lnTo>
                    <a:pt x="1356" y="702"/>
                  </a:lnTo>
                  <a:lnTo>
                    <a:pt x="1350" y="708"/>
                  </a:lnTo>
                  <a:lnTo>
                    <a:pt x="1356" y="714"/>
                  </a:lnTo>
                  <a:lnTo>
                    <a:pt x="1368" y="726"/>
                  </a:lnTo>
                  <a:lnTo>
                    <a:pt x="1380" y="738"/>
                  </a:lnTo>
                  <a:lnTo>
                    <a:pt x="1386" y="744"/>
                  </a:lnTo>
                  <a:lnTo>
                    <a:pt x="1392" y="744"/>
                  </a:lnTo>
                  <a:lnTo>
                    <a:pt x="1410" y="750"/>
                  </a:lnTo>
                  <a:lnTo>
                    <a:pt x="1416" y="756"/>
                  </a:lnTo>
                  <a:lnTo>
                    <a:pt x="1422" y="756"/>
                  </a:lnTo>
                  <a:lnTo>
                    <a:pt x="1422" y="762"/>
                  </a:lnTo>
                  <a:lnTo>
                    <a:pt x="1428" y="774"/>
                  </a:lnTo>
                  <a:lnTo>
                    <a:pt x="1428" y="780"/>
                  </a:lnTo>
                  <a:lnTo>
                    <a:pt x="1434" y="780"/>
                  </a:lnTo>
                  <a:lnTo>
                    <a:pt x="1440" y="798"/>
                  </a:lnTo>
                  <a:lnTo>
                    <a:pt x="1422" y="816"/>
                  </a:lnTo>
                  <a:lnTo>
                    <a:pt x="1386" y="810"/>
                  </a:lnTo>
                  <a:lnTo>
                    <a:pt x="1380" y="816"/>
                  </a:lnTo>
                  <a:lnTo>
                    <a:pt x="1374" y="840"/>
                  </a:lnTo>
                  <a:lnTo>
                    <a:pt x="1350" y="852"/>
                  </a:lnTo>
                  <a:lnTo>
                    <a:pt x="1350" y="858"/>
                  </a:lnTo>
                  <a:lnTo>
                    <a:pt x="1350" y="864"/>
                  </a:lnTo>
                  <a:lnTo>
                    <a:pt x="1344" y="864"/>
                  </a:lnTo>
                  <a:lnTo>
                    <a:pt x="1338" y="870"/>
                  </a:lnTo>
                  <a:lnTo>
                    <a:pt x="1332" y="876"/>
                  </a:lnTo>
                  <a:lnTo>
                    <a:pt x="1314" y="876"/>
                  </a:lnTo>
                  <a:lnTo>
                    <a:pt x="1314" y="870"/>
                  </a:lnTo>
                  <a:lnTo>
                    <a:pt x="1308" y="870"/>
                  </a:lnTo>
                  <a:lnTo>
                    <a:pt x="1302" y="864"/>
                  </a:lnTo>
                  <a:lnTo>
                    <a:pt x="1296" y="864"/>
                  </a:lnTo>
                  <a:lnTo>
                    <a:pt x="1284" y="870"/>
                  </a:lnTo>
                  <a:lnTo>
                    <a:pt x="1266" y="870"/>
                  </a:lnTo>
                  <a:lnTo>
                    <a:pt x="1260" y="870"/>
                  </a:lnTo>
                  <a:lnTo>
                    <a:pt x="1248" y="876"/>
                  </a:lnTo>
                  <a:lnTo>
                    <a:pt x="1236" y="876"/>
                  </a:lnTo>
                  <a:lnTo>
                    <a:pt x="1230" y="882"/>
                  </a:lnTo>
                  <a:lnTo>
                    <a:pt x="1224" y="894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18" y="942"/>
                  </a:lnTo>
                  <a:lnTo>
                    <a:pt x="1212" y="948"/>
                  </a:lnTo>
                  <a:lnTo>
                    <a:pt x="1200" y="984"/>
                  </a:lnTo>
                  <a:lnTo>
                    <a:pt x="1194" y="1008"/>
                  </a:lnTo>
                  <a:lnTo>
                    <a:pt x="1218" y="1038"/>
                  </a:lnTo>
                  <a:lnTo>
                    <a:pt x="1224" y="1044"/>
                  </a:lnTo>
                  <a:lnTo>
                    <a:pt x="1224" y="1062"/>
                  </a:lnTo>
                  <a:lnTo>
                    <a:pt x="1236" y="1080"/>
                  </a:lnTo>
                  <a:lnTo>
                    <a:pt x="1236" y="1086"/>
                  </a:lnTo>
                  <a:lnTo>
                    <a:pt x="1230" y="1092"/>
                  </a:lnTo>
                  <a:lnTo>
                    <a:pt x="1224" y="1110"/>
                  </a:lnTo>
                  <a:lnTo>
                    <a:pt x="1218" y="1122"/>
                  </a:lnTo>
                  <a:lnTo>
                    <a:pt x="1224" y="1140"/>
                  </a:lnTo>
                  <a:lnTo>
                    <a:pt x="1218" y="1146"/>
                  </a:lnTo>
                  <a:lnTo>
                    <a:pt x="1218" y="1152"/>
                  </a:lnTo>
                  <a:lnTo>
                    <a:pt x="1212" y="116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1" name="Freeform 36">
              <a:extLst>
                <a:ext uri="{FF2B5EF4-FFF2-40B4-BE49-F238E27FC236}">
                  <a16:creationId xmlns:a16="http://schemas.microsoft.com/office/drawing/2014/main" id="{B9C0D6BE-CB1C-4E69-B224-1ABF097AA8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90208" y="1647855"/>
              <a:ext cx="742415" cy="758173"/>
            </a:xfrm>
            <a:custGeom>
              <a:avLst/>
              <a:gdLst>
                <a:gd name="T0" fmla="*/ 75 w 1398"/>
                <a:gd name="T1" fmla="*/ 48 h 1428"/>
                <a:gd name="T2" fmla="*/ 68 w 1398"/>
                <a:gd name="T3" fmla="*/ 54 h 1428"/>
                <a:gd name="T4" fmla="*/ 57 w 1398"/>
                <a:gd name="T5" fmla="*/ 59 h 1428"/>
                <a:gd name="T6" fmla="*/ 55 w 1398"/>
                <a:gd name="T7" fmla="*/ 68 h 1428"/>
                <a:gd name="T8" fmla="*/ 55 w 1398"/>
                <a:gd name="T9" fmla="*/ 77 h 1428"/>
                <a:gd name="T10" fmla="*/ 57 w 1398"/>
                <a:gd name="T11" fmla="*/ 81 h 1428"/>
                <a:gd name="T12" fmla="*/ 56 w 1398"/>
                <a:gd name="T13" fmla="*/ 86 h 1428"/>
                <a:gd name="T14" fmla="*/ 57 w 1398"/>
                <a:gd name="T15" fmla="*/ 89 h 1428"/>
                <a:gd name="T16" fmla="*/ 58 w 1398"/>
                <a:gd name="T17" fmla="*/ 92 h 1428"/>
                <a:gd name="T18" fmla="*/ 58 w 1398"/>
                <a:gd name="T19" fmla="*/ 96 h 1428"/>
                <a:gd name="T20" fmla="*/ 49 w 1398"/>
                <a:gd name="T21" fmla="*/ 100 h 1428"/>
                <a:gd name="T22" fmla="*/ 47 w 1398"/>
                <a:gd name="T23" fmla="*/ 108 h 1428"/>
                <a:gd name="T24" fmla="*/ 48 w 1398"/>
                <a:gd name="T25" fmla="*/ 113 h 1428"/>
                <a:gd name="T26" fmla="*/ 43 w 1398"/>
                <a:gd name="T27" fmla="*/ 114 h 1428"/>
                <a:gd name="T28" fmla="*/ 39 w 1398"/>
                <a:gd name="T29" fmla="*/ 113 h 1428"/>
                <a:gd name="T30" fmla="*/ 33 w 1398"/>
                <a:gd name="T31" fmla="*/ 109 h 1428"/>
                <a:gd name="T32" fmla="*/ 29 w 1398"/>
                <a:gd name="T33" fmla="*/ 114 h 1428"/>
                <a:gd name="T34" fmla="*/ 22 w 1398"/>
                <a:gd name="T35" fmla="*/ 115 h 1428"/>
                <a:gd name="T36" fmla="*/ 21 w 1398"/>
                <a:gd name="T37" fmla="*/ 121 h 1428"/>
                <a:gd name="T38" fmla="*/ 12 w 1398"/>
                <a:gd name="T39" fmla="*/ 119 h 1428"/>
                <a:gd name="T40" fmla="*/ 9 w 1398"/>
                <a:gd name="T41" fmla="*/ 113 h 1428"/>
                <a:gd name="T42" fmla="*/ 2 w 1398"/>
                <a:gd name="T43" fmla="*/ 109 h 1428"/>
                <a:gd name="T44" fmla="*/ 4 w 1398"/>
                <a:gd name="T45" fmla="*/ 103 h 1428"/>
                <a:gd name="T46" fmla="*/ 2 w 1398"/>
                <a:gd name="T47" fmla="*/ 91 h 1428"/>
                <a:gd name="T48" fmla="*/ 6 w 1398"/>
                <a:gd name="T49" fmla="*/ 85 h 1428"/>
                <a:gd name="T50" fmla="*/ 10 w 1398"/>
                <a:gd name="T51" fmla="*/ 85 h 1428"/>
                <a:gd name="T52" fmla="*/ 15 w 1398"/>
                <a:gd name="T53" fmla="*/ 82 h 1428"/>
                <a:gd name="T54" fmla="*/ 20 w 1398"/>
                <a:gd name="T55" fmla="*/ 77 h 1428"/>
                <a:gd name="T56" fmla="*/ 16 w 1398"/>
                <a:gd name="T57" fmla="*/ 73 h 1428"/>
                <a:gd name="T58" fmla="*/ 16 w 1398"/>
                <a:gd name="T59" fmla="*/ 69 h 1428"/>
                <a:gd name="T60" fmla="*/ 14 w 1398"/>
                <a:gd name="T61" fmla="*/ 54 h 1428"/>
                <a:gd name="T62" fmla="*/ 12 w 1398"/>
                <a:gd name="T63" fmla="*/ 48 h 1428"/>
                <a:gd name="T64" fmla="*/ 11 w 1398"/>
                <a:gd name="T65" fmla="*/ 31 h 1428"/>
                <a:gd name="T66" fmla="*/ 14 w 1398"/>
                <a:gd name="T67" fmla="*/ 18 h 1428"/>
                <a:gd name="T68" fmla="*/ 19 w 1398"/>
                <a:gd name="T69" fmla="*/ 15 h 1428"/>
                <a:gd name="T70" fmla="*/ 26 w 1398"/>
                <a:gd name="T71" fmla="*/ 13 h 1428"/>
                <a:gd name="T72" fmla="*/ 34 w 1398"/>
                <a:gd name="T73" fmla="*/ 12 h 1428"/>
                <a:gd name="T74" fmla="*/ 39 w 1398"/>
                <a:gd name="T75" fmla="*/ 9 h 1428"/>
                <a:gd name="T76" fmla="*/ 43 w 1398"/>
                <a:gd name="T77" fmla="*/ 7 h 1428"/>
                <a:gd name="T78" fmla="*/ 48 w 1398"/>
                <a:gd name="T79" fmla="*/ 3 h 1428"/>
                <a:gd name="T80" fmla="*/ 54 w 1398"/>
                <a:gd name="T81" fmla="*/ 0 h 1428"/>
                <a:gd name="T82" fmla="*/ 58 w 1398"/>
                <a:gd name="T83" fmla="*/ 0 h 1428"/>
                <a:gd name="T84" fmla="*/ 66 w 1398"/>
                <a:gd name="T85" fmla="*/ 2 h 1428"/>
                <a:gd name="T86" fmla="*/ 70 w 1398"/>
                <a:gd name="T87" fmla="*/ 3 h 1428"/>
                <a:gd name="T88" fmla="*/ 75 w 1398"/>
                <a:gd name="T89" fmla="*/ 6 h 1428"/>
                <a:gd name="T90" fmla="*/ 80 w 1398"/>
                <a:gd name="T91" fmla="*/ 9 h 1428"/>
                <a:gd name="T92" fmla="*/ 83 w 1398"/>
                <a:gd name="T93" fmla="*/ 12 h 1428"/>
                <a:gd name="T94" fmla="*/ 87 w 1398"/>
                <a:gd name="T95" fmla="*/ 15 h 1428"/>
                <a:gd name="T96" fmla="*/ 94 w 1398"/>
                <a:gd name="T97" fmla="*/ 15 h 1428"/>
                <a:gd name="T98" fmla="*/ 99 w 1398"/>
                <a:gd name="T99" fmla="*/ 21 h 1428"/>
                <a:gd name="T100" fmla="*/ 103 w 1398"/>
                <a:gd name="T101" fmla="*/ 23 h 1428"/>
                <a:gd name="T102" fmla="*/ 110 w 1398"/>
                <a:gd name="T103" fmla="*/ 26 h 1428"/>
                <a:gd name="T104" fmla="*/ 116 w 1398"/>
                <a:gd name="T105" fmla="*/ 27 h 1428"/>
                <a:gd name="T106" fmla="*/ 120 w 1398"/>
                <a:gd name="T107" fmla="*/ 27 h 1428"/>
                <a:gd name="T108" fmla="*/ 116 w 1398"/>
                <a:gd name="T109" fmla="*/ 35 h 1428"/>
                <a:gd name="T110" fmla="*/ 104 w 1398"/>
                <a:gd name="T111" fmla="*/ 37 h 1428"/>
                <a:gd name="T112" fmla="*/ 97 w 1398"/>
                <a:gd name="T113" fmla="*/ 34 h 1428"/>
                <a:gd name="T114" fmla="*/ 91 w 1398"/>
                <a:gd name="T115" fmla="*/ 29 h 1428"/>
                <a:gd name="T116" fmla="*/ 75 w 1398"/>
                <a:gd name="T117" fmla="*/ 29 h 1428"/>
                <a:gd name="T118" fmla="*/ 72 w 1398"/>
                <a:gd name="T119" fmla="*/ 39 h 1428"/>
                <a:gd name="T120" fmla="*/ 80 w 1398"/>
                <a:gd name="T121" fmla="*/ 41 h 142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98"/>
                <a:gd name="T184" fmla="*/ 0 h 1428"/>
                <a:gd name="T185" fmla="*/ 1398 w 1398"/>
                <a:gd name="T186" fmla="*/ 1428 h 142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98" h="1428">
                  <a:moveTo>
                    <a:pt x="924" y="474"/>
                  </a:moveTo>
                  <a:lnTo>
                    <a:pt x="900" y="480"/>
                  </a:lnTo>
                  <a:lnTo>
                    <a:pt x="864" y="486"/>
                  </a:lnTo>
                  <a:lnTo>
                    <a:pt x="864" y="504"/>
                  </a:lnTo>
                  <a:lnTo>
                    <a:pt x="858" y="522"/>
                  </a:lnTo>
                  <a:lnTo>
                    <a:pt x="864" y="528"/>
                  </a:lnTo>
                  <a:lnTo>
                    <a:pt x="864" y="552"/>
                  </a:lnTo>
                  <a:lnTo>
                    <a:pt x="852" y="552"/>
                  </a:lnTo>
                  <a:lnTo>
                    <a:pt x="846" y="564"/>
                  </a:lnTo>
                  <a:lnTo>
                    <a:pt x="840" y="582"/>
                  </a:lnTo>
                  <a:lnTo>
                    <a:pt x="834" y="594"/>
                  </a:lnTo>
                  <a:lnTo>
                    <a:pt x="828" y="606"/>
                  </a:lnTo>
                  <a:lnTo>
                    <a:pt x="828" y="618"/>
                  </a:lnTo>
                  <a:lnTo>
                    <a:pt x="786" y="630"/>
                  </a:lnTo>
                  <a:lnTo>
                    <a:pt x="774" y="636"/>
                  </a:lnTo>
                  <a:lnTo>
                    <a:pt x="762" y="642"/>
                  </a:lnTo>
                  <a:lnTo>
                    <a:pt x="744" y="648"/>
                  </a:lnTo>
                  <a:lnTo>
                    <a:pt x="714" y="660"/>
                  </a:lnTo>
                  <a:lnTo>
                    <a:pt x="696" y="666"/>
                  </a:lnTo>
                  <a:lnTo>
                    <a:pt x="666" y="672"/>
                  </a:lnTo>
                  <a:lnTo>
                    <a:pt x="654" y="684"/>
                  </a:lnTo>
                  <a:lnTo>
                    <a:pt x="648" y="684"/>
                  </a:lnTo>
                  <a:lnTo>
                    <a:pt x="642" y="696"/>
                  </a:lnTo>
                  <a:lnTo>
                    <a:pt x="636" y="696"/>
                  </a:lnTo>
                  <a:lnTo>
                    <a:pt x="630" y="714"/>
                  </a:lnTo>
                  <a:lnTo>
                    <a:pt x="624" y="738"/>
                  </a:lnTo>
                  <a:lnTo>
                    <a:pt x="624" y="762"/>
                  </a:lnTo>
                  <a:lnTo>
                    <a:pt x="630" y="780"/>
                  </a:lnTo>
                  <a:lnTo>
                    <a:pt x="636" y="804"/>
                  </a:lnTo>
                  <a:lnTo>
                    <a:pt x="642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6" y="834"/>
                  </a:lnTo>
                  <a:lnTo>
                    <a:pt x="636" y="870"/>
                  </a:lnTo>
                  <a:lnTo>
                    <a:pt x="636" y="882"/>
                  </a:lnTo>
                  <a:lnTo>
                    <a:pt x="636" y="906"/>
                  </a:lnTo>
                  <a:lnTo>
                    <a:pt x="630" y="906"/>
                  </a:lnTo>
                  <a:lnTo>
                    <a:pt x="636" y="918"/>
                  </a:lnTo>
                  <a:lnTo>
                    <a:pt x="642" y="918"/>
                  </a:lnTo>
                  <a:lnTo>
                    <a:pt x="642" y="930"/>
                  </a:lnTo>
                  <a:lnTo>
                    <a:pt x="648" y="936"/>
                  </a:lnTo>
                  <a:lnTo>
                    <a:pt x="654" y="936"/>
                  </a:lnTo>
                  <a:lnTo>
                    <a:pt x="654" y="942"/>
                  </a:lnTo>
                  <a:lnTo>
                    <a:pt x="654" y="948"/>
                  </a:lnTo>
                  <a:lnTo>
                    <a:pt x="648" y="954"/>
                  </a:lnTo>
                  <a:lnTo>
                    <a:pt x="648" y="960"/>
                  </a:lnTo>
                  <a:lnTo>
                    <a:pt x="648" y="966"/>
                  </a:lnTo>
                  <a:lnTo>
                    <a:pt x="648" y="972"/>
                  </a:lnTo>
                  <a:lnTo>
                    <a:pt x="648" y="990"/>
                  </a:lnTo>
                  <a:lnTo>
                    <a:pt x="654" y="996"/>
                  </a:lnTo>
                  <a:lnTo>
                    <a:pt x="648" y="1002"/>
                  </a:lnTo>
                  <a:lnTo>
                    <a:pt x="648" y="1008"/>
                  </a:lnTo>
                  <a:lnTo>
                    <a:pt x="654" y="1014"/>
                  </a:lnTo>
                  <a:lnTo>
                    <a:pt x="654" y="1020"/>
                  </a:lnTo>
                  <a:lnTo>
                    <a:pt x="654" y="1026"/>
                  </a:lnTo>
                  <a:lnTo>
                    <a:pt x="660" y="1026"/>
                  </a:lnTo>
                  <a:lnTo>
                    <a:pt x="660" y="1032"/>
                  </a:lnTo>
                  <a:lnTo>
                    <a:pt x="660" y="1038"/>
                  </a:lnTo>
                  <a:lnTo>
                    <a:pt x="666" y="1044"/>
                  </a:lnTo>
                  <a:lnTo>
                    <a:pt x="672" y="1050"/>
                  </a:lnTo>
                  <a:lnTo>
                    <a:pt x="672" y="1056"/>
                  </a:lnTo>
                  <a:lnTo>
                    <a:pt x="672" y="1062"/>
                  </a:lnTo>
                  <a:lnTo>
                    <a:pt x="672" y="1068"/>
                  </a:lnTo>
                  <a:lnTo>
                    <a:pt x="672" y="1074"/>
                  </a:lnTo>
                  <a:lnTo>
                    <a:pt x="678" y="1074"/>
                  </a:lnTo>
                  <a:lnTo>
                    <a:pt x="678" y="1080"/>
                  </a:lnTo>
                  <a:lnTo>
                    <a:pt x="678" y="1086"/>
                  </a:lnTo>
                  <a:lnTo>
                    <a:pt x="672" y="1092"/>
                  </a:lnTo>
                  <a:lnTo>
                    <a:pt x="672" y="1098"/>
                  </a:lnTo>
                  <a:lnTo>
                    <a:pt x="672" y="1104"/>
                  </a:lnTo>
                  <a:lnTo>
                    <a:pt x="666" y="1116"/>
                  </a:lnTo>
                  <a:lnTo>
                    <a:pt x="624" y="1122"/>
                  </a:lnTo>
                  <a:lnTo>
                    <a:pt x="576" y="1134"/>
                  </a:lnTo>
                  <a:lnTo>
                    <a:pt x="570" y="1140"/>
                  </a:lnTo>
                  <a:lnTo>
                    <a:pt x="570" y="1146"/>
                  </a:lnTo>
                  <a:lnTo>
                    <a:pt x="564" y="1146"/>
                  </a:lnTo>
                  <a:lnTo>
                    <a:pt x="564" y="1152"/>
                  </a:lnTo>
                  <a:lnTo>
                    <a:pt x="564" y="1164"/>
                  </a:lnTo>
                  <a:lnTo>
                    <a:pt x="564" y="1170"/>
                  </a:lnTo>
                  <a:lnTo>
                    <a:pt x="564" y="1176"/>
                  </a:lnTo>
                  <a:lnTo>
                    <a:pt x="546" y="1176"/>
                  </a:lnTo>
                  <a:lnTo>
                    <a:pt x="540" y="1212"/>
                  </a:lnTo>
                  <a:lnTo>
                    <a:pt x="540" y="1230"/>
                  </a:lnTo>
                  <a:lnTo>
                    <a:pt x="546" y="1242"/>
                  </a:lnTo>
                  <a:lnTo>
                    <a:pt x="546" y="1254"/>
                  </a:lnTo>
                  <a:lnTo>
                    <a:pt x="558" y="1266"/>
                  </a:lnTo>
                  <a:lnTo>
                    <a:pt x="576" y="1272"/>
                  </a:lnTo>
                  <a:lnTo>
                    <a:pt x="570" y="1278"/>
                  </a:lnTo>
                  <a:lnTo>
                    <a:pt x="576" y="1284"/>
                  </a:lnTo>
                  <a:lnTo>
                    <a:pt x="570" y="1296"/>
                  </a:lnTo>
                  <a:lnTo>
                    <a:pt x="558" y="1302"/>
                  </a:lnTo>
                  <a:lnTo>
                    <a:pt x="540" y="1308"/>
                  </a:lnTo>
                  <a:lnTo>
                    <a:pt x="522" y="1314"/>
                  </a:lnTo>
                  <a:lnTo>
                    <a:pt x="516" y="1314"/>
                  </a:lnTo>
                  <a:lnTo>
                    <a:pt x="510" y="1314"/>
                  </a:lnTo>
                  <a:lnTo>
                    <a:pt x="504" y="1314"/>
                  </a:lnTo>
                  <a:lnTo>
                    <a:pt x="498" y="1320"/>
                  </a:lnTo>
                  <a:lnTo>
                    <a:pt x="492" y="1320"/>
                  </a:lnTo>
                  <a:lnTo>
                    <a:pt x="492" y="1326"/>
                  </a:lnTo>
                  <a:lnTo>
                    <a:pt x="486" y="1326"/>
                  </a:lnTo>
                  <a:lnTo>
                    <a:pt x="480" y="1326"/>
                  </a:lnTo>
                  <a:lnTo>
                    <a:pt x="480" y="1320"/>
                  </a:lnTo>
                  <a:lnTo>
                    <a:pt x="468" y="1314"/>
                  </a:lnTo>
                  <a:lnTo>
                    <a:pt x="462" y="1308"/>
                  </a:lnTo>
                  <a:lnTo>
                    <a:pt x="456" y="1302"/>
                  </a:lnTo>
                  <a:lnTo>
                    <a:pt x="444" y="1296"/>
                  </a:lnTo>
                  <a:lnTo>
                    <a:pt x="420" y="1290"/>
                  </a:lnTo>
                  <a:lnTo>
                    <a:pt x="414" y="1278"/>
                  </a:lnTo>
                  <a:lnTo>
                    <a:pt x="408" y="1278"/>
                  </a:lnTo>
                  <a:lnTo>
                    <a:pt x="408" y="1266"/>
                  </a:lnTo>
                  <a:lnTo>
                    <a:pt x="402" y="1260"/>
                  </a:lnTo>
                  <a:lnTo>
                    <a:pt x="384" y="1260"/>
                  </a:lnTo>
                  <a:lnTo>
                    <a:pt x="372" y="1266"/>
                  </a:lnTo>
                  <a:lnTo>
                    <a:pt x="360" y="1272"/>
                  </a:lnTo>
                  <a:lnTo>
                    <a:pt x="348" y="1272"/>
                  </a:lnTo>
                  <a:lnTo>
                    <a:pt x="342" y="1284"/>
                  </a:lnTo>
                  <a:lnTo>
                    <a:pt x="336" y="1290"/>
                  </a:lnTo>
                  <a:lnTo>
                    <a:pt x="336" y="1308"/>
                  </a:lnTo>
                  <a:lnTo>
                    <a:pt x="336" y="1314"/>
                  </a:lnTo>
                  <a:lnTo>
                    <a:pt x="336" y="1320"/>
                  </a:lnTo>
                  <a:lnTo>
                    <a:pt x="330" y="1326"/>
                  </a:lnTo>
                  <a:lnTo>
                    <a:pt x="330" y="1332"/>
                  </a:lnTo>
                  <a:lnTo>
                    <a:pt x="330" y="1338"/>
                  </a:lnTo>
                  <a:lnTo>
                    <a:pt x="300" y="1338"/>
                  </a:lnTo>
                  <a:lnTo>
                    <a:pt x="288" y="1338"/>
                  </a:lnTo>
                  <a:lnTo>
                    <a:pt x="258" y="1326"/>
                  </a:lnTo>
                  <a:lnTo>
                    <a:pt x="246" y="1332"/>
                  </a:lnTo>
                  <a:lnTo>
                    <a:pt x="240" y="1338"/>
                  </a:lnTo>
                  <a:lnTo>
                    <a:pt x="234" y="1338"/>
                  </a:lnTo>
                  <a:lnTo>
                    <a:pt x="228" y="1350"/>
                  </a:lnTo>
                  <a:lnTo>
                    <a:pt x="228" y="1374"/>
                  </a:lnTo>
                  <a:lnTo>
                    <a:pt x="234" y="1392"/>
                  </a:lnTo>
                  <a:lnTo>
                    <a:pt x="246" y="1398"/>
                  </a:lnTo>
                  <a:lnTo>
                    <a:pt x="246" y="1410"/>
                  </a:lnTo>
                  <a:lnTo>
                    <a:pt x="216" y="1428"/>
                  </a:lnTo>
                  <a:lnTo>
                    <a:pt x="198" y="1428"/>
                  </a:lnTo>
                  <a:lnTo>
                    <a:pt x="192" y="1422"/>
                  </a:lnTo>
                  <a:lnTo>
                    <a:pt x="174" y="1410"/>
                  </a:lnTo>
                  <a:lnTo>
                    <a:pt x="156" y="1386"/>
                  </a:lnTo>
                  <a:lnTo>
                    <a:pt x="132" y="1374"/>
                  </a:lnTo>
                  <a:lnTo>
                    <a:pt x="108" y="1368"/>
                  </a:lnTo>
                  <a:lnTo>
                    <a:pt x="84" y="1368"/>
                  </a:lnTo>
                  <a:lnTo>
                    <a:pt x="96" y="1356"/>
                  </a:lnTo>
                  <a:lnTo>
                    <a:pt x="102" y="1344"/>
                  </a:lnTo>
                  <a:lnTo>
                    <a:pt x="102" y="1332"/>
                  </a:lnTo>
                  <a:lnTo>
                    <a:pt x="108" y="1320"/>
                  </a:lnTo>
                  <a:lnTo>
                    <a:pt x="108" y="1302"/>
                  </a:lnTo>
                  <a:lnTo>
                    <a:pt x="96" y="1278"/>
                  </a:lnTo>
                  <a:lnTo>
                    <a:pt x="66" y="1284"/>
                  </a:lnTo>
                  <a:lnTo>
                    <a:pt x="54" y="1278"/>
                  </a:lnTo>
                  <a:lnTo>
                    <a:pt x="36" y="1278"/>
                  </a:lnTo>
                  <a:lnTo>
                    <a:pt x="18" y="1284"/>
                  </a:lnTo>
                  <a:lnTo>
                    <a:pt x="18" y="1272"/>
                  </a:lnTo>
                  <a:lnTo>
                    <a:pt x="24" y="1260"/>
                  </a:lnTo>
                  <a:lnTo>
                    <a:pt x="24" y="1254"/>
                  </a:lnTo>
                  <a:lnTo>
                    <a:pt x="30" y="1248"/>
                  </a:lnTo>
                  <a:lnTo>
                    <a:pt x="24" y="1230"/>
                  </a:lnTo>
                  <a:lnTo>
                    <a:pt x="30" y="1218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30" y="1170"/>
                  </a:lnTo>
                  <a:lnTo>
                    <a:pt x="30" y="1152"/>
                  </a:lnTo>
                  <a:lnTo>
                    <a:pt x="24" y="1146"/>
                  </a:lnTo>
                  <a:lnTo>
                    <a:pt x="0" y="1116"/>
                  </a:lnTo>
                  <a:lnTo>
                    <a:pt x="6" y="1092"/>
                  </a:lnTo>
                  <a:lnTo>
                    <a:pt x="18" y="1056"/>
                  </a:lnTo>
                  <a:lnTo>
                    <a:pt x="24" y="1050"/>
                  </a:lnTo>
                  <a:lnTo>
                    <a:pt x="24" y="1038"/>
                  </a:lnTo>
                  <a:lnTo>
                    <a:pt x="24" y="1026"/>
                  </a:lnTo>
                  <a:lnTo>
                    <a:pt x="30" y="1002"/>
                  </a:lnTo>
                  <a:lnTo>
                    <a:pt x="36" y="990"/>
                  </a:lnTo>
                  <a:lnTo>
                    <a:pt x="42" y="984"/>
                  </a:lnTo>
                  <a:lnTo>
                    <a:pt x="54" y="984"/>
                  </a:lnTo>
                  <a:lnTo>
                    <a:pt x="66" y="978"/>
                  </a:lnTo>
                  <a:lnTo>
                    <a:pt x="72" y="978"/>
                  </a:lnTo>
                  <a:lnTo>
                    <a:pt x="90" y="978"/>
                  </a:lnTo>
                  <a:lnTo>
                    <a:pt x="102" y="972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78"/>
                  </a:lnTo>
                  <a:lnTo>
                    <a:pt x="120" y="984"/>
                  </a:lnTo>
                  <a:lnTo>
                    <a:pt x="138" y="984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6" y="972"/>
                  </a:lnTo>
                  <a:lnTo>
                    <a:pt x="156" y="966"/>
                  </a:lnTo>
                  <a:lnTo>
                    <a:pt x="156" y="960"/>
                  </a:lnTo>
                  <a:lnTo>
                    <a:pt x="180" y="948"/>
                  </a:lnTo>
                  <a:lnTo>
                    <a:pt x="186" y="924"/>
                  </a:lnTo>
                  <a:lnTo>
                    <a:pt x="192" y="918"/>
                  </a:lnTo>
                  <a:lnTo>
                    <a:pt x="228" y="924"/>
                  </a:lnTo>
                  <a:lnTo>
                    <a:pt x="246" y="906"/>
                  </a:lnTo>
                  <a:lnTo>
                    <a:pt x="240" y="888"/>
                  </a:lnTo>
                  <a:lnTo>
                    <a:pt x="234" y="888"/>
                  </a:lnTo>
                  <a:lnTo>
                    <a:pt x="234" y="882"/>
                  </a:lnTo>
                  <a:lnTo>
                    <a:pt x="228" y="870"/>
                  </a:lnTo>
                  <a:lnTo>
                    <a:pt x="228" y="864"/>
                  </a:lnTo>
                  <a:lnTo>
                    <a:pt x="222" y="864"/>
                  </a:lnTo>
                  <a:lnTo>
                    <a:pt x="216" y="858"/>
                  </a:lnTo>
                  <a:lnTo>
                    <a:pt x="198" y="852"/>
                  </a:lnTo>
                  <a:lnTo>
                    <a:pt x="192" y="852"/>
                  </a:lnTo>
                  <a:lnTo>
                    <a:pt x="186" y="846"/>
                  </a:lnTo>
                  <a:lnTo>
                    <a:pt x="174" y="834"/>
                  </a:lnTo>
                  <a:lnTo>
                    <a:pt x="162" y="822"/>
                  </a:lnTo>
                  <a:lnTo>
                    <a:pt x="156" y="816"/>
                  </a:lnTo>
                  <a:lnTo>
                    <a:pt x="162" y="810"/>
                  </a:lnTo>
                  <a:lnTo>
                    <a:pt x="174" y="798"/>
                  </a:lnTo>
                  <a:lnTo>
                    <a:pt x="180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68"/>
                  </a:lnTo>
                  <a:lnTo>
                    <a:pt x="192" y="744"/>
                  </a:lnTo>
                  <a:lnTo>
                    <a:pt x="186" y="708"/>
                  </a:lnTo>
                  <a:lnTo>
                    <a:pt x="174" y="690"/>
                  </a:lnTo>
                  <a:lnTo>
                    <a:pt x="168" y="672"/>
                  </a:lnTo>
                  <a:lnTo>
                    <a:pt x="156" y="630"/>
                  </a:lnTo>
                  <a:lnTo>
                    <a:pt x="156" y="606"/>
                  </a:lnTo>
                  <a:lnTo>
                    <a:pt x="150" y="606"/>
                  </a:lnTo>
                  <a:lnTo>
                    <a:pt x="150" y="600"/>
                  </a:lnTo>
                  <a:lnTo>
                    <a:pt x="144" y="600"/>
                  </a:lnTo>
                  <a:lnTo>
                    <a:pt x="150" y="594"/>
                  </a:lnTo>
                  <a:lnTo>
                    <a:pt x="144" y="588"/>
                  </a:lnTo>
                  <a:lnTo>
                    <a:pt x="138" y="558"/>
                  </a:lnTo>
                  <a:lnTo>
                    <a:pt x="138" y="528"/>
                  </a:lnTo>
                  <a:lnTo>
                    <a:pt x="132" y="480"/>
                  </a:lnTo>
                  <a:lnTo>
                    <a:pt x="132" y="462"/>
                  </a:lnTo>
                  <a:lnTo>
                    <a:pt x="126" y="426"/>
                  </a:lnTo>
                  <a:lnTo>
                    <a:pt x="126" y="396"/>
                  </a:lnTo>
                  <a:lnTo>
                    <a:pt x="126" y="378"/>
                  </a:lnTo>
                  <a:lnTo>
                    <a:pt x="126" y="360"/>
                  </a:lnTo>
                  <a:lnTo>
                    <a:pt x="132" y="318"/>
                  </a:lnTo>
                  <a:lnTo>
                    <a:pt x="132" y="24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2" y="210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92" y="198"/>
                  </a:lnTo>
                  <a:lnTo>
                    <a:pt x="198" y="198"/>
                  </a:lnTo>
                  <a:lnTo>
                    <a:pt x="216" y="180"/>
                  </a:lnTo>
                  <a:lnTo>
                    <a:pt x="222" y="174"/>
                  </a:lnTo>
                  <a:lnTo>
                    <a:pt x="222" y="168"/>
                  </a:lnTo>
                  <a:lnTo>
                    <a:pt x="228" y="168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44"/>
                  </a:lnTo>
                  <a:lnTo>
                    <a:pt x="258" y="144"/>
                  </a:lnTo>
                  <a:lnTo>
                    <a:pt x="276" y="150"/>
                  </a:lnTo>
                  <a:lnTo>
                    <a:pt x="300" y="150"/>
                  </a:lnTo>
                  <a:lnTo>
                    <a:pt x="312" y="150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8" y="156"/>
                  </a:lnTo>
                  <a:lnTo>
                    <a:pt x="354" y="150"/>
                  </a:lnTo>
                  <a:lnTo>
                    <a:pt x="372" y="144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08" y="126"/>
                  </a:lnTo>
                  <a:lnTo>
                    <a:pt x="414" y="120"/>
                  </a:lnTo>
                  <a:lnTo>
                    <a:pt x="420" y="120"/>
                  </a:lnTo>
                  <a:lnTo>
                    <a:pt x="426" y="120"/>
                  </a:lnTo>
                  <a:lnTo>
                    <a:pt x="432" y="114"/>
                  </a:lnTo>
                  <a:lnTo>
                    <a:pt x="450" y="102"/>
                  </a:lnTo>
                  <a:lnTo>
                    <a:pt x="456" y="96"/>
                  </a:lnTo>
                  <a:lnTo>
                    <a:pt x="468" y="90"/>
                  </a:lnTo>
                  <a:lnTo>
                    <a:pt x="474" y="90"/>
                  </a:lnTo>
                  <a:lnTo>
                    <a:pt x="480" y="84"/>
                  </a:lnTo>
                  <a:lnTo>
                    <a:pt x="486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504" y="72"/>
                  </a:lnTo>
                  <a:lnTo>
                    <a:pt x="510" y="66"/>
                  </a:lnTo>
                  <a:lnTo>
                    <a:pt x="516" y="66"/>
                  </a:lnTo>
                  <a:lnTo>
                    <a:pt x="522" y="60"/>
                  </a:lnTo>
                  <a:lnTo>
                    <a:pt x="552" y="42"/>
                  </a:lnTo>
                  <a:lnTo>
                    <a:pt x="558" y="36"/>
                  </a:lnTo>
                  <a:lnTo>
                    <a:pt x="576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94" y="18"/>
                  </a:lnTo>
                  <a:lnTo>
                    <a:pt x="600" y="12"/>
                  </a:lnTo>
                  <a:lnTo>
                    <a:pt x="612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6"/>
                  </a:lnTo>
                  <a:lnTo>
                    <a:pt x="648" y="6"/>
                  </a:lnTo>
                  <a:lnTo>
                    <a:pt x="660" y="6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38" y="18"/>
                  </a:lnTo>
                  <a:lnTo>
                    <a:pt x="744" y="18"/>
                  </a:lnTo>
                  <a:lnTo>
                    <a:pt x="756" y="18"/>
                  </a:lnTo>
                  <a:lnTo>
                    <a:pt x="762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80" y="24"/>
                  </a:lnTo>
                  <a:lnTo>
                    <a:pt x="792" y="24"/>
                  </a:lnTo>
                  <a:lnTo>
                    <a:pt x="792" y="30"/>
                  </a:lnTo>
                  <a:lnTo>
                    <a:pt x="810" y="30"/>
                  </a:lnTo>
                  <a:lnTo>
                    <a:pt x="822" y="36"/>
                  </a:lnTo>
                  <a:lnTo>
                    <a:pt x="834" y="42"/>
                  </a:lnTo>
                  <a:lnTo>
                    <a:pt x="840" y="48"/>
                  </a:lnTo>
                  <a:lnTo>
                    <a:pt x="846" y="54"/>
                  </a:lnTo>
                  <a:lnTo>
                    <a:pt x="852" y="60"/>
                  </a:lnTo>
                  <a:lnTo>
                    <a:pt x="858" y="66"/>
                  </a:lnTo>
                  <a:lnTo>
                    <a:pt x="864" y="66"/>
                  </a:lnTo>
                  <a:lnTo>
                    <a:pt x="864" y="72"/>
                  </a:lnTo>
                  <a:lnTo>
                    <a:pt x="876" y="78"/>
                  </a:lnTo>
                  <a:lnTo>
                    <a:pt x="900" y="84"/>
                  </a:lnTo>
                  <a:lnTo>
                    <a:pt x="906" y="90"/>
                  </a:lnTo>
                  <a:lnTo>
                    <a:pt x="912" y="90"/>
                  </a:lnTo>
                  <a:lnTo>
                    <a:pt x="912" y="96"/>
                  </a:lnTo>
                  <a:lnTo>
                    <a:pt x="924" y="108"/>
                  </a:lnTo>
                  <a:lnTo>
                    <a:pt x="930" y="108"/>
                  </a:lnTo>
                  <a:lnTo>
                    <a:pt x="936" y="114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60" y="138"/>
                  </a:lnTo>
                  <a:lnTo>
                    <a:pt x="966" y="144"/>
                  </a:lnTo>
                  <a:lnTo>
                    <a:pt x="972" y="156"/>
                  </a:lnTo>
                  <a:lnTo>
                    <a:pt x="978" y="162"/>
                  </a:lnTo>
                  <a:lnTo>
                    <a:pt x="984" y="162"/>
                  </a:lnTo>
                  <a:lnTo>
                    <a:pt x="990" y="168"/>
                  </a:lnTo>
                  <a:lnTo>
                    <a:pt x="996" y="174"/>
                  </a:lnTo>
                  <a:lnTo>
                    <a:pt x="1002" y="180"/>
                  </a:lnTo>
                  <a:lnTo>
                    <a:pt x="1008" y="180"/>
                  </a:lnTo>
                  <a:lnTo>
                    <a:pt x="1020" y="180"/>
                  </a:lnTo>
                  <a:lnTo>
                    <a:pt x="1038" y="174"/>
                  </a:lnTo>
                  <a:lnTo>
                    <a:pt x="1050" y="174"/>
                  </a:lnTo>
                  <a:lnTo>
                    <a:pt x="1056" y="174"/>
                  </a:lnTo>
                  <a:lnTo>
                    <a:pt x="1068" y="180"/>
                  </a:lnTo>
                  <a:lnTo>
                    <a:pt x="1080" y="180"/>
                  </a:lnTo>
                  <a:lnTo>
                    <a:pt x="1086" y="186"/>
                  </a:lnTo>
                  <a:lnTo>
                    <a:pt x="1098" y="192"/>
                  </a:lnTo>
                  <a:lnTo>
                    <a:pt x="1116" y="204"/>
                  </a:lnTo>
                  <a:lnTo>
                    <a:pt x="1122" y="210"/>
                  </a:lnTo>
                  <a:lnTo>
                    <a:pt x="1134" y="222"/>
                  </a:lnTo>
                  <a:lnTo>
                    <a:pt x="1146" y="234"/>
                  </a:lnTo>
                  <a:lnTo>
                    <a:pt x="1146" y="240"/>
                  </a:lnTo>
                  <a:lnTo>
                    <a:pt x="1152" y="246"/>
                  </a:lnTo>
                  <a:lnTo>
                    <a:pt x="1152" y="252"/>
                  </a:lnTo>
                  <a:lnTo>
                    <a:pt x="1152" y="258"/>
                  </a:lnTo>
                  <a:lnTo>
                    <a:pt x="1164" y="258"/>
                  </a:lnTo>
                  <a:lnTo>
                    <a:pt x="1170" y="264"/>
                  </a:lnTo>
                  <a:lnTo>
                    <a:pt x="1182" y="270"/>
                  </a:lnTo>
                  <a:lnTo>
                    <a:pt x="1188" y="270"/>
                  </a:lnTo>
                  <a:lnTo>
                    <a:pt x="1194" y="270"/>
                  </a:lnTo>
                  <a:lnTo>
                    <a:pt x="1206" y="276"/>
                  </a:lnTo>
                  <a:lnTo>
                    <a:pt x="1224" y="282"/>
                  </a:lnTo>
                  <a:lnTo>
                    <a:pt x="1236" y="282"/>
                  </a:lnTo>
                  <a:lnTo>
                    <a:pt x="1242" y="288"/>
                  </a:lnTo>
                  <a:lnTo>
                    <a:pt x="1254" y="288"/>
                  </a:lnTo>
                  <a:lnTo>
                    <a:pt x="1266" y="294"/>
                  </a:lnTo>
                  <a:lnTo>
                    <a:pt x="1272" y="294"/>
                  </a:lnTo>
                  <a:lnTo>
                    <a:pt x="1284" y="300"/>
                  </a:lnTo>
                  <a:lnTo>
                    <a:pt x="1290" y="300"/>
                  </a:lnTo>
                  <a:lnTo>
                    <a:pt x="1296" y="300"/>
                  </a:lnTo>
                  <a:lnTo>
                    <a:pt x="1302" y="306"/>
                  </a:lnTo>
                  <a:lnTo>
                    <a:pt x="1326" y="312"/>
                  </a:lnTo>
                  <a:lnTo>
                    <a:pt x="1338" y="312"/>
                  </a:lnTo>
                  <a:lnTo>
                    <a:pt x="1338" y="318"/>
                  </a:lnTo>
                  <a:lnTo>
                    <a:pt x="1344" y="318"/>
                  </a:lnTo>
                  <a:lnTo>
                    <a:pt x="1350" y="318"/>
                  </a:lnTo>
                  <a:lnTo>
                    <a:pt x="1362" y="324"/>
                  </a:lnTo>
                  <a:lnTo>
                    <a:pt x="1368" y="318"/>
                  </a:lnTo>
                  <a:lnTo>
                    <a:pt x="1374" y="318"/>
                  </a:lnTo>
                  <a:lnTo>
                    <a:pt x="1386" y="318"/>
                  </a:lnTo>
                  <a:lnTo>
                    <a:pt x="1398" y="324"/>
                  </a:lnTo>
                  <a:lnTo>
                    <a:pt x="1398" y="342"/>
                  </a:lnTo>
                  <a:lnTo>
                    <a:pt x="1356" y="342"/>
                  </a:lnTo>
                  <a:lnTo>
                    <a:pt x="1350" y="348"/>
                  </a:lnTo>
                  <a:lnTo>
                    <a:pt x="1350" y="372"/>
                  </a:lnTo>
                  <a:lnTo>
                    <a:pt x="1338" y="384"/>
                  </a:lnTo>
                  <a:lnTo>
                    <a:pt x="1332" y="408"/>
                  </a:lnTo>
                  <a:lnTo>
                    <a:pt x="1320" y="420"/>
                  </a:lnTo>
                  <a:lnTo>
                    <a:pt x="1254" y="426"/>
                  </a:lnTo>
                  <a:lnTo>
                    <a:pt x="1248" y="432"/>
                  </a:lnTo>
                  <a:lnTo>
                    <a:pt x="1230" y="432"/>
                  </a:lnTo>
                  <a:lnTo>
                    <a:pt x="1212" y="432"/>
                  </a:lnTo>
                  <a:lnTo>
                    <a:pt x="1212" y="426"/>
                  </a:lnTo>
                  <a:lnTo>
                    <a:pt x="1200" y="426"/>
                  </a:lnTo>
                  <a:lnTo>
                    <a:pt x="1182" y="414"/>
                  </a:lnTo>
                  <a:lnTo>
                    <a:pt x="1182" y="420"/>
                  </a:lnTo>
                  <a:lnTo>
                    <a:pt x="1164" y="420"/>
                  </a:lnTo>
                  <a:lnTo>
                    <a:pt x="1158" y="414"/>
                  </a:lnTo>
                  <a:lnTo>
                    <a:pt x="1152" y="408"/>
                  </a:lnTo>
                  <a:lnTo>
                    <a:pt x="1146" y="402"/>
                  </a:lnTo>
                  <a:lnTo>
                    <a:pt x="1122" y="396"/>
                  </a:lnTo>
                  <a:lnTo>
                    <a:pt x="1116" y="366"/>
                  </a:lnTo>
                  <a:lnTo>
                    <a:pt x="1116" y="348"/>
                  </a:lnTo>
                  <a:lnTo>
                    <a:pt x="1110" y="342"/>
                  </a:lnTo>
                  <a:lnTo>
                    <a:pt x="1104" y="336"/>
                  </a:lnTo>
                  <a:lnTo>
                    <a:pt x="1092" y="330"/>
                  </a:lnTo>
                  <a:lnTo>
                    <a:pt x="1074" y="330"/>
                  </a:lnTo>
                  <a:lnTo>
                    <a:pt x="1044" y="330"/>
                  </a:lnTo>
                  <a:lnTo>
                    <a:pt x="1014" y="336"/>
                  </a:lnTo>
                  <a:lnTo>
                    <a:pt x="984" y="342"/>
                  </a:lnTo>
                  <a:lnTo>
                    <a:pt x="978" y="330"/>
                  </a:lnTo>
                  <a:lnTo>
                    <a:pt x="966" y="324"/>
                  </a:lnTo>
                  <a:lnTo>
                    <a:pt x="888" y="336"/>
                  </a:lnTo>
                  <a:lnTo>
                    <a:pt x="888" y="330"/>
                  </a:lnTo>
                  <a:lnTo>
                    <a:pt x="870" y="336"/>
                  </a:lnTo>
                  <a:lnTo>
                    <a:pt x="858" y="336"/>
                  </a:lnTo>
                  <a:lnTo>
                    <a:pt x="852" y="354"/>
                  </a:lnTo>
                  <a:lnTo>
                    <a:pt x="852" y="402"/>
                  </a:lnTo>
                  <a:lnTo>
                    <a:pt x="840" y="414"/>
                  </a:lnTo>
                  <a:lnTo>
                    <a:pt x="834" y="420"/>
                  </a:lnTo>
                  <a:lnTo>
                    <a:pt x="834" y="444"/>
                  </a:lnTo>
                  <a:lnTo>
                    <a:pt x="834" y="450"/>
                  </a:lnTo>
                  <a:lnTo>
                    <a:pt x="852" y="456"/>
                  </a:lnTo>
                  <a:lnTo>
                    <a:pt x="864" y="462"/>
                  </a:lnTo>
                  <a:lnTo>
                    <a:pt x="894" y="456"/>
                  </a:lnTo>
                  <a:lnTo>
                    <a:pt x="900" y="468"/>
                  </a:lnTo>
                  <a:lnTo>
                    <a:pt x="918" y="462"/>
                  </a:lnTo>
                  <a:lnTo>
                    <a:pt x="924" y="468"/>
                  </a:lnTo>
                  <a:lnTo>
                    <a:pt x="924" y="47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2" name="Freeform 37">
              <a:extLst>
                <a:ext uri="{FF2B5EF4-FFF2-40B4-BE49-F238E27FC236}">
                  <a16:creationId xmlns:a16="http://schemas.microsoft.com/office/drawing/2014/main" id="{DED8A1FF-B656-4D37-BD26-5B0A7B1A4A6D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441" y="1898343"/>
              <a:ext cx="567992" cy="686605"/>
            </a:xfrm>
            <a:custGeom>
              <a:avLst/>
              <a:gdLst>
                <a:gd name="T0" fmla="*/ 79 w 1068"/>
                <a:gd name="T1" fmla="*/ 72 h 1290"/>
                <a:gd name="T2" fmla="*/ 75 w 1068"/>
                <a:gd name="T3" fmla="*/ 73 h 1290"/>
                <a:gd name="T4" fmla="*/ 72 w 1068"/>
                <a:gd name="T5" fmla="*/ 76 h 1290"/>
                <a:gd name="T6" fmla="*/ 70 w 1068"/>
                <a:gd name="T7" fmla="*/ 78 h 1290"/>
                <a:gd name="T8" fmla="*/ 67 w 1068"/>
                <a:gd name="T9" fmla="*/ 82 h 1290"/>
                <a:gd name="T10" fmla="*/ 61 w 1068"/>
                <a:gd name="T11" fmla="*/ 86 h 1290"/>
                <a:gd name="T12" fmla="*/ 60 w 1068"/>
                <a:gd name="T13" fmla="*/ 93 h 1290"/>
                <a:gd name="T14" fmla="*/ 59 w 1068"/>
                <a:gd name="T15" fmla="*/ 97 h 1290"/>
                <a:gd name="T16" fmla="*/ 61 w 1068"/>
                <a:gd name="T17" fmla="*/ 101 h 1290"/>
                <a:gd name="T18" fmla="*/ 63 w 1068"/>
                <a:gd name="T19" fmla="*/ 104 h 1290"/>
                <a:gd name="T20" fmla="*/ 62 w 1068"/>
                <a:gd name="T21" fmla="*/ 108 h 1290"/>
                <a:gd name="T22" fmla="*/ 60 w 1068"/>
                <a:gd name="T23" fmla="*/ 111 h 1290"/>
                <a:gd name="T24" fmla="*/ 56 w 1068"/>
                <a:gd name="T25" fmla="*/ 111 h 1290"/>
                <a:gd name="T26" fmla="*/ 53 w 1068"/>
                <a:gd name="T27" fmla="*/ 110 h 1290"/>
                <a:gd name="T28" fmla="*/ 50 w 1068"/>
                <a:gd name="T29" fmla="*/ 109 h 1290"/>
                <a:gd name="T30" fmla="*/ 47 w 1068"/>
                <a:gd name="T31" fmla="*/ 110 h 1290"/>
                <a:gd name="T32" fmla="*/ 51 w 1068"/>
                <a:gd name="T33" fmla="*/ 104 h 1290"/>
                <a:gd name="T34" fmla="*/ 50 w 1068"/>
                <a:gd name="T35" fmla="*/ 95 h 1290"/>
                <a:gd name="T36" fmla="*/ 51 w 1068"/>
                <a:gd name="T37" fmla="*/ 90 h 1290"/>
                <a:gd name="T38" fmla="*/ 47 w 1068"/>
                <a:gd name="T39" fmla="*/ 84 h 1290"/>
                <a:gd name="T40" fmla="*/ 42 w 1068"/>
                <a:gd name="T41" fmla="*/ 78 h 1290"/>
                <a:gd name="T42" fmla="*/ 33 w 1068"/>
                <a:gd name="T43" fmla="*/ 73 h 1290"/>
                <a:gd name="T44" fmla="*/ 26 w 1068"/>
                <a:gd name="T45" fmla="*/ 68 h 1290"/>
                <a:gd name="T46" fmla="*/ 22 w 1068"/>
                <a:gd name="T47" fmla="*/ 63 h 1290"/>
                <a:gd name="T48" fmla="*/ 11 w 1068"/>
                <a:gd name="T49" fmla="*/ 67 h 1290"/>
                <a:gd name="T50" fmla="*/ 0 w 1068"/>
                <a:gd name="T51" fmla="*/ 68 h 1290"/>
                <a:gd name="T52" fmla="*/ 2 w 1068"/>
                <a:gd name="T53" fmla="*/ 59 h 1290"/>
                <a:gd name="T54" fmla="*/ 12 w 1068"/>
                <a:gd name="T55" fmla="*/ 55 h 1290"/>
                <a:gd name="T56" fmla="*/ 12 w 1068"/>
                <a:gd name="T57" fmla="*/ 51 h 1290"/>
                <a:gd name="T58" fmla="*/ 10 w 1068"/>
                <a:gd name="T59" fmla="*/ 47 h 1290"/>
                <a:gd name="T60" fmla="*/ 9 w 1068"/>
                <a:gd name="T61" fmla="*/ 42 h 1290"/>
                <a:gd name="T62" fmla="*/ 8 w 1068"/>
                <a:gd name="T63" fmla="*/ 38 h 1290"/>
                <a:gd name="T64" fmla="*/ 8 w 1068"/>
                <a:gd name="T65" fmla="*/ 29 h 1290"/>
                <a:gd name="T66" fmla="*/ 10 w 1068"/>
                <a:gd name="T67" fmla="*/ 18 h 1290"/>
                <a:gd name="T68" fmla="*/ 25 w 1068"/>
                <a:gd name="T69" fmla="*/ 12 h 1290"/>
                <a:gd name="T70" fmla="*/ 27 w 1068"/>
                <a:gd name="T71" fmla="*/ 4 h 1290"/>
                <a:gd name="T72" fmla="*/ 35 w 1068"/>
                <a:gd name="T73" fmla="*/ 6 h 1290"/>
                <a:gd name="T74" fmla="*/ 39 w 1068"/>
                <a:gd name="T75" fmla="*/ 8 h 1290"/>
                <a:gd name="T76" fmla="*/ 41 w 1068"/>
                <a:gd name="T77" fmla="*/ 3 h 1290"/>
                <a:gd name="T78" fmla="*/ 45 w 1068"/>
                <a:gd name="T79" fmla="*/ 0 h 1290"/>
                <a:gd name="T80" fmla="*/ 51 w 1068"/>
                <a:gd name="T81" fmla="*/ 0 h 1290"/>
                <a:gd name="T82" fmla="*/ 56 w 1068"/>
                <a:gd name="T83" fmla="*/ 4 h 1290"/>
                <a:gd name="T84" fmla="*/ 62 w 1068"/>
                <a:gd name="T85" fmla="*/ 12 h 1290"/>
                <a:gd name="T86" fmla="*/ 58 w 1068"/>
                <a:gd name="T87" fmla="*/ 17 h 1290"/>
                <a:gd name="T88" fmla="*/ 60 w 1068"/>
                <a:gd name="T89" fmla="*/ 18 h 1290"/>
                <a:gd name="T90" fmla="*/ 64 w 1068"/>
                <a:gd name="T91" fmla="*/ 16 h 1290"/>
                <a:gd name="T92" fmla="*/ 68 w 1068"/>
                <a:gd name="T93" fmla="*/ 18 h 1290"/>
                <a:gd name="T94" fmla="*/ 71 w 1068"/>
                <a:gd name="T95" fmla="*/ 27 h 1290"/>
                <a:gd name="T96" fmla="*/ 74 w 1068"/>
                <a:gd name="T97" fmla="*/ 30 h 1290"/>
                <a:gd name="T98" fmla="*/ 82 w 1068"/>
                <a:gd name="T99" fmla="*/ 30 h 1290"/>
                <a:gd name="T100" fmla="*/ 87 w 1068"/>
                <a:gd name="T101" fmla="*/ 35 h 1290"/>
                <a:gd name="T102" fmla="*/ 85 w 1068"/>
                <a:gd name="T103" fmla="*/ 42 h 1290"/>
                <a:gd name="T104" fmla="*/ 81 w 1068"/>
                <a:gd name="T105" fmla="*/ 46 h 1290"/>
                <a:gd name="T106" fmla="*/ 86 w 1068"/>
                <a:gd name="T107" fmla="*/ 50 h 1290"/>
                <a:gd name="T108" fmla="*/ 89 w 1068"/>
                <a:gd name="T109" fmla="*/ 58 h 1290"/>
                <a:gd name="T110" fmla="*/ 92 w 1068"/>
                <a:gd name="T111" fmla="*/ 61 h 1290"/>
                <a:gd name="T112" fmla="*/ 86 w 1068"/>
                <a:gd name="T113" fmla="*/ 66 h 1290"/>
                <a:gd name="T114" fmla="*/ 85 w 1068"/>
                <a:gd name="T115" fmla="*/ 70 h 129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68"/>
                <a:gd name="T175" fmla="*/ 0 h 1290"/>
                <a:gd name="T176" fmla="*/ 1068 w 1068"/>
                <a:gd name="T177" fmla="*/ 1290 h 129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68" h="1290">
                  <a:moveTo>
                    <a:pt x="978" y="804"/>
                  </a:moveTo>
                  <a:lnTo>
                    <a:pt x="972" y="810"/>
                  </a:lnTo>
                  <a:lnTo>
                    <a:pt x="966" y="810"/>
                  </a:lnTo>
                  <a:lnTo>
                    <a:pt x="966" y="816"/>
                  </a:lnTo>
                  <a:lnTo>
                    <a:pt x="936" y="828"/>
                  </a:lnTo>
                  <a:lnTo>
                    <a:pt x="924" y="822"/>
                  </a:lnTo>
                  <a:lnTo>
                    <a:pt x="912" y="822"/>
                  </a:lnTo>
                  <a:lnTo>
                    <a:pt x="906" y="828"/>
                  </a:lnTo>
                  <a:lnTo>
                    <a:pt x="900" y="828"/>
                  </a:lnTo>
                  <a:lnTo>
                    <a:pt x="900" y="822"/>
                  </a:lnTo>
                  <a:lnTo>
                    <a:pt x="894" y="822"/>
                  </a:lnTo>
                  <a:lnTo>
                    <a:pt x="888" y="828"/>
                  </a:lnTo>
                  <a:lnTo>
                    <a:pt x="882" y="834"/>
                  </a:lnTo>
                  <a:lnTo>
                    <a:pt x="876" y="834"/>
                  </a:lnTo>
                  <a:lnTo>
                    <a:pt x="870" y="840"/>
                  </a:lnTo>
                  <a:lnTo>
                    <a:pt x="864" y="840"/>
                  </a:lnTo>
                  <a:lnTo>
                    <a:pt x="864" y="846"/>
                  </a:lnTo>
                  <a:lnTo>
                    <a:pt x="858" y="846"/>
                  </a:lnTo>
                  <a:lnTo>
                    <a:pt x="852" y="846"/>
                  </a:lnTo>
                  <a:lnTo>
                    <a:pt x="852" y="858"/>
                  </a:lnTo>
                  <a:lnTo>
                    <a:pt x="846" y="864"/>
                  </a:lnTo>
                  <a:lnTo>
                    <a:pt x="840" y="870"/>
                  </a:lnTo>
                  <a:lnTo>
                    <a:pt x="834" y="870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34" y="876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10" y="894"/>
                  </a:lnTo>
                  <a:lnTo>
                    <a:pt x="810" y="900"/>
                  </a:lnTo>
                  <a:lnTo>
                    <a:pt x="804" y="900"/>
                  </a:lnTo>
                  <a:lnTo>
                    <a:pt x="798" y="900"/>
                  </a:lnTo>
                  <a:lnTo>
                    <a:pt x="798" y="906"/>
                  </a:lnTo>
                  <a:lnTo>
                    <a:pt x="792" y="906"/>
                  </a:lnTo>
                  <a:lnTo>
                    <a:pt x="792" y="912"/>
                  </a:lnTo>
                  <a:lnTo>
                    <a:pt x="792" y="924"/>
                  </a:lnTo>
                  <a:lnTo>
                    <a:pt x="786" y="930"/>
                  </a:lnTo>
                  <a:lnTo>
                    <a:pt x="774" y="942"/>
                  </a:lnTo>
                  <a:lnTo>
                    <a:pt x="774" y="948"/>
                  </a:lnTo>
                  <a:lnTo>
                    <a:pt x="768" y="954"/>
                  </a:lnTo>
                  <a:lnTo>
                    <a:pt x="762" y="954"/>
                  </a:lnTo>
                  <a:lnTo>
                    <a:pt x="750" y="972"/>
                  </a:lnTo>
                  <a:lnTo>
                    <a:pt x="720" y="978"/>
                  </a:lnTo>
                  <a:lnTo>
                    <a:pt x="714" y="978"/>
                  </a:lnTo>
                  <a:lnTo>
                    <a:pt x="708" y="978"/>
                  </a:lnTo>
                  <a:lnTo>
                    <a:pt x="702" y="990"/>
                  </a:lnTo>
                  <a:lnTo>
                    <a:pt x="696" y="990"/>
                  </a:lnTo>
                  <a:lnTo>
                    <a:pt x="696" y="1008"/>
                  </a:lnTo>
                  <a:lnTo>
                    <a:pt x="690" y="1008"/>
                  </a:lnTo>
                  <a:lnTo>
                    <a:pt x="690" y="1014"/>
                  </a:lnTo>
                  <a:lnTo>
                    <a:pt x="684" y="1032"/>
                  </a:lnTo>
                  <a:lnTo>
                    <a:pt x="690" y="1050"/>
                  </a:lnTo>
                  <a:lnTo>
                    <a:pt x="690" y="1062"/>
                  </a:lnTo>
                  <a:lnTo>
                    <a:pt x="690" y="1068"/>
                  </a:lnTo>
                  <a:lnTo>
                    <a:pt x="690" y="1074"/>
                  </a:lnTo>
                  <a:lnTo>
                    <a:pt x="684" y="1074"/>
                  </a:lnTo>
                  <a:lnTo>
                    <a:pt x="684" y="1080"/>
                  </a:lnTo>
                  <a:lnTo>
                    <a:pt x="678" y="1086"/>
                  </a:lnTo>
                  <a:lnTo>
                    <a:pt x="678" y="1104"/>
                  </a:lnTo>
                  <a:lnTo>
                    <a:pt x="678" y="1110"/>
                  </a:lnTo>
                  <a:lnTo>
                    <a:pt x="678" y="1116"/>
                  </a:lnTo>
                  <a:lnTo>
                    <a:pt x="684" y="1116"/>
                  </a:lnTo>
                  <a:lnTo>
                    <a:pt x="678" y="1128"/>
                  </a:lnTo>
                  <a:lnTo>
                    <a:pt x="684" y="1128"/>
                  </a:lnTo>
                  <a:lnTo>
                    <a:pt x="690" y="1134"/>
                  </a:lnTo>
                  <a:lnTo>
                    <a:pt x="690" y="1140"/>
                  </a:lnTo>
                  <a:lnTo>
                    <a:pt x="696" y="1140"/>
                  </a:lnTo>
                  <a:lnTo>
                    <a:pt x="696" y="1146"/>
                  </a:lnTo>
                  <a:lnTo>
                    <a:pt x="696" y="1152"/>
                  </a:lnTo>
                  <a:lnTo>
                    <a:pt x="702" y="1152"/>
                  </a:lnTo>
                  <a:lnTo>
                    <a:pt x="708" y="1152"/>
                  </a:lnTo>
                  <a:lnTo>
                    <a:pt x="714" y="1158"/>
                  </a:lnTo>
                  <a:lnTo>
                    <a:pt x="714" y="1164"/>
                  </a:lnTo>
                  <a:lnTo>
                    <a:pt x="720" y="1170"/>
                  </a:lnTo>
                  <a:lnTo>
                    <a:pt x="720" y="1176"/>
                  </a:lnTo>
                  <a:lnTo>
                    <a:pt x="720" y="1182"/>
                  </a:lnTo>
                  <a:lnTo>
                    <a:pt x="726" y="1188"/>
                  </a:lnTo>
                  <a:lnTo>
                    <a:pt x="726" y="1194"/>
                  </a:lnTo>
                  <a:lnTo>
                    <a:pt x="732" y="1194"/>
                  </a:lnTo>
                  <a:lnTo>
                    <a:pt x="732" y="1200"/>
                  </a:lnTo>
                  <a:lnTo>
                    <a:pt x="738" y="1212"/>
                  </a:lnTo>
                  <a:lnTo>
                    <a:pt x="732" y="1218"/>
                  </a:lnTo>
                  <a:lnTo>
                    <a:pt x="732" y="1224"/>
                  </a:lnTo>
                  <a:lnTo>
                    <a:pt x="726" y="1230"/>
                  </a:lnTo>
                  <a:lnTo>
                    <a:pt x="720" y="1230"/>
                  </a:lnTo>
                  <a:lnTo>
                    <a:pt x="720" y="1236"/>
                  </a:lnTo>
                  <a:lnTo>
                    <a:pt x="720" y="1242"/>
                  </a:lnTo>
                  <a:lnTo>
                    <a:pt x="720" y="1248"/>
                  </a:lnTo>
                  <a:lnTo>
                    <a:pt x="714" y="1248"/>
                  </a:lnTo>
                  <a:lnTo>
                    <a:pt x="714" y="1254"/>
                  </a:lnTo>
                  <a:lnTo>
                    <a:pt x="708" y="1260"/>
                  </a:lnTo>
                  <a:lnTo>
                    <a:pt x="702" y="1272"/>
                  </a:lnTo>
                  <a:lnTo>
                    <a:pt x="696" y="1272"/>
                  </a:lnTo>
                  <a:lnTo>
                    <a:pt x="696" y="1278"/>
                  </a:lnTo>
                  <a:lnTo>
                    <a:pt x="690" y="1284"/>
                  </a:lnTo>
                  <a:lnTo>
                    <a:pt x="690" y="1290"/>
                  </a:lnTo>
                  <a:lnTo>
                    <a:pt x="684" y="1290"/>
                  </a:lnTo>
                  <a:lnTo>
                    <a:pt x="660" y="1284"/>
                  </a:lnTo>
                  <a:lnTo>
                    <a:pt x="660" y="1278"/>
                  </a:lnTo>
                  <a:lnTo>
                    <a:pt x="654" y="1272"/>
                  </a:lnTo>
                  <a:lnTo>
                    <a:pt x="648" y="1272"/>
                  </a:lnTo>
                  <a:lnTo>
                    <a:pt x="642" y="1272"/>
                  </a:lnTo>
                  <a:lnTo>
                    <a:pt x="642" y="1266"/>
                  </a:lnTo>
                  <a:lnTo>
                    <a:pt x="636" y="1266"/>
                  </a:lnTo>
                  <a:lnTo>
                    <a:pt x="630" y="1266"/>
                  </a:lnTo>
                  <a:lnTo>
                    <a:pt x="624" y="1266"/>
                  </a:lnTo>
                  <a:lnTo>
                    <a:pt x="624" y="1260"/>
                  </a:lnTo>
                  <a:lnTo>
                    <a:pt x="618" y="1260"/>
                  </a:lnTo>
                  <a:lnTo>
                    <a:pt x="612" y="1260"/>
                  </a:lnTo>
                  <a:lnTo>
                    <a:pt x="606" y="1260"/>
                  </a:lnTo>
                  <a:lnTo>
                    <a:pt x="600" y="1260"/>
                  </a:lnTo>
                  <a:lnTo>
                    <a:pt x="600" y="1254"/>
                  </a:lnTo>
                  <a:lnTo>
                    <a:pt x="594" y="1254"/>
                  </a:lnTo>
                  <a:lnTo>
                    <a:pt x="588" y="1248"/>
                  </a:lnTo>
                  <a:lnTo>
                    <a:pt x="588" y="1254"/>
                  </a:lnTo>
                  <a:lnTo>
                    <a:pt x="582" y="1254"/>
                  </a:lnTo>
                  <a:lnTo>
                    <a:pt x="582" y="1248"/>
                  </a:lnTo>
                  <a:lnTo>
                    <a:pt x="576" y="1248"/>
                  </a:lnTo>
                  <a:lnTo>
                    <a:pt x="576" y="1254"/>
                  </a:lnTo>
                  <a:lnTo>
                    <a:pt x="570" y="1248"/>
                  </a:lnTo>
                  <a:lnTo>
                    <a:pt x="564" y="1248"/>
                  </a:lnTo>
                  <a:lnTo>
                    <a:pt x="564" y="1254"/>
                  </a:lnTo>
                  <a:lnTo>
                    <a:pt x="558" y="1254"/>
                  </a:lnTo>
                  <a:lnTo>
                    <a:pt x="552" y="1254"/>
                  </a:lnTo>
                  <a:lnTo>
                    <a:pt x="552" y="1260"/>
                  </a:lnTo>
                  <a:lnTo>
                    <a:pt x="546" y="1260"/>
                  </a:lnTo>
                  <a:lnTo>
                    <a:pt x="540" y="1260"/>
                  </a:lnTo>
                  <a:lnTo>
                    <a:pt x="540" y="1254"/>
                  </a:lnTo>
                  <a:lnTo>
                    <a:pt x="534" y="1254"/>
                  </a:lnTo>
                  <a:lnTo>
                    <a:pt x="528" y="1224"/>
                  </a:lnTo>
                  <a:lnTo>
                    <a:pt x="534" y="1212"/>
                  </a:lnTo>
                  <a:lnTo>
                    <a:pt x="546" y="1206"/>
                  </a:lnTo>
                  <a:lnTo>
                    <a:pt x="582" y="1206"/>
                  </a:lnTo>
                  <a:lnTo>
                    <a:pt x="588" y="1188"/>
                  </a:lnTo>
                  <a:lnTo>
                    <a:pt x="582" y="1188"/>
                  </a:lnTo>
                  <a:lnTo>
                    <a:pt x="582" y="1182"/>
                  </a:lnTo>
                  <a:lnTo>
                    <a:pt x="576" y="1176"/>
                  </a:lnTo>
                  <a:lnTo>
                    <a:pt x="558" y="1128"/>
                  </a:lnTo>
                  <a:lnTo>
                    <a:pt x="558" y="1122"/>
                  </a:lnTo>
                  <a:lnTo>
                    <a:pt x="576" y="1098"/>
                  </a:lnTo>
                  <a:lnTo>
                    <a:pt x="576" y="1092"/>
                  </a:lnTo>
                  <a:lnTo>
                    <a:pt x="582" y="1092"/>
                  </a:lnTo>
                  <a:lnTo>
                    <a:pt x="582" y="1086"/>
                  </a:lnTo>
                  <a:lnTo>
                    <a:pt x="582" y="1080"/>
                  </a:lnTo>
                  <a:lnTo>
                    <a:pt x="582" y="1074"/>
                  </a:lnTo>
                  <a:lnTo>
                    <a:pt x="588" y="1074"/>
                  </a:lnTo>
                  <a:lnTo>
                    <a:pt x="588" y="1062"/>
                  </a:lnTo>
                  <a:lnTo>
                    <a:pt x="588" y="1056"/>
                  </a:lnTo>
                  <a:lnTo>
                    <a:pt x="588" y="1044"/>
                  </a:lnTo>
                  <a:lnTo>
                    <a:pt x="588" y="1038"/>
                  </a:lnTo>
                  <a:lnTo>
                    <a:pt x="588" y="1032"/>
                  </a:lnTo>
                  <a:lnTo>
                    <a:pt x="582" y="1026"/>
                  </a:lnTo>
                  <a:lnTo>
                    <a:pt x="582" y="1020"/>
                  </a:lnTo>
                  <a:lnTo>
                    <a:pt x="582" y="1008"/>
                  </a:lnTo>
                  <a:lnTo>
                    <a:pt x="576" y="990"/>
                  </a:lnTo>
                  <a:lnTo>
                    <a:pt x="570" y="972"/>
                  </a:lnTo>
                  <a:lnTo>
                    <a:pt x="552" y="972"/>
                  </a:lnTo>
                  <a:lnTo>
                    <a:pt x="540" y="960"/>
                  </a:lnTo>
                  <a:lnTo>
                    <a:pt x="534" y="954"/>
                  </a:lnTo>
                  <a:lnTo>
                    <a:pt x="534" y="948"/>
                  </a:lnTo>
                  <a:lnTo>
                    <a:pt x="516" y="948"/>
                  </a:lnTo>
                  <a:lnTo>
                    <a:pt x="522" y="936"/>
                  </a:lnTo>
                  <a:lnTo>
                    <a:pt x="522" y="930"/>
                  </a:lnTo>
                  <a:lnTo>
                    <a:pt x="504" y="918"/>
                  </a:lnTo>
                  <a:lnTo>
                    <a:pt x="492" y="906"/>
                  </a:lnTo>
                  <a:lnTo>
                    <a:pt x="486" y="894"/>
                  </a:lnTo>
                  <a:lnTo>
                    <a:pt x="468" y="876"/>
                  </a:lnTo>
                  <a:lnTo>
                    <a:pt x="450" y="876"/>
                  </a:lnTo>
                  <a:lnTo>
                    <a:pt x="414" y="882"/>
                  </a:lnTo>
                  <a:lnTo>
                    <a:pt x="402" y="870"/>
                  </a:lnTo>
                  <a:lnTo>
                    <a:pt x="390" y="864"/>
                  </a:lnTo>
                  <a:lnTo>
                    <a:pt x="384" y="852"/>
                  </a:lnTo>
                  <a:lnTo>
                    <a:pt x="378" y="840"/>
                  </a:lnTo>
                  <a:lnTo>
                    <a:pt x="378" y="834"/>
                  </a:lnTo>
                  <a:lnTo>
                    <a:pt x="360" y="822"/>
                  </a:lnTo>
                  <a:lnTo>
                    <a:pt x="342" y="828"/>
                  </a:lnTo>
                  <a:lnTo>
                    <a:pt x="324" y="816"/>
                  </a:lnTo>
                  <a:lnTo>
                    <a:pt x="318" y="816"/>
                  </a:lnTo>
                  <a:lnTo>
                    <a:pt x="306" y="810"/>
                  </a:lnTo>
                  <a:lnTo>
                    <a:pt x="306" y="804"/>
                  </a:lnTo>
                  <a:lnTo>
                    <a:pt x="300" y="804"/>
                  </a:lnTo>
                  <a:lnTo>
                    <a:pt x="300" y="780"/>
                  </a:lnTo>
                  <a:lnTo>
                    <a:pt x="300" y="774"/>
                  </a:lnTo>
                  <a:lnTo>
                    <a:pt x="306" y="774"/>
                  </a:lnTo>
                  <a:lnTo>
                    <a:pt x="312" y="756"/>
                  </a:lnTo>
                  <a:lnTo>
                    <a:pt x="312" y="732"/>
                  </a:lnTo>
                  <a:lnTo>
                    <a:pt x="300" y="720"/>
                  </a:lnTo>
                  <a:lnTo>
                    <a:pt x="288" y="702"/>
                  </a:lnTo>
                  <a:lnTo>
                    <a:pt x="276" y="702"/>
                  </a:lnTo>
                  <a:lnTo>
                    <a:pt x="258" y="714"/>
                  </a:lnTo>
                  <a:lnTo>
                    <a:pt x="246" y="726"/>
                  </a:lnTo>
                  <a:lnTo>
                    <a:pt x="222" y="726"/>
                  </a:lnTo>
                  <a:lnTo>
                    <a:pt x="192" y="726"/>
                  </a:lnTo>
                  <a:lnTo>
                    <a:pt x="174" y="738"/>
                  </a:lnTo>
                  <a:lnTo>
                    <a:pt x="162" y="750"/>
                  </a:lnTo>
                  <a:lnTo>
                    <a:pt x="144" y="762"/>
                  </a:lnTo>
                  <a:lnTo>
                    <a:pt x="138" y="768"/>
                  </a:lnTo>
                  <a:lnTo>
                    <a:pt x="126" y="774"/>
                  </a:lnTo>
                  <a:lnTo>
                    <a:pt x="114" y="780"/>
                  </a:lnTo>
                  <a:lnTo>
                    <a:pt x="108" y="786"/>
                  </a:lnTo>
                  <a:lnTo>
                    <a:pt x="102" y="786"/>
                  </a:lnTo>
                  <a:lnTo>
                    <a:pt x="54" y="786"/>
                  </a:lnTo>
                  <a:lnTo>
                    <a:pt x="48" y="792"/>
                  </a:lnTo>
                  <a:lnTo>
                    <a:pt x="36" y="798"/>
                  </a:lnTo>
                  <a:lnTo>
                    <a:pt x="18" y="792"/>
                  </a:lnTo>
                  <a:lnTo>
                    <a:pt x="6" y="780"/>
                  </a:lnTo>
                  <a:lnTo>
                    <a:pt x="6" y="768"/>
                  </a:lnTo>
                  <a:lnTo>
                    <a:pt x="0" y="756"/>
                  </a:lnTo>
                  <a:lnTo>
                    <a:pt x="0" y="738"/>
                  </a:lnTo>
                  <a:lnTo>
                    <a:pt x="6" y="702"/>
                  </a:lnTo>
                  <a:lnTo>
                    <a:pt x="24" y="702"/>
                  </a:lnTo>
                  <a:lnTo>
                    <a:pt x="24" y="696"/>
                  </a:lnTo>
                  <a:lnTo>
                    <a:pt x="24" y="690"/>
                  </a:lnTo>
                  <a:lnTo>
                    <a:pt x="24" y="678"/>
                  </a:lnTo>
                  <a:lnTo>
                    <a:pt x="24" y="672"/>
                  </a:lnTo>
                  <a:lnTo>
                    <a:pt x="30" y="672"/>
                  </a:lnTo>
                  <a:lnTo>
                    <a:pt x="30" y="666"/>
                  </a:lnTo>
                  <a:lnTo>
                    <a:pt x="36" y="660"/>
                  </a:lnTo>
                  <a:lnTo>
                    <a:pt x="84" y="648"/>
                  </a:lnTo>
                  <a:lnTo>
                    <a:pt x="126" y="642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32" y="618"/>
                  </a:lnTo>
                  <a:lnTo>
                    <a:pt x="138" y="612"/>
                  </a:lnTo>
                  <a:lnTo>
                    <a:pt x="138" y="606"/>
                  </a:lnTo>
                  <a:lnTo>
                    <a:pt x="138" y="600"/>
                  </a:lnTo>
                  <a:lnTo>
                    <a:pt x="132" y="600"/>
                  </a:lnTo>
                  <a:lnTo>
                    <a:pt x="132" y="594"/>
                  </a:lnTo>
                  <a:lnTo>
                    <a:pt x="132" y="588"/>
                  </a:lnTo>
                  <a:lnTo>
                    <a:pt x="132" y="582"/>
                  </a:lnTo>
                  <a:lnTo>
                    <a:pt x="132" y="576"/>
                  </a:lnTo>
                  <a:lnTo>
                    <a:pt x="126" y="570"/>
                  </a:lnTo>
                  <a:lnTo>
                    <a:pt x="120" y="564"/>
                  </a:lnTo>
                  <a:lnTo>
                    <a:pt x="120" y="558"/>
                  </a:lnTo>
                  <a:lnTo>
                    <a:pt x="120" y="552"/>
                  </a:lnTo>
                  <a:lnTo>
                    <a:pt x="114" y="552"/>
                  </a:lnTo>
                  <a:lnTo>
                    <a:pt x="114" y="546"/>
                  </a:lnTo>
                  <a:lnTo>
                    <a:pt x="114" y="540"/>
                  </a:lnTo>
                  <a:lnTo>
                    <a:pt x="108" y="534"/>
                  </a:lnTo>
                  <a:lnTo>
                    <a:pt x="108" y="528"/>
                  </a:lnTo>
                  <a:lnTo>
                    <a:pt x="114" y="522"/>
                  </a:lnTo>
                  <a:lnTo>
                    <a:pt x="108" y="516"/>
                  </a:lnTo>
                  <a:lnTo>
                    <a:pt x="108" y="498"/>
                  </a:lnTo>
                  <a:lnTo>
                    <a:pt x="108" y="492"/>
                  </a:lnTo>
                  <a:lnTo>
                    <a:pt x="108" y="486"/>
                  </a:lnTo>
                  <a:lnTo>
                    <a:pt x="108" y="480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08" y="462"/>
                  </a:lnTo>
                  <a:lnTo>
                    <a:pt x="102" y="456"/>
                  </a:lnTo>
                  <a:lnTo>
                    <a:pt x="102" y="444"/>
                  </a:lnTo>
                  <a:lnTo>
                    <a:pt x="96" y="444"/>
                  </a:lnTo>
                  <a:lnTo>
                    <a:pt x="90" y="432"/>
                  </a:lnTo>
                  <a:lnTo>
                    <a:pt x="96" y="432"/>
                  </a:lnTo>
                  <a:lnTo>
                    <a:pt x="96" y="408"/>
                  </a:lnTo>
                  <a:lnTo>
                    <a:pt x="96" y="396"/>
                  </a:lnTo>
                  <a:lnTo>
                    <a:pt x="96" y="360"/>
                  </a:lnTo>
                  <a:lnTo>
                    <a:pt x="96" y="354"/>
                  </a:lnTo>
                  <a:lnTo>
                    <a:pt x="102" y="354"/>
                  </a:lnTo>
                  <a:lnTo>
                    <a:pt x="102" y="348"/>
                  </a:lnTo>
                  <a:lnTo>
                    <a:pt x="96" y="330"/>
                  </a:lnTo>
                  <a:lnTo>
                    <a:pt x="90" y="306"/>
                  </a:lnTo>
                  <a:lnTo>
                    <a:pt x="84" y="288"/>
                  </a:lnTo>
                  <a:lnTo>
                    <a:pt x="84" y="264"/>
                  </a:lnTo>
                  <a:lnTo>
                    <a:pt x="90" y="240"/>
                  </a:lnTo>
                  <a:lnTo>
                    <a:pt x="96" y="222"/>
                  </a:lnTo>
                  <a:lnTo>
                    <a:pt x="102" y="222"/>
                  </a:lnTo>
                  <a:lnTo>
                    <a:pt x="108" y="210"/>
                  </a:lnTo>
                  <a:lnTo>
                    <a:pt x="114" y="210"/>
                  </a:lnTo>
                  <a:lnTo>
                    <a:pt x="126" y="198"/>
                  </a:lnTo>
                  <a:lnTo>
                    <a:pt x="156" y="192"/>
                  </a:lnTo>
                  <a:lnTo>
                    <a:pt x="174" y="186"/>
                  </a:lnTo>
                  <a:lnTo>
                    <a:pt x="204" y="174"/>
                  </a:lnTo>
                  <a:lnTo>
                    <a:pt x="222" y="168"/>
                  </a:lnTo>
                  <a:lnTo>
                    <a:pt x="234" y="162"/>
                  </a:lnTo>
                  <a:lnTo>
                    <a:pt x="246" y="156"/>
                  </a:lnTo>
                  <a:lnTo>
                    <a:pt x="288" y="144"/>
                  </a:lnTo>
                  <a:lnTo>
                    <a:pt x="288" y="132"/>
                  </a:lnTo>
                  <a:lnTo>
                    <a:pt x="294" y="120"/>
                  </a:lnTo>
                  <a:lnTo>
                    <a:pt x="300" y="108"/>
                  </a:lnTo>
                  <a:lnTo>
                    <a:pt x="306" y="90"/>
                  </a:lnTo>
                  <a:lnTo>
                    <a:pt x="312" y="78"/>
                  </a:lnTo>
                  <a:lnTo>
                    <a:pt x="324" y="78"/>
                  </a:lnTo>
                  <a:lnTo>
                    <a:pt x="324" y="54"/>
                  </a:lnTo>
                  <a:lnTo>
                    <a:pt x="318" y="48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60" y="6"/>
                  </a:lnTo>
                  <a:lnTo>
                    <a:pt x="384" y="0"/>
                  </a:lnTo>
                  <a:lnTo>
                    <a:pt x="390" y="6"/>
                  </a:lnTo>
                  <a:lnTo>
                    <a:pt x="390" y="18"/>
                  </a:lnTo>
                  <a:lnTo>
                    <a:pt x="390" y="54"/>
                  </a:lnTo>
                  <a:lnTo>
                    <a:pt x="396" y="66"/>
                  </a:lnTo>
                  <a:lnTo>
                    <a:pt x="414" y="84"/>
                  </a:lnTo>
                  <a:lnTo>
                    <a:pt x="426" y="90"/>
                  </a:lnTo>
                  <a:lnTo>
                    <a:pt x="432" y="96"/>
                  </a:lnTo>
                  <a:lnTo>
                    <a:pt x="426" y="102"/>
                  </a:lnTo>
                  <a:lnTo>
                    <a:pt x="438" y="102"/>
                  </a:lnTo>
                  <a:lnTo>
                    <a:pt x="444" y="108"/>
                  </a:lnTo>
                  <a:lnTo>
                    <a:pt x="444" y="102"/>
                  </a:lnTo>
                  <a:lnTo>
                    <a:pt x="450" y="90"/>
                  </a:lnTo>
                  <a:lnTo>
                    <a:pt x="450" y="84"/>
                  </a:lnTo>
                  <a:lnTo>
                    <a:pt x="450" y="78"/>
                  </a:lnTo>
                  <a:lnTo>
                    <a:pt x="456" y="72"/>
                  </a:lnTo>
                  <a:lnTo>
                    <a:pt x="462" y="66"/>
                  </a:lnTo>
                  <a:lnTo>
                    <a:pt x="462" y="60"/>
                  </a:lnTo>
                  <a:lnTo>
                    <a:pt x="462" y="54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74" y="24"/>
                  </a:lnTo>
                  <a:lnTo>
                    <a:pt x="480" y="18"/>
                  </a:lnTo>
                  <a:lnTo>
                    <a:pt x="486" y="12"/>
                  </a:lnTo>
                  <a:lnTo>
                    <a:pt x="492" y="12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2" y="6"/>
                  </a:lnTo>
                  <a:lnTo>
                    <a:pt x="534" y="6"/>
                  </a:lnTo>
                  <a:lnTo>
                    <a:pt x="540" y="6"/>
                  </a:lnTo>
                  <a:lnTo>
                    <a:pt x="546" y="6"/>
                  </a:lnTo>
                  <a:lnTo>
                    <a:pt x="564" y="0"/>
                  </a:lnTo>
                  <a:lnTo>
                    <a:pt x="570" y="0"/>
                  </a:lnTo>
                  <a:lnTo>
                    <a:pt x="576" y="6"/>
                  </a:lnTo>
                  <a:lnTo>
                    <a:pt x="582" y="6"/>
                  </a:lnTo>
                  <a:lnTo>
                    <a:pt x="594" y="6"/>
                  </a:lnTo>
                  <a:lnTo>
                    <a:pt x="600" y="6"/>
                  </a:lnTo>
                  <a:lnTo>
                    <a:pt x="606" y="6"/>
                  </a:lnTo>
                  <a:lnTo>
                    <a:pt x="624" y="0"/>
                  </a:lnTo>
                  <a:lnTo>
                    <a:pt x="636" y="0"/>
                  </a:lnTo>
                  <a:lnTo>
                    <a:pt x="636" y="6"/>
                  </a:lnTo>
                  <a:lnTo>
                    <a:pt x="654" y="18"/>
                  </a:lnTo>
                  <a:lnTo>
                    <a:pt x="654" y="30"/>
                  </a:lnTo>
                  <a:lnTo>
                    <a:pt x="642" y="42"/>
                  </a:lnTo>
                  <a:lnTo>
                    <a:pt x="630" y="66"/>
                  </a:lnTo>
                  <a:lnTo>
                    <a:pt x="636" y="84"/>
                  </a:lnTo>
                  <a:lnTo>
                    <a:pt x="636" y="96"/>
                  </a:lnTo>
                  <a:lnTo>
                    <a:pt x="648" y="102"/>
                  </a:lnTo>
                  <a:lnTo>
                    <a:pt x="672" y="114"/>
                  </a:lnTo>
                  <a:lnTo>
                    <a:pt x="702" y="120"/>
                  </a:lnTo>
                  <a:lnTo>
                    <a:pt x="714" y="126"/>
                  </a:lnTo>
                  <a:lnTo>
                    <a:pt x="720" y="144"/>
                  </a:lnTo>
                  <a:lnTo>
                    <a:pt x="720" y="156"/>
                  </a:lnTo>
                  <a:lnTo>
                    <a:pt x="708" y="156"/>
                  </a:lnTo>
                  <a:lnTo>
                    <a:pt x="702" y="162"/>
                  </a:lnTo>
                  <a:lnTo>
                    <a:pt x="702" y="174"/>
                  </a:lnTo>
                  <a:lnTo>
                    <a:pt x="696" y="174"/>
                  </a:lnTo>
                  <a:lnTo>
                    <a:pt x="690" y="180"/>
                  </a:lnTo>
                  <a:lnTo>
                    <a:pt x="678" y="186"/>
                  </a:lnTo>
                  <a:lnTo>
                    <a:pt x="672" y="192"/>
                  </a:lnTo>
                  <a:lnTo>
                    <a:pt x="654" y="210"/>
                  </a:lnTo>
                  <a:lnTo>
                    <a:pt x="654" y="216"/>
                  </a:lnTo>
                  <a:lnTo>
                    <a:pt x="648" y="246"/>
                  </a:lnTo>
                  <a:lnTo>
                    <a:pt x="660" y="246"/>
                  </a:lnTo>
                  <a:lnTo>
                    <a:pt x="666" y="234"/>
                  </a:lnTo>
                  <a:lnTo>
                    <a:pt x="678" y="240"/>
                  </a:lnTo>
                  <a:lnTo>
                    <a:pt x="684" y="228"/>
                  </a:lnTo>
                  <a:lnTo>
                    <a:pt x="690" y="210"/>
                  </a:lnTo>
                  <a:lnTo>
                    <a:pt x="696" y="204"/>
                  </a:lnTo>
                  <a:lnTo>
                    <a:pt x="702" y="204"/>
                  </a:lnTo>
                  <a:lnTo>
                    <a:pt x="708" y="192"/>
                  </a:lnTo>
                  <a:lnTo>
                    <a:pt x="714" y="192"/>
                  </a:lnTo>
                  <a:lnTo>
                    <a:pt x="714" y="186"/>
                  </a:lnTo>
                  <a:lnTo>
                    <a:pt x="726" y="186"/>
                  </a:lnTo>
                  <a:lnTo>
                    <a:pt x="732" y="186"/>
                  </a:lnTo>
                  <a:lnTo>
                    <a:pt x="738" y="186"/>
                  </a:lnTo>
                  <a:lnTo>
                    <a:pt x="744" y="216"/>
                  </a:lnTo>
                  <a:lnTo>
                    <a:pt x="750" y="210"/>
                  </a:lnTo>
                  <a:lnTo>
                    <a:pt x="750" y="204"/>
                  </a:lnTo>
                  <a:lnTo>
                    <a:pt x="756" y="192"/>
                  </a:lnTo>
                  <a:lnTo>
                    <a:pt x="762" y="192"/>
                  </a:lnTo>
                  <a:lnTo>
                    <a:pt x="768" y="192"/>
                  </a:lnTo>
                  <a:lnTo>
                    <a:pt x="780" y="186"/>
                  </a:lnTo>
                  <a:lnTo>
                    <a:pt x="786" y="204"/>
                  </a:lnTo>
                  <a:lnTo>
                    <a:pt x="774" y="210"/>
                  </a:lnTo>
                  <a:lnTo>
                    <a:pt x="774" y="234"/>
                  </a:lnTo>
                  <a:lnTo>
                    <a:pt x="780" y="246"/>
                  </a:lnTo>
                  <a:lnTo>
                    <a:pt x="804" y="264"/>
                  </a:lnTo>
                  <a:lnTo>
                    <a:pt x="816" y="276"/>
                  </a:lnTo>
                  <a:lnTo>
                    <a:pt x="822" y="288"/>
                  </a:lnTo>
                  <a:lnTo>
                    <a:pt x="822" y="312"/>
                  </a:lnTo>
                  <a:lnTo>
                    <a:pt x="816" y="312"/>
                  </a:lnTo>
                  <a:lnTo>
                    <a:pt x="810" y="318"/>
                  </a:lnTo>
                  <a:lnTo>
                    <a:pt x="810" y="348"/>
                  </a:lnTo>
                  <a:lnTo>
                    <a:pt x="816" y="348"/>
                  </a:lnTo>
                  <a:lnTo>
                    <a:pt x="816" y="342"/>
                  </a:lnTo>
                  <a:lnTo>
                    <a:pt x="834" y="342"/>
                  </a:lnTo>
                  <a:lnTo>
                    <a:pt x="834" y="348"/>
                  </a:lnTo>
                  <a:lnTo>
                    <a:pt x="846" y="348"/>
                  </a:lnTo>
                  <a:lnTo>
                    <a:pt x="846" y="342"/>
                  </a:lnTo>
                  <a:lnTo>
                    <a:pt x="882" y="342"/>
                  </a:lnTo>
                  <a:lnTo>
                    <a:pt x="894" y="366"/>
                  </a:lnTo>
                  <a:lnTo>
                    <a:pt x="900" y="372"/>
                  </a:lnTo>
                  <a:lnTo>
                    <a:pt x="906" y="384"/>
                  </a:lnTo>
                  <a:lnTo>
                    <a:pt x="924" y="384"/>
                  </a:lnTo>
                  <a:lnTo>
                    <a:pt x="930" y="372"/>
                  </a:lnTo>
                  <a:lnTo>
                    <a:pt x="936" y="372"/>
                  </a:lnTo>
                  <a:lnTo>
                    <a:pt x="942" y="348"/>
                  </a:lnTo>
                  <a:lnTo>
                    <a:pt x="954" y="348"/>
                  </a:lnTo>
                  <a:lnTo>
                    <a:pt x="954" y="342"/>
                  </a:lnTo>
                  <a:lnTo>
                    <a:pt x="984" y="342"/>
                  </a:lnTo>
                  <a:lnTo>
                    <a:pt x="978" y="390"/>
                  </a:lnTo>
                  <a:lnTo>
                    <a:pt x="984" y="390"/>
                  </a:lnTo>
                  <a:lnTo>
                    <a:pt x="990" y="396"/>
                  </a:lnTo>
                  <a:lnTo>
                    <a:pt x="996" y="396"/>
                  </a:lnTo>
                  <a:lnTo>
                    <a:pt x="1002" y="396"/>
                  </a:lnTo>
                  <a:lnTo>
                    <a:pt x="1002" y="408"/>
                  </a:lnTo>
                  <a:lnTo>
                    <a:pt x="990" y="414"/>
                  </a:lnTo>
                  <a:lnTo>
                    <a:pt x="984" y="426"/>
                  </a:lnTo>
                  <a:lnTo>
                    <a:pt x="990" y="444"/>
                  </a:lnTo>
                  <a:lnTo>
                    <a:pt x="996" y="450"/>
                  </a:lnTo>
                  <a:lnTo>
                    <a:pt x="990" y="462"/>
                  </a:lnTo>
                  <a:lnTo>
                    <a:pt x="990" y="468"/>
                  </a:lnTo>
                  <a:lnTo>
                    <a:pt x="984" y="480"/>
                  </a:lnTo>
                  <a:lnTo>
                    <a:pt x="978" y="486"/>
                  </a:lnTo>
                  <a:lnTo>
                    <a:pt x="972" y="486"/>
                  </a:lnTo>
                  <a:lnTo>
                    <a:pt x="966" y="492"/>
                  </a:lnTo>
                  <a:lnTo>
                    <a:pt x="966" y="498"/>
                  </a:lnTo>
                  <a:lnTo>
                    <a:pt x="954" y="510"/>
                  </a:lnTo>
                  <a:lnTo>
                    <a:pt x="948" y="510"/>
                  </a:lnTo>
                  <a:lnTo>
                    <a:pt x="942" y="516"/>
                  </a:lnTo>
                  <a:lnTo>
                    <a:pt x="936" y="528"/>
                  </a:lnTo>
                  <a:lnTo>
                    <a:pt x="936" y="534"/>
                  </a:lnTo>
                  <a:lnTo>
                    <a:pt x="936" y="546"/>
                  </a:lnTo>
                  <a:lnTo>
                    <a:pt x="936" y="558"/>
                  </a:lnTo>
                  <a:lnTo>
                    <a:pt x="948" y="558"/>
                  </a:lnTo>
                  <a:lnTo>
                    <a:pt x="954" y="558"/>
                  </a:lnTo>
                  <a:lnTo>
                    <a:pt x="996" y="558"/>
                  </a:lnTo>
                  <a:lnTo>
                    <a:pt x="1002" y="570"/>
                  </a:lnTo>
                  <a:lnTo>
                    <a:pt x="996" y="576"/>
                  </a:lnTo>
                  <a:lnTo>
                    <a:pt x="996" y="588"/>
                  </a:lnTo>
                  <a:lnTo>
                    <a:pt x="984" y="588"/>
                  </a:lnTo>
                  <a:lnTo>
                    <a:pt x="990" y="612"/>
                  </a:lnTo>
                  <a:lnTo>
                    <a:pt x="1014" y="606"/>
                  </a:lnTo>
                  <a:lnTo>
                    <a:pt x="1014" y="636"/>
                  </a:lnTo>
                  <a:lnTo>
                    <a:pt x="1014" y="648"/>
                  </a:lnTo>
                  <a:lnTo>
                    <a:pt x="1020" y="648"/>
                  </a:lnTo>
                  <a:lnTo>
                    <a:pt x="1026" y="660"/>
                  </a:lnTo>
                  <a:lnTo>
                    <a:pt x="1038" y="654"/>
                  </a:lnTo>
                  <a:lnTo>
                    <a:pt x="1050" y="654"/>
                  </a:lnTo>
                  <a:lnTo>
                    <a:pt x="1062" y="654"/>
                  </a:lnTo>
                  <a:lnTo>
                    <a:pt x="1068" y="660"/>
                  </a:lnTo>
                  <a:lnTo>
                    <a:pt x="1068" y="678"/>
                  </a:lnTo>
                  <a:lnTo>
                    <a:pt x="1068" y="684"/>
                  </a:lnTo>
                  <a:lnTo>
                    <a:pt x="1062" y="690"/>
                  </a:lnTo>
                  <a:lnTo>
                    <a:pt x="1056" y="696"/>
                  </a:lnTo>
                  <a:lnTo>
                    <a:pt x="1056" y="702"/>
                  </a:lnTo>
                  <a:lnTo>
                    <a:pt x="1038" y="714"/>
                  </a:lnTo>
                  <a:lnTo>
                    <a:pt x="1026" y="720"/>
                  </a:lnTo>
                  <a:lnTo>
                    <a:pt x="1008" y="726"/>
                  </a:lnTo>
                  <a:lnTo>
                    <a:pt x="1008" y="732"/>
                  </a:lnTo>
                  <a:lnTo>
                    <a:pt x="990" y="732"/>
                  </a:lnTo>
                  <a:lnTo>
                    <a:pt x="984" y="744"/>
                  </a:lnTo>
                  <a:lnTo>
                    <a:pt x="990" y="750"/>
                  </a:lnTo>
                  <a:lnTo>
                    <a:pt x="984" y="762"/>
                  </a:lnTo>
                  <a:lnTo>
                    <a:pt x="984" y="768"/>
                  </a:lnTo>
                  <a:lnTo>
                    <a:pt x="984" y="774"/>
                  </a:lnTo>
                  <a:lnTo>
                    <a:pt x="984" y="780"/>
                  </a:lnTo>
                  <a:lnTo>
                    <a:pt x="984" y="786"/>
                  </a:lnTo>
                  <a:lnTo>
                    <a:pt x="984" y="792"/>
                  </a:lnTo>
                  <a:lnTo>
                    <a:pt x="978" y="798"/>
                  </a:lnTo>
                  <a:lnTo>
                    <a:pt x="978" y="80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3" name="Freeform 38">
              <a:extLst>
                <a:ext uri="{FF2B5EF4-FFF2-40B4-BE49-F238E27FC236}">
                  <a16:creationId xmlns:a16="http://schemas.microsoft.com/office/drawing/2014/main" id="{819B99CE-D972-4530-8964-A992C1EC87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2825" y="1634436"/>
              <a:ext cx="959326" cy="959458"/>
            </a:xfrm>
            <a:custGeom>
              <a:avLst/>
              <a:gdLst>
                <a:gd name="T0" fmla="*/ 105 w 1806"/>
                <a:gd name="T1" fmla="*/ 155 h 1806"/>
                <a:gd name="T2" fmla="*/ 103 w 1806"/>
                <a:gd name="T3" fmla="*/ 155 h 1806"/>
                <a:gd name="T4" fmla="*/ 103 w 1806"/>
                <a:gd name="T5" fmla="*/ 150 h 1806"/>
                <a:gd name="T6" fmla="*/ 104 w 1806"/>
                <a:gd name="T7" fmla="*/ 141 h 1806"/>
                <a:gd name="T8" fmla="*/ 104 w 1806"/>
                <a:gd name="T9" fmla="*/ 136 h 1806"/>
                <a:gd name="T10" fmla="*/ 100 w 1806"/>
                <a:gd name="T11" fmla="*/ 131 h 1806"/>
                <a:gd name="T12" fmla="*/ 96 w 1806"/>
                <a:gd name="T13" fmla="*/ 127 h 1806"/>
                <a:gd name="T14" fmla="*/ 91 w 1806"/>
                <a:gd name="T15" fmla="*/ 121 h 1806"/>
                <a:gd name="T16" fmla="*/ 87 w 1806"/>
                <a:gd name="T17" fmla="*/ 120 h 1806"/>
                <a:gd name="T18" fmla="*/ 81 w 1806"/>
                <a:gd name="T19" fmla="*/ 117 h 1806"/>
                <a:gd name="T20" fmla="*/ 65 w 1806"/>
                <a:gd name="T21" fmla="*/ 113 h 1806"/>
                <a:gd name="T22" fmla="*/ 69 w 1806"/>
                <a:gd name="T23" fmla="*/ 105 h 1806"/>
                <a:gd name="T24" fmla="*/ 66 w 1806"/>
                <a:gd name="T25" fmla="*/ 89 h 1806"/>
                <a:gd name="T26" fmla="*/ 63 w 1806"/>
                <a:gd name="T27" fmla="*/ 84 h 1806"/>
                <a:gd name="T28" fmla="*/ 62 w 1806"/>
                <a:gd name="T29" fmla="*/ 74 h 1806"/>
                <a:gd name="T30" fmla="*/ 58 w 1806"/>
                <a:gd name="T31" fmla="*/ 52 h 1806"/>
                <a:gd name="T32" fmla="*/ 53 w 1806"/>
                <a:gd name="T33" fmla="*/ 49 h 1806"/>
                <a:gd name="T34" fmla="*/ 51 w 1806"/>
                <a:gd name="T35" fmla="*/ 36 h 1806"/>
                <a:gd name="T36" fmla="*/ 43 w 1806"/>
                <a:gd name="T37" fmla="*/ 32 h 1806"/>
                <a:gd name="T38" fmla="*/ 33 w 1806"/>
                <a:gd name="T39" fmla="*/ 30 h 1806"/>
                <a:gd name="T40" fmla="*/ 30 w 1806"/>
                <a:gd name="T41" fmla="*/ 21 h 1806"/>
                <a:gd name="T42" fmla="*/ 17 w 1806"/>
                <a:gd name="T43" fmla="*/ 25 h 1806"/>
                <a:gd name="T44" fmla="*/ 4 w 1806"/>
                <a:gd name="T45" fmla="*/ 33 h 1806"/>
                <a:gd name="T46" fmla="*/ 7 w 1806"/>
                <a:gd name="T47" fmla="*/ 26 h 1806"/>
                <a:gd name="T48" fmla="*/ 11 w 1806"/>
                <a:gd name="T49" fmla="*/ 20 h 1806"/>
                <a:gd name="T50" fmla="*/ 18 w 1806"/>
                <a:gd name="T51" fmla="*/ 12 h 1806"/>
                <a:gd name="T52" fmla="*/ 26 w 1806"/>
                <a:gd name="T53" fmla="*/ 8 h 1806"/>
                <a:gd name="T54" fmla="*/ 35 w 1806"/>
                <a:gd name="T55" fmla="*/ 6 h 1806"/>
                <a:gd name="T56" fmla="*/ 44 w 1806"/>
                <a:gd name="T57" fmla="*/ 5 h 1806"/>
                <a:gd name="T58" fmla="*/ 54 w 1806"/>
                <a:gd name="T59" fmla="*/ 2 h 1806"/>
                <a:gd name="T60" fmla="*/ 65 w 1806"/>
                <a:gd name="T61" fmla="*/ 0 h 1806"/>
                <a:gd name="T62" fmla="*/ 76 w 1806"/>
                <a:gd name="T63" fmla="*/ 0 h 1806"/>
                <a:gd name="T64" fmla="*/ 85 w 1806"/>
                <a:gd name="T65" fmla="*/ 0 h 1806"/>
                <a:gd name="T66" fmla="*/ 97 w 1806"/>
                <a:gd name="T67" fmla="*/ 0 h 1806"/>
                <a:gd name="T68" fmla="*/ 108 w 1806"/>
                <a:gd name="T69" fmla="*/ 3 h 1806"/>
                <a:gd name="T70" fmla="*/ 115 w 1806"/>
                <a:gd name="T71" fmla="*/ 5 h 1806"/>
                <a:gd name="T72" fmla="*/ 123 w 1806"/>
                <a:gd name="T73" fmla="*/ 7 h 1806"/>
                <a:gd name="T74" fmla="*/ 133 w 1806"/>
                <a:gd name="T75" fmla="*/ 14 h 1806"/>
                <a:gd name="T76" fmla="*/ 138 w 1806"/>
                <a:gd name="T77" fmla="*/ 16 h 1806"/>
                <a:gd name="T78" fmla="*/ 140 w 1806"/>
                <a:gd name="T79" fmla="*/ 14 h 1806"/>
                <a:gd name="T80" fmla="*/ 145 w 1806"/>
                <a:gd name="T81" fmla="*/ 16 h 1806"/>
                <a:gd name="T82" fmla="*/ 147 w 1806"/>
                <a:gd name="T83" fmla="*/ 16 h 1806"/>
                <a:gd name="T84" fmla="*/ 150 w 1806"/>
                <a:gd name="T85" fmla="*/ 17 h 1806"/>
                <a:gd name="T86" fmla="*/ 152 w 1806"/>
                <a:gd name="T87" fmla="*/ 18 h 1806"/>
                <a:gd name="T88" fmla="*/ 155 w 1806"/>
                <a:gd name="T89" fmla="*/ 37 h 1806"/>
                <a:gd name="T90" fmla="*/ 146 w 1806"/>
                <a:gd name="T91" fmla="*/ 66 h 1806"/>
                <a:gd name="T92" fmla="*/ 143 w 1806"/>
                <a:gd name="T93" fmla="*/ 88 h 1806"/>
                <a:gd name="T94" fmla="*/ 144 w 1806"/>
                <a:gd name="T95" fmla="*/ 98 h 1806"/>
                <a:gd name="T96" fmla="*/ 137 w 1806"/>
                <a:gd name="T97" fmla="*/ 118 h 1806"/>
                <a:gd name="T98" fmla="*/ 132 w 1806"/>
                <a:gd name="T99" fmla="*/ 129 h 1806"/>
                <a:gd name="T100" fmla="*/ 124 w 1806"/>
                <a:gd name="T101" fmla="*/ 135 h 1806"/>
                <a:gd name="T102" fmla="*/ 119 w 1806"/>
                <a:gd name="T103" fmla="*/ 136 h 1806"/>
                <a:gd name="T104" fmla="*/ 116 w 1806"/>
                <a:gd name="T105" fmla="*/ 137 h 1806"/>
                <a:gd name="T106" fmla="*/ 112 w 1806"/>
                <a:gd name="T107" fmla="*/ 139 h 1806"/>
                <a:gd name="T108" fmla="*/ 112 w 1806"/>
                <a:gd name="T109" fmla="*/ 141 h 1806"/>
                <a:gd name="T110" fmla="*/ 116 w 1806"/>
                <a:gd name="T111" fmla="*/ 146 h 1806"/>
                <a:gd name="T112" fmla="*/ 116 w 1806"/>
                <a:gd name="T113" fmla="*/ 151 h 1806"/>
                <a:gd name="T114" fmla="*/ 113 w 1806"/>
                <a:gd name="T115" fmla="*/ 153 h 18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6"/>
                <a:gd name="T175" fmla="*/ 0 h 1806"/>
                <a:gd name="T176" fmla="*/ 1806 w 1806"/>
                <a:gd name="T177" fmla="*/ 1806 h 18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6" h="1806">
                  <a:moveTo>
                    <a:pt x="1260" y="1776"/>
                  </a:moveTo>
                  <a:lnTo>
                    <a:pt x="1254" y="1776"/>
                  </a:lnTo>
                  <a:lnTo>
                    <a:pt x="1248" y="1776"/>
                  </a:lnTo>
                  <a:lnTo>
                    <a:pt x="1242" y="1782"/>
                  </a:lnTo>
                  <a:lnTo>
                    <a:pt x="1236" y="1782"/>
                  </a:lnTo>
                  <a:lnTo>
                    <a:pt x="1230" y="1788"/>
                  </a:lnTo>
                  <a:lnTo>
                    <a:pt x="1224" y="1782"/>
                  </a:lnTo>
                  <a:lnTo>
                    <a:pt x="1218" y="1782"/>
                  </a:lnTo>
                  <a:lnTo>
                    <a:pt x="1218" y="1788"/>
                  </a:lnTo>
                  <a:lnTo>
                    <a:pt x="1212" y="1788"/>
                  </a:lnTo>
                  <a:lnTo>
                    <a:pt x="1206" y="1788"/>
                  </a:lnTo>
                  <a:lnTo>
                    <a:pt x="1206" y="1794"/>
                  </a:lnTo>
                  <a:lnTo>
                    <a:pt x="1200" y="1806"/>
                  </a:lnTo>
                  <a:lnTo>
                    <a:pt x="1194" y="1800"/>
                  </a:lnTo>
                  <a:lnTo>
                    <a:pt x="1194" y="1794"/>
                  </a:lnTo>
                  <a:lnTo>
                    <a:pt x="1194" y="1788"/>
                  </a:lnTo>
                  <a:lnTo>
                    <a:pt x="1188" y="1788"/>
                  </a:lnTo>
                  <a:lnTo>
                    <a:pt x="1188" y="1782"/>
                  </a:lnTo>
                  <a:lnTo>
                    <a:pt x="1188" y="1776"/>
                  </a:lnTo>
                  <a:lnTo>
                    <a:pt x="1194" y="1770"/>
                  </a:lnTo>
                  <a:lnTo>
                    <a:pt x="1194" y="1764"/>
                  </a:lnTo>
                  <a:lnTo>
                    <a:pt x="1194" y="1758"/>
                  </a:lnTo>
                  <a:lnTo>
                    <a:pt x="1194" y="1752"/>
                  </a:lnTo>
                  <a:lnTo>
                    <a:pt x="1200" y="1746"/>
                  </a:lnTo>
                  <a:lnTo>
                    <a:pt x="1200" y="1740"/>
                  </a:lnTo>
                  <a:lnTo>
                    <a:pt x="1200" y="1734"/>
                  </a:lnTo>
                  <a:lnTo>
                    <a:pt x="1188" y="1722"/>
                  </a:lnTo>
                  <a:lnTo>
                    <a:pt x="1188" y="1716"/>
                  </a:lnTo>
                  <a:lnTo>
                    <a:pt x="1194" y="1704"/>
                  </a:lnTo>
                  <a:lnTo>
                    <a:pt x="1194" y="1692"/>
                  </a:lnTo>
                  <a:lnTo>
                    <a:pt x="1200" y="1680"/>
                  </a:lnTo>
                  <a:lnTo>
                    <a:pt x="1200" y="1662"/>
                  </a:lnTo>
                  <a:lnTo>
                    <a:pt x="1200" y="1650"/>
                  </a:lnTo>
                  <a:lnTo>
                    <a:pt x="1206" y="1644"/>
                  </a:lnTo>
                  <a:lnTo>
                    <a:pt x="1206" y="1638"/>
                  </a:lnTo>
                  <a:lnTo>
                    <a:pt x="1206" y="1626"/>
                  </a:lnTo>
                  <a:lnTo>
                    <a:pt x="1206" y="1620"/>
                  </a:lnTo>
                  <a:lnTo>
                    <a:pt x="1206" y="1614"/>
                  </a:lnTo>
                  <a:lnTo>
                    <a:pt x="1200" y="1608"/>
                  </a:lnTo>
                  <a:lnTo>
                    <a:pt x="1200" y="1602"/>
                  </a:lnTo>
                  <a:lnTo>
                    <a:pt x="1200" y="1596"/>
                  </a:lnTo>
                  <a:lnTo>
                    <a:pt x="1200" y="1590"/>
                  </a:lnTo>
                  <a:lnTo>
                    <a:pt x="1200" y="1572"/>
                  </a:lnTo>
                  <a:lnTo>
                    <a:pt x="1200" y="1566"/>
                  </a:lnTo>
                  <a:lnTo>
                    <a:pt x="1200" y="1560"/>
                  </a:lnTo>
                  <a:lnTo>
                    <a:pt x="1194" y="1554"/>
                  </a:lnTo>
                  <a:lnTo>
                    <a:pt x="1188" y="1548"/>
                  </a:lnTo>
                  <a:lnTo>
                    <a:pt x="1188" y="1542"/>
                  </a:lnTo>
                  <a:lnTo>
                    <a:pt x="1176" y="1536"/>
                  </a:lnTo>
                  <a:lnTo>
                    <a:pt x="1176" y="1530"/>
                  </a:lnTo>
                  <a:lnTo>
                    <a:pt x="1170" y="1524"/>
                  </a:lnTo>
                  <a:lnTo>
                    <a:pt x="1170" y="1518"/>
                  </a:lnTo>
                  <a:lnTo>
                    <a:pt x="1164" y="1512"/>
                  </a:lnTo>
                  <a:lnTo>
                    <a:pt x="1158" y="1506"/>
                  </a:lnTo>
                  <a:lnTo>
                    <a:pt x="1152" y="1500"/>
                  </a:lnTo>
                  <a:lnTo>
                    <a:pt x="1146" y="1494"/>
                  </a:lnTo>
                  <a:lnTo>
                    <a:pt x="1140" y="1488"/>
                  </a:lnTo>
                  <a:lnTo>
                    <a:pt x="1134" y="1482"/>
                  </a:lnTo>
                  <a:lnTo>
                    <a:pt x="1128" y="1476"/>
                  </a:lnTo>
                  <a:lnTo>
                    <a:pt x="1122" y="1470"/>
                  </a:lnTo>
                  <a:lnTo>
                    <a:pt x="1116" y="1464"/>
                  </a:lnTo>
                  <a:lnTo>
                    <a:pt x="1110" y="1464"/>
                  </a:lnTo>
                  <a:lnTo>
                    <a:pt x="1104" y="1458"/>
                  </a:lnTo>
                  <a:lnTo>
                    <a:pt x="1098" y="1464"/>
                  </a:lnTo>
                  <a:lnTo>
                    <a:pt x="1092" y="1464"/>
                  </a:lnTo>
                  <a:lnTo>
                    <a:pt x="1086" y="1446"/>
                  </a:lnTo>
                  <a:lnTo>
                    <a:pt x="1086" y="1440"/>
                  </a:lnTo>
                  <a:lnTo>
                    <a:pt x="1080" y="1416"/>
                  </a:lnTo>
                  <a:lnTo>
                    <a:pt x="1068" y="1404"/>
                  </a:lnTo>
                  <a:lnTo>
                    <a:pt x="1062" y="1398"/>
                  </a:lnTo>
                  <a:lnTo>
                    <a:pt x="1056" y="1398"/>
                  </a:lnTo>
                  <a:lnTo>
                    <a:pt x="1050" y="1398"/>
                  </a:lnTo>
                  <a:lnTo>
                    <a:pt x="1044" y="1398"/>
                  </a:lnTo>
                  <a:lnTo>
                    <a:pt x="1044" y="1392"/>
                  </a:lnTo>
                  <a:lnTo>
                    <a:pt x="1038" y="1392"/>
                  </a:lnTo>
                  <a:lnTo>
                    <a:pt x="1032" y="1392"/>
                  </a:lnTo>
                  <a:lnTo>
                    <a:pt x="1020" y="1386"/>
                  </a:lnTo>
                  <a:lnTo>
                    <a:pt x="1014" y="1386"/>
                  </a:lnTo>
                  <a:lnTo>
                    <a:pt x="1014" y="1380"/>
                  </a:lnTo>
                  <a:lnTo>
                    <a:pt x="1008" y="1380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62"/>
                  </a:lnTo>
                  <a:lnTo>
                    <a:pt x="984" y="1356"/>
                  </a:lnTo>
                  <a:lnTo>
                    <a:pt x="978" y="1356"/>
                  </a:lnTo>
                  <a:lnTo>
                    <a:pt x="972" y="1356"/>
                  </a:lnTo>
                  <a:lnTo>
                    <a:pt x="966" y="1356"/>
                  </a:lnTo>
                  <a:lnTo>
                    <a:pt x="966" y="1350"/>
                  </a:lnTo>
                  <a:lnTo>
                    <a:pt x="948" y="1350"/>
                  </a:lnTo>
                  <a:lnTo>
                    <a:pt x="936" y="1344"/>
                  </a:lnTo>
                  <a:lnTo>
                    <a:pt x="930" y="1338"/>
                  </a:lnTo>
                  <a:lnTo>
                    <a:pt x="918" y="1332"/>
                  </a:lnTo>
                  <a:lnTo>
                    <a:pt x="900" y="1326"/>
                  </a:lnTo>
                  <a:lnTo>
                    <a:pt x="864" y="1332"/>
                  </a:lnTo>
                  <a:lnTo>
                    <a:pt x="828" y="1332"/>
                  </a:lnTo>
                  <a:lnTo>
                    <a:pt x="792" y="1314"/>
                  </a:lnTo>
                  <a:lnTo>
                    <a:pt x="780" y="1314"/>
                  </a:lnTo>
                  <a:lnTo>
                    <a:pt x="780" y="1308"/>
                  </a:lnTo>
                  <a:lnTo>
                    <a:pt x="756" y="1296"/>
                  </a:lnTo>
                  <a:lnTo>
                    <a:pt x="756" y="1278"/>
                  </a:lnTo>
                  <a:lnTo>
                    <a:pt x="768" y="1278"/>
                  </a:lnTo>
                  <a:lnTo>
                    <a:pt x="774" y="1272"/>
                  </a:lnTo>
                  <a:lnTo>
                    <a:pt x="780" y="1266"/>
                  </a:lnTo>
                  <a:lnTo>
                    <a:pt x="786" y="1260"/>
                  </a:lnTo>
                  <a:lnTo>
                    <a:pt x="792" y="1254"/>
                  </a:lnTo>
                  <a:lnTo>
                    <a:pt x="798" y="1242"/>
                  </a:lnTo>
                  <a:lnTo>
                    <a:pt x="804" y="1242"/>
                  </a:lnTo>
                  <a:lnTo>
                    <a:pt x="804" y="1206"/>
                  </a:lnTo>
                  <a:lnTo>
                    <a:pt x="804" y="1182"/>
                  </a:lnTo>
                  <a:lnTo>
                    <a:pt x="804" y="1158"/>
                  </a:lnTo>
                  <a:lnTo>
                    <a:pt x="804" y="1134"/>
                  </a:lnTo>
                  <a:lnTo>
                    <a:pt x="798" y="1116"/>
                  </a:lnTo>
                  <a:lnTo>
                    <a:pt x="792" y="1092"/>
                  </a:lnTo>
                  <a:lnTo>
                    <a:pt x="786" y="1062"/>
                  </a:lnTo>
                  <a:lnTo>
                    <a:pt x="768" y="1032"/>
                  </a:lnTo>
                  <a:lnTo>
                    <a:pt x="762" y="1032"/>
                  </a:lnTo>
                  <a:lnTo>
                    <a:pt x="762" y="1020"/>
                  </a:lnTo>
                  <a:lnTo>
                    <a:pt x="762" y="1014"/>
                  </a:lnTo>
                  <a:lnTo>
                    <a:pt x="756" y="1008"/>
                  </a:lnTo>
                  <a:lnTo>
                    <a:pt x="750" y="1002"/>
                  </a:lnTo>
                  <a:lnTo>
                    <a:pt x="738" y="1002"/>
                  </a:lnTo>
                  <a:lnTo>
                    <a:pt x="738" y="990"/>
                  </a:lnTo>
                  <a:lnTo>
                    <a:pt x="726" y="990"/>
                  </a:lnTo>
                  <a:lnTo>
                    <a:pt x="726" y="978"/>
                  </a:lnTo>
                  <a:lnTo>
                    <a:pt x="732" y="972"/>
                  </a:lnTo>
                  <a:lnTo>
                    <a:pt x="732" y="966"/>
                  </a:lnTo>
                  <a:lnTo>
                    <a:pt x="726" y="966"/>
                  </a:lnTo>
                  <a:lnTo>
                    <a:pt x="732" y="948"/>
                  </a:lnTo>
                  <a:lnTo>
                    <a:pt x="726" y="942"/>
                  </a:lnTo>
                  <a:lnTo>
                    <a:pt x="726" y="930"/>
                  </a:lnTo>
                  <a:lnTo>
                    <a:pt x="720" y="924"/>
                  </a:lnTo>
                  <a:lnTo>
                    <a:pt x="714" y="912"/>
                  </a:lnTo>
                  <a:lnTo>
                    <a:pt x="714" y="882"/>
                  </a:lnTo>
                  <a:lnTo>
                    <a:pt x="714" y="870"/>
                  </a:lnTo>
                  <a:lnTo>
                    <a:pt x="714" y="858"/>
                  </a:lnTo>
                  <a:lnTo>
                    <a:pt x="714" y="846"/>
                  </a:lnTo>
                  <a:lnTo>
                    <a:pt x="708" y="822"/>
                  </a:lnTo>
                  <a:lnTo>
                    <a:pt x="702" y="798"/>
                  </a:lnTo>
                  <a:lnTo>
                    <a:pt x="696" y="792"/>
                  </a:lnTo>
                  <a:lnTo>
                    <a:pt x="684" y="726"/>
                  </a:lnTo>
                  <a:lnTo>
                    <a:pt x="678" y="666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66" y="600"/>
                  </a:lnTo>
                  <a:lnTo>
                    <a:pt x="660" y="594"/>
                  </a:lnTo>
                  <a:lnTo>
                    <a:pt x="654" y="594"/>
                  </a:lnTo>
                  <a:lnTo>
                    <a:pt x="636" y="582"/>
                  </a:lnTo>
                  <a:lnTo>
                    <a:pt x="630" y="576"/>
                  </a:lnTo>
                  <a:lnTo>
                    <a:pt x="624" y="576"/>
                  </a:lnTo>
                  <a:lnTo>
                    <a:pt x="618" y="570"/>
                  </a:lnTo>
                  <a:lnTo>
                    <a:pt x="612" y="564"/>
                  </a:lnTo>
                  <a:lnTo>
                    <a:pt x="606" y="558"/>
                  </a:lnTo>
                  <a:lnTo>
                    <a:pt x="606" y="564"/>
                  </a:lnTo>
                  <a:lnTo>
                    <a:pt x="600" y="564"/>
                  </a:lnTo>
                  <a:lnTo>
                    <a:pt x="594" y="558"/>
                  </a:lnTo>
                  <a:lnTo>
                    <a:pt x="594" y="540"/>
                  </a:lnTo>
                  <a:lnTo>
                    <a:pt x="594" y="528"/>
                  </a:lnTo>
                  <a:lnTo>
                    <a:pt x="594" y="516"/>
                  </a:lnTo>
                  <a:lnTo>
                    <a:pt x="594" y="510"/>
                  </a:lnTo>
                  <a:lnTo>
                    <a:pt x="594" y="492"/>
                  </a:lnTo>
                  <a:lnTo>
                    <a:pt x="594" y="456"/>
                  </a:lnTo>
                  <a:lnTo>
                    <a:pt x="588" y="414"/>
                  </a:lnTo>
                  <a:lnTo>
                    <a:pt x="588" y="408"/>
                  </a:lnTo>
                  <a:lnTo>
                    <a:pt x="582" y="396"/>
                  </a:lnTo>
                  <a:lnTo>
                    <a:pt x="582" y="384"/>
                  </a:lnTo>
                  <a:lnTo>
                    <a:pt x="582" y="372"/>
                  </a:lnTo>
                  <a:lnTo>
                    <a:pt x="564" y="372"/>
                  </a:lnTo>
                  <a:lnTo>
                    <a:pt x="552" y="366"/>
                  </a:lnTo>
                  <a:lnTo>
                    <a:pt x="552" y="372"/>
                  </a:lnTo>
                  <a:lnTo>
                    <a:pt x="498" y="372"/>
                  </a:lnTo>
                  <a:lnTo>
                    <a:pt x="498" y="366"/>
                  </a:lnTo>
                  <a:lnTo>
                    <a:pt x="474" y="360"/>
                  </a:lnTo>
                  <a:lnTo>
                    <a:pt x="456" y="354"/>
                  </a:lnTo>
                  <a:lnTo>
                    <a:pt x="438" y="348"/>
                  </a:lnTo>
                  <a:lnTo>
                    <a:pt x="426" y="354"/>
                  </a:lnTo>
                  <a:lnTo>
                    <a:pt x="408" y="360"/>
                  </a:lnTo>
                  <a:lnTo>
                    <a:pt x="378" y="360"/>
                  </a:lnTo>
                  <a:lnTo>
                    <a:pt x="378" y="354"/>
                  </a:lnTo>
                  <a:lnTo>
                    <a:pt x="378" y="348"/>
                  </a:lnTo>
                  <a:lnTo>
                    <a:pt x="378" y="342"/>
                  </a:lnTo>
                  <a:lnTo>
                    <a:pt x="390" y="330"/>
                  </a:lnTo>
                  <a:lnTo>
                    <a:pt x="396" y="312"/>
                  </a:lnTo>
                  <a:lnTo>
                    <a:pt x="396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8"/>
                  </a:lnTo>
                  <a:lnTo>
                    <a:pt x="372" y="234"/>
                  </a:lnTo>
                  <a:lnTo>
                    <a:pt x="354" y="234"/>
                  </a:lnTo>
                  <a:lnTo>
                    <a:pt x="342" y="246"/>
                  </a:lnTo>
                  <a:lnTo>
                    <a:pt x="330" y="252"/>
                  </a:lnTo>
                  <a:lnTo>
                    <a:pt x="318" y="252"/>
                  </a:lnTo>
                  <a:lnTo>
                    <a:pt x="276" y="258"/>
                  </a:lnTo>
                  <a:lnTo>
                    <a:pt x="276" y="264"/>
                  </a:lnTo>
                  <a:lnTo>
                    <a:pt x="252" y="270"/>
                  </a:lnTo>
                  <a:lnTo>
                    <a:pt x="240" y="270"/>
                  </a:lnTo>
                  <a:lnTo>
                    <a:pt x="228" y="276"/>
                  </a:lnTo>
                  <a:lnTo>
                    <a:pt x="210" y="282"/>
                  </a:lnTo>
                  <a:lnTo>
                    <a:pt x="198" y="288"/>
                  </a:lnTo>
                  <a:lnTo>
                    <a:pt x="186" y="294"/>
                  </a:lnTo>
                  <a:lnTo>
                    <a:pt x="174" y="330"/>
                  </a:lnTo>
                  <a:lnTo>
                    <a:pt x="162" y="342"/>
                  </a:lnTo>
                  <a:lnTo>
                    <a:pt x="156" y="354"/>
                  </a:lnTo>
                  <a:lnTo>
                    <a:pt x="150" y="360"/>
                  </a:lnTo>
                  <a:lnTo>
                    <a:pt x="150" y="366"/>
                  </a:lnTo>
                  <a:lnTo>
                    <a:pt x="108" y="372"/>
                  </a:lnTo>
                  <a:lnTo>
                    <a:pt x="60" y="378"/>
                  </a:lnTo>
                  <a:lnTo>
                    <a:pt x="42" y="378"/>
                  </a:lnTo>
                  <a:lnTo>
                    <a:pt x="12" y="378"/>
                  </a:lnTo>
                  <a:lnTo>
                    <a:pt x="6" y="378"/>
                  </a:lnTo>
                  <a:lnTo>
                    <a:pt x="0" y="366"/>
                  </a:lnTo>
                  <a:lnTo>
                    <a:pt x="12" y="360"/>
                  </a:lnTo>
                  <a:lnTo>
                    <a:pt x="24" y="348"/>
                  </a:lnTo>
                  <a:lnTo>
                    <a:pt x="30" y="342"/>
                  </a:lnTo>
                  <a:lnTo>
                    <a:pt x="36" y="330"/>
                  </a:lnTo>
                  <a:lnTo>
                    <a:pt x="72" y="300"/>
                  </a:lnTo>
                  <a:lnTo>
                    <a:pt x="78" y="294"/>
                  </a:lnTo>
                  <a:lnTo>
                    <a:pt x="78" y="288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96" y="270"/>
                  </a:lnTo>
                  <a:lnTo>
                    <a:pt x="102" y="264"/>
                  </a:lnTo>
                  <a:lnTo>
                    <a:pt x="108" y="258"/>
                  </a:lnTo>
                  <a:lnTo>
                    <a:pt x="114" y="246"/>
                  </a:lnTo>
                  <a:lnTo>
                    <a:pt x="120" y="240"/>
                  </a:lnTo>
                  <a:lnTo>
                    <a:pt x="126" y="234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0" y="210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86" y="174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22" y="138"/>
                  </a:lnTo>
                  <a:lnTo>
                    <a:pt x="234" y="132"/>
                  </a:lnTo>
                  <a:lnTo>
                    <a:pt x="246" y="126"/>
                  </a:lnTo>
                  <a:lnTo>
                    <a:pt x="246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88" y="102"/>
                  </a:lnTo>
                  <a:lnTo>
                    <a:pt x="300" y="96"/>
                  </a:lnTo>
                  <a:lnTo>
                    <a:pt x="306" y="90"/>
                  </a:lnTo>
                  <a:lnTo>
                    <a:pt x="318" y="90"/>
                  </a:lnTo>
                  <a:lnTo>
                    <a:pt x="324" y="84"/>
                  </a:lnTo>
                  <a:lnTo>
                    <a:pt x="348" y="72"/>
                  </a:lnTo>
                  <a:lnTo>
                    <a:pt x="354" y="72"/>
                  </a:lnTo>
                  <a:lnTo>
                    <a:pt x="384" y="66"/>
                  </a:lnTo>
                  <a:lnTo>
                    <a:pt x="390" y="66"/>
                  </a:lnTo>
                  <a:lnTo>
                    <a:pt x="396" y="66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66"/>
                  </a:lnTo>
                  <a:lnTo>
                    <a:pt x="438" y="66"/>
                  </a:lnTo>
                  <a:lnTo>
                    <a:pt x="468" y="66"/>
                  </a:lnTo>
                  <a:lnTo>
                    <a:pt x="480" y="66"/>
                  </a:lnTo>
                  <a:lnTo>
                    <a:pt x="486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22" y="60"/>
                  </a:lnTo>
                  <a:lnTo>
                    <a:pt x="534" y="54"/>
                  </a:lnTo>
                  <a:lnTo>
                    <a:pt x="564" y="42"/>
                  </a:lnTo>
                  <a:lnTo>
                    <a:pt x="570" y="42"/>
                  </a:lnTo>
                  <a:lnTo>
                    <a:pt x="582" y="36"/>
                  </a:lnTo>
                  <a:lnTo>
                    <a:pt x="588" y="36"/>
                  </a:lnTo>
                  <a:lnTo>
                    <a:pt x="600" y="30"/>
                  </a:lnTo>
                  <a:lnTo>
                    <a:pt x="606" y="30"/>
                  </a:lnTo>
                  <a:lnTo>
                    <a:pt x="618" y="24"/>
                  </a:lnTo>
                  <a:lnTo>
                    <a:pt x="642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72" y="12"/>
                  </a:lnTo>
                  <a:lnTo>
                    <a:pt x="696" y="12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50" y="6"/>
                  </a:lnTo>
                  <a:lnTo>
                    <a:pt x="768" y="6"/>
                  </a:lnTo>
                  <a:lnTo>
                    <a:pt x="774" y="6"/>
                  </a:lnTo>
                  <a:lnTo>
                    <a:pt x="786" y="6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6" y="6"/>
                  </a:lnTo>
                  <a:lnTo>
                    <a:pt x="846" y="6"/>
                  </a:lnTo>
                  <a:lnTo>
                    <a:pt x="852" y="0"/>
                  </a:lnTo>
                  <a:lnTo>
                    <a:pt x="876" y="0"/>
                  </a:lnTo>
                  <a:lnTo>
                    <a:pt x="876" y="6"/>
                  </a:lnTo>
                  <a:lnTo>
                    <a:pt x="888" y="0"/>
                  </a:lnTo>
                  <a:lnTo>
                    <a:pt x="900" y="0"/>
                  </a:lnTo>
                  <a:lnTo>
                    <a:pt x="906" y="0"/>
                  </a:lnTo>
                  <a:lnTo>
                    <a:pt x="912" y="0"/>
                  </a:lnTo>
                  <a:lnTo>
                    <a:pt x="948" y="0"/>
                  </a:lnTo>
                  <a:lnTo>
                    <a:pt x="954" y="0"/>
                  </a:lnTo>
                  <a:lnTo>
                    <a:pt x="972" y="0"/>
                  </a:lnTo>
                  <a:lnTo>
                    <a:pt x="978" y="0"/>
                  </a:lnTo>
                  <a:lnTo>
                    <a:pt x="996" y="0"/>
                  </a:lnTo>
                  <a:lnTo>
                    <a:pt x="1032" y="0"/>
                  </a:lnTo>
                  <a:lnTo>
                    <a:pt x="1044" y="0"/>
                  </a:lnTo>
                  <a:lnTo>
                    <a:pt x="1050" y="0"/>
                  </a:lnTo>
                  <a:lnTo>
                    <a:pt x="1056" y="6"/>
                  </a:lnTo>
                  <a:lnTo>
                    <a:pt x="1056" y="0"/>
                  </a:lnTo>
                  <a:lnTo>
                    <a:pt x="1074" y="0"/>
                  </a:lnTo>
                  <a:lnTo>
                    <a:pt x="1098" y="6"/>
                  </a:lnTo>
                  <a:lnTo>
                    <a:pt x="1116" y="6"/>
                  </a:lnTo>
                  <a:lnTo>
                    <a:pt x="1140" y="12"/>
                  </a:lnTo>
                  <a:lnTo>
                    <a:pt x="1152" y="12"/>
                  </a:lnTo>
                  <a:lnTo>
                    <a:pt x="1158" y="12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6" y="12"/>
                  </a:lnTo>
                  <a:lnTo>
                    <a:pt x="1194" y="18"/>
                  </a:lnTo>
                  <a:lnTo>
                    <a:pt x="1206" y="18"/>
                  </a:lnTo>
                  <a:lnTo>
                    <a:pt x="1242" y="36"/>
                  </a:lnTo>
                  <a:lnTo>
                    <a:pt x="1248" y="36"/>
                  </a:lnTo>
                  <a:lnTo>
                    <a:pt x="1254" y="36"/>
                  </a:lnTo>
                  <a:lnTo>
                    <a:pt x="1260" y="42"/>
                  </a:lnTo>
                  <a:lnTo>
                    <a:pt x="1272" y="48"/>
                  </a:lnTo>
                  <a:lnTo>
                    <a:pt x="1278" y="48"/>
                  </a:lnTo>
                  <a:lnTo>
                    <a:pt x="1284" y="48"/>
                  </a:lnTo>
                  <a:lnTo>
                    <a:pt x="1290" y="54"/>
                  </a:lnTo>
                  <a:lnTo>
                    <a:pt x="1308" y="60"/>
                  </a:lnTo>
                  <a:lnTo>
                    <a:pt x="1326" y="60"/>
                  </a:lnTo>
                  <a:lnTo>
                    <a:pt x="1338" y="66"/>
                  </a:lnTo>
                  <a:lnTo>
                    <a:pt x="1344" y="66"/>
                  </a:lnTo>
                  <a:lnTo>
                    <a:pt x="1350" y="66"/>
                  </a:lnTo>
                  <a:lnTo>
                    <a:pt x="1356" y="66"/>
                  </a:lnTo>
                  <a:lnTo>
                    <a:pt x="1362" y="72"/>
                  </a:lnTo>
                  <a:lnTo>
                    <a:pt x="1368" y="72"/>
                  </a:lnTo>
                  <a:lnTo>
                    <a:pt x="1380" y="72"/>
                  </a:lnTo>
                  <a:lnTo>
                    <a:pt x="1386" y="72"/>
                  </a:lnTo>
                  <a:lnTo>
                    <a:pt x="1422" y="84"/>
                  </a:lnTo>
                  <a:lnTo>
                    <a:pt x="1428" y="84"/>
                  </a:lnTo>
                  <a:lnTo>
                    <a:pt x="1446" y="90"/>
                  </a:lnTo>
                  <a:lnTo>
                    <a:pt x="1458" y="102"/>
                  </a:lnTo>
                  <a:lnTo>
                    <a:pt x="1494" y="126"/>
                  </a:lnTo>
                  <a:lnTo>
                    <a:pt x="1500" y="132"/>
                  </a:lnTo>
                  <a:lnTo>
                    <a:pt x="1512" y="138"/>
                  </a:lnTo>
                  <a:lnTo>
                    <a:pt x="1512" y="144"/>
                  </a:lnTo>
                  <a:lnTo>
                    <a:pt x="1518" y="150"/>
                  </a:lnTo>
                  <a:lnTo>
                    <a:pt x="1530" y="156"/>
                  </a:lnTo>
                  <a:lnTo>
                    <a:pt x="1530" y="162"/>
                  </a:lnTo>
                  <a:lnTo>
                    <a:pt x="1548" y="168"/>
                  </a:lnTo>
                  <a:lnTo>
                    <a:pt x="1566" y="180"/>
                  </a:lnTo>
                  <a:lnTo>
                    <a:pt x="1578" y="186"/>
                  </a:lnTo>
                  <a:lnTo>
                    <a:pt x="1578" y="180"/>
                  </a:lnTo>
                  <a:lnTo>
                    <a:pt x="1584" y="186"/>
                  </a:lnTo>
                  <a:lnTo>
                    <a:pt x="1584" y="174"/>
                  </a:lnTo>
                  <a:lnTo>
                    <a:pt x="1590" y="174"/>
                  </a:lnTo>
                  <a:lnTo>
                    <a:pt x="1590" y="180"/>
                  </a:lnTo>
                  <a:lnTo>
                    <a:pt x="1596" y="180"/>
                  </a:lnTo>
                  <a:lnTo>
                    <a:pt x="1596" y="174"/>
                  </a:lnTo>
                  <a:lnTo>
                    <a:pt x="1602" y="174"/>
                  </a:lnTo>
                  <a:lnTo>
                    <a:pt x="1608" y="174"/>
                  </a:lnTo>
                  <a:lnTo>
                    <a:pt x="1614" y="180"/>
                  </a:lnTo>
                  <a:lnTo>
                    <a:pt x="1620" y="174"/>
                  </a:lnTo>
                  <a:lnTo>
                    <a:pt x="1614" y="168"/>
                  </a:lnTo>
                  <a:lnTo>
                    <a:pt x="1614" y="162"/>
                  </a:lnTo>
                  <a:lnTo>
                    <a:pt x="1620" y="162"/>
                  </a:lnTo>
                  <a:lnTo>
                    <a:pt x="1626" y="162"/>
                  </a:lnTo>
                  <a:lnTo>
                    <a:pt x="1632" y="162"/>
                  </a:lnTo>
                  <a:lnTo>
                    <a:pt x="1638" y="168"/>
                  </a:lnTo>
                  <a:lnTo>
                    <a:pt x="1644" y="168"/>
                  </a:lnTo>
                  <a:lnTo>
                    <a:pt x="1650" y="174"/>
                  </a:lnTo>
                  <a:lnTo>
                    <a:pt x="1656" y="168"/>
                  </a:lnTo>
                  <a:lnTo>
                    <a:pt x="1668" y="168"/>
                  </a:lnTo>
                  <a:lnTo>
                    <a:pt x="1674" y="174"/>
                  </a:lnTo>
                  <a:lnTo>
                    <a:pt x="1674" y="180"/>
                  </a:lnTo>
                  <a:lnTo>
                    <a:pt x="1674" y="186"/>
                  </a:lnTo>
                  <a:lnTo>
                    <a:pt x="1680" y="186"/>
                  </a:lnTo>
                  <a:lnTo>
                    <a:pt x="1680" y="192"/>
                  </a:lnTo>
                  <a:lnTo>
                    <a:pt x="1686" y="192"/>
                  </a:lnTo>
                  <a:lnTo>
                    <a:pt x="1686" y="186"/>
                  </a:lnTo>
                  <a:lnTo>
                    <a:pt x="1680" y="186"/>
                  </a:lnTo>
                  <a:lnTo>
                    <a:pt x="1686" y="180"/>
                  </a:lnTo>
                  <a:lnTo>
                    <a:pt x="1692" y="180"/>
                  </a:lnTo>
                  <a:lnTo>
                    <a:pt x="1698" y="180"/>
                  </a:lnTo>
                  <a:lnTo>
                    <a:pt x="1704" y="180"/>
                  </a:lnTo>
                  <a:lnTo>
                    <a:pt x="1704" y="186"/>
                  </a:lnTo>
                  <a:lnTo>
                    <a:pt x="1710" y="186"/>
                  </a:lnTo>
                  <a:lnTo>
                    <a:pt x="1716" y="186"/>
                  </a:lnTo>
                  <a:lnTo>
                    <a:pt x="1716" y="192"/>
                  </a:lnTo>
                  <a:lnTo>
                    <a:pt x="1716" y="198"/>
                  </a:lnTo>
                  <a:lnTo>
                    <a:pt x="1722" y="192"/>
                  </a:lnTo>
                  <a:lnTo>
                    <a:pt x="1722" y="186"/>
                  </a:lnTo>
                  <a:lnTo>
                    <a:pt x="1728" y="192"/>
                  </a:lnTo>
                  <a:lnTo>
                    <a:pt x="1734" y="192"/>
                  </a:lnTo>
                  <a:lnTo>
                    <a:pt x="1734" y="186"/>
                  </a:lnTo>
                  <a:lnTo>
                    <a:pt x="1740" y="186"/>
                  </a:lnTo>
                  <a:lnTo>
                    <a:pt x="1740" y="192"/>
                  </a:lnTo>
                  <a:lnTo>
                    <a:pt x="1746" y="192"/>
                  </a:lnTo>
                  <a:lnTo>
                    <a:pt x="1758" y="192"/>
                  </a:lnTo>
                  <a:lnTo>
                    <a:pt x="1764" y="192"/>
                  </a:lnTo>
                  <a:lnTo>
                    <a:pt x="1764" y="198"/>
                  </a:lnTo>
                  <a:lnTo>
                    <a:pt x="1758" y="204"/>
                  </a:lnTo>
                  <a:lnTo>
                    <a:pt x="1752" y="210"/>
                  </a:lnTo>
                  <a:lnTo>
                    <a:pt x="1746" y="216"/>
                  </a:lnTo>
                  <a:lnTo>
                    <a:pt x="1746" y="222"/>
                  </a:lnTo>
                  <a:lnTo>
                    <a:pt x="1734" y="228"/>
                  </a:lnTo>
                  <a:lnTo>
                    <a:pt x="1734" y="234"/>
                  </a:lnTo>
                  <a:lnTo>
                    <a:pt x="1734" y="258"/>
                  </a:lnTo>
                  <a:lnTo>
                    <a:pt x="1740" y="330"/>
                  </a:lnTo>
                  <a:lnTo>
                    <a:pt x="1746" y="372"/>
                  </a:lnTo>
                  <a:lnTo>
                    <a:pt x="1788" y="426"/>
                  </a:lnTo>
                  <a:lnTo>
                    <a:pt x="1806" y="438"/>
                  </a:lnTo>
                  <a:lnTo>
                    <a:pt x="1794" y="480"/>
                  </a:lnTo>
                  <a:lnTo>
                    <a:pt x="1770" y="516"/>
                  </a:lnTo>
                  <a:lnTo>
                    <a:pt x="1746" y="546"/>
                  </a:lnTo>
                  <a:lnTo>
                    <a:pt x="1716" y="570"/>
                  </a:lnTo>
                  <a:lnTo>
                    <a:pt x="1680" y="594"/>
                  </a:lnTo>
                  <a:lnTo>
                    <a:pt x="1668" y="630"/>
                  </a:lnTo>
                  <a:lnTo>
                    <a:pt x="1680" y="684"/>
                  </a:lnTo>
                  <a:lnTo>
                    <a:pt x="1686" y="756"/>
                  </a:lnTo>
                  <a:lnTo>
                    <a:pt x="1662" y="870"/>
                  </a:lnTo>
                  <a:lnTo>
                    <a:pt x="1656" y="888"/>
                  </a:lnTo>
                  <a:lnTo>
                    <a:pt x="1650" y="972"/>
                  </a:lnTo>
                  <a:lnTo>
                    <a:pt x="1656" y="978"/>
                  </a:lnTo>
                  <a:lnTo>
                    <a:pt x="1650" y="984"/>
                  </a:lnTo>
                  <a:lnTo>
                    <a:pt x="1650" y="990"/>
                  </a:lnTo>
                  <a:lnTo>
                    <a:pt x="1650" y="1002"/>
                  </a:lnTo>
                  <a:lnTo>
                    <a:pt x="1656" y="1008"/>
                  </a:lnTo>
                  <a:lnTo>
                    <a:pt x="1656" y="1014"/>
                  </a:lnTo>
                  <a:lnTo>
                    <a:pt x="1662" y="1026"/>
                  </a:lnTo>
                  <a:lnTo>
                    <a:pt x="1650" y="1032"/>
                  </a:lnTo>
                  <a:lnTo>
                    <a:pt x="1638" y="1044"/>
                  </a:lnTo>
                  <a:lnTo>
                    <a:pt x="1626" y="1080"/>
                  </a:lnTo>
                  <a:lnTo>
                    <a:pt x="1614" y="1116"/>
                  </a:lnTo>
                  <a:lnTo>
                    <a:pt x="1614" y="1128"/>
                  </a:lnTo>
                  <a:lnTo>
                    <a:pt x="1626" y="1134"/>
                  </a:lnTo>
                  <a:lnTo>
                    <a:pt x="1644" y="1134"/>
                  </a:lnTo>
                  <a:lnTo>
                    <a:pt x="1662" y="1134"/>
                  </a:lnTo>
                  <a:lnTo>
                    <a:pt x="1680" y="1140"/>
                  </a:lnTo>
                  <a:lnTo>
                    <a:pt x="1698" y="1170"/>
                  </a:lnTo>
                  <a:lnTo>
                    <a:pt x="1704" y="1194"/>
                  </a:lnTo>
                  <a:lnTo>
                    <a:pt x="1692" y="1206"/>
                  </a:lnTo>
                  <a:lnTo>
                    <a:pt x="1662" y="1242"/>
                  </a:lnTo>
                  <a:lnTo>
                    <a:pt x="1632" y="1266"/>
                  </a:lnTo>
                  <a:lnTo>
                    <a:pt x="1620" y="1314"/>
                  </a:lnTo>
                  <a:lnTo>
                    <a:pt x="1584" y="1356"/>
                  </a:lnTo>
                  <a:lnTo>
                    <a:pt x="1578" y="1356"/>
                  </a:lnTo>
                  <a:lnTo>
                    <a:pt x="1578" y="1362"/>
                  </a:lnTo>
                  <a:lnTo>
                    <a:pt x="1572" y="1410"/>
                  </a:lnTo>
                  <a:lnTo>
                    <a:pt x="1584" y="1452"/>
                  </a:lnTo>
                  <a:lnTo>
                    <a:pt x="1608" y="1476"/>
                  </a:lnTo>
                  <a:lnTo>
                    <a:pt x="1596" y="1476"/>
                  </a:lnTo>
                  <a:lnTo>
                    <a:pt x="1584" y="1482"/>
                  </a:lnTo>
                  <a:lnTo>
                    <a:pt x="1560" y="1482"/>
                  </a:lnTo>
                  <a:lnTo>
                    <a:pt x="1536" y="1482"/>
                  </a:lnTo>
                  <a:lnTo>
                    <a:pt x="1524" y="1482"/>
                  </a:lnTo>
                  <a:lnTo>
                    <a:pt x="1506" y="1500"/>
                  </a:lnTo>
                  <a:lnTo>
                    <a:pt x="1482" y="1530"/>
                  </a:lnTo>
                  <a:lnTo>
                    <a:pt x="1452" y="1542"/>
                  </a:lnTo>
                  <a:lnTo>
                    <a:pt x="1446" y="1542"/>
                  </a:lnTo>
                  <a:lnTo>
                    <a:pt x="1440" y="1542"/>
                  </a:lnTo>
                  <a:lnTo>
                    <a:pt x="1440" y="1548"/>
                  </a:lnTo>
                  <a:lnTo>
                    <a:pt x="1434" y="1548"/>
                  </a:lnTo>
                  <a:lnTo>
                    <a:pt x="1428" y="1548"/>
                  </a:lnTo>
                  <a:lnTo>
                    <a:pt x="1428" y="1554"/>
                  </a:lnTo>
                  <a:lnTo>
                    <a:pt x="1422" y="1560"/>
                  </a:lnTo>
                  <a:lnTo>
                    <a:pt x="1416" y="1560"/>
                  </a:lnTo>
                  <a:lnTo>
                    <a:pt x="1410" y="1566"/>
                  </a:lnTo>
                  <a:lnTo>
                    <a:pt x="1410" y="1560"/>
                  </a:lnTo>
                  <a:lnTo>
                    <a:pt x="1404" y="1560"/>
                  </a:lnTo>
                  <a:lnTo>
                    <a:pt x="1392" y="1560"/>
                  </a:lnTo>
                  <a:lnTo>
                    <a:pt x="1386" y="1560"/>
                  </a:lnTo>
                  <a:lnTo>
                    <a:pt x="1380" y="1566"/>
                  </a:lnTo>
                  <a:lnTo>
                    <a:pt x="1374" y="1560"/>
                  </a:lnTo>
                  <a:lnTo>
                    <a:pt x="1368" y="1566"/>
                  </a:lnTo>
                  <a:lnTo>
                    <a:pt x="1362" y="1566"/>
                  </a:lnTo>
                  <a:lnTo>
                    <a:pt x="1362" y="1572"/>
                  </a:lnTo>
                  <a:lnTo>
                    <a:pt x="1356" y="1572"/>
                  </a:lnTo>
                  <a:lnTo>
                    <a:pt x="1356" y="1578"/>
                  </a:lnTo>
                  <a:lnTo>
                    <a:pt x="1350" y="1578"/>
                  </a:lnTo>
                  <a:lnTo>
                    <a:pt x="1350" y="1572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32" y="1584"/>
                  </a:lnTo>
                  <a:lnTo>
                    <a:pt x="1326" y="1590"/>
                  </a:lnTo>
                  <a:lnTo>
                    <a:pt x="1320" y="1584"/>
                  </a:lnTo>
                  <a:lnTo>
                    <a:pt x="1314" y="1590"/>
                  </a:lnTo>
                  <a:lnTo>
                    <a:pt x="1308" y="1596"/>
                  </a:lnTo>
                  <a:lnTo>
                    <a:pt x="1302" y="1596"/>
                  </a:lnTo>
                  <a:lnTo>
                    <a:pt x="1296" y="1596"/>
                  </a:lnTo>
                  <a:lnTo>
                    <a:pt x="1290" y="1596"/>
                  </a:lnTo>
                  <a:lnTo>
                    <a:pt x="1284" y="1596"/>
                  </a:lnTo>
                  <a:lnTo>
                    <a:pt x="1278" y="1602"/>
                  </a:lnTo>
                  <a:lnTo>
                    <a:pt x="1266" y="1602"/>
                  </a:lnTo>
                  <a:lnTo>
                    <a:pt x="1272" y="1608"/>
                  </a:lnTo>
                  <a:lnTo>
                    <a:pt x="1278" y="1608"/>
                  </a:lnTo>
                  <a:lnTo>
                    <a:pt x="1284" y="1608"/>
                  </a:lnTo>
                  <a:lnTo>
                    <a:pt x="1290" y="1614"/>
                  </a:lnTo>
                  <a:lnTo>
                    <a:pt x="1296" y="1620"/>
                  </a:lnTo>
                  <a:lnTo>
                    <a:pt x="1302" y="1626"/>
                  </a:lnTo>
                  <a:lnTo>
                    <a:pt x="1308" y="1632"/>
                  </a:lnTo>
                  <a:lnTo>
                    <a:pt x="1314" y="1638"/>
                  </a:lnTo>
                  <a:lnTo>
                    <a:pt x="1314" y="1644"/>
                  </a:lnTo>
                  <a:lnTo>
                    <a:pt x="1320" y="1644"/>
                  </a:lnTo>
                  <a:lnTo>
                    <a:pt x="1320" y="1650"/>
                  </a:lnTo>
                  <a:lnTo>
                    <a:pt x="1326" y="1656"/>
                  </a:lnTo>
                  <a:lnTo>
                    <a:pt x="1332" y="1668"/>
                  </a:lnTo>
                  <a:lnTo>
                    <a:pt x="1338" y="1680"/>
                  </a:lnTo>
                  <a:lnTo>
                    <a:pt x="1338" y="1698"/>
                  </a:lnTo>
                  <a:lnTo>
                    <a:pt x="1350" y="1710"/>
                  </a:lnTo>
                  <a:lnTo>
                    <a:pt x="1350" y="1716"/>
                  </a:lnTo>
                  <a:lnTo>
                    <a:pt x="1350" y="1722"/>
                  </a:lnTo>
                  <a:lnTo>
                    <a:pt x="1350" y="1728"/>
                  </a:lnTo>
                  <a:lnTo>
                    <a:pt x="1356" y="1728"/>
                  </a:lnTo>
                  <a:lnTo>
                    <a:pt x="1356" y="1734"/>
                  </a:lnTo>
                  <a:lnTo>
                    <a:pt x="1350" y="1734"/>
                  </a:lnTo>
                  <a:lnTo>
                    <a:pt x="1344" y="1740"/>
                  </a:lnTo>
                  <a:lnTo>
                    <a:pt x="1338" y="1740"/>
                  </a:lnTo>
                  <a:lnTo>
                    <a:pt x="1332" y="1746"/>
                  </a:lnTo>
                  <a:lnTo>
                    <a:pt x="1326" y="1746"/>
                  </a:lnTo>
                  <a:lnTo>
                    <a:pt x="1326" y="1752"/>
                  </a:lnTo>
                  <a:lnTo>
                    <a:pt x="1320" y="1752"/>
                  </a:lnTo>
                  <a:lnTo>
                    <a:pt x="1320" y="1758"/>
                  </a:lnTo>
                  <a:lnTo>
                    <a:pt x="1314" y="1758"/>
                  </a:lnTo>
                  <a:lnTo>
                    <a:pt x="1308" y="1758"/>
                  </a:lnTo>
                  <a:lnTo>
                    <a:pt x="1302" y="1758"/>
                  </a:lnTo>
                  <a:lnTo>
                    <a:pt x="1296" y="1758"/>
                  </a:lnTo>
                  <a:lnTo>
                    <a:pt x="1290" y="1764"/>
                  </a:lnTo>
                  <a:lnTo>
                    <a:pt x="1284" y="1770"/>
                  </a:lnTo>
                  <a:lnTo>
                    <a:pt x="1278" y="1770"/>
                  </a:lnTo>
                  <a:lnTo>
                    <a:pt x="1272" y="1770"/>
                  </a:lnTo>
                  <a:lnTo>
                    <a:pt x="1266" y="1770"/>
                  </a:lnTo>
                  <a:lnTo>
                    <a:pt x="1266" y="1776"/>
                  </a:lnTo>
                  <a:lnTo>
                    <a:pt x="1260" y="1776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4" name="Freeform 39">
              <a:extLst>
                <a:ext uri="{FF2B5EF4-FFF2-40B4-BE49-F238E27FC236}">
                  <a16:creationId xmlns:a16="http://schemas.microsoft.com/office/drawing/2014/main" id="{E01CDA8B-32C7-421A-B23E-968CAC7F78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2974" y="1759680"/>
              <a:ext cx="825155" cy="700024"/>
            </a:xfrm>
            <a:custGeom>
              <a:avLst/>
              <a:gdLst>
                <a:gd name="T0" fmla="*/ 60 w 1554"/>
                <a:gd name="T1" fmla="*/ 86 h 1320"/>
                <a:gd name="T2" fmla="*/ 66 w 1554"/>
                <a:gd name="T3" fmla="*/ 80 h 1320"/>
                <a:gd name="T4" fmla="*/ 61 w 1554"/>
                <a:gd name="T5" fmla="*/ 73 h 1320"/>
                <a:gd name="T6" fmla="*/ 57 w 1554"/>
                <a:gd name="T7" fmla="*/ 67 h 1320"/>
                <a:gd name="T8" fmla="*/ 60 w 1554"/>
                <a:gd name="T9" fmla="*/ 59 h 1320"/>
                <a:gd name="T10" fmla="*/ 56 w 1554"/>
                <a:gd name="T11" fmla="*/ 55 h 1320"/>
                <a:gd name="T12" fmla="*/ 45 w 1554"/>
                <a:gd name="T13" fmla="*/ 53 h 1320"/>
                <a:gd name="T14" fmla="*/ 42 w 1554"/>
                <a:gd name="T15" fmla="*/ 41 h 1320"/>
                <a:gd name="T16" fmla="*/ 37 w 1554"/>
                <a:gd name="T17" fmla="*/ 39 h 1320"/>
                <a:gd name="T18" fmla="*/ 31 w 1554"/>
                <a:gd name="T19" fmla="*/ 44 h 1320"/>
                <a:gd name="T20" fmla="*/ 37 w 1554"/>
                <a:gd name="T21" fmla="*/ 35 h 1320"/>
                <a:gd name="T22" fmla="*/ 30 w 1554"/>
                <a:gd name="T23" fmla="*/ 23 h 1320"/>
                <a:gd name="T24" fmla="*/ 21 w 1554"/>
                <a:gd name="T25" fmla="*/ 23 h 1320"/>
                <a:gd name="T26" fmla="*/ 15 w 1554"/>
                <a:gd name="T27" fmla="*/ 27 h 1320"/>
                <a:gd name="T28" fmla="*/ 11 w 1554"/>
                <a:gd name="T29" fmla="*/ 32 h 1320"/>
                <a:gd name="T30" fmla="*/ 6 w 1554"/>
                <a:gd name="T31" fmla="*/ 22 h 1320"/>
                <a:gd name="T32" fmla="*/ 3 w 1554"/>
                <a:gd name="T33" fmla="*/ 11 h 1320"/>
                <a:gd name="T34" fmla="*/ 24 w 1554"/>
                <a:gd name="T35" fmla="*/ 12 h 1320"/>
                <a:gd name="T36" fmla="*/ 33 w 1554"/>
                <a:gd name="T37" fmla="*/ 19 h 1320"/>
                <a:gd name="T38" fmla="*/ 49 w 1554"/>
                <a:gd name="T39" fmla="*/ 12 h 1320"/>
                <a:gd name="T40" fmla="*/ 58 w 1554"/>
                <a:gd name="T41" fmla="*/ 10 h 1320"/>
                <a:gd name="T42" fmla="*/ 68 w 1554"/>
                <a:gd name="T43" fmla="*/ 11 h 1320"/>
                <a:gd name="T44" fmla="*/ 79 w 1554"/>
                <a:gd name="T45" fmla="*/ 12 h 1320"/>
                <a:gd name="T46" fmla="*/ 96 w 1554"/>
                <a:gd name="T47" fmla="*/ 11 h 1320"/>
                <a:gd name="T48" fmla="*/ 107 w 1554"/>
                <a:gd name="T49" fmla="*/ 2 h 1320"/>
                <a:gd name="T50" fmla="*/ 117 w 1554"/>
                <a:gd name="T51" fmla="*/ 8 h 1320"/>
                <a:gd name="T52" fmla="*/ 126 w 1554"/>
                <a:gd name="T53" fmla="*/ 12 h 1320"/>
                <a:gd name="T54" fmla="*/ 134 w 1554"/>
                <a:gd name="T55" fmla="*/ 24 h 1320"/>
                <a:gd name="T56" fmla="*/ 133 w 1554"/>
                <a:gd name="T57" fmla="*/ 29 h 1320"/>
                <a:gd name="T58" fmla="*/ 129 w 1554"/>
                <a:gd name="T59" fmla="*/ 31 h 1320"/>
                <a:gd name="T60" fmla="*/ 125 w 1554"/>
                <a:gd name="T61" fmla="*/ 32 h 1320"/>
                <a:gd name="T62" fmla="*/ 115 w 1554"/>
                <a:gd name="T63" fmla="*/ 34 h 1320"/>
                <a:gd name="T64" fmla="*/ 113 w 1554"/>
                <a:gd name="T65" fmla="*/ 44 h 1320"/>
                <a:gd name="T66" fmla="*/ 111 w 1554"/>
                <a:gd name="T67" fmla="*/ 54 h 1320"/>
                <a:gd name="T68" fmla="*/ 107 w 1554"/>
                <a:gd name="T69" fmla="*/ 56 h 1320"/>
                <a:gd name="T70" fmla="*/ 102 w 1554"/>
                <a:gd name="T71" fmla="*/ 58 h 1320"/>
                <a:gd name="T72" fmla="*/ 99 w 1554"/>
                <a:gd name="T73" fmla="*/ 60 h 1320"/>
                <a:gd name="T74" fmla="*/ 93 w 1554"/>
                <a:gd name="T75" fmla="*/ 62 h 1320"/>
                <a:gd name="T76" fmla="*/ 87 w 1554"/>
                <a:gd name="T77" fmla="*/ 64 h 1320"/>
                <a:gd name="T78" fmla="*/ 84 w 1554"/>
                <a:gd name="T79" fmla="*/ 65 h 1320"/>
                <a:gd name="T80" fmla="*/ 81 w 1554"/>
                <a:gd name="T81" fmla="*/ 69 h 1320"/>
                <a:gd name="T82" fmla="*/ 83 w 1554"/>
                <a:gd name="T83" fmla="*/ 72 h 1320"/>
                <a:gd name="T84" fmla="*/ 92 w 1554"/>
                <a:gd name="T85" fmla="*/ 73 h 1320"/>
                <a:gd name="T86" fmla="*/ 93 w 1554"/>
                <a:gd name="T87" fmla="*/ 87 h 1320"/>
                <a:gd name="T88" fmla="*/ 104 w 1554"/>
                <a:gd name="T89" fmla="*/ 98 h 1320"/>
                <a:gd name="T90" fmla="*/ 108 w 1554"/>
                <a:gd name="T91" fmla="*/ 98 h 1320"/>
                <a:gd name="T92" fmla="*/ 112 w 1554"/>
                <a:gd name="T93" fmla="*/ 100 h 1320"/>
                <a:gd name="T94" fmla="*/ 118 w 1554"/>
                <a:gd name="T95" fmla="*/ 100 h 1320"/>
                <a:gd name="T96" fmla="*/ 122 w 1554"/>
                <a:gd name="T97" fmla="*/ 102 h 1320"/>
                <a:gd name="T98" fmla="*/ 118 w 1554"/>
                <a:gd name="T99" fmla="*/ 105 h 1320"/>
                <a:gd name="T100" fmla="*/ 114 w 1554"/>
                <a:gd name="T101" fmla="*/ 107 h 1320"/>
                <a:gd name="T102" fmla="*/ 113 w 1554"/>
                <a:gd name="T103" fmla="*/ 113 h 1320"/>
                <a:gd name="T104" fmla="*/ 104 w 1554"/>
                <a:gd name="T105" fmla="*/ 113 h 1320"/>
                <a:gd name="T106" fmla="*/ 93 w 1554"/>
                <a:gd name="T107" fmla="*/ 109 h 1320"/>
                <a:gd name="T108" fmla="*/ 96 w 1554"/>
                <a:gd name="T109" fmla="*/ 103 h 1320"/>
                <a:gd name="T110" fmla="*/ 95 w 1554"/>
                <a:gd name="T111" fmla="*/ 97 h 1320"/>
                <a:gd name="T112" fmla="*/ 87 w 1554"/>
                <a:gd name="T113" fmla="*/ 98 h 1320"/>
                <a:gd name="T114" fmla="*/ 81 w 1554"/>
                <a:gd name="T115" fmla="*/ 98 h 1320"/>
                <a:gd name="T116" fmla="*/ 78 w 1554"/>
                <a:gd name="T117" fmla="*/ 93 h 1320"/>
                <a:gd name="T118" fmla="*/ 65 w 1554"/>
                <a:gd name="T119" fmla="*/ 92 h 1320"/>
                <a:gd name="T120" fmla="*/ 59 w 1554"/>
                <a:gd name="T121" fmla="*/ 92 h 13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54"/>
                <a:gd name="T184" fmla="*/ 0 h 1320"/>
                <a:gd name="T185" fmla="*/ 1554 w 1554"/>
                <a:gd name="T186" fmla="*/ 1320 h 132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54" h="1320">
                  <a:moveTo>
                    <a:pt x="684" y="1068"/>
                  </a:moveTo>
                  <a:lnTo>
                    <a:pt x="684" y="1062"/>
                  </a:lnTo>
                  <a:lnTo>
                    <a:pt x="690" y="1056"/>
                  </a:lnTo>
                  <a:lnTo>
                    <a:pt x="690" y="1050"/>
                  </a:lnTo>
                  <a:lnTo>
                    <a:pt x="690" y="1044"/>
                  </a:lnTo>
                  <a:lnTo>
                    <a:pt x="690" y="1038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14"/>
                  </a:lnTo>
                  <a:lnTo>
                    <a:pt x="690" y="1008"/>
                  </a:lnTo>
                  <a:lnTo>
                    <a:pt x="696" y="996"/>
                  </a:lnTo>
                  <a:lnTo>
                    <a:pt x="714" y="996"/>
                  </a:lnTo>
                  <a:lnTo>
                    <a:pt x="714" y="990"/>
                  </a:lnTo>
                  <a:lnTo>
                    <a:pt x="732" y="984"/>
                  </a:lnTo>
                  <a:lnTo>
                    <a:pt x="744" y="978"/>
                  </a:lnTo>
                  <a:lnTo>
                    <a:pt x="762" y="966"/>
                  </a:lnTo>
                  <a:lnTo>
                    <a:pt x="762" y="960"/>
                  </a:lnTo>
                  <a:lnTo>
                    <a:pt x="768" y="954"/>
                  </a:lnTo>
                  <a:lnTo>
                    <a:pt x="774" y="948"/>
                  </a:lnTo>
                  <a:lnTo>
                    <a:pt x="774" y="942"/>
                  </a:lnTo>
                  <a:lnTo>
                    <a:pt x="774" y="924"/>
                  </a:lnTo>
                  <a:lnTo>
                    <a:pt x="768" y="918"/>
                  </a:lnTo>
                  <a:lnTo>
                    <a:pt x="756" y="918"/>
                  </a:lnTo>
                  <a:lnTo>
                    <a:pt x="744" y="918"/>
                  </a:lnTo>
                  <a:lnTo>
                    <a:pt x="732" y="924"/>
                  </a:lnTo>
                  <a:lnTo>
                    <a:pt x="726" y="912"/>
                  </a:lnTo>
                  <a:lnTo>
                    <a:pt x="720" y="912"/>
                  </a:lnTo>
                  <a:lnTo>
                    <a:pt x="720" y="900"/>
                  </a:lnTo>
                  <a:lnTo>
                    <a:pt x="720" y="870"/>
                  </a:lnTo>
                  <a:lnTo>
                    <a:pt x="696" y="876"/>
                  </a:lnTo>
                  <a:lnTo>
                    <a:pt x="690" y="852"/>
                  </a:lnTo>
                  <a:lnTo>
                    <a:pt x="702" y="852"/>
                  </a:lnTo>
                  <a:lnTo>
                    <a:pt x="702" y="840"/>
                  </a:lnTo>
                  <a:lnTo>
                    <a:pt x="708" y="834"/>
                  </a:lnTo>
                  <a:lnTo>
                    <a:pt x="702" y="822"/>
                  </a:lnTo>
                  <a:lnTo>
                    <a:pt x="660" y="822"/>
                  </a:lnTo>
                  <a:lnTo>
                    <a:pt x="654" y="822"/>
                  </a:lnTo>
                  <a:lnTo>
                    <a:pt x="642" y="822"/>
                  </a:lnTo>
                  <a:lnTo>
                    <a:pt x="642" y="810"/>
                  </a:lnTo>
                  <a:lnTo>
                    <a:pt x="642" y="798"/>
                  </a:lnTo>
                  <a:lnTo>
                    <a:pt x="642" y="792"/>
                  </a:lnTo>
                  <a:lnTo>
                    <a:pt x="648" y="780"/>
                  </a:lnTo>
                  <a:lnTo>
                    <a:pt x="654" y="774"/>
                  </a:lnTo>
                  <a:lnTo>
                    <a:pt x="660" y="774"/>
                  </a:lnTo>
                  <a:lnTo>
                    <a:pt x="672" y="762"/>
                  </a:lnTo>
                  <a:lnTo>
                    <a:pt x="672" y="756"/>
                  </a:lnTo>
                  <a:lnTo>
                    <a:pt x="678" y="750"/>
                  </a:lnTo>
                  <a:lnTo>
                    <a:pt x="684" y="750"/>
                  </a:lnTo>
                  <a:lnTo>
                    <a:pt x="690" y="744"/>
                  </a:lnTo>
                  <a:lnTo>
                    <a:pt x="696" y="732"/>
                  </a:lnTo>
                  <a:lnTo>
                    <a:pt x="696" y="726"/>
                  </a:lnTo>
                  <a:lnTo>
                    <a:pt x="702" y="714"/>
                  </a:lnTo>
                  <a:lnTo>
                    <a:pt x="696" y="708"/>
                  </a:lnTo>
                  <a:lnTo>
                    <a:pt x="690" y="690"/>
                  </a:lnTo>
                  <a:lnTo>
                    <a:pt x="696" y="678"/>
                  </a:lnTo>
                  <a:lnTo>
                    <a:pt x="708" y="672"/>
                  </a:lnTo>
                  <a:lnTo>
                    <a:pt x="708" y="660"/>
                  </a:lnTo>
                  <a:lnTo>
                    <a:pt x="702" y="660"/>
                  </a:lnTo>
                  <a:lnTo>
                    <a:pt x="696" y="660"/>
                  </a:lnTo>
                  <a:lnTo>
                    <a:pt x="690" y="654"/>
                  </a:lnTo>
                  <a:lnTo>
                    <a:pt x="684" y="654"/>
                  </a:lnTo>
                  <a:lnTo>
                    <a:pt x="690" y="606"/>
                  </a:lnTo>
                  <a:lnTo>
                    <a:pt x="660" y="606"/>
                  </a:lnTo>
                  <a:lnTo>
                    <a:pt x="660" y="612"/>
                  </a:lnTo>
                  <a:lnTo>
                    <a:pt x="648" y="612"/>
                  </a:lnTo>
                  <a:lnTo>
                    <a:pt x="642" y="636"/>
                  </a:lnTo>
                  <a:lnTo>
                    <a:pt x="636" y="636"/>
                  </a:lnTo>
                  <a:lnTo>
                    <a:pt x="630" y="648"/>
                  </a:lnTo>
                  <a:lnTo>
                    <a:pt x="612" y="648"/>
                  </a:lnTo>
                  <a:lnTo>
                    <a:pt x="606" y="636"/>
                  </a:lnTo>
                  <a:lnTo>
                    <a:pt x="600" y="630"/>
                  </a:lnTo>
                  <a:lnTo>
                    <a:pt x="588" y="606"/>
                  </a:lnTo>
                  <a:lnTo>
                    <a:pt x="552" y="606"/>
                  </a:lnTo>
                  <a:lnTo>
                    <a:pt x="552" y="612"/>
                  </a:lnTo>
                  <a:lnTo>
                    <a:pt x="540" y="612"/>
                  </a:lnTo>
                  <a:lnTo>
                    <a:pt x="540" y="606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16" y="612"/>
                  </a:lnTo>
                  <a:lnTo>
                    <a:pt x="516" y="582"/>
                  </a:lnTo>
                  <a:lnTo>
                    <a:pt x="522" y="576"/>
                  </a:lnTo>
                  <a:lnTo>
                    <a:pt x="528" y="576"/>
                  </a:lnTo>
                  <a:lnTo>
                    <a:pt x="528" y="552"/>
                  </a:lnTo>
                  <a:lnTo>
                    <a:pt x="522" y="540"/>
                  </a:lnTo>
                  <a:lnTo>
                    <a:pt x="510" y="528"/>
                  </a:lnTo>
                  <a:lnTo>
                    <a:pt x="486" y="510"/>
                  </a:lnTo>
                  <a:lnTo>
                    <a:pt x="480" y="498"/>
                  </a:lnTo>
                  <a:lnTo>
                    <a:pt x="480" y="474"/>
                  </a:lnTo>
                  <a:lnTo>
                    <a:pt x="492" y="468"/>
                  </a:lnTo>
                  <a:lnTo>
                    <a:pt x="486" y="450"/>
                  </a:lnTo>
                  <a:lnTo>
                    <a:pt x="474" y="456"/>
                  </a:lnTo>
                  <a:lnTo>
                    <a:pt x="468" y="456"/>
                  </a:lnTo>
                  <a:lnTo>
                    <a:pt x="462" y="456"/>
                  </a:lnTo>
                  <a:lnTo>
                    <a:pt x="456" y="468"/>
                  </a:lnTo>
                  <a:lnTo>
                    <a:pt x="456" y="474"/>
                  </a:lnTo>
                  <a:lnTo>
                    <a:pt x="450" y="480"/>
                  </a:lnTo>
                  <a:lnTo>
                    <a:pt x="444" y="450"/>
                  </a:lnTo>
                  <a:lnTo>
                    <a:pt x="438" y="450"/>
                  </a:lnTo>
                  <a:lnTo>
                    <a:pt x="432" y="450"/>
                  </a:lnTo>
                  <a:lnTo>
                    <a:pt x="420" y="450"/>
                  </a:lnTo>
                  <a:lnTo>
                    <a:pt x="420" y="456"/>
                  </a:lnTo>
                  <a:lnTo>
                    <a:pt x="414" y="456"/>
                  </a:lnTo>
                  <a:lnTo>
                    <a:pt x="408" y="468"/>
                  </a:lnTo>
                  <a:lnTo>
                    <a:pt x="402" y="468"/>
                  </a:lnTo>
                  <a:lnTo>
                    <a:pt x="396" y="474"/>
                  </a:lnTo>
                  <a:lnTo>
                    <a:pt x="390" y="492"/>
                  </a:lnTo>
                  <a:lnTo>
                    <a:pt x="384" y="504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54" y="510"/>
                  </a:lnTo>
                  <a:lnTo>
                    <a:pt x="360" y="480"/>
                  </a:lnTo>
                  <a:lnTo>
                    <a:pt x="360" y="474"/>
                  </a:lnTo>
                  <a:lnTo>
                    <a:pt x="378" y="456"/>
                  </a:lnTo>
                  <a:lnTo>
                    <a:pt x="384" y="450"/>
                  </a:lnTo>
                  <a:lnTo>
                    <a:pt x="396" y="444"/>
                  </a:lnTo>
                  <a:lnTo>
                    <a:pt x="402" y="438"/>
                  </a:lnTo>
                  <a:lnTo>
                    <a:pt x="408" y="438"/>
                  </a:lnTo>
                  <a:lnTo>
                    <a:pt x="408" y="426"/>
                  </a:lnTo>
                  <a:lnTo>
                    <a:pt x="414" y="420"/>
                  </a:lnTo>
                  <a:lnTo>
                    <a:pt x="426" y="420"/>
                  </a:lnTo>
                  <a:lnTo>
                    <a:pt x="426" y="408"/>
                  </a:lnTo>
                  <a:lnTo>
                    <a:pt x="420" y="390"/>
                  </a:lnTo>
                  <a:lnTo>
                    <a:pt x="408" y="384"/>
                  </a:lnTo>
                  <a:lnTo>
                    <a:pt x="378" y="378"/>
                  </a:lnTo>
                  <a:lnTo>
                    <a:pt x="354" y="366"/>
                  </a:lnTo>
                  <a:lnTo>
                    <a:pt x="342" y="360"/>
                  </a:lnTo>
                  <a:lnTo>
                    <a:pt x="342" y="348"/>
                  </a:lnTo>
                  <a:lnTo>
                    <a:pt x="336" y="330"/>
                  </a:lnTo>
                  <a:lnTo>
                    <a:pt x="348" y="306"/>
                  </a:lnTo>
                  <a:lnTo>
                    <a:pt x="360" y="294"/>
                  </a:lnTo>
                  <a:lnTo>
                    <a:pt x="360" y="282"/>
                  </a:lnTo>
                  <a:lnTo>
                    <a:pt x="342" y="270"/>
                  </a:lnTo>
                  <a:lnTo>
                    <a:pt x="342" y="264"/>
                  </a:lnTo>
                  <a:lnTo>
                    <a:pt x="330" y="264"/>
                  </a:lnTo>
                  <a:lnTo>
                    <a:pt x="312" y="270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88" y="270"/>
                  </a:lnTo>
                  <a:lnTo>
                    <a:pt x="282" y="270"/>
                  </a:lnTo>
                  <a:lnTo>
                    <a:pt x="276" y="264"/>
                  </a:lnTo>
                  <a:lnTo>
                    <a:pt x="270" y="264"/>
                  </a:lnTo>
                  <a:lnTo>
                    <a:pt x="252" y="270"/>
                  </a:lnTo>
                  <a:lnTo>
                    <a:pt x="246" y="270"/>
                  </a:lnTo>
                  <a:lnTo>
                    <a:pt x="240" y="270"/>
                  </a:lnTo>
                  <a:lnTo>
                    <a:pt x="228" y="270"/>
                  </a:lnTo>
                  <a:lnTo>
                    <a:pt x="216" y="276"/>
                  </a:lnTo>
                  <a:lnTo>
                    <a:pt x="210" y="270"/>
                  </a:lnTo>
                  <a:lnTo>
                    <a:pt x="204" y="270"/>
                  </a:lnTo>
                  <a:lnTo>
                    <a:pt x="198" y="276"/>
                  </a:lnTo>
                  <a:lnTo>
                    <a:pt x="192" y="276"/>
                  </a:lnTo>
                  <a:lnTo>
                    <a:pt x="186" y="282"/>
                  </a:lnTo>
                  <a:lnTo>
                    <a:pt x="180" y="288"/>
                  </a:lnTo>
                  <a:lnTo>
                    <a:pt x="174" y="300"/>
                  </a:lnTo>
                  <a:lnTo>
                    <a:pt x="168" y="306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8" y="330"/>
                  </a:lnTo>
                  <a:lnTo>
                    <a:pt x="162" y="336"/>
                  </a:lnTo>
                  <a:lnTo>
                    <a:pt x="156" y="342"/>
                  </a:lnTo>
                  <a:lnTo>
                    <a:pt x="156" y="348"/>
                  </a:lnTo>
                  <a:lnTo>
                    <a:pt x="156" y="354"/>
                  </a:lnTo>
                  <a:lnTo>
                    <a:pt x="150" y="366"/>
                  </a:lnTo>
                  <a:lnTo>
                    <a:pt x="150" y="372"/>
                  </a:lnTo>
                  <a:lnTo>
                    <a:pt x="144" y="366"/>
                  </a:lnTo>
                  <a:lnTo>
                    <a:pt x="132" y="366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20" y="348"/>
                  </a:lnTo>
                  <a:lnTo>
                    <a:pt x="102" y="330"/>
                  </a:lnTo>
                  <a:lnTo>
                    <a:pt x="96" y="318"/>
                  </a:lnTo>
                  <a:lnTo>
                    <a:pt x="96" y="282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0" y="258"/>
                  </a:lnTo>
                  <a:lnTo>
                    <a:pt x="84" y="252"/>
                  </a:lnTo>
                  <a:lnTo>
                    <a:pt x="66" y="258"/>
                  </a:lnTo>
                  <a:lnTo>
                    <a:pt x="60" y="246"/>
                  </a:lnTo>
                  <a:lnTo>
                    <a:pt x="30" y="252"/>
                  </a:lnTo>
                  <a:lnTo>
                    <a:pt x="18" y="246"/>
                  </a:lnTo>
                  <a:lnTo>
                    <a:pt x="0" y="240"/>
                  </a:lnTo>
                  <a:lnTo>
                    <a:pt x="0" y="234"/>
                  </a:lnTo>
                  <a:lnTo>
                    <a:pt x="0" y="210"/>
                  </a:lnTo>
                  <a:lnTo>
                    <a:pt x="6" y="204"/>
                  </a:lnTo>
                  <a:lnTo>
                    <a:pt x="18" y="192"/>
                  </a:lnTo>
                  <a:lnTo>
                    <a:pt x="18" y="144"/>
                  </a:lnTo>
                  <a:lnTo>
                    <a:pt x="24" y="126"/>
                  </a:lnTo>
                  <a:lnTo>
                    <a:pt x="36" y="126"/>
                  </a:lnTo>
                  <a:lnTo>
                    <a:pt x="54" y="120"/>
                  </a:lnTo>
                  <a:lnTo>
                    <a:pt x="54" y="126"/>
                  </a:lnTo>
                  <a:lnTo>
                    <a:pt x="132" y="114"/>
                  </a:lnTo>
                  <a:lnTo>
                    <a:pt x="144" y="120"/>
                  </a:lnTo>
                  <a:lnTo>
                    <a:pt x="150" y="132"/>
                  </a:lnTo>
                  <a:lnTo>
                    <a:pt x="180" y="126"/>
                  </a:lnTo>
                  <a:lnTo>
                    <a:pt x="210" y="120"/>
                  </a:lnTo>
                  <a:lnTo>
                    <a:pt x="240" y="120"/>
                  </a:lnTo>
                  <a:lnTo>
                    <a:pt x="258" y="120"/>
                  </a:lnTo>
                  <a:lnTo>
                    <a:pt x="270" y="126"/>
                  </a:lnTo>
                  <a:lnTo>
                    <a:pt x="276" y="132"/>
                  </a:lnTo>
                  <a:lnTo>
                    <a:pt x="282" y="138"/>
                  </a:lnTo>
                  <a:lnTo>
                    <a:pt x="282" y="156"/>
                  </a:lnTo>
                  <a:lnTo>
                    <a:pt x="288" y="186"/>
                  </a:lnTo>
                  <a:lnTo>
                    <a:pt x="312" y="192"/>
                  </a:lnTo>
                  <a:lnTo>
                    <a:pt x="318" y="198"/>
                  </a:lnTo>
                  <a:lnTo>
                    <a:pt x="324" y="204"/>
                  </a:lnTo>
                  <a:lnTo>
                    <a:pt x="330" y="210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66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86" y="210"/>
                  </a:lnTo>
                  <a:lnTo>
                    <a:pt x="498" y="198"/>
                  </a:lnTo>
                  <a:lnTo>
                    <a:pt x="504" y="174"/>
                  </a:lnTo>
                  <a:lnTo>
                    <a:pt x="516" y="162"/>
                  </a:lnTo>
                  <a:lnTo>
                    <a:pt x="516" y="138"/>
                  </a:lnTo>
                  <a:lnTo>
                    <a:pt x="522" y="132"/>
                  </a:lnTo>
                  <a:lnTo>
                    <a:pt x="564" y="132"/>
                  </a:lnTo>
                  <a:lnTo>
                    <a:pt x="564" y="114"/>
                  </a:lnTo>
                  <a:lnTo>
                    <a:pt x="582" y="114"/>
                  </a:lnTo>
                  <a:lnTo>
                    <a:pt x="594" y="114"/>
                  </a:lnTo>
                  <a:lnTo>
                    <a:pt x="606" y="114"/>
                  </a:lnTo>
                  <a:lnTo>
                    <a:pt x="612" y="114"/>
                  </a:lnTo>
                  <a:lnTo>
                    <a:pt x="630" y="114"/>
                  </a:lnTo>
                  <a:lnTo>
                    <a:pt x="636" y="114"/>
                  </a:lnTo>
                  <a:lnTo>
                    <a:pt x="648" y="114"/>
                  </a:lnTo>
                  <a:lnTo>
                    <a:pt x="654" y="114"/>
                  </a:lnTo>
                  <a:lnTo>
                    <a:pt x="660" y="120"/>
                  </a:lnTo>
                  <a:lnTo>
                    <a:pt x="672" y="120"/>
                  </a:lnTo>
                  <a:lnTo>
                    <a:pt x="684" y="120"/>
                  </a:lnTo>
                  <a:lnTo>
                    <a:pt x="690" y="120"/>
                  </a:lnTo>
                  <a:lnTo>
                    <a:pt x="702" y="120"/>
                  </a:lnTo>
                  <a:lnTo>
                    <a:pt x="708" y="120"/>
                  </a:lnTo>
                  <a:lnTo>
                    <a:pt x="726" y="126"/>
                  </a:lnTo>
                  <a:lnTo>
                    <a:pt x="732" y="126"/>
                  </a:lnTo>
                  <a:lnTo>
                    <a:pt x="738" y="126"/>
                  </a:lnTo>
                  <a:lnTo>
                    <a:pt x="750" y="126"/>
                  </a:lnTo>
                  <a:lnTo>
                    <a:pt x="756" y="126"/>
                  </a:lnTo>
                  <a:lnTo>
                    <a:pt x="768" y="126"/>
                  </a:lnTo>
                  <a:lnTo>
                    <a:pt x="780" y="126"/>
                  </a:lnTo>
                  <a:lnTo>
                    <a:pt x="786" y="120"/>
                  </a:lnTo>
                  <a:lnTo>
                    <a:pt x="792" y="120"/>
                  </a:lnTo>
                  <a:lnTo>
                    <a:pt x="810" y="120"/>
                  </a:lnTo>
                  <a:lnTo>
                    <a:pt x="822" y="120"/>
                  </a:lnTo>
                  <a:lnTo>
                    <a:pt x="846" y="126"/>
                  </a:lnTo>
                  <a:lnTo>
                    <a:pt x="858" y="126"/>
                  </a:lnTo>
                  <a:lnTo>
                    <a:pt x="870" y="132"/>
                  </a:lnTo>
                  <a:lnTo>
                    <a:pt x="882" y="132"/>
                  </a:lnTo>
                  <a:lnTo>
                    <a:pt x="894" y="132"/>
                  </a:lnTo>
                  <a:lnTo>
                    <a:pt x="900" y="132"/>
                  </a:lnTo>
                  <a:lnTo>
                    <a:pt x="912" y="132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36" y="132"/>
                  </a:lnTo>
                  <a:lnTo>
                    <a:pt x="960" y="132"/>
                  </a:lnTo>
                  <a:lnTo>
                    <a:pt x="966" y="144"/>
                  </a:lnTo>
                  <a:lnTo>
                    <a:pt x="972" y="144"/>
                  </a:lnTo>
                  <a:lnTo>
                    <a:pt x="1002" y="144"/>
                  </a:lnTo>
                  <a:lnTo>
                    <a:pt x="1020" y="144"/>
                  </a:lnTo>
                  <a:lnTo>
                    <a:pt x="1068" y="138"/>
                  </a:lnTo>
                  <a:lnTo>
                    <a:pt x="1110" y="132"/>
                  </a:lnTo>
                  <a:lnTo>
                    <a:pt x="1110" y="126"/>
                  </a:lnTo>
                  <a:lnTo>
                    <a:pt x="1116" y="120"/>
                  </a:lnTo>
                  <a:lnTo>
                    <a:pt x="1122" y="108"/>
                  </a:lnTo>
                  <a:lnTo>
                    <a:pt x="1134" y="96"/>
                  </a:lnTo>
                  <a:lnTo>
                    <a:pt x="1146" y="60"/>
                  </a:lnTo>
                  <a:lnTo>
                    <a:pt x="1158" y="54"/>
                  </a:lnTo>
                  <a:lnTo>
                    <a:pt x="1170" y="48"/>
                  </a:lnTo>
                  <a:lnTo>
                    <a:pt x="1188" y="42"/>
                  </a:lnTo>
                  <a:lnTo>
                    <a:pt x="1200" y="36"/>
                  </a:lnTo>
                  <a:lnTo>
                    <a:pt x="1212" y="36"/>
                  </a:lnTo>
                  <a:lnTo>
                    <a:pt x="1236" y="30"/>
                  </a:lnTo>
                  <a:lnTo>
                    <a:pt x="1236" y="24"/>
                  </a:lnTo>
                  <a:lnTo>
                    <a:pt x="1278" y="18"/>
                  </a:lnTo>
                  <a:lnTo>
                    <a:pt x="1290" y="18"/>
                  </a:lnTo>
                  <a:lnTo>
                    <a:pt x="1302" y="12"/>
                  </a:lnTo>
                  <a:lnTo>
                    <a:pt x="1314" y="0"/>
                  </a:lnTo>
                  <a:lnTo>
                    <a:pt x="1332" y="0"/>
                  </a:lnTo>
                  <a:lnTo>
                    <a:pt x="1338" y="24"/>
                  </a:lnTo>
                  <a:lnTo>
                    <a:pt x="1344" y="30"/>
                  </a:lnTo>
                  <a:lnTo>
                    <a:pt x="1350" y="42"/>
                  </a:lnTo>
                  <a:lnTo>
                    <a:pt x="1356" y="48"/>
                  </a:lnTo>
                  <a:lnTo>
                    <a:pt x="1356" y="78"/>
                  </a:lnTo>
                  <a:lnTo>
                    <a:pt x="1350" y="96"/>
                  </a:lnTo>
                  <a:lnTo>
                    <a:pt x="1338" y="108"/>
                  </a:lnTo>
                  <a:lnTo>
                    <a:pt x="1338" y="114"/>
                  </a:lnTo>
                  <a:lnTo>
                    <a:pt x="1338" y="120"/>
                  </a:lnTo>
                  <a:lnTo>
                    <a:pt x="1338" y="126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398" y="114"/>
                  </a:lnTo>
                  <a:lnTo>
                    <a:pt x="1416" y="120"/>
                  </a:lnTo>
                  <a:lnTo>
                    <a:pt x="1434" y="126"/>
                  </a:lnTo>
                  <a:lnTo>
                    <a:pt x="1458" y="132"/>
                  </a:lnTo>
                  <a:lnTo>
                    <a:pt x="1458" y="138"/>
                  </a:lnTo>
                  <a:lnTo>
                    <a:pt x="1512" y="138"/>
                  </a:lnTo>
                  <a:lnTo>
                    <a:pt x="1512" y="132"/>
                  </a:lnTo>
                  <a:lnTo>
                    <a:pt x="1524" y="138"/>
                  </a:lnTo>
                  <a:lnTo>
                    <a:pt x="1542" y="138"/>
                  </a:lnTo>
                  <a:lnTo>
                    <a:pt x="1542" y="150"/>
                  </a:lnTo>
                  <a:lnTo>
                    <a:pt x="1542" y="162"/>
                  </a:lnTo>
                  <a:lnTo>
                    <a:pt x="1548" y="174"/>
                  </a:lnTo>
                  <a:lnTo>
                    <a:pt x="1548" y="180"/>
                  </a:lnTo>
                  <a:lnTo>
                    <a:pt x="1554" y="222"/>
                  </a:lnTo>
                  <a:lnTo>
                    <a:pt x="1554" y="258"/>
                  </a:lnTo>
                  <a:lnTo>
                    <a:pt x="1554" y="276"/>
                  </a:lnTo>
                  <a:lnTo>
                    <a:pt x="1554" y="282"/>
                  </a:lnTo>
                  <a:lnTo>
                    <a:pt x="1554" y="294"/>
                  </a:lnTo>
                  <a:lnTo>
                    <a:pt x="1554" y="306"/>
                  </a:lnTo>
                  <a:lnTo>
                    <a:pt x="1554" y="324"/>
                  </a:lnTo>
                  <a:lnTo>
                    <a:pt x="1554" y="330"/>
                  </a:lnTo>
                  <a:lnTo>
                    <a:pt x="1548" y="330"/>
                  </a:lnTo>
                  <a:lnTo>
                    <a:pt x="1548" y="336"/>
                  </a:lnTo>
                  <a:lnTo>
                    <a:pt x="1548" y="342"/>
                  </a:lnTo>
                  <a:lnTo>
                    <a:pt x="1542" y="336"/>
                  </a:lnTo>
                  <a:lnTo>
                    <a:pt x="1542" y="330"/>
                  </a:lnTo>
                  <a:lnTo>
                    <a:pt x="1536" y="330"/>
                  </a:lnTo>
                  <a:lnTo>
                    <a:pt x="1530" y="330"/>
                  </a:lnTo>
                  <a:lnTo>
                    <a:pt x="1530" y="336"/>
                  </a:lnTo>
                  <a:lnTo>
                    <a:pt x="1536" y="342"/>
                  </a:lnTo>
                  <a:lnTo>
                    <a:pt x="1530" y="342"/>
                  </a:lnTo>
                  <a:lnTo>
                    <a:pt x="1518" y="348"/>
                  </a:lnTo>
                  <a:lnTo>
                    <a:pt x="1512" y="354"/>
                  </a:lnTo>
                  <a:lnTo>
                    <a:pt x="1506" y="354"/>
                  </a:lnTo>
                  <a:lnTo>
                    <a:pt x="1500" y="354"/>
                  </a:lnTo>
                  <a:lnTo>
                    <a:pt x="1494" y="354"/>
                  </a:lnTo>
                  <a:lnTo>
                    <a:pt x="1494" y="360"/>
                  </a:lnTo>
                  <a:lnTo>
                    <a:pt x="1488" y="360"/>
                  </a:lnTo>
                  <a:lnTo>
                    <a:pt x="1488" y="366"/>
                  </a:lnTo>
                  <a:lnTo>
                    <a:pt x="1488" y="372"/>
                  </a:lnTo>
                  <a:lnTo>
                    <a:pt x="1482" y="372"/>
                  </a:lnTo>
                  <a:lnTo>
                    <a:pt x="1476" y="372"/>
                  </a:lnTo>
                  <a:lnTo>
                    <a:pt x="1470" y="372"/>
                  </a:lnTo>
                  <a:lnTo>
                    <a:pt x="1470" y="378"/>
                  </a:lnTo>
                  <a:lnTo>
                    <a:pt x="1470" y="384"/>
                  </a:lnTo>
                  <a:lnTo>
                    <a:pt x="1470" y="390"/>
                  </a:lnTo>
                  <a:lnTo>
                    <a:pt x="1464" y="402"/>
                  </a:lnTo>
                  <a:lnTo>
                    <a:pt x="1446" y="402"/>
                  </a:lnTo>
                  <a:lnTo>
                    <a:pt x="1440" y="372"/>
                  </a:lnTo>
                  <a:lnTo>
                    <a:pt x="1410" y="372"/>
                  </a:lnTo>
                  <a:lnTo>
                    <a:pt x="1380" y="372"/>
                  </a:lnTo>
                  <a:lnTo>
                    <a:pt x="1374" y="372"/>
                  </a:lnTo>
                  <a:lnTo>
                    <a:pt x="1368" y="378"/>
                  </a:lnTo>
                  <a:lnTo>
                    <a:pt x="1362" y="378"/>
                  </a:lnTo>
                  <a:lnTo>
                    <a:pt x="1356" y="378"/>
                  </a:lnTo>
                  <a:lnTo>
                    <a:pt x="1350" y="384"/>
                  </a:lnTo>
                  <a:lnTo>
                    <a:pt x="1350" y="390"/>
                  </a:lnTo>
                  <a:lnTo>
                    <a:pt x="1344" y="390"/>
                  </a:lnTo>
                  <a:lnTo>
                    <a:pt x="1338" y="390"/>
                  </a:lnTo>
                  <a:lnTo>
                    <a:pt x="1332" y="390"/>
                  </a:lnTo>
                  <a:lnTo>
                    <a:pt x="1332" y="396"/>
                  </a:lnTo>
                  <a:lnTo>
                    <a:pt x="1332" y="390"/>
                  </a:lnTo>
                  <a:lnTo>
                    <a:pt x="1326" y="402"/>
                  </a:lnTo>
                  <a:lnTo>
                    <a:pt x="1320" y="402"/>
                  </a:lnTo>
                  <a:lnTo>
                    <a:pt x="1302" y="474"/>
                  </a:lnTo>
                  <a:lnTo>
                    <a:pt x="1308" y="480"/>
                  </a:lnTo>
                  <a:lnTo>
                    <a:pt x="1314" y="480"/>
                  </a:lnTo>
                  <a:lnTo>
                    <a:pt x="1308" y="498"/>
                  </a:lnTo>
                  <a:lnTo>
                    <a:pt x="1308" y="504"/>
                  </a:lnTo>
                  <a:lnTo>
                    <a:pt x="1314" y="510"/>
                  </a:lnTo>
                  <a:lnTo>
                    <a:pt x="1308" y="510"/>
                  </a:lnTo>
                  <a:lnTo>
                    <a:pt x="1308" y="516"/>
                  </a:lnTo>
                  <a:lnTo>
                    <a:pt x="1302" y="516"/>
                  </a:lnTo>
                  <a:lnTo>
                    <a:pt x="1296" y="510"/>
                  </a:lnTo>
                  <a:lnTo>
                    <a:pt x="1296" y="516"/>
                  </a:lnTo>
                  <a:lnTo>
                    <a:pt x="1290" y="540"/>
                  </a:lnTo>
                  <a:lnTo>
                    <a:pt x="1290" y="552"/>
                  </a:lnTo>
                  <a:lnTo>
                    <a:pt x="1284" y="558"/>
                  </a:lnTo>
                  <a:lnTo>
                    <a:pt x="1290" y="576"/>
                  </a:lnTo>
                  <a:lnTo>
                    <a:pt x="1290" y="600"/>
                  </a:lnTo>
                  <a:lnTo>
                    <a:pt x="1284" y="618"/>
                  </a:lnTo>
                  <a:lnTo>
                    <a:pt x="1290" y="624"/>
                  </a:lnTo>
                  <a:lnTo>
                    <a:pt x="1284" y="630"/>
                  </a:lnTo>
                  <a:lnTo>
                    <a:pt x="1278" y="630"/>
                  </a:lnTo>
                  <a:lnTo>
                    <a:pt x="1272" y="630"/>
                  </a:lnTo>
                  <a:lnTo>
                    <a:pt x="1266" y="636"/>
                  </a:lnTo>
                  <a:lnTo>
                    <a:pt x="1260" y="642"/>
                  </a:lnTo>
                  <a:lnTo>
                    <a:pt x="1260" y="636"/>
                  </a:lnTo>
                  <a:lnTo>
                    <a:pt x="1254" y="636"/>
                  </a:lnTo>
                  <a:lnTo>
                    <a:pt x="1248" y="636"/>
                  </a:lnTo>
                  <a:lnTo>
                    <a:pt x="1248" y="642"/>
                  </a:lnTo>
                  <a:lnTo>
                    <a:pt x="1242" y="642"/>
                  </a:lnTo>
                  <a:lnTo>
                    <a:pt x="1242" y="648"/>
                  </a:lnTo>
                  <a:lnTo>
                    <a:pt x="1236" y="654"/>
                  </a:lnTo>
                  <a:lnTo>
                    <a:pt x="1230" y="654"/>
                  </a:lnTo>
                  <a:lnTo>
                    <a:pt x="1224" y="654"/>
                  </a:lnTo>
                  <a:lnTo>
                    <a:pt x="1218" y="660"/>
                  </a:lnTo>
                  <a:lnTo>
                    <a:pt x="1212" y="660"/>
                  </a:lnTo>
                  <a:lnTo>
                    <a:pt x="1206" y="660"/>
                  </a:lnTo>
                  <a:lnTo>
                    <a:pt x="1200" y="660"/>
                  </a:lnTo>
                  <a:lnTo>
                    <a:pt x="1200" y="666"/>
                  </a:lnTo>
                  <a:lnTo>
                    <a:pt x="1194" y="666"/>
                  </a:lnTo>
                  <a:lnTo>
                    <a:pt x="1188" y="666"/>
                  </a:lnTo>
                  <a:lnTo>
                    <a:pt x="1182" y="672"/>
                  </a:lnTo>
                  <a:lnTo>
                    <a:pt x="1176" y="672"/>
                  </a:lnTo>
                  <a:lnTo>
                    <a:pt x="1170" y="672"/>
                  </a:lnTo>
                  <a:lnTo>
                    <a:pt x="1164" y="678"/>
                  </a:lnTo>
                  <a:lnTo>
                    <a:pt x="1170" y="678"/>
                  </a:lnTo>
                  <a:lnTo>
                    <a:pt x="1164" y="684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52" y="684"/>
                  </a:lnTo>
                  <a:lnTo>
                    <a:pt x="1152" y="690"/>
                  </a:lnTo>
                  <a:lnTo>
                    <a:pt x="1146" y="690"/>
                  </a:lnTo>
                  <a:lnTo>
                    <a:pt x="1140" y="690"/>
                  </a:lnTo>
                  <a:lnTo>
                    <a:pt x="1134" y="696"/>
                  </a:lnTo>
                  <a:lnTo>
                    <a:pt x="1128" y="696"/>
                  </a:lnTo>
                  <a:lnTo>
                    <a:pt x="1122" y="702"/>
                  </a:lnTo>
                  <a:lnTo>
                    <a:pt x="1116" y="702"/>
                  </a:lnTo>
                  <a:lnTo>
                    <a:pt x="1110" y="708"/>
                  </a:lnTo>
                  <a:lnTo>
                    <a:pt x="1104" y="708"/>
                  </a:lnTo>
                  <a:lnTo>
                    <a:pt x="1098" y="708"/>
                  </a:lnTo>
                  <a:lnTo>
                    <a:pt x="1092" y="708"/>
                  </a:lnTo>
                  <a:lnTo>
                    <a:pt x="1092" y="714"/>
                  </a:lnTo>
                  <a:lnTo>
                    <a:pt x="1086" y="720"/>
                  </a:lnTo>
                  <a:lnTo>
                    <a:pt x="1080" y="720"/>
                  </a:lnTo>
                  <a:lnTo>
                    <a:pt x="1074" y="720"/>
                  </a:lnTo>
                  <a:lnTo>
                    <a:pt x="1068" y="720"/>
                  </a:lnTo>
                  <a:lnTo>
                    <a:pt x="1062" y="720"/>
                  </a:lnTo>
                  <a:lnTo>
                    <a:pt x="1050" y="726"/>
                  </a:lnTo>
                  <a:lnTo>
                    <a:pt x="1044" y="726"/>
                  </a:lnTo>
                  <a:lnTo>
                    <a:pt x="1038" y="732"/>
                  </a:lnTo>
                  <a:lnTo>
                    <a:pt x="1026" y="732"/>
                  </a:lnTo>
                  <a:lnTo>
                    <a:pt x="1020" y="732"/>
                  </a:lnTo>
                  <a:lnTo>
                    <a:pt x="1014" y="738"/>
                  </a:lnTo>
                  <a:lnTo>
                    <a:pt x="1008" y="738"/>
                  </a:lnTo>
                  <a:lnTo>
                    <a:pt x="1002" y="738"/>
                  </a:lnTo>
                  <a:lnTo>
                    <a:pt x="996" y="738"/>
                  </a:lnTo>
                  <a:lnTo>
                    <a:pt x="990" y="738"/>
                  </a:lnTo>
                  <a:lnTo>
                    <a:pt x="990" y="732"/>
                  </a:lnTo>
                  <a:lnTo>
                    <a:pt x="984" y="732"/>
                  </a:lnTo>
                  <a:lnTo>
                    <a:pt x="978" y="738"/>
                  </a:lnTo>
                  <a:lnTo>
                    <a:pt x="978" y="744"/>
                  </a:lnTo>
                  <a:lnTo>
                    <a:pt x="984" y="744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8" y="756"/>
                  </a:lnTo>
                  <a:lnTo>
                    <a:pt x="972" y="756"/>
                  </a:lnTo>
                  <a:lnTo>
                    <a:pt x="972" y="762"/>
                  </a:lnTo>
                  <a:lnTo>
                    <a:pt x="966" y="768"/>
                  </a:lnTo>
                  <a:lnTo>
                    <a:pt x="966" y="762"/>
                  </a:lnTo>
                  <a:lnTo>
                    <a:pt x="960" y="762"/>
                  </a:lnTo>
                  <a:lnTo>
                    <a:pt x="954" y="768"/>
                  </a:lnTo>
                  <a:lnTo>
                    <a:pt x="954" y="774"/>
                  </a:lnTo>
                  <a:lnTo>
                    <a:pt x="948" y="774"/>
                  </a:lnTo>
                  <a:lnTo>
                    <a:pt x="948" y="780"/>
                  </a:lnTo>
                  <a:lnTo>
                    <a:pt x="948" y="786"/>
                  </a:lnTo>
                  <a:lnTo>
                    <a:pt x="942" y="786"/>
                  </a:lnTo>
                  <a:lnTo>
                    <a:pt x="942" y="792"/>
                  </a:lnTo>
                  <a:lnTo>
                    <a:pt x="936" y="792"/>
                  </a:lnTo>
                  <a:lnTo>
                    <a:pt x="942" y="798"/>
                  </a:lnTo>
                  <a:lnTo>
                    <a:pt x="942" y="804"/>
                  </a:lnTo>
                  <a:lnTo>
                    <a:pt x="942" y="810"/>
                  </a:lnTo>
                  <a:lnTo>
                    <a:pt x="948" y="810"/>
                  </a:lnTo>
                  <a:lnTo>
                    <a:pt x="942" y="816"/>
                  </a:lnTo>
                  <a:lnTo>
                    <a:pt x="948" y="816"/>
                  </a:lnTo>
                  <a:lnTo>
                    <a:pt x="948" y="822"/>
                  </a:lnTo>
                  <a:lnTo>
                    <a:pt x="954" y="822"/>
                  </a:lnTo>
                  <a:lnTo>
                    <a:pt x="960" y="828"/>
                  </a:lnTo>
                  <a:lnTo>
                    <a:pt x="960" y="834"/>
                  </a:lnTo>
                  <a:lnTo>
                    <a:pt x="966" y="834"/>
                  </a:lnTo>
                  <a:lnTo>
                    <a:pt x="960" y="840"/>
                  </a:lnTo>
                  <a:lnTo>
                    <a:pt x="966" y="846"/>
                  </a:lnTo>
                  <a:lnTo>
                    <a:pt x="966" y="840"/>
                  </a:lnTo>
                  <a:lnTo>
                    <a:pt x="972" y="840"/>
                  </a:lnTo>
                  <a:lnTo>
                    <a:pt x="990" y="840"/>
                  </a:lnTo>
                  <a:lnTo>
                    <a:pt x="1002" y="834"/>
                  </a:lnTo>
                  <a:lnTo>
                    <a:pt x="1020" y="828"/>
                  </a:lnTo>
                  <a:lnTo>
                    <a:pt x="1032" y="828"/>
                  </a:lnTo>
                  <a:lnTo>
                    <a:pt x="1050" y="828"/>
                  </a:lnTo>
                  <a:lnTo>
                    <a:pt x="1062" y="846"/>
                  </a:lnTo>
                  <a:lnTo>
                    <a:pt x="1074" y="876"/>
                  </a:lnTo>
                  <a:lnTo>
                    <a:pt x="1068" y="900"/>
                  </a:lnTo>
                  <a:lnTo>
                    <a:pt x="1074" y="912"/>
                  </a:lnTo>
                  <a:lnTo>
                    <a:pt x="1074" y="936"/>
                  </a:lnTo>
                  <a:lnTo>
                    <a:pt x="1068" y="942"/>
                  </a:lnTo>
                  <a:lnTo>
                    <a:pt x="1062" y="954"/>
                  </a:lnTo>
                  <a:lnTo>
                    <a:pt x="1056" y="978"/>
                  </a:lnTo>
                  <a:lnTo>
                    <a:pt x="1056" y="996"/>
                  </a:lnTo>
                  <a:lnTo>
                    <a:pt x="1068" y="990"/>
                  </a:lnTo>
                  <a:lnTo>
                    <a:pt x="1074" y="990"/>
                  </a:lnTo>
                  <a:lnTo>
                    <a:pt x="1074" y="1008"/>
                  </a:lnTo>
                  <a:lnTo>
                    <a:pt x="1080" y="1008"/>
                  </a:lnTo>
                  <a:lnTo>
                    <a:pt x="1092" y="1014"/>
                  </a:lnTo>
                  <a:lnTo>
                    <a:pt x="1110" y="1044"/>
                  </a:lnTo>
                  <a:lnTo>
                    <a:pt x="1110" y="1062"/>
                  </a:lnTo>
                  <a:lnTo>
                    <a:pt x="1128" y="1068"/>
                  </a:lnTo>
                  <a:lnTo>
                    <a:pt x="1128" y="1092"/>
                  </a:lnTo>
                  <a:lnTo>
                    <a:pt x="1134" y="1098"/>
                  </a:lnTo>
                  <a:lnTo>
                    <a:pt x="1158" y="1122"/>
                  </a:lnTo>
                  <a:lnTo>
                    <a:pt x="1188" y="1122"/>
                  </a:lnTo>
                  <a:lnTo>
                    <a:pt x="1188" y="1128"/>
                  </a:lnTo>
                  <a:lnTo>
                    <a:pt x="1200" y="1134"/>
                  </a:lnTo>
                  <a:lnTo>
                    <a:pt x="1206" y="1134"/>
                  </a:lnTo>
                  <a:lnTo>
                    <a:pt x="1206" y="1128"/>
                  </a:lnTo>
                  <a:lnTo>
                    <a:pt x="1212" y="1128"/>
                  </a:lnTo>
                  <a:lnTo>
                    <a:pt x="1218" y="1128"/>
                  </a:lnTo>
                  <a:lnTo>
                    <a:pt x="1224" y="1122"/>
                  </a:lnTo>
                  <a:lnTo>
                    <a:pt x="1224" y="1128"/>
                  </a:lnTo>
                  <a:lnTo>
                    <a:pt x="1230" y="1128"/>
                  </a:lnTo>
                  <a:lnTo>
                    <a:pt x="1236" y="1128"/>
                  </a:lnTo>
                  <a:lnTo>
                    <a:pt x="1236" y="1122"/>
                  </a:lnTo>
                  <a:lnTo>
                    <a:pt x="1242" y="1122"/>
                  </a:lnTo>
                  <a:lnTo>
                    <a:pt x="1248" y="1128"/>
                  </a:lnTo>
                  <a:lnTo>
                    <a:pt x="1254" y="1128"/>
                  </a:lnTo>
                  <a:lnTo>
                    <a:pt x="1260" y="1134"/>
                  </a:lnTo>
                  <a:lnTo>
                    <a:pt x="1260" y="1140"/>
                  </a:lnTo>
                  <a:lnTo>
                    <a:pt x="1266" y="1140"/>
                  </a:lnTo>
                  <a:lnTo>
                    <a:pt x="1272" y="1140"/>
                  </a:lnTo>
                  <a:lnTo>
                    <a:pt x="1278" y="1140"/>
                  </a:lnTo>
                  <a:lnTo>
                    <a:pt x="1284" y="1140"/>
                  </a:lnTo>
                  <a:lnTo>
                    <a:pt x="1290" y="1146"/>
                  </a:lnTo>
                  <a:lnTo>
                    <a:pt x="1290" y="1152"/>
                  </a:lnTo>
                  <a:lnTo>
                    <a:pt x="1296" y="1146"/>
                  </a:lnTo>
                  <a:lnTo>
                    <a:pt x="1296" y="1152"/>
                  </a:lnTo>
                  <a:lnTo>
                    <a:pt x="1308" y="1152"/>
                  </a:lnTo>
                  <a:lnTo>
                    <a:pt x="1314" y="1152"/>
                  </a:lnTo>
                  <a:lnTo>
                    <a:pt x="1320" y="1152"/>
                  </a:lnTo>
                  <a:lnTo>
                    <a:pt x="1332" y="1152"/>
                  </a:lnTo>
                  <a:lnTo>
                    <a:pt x="1338" y="1152"/>
                  </a:lnTo>
                  <a:lnTo>
                    <a:pt x="1344" y="1152"/>
                  </a:lnTo>
                  <a:lnTo>
                    <a:pt x="1344" y="1158"/>
                  </a:lnTo>
                  <a:lnTo>
                    <a:pt x="1350" y="1158"/>
                  </a:lnTo>
                  <a:lnTo>
                    <a:pt x="1356" y="1158"/>
                  </a:lnTo>
                  <a:lnTo>
                    <a:pt x="1362" y="1158"/>
                  </a:lnTo>
                  <a:lnTo>
                    <a:pt x="1368" y="1158"/>
                  </a:lnTo>
                  <a:lnTo>
                    <a:pt x="1374" y="1164"/>
                  </a:lnTo>
                  <a:lnTo>
                    <a:pt x="1380" y="1164"/>
                  </a:lnTo>
                  <a:lnTo>
                    <a:pt x="1386" y="1170"/>
                  </a:lnTo>
                  <a:lnTo>
                    <a:pt x="1392" y="1170"/>
                  </a:lnTo>
                  <a:lnTo>
                    <a:pt x="1398" y="1164"/>
                  </a:lnTo>
                  <a:lnTo>
                    <a:pt x="1404" y="1164"/>
                  </a:lnTo>
                  <a:lnTo>
                    <a:pt x="1410" y="1164"/>
                  </a:lnTo>
                  <a:lnTo>
                    <a:pt x="1416" y="1164"/>
                  </a:lnTo>
                  <a:lnTo>
                    <a:pt x="1416" y="1170"/>
                  </a:lnTo>
                  <a:lnTo>
                    <a:pt x="1422" y="1176"/>
                  </a:lnTo>
                  <a:lnTo>
                    <a:pt x="1416" y="1176"/>
                  </a:lnTo>
                  <a:lnTo>
                    <a:pt x="1416" y="1182"/>
                  </a:lnTo>
                  <a:lnTo>
                    <a:pt x="1410" y="1188"/>
                  </a:lnTo>
                  <a:lnTo>
                    <a:pt x="1404" y="1194"/>
                  </a:lnTo>
                  <a:lnTo>
                    <a:pt x="1404" y="1200"/>
                  </a:lnTo>
                  <a:lnTo>
                    <a:pt x="1404" y="1206"/>
                  </a:lnTo>
                  <a:lnTo>
                    <a:pt x="1398" y="1212"/>
                  </a:lnTo>
                  <a:lnTo>
                    <a:pt x="1398" y="1206"/>
                  </a:lnTo>
                  <a:lnTo>
                    <a:pt x="1392" y="1206"/>
                  </a:lnTo>
                  <a:lnTo>
                    <a:pt x="1386" y="1206"/>
                  </a:lnTo>
                  <a:lnTo>
                    <a:pt x="1380" y="1212"/>
                  </a:lnTo>
                  <a:lnTo>
                    <a:pt x="1374" y="1212"/>
                  </a:lnTo>
                  <a:lnTo>
                    <a:pt x="1368" y="1218"/>
                  </a:lnTo>
                  <a:lnTo>
                    <a:pt x="1362" y="1218"/>
                  </a:lnTo>
                  <a:lnTo>
                    <a:pt x="1362" y="1224"/>
                  </a:lnTo>
                  <a:lnTo>
                    <a:pt x="1356" y="1230"/>
                  </a:lnTo>
                  <a:lnTo>
                    <a:pt x="1350" y="1230"/>
                  </a:lnTo>
                  <a:lnTo>
                    <a:pt x="1344" y="1236"/>
                  </a:lnTo>
                  <a:lnTo>
                    <a:pt x="1338" y="1230"/>
                  </a:lnTo>
                  <a:lnTo>
                    <a:pt x="1332" y="1230"/>
                  </a:lnTo>
                  <a:lnTo>
                    <a:pt x="1326" y="1230"/>
                  </a:lnTo>
                  <a:lnTo>
                    <a:pt x="1320" y="1230"/>
                  </a:lnTo>
                  <a:lnTo>
                    <a:pt x="1314" y="1230"/>
                  </a:lnTo>
                  <a:lnTo>
                    <a:pt x="1296" y="1242"/>
                  </a:lnTo>
                  <a:lnTo>
                    <a:pt x="1296" y="1248"/>
                  </a:lnTo>
                  <a:lnTo>
                    <a:pt x="1290" y="1248"/>
                  </a:lnTo>
                  <a:lnTo>
                    <a:pt x="1290" y="1260"/>
                  </a:lnTo>
                  <a:lnTo>
                    <a:pt x="1278" y="1272"/>
                  </a:lnTo>
                  <a:lnTo>
                    <a:pt x="1278" y="1278"/>
                  </a:lnTo>
                  <a:lnTo>
                    <a:pt x="1278" y="1284"/>
                  </a:lnTo>
                  <a:lnTo>
                    <a:pt x="1278" y="1290"/>
                  </a:lnTo>
                  <a:lnTo>
                    <a:pt x="1284" y="1296"/>
                  </a:lnTo>
                  <a:lnTo>
                    <a:pt x="1302" y="1302"/>
                  </a:lnTo>
                  <a:lnTo>
                    <a:pt x="1308" y="1308"/>
                  </a:lnTo>
                  <a:lnTo>
                    <a:pt x="1308" y="1314"/>
                  </a:lnTo>
                  <a:lnTo>
                    <a:pt x="1302" y="1320"/>
                  </a:lnTo>
                  <a:lnTo>
                    <a:pt x="1278" y="1314"/>
                  </a:lnTo>
                  <a:lnTo>
                    <a:pt x="1266" y="1308"/>
                  </a:lnTo>
                  <a:lnTo>
                    <a:pt x="1260" y="1296"/>
                  </a:lnTo>
                  <a:lnTo>
                    <a:pt x="1236" y="1296"/>
                  </a:lnTo>
                  <a:lnTo>
                    <a:pt x="1224" y="1308"/>
                  </a:lnTo>
                  <a:lnTo>
                    <a:pt x="1218" y="1308"/>
                  </a:lnTo>
                  <a:lnTo>
                    <a:pt x="1218" y="1302"/>
                  </a:lnTo>
                  <a:lnTo>
                    <a:pt x="1212" y="1302"/>
                  </a:lnTo>
                  <a:lnTo>
                    <a:pt x="1206" y="1302"/>
                  </a:lnTo>
                  <a:lnTo>
                    <a:pt x="1170" y="1314"/>
                  </a:lnTo>
                  <a:lnTo>
                    <a:pt x="1134" y="1296"/>
                  </a:lnTo>
                  <a:lnTo>
                    <a:pt x="1122" y="1290"/>
                  </a:lnTo>
                  <a:lnTo>
                    <a:pt x="1104" y="1290"/>
                  </a:lnTo>
                  <a:lnTo>
                    <a:pt x="1098" y="1278"/>
                  </a:lnTo>
                  <a:lnTo>
                    <a:pt x="1092" y="1242"/>
                  </a:lnTo>
                  <a:lnTo>
                    <a:pt x="1086" y="1242"/>
                  </a:lnTo>
                  <a:lnTo>
                    <a:pt x="1086" y="1248"/>
                  </a:lnTo>
                  <a:lnTo>
                    <a:pt x="1086" y="1254"/>
                  </a:lnTo>
                  <a:lnTo>
                    <a:pt x="1080" y="1254"/>
                  </a:lnTo>
                  <a:lnTo>
                    <a:pt x="1080" y="1260"/>
                  </a:lnTo>
                  <a:lnTo>
                    <a:pt x="1074" y="1260"/>
                  </a:lnTo>
                  <a:lnTo>
                    <a:pt x="1068" y="1236"/>
                  </a:lnTo>
                  <a:lnTo>
                    <a:pt x="1068" y="1206"/>
                  </a:lnTo>
                  <a:lnTo>
                    <a:pt x="1080" y="1194"/>
                  </a:lnTo>
                  <a:lnTo>
                    <a:pt x="1086" y="1194"/>
                  </a:lnTo>
                  <a:lnTo>
                    <a:pt x="1092" y="1200"/>
                  </a:lnTo>
                  <a:lnTo>
                    <a:pt x="1098" y="1206"/>
                  </a:lnTo>
                  <a:lnTo>
                    <a:pt x="1104" y="1200"/>
                  </a:lnTo>
                  <a:lnTo>
                    <a:pt x="1104" y="1194"/>
                  </a:lnTo>
                  <a:lnTo>
                    <a:pt x="1110" y="1194"/>
                  </a:lnTo>
                  <a:lnTo>
                    <a:pt x="1110" y="1188"/>
                  </a:lnTo>
                  <a:lnTo>
                    <a:pt x="1116" y="1182"/>
                  </a:lnTo>
                  <a:lnTo>
                    <a:pt x="1110" y="1182"/>
                  </a:lnTo>
                  <a:lnTo>
                    <a:pt x="1110" y="1170"/>
                  </a:lnTo>
                  <a:lnTo>
                    <a:pt x="1110" y="1158"/>
                  </a:lnTo>
                  <a:lnTo>
                    <a:pt x="1110" y="1152"/>
                  </a:lnTo>
                  <a:lnTo>
                    <a:pt x="1104" y="1146"/>
                  </a:lnTo>
                  <a:lnTo>
                    <a:pt x="1098" y="1140"/>
                  </a:lnTo>
                  <a:lnTo>
                    <a:pt x="1098" y="1134"/>
                  </a:lnTo>
                  <a:lnTo>
                    <a:pt x="1098" y="1128"/>
                  </a:lnTo>
                  <a:lnTo>
                    <a:pt x="1092" y="1128"/>
                  </a:lnTo>
                  <a:lnTo>
                    <a:pt x="1092" y="1122"/>
                  </a:lnTo>
                  <a:lnTo>
                    <a:pt x="1092" y="1116"/>
                  </a:lnTo>
                  <a:lnTo>
                    <a:pt x="1092" y="1110"/>
                  </a:lnTo>
                  <a:lnTo>
                    <a:pt x="1056" y="1122"/>
                  </a:lnTo>
                  <a:lnTo>
                    <a:pt x="1038" y="1128"/>
                  </a:lnTo>
                  <a:lnTo>
                    <a:pt x="1032" y="1128"/>
                  </a:lnTo>
                  <a:lnTo>
                    <a:pt x="1026" y="1128"/>
                  </a:lnTo>
                  <a:lnTo>
                    <a:pt x="1020" y="1128"/>
                  </a:lnTo>
                  <a:lnTo>
                    <a:pt x="1014" y="1128"/>
                  </a:lnTo>
                  <a:lnTo>
                    <a:pt x="1014" y="1122"/>
                  </a:lnTo>
                  <a:lnTo>
                    <a:pt x="1008" y="1122"/>
                  </a:lnTo>
                  <a:lnTo>
                    <a:pt x="1002" y="1128"/>
                  </a:lnTo>
                  <a:lnTo>
                    <a:pt x="1002" y="1134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84" y="1140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66" y="1140"/>
                  </a:lnTo>
                  <a:lnTo>
                    <a:pt x="954" y="1140"/>
                  </a:lnTo>
                  <a:lnTo>
                    <a:pt x="954" y="1134"/>
                  </a:lnTo>
                  <a:lnTo>
                    <a:pt x="948" y="1134"/>
                  </a:lnTo>
                  <a:lnTo>
                    <a:pt x="942" y="1134"/>
                  </a:lnTo>
                  <a:lnTo>
                    <a:pt x="936" y="1134"/>
                  </a:lnTo>
                  <a:lnTo>
                    <a:pt x="930" y="1134"/>
                  </a:lnTo>
                  <a:lnTo>
                    <a:pt x="924" y="1134"/>
                  </a:lnTo>
                  <a:lnTo>
                    <a:pt x="918" y="1134"/>
                  </a:lnTo>
                  <a:lnTo>
                    <a:pt x="918" y="1128"/>
                  </a:lnTo>
                  <a:lnTo>
                    <a:pt x="918" y="1104"/>
                  </a:lnTo>
                  <a:lnTo>
                    <a:pt x="906" y="1104"/>
                  </a:lnTo>
                  <a:lnTo>
                    <a:pt x="900" y="1098"/>
                  </a:lnTo>
                  <a:lnTo>
                    <a:pt x="900" y="1092"/>
                  </a:lnTo>
                  <a:lnTo>
                    <a:pt x="900" y="1086"/>
                  </a:lnTo>
                  <a:lnTo>
                    <a:pt x="900" y="1080"/>
                  </a:lnTo>
                  <a:lnTo>
                    <a:pt x="894" y="1080"/>
                  </a:lnTo>
                  <a:lnTo>
                    <a:pt x="858" y="1074"/>
                  </a:lnTo>
                  <a:lnTo>
                    <a:pt x="852" y="1080"/>
                  </a:lnTo>
                  <a:lnTo>
                    <a:pt x="846" y="1086"/>
                  </a:lnTo>
                  <a:lnTo>
                    <a:pt x="840" y="1086"/>
                  </a:lnTo>
                  <a:lnTo>
                    <a:pt x="840" y="1092"/>
                  </a:lnTo>
                  <a:lnTo>
                    <a:pt x="834" y="1092"/>
                  </a:lnTo>
                  <a:lnTo>
                    <a:pt x="828" y="1098"/>
                  </a:lnTo>
                  <a:lnTo>
                    <a:pt x="822" y="1098"/>
                  </a:lnTo>
                  <a:lnTo>
                    <a:pt x="762" y="1074"/>
                  </a:lnTo>
                  <a:lnTo>
                    <a:pt x="756" y="1068"/>
                  </a:lnTo>
                  <a:lnTo>
                    <a:pt x="750" y="1068"/>
                  </a:lnTo>
                  <a:lnTo>
                    <a:pt x="744" y="1062"/>
                  </a:lnTo>
                  <a:lnTo>
                    <a:pt x="744" y="1068"/>
                  </a:lnTo>
                  <a:lnTo>
                    <a:pt x="744" y="1074"/>
                  </a:lnTo>
                  <a:lnTo>
                    <a:pt x="738" y="1074"/>
                  </a:lnTo>
                  <a:lnTo>
                    <a:pt x="738" y="1068"/>
                  </a:lnTo>
                  <a:lnTo>
                    <a:pt x="732" y="1068"/>
                  </a:lnTo>
                  <a:lnTo>
                    <a:pt x="726" y="1068"/>
                  </a:lnTo>
                  <a:lnTo>
                    <a:pt x="726" y="1074"/>
                  </a:lnTo>
                  <a:lnTo>
                    <a:pt x="720" y="1074"/>
                  </a:lnTo>
                  <a:lnTo>
                    <a:pt x="684" y="106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5" name="Freeform 40">
              <a:extLst>
                <a:ext uri="{FF2B5EF4-FFF2-40B4-BE49-F238E27FC236}">
                  <a16:creationId xmlns:a16="http://schemas.microsoft.com/office/drawing/2014/main" id="{37EC2F22-BDB9-4162-8FA4-08493F6898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3558" y="1520374"/>
              <a:ext cx="1057717" cy="1252440"/>
            </a:xfrm>
            <a:custGeom>
              <a:avLst/>
              <a:gdLst>
                <a:gd name="T0" fmla="*/ 98 w 1992"/>
                <a:gd name="T1" fmla="*/ 162 h 2358"/>
                <a:gd name="T2" fmla="*/ 93 w 1992"/>
                <a:gd name="T3" fmla="*/ 172 h 2358"/>
                <a:gd name="T4" fmla="*/ 82 w 1992"/>
                <a:gd name="T5" fmla="*/ 179 h 2358"/>
                <a:gd name="T6" fmla="*/ 70 w 1992"/>
                <a:gd name="T7" fmla="*/ 174 h 2358"/>
                <a:gd name="T8" fmla="*/ 62 w 1992"/>
                <a:gd name="T9" fmla="*/ 182 h 2358"/>
                <a:gd name="T10" fmla="*/ 45 w 1992"/>
                <a:gd name="T11" fmla="*/ 189 h 2358"/>
                <a:gd name="T12" fmla="*/ 24 w 1992"/>
                <a:gd name="T13" fmla="*/ 205 h 2358"/>
                <a:gd name="T14" fmla="*/ 17 w 1992"/>
                <a:gd name="T15" fmla="*/ 204 h 2358"/>
                <a:gd name="T16" fmla="*/ 7 w 1992"/>
                <a:gd name="T17" fmla="*/ 197 h 2358"/>
                <a:gd name="T18" fmla="*/ 1 w 1992"/>
                <a:gd name="T19" fmla="*/ 191 h 2358"/>
                <a:gd name="T20" fmla="*/ 4 w 1992"/>
                <a:gd name="T21" fmla="*/ 175 h 2358"/>
                <a:gd name="T22" fmla="*/ 7 w 1992"/>
                <a:gd name="T23" fmla="*/ 172 h 2358"/>
                <a:gd name="T24" fmla="*/ 11 w 1992"/>
                <a:gd name="T25" fmla="*/ 168 h 2358"/>
                <a:gd name="T26" fmla="*/ 5 w 1992"/>
                <a:gd name="T27" fmla="*/ 159 h 2358"/>
                <a:gd name="T28" fmla="*/ 10 w 1992"/>
                <a:gd name="T29" fmla="*/ 156 h 2358"/>
                <a:gd name="T30" fmla="*/ 15 w 1992"/>
                <a:gd name="T31" fmla="*/ 155 h 2358"/>
                <a:gd name="T32" fmla="*/ 24 w 1992"/>
                <a:gd name="T33" fmla="*/ 149 h 2358"/>
                <a:gd name="T34" fmla="*/ 38 w 1992"/>
                <a:gd name="T35" fmla="*/ 127 h 2358"/>
                <a:gd name="T36" fmla="*/ 38 w 1992"/>
                <a:gd name="T37" fmla="*/ 107 h 2358"/>
                <a:gd name="T38" fmla="*/ 45 w 1992"/>
                <a:gd name="T39" fmla="*/ 66 h 2358"/>
                <a:gd name="T40" fmla="*/ 47 w 1992"/>
                <a:gd name="T41" fmla="*/ 36 h 2358"/>
                <a:gd name="T42" fmla="*/ 51 w 1992"/>
                <a:gd name="T43" fmla="*/ 35 h 2358"/>
                <a:gd name="T44" fmla="*/ 55 w 1992"/>
                <a:gd name="T45" fmla="*/ 30 h 2358"/>
                <a:gd name="T46" fmla="*/ 56 w 1992"/>
                <a:gd name="T47" fmla="*/ 27 h 2358"/>
                <a:gd name="T48" fmla="*/ 60 w 1992"/>
                <a:gd name="T49" fmla="*/ 23 h 2358"/>
                <a:gd name="T50" fmla="*/ 63 w 1992"/>
                <a:gd name="T51" fmla="*/ 23 h 2358"/>
                <a:gd name="T52" fmla="*/ 70 w 1992"/>
                <a:gd name="T53" fmla="*/ 18 h 2358"/>
                <a:gd name="T54" fmla="*/ 71 w 1992"/>
                <a:gd name="T55" fmla="*/ 15 h 2358"/>
                <a:gd name="T56" fmla="*/ 72 w 1992"/>
                <a:gd name="T57" fmla="*/ 13 h 2358"/>
                <a:gd name="T58" fmla="*/ 77 w 1992"/>
                <a:gd name="T59" fmla="*/ 12 h 2358"/>
                <a:gd name="T60" fmla="*/ 83 w 1992"/>
                <a:gd name="T61" fmla="*/ 10 h 2358"/>
                <a:gd name="T62" fmla="*/ 87 w 1992"/>
                <a:gd name="T63" fmla="*/ 10 h 2358"/>
                <a:gd name="T64" fmla="*/ 89 w 1992"/>
                <a:gd name="T65" fmla="*/ 10 h 2358"/>
                <a:gd name="T66" fmla="*/ 93 w 1992"/>
                <a:gd name="T67" fmla="*/ 8 h 2358"/>
                <a:gd name="T68" fmla="*/ 95 w 1992"/>
                <a:gd name="T69" fmla="*/ 4 h 2358"/>
                <a:gd name="T70" fmla="*/ 99 w 1992"/>
                <a:gd name="T71" fmla="*/ 0 h 2358"/>
                <a:gd name="T72" fmla="*/ 111 w 1992"/>
                <a:gd name="T73" fmla="*/ 0 h 2358"/>
                <a:gd name="T74" fmla="*/ 121 w 1992"/>
                <a:gd name="T75" fmla="*/ 9 h 2358"/>
                <a:gd name="T76" fmla="*/ 128 w 1992"/>
                <a:gd name="T77" fmla="*/ 19 h 2358"/>
                <a:gd name="T78" fmla="*/ 138 w 1992"/>
                <a:gd name="T79" fmla="*/ 33 h 2358"/>
                <a:gd name="T80" fmla="*/ 142 w 1992"/>
                <a:gd name="T81" fmla="*/ 47 h 2358"/>
                <a:gd name="T82" fmla="*/ 145 w 1992"/>
                <a:gd name="T83" fmla="*/ 62 h 2358"/>
                <a:gd name="T84" fmla="*/ 145 w 1992"/>
                <a:gd name="T85" fmla="*/ 70 h 2358"/>
                <a:gd name="T86" fmla="*/ 147 w 1992"/>
                <a:gd name="T87" fmla="*/ 75 h 2358"/>
                <a:gd name="T88" fmla="*/ 153 w 1992"/>
                <a:gd name="T89" fmla="*/ 75 h 2358"/>
                <a:gd name="T90" fmla="*/ 160 w 1992"/>
                <a:gd name="T91" fmla="*/ 76 h 2358"/>
                <a:gd name="T92" fmla="*/ 164 w 1992"/>
                <a:gd name="T93" fmla="*/ 79 h 2358"/>
                <a:gd name="T94" fmla="*/ 168 w 1992"/>
                <a:gd name="T95" fmla="*/ 83 h 2358"/>
                <a:gd name="T96" fmla="*/ 172 w 1992"/>
                <a:gd name="T97" fmla="*/ 86 h 2358"/>
                <a:gd name="T98" fmla="*/ 170 w 1992"/>
                <a:gd name="T99" fmla="*/ 93 h 2358"/>
                <a:gd name="T100" fmla="*/ 170 w 1992"/>
                <a:gd name="T101" fmla="*/ 99 h 2358"/>
                <a:gd name="T102" fmla="*/ 169 w 1992"/>
                <a:gd name="T103" fmla="*/ 106 h 2358"/>
                <a:gd name="T104" fmla="*/ 166 w 1992"/>
                <a:gd name="T105" fmla="*/ 113 h 2358"/>
                <a:gd name="T106" fmla="*/ 170 w 1992"/>
                <a:gd name="T107" fmla="*/ 122 h 2358"/>
                <a:gd name="T108" fmla="*/ 159 w 1992"/>
                <a:gd name="T109" fmla="*/ 128 h 2358"/>
                <a:gd name="T110" fmla="*/ 148 w 1992"/>
                <a:gd name="T111" fmla="*/ 134 h 2358"/>
                <a:gd name="T112" fmla="*/ 139 w 1992"/>
                <a:gd name="T113" fmla="*/ 136 h 2358"/>
                <a:gd name="T114" fmla="*/ 132 w 1992"/>
                <a:gd name="T115" fmla="*/ 138 h 2358"/>
                <a:gd name="T116" fmla="*/ 128 w 1992"/>
                <a:gd name="T117" fmla="*/ 145 h 2358"/>
                <a:gd name="T118" fmla="*/ 124 w 1992"/>
                <a:gd name="T119" fmla="*/ 150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92"/>
                <a:gd name="T181" fmla="*/ 0 h 2358"/>
                <a:gd name="T182" fmla="*/ 1992 w 1992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92" h="2358">
                  <a:moveTo>
                    <a:pt x="1356" y="1782"/>
                  </a:moveTo>
                  <a:lnTo>
                    <a:pt x="1350" y="1788"/>
                  </a:lnTo>
                  <a:lnTo>
                    <a:pt x="1266" y="1788"/>
                  </a:lnTo>
                  <a:lnTo>
                    <a:pt x="1260" y="1800"/>
                  </a:lnTo>
                  <a:lnTo>
                    <a:pt x="1242" y="1806"/>
                  </a:lnTo>
                  <a:lnTo>
                    <a:pt x="1218" y="1812"/>
                  </a:lnTo>
                  <a:lnTo>
                    <a:pt x="1182" y="1812"/>
                  </a:lnTo>
                  <a:lnTo>
                    <a:pt x="1158" y="1806"/>
                  </a:lnTo>
                  <a:lnTo>
                    <a:pt x="1134" y="1800"/>
                  </a:lnTo>
                  <a:lnTo>
                    <a:pt x="1134" y="1806"/>
                  </a:lnTo>
                  <a:lnTo>
                    <a:pt x="1134" y="1830"/>
                  </a:lnTo>
                  <a:lnTo>
                    <a:pt x="1128" y="1842"/>
                  </a:lnTo>
                  <a:lnTo>
                    <a:pt x="1128" y="1854"/>
                  </a:lnTo>
                  <a:lnTo>
                    <a:pt x="1128" y="1860"/>
                  </a:lnTo>
                  <a:lnTo>
                    <a:pt x="1128" y="1866"/>
                  </a:lnTo>
                  <a:lnTo>
                    <a:pt x="1128" y="1872"/>
                  </a:lnTo>
                  <a:lnTo>
                    <a:pt x="1128" y="1884"/>
                  </a:lnTo>
                  <a:lnTo>
                    <a:pt x="1128" y="1890"/>
                  </a:lnTo>
                  <a:lnTo>
                    <a:pt x="1128" y="1896"/>
                  </a:lnTo>
                  <a:lnTo>
                    <a:pt x="1122" y="1902"/>
                  </a:lnTo>
                  <a:lnTo>
                    <a:pt x="1122" y="1920"/>
                  </a:lnTo>
                  <a:lnTo>
                    <a:pt x="1116" y="1920"/>
                  </a:lnTo>
                  <a:lnTo>
                    <a:pt x="1110" y="1926"/>
                  </a:lnTo>
                  <a:lnTo>
                    <a:pt x="1110" y="1932"/>
                  </a:lnTo>
                  <a:lnTo>
                    <a:pt x="1104" y="1938"/>
                  </a:lnTo>
                  <a:lnTo>
                    <a:pt x="1086" y="1962"/>
                  </a:lnTo>
                  <a:lnTo>
                    <a:pt x="1074" y="1974"/>
                  </a:lnTo>
                  <a:lnTo>
                    <a:pt x="1074" y="1980"/>
                  </a:lnTo>
                  <a:lnTo>
                    <a:pt x="1068" y="1986"/>
                  </a:lnTo>
                  <a:lnTo>
                    <a:pt x="1062" y="1998"/>
                  </a:lnTo>
                  <a:lnTo>
                    <a:pt x="1062" y="2004"/>
                  </a:lnTo>
                  <a:lnTo>
                    <a:pt x="1068" y="2004"/>
                  </a:lnTo>
                  <a:lnTo>
                    <a:pt x="1056" y="2034"/>
                  </a:lnTo>
                  <a:lnTo>
                    <a:pt x="1050" y="2076"/>
                  </a:lnTo>
                  <a:lnTo>
                    <a:pt x="1056" y="2100"/>
                  </a:lnTo>
                  <a:lnTo>
                    <a:pt x="1038" y="2106"/>
                  </a:lnTo>
                  <a:lnTo>
                    <a:pt x="1002" y="2106"/>
                  </a:lnTo>
                  <a:lnTo>
                    <a:pt x="978" y="2094"/>
                  </a:lnTo>
                  <a:lnTo>
                    <a:pt x="972" y="2082"/>
                  </a:lnTo>
                  <a:lnTo>
                    <a:pt x="966" y="2070"/>
                  </a:lnTo>
                  <a:lnTo>
                    <a:pt x="954" y="2064"/>
                  </a:lnTo>
                  <a:lnTo>
                    <a:pt x="942" y="2058"/>
                  </a:lnTo>
                  <a:lnTo>
                    <a:pt x="936" y="2058"/>
                  </a:lnTo>
                  <a:lnTo>
                    <a:pt x="918" y="2046"/>
                  </a:lnTo>
                  <a:lnTo>
                    <a:pt x="906" y="2028"/>
                  </a:lnTo>
                  <a:lnTo>
                    <a:pt x="900" y="2022"/>
                  </a:lnTo>
                  <a:lnTo>
                    <a:pt x="894" y="2022"/>
                  </a:lnTo>
                  <a:lnTo>
                    <a:pt x="882" y="2022"/>
                  </a:lnTo>
                  <a:lnTo>
                    <a:pt x="870" y="2016"/>
                  </a:lnTo>
                  <a:lnTo>
                    <a:pt x="864" y="2016"/>
                  </a:lnTo>
                  <a:lnTo>
                    <a:pt x="852" y="2010"/>
                  </a:lnTo>
                  <a:lnTo>
                    <a:pt x="846" y="2004"/>
                  </a:lnTo>
                  <a:lnTo>
                    <a:pt x="840" y="2004"/>
                  </a:lnTo>
                  <a:lnTo>
                    <a:pt x="828" y="1998"/>
                  </a:lnTo>
                  <a:lnTo>
                    <a:pt x="816" y="1998"/>
                  </a:lnTo>
                  <a:lnTo>
                    <a:pt x="810" y="1998"/>
                  </a:lnTo>
                  <a:lnTo>
                    <a:pt x="804" y="1998"/>
                  </a:lnTo>
                  <a:lnTo>
                    <a:pt x="798" y="1998"/>
                  </a:lnTo>
                  <a:lnTo>
                    <a:pt x="792" y="2004"/>
                  </a:lnTo>
                  <a:lnTo>
                    <a:pt x="786" y="2010"/>
                  </a:lnTo>
                  <a:lnTo>
                    <a:pt x="762" y="2010"/>
                  </a:lnTo>
                  <a:lnTo>
                    <a:pt x="756" y="2010"/>
                  </a:lnTo>
                  <a:lnTo>
                    <a:pt x="744" y="2022"/>
                  </a:lnTo>
                  <a:lnTo>
                    <a:pt x="738" y="2034"/>
                  </a:lnTo>
                  <a:lnTo>
                    <a:pt x="732" y="2040"/>
                  </a:lnTo>
                  <a:lnTo>
                    <a:pt x="732" y="2046"/>
                  </a:lnTo>
                  <a:lnTo>
                    <a:pt x="726" y="2058"/>
                  </a:lnTo>
                  <a:lnTo>
                    <a:pt x="720" y="2064"/>
                  </a:lnTo>
                  <a:lnTo>
                    <a:pt x="714" y="2070"/>
                  </a:lnTo>
                  <a:lnTo>
                    <a:pt x="708" y="2088"/>
                  </a:lnTo>
                  <a:lnTo>
                    <a:pt x="702" y="2100"/>
                  </a:lnTo>
                  <a:lnTo>
                    <a:pt x="690" y="2100"/>
                  </a:lnTo>
                  <a:lnTo>
                    <a:pt x="684" y="2094"/>
                  </a:lnTo>
                  <a:lnTo>
                    <a:pt x="666" y="2100"/>
                  </a:lnTo>
                  <a:lnTo>
                    <a:pt x="636" y="2106"/>
                  </a:lnTo>
                  <a:lnTo>
                    <a:pt x="636" y="2112"/>
                  </a:lnTo>
                  <a:lnTo>
                    <a:pt x="636" y="2118"/>
                  </a:lnTo>
                  <a:lnTo>
                    <a:pt x="636" y="2124"/>
                  </a:lnTo>
                  <a:lnTo>
                    <a:pt x="630" y="2124"/>
                  </a:lnTo>
                  <a:lnTo>
                    <a:pt x="630" y="2148"/>
                  </a:lnTo>
                  <a:lnTo>
                    <a:pt x="612" y="2160"/>
                  </a:lnTo>
                  <a:lnTo>
                    <a:pt x="576" y="2172"/>
                  </a:lnTo>
                  <a:lnTo>
                    <a:pt x="546" y="2172"/>
                  </a:lnTo>
                  <a:lnTo>
                    <a:pt x="516" y="2172"/>
                  </a:lnTo>
                  <a:lnTo>
                    <a:pt x="486" y="2172"/>
                  </a:lnTo>
                  <a:lnTo>
                    <a:pt x="462" y="2172"/>
                  </a:lnTo>
                  <a:lnTo>
                    <a:pt x="444" y="2196"/>
                  </a:lnTo>
                  <a:lnTo>
                    <a:pt x="432" y="2232"/>
                  </a:lnTo>
                  <a:lnTo>
                    <a:pt x="408" y="2238"/>
                  </a:lnTo>
                  <a:lnTo>
                    <a:pt x="390" y="2256"/>
                  </a:lnTo>
                  <a:lnTo>
                    <a:pt x="372" y="2274"/>
                  </a:lnTo>
                  <a:lnTo>
                    <a:pt x="360" y="2274"/>
                  </a:lnTo>
                  <a:lnTo>
                    <a:pt x="336" y="2328"/>
                  </a:lnTo>
                  <a:lnTo>
                    <a:pt x="324" y="2340"/>
                  </a:lnTo>
                  <a:lnTo>
                    <a:pt x="300" y="2346"/>
                  </a:lnTo>
                  <a:lnTo>
                    <a:pt x="294" y="2352"/>
                  </a:lnTo>
                  <a:lnTo>
                    <a:pt x="288" y="2352"/>
                  </a:lnTo>
                  <a:lnTo>
                    <a:pt x="282" y="2352"/>
                  </a:lnTo>
                  <a:lnTo>
                    <a:pt x="276" y="2352"/>
                  </a:lnTo>
                  <a:lnTo>
                    <a:pt x="270" y="2352"/>
                  </a:lnTo>
                  <a:lnTo>
                    <a:pt x="270" y="2346"/>
                  </a:lnTo>
                  <a:lnTo>
                    <a:pt x="264" y="2346"/>
                  </a:lnTo>
                  <a:lnTo>
                    <a:pt x="258" y="2352"/>
                  </a:lnTo>
                  <a:lnTo>
                    <a:pt x="252" y="2352"/>
                  </a:lnTo>
                  <a:lnTo>
                    <a:pt x="240" y="2352"/>
                  </a:lnTo>
                  <a:lnTo>
                    <a:pt x="228" y="2352"/>
                  </a:lnTo>
                  <a:lnTo>
                    <a:pt x="222" y="2352"/>
                  </a:lnTo>
                  <a:lnTo>
                    <a:pt x="216" y="2358"/>
                  </a:lnTo>
                  <a:lnTo>
                    <a:pt x="216" y="2352"/>
                  </a:lnTo>
                  <a:lnTo>
                    <a:pt x="210" y="2346"/>
                  </a:lnTo>
                  <a:lnTo>
                    <a:pt x="204" y="2346"/>
                  </a:lnTo>
                  <a:lnTo>
                    <a:pt x="198" y="2340"/>
                  </a:lnTo>
                  <a:lnTo>
                    <a:pt x="192" y="2340"/>
                  </a:lnTo>
                  <a:lnTo>
                    <a:pt x="186" y="2340"/>
                  </a:lnTo>
                  <a:lnTo>
                    <a:pt x="180" y="2340"/>
                  </a:lnTo>
                  <a:lnTo>
                    <a:pt x="174" y="2340"/>
                  </a:lnTo>
                  <a:lnTo>
                    <a:pt x="162" y="2328"/>
                  </a:lnTo>
                  <a:lnTo>
                    <a:pt x="156" y="2322"/>
                  </a:lnTo>
                  <a:lnTo>
                    <a:pt x="156" y="2316"/>
                  </a:lnTo>
                  <a:lnTo>
                    <a:pt x="156" y="2310"/>
                  </a:lnTo>
                  <a:lnTo>
                    <a:pt x="132" y="2286"/>
                  </a:lnTo>
                  <a:lnTo>
                    <a:pt x="120" y="2280"/>
                  </a:lnTo>
                  <a:lnTo>
                    <a:pt x="96" y="2274"/>
                  </a:lnTo>
                  <a:lnTo>
                    <a:pt x="84" y="2268"/>
                  </a:lnTo>
                  <a:lnTo>
                    <a:pt x="78" y="2268"/>
                  </a:lnTo>
                  <a:lnTo>
                    <a:pt x="78" y="2262"/>
                  </a:lnTo>
                  <a:lnTo>
                    <a:pt x="78" y="2256"/>
                  </a:lnTo>
                  <a:lnTo>
                    <a:pt x="78" y="2250"/>
                  </a:lnTo>
                  <a:lnTo>
                    <a:pt x="72" y="2250"/>
                  </a:lnTo>
                  <a:lnTo>
                    <a:pt x="66" y="2250"/>
                  </a:lnTo>
                  <a:lnTo>
                    <a:pt x="60" y="2250"/>
                  </a:lnTo>
                  <a:lnTo>
                    <a:pt x="48" y="2244"/>
                  </a:lnTo>
                  <a:lnTo>
                    <a:pt x="36" y="2238"/>
                  </a:lnTo>
                  <a:lnTo>
                    <a:pt x="36" y="2226"/>
                  </a:lnTo>
                  <a:lnTo>
                    <a:pt x="30" y="2226"/>
                  </a:lnTo>
                  <a:lnTo>
                    <a:pt x="30" y="2220"/>
                  </a:lnTo>
                  <a:lnTo>
                    <a:pt x="24" y="2208"/>
                  </a:lnTo>
                  <a:lnTo>
                    <a:pt x="18" y="2202"/>
                  </a:lnTo>
                  <a:lnTo>
                    <a:pt x="18" y="2196"/>
                  </a:lnTo>
                  <a:lnTo>
                    <a:pt x="12" y="2190"/>
                  </a:lnTo>
                  <a:lnTo>
                    <a:pt x="0" y="2190"/>
                  </a:lnTo>
                  <a:lnTo>
                    <a:pt x="6" y="2184"/>
                  </a:lnTo>
                  <a:lnTo>
                    <a:pt x="12" y="2178"/>
                  </a:lnTo>
                  <a:lnTo>
                    <a:pt x="18" y="2172"/>
                  </a:lnTo>
                  <a:lnTo>
                    <a:pt x="24" y="2166"/>
                  </a:lnTo>
                  <a:lnTo>
                    <a:pt x="30" y="2166"/>
                  </a:lnTo>
                  <a:lnTo>
                    <a:pt x="24" y="2160"/>
                  </a:lnTo>
                  <a:lnTo>
                    <a:pt x="30" y="2160"/>
                  </a:lnTo>
                  <a:lnTo>
                    <a:pt x="36" y="2154"/>
                  </a:lnTo>
                  <a:lnTo>
                    <a:pt x="36" y="2136"/>
                  </a:lnTo>
                  <a:lnTo>
                    <a:pt x="36" y="2118"/>
                  </a:lnTo>
                  <a:lnTo>
                    <a:pt x="48" y="2058"/>
                  </a:lnTo>
                  <a:lnTo>
                    <a:pt x="48" y="2022"/>
                  </a:lnTo>
                  <a:lnTo>
                    <a:pt x="48" y="2016"/>
                  </a:lnTo>
                  <a:lnTo>
                    <a:pt x="48" y="2010"/>
                  </a:lnTo>
                  <a:lnTo>
                    <a:pt x="48" y="2004"/>
                  </a:lnTo>
                  <a:lnTo>
                    <a:pt x="42" y="2004"/>
                  </a:lnTo>
                  <a:lnTo>
                    <a:pt x="42" y="1998"/>
                  </a:lnTo>
                  <a:lnTo>
                    <a:pt x="36" y="1992"/>
                  </a:lnTo>
                  <a:lnTo>
                    <a:pt x="42" y="1992"/>
                  </a:lnTo>
                  <a:lnTo>
                    <a:pt x="42" y="1986"/>
                  </a:lnTo>
                  <a:lnTo>
                    <a:pt x="48" y="1986"/>
                  </a:lnTo>
                  <a:lnTo>
                    <a:pt x="54" y="1986"/>
                  </a:lnTo>
                  <a:lnTo>
                    <a:pt x="60" y="1986"/>
                  </a:lnTo>
                  <a:lnTo>
                    <a:pt x="66" y="1980"/>
                  </a:lnTo>
                  <a:lnTo>
                    <a:pt x="72" y="1974"/>
                  </a:lnTo>
                  <a:lnTo>
                    <a:pt x="78" y="1974"/>
                  </a:lnTo>
                  <a:lnTo>
                    <a:pt x="84" y="1974"/>
                  </a:lnTo>
                  <a:lnTo>
                    <a:pt x="90" y="1974"/>
                  </a:lnTo>
                  <a:lnTo>
                    <a:pt x="96" y="1974"/>
                  </a:lnTo>
                  <a:lnTo>
                    <a:pt x="96" y="1968"/>
                  </a:lnTo>
                  <a:lnTo>
                    <a:pt x="102" y="1968"/>
                  </a:lnTo>
                  <a:lnTo>
                    <a:pt x="102" y="1962"/>
                  </a:lnTo>
                  <a:lnTo>
                    <a:pt x="108" y="1962"/>
                  </a:lnTo>
                  <a:lnTo>
                    <a:pt x="114" y="1956"/>
                  </a:lnTo>
                  <a:lnTo>
                    <a:pt x="120" y="1956"/>
                  </a:lnTo>
                  <a:lnTo>
                    <a:pt x="126" y="1950"/>
                  </a:lnTo>
                  <a:lnTo>
                    <a:pt x="132" y="1950"/>
                  </a:lnTo>
                  <a:lnTo>
                    <a:pt x="132" y="1944"/>
                  </a:lnTo>
                  <a:lnTo>
                    <a:pt x="126" y="1944"/>
                  </a:lnTo>
                  <a:lnTo>
                    <a:pt x="126" y="1938"/>
                  </a:lnTo>
                  <a:lnTo>
                    <a:pt x="126" y="1932"/>
                  </a:lnTo>
                  <a:lnTo>
                    <a:pt x="126" y="1926"/>
                  </a:lnTo>
                  <a:lnTo>
                    <a:pt x="114" y="1914"/>
                  </a:lnTo>
                  <a:lnTo>
                    <a:pt x="114" y="1896"/>
                  </a:lnTo>
                  <a:lnTo>
                    <a:pt x="108" y="1884"/>
                  </a:lnTo>
                  <a:lnTo>
                    <a:pt x="102" y="1872"/>
                  </a:lnTo>
                  <a:lnTo>
                    <a:pt x="96" y="1866"/>
                  </a:lnTo>
                  <a:lnTo>
                    <a:pt x="96" y="1860"/>
                  </a:lnTo>
                  <a:lnTo>
                    <a:pt x="90" y="1860"/>
                  </a:lnTo>
                  <a:lnTo>
                    <a:pt x="90" y="1854"/>
                  </a:lnTo>
                  <a:lnTo>
                    <a:pt x="84" y="1848"/>
                  </a:lnTo>
                  <a:lnTo>
                    <a:pt x="78" y="1842"/>
                  </a:lnTo>
                  <a:lnTo>
                    <a:pt x="72" y="1836"/>
                  </a:lnTo>
                  <a:lnTo>
                    <a:pt x="66" y="1830"/>
                  </a:lnTo>
                  <a:lnTo>
                    <a:pt x="60" y="1824"/>
                  </a:lnTo>
                  <a:lnTo>
                    <a:pt x="54" y="1824"/>
                  </a:lnTo>
                  <a:lnTo>
                    <a:pt x="48" y="1824"/>
                  </a:lnTo>
                  <a:lnTo>
                    <a:pt x="42" y="1818"/>
                  </a:lnTo>
                  <a:lnTo>
                    <a:pt x="54" y="1818"/>
                  </a:lnTo>
                  <a:lnTo>
                    <a:pt x="60" y="1812"/>
                  </a:lnTo>
                  <a:lnTo>
                    <a:pt x="66" y="1812"/>
                  </a:lnTo>
                  <a:lnTo>
                    <a:pt x="72" y="1812"/>
                  </a:lnTo>
                  <a:lnTo>
                    <a:pt x="78" y="1812"/>
                  </a:lnTo>
                  <a:lnTo>
                    <a:pt x="84" y="1812"/>
                  </a:lnTo>
                  <a:lnTo>
                    <a:pt x="90" y="1806"/>
                  </a:lnTo>
                  <a:lnTo>
                    <a:pt x="96" y="1800"/>
                  </a:lnTo>
                  <a:lnTo>
                    <a:pt x="102" y="1806"/>
                  </a:lnTo>
                  <a:lnTo>
                    <a:pt x="108" y="1800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26" y="1788"/>
                  </a:lnTo>
                  <a:lnTo>
                    <a:pt x="126" y="1794"/>
                  </a:lnTo>
                  <a:lnTo>
                    <a:pt x="132" y="1794"/>
                  </a:lnTo>
                  <a:lnTo>
                    <a:pt x="132" y="1788"/>
                  </a:lnTo>
                  <a:lnTo>
                    <a:pt x="138" y="1788"/>
                  </a:lnTo>
                  <a:lnTo>
                    <a:pt x="138" y="1782"/>
                  </a:lnTo>
                  <a:lnTo>
                    <a:pt x="144" y="1782"/>
                  </a:lnTo>
                  <a:lnTo>
                    <a:pt x="150" y="1776"/>
                  </a:lnTo>
                  <a:lnTo>
                    <a:pt x="156" y="1782"/>
                  </a:lnTo>
                  <a:lnTo>
                    <a:pt x="162" y="1776"/>
                  </a:lnTo>
                  <a:lnTo>
                    <a:pt x="168" y="1776"/>
                  </a:lnTo>
                  <a:lnTo>
                    <a:pt x="180" y="1776"/>
                  </a:lnTo>
                  <a:lnTo>
                    <a:pt x="186" y="1776"/>
                  </a:lnTo>
                  <a:lnTo>
                    <a:pt x="186" y="1782"/>
                  </a:lnTo>
                  <a:lnTo>
                    <a:pt x="192" y="1776"/>
                  </a:lnTo>
                  <a:lnTo>
                    <a:pt x="198" y="1776"/>
                  </a:lnTo>
                  <a:lnTo>
                    <a:pt x="204" y="1770"/>
                  </a:lnTo>
                  <a:lnTo>
                    <a:pt x="204" y="1764"/>
                  </a:lnTo>
                  <a:lnTo>
                    <a:pt x="210" y="1764"/>
                  </a:lnTo>
                  <a:lnTo>
                    <a:pt x="216" y="1764"/>
                  </a:lnTo>
                  <a:lnTo>
                    <a:pt x="216" y="1758"/>
                  </a:lnTo>
                  <a:lnTo>
                    <a:pt x="222" y="1758"/>
                  </a:lnTo>
                  <a:lnTo>
                    <a:pt x="228" y="1758"/>
                  </a:lnTo>
                  <a:lnTo>
                    <a:pt x="258" y="1746"/>
                  </a:lnTo>
                  <a:lnTo>
                    <a:pt x="282" y="1716"/>
                  </a:lnTo>
                  <a:lnTo>
                    <a:pt x="300" y="1698"/>
                  </a:lnTo>
                  <a:lnTo>
                    <a:pt x="312" y="1698"/>
                  </a:lnTo>
                  <a:lnTo>
                    <a:pt x="336" y="1698"/>
                  </a:lnTo>
                  <a:lnTo>
                    <a:pt x="360" y="1698"/>
                  </a:lnTo>
                  <a:lnTo>
                    <a:pt x="372" y="1692"/>
                  </a:lnTo>
                  <a:lnTo>
                    <a:pt x="384" y="1692"/>
                  </a:lnTo>
                  <a:lnTo>
                    <a:pt x="360" y="1668"/>
                  </a:lnTo>
                  <a:lnTo>
                    <a:pt x="348" y="1626"/>
                  </a:lnTo>
                  <a:lnTo>
                    <a:pt x="354" y="1578"/>
                  </a:lnTo>
                  <a:lnTo>
                    <a:pt x="354" y="1572"/>
                  </a:lnTo>
                  <a:lnTo>
                    <a:pt x="360" y="1572"/>
                  </a:lnTo>
                  <a:lnTo>
                    <a:pt x="396" y="1530"/>
                  </a:lnTo>
                  <a:lnTo>
                    <a:pt x="408" y="1482"/>
                  </a:lnTo>
                  <a:lnTo>
                    <a:pt x="438" y="1458"/>
                  </a:lnTo>
                  <a:lnTo>
                    <a:pt x="468" y="1422"/>
                  </a:lnTo>
                  <a:lnTo>
                    <a:pt x="480" y="1410"/>
                  </a:lnTo>
                  <a:lnTo>
                    <a:pt x="474" y="1386"/>
                  </a:lnTo>
                  <a:lnTo>
                    <a:pt x="456" y="1356"/>
                  </a:lnTo>
                  <a:lnTo>
                    <a:pt x="438" y="1350"/>
                  </a:lnTo>
                  <a:lnTo>
                    <a:pt x="420" y="1350"/>
                  </a:lnTo>
                  <a:lnTo>
                    <a:pt x="402" y="1350"/>
                  </a:lnTo>
                  <a:lnTo>
                    <a:pt x="390" y="1344"/>
                  </a:lnTo>
                  <a:lnTo>
                    <a:pt x="390" y="1332"/>
                  </a:lnTo>
                  <a:lnTo>
                    <a:pt x="402" y="1296"/>
                  </a:lnTo>
                  <a:lnTo>
                    <a:pt x="414" y="1260"/>
                  </a:lnTo>
                  <a:lnTo>
                    <a:pt x="426" y="1248"/>
                  </a:lnTo>
                  <a:lnTo>
                    <a:pt x="438" y="1242"/>
                  </a:lnTo>
                  <a:lnTo>
                    <a:pt x="432" y="1230"/>
                  </a:lnTo>
                  <a:lnTo>
                    <a:pt x="432" y="1224"/>
                  </a:lnTo>
                  <a:lnTo>
                    <a:pt x="426" y="1218"/>
                  </a:lnTo>
                  <a:lnTo>
                    <a:pt x="426" y="1206"/>
                  </a:lnTo>
                  <a:lnTo>
                    <a:pt x="426" y="1200"/>
                  </a:lnTo>
                  <a:lnTo>
                    <a:pt x="432" y="1194"/>
                  </a:lnTo>
                  <a:lnTo>
                    <a:pt x="426" y="1188"/>
                  </a:lnTo>
                  <a:lnTo>
                    <a:pt x="432" y="1104"/>
                  </a:lnTo>
                  <a:lnTo>
                    <a:pt x="438" y="1086"/>
                  </a:lnTo>
                  <a:lnTo>
                    <a:pt x="462" y="972"/>
                  </a:lnTo>
                  <a:lnTo>
                    <a:pt x="456" y="900"/>
                  </a:lnTo>
                  <a:lnTo>
                    <a:pt x="444" y="846"/>
                  </a:lnTo>
                  <a:lnTo>
                    <a:pt x="456" y="810"/>
                  </a:lnTo>
                  <a:lnTo>
                    <a:pt x="492" y="786"/>
                  </a:lnTo>
                  <a:lnTo>
                    <a:pt x="522" y="762"/>
                  </a:lnTo>
                  <a:lnTo>
                    <a:pt x="546" y="732"/>
                  </a:lnTo>
                  <a:lnTo>
                    <a:pt x="570" y="696"/>
                  </a:lnTo>
                  <a:lnTo>
                    <a:pt x="582" y="654"/>
                  </a:lnTo>
                  <a:lnTo>
                    <a:pt x="564" y="642"/>
                  </a:lnTo>
                  <a:lnTo>
                    <a:pt x="522" y="588"/>
                  </a:lnTo>
                  <a:lnTo>
                    <a:pt x="516" y="546"/>
                  </a:lnTo>
                  <a:lnTo>
                    <a:pt x="510" y="474"/>
                  </a:lnTo>
                  <a:lnTo>
                    <a:pt x="510" y="450"/>
                  </a:lnTo>
                  <a:lnTo>
                    <a:pt x="510" y="444"/>
                  </a:lnTo>
                  <a:lnTo>
                    <a:pt x="522" y="438"/>
                  </a:lnTo>
                  <a:lnTo>
                    <a:pt x="522" y="432"/>
                  </a:lnTo>
                  <a:lnTo>
                    <a:pt x="528" y="426"/>
                  </a:lnTo>
                  <a:lnTo>
                    <a:pt x="534" y="420"/>
                  </a:lnTo>
                  <a:lnTo>
                    <a:pt x="540" y="414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08"/>
                  </a:lnTo>
                  <a:lnTo>
                    <a:pt x="546" y="408"/>
                  </a:lnTo>
                  <a:lnTo>
                    <a:pt x="558" y="414"/>
                  </a:lnTo>
                  <a:lnTo>
                    <a:pt x="564" y="414"/>
                  </a:lnTo>
                  <a:lnTo>
                    <a:pt x="570" y="414"/>
                  </a:lnTo>
                  <a:lnTo>
                    <a:pt x="582" y="414"/>
                  </a:lnTo>
                  <a:lnTo>
                    <a:pt x="582" y="420"/>
                  </a:lnTo>
                  <a:lnTo>
                    <a:pt x="588" y="414"/>
                  </a:lnTo>
                  <a:lnTo>
                    <a:pt x="582" y="408"/>
                  </a:lnTo>
                  <a:lnTo>
                    <a:pt x="588" y="402"/>
                  </a:lnTo>
                  <a:lnTo>
                    <a:pt x="594" y="402"/>
                  </a:lnTo>
                  <a:lnTo>
                    <a:pt x="594" y="396"/>
                  </a:lnTo>
                  <a:lnTo>
                    <a:pt x="594" y="390"/>
                  </a:lnTo>
                  <a:lnTo>
                    <a:pt x="594" y="384"/>
                  </a:lnTo>
                  <a:lnTo>
                    <a:pt x="594" y="378"/>
                  </a:lnTo>
                  <a:lnTo>
                    <a:pt x="600" y="366"/>
                  </a:lnTo>
                  <a:lnTo>
                    <a:pt x="606" y="366"/>
                  </a:lnTo>
                  <a:lnTo>
                    <a:pt x="612" y="360"/>
                  </a:lnTo>
                  <a:lnTo>
                    <a:pt x="612" y="366"/>
                  </a:lnTo>
                  <a:lnTo>
                    <a:pt x="618" y="366"/>
                  </a:lnTo>
                  <a:lnTo>
                    <a:pt x="624" y="366"/>
                  </a:lnTo>
                  <a:lnTo>
                    <a:pt x="630" y="360"/>
                  </a:lnTo>
                  <a:lnTo>
                    <a:pt x="636" y="354"/>
                  </a:lnTo>
                  <a:lnTo>
                    <a:pt x="630" y="354"/>
                  </a:lnTo>
                  <a:lnTo>
                    <a:pt x="630" y="348"/>
                  </a:lnTo>
                  <a:lnTo>
                    <a:pt x="630" y="342"/>
                  </a:lnTo>
                  <a:lnTo>
                    <a:pt x="636" y="342"/>
                  </a:lnTo>
                  <a:lnTo>
                    <a:pt x="642" y="336"/>
                  </a:lnTo>
                  <a:lnTo>
                    <a:pt x="636" y="330"/>
                  </a:lnTo>
                  <a:lnTo>
                    <a:pt x="630" y="336"/>
                  </a:lnTo>
                  <a:lnTo>
                    <a:pt x="624" y="336"/>
                  </a:lnTo>
                  <a:lnTo>
                    <a:pt x="624" y="330"/>
                  </a:lnTo>
                  <a:lnTo>
                    <a:pt x="624" y="324"/>
                  </a:lnTo>
                  <a:lnTo>
                    <a:pt x="618" y="324"/>
                  </a:lnTo>
                  <a:lnTo>
                    <a:pt x="624" y="324"/>
                  </a:lnTo>
                  <a:lnTo>
                    <a:pt x="630" y="330"/>
                  </a:lnTo>
                  <a:lnTo>
                    <a:pt x="630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2" y="306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8" y="288"/>
                  </a:lnTo>
                  <a:lnTo>
                    <a:pt x="648" y="282"/>
                  </a:lnTo>
                  <a:lnTo>
                    <a:pt x="654" y="288"/>
                  </a:lnTo>
                  <a:lnTo>
                    <a:pt x="654" y="282"/>
                  </a:lnTo>
                  <a:lnTo>
                    <a:pt x="660" y="282"/>
                  </a:lnTo>
                  <a:lnTo>
                    <a:pt x="666" y="282"/>
                  </a:lnTo>
                  <a:lnTo>
                    <a:pt x="672" y="282"/>
                  </a:lnTo>
                  <a:lnTo>
                    <a:pt x="678" y="282"/>
                  </a:lnTo>
                  <a:lnTo>
                    <a:pt x="684" y="276"/>
                  </a:lnTo>
                  <a:lnTo>
                    <a:pt x="690" y="270"/>
                  </a:lnTo>
                  <a:lnTo>
                    <a:pt x="690" y="264"/>
                  </a:lnTo>
                  <a:lnTo>
                    <a:pt x="690" y="270"/>
                  </a:lnTo>
                  <a:lnTo>
                    <a:pt x="690" y="276"/>
                  </a:lnTo>
                  <a:lnTo>
                    <a:pt x="696" y="276"/>
                  </a:lnTo>
                  <a:lnTo>
                    <a:pt x="702" y="276"/>
                  </a:lnTo>
                  <a:lnTo>
                    <a:pt x="702" y="282"/>
                  </a:lnTo>
                  <a:lnTo>
                    <a:pt x="708" y="282"/>
                  </a:lnTo>
                  <a:lnTo>
                    <a:pt x="720" y="270"/>
                  </a:lnTo>
                  <a:lnTo>
                    <a:pt x="720" y="264"/>
                  </a:lnTo>
                  <a:lnTo>
                    <a:pt x="720" y="258"/>
                  </a:lnTo>
                  <a:lnTo>
                    <a:pt x="726" y="258"/>
                  </a:lnTo>
                  <a:lnTo>
                    <a:pt x="732" y="258"/>
                  </a:lnTo>
                  <a:lnTo>
                    <a:pt x="732" y="264"/>
                  </a:lnTo>
                  <a:lnTo>
                    <a:pt x="738" y="264"/>
                  </a:lnTo>
                  <a:lnTo>
                    <a:pt x="738" y="258"/>
                  </a:lnTo>
                  <a:lnTo>
                    <a:pt x="732" y="258"/>
                  </a:lnTo>
                  <a:lnTo>
                    <a:pt x="732" y="252"/>
                  </a:lnTo>
                  <a:lnTo>
                    <a:pt x="744" y="252"/>
                  </a:lnTo>
                  <a:lnTo>
                    <a:pt x="750" y="252"/>
                  </a:lnTo>
                  <a:lnTo>
                    <a:pt x="750" y="246"/>
                  </a:lnTo>
                  <a:lnTo>
                    <a:pt x="750" y="240"/>
                  </a:lnTo>
                  <a:lnTo>
                    <a:pt x="762" y="234"/>
                  </a:lnTo>
                  <a:lnTo>
                    <a:pt x="768" y="234"/>
                  </a:lnTo>
                  <a:lnTo>
                    <a:pt x="774" y="234"/>
                  </a:lnTo>
                  <a:lnTo>
                    <a:pt x="780" y="228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16"/>
                  </a:lnTo>
                  <a:lnTo>
                    <a:pt x="792" y="210"/>
                  </a:lnTo>
                  <a:lnTo>
                    <a:pt x="804" y="204"/>
                  </a:lnTo>
                  <a:lnTo>
                    <a:pt x="804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0" y="192"/>
                  </a:lnTo>
                  <a:lnTo>
                    <a:pt x="798" y="186"/>
                  </a:lnTo>
                  <a:lnTo>
                    <a:pt x="810" y="186"/>
                  </a:lnTo>
                  <a:lnTo>
                    <a:pt x="810" y="180"/>
                  </a:lnTo>
                  <a:lnTo>
                    <a:pt x="810" y="186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0" y="180"/>
                  </a:lnTo>
                  <a:lnTo>
                    <a:pt x="816" y="174"/>
                  </a:lnTo>
                  <a:lnTo>
                    <a:pt x="822" y="174"/>
                  </a:lnTo>
                  <a:lnTo>
                    <a:pt x="822" y="180"/>
                  </a:lnTo>
                  <a:lnTo>
                    <a:pt x="828" y="180"/>
                  </a:lnTo>
                  <a:lnTo>
                    <a:pt x="828" y="174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62"/>
                  </a:lnTo>
                  <a:lnTo>
                    <a:pt x="828" y="156"/>
                  </a:lnTo>
                  <a:lnTo>
                    <a:pt x="822" y="156"/>
                  </a:lnTo>
                  <a:lnTo>
                    <a:pt x="828" y="156"/>
                  </a:lnTo>
                  <a:lnTo>
                    <a:pt x="828" y="150"/>
                  </a:lnTo>
                  <a:lnTo>
                    <a:pt x="834" y="150"/>
                  </a:lnTo>
                  <a:lnTo>
                    <a:pt x="840" y="156"/>
                  </a:lnTo>
                  <a:lnTo>
                    <a:pt x="840" y="150"/>
                  </a:lnTo>
                  <a:lnTo>
                    <a:pt x="834" y="150"/>
                  </a:lnTo>
                  <a:lnTo>
                    <a:pt x="834" y="144"/>
                  </a:lnTo>
                  <a:lnTo>
                    <a:pt x="840" y="138"/>
                  </a:lnTo>
                  <a:lnTo>
                    <a:pt x="846" y="144"/>
                  </a:lnTo>
                  <a:lnTo>
                    <a:pt x="846" y="150"/>
                  </a:lnTo>
                  <a:lnTo>
                    <a:pt x="852" y="150"/>
                  </a:lnTo>
                  <a:lnTo>
                    <a:pt x="858" y="150"/>
                  </a:lnTo>
                  <a:lnTo>
                    <a:pt x="870" y="150"/>
                  </a:lnTo>
                  <a:lnTo>
                    <a:pt x="870" y="144"/>
                  </a:lnTo>
                  <a:lnTo>
                    <a:pt x="876" y="138"/>
                  </a:lnTo>
                  <a:lnTo>
                    <a:pt x="882" y="138"/>
                  </a:lnTo>
                  <a:lnTo>
                    <a:pt x="888" y="132"/>
                  </a:lnTo>
                  <a:lnTo>
                    <a:pt x="888" y="138"/>
                  </a:lnTo>
                  <a:lnTo>
                    <a:pt x="894" y="138"/>
                  </a:lnTo>
                  <a:lnTo>
                    <a:pt x="894" y="132"/>
                  </a:lnTo>
                  <a:lnTo>
                    <a:pt x="900" y="126"/>
                  </a:lnTo>
                  <a:lnTo>
                    <a:pt x="900" y="132"/>
                  </a:lnTo>
                  <a:lnTo>
                    <a:pt x="906" y="132"/>
                  </a:lnTo>
                  <a:lnTo>
                    <a:pt x="912" y="132"/>
                  </a:lnTo>
                  <a:lnTo>
                    <a:pt x="918" y="126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24" y="126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8" y="120"/>
                  </a:lnTo>
                  <a:lnTo>
                    <a:pt x="948" y="114"/>
                  </a:lnTo>
                  <a:lnTo>
                    <a:pt x="948" y="108"/>
                  </a:lnTo>
                  <a:lnTo>
                    <a:pt x="954" y="114"/>
                  </a:lnTo>
                  <a:lnTo>
                    <a:pt x="960" y="108"/>
                  </a:lnTo>
                  <a:lnTo>
                    <a:pt x="966" y="108"/>
                  </a:lnTo>
                  <a:lnTo>
                    <a:pt x="972" y="108"/>
                  </a:lnTo>
                  <a:lnTo>
                    <a:pt x="966" y="114"/>
                  </a:lnTo>
                  <a:lnTo>
                    <a:pt x="960" y="114"/>
                  </a:lnTo>
                  <a:lnTo>
                    <a:pt x="960" y="120"/>
                  </a:lnTo>
                  <a:lnTo>
                    <a:pt x="966" y="126"/>
                  </a:lnTo>
                  <a:lnTo>
                    <a:pt x="972" y="126"/>
                  </a:lnTo>
                  <a:lnTo>
                    <a:pt x="978" y="126"/>
                  </a:lnTo>
                  <a:lnTo>
                    <a:pt x="984" y="120"/>
                  </a:lnTo>
                  <a:lnTo>
                    <a:pt x="984" y="114"/>
                  </a:lnTo>
                  <a:lnTo>
                    <a:pt x="996" y="126"/>
                  </a:lnTo>
                  <a:lnTo>
                    <a:pt x="996" y="120"/>
                  </a:lnTo>
                  <a:lnTo>
                    <a:pt x="1002" y="120"/>
                  </a:lnTo>
                  <a:lnTo>
                    <a:pt x="996" y="114"/>
                  </a:lnTo>
                  <a:lnTo>
                    <a:pt x="1002" y="114"/>
                  </a:lnTo>
                  <a:lnTo>
                    <a:pt x="1008" y="114"/>
                  </a:lnTo>
                  <a:lnTo>
                    <a:pt x="1008" y="108"/>
                  </a:lnTo>
                  <a:lnTo>
                    <a:pt x="1014" y="108"/>
                  </a:lnTo>
                  <a:lnTo>
                    <a:pt x="1008" y="114"/>
                  </a:lnTo>
                  <a:lnTo>
                    <a:pt x="1008" y="120"/>
                  </a:lnTo>
                  <a:lnTo>
                    <a:pt x="1008" y="126"/>
                  </a:lnTo>
                  <a:lnTo>
                    <a:pt x="1014" y="126"/>
                  </a:lnTo>
                  <a:lnTo>
                    <a:pt x="1014" y="132"/>
                  </a:lnTo>
                  <a:lnTo>
                    <a:pt x="1020" y="132"/>
                  </a:lnTo>
                  <a:lnTo>
                    <a:pt x="1020" y="126"/>
                  </a:lnTo>
                  <a:lnTo>
                    <a:pt x="1020" y="120"/>
                  </a:lnTo>
                  <a:lnTo>
                    <a:pt x="1032" y="120"/>
                  </a:lnTo>
                  <a:lnTo>
                    <a:pt x="1038" y="120"/>
                  </a:lnTo>
                  <a:lnTo>
                    <a:pt x="1038" y="126"/>
                  </a:lnTo>
                  <a:lnTo>
                    <a:pt x="1044" y="132"/>
                  </a:lnTo>
                  <a:lnTo>
                    <a:pt x="1044" y="126"/>
                  </a:lnTo>
                  <a:lnTo>
                    <a:pt x="1050" y="120"/>
                  </a:lnTo>
                  <a:lnTo>
                    <a:pt x="1050" y="114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68" y="102"/>
                  </a:lnTo>
                  <a:lnTo>
                    <a:pt x="1074" y="96"/>
                  </a:lnTo>
                  <a:lnTo>
                    <a:pt x="1074" y="90"/>
                  </a:lnTo>
                  <a:lnTo>
                    <a:pt x="1068" y="90"/>
                  </a:lnTo>
                  <a:lnTo>
                    <a:pt x="1068" y="84"/>
                  </a:lnTo>
                  <a:lnTo>
                    <a:pt x="1080" y="84"/>
                  </a:lnTo>
                  <a:lnTo>
                    <a:pt x="1086" y="78"/>
                  </a:lnTo>
                  <a:lnTo>
                    <a:pt x="1086" y="72"/>
                  </a:lnTo>
                  <a:lnTo>
                    <a:pt x="1080" y="78"/>
                  </a:lnTo>
                  <a:lnTo>
                    <a:pt x="1080" y="72"/>
                  </a:lnTo>
                  <a:lnTo>
                    <a:pt x="1080" y="66"/>
                  </a:lnTo>
                  <a:lnTo>
                    <a:pt x="1074" y="66"/>
                  </a:lnTo>
                  <a:lnTo>
                    <a:pt x="1080" y="66"/>
                  </a:lnTo>
                  <a:lnTo>
                    <a:pt x="1080" y="60"/>
                  </a:lnTo>
                  <a:lnTo>
                    <a:pt x="1086" y="60"/>
                  </a:lnTo>
                  <a:lnTo>
                    <a:pt x="1086" y="54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2" y="42"/>
                  </a:lnTo>
                  <a:lnTo>
                    <a:pt x="1098" y="42"/>
                  </a:lnTo>
                  <a:lnTo>
                    <a:pt x="1104" y="36"/>
                  </a:lnTo>
                  <a:lnTo>
                    <a:pt x="1110" y="36"/>
                  </a:lnTo>
                  <a:lnTo>
                    <a:pt x="1110" y="30"/>
                  </a:lnTo>
                  <a:lnTo>
                    <a:pt x="1110" y="24"/>
                  </a:lnTo>
                  <a:lnTo>
                    <a:pt x="1116" y="24"/>
                  </a:lnTo>
                  <a:lnTo>
                    <a:pt x="1116" y="18"/>
                  </a:lnTo>
                  <a:lnTo>
                    <a:pt x="1122" y="18"/>
                  </a:lnTo>
                  <a:lnTo>
                    <a:pt x="1128" y="18"/>
                  </a:lnTo>
                  <a:lnTo>
                    <a:pt x="1134" y="12"/>
                  </a:lnTo>
                  <a:lnTo>
                    <a:pt x="1134" y="6"/>
                  </a:lnTo>
                  <a:lnTo>
                    <a:pt x="1140" y="6"/>
                  </a:lnTo>
                  <a:lnTo>
                    <a:pt x="1146" y="0"/>
                  </a:lnTo>
                  <a:lnTo>
                    <a:pt x="1152" y="0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70" y="0"/>
                  </a:lnTo>
                  <a:lnTo>
                    <a:pt x="1176" y="6"/>
                  </a:lnTo>
                  <a:lnTo>
                    <a:pt x="1182" y="6"/>
                  </a:lnTo>
                  <a:lnTo>
                    <a:pt x="1194" y="6"/>
                  </a:lnTo>
                  <a:lnTo>
                    <a:pt x="1200" y="6"/>
                  </a:lnTo>
                  <a:lnTo>
                    <a:pt x="1212" y="0"/>
                  </a:lnTo>
                  <a:lnTo>
                    <a:pt x="1212" y="6"/>
                  </a:lnTo>
                  <a:lnTo>
                    <a:pt x="1218" y="6"/>
                  </a:lnTo>
                  <a:lnTo>
                    <a:pt x="1266" y="6"/>
                  </a:lnTo>
                  <a:lnTo>
                    <a:pt x="1272" y="0"/>
                  </a:lnTo>
                  <a:lnTo>
                    <a:pt x="1278" y="6"/>
                  </a:lnTo>
                  <a:lnTo>
                    <a:pt x="1290" y="6"/>
                  </a:lnTo>
                  <a:lnTo>
                    <a:pt x="1296" y="6"/>
                  </a:lnTo>
                  <a:lnTo>
                    <a:pt x="1308" y="6"/>
                  </a:lnTo>
                  <a:lnTo>
                    <a:pt x="1314" y="6"/>
                  </a:lnTo>
                  <a:lnTo>
                    <a:pt x="1320" y="6"/>
                  </a:lnTo>
                  <a:lnTo>
                    <a:pt x="1326" y="12"/>
                  </a:lnTo>
                  <a:lnTo>
                    <a:pt x="1338" y="30"/>
                  </a:lnTo>
                  <a:lnTo>
                    <a:pt x="1344" y="36"/>
                  </a:lnTo>
                  <a:lnTo>
                    <a:pt x="1356" y="48"/>
                  </a:lnTo>
                  <a:lnTo>
                    <a:pt x="1362" y="60"/>
                  </a:lnTo>
                  <a:lnTo>
                    <a:pt x="1368" y="66"/>
                  </a:lnTo>
                  <a:lnTo>
                    <a:pt x="1374" y="72"/>
                  </a:lnTo>
                  <a:lnTo>
                    <a:pt x="1374" y="78"/>
                  </a:lnTo>
                  <a:lnTo>
                    <a:pt x="1398" y="108"/>
                  </a:lnTo>
                  <a:lnTo>
                    <a:pt x="1398" y="114"/>
                  </a:lnTo>
                  <a:lnTo>
                    <a:pt x="1404" y="114"/>
                  </a:lnTo>
                  <a:lnTo>
                    <a:pt x="1404" y="120"/>
                  </a:lnTo>
                  <a:lnTo>
                    <a:pt x="1410" y="132"/>
                  </a:lnTo>
                  <a:lnTo>
                    <a:pt x="1416" y="132"/>
                  </a:lnTo>
                  <a:lnTo>
                    <a:pt x="1416" y="138"/>
                  </a:lnTo>
                  <a:lnTo>
                    <a:pt x="1422" y="144"/>
                  </a:lnTo>
                  <a:lnTo>
                    <a:pt x="1428" y="150"/>
                  </a:lnTo>
                  <a:lnTo>
                    <a:pt x="1428" y="156"/>
                  </a:lnTo>
                  <a:lnTo>
                    <a:pt x="1458" y="192"/>
                  </a:lnTo>
                  <a:lnTo>
                    <a:pt x="1458" y="198"/>
                  </a:lnTo>
                  <a:lnTo>
                    <a:pt x="1464" y="204"/>
                  </a:lnTo>
                  <a:lnTo>
                    <a:pt x="1470" y="210"/>
                  </a:lnTo>
                  <a:lnTo>
                    <a:pt x="1476" y="216"/>
                  </a:lnTo>
                  <a:lnTo>
                    <a:pt x="1482" y="228"/>
                  </a:lnTo>
                  <a:lnTo>
                    <a:pt x="1488" y="234"/>
                  </a:lnTo>
                  <a:lnTo>
                    <a:pt x="1512" y="270"/>
                  </a:lnTo>
                  <a:lnTo>
                    <a:pt x="1512" y="276"/>
                  </a:lnTo>
                  <a:lnTo>
                    <a:pt x="1530" y="300"/>
                  </a:lnTo>
                  <a:lnTo>
                    <a:pt x="1536" y="306"/>
                  </a:lnTo>
                  <a:lnTo>
                    <a:pt x="1542" y="312"/>
                  </a:lnTo>
                  <a:lnTo>
                    <a:pt x="1542" y="318"/>
                  </a:lnTo>
                  <a:lnTo>
                    <a:pt x="1560" y="336"/>
                  </a:lnTo>
                  <a:lnTo>
                    <a:pt x="1566" y="348"/>
                  </a:lnTo>
                  <a:lnTo>
                    <a:pt x="1572" y="354"/>
                  </a:lnTo>
                  <a:lnTo>
                    <a:pt x="1578" y="360"/>
                  </a:lnTo>
                  <a:lnTo>
                    <a:pt x="1584" y="378"/>
                  </a:lnTo>
                  <a:lnTo>
                    <a:pt x="1590" y="378"/>
                  </a:lnTo>
                  <a:lnTo>
                    <a:pt x="1596" y="390"/>
                  </a:lnTo>
                  <a:lnTo>
                    <a:pt x="1602" y="396"/>
                  </a:lnTo>
                  <a:lnTo>
                    <a:pt x="1608" y="408"/>
                  </a:lnTo>
                  <a:lnTo>
                    <a:pt x="1614" y="408"/>
                  </a:lnTo>
                  <a:lnTo>
                    <a:pt x="1614" y="432"/>
                  </a:lnTo>
                  <a:lnTo>
                    <a:pt x="1620" y="438"/>
                  </a:lnTo>
                  <a:lnTo>
                    <a:pt x="1620" y="450"/>
                  </a:lnTo>
                  <a:lnTo>
                    <a:pt x="1620" y="462"/>
                  </a:lnTo>
                  <a:lnTo>
                    <a:pt x="1626" y="474"/>
                  </a:lnTo>
                  <a:lnTo>
                    <a:pt x="1626" y="480"/>
                  </a:lnTo>
                  <a:lnTo>
                    <a:pt x="1626" y="486"/>
                  </a:lnTo>
                  <a:lnTo>
                    <a:pt x="1632" y="522"/>
                  </a:lnTo>
                  <a:lnTo>
                    <a:pt x="1632" y="528"/>
                  </a:lnTo>
                  <a:lnTo>
                    <a:pt x="1632" y="534"/>
                  </a:lnTo>
                  <a:lnTo>
                    <a:pt x="1638" y="540"/>
                  </a:lnTo>
                  <a:lnTo>
                    <a:pt x="1638" y="558"/>
                  </a:lnTo>
                  <a:lnTo>
                    <a:pt x="1638" y="570"/>
                  </a:lnTo>
                  <a:lnTo>
                    <a:pt x="1644" y="582"/>
                  </a:lnTo>
                  <a:lnTo>
                    <a:pt x="1650" y="618"/>
                  </a:lnTo>
                  <a:lnTo>
                    <a:pt x="1650" y="624"/>
                  </a:lnTo>
                  <a:lnTo>
                    <a:pt x="1650" y="636"/>
                  </a:lnTo>
                  <a:lnTo>
                    <a:pt x="1656" y="642"/>
                  </a:lnTo>
                  <a:lnTo>
                    <a:pt x="1656" y="648"/>
                  </a:lnTo>
                  <a:lnTo>
                    <a:pt x="1656" y="654"/>
                  </a:lnTo>
                  <a:lnTo>
                    <a:pt x="1656" y="660"/>
                  </a:lnTo>
                  <a:lnTo>
                    <a:pt x="1662" y="696"/>
                  </a:lnTo>
                  <a:lnTo>
                    <a:pt x="1668" y="708"/>
                  </a:lnTo>
                  <a:lnTo>
                    <a:pt x="1668" y="714"/>
                  </a:lnTo>
                  <a:lnTo>
                    <a:pt x="1668" y="732"/>
                  </a:lnTo>
                  <a:lnTo>
                    <a:pt x="1668" y="744"/>
                  </a:lnTo>
                  <a:lnTo>
                    <a:pt x="1674" y="756"/>
                  </a:lnTo>
                  <a:lnTo>
                    <a:pt x="1680" y="762"/>
                  </a:lnTo>
                  <a:lnTo>
                    <a:pt x="1680" y="768"/>
                  </a:lnTo>
                  <a:lnTo>
                    <a:pt x="1680" y="774"/>
                  </a:lnTo>
                  <a:lnTo>
                    <a:pt x="1680" y="780"/>
                  </a:lnTo>
                  <a:lnTo>
                    <a:pt x="1674" y="786"/>
                  </a:lnTo>
                  <a:lnTo>
                    <a:pt x="1668" y="792"/>
                  </a:lnTo>
                  <a:lnTo>
                    <a:pt x="1668" y="798"/>
                  </a:lnTo>
                  <a:lnTo>
                    <a:pt x="1668" y="804"/>
                  </a:lnTo>
                  <a:lnTo>
                    <a:pt x="1674" y="804"/>
                  </a:lnTo>
                  <a:lnTo>
                    <a:pt x="1668" y="810"/>
                  </a:lnTo>
                  <a:lnTo>
                    <a:pt x="1674" y="810"/>
                  </a:lnTo>
                  <a:lnTo>
                    <a:pt x="1680" y="810"/>
                  </a:lnTo>
                  <a:lnTo>
                    <a:pt x="1680" y="816"/>
                  </a:lnTo>
                  <a:lnTo>
                    <a:pt x="1680" y="822"/>
                  </a:lnTo>
                  <a:lnTo>
                    <a:pt x="1674" y="822"/>
                  </a:lnTo>
                  <a:lnTo>
                    <a:pt x="1674" y="828"/>
                  </a:lnTo>
                  <a:lnTo>
                    <a:pt x="1668" y="828"/>
                  </a:lnTo>
                  <a:lnTo>
                    <a:pt x="1674" y="834"/>
                  </a:lnTo>
                  <a:lnTo>
                    <a:pt x="1668" y="834"/>
                  </a:lnTo>
                  <a:lnTo>
                    <a:pt x="1668" y="840"/>
                  </a:lnTo>
                  <a:lnTo>
                    <a:pt x="1674" y="840"/>
                  </a:lnTo>
                  <a:lnTo>
                    <a:pt x="1686" y="852"/>
                  </a:lnTo>
                  <a:lnTo>
                    <a:pt x="1692" y="858"/>
                  </a:lnTo>
                  <a:lnTo>
                    <a:pt x="1698" y="858"/>
                  </a:lnTo>
                  <a:lnTo>
                    <a:pt x="1698" y="864"/>
                  </a:lnTo>
                  <a:lnTo>
                    <a:pt x="1698" y="870"/>
                  </a:lnTo>
                  <a:lnTo>
                    <a:pt x="1704" y="864"/>
                  </a:lnTo>
                  <a:lnTo>
                    <a:pt x="1716" y="864"/>
                  </a:lnTo>
                  <a:lnTo>
                    <a:pt x="1722" y="864"/>
                  </a:lnTo>
                  <a:lnTo>
                    <a:pt x="1728" y="864"/>
                  </a:lnTo>
                  <a:lnTo>
                    <a:pt x="1734" y="864"/>
                  </a:lnTo>
                  <a:lnTo>
                    <a:pt x="1740" y="864"/>
                  </a:lnTo>
                  <a:lnTo>
                    <a:pt x="1746" y="876"/>
                  </a:lnTo>
                  <a:lnTo>
                    <a:pt x="1746" y="870"/>
                  </a:lnTo>
                  <a:lnTo>
                    <a:pt x="1740" y="864"/>
                  </a:lnTo>
                  <a:lnTo>
                    <a:pt x="1746" y="864"/>
                  </a:lnTo>
                  <a:lnTo>
                    <a:pt x="1752" y="870"/>
                  </a:lnTo>
                  <a:lnTo>
                    <a:pt x="1758" y="864"/>
                  </a:lnTo>
                  <a:lnTo>
                    <a:pt x="1764" y="864"/>
                  </a:lnTo>
                  <a:lnTo>
                    <a:pt x="1770" y="858"/>
                  </a:lnTo>
                  <a:lnTo>
                    <a:pt x="1782" y="864"/>
                  </a:lnTo>
                  <a:lnTo>
                    <a:pt x="1782" y="870"/>
                  </a:lnTo>
                  <a:lnTo>
                    <a:pt x="1788" y="864"/>
                  </a:lnTo>
                  <a:lnTo>
                    <a:pt x="1794" y="864"/>
                  </a:lnTo>
                  <a:lnTo>
                    <a:pt x="1800" y="870"/>
                  </a:lnTo>
                  <a:lnTo>
                    <a:pt x="1818" y="864"/>
                  </a:lnTo>
                  <a:lnTo>
                    <a:pt x="1824" y="870"/>
                  </a:lnTo>
                  <a:lnTo>
                    <a:pt x="1830" y="864"/>
                  </a:lnTo>
                  <a:lnTo>
                    <a:pt x="1836" y="864"/>
                  </a:lnTo>
                  <a:lnTo>
                    <a:pt x="1842" y="870"/>
                  </a:lnTo>
                  <a:lnTo>
                    <a:pt x="1842" y="876"/>
                  </a:lnTo>
                  <a:lnTo>
                    <a:pt x="1848" y="876"/>
                  </a:lnTo>
                  <a:lnTo>
                    <a:pt x="1848" y="870"/>
                  </a:lnTo>
                  <a:lnTo>
                    <a:pt x="1854" y="870"/>
                  </a:lnTo>
                  <a:lnTo>
                    <a:pt x="1860" y="870"/>
                  </a:lnTo>
                  <a:lnTo>
                    <a:pt x="1860" y="876"/>
                  </a:lnTo>
                  <a:lnTo>
                    <a:pt x="1866" y="876"/>
                  </a:lnTo>
                  <a:lnTo>
                    <a:pt x="1866" y="882"/>
                  </a:lnTo>
                  <a:lnTo>
                    <a:pt x="1872" y="882"/>
                  </a:lnTo>
                  <a:lnTo>
                    <a:pt x="1878" y="888"/>
                  </a:lnTo>
                  <a:lnTo>
                    <a:pt x="1890" y="888"/>
                  </a:lnTo>
                  <a:lnTo>
                    <a:pt x="1890" y="894"/>
                  </a:lnTo>
                  <a:lnTo>
                    <a:pt x="1890" y="900"/>
                  </a:lnTo>
                  <a:lnTo>
                    <a:pt x="1884" y="900"/>
                  </a:lnTo>
                  <a:lnTo>
                    <a:pt x="1884" y="906"/>
                  </a:lnTo>
                  <a:lnTo>
                    <a:pt x="1884" y="912"/>
                  </a:lnTo>
                  <a:lnTo>
                    <a:pt x="1890" y="912"/>
                  </a:lnTo>
                  <a:lnTo>
                    <a:pt x="1896" y="912"/>
                  </a:lnTo>
                  <a:lnTo>
                    <a:pt x="1902" y="912"/>
                  </a:lnTo>
                  <a:lnTo>
                    <a:pt x="1908" y="918"/>
                  </a:lnTo>
                  <a:lnTo>
                    <a:pt x="1908" y="924"/>
                  </a:lnTo>
                  <a:lnTo>
                    <a:pt x="1908" y="930"/>
                  </a:lnTo>
                  <a:lnTo>
                    <a:pt x="1908" y="936"/>
                  </a:lnTo>
                  <a:lnTo>
                    <a:pt x="1914" y="936"/>
                  </a:lnTo>
                  <a:lnTo>
                    <a:pt x="1914" y="942"/>
                  </a:lnTo>
                  <a:lnTo>
                    <a:pt x="1908" y="948"/>
                  </a:lnTo>
                  <a:lnTo>
                    <a:pt x="1914" y="948"/>
                  </a:lnTo>
                  <a:lnTo>
                    <a:pt x="1920" y="954"/>
                  </a:lnTo>
                  <a:lnTo>
                    <a:pt x="1926" y="954"/>
                  </a:lnTo>
                  <a:lnTo>
                    <a:pt x="1932" y="954"/>
                  </a:lnTo>
                  <a:lnTo>
                    <a:pt x="1938" y="954"/>
                  </a:lnTo>
                  <a:lnTo>
                    <a:pt x="1938" y="960"/>
                  </a:lnTo>
                  <a:lnTo>
                    <a:pt x="1944" y="966"/>
                  </a:lnTo>
                  <a:lnTo>
                    <a:pt x="1944" y="972"/>
                  </a:lnTo>
                  <a:lnTo>
                    <a:pt x="1944" y="978"/>
                  </a:lnTo>
                  <a:lnTo>
                    <a:pt x="1950" y="978"/>
                  </a:lnTo>
                  <a:lnTo>
                    <a:pt x="1950" y="984"/>
                  </a:lnTo>
                  <a:lnTo>
                    <a:pt x="1956" y="984"/>
                  </a:lnTo>
                  <a:lnTo>
                    <a:pt x="1962" y="984"/>
                  </a:lnTo>
                  <a:lnTo>
                    <a:pt x="1962" y="978"/>
                  </a:lnTo>
                  <a:lnTo>
                    <a:pt x="1968" y="978"/>
                  </a:lnTo>
                  <a:lnTo>
                    <a:pt x="1974" y="978"/>
                  </a:lnTo>
                  <a:lnTo>
                    <a:pt x="1980" y="972"/>
                  </a:lnTo>
                  <a:lnTo>
                    <a:pt x="1980" y="978"/>
                  </a:lnTo>
                  <a:lnTo>
                    <a:pt x="1980" y="984"/>
                  </a:lnTo>
                  <a:lnTo>
                    <a:pt x="1986" y="984"/>
                  </a:lnTo>
                  <a:lnTo>
                    <a:pt x="1992" y="990"/>
                  </a:lnTo>
                  <a:lnTo>
                    <a:pt x="1992" y="996"/>
                  </a:lnTo>
                  <a:lnTo>
                    <a:pt x="1992" y="1002"/>
                  </a:lnTo>
                  <a:lnTo>
                    <a:pt x="1974" y="1008"/>
                  </a:lnTo>
                  <a:lnTo>
                    <a:pt x="1974" y="1014"/>
                  </a:lnTo>
                  <a:lnTo>
                    <a:pt x="1974" y="1020"/>
                  </a:lnTo>
                  <a:lnTo>
                    <a:pt x="1974" y="1026"/>
                  </a:lnTo>
                  <a:lnTo>
                    <a:pt x="1968" y="1038"/>
                  </a:lnTo>
                  <a:lnTo>
                    <a:pt x="1968" y="1044"/>
                  </a:lnTo>
                  <a:lnTo>
                    <a:pt x="1974" y="1056"/>
                  </a:lnTo>
                  <a:lnTo>
                    <a:pt x="1968" y="1062"/>
                  </a:lnTo>
                  <a:lnTo>
                    <a:pt x="1962" y="1062"/>
                  </a:lnTo>
                  <a:lnTo>
                    <a:pt x="1956" y="1068"/>
                  </a:lnTo>
                  <a:lnTo>
                    <a:pt x="1956" y="1074"/>
                  </a:lnTo>
                  <a:lnTo>
                    <a:pt x="1956" y="1080"/>
                  </a:lnTo>
                  <a:lnTo>
                    <a:pt x="1956" y="1086"/>
                  </a:lnTo>
                  <a:lnTo>
                    <a:pt x="1956" y="1092"/>
                  </a:lnTo>
                  <a:lnTo>
                    <a:pt x="1962" y="1092"/>
                  </a:lnTo>
                  <a:lnTo>
                    <a:pt x="1962" y="1104"/>
                  </a:lnTo>
                  <a:lnTo>
                    <a:pt x="1968" y="1110"/>
                  </a:lnTo>
                  <a:lnTo>
                    <a:pt x="1968" y="1116"/>
                  </a:lnTo>
                  <a:lnTo>
                    <a:pt x="1974" y="1116"/>
                  </a:lnTo>
                  <a:lnTo>
                    <a:pt x="1974" y="1122"/>
                  </a:lnTo>
                  <a:lnTo>
                    <a:pt x="1980" y="1122"/>
                  </a:lnTo>
                  <a:lnTo>
                    <a:pt x="1974" y="1128"/>
                  </a:lnTo>
                  <a:lnTo>
                    <a:pt x="1968" y="1134"/>
                  </a:lnTo>
                  <a:lnTo>
                    <a:pt x="1962" y="1140"/>
                  </a:lnTo>
                  <a:lnTo>
                    <a:pt x="1962" y="1146"/>
                  </a:lnTo>
                  <a:lnTo>
                    <a:pt x="1968" y="1152"/>
                  </a:lnTo>
                  <a:lnTo>
                    <a:pt x="1968" y="1158"/>
                  </a:lnTo>
                  <a:lnTo>
                    <a:pt x="1962" y="1158"/>
                  </a:lnTo>
                  <a:lnTo>
                    <a:pt x="1962" y="1164"/>
                  </a:lnTo>
                  <a:lnTo>
                    <a:pt x="1956" y="1164"/>
                  </a:lnTo>
                  <a:lnTo>
                    <a:pt x="1956" y="1170"/>
                  </a:lnTo>
                  <a:lnTo>
                    <a:pt x="1944" y="1182"/>
                  </a:lnTo>
                  <a:lnTo>
                    <a:pt x="1944" y="1188"/>
                  </a:lnTo>
                  <a:lnTo>
                    <a:pt x="1950" y="1188"/>
                  </a:lnTo>
                  <a:lnTo>
                    <a:pt x="1944" y="1200"/>
                  </a:lnTo>
                  <a:lnTo>
                    <a:pt x="1944" y="1206"/>
                  </a:lnTo>
                  <a:lnTo>
                    <a:pt x="1944" y="1212"/>
                  </a:lnTo>
                  <a:lnTo>
                    <a:pt x="1944" y="1218"/>
                  </a:lnTo>
                  <a:lnTo>
                    <a:pt x="1944" y="1230"/>
                  </a:lnTo>
                  <a:lnTo>
                    <a:pt x="1944" y="1236"/>
                  </a:lnTo>
                  <a:lnTo>
                    <a:pt x="1944" y="1242"/>
                  </a:lnTo>
                  <a:lnTo>
                    <a:pt x="1938" y="1248"/>
                  </a:lnTo>
                  <a:lnTo>
                    <a:pt x="1938" y="1254"/>
                  </a:lnTo>
                  <a:lnTo>
                    <a:pt x="1932" y="1254"/>
                  </a:lnTo>
                  <a:lnTo>
                    <a:pt x="1926" y="1260"/>
                  </a:lnTo>
                  <a:lnTo>
                    <a:pt x="1920" y="1266"/>
                  </a:lnTo>
                  <a:lnTo>
                    <a:pt x="1914" y="1272"/>
                  </a:lnTo>
                  <a:lnTo>
                    <a:pt x="1908" y="1272"/>
                  </a:lnTo>
                  <a:lnTo>
                    <a:pt x="1908" y="1278"/>
                  </a:lnTo>
                  <a:lnTo>
                    <a:pt x="1914" y="1278"/>
                  </a:lnTo>
                  <a:lnTo>
                    <a:pt x="1914" y="1290"/>
                  </a:lnTo>
                  <a:lnTo>
                    <a:pt x="1920" y="1296"/>
                  </a:lnTo>
                  <a:lnTo>
                    <a:pt x="1938" y="1302"/>
                  </a:lnTo>
                  <a:lnTo>
                    <a:pt x="1944" y="1308"/>
                  </a:lnTo>
                  <a:lnTo>
                    <a:pt x="1950" y="1314"/>
                  </a:lnTo>
                  <a:lnTo>
                    <a:pt x="1956" y="1314"/>
                  </a:lnTo>
                  <a:lnTo>
                    <a:pt x="1962" y="1320"/>
                  </a:lnTo>
                  <a:lnTo>
                    <a:pt x="1962" y="1326"/>
                  </a:lnTo>
                  <a:lnTo>
                    <a:pt x="1968" y="1326"/>
                  </a:lnTo>
                  <a:lnTo>
                    <a:pt x="1968" y="1332"/>
                  </a:lnTo>
                  <a:lnTo>
                    <a:pt x="1968" y="1344"/>
                  </a:lnTo>
                  <a:lnTo>
                    <a:pt x="1968" y="1350"/>
                  </a:lnTo>
                  <a:lnTo>
                    <a:pt x="1968" y="1368"/>
                  </a:lnTo>
                  <a:lnTo>
                    <a:pt x="1962" y="1380"/>
                  </a:lnTo>
                  <a:lnTo>
                    <a:pt x="1968" y="1392"/>
                  </a:lnTo>
                  <a:lnTo>
                    <a:pt x="1962" y="1398"/>
                  </a:lnTo>
                  <a:lnTo>
                    <a:pt x="1956" y="1404"/>
                  </a:lnTo>
                  <a:lnTo>
                    <a:pt x="1950" y="1410"/>
                  </a:lnTo>
                  <a:lnTo>
                    <a:pt x="1944" y="1410"/>
                  </a:lnTo>
                  <a:lnTo>
                    <a:pt x="1932" y="1416"/>
                  </a:lnTo>
                  <a:lnTo>
                    <a:pt x="1926" y="1416"/>
                  </a:lnTo>
                  <a:lnTo>
                    <a:pt x="1896" y="1428"/>
                  </a:lnTo>
                  <a:lnTo>
                    <a:pt x="1884" y="1434"/>
                  </a:lnTo>
                  <a:lnTo>
                    <a:pt x="1878" y="1434"/>
                  </a:lnTo>
                  <a:lnTo>
                    <a:pt x="1866" y="1434"/>
                  </a:lnTo>
                  <a:lnTo>
                    <a:pt x="1854" y="1440"/>
                  </a:lnTo>
                  <a:lnTo>
                    <a:pt x="1848" y="1440"/>
                  </a:lnTo>
                  <a:lnTo>
                    <a:pt x="1842" y="1446"/>
                  </a:lnTo>
                  <a:lnTo>
                    <a:pt x="1842" y="1458"/>
                  </a:lnTo>
                  <a:lnTo>
                    <a:pt x="1836" y="1470"/>
                  </a:lnTo>
                  <a:lnTo>
                    <a:pt x="1830" y="1476"/>
                  </a:lnTo>
                  <a:lnTo>
                    <a:pt x="1824" y="1476"/>
                  </a:lnTo>
                  <a:lnTo>
                    <a:pt x="1806" y="1482"/>
                  </a:lnTo>
                  <a:lnTo>
                    <a:pt x="1800" y="1488"/>
                  </a:lnTo>
                  <a:lnTo>
                    <a:pt x="1794" y="1488"/>
                  </a:lnTo>
                  <a:lnTo>
                    <a:pt x="1788" y="1488"/>
                  </a:lnTo>
                  <a:lnTo>
                    <a:pt x="1776" y="1494"/>
                  </a:lnTo>
                  <a:lnTo>
                    <a:pt x="1764" y="1494"/>
                  </a:lnTo>
                  <a:lnTo>
                    <a:pt x="1758" y="1500"/>
                  </a:lnTo>
                  <a:lnTo>
                    <a:pt x="1746" y="1506"/>
                  </a:lnTo>
                  <a:lnTo>
                    <a:pt x="1728" y="1518"/>
                  </a:lnTo>
                  <a:lnTo>
                    <a:pt x="1716" y="1524"/>
                  </a:lnTo>
                  <a:lnTo>
                    <a:pt x="1710" y="1530"/>
                  </a:lnTo>
                  <a:lnTo>
                    <a:pt x="1704" y="1536"/>
                  </a:lnTo>
                  <a:lnTo>
                    <a:pt x="1698" y="1542"/>
                  </a:lnTo>
                  <a:lnTo>
                    <a:pt x="1692" y="1554"/>
                  </a:lnTo>
                  <a:lnTo>
                    <a:pt x="1686" y="1560"/>
                  </a:lnTo>
                  <a:lnTo>
                    <a:pt x="1680" y="1560"/>
                  </a:lnTo>
                  <a:lnTo>
                    <a:pt x="1674" y="1560"/>
                  </a:lnTo>
                  <a:lnTo>
                    <a:pt x="1656" y="1572"/>
                  </a:lnTo>
                  <a:lnTo>
                    <a:pt x="1650" y="1572"/>
                  </a:lnTo>
                  <a:lnTo>
                    <a:pt x="1644" y="1572"/>
                  </a:lnTo>
                  <a:lnTo>
                    <a:pt x="1638" y="1578"/>
                  </a:lnTo>
                  <a:lnTo>
                    <a:pt x="1632" y="1578"/>
                  </a:lnTo>
                  <a:lnTo>
                    <a:pt x="1626" y="1578"/>
                  </a:lnTo>
                  <a:lnTo>
                    <a:pt x="1620" y="1572"/>
                  </a:lnTo>
                  <a:lnTo>
                    <a:pt x="1614" y="1572"/>
                  </a:lnTo>
                  <a:lnTo>
                    <a:pt x="1608" y="1566"/>
                  </a:lnTo>
                  <a:lnTo>
                    <a:pt x="1602" y="1560"/>
                  </a:lnTo>
                  <a:lnTo>
                    <a:pt x="1596" y="1554"/>
                  </a:lnTo>
                  <a:lnTo>
                    <a:pt x="1590" y="1548"/>
                  </a:lnTo>
                  <a:lnTo>
                    <a:pt x="1578" y="1548"/>
                  </a:lnTo>
                  <a:lnTo>
                    <a:pt x="1572" y="1548"/>
                  </a:lnTo>
                  <a:lnTo>
                    <a:pt x="1566" y="1548"/>
                  </a:lnTo>
                  <a:lnTo>
                    <a:pt x="1554" y="1536"/>
                  </a:lnTo>
                  <a:lnTo>
                    <a:pt x="1548" y="1536"/>
                  </a:lnTo>
                  <a:lnTo>
                    <a:pt x="1542" y="1542"/>
                  </a:lnTo>
                  <a:lnTo>
                    <a:pt x="1536" y="1548"/>
                  </a:lnTo>
                  <a:lnTo>
                    <a:pt x="1536" y="1566"/>
                  </a:lnTo>
                  <a:lnTo>
                    <a:pt x="1530" y="1572"/>
                  </a:lnTo>
                  <a:lnTo>
                    <a:pt x="1524" y="1578"/>
                  </a:lnTo>
                  <a:lnTo>
                    <a:pt x="1518" y="1584"/>
                  </a:lnTo>
                  <a:lnTo>
                    <a:pt x="1512" y="1596"/>
                  </a:lnTo>
                  <a:lnTo>
                    <a:pt x="1506" y="1602"/>
                  </a:lnTo>
                  <a:lnTo>
                    <a:pt x="1506" y="1608"/>
                  </a:lnTo>
                  <a:lnTo>
                    <a:pt x="1506" y="1614"/>
                  </a:lnTo>
                  <a:lnTo>
                    <a:pt x="1500" y="1614"/>
                  </a:lnTo>
                  <a:lnTo>
                    <a:pt x="1500" y="1620"/>
                  </a:lnTo>
                  <a:lnTo>
                    <a:pt x="1500" y="1626"/>
                  </a:lnTo>
                  <a:lnTo>
                    <a:pt x="1494" y="1632"/>
                  </a:lnTo>
                  <a:lnTo>
                    <a:pt x="1488" y="1638"/>
                  </a:lnTo>
                  <a:lnTo>
                    <a:pt x="1482" y="1638"/>
                  </a:lnTo>
                  <a:lnTo>
                    <a:pt x="1482" y="1644"/>
                  </a:lnTo>
                  <a:lnTo>
                    <a:pt x="1482" y="1650"/>
                  </a:lnTo>
                  <a:lnTo>
                    <a:pt x="1482" y="1656"/>
                  </a:lnTo>
                  <a:lnTo>
                    <a:pt x="1476" y="1662"/>
                  </a:lnTo>
                  <a:lnTo>
                    <a:pt x="1470" y="1668"/>
                  </a:lnTo>
                  <a:lnTo>
                    <a:pt x="1464" y="1674"/>
                  </a:lnTo>
                  <a:lnTo>
                    <a:pt x="1464" y="1680"/>
                  </a:lnTo>
                  <a:lnTo>
                    <a:pt x="1458" y="1680"/>
                  </a:lnTo>
                  <a:lnTo>
                    <a:pt x="1452" y="1686"/>
                  </a:lnTo>
                  <a:lnTo>
                    <a:pt x="1446" y="1686"/>
                  </a:lnTo>
                  <a:lnTo>
                    <a:pt x="1440" y="1698"/>
                  </a:lnTo>
                  <a:lnTo>
                    <a:pt x="1440" y="1704"/>
                  </a:lnTo>
                  <a:lnTo>
                    <a:pt x="1434" y="1710"/>
                  </a:lnTo>
                  <a:lnTo>
                    <a:pt x="1434" y="1716"/>
                  </a:lnTo>
                  <a:lnTo>
                    <a:pt x="1428" y="1716"/>
                  </a:lnTo>
                  <a:lnTo>
                    <a:pt x="1428" y="1722"/>
                  </a:lnTo>
                  <a:lnTo>
                    <a:pt x="1428" y="1728"/>
                  </a:lnTo>
                  <a:lnTo>
                    <a:pt x="1422" y="1728"/>
                  </a:lnTo>
                  <a:lnTo>
                    <a:pt x="1422" y="1734"/>
                  </a:lnTo>
                  <a:lnTo>
                    <a:pt x="1416" y="1734"/>
                  </a:lnTo>
                  <a:lnTo>
                    <a:pt x="1410" y="1734"/>
                  </a:lnTo>
                  <a:lnTo>
                    <a:pt x="1392" y="1746"/>
                  </a:lnTo>
                  <a:lnTo>
                    <a:pt x="1386" y="1746"/>
                  </a:lnTo>
                  <a:lnTo>
                    <a:pt x="1368" y="1752"/>
                  </a:lnTo>
                  <a:lnTo>
                    <a:pt x="1362" y="1758"/>
                  </a:lnTo>
                  <a:lnTo>
                    <a:pt x="1362" y="1770"/>
                  </a:lnTo>
                  <a:lnTo>
                    <a:pt x="1356" y="178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</p:grpSp>
      <p:graphicFrame>
        <p:nvGraphicFramePr>
          <p:cNvPr id="357" name="Group 76">
            <a:extLst>
              <a:ext uri="{FF2B5EF4-FFF2-40B4-BE49-F238E27FC236}">
                <a16:creationId xmlns:a16="http://schemas.microsoft.com/office/drawing/2014/main" id="{57830D68-CF73-4A3E-9D36-141B03AADB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9058021"/>
              </p:ext>
            </p:extLst>
          </p:nvPr>
        </p:nvGraphicFramePr>
        <p:xfrm>
          <a:off x="541338" y="3402013"/>
          <a:ext cx="3735387" cy="1827306"/>
        </p:xfrm>
        <a:graphic>
          <a:graphicData uri="http://schemas.openxmlformats.org/drawingml/2006/table">
            <a:tbl>
              <a:tblPr/>
              <a:tblGrid>
                <a:gridCol w="1316931">
                  <a:extLst>
                    <a:ext uri="{9D8B030D-6E8A-4147-A177-3AD203B41FA5}">
                      <a16:colId xmlns:a16="http://schemas.microsoft.com/office/drawing/2014/main" val="2027704273"/>
                    </a:ext>
                  </a:extLst>
                </a:gridCol>
                <a:gridCol w="603796">
                  <a:extLst>
                    <a:ext uri="{9D8B030D-6E8A-4147-A177-3AD203B41FA5}">
                      <a16:colId xmlns:a16="http://schemas.microsoft.com/office/drawing/2014/main" val="3432768286"/>
                    </a:ext>
                  </a:extLst>
                </a:gridCol>
                <a:gridCol w="744015">
                  <a:extLst>
                    <a:ext uri="{9D8B030D-6E8A-4147-A177-3AD203B41FA5}">
                      <a16:colId xmlns:a16="http://schemas.microsoft.com/office/drawing/2014/main" val="3730294207"/>
                    </a:ext>
                  </a:extLst>
                </a:gridCol>
                <a:gridCol w="1070645">
                  <a:extLst>
                    <a:ext uri="{9D8B030D-6E8A-4147-A177-3AD203B41FA5}">
                      <a16:colId xmlns:a16="http://schemas.microsoft.com/office/drawing/2014/main" val="2258321117"/>
                    </a:ext>
                  </a:extLst>
                </a:gridCol>
              </a:tblGrid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apital</a:t>
                      </a:r>
                      <a:endParaRPr kumimoji="0" lang="en-SG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292929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SG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Benin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703009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nd Are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9,187 km</a:t>
                      </a:r>
                      <a:r>
                        <a:rPr kumimoji="0" lang="en-US" altLang="en-US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21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603614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Population (2017E)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4,220,455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25 of 37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505851"/>
                  </a:ext>
                </a:extLst>
              </a:tr>
              <a:tr h="203024">
                <a:tc row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Dem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0-14: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,541,162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7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130093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5-64: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,504,162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59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387564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65+: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   175,217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[4%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38801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bour force 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,981,975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18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797882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limate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ropical savanna and monsoon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3942226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op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Swamp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32899"/>
                  </a:ext>
                </a:extLst>
              </a:tr>
            </a:tbl>
          </a:graphicData>
        </a:graphic>
      </p:graphicFrame>
      <p:pic>
        <p:nvPicPr>
          <p:cNvPr id="23609" name="Picture 13">
            <a:extLst>
              <a:ext uri="{FF2B5EF4-FFF2-40B4-BE49-F238E27FC236}">
                <a16:creationId xmlns:a16="http://schemas.microsoft.com/office/drawing/2014/main" id="{952964D5-F0ED-4CAE-B71C-DB4A723FA5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0" y="3006725"/>
            <a:ext cx="1116013" cy="155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9" name="TextBox 378">
            <a:extLst>
              <a:ext uri="{FF2B5EF4-FFF2-40B4-BE49-F238E27FC236}">
                <a16:creationId xmlns:a16="http://schemas.microsoft.com/office/drawing/2014/main" id="{1B3FD4BF-4685-4C74-821F-10048D6246BF}"/>
              </a:ext>
            </a:extLst>
          </p:cNvPr>
          <p:cNvSpPr txBox="1"/>
          <p:nvPr/>
        </p:nvSpPr>
        <p:spPr>
          <a:xfrm>
            <a:off x="6124576" y="884238"/>
            <a:ext cx="3475038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mpetitive Advantages</a:t>
            </a: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455FE7A1-ADE5-4F7B-A489-00196671A53E}"/>
              </a:ext>
            </a:extLst>
          </p:cNvPr>
          <p:cNvSpPr/>
          <p:nvPr/>
        </p:nvSpPr>
        <p:spPr>
          <a:xfrm>
            <a:off x="4267248" y="1187511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23.3bn/$83.1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EBB25788-D073-4A78-9D6C-DF3836CFFFBB}"/>
              </a:ext>
            </a:extLst>
          </p:cNvPr>
          <p:cNvSpPr txBox="1"/>
          <p:nvPr/>
        </p:nvSpPr>
        <p:spPr>
          <a:xfrm>
            <a:off x="4267200" y="955675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GR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6F07DF39-553B-44F0-8864-1F897C2BD79A}"/>
              </a:ext>
            </a:extLst>
          </p:cNvPr>
          <p:cNvSpPr/>
          <p:nvPr/>
        </p:nvSpPr>
        <p:spPr>
          <a:xfrm>
            <a:off x="4267252" y="1809750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150bn/$491.8bn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2508695A-2D2C-45A3-80FE-9C2CB18200C2}"/>
              </a:ext>
            </a:extLst>
          </p:cNvPr>
          <p:cNvSpPr txBox="1"/>
          <p:nvPr/>
        </p:nvSpPr>
        <p:spPr>
          <a:xfrm>
            <a:off x="4267200" y="1576388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Budget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8)</a:t>
            </a: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86A33ABE-3AE3-40A7-A6A6-1B757A6A9B0F}"/>
              </a:ext>
            </a:extLst>
          </p:cNvPr>
          <p:cNvSpPr/>
          <p:nvPr/>
        </p:nvSpPr>
        <p:spPr>
          <a:xfrm>
            <a:off x="4256076" y="2667155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1.7trn /$5.6bn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1E919764-A18B-4532-A533-A84A31D7FEFE}"/>
              </a:ext>
            </a:extLst>
          </p:cNvPr>
          <p:cNvSpPr txBox="1"/>
          <p:nvPr/>
        </p:nvSpPr>
        <p:spPr>
          <a:xfrm>
            <a:off x="4256088" y="2185988"/>
            <a:ext cx="1811337" cy="50641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Household </a:t>
            </a:r>
          </a:p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nsumption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96" name="Plaque 95">
            <a:extLst>
              <a:ext uri="{FF2B5EF4-FFF2-40B4-BE49-F238E27FC236}">
                <a16:creationId xmlns:a16="http://schemas.microsoft.com/office/drawing/2014/main" id="{E3BE1182-17B4-4194-8641-F1EA2CCBB757}"/>
              </a:ext>
            </a:extLst>
          </p:cNvPr>
          <p:cNvSpPr/>
          <p:nvPr/>
        </p:nvSpPr>
        <p:spPr>
          <a:xfrm>
            <a:off x="5638800" y="2805162"/>
            <a:ext cx="428625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5 of 36</a:t>
            </a:r>
          </a:p>
        </p:txBody>
      </p:sp>
      <p:sp>
        <p:nvSpPr>
          <p:cNvPr id="99" name="Plaque 98">
            <a:extLst>
              <a:ext uri="{FF2B5EF4-FFF2-40B4-BE49-F238E27FC236}">
                <a16:creationId xmlns:a16="http://schemas.microsoft.com/office/drawing/2014/main" id="{8620E393-1C52-4CE1-9888-20922FA6DFEA}"/>
              </a:ext>
            </a:extLst>
          </p:cNvPr>
          <p:cNvSpPr/>
          <p:nvPr/>
        </p:nvSpPr>
        <p:spPr>
          <a:xfrm>
            <a:off x="5638800" y="1951087"/>
            <a:ext cx="428625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5 of 36</a:t>
            </a:r>
          </a:p>
        </p:txBody>
      </p:sp>
      <p:sp>
        <p:nvSpPr>
          <p:cNvPr id="100" name="Plaque 99">
            <a:extLst>
              <a:ext uri="{FF2B5EF4-FFF2-40B4-BE49-F238E27FC236}">
                <a16:creationId xmlns:a16="http://schemas.microsoft.com/office/drawing/2014/main" id="{3BFA6D28-9A42-4459-8BF1-090CE1B45216}"/>
              </a:ext>
            </a:extLst>
          </p:cNvPr>
          <p:cNvSpPr/>
          <p:nvPr/>
        </p:nvSpPr>
        <p:spPr>
          <a:xfrm>
            <a:off x="5638800" y="1333500"/>
            <a:ext cx="430213" cy="1539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latin typeface="Calibri" panose="020F0502020204030204" pitchFamily="34" charset="0"/>
                <a:cs typeface="Calibri" panose="020F0502020204030204" pitchFamily="34" charset="0"/>
              </a:rPr>
              <a:t>7 of 36</a:t>
            </a:r>
          </a:p>
        </p:txBody>
      </p:sp>
      <p:sp>
        <p:nvSpPr>
          <p:cNvPr id="101" name="Pentagon 19">
            <a:extLst>
              <a:ext uri="{FF2B5EF4-FFF2-40B4-BE49-F238E27FC236}">
                <a16:creationId xmlns:a16="http://schemas.microsoft.com/office/drawing/2014/main" id="{CCD74FA4-19D0-4356-90C9-B3B49BCC3F54}"/>
              </a:ext>
            </a:extLst>
          </p:cNvPr>
          <p:cNvSpPr>
            <a:spLocks/>
          </p:cNvSpPr>
          <p:nvPr/>
        </p:nvSpPr>
        <p:spPr bwMode="auto">
          <a:xfrm>
            <a:off x="688340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30 of 37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12EE735-1E43-4799-A46A-5D0787F375CE}"/>
              </a:ext>
            </a:extLst>
          </p:cNvPr>
          <p:cNvSpPr/>
          <p:nvPr/>
        </p:nvSpPr>
        <p:spPr>
          <a:xfrm>
            <a:off x="6880225" y="5726113"/>
            <a:ext cx="642938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Starting a Business</a:t>
            </a:r>
          </a:p>
        </p:txBody>
      </p:sp>
      <p:pic>
        <p:nvPicPr>
          <p:cNvPr id="23622" name="Picture 3">
            <a:extLst>
              <a:ext uri="{FF2B5EF4-FFF2-40B4-BE49-F238E27FC236}">
                <a16:creationId xmlns:a16="http://schemas.microsoft.com/office/drawing/2014/main" id="{53FAD0C6-8FFE-437B-B7E4-F2A938D3BE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350" y="5249863"/>
            <a:ext cx="41910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23" name="Freeform 15">
            <a:extLst>
              <a:ext uri="{FF2B5EF4-FFF2-40B4-BE49-F238E27FC236}">
                <a16:creationId xmlns:a16="http://schemas.microsoft.com/office/drawing/2014/main" id="{183A3C8B-011E-4D99-9165-3FF03A2D3207}"/>
              </a:ext>
            </a:extLst>
          </p:cNvPr>
          <p:cNvSpPr>
            <a:spLocks noEditPoints="1"/>
          </p:cNvSpPr>
          <p:nvPr/>
        </p:nvSpPr>
        <p:spPr bwMode="auto">
          <a:xfrm>
            <a:off x="9093200" y="5257800"/>
            <a:ext cx="276225" cy="347663"/>
          </a:xfrm>
          <a:custGeom>
            <a:avLst/>
            <a:gdLst>
              <a:gd name="T0" fmla="*/ 2147483646 w 3556"/>
              <a:gd name="T1" fmla="*/ 2147483646 h 3950"/>
              <a:gd name="T2" fmla="*/ 2147483646 w 3556"/>
              <a:gd name="T3" fmla="*/ 2147483646 h 3950"/>
              <a:gd name="T4" fmla="*/ 2147483646 w 3556"/>
              <a:gd name="T5" fmla="*/ 2147483646 h 3950"/>
              <a:gd name="T6" fmla="*/ 2147483646 w 3556"/>
              <a:gd name="T7" fmla="*/ 2147483646 h 3950"/>
              <a:gd name="T8" fmla="*/ 2147483646 w 3556"/>
              <a:gd name="T9" fmla="*/ 2147483646 h 3950"/>
              <a:gd name="T10" fmla="*/ 2147483646 w 3556"/>
              <a:gd name="T11" fmla="*/ 2147483646 h 3950"/>
              <a:gd name="T12" fmla="*/ 2147483646 w 3556"/>
              <a:gd name="T13" fmla="*/ 2147483646 h 3950"/>
              <a:gd name="T14" fmla="*/ 2147483646 w 3556"/>
              <a:gd name="T15" fmla="*/ 2147483646 h 3950"/>
              <a:gd name="T16" fmla="*/ 2147483646 w 3556"/>
              <a:gd name="T17" fmla="*/ 2147483646 h 3950"/>
              <a:gd name="T18" fmla="*/ 2147483646 w 3556"/>
              <a:gd name="T19" fmla="*/ 2147483646 h 3950"/>
              <a:gd name="T20" fmla="*/ 2147483646 w 3556"/>
              <a:gd name="T21" fmla="*/ 2147483646 h 3950"/>
              <a:gd name="T22" fmla="*/ 0 w 3556"/>
              <a:gd name="T23" fmla="*/ 2147483646 h 3950"/>
              <a:gd name="T24" fmla="*/ 2147483646 w 3556"/>
              <a:gd name="T25" fmla="*/ 2147483646 h 3950"/>
              <a:gd name="T26" fmla="*/ 2147483646 w 3556"/>
              <a:gd name="T27" fmla="*/ 2147483646 h 3950"/>
              <a:gd name="T28" fmla="*/ 2147483646 w 3556"/>
              <a:gd name="T29" fmla="*/ 2147483646 h 3950"/>
              <a:gd name="T30" fmla="*/ 2147483646 w 3556"/>
              <a:gd name="T31" fmla="*/ 2147483646 h 3950"/>
              <a:gd name="T32" fmla="*/ 2147483646 w 3556"/>
              <a:gd name="T33" fmla="*/ 2147483646 h 3950"/>
              <a:gd name="T34" fmla="*/ 2147483646 w 3556"/>
              <a:gd name="T35" fmla="*/ 2147483646 h 3950"/>
              <a:gd name="T36" fmla="*/ 2147483646 w 3556"/>
              <a:gd name="T37" fmla="*/ 2147483646 h 3950"/>
              <a:gd name="T38" fmla="*/ 2147483646 w 3556"/>
              <a:gd name="T39" fmla="*/ 2147483646 h 3950"/>
              <a:gd name="T40" fmla="*/ 2147483646 w 3556"/>
              <a:gd name="T41" fmla="*/ 2147483646 h 3950"/>
              <a:gd name="T42" fmla="*/ 2147483646 w 3556"/>
              <a:gd name="T43" fmla="*/ 2147483646 h 3950"/>
              <a:gd name="T44" fmla="*/ 2147483646 w 3556"/>
              <a:gd name="T45" fmla="*/ 2147483646 h 3950"/>
              <a:gd name="T46" fmla="*/ 2147483646 w 3556"/>
              <a:gd name="T47" fmla="*/ 2147483646 h 3950"/>
              <a:gd name="T48" fmla="*/ 2147483646 w 3556"/>
              <a:gd name="T49" fmla="*/ 2147483646 h 3950"/>
              <a:gd name="T50" fmla="*/ 2147483646 w 3556"/>
              <a:gd name="T51" fmla="*/ 2147483646 h 3950"/>
              <a:gd name="T52" fmla="*/ 2147483646 w 3556"/>
              <a:gd name="T53" fmla="*/ 2147483646 h 3950"/>
              <a:gd name="T54" fmla="*/ 2147483646 w 3556"/>
              <a:gd name="T55" fmla="*/ 2147483646 h 3950"/>
              <a:gd name="T56" fmla="*/ 2147483646 w 3556"/>
              <a:gd name="T57" fmla="*/ 2147483646 h 3950"/>
              <a:gd name="T58" fmla="*/ 2147483646 w 3556"/>
              <a:gd name="T59" fmla="*/ 2147483646 h 3950"/>
              <a:gd name="T60" fmla="*/ 2147483646 w 3556"/>
              <a:gd name="T61" fmla="*/ 2147483646 h 3950"/>
              <a:gd name="T62" fmla="*/ 2147483646 w 3556"/>
              <a:gd name="T63" fmla="*/ 2147483646 h 3950"/>
              <a:gd name="T64" fmla="*/ 2147483646 w 3556"/>
              <a:gd name="T65" fmla="*/ 2147483646 h 3950"/>
              <a:gd name="T66" fmla="*/ 2147483646 w 3556"/>
              <a:gd name="T67" fmla="*/ 2147483646 h 3950"/>
              <a:gd name="T68" fmla="*/ 2147483646 w 3556"/>
              <a:gd name="T69" fmla="*/ 2147483646 h 3950"/>
              <a:gd name="T70" fmla="*/ 2147483646 w 3556"/>
              <a:gd name="T71" fmla="*/ 2147483646 h 3950"/>
              <a:gd name="T72" fmla="*/ 2147483646 w 3556"/>
              <a:gd name="T73" fmla="*/ 2147483646 h 3950"/>
              <a:gd name="T74" fmla="*/ 2147483646 w 3556"/>
              <a:gd name="T75" fmla="*/ 2147483646 h 3950"/>
              <a:gd name="T76" fmla="*/ 2147483646 w 3556"/>
              <a:gd name="T77" fmla="*/ 2147483646 h 3950"/>
              <a:gd name="T78" fmla="*/ 2147483646 w 3556"/>
              <a:gd name="T79" fmla="*/ 2147483646 h 3950"/>
              <a:gd name="T80" fmla="*/ 2147483646 w 3556"/>
              <a:gd name="T81" fmla="*/ 0 h 3950"/>
              <a:gd name="T82" fmla="*/ 2147483646 w 3556"/>
              <a:gd name="T83" fmla="*/ 2147483646 h 3950"/>
              <a:gd name="T84" fmla="*/ 2147483646 w 3556"/>
              <a:gd name="T85" fmla="*/ 2147483646 h 3950"/>
              <a:gd name="T86" fmla="*/ 2147483646 w 3556"/>
              <a:gd name="T87" fmla="*/ 2147483646 h 395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556"/>
              <a:gd name="T133" fmla="*/ 0 h 3950"/>
              <a:gd name="T134" fmla="*/ 3556 w 3556"/>
              <a:gd name="T135" fmla="*/ 3950 h 395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556" h="3950">
                <a:moveTo>
                  <a:pt x="909" y="3917"/>
                </a:moveTo>
                <a:cubicBezTo>
                  <a:pt x="824" y="3832"/>
                  <a:pt x="894" y="3725"/>
                  <a:pt x="1036" y="3725"/>
                </a:cubicBezTo>
                <a:cubicBezTo>
                  <a:pt x="1119" y="3725"/>
                  <a:pt x="1129" y="3717"/>
                  <a:pt x="1129" y="3645"/>
                </a:cubicBezTo>
                <a:cubicBezTo>
                  <a:pt x="1129" y="3472"/>
                  <a:pt x="1135" y="3471"/>
                  <a:pt x="2192" y="3471"/>
                </a:cubicBezTo>
                <a:cubicBezTo>
                  <a:pt x="3086" y="3471"/>
                  <a:pt x="3155" y="3475"/>
                  <a:pt x="3199" y="3523"/>
                </a:cubicBezTo>
                <a:cubicBezTo>
                  <a:pt x="3225" y="3551"/>
                  <a:pt x="3246" y="3608"/>
                  <a:pt x="3246" y="3648"/>
                </a:cubicBezTo>
                <a:cubicBezTo>
                  <a:pt x="3246" y="3712"/>
                  <a:pt x="3259" y="3723"/>
                  <a:pt x="3349" y="3730"/>
                </a:cubicBezTo>
                <a:cubicBezTo>
                  <a:pt x="3470" y="3741"/>
                  <a:pt x="3530" y="3811"/>
                  <a:pt x="3482" y="3887"/>
                </a:cubicBezTo>
                <a:cubicBezTo>
                  <a:pt x="3453" y="3933"/>
                  <a:pt x="3356" y="3937"/>
                  <a:pt x="2197" y="3944"/>
                </a:cubicBezTo>
                <a:cubicBezTo>
                  <a:pt x="1245" y="3950"/>
                  <a:pt x="935" y="3943"/>
                  <a:pt x="909" y="3917"/>
                </a:cubicBezTo>
                <a:close/>
                <a:moveTo>
                  <a:pt x="87" y="3370"/>
                </a:moveTo>
                <a:cubicBezTo>
                  <a:pt x="24" y="3317"/>
                  <a:pt x="0" y="3272"/>
                  <a:pt x="0" y="3209"/>
                </a:cubicBezTo>
                <a:cubicBezTo>
                  <a:pt x="0" y="3132"/>
                  <a:pt x="86" y="3035"/>
                  <a:pt x="705" y="2414"/>
                </a:cubicBezTo>
                <a:lnTo>
                  <a:pt x="1411" y="1706"/>
                </a:lnTo>
                <a:lnTo>
                  <a:pt x="1235" y="1530"/>
                </a:lnTo>
                <a:lnTo>
                  <a:pt x="1059" y="1355"/>
                </a:lnTo>
                <a:lnTo>
                  <a:pt x="1510" y="903"/>
                </a:lnTo>
                <a:lnTo>
                  <a:pt x="1960" y="452"/>
                </a:lnTo>
                <a:lnTo>
                  <a:pt x="2135" y="624"/>
                </a:lnTo>
                <a:cubicBezTo>
                  <a:pt x="2305" y="793"/>
                  <a:pt x="2310" y="796"/>
                  <a:pt x="2374" y="751"/>
                </a:cubicBezTo>
                <a:cubicBezTo>
                  <a:pt x="2469" y="685"/>
                  <a:pt x="2547" y="695"/>
                  <a:pt x="2633" y="785"/>
                </a:cubicBezTo>
                <a:cubicBezTo>
                  <a:pt x="2720" y="875"/>
                  <a:pt x="2731" y="974"/>
                  <a:pt x="2662" y="1050"/>
                </a:cubicBezTo>
                <a:cubicBezTo>
                  <a:pt x="2616" y="1100"/>
                  <a:pt x="2624" y="1112"/>
                  <a:pt x="2823" y="1313"/>
                </a:cubicBezTo>
                <a:lnTo>
                  <a:pt x="3033" y="1524"/>
                </a:lnTo>
                <a:lnTo>
                  <a:pt x="2582" y="1975"/>
                </a:lnTo>
                <a:lnTo>
                  <a:pt x="2132" y="2427"/>
                </a:lnTo>
                <a:lnTo>
                  <a:pt x="1933" y="2229"/>
                </a:lnTo>
                <a:cubicBezTo>
                  <a:pt x="1824" y="2121"/>
                  <a:pt x="1722" y="2032"/>
                  <a:pt x="1707" y="2032"/>
                </a:cubicBezTo>
                <a:cubicBezTo>
                  <a:pt x="1693" y="2032"/>
                  <a:pt x="1362" y="2349"/>
                  <a:pt x="973" y="2737"/>
                </a:cubicBezTo>
                <a:cubicBezTo>
                  <a:pt x="584" y="3125"/>
                  <a:pt x="245" y="3443"/>
                  <a:pt x="220" y="3443"/>
                </a:cubicBezTo>
                <a:cubicBezTo>
                  <a:pt x="194" y="3443"/>
                  <a:pt x="135" y="3410"/>
                  <a:pt x="87" y="3370"/>
                </a:cubicBezTo>
                <a:close/>
                <a:moveTo>
                  <a:pt x="2258" y="2887"/>
                </a:moveTo>
                <a:cubicBezTo>
                  <a:pt x="2196" y="2865"/>
                  <a:pt x="2145" y="2792"/>
                  <a:pt x="2145" y="2725"/>
                </a:cubicBezTo>
                <a:cubicBezTo>
                  <a:pt x="2145" y="2686"/>
                  <a:pt x="2337" y="2474"/>
                  <a:pt x="2703" y="2109"/>
                </a:cubicBezTo>
                <a:cubicBezTo>
                  <a:pt x="3289" y="1523"/>
                  <a:pt x="3346" y="1485"/>
                  <a:pt x="3453" y="1604"/>
                </a:cubicBezTo>
                <a:cubicBezTo>
                  <a:pt x="3556" y="1717"/>
                  <a:pt x="3522" y="1766"/>
                  <a:pt x="2956" y="2331"/>
                </a:cubicBezTo>
                <a:cubicBezTo>
                  <a:pt x="2657" y="2630"/>
                  <a:pt x="2388" y="2880"/>
                  <a:pt x="2357" y="2888"/>
                </a:cubicBezTo>
                <a:cubicBezTo>
                  <a:pt x="2326" y="2895"/>
                  <a:pt x="2281" y="2895"/>
                  <a:pt x="2258" y="2887"/>
                </a:cubicBezTo>
                <a:close/>
                <a:moveTo>
                  <a:pt x="637" y="1282"/>
                </a:moveTo>
                <a:cubicBezTo>
                  <a:pt x="528" y="1172"/>
                  <a:pt x="568" y="1113"/>
                  <a:pt x="1137" y="544"/>
                </a:cubicBezTo>
                <a:cubicBezTo>
                  <a:pt x="1607" y="74"/>
                  <a:pt x="1693" y="0"/>
                  <a:pt x="1767" y="0"/>
                </a:cubicBezTo>
                <a:cubicBezTo>
                  <a:pt x="1862" y="0"/>
                  <a:pt x="1947" y="73"/>
                  <a:pt x="1947" y="156"/>
                </a:cubicBezTo>
                <a:cubicBezTo>
                  <a:pt x="1947" y="186"/>
                  <a:pt x="1715" y="442"/>
                  <a:pt x="1391" y="767"/>
                </a:cubicBezTo>
                <a:cubicBezTo>
                  <a:pt x="808" y="1353"/>
                  <a:pt x="749" y="1393"/>
                  <a:pt x="637" y="12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4" name="Group 118">
            <a:extLst>
              <a:ext uri="{FF2B5EF4-FFF2-40B4-BE49-F238E27FC236}">
                <a16:creationId xmlns:a16="http://schemas.microsoft.com/office/drawing/2014/main" id="{FB3D6A90-C4FD-433A-A1C1-A4B3864804A5}"/>
              </a:ext>
            </a:extLst>
          </p:cNvPr>
          <p:cNvGrpSpPr/>
          <p:nvPr/>
        </p:nvGrpSpPr>
        <p:grpSpPr>
          <a:xfrm>
            <a:off x="8409631" y="5248358"/>
            <a:ext cx="346498" cy="347472"/>
            <a:chOff x="1468138" y="5997240"/>
            <a:chExt cx="283642" cy="307072"/>
          </a:xfrm>
          <a:solidFill>
            <a:schemeClr val="bg1"/>
          </a:solidFill>
        </p:grpSpPr>
        <p:sp>
          <p:nvSpPr>
            <p:cNvPr id="120" name="Freeform 16">
              <a:extLst>
                <a:ext uri="{FF2B5EF4-FFF2-40B4-BE49-F238E27FC236}">
                  <a16:creationId xmlns:a16="http://schemas.microsoft.com/office/drawing/2014/main" id="{D6134FC8-4249-4088-8AE8-003C8AAC7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6136" y="6255221"/>
              <a:ext cx="26428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1 w 349"/>
                <a:gd name="T25" fmla="*/ 226 h 350"/>
                <a:gd name="T26" fmla="*/ 225 w 349"/>
                <a:gd name="T27" fmla="*/ 213 h 350"/>
                <a:gd name="T28" fmla="*/ 234 w 349"/>
                <a:gd name="T29" fmla="*/ 194 h 350"/>
                <a:gd name="T30" fmla="*/ 237 w 349"/>
                <a:gd name="T31" fmla="*/ 175 h 350"/>
                <a:gd name="T32" fmla="*/ 235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5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4 w 349"/>
                <a:gd name="T47" fmla="*/ 3 h 350"/>
                <a:gd name="T48" fmla="*/ 234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8 w 349"/>
                <a:gd name="T55" fmla="*/ 63 h 350"/>
                <a:gd name="T56" fmla="*/ 325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5 w 349"/>
                <a:gd name="T65" fmla="*/ 210 h 350"/>
                <a:gd name="T66" fmla="*/ 335 w 349"/>
                <a:gd name="T67" fmla="*/ 243 h 350"/>
                <a:gd name="T68" fmla="*/ 319 w 349"/>
                <a:gd name="T69" fmla="*/ 273 h 350"/>
                <a:gd name="T70" fmla="*/ 297 w 349"/>
                <a:gd name="T71" fmla="*/ 299 h 350"/>
                <a:gd name="T72" fmla="*/ 272 w 349"/>
                <a:gd name="T73" fmla="*/ 319 h 350"/>
                <a:gd name="T74" fmla="*/ 242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39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29 w 349"/>
                <a:gd name="T89" fmla="*/ 273 h 350"/>
                <a:gd name="T90" fmla="*/ 14 w 349"/>
                <a:gd name="T91" fmla="*/ 243 h 350"/>
                <a:gd name="T92" fmla="*/ 3 w 349"/>
                <a:gd name="T93" fmla="*/ 210 h 350"/>
                <a:gd name="T94" fmla="*/ 0 w 349"/>
                <a:gd name="T95" fmla="*/ 175 h 350"/>
                <a:gd name="T96" fmla="*/ 3 w 349"/>
                <a:gd name="T97" fmla="*/ 140 h 350"/>
                <a:gd name="T98" fmla="*/ 14 w 349"/>
                <a:gd name="T99" fmla="*/ 107 h 350"/>
                <a:gd name="T100" fmla="*/ 29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39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1" y="226"/>
                  </a:lnTo>
                  <a:lnTo>
                    <a:pt x="225" y="213"/>
                  </a:lnTo>
                  <a:lnTo>
                    <a:pt x="234" y="194"/>
                  </a:lnTo>
                  <a:lnTo>
                    <a:pt x="237" y="175"/>
                  </a:lnTo>
                  <a:lnTo>
                    <a:pt x="235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5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4" y="3"/>
                  </a:lnTo>
                  <a:lnTo>
                    <a:pt x="234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8" y="63"/>
                  </a:lnTo>
                  <a:lnTo>
                    <a:pt x="325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5" y="210"/>
                  </a:lnTo>
                  <a:lnTo>
                    <a:pt x="335" y="243"/>
                  </a:lnTo>
                  <a:lnTo>
                    <a:pt x="319" y="273"/>
                  </a:lnTo>
                  <a:lnTo>
                    <a:pt x="297" y="299"/>
                  </a:lnTo>
                  <a:lnTo>
                    <a:pt x="272" y="319"/>
                  </a:lnTo>
                  <a:lnTo>
                    <a:pt x="242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39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29" y="273"/>
                  </a:lnTo>
                  <a:lnTo>
                    <a:pt x="14" y="243"/>
                  </a:lnTo>
                  <a:lnTo>
                    <a:pt x="3" y="210"/>
                  </a:lnTo>
                  <a:lnTo>
                    <a:pt x="0" y="175"/>
                  </a:lnTo>
                  <a:lnTo>
                    <a:pt x="3" y="140"/>
                  </a:lnTo>
                  <a:lnTo>
                    <a:pt x="14" y="107"/>
                  </a:lnTo>
                  <a:lnTo>
                    <a:pt x="29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39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1" name="Freeform 17">
              <a:extLst>
                <a:ext uri="{FF2B5EF4-FFF2-40B4-BE49-F238E27FC236}">
                  <a16:creationId xmlns:a16="http://schemas.microsoft.com/office/drawing/2014/main" id="{67A5F0B0-C078-4A85-9E32-409FF0B3D5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2133" y="6255221"/>
              <a:ext cx="26656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2 w 349"/>
                <a:gd name="T25" fmla="*/ 226 h 350"/>
                <a:gd name="T26" fmla="*/ 226 w 349"/>
                <a:gd name="T27" fmla="*/ 213 h 350"/>
                <a:gd name="T28" fmla="*/ 235 w 349"/>
                <a:gd name="T29" fmla="*/ 194 h 350"/>
                <a:gd name="T30" fmla="*/ 237 w 349"/>
                <a:gd name="T31" fmla="*/ 175 h 350"/>
                <a:gd name="T32" fmla="*/ 236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7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5 w 349"/>
                <a:gd name="T47" fmla="*/ 3 h 350"/>
                <a:gd name="T48" fmla="*/ 235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9 w 349"/>
                <a:gd name="T55" fmla="*/ 63 h 350"/>
                <a:gd name="T56" fmla="*/ 326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6 w 349"/>
                <a:gd name="T65" fmla="*/ 210 h 350"/>
                <a:gd name="T66" fmla="*/ 336 w 349"/>
                <a:gd name="T67" fmla="*/ 243 h 350"/>
                <a:gd name="T68" fmla="*/ 319 w 349"/>
                <a:gd name="T69" fmla="*/ 273 h 350"/>
                <a:gd name="T70" fmla="*/ 298 w 349"/>
                <a:gd name="T71" fmla="*/ 299 h 350"/>
                <a:gd name="T72" fmla="*/ 272 w 349"/>
                <a:gd name="T73" fmla="*/ 319 h 350"/>
                <a:gd name="T74" fmla="*/ 243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40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30 w 349"/>
                <a:gd name="T89" fmla="*/ 273 h 350"/>
                <a:gd name="T90" fmla="*/ 14 w 349"/>
                <a:gd name="T91" fmla="*/ 243 h 350"/>
                <a:gd name="T92" fmla="*/ 4 w 349"/>
                <a:gd name="T93" fmla="*/ 210 h 350"/>
                <a:gd name="T94" fmla="*/ 0 w 349"/>
                <a:gd name="T95" fmla="*/ 175 h 350"/>
                <a:gd name="T96" fmla="*/ 4 w 349"/>
                <a:gd name="T97" fmla="*/ 140 h 350"/>
                <a:gd name="T98" fmla="*/ 14 w 349"/>
                <a:gd name="T99" fmla="*/ 107 h 350"/>
                <a:gd name="T100" fmla="*/ 30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40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7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7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5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19" y="273"/>
                  </a:lnTo>
                  <a:lnTo>
                    <a:pt x="298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2" name="Freeform 18">
              <a:extLst>
                <a:ext uri="{FF2B5EF4-FFF2-40B4-BE49-F238E27FC236}">
                  <a16:creationId xmlns:a16="http://schemas.microsoft.com/office/drawing/2014/main" id="{BF1784DA-3E40-44FD-998D-DB1DD379C0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8357" y="6255221"/>
              <a:ext cx="26428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7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1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7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8 w 350"/>
                <a:gd name="T31" fmla="*/ 175 h 350"/>
                <a:gd name="T32" fmla="*/ 236 w 350"/>
                <a:gd name="T33" fmla="*/ 158 h 350"/>
                <a:gd name="T34" fmla="*/ 229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7 w 350"/>
                <a:gd name="T53" fmla="*/ 41 h 350"/>
                <a:gd name="T54" fmla="*/ 309 w 350"/>
                <a:gd name="T55" fmla="*/ 63 h 350"/>
                <a:gd name="T56" fmla="*/ 326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2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7 w 350"/>
                <a:gd name="T85" fmla="*/ 319 h 350"/>
                <a:gd name="T86" fmla="*/ 51 w 350"/>
                <a:gd name="T87" fmla="*/ 299 h 350"/>
                <a:gd name="T88" fmla="*/ 30 w 350"/>
                <a:gd name="T89" fmla="*/ 273 h 350"/>
                <a:gd name="T90" fmla="*/ 14 w 350"/>
                <a:gd name="T91" fmla="*/ 243 h 350"/>
                <a:gd name="T92" fmla="*/ 4 w 350"/>
                <a:gd name="T93" fmla="*/ 210 h 350"/>
                <a:gd name="T94" fmla="*/ 0 w 350"/>
                <a:gd name="T95" fmla="*/ 175 h 350"/>
                <a:gd name="T96" fmla="*/ 4 w 350"/>
                <a:gd name="T97" fmla="*/ 140 h 350"/>
                <a:gd name="T98" fmla="*/ 14 w 350"/>
                <a:gd name="T99" fmla="*/ 107 h 350"/>
                <a:gd name="T100" fmla="*/ 30 w 350"/>
                <a:gd name="T101" fmla="*/ 78 h 350"/>
                <a:gd name="T102" fmla="*/ 51 w 350"/>
                <a:gd name="T103" fmla="*/ 52 h 350"/>
                <a:gd name="T104" fmla="*/ 77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8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3" name="Freeform 19">
              <a:extLst>
                <a:ext uri="{FF2B5EF4-FFF2-40B4-BE49-F238E27FC236}">
                  <a16:creationId xmlns:a16="http://schemas.microsoft.com/office/drawing/2014/main" id="{FF26547B-24B3-4108-8095-A2794E966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4353" y="6255221"/>
              <a:ext cx="26656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8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3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8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9 w 350"/>
                <a:gd name="T31" fmla="*/ 175 h 350"/>
                <a:gd name="T32" fmla="*/ 236 w 350"/>
                <a:gd name="T33" fmla="*/ 158 h 350"/>
                <a:gd name="T34" fmla="*/ 231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8 w 350"/>
                <a:gd name="T53" fmla="*/ 41 h 350"/>
                <a:gd name="T54" fmla="*/ 309 w 350"/>
                <a:gd name="T55" fmla="*/ 63 h 350"/>
                <a:gd name="T56" fmla="*/ 327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3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8 w 350"/>
                <a:gd name="T85" fmla="*/ 319 h 350"/>
                <a:gd name="T86" fmla="*/ 53 w 350"/>
                <a:gd name="T87" fmla="*/ 299 h 350"/>
                <a:gd name="T88" fmla="*/ 31 w 350"/>
                <a:gd name="T89" fmla="*/ 273 h 350"/>
                <a:gd name="T90" fmla="*/ 15 w 350"/>
                <a:gd name="T91" fmla="*/ 243 h 350"/>
                <a:gd name="T92" fmla="*/ 5 w 350"/>
                <a:gd name="T93" fmla="*/ 210 h 350"/>
                <a:gd name="T94" fmla="*/ 0 w 350"/>
                <a:gd name="T95" fmla="*/ 175 h 350"/>
                <a:gd name="T96" fmla="*/ 5 w 350"/>
                <a:gd name="T97" fmla="*/ 140 h 350"/>
                <a:gd name="T98" fmla="*/ 15 w 350"/>
                <a:gd name="T99" fmla="*/ 107 h 350"/>
                <a:gd name="T100" fmla="*/ 31 w 350"/>
                <a:gd name="T101" fmla="*/ 78 h 350"/>
                <a:gd name="T102" fmla="*/ 53 w 350"/>
                <a:gd name="T103" fmla="*/ 52 h 350"/>
                <a:gd name="T104" fmla="*/ 78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8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3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8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9" y="175"/>
                  </a:lnTo>
                  <a:lnTo>
                    <a:pt x="236" y="158"/>
                  </a:lnTo>
                  <a:lnTo>
                    <a:pt x="231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8" y="41"/>
                  </a:lnTo>
                  <a:lnTo>
                    <a:pt x="309" y="63"/>
                  </a:lnTo>
                  <a:lnTo>
                    <a:pt x="327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3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8" y="319"/>
                  </a:lnTo>
                  <a:lnTo>
                    <a:pt x="53" y="299"/>
                  </a:lnTo>
                  <a:lnTo>
                    <a:pt x="31" y="273"/>
                  </a:lnTo>
                  <a:lnTo>
                    <a:pt x="15" y="243"/>
                  </a:lnTo>
                  <a:lnTo>
                    <a:pt x="5" y="210"/>
                  </a:lnTo>
                  <a:lnTo>
                    <a:pt x="0" y="175"/>
                  </a:lnTo>
                  <a:lnTo>
                    <a:pt x="5" y="140"/>
                  </a:lnTo>
                  <a:lnTo>
                    <a:pt x="15" y="107"/>
                  </a:lnTo>
                  <a:lnTo>
                    <a:pt x="31" y="78"/>
                  </a:lnTo>
                  <a:lnTo>
                    <a:pt x="53" y="52"/>
                  </a:lnTo>
                  <a:lnTo>
                    <a:pt x="78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4" name="Freeform 20">
              <a:extLst>
                <a:ext uri="{FF2B5EF4-FFF2-40B4-BE49-F238E27FC236}">
                  <a16:creationId xmlns:a16="http://schemas.microsoft.com/office/drawing/2014/main" id="{6F553FA1-4728-401A-8C20-F18E165CA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80832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2 h 111"/>
                <a:gd name="T10" fmla="*/ 168 w 171"/>
                <a:gd name="T11" fmla="*/ 37 h 111"/>
                <a:gd name="T12" fmla="*/ 171 w 171"/>
                <a:gd name="T13" fmla="*/ 55 h 111"/>
                <a:gd name="T14" fmla="*/ 168 w 171"/>
                <a:gd name="T15" fmla="*/ 72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8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8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2 h 111"/>
                <a:gd name="T34" fmla="*/ 0 w 171"/>
                <a:gd name="T35" fmla="*/ 55 h 111"/>
                <a:gd name="T36" fmla="*/ 2 w 171"/>
                <a:gd name="T37" fmla="*/ 37 h 111"/>
                <a:gd name="T38" fmla="*/ 10 w 171"/>
                <a:gd name="T39" fmla="*/ 22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2"/>
                  </a:lnTo>
                  <a:lnTo>
                    <a:pt x="168" y="37"/>
                  </a:lnTo>
                  <a:lnTo>
                    <a:pt x="171" y="55"/>
                  </a:lnTo>
                  <a:lnTo>
                    <a:pt x="168" y="72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8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8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2"/>
                  </a:lnTo>
                  <a:lnTo>
                    <a:pt x="0" y="55"/>
                  </a:lnTo>
                  <a:lnTo>
                    <a:pt x="2" y="37"/>
                  </a:lnTo>
                  <a:lnTo>
                    <a:pt x="10" y="22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5" name="Freeform 21">
              <a:extLst>
                <a:ext uri="{FF2B5EF4-FFF2-40B4-BE49-F238E27FC236}">
                  <a16:creationId xmlns:a16="http://schemas.microsoft.com/office/drawing/2014/main" id="{2A783787-5E9B-43C9-9BF4-073950C97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95860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3 h 111"/>
                <a:gd name="T10" fmla="*/ 168 w 171"/>
                <a:gd name="T11" fmla="*/ 38 h 111"/>
                <a:gd name="T12" fmla="*/ 171 w 171"/>
                <a:gd name="T13" fmla="*/ 55 h 111"/>
                <a:gd name="T14" fmla="*/ 168 w 171"/>
                <a:gd name="T15" fmla="*/ 74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9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9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4 h 111"/>
                <a:gd name="T34" fmla="*/ 0 w 171"/>
                <a:gd name="T35" fmla="*/ 55 h 111"/>
                <a:gd name="T36" fmla="*/ 2 w 171"/>
                <a:gd name="T37" fmla="*/ 38 h 111"/>
                <a:gd name="T38" fmla="*/ 10 w 171"/>
                <a:gd name="T39" fmla="*/ 23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3"/>
                  </a:lnTo>
                  <a:lnTo>
                    <a:pt x="168" y="38"/>
                  </a:lnTo>
                  <a:lnTo>
                    <a:pt x="171" y="55"/>
                  </a:lnTo>
                  <a:lnTo>
                    <a:pt x="168" y="74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9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9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4"/>
                  </a:lnTo>
                  <a:lnTo>
                    <a:pt x="0" y="55"/>
                  </a:lnTo>
                  <a:lnTo>
                    <a:pt x="2" y="38"/>
                  </a:lnTo>
                  <a:lnTo>
                    <a:pt x="10" y="23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6" name="Freeform 22">
              <a:extLst>
                <a:ext uri="{FF2B5EF4-FFF2-40B4-BE49-F238E27FC236}">
                  <a16:creationId xmlns:a16="http://schemas.microsoft.com/office/drawing/2014/main" id="{6465D05A-ED22-49B3-924E-6DFC4C8C8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8138" y="5997240"/>
              <a:ext cx="283642" cy="307072"/>
            </a:xfrm>
            <a:custGeom>
              <a:avLst/>
              <a:gdLst>
                <a:gd name="T0" fmla="*/ 185 w 3736"/>
                <a:gd name="T1" fmla="*/ 3069 h 3678"/>
                <a:gd name="T2" fmla="*/ 125 w 3736"/>
                <a:gd name="T3" fmla="*/ 3352 h 3678"/>
                <a:gd name="T4" fmla="*/ 325 w 3736"/>
                <a:gd name="T5" fmla="*/ 3554 h 3678"/>
                <a:gd name="T6" fmla="*/ 2002 w 3736"/>
                <a:gd name="T7" fmla="*/ 3518 h 3678"/>
                <a:gd name="T8" fmla="*/ 2140 w 3736"/>
                <a:gd name="T9" fmla="*/ 3266 h 3678"/>
                <a:gd name="T10" fmla="*/ 2002 w 3736"/>
                <a:gd name="T11" fmla="*/ 3013 h 3678"/>
                <a:gd name="T12" fmla="*/ 943 w 3736"/>
                <a:gd name="T13" fmla="*/ 2853 h 3678"/>
                <a:gd name="T14" fmla="*/ 2970 w 3736"/>
                <a:gd name="T15" fmla="*/ 2765 h 3678"/>
                <a:gd name="T16" fmla="*/ 3240 w 3736"/>
                <a:gd name="T17" fmla="*/ 2787 h 3678"/>
                <a:gd name="T18" fmla="*/ 3506 w 3736"/>
                <a:gd name="T19" fmla="*/ 2599 h 3678"/>
                <a:gd name="T20" fmla="*/ 302 w 3736"/>
                <a:gd name="T21" fmla="*/ 2099 h 3678"/>
                <a:gd name="T22" fmla="*/ 333 w 3736"/>
                <a:gd name="T23" fmla="*/ 2613 h 3678"/>
                <a:gd name="T24" fmla="*/ 3524 w 3736"/>
                <a:gd name="T25" fmla="*/ 1966 h 3678"/>
                <a:gd name="T26" fmla="*/ 3542 w 3736"/>
                <a:gd name="T27" fmla="*/ 2077 h 3678"/>
                <a:gd name="T28" fmla="*/ 3622 w 3736"/>
                <a:gd name="T29" fmla="*/ 1998 h 3678"/>
                <a:gd name="T30" fmla="*/ 893 w 3736"/>
                <a:gd name="T31" fmla="*/ 1458 h 3678"/>
                <a:gd name="T32" fmla="*/ 1843 w 3736"/>
                <a:gd name="T33" fmla="*/ 2616 h 3678"/>
                <a:gd name="T34" fmla="*/ 1132 w 3736"/>
                <a:gd name="T35" fmla="*/ 2414 h 3678"/>
                <a:gd name="T36" fmla="*/ 954 w 3736"/>
                <a:gd name="T37" fmla="*/ 2256 h 3678"/>
                <a:gd name="T38" fmla="*/ 1082 w 3736"/>
                <a:gd name="T39" fmla="*/ 2271 h 3678"/>
                <a:gd name="T40" fmla="*/ 1271 w 3736"/>
                <a:gd name="T41" fmla="*/ 1557 h 3678"/>
                <a:gd name="T42" fmla="*/ 1360 w 3736"/>
                <a:gd name="T43" fmla="*/ 1601 h 3678"/>
                <a:gd name="T44" fmla="*/ 1958 w 3736"/>
                <a:gd name="T45" fmla="*/ 2171 h 3678"/>
                <a:gd name="T46" fmla="*/ 1525 w 3736"/>
                <a:gd name="T47" fmla="*/ 1457 h 3678"/>
                <a:gd name="T48" fmla="*/ 2749 w 3736"/>
                <a:gd name="T49" fmla="*/ 361 h 3678"/>
                <a:gd name="T50" fmla="*/ 3541 w 3736"/>
                <a:gd name="T51" fmla="*/ 1844 h 3678"/>
                <a:gd name="T52" fmla="*/ 1658 w 3736"/>
                <a:gd name="T53" fmla="*/ 1439 h 3678"/>
                <a:gd name="T54" fmla="*/ 2419 w 3736"/>
                <a:gd name="T55" fmla="*/ 427 h 3678"/>
                <a:gd name="T56" fmla="*/ 2498 w 3736"/>
                <a:gd name="T57" fmla="*/ 124 h 3678"/>
                <a:gd name="T58" fmla="*/ 2441 w 3736"/>
                <a:gd name="T59" fmla="*/ 287 h 3678"/>
                <a:gd name="T60" fmla="*/ 2599 w 3736"/>
                <a:gd name="T61" fmla="*/ 347 h 3678"/>
                <a:gd name="T62" fmla="*/ 2672 w 3736"/>
                <a:gd name="T63" fmla="*/ 256 h 3678"/>
                <a:gd name="T64" fmla="*/ 2625 w 3736"/>
                <a:gd name="T65" fmla="*/ 136 h 3678"/>
                <a:gd name="T66" fmla="*/ 2665 w 3736"/>
                <a:gd name="T67" fmla="*/ 28 h 3678"/>
                <a:gd name="T68" fmla="*/ 3734 w 3736"/>
                <a:gd name="T69" fmla="*/ 1986 h 3678"/>
                <a:gd name="T70" fmla="*/ 3646 w 3736"/>
                <a:gd name="T71" fmla="*/ 2170 h 3678"/>
                <a:gd name="T72" fmla="*/ 3580 w 3736"/>
                <a:gd name="T73" fmla="*/ 2724 h 3678"/>
                <a:gd name="T74" fmla="*/ 3180 w 3736"/>
                <a:gd name="T75" fmla="*/ 2918 h 3678"/>
                <a:gd name="T76" fmla="*/ 2865 w 3736"/>
                <a:gd name="T77" fmla="*/ 2826 h 3678"/>
                <a:gd name="T78" fmla="*/ 2459 w 3736"/>
                <a:gd name="T79" fmla="*/ 2397 h 3678"/>
                <a:gd name="T80" fmla="*/ 3431 w 3736"/>
                <a:gd name="T81" fmla="*/ 2200 h 3678"/>
                <a:gd name="T82" fmla="*/ 3506 w 3736"/>
                <a:gd name="T83" fmla="*/ 2183 h 3678"/>
                <a:gd name="T84" fmla="*/ 1983 w 3736"/>
                <a:gd name="T85" fmla="*/ 1926 h 3678"/>
                <a:gd name="T86" fmla="*/ 2073 w 3736"/>
                <a:gd name="T87" fmla="*/ 2433 h 3678"/>
                <a:gd name="T88" fmla="*/ 2059 w 3736"/>
                <a:gd name="T89" fmla="*/ 2469 h 3678"/>
                <a:gd name="T90" fmla="*/ 2043 w 3736"/>
                <a:gd name="T91" fmla="*/ 2482 h 3678"/>
                <a:gd name="T92" fmla="*/ 2024 w 3736"/>
                <a:gd name="T93" fmla="*/ 2489 h 3678"/>
                <a:gd name="T94" fmla="*/ 1942 w 3736"/>
                <a:gd name="T95" fmla="*/ 2705 h 3678"/>
                <a:gd name="T96" fmla="*/ 1890 w 3736"/>
                <a:gd name="T97" fmla="*/ 2857 h 3678"/>
                <a:gd name="T98" fmla="*/ 2177 w 3736"/>
                <a:gd name="T99" fmla="*/ 3030 h 3678"/>
                <a:gd name="T100" fmla="*/ 2238 w 3736"/>
                <a:gd name="T101" fmla="*/ 3367 h 3678"/>
                <a:gd name="T102" fmla="*/ 2032 w 3736"/>
                <a:gd name="T103" fmla="*/ 3630 h 3678"/>
                <a:gd name="T104" fmla="*/ 311 w 3736"/>
                <a:gd name="T105" fmla="*/ 3666 h 3678"/>
                <a:gd name="T106" fmla="*/ 49 w 3736"/>
                <a:gd name="T107" fmla="*/ 3460 h 3678"/>
                <a:gd name="T108" fmla="*/ 28 w 3736"/>
                <a:gd name="T109" fmla="*/ 3116 h 3678"/>
                <a:gd name="T110" fmla="*/ 263 w 3736"/>
                <a:gd name="T111" fmla="*/ 2882 h 3678"/>
                <a:gd name="T112" fmla="*/ 317 w 3736"/>
                <a:gd name="T113" fmla="*/ 2724 h 3678"/>
                <a:gd name="T114" fmla="*/ 178 w 3736"/>
                <a:gd name="T115" fmla="*/ 2553 h 3678"/>
                <a:gd name="T116" fmla="*/ 284 w 3736"/>
                <a:gd name="T117" fmla="*/ 1975 h 3678"/>
                <a:gd name="T118" fmla="*/ 740 w 3736"/>
                <a:gd name="T119" fmla="*/ 1477 h 3678"/>
                <a:gd name="T120" fmla="*/ 963 w 3736"/>
                <a:gd name="T121" fmla="*/ 1310 h 3678"/>
                <a:gd name="T122" fmla="*/ 2410 w 3736"/>
                <a:gd name="T123" fmla="*/ 48 h 3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6" h="3678">
                  <a:moveTo>
                    <a:pt x="413" y="2964"/>
                  </a:moveTo>
                  <a:lnTo>
                    <a:pt x="367" y="2968"/>
                  </a:lnTo>
                  <a:lnTo>
                    <a:pt x="325" y="2978"/>
                  </a:lnTo>
                  <a:lnTo>
                    <a:pt x="286" y="2993"/>
                  </a:lnTo>
                  <a:lnTo>
                    <a:pt x="248" y="3013"/>
                  </a:lnTo>
                  <a:lnTo>
                    <a:pt x="215" y="3039"/>
                  </a:lnTo>
                  <a:lnTo>
                    <a:pt x="185" y="3069"/>
                  </a:lnTo>
                  <a:lnTo>
                    <a:pt x="160" y="3102"/>
                  </a:lnTo>
                  <a:lnTo>
                    <a:pt x="139" y="3139"/>
                  </a:lnTo>
                  <a:lnTo>
                    <a:pt x="125" y="3179"/>
                  </a:lnTo>
                  <a:lnTo>
                    <a:pt x="114" y="3222"/>
                  </a:lnTo>
                  <a:lnTo>
                    <a:pt x="111" y="3266"/>
                  </a:lnTo>
                  <a:lnTo>
                    <a:pt x="114" y="3310"/>
                  </a:lnTo>
                  <a:lnTo>
                    <a:pt x="125" y="3352"/>
                  </a:lnTo>
                  <a:lnTo>
                    <a:pt x="139" y="3393"/>
                  </a:lnTo>
                  <a:lnTo>
                    <a:pt x="160" y="3430"/>
                  </a:lnTo>
                  <a:lnTo>
                    <a:pt x="185" y="3464"/>
                  </a:lnTo>
                  <a:lnTo>
                    <a:pt x="215" y="3493"/>
                  </a:lnTo>
                  <a:lnTo>
                    <a:pt x="248" y="3518"/>
                  </a:lnTo>
                  <a:lnTo>
                    <a:pt x="286" y="3538"/>
                  </a:lnTo>
                  <a:lnTo>
                    <a:pt x="325" y="3554"/>
                  </a:lnTo>
                  <a:lnTo>
                    <a:pt x="367" y="3563"/>
                  </a:lnTo>
                  <a:lnTo>
                    <a:pt x="413" y="3567"/>
                  </a:lnTo>
                  <a:lnTo>
                    <a:pt x="1838" y="3567"/>
                  </a:lnTo>
                  <a:lnTo>
                    <a:pt x="1882" y="3563"/>
                  </a:lnTo>
                  <a:lnTo>
                    <a:pt x="1925" y="3554"/>
                  </a:lnTo>
                  <a:lnTo>
                    <a:pt x="1965" y="3538"/>
                  </a:lnTo>
                  <a:lnTo>
                    <a:pt x="2002" y="3518"/>
                  </a:lnTo>
                  <a:lnTo>
                    <a:pt x="2035" y="3493"/>
                  </a:lnTo>
                  <a:lnTo>
                    <a:pt x="2065" y="3464"/>
                  </a:lnTo>
                  <a:lnTo>
                    <a:pt x="2091" y="3430"/>
                  </a:lnTo>
                  <a:lnTo>
                    <a:pt x="2111" y="3393"/>
                  </a:lnTo>
                  <a:lnTo>
                    <a:pt x="2126" y="3352"/>
                  </a:lnTo>
                  <a:lnTo>
                    <a:pt x="2136" y="3310"/>
                  </a:lnTo>
                  <a:lnTo>
                    <a:pt x="2140" y="3266"/>
                  </a:lnTo>
                  <a:lnTo>
                    <a:pt x="2136" y="3222"/>
                  </a:lnTo>
                  <a:lnTo>
                    <a:pt x="2126" y="3179"/>
                  </a:lnTo>
                  <a:lnTo>
                    <a:pt x="2111" y="3139"/>
                  </a:lnTo>
                  <a:lnTo>
                    <a:pt x="2091" y="3102"/>
                  </a:lnTo>
                  <a:lnTo>
                    <a:pt x="2065" y="3069"/>
                  </a:lnTo>
                  <a:lnTo>
                    <a:pt x="2035" y="3039"/>
                  </a:lnTo>
                  <a:lnTo>
                    <a:pt x="2002" y="3013"/>
                  </a:lnTo>
                  <a:lnTo>
                    <a:pt x="1965" y="2993"/>
                  </a:lnTo>
                  <a:lnTo>
                    <a:pt x="1925" y="2978"/>
                  </a:lnTo>
                  <a:lnTo>
                    <a:pt x="1882" y="2968"/>
                  </a:lnTo>
                  <a:lnTo>
                    <a:pt x="1838" y="2964"/>
                  </a:lnTo>
                  <a:lnTo>
                    <a:pt x="413" y="2964"/>
                  </a:lnTo>
                  <a:close/>
                  <a:moveTo>
                    <a:pt x="943" y="2727"/>
                  </a:moveTo>
                  <a:lnTo>
                    <a:pt x="943" y="2853"/>
                  </a:lnTo>
                  <a:lnTo>
                    <a:pt x="1307" y="2853"/>
                  </a:lnTo>
                  <a:lnTo>
                    <a:pt x="1307" y="2727"/>
                  </a:lnTo>
                  <a:lnTo>
                    <a:pt x="943" y="2727"/>
                  </a:lnTo>
                  <a:close/>
                  <a:moveTo>
                    <a:pt x="3407" y="2328"/>
                  </a:moveTo>
                  <a:lnTo>
                    <a:pt x="2754" y="2590"/>
                  </a:lnTo>
                  <a:lnTo>
                    <a:pt x="2936" y="2741"/>
                  </a:lnTo>
                  <a:lnTo>
                    <a:pt x="2970" y="2765"/>
                  </a:lnTo>
                  <a:lnTo>
                    <a:pt x="3005" y="2783"/>
                  </a:lnTo>
                  <a:lnTo>
                    <a:pt x="3042" y="2797"/>
                  </a:lnTo>
                  <a:lnTo>
                    <a:pt x="3081" y="2806"/>
                  </a:lnTo>
                  <a:lnTo>
                    <a:pt x="3121" y="2809"/>
                  </a:lnTo>
                  <a:lnTo>
                    <a:pt x="3161" y="2808"/>
                  </a:lnTo>
                  <a:lnTo>
                    <a:pt x="3201" y="2800"/>
                  </a:lnTo>
                  <a:lnTo>
                    <a:pt x="3240" y="2787"/>
                  </a:lnTo>
                  <a:lnTo>
                    <a:pt x="3429" y="2711"/>
                  </a:lnTo>
                  <a:lnTo>
                    <a:pt x="3452" y="2700"/>
                  </a:lnTo>
                  <a:lnTo>
                    <a:pt x="3470" y="2684"/>
                  </a:lnTo>
                  <a:lnTo>
                    <a:pt x="3485" y="2666"/>
                  </a:lnTo>
                  <a:lnTo>
                    <a:pt x="3496" y="2646"/>
                  </a:lnTo>
                  <a:lnTo>
                    <a:pt x="3504" y="2623"/>
                  </a:lnTo>
                  <a:lnTo>
                    <a:pt x="3506" y="2599"/>
                  </a:lnTo>
                  <a:lnTo>
                    <a:pt x="3504" y="2575"/>
                  </a:lnTo>
                  <a:lnTo>
                    <a:pt x="3497" y="2551"/>
                  </a:lnTo>
                  <a:lnTo>
                    <a:pt x="3407" y="2328"/>
                  </a:lnTo>
                  <a:close/>
                  <a:moveTo>
                    <a:pt x="353" y="2073"/>
                  </a:moveTo>
                  <a:lnTo>
                    <a:pt x="333" y="2076"/>
                  </a:lnTo>
                  <a:lnTo>
                    <a:pt x="315" y="2085"/>
                  </a:lnTo>
                  <a:lnTo>
                    <a:pt x="302" y="2099"/>
                  </a:lnTo>
                  <a:lnTo>
                    <a:pt x="292" y="2116"/>
                  </a:lnTo>
                  <a:lnTo>
                    <a:pt x="289" y="2136"/>
                  </a:lnTo>
                  <a:lnTo>
                    <a:pt x="289" y="2553"/>
                  </a:lnTo>
                  <a:lnTo>
                    <a:pt x="292" y="2572"/>
                  </a:lnTo>
                  <a:lnTo>
                    <a:pt x="302" y="2590"/>
                  </a:lnTo>
                  <a:lnTo>
                    <a:pt x="315" y="2604"/>
                  </a:lnTo>
                  <a:lnTo>
                    <a:pt x="333" y="2613"/>
                  </a:lnTo>
                  <a:lnTo>
                    <a:pt x="353" y="2616"/>
                  </a:lnTo>
                  <a:lnTo>
                    <a:pt x="713" y="2616"/>
                  </a:lnTo>
                  <a:lnTo>
                    <a:pt x="713" y="2073"/>
                  </a:lnTo>
                  <a:lnTo>
                    <a:pt x="353" y="2073"/>
                  </a:lnTo>
                  <a:close/>
                  <a:moveTo>
                    <a:pt x="3562" y="1955"/>
                  </a:moveTo>
                  <a:lnTo>
                    <a:pt x="3542" y="1957"/>
                  </a:lnTo>
                  <a:lnTo>
                    <a:pt x="3524" y="1966"/>
                  </a:lnTo>
                  <a:lnTo>
                    <a:pt x="3511" y="1980"/>
                  </a:lnTo>
                  <a:lnTo>
                    <a:pt x="3502" y="1998"/>
                  </a:lnTo>
                  <a:lnTo>
                    <a:pt x="3498" y="2017"/>
                  </a:lnTo>
                  <a:lnTo>
                    <a:pt x="3502" y="2038"/>
                  </a:lnTo>
                  <a:lnTo>
                    <a:pt x="3511" y="2055"/>
                  </a:lnTo>
                  <a:lnTo>
                    <a:pt x="3524" y="2068"/>
                  </a:lnTo>
                  <a:lnTo>
                    <a:pt x="3542" y="2077"/>
                  </a:lnTo>
                  <a:lnTo>
                    <a:pt x="3562" y="2081"/>
                  </a:lnTo>
                  <a:lnTo>
                    <a:pt x="3582" y="2077"/>
                  </a:lnTo>
                  <a:lnTo>
                    <a:pt x="3599" y="2068"/>
                  </a:lnTo>
                  <a:lnTo>
                    <a:pt x="3613" y="2055"/>
                  </a:lnTo>
                  <a:lnTo>
                    <a:pt x="3622" y="2038"/>
                  </a:lnTo>
                  <a:lnTo>
                    <a:pt x="3625" y="2017"/>
                  </a:lnTo>
                  <a:lnTo>
                    <a:pt x="3622" y="1998"/>
                  </a:lnTo>
                  <a:lnTo>
                    <a:pt x="3613" y="1980"/>
                  </a:lnTo>
                  <a:lnTo>
                    <a:pt x="3599" y="1966"/>
                  </a:lnTo>
                  <a:lnTo>
                    <a:pt x="3582" y="1957"/>
                  </a:lnTo>
                  <a:lnTo>
                    <a:pt x="3562" y="1955"/>
                  </a:lnTo>
                  <a:close/>
                  <a:moveTo>
                    <a:pt x="950" y="1428"/>
                  </a:moveTo>
                  <a:lnTo>
                    <a:pt x="921" y="1441"/>
                  </a:lnTo>
                  <a:lnTo>
                    <a:pt x="893" y="1458"/>
                  </a:lnTo>
                  <a:lnTo>
                    <a:pt x="871" y="1481"/>
                  </a:lnTo>
                  <a:lnTo>
                    <a:pt x="851" y="1507"/>
                  </a:lnTo>
                  <a:lnTo>
                    <a:pt x="837" y="1536"/>
                  </a:lnTo>
                  <a:lnTo>
                    <a:pt x="828" y="1568"/>
                  </a:lnTo>
                  <a:lnTo>
                    <a:pt x="824" y="1601"/>
                  </a:lnTo>
                  <a:lnTo>
                    <a:pt x="824" y="2616"/>
                  </a:lnTo>
                  <a:lnTo>
                    <a:pt x="1843" y="2616"/>
                  </a:lnTo>
                  <a:lnTo>
                    <a:pt x="1843" y="2489"/>
                  </a:lnTo>
                  <a:lnTo>
                    <a:pt x="1556" y="2489"/>
                  </a:lnTo>
                  <a:lnTo>
                    <a:pt x="1468" y="2487"/>
                  </a:lnTo>
                  <a:lnTo>
                    <a:pt x="1382" y="2478"/>
                  </a:lnTo>
                  <a:lnTo>
                    <a:pt x="1297" y="2462"/>
                  </a:lnTo>
                  <a:lnTo>
                    <a:pt x="1213" y="2441"/>
                  </a:lnTo>
                  <a:lnTo>
                    <a:pt x="1132" y="2414"/>
                  </a:lnTo>
                  <a:lnTo>
                    <a:pt x="1050" y="2382"/>
                  </a:lnTo>
                  <a:lnTo>
                    <a:pt x="1026" y="2369"/>
                  </a:lnTo>
                  <a:lnTo>
                    <a:pt x="1005" y="2352"/>
                  </a:lnTo>
                  <a:lnTo>
                    <a:pt x="985" y="2331"/>
                  </a:lnTo>
                  <a:lnTo>
                    <a:pt x="971" y="2309"/>
                  </a:lnTo>
                  <a:lnTo>
                    <a:pt x="960" y="2284"/>
                  </a:lnTo>
                  <a:lnTo>
                    <a:pt x="954" y="2256"/>
                  </a:lnTo>
                  <a:lnTo>
                    <a:pt x="950" y="2228"/>
                  </a:lnTo>
                  <a:lnTo>
                    <a:pt x="950" y="1428"/>
                  </a:lnTo>
                  <a:close/>
                  <a:moveTo>
                    <a:pt x="1062" y="1419"/>
                  </a:moveTo>
                  <a:lnTo>
                    <a:pt x="1062" y="2228"/>
                  </a:lnTo>
                  <a:lnTo>
                    <a:pt x="1065" y="2245"/>
                  </a:lnTo>
                  <a:lnTo>
                    <a:pt x="1071" y="2259"/>
                  </a:lnTo>
                  <a:lnTo>
                    <a:pt x="1082" y="2271"/>
                  </a:lnTo>
                  <a:lnTo>
                    <a:pt x="1095" y="2280"/>
                  </a:lnTo>
                  <a:lnTo>
                    <a:pt x="1171" y="2311"/>
                  </a:lnTo>
                  <a:lnTo>
                    <a:pt x="1248" y="2335"/>
                  </a:lnTo>
                  <a:lnTo>
                    <a:pt x="1248" y="1601"/>
                  </a:lnTo>
                  <a:lnTo>
                    <a:pt x="1251" y="1584"/>
                  </a:lnTo>
                  <a:lnTo>
                    <a:pt x="1259" y="1568"/>
                  </a:lnTo>
                  <a:lnTo>
                    <a:pt x="1271" y="1557"/>
                  </a:lnTo>
                  <a:lnTo>
                    <a:pt x="1286" y="1549"/>
                  </a:lnTo>
                  <a:lnTo>
                    <a:pt x="1304" y="1545"/>
                  </a:lnTo>
                  <a:lnTo>
                    <a:pt x="1321" y="1549"/>
                  </a:lnTo>
                  <a:lnTo>
                    <a:pt x="1337" y="1557"/>
                  </a:lnTo>
                  <a:lnTo>
                    <a:pt x="1348" y="1568"/>
                  </a:lnTo>
                  <a:lnTo>
                    <a:pt x="1356" y="1584"/>
                  </a:lnTo>
                  <a:lnTo>
                    <a:pt x="1360" y="1601"/>
                  </a:lnTo>
                  <a:lnTo>
                    <a:pt x="1360" y="2361"/>
                  </a:lnTo>
                  <a:lnTo>
                    <a:pt x="1424" y="2370"/>
                  </a:lnTo>
                  <a:lnTo>
                    <a:pt x="1490" y="2376"/>
                  </a:lnTo>
                  <a:lnTo>
                    <a:pt x="1556" y="2378"/>
                  </a:lnTo>
                  <a:lnTo>
                    <a:pt x="1961" y="2378"/>
                  </a:lnTo>
                  <a:lnTo>
                    <a:pt x="1961" y="2221"/>
                  </a:lnTo>
                  <a:lnTo>
                    <a:pt x="1958" y="2171"/>
                  </a:lnTo>
                  <a:lnTo>
                    <a:pt x="1949" y="2123"/>
                  </a:lnTo>
                  <a:lnTo>
                    <a:pt x="1936" y="2076"/>
                  </a:lnTo>
                  <a:lnTo>
                    <a:pt x="1915" y="2031"/>
                  </a:lnTo>
                  <a:lnTo>
                    <a:pt x="1890" y="1988"/>
                  </a:lnTo>
                  <a:lnTo>
                    <a:pt x="1566" y="1500"/>
                  </a:lnTo>
                  <a:lnTo>
                    <a:pt x="1547" y="1477"/>
                  </a:lnTo>
                  <a:lnTo>
                    <a:pt x="1525" y="1457"/>
                  </a:lnTo>
                  <a:lnTo>
                    <a:pt x="1500" y="1441"/>
                  </a:lnTo>
                  <a:lnTo>
                    <a:pt x="1473" y="1428"/>
                  </a:lnTo>
                  <a:lnTo>
                    <a:pt x="1445" y="1422"/>
                  </a:lnTo>
                  <a:lnTo>
                    <a:pt x="1414" y="1419"/>
                  </a:lnTo>
                  <a:lnTo>
                    <a:pt x="1062" y="1419"/>
                  </a:lnTo>
                  <a:close/>
                  <a:moveTo>
                    <a:pt x="2753" y="353"/>
                  </a:moveTo>
                  <a:lnTo>
                    <a:pt x="2749" y="361"/>
                  </a:lnTo>
                  <a:lnTo>
                    <a:pt x="2571" y="659"/>
                  </a:lnTo>
                  <a:lnTo>
                    <a:pt x="3419" y="1917"/>
                  </a:lnTo>
                  <a:lnTo>
                    <a:pt x="3437" y="1895"/>
                  </a:lnTo>
                  <a:lnTo>
                    <a:pt x="3460" y="1876"/>
                  </a:lnTo>
                  <a:lnTo>
                    <a:pt x="3485" y="1861"/>
                  </a:lnTo>
                  <a:lnTo>
                    <a:pt x="3512" y="1850"/>
                  </a:lnTo>
                  <a:lnTo>
                    <a:pt x="3541" y="1844"/>
                  </a:lnTo>
                  <a:lnTo>
                    <a:pt x="2753" y="353"/>
                  </a:lnTo>
                  <a:close/>
                  <a:moveTo>
                    <a:pt x="2334" y="320"/>
                  </a:moveTo>
                  <a:lnTo>
                    <a:pt x="1562" y="1348"/>
                  </a:lnTo>
                  <a:lnTo>
                    <a:pt x="1590" y="1366"/>
                  </a:lnTo>
                  <a:lnTo>
                    <a:pt x="1616" y="1387"/>
                  </a:lnTo>
                  <a:lnTo>
                    <a:pt x="1638" y="1411"/>
                  </a:lnTo>
                  <a:lnTo>
                    <a:pt x="1658" y="1439"/>
                  </a:lnTo>
                  <a:lnTo>
                    <a:pt x="1827" y="1690"/>
                  </a:lnTo>
                  <a:lnTo>
                    <a:pt x="2555" y="467"/>
                  </a:lnTo>
                  <a:lnTo>
                    <a:pt x="2551" y="467"/>
                  </a:lnTo>
                  <a:lnTo>
                    <a:pt x="2515" y="465"/>
                  </a:lnTo>
                  <a:lnTo>
                    <a:pt x="2481" y="457"/>
                  </a:lnTo>
                  <a:lnTo>
                    <a:pt x="2448" y="444"/>
                  </a:lnTo>
                  <a:lnTo>
                    <a:pt x="2419" y="427"/>
                  </a:lnTo>
                  <a:lnTo>
                    <a:pt x="2391" y="405"/>
                  </a:lnTo>
                  <a:lnTo>
                    <a:pt x="2369" y="380"/>
                  </a:lnTo>
                  <a:lnTo>
                    <a:pt x="2349" y="351"/>
                  </a:lnTo>
                  <a:lnTo>
                    <a:pt x="2334" y="320"/>
                  </a:lnTo>
                  <a:close/>
                  <a:moveTo>
                    <a:pt x="2551" y="111"/>
                  </a:moveTo>
                  <a:lnTo>
                    <a:pt x="2523" y="115"/>
                  </a:lnTo>
                  <a:lnTo>
                    <a:pt x="2498" y="124"/>
                  </a:lnTo>
                  <a:lnTo>
                    <a:pt x="2475" y="138"/>
                  </a:lnTo>
                  <a:lnTo>
                    <a:pt x="2456" y="157"/>
                  </a:lnTo>
                  <a:lnTo>
                    <a:pt x="2441" y="180"/>
                  </a:lnTo>
                  <a:lnTo>
                    <a:pt x="2432" y="205"/>
                  </a:lnTo>
                  <a:lnTo>
                    <a:pt x="2429" y="234"/>
                  </a:lnTo>
                  <a:lnTo>
                    <a:pt x="2432" y="262"/>
                  </a:lnTo>
                  <a:lnTo>
                    <a:pt x="2441" y="287"/>
                  </a:lnTo>
                  <a:lnTo>
                    <a:pt x="2456" y="311"/>
                  </a:lnTo>
                  <a:lnTo>
                    <a:pt x="2475" y="329"/>
                  </a:lnTo>
                  <a:lnTo>
                    <a:pt x="2498" y="344"/>
                  </a:lnTo>
                  <a:lnTo>
                    <a:pt x="2523" y="353"/>
                  </a:lnTo>
                  <a:lnTo>
                    <a:pt x="2551" y="356"/>
                  </a:lnTo>
                  <a:lnTo>
                    <a:pt x="2576" y="354"/>
                  </a:lnTo>
                  <a:lnTo>
                    <a:pt x="2599" y="347"/>
                  </a:lnTo>
                  <a:lnTo>
                    <a:pt x="2619" y="336"/>
                  </a:lnTo>
                  <a:lnTo>
                    <a:pt x="2638" y="321"/>
                  </a:lnTo>
                  <a:lnTo>
                    <a:pt x="2653" y="303"/>
                  </a:lnTo>
                  <a:lnTo>
                    <a:pt x="2656" y="298"/>
                  </a:lnTo>
                  <a:lnTo>
                    <a:pt x="2657" y="297"/>
                  </a:lnTo>
                  <a:lnTo>
                    <a:pt x="2666" y="278"/>
                  </a:lnTo>
                  <a:lnTo>
                    <a:pt x="2672" y="256"/>
                  </a:lnTo>
                  <a:lnTo>
                    <a:pt x="2674" y="234"/>
                  </a:lnTo>
                  <a:lnTo>
                    <a:pt x="2672" y="210"/>
                  </a:lnTo>
                  <a:lnTo>
                    <a:pt x="2665" y="187"/>
                  </a:lnTo>
                  <a:lnTo>
                    <a:pt x="2661" y="180"/>
                  </a:lnTo>
                  <a:lnTo>
                    <a:pt x="2658" y="174"/>
                  </a:lnTo>
                  <a:lnTo>
                    <a:pt x="2643" y="153"/>
                  </a:lnTo>
                  <a:lnTo>
                    <a:pt x="2625" y="136"/>
                  </a:lnTo>
                  <a:lnTo>
                    <a:pt x="2603" y="123"/>
                  </a:lnTo>
                  <a:lnTo>
                    <a:pt x="2579" y="115"/>
                  </a:lnTo>
                  <a:lnTo>
                    <a:pt x="2551" y="111"/>
                  </a:lnTo>
                  <a:close/>
                  <a:moveTo>
                    <a:pt x="2551" y="0"/>
                  </a:moveTo>
                  <a:lnTo>
                    <a:pt x="2591" y="3"/>
                  </a:lnTo>
                  <a:lnTo>
                    <a:pt x="2630" y="12"/>
                  </a:lnTo>
                  <a:lnTo>
                    <a:pt x="2665" y="28"/>
                  </a:lnTo>
                  <a:lnTo>
                    <a:pt x="2696" y="50"/>
                  </a:lnTo>
                  <a:lnTo>
                    <a:pt x="2724" y="75"/>
                  </a:lnTo>
                  <a:lnTo>
                    <a:pt x="2747" y="106"/>
                  </a:lnTo>
                  <a:lnTo>
                    <a:pt x="2766" y="138"/>
                  </a:lnTo>
                  <a:lnTo>
                    <a:pt x="3713" y="1930"/>
                  </a:lnTo>
                  <a:lnTo>
                    <a:pt x="3726" y="1957"/>
                  </a:lnTo>
                  <a:lnTo>
                    <a:pt x="3734" y="1986"/>
                  </a:lnTo>
                  <a:lnTo>
                    <a:pt x="3736" y="2017"/>
                  </a:lnTo>
                  <a:lnTo>
                    <a:pt x="3733" y="2050"/>
                  </a:lnTo>
                  <a:lnTo>
                    <a:pt x="3725" y="2080"/>
                  </a:lnTo>
                  <a:lnTo>
                    <a:pt x="3711" y="2108"/>
                  </a:lnTo>
                  <a:lnTo>
                    <a:pt x="3693" y="2132"/>
                  </a:lnTo>
                  <a:lnTo>
                    <a:pt x="3672" y="2153"/>
                  </a:lnTo>
                  <a:lnTo>
                    <a:pt x="3646" y="2170"/>
                  </a:lnTo>
                  <a:lnTo>
                    <a:pt x="3617" y="2183"/>
                  </a:lnTo>
                  <a:lnTo>
                    <a:pt x="3617" y="2612"/>
                  </a:lnTo>
                  <a:lnTo>
                    <a:pt x="3617" y="2620"/>
                  </a:lnTo>
                  <a:lnTo>
                    <a:pt x="3616" y="2626"/>
                  </a:lnTo>
                  <a:lnTo>
                    <a:pt x="3609" y="2660"/>
                  </a:lnTo>
                  <a:lnTo>
                    <a:pt x="3597" y="2693"/>
                  </a:lnTo>
                  <a:lnTo>
                    <a:pt x="3580" y="2724"/>
                  </a:lnTo>
                  <a:lnTo>
                    <a:pt x="3559" y="2752"/>
                  </a:lnTo>
                  <a:lnTo>
                    <a:pt x="3533" y="2777"/>
                  </a:lnTo>
                  <a:lnTo>
                    <a:pt x="3504" y="2799"/>
                  </a:lnTo>
                  <a:lnTo>
                    <a:pt x="3471" y="2815"/>
                  </a:lnTo>
                  <a:lnTo>
                    <a:pt x="3282" y="2891"/>
                  </a:lnTo>
                  <a:lnTo>
                    <a:pt x="3231" y="2908"/>
                  </a:lnTo>
                  <a:lnTo>
                    <a:pt x="3180" y="2918"/>
                  </a:lnTo>
                  <a:lnTo>
                    <a:pt x="3127" y="2920"/>
                  </a:lnTo>
                  <a:lnTo>
                    <a:pt x="3081" y="2918"/>
                  </a:lnTo>
                  <a:lnTo>
                    <a:pt x="3034" y="2910"/>
                  </a:lnTo>
                  <a:lnTo>
                    <a:pt x="2989" y="2896"/>
                  </a:lnTo>
                  <a:lnTo>
                    <a:pt x="2946" y="2878"/>
                  </a:lnTo>
                  <a:lnTo>
                    <a:pt x="2904" y="2855"/>
                  </a:lnTo>
                  <a:lnTo>
                    <a:pt x="2865" y="2826"/>
                  </a:lnTo>
                  <a:lnTo>
                    <a:pt x="2454" y="2487"/>
                  </a:lnTo>
                  <a:lnTo>
                    <a:pt x="2442" y="2474"/>
                  </a:lnTo>
                  <a:lnTo>
                    <a:pt x="2436" y="2458"/>
                  </a:lnTo>
                  <a:lnTo>
                    <a:pt x="2433" y="2441"/>
                  </a:lnTo>
                  <a:lnTo>
                    <a:pt x="2438" y="2424"/>
                  </a:lnTo>
                  <a:lnTo>
                    <a:pt x="2447" y="2409"/>
                  </a:lnTo>
                  <a:lnTo>
                    <a:pt x="2459" y="2397"/>
                  </a:lnTo>
                  <a:lnTo>
                    <a:pt x="2475" y="2390"/>
                  </a:lnTo>
                  <a:lnTo>
                    <a:pt x="2492" y="2388"/>
                  </a:lnTo>
                  <a:lnTo>
                    <a:pt x="2509" y="2393"/>
                  </a:lnTo>
                  <a:lnTo>
                    <a:pt x="2525" y="2402"/>
                  </a:lnTo>
                  <a:lnTo>
                    <a:pt x="2656" y="2509"/>
                  </a:lnTo>
                  <a:lnTo>
                    <a:pt x="3418" y="2203"/>
                  </a:lnTo>
                  <a:lnTo>
                    <a:pt x="3431" y="2200"/>
                  </a:lnTo>
                  <a:lnTo>
                    <a:pt x="3446" y="2200"/>
                  </a:lnTo>
                  <a:lnTo>
                    <a:pt x="3460" y="2204"/>
                  </a:lnTo>
                  <a:lnTo>
                    <a:pt x="3472" y="2211"/>
                  </a:lnTo>
                  <a:lnTo>
                    <a:pt x="3482" y="2221"/>
                  </a:lnTo>
                  <a:lnTo>
                    <a:pt x="3490" y="2235"/>
                  </a:lnTo>
                  <a:lnTo>
                    <a:pt x="3506" y="2275"/>
                  </a:lnTo>
                  <a:lnTo>
                    <a:pt x="3506" y="2183"/>
                  </a:lnTo>
                  <a:lnTo>
                    <a:pt x="3478" y="2170"/>
                  </a:lnTo>
                  <a:lnTo>
                    <a:pt x="3452" y="2152"/>
                  </a:lnTo>
                  <a:lnTo>
                    <a:pt x="3429" y="2131"/>
                  </a:lnTo>
                  <a:lnTo>
                    <a:pt x="3411" y="2106"/>
                  </a:lnTo>
                  <a:lnTo>
                    <a:pt x="2507" y="766"/>
                  </a:lnTo>
                  <a:lnTo>
                    <a:pt x="1895" y="1794"/>
                  </a:lnTo>
                  <a:lnTo>
                    <a:pt x="1983" y="1926"/>
                  </a:lnTo>
                  <a:lnTo>
                    <a:pt x="2010" y="1971"/>
                  </a:lnTo>
                  <a:lnTo>
                    <a:pt x="2032" y="2018"/>
                  </a:lnTo>
                  <a:lnTo>
                    <a:pt x="2050" y="2067"/>
                  </a:lnTo>
                  <a:lnTo>
                    <a:pt x="2063" y="2117"/>
                  </a:lnTo>
                  <a:lnTo>
                    <a:pt x="2069" y="2168"/>
                  </a:lnTo>
                  <a:lnTo>
                    <a:pt x="2073" y="2221"/>
                  </a:lnTo>
                  <a:lnTo>
                    <a:pt x="2073" y="2433"/>
                  </a:lnTo>
                  <a:lnTo>
                    <a:pt x="2072" y="2441"/>
                  </a:lnTo>
                  <a:lnTo>
                    <a:pt x="2069" y="2452"/>
                  </a:lnTo>
                  <a:lnTo>
                    <a:pt x="2066" y="2460"/>
                  </a:lnTo>
                  <a:lnTo>
                    <a:pt x="2064" y="2463"/>
                  </a:lnTo>
                  <a:lnTo>
                    <a:pt x="2063" y="2465"/>
                  </a:lnTo>
                  <a:lnTo>
                    <a:pt x="2060" y="2469"/>
                  </a:lnTo>
                  <a:lnTo>
                    <a:pt x="2059" y="2469"/>
                  </a:lnTo>
                  <a:lnTo>
                    <a:pt x="2058" y="2471"/>
                  </a:lnTo>
                  <a:lnTo>
                    <a:pt x="2056" y="2473"/>
                  </a:lnTo>
                  <a:lnTo>
                    <a:pt x="2055" y="2474"/>
                  </a:lnTo>
                  <a:lnTo>
                    <a:pt x="2052" y="2477"/>
                  </a:lnTo>
                  <a:lnTo>
                    <a:pt x="2050" y="2478"/>
                  </a:lnTo>
                  <a:lnTo>
                    <a:pt x="2048" y="2480"/>
                  </a:lnTo>
                  <a:lnTo>
                    <a:pt x="2043" y="2482"/>
                  </a:lnTo>
                  <a:lnTo>
                    <a:pt x="2039" y="2485"/>
                  </a:lnTo>
                  <a:lnTo>
                    <a:pt x="2039" y="2485"/>
                  </a:lnTo>
                  <a:lnTo>
                    <a:pt x="2035" y="2486"/>
                  </a:lnTo>
                  <a:lnTo>
                    <a:pt x="2033" y="2487"/>
                  </a:lnTo>
                  <a:lnTo>
                    <a:pt x="2031" y="2488"/>
                  </a:lnTo>
                  <a:lnTo>
                    <a:pt x="2027" y="2488"/>
                  </a:lnTo>
                  <a:lnTo>
                    <a:pt x="2024" y="2489"/>
                  </a:lnTo>
                  <a:lnTo>
                    <a:pt x="2023" y="2489"/>
                  </a:lnTo>
                  <a:lnTo>
                    <a:pt x="2019" y="2489"/>
                  </a:lnTo>
                  <a:lnTo>
                    <a:pt x="2017" y="2489"/>
                  </a:lnTo>
                  <a:lnTo>
                    <a:pt x="1954" y="2489"/>
                  </a:lnTo>
                  <a:lnTo>
                    <a:pt x="1954" y="2672"/>
                  </a:lnTo>
                  <a:lnTo>
                    <a:pt x="1950" y="2689"/>
                  </a:lnTo>
                  <a:lnTo>
                    <a:pt x="1942" y="2705"/>
                  </a:lnTo>
                  <a:lnTo>
                    <a:pt x="1931" y="2716"/>
                  </a:lnTo>
                  <a:lnTo>
                    <a:pt x="1915" y="2724"/>
                  </a:lnTo>
                  <a:lnTo>
                    <a:pt x="1898" y="2727"/>
                  </a:lnTo>
                  <a:lnTo>
                    <a:pt x="1418" y="2727"/>
                  </a:lnTo>
                  <a:lnTo>
                    <a:pt x="1418" y="2853"/>
                  </a:lnTo>
                  <a:lnTo>
                    <a:pt x="1838" y="2853"/>
                  </a:lnTo>
                  <a:lnTo>
                    <a:pt x="1890" y="2857"/>
                  </a:lnTo>
                  <a:lnTo>
                    <a:pt x="1940" y="2866"/>
                  </a:lnTo>
                  <a:lnTo>
                    <a:pt x="1988" y="2882"/>
                  </a:lnTo>
                  <a:lnTo>
                    <a:pt x="2032" y="2902"/>
                  </a:lnTo>
                  <a:lnTo>
                    <a:pt x="2074" y="2927"/>
                  </a:lnTo>
                  <a:lnTo>
                    <a:pt x="2112" y="2958"/>
                  </a:lnTo>
                  <a:lnTo>
                    <a:pt x="2146" y="2992"/>
                  </a:lnTo>
                  <a:lnTo>
                    <a:pt x="2177" y="3030"/>
                  </a:lnTo>
                  <a:lnTo>
                    <a:pt x="2202" y="3072"/>
                  </a:lnTo>
                  <a:lnTo>
                    <a:pt x="2222" y="3116"/>
                  </a:lnTo>
                  <a:lnTo>
                    <a:pt x="2238" y="3164"/>
                  </a:lnTo>
                  <a:lnTo>
                    <a:pt x="2247" y="3214"/>
                  </a:lnTo>
                  <a:lnTo>
                    <a:pt x="2251" y="3266"/>
                  </a:lnTo>
                  <a:lnTo>
                    <a:pt x="2247" y="3317"/>
                  </a:lnTo>
                  <a:lnTo>
                    <a:pt x="2238" y="3367"/>
                  </a:lnTo>
                  <a:lnTo>
                    <a:pt x="2222" y="3415"/>
                  </a:lnTo>
                  <a:lnTo>
                    <a:pt x="2202" y="3460"/>
                  </a:lnTo>
                  <a:lnTo>
                    <a:pt x="2177" y="3501"/>
                  </a:lnTo>
                  <a:lnTo>
                    <a:pt x="2146" y="3540"/>
                  </a:lnTo>
                  <a:lnTo>
                    <a:pt x="2112" y="3574"/>
                  </a:lnTo>
                  <a:lnTo>
                    <a:pt x="2074" y="3604"/>
                  </a:lnTo>
                  <a:lnTo>
                    <a:pt x="2032" y="3630"/>
                  </a:lnTo>
                  <a:lnTo>
                    <a:pt x="1988" y="3651"/>
                  </a:lnTo>
                  <a:lnTo>
                    <a:pt x="1940" y="3666"/>
                  </a:lnTo>
                  <a:lnTo>
                    <a:pt x="1890" y="3676"/>
                  </a:lnTo>
                  <a:lnTo>
                    <a:pt x="1838" y="3678"/>
                  </a:lnTo>
                  <a:lnTo>
                    <a:pt x="413" y="3678"/>
                  </a:lnTo>
                  <a:lnTo>
                    <a:pt x="360" y="3676"/>
                  </a:lnTo>
                  <a:lnTo>
                    <a:pt x="311" y="3666"/>
                  </a:lnTo>
                  <a:lnTo>
                    <a:pt x="263" y="3651"/>
                  </a:lnTo>
                  <a:lnTo>
                    <a:pt x="219" y="3630"/>
                  </a:lnTo>
                  <a:lnTo>
                    <a:pt x="177" y="3604"/>
                  </a:lnTo>
                  <a:lnTo>
                    <a:pt x="138" y="3574"/>
                  </a:lnTo>
                  <a:lnTo>
                    <a:pt x="104" y="3540"/>
                  </a:lnTo>
                  <a:lnTo>
                    <a:pt x="74" y="3501"/>
                  </a:lnTo>
                  <a:lnTo>
                    <a:pt x="49" y="3460"/>
                  </a:lnTo>
                  <a:lnTo>
                    <a:pt x="28" y="3415"/>
                  </a:lnTo>
                  <a:lnTo>
                    <a:pt x="12" y="3367"/>
                  </a:lnTo>
                  <a:lnTo>
                    <a:pt x="3" y="3317"/>
                  </a:lnTo>
                  <a:lnTo>
                    <a:pt x="0" y="3266"/>
                  </a:lnTo>
                  <a:lnTo>
                    <a:pt x="3" y="3214"/>
                  </a:lnTo>
                  <a:lnTo>
                    <a:pt x="12" y="3164"/>
                  </a:lnTo>
                  <a:lnTo>
                    <a:pt x="28" y="3116"/>
                  </a:lnTo>
                  <a:lnTo>
                    <a:pt x="49" y="3072"/>
                  </a:lnTo>
                  <a:lnTo>
                    <a:pt x="74" y="3030"/>
                  </a:lnTo>
                  <a:lnTo>
                    <a:pt x="104" y="2992"/>
                  </a:lnTo>
                  <a:lnTo>
                    <a:pt x="138" y="2958"/>
                  </a:lnTo>
                  <a:lnTo>
                    <a:pt x="177" y="2927"/>
                  </a:lnTo>
                  <a:lnTo>
                    <a:pt x="219" y="2902"/>
                  </a:lnTo>
                  <a:lnTo>
                    <a:pt x="263" y="2882"/>
                  </a:lnTo>
                  <a:lnTo>
                    <a:pt x="311" y="2866"/>
                  </a:lnTo>
                  <a:lnTo>
                    <a:pt x="360" y="2857"/>
                  </a:lnTo>
                  <a:lnTo>
                    <a:pt x="413" y="2853"/>
                  </a:lnTo>
                  <a:lnTo>
                    <a:pt x="832" y="2853"/>
                  </a:lnTo>
                  <a:lnTo>
                    <a:pt x="832" y="2727"/>
                  </a:lnTo>
                  <a:lnTo>
                    <a:pt x="353" y="2727"/>
                  </a:lnTo>
                  <a:lnTo>
                    <a:pt x="317" y="2724"/>
                  </a:lnTo>
                  <a:lnTo>
                    <a:pt x="284" y="2714"/>
                  </a:lnTo>
                  <a:lnTo>
                    <a:pt x="255" y="2698"/>
                  </a:lnTo>
                  <a:lnTo>
                    <a:pt x="229" y="2676"/>
                  </a:lnTo>
                  <a:lnTo>
                    <a:pt x="209" y="2650"/>
                  </a:lnTo>
                  <a:lnTo>
                    <a:pt x="192" y="2621"/>
                  </a:lnTo>
                  <a:lnTo>
                    <a:pt x="181" y="2588"/>
                  </a:lnTo>
                  <a:lnTo>
                    <a:pt x="178" y="2553"/>
                  </a:lnTo>
                  <a:lnTo>
                    <a:pt x="178" y="2136"/>
                  </a:lnTo>
                  <a:lnTo>
                    <a:pt x="181" y="2101"/>
                  </a:lnTo>
                  <a:lnTo>
                    <a:pt x="192" y="2068"/>
                  </a:lnTo>
                  <a:lnTo>
                    <a:pt x="209" y="2039"/>
                  </a:lnTo>
                  <a:lnTo>
                    <a:pt x="229" y="2013"/>
                  </a:lnTo>
                  <a:lnTo>
                    <a:pt x="255" y="1991"/>
                  </a:lnTo>
                  <a:lnTo>
                    <a:pt x="284" y="1975"/>
                  </a:lnTo>
                  <a:lnTo>
                    <a:pt x="317" y="1965"/>
                  </a:lnTo>
                  <a:lnTo>
                    <a:pt x="353" y="1962"/>
                  </a:lnTo>
                  <a:lnTo>
                    <a:pt x="713" y="1962"/>
                  </a:lnTo>
                  <a:lnTo>
                    <a:pt x="713" y="1601"/>
                  </a:lnTo>
                  <a:lnTo>
                    <a:pt x="717" y="1558"/>
                  </a:lnTo>
                  <a:lnTo>
                    <a:pt x="726" y="1517"/>
                  </a:lnTo>
                  <a:lnTo>
                    <a:pt x="740" y="1477"/>
                  </a:lnTo>
                  <a:lnTo>
                    <a:pt x="761" y="1442"/>
                  </a:lnTo>
                  <a:lnTo>
                    <a:pt x="785" y="1409"/>
                  </a:lnTo>
                  <a:lnTo>
                    <a:pt x="814" y="1380"/>
                  </a:lnTo>
                  <a:lnTo>
                    <a:pt x="847" y="1355"/>
                  </a:lnTo>
                  <a:lnTo>
                    <a:pt x="883" y="1335"/>
                  </a:lnTo>
                  <a:lnTo>
                    <a:pt x="922" y="1321"/>
                  </a:lnTo>
                  <a:lnTo>
                    <a:pt x="963" y="1310"/>
                  </a:lnTo>
                  <a:lnTo>
                    <a:pt x="1007" y="1308"/>
                  </a:lnTo>
                  <a:lnTo>
                    <a:pt x="1414" y="1308"/>
                  </a:lnTo>
                  <a:lnTo>
                    <a:pt x="1452" y="1310"/>
                  </a:lnTo>
                  <a:lnTo>
                    <a:pt x="2359" y="101"/>
                  </a:lnTo>
                  <a:lnTo>
                    <a:pt x="2359" y="101"/>
                  </a:lnTo>
                  <a:lnTo>
                    <a:pt x="2382" y="73"/>
                  </a:lnTo>
                  <a:lnTo>
                    <a:pt x="2410" y="48"/>
                  </a:lnTo>
                  <a:lnTo>
                    <a:pt x="2441" y="27"/>
                  </a:lnTo>
                  <a:lnTo>
                    <a:pt x="2475" y="12"/>
                  </a:lnTo>
                  <a:lnTo>
                    <a:pt x="2513" y="3"/>
                  </a:lnTo>
                  <a:lnTo>
                    <a:pt x="2551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</p:grpSp>
      <p:sp>
        <p:nvSpPr>
          <p:cNvPr id="23625" name="TextBox 158">
            <a:extLst>
              <a:ext uri="{FF2B5EF4-FFF2-40B4-BE49-F238E27FC236}">
                <a16:creationId xmlns:a16="http://schemas.microsoft.com/office/drawing/2014/main" id="{E039C87F-72AD-4054-B63A-554ACFFB9E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4663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6" name="TextBox 159">
            <a:extLst>
              <a:ext uri="{FF2B5EF4-FFF2-40B4-BE49-F238E27FC236}">
                <a16:creationId xmlns:a16="http://schemas.microsoft.com/office/drawing/2014/main" id="{C89D28E8-6E73-4458-A352-42A749EC09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3488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7" name="TextBox 127">
            <a:extLst>
              <a:ext uri="{FF2B5EF4-FFF2-40B4-BE49-F238E27FC236}">
                <a16:creationId xmlns:a16="http://schemas.microsoft.com/office/drawing/2014/main" id="{D2C4F5E9-E854-4896-8355-45DEC69063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7813" y="6378575"/>
            <a:ext cx="426243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Sources: National Bureau of Statistics, World Bank Report on Doing Business in Nigeria 2018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climate-</a:t>
            </a:r>
            <a:r>
              <a:rPr lang="en-GB" altLang="en-US" sz="800" dirty="0" err="1">
                <a:latin typeface="Calibri" panose="020F0502020204030204" pitchFamily="34" charset="0"/>
              </a:rPr>
              <a:t>data.org</a:t>
            </a:r>
            <a:r>
              <a:rPr lang="en-GB" altLang="en-US" sz="800" dirty="0">
                <a:latin typeface="Calibri" panose="020F0502020204030204" pitchFamily="34" charset="0"/>
              </a:rPr>
              <a:t>, State Government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Exchange rate= $1/N305 (Central Bank of Nigeria)</a:t>
            </a:r>
          </a:p>
        </p:txBody>
      </p:sp>
      <p:sp>
        <p:nvSpPr>
          <p:cNvPr id="23628" name="TextBox 128">
            <a:extLst>
              <a:ext uri="{FF2B5EF4-FFF2-40B4-BE49-F238E27FC236}">
                <a16:creationId xmlns:a16="http://schemas.microsoft.com/office/drawing/2014/main" id="{409BCC6F-A5F0-4C79-BB4A-38A1ABC14F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27647" y="3649889"/>
            <a:ext cx="49564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Health</a:t>
            </a:r>
          </a:p>
        </p:txBody>
      </p:sp>
      <p:sp>
        <p:nvSpPr>
          <p:cNvPr id="23629" name="TextBox 129">
            <a:extLst>
              <a:ext uri="{FF2B5EF4-FFF2-40B4-BE49-F238E27FC236}">
                <a16:creationId xmlns:a16="http://schemas.microsoft.com/office/drawing/2014/main" id="{489E7B41-20C9-4493-8E7D-07238EB8FA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2892" y="3654980"/>
            <a:ext cx="57579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Oil Palm</a:t>
            </a:r>
          </a:p>
        </p:txBody>
      </p:sp>
      <p:sp>
        <p:nvSpPr>
          <p:cNvPr id="23630" name="TextBox 130">
            <a:extLst>
              <a:ext uri="{FF2B5EF4-FFF2-40B4-BE49-F238E27FC236}">
                <a16:creationId xmlns:a16="http://schemas.microsoft.com/office/drawing/2014/main" id="{048DE5D8-5309-42DA-9D97-2935A10CB7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31" name="TextBox 131">
            <a:extLst>
              <a:ext uri="{FF2B5EF4-FFF2-40B4-BE49-F238E27FC236}">
                <a16:creationId xmlns:a16="http://schemas.microsoft.com/office/drawing/2014/main" id="{FF8B6C80-43E2-43AF-A364-A31845F05C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5388" y="3656613"/>
            <a:ext cx="37061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Fish</a:t>
            </a:r>
          </a:p>
        </p:txBody>
      </p:sp>
      <p:sp>
        <p:nvSpPr>
          <p:cNvPr id="23632" name="TextBox 132">
            <a:extLst>
              <a:ext uri="{FF2B5EF4-FFF2-40B4-BE49-F238E27FC236}">
                <a16:creationId xmlns:a16="http://schemas.microsoft.com/office/drawing/2014/main" id="{A1C640C1-61D1-4BA5-8A76-E684397E8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46689" y="3650683"/>
            <a:ext cx="52770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Rubber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238751" y="3833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23638" name="TextBox 141">
            <a:extLst>
              <a:ext uri="{FF2B5EF4-FFF2-40B4-BE49-F238E27FC236}">
                <a16:creationId xmlns:a16="http://schemas.microsoft.com/office/drawing/2014/main" id="{EE481231-8673-4FD7-B5CC-900AEE7A9F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8233" y="3652271"/>
            <a:ext cx="532518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Banana</a:t>
            </a:r>
          </a:p>
        </p:txBody>
      </p:sp>
      <p:sp>
        <p:nvSpPr>
          <p:cNvPr id="23649" name="TextBox 165">
            <a:extLst>
              <a:ext uri="{FF2B5EF4-FFF2-40B4-BE49-F238E27FC236}">
                <a16:creationId xmlns:a16="http://schemas.microsoft.com/office/drawing/2014/main" id="{1242633E-9CB1-48ED-83F4-2223DFC7ED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81236" y="4459560"/>
            <a:ext cx="65274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Education</a:t>
            </a:r>
          </a:p>
        </p:txBody>
      </p:sp>
      <p:sp>
        <p:nvSpPr>
          <p:cNvPr id="23650" name="TextBox 166">
            <a:extLst>
              <a:ext uri="{FF2B5EF4-FFF2-40B4-BE49-F238E27FC236}">
                <a16:creationId xmlns:a16="http://schemas.microsoft.com/office/drawing/2014/main" id="{6B51369B-8FA6-464A-B908-12B0FFE6B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51841" y="4458812"/>
            <a:ext cx="548548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 err="1">
                <a:latin typeface="Calibri" panose="020F0502020204030204" pitchFamily="34" charset="0"/>
              </a:rPr>
              <a:t>SeaPort</a:t>
            </a:r>
            <a:endParaRPr lang="en-GB" altLang="en-US" sz="900" dirty="0">
              <a:latin typeface="Calibri" panose="020F0502020204030204" pitchFamily="34" charset="0"/>
            </a:endParaRPr>
          </a:p>
        </p:txBody>
      </p:sp>
      <p:sp>
        <p:nvSpPr>
          <p:cNvPr id="23651" name="TextBox 167">
            <a:extLst>
              <a:ext uri="{FF2B5EF4-FFF2-40B4-BE49-F238E27FC236}">
                <a16:creationId xmlns:a16="http://schemas.microsoft.com/office/drawing/2014/main" id="{4F9404E1-8339-401B-8B10-4C7D1A8CEC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96936" y="4458074"/>
            <a:ext cx="54610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Railway</a:t>
            </a:r>
          </a:p>
        </p:txBody>
      </p:sp>
      <p:sp>
        <p:nvSpPr>
          <p:cNvPr id="23652" name="TextBox 168">
            <a:extLst>
              <a:ext uri="{FF2B5EF4-FFF2-40B4-BE49-F238E27FC236}">
                <a16:creationId xmlns:a16="http://schemas.microsoft.com/office/drawing/2014/main" id="{1C04917D-B2C3-4C21-8CC2-A45C349B4B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65456" y="4457326"/>
            <a:ext cx="566738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Tourism</a:t>
            </a:r>
          </a:p>
        </p:txBody>
      </p:sp>
      <p:sp>
        <p:nvSpPr>
          <p:cNvPr id="23653" name="TextBox 169">
            <a:extLst>
              <a:ext uri="{FF2B5EF4-FFF2-40B4-BE49-F238E27FC236}">
                <a16:creationId xmlns:a16="http://schemas.microsoft.com/office/drawing/2014/main" id="{4BADA327-4F2D-4897-B7C0-4647A1484B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3926" y="4457973"/>
            <a:ext cx="54534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Cashew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8A28B48-1841-45BB-BFBC-EADE77B37C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1230990"/>
              </p:ext>
            </p:extLst>
          </p:nvPr>
        </p:nvGraphicFramePr>
        <p:xfrm>
          <a:off x="2779712" y="2589213"/>
          <a:ext cx="1482725" cy="812800"/>
        </p:xfrm>
        <a:graphic>
          <a:graphicData uri="http://schemas.openxmlformats.org/drawingml/2006/table">
            <a:tbl>
              <a:tblPr/>
              <a:tblGrid>
                <a:gridCol w="11367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9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32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GB" sz="1000" b="1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Domestic</a:t>
                      </a:r>
                      <a:r>
                        <a:rPr lang="en-GB" sz="10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US" sz="1000" b="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International 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Railway</a:t>
                      </a:r>
                      <a:r>
                        <a:rPr lang="en-GB" sz="1000" b="1" kern="1200" baseline="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 Station</a:t>
                      </a:r>
                      <a:endParaRPr lang="en-GB" sz="1000" b="1" kern="1200" dirty="0">
                        <a:solidFill>
                          <a:srgbClr val="292929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32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Sea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7" name="TextBox 136">
            <a:extLst>
              <a:ext uri="{FF2B5EF4-FFF2-40B4-BE49-F238E27FC236}">
                <a16:creationId xmlns:a16="http://schemas.microsoft.com/office/drawing/2014/main" id="{2F4C4876-7073-4C13-A183-127A8909BDC0}"/>
              </a:ext>
            </a:extLst>
          </p:cNvPr>
          <p:cNvSpPr txBox="1"/>
          <p:nvPr/>
        </p:nvSpPr>
        <p:spPr>
          <a:xfrm>
            <a:off x="538163" y="5268913"/>
            <a:ext cx="373856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For further details</a:t>
            </a:r>
          </a:p>
        </p:txBody>
      </p:sp>
      <p:sp>
        <p:nvSpPr>
          <p:cNvPr id="23676" name="TextBox 156">
            <a:extLst>
              <a:ext uri="{FF2B5EF4-FFF2-40B4-BE49-F238E27FC236}">
                <a16:creationId xmlns:a16="http://schemas.microsoft.com/office/drawing/2014/main" id="{95D66AAF-6B48-4B9E-9E5B-F1BB063A89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6300" y="6342063"/>
            <a:ext cx="37306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Abbreviations: </a:t>
            </a:r>
            <a:r>
              <a:rPr lang="en-GB" altLang="en-US" sz="800" b="1" dirty="0">
                <a:latin typeface="Calibri" panose="020F0502020204030204" pitchFamily="34" charset="0"/>
              </a:rPr>
              <a:t>	NICPS</a:t>
            </a:r>
            <a:r>
              <a:rPr lang="en-GB" altLang="en-US" sz="800" dirty="0">
                <a:latin typeface="Calibri" panose="020F0502020204030204" pitchFamily="34" charset="0"/>
              </a:rPr>
              <a:t>: Nigerian Investment Certification Programme for States                  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	</a:t>
            </a:r>
            <a:r>
              <a:rPr lang="en-GB" altLang="en-US" sz="800" b="1" dirty="0">
                <a:latin typeface="Calibri" panose="020F0502020204030204" pitchFamily="34" charset="0"/>
              </a:rPr>
              <a:t>IGR</a:t>
            </a:r>
            <a:r>
              <a:rPr lang="en-GB" altLang="en-US" sz="800" dirty="0">
                <a:latin typeface="Calibri" panose="020F0502020204030204" pitchFamily="34" charset="0"/>
              </a:rPr>
              <a:t>:     Internal Generated Revenue</a:t>
            </a:r>
          </a:p>
        </p:txBody>
      </p:sp>
      <p:sp>
        <p:nvSpPr>
          <p:cNvPr id="23678" name="TextBox 152">
            <a:extLst>
              <a:ext uri="{FF2B5EF4-FFF2-40B4-BE49-F238E27FC236}">
                <a16:creationId xmlns:a16="http://schemas.microsoft.com/office/drawing/2014/main" id="{BFAF6896-F732-45FC-AC47-950DF99D9E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4576" y="1057275"/>
            <a:ext cx="3781424" cy="16927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15888" indent="-11588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Largest oil palm yields in Nigeri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Huge deposits of peculiar stones (quartz, amethyst, dolomite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Leading producers of timber in Nigeri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A major tourist centre in Nigeria(National museum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</a:rPr>
              <a:t>One of five commercial rubber producing stat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</a:rPr>
              <a:t>16+ million hectares of arable land reserved for farming</a:t>
            </a:r>
            <a:endParaRPr lang="en-GB" sz="1300" dirty="0">
              <a:latin typeface="Calibri" panose="020F0502020204030204" pitchFamily="34" charset="0"/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D4E23C6-26A0-4545-B8F7-7007C8EEBFE4}"/>
              </a:ext>
            </a:extLst>
          </p:cNvPr>
          <p:cNvSpPr txBox="1"/>
          <p:nvPr/>
        </p:nvSpPr>
        <p:spPr>
          <a:xfrm>
            <a:off x="4338638" y="5265738"/>
            <a:ext cx="247491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id you know?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132" name="Text Placeholder 42">
            <a:extLst>
              <a:ext uri="{FF2B5EF4-FFF2-40B4-BE49-F238E27FC236}">
                <a16:creationId xmlns:a16="http://schemas.microsoft.com/office/drawing/2014/main" id="{D510D0DC-1548-4249-8DB1-9A1055126D07}"/>
              </a:ext>
            </a:extLst>
          </p:cNvPr>
          <p:cNvSpPr txBox="1">
            <a:spLocks/>
          </p:cNvSpPr>
          <p:nvPr/>
        </p:nvSpPr>
        <p:spPr>
          <a:xfrm>
            <a:off x="522288" y="5511800"/>
            <a:ext cx="3733800" cy="701675"/>
          </a:xfrm>
          <a:prstGeom prst="rect">
            <a:avLst/>
          </a:prstGeom>
        </p:spPr>
        <p:txBody>
          <a:bodyPr lIns="36576" tIns="0" rIns="36576" bIns="0"/>
          <a:lstStyle>
            <a:lvl1pPr marL="0" indent="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/>
              <a:buNone/>
              <a:defRPr sz="800" b="1" baseline="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6575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93763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 charset="0"/>
              <a:buChar char="►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50950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619250" indent="-188913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0764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25336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29908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34480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NIGERIAN INVESTMENT PROMOTION COMMISSION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>
                <a:solidFill>
                  <a:schemeClr val="tx1"/>
                </a:solidFill>
                <a:hlinkClick r:id="rId7"/>
              </a:rPr>
              <a:t>statesco@nipc.gov.ng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endParaRPr lang="en-US" sz="5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EDO STATE INVESTMENT PROMOTION AGENCY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 err="1">
                <a:solidFill>
                  <a:schemeClr val="tx1"/>
                </a:solidFill>
                <a:hlinkClick r:id="rId8"/>
              </a:rPr>
              <a:t>kelvin.uwaibi@googlemail.com</a:t>
            </a:r>
            <a:r>
              <a:rPr lang="en-US" sz="1000" b="0" kern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FF015425-7997-4612-9D0E-1F6C433DFCC7}"/>
              </a:ext>
            </a:extLst>
          </p:cNvPr>
          <p:cNvSpPr/>
          <p:nvPr/>
        </p:nvSpPr>
        <p:spPr>
          <a:xfrm>
            <a:off x="6080877" y="3040856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4C0B7457-CABD-4AC8-8A1A-1FD468581E4D}"/>
              </a:ext>
            </a:extLst>
          </p:cNvPr>
          <p:cNvSpPr/>
          <p:nvPr/>
        </p:nvSpPr>
        <p:spPr>
          <a:xfrm>
            <a:off x="6784796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2D626A89-F50C-45A3-9271-5D3F2EEA9C83}"/>
              </a:ext>
            </a:extLst>
          </p:cNvPr>
          <p:cNvSpPr/>
          <p:nvPr/>
        </p:nvSpPr>
        <p:spPr>
          <a:xfrm>
            <a:off x="7518399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240713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A62E850A-D87D-46D0-9257-0071E677FCF0}"/>
              </a:ext>
            </a:extLst>
          </p:cNvPr>
          <p:cNvSpPr/>
          <p:nvPr/>
        </p:nvSpPr>
        <p:spPr>
          <a:xfrm>
            <a:off x="8947150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4D1FAA17-3EFF-404B-B4C4-B468BCE2E9A5}"/>
              </a:ext>
            </a:extLst>
          </p:cNvPr>
          <p:cNvSpPr/>
          <p:nvPr/>
        </p:nvSpPr>
        <p:spPr>
          <a:xfrm>
            <a:off x="6078265" y="3836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E861211D-5D09-4577-8A09-FD96D972A5D4}"/>
              </a:ext>
            </a:extLst>
          </p:cNvPr>
          <p:cNvSpPr/>
          <p:nvPr/>
        </p:nvSpPr>
        <p:spPr>
          <a:xfrm>
            <a:off x="6780509" y="3833831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D9F8790B-E97D-4D8F-AD51-26FAFBF8CA40}"/>
              </a:ext>
            </a:extLst>
          </p:cNvPr>
          <p:cNvSpPr/>
          <p:nvPr/>
        </p:nvSpPr>
        <p:spPr>
          <a:xfrm>
            <a:off x="8946402" y="3833630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3CBEFD1C-6360-47CD-AEDD-DFB49FC0E0C7}"/>
              </a:ext>
            </a:extLst>
          </p:cNvPr>
          <p:cNvSpPr/>
          <p:nvPr/>
        </p:nvSpPr>
        <p:spPr>
          <a:xfrm>
            <a:off x="7518603" y="3830834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pic>
        <p:nvPicPr>
          <p:cNvPr id="127" name="Picture 126">
            <a:extLst>
              <a:ext uri="{FF2B5EF4-FFF2-40B4-BE49-F238E27FC236}">
                <a16:creationId xmlns:a16="http://schemas.microsoft.com/office/drawing/2014/main" id="{FF13E16E-3964-4D9B-88BC-6AA75DBBC60D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3771" t="11603" r="3042" b="8668"/>
          <a:stretch/>
        </p:blipFill>
        <p:spPr>
          <a:xfrm>
            <a:off x="6119118" y="3147089"/>
            <a:ext cx="463768" cy="396790"/>
          </a:xfrm>
          <a:prstGeom prst="rect">
            <a:avLst/>
          </a:prstGeom>
        </p:spPr>
      </p:pic>
      <p:pic>
        <p:nvPicPr>
          <p:cNvPr id="135" name="Picture 3">
            <a:extLst>
              <a:ext uri="{FF2B5EF4-FFF2-40B4-BE49-F238E27FC236}">
                <a16:creationId xmlns:a16="http://schemas.microsoft.com/office/drawing/2014/main" id="{60835007-E619-4ED7-80D0-B47AE83743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941" y="3022915"/>
            <a:ext cx="527178" cy="5999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6" name="Picture 135">
            <a:extLst>
              <a:ext uri="{FF2B5EF4-FFF2-40B4-BE49-F238E27FC236}">
                <a16:creationId xmlns:a16="http://schemas.microsoft.com/office/drawing/2014/main" id="{E9218552-A939-401F-9DA0-36A0DF3E1987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7456" t="8086" r="5447" b="18934"/>
          <a:stretch/>
        </p:blipFill>
        <p:spPr>
          <a:xfrm>
            <a:off x="7581602" y="3198086"/>
            <a:ext cx="477067" cy="280414"/>
          </a:xfrm>
          <a:prstGeom prst="rect">
            <a:avLst/>
          </a:prstGeom>
        </p:spPr>
      </p:pic>
      <p:pic>
        <p:nvPicPr>
          <p:cNvPr id="139" name="Picture 138">
            <a:extLst>
              <a:ext uri="{FF2B5EF4-FFF2-40B4-BE49-F238E27FC236}">
                <a16:creationId xmlns:a16="http://schemas.microsoft.com/office/drawing/2014/main" id="{0DD68B75-084E-42BC-8BEB-54438DA90037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49106" r="81105" b="11688"/>
          <a:stretch/>
        </p:blipFill>
        <p:spPr>
          <a:xfrm rot="10800000">
            <a:off x="6236837" y="3915723"/>
            <a:ext cx="260974" cy="433201"/>
          </a:xfrm>
          <a:prstGeom prst="rect">
            <a:avLst/>
          </a:prstGeom>
        </p:spPr>
      </p:pic>
      <p:pic>
        <p:nvPicPr>
          <p:cNvPr id="142" name="Picture 141">
            <a:extLst>
              <a:ext uri="{FF2B5EF4-FFF2-40B4-BE49-F238E27FC236}">
                <a16:creationId xmlns:a16="http://schemas.microsoft.com/office/drawing/2014/main" id="{CC6C0010-8301-435D-AA81-8C5C0725F96C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5571" y="3933261"/>
            <a:ext cx="401486" cy="397097"/>
          </a:xfrm>
          <a:prstGeom prst="rect">
            <a:avLst/>
          </a:prstGeom>
        </p:spPr>
      </p:pic>
      <p:pic>
        <p:nvPicPr>
          <p:cNvPr id="149" name="Picture 148">
            <a:extLst>
              <a:ext uri="{FF2B5EF4-FFF2-40B4-BE49-F238E27FC236}">
                <a16:creationId xmlns:a16="http://schemas.microsoft.com/office/drawing/2014/main" id="{2B074785-8725-479F-B32A-F5B87477F4FF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915215" y="3971943"/>
            <a:ext cx="341060" cy="329595"/>
          </a:xfrm>
          <a:prstGeom prst="rect">
            <a:avLst/>
          </a:prstGeom>
        </p:spPr>
      </p:pic>
      <p:pic>
        <p:nvPicPr>
          <p:cNvPr id="150" name="Picture 149">
            <a:extLst>
              <a:ext uri="{FF2B5EF4-FFF2-40B4-BE49-F238E27FC236}">
                <a16:creationId xmlns:a16="http://schemas.microsoft.com/office/drawing/2014/main" id="{830650D8-D508-4C18-BD89-20B7FBBDBCF6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9039724" y="3905378"/>
            <a:ext cx="425978" cy="425978"/>
          </a:xfrm>
          <a:prstGeom prst="rect">
            <a:avLst/>
          </a:prstGeom>
        </p:spPr>
      </p:pic>
      <p:sp>
        <p:nvSpPr>
          <p:cNvPr id="148" name="object 41">
            <a:extLst>
              <a:ext uri="{FF2B5EF4-FFF2-40B4-BE49-F238E27FC236}">
                <a16:creationId xmlns:a16="http://schemas.microsoft.com/office/drawing/2014/main" id="{2CCB99A3-0CDA-4815-A7F5-E90EBA59CD5F}"/>
              </a:ext>
            </a:extLst>
          </p:cNvPr>
          <p:cNvSpPr txBox="1"/>
          <p:nvPr/>
        </p:nvSpPr>
        <p:spPr>
          <a:xfrm>
            <a:off x="4583798" y="4623825"/>
            <a:ext cx="1340600" cy="646331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R="5080" indent="12700" algn="ctr">
              <a:lnSpc>
                <a:spcPct val="100000"/>
              </a:lnSpc>
            </a:pPr>
            <a:r>
              <a:rPr lang="en-GB" sz="1400" b="1" spc="-5" dirty="0">
                <a:solidFill>
                  <a:srgbClr val="FF0000"/>
                </a:solidFill>
                <a:latin typeface="Calibri" panose="020F0502020204030204" pitchFamily="34" charset="0"/>
                <a:cs typeface="Arial"/>
              </a:rPr>
              <a:t>State Investment Certification Process  Ongoing</a:t>
            </a:r>
            <a:endParaRPr sz="1400" b="1" dirty="0">
              <a:solidFill>
                <a:srgbClr val="FF0000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276725" y="5418517"/>
            <a:ext cx="259181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GB" sz="1200" dirty="0">
                <a:latin typeface="Calibri" panose="020F0502020204030204" pitchFamily="34" charset="0"/>
                <a:cs typeface="Calibri" panose="020F0502020204030204" pitchFamily="34" charset="0"/>
              </a:rPr>
              <a:t>The walls of ancient Benin City have been described as the world’s largest earth work carried out prior to the mechanical era; they are larger than the Great Wall of China.</a:t>
            </a:r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18" name="Picture 117"/>
          <p:cNvPicPr>
            <a:picLocks noChangeAspect="1"/>
          </p:cNvPicPr>
          <p:nvPr/>
        </p:nvPicPr>
        <p:blipFill rotWithShape="1">
          <a:blip r:embed="rId1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30" t="14940" r="6238" b="29799"/>
          <a:stretch/>
        </p:blipFill>
        <p:spPr>
          <a:xfrm flipH="1">
            <a:off x="8275260" y="3125597"/>
            <a:ext cx="509387" cy="39456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17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95" t="6105" r="11379" b="20321"/>
          <a:stretch/>
        </p:blipFill>
        <p:spPr>
          <a:xfrm>
            <a:off x="9024522" y="3083485"/>
            <a:ext cx="454796" cy="43668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8332011" y="3884907"/>
            <a:ext cx="422193" cy="487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46979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Pentagon 19">
            <a:extLst>
              <a:ext uri="{FF2B5EF4-FFF2-40B4-BE49-F238E27FC236}">
                <a16:creationId xmlns:a16="http://schemas.microsoft.com/office/drawing/2014/main" id="{CAD93C59-72A9-4F6D-A654-02B9F8A5EFF9}"/>
              </a:ext>
            </a:extLst>
          </p:cNvPr>
          <p:cNvSpPr>
            <a:spLocks/>
          </p:cNvSpPr>
          <p:nvPr/>
        </p:nvSpPr>
        <p:spPr bwMode="auto">
          <a:xfrm>
            <a:off x="756602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9 of 37</a:t>
            </a:r>
          </a:p>
        </p:txBody>
      </p:sp>
      <p:sp>
        <p:nvSpPr>
          <p:cNvPr id="376" name="Pentagon 19">
            <a:extLst>
              <a:ext uri="{FF2B5EF4-FFF2-40B4-BE49-F238E27FC236}">
                <a16:creationId xmlns:a16="http://schemas.microsoft.com/office/drawing/2014/main" id="{1BDC5465-6022-4404-B4D8-ED55CF961B8A}"/>
              </a:ext>
            </a:extLst>
          </p:cNvPr>
          <p:cNvSpPr>
            <a:spLocks/>
          </p:cNvSpPr>
          <p:nvPr/>
        </p:nvSpPr>
        <p:spPr bwMode="auto">
          <a:xfrm>
            <a:off x="824865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4 of 3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57F1EBC-D01A-4083-B657-63AFB1490839}"/>
              </a:ext>
            </a:extLst>
          </p:cNvPr>
          <p:cNvSpPr txBox="1"/>
          <p:nvPr/>
        </p:nvSpPr>
        <p:spPr>
          <a:xfrm>
            <a:off x="6122988" y="2749550"/>
            <a:ext cx="3475037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nvestment Opportunit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D251BD-538A-4F4F-847E-620EEDA298A0}"/>
              </a:ext>
            </a:extLst>
          </p:cNvPr>
          <p:cNvSpPr txBox="1"/>
          <p:nvPr/>
        </p:nvSpPr>
        <p:spPr>
          <a:xfrm>
            <a:off x="6881813" y="4632911"/>
            <a:ext cx="2697162" cy="33855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oing Business Ranking(2018)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1B8F13C-F732-4DA1-9250-DB02936E7688}"/>
              </a:ext>
            </a:extLst>
          </p:cNvPr>
          <p:cNvSpPr/>
          <p:nvPr/>
        </p:nvSpPr>
        <p:spPr>
          <a:xfrm>
            <a:off x="756602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Registering Propert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6BA1818-32ED-44D1-975C-958200BDD124}"/>
              </a:ext>
            </a:extLst>
          </p:cNvPr>
          <p:cNvSpPr/>
          <p:nvPr/>
        </p:nvSpPr>
        <p:spPr>
          <a:xfrm>
            <a:off x="8248650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Dealing with Construction Permits</a:t>
            </a:r>
          </a:p>
        </p:txBody>
      </p:sp>
      <p:sp>
        <p:nvSpPr>
          <p:cNvPr id="23560" name="TextBox 174">
            <a:extLst>
              <a:ext uri="{FF2B5EF4-FFF2-40B4-BE49-F238E27FC236}">
                <a16:creationId xmlns:a16="http://schemas.microsoft.com/office/drawing/2014/main" id="{1573FD4E-62B9-45E8-8F28-CED990ED2D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0B63A6C-2A5E-4CA3-BC66-4CBC6008BC9A}"/>
              </a:ext>
            </a:extLst>
          </p:cNvPr>
          <p:cNvSpPr/>
          <p:nvPr/>
        </p:nvSpPr>
        <p:spPr>
          <a:xfrm>
            <a:off x="893127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Enforcing Contracts</a:t>
            </a:r>
          </a:p>
        </p:txBody>
      </p:sp>
      <p:pic>
        <p:nvPicPr>
          <p:cNvPr id="23562" name="Picture 4">
            <a:extLst>
              <a:ext uri="{FF2B5EF4-FFF2-40B4-BE49-F238E27FC236}">
                <a16:creationId xmlns:a16="http://schemas.microsoft.com/office/drawing/2014/main" id="{7C8EEAB2-0239-4BB5-94B3-23E319AF1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513" y="5249863"/>
            <a:ext cx="439737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6" name="Pentagon 19">
            <a:extLst>
              <a:ext uri="{FF2B5EF4-FFF2-40B4-BE49-F238E27FC236}">
                <a16:creationId xmlns:a16="http://schemas.microsoft.com/office/drawing/2014/main" id="{5F8E9670-D71A-4765-B6B5-D711BC9AD6E1}"/>
              </a:ext>
            </a:extLst>
          </p:cNvPr>
          <p:cNvSpPr>
            <a:spLocks/>
          </p:cNvSpPr>
          <p:nvPr/>
        </p:nvSpPr>
        <p:spPr bwMode="auto">
          <a:xfrm>
            <a:off x="893127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8</a:t>
            </a:r>
            <a:r>
              <a:rPr lang="en-GB" sz="1000" baseline="3000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of 37</a:t>
            </a:r>
          </a:p>
        </p:txBody>
      </p:sp>
      <p:sp>
        <p:nvSpPr>
          <p:cNvPr id="23564" name="Title 3">
            <a:extLst>
              <a:ext uri="{FF2B5EF4-FFF2-40B4-BE49-F238E27FC236}">
                <a16:creationId xmlns:a16="http://schemas.microsoft.com/office/drawing/2014/main" id="{C62A749B-CFC7-4224-A789-D20A772AC33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77813" y="222250"/>
            <a:ext cx="8543925" cy="5619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en-GB" alt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kiti State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6882DF2C-9120-4A66-8487-575D9494F4D6}"/>
              </a:ext>
            </a:extLst>
          </p:cNvPr>
          <p:cNvSpPr txBox="1"/>
          <p:nvPr/>
        </p:nvSpPr>
        <p:spPr>
          <a:xfrm rot="16200000">
            <a:off x="-2284101" y="3478372"/>
            <a:ext cx="5303837" cy="2743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Land of Honor and Integrity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grpSp>
        <p:nvGrpSpPr>
          <p:cNvPr id="23566" name="Group 9">
            <a:extLst>
              <a:ext uri="{FF2B5EF4-FFF2-40B4-BE49-F238E27FC236}">
                <a16:creationId xmlns:a16="http://schemas.microsoft.com/office/drawing/2014/main" id="{5B6131BD-3CE3-4FC4-B13A-FA9B797C1EF5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41338" y="963613"/>
            <a:ext cx="2897187" cy="2319337"/>
            <a:chOff x="770228" y="1459989"/>
            <a:chExt cx="4081047" cy="3267527"/>
          </a:xfrm>
        </p:grpSpPr>
        <p:sp>
          <p:nvSpPr>
            <p:cNvPr id="299" name="Freeform 4">
              <a:extLst>
                <a:ext uri="{FF2B5EF4-FFF2-40B4-BE49-F238E27FC236}">
                  <a16:creationId xmlns:a16="http://schemas.microsoft.com/office/drawing/2014/main" id="{B6150C82-CBE5-48B4-B60C-C210BB7B26A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91538" y="4349548"/>
              <a:ext cx="418167" cy="377968"/>
            </a:xfrm>
            <a:custGeom>
              <a:avLst/>
              <a:gdLst>
                <a:gd name="T0" fmla="*/ 12 w 786"/>
                <a:gd name="T1" fmla="*/ 19 h 714"/>
                <a:gd name="T2" fmla="*/ 22 w 786"/>
                <a:gd name="T3" fmla="*/ 18 h 714"/>
                <a:gd name="T4" fmla="*/ 27 w 786"/>
                <a:gd name="T5" fmla="*/ 17 h 714"/>
                <a:gd name="T6" fmla="*/ 30 w 786"/>
                <a:gd name="T7" fmla="*/ 14 h 714"/>
                <a:gd name="T8" fmla="*/ 37 w 786"/>
                <a:gd name="T9" fmla="*/ 16 h 714"/>
                <a:gd name="T10" fmla="*/ 43 w 786"/>
                <a:gd name="T11" fmla="*/ 13 h 714"/>
                <a:gd name="T12" fmla="*/ 48 w 786"/>
                <a:gd name="T13" fmla="*/ 8 h 714"/>
                <a:gd name="T14" fmla="*/ 55 w 786"/>
                <a:gd name="T15" fmla="*/ 4 h 714"/>
                <a:gd name="T16" fmla="*/ 66 w 786"/>
                <a:gd name="T17" fmla="*/ 0 h 714"/>
                <a:gd name="T18" fmla="*/ 63 w 786"/>
                <a:gd name="T19" fmla="*/ 12 h 714"/>
                <a:gd name="T20" fmla="*/ 59 w 786"/>
                <a:gd name="T21" fmla="*/ 19 h 714"/>
                <a:gd name="T22" fmla="*/ 57 w 786"/>
                <a:gd name="T23" fmla="*/ 29 h 714"/>
                <a:gd name="T24" fmla="*/ 59 w 786"/>
                <a:gd name="T25" fmla="*/ 36 h 714"/>
                <a:gd name="T26" fmla="*/ 66 w 786"/>
                <a:gd name="T27" fmla="*/ 35 h 714"/>
                <a:gd name="T28" fmla="*/ 64 w 786"/>
                <a:gd name="T29" fmla="*/ 41 h 714"/>
                <a:gd name="T30" fmla="*/ 64 w 786"/>
                <a:gd name="T31" fmla="*/ 48 h 714"/>
                <a:gd name="T32" fmla="*/ 63 w 786"/>
                <a:gd name="T33" fmla="*/ 56 h 714"/>
                <a:gd name="T34" fmla="*/ 60 w 786"/>
                <a:gd name="T35" fmla="*/ 60 h 714"/>
                <a:gd name="T36" fmla="*/ 57 w 786"/>
                <a:gd name="T37" fmla="*/ 58 h 714"/>
                <a:gd name="T38" fmla="*/ 54 w 786"/>
                <a:gd name="T39" fmla="*/ 54 h 714"/>
                <a:gd name="T40" fmla="*/ 53 w 786"/>
                <a:gd name="T41" fmla="*/ 51 h 714"/>
                <a:gd name="T42" fmla="*/ 51 w 786"/>
                <a:gd name="T43" fmla="*/ 53 h 714"/>
                <a:gd name="T44" fmla="*/ 49 w 786"/>
                <a:gd name="T45" fmla="*/ 54 h 714"/>
                <a:gd name="T46" fmla="*/ 47 w 786"/>
                <a:gd name="T47" fmla="*/ 50 h 714"/>
                <a:gd name="T48" fmla="*/ 48 w 786"/>
                <a:gd name="T49" fmla="*/ 54 h 714"/>
                <a:gd name="T50" fmla="*/ 47 w 786"/>
                <a:gd name="T51" fmla="*/ 54 h 714"/>
                <a:gd name="T52" fmla="*/ 46 w 786"/>
                <a:gd name="T53" fmla="*/ 59 h 714"/>
                <a:gd name="T54" fmla="*/ 47 w 786"/>
                <a:gd name="T55" fmla="*/ 62 h 714"/>
                <a:gd name="T56" fmla="*/ 42 w 786"/>
                <a:gd name="T57" fmla="*/ 62 h 714"/>
                <a:gd name="T58" fmla="*/ 39 w 786"/>
                <a:gd name="T59" fmla="*/ 57 h 714"/>
                <a:gd name="T60" fmla="*/ 40 w 786"/>
                <a:gd name="T61" fmla="*/ 54 h 714"/>
                <a:gd name="T62" fmla="*/ 43 w 786"/>
                <a:gd name="T63" fmla="*/ 55 h 714"/>
                <a:gd name="T64" fmla="*/ 40 w 786"/>
                <a:gd name="T65" fmla="*/ 53 h 714"/>
                <a:gd name="T66" fmla="*/ 38 w 786"/>
                <a:gd name="T67" fmla="*/ 57 h 714"/>
                <a:gd name="T68" fmla="*/ 37 w 786"/>
                <a:gd name="T69" fmla="*/ 57 h 714"/>
                <a:gd name="T70" fmla="*/ 37 w 786"/>
                <a:gd name="T71" fmla="*/ 60 h 714"/>
                <a:gd name="T72" fmla="*/ 33 w 786"/>
                <a:gd name="T73" fmla="*/ 56 h 714"/>
                <a:gd name="T74" fmla="*/ 32 w 786"/>
                <a:gd name="T75" fmla="*/ 58 h 714"/>
                <a:gd name="T76" fmla="*/ 26 w 786"/>
                <a:gd name="T77" fmla="*/ 54 h 714"/>
                <a:gd name="T78" fmla="*/ 26 w 786"/>
                <a:gd name="T79" fmla="*/ 54 h 714"/>
                <a:gd name="T80" fmla="*/ 24 w 786"/>
                <a:gd name="T81" fmla="*/ 51 h 714"/>
                <a:gd name="T82" fmla="*/ 22 w 786"/>
                <a:gd name="T83" fmla="*/ 51 h 714"/>
                <a:gd name="T84" fmla="*/ 20 w 786"/>
                <a:gd name="T85" fmla="*/ 50 h 714"/>
                <a:gd name="T86" fmla="*/ 20 w 786"/>
                <a:gd name="T87" fmla="*/ 48 h 714"/>
                <a:gd name="T88" fmla="*/ 18 w 786"/>
                <a:gd name="T89" fmla="*/ 47 h 714"/>
                <a:gd name="T90" fmla="*/ 15 w 786"/>
                <a:gd name="T91" fmla="*/ 45 h 714"/>
                <a:gd name="T92" fmla="*/ 11 w 786"/>
                <a:gd name="T93" fmla="*/ 39 h 714"/>
                <a:gd name="T94" fmla="*/ 12 w 786"/>
                <a:gd name="T95" fmla="*/ 36 h 714"/>
                <a:gd name="T96" fmla="*/ 7 w 786"/>
                <a:gd name="T97" fmla="*/ 33 h 714"/>
                <a:gd name="T98" fmla="*/ 5 w 786"/>
                <a:gd name="T99" fmla="*/ 28 h 714"/>
                <a:gd name="T100" fmla="*/ 7 w 786"/>
                <a:gd name="T101" fmla="*/ 30 h 714"/>
                <a:gd name="T102" fmla="*/ 4 w 786"/>
                <a:gd name="T103" fmla="*/ 24 h 714"/>
                <a:gd name="T104" fmla="*/ 2 w 786"/>
                <a:gd name="T105" fmla="*/ 20 h 714"/>
                <a:gd name="T106" fmla="*/ 0 w 786"/>
                <a:gd name="T107" fmla="*/ 15 h 714"/>
                <a:gd name="T108" fmla="*/ 4 w 786"/>
                <a:gd name="T109" fmla="*/ 16 h 714"/>
                <a:gd name="T110" fmla="*/ 55 w 786"/>
                <a:gd name="T111" fmla="*/ 60 h 714"/>
                <a:gd name="T112" fmla="*/ 47 w 786"/>
                <a:gd name="T113" fmla="*/ 60 h 714"/>
                <a:gd name="T114" fmla="*/ 51 w 786"/>
                <a:gd name="T115" fmla="*/ 54 h 714"/>
                <a:gd name="T116" fmla="*/ 54 w 786"/>
                <a:gd name="T117" fmla="*/ 56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86"/>
                <a:gd name="T178" fmla="*/ 0 h 714"/>
                <a:gd name="T179" fmla="*/ 786 w 786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86" h="714">
                  <a:moveTo>
                    <a:pt x="54" y="186"/>
                  </a:moveTo>
                  <a:lnTo>
                    <a:pt x="54" y="192"/>
                  </a:lnTo>
                  <a:lnTo>
                    <a:pt x="72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204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20" y="210"/>
                  </a:lnTo>
                  <a:lnTo>
                    <a:pt x="126" y="210"/>
                  </a:lnTo>
                  <a:lnTo>
                    <a:pt x="132" y="210"/>
                  </a:lnTo>
                  <a:lnTo>
                    <a:pt x="132" y="216"/>
                  </a:lnTo>
                  <a:lnTo>
                    <a:pt x="138" y="222"/>
                  </a:lnTo>
                  <a:lnTo>
                    <a:pt x="150" y="222"/>
                  </a:lnTo>
                  <a:lnTo>
                    <a:pt x="162" y="234"/>
                  </a:lnTo>
                  <a:lnTo>
                    <a:pt x="168" y="240"/>
                  </a:lnTo>
                  <a:lnTo>
                    <a:pt x="180" y="240"/>
                  </a:lnTo>
                  <a:lnTo>
                    <a:pt x="186" y="228"/>
                  </a:lnTo>
                  <a:lnTo>
                    <a:pt x="210" y="234"/>
                  </a:lnTo>
                  <a:lnTo>
                    <a:pt x="222" y="228"/>
                  </a:lnTo>
                  <a:lnTo>
                    <a:pt x="228" y="216"/>
                  </a:lnTo>
                  <a:lnTo>
                    <a:pt x="234" y="210"/>
                  </a:lnTo>
                  <a:lnTo>
                    <a:pt x="240" y="216"/>
                  </a:lnTo>
                  <a:lnTo>
                    <a:pt x="246" y="210"/>
                  </a:lnTo>
                  <a:lnTo>
                    <a:pt x="252" y="210"/>
                  </a:lnTo>
                  <a:lnTo>
                    <a:pt x="258" y="210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192"/>
                  </a:lnTo>
                  <a:lnTo>
                    <a:pt x="270" y="192"/>
                  </a:lnTo>
                  <a:lnTo>
                    <a:pt x="276" y="192"/>
                  </a:lnTo>
                  <a:lnTo>
                    <a:pt x="282" y="192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192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198"/>
                  </a:lnTo>
                  <a:lnTo>
                    <a:pt x="312" y="198"/>
                  </a:lnTo>
                  <a:lnTo>
                    <a:pt x="312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24" y="186"/>
                  </a:lnTo>
                  <a:lnTo>
                    <a:pt x="318" y="180"/>
                  </a:lnTo>
                  <a:lnTo>
                    <a:pt x="324" y="180"/>
                  </a:lnTo>
                  <a:lnTo>
                    <a:pt x="330" y="186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74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54" y="144"/>
                  </a:lnTo>
                  <a:lnTo>
                    <a:pt x="360" y="144"/>
                  </a:lnTo>
                  <a:lnTo>
                    <a:pt x="372" y="156"/>
                  </a:lnTo>
                  <a:lnTo>
                    <a:pt x="372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96" y="168"/>
                  </a:lnTo>
                  <a:lnTo>
                    <a:pt x="396" y="174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26" y="186"/>
                  </a:lnTo>
                  <a:lnTo>
                    <a:pt x="432" y="186"/>
                  </a:lnTo>
                  <a:lnTo>
                    <a:pt x="438" y="180"/>
                  </a:lnTo>
                  <a:lnTo>
                    <a:pt x="438" y="168"/>
                  </a:lnTo>
                  <a:lnTo>
                    <a:pt x="438" y="162"/>
                  </a:lnTo>
                  <a:lnTo>
                    <a:pt x="444" y="156"/>
                  </a:lnTo>
                  <a:lnTo>
                    <a:pt x="450" y="156"/>
                  </a:lnTo>
                  <a:lnTo>
                    <a:pt x="456" y="150"/>
                  </a:lnTo>
                  <a:lnTo>
                    <a:pt x="462" y="156"/>
                  </a:lnTo>
                  <a:lnTo>
                    <a:pt x="468" y="162"/>
                  </a:lnTo>
                  <a:lnTo>
                    <a:pt x="474" y="162"/>
                  </a:lnTo>
                  <a:lnTo>
                    <a:pt x="486" y="162"/>
                  </a:lnTo>
                  <a:lnTo>
                    <a:pt x="492" y="156"/>
                  </a:lnTo>
                  <a:lnTo>
                    <a:pt x="498" y="150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28" y="126"/>
                  </a:lnTo>
                  <a:lnTo>
                    <a:pt x="522" y="120"/>
                  </a:lnTo>
                  <a:lnTo>
                    <a:pt x="522" y="114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28" y="102"/>
                  </a:lnTo>
                  <a:lnTo>
                    <a:pt x="534" y="96"/>
                  </a:lnTo>
                  <a:lnTo>
                    <a:pt x="552" y="96"/>
                  </a:lnTo>
                  <a:lnTo>
                    <a:pt x="570" y="102"/>
                  </a:lnTo>
                  <a:lnTo>
                    <a:pt x="582" y="96"/>
                  </a:lnTo>
                  <a:lnTo>
                    <a:pt x="582" y="90"/>
                  </a:lnTo>
                  <a:lnTo>
                    <a:pt x="582" y="78"/>
                  </a:lnTo>
                  <a:lnTo>
                    <a:pt x="582" y="72"/>
                  </a:lnTo>
                  <a:lnTo>
                    <a:pt x="582" y="66"/>
                  </a:lnTo>
                  <a:lnTo>
                    <a:pt x="594" y="60"/>
                  </a:lnTo>
                  <a:lnTo>
                    <a:pt x="600" y="60"/>
                  </a:lnTo>
                  <a:lnTo>
                    <a:pt x="606" y="54"/>
                  </a:lnTo>
                  <a:lnTo>
                    <a:pt x="618" y="48"/>
                  </a:lnTo>
                  <a:lnTo>
                    <a:pt x="618" y="42"/>
                  </a:lnTo>
                  <a:lnTo>
                    <a:pt x="624" y="42"/>
                  </a:lnTo>
                  <a:lnTo>
                    <a:pt x="636" y="48"/>
                  </a:lnTo>
                  <a:lnTo>
                    <a:pt x="648" y="54"/>
                  </a:lnTo>
                  <a:lnTo>
                    <a:pt x="660" y="54"/>
                  </a:lnTo>
                  <a:lnTo>
                    <a:pt x="666" y="60"/>
                  </a:lnTo>
                  <a:lnTo>
                    <a:pt x="672" y="54"/>
                  </a:lnTo>
                  <a:lnTo>
                    <a:pt x="684" y="48"/>
                  </a:lnTo>
                  <a:lnTo>
                    <a:pt x="708" y="42"/>
                  </a:lnTo>
                  <a:lnTo>
                    <a:pt x="714" y="42"/>
                  </a:lnTo>
                  <a:lnTo>
                    <a:pt x="720" y="36"/>
                  </a:lnTo>
                  <a:lnTo>
                    <a:pt x="720" y="30"/>
                  </a:lnTo>
                  <a:lnTo>
                    <a:pt x="714" y="12"/>
                  </a:lnTo>
                  <a:lnTo>
                    <a:pt x="708" y="0"/>
                  </a:lnTo>
                  <a:lnTo>
                    <a:pt x="738" y="6"/>
                  </a:lnTo>
                  <a:lnTo>
                    <a:pt x="756" y="6"/>
                  </a:lnTo>
                  <a:lnTo>
                    <a:pt x="762" y="42"/>
                  </a:lnTo>
                  <a:lnTo>
                    <a:pt x="738" y="72"/>
                  </a:lnTo>
                  <a:lnTo>
                    <a:pt x="750" y="90"/>
                  </a:lnTo>
                  <a:lnTo>
                    <a:pt x="762" y="96"/>
                  </a:lnTo>
                  <a:lnTo>
                    <a:pt x="756" y="102"/>
                  </a:lnTo>
                  <a:lnTo>
                    <a:pt x="750" y="108"/>
                  </a:lnTo>
                  <a:lnTo>
                    <a:pt x="750" y="114"/>
                  </a:lnTo>
                  <a:lnTo>
                    <a:pt x="750" y="120"/>
                  </a:lnTo>
                  <a:lnTo>
                    <a:pt x="750" y="126"/>
                  </a:lnTo>
                  <a:lnTo>
                    <a:pt x="750" y="132"/>
                  </a:lnTo>
                  <a:lnTo>
                    <a:pt x="738" y="132"/>
                  </a:lnTo>
                  <a:lnTo>
                    <a:pt x="732" y="138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14" y="144"/>
                  </a:lnTo>
                  <a:lnTo>
                    <a:pt x="714" y="150"/>
                  </a:lnTo>
                  <a:lnTo>
                    <a:pt x="720" y="156"/>
                  </a:lnTo>
                  <a:lnTo>
                    <a:pt x="720" y="162"/>
                  </a:lnTo>
                  <a:lnTo>
                    <a:pt x="714" y="162"/>
                  </a:lnTo>
                  <a:lnTo>
                    <a:pt x="708" y="168"/>
                  </a:lnTo>
                  <a:lnTo>
                    <a:pt x="708" y="180"/>
                  </a:lnTo>
                  <a:lnTo>
                    <a:pt x="708" y="192"/>
                  </a:lnTo>
                  <a:lnTo>
                    <a:pt x="696" y="198"/>
                  </a:lnTo>
                  <a:lnTo>
                    <a:pt x="696" y="204"/>
                  </a:lnTo>
                  <a:lnTo>
                    <a:pt x="684" y="210"/>
                  </a:lnTo>
                  <a:lnTo>
                    <a:pt x="684" y="216"/>
                  </a:lnTo>
                  <a:lnTo>
                    <a:pt x="684" y="222"/>
                  </a:lnTo>
                  <a:lnTo>
                    <a:pt x="678" y="228"/>
                  </a:lnTo>
                  <a:lnTo>
                    <a:pt x="678" y="234"/>
                  </a:lnTo>
                  <a:lnTo>
                    <a:pt x="672" y="240"/>
                  </a:lnTo>
                  <a:lnTo>
                    <a:pt x="672" y="252"/>
                  </a:lnTo>
                  <a:lnTo>
                    <a:pt x="672" y="258"/>
                  </a:lnTo>
                  <a:lnTo>
                    <a:pt x="666" y="264"/>
                  </a:lnTo>
                  <a:lnTo>
                    <a:pt x="678" y="264"/>
                  </a:lnTo>
                  <a:lnTo>
                    <a:pt x="684" y="276"/>
                  </a:lnTo>
                  <a:lnTo>
                    <a:pt x="684" y="288"/>
                  </a:lnTo>
                  <a:lnTo>
                    <a:pt x="672" y="300"/>
                  </a:lnTo>
                  <a:lnTo>
                    <a:pt x="660" y="318"/>
                  </a:lnTo>
                  <a:lnTo>
                    <a:pt x="660" y="336"/>
                  </a:lnTo>
                  <a:lnTo>
                    <a:pt x="654" y="342"/>
                  </a:lnTo>
                  <a:lnTo>
                    <a:pt x="660" y="354"/>
                  </a:lnTo>
                  <a:lnTo>
                    <a:pt x="660" y="366"/>
                  </a:lnTo>
                  <a:lnTo>
                    <a:pt x="666" y="378"/>
                  </a:lnTo>
                  <a:lnTo>
                    <a:pt x="672" y="390"/>
                  </a:lnTo>
                  <a:lnTo>
                    <a:pt x="678" y="396"/>
                  </a:lnTo>
                  <a:lnTo>
                    <a:pt x="684" y="390"/>
                  </a:lnTo>
                  <a:lnTo>
                    <a:pt x="690" y="390"/>
                  </a:lnTo>
                  <a:lnTo>
                    <a:pt x="690" y="396"/>
                  </a:lnTo>
                  <a:lnTo>
                    <a:pt x="684" y="396"/>
                  </a:lnTo>
                  <a:lnTo>
                    <a:pt x="684" y="402"/>
                  </a:lnTo>
                  <a:lnTo>
                    <a:pt x="684" y="408"/>
                  </a:lnTo>
                  <a:lnTo>
                    <a:pt x="678" y="414"/>
                  </a:lnTo>
                  <a:lnTo>
                    <a:pt x="684" y="414"/>
                  </a:lnTo>
                  <a:lnTo>
                    <a:pt x="684" y="420"/>
                  </a:lnTo>
                  <a:lnTo>
                    <a:pt x="684" y="426"/>
                  </a:lnTo>
                  <a:lnTo>
                    <a:pt x="690" y="420"/>
                  </a:lnTo>
                  <a:lnTo>
                    <a:pt x="696" y="420"/>
                  </a:lnTo>
                  <a:lnTo>
                    <a:pt x="696" y="426"/>
                  </a:lnTo>
                  <a:lnTo>
                    <a:pt x="690" y="426"/>
                  </a:lnTo>
                  <a:lnTo>
                    <a:pt x="696" y="426"/>
                  </a:lnTo>
                  <a:lnTo>
                    <a:pt x="708" y="426"/>
                  </a:lnTo>
                  <a:lnTo>
                    <a:pt x="726" y="414"/>
                  </a:lnTo>
                  <a:lnTo>
                    <a:pt x="732" y="408"/>
                  </a:lnTo>
                  <a:lnTo>
                    <a:pt x="744" y="402"/>
                  </a:lnTo>
                  <a:lnTo>
                    <a:pt x="756" y="402"/>
                  </a:lnTo>
                  <a:lnTo>
                    <a:pt x="768" y="402"/>
                  </a:lnTo>
                  <a:lnTo>
                    <a:pt x="786" y="408"/>
                  </a:lnTo>
                  <a:lnTo>
                    <a:pt x="786" y="414"/>
                  </a:lnTo>
                  <a:lnTo>
                    <a:pt x="774" y="420"/>
                  </a:lnTo>
                  <a:lnTo>
                    <a:pt x="774" y="426"/>
                  </a:lnTo>
                  <a:lnTo>
                    <a:pt x="768" y="432"/>
                  </a:lnTo>
                  <a:lnTo>
                    <a:pt x="762" y="438"/>
                  </a:lnTo>
                  <a:lnTo>
                    <a:pt x="756" y="438"/>
                  </a:lnTo>
                  <a:lnTo>
                    <a:pt x="756" y="444"/>
                  </a:lnTo>
                  <a:lnTo>
                    <a:pt x="756" y="450"/>
                  </a:lnTo>
                  <a:lnTo>
                    <a:pt x="762" y="450"/>
                  </a:lnTo>
                  <a:lnTo>
                    <a:pt x="750" y="456"/>
                  </a:lnTo>
                  <a:lnTo>
                    <a:pt x="738" y="468"/>
                  </a:lnTo>
                  <a:lnTo>
                    <a:pt x="726" y="480"/>
                  </a:lnTo>
                  <a:lnTo>
                    <a:pt x="726" y="486"/>
                  </a:lnTo>
                  <a:lnTo>
                    <a:pt x="732" y="486"/>
                  </a:lnTo>
                  <a:lnTo>
                    <a:pt x="732" y="492"/>
                  </a:lnTo>
                  <a:lnTo>
                    <a:pt x="732" y="504"/>
                  </a:lnTo>
                  <a:lnTo>
                    <a:pt x="738" y="504"/>
                  </a:lnTo>
                  <a:lnTo>
                    <a:pt x="744" y="510"/>
                  </a:lnTo>
                  <a:lnTo>
                    <a:pt x="738" y="522"/>
                  </a:lnTo>
                  <a:lnTo>
                    <a:pt x="744" y="528"/>
                  </a:lnTo>
                  <a:lnTo>
                    <a:pt x="756" y="534"/>
                  </a:lnTo>
                  <a:lnTo>
                    <a:pt x="756" y="540"/>
                  </a:lnTo>
                  <a:lnTo>
                    <a:pt x="744" y="552"/>
                  </a:lnTo>
                  <a:lnTo>
                    <a:pt x="738" y="552"/>
                  </a:lnTo>
                  <a:lnTo>
                    <a:pt x="738" y="558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64"/>
                  </a:lnTo>
                  <a:lnTo>
                    <a:pt x="744" y="576"/>
                  </a:lnTo>
                  <a:lnTo>
                    <a:pt x="738" y="588"/>
                  </a:lnTo>
                  <a:lnTo>
                    <a:pt x="738" y="594"/>
                  </a:lnTo>
                  <a:lnTo>
                    <a:pt x="738" y="600"/>
                  </a:lnTo>
                  <a:lnTo>
                    <a:pt x="738" y="606"/>
                  </a:lnTo>
                  <a:lnTo>
                    <a:pt x="732" y="612"/>
                  </a:lnTo>
                  <a:lnTo>
                    <a:pt x="726" y="624"/>
                  </a:lnTo>
                  <a:lnTo>
                    <a:pt x="726" y="636"/>
                  </a:lnTo>
                  <a:lnTo>
                    <a:pt x="726" y="648"/>
                  </a:lnTo>
                  <a:lnTo>
                    <a:pt x="738" y="654"/>
                  </a:lnTo>
                  <a:lnTo>
                    <a:pt x="750" y="660"/>
                  </a:lnTo>
                  <a:lnTo>
                    <a:pt x="750" y="666"/>
                  </a:lnTo>
                  <a:lnTo>
                    <a:pt x="750" y="678"/>
                  </a:lnTo>
                  <a:lnTo>
                    <a:pt x="744" y="678"/>
                  </a:lnTo>
                  <a:lnTo>
                    <a:pt x="738" y="684"/>
                  </a:lnTo>
                  <a:lnTo>
                    <a:pt x="732" y="684"/>
                  </a:lnTo>
                  <a:lnTo>
                    <a:pt x="720" y="678"/>
                  </a:lnTo>
                  <a:lnTo>
                    <a:pt x="714" y="684"/>
                  </a:lnTo>
                  <a:lnTo>
                    <a:pt x="708" y="684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0" y="690"/>
                  </a:lnTo>
                  <a:lnTo>
                    <a:pt x="690" y="684"/>
                  </a:lnTo>
                  <a:lnTo>
                    <a:pt x="690" y="690"/>
                  </a:lnTo>
                  <a:lnTo>
                    <a:pt x="684" y="690"/>
                  </a:lnTo>
                  <a:lnTo>
                    <a:pt x="684" y="684"/>
                  </a:lnTo>
                  <a:lnTo>
                    <a:pt x="678" y="684"/>
                  </a:lnTo>
                  <a:lnTo>
                    <a:pt x="672" y="678"/>
                  </a:lnTo>
                  <a:lnTo>
                    <a:pt x="672" y="672"/>
                  </a:lnTo>
                  <a:lnTo>
                    <a:pt x="678" y="672"/>
                  </a:lnTo>
                  <a:lnTo>
                    <a:pt x="672" y="672"/>
                  </a:lnTo>
                  <a:lnTo>
                    <a:pt x="666" y="672"/>
                  </a:lnTo>
                  <a:lnTo>
                    <a:pt x="660" y="672"/>
                  </a:lnTo>
                  <a:lnTo>
                    <a:pt x="654" y="672"/>
                  </a:lnTo>
                  <a:lnTo>
                    <a:pt x="654" y="666"/>
                  </a:lnTo>
                  <a:lnTo>
                    <a:pt x="648" y="666"/>
                  </a:lnTo>
                  <a:lnTo>
                    <a:pt x="642" y="660"/>
                  </a:lnTo>
                  <a:lnTo>
                    <a:pt x="642" y="654"/>
                  </a:lnTo>
                  <a:lnTo>
                    <a:pt x="642" y="648"/>
                  </a:lnTo>
                  <a:lnTo>
                    <a:pt x="636" y="648"/>
                  </a:lnTo>
                  <a:lnTo>
                    <a:pt x="630" y="648"/>
                  </a:lnTo>
                  <a:lnTo>
                    <a:pt x="624" y="648"/>
                  </a:lnTo>
                  <a:lnTo>
                    <a:pt x="624" y="642"/>
                  </a:lnTo>
                  <a:lnTo>
                    <a:pt x="618" y="636"/>
                  </a:lnTo>
                  <a:lnTo>
                    <a:pt x="624" y="636"/>
                  </a:lnTo>
                  <a:lnTo>
                    <a:pt x="624" y="630"/>
                  </a:lnTo>
                  <a:lnTo>
                    <a:pt x="618" y="630"/>
                  </a:lnTo>
                  <a:lnTo>
                    <a:pt x="618" y="624"/>
                  </a:lnTo>
                  <a:lnTo>
                    <a:pt x="618" y="618"/>
                  </a:lnTo>
                  <a:lnTo>
                    <a:pt x="618" y="612"/>
                  </a:lnTo>
                  <a:lnTo>
                    <a:pt x="618" y="606"/>
                  </a:lnTo>
                  <a:lnTo>
                    <a:pt x="624" y="606"/>
                  </a:lnTo>
                  <a:lnTo>
                    <a:pt x="624" y="600"/>
                  </a:lnTo>
                  <a:lnTo>
                    <a:pt x="618" y="600"/>
                  </a:lnTo>
                  <a:lnTo>
                    <a:pt x="618" y="594"/>
                  </a:lnTo>
                  <a:lnTo>
                    <a:pt x="618" y="588"/>
                  </a:lnTo>
                  <a:lnTo>
                    <a:pt x="618" y="582"/>
                  </a:lnTo>
                  <a:lnTo>
                    <a:pt x="612" y="582"/>
                  </a:lnTo>
                  <a:lnTo>
                    <a:pt x="606" y="582"/>
                  </a:lnTo>
                  <a:lnTo>
                    <a:pt x="612" y="582"/>
                  </a:lnTo>
                  <a:lnTo>
                    <a:pt x="612" y="588"/>
                  </a:lnTo>
                  <a:lnTo>
                    <a:pt x="612" y="594"/>
                  </a:lnTo>
                  <a:lnTo>
                    <a:pt x="618" y="594"/>
                  </a:lnTo>
                  <a:lnTo>
                    <a:pt x="618" y="600"/>
                  </a:lnTo>
                  <a:lnTo>
                    <a:pt x="618" y="606"/>
                  </a:lnTo>
                  <a:lnTo>
                    <a:pt x="618" y="612"/>
                  </a:lnTo>
                  <a:lnTo>
                    <a:pt x="612" y="612"/>
                  </a:lnTo>
                  <a:lnTo>
                    <a:pt x="612" y="618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94" y="612"/>
                  </a:lnTo>
                  <a:lnTo>
                    <a:pt x="588" y="606"/>
                  </a:lnTo>
                  <a:lnTo>
                    <a:pt x="588" y="612"/>
                  </a:lnTo>
                  <a:lnTo>
                    <a:pt x="594" y="612"/>
                  </a:lnTo>
                  <a:lnTo>
                    <a:pt x="594" y="618"/>
                  </a:lnTo>
                  <a:lnTo>
                    <a:pt x="588" y="618"/>
                  </a:lnTo>
                  <a:lnTo>
                    <a:pt x="588" y="624"/>
                  </a:lnTo>
                  <a:lnTo>
                    <a:pt x="582" y="624"/>
                  </a:lnTo>
                  <a:lnTo>
                    <a:pt x="582" y="630"/>
                  </a:lnTo>
                  <a:lnTo>
                    <a:pt x="576" y="630"/>
                  </a:lnTo>
                  <a:lnTo>
                    <a:pt x="576" y="636"/>
                  </a:lnTo>
                  <a:lnTo>
                    <a:pt x="570" y="636"/>
                  </a:lnTo>
                  <a:lnTo>
                    <a:pt x="570" y="642"/>
                  </a:lnTo>
                  <a:lnTo>
                    <a:pt x="564" y="642"/>
                  </a:lnTo>
                  <a:lnTo>
                    <a:pt x="564" y="636"/>
                  </a:lnTo>
                  <a:lnTo>
                    <a:pt x="564" y="630"/>
                  </a:lnTo>
                  <a:lnTo>
                    <a:pt x="564" y="624"/>
                  </a:lnTo>
                  <a:lnTo>
                    <a:pt x="564" y="618"/>
                  </a:lnTo>
                  <a:lnTo>
                    <a:pt x="570" y="612"/>
                  </a:lnTo>
                  <a:lnTo>
                    <a:pt x="564" y="606"/>
                  </a:lnTo>
                  <a:lnTo>
                    <a:pt x="564" y="600"/>
                  </a:lnTo>
                  <a:lnTo>
                    <a:pt x="564" y="594"/>
                  </a:lnTo>
                  <a:lnTo>
                    <a:pt x="558" y="594"/>
                  </a:lnTo>
                  <a:lnTo>
                    <a:pt x="558" y="588"/>
                  </a:lnTo>
                  <a:lnTo>
                    <a:pt x="552" y="582"/>
                  </a:lnTo>
                  <a:lnTo>
                    <a:pt x="552" y="576"/>
                  </a:lnTo>
                  <a:lnTo>
                    <a:pt x="552" y="570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6" y="582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58" y="588"/>
                  </a:lnTo>
                  <a:lnTo>
                    <a:pt x="558" y="594"/>
                  </a:lnTo>
                  <a:lnTo>
                    <a:pt x="558" y="600"/>
                  </a:lnTo>
                  <a:lnTo>
                    <a:pt x="558" y="606"/>
                  </a:lnTo>
                  <a:lnTo>
                    <a:pt x="552" y="612"/>
                  </a:lnTo>
                  <a:lnTo>
                    <a:pt x="558" y="612"/>
                  </a:lnTo>
                  <a:lnTo>
                    <a:pt x="558" y="618"/>
                  </a:lnTo>
                  <a:lnTo>
                    <a:pt x="558" y="624"/>
                  </a:lnTo>
                  <a:lnTo>
                    <a:pt x="558" y="630"/>
                  </a:lnTo>
                  <a:lnTo>
                    <a:pt x="552" y="630"/>
                  </a:lnTo>
                  <a:lnTo>
                    <a:pt x="552" y="624"/>
                  </a:lnTo>
                  <a:lnTo>
                    <a:pt x="546" y="624"/>
                  </a:lnTo>
                  <a:lnTo>
                    <a:pt x="546" y="618"/>
                  </a:lnTo>
                  <a:lnTo>
                    <a:pt x="546" y="612"/>
                  </a:lnTo>
                  <a:lnTo>
                    <a:pt x="540" y="612"/>
                  </a:lnTo>
                  <a:lnTo>
                    <a:pt x="534" y="612"/>
                  </a:lnTo>
                  <a:lnTo>
                    <a:pt x="528" y="612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28" y="618"/>
                  </a:lnTo>
                  <a:lnTo>
                    <a:pt x="534" y="618"/>
                  </a:lnTo>
                  <a:lnTo>
                    <a:pt x="540" y="618"/>
                  </a:lnTo>
                  <a:lnTo>
                    <a:pt x="540" y="624"/>
                  </a:lnTo>
                  <a:lnTo>
                    <a:pt x="546" y="624"/>
                  </a:lnTo>
                  <a:lnTo>
                    <a:pt x="546" y="630"/>
                  </a:lnTo>
                  <a:lnTo>
                    <a:pt x="552" y="630"/>
                  </a:lnTo>
                  <a:lnTo>
                    <a:pt x="552" y="636"/>
                  </a:lnTo>
                  <a:lnTo>
                    <a:pt x="546" y="642"/>
                  </a:lnTo>
                  <a:lnTo>
                    <a:pt x="546" y="648"/>
                  </a:lnTo>
                  <a:lnTo>
                    <a:pt x="540" y="648"/>
                  </a:lnTo>
                  <a:lnTo>
                    <a:pt x="540" y="654"/>
                  </a:lnTo>
                  <a:lnTo>
                    <a:pt x="540" y="660"/>
                  </a:lnTo>
                  <a:lnTo>
                    <a:pt x="534" y="666"/>
                  </a:lnTo>
                  <a:lnTo>
                    <a:pt x="534" y="672"/>
                  </a:lnTo>
                  <a:lnTo>
                    <a:pt x="534" y="678"/>
                  </a:lnTo>
                  <a:lnTo>
                    <a:pt x="534" y="684"/>
                  </a:lnTo>
                  <a:lnTo>
                    <a:pt x="534" y="678"/>
                  </a:lnTo>
                  <a:lnTo>
                    <a:pt x="528" y="678"/>
                  </a:lnTo>
                  <a:lnTo>
                    <a:pt x="528" y="684"/>
                  </a:lnTo>
                  <a:lnTo>
                    <a:pt x="522" y="690"/>
                  </a:lnTo>
                  <a:lnTo>
                    <a:pt x="528" y="690"/>
                  </a:lnTo>
                  <a:lnTo>
                    <a:pt x="528" y="684"/>
                  </a:lnTo>
                  <a:lnTo>
                    <a:pt x="534" y="684"/>
                  </a:lnTo>
                  <a:lnTo>
                    <a:pt x="534" y="690"/>
                  </a:lnTo>
                  <a:lnTo>
                    <a:pt x="534" y="696"/>
                  </a:lnTo>
                  <a:lnTo>
                    <a:pt x="540" y="696"/>
                  </a:lnTo>
                  <a:lnTo>
                    <a:pt x="540" y="702"/>
                  </a:lnTo>
                  <a:lnTo>
                    <a:pt x="540" y="708"/>
                  </a:lnTo>
                  <a:lnTo>
                    <a:pt x="534" y="708"/>
                  </a:lnTo>
                  <a:lnTo>
                    <a:pt x="528" y="708"/>
                  </a:lnTo>
                  <a:lnTo>
                    <a:pt x="522" y="708"/>
                  </a:lnTo>
                  <a:lnTo>
                    <a:pt x="516" y="708"/>
                  </a:lnTo>
                  <a:lnTo>
                    <a:pt x="510" y="708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2" y="708"/>
                  </a:lnTo>
                  <a:lnTo>
                    <a:pt x="486" y="714"/>
                  </a:lnTo>
                  <a:lnTo>
                    <a:pt x="480" y="708"/>
                  </a:lnTo>
                  <a:lnTo>
                    <a:pt x="474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68" y="714"/>
                  </a:lnTo>
                  <a:lnTo>
                    <a:pt x="456" y="714"/>
                  </a:lnTo>
                  <a:lnTo>
                    <a:pt x="450" y="714"/>
                  </a:lnTo>
                  <a:lnTo>
                    <a:pt x="450" y="708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50" y="690"/>
                  </a:lnTo>
                  <a:lnTo>
                    <a:pt x="450" y="684"/>
                  </a:lnTo>
                  <a:lnTo>
                    <a:pt x="450" y="678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56" y="660"/>
                  </a:lnTo>
                  <a:lnTo>
                    <a:pt x="462" y="660"/>
                  </a:lnTo>
                  <a:lnTo>
                    <a:pt x="462" y="654"/>
                  </a:lnTo>
                  <a:lnTo>
                    <a:pt x="456" y="654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48"/>
                  </a:lnTo>
                  <a:lnTo>
                    <a:pt x="444" y="648"/>
                  </a:lnTo>
                  <a:lnTo>
                    <a:pt x="444" y="642"/>
                  </a:lnTo>
                  <a:lnTo>
                    <a:pt x="444" y="636"/>
                  </a:lnTo>
                  <a:lnTo>
                    <a:pt x="450" y="636"/>
                  </a:lnTo>
                  <a:lnTo>
                    <a:pt x="450" y="630"/>
                  </a:lnTo>
                  <a:lnTo>
                    <a:pt x="456" y="630"/>
                  </a:lnTo>
                  <a:lnTo>
                    <a:pt x="462" y="630"/>
                  </a:lnTo>
                  <a:lnTo>
                    <a:pt x="462" y="624"/>
                  </a:lnTo>
                  <a:lnTo>
                    <a:pt x="468" y="624"/>
                  </a:lnTo>
                  <a:lnTo>
                    <a:pt x="474" y="624"/>
                  </a:lnTo>
                  <a:lnTo>
                    <a:pt x="474" y="618"/>
                  </a:lnTo>
                  <a:lnTo>
                    <a:pt x="480" y="618"/>
                  </a:lnTo>
                  <a:lnTo>
                    <a:pt x="486" y="618"/>
                  </a:lnTo>
                  <a:lnTo>
                    <a:pt x="486" y="624"/>
                  </a:lnTo>
                  <a:lnTo>
                    <a:pt x="486" y="636"/>
                  </a:lnTo>
                  <a:lnTo>
                    <a:pt x="486" y="642"/>
                  </a:lnTo>
                  <a:lnTo>
                    <a:pt x="486" y="648"/>
                  </a:lnTo>
                  <a:lnTo>
                    <a:pt x="492" y="648"/>
                  </a:lnTo>
                  <a:lnTo>
                    <a:pt x="492" y="642"/>
                  </a:lnTo>
                  <a:lnTo>
                    <a:pt x="498" y="636"/>
                  </a:lnTo>
                  <a:lnTo>
                    <a:pt x="492" y="636"/>
                  </a:lnTo>
                  <a:lnTo>
                    <a:pt x="492" y="630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6" y="618"/>
                  </a:lnTo>
                  <a:lnTo>
                    <a:pt x="486" y="612"/>
                  </a:lnTo>
                  <a:lnTo>
                    <a:pt x="486" y="606"/>
                  </a:lnTo>
                  <a:lnTo>
                    <a:pt x="480" y="606"/>
                  </a:lnTo>
                  <a:lnTo>
                    <a:pt x="480" y="612"/>
                  </a:lnTo>
                  <a:lnTo>
                    <a:pt x="474" y="618"/>
                  </a:lnTo>
                  <a:lnTo>
                    <a:pt x="468" y="618"/>
                  </a:lnTo>
                  <a:lnTo>
                    <a:pt x="462" y="618"/>
                  </a:lnTo>
                  <a:lnTo>
                    <a:pt x="462" y="612"/>
                  </a:lnTo>
                  <a:lnTo>
                    <a:pt x="456" y="612"/>
                  </a:lnTo>
                  <a:lnTo>
                    <a:pt x="456" y="618"/>
                  </a:lnTo>
                  <a:lnTo>
                    <a:pt x="462" y="618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30"/>
                  </a:lnTo>
                  <a:lnTo>
                    <a:pt x="444" y="630"/>
                  </a:lnTo>
                  <a:lnTo>
                    <a:pt x="444" y="636"/>
                  </a:lnTo>
                  <a:lnTo>
                    <a:pt x="444" y="642"/>
                  </a:lnTo>
                  <a:lnTo>
                    <a:pt x="444" y="654"/>
                  </a:lnTo>
                  <a:lnTo>
                    <a:pt x="444" y="660"/>
                  </a:lnTo>
                  <a:lnTo>
                    <a:pt x="438" y="660"/>
                  </a:lnTo>
                  <a:lnTo>
                    <a:pt x="432" y="660"/>
                  </a:lnTo>
                  <a:lnTo>
                    <a:pt x="432" y="654"/>
                  </a:lnTo>
                  <a:lnTo>
                    <a:pt x="438" y="654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48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26" y="660"/>
                  </a:lnTo>
                  <a:lnTo>
                    <a:pt x="432" y="666"/>
                  </a:lnTo>
                  <a:lnTo>
                    <a:pt x="432" y="672"/>
                  </a:lnTo>
                  <a:lnTo>
                    <a:pt x="438" y="672"/>
                  </a:lnTo>
                  <a:lnTo>
                    <a:pt x="438" y="678"/>
                  </a:lnTo>
                  <a:lnTo>
                    <a:pt x="444" y="678"/>
                  </a:lnTo>
                  <a:lnTo>
                    <a:pt x="444" y="684"/>
                  </a:lnTo>
                  <a:lnTo>
                    <a:pt x="438" y="690"/>
                  </a:lnTo>
                  <a:lnTo>
                    <a:pt x="438" y="696"/>
                  </a:lnTo>
                  <a:lnTo>
                    <a:pt x="438" y="702"/>
                  </a:lnTo>
                  <a:lnTo>
                    <a:pt x="432" y="702"/>
                  </a:lnTo>
                  <a:lnTo>
                    <a:pt x="426" y="702"/>
                  </a:lnTo>
                  <a:lnTo>
                    <a:pt x="426" y="696"/>
                  </a:lnTo>
                  <a:lnTo>
                    <a:pt x="414" y="696"/>
                  </a:lnTo>
                  <a:lnTo>
                    <a:pt x="402" y="696"/>
                  </a:lnTo>
                  <a:lnTo>
                    <a:pt x="402" y="690"/>
                  </a:lnTo>
                  <a:lnTo>
                    <a:pt x="396" y="690"/>
                  </a:lnTo>
                  <a:lnTo>
                    <a:pt x="390" y="690"/>
                  </a:lnTo>
                  <a:lnTo>
                    <a:pt x="384" y="690"/>
                  </a:lnTo>
                  <a:lnTo>
                    <a:pt x="384" y="684"/>
                  </a:lnTo>
                  <a:lnTo>
                    <a:pt x="384" y="678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390" y="660"/>
                  </a:lnTo>
                  <a:lnTo>
                    <a:pt x="390" y="654"/>
                  </a:lnTo>
                  <a:lnTo>
                    <a:pt x="384" y="648"/>
                  </a:lnTo>
                  <a:lnTo>
                    <a:pt x="384" y="642"/>
                  </a:lnTo>
                  <a:lnTo>
                    <a:pt x="378" y="636"/>
                  </a:lnTo>
                  <a:lnTo>
                    <a:pt x="378" y="642"/>
                  </a:lnTo>
                  <a:lnTo>
                    <a:pt x="378" y="648"/>
                  </a:lnTo>
                  <a:lnTo>
                    <a:pt x="372" y="648"/>
                  </a:lnTo>
                  <a:lnTo>
                    <a:pt x="378" y="654"/>
                  </a:lnTo>
                  <a:lnTo>
                    <a:pt x="378" y="660"/>
                  </a:lnTo>
                  <a:lnTo>
                    <a:pt x="378" y="666"/>
                  </a:lnTo>
                  <a:lnTo>
                    <a:pt x="372" y="672"/>
                  </a:lnTo>
                  <a:lnTo>
                    <a:pt x="378" y="672"/>
                  </a:lnTo>
                  <a:lnTo>
                    <a:pt x="378" y="678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54" y="666"/>
                  </a:lnTo>
                  <a:lnTo>
                    <a:pt x="354" y="660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0" y="654"/>
                  </a:lnTo>
                  <a:lnTo>
                    <a:pt x="324" y="648"/>
                  </a:lnTo>
                  <a:lnTo>
                    <a:pt x="318" y="648"/>
                  </a:lnTo>
                  <a:lnTo>
                    <a:pt x="318" y="642"/>
                  </a:lnTo>
                  <a:lnTo>
                    <a:pt x="312" y="642"/>
                  </a:lnTo>
                  <a:lnTo>
                    <a:pt x="306" y="636"/>
                  </a:lnTo>
                  <a:lnTo>
                    <a:pt x="300" y="636"/>
                  </a:lnTo>
                  <a:lnTo>
                    <a:pt x="300" y="630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0" y="618"/>
                  </a:lnTo>
                  <a:lnTo>
                    <a:pt x="306" y="612"/>
                  </a:lnTo>
                  <a:lnTo>
                    <a:pt x="300" y="612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294" y="612"/>
                  </a:lnTo>
                  <a:lnTo>
                    <a:pt x="288" y="618"/>
                  </a:lnTo>
                  <a:lnTo>
                    <a:pt x="288" y="612"/>
                  </a:lnTo>
                  <a:lnTo>
                    <a:pt x="288" y="618"/>
                  </a:lnTo>
                  <a:lnTo>
                    <a:pt x="294" y="618"/>
                  </a:lnTo>
                  <a:lnTo>
                    <a:pt x="300" y="624"/>
                  </a:lnTo>
                  <a:lnTo>
                    <a:pt x="294" y="624"/>
                  </a:lnTo>
                  <a:lnTo>
                    <a:pt x="288" y="624"/>
                  </a:lnTo>
                  <a:lnTo>
                    <a:pt x="282" y="61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70" y="600"/>
                  </a:lnTo>
                  <a:lnTo>
                    <a:pt x="270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82" y="588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594"/>
                  </a:lnTo>
                  <a:lnTo>
                    <a:pt x="264" y="600"/>
                  </a:lnTo>
                  <a:lnTo>
                    <a:pt x="264" y="594"/>
                  </a:lnTo>
                  <a:lnTo>
                    <a:pt x="270" y="594"/>
                  </a:lnTo>
                  <a:lnTo>
                    <a:pt x="270" y="588"/>
                  </a:lnTo>
                  <a:lnTo>
                    <a:pt x="264" y="594"/>
                  </a:lnTo>
                  <a:lnTo>
                    <a:pt x="258" y="594"/>
                  </a:lnTo>
                  <a:lnTo>
                    <a:pt x="258" y="588"/>
                  </a:lnTo>
                  <a:lnTo>
                    <a:pt x="252" y="588"/>
                  </a:lnTo>
                  <a:lnTo>
                    <a:pt x="246" y="588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52" y="588"/>
                  </a:lnTo>
                  <a:lnTo>
                    <a:pt x="252" y="594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46" y="594"/>
                  </a:lnTo>
                  <a:lnTo>
                    <a:pt x="246" y="588"/>
                  </a:lnTo>
                  <a:lnTo>
                    <a:pt x="240" y="588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2" y="570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64"/>
                  </a:lnTo>
                  <a:lnTo>
                    <a:pt x="234" y="564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34" y="558"/>
                  </a:lnTo>
                  <a:lnTo>
                    <a:pt x="228" y="558"/>
                  </a:lnTo>
                  <a:lnTo>
                    <a:pt x="222" y="558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2" y="564"/>
                  </a:lnTo>
                  <a:lnTo>
                    <a:pt x="222" y="558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04" y="546"/>
                  </a:lnTo>
                  <a:lnTo>
                    <a:pt x="204" y="540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10" y="540"/>
                  </a:lnTo>
                  <a:lnTo>
                    <a:pt x="210" y="534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8"/>
                  </a:lnTo>
                  <a:lnTo>
                    <a:pt x="174" y="516"/>
                  </a:lnTo>
                  <a:lnTo>
                    <a:pt x="168" y="510"/>
                  </a:lnTo>
                  <a:lnTo>
                    <a:pt x="162" y="504"/>
                  </a:lnTo>
                  <a:lnTo>
                    <a:pt x="156" y="498"/>
                  </a:lnTo>
                  <a:lnTo>
                    <a:pt x="156" y="492"/>
                  </a:lnTo>
                  <a:lnTo>
                    <a:pt x="150" y="486"/>
                  </a:lnTo>
                  <a:lnTo>
                    <a:pt x="144" y="480"/>
                  </a:lnTo>
                  <a:lnTo>
                    <a:pt x="144" y="474"/>
                  </a:lnTo>
                  <a:lnTo>
                    <a:pt x="138" y="474"/>
                  </a:lnTo>
                  <a:lnTo>
                    <a:pt x="138" y="468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26" y="450"/>
                  </a:lnTo>
                  <a:lnTo>
                    <a:pt x="126" y="444"/>
                  </a:lnTo>
                  <a:lnTo>
                    <a:pt x="114" y="438"/>
                  </a:lnTo>
                  <a:lnTo>
                    <a:pt x="114" y="432"/>
                  </a:lnTo>
                  <a:lnTo>
                    <a:pt x="114" y="426"/>
                  </a:lnTo>
                  <a:lnTo>
                    <a:pt x="114" y="432"/>
                  </a:lnTo>
                  <a:lnTo>
                    <a:pt x="120" y="432"/>
                  </a:lnTo>
                  <a:lnTo>
                    <a:pt x="120" y="438"/>
                  </a:lnTo>
                  <a:lnTo>
                    <a:pt x="120" y="444"/>
                  </a:lnTo>
                  <a:lnTo>
                    <a:pt x="126" y="444"/>
                  </a:lnTo>
                  <a:lnTo>
                    <a:pt x="126" y="438"/>
                  </a:lnTo>
                  <a:lnTo>
                    <a:pt x="120" y="438"/>
                  </a:lnTo>
                  <a:lnTo>
                    <a:pt x="126" y="432"/>
                  </a:lnTo>
                  <a:lnTo>
                    <a:pt x="126" y="426"/>
                  </a:lnTo>
                  <a:lnTo>
                    <a:pt x="132" y="420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08" y="414"/>
                  </a:lnTo>
                  <a:lnTo>
                    <a:pt x="102" y="414"/>
                  </a:lnTo>
                  <a:lnTo>
                    <a:pt x="102" y="408"/>
                  </a:lnTo>
                  <a:lnTo>
                    <a:pt x="96" y="402"/>
                  </a:lnTo>
                  <a:lnTo>
                    <a:pt x="96" y="396"/>
                  </a:lnTo>
                  <a:lnTo>
                    <a:pt x="96" y="390"/>
                  </a:lnTo>
                  <a:lnTo>
                    <a:pt x="90" y="390"/>
                  </a:lnTo>
                  <a:lnTo>
                    <a:pt x="90" y="384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78" y="372"/>
                  </a:lnTo>
                  <a:lnTo>
                    <a:pt x="78" y="366"/>
                  </a:lnTo>
                  <a:lnTo>
                    <a:pt x="78" y="360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6" y="348"/>
                  </a:lnTo>
                  <a:lnTo>
                    <a:pt x="66" y="342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6" y="336"/>
                  </a:lnTo>
                  <a:lnTo>
                    <a:pt x="66" y="342"/>
                  </a:lnTo>
                  <a:lnTo>
                    <a:pt x="72" y="348"/>
                  </a:lnTo>
                  <a:lnTo>
                    <a:pt x="78" y="354"/>
                  </a:lnTo>
                  <a:lnTo>
                    <a:pt x="84" y="360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0" y="360"/>
                  </a:lnTo>
                  <a:lnTo>
                    <a:pt x="84" y="360"/>
                  </a:lnTo>
                  <a:lnTo>
                    <a:pt x="84" y="354"/>
                  </a:lnTo>
                  <a:lnTo>
                    <a:pt x="78" y="348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66" y="330"/>
                  </a:lnTo>
                  <a:lnTo>
                    <a:pt x="66" y="324"/>
                  </a:lnTo>
                  <a:lnTo>
                    <a:pt x="60" y="318"/>
                  </a:lnTo>
                  <a:lnTo>
                    <a:pt x="60" y="312"/>
                  </a:lnTo>
                  <a:lnTo>
                    <a:pt x="54" y="306"/>
                  </a:lnTo>
                  <a:lnTo>
                    <a:pt x="54" y="300"/>
                  </a:lnTo>
                  <a:lnTo>
                    <a:pt x="54" y="294"/>
                  </a:lnTo>
                  <a:lnTo>
                    <a:pt x="48" y="288"/>
                  </a:lnTo>
                  <a:lnTo>
                    <a:pt x="48" y="294"/>
                  </a:lnTo>
                  <a:lnTo>
                    <a:pt x="48" y="288"/>
                  </a:lnTo>
                  <a:lnTo>
                    <a:pt x="48" y="282"/>
                  </a:lnTo>
                  <a:lnTo>
                    <a:pt x="48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18" y="216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62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68"/>
                  </a:lnTo>
                  <a:lnTo>
                    <a:pt x="42" y="168"/>
                  </a:lnTo>
                  <a:lnTo>
                    <a:pt x="42" y="174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86"/>
                  </a:lnTo>
                  <a:close/>
                  <a:moveTo>
                    <a:pt x="642" y="660"/>
                  </a:moveTo>
                  <a:lnTo>
                    <a:pt x="642" y="666"/>
                  </a:lnTo>
                  <a:lnTo>
                    <a:pt x="648" y="666"/>
                  </a:lnTo>
                  <a:lnTo>
                    <a:pt x="648" y="672"/>
                  </a:lnTo>
                  <a:lnTo>
                    <a:pt x="648" y="678"/>
                  </a:lnTo>
                  <a:lnTo>
                    <a:pt x="654" y="678"/>
                  </a:lnTo>
                  <a:lnTo>
                    <a:pt x="654" y="684"/>
                  </a:lnTo>
                  <a:lnTo>
                    <a:pt x="660" y="684"/>
                  </a:lnTo>
                  <a:lnTo>
                    <a:pt x="660" y="690"/>
                  </a:lnTo>
                  <a:lnTo>
                    <a:pt x="654" y="690"/>
                  </a:lnTo>
                  <a:lnTo>
                    <a:pt x="648" y="690"/>
                  </a:lnTo>
                  <a:lnTo>
                    <a:pt x="636" y="696"/>
                  </a:lnTo>
                  <a:lnTo>
                    <a:pt x="630" y="696"/>
                  </a:lnTo>
                  <a:lnTo>
                    <a:pt x="624" y="696"/>
                  </a:lnTo>
                  <a:lnTo>
                    <a:pt x="618" y="696"/>
                  </a:lnTo>
                  <a:lnTo>
                    <a:pt x="612" y="696"/>
                  </a:lnTo>
                  <a:lnTo>
                    <a:pt x="594" y="696"/>
                  </a:lnTo>
                  <a:lnTo>
                    <a:pt x="588" y="696"/>
                  </a:lnTo>
                  <a:lnTo>
                    <a:pt x="582" y="696"/>
                  </a:lnTo>
                  <a:lnTo>
                    <a:pt x="570" y="702"/>
                  </a:lnTo>
                  <a:lnTo>
                    <a:pt x="564" y="702"/>
                  </a:lnTo>
                  <a:lnTo>
                    <a:pt x="558" y="702"/>
                  </a:lnTo>
                  <a:lnTo>
                    <a:pt x="552" y="702"/>
                  </a:lnTo>
                  <a:lnTo>
                    <a:pt x="552" y="696"/>
                  </a:lnTo>
                  <a:lnTo>
                    <a:pt x="546" y="696"/>
                  </a:lnTo>
                  <a:lnTo>
                    <a:pt x="546" y="690"/>
                  </a:lnTo>
                  <a:lnTo>
                    <a:pt x="552" y="684"/>
                  </a:lnTo>
                  <a:lnTo>
                    <a:pt x="552" y="678"/>
                  </a:lnTo>
                  <a:lnTo>
                    <a:pt x="558" y="672"/>
                  </a:lnTo>
                  <a:lnTo>
                    <a:pt x="558" y="666"/>
                  </a:lnTo>
                  <a:lnTo>
                    <a:pt x="564" y="666"/>
                  </a:lnTo>
                  <a:lnTo>
                    <a:pt x="570" y="666"/>
                  </a:lnTo>
                  <a:lnTo>
                    <a:pt x="570" y="654"/>
                  </a:lnTo>
                  <a:lnTo>
                    <a:pt x="570" y="648"/>
                  </a:lnTo>
                  <a:lnTo>
                    <a:pt x="582" y="642"/>
                  </a:lnTo>
                  <a:lnTo>
                    <a:pt x="582" y="636"/>
                  </a:lnTo>
                  <a:lnTo>
                    <a:pt x="588" y="636"/>
                  </a:lnTo>
                  <a:lnTo>
                    <a:pt x="588" y="630"/>
                  </a:lnTo>
                  <a:lnTo>
                    <a:pt x="594" y="624"/>
                  </a:lnTo>
                  <a:lnTo>
                    <a:pt x="594" y="618"/>
                  </a:lnTo>
                  <a:lnTo>
                    <a:pt x="600" y="618"/>
                  </a:lnTo>
                  <a:lnTo>
                    <a:pt x="600" y="612"/>
                  </a:lnTo>
                  <a:lnTo>
                    <a:pt x="606" y="612"/>
                  </a:lnTo>
                  <a:lnTo>
                    <a:pt x="606" y="618"/>
                  </a:lnTo>
                  <a:lnTo>
                    <a:pt x="612" y="618"/>
                  </a:lnTo>
                  <a:lnTo>
                    <a:pt x="618" y="618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18" y="636"/>
                  </a:lnTo>
                  <a:lnTo>
                    <a:pt x="618" y="642"/>
                  </a:lnTo>
                  <a:lnTo>
                    <a:pt x="618" y="648"/>
                  </a:lnTo>
                  <a:lnTo>
                    <a:pt x="624" y="648"/>
                  </a:lnTo>
                  <a:lnTo>
                    <a:pt x="630" y="648"/>
                  </a:lnTo>
                  <a:lnTo>
                    <a:pt x="636" y="654"/>
                  </a:lnTo>
                  <a:lnTo>
                    <a:pt x="642" y="654"/>
                  </a:lnTo>
                  <a:lnTo>
                    <a:pt x="642" y="66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0" name="Freeform 5">
              <a:extLst>
                <a:ext uri="{FF2B5EF4-FFF2-40B4-BE49-F238E27FC236}">
                  <a16:creationId xmlns:a16="http://schemas.microsoft.com/office/drawing/2014/main" id="{5577BDCA-F2C7-42E0-A391-018D79AA29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0384" y="4231013"/>
              <a:ext cx="404750" cy="480848"/>
            </a:xfrm>
            <a:custGeom>
              <a:avLst/>
              <a:gdLst>
                <a:gd name="T0" fmla="*/ 9 w 762"/>
                <a:gd name="T1" fmla="*/ 58 h 900"/>
                <a:gd name="T2" fmla="*/ 4 w 762"/>
                <a:gd name="T3" fmla="*/ 56 h 900"/>
                <a:gd name="T4" fmla="*/ 0 w 762"/>
                <a:gd name="T5" fmla="*/ 49 h 900"/>
                <a:gd name="T6" fmla="*/ 4 w 762"/>
                <a:gd name="T7" fmla="*/ 36 h 900"/>
                <a:gd name="T8" fmla="*/ 8 w 762"/>
                <a:gd name="T9" fmla="*/ 28 h 900"/>
                <a:gd name="T10" fmla="*/ 7 w 762"/>
                <a:gd name="T11" fmla="*/ 13 h 900"/>
                <a:gd name="T12" fmla="*/ 15 w 762"/>
                <a:gd name="T13" fmla="*/ 0 h 900"/>
                <a:gd name="T14" fmla="*/ 16 w 762"/>
                <a:gd name="T15" fmla="*/ 13 h 900"/>
                <a:gd name="T16" fmla="*/ 31 w 762"/>
                <a:gd name="T17" fmla="*/ 28 h 900"/>
                <a:gd name="T18" fmla="*/ 49 w 762"/>
                <a:gd name="T19" fmla="*/ 33 h 900"/>
                <a:gd name="T20" fmla="*/ 42 w 762"/>
                <a:gd name="T21" fmla="*/ 48 h 900"/>
                <a:gd name="T22" fmla="*/ 51 w 762"/>
                <a:gd name="T23" fmla="*/ 48 h 900"/>
                <a:gd name="T24" fmla="*/ 61 w 762"/>
                <a:gd name="T25" fmla="*/ 51 h 900"/>
                <a:gd name="T26" fmla="*/ 63 w 762"/>
                <a:gd name="T27" fmla="*/ 60 h 900"/>
                <a:gd name="T28" fmla="*/ 63 w 762"/>
                <a:gd name="T29" fmla="*/ 66 h 900"/>
                <a:gd name="T30" fmla="*/ 65 w 762"/>
                <a:gd name="T31" fmla="*/ 69 h 900"/>
                <a:gd name="T32" fmla="*/ 66 w 762"/>
                <a:gd name="T33" fmla="*/ 72 h 900"/>
                <a:gd name="T34" fmla="*/ 56 w 762"/>
                <a:gd name="T35" fmla="*/ 73 h 900"/>
                <a:gd name="T36" fmla="*/ 55 w 762"/>
                <a:gd name="T37" fmla="*/ 69 h 900"/>
                <a:gd name="T38" fmla="*/ 57 w 762"/>
                <a:gd name="T39" fmla="*/ 67 h 900"/>
                <a:gd name="T40" fmla="*/ 55 w 762"/>
                <a:gd name="T41" fmla="*/ 65 h 900"/>
                <a:gd name="T42" fmla="*/ 53 w 762"/>
                <a:gd name="T43" fmla="*/ 68 h 900"/>
                <a:gd name="T44" fmla="*/ 49 w 762"/>
                <a:gd name="T45" fmla="*/ 68 h 900"/>
                <a:gd name="T46" fmla="*/ 44 w 762"/>
                <a:gd name="T47" fmla="*/ 63 h 900"/>
                <a:gd name="T48" fmla="*/ 40 w 762"/>
                <a:gd name="T49" fmla="*/ 59 h 900"/>
                <a:gd name="T50" fmla="*/ 38 w 762"/>
                <a:gd name="T51" fmla="*/ 57 h 900"/>
                <a:gd name="T52" fmla="*/ 43 w 762"/>
                <a:gd name="T53" fmla="*/ 62 h 900"/>
                <a:gd name="T54" fmla="*/ 43 w 762"/>
                <a:gd name="T55" fmla="*/ 66 h 900"/>
                <a:gd name="T56" fmla="*/ 41 w 762"/>
                <a:gd name="T57" fmla="*/ 71 h 900"/>
                <a:gd name="T58" fmla="*/ 37 w 762"/>
                <a:gd name="T59" fmla="*/ 69 h 900"/>
                <a:gd name="T60" fmla="*/ 35 w 762"/>
                <a:gd name="T61" fmla="*/ 64 h 900"/>
                <a:gd name="T62" fmla="*/ 31 w 762"/>
                <a:gd name="T63" fmla="*/ 57 h 900"/>
                <a:gd name="T64" fmla="*/ 30 w 762"/>
                <a:gd name="T65" fmla="*/ 62 h 900"/>
                <a:gd name="T66" fmla="*/ 29 w 762"/>
                <a:gd name="T67" fmla="*/ 61 h 900"/>
                <a:gd name="T68" fmla="*/ 31 w 762"/>
                <a:gd name="T69" fmla="*/ 66 h 900"/>
                <a:gd name="T70" fmla="*/ 33 w 762"/>
                <a:gd name="T71" fmla="*/ 72 h 900"/>
                <a:gd name="T72" fmla="*/ 32 w 762"/>
                <a:gd name="T73" fmla="*/ 76 h 900"/>
                <a:gd name="T74" fmla="*/ 28 w 762"/>
                <a:gd name="T75" fmla="*/ 75 h 900"/>
                <a:gd name="T76" fmla="*/ 24 w 762"/>
                <a:gd name="T77" fmla="*/ 69 h 900"/>
                <a:gd name="T78" fmla="*/ 24 w 762"/>
                <a:gd name="T79" fmla="*/ 62 h 900"/>
                <a:gd name="T80" fmla="*/ 23 w 762"/>
                <a:gd name="T81" fmla="*/ 62 h 900"/>
                <a:gd name="T82" fmla="*/ 23 w 762"/>
                <a:gd name="T83" fmla="*/ 68 h 900"/>
                <a:gd name="T84" fmla="*/ 25 w 762"/>
                <a:gd name="T85" fmla="*/ 77 h 900"/>
                <a:gd name="T86" fmla="*/ 17 w 762"/>
                <a:gd name="T87" fmla="*/ 74 h 900"/>
                <a:gd name="T88" fmla="*/ 17 w 762"/>
                <a:gd name="T89" fmla="*/ 67 h 900"/>
                <a:gd name="T90" fmla="*/ 16 w 762"/>
                <a:gd name="T91" fmla="*/ 67 h 900"/>
                <a:gd name="T92" fmla="*/ 15 w 762"/>
                <a:gd name="T93" fmla="*/ 71 h 900"/>
                <a:gd name="T94" fmla="*/ 12 w 762"/>
                <a:gd name="T95" fmla="*/ 68 h 900"/>
                <a:gd name="T96" fmla="*/ 15 w 762"/>
                <a:gd name="T97" fmla="*/ 72 h 900"/>
                <a:gd name="T98" fmla="*/ 17 w 762"/>
                <a:gd name="T99" fmla="*/ 77 h 900"/>
                <a:gd name="T100" fmla="*/ 11 w 762"/>
                <a:gd name="T101" fmla="*/ 77 h 900"/>
                <a:gd name="T102" fmla="*/ 10 w 762"/>
                <a:gd name="T103" fmla="*/ 69 h 900"/>
                <a:gd name="T104" fmla="*/ 11 w 762"/>
                <a:gd name="T105" fmla="*/ 72 h 900"/>
                <a:gd name="T106" fmla="*/ 9 w 762"/>
                <a:gd name="T107" fmla="*/ 78 h 900"/>
                <a:gd name="T108" fmla="*/ 43 w 762"/>
                <a:gd name="T109" fmla="*/ 71 h 900"/>
                <a:gd name="T110" fmla="*/ 51 w 762"/>
                <a:gd name="T111" fmla="*/ 69 h 900"/>
                <a:gd name="T112" fmla="*/ 43 w 762"/>
                <a:gd name="T113" fmla="*/ 76 h 900"/>
                <a:gd name="T114" fmla="*/ 36 w 762"/>
                <a:gd name="T115" fmla="*/ 65 h 900"/>
                <a:gd name="T116" fmla="*/ 38 w 762"/>
                <a:gd name="T117" fmla="*/ 72 h 900"/>
                <a:gd name="T118" fmla="*/ 34 w 762"/>
                <a:gd name="T119" fmla="*/ 69 h 900"/>
                <a:gd name="T120" fmla="*/ 29 w 762"/>
                <a:gd name="T121" fmla="*/ 64 h 900"/>
                <a:gd name="T122" fmla="*/ 32 w 762"/>
                <a:gd name="T123" fmla="*/ 66 h 9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900"/>
                <a:gd name="T188" fmla="*/ 762 w 762"/>
                <a:gd name="T189" fmla="*/ 900 h 90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900">
                  <a:moveTo>
                    <a:pt x="90" y="768"/>
                  </a:moveTo>
                  <a:lnTo>
                    <a:pt x="102" y="756"/>
                  </a:lnTo>
                  <a:lnTo>
                    <a:pt x="102" y="750"/>
                  </a:lnTo>
                  <a:lnTo>
                    <a:pt x="90" y="744"/>
                  </a:lnTo>
                  <a:lnTo>
                    <a:pt x="84" y="738"/>
                  </a:lnTo>
                  <a:lnTo>
                    <a:pt x="90" y="726"/>
                  </a:lnTo>
                  <a:lnTo>
                    <a:pt x="84" y="720"/>
                  </a:lnTo>
                  <a:lnTo>
                    <a:pt x="78" y="720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72" y="702"/>
                  </a:lnTo>
                  <a:lnTo>
                    <a:pt x="72" y="696"/>
                  </a:lnTo>
                  <a:lnTo>
                    <a:pt x="84" y="684"/>
                  </a:lnTo>
                  <a:lnTo>
                    <a:pt x="96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102" y="654"/>
                  </a:lnTo>
                  <a:lnTo>
                    <a:pt x="108" y="654"/>
                  </a:lnTo>
                  <a:lnTo>
                    <a:pt x="114" y="648"/>
                  </a:lnTo>
                  <a:lnTo>
                    <a:pt x="120" y="642"/>
                  </a:lnTo>
                  <a:lnTo>
                    <a:pt x="120" y="636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14" y="618"/>
                  </a:lnTo>
                  <a:lnTo>
                    <a:pt x="102" y="618"/>
                  </a:lnTo>
                  <a:lnTo>
                    <a:pt x="90" y="618"/>
                  </a:lnTo>
                  <a:lnTo>
                    <a:pt x="78" y="624"/>
                  </a:lnTo>
                  <a:lnTo>
                    <a:pt x="72" y="630"/>
                  </a:lnTo>
                  <a:lnTo>
                    <a:pt x="54" y="642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42" y="642"/>
                  </a:lnTo>
                  <a:lnTo>
                    <a:pt x="42" y="636"/>
                  </a:lnTo>
                  <a:lnTo>
                    <a:pt x="36" y="636"/>
                  </a:lnTo>
                  <a:lnTo>
                    <a:pt x="30" y="642"/>
                  </a:lnTo>
                  <a:lnTo>
                    <a:pt x="30" y="636"/>
                  </a:lnTo>
                  <a:lnTo>
                    <a:pt x="30" y="630"/>
                  </a:lnTo>
                  <a:lnTo>
                    <a:pt x="24" y="630"/>
                  </a:lnTo>
                  <a:lnTo>
                    <a:pt x="30" y="624"/>
                  </a:lnTo>
                  <a:lnTo>
                    <a:pt x="30" y="618"/>
                  </a:lnTo>
                  <a:lnTo>
                    <a:pt x="30" y="612"/>
                  </a:lnTo>
                  <a:lnTo>
                    <a:pt x="36" y="612"/>
                  </a:lnTo>
                  <a:lnTo>
                    <a:pt x="36" y="606"/>
                  </a:lnTo>
                  <a:lnTo>
                    <a:pt x="30" y="606"/>
                  </a:lnTo>
                  <a:lnTo>
                    <a:pt x="24" y="612"/>
                  </a:lnTo>
                  <a:lnTo>
                    <a:pt x="18" y="606"/>
                  </a:lnTo>
                  <a:lnTo>
                    <a:pt x="12" y="594"/>
                  </a:lnTo>
                  <a:lnTo>
                    <a:pt x="6" y="582"/>
                  </a:lnTo>
                  <a:lnTo>
                    <a:pt x="6" y="570"/>
                  </a:lnTo>
                  <a:lnTo>
                    <a:pt x="0" y="558"/>
                  </a:lnTo>
                  <a:lnTo>
                    <a:pt x="6" y="552"/>
                  </a:lnTo>
                  <a:lnTo>
                    <a:pt x="6" y="534"/>
                  </a:lnTo>
                  <a:lnTo>
                    <a:pt x="18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12" y="480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54" y="408"/>
                  </a:lnTo>
                  <a:lnTo>
                    <a:pt x="54" y="396"/>
                  </a:lnTo>
                  <a:lnTo>
                    <a:pt x="54" y="384"/>
                  </a:lnTo>
                  <a:lnTo>
                    <a:pt x="60" y="378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66"/>
                  </a:lnTo>
                  <a:lnTo>
                    <a:pt x="60" y="360"/>
                  </a:lnTo>
                  <a:lnTo>
                    <a:pt x="66" y="360"/>
                  </a:lnTo>
                  <a:lnTo>
                    <a:pt x="72" y="354"/>
                  </a:lnTo>
                  <a:lnTo>
                    <a:pt x="78" y="354"/>
                  </a:lnTo>
                  <a:lnTo>
                    <a:pt x="84" y="348"/>
                  </a:lnTo>
                  <a:lnTo>
                    <a:pt x="96" y="348"/>
                  </a:lnTo>
                  <a:lnTo>
                    <a:pt x="96" y="342"/>
                  </a:lnTo>
                  <a:lnTo>
                    <a:pt x="96" y="336"/>
                  </a:lnTo>
                  <a:lnTo>
                    <a:pt x="96" y="330"/>
                  </a:lnTo>
                  <a:lnTo>
                    <a:pt x="96" y="324"/>
                  </a:lnTo>
                  <a:lnTo>
                    <a:pt x="102" y="318"/>
                  </a:lnTo>
                  <a:lnTo>
                    <a:pt x="108" y="312"/>
                  </a:lnTo>
                  <a:lnTo>
                    <a:pt x="96" y="306"/>
                  </a:lnTo>
                  <a:lnTo>
                    <a:pt x="84" y="288"/>
                  </a:lnTo>
                  <a:lnTo>
                    <a:pt x="108" y="258"/>
                  </a:lnTo>
                  <a:lnTo>
                    <a:pt x="102" y="222"/>
                  </a:lnTo>
                  <a:lnTo>
                    <a:pt x="84" y="222"/>
                  </a:lnTo>
                  <a:lnTo>
                    <a:pt x="54" y="216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2"/>
                  </a:lnTo>
                  <a:lnTo>
                    <a:pt x="72" y="192"/>
                  </a:lnTo>
                  <a:lnTo>
                    <a:pt x="84" y="186"/>
                  </a:lnTo>
                  <a:lnTo>
                    <a:pt x="90" y="186"/>
                  </a:lnTo>
                  <a:lnTo>
                    <a:pt x="90" y="174"/>
                  </a:lnTo>
                  <a:lnTo>
                    <a:pt x="84" y="162"/>
                  </a:lnTo>
                  <a:lnTo>
                    <a:pt x="84" y="150"/>
                  </a:lnTo>
                  <a:lnTo>
                    <a:pt x="84" y="126"/>
                  </a:lnTo>
                  <a:lnTo>
                    <a:pt x="84" y="114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8" y="96"/>
                  </a:lnTo>
                  <a:lnTo>
                    <a:pt x="120" y="90"/>
                  </a:lnTo>
                  <a:lnTo>
                    <a:pt x="126" y="78"/>
                  </a:lnTo>
                  <a:lnTo>
                    <a:pt x="138" y="66"/>
                  </a:lnTo>
                  <a:lnTo>
                    <a:pt x="138" y="48"/>
                  </a:lnTo>
                  <a:lnTo>
                    <a:pt x="138" y="42"/>
                  </a:lnTo>
                  <a:lnTo>
                    <a:pt x="126" y="30"/>
                  </a:lnTo>
                  <a:lnTo>
                    <a:pt x="120" y="18"/>
                  </a:lnTo>
                  <a:lnTo>
                    <a:pt x="132" y="12"/>
                  </a:lnTo>
                  <a:lnTo>
                    <a:pt x="144" y="0"/>
                  </a:lnTo>
                  <a:lnTo>
                    <a:pt x="150" y="6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6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74" y="66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68" y="72"/>
                  </a:lnTo>
                  <a:lnTo>
                    <a:pt x="156" y="150"/>
                  </a:lnTo>
                  <a:lnTo>
                    <a:pt x="168" y="144"/>
                  </a:lnTo>
                  <a:lnTo>
                    <a:pt x="180" y="150"/>
                  </a:lnTo>
                  <a:lnTo>
                    <a:pt x="186" y="150"/>
                  </a:lnTo>
                  <a:lnTo>
                    <a:pt x="186" y="144"/>
                  </a:lnTo>
                  <a:lnTo>
                    <a:pt x="192" y="150"/>
                  </a:lnTo>
                  <a:lnTo>
                    <a:pt x="222" y="150"/>
                  </a:lnTo>
                  <a:lnTo>
                    <a:pt x="222" y="168"/>
                  </a:lnTo>
                  <a:lnTo>
                    <a:pt x="222" y="186"/>
                  </a:lnTo>
                  <a:lnTo>
                    <a:pt x="234" y="198"/>
                  </a:lnTo>
                  <a:lnTo>
                    <a:pt x="234" y="234"/>
                  </a:lnTo>
                  <a:lnTo>
                    <a:pt x="228" y="270"/>
                  </a:lnTo>
                  <a:lnTo>
                    <a:pt x="246" y="282"/>
                  </a:lnTo>
                  <a:lnTo>
                    <a:pt x="258" y="294"/>
                  </a:lnTo>
                  <a:lnTo>
                    <a:pt x="270" y="300"/>
                  </a:lnTo>
                  <a:lnTo>
                    <a:pt x="294" y="300"/>
                  </a:lnTo>
                  <a:lnTo>
                    <a:pt x="288" y="306"/>
                  </a:lnTo>
                  <a:lnTo>
                    <a:pt x="300" y="312"/>
                  </a:lnTo>
                  <a:lnTo>
                    <a:pt x="306" y="318"/>
                  </a:lnTo>
                  <a:lnTo>
                    <a:pt x="324" y="324"/>
                  </a:lnTo>
                  <a:lnTo>
                    <a:pt x="354" y="318"/>
                  </a:lnTo>
                  <a:lnTo>
                    <a:pt x="354" y="312"/>
                  </a:lnTo>
                  <a:lnTo>
                    <a:pt x="366" y="312"/>
                  </a:lnTo>
                  <a:lnTo>
                    <a:pt x="384" y="312"/>
                  </a:lnTo>
                  <a:lnTo>
                    <a:pt x="390" y="306"/>
                  </a:lnTo>
                  <a:lnTo>
                    <a:pt x="396" y="306"/>
                  </a:lnTo>
                  <a:lnTo>
                    <a:pt x="408" y="306"/>
                  </a:lnTo>
                  <a:lnTo>
                    <a:pt x="426" y="312"/>
                  </a:lnTo>
                  <a:lnTo>
                    <a:pt x="456" y="324"/>
                  </a:lnTo>
                  <a:lnTo>
                    <a:pt x="504" y="330"/>
                  </a:lnTo>
                  <a:lnTo>
                    <a:pt x="510" y="336"/>
                  </a:lnTo>
                  <a:lnTo>
                    <a:pt x="534" y="336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58" y="330"/>
                  </a:lnTo>
                  <a:lnTo>
                    <a:pt x="564" y="330"/>
                  </a:lnTo>
                  <a:lnTo>
                    <a:pt x="570" y="354"/>
                  </a:lnTo>
                  <a:lnTo>
                    <a:pt x="564" y="378"/>
                  </a:lnTo>
                  <a:lnTo>
                    <a:pt x="558" y="396"/>
                  </a:lnTo>
                  <a:lnTo>
                    <a:pt x="546" y="414"/>
                  </a:lnTo>
                  <a:lnTo>
                    <a:pt x="546" y="438"/>
                  </a:lnTo>
                  <a:lnTo>
                    <a:pt x="540" y="456"/>
                  </a:lnTo>
                  <a:lnTo>
                    <a:pt x="540" y="474"/>
                  </a:lnTo>
                  <a:lnTo>
                    <a:pt x="528" y="480"/>
                  </a:lnTo>
                  <a:lnTo>
                    <a:pt x="522" y="492"/>
                  </a:lnTo>
                  <a:lnTo>
                    <a:pt x="504" y="498"/>
                  </a:lnTo>
                  <a:lnTo>
                    <a:pt x="498" y="498"/>
                  </a:lnTo>
                  <a:lnTo>
                    <a:pt x="492" y="504"/>
                  </a:lnTo>
                  <a:lnTo>
                    <a:pt x="486" y="510"/>
                  </a:lnTo>
                  <a:lnTo>
                    <a:pt x="480" y="510"/>
                  </a:lnTo>
                  <a:lnTo>
                    <a:pt x="480" y="516"/>
                  </a:lnTo>
                  <a:lnTo>
                    <a:pt x="474" y="522"/>
                  </a:lnTo>
                  <a:lnTo>
                    <a:pt x="474" y="528"/>
                  </a:lnTo>
                  <a:lnTo>
                    <a:pt x="474" y="534"/>
                  </a:lnTo>
                  <a:lnTo>
                    <a:pt x="480" y="540"/>
                  </a:lnTo>
                  <a:lnTo>
                    <a:pt x="492" y="540"/>
                  </a:lnTo>
                  <a:lnTo>
                    <a:pt x="498" y="546"/>
                  </a:lnTo>
                  <a:lnTo>
                    <a:pt x="504" y="552"/>
                  </a:lnTo>
                  <a:lnTo>
                    <a:pt x="510" y="552"/>
                  </a:lnTo>
                  <a:lnTo>
                    <a:pt x="516" y="558"/>
                  </a:lnTo>
                  <a:lnTo>
                    <a:pt x="528" y="558"/>
                  </a:lnTo>
                  <a:lnTo>
                    <a:pt x="534" y="552"/>
                  </a:lnTo>
                  <a:lnTo>
                    <a:pt x="540" y="552"/>
                  </a:lnTo>
                  <a:lnTo>
                    <a:pt x="546" y="552"/>
                  </a:lnTo>
                  <a:lnTo>
                    <a:pt x="558" y="546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70" y="546"/>
                  </a:lnTo>
                  <a:lnTo>
                    <a:pt x="570" y="540"/>
                  </a:lnTo>
                  <a:lnTo>
                    <a:pt x="570" y="546"/>
                  </a:lnTo>
                  <a:lnTo>
                    <a:pt x="576" y="546"/>
                  </a:lnTo>
                  <a:lnTo>
                    <a:pt x="582" y="546"/>
                  </a:lnTo>
                  <a:lnTo>
                    <a:pt x="588" y="540"/>
                  </a:lnTo>
                  <a:lnTo>
                    <a:pt x="594" y="546"/>
                  </a:lnTo>
                  <a:lnTo>
                    <a:pt x="606" y="546"/>
                  </a:lnTo>
                  <a:lnTo>
                    <a:pt x="612" y="546"/>
                  </a:lnTo>
                  <a:lnTo>
                    <a:pt x="612" y="552"/>
                  </a:lnTo>
                  <a:lnTo>
                    <a:pt x="618" y="552"/>
                  </a:lnTo>
                  <a:lnTo>
                    <a:pt x="624" y="552"/>
                  </a:lnTo>
                  <a:lnTo>
                    <a:pt x="630" y="552"/>
                  </a:lnTo>
                  <a:lnTo>
                    <a:pt x="648" y="546"/>
                  </a:lnTo>
                  <a:lnTo>
                    <a:pt x="654" y="546"/>
                  </a:lnTo>
                  <a:lnTo>
                    <a:pt x="654" y="552"/>
                  </a:lnTo>
                  <a:lnTo>
                    <a:pt x="660" y="558"/>
                  </a:lnTo>
                  <a:lnTo>
                    <a:pt x="666" y="564"/>
                  </a:lnTo>
                  <a:lnTo>
                    <a:pt x="672" y="564"/>
                  </a:lnTo>
                  <a:lnTo>
                    <a:pt x="678" y="564"/>
                  </a:lnTo>
                  <a:lnTo>
                    <a:pt x="696" y="576"/>
                  </a:lnTo>
                  <a:lnTo>
                    <a:pt x="696" y="582"/>
                  </a:lnTo>
                  <a:lnTo>
                    <a:pt x="708" y="588"/>
                  </a:lnTo>
                  <a:lnTo>
                    <a:pt x="708" y="594"/>
                  </a:lnTo>
                  <a:lnTo>
                    <a:pt x="720" y="606"/>
                  </a:lnTo>
                  <a:lnTo>
                    <a:pt x="720" y="618"/>
                  </a:lnTo>
                  <a:lnTo>
                    <a:pt x="720" y="624"/>
                  </a:lnTo>
                  <a:lnTo>
                    <a:pt x="726" y="630"/>
                  </a:lnTo>
                  <a:lnTo>
                    <a:pt x="732" y="636"/>
                  </a:lnTo>
                  <a:lnTo>
                    <a:pt x="732" y="642"/>
                  </a:lnTo>
                  <a:lnTo>
                    <a:pt x="732" y="648"/>
                  </a:lnTo>
                  <a:lnTo>
                    <a:pt x="726" y="654"/>
                  </a:lnTo>
                  <a:lnTo>
                    <a:pt x="720" y="660"/>
                  </a:lnTo>
                  <a:lnTo>
                    <a:pt x="714" y="666"/>
                  </a:lnTo>
                  <a:lnTo>
                    <a:pt x="714" y="672"/>
                  </a:lnTo>
                  <a:lnTo>
                    <a:pt x="714" y="678"/>
                  </a:lnTo>
                  <a:lnTo>
                    <a:pt x="720" y="678"/>
                  </a:lnTo>
                  <a:lnTo>
                    <a:pt x="720" y="684"/>
                  </a:lnTo>
                  <a:lnTo>
                    <a:pt x="714" y="690"/>
                  </a:lnTo>
                  <a:lnTo>
                    <a:pt x="714" y="696"/>
                  </a:lnTo>
                  <a:lnTo>
                    <a:pt x="714" y="702"/>
                  </a:lnTo>
                  <a:lnTo>
                    <a:pt x="714" y="708"/>
                  </a:lnTo>
                  <a:lnTo>
                    <a:pt x="720" y="708"/>
                  </a:lnTo>
                  <a:lnTo>
                    <a:pt x="720" y="720"/>
                  </a:lnTo>
                  <a:lnTo>
                    <a:pt x="720" y="726"/>
                  </a:lnTo>
                  <a:lnTo>
                    <a:pt x="726" y="726"/>
                  </a:lnTo>
                  <a:lnTo>
                    <a:pt x="726" y="732"/>
                  </a:lnTo>
                  <a:lnTo>
                    <a:pt x="732" y="732"/>
                  </a:lnTo>
                  <a:lnTo>
                    <a:pt x="732" y="738"/>
                  </a:lnTo>
                  <a:lnTo>
                    <a:pt x="726" y="738"/>
                  </a:lnTo>
                  <a:lnTo>
                    <a:pt x="720" y="738"/>
                  </a:lnTo>
                  <a:lnTo>
                    <a:pt x="720" y="744"/>
                  </a:lnTo>
                  <a:lnTo>
                    <a:pt x="720" y="750"/>
                  </a:lnTo>
                  <a:lnTo>
                    <a:pt x="714" y="750"/>
                  </a:lnTo>
                  <a:lnTo>
                    <a:pt x="714" y="756"/>
                  </a:lnTo>
                  <a:lnTo>
                    <a:pt x="720" y="756"/>
                  </a:lnTo>
                  <a:lnTo>
                    <a:pt x="714" y="762"/>
                  </a:lnTo>
                  <a:lnTo>
                    <a:pt x="720" y="762"/>
                  </a:lnTo>
                  <a:lnTo>
                    <a:pt x="726" y="768"/>
                  </a:lnTo>
                  <a:lnTo>
                    <a:pt x="726" y="774"/>
                  </a:lnTo>
                  <a:lnTo>
                    <a:pt x="732" y="774"/>
                  </a:lnTo>
                  <a:lnTo>
                    <a:pt x="732" y="780"/>
                  </a:lnTo>
                  <a:lnTo>
                    <a:pt x="726" y="780"/>
                  </a:lnTo>
                  <a:lnTo>
                    <a:pt x="726" y="786"/>
                  </a:lnTo>
                  <a:lnTo>
                    <a:pt x="720" y="786"/>
                  </a:lnTo>
                  <a:lnTo>
                    <a:pt x="726" y="786"/>
                  </a:lnTo>
                  <a:lnTo>
                    <a:pt x="732" y="780"/>
                  </a:lnTo>
                  <a:lnTo>
                    <a:pt x="738" y="780"/>
                  </a:lnTo>
                  <a:lnTo>
                    <a:pt x="744" y="780"/>
                  </a:lnTo>
                  <a:lnTo>
                    <a:pt x="744" y="786"/>
                  </a:lnTo>
                  <a:lnTo>
                    <a:pt x="750" y="786"/>
                  </a:lnTo>
                  <a:lnTo>
                    <a:pt x="744" y="786"/>
                  </a:lnTo>
                  <a:lnTo>
                    <a:pt x="744" y="792"/>
                  </a:lnTo>
                  <a:lnTo>
                    <a:pt x="744" y="786"/>
                  </a:lnTo>
                  <a:lnTo>
                    <a:pt x="738" y="792"/>
                  </a:lnTo>
                  <a:lnTo>
                    <a:pt x="744" y="792"/>
                  </a:lnTo>
                  <a:lnTo>
                    <a:pt x="750" y="792"/>
                  </a:lnTo>
                  <a:lnTo>
                    <a:pt x="750" y="786"/>
                  </a:lnTo>
                  <a:lnTo>
                    <a:pt x="756" y="786"/>
                  </a:lnTo>
                  <a:lnTo>
                    <a:pt x="756" y="792"/>
                  </a:lnTo>
                  <a:lnTo>
                    <a:pt x="762" y="792"/>
                  </a:lnTo>
                  <a:lnTo>
                    <a:pt x="756" y="798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0" y="810"/>
                  </a:lnTo>
                  <a:lnTo>
                    <a:pt x="756" y="810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6" y="816"/>
                  </a:lnTo>
                  <a:lnTo>
                    <a:pt x="750" y="816"/>
                  </a:lnTo>
                  <a:lnTo>
                    <a:pt x="738" y="810"/>
                  </a:lnTo>
                  <a:lnTo>
                    <a:pt x="732" y="810"/>
                  </a:lnTo>
                  <a:lnTo>
                    <a:pt x="732" y="816"/>
                  </a:lnTo>
                  <a:lnTo>
                    <a:pt x="726" y="810"/>
                  </a:lnTo>
                  <a:lnTo>
                    <a:pt x="714" y="816"/>
                  </a:lnTo>
                  <a:lnTo>
                    <a:pt x="708" y="816"/>
                  </a:lnTo>
                  <a:lnTo>
                    <a:pt x="702" y="816"/>
                  </a:lnTo>
                  <a:lnTo>
                    <a:pt x="696" y="816"/>
                  </a:lnTo>
                  <a:lnTo>
                    <a:pt x="690" y="822"/>
                  </a:lnTo>
                  <a:lnTo>
                    <a:pt x="684" y="822"/>
                  </a:lnTo>
                  <a:lnTo>
                    <a:pt x="678" y="822"/>
                  </a:lnTo>
                  <a:lnTo>
                    <a:pt x="672" y="822"/>
                  </a:lnTo>
                  <a:lnTo>
                    <a:pt x="666" y="822"/>
                  </a:lnTo>
                  <a:lnTo>
                    <a:pt x="666" y="828"/>
                  </a:lnTo>
                  <a:lnTo>
                    <a:pt x="654" y="828"/>
                  </a:lnTo>
                  <a:lnTo>
                    <a:pt x="648" y="828"/>
                  </a:lnTo>
                  <a:lnTo>
                    <a:pt x="642" y="828"/>
                  </a:lnTo>
                  <a:lnTo>
                    <a:pt x="630" y="828"/>
                  </a:lnTo>
                  <a:lnTo>
                    <a:pt x="624" y="822"/>
                  </a:lnTo>
                  <a:lnTo>
                    <a:pt x="618" y="822"/>
                  </a:lnTo>
                  <a:lnTo>
                    <a:pt x="612" y="822"/>
                  </a:lnTo>
                  <a:lnTo>
                    <a:pt x="606" y="822"/>
                  </a:lnTo>
                  <a:lnTo>
                    <a:pt x="600" y="822"/>
                  </a:lnTo>
                  <a:lnTo>
                    <a:pt x="594" y="822"/>
                  </a:lnTo>
                  <a:lnTo>
                    <a:pt x="594" y="816"/>
                  </a:lnTo>
                  <a:lnTo>
                    <a:pt x="594" y="810"/>
                  </a:lnTo>
                  <a:lnTo>
                    <a:pt x="600" y="804"/>
                  </a:lnTo>
                  <a:lnTo>
                    <a:pt x="600" y="798"/>
                  </a:lnTo>
                  <a:lnTo>
                    <a:pt x="600" y="792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2" y="786"/>
                  </a:lnTo>
                  <a:lnTo>
                    <a:pt x="618" y="786"/>
                  </a:lnTo>
                  <a:lnTo>
                    <a:pt x="624" y="786"/>
                  </a:lnTo>
                  <a:lnTo>
                    <a:pt x="624" y="780"/>
                  </a:lnTo>
                  <a:lnTo>
                    <a:pt x="630" y="780"/>
                  </a:lnTo>
                  <a:lnTo>
                    <a:pt x="630" y="774"/>
                  </a:lnTo>
                  <a:lnTo>
                    <a:pt x="636" y="774"/>
                  </a:lnTo>
                  <a:lnTo>
                    <a:pt x="642" y="780"/>
                  </a:lnTo>
                  <a:lnTo>
                    <a:pt x="642" y="786"/>
                  </a:lnTo>
                  <a:lnTo>
                    <a:pt x="642" y="792"/>
                  </a:lnTo>
                  <a:lnTo>
                    <a:pt x="648" y="792"/>
                  </a:lnTo>
                  <a:lnTo>
                    <a:pt x="648" y="786"/>
                  </a:lnTo>
                  <a:lnTo>
                    <a:pt x="642" y="786"/>
                  </a:lnTo>
                  <a:lnTo>
                    <a:pt x="642" y="780"/>
                  </a:lnTo>
                  <a:lnTo>
                    <a:pt x="642" y="774"/>
                  </a:lnTo>
                  <a:lnTo>
                    <a:pt x="648" y="768"/>
                  </a:lnTo>
                  <a:lnTo>
                    <a:pt x="642" y="768"/>
                  </a:lnTo>
                  <a:lnTo>
                    <a:pt x="648" y="768"/>
                  </a:lnTo>
                  <a:lnTo>
                    <a:pt x="648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66" y="762"/>
                  </a:lnTo>
                  <a:lnTo>
                    <a:pt x="672" y="756"/>
                  </a:lnTo>
                  <a:lnTo>
                    <a:pt x="666" y="756"/>
                  </a:lnTo>
                  <a:lnTo>
                    <a:pt x="660" y="756"/>
                  </a:lnTo>
                  <a:lnTo>
                    <a:pt x="660" y="750"/>
                  </a:lnTo>
                  <a:lnTo>
                    <a:pt x="654" y="750"/>
                  </a:lnTo>
                  <a:lnTo>
                    <a:pt x="648" y="750"/>
                  </a:lnTo>
                  <a:lnTo>
                    <a:pt x="648" y="756"/>
                  </a:lnTo>
                  <a:lnTo>
                    <a:pt x="642" y="756"/>
                  </a:lnTo>
                  <a:lnTo>
                    <a:pt x="642" y="750"/>
                  </a:lnTo>
                  <a:lnTo>
                    <a:pt x="642" y="744"/>
                  </a:lnTo>
                  <a:lnTo>
                    <a:pt x="642" y="750"/>
                  </a:lnTo>
                  <a:lnTo>
                    <a:pt x="636" y="750"/>
                  </a:lnTo>
                  <a:lnTo>
                    <a:pt x="636" y="744"/>
                  </a:lnTo>
                  <a:lnTo>
                    <a:pt x="630" y="744"/>
                  </a:lnTo>
                  <a:lnTo>
                    <a:pt x="630" y="738"/>
                  </a:lnTo>
                  <a:lnTo>
                    <a:pt x="630" y="744"/>
                  </a:lnTo>
                  <a:lnTo>
                    <a:pt x="630" y="750"/>
                  </a:lnTo>
                  <a:lnTo>
                    <a:pt x="636" y="750"/>
                  </a:lnTo>
                  <a:lnTo>
                    <a:pt x="636" y="756"/>
                  </a:lnTo>
                  <a:lnTo>
                    <a:pt x="630" y="756"/>
                  </a:lnTo>
                  <a:lnTo>
                    <a:pt x="636" y="762"/>
                  </a:lnTo>
                  <a:lnTo>
                    <a:pt x="630" y="762"/>
                  </a:lnTo>
                  <a:lnTo>
                    <a:pt x="624" y="762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24" y="786"/>
                  </a:lnTo>
                  <a:lnTo>
                    <a:pt x="618" y="786"/>
                  </a:lnTo>
                  <a:lnTo>
                    <a:pt x="618" y="78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12" y="774"/>
                  </a:lnTo>
                  <a:lnTo>
                    <a:pt x="612" y="780"/>
                  </a:lnTo>
                  <a:lnTo>
                    <a:pt x="606" y="780"/>
                  </a:lnTo>
                  <a:lnTo>
                    <a:pt x="600" y="780"/>
                  </a:lnTo>
                  <a:lnTo>
                    <a:pt x="600" y="774"/>
                  </a:lnTo>
                  <a:lnTo>
                    <a:pt x="594" y="768"/>
                  </a:lnTo>
                  <a:lnTo>
                    <a:pt x="594" y="762"/>
                  </a:lnTo>
                  <a:lnTo>
                    <a:pt x="594" y="756"/>
                  </a:lnTo>
                  <a:lnTo>
                    <a:pt x="594" y="762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594" y="780"/>
                  </a:lnTo>
                  <a:lnTo>
                    <a:pt x="588" y="780"/>
                  </a:lnTo>
                  <a:lnTo>
                    <a:pt x="582" y="780"/>
                  </a:lnTo>
                  <a:lnTo>
                    <a:pt x="576" y="780"/>
                  </a:lnTo>
                  <a:lnTo>
                    <a:pt x="570" y="780"/>
                  </a:lnTo>
                  <a:lnTo>
                    <a:pt x="564" y="780"/>
                  </a:lnTo>
                  <a:lnTo>
                    <a:pt x="564" y="786"/>
                  </a:lnTo>
                  <a:lnTo>
                    <a:pt x="558" y="786"/>
                  </a:lnTo>
                  <a:lnTo>
                    <a:pt x="552" y="786"/>
                  </a:lnTo>
                  <a:lnTo>
                    <a:pt x="552" y="780"/>
                  </a:lnTo>
                  <a:lnTo>
                    <a:pt x="552" y="774"/>
                  </a:lnTo>
                  <a:lnTo>
                    <a:pt x="552" y="768"/>
                  </a:lnTo>
                  <a:lnTo>
                    <a:pt x="546" y="768"/>
                  </a:lnTo>
                  <a:lnTo>
                    <a:pt x="540" y="762"/>
                  </a:lnTo>
                  <a:lnTo>
                    <a:pt x="540" y="756"/>
                  </a:lnTo>
                  <a:lnTo>
                    <a:pt x="534" y="756"/>
                  </a:lnTo>
                  <a:lnTo>
                    <a:pt x="534" y="750"/>
                  </a:lnTo>
                  <a:lnTo>
                    <a:pt x="534" y="744"/>
                  </a:lnTo>
                  <a:lnTo>
                    <a:pt x="528" y="738"/>
                  </a:lnTo>
                  <a:lnTo>
                    <a:pt x="522" y="738"/>
                  </a:lnTo>
                  <a:lnTo>
                    <a:pt x="522" y="732"/>
                  </a:lnTo>
                  <a:lnTo>
                    <a:pt x="510" y="726"/>
                  </a:lnTo>
                  <a:lnTo>
                    <a:pt x="510" y="720"/>
                  </a:lnTo>
                  <a:lnTo>
                    <a:pt x="504" y="720"/>
                  </a:lnTo>
                  <a:lnTo>
                    <a:pt x="504" y="714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8" y="702"/>
                  </a:lnTo>
                  <a:lnTo>
                    <a:pt x="498" y="696"/>
                  </a:lnTo>
                  <a:lnTo>
                    <a:pt x="492" y="690"/>
                  </a:lnTo>
                  <a:lnTo>
                    <a:pt x="492" y="684"/>
                  </a:lnTo>
                  <a:lnTo>
                    <a:pt x="486" y="684"/>
                  </a:lnTo>
                  <a:lnTo>
                    <a:pt x="486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74" y="678"/>
                  </a:lnTo>
                  <a:lnTo>
                    <a:pt x="468" y="678"/>
                  </a:lnTo>
                  <a:lnTo>
                    <a:pt x="462" y="678"/>
                  </a:lnTo>
                  <a:lnTo>
                    <a:pt x="462" y="672"/>
                  </a:lnTo>
                  <a:lnTo>
                    <a:pt x="456" y="672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44" y="666"/>
                  </a:lnTo>
                  <a:lnTo>
                    <a:pt x="438" y="660"/>
                  </a:lnTo>
                  <a:lnTo>
                    <a:pt x="438" y="648"/>
                  </a:lnTo>
                  <a:lnTo>
                    <a:pt x="438" y="642"/>
                  </a:lnTo>
                  <a:lnTo>
                    <a:pt x="438" y="636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36"/>
                  </a:lnTo>
                  <a:lnTo>
                    <a:pt x="420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60"/>
                  </a:lnTo>
                  <a:lnTo>
                    <a:pt x="432" y="666"/>
                  </a:lnTo>
                  <a:lnTo>
                    <a:pt x="438" y="666"/>
                  </a:lnTo>
                  <a:lnTo>
                    <a:pt x="438" y="672"/>
                  </a:lnTo>
                  <a:lnTo>
                    <a:pt x="444" y="672"/>
                  </a:lnTo>
                  <a:lnTo>
                    <a:pt x="444" y="678"/>
                  </a:lnTo>
                  <a:lnTo>
                    <a:pt x="450" y="678"/>
                  </a:lnTo>
                  <a:lnTo>
                    <a:pt x="456" y="678"/>
                  </a:lnTo>
                  <a:lnTo>
                    <a:pt x="456" y="684"/>
                  </a:lnTo>
                  <a:lnTo>
                    <a:pt x="462" y="684"/>
                  </a:lnTo>
                  <a:lnTo>
                    <a:pt x="468" y="684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80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86" y="708"/>
                  </a:lnTo>
                  <a:lnTo>
                    <a:pt x="492" y="714"/>
                  </a:lnTo>
                  <a:lnTo>
                    <a:pt x="492" y="720"/>
                  </a:lnTo>
                  <a:lnTo>
                    <a:pt x="492" y="726"/>
                  </a:lnTo>
                  <a:lnTo>
                    <a:pt x="498" y="732"/>
                  </a:lnTo>
                  <a:lnTo>
                    <a:pt x="492" y="738"/>
                  </a:lnTo>
                  <a:lnTo>
                    <a:pt x="492" y="744"/>
                  </a:lnTo>
                  <a:lnTo>
                    <a:pt x="492" y="750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68" y="738"/>
                  </a:lnTo>
                  <a:lnTo>
                    <a:pt x="468" y="744"/>
                  </a:lnTo>
                  <a:lnTo>
                    <a:pt x="474" y="750"/>
                  </a:lnTo>
                  <a:lnTo>
                    <a:pt x="480" y="756"/>
                  </a:lnTo>
                  <a:lnTo>
                    <a:pt x="486" y="756"/>
                  </a:lnTo>
                  <a:lnTo>
                    <a:pt x="492" y="762"/>
                  </a:lnTo>
                  <a:lnTo>
                    <a:pt x="498" y="768"/>
                  </a:lnTo>
                  <a:lnTo>
                    <a:pt x="492" y="774"/>
                  </a:lnTo>
                  <a:lnTo>
                    <a:pt x="492" y="780"/>
                  </a:lnTo>
                  <a:lnTo>
                    <a:pt x="498" y="780"/>
                  </a:lnTo>
                  <a:lnTo>
                    <a:pt x="492" y="786"/>
                  </a:lnTo>
                  <a:lnTo>
                    <a:pt x="492" y="792"/>
                  </a:lnTo>
                  <a:lnTo>
                    <a:pt x="492" y="79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0" y="810"/>
                  </a:lnTo>
                  <a:lnTo>
                    <a:pt x="480" y="804"/>
                  </a:lnTo>
                  <a:lnTo>
                    <a:pt x="474" y="804"/>
                  </a:lnTo>
                  <a:lnTo>
                    <a:pt x="474" y="798"/>
                  </a:lnTo>
                  <a:lnTo>
                    <a:pt x="474" y="804"/>
                  </a:lnTo>
                  <a:lnTo>
                    <a:pt x="468" y="804"/>
                  </a:lnTo>
                  <a:lnTo>
                    <a:pt x="468" y="810"/>
                  </a:lnTo>
                  <a:lnTo>
                    <a:pt x="462" y="810"/>
                  </a:lnTo>
                  <a:lnTo>
                    <a:pt x="456" y="810"/>
                  </a:lnTo>
                  <a:lnTo>
                    <a:pt x="450" y="810"/>
                  </a:lnTo>
                  <a:lnTo>
                    <a:pt x="450" y="816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50" y="822"/>
                  </a:lnTo>
                  <a:lnTo>
                    <a:pt x="450" y="816"/>
                  </a:lnTo>
                  <a:lnTo>
                    <a:pt x="444" y="816"/>
                  </a:lnTo>
                  <a:lnTo>
                    <a:pt x="438" y="810"/>
                  </a:lnTo>
                  <a:lnTo>
                    <a:pt x="432" y="810"/>
                  </a:lnTo>
                  <a:lnTo>
                    <a:pt x="426" y="804"/>
                  </a:lnTo>
                  <a:lnTo>
                    <a:pt x="426" y="798"/>
                  </a:lnTo>
                  <a:lnTo>
                    <a:pt x="420" y="798"/>
                  </a:lnTo>
                  <a:lnTo>
                    <a:pt x="426" y="798"/>
                  </a:lnTo>
                  <a:lnTo>
                    <a:pt x="426" y="792"/>
                  </a:lnTo>
                  <a:lnTo>
                    <a:pt x="426" y="786"/>
                  </a:lnTo>
                  <a:lnTo>
                    <a:pt x="432" y="786"/>
                  </a:lnTo>
                  <a:lnTo>
                    <a:pt x="432" y="780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0" y="756"/>
                  </a:lnTo>
                  <a:lnTo>
                    <a:pt x="420" y="750"/>
                  </a:lnTo>
                  <a:lnTo>
                    <a:pt x="414" y="750"/>
                  </a:lnTo>
                  <a:lnTo>
                    <a:pt x="420" y="750"/>
                  </a:lnTo>
                  <a:lnTo>
                    <a:pt x="420" y="744"/>
                  </a:lnTo>
                  <a:lnTo>
                    <a:pt x="414" y="744"/>
                  </a:lnTo>
                  <a:lnTo>
                    <a:pt x="414" y="738"/>
                  </a:lnTo>
                  <a:lnTo>
                    <a:pt x="414" y="732"/>
                  </a:lnTo>
                  <a:lnTo>
                    <a:pt x="408" y="732"/>
                  </a:lnTo>
                  <a:lnTo>
                    <a:pt x="408" y="726"/>
                  </a:lnTo>
                  <a:lnTo>
                    <a:pt x="402" y="726"/>
                  </a:lnTo>
                  <a:lnTo>
                    <a:pt x="396" y="726"/>
                  </a:lnTo>
                  <a:lnTo>
                    <a:pt x="390" y="726"/>
                  </a:lnTo>
                  <a:lnTo>
                    <a:pt x="390" y="720"/>
                  </a:lnTo>
                  <a:lnTo>
                    <a:pt x="390" y="714"/>
                  </a:lnTo>
                  <a:lnTo>
                    <a:pt x="384" y="708"/>
                  </a:lnTo>
                  <a:lnTo>
                    <a:pt x="384" y="702"/>
                  </a:lnTo>
                  <a:lnTo>
                    <a:pt x="378" y="702"/>
                  </a:lnTo>
                  <a:lnTo>
                    <a:pt x="378" y="696"/>
                  </a:lnTo>
                  <a:lnTo>
                    <a:pt x="378" y="690"/>
                  </a:lnTo>
                  <a:lnTo>
                    <a:pt x="372" y="684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66" y="666"/>
                  </a:lnTo>
                  <a:lnTo>
                    <a:pt x="366" y="660"/>
                  </a:lnTo>
                  <a:lnTo>
                    <a:pt x="366" y="654"/>
                  </a:lnTo>
                  <a:lnTo>
                    <a:pt x="360" y="648"/>
                  </a:lnTo>
                  <a:lnTo>
                    <a:pt x="360" y="654"/>
                  </a:lnTo>
                  <a:lnTo>
                    <a:pt x="360" y="660"/>
                  </a:lnTo>
                  <a:lnTo>
                    <a:pt x="360" y="666"/>
                  </a:lnTo>
                  <a:lnTo>
                    <a:pt x="360" y="672"/>
                  </a:lnTo>
                  <a:lnTo>
                    <a:pt x="360" y="678"/>
                  </a:lnTo>
                  <a:lnTo>
                    <a:pt x="366" y="678"/>
                  </a:lnTo>
                  <a:lnTo>
                    <a:pt x="366" y="684"/>
                  </a:lnTo>
                  <a:lnTo>
                    <a:pt x="366" y="690"/>
                  </a:lnTo>
                  <a:lnTo>
                    <a:pt x="372" y="696"/>
                  </a:lnTo>
                  <a:lnTo>
                    <a:pt x="372" y="702"/>
                  </a:lnTo>
                  <a:lnTo>
                    <a:pt x="372" y="708"/>
                  </a:lnTo>
                  <a:lnTo>
                    <a:pt x="372" y="714"/>
                  </a:lnTo>
                  <a:lnTo>
                    <a:pt x="366" y="714"/>
                  </a:lnTo>
                  <a:lnTo>
                    <a:pt x="360" y="714"/>
                  </a:lnTo>
                  <a:lnTo>
                    <a:pt x="354" y="714"/>
                  </a:lnTo>
                  <a:lnTo>
                    <a:pt x="348" y="714"/>
                  </a:lnTo>
                  <a:lnTo>
                    <a:pt x="348" y="708"/>
                  </a:lnTo>
                  <a:lnTo>
                    <a:pt x="342" y="708"/>
                  </a:lnTo>
                  <a:lnTo>
                    <a:pt x="342" y="702"/>
                  </a:lnTo>
                  <a:lnTo>
                    <a:pt x="342" y="696"/>
                  </a:lnTo>
                  <a:lnTo>
                    <a:pt x="336" y="696"/>
                  </a:lnTo>
                  <a:lnTo>
                    <a:pt x="336" y="690"/>
                  </a:lnTo>
                  <a:lnTo>
                    <a:pt x="336" y="684"/>
                  </a:lnTo>
                  <a:lnTo>
                    <a:pt x="330" y="684"/>
                  </a:lnTo>
                  <a:lnTo>
                    <a:pt x="330" y="678"/>
                  </a:lnTo>
                  <a:lnTo>
                    <a:pt x="324" y="672"/>
                  </a:lnTo>
                  <a:lnTo>
                    <a:pt x="324" y="666"/>
                  </a:lnTo>
                  <a:lnTo>
                    <a:pt x="318" y="666"/>
                  </a:lnTo>
                  <a:lnTo>
                    <a:pt x="318" y="672"/>
                  </a:lnTo>
                  <a:lnTo>
                    <a:pt x="324" y="672"/>
                  </a:lnTo>
                  <a:lnTo>
                    <a:pt x="324" y="678"/>
                  </a:lnTo>
                  <a:lnTo>
                    <a:pt x="324" y="684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30" y="696"/>
                  </a:lnTo>
                  <a:lnTo>
                    <a:pt x="336" y="702"/>
                  </a:lnTo>
                  <a:lnTo>
                    <a:pt x="342" y="708"/>
                  </a:lnTo>
                  <a:lnTo>
                    <a:pt x="342" y="714"/>
                  </a:lnTo>
                  <a:lnTo>
                    <a:pt x="348" y="720"/>
                  </a:lnTo>
                  <a:lnTo>
                    <a:pt x="342" y="720"/>
                  </a:lnTo>
                  <a:lnTo>
                    <a:pt x="336" y="720"/>
                  </a:lnTo>
                  <a:lnTo>
                    <a:pt x="330" y="720"/>
                  </a:lnTo>
                  <a:lnTo>
                    <a:pt x="330" y="726"/>
                  </a:lnTo>
                  <a:lnTo>
                    <a:pt x="336" y="726"/>
                  </a:lnTo>
                  <a:lnTo>
                    <a:pt x="330" y="732"/>
                  </a:lnTo>
                  <a:lnTo>
                    <a:pt x="330" y="738"/>
                  </a:lnTo>
                  <a:lnTo>
                    <a:pt x="330" y="744"/>
                  </a:lnTo>
                  <a:lnTo>
                    <a:pt x="336" y="744"/>
                  </a:lnTo>
                  <a:lnTo>
                    <a:pt x="342" y="744"/>
                  </a:lnTo>
                  <a:lnTo>
                    <a:pt x="348" y="744"/>
                  </a:lnTo>
                  <a:lnTo>
                    <a:pt x="348" y="750"/>
                  </a:lnTo>
                  <a:lnTo>
                    <a:pt x="354" y="750"/>
                  </a:lnTo>
                  <a:lnTo>
                    <a:pt x="360" y="756"/>
                  </a:lnTo>
                  <a:lnTo>
                    <a:pt x="360" y="762"/>
                  </a:lnTo>
                  <a:lnTo>
                    <a:pt x="366" y="762"/>
                  </a:lnTo>
                  <a:lnTo>
                    <a:pt x="366" y="768"/>
                  </a:lnTo>
                  <a:lnTo>
                    <a:pt x="366" y="774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72" y="792"/>
                  </a:lnTo>
                  <a:lnTo>
                    <a:pt x="372" y="798"/>
                  </a:lnTo>
                  <a:lnTo>
                    <a:pt x="372" y="804"/>
                  </a:lnTo>
                  <a:lnTo>
                    <a:pt x="378" y="804"/>
                  </a:lnTo>
                  <a:lnTo>
                    <a:pt x="378" y="810"/>
                  </a:lnTo>
                  <a:lnTo>
                    <a:pt x="378" y="816"/>
                  </a:lnTo>
                  <a:lnTo>
                    <a:pt x="372" y="816"/>
                  </a:lnTo>
                  <a:lnTo>
                    <a:pt x="378" y="816"/>
                  </a:lnTo>
                  <a:lnTo>
                    <a:pt x="378" y="822"/>
                  </a:lnTo>
                  <a:lnTo>
                    <a:pt x="378" y="828"/>
                  </a:lnTo>
                  <a:lnTo>
                    <a:pt x="378" y="834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0" y="864"/>
                  </a:lnTo>
                  <a:lnTo>
                    <a:pt x="384" y="864"/>
                  </a:lnTo>
                  <a:lnTo>
                    <a:pt x="384" y="870"/>
                  </a:lnTo>
                  <a:lnTo>
                    <a:pt x="378" y="864"/>
                  </a:lnTo>
                  <a:lnTo>
                    <a:pt x="372" y="864"/>
                  </a:lnTo>
                  <a:lnTo>
                    <a:pt x="366" y="858"/>
                  </a:lnTo>
                  <a:lnTo>
                    <a:pt x="366" y="852"/>
                  </a:lnTo>
                  <a:lnTo>
                    <a:pt x="360" y="852"/>
                  </a:lnTo>
                  <a:lnTo>
                    <a:pt x="360" y="858"/>
                  </a:lnTo>
                  <a:lnTo>
                    <a:pt x="366" y="858"/>
                  </a:lnTo>
                  <a:lnTo>
                    <a:pt x="366" y="864"/>
                  </a:lnTo>
                  <a:lnTo>
                    <a:pt x="360" y="864"/>
                  </a:lnTo>
                  <a:lnTo>
                    <a:pt x="354" y="864"/>
                  </a:lnTo>
                  <a:lnTo>
                    <a:pt x="354" y="870"/>
                  </a:lnTo>
                  <a:lnTo>
                    <a:pt x="354" y="864"/>
                  </a:lnTo>
                  <a:lnTo>
                    <a:pt x="348" y="864"/>
                  </a:lnTo>
                  <a:lnTo>
                    <a:pt x="342" y="864"/>
                  </a:lnTo>
                  <a:lnTo>
                    <a:pt x="342" y="858"/>
                  </a:lnTo>
                  <a:lnTo>
                    <a:pt x="336" y="858"/>
                  </a:lnTo>
                  <a:lnTo>
                    <a:pt x="330" y="858"/>
                  </a:lnTo>
                  <a:lnTo>
                    <a:pt x="324" y="858"/>
                  </a:lnTo>
                  <a:lnTo>
                    <a:pt x="318" y="858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0" y="852"/>
                  </a:lnTo>
                  <a:lnTo>
                    <a:pt x="294" y="852"/>
                  </a:lnTo>
                  <a:lnTo>
                    <a:pt x="294" y="846"/>
                  </a:lnTo>
                  <a:lnTo>
                    <a:pt x="288" y="840"/>
                  </a:lnTo>
                  <a:lnTo>
                    <a:pt x="288" y="828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2" y="816"/>
                  </a:lnTo>
                  <a:lnTo>
                    <a:pt x="282" y="810"/>
                  </a:lnTo>
                  <a:lnTo>
                    <a:pt x="276" y="810"/>
                  </a:lnTo>
                  <a:lnTo>
                    <a:pt x="276" y="804"/>
                  </a:lnTo>
                  <a:lnTo>
                    <a:pt x="276" y="798"/>
                  </a:lnTo>
                  <a:lnTo>
                    <a:pt x="276" y="792"/>
                  </a:lnTo>
                  <a:lnTo>
                    <a:pt x="270" y="786"/>
                  </a:lnTo>
                  <a:lnTo>
                    <a:pt x="270" y="780"/>
                  </a:lnTo>
                  <a:lnTo>
                    <a:pt x="270" y="774"/>
                  </a:lnTo>
                  <a:lnTo>
                    <a:pt x="264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64" y="750"/>
                  </a:lnTo>
                  <a:lnTo>
                    <a:pt x="264" y="744"/>
                  </a:lnTo>
                  <a:lnTo>
                    <a:pt x="264" y="738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26"/>
                  </a:lnTo>
                  <a:lnTo>
                    <a:pt x="276" y="720"/>
                  </a:lnTo>
                  <a:lnTo>
                    <a:pt x="282" y="720"/>
                  </a:lnTo>
                  <a:lnTo>
                    <a:pt x="282" y="714"/>
                  </a:lnTo>
                  <a:lnTo>
                    <a:pt x="282" y="708"/>
                  </a:lnTo>
                  <a:lnTo>
                    <a:pt x="276" y="708"/>
                  </a:lnTo>
                  <a:lnTo>
                    <a:pt x="276" y="702"/>
                  </a:lnTo>
                  <a:lnTo>
                    <a:pt x="270" y="702"/>
                  </a:lnTo>
                  <a:lnTo>
                    <a:pt x="270" y="696"/>
                  </a:lnTo>
                  <a:lnTo>
                    <a:pt x="264" y="690"/>
                  </a:lnTo>
                  <a:lnTo>
                    <a:pt x="258" y="690"/>
                  </a:lnTo>
                  <a:lnTo>
                    <a:pt x="258" y="684"/>
                  </a:lnTo>
                  <a:lnTo>
                    <a:pt x="252" y="684"/>
                  </a:lnTo>
                  <a:lnTo>
                    <a:pt x="252" y="678"/>
                  </a:lnTo>
                  <a:lnTo>
                    <a:pt x="246" y="678"/>
                  </a:lnTo>
                  <a:lnTo>
                    <a:pt x="240" y="678"/>
                  </a:lnTo>
                  <a:lnTo>
                    <a:pt x="240" y="684"/>
                  </a:lnTo>
                  <a:lnTo>
                    <a:pt x="246" y="684"/>
                  </a:lnTo>
                  <a:lnTo>
                    <a:pt x="252" y="690"/>
                  </a:lnTo>
                  <a:lnTo>
                    <a:pt x="258" y="690"/>
                  </a:lnTo>
                  <a:lnTo>
                    <a:pt x="258" y="696"/>
                  </a:lnTo>
                  <a:lnTo>
                    <a:pt x="258" y="702"/>
                  </a:lnTo>
                  <a:lnTo>
                    <a:pt x="264" y="702"/>
                  </a:lnTo>
                  <a:lnTo>
                    <a:pt x="270" y="708"/>
                  </a:lnTo>
                  <a:lnTo>
                    <a:pt x="270" y="714"/>
                  </a:lnTo>
                  <a:lnTo>
                    <a:pt x="270" y="720"/>
                  </a:lnTo>
                  <a:lnTo>
                    <a:pt x="276" y="720"/>
                  </a:lnTo>
                  <a:lnTo>
                    <a:pt x="270" y="720"/>
                  </a:lnTo>
                  <a:lnTo>
                    <a:pt x="270" y="726"/>
                  </a:lnTo>
                  <a:lnTo>
                    <a:pt x="264" y="726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52" y="738"/>
                  </a:lnTo>
                  <a:lnTo>
                    <a:pt x="252" y="744"/>
                  </a:lnTo>
                  <a:lnTo>
                    <a:pt x="252" y="750"/>
                  </a:lnTo>
                  <a:lnTo>
                    <a:pt x="252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58" y="774"/>
                  </a:lnTo>
                  <a:lnTo>
                    <a:pt x="258" y="780"/>
                  </a:lnTo>
                  <a:lnTo>
                    <a:pt x="264" y="786"/>
                  </a:lnTo>
                  <a:lnTo>
                    <a:pt x="264" y="792"/>
                  </a:lnTo>
                  <a:lnTo>
                    <a:pt x="264" y="798"/>
                  </a:lnTo>
                  <a:lnTo>
                    <a:pt x="270" y="810"/>
                  </a:lnTo>
                  <a:lnTo>
                    <a:pt x="270" y="816"/>
                  </a:lnTo>
                  <a:lnTo>
                    <a:pt x="270" y="822"/>
                  </a:lnTo>
                  <a:lnTo>
                    <a:pt x="276" y="822"/>
                  </a:lnTo>
                  <a:lnTo>
                    <a:pt x="276" y="828"/>
                  </a:lnTo>
                  <a:lnTo>
                    <a:pt x="276" y="834"/>
                  </a:lnTo>
                  <a:lnTo>
                    <a:pt x="276" y="840"/>
                  </a:lnTo>
                  <a:lnTo>
                    <a:pt x="276" y="846"/>
                  </a:lnTo>
                  <a:lnTo>
                    <a:pt x="282" y="852"/>
                  </a:lnTo>
                  <a:lnTo>
                    <a:pt x="282" y="858"/>
                  </a:lnTo>
                  <a:lnTo>
                    <a:pt x="294" y="864"/>
                  </a:lnTo>
                  <a:lnTo>
                    <a:pt x="300" y="870"/>
                  </a:lnTo>
                  <a:lnTo>
                    <a:pt x="300" y="876"/>
                  </a:lnTo>
                  <a:lnTo>
                    <a:pt x="288" y="876"/>
                  </a:lnTo>
                  <a:lnTo>
                    <a:pt x="282" y="876"/>
                  </a:lnTo>
                  <a:lnTo>
                    <a:pt x="276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2" y="882"/>
                  </a:lnTo>
                  <a:lnTo>
                    <a:pt x="246" y="882"/>
                  </a:lnTo>
                  <a:lnTo>
                    <a:pt x="240" y="882"/>
                  </a:lnTo>
                  <a:lnTo>
                    <a:pt x="234" y="882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204" y="876"/>
                  </a:lnTo>
                  <a:lnTo>
                    <a:pt x="198" y="876"/>
                  </a:lnTo>
                  <a:lnTo>
                    <a:pt x="198" y="870"/>
                  </a:lnTo>
                  <a:lnTo>
                    <a:pt x="198" y="852"/>
                  </a:lnTo>
                  <a:lnTo>
                    <a:pt x="198" y="846"/>
                  </a:lnTo>
                  <a:lnTo>
                    <a:pt x="204" y="846"/>
                  </a:lnTo>
                  <a:lnTo>
                    <a:pt x="198" y="840"/>
                  </a:lnTo>
                  <a:lnTo>
                    <a:pt x="198" y="834"/>
                  </a:lnTo>
                  <a:lnTo>
                    <a:pt x="198" y="828"/>
                  </a:lnTo>
                  <a:lnTo>
                    <a:pt x="198" y="822"/>
                  </a:lnTo>
                  <a:lnTo>
                    <a:pt x="198" y="816"/>
                  </a:lnTo>
                  <a:lnTo>
                    <a:pt x="198" y="810"/>
                  </a:lnTo>
                  <a:lnTo>
                    <a:pt x="192" y="810"/>
                  </a:lnTo>
                  <a:lnTo>
                    <a:pt x="192" y="804"/>
                  </a:lnTo>
                  <a:lnTo>
                    <a:pt x="192" y="798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2" y="774"/>
                  </a:lnTo>
                  <a:lnTo>
                    <a:pt x="192" y="768"/>
                  </a:lnTo>
                  <a:lnTo>
                    <a:pt x="198" y="768"/>
                  </a:lnTo>
                  <a:lnTo>
                    <a:pt x="198" y="762"/>
                  </a:lnTo>
                  <a:lnTo>
                    <a:pt x="198" y="756"/>
                  </a:lnTo>
                  <a:lnTo>
                    <a:pt x="204" y="756"/>
                  </a:lnTo>
                  <a:lnTo>
                    <a:pt x="204" y="750"/>
                  </a:lnTo>
                  <a:lnTo>
                    <a:pt x="210" y="744"/>
                  </a:lnTo>
                  <a:lnTo>
                    <a:pt x="210" y="738"/>
                  </a:lnTo>
                  <a:lnTo>
                    <a:pt x="210" y="732"/>
                  </a:lnTo>
                  <a:lnTo>
                    <a:pt x="210" y="726"/>
                  </a:lnTo>
                  <a:lnTo>
                    <a:pt x="210" y="720"/>
                  </a:lnTo>
                  <a:lnTo>
                    <a:pt x="204" y="714"/>
                  </a:lnTo>
                  <a:lnTo>
                    <a:pt x="204" y="720"/>
                  </a:lnTo>
                  <a:lnTo>
                    <a:pt x="204" y="732"/>
                  </a:lnTo>
                  <a:lnTo>
                    <a:pt x="204" y="738"/>
                  </a:lnTo>
                  <a:lnTo>
                    <a:pt x="198" y="738"/>
                  </a:lnTo>
                  <a:lnTo>
                    <a:pt x="198" y="744"/>
                  </a:lnTo>
                  <a:lnTo>
                    <a:pt x="198" y="750"/>
                  </a:lnTo>
                  <a:lnTo>
                    <a:pt x="192" y="756"/>
                  </a:lnTo>
                  <a:lnTo>
                    <a:pt x="186" y="762"/>
                  </a:lnTo>
                  <a:lnTo>
                    <a:pt x="186" y="768"/>
                  </a:lnTo>
                  <a:lnTo>
                    <a:pt x="186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98"/>
                  </a:lnTo>
                  <a:lnTo>
                    <a:pt x="186" y="804"/>
                  </a:lnTo>
                  <a:lnTo>
                    <a:pt x="186" y="810"/>
                  </a:lnTo>
                  <a:lnTo>
                    <a:pt x="192" y="816"/>
                  </a:lnTo>
                  <a:lnTo>
                    <a:pt x="192" y="828"/>
                  </a:lnTo>
                  <a:lnTo>
                    <a:pt x="192" y="834"/>
                  </a:lnTo>
                  <a:lnTo>
                    <a:pt x="186" y="834"/>
                  </a:lnTo>
                  <a:lnTo>
                    <a:pt x="186" y="828"/>
                  </a:lnTo>
                  <a:lnTo>
                    <a:pt x="180" y="822"/>
                  </a:lnTo>
                  <a:lnTo>
                    <a:pt x="180" y="816"/>
                  </a:lnTo>
                  <a:lnTo>
                    <a:pt x="180" y="810"/>
                  </a:lnTo>
                  <a:lnTo>
                    <a:pt x="174" y="810"/>
                  </a:lnTo>
                  <a:lnTo>
                    <a:pt x="174" y="804"/>
                  </a:lnTo>
                  <a:lnTo>
                    <a:pt x="174" y="798"/>
                  </a:lnTo>
                  <a:lnTo>
                    <a:pt x="174" y="792"/>
                  </a:lnTo>
                  <a:lnTo>
                    <a:pt x="168" y="786"/>
                  </a:lnTo>
                  <a:lnTo>
                    <a:pt x="168" y="780"/>
                  </a:lnTo>
                  <a:lnTo>
                    <a:pt x="162" y="780"/>
                  </a:lnTo>
                  <a:lnTo>
                    <a:pt x="168" y="774"/>
                  </a:lnTo>
                  <a:lnTo>
                    <a:pt x="168" y="768"/>
                  </a:lnTo>
                  <a:lnTo>
                    <a:pt x="174" y="768"/>
                  </a:lnTo>
                  <a:lnTo>
                    <a:pt x="168" y="768"/>
                  </a:lnTo>
                  <a:lnTo>
                    <a:pt x="162" y="774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50" y="774"/>
                  </a:lnTo>
                  <a:lnTo>
                    <a:pt x="144" y="774"/>
                  </a:lnTo>
                  <a:lnTo>
                    <a:pt x="144" y="768"/>
                  </a:lnTo>
                  <a:lnTo>
                    <a:pt x="144" y="762"/>
                  </a:lnTo>
                  <a:lnTo>
                    <a:pt x="138" y="756"/>
                  </a:lnTo>
                  <a:lnTo>
                    <a:pt x="132" y="756"/>
                  </a:lnTo>
                  <a:lnTo>
                    <a:pt x="138" y="756"/>
                  </a:lnTo>
                  <a:lnTo>
                    <a:pt x="138" y="762"/>
                  </a:lnTo>
                  <a:lnTo>
                    <a:pt x="138" y="768"/>
                  </a:lnTo>
                  <a:lnTo>
                    <a:pt x="144" y="768"/>
                  </a:lnTo>
                  <a:lnTo>
                    <a:pt x="144" y="774"/>
                  </a:lnTo>
                  <a:lnTo>
                    <a:pt x="150" y="780"/>
                  </a:lnTo>
                  <a:lnTo>
                    <a:pt x="156" y="780"/>
                  </a:lnTo>
                  <a:lnTo>
                    <a:pt x="156" y="786"/>
                  </a:lnTo>
                  <a:lnTo>
                    <a:pt x="162" y="786"/>
                  </a:lnTo>
                  <a:lnTo>
                    <a:pt x="168" y="792"/>
                  </a:lnTo>
                  <a:lnTo>
                    <a:pt x="168" y="798"/>
                  </a:lnTo>
                  <a:lnTo>
                    <a:pt x="168" y="804"/>
                  </a:lnTo>
                  <a:lnTo>
                    <a:pt x="174" y="810"/>
                  </a:lnTo>
                  <a:lnTo>
                    <a:pt x="174" y="816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68" y="828"/>
                  </a:lnTo>
                  <a:lnTo>
                    <a:pt x="168" y="834"/>
                  </a:lnTo>
                  <a:lnTo>
                    <a:pt x="174" y="840"/>
                  </a:lnTo>
                  <a:lnTo>
                    <a:pt x="180" y="840"/>
                  </a:lnTo>
                  <a:lnTo>
                    <a:pt x="180" y="846"/>
                  </a:lnTo>
                  <a:lnTo>
                    <a:pt x="186" y="846"/>
                  </a:lnTo>
                  <a:lnTo>
                    <a:pt x="186" y="852"/>
                  </a:lnTo>
                  <a:lnTo>
                    <a:pt x="186" y="858"/>
                  </a:lnTo>
                  <a:lnTo>
                    <a:pt x="186" y="864"/>
                  </a:lnTo>
                  <a:lnTo>
                    <a:pt x="192" y="864"/>
                  </a:lnTo>
                  <a:lnTo>
                    <a:pt x="192" y="870"/>
                  </a:lnTo>
                  <a:lnTo>
                    <a:pt x="192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6" y="888"/>
                  </a:lnTo>
                  <a:lnTo>
                    <a:pt x="180" y="888"/>
                  </a:lnTo>
                  <a:lnTo>
                    <a:pt x="174" y="888"/>
                  </a:lnTo>
                  <a:lnTo>
                    <a:pt x="168" y="894"/>
                  </a:lnTo>
                  <a:lnTo>
                    <a:pt x="162" y="894"/>
                  </a:lnTo>
                  <a:lnTo>
                    <a:pt x="156" y="894"/>
                  </a:lnTo>
                  <a:lnTo>
                    <a:pt x="150" y="894"/>
                  </a:lnTo>
                  <a:lnTo>
                    <a:pt x="144" y="894"/>
                  </a:lnTo>
                  <a:lnTo>
                    <a:pt x="144" y="900"/>
                  </a:lnTo>
                  <a:lnTo>
                    <a:pt x="138" y="894"/>
                  </a:lnTo>
                  <a:lnTo>
                    <a:pt x="138" y="900"/>
                  </a:lnTo>
                  <a:lnTo>
                    <a:pt x="132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6" y="882"/>
                  </a:lnTo>
                  <a:lnTo>
                    <a:pt x="126" y="876"/>
                  </a:lnTo>
                  <a:lnTo>
                    <a:pt x="120" y="876"/>
                  </a:lnTo>
                  <a:lnTo>
                    <a:pt x="126" y="870"/>
                  </a:lnTo>
                  <a:lnTo>
                    <a:pt x="126" y="864"/>
                  </a:lnTo>
                  <a:lnTo>
                    <a:pt x="126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26" y="828"/>
                  </a:lnTo>
                  <a:lnTo>
                    <a:pt x="126" y="822"/>
                  </a:lnTo>
                  <a:lnTo>
                    <a:pt x="126" y="816"/>
                  </a:lnTo>
                  <a:lnTo>
                    <a:pt x="126" y="810"/>
                  </a:lnTo>
                  <a:lnTo>
                    <a:pt x="126" y="804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20" y="792"/>
                  </a:lnTo>
                  <a:lnTo>
                    <a:pt x="114" y="792"/>
                  </a:lnTo>
                  <a:lnTo>
                    <a:pt x="114" y="786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96" y="780"/>
                  </a:lnTo>
                  <a:lnTo>
                    <a:pt x="96" y="774"/>
                  </a:lnTo>
                  <a:lnTo>
                    <a:pt x="90" y="774"/>
                  </a:lnTo>
                  <a:lnTo>
                    <a:pt x="90" y="768"/>
                  </a:lnTo>
                  <a:close/>
                  <a:moveTo>
                    <a:pt x="96" y="780"/>
                  </a:moveTo>
                  <a:lnTo>
                    <a:pt x="102" y="780"/>
                  </a:lnTo>
                  <a:lnTo>
                    <a:pt x="102" y="786"/>
                  </a:lnTo>
                  <a:lnTo>
                    <a:pt x="108" y="786"/>
                  </a:lnTo>
                  <a:lnTo>
                    <a:pt x="114" y="792"/>
                  </a:lnTo>
                  <a:lnTo>
                    <a:pt x="120" y="798"/>
                  </a:lnTo>
                  <a:lnTo>
                    <a:pt x="120" y="804"/>
                  </a:lnTo>
                  <a:lnTo>
                    <a:pt x="126" y="810"/>
                  </a:lnTo>
                  <a:lnTo>
                    <a:pt x="126" y="816"/>
                  </a:lnTo>
                  <a:lnTo>
                    <a:pt x="126" y="822"/>
                  </a:lnTo>
                  <a:lnTo>
                    <a:pt x="120" y="828"/>
                  </a:lnTo>
                  <a:lnTo>
                    <a:pt x="120" y="840"/>
                  </a:lnTo>
                  <a:lnTo>
                    <a:pt x="120" y="852"/>
                  </a:lnTo>
                  <a:lnTo>
                    <a:pt x="120" y="858"/>
                  </a:lnTo>
                  <a:lnTo>
                    <a:pt x="120" y="864"/>
                  </a:lnTo>
                  <a:lnTo>
                    <a:pt x="120" y="870"/>
                  </a:lnTo>
                  <a:lnTo>
                    <a:pt x="114" y="870"/>
                  </a:lnTo>
                  <a:lnTo>
                    <a:pt x="108" y="870"/>
                  </a:lnTo>
                  <a:lnTo>
                    <a:pt x="108" y="876"/>
                  </a:lnTo>
                  <a:lnTo>
                    <a:pt x="114" y="876"/>
                  </a:lnTo>
                  <a:lnTo>
                    <a:pt x="120" y="876"/>
                  </a:lnTo>
                  <a:lnTo>
                    <a:pt x="120" y="882"/>
                  </a:lnTo>
                  <a:lnTo>
                    <a:pt x="114" y="888"/>
                  </a:lnTo>
                  <a:lnTo>
                    <a:pt x="120" y="888"/>
                  </a:lnTo>
                  <a:lnTo>
                    <a:pt x="120" y="894"/>
                  </a:lnTo>
                  <a:lnTo>
                    <a:pt x="114" y="894"/>
                  </a:lnTo>
                  <a:lnTo>
                    <a:pt x="108" y="894"/>
                  </a:lnTo>
                  <a:lnTo>
                    <a:pt x="96" y="894"/>
                  </a:lnTo>
                  <a:lnTo>
                    <a:pt x="96" y="882"/>
                  </a:lnTo>
                  <a:lnTo>
                    <a:pt x="96" y="876"/>
                  </a:lnTo>
                  <a:lnTo>
                    <a:pt x="84" y="870"/>
                  </a:lnTo>
                  <a:lnTo>
                    <a:pt x="72" y="864"/>
                  </a:lnTo>
                  <a:lnTo>
                    <a:pt x="72" y="852"/>
                  </a:lnTo>
                  <a:lnTo>
                    <a:pt x="72" y="840"/>
                  </a:lnTo>
                  <a:lnTo>
                    <a:pt x="78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90" y="792"/>
                  </a:lnTo>
                  <a:lnTo>
                    <a:pt x="96" y="780"/>
                  </a:lnTo>
                  <a:close/>
                  <a:moveTo>
                    <a:pt x="492" y="810"/>
                  </a:moveTo>
                  <a:lnTo>
                    <a:pt x="498" y="810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510" y="792"/>
                  </a:lnTo>
                  <a:lnTo>
                    <a:pt x="516" y="786"/>
                  </a:lnTo>
                  <a:lnTo>
                    <a:pt x="522" y="780"/>
                  </a:lnTo>
                  <a:lnTo>
                    <a:pt x="522" y="774"/>
                  </a:lnTo>
                  <a:lnTo>
                    <a:pt x="528" y="768"/>
                  </a:lnTo>
                  <a:lnTo>
                    <a:pt x="528" y="762"/>
                  </a:lnTo>
                  <a:lnTo>
                    <a:pt x="534" y="762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46" y="780"/>
                  </a:lnTo>
                  <a:lnTo>
                    <a:pt x="552" y="786"/>
                  </a:lnTo>
                  <a:lnTo>
                    <a:pt x="558" y="786"/>
                  </a:lnTo>
                  <a:lnTo>
                    <a:pt x="564" y="786"/>
                  </a:lnTo>
                  <a:lnTo>
                    <a:pt x="576" y="786"/>
                  </a:lnTo>
                  <a:lnTo>
                    <a:pt x="582" y="786"/>
                  </a:lnTo>
                  <a:lnTo>
                    <a:pt x="588" y="786"/>
                  </a:lnTo>
                  <a:lnTo>
                    <a:pt x="594" y="786"/>
                  </a:lnTo>
                  <a:lnTo>
                    <a:pt x="588" y="792"/>
                  </a:lnTo>
                  <a:lnTo>
                    <a:pt x="588" y="798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82" y="822"/>
                  </a:lnTo>
                  <a:lnTo>
                    <a:pt x="588" y="828"/>
                  </a:lnTo>
                  <a:lnTo>
                    <a:pt x="588" y="834"/>
                  </a:lnTo>
                  <a:lnTo>
                    <a:pt x="582" y="840"/>
                  </a:lnTo>
                  <a:lnTo>
                    <a:pt x="570" y="840"/>
                  </a:lnTo>
                  <a:lnTo>
                    <a:pt x="558" y="846"/>
                  </a:lnTo>
                  <a:lnTo>
                    <a:pt x="552" y="846"/>
                  </a:lnTo>
                  <a:lnTo>
                    <a:pt x="534" y="852"/>
                  </a:lnTo>
                  <a:lnTo>
                    <a:pt x="522" y="858"/>
                  </a:lnTo>
                  <a:lnTo>
                    <a:pt x="510" y="858"/>
                  </a:lnTo>
                  <a:lnTo>
                    <a:pt x="498" y="864"/>
                  </a:lnTo>
                  <a:lnTo>
                    <a:pt x="474" y="864"/>
                  </a:lnTo>
                  <a:lnTo>
                    <a:pt x="468" y="858"/>
                  </a:lnTo>
                  <a:lnTo>
                    <a:pt x="468" y="852"/>
                  </a:lnTo>
                  <a:lnTo>
                    <a:pt x="468" y="846"/>
                  </a:lnTo>
                  <a:lnTo>
                    <a:pt x="474" y="840"/>
                  </a:lnTo>
                  <a:lnTo>
                    <a:pt x="474" y="834"/>
                  </a:lnTo>
                  <a:lnTo>
                    <a:pt x="480" y="828"/>
                  </a:lnTo>
                  <a:lnTo>
                    <a:pt x="492" y="822"/>
                  </a:lnTo>
                  <a:lnTo>
                    <a:pt x="492" y="810"/>
                  </a:lnTo>
                  <a:close/>
                  <a:moveTo>
                    <a:pt x="384" y="720"/>
                  </a:moveTo>
                  <a:lnTo>
                    <a:pt x="384" y="726"/>
                  </a:lnTo>
                  <a:lnTo>
                    <a:pt x="390" y="726"/>
                  </a:lnTo>
                  <a:lnTo>
                    <a:pt x="396" y="726"/>
                  </a:lnTo>
                  <a:lnTo>
                    <a:pt x="402" y="732"/>
                  </a:lnTo>
                  <a:lnTo>
                    <a:pt x="408" y="732"/>
                  </a:lnTo>
                  <a:lnTo>
                    <a:pt x="414" y="732"/>
                  </a:lnTo>
                  <a:lnTo>
                    <a:pt x="414" y="738"/>
                  </a:lnTo>
                  <a:lnTo>
                    <a:pt x="414" y="744"/>
                  </a:lnTo>
                  <a:lnTo>
                    <a:pt x="414" y="750"/>
                  </a:lnTo>
                  <a:lnTo>
                    <a:pt x="414" y="756"/>
                  </a:lnTo>
                  <a:lnTo>
                    <a:pt x="414" y="762"/>
                  </a:lnTo>
                  <a:lnTo>
                    <a:pt x="420" y="768"/>
                  </a:lnTo>
                  <a:lnTo>
                    <a:pt x="420" y="774"/>
                  </a:lnTo>
                  <a:lnTo>
                    <a:pt x="426" y="780"/>
                  </a:lnTo>
                  <a:lnTo>
                    <a:pt x="426" y="786"/>
                  </a:lnTo>
                  <a:lnTo>
                    <a:pt x="420" y="786"/>
                  </a:lnTo>
                  <a:lnTo>
                    <a:pt x="420" y="792"/>
                  </a:lnTo>
                  <a:lnTo>
                    <a:pt x="420" y="798"/>
                  </a:lnTo>
                  <a:lnTo>
                    <a:pt x="420" y="804"/>
                  </a:lnTo>
                  <a:lnTo>
                    <a:pt x="426" y="804"/>
                  </a:lnTo>
                  <a:lnTo>
                    <a:pt x="426" y="810"/>
                  </a:lnTo>
                  <a:lnTo>
                    <a:pt x="426" y="816"/>
                  </a:lnTo>
                  <a:lnTo>
                    <a:pt x="432" y="816"/>
                  </a:lnTo>
                  <a:lnTo>
                    <a:pt x="438" y="816"/>
                  </a:lnTo>
                  <a:lnTo>
                    <a:pt x="438" y="822"/>
                  </a:lnTo>
                  <a:lnTo>
                    <a:pt x="432" y="822"/>
                  </a:lnTo>
                  <a:lnTo>
                    <a:pt x="426" y="828"/>
                  </a:lnTo>
                  <a:lnTo>
                    <a:pt x="420" y="828"/>
                  </a:lnTo>
                  <a:lnTo>
                    <a:pt x="414" y="828"/>
                  </a:lnTo>
                  <a:lnTo>
                    <a:pt x="408" y="828"/>
                  </a:lnTo>
                  <a:lnTo>
                    <a:pt x="402" y="828"/>
                  </a:lnTo>
                  <a:lnTo>
                    <a:pt x="402" y="822"/>
                  </a:lnTo>
                  <a:lnTo>
                    <a:pt x="396" y="822"/>
                  </a:lnTo>
                  <a:lnTo>
                    <a:pt x="402" y="822"/>
                  </a:lnTo>
                  <a:lnTo>
                    <a:pt x="402" y="816"/>
                  </a:lnTo>
                  <a:lnTo>
                    <a:pt x="396" y="816"/>
                  </a:lnTo>
                  <a:lnTo>
                    <a:pt x="396" y="810"/>
                  </a:lnTo>
                  <a:lnTo>
                    <a:pt x="396" y="804"/>
                  </a:lnTo>
                  <a:lnTo>
                    <a:pt x="390" y="798"/>
                  </a:lnTo>
                  <a:lnTo>
                    <a:pt x="390" y="792"/>
                  </a:lnTo>
                  <a:lnTo>
                    <a:pt x="390" y="786"/>
                  </a:lnTo>
                  <a:lnTo>
                    <a:pt x="390" y="780"/>
                  </a:lnTo>
                  <a:lnTo>
                    <a:pt x="390" y="774"/>
                  </a:lnTo>
                  <a:lnTo>
                    <a:pt x="390" y="768"/>
                  </a:lnTo>
                  <a:lnTo>
                    <a:pt x="390" y="762"/>
                  </a:lnTo>
                  <a:lnTo>
                    <a:pt x="384" y="756"/>
                  </a:lnTo>
                  <a:lnTo>
                    <a:pt x="384" y="750"/>
                  </a:lnTo>
                  <a:lnTo>
                    <a:pt x="384" y="744"/>
                  </a:lnTo>
                  <a:lnTo>
                    <a:pt x="378" y="744"/>
                  </a:lnTo>
                  <a:lnTo>
                    <a:pt x="384" y="744"/>
                  </a:lnTo>
                  <a:lnTo>
                    <a:pt x="384" y="738"/>
                  </a:lnTo>
                  <a:lnTo>
                    <a:pt x="378" y="738"/>
                  </a:lnTo>
                  <a:lnTo>
                    <a:pt x="378" y="732"/>
                  </a:lnTo>
                  <a:lnTo>
                    <a:pt x="378" y="726"/>
                  </a:lnTo>
                  <a:lnTo>
                    <a:pt x="378" y="720"/>
                  </a:lnTo>
                  <a:lnTo>
                    <a:pt x="384" y="720"/>
                  </a:lnTo>
                  <a:close/>
                  <a:moveTo>
                    <a:pt x="330" y="738"/>
                  </a:moveTo>
                  <a:lnTo>
                    <a:pt x="336" y="732"/>
                  </a:lnTo>
                  <a:lnTo>
                    <a:pt x="336" y="726"/>
                  </a:lnTo>
                  <a:lnTo>
                    <a:pt x="342" y="720"/>
                  </a:lnTo>
                  <a:lnTo>
                    <a:pt x="348" y="720"/>
                  </a:lnTo>
                  <a:lnTo>
                    <a:pt x="360" y="720"/>
                  </a:lnTo>
                  <a:lnTo>
                    <a:pt x="366" y="726"/>
                  </a:lnTo>
                  <a:lnTo>
                    <a:pt x="372" y="732"/>
                  </a:lnTo>
                  <a:lnTo>
                    <a:pt x="372" y="738"/>
                  </a:lnTo>
                  <a:lnTo>
                    <a:pt x="366" y="750"/>
                  </a:lnTo>
                  <a:lnTo>
                    <a:pt x="372" y="756"/>
                  </a:lnTo>
                  <a:lnTo>
                    <a:pt x="372" y="762"/>
                  </a:lnTo>
                  <a:lnTo>
                    <a:pt x="372" y="768"/>
                  </a:lnTo>
                  <a:lnTo>
                    <a:pt x="372" y="774"/>
                  </a:lnTo>
                  <a:lnTo>
                    <a:pt x="372" y="780"/>
                  </a:lnTo>
                  <a:lnTo>
                    <a:pt x="372" y="774"/>
                  </a:lnTo>
                  <a:lnTo>
                    <a:pt x="366" y="768"/>
                  </a:lnTo>
                  <a:lnTo>
                    <a:pt x="366" y="762"/>
                  </a:lnTo>
                  <a:lnTo>
                    <a:pt x="366" y="756"/>
                  </a:lnTo>
                  <a:lnTo>
                    <a:pt x="360" y="756"/>
                  </a:lnTo>
                  <a:lnTo>
                    <a:pt x="360" y="750"/>
                  </a:lnTo>
                  <a:lnTo>
                    <a:pt x="354" y="750"/>
                  </a:lnTo>
                  <a:lnTo>
                    <a:pt x="348" y="744"/>
                  </a:lnTo>
                  <a:lnTo>
                    <a:pt x="342" y="744"/>
                  </a:lnTo>
                  <a:lnTo>
                    <a:pt x="336" y="744"/>
                  </a:lnTo>
                  <a:lnTo>
                    <a:pt x="330" y="73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1" name="Freeform 6">
              <a:extLst>
                <a:ext uri="{FF2B5EF4-FFF2-40B4-BE49-F238E27FC236}">
                  <a16:creationId xmlns:a16="http://schemas.microsoft.com/office/drawing/2014/main" id="{0656C385-F30A-4AC8-AE9F-B1F66208B38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3123" y="4163918"/>
              <a:ext cx="266107" cy="248252"/>
            </a:xfrm>
            <a:custGeom>
              <a:avLst/>
              <a:gdLst>
                <a:gd name="T0" fmla="*/ 33 w 504"/>
                <a:gd name="T1" fmla="*/ 41 h 468"/>
                <a:gd name="T2" fmla="*/ 26 w 504"/>
                <a:gd name="T3" fmla="*/ 39 h 468"/>
                <a:gd name="T4" fmla="*/ 21 w 504"/>
                <a:gd name="T5" fmla="*/ 38 h 468"/>
                <a:gd name="T6" fmla="*/ 18 w 504"/>
                <a:gd name="T7" fmla="*/ 38 h 468"/>
                <a:gd name="T8" fmla="*/ 15 w 504"/>
                <a:gd name="T9" fmla="*/ 39 h 468"/>
                <a:gd name="T10" fmla="*/ 12 w 504"/>
                <a:gd name="T11" fmla="*/ 38 h 468"/>
                <a:gd name="T12" fmla="*/ 9 w 504"/>
                <a:gd name="T13" fmla="*/ 37 h 468"/>
                <a:gd name="T14" fmla="*/ 7 w 504"/>
                <a:gd name="T15" fmla="*/ 32 h 468"/>
                <a:gd name="T16" fmla="*/ 6 w 504"/>
                <a:gd name="T17" fmla="*/ 26 h 468"/>
                <a:gd name="T18" fmla="*/ 3 w 504"/>
                <a:gd name="T19" fmla="*/ 24 h 468"/>
                <a:gd name="T20" fmla="*/ 1 w 504"/>
                <a:gd name="T21" fmla="*/ 24 h 468"/>
                <a:gd name="T22" fmla="*/ 2 w 504"/>
                <a:gd name="T23" fmla="*/ 18 h 468"/>
                <a:gd name="T24" fmla="*/ 1 w 504"/>
                <a:gd name="T25" fmla="*/ 17 h 468"/>
                <a:gd name="T26" fmla="*/ 0 w 504"/>
                <a:gd name="T27" fmla="*/ 17 h 468"/>
                <a:gd name="T28" fmla="*/ 0 w 504"/>
                <a:gd name="T29" fmla="*/ 15 h 468"/>
                <a:gd name="T30" fmla="*/ 2 w 504"/>
                <a:gd name="T31" fmla="*/ 12 h 468"/>
                <a:gd name="T32" fmla="*/ 4 w 504"/>
                <a:gd name="T33" fmla="*/ 10 h 468"/>
                <a:gd name="T34" fmla="*/ 6 w 504"/>
                <a:gd name="T35" fmla="*/ 8 h 468"/>
                <a:gd name="T36" fmla="*/ 8 w 504"/>
                <a:gd name="T37" fmla="*/ 8 h 468"/>
                <a:gd name="T38" fmla="*/ 10 w 504"/>
                <a:gd name="T39" fmla="*/ 9 h 468"/>
                <a:gd name="T40" fmla="*/ 12 w 504"/>
                <a:gd name="T41" fmla="*/ 10 h 468"/>
                <a:gd name="T42" fmla="*/ 12 w 504"/>
                <a:gd name="T43" fmla="*/ 11 h 468"/>
                <a:gd name="T44" fmla="*/ 14 w 504"/>
                <a:gd name="T45" fmla="*/ 8 h 468"/>
                <a:gd name="T46" fmla="*/ 15 w 504"/>
                <a:gd name="T47" fmla="*/ 7 h 468"/>
                <a:gd name="T48" fmla="*/ 17 w 504"/>
                <a:gd name="T49" fmla="*/ 6 h 468"/>
                <a:gd name="T50" fmla="*/ 19 w 504"/>
                <a:gd name="T51" fmla="*/ 3 h 468"/>
                <a:gd name="T52" fmla="*/ 20 w 504"/>
                <a:gd name="T53" fmla="*/ 2 h 468"/>
                <a:gd name="T54" fmla="*/ 22 w 504"/>
                <a:gd name="T55" fmla="*/ 1 h 468"/>
                <a:gd name="T56" fmla="*/ 27 w 504"/>
                <a:gd name="T57" fmla="*/ 1 h 468"/>
                <a:gd name="T58" fmla="*/ 30 w 504"/>
                <a:gd name="T59" fmla="*/ 2 h 468"/>
                <a:gd name="T60" fmla="*/ 31 w 504"/>
                <a:gd name="T61" fmla="*/ 2 h 468"/>
                <a:gd name="T62" fmla="*/ 34 w 504"/>
                <a:gd name="T63" fmla="*/ 0 h 468"/>
                <a:gd name="T64" fmla="*/ 37 w 504"/>
                <a:gd name="T65" fmla="*/ 1 h 468"/>
                <a:gd name="T66" fmla="*/ 41 w 504"/>
                <a:gd name="T67" fmla="*/ 2 h 468"/>
                <a:gd name="T68" fmla="*/ 42 w 504"/>
                <a:gd name="T69" fmla="*/ 4 h 468"/>
                <a:gd name="T70" fmla="*/ 42 w 504"/>
                <a:gd name="T71" fmla="*/ 10 h 468"/>
                <a:gd name="T72" fmla="*/ 41 w 504"/>
                <a:gd name="T73" fmla="*/ 14 h 468"/>
                <a:gd name="T74" fmla="*/ 42 w 504"/>
                <a:gd name="T75" fmla="*/ 15 h 468"/>
                <a:gd name="T76" fmla="*/ 44 w 504"/>
                <a:gd name="T77" fmla="*/ 18 h 468"/>
                <a:gd name="T78" fmla="*/ 43 w 504"/>
                <a:gd name="T79" fmla="*/ 19 h 468"/>
                <a:gd name="T80" fmla="*/ 42 w 504"/>
                <a:gd name="T81" fmla="*/ 21 h 468"/>
                <a:gd name="T82" fmla="*/ 42 w 504"/>
                <a:gd name="T83" fmla="*/ 23 h 468"/>
                <a:gd name="T84" fmla="*/ 39 w 504"/>
                <a:gd name="T85" fmla="*/ 27 h 468"/>
                <a:gd name="T86" fmla="*/ 38 w 504"/>
                <a:gd name="T87" fmla="*/ 29 h 468"/>
                <a:gd name="T88" fmla="*/ 38 w 504"/>
                <a:gd name="T89" fmla="*/ 31 h 468"/>
                <a:gd name="T90" fmla="*/ 36 w 504"/>
                <a:gd name="T91" fmla="*/ 32 h 468"/>
                <a:gd name="T92" fmla="*/ 35 w 504"/>
                <a:gd name="T93" fmla="*/ 34 h 468"/>
                <a:gd name="T94" fmla="*/ 34 w 504"/>
                <a:gd name="T95" fmla="*/ 38 h 46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04"/>
                <a:gd name="T145" fmla="*/ 0 h 468"/>
                <a:gd name="T146" fmla="*/ 504 w 504"/>
                <a:gd name="T147" fmla="*/ 468 h 46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04" h="468">
                  <a:moveTo>
                    <a:pt x="390" y="456"/>
                  </a:moveTo>
                  <a:lnTo>
                    <a:pt x="384" y="468"/>
                  </a:lnTo>
                  <a:lnTo>
                    <a:pt x="378" y="468"/>
                  </a:lnTo>
                  <a:lnTo>
                    <a:pt x="354" y="468"/>
                  </a:lnTo>
                  <a:lnTo>
                    <a:pt x="348" y="462"/>
                  </a:lnTo>
                  <a:lnTo>
                    <a:pt x="300" y="456"/>
                  </a:lnTo>
                  <a:lnTo>
                    <a:pt x="270" y="444"/>
                  </a:lnTo>
                  <a:lnTo>
                    <a:pt x="252" y="438"/>
                  </a:lnTo>
                  <a:lnTo>
                    <a:pt x="240" y="438"/>
                  </a:lnTo>
                  <a:lnTo>
                    <a:pt x="234" y="438"/>
                  </a:lnTo>
                  <a:lnTo>
                    <a:pt x="228" y="444"/>
                  </a:lnTo>
                  <a:lnTo>
                    <a:pt x="210" y="444"/>
                  </a:lnTo>
                  <a:lnTo>
                    <a:pt x="198" y="444"/>
                  </a:lnTo>
                  <a:lnTo>
                    <a:pt x="198" y="450"/>
                  </a:lnTo>
                  <a:lnTo>
                    <a:pt x="168" y="456"/>
                  </a:lnTo>
                  <a:lnTo>
                    <a:pt x="150" y="450"/>
                  </a:lnTo>
                  <a:lnTo>
                    <a:pt x="144" y="444"/>
                  </a:lnTo>
                  <a:lnTo>
                    <a:pt x="132" y="438"/>
                  </a:lnTo>
                  <a:lnTo>
                    <a:pt x="138" y="432"/>
                  </a:lnTo>
                  <a:lnTo>
                    <a:pt x="114" y="432"/>
                  </a:lnTo>
                  <a:lnTo>
                    <a:pt x="102" y="426"/>
                  </a:lnTo>
                  <a:lnTo>
                    <a:pt x="90" y="414"/>
                  </a:lnTo>
                  <a:lnTo>
                    <a:pt x="72" y="402"/>
                  </a:lnTo>
                  <a:lnTo>
                    <a:pt x="78" y="366"/>
                  </a:lnTo>
                  <a:lnTo>
                    <a:pt x="78" y="330"/>
                  </a:lnTo>
                  <a:lnTo>
                    <a:pt x="66" y="318"/>
                  </a:lnTo>
                  <a:lnTo>
                    <a:pt x="66" y="300"/>
                  </a:lnTo>
                  <a:lnTo>
                    <a:pt x="66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30" y="282"/>
                  </a:lnTo>
                  <a:lnTo>
                    <a:pt x="24" y="282"/>
                  </a:lnTo>
                  <a:lnTo>
                    <a:pt x="12" y="276"/>
                  </a:lnTo>
                  <a:lnTo>
                    <a:pt x="0" y="282"/>
                  </a:lnTo>
                  <a:lnTo>
                    <a:pt x="12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2" y="198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6" y="180"/>
                  </a:lnTo>
                  <a:lnTo>
                    <a:pt x="12" y="186"/>
                  </a:lnTo>
                  <a:lnTo>
                    <a:pt x="18" y="138"/>
                  </a:lnTo>
                  <a:lnTo>
                    <a:pt x="24" y="126"/>
                  </a:lnTo>
                  <a:lnTo>
                    <a:pt x="30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20" y="102"/>
                  </a:lnTo>
                  <a:lnTo>
                    <a:pt x="126" y="108"/>
                  </a:lnTo>
                  <a:lnTo>
                    <a:pt x="126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0"/>
                  </a:lnTo>
                  <a:lnTo>
                    <a:pt x="156" y="96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16" y="42"/>
                  </a:lnTo>
                  <a:lnTo>
                    <a:pt x="222" y="36"/>
                  </a:lnTo>
                  <a:lnTo>
                    <a:pt x="228" y="36"/>
                  </a:lnTo>
                  <a:lnTo>
                    <a:pt x="228" y="30"/>
                  </a:lnTo>
                  <a:lnTo>
                    <a:pt x="228" y="24"/>
                  </a:lnTo>
                  <a:lnTo>
                    <a:pt x="246" y="18"/>
                  </a:lnTo>
                  <a:lnTo>
                    <a:pt x="252" y="18"/>
                  </a:lnTo>
                  <a:lnTo>
                    <a:pt x="258" y="12"/>
                  </a:lnTo>
                  <a:lnTo>
                    <a:pt x="270" y="6"/>
                  </a:lnTo>
                  <a:lnTo>
                    <a:pt x="288" y="6"/>
                  </a:lnTo>
                  <a:lnTo>
                    <a:pt x="312" y="12"/>
                  </a:lnTo>
                  <a:lnTo>
                    <a:pt x="324" y="12"/>
                  </a:lnTo>
                  <a:lnTo>
                    <a:pt x="336" y="18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14" y="12"/>
                  </a:lnTo>
                  <a:lnTo>
                    <a:pt x="426" y="12"/>
                  </a:lnTo>
                  <a:lnTo>
                    <a:pt x="444" y="18"/>
                  </a:lnTo>
                  <a:lnTo>
                    <a:pt x="462" y="18"/>
                  </a:lnTo>
                  <a:lnTo>
                    <a:pt x="474" y="18"/>
                  </a:lnTo>
                  <a:lnTo>
                    <a:pt x="480" y="18"/>
                  </a:lnTo>
                  <a:lnTo>
                    <a:pt x="486" y="36"/>
                  </a:lnTo>
                  <a:lnTo>
                    <a:pt x="480" y="42"/>
                  </a:lnTo>
                  <a:lnTo>
                    <a:pt x="480" y="54"/>
                  </a:lnTo>
                  <a:lnTo>
                    <a:pt x="486" y="78"/>
                  </a:lnTo>
                  <a:lnTo>
                    <a:pt x="486" y="114"/>
                  </a:lnTo>
                  <a:lnTo>
                    <a:pt x="486" y="150"/>
                  </a:lnTo>
                  <a:lnTo>
                    <a:pt x="468" y="150"/>
                  </a:lnTo>
                  <a:lnTo>
                    <a:pt x="474" y="162"/>
                  </a:lnTo>
                  <a:lnTo>
                    <a:pt x="480" y="162"/>
                  </a:lnTo>
                  <a:lnTo>
                    <a:pt x="486" y="174"/>
                  </a:lnTo>
                  <a:lnTo>
                    <a:pt x="492" y="174"/>
                  </a:lnTo>
                  <a:lnTo>
                    <a:pt x="492" y="192"/>
                  </a:lnTo>
                  <a:lnTo>
                    <a:pt x="498" y="198"/>
                  </a:lnTo>
                  <a:lnTo>
                    <a:pt x="504" y="204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8" y="222"/>
                  </a:lnTo>
                  <a:lnTo>
                    <a:pt x="492" y="228"/>
                  </a:lnTo>
                  <a:lnTo>
                    <a:pt x="492" y="234"/>
                  </a:lnTo>
                  <a:lnTo>
                    <a:pt x="492" y="240"/>
                  </a:lnTo>
                  <a:lnTo>
                    <a:pt x="486" y="246"/>
                  </a:lnTo>
                  <a:lnTo>
                    <a:pt x="486" y="258"/>
                  </a:lnTo>
                  <a:lnTo>
                    <a:pt x="480" y="264"/>
                  </a:lnTo>
                  <a:lnTo>
                    <a:pt x="474" y="276"/>
                  </a:lnTo>
                  <a:lnTo>
                    <a:pt x="468" y="288"/>
                  </a:lnTo>
                  <a:lnTo>
                    <a:pt x="456" y="306"/>
                  </a:lnTo>
                  <a:lnTo>
                    <a:pt x="456" y="312"/>
                  </a:lnTo>
                  <a:lnTo>
                    <a:pt x="444" y="318"/>
                  </a:lnTo>
                  <a:lnTo>
                    <a:pt x="432" y="336"/>
                  </a:lnTo>
                  <a:lnTo>
                    <a:pt x="432" y="342"/>
                  </a:lnTo>
                  <a:lnTo>
                    <a:pt x="432" y="348"/>
                  </a:lnTo>
                  <a:lnTo>
                    <a:pt x="432" y="354"/>
                  </a:lnTo>
                  <a:lnTo>
                    <a:pt x="426" y="366"/>
                  </a:lnTo>
                  <a:lnTo>
                    <a:pt x="420" y="366"/>
                  </a:lnTo>
                  <a:lnTo>
                    <a:pt x="420" y="372"/>
                  </a:lnTo>
                  <a:lnTo>
                    <a:pt x="414" y="378"/>
                  </a:lnTo>
                  <a:lnTo>
                    <a:pt x="414" y="390"/>
                  </a:lnTo>
                  <a:lnTo>
                    <a:pt x="408" y="390"/>
                  </a:lnTo>
                  <a:lnTo>
                    <a:pt x="408" y="402"/>
                  </a:lnTo>
                  <a:lnTo>
                    <a:pt x="402" y="414"/>
                  </a:lnTo>
                  <a:lnTo>
                    <a:pt x="396" y="438"/>
                  </a:lnTo>
                  <a:lnTo>
                    <a:pt x="396" y="444"/>
                  </a:lnTo>
                  <a:lnTo>
                    <a:pt x="390" y="45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11" name="Freeform 7">
              <a:extLst>
                <a:ext uri="{FF2B5EF4-FFF2-40B4-BE49-F238E27FC236}">
                  <a16:creationId xmlns:a16="http://schemas.microsoft.com/office/drawing/2014/main" id="{0D8DE62D-4554-4314-9F3A-7208D89B4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90838" y="4128134"/>
              <a:ext cx="283995" cy="411516"/>
            </a:xfrm>
            <a:custGeom>
              <a:avLst/>
              <a:gdLst>
                <a:gd name="T0" fmla="*/ 39 w 534"/>
                <a:gd name="T1" fmla="*/ 35 h 774"/>
                <a:gd name="T2" fmla="*/ 35 w 534"/>
                <a:gd name="T3" fmla="*/ 31 h 774"/>
                <a:gd name="T4" fmla="*/ 32 w 534"/>
                <a:gd name="T5" fmla="*/ 29 h 774"/>
                <a:gd name="T6" fmla="*/ 32 w 534"/>
                <a:gd name="T7" fmla="*/ 31 h 774"/>
                <a:gd name="T8" fmla="*/ 29 w 534"/>
                <a:gd name="T9" fmla="*/ 33 h 774"/>
                <a:gd name="T10" fmla="*/ 27 w 534"/>
                <a:gd name="T11" fmla="*/ 36 h 774"/>
                <a:gd name="T12" fmla="*/ 30 w 534"/>
                <a:gd name="T13" fmla="*/ 38 h 774"/>
                <a:gd name="T14" fmla="*/ 29 w 534"/>
                <a:gd name="T15" fmla="*/ 40 h 774"/>
                <a:gd name="T16" fmla="*/ 25 w 534"/>
                <a:gd name="T17" fmla="*/ 40 h 774"/>
                <a:gd name="T18" fmla="*/ 23 w 534"/>
                <a:gd name="T19" fmla="*/ 42 h 774"/>
                <a:gd name="T20" fmla="*/ 22 w 534"/>
                <a:gd name="T21" fmla="*/ 47 h 774"/>
                <a:gd name="T22" fmla="*/ 22 w 534"/>
                <a:gd name="T23" fmla="*/ 51 h 774"/>
                <a:gd name="T24" fmla="*/ 22 w 534"/>
                <a:gd name="T25" fmla="*/ 54 h 774"/>
                <a:gd name="T26" fmla="*/ 21 w 534"/>
                <a:gd name="T27" fmla="*/ 56 h 774"/>
                <a:gd name="T28" fmla="*/ 19 w 534"/>
                <a:gd name="T29" fmla="*/ 58 h 774"/>
                <a:gd name="T30" fmla="*/ 20 w 534"/>
                <a:gd name="T31" fmla="*/ 59 h 774"/>
                <a:gd name="T32" fmla="*/ 19 w 534"/>
                <a:gd name="T33" fmla="*/ 62 h 774"/>
                <a:gd name="T34" fmla="*/ 19 w 534"/>
                <a:gd name="T35" fmla="*/ 64 h 774"/>
                <a:gd name="T36" fmla="*/ 20 w 534"/>
                <a:gd name="T37" fmla="*/ 66 h 774"/>
                <a:gd name="T38" fmla="*/ 17 w 534"/>
                <a:gd name="T39" fmla="*/ 66 h 774"/>
                <a:gd name="T40" fmla="*/ 16 w 534"/>
                <a:gd name="T41" fmla="*/ 65 h 774"/>
                <a:gd name="T42" fmla="*/ 13 w 534"/>
                <a:gd name="T43" fmla="*/ 65 h 774"/>
                <a:gd name="T44" fmla="*/ 11 w 534"/>
                <a:gd name="T45" fmla="*/ 65 h 774"/>
                <a:gd name="T46" fmla="*/ 8 w 534"/>
                <a:gd name="T47" fmla="*/ 65 h 774"/>
                <a:gd name="T48" fmla="*/ 8 w 534"/>
                <a:gd name="T49" fmla="*/ 64 h 774"/>
                <a:gd name="T50" fmla="*/ 5 w 534"/>
                <a:gd name="T51" fmla="*/ 65 h 774"/>
                <a:gd name="T52" fmla="*/ 3 w 534"/>
                <a:gd name="T53" fmla="*/ 65 h 774"/>
                <a:gd name="T54" fmla="*/ 0 w 534"/>
                <a:gd name="T55" fmla="*/ 64 h 774"/>
                <a:gd name="T56" fmla="*/ 0 w 534"/>
                <a:gd name="T57" fmla="*/ 62 h 774"/>
                <a:gd name="T58" fmla="*/ 3 w 534"/>
                <a:gd name="T59" fmla="*/ 60 h 774"/>
                <a:gd name="T60" fmla="*/ 6 w 534"/>
                <a:gd name="T61" fmla="*/ 57 h 774"/>
                <a:gd name="T62" fmla="*/ 8 w 534"/>
                <a:gd name="T63" fmla="*/ 50 h 774"/>
                <a:gd name="T64" fmla="*/ 6 w 534"/>
                <a:gd name="T65" fmla="*/ 45 h 774"/>
                <a:gd name="T66" fmla="*/ 8 w 534"/>
                <a:gd name="T67" fmla="*/ 41 h 774"/>
                <a:gd name="T68" fmla="*/ 9 w 534"/>
                <a:gd name="T69" fmla="*/ 38 h 774"/>
                <a:gd name="T70" fmla="*/ 10 w 534"/>
                <a:gd name="T71" fmla="*/ 36 h 774"/>
                <a:gd name="T72" fmla="*/ 12 w 534"/>
                <a:gd name="T73" fmla="*/ 33 h 774"/>
                <a:gd name="T74" fmla="*/ 14 w 534"/>
                <a:gd name="T75" fmla="*/ 29 h 774"/>
                <a:gd name="T76" fmla="*/ 16 w 534"/>
                <a:gd name="T77" fmla="*/ 26 h 774"/>
                <a:gd name="T78" fmla="*/ 16 w 534"/>
                <a:gd name="T79" fmla="*/ 24 h 774"/>
                <a:gd name="T80" fmla="*/ 16 w 534"/>
                <a:gd name="T81" fmla="*/ 21 h 774"/>
                <a:gd name="T82" fmla="*/ 13 w 534"/>
                <a:gd name="T83" fmla="*/ 19 h 774"/>
                <a:gd name="T84" fmla="*/ 14 w 534"/>
                <a:gd name="T85" fmla="*/ 10 h 774"/>
                <a:gd name="T86" fmla="*/ 14 w 534"/>
                <a:gd name="T87" fmla="*/ 7 h 774"/>
                <a:gd name="T88" fmla="*/ 8 w 534"/>
                <a:gd name="T89" fmla="*/ 7 h 774"/>
                <a:gd name="T90" fmla="*/ 7 w 534"/>
                <a:gd name="T91" fmla="*/ 3 h 774"/>
                <a:gd name="T92" fmla="*/ 11 w 534"/>
                <a:gd name="T93" fmla="*/ 1 h 774"/>
                <a:gd name="T94" fmla="*/ 12 w 534"/>
                <a:gd name="T95" fmla="*/ 0 h 774"/>
                <a:gd name="T96" fmla="*/ 16 w 534"/>
                <a:gd name="T97" fmla="*/ 2 h 774"/>
                <a:gd name="T98" fmla="*/ 20 w 534"/>
                <a:gd name="T99" fmla="*/ 2 h 774"/>
                <a:gd name="T100" fmla="*/ 23 w 534"/>
                <a:gd name="T101" fmla="*/ 3 h 774"/>
                <a:gd name="T102" fmla="*/ 23 w 534"/>
                <a:gd name="T103" fmla="*/ 10 h 774"/>
                <a:gd name="T104" fmla="*/ 29 w 534"/>
                <a:gd name="T105" fmla="*/ 12 h 774"/>
                <a:gd name="T106" fmla="*/ 35 w 534"/>
                <a:gd name="T107" fmla="*/ 12 h 774"/>
                <a:gd name="T108" fmla="*/ 38 w 534"/>
                <a:gd name="T109" fmla="*/ 17 h 774"/>
                <a:gd name="T110" fmla="*/ 40 w 534"/>
                <a:gd name="T111" fmla="*/ 19 h 774"/>
                <a:gd name="T112" fmla="*/ 44 w 534"/>
                <a:gd name="T113" fmla="*/ 23 h 774"/>
                <a:gd name="T114" fmla="*/ 44 w 534"/>
                <a:gd name="T115" fmla="*/ 30 h 774"/>
                <a:gd name="T116" fmla="*/ 46 w 534"/>
                <a:gd name="T117" fmla="*/ 36 h 774"/>
                <a:gd name="T118" fmla="*/ 41 w 534"/>
                <a:gd name="T119" fmla="*/ 37 h 77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34"/>
                <a:gd name="T181" fmla="*/ 0 h 774"/>
                <a:gd name="T182" fmla="*/ 534 w 534"/>
                <a:gd name="T183" fmla="*/ 774 h 77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34" h="774">
                  <a:moveTo>
                    <a:pt x="462" y="426"/>
                  </a:moveTo>
                  <a:lnTo>
                    <a:pt x="462" y="414"/>
                  </a:lnTo>
                  <a:lnTo>
                    <a:pt x="450" y="402"/>
                  </a:lnTo>
                  <a:lnTo>
                    <a:pt x="444" y="396"/>
                  </a:lnTo>
                  <a:lnTo>
                    <a:pt x="420" y="396"/>
                  </a:lnTo>
                  <a:lnTo>
                    <a:pt x="408" y="390"/>
                  </a:lnTo>
                  <a:lnTo>
                    <a:pt x="402" y="366"/>
                  </a:lnTo>
                  <a:lnTo>
                    <a:pt x="390" y="354"/>
                  </a:lnTo>
                  <a:lnTo>
                    <a:pt x="384" y="336"/>
                  </a:lnTo>
                  <a:lnTo>
                    <a:pt x="378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8" y="348"/>
                  </a:lnTo>
                  <a:lnTo>
                    <a:pt x="360" y="354"/>
                  </a:lnTo>
                  <a:lnTo>
                    <a:pt x="360" y="390"/>
                  </a:lnTo>
                  <a:lnTo>
                    <a:pt x="348" y="390"/>
                  </a:lnTo>
                  <a:lnTo>
                    <a:pt x="342" y="384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90"/>
                  </a:lnTo>
                  <a:lnTo>
                    <a:pt x="312" y="402"/>
                  </a:lnTo>
                  <a:lnTo>
                    <a:pt x="306" y="420"/>
                  </a:lnTo>
                  <a:lnTo>
                    <a:pt x="324" y="414"/>
                  </a:lnTo>
                  <a:lnTo>
                    <a:pt x="330" y="414"/>
                  </a:lnTo>
                  <a:lnTo>
                    <a:pt x="336" y="420"/>
                  </a:lnTo>
                  <a:lnTo>
                    <a:pt x="336" y="432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6"/>
                  </a:lnTo>
                  <a:lnTo>
                    <a:pt x="318" y="456"/>
                  </a:lnTo>
                  <a:lnTo>
                    <a:pt x="300" y="456"/>
                  </a:lnTo>
                  <a:lnTo>
                    <a:pt x="288" y="462"/>
                  </a:lnTo>
                  <a:lnTo>
                    <a:pt x="276" y="462"/>
                  </a:lnTo>
                  <a:lnTo>
                    <a:pt x="270" y="462"/>
                  </a:lnTo>
                  <a:lnTo>
                    <a:pt x="270" y="468"/>
                  </a:lnTo>
                  <a:lnTo>
                    <a:pt x="252" y="468"/>
                  </a:lnTo>
                  <a:lnTo>
                    <a:pt x="258" y="480"/>
                  </a:lnTo>
                  <a:lnTo>
                    <a:pt x="258" y="492"/>
                  </a:lnTo>
                  <a:lnTo>
                    <a:pt x="258" y="498"/>
                  </a:lnTo>
                  <a:lnTo>
                    <a:pt x="258" y="510"/>
                  </a:lnTo>
                  <a:lnTo>
                    <a:pt x="252" y="540"/>
                  </a:lnTo>
                  <a:lnTo>
                    <a:pt x="246" y="564"/>
                  </a:lnTo>
                  <a:lnTo>
                    <a:pt x="246" y="570"/>
                  </a:lnTo>
                  <a:lnTo>
                    <a:pt x="252" y="576"/>
                  </a:lnTo>
                  <a:lnTo>
                    <a:pt x="246" y="582"/>
                  </a:lnTo>
                  <a:lnTo>
                    <a:pt x="252" y="600"/>
                  </a:lnTo>
                  <a:lnTo>
                    <a:pt x="258" y="606"/>
                  </a:lnTo>
                  <a:lnTo>
                    <a:pt x="258" y="612"/>
                  </a:lnTo>
                  <a:lnTo>
                    <a:pt x="252" y="618"/>
                  </a:lnTo>
                  <a:lnTo>
                    <a:pt x="246" y="624"/>
                  </a:lnTo>
                  <a:lnTo>
                    <a:pt x="246" y="630"/>
                  </a:lnTo>
                  <a:lnTo>
                    <a:pt x="246" y="636"/>
                  </a:lnTo>
                  <a:lnTo>
                    <a:pt x="240" y="642"/>
                  </a:lnTo>
                  <a:lnTo>
                    <a:pt x="234" y="654"/>
                  </a:lnTo>
                  <a:lnTo>
                    <a:pt x="228" y="654"/>
                  </a:lnTo>
                  <a:lnTo>
                    <a:pt x="222" y="660"/>
                  </a:lnTo>
                  <a:lnTo>
                    <a:pt x="216" y="666"/>
                  </a:lnTo>
                  <a:lnTo>
                    <a:pt x="210" y="666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22" y="684"/>
                  </a:lnTo>
                  <a:lnTo>
                    <a:pt x="222" y="690"/>
                  </a:lnTo>
                  <a:lnTo>
                    <a:pt x="222" y="696"/>
                  </a:lnTo>
                  <a:lnTo>
                    <a:pt x="222" y="702"/>
                  </a:lnTo>
                  <a:lnTo>
                    <a:pt x="216" y="708"/>
                  </a:lnTo>
                  <a:lnTo>
                    <a:pt x="210" y="720"/>
                  </a:lnTo>
                  <a:lnTo>
                    <a:pt x="216" y="732"/>
                  </a:lnTo>
                  <a:lnTo>
                    <a:pt x="210" y="732"/>
                  </a:lnTo>
                  <a:lnTo>
                    <a:pt x="216" y="738"/>
                  </a:lnTo>
                  <a:lnTo>
                    <a:pt x="216" y="744"/>
                  </a:lnTo>
                  <a:lnTo>
                    <a:pt x="222" y="750"/>
                  </a:lnTo>
                  <a:lnTo>
                    <a:pt x="228" y="756"/>
                  </a:lnTo>
                  <a:lnTo>
                    <a:pt x="222" y="762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04" y="762"/>
                  </a:lnTo>
                  <a:lnTo>
                    <a:pt x="198" y="762"/>
                  </a:lnTo>
                  <a:lnTo>
                    <a:pt x="192" y="762"/>
                  </a:lnTo>
                  <a:lnTo>
                    <a:pt x="186" y="756"/>
                  </a:lnTo>
                  <a:lnTo>
                    <a:pt x="180" y="750"/>
                  </a:lnTo>
                  <a:lnTo>
                    <a:pt x="180" y="744"/>
                  </a:lnTo>
                  <a:lnTo>
                    <a:pt x="174" y="744"/>
                  </a:lnTo>
                  <a:lnTo>
                    <a:pt x="156" y="750"/>
                  </a:lnTo>
                  <a:lnTo>
                    <a:pt x="150" y="750"/>
                  </a:lnTo>
                  <a:lnTo>
                    <a:pt x="144" y="750"/>
                  </a:lnTo>
                  <a:lnTo>
                    <a:pt x="138" y="750"/>
                  </a:lnTo>
                  <a:lnTo>
                    <a:pt x="138" y="744"/>
                  </a:lnTo>
                  <a:lnTo>
                    <a:pt x="132" y="744"/>
                  </a:lnTo>
                  <a:lnTo>
                    <a:pt x="120" y="744"/>
                  </a:lnTo>
                  <a:lnTo>
                    <a:pt x="114" y="738"/>
                  </a:lnTo>
                  <a:lnTo>
                    <a:pt x="108" y="744"/>
                  </a:lnTo>
                  <a:lnTo>
                    <a:pt x="102" y="744"/>
                  </a:lnTo>
                  <a:lnTo>
                    <a:pt x="96" y="744"/>
                  </a:lnTo>
                  <a:lnTo>
                    <a:pt x="96" y="738"/>
                  </a:lnTo>
                  <a:lnTo>
                    <a:pt x="96" y="744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44"/>
                  </a:lnTo>
                  <a:lnTo>
                    <a:pt x="72" y="750"/>
                  </a:lnTo>
                  <a:lnTo>
                    <a:pt x="66" y="750"/>
                  </a:lnTo>
                  <a:lnTo>
                    <a:pt x="60" y="750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0"/>
                  </a:lnTo>
                  <a:lnTo>
                    <a:pt x="30" y="750"/>
                  </a:lnTo>
                  <a:lnTo>
                    <a:pt x="24" y="744"/>
                  </a:lnTo>
                  <a:lnTo>
                    <a:pt x="18" y="738"/>
                  </a:lnTo>
                  <a:lnTo>
                    <a:pt x="6" y="738"/>
                  </a:lnTo>
                  <a:lnTo>
                    <a:pt x="0" y="732"/>
                  </a:lnTo>
                  <a:lnTo>
                    <a:pt x="0" y="726"/>
                  </a:lnTo>
                  <a:lnTo>
                    <a:pt x="0" y="720"/>
                  </a:lnTo>
                  <a:lnTo>
                    <a:pt x="6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8" y="702"/>
                  </a:lnTo>
                  <a:lnTo>
                    <a:pt x="24" y="696"/>
                  </a:lnTo>
                  <a:lnTo>
                    <a:pt x="30" y="696"/>
                  </a:lnTo>
                  <a:lnTo>
                    <a:pt x="48" y="690"/>
                  </a:lnTo>
                  <a:lnTo>
                    <a:pt x="54" y="678"/>
                  </a:lnTo>
                  <a:lnTo>
                    <a:pt x="66" y="672"/>
                  </a:lnTo>
                  <a:lnTo>
                    <a:pt x="66" y="654"/>
                  </a:lnTo>
                  <a:lnTo>
                    <a:pt x="72" y="636"/>
                  </a:lnTo>
                  <a:lnTo>
                    <a:pt x="72" y="612"/>
                  </a:lnTo>
                  <a:lnTo>
                    <a:pt x="84" y="594"/>
                  </a:lnTo>
                  <a:lnTo>
                    <a:pt x="90" y="576"/>
                  </a:lnTo>
                  <a:lnTo>
                    <a:pt x="96" y="552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72" y="522"/>
                  </a:lnTo>
                  <a:lnTo>
                    <a:pt x="78" y="510"/>
                  </a:lnTo>
                  <a:lnTo>
                    <a:pt x="78" y="504"/>
                  </a:lnTo>
                  <a:lnTo>
                    <a:pt x="84" y="480"/>
                  </a:lnTo>
                  <a:lnTo>
                    <a:pt x="90" y="468"/>
                  </a:lnTo>
                  <a:lnTo>
                    <a:pt x="90" y="456"/>
                  </a:lnTo>
                  <a:lnTo>
                    <a:pt x="96" y="456"/>
                  </a:lnTo>
                  <a:lnTo>
                    <a:pt x="96" y="444"/>
                  </a:lnTo>
                  <a:lnTo>
                    <a:pt x="102" y="438"/>
                  </a:lnTo>
                  <a:lnTo>
                    <a:pt x="102" y="432"/>
                  </a:lnTo>
                  <a:lnTo>
                    <a:pt x="108" y="432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14" y="408"/>
                  </a:lnTo>
                  <a:lnTo>
                    <a:pt x="114" y="402"/>
                  </a:lnTo>
                  <a:lnTo>
                    <a:pt x="126" y="384"/>
                  </a:lnTo>
                  <a:lnTo>
                    <a:pt x="138" y="378"/>
                  </a:lnTo>
                  <a:lnTo>
                    <a:pt x="138" y="372"/>
                  </a:lnTo>
                  <a:lnTo>
                    <a:pt x="150" y="354"/>
                  </a:lnTo>
                  <a:lnTo>
                    <a:pt x="156" y="342"/>
                  </a:lnTo>
                  <a:lnTo>
                    <a:pt x="162" y="330"/>
                  </a:lnTo>
                  <a:lnTo>
                    <a:pt x="168" y="324"/>
                  </a:lnTo>
                  <a:lnTo>
                    <a:pt x="168" y="312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74" y="294"/>
                  </a:lnTo>
                  <a:lnTo>
                    <a:pt x="180" y="288"/>
                  </a:lnTo>
                  <a:lnTo>
                    <a:pt x="180" y="276"/>
                  </a:lnTo>
                  <a:lnTo>
                    <a:pt x="186" y="276"/>
                  </a:lnTo>
                  <a:lnTo>
                    <a:pt x="186" y="270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40"/>
                  </a:lnTo>
                  <a:lnTo>
                    <a:pt x="168" y="240"/>
                  </a:lnTo>
                  <a:lnTo>
                    <a:pt x="162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68" y="216"/>
                  </a:lnTo>
                  <a:lnTo>
                    <a:pt x="168" y="180"/>
                  </a:lnTo>
                  <a:lnTo>
                    <a:pt x="168" y="144"/>
                  </a:lnTo>
                  <a:lnTo>
                    <a:pt x="162" y="120"/>
                  </a:lnTo>
                  <a:lnTo>
                    <a:pt x="162" y="108"/>
                  </a:lnTo>
                  <a:lnTo>
                    <a:pt x="168" y="102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44" y="84"/>
                  </a:lnTo>
                  <a:lnTo>
                    <a:pt x="126" y="84"/>
                  </a:lnTo>
                  <a:lnTo>
                    <a:pt x="108" y="78"/>
                  </a:lnTo>
                  <a:lnTo>
                    <a:pt x="96" y="78"/>
                  </a:lnTo>
                  <a:lnTo>
                    <a:pt x="78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8" y="36"/>
                  </a:lnTo>
                  <a:lnTo>
                    <a:pt x="96" y="24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56" y="0"/>
                  </a:lnTo>
                  <a:lnTo>
                    <a:pt x="156" y="6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18"/>
                  </a:lnTo>
                  <a:lnTo>
                    <a:pt x="198" y="18"/>
                  </a:lnTo>
                  <a:lnTo>
                    <a:pt x="210" y="18"/>
                  </a:lnTo>
                  <a:lnTo>
                    <a:pt x="222" y="18"/>
                  </a:lnTo>
                  <a:lnTo>
                    <a:pt x="234" y="12"/>
                  </a:lnTo>
                  <a:lnTo>
                    <a:pt x="252" y="18"/>
                  </a:lnTo>
                  <a:lnTo>
                    <a:pt x="252" y="24"/>
                  </a:lnTo>
                  <a:lnTo>
                    <a:pt x="258" y="36"/>
                  </a:lnTo>
                  <a:lnTo>
                    <a:pt x="258" y="66"/>
                  </a:lnTo>
                  <a:lnTo>
                    <a:pt x="252" y="84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82" y="126"/>
                  </a:lnTo>
                  <a:lnTo>
                    <a:pt x="294" y="132"/>
                  </a:lnTo>
                  <a:lnTo>
                    <a:pt x="306" y="138"/>
                  </a:lnTo>
                  <a:lnTo>
                    <a:pt x="324" y="138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60" y="144"/>
                  </a:lnTo>
                  <a:lnTo>
                    <a:pt x="396" y="144"/>
                  </a:lnTo>
                  <a:lnTo>
                    <a:pt x="408" y="150"/>
                  </a:lnTo>
                  <a:lnTo>
                    <a:pt x="414" y="180"/>
                  </a:lnTo>
                  <a:lnTo>
                    <a:pt x="420" y="186"/>
                  </a:lnTo>
                  <a:lnTo>
                    <a:pt x="426" y="192"/>
                  </a:lnTo>
                  <a:lnTo>
                    <a:pt x="426" y="198"/>
                  </a:lnTo>
                  <a:lnTo>
                    <a:pt x="432" y="198"/>
                  </a:lnTo>
                  <a:lnTo>
                    <a:pt x="438" y="210"/>
                  </a:lnTo>
                  <a:lnTo>
                    <a:pt x="450" y="216"/>
                  </a:lnTo>
                  <a:lnTo>
                    <a:pt x="468" y="228"/>
                  </a:lnTo>
                  <a:lnTo>
                    <a:pt x="492" y="234"/>
                  </a:lnTo>
                  <a:lnTo>
                    <a:pt x="492" y="246"/>
                  </a:lnTo>
                  <a:lnTo>
                    <a:pt x="492" y="270"/>
                  </a:lnTo>
                  <a:lnTo>
                    <a:pt x="486" y="294"/>
                  </a:lnTo>
                  <a:lnTo>
                    <a:pt x="486" y="312"/>
                  </a:lnTo>
                  <a:lnTo>
                    <a:pt x="486" y="330"/>
                  </a:lnTo>
                  <a:lnTo>
                    <a:pt x="492" y="348"/>
                  </a:lnTo>
                  <a:lnTo>
                    <a:pt x="498" y="360"/>
                  </a:lnTo>
                  <a:lnTo>
                    <a:pt x="510" y="366"/>
                  </a:lnTo>
                  <a:lnTo>
                    <a:pt x="516" y="384"/>
                  </a:lnTo>
                  <a:lnTo>
                    <a:pt x="522" y="414"/>
                  </a:lnTo>
                  <a:lnTo>
                    <a:pt x="528" y="414"/>
                  </a:lnTo>
                  <a:lnTo>
                    <a:pt x="534" y="426"/>
                  </a:lnTo>
                  <a:lnTo>
                    <a:pt x="528" y="432"/>
                  </a:lnTo>
                  <a:lnTo>
                    <a:pt x="468" y="426"/>
                  </a:lnTo>
                  <a:lnTo>
                    <a:pt x="462" y="4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3" name="Freeform 8">
              <a:extLst>
                <a:ext uri="{FF2B5EF4-FFF2-40B4-BE49-F238E27FC236}">
                  <a16:creationId xmlns:a16="http://schemas.microsoft.com/office/drawing/2014/main" id="{D473457C-872E-4E31-888A-D60FD52063A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98175" y="4307054"/>
              <a:ext cx="295177" cy="348894"/>
            </a:xfrm>
            <a:custGeom>
              <a:avLst/>
              <a:gdLst>
                <a:gd name="T0" fmla="*/ 3 w 552"/>
                <a:gd name="T1" fmla="*/ 46 h 660"/>
                <a:gd name="T2" fmla="*/ 4 w 552"/>
                <a:gd name="T3" fmla="*/ 42 h 660"/>
                <a:gd name="T4" fmla="*/ 2 w 552"/>
                <a:gd name="T5" fmla="*/ 38 h 660"/>
                <a:gd name="T6" fmla="*/ 0 w 552"/>
                <a:gd name="T7" fmla="*/ 34 h 660"/>
                <a:gd name="T8" fmla="*/ 2 w 552"/>
                <a:gd name="T9" fmla="*/ 30 h 660"/>
                <a:gd name="T10" fmla="*/ 3 w 552"/>
                <a:gd name="T11" fmla="*/ 27 h 660"/>
                <a:gd name="T12" fmla="*/ 5 w 552"/>
                <a:gd name="T13" fmla="*/ 23 h 660"/>
                <a:gd name="T14" fmla="*/ 5 w 552"/>
                <a:gd name="T15" fmla="*/ 15 h 660"/>
                <a:gd name="T16" fmla="*/ 6 w 552"/>
                <a:gd name="T17" fmla="*/ 11 h 660"/>
                <a:gd name="T18" fmla="*/ 11 w 552"/>
                <a:gd name="T19" fmla="*/ 9 h 660"/>
                <a:gd name="T20" fmla="*/ 10 w 552"/>
                <a:gd name="T21" fmla="*/ 5 h 660"/>
                <a:gd name="T22" fmla="*/ 12 w 552"/>
                <a:gd name="T23" fmla="*/ 1 h 660"/>
                <a:gd name="T24" fmla="*/ 16 w 552"/>
                <a:gd name="T25" fmla="*/ 2 h 660"/>
                <a:gd name="T26" fmla="*/ 23 w 552"/>
                <a:gd name="T27" fmla="*/ 8 h 660"/>
                <a:gd name="T28" fmla="*/ 23 w 552"/>
                <a:gd name="T29" fmla="*/ 11 h 660"/>
                <a:gd name="T30" fmla="*/ 27 w 552"/>
                <a:gd name="T31" fmla="*/ 12 h 660"/>
                <a:gd name="T32" fmla="*/ 29 w 552"/>
                <a:gd name="T33" fmla="*/ 17 h 660"/>
                <a:gd name="T34" fmla="*/ 31 w 552"/>
                <a:gd name="T35" fmla="*/ 15 h 660"/>
                <a:gd name="T36" fmla="*/ 33 w 552"/>
                <a:gd name="T37" fmla="*/ 17 h 660"/>
                <a:gd name="T38" fmla="*/ 36 w 552"/>
                <a:gd name="T39" fmla="*/ 23 h 660"/>
                <a:gd name="T40" fmla="*/ 41 w 552"/>
                <a:gd name="T41" fmla="*/ 33 h 660"/>
                <a:gd name="T42" fmla="*/ 43 w 552"/>
                <a:gd name="T43" fmla="*/ 36 h 660"/>
                <a:gd name="T44" fmla="*/ 43 w 552"/>
                <a:gd name="T45" fmla="*/ 37 h 660"/>
                <a:gd name="T46" fmla="*/ 41 w 552"/>
                <a:gd name="T47" fmla="*/ 35 h 660"/>
                <a:gd name="T48" fmla="*/ 43 w 552"/>
                <a:gd name="T49" fmla="*/ 37 h 660"/>
                <a:gd name="T50" fmla="*/ 44 w 552"/>
                <a:gd name="T51" fmla="*/ 39 h 660"/>
                <a:gd name="T52" fmla="*/ 47 w 552"/>
                <a:gd name="T53" fmla="*/ 41 h 660"/>
                <a:gd name="T54" fmla="*/ 47 w 552"/>
                <a:gd name="T55" fmla="*/ 44 h 660"/>
                <a:gd name="T56" fmla="*/ 48 w 552"/>
                <a:gd name="T57" fmla="*/ 46 h 660"/>
                <a:gd name="T58" fmla="*/ 47 w 552"/>
                <a:gd name="T59" fmla="*/ 46 h 660"/>
                <a:gd name="T60" fmla="*/ 44 w 552"/>
                <a:gd name="T61" fmla="*/ 46 h 660"/>
                <a:gd name="T62" fmla="*/ 47 w 552"/>
                <a:gd name="T63" fmla="*/ 47 h 660"/>
                <a:gd name="T64" fmla="*/ 47 w 552"/>
                <a:gd name="T65" fmla="*/ 49 h 660"/>
                <a:gd name="T66" fmla="*/ 47 w 552"/>
                <a:gd name="T67" fmla="*/ 52 h 660"/>
                <a:gd name="T68" fmla="*/ 46 w 552"/>
                <a:gd name="T69" fmla="*/ 53 h 660"/>
                <a:gd name="T70" fmla="*/ 43 w 552"/>
                <a:gd name="T71" fmla="*/ 54 h 660"/>
                <a:gd name="T72" fmla="*/ 37 w 552"/>
                <a:gd name="T73" fmla="*/ 54 h 660"/>
                <a:gd name="T74" fmla="*/ 30 w 552"/>
                <a:gd name="T75" fmla="*/ 54 h 660"/>
                <a:gd name="T76" fmla="*/ 29 w 552"/>
                <a:gd name="T77" fmla="*/ 53 h 660"/>
                <a:gd name="T78" fmla="*/ 27 w 552"/>
                <a:gd name="T79" fmla="*/ 53 h 660"/>
                <a:gd name="T80" fmla="*/ 29 w 552"/>
                <a:gd name="T81" fmla="*/ 53 h 660"/>
                <a:gd name="T82" fmla="*/ 28 w 552"/>
                <a:gd name="T83" fmla="*/ 54 h 660"/>
                <a:gd name="T84" fmla="*/ 24 w 552"/>
                <a:gd name="T85" fmla="*/ 54 h 660"/>
                <a:gd name="T86" fmla="*/ 20 w 552"/>
                <a:gd name="T87" fmla="*/ 55 h 660"/>
                <a:gd name="T88" fmla="*/ 15 w 552"/>
                <a:gd name="T89" fmla="*/ 56 h 660"/>
                <a:gd name="T90" fmla="*/ 12 w 552"/>
                <a:gd name="T91" fmla="*/ 56 h 660"/>
                <a:gd name="T92" fmla="*/ 11 w 552"/>
                <a:gd name="T93" fmla="*/ 57 h 660"/>
                <a:gd name="T94" fmla="*/ 9 w 552"/>
                <a:gd name="T95" fmla="*/ 57 h 660"/>
                <a:gd name="T96" fmla="*/ 7 w 552"/>
                <a:gd name="T97" fmla="*/ 56 h 660"/>
                <a:gd name="T98" fmla="*/ 5 w 552"/>
                <a:gd name="T99" fmla="*/ 55 h 660"/>
                <a:gd name="T100" fmla="*/ 7 w 552"/>
                <a:gd name="T101" fmla="*/ 54 h 660"/>
                <a:gd name="T102" fmla="*/ 5 w 552"/>
                <a:gd name="T103" fmla="*/ 54 h 660"/>
                <a:gd name="T104" fmla="*/ 5 w 552"/>
                <a:gd name="T105" fmla="*/ 53 h 660"/>
                <a:gd name="T106" fmla="*/ 4 w 552"/>
                <a:gd name="T107" fmla="*/ 49 h 660"/>
                <a:gd name="T108" fmla="*/ 45 w 552"/>
                <a:gd name="T109" fmla="*/ 38 h 66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52"/>
                <a:gd name="T166" fmla="*/ 0 h 660"/>
                <a:gd name="T167" fmla="*/ 552 w 552"/>
                <a:gd name="T168" fmla="*/ 660 h 66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52" h="660">
                  <a:moveTo>
                    <a:pt x="36" y="564"/>
                  </a:moveTo>
                  <a:lnTo>
                    <a:pt x="36" y="558"/>
                  </a:lnTo>
                  <a:lnTo>
                    <a:pt x="36" y="552"/>
                  </a:lnTo>
                  <a:lnTo>
                    <a:pt x="42" y="546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34"/>
                  </a:lnTo>
                  <a:lnTo>
                    <a:pt x="36" y="528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54" y="510"/>
                  </a:lnTo>
                  <a:lnTo>
                    <a:pt x="54" y="504"/>
                  </a:lnTo>
                  <a:lnTo>
                    <a:pt x="54" y="498"/>
                  </a:lnTo>
                  <a:lnTo>
                    <a:pt x="48" y="492"/>
                  </a:lnTo>
                  <a:lnTo>
                    <a:pt x="42" y="486"/>
                  </a:lnTo>
                  <a:lnTo>
                    <a:pt x="42" y="480"/>
                  </a:lnTo>
                  <a:lnTo>
                    <a:pt x="42" y="468"/>
                  </a:lnTo>
                  <a:lnTo>
                    <a:pt x="30" y="456"/>
                  </a:lnTo>
                  <a:lnTo>
                    <a:pt x="30" y="450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2"/>
                  </a:lnTo>
                  <a:lnTo>
                    <a:pt x="18" y="426"/>
                  </a:lnTo>
                  <a:lnTo>
                    <a:pt x="24" y="420"/>
                  </a:lnTo>
                  <a:lnTo>
                    <a:pt x="18" y="414"/>
                  </a:lnTo>
                  <a:lnTo>
                    <a:pt x="12" y="408"/>
                  </a:lnTo>
                  <a:lnTo>
                    <a:pt x="12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6" y="384"/>
                  </a:lnTo>
                  <a:lnTo>
                    <a:pt x="12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8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36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54" y="270"/>
                  </a:lnTo>
                  <a:lnTo>
                    <a:pt x="48" y="264"/>
                  </a:lnTo>
                  <a:lnTo>
                    <a:pt x="42" y="246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8" y="204"/>
                  </a:lnTo>
                  <a:lnTo>
                    <a:pt x="54" y="174"/>
                  </a:lnTo>
                  <a:lnTo>
                    <a:pt x="54" y="162"/>
                  </a:lnTo>
                  <a:lnTo>
                    <a:pt x="54" y="156"/>
                  </a:lnTo>
                  <a:lnTo>
                    <a:pt x="54" y="144"/>
                  </a:lnTo>
                  <a:lnTo>
                    <a:pt x="48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72" y="126"/>
                  </a:lnTo>
                  <a:lnTo>
                    <a:pt x="84" y="126"/>
                  </a:lnTo>
                  <a:lnTo>
                    <a:pt x="96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2" y="84"/>
                  </a:lnTo>
                  <a:lnTo>
                    <a:pt x="126" y="78"/>
                  </a:lnTo>
                  <a:lnTo>
                    <a:pt x="120" y="78"/>
                  </a:lnTo>
                  <a:lnTo>
                    <a:pt x="102" y="84"/>
                  </a:lnTo>
                  <a:lnTo>
                    <a:pt x="108" y="66"/>
                  </a:lnTo>
                  <a:lnTo>
                    <a:pt x="114" y="54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8" y="4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6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74" y="0"/>
                  </a:lnTo>
                  <a:lnTo>
                    <a:pt x="180" y="0"/>
                  </a:lnTo>
                  <a:lnTo>
                    <a:pt x="186" y="18"/>
                  </a:lnTo>
                  <a:lnTo>
                    <a:pt x="198" y="30"/>
                  </a:lnTo>
                  <a:lnTo>
                    <a:pt x="204" y="54"/>
                  </a:lnTo>
                  <a:lnTo>
                    <a:pt x="216" y="60"/>
                  </a:lnTo>
                  <a:lnTo>
                    <a:pt x="240" y="60"/>
                  </a:lnTo>
                  <a:lnTo>
                    <a:pt x="246" y="66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2" y="120"/>
                  </a:lnTo>
                  <a:lnTo>
                    <a:pt x="25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6" y="126"/>
                  </a:lnTo>
                  <a:lnTo>
                    <a:pt x="282" y="120"/>
                  </a:lnTo>
                  <a:lnTo>
                    <a:pt x="282" y="126"/>
                  </a:lnTo>
                  <a:lnTo>
                    <a:pt x="294" y="126"/>
                  </a:lnTo>
                  <a:lnTo>
                    <a:pt x="300" y="132"/>
                  </a:lnTo>
                  <a:lnTo>
                    <a:pt x="306" y="144"/>
                  </a:lnTo>
                  <a:lnTo>
                    <a:pt x="312" y="144"/>
                  </a:lnTo>
                  <a:lnTo>
                    <a:pt x="312" y="150"/>
                  </a:lnTo>
                  <a:lnTo>
                    <a:pt x="312" y="162"/>
                  </a:lnTo>
                  <a:lnTo>
                    <a:pt x="312" y="174"/>
                  </a:lnTo>
                  <a:lnTo>
                    <a:pt x="324" y="180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30" y="192"/>
                  </a:lnTo>
                  <a:lnTo>
                    <a:pt x="336" y="198"/>
                  </a:lnTo>
                  <a:lnTo>
                    <a:pt x="342" y="192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54" y="180"/>
                  </a:lnTo>
                  <a:lnTo>
                    <a:pt x="354" y="174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84" y="192"/>
                  </a:lnTo>
                  <a:lnTo>
                    <a:pt x="390" y="204"/>
                  </a:lnTo>
                  <a:lnTo>
                    <a:pt x="390" y="210"/>
                  </a:lnTo>
                  <a:lnTo>
                    <a:pt x="390" y="216"/>
                  </a:lnTo>
                  <a:lnTo>
                    <a:pt x="384" y="234"/>
                  </a:lnTo>
                  <a:lnTo>
                    <a:pt x="390" y="240"/>
                  </a:lnTo>
                  <a:lnTo>
                    <a:pt x="408" y="252"/>
                  </a:lnTo>
                  <a:lnTo>
                    <a:pt x="414" y="264"/>
                  </a:lnTo>
                  <a:lnTo>
                    <a:pt x="408" y="300"/>
                  </a:lnTo>
                  <a:lnTo>
                    <a:pt x="414" y="312"/>
                  </a:lnTo>
                  <a:lnTo>
                    <a:pt x="426" y="336"/>
                  </a:lnTo>
                  <a:lnTo>
                    <a:pt x="438" y="354"/>
                  </a:lnTo>
                  <a:lnTo>
                    <a:pt x="444" y="366"/>
                  </a:lnTo>
                  <a:lnTo>
                    <a:pt x="456" y="366"/>
                  </a:lnTo>
                  <a:lnTo>
                    <a:pt x="474" y="378"/>
                  </a:lnTo>
                  <a:lnTo>
                    <a:pt x="474" y="384"/>
                  </a:lnTo>
                  <a:lnTo>
                    <a:pt x="480" y="390"/>
                  </a:lnTo>
                  <a:lnTo>
                    <a:pt x="486" y="396"/>
                  </a:lnTo>
                  <a:lnTo>
                    <a:pt x="486" y="402"/>
                  </a:lnTo>
                  <a:lnTo>
                    <a:pt x="480" y="408"/>
                  </a:lnTo>
                  <a:lnTo>
                    <a:pt x="486" y="408"/>
                  </a:lnTo>
                  <a:lnTo>
                    <a:pt x="486" y="414"/>
                  </a:lnTo>
                  <a:lnTo>
                    <a:pt x="492" y="414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32"/>
                  </a:lnTo>
                  <a:lnTo>
                    <a:pt x="498" y="438"/>
                  </a:lnTo>
                  <a:lnTo>
                    <a:pt x="492" y="432"/>
                  </a:lnTo>
                  <a:lnTo>
                    <a:pt x="486" y="426"/>
                  </a:lnTo>
                  <a:lnTo>
                    <a:pt x="486" y="420"/>
                  </a:lnTo>
                  <a:lnTo>
                    <a:pt x="486" y="414"/>
                  </a:lnTo>
                  <a:lnTo>
                    <a:pt x="480" y="414"/>
                  </a:lnTo>
                  <a:lnTo>
                    <a:pt x="480" y="408"/>
                  </a:lnTo>
                  <a:lnTo>
                    <a:pt x="474" y="408"/>
                  </a:lnTo>
                  <a:lnTo>
                    <a:pt x="468" y="408"/>
                  </a:lnTo>
                  <a:lnTo>
                    <a:pt x="468" y="402"/>
                  </a:lnTo>
                  <a:lnTo>
                    <a:pt x="462" y="402"/>
                  </a:lnTo>
                  <a:lnTo>
                    <a:pt x="462" y="408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80" y="426"/>
                  </a:lnTo>
                  <a:lnTo>
                    <a:pt x="486" y="426"/>
                  </a:lnTo>
                  <a:lnTo>
                    <a:pt x="486" y="432"/>
                  </a:lnTo>
                  <a:lnTo>
                    <a:pt x="492" y="438"/>
                  </a:lnTo>
                  <a:lnTo>
                    <a:pt x="498" y="438"/>
                  </a:lnTo>
                  <a:lnTo>
                    <a:pt x="504" y="444"/>
                  </a:lnTo>
                  <a:lnTo>
                    <a:pt x="510" y="444"/>
                  </a:lnTo>
                  <a:lnTo>
                    <a:pt x="510" y="450"/>
                  </a:lnTo>
                  <a:lnTo>
                    <a:pt x="510" y="456"/>
                  </a:lnTo>
                  <a:lnTo>
                    <a:pt x="516" y="456"/>
                  </a:lnTo>
                  <a:lnTo>
                    <a:pt x="516" y="462"/>
                  </a:lnTo>
                  <a:lnTo>
                    <a:pt x="522" y="462"/>
                  </a:lnTo>
                  <a:lnTo>
                    <a:pt x="522" y="468"/>
                  </a:lnTo>
                  <a:lnTo>
                    <a:pt x="528" y="468"/>
                  </a:lnTo>
                  <a:lnTo>
                    <a:pt x="534" y="468"/>
                  </a:lnTo>
                  <a:lnTo>
                    <a:pt x="534" y="474"/>
                  </a:lnTo>
                  <a:lnTo>
                    <a:pt x="540" y="474"/>
                  </a:lnTo>
                  <a:lnTo>
                    <a:pt x="540" y="480"/>
                  </a:lnTo>
                  <a:lnTo>
                    <a:pt x="546" y="486"/>
                  </a:lnTo>
                  <a:lnTo>
                    <a:pt x="546" y="492"/>
                  </a:lnTo>
                  <a:lnTo>
                    <a:pt x="546" y="498"/>
                  </a:lnTo>
                  <a:lnTo>
                    <a:pt x="546" y="504"/>
                  </a:lnTo>
                  <a:lnTo>
                    <a:pt x="540" y="504"/>
                  </a:lnTo>
                  <a:lnTo>
                    <a:pt x="546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10"/>
                  </a:lnTo>
                  <a:lnTo>
                    <a:pt x="552" y="516"/>
                  </a:lnTo>
                  <a:lnTo>
                    <a:pt x="552" y="522"/>
                  </a:lnTo>
                  <a:lnTo>
                    <a:pt x="552" y="528"/>
                  </a:lnTo>
                  <a:lnTo>
                    <a:pt x="552" y="534"/>
                  </a:lnTo>
                  <a:lnTo>
                    <a:pt x="552" y="540"/>
                  </a:lnTo>
                  <a:lnTo>
                    <a:pt x="546" y="540"/>
                  </a:lnTo>
                  <a:lnTo>
                    <a:pt x="546" y="546"/>
                  </a:lnTo>
                  <a:lnTo>
                    <a:pt x="546" y="540"/>
                  </a:lnTo>
                  <a:lnTo>
                    <a:pt x="546" y="534"/>
                  </a:lnTo>
                  <a:lnTo>
                    <a:pt x="540" y="534"/>
                  </a:lnTo>
                  <a:lnTo>
                    <a:pt x="540" y="528"/>
                  </a:lnTo>
                  <a:lnTo>
                    <a:pt x="534" y="528"/>
                  </a:lnTo>
                  <a:lnTo>
                    <a:pt x="528" y="528"/>
                  </a:lnTo>
                  <a:lnTo>
                    <a:pt x="522" y="528"/>
                  </a:lnTo>
                  <a:lnTo>
                    <a:pt x="516" y="528"/>
                  </a:lnTo>
                  <a:lnTo>
                    <a:pt x="510" y="528"/>
                  </a:lnTo>
                  <a:lnTo>
                    <a:pt x="510" y="534"/>
                  </a:lnTo>
                  <a:lnTo>
                    <a:pt x="510" y="528"/>
                  </a:lnTo>
                  <a:lnTo>
                    <a:pt x="516" y="528"/>
                  </a:lnTo>
                  <a:lnTo>
                    <a:pt x="522" y="528"/>
                  </a:lnTo>
                  <a:lnTo>
                    <a:pt x="528" y="528"/>
                  </a:lnTo>
                  <a:lnTo>
                    <a:pt x="534" y="534"/>
                  </a:lnTo>
                  <a:lnTo>
                    <a:pt x="540" y="534"/>
                  </a:lnTo>
                  <a:lnTo>
                    <a:pt x="540" y="540"/>
                  </a:lnTo>
                  <a:lnTo>
                    <a:pt x="540" y="546"/>
                  </a:lnTo>
                  <a:lnTo>
                    <a:pt x="546" y="546"/>
                  </a:lnTo>
                  <a:lnTo>
                    <a:pt x="546" y="552"/>
                  </a:lnTo>
                  <a:lnTo>
                    <a:pt x="552" y="552"/>
                  </a:lnTo>
                  <a:lnTo>
                    <a:pt x="552" y="558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0" y="576"/>
                  </a:lnTo>
                  <a:lnTo>
                    <a:pt x="540" y="582"/>
                  </a:lnTo>
                  <a:lnTo>
                    <a:pt x="540" y="588"/>
                  </a:lnTo>
                  <a:lnTo>
                    <a:pt x="534" y="594"/>
                  </a:lnTo>
                  <a:lnTo>
                    <a:pt x="534" y="600"/>
                  </a:lnTo>
                  <a:lnTo>
                    <a:pt x="528" y="600"/>
                  </a:lnTo>
                  <a:lnTo>
                    <a:pt x="522" y="594"/>
                  </a:lnTo>
                  <a:lnTo>
                    <a:pt x="528" y="600"/>
                  </a:lnTo>
                  <a:lnTo>
                    <a:pt x="534" y="600"/>
                  </a:lnTo>
                  <a:lnTo>
                    <a:pt x="534" y="606"/>
                  </a:lnTo>
                  <a:lnTo>
                    <a:pt x="528" y="606"/>
                  </a:lnTo>
                  <a:lnTo>
                    <a:pt x="528" y="612"/>
                  </a:lnTo>
                  <a:lnTo>
                    <a:pt x="522" y="612"/>
                  </a:lnTo>
                  <a:lnTo>
                    <a:pt x="522" y="618"/>
                  </a:lnTo>
                  <a:lnTo>
                    <a:pt x="522" y="624"/>
                  </a:lnTo>
                  <a:lnTo>
                    <a:pt x="510" y="624"/>
                  </a:lnTo>
                  <a:lnTo>
                    <a:pt x="498" y="624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0" y="624"/>
                  </a:lnTo>
                  <a:lnTo>
                    <a:pt x="474" y="624"/>
                  </a:lnTo>
                  <a:lnTo>
                    <a:pt x="468" y="618"/>
                  </a:lnTo>
                  <a:lnTo>
                    <a:pt x="456" y="618"/>
                  </a:lnTo>
                  <a:lnTo>
                    <a:pt x="450" y="618"/>
                  </a:lnTo>
                  <a:lnTo>
                    <a:pt x="426" y="618"/>
                  </a:lnTo>
                  <a:lnTo>
                    <a:pt x="420" y="618"/>
                  </a:lnTo>
                  <a:lnTo>
                    <a:pt x="414" y="618"/>
                  </a:lnTo>
                  <a:lnTo>
                    <a:pt x="408" y="618"/>
                  </a:lnTo>
                  <a:lnTo>
                    <a:pt x="396" y="618"/>
                  </a:lnTo>
                  <a:lnTo>
                    <a:pt x="366" y="618"/>
                  </a:lnTo>
                  <a:lnTo>
                    <a:pt x="348" y="624"/>
                  </a:lnTo>
                  <a:lnTo>
                    <a:pt x="342" y="624"/>
                  </a:lnTo>
                  <a:lnTo>
                    <a:pt x="342" y="618"/>
                  </a:lnTo>
                  <a:lnTo>
                    <a:pt x="336" y="618"/>
                  </a:lnTo>
                  <a:lnTo>
                    <a:pt x="336" y="612"/>
                  </a:lnTo>
                  <a:lnTo>
                    <a:pt x="342" y="612"/>
                  </a:lnTo>
                  <a:lnTo>
                    <a:pt x="348" y="612"/>
                  </a:lnTo>
                  <a:lnTo>
                    <a:pt x="342" y="612"/>
                  </a:lnTo>
                  <a:lnTo>
                    <a:pt x="336" y="612"/>
                  </a:lnTo>
                  <a:lnTo>
                    <a:pt x="336" y="606"/>
                  </a:lnTo>
                  <a:lnTo>
                    <a:pt x="330" y="606"/>
                  </a:lnTo>
                  <a:lnTo>
                    <a:pt x="330" y="600"/>
                  </a:lnTo>
                  <a:lnTo>
                    <a:pt x="324" y="600"/>
                  </a:lnTo>
                  <a:lnTo>
                    <a:pt x="324" y="606"/>
                  </a:lnTo>
                  <a:lnTo>
                    <a:pt x="318" y="606"/>
                  </a:lnTo>
                  <a:lnTo>
                    <a:pt x="318" y="612"/>
                  </a:lnTo>
                  <a:lnTo>
                    <a:pt x="312" y="612"/>
                  </a:lnTo>
                  <a:lnTo>
                    <a:pt x="306" y="606"/>
                  </a:lnTo>
                  <a:lnTo>
                    <a:pt x="306" y="612"/>
                  </a:lnTo>
                  <a:lnTo>
                    <a:pt x="312" y="612"/>
                  </a:lnTo>
                  <a:lnTo>
                    <a:pt x="318" y="612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30" y="606"/>
                  </a:lnTo>
                  <a:lnTo>
                    <a:pt x="336" y="612"/>
                  </a:lnTo>
                  <a:lnTo>
                    <a:pt x="336" y="618"/>
                  </a:lnTo>
                  <a:lnTo>
                    <a:pt x="330" y="618"/>
                  </a:lnTo>
                  <a:lnTo>
                    <a:pt x="336" y="618"/>
                  </a:lnTo>
                  <a:lnTo>
                    <a:pt x="336" y="624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288" y="624"/>
                  </a:lnTo>
                  <a:lnTo>
                    <a:pt x="282" y="624"/>
                  </a:lnTo>
                  <a:lnTo>
                    <a:pt x="270" y="630"/>
                  </a:lnTo>
                  <a:lnTo>
                    <a:pt x="264" y="630"/>
                  </a:lnTo>
                  <a:lnTo>
                    <a:pt x="258" y="630"/>
                  </a:lnTo>
                  <a:lnTo>
                    <a:pt x="252" y="630"/>
                  </a:lnTo>
                  <a:lnTo>
                    <a:pt x="246" y="630"/>
                  </a:lnTo>
                  <a:lnTo>
                    <a:pt x="240" y="630"/>
                  </a:lnTo>
                  <a:lnTo>
                    <a:pt x="228" y="636"/>
                  </a:lnTo>
                  <a:lnTo>
                    <a:pt x="222" y="636"/>
                  </a:lnTo>
                  <a:lnTo>
                    <a:pt x="210" y="636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42"/>
                  </a:lnTo>
                  <a:lnTo>
                    <a:pt x="186" y="642"/>
                  </a:lnTo>
                  <a:lnTo>
                    <a:pt x="180" y="642"/>
                  </a:lnTo>
                  <a:lnTo>
                    <a:pt x="168" y="642"/>
                  </a:lnTo>
                  <a:lnTo>
                    <a:pt x="162" y="642"/>
                  </a:lnTo>
                  <a:lnTo>
                    <a:pt x="162" y="648"/>
                  </a:lnTo>
                  <a:lnTo>
                    <a:pt x="156" y="648"/>
                  </a:lnTo>
                  <a:lnTo>
                    <a:pt x="150" y="648"/>
                  </a:lnTo>
                  <a:lnTo>
                    <a:pt x="144" y="648"/>
                  </a:lnTo>
                  <a:lnTo>
                    <a:pt x="138" y="648"/>
                  </a:lnTo>
                  <a:lnTo>
                    <a:pt x="132" y="648"/>
                  </a:lnTo>
                  <a:lnTo>
                    <a:pt x="126" y="642"/>
                  </a:lnTo>
                  <a:lnTo>
                    <a:pt x="126" y="636"/>
                  </a:lnTo>
                  <a:lnTo>
                    <a:pt x="120" y="636"/>
                  </a:lnTo>
                  <a:lnTo>
                    <a:pt x="126" y="642"/>
                  </a:lnTo>
                  <a:lnTo>
                    <a:pt x="126" y="648"/>
                  </a:lnTo>
                  <a:lnTo>
                    <a:pt x="132" y="648"/>
                  </a:lnTo>
                  <a:lnTo>
                    <a:pt x="126" y="654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54"/>
                  </a:lnTo>
                  <a:lnTo>
                    <a:pt x="108" y="660"/>
                  </a:lnTo>
                  <a:lnTo>
                    <a:pt x="108" y="654"/>
                  </a:lnTo>
                  <a:lnTo>
                    <a:pt x="102" y="654"/>
                  </a:lnTo>
                  <a:lnTo>
                    <a:pt x="102" y="660"/>
                  </a:lnTo>
                  <a:lnTo>
                    <a:pt x="108" y="660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0" y="660"/>
                  </a:lnTo>
                  <a:lnTo>
                    <a:pt x="90" y="654"/>
                  </a:lnTo>
                  <a:lnTo>
                    <a:pt x="84" y="648"/>
                  </a:lnTo>
                  <a:lnTo>
                    <a:pt x="84" y="642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72" y="636"/>
                  </a:lnTo>
                  <a:lnTo>
                    <a:pt x="78" y="636"/>
                  </a:lnTo>
                  <a:lnTo>
                    <a:pt x="72" y="636"/>
                  </a:lnTo>
                  <a:lnTo>
                    <a:pt x="66" y="636"/>
                  </a:lnTo>
                  <a:lnTo>
                    <a:pt x="60" y="636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60" y="618"/>
                  </a:lnTo>
                  <a:lnTo>
                    <a:pt x="66" y="618"/>
                  </a:lnTo>
                  <a:lnTo>
                    <a:pt x="72" y="618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2" y="612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12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54" y="618"/>
                  </a:lnTo>
                  <a:lnTo>
                    <a:pt x="54" y="624"/>
                  </a:lnTo>
                  <a:lnTo>
                    <a:pt x="48" y="618"/>
                  </a:lnTo>
                  <a:lnTo>
                    <a:pt x="42" y="618"/>
                  </a:lnTo>
                  <a:lnTo>
                    <a:pt x="42" y="612"/>
                  </a:lnTo>
                  <a:lnTo>
                    <a:pt x="48" y="606"/>
                  </a:lnTo>
                  <a:lnTo>
                    <a:pt x="54" y="606"/>
                  </a:lnTo>
                  <a:lnTo>
                    <a:pt x="54" y="600"/>
                  </a:lnTo>
                  <a:lnTo>
                    <a:pt x="54" y="594"/>
                  </a:lnTo>
                  <a:lnTo>
                    <a:pt x="54" y="588"/>
                  </a:lnTo>
                  <a:lnTo>
                    <a:pt x="48" y="588"/>
                  </a:lnTo>
                  <a:lnTo>
                    <a:pt x="48" y="582"/>
                  </a:lnTo>
                  <a:lnTo>
                    <a:pt x="42" y="582"/>
                  </a:lnTo>
                  <a:lnTo>
                    <a:pt x="42" y="570"/>
                  </a:lnTo>
                  <a:lnTo>
                    <a:pt x="42" y="564"/>
                  </a:lnTo>
                  <a:lnTo>
                    <a:pt x="36" y="564"/>
                  </a:lnTo>
                  <a:close/>
                  <a:moveTo>
                    <a:pt x="498" y="420"/>
                  </a:moveTo>
                  <a:lnTo>
                    <a:pt x="504" y="426"/>
                  </a:lnTo>
                  <a:lnTo>
                    <a:pt x="510" y="432"/>
                  </a:lnTo>
                  <a:lnTo>
                    <a:pt x="516" y="432"/>
                  </a:lnTo>
                  <a:lnTo>
                    <a:pt x="516" y="438"/>
                  </a:lnTo>
                  <a:lnTo>
                    <a:pt x="510" y="438"/>
                  </a:lnTo>
                  <a:lnTo>
                    <a:pt x="504" y="438"/>
                  </a:lnTo>
                  <a:lnTo>
                    <a:pt x="504" y="432"/>
                  </a:lnTo>
                  <a:lnTo>
                    <a:pt x="498" y="432"/>
                  </a:lnTo>
                  <a:lnTo>
                    <a:pt x="498" y="426"/>
                  </a:lnTo>
                  <a:lnTo>
                    <a:pt x="498" y="4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4" name="Freeform 9">
              <a:extLst>
                <a:ext uri="{FF2B5EF4-FFF2-40B4-BE49-F238E27FC236}">
                  <a16:creationId xmlns:a16="http://schemas.microsoft.com/office/drawing/2014/main" id="{E0116D32-BD2E-45EA-B818-A3082585D5F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3055" y="2468650"/>
              <a:ext cx="800556" cy="1207710"/>
            </a:xfrm>
            <a:custGeom>
              <a:avLst/>
              <a:gdLst>
                <a:gd name="T0" fmla="*/ 24 w 1506"/>
                <a:gd name="T1" fmla="*/ 190 h 2274"/>
                <a:gd name="T2" fmla="*/ 25 w 1506"/>
                <a:gd name="T3" fmla="*/ 180 h 2274"/>
                <a:gd name="T4" fmla="*/ 21 w 1506"/>
                <a:gd name="T5" fmla="*/ 174 h 2274"/>
                <a:gd name="T6" fmla="*/ 17 w 1506"/>
                <a:gd name="T7" fmla="*/ 170 h 2274"/>
                <a:gd name="T8" fmla="*/ 12 w 1506"/>
                <a:gd name="T9" fmla="*/ 168 h 2274"/>
                <a:gd name="T10" fmla="*/ 10 w 1506"/>
                <a:gd name="T11" fmla="*/ 173 h 2274"/>
                <a:gd name="T12" fmla="*/ 7 w 1506"/>
                <a:gd name="T13" fmla="*/ 174 h 2274"/>
                <a:gd name="T14" fmla="*/ 0 w 1506"/>
                <a:gd name="T15" fmla="*/ 163 h 2274"/>
                <a:gd name="T16" fmla="*/ 16 w 1506"/>
                <a:gd name="T17" fmla="*/ 140 h 2274"/>
                <a:gd name="T18" fmla="*/ 19 w 1506"/>
                <a:gd name="T19" fmla="*/ 137 h 2274"/>
                <a:gd name="T20" fmla="*/ 24 w 1506"/>
                <a:gd name="T21" fmla="*/ 126 h 2274"/>
                <a:gd name="T22" fmla="*/ 23 w 1506"/>
                <a:gd name="T23" fmla="*/ 105 h 2274"/>
                <a:gd name="T24" fmla="*/ 14 w 1506"/>
                <a:gd name="T25" fmla="*/ 86 h 2274"/>
                <a:gd name="T26" fmla="*/ 8 w 1506"/>
                <a:gd name="T27" fmla="*/ 84 h 2274"/>
                <a:gd name="T28" fmla="*/ 5 w 1506"/>
                <a:gd name="T29" fmla="*/ 79 h 2274"/>
                <a:gd name="T30" fmla="*/ 16 w 1506"/>
                <a:gd name="T31" fmla="*/ 71 h 2274"/>
                <a:gd name="T32" fmla="*/ 28 w 1506"/>
                <a:gd name="T33" fmla="*/ 55 h 2274"/>
                <a:gd name="T34" fmla="*/ 29 w 1506"/>
                <a:gd name="T35" fmla="*/ 48 h 2274"/>
                <a:gd name="T36" fmla="*/ 35 w 1506"/>
                <a:gd name="T37" fmla="*/ 50 h 2274"/>
                <a:gd name="T38" fmla="*/ 42 w 1506"/>
                <a:gd name="T39" fmla="*/ 47 h 2274"/>
                <a:gd name="T40" fmla="*/ 63 w 1506"/>
                <a:gd name="T41" fmla="*/ 34 h 2274"/>
                <a:gd name="T42" fmla="*/ 74 w 1506"/>
                <a:gd name="T43" fmla="*/ 27 h 2274"/>
                <a:gd name="T44" fmla="*/ 81 w 1506"/>
                <a:gd name="T45" fmla="*/ 20 h 2274"/>
                <a:gd name="T46" fmla="*/ 89 w 1506"/>
                <a:gd name="T47" fmla="*/ 20 h 2274"/>
                <a:gd name="T48" fmla="*/ 98 w 1506"/>
                <a:gd name="T49" fmla="*/ 27 h 2274"/>
                <a:gd name="T50" fmla="*/ 106 w 1506"/>
                <a:gd name="T51" fmla="*/ 17 h 2274"/>
                <a:gd name="T52" fmla="*/ 111 w 1506"/>
                <a:gd name="T53" fmla="*/ 8 h 2274"/>
                <a:gd name="T54" fmla="*/ 121 w 1506"/>
                <a:gd name="T55" fmla="*/ 2 h 2274"/>
                <a:gd name="T56" fmla="*/ 129 w 1506"/>
                <a:gd name="T57" fmla="*/ 5 h 2274"/>
                <a:gd name="T58" fmla="*/ 125 w 1506"/>
                <a:gd name="T59" fmla="*/ 12 h 2274"/>
                <a:gd name="T60" fmla="*/ 122 w 1506"/>
                <a:gd name="T61" fmla="*/ 20 h 2274"/>
                <a:gd name="T62" fmla="*/ 122 w 1506"/>
                <a:gd name="T63" fmla="*/ 27 h 2274"/>
                <a:gd name="T64" fmla="*/ 120 w 1506"/>
                <a:gd name="T65" fmla="*/ 36 h 2274"/>
                <a:gd name="T66" fmla="*/ 116 w 1506"/>
                <a:gd name="T67" fmla="*/ 43 h 2274"/>
                <a:gd name="T68" fmla="*/ 109 w 1506"/>
                <a:gd name="T69" fmla="*/ 47 h 2274"/>
                <a:gd name="T70" fmla="*/ 108 w 1506"/>
                <a:gd name="T71" fmla="*/ 54 h 2274"/>
                <a:gd name="T72" fmla="*/ 106 w 1506"/>
                <a:gd name="T73" fmla="*/ 59 h 2274"/>
                <a:gd name="T74" fmla="*/ 109 w 1506"/>
                <a:gd name="T75" fmla="*/ 64 h 2274"/>
                <a:gd name="T76" fmla="*/ 106 w 1506"/>
                <a:gd name="T77" fmla="*/ 70 h 2274"/>
                <a:gd name="T78" fmla="*/ 105 w 1506"/>
                <a:gd name="T79" fmla="*/ 75 h 2274"/>
                <a:gd name="T80" fmla="*/ 101 w 1506"/>
                <a:gd name="T81" fmla="*/ 78 h 2274"/>
                <a:gd name="T82" fmla="*/ 92 w 1506"/>
                <a:gd name="T83" fmla="*/ 81 h 2274"/>
                <a:gd name="T84" fmla="*/ 85 w 1506"/>
                <a:gd name="T85" fmla="*/ 85 h 2274"/>
                <a:gd name="T86" fmla="*/ 87 w 1506"/>
                <a:gd name="T87" fmla="*/ 91 h 2274"/>
                <a:gd name="T88" fmla="*/ 86 w 1506"/>
                <a:gd name="T89" fmla="*/ 98 h 2274"/>
                <a:gd name="T90" fmla="*/ 86 w 1506"/>
                <a:gd name="T91" fmla="*/ 103 h 2274"/>
                <a:gd name="T92" fmla="*/ 82 w 1506"/>
                <a:gd name="T93" fmla="*/ 111 h 2274"/>
                <a:gd name="T94" fmla="*/ 81 w 1506"/>
                <a:gd name="T95" fmla="*/ 116 h 2274"/>
                <a:gd name="T96" fmla="*/ 78 w 1506"/>
                <a:gd name="T97" fmla="*/ 120 h 2274"/>
                <a:gd name="T98" fmla="*/ 76 w 1506"/>
                <a:gd name="T99" fmla="*/ 126 h 2274"/>
                <a:gd name="T100" fmla="*/ 68 w 1506"/>
                <a:gd name="T101" fmla="*/ 129 h 2274"/>
                <a:gd name="T102" fmla="*/ 62 w 1506"/>
                <a:gd name="T103" fmla="*/ 131 h 2274"/>
                <a:gd name="T104" fmla="*/ 58 w 1506"/>
                <a:gd name="T105" fmla="*/ 136 h 2274"/>
                <a:gd name="T106" fmla="*/ 51 w 1506"/>
                <a:gd name="T107" fmla="*/ 138 h 2274"/>
                <a:gd name="T108" fmla="*/ 51 w 1506"/>
                <a:gd name="T109" fmla="*/ 147 h 2274"/>
                <a:gd name="T110" fmla="*/ 49 w 1506"/>
                <a:gd name="T111" fmla="*/ 159 h 2274"/>
                <a:gd name="T112" fmla="*/ 48 w 1506"/>
                <a:gd name="T113" fmla="*/ 166 h 2274"/>
                <a:gd name="T114" fmla="*/ 41 w 1506"/>
                <a:gd name="T115" fmla="*/ 174 h 2274"/>
                <a:gd name="T116" fmla="*/ 39 w 1506"/>
                <a:gd name="T117" fmla="*/ 181 h 2274"/>
                <a:gd name="T118" fmla="*/ 37 w 1506"/>
                <a:gd name="T119" fmla="*/ 190 h 2274"/>
                <a:gd name="T120" fmla="*/ 29 w 1506"/>
                <a:gd name="T121" fmla="*/ 198 h 22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06"/>
                <a:gd name="T184" fmla="*/ 0 h 2274"/>
                <a:gd name="T185" fmla="*/ 1506 w 1506"/>
                <a:gd name="T186" fmla="*/ 2274 h 227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06" h="2274">
                  <a:moveTo>
                    <a:pt x="330" y="2274"/>
                  </a:moveTo>
                  <a:lnTo>
                    <a:pt x="318" y="2262"/>
                  </a:lnTo>
                  <a:lnTo>
                    <a:pt x="312" y="2238"/>
                  </a:lnTo>
                  <a:lnTo>
                    <a:pt x="312" y="2232"/>
                  </a:lnTo>
                  <a:lnTo>
                    <a:pt x="294" y="2214"/>
                  </a:lnTo>
                  <a:lnTo>
                    <a:pt x="288" y="2208"/>
                  </a:lnTo>
                  <a:lnTo>
                    <a:pt x="288" y="2202"/>
                  </a:lnTo>
                  <a:lnTo>
                    <a:pt x="276" y="2196"/>
                  </a:lnTo>
                  <a:lnTo>
                    <a:pt x="276" y="2190"/>
                  </a:lnTo>
                  <a:lnTo>
                    <a:pt x="282" y="2190"/>
                  </a:lnTo>
                  <a:lnTo>
                    <a:pt x="282" y="2184"/>
                  </a:lnTo>
                  <a:lnTo>
                    <a:pt x="276" y="2172"/>
                  </a:lnTo>
                  <a:lnTo>
                    <a:pt x="276" y="2166"/>
                  </a:lnTo>
                  <a:lnTo>
                    <a:pt x="282" y="2166"/>
                  </a:lnTo>
                  <a:lnTo>
                    <a:pt x="282" y="2154"/>
                  </a:lnTo>
                  <a:lnTo>
                    <a:pt x="276" y="2136"/>
                  </a:lnTo>
                  <a:lnTo>
                    <a:pt x="276" y="2112"/>
                  </a:lnTo>
                  <a:lnTo>
                    <a:pt x="282" y="2088"/>
                  </a:lnTo>
                  <a:lnTo>
                    <a:pt x="282" y="2082"/>
                  </a:lnTo>
                  <a:lnTo>
                    <a:pt x="282" y="2076"/>
                  </a:lnTo>
                  <a:lnTo>
                    <a:pt x="282" y="2070"/>
                  </a:lnTo>
                  <a:lnTo>
                    <a:pt x="288" y="2070"/>
                  </a:lnTo>
                  <a:lnTo>
                    <a:pt x="288" y="2064"/>
                  </a:lnTo>
                  <a:lnTo>
                    <a:pt x="282" y="2052"/>
                  </a:lnTo>
                  <a:lnTo>
                    <a:pt x="282" y="2046"/>
                  </a:lnTo>
                  <a:lnTo>
                    <a:pt x="276" y="2040"/>
                  </a:lnTo>
                  <a:lnTo>
                    <a:pt x="270" y="2034"/>
                  </a:lnTo>
                  <a:lnTo>
                    <a:pt x="264" y="2022"/>
                  </a:lnTo>
                  <a:lnTo>
                    <a:pt x="258" y="2022"/>
                  </a:lnTo>
                  <a:lnTo>
                    <a:pt x="258" y="2016"/>
                  </a:lnTo>
                  <a:lnTo>
                    <a:pt x="252" y="2016"/>
                  </a:lnTo>
                  <a:lnTo>
                    <a:pt x="246" y="2016"/>
                  </a:lnTo>
                  <a:lnTo>
                    <a:pt x="240" y="2010"/>
                  </a:lnTo>
                  <a:lnTo>
                    <a:pt x="234" y="2004"/>
                  </a:lnTo>
                  <a:lnTo>
                    <a:pt x="228" y="2004"/>
                  </a:lnTo>
                  <a:lnTo>
                    <a:pt x="228" y="1998"/>
                  </a:lnTo>
                  <a:lnTo>
                    <a:pt x="228" y="1992"/>
                  </a:lnTo>
                  <a:lnTo>
                    <a:pt x="222" y="1992"/>
                  </a:lnTo>
                  <a:lnTo>
                    <a:pt x="222" y="1986"/>
                  </a:lnTo>
                  <a:lnTo>
                    <a:pt x="216" y="1986"/>
                  </a:lnTo>
                  <a:lnTo>
                    <a:pt x="210" y="1980"/>
                  </a:lnTo>
                  <a:lnTo>
                    <a:pt x="216" y="1974"/>
                  </a:lnTo>
                  <a:lnTo>
                    <a:pt x="210" y="1968"/>
                  </a:lnTo>
                  <a:lnTo>
                    <a:pt x="198" y="1956"/>
                  </a:lnTo>
                  <a:lnTo>
                    <a:pt x="192" y="1956"/>
                  </a:lnTo>
                  <a:lnTo>
                    <a:pt x="186" y="1956"/>
                  </a:lnTo>
                  <a:lnTo>
                    <a:pt x="180" y="1944"/>
                  </a:lnTo>
                  <a:lnTo>
                    <a:pt x="180" y="1938"/>
                  </a:lnTo>
                  <a:lnTo>
                    <a:pt x="174" y="1932"/>
                  </a:lnTo>
                  <a:lnTo>
                    <a:pt x="168" y="1932"/>
                  </a:lnTo>
                  <a:lnTo>
                    <a:pt x="162" y="1932"/>
                  </a:lnTo>
                  <a:lnTo>
                    <a:pt x="150" y="1932"/>
                  </a:lnTo>
                  <a:lnTo>
                    <a:pt x="150" y="1926"/>
                  </a:lnTo>
                  <a:lnTo>
                    <a:pt x="150" y="1932"/>
                  </a:lnTo>
                  <a:lnTo>
                    <a:pt x="144" y="1932"/>
                  </a:lnTo>
                  <a:lnTo>
                    <a:pt x="138" y="1932"/>
                  </a:lnTo>
                  <a:lnTo>
                    <a:pt x="132" y="1932"/>
                  </a:lnTo>
                  <a:lnTo>
                    <a:pt x="132" y="1938"/>
                  </a:lnTo>
                  <a:lnTo>
                    <a:pt x="126" y="1944"/>
                  </a:lnTo>
                  <a:lnTo>
                    <a:pt x="126" y="1956"/>
                  </a:lnTo>
                  <a:lnTo>
                    <a:pt x="120" y="1968"/>
                  </a:lnTo>
                  <a:lnTo>
                    <a:pt x="120" y="1974"/>
                  </a:lnTo>
                  <a:lnTo>
                    <a:pt x="120" y="1980"/>
                  </a:lnTo>
                  <a:lnTo>
                    <a:pt x="126" y="1980"/>
                  </a:lnTo>
                  <a:lnTo>
                    <a:pt x="120" y="1986"/>
                  </a:lnTo>
                  <a:lnTo>
                    <a:pt x="120" y="1992"/>
                  </a:lnTo>
                  <a:lnTo>
                    <a:pt x="114" y="1992"/>
                  </a:lnTo>
                  <a:lnTo>
                    <a:pt x="114" y="1986"/>
                  </a:lnTo>
                  <a:lnTo>
                    <a:pt x="108" y="1992"/>
                  </a:lnTo>
                  <a:lnTo>
                    <a:pt x="108" y="1998"/>
                  </a:lnTo>
                  <a:lnTo>
                    <a:pt x="114" y="2004"/>
                  </a:lnTo>
                  <a:lnTo>
                    <a:pt x="108" y="2004"/>
                  </a:lnTo>
                  <a:lnTo>
                    <a:pt x="102" y="2010"/>
                  </a:lnTo>
                  <a:lnTo>
                    <a:pt x="102" y="2004"/>
                  </a:lnTo>
                  <a:lnTo>
                    <a:pt x="90" y="2004"/>
                  </a:lnTo>
                  <a:lnTo>
                    <a:pt x="84" y="2004"/>
                  </a:lnTo>
                  <a:lnTo>
                    <a:pt x="78" y="1998"/>
                  </a:lnTo>
                  <a:lnTo>
                    <a:pt x="78" y="1992"/>
                  </a:lnTo>
                  <a:lnTo>
                    <a:pt x="78" y="1986"/>
                  </a:lnTo>
                  <a:lnTo>
                    <a:pt x="72" y="1986"/>
                  </a:lnTo>
                  <a:lnTo>
                    <a:pt x="66" y="1980"/>
                  </a:lnTo>
                  <a:lnTo>
                    <a:pt x="66" y="1968"/>
                  </a:lnTo>
                  <a:lnTo>
                    <a:pt x="60" y="1956"/>
                  </a:lnTo>
                  <a:lnTo>
                    <a:pt x="60" y="1950"/>
                  </a:lnTo>
                  <a:lnTo>
                    <a:pt x="48" y="1944"/>
                  </a:lnTo>
                  <a:lnTo>
                    <a:pt x="30" y="1926"/>
                  </a:lnTo>
                  <a:lnTo>
                    <a:pt x="12" y="1890"/>
                  </a:lnTo>
                  <a:lnTo>
                    <a:pt x="6" y="1872"/>
                  </a:lnTo>
                  <a:lnTo>
                    <a:pt x="0" y="1854"/>
                  </a:lnTo>
                  <a:lnTo>
                    <a:pt x="6" y="1824"/>
                  </a:lnTo>
                  <a:lnTo>
                    <a:pt x="30" y="1794"/>
                  </a:lnTo>
                  <a:lnTo>
                    <a:pt x="66" y="1752"/>
                  </a:lnTo>
                  <a:lnTo>
                    <a:pt x="72" y="1752"/>
                  </a:lnTo>
                  <a:lnTo>
                    <a:pt x="78" y="1746"/>
                  </a:lnTo>
                  <a:lnTo>
                    <a:pt x="84" y="1746"/>
                  </a:lnTo>
                  <a:lnTo>
                    <a:pt x="90" y="1746"/>
                  </a:lnTo>
                  <a:lnTo>
                    <a:pt x="138" y="1674"/>
                  </a:lnTo>
                  <a:lnTo>
                    <a:pt x="186" y="1620"/>
                  </a:lnTo>
                  <a:lnTo>
                    <a:pt x="186" y="1614"/>
                  </a:lnTo>
                  <a:lnTo>
                    <a:pt x="186" y="1608"/>
                  </a:lnTo>
                  <a:lnTo>
                    <a:pt x="192" y="1608"/>
                  </a:lnTo>
                  <a:lnTo>
                    <a:pt x="192" y="1614"/>
                  </a:lnTo>
                  <a:lnTo>
                    <a:pt x="198" y="1614"/>
                  </a:lnTo>
                  <a:lnTo>
                    <a:pt x="198" y="1608"/>
                  </a:lnTo>
                  <a:lnTo>
                    <a:pt x="198" y="1602"/>
                  </a:lnTo>
                  <a:lnTo>
                    <a:pt x="204" y="1602"/>
                  </a:lnTo>
                  <a:lnTo>
                    <a:pt x="204" y="1596"/>
                  </a:lnTo>
                  <a:lnTo>
                    <a:pt x="210" y="1590"/>
                  </a:lnTo>
                  <a:lnTo>
                    <a:pt x="216" y="1590"/>
                  </a:lnTo>
                  <a:lnTo>
                    <a:pt x="216" y="1584"/>
                  </a:lnTo>
                  <a:lnTo>
                    <a:pt x="222" y="1584"/>
                  </a:lnTo>
                  <a:lnTo>
                    <a:pt x="228" y="1572"/>
                  </a:lnTo>
                  <a:lnTo>
                    <a:pt x="222" y="1572"/>
                  </a:lnTo>
                  <a:lnTo>
                    <a:pt x="228" y="1566"/>
                  </a:lnTo>
                  <a:lnTo>
                    <a:pt x="228" y="1560"/>
                  </a:lnTo>
                  <a:lnTo>
                    <a:pt x="252" y="1548"/>
                  </a:lnTo>
                  <a:lnTo>
                    <a:pt x="276" y="1530"/>
                  </a:lnTo>
                  <a:lnTo>
                    <a:pt x="282" y="1512"/>
                  </a:lnTo>
                  <a:lnTo>
                    <a:pt x="282" y="1506"/>
                  </a:lnTo>
                  <a:lnTo>
                    <a:pt x="282" y="1494"/>
                  </a:lnTo>
                  <a:lnTo>
                    <a:pt x="282" y="1452"/>
                  </a:lnTo>
                  <a:lnTo>
                    <a:pt x="288" y="1440"/>
                  </a:lnTo>
                  <a:lnTo>
                    <a:pt x="294" y="1440"/>
                  </a:lnTo>
                  <a:lnTo>
                    <a:pt x="294" y="1428"/>
                  </a:lnTo>
                  <a:lnTo>
                    <a:pt x="324" y="1368"/>
                  </a:lnTo>
                  <a:lnTo>
                    <a:pt x="330" y="1362"/>
                  </a:lnTo>
                  <a:lnTo>
                    <a:pt x="330" y="1356"/>
                  </a:lnTo>
                  <a:lnTo>
                    <a:pt x="360" y="1338"/>
                  </a:lnTo>
                  <a:lnTo>
                    <a:pt x="366" y="1296"/>
                  </a:lnTo>
                  <a:lnTo>
                    <a:pt x="354" y="1278"/>
                  </a:lnTo>
                  <a:lnTo>
                    <a:pt x="336" y="1230"/>
                  </a:lnTo>
                  <a:lnTo>
                    <a:pt x="270" y="1212"/>
                  </a:lnTo>
                  <a:lnTo>
                    <a:pt x="264" y="1212"/>
                  </a:lnTo>
                  <a:lnTo>
                    <a:pt x="252" y="1200"/>
                  </a:lnTo>
                  <a:lnTo>
                    <a:pt x="234" y="1188"/>
                  </a:lnTo>
                  <a:lnTo>
                    <a:pt x="222" y="1182"/>
                  </a:lnTo>
                  <a:lnTo>
                    <a:pt x="228" y="1104"/>
                  </a:lnTo>
                  <a:lnTo>
                    <a:pt x="228" y="1098"/>
                  </a:lnTo>
                  <a:lnTo>
                    <a:pt x="198" y="1038"/>
                  </a:lnTo>
                  <a:lnTo>
                    <a:pt x="192" y="1032"/>
                  </a:lnTo>
                  <a:lnTo>
                    <a:pt x="180" y="1020"/>
                  </a:lnTo>
                  <a:lnTo>
                    <a:pt x="168" y="996"/>
                  </a:lnTo>
                  <a:lnTo>
                    <a:pt x="162" y="990"/>
                  </a:lnTo>
                  <a:lnTo>
                    <a:pt x="156" y="990"/>
                  </a:lnTo>
                  <a:lnTo>
                    <a:pt x="150" y="990"/>
                  </a:lnTo>
                  <a:lnTo>
                    <a:pt x="132" y="990"/>
                  </a:lnTo>
                  <a:lnTo>
                    <a:pt x="120" y="984"/>
                  </a:lnTo>
                  <a:lnTo>
                    <a:pt x="120" y="990"/>
                  </a:lnTo>
                  <a:lnTo>
                    <a:pt x="114" y="990"/>
                  </a:lnTo>
                  <a:lnTo>
                    <a:pt x="102" y="984"/>
                  </a:lnTo>
                  <a:lnTo>
                    <a:pt x="96" y="984"/>
                  </a:lnTo>
                  <a:lnTo>
                    <a:pt x="96" y="978"/>
                  </a:lnTo>
                  <a:lnTo>
                    <a:pt x="90" y="978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84" y="960"/>
                  </a:lnTo>
                  <a:lnTo>
                    <a:pt x="84" y="954"/>
                  </a:lnTo>
                  <a:lnTo>
                    <a:pt x="78" y="948"/>
                  </a:lnTo>
                  <a:lnTo>
                    <a:pt x="72" y="948"/>
                  </a:lnTo>
                  <a:lnTo>
                    <a:pt x="72" y="942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06"/>
                  </a:lnTo>
                  <a:lnTo>
                    <a:pt x="60" y="888"/>
                  </a:lnTo>
                  <a:lnTo>
                    <a:pt x="54" y="882"/>
                  </a:lnTo>
                  <a:lnTo>
                    <a:pt x="60" y="882"/>
                  </a:lnTo>
                  <a:lnTo>
                    <a:pt x="72" y="876"/>
                  </a:lnTo>
                  <a:lnTo>
                    <a:pt x="78" y="876"/>
                  </a:lnTo>
                  <a:lnTo>
                    <a:pt x="90" y="870"/>
                  </a:lnTo>
                  <a:lnTo>
                    <a:pt x="90" y="864"/>
                  </a:lnTo>
                  <a:lnTo>
                    <a:pt x="96" y="840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80" y="822"/>
                  </a:lnTo>
                  <a:lnTo>
                    <a:pt x="204" y="798"/>
                  </a:lnTo>
                  <a:lnTo>
                    <a:pt x="222" y="786"/>
                  </a:lnTo>
                  <a:lnTo>
                    <a:pt x="252" y="780"/>
                  </a:lnTo>
                  <a:lnTo>
                    <a:pt x="264" y="762"/>
                  </a:lnTo>
                  <a:lnTo>
                    <a:pt x="276" y="762"/>
                  </a:lnTo>
                  <a:lnTo>
                    <a:pt x="288" y="744"/>
                  </a:lnTo>
                  <a:lnTo>
                    <a:pt x="306" y="738"/>
                  </a:lnTo>
                  <a:lnTo>
                    <a:pt x="318" y="732"/>
                  </a:lnTo>
                  <a:lnTo>
                    <a:pt x="324" y="648"/>
                  </a:lnTo>
                  <a:lnTo>
                    <a:pt x="324" y="636"/>
                  </a:lnTo>
                  <a:lnTo>
                    <a:pt x="324" y="630"/>
                  </a:lnTo>
                  <a:lnTo>
                    <a:pt x="330" y="624"/>
                  </a:lnTo>
                  <a:lnTo>
                    <a:pt x="324" y="618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24" y="588"/>
                  </a:lnTo>
                  <a:lnTo>
                    <a:pt x="318" y="576"/>
                  </a:lnTo>
                  <a:lnTo>
                    <a:pt x="318" y="570"/>
                  </a:lnTo>
                  <a:lnTo>
                    <a:pt x="324" y="570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30" y="558"/>
                  </a:lnTo>
                  <a:lnTo>
                    <a:pt x="336" y="558"/>
                  </a:lnTo>
                  <a:lnTo>
                    <a:pt x="342" y="558"/>
                  </a:lnTo>
                  <a:lnTo>
                    <a:pt x="348" y="558"/>
                  </a:lnTo>
                  <a:lnTo>
                    <a:pt x="354" y="564"/>
                  </a:lnTo>
                  <a:lnTo>
                    <a:pt x="360" y="564"/>
                  </a:lnTo>
                  <a:lnTo>
                    <a:pt x="366" y="570"/>
                  </a:lnTo>
                  <a:lnTo>
                    <a:pt x="366" y="576"/>
                  </a:lnTo>
                  <a:lnTo>
                    <a:pt x="372" y="570"/>
                  </a:lnTo>
                  <a:lnTo>
                    <a:pt x="378" y="570"/>
                  </a:lnTo>
                  <a:lnTo>
                    <a:pt x="390" y="570"/>
                  </a:lnTo>
                  <a:lnTo>
                    <a:pt x="402" y="570"/>
                  </a:lnTo>
                  <a:lnTo>
                    <a:pt x="408" y="570"/>
                  </a:lnTo>
                  <a:lnTo>
                    <a:pt x="414" y="564"/>
                  </a:lnTo>
                  <a:lnTo>
                    <a:pt x="420" y="564"/>
                  </a:lnTo>
                  <a:lnTo>
                    <a:pt x="420" y="570"/>
                  </a:lnTo>
                  <a:lnTo>
                    <a:pt x="426" y="570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44" y="570"/>
                  </a:lnTo>
                  <a:lnTo>
                    <a:pt x="450" y="564"/>
                  </a:lnTo>
                  <a:lnTo>
                    <a:pt x="474" y="558"/>
                  </a:lnTo>
                  <a:lnTo>
                    <a:pt x="486" y="54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40" y="474"/>
                  </a:lnTo>
                  <a:lnTo>
                    <a:pt x="558" y="456"/>
                  </a:lnTo>
                  <a:lnTo>
                    <a:pt x="582" y="450"/>
                  </a:lnTo>
                  <a:lnTo>
                    <a:pt x="594" y="414"/>
                  </a:lnTo>
                  <a:lnTo>
                    <a:pt x="612" y="390"/>
                  </a:lnTo>
                  <a:lnTo>
                    <a:pt x="636" y="390"/>
                  </a:lnTo>
                  <a:lnTo>
                    <a:pt x="666" y="390"/>
                  </a:lnTo>
                  <a:lnTo>
                    <a:pt x="696" y="390"/>
                  </a:lnTo>
                  <a:lnTo>
                    <a:pt x="726" y="390"/>
                  </a:lnTo>
                  <a:lnTo>
                    <a:pt x="762" y="378"/>
                  </a:lnTo>
                  <a:lnTo>
                    <a:pt x="780" y="366"/>
                  </a:lnTo>
                  <a:lnTo>
                    <a:pt x="780" y="342"/>
                  </a:lnTo>
                  <a:lnTo>
                    <a:pt x="786" y="342"/>
                  </a:lnTo>
                  <a:lnTo>
                    <a:pt x="786" y="336"/>
                  </a:lnTo>
                  <a:lnTo>
                    <a:pt x="786" y="330"/>
                  </a:lnTo>
                  <a:lnTo>
                    <a:pt x="786" y="324"/>
                  </a:lnTo>
                  <a:lnTo>
                    <a:pt x="816" y="318"/>
                  </a:lnTo>
                  <a:lnTo>
                    <a:pt x="834" y="312"/>
                  </a:lnTo>
                  <a:lnTo>
                    <a:pt x="840" y="318"/>
                  </a:lnTo>
                  <a:lnTo>
                    <a:pt x="852" y="318"/>
                  </a:lnTo>
                  <a:lnTo>
                    <a:pt x="858" y="306"/>
                  </a:lnTo>
                  <a:lnTo>
                    <a:pt x="864" y="288"/>
                  </a:lnTo>
                  <a:lnTo>
                    <a:pt x="870" y="282"/>
                  </a:lnTo>
                  <a:lnTo>
                    <a:pt x="876" y="276"/>
                  </a:lnTo>
                  <a:lnTo>
                    <a:pt x="882" y="264"/>
                  </a:lnTo>
                  <a:lnTo>
                    <a:pt x="882" y="258"/>
                  </a:lnTo>
                  <a:lnTo>
                    <a:pt x="888" y="252"/>
                  </a:lnTo>
                  <a:lnTo>
                    <a:pt x="894" y="240"/>
                  </a:lnTo>
                  <a:lnTo>
                    <a:pt x="906" y="228"/>
                  </a:lnTo>
                  <a:lnTo>
                    <a:pt x="912" y="228"/>
                  </a:lnTo>
                  <a:lnTo>
                    <a:pt x="936" y="228"/>
                  </a:lnTo>
                  <a:lnTo>
                    <a:pt x="942" y="222"/>
                  </a:lnTo>
                  <a:lnTo>
                    <a:pt x="948" y="216"/>
                  </a:lnTo>
                  <a:lnTo>
                    <a:pt x="954" y="216"/>
                  </a:lnTo>
                  <a:lnTo>
                    <a:pt x="960" y="216"/>
                  </a:lnTo>
                  <a:lnTo>
                    <a:pt x="966" y="216"/>
                  </a:lnTo>
                  <a:lnTo>
                    <a:pt x="978" y="216"/>
                  </a:lnTo>
                  <a:lnTo>
                    <a:pt x="990" y="222"/>
                  </a:lnTo>
                  <a:lnTo>
                    <a:pt x="996" y="222"/>
                  </a:lnTo>
                  <a:lnTo>
                    <a:pt x="1002" y="228"/>
                  </a:lnTo>
                  <a:lnTo>
                    <a:pt x="1014" y="234"/>
                  </a:lnTo>
                  <a:lnTo>
                    <a:pt x="1020" y="234"/>
                  </a:lnTo>
                  <a:lnTo>
                    <a:pt x="1032" y="240"/>
                  </a:lnTo>
                  <a:lnTo>
                    <a:pt x="1044" y="240"/>
                  </a:lnTo>
                  <a:lnTo>
                    <a:pt x="1050" y="240"/>
                  </a:lnTo>
                  <a:lnTo>
                    <a:pt x="1056" y="246"/>
                  </a:lnTo>
                  <a:lnTo>
                    <a:pt x="1068" y="264"/>
                  </a:lnTo>
                  <a:lnTo>
                    <a:pt x="1086" y="276"/>
                  </a:lnTo>
                  <a:lnTo>
                    <a:pt x="1092" y="276"/>
                  </a:lnTo>
                  <a:lnTo>
                    <a:pt x="1104" y="282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8" y="312"/>
                  </a:lnTo>
                  <a:lnTo>
                    <a:pt x="1152" y="324"/>
                  </a:lnTo>
                  <a:lnTo>
                    <a:pt x="1188" y="324"/>
                  </a:lnTo>
                  <a:lnTo>
                    <a:pt x="1206" y="318"/>
                  </a:lnTo>
                  <a:lnTo>
                    <a:pt x="1200" y="294"/>
                  </a:lnTo>
                  <a:lnTo>
                    <a:pt x="1206" y="252"/>
                  </a:lnTo>
                  <a:lnTo>
                    <a:pt x="1218" y="222"/>
                  </a:lnTo>
                  <a:lnTo>
                    <a:pt x="1212" y="222"/>
                  </a:lnTo>
                  <a:lnTo>
                    <a:pt x="1212" y="216"/>
                  </a:lnTo>
                  <a:lnTo>
                    <a:pt x="1218" y="204"/>
                  </a:lnTo>
                  <a:lnTo>
                    <a:pt x="1224" y="198"/>
                  </a:lnTo>
                  <a:lnTo>
                    <a:pt x="1224" y="192"/>
                  </a:lnTo>
                  <a:lnTo>
                    <a:pt x="1236" y="180"/>
                  </a:lnTo>
                  <a:lnTo>
                    <a:pt x="1254" y="156"/>
                  </a:lnTo>
                  <a:lnTo>
                    <a:pt x="1260" y="150"/>
                  </a:lnTo>
                  <a:lnTo>
                    <a:pt x="1260" y="144"/>
                  </a:lnTo>
                  <a:lnTo>
                    <a:pt x="1266" y="138"/>
                  </a:lnTo>
                  <a:lnTo>
                    <a:pt x="1272" y="138"/>
                  </a:lnTo>
                  <a:lnTo>
                    <a:pt x="1272" y="120"/>
                  </a:lnTo>
                  <a:lnTo>
                    <a:pt x="1278" y="114"/>
                  </a:lnTo>
                  <a:lnTo>
                    <a:pt x="1278" y="108"/>
                  </a:lnTo>
                  <a:lnTo>
                    <a:pt x="1278" y="102"/>
                  </a:lnTo>
                  <a:lnTo>
                    <a:pt x="1278" y="90"/>
                  </a:lnTo>
                  <a:lnTo>
                    <a:pt x="1278" y="84"/>
                  </a:lnTo>
                  <a:lnTo>
                    <a:pt x="1278" y="78"/>
                  </a:lnTo>
                  <a:lnTo>
                    <a:pt x="1278" y="72"/>
                  </a:lnTo>
                  <a:lnTo>
                    <a:pt x="1278" y="60"/>
                  </a:lnTo>
                  <a:lnTo>
                    <a:pt x="1284" y="48"/>
                  </a:lnTo>
                  <a:lnTo>
                    <a:pt x="1284" y="24"/>
                  </a:lnTo>
                  <a:lnTo>
                    <a:pt x="1284" y="18"/>
                  </a:lnTo>
                  <a:lnTo>
                    <a:pt x="1308" y="24"/>
                  </a:lnTo>
                  <a:lnTo>
                    <a:pt x="1332" y="30"/>
                  </a:lnTo>
                  <a:lnTo>
                    <a:pt x="1368" y="30"/>
                  </a:lnTo>
                  <a:lnTo>
                    <a:pt x="1392" y="24"/>
                  </a:lnTo>
                  <a:lnTo>
                    <a:pt x="1410" y="18"/>
                  </a:lnTo>
                  <a:lnTo>
                    <a:pt x="1416" y="6"/>
                  </a:lnTo>
                  <a:lnTo>
                    <a:pt x="1500" y="6"/>
                  </a:lnTo>
                  <a:lnTo>
                    <a:pt x="1506" y="0"/>
                  </a:lnTo>
                  <a:lnTo>
                    <a:pt x="1506" y="6"/>
                  </a:lnTo>
                  <a:lnTo>
                    <a:pt x="1506" y="18"/>
                  </a:lnTo>
                  <a:lnTo>
                    <a:pt x="1506" y="24"/>
                  </a:lnTo>
                  <a:lnTo>
                    <a:pt x="1500" y="30"/>
                  </a:lnTo>
                  <a:lnTo>
                    <a:pt x="1500" y="42"/>
                  </a:lnTo>
                  <a:lnTo>
                    <a:pt x="1494" y="54"/>
                  </a:lnTo>
                  <a:lnTo>
                    <a:pt x="1488" y="60"/>
                  </a:lnTo>
                  <a:lnTo>
                    <a:pt x="1482" y="60"/>
                  </a:lnTo>
                  <a:lnTo>
                    <a:pt x="1476" y="66"/>
                  </a:lnTo>
                  <a:lnTo>
                    <a:pt x="1476" y="72"/>
                  </a:lnTo>
                  <a:lnTo>
                    <a:pt x="1476" y="78"/>
                  </a:lnTo>
                  <a:lnTo>
                    <a:pt x="1470" y="78"/>
                  </a:lnTo>
                  <a:lnTo>
                    <a:pt x="1464" y="90"/>
                  </a:lnTo>
                  <a:lnTo>
                    <a:pt x="1458" y="96"/>
                  </a:lnTo>
                  <a:lnTo>
                    <a:pt x="1458" y="102"/>
                  </a:lnTo>
                  <a:lnTo>
                    <a:pt x="1452" y="120"/>
                  </a:lnTo>
                  <a:lnTo>
                    <a:pt x="1452" y="132"/>
                  </a:lnTo>
                  <a:lnTo>
                    <a:pt x="1446" y="144"/>
                  </a:lnTo>
                  <a:lnTo>
                    <a:pt x="1446" y="150"/>
                  </a:lnTo>
                  <a:lnTo>
                    <a:pt x="1440" y="150"/>
                  </a:lnTo>
                  <a:lnTo>
                    <a:pt x="1434" y="156"/>
                  </a:lnTo>
                  <a:lnTo>
                    <a:pt x="1428" y="168"/>
                  </a:lnTo>
                  <a:lnTo>
                    <a:pt x="1422" y="168"/>
                  </a:lnTo>
                  <a:lnTo>
                    <a:pt x="1416" y="174"/>
                  </a:lnTo>
                  <a:lnTo>
                    <a:pt x="1410" y="186"/>
                  </a:lnTo>
                  <a:lnTo>
                    <a:pt x="1410" y="204"/>
                  </a:lnTo>
                  <a:lnTo>
                    <a:pt x="1404" y="210"/>
                  </a:lnTo>
                  <a:lnTo>
                    <a:pt x="1404" y="216"/>
                  </a:lnTo>
                  <a:lnTo>
                    <a:pt x="1410" y="228"/>
                  </a:lnTo>
                  <a:lnTo>
                    <a:pt x="1410" y="234"/>
                  </a:lnTo>
                  <a:lnTo>
                    <a:pt x="1410" y="240"/>
                  </a:lnTo>
                  <a:lnTo>
                    <a:pt x="1416" y="252"/>
                  </a:lnTo>
                  <a:lnTo>
                    <a:pt x="1416" y="258"/>
                  </a:lnTo>
                  <a:lnTo>
                    <a:pt x="1422" y="264"/>
                  </a:lnTo>
                  <a:lnTo>
                    <a:pt x="1422" y="270"/>
                  </a:lnTo>
                  <a:lnTo>
                    <a:pt x="1422" y="282"/>
                  </a:lnTo>
                  <a:lnTo>
                    <a:pt x="1416" y="288"/>
                  </a:lnTo>
                  <a:lnTo>
                    <a:pt x="1410" y="294"/>
                  </a:lnTo>
                  <a:lnTo>
                    <a:pt x="1404" y="300"/>
                  </a:lnTo>
                  <a:lnTo>
                    <a:pt x="1404" y="306"/>
                  </a:lnTo>
                  <a:lnTo>
                    <a:pt x="1398" y="324"/>
                  </a:lnTo>
                  <a:lnTo>
                    <a:pt x="1404" y="330"/>
                  </a:lnTo>
                  <a:lnTo>
                    <a:pt x="1404" y="342"/>
                  </a:lnTo>
                  <a:lnTo>
                    <a:pt x="1392" y="354"/>
                  </a:lnTo>
                  <a:lnTo>
                    <a:pt x="1392" y="360"/>
                  </a:lnTo>
                  <a:lnTo>
                    <a:pt x="1392" y="372"/>
                  </a:lnTo>
                  <a:lnTo>
                    <a:pt x="1392" y="384"/>
                  </a:lnTo>
                  <a:lnTo>
                    <a:pt x="1392" y="396"/>
                  </a:lnTo>
                  <a:lnTo>
                    <a:pt x="1392" y="408"/>
                  </a:lnTo>
                  <a:lnTo>
                    <a:pt x="1386" y="414"/>
                  </a:lnTo>
                  <a:lnTo>
                    <a:pt x="1380" y="420"/>
                  </a:lnTo>
                  <a:lnTo>
                    <a:pt x="1380" y="426"/>
                  </a:lnTo>
                  <a:lnTo>
                    <a:pt x="1368" y="432"/>
                  </a:lnTo>
                  <a:lnTo>
                    <a:pt x="1362" y="444"/>
                  </a:lnTo>
                  <a:lnTo>
                    <a:pt x="1362" y="450"/>
                  </a:lnTo>
                  <a:lnTo>
                    <a:pt x="1362" y="462"/>
                  </a:lnTo>
                  <a:lnTo>
                    <a:pt x="1362" y="468"/>
                  </a:lnTo>
                  <a:lnTo>
                    <a:pt x="1362" y="474"/>
                  </a:lnTo>
                  <a:lnTo>
                    <a:pt x="1356" y="474"/>
                  </a:lnTo>
                  <a:lnTo>
                    <a:pt x="1350" y="480"/>
                  </a:lnTo>
                  <a:lnTo>
                    <a:pt x="1344" y="486"/>
                  </a:lnTo>
                  <a:lnTo>
                    <a:pt x="1338" y="498"/>
                  </a:lnTo>
                  <a:lnTo>
                    <a:pt x="1332" y="510"/>
                  </a:lnTo>
                  <a:lnTo>
                    <a:pt x="1320" y="510"/>
                  </a:lnTo>
                  <a:lnTo>
                    <a:pt x="1314" y="516"/>
                  </a:lnTo>
                  <a:lnTo>
                    <a:pt x="1302" y="522"/>
                  </a:lnTo>
                  <a:lnTo>
                    <a:pt x="1296" y="522"/>
                  </a:lnTo>
                  <a:lnTo>
                    <a:pt x="1284" y="516"/>
                  </a:lnTo>
                  <a:lnTo>
                    <a:pt x="1278" y="516"/>
                  </a:lnTo>
                  <a:lnTo>
                    <a:pt x="1272" y="522"/>
                  </a:lnTo>
                  <a:lnTo>
                    <a:pt x="1266" y="522"/>
                  </a:lnTo>
                  <a:lnTo>
                    <a:pt x="1266" y="528"/>
                  </a:lnTo>
                  <a:lnTo>
                    <a:pt x="1254" y="540"/>
                  </a:lnTo>
                  <a:lnTo>
                    <a:pt x="1248" y="546"/>
                  </a:lnTo>
                  <a:lnTo>
                    <a:pt x="1242" y="558"/>
                  </a:lnTo>
                  <a:lnTo>
                    <a:pt x="1230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30" y="594"/>
                  </a:lnTo>
                  <a:lnTo>
                    <a:pt x="1230" y="600"/>
                  </a:lnTo>
                  <a:lnTo>
                    <a:pt x="1236" y="606"/>
                  </a:lnTo>
                  <a:lnTo>
                    <a:pt x="1242" y="606"/>
                  </a:lnTo>
                  <a:lnTo>
                    <a:pt x="1242" y="612"/>
                  </a:lnTo>
                  <a:lnTo>
                    <a:pt x="1242" y="618"/>
                  </a:lnTo>
                  <a:lnTo>
                    <a:pt x="1242" y="624"/>
                  </a:lnTo>
                  <a:lnTo>
                    <a:pt x="1236" y="630"/>
                  </a:lnTo>
                  <a:lnTo>
                    <a:pt x="1230" y="642"/>
                  </a:lnTo>
                  <a:lnTo>
                    <a:pt x="1230" y="648"/>
                  </a:lnTo>
                  <a:lnTo>
                    <a:pt x="1218" y="654"/>
                  </a:lnTo>
                  <a:lnTo>
                    <a:pt x="1212" y="654"/>
                  </a:lnTo>
                  <a:lnTo>
                    <a:pt x="1212" y="660"/>
                  </a:lnTo>
                  <a:lnTo>
                    <a:pt x="1212" y="666"/>
                  </a:lnTo>
                  <a:lnTo>
                    <a:pt x="1212" y="672"/>
                  </a:lnTo>
                  <a:lnTo>
                    <a:pt x="1212" y="678"/>
                  </a:lnTo>
                  <a:lnTo>
                    <a:pt x="1218" y="684"/>
                  </a:lnTo>
                  <a:lnTo>
                    <a:pt x="1218" y="690"/>
                  </a:lnTo>
                  <a:lnTo>
                    <a:pt x="1224" y="696"/>
                  </a:lnTo>
                  <a:lnTo>
                    <a:pt x="1230" y="702"/>
                  </a:lnTo>
                  <a:lnTo>
                    <a:pt x="1236" y="696"/>
                  </a:lnTo>
                  <a:lnTo>
                    <a:pt x="1242" y="702"/>
                  </a:lnTo>
                  <a:lnTo>
                    <a:pt x="1248" y="708"/>
                  </a:lnTo>
                  <a:lnTo>
                    <a:pt x="1254" y="714"/>
                  </a:lnTo>
                  <a:lnTo>
                    <a:pt x="1254" y="720"/>
                  </a:lnTo>
                  <a:lnTo>
                    <a:pt x="1260" y="720"/>
                  </a:lnTo>
                  <a:lnTo>
                    <a:pt x="1254" y="732"/>
                  </a:lnTo>
                  <a:lnTo>
                    <a:pt x="1248" y="738"/>
                  </a:lnTo>
                  <a:lnTo>
                    <a:pt x="1242" y="744"/>
                  </a:lnTo>
                  <a:lnTo>
                    <a:pt x="1236" y="750"/>
                  </a:lnTo>
                  <a:lnTo>
                    <a:pt x="1236" y="756"/>
                  </a:lnTo>
                  <a:lnTo>
                    <a:pt x="1236" y="762"/>
                  </a:lnTo>
                  <a:lnTo>
                    <a:pt x="1236" y="768"/>
                  </a:lnTo>
                  <a:lnTo>
                    <a:pt x="1236" y="780"/>
                  </a:lnTo>
                  <a:lnTo>
                    <a:pt x="1230" y="780"/>
                  </a:lnTo>
                  <a:lnTo>
                    <a:pt x="1230" y="786"/>
                  </a:lnTo>
                  <a:lnTo>
                    <a:pt x="1230" y="792"/>
                  </a:lnTo>
                  <a:lnTo>
                    <a:pt x="1230" y="804"/>
                  </a:lnTo>
                  <a:lnTo>
                    <a:pt x="1224" y="810"/>
                  </a:lnTo>
                  <a:lnTo>
                    <a:pt x="1218" y="816"/>
                  </a:lnTo>
                  <a:lnTo>
                    <a:pt x="1224" y="822"/>
                  </a:lnTo>
                  <a:lnTo>
                    <a:pt x="1224" y="828"/>
                  </a:lnTo>
                  <a:lnTo>
                    <a:pt x="1218" y="834"/>
                  </a:lnTo>
                  <a:lnTo>
                    <a:pt x="1224" y="834"/>
                  </a:lnTo>
                  <a:lnTo>
                    <a:pt x="1224" y="840"/>
                  </a:lnTo>
                  <a:lnTo>
                    <a:pt x="1224" y="846"/>
                  </a:lnTo>
                  <a:lnTo>
                    <a:pt x="1224" y="852"/>
                  </a:lnTo>
                  <a:lnTo>
                    <a:pt x="1218" y="858"/>
                  </a:lnTo>
                  <a:lnTo>
                    <a:pt x="1218" y="870"/>
                  </a:lnTo>
                  <a:lnTo>
                    <a:pt x="1212" y="870"/>
                  </a:lnTo>
                  <a:lnTo>
                    <a:pt x="1212" y="876"/>
                  </a:lnTo>
                  <a:lnTo>
                    <a:pt x="1206" y="888"/>
                  </a:lnTo>
                  <a:lnTo>
                    <a:pt x="1200" y="882"/>
                  </a:lnTo>
                  <a:lnTo>
                    <a:pt x="1194" y="888"/>
                  </a:lnTo>
                  <a:lnTo>
                    <a:pt x="1188" y="894"/>
                  </a:lnTo>
                  <a:lnTo>
                    <a:pt x="1182" y="894"/>
                  </a:lnTo>
                  <a:lnTo>
                    <a:pt x="1182" y="900"/>
                  </a:lnTo>
                  <a:lnTo>
                    <a:pt x="1176" y="900"/>
                  </a:lnTo>
                  <a:lnTo>
                    <a:pt x="1170" y="894"/>
                  </a:lnTo>
                  <a:lnTo>
                    <a:pt x="1164" y="900"/>
                  </a:lnTo>
                  <a:lnTo>
                    <a:pt x="1158" y="900"/>
                  </a:lnTo>
                  <a:lnTo>
                    <a:pt x="1152" y="900"/>
                  </a:lnTo>
                  <a:lnTo>
                    <a:pt x="1140" y="900"/>
                  </a:lnTo>
                  <a:lnTo>
                    <a:pt x="1134" y="900"/>
                  </a:lnTo>
                  <a:lnTo>
                    <a:pt x="1128" y="906"/>
                  </a:lnTo>
                  <a:lnTo>
                    <a:pt x="1110" y="906"/>
                  </a:lnTo>
                  <a:lnTo>
                    <a:pt x="1104" y="906"/>
                  </a:lnTo>
                  <a:lnTo>
                    <a:pt x="1098" y="906"/>
                  </a:lnTo>
                  <a:lnTo>
                    <a:pt x="1092" y="912"/>
                  </a:lnTo>
                  <a:lnTo>
                    <a:pt x="1080" y="918"/>
                  </a:lnTo>
                  <a:lnTo>
                    <a:pt x="1068" y="930"/>
                  </a:lnTo>
                  <a:lnTo>
                    <a:pt x="1062" y="930"/>
                  </a:lnTo>
                  <a:lnTo>
                    <a:pt x="1056" y="930"/>
                  </a:lnTo>
                  <a:lnTo>
                    <a:pt x="1050" y="930"/>
                  </a:lnTo>
                  <a:lnTo>
                    <a:pt x="1050" y="936"/>
                  </a:lnTo>
                  <a:lnTo>
                    <a:pt x="1038" y="942"/>
                  </a:lnTo>
                  <a:lnTo>
                    <a:pt x="1032" y="948"/>
                  </a:lnTo>
                  <a:lnTo>
                    <a:pt x="1026" y="954"/>
                  </a:lnTo>
                  <a:lnTo>
                    <a:pt x="1020" y="960"/>
                  </a:lnTo>
                  <a:lnTo>
                    <a:pt x="1014" y="966"/>
                  </a:lnTo>
                  <a:lnTo>
                    <a:pt x="1002" y="966"/>
                  </a:lnTo>
                  <a:lnTo>
                    <a:pt x="990" y="978"/>
                  </a:lnTo>
                  <a:lnTo>
                    <a:pt x="984" y="978"/>
                  </a:lnTo>
                  <a:lnTo>
                    <a:pt x="978" y="984"/>
                  </a:lnTo>
                  <a:lnTo>
                    <a:pt x="972" y="984"/>
                  </a:lnTo>
                  <a:lnTo>
                    <a:pt x="978" y="990"/>
                  </a:lnTo>
                  <a:lnTo>
                    <a:pt x="972" y="996"/>
                  </a:lnTo>
                  <a:lnTo>
                    <a:pt x="978" y="1002"/>
                  </a:lnTo>
                  <a:lnTo>
                    <a:pt x="1002" y="1002"/>
                  </a:lnTo>
                  <a:lnTo>
                    <a:pt x="1002" y="1008"/>
                  </a:lnTo>
                  <a:lnTo>
                    <a:pt x="1008" y="1020"/>
                  </a:lnTo>
                  <a:lnTo>
                    <a:pt x="1002" y="1026"/>
                  </a:lnTo>
                  <a:lnTo>
                    <a:pt x="1002" y="1032"/>
                  </a:lnTo>
                  <a:lnTo>
                    <a:pt x="1002" y="1050"/>
                  </a:lnTo>
                  <a:lnTo>
                    <a:pt x="1002" y="1056"/>
                  </a:lnTo>
                  <a:lnTo>
                    <a:pt x="1008" y="1062"/>
                  </a:lnTo>
                  <a:lnTo>
                    <a:pt x="1008" y="1074"/>
                  </a:lnTo>
                  <a:lnTo>
                    <a:pt x="1008" y="1086"/>
                  </a:lnTo>
                  <a:lnTo>
                    <a:pt x="996" y="1092"/>
                  </a:lnTo>
                  <a:lnTo>
                    <a:pt x="996" y="1098"/>
                  </a:lnTo>
                  <a:lnTo>
                    <a:pt x="996" y="1104"/>
                  </a:lnTo>
                  <a:lnTo>
                    <a:pt x="990" y="1110"/>
                  </a:lnTo>
                  <a:lnTo>
                    <a:pt x="990" y="1116"/>
                  </a:lnTo>
                  <a:lnTo>
                    <a:pt x="996" y="1122"/>
                  </a:lnTo>
                  <a:lnTo>
                    <a:pt x="990" y="1128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96" y="1140"/>
                  </a:lnTo>
                  <a:lnTo>
                    <a:pt x="996" y="1146"/>
                  </a:lnTo>
                  <a:lnTo>
                    <a:pt x="996" y="1152"/>
                  </a:lnTo>
                  <a:lnTo>
                    <a:pt x="996" y="1158"/>
                  </a:lnTo>
                  <a:lnTo>
                    <a:pt x="996" y="1164"/>
                  </a:lnTo>
                  <a:lnTo>
                    <a:pt x="996" y="1170"/>
                  </a:lnTo>
                  <a:lnTo>
                    <a:pt x="996" y="1176"/>
                  </a:lnTo>
                  <a:lnTo>
                    <a:pt x="990" y="1182"/>
                  </a:lnTo>
                  <a:lnTo>
                    <a:pt x="990" y="1188"/>
                  </a:lnTo>
                  <a:lnTo>
                    <a:pt x="984" y="1200"/>
                  </a:lnTo>
                  <a:lnTo>
                    <a:pt x="990" y="1206"/>
                  </a:lnTo>
                  <a:lnTo>
                    <a:pt x="990" y="1212"/>
                  </a:lnTo>
                  <a:lnTo>
                    <a:pt x="990" y="1218"/>
                  </a:lnTo>
                  <a:lnTo>
                    <a:pt x="978" y="1230"/>
                  </a:lnTo>
                  <a:lnTo>
                    <a:pt x="972" y="1236"/>
                  </a:lnTo>
                  <a:lnTo>
                    <a:pt x="972" y="1242"/>
                  </a:lnTo>
                  <a:lnTo>
                    <a:pt x="966" y="1248"/>
                  </a:lnTo>
                  <a:lnTo>
                    <a:pt x="960" y="1260"/>
                  </a:lnTo>
                  <a:lnTo>
                    <a:pt x="954" y="1266"/>
                  </a:lnTo>
                  <a:lnTo>
                    <a:pt x="942" y="1278"/>
                  </a:lnTo>
                  <a:lnTo>
                    <a:pt x="936" y="1278"/>
                  </a:lnTo>
                  <a:lnTo>
                    <a:pt x="936" y="1284"/>
                  </a:lnTo>
                  <a:lnTo>
                    <a:pt x="936" y="1296"/>
                  </a:lnTo>
                  <a:lnTo>
                    <a:pt x="936" y="1302"/>
                  </a:lnTo>
                  <a:lnTo>
                    <a:pt x="942" y="1302"/>
                  </a:lnTo>
                  <a:lnTo>
                    <a:pt x="942" y="1308"/>
                  </a:lnTo>
                  <a:lnTo>
                    <a:pt x="936" y="1314"/>
                  </a:lnTo>
                  <a:lnTo>
                    <a:pt x="930" y="1320"/>
                  </a:lnTo>
                  <a:lnTo>
                    <a:pt x="930" y="1326"/>
                  </a:lnTo>
                  <a:lnTo>
                    <a:pt x="930" y="1332"/>
                  </a:lnTo>
                  <a:lnTo>
                    <a:pt x="936" y="1338"/>
                  </a:lnTo>
                  <a:lnTo>
                    <a:pt x="936" y="1344"/>
                  </a:lnTo>
                  <a:lnTo>
                    <a:pt x="942" y="1356"/>
                  </a:lnTo>
                  <a:lnTo>
                    <a:pt x="948" y="1368"/>
                  </a:lnTo>
                  <a:lnTo>
                    <a:pt x="942" y="1380"/>
                  </a:lnTo>
                  <a:lnTo>
                    <a:pt x="936" y="1386"/>
                  </a:lnTo>
                  <a:lnTo>
                    <a:pt x="930" y="1392"/>
                  </a:lnTo>
                  <a:lnTo>
                    <a:pt x="924" y="1392"/>
                  </a:lnTo>
                  <a:lnTo>
                    <a:pt x="918" y="1386"/>
                  </a:lnTo>
                  <a:lnTo>
                    <a:pt x="912" y="1386"/>
                  </a:lnTo>
                  <a:lnTo>
                    <a:pt x="906" y="1386"/>
                  </a:lnTo>
                  <a:lnTo>
                    <a:pt x="900" y="1386"/>
                  </a:lnTo>
                  <a:lnTo>
                    <a:pt x="900" y="1392"/>
                  </a:lnTo>
                  <a:lnTo>
                    <a:pt x="894" y="1392"/>
                  </a:lnTo>
                  <a:lnTo>
                    <a:pt x="888" y="1392"/>
                  </a:lnTo>
                  <a:lnTo>
                    <a:pt x="888" y="1398"/>
                  </a:lnTo>
                  <a:lnTo>
                    <a:pt x="882" y="1404"/>
                  </a:lnTo>
                  <a:lnTo>
                    <a:pt x="882" y="1416"/>
                  </a:lnTo>
                  <a:lnTo>
                    <a:pt x="882" y="1428"/>
                  </a:lnTo>
                  <a:lnTo>
                    <a:pt x="882" y="1434"/>
                  </a:lnTo>
                  <a:lnTo>
                    <a:pt x="870" y="1440"/>
                  </a:lnTo>
                  <a:lnTo>
                    <a:pt x="864" y="1452"/>
                  </a:lnTo>
                  <a:lnTo>
                    <a:pt x="870" y="1452"/>
                  </a:lnTo>
                  <a:lnTo>
                    <a:pt x="864" y="1458"/>
                  </a:lnTo>
                  <a:lnTo>
                    <a:pt x="858" y="1464"/>
                  </a:lnTo>
                  <a:lnTo>
                    <a:pt x="852" y="1464"/>
                  </a:lnTo>
                  <a:lnTo>
                    <a:pt x="846" y="1458"/>
                  </a:lnTo>
                  <a:lnTo>
                    <a:pt x="840" y="1458"/>
                  </a:lnTo>
                  <a:lnTo>
                    <a:pt x="828" y="1470"/>
                  </a:lnTo>
                  <a:lnTo>
                    <a:pt x="810" y="1482"/>
                  </a:lnTo>
                  <a:lnTo>
                    <a:pt x="804" y="1488"/>
                  </a:lnTo>
                  <a:lnTo>
                    <a:pt x="798" y="1488"/>
                  </a:lnTo>
                  <a:lnTo>
                    <a:pt x="792" y="1488"/>
                  </a:lnTo>
                  <a:lnTo>
                    <a:pt x="786" y="1488"/>
                  </a:lnTo>
                  <a:lnTo>
                    <a:pt x="768" y="1482"/>
                  </a:lnTo>
                  <a:lnTo>
                    <a:pt x="762" y="1476"/>
                  </a:lnTo>
                  <a:lnTo>
                    <a:pt x="744" y="1476"/>
                  </a:lnTo>
                  <a:lnTo>
                    <a:pt x="738" y="1476"/>
                  </a:lnTo>
                  <a:lnTo>
                    <a:pt x="732" y="1476"/>
                  </a:lnTo>
                  <a:lnTo>
                    <a:pt x="726" y="1482"/>
                  </a:lnTo>
                  <a:lnTo>
                    <a:pt x="726" y="1488"/>
                  </a:lnTo>
                  <a:lnTo>
                    <a:pt x="726" y="1494"/>
                  </a:lnTo>
                  <a:lnTo>
                    <a:pt x="726" y="1500"/>
                  </a:lnTo>
                  <a:lnTo>
                    <a:pt x="720" y="1500"/>
                  </a:lnTo>
                  <a:lnTo>
                    <a:pt x="720" y="1506"/>
                  </a:lnTo>
                  <a:lnTo>
                    <a:pt x="714" y="1512"/>
                  </a:lnTo>
                  <a:lnTo>
                    <a:pt x="714" y="1518"/>
                  </a:lnTo>
                  <a:lnTo>
                    <a:pt x="708" y="1518"/>
                  </a:lnTo>
                  <a:lnTo>
                    <a:pt x="708" y="1530"/>
                  </a:lnTo>
                  <a:lnTo>
                    <a:pt x="708" y="1536"/>
                  </a:lnTo>
                  <a:lnTo>
                    <a:pt x="708" y="1542"/>
                  </a:lnTo>
                  <a:lnTo>
                    <a:pt x="696" y="1554"/>
                  </a:lnTo>
                  <a:lnTo>
                    <a:pt x="690" y="1560"/>
                  </a:lnTo>
                  <a:lnTo>
                    <a:pt x="684" y="1566"/>
                  </a:lnTo>
                  <a:lnTo>
                    <a:pt x="672" y="1566"/>
                  </a:lnTo>
                  <a:lnTo>
                    <a:pt x="666" y="1566"/>
                  </a:lnTo>
                  <a:lnTo>
                    <a:pt x="660" y="1566"/>
                  </a:lnTo>
                  <a:lnTo>
                    <a:pt x="654" y="1572"/>
                  </a:lnTo>
                  <a:lnTo>
                    <a:pt x="654" y="1578"/>
                  </a:lnTo>
                  <a:lnTo>
                    <a:pt x="642" y="1578"/>
                  </a:lnTo>
                  <a:lnTo>
                    <a:pt x="630" y="1572"/>
                  </a:lnTo>
                  <a:lnTo>
                    <a:pt x="624" y="1572"/>
                  </a:lnTo>
                  <a:lnTo>
                    <a:pt x="618" y="1578"/>
                  </a:lnTo>
                  <a:lnTo>
                    <a:pt x="612" y="1584"/>
                  </a:lnTo>
                  <a:lnTo>
                    <a:pt x="606" y="1584"/>
                  </a:lnTo>
                  <a:lnTo>
                    <a:pt x="600" y="1590"/>
                  </a:lnTo>
                  <a:lnTo>
                    <a:pt x="594" y="1590"/>
                  </a:lnTo>
                  <a:lnTo>
                    <a:pt x="588" y="1590"/>
                  </a:lnTo>
                  <a:lnTo>
                    <a:pt x="582" y="1590"/>
                  </a:lnTo>
                  <a:lnTo>
                    <a:pt x="582" y="1596"/>
                  </a:lnTo>
                  <a:lnTo>
                    <a:pt x="576" y="1614"/>
                  </a:lnTo>
                  <a:lnTo>
                    <a:pt x="570" y="1632"/>
                  </a:lnTo>
                  <a:lnTo>
                    <a:pt x="570" y="1638"/>
                  </a:lnTo>
                  <a:lnTo>
                    <a:pt x="576" y="1644"/>
                  </a:lnTo>
                  <a:lnTo>
                    <a:pt x="576" y="1650"/>
                  </a:lnTo>
                  <a:lnTo>
                    <a:pt x="582" y="1662"/>
                  </a:lnTo>
                  <a:lnTo>
                    <a:pt x="582" y="1668"/>
                  </a:lnTo>
                  <a:lnTo>
                    <a:pt x="588" y="1692"/>
                  </a:lnTo>
                  <a:lnTo>
                    <a:pt x="594" y="1728"/>
                  </a:lnTo>
                  <a:lnTo>
                    <a:pt x="594" y="1752"/>
                  </a:lnTo>
                  <a:lnTo>
                    <a:pt x="594" y="1764"/>
                  </a:lnTo>
                  <a:lnTo>
                    <a:pt x="582" y="1770"/>
                  </a:lnTo>
                  <a:lnTo>
                    <a:pt x="582" y="1782"/>
                  </a:lnTo>
                  <a:lnTo>
                    <a:pt x="576" y="1788"/>
                  </a:lnTo>
                  <a:lnTo>
                    <a:pt x="570" y="1794"/>
                  </a:lnTo>
                  <a:lnTo>
                    <a:pt x="564" y="1806"/>
                  </a:lnTo>
                  <a:lnTo>
                    <a:pt x="564" y="1812"/>
                  </a:lnTo>
                  <a:lnTo>
                    <a:pt x="558" y="1812"/>
                  </a:lnTo>
                  <a:lnTo>
                    <a:pt x="564" y="1824"/>
                  </a:lnTo>
                  <a:lnTo>
                    <a:pt x="564" y="1830"/>
                  </a:lnTo>
                  <a:lnTo>
                    <a:pt x="564" y="1842"/>
                  </a:lnTo>
                  <a:lnTo>
                    <a:pt x="564" y="1848"/>
                  </a:lnTo>
                  <a:lnTo>
                    <a:pt x="564" y="1854"/>
                  </a:lnTo>
                  <a:lnTo>
                    <a:pt x="570" y="1860"/>
                  </a:lnTo>
                  <a:lnTo>
                    <a:pt x="570" y="1866"/>
                  </a:lnTo>
                  <a:lnTo>
                    <a:pt x="570" y="1872"/>
                  </a:lnTo>
                  <a:lnTo>
                    <a:pt x="570" y="1878"/>
                  </a:lnTo>
                  <a:lnTo>
                    <a:pt x="564" y="1890"/>
                  </a:lnTo>
                  <a:lnTo>
                    <a:pt x="558" y="1896"/>
                  </a:lnTo>
                  <a:lnTo>
                    <a:pt x="552" y="1908"/>
                  </a:lnTo>
                  <a:lnTo>
                    <a:pt x="546" y="1914"/>
                  </a:lnTo>
                  <a:lnTo>
                    <a:pt x="540" y="1920"/>
                  </a:lnTo>
                  <a:lnTo>
                    <a:pt x="534" y="1932"/>
                  </a:lnTo>
                  <a:lnTo>
                    <a:pt x="528" y="1944"/>
                  </a:lnTo>
                  <a:lnTo>
                    <a:pt x="516" y="1950"/>
                  </a:lnTo>
                  <a:lnTo>
                    <a:pt x="510" y="1956"/>
                  </a:lnTo>
                  <a:lnTo>
                    <a:pt x="498" y="1962"/>
                  </a:lnTo>
                  <a:lnTo>
                    <a:pt x="492" y="1974"/>
                  </a:lnTo>
                  <a:lnTo>
                    <a:pt x="486" y="1980"/>
                  </a:lnTo>
                  <a:lnTo>
                    <a:pt x="480" y="1998"/>
                  </a:lnTo>
                  <a:lnTo>
                    <a:pt x="474" y="2004"/>
                  </a:lnTo>
                  <a:lnTo>
                    <a:pt x="474" y="2010"/>
                  </a:lnTo>
                  <a:lnTo>
                    <a:pt x="474" y="2016"/>
                  </a:lnTo>
                  <a:lnTo>
                    <a:pt x="468" y="2016"/>
                  </a:lnTo>
                  <a:lnTo>
                    <a:pt x="468" y="2028"/>
                  </a:lnTo>
                  <a:lnTo>
                    <a:pt x="462" y="2034"/>
                  </a:lnTo>
                  <a:lnTo>
                    <a:pt x="456" y="2040"/>
                  </a:lnTo>
                  <a:lnTo>
                    <a:pt x="456" y="2052"/>
                  </a:lnTo>
                  <a:lnTo>
                    <a:pt x="450" y="2058"/>
                  </a:lnTo>
                  <a:lnTo>
                    <a:pt x="450" y="2070"/>
                  </a:lnTo>
                  <a:lnTo>
                    <a:pt x="450" y="2076"/>
                  </a:lnTo>
                  <a:lnTo>
                    <a:pt x="450" y="2082"/>
                  </a:lnTo>
                  <a:lnTo>
                    <a:pt x="444" y="2088"/>
                  </a:lnTo>
                  <a:lnTo>
                    <a:pt x="438" y="2094"/>
                  </a:lnTo>
                  <a:lnTo>
                    <a:pt x="444" y="2100"/>
                  </a:lnTo>
                  <a:lnTo>
                    <a:pt x="444" y="2124"/>
                  </a:lnTo>
                  <a:lnTo>
                    <a:pt x="444" y="2142"/>
                  </a:lnTo>
                  <a:lnTo>
                    <a:pt x="444" y="2160"/>
                  </a:lnTo>
                  <a:lnTo>
                    <a:pt x="450" y="2166"/>
                  </a:lnTo>
                  <a:lnTo>
                    <a:pt x="456" y="2178"/>
                  </a:lnTo>
                  <a:lnTo>
                    <a:pt x="438" y="2184"/>
                  </a:lnTo>
                  <a:lnTo>
                    <a:pt x="432" y="2184"/>
                  </a:lnTo>
                  <a:lnTo>
                    <a:pt x="426" y="2190"/>
                  </a:lnTo>
                  <a:lnTo>
                    <a:pt x="408" y="2190"/>
                  </a:lnTo>
                  <a:lnTo>
                    <a:pt x="402" y="2196"/>
                  </a:lnTo>
                  <a:lnTo>
                    <a:pt x="396" y="2196"/>
                  </a:lnTo>
                  <a:lnTo>
                    <a:pt x="384" y="2208"/>
                  </a:lnTo>
                  <a:lnTo>
                    <a:pt x="378" y="2220"/>
                  </a:lnTo>
                  <a:lnTo>
                    <a:pt x="366" y="2232"/>
                  </a:lnTo>
                  <a:lnTo>
                    <a:pt x="366" y="2238"/>
                  </a:lnTo>
                  <a:lnTo>
                    <a:pt x="360" y="2238"/>
                  </a:lnTo>
                  <a:lnTo>
                    <a:pt x="360" y="2244"/>
                  </a:lnTo>
                  <a:lnTo>
                    <a:pt x="354" y="2244"/>
                  </a:lnTo>
                  <a:lnTo>
                    <a:pt x="330" y="227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5" name="Freeform 10">
              <a:extLst>
                <a:ext uri="{FF2B5EF4-FFF2-40B4-BE49-F238E27FC236}">
                  <a16:creationId xmlns:a16="http://schemas.microsoft.com/office/drawing/2014/main" id="{3AD2FC58-3490-4B7F-A8BE-621F3CDD69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1996" y="1931890"/>
              <a:ext cx="805029" cy="1037736"/>
            </a:xfrm>
            <a:custGeom>
              <a:avLst/>
              <a:gdLst>
                <a:gd name="T0" fmla="*/ 124 w 1512"/>
                <a:gd name="T1" fmla="*/ 76 h 1956"/>
                <a:gd name="T2" fmla="*/ 120 w 1512"/>
                <a:gd name="T3" fmla="*/ 80 h 1956"/>
                <a:gd name="T4" fmla="*/ 106 w 1512"/>
                <a:gd name="T5" fmla="*/ 84 h 1956"/>
                <a:gd name="T6" fmla="*/ 105 w 1512"/>
                <a:gd name="T7" fmla="*/ 91 h 1956"/>
                <a:gd name="T8" fmla="*/ 101 w 1512"/>
                <a:gd name="T9" fmla="*/ 99 h 1956"/>
                <a:gd name="T10" fmla="*/ 105 w 1512"/>
                <a:gd name="T11" fmla="*/ 107 h 1956"/>
                <a:gd name="T12" fmla="*/ 119 w 1512"/>
                <a:gd name="T13" fmla="*/ 116 h 1956"/>
                <a:gd name="T14" fmla="*/ 121 w 1512"/>
                <a:gd name="T15" fmla="*/ 128 h 1956"/>
                <a:gd name="T16" fmla="*/ 112 w 1512"/>
                <a:gd name="T17" fmla="*/ 136 h 1956"/>
                <a:gd name="T18" fmla="*/ 119 w 1512"/>
                <a:gd name="T19" fmla="*/ 143 h 1956"/>
                <a:gd name="T20" fmla="*/ 126 w 1512"/>
                <a:gd name="T21" fmla="*/ 148 h 1956"/>
                <a:gd name="T22" fmla="*/ 126 w 1512"/>
                <a:gd name="T23" fmla="*/ 160 h 1956"/>
                <a:gd name="T24" fmla="*/ 104 w 1512"/>
                <a:gd name="T25" fmla="*/ 170 h 1956"/>
                <a:gd name="T26" fmla="*/ 99 w 1512"/>
                <a:gd name="T27" fmla="*/ 164 h 1956"/>
                <a:gd name="T28" fmla="*/ 73 w 1512"/>
                <a:gd name="T29" fmla="*/ 152 h 1956"/>
                <a:gd name="T30" fmla="*/ 56 w 1512"/>
                <a:gd name="T31" fmla="*/ 165 h 1956"/>
                <a:gd name="T32" fmla="*/ 33 w 1512"/>
                <a:gd name="T33" fmla="*/ 162 h 1956"/>
                <a:gd name="T34" fmla="*/ 25 w 1512"/>
                <a:gd name="T35" fmla="*/ 155 h 1956"/>
                <a:gd name="T36" fmla="*/ 31 w 1512"/>
                <a:gd name="T37" fmla="*/ 142 h 1956"/>
                <a:gd name="T38" fmla="*/ 24 w 1512"/>
                <a:gd name="T39" fmla="*/ 137 h 1956"/>
                <a:gd name="T40" fmla="*/ 14 w 1512"/>
                <a:gd name="T41" fmla="*/ 136 h 1956"/>
                <a:gd name="T42" fmla="*/ 11 w 1512"/>
                <a:gd name="T43" fmla="*/ 125 h 1956"/>
                <a:gd name="T44" fmla="*/ 3 w 1512"/>
                <a:gd name="T45" fmla="*/ 116 h 1956"/>
                <a:gd name="T46" fmla="*/ 2 w 1512"/>
                <a:gd name="T47" fmla="*/ 106 h 1956"/>
                <a:gd name="T48" fmla="*/ 5 w 1512"/>
                <a:gd name="T49" fmla="*/ 101 h 1956"/>
                <a:gd name="T50" fmla="*/ 2 w 1512"/>
                <a:gd name="T51" fmla="*/ 95 h 1956"/>
                <a:gd name="T52" fmla="*/ 1 w 1512"/>
                <a:gd name="T53" fmla="*/ 88 h 1956"/>
                <a:gd name="T54" fmla="*/ 4 w 1512"/>
                <a:gd name="T55" fmla="*/ 80 h 1956"/>
                <a:gd name="T56" fmla="*/ 12 w 1512"/>
                <a:gd name="T57" fmla="*/ 73 h 1956"/>
                <a:gd name="T58" fmla="*/ 16 w 1512"/>
                <a:gd name="T59" fmla="*/ 68 h 1956"/>
                <a:gd name="T60" fmla="*/ 22 w 1512"/>
                <a:gd name="T61" fmla="*/ 66 h 1956"/>
                <a:gd name="T62" fmla="*/ 32 w 1512"/>
                <a:gd name="T63" fmla="*/ 65 h 1956"/>
                <a:gd name="T64" fmla="*/ 45 w 1512"/>
                <a:gd name="T65" fmla="*/ 66 h 1956"/>
                <a:gd name="T66" fmla="*/ 50 w 1512"/>
                <a:gd name="T67" fmla="*/ 70 h 1956"/>
                <a:gd name="T68" fmla="*/ 55 w 1512"/>
                <a:gd name="T69" fmla="*/ 70 h 1956"/>
                <a:gd name="T70" fmla="*/ 63 w 1512"/>
                <a:gd name="T71" fmla="*/ 71 h 1956"/>
                <a:gd name="T72" fmla="*/ 61 w 1512"/>
                <a:gd name="T73" fmla="*/ 75 h 1956"/>
                <a:gd name="T74" fmla="*/ 66 w 1512"/>
                <a:gd name="T75" fmla="*/ 84 h 1956"/>
                <a:gd name="T76" fmla="*/ 81 w 1512"/>
                <a:gd name="T77" fmla="*/ 85 h 1956"/>
                <a:gd name="T78" fmla="*/ 83 w 1512"/>
                <a:gd name="T79" fmla="*/ 79 h 1956"/>
                <a:gd name="T80" fmla="*/ 89 w 1512"/>
                <a:gd name="T81" fmla="*/ 77 h 1956"/>
                <a:gd name="T82" fmla="*/ 89 w 1512"/>
                <a:gd name="T83" fmla="*/ 73 h 1956"/>
                <a:gd name="T84" fmla="*/ 83 w 1512"/>
                <a:gd name="T85" fmla="*/ 72 h 1956"/>
                <a:gd name="T86" fmla="*/ 77 w 1512"/>
                <a:gd name="T87" fmla="*/ 70 h 1956"/>
                <a:gd name="T88" fmla="*/ 71 w 1512"/>
                <a:gd name="T89" fmla="*/ 70 h 1956"/>
                <a:gd name="T90" fmla="*/ 59 w 1512"/>
                <a:gd name="T91" fmla="*/ 58 h 1956"/>
                <a:gd name="T92" fmla="*/ 54 w 1512"/>
                <a:gd name="T93" fmla="*/ 45 h 1956"/>
                <a:gd name="T94" fmla="*/ 49 w 1512"/>
                <a:gd name="T95" fmla="*/ 42 h 1956"/>
                <a:gd name="T96" fmla="*/ 51 w 1512"/>
                <a:gd name="T97" fmla="*/ 39 h 1956"/>
                <a:gd name="T98" fmla="*/ 55 w 1512"/>
                <a:gd name="T99" fmla="*/ 36 h 1956"/>
                <a:gd name="T100" fmla="*/ 63 w 1512"/>
                <a:gd name="T101" fmla="*/ 34 h 1956"/>
                <a:gd name="T102" fmla="*/ 68 w 1512"/>
                <a:gd name="T103" fmla="*/ 32 h 1956"/>
                <a:gd name="T104" fmla="*/ 73 w 1512"/>
                <a:gd name="T105" fmla="*/ 29 h 1956"/>
                <a:gd name="T106" fmla="*/ 78 w 1512"/>
                <a:gd name="T107" fmla="*/ 27 h 1956"/>
                <a:gd name="T108" fmla="*/ 81 w 1512"/>
                <a:gd name="T109" fmla="*/ 17 h 1956"/>
                <a:gd name="T110" fmla="*/ 84 w 1512"/>
                <a:gd name="T111" fmla="*/ 6 h 1956"/>
                <a:gd name="T112" fmla="*/ 95 w 1512"/>
                <a:gd name="T113" fmla="*/ 6 h 1956"/>
                <a:gd name="T114" fmla="*/ 99 w 1512"/>
                <a:gd name="T115" fmla="*/ 3 h 1956"/>
                <a:gd name="T116" fmla="*/ 103 w 1512"/>
                <a:gd name="T117" fmla="*/ 0 h 1956"/>
                <a:gd name="T118" fmla="*/ 110 w 1512"/>
                <a:gd name="T119" fmla="*/ 4 h 1956"/>
                <a:gd name="T120" fmla="*/ 114 w 1512"/>
                <a:gd name="T121" fmla="*/ 33 h 1956"/>
                <a:gd name="T122" fmla="*/ 117 w 1512"/>
                <a:gd name="T123" fmla="*/ 41 h 1956"/>
                <a:gd name="T124" fmla="*/ 119 w 1512"/>
                <a:gd name="T125" fmla="*/ 62 h 195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12"/>
                <a:gd name="T190" fmla="*/ 0 h 1956"/>
                <a:gd name="T191" fmla="*/ 1512 w 1512"/>
                <a:gd name="T192" fmla="*/ 1956 h 195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12" h="1956">
                  <a:moveTo>
                    <a:pt x="1512" y="780"/>
                  </a:moveTo>
                  <a:lnTo>
                    <a:pt x="1482" y="786"/>
                  </a:lnTo>
                  <a:lnTo>
                    <a:pt x="1476" y="792"/>
                  </a:lnTo>
                  <a:lnTo>
                    <a:pt x="1476" y="798"/>
                  </a:lnTo>
                  <a:lnTo>
                    <a:pt x="1476" y="804"/>
                  </a:lnTo>
                  <a:lnTo>
                    <a:pt x="1476" y="816"/>
                  </a:lnTo>
                  <a:lnTo>
                    <a:pt x="1470" y="834"/>
                  </a:lnTo>
                  <a:lnTo>
                    <a:pt x="1464" y="840"/>
                  </a:lnTo>
                  <a:lnTo>
                    <a:pt x="1452" y="852"/>
                  </a:lnTo>
                  <a:lnTo>
                    <a:pt x="1440" y="864"/>
                  </a:lnTo>
                  <a:lnTo>
                    <a:pt x="1434" y="864"/>
                  </a:lnTo>
                  <a:lnTo>
                    <a:pt x="1434" y="870"/>
                  </a:lnTo>
                  <a:lnTo>
                    <a:pt x="1422" y="876"/>
                  </a:lnTo>
                  <a:lnTo>
                    <a:pt x="1410" y="894"/>
                  </a:lnTo>
                  <a:lnTo>
                    <a:pt x="1404" y="894"/>
                  </a:lnTo>
                  <a:lnTo>
                    <a:pt x="1404" y="900"/>
                  </a:lnTo>
                  <a:lnTo>
                    <a:pt x="1404" y="906"/>
                  </a:lnTo>
                  <a:lnTo>
                    <a:pt x="1410" y="918"/>
                  </a:lnTo>
                  <a:lnTo>
                    <a:pt x="1404" y="918"/>
                  </a:lnTo>
                  <a:lnTo>
                    <a:pt x="1392" y="924"/>
                  </a:lnTo>
                  <a:lnTo>
                    <a:pt x="1386" y="924"/>
                  </a:lnTo>
                  <a:lnTo>
                    <a:pt x="1380" y="924"/>
                  </a:lnTo>
                  <a:lnTo>
                    <a:pt x="1380" y="930"/>
                  </a:lnTo>
                  <a:lnTo>
                    <a:pt x="1374" y="930"/>
                  </a:lnTo>
                  <a:lnTo>
                    <a:pt x="1374" y="924"/>
                  </a:lnTo>
                  <a:lnTo>
                    <a:pt x="1374" y="918"/>
                  </a:lnTo>
                  <a:lnTo>
                    <a:pt x="1368" y="912"/>
                  </a:lnTo>
                  <a:lnTo>
                    <a:pt x="1368" y="906"/>
                  </a:lnTo>
                  <a:lnTo>
                    <a:pt x="1368" y="900"/>
                  </a:lnTo>
                  <a:lnTo>
                    <a:pt x="1368" y="894"/>
                  </a:lnTo>
                  <a:lnTo>
                    <a:pt x="1362" y="894"/>
                  </a:lnTo>
                  <a:lnTo>
                    <a:pt x="1326" y="894"/>
                  </a:lnTo>
                  <a:lnTo>
                    <a:pt x="1302" y="906"/>
                  </a:lnTo>
                  <a:lnTo>
                    <a:pt x="1284" y="918"/>
                  </a:lnTo>
                  <a:lnTo>
                    <a:pt x="1284" y="924"/>
                  </a:lnTo>
                  <a:lnTo>
                    <a:pt x="1278" y="930"/>
                  </a:lnTo>
                  <a:lnTo>
                    <a:pt x="1266" y="930"/>
                  </a:lnTo>
                  <a:lnTo>
                    <a:pt x="1236" y="954"/>
                  </a:lnTo>
                  <a:lnTo>
                    <a:pt x="1212" y="972"/>
                  </a:lnTo>
                  <a:lnTo>
                    <a:pt x="1218" y="996"/>
                  </a:lnTo>
                  <a:lnTo>
                    <a:pt x="1224" y="1008"/>
                  </a:lnTo>
                  <a:lnTo>
                    <a:pt x="1236" y="1014"/>
                  </a:lnTo>
                  <a:lnTo>
                    <a:pt x="1242" y="1026"/>
                  </a:lnTo>
                  <a:lnTo>
                    <a:pt x="1248" y="1038"/>
                  </a:lnTo>
                  <a:lnTo>
                    <a:pt x="1260" y="1050"/>
                  </a:lnTo>
                  <a:lnTo>
                    <a:pt x="1260" y="1056"/>
                  </a:lnTo>
                  <a:lnTo>
                    <a:pt x="1260" y="1074"/>
                  </a:lnTo>
                  <a:lnTo>
                    <a:pt x="1254" y="1074"/>
                  </a:lnTo>
                  <a:lnTo>
                    <a:pt x="1236" y="1056"/>
                  </a:lnTo>
                  <a:lnTo>
                    <a:pt x="1224" y="1050"/>
                  </a:lnTo>
                  <a:lnTo>
                    <a:pt x="1212" y="1050"/>
                  </a:lnTo>
                  <a:lnTo>
                    <a:pt x="1206" y="1050"/>
                  </a:lnTo>
                  <a:lnTo>
                    <a:pt x="1200" y="1056"/>
                  </a:lnTo>
                  <a:lnTo>
                    <a:pt x="1194" y="1062"/>
                  </a:lnTo>
                  <a:lnTo>
                    <a:pt x="1188" y="1068"/>
                  </a:lnTo>
                  <a:lnTo>
                    <a:pt x="1188" y="1074"/>
                  </a:lnTo>
                  <a:lnTo>
                    <a:pt x="1176" y="1086"/>
                  </a:lnTo>
                  <a:lnTo>
                    <a:pt x="1170" y="1086"/>
                  </a:lnTo>
                  <a:lnTo>
                    <a:pt x="1170" y="1092"/>
                  </a:lnTo>
                  <a:lnTo>
                    <a:pt x="1164" y="1098"/>
                  </a:lnTo>
                  <a:lnTo>
                    <a:pt x="1158" y="1110"/>
                  </a:lnTo>
                  <a:lnTo>
                    <a:pt x="1152" y="1116"/>
                  </a:lnTo>
                  <a:lnTo>
                    <a:pt x="1152" y="1122"/>
                  </a:lnTo>
                  <a:lnTo>
                    <a:pt x="1146" y="1128"/>
                  </a:lnTo>
                  <a:lnTo>
                    <a:pt x="1152" y="1140"/>
                  </a:lnTo>
                  <a:lnTo>
                    <a:pt x="1158" y="1140"/>
                  </a:lnTo>
                  <a:lnTo>
                    <a:pt x="1164" y="1146"/>
                  </a:lnTo>
                  <a:lnTo>
                    <a:pt x="1164" y="1152"/>
                  </a:lnTo>
                  <a:lnTo>
                    <a:pt x="1170" y="1164"/>
                  </a:lnTo>
                  <a:lnTo>
                    <a:pt x="1164" y="1176"/>
                  </a:lnTo>
                  <a:lnTo>
                    <a:pt x="1170" y="1182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82" y="1218"/>
                  </a:lnTo>
                  <a:lnTo>
                    <a:pt x="1188" y="1218"/>
                  </a:lnTo>
                  <a:lnTo>
                    <a:pt x="1194" y="1218"/>
                  </a:lnTo>
                  <a:lnTo>
                    <a:pt x="1194" y="1224"/>
                  </a:lnTo>
                  <a:lnTo>
                    <a:pt x="1200" y="1230"/>
                  </a:lnTo>
                  <a:lnTo>
                    <a:pt x="1200" y="1248"/>
                  </a:lnTo>
                  <a:lnTo>
                    <a:pt x="1212" y="1266"/>
                  </a:lnTo>
                  <a:lnTo>
                    <a:pt x="1218" y="1278"/>
                  </a:lnTo>
                  <a:lnTo>
                    <a:pt x="1224" y="1284"/>
                  </a:lnTo>
                  <a:lnTo>
                    <a:pt x="1236" y="1296"/>
                  </a:lnTo>
                  <a:lnTo>
                    <a:pt x="1242" y="1302"/>
                  </a:lnTo>
                  <a:lnTo>
                    <a:pt x="1242" y="1308"/>
                  </a:lnTo>
                  <a:lnTo>
                    <a:pt x="1272" y="1308"/>
                  </a:lnTo>
                  <a:lnTo>
                    <a:pt x="1296" y="1314"/>
                  </a:lnTo>
                  <a:lnTo>
                    <a:pt x="1320" y="1320"/>
                  </a:lnTo>
                  <a:lnTo>
                    <a:pt x="1338" y="1320"/>
                  </a:lnTo>
                  <a:lnTo>
                    <a:pt x="1356" y="1332"/>
                  </a:lnTo>
                  <a:lnTo>
                    <a:pt x="1368" y="1344"/>
                  </a:lnTo>
                  <a:lnTo>
                    <a:pt x="1374" y="1362"/>
                  </a:lnTo>
                  <a:lnTo>
                    <a:pt x="1368" y="1362"/>
                  </a:lnTo>
                  <a:lnTo>
                    <a:pt x="1368" y="1398"/>
                  </a:lnTo>
                  <a:lnTo>
                    <a:pt x="1368" y="1410"/>
                  </a:lnTo>
                  <a:lnTo>
                    <a:pt x="1368" y="1428"/>
                  </a:lnTo>
                  <a:lnTo>
                    <a:pt x="1368" y="1434"/>
                  </a:lnTo>
                  <a:lnTo>
                    <a:pt x="1368" y="1440"/>
                  </a:lnTo>
                  <a:lnTo>
                    <a:pt x="1374" y="1446"/>
                  </a:lnTo>
                  <a:lnTo>
                    <a:pt x="1374" y="1452"/>
                  </a:lnTo>
                  <a:lnTo>
                    <a:pt x="1380" y="1458"/>
                  </a:lnTo>
                  <a:lnTo>
                    <a:pt x="1386" y="1464"/>
                  </a:lnTo>
                  <a:lnTo>
                    <a:pt x="1386" y="1470"/>
                  </a:lnTo>
                  <a:lnTo>
                    <a:pt x="1380" y="1476"/>
                  </a:lnTo>
                  <a:lnTo>
                    <a:pt x="1374" y="1482"/>
                  </a:lnTo>
                  <a:lnTo>
                    <a:pt x="1362" y="1500"/>
                  </a:lnTo>
                  <a:lnTo>
                    <a:pt x="1362" y="1506"/>
                  </a:lnTo>
                  <a:lnTo>
                    <a:pt x="1362" y="1512"/>
                  </a:lnTo>
                  <a:lnTo>
                    <a:pt x="1362" y="1518"/>
                  </a:lnTo>
                  <a:lnTo>
                    <a:pt x="1362" y="1524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38" y="1548"/>
                  </a:lnTo>
                  <a:lnTo>
                    <a:pt x="1296" y="1548"/>
                  </a:lnTo>
                  <a:lnTo>
                    <a:pt x="1290" y="1554"/>
                  </a:lnTo>
                  <a:lnTo>
                    <a:pt x="1284" y="1560"/>
                  </a:lnTo>
                  <a:lnTo>
                    <a:pt x="1284" y="1566"/>
                  </a:lnTo>
                  <a:lnTo>
                    <a:pt x="1290" y="1578"/>
                  </a:lnTo>
                  <a:lnTo>
                    <a:pt x="1296" y="1590"/>
                  </a:lnTo>
                  <a:lnTo>
                    <a:pt x="1302" y="1590"/>
                  </a:lnTo>
                  <a:lnTo>
                    <a:pt x="1308" y="1596"/>
                  </a:lnTo>
                  <a:lnTo>
                    <a:pt x="1320" y="1602"/>
                  </a:lnTo>
                  <a:lnTo>
                    <a:pt x="1326" y="1602"/>
                  </a:lnTo>
                  <a:lnTo>
                    <a:pt x="1326" y="1608"/>
                  </a:lnTo>
                  <a:lnTo>
                    <a:pt x="1332" y="1614"/>
                  </a:lnTo>
                  <a:lnTo>
                    <a:pt x="1344" y="1620"/>
                  </a:lnTo>
                  <a:lnTo>
                    <a:pt x="1356" y="1626"/>
                  </a:lnTo>
                  <a:lnTo>
                    <a:pt x="1356" y="1632"/>
                  </a:lnTo>
                  <a:lnTo>
                    <a:pt x="1356" y="1638"/>
                  </a:lnTo>
                  <a:lnTo>
                    <a:pt x="1362" y="1644"/>
                  </a:lnTo>
                  <a:lnTo>
                    <a:pt x="1368" y="1644"/>
                  </a:lnTo>
                  <a:lnTo>
                    <a:pt x="1380" y="1650"/>
                  </a:lnTo>
                  <a:lnTo>
                    <a:pt x="1386" y="1650"/>
                  </a:lnTo>
                  <a:lnTo>
                    <a:pt x="1386" y="1656"/>
                  </a:lnTo>
                  <a:lnTo>
                    <a:pt x="1392" y="1656"/>
                  </a:lnTo>
                  <a:lnTo>
                    <a:pt x="1398" y="1662"/>
                  </a:lnTo>
                  <a:lnTo>
                    <a:pt x="1410" y="1674"/>
                  </a:lnTo>
                  <a:lnTo>
                    <a:pt x="1428" y="1680"/>
                  </a:lnTo>
                  <a:lnTo>
                    <a:pt x="1428" y="1686"/>
                  </a:lnTo>
                  <a:lnTo>
                    <a:pt x="1428" y="1698"/>
                  </a:lnTo>
                  <a:lnTo>
                    <a:pt x="1434" y="1704"/>
                  </a:lnTo>
                  <a:lnTo>
                    <a:pt x="1434" y="1710"/>
                  </a:lnTo>
                  <a:lnTo>
                    <a:pt x="1440" y="1710"/>
                  </a:lnTo>
                  <a:lnTo>
                    <a:pt x="1446" y="1710"/>
                  </a:lnTo>
                  <a:lnTo>
                    <a:pt x="1446" y="1716"/>
                  </a:lnTo>
                  <a:lnTo>
                    <a:pt x="1440" y="1722"/>
                  </a:lnTo>
                  <a:lnTo>
                    <a:pt x="1440" y="1728"/>
                  </a:lnTo>
                  <a:lnTo>
                    <a:pt x="1440" y="1734"/>
                  </a:lnTo>
                  <a:lnTo>
                    <a:pt x="1440" y="1740"/>
                  </a:lnTo>
                  <a:lnTo>
                    <a:pt x="1440" y="1746"/>
                  </a:lnTo>
                  <a:lnTo>
                    <a:pt x="1440" y="1788"/>
                  </a:lnTo>
                  <a:lnTo>
                    <a:pt x="1440" y="1800"/>
                  </a:lnTo>
                  <a:lnTo>
                    <a:pt x="1440" y="1806"/>
                  </a:lnTo>
                  <a:lnTo>
                    <a:pt x="1440" y="1836"/>
                  </a:lnTo>
                  <a:lnTo>
                    <a:pt x="1440" y="1848"/>
                  </a:lnTo>
                  <a:lnTo>
                    <a:pt x="1446" y="1848"/>
                  </a:lnTo>
                  <a:lnTo>
                    <a:pt x="1446" y="1854"/>
                  </a:lnTo>
                  <a:lnTo>
                    <a:pt x="1452" y="1848"/>
                  </a:lnTo>
                  <a:lnTo>
                    <a:pt x="1458" y="1854"/>
                  </a:lnTo>
                  <a:lnTo>
                    <a:pt x="1452" y="1860"/>
                  </a:lnTo>
                  <a:lnTo>
                    <a:pt x="1452" y="1866"/>
                  </a:lnTo>
                  <a:lnTo>
                    <a:pt x="1458" y="1872"/>
                  </a:lnTo>
                  <a:lnTo>
                    <a:pt x="1464" y="1884"/>
                  </a:lnTo>
                  <a:lnTo>
                    <a:pt x="1428" y="1878"/>
                  </a:lnTo>
                  <a:lnTo>
                    <a:pt x="1356" y="1890"/>
                  </a:lnTo>
                  <a:lnTo>
                    <a:pt x="1296" y="1926"/>
                  </a:lnTo>
                  <a:lnTo>
                    <a:pt x="1266" y="1944"/>
                  </a:lnTo>
                  <a:lnTo>
                    <a:pt x="1224" y="1944"/>
                  </a:lnTo>
                  <a:lnTo>
                    <a:pt x="1188" y="1956"/>
                  </a:lnTo>
                  <a:lnTo>
                    <a:pt x="1188" y="1950"/>
                  </a:lnTo>
                  <a:lnTo>
                    <a:pt x="1176" y="1944"/>
                  </a:lnTo>
                  <a:lnTo>
                    <a:pt x="1176" y="1938"/>
                  </a:lnTo>
                  <a:lnTo>
                    <a:pt x="1170" y="1938"/>
                  </a:lnTo>
                  <a:lnTo>
                    <a:pt x="1164" y="1932"/>
                  </a:lnTo>
                  <a:lnTo>
                    <a:pt x="1158" y="1926"/>
                  </a:lnTo>
                  <a:lnTo>
                    <a:pt x="1158" y="1920"/>
                  </a:lnTo>
                  <a:lnTo>
                    <a:pt x="1152" y="1920"/>
                  </a:lnTo>
                  <a:lnTo>
                    <a:pt x="1146" y="1914"/>
                  </a:lnTo>
                  <a:lnTo>
                    <a:pt x="1146" y="1908"/>
                  </a:lnTo>
                  <a:lnTo>
                    <a:pt x="1140" y="1908"/>
                  </a:lnTo>
                  <a:lnTo>
                    <a:pt x="1134" y="1902"/>
                  </a:lnTo>
                  <a:lnTo>
                    <a:pt x="1134" y="1896"/>
                  </a:lnTo>
                  <a:lnTo>
                    <a:pt x="1116" y="1896"/>
                  </a:lnTo>
                  <a:lnTo>
                    <a:pt x="1104" y="1884"/>
                  </a:lnTo>
                  <a:lnTo>
                    <a:pt x="1092" y="1860"/>
                  </a:lnTo>
                  <a:lnTo>
                    <a:pt x="1068" y="1854"/>
                  </a:lnTo>
                  <a:lnTo>
                    <a:pt x="1032" y="1842"/>
                  </a:lnTo>
                  <a:lnTo>
                    <a:pt x="1008" y="1836"/>
                  </a:lnTo>
                  <a:lnTo>
                    <a:pt x="978" y="1824"/>
                  </a:lnTo>
                  <a:lnTo>
                    <a:pt x="942" y="1818"/>
                  </a:lnTo>
                  <a:lnTo>
                    <a:pt x="924" y="1806"/>
                  </a:lnTo>
                  <a:lnTo>
                    <a:pt x="906" y="1788"/>
                  </a:lnTo>
                  <a:lnTo>
                    <a:pt x="894" y="1776"/>
                  </a:lnTo>
                  <a:lnTo>
                    <a:pt x="864" y="1758"/>
                  </a:lnTo>
                  <a:lnTo>
                    <a:pt x="834" y="1752"/>
                  </a:lnTo>
                  <a:lnTo>
                    <a:pt x="798" y="1746"/>
                  </a:lnTo>
                  <a:lnTo>
                    <a:pt x="792" y="1806"/>
                  </a:lnTo>
                  <a:lnTo>
                    <a:pt x="798" y="1812"/>
                  </a:lnTo>
                  <a:lnTo>
                    <a:pt x="810" y="1830"/>
                  </a:lnTo>
                  <a:lnTo>
                    <a:pt x="792" y="1842"/>
                  </a:lnTo>
                  <a:lnTo>
                    <a:pt x="768" y="1842"/>
                  </a:lnTo>
                  <a:lnTo>
                    <a:pt x="708" y="1848"/>
                  </a:lnTo>
                  <a:lnTo>
                    <a:pt x="690" y="1860"/>
                  </a:lnTo>
                  <a:lnTo>
                    <a:pt x="690" y="1866"/>
                  </a:lnTo>
                  <a:lnTo>
                    <a:pt x="678" y="1878"/>
                  </a:lnTo>
                  <a:lnTo>
                    <a:pt x="660" y="1884"/>
                  </a:lnTo>
                  <a:lnTo>
                    <a:pt x="660" y="1902"/>
                  </a:lnTo>
                  <a:lnTo>
                    <a:pt x="642" y="1902"/>
                  </a:lnTo>
                  <a:lnTo>
                    <a:pt x="582" y="1914"/>
                  </a:lnTo>
                  <a:lnTo>
                    <a:pt x="534" y="1908"/>
                  </a:lnTo>
                  <a:lnTo>
                    <a:pt x="510" y="1908"/>
                  </a:lnTo>
                  <a:lnTo>
                    <a:pt x="510" y="1896"/>
                  </a:lnTo>
                  <a:lnTo>
                    <a:pt x="492" y="1896"/>
                  </a:lnTo>
                  <a:lnTo>
                    <a:pt x="486" y="1902"/>
                  </a:lnTo>
                  <a:lnTo>
                    <a:pt x="474" y="1908"/>
                  </a:lnTo>
                  <a:lnTo>
                    <a:pt x="450" y="1908"/>
                  </a:lnTo>
                  <a:lnTo>
                    <a:pt x="432" y="1902"/>
                  </a:lnTo>
                  <a:lnTo>
                    <a:pt x="426" y="1896"/>
                  </a:lnTo>
                  <a:lnTo>
                    <a:pt x="402" y="1884"/>
                  </a:lnTo>
                  <a:lnTo>
                    <a:pt x="390" y="1872"/>
                  </a:lnTo>
                  <a:lnTo>
                    <a:pt x="384" y="1872"/>
                  </a:lnTo>
                  <a:lnTo>
                    <a:pt x="378" y="1872"/>
                  </a:lnTo>
                  <a:lnTo>
                    <a:pt x="378" y="1866"/>
                  </a:lnTo>
                  <a:lnTo>
                    <a:pt x="372" y="1860"/>
                  </a:lnTo>
                  <a:lnTo>
                    <a:pt x="372" y="1854"/>
                  </a:lnTo>
                  <a:lnTo>
                    <a:pt x="366" y="1842"/>
                  </a:lnTo>
                  <a:lnTo>
                    <a:pt x="366" y="1836"/>
                  </a:lnTo>
                  <a:lnTo>
                    <a:pt x="348" y="1830"/>
                  </a:lnTo>
                  <a:lnTo>
                    <a:pt x="348" y="1806"/>
                  </a:lnTo>
                  <a:lnTo>
                    <a:pt x="348" y="1800"/>
                  </a:lnTo>
                  <a:lnTo>
                    <a:pt x="348" y="1782"/>
                  </a:lnTo>
                  <a:lnTo>
                    <a:pt x="336" y="1788"/>
                  </a:lnTo>
                  <a:lnTo>
                    <a:pt x="312" y="1794"/>
                  </a:lnTo>
                  <a:lnTo>
                    <a:pt x="288" y="1788"/>
                  </a:lnTo>
                  <a:lnTo>
                    <a:pt x="264" y="1758"/>
                  </a:lnTo>
                  <a:lnTo>
                    <a:pt x="270" y="1758"/>
                  </a:lnTo>
                  <a:lnTo>
                    <a:pt x="270" y="1752"/>
                  </a:lnTo>
                  <a:lnTo>
                    <a:pt x="276" y="1752"/>
                  </a:lnTo>
                  <a:lnTo>
                    <a:pt x="282" y="1746"/>
                  </a:lnTo>
                  <a:lnTo>
                    <a:pt x="300" y="1746"/>
                  </a:lnTo>
                  <a:lnTo>
                    <a:pt x="312" y="1746"/>
                  </a:lnTo>
                  <a:lnTo>
                    <a:pt x="336" y="1710"/>
                  </a:lnTo>
                  <a:lnTo>
                    <a:pt x="342" y="1692"/>
                  </a:lnTo>
                  <a:lnTo>
                    <a:pt x="348" y="1680"/>
                  </a:lnTo>
                  <a:lnTo>
                    <a:pt x="342" y="1650"/>
                  </a:lnTo>
                  <a:lnTo>
                    <a:pt x="354" y="1644"/>
                  </a:lnTo>
                  <a:lnTo>
                    <a:pt x="354" y="1638"/>
                  </a:lnTo>
                  <a:lnTo>
                    <a:pt x="360" y="1632"/>
                  </a:lnTo>
                  <a:lnTo>
                    <a:pt x="354" y="1626"/>
                  </a:lnTo>
                  <a:lnTo>
                    <a:pt x="348" y="1626"/>
                  </a:lnTo>
                  <a:lnTo>
                    <a:pt x="348" y="1620"/>
                  </a:lnTo>
                  <a:lnTo>
                    <a:pt x="342" y="1620"/>
                  </a:lnTo>
                  <a:lnTo>
                    <a:pt x="348" y="1614"/>
                  </a:lnTo>
                  <a:lnTo>
                    <a:pt x="324" y="1566"/>
                  </a:lnTo>
                  <a:lnTo>
                    <a:pt x="318" y="1566"/>
                  </a:lnTo>
                  <a:lnTo>
                    <a:pt x="306" y="1572"/>
                  </a:lnTo>
                  <a:lnTo>
                    <a:pt x="300" y="1572"/>
                  </a:lnTo>
                  <a:lnTo>
                    <a:pt x="294" y="1578"/>
                  </a:lnTo>
                  <a:lnTo>
                    <a:pt x="288" y="1584"/>
                  </a:lnTo>
                  <a:lnTo>
                    <a:pt x="282" y="1584"/>
                  </a:lnTo>
                  <a:lnTo>
                    <a:pt x="282" y="1578"/>
                  </a:lnTo>
                  <a:lnTo>
                    <a:pt x="276" y="1578"/>
                  </a:lnTo>
                  <a:lnTo>
                    <a:pt x="270" y="1578"/>
                  </a:lnTo>
                  <a:lnTo>
                    <a:pt x="264" y="1578"/>
                  </a:lnTo>
                  <a:lnTo>
                    <a:pt x="258" y="1578"/>
                  </a:lnTo>
                  <a:lnTo>
                    <a:pt x="252" y="1578"/>
                  </a:lnTo>
                  <a:lnTo>
                    <a:pt x="252" y="1584"/>
                  </a:lnTo>
                  <a:lnTo>
                    <a:pt x="246" y="1584"/>
                  </a:lnTo>
                  <a:lnTo>
                    <a:pt x="210" y="1584"/>
                  </a:lnTo>
                  <a:lnTo>
                    <a:pt x="204" y="1584"/>
                  </a:lnTo>
                  <a:lnTo>
                    <a:pt x="192" y="1584"/>
                  </a:lnTo>
                  <a:lnTo>
                    <a:pt x="168" y="1596"/>
                  </a:lnTo>
                  <a:lnTo>
                    <a:pt x="156" y="1572"/>
                  </a:lnTo>
                  <a:lnTo>
                    <a:pt x="156" y="1566"/>
                  </a:lnTo>
                  <a:lnTo>
                    <a:pt x="156" y="1560"/>
                  </a:lnTo>
                  <a:lnTo>
                    <a:pt x="162" y="1548"/>
                  </a:lnTo>
                  <a:lnTo>
                    <a:pt x="162" y="1542"/>
                  </a:lnTo>
                  <a:lnTo>
                    <a:pt x="162" y="1536"/>
                  </a:lnTo>
                  <a:lnTo>
                    <a:pt x="168" y="1530"/>
                  </a:lnTo>
                  <a:lnTo>
                    <a:pt x="168" y="1524"/>
                  </a:lnTo>
                  <a:lnTo>
                    <a:pt x="168" y="1518"/>
                  </a:lnTo>
                  <a:lnTo>
                    <a:pt x="174" y="1518"/>
                  </a:lnTo>
                  <a:lnTo>
                    <a:pt x="174" y="1506"/>
                  </a:lnTo>
                  <a:lnTo>
                    <a:pt x="156" y="1470"/>
                  </a:lnTo>
                  <a:lnTo>
                    <a:pt x="138" y="1464"/>
                  </a:lnTo>
                  <a:lnTo>
                    <a:pt x="126" y="1446"/>
                  </a:lnTo>
                  <a:lnTo>
                    <a:pt x="126" y="1440"/>
                  </a:lnTo>
                  <a:lnTo>
                    <a:pt x="126" y="1434"/>
                  </a:lnTo>
                  <a:lnTo>
                    <a:pt x="120" y="1428"/>
                  </a:lnTo>
                  <a:lnTo>
                    <a:pt x="126" y="1398"/>
                  </a:lnTo>
                  <a:lnTo>
                    <a:pt x="120" y="1374"/>
                  </a:lnTo>
                  <a:lnTo>
                    <a:pt x="60" y="1374"/>
                  </a:lnTo>
                  <a:lnTo>
                    <a:pt x="60" y="1368"/>
                  </a:lnTo>
                  <a:lnTo>
                    <a:pt x="54" y="1362"/>
                  </a:lnTo>
                  <a:lnTo>
                    <a:pt x="48" y="1356"/>
                  </a:lnTo>
                  <a:lnTo>
                    <a:pt x="42" y="1356"/>
                  </a:lnTo>
                  <a:lnTo>
                    <a:pt x="42" y="1350"/>
                  </a:lnTo>
                  <a:lnTo>
                    <a:pt x="36" y="1344"/>
                  </a:lnTo>
                  <a:lnTo>
                    <a:pt x="36" y="1338"/>
                  </a:lnTo>
                  <a:lnTo>
                    <a:pt x="30" y="1332"/>
                  </a:lnTo>
                  <a:lnTo>
                    <a:pt x="30" y="1326"/>
                  </a:lnTo>
                  <a:lnTo>
                    <a:pt x="18" y="1326"/>
                  </a:lnTo>
                  <a:lnTo>
                    <a:pt x="18" y="1320"/>
                  </a:lnTo>
                  <a:lnTo>
                    <a:pt x="18" y="1326"/>
                  </a:lnTo>
                  <a:lnTo>
                    <a:pt x="6" y="1320"/>
                  </a:lnTo>
                  <a:lnTo>
                    <a:pt x="0" y="1314"/>
                  </a:lnTo>
                  <a:lnTo>
                    <a:pt x="12" y="1266"/>
                  </a:lnTo>
                  <a:lnTo>
                    <a:pt x="6" y="1242"/>
                  </a:lnTo>
                  <a:lnTo>
                    <a:pt x="12" y="1236"/>
                  </a:lnTo>
                  <a:lnTo>
                    <a:pt x="12" y="1230"/>
                  </a:lnTo>
                  <a:lnTo>
                    <a:pt x="18" y="1230"/>
                  </a:lnTo>
                  <a:lnTo>
                    <a:pt x="18" y="1224"/>
                  </a:lnTo>
                  <a:lnTo>
                    <a:pt x="24" y="1218"/>
                  </a:lnTo>
                  <a:lnTo>
                    <a:pt x="24" y="1212"/>
                  </a:lnTo>
                  <a:lnTo>
                    <a:pt x="30" y="1212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48" y="1188"/>
                  </a:lnTo>
                  <a:lnTo>
                    <a:pt x="48" y="1182"/>
                  </a:lnTo>
                  <a:lnTo>
                    <a:pt x="48" y="1176"/>
                  </a:lnTo>
                  <a:lnTo>
                    <a:pt x="48" y="1170"/>
                  </a:lnTo>
                  <a:lnTo>
                    <a:pt x="54" y="1170"/>
                  </a:lnTo>
                  <a:lnTo>
                    <a:pt x="60" y="1164"/>
                  </a:lnTo>
                  <a:lnTo>
                    <a:pt x="60" y="1158"/>
                  </a:lnTo>
                  <a:lnTo>
                    <a:pt x="66" y="1152"/>
                  </a:lnTo>
                  <a:lnTo>
                    <a:pt x="60" y="1140"/>
                  </a:lnTo>
                  <a:lnTo>
                    <a:pt x="60" y="1134"/>
                  </a:lnTo>
                  <a:lnTo>
                    <a:pt x="54" y="1134"/>
                  </a:lnTo>
                  <a:lnTo>
                    <a:pt x="54" y="1128"/>
                  </a:lnTo>
                  <a:lnTo>
                    <a:pt x="48" y="1122"/>
                  </a:lnTo>
                  <a:lnTo>
                    <a:pt x="48" y="1116"/>
                  </a:lnTo>
                  <a:lnTo>
                    <a:pt x="48" y="1110"/>
                  </a:lnTo>
                  <a:lnTo>
                    <a:pt x="42" y="1104"/>
                  </a:lnTo>
                  <a:lnTo>
                    <a:pt x="42" y="1098"/>
                  </a:lnTo>
                  <a:lnTo>
                    <a:pt x="36" y="1092"/>
                  </a:lnTo>
                  <a:lnTo>
                    <a:pt x="30" y="1092"/>
                  </a:lnTo>
                  <a:lnTo>
                    <a:pt x="24" y="1092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18" y="1080"/>
                  </a:lnTo>
                  <a:lnTo>
                    <a:pt x="18" y="1074"/>
                  </a:lnTo>
                  <a:lnTo>
                    <a:pt x="12" y="1068"/>
                  </a:lnTo>
                  <a:lnTo>
                    <a:pt x="6" y="1068"/>
                  </a:lnTo>
                  <a:lnTo>
                    <a:pt x="12" y="1056"/>
                  </a:lnTo>
                  <a:lnTo>
                    <a:pt x="6" y="1056"/>
                  </a:lnTo>
                  <a:lnTo>
                    <a:pt x="6" y="1050"/>
                  </a:lnTo>
                  <a:lnTo>
                    <a:pt x="6" y="1044"/>
                  </a:lnTo>
                  <a:lnTo>
                    <a:pt x="6" y="1026"/>
                  </a:lnTo>
                  <a:lnTo>
                    <a:pt x="12" y="1020"/>
                  </a:lnTo>
                  <a:lnTo>
                    <a:pt x="12" y="1014"/>
                  </a:lnTo>
                  <a:lnTo>
                    <a:pt x="18" y="1014"/>
                  </a:lnTo>
                  <a:lnTo>
                    <a:pt x="18" y="1008"/>
                  </a:lnTo>
                  <a:lnTo>
                    <a:pt x="18" y="1002"/>
                  </a:lnTo>
                  <a:lnTo>
                    <a:pt x="18" y="990"/>
                  </a:lnTo>
                  <a:lnTo>
                    <a:pt x="12" y="972"/>
                  </a:lnTo>
                  <a:lnTo>
                    <a:pt x="18" y="954"/>
                  </a:lnTo>
                  <a:lnTo>
                    <a:pt x="18" y="948"/>
                  </a:lnTo>
                  <a:lnTo>
                    <a:pt x="24" y="948"/>
                  </a:lnTo>
                  <a:lnTo>
                    <a:pt x="24" y="930"/>
                  </a:lnTo>
                  <a:lnTo>
                    <a:pt x="30" y="930"/>
                  </a:lnTo>
                  <a:lnTo>
                    <a:pt x="36" y="918"/>
                  </a:lnTo>
                  <a:lnTo>
                    <a:pt x="42" y="918"/>
                  </a:lnTo>
                  <a:lnTo>
                    <a:pt x="48" y="918"/>
                  </a:lnTo>
                  <a:lnTo>
                    <a:pt x="78" y="912"/>
                  </a:lnTo>
                  <a:lnTo>
                    <a:pt x="90" y="894"/>
                  </a:lnTo>
                  <a:lnTo>
                    <a:pt x="96" y="894"/>
                  </a:lnTo>
                  <a:lnTo>
                    <a:pt x="102" y="888"/>
                  </a:lnTo>
                  <a:lnTo>
                    <a:pt x="102" y="882"/>
                  </a:lnTo>
                  <a:lnTo>
                    <a:pt x="114" y="870"/>
                  </a:lnTo>
                  <a:lnTo>
                    <a:pt x="120" y="864"/>
                  </a:lnTo>
                  <a:lnTo>
                    <a:pt x="120" y="852"/>
                  </a:lnTo>
                  <a:lnTo>
                    <a:pt x="120" y="846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32" y="840"/>
                  </a:lnTo>
                  <a:lnTo>
                    <a:pt x="138" y="840"/>
                  </a:lnTo>
                  <a:lnTo>
                    <a:pt x="138" y="834"/>
                  </a:lnTo>
                  <a:lnTo>
                    <a:pt x="144" y="834"/>
                  </a:lnTo>
                  <a:lnTo>
                    <a:pt x="144" y="828"/>
                  </a:lnTo>
                  <a:lnTo>
                    <a:pt x="150" y="828"/>
                  </a:lnTo>
                  <a:lnTo>
                    <a:pt x="156" y="822"/>
                  </a:lnTo>
                  <a:lnTo>
                    <a:pt x="162" y="816"/>
                  </a:lnTo>
                  <a:lnTo>
                    <a:pt x="162" y="822"/>
                  </a:lnTo>
                  <a:lnTo>
                    <a:pt x="162" y="816"/>
                  </a:lnTo>
                  <a:lnTo>
                    <a:pt x="162" y="810"/>
                  </a:lnTo>
                  <a:lnTo>
                    <a:pt x="168" y="810"/>
                  </a:lnTo>
                  <a:lnTo>
                    <a:pt x="174" y="804"/>
                  </a:lnTo>
                  <a:lnTo>
                    <a:pt x="180" y="798"/>
                  </a:lnTo>
                  <a:lnTo>
                    <a:pt x="180" y="786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8" y="780"/>
                  </a:lnTo>
                  <a:lnTo>
                    <a:pt x="204" y="774"/>
                  </a:lnTo>
                  <a:lnTo>
                    <a:pt x="210" y="774"/>
                  </a:lnTo>
                  <a:lnTo>
                    <a:pt x="216" y="768"/>
                  </a:lnTo>
                  <a:lnTo>
                    <a:pt x="222" y="762"/>
                  </a:lnTo>
                  <a:lnTo>
                    <a:pt x="228" y="762"/>
                  </a:lnTo>
                  <a:lnTo>
                    <a:pt x="228" y="768"/>
                  </a:lnTo>
                  <a:lnTo>
                    <a:pt x="234" y="768"/>
                  </a:lnTo>
                  <a:lnTo>
                    <a:pt x="240" y="762"/>
                  </a:lnTo>
                  <a:lnTo>
                    <a:pt x="252" y="762"/>
                  </a:lnTo>
                  <a:lnTo>
                    <a:pt x="264" y="768"/>
                  </a:lnTo>
                  <a:lnTo>
                    <a:pt x="294" y="756"/>
                  </a:lnTo>
                  <a:lnTo>
                    <a:pt x="294" y="750"/>
                  </a:lnTo>
                  <a:lnTo>
                    <a:pt x="300" y="750"/>
                  </a:lnTo>
                  <a:lnTo>
                    <a:pt x="306" y="744"/>
                  </a:lnTo>
                  <a:lnTo>
                    <a:pt x="342" y="750"/>
                  </a:lnTo>
                  <a:lnTo>
                    <a:pt x="348" y="750"/>
                  </a:lnTo>
                  <a:lnTo>
                    <a:pt x="348" y="744"/>
                  </a:lnTo>
                  <a:lnTo>
                    <a:pt x="354" y="744"/>
                  </a:lnTo>
                  <a:lnTo>
                    <a:pt x="360" y="744"/>
                  </a:lnTo>
                  <a:lnTo>
                    <a:pt x="360" y="750"/>
                  </a:lnTo>
                  <a:lnTo>
                    <a:pt x="366" y="750"/>
                  </a:lnTo>
                  <a:lnTo>
                    <a:pt x="366" y="744"/>
                  </a:lnTo>
                  <a:lnTo>
                    <a:pt x="366" y="738"/>
                  </a:lnTo>
                  <a:lnTo>
                    <a:pt x="372" y="744"/>
                  </a:lnTo>
                  <a:lnTo>
                    <a:pt x="378" y="744"/>
                  </a:lnTo>
                  <a:lnTo>
                    <a:pt x="384" y="750"/>
                  </a:lnTo>
                  <a:lnTo>
                    <a:pt x="444" y="774"/>
                  </a:lnTo>
                  <a:lnTo>
                    <a:pt x="450" y="774"/>
                  </a:lnTo>
                  <a:lnTo>
                    <a:pt x="456" y="768"/>
                  </a:lnTo>
                  <a:lnTo>
                    <a:pt x="462" y="768"/>
                  </a:lnTo>
                  <a:lnTo>
                    <a:pt x="462" y="762"/>
                  </a:lnTo>
                  <a:lnTo>
                    <a:pt x="468" y="762"/>
                  </a:lnTo>
                  <a:lnTo>
                    <a:pt x="474" y="756"/>
                  </a:lnTo>
                  <a:lnTo>
                    <a:pt x="480" y="750"/>
                  </a:lnTo>
                  <a:lnTo>
                    <a:pt x="516" y="756"/>
                  </a:lnTo>
                  <a:lnTo>
                    <a:pt x="522" y="756"/>
                  </a:lnTo>
                  <a:lnTo>
                    <a:pt x="522" y="762"/>
                  </a:lnTo>
                  <a:lnTo>
                    <a:pt x="522" y="768"/>
                  </a:lnTo>
                  <a:lnTo>
                    <a:pt x="522" y="774"/>
                  </a:lnTo>
                  <a:lnTo>
                    <a:pt x="528" y="780"/>
                  </a:lnTo>
                  <a:lnTo>
                    <a:pt x="540" y="780"/>
                  </a:lnTo>
                  <a:lnTo>
                    <a:pt x="540" y="804"/>
                  </a:lnTo>
                  <a:lnTo>
                    <a:pt x="540" y="810"/>
                  </a:lnTo>
                  <a:lnTo>
                    <a:pt x="546" y="810"/>
                  </a:lnTo>
                  <a:lnTo>
                    <a:pt x="552" y="810"/>
                  </a:lnTo>
                  <a:lnTo>
                    <a:pt x="558" y="810"/>
                  </a:lnTo>
                  <a:lnTo>
                    <a:pt x="564" y="810"/>
                  </a:lnTo>
                  <a:lnTo>
                    <a:pt x="570" y="810"/>
                  </a:lnTo>
                  <a:lnTo>
                    <a:pt x="576" y="810"/>
                  </a:lnTo>
                  <a:lnTo>
                    <a:pt x="576" y="816"/>
                  </a:lnTo>
                  <a:lnTo>
                    <a:pt x="588" y="816"/>
                  </a:lnTo>
                  <a:lnTo>
                    <a:pt x="594" y="816"/>
                  </a:lnTo>
                  <a:lnTo>
                    <a:pt x="600" y="822"/>
                  </a:lnTo>
                  <a:lnTo>
                    <a:pt x="606" y="816"/>
                  </a:lnTo>
                  <a:lnTo>
                    <a:pt x="612" y="816"/>
                  </a:lnTo>
                  <a:lnTo>
                    <a:pt x="612" y="810"/>
                  </a:lnTo>
                  <a:lnTo>
                    <a:pt x="624" y="810"/>
                  </a:lnTo>
                  <a:lnTo>
                    <a:pt x="624" y="804"/>
                  </a:lnTo>
                  <a:lnTo>
                    <a:pt x="630" y="798"/>
                  </a:lnTo>
                  <a:lnTo>
                    <a:pt x="636" y="798"/>
                  </a:lnTo>
                  <a:lnTo>
                    <a:pt x="636" y="804"/>
                  </a:lnTo>
                  <a:lnTo>
                    <a:pt x="642" y="804"/>
                  </a:lnTo>
                  <a:lnTo>
                    <a:pt x="648" y="804"/>
                  </a:lnTo>
                  <a:lnTo>
                    <a:pt x="654" y="804"/>
                  </a:lnTo>
                  <a:lnTo>
                    <a:pt x="660" y="804"/>
                  </a:lnTo>
                  <a:lnTo>
                    <a:pt x="678" y="798"/>
                  </a:lnTo>
                  <a:lnTo>
                    <a:pt x="714" y="786"/>
                  </a:lnTo>
                  <a:lnTo>
                    <a:pt x="714" y="792"/>
                  </a:lnTo>
                  <a:lnTo>
                    <a:pt x="714" y="798"/>
                  </a:lnTo>
                  <a:lnTo>
                    <a:pt x="714" y="804"/>
                  </a:lnTo>
                  <a:lnTo>
                    <a:pt x="720" y="804"/>
                  </a:lnTo>
                  <a:lnTo>
                    <a:pt x="720" y="810"/>
                  </a:lnTo>
                  <a:lnTo>
                    <a:pt x="720" y="816"/>
                  </a:lnTo>
                  <a:lnTo>
                    <a:pt x="726" y="822"/>
                  </a:lnTo>
                  <a:lnTo>
                    <a:pt x="732" y="828"/>
                  </a:lnTo>
                  <a:lnTo>
                    <a:pt x="732" y="834"/>
                  </a:lnTo>
                  <a:lnTo>
                    <a:pt x="732" y="846"/>
                  </a:lnTo>
                  <a:lnTo>
                    <a:pt x="732" y="858"/>
                  </a:lnTo>
                  <a:lnTo>
                    <a:pt x="738" y="858"/>
                  </a:lnTo>
                  <a:lnTo>
                    <a:pt x="732" y="864"/>
                  </a:lnTo>
                  <a:lnTo>
                    <a:pt x="732" y="870"/>
                  </a:lnTo>
                  <a:lnTo>
                    <a:pt x="726" y="870"/>
                  </a:lnTo>
                  <a:lnTo>
                    <a:pt x="726" y="876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0" y="882"/>
                  </a:lnTo>
                  <a:lnTo>
                    <a:pt x="690" y="912"/>
                  </a:lnTo>
                  <a:lnTo>
                    <a:pt x="696" y="936"/>
                  </a:lnTo>
                  <a:lnTo>
                    <a:pt x="702" y="936"/>
                  </a:lnTo>
                  <a:lnTo>
                    <a:pt x="702" y="930"/>
                  </a:lnTo>
                  <a:lnTo>
                    <a:pt x="708" y="930"/>
                  </a:lnTo>
                  <a:lnTo>
                    <a:pt x="708" y="924"/>
                  </a:lnTo>
                  <a:lnTo>
                    <a:pt x="708" y="918"/>
                  </a:lnTo>
                  <a:lnTo>
                    <a:pt x="714" y="918"/>
                  </a:lnTo>
                  <a:lnTo>
                    <a:pt x="720" y="954"/>
                  </a:lnTo>
                  <a:lnTo>
                    <a:pt x="726" y="966"/>
                  </a:lnTo>
                  <a:lnTo>
                    <a:pt x="744" y="966"/>
                  </a:lnTo>
                  <a:lnTo>
                    <a:pt x="756" y="972"/>
                  </a:lnTo>
                  <a:lnTo>
                    <a:pt x="792" y="990"/>
                  </a:lnTo>
                  <a:lnTo>
                    <a:pt x="828" y="978"/>
                  </a:lnTo>
                  <a:lnTo>
                    <a:pt x="834" y="978"/>
                  </a:lnTo>
                  <a:lnTo>
                    <a:pt x="840" y="978"/>
                  </a:lnTo>
                  <a:lnTo>
                    <a:pt x="840" y="984"/>
                  </a:lnTo>
                  <a:lnTo>
                    <a:pt x="846" y="984"/>
                  </a:lnTo>
                  <a:lnTo>
                    <a:pt x="858" y="972"/>
                  </a:lnTo>
                  <a:lnTo>
                    <a:pt x="882" y="972"/>
                  </a:lnTo>
                  <a:lnTo>
                    <a:pt x="888" y="984"/>
                  </a:lnTo>
                  <a:lnTo>
                    <a:pt x="900" y="990"/>
                  </a:lnTo>
                  <a:lnTo>
                    <a:pt x="924" y="996"/>
                  </a:lnTo>
                  <a:lnTo>
                    <a:pt x="930" y="990"/>
                  </a:lnTo>
                  <a:lnTo>
                    <a:pt x="930" y="984"/>
                  </a:lnTo>
                  <a:lnTo>
                    <a:pt x="924" y="978"/>
                  </a:lnTo>
                  <a:lnTo>
                    <a:pt x="906" y="972"/>
                  </a:lnTo>
                  <a:lnTo>
                    <a:pt x="900" y="966"/>
                  </a:lnTo>
                  <a:lnTo>
                    <a:pt x="900" y="960"/>
                  </a:lnTo>
                  <a:lnTo>
                    <a:pt x="900" y="954"/>
                  </a:lnTo>
                  <a:lnTo>
                    <a:pt x="900" y="948"/>
                  </a:lnTo>
                  <a:lnTo>
                    <a:pt x="912" y="936"/>
                  </a:lnTo>
                  <a:lnTo>
                    <a:pt x="912" y="924"/>
                  </a:lnTo>
                  <a:lnTo>
                    <a:pt x="918" y="924"/>
                  </a:lnTo>
                  <a:lnTo>
                    <a:pt x="918" y="918"/>
                  </a:lnTo>
                  <a:lnTo>
                    <a:pt x="936" y="906"/>
                  </a:lnTo>
                  <a:lnTo>
                    <a:pt x="942" y="906"/>
                  </a:lnTo>
                  <a:lnTo>
                    <a:pt x="948" y="906"/>
                  </a:lnTo>
                  <a:lnTo>
                    <a:pt x="954" y="906"/>
                  </a:lnTo>
                  <a:lnTo>
                    <a:pt x="960" y="906"/>
                  </a:lnTo>
                  <a:lnTo>
                    <a:pt x="966" y="912"/>
                  </a:lnTo>
                  <a:lnTo>
                    <a:pt x="972" y="906"/>
                  </a:lnTo>
                  <a:lnTo>
                    <a:pt x="978" y="906"/>
                  </a:lnTo>
                  <a:lnTo>
                    <a:pt x="984" y="900"/>
                  </a:lnTo>
                  <a:lnTo>
                    <a:pt x="984" y="894"/>
                  </a:lnTo>
                  <a:lnTo>
                    <a:pt x="990" y="894"/>
                  </a:lnTo>
                  <a:lnTo>
                    <a:pt x="996" y="888"/>
                  </a:lnTo>
                  <a:lnTo>
                    <a:pt x="1002" y="888"/>
                  </a:lnTo>
                  <a:lnTo>
                    <a:pt x="1008" y="882"/>
                  </a:lnTo>
                  <a:lnTo>
                    <a:pt x="1014" y="882"/>
                  </a:lnTo>
                  <a:lnTo>
                    <a:pt x="1020" y="882"/>
                  </a:lnTo>
                  <a:lnTo>
                    <a:pt x="1020" y="888"/>
                  </a:lnTo>
                  <a:lnTo>
                    <a:pt x="1026" y="882"/>
                  </a:lnTo>
                  <a:lnTo>
                    <a:pt x="1026" y="876"/>
                  </a:lnTo>
                  <a:lnTo>
                    <a:pt x="1026" y="870"/>
                  </a:lnTo>
                  <a:lnTo>
                    <a:pt x="1032" y="864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44" y="852"/>
                  </a:lnTo>
                  <a:lnTo>
                    <a:pt x="1038" y="846"/>
                  </a:lnTo>
                  <a:lnTo>
                    <a:pt x="1038" y="840"/>
                  </a:lnTo>
                  <a:lnTo>
                    <a:pt x="1032" y="840"/>
                  </a:lnTo>
                  <a:lnTo>
                    <a:pt x="1026" y="840"/>
                  </a:lnTo>
                  <a:lnTo>
                    <a:pt x="1020" y="840"/>
                  </a:lnTo>
                  <a:lnTo>
                    <a:pt x="1014" y="846"/>
                  </a:lnTo>
                  <a:lnTo>
                    <a:pt x="1008" y="846"/>
                  </a:lnTo>
                  <a:lnTo>
                    <a:pt x="1002" y="840"/>
                  </a:lnTo>
                  <a:lnTo>
                    <a:pt x="996" y="840"/>
                  </a:lnTo>
                  <a:lnTo>
                    <a:pt x="990" y="834"/>
                  </a:lnTo>
                  <a:lnTo>
                    <a:pt x="984" y="834"/>
                  </a:lnTo>
                  <a:lnTo>
                    <a:pt x="978" y="834"/>
                  </a:lnTo>
                  <a:lnTo>
                    <a:pt x="972" y="834"/>
                  </a:lnTo>
                  <a:lnTo>
                    <a:pt x="966" y="834"/>
                  </a:lnTo>
                  <a:lnTo>
                    <a:pt x="966" y="828"/>
                  </a:lnTo>
                  <a:lnTo>
                    <a:pt x="960" y="828"/>
                  </a:lnTo>
                  <a:lnTo>
                    <a:pt x="954" y="828"/>
                  </a:lnTo>
                  <a:lnTo>
                    <a:pt x="942" y="828"/>
                  </a:lnTo>
                  <a:lnTo>
                    <a:pt x="936" y="828"/>
                  </a:lnTo>
                  <a:lnTo>
                    <a:pt x="930" y="828"/>
                  </a:lnTo>
                  <a:lnTo>
                    <a:pt x="918" y="828"/>
                  </a:lnTo>
                  <a:lnTo>
                    <a:pt x="918" y="822"/>
                  </a:lnTo>
                  <a:lnTo>
                    <a:pt x="912" y="828"/>
                  </a:lnTo>
                  <a:lnTo>
                    <a:pt x="912" y="822"/>
                  </a:lnTo>
                  <a:lnTo>
                    <a:pt x="906" y="816"/>
                  </a:lnTo>
                  <a:lnTo>
                    <a:pt x="900" y="816"/>
                  </a:lnTo>
                  <a:lnTo>
                    <a:pt x="894" y="816"/>
                  </a:lnTo>
                  <a:lnTo>
                    <a:pt x="888" y="816"/>
                  </a:lnTo>
                  <a:lnTo>
                    <a:pt x="882" y="816"/>
                  </a:lnTo>
                  <a:lnTo>
                    <a:pt x="882" y="810"/>
                  </a:lnTo>
                  <a:lnTo>
                    <a:pt x="876" y="804"/>
                  </a:lnTo>
                  <a:lnTo>
                    <a:pt x="870" y="804"/>
                  </a:lnTo>
                  <a:lnTo>
                    <a:pt x="864" y="798"/>
                  </a:lnTo>
                  <a:lnTo>
                    <a:pt x="858" y="798"/>
                  </a:lnTo>
                  <a:lnTo>
                    <a:pt x="858" y="804"/>
                  </a:lnTo>
                  <a:lnTo>
                    <a:pt x="852" y="804"/>
                  </a:lnTo>
                  <a:lnTo>
                    <a:pt x="846" y="804"/>
                  </a:lnTo>
                  <a:lnTo>
                    <a:pt x="846" y="798"/>
                  </a:lnTo>
                  <a:lnTo>
                    <a:pt x="840" y="804"/>
                  </a:lnTo>
                  <a:lnTo>
                    <a:pt x="834" y="804"/>
                  </a:lnTo>
                  <a:lnTo>
                    <a:pt x="828" y="804"/>
                  </a:lnTo>
                  <a:lnTo>
                    <a:pt x="828" y="810"/>
                  </a:lnTo>
                  <a:lnTo>
                    <a:pt x="822" y="810"/>
                  </a:lnTo>
                  <a:lnTo>
                    <a:pt x="810" y="804"/>
                  </a:lnTo>
                  <a:lnTo>
                    <a:pt x="810" y="798"/>
                  </a:lnTo>
                  <a:lnTo>
                    <a:pt x="780" y="798"/>
                  </a:lnTo>
                  <a:lnTo>
                    <a:pt x="756" y="774"/>
                  </a:lnTo>
                  <a:lnTo>
                    <a:pt x="750" y="768"/>
                  </a:lnTo>
                  <a:lnTo>
                    <a:pt x="750" y="744"/>
                  </a:lnTo>
                  <a:lnTo>
                    <a:pt x="732" y="738"/>
                  </a:lnTo>
                  <a:lnTo>
                    <a:pt x="732" y="720"/>
                  </a:lnTo>
                  <a:lnTo>
                    <a:pt x="714" y="690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6" y="666"/>
                  </a:lnTo>
                  <a:lnTo>
                    <a:pt x="690" y="666"/>
                  </a:lnTo>
                  <a:lnTo>
                    <a:pt x="678" y="672"/>
                  </a:lnTo>
                  <a:lnTo>
                    <a:pt x="678" y="654"/>
                  </a:lnTo>
                  <a:lnTo>
                    <a:pt x="684" y="630"/>
                  </a:lnTo>
                  <a:lnTo>
                    <a:pt x="690" y="618"/>
                  </a:lnTo>
                  <a:lnTo>
                    <a:pt x="696" y="612"/>
                  </a:lnTo>
                  <a:lnTo>
                    <a:pt x="696" y="588"/>
                  </a:lnTo>
                  <a:lnTo>
                    <a:pt x="690" y="576"/>
                  </a:lnTo>
                  <a:lnTo>
                    <a:pt x="696" y="552"/>
                  </a:lnTo>
                  <a:lnTo>
                    <a:pt x="684" y="522"/>
                  </a:lnTo>
                  <a:lnTo>
                    <a:pt x="672" y="504"/>
                  </a:lnTo>
                  <a:lnTo>
                    <a:pt x="654" y="504"/>
                  </a:lnTo>
                  <a:lnTo>
                    <a:pt x="642" y="504"/>
                  </a:lnTo>
                  <a:lnTo>
                    <a:pt x="624" y="510"/>
                  </a:lnTo>
                  <a:lnTo>
                    <a:pt x="612" y="516"/>
                  </a:lnTo>
                  <a:lnTo>
                    <a:pt x="594" y="516"/>
                  </a:lnTo>
                  <a:lnTo>
                    <a:pt x="588" y="516"/>
                  </a:lnTo>
                  <a:lnTo>
                    <a:pt x="588" y="522"/>
                  </a:lnTo>
                  <a:lnTo>
                    <a:pt x="582" y="516"/>
                  </a:lnTo>
                  <a:lnTo>
                    <a:pt x="588" y="510"/>
                  </a:lnTo>
                  <a:lnTo>
                    <a:pt x="582" y="510"/>
                  </a:lnTo>
                  <a:lnTo>
                    <a:pt x="582" y="504"/>
                  </a:lnTo>
                  <a:lnTo>
                    <a:pt x="576" y="498"/>
                  </a:lnTo>
                  <a:lnTo>
                    <a:pt x="570" y="498"/>
                  </a:lnTo>
                  <a:lnTo>
                    <a:pt x="570" y="492"/>
                  </a:lnTo>
                  <a:lnTo>
                    <a:pt x="564" y="492"/>
                  </a:lnTo>
                  <a:lnTo>
                    <a:pt x="570" y="486"/>
                  </a:lnTo>
                  <a:lnTo>
                    <a:pt x="564" y="486"/>
                  </a:lnTo>
                  <a:lnTo>
                    <a:pt x="564" y="480"/>
                  </a:lnTo>
                  <a:lnTo>
                    <a:pt x="564" y="474"/>
                  </a:lnTo>
                  <a:lnTo>
                    <a:pt x="558" y="468"/>
                  </a:lnTo>
                  <a:lnTo>
                    <a:pt x="564" y="468"/>
                  </a:lnTo>
                  <a:lnTo>
                    <a:pt x="564" y="462"/>
                  </a:lnTo>
                  <a:lnTo>
                    <a:pt x="570" y="462"/>
                  </a:lnTo>
                  <a:lnTo>
                    <a:pt x="570" y="456"/>
                  </a:lnTo>
                  <a:lnTo>
                    <a:pt x="570" y="450"/>
                  </a:lnTo>
                  <a:lnTo>
                    <a:pt x="576" y="450"/>
                  </a:lnTo>
                  <a:lnTo>
                    <a:pt x="576" y="444"/>
                  </a:lnTo>
                  <a:lnTo>
                    <a:pt x="582" y="438"/>
                  </a:lnTo>
                  <a:lnTo>
                    <a:pt x="588" y="438"/>
                  </a:lnTo>
                  <a:lnTo>
                    <a:pt x="588" y="444"/>
                  </a:lnTo>
                  <a:lnTo>
                    <a:pt x="594" y="438"/>
                  </a:lnTo>
                  <a:lnTo>
                    <a:pt x="594" y="432"/>
                  </a:lnTo>
                  <a:lnTo>
                    <a:pt x="600" y="432"/>
                  </a:lnTo>
                  <a:lnTo>
                    <a:pt x="600" y="426"/>
                  </a:lnTo>
                  <a:lnTo>
                    <a:pt x="600" y="420"/>
                  </a:lnTo>
                  <a:lnTo>
                    <a:pt x="606" y="420"/>
                  </a:lnTo>
                  <a:lnTo>
                    <a:pt x="600" y="420"/>
                  </a:lnTo>
                  <a:lnTo>
                    <a:pt x="600" y="414"/>
                  </a:lnTo>
                  <a:lnTo>
                    <a:pt x="606" y="408"/>
                  </a:lnTo>
                  <a:lnTo>
                    <a:pt x="612" y="408"/>
                  </a:lnTo>
                  <a:lnTo>
                    <a:pt x="612" y="414"/>
                  </a:lnTo>
                  <a:lnTo>
                    <a:pt x="618" y="414"/>
                  </a:lnTo>
                  <a:lnTo>
                    <a:pt x="624" y="414"/>
                  </a:lnTo>
                  <a:lnTo>
                    <a:pt x="630" y="414"/>
                  </a:lnTo>
                  <a:lnTo>
                    <a:pt x="636" y="414"/>
                  </a:lnTo>
                  <a:lnTo>
                    <a:pt x="642" y="408"/>
                  </a:lnTo>
                  <a:lnTo>
                    <a:pt x="648" y="408"/>
                  </a:lnTo>
                  <a:lnTo>
                    <a:pt x="660" y="408"/>
                  </a:lnTo>
                  <a:lnTo>
                    <a:pt x="666" y="402"/>
                  </a:lnTo>
                  <a:lnTo>
                    <a:pt x="672" y="402"/>
                  </a:lnTo>
                  <a:lnTo>
                    <a:pt x="684" y="396"/>
                  </a:lnTo>
                  <a:lnTo>
                    <a:pt x="690" y="396"/>
                  </a:lnTo>
                  <a:lnTo>
                    <a:pt x="696" y="396"/>
                  </a:lnTo>
                  <a:lnTo>
                    <a:pt x="702" y="396"/>
                  </a:lnTo>
                  <a:lnTo>
                    <a:pt x="708" y="396"/>
                  </a:lnTo>
                  <a:lnTo>
                    <a:pt x="714" y="390"/>
                  </a:lnTo>
                  <a:lnTo>
                    <a:pt x="714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32" y="384"/>
                  </a:lnTo>
                  <a:lnTo>
                    <a:pt x="738" y="378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56" y="372"/>
                  </a:lnTo>
                  <a:lnTo>
                    <a:pt x="762" y="366"/>
                  </a:lnTo>
                  <a:lnTo>
                    <a:pt x="768" y="366"/>
                  </a:lnTo>
                  <a:lnTo>
                    <a:pt x="774" y="366"/>
                  </a:lnTo>
                  <a:lnTo>
                    <a:pt x="774" y="360"/>
                  </a:lnTo>
                  <a:lnTo>
                    <a:pt x="780" y="366"/>
                  </a:lnTo>
                  <a:lnTo>
                    <a:pt x="786" y="366"/>
                  </a:lnTo>
                  <a:lnTo>
                    <a:pt x="786" y="360"/>
                  </a:lnTo>
                  <a:lnTo>
                    <a:pt x="792" y="354"/>
                  </a:lnTo>
                  <a:lnTo>
                    <a:pt x="786" y="354"/>
                  </a:lnTo>
                  <a:lnTo>
                    <a:pt x="792" y="348"/>
                  </a:lnTo>
                  <a:lnTo>
                    <a:pt x="798" y="348"/>
                  </a:lnTo>
                  <a:lnTo>
                    <a:pt x="804" y="348"/>
                  </a:lnTo>
                  <a:lnTo>
                    <a:pt x="810" y="342"/>
                  </a:lnTo>
                  <a:lnTo>
                    <a:pt x="816" y="342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28" y="336"/>
                  </a:lnTo>
                  <a:lnTo>
                    <a:pt x="834" y="336"/>
                  </a:lnTo>
                  <a:lnTo>
                    <a:pt x="840" y="336"/>
                  </a:lnTo>
                  <a:lnTo>
                    <a:pt x="846" y="330"/>
                  </a:lnTo>
                  <a:lnTo>
                    <a:pt x="852" y="330"/>
                  </a:lnTo>
                  <a:lnTo>
                    <a:pt x="858" y="330"/>
                  </a:lnTo>
                  <a:lnTo>
                    <a:pt x="864" y="324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0" y="312"/>
                  </a:lnTo>
                  <a:lnTo>
                    <a:pt x="876" y="312"/>
                  </a:lnTo>
                  <a:lnTo>
                    <a:pt x="882" y="312"/>
                  </a:lnTo>
                  <a:lnTo>
                    <a:pt x="882" y="318"/>
                  </a:lnTo>
                  <a:lnTo>
                    <a:pt x="888" y="312"/>
                  </a:lnTo>
                  <a:lnTo>
                    <a:pt x="894" y="306"/>
                  </a:lnTo>
                  <a:lnTo>
                    <a:pt x="900" y="306"/>
                  </a:lnTo>
                  <a:lnTo>
                    <a:pt x="906" y="306"/>
                  </a:lnTo>
                  <a:lnTo>
                    <a:pt x="912" y="300"/>
                  </a:lnTo>
                  <a:lnTo>
                    <a:pt x="906" y="294"/>
                  </a:lnTo>
                  <a:lnTo>
                    <a:pt x="912" y="276"/>
                  </a:lnTo>
                  <a:lnTo>
                    <a:pt x="912" y="252"/>
                  </a:lnTo>
                  <a:lnTo>
                    <a:pt x="906" y="234"/>
                  </a:lnTo>
                  <a:lnTo>
                    <a:pt x="912" y="228"/>
                  </a:lnTo>
                  <a:lnTo>
                    <a:pt x="912" y="216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24" y="192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36" y="186"/>
                  </a:lnTo>
                  <a:lnTo>
                    <a:pt x="930" y="180"/>
                  </a:lnTo>
                  <a:lnTo>
                    <a:pt x="930" y="174"/>
                  </a:lnTo>
                  <a:lnTo>
                    <a:pt x="936" y="156"/>
                  </a:lnTo>
                  <a:lnTo>
                    <a:pt x="930" y="156"/>
                  </a:lnTo>
                  <a:lnTo>
                    <a:pt x="924" y="150"/>
                  </a:lnTo>
                  <a:lnTo>
                    <a:pt x="942" y="78"/>
                  </a:lnTo>
                  <a:lnTo>
                    <a:pt x="948" y="78"/>
                  </a:lnTo>
                  <a:lnTo>
                    <a:pt x="954" y="66"/>
                  </a:lnTo>
                  <a:lnTo>
                    <a:pt x="954" y="72"/>
                  </a:lnTo>
                  <a:lnTo>
                    <a:pt x="954" y="66"/>
                  </a:lnTo>
                  <a:lnTo>
                    <a:pt x="960" y="66"/>
                  </a:lnTo>
                  <a:lnTo>
                    <a:pt x="966" y="66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54"/>
                  </a:lnTo>
                  <a:lnTo>
                    <a:pt x="990" y="54"/>
                  </a:lnTo>
                  <a:lnTo>
                    <a:pt x="996" y="48"/>
                  </a:lnTo>
                  <a:lnTo>
                    <a:pt x="1002" y="48"/>
                  </a:lnTo>
                  <a:lnTo>
                    <a:pt x="1032" y="48"/>
                  </a:lnTo>
                  <a:lnTo>
                    <a:pt x="1062" y="48"/>
                  </a:lnTo>
                  <a:lnTo>
                    <a:pt x="1068" y="78"/>
                  </a:lnTo>
                  <a:lnTo>
                    <a:pt x="1086" y="78"/>
                  </a:lnTo>
                  <a:lnTo>
                    <a:pt x="1092" y="66"/>
                  </a:lnTo>
                  <a:lnTo>
                    <a:pt x="1092" y="60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8" y="48"/>
                  </a:lnTo>
                  <a:lnTo>
                    <a:pt x="1104" y="48"/>
                  </a:lnTo>
                  <a:lnTo>
                    <a:pt x="1110" y="48"/>
                  </a:lnTo>
                  <a:lnTo>
                    <a:pt x="1110" y="42"/>
                  </a:lnTo>
                  <a:lnTo>
                    <a:pt x="1110" y="36"/>
                  </a:lnTo>
                  <a:lnTo>
                    <a:pt x="1116" y="36"/>
                  </a:lnTo>
                  <a:lnTo>
                    <a:pt x="1116" y="30"/>
                  </a:lnTo>
                  <a:lnTo>
                    <a:pt x="1122" y="30"/>
                  </a:lnTo>
                  <a:lnTo>
                    <a:pt x="1128" y="30"/>
                  </a:lnTo>
                  <a:lnTo>
                    <a:pt x="1134" y="30"/>
                  </a:lnTo>
                  <a:lnTo>
                    <a:pt x="1140" y="24"/>
                  </a:lnTo>
                  <a:lnTo>
                    <a:pt x="1152" y="18"/>
                  </a:lnTo>
                  <a:lnTo>
                    <a:pt x="1158" y="18"/>
                  </a:lnTo>
                  <a:lnTo>
                    <a:pt x="1152" y="12"/>
                  </a:lnTo>
                  <a:lnTo>
                    <a:pt x="1152" y="6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8"/>
                  </a:lnTo>
                  <a:lnTo>
                    <a:pt x="1170" y="12"/>
                  </a:lnTo>
                  <a:lnTo>
                    <a:pt x="1170" y="6"/>
                  </a:lnTo>
                  <a:lnTo>
                    <a:pt x="1176" y="6"/>
                  </a:lnTo>
                  <a:lnTo>
                    <a:pt x="1176" y="0"/>
                  </a:lnTo>
                  <a:lnTo>
                    <a:pt x="1182" y="6"/>
                  </a:lnTo>
                  <a:lnTo>
                    <a:pt x="1188" y="6"/>
                  </a:lnTo>
                  <a:lnTo>
                    <a:pt x="1188" y="0"/>
                  </a:lnTo>
                  <a:lnTo>
                    <a:pt x="1194" y="6"/>
                  </a:lnTo>
                  <a:lnTo>
                    <a:pt x="1200" y="12"/>
                  </a:lnTo>
                  <a:lnTo>
                    <a:pt x="1206" y="18"/>
                  </a:lnTo>
                  <a:lnTo>
                    <a:pt x="1212" y="18"/>
                  </a:lnTo>
                  <a:lnTo>
                    <a:pt x="1218" y="24"/>
                  </a:lnTo>
                  <a:lnTo>
                    <a:pt x="1236" y="36"/>
                  </a:lnTo>
                  <a:lnTo>
                    <a:pt x="1242" y="36"/>
                  </a:lnTo>
                  <a:lnTo>
                    <a:pt x="1248" y="42"/>
                  </a:lnTo>
                  <a:lnTo>
                    <a:pt x="1248" y="48"/>
                  </a:lnTo>
                  <a:lnTo>
                    <a:pt x="1260" y="48"/>
                  </a:lnTo>
                  <a:lnTo>
                    <a:pt x="1260" y="108"/>
                  </a:lnTo>
                  <a:lnTo>
                    <a:pt x="1266" y="168"/>
                  </a:lnTo>
                  <a:lnTo>
                    <a:pt x="1278" y="234"/>
                  </a:lnTo>
                  <a:lnTo>
                    <a:pt x="1284" y="240"/>
                  </a:lnTo>
                  <a:lnTo>
                    <a:pt x="1290" y="264"/>
                  </a:lnTo>
                  <a:lnTo>
                    <a:pt x="1296" y="288"/>
                  </a:lnTo>
                  <a:lnTo>
                    <a:pt x="1296" y="300"/>
                  </a:lnTo>
                  <a:lnTo>
                    <a:pt x="1296" y="312"/>
                  </a:lnTo>
                  <a:lnTo>
                    <a:pt x="1296" y="324"/>
                  </a:lnTo>
                  <a:lnTo>
                    <a:pt x="1296" y="354"/>
                  </a:lnTo>
                  <a:lnTo>
                    <a:pt x="1302" y="366"/>
                  </a:lnTo>
                  <a:lnTo>
                    <a:pt x="1308" y="372"/>
                  </a:lnTo>
                  <a:lnTo>
                    <a:pt x="1308" y="384"/>
                  </a:lnTo>
                  <a:lnTo>
                    <a:pt x="1314" y="390"/>
                  </a:lnTo>
                  <a:lnTo>
                    <a:pt x="1308" y="408"/>
                  </a:lnTo>
                  <a:lnTo>
                    <a:pt x="1314" y="408"/>
                  </a:lnTo>
                  <a:lnTo>
                    <a:pt x="1314" y="414"/>
                  </a:lnTo>
                  <a:lnTo>
                    <a:pt x="1308" y="420"/>
                  </a:lnTo>
                  <a:lnTo>
                    <a:pt x="1308" y="432"/>
                  </a:lnTo>
                  <a:lnTo>
                    <a:pt x="1320" y="432"/>
                  </a:lnTo>
                  <a:lnTo>
                    <a:pt x="1320" y="444"/>
                  </a:lnTo>
                  <a:lnTo>
                    <a:pt x="1332" y="444"/>
                  </a:lnTo>
                  <a:lnTo>
                    <a:pt x="1338" y="450"/>
                  </a:lnTo>
                  <a:lnTo>
                    <a:pt x="1344" y="456"/>
                  </a:lnTo>
                  <a:lnTo>
                    <a:pt x="1344" y="462"/>
                  </a:lnTo>
                  <a:lnTo>
                    <a:pt x="1344" y="474"/>
                  </a:lnTo>
                  <a:lnTo>
                    <a:pt x="1350" y="474"/>
                  </a:lnTo>
                  <a:lnTo>
                    <a:pt x="1368" y="504"/>
                  </a:lnTo>
                  <a:lnTo>
                    <a:pt x="1374" y="534"/>
                  </a:lnTo>
                  <a:lnTo>
                    <a:pt x="1380" y="558"/>
                  </a:lnTo>
                  <a:lnTo>
                    <a:pt x="1386" y="576"/>
                  </a:lnTo>
                  <a:lnTo>
                    <a:pt x="1386" y="600"/>
                  </a:lnTo>
                  <a:lnTo>
                    <a:pt x="1386" y="624"/>
                  </a:lnTo>
                  <a:lnTo>
                    <a:pt x="1386" y="648"/>
                  </a:lnTo>
                  <a:lnTo>
                    <a:pt x="1386" y="684"/>
                  </a:lnTo>
                  <a:lnTo>
                    <a:pt x="1380" y="684"/>
                  </a:lnTo>
                  <a:lnTo>
                    <a:pt x="1374" y="696"/>
                  </a:lnTo>
                  <a:lnTo>
                    <a:pt x="1368" y="702"/>
                  </a:lnTo>
                  <a:lnTo>
                    <a:pt x="1362" y="708"/>
                  </a:lnTo>
                  <a:lnTo>
                    <a:pt x="1356" y="714"/>
                  </a:lnTo>
                  <a:lnTo>
                    <a:pt x="1350" y="720"/>
                  </a:lnTo>
                  <a:lnTo>
                    <a:pt x="1338" y="720"/>
                  </a:lnTo>
                  <a:lnTo>
                    <a:pt x="1338" y="738"/>
                  </a:lnTo>
                  <a:lnTo>
                    <a:pt x="1362" y="750"/>
                  </a:lnTo>
                  <a:lnTo>
                    <a:pt x="1362" y="756"/>
                  </a:lnTo>
                  <a:lnTo>
                    <a:pt x="1374" y="756"/>
                  </a:lnTo>
                  <a:lnTo>
                    <a:pt x="1410" y="774"/>
                  </a:lnTo>
                  <a:lnTo>
                    <a:pt x="1446" y="774"/>
                  </a:lnTo>
                  <a:lnTo>
                    <a:pt x="1482" y="768"/>
                  </a:lnTo>
                  <a:lnTo>
                    <a:pt x="1500" y="774"/>
                  </a:lnTo>
                  <a:lnTo>
                    <a:pt x="1512" y="78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6" name="Freeform 11">
              <a:extLst>
                <a:ext uri="{FF2B5EF4-FFF2-40B4-BE49-F238E27FC236}">
                  <a16:creationId xmlns:a16="http://schemas.microsoft.com/office/drawing/2014/main" id="{1FF8E66F-B850-456A-B132-C45FEEDE95C6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2475" y="2345643"/>
              <a:ext cx="445003" cy="603855"/>
            </a:xfrm>
            <a:custGeom>
              <a:avLst/>
              <a:gdLst>
                <a:gd name="T0" fmla="*/ 47 w 840"/>
                <a:gd name="T1" fmla="*/ 98 h 1134"/>
                <a:gd name="T2" fmla="*/ 41 w 840"/>
                <a:gd name="T3" fmla="*/ 98 h 1134"/>
                <a:gd name="T4" fmla="*/ 37 w 840"/>
                <a:gd name="T5" fmla="*/ 98 h 1134"/>
                <a:gd name="T6" fmla="*/ 29 w 840"/>
                <a:gd name="T7" fmla="*/ 97 h 1134"/>
                <a:gd name="T8" fmla="*/ 27 w 840"/>
                <a:gd name="T9" fmla="*/ 94 h 1134"/>
                <a:gd name="T10" fmla="*/ 26 w 840"/>
                <a:gd name="T11" fmla="*/ 93 h 1134"/>
                <a:gd name="T12" fmla="*/ 26 w 840"/>
                <a:gd name="T13" fmla="*/ 83 h 1134"/>
                <a:gd name="T14" fmla="*/ 26 w 840"/>
                <a:gd name="T15" fmla="*/ 81 h 1134"/>
                <a:gd name="T16" fmla="*/ 23 w 840"/>
                <a:gd name="T17" fmla="*/ 77 h 1134"/>
                <a:gd name="T18" fmla="*/ 19 w 840"/>
                <a:gd name="T19" fmla="*/ 75 h 1134"/>
                <a:gd name="T20" fmla="*/ 16 w 840"/>
                <a:gd name="T21" fmla="*/ 72 h 1134"/>
                <a:gd name="T22" fmla="*/ 13 w 840"/>
                <a:gd name="T23" fmla="*/ 70 h 1134"/>
                <a:gd name="T24" fmla="*/ 17 w 840"/>
                <a:gd name="T25" fmla="*/ 67 h 1134"/>
                <a:gd name="T26" fmla="*/ 19 w 840"/>
                <a:gd name="T27" fmla="*/ 63 h 1134"/>
                <a:gd name="T28" fmla="*/ 20 w 840"/>
                <a:gd name="T29" fmla="*/ 59 h 1134"/>
                <a:gd name="T30" fmla="*/ 19 w 840"/>
                <a:gd name="T31" fmla="*/ 55 h 1134"/>
                <a:gd name="T32" fmla="*/ 17 w 840"/>
                <a:gd name="T33" fmla="*/ 47 h 1134"/>
                <a:gd name="T34" fmla="*/ 8 w 840"/>
                <a:gd name="T35" fmla="*/ 45 h 1134"/>
                <a:gd name="T36" fmla="*/ 4 w 840"/>
                <a:gd name="T37" fmla="*/ 39 h 1134"/>
                <a:gd name="T38" fmla="*/ 2 w 840"/>
                <a:gd name="T39" fmla="*/ 35 h 1134"/>
                <a:gd name="T40" fmla="*/ 0 w 840"/>
                <a:gd name="T41" fmla="*/ 31 h 1134"/>
                <a:gd name="T42" fmla="*/ 2 w 840"/>
                <a:gd name="T43" fmla="*/ 27 h 1134"/>
                <a:gd name="T44" fmla="*/ 5 w 840"/>
                <a:gd name="T45" fmla="*/ 24 h 1134"/>
                <a:gd name="T46" fmla="*/ 10 w 840"/>
                <a:gd name="T47" fmla="*/ 26 h 1134"/>
                <a:gd name="T48" fmla="*/ 7 w 840"/>
                <a:gd name="T49" fmla="*/ 20 h 1134"/>
                <a:gd name="T50" fmla="*/ 12 w 840"/>
                <a:gd name="T51" fmla="*/ 12 h 1134"/>
                <a:gd name="T52" fmla="*/ 19 w 840"/>
                <a:gd name="T53" fmla="*/ 10 h 1134"/>
                <a:gd name="T54" fmla="*/ 20 w 840"/>
                <a:gd name="T55" fmla="*/ 13 h 1134"/>
                <a:gd name="T56" fmla="*/ 22 w 840"/>
                <a:gd name="T57" fmla="*/ 11 h 1134"/>
                <a:gd name="T58" fmla="*/ 25 w 840"/>
                <a:gd name="T59" fmla="*/ 7 h 1134"/>
                <a:gd name="T60" fmla="*/ 29 w 840"/>
                <a:gd name="T61" fmla="*/ 2 h 1134"/>
                <a:gd name="T62" fmla="*/ 33 w 840"/>
                <a:gd name="T63" fmla="*/ 1 h 1134"/>
                <a:gd name="T64" fmla="*/ 37 w 840"/>
                <a:gd name="T65" fmla="*/ 2 h 1134"/>
                <a:gd name="T66" fmla="*/ 39 w 840"/>
                <a:gd name="T67" fmla="*/ 4 h 1134"/>
                <a:gd name="T68" fmla="*/ 43 w 840"/>
                <a:gd name="T69" fmla="*/ 5 h 1134"/>
                <a:gd name="T70" fmla="*/ 46 w 840"/>
                <a:gd name="T71" fmla="*/ 11 h 1134"/>
                <a:gd name="T72" fmla="*/ 49 w 840"/>
                <a:gd name="T73" fmla="*/ 12 h 1134"/>
                <a:gd name="T74" fmla="*/ 52 w 840"/>
                <a:gd name="T75" fmla="*/ 15 h 1134"/>
                <a:gd name="T76" fmla="*/ 54 w 840"/>
                <a:gd name="T77" fmla="*/ 18 h 1134"/>
                <a:gd name="T78" fmla="*/ 55 w 840"/>
                <a:gd name="T79" fmla="*/ 22 h 1134"/>
                <a:gd name="T80" fmla="*/ 56 w 840"/>
                <a:gd name="T81" fmla="*/ 26 h 1134"/>
                <a:gd name="T82" fmla="*/ 55 w 840"/>
                <a:gd name="T83" fmla="*/ 32 h 1134"/>
                <a:gd name="T84" fmla="*/ 55 w 840"/>
                <a:gd name="T85" fmla="*/ 36 h 1134"/>
                <a:gd name="T86" fmla="*/ 54 w 840"/>
                <a:gd name="T87" fmla="*/ 39 h 1134"/>
                <a:gd name="T88" fmla="*/ 56 w 840"/>
                <a:gd name="T89" fmla="*/ 39 h 1134"/>
                <a:gd name="T90" fmla="*/ 58 w 840"/>
                <a:gd name="T91" fmla="*/ 39 h 1134"/>
                <a:gd name="T92" fmla="*/ 61 w 840"/>
                <a:gd name="T93" fmla="*/ 39 h 1134"/>
                <a:gd name="T94" fmla="*/ 60 w 840"/>
                <a:gd name="T95" fmla="*/ 49 h 1134"/>
                <a:gd name="T96" fmla="*/ 59 w 840"/>
                <a:gd name="T97" fmla="*/ 53 h 1134"/>
                <a:gd name="T98" fmla="*/ 59 w 840"/>
                <a:gd name="T99" fmla="*/ 56 h 1134"/>
                <a:gd name="T100" fmla="*/ 60 w 840"/>
                <a:gd name="T101" fmla="*/ 59 h 1134"/>
                <a:gd name="T102" fmla="*/ 64 w 840"/>
                <a:gd name="T103" fmla="*/ 61 h 1134"/>
                <a:gd name="T104" fmla="*/ 69 w 840"/>
                <a:gd name="T105" fmla="*/ 63 h 1134"/>
                <a:gd name="T106" fmla="*/ 72 w 840"/>
                <a:gd name="T107" fmla="*/ 69 h 1134"/>
                <a:gd name="T108" fmla="*/ 72 w 840"/>
                <a:gd name="T109" fmla="*/ 73 h 1134"/>
                <a:gd name="T110" fmla="*/ 72 w 840"/>
                <a:gd name="T111" fmla="*/ 83 h 1134"/>
                <a:gd name="T112" fmla="*/ 63 w 840"/>
                <a:gd name="T113" fmla="*/ 88 h 1134"/>
                <a:gd name="T114" fmla="*/ 52 w 840"/>
                <a:gd name="T115" fmla="*/ 95 h 11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40"/>
                <a:gd name="T175" fmla="*/ 0 h 1134"/>
                <a:gd name="T176" fmla="*/ 840 w 840"/>
                <a:gd name="T177" fmla="*/ 1134 h 11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40" h="1134">
                  <a:moveTo>
                    <a:pt x="564" y="1110"/>
                  </a:moveTo>
                  <a:lnTo>
                    <a:pt x="564" y="1104"/>
                  </a:lnTo>
                  <a:lnTo>
                    <a:pt x="558" y="1104"/>
                  </a:lnTo>
                  <a:lnTo>
                    <a:pt x="552" y="1110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28" y="1128"/>
                  </a:lnTo>
                  <a:lnTo>
                    <a:pt x="498" y="1128"/>
                  </a:lnTo>
                  <a:lnTo>
                    <a:pt x="492" y="1128"/>
                  </a:lnTo>
                  <a:lnTo>
                    <a:pt x="486" y="1128"/>
                  </a:lnTo>
                  <a:lnTo>
                    <a:pt x="480" y="1128"/>
                  </a:lnTo>
                  <a:lnTo>
                    <a:pt x="474" y="1134"/>
                  </a:lnTo>
                  <a:lnTo>
                    <a:pt x="468" y="1134"/>
                  </a:lnTo>
                  <a:lnTo>
                    <a:pt x="462" y="1134"/>
                  </a:lnTo>
                  <a:lnTo>
                    <a:pt x="456" y="1134"/>
                  </a:lnTo>
                  <a:lnTo>
                    <a:pt x="456" y="1128"/>
                  </a:lnTo>
                  <a:lnTo>
                    <a:pt x="450" y="1122"/>
                  </a:lnTo>
                  <a:lnTo>
                    <a:pt x="426" y="1128"/>
                  </a:lnTo>
                  <a:lnTo>
                    <a:pt x="414" y="1128"/>
                  </a:lnTo>
                  <a:lnTo>
                    <a:pt x="348" y="1134"/>
                  </a:lnTo>
                  <a:lnTo>
                    <a:pt x="348" y="1128"/>
                  </a:lnTo>
                  <a:lnTo>
                    <a:pt x="342" y="1128"/>
                  </a:lnTo>
                  <a:lnTo>
                    <a:pt x="336" y="1122"/>
                  </a:lnTo>
                  <a:lnTo>
                    <a:pt x="330" y="1122"/>
                  </a:lnTo>
                  <a:lnTo>
                    <a:pt x="324" y="1116"/>
                  </a:lnTo>
                  <a:lnTo>
                    <a:pt x="324" y="1110"/>
                  </a:lnTo>
                  <a:lnTo>
                    <a:pt x="318" y="1110"/>
                  </a:lnTo>
                  <a:lnTo>
                    <a:pt x="318" y="1104"/>
                  </a:lnTo>
                  <a:lnTo>
                    <a:pt x="312" y="1092"/>
                  </a:lnTo>
                  <a:lnTo>
                    <a:pt x="306" y="1086"/>
                  </a:lnTo>
                  <a:lnTo>
                    <a:pt x="306" y="1080"/>
                  </a:lnTo>
                  <a:lnTo>
                    <a:pt x="312" y="1074"/>
                  </a:lnTo>
                  <a:lnTo>
                    <a:pt x="306" y="1068"/>
                  </a:lnTo>
                  <a:lnTo>
                    <a:pt x="300" y="1074"/>
                  </a:lnTo>
                  <a:lnTo>
                    <a:pt x="300" y="1068"/>
                  </a:lnTo>
                  <a:lnTo>
                    <a:pt x="294" y="1068"/>
                  </a:lnTo>
                  <a:lnTo>
                    <a:pt x="294" y="1056"/>
                  </a:lnTo>
                  <a:lnTo>
                    <a:pt x="294" y="1026"/>
                  </a:lnTo>
                  <a:lnTo>
                    <a:pt x="294" y="1020"/>
                  </a:lnTo>
                  <a:lnTo>
                    <a:pt x="294" y="1008"/>
                  </a:lnTo>
                  <a:lnTo>
                    <a:pt x="294" y="966"/>
                  </a:lnTo>
                  <a:lnTo>
                    <a:pt x="294" y="960"/>
                  </a:lnTo>
                  <a:lnTo>
                    <a:pt x="294" y="954"/>
                  </a:lnTo>
                  <a:lnTo>
                    <a:pt x="294" y="948"/>
                  </a:lnTo>
                  <a:lnTo>
                    <a:pt x="294" y="942"/>
                  </a:lnTo>
                  <a:lnTo>
                    <a:pt x="300" y="936"/>
                  </a:lnTo>
                  <a:lnTo>
                    <a:pt x="300" y="930"/>
                  </a:lnTo>
                  <a:lnTo>
                    <a:pt x="294" y="930"/>
                  </a:lnTo>
                  <a:lnTo>
                    <a:pt x="288" y="930"/>
                  </a:lnTo>
                  <a:lnTo>
                    <a:pt x="288" y="924"/>
                  </a:lnTo>
                  <a:lnTo>
                    <a:pt x="282" y="918"/>
                  </a:lnTo>
                  <a:lnTo>
                    <a:pt x="282" y="906"/>
                  </a:lnTo>
                  <a:lnTo>
                    <a:pt x="282" y="900"/>
                  </a:lnTo>
                  <a:lnTo>
                    <a:pt x="264" y="894"/>
                  </a:lnTo>
                  <a:lnTo>
                    <a:pt x="252" y="882"/>
                  </a:lnTo>
                  <a:lnTo>
                    <a:pt x="246" y="876"/>
                  </a:lnTo>
                  <a:lnTo>
                    <a:pt x="240" y="876"/>
                  </a:lnTo>
                  <a:lnTo>
                    <a:pt x="240" y="870"/>
                  </a:lnTo>
                  <a:lnTo>
                    <a:pt x="234" y="870"/>
                  </a:lnTo>
                  <a:lnTo>
                    <a:pt x="222" y="864"/>
                  </a:lnTo>
                  <a:lnTo>
                    <a:pt x="216" y="864"/>
                  </a:lnTo>
                  <a:lnTo>
                    <a:pt x="210" y="858"/>
                  </a:lnTo>
                  <a:lnTo>
                    <a:pt x="210" y="852"/>
                  </a:lnTo>
                  <a:lnTo>
                    <a:pt x="210" y="846"/>
                  </a:lnTo>
                  <a:lnTo>
                    <a:pt x="198" y="840"/>
                  </a:lnTo>
                  <a:lnTo>
                    <a:pt x="186" y="834"/>
                  </a:lnTo>
                  <a:lnTo>
                    <a:pt x="180" y="828"/>
                  </a:lnTo>
                  <a:lnTo>
                    <a:pt x="180" y="822"/>
                  </a:lnTo>
                  <a:lnTo>
                    <a:pt x="174" y="822"/>
                  </a:lnTo>
                  <a:lnTo>
                    <a:pt x="162" y="816"/>
                  </a:lnTo>
                  <a:lnTo>
                    <a:pt x="156" y="810"/>
                  </a:lnTo>
                  <a:lnTo>
                    <a:pt x="150" y="810"/>
                  </a:lnTo>
                  <a:lnTo>
                    <a:pt x="144" y="798"/>
                  </a:lnTo>
                  <a:lnTo>
                    <a:pt x="138" y="786"/>
                  </a:lnTo>
                  <a:lnTo>
                    <a:pt x="138" y="780"/>
                  </a:lnTo>
                  <a:lnTo>
                    <a:pt x="144" y="774"/>
                  </a:lnTo>
                  <a:lnTo>
                    <a:pt x="150" y="768"/>
                  </a:lnTo>
                  <a:lnTo>
                    <a:pt x="192" y="768"/>
                  </a:lnTo>
                  <a:lnTo>
                    <a:pt x="210" y="762"/>
                  </a:lnTo>
                  <a:lnTo>
                    <a:pt x="216" y="756"/>
                  </a:lnTo>
                  <a:lnTo>
                    <a:pt x="216" y="744"/>
                  </a:lnTo>
                  <a:lnTo>
                    <a:pt x="216" y="738"/>
                  </a:lnTo>
                  <a:lnTo>
                    <a:pt x="216" y="732"/>
                  </a:lnTo>
                  <a:lnTo>
                    <a:pt x="216" y="726"/>
                  </a:lnTo>
                  <a:lnTo>
                    <a:pt x="216" y="720"/>
                  </a:lnTo>
                  <a:lnTo>
                    <a:pt x="228" y="702"/>
                  </a:lnTo>
                  <a:lnTo>
                    <a:pt x="234" y="696"/>
                  </a:lnTo>
                  <a:lnTo>
                    <a:pt x="240" y="690"/>
                  </a:lnTo>
                  <a:lnTo>
                    <a:pt x="240" y="684"/>
                  </a:lnTo>
                  <a:lnTo>
                    <a:pt x="234" y="678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0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22" y="630"/>
                  </a:lnTo>
                  <a:lnTo>
                    <a:pt x="222" y="618"/>
                  </a:lnTo>
                  <a:lnTo>
                    <a:pt x="222" y="582"/>
                  </a:lnTo>
                  <a:lnTo>
                    <a:pt x="228" y="582"/>
                  </a:lnTo>
                  <a:lnTo>
                    <a:pt x="222" y="564"/>
                  </a:lnTo>
                  <a:lnTo>
                    <a:pt x="210" y="552"/>
                  </a:lnTo>
                  <a:lnTo>
                    <a:pt x="192" y="540"/>
                  </a:lnTo>
                  <a:lnTo>
                    <a:pt x="174" y="540"/>
                  </a:lnTo>
                  <a:lnTo>
                    <a:pt x="150" y="534"/>
                  </a:lnTo>
                  <a:lnTo>
                    <a:pt x="126" y="528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90" y="516"/>
                  </a:lnTo>
                  <a:lnTo>
                    <a:pt x="78" y="504"/>
                  </a:lnTo>
                  <a:lnTo>
                    <a:pt x="72" y="498"/>
                  </a:lnTo>
                  <a:lnTo>
                    <a:pt x="66" y="486"/>
                  </a:lnTo>
                  <a:lnTo>
                    <a:pt x="54" y="468"/>
                  </a:lnTo>
                  <a:lnTo>
                    <a:pt x="54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42" y="438"/>
                  </a:lnTo>
                  <a:lnTo>
                    <a:pt x="36" y="438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24" y="384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2" y="360"/>
                  </a:lnTo>
                  <a:lnTo>
                    <a:pt x="6" y="360"/>
                  </a:lnTo>
                  <a:lnTo>
                    <a:pt x="0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0"/>
                  </a:lnTo>
                  <a:lnTo>
                    <a:pt x="18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8" y="270"/>
                  </a:lnTo>
                  <a:lnTo>
                    <a:pt x="90" y="276"/>
                  </a:lnTo>
                  <a:lnTo>
                    <a:pt x="108" y="294"/>
                  </a:lnTo>
                  <a:lnTo>
                    <a:pt x="114" y="294"/>
                  </a:lnTo>
                  <a:lnTo>
                    <a:pt x="114" y="276"/>
                  </a:lnTo>
                  <a:lnTo>
                    <a:pt x="114" y="270"/>
                  </a:lnTo>
                  <a:lnTo>
                    <a:pt x="102" y="258"/>
                  </a:lnTo>
                  <a:lnTo>
                    <a:pt x="96" y="246"/>
                  </a:lnTo>
                  <a:lnTo>
                    <a:pt x="90" y="234"/>
                  </a:lnTo>
                  <a:lnTo>
                    <a:pt x="78" y="228"/>
                  </a:lnTo>
                  <a:lnTo>
                    <a:pt x="72" y="216"/>
                  </a:lnTo>
                  <a:lnTo>
                    <a:pt x="66" y="192"/>
                  </a:lnTo>
                  <a:lnTo>
                    <a:pt x="90" y="174"/>
                  </a:lnTo>
                  <a:lnTo>
                    <a:pt x="120" y="150"/>
                  </a:lnTo>
                  <a:lnTo>
                    <a:pt x="132" y="150"/>
                  </a:lnTo>
                  <a:lnTo>
                    <a:pt x="138" y="144"/>
                  </a:lnTo>
                  <a:lnTo>
                    <a:pt x="138" y="138"/>
                  </a:lnTo>
                  <a:lnTo>
                    <a:pt x="156" y="126"/>
                  </a:lnTo>
                  <a:lnTo>
                    <a:pt x="180" y="114"/>
                  </a:lnTo>
                  <a:lnTo>
                    <a:pt x="216" y="114"/>
                  </a:lnTo>
                  <a:lnTo>
                    <a:pt x="222" y="114"/>
                  </a:lnTo>
                  <a:lnTo>
                    <a:pt x="222" y="120"/>
                  </a:lnTo>
                  <a:lnTo>
                    <a:pt x="222" y="126"/>
                  </a:lnTo>
                  <a:lnTo>
                    <a:pt x="222" y="132"/>
                  </a:lnTo>
                  <a:lnTo>
                    <a:pt x="228" y="138"/>
                  </a:lnTo>
                  <a:lnTo>
                    <a:pt x="228" y="144"/>
                  </a:lnTo>
                  <a:lnTo>
                    <a:pt x="228" y="150"/>
                  </a:lnTo>
                  <a:lnTo>
                    <a:pt x="234" y="150"/>
                  </a:lnTo>
                  <a:lnTo>
                    <a:pt x="234" y="144"/>
                  </a:lnTo>
                  <a:lnTo>
                    <a:pt x="240" y="144"/>
                  </a:lnTo>
                  <a:lnTo>
                    <a:pt x="246" y="144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58" y="126"/>
                  </a:lnTo>
                  <a:lnTo>
                    <a:pt x="258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76" y="96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6" y="72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36"/>
                  </a:lnTo>
                  <a:lnTo>
                    <a:pt x="330" y="24"/>
                  </a:lnTo>
                  <a:lnTo>
                    <a:pt x="330" y="18"/>
                  </a:lnTo>
                  <a:lnTo>
                    <a:pt x="330" y="12"/>
                  </a:lnTo>
                  <a:lnTo>
                    <a:pt x="336" y="6"/>
                  </a:lnTo>
                  <a:lnTo>
                    <a:pt x="366" y="0"/>
                  </a:lnTo>
                  <a:lnTo>
                    <a:pt x="372" y="6"/>
                  </a:lnTo>
                  <a:lnTo>
                    <a:pt x="384" y="12"/>
                  </a:lnTo>
                  <a:lnTo>
                    <a:pt x="402" y="12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18"/>
                  </a:lnTo>
                  <a:lnTo>
                    <a:pt x="420" y="18"/>
                  </a:lnTo>
                  <a:lnTo>
                    <a:pt x="426" y="24"/>
                  </a:lnTo>
                  <a:lnTo>
                    <a:pt x="432" y="30"/>
                  </a:lnTo>
                  <a:lnTo>
                    <a:pt x="438" y="36"/>
                  </a:lnTo>
                  <a:lnTo>
                    <a:pt x="444" y="42"/>
                  </a:lnTo>
                  <a:lnTo>
                    <a:pt x="450" y="42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16" y="78"/>
                  </a:lnTo>
                  <a:lnTo>
                    <a:pt x="522" y="102"/>
                  </a:lnTo>
                  <a:lnTo>
                    <a:pt x="522" y="108"/>
                  </a:lnTo>
                  <a:lnTo>
                    <a:pt x="528" y="126"/>
                  </a:lnTo>
                  <a:lnTo>
                    <a:pt x="534" y="126"/>
                  </a:lnTo>
                  <a:lnTo>
                    <a:pt x="540" y="120"/>
                  </a:lnTo>
                  <a:lnTo>
                    <a:pt x="546" y="126"/>
                  </a:lnTo>
                  <a:lnTo>
                    <a:pt x="552" y="126"/>
                  </a:lnTo>
                  <a:lnTo>
                    <a:pt x="558" y="132"/>
                  </a:lnTo>
                  <a:lnTo>
                    <a:pt x="564" y="138"/>
                  </a:lnTo>
                  <a:lnTo>
                    <a:pt x="570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594" y="168"/>
                  </a:lnTo>
                  <a:lnTo>
                    <a:pt x="600" y="174"/>
                  </a:lnTo>
                  <a:lnTo>
                    <a:pt x="606" y="180"/>
                  </a:lnTo>
                  <a:lnTo>
                    <a:pt x="606" y="186"/>
                  </a:lnTo>
                  <a:lnTo>
                    <a:pt x="612" y="192"/>
                  </a:lnTo>
                  <a:lnTo>
                    <a:pt x="612" y="198"/>
                  </a:lnTo>
                  <a:lnTo>
                    <a:pt x="624" y="204"/>
                  </a:lnTo>
                  <a:lnTo>
                    <a:pt x="624" y="210"/>
                  </a:lnTo>
                  <a:lnTo>
                    <a:pt x="630" y="216"/>
                  </a:lnTo>
                  <a:lnTo>
                    <a:pt x="636" y="222"/>
                  </a:lnTo>
                  <a:lnTo>
                    <a:pt x="636" y="228"/>
                  </a:lnTo>
                  <a:lnTo>
                    <a:pt x="636" y="234"/>
                  </a:lnTo>
                  <a:lnTo>
                    <a:pt x="636" y="252"/>
                  </a:lnTo>
                  <a:lnTo>
                    <a:pt x="636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42" y="276"/>
                  </a:lnTo>
                  <a:lnTo>
                    <a:pt x="642" y="282"/>
                  </a:lnTo>
                  <a:lnTo>
                    <a:pt x="642" y="288"/>
                  </a:lnTo>
                  <a:lnTo>
                    <a:pt x="642" y="300"/>
                  </a:lnTo>
                  <a:lnTo>
                    <a:pt x="642" y="306"/>
                  </a:lnTo>
                  <a:lnTo>
                    <a:pt x="636" y="312"/>
                  </a:lnTo>
                  <a:lnTo>
                    <a:pt x="636" y="324"/>
                  </a:lnTo>
                  <a:lnTo>
                    <a:pt x="636" y="342"/>
                  </a:lnTo>
                  <a:lnTo>
                    <a:pt x="630" y="354"/>
                  </a:lnTo>
                  <a:lnTo>
                    <a:pt x="630" y="366"/>
                  </a:lnTo>
                  <a:lnTo>
                    <a:pt x="624" y="378"/>
                  </a:lnTo>
                  <a:lnTo>
                    <a:pt x="624" y="384"/>
                  </a:lnTo>
                  <a:lnTo>
                    <a:pt x="636" y="396"/>
                  </a:lnTo>
                  <a:lnTo>
                    <a:pt x="636" y="402"/>
                  </a:lnTo>
                  <a:lnTo>
                    <a:pt x="636" y="408"/>
                  </a:lnTo>
                  <a:lnTo>
                    <a:pt x="630" y="414"/>
                  </a:lnTo>
                  <a:lnTo>
                    <a:pt x="630" y="420"/>
                  </a:lnTo>
                  <a:lnTo>
                    <a:pt x="630" y="426"/>
                  </a:lnTo>
                  <a:lnTo>
                    <a:pt x="630" y="432"/>
                  </a:lnTo>
                  <a:lnTo>
                    <a:pt x="624" y="438"/>
                  </a:lnTo>
                  <a:lnTo>
                    <a:pt x="624" y="444"/>
                  </a:lnTo>
                  <a:lnTo>
                    <a:pt x="624" y="450"/>
                  </a:lnTo>
                  <a:lnTo>
                    <a:pt x="630" y="450"/>
                  </a:lnTo>
                  <a:lnTo>
                    <a:pt x="630" y="456"/>
                  </a:lnTo>
                  <a:lnTo>
                    <a:pt x="630" y="462"/>
                  </a:lnTo>
                  <a:lnTo>
                    <a:pt x="636" y="468"/>
                  </a:lnTo>
                  <a:lnTo>
                    <a:pt x="642" y="456"/>
                  </a:lnTo>
                  <a:lnTo>
                    <a:pt x="642" y="450"/>
                  </a:lnTo>
                  <a:lnTo>
                    <a:pt x="648" y="450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60" y="444"/>
                  </a:lnTo>
                  <a:lnTo>
                    <a:pt x="666" y="450"/>
                  </a:lnTo>
                  <a:lnTo>
                    <a:pt x="672" y="444"/>
                  </a:lnTo>
                  <a:lnTo>
                    <a:pt x="678" y="444"/>
                  </a:lnTo>
                  <a:lnTo>
                    <a:pt x="684" y="438"/>
                  </a:lnTo>
                  <a:lnTo>
                    <a:pt x="690" y="438"/>
                  </a:lnTo>
                  <a:lnTo>
                    <a:pt x="696" y="438"/>
                  </a:lnTo>
                  <a:lnTo>
                    <a:pt x="702" y="444"/>
                  </a:lnTo>
                  <a:lnTo>
                    <a:pt x="702" y="450"/>
                  </a:lnTo>
                  <a:lnTo>
                    <a:pt x="708" y="450"/>
                  </a:lnTo>
                  <a:lnTo>
                    <a:pt x="708" y="456"/>
                  </a:lnTo>
                  <a:lnTo>
                    <a:pt x="708" y="462"/>
                  </a:lnTo>
                  <a:lnTo>
                    <a:pt x="708" y="468"/>
                  </a:lnTo>
                  <a:lnTo>
                    <a:pt x="708" y="504"/>
                  </a:lnTo>
                  <a:lnTo>
                    <a:pt x="696" y="564"/>
                  </a:lnTo>
                  <a:lnTo>
                    <a:pt x="696" y="582"/>
                  </a:lnTo>
                  <a:lnTo>
                    <a:pt x="696" y="600"/>
                  </a:lnTo>
                  <a:lnTo>
                    <a:pt x="690" y="606"/>
                  </a:lnTo>
                  <a:lnTo>
                    <a:pt x="684" y="606"/>
                  </a:lnTo>
                  <a:lnTo>
                    <a:pt x="690" y="612"/>
                  </a:lnTo>
                  <a:lnTo>
                    <a:pt x="684" y="612"/>
                  </a:lnTo>
                  <a:lnTo>
                    <a:pt x="678" y="618"/>
                  </a:lnTo>
                  <a:lnTo>
                    <a:pt x="672" y="624"/>
                  </a:lnTo>
                  <a:lnTo>
                    <a:pt x="666" y="630"/>
                  </a:lnTo>
                  <a:lnTo>
                    <a:pt x="660" y="636"/>
                  </a:lnTo>
                  <a:lnTo>
                    <a:pt x="672" y="636"/>
                  </a:lnTo>
                  <a:lnTo>
                    <a:pt x="678" y="642"/>
                  </a:lnTo>
                  <a:lnTo>
                    <a:pt x="678" y="648"/>
                  </a:lnTo>
                  <a:lnTo>
                    <a:pt x="684" y="654"/>
                  </a:lnTo>
                  <a:lnTo>
                    <a:pt x="690" y="666"/>
                  </a:lnTo>
                  <a:lnTo>
                    <a:pt x="690" y="672"/>
                  </a:lnTo>
                  <a:lnTo>
                    <a:pt x="696" y="672"/>
                  </a:lnTo>
                  <a:lnTo>
                    <a:pt x="696" y="684"/>
                  </a:lnTo>
                  <a:lnTo>
                    <a:pt x="708" y="690"/>
                  </a:lnTo>
                  <a:lnTo>
                    <a:pt x="720" y="696"/>
                  </a:lnTo>
                  <a:lnTo>
                    <a:pt x="726" y="696"/>
                  </a:lnTo>
                  <a:lnTo>
                    <a:pt x="732" y="696"/>
                  </a:lnTo>
                  <a:lnTo>
                    <a:pt x="738" y="696"/>
                  </a:lnTo>
                  <a:lnTo>
                    <a:pt x="738" y="702"/>
                  </a:lnTo>
                  <a:lnTo>
                    <a:pt x="738" y="708"/>
                  </a:lnTo>
                  <a:lnTo>
                    <a:pt x="738" y="714"/>
                  </a:lnTo>
                  <a:lnTo>
                    <a:pt x="744" y="714"/>
                  </a:lnTo>
                  <a:lnTo>
                    <a:pt x="756" y="720"/>
                  </a:lnTo>
                  <a:lnTo>
                    <a:pt x="780" y="726"/>
                  </a:lnTo>
                  <a:lnTo>
                    <a:pt x="792" y="732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22" y="774"/>
                  </a:lnTo>
                  <a:lnTo>
                    <a:pt x="834" y="786"/>
                  </a:lnTo>
                  <a:lnTo>
                    <a:pt x="834" y="792"/>
                  </a:lnTo>
                  <a:lnTo>
                    <a:pt x="834" y="798"/>
                  </a:lnTo>
                  <a:lnTo>
                    <a:pt x="828" y="798"/>
                  </a:lnTo>
                  <a:lnTo>
                    <a:pt x="828" y="804"/>
                  </a:lnTo>
                  <a:lnTo>
                    <a:pt x="834" y="816"/>
                  </a:lnTo>
                  <a:lnTo>
                    <a:pt x="834" y="834"/>
                  </a:lnTo>
                  <a:lnTo>
                    <a:pt x="834" y="840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34" y="858"/>
                  </a:lnTo>
                  <a:lnTo>
                    <a:pt x="834" y="864"/>
                  </a:lnTo>
                  <a:lnTo>
                    <a:pt x="834" y="876"/>
                  </a:lnTo>
                  <a:lnTo>
                    <a:pt x="828" y="960"/>
                  </a:lnTo>
                  <a:lnTo>
                    <a:pt x="816" y="966"/>
                  </a:lnTo>
                  <a:lnTo>
                    <a:pt x="798" y="972"/>
                  </a:lnTo>
                  <a:lnTo>
                    <a:pt x="786" y="990"/>
                  </a:lnTo>
                  <a:lnTo>
                    <a:pt x="774" y="990"/>
                  </a:lnTo>
                  <a:lnTo>
                    <a:pt x="762" y="1008"/>
                  </a:lnTo>
                  <a:lnTo>
                    <a:pt x="732" y="1014"/>
                  </a:lnTo>
                  <a:lnTo>
                    <a:pt x="714" y="1026"/>
                  </a:lnTo>
                  <a:lnTo>
                    <a:pt x="690" y="1050"/>
                  </a:lnTo>
                  <a:lnTo>
                    <a:pt x="654" y="1056"/>
                  </a:lnTo>
                  <a:lnTo>
                    <a:pt x="630" y="1056"/>
                  </a:lnTo>
                  <a:lnTo>
                    <a:pt x="606" y="1068"/>
                  </a:lnTo>
                  <a:lnTo>
                    <a:pt x="600" y="1092"/>
                  </a:lnTo>
                  <a:lnTo>
                    <a:pt x="600" y="1098"/>
                  </a:lnTo>
                  <a:lnTo>
                    <a:pt x="588" y="1104"/>
                  </a:lnTo>
                  <a:lnTo>
                    <a:pt x="582" y="1104"/>
                  </a:lnTo>
                  <a:lnTo>
                    <a:pt x="570" y="1110"/>
                  </a:lnTo>
                  <a:lnTo>
                    <a:pt x="564" y="111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7" name="Freeform 12">
              <a:extLst>
                <a:ext uri="{FF2B5EF4-FFF2-40B4-BE49-F238E27FC236}">
                  <a16:creationId xmlns:a16="http://schemas.microsoft.com/office/drawing/2014/main" id="{6C93C114-E5D0-49BB-A44C-A127CE01CFE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810" y="2271838"/>
              <a:ext cx="923547" cy="845397"/>
            </a:xfrm>
            <a:custGeom>
              <a:avLst/>
              <a:gdLst>
                <a:gd name="T0" fmla="*/ 138 w 1740"/>
                <a:gd name="T1" fmla="*/ 134 h 1590"/>
                <a:gd name="T2" fmla="*/ 128 w 1740"/>
                <a:gd name="T3" fmla="*/ 131 h 1590"/>
                <a:gd name="T4" fmla="*/ 121 w 1740"/>
                <a:gd name="T5" fmla="*/ 130 h 1590"/>
                <a:gd name="T6" fmla="*/ 119 w 1740"/>
                <a:gd name="T7" fmla="*/ 134 h 1590"/>
                <a:gd name="T8" fmla="*/ 110 w 1740"/>
                <a:gd name="T9" fmla="*/ 132 h 1590"/>
                <a:gd name="T10" fmla="*/ 111 w 1740"/>
                <a:gd name="T11" fmla="*/ 127 h 1590"/>
                <a:gd name="T12" fmla="*/ 103 w 1740"/>
                <a:gd name="T13" fmla="*/ 117 h 1590"/>
                <a:gd name="T14" fmla="*/ 93 w 1740"/>
                <a:gd name="T15" fmla="*/ 123 h 1590"/>
                <a:gd name="T16" fmla="*/ 80 w 1740"/>
                <a:gd name="T17" fmla="*/ 118 h 1590"/>
                <a:gd name="T18" fmla="*/ 66 w 1740"/>
                <a:gd name="T19" fmla="*/ 117 h 1590"/>
                <a:gd name="T20" fmla="*/ 66 w 1740"/>
                <a:gd name="T21" fmla="*/ 110 h 1590"/>
                <a:gd name="T22" fmla="*/ 69 w 1740"/>
                <a:gd name="T23" fmla="*/ 107 h 1590"/>
                <a:gd name="T24" fmla="*/ 68 w 1740"/>
                <a:gd name="T25" fmla="*/ 102 h 1590"/>
                <a:gd name="T26" fmla="*/ 68 w 1740"/>
                <a:gd name="T27" fmla="*/ 96 h 1590"/>
                <a:gd name="T28" fmla="*/ 67 w 1740"/>
                <a:gd name="T29" fmla="*/ 82 h 1590"/>
                <a:gd name="T30" fmla="*/ 58 w 1740"/>
                <a:gd name="T31" fmla="*/ 82 h 1590"/>
                <a:gd name="T32" fmla="*/ 52 w 1740"/>
                <a:gd name="T33" fmla="*/ 82 h 1590"/>
                <a:gd name="T34" fmla="*/ 46 w 1740"/>
                <a:gd name="T35" fmla="*/ 80 h 1590"/>
                <a:gd name="T36" fmla="*/ 45 w 1740"/>
                <a:gd name="T37" fmla="*/ 74 h 1590"/>
                <a:gd name="T38" fmla="*/ 52 w 1740"/>
                <a:gd name="T39" fmla="*/ 70 h 1590"/>
                <a:gd name="T40" fmla="*/ 52 w 1740"/>
                <a:gd name="T41" fmla="*/ 64 h 1590"/>
                <a:gd name="T42" fmla="*/ 42 w 1740"/>
                <a:gd name="T43" fmla="*/ 53 h 1590"/>
                <a:gd name="T44" fmla="*/ 35 w 1740"/>
                <a:gd name="T45" fmla="*/ 52 h 1590"/>
                <a:gd name="T46" fmla="*/ 20 w 1740"/>
                <a:gd name="T47" fmla="*/ 51 h 1590"/>
                <a:gd name="T48" fmla="*/ 17 w 1740"/>
                <a:gd name="T49" fmla="*/ 56 h 1590"/>
                <a:gd name="T50" fmla="*/ 11 w 1740"/>
                <a:gd name="T51" fmla="*/ 61 h 1590"/>
                <a:gd name="T52" fmla="*/ 7 w 1740"/>
                <a:gd name="T53" fmla="*/ 63 h 1590"/>
                <a:gd name="T54" fmla="*/ 0 w 1740"/>
                <a:gd name="T55" fmla="*/ 55 h 1590"/>
                <a:gd name="T56" fmla="*/ 2 w 1740"/>
                <a:gd name="T57" fmla="*/ 50 h 1590"/>
                <a:gd name="T58" fmla="*/ 0 w 1740"/>
                <a:gd name="T59" fmla="*/ 44 h 1590"/>
                <a:gd name="T60" fmla="*/ 2 w 1740"/>
                <a:gd name="T61" fmla="*/ 38 h 1590"/>
                <a:gd name="T62" fmla="*/ 7 w 1740"/>
                <a:gd name="T63" fmla="*/ 35 h 1590"/>
                <a:gd name="T64" fmla="*/ 11 w 1740"/>
                <a:gd name="T65" fmla="*/ 30 h 1590"/>
                <a:gd name="T66" fmla="*/ 21 w 1740"/>
                <a:gd name="T67" fmla="*/ 26 h 1590"/>
                <a:gd name="T68" fmla="*/ 29 w 1740"/>
                <a:gd name="T69" fmla="*/ 25 h 1590"/>
                <a:gd name="T70" fmla="*/ 35 w 1740"/>
                <a:gd name="T71" fmla="*/ 21 h 1590"/>
                <a:gd name="T72" fmla="*/ 36 w 1740"/>
                <a:gd name="T73" fmla="*/ 16 h 1590"/>
                <a:gd name="T74" fmla="*/ 41 w 1740"/>
                <a:gd name="T75" fmla="*/ 11 h 1590"/>
                <a:gd name="T76" fmla="*/ 51 w 1740"/>
                <a:gd name="T77" fmla="*/ 9 h 1590"/>
                <a:gd name="T78" fmla="*/ 59 w 1740"/>
                <a:gd name="T79" fmla="*/ 21 h 1590"/>
                <a:gd name="T80" fmla="*/ 65 w 1740"/>
                <a:gd name="T81" fmla="*/ 13 h 1590"/>
                <a:gd name="T82" fmla="*/ 73 w 1740"/>
                <a:gd name="T83" fmla="*/ 8 h 1590"/>
                <a:gd name="T84" fmla="*/ 82 w 1740"/>
                <a:gd name="T85" fmla="*/ 12 h 1590"/>
                <a:gd name="T86" fmla="*/ 88 w 1740"/>
                <a:gd name="T87" fmla="*/ 12 h 1590"/>
                <a:gd name="T88" fmla="*/ 99 w 1740"/>
                <a:gd name="T89" fmla="*/ 7 h 1590"/>
                <a:gd name="T90" fmla="*/ 114 w 1740"/>
                <a:gd name="T91" fmla="*/ 0 h 1590"/>
                <a:gd name="T92" fmla="*/ 117 w 1740"/>
                <a:gd name="T93" fmla="*/ 10 h 1590"/>
                <a:gd name="T94" fmla="*/ 132 w 1740"/>
                <a:gd name="T95" fmla="*/ 17 h 1590"/>
                <a:gd name="T96" fmla="*/ 140 w 1740"/>
                <a:gd name="T97" fmla="*/ 25 h 1590"/>
                <a:gd name="T98" fmla="*/ 140 w 1740"/>
                <a:gd name="T99" fmla="*/ 33 h 1590"/>
                <a:gd name="T100" fmla="*/ 140 w 1740"/>
                <a:gd name="T101" fmla="*/ 44 h 1590"/>
                <a:gd name="T102" fmla="*/ 138 w 1740"/>
                <a:gd name="T103" fmla="*/ 48 h 1590"/>
                <a:gd name="T104" fmla="*/ 141 w 1740"/>
                <a:gd name="T105" fmla="*/ 49 h 1590"/>
                <a:gd name="T106" fmla="*/ 146 w 1740"/>
                <a:gd name="T107" fmla="*/ 50 h 1590"/>
                <a:gd name="T108" fmla="*/ 149 w 1740"/>
                <a:gd name="T109" fmla="*/ 59 h 1590"/>
                <a:gd name="T110" fmla="*/ 148 w 1740"/>
                <a:gd name="T111" fmla="*/ 67 h 1590"/>
                <a:gd name="T112" fmla="*/ 141 w 1740"/>
                <a:gd name="T113" fmla="*/ 78 h 1590"/>
                <a:gd name="T114" fmla="*/ 141 w 1740"/>
                <a:gd name="T115" fmla="*/ 91 h 1590"/>
                <a:gd name="T116" fmla="*/ 138 w 1740"/>
                <a:gd name="T117" fmla="*/ 102 h 1590"/>
                <a:gd name="T118" fmla="*/ 138 w 1740"/>
                <a:gd name="T119" fmla="*/ 110 h 1590"/>
                <a:gd name="T120" fmla="*/ 144 w 1740"/>
                <a:gd name="T121" fmla="*/ 118 h 1590"/>
                <a:gd name="T122" fmla="*/ 143 w 1740"/>
                <a:gd name="T123" fmla="*/ 125 h 159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740"/>
                <a:gd name="T187" fmla="*/ 0 h 1590"/>
                <a:gd name="T188" fmla="*/ 1740 w 1740"/>
                <a:gd name="T189" fmla="*/ 1590 h 159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740" h="1590">
                  <a:moveTo>
                    <a:pt x="1638" y="1458"/>
                  </a:moveTo>
                  <a:lnTo>
                    <a:pt x="1638" y="1482"/>
                  </a:lnTo>
                  <a:lnTo>
                    <a:pt x="1638" y="1500"/>
                  </a:lnTo>
                  <a:lnTo>
                    <a:pt x="1626" y="1500"/>
                  </a:lnTo>
                  <a:lnTo>
                    <a:pt x="1620" y="1500"/>
                  </a:lnTo>
                  <a:lnTo>
                    <a:pt x="1614" y="1500"/>
                  </a:lnTo>
                  <a:lnTo>
                    <a:pt x="1614" y="1506"/>
                  </a:lnTo>
                  <a:lnTo>
                    <a:pt x="1614" y="1512"/>
                  </a:lnTo>
                  <a:lnTo>
                    <a:pt x="1620" y="1518"/>
                  </a:lnTo>
                  <a:lnTo>
                    <a:pt x="1614" y="1524"/>
                  </a:lnTo>
                  <a:lnTo>
                    <a:pt x="1590" y="1536"/>
                  </a:lnTo>
                  <a:lnTo>
                    <a:pt x="1584" y="1566"/>
                  </a:lnTo>
                  <a:lnTo>
                    <a:pt x="1578" y="1590"/>
                  </a:lnTo>
                  <a:lnTo>
                    <a:pt x="1548" y="1590"/>
                  </a:lnTo>
                  <a:lnTo>
                    <a:pt x="1542" y="1584"/>
                  </a:lnTo>
                  <a:lnTo>
                    <a:pt x="1542" y="1572"/>
                  </a:lnTo>
                  <a:lnTo>
                    <a:pt x="1536" y="1566"/>
                  </a:lnTo>
                  <a:lnTo>
                    <a:pt x="1536" y="1554"/>
                  </a:lnTo>
                  <a:lnTo>
                    <a:pt x="1536" y="1548"/>
                  </a:lnTo>
                  <a:lnTo>
                    <a:pt x="1506" y="1530"/>
                  </a:lnTo>
                  <a:lnTo>
                    <a:pt x="1488" y="1506"/>
                  </a:lnTo>
                  <a:lnTo>
                    <a:pt x="1464" y="1500"/>
                  </a:lnTo>
                  <a:lnTo>
                    <a:pt x="1470" y="1494"/>
                  </a:lnTo>
                  <a:lnTo>
                    <a:pt x="1470" y="1488"/>
                  </a:lnTo>
                  <a:lnTo>
                    <a:pt x="1470" y="1482"/>
                  </a:lnTo>
                  <a:lnTo>
                    <a:pt x="1428" y="1464"/>
                  </a:lnTo>
                  <a:lnTo>
                    <a:pt x="1404" y="1470"/>
                  </a:lnTo>
                  <a:lnTo>
                    <a:pt x="1398" y="1470"/>
                  </a:lnTo>
                  <a:lnTo>
                    <a:pt x="1392" y="1476"/>
                  </a:lnTo>
                  <a:lnTo>
                    <a:pt x="1386" y="1476"/>
                  </a:lnTo>
                  <a:lnTo>
                    <a:pt x="1386" y="1482"/>
                  </a:lnTo>
                  <a:lnTo>
                    <a:pt x="1392" y="1482"/>
                  </a:lnTo>
                  <a:lnTo>
                    <a:pt x="1386" y="1488"/>
                  </a:lnTo>
                  <a:lnTo>
                    <a:pt x="1386" y="1494"/>
                  </a:lnTo>
                  <a:lnTo>
                    <a:pt x="1380" y="1494"/>
                  </a:lnTo>
                  <a:lnTo>
                    <a:pt x="1380" y="1500"/>
                  </a:lnTo>
                  <a:lnTo>
                    <a:pt x="1380" y="1512"/>
                  </a:lnTo>
                  <a:lnTo>
                    <a:pt x="1380" y="1518"/>
                  </a:lnTo>
                  <a:lnTo>
                    <a:pt x="1380" y="1524"/>
                  </a:lnTo>
                  <a:lnTo>
                    <a:pt x="1380" y="1530"/>
                  </a:lnTo>
                  <a:lnTo>
                    <a:pt x="1374" y="1536"/>
                  </a:lnTo>
                  <a:lnTo>
                    <a:pt x="1374" y="1542"/>
                  </a:lnTo>
                  <a:lnTo>
                    <a:pt x="1368" y="1542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44" y="1554"/>
                  </a:lnTo>
                  <a:lnTo>
                    <a:pt x="1332" y="1560"/>
                  </a:lnTo>
                  <a:lnTo>
                    <a:pt x="1302" y="1554"/>
                  </a:lnTo>
                  <a:lnTo>
                    <a:pt x="1290" y="1554"/>
                  </a:lnTo>
                  <a:lnTo>
                    <a:pt x="1278" y="1542"/>
                  </a:lnTo>
                  <a:lnTo>
                    <a:pt x="1272" y="1530"/>
                  </a:lnTo>
                  <a:lnTo>
                    <a:pt x="1272" y="1524"/>
                  </a:lnTo>
                  <a:lnTo>
                    <a:pt x="1272" y="1518"/>
                  </a:lnTo>
                  <a:lnTo>
                    <a:pt x="1266" y="1518"/>
                  </a:lnTo>
                  <a:lnTo>
                    <a:pt x="1266" y="1512"/>
                  </a:lnTo>
                  <a:lnTo>
                    <a:pt x="1266" y="1506"/>
                  </a:lnTo>
                  <a:lnTo>
                    <a:pt x="1272" y="1506"/>
                  </a:lnTo>
                  <a:lnTo>
                    <a:pt x="1272" y="1500"/>
                  </a:lnTo>
                  <a:lnTo>
                    <a:pt x="1278" y="1500"/>
                  </a:lnTo>
                  <a:lnTo>
                    <a:pt x="1278" y="1494"/>
                  </a:lnTo>
                  <a:lnTo>
                    <a:pt x="1278" y="1488"/>
                  </a:lnTo>
                  <a:lnTo>
                    <a:pt x="1284" y="1488"/>
                  </a:lnTo>
                  <a:lnTo>
                    <a:pt x="1284" y="1482"/>
                  </a:lnTo>
                  <a:lnTo>
                    <a:pt x="1290" y="1476"/>
                  </a:lnTo>
                  <a:lnTo>
                    <a:pt x="1284" y="1470"/>
                  </a:lnTo>
                  <a:lnTo>
                    <a:pt x="1278" y="1458"/>
                  </a:lnTo>
                  <a:lnTo>
                    <a:pt x="1278" y="1452"/>
                  </a:lnTo>
                  <a:lnTo>
                    <a:pt x="1260" y="1428"/>
                  </a:lnTo>
                  <a:lnTo>
                    <a:pt x="1254" y="1416"/>
                  </a:lnTo>
                  <a:lnTo>
                    <a:pt x="1254" y="1410"/>
                  </a:lnTo>
                  <a:lnTo>
                    <a:pt x="1248" y="1398"/>
                  </a:lnTo>
                  <a:lnTo>
                    <a:pt x="1242" y="1398"/>
                  </a:lnTo>
                  <a:lnTo>
                    <a:pt x="1236" y="1398"/>
                  </a:lnTo>
                  <a:lnTo>
                    <a:pt x="1218" y="1386"/>
                  </a:lnTo>
                  <a:lnTo>
                    <a:pt x="1212" y="1362"/>
                  </a:lnTo>
                  <a:lnTo>
                    <a:pt x="1200" y="1344"/>
                  </a:lnTo>
                  <a:lnTo>
                    <a:pt x="1188" y="1338"/>
                  </a:lnTo>
                  <a:lnTo>
                    <a:pt x="1164" y="1338"/>
                  </a:lnTo>
                  <a:lnTo>
                    <a:pt x="1158" y="1344"/>
                  </a:lnTo>
                  <a:lnTo>
                    <a:pt x="1152" y="1350"/>
                  </a:lnTo>
                  <a:lnTo>
                    <a:pt x="1152" y="1356"/>
                  </a:lnTo>
                  <a:lnTo>
                    <a:pt x="1140" y="1362"/>
                  </a:lnTo>
                  <a:lnTo>
                    <a:pt x="1134" y="1380"/>
                  </a:lnTo>
                  <a:lnTo>
                    <a:pt x="1116" y="1398"/>
                  </a:lnTo>
                  <a:lnTo>
                    <a:pt x="1110" y="1416"/>
                  </a:lnTo>
                  <a:lnTo>
                    <a:pt x="1086" y="1416"/>
                  </a:lnTo>
                  <a:lnTo>
                    <a:pt x="1080" y="1410"/>
                  </a:lnTo>
                  <a:lnTo>
                    <a:pt x="1074" y="1410"/>
                  </a:lnTo>
                  <a:lnTo>
                    <a:pt x="1074" y="1404"/>
                  </a:lnTo>
                  <a:lnTo>
                    <a:pt x="1062" y="1404"/>
                  </a:lnTo>
                  <a:lnTo>
                    <a:pt x="1062" y="1380"/>
                  </a:lnTo>
                  <a:lnTo>
                    <a:pt x="1038" y="1380"/>
                  </a:lnTo>
                  <a:lnTo>
                    <a:pt x="1026" y="1350"/>
                  </a:lnTo>
                  <a:lnTo>
                    <a:pt x="996" y="1326"/>
                  </a:lnTo>
                  <a:lnTo>
                    <a:pt x="966" y="1314"/>
                  </a:lnTo>
                  <a:lnTo>
                    <a:pt x="954" y="1320"/>
                  </a:lnTo>
                  <a:lnTo>
                    <a:pt x="942" y="1338"/>
                  </a:lnTo>
                  <a:lnTo>
                    <a:pt x="930" y="1338"/>
                  </a:lnTo>
                  <a:lnTo>
                    <a:pt x="924" y="1350"/>
                  </a:lnTo>
                  <a:lnTo>
                    <a:pt x="906" y="1356"/>
                  </a:lnTo>
                  <a:lnTo>
                    <a:pt x="846" y="1356"/>
                  </a:lnTo>
                  <a:lnTo>
                    <a:pt x="834" y="1368"/>
                  </a:lnTo>
                  <a:lnTo>
                    <a:pt x="810" y="1362"/>
                  </a:lnTo>
                  <a:lnTo>
                    <a:pt x="792" y="1362"/>
                  </a:lnTo>
                  <a:lnTo>
                    <a:pt x="780" y="1368"/>
                  </a:lnTo>
                  <a:lnTo>
                    <a:pt x="762" y="1368"/>
                  </a:lnTo>
                  <a:lnTo>
                    <a:pt x="762" y="1362"/>
                  </a:lnTo>
                  <a:lnTo>
                    <a:pt x="750" y="1362"/>
                  </a:lnTo>
                  <a:lnTo>
                    <a:pt x="750" y="1338"/>
                  </a:lnTo>
                  <a:lnTo>
                    <a:pt x="762" y="1338"/>
                  </a:lnTo>
                  <a:lnTo>
                    <a:pt x="762" y="1326"/>
                  </a:lnTo>
                  <a:lnTo>
                    <a:pt x="762" y="1314"/>
                  </a:lnTo>
                  <a:lnTo>
                    <a:pt x="732" y="1314"/>
                  </a:lnTo>
                  <a:lnTo>
                    <a:pt x="726" y="1308"/>
                  </a:lnTo>
                  <a:lnTo>
                    <a:pt x="732" y="1284"/>
                  </a:lnTo>
                  <a:lnTo>
                    <a:pt x="732" y="1278"/>
                  </a:lnTo>
                  <a:lnTo>
                    <a:pt x="738" y="1272"/>
                  </a:lnTo>
                  <a:lnTo>
                    <a:pt x="738" y="1266"/>
                  </a:lnTo>
                  <a:lnTo>
                    <a:pt x="744" y="1266"/>
                  </a:lnTo>
                  <a:lnTo>
                    <a:pt x="750" y="1272"/>
                  </a:lnTo>
                  <a:lnTo>
                    <a:pt x="756" y="1266"/>
                  </a:lnTo>
                  <a:lnTo>
                    <a:pt x="762" y="1266"/>
                  </a:lnTo>
                  <a:lnTo>
                    <a:pt x="768" y="1260"/>
                  </a:lnTo>
                  <a:lnTo>
                    <a:pt x="774" y="1260"/>
                  </a:lnTo>
                  <a:lnTo>
                    <a:pt x="780" y="1254"/>
                  </a:lnTo>
                  <a:lnTo>
                    <a:pt x="774" y="1254"/>
                  </a:lnTo>
                  <a:lnTo>
                    <a:pt x="768" y="1254"/>
                  </a:lnTo>
                  <a:lnTo>
                    <a:pt x="774" y="1248"/>
                  </a:lnTo>
                  <a:lnTo>
                    <a:pt x="774" y="1242"/>
                  </a:lnTo>
                  <a:lnTo>
                    <a:pt x="780" y="1236"/>
                  </a:lnTo>
                  <a:lnTo>
                    <a:pt x="786" y="1236"/>
                  </a:lnTo>
                  <a:lnTo>
                    <a:pt x="792" y="1230"/>
                  </a:lnTo>
                  <a:lnTo>
                    <a:pt x="792" y="1236"/>
                  </a:lnTo>
                  <a:lnTo>
                    <a:pt x="798" y="1236"/>
                  </a:lnTo>
                  <a:lnTo>
                    <a:pt x="798" y="1230"/>
                  </a:lnTo>
                  <a:lnTo>
                    <a:pt x="804" y="1230"/>
                  </a:lnTo>
                  <a:lnTo>
                    <a:pt x="804" y="1218"/>
                  </a:lnTo>
                  <a:lnTo>
                    <a:pt x="804" y="1206"/>
                  </a:lnTo>
                  <a:lnTo>
                    <a:pt x="792" y="1188"/>
                  </a:lnTo>
                  <a:lnTo>
                    <a:pt x="768" y="1182"/>
                  </a:lnTo>
                  <a:lnTo>
                    <a:pt x="768" y="1170"/>
                  </a:lnTo>
                  <a:lnTo>
                    <a:pt x="774" y="1170"/>
                  </a:lnTo>
                  <a:lnTo>
                    <a:pt x="780" y="1170"/>
                  </a:lnTo>
                  <a:lnTo>
                    <a:pt x="786" y="1170"/>
                  </a:lnTo>
                  <a:lnTo>
                    <a:pt x="780" y="1152"/>
                  </a:lnTo>
                  <a:lnTo>
                    <a:pt x="780" y="1146"/>
                  </a:lnTo>
                  <a:lnTo>
                    <a:pt x="744" y="1140"/>
                  </a:lnTo>
                  <a:lnTo>
                    <a:pt x="732" y="1128"/>
                  </a:lnTo>
                  <a:lnTo>
                    <a:pt x="720" y="1122"/>
                  </a:lnTo>
                  <a:lnTo>
                    <a:pt x="732" y="1116"/>
                  </a:lnTo>
                  <a:lnTo>
                    <a:pt x="750" y="1104"/>
                  </a:lnTo>
                  <a:lnTo>
                    <a:pt x="756" y="1116"/>
                  </a:lnTo>
                  <a:lnTo>
                    <a:pt x="774" y="1116"/>
                  </a:lnTo>
                  <a:lnTo>
                    <a:pt x="780" y="1104"/>
                  </a:lnTo>
                  <a:lnTo>
                    <a:pt x="780" y="1080"/>
                  </a:lnTo>
                  <a:lnTo>
                    <a:pt x="786" y="1080"/>
                  </a:lnTo>
                  <a:lnTo>
                    <a:pt x="786" y="1074"/>
                  </a:lnTo>
                  <a:lnTo>
                    <a:pt x="792" y="1074"/>
                  </a:lnTo>
                  <a:lnTo>
                    <a:pt x="786" y="1068"/>
                  </a:lnTo>
                  <a:lnTo>
                    <a:pt x="786" y="1062"/>
                  </a:lnTo>
                  <a:lnTo>
                    <a:pt x="786" y="1056"/>
                  </a:lnTo>
                  <a:lnTo>
                    <a:pt x="792" y="1050"/>
                  </a:lnTo>
                  <a:lnTo>
                    <a:pt x="786" y="1020"/>
                  </a:lnTo>
                  <a:lnTo>
                    <a:pt x="780" y="960"/>
                  </a:lnTo>
                  <a:lnTo>
                    <a:pt x="768" y="942"/>
                  </a:lnTo>
                  <a:lnTo>
                    <a:pt x="732" y="936"/>
                  </a:lnTo>
                  <a:lnTo>
                    <a:pt x="732" y="942"/>
                  </a:lnTo>
                  <a:lnTo>
                    <a:pt x="726" y="942"/>
                  </a:lnTo>
                  <a:lnTo>
                    <a:pt x="720" y="936"/>
                  </a:lnTo>
                  <a:lnTo>
                    <a:pt x="714" y="942"/>
                  </a:lnTo>
                  <a:lnTo>
                    <a:pt x="708" y="942"/>
                  </a:lnTo>
                  <a:lnTo>
                    <a:pt x="702" y="942"/>
                  </a:lnTo>
                  <a:lnTo>
                    <a:pt x="690" y="936"/>
                  </a:lnTo>
                  <a:lnTo>
                    <a:pt x="684" y="936"/>
                  </a:lnTo>
                  <a:lnTo>
                    <a:pt x="678" y="936"/>
                  </a:lnTo>
                  <a:lnTo>
                    <a:pt x="672" y="936"/>
                  </a:lnTo>
                  <a:lnTo>
                    <a:pt x="666" y="942"/>
                  </a:lnTo>
                  <a:lnTo>
                    <a:pt x="660" y="942"/>
                  </a:lnTo>
                  <a:lnTo>
                    <a:pt x="654" y="942"/>
                  </a:lnTo>
                  <a:lnTo>
                    <a:pt x="648" y="942"/>
                  </a:lnTo>
                  <a:lnTo>
                    <a:pt x="642" y="936"/>
                  </a:lnTo>
                  <a:lnTo>
                    <a:pt x="636" y="936"/>
                  </a:lnTo>
                  <a:lnTo>
                    <a:pt x="630" y="930"/>
                  </a:lnTo>
                  <a:lnTo>
                    <a:pt x="618" y="930"/>
                  </a:lnTo>
                  <a:lnTo>
                    <a:pt x="612" y="930"/>
                  </a:lnTo>
                  <a:lnTo>
                    <a:pt x="606" y="936"/>
                  </a:lnTo>
                  <a:lnTo>
                    <a:pt x="600" y="942"/>
                  </a:lnTo>
                  <a:lnTo>
                    <a:pt x="600" y="936"/>
                  </a:lnTo>
                  <a:lnTo>
                    <a:pt x="594" y="930"/>
                  </a:lnTo>
                  <a:lnTo>
                    <a:pt x="588" y="930"/>
                  </a:lnTo>
                  <a:lnTo>
                    <a:pt x="582" y="930"/>
                  </a:lnTo>
                  <a:lnTo>
                    <a:pt x="576" y="930"/>
                  </a:lnTo>
                  <a:lnTo>
                    <a:pt x="564" y="936"/>
                  </a:lnTo>
                  <a:lnTo>
                    <a:pt x="558" y="936"/>
                  </a:lnTo>
                  <a:lnTo>
                    <a:pt x="546" y="924"/>
                  </a:lnTo>
                  <a:lnTo>
                    <a:pt x="540" y="924"/>
                  </a:lnTo>
                  <a:lnTo>
                    <a:pt x="534" y="918"/>
                  </a:lnTo>
                  <a:lnTo>
                    <a:pt x="528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6" y="918"/>
                  </a:lnTo>
                  <a:lnTo>
                    <a:pt x="516" y="912"/>
                  </a:lnTo>
                  <a:lnTo>
                    <a:pt x="510" y="894"/>
                  </a:lnTo>
                  <a:lnTo>
                    <a:pt x="510" y="882"/>
                  </a:lnTo>
                  <a:lnTo>
                    <a:pt x="510" y="876"/>
                  </a:lnTo>
                  <a:lnTo>
                    <a:pt x="516" y="870"/>
                  </a:lnTo>
                  <a:lnTo>
                    <a:pt x="510" y="864"/>
                  </a:lnTo>
                  <a:lnTo>
                    <a:pt x="516" y="858"/>
                  </a:lnTo>
                  <a:lnTo>
                    <a:pt x="522" y="858"/>
                  </a:lnTo>
                  <a:lnTo>
                    <a:pt x="528" y="858"/>
                  </a:lnTo>
                  <a:lnTo>
                    <a:pt x="522" y="852"/>
                  </a:lnTo>
                  <a:lnTo>
                    <a:pt x="528" y="852"/>
                  </a:lnTo>
                  <a:lnTo>
                    <a:pt x="528" y="846"/>
                  </a:lnTo>
                  <a:lnTo>
                    <a:pt x="552" y="846"/>
                  </a:lnTo>
                  <a:lnTo>
                    <a:pt x="558" y="840"/>
                  </a:lnTo>
                  <a:lnTo>
                    <a:pt x="564" y="828"/>
                  </a:lnTo>
                  <a:lnTo>
                    <a:pt x="570" y="816"/>
                  </a:lnTo>
                  <a:lnTo>
                    <a:pt x="582" y="810"/>
                  </a:lnTo>
                  <a:lnTo>
                    <a:pt x="588" y="804"/>
                  </a:lnTo>
                  <a:lnTo>
                    <a:pt x="594" y="804"/>
                  </a:lnTo>
                  <a:lnTo>
                    <a:pt x="594" y="792"/>
                  </a:lnTo>
                  <a:lnTo>
                    <a:pt x="600" y="786"/>
                  </a:lnTo>
                  <a:lnTo>
                    <a:pt x="606" y="780"/>
                  </a:lnTo>
                  <a:lnTo>
                    <a:pt x="612" y="774"/>
                  </a:lnTo>
                  <a:lnTo>
                    <a:pt x="618" y="774"/>
                  </a:lnTo>
                  <a:lnTo>
                    <a:pt x="618" y="768"/>
                  </a:lnTo>
                  <a:lnTo>
                    <a:pt x="618" y="762"/>
                  </a:lnTo>
                  <a:lnTo>
                    <a:pt x="624" y="756"/>
                  </a:lnTo>
                  <a:lnTo>
                    <a:pt x="618" y="750"/>
                  </a:lnTo>
                  <a:lnTo>
                    <a:pt x="618" y="744"/>
                  </a:lnTo>
                  <a:lnTo>
                    <a:pt x="600" y="738"/>
                  </a:lnTo>
                  <a:lnTo>
                    <a:pt x="558" y="744"/>
                  </a:lnTo>
                  <a:lnTo>
                    <a:pt x="552" y="732"/>
                  </a:lnTo>
                  <a:lnTo>
                    <a:pt x="546" y="720"/>
                  </a:lnTo>
                  <a:lnTo>
                    <a:pt x="564" y="702"/>
                  </a:lnTo>
                  <a:lnTo>
                    <a:pt x="570" y="684"/>
                  </a:lnTo>
                  <a:lnTo>
                    <a:pt x="564" y="648"/>
                  </a:lnTo>
                  <a:lnTo>
                    <a:pt x="534" y="624"/>
                  </a:lnTo>
                  <a:lnTo>
                    <a:pt x="504" y="612"/>
                  </a:lnTo>
                  <a:lnTo>
                    <a:pt x="498" y="606"/>
                  </a:lnTo>
                  <a:lnTo>
                    <a:pt x="492" y="600"/>
                  </a:lnTo>
                  <a:lnTo>
                    <a:pt x="486" y="606"/>
                  </a:lnTo>
                  <a:lnTo>
                    <a:pt x="480" y="558"/>
                  </a:lnTo>
                  <a:lnTo>
                    <a:pt x="462" y="546"/>
                  </a:lnTo>
                  <a:lnTo>
                    <a:pt x="408" y="540"/>
                  </a:lnTo>
                  <a:lnTo>
                    <a:pt x="408" y="546"/>
                  </a:lnTo>
                  <a:lnTo>
                    <a:pt x="408" y="558"/>
                  </a:lnTo>
                  <a:lnTo>
                    <a:pt x="408" y="564"/>
                  </a:lnTo>
                  <a:lnTo>
                    <a:pt x="408" y="570"/>
                  </a:lnTo>
                  <a:lnTo>
                    <a:pt x="414" y="582"/>
                  </a:lnTo>
                  <a:lnTo>
                    <a:pt x="408" y="594"/>
                  </a:lnTo>
                  <a:lnTo>
                    <a:pt x="414" y="594"/>
                  </a:lnTo>
                  <a:lnTo>
                    <a:pt x="408" y="600"/>
                  </a:lnTo>
                  <a:lnTo>
                    <a:pt x="348" y="600"/>
                  </a:lnTo>
                  <a:lnTo>
                    <a:pt x="324" y="600"/>
                  </a:lnTo>
                  <a:lnTo>
                    <a:pt x="324" y="612"/>
                  </a:lnTo>
                  <a:lnTo>
                    <a:pt x="306" y="618"/>
                  </a:lnTo>
                  <a:lnTo>
                    <a:pt x="312" y="618"/>
                  </a:lnTo>
                  <a:lnTo>
                    <a:pt x="294" y="588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76"/>
                  </a:lnTo>
                  <a:lnTo>
                    <a:pt x="240" y="582"/>
                  </a:lnTo>
                  <a:lnTo>
                    <a:pt x="234" y="582"/>
                  </a:lnTo>
                  <a:lnTo>
                    <a:pt x="228" y="588"/>
                  </a:lnTo>
                  <a:lnTo>
                    <a:pt x="222" y="588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8" y="600"/>
                  </a:lnTo>
                  <a:lnTo>
                    <a:pt x="192" y="612"/>
                  </a:lnTo>
                  <a:lnTo>
                    <a:pt x="192" y="618"/>
                  </a:lnTo>
                  <a:lnTo>
                    <a:pt x="198" y="624"/>
                  </a:lnTo>
                  <a:lnTo>
                    <a:pt x="192" y="624"/>
                  </a:lnTo>
                  <a:lnTo>
                    <a:pt x="192" y="630"/>
                  </a:lnTo>
                  <a:lnTo>
                    <a:pt x="192" y="642"/>
                  </a:lnTo>
                  <a:lnTo>
                    <a:pt x="180" y="648"/>
                  </a:lnTo>
                  <a:lnTo>
                    <a:pt x="174" y="654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6"/>
                  </a:lnTo>
                  <a:lnTo>
                    <a:pt x="156" y="672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90"/>
                  </a:lnTo>
                  <a:lnTo>
                    <a:pt x="132" y="690"/>
                  </a:lnTo>
                  <a:lnTo>
                    <a:pt x="126" y="702"/>
                  </a:lnTo>
                  <a:lnTo>
                    <a:pt x="132" y="708"/>
                  </a:lnTo>
                  <a:lnTo>
                    <a:pt x="126" y="708"/>
                  </a:lnTo>
                  <a:lnTo>
                    <a:pt x="120" y="708"/>
                  </a:lnTo>
                  <a:lnTo>
                    <a:pt x="114" y="708"/>
                  </a:lnTo>
                  <a:lnTo>
                    <a:pt x="108" y="708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78" y="720"/>
                  </a:lnTo>
                  <a:lnTo>
                    <a:pt x="72" y="720"/>
                  </a:lnTo>
                  <a:lnTo>
                    <a:pt x="66" y="720"/>
                  </a:lnTo>
                  <a:lnTo>
                    <a:pt x="54" y="732"/>
                  </a:lnTo>
                  <a:lnTo>
                    <a:pt x="48" y="702"/>
                  </a:lnTo>
                  <a:lnTo>
                    <a:pt x="36" y="666"/>
                  </a:lnTo>
                  <a:lnTo>
                    <a:pt x="0" y="660"/>
                  </a:lnTo>
                  <a:lnTo>
                    <a:pt x="6" y="660"/>
                  </a:lnTo>
                  <a:lnTo>
                    <a:pt x="6" y="654"/>
                  </a:lnTo>
                  <a:lnTo>
                    <a:pt x="6" y="648"/>
                  </a:lnTo>
                  <a:lnTo>
                    <a:pt x="6" y="642"/>
                  </a:lnTo>
                  <a:lnTo>
                    <a:pt x="6" y="624"/>
                  </a:lnTo>
                  <a:lnTo>
                    <a:pt x="6" y="612"/>
                  </a:lnTo>
                  <a:lnTo>
                    <a:pt x="6" y="606"/>
                  </a:lnTo>
                  <a:lnTo>
                    <a:pt x="12" y="612"/>
                  </a:lnTo>
                  <a:lnTo>
                    <a:pt x="18" y="606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30" y="594"/>
                  </a:lnTo>
                  <a:lnTo>
                    <a:pt x="30" y="588"/>
                  </a:lnTo>
                  <a:lnTo>
                    <a:pt x="30" y="582"/>
                  </a:lnTo>
                  <a:lnTo>
                    <a:pt x="24" y="576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18" y="558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36" y="528"/>
                  </a:lnTo>
                  <a:lnTo>
                    <a:pt x="30" y="522"/>
                  </a:lnTo>
                  <a:lnTo>
                    <a:pt x="24" y="522"/>
                  </a:lnTo>
                  <a:lnTo>
                    <a:pt x="18" y="510"/>
                  </a:lnTo>
                  <a:lnTo>
                    <a:pt x="12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8" y="474"/>
                  </a:lnTo>
                  <a:lnTo>
                    <a:pt x="12" y="468"/>
                  </a:lnTo>
                  <a:lnTo>
                    <a:pt x="12" y="462"/>
                  </a:lnTo>
                  <a:lnTo>
                    <a:pt x="18" y="456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0" y="420"/>
                  </a:lnTo>
                  <a:lnTo>
                    <a:pt x="30" y="414"/>
                  </a:lnTo>
                  <a:lnTo>
                    <a:pt x="48" y="414"/>
                  </a:lnTo>
                  <a:lnTo>
                    <a:pt x="54" y="408"/>
                  </a:lnTo>
                  <a:lnTo>
                    <a:pt x="60" y="402"/>
                  </a:lnTo>
                  <a:lnTo>
                    <a:pt x="66" y="402"/>
                  </a:lnTo>
                  <a:lnTo>
                    <a:pt x="72" y="402"/>
                  </a:lnTo>
                  <a:lnTo>
                    <a:pt x="78" y="408"/>
                  </a:lnTo>
                  <a:lnTo>
                    <a:pt x="84" y="396"/>
                  </a:lnTo>
                  <a:lnTo>
                    <a:pt x="90" y="390"/>
                  </a:lnTo>
                  <a:lnTo>
                    <a:pt x="90" y="378"/>
                  </a:lnTo>
                  <a:lnTo>
                    <a:pt x="96" y="372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8" y="354"/>
                  </a:lnTo>
                  <a:lnTo>
                    <a:pt x="114" y="348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32" y="336"/>
                  </a:lnTo>
                  <a:lnTo>
                    <a:pt x="132" y="330"/>
                  </a:lnTo>
                  <a:lnTo>
                    <a:pt x="138" y="324"/>
                  </a:lnTo>
                  <a:lnTo>
                    <a:pt x="138" y="318"/>
                  </a:lnTo>
                  <a:lnTo>
                    <a:pt x="144" y="306"/>
                  </a:lnTo>
                  <a:lnTo>
                    <a:pt x="156" y="306"/>
                  </a:lnTo>
                  <a:lnTo>
                    <a:pt x="186" y="300"/>
                  </a:lnTo>
                  <a:lnTo>
                    <a:pt x="198" y="300"/>
                  </a:lnTo>
                  <a:lnTo>
                    <a:pt x="210" y="300"/>
                  </a:lnTo>
                  <a:lnTo>
                    <a:pt x="222" y="300"/>
                  </a:lnTo>
                  <a:lnTo>
                    <a:pt x="246" y="300"/>
                  </a:lnTo>
                  <a:lnTo>
                    <a:pt x="264" y="312"/>
                  </a:lnTo>
                  <a:lnTo>
                    <a:pt x="270" y="312"/>
                  </a:lnTo>
                  <a:lnTo>
                    <a:pt x="282" y="306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300" y="306"/>
                  </a:lnTo>
                  <a:lnTo>
                    <a:pt x="312" y="306"/>
                  </a:lnTo>
                  <a:lnTo>
                    <a:pt x="318" y="300"/>
                  </a:lnTo>
                  <a:lnTo>
                    <a:pt x="324" y="300"/>
                  </a:lnTo>
                  <a:lnTo>
                    <a:pt x="330" y="294"/>
                  </a:lnTo>
                  <a:lnTo>
                    <a:pt x="336" y="288"/>
                  </a:lnTo>
                  <a:lnTo>
                    <a:pt x="354" y="288"/>
                  </a:lnTo>
                  <a:lnTo>
                    <a:pt x="360" y="288"/>
                  </a:lnTo>
                  <a:lnTo>
                    <a:pt x="366" y="282"/>
                  </a:lnTo>
                  <a:lnTo>
                    <a:pt x="372" y="282"/>
                  </a:lnTo>
                  <a:lnTo>
                    <a:pt x="378" y="282"/>
                  </a:lnTo>
                  <a:lnTo>
                    <a:pt x="384" y="276"/>
                  </a:lnTo>
                  <a:lnTo>
                    <a:pt x="384" y="270"/>
                  </a:lnTo>
                  <a:lnTo>
                    <a:pt x="390" y="264"/>
                  </a:lnTo>
                  <a:lnTo>
                    <a:pt x="402" y="258"/>
                  </a:lnTo>
                  <a:lnTo>
                    <a:pt x="402" y="252"/>
                  </a:lnTo>
                  <a:lnTo>
                    <a:pt x="402" y="246"/>
                  </a:lnTo>
                  <a:lnTo>
                    <a:pt x="408" y="234"/>
                  </a:lnTo>
                  <a:lnTo>
                    <a:pt x="414" y="234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14" y="216"/>
                  </a:lnTo>
                  <a:lnTo>
                    <a:pt x="414" y="210"/>
                  </a:lnTo>
                  <a:lnTo>
                    <a:pt x="420" y="210"/>
                  </a:lnTo>
                  <a:lnTo>
                    <a:pt x="414" y="198"/>
                  </a:lnTo>
                  <a:lnTo>
                    <a:pt x="414" y="192"/>
                  </a:lnTo>
                  <a:lnTo>
                    <a:pt x="420" y="192"/>
                  </a:lnTo>
                  <a:lnTo>
                    <a:pt x="420" y="186"/>
                  </a:lnTo>
                  <a:lnTo>
                    <a:pt x="420" y="174"/>
                  </a:lnTo>
                  <a:lnTo>
                    <a:pt x="420" y="168"/>
                  </a:lnTo>
                  <a:lnTo>
                    <a:pt x="426" y="162"/>
                  </a:lnTo>
                  <a:lnTo>
                    <a:pt x="432" y="156"/>
                  </a:lnTo>
                  <a:lnTo>
                    <a:pt x="438" y="144"/>
                  </a:lnTo>
                  <a:lnTo>
                    <a:pt x="444" y="144"/>
                  </a:lnTo>
                  <a:lnTo>
                    <a:pt x="450" y="138"/>
                  </a:lnTo>
                  <a:lnTo>
                    <a:pt x="456" y="138"/>
                  </a:lnTo>
                  <a:lnTo>
                    <a:pt x="462" y="132"/>
                  </a:lnTo>
                  <a:lnTo>
                    <a:pt x="462" y="126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0"/>
                  </a:lnTo>
                  <a:lnTo>
                    <a:pt x="486" y="108"/>
                  </a:lnTo>
                  <a:lnTo>
                    <a:pt x="492" y="108"/>
                  </a:lnTo>
                  <a:lnTo>
                    <a:pt x="498" y="102"/>
                  </a:lnTo>
                  <a:lnTo>
                    <a:pt x="504" y="96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40" y="102"/>
                  </a:lnTo>
                  <a:lnTo>
                    <a:pt x="552" y="108"/>
                  </a:lnTo>
                  <a:lnTo>
                    <a:pt x="582" y="102"/>
                  </a:lnTo>
                  <a:lnTo>
                    <a:pt x="594" y="126"/>
                  </a:lnTo>
                  <a:lnTo>
                    <a:pt x="594" y="144"/>
                  </a:lnTo>
                  <a:lnTo>
                    <a:pt x="588" y="156"/>
                  </a:lnTo>
                  <a:lnTo>
                    <a:pt x="588" y="168"/>
                  </a:lnTo>
                  <a:lnTo>
                    <a:pt x="582" y="180"/>
                  </a:lnTo>
                  <a:lnTo>
                    <a:pt x="570" y="192"/>
                  </a:lnTo>
                  <a:lnTo>
                    <a:pt x="594" y="192"/>
                  </a:lnTo>
                  <a:lnTo>
                    <a:pt x="618" y="198"/>
                  </a:lnTo>
                  <a:lnTo>
                    <a:pt x="642" y="210"/>
                  </a:lnTo>
                  <a:lnTo>
                    <a:pt x="660" y="234"/>
                  </a:lnTo>
                  <a:lnTo>
                    <a:pt x="678" y="246"/>
                  </a:lnTo>
                  <a:lnTo>
                    <a:pt x="684" y="252"/>
                  </a:lnTo>
                  <a:lnTo>
                    <a:pt x="702" y="252"/>
                  </a:lnTo>
                  <a:lnTo>
                    <a:pt x="732" y="234"/>
                  </a:lnTo>
                  <a:lnTo>
                    <a:pt x="732" y="222"/>
                  </a:lnTo>
                  <a:lnTo>
                    <a:pt x="720" y="216"/>
                  </a:lnTo>
                  <a:lnTo>
                    <a:pt x="714" y="198"/>
                  </a:lnTo>
                  <a:lnTo>
                    <a:pt x="714" y="174"/>
                  </a:lnTo>
                  <a:lnTo>
                    <a:pt x="720" y="162"/>
                  </a:lnTo>
                  <a:lnTo>
                    <a:pt x="726" y="162"/>
                  </a:lnTo>
                  <a:lnTo>
                    <a:pt x="732" y="156"/>
                  </a:lnTo>
                  <a:lnTo>
                    <a:pt x="744" y="150"/>
                  </a:lnTo>
                  <a:lnTo>
                    <a:pt x="774" y="162"/>
                  </a:lnTo>
                  <a:lnTo>
                    <a:pt x="786" y="162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16" y="150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2" y="132"/>
                  </a:lnTo>
                  <a:lnTo>
                    <a:pt x="822" y="114"/>
                  </a:lnTo>
                  <a:lnTo>
                    <a:pt x="828" y="108"/>
                  </a:lnTo>
                  <a:lnTo>
                    <a:pt x="834" y="96"/>
                  </a:lnTo>
                  <a:lnTo>
                    <a:pt x="846" y="96"/>
                  </a:lnTo>
                  <a:lnTo>
                    <a:pt x="858" y="90"/>
                  </a:lnTo>
                  <a:lnTo>
                    <a:pt x="870" y="84"/>
                  </a:lnTo>
                  <a:lnTo>
                    <a:pt x="888" y="84"/>
                  </a:lnTo>
                  <a:lnTo>
                    <a:pt x="894" y="90"/>
                  </a:lnTo>
                  <a:lnTo>
                    <a:pt x="894" y="102"/>
                  </a:lnTo>
                  <a:lnTo>
                    <a:pt x="900" y="102"/>
                  </a:lnTo>
                  <a:lnTo>
                    <a:pt x="906" y="114"/>
                  </a:lnTo>
                  <a:lnTo>
                    <a:pt x="930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54" y="138"/>
                  </a:lnTo>
                  <a:lnTo>
                    <a:pt x="966" y="144"/>
                  </a:lnTo>
                  <a:lnTo>
                    <a:pt x="966" y="150"/>
                  </a:lnTo>
                  <a:lnTo>
                    <a:pt x="972" y="150"/>
                  </a:lnTo>
                  <a:lnTo>
                    <a:pt x="978" y="150"/>
                  </a:lnTo>
                  <a:lnTo>
                    <a:pt x="978" y="144"/>
                  </a:lnTo>
                  <a:lnTo>
                    <a:pt x="984" y="144"/>
                  </a:lnTo>
                  <a:lnTo>
                    <a:pt x="990" y="138"/>
                  </a:lnTo>
                  <a:lnTo>
                    <a:pt x="996" y="138"/>
                  </a:lnTo>
                  <a:lnTo>
                    <a:pt x="1002" y="138"/>
                  </a:lnTo>
                  <a:lnTo>
                    <a:pt x="1008" y="138"/>
                  </a:lnTo>
                  <a:lnTo>
                    <a:pt x="1026" y="132"/>
                  </a:lnTo>
                  <a:lnTo>
                    <a:pt x="1044" y="126"/>
                  </a:lnTo>
                  <a:lnTo>
                    <a:pt x="1056" y="120"/>
                  </a:lnTo>
                  <a:lnTo>
                    <a:pt x="1062" y="108"/>
                  </a:lnTo>
                  <a:lnTo>
                    <a:pt x="1056" y="102"/>
                  </a:lnTo>
                  <a:lnTo>
                    <a:pt x="1062" y="96"/>
                  </a:lnTo>
                  <a:lnTo>
                    <a:pt x="1074" y="90"/>
                  </a:lnTo>
                  <a:lnTo>
                    <a:pt x="1080" y="84"/>
                  </a:lnTo>
                  <a:lnTo>
                    <a:pt x="1128" y="84"/>
                  </a:lnTo>
                  <a:lnTo>
                    <a:pt x="1134" y="84"/>
                  </a:lnTo>
                  <a:lnTo>
                    <a:pt x="1140" y="78"/>
                  </a:lnTo>
                  <a:lnTo>
                    <a:pt x="1152" y="72"/>
                  </a:lnTo>
                  <a:lnTo>
                    <a:pt x="1164" y="66"/>
                  </a:lnTo>
                  <a:lnTo>
                    <a:pt x="1170" y="60"/>
                  </a:lnTo>
                  <a:lnTo>
                    <a:pt x="1188" y="48"/>
                  </a:lnTo>
                  <a:lnTo>
                    <a:pt x="1200" y="36"/>
                  </a:lnTo>
                  <a:lnTo>
                    <a:pt x="1218" y="24"/>
                  </a:lnTo>
                  <a:lnTo>
                    <a:pt x="1248" y="24"/>
                  </a:lnTo>
                  <a:lnTo>
                    <a:pt x="1272" y="24"/>
                  </a:lnTo>
                  <a:lnTo>
                    <a:pt x="1284" y="12"/>
                  </a:lnTo>
                  <a:lnTo>
                    <a:pt x="1302" y="0"/>
                  </a:lnTo>
                  <a:lnTo>
                    <a:pt x="1314" y="0"/>
                  </a:lnTo>
                  <a:lnTo>
                    <a:pt x="1326" y="18"/>
                  </a:lnTo>
                  <a:lnTo>
                    <a:pt x="1338" y="30"/>
                  </a:lnTo>
                  <a:lnTo>
                    <a:pt x="1338" y="54"/>
                  </a:lnTo>
                  <a:lnTo>
                    <a:pt x="1332" y="72"/>
                  </a:lnTo>
                  <a:lnTo>
                    <a:pt x="1326" y="72"/>
                  </a:lnTo>
                  <a:lnTo>
                    <a:pt x="1326" y="78"/>
                  </a:lnTo>
                  <a:lnTo>
                    <a:pt x="1326" y="102"/>
                  </a:lnTo>
                  <a:lnTo>
                    <a:pt x="1332" y="102"/>
                  </a:lnTo>
                  <a:lnTo>
                    <a:pt x="1332" y="108"/>
                  </a:lnTo>
                  <a:lnTo>
                    <a:pt x="1344" y="114"/>
                  </a:lnTo>
                  <a:lnTo>
                    <a:pt x="1350" y="114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404" y="132"/>
                  </a:lnTo>
                  <a:lnTo>
                    <a:pt x="1404" y="138"/>
                  </a:lnTo>
                  <a:lnTo>
                    <a:pt x="1410" y="150"/>
                  </a:lnTo>
                  <a:lnTo>
                    <a:pt x="1416" y="162"/>
                  </a:lnTo>
                  <a:lnTo>
                    <a:pt x="1428" y="168"/>
                  </a:lnTo>
                  <a:lnTo>
                    <a:pt x="1440" y="180"/>
                  </a:lnTo>
                  <a:lnTo>
                    <a:pt x="1476" y="174"/>
                  </a:lnTo>
                  <a:lnTo>
                    <a:pt x="1494" y="174"/>
                  </a:lnTo>
                  <a:lnTo>
                    <a:pt x="1512" y="192"/>
                  </a:lnTo>
                  <a:lnTo>
                    <a:pt x="1518" y="204"/>
                  </a:lnTo>
                  <a:lnTo>
                    <a:pt x="1530" y="216"/>
                  </a:lnTo>
                  <a:lnTo>
                    <a:pt x="1548" y="228"/>
                  </a:lnTo>
                  <a:lnTo>
                    <a:pt x="1548" y="234"/>
                  </a:lnTo>
                  <a:lnTo>
                    <a:pt x="1542" y="246"/>
                  </a:lnTo>
                  <a:lnTo>
                    <a:pt x="1560" y="246"/>
                  </a:lnTo>
                  <a:lnTo>
                    <a:pt x="1560" y="252"/>
                  </a:lnTo>
                  <a:lnTo>
                    <a:pt x="1566" y="258"/>
                  </a:lnTo>
                  <a:lnTo>
                    <a:pt x="1578" y="270"/>
                  </a:lnTo>
                  <a:lnTo>
                    <a:pt x="1596" y="270"/>
                  </a:lnTo>
                  <a:lnTo>
                    <a:pt x="1602" y="288"/>
                  </a:lnTo>
                  <a:lnTo>
                    <a:pt x="1608" y="306"/>
                  </a:lnTo>
                  <a:lnTo>
                    <a:pt x="1608" y="318"/>
                  </a:lnTo>
                  <a:lnTo>
                    <a:pt x="1608" y="324"/>
                  </a:lnTo>
                  <a:lnTo>
                    <a:pt x="1614" y="330"/>
                  </a:lnTo>
                  <a:lnTo>
                    <a:pt x="1614" y="336"/>
                  </a:lnTo>
                  <a:lnTo>
                    <a:pt x="1614" y="342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08" y="390"/>
                  </a:lnTo>
                  <a:lnTo>
                    <a:pt x="1602" y="390"/>
                  </a:lnTo>
                  <a:lnTo>
                    <a:pt x="1602" y="396"/>
                  </a:lnTo>
                  <a:lnTo>
                    <a:pt x="1584" y="420"/>
                  </a:lnTo>
                  <a:lnTo>
                    <a:pt x="1584" y="426"/>
                  </a:lnTo>
                  <a:lnTo>
                    <a:pt x="1602" y="474"/>
                  </a:lnTo>
                  <a:lnTo>
                    <a:pt x="1608" y="480"/>
                  </a:lnTo>
                  <a:lnTo>
                    <a:pt x="1608" y="486"/>
                  </a:lnTo>
                  <a:lnTo>
                    <a:pt x="1614" y="486"/>
                  </a:lnTo>
                  <a:lnTo>
                    <a:pt x="1608" y="504"/>
                  </a:lnTo>
                  <a:lnTo>
                    <a:pt x="1572" y="504"/>
                  </a:lnTo>
                  <a:lnTo>
                    <a:pt x="1560" y="510"/>
                  </a:lnTo>
                  <a:lnTo>
                    <a:pt x="1554" y="522"/>
                  </a:lnTo>
                  <a:lnTo>
                    <a:pt x="1560" y="552"/>
                  </a:lnTo>
                  <a:lnTo>
                    <a:pt x="1566" y="552"/>
                  </a:lnTo>
                  <a:lnTo>
                    <a:pt x="1566" y="558"/>
                  </a:lnTo>
                  <a:lnTo>
                    <a:pt x="1572" y="558"/>
                  </a:lnTo>
                  <a:lnTo>
                    <a:pt x="1578" y="558"/>
                  </a:lnTo>
                  <a:lnTo>
                    <a:pt x="1578" y="552"/>
                  </a:lnTo>
                  <a:lnTo>
                    <a:pt x="1584" y="552"/>
                  </a:lnTo>
                  <a:lnTo>
                    <a:pt x="1590" y="552"/>
                  </a:lnTo>
                  <a:lnTo>
                    <a:pt x="1590" y="546"/>
                  </a:lnTo>
                  <a:lnTo>
                    <a:pt x="1596" y="546"/>
                  </a:lnTo>
                  <a:lnTo>
                    <a:pt x="1602" y="552"/>
                  </a:lnTo>
                  <a:lnTo>
                    <a:pt x="1602" y="546"/>
                  </a:lnTo>
                  <a:lnTo>
                    <a:pt x="1608" y="546"/>
                  </a:lnTo>
                  <a:lnTo>
                    <a:pt x="1608" y="552"/>
                  </a:lnTo>
                  <a:lnTo>
                    <a:pt x="1614" y="552"/>
                  </a:lnTo>
                  <a:lnTo>
                    <a:pt x="1614" y="546"/>
                  </a:lnTo>
                  <a:lnTo>
                    <a:pt x="1620" y="552"/>
                  </a:lnTo>
                  <a:lnTo>
                    <a:pt x="1626" y="552"/>
                  </a:lnTo>
                  <a:lnTo>
                    <a:pt x="1626" y="558"/>
                  </a:lnTo>
                  <a:lnTo>
                    <a:pt x="1632" y="558"/>
                  </a:lnTo>
                  <a:lnTo>
                    <a:pt x="1638" y="558"/>
                  </a:lnTo>
                  <a:lnTo>
                    <a:pt x="1644" y="558"/>
                  </a:lnTo>
                  <a:lnTo>
                    <a:pt x="1650" y="558"/>
                  </a:lnTo>
                  <a:lnTo>
                    <a:pt x="1650" y="564"/>
                  </a:lnTo>
                  <a:lnTo>
                    <a:pt x="1656" y="564"/>
                  </a:lnTo>
                  <a:lnTo>
                    <a:pt x="1662" y="564"/>
                  </a:lnTo>
                  <a:lnTo>
                    <a:pt x="1668" y="564"/>
                  </a:lnTo>
                  <a:lnTo>
                    <a:pt x="1668" y="570"/>
                  </a:lnTo>
                  <a:lnTo>
                    <a:pt x="1674" y="570"/>
                  </a:lnTo>
                  <a:lnTo>
                    <a:pt x="1680" y="570"/>
                  </a:lnTo>
                  <a:lnTo>
                    <a:pt x="1686" y="576"/>
                  </a:lnTo>
                  <a:lnTo>
                    <a:pt x="1686" y="582"/>
                  </a:lnTo>
                  <a:lnTo>
                    <a:pt x="1710" y="588"/>
                  </a:lnTo>
                  <a:lnTo>
                    <a:pt x="1710" y="594"/>
                  </a:lnTo>
                  <a:lnTo>
                    <a:pt x="1704" y="600"/>
                  </a:lnTo>
                  <a:lnTo>
                    <a:pt x="1710" y="624"/>
                  </a:lnTo>
                  <a:lnTo>
                    <a:pt x="1698" y="672"/>
                  </a:lnTo>
                  <a:lnTo>
                    <a:pt x="1704" y="678"/>
                  </a:lnTo>
                  <a:lnTo>
                    <a:pt x="1716" y="684"/>
                  </a:lnTo>
                  <a:lnTo>
                    <a:pt x="1716" y="678"/>
                  </a:lnTo>
                  <a:lnTo>
                    <a:pt x="1716" y="684"/>
                  </a:lnTo>
                  <a:lnTo>
                    <a:pt x="1728" y="684"/>
                  </a:lnTo>
                  <a:lnTo>
                    <a:pt x="1728" y="690"/>
                  </a:lnTo>
                  <a:lnTo>
                    <a:pt x="1734" y="696"/>
                  </a:lnTo>
                  <a:lnTo>
                    <a:pt x="1734" y="702"/>
                  </a:lnTo>
                  <a:lnTo>
                    <a:pt x="1740" y="708"/>
                  </a:lnTo>
                  <a:lnTo>
                    <a:pt x="1740" y="714"/>
                  </a:lnTo>
                  <a:lnTo>
                    <a:pt x="1710" y="714"/>
                  </a:lnTo>
                  <a:lnTo>
                    <a:pt x="1710" y="756"/>
                  </a:lnTo>
                  <a:lnTo>
                    <a:pt x="1704" y="762"/>
                  </a:lnTo>
                  <a:lnTo>
                    <a:pt x="1698" y="762"/>
                  </a:lnTo>
                  <a:lnTo>
                    <a:pt x="1698" y="768"/>
                  </a:lnTo>
                  <a:lnTo>
                    <a:pt x="1698" y="774"/>
                  </a:lnTo>
                  <a:lnTo>
                    <a:pt x="1692" y="780"/>
                  </a:lnTo>
                  <a:lnTo>
                    <a:pt x="1692" y="786"/>
                  </a:lnTo>
                  <a:lnTo>
                    <a:pt x="1686" y="786"/>
                  </a:lnTo>
                  <a:lnTo>
                    <a:pt x="1668" y="798"/>
                  </a:lnTo>
                  <a:lnTo>
                    <a:pt x="1662" y="810"/>
                  </a:lnTo>
                  <a:lnTo>
                    <a:pt x="1650" y="810"/>
                  </a:lnTo>
                  <a:lnTo>
                    <a:pt x="1644" y="816"/>
                  </a:lnTo>
                  <a:lnTo>
                    <a:pt x="1638" y="816"/>
                  </a:lnTo>
                  <a:lnTo>
                    <a:pt x="1626" y="852"/>
                  </a:lnTo>
                  <a:lnTo>
                    <a:pt x="1620" y="888"/>
                  </a:lnTo>
                  <a:lnTo>
                    <a:pt x="1626" y="888"/>
                  </a:lnTo>
                  <a:lnTo>
                    <a:pt x="1638" y="912"/>
                  </a:lnTo>
                  <a:lnTo>
                    <a:pt x="1644" y="918"/>
                  </a:lnTo>
                  <a:lnTo>
                    <a:pt x="1650" y="966"/>
                  </a:lnTo>
                  <a:lnTo>
                    <a:pt x="1626" y="972"/>
                  </a:lnTo>
                  <a:lnTo>
                    <a:pt x="1608" y="978"/>
                  </a:lnTo>
                  <a:lnTo>
                    <a:pt x="1614" y="984"/>
                  </a:lnTo>
                  <a:lnTo>
                    <a:pt x="1620" y="984"/>
                  </a:lnTo>
                  <a:lnTo>
                    <a:pt x="1620" y="1020"/>
                  </a:lnTo>
                  <a:lnTo>
                    <a:pt x="1614" y="1038"/>
                  </a:lnTo>
                  <a:lnTo>
                    <a:pt x="1620" y="1044"/>
                  </a:lnTo>
                  <a:lnTo>
                    <a:pt x="1626" y="1056"/>
                  </a:lnTo>
                  <a:lnTo>
                    <a:pt x="1626" y="1074"/>
                  </a:lnTo>
                  <a:lnTo>
                    <a:pt x="1620" y="1080"/>
                  </a:lnTo>
                  <a:lnTo>
                    <a:pt x="1620" y="1104"/>
                  </a:lnTo>
                  <a:lnTo>
                    <a:pt x="1620" y="1110"/>
                  </a:lnTo>
                  <a:lnTo>
                    <a:pt x="1614" y="1116"/>
                  </a:lnTo>
                  <a:lnTo>
                    <a:pt x="1608" y="1140"/>
                  </a:lnTo>
                  <a:lnTo>
                    <a:pt x="1602" y="1146"/>
                  </a:lnTo>
                  <a:lnTo>
                    <a:pt x="1602" y="1164"/>
                  </a:lnTo>
                  <a:lnTo>
                    <a:pt x="1596" y="1170"/>
                  </a:lnTo>
                  <a:lnTo>
                    <a:pt x="1590" y="1164"/>
                  </a:lnTo>
                  <a:lnTo>
                    <a:pt x="1584" y="1164"/>
                  </a:lnTo>
                  <a:lnTo>
                    <a:pt x="1578" y="1164"/>
                  </a:lnTo>
                  <a:lnTo>
                    <a:pt x="1578" y="1188"/>
                  </a:lnTo>
                  <a:lnTo>
                    <a:pt x="1584" y="1194"/>
                  </a:lnTo>
                  <a:lnTo>
                    <a:pt x="1590" y="1194"/>
                  </a:lnTo>
                  <a:lnTo>
                    <a:pt x="1590" y="1212"/>
                  </a:lnTo>
                  <a:lnTo>
                    <a:pt x="1584" y="1212"/>
                  </a:lnTo>
                  <a:lnTo>
                    <a:pt x="1584" y="1224"/>
                  </a:lnTo>
                  <a:lnTo>
                    <a:pt x="1578" y="1224"/>
                  </a:lnTo>
                  <a:lnTo>
                    <a:pt x="1578" y="1236"/>
                  </a:lnTo>
                  <a:lnTo>
                    <a:pt x="1584" y="1254"/>
                  </a:lnTo>
                  <a:lnTo>
                    <a:pt x="1584" y="1260"/>
                  </a:lnTo>
                  <a:lnTo>
                    <a:pt x="1590" y="1260"/>
                  </a:lnTo>
                  <a:lnTo>
                    <a:pt x="1590" y="1266"/>
                  </a:lnTo>
                  <a:lnTo>
                    <a:pt x="1596" y="1284"/>
                  </a:lnTo>
                  <a:lnTo>
                    <a:pt x="1602" y="1278"/>
                  </a:lnTo>
                  <a:lnTo>
                    <a:pt x="1608" y="1284"/>
                  </a:lnTo>
                  <a:lnTo>
                    <a:pt x="1632" y="1350"/>
                  </a:lnTo>
                  <a:lnTo>
                    <a:pt x="1638" y="1356"/>
                  </a:lnTo>
                  <a:lnTo>
                    <a:pt x="1644" y="1356"/>
                  </a:lnTo>
                  <a:lnTo>
                    <a:pt x="1650" y="1356"/>
                  </a:lnTo>
                  <a:lnTo>
                    <a:pt x="1656" y="1356"/>
                  </a:lnTo>
                  <a:lnTo>
                    <a:pt x="1662" y="1362"/>
                  </a:lnTo>
                  <a:lnTo>
                    <a:pt x="1668" y="1356"/>
                  </a:lnTo>
                  <a:lnTo>
                    <a:pt x="1668" y="1380"/>
                  </a:lnTo>
                  <a:lnTo>
                    <a:pt x="1662" y="1392"/>
                  </a:lnTo>
                  <a:lnTo>
                    <a:pt x="1656" y="1404"/>
                  </a:lnTo>
                  <a:lnTo>
                    <a:pt x="1656" y="1410"/>
                  </a:lnTo>
                  <a:lnTo>
                    <a:pt x="1656" y="1416"/>
                  </a:lnTo>
                  <a:lnTo>
                    <a:pt x="1650" y="1422"/>
                  </a:lnTo>
                  <a:lnTo>
                    <a:pt x="1650" y="1428"/>
                  </a:lnTo>
                  <a:lnTo>
                    <a:pt x="1644" y="1428"/>
                  </a:lnTo>
                  <a:lnTo>
                    <a:pt x="1644" y="1434"/>
                  </a:lnTo>
                  <a:lnTo>
                    <a:pt x="1638" y="1434"/>
                  </a:lnTo>
                  <a:lnTo>
                    <a:pt x="1638" y="1440"/>
                  </a:lnTo>
                  <a:lnTo>
                    <a:pt x="1632" y="1440"/>
                  </a:lnTo>
                  <a:lnTo>
                    <a:pt x="1638" y="145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8" name="Freeform 13">
              <a:extLst>
                <a:ext uri="{FF2B5EF4-FFF2-40B4-BE49-F238E27FC236}">
                  <a16:creationId xmlns:a16="http://schemas.microsoft.com/office/drawing/2014/main" id="{66308D9B-1739-4227-AAC3-BB866CD1F5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63374" y="2969626"/>
              <a:ext cx="330956" cy="357840"/>
            </a:xfrm>
            <a:custGeom>
              <a:avLst/>
              <a:gdLst>
                <a:gd name="T0" fmla="*/ 11 w 624"/>
                <a:gd name="T1" fmla="*/ 59 h 672"/>
                <a:gd name="T2" fmla="*/ 4 w 624"/>
                <a:gd name="T3" fmla="*/ 58 h 672"/>
                <a:gd name="T4" fmla="*/ 3 w 624"/>
                <a:gd name="T5" fmla="*/ 58 h 672"/>
                <a:gd name="T6" fmla="*/ 2 w 624"/>
                <a:gd name="T7" fmla="*/ 11 h 672"/>
                <a:gd name="T8" fmla="*/ 13 w 624"/>
                <a:gd name="T9" fmla="*/ 11 h 672"/>
                <a:gd name="T10" fmla="*/ 14 w 624"/>
                <a:gd name="T11" fmla="*/ 11 h 672"/>
                <a:gd name="T12" fmla="*/ 15 w 624"/>
                <a:gd name="T13" fmla="*/ 12 h 672"/>
                <a:gd name="T14" fmla="*/ 18 w 624"/>
                <a:gd name="T15" fmla="*/ 14 h 672"/>
                <a:gd name="T16" fmla="*/ 21 w 624"/>
                <a:gd name="T17" fmla="*/ 16 h 672"/>
                <a:gd name="T18" fmla="*/ 22 w 624"/>
                <a:gd name="T19" fmla="*/ 18 h 672"/>
                <a:gd name="T20" fmla="*/ 23 w 624"/>
                <a:gd name="T21" fmla="*/ 19 h 672"/>
                <a:gd name="T22" fmla="*/ 24 w 624"/>
                <a:gd name="T23" fmla="*/ 19 h 672"/>
                <a:gd name="T24" fmla="*/ 26 w 624"/>
                <a:gd name="T25" fmla="*/ 19 h 672"/>
                <a:gd name="T26" fmla="*/ 27 w 624"/>
                <a:gd name="T27" fmla="*/ 18 h 672"/>
                <a:gd name="T28" fmla="*/ 29 w 624"/>
                <a:gd name="T29" fmla="*/ 15 h 672"/>
                <a:gd name="T30" fmla="*/ 30 w 624"/>
                <a:gd name="T31" fmla="*/ 14 h 672"/>
                <a:gd name="T32" fmla="*/ 31 w 624"/>
                <a:gd name="T33" fmla="*/ 12 h 672"/>
                <a:gd name="T34" fmla="*/ 32 w 624"/>
                <a:gd name="T35" fmla="*/ 12 h 672"/>
                <a:gd name="T36" fmla="*/ 33 w 624"/>
                <a:gd name="T37" fmla="*/ 10 h 672"/>
                <a:gd name="T38" fmla="*/ 34 w 624"/>
                <a:gd name="T39" fmla="*/ 8 h 672"/>
                <a:gd name="T40" fmla="*/ 34 w 624"/>
                <a:gd name="T41" fmla="*/ 6 h 672"/>
                <a:gd name="T42" fmla="*/ 35 w 624"/>
                <a:gd name="T43" fmla="*/ 4 h 672"/>
                <a:gd name="T44" fmla="*/ 42 w 624"/>
                <a:gd name="T45" fmla="*/ 3 h 672"/>
                <a:gd name="T46" fmla="*/ 44 w 624"/>
                <a:gd name="T47" fmla="*/ 2 h 672"/>
                <a:gd name="T48" fmla="*/ 46 w 624"/>
                <a:gd name="T49" fmla="*/ 0 h 672"/>
                <a:gd name="T50" fmla="*/ 51 w 624"/>
                <a:gd name="T51" fmla="*/ 3 h 672"/>
                <a:gd name="T52" fmla="*/ 54 w 624"/>
                <a:gd name="T53" fmla="*/ 6 h 672"/>
                <a:gd name="T54" fmla="*/ 54 w 624"/>
                <a:gd name="T55" fmla="*/ 8 h 672"/>
                <a:gd name="T56" fmla="*/ 52 w 624"/>
                <a:gd name="T57" fmla="*/ 9 h 672"/>
                <a:gd name="T58" fmla="*/ 49 w 624"/>
                <a:gd name="T59" fmla="*/ 11 h 672"/>
                <a:gd name="T60" fmla="*/ 48 w 624"/>
                <a:gd name="T61" fmla="*/ 14 h 672"/>
                <a:gd name="T62" fmla="*/ 46 w 624"/>
                <a:gd name="T63" fmla="*/ 22 h 672"/>
                <a:gd name="T64" fmla="*/ 45 w 624"/>
                <a:gd name="T65" fmla="*/ 39 h 672"/>
                <a:gd name="T66" fmla="*/ 43 w 624"/>
                <a:gd name="T67" fmla="*/ 43 h 672"/>
                <a:gd name="T68" fmla="*/ 39 w 624"/>
                <a:gd name="T69" fmla="*/ 50 h 672"/>
                <a:gd name="T70" fmla="*/ 36 w 624"/>
                <a:gd name="T71" fmla="*/ 53 h 672"/>
                <a:gd name="T72" fmla="*/ 32 w 624"/>
                <a:gd name="T73" fmla="*/ 56 h 672"/>
                <a:gd name="T74" fmla="*/ 30 w 624"/>
                <a:gd name="T75" fmla="*/ 58 h 672"/>
                <a:gd name="T76" fmla="*/ 20 w 624"/>
                <a:gd name="T77" fmla="*/ 59 h 672"/>
                <a:gd name="T78" fmla="*/ 15 w 624"/>
                <a:gd name="T79" fmla="*/ 59 h 67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24"/>
                <a:gd name="T121" fmla="*/ 0 h 672"/>
                <a:gd name="T122" fmla="*/ 624 w 624"/>
                <a:gd name="T123" fmla="*/ 672 h 67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24" h="672">
                  <a:moveTo>
                    <a:pt x="168" y="672"/>
                  </a:moveTo>
                  <a:lnTo>
                    <a:pt x="132" y="672"/>
                  </a:lnTo>
                  <a:lnTo>
                    <a:pt x="72" y="666"/>
                  </a:lnTo>
                  <a:lnTo>
                    <a:pt x="42" y="666"/>
                  </a:lnTo>
                  <a:lnTo>
                    <a:pt x="36" y="666"/>
                  </a:lnTo>
                  <a:lnTo>
                    <a:pt x="30" y="660"/>
                  </a:lnTo>
                  <a:lnTo>
                    <a:pt x="0" y="660"/>
                  </a:lnTo>
                  <a:lnTo>
                    <a:pt x="24" y="120"/>
                  </a:lnTo>
                  <a:lnTo>
                    <a:pt x="60" y="120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62" y="120"/>
                  </a:lnTo>
                  <a:lnTo>
                    <a:pt x="168" y="120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10" y="156"/>
                  </a:lnTo>
                  <a:lnTo>
                    <a:pt x="222" y="174"/>
                  </a:lnTo>
                  <a:lnTo>
                    <a:pt x="240" y="186"/>
                  </a:lnTo>
                  <a:lnTo>
                    <a:pt x="252" y="198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216"/>
                  </a:lnTo>
                  <a:lnTo>
                    <a:pt x="270" y="216"/>
                  </a:lnTo>
                  <a:lnTo>
                    <a:pt x="282" y="222"/>
                  </a:lnTo>
                  <a:lnTo>
                    <a:pt x="288" y="222"/>
                  </a:lnTo>
                  <a:lnTo>
                    <a:pt x="294" y="216"/>
                  </a:lnTo>
                  <a:lnTo>
                    <a:pt x="294" y="210"/>
                  </a:lnTo>
                  <a:lnTo>
                    <a:pt x="312" y="204"/>
                  </a:lnTo>
                  <a:lnTo>
                    <a:pt x="330" y="186"/>
                  </a:lnTo>
                  <a:lnTo>
                    <a:pt x="336" y="174"/>
                  </a:lnTo>
                  <a:lnTo>
                    <a:pt x="342" y="162"/>
                  </a:lnTo>
                  <a:lnTo>
                    <a:pt x="342" y="156"/>
                  </a:lnTo>
                  <a:lnTo>
                    <a:pt x="348" y="150"/>
                  </a:lnTo>
                  <a:lnTo>
                    <a:pt x="354" y="144"/>
                  </a:lnTo>
                  <a:lnTo>
                    <a:pt x="360" y="138"/>
                  </a:lnTo>
                  <a:lnTo>
                    <a:pt x="366" y="132"/>
                  </a:lnTo>
                  <a:lnTo>
                    <a:pt x="372" y="114"/>
                  </a:lnTo>
                  <a:lnTo>
                    <a:pt x="378" y="114"/>
                  </a:lnTo>
                  <a:lnTo>
                    <a:pt x="378" y="96"/>
                  </a:lnTo>
                  <a:lnTo>
                    <a:pt x="390" y="96"/>
                  </a:lnTo>
                  <a:lnTo>
                    <a:pt x="396" y="84"/>
                  </a:lnTo>
                  <a:lnTo>
                    <a:pt x="396" y="72"/>
                  </a:lnTo>
                  <a:lnTo>
                    <a:pt x="396" y="54"/>
                  </a:lnTo>
                  <a:lnTo>
                    <a:pt x="408" y="42"/>
                  </a:lnTo>
                  <a:lnTo>
                    <a:pt x="468" y="42"/>
                  </a:lnTo>
                  <a:lnTo>
                    <a:pt x="486" y="36"/>
                  </a:lnTo>
                  <a:lnTo>
                    <a:pt x="492" y="24"/>
                  </a:lnTo>
                  <a:lnTo>
                    <a:pt x="504" y="24"/>
                  </a:lnTo>
                  <a:lnTo>
                    <a:pt x="516" y="6"/>
                  </a:lnTo>
                  <a:lnTo>
                    <a:pt x="528" y="0"/>
                  </a:lnTo>
                  <a:lnTo>
                    <a:pt x="558" y="12"/>
                  </a:lnTo>
                  <a:lnTo>
                    <a:pt x="588" y="36"/>
                  </a:lnTo>
                  <a:lnTo>
                    <a:pt x="600" y="66"/>
                  </a:lnTo>
                  <a:lnTo>
                    <a:pt x="624" y="66"/>
                  </a:lnTo>
                  <a:lnTo>
                    <a:pt x="624" y="90"/>
                  </a:lnTo>
                  <a:lnTo>
                    <a:pt x="618" y="90"/>
                  </a:lnTo>
                  <a:lnTo>
                    <a:pt x="618" y="96"/>
                  </a:lnTo>
                  <a:lnTo>
                    <a:pt x="600" y="102"/>
                  </a:lnTo>
                  <a:lnTo>
                    <a:pt x="588" y="108"/>
                  </a:lnTo>
                  <a:lnTo>
                    <a:pt x="570" y="120"/>
                  </a:lnTo>
                  <a:lnTo>
                    <a:pt x="564" y="138"/>
                  </a:lnTo>
                  <a:lnTo>
                    <a:pt x="558" y="162"/>
                  </a:lnTo>
                  <a:lnTo>
                    <a:pt x="540" y="210"/>
                  </a:lnTo>
                  <a:lnTo>
                    <a:pt x="528" y="252"/>
                  </a:lnTo>
                  <a:lnTo>
                    <a:pt x="528" y="402"/>
                  </a:lnTo>
                  <a:lnTo>
                    <a:pt x="522" y="444"/>
                  </a:lnTo>
                  <a:lnTo>
                    <a:pt x="510" y="468"/>
                  </a:lnTo>
                  <a:lnTo>
                    <a:pt x="498" y="498"/>
                  </a:lnTo>
                  <a:lnTo>
                    <a:pt x="474" y="534"/>
                  </a:lnTo>
                  <a:lnTo>
                    <a:pt x="456" y="570"/>
                  </a:lnTo>
                  <a:lnTo>
                    <a:pt x="444" y="576"/>
                  </a:lnTo>
                  <a:lnTo>
                    <a:pt x="420" y="606"/>
                  </a:lnTo>
                  <a:lnTo>
                    <a:pt x="390" y="624"/>
                  </a:lnTo>
                  <a:lnTo>
                    <a:pt x="372" y="642"/>
                  </a:lnTo>
                  <a:lnTo>
                    <a:pt x="366" y="654"/>
                  </a:lnTo>
                  <a:lnTo>
                    <a:pt x="342" y="660"/>
                  </a:lnTo>
                  <a:lnTo>
                    <a:pt x="300" y="666"/>
                  </a:lnTo>
                  <a:lnTo>
                    <a:pt x="234" y="672"/>
                  </a:lnTo>
                  <a:lnTo>
                    <a:pt x="192" y="672"/>
                  </a:lnTo>
                  <a:lnTo>
                    <a:pt x="168" y="67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9" name="Freeform 14">
              <a:extLst>
                <a:ext uri="{FF2B5EF4-FFF2-40B4-BE49-F238E27FC236}">
                  <a16:creationId xmlns:a16="http://schemas.microsoft.com/office/drawing/2014/main" id="{2EA1E999-9CDF-4391-8BC9-7DE71AF9C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0460" y="2983045"/>
              <a:ext cx="905658" cy="561362"/>
            </a:xfrm>
            <a:custGeom>
              <a:avLst/>
              <a:gdLst>
                <a:gd name="T0" fmla="*/ 31 w 1704"/>
                <a:gd name="T1" fmla="*/ 78 h 1056"/>
                <a:gd name="T2" fmla="*/ 23 w 1704"/>
                <a:gd name="T3" fmla="*/ 78 h 1056"/>
                <a:gd name="T4" fmla="*/ 11 w 1704"/>
                <a:gd name="T5" fmla="*/ 79 h 1056"/>
                <a:gd name="T6" fmla="*/ 1 w 1704"/>
                <a:gd name="T7" fmla="*/ 81 h 1056"/>
                <a:gd name="T8" fmla="*/ 0 w 1704"/>
                <a:gd name="T9" fmla="*/ 62 h 1056"/>
                <a:gd name="T10" fmla="*/ 9 w 1704"/>
                <a:gd name="T11" fmla="*/ 56 h 1056"/>
                <a:gd name="T12" fmla="*/ 27 w 1704"/>
                <a:gd name="T13" fmla="*/ 48 h 1056"/>
                <a:gd name="T14" fmla="*/ 35 w 1704"/>
                <a:gd name="T15" fmla="*/ 20 h 1056"/>
                <a:gd name="T16" fmla="*/ 43 w 1704"/>
                <a:gd name="T17" fmla="*/ 6 h 1056"/>
                <a:gd name="T18" fmla="*/ 47 w 1704"/>
                <a:gd name="T19" fmla="*/ 7 h 1056"/>
                <a:gd name="T20" fmla="*/ 52 w 1704"/>
                <a:gd name="T21" fmla="*/ 0 h 1056"/>
                <a:gd name="T22" fmla="*/ 59 w 1704"/>
                <a:gd name="T23" fmla="*/ 5 h 1056"/>
                <a:gd name="T24" fmla="*/ 63 w 1704"/>
                <a:gd name="T25" fmla="*/ 12 h 1056"/>
                <a:gd name="T26" fmla="*/ 62 w 1704"/>
                <a:gd name="T27" fmla="*/ 15 h 1056"/>
                <a:gd name="T28" fmla="*/ 62 w 1704"/>
                <a:gd name="T29" fmla="*/ 18 h 1056"/>
                <a:gd name="T30" fmla="*/ 70 w 1704"/>
                <a:gd name="T31" fmla="*/ 18 h 1056"/>
                <a:gd name="T32" fmla="*/ 71 w 1704"/>
                <a:gd name="T33" fmla="*/ 14 h 1056"/>
                <a:gd name="T34" fmla="*/ 72 w 1704"/>
                <a:gd name="T35" fmla="*/ 12 h 1056"/>
                <a:gd name="T36" fmla="*/ 78 w 1704"/>
                <a:gd name="T37" fmla="*/ 14 h 1056"/>
                <a:gd name="T38" fmla="*/ 85 w 1704"/>
                <a:gd name="T39" fmla="*/ 21 h 1056"/>
                <a:gd name="T40" fmla="*/ 91 w 1704"/>
                <a:gd name="T41" fmla="*/ 15 h 1056"/>
                <a:gd name="T42" fmla="*/ 93 w 1704"/>
                <a:gd name="T43" fmla="*/ 10 h 1056"/>
                <a:gd name="T44" fmla="*/ 101 w 1704"/>
                <a:gd name="T45" fmla="*/ 14 h 1056"/>
                <a:gd name="T46" fmla="*/ 103 w 1704"/>
                <a:gd name="T47" fmla="*/ 19 h 1056"/>
                <a:gd name="T48" fmla="*/ 115 w 1704"/>
                <a:gd name="T49" fmla="*/ 20 h 1056"/>
                <a:gd name="T50" fmla="*/ 118 w 1704"/>
                <a:gd name="T51" fmla="*/ 23 h 1056"/>
                <a:gd name="T52" fmla="*/ 117 w 1704"/>
                <a:gd name="T53" fmla="*/ 27 h 1056"/>
                <a:gd name="T54" fmla="*/ 111 w 1704"/>
                <a:gd name="T55" fmla="*/ 33 h 1056"/>
                <a:gd name="T56" fmla="*/ 108 w 1704"/>
                <a:gd name="T57" fmla="*/ 36 h 1056"/>
                <a:gd name="T58" fmla="*/ 109 w 1704"/>
                <a:gd name="T59" fmla="*/ 40 h 1056"/>
                <a:gd name="T60" fmla="*/ 111 w 1704"/>
                <a:gd name="T61" fmla="*/ 43 h 1056"/>
                <a:gd name="T62" fmla="*/ 113 w 1704"/>
                <a:gd name="T63" fmla="*/ 50 h 1056"/>
                <a:gd name="T64" fmla="*/ 121 w 1704"/>
                <a:gd name="T65" fmla="*/ 55 h 1056"/>
                <a:gd name="T66" fmla="*/ 132 w 1704"/>
                <a:gd name="T67" fmla="*/ 52 h 1056"/>
                <a:gd name="T68" fmla="*/ 148 w 1704"/>
                <a:gd name="T69" fmla="*/ 58 h 1056"/>
                <a:gd name="T70" fmla="*/ 148 w 1704"/>
                <a:gd name="T71" fmla="*/ 61 h 1056"/>
                <a:gd name="T72" fmla="*/ 148 w 1704"/>
                <a:gd name="T73" fmla="*/ 64 h 1056"/>
                <a:gd name="T74" fmla="*/ 135 w 1704"/>
                <a:gd name="T75" fmla="*/ 61 h 1056"/>
                <a:gd name="T76" fmla="*/ 135 w 1704"/>
                <a:gd name="T77" fmla="*/ 66 h 1056"/>
                <a:gd name="T78" fmla="*/ 137 w 1704"/>
                <a:gd name="T79" fmla="*/ 71 h 1056"/>
                <a:gd name="T80" fmla="*/ 136 w 1704"/>
                <a:gd name="T81" fmla="*/ 79 h 1056"/>
                <a:gd name="T82" fmla="*/ 126 w 1704"/>
                <a:gd name="T83" fmla="*/ 84 h 1056"/>
                <a:gd name="T84" fmla="*/ 121 w 1704"/>
                <a:gd name="T85" fmla="*/ 79 h 1056"/>
                <a:gd name="T86" fmla="*/ 117 w 1704"/>
                <a:gd name="T87" fmla="*/ 75 h 1056"/>
                <a:gd name="T88" fmla="*/ 98 w 1704"/>
                <a:gd name="T89" fmla="*/ 74 h 1056"/>
                <a:gd name="T90" fmla="*/ 81 w 1704"/>
                <a:gd name="T91" fmla="*/ 75 h 1056"/>
                <a:gd name="T92" fmla="*/ 83 w 1704"/>
                <a:gd name="T93" fmla="*/ 88 h 1056"/>
                <a:gd name="T94" fmla="*/ 82 w 1704"/>
                <a:gd name="T95" fmla="*/ 91 h 1056"/>
                <a:gd name="T96" fmla="*/ 77 w 1704"/>
                <a:gd name="T97" fmla="*/ 90 h 1056"/>
                <a:gd name="T98" fmla="*/ 73 w 1704"/>
                <a:gd name="T99" fmla="*/ 86 h 1056"/>
                <a:gd name="T100" fmla="*/ 68 w 1704"/>
                <a:gd name="T101" fmla="*/ 85 h 1056"/>
                <a:gd name="T102" fmla="*/ 64 w 1704"/>
                <a:gd name="T103" fmla="*/ 83 h 1056"/>
                <a:gd name="T104" fmla="*/ 57 w 1704"/>
                <a:gd name="T105" fmla="*/ 81 h 1056"/>
                <a:gd name="T106" fmla="*/ 52 w 1704"/>
                <a:gd name="T107" fmla="*/ 80 h 1056"/>
                <a:gd name="T108" fmla="*/ 50 w 1704"/>
                <a:gd name="T109" fmla="*/ 80 h 1056"/>
                <a:gd name="T110" fmla="*/ 46 w 1704"/>
                <a:gd name="T111" fmla="*/ 79 h 1056"/>
                <a:gd name="T112" fmla="*/ 41 w 1704"/>
                <a:gd name="T113" fmla="*/ 78 h 10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04"/>
                <a:gd name="T172" fmla="*/ 0 h 1056"/>
                <a:gd name="T173" fmla="*/ 1704 w 1704"/>
                <a:gd name="T174" fmla="*/ 1056 h 10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04" h="1056">
                  <a:moveTo>
                    <a:pt x="450" y="888"/>
                  </a:moveTo>
                  <a:lnTo>
                    <a:pt x="420" y="888"/>
                  </a:lnTo>
                  <a:lnTo>
                    <a:pt x="414" y="888"/>
                  </a:lnTo>
                  <a:lnTo>
                    <a:pt x="396" y="888"/>
                  </a:lnTo>
                  <a:lnTo>
                    <a:pt x="372" y="888"/>
                  </a:lnTo>
                  <a:lnTo>
                    <a:pt x="366" y="888"/>
                  </a:lnTo>
                  <a:lnTo>
                    <a:pt x="360" y="888"/>
                  </a:lnTo>
                  <a:lnTo>
                    <a:pt x="348" y="888"/>
                  </a:lnTo>
                  <a:lnTo>
                    <a:pt x="330" y="894"/>
                  </a:lnTo>
                  <a:lnTo>
                    <a:pt x="324" y="894"/>
                  </a:lnTo>
                  <a:lnTo>
                    <a:pt x="312" y="888"/>
                  </a:lnTo>
                  <a:lnTo>
                    <a:pt x="300" y="888"/>
                  </a:lnTo>
                  <a:lnTo>
                    <a:pt x="282" y="888"/>
                  </a:lnTo>
                  <a:lnTo>
                    <a:pt x="270" y="888"/>
                  </a:lnTo>
                  <a:lnTo>
                    <a:pt x="240" y="882"/>
                  </a:lnTo>
                  <a:lnTo>
                    <a:pt x="222" y="882"/>
                  </a:lnTo>
                  <a:lnTo>
                    <a:pt x="198" y="882"/>
                  </a:lnTo>
                  <a:lnTo>
                    <a:pt x="174" y="894"/>
                  </a:lnTo>
                  <a:lnTo>
                    <a:pt x="162" y="900"/>
                  </a:lnTo>
                  <a:lnTo>
                    <a:pt x="144" y="906"/>
                  </a:lnTo>
                  <a:lnTo>
                    <a:pt x="126" y="912"/>
                  </a:lnTo>
                  <a:lnTo>
                    <a:pt x="102" y="924"/>
                  </a:lnTo>
                  <a:lnTo>
                    <a:pt x="78" y="930"/>
                  </a:lnTo>
                  <a:lnTo>
                    <a:pt x="72" y="936"/>
                  </a:lnTo>
                  <a:lnTo>
                    <a:pt x="30" y="954"/>
                  </a:lnTo>
                  <a:lnTo>
                    <a:pt x="12" y="966"/>
                  </a:lnTo>
                  <a:lnTo>
                    <a:pt x="12" y="954"/>
                  </a:lnTo>
                  <a:lnTo>
                    <a:pt x="12" y="930"/>
                  </a:lnTo>
                  <a:lnTo>
                    <a:pt x="12" y="894"/>
                  </a:lnTo>
                  <a:lnTo>
                    <a:pt x="30" y="828"/>
                  </a:lnTo>
                  <a:lnTo>
                    <a:pt x="36" y="798"/>
                  </a:lnTo>
                  <a:lnTo>
                    <a:pt x="18" y="774"/>
                  </a:lnTo>
                  <a:lnTo>
                    <a:pt x="18" y="756"/>
                  </a:lnTo>
                  <a:lnTo>
                    <a:pt x="6" y="738"/>
                  </a:lnTo>
                  <a:lnTo>
                    <a:pt x="0" y="714"/>
                  </a:lnTo>
                  <a:lnTo>
                    <a:pt x="12" y="678"/>
                  </a:lnTo>
                  <a:lnTo>
                    <a:pt x="18" y="678"/>
                  </a:lnTo>
                  <a:lnTo>
                    <a:pt x="24" y="672"/>
                  </a:lnTo>
                  <a:lnTo>
                    <a:pt x="30" y="666"/>
                  </a:lnTo>
                  <a:lnTo>
                    <a:pt x="42" y="648"/>
                  </a:lnTo>
                  <a:lnTo>
                    <a:pt x="66" y="648"/>
                  </a:lnTo>
                  <a:lnTo>
                    <a:pt x="108" y="648"/>
                  </a:lnTo>
                  <a:lnTo>
                    <a:pt x="174" y="642"/>
                  </a:lnTo>
                  <a:lnTo>
                    <a:pt x="216" y="636"/>
                  </a:lnTo>
                  <a:lnTo>
                    <a:pt x="240" y="630"/>
                  </a:lnTo>
                  <a:lnTo>
                    <a:pt x="246" y="618"/>
                  </a:lnTo>
                  <a:lnTo>
                    <a:pt x="264" y="600"/>
                  </a:lnTo>
                  <a:lnTo>
                    <a:pt x="294" y="582"/>
                  </a:lnTo>
                  <a:lnTo>
                    <a:pt x="318" y="552"/>
                  </a:lnTo>
                  <a:lnTo>
                    <a:pt x="330" y="546"/>
                  </a:lnTo>
                  <a:lnTo>
                    <a:pt x="348" y="510"/>
                  </a:lnTo>
                  <a:lnTo>
                    <a:pt x="372" y="474"/>
                  </a:lnTo>
                  <a:lnTo>
                    <a:pt x="384" y="444"/>
                  </a:lnTo>
                  <a:lnTo>
                    <a:pt x="396" y="420"/>
                  </a:lnTo>
                  <a:lnTo>
                    <a:pt x="402" y="378"/>
                  </a:lnTo>
                  <a:lnTo>
                    <a:pt x="402" y="228"/>
                  </a:lnTo>
                  <a:lnTo>
                    <a:pt x="414" y="186"/>
                  </a:lnTo>
                  <a:lnTo>
                    <a:pt x="432" y="138"/>
                  </a:lnTo>
                  <a:lnTo>
                    <a:pt x="438" y="114"/>
                  </a:lnTo>
                  <a:lnTo>
                    <a:pt x="444" y="96"/>
                  </a:lnTo>
                  <a:lnTo>
                    <a:pt x="462" y="84"/>
                  </a:lnTo>
                  <a:lnTo>
                    <a:pt x="474" y="78"/>
                  </a:lnTo>
                  <a:lnTo>
                    <a:pt x="492" y="72"/>
                  </a:lnTo>
                  <a:lnTo>
                    <a:pt x="492" y="66"/>
                  </a:lnTo>
                  <a:lnTo>
                    <a:pt x="498" y="66"/>
                  </a:lnTo>
                  <a:lnTo>
                    <a:pt x="510" y="66"/>
                  </a:lnTo>
                  <a:lnTo>
                    <a:pt x="510" y="72"/>
                  </a:lnTo>
                  <a:lnTo>
                    <a:pt x="516" y="72"/>
                  </a:lnTo>
                  <a:lnTo>
                    <a:pt x="522" y="78"/>
                  </a:lnTo>
                  <a:lnTo>
                    <a:pt x="546" y="78"/>
                  </a:lnTo>
                  <a:lnTo>
                    <a:pt x="552" y="60"/>
                  </a:lnTo>
                  <a:lnTo>
                    <a:pt x="570" y="42"/>
                  </a:lnTo>
                  <a:lnTo>
                    <a:pt x="576" y="24"/>
                  </a:lnTo>
                  <a:lnTo>
                    <a:pt x="588" y="18"/>
                  </a:lnTo>
                  <a:lnTo>
                    <a:pt x="588" y="12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624" y="0"/>
                  </a:lnTo>
                  <a:lnTo>
                    <a:pt x="636" y="6"/>
                  </a:lnTo>
                  <a:lnTo>
                    <a:pt x="648" y="24"/>
                  </a:lnTo>
                  <a:lnTo>
                    <a:pt x="654" y="48"/>
                  </a:lnTo>
                  <a:lnTo>
                    <a:pt x="672" y="60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0" y="72"/>
                  </a:lnTo>
                  <a:lnTo>
                    <a:pt x="690" y="78"/>
                  </a:lnTo>
                  <a:lnTo>
                    <a:pt x="696" y="90"/>
                  </a:lnTo>
                  <a:lnTo>
                    <a:pt x="714" y="114"/>
                  </a:lnTo>
                  <a:lnTo>
                    <a:pt x="714" y="120"/>
                  </a:lnTo>
                  <a:lnTo>
                    <a:pt x="720" y="132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20" y="150"/>
                  </a:lnTo>
                  <a:lnTo>
                    <a:pt x="714" y="150"/>
                  </a:lnTo>
                  <a:lnTo>
                    <a:pt x="714" y="156"/>
                  </a:lnTo>
                  <a:lnTo>
                    <a:pt x="714" y="162"/>
                  </a:lnTo>
                  <a:lnTo>
                    <a:pt x="708" y="162"/>
                  </a:lnTo>
                  <a:lnTo>
                    <a:pt x="708" y="168"/>
                  </a:lnTo>
                  <a:lnTo>
                    <a:pt x="702" y="168"/>
                  </a:lnTo>
                  <a:lnTo>
                    <a:pt x="702" y="174"/>
                  </a:lnTo>
                  <a:lnTo>
                    <a:pt x="702" y="180"/>
                  </a:lnTo>
                  <a:lnTo>
                    <a:pt x="708" y="180"/>
                  </a:lnTo>
                  <a:lnTo>
                    <a:pt x="708" y="186"/>
                  </a:lnTo>
                  <a:lnTo>
                    <a:pt x="708" y="192"/>
                  </a:lnTo>
                  <a:lnTo>
                    <a:pt x="714" y="204"/>
                  </a:lnTo>
                  <a:lnTo>
                    <a:pt x="726" y="216"/>
                  </a:lnTo>
                  <a:lnTo>
                    <a:pt x="738" y="216"/>
                  </a:lnTo>
                  <a:lnTo>
                    <a:pt x="768" y="222"/>
                  </a:lnTo>
                  <a:lnTo>
                    <a:pt x="780" y="216"/>
                  </a:lnTo>
                  <a:lnTo>
                    <a:pt x="792" y="204"/>
                  </a:lnTo>
                  <a:lnTo>
                    <a:pt x="798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6" y="192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6" y="174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22" y="156"/>
                  </a:lnTo>
                  <a:lnTo>
                    <a:pt x="822" y="150"/>
                  </a:lnTo>
                  <a:lnTo>
                    <a:pt x="828" y="144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8" y="138"/>
                  </a:lnTo>
                  <a:lnTo>
                    <a:pt x="834" y="132"/>
                  </a:lnTo>
                  <a:lnTo>
                    <a:pt x="840" y="132"/>
                  </a:lnTo>
                  <a:lnTo>
                    <a:pt x="864" y="126"/>
                  </a:lnTo>
                  <a:lnTo>
                    <a:pt x="906" y="144"/>
                  </a:lnTo>
                  <a:lnTo>
                    <a:pt x="906" y="150"/>
                  </a:lnTo>
                  <a:lnTo>
                    <a:pt x="906" y="156"/>
                  </a:lnTo>
                  <a:lnTo>
                    <a:pt x="900" y="162"/>
                  </a:lnTo>
                  <a:lnTo>
                    <a:pt x="924" y="168"/>
                  </a:lnTo>
                  <a:lnTo>
                    <a:pt x="942" y="192"/>
                  </a:lnTo>
                  <a:lnTo>
                    <a:pt x="972" y="210"/>
                  </a:lnTo>
                  <a:lnTo>
                    <a:pt x="972" y="216"/>
                  </a:lnTo>
                  <a:lnTo>
                    <a:pt x="972" y="228"/>
                  </a:lnTo>
                  <a:lnTo>
                    <a:pt x="978" y="234"/>
                  </a:lnTo>
                  <a:lnTo>
                    <a:pt x="978" y="246"/>
                  </a:lnTo>
                  <a:lnTo>
                    <a:pt x="984" y="252"/>
                  </a:lnTo>
                  <a:lnTo>
                    <a:pt x="1014" y="252"/>
                  </a:lnTo>
                  <a:lnTo>
                    <a:pt x="1020" y="228"/>
                  </a:lnTo>
                  <a:lnTo>
                    <a:pt x="1026" y="198"/>
                  </a:lnTo>
                  <a:lnTo>
                    <a:pt x="1050" y="186"/>
                  </a:lnTo>
                  <a:lnTo>
                    <a:pt x="1056" y="180"/>
                  </a:lnTo>
                  <a:lnTo>
                    <a:pt x="1050" y="174"/>
                  </a:lnTo>
                  <a:lnTo>
                    <a:pt x="1050" y="168"/>
                  </a:lnTo>
                  <a:lnTo>
                    <a:pt x="1050" y="162"/>
                  </a:lnTo>
                  <a:lnTo>
                    <a:pt x="1056" y="162"/>
                  </a:lnTo>
                  <a:lnTo>
                    <a:pt x="1062" y="162"/>
                  </a:lnTo>
                  <a:lnTo>
                    <a:pt x="1074" y="162"/>
                  </a:lnTo>
                  <a:lnTo>
                    <a:pt x="1074" y="144"/>
                  </a:lnTo>
                  <a:lnTo>
                    <a:pt x="1074" y="120"/>
                  </a:lnTo>
                  <a:lnTo>
                    <a:pt x="1092" y="120"/>
                  </a:lnTo>
                  <a:lnTo>
                    <a:pt x="1098" y="126"/>
                  </a:lnTo>
                  <a:lnTo>
                    <a:pt x="1134" y="132"/>
                  </a:lnTo>
                  <a:lnTo>
                    <a:pt x="1146" y="132"/>
                  </a:lnTo>
                  <a:lnTo>
                    <a:pt x="1158" y="150"/>
                  </a:lnTo>
                  <a:lnTo>
                    <a:pt x="1158" y="156"/>
                  </a:lnTo>
                  <a:lnTo>
                    <a:pt x="1158" y="162"/>
                  </a:lnTo>
                  <a:lnTo>
                    <a:pt x="1158" y="180"/>
                  </a:lnTo>
                  <a:lnTo>
                    <a:pt x="1158" y="186"/>
                  </a:lnTo>
                  <a:lnTo>
                    <a:pt x="1164" y="192"/>
                  </a:lnTo>
                  <a:lnTo>
                    <a:pt x="1176" y="198"/>
                  </a:lnTo>
                  <a:lnTo>
                    <a:pt x="1182" y="198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8"/>
                  </a:lnTo>
                  <a:lnTo>
                    <a:pt x="1188" y="234"/>
                  </a:lnTo>
                  <a:lnTo>
                    <a:pt x="1212" y="234"/>
                  </a:lnTo>
                  <a:lnTo>
                    <a:pt x="1242" y="234"/>
                  </a:lnTo>
                  <a:lnTo>
                    <a:pt x="1248" y="234"/>
                  </a:lnTo>
                  <a:lnTo>
                    <a:pt x="1278" y="240"/>
                  </a:lnTo>
                  <a:lnTo>
                    <a:pt x="1320" y="234"/>
                  </a:lnTo>
                  <a:lnTo>
                    <a:pt x="1332" y="228"/>
                  </a:lnTo>
                  <a:lnTo>
                    <a:pt x="1344" y="228"/>
                  </a:lnTo>
                  <a:lnTo>
                    <a:pt x="1350" y="234"/>
                  </a:lnTo>
                  <a:lnTo>
                    <a:pt x="1350" y="240"/>
                  </a:lnTo>
                  <a:lnTo>
                    <a:pt x="1356" y="246"/>
                  </a:lnTo>
                  <a:lnTo>
                    <a:pt x="1350" y="252"/>
                  </a:lnTo>
                  <a:lnTo>
                    <a:pt x="1356" y="264"/>
                  </a:lnTo>
                  <a:lnTo>
                    <a:pt x="1356" y="270"/>
                  </a:lnTo>
                  <a:lnTo>
                    <a:pt x="1356" y="276"/>
                  </a:lnTo>
                  <a:lnTo>
                    <a:pt x="1356" y="282"/>
                  </a:lnTo>
                  <a:lnTo>
                    <a:pt x="1356" y="288"/>
                  </a:lnTo>
                  <a:lnTo>
                    <a:pt x="1350" y="294"/>
                  </a:lnTo>
                  <a:lnTo>
                    <a:pt x="1344" y="300"/>
                  </a:lnTo>
                  <a:lnTo>
                    <a:pt x="1344" y="306"/>
                  </a:lnTo>
                  <a:lnTo>
                    <a:pt x="1338" y="312"/>
                  </a:lnTo>
                  <a:lnTo>
                    <a:pt x="1326" y="342"/>
                  </a:lnTo>
                  <a:lnTo>
                    <a:pt x="1320" y="348"/>
                  </a:lnTo>
                  <a:lnTo>
                    <a:pt x="1314" y="354"/>
                  </a:lnTo>
                  <a:lnTo>
                    <a:pt x="1290" y="354"/>
                  </a:lnTo>
                  <a:lnTo>
                    <a:pt x="1284" y="360"/>
                  </a:lnTo>
                  <a:lnTo>
                    <a:pt x="1278" y="378"/>
                  </a:lnTo>
                  <a:lnTo>
                    <a:pt x="1278" y="384"/>
                  </a:lnTo>
                  <a:lnTo>
                    <a:pt x="1272" y="390"/>
                  </a:lnTo>
                  <a:lnTo>
                    <a:pt x="1266" y="396"/>
                  </a:lnTo>
                  <a:lnTo>
                    <a:pt x="1260" y="396"/>
                  </a:lnTo>
                  <a:lnTo>
                    <a:pt x="1248" y="402"/>
                  </a:lnTo>
                  <a:lnTo>
                    <a:pt x="1242" y="408"/>
                  </a:lnTo>
                  <a:lnTo>
                    <a:pt x="1242" y="414"/>
                  </a:lnTo>
                  <a:lnTo>
                    <a:pt x="1242" y="420"/>
                  </a:lnTo>
                  <a:lnTo>
                    <a:pt x="1236" y="432"/>
                  </a:lnTo>
                  <a:lnTo>
                    <a:pt x="1242" y="432"/>
                  </a:lnTo>
                  <a:lnTo>
                    <a:pt x="1242" y="444"/>
                  </a:lnTo>
                  <a:lnTo>
                    <a:pt x="1242" y="456"/>
                  </a:lnTo>
                  <a:lnTo>
                    <a:pt x="1248" y="456"/>
                  </a:lnTo>
                  <a:lnTo>
                    <a:pt x="1254" y="462"/>
                  </a:lnTo>
                  <a:lnTo>
                    <a:pt x="1248" y="468"/>
                  </a:lnTo>
                  <a:lnTo>
                    <a:pt x="1254" y="468"/>
                  </a:lnTo>
                  <a:lnTo>
                    <a:pt x="1266" y="474"/>
                  </a:lnTo>
                  <a:lnTo>
                    <a:pt x="1266" y="480"/>
                  </a:lnTo>
                  <a:lnTo>
                    <a:pt x="1266" y="486"/>
                  </a:lnTo>
                  <a:lnTo>
                    <a:pt x="1272" y="486"/>
                  </a:lnTo>
                  <a:lnTo>
                    <a:pt x="1272" y="492"/>
                  </a:lnTo>
                  <a:lnTo>
                    <a:pt x="1290" y="510"/>
                  </a:lnTo>
                  <a:lnTo>
                    <a:pt x="1296" y="516"/>
                  </a:lnTo>
                  <a:lnTo>
                    <a:pt x="1302" y="540"/>
                  </a:lnTo>
                  <a:lnTo>
                    <a:pt x="1302" y="546"/>
                  </a:lnTo>
                  <a:lnTo>
                    <a:pt x="1302" y="558"/>
                  </a:lnTo>
                  <a:lnTo>
                    <a:pt x="1302" y="570"/>
                  </a:lnTo>
                  <a:lnTo>
                    <a:pt x="1302" y="576"/>
                  </a:lnTo>
                  <a:lnTo>
                    <a:pt x="1344" y="570"/>
                  </a:lnTo>
                  <a:lnTo>
                    <a:pt x="1350" y="582"/>
                  </a:lnTo>
                  <a:lnTo>
                    <a:pt x="1368" y="594"/>
                  </a:lnTo>
                  <a:lnTo>
                    <a:pt x="1374" y="600"/>
                  </a:lnTo>
                  <a:lnTo>
                    <a:pt x="1380" y="600"/>
                  </a:lnTo>
                  <a:lnTo>
                    <a:pt x="1380" y="618"/>
                  </a:lnTo>
                  <a:lnTo>
                    <a:pt x="1386" y="624"/>
                  </a:lnTo>
                  <a:lnTo>
                    <a:pt x="1404" y="624"/>
                  </a:lnTo>
                  <a:lnTo>
                    <a:pt x="1410" y="612"/>
                  </a:lnTo>
                  <a:lnTo>
                    <a:pt x="1428" y="606"/>
                  </a:lnTo>
                  <a:lnTo>
                    <a:pt x="1488" y="606"/>
                  </a:lnTo>
                  <a:lnTo>
                    <a:pt x="1506" y="606"/>
                  </a:lnTo>
                  <a:lnTo>
                    <a:pt x="1512" y="600"/>
                  </a:lnTo>
                  <a:lnTo>
                    <a:pt x="1524" y="594"/>
                  </a:lnTo>
                  <a:lnTo>
                    <a:pt x="1554" y="594"/>
                  </a:lnTo>
                  <a:lnTo>
                    <a:pt x="1578" y="606"/>
                  </a:lnTo>
                  <a:lnTo>
                    <a:pt x="1596" y="624"/>
                  </a:lnTo>
                  <a:lnTo>
                    <a:pt x="1650" y="642"/>
                  </a:lnTo>
                  <a:lnTo>
                    <a:pt x="1686" y="648"/>
                  </a:lnTo>
                  <a:lnTo>
                    <a:pt x="1698" y="654"/>
                  </a:lnTo>
                  <a:lnTo>
                    <a:pt x="1698" y="660"/>
                  </a:lnTo>
                  <a:lnTo>
                    <a:pt x="1692" y="666"/>
                  </a:lnTo>
                  <a:lnTo>
                    <a:pt x="1692" y="672"/>
                  </a:lnTo>
                  <a:lnTo>
                    <a:pt x="1698" y="678"/>
                  </a:lnTo>
                  <a:lnTo>
                    <a:pt x="1698" y="684"/>
                  </a:lnTo>
                  <a:lnTo>
                    <a:pt x="1692" y="684"/>
                  </a:lnTo>
                  <a:lnTo>
                    <a:pt x="1692" y="690"/>
                  </a:lnTo>
                  <a:lnTo>
                    <a:pt x="1698" y="696"/>
                  </a:lnTo>
                  <a:lnTo>
                    <a:pt x="1698" y="702"/>
                  </a:lnTo>
                  <a:lnTo>
                    <a:pt x="1698" y="708"/>
                  </a:lnTo>
                  <a:lnTo>
                    <a:pt x="1704" y="714"/>
                  </a:lnTo>
                  <a:lnTo>
                    <a:pt x="1704" y="720"/>
                  </a:lnTo>
                  <a:lnTo>
                    <a:pt x="1704" y="726"/>
                  </a:lnTo>
                  <a:lnTo>
                    <a:pt x="1704" y="732"/>
                  </a:lnTo>
                  <a:lnTo>
                    <a:pt x="1704" y="738"/>
                  </a:lnTo>
                  <a:lnTo>
                    <a:pt x="1698" y="726"/>
                  </a:lnTo>
                  <a:lnTo>
                    <a:pt x="1668" y="720"/>
                  </a:lnTo>
                  <a:lnTo>
                    <a:pt x="1626" y="714"/>
                  </a:lnTo>
                  <a:lnTo>
                    <a:pt x="1614" y="708"/>
                  </a:lnTo>
                  <a:lnTo>
                    <a:pt x="1578" y="696"/>
                  </a:lnTo>
                  <a:lnTo>
                    <a:pt x="1566" y="696"/>
                  </a:lnTo>
                  <a:lnTo>
                    <a:pt x="1548" y="702"/>
                  </a:lnTo>
                  <a:lnTo>
                    <a:pt x="1542" y="714"/>
                  </a:lnTo>
                  <a:lnTo>
                    <a:pt x="1536" y="732"/>
                  </a:lnTo>
                  <a:lnTo>
                    <a:pt x="1530" y="750"/>
                  </a:lnTo>
                  <a:lnTo>
                    <a:pt x="1536" y="750"/>
                  </a:lnTo>
                  <a:lnTo>
                    <a:pt x="1542" y="756"/>
                  </a:lnTo>
                  <a:lnTo>
                    <a:pt x="1542" y="762"/>
                  </a:lnTo>
                  <a:lnTo>
                    <a:pt x="1548" y="762"/>
                  </a:lnTo>
                  <a:lnTo>
                    <a:pt x="1554" y="762"/>
                  </a:lnTo>
                  <a:lnTo>
                    <a:pt x="1554" y="768"/>
                  </a:lnTo>
                  <a:lnTo>
                    <a:pt x="1560" y="774"/>
                  </a:lnTo>
                  <a:lnTo>
                    <a:pt x="1566" y="774"/>
                  </a:lnTo>
                  <a:lnTo>
                    <a:pt x="1584" y="792"/>
                  </a:lnTo>
                  <a:lnTo>
                    <a:pt x="1584" y="810"/>
                  </a:lnTo>
                  <a:lnTo>
                    <a:pt x="1572" y="816"/>
                  </a:lnTo>
                  <a:lnTo>
                    <a:pt x="1578" y="834"/>
                  </a:lnTo>
                  <a:lnTo>
                    <a:pt x="1578" y="846"/>
                  </a:lnTo>
                  <a:lnTo>
                    <a:pt x="1584" y="858"/>
                  </a:lnTo>
                  <a:lnTo>
                    <a:pt x="1590" y="864"/>
                  </a:lnTo>
                  <a:lnTo>
                    <a:pt x="1590" y="876"/>
                  </a:lnTo>
                  <a:lnTo>
                    <a:pt x="1578" y="888"/>
                  </a:lnTo>
                  <a:lnTo>
                    <a:pt x="1560" y="906"/>
                  </a:lnTo>
                  <a:lnTo>
                    <a:pt x="1536" y="930"/>
                  </a:lnTo>
                  <a:lnTo>
                    <a:pt x="1530" y="930"/>
                  </a:lnTo>
                  <a:lnTo>
                    <a:pt x="1506" y="942"/>
                  </a:lnTo>
                  <a:lnTo>
                    <a:pt x="1488" y="948"/>
                  </a:lnTo>
                  <a:lnTo>
                    <a:pt x="1476" y="954"/>
                  </a:lnTo>
                  <a:lnTo>
                    <a:pt x="1458" y="960"/>
                  </a:lnTo>
                  <a:lnTo>
                    <a:pt x="1452" y="966"/>
                  </a:lnTo>
                  <a:lnTo>
                    <a:pt x="1446" y="966"/>
                  </a:lnTo>
                  <a:lnTo>
                    <a:pt x="1434" y="972"/>
                  </a:lnTo>
                  <a:lnTo>
                    <a:pt x="1434" y="954"/>
                  </a:lnTo>
                  <a:lnTo>
                    <a:pt x="1422" y="942"/>
                  </a:lnTo>
                  <a:lnTo>
                    <a:pt x="1398" y="924"/>
                  </a:lnTo>
                  <a:lnTo>
                    <a:pt x="1398" y="912"/>
                  </a:lnTo>
                  <a:lnTo>
                    <a:pt x="1398" y="906"/>
                  </a:lnTo>
                  <a:lnTo>
                    <a:pt x="1398" y="900"/>
                  </a:lnTo>
                  <a:lnTo>
                    <a:pt x="1380" y="900"/>
                  </a:lnTo>
                  <a:lnTo>
                    <a:pt x="1380" y="894"/>
                  </a:lnTo>
                  <a:lnTo>
                    <a:pt x="1368" y="888"/>
                  </a:lnTo>
                  <a:lnTo>
                    <a:pt x="1362" y="882"/>
                  </a:lnTo>
                  <a:lnTo>
                    <a:pt x="1356" y="876"/>
                  </a:lnTo>
                  <a:lnTo>
                    <a:pt x="1350" y="864"/>
                  </a:lnTo>
                  <a:lnTo>
                    <a:pt x="1344" y="858"/>
                  </a:lnTo>
                  <a:lnTo>
                    <a:pt x="1314" y="870"/>
                  </a:lnTo>
                  <a:lnTo>
                    <a:pt x="1272" y="876"/>
                  </a:lnTo>
                  <a:lnTo>
                    <a:pt x="1218" y="870"/>
                  </a:lnTo>
                  <a:lnTo>
                    <a:pt x="1200" y="864"/>
                  </a:lnTo>
                  <a:lnTo>
                    <a:pt x="1182" y="864"/>
                  </a:lnTo>
                  <a:lnTo>
                    <a:pt x="1134" y="858"/>
                  </a:lnTo>
                  <a:lnTo>
                    <a:pt x="1110" y="840"/>
                  </a:lnTo>
                  <a:lnTo>
                    <a:pt x="1086" y="828"/>
                  </a:lnTo>
                  <a:lnTo>
                    <a:pt x="1044" y="816"/>
                  </a:lnTo>
                  <a:lnTo>
                    <a:pt x="1014" y="816"/>
                  </a:lnTo>
                  <a:lnTo>
                    <a:pt x="990" y="822"/>
                  </a:lnTo>
                  <a:lnTo>
                    <a:pt x="948" y="858"/>
                  </a:lnTo>
                  <a:lnTo>
                    <a:pt x="930" y="864"/>
                  </a:lnTo>
                  <a:lnTo>
                    <a:pt x="924" y="876"/>
                  </a:lnTo>
                  <a:lnTo>
                    <a:pt x="918" y="906"/>
                  </a:lnTo>
                  <a:lnTo>
                    <a:pt x="924" y="930"/>
                  </a:lnTo>
                  <a:lnTo>
                    <a:pt x="948" y="984"/>
                  </a:lnTo>
                  <a:lnTo>
                    <a:pt x="954" y="1008"/>
                  </a:lnTo>
                  <a:lnTo>
                    <a:pt x="948" y="1014"/>
                  </a:lnTo>
                  <a:lnTo>
                    <a:pt x="954" y="1014"/>
                  </a:lnTo>
                  <a:lnTo>
                    <a:pt x="954" y="1032"/>
                  </a:lnTo>
                  <a:lnTo>
                    <a:pt x="966" y="1044"/>
                  </a:lnTo>
                  <a:lnTo>
                    <a:pt x="960" y="1056"/>
                  </a:lnTo>
                  <a:lnTo>
                    <a:pt x="954" y="1056"/>
                  </a:lnTo>
                  <a:lnTo>
                    <a:pt x="948" y="1056"/>
                  </a:lnTo>
                  <a:lnTo>
                    <a:pt x="942" y="1056"/>
                  </a:lnTo>
                  <a:lnTo>
                    <a:pt x="936" y="1050"/>
                  </a:lnTo>
                  <a:lnTo>
                    <a:pt x="930" y="1044"/>
                  </a:lnTo>
                  <a:lnTo>
                    <a:pt x="924" y="1044"/>
                  </a:lnTo>
                  <a:lnTo>
                    <a:pt x="918" y="1038"/>
                  </a:lnTo>
                  <a:lnTo>
                    <a:pt x="912" y="1038"/>
                  </a:lnTo>
                  <a:lnTo>
                    <a:pt x="906" y="1032"/>
                  </a:lnTo>
                  <a:lnTo>
                    <a:pt x="900" y="1032"/>
                  </a:lnTo>
                  <a:lnTo>
                    <a:pt x="888" y="1026"/>
                  </a:lnTo>
                  <a:lnTo>
                    <a:pt x="882" y="1026"/>
                  </a:lnTo>
                  <a:lnTo>
                    <a:pt x="876" y="1026"/>
                  </a:lnTo>
                  <a:lnTo>
                    <a:pt x="864" y="1014"/>
                  </a:lnTo>
                  <a:lnTo>
                    <a:pt x="846" y="1008"/>
                  </a:lnTo>
                  <a:lnTo>
                    <a:pt x="840" y="996"/>
                  </a:lnTo>
                  <a:lnTo>
                    <a:pt x="840" y="990"/>
                  </a:lnTo>
                  <a:lnTo>
                    <a:pt x="834" y="990"/>
                  </a:lnTo>
                  <a:lnTo>
                    <a:pt x="828" y="990"/>
                  </a:lnTo>
                  <a:lnTo>
                    <a:pt x="816" y="990"/>
                  </a:lnTo>
                  <a:lnTo>
                    <a:pt x="810" y="990"/>
                  </a:lnTo>
                  <a:lnTo>
                    <a:pt x="804" y="984"/>
                  </a:lnTo>
                  <a:lnTo>
                    <a:pt x="792" y="978"/>
                  </a:lnTo>
                  <a:lnTo>
                    <a:pt x="786" y="972"/>
                  </a:lnTo>
                  <a:lnTo>
                    <a:pt x="780" y="972"/>
                  </a:lnTo>
                  <a:lnTo>
                    <a:pt x="768" y="966"/>
                  </a:lnTo>
                  <a:lnTo>
                    <a:pt x="762" y="966"/>
                  </a:lnTo>
                  <a:lnTo>
                    <a:pt x="756" y="966"/>
                  </a:lnTo>
                  <a:lnTo>
                    <a:pt x="750" y="966"/>
                  </a:lnTo>
                  <a:lnTo>
                    <a:pt x="744" y="966"/>
                  </a:lnTo>
                  <a:lnTo>
                    <a:pt x="738" y="960"/>
                  </a:lnTo>
                  <a:lnTo>
                    <a:pt x="732" y="954"/>
                  </a:lnTo>
                  <a:lnTo>
                    <a:pt x="720" y="954"/>
                  </a:lnTo>
                  <a:lnTo>
                    <a:pt x="714" y="948"/>
                  </a:lnTo>
                  <a:lnTo>
                    <a:pt x="708" y="948"/>
                  </a:lnTo>
                  <a:lnTo>
                    <a:pt x="696" y="948"/>
                  </a:lnTo>
                  <a:lnTo>
                    <a:pt x="684" y="942"/>
                  </a:lnTo>
                  <a:lnTo>
                    <a:pt x="678" y="936"/>
                  </a:lnTo>
                  <a:lnTo>
                    <a:pt x="660" y="930"/>
                  </a:lnTo>
                  <a:lnTo>
                    <a:pt x="642" y="924"/>
                  </a:lnTo>
                  <a:lnTo>
                    <a:pt x="636" y="924"/>
                  </a:lnTo>
                  <a:lnTo>
                    <a:pt x="630" y="924"/>
                  </a:lnTo>
                  <a:lnTo>
                    <a:pt x="618" y="924"/>
                  </a:lnTo>
                  <a:lnTo>
                    <a:pt x="618" y="918"/>
                  </a:lnTo>
                  <a:lnTo>
                    <a:pt x="606" y="918"/>
                  </a:lnTo>
                  <a:lnTo>
                    <a:pt x="600" y="918"/>
                  </a:lnTo>
                  <a:lnTo>
                    <a:pt x="594" y="918"/>
                  </a:lnTo>
                  <a:lnTo>
                    <a:pt x="594" y="912"/>
                  </a:lnTo>
                  <a:lnTo>
                    <a:pt x="588" y="912"/>
                  </a:lnTo>
                  <a:lnTo>
                    <a:pt x="582" y="912"/>
                  </a:lnTo>
                  <a:lnTo>
                    <a:pt x="582" y="918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58" y="918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12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00"/>
                  </a:lnTo>
                  <a:lnTo>
                    <a:pt x="516" y="900"/>
                  </a:lnTo>
                  <a:lnTo>
                    <a:pt x="510" y="900"/>
                  </a:lnTo>
                  <a:lnTo>
                    <a:pt x="486" y="894"/>
                  </a:lnTo>
                  <a:lnTo>
                    <a:pt x="474" y="888"/>
                  </a:lnTo>
                  <a:lnTo>
                    <a:pt x="468" y="888"/>
                  </a:lnTo>
                  <a:lnTo>
                    <a:pt x="450" y="88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0" name="Freeform 15">
              <a:extLst>
                <a:ext uri="{FF2B5EF4-FFF2-40B4-BE49-F238E27FC236}">
                  <a16:creationId xmlns:a16="http://schemas.microsoft.com/office/drawing/2014/main" id="{8B991D7A-45C6-40F6-A035-24DFC733305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382" y="2652043"/>
              <a:ext cx="724526" cy="695552"/>
            </a:xfrm>
            <a:custGeom>
              <a:avLst/>
              <a:gdLst>
                <a:gd name="T0" fmla="*/ 44 w 1362"/>
                <a:gd name="T1" fmla="*/ 106 h 1308"/>
                <a:gd name="T2" fmla="*/ 32 w 1362"/>
                <a:gd name="T3" fmla="*/ 109 h 1308"/>
                <a:gd name="T4" fmla="*/ 25 w 1362"/>
                <a:gd name="T5" fmla="*/ 105 h 1308"/>
                <a:gd name="T6" fmla="*/ 22 w 1362"/>
                <a:gd name="T7" fmla="*/ 97 h 1308"/>
                <a:gd name="T8" fmla="*/ 21 w 1362"/>
                <a:gd name="T9" fmla="*/ 95 h 1308"/>
                <a:gd name="T10" fmla="*/ 20 w 1362"/>
                <a:gd name="T11" fmla="*/ 90 h 1308"/>
                <a:gd name="T12" fmla="*/ 23 w 1362"/>
                <a:gd name="T13" fmla="*/ 87 h 1308"/>
                <a:gd name="T14" fmla="*/ 29 w 1362"/>
                <a:gd name="T15" fmla="*/ 81 h 1308"/>
                <a:gd name="T16" fmla="*/ 30 w 1362"/>
                <a:gd name="T17" fmla="*/ 78 h 1308"/>
                <a:gd name="T18" fmla="*/ 27 w 1362"/>
                <a:gd name="T19" fmla="*/ 75 h 1308"/>
                <a:gd name="T20" fmla="*/ 15 w 1362"/>
                <a:gd name="T21" fmla="*/ 73 h 1308"/>
                <a:gd name="T22" fmla="*/ 12 w 1362"/>
                <a:gd name="T23" fmla="*/ 69 h 1308"/>
                <a:gd name="T24" fmla="*/ 5 w 1362"/>
                <a:gd name="T25" fmla="*/ 65 h 1308"/>
                <a:gd name="T26" fmla="*/ 6 w 1362"/>
                <a:gd name="T27" fmla="*/ 62 h 1308"/>
                <a:gd name="T28" fmla="*/ 7 w 1362"/>
                <a:gd name="T29" fmla="*/ 56 h 1308"/>
                <a:gd name="T30" fmla="*/ 2 w 1362"/>
                <a:gd name="T31" fmla="*/ 49 h 1308"/>
                <a:gd name="T32" fmla="*/ 0 w 1362"/>
                <a:gd name="T33" fmla="*/ 44 h 1308"/>
                <a:gd name="T34" fmla="*/ 0 w 1362"/>
                <a:gd name="T35" fmla="*/ 39 h 1308"/>
                <a:gd name="T36" fmla="*/ 3 w 1362"/>
                <a:gd name="T37" fmla="*/ 35 h 1308"/>
                <a:gd name="T38" fmla="*/ 3 w 1362"/>
                <a:gd name="T39" fmla="*/ 28 h 1308"/>
                <a:gd name="T40" fmla="*/ 6 w 1362"/>
                <a:gd name="T41" fmla="*/ 18 h 1308"/>
                <a:gd name="T42" fmla="*/ 6 w 1362"/>
                <a:gd name="T43" fmla="*/ 8 h 1308"/>
                <a:gd name="T44" fmla="*/ 10 w 1362"/>
                <a:gd name="T45" fmla="*/ 5 h 1308"/>
                <a:gd name="T46" fmla="*/ 15 w 1362"/>
                <a:gd name="T47" fmla="*/ 0 h 1308"/>
                <a:gd name="T48" fmla="*/ 21 w 1362"/>
                <a:gd name="T49" fmla="*/ 7 h 1308"/>
                <a:gd name="T50" fmla="*/ 25 w 1362"/>
                <a:gd name="T51" fmla="*/ 15 h 1308"/>
                <a:gd name="T52" fmla="*/ 24 w 1362"/>
                <a:gd name="T53" fmla="*/ 19 h 1308"/>
                <a:gd name="T54" fmla="*/ 32 w 1362"/>
                <a:gd name="T55" fmla="*/ 19 h 1308"/>
                <a:gd name="T56" fmla="*/ 35 w 1362"/>
                <a:gd name="T57" fmla="*/ 20 h 1308"/>
                <a:gd name="T58" fmla="*/ 40 w 1362"/>
                <a:gd name="T59" fmla="*/ 23 h 1308"/>
                <a:gd name="T60" fmla="*/ 40 w 1362"/>
                <a:gd name="T61" fmla="*/ 26 h 1308"/>
                <a:gd name="T62" fmla="*/ 34 w 1362"/>
                <a:gd name="T63" fmla="*/ 35 h 1308"/>
                <a:gd name="T64" fmla="*/ 41 w 1362"/>
                <a:gd name="T65" fmla="*/ 37 h 1308"/>
                <a:gd name="T66" fmla="*/ 43 w 1362"/>
                <a:gd name="T67" fmla="*/ 44 h 1308"/>
                <a:gd name="T68" fmla="*/ 48 w 1362"/>
                <a:gd name="T69" fmla="*/ 47 h 1308"/>
                <a:gd name="T70" fmla="*/ 57 w 1362"/>
                <a:gd name="T71" fmla="*/ 48 h 1308"/>
                <a:gd name="T72" fmla="*/ 70 w 1362"/>
                <a:gd name="T73" fmla="*/ 44 h 1308"/>
                <a:gd name="T74" fmla="*/ 80 w 1362"/>
                <a:gd name="T75" fmla="*/ 34 h 1308"/>
                <a:gd name="T76" fmla="*/ 95 w 1362"/>
                <a:gd name="T77" fmla="*/ 41 h 1308"/>
                <a:gd name="T78" fmla="*/ 109 w 1362"/>
                <a:gd name="T79" fmla="*/ 47 h 1308"/>
                <a:gd name="T80" fmla="*/ 111 w 1362"/>
                <a:gd name="T81" fmla="*/ 50 h 1308"/>
                <a:gd name="T82" fmla="*/ 113 w 1362"/>
                <a:gd name="T83" fmla="*/ 53 h 1308"/>
                <a:gd name="T84" fmla="*/ 113 w 1362"/>
                <a:gd name="T85" fmla="*/ 55 h 1308"/>
                <a:gd name="T86" fmla="*/ 113 w 1362"/>
                <a:gd name="T87" fmla="*/ 59 h 1308"/>
                <a:gd name="T88" fmla="*/ 113 w 1362"/>
                <a:gd name="T89" fmla="*/ 62 h 1308"/>
                <a:gd name="T90" fmla="*/ 115 w 1362"/>
                <a:gd name="T91" fmla="*/ 65 h 1308"/>
                <a:gd name="T92" fmla="*/ 115 w 1362"/>
                <a:gd name="T93" fmla="*/ 67 h 1308"/>
                <a:gd name="T94" fmla="*/ 116 w 1362"/>
                <a:gd name="T95" fmla="*/ 69 h 1308"/>
                <a:gd name="T96" fmla="*/ 116 w 1362"/>
                <a:gd name="T97" fmla="*/ 71 h 1308"/>
                <a:gd name="T98" fmla="*/ 118 w 1362"/>
                <a:gd name="T99" fmla="*/ 75 h 1308"/>
                <a:gd name="T100" fmla="*/ 116 w 1362"/>
                <a:gd name="T101" fmla="*/ 77 h 1308"/>
                <a:gd name="T102" fmla="*/ 116 w 1362"/>
                <a:gd name="T103" fmla="*/ 79 h 1308"/>
                <a:gd name="T104" fmla="*/ 101 w 1362"/>
                <a:gd name="T105" fmla="*/ 87 h 1308"/>
                <a:gd name="T106" fmla="*/ 85 w 1362"/>
                <a:gd name="T107" fmla="*/ 103 h 1308"/>
                <a:gd name="T108" fmla="*/ 67 w 1362"/>
                <a:gd name="T109" fmla="*/ 114 h 130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62"/>
                <a:gd name="T166" fmla="*/ 0 h 1308"/>
                <a:gd name="T167" fmla="*/ 1362 w 1362"/>
                <a:gd name="T168" fmla="*/ 1308 h 130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62" h="1308">
                  <a:moveTo>
                    <a:pt x="684" y="1278"/>
                  </a:moveTo>
                  <a:lnTo>
                    <a:pt x="672" y="1272"/>
                  </a:lnTo>
                  <a:lnTo>
                    <a:pt x="636" y="1266"/>
                  </a:lnTo>
                  <a:lnTo>
                    <a:pt x="582" y="1248"/>
                  </a:lnTo>
                  <a:lnTo>
                    <a:pt x="564" y="1230"/>
                  </a:lnTo>
                  <a:lnTo>
                    <a:pt x="540" y="1218"/>
                  </a:lnTo>
                  <a:lnTo>
                    <a:pt x="510" y="1218"/>
                  </a:lnTo>
                  <a:lnTo>
                    <a:pt x="498" y="1224"/>
                  </a:lnTo>
                  <a:lnTo>
                    <a:pt x="492" y="1230"/>
                  </a:lnTo>
                  <a:lnTo>
                    <a:pt x="474" y="1230"/>
                  </a:lnTo>
                  <a:lnTo>
                    <a:pt x="414" y="1230"/>
                  </a:lnTo>
                  <a:lnTo>
                    <a:pt x="396" y="1236"/>
                  </a:lnTo>
                  <a:lnTo>
                    <a:pt x="390" y="1248"/>
                  </a:lnTo>
                  <a:lnTo>
                    <a:pt x="372" y="1248"/>
                  </a:lnTo>
                  <a:lnTo>
                    <a:pt x="366" y="1242"/>
                  </a:lnTo>
                  <a:lnTo>
                    <a:pt x="366" y="1224"/>
                  </a:lnTo>
                  <a:lnTo>
                    <a:pt x="360" y="1224"/>
                  </a:lnTo>
                  <a:lnTo>
                    <a:pt x="354" y="1218"/>
                  </a:lnTo>
                  <a:lnTo>
                    <a:pt x="336" y="1206"/>
                  </a:lnTo>
                  <a:lnTo>
                    <a:pt x="330" y="1194"/>
                  </a:lnTo>
                  <a:lnTo>
                    <a:pt x="288" y="1200"/>
                  </a:lnTo>
                  <a:lnTo>
                    <a:pt x="288" y="1194"/>
                  </a:lnTo>
                  <a:lnTo>
                    <a:pt x="288" y="1182"/>
                  </a:lnTo>
                  <a:lnTo>
                    <a:pt x="288" y="1170"/>
                  </a:lnTo>
                  <a:lnTo>
                    <a:pt x="288" y="1164"/>
                  </a:lnTo>
                  <a:lnTo>
                    <a:pt x="282" y="1140"/>
                  </a:lnTo>
                  <a:lnTo>
                    <a:pt x="276" y="1134"/>
                  </a:lnTo>
                  <a:lnTo>
                    <a:pt x="258" y="1116"/>
                  </a:lnTo>
                  <a:lnTo>
                    <a:pt x="258" y="1110"/>
                  </a:lnTo>
                  <a:lnTo>
                    <a:pt x="252" y="1110"/>
                  </a:lnTo>
                  <a:lnTo>
                    <a:pt x="252" y="1104"/>
                  </a:lnTo>
                  <a:lnTo>
                    <a:pt x="252" y="1098"/>
                  </a:lnTo>
                  <a:lnTo>
                    <a:pt x="240" y="1092"/>
                  </a:lnTo>
                  <a:lnTo>
                    <a:pt x="234" y="1092"/>
                  </a:lnTo>
                  <a:lnTo>
                    <a:pt x="240" y="1086"/>
                  </a:lnTo>
                  <a:lnTo>
                    <a:pt x="234" y="1080"/>
                  </a:lnTo>
                  <a:lnTo>
                    <a:pt x="228" y="1080"/>
                  </a:lnTo>
                  <a:lnTo>
                    <a:pt x="228" y="1068"/>
                  </a:lnTo>
                  <a:lnTo>
                    <a:pt x="228" y="1056"/>
                  </a:lnTo>
                  <a:lnTo>
                    <a:pt x="222" y="1056"/>
                  </a:lnTo>
                  <a:lnTo>
                    <a:pt x="228" y="1044"/>
                  </a:lnTo>
                  <a:lnTo>
                    <a:pt x="228" y="1038"/>
                  </a:lnTo>
                  <a:lnTo>
                    <a:pt x="228" y="1032"/>
                  </a:lnTo>
                  <a:lnTo>
                    <a:pt x="234" y="1026"/>
                  </a:lnTo>
                  <a:lnTo>
                    <a:pt x="246" y="1020"/>
                  </a:lnTo>
                  <a:lnTo>
                    <a:pt x="252" y="1020"/>
                  </a:lnTo>
                  <a:lnTo>
                    <a:pt x="258" y="1014"/>
                  </a:lnTo>
                  <a:lnTo>
                    <a:pt x="264" y="1008"/>
                  </a:lnTo>
                  <a:lnTo>
                    <a:pt x="264" y="1002"/>
                  </a:lnTo>
                  <a:lnTo>
                    <a:pt x="270" y="984"/>
                  </a:lnTo>
                  <a:lnTo>
                    <a:pt x="276" y="978"/>
                  </a:lnTo>
                  <a:lnTo>
                    <a:pt x="300" y="978"/>
                  </a:lnTo>
                  <a:lnTo>
                    <a:pt x="306" y="972"/>
                  </a:lnTo>
                  <a:lnTo>
                    <a:pt x="312" y="966"/>
                  </a:lnTo>
                  <a:lnTo>
                    <a:pt x="324" y="936"/>
                  </a:lnTo>
                  <a:lnTo>
                    <a:pt x="330" y="930"/>
                  </a:lnTo>
                  <a:lnTo>
                    <a:pt x="330" y="924"/>
                  </a:lnTo>
                  <a:lnTo>
                    <a:pt x="336" y="918"/>
                  </a:lnTo>
                  <a:lnTo>
                    <a:pt x="342" y="912"/>
                  </a:lnTo>
                  <a:lnTo>
                    <a:pt x="342" y="906"/>
                  </a:lnTo>
                  <a:lnTo>
                    <a:pt x="342" y="900"/>
                  </a:lnTo>
                  <a:lnTo>
                    <a:pt x="342" y="894"/>
                  </a:lnTo>
                  <a:lnTo>
                    <a:pt x="342" y="888"/>
                  </a:lnTo>
                  <a:lnTo>
                    <a:pt x="336" y="876"/>
                  </a:lnTo>
                  <a:lnTo>
                    <a:pt x="342" y="870"/>
                  </a:lnTo>
                  <a:lnTo>
                    <a:pt x="336" y="864"/>
                  </a:lnTo>
                  <a:lnTo>
                    <a:pt x="336" y="858"/>
                  </a:lnTo>
                  <a:lnTo>
                    <a:pt x="330" y="852"/>
                  </a:lnTo>
                  <a:lnTo>
                    <a:pt x="318" y="852"/>
                  </a:lnTo>
                  <a:lnTo>
                    <a:pt x="306" y="858"/>
                  </a:lnTo>
                  <a:lnTo>
                    <a:pt x="264" y="864"/>
                  </a:lnTo>
                  <a:lnTo>
                    <a:pt x="234" y="858"/>
                  </a:lnTo>
                  <a:lnTo>
                    <a:pt x="228" y="858"/>
                  </a:lnTo>
                  <a:lnTo>
                    <a:pt x="198" y="858"/>
                  </a:lnTo>
                  <a:lnTo>
                    <a:pt x="174" y="858"/>
                  </a:lnTo>
                  <a:lnTo>
                    <a:pt x="168" y="852"/>
                  </a:lnTo>
                  <a:lnTo>
                    <a:pt x="168" y="840"/>
                  </a:lnTo>
                  <a:lnTo>
                    <a:pt x="168" y="834"/>
                  </a:lnTo>
                  <a:lnTo>
                    <a:pt x="168" y="822"/>
                  </a:lnTo>
                  <a:lnTo>
                    <a:pt x="162" y="822"/>
                  </a:lnTo>
                  <a:lnTo>
                    <a:pt x="150" y="816"/>
                  </a:lnTo>
                  <a:lnTo>
                    <a:pt x="144" y="810"/>
                  </a:lnTo>
                  <a:lnTo>
                    <a:pt x="144" y="804"/>
                  </a:lnTo>
                  <a:lnTo>
                    <a:pt x="144" y="786"/>
                  </a:lnTo>
                  <a:lnTo>
                    <a:pt x="144" y="780"/>
                  </a:lnTo>
                  <a:lnTo>
                    <a:pt x="144" y="774"/>
                  </a:lnTo>
                  <a:lnTo>
                    <a:pt x="132" y="756"/>
                  </a:lnTo>
                  <a:lnTo>
                    <a:pt x="120" y="756"/>
                  </a:lnTo>
                  <a:lnTo>
                    <a:pt x="84" y="750"/>
                  </a:lnTo>
                  <a:lnTo>
                    <a:pt x="78" y="744"/>
                  </a:lnTo>
                  <a:lnTo>
                    <a:pt x="60" y="744"/>
                  </a:lnTo>
                  <a:lnTo>
                    <a:pt x="54" y="726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66" y="720"/>
                  </a:lnTo>
                  <a:lnTo>
                    <a:pt x="66" y="714"/>
                  </a:lnTo>
                  <a:lnTo>
                    <a:pt x="72" y="714"/>
                  </a:lnTo>
                  <a:lnTo>
                    <a:pt x="72" y="708"/>
                  </a:lnTo>
                  <a:lnTo>
                    <a:pt x="78" y="702"/>
                  </a:lnTo>
                  <a:lnTo>
                    <a:pt x="78" y="696"/>
                  </a:lnTo>
                  <a:lnTo>
                    <a:pt x="78" y="690"/>
                  </a:lnTo>
                  <a:lnTo>
                    <a:pt x="84" y="678"/>
                  </a:lnTo>
                  <a:lnTo>
                    <a:pt x="90" y="666"/>
                  </a:lnTo>
                  <a:lnTo>
                    <a:pt x="90" y="642"/>
                  </a:lnTo>
                  <a:lnTo>
                    <a:pt x="84" y="648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66" y="642"/>
                  </a:lnTo>
                  <a:lnTo>
                    <a:pt x="60" y="642"/>
                  </a:lnTo>
                  <a:lnTo>
                    <a:pt x="54" y="636"/>
                  </a:lnTo>
                  <a:lnTo>
                    <a:pt x="30" y="570"/>
                  </a:lnTo>
                  <a:lnTo>
                    <a:pt x="24" y="564"/>
                  </a:lnTo>
                  <a:lnTo>
                    <a:pt x="18" y="570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6"/>
                  </a:lnTo>
                  <a:lnTo>
                    <a:pt x="6" y="540"/>
                  </a:lnTo>
                  <a:lnTo>
                    <a:pt x="0" y="522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2" y="480"/>
                  </a:lnTo>
                  <a:lnTo>
                    <a:pt x="6" y="480"/>
                  </a:lnTo>
                  <a:lnTo>
                    <a:pt x="0" y="474"/>
                  </a:lnTo>
                  <a:lnTo>
                    <a:pt x="0" y="450"/>
                  </a:lnTo>
                  <a:lnTo>
                    <a:pt x="6" y="450"/>
                  </a:lnTo>
                  <a:lnTo>
                    <a:pt x="12" y="450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32"/>
                  </a:lnTo>
                  <a:lnTo>
                    <a:pt x="30" y="426"/>
                  </a:lnTo>
                  <a:lnTo>
                    <a:pt x="36" y="402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2" y="366"/>
                  </a:lnTo>
                  <a:lnTo>
                    <a:pt x="48" y="360"/>
                  </a:lnTo>
                  <a:lnTo>
                    <a:pt x="48" y="342"/>
                  </a:lnTo>
                  <a:lnTo>
                    <a:pt x="42" y="330"/>
                  </a:lnTo>
                  <a:lnTo>
                    <a:pt x="36" y="324"/>
                  </a:lnTo>
                  <a:lnTo>
                    <a:pt x="42" y="306"/>
                  </a:lnTo>
                  <a:lnTo>
                    <a:pt x="42" y="270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48" y="258"/>
                  </a:lnTo>
                  <a:lnTo>
                    <a:pt x="72" y="252"/>
                  </a:lnTo>
                  <a:lnTo>
                    <a:pt x="66" y="204"/>
                  </a:lnTo>
                  <a:lnTo>
                    <a:pt x="60" y="198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8" y="13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84" y="96"/>
                  </a:lnTo>
                  <a:lnTo>
                    <a:pt x="90" y="84"/>
                  </a:lnTo>
                  <a:lnTo>
                    <a:pt x="108" y="72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20" y="60"/>
                  </a:lnTo>
                  <a:lnTo>
                    <a:pt x="120" y="54"/>
                  </a:lnTo>
                  <a:lnTo>
                    <a:pt x="120" y="48"/>
                  </a:lnTo>
                  <a:lnTo>
                    <a:pt x="126" y="48"/>
                  </a:lnTo>
                  <a:lnTo>
                    <a:pt x="132" y="42"/>
                  </a:lnTo>
                  <a:lnTo>
                    <a:pt x="132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240" y="18"/>
                  </a:lnTo>
                  <a:lnTo>
                    <a:pt x="246" y="42"/>
                  </a:lnTo>
                  <a:lnTo>
                    <a:pt x="240" y="72"/>
                  </a:lnTo>
                  <a:lnTo>
                    <a:pt x="246" y="78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8" y="108"/>
                  </a:lnTo>
                  <a:lnTo>
                    <a:pt x="276" y="114"/>
                  </a:lnTo>
                  <a:lnTo>
                    <a:pt x="294" y="150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82" y="186"/>
                  </a:lnTo>
                  <a:lnTo>
                    <a:pt x="282" y="192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76" y="216"/>
                  </a:lnTo>
                  <a:lnTo>
                    <a:pt x="288" y="240"/>
                  </a:lnTo>
                  <a:lnTo>
                    <a:pt x="312" y="228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66" y="228"/>
                  </a:lnTo>
                  <a:lnTo>
                    <a:pt x="372" y="228"/>
                  </a:lnTo>
                  <a:lnTo>
                    <a:pt x="372" y="222"/>
                  </a:lnTo>
                  <a:lnTo>
                    <a:pt x="378" y="222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6" y="222"/>
                  </a:lnTo>
                  <a:lnTo>
                    <a:pt x="402" y="222"/>
                  </a:lnTo>
                  <a:lnTo>
                    <a:pt x="402" y="228"/>
                  </a:lnTo>
                  <a:lnTo>
                    <a:pt x="408" y="228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26" y="216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68" y="258"/>
                  </a:lnTo>
                  <a:lnTo>
                    <a:pt x="462" y="264"/>
                  </a:lnTo>
                  <a:lnTo>
                    <a:pt x="468" y="264"/>
                  </a:lnTo>
                  <a:lnTo>
                    <a:pt x="468" y="270"/>
                  </a:lnTo>
                  <a:lnTo>
                    <a:pt x="474" y="270"/>
                  </a:lnTo>
                  <a:lnTo>
                    <a:pt x="480" y="276"/>
                  </a:lnTo>
                  <a:lnTo>
                    <a:pt x="474" y="282"/>
                  </a:lnTo>
                  <a:lnTo>
                    <a:pt x="474" y="288"/>
                  </a:lnTo>
                  <a:lnTo>
                    <a:pt x="462" y="294"/>
                  </a:lnTo>
                  <a:lnTo>
                    <a:pt x="468" y="324"/>
                  </a:lnTo>
                  <a:lnTo>
                    <a:pt x="462" y="336"/>
                  </a:lnTo>
                  <a:lnTo>
                    <a:pt x="456" y="354"/>
                  </a:lnTo>
                  <a:lnTo>
                    <a:pt x="432" y="390"/>
                  </a:lnTo>
                  <a:lnTo>
                    <a:pt x="420" y="390"/>
                  </a:lnTo>
                  <a:lnTo>
                    <a:pt x="402" y="390"/>
                  </a:lnTo>
                  <a:lnTo>
                    <a:pt x="396" y="396"/>
                  </a:lnTo>
                  <a:lnTo>
                    <a:pt x="390" y="396"/>
                  </a:lnTo>
                  <a:lnTo>
                    <a:pt x="390" y="402"/>
                  </a:lnTo>
                  <a:lnTo>
                    <a:pt x="384" y="402"/>
                  </a:lnTo>
                  <a:lnTo>
                    <a:pt x="408" y="432"/>
                  </a:lnTo>
                  <a:lnTo>
                    <a:pt x="432" y="438"/>
                  </a:lnTo>
                  <a:lnTo>
                    <a:pt x="456" y="432"/>
                  </a:lnTo>
                  <a:lnTo>
                    <a:pt x="468" y="426"/>
                  </a:lnTo>
                  <a:lnTo>
                    <a:pt x="468" y="444"/>
                  </a:lnTo>
                  <a:lnTo>
                    <a:pt x="468" y="450"/>
                  </a:lnTo>
                  <a:lnTo>
                    <a:pt x="468" y="474"/>
                  </a:lnTo>
                  <a:lnTo>
                    <a:pt x="486" y="480"/>
                  </a:lnTo>
                  <a:lnTo>
                    <a:pt x="486" y="486"/>
                  </a:lnTo>
                  <a:lnTo>
                    <a:pt x="492" y="498"/>
                  </a:lnTo>
                  <a:lnTo>
                    <a:pt x="492" y="504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504" y="516"/>
                  </a:lnTo>
                  <a:lnTo>
                    <a:pt x="510" y="516"/>
                  </a:lnTo>
                  <a:lnTo>
                    <a:pt x="522" y="528"/>
                  </a:lnTo>
                  <a:lnTo>
                    <a:pt x="546" y="540"/>
                  </a:lnTo>
                  <a:lnTo>
                    <a:pt x="552" y="546"/>
                  </a:lnTo>
                  <a:lnTo>
                    <a:pt x="570" y="552"/>
                  </a:lnTo>
                  <a:lnTo>
                    <a:pt x="594" y="552"/>
                  </a:lnTo>
                  <a:lnTo>
                    <a:pt x="606" y="546"/>
                  </a:lnTo>
                  <a:lnTo>
                    <a:pt x="612" y="540"/>
                  </a:lnTo>
                  <a:lnTo>
                    <a:pt x="630" y="540"/>
                  </a:lnTo>
                  <a:lnTo>
                    <a:pt x="630" y="552"/>
                  </a:lnTo>
                  <a:lnTo>
                    <a:pt x="654" y="552"/>
                  </a:lnTo>
                  <a:lnTo>
                    <a:pt x="702" y="558"/>
                  </a:lnTo>
                  <a:lnTo>
                    <a:pt x="762" y="546"/>
                  </a:lnTo>
                  <a:lnTo>
                    <a:pt x="780" y="546"/>
                  </a:lnTo>
                  <a:lnTo>
                    <a:pt x="780" y="528"/>
                  </a:lnTo>
                  <a:lnTo>
                    <a:pt x="798" y="522"/>
                  </a:lnTo>
                  <a:lnTo>
                    <a:pt x="810" y="510"/>
                  </a:lnTo>
                  <a:lnTo>
                    <a:pt x="810" y="504"/>
                  </a:lnTo>
                  <a:lnTo>
                    <a:pt x="828" y="492"/>
                  </a:lnTo>
                  <a:lnTo>
                    <a:pt x="888" y="486"/>
                  </a:lnTo>
                  <a:lnTo>
                    <a:pt x="912" y="486"/>
                  </a:lnTo>
                  <a:lnTo>
                    <a:pt x="930" y="474"/>
                  </a:lnTo>
                  <a:lnTo>
                    <a:pt x="918" y="456"/>
                  </a:lnTo>
                  <a:lnTo>
                    <a:pt x="912" y="450"/>
                  </a:lnTo>
                  <a:lnTo>
                    <a:pt x="918" y="390"/>
                  </a:lnTo>
                  <a:lnTo>
                    <a:pt x="954" y="396"/>
                  </a:lnTo>
                  <a:lnTo>
                    <a:pt x="984" y="402"/>
                  </a:lnTo>
                  <a:lnTo>
                    <a:pt x="1014" y="420"/>
                  </a:lnTo>
                  <a:lnTo>
                    <a:pt x="1026" y="432"/>
                  </a:lnTo>
                  <a:lnTo>
                    <a:pt x="1044" y="450"/>
                  </a:lnTo>
                  <a:lnTo>
                    <a:pt x="1062" y="462"/>
                  </a:lnTo>
                  <a:lnTo>
                    <a:pt x="1098" y="468"/>
                  </a:lnTo>
                  <a:lnTo>
                    <a:pt x="1128" y="480"/>
                  </a:lnTo>
                  <a:lnTo>
                    <a:pt x="1152" y="486"/>
                  </a:lnTo>
                  <a:lnTo>
                    <a:pt x="1188" y="498"/>
                  </a:lnTo>
                  <a:lnTo>
                    <a:pt x="1212" y="504"/>
                  </a:lnTo>
                  <a:lnTo>
                    <a:pt x="1224" y="528"/>
                  </a:lnTo>
                  <a:lnTo>
                    <a:pt x="1236" y="540"/>
                  </a:lnTo>
                  <a:lnTo>
                    <a:pt x="1254" y="540"/>
                  </a:lnTo>
                  <a:lnTo>
                    <a:pt x="1254" y="546"/>
                  </a:lnTo>
                  <a:lnTo>
                    <a:pt x="1260" y="552"/>
                  </a:lnTo>
                  <a:lnTo>
                    <a:pt x="1266" y="552"/>
                  </a:lnTo>
                  <a:lnTo>
                    <a:pt x="1266" y="558"/>
                  </a:lnTo>
                  <a:lnTo>
                    <a:pt x="1272" y="564"/>
                  </a:lnTo>
                  <a:lnTo>
                    <a:pt x="1278" y="564"/>
                  </a:lnTo>
                  <a:lnTo>
                    <a:pt x="1278" y="570"/>
                  </a:lnTo>
                  <a:lnTo>
                    <a:pt x="1284" y="576"/>
                  </a:lnTo>
                  <a:lnTo>
                    <a:pt x="1290" y="582"/>
                  </a:lnTo>
                  <a:lnTo>
                    <a:pt x="1296" y="582"/>
                  </a:lnTo>
                  <a:lnTo>
                    <a:pt x="1296" y="588"/>
                  </a:lnTo>
                  <a:lnTo>
                    <a:pt x="1308" y="594"/>
                  </a:lnTo>
                  <a:lnTo>
                    <a:pt x="1308" y="600"/>
                  </a:lnTo>
                  <a:lnTo>
                    <a:pt x="1308" y="606"/>
                  </a:lnTo>
                  <a:lnTo>
                    <a:pt x="1314" y="612"/>
                  </a:lnTo>
                  <a:lnTo>
                    <a:pt x="1308" y="618"/>
                  </a:lnTo>
                  <a:lnTo>
                    <a:pt x="1314" y="618"/>
                  </a:lnTo>
                  <a:lnTo>
                    <a:pt x="1314" y="624"/>
                  </a:lnTo>
                  <a:lnTo>
                    <a:pt x="1308" y="624"/>
                  </a:lnTo>
                  <a:lnTo>
                    <a:pt x="1302" y="630"/>
                  </a:lnTo>
                  <a:lnTo>
                    <a:pt x="1302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296" y="654"/>
                  </a:lnTo>
                  <a:lnTo>
                    <a:pt x="1302" y="660"/>
                  </a:lnTo>
                  <a:lnTo>
                    <a:pt x="1302" y="666"/>
                  </a:lnTo>
                  <a:lnTo>
                    <a:pt x="1308" y="666"/>
                  </a:lnTo>
                  <a:lnTo>
                    <a:pt x="1308" y="672"/>
                  </a:lnTo>
                  <a:lnTo>
                    <a:pt x="1308" y="678"/>
                  </a:lnTo>
                  <a:lnTo>
                    <a:pt x="1308" y="684"/>
                  </a:lnTo>
                  <a:lnTo>
                    <a:pt x="1308" y="690"/>
                  </a:lnTo>
                  <a:lnTo>
                    <a:pt x="1302" y="696"/>
                  </a:lnTo>
                  <a:lnTo>
                    <a:pt x="1302" y="702"/>
                  </a:lnTo>
                  <a:lnTo>
                    <a:pt x="1308" y="702"/>
                  </a:lnTo>
                  <a:lnTo>
                    <a:pt x="1302" y="708"/>
                  </a:lnTo>
                  <a:lnTo>
                    <a:pt x="1308" y="714"/>
                  </a:lnTo>
                  <a:lnTo>
                    <a:pt x="1308" y="720"/>
                  </a:lnTo>
                  <a:lnTo>
                    <a:pt x="1308" y="726"/>
                  </a:lnTo>
                  <a:lnTo>
                    <a:pt x="1308" y="732"/>
                  </a:lnTo>
                  <a:lnTo>
                    <a:pt x="1314" y="732"/>
                  </a:lnTo>
                  <a:lnTo>
                    <a:pt x="1314" y="738"/>
                  </a:lnTo>
                  <a:lnTo>
                    <a:pt x="1320" y="744"/>
                  </a:lnTo>
                  <a:lnTo>
                    <a:pt x="1326" y="750"/>
                  </a:lnTo>
                  <a:lnTo>
                    <a:pt x="1320" y="750"/>
                  </a:lnTo>
                  <a:lnTo>
                    <a:pt x="1320" y="756"/>
                  </a:lnTo>
                  <a:lnTo>
                    <a:pt x="1314" y="756"/>
                  </a:lnTo>
                  <a:lnTo>
                    <a:pt x="1314" y="762"/>
                  </a:lnTo>
                  <a:lnTo>
                    <a:pt x="1314" y="768"/>
                  </a:lnTo>
                  <a:lnTo>
                    <a:pt x="1320" y="768"/>
                  </a:lnTo>
                  <a:lnTo>
                    <a:pt x="1320" y="762"/>
                  </a:lnTo>
                  <a:lnTo>
                    <a:pt x="1320" y="768"/>
                  </a:lnTo>
                  <a:lnTo>
                    <a:pt x="1326" y="774"/>
                  </a:lnTo>
                  <a:lnTo>
                    <a:pt x="1332" y="774"/>
                  </a:lnTo>
                  <a:lnTo>
                    <a:pt x="1332" y="780"/>
                  </a:lnTo>
                  <a:lnTo>
                    <a:pt x="1332" y="786"/>
                  </a:lnTo>
                  <a:lnTo>
                    <a:pt x="1332" y="792"/>
                  </a:lnTo>
                  <a:lnTo>
                    <a:pt x="1338" y="786"/>
                  </a:lnTo>
                  <a:lnTo>
                    <a:pt x="1338" y="792"/>
                  </a:lnTo>
                  <a:lnTo>
                    <a:pt x="1344" y="798"/>
                  </a:lnTo>
                  <a:lnTo>
                    <a:pt x="1344" y="804"/>
                  </a:lnTo>
                  <a:lnTo>
                    <a:pt x="1344" y="810"/>
                  </a:lnTo>
                  <a:lnTo>
                    <a:pt x="1344" y="816"/>
                  </a:lnTo>
                  <a:lnTo>
                    <a:pt x="1344" y="822"/>
                  </a:lnTo>
                  <a:lnTo>
                    <a:pt x="1338" y="828"/>
                  </a:lnTo>
                  <a:lnTo>
                    <a:pt x="1332" y="828"/>
                  </a:lnTo>
                  <a:lnTo>
                    <a:pt x="1338" y="840"/>
                  </a:lnTo>
                  <a:lnTo>
                    <a:pt x="1344" y="846"/>
                  </a:lnTo>
                  <a:lnTo>
                    <a:pt x="1344" y="852"/>
                  </a:lnTo>
                  <a:lnTo>
                    <a:pt x="1350" y="852"/>
                  </a:lnTo>
                  <a:lnTo>
                    <a:pt x="1356" y="858"/>
                  </a:lnTo>
                  <a:lnTo>
                    <a:pt x="1362" y="858"/>
                  </a:lnTo>
                  <a:lnTo>
                    <a:pt x="1362" y="870"/>
                  </a:lnTo>
                  <a:lnTo>
                    <a:pt x="1356" y="870"/>
                  </a:lnTo>
                  <a:lnTo>
                    <a:pt x="1356" y="876"/>
                  </a:lnTo>
                  <a:lnTo>
                    <a:pt x="1350" y="876"/>
                  </a:lnTo>
                  <a:lnTo>
                    <a:pt x="1344" y="876"/>
                  </a:lnTo>
                  <a:lnTo>
                    <a:pt x="1344" y="882"/>
                  </a:lnTo>
                  <a:lnTo>
                    <a:pt x="1338" y="882"/>
                  </a:lnTo>
                  <a:lnTo>
                    <a:pt x="1338" y="888"/>
                  </a:lnTo>
                  <a:lnTo>
                    <a:pt x="1338" y="894"/>
                  </a:lnTo>
                  <a:lnTo>
                    <a:pt x="1344" y="900"/>
                  </a:lnTo>
                  <a:lnTo>
                    <a:pt x="1344" y="906"/>
                  </a:lnTo>
                  <a:lnTo>
                    <a:pt x="1338" y="906"/>
                  </a:lnTo>
                  <a:lnTo>
                    <a:pt x="1332" y="912"/>
                  </a:lnTo>
                  <a:lnTo>
                    <a:pt x="1332" y="918"/>
                  </a:lnTo>
                  <a:lnTo>
                    <a:pt x="1326" y="918"/>
                  </a:lnTo>
                  <a:lnTo>
                    <a:pt x="1332" y="924"/>
                  </a:lnTo>
                  <a:lnTo>
                    <a:pt x="1284" y="942"/>
                  </a:lnTo>
                  <a:lnTo>
                    <a:pt x="1236" y="948"/>
                  </a:lnTo>
                  <a:lnTo>
                    <a:pt x="1194" y="966"/>
                  </a:lnTo>
                  <a:lnTo>
                    <a:pt x="1170" y="1002"/>
                  </a:lnTo>
                  <a:lnTo>
                    <a:pt x="1134" y="1020"/>
                  </a:lnTo>
                  <a:lnTo>
                    <a:pt x="1116" y="1032"/>
                  </a:lnTo>
                  <a:lnTo>
                    <a:pt x="1098" y="1050"/>
                  </a:lnTo>
                  <a:lnTo>
                    <a:pt x="1074" y="1074"/>
                  </a:lnTo>
                  <a:lnTo>
                    <a:pt x="1008" y="1134"/>
                  </a:lnTo>
                  <a:lnTo>
                    <a:pt x="990" y="1158"/>
                  </a:lnTo>
                  <a:lnTo>
                    <a:pt x="978" y="1182"/>
                  </a:lnTo>
                  <a:lnTo>
                    <a:pt x="960" y="1194"/>
                  </a:lnTo>
                  <a:lnTo>
                    <a:pt x="942" y="1212"/>
                  </a:lnTo>
                  <a:lnTo>
                    <a:pt x="912" y="1242"/>
                  </a:lnTo>
                  <a:lnTo>
                    <a:pt x="888" y="1254"/>
                  </a:lnTo>
                  <a:lnTo>
                    <a:pt x="864" y="1278"/>
                  </a:lnTo>
                  <a:lnTo>
                    <a:pt x="828" y="1296"/>
                  </a:lnTo>
                  <a:lnTo>
                    <a:pt x="774" y="1308"/>
                  </a:lnTo>
                  <a:lnTo>
                    <a:pt x="732" y="1302"/>
                  </a:lnTo>
                  <a:lnTo>
                    <a:pt x="702" y="1284"/>
                  </a:lnTo>
                  <a:lnTo>
                    <a:pt x="684" y="12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1" name="Freeform 16">
              <a:extLst>
                <a:ext uri="{FF2B5EF4-FFF2-40B4-BE49-F238E27FC236}">
                  <a16:creationId xmlns:a16="http://schemas.microsoft.com/office/drawing/2014/main" id="{D8D8591A-D9DB-4301-BEBD-D8F5A26DA9E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3001" y="2929369"/>
              <a:ext cx="914601" cy="1037736"/>
            </a:xfrm>
            <a:custGeom>
              <a:avLst/>
              <a:gdLst>
                <a:gd name="T0" fmla="*/ 144 w 1722"/>
                <a:gd name="T1" fmla="*/ 131 h 1956"/>
                <a:gd name="T2" fmla="*/ 142 w 1722"/>
                <a:gd name="T3" fmla="*/ 139 h 1956"/>
                <a:gd name="T4" fmla="*/ 137 w 1722"/>
                <a:gd name="T5" fmla="*/ 143 h 1956"/>
                <a:gd name="T6" fmla="*/ 133 w 1722"/>
                <a:gd name="T7" fmla="*/ 147 h 1956"/>
                <a:gd name="T8" fmla="*/ 132 w 1722"/>
                <a:gd name="T9" fmla="*/ 152 h 1956"/>
                <a:gd name="T10" fmla="*/ 130 w 1722"/>
                <a:gd name="T11" fmla="*/ 159 h 1956"/>
                <a:gd name="T12" fmla="*/ 127 w 1722"/>
                <a:gd name="T13" fmla="*/ 164 h 1956"/>
                <a:gd name="T14" fmla="*/ 123 w 1722"/>
                <a:gd name="T15" fmla="*/ 168 h 1956"/>
                <a:gd name="T16" fmla="*/ 117 w 1722"/>
                <a:gd name="T17" fmla="*/ 169 h 1956"/>
                <a:gd name="T18" fmla="*/ 110 w 1722"/>
                <a:gd name="T19" fmla="*/ 168 h 1956"/>
                <a:gd name="T20" fmla="*/ 104 w 1722"/>
                <a:gd name="T21" fmla="*/ 166 h 1956"/>
                <a:gd name="T22" fmla="*/ 101 w 1722"/>
                <a:gd name="T23" fmla="*/ 159 h 1956"/>
                <a:gd name="T24" fmla="*/ 95 w 1722"/>
                <a:gd name="T25" fmla="*/ 156 h 1956"/>
                <a:gd name="T26" fmla="*/ 89 w 1722"/>
                <a:gd name="T27" fmla="*/ 151 h 1956"/>
                <a:gd name="T28" fmla="*/ 87 w 1722"/>
                <a:gd name="T29" fmla="*/ 144 h 1956"/>
                <a:gd name="T30" fmla="*/ 82 w 1722"/>
                <a:gd name="T31" fmla="*/ 141 h 1956"/>
                <a:gd name="T32" fmla="*/ 76 w 1722"/>
                <a:gd name="T33" fmla="*/ 134 h 1956"/>
                <a:gd name="T34" fmla="*/ 74 w 1722"/>
                <a:gd name="T35" fmla="*/ 143 h 1956"/>
                <a:gd name="T36" fmla="*/ 68 w 1722"/>
                <a:gd name="T37" fmla="*/ 147 h 1956"/>
                <a:gd name="T38" fmla="*/ 54 w 1722"/>
                <a:gd name="T39" fmla="*/ 144 h 1956"/>
                <a:gd name="T40" fmla="*/ 51 w 1722"/>
                <a:gd name="T41" fmla="*/ 142 h 1956"/>
                <a:gd name="T42" fmla="*/ 42 w 1722"/>
                <a:gd name="T43" fmla="*/ 151 h 1956"/>
                <a:gd name="T44" fmla="*/ 33 w 1722"/>
                <a:gd name="T45" fmla="*/ 154 h 1956"/>
                <a:gd name="T46" fmla="*/ 31 w 1722"/>
                <a:gd name="T47" fmla="*/ 159 h 1956"/>
                <a:gd name="T48" fmla="*/ 29 w 1722"/>
                <a:gd name="T49" fmla="*/ 166 h 1956"/>
                <a:gd name="T50" fmla="*/ 25 w 1722"/>
                <a:gd name="T51" fmla="*/ 169 h 1956"/>
                <a:gd name="T52" fmla="*/ 27 w 1722"/>
                <a:gd name="T53" fmla="*/ 154 h 1956"/>
                <a:gd name="T54" fmla="*/ 37 w 1722"/>
                <a:gd name="T55" fmla="*/ 133 h 1956"/>
                <a:gd name="T56" fmla="*/ 36 w 1722"/>
                <a:gd name="T57" fmla="*/ 109 h 1956"/>
                <a:gd name="T58" fmla="*/ 27 w 1722"/>
                <a:gd name="T59" fmla="*/ 101 h 1956"/>
                <a:gd name="T60" fmla="*/ 5 w 1722"/>
                <a:gd name="T61" fmla="*/ 98 h 1956"/>
                <a:gd name="T62" fmla="*/ 2 w 1722"/>
                <a:gd name="T63" fmla="*/ 93 h 1956"/>
                <a:gd name="T64" fmla="*/ 12 w 1722"/>
                <a:gd name="T65" fmla="*/ 82 h 1956"/>
                <a:gd name="T66" fmla="*/ 9 w 1722"/>
                <a:gd name="T67" fmla="*/ 74 h 1956"/>
                <a:gd name="T68" fmla="*/ 23 w 1722"/>
                <a:gd name="T69" fmla="*/ 72 h 1956"/>
                <a:gd name="T70" fmla="*/ 22 w 1722"/>
                <a:gd name="T71" fmla="*/ 67 h 1956"/>
                <a:gd name="T72" fmla="*/ 48 w 1722"/>
                <a:gd name="T73" fmla="*/ 57 h 1956"/>
                <a:gd name="T74" fmla="*/ 78 w 1722"/>
                <a:gd name="T75" fmla="*/ 34 h 1956"/>
                <a:gd name="T76" fmla="*/ 81 w 1722"/>
                <a:gd name="T77" fmla="*/ 31 h 1956"/>
                <a:gd name="T78" fmla="*/ 80 w 1722"/>
                <a:gd name="T79" fmla="*/ 26 h 1956"/>
                <a:gd name="T80" fmla="*/ 78 w 1722"/>
                <a:gd name="T81" fmla="*/ 21 h 1956"/>
                <a:gd name="T82" fmla="*/ 77 w 1722"/>
                <a:gd name="T83" fmla="*/ 18 h 1956"/>
                <a:gd name="T84" fmla="*/ 77 w 1722"/>
                <a:gd name="T85" fmla="*/ 12 h 1956"/>
                <a:gd name="T86" fmla="*/ 77 w 1722"/>
                <a:gd name="T87" fmla="*/ 7 h 1956"/>
                <a:gd name="T88" fmla="*/ 102 w 1722"/>
                <a:gd name="T89" fmla="*/ 2 h 1956"/>
                <a:gd name="T90" fmla="*/ 115 w 1722"/>
                <a:gd name="T91" fmla="*/ 3 h 1956"/>
                <a:gd name="T92" fmla="*/ 123 w 1722"/>
                <a:gd name="T93" fmla="*/ 3 h 1956"/>
                <a:gd name="T94" fmla="*/ 125 w 1722"/>
                <a:gd name="T95" fmla="*/ 9 h 1956"/>
                <a:gd name="T96" fmla="*/ 133 w 1722"/>
                <a:gd name="T97" fmla="*/ 13 h 1956"/>
                <a:gd name="T98" fmla="*/ 149 w 1722"/>
                <a:gd name="T99" fmla="*/ 37 h 1956"/>
                <a:gd name="T100" fmla="*/ 141 w 1722"/>
                <a:gd name="T101" fmla="*/ 57 h 1956"/>
                <a:gd name="T102" fmla="*/ 135 w 1722"/>
                <a:gd name="T103" fmla="*/ 63 h 1956"/>
                <a:gd name="T104" fmla="*/ 124 w 1722"/>
                <a:gd name="T105" fmla="*/ 77 h 1956"/>
                <a:gd name="T106" fmla="*/ 123 w 1722"/>
                <a:gd name="T107" fmla="*/ 96 h 1956"/>
                <a:gd name="T108" fmla="*/ 127 w 1722"/>
                <a:gd name="T109" fmla="*/ 97 h 1956"/>
                <a:gd name="T110" fmla="*/ 129 w 1722"/>
                <a:gd name="T111" fmla="*/ 92 h 1956"/>
                <a:gd name="T112" fmla="*/ 134 w 1722"/>
                <a:gd name="T113" fmla="*/ 94 h 1956"/>
                <a:gd name="T114" fmla="*/ 138 w 1722"/>
                <a:gd name="T115" fmla="*/ 99 h 1956"/>
                <a:gd name="T116" fmla="*/ 142 w 1722"/>
                <a:gd name="T117" fmla="*/ 104 h 1956"/>
                <a:gd name="T118" fmla="*/ 141 w 1722"/>
                <a:gd name="T119" fmla="*/ 115 h 19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722"/>
                <a:gd name="T181" fmla="*/ 0 h 1956"/>
                <a:gd name="T182" fmla="*/ 1722 w 1722"/>
                <a:gd name="T183" fmla="*/ 1956 h 19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722" h="1956">
                  <a:moveTo>
                    <a:pt x="1686" y="1404"/>
                  </a:moveTo>
                  <a:lnTo>
                    <a:pt x="1680" y="1416"/>
                  </a:lnTo>
                  <a:lnTo>
                    <a:pt x="1674" y="1422"/>
                  </a:lnTo>
                  <a:lnTo>
                    <a:pt x="1674" y="1428"/>
                  </a:lnTo>
                  <a:lnTo>
                    <a:pt x="1668" y="1428"/>
                  </a:lnTo>
                  <a:lnTo>
                    <a:pt x="1668" y="1434"/>
                  </a:lnTo>
                  <a:lnTo>
                    <a:pt x="1662" y="1446"/>
                  </a:lnTo>
                  <a:lnTo>
                    <a:pt x="1656" y="1464"/>
                  </a:lnTo>
                  <a:lnTo>
                    <a:pt x="1656" y="1476"/>
                  </a:lnTo>
                  <a:lnTo>
                    <a:pt x="1656" y="1488"/>
                  </a:lnTo>
                  <a:lnTo>
                    <a:pt x="1662" y="1500"/>
                  </a:lnTo>
                  <a:lnTo>
                    <a:pt x="1662" y="1506"/>
                  </a:lnTo>
                  <a:lnTo>
                    <a:pt x="1662" y="1524"/>
                  </a:lnTo>
                  <a:lnTo>
                    <a:pt x="1668" y="1542"/>
                  </a:lnTo>
                  <a:lnTo>
                    <a:pt x="1674" y="1560"/>
                  </a:lnTo>
                  <a:lnTo>
                    <a:pt x="1680" y="1578"/>
                  </a:lnTo>
                  <a:lnTo>
                    <a:pt x="1686" y="1578"/>
                  </a:lnTo>
                  <a:lnTo>
                    <a:pt x="1686" y="1584"/>
                  </a:lnTo>
                  <a:lnTo>
                    <a:pt x="1686" y="1590"/>
                  </a:lnTo>
                  <a:lnTo>
                    <a:pt x="1686" y="1596"/>
                  </a:lnTo>
                  <a:lnTo>
                    <a:pt x="1680" y="1596"/>
                  </a:lnTo>
                  <a:lnTo>
                    <a:pt x="1674" y="1602"/>
                  </a:lnTo>
                  <a:lnTo>
                    <a:pt x="1662" y="1602"/>
                  </a:lnTo>
                  <a:lnTo>
                    <a:pt x="1638" y="1596"/>
                  </a:lnTo>
                  <a:lnTo>
                    <a:pt x="1632" y="1596"/>
                  </a:lnTo>
                  <a:lnTo>
                    <a:pt x="1626" y="1602"/>
                  </a:lnTo>
                  <a:lnTo>
                    <a:pt x="1620" y="1602"/>
                  </a:lnTo>
                  <a:lnTo>
                    <a:pt x="1614" y="1602"/>
                  </a:lnTo>
                  <a:lnTo>
                    <a:pt x="1602" y="1602"/>
                  </a:lnTo>
                  <a:lnTo>
                    <a:pt x="1602" y="1608"/>
                  </a:lnTo>
                  <a:lnTo>
                    <a:pt x="1602" y="1620"/>
                  </a:lnTo>
                  <a:lnTo>
                    <a:pt x="1596" y="1620"/>
                  </a:lnTo>
                  <a:lnTo>
                    <a:pt x="1590" y="1620"/>
                  </a:lnTo>
                  <a:lnTo>
                    <a:pt x="1584" y="1626"/>
                  </a:lnTo>
                  <a:lnTo>
                    <a:pt x="1584" y="1632"/>
                  </a:lnTo>
                  <a:lnTo>
                    <a:pt x="1578" y="1644"/>
                  </a:lnTo>
                  <a:lnTo>
                    <a:pt x="1572" y="1644"/>
                  </a:lnTo>
                  <a:lnTo>
                    <a:pt x="1566" y="1644"/>
                  </a:lnTo>
                  <a:lnTo>
                    <a:pt x="1566" y="1650"/>
                  </a:lnTo>
                  <a:lnTo>
                    <a:pt x="1560" y="1650"/>
                  </a:lnTo>
                  <a:lnTo>
                    <a:pt x="1554" y="1650"/>
                  </a:lnTo>
                  <a:lnTo>
                    <a:pt x="1548" y="1650"/>
                  </a:lnTo>
                  <a:lnTo>
                    <a:pt x="1548" y="1656"/>
                  </a:lnTo>
                  <a:lnTo>
                    <a:pt x="1542" y="1668"/>
                  </a:lnTo>
                  <a:lnTo>
                    <a:pt x="1542" y="1674"/>
                  </a:lnTo>
                  <a:lnTo>
                    <a:pt x="1542" y="1692"/>
                  </a:lnTo>
                  <a:lnTo>
                    <a:pt x="1536" y="1698"/>
                  </a:lnTo>
                  <a:lnTo>
                    <a:pt x="1530" y="1698"/>
                  </a:lnTo>
                  <a:lnTo>
                    <a:pt x="1524" y="1698"/>
                  </a:lnTo>
                  <a:lnTo>
                    <a:pt x="1518" y="1704"/>
                  </a:lnTo>
                  <a:lnTo>
                    <a:pt x="1512" y="1710"/>
                  </a:lnTo>
                  <a:lnTo>
                    <a:pt x="1506" y="1722"/>
                  </a:lnTo>
                  <a:lnTo>
                    <a:pt x="1500" y="1728"/>
                  </a:lnTo>
                  <a:lnTo>
                    <a:pt x="1500" y="1734"/>
                  </a:lnTo>
                  <a:lnTo>
                    <a:pt x="1512" y="1734"/>
                  </a:lnTo>
                  <a:lnTo>
                    <a:pt x="1518" y="1740"/>
                  </a:lnTo>
                  <a:lnTo>
                    <a:pt x="1518" y="1746"/>
                  </a:lnTo>
                  <a:lnTo>
                    <a:pt x="1518" y="1752"/>
                  </a:lnTo>
                  <a:lnTo>
                    <a:pt x="1518" y="1758"/>
                  </a:lnTo>
                  <a:lnTo>
                    <a:pt x="1524" y="1758"/>
                  </a:lnTo>
                  <a:lnTo>
                    <a:pt x="1524" y="1764"/>
                  </a:lnTo>
                  <a:lnTo>
                    <a:pt x="1530" y="1770"/>
                  </a:lnTo>
                  <a:lnTo>
                    <a:pt x="1518" y="1770"/>
                  </a:lnTo>
                  <a:lnTo>
                    <a:pt x="1512" y="1782"/>
                  </a:lnTo>
                  <a:lnTo>
                    <a:pt x="1512" y="1788"/>
                  </a:lnTo>
                  <a:lnTo>
                    <a:pt x="1518" y="1788"/>
                  </a:lnTo>
                  <a:lnTo>
                    <a:pt x="1524" y="1800"/>
                  </a:lnTo>
                  <a:lnTo>
                    <a:pt x="1524" y="1806"/>
                  </a:lnTo>
                  <a:lnTo>
                    <a:pt x="1518" y="1812"/>
                  </a:lnTo>
                  <a:lnTo>
                    <a:pt x="1512" y="1818"/>
                  </a:lnTo>
                  <a:lnTo>
                    <a:pt x="1506" y="1818"/>
                  </a:lnTo>
                  <a:lnTo>
                    <a:pt x="1500" y="1824"/>
                  </a:lnTo>
                  <a:lnTo>
                    <a:pt x="1500" y="1836"/>
                  </a:lnTo>
                  <a:lnTo>
                    <a:pt x="1500" y="1842"/>
                  </a:lnTo>
                  <a:lnTo>
                    <a:pt x="1500" y="1848"/>
                  </a:lnTo>
                  <a:lnTo>
                    <a:pt x="1500" y="1854"/>
                  </a:lnTo>
                  <a:lnTo>
                    <a:pt x="1494" y="1860"/>
                  </a:lnTo>
                  <a:lnTo>
                    <a:pt x="1488" y="1860"/>
                  </a:lnTo>
                  <a:lnTo>
                    <a:pt x="1488" y="1866"/>
                  </a:lnTo>
                  <a:lnTo>
                    <a:pt x="1482" y="1872"/>
                  </a:lnTo>
                  <a:lnTo>
                    <a:pt x="1482" y="1878"/>
                  </a:lnTo>
                  <a:lnTo>
                    <a:pt x="1482" y="1884"/>
                  </a:lnTo>
                  <a:lnTo>
                    <a:pt x="1476" y="1890"/>
                  </a:lnTo>
                  <a:lnTo>
                    <a:pt x="1470" y="1890"/>
                  </a:lnTo>
                  <a:lnTo>
                    <a:pt x="1470" y="1896"/>
                  </a:lnTo>
                  <a:lnTo>
                    <a:pt x="1464" y="1896"/>
                  </a:lnTo>
                  <a:lnTo>
                    <a:pt x="1458" y="1896"/>
                  </a:lnTo>
                  <a:lnTo>
                    <a:pt x="1452" y="1896"/>
                  </a:lnTo>
                  <a:lnTo>
                    <a:pt x="1440" y="1890"/>
                  </a:lnTo>
                  <a:lnTo>
                    <a:pt x="1434" y="1896"/>
                  </a:lnTo>
                  <a:lnTo>
                    <a:pt x="1428" y="1896"/>
                  </a:lnTo>
                  <a:lnTo>
                    <a:pt x="1422" y="1896"/>
                  </a:lnTo>
                  <a:lnTo>
                    <a:pt x="1422" y="1902"/>
                  </a:lnTo>
                  <a:lnTo>
                    <a:pt x="1416" y="1902"/>
                  </a:lnTo>
                  <a:lnTo>
                    <a:pt x="1422" y="1914"/>
                  </a:lnTo>
                  <a:lnTo>
                    <a:pt x="1422" y="1932"/>
                  </a:lnTo>
                  <a:lnTo>
                    <a:pt x="1416" y="1938"/>
                  </a:lnTo>
                  <a:lnTo>
                    <a:pt x="1422" y="1938"/>
                  </a:lnTo>
                  <a:lnTo>
                    <a:pt x="1404" y="1938"/>
                  </a:lnTo>
                  <a:lnTo>
                    <a:pt x="1392" y="1944"/>
                  </a:lnTo>
                  <a:lnTo>
                    <a:pt x="1386" y="1944"/>
                  </a:lnTo>
                  <a:lnTo>
                    <a:pt x="1374" y="1944"/>
                  </a:lnTo>
                  <a:lnTo>
                    <a:pt x="1368" y="1950"/>
                  </a:lnTo>
                  <a:lnTo>
                    <a:pt x="1374" y="1956"/>
                  </a:lnTo>
                  <a:lnTo>
                    <a:pt x="1368" y="1956"/>
                  </a:lnTo>
                  <a:lnTo>
                    <a:pt x="1356" y="1956"/>
                  </a:lnTo>
                  <a:lnTo>
                    <a:pt x="1350" y="1956"/>
                  </a:lnTo>
                  <a:lnTo>
                    <a:pt x="1350" y="1950"/>
                  </a:lnTo>
                  <a:lnTo>
                    <a:pt x="1344" y="1944"/>
                  </a:lnTo>
                  <a:lnTo>
                    <a:pt x="1332" y="1938"/>
                  </a:lnTo>
                  <a:lnTo>
                    <a:pt x="1326" y="1938"/>
                  </a:lnTo>
                  <a:lnTo>
                    <a:pt x="1320" y="1938"/>
                  </a:lnTo>
                  <a:lnTo>
                    <a:pt x="1314" y="1944"/>
                  </a:lnTo>
                  <a:lnTo>
                    <a:pt x="1308" y="1944"/>
                  </a:lnTo>
                  <a:lnTo>
                    <a:pt x="1302" y="1944"/>
                  </a:lnTo>
                  <a:lnTo>
                    <a:pt x="1296" y="1938"/>
                  </a:lnTo>
                  <a:lnTo>
                    <a:pt x="1284" y="1938"/>
                  </a:lnTo>
                  <a:lnTo>
                    <a:pt x="1278" y="1938"/>
                  </a:lnTo>
                  <a:lnTo>
                    <a:pt x="1272" y="1938"/>
                  </a:lnTo>
                  <a:lnTo>
                    <a:pt x="1266" y="1932"/>
                  </a:lnTo>
                  <a:lnTo>
                    <a:pt x="1260" y="1932"/>
                  </a:lnTo>
                  <a:lnTo>
                    <a:pt x="1254" y="1920"/>
                  </a:lnTo>
                  <a:lnTo>
                    <a:pt x="1248" y="1920"/>
                  </a:lnTo>
                  <a:lnTo>
                    <a:pt x="1242" y="1920"/>
                  </a:lnTo>
                  <a:lnTo>
                    <a:pt x="1236" y="1926"/>
                  </a:lnTo>
                  <a:lnTo>
                    <a:pt x="1236" y="1932"/>
                  </a:lnTo>
                  <a:lnTo>
                    <a:pt x="1230" y="1932"/>
                  </a:lnTo>
                  <a:lnTo>
                    <a:pt x="1224" y="1932"/>
                  </a:lnTo>
                  <a:lnTo>
                    <a:pt x="1218" y="1938"/>
                  </a:lnTo>
                  <a:lnTo>
                    <a:pt x="1212" y="1932"/>
                  </a:lnTo>
                  <a:lnTo>
                    <a:pt x="1206" y="1926"/>
                  </a:lnTo>
                  <a:lnTo>
                    <a:pt x="1206" y="1908"/>
                  </a:lnTo>
                  <a:lnTo>
                    <a:pt x="1206" y="1884"/>
                  </a:lnTo>
                  <a:lnTo>
                    <a:pt x="1206" y="1866"/>
                  </a:lnTo>
                  <a:lnTo>
                    <a:pt x="1212" y="1848"/>
                  </a:lnTo>
                  <a:lnTo>
                    <a:pt x="1212" y="1842"/>
                  </a:lnTo>
                  <a:lnTo>
                    <a:pt x="1206" y="1836"/>
                  </a:lnTo>
                  <a:lnTo>
                    <a:pt x="1200" y="1830"/>
                  </a:lnTo>
                  <a:lnTo>
                    <a:pt x="1194" y="1824"/>
                  </a:lnTo>
                  <a:lnTo>
                    <a:pt x="1188" y="1824"/>
                  </a:lnTo>
                  <a:lnTo>
                    <a:pt x="1182" y="1824"/>
                  </a:lnTo>
                  <a:lnTo>
                    <a:pt x="1176" y="1824"/>
                  </a:lnTo>
                  <a:lnTo>
                    <a:pt x="1170" y="1818"/>
                  </a:lnTo>
                  <a:lnTo>
                    <a:pt x="1164" y="1830"/>
                  </a:lnTo>
                  <a:lnTo>
                    <a:pt x="1152" y="1836"/>
                  </a:lnTo>
                  <a:lnTo>
                    <a:pt x="1146" y="1842"/>
                  </a:lnTo>
                  <a:lnTo>
                    <a:pt x="1140" y="1842"/>
                  </a:lnTo>
                  <a:lnTo>
                    <a:pt x="1134" y="1842"/>
                  </a:lnTo>
                  <a:lnTo>
                    <a:pt x="1128" y="1842"/>
                  </a:lnTo>
                  <a:lnTo>
                    <a:pt x="1116" y="1836"/>
                  </a:lnTo>
                  <a:lnTo>
                    <a:pt x="1110" y="1842"/>
                  </a:lnTo>
                  <a:lnTo>
                    <a:pt x="1092" y="1830"/>
                  </a:lnTo>
                  <a:lnTo>
                    <a:pt x="1092" y="1824"/>
                  </a:lnTo>
                  <a:lnTo>
                    <a:pt x="1092" y="1806"/>
                  </a:lnTo>
                  <a:lnTo>
                    <a:pt x="1092" y="1800"/>
                  </a:lnTo>
                  <a:lnTo>
                    <a:pt x="1092" y="1794"/>
                  </a:lnTo>
                  <a:lnTo>
                    <a:pt x="1086" y="1788"/>
                  </a:lnTo>
                  <a:lnTo>
                    <a:pt x="1080" y="1794"/>
                  </a:lnTo>
                  <a:lnTo>
                    <a:pt x="1074" y="1788"/>
                  </a:lnTo>
                  <a:lnTo>
                    <a:pt x="1068" y="1770"/>
                  </a:lnTo>
                  <a:lnTo>
                    <a:pt x="1056" y="1764"/>
                  </a:lnTo>
                  <a:lnTo>
                    <a:pt x="1050" y="1764"/>
                  </a:lnTo>
                  <a:lnTo>
                    <a:pt x="1044" y="1764"/>
                  </a:lnTo>
                  <a:lnTo>
                    <a:pt x="1038" y="1758"/>
                  </a:lnTo>
                  <a:lnTo>
                    <a:pt x="1032" y="1752"/>
                  </a:lnTo>
                  <a:lnTo>
                    <a:pt x="1032" y="1746"/>
                  </a:lnTo>
                  <a:lnTo>
                    <a:pt x="1032" y="1740"/>
                  </a:lnTo>
                  <a:lnTo>
                    <a:pt x="1032" y="1734"/>
                  </a:lnTo>
                  <a:lnTo>
                    <a:pt x="1026" y="1734"/>
                  </a:lnTo>
                  <a:lnTo>
                    <a:pt x="1032" y="1728"/>
                  </a:lnTo>
                  <a:lnTo>
                    <a:pt x="1032" y="1722"/>
                  </a:lnTo>
                  <a:lnTo>
                    <a:pt x="1044" y="1686"/>
                  </a:lnTo>
                  <a:lnTo>
                    <a:pt x="1044" y="1680"/>
                  </a:lnTo>
                  <a:lnTo>
                    <a:pt x="1032" y="1674"/>
                  </a:lnTo>
                  <a:lnTo>
                    <a:pt x="1026" y="1674"/>
                  </a:lnTo>
                  <a:lnTo>
                    <a:pt x="1026" y="1668"/>
                  </a:lnTo>
                  <a:lnTo>
                    <a:pt x="1020" y="1662"/>
                  </a:lnTo>
                  <a:lnTo>
                    <a:pt x="1014" y="1668"/>
                  </a:lnTo>
                  <a:lnTo>
                    <a:pt x="1008" y="1662"/>
                  </a:lnTo>
                  <a:lnTo>
                    <a:pt x="1002" y="1662"/>
                  </a:lnTo>
                  <a:lnTo>
                    <a:pt x="1002" y="1668"/>
                  </a:lnTo>
                  <a:lnTo>
                    <a:pt x="996" y="1668"/>
                  </a:lnTo>
                  <a:lnTo>
                    <a:pt x="996" y="1662"/>
                  </a:lnTo>
                  <a:lnTo>
                    <a:pt x="984" y="1662"/>
                  </a:lnTo>
                  <a:lnTo>
                    <a:pt x="984" y="1656"/>
                  </a:lnTo>
                  <a:lnTo>
                    <a:pt x="978" y="1650"/>
                  </a:lnTo>
                  <a:lnTo>
                    <a:pt x="978" y="1644"/>
                  </a:lnTo>
                  <a:lnTo>
                    <a:pt x="966" y="1650"/>
                  </a:lnTo>
                  <a:lnTo>
                    <a:pt x="960" y="1638"/>
                  </a:lnTo>
                  <a:lnTo>
                    <a:pt x="954" y="1632"/>
                  </a:lnTo>
                  <a:lnTo>
                    <a:pt x="948" y="1632"/>
                  </a:lnTo>
                  <a:lnTo>
                    <a:pt x="942" y="1626"/>
                  </a:lnTo>
                  <a:lnTo>
                    <a:pt x="942" y="1614"/>
                  </a:lnTo>
                  <a:lnTo>
                    <a:pt x="930" y="1608"/>
                  </a:lnTo>
                  <a:lnTo>
                    <a:pt x="924" y="1614"/>
                  </a:lnTo>
                  <a:lnTo>
                    <a:pt x="912" y="1608"/>
                  </a:lnTo>
                  <a:lnTo>
                    <a:pt x="888" y="1590"/>
                  </a:lnTo>
                  <a:lnTo>
                    <a:pt x="894" y="1578"/>
                  </a:lnTo>
                  <a:lnTo>
                    <a:pt x="894" y="1572"/>
                  </a:lnTo>
                  <a:lnTo>
                    <a:pt x="894" y="1566"/>
                  </a:lnTo>
                  <a:lnTo>
                    <a:pt x="894" y="1548"/>
                  </a:lnTo>
                  <a:lnTo>
                    <a:pt x="888" y="1548"/>
                  </a:lnTo>
                  <a:lnTo>
                    <a:pt x="882" y="1542"/>
                  </a:lnTo>
                  <a:lnTo>
                    <a:pt x="876" y="1542"/>
                  </a:lnTo>
                  <a:lnTo>
                    <a:pt x="876" y="1536"/>
                  </a:lnTo>
                  <a:lnTo>
                    <a:pt x="870" y="1542"/>
                  </a:lnTo>
                  <a:lnTo>
                    <a:pt x="870" y="1554"/>
                  </a:lnTo>
                  <a:lnTo>
                    <a:pt x="870" y="1566"/>
                  </a:lnTo>
                  <a:lnTo>
                    <a:pt x="870" y="1578"/>
                  </a:lnTo>
                  <a:lnTo>
                    <a:pt x="870" y="1584"/>
                  </a:lnTo>
                  <a:lnTo>
                    <a:pt x="864" y="1584"/>
                  </a:lnTo>
                  <a:lnTo>
                    <a:pt x="870" y="1602"/>
                  </a:lnTo>
                  <a:lnTo>
                    <a:pt x="864" y="1608"/>
                  </a:lnTo>
                  <a:lnTo>
                    <a:pt x="870" y="1614"/>
                  </a:lnTo>
                  <a:lnTo>
                    <a:pt x="864" y="1644"/>
                  </a:lnTo>
                  <a:lnTo>
                    <a:pt x="858" y="1650"/>
                  </a:lnTo>
                  <a:lnTo>
                    <a:pt x="858" y="1656"/>
                  </a:lnTo>
                  <a:lnTo>
                    <a:pt x="852" y="1662"/>
                  </a:lnTo>
                  <a:lnTo>
                    <a:pt x="852" y="1680"/>
                  </a:lnTo>
                  <a:lnTo>
                    <a:pt x="846" y="1686"/>
                  </a:lnTo>
                  <a:lnTo>
                    <a:pt x="834" y="1692"/>
                  </a:lnTo>
                  <a:lnTo>
                    <a:pt x="828" y="1692"/>
                  </a:lnTo>
                  <a:lnTo>
                    <a:pt x="822" y="1698"/>
                  </a:lnTo>
                  <a:lnTo>
                    <a:pt x="822" y="1704"/>
                  </a:lnTo>
                  <a:lnTo>
                    <a:pt x="816" y="1704"/>
                  </a:lnTo>
                  <a:lnTo>
                    <a:pt x="804" y="1692"/>
                  </a:lnTo>
                  <a:lnTo>
                    <a:pt x="786" y="1698"/>
                  </a:lnTo>
                  <a:lnTo>
                    <a:pt x="780" y="1698"/>
                  </a:lnTo>
                  <a:lnTo>
                    <a:pt x="756" y="1698"/>
                  </a:lnTo>
                  <a:lnTo>
                    <a:pt x="744" y="1698"/>
                  </a:lnTo>
                  <a:lnTo>
                    <a:pt x="738" y="1698"/>
                  </a:lnTo>
                  <a:lnTo>
                    <a:pt x="732" y="1704"/>
                  </a:lnTo>
                  <a:lnTo>
                    <a:pt x="726" y="1704"/>
                  </a:lnTo>
                  <a:lnTo>
                    <a:pt x="678" y="1710"/>
                  </a:lnTo>
                  <a:lnTo>
                    <a:pt x="642" y="1710"/>
                  </a:lnTo>
                  <a:lnTo>
                    <a:pt x="618" y="1680"/>
                  </a:lnTo>
                  <a:lnTo>
                    <a:pt x="618" y="1674"/>
                  </a:lnTo>
                  <a:lnTo>
                    <a:pt x="618" y="1668"/>
                  </a:lnTo>
                  <a:lnTo>
                    <a:pt x="624" y="1662"/>
                  </a:lnTo>
                  <a:lnTo>
                    <a:pt x="624" y="1656"/>
                  </a:lnTo>
                  <a:lnTo>
                    <a:pt x="624" y="1650"/>
                  </a:lnTo>
                  <a:lnTo>
                    <a:pt x="618" y="1650"/>
                  </a:lnTo>
                  <a:lnTo>
                    <a:pt x="618" y="1644"/>
                  </a:lnTo>
                  <a:lnTo>
                    <a:pt x="618" y="1638"/>
                  </a:lnTo>
                  <a:lnTo>
                    <a:pt x="618" y="1632"/>
                  </a:lnTo>
                  <a:lnTo>
                    <a:pt x="618" y="1626"/>
                  </a:lnTo>
                  <a:lnTo>
                    <a:pt x="612" y="1626"/>
                  </a:lnTo>
                  <a:lnTo>
                    <a:pt x="612" y="1620"/>
                  </a:lnTo>
                  <a:lnTo>
                    <a:pt x="606" y="1614"/>
                  </a:lnTo>
                  <a:lnTo>
                    <a:pt x="594" y="1626"/>
                  </a:lnTo>
                  <a:lnTo>
                    <a:pt x="594" y="1632"/>
                  </a:lnTo>
                  <a:lnTo>
                    <a:pt x="588" y="1638"/>
                  </a:lnTo>
                  <a:lnTo>
                    <a:pt x="582" y="1638"/>
                  </a:lnTo>
                  <a:lnTo>
                    <a:pt x="564" y="1656"/>
                  </a:lnTo>
                  <a:lnTo>
                    <a:pt x="558" y="1662"/>
                  </a:lnTo>
                  <a:lnTo>
                    <a:pt x="552" y="1662"/>
                  </a:lnTo>
                  <a:lnTo>
                    <a:pt x="540" y="1674"/>
                  </a:lnTo>
                  <a:lnTo>
                    <a:pt x="534" y="1680"/>
                  </a:lnTo>
                  <a:lnTo>
                    <a:pt x="522" y="1692"/>
                  </a:lnTo>
                  <a:lnTo>
                    <a:pt x="516" y="1704"/>
                  </a:lnTo>
                  <a:lnTo>
                    <a:pt x="510" y="1704"/>
                  </a:lnTo>
                  <a:lnTo>
                    <a:pt x="504" y="1704"/>
                  </a:lnTo>
                  <a:lnTo>
                    <a:pt x="486" y="1722"/>
                  </a:lnTo>
                  <a:lnTo>
                    <a:pt x="480" y="1740"/>
                  </a:lnTo>
                  <a:lnTo>
                    <a:pt x="474" y="1740"/>
                  </a:lnTo>
                  <a:lnTo>
                    <a:pt x="468" y="1746"/>
                  </a:lnTo>
                  <a:lnTo>
                    <a:pt x="456" y="1758"/>
                  </a:lnTo>
                  <a:lnTo>
                    <a:pt x="444" y="1770"/>
                  </a:lnTo>
                  <a:lnTo>
                    <a:pt x="438" y="1782"/>
                  </a:lnTo>
                  <a:lnTo>
                    <a:pt x="426" y="1788"/>
                  </a:lnTo>
                  <a:lnTo>
                    <a:pt x="420" y="1788"/>
                  </a:lnTo>
                  <a:lnTo>
                    <a:pt x="420" y="1782"/>
                  </a:lnTo>
                  <a:lnTo>
                    <a:pt x="414" y="1782"/>
                  </a:lnTo>
                  <a:lnTo>
                    <a:pt x="390" y="1782"/>
                  </a:lnTo>
                  <a:lnTo>
                    <a:pt x="390" y="1776"/>
                  </a:lnTo>
                  <a:lnTo>
                    <a:pt x="384" y="1776"/>
                  </a:lnTo>
                  <a:lnTo>
                    <a:pt x="378" y="1776"/>
                  </a:lnTo>
                  <a:lnTo>
                    <a:pt x="372" y="1776"/>
                  </a:lnTo>
                  <a:lnTo>
                    <a:pt x="366" y="1770"/>
                  </a:lnTo>
                  <a:lnTo>
                    <a:pt x="366" y="1776"/>
                  </a:lnTo>
                  <a:lnTo>
                    <a:pt x="360" y="1788"/>
                  </a:lnTo>
                  <a:lnTo>
                    <a:pt x="360" y="1794"/>
                  </a:lnTo>
                  <a:lnTo>
                    <a:pt x="360" y="1800"/>
                  </a:lnTo>
                  <a:lnTo>
                    <a:pt x="354" y="1806"/>
                  </a:lnTo>
                  <a:lnTo>
                    <a:pt x="354" y="1812"/>
                  </a:lnTo>
                  <a:lnTo>
                    <a:pt x="354" y="1824"/>
                  </a:lnTo>
                  <a:lnTo>
                    <a:pt x="348" y="1830"/>
                  </a:lnTo>
                  <a:lnTo>
                    <a:pt x="354" y="1836"/>
                  </a:lnTo>
                  <a:lnTo>
                    <a:pt x="348" y="1842"/>
                  </a:lnTo>
                  <a:lnTo>
                    <a:pt x="354" y="1848"/>
                  </a:lnTo>
                  <a:lnTo>
                    <a:pt x="348" y="1854"/>
                  </a:lnTo>
                  <a:lnTo>
                    <a:pt x="354" y="1854"/>
                  </a:lnTo>
                  <a:lnTo>
                    <a:pt x="348" y="1860"/>
                  </a:lnTo>
                  <a:lnTo>
                    <a:pt x="348" y="1866"/>
                  </a:lnTo>
                  <a:lnTo>
                    <a:pt x="342" y="1866"/>
                  </a:lnTo>
                  <a:lnTo>
                    <a:pt x="342" y="1872"/>
                  </a:lnTo>
                  <a:lnTo>
                    <a:pt x="342" y="1878"/>
                  </a:lnTo>
                  <a:lnTo>
                    <a:pt x="342" y="1884"/>
                  </a:lnTo>
                  <a:lnTo>
                    <a:pt x="336" y="1896"/>
                  </a:lnTo>
                  <a:lnTo>
                    <a:pt x="330" y="1914"/>
                  </a:lnTo>
                  <a:lnTo>
                    <a:pt x="324" y="1920"/>
                  </a:lnTo>
                  <a:lnTo>
                    <a:pt x="324" y="1926"/>
                  </a:lnTo>
                  <a:lnTo>
                    <a:pt x="318" y="1944"/>
                  </a:lnTo>
                  <a:lnTo>
                    <a:pt x="318" y="1950"/>
                  </a:lnTo>
                  <a:lnTo>
                    <a:pt x="312" y="1956"/>
                  </a:lnTo>
                  <a:lnTo>
                    <a:pt x="312" y="1950"/>
                  </a:lnTo>
                  <a:lnTo>
                    <a:pt x="306" y="1950"/>
                  </a:lnTo>
                  <a:lnTo>
                    <a:pt x="306" y="1956"/>
                  </a:lnTo>
                  <a:lnTo>
                    <a:pt x="300" y="1950"/>
                  </a:lnTo>
                  <a:lnTo>
                    <a:pt x="294" y="1956"/>
                  </a:lnTo>
                  <a:lnTo>
                    <a:pt x="288" y="1950"/>
                  </a:lnTo>
                  <a:lnTo>
                    <a:pt x="288" y="1944"/>
                  </a:lnTo>
                  <a:lnTo>
                    <a:pt x="282" y="1938"/>
                  </a:lnTo>
                  <a:lnTo>
                    <a:pt x="282" y="1932"/>
                  </a:lnTo>
                  <a:lnTo>
                    <a:pt x="282" y="1890"/>
                  </a:lnTo>
                  <a:lnTo>
                    <a:pt x="288" y="1860"/>
                  </a:lnTo>
                  <a:lnTo>
                    <a:pt x="294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300" y="1818"/>
                  </a:lnTo>
                  <a:lnTo>
                    <a:pt x="306" y="1794"/>
                  </a:lnTo>
                  <a:lnTo>
                    <a:pt x="306" y="1788"/>
                  </a:lnTo>
                  <a:lnTo>
                    <a:pt x="306" y="1782"/>
                  </a:lnTo>
                  <a:lnTo>
                    <a:pt x="312" y="1776"/>
                  </a:lnTo>
                  <a:lnTo>
                    <a:pt x="306" y="1776"/>
                  </a:lnTo>
                  <a:lnTo>
                    <a:pt x="312" y="1770"/>
                  </a:lnTo>
                  <a:lnTo>
                    <a:pt x="312" y="1740"/>
                  </a:lnTo>
                  <a:lnTo>
                    <a:pt x="318" y="1722"/>
                  </a:lnTo>
                  <a:lnTo>
                    <a:pt x="312" y="1722"/>
                  </a:lnTo>
                  <a:lnTo>
                    <a:pt x="300" y="1716"/>
                  </a:lnTo>
                  <a:lnTo>
                    <a:pt x="306" y="1716"/>
                  </a:lnTo>
                  <a:lnTo>
                    <a:pt x="312" y="1710"/>
                  </a:lnTo>
                  <a:lnTo>
                    <a:pt x="324" y="1674"/>
                  </a:lnTo>
                  <a:lnTo>
                    <a:pt x="366" y="1590"/>
                  </a:lnTo>
                  <a:lnTo>
                    <a:pt x="408" y="1548"/>
                  </a:lnTo>
                  <a:lnTo>
                    <a:pt x="426" y="1530"/>
                  </a:lnTo>
                  <a:lnTo>
                    <a:pt x="432" y="1500"/>
                  </a:lnTo>
                  <a:lnTo>
                    <a:pt x="426" y="1494"/>
                  </a:lnTo>
                  <a:lnTo>
                    <a:pt x="426" y="1482"/>
                  </a:lnTo>
                  <a:lnTo>
                    <a:pt x="432" y="1464"/>
                  </a:lnTo>
                  <a:lnTo>
                    <a:pt x="438" y="1428"/>
                  </a:lnTo>
                  <a:lnTo>
                    <a:pt x="462" y="1398"/>
                  </a:lnTo>
                  <a:lnTo>
                    <a:pt x="468" y="1362"/>
                  </a:lnTo>
                  <a:lnTo>
                    <a:pt x="462" y="1314"/>
                  </a:lnTo>
                  <a:lnTo>
                    <a:pt x="444" y="1284"/>
                  </a:lnTo>
                  <a:lnTo>
                    <a:pt x="432" y="1260"/>
                  </a:lnTo>
                  <a:lnTo>
                    <a:pt x="426" y="1260"/>
                  </a:lnTo>
                  <a:lnTo>
                    <a:pt x="420" y="1254"/>
                  </a:lnTo>
                  <a:lnTo>
                    <a:pt x="408" y="1260"/>
                  </a:lnTo>
                  <a:lnTo>
                    <a:pt x="402" y="1260"/>
                  </a:lnTo>
                  <a:lnTo>
                    <a:pt x="402" y="1254"/>
                  </a:lnTo>
                  <a:lnTo>
                    <a:pt x="396" y="1254"/>
                  </a:lnTo>
                  <a:lnTo>
                    <a:pt x="396" y="1248"/>
                  </a:lnTo>
                  <a:lnTo>
                    <a:pt x="384" y="1248"/>
                  </a:lnTo>
                  <a:lnTo>
                    <a:pt x="372" y="1230"/>
                  </a:lnTo>
                  <a:lnTo>
                    <a:pt x="360" y="1212"/>
                  </a:lnTo>
                  <a:lnTo>
                    <a:pt x="348" y="1188"/>
                  </a:lnTo>
                  <a:lnTo>
                    <a:pt x="324" y="1170"/>
                  </a:lnTo>
                  <a:lnTo>
                    <a:pt x="318" y="1170"/>
                  </a:lnTo>
                  <a:lnTo>
                    <a:pt x="312" y="1158"/>
                  </a:lnTo>
                  <a:lnTo>
                    <a:pt x="312" y="1152"/>
                  </a:lnTo>
                  <a:lnTo>
                    <a:pt x="306" y="1146"/>
                  </a:lnTo>
                  <a:lnTo>
                    <a:pt x="270" y="1122"/>
                  </a:lnTo>
                  <a:lnTo>
                    <a:pt x="240" y="1122"/>
                  </a:lnTo>
                  <a:lnTo>
                    <a:pt x="180" y="1116"/>
                  </a:lnTo>
                  <a:lnTo>
                    <a:pt x="174" y="1122"/>
                  </a:lnTo>
                  <a:lnTo>
                    <a:pt x="174" y="1128"/>
                  </a:lnTo>
                  <a:lnTo>
                    <a:pt x="168" y="1122"/>
                  </a:lnTo>
                  <a:lnTo>
                    <a:pt x="162" y="1116"/>
                  </a:lnTo>
                  <a:lnTo>
                    <a:pt x="144" y="1122"/>
                  </a:lnTo>
                  <a:lnTo>
                    <a:pt x="120" y="1122"/>
                  </a:lnTo>
                  <a:lnTo>
                    <a:pt x="54" y="1134"/>
                  </a:lnTo>
                  <a:lnTo>
                    <a:pt x="24" y="1152"/>
                  </a:lnTo>
                  <a:lnTo>
                    <a:pt x="6" y="1146"/>
                  </a:lnTo>
                  <a:lnTo>
                    <a:pt x="0" y="1134"/>
                  </a:lnTo>
                  <a:lnTo>
                    <a:pt x="0" y="1128"/>
                  </a:lnTo>
                  <a:lnTo>
                    <a:pt x="18" y="1110"/>
                  </a:lnTo>
                  <a:lnTo>
                    <a:pt x="24" y="1104"/>
                  </a:lnTo>
                  <a:lnTo>
                    <a:pt x="24" y="1098"/>
                  </a:lnTo>
                  <a:lnTo>
                    <a:pt x="30" y="1086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24" y="1074"/>
                  </a:lnTo>
                  <a:lnTo>
                    <a:pt x="18" y="1068"/>
                  </a:lnTo>
                  <a:lnTo>
                    <a:pt x="24" y="1062"/>
                  </a:lnTo>
                  <a:lnTo>
                    <a:pt x="42" y="1056"/>
                  </a:lnTo>
                  <a:lnTo>
                    <a:pt x="54" y="1050"/>
                  </a:lnTo>
                  <a:lnTo>
                    <a:pt x="72" y="1044"/>
                  </a:lnTo>
                  <a:lnTo>
                    <a:pt x="96" y="1032"/>
                  </a:lnTo>
                  <a:lnTo>
                    <a:pt x="102" y="1032"/>
                  </a:lnTo>
                  <a:lnTo>
                    <a:pt x="126" y="1008"/>
                  </a:lnTo>
                  <a:lnTo>
                    <a:pt x="144" y="990"/>
                  </a:lnTo>
                  <a:lnTo>
                    <a:pt x="156" y="978"/>
                  </a:lnTo>
                  <a:lnTo>
                    <a:pt x="156" y="966"/>
                  </a:lnTo>
                  <a:lnTo>
                    <a:pt x="150" y="960"/>
                  </a:lnTo>
                  <a:lnTo>
                    <a:pt x="144" y="948"/>
                  </a:lnTo>
                  <a:lnTo>
                    <a:pt x="144" y="936"/>
                  </a:lnTo>
                  <a:lnTo>
                    <a:pt x="138" y="918"/>
                  </a:lnTo>
                  <a:lnTo>
                    <a:pt x="150" y="912"/>
                  </a:lnTo>
                  <a:lnTo>
                    <a:pt x="150" y="894"/>
                  </a:lnTo>
                  <a:lnTo>
                    <a:pt x="132" y="876"/>
                  </a:lnTo>
                  <a:lnTo>
                    <a:pt x="126" y="876"/>
                  </a:lnTo>
                  <a:lnTo>
                    <a:pt x="120" y="870"/>
                  </a:lnTo>
                  <a:lnTo>
                    <a:pt x="120" y="864"/>
                  </a:lnTo>
                  <a:lnTo>
                    <a:pt x="114" y="864"/>
                  </a:lnTo>
                  <a:lnTo>
                    <a:pt x="108" y="864"/>
                  </a:lnTo>
                  <a:lnTo>
                    <a:pt x="108" y="858"/>
                  </a:lnTo>
                  <a:lnTo>
                    <a:pt x="102" y="852"/>
                  </a:lnTo>
                  <a:lnTo>
                    <a:pt x="96" y="852"/>
                  </a:lnTo>
                  <a:lnTo>
                    <a:pt x="102" y="834"/>
                  </a:lnTo>
                  <a:lnTo>
                    <a:pt x="108" y="816"/>
                  </a:lnTo>
                  <a:lnTo>
                    <a:pt x="114" y="804"/>
                  </a:lnTo>
                  <a:lnTo>
                    <a:pt x="132" y="798"/>
                  </a:lnTo>
                  <a:lnTo>
                    <a:pt x="144" y="798"/>
                  </a:lnTo>
                  <a:lnTo>
                    <a:pt x="180" y="810"/>
                  </a:lnTo>
                  <a:lnTo>
                    <a:pt x="192" y="816"/>
                  </a:lnTo>
                  <a:lnTo>
                    <a:pt x="234" y="822"/>
                  </a:lnTo>
                  <a:lnTo>
                    <a:pt x="264" y="828"/>
                  </a:lnTo>
                  <a:lnTo>
                    <a:pt x="270" y="840"/>
                  </a:lnTo>
                  <a:lnTo>
                    <a:pt x="270" y="834"/>
                  </a:lnTo>
                  <a:lnTo>
                    <a:pt x="270" y="828"/>
                  </a:lnTo>
                  <a:lnTo>
                    <a:pt x="270" y="822"/>
                  </a:lnTo>
                  <a:lnTo>
                    <a:pt x="270" y="816"/>
                  </a:lnTo>
                  <a:lnTo>
                    <a:pt x="264" y="810"/>
                  </a:lnTo>
                  <a:lnTo>
                    <a:pt x="264" y="804"/>
                  </a:lnTo>
                  <a:lnTo>
                    <a:pt x="264" y="798"/>
                  </a:lnTo>
                  <a:lnTo>
                    <a:pt x="258" y="792"/>
                  </a:lnTo>
                  <a:lnTo>
                    <a:pt x="258" y="786"/>
                  </a:lnTo>
                  <a:lnTo>
                    <a:pt x="264" y="786"/>
                  </a:lnTo>
                  <a:lnTo>
                    <a:pt x="264" y="780"/>
                  </a:lnTo>
                  <a:lnTo>
                    <a:pt x="258" y="774"/>
                  </a:lnTo>
                  <a:lnTo>
                    <a:pt x="258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82" y="762"/>
                  </a:lnTo>
                  <a:lnTo>
                    <a:pt x="312" y="780"/>
                  </a:lnTo>
                  <a:lnTo>
                    <a:pt x="354" y="786"/>
                  </a:lnTo>
                  <a:lnTo>
                    <a:pt x="408" y="774"/>
                  </a:lnTo>
                  <a:lnTo>
                    <a:pt x="444" y="756"/>
                  </a:lnTo>
                  <a:lnTo>
                    <a:pt x="468" y="732"/>
                  </a:lnTo>
                  <a:lnTo>
                    <a:pt x="492" y="720"/>
                  </a:lnTo>
                  <a:lnTo>
                    <a:pt x="522" y="690"/>
                  </a:lnTo>
                  <a:lnTo>
                    <a:pt x="540" y="672"/>
                  </a:lnTo>
                  <a:lnTo>
                    <a:pt x="558" y="660"/>
                  </a:lnTo>
                  <a:lnTo>
                    <a:pt x="570" y="636"/>
                  </a:lnTo>
                  <a:lnTo>
                    <a:pt x="588" y="612"/>
                  </a:lnTo>
                  <a:lnTo>
                    <a:pt x="654" y="552"/>
                  </a:lnTo>
                  <a:lnTo>
                    <a:pt x="678" y="528"/>
                  </a:lnTo>
                  <a:lnTo>
                    <a:pt x="696" y="510"/>
                  </a:lnTo>
                  <a:lnTo>
                    <a:pt x="714" y="498"/>
                  </a:lnTo>
                  <a:lnTo>
                    <a:pt x="750" y="480"/>
                  </a:lnTo>
                  <a:lnTo>
                    <a:pt x="774" y="444"/>
                  </a:lnTo>
                  <a:lnTo>
                    <a:pt x="816" y="426"/>
                  </a:lnTo>
                  <a:lnTo>
                    <a:pt x="864" y="420"/>
                  </a:lnTo>
                  <a:lnTo>
                    <a:pt x="912" y="402"/>
                  </a:lnTo>
                  <a:lnTo>
                    <a:pt x="906" y="396"/>
                  </a:lnTo>
                  <a:lnTo>
                    <a:pt x="912" y="396"/>
                  </a:lnTo>
                  <a:lnTo>
                    <a:pt x="912" y="390"/>
                  </a:lnTo>
                  <a:lnTo>
                    <a:pt x="918" y="384"/>
                  </a:lnTo>
                  <a:lnTo>
                    <a:pt x="924" y="384"/>
                  </a:lnTo>
                  <a:lnTo>
                    <a:pt x="924" y="378"/>
                  </a:lnTo>
                  <a:lnTo>
                    <a:pt x="918" y="372"/>
                  </a:lnTo>
                  <a:lnTo>
                    <a:pt x="918" y="366"/>
                  </a:lnTo>
                  <a:lnTo>
                    <a:pt x="918" y="360"/>
                  </a:lnTo>
                  <a:lnTo>
                    <a:pt x="924" y="360"/>
                  </a:lnTo>
                  <a:lnTo>
                    <a:pt x="924" y="354"/>
                  </a:lnTo>
                  <a:lnTo>
                    <a:pt x="930" y="354"/>
                  </a:lnTo>
                  <a:lnTo>
                    <a:pt x="936" y="354"/>
                  </a:lnTo>
                  <a:lnTo>
                    <a:pt x="936" y="348"/>
                  </a:lnTo>
                  <a:lnTo>
                    <a:pt x="942" y="348"/>
                  </a:lnTo>
                  <a:lnTo>
                    <a:pt x="942" y="336"/>
                  </a:lnTo>
                  <a:lnTo>
                    <a:pt x="936" y="336"/>
                  </a:lnTo>
                  <a:lnTo>
                    <a:pt x="930" y="330"/>
                  </a:lnTo>
                  <a:lnTo>
                    <a:pt x="924" y="330"/>
                  </a:lnTo>
                  <a:lnTo>
                    <a:pt x="924" y="324"/>
                  </a:lnTo>
                  <a:lnTo>
                    <a:pt x="918" y="318"/>
                  </a:lnTo>
                  <a:lnTo>
                    <a:pt x="912" y="306"/>
                  </a:lnTo>
                  <a:lnTo>
                    <a:pt x="918" y="306"/>
                  </a:lnTo>
                  <a:lnTo>
                    <a:pt x="924" y="300"/>
                  </a:lnTo>
                  <a:lnTo>
                    <a:pt x="924" y="294"/>
                  </a:lnTo>
                  <a:lnTo>
                    <a:pt x="924" y="288"/>
                  </a:lnTo>
                  <a:lnTo>
                    <a:pt x="924" y="282"/>
                  </a:lnTo>
                  <a:lnTo>
                    <a:pt x="924" y="276"/>
                  </a:lnTo>
                  <a:lnTo>
                    <a:pt x="918" y="270"/>
                  </a:lnTo>
                  <a:lnTo>
                    <a:pt x="918" y="264"/>
                  </a:lnTo>
                  <a:lnTo>
                    <a:pt x="912" y="270"/>
                  </a:lnTo>
                  <a:lnTo>
                    <a:pt x="912" y="264"/>
                  </a:lnTo>
                  <a:lnTo>
                    <a:pt x="912" y="258"/>
                  </a:lnTo>
                  <a:lnTo>
                    <a:pt x="912" y="252"/>
                  </a:lnTo>
                  <a:lnTo>
                    <a:pt x="906" y="252"/>
                  </a:lnTo>
                  <a:lnTo>
                    <a:pt x="900" y="246"/>
                  </a:lnTo>
                  <a:lnTo>
                    <a:pt x="900" y="240"/>
                  </a:lnTo>
                  <a:lnTo>
                    <a:pt x="900" y="246"/>
                  </a:lnTo>
                  <a:lnTo>
                    <a:pt x="894" y="246"/>
                  </a:lnTo>
                  <a:lnTo>
                    <a:pt x="894" y="240"/>
                  </a:lnTo>
                  <a:lnTo>
                    <a:pt x="894" y="234"/>
                  </a:lnTo>
                  <a:lnTo>
                    <a:pt x="900" y="234"/>
                  </a:lnTo>
                  <a:lnTo>
                    <a:pt x="900" y="228"/>
                  </a:lnTo>
                  <a:lnTo>
                    <a:pt x="906" y="228"/>
                  </a:lnTo>
                  <a:lnTo>
                    <a:pt x="900" y="222"/>
                  </a:lnTo>
                  <a:lnTo>
                    <a:pt x="894" y="216"/>
                  </a:lnTo>
                  <a:lnTo>
                    <a:pt x="894" y="210"/>
                  </a:lnTo>
                  <a:lnTo>
                    <a:pt x="888" y="210"/>
                  </a:lnTo>
                  <a:lnTo>
                    <a:pt x="888" y="204"/>
                  </a:lnTo>
                  <a:lnTo>
                    <a:pt x="888" y="198"/>
                  </a:lnTo>
                  <a:lnTo>
                    <a:pt x="888" y="192"/>
                  </a:lnTo>
                  <a:lnTo>
                    <a:pt x="882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82" y="174"/>
                  </a:lnTo>
                  <a:lnTo>
                    <a:pt x="888" y="168"/>
                  </a:lnTo>
                  <a:lnTo>
                    <a:pt x="888" y="162"/>
                  </a:lnTo>
                  <a:lnTo>
                    <a:pt x="888" y="156"/>
                  </a:lnTo>
                  <a:lnTo>
                    <a:pt x="888" y="150"/>
                  </a:lnTo>
                  <a:lnTo>
                    <a:pt x="888" y="144"/>
                  </a:lnTo>
                  <a:lnTo>
                    <a:pt x="882" y="144"/>
                  </a:lnTo>
                  <a:lnTo>
                    <a:pt x="882" y="138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76" y="120"/>
                  </a:lnTo>
                  <a:lnTo>
                    <a:pt x="882" y="114"/>
                  </a:lnTo>
                  <a:lnTo>
                    <a:pt x="882" y="108"/>
                  </a:lnTo>
                  <a:lnTo>
                    <a:pt x="888" y="102"/>
                  </a:lnTo>
                  <a:lnTo>
                    <a:pt x="894" y="102"/>
                  </a:lnTo>
                  <a:lnTo>
                    <a:pt x="894" y="96"/>
                  </a:lnTo>
                  <a:lnTo>
                    <a:pt x="888" y="96"/>
                  </a:lnTo>
                  <a:lnTo>
                    <a:pt x="894" y="90"/>
                  </a:lnTo>
                  <a:lnTo>
                    <a:pt x="888" y="84"/>
                  </a:lnTo>
                  <a:lnTo>
                    <a:pt x="888" y="78"/>
                  </a:lnTo>
                  <a:lnTo>
                    <a:pt x="924" y="66"/>
                  </a:lnTo>
                  <a:lnTo>
                    <a:pt x="966" y="66"/>
                  </a:lnTo>
                  <a:lnTo>
                    <a:pt x="996" y="48"/>
                  </a:lnTo>
                  <a:lnTo>
                    <a:pt x="1056" y="12"/>
                  </a:lnTo>
                  <a:lnTo>
                    <a:pt x="1128" y="0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0" y="18"/>
                  </a:lnTo>
                  <a:lnTo>
                    <a:pt x="1176" y="24"/>
                  </a:lnTo>
                  <a:lnTo>
                    <a:pt x="1182" y="24"/>
                  </a:lnTo>
                  <a:lnTo>
                    <a:pt x="1188" y="30"/>
                  </a:lnTo>
                  <a:lnTo>
                    <a:pt x="1194" y="30"/>
                  </a:lnTo>
                  <a:lnTo>
                    <a:pt x="1194" y="36"/>
                  </a:lnTo>
                  <a:lnTo>
                    <a:pt x="1260" y="30"/>
                  </a:lnTo>
                  <a:lnTo>
                    <a:pt x="1272" y="30"/>
                  </a:lnTo>
                  <a:lnTo>
                    <a:pt x="1296" y="24"/>
                  </a:lnTo>
                  <a:lnTo>
                    <a:pt x="1302" y="30"/>
                  </a:lnTo>
                  <a:lnTo>
                    <a:pt x="1302" y="36"/>
                  </a:lnTo>
                  <a:lnTo>
                    <a:pt x="1308" y="36"/>
                  </a:lnTo>
                  <a:lnTo>
                    <a:pt x="1314" y="36"/>
                  </a:lnTo>
                  <a:lnTo>
                    <a:pt x="1320" y="36"/>
                  </a:lnTo>
                  <a:lnTo>
                    <a:pt x="1326" y="30"/>
                  </a:lnTo>
                  <a:lnTo>
                    <a:pt x="1332" y="30"/>
                  </a:lnTo>
                  <a:lnTo>
                    <a:pt x="1338" y="30"/>
                  </a:lnTo>
                  <a:lnTo>
                    <a:pt x="1344" y="30"/>
                  </a:lnTo>
                  <a:lnTo>
                    <a:pt x="1374" y="30"/>
                  </a:lnTo>
                  <a:lnTo>
                    <a:pt x="1386" y="30"/>
                  </a:lnTo>
                  <a:lnTo>
                    <a:pt x="1392" y="24"/>
                  </a:lnTo>
                  <a:lnTo>
                    <a:pt x="1398" y="12"/>
                  </a:lnTo>
                  <a:lnTo>
                    <a:pt x="1404" y="6"/>
                  </a:lnTo>
                  <a:lnTo>
                    <a:pt x="1410" y="6"/>
                  </a:lnTo>
                  <a:lnTo>
                    <a:pt x="1410" y="12"/>
                  </a:lnTo>
                  <a:lnTo>
                    <a:pt x="1416" y="18"/>
                  </a:lnTo>
                  <a:lnTo>
                    <a:pt x="1416" y="36"/>
                  </a:lnTo>
                  <a:lnTo>
                    <a:pt x="1434" y="54"/>
                  </a:lnTo>
                  <a:lnTo>
                    <a:pt x="1434" y="60"/>
                  </a:lnTo>
                  <a:lnTo>
                    <a:pt x="1434" y="66"/>
                  </a:lnTo>
                  <a:lnTo>
                    <a:pt x="1434" y="72"/>
                  </a:lnTo>
                  <a:lnTo>
                    <a:pt x="1428" y="72"/>
                  </a:lnTo>
                  <a:lnTo>
                    <a:pt x="1428" y="78"/>
                  </a:lnTo>
                  <a:lnTo>
                    <a:pt x="1434" y="78"/>
                  </a:lnTo>
                  <a:lnTo>
                    <a:pt x="1440" y="84"/>
                  </a:lnTo>
                  <a:lnTo>
                    <a:pt x="1440" y="90"/>
                  </a:lnTo>
                  <a:lnTo>
                    <a:pt x="1440" y="96"/>
                  </a:lnTo>
                  <a:lnTo>
                    <a:pt x="1446" y="96"/>
                  </a:lnTo>
                  <a:lnTo>
                    <a:pt x="1446" y="108"/>
                  </a:lnTo>
                  <a:lnTo>
                    <a:pt x="1452" y="108"/>
                  </a:lnTo>
                  <a:lnTo>
                    <a:pt x="1452" y="114"/>
                  </a:lnTo>
                  <a:lnTo>
                    <a:pt x="1458" y="114"/>
                  </a:lnTo>
                  <a:lnTo>
                    <a:pt x="1470" y="120"/>
                  </a:lnTo>
                  <a:lnTo>
                    <a:pt x="1476" y="120"/>
                  </a:lnTo>
                  <a:lnTo>
                    <a:pt x="1476" y="114"/>
                  </a:lnTo>
                  <a:lnTo>
                    <a:pt x="1488" y="120"/>
                  </a:lnTo>
                  <a:lnTo>
                    <a:pt x="1506" y="120"/>
                  </a:lnTo>
                  <a:lnTo>
                    <a:pt x="1512" y="120"/>
                  </a:lnTo>
                  <a:lnTo>
                    <a:pt x="1518" y="120"/>
                  </a:lnTo>
                  <a:lnTo>
                    <a:pt x="1524" y="126"/>
                  </a:lnTo>
                  <a:lnTo>
                    <a:pt x="1536" y="150"/>
                  </a:lnTo>
                  <a:lnTo>
                    <a:pt x="1548" y="162"/>
                  </a:lnTo>
                  <a:lnTo>
                    <a:pt x="1554" y="168"/>
                  </a:lnTo>
                  <a:lnTo>
                    <a:pt x="1584" y="228"/>
                  </a:lnTo>
                  <a:lnTo>
                    <a:pt x="1584" y="234"/>
                  </a:lnTo>
                  <a:lnTo>
                    <a:pt x="1578" y="312"/>
                  </a:lnTo>
                  <a:lnTo>
                    <a:pt x="1590" y="318"/>
                  </a:lnTo>
                  <a:lnTo>
                    <a:pt x="1608" y="330"/>
                  </a:lnTo>
                  <a:lnTo>
                    <a:pt x="1620" y="342"/>
                  </a:lnTo>
                  <a:lnTo>
                    <a:pt x="1626" y="342"/>
                  </a:lnTo>
                  <a:lnTo>
                    <a:pt x="1692" y="360"/>
                  </a:lnTo>
                  <a:lnTo>
                    <a:pt x="1710" y="408"/>
                  </a:lnTo>
                  <a:lnTo>
                    <a:pt x="1722" y="426"/>
                  </a:lnTo>
                  <a:lnTo>
                    <a:pt x="1716" y="468"/>
                  </a:lnTo>
                  <a:lnTo>
                    <a:pt x="1686" y="486"/>
                  </a:lnTo>
                  <a:lnTo>
                    <a:pt x="1686" y="492"/>
                  </a:lnTo>
                  <a:lnTo>
                    <a:pt x="1680" y="498"/>
                  </a:lnTo>
                  <a:lnTo>
                    <a:pt x="1650" y="558"/>
                  </a:lnTo>
                  <a:lnTo>
                    <a:pt x="1650" y="570"/>
                  </a:lnTo>
                  <a:lnTo>
                    <a:pt x="1644" y="570"/>
                  </a:lnTo>
                  <a:lnTo>
                    <a:pt x="1638" y="582"/>
                  </a:lnTo>
                  <a:lnTo>
                    <a:pt x="1638" y="624"/>
                  </a:lnTo>
                  <a:lnTo>
                    <a:pt x="1638" y="636"/>
                  </a:lnTo>
                  <a:lnTo>
                    <a:pt x="1638" y="642"/>
                  </a:lnTo>
                  <a:lnTo>
                    <a:pt x="1632" y="660"/>
                  </a:lnTo>
                  <a:lnTo>
                    <a:pt x="1608" y="678"/>
                  </a:lnTo>
                  <a:lnTo>
                    <a:pt x="1584" y="690"/>
                  </a:lnTo>
                  <a:lnTo>
                    <a:pt x="1584" y="696"/>
                  </a:lnTo>
                  <a:lnTo>
                    <a:pt x="1578" y="702"/>
                  </a:lnTo>
                  <a:lnTo>
                    <a:pt x="1584" y="702"/>
                  </a:lnTo>
                  <a:lnTo>
                    <a:pt x="1578" y="714"/>
                  </a:lnTo>
                  <a:lnTo>
                    <a:pt x="1572" y="714"/>
                  </a:lnTo>
                  <a:lnTo>
                    <a:pt x="1572" y="720"/>
                  </a:lnTo>
                  <a:lnTo>
                    <a:pt x="1566" y="720"/>
                  </a:lnTo>
                  <a:lnTo>
                    <a:pt x="1560" y="726"/>
                  </a:lnTo>
                  <a:lnTo>
                    <a:pt x="1560" y="732"/>
                  </a:lnTo>
                  <a:lnTo>
                    <a:pt x="1554" y="732"/>
                  </a:lnTo>
                  <a:lnTo>
                    <a:pt x="1554" y="738"/>
                  </a:lnTo>
                  <a:lnTo>
                    <a:pt x="1554" y="744"/>
                  </a:lnTo>
                  <a:lnTo>
                    <a:pt x="1548" y="744"/>
                  </a:lnTo>
                  <a:lnTo>
                    <a:pt x="1548" y="738"/>
                  </a:lnTo>
                  <a:lnTo>
                    <a:pt x="1542" y="738"/>
                  </a:lnTo>
                  <a:lnTo>
                    <a:pt x="1542" y="744"/>
                  </a:lnTo>
                  <a:lnTo>
                    <a:pt x="1542" y="750"/>
                  </a:lnTo>
                  <a:lnTo>
                    <a:pt x="1494" y="804"/>
                  </a:lnTo>
                  <a:lnTo>
                    <a:pt x="1446" y="876"/>
                  </a:lnTo>
                  <a:lnTo>
                    <a:pt x="1440" y="876"/>
                  </a:lnTo>
                  <a:lnTo>
                    <a:pt x="1434" y="876"/>
                  </a:lnTo>
                  <a:lnTo>
                    <a:pt x="1428" y="882"/>
                  </a:lnTo>
                  <a:lnTo>
                    <a:pt x="1422" y="882"/>
                  </a:lnTo>
                  <a:lnTo>
                    <a:pt x="1386" y="924"/>
                  </a:lnTo>
                  <a:lnTo>
                    <a:pt x="1362" y="954"/>
                  </a:lnTo>
                  <a:lnTo>
                    <a:pt x="1356" y="984"/>
                  </a:lnTo>
                  <a:lnTo>
                    <a:pt x="1362" y="1002"/>
                  </a:lnTo>
                  <a:lnTo>
                    <a:pt x="1368" y="1020"/>
                  </a:lnTo>
                  <a:lnTo>
                    <a:pt x="1386" y="1056"/>
                  </a:lnTo>
                  <a:lnTo>
                    <a:pt x="1404" y="1074"/>
                  </a:lnTo>
                  <a:lnTo>
                    <a:pt x="1416" y="1080"/>
                  </a:lnTo>
                  <a:lnTo>
                    <a:pt x="1416" y="1086"/>
                  </a:lnTo>
                  <a:lnTo>
                    <a:pt x="1422" y="1098"/>
                  </a:lnTo>
                  <a:lnTo>
                    <a:pt x="1422" y="1110"/>
                  </a:lnTo>
                  <a:lnTo>
                    <a:pt x="1428" y="1116"/>
                  </a:lnTo>
                  <a:lnTo>
                    <a:pt x="1434" y="1116"/>
                  </a:lnTo>
                  <a:lnTo>
                    <a:pt x="1434" y="1122"/>
                  </a:lnTo>
                  <a:lnTo>
                    <a:pt x="1434" y="1128"/>
                  </a:lnTo>
                  <a:lnTo>
                    <a:pt x="1440" y="1134"/>
                  </a:lnTo>
                  <a:lnTo>
                    <a:pt x="1446" y="1134"/>
                  </a:lnTo>
                  <a:lnTo>
                    <a:pt x="1458" y="1134"/>
                  </a:lnTo>
                  <a:lnTo>
                    <a:pt x="1458" y="1140"/>
                  </a:lnTo>
                  <a:lnTo>
                    <a:pt x="1464" y="1134"/>
                  </a:lnTo>
                  <a:lnTo>
                    <a:pt x="1470" y="1134"/>
                  </a:lnTo>
                  <a:lnTo>
                    <a:pt x="1464" y="1128"/>
                  </a:lnTo>
                  <a:lnTo>
                    <a:pt x="1464" y="1122"/>
                  </a:lnTo>
                  <a:lnTo>
                    <a:pt x="1470" y="1116"/>
                  </a:lnTo>
                  <a:lnTo>
                    <a:pt x="1470" y="1122"/>
                  </a:lnTo>
                  <a:lnTo>
                    <a:pt x="1476" y="1122"/>
                  </a:lnTo>
                  <a:lnTo>
                    <a:pt x="1476" y="1116"/>
                  </a:lnTo>
                  <a:lnTo>
                    <a:pt x="1482" y="1110"/>
                  </a:lnTo>
                  <a:lnTo>
                    <a:pt x="1476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82" y="1086"/>
                  </a:lnTo>
                  <a:lnTo>
                    <a:pt x="1482" y="1074"/>
                  </a:lnTo>
                  <a:lnTo>
                    <a:pt x="1488" y="1068"/>
                  </a:lnTo>
                  <a:lnTo>
                    <a:pt x="1488" y="1062"/>
                  </a:lnTo>
                  <a:lnTo>
                    <a:pt x="1494" y="1062"/>
                  </a:lnTo>
                  <a:lnTo>
                    <a:pt x="1500" y="1062"/>
                  </a:lnTo>
                  <a:lnTo>
                    <a:pt x="1506" y="1062"/>
                  </a:lnTo>
                  <a:lnTo>
                    <a:pt x="1506" y="1056"/>
                  </a:lnTo>
                  <a:lnTo>
                    <a:pt x="1506" y="1062"/>
                  </a:lnTo>
                  <a:lnTo>
                    <a:pt x="1518" y="1062"/>
                  </a:lnTo>
                  <a:lnTo>
                    <a:pt x="1524" y="1062"/>
                  </a:lnTo>
                  <a:lnTo>
                    <a:pt x="1530" y="1062"/>
                  </a:lnTo>
                  <a:lnTo>
                    <a:pt x="1536" y="1068"/>
                  </a:lnTo>
                  <a:lnTo>
                    <a:pt x="1536" y="1074"/>
                  </a:lnTo>
                  <a:lnTo>
                    <a:pt x="1542" y="1086"/>
                  </a:lnTo>
                  <a:lnTo>
                    <a:pt x="1548" y="1086"/>
                  </a:lnTo>
                  <a:lnTo>
                    <a:pt x="1554" y="1086"/>
                  </a:lnTo>
                  <a:lnTo>
                    <a:pt x="1566" y="1098"/>
                  </a:lnTo>
                  <a:lnTo>
                    <a:pt x="1572" y="1104"/>
                  </a:lnTo>
                  <a:lnTo>
                    <a:pt x="1566" y="1110"/>
                  </a:lnTo>
                  <a:lnTo>
                    <a:pt x="1572" y="1116"/>
                  </a:lnTo>
                  <a:lnTo>
                    <a:pt x="1578" y="1116"/>
                  </a:lnTo>
                  <a:lnTo>
                    <a:pt x="1578" y="1122"/>
                  </a:lnTo>
                  <a:lnTo>
                    <a:pt x="1584" y="1122"/>
                  </a:lnTo>
                  <a:lnTo>
                    <a:pt x="1584" y="1128"/>
                  </a:lnTo>
                  <a:lnTo>
                    <a:pt x="1584" y="1134"/>
                  </a:lnTo>
                  <a:lnTo>
                    <a:pt x="1590" y="1134"/>
                  </a:lnTo>
                  <a:lnTo>
                    <a:pt x="1596" y="1140"/>
                  </a:lnTo>
                  <a:lnTo>
                    <a:pt x="1602" y="1146"/>
                  </a:lnTo>
                  <a:lnTo>
                    <a:pt x="1608" y="1146"/>
                  </a:lnTo>
                  <a:lnTo>
                    <a:pt x="1614" y="1146"/>
                  </a:lnTo>
                  <a:lnTo>
                    <a:pt x="1614" y="1152"/>
                  </a:lnTo>
                  <a:lnTo>
                    <a:pt x="1620" y="1152"/>
                  </a:lnTo>
                  <a:lnTo>
                    <a:pt x="1626" y="1164"/>
                  </a:lnTo>
                  <a:lnTo>
                    <a:pt x="1632" y="1170"/>
                  </a:lnTo>
                  <a:lnTo>
                    <a:pt x="1638" y="1176"/>
                  </a:lnTo>
                  <a:lnTo>
                    <a:pt x="1638" y="1182"/>
                  </a:lnTo>
                  <a:lnTo>
                    <a:pt x="1644" y="1194"/>
                  </a:lnTo>
                  <a:lnTo>
                    <a:pt x="1644" y="1200"/>
                  </a:lnTo>
                  <a:lnTo>
                    <a:pt x="1638" y="1200"/>
                  </a:lnTo>
                  <a:lnTo>
                    <a:pt x="1638" y="1206"/>
                  </a:lnTo>
                  <a:lnTo>
                    <a:pt x="1638" y="1212"/>
                  </a:lnTo>
                  <a:lnTo>
                    <a:pt x="1638" y="1218"/>
                  </a:lnTo>
                  <a:lnTo>
                    <a:pt x="1632" y="1242"/>
                  </a:lnTo>
                  <a:lnTo>
                    <a:pt x="1632" y="1266"/>
                  </a:lnTo>
                  <a:lnTo>
                    <a:pt x="1638" y="1284"/>
                  </a:lnTo>
                  <a:lnTo>
                    <a:pt x="1638" y="1296"/>
                  </a:lnTo>
                  <a:lnTo>
                    <a:pt x="1632" y="1296"/>
                  </a:lnTo>
                  <a:lnTo>
                    <a:pt x="1632" y="1302"/>
                  </a:lnTo>
                  <a:lnTo>
                    <a:pt x="1638" y="1314"/>
                  </a:lnTo>
                  <a:lnTo>
                    <a:pt x="1638" y="1320"/>
                  </a:lnTo>
                  <a:lnTo>
                    <a:pt x="1632" y="1320"/>
                  </a:lnTo>
                  <a:lnTo>
                    <a:pt x="1632" y="1326"/>
                  </a:lnTo>
                  <a:lnTo>
                    <a:pt x="1644" y="1332"/>
                  </a:lnTo>
                  <a:lnTo>
                    <a:pt x="1644" y="1338"/>
                  </a:lnTo>
                  <a:lnTo>
                    <a:pt x="1650" y="1344"/>
                  </a:lnTo>
                  <a:lnTo>
                    <a:pt x="1668" y="1362"/>
                  </a:lnTo>
                  <a:lnTo>
                    <a:pt x="1668" y="1368"/>
                  </a:lnTo>
                  <a:lnTo>
                    <a:pt x="1674" y="1392"/>
                  </a:lnTo>
                  <a:lnTo>
                    <a:pt x="1686" y="140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2" name="Freeform 17">
              <a:extLst>
                <a:ext uri="{FF2B5EF4-FFF2-40B4-BE49-F238E27FC236}">
                  <a16:creationId xmlns:a16="http://schemas.microsoft.com/office/drawing/2014/main" id="{9F9DF7AF-2203-4CCB-AF1B-32CDAF87CC5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416927"/>
              <a:ext cx="816209" cy="574781"/>
            </a:xfrm>
            <a:custGeom>
              <a:avLst/>
              <a:gdLst>
                <a:gd name="T0" fmla="*/ 115 w 1536"/>
                <a:gd name="T1" fmla="*/ 89 h 1080"/>
                <a:gd name="T2" fmla="*/ 113 w 1536"/>
                <a:gd name="T3" fmla="*/ 92 h 1080"/>
                <a:gd name="T4" fmla="*/ 107 w 1536"/>
                <a:gd name="T5" fmla="*/ 93 h 1080"/>
                <a:gd name="T6" fmla="*/ 108 w 1536"/>
                <a:gd name="T7" fmla="*/ 90 h 1080"/>
                <a:gd name="T8" fmla="*/ 105 w 1536"/>
                <a:gd name="T9" fmla="*/ 87 h 1080"/>
                <a:gd name="T10" fmla="*/ 102 w 1536"/>
                <a:gd name="T11" fmla="*/ 85 h 1080"/>
                <a:gd name="T12" fmla="*/ 89 w 1536"/>
                <a:gd name="T13" fmla="*/ 80 h 1080"/>
                <a:gd name="T14" fmla="*/ 85 w 1536"/>
                <a:gd name="T15" fmla="*/ 82 h 1080"/>
                <a:gd name="T16" fmla="*/ 82 w 1536"/>
                <a:gd name="T17" fmla="*/ 80 h 1080"/>
                <a:gd name="T18" fmla="*/ 80 w 1536"/>
                <a:gd name="T19" fmla="*/ 75 h 1080"/>
                <a:gd name="T20" fmla="*/ 75 w 1536"/>
                <a:gd name="T21" fmla="*/ 72 h 1080"/>
                <a:gd name="T22" fmla="*/ 61 w 1536"/>
                <a:gd name="T23" fmla="*/ 70 h 1080"/>
                <a:gd name="T24" fmla="*/ 62 w 1536"/>
                <a:gd name="T25" fmla="*/ 72 h 1080"/>
                <a:gd name="T26" fmla="*/ 58 w 1536"/>
                <a:gd name="T27" fmla="*/ 75 h 1080"/>
                <a:gd name="T28" fmla="*/ 49 w 1536"/>
                <a:gd name="T29" fmla="*/ 76 h 1080"/>
                <a:gd name="T30" fmla="*/ 41 w 1536"/>
                <a:gd name="T31" fmla="*/ 79 h 1080"/>
                <a:gd name="T32" fmla="*/ 41 w 1536"/>
                <a:gd name="T33" fmla="*/ 77 h 1080"/>
                <a:gd name="T34" fmla="*/ 39 w 1536"/>
                <a:gd name="T35" fmla="*/ 74 h 1080"/>
                <a:gd name="T36" fmla="*/ 28 w 1536"/>
                <a:gd name="T37" fmla="*/ 78 h 1080"/>
                <a:gd name="T38" fmla="*/ 18 w 1536"/>
                <a:gd name="T39" fmla="*/ 85 h 1080"/>
                <a:gd name="T40" fmla="*/ 18 w 1536"/>
                <a:gd name="T41" fmla="*/ 77 h 1080"/>
                <a:gd name="T42" fmla="*/ 19 w 1536"/>
                <a:gd name="T43" fmla="*/ 69 h 1080"/>
                <a:gd name="T44" fmla="*/ 16 w 1536"/>
                <a:gd name="T45" fmla="*/ 69 h 1080"/>
                <a:gd name="T46" fmla="*/ 11 w 1536"/>
                <a:gd name="T47" fmla="*/ 69 h 1080"/>
                <a:gd name="T48" fmla="*/ 5 w 1536"/>
                <a:gd name="T49" fmla="*/ 68 h 1080"/>
                <a:gd name="T50" fmla="*/ 1 w 1536"/>
                <a:gd name="T51" fmla="*/ 63 h 1080"/>
                <a:gd name="T52" fmla="*/ 3 w 1536"/>
                <a:gd name="T53" fmla="*/ 59 h 1080"/>
                <a:gd name="T54" fmla="*/ 9 w 1536"/>
                <a:gd name="T55" fmla="*/ 54 h 1080"/>
                <a:gd name="T56" fmla="*/ 15 w 1536"/>
                <a:gd name="T57" fmla="*/ 47 h 1080"/>
                <a:gd name="T58" fmla="*/ 17 w 1536"/>
                <a:gd name="T59" fmla="*/ 40 h 1080"/>
                <a:gd name="T60" fmla="*/ 12 w 1536"/>
                <a:gd name="T61" fmla="*/ 33 h 1080"/>
                <a:gd name="T62" fmla="*/ 10 w 1536"/>
                <a:gd name="T63" fmla="*/ 21 h 1080"/>
                <a:gd name="T64" fmla="*/ 6 w 1536"/>
                <a:gd name="T65" fmla="*/ 14 h 1080"/>
                <a:gd name="T66" fmla="*/ 7 w 1536"/>
                <a:gd name="T67" fmla="*/ 9 h 1080"/>
                <a:gd name="T68" fmla="*/ 12 w 1536"/>
                <a:gd name="T69" fmla="*/ 7 h 1080"/>
                <a:gd name="T70" fmla="*/ 16 w 1536"/>
                <a:gd name="T71" fmla="*/ 8 h 1080"/>
                <a:gd name="T72" fmla="*/ 19 w 1536"/>
                <a:gd name="T73" fmla="*/ 8 h 1080"/>
                <a:gd name="T74" fmla="*/ 22 w 1536"/>
                <a:gd name="T75" fmla="*/ 9 h 1080"/>
                <a:gd name="T76" fmla="*/ 29 w 1536"/>
                <a:gd name="T77" fmla="*/ 12 h 1080"/>
                <a:gd name="T78" fmla="*/ 33 w 1536"/>
                <a:gd name="T79" fmla="*/ 13 h 1080"/>
                <a:gd name="T80" fmla="*/ 38 w 1536"/>
                <a:gd name="T81" fmla="*/ 15 h 1080"/>
                <a:gd name="T82" fmla="*/ 42 w 1536"/>
                <a:gd name="T83" fmla="*/ 17 h 1080"/>
                <a:gd name="T84" fmla="*/ 47 w 1536"/>
                <a:gd name="T85" fmla="*/ 19 h 1080"/>
                <a:gd name="T86" fmla="*/ 51 w 1536"/>
                <a:gd name="T87" fmla="*/ 21 h 1080"/>
                <a:gd name="T88" fmla="*/ 50 w 1536"/>
                <a:gd name="T89" fmla="*/ 15 h 1080"/>
                <a:gd name="T90" fmla="*/ 56 w 1536"/>
                <a:gd name="T91" fmla="*/ 0 h 1080"/>
                <a:gd name="T92" fmla="*/ 74 w 1536"/>
                <a:gd name="T93" fmla="*/ 5 h 1080"/>
                <a:gd name="T94" fmla="*/ 87 w 1536"/>
                <a:gd name="T95" fmla="*/ 6 h 1080"/>
                <a:gd name="T96" fmla="*/ 92 w 1536"/>
                <a:gd name="T97" fmla="*/ 11 h 1080"/>
                <a:gd name="T98" fmla="*/ 95 w 1536"/>
                <a:gd name="T99" fmla="*/ 15 h 1080"/>
                <a:gd name="T100" fmla="*/ 93 w 1536"/>
                <a:gd name="T101" fmla="*/ 20 h 1080"/>
                <a:gd name="T102" fmla="*/ 108 w 1536"/>
                <a:gd name="T103" fmla="*/ 18 h 1080"/>
                <a:gd name="T104" fmla="*/ 120 w 1536"/>
                <a:gd name="T105" fmla="*/ 21 h 1080"/>
                <a:gd name="T106" fmla="*/ 127 w 1536"/>
                <a:gd name="T107" fmla="*/ 29 h 1080"/>
                <a:gd name="T108" fmla="*/ 130 w 1536"/>
                <a:gd name="T109" fmla="*/ 30 h 1080"/>
                <a:gd name="T110" fmla="*/ 130 w 1536"/>
                <a:gd name="T111" fmla="*/ 49 h 1080"/>
                <a:gd name="T112" fmla="*/ 120 w 1536"/>
                <a:gd name="T113" fmla="*/ 69 h 1080"/>
                <a:gd name="T114" fmla="*/ 119 w 1536"/>
                <a:gd name="T115" fmla="*/ 74 h 1080"/>
                <a:gd name="T116" fmla="*/ 118 w 1536"/>
                <a:gd name="T117" fmla="*/ 80 h 108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536"/>
                <a:gd name="T178" fmla="*/ 0 h 1080"/>
                <a:gd name="T179" fmla="*/ 1536 w 1536"/>
                <a:gd name="T180" fmla="*/ 1080 h 108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536" h="1080">
                  <a:moveTo>
                    <a:pt x="1350" y="1020"/>
                  </a:moveTo>
                  <a:lnTo>
                    <a:pt x="1350" y="1026"/>
                  </a:lnTo>
                  <a:lnTo>
                    <a:pt x="1344" y="1026"/>
                  </a:lnTo>
                  <a:lnTo>
                    <a:pt x="1338" y="1032"/>
                  </a:lnTo>
                  <a:lnTo>
                    <a:pt x="1332" y="1026"/>
                  </a:lnTo>
                  <a:lnTo>
                    <a:pt x="1326" y="1026"/>
                  </a:lnTo>
                  <a:lnTo>
                    <a:pt x="1320" y="1020"/>
                  </a:lnTo>
                  <a:lnTo>
                    <a:pt x="1314" y="1026"/>
                  </a:lnTo>
                  <a:lnTo>
                    <a:pt x="1314" y="1032"/>
                  </a:lnTo>
                  <a:lnTo>
                    <a:pt x="1308" y="1038"/>
                  </a:lnTo>
                  <a:lnTo>
                    <a:pt x="1308" y="1044"/>
                  </a:lnTo>
                  <a:lnTo>
                    <a:pt x="1308" y="1050"/>
                  </a:lnTo>
                  <a:lnTo>
                    <a:pt x="1308" y="1056"/>
                  </a:lnTo>
                  <a:lnTo>
                    <a:pt x="1308" y="1062"/>
                  </a:lnTo>
                  <a:lnTo>
                    <a:pt x="1296" y="1068"/>
                  </a:lnTo>
                  <a:lnTo>
                    <a:pt x="1284" y="1074"/>
                  </a:lnTo>
                  <a:lnTo>
                    <a:pt x="1272" y="1080"/>
                  </a:lnTo>
                  <a:lnTo>
                    <a:pt x="1260" y="1080"/>
                  </a:lnTo>
                  <a:lnTo>
                    <a:pt x="1254" y="1074"/>
                  </a:lnTo>
                  <a:lnTo>
                    <a:pt x="1236" y="1074"/>
                  </a:lnTo>
                  <a:lnTo>
                    <a:pt x="1230" y="1074"/>
                  </a:lnTo>
                  <a:lnTo>
                    <a:pt x="1236" y="1074"/>
                  </a:lnTo>
                  <a:lnTo>
                    <a:pt x="1236" y="1068"/>
                  </a:lnTo>
                  <a:lnTo>
                    <a:pt x="1236" y="1062"/>
                  </a:lnTo>
                  <a:lnTo>
                    <a:pt x="1236" y="1056"/>
                  </a:lnTo>
                  <a:lnTo>
                    <a:pt x="1242" y="1050"/>
                  </a:lnTo>
                  <a:lnTo>
                    <a:pt x="1242" y="1044"/>
                  </a:lnTo>
                  <a:lnTo>
                    <a:pt x="1242" y="1038"/>
                  </a:lnTo>
                  <a:lnTo>
                    <a:pt x="1248" y="1032"/>
                  </a:lnTo>
                  <a:lnTo>
                    <a:pt x="1236" y="1026"/>
                  </a:lnTo>
                  <a:lnTo>
                    <a:pt x="1218" y="1020"/>
                  </a:lnTo>
                  <a:lnTo>
                    <a:pt x="1224" y="1014"/>
                  </a:lnTo>
                  <a:lnTo>
                    <a:pt x="1218" y="1008"/>
                  </a:lnTo>
                  <a:lnTo>
                    <a:pt x="1218" y="1002"/>
                  </a:lnTo>
                  <a:lnTo>
                    <a:pt x="1212" y="1008"/>
                  </a:lnTo>
                  <a:lnTo>
                    <a:pt x="1206" y="1002"/>
                  </a:lnTo>
                  <a:lnTo>
                    <a:pt x="1212" y="1002"/>
                  </a:lnTo>
                  <a:lnTo>
                    <a:pt x="1212" y="996"/>
                  </a:lnTo>
                  <a:lnTo>
                    <a:pt x="1200" y="990"/>
                  </a:lnTo>
                  <a:lnTo>
                    <a:pt x="1200" y="984"/>
                  </a:lnTo>
                  <a:lnTo>
                    <a:pt x="1188" y="984"/>
                  </a:lnTo>
                  <a:lnTo>
                    <a:pt x="1176" y="978"/>
                  </a:lnTo>
                  <a:lnTo>
                    <a:pt x="1164" y="960"/>
                  </a:lnTo>
                  <a:lnTo>
                    <a:pt x="1152" y="936"/>
                  </a:lnTo>
                  <a:lnTo>
                    <a:pt x="1146" y="936"/>
                  </a:lnTo>
                  <a:lnTo>
                    <a:pt x="1128" y="900"/>
                  </a:lnTo>
                  <a:lnTo>
                    <a:pt x="1038" y="912"/>
                  </a:lnTo>
                  <a:lnTo>
                    <a:pt x="1038" y="918"/>
                  </a:lnTo>
                  <a:lnTo>
                    <a:pt x="1032" y="924"/>
                  </a:lnTo>
                  <a:lnTo>
                    <a:pt x="1026" y="918"/>
                  </a:lnTo>
                  <a:lnTo>
                    <a:pt x="1020" y="924"/>
                  </a:lnTo>
                  <a:lnTo>
                    <a:pt x="1008" y="936"/>
                  </a:lnTo>
                  <a:lnTo>
                    <a:pt x="990" y="936"/>
                  </a:lnTo>
                  <a:lnTo>
                    <a:pt x="990" y="942"/>
                  </a:lnTo>
                  <a:lnTo>
                    <a:pt x="996" y="942"/>
                  </a:lnTo>
                  <a:lnTo>
                    <a:pt x="984" y="948"/>
                  </a:lnTo>
                  <a:lnTo>
                    <a:pt x="972" y="948"/>
                  </a:lnTo>
                  <a:lnTo>
                    <a:pt x="960" y="948"/>
                  </a:lnTo>
                  <a:lnTo>
                    <a:pt x="948" y="942"/>
                  </a:lnTo>
                  <a:lnTo>
                    <a:pt x="948" y="936"/>
                  </a:lnTo>
                  <a:lnTo>
                    <a:pt x="942" y="936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30" y="924"/>
                  </a:lnTo>
                  <a:lnTo>
                    <a:pt x="936" y="918"/>
                  </a:lnTo>
                  <a:lnTo>
                    <a:pt x="918" y="918"/>
                  </a:lnTo>
                  <a:lnTo>
                    <a:pt x="918" y="900"/>
                  </a:lnTo>
                  <a:lnTo>
                    <a:pt x="924" y="900"/>
                  </a:lnTo>
                  <a:lnTo>
                    <a:pt x="924" y="894"/>
                  </a:lnTo>
                  <a:lnTo>
                    <a:pt x="924" y="870"/>
                  </a:lnTo>
                  <a:lnTo>
                    <a:pt x="924" y="864"/>
                  </a:lnTo>
                  <a:lnTo>
                    <a:pt x="918" y="858"/>
                  </a:lnTo>
                  <a:lnTo>
                    <a:pt x="918" y="852"/>
                  </a:lnTo>
                  <a:lnTo>
                    <a:pt x="906" y="840"/>
                  </a:lnTo>
                  <a:lnTo>
                    <a:pt x="894" y="834"/>
                  </a:lnTo>
                  <a:lnTo>
                    <a:pt x="876" y="822"/>
                  </a:lnTo>
                  <a:lnTo>
                    <a:pt x="870" y="828"/>
                  </a:lnTo>
                  <a:lnTo>
                    <a:pt x="858" y="816"/>
                  </a:lnTo>
                  <a:lnTo>
                    <a:pt x="810" y="798"/>
                  </a:lnTo>
                  <a:lnTo>
                    <a:pt x="774" y="792"/>
                  </a:lnTo>
                  <a:lnTo>
                    <a:pt x="732" y="798"/>
                  </a:lnTo>
                  <a:lnTo>
                    <a:pt x="726" y="804"/>
                  </a:lnTo>
                  <a:lnTo>
                    <a:pt x="714" y="810"/>
                  </a:lnTo>
                  <a:lnTo>
                    <a:pt x="702" y="810"/>
                  </a:lnTo>
                  <a:lnTo>
                    <a:pt x="690" y="810"/>
                  </a:lnTo>
                  <a:lnTo>
                    <a:pt x="696" y="816"/>
                  </a:lnTo>
                  <a:lnTo>
                    <a:pt x="696" y="822"/>
                  </a:lnTo>
                  <a:lnTo>
                    <a:pt x="702" y="822"/>
                  </a:lnTo>
                  <a:lnTo>
                    <a:pt x="708" y="822"/>
                  </a:lnTo>
                  <a:lnTo>
                    <a:pt x="708" y="828"/>
                  </a:lnTo>
                  <a:lnTo>
                    <a:pt x="708" y="834"/>
                  </a:lnTo>
                  <a:lnTo>
                    <a:pt x="714" y="834"/>
                  </a:lnTo>
                  <a:lnTo>
                    <a:pt x="708" y="846"/>
                  </a:lnTo>
                  <a:lnTo>
                    <a:pt x="708" y="852"/>
                  </a:lnTo>
                  <a:lnTo>
                    <a:pt x="702" y="852"/>
                  </a:lnTo>
                  <a:lnTo>
                    <a:pt x="696" y="858"/>
                  </a:lnTo>
                  <a:lnTo>
                    <a:pt x="690" y="864"/>
                  </a:lnTo>
                  <a:lnTo>
                    <a:pt x="666" y="870"/>
                  </a:lnTo>
                  <a:lnTo>
                    <a:pt x="660" y="876"/>
                  </a:lnTo>
                  <a:lnTo>
                    <a:pt x="642" y="876"/>
                  </a:lnTo>
                  <a:lnTo>
                    <a:pt x="606" y="882"/>
                  </a:lnTo>
                  <a:lnTo>
                    <a:pt x="588" y="882"/>
                  </a:lnTo>
                  <a:lnTo>
                    <a:pt x="582" y="876"/>
                  </a:lnTo>
                  <a:lnTo>
                    <a:pt x="576" y="876"/>
                  </a:lnTo>
                  <a:lnTo>
                    <a:pt x="564" y="876"/>
                  </a:lnTo>
                  <a:lnTo>
                    <a:pt x="552" y="882"/>
                  </a:lnTo>
                  <a:lnTo>
                    <a:pt x="540" y="894"/>
                  </a:lnTo>
                  <a:lnTo>
                    <a:pt x="534" y="906"/>
                  </a:lnTo>
                  <a:lnTo>
                    <a:pt x="528" y="912"/>
                  </a:lnTo>
                  <a:lnTo>
                    <a:pt x="516" y="924"/>
                  </a:lnTo>
                  <a:lnTo>
                    <a:pt x="486" y="930"/>
                  </a:lnTo>
                  <a:lnTo>
                    <a:pt x="474" y="912"/>
                  </a:lnTo>
                  <a:lnTo>
                    <a:pt x="474" y="906"/>
                  </a:lnTo>
                  <a:lnTo>
                    <a:pt x="468" y="906"/>
                  </a:lnTo>
                  <a:lnTo>
                    <a:pt x="468" y="900"/>
                  </a:lnTo>
                  <a:lnTo>
                    <a:pt x="462" y="894"/>
                  </a:lnTo>
                  <a:lnTo>
                    <a:pt x="456" y="894"/>
                  </a:lnTo>
                  <a:lnTo>
                    <a:pt x="462" y="888"/>
                  </a:lnTo>
                  <a:lnTo>
                    <a:pt x="468" y="888"/>
                  </a:lnTo>
                  <a:lnTo>
                    <a:pt x="462" y="882"/>
                  </a:lnTo>
                  <a:lnTo>
                    <a:pt x="462" y="876"/>
                  </a:lnTo>
                  <a:lnTo>
                    <a:pt x="456" y="870"/>
                  </a:lnTo>
                  <a:lnTo>
                    <a:pt x="456" y="864"/>
                  </a:lnTo>
                  <a:lnTo>
                    <a:pt x="450" y="858"/>
                  </a:lnTo>
                  <a:lnTo>
                    <a:pt x="444" y="858"/>
                  </a:lnTo>
                  <a:lnTo>
                    <a:pt x="444" y="852"/>
                  </a:lnTo>
                  <a:lnTo>
                    <a:pt x="438" y="852"/>
                  </a:lnTo>
                  <a:lnTo>
                    <a:pt x="438" y="858"/>
                  </a:lnTo>
                  <a:lnTo>
                    <a:pt x="402" y="870"/>
                  </a:lnTo>
                  <a:lnTo>
                    <a:pt x="390" y="882"/>
                  </a:lnTo>
                  <a:lnTo>
                    <a:pt x="384" y="900"/>
                  </a:lnTo>
                  <a:lnTo>
                    <a:pt x="342" y="900"/>
                  </a:lnTo>
                  <a:lnTo>
                    <a:pt x="324" y="900"/>
                  </a:lnTo>
                  <a:lnTo>
                    <a:pt x="294" y="906"/>
                  </a:lnTo>
                  <a:lnTo>
                    <a:pt x="282" y="948"/>
                  </a:lnTo>
                  <a:lnTo>
                    <a:pt x="282" y="978"/>
                  </a:lnTo>
                  <a:lnTo>
                    <a:pt x="270" y="1008"/>
                  </a:lnTo>
                  <a:lnTo>
                    <a:pt x="240" y="1014"/>
                  </a:lnTo>
                  <a:lnTo>
                    <a:pt x="216" y="996"/>
                  </a:lnTo>
                  <a:lnTo>
                    <a:pt x="204" y="984"/>
                  </a:lnTo>
                  <a:lnTo>
                    <a:pt x="192" y="966"/>
                  </a:lnTo>
                  <a:lnTo>
                    <a:pt x="186" y="948"/>
                  </a:lnTo>
                  <a:lnTo>
                    <a:pt x="174" y="948"/>
                  </a:lnTo>
                  <a:lnTo>
                    <a:pt x="174" y="936"/>
                  </a:lnTo>
                  <a:lnTo>
                    <a:pt x="186" y="924"/>
                  </a:lnTo>
                  <a:lnTo>
                    <a:pt x="198" y="906"/>
                  </a:lnTo>
                  <a:lnTo>
                    <a:pt x="204" y="888"/>
                  </a:lnTo>
                  <a:lnTo>
                    <a:pt x="222" y="870"/>
                  </a:lnTo>
                  <a:lnTo>
                    <a:pt x="234" y="858"/>
                  </a:lnTo>
                  <a:lnTo>
                    <a:pt x="234" y="852"/>
                  </a:lnTo>
                  <a:lnTo>
                    <a:pt x="222" y="852"/>
                  </a:lnTo>
                  <a:lnTo>
                    <a:pt x="228" y="810"/>
                  </a:lnTo>
                  <a:lnTo>
                    <a:pt x="222" y="798"/>
                  </a:lnTo>
                  <a:lnTo>
                    <a:pt x="216" y="798"/>
                  </a:lnTo>
                  <a:lnTo>
                    <a:pt x="216" y="792"/>
                  </a:lnTo>
                  <a:lnTo>
                    <a:pt x="210" y="792"/>
                  </a:lnTo>
                  <a:lnTo>
                    <a:pt x="204" y="798"/>
                  </a:lnTo>
                  <a:lnTo>
                    <a:pt x="204" y="792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0" y="786"/>
                  </a:lnTo>
                  <a:lnTo>
                    <a:pt x="174" y="792"/>
                  </a:lnTo>
                  <a:lnTo>
                    <a:pt x="162" y="792"/>
                  </a:lnTo>
                  <a:lnTo>
                    <a:pt x="156" y="792"/>
                  </a:lnTo>
                  <a:lnTo>
                    <a:pt x="156" y="798"/>
                  </a:lnTo>
                  <a:lnTo>
                    <a:pt x="138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6" y="804"/>
                  </a:lnTo>
                  <a:lnTo>
                    <a:pt x="102" y="810"/>
                  </a:lnTo>
                  <a:lnTo>
                    <a:pt x="90" y="810"/>
                  </a:lnTo>
                  <a:lnTo>
                    <a:pt x="72" y="798"/>
                  </a:lnTo>
                  <a:lnTo>
                    <a:pt x="66" y="780"/>
                  </a:lnTo>
                  <a:lnTo>
                    <a:pt x="60" y="780"/>
                  </a:lnTo>
                  <a:lnTo>
                    <a:pt x="60" y="768"/>
                  </a:lnTo>
                  <a:lnTo>
                    <a:pt x="54" y="768"/>
                  </a:lnTo>
                  <a:lnTo>
                    <a:pt x="24" y="756"/>
                  </a:lnTo>
                  <a:lnTo>
                    <a:pt x="18" y="744"/>
                  </a:lnTo>
                  <a:lnTo>
                    <a:pt x="12" y="738"/>
                  </a:lnTo>
                  <a:lnTo>
                    <a:pt x="18" y="732"/>
                  </a:lnTo>
                  <a:lnTo>
                    <a:pt x="12" y="726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8" y="696"/>
                  </a:lnTo>
                  <a:lnTo>
                    <a:pt x="24" y="708"/>
                  </a:lnTo>
                  <a:lnTo>
                    <a:pt x="36" y="702"/>
                  </a:lnTo>
                  <a:lnTo>
                    <a:pt x="36" y="678"/>
                  </a:lnTo>
                  <a:lnTo>
                    <a:pt x="36" y="660"/>
                  </a:lnTo>
                  <a:lnTo>
                    <a:pt x="42" y="654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72" y="624"/>
                  </a:lnTo>
                  <a:lnTo>
                    <a:pt x="90" y="618"/>
                  </a:lnTo>
                  <a:lnTo>
                    <a:pt x="102" y="618"/>
                  </a:lnTo>
                  <a:lnTo>
                    <a:pt x="114" y="612"/>
                  </a:lnTo>
                  <a:lnTo>
                    <a:pt x="138" y="606"/>
                  </a:lnTo>
                  <a:lnTo>
                    <a:pt x="144" y="606"/>
                  </a:lnTo>
                  <a:lnTo>
                    <a:pt x="150" y="594"/>
                  </a:lnTo>
                  <a:lnTo>
                    <a:pt x="156" y="576"/>
                  </a:lnTo>
                  <a:lnTo>
                    <a:pt x="168" y="552"/>
                  </a:lnTo>
                  <a:lnTo>
                    <a:pt x="168" y="540"/>
                  </a:lnTo>
                  <a:lnTo>
                    <a:pt x="180" y="522"/>
                  </a:lnTo>
                  <a:lnTo>
                    <a:pt x="186" y="498"/>
                  </a:lnTo>
                  <a:lnTo>
                    <a:pt x="198" y="480"/>
                  </a:lnTo>
                  <a:lnTo>
                    <a:pt x="204" y="486"/>
                  </a:lnTo>
                  <a:lnTo>
                    <a:pt x="210" y="480"/>
                  </a:lnTo>
                  <a:lnTo>
                    <a:pt x="204" y="474"/>
                  </a:lnTo>
                  <a:lnTo>
                    <a:pt x="198" y="462"/>
                  </a:lnTo>
                  <a:lnTo>
                    <a:pt x="192" y="456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50"/>
                  </a:lnTo>
                  <a:lnTo>
                    <a:pt x="132" y="426"/>
                  </a:lnTo>
                  <a:lnTo>
                    <a:pt x="132" y="396"/>
                  </a:lnTo>
                  <a:lnTo>
                    <a:pt x="132" y="378"/>
                  </a:lnTo>
                  <a:lnTo>
                    <a:pt x="126" y="348"/>
                  </a:lnTo>
                  <a:lnTo>
                    <a:pt x="132" y="312"/>
                  </a:lnTo>
                  <a:lnTo>
                    <a:pt x="126" y="288"/>
                  </a:lnTo>
                  <a:lnTo>
                    <a:pt x="138" y="282"/>
                  </a:lnTo>
                  <a:lnTo>
                    <a:pt x="126" y="264"/>
                  </a:lnTo>
                  <a:lnTo>
                    <a:pt x="126" y="258"/>
                  </a:lnTo>
                  <a:lnTo>
                    <a:pt x="120" y="246"/>
                  </a:lnTo>
                  <a:lnTo>
                    <a:pt x="126" y="234"/>
                  </a:lnTo>
                  <a:lnTo>
                    <a:pt x="114" y="228"/>
                  </a:lnTo>
                  <a:lnTo>
                    <a:pt x="114" y="222"/>
                  </a:lnTo>
                  <a:lnTo>
                    <a:pt x="96" y="204"/>
                  </a:lnTo>
                  <a:lnTo>
                    <a:pt x="84" y="180"/>
                  </a:lnTo>
                  <a:lnTo>
                    <a:pt x="78" y="168"/>
                  </a:lnTo>
                  <a:lnTo>
                    <a:pt x="72" y="162"/>
                  </a:lnTo>
                  <a:lnTo>
                    <a:pt x="66" y="144"/>
                  </a:lnTo>
                  <a:lnTo>
                    <a:pt x="60" y="138"/>
                  </a:lnTo>
                  <a:lnTo>
                    <a:pt x="66" y="126"/>
                  </a:lnTo>
                  <a:lnTo>
                    <a:pt x="66" y="114"/>
                  </a:lnTo>
                  <a:lnTo>
                    <a:pt x="72" y="114"/>
                  </a:lnTo>
                  <a:lnTo>
                    <a:pt x="72" y="108"/>
                  </a:lnTo>
                  <a:lnTo>
                    <a:pt x="78" y="102"/>
                  </a:lnTo>
                  <a:lnTo>
                    <a:pt x="78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120" y="78"/>
                  </a:lnTo>
                  <a:lnTo>
                    <a:pt x="144" y="84"/>
                  </a:lnTo>
                  <a:lnTo>
                    <a:pt x="150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74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92" y="102"/>
                  </a:lnTo>
                  <a:lnTo>
                    <a:pt x="198" y="96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16" y="96"/>
                  </a:lnTo>
                  <a:lnTo>
                    <a:pt x="222" y="96"/>
                  </a:lnTo>
                  <a:lnTo>
                    <a:pt x="228" y="96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94" y="114"/>
                  </a:lnTo>
                  <a:lnTo>
                    <a:pt x="312" y="120"/>
                  </a:lnTo>
                  <a:lnTo>
                    <a:pt x="318" y="126"/>
                  </a:lnTo>
                  <a:lnTo>
                    <a:pt x="330" y="132"/>
                  </a:lnTo>
                  <a:lnTo>
                    <a:pt x="342" y="132"/>
                  </a:lnTo>
                  <a:lnTo>
                    <a:pt x="348" y="132"/>
                  </a:lnTo>
                  <a:lnTo>
                    <a:pt x="354" y="138"/>
                  </a:lnTo>
                  <a:lnTo>
                    <a:pt x="366" y="138"/>
                  </a:lnTo>
                  <a:lnTo>
                    <a:pt x="372" y="144"/>
                  </a:lnTo>
                  <a:lnTo>
                    <a:pt x="378" y="150"/>
                  </a:lnTo>
                  <a:lnTo>
                    <a:pt x="384" y="150"/>
                  </a:lnTo>
                  <a:lnTo>
                    <a:pt x="390" y="150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14" y="156"/>
                  </a:lnTo>
                  <a:lnTo>
                    <a:pt x="420" y="156"/>
                  </a:lnTo>
                  <a:lnTo>
                    <a:pt x="426" y="162"/>
                  </a:lnTo>
                  <a:lnTo>
                    <a:pt x="438" y="168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62" y="174"/>
                  </a:lnTo>
                  <a:lnTo>
                    <a:pt x="468" y="174"/>
                  </a:lnTo>
                  <a:lnTo>
                    <a:pt x="474" y="174"/>
                  </a:lnTo>
                  <a:lnTo>
                    <a:pt x="474" y="180"/>
                  </a:lnTo>
                  <a:lnTo>
                    <a:pt x="480" y="192"/>
                  </a:lnTo>
                  <a:lnTo>
                    <a:pt x="498" y="198"/>
                  </a:lnTo>
                  <a:lnTo>
                    <a:pt x="510" y="210"/>
                  </a:lnTo>
                  <a:lnTo>
                    <a:pt x="516" y="210"/>
                  </a:lnTo>
                  <a:lnTo>
                    <a:pt x="522" y="210"/>
                  </a:lnTo>
                  <a:lnTo>
                    <a:pt x="534" y="216"/>
                  </a:lnTo>
                  <a:lnTo>
                    <a:pt x="540" y="216"/>
                  </a:lnTo>
                  <a:lnTo>
                    <a:pt x="546" y="222"/>
                  </a:lnTo>
                  <a:lnTo>
                    <a:pt x="552" y="222"/>
                  </a:lnTo>
                  <a:lnTo>
                    <a:pt x="558" y="228"/>
                  </a:lnTo>
                  <a:lnTo>
                    <a:pt x="564" y="228"/>
                  </a:lnTo>
                  <a:lnTo>
                    <a:pt x="570" y="234"/>
                  </a:lnTo>
                  <a:lnTo>
                    <a:pt x="576" y="240"/>
                  </a:lnTo>
                  <a:lnTo>
                    <a:pt x="582" y="240"/>
                  </a:lnTo>
                  <a:lnTo>
                    <a:pt x="588" y="240"/>
                  </a:lnTo>
                  <a:lnTo>
                    <a:pt x="594" y="240"/>
                  </a:lnTo>
                  <a:lnTo>
                    <a:pt x="600" y="228"/>
                  </a:lnTo>
                  <a:lnTo>
                    <a:pt x="588" y="216"/>
                  </a:lnTo>
                  <a:lnTo>
                    <a:pt x="588" y="198"/>
                  </a:lnTo>
                  <a:lnTo>
                    <a:pt x="582" y="198"/>
                  </a:lnTo>
                  <a:lnTo>
                    <a:pt x="588" y="192"/>
                  </a:lnTo>
                  <a:lnTo>
                    <a:pt x="582" y="168"/>
                  </a:lnTo>
                  <a:lnTo>
                    <a:pt x="558" y="114"/>
                  </a:lnTo>
                  <a:lnTo>
                    <a:pt x="552" y="90"/>
                  </a:lnTo>
                  <a:lnTo>
                    <a:pt x="558" y="60"/>
                  </a:lnTo>
                  <a:lnTo>
                    <a:pt x="564" y="48"/>
                  </a:lnTo>
                  <a:lnTo>
                    <a:pt x="582" y="42"/>
                  </a:lnTo>
                  <a:lnTo>
                    <a:pt x="624" y="6"/>
                  </a:lnTo>
                  <a:lnTo>
                    <a:pt x="648" y="0"/>
                  </a:lnTo>
                  <a:lnTo>
                    <a:pt x="678" y="0"/>
                  </a:lnTo>
                  <a:lnTo>
                    <a:pt x="720" y="12"/>
                  </a:lnTo>
                  <a:lnTo>
                    <a:pt x="744" y="24"/>
                  </a:lnTo>
                  <a:lnTo>
                    <a:pt x="768" y="42"/>
                  </a:lnTo>
                  <a:lnTo>
                    <a:pt x="816" y="48"/>
                  </a:lnTo>
                  <a:lnTo>
                    <a:pt x="834" y="48"/>
                  </a:lnTo>
                  <a:lnTo>
                    <a:pt x="852" y="54"/>
                  </a:lnTo>
                  <a:lnTo>
                    <a:pt x="906" y="60"/>
                  </a:lnTo>
                  <a:lnTo>
                    <a:pt x="948" y="54"/>
                  </a:lnTo>
                  <a:lnTo>
                    <a:pt x="978" y="42"/>
                  </a:lnTo>
                  <a:lnTo>
                    <a:pt x="984" y="48"/>
                  </a:lnTo>
                  <a:lnTo>
                    <a:pt x="990" y="60"/>
                  </a:lnTo>
                  <a:lnTo>
                    <a:pt x="996" y="66"/>
                  </a:lnTo>
                  <a:lnTo>
                    <a:pt x="1002" y="72"/>
                  </a:lnTo>
                  <a:lnTo>
                    <a:pt x="1014" y="78"/>
                  </a:lnTo>
                  <a:lnTo>
                    <a:pt x="1014" y="84"/>
                  </a:lnTo>
                  <a:lnTo>
                    <a:pt x="1032" y="84"/>
                  </a:lnTo>
                  <a:lnTo>
                    <a:pt x="1032" y="90"/>
                  </a:lnTo>
                  <a:lnTo>
                    <a:pt x="1032" y="96"/>
                  </a:lnTo>
                  <a:lnTo>
                    <a:pt x="1032" y="108"/>
                  </a:lnTo>
                  <a:lnTo>
                    <a:pt x="1056" y="126"/>
                  </a:lnTo>
                  <a:lnTo>
                    <a:pt x="1068" y="138"/>
                  </a:lnTo>
                  <a:lnTo>
                    <a:pt x="1068" y="156"/>
                  </a:lnTo>
                  <a:lnTo>
                    <a:pt x="1080" y="150"/>
                  </a:lnTo>
                  <a:lnTo>
                    <a:pt x="1086" y="150"/>
                  </a:lnTo>
                  <a:lnTo>
                    <a:pt x="1092" y="156"/>
                  </a:lnTo>
                  <a:lnTo>
                    <a:pt x="1092" y="162"/>
                  </a:lnTo>
                  <a:lnTo>
                    <a:pt x="1092" y="168"/>
                  </a:lnTo>
                  <a:lnTo>
                    <a:pt x="1098" y="168"/>
                  </a:lnTo>
                  <a:lnTo>
                    <a:pt x="1092" y="180"/>
                  </a:lnTo>
                  <a:lnTo>
                    <a:pt x="1092" y="186"/>
                  </a:lnTo>
                  <a:lnTo>
                    <a:pt x="1086" y="192"/>
                  </a:lnTo>
                  <a:lnTo>
                    <a:pt x="1068" y="210"/>
                  </a:lnTo>
                  <a:lnTo>
                    <a:pt x="1068" y="216"/>
                  </a:lnTo>
                  <a:lnTo>
                    <a:pt x="1074" y="228"/>
                  </a:lnTo>
                  <a:lnTo>
                    <a:pt x="1092" y="234"/>
                  </a:lnTo>
                  <a:lnTo>
                    <a:pt x="1122" y="216"/>
                  </a:lnTo>
                  <a:lnTo>
                    <a:pt x="1188" y="204"/>
                  </a:lnTo>
                  <a:lnTo>
                    <a:pt x="1212" y="204"/>
                  </a:lnTo>
                  <a:lnTo>
                    <a:pt x="1230" y="198"/>
                  </a:lnTo>
                  <a:lnTo>
                    <a:pt x="1236" y="204"/>
                  </a:lnTo>
                  <a:lnTo>
                    <a:pt x="1242" y="210"/>
                  </a:lnTo>
                  <a:lnTo>
                    <a:pt x="1242" y="204"/>
                  </a:lnTo>
                  <a:lnTo>
                    <a:pt x="1248" y="198"/>
                  </a:lnTo>
                  <a:lnTo>
                    <a:pt x="1308" y="204"/>
                  </a:lnTo>
                  <a:lnTo>
                    <a:pt x="1338" y="204"/>
                  </a:lnTo>
                  <a:lnTo>
                    <a:pt x="1374" y="228"/>
                  </a:lnTo>
                  <a:lnTo>
                    <a:pt x="1380" y="234"/>
                  </a:lnTo>
                  <a:lnTo>
                    <a:pt x="1380" y="240"/>
                  </a:lnTo>
                  <a:lnTo>
                    <a:pt x="1386" y="252"/>
                  </a:lnTo>
                  <a:lnTo>
                    <a:pt x="1392" y="252"/>
                  </a:lnTo>
                  <a:lnTo>
                    <a:pt x="1416" y="270"/>
                  </a:lnTo>
                  <a:lnTo>
                    <a:pt x="1428" y="294"/>
                  </a:lnTo>
                  <a:lnTo>
                    <a:pt x="1440" y="312"/>
                  </a:lnTo>
                  <a:lnTo>
                    <a:pt x="1452" y="330"/>
                  </a:lnTo>
                  <a:lnTo>
                    <a:pt x="1464" y="330"/>
                  </a:lnTo>
                  <a:lnTo>
                    <a:pt x="1464" y="336"/>
                  </a:lnTo>
                  <a:lnTo>
                    <a:pt x="1470" y="336"/>
                  </a:lnTo>
                  <a:lnTo>
                    <a:pt x="1470" y="342"/>
                  </a:lnTo>
                  <a:lnTo>
                    <a:pt x="1476" y="342"/>
                  </a:lnTo>
                  <a:lnTo>
                    <a:pt x="1488" y="336"/>
                  </a:lnTo>
                  <a:lnTo>
                    <a:pt x="1494" y="342"/>
                  </a:lnTo>
                  <a:lnTo>
                    <a:pt x="1500" y="342"/>
                  </a:lnTo>
                  <a:lnTo>
                    <a:pt x="1512" y="366"/>
                  </a:lnTo>
                  <a:lnTo>
                    <a:pt x="1530" y="396"/>
                  </a:lnTo>
                  <a:lnTo>
                    <a:pt x="1536" y="444"/>
                  </a:lnTo>
                  <a:lnTo>
                    <a:pt x="1530" y="480"/>
                  </a:lnTo>
                  <a:lnTo>
                    <a:pt x="1506" y="510"/>
                  </a:lnTo>
                  <a:lnTo>
                    <a:pt x="1500" y="546"/>
                  </a:lnTo>
                  <a:lnTo>
                    <a:pt x="1494" y="564"/>
                  </a:lnTo>
                  <a:lnTo>
                    <a:pt x="1494" y="576"/>
                  </a:lnTo>
                  <a:lnTo>
                    <a:pt x="1500" y="582"/>
                  </a:lnTo>
                  <a:lnTo>
                    <a:pt x="1494" y="612"/>
                  </a:lnTo>
                  <a:lnTo>
                    <a:pt x="1476" y="630"/>
                  </a:lnTo>
                  <a:lnTo>
                    <a:pt x="1434" y="672"/>
                  </a:lnTo>
                  <a:lnTo>
                    <a:pt x="1392" y="756"/>
                  </a:lnTo>
                  <a:lnTo>
                    <a:pt x="1380" y="792"/>
                  </a:lnTo>
                  <a:lnTo>
                    <a:pt x="1374" y="798"/>
                  </a:lnTo>
                  <a:lnTo>
                    <a:pt x="1368" y="798"/>
                  </a:lnTo>
                  <a:lnTo>
                    <a:pt x="1380" y="804"/>
                  </a:lnTo>
                  <a:lnTo>
                    <a:pt x="1386" y="804"/>
                  </a:lnTo>
                  <a:lnTo>
                    <a:pt x="1380" y="822"/>
                  </a:lnTo>
                  <a:lnTo>
                    <a:pt x="1380" y="852"/>
                  </a:lnTo>
                  <a:lnTo>
                    <a:pt x="1374" y="858"/>
                  </a:lnTo>
                  <a:lnTo>
                    <a:pt x="1380" y="858"/>
                  </a:lnTo>
                  <a:lnTo>
                    <a:pt x="1374" y="864"/>
                  </a:lnTo>
                  <a:lnTo>
                    <a:pt x="1374" y="870"/>
                  </a:lnTo>
                  <a:lnTo>
                    <a:pt x="1374" y="876"/>
                  </a:lnTo>
                  <a:lnTo>
                    <a:pt x="1368" y="900"/>
                  </a:lnTo>
                  <a:lnTo>
                    <a:pt x="1362" y="906"/>
                  </a:lnTo>
                  <a:lnTo>
                    <a:pt x="1362" y="918"/>
                  </a:lnTo>
                  <a:lnTo>
                    <a:pt x="1362" y="924"/>
                  </a:lnTo>
                  <a:lnTo>
                    <a:pt x="1356" y="942"/>
                  </a:lnTo>
                  <a:lnTo>
                    <a:pt x="1350" y="972"/>
                  </a:lnTo>
                  <a:lnTo>
                    <a:pt x="1350" y="1014"/>
                  </a:lnTo>
                  <a:lnTo>
                    <a:pt x="1350" y="10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3" name="Freeform 18">
              <a:extLst>
                <a:ext uri="{FF2B5EF4-FFF2-40B4-BE49-F238E27FC236}">
                  <a16:creationId xmlns:a16="http://schemas.microsoft.com/office/drawing/2014/main" id="{EC11F2E0-3C06-46E2-8AD2-66EBE00FFE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32346" y="3837389"/>
              <a:ext cx="556811" cy="818559"/>
            </a:xfrm>
            <a:custGeom>
              <a:avLst/>
              <a:gdLst>
                <a:gd name="T0" fmla="*/ 12 w 1044"/>
                <a:gd name="T1" fmla="*/ 95 h 1542"/>
                <a:gd name="T2" fmla="*/ 7 w 1044"/>
                <a:gd name="T3" fmla="*/ 93 h 1542"/>
                <a:gd name="T4" fmla="*/ 0 w 1044"/>
                <a:gd name="T5" fmla="*/ 88 h 1542"/>
                <a:gd name="T6" fmla="*/ 3 w 1044"/>
                <a:gd name="T7" fmla="*/ 74 h 1542"/>
                <a:gd name="T8" fmla="*/ 4 w 1044"/>
                <a:gd name="T9" fmla="*/ 59 h 1542"/>
                <a:gd name="T10" fmla="*/ 7 w 1044"/>
                <a:gd name="T11" fmla="*/ 52 h 1542"/>
                <a:gd name="T12" fmla="*/ 20 w 1044"/>
                <a:gd name="T13" fmla="*/ 50 h 1542"/>
                <a:gd name="T14" fmla="*/ 24 w 1044"/>
                <a:gd name="T15" fmla="*/ 46 h 1542"/>
                <a:gd name="T16" fmla="*/ 29 w 1044"/>
                <a:gd name="T17" fmla="*/ 33 h 1542"/>
                <a:gd name="T18" fmla="*/ 32 w 1044"/>
                <a:gd name="T19" fmla="*/ 26 h 1542"/>
                <a:gd name="T20" fmla="*/ 30 w 1044"/>
                <a:gd name="T21" fmla="*/ 20 h 1542"/>
                <a:gd name="T22" fmla="*/ 26 w 1044"/>
                <a:gd name="T23" fmla="*/ 17 h 1542"/>
                <a:gd name="T24" fmla="*/ 28 w 1044"/>
                <a:gd name="T25" fmla="*/ 12 h 1542"/>
                <a:gd name="T26" fmla="*/ 44 w 1044"/>
                <a:gd name="T27" fmla="*/ 5 h 1542"/>
                <a:gd name="T28" fmla="*/ 57 w 1044"/>
                <a:gd name="T29" fmla="*/ 2 h 1542"/>
                <a:gd name="T30" fmla="*/ 65 w 1044"/>
                <a:gd name="T31" fmla="*/ 12 h 1542"/>
                <a:gd name="T32" fmla="*/ 81 w 1044"/>
                <a:gd name="T33" fmla="*/ 9 h 1542"/>
                <a:gd name="T34" fmla="*/ 91 w 1044"/>
                <a:gd name="T35" fmla="*/ 20 h 1542"/>
                <a:gd name="T36" fmla="*/ 89 w 1044"/>
                <a:gd name="T37" fmla="*/ 28 h 1542"/>
                <a:gd name="T38" fmla="*/ 83 w 1044"/>
                <a:gd name="T39" fmla="*/ 33 h 1542"/>
                <a:gd name="T40" fmla="*/ 74 w 1044"/>
                <a:gd name="T41" fmla="*/ 42 h 1542"/>
                <a:gd name="T42" fmla="*/ 58 w 1044"/>
                <a:gd name="T43" fmla="*/ 57 h 1542"/>
                <a:gd name="T44" fmla="*/ 54 w 1044"/>
                <a:gd name="T45" fmla="*/ 65 h 1542"/>
                <a:gd name="T46" fmla="*/ 59 w 1044"/>
                <a:gd name="T47" fmla="*/ 74 h 1542"/>
                <a:gd name="T48" fmla="*/ 55 w 1044"/>
                <a:gd name="T49" fmla="*/ 84 h 1542"/>
                <a:gd name="T50" fmla="*/ 52 w 1044"/>
                <a:gd name="T51" fmla="*/ 98 h 1542"/>
                <a:gd name="T52" fmla="*/ 47 w 1044"/>
                <a:gd name="T53" fmla="*/ 105 h 1542"/>
                <a:gd name="T54" fmla="*/ 42 w 1044"/>
                <a:gd name="T55" fmla="*/ 111 h 1542"/>
                <a:gd name="T56" fmla="*/ 43 w 1044"/>
                <a:gd name="T57" fmla="*/ 120 h 1542"/>
                <a:gd name="T58" fmla="*/ 45 w 1044"/>
                <a:gd name="T59" fmla="*/ 125 h 1542"/>
                <a:gd name="T60" fmla="*/ 44 w 1044"/>
                <a:gd name="T61" fmla="*/ 130 h 1542"/>
                <a:gd name="T62" fmla="*/ 45 w 1044"/>
                <a:gd name="T63" fmla="*/ 131 h 1542"/>
                <a:gd name="T64" fmla="*/ 48 w 1044"/>
                <a:gd name="T65" fmla="*/ 133 h 1542"/>
                <a:gd name="T66" fmla="*/ 39 w 1044"/>
                <a:gd name="T67" fmla="*/ 133 h 1542"/>
                <a:gd name="T68" fmla="*/ 42 w 1044"/>
                <a:gd name="T69" fmla="*/ 132 h 1542"/>
                <a:gd name="T70" fmla="*/ 38 w 1044"/>
                <a:gd name="T71" fmla="*/ 133 h 1542"/>
                <a:gd name="T72" fmla="*/ 37 w 1044"/>
                <a:gd name="T73" fmla="*/ 129 h 1542"/>
                <a:gd name="T74" fmla="*/ 40 w 1044"/>
                <a:gd name="T75" fmla="*/ 125 h 1542"/>
                <a:gd name="T76" fmla="*/ 40 w 1044"/>
                <a:gd name="T77" fmla="*/ 120 h 1542"/>
                <a:gd name="T78" fmla="*/ 40 w 1044"/>
                <a:gd name="T79" fmla="*/ 117 h 1542"/>
                <a:gd name="T80" fmla="*/ 37 w 1044"/>
                <a:gd name="T81" fmla="*/ 120 h 1542"/>
                <a:gd name="T82" fmla="*/ 34 w 1044"/>
                <a:gd name="T83" fmla="*/ 122 h 1542"/>
                <a:gd name="T84" fmla="*/ 36 w 1044"/>
                <a:gd name="T85" fmla="*/ 120 h 1542"/>
                <a:gd name="T86" fmla="*/ 30 w 1044"/>
                <a:gd name="T87" fmla="*/ 120 h 1542"/>
                <a:gd name="T88" fmla="*/ 31 w 1044"/>
                <a:gd name="T89" fmla="*/ 113 h 1542"/>
                <a:gd name="T90" fmla="*/ 29 w 1044"/>
                <a:gd name="T91" fmla="*/ 112 h 1542"/>
                <a:gd name="T92" fmla="*/ 31 w 1044"/>
                <a:gd name="T93" fmla="*/ 117 h 1542"/>
                <a:gd name="T94" fmla="*/ 27 w 1044"/>
                <a:gd name="T95" fmla="*/ 116 h 1542"/>
                <a:gd name="T96" fmla="*/ 25 w 1044"/>
                <a:gd name="T97" fmla="*/ 112 h 1542"/>
                <a:gd name="T98" fmla="*/ 21 w 1044"/>
                <a:gd name="T99" fmla="*/ 109 h 1542"/>
                <a:gd name="T100" fmla="*/ 21 w 1044"/>
                <a:gd name="T101" fmla="*/ 113 h 1542"/>
                <a:gd name="T102" fmla="*/ 40 w 1044"/>
                <a:gd name="T103" fmla="*/ 120 h 1542"/>
                <a:gd name="T104" fmla="*/ 40 w 1044"/>
                <a:gd name="T105" fmla="*/ 121 h 1542"/>
                <a:gd name="T106" fmla="*/ 40 w 1044"/>
                <a:gd name="T107" fmla="*/ 116 h 1542"/>
                <a:gd name="T108" fmla="*/ 38 w 1044"/>
                <a:gd name="T109" fmla="*/ 120 h 1542"/>
                <a:gd name="T110" fmla="*/ 23 w 1044"/>
                <a:gd name="T111" fmla="*/ 110 h 1542"/>
                <a:gd name="T112" fmla="*/ 37 w 1044"/>
                <a:gd name="T113" fmla="*/ 124 h 1542"/>
                <a:gd name="T114" fmla="*/ 40 w 1044"/>
                <a:gd name="T115" fmla="*/ 125 h 1542"/>
                <a:gd name="T116" fmla="*/ 38 w 1044"/>
                <a:gd name="T117" fmla="*/ 128 h 1542"/>
                <a:gd name="T118" fmla="*/ 25 w 1044"/>
                <a:gd name="T119" fmla="*/ 117 h 1542"/>
                <a:gd name="T120" fmla="*/ 27 w 1044"/>
                <a:gd name="T121" fmla="*/ 127 h 1542"/>
                <a:gd name="T122" fmla="*/ 24 w 1044"/>
                <a:gd name="T123" fmla="*/ 113 h 15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4"/>
                <a:gd name="T187" fmla="*/ 0 h 1542"/>
                <a:gd name="T188" fmla="*/ 1044 w 1044"/>
                <a:gd name="T189" fmla="*/ 1542 h 154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4" h="1542">
                  <a:moveTo>
                    <a:pt x="234" y="1278"/>
                  </a:moveTo>
                  <a:lnTo>
                    <a:pt x="228" y="1272"/>
                  </a:lnTo>
                  <a:lnTo>
                    <a:pt x="222" y="1266"/>
                  </a:lnTo>
                  <a:lnTo>
                    <a:pt x="222" y="1260"/>
                  </a:lnTo>
                  <a:lnTo>
                    <a:pt x="204" y="1248"/>
                  </a:lnTo>
                  <a:lnTo>
                    <a:pt x="192" y="1248"/>
                  </a:lnTo>
                  <a:lnTo>
                    <a:pt x="186" y="1236"/>
                  </a:lnTo>
                  <a:lnTo>
                    <a:pt x="174" y="1218"/>
                  </a:lnTo>
                  <a:lnTo>
                    <a:pt x="162" y="1194"/>
                  </a:lnTo>
                  <a:lnTo>
                    <a:pt x="156" y="1182"/>
                  </a:lnTo>
                  <a:lnTo>
                    <a:pt x="162" y="1146"/>
                  </a:lnTo>
                  <a:lnTo>
                    <a:pt x="156" y="1134"/>
                  </a:lnTo>
                  <a:lnTo>
                    <a:pt x="138" y="1122"/>
                  </a:lnTo>
                  <a:lnTo>
                    <a:pt x="132" y="1116"/>
                  </a:lnTo>
                  <a:lnTo>
                    <a:pt x="138" y="1098"/>
                  </a:lnTo>
                  <a:lnTo>
                    <a:pt x="138" y="1092"/>
                  </a:lnTo>
                  <a:lnTo>
                    <a:pt x="138" y="1086"/>
                  </a:lnTo>
                  <a:lnTo>
                    <a:pt x="132" y="1074"/>
                  </a:lnTo>
                  <a:lnTo>
                    <a:pt x="126" y="1074"/>
                  </a:lnTo>
                  <a:lnTo>
                    <a:pt x="126" y="1068"/>
                  </a:lnTo>
                  <a:lnTo>
                    <a:pt x="120" y="1062"/>
                  </a:lnTo>
                  <a:lnTo>
                    <a:pt x="120" y="1056"/>
                  </a:lnTo>
                  <a:lnTo>
                    <a:pt x="114" y="1050"/>
                  </a:lnTo>
                  <a:lnTo>
                    <a:pt x="108" y="1050"/>
                  </a:lnTo>
                  <a:lnTo>
                    <a:pt x="102" y="1056"/>
                  </a:lnTo>
                  <a:lnTo>
                    <a:pt x="102" y="1062"/>
                  </a:lnTo>
                  <a:lnTo>
                    <a:pt x="96" y="1062"/>
                  </a:lnTo>
                  <a:lnTo>
                    <a:pt x="96" y="1068"/>
                  </a:lnTo>
                  <a:lnTo>
                    <a:pt x="96" y="1074"/>
                  </a:lnTo>
                  <a:lnTo>
                    <a:pt x="90" y="1074"/>
                  </a:lnTo>
                  <a:lnTo>
                    <a:pt x="84" y="1080"/>
                  </a:lnTo>
                  <a:lnTo>
                    <a:pt x="78" y="1074"/>
                  </a:lnTo>
                  <a:lnTo>
                    <a:pt x="72" y="1074"/>
                  </a:lnTo>
                  <a:lnTo>
                    <a:pt x="72" y="1068"/>
                  </a:lnTo>
                  <a:lnTo>
                    <a:pt x="72" y="1062"/>
                  </a:lnTo>
                  <a:lnTo>
                    <a:pt x="60" y="1056"/>
                  </a:lnTo>
                  <a:lnTo>
                    <a:pt x="60" y="1044"/>
                  </a:lnTo>
                  <a:lnTo>
                    <a:pt x="60" y="1032"/>
                  </a:lnTo>
                  <a:lnTo>
                    <a:pt x="60" y="1026"/>
                  </a:lnTo>
                  <a:lnTo>
                    <a:pt x="54" y="1026"/>
                  </a:lnTo>
                  <a:lnTo>
                    <a:pt x="48" y="1014"/>
                  </a:lnTo>
                  <a:lnTo>
                    <a:pt x="42" y="1008"/>
                  </a:lnTo>
                  <a:lnTo>
                    <a:pt x="30" y="1008"/>
                  </a:lnTo>
                  <a:lnTo>
                    <a:pt x="30" y="1002"/>
                  </a:lnTo>
                  <a:lnTo>
                    <a:pt x="24" y="1008"/>
                  </a:lnTo>
                  <a:lnTo>
                    <a:pt x="12" y="1008"/>
                  </a:lnTo>
                  <a:lnTo>
                    <a:pt x="6" y="1008"/>
                  </a:lnTo>
                  <a:lnTo>
                    <a:pt x="0" y="1008"/>
                  </a:lnTo>
                  <a:lnTo>
                    <a:pt x="0" y="1002"/>
                  </a:lnTo>
                  <a:lnTo>
                    <a:pt x="6" y="990"/>
                  </a:lnTo>
                  <a:lnTo>
                    <a:pt x="6" y="984"/>
                  </a:lnTo>
                  <a:lnTo>
                    <a:pt x="0" y="978"/>
                  </a:lnTo>
                  <a:lnTo>
                    <a:pt x="6" y="972"/>
                  </a:lnTo>
                  <a:lnTo>
                    <a:pt x="12" y="972"/>
                  </a:lnTo>
                  <a:lnTo>
                    <a:pt x="72" y="978"/>
                  </a:lnTo>
                  <a:lnTo>
                    <a:pt x="78" y="972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30"/>
                  </a:lnTo>
                  <a:lnTo>
                    <a:pt x="54" y="912"/>
                  </a:lnTo>
                  <a:lnTo>
                    <a:pt x="42" y="906"/>
                  </a:lnTo>
                  <a:lnTo>
                    <a:pt x="36" y="894"/>
                  </a:lnTo>
                  <a:lnTo>
                    <a:pt x="30" y="876"/>
                  </a:lnTo>
                  <a:lnTo>
                    <a:pt x="30" y="858"/>
                  </a:lnTo>
                  <a:lnTo>
                    <a:pt x="30" y="840"/>
                  </a:lnTo>
                  <a:lnTo>
                    <a:pt x="36" y="816"/>
                  </a:lnTo>
                  <a:lnTo>
                    <a:pt x="36" y="792"/>
                  </a:lnTo>
                  <a:lnTo>
                    <a:pt x="36" y="780"/>
                  </a:lnTo>
                  <a:lnTo>
                    <a:pt x="12" y="774"/>
                  </a:lnTo>
                  <a:lnTo>
                    <a:pt x="24" y="756"/>
                  </a:lnTo>
                  <a:lnTo>
                    <a:pt x="24" y="744"/>
                  </a:lnTo>
                  <a:lnTo>
                    <a:pt x="30" y="738"/>
                  </a:lnTo>
                  <a:lnTo>
                    <a:pt x="30" y="732"/>
                  </a:lnTo>
                  <a:lnTo>
                    <a:pt x="36" y="720"/>
                  </a:lnTo>
                  <a:lnTo>
                    <a:pt x="42" y="714"/>
                  </a:lnTo>
                  <a:lnTo>
                    <a:pt x="54" y="708"/>
                  </a:lnTo>
                  <a:lnTo>
                    <a:pt x="60" y="702"/>
                  </a:lnTo>
                  <a:lnTo>
                    <a:pt x="48" y="690"/>
                  </a:lnTo>
                  <a:lnTo>
                    <a:pt x="48" y="684"/>
                  </a:lnTo>
                  <a:lnTo>
                    <a:pt x="48" y="678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66"/>
                  </a:lnTo>
                  <a:lnTo>
                    <a:pt x="72" y="654"/>
                  </a:lnTo>
                  <a:lnTo>
                    <a:pt x="72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84" y="630"/>
                  </a:lnTo>
                  <a:lnTo>
                    <a:pt x="90" y="630"/>
                  </a:lnTo>
                  <a:lnTo>
                    <a:pt x="96" y="630"/>
                  </a:lnTo>
                  <a:lnTo>
                    <a:pt x="96" y="624"/>
                  </a:lnTo>
                  <a:lnTo>
                    <a:pt x="90" y="624"/>
                  </a:lnTo>
                  <a:lnTo>
                    <a:pt x="84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90" y="600"/>
                  </a:lnTo>
                  <a:lnTo>
                    <a:pt x="84" y="600"/>
                  </a:lnTo>
                  <a:lnTo>
                    <a:pt x="78" y="594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126" y="564"/>
                  </a:lnTo>
                  <a:lnTo>
                    <a:pt x="144" y="564"/>
                  </a:lnTo>
                  <a:lnTo>
                    <a:pt x="156" y="582"/>
                  </a:lnTo>
                  <a:lnTo>
                    <a:pt x="162" y="600"/>
                  </a:lnTo>
                  <a:lnTo>
                    <a:pt x="180" y="588"/>
                  </a:lnTo>
                  <a:lnTo>
                    <a:pt x="192" y="588"/>
                  </a:lnTo>
                  <a:lnTo>
                    <a:pt x="198" y="588"/>
                  </a:lnTo>
                  <a:lnTo>
                    <a:pt x="210" y="582"/>
                  </a:lnTo>
                  <a:lnTo>
                    <a:pt x="216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58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46" y="558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58" y="570"/>
                  </a:lnTo>
                  <a:lnTo>
                    <a:pt x="264" y="570"/>
                  </a:lnTo>
                  <a:lnTo>
                    <a:pt x="270" y="564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46"/>
                  </a:lnTo>
                  <a:lnTo>
                    <a:pt x="276" y="540"/>
                  </a:lnTo>
                  <a:lnTo>
                    <a:pt x="276" y="534"/>
                  </a:lnTo>
                  <a:lnTo>
                    <a:pt x="276" y="528"/>
                  </a:lnTo>
                  <a:lnTo>
                    <a:pt x="282" y="528"/>
                  </a:lnTo>
                  <a:lnTo>
                    <a:pt x="282" y="522"/>
                  </a:lnTo>
                  <a:lnTo>
                    <a:pt x="282" y="516"/>
                  </a:lnTo>
                  <a:lnTo>
                    <a:pt x="282" y="510"/>
                  </a:lnTo>
                  <a:lnTo>
                    <a:pt x="282" y="504"/>
                  </a:lnTo>
                  <a:lnTo>
                    <a:pt x="282" y="492"/>
                  </a:lnTo>
                  <a:lnTo>
                    <a:pt x="288" y="486"/>
                  </a:lnTo>
                  <a:lnTo>
                    <a:pt x="300" y="480"/>
                  </a:lnTo>
                  <a:lnTo>
                    <a:pt x="306" y="462"/>
                  </a:lnTo>
                  <a:lnTo>
                    <a:pt x="318" y="444"/>
                  </a:lnTo>
                  <a:lnTo>
                    <a:pt x="330" y="444"/>
                  </a:lnTo>
                  <a:lnTo>
                    <a:pt x="330" y="432"/>
                  </a:lnTo>
                  <a:lnTo>
                    <a:pt x="342" y="432"/>
                  </a:lnTo>
                  <a:lnTo>
                    <a:pt x="354" y="402"/>
                  </a:lnTo>
                  <a:lnTo>
                    <a:pt x="348" y="390"/>
                  </a:lnTo>
                  <a:lnTo>
                    <a:pt x="336" y="384"/>
                  </a:lnTo>
                  <a:lnTo>
                    <a:pt x="336" y="360"/>
                  </a:lnTo>
                  <a:lnTo>
                    <a:pt x="336" y="354"/>
                  </a:lnTo>
                  <a:lnTo>
                    <a:pt x="336" y="342"/>
                  </a:lnTo>
                  <a:lnTo>
                    <a:pt x="342" y="336"/>
                  </a:lnTo>
                  <a:lnTo>
                    <a:pt x="342" y="324"/>
                  </a:lnTo>
                  <a:lnTo>
                    <a:pt x="372" y="324"/>
                  </a:lnTo>
                  <a:lnTo>
                    <a:pt x="378" y="324"/>
                  </a:lnTo>
                  <a:lnTo>
                    <a:pt x="378" y="318"/>
                  </a:lnTo>
                  <a:lnTo>
                    <a:pt x="372" y="312"/>
                  </a:lnTo>
                  <a:lnTo>
                    <a:pt x="378" y="312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84" y="300"/>
                  </a:lnTo>
                  <a:lnTo>
                    <a:pt x="384" y="294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66" y="294"/>
                  </a:lnTo>
                  <a:lnTo>
                    <a:pt x="366" y="288"/>
                  </a:lnTo>
                  <a:lnTo>
                    <a:pt x="372" y="288"/>
                  </a:lnTo>
                  <a:lnTo>
                    <a:pt x="372" y="282"/>
                  </a:lnTo>
                  <a:lnTo>
                    <a:pt x="366" y="276"/>
                  </a:lnTo>
                  <a:lnTo>
                    <a:pt x="360" y="270"/>
                  </a:lnTo>
                  <a:lnTo>
                    <a:pt x="360" y="264"/>
                  </a:lnTo>
                  <a:lnTo>
                    <a:pt x="354" y="264"/>
                  </a:lnTo>
                  <a:lnTo>
                    <a:pt x="348" y="258"/>
                  </a:lnTo>
                  <a:lnTo>
                    <a:pt x="354" y="258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40"/>
                  </a:lnTo>
                  <a:lnTo>
                    <a:pt x="354" y="240"/>
                  </a:lnTo>
                  <a:lnTo>
                    <a:pt x="342" y="234"/>
                  </a:lnTo>
                  <a:lnTo>
                    <a:pt x="342" y="228"/>
                  </a:lnTo>
                  <a:lnTo>
                    <a:pt x="348" y="228"/>
                  </a:lnTo>
                  <a:lnTo>
                    <a:pt x="342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6" y="216"/>
                  </a:lnTo>
                  <a:lnTo>
                    <a:pt x="330" y="222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24" y="210"/>
                  </a:lnTo>
                  <a:lnTo>
                    <a:pt x="318" y="210"/>
                  </a:lnTo>
                  <a:lnTo>
                    <a:pt x="318" y="204"/>
                  </a:lnTo>
                  <a:lnTo>
                    <a:pt x="312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294" y="192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300" y="174"/>
                  </a:lnTo>
                  <a:lnTo>
                    <a:pt x="300" y="168"/>
                  </a:lnTo>
                  <a:lnTo>
                    <a:pt x="300" y="162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88" y="150"/>
                  </a:lnTo>
                  <a:lnTo>
                    <a:pt x="288" y="144"/>
                  </a:lnTo>
                  <a:lnTo>
                    <a:pt x="282" y="144"/>
                  </a:lnTo>
                  <a:lnTo>
                    <a:pt x="282" y="138"/>
                  </a:lnTo>
                  <a:lnTo>
                    <a:pt x="312" y="132"/>
                  </a:lnTo>
                  <a:lnTo>
                    <a:pt x="324" y="120"/>
                  </a:lnTo>
                  <a:lnTo>
                    <a:pt x="330" y="114"/>
                  </a:lnTo>
                  <a:lnTo>
                    <a:pt x="336" y="102"/>
                  </a:lnTo>
                  <a:lnTo>
                    <a:pt x="348" y="90"/>
                  </a:lnTo>
                  <a:lnTo>
                    <a:pt x="360" y="84"/>
                  </a:lnTo>
                  <a:lnTo>
                    <a:pt x="372" y="84"/>
                  </a:lnTo>
                  <a:lnTo>
                    <a:pt x="378" y="84"/>
                  </a:lnTo>
                  <a:lnTo>
                    <a:pt x="384" y="90"/>
                  </a:lnTo>
                  <a:lnTo>
                    <a:pt x="402" y="90"/>
                  </a:lnTo>
                  <a:lnTo>
                    <a:pt x="438" y="84"/>
                  </a:lnTo>
                  <a:lnTo>
                    <a:pt x="456" y="84"/>
                  </a:lnTo>
                  <a:lnTo>
                    <a:pt x="462" y="78"/>
                  </a:lnTo>
                  <a:lnTo>
                    <a:pt x="486" y="72"/>
                  </a:lnTo>
                  <a:lnTo>
                    <a:pt x="492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04" y="54"/>
                  </a:lnTo>
                  <a:lnTo>
                    <a:pt x="510" y="42"/>
                  </a:lnTo>
                  <a:lnTo>
                    <a:pt x="504" y="42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498" y="30"/>
                  </a:lnTo>
                  <a:lnTo>
                    <a:pt x="492" y="30"/>
                  </a:lnTo>
                  <a:lnTo>
                    <a:pt x="492" y="24"/>
                  </a:lnTo>
                  <a:lnTo>
                    <a:pt x="486" y="18"/>
                  </a:lnTo>
                  <a:lnTo>
                    <a:pt x="498" y="18"/>
                  </a:lnTo>
                  <a:lnTo>
                    <a:pt x="510" y="18"/>
                  </a:lnTo>
                  <a:lnTo>
                    <a:pt x="522" y="12"/>
                  </a:lnTo>
                  <a:lnTo>
                    <a:pt x="528" y="6"/>
                  </a:lnTo>
                  <a:lnTo>
                    <a:pt x="570" y="0"/>
                  </a:lnTo>
                  <a:lnTo>
                    <a:pt x="606" y="6"/>
                  </a:lnTo>
                  <a:lnTo>
                    <a:pt x="654" y="24"/>
                  </a:lnTo>
                  <a:lnTo>
                    <a:pt x="666" y="36"/>
                  </a:lnTo>
                  <a:lnTo>
                    <a:pt x="672" y="30"/>
                  </a:lnTo>
                  <a:lnTo>
                    <a:pt x="690" y="42"/>
                  </a:lnTo>
                  <a:lnTo>
                    <a:pt x="702" y="48"/>
                  </a:lnTo>
                  <a:lnTo>
                    <a:pt x="714" y="60"/>
                  </a:lnTo>
                  <a:lnTo>
                    <a:pt x="714" y="66"/>
                  </a:lnTo>
                  <a:lnTo>
                    <a:pt x="720" y="72"/>
                  </a:lnTo>
                  <a:lnTo>
                    <a:pt x="720" y="78"/>
                  </a:lnTo>
                  <a:lnTo>
                    <a:pt x="720" y="102"/>
                  </a:lnTo>
                  <a:lnTo>
                    <a:pt x="720" y="108"/>
                  </a:lnTo>
                  <a:lnTo>
                    <a:pt x="714" y="108"/>
                  </a:lnTo>
                  <a:lnTo>
                    <a:pt x="714" y="126"/>
                  </a:lnTo>
                  <a:lnTo>
                    <a:pt x="732" y="126"/>
                  </a:lnTo>
                  <a:lnTo>
                    <a:pt x="726" y="132"/>
                  </a:lnTo>
                  <a:lnTo>
                    <a:pt x="738" y="132"/>
                  </a:lnTo>
                  <a:lnTo>
                    <a:pt x="738" y="138"/>
                  </a:lnTo>
                  <a:lnTo>
                    <a:pt x="738" y="144"/>
                  </a:lnTo>
                  <a:lnTo>
                    <a:pt x="744" y="144"/>
                  </a:lnTo>
                  <a:lnTo>
                    <a:pt x="744" y="150"/>
                  </a:lnTo>
                  <a:lnTo>
                    <a:pt x="756" y="156"/>
                  </a:lnTo>
                  <a:lnTo>
                    <a:pt x="768" y="156"/>
                  </a:lnTo>
                  <a:lnTo>
                    <a:pt x="780" y="156"/>
                  </a:lnTo>
                  <a:lnTo>
                    <a:pt x="792" y="150"/>
                  </a:lnTo>
                  <a:lnTo>
                    <a:pt x="786" y="150"/>
                  </a:lnTo>
                  <a:lnTo>
                    <a:pt x="786" y="144"/>
                  </a:lnTo>
                  <a:lnTo>
                    <a:pt x="804" y="144"/>
                  </a:lnTo>
                  <a:lnTo>
                    <a:pt x="816" y="132"/>
                  </a:lnTo>
                  <a:lnTo>
                    <a:pt x="822" y="126"/>
                  </a:lnTo>
                  <a:lnTo>
                    <a:pt x="828" y="132"/>
                  </a:lnTo>
                  <a:lnTo>
                    <a:pt x="834" y="126"/>
                  </a:lnTo>
                  <a:lnTo>
                    <a:pt x="834" y="120"/>
                  </a:lnTo>
                  <a:lnTo>
                    <a:pt x="924" y="108"/>
                  </a:lnTo>
                  <a:lnTo>
                    <a:pt x="942" y="144"/>
                  </a:lnTo>
                  <a:lnTo>
                    <a:pt x="948" y="144"/>
                  </a:lnTo>
                  <a:lnTo>
                    <a:pt x="960" y="168"/>
                  </a:lnTo>
                  <a:lnTo>
                    <a:pt x="972" y="186"/>
                  </a:lnTo>
                  <a:lnTo>
                    <a:pt x="984" y="192"/>
                  </a:lnTo>
                  <a:lnTo>
                    <a:pt x="996" y="192"/>
                  </a:lnTo>
                  <a:lnTo>
                    <a:pt x="996" y="198"/>
                  </a:lnTo>
                  <a:lnTo>
                    <a:pt x="1008" y="204"/>
                  </a:lnTo>
                  <a:lnTo>
                    <a:pt x="1008" y="210"/>
                  </a:lnTo>
                  <a:lnTo>
                    <a:pt x="1002" y="210"/>
                  </a:lnTo>
                  <a:lnTo>
                    <a:pt x="1008" y="216"/>
                  </a:lnTo>
                  <a:lnTo>
                    <a:pt x="1014" y="210"/>
                  </a:lnTo>
                  <a:lnTo>
                    <a:pt x="1014" y="216"/>
                  </a:lnTo>
                  <a:lnTo>
                    <a:pt x="1020" y="222"/>
                  </a:lnTo>
                  <a:lnTo>
                    <a:pt x="1014" y="228"/>
                  </a:lnTo>
                  <a:lnTo>
                    <a:pt x="1032" y="234"/>
                  </a:lnTo>
                  <a:lnTo>
                    <a:pt x="1044" y="240"/>
                  </a:lnTo>
                  <a:lnTo>
                    <a:pt x="1038" y="246"/>
                  </a:lnTo>
                  <a:lnTo>
                    <a:pt x="1038" y="252"/>
                  </a:lnTo>
                  <a:lnTo>
                    <a:pt x="1038" y="258"/>
                  </a:lnTo>
                  <a:lnTo>
                    <a:pt x="1032" y="264"/>
                  </a:lnTo>
                  <a:lnTo>
                    <a:pt x="1032" y="270"/>
                  </a:lnTo>
                  <a:lnTo>
                    <a:pt x="1032" y="276"/>
                  </a:lnTo>
                  <a:lnTo>
                    <a:pt x="1032" y="282"/>
                  </a:lnTo>
                  <a:lnTo>
                    <a:pt x="1026" y="282"/>
                  </a:lnTo>
                  <a:lnTo>
                    <a:pt x="1026" y="288"/>
                  </a:lnTo>
                  <a:lnTo>
                    <a:pt x="1026" y="294"/>
                  </a:lnTo>
                  <a:lnTo>
                    <a:pt x="1026" y="300"/>
                  </a:lnTo>
                  <a:lnTo>
                    <a:pt x="1026" y="306"/>
                  </a:lnTo>
                  <a:lnTo>
                    <a:pt x="1020" y="318"/>
                  </a:lnTo>
                  <a:lnTo>
                    <a:pt x="1020" y="324"/>
                  </a:lnTo>
                  <a:lnTo>
                    <a:pt x="1014" y="324"/>
                  </a:lnTo>
                  <a:lnTo>
                    <a:pt x="1014" y="330"/>
                  </a:lnTo>
                  <a:lnTo>
                    <a:pt x="1014" y="336"/>
                  </a:lnTo>
                  <a:lnTo>
                    <a:pt x="1008" y="366"/>
                  </a:lnTo>
                  <a:lnTo>
                    <a:pt x="1002" y="366"/>
                  </a:lnTo>
                  <a:lnTo>
                    <a:pt x="984" y="354"/>
                  </a:lnTo>
                  <a:lnTo>
                    <a:pt x="978" y="354"/>
                  </a:lnTo>
                  <a:lnTo>
                    <a:pt x="972" y="354"/>
                  </a:lnTo>
                  <a:lnTo>
                    <a:pt x="966" y="348"/>
                  </a:lnTo>
                  <a:lnTo>
                    <a:pt x="954" y="348"/>
                  </a:lnTo>
                  <a:lnTo>
                    <a:pt x="948" y="348"/>
                  </a:lnTo>
                  <a:lnTo>
                    <a:pt x="948" y="360"/>
                  </a:lnTo>
                  <a:lnTo>
                    <a:pt x="948" y="366"/>
                  </a:lnTo>
                  <a:lnTo>
                    <a:pt x="948" y="372"/>
                  </a:lnTo>
                  <a:lnTo>
                    <a:pt x="948" y="378"/>
                  </a:lnTo>
                  <a:lnTo>
                    <a:pt x="948" y="384"/>
                  </a:lnTo>
                  <a:lnTo>
                    <a:pt x="942" y="384"/>
                  </a:lnTo>
                  <a:lnTo>
                    <a:pt x="942" y="390"/>
                  </a:lnTo>
                  <a:lnTo>
                    <a:pt x="936" y="390"/>
                  </a:lnTo>
                  <a:lnTo>
                    <a:pt x="942" y="390"/>
                  </a:lnTo>
                  <a:lnTo>
                    <a:pt x="936" y="396"/>
                  </a:lnTo>
                  <a:lnTo>
                    <a:pt x="930" y="402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2" y="432"/>
                  </a:lnTo>
                  <a:lnTo>
                    <a:pt x="900" y="450"/>
                  </a:lnTo>
                  <a:lnTo>
                    <a:pt x="894" y="456"/>
                  </a:lnTo>
                  <a:lnTo>
                    <a:pt x="888" y="456"/>
                  </a:lnTo>
                  <a:lnTo>
                    <a:pt x="882" y="456"/>
                  </a:lnTo>
                  <a:lnTo>
                    <a:pt x="876" y="456"/>
                  </a:lnTo>
                  <a:lnTo>
                    <a:pt x="864" y="462"/>
                  </a:lnTo>
                  <a:lnTo>
                    <a:pt x="852" y="474"/>
                  </a:lnTo>
                  <a:lnTo>
                    <a:pt x="846" y="480"/>
                  </a:lnTo>
                  <a:lnTo>
                    <a:pt x="840" y="486"/>
                  </a:lnTo>
                  <a:lnTo>
                    <a:pt x="834" y="498"/>
                  </a:lnTo>
                  <a:lnTo>
                    <a:pt x="828" y="510"/>
                  </a:lnTo>
                  <a:lnTo>
                    <a:pt x="816" y="522"/>
                  </a:lnTo>
                  <a:lnTo>
                    <a:pt x="798" y="540"/>
                  </a:lnTo>
                  <a:lnTo>
                    <a:pt x="780" y="558"/>
                  </a:lnTo>
                  <a:lnTo>
                    <a:pt x="774" y="558"/>
                  </a:lnTo>
                  <a:lnTo>
                    <a:pt x="756" y="576"/>
                  </a:lnTo>
                  <a:lnTo>
                    <a:pt x="732" y="600"/>
                  </a:lnTo>
                  <a:lnTo>
                    <a:pt x="726" y="600"/>
                  </a:lnTo>
                  <a:lnTo>
                    <a:pt x="720" y="606"/>
                  </a:lnTo>
                  <a:lnTo>
                    <a:pt x="714" y="612"/>
                  </a:lnTo>
                  <a:lnTo>
                    <a:pt x="690" y="630"/>
                  </a:lnTo>
                  <a:lnTo>
                    <a:pt x="678" y="636"/>
                  </a:lnTo>
                  <a:lnTo>
                    <a:pt x="672" y="642"/>
                  </a:lnTo>
                  <a:lnTo>
                    <a:pt x="660" y="660"/>
                  </a:lnTo>
                  <a:lnTo>
                    <a:pt x="642" y="666"/>
                  </a:lnTo>
                  <a:lnTo>
                    <a:pt x="636" y="678"/>
                  </a:lnTo>
                  <a:lnTo>
                    <a:pt x="630" y="678"/>
                  </a:lnTo>
                  <a:lnTo>
                    <a:pt x="630" y="684"/>
                  </a:lnTo>
                  <a:lnTo>
                    <a:pt x="630" y="690"/>
                  </a:lnTo>
                  <a:lnTo>
                    <a:pt x="636" y="696"/>
                  </a:lnTo>
                  <a:lnTo>
                    <a:pt x="642" y="696"/>
                  </a:lnTo>
                  <a:lnTo>
                    <a:pt x="648" y="702"/>
                  </a:lnTo>
                  <a:lnTo>
                    <a:pt x="648" y="708"/>
                  </a:lnTo>
                  <a:lnTo>
                    <a:pt x="642" y="708"/>
                  </a:lnTo>
                  <a:lnTo>
                    <a:pt x="636" y="714"/>
                  </a:lnTo>
                  <a:lnTo>
                    <a:pt x="636" y="720"/>
                  </a:lnTo>
                  <a:lnTo>
                    <a:pt x="642" y="726"/>
                  </a:lnTo>
                  <a:lnTo>
                    <a:pt x="636" y="738"/>
                  </a:lnTo>
                  <a:lnTo>
                    <a:pt x="618" y="756"/>
                  </a:lnTo>
                  <a:lnTo>
                    <a:pt x="612" y="750"/>
                  </a:lnTo>
                  <a:lnTo>
                    <a:pt x="612" y="756"/>
                  </a:lnTo>
                  <a:lnTo>
                    <a:pt x="618" y="762"/>
                  </a:lnTo>
                  <a:lnTo>
                    <a:pt x="618" y="768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36" y="786"/>
                  </a:lnTo>
                  <a:lnTo>
                    <a:pt x="642" y="792"/>
                  </a:lnTo>
                  <a:lnTo>
                    <a:pt x="642" y="798"/>
                  </a:lnTo>
                  <a:lnTo>
                    <a:pt x="648" y="804"/>
                  </a:lnTo>
                  <a:lnTo>
                    <a:pt x="654" y="810"/>
                  </a:lnTo>
                  <a:lnTo>
                    <a:pt x="660" y="816"/>
                  </a:lnTo>
                  <a:lnTo>
                    <a:pt x="666" y="816"/>
                  </a:lnTo>
                  <a:lnTo>
                    <a:pt x="666" y="822"/>
                  </a:lnTo>
                  <a:lnTo>
                    <a:pt x="672" y="828"/>
                  </a:lnTo>
                  <a:lnTo>
                    <a:pt x="672" y="840"/>
                  </a:lnTo>
                  <a:lnTo>
                    <a:pt x="672" y="846"/>
                  </a:lnTo>
                  <a:lnTo>
                    <a:pt x="666" y="852"/>
                  </a:lnTo>
                  <a:lnTo>
                    <a:pt x="660" y="864"/>
                  </a:lnTo>
                  <a:lnTo>
                    <a:pt x="654" y="876"/>
                  </a:lnTo>
                  <a:lnTo>
                    <a:pt x="648" y="882"/>
                  </a:lnTo>
                  <a:lnTo>
                    <a:pt x="642" y="888"/>
                  </a:lnTo>
                  <a:lnTo>
                    <a:pt x="642" y="894"/>
                  </a:lnTo>
                  <a:lnTo>
                    <a:pt x="642" y="906"/>
                  </a:lnTo>
                  <a:lnTo>
                    <a:pt x="630" y="918"/>
                  </a:lnTo>
                  <a:lnTo>
                    <a:pt x="630" y="924"/>
                  </a:lnTo>
                  <a:lnTo>
                    <a:pt x="624" y="930"/>
                  </a:lnTo>
                  <a:lnTo>
                    <a:pt x="630" y="936"/>
                  </a:lnTo>
                  <a:lnTo>
                    <a:pt x="630" y="942"/>
                  </a:lnTo>
                  <a:lnTo>
                    <a:pt x="630" y="948"/>
                  </a:lnTo>
                  <a:lnTo>
                    <a:pt x="630" y="954"/>
                  </a:lnTo>
                  <a:lnTo>
                    <a:pt x="630" y="960"/>
                  </a:lnTo>
                  <a:lnTo>
                    <a:pt x="624" y="966"/>
                  </a:lnTo>
                  <a:lnTo>
                    <a:pt x="618" y="990"/>
                  </a:lnTo>
                  <a:lnTo>
                    <a:pt x="618" y="1008"/>
                  </a:lnTo>
                  <a:lnTo>
                    <a:pt x="612" y="1026"/>
                  </a:lnTo>
                  <a:lnTo>
                    <a:pt x="612" y="1038"/>
                  </a:lnTo>
                  <a:lnTo>
                    <a:pt x="612" y="1050"/>
                  </a:lnTo>
                  <a:lnTo>
                    <a:pt x="612" y="1056"/>
                  </a:lnTo>
                  <a:lnTo>
                    <a:pt x="612" y="1062"/>
                  </a:lnTo>
                  <a:lnTo>
                    <a:pt x="612" y="1068"/>
                  </a:lnTo>
                  <a:lnTo>
                    <a:pt x="612" y="1086"/>
                  </a:lnTo>
                  <a:lnTo>
                    <a:pt x="612" y="1092"/>
                  </a:lnTo>
                  <a:lnTo>
                    <a:pt x="606" y="1098"/>
                  </a:lnTo>
                  <a:lnTo>
                    <a:pt x="600" y="1110"/>
                  </a:lnTo>
                  <a:lnTo>
                    <a:pt x="600" y="1116"/>
                  </a:lnTo>
                  <a:lnTo>
                    <a:pt x="594" y="1122"/>
                  </a:lnTo>
                  <a:lnTo>
                    <a:pt x="594" y="1128"/>
                  </a:lnTo>
                  <a:lnTo>
                    <a:pt x="588" y="1134"/>
                  </a:lnTo>
                  <a:lnTo>
                    <a:pt x="582" y="1140"/>
                  </a:lnTo>
                  <a:lnTo>
                    <a:pt x="570" y="1140"/>
                  </a:lnTo>
                  <a:lnTo>
                    <a:pt x="564" y="1146"/>
                  </a:lnTo>
                  <a:lnTo>
                    <a:pt x="570" y="1146"/>
                  </a:lnTo>
                  <a:lnTo>
                    <a:pt x="564" y="1152"/>
                  </a:lnTo>
                  <a:lnTo>
                    <a:pt x="558" y="1158"/>
                  </a:lnTo>
                  <a:lnTo>
                    <a:pt x="552" y="1164"/>
                  </a:lnTo>
                  <a:lnTo>
                    <a:pt x="552" y="1170"/>
                  </a:lnTo>
                  <a:lnTo>
                    <a:pt x="546" y="1176"/>
                  </a:lnTo>
                  <a:lnTo>
                    <a:pt x="546" y="1182"/>
                  </a:lnTo>
                  <a:lnTo>
                    <a:pt x="546" y="1188"/>
                  </a:lnTo>
                  <a:lnTo>
                    <a:pt x="540" y="1188"/>
                  </a:lnTo>
                  <a:lnTo>
                    <a:pt x="540" y="1194"/>
                  </a:lnTo>
                  <a:lnTo>
                    <a:pt x="528" y="1206"/>
                  </a:lnTo>
                  <a:lnTo>
                    <a:pt x="528" y="1212"/>
                  </a:lnTo>
                  <a:lnTo>
                    <a:pt x="534" y="1212"/>
                  </a:lnTo>
                  <a:lnTo>
                    <a:pt x="540" y="1218"/>
                  </a:lnTo>
                  <a:lnTo>
                    <a:pt x="534" y="1218"/>
                  </a:lnTo>
                  <a:lnTo>
                    <a:pt x="528" y="1218"/>
                  </a:lnTo>
                  <a:lnTo>
                    <a:pt x="528" y="1224"/>
                  </a:lnTo>
                  <a:lnTo>
                    <a:pt x="522" y="1230"/>
                  </a:lnTo>
                  <a:lnTo>
                    <a:pt x="516" y="1236"/>
                  </a:lnTo>
                  <a:lnTo>
                    <a:pt x="522" y="1236"/>
                  </a:lnTo>
                  <a:lnTo>
                    <a:pt x="516" y="1242"/>
                  </a:lnTo>
                  <a:lnTo>
                    <a:pt x="510" y="1242"/>
                  </a:lnTo>
                  <a:lnTo>
                    <a:pt x="504" y="1248"/>
                  </a:lnTo>
                  <a:lnTo>
                    <a:pt x="510" y="1260"/>
                  </a:lnTo>
                  <a:lnTo>
                    <a:pt x="504" y="1266"/>
                  </a:lnTo>
                  <a:lnTo>
                    <a:pt x="492" y="1266"/>
                  </a:lnTo>
                  <a:lnTo>
                    <a:pt x="486" y="1272"/>
                  </a:lnTo>
                  <a:lnTo>
                    <a:pt x="486" y="1278"/>
                  </a:lnTo>
                  <a:lnTo>
                    <a:pt x="480" y="1278"/>
                  </a:lnTo>
                  <a:lnTo>
                    <a:pt x="480" y="1284"/>
                  </a:lnTo>
                  <a:lnTo>
                    <a:pt x="480" y="1290"/>
                  </a:lnTo>
                  <a:lnTo>
                    <a:pt x="480" y="1296"/>
                  </a:lnTo>
                  <a:lnTo>
                    <a:pt x="492" y="1302"/>
                  </a:lnTo>
                  <a:lnTo>
                    <a:pt x="492" y="1308"/>
                  </a:lnTo>
                  <a:lnTo>
                    <a:pt x="492" y="1320"/>
                  </a:lnTo>
                  <a:lnTo>
                    <a:pt x="492" y="1332"/>
                  </a:lnTo>
                  <a:lnTo>
                    <a:pt x="498" y="1344"/>
                  </a:lnTo>
                  <a:lnTo>
                    <a:pt x="498" y="1350"/>
                  </a:lnTo>
                  <a:lnTo>
                    <a:pt x="498" y="1356"/>
                  </a:lnTo>
                  <a:lnTo>
                    <a:pt x="504" y="1362"/>
                  </a:lnTo>
                  <a:lnTo>
                    <a:pt x="498" y="1362"/>
                  </a:lnTo>
                  <a:lnTo>
                    <a:pt x="498" y="1368"/>
                  </a:lnTo>
                  <a:lnTo>
                    <a:pt x="492" y="1368"/>
                  </a:lnTo>
                  <a:lnTo>
                    <a:pt x="492" y="1374"/>
                  </a:lnTo>
                  <a:lnTo>
                    <a:pt x="492" y="1380"/>
                  </a:lnTo>
                  <a:lnTo>
                    <a:pt x="498" y="1380"/>
                  </a:lnTo>
                  <a:lnTo>
                    <a:pt x="504" y="1380"/>
                  </a:lnTo>
                  <a:lnTo>
                    <a:pt x="498" y="1386"/>
                  </a:lnTo>
                  <a:lnTo>
                    <a:pt x="498" y="1392"/>
                  </a:lnTo>
                  <a:lnTo>
                    <a:pt x="498" y="1398"/>
                  </a:lnTo>
                  <a:lnTo>
                    <a:pt x="498" y="1404"/>
                  </a:lnTo>
                  <a:lnTo>
                    <a:pt x="498" y="1410"/>
                  </a:lnTo>
                  <a:lnTo>
                    <a:pt x="498" y="1416"/>
                  </a:lnTo>
                  <a:lnTo>
                    <a:pt x="492" y="1416"/>
                  </a:lnTo>
                  <a:lnTo>
                    <a:pt x="498" y="1416"/>
                  </a:lnTo>
                  <a:lnTo>
                    <a:pt x="504" y="1416"/>
                  </a:lnTo>
                  <a:lnTo>
                    <a:pt x="504" y="1422"/>
                  </a:lnTo>
                  <a:lnTo>
                    <a:pt x="510" y="1428"/>
                  </a:lnTo>
                  <a:lnTo>
                    <a:pt x="510" y="1434"/>
                  </a:lnTo>
                  <a:lnTo>
                    <a:pt x="510" y="1440"/>
                  </a:lnTo>
                  <a:lnTo>
                    <a:pt x="516" y="1446"/>
                  </a:lnTo>
                  <a:lnTo>
                    <a:pt x="516" y="1452"/>
                  </a:lnTo>
                  <a:lnTo>
                    <a:pt x="516" y="1458"/>
                  </a:lnTo>
                  <a:lnTo>
                    <a:pt x="516" y="1464"/>
                  </a:lnTo>
                  <a:lnTo>
                    <a:pt x="516" y="1482"/>
                  </a:lnTo>
                  <a:lnTo>
                    <a:pt x="516" y="1488"/>
                  </a:lnTo>
                  <a:lnTo>
                    <a:pt x="522" y="1488"/>
                  </a:lnTo>
                  <a:lnTo>
                    <a:pt x="522" y="1494"/>
                  </a:lnTo>
                  <a:lnTo>
                    <a:pt x="522" y="1500"/>
                  </a:lnTo>
                  <a:lnTo>
                    <a:pt x="516" y="1506"/>
                  </a:lnTo>
                  <a:lnTo>
                    <a:pt x="510" y="1500"/>
                  </a:lnTo>
                  <a:lnTo>
                    <a:pt x="504" y="1500"/>
                  </a:lnTo>
                  <a:lnTo>
                    <a:pt x="504" y="1494"/>
                  </a:lnTo>
                  <a:lnTo>
                    <a:pt x="504" y="1488"/>
                  </a:lnTo>
                  <a:lnTo>
                    <a:pt x="504" y="1482"/>
                  </a:lnTo>
                  <a:lnTo>
                    <a:pt x="504" y="1488"/>
                  </a:lnTo>
                  <a:lnTo>
                    <a:pt x="504" y="1494"/>
                  </a:lnTo>
                  <a:lnTo>
                    <a:pt x="504" y="1500"/>
                  </a:lnTo>
                  <a:lnTo>
                    <a:pt x="498" y="1500"/>
                  </a:lnTo>
                  <a:lnTo>
                    <a:pt x="492" y="1500"/>
                  </a:lnTo>
                  <a:lnTo>
                    <a:pt x="492" y="1494"/>
                  </a:lnTo>
                  <a:lnTo>
                    <a:pt x="492" y="1488"/>
                  </a:lnTo>
                  <a:lnTo>
                    <a:pt x="492" y="1494"/>
                  </a:lnTo>
                  <a:lnTo>
                    <a:pt x="492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00"/>
                  </a:lnTo>
                  <a:lnTo>
                    <a:pt x="510" y="1500"/>
                  </a:lnTo>
                  <a:lnTo>
                    <a:pt x="510" y="1506"/>
                  </a:lnTo>
                  <a:lnTo>
                    <a:pt x="516" y="1506"/>
                  </a:lnTo>
                  <a:lnTo>
                    <a:pt x="510" y="1506"/>
                  </a:lnTo>
                  <a:lnTo>
                    <a:pt x="510" y="1512"/>
                  </a:lnTo>
                  <a:lnTo>
                    <a:pt x="516" y="1506"/>
                  </a:lnTo>
                  <a:lnTo>
                    <a:pt x="522" y="1506"/>
                  </a:lnTo>
                  <a:lnTo>
                    <a:pt x="528" y="1506"/>
                  </a:lnTo>
                  <a:lnTo>
                    <a:pt x="528" y="1500"/>
                  </a:lnTo>
                  <a:lnTo>
                    <a:pt x="534" y="1500"/>
                  </a:lnTo>
                  <a:lnTo>
                    <a:pt x="534" y="1506"/>
                  </a:lnTo>
                  <a:lnTo>
                    <a:pt x="540" y="1512"/>
                  </a:lnTo>
                  <a:lnTo>
                    <a:pt x="540" y="1518"/>
                  </a:lnTo>
                  <a:lnTo>
                    <a:pt x="546" y="1518"/>
                  </a:lnTo>
                  <a:lnTo>
                    <a:pt x="540" y="1518"/>
                  </a:lnTo>
                  <a:lnTo>
                    <a:pt x="540" y="1524"/>
                  </a:lnTo>
                  <a:lnTo>
                    <a:pt x="534" y="1524"/>
                  </a:lnTo>
                  <a:lnTo>
                    <a:pt x="540" y="1524"/>
                  </a:lnTo>
                  <a:lnTo>
                    <a:pt x="546" y="1524"/>
                  </a:lnTo>
                  <a:lnTo>
                    <a:pt x="546" y="1530"/>
                  </a:lnTo>
                  <a:lnTo>
                    <a:pt x="540" y="1530"/>
                  </a:lnTo>
                  <a:lnTo>
                    <a:pt x="540" y="1536"/>
                  </a:lnTo>
                  <a:lnTo>
                    <a:pt x="534" y="1542"/>
                  </a:lnTo>
                  <a:lnTo>
                    <a:pt x="528" y="1542"/>
                  </a:lnTo>
                  <a:lnTo>
                    <a:pt x="522" y="1542"/>
                  </a:lnTo>
                  <a:lnTo>
                    <a:pt x="516" y="1542"/>
                  </a:lnTo>
                  <a:lnTo>
                    <a:pt x="510" y="1542"/>
                  </a:lnTo>
                  <a:lnTo>
                    <a:pt x="504" y="1542"/>
                  </a:lnTo>
                  <a:lnTo>
                    <a:pt x="492" y="1542"/>
                  </a:lnTo>
                  <a:lnTo>
                    <a:pt x="486" y="1536"/>
                  </a:lnTo>
                  <a:lnTo>
                    <a:pt x="480" y="1536"/>
                  </a:lnTo>
                  <a:lnTo>
                    <a:pt x="468" y="1536"/>
                  </a:lnTo>
                  <a:lnTo>
                    <a:pt x="468" y="1542"/>
                  </a:lnTo>
                  <a:lnTo>
                    <a:pt x="462" y="1542"/>
                  </a:lnTo>
                  <a:lnTo>
                    <a:pt x="456" y="1542"/>
                  </a:lnTo>
                  <a:lnTo>
                    <a:pt x="450" y="1542"/>
                  </a:lnTo>
                  <a:lnTo>
                    <a:pt x="444" y="1542"/>
                  </a:lnTo>
                  <a:lnTo>
                    <a:pt x="444" y="1536"/>
                  </a:lnTo>
                  <a:lnTo>
                    <a:pt x="450" y="1536"/>
                  </a:lnTo>
                  <a:lnTo>
                    <a:pt x="456" y="1536"/>
                  </a:lnTo>
                  <a:lnTo>
                    <a:pt x="450" y="1536"/>
                  </a:lnTo>
                  <a:lnTo>
                    <a:pt x="444" y="1536"/>
                  </a:lnTo>
                  <a:lnTo>
                    <a:pt x="444" y="1530"/>
                  </a:lnTo>
                  <a:lnTo>
                    <a:pt x="450" y="1530"/>
                  </a:lnTo>
                  <a:lnTo>
                    <a:pt x="456" y="1524"/>
                  </a:lnTo>
                  <a:lnTo>
                    <a:pt x="456" y="1518"/>
                  </a:lnTo>
                  <a:lnTo>
                    <a:pt x="462" y="1518"/>
                  </a:lnTo>
                  <a:lnTo>
                    <a:pt x="462" y="1524"/>
                  </a:lnTo>
                  <a:lnTo>
                    <a:pt x="468" y="1524"/>
                  </a:lnTo>
                  <a:lnTo>
                    <a:pt x="474" y="1524"/>
                  </a:lnTo>
                  <a:lnTo>
                    <a:pt x="474" y="1518"/>
                  </a:lnTo>
                  <a:lnTo>
                    <a:pt x="480" y="1518"/>
                  </a:lnTo>
                  <a:lnTo>
                    <a:pt x="474" y="1518"/>
                  </a:lnTo>
                  <a:lnTo>
                    <a:pt x="474" y="1524"/>
                  </a:lnTo>
                  <a:lnTo>
                    <a:pt x="468" y="1524"/>
                  </a:lnTo>
                  <a:lnTo>
                    <a:pt x="462" y="1518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62" y="1512"/>
                  </a:lnTo>
                  <a:lnTo>
                    <a:pt x="462" y="1506"/>
                  </a:lnTo>
                  <a:lnTo>
                    <a:pt x="456" y="1506"/>
                  </a:lnTo>
                  <a:lnTo>
                    <a:pt x="456" y="1512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50" y="1518"/>
                  </a:lnTo>
                  <a:lnTo>
                    <a:pt x="444" y="1518"/>
                  </a:lnTo>
                  <a:lnTo>
                    <a:pt x="444" y="1524"/>
                  </a:lnTo>
                  <a:lnTo>
                    <a:pt x="438" y="1524"/>
                  </a:lnTo>
                  <a:lnTo>
                    <a:pt x="438" y="1530"/>
                  </a:lnTo>
                  <a:lnTo>
                    <a:pt x="432" y="1530"/>
                  </a:lnTo>
                  <a:lnTo>
                    <a:pt x="432" y="1536"/>
                  </a:lnTo>
                  <a:lnTo>
                    <a:pt x="426" y="1530"/>
                  </a:lnTo>
                  <a:lnTo>
                    <a:pt x="420" y="1530"/>
                  </a:lnTo>
                  <a:lnTo>
                    <a:pt x="414" y="1530"/>
                  </a:lnTo>
                  <a:lnTo>
                    <a:pt x="414" y="1524"/>
                  </a:lnTo>
                  <a:lnTo>
                    <a:pt x="408" y="1518"/>
                  </a:lnTo>
                  <a:lnTo>
                    <a:pt x="414" y="1512"/>
                  </a:lnTo>
                  <a:lnTo>
                    <a:pt x="408" y="1512"/>
                  </a:lnTo>
                  <a:lnTo>
                    <a:pt x="408" y="1506"/>
                  </a:lnTo>
                  <a:lnTo>
                    <a:pt x="408" y="1500"/>
                  </a:lnTo>
                  <a:lnTo>
                    <a:pt x="408" y="1494"/>
                  </a:lnTo>
                  <a:lnTo>
                    <a:pt x="408" y="1488"/>
                  </a:lnTo>
                  <a:lnTo>
                    <a:pt x="408" y="1494"/>
                  </a:lnTo>
                  <a:lnTo>
                    <a:pt x="414" y="1494"/>
                  </a:lnTo>
                  <a:lnTo>
                    <a:pt x="420" y="1494"/>
                  </a:lnTo>
                  <a:lnTo>
                    <a:pt x="420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82"/>
                  </a:lnTo>
                  <a:lnTo>
                    <a:pt x="426" y="1476"/>
                  </a:lnTo>
                  <a:lnTo>
                    <a:pt x="432" y="1476"/>
                  </a:lnTo>
                  <a:lnTo>
                    <a:pt x="432" y="1470"/>
                  </a:lnTo>
                  <a:lnTo>
                    <a:pt x="438" y="1470"/>
                  </a:lnTo>
                  <a:lnTo>
                    <a:pt x="444" y="1464"/>
                  </a:lnTo>
                  <a:lnTo>
                    <a:pt x="450" y="1458"/>
                  </a:lnTo>
                  <a:lnTo>
                    <a:pt x="456" y="1458"/>
                  </a:lnTo>
                  <a:lnTo>
                    <a:pt x="462" y="1452"/>
                  </a:lnTo>
                  <a:lnTo>
                    <a:pt x="468" y="1452"/>
                  </a:lnTo>
                  <a:lnTo>
                    <a:pt x="468" y="1446"/>
                  </a:lnTo>
                  <a:lnTo>
                    <a:pt x="462" y="1440"/>
                  </a:lnTo>
                  <a:lnTo>
                    <a:pt x="456" y="1434"/>
                  </a:lnTo>
                  <a:lnTo>
                    <a:pt x="456" y="1428"/>
                  </a:lnTo>
                  <a:lnTo>
                    <a:pt x="456" y="1422"/>
                  </a:lnTo>
                  <a:lnTo>
                    <a:pt x="456" y="1416"/>
                  </a:lnTo>
                  <a:lnTo>
                    <a:pt x="450" y="1410"/>
                  </a:lnTo>
                  <a:lnTo>
                    <a:pt x="444" y="1410"/>
                  </a:lnTo>
                  <a:lnTo>
                    <a:pt x="450" y="1410"/>
                  </a:lnTo>
                  <a:lnTo>
                    <a:pt x="450" y="1404"/>
                  </a:lnTo>
                  <a:lnTo>
                    <a:pt x="456" y="1404"/>
                  </a:lnTo>
                  <a:lnTo>
                    <a:pt x="462" y="1404"/>
                  </a:lnTo>
                  <a:lnTo>
                    <a:pt x="468" y="1398"/>
                  </a:lnTo>
                  <a:lnTo>
                    <a:pt x="462" y="1398"/>
                  </a:lnTo>
                  <a:lnTo>
                    <a:pt x="462" y="1392"/>
                  </a:lnTo>
                  <a:lnTo>
                    <a:pt x="456" y="1392"/>
                  </a:lnTo>
                  <a:lnTo>
                    <a:pt x="456" y="1386"/>
                  </a:lnTo>
                  <a:lnTo>
                    <a:pt x="462" y="1386"/>
                  </a:lnTo>
                  <a:lnTo>
                    <a:pt x="468" y="1386"/>
                  </a:lnTo>
                  <a:lnTo>
                    <a:pt x="474" y="1386"/>
                  </a:lnTo>
                  <a:lnTo>
                    <a:pt x="468" y="1386"/>
                  </a:lnTo>
                  <a:lnTo>
                    <a:pt x="462" y="1386"/>
                  </a:lnTo>
                  <a:lnTo>
                    <a:pt x="456" y="1380"/>
                  </a:lnTo>
                  <a:lnTo>
                    <a:pt x="456" y="1374"/>
                  </a:lnTo>
                  <a:lnTo>
                    <a:pt x="462" y="1374"/>
                  </a:lnTo>
                  <a:lnTo>
                    <a:pt x="462" y="1368"/>
                  </a:lnTo>
                  <a:lnTo>
                    <a:pt x="456" y="1374"/>
                  </a:lnTo>
                  <a:lnTo>
                    <a:pt x="456" y="1368"/>
                  </a:lnTo>
                  <a:lnTo>
                    <a:pt x="456" y="1362"/>
                  </a:lnTo>
                  <a:lnTo>
                    <a:pt x="450" y="1362"/>
                  </a:lnTo>
                  <a:lnTo>
                    <a:pt x="450" y="1356"/>
                  </a:lnTo>
                  <a:lnTo>
                    <a:pt x="450" y="1350"/>
                  </a:lnTo>
                  <a:lnTo>
                    <a:pt x="450" y="1344"/>
                  </a:lnTo>
                  <a:lnTo>
                    <a:pt x="456" y="1344"/>
                  </a:lnTo>
                  <a:lnTo>
                    <a:pt x="456" y="1338"/>
                  </a:lnTo>
                  <a:lnTo>
                    <a:pt x="462" y="1338"/>
                  </a:lnTo>
                  <a:lnTo>
                    <a:pt x="462" y="1332"/>
                  </a:lnTo>
                  <a:lnTo>
                    <a:pt x="456" y="1332"/>
                  </a:lnTo>
                  <a:lnTo>
                    <a:pt x="456" y="1326"/>
                  </a:lnTo>
                  <a:lnTo>
                    <a:pt x="450" y="1326"/>
                  </a:lnTo>
                  <a:lnTo>
                    <a:pt x="444" y="1326"/>
                  </a:lnTo>
                  <a:lnTo>
                    <a:pt x="444" y="1332"/>
                  </a:lnTo>
                  <a:lnTo>
                    <a:pt x="438" y="1332"/>
                  </a:lnTo>
                  <a:lnTo>
                    <a:pt x="438" y="1338"/>
                  </a:lnTo>
                  <a:lnTo>
                    <a:pt x="432" y="1338"/>
                  </a:lnTo>
                  <a:lnTo>
                    <a:pt x="432" y="1344"/>
                  </a:lnTo>
                  <a:lnTo>
                    <a:pt x="432" y="1350"/>
                  </a:lnTo>
                  <a:lnTo>
                    <a:pt x="426" y="1356"/>
                  </a:lnTo>
                  <a:lnTo>
                    <a:pt x="426" y="1368"/>
                  </a:lnTo>
                  <a:lnTo>
                    <a:pt x="426" y="1374"/>
                  </a:lnTo>
                  <a:lnTo>
                    <a:pt x="426" y="1380"/>
                  </a:lnTo>
                  <a:lnTo>
                    <a:pt x="432" y="1386"/>
                  </a:lnTo>
                  <a:lnTo>
                    <a:pt x="432" y="1392"/>
                  </a:lnTo>
                  <a:lnTo>
                    <a:pt x="432" y="1398"/>
                  </a:lnTo>
                  <a:lnTo>
                    <a:pt x="426" y="1398"/>
                  </a:lnTo>
                  <a:lnTo>
                    <a:pt x="420" y="1398"/>
                  </a:lnTo>
                  <a:lnTo>
                    <a:pt x="414" y="1398"/>
                  </a:lnTo>
                  <a:lnTo>
                    <a:pt x="420" y="1398"/>
                  </a:lnTo>
                  <a:lnTo>
                    <a:pt x="414" y="1404"/>
                  </a:lnTo>
                  <a:lnTo>
                    <a:pt x="420" y="1404"/>
                  </a:lnTo>
                  <a:lnTo>
                    <a:pt x="414" y="1404"/>
                  </a:lnTo>
                  <a:lnTo>
                    <a:pt x="408" y="1404"/>
                  </a:lnTo>
                  <a:lnTo>
                    <a:pt x="402" y="1410"/>
                  </a:lnTo>
                  <a:lnTo>
                    <a:pt x="402" y="1404"/>
                  </a:lnTo>
                  <a:lnTo>
                    <a:pt x="396" y="1404"/>
                  </a:lnTo>
                  <a:lnTo>
                    <a:pt x="390" y="1404"/>
                  </a:lnTo>
                  <a:lnTo>
                    <a:pt x="384" y="1404"/>
                  </a:lnTo>
                  <a:lnTo>
                    <a:pt x="384" y="1398"/>
                  </a:lnTo>
                  <a:lnTo>
                    <a:pt x="384" y="1392"/>
                  </a:lnTo>
                  <a:lnTo>
                    <a:pt x="390" y="1392"/>
                  </a:lnTo>
                  <a:lnTo>
                    <a:pt x="390" y="1386"/>
                  </a:lnTo>
                  <a:lnTo>
                    <a:pt x="390" y="1380"/>
                  </a:lnTo>
                  <a:lnTo>
                    <a:pt x="396" y="1380"/>
                  </a:lnTo>
                  <a:lnTo>
                    <a:pt x="402" y="1380"/>
                  </a:lnTo>
                  <a:lnTo>
                    <a:pt x="408" y="1380"/>
                  </a:lnTo>
                  <a:lnTo>
                    <a:pt x="408" y="1374"/>
                  </a:lnTo>
                  <a:lnTo>
                    <a:pt x="414" y="1374"/>
                  </a:lnTo>
                  <a:lnTo>
                    <a:pt x="414" y="1368"/>
                  </a:lnTo>
                  <a:lnTo>
                    <a:pt x="414" y="1362"/>
                  </a:lnTo>
                  <a:lnTo>
                    <a:pt x="414" y="1368"/>
                  </a:lnTo>
                  <a:lnTo>
                    <a:pt x="414" y="1374"/>
                  </a:lnTo>
                  <a:lnTo>
                    <a:pt x="408" y="1374"/>
                  </a:lnTo>
                  <a:lnTo>
                    <a:pt x="402" y="1380"/>
                  </a:lnTo>
                  <a:lnTo>
                    <a:pt x="396" y="1380"/>
                  </a:lnTo>
                  <a:lnTo>
                    <a:pt x="396" y="1374"/>
                  </a:lnTo>
                  <a:lnTo>
                    <a:pt x="390" y="1374"/>
                  </a:lnTo>
                  <a:lnTo>
                    <a:pt x="390" y="1368"/>
                  </a:lnTo>
                  <a:lnTo>
                    <a:pt x="384" y="1368"/>
                  </a:lnTo>
                  <a:lnTo>
                    <a:pt x="384" y="1374"/>
                  </a:lnTo>
                  <a:lnTo>
                    <a:pt x="378" y="1374"/>
                  </a:lnTo>
                  <a:lnTo>
                    <a:pt x="378" y="1380"/>
                  </a:lnTo>
                  <a:lnTo>
                    <a:pt x="372" y="1380"/>
                  </a:lnTo>
                  <a:lnTo>
                    <a:pt x="366" y="1386"/>
                  </a:lnTo>
                  <a:lnTo>
                    <a:pt x="360" y="1386"/>
                  </a:lnTo>
                  <a:lnTo>
                    <a:pt x="354" y="1386"/>
                  </a:lnTo>
                  <a:lnTo>
                    <a:pt x="354" y="1380"/>
                  </a:lnTo>
                  <a:lnTo>
                    <a:pt x="348" y="1380"/>
                  </a:lnTo>
                  <a:lnTo>
                    <a:pt x="342" y="1380"/>
                  </a:lnTo>
                  <a:lnTo>
                    <a:pt x="342" y="1374"/>
                  </a:lnTo>
                  <a:lnTo>
                    <a:pt x="336" y="1368"/>
                  </a:lnTo>
                  <a:lnTo>
                    <a:pt x="342" y="1368"/>
                  </a:lnTo>
                  <a:lnTo>
                    <a:pt x="342" y="1362"/>
                  </a:lnTo>
                  <a:lnTo>
                    <a:pt x="348" y="1362"/>
                  </a:lnTo>
                  <a:lnTo>
                    <a:pt x="354" y="1362"/>
                  </a:lnTo>
                  <a:lnTo>
                    <a:pt x="354" y="1356"/>
                  </a:lnTo>
                  <a:lnTo>
                    <a:pt x="348" y="1356"/>
                  </a:lnTo>
                  <a:lnTo>
                    <a:pt x="348" y="1350"/>
                  </a:lnTo>
                  <a:lnTo>
                    <a:pt x="348" y="1344"/>
                  </a:lnTo>
                  <a:lnTo>
                    <a:pt x="354" y="1338"/>
                  </a:lnTo>
                  <a:lnTo>
                    <a:pt x="354" y="1332"/>
                  </a:lnTo>
                  <a:lnTo>
                    <a:pt x="354" y="1326"/>
                  </a:lnTo>
                  <a:lnTo>
                    <a:pt x="354" y="1320"/>
                  </a:lnTo>
                  <a:lnTo>
                    <a:pt x="354" y="1314"/>
                  </a:lnTo>
                  <a:lnTo>
                    <a:pt x="354" y="1308"/>
                  </a:lnTo>
                  <a:lnTo>
                    <a:pt x="348" y="1308"/>
                  </a:lnTo>
                  <a:lnTo>
                    <a:pt x="348" y="1302"/>
                  </a:lnTo>
                  <a:lnTo>
                    <a:pt x="342" y="1296"/>
                  </a:lnTo>
                  <a:lnTo>
                    <a:pt x="336" y="1296"/>
                  </a:lnTo>
                  <a:lnTo>
                    <a:pt x="336" y="1290"/>
                  </a:lnTo>
                  <a:lnTo>
                    <a:pt x="330" y="1290"/>
                  </a:lnTo>
                  <a:lnTo>
                    <a:pt x="324" y="1290"/>
                  </a:lnTo>
                  <a:lnTo>
                    <a:pt x="324" y="1284"/>
                  </a:lnTo>
                  <a:lnTo>
                    <a:pt x="318" y="1284"/>
                  </a:lnTo>
                  <a:lnTo>
                    <a:pt x="318" y="1278"/>
                  </a:lnTo>
                  <a:lnTo>
                    <a:pt x="312" y="1278"/>
                  </a:lnTo>
                  <a:lnTo>
                    <a:pt x="312" y="1272"/>
                  </a:lnTo>
                  <a:lnTo>
                    <a:pt x="312" y="1278"/>
                  </a:lnTo>
                  <a:lnTo>
                    <a:pt x="318" y="1284"/>
                  </a:lnTo>
                  <a:lnTo>
                    <a:pt x="324" y="1290"/>
                  </a:lnTo>
                  <a:lnTo>
                    <a:pt x="330" y="1290"/>
                  </a:lnTo>
                  <a:lnTo>
                    <a:pt x="330" y="1296"/>
                  </a:lnTo>
                  <a:lnTo>
                    <a:pt x="336" y="1296"/>
                  </a:lnTo>
                  <a:lnTo>
                    <a:pt x="336" y="1302"/>
                  </a:lnTo>
                  <a:lnTo>
                    <a:pt x="342" y="1302"/>
                  </a:lnTo>
                  <a:lnTo>
                    <a:pt x="348" y="1302"/>
                  </a:lnTo>
                  <a:lnTo>
                    <a:pt x="348" y="1308"/>
                  </a:lnTo>
                  <a:lnTo>
                    <a:pt x="348" y="1314"/>
                  </a:lnTo>
                  <a:lnTo>
                    <a:pt x="354" y="1314"/>
                  </a:lnTo>
                  <a:lnTo>
                    <a:pt x="354" y="1320"/>
                  </a:lnTo>
                  <a:lnTo>
                    <a:pt x="354" y="1326"/>
                  </a:lnTo>
                  <a:lnTo>
                    <a:pt x="348" y="1326"/>
                  </a:lnTo>
                  <a:lnTo>
                    <a:pt x="348" y="1332"/>
                  </a:lnTo>
                  <a:lnTo>
                    <a:pt x="348" y="1338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2" y="1350"/>
                  </a:lnTo>
                  <a:lnTo>
                    <a:pt x="336" y="1350"/>
                  </a:lnTo>
                  <a:lnTo>
                    <a:pt x="330" y="1350"/>
                  </a:lnTo>
                  <a:lnTo>
                    <a:pt x="330" y="1356"/>
                  </a:lnTo>
                  <a:lnTo>
                    <a:pt x="330" y="1350"/>
                  </a:lnTo>
                  <a:lnTo>
                    <a:pt x="324" y="1350"/>
                  </a:lnTo>
                  <a:lnTo>
                    <a:pt x="318" y="1344"/>
                  </a:lnTo>
                  <a:lnTo>
                    <a:pt x="318" y="1350"/>
                  </a:lnTo>
                  <a:lnTo>
                    <a:pt x="312" y="1344"/>
                  </a:lnTo>
                  <a:lnTo>
                    <a:pt x="312" y="1338"/>
                  </a:lnTo>
                  <a:lnTo>
                    <a:pt x="306" y="1338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6" y="1326"/>
                  </a:lnTo>
                  <a:lnTo>
                    <a:pt x="306" y="1320"/>
                  </a:lnTo>
                  <a:lnTo>
                    <a:pt x="306" y="1326"/>
                  </a:lnTo>
                  <a:lnTo>
                    <a:pt x="312" y="1326"/>
                  </a:lnTo>
                  <a:lnTo>
                    <a:pt x="312" y="1320"/>
                  </a:lnTo>
                  <a:lnTo>
                    <a:pt x="306" y="1320"/>
                  </a:lnTo>
                  <a:lnTo>
                    <a:pt x="300" y="1320"/>
                  </a:lnTo>
                  <a:lnTo>
                    <a:pt x="294" y="1320"/>
                  </a:lnTo>
                  <a:lnTo>
                    <a:pt x="294" y="1314"/>
                  </a:lnTo>
                  <a:lnTo>
                    <a:pt x="288" y="1314"/>
                  </a:lnTo>
                  <a:lnTo>
                    <a:pt x="288" y="1308"/>
                  </a:lnTo>
                  <a:lnTo>
                    <a:pt x="288" y="1302"/>
                  </a:lnTo>
                  <a:lnTo>
                    <a:pt x="294" y="1302"/>
                  </a:lnTo>
                  <a:lnTo>
                    <a:pt x="294" y="1296"/>
                  </a:lnTo>
                  <a:lnTo>
                    <a:pt x="288" y="1296"/>
                  </a:lnTo>
                  <a:lnTo>
                    <a:pt x="288" y="1290"/>
                  </a:lnTo>
                  <a:lnTo>
                    <a:pt x="288" y="1296"/>
                  </a:lnTo>
                  <a:lnTo>
                    <a:pt x="294" y="1302"/>
                  </a:lnTo>
                  <a:lnTo>
                    <a:pt x="288" y="1302"/>
                  </a:lnTo>
                  <a:lnTo>
                    <a:pt x="282" y="1296"/>
                  </a:lnTo>
                  <a:lnTo>
                    <a:pt x="276" y="1296"/>
                  </a:lnTo>
                  <a:lnTo>
                    <a:pt x="276" y="1290"/>
                  </a:lnTo>
                  <a:lnTo>
                    <a:pt x="270" y="1290"/>
                  </a:lnTo>
                  <a:lnTo>
                    <a:pt x="264" y="1284"/>
                  </a:lnTo>
                  <a:lnTo>
                    <a:pt x="264" y="1278"/>
                  </a:lnTo>
                  <a:lnTo>
                    <a:pt x="264" y="1272"/>
                  </a:lnTo>
                  <a:lnTo>
                    <a:pt x="264" y="1266"/>
                  </a:lnTo>
                  <a:lnTo>
                    <a:pt x="258" y="1266"/>
                  </a:lnTo>
                  <a:lnTo>
                    <a:pt x="252" y="1266"/>
                  </a:lnTo>
                  <a:lnTo>
                    <a:pt x="246" y="1260"/>
                  </a:lnTo>
                  <a:lnTo>
                    <a:pt x="240" y="1254"/>
                  </a:lnTo>
                  <a:lnTo>
                    <a:pt x="240" y="1260"/>
                  </a:lnTo>
                  <a:lnTo>
                    <a:pt x="240" y="1266"/>
                  </a:lnTo>
                  <a:lnTo>
                    <a:pt x="240" y="1272"/>
                  </a:lnTo>
                  <a:lnTo>
                    <a:pt x="246" y="1272"/>
                  </a:lnTo>
                  <a:lnTo>
                    <a:pt x="246" y="1278"/>
                  </a:lnTo>
                  <a:lnTo>
                    <a:pt x="246" y="1284"/>
                  </a:lnTo>
                  <a:lnTo>
                    <a:pt x="252" y="1284"/>
                  </a:lnTo>
                  <a:lnTo>
                    <a:pt x="252" y="1290"/>
                  </a:lnTo>
                  <a:lnTo>
                    <a:pt x="258" y="1296"/>
                  </a:lnTo>
                  <a:lnTo>
                    <a:pt x="264" y="1302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58" y="1314"/>
                  </a:lnTo>
                  <a:lnTo>
                    <a:pt x="258" y="1308"/>
                  </a:lnTo>
                  <a:lnTo>
                    <a:pt x="252" y="1308"/>
                  </a:lnTo>
                  <a:lnTo>
                    <a:pt x="252" y="1302"/>
                  </a:lnTo>
                  <a:lnTo>
                    <a:pt x="246" y="1302"/>
                  </a:lnTo>
                  <a:lnTo>
                    <a:pt x="246" y="1296"/>
                  </a:lnTo>
                  <a:lnTo>
                    <a:pt x="240" y="1296"/>
                  </a:lnTo>
                  <a:lnTo>
                    <a:pt x="240" y="1290"/>
                  </a:lnTo>
                  <a:lnTo>
                    <a:pt x="234" y="1284"/>
                  </a:lnTo>
                  <a:lnTo>
                    <a:pt x="234" y="1278"/>
                  </a:lnTo>
                  <a:close/>
                  <a:moveTo>
                    <a:pt x="444" y="1332"/>
                  </a:moveTo>
                  <a:lnTo>
                    <a:pt x="450" y="1326"/>
                  </a:lnTo>
                  <a:lnTo>
                    <a:pt x="456" y="1326"/>
                  </a:lnTo>
                  <a:lnTo>
                    <a:pt x="456" y="1332"/>
                  </a:lnTo>
                  <a:lnTo>
                    <a:pt x="456" y="1338"/>
                  </a:lnTo>
                  <a:lnTo>
                    <a:pt x="450" y="1338"/>
                  </a:lnTo>
                  <a:lnTo>
                    <a:pt x="444" y="1338"/>
                  </a:lnTo>
                  <a:lnTo>
                    <a:pt x="444" y="1332"/>
                  </a:lnTo>
                  <a:close/>
                  <a:moveTo>
                    <a:pt x="444" y="1368"/>
                  </a:moveTo>
                  <a:lnTo>
                    <a:pt x="456" y="1368"/>
                  </a:lnTo>
                  <a:lnTo>
                    <a:pt x="456" y="1374"/>
                  </a:lnTo>
                  <a:lnTo>
                    <a:pt x="444" y="1374"/>
                  </a:lnTo>
                  <a:lnTo>
                    <a:pt x="444" y="1368"/>
                  </a:lnTo>
                  <a:close/>
                  <a:moveTo>
                    <a:pt x="444" y="1386"/>
                  </a:moveTo>
                  <a:lnTo>
                    <a:pt x="444" y="1380"/>
                  </a:lnTo>
                  <a:lnTo>
                    <a:pt x="444" y="1374"/>
                  </a:lnTo>
                  <a:lnTo>
                    <a:pt x="444" y="1380"/>
                  </a:lnTo>
                  <a:lnTo>
                    <a:pt x="450" y="1380"/>
                  </a:lnTo>
                  <a:lnTo>
                    <a:pt x="456" y="1380"/>
                  </a:lnTo>
                  <a:lnTo>
                    <a:pt x="456" y="1386"/>
                  </a:lnTo>
                  <a:lnTo>
                    <a:pt x="456" y="1392"/>
                  </a:lnTo>
                  <a:lnTo>
                    <a:pt x="462" y="1392"/>
                  </a:lnTo>
                  <a:lnTo>
                    <a:pt x="462" y="1398"/>
                  </a:lnTo>
                  <a:lnTo>
                    <a:pt x="462" y="1404"/>
                  </a:lnTo>
                  <a:lnTo>
                    <a:pt x="456" y="1404"/>
                  </a:lnTo>
                  <a:lnTo>
                    <a:pt x="450" y="1404"/>
                  </a:lnTo>
                  <a:lnTo>
                    <a:pt x="450" y="1398"/>
                  </a:lnTo>
                  <a:lnTo>
                    <a:pt x="444" y="1398"/>
                  </a:lnTo>
                  <a:lnTo>
                    <a:pt x="444" y="1392"/>
                  </a:lnTo>
                  <a:lnTo>
                    <a:pt x="444" y="1386"/>
                  </a:lnTo>
                  <a:close/>
                  <a:moveTo>
                    <a:pt x="438" y="1362"/>
                  </a:moveTo>
                  <a:lnTo>
                    <a:pt x="444" y="1356"/>
                  </a:lnTo>
                  <a:lnTo>
                    <a:pt x="450" y="1356"/>
                  </a:lnTo>
                  <a:lnTo>
                    <a:pt x="450" y="1362"/>
                  </a:lnTo>
                  <a:lnTo>
                    <a:pt x="450" y="1368"/>
                  </a:lnTo>
                  <a:lnTo>
                    <a:pt x="444" y="1368"/>
                  </a:lnTo>
                  <a:lnTo>
                    <a:pt x="444" y="1362"/>
                  </a:lnTo>
                  <a:lnTo>
                    <a:pt x="438" y="1362"/>
                  </a:lnTo>
                  <a:close/>
                  <a:moveTo>
                    <a:pt x="438" y="1350"/>
                  </a:moveTo>
                  <a:lnTo>
                    <a:pt x="438" y="1344"/>
                  </a:lnTo>
                  <a:lnTo>
                    <a:pt x="438" y="1338"/>
                  </a:lnTo>
                  <a:lnTo>
                    <a:pt x="444" y="1338"/>
                  </a:lnTo>
                  <a:lnTo>
                    <a:pt x="450" y="1338"/>
                  </a:lnTo>
                  <a:lnTo>
                    <a:pt x="456" y="1338"/>
                  </a:lnTo>
                  <a:lnTo>
                    <a:pt x="450" y="1344"/>
                  </a:lnTo>
                  <a:lnTo>
                    <a:pt x="444" y="1350"/>
                  </a:lnTo>
                  <a:lnTo>
                    <a:pt x="438" y="1350"/>
                  </a:lnTo>
                  <a:close/>
                  <a:moveTo>
                    <a:pt x="432" y="1380"/>
                  </a:moveTo>
                  <a:lnTo>
                    <a:pt x="432" y="1368"/>
                  </a:lnTo>
                  <a:lnTo>
                    <a:pt x="432" y="1362"/>
                  </a:lnTo>
                  <a:lnTo>
                    <a:pt x="432" y="1356"/>
                  </a:lnTo>
                  <a:lnTo>
                    <a:pt x="438" y="1356"/>
                  </a:lnTo>
                  <a:lnTo>
                    <a:pt x="438" y="1362"/>
                  </a:lnTo>
                  <a:lnTo>
                    <a:pt x="438" y="1368"/>
                  </a:lnTo>
                  <a:lnTo>
                    <a:pt x="438" y="1374"/>
                  </a:lnTo>
                  <a:lnTo>
                    <a:pt x="438" y="1380"/>
                  </a:lnTo>
                  <a:lnTo>
                    <a:pt x="438" y="1386"/>
                  </a:lnTo>
                  <a:lnTo>
                    <a:pt x="438" y="1380"/>
                  </a:lnTo>
                  <a:lnTo>
                    <a:pt x="432" y="1380"/>
                  </a:lnTo>
                  <a:close/>
                  <a:moveTo>
                    <a:pt x="246" y="1272"/>
                  </a:moveTo>
                  <a:lnTo>
                    <a:pt x="252" y="1272"/>
                  </a:lnTo>
                  <a:lnTo>
                    <a:pt x="252" y="1278"/>
                  </a:lnTo>
                  <a:lnTo>
                    <a:pt x="246" y="1278"/>
                  </a:lnTo>
                  <a:lnTo>
                    <a:pt x="246" y="1272"/>
                  </a:lnTo>
                  <a:close/>
                  <a:moveTo>
                    <a:pt x="426" y="1416"/>
                  </a:moveTo>
                  <a:lnTo>
                    <a:pt x="432" y="1410"/>
                  </a:lnTo>
                  <a:lnTo>
                    <a:pt x="438" y="1410"/>
                  </a:lnTo>
                  <a:lnTo>
                    <a:pt x="438" y="1416"/>
                  </a:lnTo>
                  <a:lnTo>
                    <a:pt x="438" y="1422"/>
                  </a:lnTo>
                  <a:lnTo>
                    <a:pt x="432" y="1422"/>
                  </a:lnTo>
                  <a:lnTo>
                    <a:pt x="426" y="1422"/>
                  </a:lnTo>
                  <a:lnTo>
                    <a:pt x="426" y="1416"/>
                  </a:lnTo>
                  <a:close/>
                  <a:moveTo>
                    <a:pt x="246" y="1266"/>
                  </a:moveTo>
                  <a:lnTo>
                    <a:pt x="252" y="1266"/>
                  </a:lnTo>
                  <a:lnTo>
                    <a:pt x="258" y="1272"/>
                  </a:lnTo>
                  <a:lnTo>
                    <a:pt x="258" y="1278"/>
                  </a:lnTo>
                  <a:lnTo>
                    <a:pt x="258" y="1284"/>
                  </a:lnTo>
                  <a:lnTo>
                    <a:pt x="252" y="1284"/>
                  </a:lnTo>
                  <a:lnTo>
                    <a:pt x="252" y="1278"/>
                  </a:lnTo>
                  <a:lnTo>
                    <a:pt x="252" y="1272"/>
                  </a:lnTo>
                  <a:lnTo>
                    <a:pt x="252" y="1266"/>
                  </a:lnTo>
                  <a:lnTo>
                    <a:pt x="246" y="1266"/>
                  </a:lnTo>
                  <a:close/>
                  <a:moveTo>
                    <a:pt x="408" y="1458"/>
                  </a:moveTo>
                  <a:lnTo>
                    <a:pt x="408" y="1452"/>
                  </a:lnTo>
                  <a:lnTo>
                    <a:pt x="414" y="1452"/>
                  </a:lnTo>
                  <a:lnTo>
                    <a:pt x="414" y="1446"/>
                  </a:lnTo>
                  <a:lnTo>
                    <a:pt x="414" y="1440"/>
                  </a:lnTo>
                  <a:lnTo>
                    <a:pt x="420" y="1440"/>
                  </a:lnTo>
                  <a:lnTo>
                    <a:pt x="420" y="1434"/>
                  </a:lnTo>
                  <a:lnTo>
                    <a:pt x="420" y="1428"/>
                  </a:lnTo>
                  <a:lnTo>
                    <a:pt x="420" y="1422"/>
                  </a:lnTo>
                  <a:lnTo>
                    <a:pt x="426" y="1422"/>
                  </a:lnTo>
                  <a:lnTo>
                    <a:pt x="432" y="1428"/>
                  </a:lnTo>
                  <a:lnTo>
                    <a:pt x="438" y="1428"/>
                  </a:lnTo>
                  <a:lnTo>
                    <a:pt x="438" y="1434"/>
                  </a:lnTo>
                  <a:lnTo>
                    <a:pt x="438" y="1428"/>
                  </a:lnTo>
                  <a:lnTo>
                    <a:pt x="438" y="1422"/>
                  </a:lnTo>
                  <a:lnTo>
                    <a:pt x="444" y="1416"/>
                  </a:lnTo>
                  <a:lnTo>
                    <a:pt x="444" y="1410"/>
                  </a:lnTo>
                  <a:lnTo>
                    <a:pt x="450" y="1416"/>
                  </a:lnTo>
                  <a:lnTo>
                    <a:pt x="456" y="1416"/>
                  </a:lnTo>
                  <a:lnTo>
                    <a:pt x="456" y="1422"/>
                  </a:lnTo>
                  <a:lnTo>
                    <a:pt x="456" y="1428"/>
                  </a:lnTo>
                  <a:lnTo>
                    <a:pt x="456" y="1434"/>
                  </a:lnTo>
                  <a:lnTo>
                    <a:pt x="456" y="1440"/>
                  </a:lnTo>
                  <a:lnTo>
                    <a:pt x="462" y="1440"/>
                  </a:lnTo>
                  <a:lnTo>
                    <a:pt x="462" y="1446"/>
                  </a:lnTo>
                  <a:lnTo>
                    <a:pt x="462" y="1452"/>
                  </a:lnTo>
                  <a:lnTo>
                    <a:pt x="456" y="1452"/>
                  </a:lnTo>
                  <a:lnTo>
                    <a:pt x="450" y="1452"/>
                  </a:lnTo>
                  <a:lnTo>
                    <a:pt x="444" y="1446"/>
                  </a:lnTo>
                  <a:lnTo>
                    <a:pt x="444" y="1452"/>
                  </a:lnTo>
                  <a:lnTo>
                    <a:pt x="450" y="1452"/>
                  </a:lnTo>
                  <a:lnTo>
                    <a:pt x="450" y="1458"/>
                  </a:lnTo>
                  <a:lnTo>
                    <a:pt x="444" y="1458"/>
                  </a:lnTo>
                  <a:lnTo>
                    <a:pt x="438" y="1464"/>
                  </a:lnTo>
                  <a:lnTo>
                    <a:pt x="438" y="1458"/>
                  </a:lnTo>
                  <a:lnTo>
                    <a:pt x="432" y="1458"/>
                  </a:lnTo>
                  <a:lnTo>
                    <a:pt x="426" y="1458"/>
                  </a:lnTo>
                  <a:lnTo>
                    <a:pt x="432" y="1458"/>
                  </a:lnTo>
                  <a:lnTo>
                    <a:pt x="438" y="1464"/>
                  </a:lnTo>
                  <a:lnTo>
                    <a:pt x="432" y="1464"/>
                  </a:lnTo>
                  <a:lnTo>
                    <a:pt x="432" y="1470"/>
                  </a:lnTo>
                  <a:lnTo>
                    <a:pt x="426" y="1470"/>
                  </a:lnTo>
                  <a:lnTo>
                    <a:pt x="420" y="1476"/>
                  </a:lnTo>
                  <a:lnTo>
                    <a:pt x="420" y="1470"/>
                  </a:lnTo>
                  <a:lnTo>
                    <a:pt x="414" y="1470"/>
                  </a:lnTo>
                  <a:lnTo>
                    <a:pt x="414" y="1464"/>
                  </a:lnTo>
                  <a:lnTo>
                    <a:pt x="414" y="1458"/>
                  </a:lnTo>
                  <a:lnTo>
                    <a:pt x="408" y="1458"/>
                  </a:lnTo>
                  <a:close/>
                  <a:moveTo>
                    <a:pt x="270" y="1326"/>
                  </a:moveTo>
                  <a:lnTo>
                    <a:pt x="270" y="1320"/>
                  </a:lnTo>
                  <a:lnTo>
                    <a:pt x="276" y="1320"/>
                  </a:lnTo>
                  <a:lnTo>
                    <a:pt x="282" y="1326"/>
                  </a:lnTo>
                  <a:lnTo>
                    <a:pt x="288" y="1326"/>
                  </a:lnTo>
                  <a:lnTo>
                    <a:pt x="288" y="1332"/>
                  </a:lnTo>
                  <a:lnTo>
                    <a:pt x="288" y="1338"/>
                  </a:lnTo>
                  <a:lnTo>
                    <a:pt x="288" y="1344"/>
                  </a:lnTo>
                  <a:lnTo>
                    <a:pt x="282" y="1344"/>
                  </a:lnTo>
                  <a:lnTo>
                    <a:pt x="282" y="1338"/>
                  </a:lnTo>
                  <a:lnTo>
                    <a:pt x="276" y="1338"/>
                  </a:lnTo>
                  <a:lnTo>
                    <a:pt x="276" y="1332"/>
                  </a:lnTo>
                  <a:lnTo>
                    <a:pt x="270" y="1332"/>
                  </a:lnTo>
                  <a:lnTo>
                    <a:pt x="270" y="1326"/>
                  </a:lnTo>
                  <a:close/>
                  <a:moveTo>
                    <a:pt x="288" y="1458"/>
                  </a:moveTo>
                  <a:lnTo>
                    <a:pt x="294" y="1458"/>
                  </a:lnTo>
                  <a:lnTo>
                    <a:pt x="294" y="1452"/>
                  </a:lnTo>
                  <a:lnTo>
                    <a:pt x="294" y="1446"/>
                  </a:lnTo>
                  <a:lnTo>
                    <a:pt x="300" y="1446"/>
                  </a:lnTo>
                  <a:lnTo>
                    <a:pt x="300" y="1440"/>
                  </a:lnTo>
                  <a:lnTo>
                    <a:pt x="306" y="1440"/>
                  </a:lnTo>
                  <a:lnTo>
                    <a:pt x="306" y="1446"/>
                  </a:lnTo>
                  <a:lnTo>
                    <a:pt x="312" y="1452"/>
                  </a:lnTo>
                  <a:lnTo>
                    <a:pt x="306" y="1452"/>
                  </a:lnTo>
                  <a:lnTo>
                    <a:pt x="306" y="1458"/>
                  </a:lnTo>
                  <a:lnTo>
                    <a:pt x="312" y="1464"/>
                  </a:lnTo>
                  <a:lnTo>
                    <a:pt x="306" y="1464"/>
                  </a:lnTo>
                  <a:lnTo>
                    <a:pt x="306" y="1470"/>
                  </a:lnTo>
                  <a:lnTo>
                    <a:pt x="300" y="1476"/>
                  </a:lnTo>
                  <a:lnTo>
                    <a:pt x="294" y="1476"/>
                  </a:lnTo>
                  <a:lnTo>
                    <a:pt x="294" y="1470"/>
                  </a:lnTo>
                  <a:lnTo>
                    <a:pt x="288" y="1470"/>
                  </a:lnTo>
                  <a:lnTo>
                    <a:pt x="288" y="1464"/>
                  </a:lnTo>
                  <a:lnTo>
                    <a:pt x="288" y="1458"/>
                  </a:lnTo>
                  <a:close/>
                  <a:moveTo>
                    <a:pt x="270" y="1296"/>
                  </a:moveTo>
                  <a:lnTo>
                    <a:pt x="276" y="1296"/>
                  </a:lnTo>
                  <a:lnTo>
                    <a:pt x="282" y="1296"/>
                  </a:lnTo>
                  <a:lnTo>
                    <a:pt x="288" y="1296"/>
                  </a:lnTo>
                  <a:lnTo>
                    <a:pt x="288" y="1302"/>
                  </a:lnTo>
                  <a:lnTo>
                    <a:pt x="282" y="1308"/>
                  </a:lnTo>
                  <a:lnTo>
                    <a:pt x="276" y="1308"/>
                  </a:lnTo>
                  <a:lnTo>
                    <a:pt x="276" y="1302"/>
                  </a:lnTo>
                  <a:lnTo>
                    <a:pt x="270" y="12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4" name="Freeform 19">
              <a:extLst>
                <a:ext uri="{FF2B5EF4-FFF2-40B4-BE49-F238E27FC236}">
                  <a16:creationId xmlns:a16="http://schemas.microsoft.com/office/drawing/2014/main" id="{5B9020B8-E1C1-4611-A248-9642BBD69C9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7043" y="3765821"/>
              <a:ext cx="333193" cy="398097"/>
            </a:xfrm>
            <a:custGeom>
              <a:avLst/>
              <a:gdLst>
                <a:gd name="T0" fmla="*/ 30 w 624"/>
                <a:gd name="T1" fmla="*/ 61 h 750"/>
                <a:gd name="T2" fmla="*/ 27 w 624"/>
                <a:gd name="T3" fmla="*/ 62 h 750"/>
                <a:gd name="T4" fmla="*/ 23 w 624"/>
                <a:gd name="T5" fmla="*/ 59 h 750"/>
                <a:gd name="T6" fmla="*/ 20 w 624"/>
                <a:gd name="T7" fmla="*/ 58 h 750"/>
                <a:gd name="T8" fmla="*/ 19 w 624"/>
                <a:gd name="T9" fmla="*/ 56 h 750"/>
                <a:gd name="T10" fmla="*/ 17 w 624"/>
                <a:gd name="T11" fmla="*/ 55 h 750"/>
                <a:gd name="T12" fmla="*/ 16 w 624"/>
                <a:gd name="T13" fmla="*/ 51 h 750"/>
                <a:gd name="T14" fmla="*/ 14 w 624"/>
                <a:gd name="T15" fmla="*/ 48 h 750"/>
                <a:gd name="T16" fmla="*/ 12 w 624"/>
                <a:gd name="T17" fmla="*/ 46 h 750"/>
                <a:gd name="T18" fmla="*/ 12 w 624"/>
                <a:gd name="T19" fmla="*/ 44 h 750"/>
                <a:gd name="T20" fmla="*/ 11 w 624"/>
                <a:gd name="T21" fmla="*/ 41 h 750"/>
                <a:gd name="T22" fmla="*/ 8 w 624"/>
                <a:gd name="T23" fmla="*/ 38 h 750"/>
                <a:gd name="T24" fmla="*/ 6 w 624"/>
                <a:gd name="T25" fmla="*/ 38 h 750"/>
                <a:gd name="T26" fmla="*/ 6 w 624"/>
                <a:gd name="T27" fmla="*/ 35 h 750"/>
                <a:gd name="T28" fmla="*/ 7 w 624"/>
                <a:gd name="T29" fmla="*/ 31 h 750"/>
                <a:gd name="T30" fmla="*/ 10 w 624"/>
                <a:gd name="T31" fmla="*/ 27 h 750"/>
                <a:gd name="T32" fmla="*/ 8 w 624"/>
                <a:gd name="T33" fmla="*/ 23 h 750"/>
                <a:gd name="T34" fmla="*/ 6 w 624"/>
                <a:gd name="T35" fmla="*/ 23 h 750"/>
                <a:gd name="T36" fmla="*/ 3 w 624"/>
                <a:gd name="T37" fmla="*/ 22 h 750"/>
                <a:gd name="T38" fmla="*/ 0 w 624"/>
                <a:gd name="T39" fmla="*/ 22 h 750"/>
                <a:gd name="T40" fmla="*/ 0 w 624"/>
                <a:gd name="T41" fmla="*/ 19 h 750"/>
                <a:gd name="T42" fmla="*/ 1 w 624"/>
                <a:gd name="T43" fmla="*/ 18 h 750"/>
                <a:gd name="T44" fmla="*/ 2 w 624"/>
                <a:gd name="T45" fmla="*/ 14 h 750"/>
                <a:gd name="T46" fmla="*/ 4 w 624"/>
                <a:gd name="T47" fmla="*/ 17 h 750"/>
                <a:gd name="T48" fmla="*/ 6 w 624"/>
                <a:gd name="T49" fmla="*/ 17 h 750"/>
                <a:gd name="T50" fmla="*/ 7 w 624"/>
                <a:gd name="T51" fmla="*/ 17 h 750"/>
                <a:gd name="T52" fmla="*/ 9 w 624"/>
                <a:gd name="T53" fmla="*/ 15 h 750"/>
                <a:gd name="T54" fmla="*/ 10 w 624"/>
                <a:gd name="T55" fmla="*/ 14 h 750"/>
                <a:gd name="T56" fmla="*/ 11 w 624"/>
                <a:gd name="T57" fmla="*/ 12 h 750"/>
                <a:gd name="T58" fmla="*/ 13 w 624"/>
                <a:gd name="T59" fmla="*/ 12 h 750"/>
                <a:gd name="T60" fmla="*/ 18 w 624"/>
                <a:gd name="T61" fmla="*/ 10 h 750"/>
                <a:gd name="T62" fmla="*/ 22 w 624"/>
                <a:gd name="T63" fmla="*/ 4 h 750"/>
                <a:gd name="T64" fmla="*/ 24 w 624"/>
                <a:gd name="T65" fmla="*/ 4 h 750"/>
                <a:gd name="T66" fmla="*/ 26 w 624"/>
                <a:gd name="T67" fmla="*/ 2 h 750"/>
                <a:gd name="T68" fmla="*/ 29 w 624"/>
                <a:gd name="T69" fmla="*/ 0 h 750"/>
                <a:gd name="T70" fmla="*/ 32 w 624"/>
                <a:gd name="T71" fmla="*/ 2 h 750"/>
                <a:gd name="T72" fmla="*/ 34 w 624"/>
                <a:gd name="T73" fmla="*/ 5 h 750"/>
                <a:gd name="T74" fmla="*/ 35 w 624"/>
                <a:gd name="T75" fmla="*/ 8 h 750"/>
                <a:gd name="T76" fmla="*/ 39 w 624"/>
                <a:gd name="T77" fmla="*/ 11 h 750"/>
                <a:gd name="T78" fmla="*/ 42 w 624"/>
                <a:gd name="T79" fmla="*/ 14 h 750"/>
                <a:gd name="T80" fmla="*/ 46 w 624"/>
                <a:gd name="T81" fmla="*/ 12 h 750"/>
                <a:gd name="T82" fmla="*/ 49 w 624"/>
                <a:gd name="T83" fmla="*/ 12 h 750"/>
                <a:gd name="T84" fmla="*/ 51 w 624"/>
                <a:gd name="T85" fmla="*/ 12 h 750"/>
                <a:gd name="T86" fmla="*/ 53 w 624"/>
                <a:gd name="T87" fmla="*/ 12 h 750"/>
                <a:gd name="T88" fmla="*/ 53 w 624"/>
                <a:gd name="T89" fmla="*/ 17 h 750"/>
                <a:gd name="T90" fmla="*/ 51 w 624"/>
                <a:gd name="T91" fmla="*/ 20 h 750"/>
                <a:gd name="T92" fmla="*/ 49 w 624"/>
                <a:gd name="T93" fmla="*/ 26 h 750"/>
                <a:gd name="T94" fmla="*/ 47 w 624"/>
                <a:gd name="T95" fmla="*/ 26 h 750"/>
                <a:gd name="T96" fmla="*/ 44 w 624"/>
                <a:gd name="T97" fmla="*/ 26 h 750"/>
                <a:gd name="T98" fmla="*/ 43 w 624"/>
                <a:gd name="T99" fmla="*/ 27 h 750"/>
                <a:gd name="T100" fmla="*/ 45 w 624"/>
                <a:gd name="T101" fmla="*/ 32 h 750"/>
                <a:gd name="T102" fmla="*/ 44 w 624"/>
                <a:gd name="T103" fmla="*/ 43 h 750"/>
                <a:gd name="T104" fmla="*/ 44 w 624"/>
                <a:gd name="T105" fmla="*/ 47 h 750"/>
                <a:gd name="T106" fmla="*/ 44 w 624"/>
                <a:gd name="T107" fmla="*/ 54 h 750"/>
                <a:gd name="T108" fmla="*/ 41 w 624"/>
                <a:gd name="T109" fmla="*/ 60 h 750"/>
                <a:gd name="T110" fmla="*/ 42 w 624"/>
                <a:gd name="T111" fmla="*/ 62 h 750"/>
                <a:gd name="T112" fmla="*/ 43 w 624"/>
                <a:gd name="T113" fmla="*/ 65 h 750"/>
                <a:gd name="T114" fmla="*/ 39 w 624"/>
                <a:gd name="T115" fmla="*/ 63 h 750"/>
                <a:gd name="T116" fmla="*/ 35 w 624"/>
                <a:gd name="T117" fmla="*/ 62 h 75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24"/>
                <a:gd name="T178" fmla="*/ 0 h 750"/>
                <a:gd name="T179" fmla="*/ 624 w 624"/>
                <a:gd name="T180" fmla="*/ 750 h 75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24" h="750">
                  <a:moveTo>
                    <a:pt x="390" y="702"/>
                  </a:moveTo>
                  <a:lnTo>
                    <a:pt x="372" y="696"/>
                  </a:lnTo>
                  <a:lnTo>
                    <a:pt x="360" y="702"/>
                  </a:lnTo>
                  <a:lnTo>
                    <a:pt x="348" y="702"/>
                  </a:lnTo>
                  <a:lnTo>
                    <a:pt x="336" y="702"/>
                  </a:lnTo>
                  <a:lnTo>
                    <a:pt x="330" y="702"/>
                  </a:lnTo>
                  <a:lnTo>
                    <a:pt x="318" y="708"/>
                  </a:lnTo>
                  <a:lnTo>
                    <a:pt x="306" y="708"/>
                  </a:lnTo>
                  <a:lnTo>
                    <a:pt x="294" y="690"/>
                  </a:lnTo>
                  <a:lnTo>
                    <a:pt x="294" y="684"/>
                  </a:lnTo>
                  <a:lnTo>
                    <a:pt x="276" y="684"/>
                  </a:lnTo>
                  <a:lnTo>
                    <a:pt x="270" y="678"/>
                  </a:lnTo>
                  <a:lnTo>
                    <a:pt x="240" y="672"/>
                  </a:lnTo>
                  <a:lnTo>
                    <a:pt x="234" y="672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6"/>
                  </a:lnTo>
                  <a:lnTo>
                    <a:pt x="216" y="660"/>
                  </a:lnTo>
                  <a:lnTo>
                    <a:pt x="216" y="654"/>
                  </a:lnTo>
                  <a:lnTo>
                    <a:pt x="216" y="642"/>
                  </a:lnTo>
                  <a:lnTo>
                    <a:pt x="210" y="642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36"/>
                  </a:lnTo>
                  <a:lnTo>
                    <a:pt x="192" y="624"/>
                  </a:lnTo>
                  <a:lnTo>
                    <a:pt x="186" y="612"/>
                  </a:lnTo>
                  <a:lnTo>
                    <a:pt x="186" y="600"/>
                  </a:lnTo>
                  <a:lnTo>
                    <a:pt x="186" y="588"/>
                  </a:lnTo>
                  <a:lnTo>
                    <a:pt x="180" y="582"/>
                  </a:lnTo>
                  <a:lnTo>
                    <a:pt x="180" y="570"/>
                  </a:lnTo>
                  <a:lnTo>
                    <a:pt x="174" y="558"/>
                  </a:lnTo>
                  <a:lnTo>
                    <a:pt x="162" y="558"/>
                  </a:lnTo>
                  <a:lnTo>
                    <a:pt x="144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38" y="534"/>
                  </a:lnTo>
                  <a:lnTo>
                    <a:pt x="138" y="528"/>
                  </a:lnTo>
                  <a:lnTo>
                    <a:pt x="132" y="522"/>
                  </a:lnTo>
                  <a:lnTo>
                    <a:pt x="144" y="522"/>
                  </a:lnTo>
                  <a:lnTo>
                    <a:pt x="144" y="510"/>
                  </a:lnTo>
                  <a:lnTo>
                    <a:pt x="144" y="504"/>
                  </a:lnTo>
                  <a:lnTo>
                    <a:pt x="138" y="492"/>
                  </a:lnTo>
                  <a:lnTo>
                    <a:pt x="138" y="474"/>
                  </a:lnTo>
                  <a:lnTo>
                    <a:pt x="126" y="468"/>
                  </a:lnTo>
                  <a:lnTo>
                    <a:pt x="120" y="456"/>
                  </a:lnTo>
                  <a:lnTo>
                    <a:pt x="114" y="450"/>
                  </a:lnTo>
                  <a:lnTo>
                    <a:pt x="108" y="438"/>
                  </a:lnTo>
                  <a:lnTo>
                    <a:pt x="96" y="432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60" y="426"/>
                  </a:lnTo>
                  <a:lnTo>
                    <a:pt x="66" y="420"/>
                  </a:lnTo>
                  <a:lnTo>
                    <a:pt x="66" y="408"/>
                  </a:lnTo>
                  <a:lnTo>
                    <a:pt x="72" y="408"/>
                  </a:lnTo>
                  <a:lnTo>
                    <a:pt x="72" y="384"/>
                  </a:lnTo>
                  <a:lnTo>
                    <a:pt x="72" y="366"/>
                  </a:lnTo>
                  <a:lnTo>
                    <a:pt x="78" y="354"/>
                  </a:lnTo>
                  <a:lnTo>
                    <a:pt x="84" y="354"/>
                  </a:lnTo>
                  <a:lnTo>
                    <a:pt x="90" y="348"/>
                  </a:lnTo>
                  <a:lnTo>
                    <a:pt x="102" y="336"/>
                  </a:lnTo>
                  <a:lnTo>
                    <a:pt x="114" y="324"/>
                  </a:lnTo>
                  <a:lnTo>
                    <a:pt x="120" y="312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20" y="276"/>
                  </a:lnTo>
                  <a:lnTo>
                    <a:pt x="96" y="270"/>
                  </a:lnTo>
                  <a:lnTo>
                    <a:pt x="84" y="270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72" y="264"/>
                  </a:lnTo>
                  <a:lnTo>
                    <a:pt x="60" y="252"/>
                  </a:lnTo>
                  <a:lnTo>
                    <a:pt x="42" y="252"/>
                  </a:lnTo>
                  <a:lnTo>
                    <a:pt x="42" y="258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18" y="252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42" y="156"/>
                  </a:lnTo>
                  <a:lnTo>
                    <a:pt x="48" y="198"/>
                  </a:lnTo>
                  <a:lnTo>
                    <a:pt x="48" y="204"/>
                  </a:lnTo>
                  <a:lnTo>
                    <a:pt x="54" y="198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204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192"/>
                  </a:lnTo>
                  <a:lnTo>
                    <a:pt x="96" y="186"/>
                  </a:lnTo>
                  <a:lnTo>
                    <a:pt x="102" y="180"/>
                  </a:lnTo>
                  <a:lnTo>
                    <a:pt x="102" y="174"/>
                  </a:lnTo>
                  <a:lnTo>
                    <a:pt x="108" y="168"/>
                  </a:lnTo>
                  <a:lnTo>
                    <a:pt x="108" y="162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0"/>
                  </a:lnTo>
                  <a:lnTo>
                    <a:pt x="132" y="144"/>
                  </a:lnTo>
                  <a:lnTo>
                    <a:pt x="138" y="138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0" y="132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74" y="126"/>
                  </a:lnTo>
                  <a:lnTo>
                    <a:pt x="204" y="120"/>
                  </a:lnTo>
                  <a:lnTo>
                    <a:pt x="210" y="78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54"/>
                  </a:lnTo>
                  <a:lnTo>
                    <a:pt x="276" y="54"/>
                  </a:lnTo>
                  <a:lnTo>
                    <a:pt x="276" y="48"/>
                  </a:lnTo>
                  <a:lnTo>
                    <a:pt x="282" y="48"/>
                  </a:lnTo>
                  <a:lnTo>
                    <a:pt x="288" y="42"/>
                  </a:lnTo>
                  <a:lnTo>
                    <a:pt x="294" y="42"/>
                  </a:lnTo>
                  <a:lnTo>
                    <a:pt x="294" y="18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0"/>
                  </a:lnTo>
                  <a:lnTo>
                    <a:pt x="336" y="0"/>
                  </a:lnTo>
                  <a:lnTo>
                    <a:pt x="342" y="0"/>
                  </a:lnTo>
                  <a:lnTo>
                    <a:pt x="354" y="6"/>
                  </a:lnTo>
                  <a:lnTo>
                    <a:pt x="366" y="18"/>
                  </a:lnTo>
                  <a:lnTo>
                    <a:pt x="378" y="36"/>
                  </a:lnTo>
                  <a:lnTo>
                    <a:pt x="390" y="42"/>
                  </a:lnTo>
                  <a:lnTo>
                    <a:pt x="390" y="48"/>
                  </a:lnTo>
                  <a:lnTo>
                    <a:pt x="396" y="60"/>
                  </a:lnTo>
                  <a:lnTo>
                    <a:pt x="402" y="72"/>
                  </a:lnTo>
                  <a:lnTo>
                    <a:pt x="408" y="78"/>
                  </a:lnTo>
                  <a:lnTo>
                    <a:pt x="402" y="84"/>
                  </a:lnTo>
                  <a:lnTo>
                    <a:pt x="408" y="90"/>
                  </a:lnTo>
                  <a:lnTo>
                    <a:pt x="414" y="102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50" y="126"/>
                  </a:lnTo>
                  <a:lnTo>
                    <a:pt x="456" y="126"/>
                  </a:lnTo>
                  <a:lnTo>
                    <a:pt x="462" y="144"/>
                  </a:lnTo>
                  <a:lnTo>
                    <a:pt x="480" y="156"/>
                  </a:lnTo>
                  <a:lnTo>
                    <a:pt x="492" y="156"/>
                  </a:lnTo>
                  <a:lnTo>
                    <a:pt x="516" y="150"/>
                  </a:lnTo>
                  <a:lnTo>
                    <a:pt x="516" y="144"/>
                  </a:lnTo>
                  <a:lnTo>
                    <a:pt x="516" y="138"/>
                  </a:lnTo>
                  <a:lnTo>
                    <a:pt x="528" y="138"/>
                  </a:lnTo>
                  <a:lnTo>
                    <a:pt x="546" y="144"/>
                  </a:lnTo>
                  <a:lnTo>
                    <a:pt x="546" y="138"/>
                  </a:lnTo>
                  <a:lnTo>
                    <a:pt x="552" y="138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76" y="138"/>
                  </a:lnTo>
                  <a:lnTo>
                    <a:pt x="582" y="138"/>
                  </a:lnTo>
                  <a:lnTo>
                    <a:pt x="588" y="138"/>
                  </a:lnTo>
                  <a:lnTo>
                    <a:pt x="594" y="138"/>
                  </a:lnTo>
                  <a:lnTo>
                    <a:pt x="594" y="144"/>
                  </a:lnTo>
                  <a:lnTo>
                    <a:pt x="600" y="138"/>
                  </a:lnTo>
                  <a:lnTo>
                    <a:pt x="606" y="138"/>
                  </a:lnTo>
                  <a:lnTo>
                    <a:pt x="606" y="144"/>
                  </a:lnTo>
                  <a:lnTo>
                    <a:pt x="612" y="144"/>
                  </a:lnTo>
                  <a:lnTo>
                    <a:pt x="618" y="156"/>
                  </a:lnTo>
                  <a:lnTo>
                    <a:pt x="612" y="198"/>
                  </a:lnTo>
                  <a:lnTo>
                    <a:pt x="624" y="198"/>
                  </a:lnTo>
                  <a:lnTo>
                    <a:pt x="624" y="204"/>
                  </a:lnTo>
                  <a:lnTo>
                    <a:pt x="612" y="216"/>
                  </a:lnTo>
                  <a:lnTo>
                    <a:pt x="594" y="234"/>
                  </a:lnTo>
                  <a:lnTo>
                    <a:pt x="588" y="252"/>
                  </a:lnTo>
                  <a:lnTo>
                    <a:pt x="576" y="270"/>
                  </a:lnTo>
                  <a:lnTo>
                    <a:pt x="564" y="282"/>
                  </a:lnTo>
                  <a:lnTo>
                    <a:pt x="564" y="294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8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34" y="294"/>
                  </a:lnTo>
                  <a:lnTo>
                    <a:pt x="522" y="300"/>
                  </a:lnTo>
                  <a:lnTo>
                    <a:pt x="510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498" y="324"/>
                  </a:lnTo>
                  <a:lnTo>
                    <a:pt x="504" y="336"/>
                  </a:lnTo>
                  <a:lnTo>
                    <a:pt x="510" y="348"/>
                  </a:lnTo>
                  <a:lnTo>
                    <a:pt x="516" y="366"/>
                  </a:lnTo>
                  <a:lnTo>
                    <a:pt x="522" y="432"/>
                  </a:lnTo>
                  <a:lnTo>
                    <a:pt x="522" y="456"/>
                  </a:lnTo>
                  <a:lnTo>
                    <a:pt x="504" y="492"/>
                  </a:lnTo>
                  <a:lnTo>
                    <a:pt x="504" y="498"/>
                  </a:lnTo>
                  <a:lnTo>
                    <a:pt x="498" y="504"/>
                  </a:lnTo>
                  <a:lnTo>
                    <a:pt x="498" y="522"/>
                  </a:lnTo>
                  <a:lnTo>
                    <a:pt x="504" y="534"/>
                  </a:lnTo>
                  <a:lnTo>
                    <a:pt x="510" y="546"/>
                  </a:lnTo>
                  <a:lnTo>
                    <a:pt x="516" y="558"/>
                  </a:lnTo>
                  <a:lnTo>
                    <a:pt x="516" y="588"/>
                  </a:lnTo>
                  <a:lnTo>
                    <a:pt x="516" y="600"/>
                  </a:lnTo>
                  <a:lnTo>
                    <a:pt x="510" y="618"/>
                  </a:lnTo>
                  <a:lnTo>
                    <a:pt x="504" y="636"/>
                  </a:lnTo>
                  <a:lnTo>
                    <a:pt x="504" y="642"/>
                  </a:lnTo>
                  <a:lnTo>
                    <a:pt x="474" y="654"/>
                  </a:lnTo>
                  <a:lnTo>
                    <a:pt x="474" y="690"/>
                  </a:lnTo>
                  <a:lnTo>
                    <a:pt x="474" y="696"/>
                  </a:lnTo>
                  <a:lnTo>
                    <a:pt x="480" y="702"/>
                  </a:lnTo>
                  <a:lnTo>
                    <a:pt x="486" y="708"/>
                  </a:lnTo>
                  <a:lnTo>
                    <a:pt x="492" y="708"/>
                  </a:lnTo>
                  <a:lnTo>
                    <a:pt x="498" y="726"/>
                  </a:lnTo>
                  <a:lnTo>
                    <a:pt x="504" y="726"/>
                  </a:lnTo>
                  <a:lnTo>
                    <a:pt x="504" y="738"/>
                  </a:lnTo>
                  <a:lnTo>
                    <a:pt x="498" y="744"/>
                  </a:lnTo>
                  <a:lnTo>
                    <a:pt x="486" y="750"/>
                  </a:lnTo>
                  <a:lnTo>
                    <a:pt x="474" y="744"/>
                  </a:lnTo>
                  <a:lnTo>
                    <a:pt x="462" y="744"/>
                  </a:lnTo>
                  <a:lnTo>
                    <a:pt x="456" y="732"/>
                  </a:lnTo>
                  <a:lnTo>
                    <a:pt x="444" y="732"/>
                  </a:lnTo>
                  <a:lnTo>
                    <a:pt x="432" y="726"/>
                  </a:lnTo>
                  <a:lnTo>
                    <a:pt x="420" y="720"/>
                  </a:lnTo>
                  <a:lnTo>
                    <a:pt x="408" y="708"/>
                  </a:lnTo>
                  <a:lnTo>
                    <a:pt x="402" y="708"/>
                  </a:lnTo>
                  <a:lnTo>
                    <a:pt x="390" y="70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5" name="Freeform 20">
              <a:extLst>
                <a:ext uri="{FF2B5EF4-FFF2-40B4-BE49-F238E27FC236}">
                  <a16:creationId xmlns:a16="http://schemas.microsoft.com/office/drawing/2014/main" id="{B8342C3B-ECEC-465F-AAFF-4815B8AC392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870937"/>
              <a:ext cx="313067" cy="377968"/>
            </a:xfrm>
            <a:custGeom>
              <a:avLst/>
              <a:gdLst>
                <a:gd name="T0" fmla="*/ 15 w 588"/>
                <a:gd name="T1" fmla="*/ 59 h 714"/>
                <a:gd name="T2" fmla="*/ 14 w 588"/>
                <a:gd name="T3" fmla="*/ 58 h 714"/>
                <a:gd name="T4" fmla="*/ 9 w 588"/>
                <a:gd name="T5" fmla="*/ 54 h 714"/>
                <a:gd name="T6" fmla="*/ 4 w 588"/>
                <a:gd name="T7" fmla="*/ 54 h 714"/>
                <a:gd name="T8" fmla="*/ 0 w 588"/>
                <a:gd name="T9" fmla="*/ 50 h 714"/>
                <a:gd name="T10" fmla="*/ 0 w 588"/>
                <a:gd name="T11" fmla="*/ 44 h 714"/>
                <a:gd name="T12" fmla="*/ 4 w 588"/>
                <a:gd name="T13" fmla="*/ 46 h 714"/>
                <a:gd name="T14" fmla="*/ 7 w 588"/>
                <a:gd name="T15" fmla="*/ 47 h 714"/>
                <a:gd name="T16" fmla="*/ 10 w 588"/>
                <a:gd name="T17" fmla="*/ 46 h 714"/>
                <a:gd name="T18" fmla="*/ 8 w 588"/>
                <a:gd name="T19" fmla="*/ 44 h 714"/>
                <a:gd name="T20" fmla="*/ 10 w 588"/>
                <a:gd name="T21" fmla="*/ 39 h 714"/>
                <a:gd name="T22" fmla="*/ 11 w 588"/>
                <a:gd name="T23" fmla="*/ 34 h 714"/>
                <a:gd name="T24" fmla="*/ 9 w 588"/>
                <a:gd name="T25" fmla="*/ 28 h 714"/>
                <a:gd name="T26" fmla="*/ 11 w 588"/>
                <a:gd name="T27" fmla="*/ 22 h 714"/>
                <a:gd name="T28" fmla="*/ 10 w 588"/>
                <a:gd name="T29" fmla="*/ 12 h 714"/>
                <a:gd name="T30" fmla="*/ 9 w 588"/>
                <a:gd name="T31" fmla="*/ 9 h 714"/>
                <a:gd name="T32" fmla="*/ 12 w 588"/>
                <a:gd name="T33" fmla="*/ 8 h 714"/>
                <a:gd name="T34" fmla="*/ 14 w 588"/>
                <a:gd name="T35" fmla="*/ 7 h 714"/>
                <a:gd name="T36" fmla="*/ 17 w 588"/>
                <a:gd name="T37" fmla="*/ 10 h 714"/>
                <a:gd name="T38" fmla="*/ 23 w 588"/>
                <a:gd name="T39" fmla="*/ 14 h 714"/>
                <a:gd name="T40" fmla="*/ 28 w 588"/>
                <a:gd name="T41" fmla="*/ 4 h 714"/>
                <a:gd name="T42" fmla="*/ 35 w 588"/>
                <a:gd name="T43" fmla="*/ 2 h 714"/>
                <a:gd name="T44" fmla="*/ 38 w 588"/>
                <a:gd name="T45" fmla="*/ 0 h 714"/>
                <a:gd name="T46" fmla="*/ 40 w 588"/>
                <a:gd name="T47" fmla="*/ 2 h 714"/>
                <a:gd name="T48" fmla="*/ 39 w 588"/>
                <a:gd name="T49" fmla="*/ 4 h 714"/>
                <a:gd name="T50" fmla="*/ 41 w 588"/>
                <a:gd name="T51" fmla="*/ 5 h 714"/>
                <a:gd name="T52" fmla="*/ 42 w 588"/>
                <a:gd name="T53" fmla="*/ 7 h 714"/>
                <a:gd name="T54" fmla="*/ 43 w 588"/>
                <a:gd name="T55" fmla="*/ 9 h 714"/>
                <a:gd name="T56" fmla="*/ 43 w 588"/>
                <a:gd name="T57" fmla="*/ 10 h 714"/>
                <a:gd name="T58" fmla="*/ 43 w 588"/>
                <a:gd name="T59" fmla="*/ 12 h 714"/>
                <a:gd name="T60" fmla="*/ 44 w 588"/>
                <a:gd name="T61" fmla="*/ 12 h 714"/>
                <a:gd name="T62" fmla="*/ 46 w 588"/>
                <a:gd name="T63" fmla="*/ 13 h 714"/>
                <a:gd name="T64" fmla="*/ 47 w 588"/>
                <a:gd name="T65" fmla="*/ 14 h 714"/>
                <a:gd name="T66" fmla="*/ 48 w 588"/>
                <a:gd name="T67" fmla="*/ 15 h 714"/>
                <a:gd name="T68" fmla="*/ 49 w 588"/>
                <a:gd name="T69" fmla="*/ 15 h 714"/>
                <a:gd name="T70" fmla="*/ 48 w 588"/>
                <a:gd name="T71" fmla="*/ 17 h 714"/>
                <a:gd name="T72" fmla="*/ 49 w 588"/>
                <a:gd name="T73" fmla="*/ 19 h 714"/>
                <a:gd name="T74" fmla="*/ 49 w 588"/>
                <a:gd name="T75" fmla="*/ 20 h 714"/>
                <a:gd name="T76" fmla="*/ 51 w 588"/>
                <a:gd name="T77" fmla="*/ 21 h 714"/>
                <a:gd name="T78" fmla="*/ 50 w 588"/>
                <a:gd name="T79" fmla="*/ 22 h 714"/>
                <a:gd name="T80" fmla="*/ 47 w 588"/>
                <a:gd name="T81" fmla="*/ 23 h 714"/>
                <a:gd name="T82" fmla="*/ 47 w 588"/>
                <a:gd name="T83" fmla="*/ 26 h 714"/>
                <a:gd name="T84" fmla="*/ 47 w 588"/>
                <a:gd name="T85" fmla="*/ 32 h 714"/>
                <a:gd name="T86" fmla="*/ 44 w 588"/>
                <a:gd name="T87" fmla="*/ 35 h 714"/>
                <a:gd name="T88" fmla="*/ 42 w 588"/>
                <a:gd name="T89" fmla="*/ 39 h 714"/>
                <a:gd name="T90" fmla="*/ 42 w 588"/>
                <a:gd name="T91" fmla="*/ 41 h 714"/>
                <a:gd name="T92" fmla="*/ 42 w 588"/>
                <a:gd name="T93" fmla="*/ 42 h 714"/>
                <a:gd name="T94" fmla="*/ 41 w 588"/>
                <a:gd name="T95" fmla="*/ 44 h 714"/>
                <a:gd name="T96" fmla="*/ 39 w 588"/>
                <a:gd name="T97" fmla="*/ 43 h 714"/>
                <a:gd name="T98" fmla="*/ 37 w 588"/>
                <a:gd name="T99" fmla="*/ 44 h 714"/>
                <a:gd name="T100" fmla="*/ 35 w 588"/>
                <a:gd name="T101" fmla="*/ 46 h 714"/>
                <a:gd name="T102" fmla="*/ 31 w 588"/>
                <a:gd name="T103" fmla="*/ 45 h 714"/>
                <a:gd name="T104" fmla="*/ 24 w 588"/>
                <a:gd name="T105" fmla="*/ 45 h 714"/>
                <a:gd name="T106" fmla="*/ 25 w 588"/>
                <a:gd name="T107" fmla="*/ 47 h 714"/>
                <a:gd name="T108" fmla="*/ 25 w 588"/>
                <a:gd name="T109" fmla="*/ 49 h 714"/>
                <a:gd name="T110" fmla="*/ 25 w 588"/>
                <a:gd name="T111" fmla="*/ 50 h 714"/>
                <a:gd name="T112" fmla="*/ 24 w 588"/>
                <a:gd name="T113" fmla="*/ 51 h 714"/>
                <a:gd name="T114" fmla="*/ 22 w 588"/>
                <a:gd name="T115" fmla="*/ 53 h 714"/>
                <a:gd name="T116" fmla="*/ 23 w 588"/>
                <a:gd name="T117" fmla="*/ 56 h 714"/>
                <a:gd name="T118" fmla="*/ 20 w 588"/>
                <a:gd name="T119" fmla="*/ 58 h 714"/>
                <a:gd name="T120" fmla="*/ 19 w 588"/>
                <a:gd name="T121" fmla="*/ 62 h 7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8"/>
                <a:gd name="T184" fmla="*/ 0 h 714"/>
                <a:gd name="T185" fmla="*/ 588 w 588"/>
                <a:gd name="T186" fmla="*/ 714 h 7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8" h="714">
                  <a:moveTo>
                    <a:pt x="216" y="714"/>
                  </a:moveTo>
                  <a:lnTo>
                    <a:pt x="198" y="702"/>
                  </a:lnTo>
                  <a:lnTo>
                    <a:pt x="186" y="696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74" y="678"/>
                  </a:lnTo>
                  <a:lnTo>
                    <a:pt x="168" y="672"/>
                  </a:lnTo>
                  <a:lnTo>
                    <a:pt x="162" y="666"/>
                  </a:lnTo>
                  <a:lnTo>
                    <a:pt x="156" y="636"/>
                  </a:lnTo>
                  <a:lnTo>
                    <a:pt x="144" y="630"/>
                  </a:lnTo>
                  <a:lnTo>
                    <a:pt x="108" y="630"/>
                  </a:lnTo>
                  <a:lnTo>
                    <a:pt x="102" y="624"/>
                  </a:lnTo>
                  <a:lnTo>
                    <a:pt x="96" y="624"/>
                  </a:lnTo>
                  <a:lnTo>
                    <a:pt x="72" y="624"/>
                  </a:lnTo>
                  <a:lnTo>
                    <a:pt x="54" y="624"/>
                  </a:lnTo>
                  <a:lnTo>
                    <a:pt x="42" y="618"/>
                  </a:lnTo>
                  <a:lnTo>
                    <a:pt x="30" y="612"/>
                  </a:lnTo>
                  <a:lnTo>
                    <a:pt x="6" y="606"/>
                  </a:lnTo>
                  <a:lnTo>
                    <a:pt x="0" y="606"/>
                  </a:lnTo>
                  <a:lnTo>
                    <a:pt x="0" y="570"/>
                  </a:lnTo>
                  <a:lnTo>
                    <a:pt x="6" y="552"/>
                  </a:lnTo>
                  <a:lnTo>
                    <a:pt x="6" y="522"/>
                  </a:lnTo>
                  <a:lnTo>
                    <a:pt x="0" y="510"/>
                  </a:lnTo>
                  <a:lnTo>
                    <a:pt x="0" y="504"/>
                  </a:lnTo>
                  <a:lnTo>
                    <a:pt x="12" y="510"/>
                  </a:lnTo>
                  <a:lnTo>
                    <a:pt x="18" y="510"/>
                  </a:lnTo>
                  <a:lnTo>
                    <a:pt x="30" y="522"/>
                  </a:lnTo>
                  <a:lnTo>
                    <a:pt x="42" y="528"/>
                  </a:lnTo>
                  <a:lnTo>
                    <a:pt x="54" y="534"/>
                  </a:lnTo>
                  <a:lnTo>
                    <a:pt x="66" y="534"/>
                  </a:lnTo>
                  <a:lnTo>
                    <a:pt x="72" y="546"/>
                  </a:lnTo>
                  <a:lnTo>
                    <a:pt x="84" y="546"/>
                  </a:lnTo>
                  <a:lnTo>
                    <a:pt x="96" y="552"/>
                  </a:lnTo>
                  <a:lnTo>
                    <a:pt x="108" y="546"/>
                  </a:lnTo>
                  <a:lnTo>
                    <a:pt x="114" y="540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90" y="504"/>
                  </a:lnTo>
                  <a:lnTo>
                    <a:pt x="84" y="498"/>
                  </a:lnTo>
                  <a:lnTo>
                    <a:pt x="84" y="492"/>
                  </a:lnTo>
                  <a:lnTo>
                    <a:pt x="84" y="456"/>
                  </a:lnTo>
                  <a:lnTo>
                    <a:pt x="114" y="444"/>
                  </a:lnTo>
                  <a:lnTo>
                    <a:pt x="114" y="438"/>
                  </a:lnTo>
                  <a:lnTo>
                    <a:pt x="120" y="420"/>
                  </a:lnTo>
                  <a:lnTo>
                    <a:pt x="126" y="402"/>
                  </a:lnTo>
                  <a:lnTo>
                    <a:pt x="126" y="390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14" y="336"/>
                  </a:lnTo>
                  <a:lnTo>
                    <a:pt x="108" y="324"/>
                  </a:lnTo>
                  <a:lnTo>
                    <a:pt x="108" y="306"/>
                  </a:lnTo>
                  <a:lnTo>
                    <a:pt x="114" y="300"/>
                  </a:lnTo>
                  <a:lnTo>
                    <a:pt x="114" y="294"/>
                  </a:lnTo>
                  <a:lnTo>
                    <a:pt x="132" y="258"/>
                  </a:lnTo>
                  <a:lnTo>
                    <a:pt x="132" y="234"/>
                  </a:lnTo>
                  <a:lnTo>
                    <a:pt x="126" y="168"/>
                  </a:lnTo>
                  <a:lnTo>
                    <a:pt x="120" y="150"/>
                  </a:lnTo>
                  <a:lnTo>
                    <a:pt x="114" y="138"/>
                  </a:lnTo>
                  <a:lnTo>
                    <a:pt x="108" y="126"/>
                  </a:lnTo>
                  <a:lnTo>
                    <a:pt x="108" y="120"/>
                  </a:lnTo>
                  <a:lnTo>
                    <a:pt x="108" y="114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20" y="96"/>
                  </a:lnTo>
                  <a:lnTo>
                    <a:pt x="132" y="102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56" y="90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96"/>
                  </a:lnTo>
                  <a:lnTo>
                    <a:pt x="186" y="96"/>
                  </a:lnTo>
                  <a:lnTo>
                    <a:pt x="192" y="114"/>
                  </a:lnTo>
                  <a:lnTo>
                    <a:pt x="204" y="132"/>
                  </a:lnTo>
                  <a:lnTo>
                    <a:pt x="216" y="144"/>
                  </a:lnTo>
                  <a:lnTo>
                    <a:pt x="240" y="162"/>
                  </a:lnTo>
                  <a:lnTo>
                    <a:pt x="270" y="156"/>
                  </a:lnTo>
                  <a:lnTo>
                    <a:pt x="282" y="126"/>
                  </a:lnTo>
                  <a:lnTo>
                    <a:pt x="282" y="96"/>
                  </a:lnTo>
                  <a:lnTo>
                    <a:pt x="294" y="54"/>
                  </a:lnTo>
                  <a:lnTo>
                    <a:pt x="324" y="48"/>
                  </a:lnTo>
                  <a:lnTo>
                    <a:pt x="342" y="48"/>
                  </a:lnTo>
                  <a:lnTo>
                    <a:pt x="384" y="48"/>
                  </a:lnTo>
                  <a:lnTo>
                    <a:pt x="390" y="30"/>
                  </a:lnTo>
                  <a:lnTo>
                    <a:pt x="402" y="18"/>
                  </a:lnTo>
                  <a:lnTo>
                    <a:pt x="438" y="6"/>
                  </a:lnTo>
                  <a:lnTo>
                    <a:pt x="438" y="0"/>
                  </a:lnTo>
                  <a:lnTo>
                    <a:pt x="444" y="0"/>
                  </a:lnTo>
                  <a:lnTo>
                    <a:pt x="444" y="6"/>
                  </a:lnTo>
                  <a:lnTo>
                    <a:pt x="450" y="6"/>
                  </a:lnTo>
                  <a:lnTo>
                    <a:pt x="456" y="12"/>
                  </a:lnTo>
                  <a:lnTo>
                    <a:pt x="456" y="18"/>
                  </a:lnTo>
                  <a:lnTo>
                    <a:pt x="462" y="24"/>
                  </a:lnTo>
                  <a:lnTo>
                    <a:pt x="462" y="30"/>
                  </a:lnTo>
                  <a:lnTo>
                    <a:pt x="468" y="36"/>
                  </a:lnTo>
                  <a:lnTo>
                    <a:pt x="462" y="36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74" y="60"/>
                  </a:lnTo>
                  <a:lnTo>
                    <a:pt x="486" y="78"/>
                  </a:lnTo>
                  <a:lnTo>
                    <a:pt x="486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8" y="102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498" y="114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504" y="126"/>
                  </a:lnTo>
                  <a:lnTo>
                    <a:pt x="498" y="132"/>
                  </a:lnTo>
                  <a:lnTo>
                    <a:pt x="504" y="138"/>
                  </a:lnTo>
                  <a:lnTo>
                    <a:pt x="504" y="132"/>
                  </a:lnTo>
                  <a:lnTo>
                    <a:pt x="510" y="132"/>
                  </a:lnTo>
                  <a:lnTo>
                    <a:pt x="510" y="138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56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6" y="168"/>
                  </a:lnTo>
                  <a:lnTo>
                    <a:pt x="552" y="168"/>
                  </a:lnTo>
                  <a:lnTo>
                    <a:pt x="546" y="168"/>
                  </a:lnTo>
                  <a:lnTo>
                    <a:pt x="546" y="174"/>
                  </a:lnTo>
                  <a:lnTo>
                    <a:pt x="558" y="180"/>
                  </a:lnTo>
                  <a:lnTo>
                    <a:pt x="564" y="180"/>
                  </a:lnTo>
                  <a:lnTo>
                    <a:pt x="564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52" y="198"/>
                  </a:lnTo>
                  <a:lnTo>
                    <a:pt x="558" y="204"/>
                  </a:lnTo>
                  <a:lnTo>
                    <a:pt x="564" y="204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22"/>
                  </a:lnTo>
                  <a:lnTo>
                    <a:pt x="576" y="228"/>
                  </a:lnTo>
                  <a:lnTo>
                    <a:pt x="570" y="228"/>
                  </a:lnTo>
                  <a:lnTo>
                    <a:pt x="570" y="234"/>
                  </a:lnTo>
                  <a:lnTo>
                    <a:pt x="576" y="234"/>
                  </a:lnTo>
                  <a:lnTo>
                    <a:pt x="582" y="234"/>
                  </a:lnTo>
                  <a:lnTo>
                    <a:pt x="588" y="234"/>
                  </a:lnTo>
                  <a:lnTo>
                    <a:pt x="588" y="240"/>
                  </a:lnTo>
                  <a:lnTo>
                    <a:pt x="588" y="246"/>
                  </a:lnTo>
                  <a:lnTo>
                    <a:pt x="588" y="252"/>
                  </a:lnTo>
                  <a:lnTo>
                    <a:pt x="582" y="252"/>
                  </a:lnTo>
                  <a:lnTo>
                    <a:pt x="576" y="252"/>
                  </a:lnTo>
                  <a:lnTo>
                    <a:pt x="582" y="258"/>
                  </a:lnTo>
                  <a:lnTo>
                    <a:pt x="582" y="264"/>
                  </a:lnTo>
                  <a:lnTo>
                    <a:pt x="576" y="264"/>
                  </a:lnTo>
                  <a:lnTo>
                    <a:pt x="546" y="264"/>
                  </a:lnTo>
                  <a:lnTo>
                    <a:pt x="546" y="276"/>
                  </a:lnTo>
                  <a:lnTo>
                    <a:pt x="540" y="282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40" y="324"/>
                  </a:lnTo>
                  <a:lnTo>
                    <a:pt x="552" y="330"/>
                  </a:lnTo>
                  <a:lnTo>
                    <a:pt x="558" y="342"/>
                  </a:lnTo>
                  <a:lnTo>
                    <a:pt x="546" y="372"/>
                  </a:lnTo>
                  <a:lnTo>
                    <a:pt x="534" y="372"/>
                  </a:lnTo>
                  <a:lnTo>
                    <a:pt x="534" y="384"/>
                  </a:lnTo>
                  <a:lnTo>
                    <a:pt x="522" y="384"/>
                  </a:lnTo>
                  <a:lnTo>
                    <a:pt x="510" y="402"/>
                  </a:lnTo>
                  <a:lnTo>
                    <a:pt x="504" y="420"/>
                  </a:lnTo>
                  <a:lnTo>
                    <a:pt x="492" y="426"/>
                  </a:lnTo>
                  <a:lnTo>
                    <a:pt x="486" y="432"/>
                  </a:lnTo>
                  <a:lnTo>
                    <a:pt x="486" y="444"/>
                  </a:lnTo>
                  <a:lnTo>
                    <a:pt x="486" y="450"/>
                  </a:lnTo>
                  <a:lnTo>
                    <a:pt x="486" y="456"/>
                  </a:lnTo>
                  <a:lnTo>
                    <a:pt x="486" y="462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80" y="474"/>
                  </a:lnTo>
                  <a:lnTo>
                    <a:pt x="480" y="480"/>
                  </a:lnTo>
                  <a:lnTo>
                    <a:pt x="480" y="486"/>
                  </a:lnTo>
                  <a:lnTo>
                    <a:pt x="480" y="492"/>
                  </a:lnTo>
                  <a:lnTo>
                    <a:pt x="480" y="498"/>
                  </a:lnTo>
                  <a:lnTo>
                    <a:pt x="474" y="504"/>
                  </a:lnTo>
                  <a:lnTo>
                    <a:pt x="468" y="510"/>
                  </a:lnTo>
                  <a:lnTo>
                    <a:pt x="462" y="510"/>
                  </a:lnTo>
                  <a:lnTo>
                    <a:pt x="456" y="504"/>
                  </a:lnTo>
                  <a:lnTo>
                    <a:pt x="456" y="498"/>
                  </a:lnTo>
                  <a:lnTo>
                    <a:pt x="450" y="498"/>
                  </a:lnTo>
                  <a:lnTo>
                    <a:pt x="444" y="498"/>
                  </a:lnTo>
                  <a:lnTo>
                    <a:pt x="438" y="498"/>
                  </a:lnTo>
                  <a:lnTo>
                    <a:pt x="432" y="498"/>
                  </a:lnTo>
                  <a:lnTo>
                    <a:pt x="426" y="504"/>
                  </a:lnTo>
                  <a:lnTo>
                    <a:pt x="426" y="510"/>
                  </a:lnTo>
                  <a:lnTo>
                    <a:pt x="420" y="516"/>
                  </a:lnTo>
                  <a:lnTo>
                    <a:pt x="414" y="522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84" y="528"/>
                  </a:lnTo>
                  <a:lnTo>
                    <a:pt x="366" y="540"/>
                  </a:lnTo>
                  <a:lnTo>
                    <a:pt x="360" y="522"/>
                  </a:lnTo>
                  <a:lnTo>
                    <a:pt x="348" y="504"/>
                  </a:lnTo>
                  <a:lnTo>
                    <a:pt x="330" y="504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34"/>
                  </a:lnTo>
                  <a:lnTo>
                    <a:pt x="288" y="540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2" y="540"/>
                  </a:lnTo>
                  <a:lnTo>
                    <a:pt x="282" y="546"/>
                  </a:lnTo>
                  <a:lnTo>
                    <a:pt x="288" y="552"/>
                  </a:lnTo>
                  <a:lnTo>
                    <a:pt x="294" y="564"/>
                  </a:lnTo>
                  <a:lnTo>
                    <a:pt x="300" y="564"/>
                  </a:lnTo>
                  <a:lnTo>
                    <a:pt x="300" y="570"/>
                  </a:lnTo>
                  <a:lnTo>
                    <a:pt x="294" y="570"/>
                  </a:lnTo>
                  <a:lnTo>
                    <a:pt x="288" y="570"/>
                  </a:lnTo>
                  <a:lnTo>
                    <a:pt x="288" y="576"/>
                  </a:lnTo>
                  <a:lnTo>
                    <a:pt x="288" y="582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606"/>
                  </a:lnTo>
                  <a:lnTo>
                    <a:pt x="264" y="612"/>
                  </a:lnTo>
                  <a:lnTo>
                    <a:pt x="258" y="612"/>
                  </a:lnTo>
                  <a:lnTo>
                    <a:pt x="252" y="612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52" y="630"/>
                  </a:lnTo>
                  <a:lnTo>
                    <a:pt x="264" y="642"/>
                  </a:lnTo>
                  <a:lnTo>
                    <a:pt x="258" y="648"/>
                  </a:lnTo>
                  <a:lnTo>
                    <a:pt x="246" y="654"/>
                  </a:lnTo>
                  <a:lnTo>
                    <a:pt x="240" y="660"/>
                  </a:lnTo>
                  <a:lnTo>
                    <a:pt x="234" y="672"/>
                  </a:lnTo>
                  <a:lnTo>
                    <a:pt x="234" y="678"/>
                  </a:lnTo>
                  <a:lnTo>
                    <a:pt x="228" y="684"/>
                  </a:lnTo>
                  <a:lnTo>
                    <a:pt x="228" y="696"/>
                  </a:lnTo>
                  <a:lnTo>
                    <a:pt x="216" y="71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6" name="Freeform 21">
              <a:extLst>
                <a:ext uri="{FF2B5EF4-FFF2-40B4-BE49-F238E27FC236}">
                  <a16:creationId xmlns:a16="http://schemas.microsoft.com/office/drawing/2014/main" id="{DCB1E808-522D-4C19-B741-CC5DD56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4178" y="3866464"/>
              <a:ext cx="250453" cy="371259"/>
            </a:xfrm>
            <a:custGeom>
              <a:avLst/>
              <a:gdLst>
                <a:gd name="T0" fmla="*/ 0 w 468"/>
                <a:gd name="T1" fmla="*/ 61 h 696"/>
                <a:gd name="T2" fmla="*/ 1 w 468"/>
                <a:gd name="T3" fmla="*/ 58 h 696"/>
                <a:gd name="T4" fmla="*/ 2 w 468"/>
                <a:gd name="T5" fmla="*/ 54 h 696"/>
                <a:gd name="T6" fmla="*/ 3 w 468"/>
                <a:gd name="T7" fmla="*/ 51 h 696"/>
                <a:gd name="T8" fmla="*/ 4 w 468"/>
                <a:gd name="T9" fmla="*/ 48 h 696"/>
                <a:gd name="T10" fmla="*/ 6 w 468"/>
                <a:gd name="T11" fmla="*/ 44 h 696"/>
                <a:gd name="T12" fmla="*/ 5 w 468"/>
                <a:gd name="T13" fmla="*/ 41 h 696"/>
                <a:gd name="T14" fmla="*/ 7 w 468"/>
                <a:gd name="T15" fmla="*/ 38 h 696"/>
                <a:gd name="T16" fmla="*/ 8 w 468"/>
                <a:gd name="T17" fmla="*/ 36 h 696"/>
                <a:gd name="T18" fmla="*/ 7 w 468"/>
                <a:gd name="T19" fmla="*/ 33 h 696"/>
                <a:gd name="T20" fmla="*/ 6 w 468"/>
                <a:gd name="T21" fmla="*/ 29 h 696"/>
                <a:gd name="T22" fmla="*/ 4 w 468"/>
                <a:gd name="T23" fmla="*/ 22 h 696"/>
                <a:gd name="T24" fmla="*/ 2 w 468"/>
                <a:gd name="T25" fmla="*/ 14 h 696"/>
                <a:gd name="T26" fmla="*/ 12 w 468"/>
                <a:gd name="T27" fmla="*/ 11 h 696"/>
                <a:gd name="T28" fmla="*/ 14 w 468"/>
                <a:gd name="T29" fmla="*/ 2 h 696"/>
                <a:gd name="T30" fmla="*/ 16 w 468"/>
                <a:gd name="T31" fmla="*/ 0 h 696"/>
                <a:gd name="T32" fmla="*/ 17 w 468"/>
                <a:gd name="T33" fmla="*/ 0 h 696"/>
                <a:gd name="T34" fmla="*/ 18 w 468"/>
                <a:gd name="T35" fmla="*/ 1 h 696"/>
                <a:gd name="T36" fmla="*/ 17 w 468"/>
                <a:gd name="T37" fmla="*/ 2 h 696"/>
                <a:gd name="T38" fmla="*/ 17 w 468"/>
                <a:gd name="T39" fmla="*/ 4 h 696"/>
                <a:gd name="T40" fmla="*/ 17 w 468"/>
                <a:gd name="T41" fmla="*/ 6 h 696"/>
                <a:gd name="T42" fmla="*/ 20 w 468"/>
                <a:gd name="T43" fmla="*/ 6 h 696"/>
                <a:gd name="T44" fmla="*/ 22 w 468"/>
                <a:gd name="T45" fmla="*/ 5 h 696"/>
                <a:gd name="T46" fmla="*/ 24 w 468"/>
                <a:gd name="T47" fmla="*/ 7 h 696"/>
                <a:gd name="T48" fmla="*/ 28 w 468"/>
                <a:gd name="T49" fmla="*/ 7 h 696"/>
                <a:gd name="T50" fmla="*/ 28 w 468"/>
                <a:gd name="T51" fmla="*/ 11 h 696"/>
                <a:gd name="T52" fmla="*/ 25 w 468"/>
                <a:gd name="T53" fmla="*/ 14 h 696"/>
                <a:gd name="T54" fmla="*/ 23 w 468"/>
                <a:gd name="T55" fmla="*/ 15 h 696"/>
                <a:gd name="T56" fmla="*/ 23 w 468"/>
                <a:gd name="T57" fmla="*/ 19 h 696"/>
                <a:gd name="T58" fmla="*/ 23 w 468"/>
                <a:gd name="T59" fmla="*/ 21 h 696"/>
                <a:gd name="T60" fmla="*/ 24 w 468"/>
                <a:gd name="T61" fmla="*/ 21 h 696"/>
                <a:gd name="T62" fmla="*/ 27 w 468"/>
                <a:gd name="T63" fmla="*/ 23 h 696"/>
                <a:gd name="T64" fmla="*/ 29 w 468"/>
                <a:gd name="T65" fmla="*/ 24 h 696"/>
                <a:gd name="T66" fmla="*/ 29 w 468"/>
                <a:gd name="T67" fmla="*/ 28 h 696"/>
                <a:gd name="T68" fmla="*/ 29 w 468"/>
                <a:gd name="T69" fmla="*/ 29 h 696"/>
                <a:gd name="T70" fmla="*/ 29 w 468"/>
                <a:gd name="T71" fmla="*/ 32 h 696"/>
                <a:gd name="T72" fmla="*/ 32 w 468"/>
                <a:gd name="T73" fmla="*/ 32 h 696"/>
                <a:gd name="T74" fmla="*/ 33 w 468"/>
                <a:gd name="T75" fmla="*/ 35 h 696"/>
                <a:gd name="T76" fmla="*/ 34 w 468"/>
                <a:gd name="T77" fmla="*/ 38 h 696"/>
                <a:gd name="T78" fmla="*/ 35 w 468"/>
                <a:gd name="T79" fmla="*/ 39 h 696"/>
                <a:gd name="T80" fmla="*/ 36 w 468"/>
                <a:gd name="T81" fmla="*/ 40 h 696"/>
                <a:gd name="T82" fmla="*/ 37 w 468"/>
                <a:gd name="T83" fmla="*/ 41 h 696"/>
                <a:gd name="T84" fmla="*/ 38 w 468"/>
                <a:gd name="T85" fmla="*/ 42 h 696"/>
                <a:gd name="T86" fmla="*/ 41 w 468"/>
                <a:gd name="T87" fmla="*/ 44 h 696"/>
                <a:gd name="T88" fmla="*/ 40 w 468"/>
                <a:gd name="T89" fmla="*/ 44 h 696"/>
                <a:gd name="T90" fmla="*/ 37 w 468"/>
                <a:gd name="T91" fmla="*/ 45 h 696"/>
                <a:gd name="T92" fmla="*/ 36 w 468"/>
                <a:gd name="T93" fmla="*/ 48 h 696"/>
                <a:gd name="T94" fmla="*/ 34 w 468"/>
                <a:gd name="T95" fmla="*/ 49 h 696"/>
                <a:gd name="T96" fmla="*/ 32 w 468"/>
                <a:gd name="T97" fmla="*/ 51 h 696"/>
                <a:gd name="T98" fmla="*/ 31 w 468"/>
                <a:gd name="T99" fmla="*/ 51 h 696"/>
                <a:gd name="T100" fmla="*/ 26 w 468"/>
                <a:gd name="T101" fmla="*/ 49 h 696"/>
                <a:gd name="T102" fmla="*/ 23 w 468"/>
                <a:gd name="T103" fmla="*/ 51 h 696"/>
                <a:gd name="T104" fmla="*/ 21 w 468"/>
                <a:gd name="T105" fmla="*/ 51 h 696"/>
                <a:gd name="T106" fmla="*/ 20 w 468"/>
                <a:gd name="T107" fmla="*/ 52 h 696"/>
                <a:gd name="T108" fmla="*/ 17 w 468"/>
                <a:gd name="T109" fmla="*/ 55 h 696"/>
                <a:gd name="T110" fmla="*/ 15 w 468"/>
                <a:gd name="T111" fmla="*/ 56 h 696"/>
                <a:gd name="T112" fmla="*/ 15 w 468"/>
                <a:gd name="T113" fmla="*/ 59 h 696"/>
                <a:gd name="T114" fmla="*/ 14 w 468"/>
                <a:gd name="T115" fmla="*/ 59 h 696"/>
                <a:gd name="T116" fmla="*/ 12 w 468"/>
                <a:gd name="T117" fmla="*/ 59 h 696"/>
                <a:gd name="T118" fmla="*/ 11 w 468"/>
                <a:gd name="T119" fmla="*/ 57 h 696"/>
                <a:gd name="T120" fmla="*/ 9 w 468"/>
                <a:gd name="T121" fmla="*/ 57 h 696"/>
                <a:gd name="T122" fmla="*/ 6 w 468"/>
                <a:gd name="T123" fmla="*/ 58 h 696"/>
                <a:gd name="T124" fmla="*/ 4 w 468"/>
                <a:gd name="T125" fmla="*/ 60 h 69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8"/>
                <a:gd name="T190" fmla="*/ 0 h 696"/>
                <a:gd name="T191" fmla="*/ 468 w 468"/>
                <a:gd name="T192" fmla="*/ 696 h 69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8" h="696">
                  <a:moveTo>
                    <a:pt x="30" y="696"/>
                  </a:moveTo>
                  <a:lnTo>
                    <a:pt x="18" y="696"/>
                  </a:lnTo>
                  <a:lnTo>
                    <a:pt x="6" y="696"/>
                  </a:lnTo>
                  <a:lnTo>
                    <a:pt x="0" y="690"/>
                  </a:lnTo>
                  <a:lnTo>
                    <a:pt x="6" y="678"/>
                  </a:lnTo>
                  <a:lnTo>
                    <a:pt x="12" y="666"/>
                  </a:lnTo>
                  <a:lnTo>
                    <a:pt x="18" y="654"/>
                  </a:lnTo>
                  <a:lnTo>
                    <a:pt x="18" y="642"/>
                  </a:lnTo>
                  <a:lnTo>
                    <a:pt x="18" y="618"/>
                  </a:lnTo>
                  <a:lnTo>
                    <a:pt x="24" y="606"/>
                  </a:lnTo>
                  <a:lnTo>
                    <a:pt x="30" y="594"/>
                  </a:lnTo>
                  <a:lnTo>
                    <a:pt x="30" y="582"/>
                  </a:lnTo>
                  <a:lnTo>
                    <a:pt x="36" y="576"/>
                  </a:lnTo>
                  <a:lnTo>
                    <a:pt x="42" y="564"/>
                  </a:lnTo>
                  <a:lnTo>
                    <a:pt x="48" y="546"/>
                  </a:lnTo>
                  <a:lnTo>
                    <a:pt x="48" y="528"/>
                  </a:lnTo>
                  <a:lnTo>
                    <a:pt x="60" y="516"/>
                  </a:lnTo>
                  <a:lnTo>
                    <a:pt x="66" y="504"/>
                  </a:lnTo>
                  <a:lnTo>
                    <a:pt x="66" y="492"/>
                  </a:lnTo>
                  <a:lnTo>
                    <a:pt x="60" y="480"/>
                  </a:lnTo>
                  <a:lnTo>
                    <a:pt x="54" y="468"/>
                  </a:lnTo>
                  <a:lnTo>
                    <a:pt x="60" y="456"/>
                  </a:lnTo>
                  <a:lnTo>
                    <a:pt x="72" y="450"/>
                  </a:lnTo>
                  <a:lnTo>
                    <a:pt x="84" y="438"/>
                  </a:lnTo>
                  <a:lnTo>
                    <a:pt x="90" y="426"/>
                  </a:lnTo>
                  <a:lnTo>
                    <a:pt x="90" y="420"/>
                  </a:lnTo>
                  <a:lnTo>
                    <a:pt x="90" y="408"/>
                  </a:lnTo>
                  <a:lnTo>
                    <a:pt x="90" y="402"/>
                  </a:lnTo>
                  <a:lnTo>
                    <a:pt x="84" y="396"/>
                  </a:lnTo>
                  <a:lnTo>
                    <a:pt x="78" y="378"/>
                  </a:lnTo>
                  <a:lnTo>
                    <a:pt x="72" y="360"/>
                  </a:lnTo>
                  <a:lnTo>
                    <a:pt x="66" y="348"/>
                  </a:lnTo>
                  <a:lnTo>
                    <a:pt x="72" y="336"/>
                  </a:lnTo>
                  <a:lnTo>
                    <a:pt x="66" y="306"/>
                  </a:lnTo>
                  <a:lnTo>
                    <a:pt x="54" y="276"/>
                  </a:lnTo>
                  <a:lnTo>
                    <a:pt x="42" y="252"/>
                  </a:lnTo>
                  <a:lnTo>
                    <a:pt x="36" y="222"/>
                  </a:lnTo>
                  <a:lnTo>
                    <a:pt x="30" y="192"/>
                  </a:lnTo>
                  <a:lnTo>
                    <a:pt x="24" y="162"/>
                  </a:lnTo>
                  <a:lnTo>
                    <a:pt x="42" y="174"/>
                  </a:lnTo>
                  <a:lnTo>
                    <a:pt x="120" y="138"/>
                  </a:lnTo>
                  <a:lnTo>
                    <a:pt x="132" y="126"/>
                  </a:lnTo>
                  <a:lnTo>
                    <a:pt x="120" y="54"/>
                  </a:lnTo>
                  <a:lnTo>
                    <a:pt x="156" y="30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0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8" y="18"/>
                  </a:lnTo>
                  <a:lnTo>
                    <a:pt x="198" y="24"/>
                  </a:lnTo>
                  <a:lnTo>
                    <a:pt x="198" y="30"/>
                  </a:lnTo>
                  <a:lnTo>
                    <a:pt x="198" y="42"/>
                  </a:lnTo>
                  <a:lnTo>
                    <a:pt x="198" y="48"/>
                  </a:lnTo>
                  <a:lnTo>
                    <a:pt x="192" y="60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28" y="60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34" y="60"/>
                  </a:lnTo>
                  <a:lnTo>
                    <a:pt x="252" y="60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312" y="84"/>
                  </a:lnTo>
                  <a:lnTo>
                    <a:pt x="318" y="96"/>
                  </a:lnTo>
                  <a:lnTo>
                    <a:pt x="318" y="102"/>
                  </a:lnTo>
                  <a:lnTo>
                    <a:pt x="312" y="120"/>
                  </a:lnTo>
                  <a:lnTo>
                    <a:pt x="306" y="132"/>
                  </a:lnTo>
                  <a:lnTo>
                    <a:pt x="294" y="144"/>
                  </a:lnTo>
                  <a:lnTo>
                    <a:pt x="282" y="156"/>
                  </a:lnTo>
                  <a:lnTo>
                    <a:pt x="276" y="162"/>
                  </a:lnTo>
                  <a:lnTo>
                    <a:pt x="270" y="162"/>
                  </a:lnTo>
                  <a:lnTo>
                    <a:pt x="264" y="174"/>
                  </a:lnTo>
                  <a:lnTo>
                    <a:pt x="264" y="192"/>
                  </a:lnTo>
                  <a:lnTo>
                    <a:pt x="264" y="216"/>
                  </a:lnTo>
                  <a:lnTo>
                    <a:pt x="258" y="216"/>
                  </a:lnTo>
                  <a:lnTo>
                    <a:pt x="258" y="228"/>
                  </a:lnTo>
                  <a:lnTo>
                    <a:pt x="252" y="234"/>
                  </a:lnTo>
                  <a:lnTo>
                    <a:pt x="258" y="240"/>
                  </a:lnTo>
                  <a:lnTo>
                    <a:pt x="264" y="240"/>
                  </a:lnTo>
                  <a:lnTo>
                    <a:pt x="270" y="240"/>
                  </a:lnTo>
                  <a:lnTo>
                    <a:pt x="276" y="240"/>
                  </a:lnTo>
                  <a:lnTo>
                    <a:pt x="288" y="240"/>
                  </a:lnTo>
                  <a:lnTo>
                    <a:pt x="300" y="246"/>
                  </a:lnTo>
                  <a:lnTo>
                    <a:pt x="306" y="258"/>
                  </a:lnTo>
                  <a:lnTo>
                    <a:pt x="312" y="264"/>
                  </a:lnTo>
                  <a:lnTo>
                    <a:pt x="318" y="276"/>
                  </a:lnTo>
                  <a:lnTo>
                    <a:pt x="330" y="282"/>
                  </a:lnTo>
                  <a:lnTo>
                    <a:pt x="330" y="300"/>
                  </a:lnTo>
                  <a:lnTo>
                    <a:pt x="336" y="312"/>
                  </a:lnTo>
                  <a:lnTo>
                    <a:pt x="336" y="318"/>
                  </a:lnTo>
                  <a:lnTo>
                    <a:pt x="336" y="330"/>
                  </a:lnTo>
                  <a:lnTo>
                    <a:pt x="324" y="330"/>
                  </a:lnTo>
                  <a:lnTo>
                    <a:pt x="330" y="336"/>
                  </a:lnTo>
                  <a:lnTo>
                    <a:pt x="330" y="342"/>
                  </a:lnTo>
                  <a:lnTo>
                    <a:pt x="336" y="348"/>
                  </a:lnTo>
                  <a:lnTo>
                    <a:pt x="330" y="360"/>
                  </a:lnTo>
                  <a:lnTo>
                    <a:pt x="336" y="372"/>
                  </a:lnTo>
                  <a:lnTo>
                    <a:pt x="354" y="366"/>
                  </a:lnTo>
                  <a:lnTo>
                    <a:pt x="366" y="366"/>
                  </a:lnTo>
                  <a:lnTo>
                    <a:pt x="372" y="378"/>
                  </a:lnTo>
                  <a:lnTo>
                    <a:pt x="372" y="390"/>
                  </a:lnTo>
                  <a:lnTo>
                    <a:pt x="378" y="396"/>
                  </a:lnTo>
                  <a:lnTo>
                    <a:pt x="378" y="408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44"/>
                  </a:lnTo>
                  <a:lnTo>
                    <a:pt x="390" y="444"/>
                  </a:lnTo>
                  <a:lnTo>
                    <a:pt x="396" y="444"/>
                  </a:lnTo>
                  <a:lnTo>
                    <a:pt x="402" y="450"/>
                  </a:lnTo>
                  <a:lnTo>
                    <a:pt x="408" y="450"/>
                  </a:lnTo>
                  <a:lnTo>
                    <a:pt x="408" y="462"/>
                  </a:lnTo>
                  <a:lnTo>
                    <a:pt x="408" y="468"/>
                  </a:lnTo>
                  <a:lnTo>
                    <a:pt x="414" y="474"/>
                  </a:lnTo>
                  <a:lnTo>
                    <a:pt x="420" y="474"/>
                  </a:lnTo>
                  <a:lnTo>
                    <a:pt x="420" y="480"/>
                  </a:lnTo>
                  <a:lnTo>
                    <a:pt x="426" y="480"/>
                  </a:lnTo>
                  <a:lnTo>
                    <a:pt x="432" y="480"/>
                  </a:lnTo>
                  <a:lnTo>
                    <a:pt x="462" y="486"/>
                  </a:lnTo>
                  <a:lnTo>
                    <a:pt x="468" y="492"/>
                  </a:lnTo>
                  <a:lnTo>
                    <a:pt x="468" y="498"/>
                  </a:lnTo>
                  <a:lnTo>
                    <a:pt x="462" y="498"/>
                  </a:lnTo>
                  <a:lnTo>
                    <a:pt x="456" y="498"/>
                  </a:lnTo>
                  <a:lnTo>
                    <a:pt x="456" y="504"/>
                  </a:lnTo>
                  <a:lnTo>
                    <a:pt x="456" y="510"/>
                  </a:lnTo>
                  <a:lnTo>
                    <a:pt x="450" y="516"/>
                  </a:lnTo>
                  <a:lnTo>
                    <a:pt x="426" y="516"/>
                  </a:lnTo>
                  <a:lnTo>
                    <a:pt x="408" y="528"/>
                  </a:lnTo>
                  <a:lnTo>
                    <a:pt x="408" y="546"/>
                  </a:lnTo>
                  <a:lnTo>
                    <a:pt x="414" y="552"/>
                  </a:lnTo>
                  <a:lnTo>
                    <a:pt x="408" y="558"/>
                  </a:lnTo>
                  <a:lnTo>
                    <a:pt x="402" y="564"/>
                  </a:lnTo>
                  <a:lnTo>
                    <a:pt x="384" y="564"/>
                  </a:lnTo>
                  <a:lnTo>
                    <a:pt x="372" y="564"/>
                  </a:lnTo>
                  <a:lnTo>
                    <a:pt x="372" y="576"/>
                  </a:lnTo>
                  <a:lnTo>
                    <a:pt x="366" y="576"/>
                  </a:lnTo>
                  <a:lnTo>
                    <a:pt x="366" y="582"/>
                  </a:lnTo>
                  <a:lnTo>
                    <a:pt x="360" y="582"/>
                  </a:lnTo>
                  <a:lnTo>
                    <a:pt x="348" y="576"/>
                  </a:lnTo>
                  <a:lnTo>
                    <a:pt x="336" y="570"/>
                  </a:lnTo>
                  <a:lnTo>
                    <a:pt x="324" y="570"/>
                  </a:lnTo>
                  <a:lnTo>
                    <a:pt x="300" y="564"/>
                  </a:lnTo>
                  <a:lnTo>
                    <a:pt x="282" y="564"/>
                  </a:lnTo>
                  <a:lnTo>
                    <a:pt x="270" y="570"/>
                  </a:lnTo>
                  <a:lnTo>
                    <a:pt x="264" y="576"/>
                  </a:lnTo>
                  <a:lnTo>
                    <a:pt x="258" y="576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34" y="594"/>
                  </a:lnTo>
                  <a:lnTo>
                    <a:pt x="228" y="600"/>
                  </a:lnTo>
                  <a:lnTo>
                    <a:pt x="210" y="618"/>
                  </a:lnTo>
                  <a:lnTo>
                    <a:pt x="210" y="624"/>
                  </a:lnTo>
                  <a:lnTo>
                    <a:pt x="192" y="630"/>
                  </a:lnTo>
                  <a:lnTo>
                    <a:pt x="186" y="630"/>
                  </a:lnTo>
                  <a:lnTo>
                    <a:pt x="180" y="636"/>
                  </a:lnTo>
                  <a:lnTo>
                    <a:pt x="174" y="642"/>
                  </a:lnTo>
                  <a:lnTo>
                    <a:pt x="168" y="642"/>
                  </a:lnTo>
                  <a:lnTo>
                    <a:pt x="168" y="654"/>
                  </a:lnTo>
                  <a:lnTo>
                    <a:pt x="168" y="678"/>
                  </a:lnTo>
                  <a:lnTo>
                    <a:pt x="162" y="684"/>
                  </a:lnTo>
                  <a:lnTo>
                    <a:pt x="156" y="684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72"/>
                  </a:lnTo>
                  <a:lnTo>
                    <a:pt x="138" y="672"/>
                  </a:lnTo>
                  <a:lnTo>
                    <a:pt x="138" y="666"/>
                  </a:lnTo>
                  <a:lnTo>
                    <a:pt x="132" y="660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48"/>
                  </a:lnTo>
                  <a:lnTo>
                    <a:pt x="102" y="654"/>
                  </a:lnTo>
                  <a:lnTo>
                    <a:pt x="90" y="654"/>
                  </a:lnTo>
                  <a:lnTo>
                    <a:pt x="84" y="654"/>
                  </a:lnTo>
                  <a:lnTo>
                    <a:pt x="72" y="660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36" y="684"/>
                  </a:lnTo>
                  <a:lnTo>
                    <a:pt x="30" y="6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7" name="Freeform 22">
              <a:extLst>
                <a:ext uri="{FF2B5EF4-FFF2-40B4-BE49-F238E27FC236}">
                  <a16:creationId xmlns:a16="http://schemas.microsoft.com/office/drawing/2014/main" id="{2F7A477D-6CF8-44B3-8B32-64EE03DC4D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2895" y="3967106"/>
              <a:ext cx="610479" cy="507686"/>
            </a:xfrm>
            <a:custGeom>
              <a:avLst/>
              <a:gdLst>
                <a:gd name="T0" fmla="*/ 87 w 1146"/>
                <a:gd name="T1" fmla="*/ 56 h 954"/>
                <a:gd name="T2" fmla="*/ 83 w 1146"/>
                <a:gd name="T3" fmla="*/ 66 h 954"/>
                <a:gd name="T4" fmla="*/ 74 w 1146"/>
                <a:gd name="T5" fmla="*/ 69 h 954"/>
                <a:gd name="T6" fmla="*/ 67 w 1146"/>
                <a:gd name="T7" fmla="*/ 75 h 954"/>
                <a:gd name="T8" fmla="*/ 59 w 1146"/>
                <a:gd name="T9" fmla="*/ 78 h 954"/>
                <a:gd name="T10" fmla="*/ 52 w 1146"/>
                <a:gd name="T11" fmla="*/ 77 h 954"/>
                <a:gd name="T12" fmla="*/ 48 w 1146"/>
                <a:gd name="T13" fmla="*/ 79 h 954"/>
                <a:gd name="T14" fmla="*/ 41 w 1146"/>
                <a:gd name="T15" fmla="*/ 82 h 954"/>
                <a:gd name="T16" fmla="*/ 29 w 1146"/>
                <a:gd name="T17" fmla="*/ 78 h 954"/>
                <a:gd name="T18" fmla="*/ 28 w 1146"/>
                <a:gd name="T19" fmla="*/ 76 h 954"/>
                <a:gd name="T20" fmla="*/ 28 w 1146"/>
                <a:gd name="T21" fmla="*/ 72 h 954"/>
                <a:gd name="T22" fmla="*/ 28 w 1146"/>
                <a:gd name="T23" fmla="*/ 74 h 954"/>
                <a:gd name="T24" fmla="*/ 21 w 1146"/>
                <a:gd name="T25" fmla="*/ 74 h 954"/>
                <a:gd name="T26" fmla="*/ 20 w 1146"/>
                <a:gd name="T27" fmla="*/ 67 h 954"/>
                <a:gd name="T28" fmla="*/ 23 w 1146"/>
                <a:gd name="T29" fmla="*/ 64 h 954"/>
                <a:gd name="T30" fmla="*/ 28 w 1146"/>
                <a:gd name="T31" fmla="*/ 65 h 954"/>
                <a:gd name="T32" fmla="*/ 32 w 1146"/>
                <a:gd name="T33" fmla="*/ 62 h 954"/>
                <a:gd name="T34" fmla="*/ 31 w 1146"/>
                <a:gd name="T35" fmla="*/ 56 h 954"/>
                <a:gd name="T36" fmla="*/ 36 w 1146"/>
                <a:gd name="T37" fmla="*/ 54 h 954"/>
                <a:gd name="T38" fmla="*/ 38 w 1146"/>
                <a:gd name="T39" fmla="*/ 54 h 954"/>
                <a:gd name="T40" fmla="*/ 32 w 1146"/>
                <a:gd name="T41" fmla="*/ 54 h 954"/>
                <a:gd name="T42" fmla="*/ 29 w 1146"/>
                <a:gd name="T43" fmla="*/ 59 h 954"/>
                <a:gd name="T44" fmla="*/ 26 w 1146"/>
                <a:gd name="T45" fmla="*/ 59 h 954"/>
                <a:gd name="T46" fmla="*/ 25 w 1146"/>
                <a:gd name="T47" fmla="*/ 61 h 954"/>
                <a:gd name="T48" fmla="*/ 20 w 1146"/>
                <a:gd name="T49" fmla="*/ 61 h 954"/>
                <a:gd name="T50" fmla="*/ 11 w 1146"/>
                <a:gd name="T51" fmla="*/ 54 h 954"/>
                <a:gd name="T52" fmla="*/ 14 w 1146"/>
                <a:gd name="T53" fmla="*/ 50 h 954"/>
                <a:gd name="T54" fmla="*/ 21 w 1146"/>
                <a:gd name="T55" fmla="*/ 51 h 954"/>
                <a:gd name="T56" fmla="*/ 24 w 1146"/>
                <a:gd name="T57" fmla="*/ 50 h 954"/>
                <a:gd name="T58" fmla="*/ 28 w 1146"/>
                <a:gd name="T59" fmla="*/ 48 h 954"/>
                <a:gd name="T60" fmla="*/ 30 w 1146"/>
                <a:gd name="T61" fmla="*/ 49 h 954"/>
                <a:gd name="T62" fmla="*/ 26 w 1146"/>
                <a:gd name="T63" fmla="*/ 47 h 954"/>
                <a:gd name="T64" fmla="*/ 20 w 1146"/>
                <a:gd name="T65" fmla="*/ 50 h 954"/>
                <a:gd name="T66" fmla="*/ 20 w 1146"/>
                <a:gd name="T67" fmla="*/ 44 h 954"/>
                <a:gd name="T68" fmla="*/ 19 w 1146"/>
                <a:gd name="T69" fmla="*/ 46 h 954"/>
                <a:gd name="T70" fmla="*/ 15 w 1146"/>
                <a:gd name="T71" fmla="*/ 49 h 954"/>
                <a:gd name="T72" fmla="*/ 8 w 1146"/>
                <a:gd name="T73" fmla="*/ 48 h 954"/>
                <a:gd name="T74" fmla="*/ 6 w 1146"/>
                <a:gd name="T75" fmla="*/ 41 h 954"/>
                <a:gd name="T76" fmla="*/ 10 w 1146"/>
                <a:gd name="T77" fmla="*/ 41 h 954"/>
                <a:gd name="T78" fmla="*/ 9 w 1146"/>
                <a:gd name="T79" fmla="*/ 39 h 954"/>
                <a:gd name="T80" fmla="*/ 14 w 1146"/>
                <a:gd name="T81" fmla="*/ 35 h 954"/>
                <a:gd name="T82" fmla="*/ 19 w 1146"/>
                <a:gd name="T83" fmla="*/ 32 h 954"/>
                <a:gd name="T84" fmla="*/ 20 w 1146"/>
                <a:gd name="T85" fmla="*/ 29 h 954"/>
                <a:gd name="T86" fmla="*/ 27 w 1146"/>
                <a:gd name="T87" fmla="*/ 27 h 954"/>
                <a:gd name="T88" fmla="*/ 33 w 1146"/>
                <a:gd name="T89" fmla="*/ 28 h 954"/>
                <a:gd name="T90" fmla="*/ 44 w 1146"/>
                <a:gd name="T91" fmla="*/ 27 h 954"/>
                <a:gd name="T92" fmla="*/ 52 w 1146"/>
                <a:gd name="T93" fmla="*/ 41 h 954"/>
                <a:gd name="T94" fmla="*/ 61 w 1146"/>
                <a:gd name="T95" fmla="*/ 40 h 954"/>
                <a:gd name="T96" fmla="*/ 69 w 1146"/>
                <a:gd name="T97" fmla="*/ 34 h 954"/>
                <a:gd name="T98" fmla="*/ 62 w 1146"/>
                <a:gd name="T99" fmla="*/ 12 h 954"/>
                <a:gd name="T100" fmla="*/ 74 w 1146"/>
                <a:gd name="T101" fmla="*/ 8 h 954"/>
                <a:gd name="T102" fmla="*/ 87 w 1146"/>
                <a:gd name="T103" fmla="*/ 1 h 954"/>
                <a:gd name="T104" fmla="*/ 99 w 1146"/>
                <a:gd name="T105" fmla="*/ 12 h 954"/>
                <a:gd name="T106" fmla="*/ 98 w 1146"/>
                <a:gd name="T107" fmla="*/ 27 h 954"/>
                <a:gd name="T108" fmla="*/ 16 w 1146"/>
                <a:gd name="T109" fmla="*/ 33 h 954"/>
                <a:gd name="T110" fmla="*/ 11 w 1146"/>
                <a:gd name="T111" fmla="*/ 36 h 954"/>
                <a:gd name="T112" fmla="*/ 5 w 1146"/>
                <a:gd name="T113" fmla="*/ 41 h 954"/>
                <a:gd name="T114" fmla="*/ 2 w 1146"/>
                <a:gd name="T115" fmla="*/ 36 h 954"/>
                <a:gd name="T116" fmla="*/ 5 w 1146"/>
                <a:gd name="T117" fmla="*/ 26 h 954"/>
                <a:gd name="T118" fmla="*/ 10 w 1146"/>
                <a:gd name="T119" fmla="*/ 20 h 954"/>
                <a:gd name="T120" fmla="*/ 13 w 1146"/>
                <a:gd name="T121" fmla="*/ 20 h 954"/>
                <a:gd name="T122" fmla="*/ 15 w 1146"/>
                <a:gd name="T123" fmla="*/ 27 h 95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46"/>
                <a:gd name="T187" fmla="*/ 0 h 954"/>
                <a:gd name="T188" fmla="*/ 1146 w 1146"/>
                <a:gd name="T189" fmla="*/ 954 h 95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46" h="954">
                  <a:moveTo>
                    <a:pt x="1056" y="498"/>
                  </a:moveTo>
                  <a:lnTo>
                    <a:pt x="1044" y="510"/>
                  </a:lnTo>
                  <a:lnTo>
                    <a:pt x="1032" y="516"/>
                  </a:lnTo>
                  <a:lnTo>
                    <a:pt x="1038" y="528"/>
                  </a:lnTo>
                  <a:lnTo>
                    <a:pt x="1050" y="540"/>
                  </a:lnTo>
                  <a:lnTo>
                    <a:pt x="1050" y="546"/>
                  </a:lnTo>
                  <a:lnTo>
                    <a:pt x="1050" y="564"/>
                  </a:lnTo>
                  <a:lnTo>
                    <a:pt x="1038" y="576"/>
                  </a:lnTo>
                  <a:lnTo>
                    <a:pt x="1032" y="588"/>
                  </a:lnTo>
                  <a:lnTo>
                    <a:pt x="1020" y="594"/>
                  </a:lnTo>
                  <a:lnTo>
                    <a:pt x="1008" y="594"/>
                  </a:lnTo>
                  <a:lnTo>
                    <a:pt x="1002" y="600"/>
                  </a:lnTo>
                  <a:lnTo>
                    <a:pt x="996" y="612"/>
                  </a:lnTo>
                  <a:lnTo>
                    <a:pt x="996" y="624"/>
                  </a:lnTo>
                  <a:lnTo>
                    <a:pt x="996" y="648"/>
                  </a:lnTo>
                  <a:lnTo>
                    <a:pt x="996" y="660"/>
                  </a:lnTo>
                  <a:lnTo>
                    <a:pt x="1002" y="672"/>
                  </a:lnTo>
                  <a:lnTo>
                    <a:pt x="1002" y="684"/>
                  </a:lnTo>
                  <a:lnTo>
                    <a:pt x="996" y="684"/>
                  </a:lnTo>
                  <a:lnTo>
                    <a:pt x="984" y="690"/>
                  </a:lnTo>
                  <a:lnTo>
                    <a:pt x="972" y="690"/>
                  </a:lnTo>
                  <a:lnTo>
                    <a:pt x="966" y="696"/>
                  </a:lnTo>
                  <a:lnTo>
                    <a:pt x="966" y="702"/>
                  </a:lnTo>
                  <a:lnTo>
                    <a:pt x="966" y="714"/>
                  </a:lnTo>
                  <a:lnTo>
                    <a:pt x="972" y="726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2" y="756"/>
                  </a:lnTo>
                  <a:lnTo>
                    <a:pt x="966" y="756"/>
                  </a:lnTo>
                  <a:lnTo>
                    <a:pt x="942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18" y="768"/>
                  </a:lnTo>
                  <a:lnTo>
                    <a:pt x="906" y="768"/>
                  </a:lnTo>
                  <a:lnTo>
                    <a:pt x="894" y="762"/>
                  </a:lnTo>
                  <a:lnTo>
                    <a:pt x="882" y="756"/>
                  </a:lnTo>
                  <a:lnTo>
                    <a:pt x="876" y="756"/>
                  </a:lnTo>
                  <a:lnTo>
                    <a:pt x="876" y="762"/>
                  </a:lnTo>
                  <a:lnTo>
                    <a:pt x="864" y="768"/>
                  </a:lnTo>
                  <a:lnTo>
                    <a:pt x="858" y="774"/>
                  </a:lnTo>
                  <a:lnTo>
                    <a:pt x="852" y="774"/>
                  </a:lnTo>
                  <a:lnTo>
                    <a:pt x="840" y="780"/>
                  </a:lnTo>
                  <a:lnTo>
                    <a:pt x="840" y="786"/>
                  </a:lnTo>
                  <a:lnTo>
                    <a:pt x="840" y="792"/>
                  </a:lnTo>
                  <a:lnTo>
                    <a:pt x="840" y="804"/>
                  </a:lnTo>
                  <a:lnTo>
                    <a:pt x="840" y="810"/>
                  </a:lnTo>
                  <a:lnTo>
                    <a:pt x="828" y="816"/>
                  </a:lnTo>
                  <a:lnTo>
                    <a:pt x="810" y="810"/>
                  </a:lnTo>
                  <a:lnTo>
                    <a:pt x="792" y="810"/>
                  </a:lnTo>
                  <a:lnTo>
                    <a:pt x="786" y="816"/>
                  </a:lnTo>
                  <a:lnTo>
                    <a:pt x="780" y="816"/>
                  </a:lnTo>
                  <a:lnTo>
                    <a:pt x="780" y="822"/>
                  </a:lnTo>
                  <a:lnTo>
                    <a:pt x="780" y="828"/>
                  </a:lnTo>
                  <a:lnTo>
                    <a:pt x="780" y="834"/>
                  </a:lnTo>
                  <a:lnTo>
                    <a:pt x="786" y="840"/>
                  </a:lnTo>
                  <a:lnTo>
                    <a:pt x="786" y="846"/>
                  </a:lnTo>
                  <a:lnTo>
                    <a:pt x="786" y="852"/>
                  </a:lnTo>
                  <a:lnTo>
                    <a:pt x="780" y="858"/>
                  </a:lnTo>
                  <a:lnTo>
                    <a:pt x="768" y="858"/>
                  </a:lnTo>
                  <a:lnTo>
                    <a:pt x="762" y="864"/>
                  </a:lnTo>
                  <a:lnTo>
                    <a:pt x="756" y="864"/>
                  </a:lnTo>
                  <a:lnTo>
                    <a:pt x="750" y="870"/>
                  </a:lnTo>
                  <a:lnTo>
                    <a:pt x="744" y="876"/>
                  </a:lnTo>
                  <a:lnTo>
                    <a:pt x="732" y="876"/>
                  </a:lnTo>
                  <a:lnTo>
                    <a:pt x="726" y="876"/>
                  </a:lnTo>
                  <a:lnTo>
                    <a:pt x="720" y="870"/>
                  </a:lnTo>
                  <a:lnTo>
                    <a:pt x="714" y="864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6" y="876"/>
                  </a:lnTo>
                  <a:lnTo>
                    <a:pt x="696" y="882"/>
                  </a:lnTo>
                  <a:lnTo>
                    <a:pt x="696" y="894"/>
                  </a:lnTo>
                  <a:lnTo>
                    <a:pt x="690" y="900"/>
                  </a:lnTo>
                  <a:lnTo>
                    <a:pt x="684" y="900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54" y="888"/>
                  </a:lnTo>
                  <a:lnTo>
                    <a:pt x="654" y="882"/>
                  </a:lnTo>
                  <a:lnTo>
                    <a:pt x="642" y="876"/>
                  </a:lnTo>
                  <a:lnTo>
                    <a:pt x="636" y="876"/>
                  </a:lnTo>
                  <a:lnTo>
                    <a:pt x="630" y="876"/>
                  </a:lnTo>
                  <a:lnTo>
                    <a:pt x="630" y="870"/>
                  </a:lnTo>
                  <a:lnTo>
                    <a:pt x="618" y="858"/>
                  </a:lnTo>
                  <a:lnTo>
                    <a:pt x="612" y="858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06" y="876"/>
                  </a:lnTo>
                  <a:lnTo>
                    <a:pt x="606" y="882"/>
                  </a:lnTo>
                  <a:lnTo>
                    <a:pt x="606" y="888"/>
                  </a:lnTo>
                  <a:lnTo>
                    <a:pt x="600" y="894"/>
                  </a:lnTo>
                  <a:lnTo>
                    <a:pt x="594" y="894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76" y="894"/>
                  </a:lnTo>
                  <a:lnTo>
                    <a:pt x="582" y="900"/>
                  </a:lnTo>
                  <a:lnTo>
                    <a:pt x="576" y="906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64" y="918"/>
                  </a:lnTo>
                  <a:lnTo>
                    <a:pt x="558" y="918"/>
                  </a:lnTo>
                  <a:lnTo>
                    <a:pt x="558" y="912"/>
                  </a:lnTo>
                  <a:lnTo>
                    <a:pt x="552" y="906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06"/>
                  </a:lnTo>
                  <a:lnTo>
                    <a:pt x="534" y="906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0" y="924"/>
                  </a:lnTo>
                  <a:lnTo>
                    <a:pt x="504" y="924"/>
                  </a:lnTo>
                  <a:lnTo>
                    <a:pt x="498" y="930"/>
                  </a:lnTo>
                  <a:lnTo>
                    <a:pt x="492" y="924"/>
                  </a:lnTo>
                  <a:lnTo>
                    <a:pt x="486" y="930"/>
                  </a:lnTo>
                  <a:lnTo>
                    <a:pt x="480" y="942"/>
                  </a:lnTo>
                  <a:lnTo>
                    <a:pt x="468" y="948"/>
                  </a:lnTo>
                  <a:lnTo>
                    <a:pt x="444" y="942"/>
                  </a:lnTo>
                  <a:lnTo>
                    <a:pt x="438" y="954"/>
                  </a:lnTo>
                  <a:lnTo>
                    <a:pt x="426" y="954"/>
                  </a:lnTo>
                  <a:lnTo>
                    <a:pt x="420" y="948"/>
                  </a:lnTo>
                  <a:lnTo>
                    <a:pt x="408" y="936"/>
                  </a:lnTo>
                  <a:lnTo>
                    <a:pt x="396" y="936"/>
                  </a:lnTo>
                  <a:lnTo>
                    <a:pt x="390" y="930"/>
                  </a:lnTo>
                  <a:lnTo>
                    <a:pt x="390" y="924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66" y="924"/>
                  </a:lnTo>
                  <a:lnTo>
                    <a:pt x="360" y="924"/>
                  </a:lnTo>
                  <a:lnTo>
                    <a:pt x="348" y="918"/>
                  </a:lnTo>
                  <a:lnTo>
                    <a:pt x="342" y="906"/>
                  </a:lnTo>
                  <a:lnTo>
                    <a:pt x="336" y="906"/>
                  </a:lnTo>
                  <a:lnTo>
                    <a:pt x="330" y="906"/>
                  </a:lnTo>
                  <a:lnTo>
                    <a:pt x="312" y="906"/>
                  </a:lnTo>
                  <a:lnTo>
                    <a:pt x="312" y="900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888"/>
                  </a:lnTo>
                  <a:lnTo>
                    <a:pt x="312" y="882"/>
                  </a:lnTo>
                  <a:lnTo>
                    <a:pt x="306" y="876"/>
                  </a:lnTo>
                  <a:lnTo>
                    <a:pt x="312" y="876"/>
                  </a:lnTo>
                  <a:lnTo>
                    <a:pt x="312" y="870"/>
                  </a:lnTo>
                  <a:lnTo>
                    <a:pt x="318" y="876"/>
                  </a:lnTo>
                  <a:lnTo>
                    <a:pt x="318" y="870"/>
                  </a:lnTo>
                  <a:lnTo>
                    <a:pt x="324" y="876"/>
                  </a:lnTo>
                  <a:lnTo>
                    <a:pt x="330" y="876"/>
                  </a:lnTo>
                  <a:lnTo>
                    <a:pt x="336" y="876"/>
                  </a:lnTo>
                  <a:lnTo>
                    <a:pt x="342" y="876"/>
                  </a:lnTo>
                  <a:lnTo>
                    <a:pt x="336" y="876"/>
                  </a:lnTo>
                  <a:lnTo>
                    <a:pt x="330" y="870"/>
                  </a:lnTo>
                  <a:lnTo>
                    <a:pt x="324" y="870"/>
                  </a:lnTo>
                  <a:lnTo>
                    <a:pt x="318" y="870"/>
                  </a:lnTo>
                  <a:lnTo>
                    <a:pt x="312" y="870"/>
                  </a:lnTo>
                  <a:lnTo>
                    <a:pt x="318" y="864"/>
                  </a:lnTo>
                  <a:lnTo>
                    <a:pt x="318" y="858"/>
                  </a:lnTo>
                  <a:lnTo>
                    <a:pt x="318" y="852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6" y="846"/>
                  </a:lnTo>
                  <a:lnTo>
                    <a:pt x="312" y="828"/>
                  </a:lnTo>
                  <a:lnTo>
                    <a:pt x="312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06" y="816"/>
                  </a:lnTo>
                  <a:lnTo>
                    <a:pt x="306" y="810"/>
                  </a:lnTo>
                  <a:lnTo>
                    <a:pt x="306" y="816"/>
                  </a:lnTo>
                  <a:lnTo>
                    <a:pt x="312" y="822"/>
                  </a:lnTo>
                  <a:lnTo>
                    <a:pt x="306" y="822"/>
                  </a:lnTo>
                  <a:lnTo>
                    <a:pt x="306" y="828"/>
                  </a:lnTo>
                  <a:lnTo>
                    <a:pt x="306" y="834"/>
                  </a:lnTo>
                  <a:lnTo>
                    <a:pt x="300" y="840"/>
                  </a:lnTo>
                  <a:lnTo>
                    <a:pt x="300" y="846"/>
                  </a:lnTo>
                  <a:lnTo>
                    <a:pt x="306" y="852"/>
                  </a:lnTo>
                  <a:lnTo>
                    <a:pt x="306" y="858"/>
                  </a:lnTo>
                  <a:lnTo>
                    <a:pt x="312" y="858"/>
                  </a:lnTo>
                  <a:lnTo>
                    <a:pt x="312" y="864"/>
                  </a:lnTo>
                  <a:lnTo>
                    <a:pt x="306" y="864"/>
                  </a:lnTo>
                  <a:lnTo>
                    <a:pt x="300" y="864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82" y="870"/>
                  </a:lnTo>
                  <a:lnTo>
                    <a:pt x="276" y="870"/>
                  </a:lnTo>
                  <a:lnTo>
                    <a:pt x="270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8" y="870"/>
                  </a:lnTo>
                  <a:lnTo>
                    <a:pt x="252" y="870"/>
                  </a:lnTo>
                  <a:lnTo>
                    <a:pt x="252" y="864"/>
                  </a:lnTo>
                  <a:lnTo>
                    <a:pt x="246" y="858"/>
                  </a:lnTo>
                  <a:lnTo>
                    <a:pt x="246" y="852"/>
                  </a:lnTo>
                  <a:lnTo>
                    <a:pt x="246" y="846"/>
                  </a:lnTo>
                  <a:lnTo>
                    <a:pt x="246" y="840"/>
                  </a:lnTo>
                  <a:lnTo>
                    <a:pt x="246" y="834"/>
                  </a:lnTo>
                  <a:lnTo>
                    <a:pt x="246" y="828"/>
                  </a:lnTo>
                  <a:lnTo>
                    <a:pt x="246" y="822"/>
                  </a:lnTo>
                  <a:lnTo>
                    <a:pt x="240" y="816"/>
                  </a:lnTo>
                  <a:lnTo>
                    <a:pt x="240" y="810"/>
                  </a:lnTo>
                  <a:lnTo>
                    <a:pt x="240" y="804"/>
                  </a:lnTo>
                  <a:lnTo>
                    <a:pt x="240" y="798"/>
                  </a:lnTo>
                  <a:lnTo>
                    <a:pt x="234" y="798"/>
                  </a:lnTo>
                  <a:lnTo>
                    <a:pt x="234" y="792"/>
                  </a:lnTo>
                  <a:lnTo>
                    <a:pt x="234" y="786"/>
                  </a:lnTo>
                  <a:lnTo>
                    <a:pt x="234" y="780"/>
                  </a:lnTo>
                  <a:lnTo>
                    <a:pt x="228" y="780"/>
                  </a:lnTo>
                  <a:lnTo>
                    <a:pt x="228" y="774"/>
                  </a:lnTo>
                  <a:lnTo>
                    <a:pt x="228" y="768"/>
                  </a:lnTo>
                  <a:lnTo>
                    <a:pt x="222" y="762"/>
                  </a:lnTo>
                  <a:lnTo>
                    <a:pt x="222" y="756"/>
                  </a:lnTo>
                  <a:lnTo>
                    <a:pt x="222" y="750"/>
                  </a:lnTo>
                  <a:lnTo>
                    <a:pt x="222" y="744"/>
                  </a:lnTo>
                  <a:lnTo>
                    <a:pt x="222" y="738"/>
                  </a:lnTo>
                  <a:lnTo>
                    <a:pt x="216" y="732"/>
                  </a:lnTo>
                  <a:lnTo>
                    <a:pt x="222" y="732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32"/>
                  </a:lnTo>
                  <a:lnTo>
                    <a:pt x="246" y="732"/>
                  </a:lnTo>
                  <a:lnTo>
                    <a:pt x="246" y="738"/>
                  </a:lnTo>
                  <a:lnTo>
                    <a:pt x="252" y="738"/>
                  </a:lnTo>
                  <a:lnTo>
                    <a:pt x="258" y="738"/>
                  </a:lnTo>
                  <a:lnTo>
                    <a:pt x="258" y="732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8" y="732"/>
                  </a:lnTo>
                  <a:lnTo>
                    <a:pt x="294" y="732"/>
                  </a:lnTo>
                  <a:lnTo>
                    <a:pt x="300" y="732"/>
                  </a:lnTo>
                  <a:lnTo>
                    <a:pt x="300" y="738"/>
                  </a:lnTo>
                  <a:lnTo>
                    <a:pt x="306" y="738"/>
                  </a:lnTo>
                  <a:lnTo>
                    <a:pt x="306" y="744"/>
                  </a:lnTo>
                  <a:lnTo>
                    <a:pt x="306" y="750"/>
                  </a:lnTo>
                  <a:lnTo>
                    <a:pt x="312" y="750"/>
                  </a:lnTo>
                  <a:lnTo>
                    <a:pt x="312" y="756"/>
                  </a:lnTo>
                  <a:lnTo>
                    <a:pt x="318" y="756"/>
                  </a:lnTo>
                  <a:lnTo>
                    <a:pt x="318" y="750"/>
                  </a:lnTo>
                  <a:lnTo>
                    <a:pt x="312" y="750"/>
                  </a:lnTo>
                  <a:lnTo>
                    <a:pt x="312" y="744"/>
                  </a:lnTo>
                  <a:lnTo>
                    <a:pt x="318" y="738"/>
                  </a:lnTo>
                  <a:lnTo>
                    <a:pt x="324" y="738"/>
                  </a:lnTo>
                  <a:lnTo>
                    <a:pt x="330" y="738"/>
                  </a:lnTo>
                  <a:lnTo>
                    <a:pt x="336" y="738"/>
                  </a:lnTo>
                  <a:lnTo>
                    <a:pt x="342" y="738"/>
                  </a:lnTo>
                  <a:lnTo>
                    <a:pt x="348" y="732"/>
                  </a:lnTo>
                  <a:lnTo>
                    <a:pt x="354" y="732"/>
                  </a:lnTo>
                  <a:lnTo>
                    <a:pt x="360" y="732"/>
                  </a:lnTo>
                  <a:lnTo>
                    <a:pt x="360" y="726"/>
                  </a:lnTo>
                  <a:lnTo>
                    <a:pt x="366" y="726"/>
                  </a:lnTo>
                  <a:lnTo>
                    <a:pt x="366" y="720"/>
                  </a:lnTo>
                  <a:lnTo>
                    <a:pt x="366" y="714"/>
                  </a:lnTo>
                  <a:lnTo>
                    <a:pt x="360" y="708"/>
                  </a:lnTo>
                  <a:lnTo>
                    <a:pt x="354" y="708"/>
                  </a:lnTo>
                  <a:lnTo>
                    <a:pt x="348" y="702"/>
                  </a:lnTo>
                  <a:lnTo>
                    <a:pt x="354" y="702"/>
                  </a:lnTo>
                  <a:lnTo>
                    <a:pt x="354" y="696"/>
                  </a:lnTo>
                  <a:lnTo>
                    <a:pt x="348" y="696"/>
                  </a:lnTo>
                  <a:lnTo>
                    <a:pt x="348" y="690"/>
                  </a:lnTo>
                  <a:lnTo>
                    <a:pt x="342" y="690"/>
                  </a:lnTo>
                  <a:lnTo>
                    <a:pt x="342" y="684"/>
                  </a:lnTo>
                  <a:lnTo>
                    <a:pt x="342" y="678"/>
                  </a:lnTo>
                  <a:lnTo>
                    <a:pt x="342" y="666"/>
                  </a:lnTo>
                  <a:lnTo>
                    <a:pt x="342" y="660"/>
                  </a:lnTo>
                  <a:lnTo>
                    <a:pt x="348" y="654"/>
                  </a:lnTo>
                  <a:lnTo>
                    <a:pt x="348" y="642"/>
                  </a:lnTo>
                  <a:lnTo>
                    <a:pt x="354" y="642"/>
                  </a:lnTo>
                  <a:lnTo>
                    <a:pt x="360" y="642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66" y="642"/>
                  </a:lnTo>
                  <a:lnTo>
                    <a:pt x="372" y="642"/>
                  </a:lnTo>
                  <a:lnTo>
                    <a:pt x="378" y="642"/>
                  </a:lnTo>
                  <a:lnTo>
                    <a:pt x="384" y="642"/>
                  </a:lnTo>
                  <a:lnTo>
                    <a:pt x="390" y="642"/>
                  </a:lnTo>
                  <a:lnTo>
                    <a:pt x="396" y="642"/>
                  </a:lnTo>
                  <a:lnTo>
                    <a:pt x="396" y="636"/>
                  </a:lnTo>
                  <a:lnTo>
                    <a:pt x="402" y="636"/>
                  </a:lnTo>
                  <a:lnTo>
                    <a:pt x="408" y="636"/>
                  </a:lnTo>
                  <a:lnTo>
                    <a:pt x="402" y="636"/>
                  </a:lnTo>
                  <a:lnTo>
                    <a:pt x="402" y="630"/>
                  </a:lnTo>
                  <a:lnTo>
                    <a:pt x="408" y="630"/>
                  </a:lnTo>
                  <a:lnTo>
                    <a:pt x="408" y="624"/>
                  </a:lnTo>
                  <a:lnTo>
                    <a:pt x="408" y="618"/>
                  </a:lnTo>
                  <a:lnTo>
                    <a:pt x="414" y="618"/>
                  </a:lnTo>
                  <a:lnTo>
                    <a:pt x="420" y="618"/>
                  </a:lnTo>
                  <a:lnTo>
                    <a:pt x="426" y="624"/>
                  </a:lnTo>
                  <a:lnTo>
                    <a:pt x="432" y="624"/>
                  </a:lnTo>
                  <a:lnTo>
                    <a:pt x="438" y="624"/>
                  </a:lnTo>
                  <a:lnTo>
                    <a:pt x="438" y="618"/>
                  </a:lnTo>
                  <a:lnTo>
                    <a:pt x="444" y="618"/>
                  </a:lnTo>
                  <a:lnTo>
                    <a:pt x="450" y="618"/>
                  </a:lnTo>
                  <a:lnTo>
                    <a:pt x="444" y="618"/>
                  </a:lnTo>
                  <a:lnTo>
                    <a:pt x="438" y="618"/>
                  </a:lnTo>
                  <a:lnTo>
                    <a:pt x="438" y="612"/>
                  </a:lnTo>
                  <a:lnTo>
                    <a:pt x="438" y="618"/>
                  </a:lnTo>
                  <a:lnTo>
                    <a:pt x="432" y="624"/>
                  </a:lnTo>
                  <a:lnTo>
                    <a:pt x="426" y="618"/>
                  </a:lnTo>
                  <a:lnTo>
                    <a:pt x="420" y="612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402" y="624"/>
                  </a:lnTo>
                  <a:lnTo>
                    <a:pt x="396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78" y="630"/>
                  </a:lnTo>
                  <a:lnTo>
                    <a:pt x="378" y="636"/>
                  </a:lnTo>
                  <a:lnTo>
                    <a:pt x="372" y="630"/>
                  </a:lnTo>
                  <a:lnTo>
                    <a:pt x="366" y="630"/>
                  </a:lnTo>
                  <a:lnTo>
                    <a:pt x="360" y="630"/>
                  </a:lnTo>
                  <a:lnTo>
                    <a:pt x="354" y="630"/>
                  </a:lnTo>
                  <a:lnTo>
                    <a:pt x="354" y="636"/>
                  </a:lnTo>
                  <a:lnTo>
                    <a:pt x="348" y="636"/>
                  </a:lnTo>
                  <a:lnTo>
                    <a:pt x="348" y="642"/>
                  </a:lnTo>
                  <a:lnTo>
                    <a:pt x="342" y="642"/>
                  </a:lnTo>
                  <a:lnTo>
                    <a:pt x="342" y="648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6" y="660"/>
                  </a:lnTo>
                  <a:lnTo>
                    <a:pt x="336" y="666"/>
                  </a:lnTo>
                  <a:lnTo>
                    <a:pt x="330" y="672"/>
                  </a:lnTo>
                  <a:lnTo>
                    <a:pt x="330" y="678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24" y="696"/>
                  </a:lnTo>
                  <a:lnTo>
                    <a:pt x="324" y="702"/>
                  </a:lnTo>
                  <a:lnTo>
                    <a:pt x="318" y="702"/>
                  </a:lnTo>
                  <a:lnTo>
                    <a:pt x="318" y="708"/>
                  </a:lnTo>
                  <a:lnTo>
                    <a:pt x="312" y="708"/>
                  </a:lnTo>
                  <a:lnTo>
                    <a:pt x="312" y="702"/>
                  </a:lnTo>
                  <a:lnTo>
                    <a:pt x="306" y="702"/>
                  </a:lnTo>
                  <a:lnTo>
                    <a:pt x="300" y="702"/>
                  </a:lnTo>
                  <a:lnTo>
                    <a:pt x="294" y="696"/>
                  </a:lnTo>
                  <a:lnTo>
                    <a:pt x="288" y="696"/>
                  </a:lnTo>
                  <a:lnTo>
                    <a:pt x="282" y="690"/>
                  </a:lnTo>
                  <a:lnTo>
                    <a:pt x="288" y="684"/>
                  </a:lnTo>
                  <a:lnTo>
                    <a:pt x="294" y="684"/>
                  </a:lnTo>
                  <a:lnTo>
                    <a:pt x="294" y="678"/>
                  </a:lnTo>
                  <a:lnTo>
                    <a:pt x="300" y="678"/>
                  </a:lnTo>
                  <a:lnTo>
                    <a:pt x="294" y="678"/>
                  </a:lnTo>
                  <a:lnTo>
                    <a:pt x="294" y="672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94" y="672"/>
                  </a:lnTo>
                  <a:lnTo>
                    <a:pt x="288" y="678"/>
                  </a:lnTo>
                  <a:lnTo>
                    <a:pt x="282" y="684"/>
                  </a:lnTo>
                  <a:lnTo>
                    <a:pt x="282" y="678"/>
                  </a:lnTo>
                  <a:lnTo>
                    <a:pt x="276" y="678"/>
                  </a:lnTo>
                  <a:lnTo>
                    <a:pt x="282" y="684"/>
                  </a:lnTo>
                  <a:lnTo>
                    <a:pt x="282" y="690"/>
                  </a:lnTo>
                  <a:lnTo>
                    <a:pt x="282" y="696"/>
                  </a:lnTo>
                  <a:lnTo>
                    <a:pt x="288" y="702"/>
                  </a:lnTo>
                  <a:lnTo>
                    <a:pt x="294" y="708"/>
                  </a:lnTo>
                  <a:lnTo>
                    <a:pt x="294" y="714"/>
                  </a:lnTo>
                  <a:lnTo>
                    <a:pt x="288" y="714"/>
                  </a:lnTo>
                  <a:lnTo>
                    <a:pt x="282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64" y="714"/>
                  </a:lnTo>
                  <a:lnTo>
                    <a:pt x="258" y="714"/>
                  </a:lnTo>
                  <a:lnTo>
                    <a:pt x="252" y="714"/>
                  </a:lnTo>
                  <a:lnTo>
                    <a:pt x="246" y="714"/>
                  </a:lnTo>
                  <a:lnTo>
                    <a:pt x="240" y="714"/>
                  </a:lnTo>
                  <a:lnTo>
                    <a:pt x="240" y="708"/>
                  </a:lnTo>
                  <a:lnTo>
                    <a:pt x="234" y="708"/>
                  </a:lnTo>
                  <a:lnTo>
                    <a:pt x="228" y="708"/>
                  </a:lnTo>
                  <a:lnTo>
                    <a:pt x="222" y="702"/>
                  </a:lnTo>
                  <a:lnTo>
                    <a:pt x="216" y="702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2" y="690"/>
                  </a:lnTo>
                  <a:lnTo>
                    <a:pt x="186" y="690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68" y="684"/>
                  </a:lnTo>
                  <a:lnTo>
                    <a:pt x="168" y="678"/>
                  </a:lnTo>
                  <a:lnTo>
                    <a:pt x="156" y="672"/>
                  </a:lnTo>
                  <a:lnTo>
                    <a:pt x="150" y="660"/>
                  </a:lnTo>
                  <a:lnTo>
                    <a:pt x="126" y="630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12"/>
                  </a:lnTo>
                  <a:lnTo>
                    <a:pt x="126" y="606"/>
                  </a:lnTo>
                  <a:lnTo>
                    <a:pt x="126" y="600"/>
                  </a:lnTo>
                  <a:lnTo>
                    <a:pt x="132" y="594"/>
                  </a:lnTo>
                  <a:lnTo>
                    <a:pt x="138" y="594"/>
                  </a:lnTo>
                  <a:lnTo>
                    <a:pt x="144" y="588"/>
                  </a:lnTo>
                  <a:lnTo>
                    <a:pt x="144" y="582"/>
                  </a:lnTo>
                  <a:lnTo>
                    <a:pt x="150" y="582"/>
                  </a:lnTo>
                  <a:lnTo>
                    <a:pt x="150" y="576"/>
                  </a:lnTo>
                  <a:lnTo>
                    <a:pt x="156" y="576"/>
                  </a:lnTo>
                  <a:lnTo>
                    <a:pt x="156" y="582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8" y="576"/>
                  </a:lnTo>
                  <a:lnTo>
                    <a:pt x="174" y="576"/>
                  </a:lnTo>
                  <a:lnTo>
                    <a:pt x="180" y="582"/>
                  </a:lnTo>
                  <a:lnTo>
                    <a:pt x="192" y="582"/>
                  </a:lnTo>
                  <a:lnTo>
                    <a:pt x="198" y="582"/>
                  </a:lnTo>
                  <a:lnTo>
                    <a:pt x="204" y="582"/>
                  </a:lnTo>
                  <a:lnTo>
                    <a:pt x="210" y="582"/>
                  </a:lnTo>
                  <a:lnTo>
                    <a:pt x="216" y="588"/>
                  </a:lnTo>
                  <a:lnTo>
                    <a:pt x="222" y="588"/>
                  </a:lnTo>
                  <a:lnTo>
                    <a:pt x="234" y="588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46" y="594"/>
                  </a:lnTo>
                  <a:lnTo>
                    <a:pt x="252" y="588"/>
                  </a:lnTo>
                  <a:lnTo>
                    <a:pt x="258" y="588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52" y="600"/>
                  </a:lnTo>
                  <a:lnTo>
                    <a:pt x="246" y="600"/>
                  </a:lnTo>
                  <a:lnTo>
                    <a:pt x="246" y="606"/>
                  </a:lnTo>
                  <a:lnTo>
                    <a:pt x="246" y="600"/>
                  </a:lnTo>
                  <a:lnTo>
                    <a:pt x="252" y="600"/>
                  </a:lnTo>
                  <a:lnTo>
                    <a:pt x="258" y="594"/>
                  </a:lnTo>
                  <a:lnTo>
                    <a:pt x="264" y="594"/>
                  </a:lnTo>
                  <a:lnTo>
                    <a:pt x="264" y="588"/>
                  </a:lnTo>
                  <a:lnTo>
                    <a:pt x="270" y="588"/>
                  </a:lnTo>
                  <a:lnTo>
                    <a:pt x="270" y="582"/>
                  </a:lnTo>
                  <a:lnTo>
                    <a:pt x="270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76" y="564"/>
                  </a:lnTo>
                  <a:lnTo>
                    <a:pt x="270" y="558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58"/>
                  </a:lnTo>
                  <a:lnTo>
                    <a:pt x="282" y="558"/>
                  </a:lnTo>
                  <a:lnTo>
                    <a:pt x="288" y="558"/>
                  </a:lnTo>
                  <a:lnTo>
                    <a:pt x="294" y="558"/>
                  </a:lnTo>
                  <a:lnTo>
                    <a:pt x="300" y="558"/>
                  </a:lnTo>
                  <a:lnTo>
                    <a:pt x="306" y="558"/>
                  </a:lnTo>
                  <a:lnTo>
                    <a:pt x="312" y="558"/>
                  </a:lnTo>
                  <a:lnTo>
                    <a:pt x="318" y="558"/>
                  </a:lnTo>
                  <a:lnTo>
                    <a:pt x="318" y="564"/>
                  </a:lnTo>
                  <a:lnTo>
                    <a:pt x="324" y="564"/>
                  </a:lnTo>
                  <a:lnTo>
                    <a:pt x="324" y="570"/>
                  </a:lnTo>
                  <a:lnTo>
                    <a:pt x="330" y="570"/>
                  </a:lnTo>
                  <a:lnTo>
                    <a:pt x="336" y="570"/>
                  </a:lnTo>
                  <a:lnTo>
                    <a:pt x="342" y="570"/>
                  </a:lnTo>
                  <a:lnTo>
                    <a:pt x="348" y="570"/>
                  </a:lnTo>
                  <a:lnTo>
                    <a:pt x="354" y="570"/>
                  </a:lnTo>
                  <a:lnTo>
                    <a:pt x="360" y="570"/>
                  </a:lnTo>
                  <a:lnTo>
                    <a:pt x="366" y="570"/>
                  </a:lnTo>
                  <a:lnTo>
                    <a:pt x="360" y="570"/>
                  </a:lnTo>
                  <a:lnTo>
                    <a:pt x="360" y="564"/>
                  </a:lnTo>
                  <a:lnTo>
                    <a:pt x="354" y="564"/>
                  </a:lnTo>
                  <a:lnTo>
                    <a:pt x="348" y="564"/>
                  </a:lnTo>
                  <a:lnTo>
                    <a:pt x="342" y="564"/>
                  </a:lnTo>
                  <a:lnTo>
                    <a:pt x="342" y="570"/>
                  </a:lnTo>
                  <a:lnTo>
                    <a:pt x="336" y="564"/>
                  </a:lnTo>
                  <a:lnTo>
                    <a:pt x="336" y="570"/>
                  </a:lnTo>
                  <a:lnTo>
                    <a:pt x="336" y="564"/>
                  </a:lnTo>
                  <a:lnTo>
                    <a:pt x="330" y="564"/>
                  </a:lnTo>
                  <a:lnTo>
                    <a:pt x="324" y="558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18" y="558"/>
                  </a:lnTo>
                  <a:lnTo>
                    <a:pt x="312" y="552"/>
                  </a:lnTo>
                  <a:lnTo>
                    <a:pt x="312" y="558"/>
                  </a:lnTo>
                  <a:lnTo>
                    <a:pt x="312" y="552"/>
                  </a:lnTo>
                  <a:lnTo>
                    <a:pt x="306" y="552"/>
                  </a:lnTo>
                  <a:lnTo>
                    <a:pt x="300" y="546"/>
                  </a:lnTo>
                  <a:lnTo>
                    <a:pt x="294" y="546"/>
                  </a:lnTo>
                  <a:lnTo>
                    <a:pt x="288" y="546"/>
                  </a:lnTo>
                  <a:lnTo>
                    <a:pt x="282" y="546"/>
                  </a:lnTo>
                  <a:lnTo>
                    <a:pt x="276" y="546"/>
                  </a:lnTo>
                  <a:lnTo>
                    <a:pt x="276" y="552"/>
                  </a:lnTo>
                  <a:lnTo>
                    <a:pt x="270" y="552"/>
                  </a:lnTo>
                  <a:lnTo>
                    <a:pt x="270" y="558"/>
                  </a:lnTo>
                  <a:lnTo>
                    <a:pt x="270" y="564"/>
                  </a:lnTo>
                  <a:lnTo>
                    <a:pt x="264" y="570"/>
                  </a:lnTo>
                  <a:lnTo>
                    <a:pt x="258" y="576"/>
                  </a:lnTo>
                  <a:lnTo>
                    <a:pt x="258" y="582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34" y="576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16" y="552"/>
                  </a:lnTo>
                  <a:lnTo>
                    <a:pt x="216" y="546"/>
                  </a:lnTo>
                  <a:lnTo>
                    <a:pt x="216" y="540"/>
                  </a:lnTo>
                  <a:lnTo>
                    <a:pt x="222" y="534"/>
                  </a:lnTo>
                  <a:lnTo>
                    <a:pt x="222" y="528"/>
                  </a:lnTo>
                  <a:lnTo>
                    <a:pt x="228" y="522"/>
                  </a:lnTo>
                  <a:lnTo>
                    <a:pt x="228" y="516"/>
                  </a:lnTo>
                  <a:lnTo>
                    <a:pt x="228" y="510"/>
                  </a:lnTo>
                  <a:lnTo>
                    <a:pt x="234" y="510"/>
                  </a:lnTo>
                  <a:lnTo>
                    <a:pt x="240" y="516"/>
                  </a:lnTo>
                  <a:lnTo>
                    <a:pt x="246" y="522"/>
                  </a:lnTo>
                  <a:lnTo>
                    <a:pt x="246" y="516"/>
                  </a:lnTo>
                  <a:lnTo>
                    <a:pt x="240" y="516"/>
                  </a:lnTo>
                  <a:lnTo>
                    <a:pt x="240" y="510"/>
                  </a:lnTo>
                  <a:lnTo>
                    <a:pt x="234" y="510"/>
                  </a:lnTo>
                  <a:lnTo>
                    <a:pt x="234" y="504"/>
                  </a:lnTo>
                  <a:lnTo>
                    <a:pt x="228" y="504"/>
                  </a:lnTo>
                  <a:lnTo>
                    <a:pt x="222" y="504"/>
                  </a:lnTo>
                  <a:lnTo>
                    <a:pt x="222" y="498"/>
                  </a:lnTo>
                  <a:lnTo>
                    <a:pt x="222" y="504"/>
                  </a:lnTo>
                  <a:lnTo>
                    <a:pt x="222" y="510"/>
                  </a:lnTo>
                  <a:lnTo>
                    <a:pt x="222" y="516"/>
                  </a:lnTo>
                  <a:lnTo>
                    <a:pt x="216" y="522"/>
                  </a:lnTo>
                  <a:lnTo>
                    <a:pt x="216" y="528"/>
                  </a:lnTo>
                  <a:lnTo>
                    <a:pt x="210" y="528"/>
                  </a:lnTo>
                  <a:lnTo>
                    <a:pt x="216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04" y="546"/>
                  </a:lnTo>
                  <a:lnTo>
                    <a:pt x="204" y="552"/>
                  </a:lnTo>
                  <a:lnTo>
                    <a:pt x="204" y="558"/>
                  </a:lnTo>
                  <a:lnTo>
                    <a:pt x="204" y="564"/>
                  </a:lnTo>
                  <a:lnTo>
                    <a:pt x="198" y="570"/>
                  </a:lnTo>
                  <a:lnTo>
                    <a:pt x="192" y="564"/>
                  </a:lnTo>
                  <a:lnTo>
                    <a:pt x="186" y="564"/>
                  </a:lnTo>
                  <a:lnTo>
                    <a:pt x="180" y="564"/>
                  </a:lnTo>
                  <a:lnTo>
                    <a:pt x="174" y="564"/>
                  </a:lnTo>
                  <a:lnTo>
                    <a:pt x="168" y="564"/>
                  </a:lnTo>
                  <a:lnTo>
                    <a:pt x="162" y="564"/>
                  </a:lnTo>
                  <a:lnTo>
                    <a:pt x="156" y="570"/>
                  </a:lnTo>
                  <a:lnTo>
                    <a:pt x="150" y="570"/>
                  </a:lnTo>
                  <a:lnTo>
                    <a:pt x="150" y="564"/>
                  </a:lnTo>
                  <a:lnTo>
                    <a:pt x="150" y="570"/>
                  </a:lnTo>
                  <a:lnTo>
                    <a:pt x="150" y="576"/>
                  </a:lnTo>
                  <a:lnTo>
                    <a:pt x="144" y="576"/>
                  </a:lnTo>
                  <a:lnTo>
                    <a:pt x="138" y="576"/>
                  </a:lnTo>
                  <a:lnTo>
                    <a:pt x="132" y="582"/>
                  </a:lnTo>
                  <a:lnTo>
                    <a:pt x="126" y="582"/>
                  </a:lnTo>
                  <a:lnTo>
                    <a:pt x="120" y="582"/>
                  </a:lnTo>
                  <a:lnTo>
                    <a:pt x="114" y="576"/>
                  </a:lnTo>
                  <a:lnTo>
                    <a:pt x="108" y="564"/>
                  </a:lnTo>
                  <a:lnTo>
                    <a:pt x="102" y="558"/>
                  </a:lnTo>
                  <a:lnTo>
                    <a:pt x="96" y="552"/>
                  </a:lnTo>
                  <a:lnTo>
                    <a:pt x="90" y="546"/>
                  </a:lnTo>
                  <a:lnTo>
                    <a:pt x="90" y="540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2"/>
                  </a:lnTo>
                  <a:lnTo>
                    <a:pt x="78" y="516"/>
                  </a:lnTo>
                  <a:lnTo>
                    <a:pt x="72" y="510"/>
                  </a:lnTo>
                  <a:lnTo>
                    <a:pt x="66" y="504"/>
                  </a:lnTo>
                  <a:lnTo>
                    <a:pt x="66" y="498"/>
                  </a:lnTo>
                  <a:lnTo>
                    <a:pt x="66" y="492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6" y="474"/>
                  </a:lnTo>
                  <a:lnTo>
                    <a:pt x="72" y="474"/>
                  </a:lnTo>
                  <a:lnTo>
                    <a:pt x="72" y="468"/>
                  </a:lnTo>
                  <a:lnTo>
                    <a:pt x="78" y="462"/>
                  </a:lnTo>
                  <a:lnTo>
                    <a:pt x="78" y="456"/>
                  </a:lnTo>
                  <a:lnTo>
                    <a:pt x="84" y="456"/>
                  </a:lnTo>
                  <a:lnTo>
                    <a:pt x="84" y="450"/>
                  </a:lnTo>
                  <a:lnTo>
                    <a:pt x="84" y="444"/>
                  </a:lnTo>
                  <a:lnTo>
                    <a:pt x="90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02" y="450"/>
                  </a:lnTo>
                  <a:lnTo>
                    <a:pt x="108" y="450"/>
                  </a:lnTo>
                  <a:lnTo>
                    <a:pt x="108" y="456"/>
                  </a:lnTo>
                  <a:lnTo>
                    <a:pt x="108" y="462"/>
                  </a:lnTo>
                  <a:lnTo>
                    <a:pt x="114" y="462"/>
                  </a:lnTo>
                  <a:lnTo>
                    <a:pt x="114" y="468"/>
                  </a:lnTo>
                  <a:lnTo>
                    <a:pt x="114" y="474"/>
                  </a:lnTo>
                  <a:lnTo>
                    <a:pt x="114" y="480"/>
                  </a:lnTo>
                  <a:lnTo>
                    <a:pt x="114" y="486"/>
                  </a:lnTo>
                  <a:lnTo>
                    <a:pt x="120" y="486"/>
                  </a:lnTo>
                  <a:lnTo>
                    <a:pt x="126" y="486"/>
                  </a:lnTo>
                  <a:lnTo>
                    <a:pt x="132" y="486"/>
                  </a:lnTo>
                  <a:lnTo>
                    <a:pt x="126" y="480"/>
                  </a:lnTo>
                  <a:lnTo>
                    <a:pt x="120" y="480"/>
                  </a:lnTo>
                  <a:lnTo>
                    <a:pt x="114" y="480"/>
                  </a:lnTo>
                  <a:lnTo>
                    <a:pt x="120" y="480"/>
                  </a:lnTo>
                  <a:lnTo>
                    <a:pt x="120" y="474"/>
                  </a:lnTo>
                  <a:lnTo>
                    <a:pt x="120" y="468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108" y="450"/>
                  </a:lnTo>
                  <a:lnTo>
                    <a:pt x="108" y="444"/>
                  </a:lnTo>
                  <a:lnTo>
                    <a:pt x="114" y="438"/>
                  </a:lnTo>
                  <a:lnTo>
                    <a:pt x="120" y="438"/>
                  </a:lnTo>
                  <a:lnTo>
                    <a:pt x="120" y="432"/>
                  </a:lnTo>
                  <a:lnTo>
                    <a:pt x="132" y="426"/>
                  </a:lnTo>
                  <a:lnTo>
                    <a:pt x="138" y="420"/>
                  </a:lnTo>
                  <a:lnTo>
                    <a:pt x="144" y="420"/>
                  </a:lnTo>
                  <a:lnTo>
                    <a:pt x="144" y="414"/>
                  </a:lnTo>
                  <a:lnTo>
                    <a:pt x="144" y="420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6" y="414"/>
                  </a:lnTo>
                  <a:lnTo>
                    <a:pt x="162" y="414"/>
                  </a:lnTo>
                  <a:lnTo>
                    <a:pt x="162" y="408"/>
                  </a:lnTo>
                  <a:lnTo>
                    <a:pt x="168" y="408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86" y="396"/>
                  </a:lnTo>
                  <a:lnTo>
                    <a:pt x="186" y="390"/>
                  </a:lnTo>
                  <a:lnTo>
                    <a:pt x="192" y="390"/>
                  </a:lnTo>
                  <a:lnTo>
                    <a:pt x="198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210" y="378"/>
                  </a:lnTo>
                  <a:lnTo>
                    <a:pt x="210" y="372"/>
                  </a:lnTo>
                  <a:lnTo>
                    <a:pt x="216" y="372"/>
                  </a:lnTo>
                  <a:lnTo>
                    <a:pt x="222" y="366"/>
                  </a:lnTo>
                  <a:lnTo>
                    <a:pt x="228" y="360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6" y="348"/>
                  </a:lnTo>
                  <a:lnTo>
                    <a:pt x="252" y="348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0" y="342"/>
                  </a:lnTo>
                  <a:lnTo>
                    <a:pt x="234" y="342"/>
                  </a:lnTo>
                  <a:lnTo>
                    <a:pt x="228" y="336"/>
                  </a:lnTo>
                  <a:lnTo>
                    <a:pt x="222" y="336"/>
                  </a:lnTo>
                  <a:lnTo>
                    <a:pt x="216" y="336"/>
                  </a:lnTo>
                  <a:lnTo>
                    <a:pt x="222" y="324"/>
                  </a:lnTo>
                  <a:lnTo>
                    <a:pt x="222" y="318"/>
                  </a:lnTo>
                  <a:lnTo>
                    <a:pt x="222" y="312"/>
                  </a:lnTo>
                  <a:lnTo>
                    <a:pt x="234" y="318"/>
                  </a:lnTo>
                  <a:lnTo>
                    <a:pt x="246" y="318"/>
                  </a:lnTo>
                  <a:lnTo>
                    <a:pt x="258" y="318"/>
                  </a:lnTo>
                  <a:lnTo>
                    <a:pt x="270" y="312"/>
                  </a:lnTo>
                  <a:lnTo>
                    <a:pt x="276" y="312"/>
                  </a:lnTo>
                  <a:lnTo>
                    <a:pt x="288" y="324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94" y="306"/>
                  </a:lnTo>
                  <a:lnTo>
                    <a:pt x="300" y="300"/>
                  </a:lnTo>
                  <a:lnTo>
                    <a:pt x="306" y="306"/>
                  </a:lnTo>
                  <a:lnTo>
                    <a:pt x="312" y="318"/>
                  </a:lnTo>
                  <a:lnTo>
                    <a:pt x="318" y="312"/>
                  </a:lnTo>
                  <a:lnTo>
                    <a:pt x="324" y="312"/>
                  </a:lnTo>
                  <a:lnTo>
                    <a:pt x="330" y="312"/>
                  </a:lnTo>
                  <a:lnTo>
                    <a:pt x="342" y="306"/>
                  </a:lnTo>
                  <a:lnTo>
                    <a:pt x="348" y="306"/>
                  </a:lnTo>
                  <a:lnTo>
                    <a:pt x="348" y="312"/>
                  </a:lnTo>
                  <a:lnTo>
                    <a:pt x="348" y="318"/>
                  </a:lnTo>
                  <a:lnTo>
                    <a:pt x="354" y="318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60" y="336"/>
                  </a:lnTo>
                  <a:lnTo>
                    <a:pt x="366" y="330"/>
                  </a:lnTo>
                  <a:lnTo>
                    <a:pt x="378" y="324"/>
                  </a:lnTo>
                  <a:lnTo>
                    <a:pt x="384" y="324"/>
                  </a:lnTo>
                  <a:lnTo>
                    <a:pt x="384" y="318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6"/>
                  </a:lnTo>
                  <a:lnTo>
                    <a:pt x="402" y="306"/>
                  </a:lnTo>
                  <a:lnTo>
                    <a:pt x="408" y="306"/>
                  </a:lnTo>
                  <a:lnTo>
                    <a:pt x="414" y="300"/>
                  </a:lnTo>
                  <a:lnTo>
                    <a:pt x="420" y="300"/>
                  </a:lnTo>
                  <a:lnTo>
                    <a:pt x="426" y="300"/>
                  </a:lnTo>
                  <a:lnTo>
                    <a:pt x="432" y="300"/>
                  </a:lnTo>
                  <a:lnTo>
                    <a:pt x="444" y="288"/>
                  </a:lnTo>
                  <a:lnTo>
                    <a:pt x="450" y="294"/>
                  </a:lnTo>
                  <a:lnTo>
                    <a:pt x="468" y="300"/>
                  </a:lnTo>
                  <a:lnTo>
                    <a:pt x="498" y="312"/>
                  </a:lnTo>
                  <a:lnTo>
                    <a:pt x="504" y="324"/>
                  </a:lnTo>
                  <a:lnTo>
                    <a:pt x="516" y="330"/>
                  </a:lnTo>
                  <a:lnTo>
                    <a:pt x="516" y="336"/>
                  </a:lnTo>
                  <a:lnTo>
                    <a:pt x="540" y="342"/>
                  </a:lnTo>
                  <a:lnTo>
                    <a:pt x="558" y="372"/>
                  </a:lnTo>
                  <a:lnTo>
                    <a:pt x="594" y="384"/>
                  </a:lnTo>
                  <a:lnTo>
                    <a:pt x="606" y="402"/>
                  </a:lnTo>
                  <a:lnTo>
                    <a:pt x="600" y="420"/>
                  </a:lnTo>
                  <a:lnTo>
                    <a:pt x="588" y="444"/>
                  </a:lnTo>
                  <a:lnTo>
                    <a:pt x="588" y="450"/>
                  </a:lnTo>
                  <a:lnTo>
                    <a:pt x="588" y="456"/>
                  </a:lnTo>
                  <a:lnTo>
                    <a:pt x="594" y="456"/>
                  </a:lnTo>
                  <a:lnTo>
                    <a:pt x="594" y="462"/>
                  </a:lnTo>
                  <a:lnTo>
                    <a:pt x="594" y="468"/>
                  </a:lnTo>
                  <a:lnTo>
                    <a:pt x="594" y="474"/>
                  </a:lnTo>
                  <a:lnTo>
                    <a:pt x="600" y="474"/>
                  </a:lnTo>
                  <a:lnTo>
                    <a:pt x="606" y="480"/>
                  </a:lnTo>
                  <a:lnTo>
                    <a:pt x="606" y="486"/>
                  </a:lnTo>
                  <a:lnTo>
                    <a:pt x="612" y="486"/>
                  </a:lnTo>
                  <a:lnTo>
                    <a:pt x="618" y="486"/>
                  </a:lnTo>
                  <a:lnTo>
                    <a:pt x="624" y="486"/>
                  </a:lnTo>
                  <a:lnTo>
                    <a:pt x="636" y="486"/>
                  </a:lnTo>
                  <a:lnTo>
                    <a:pt x="642" y="486"/>
                  </a:lnTo>
                  <a:lnTo>
                    <a:pt x="648" y="480"/>
                  </a:lnTo>
                  <a:lnTo>
                    <a:pt x="654" y="474"/>
                  </a:lnTo>
                  <a:lnTo>
                    <a:pt x="660" y="468"/>
                  </a:lnTo>
                  <a:lnTo>
                    <a:pt x="666" y="468"/>
                  </a:lnTo>
                  <a:lnTo>
                    <a:pt x="684" y="468"/>
                  </a:lnTo>
                  <a:lnTo>
                    <a:pt x="696" y="468"/>
                  </a:lnTo>
                  <a:lnTo>
                    <a:pt x="696" y="462"/>
                  </a:lnTo>
                  <a:lnTo>
                    <a:pt x="702" y="456"/>
                  </a:lnTo>
                  <a:lnTo>
                    <a:pt x="708" y="450"/>
                  </a:lnTo>
                  <a:lnTo>
                    <a:pt x="714" y="450"/>
                  </a:lnTo>
                  <a:lnTo>
                    <a:pt x="720" y="450"/>
                  </a:lnTo>
                  <a:lnTo>
                    <a:pt x="720" y="438"/>
                  </a:lnTo>
                  <a:lnTo>
                    <a:pt x="726" y="432"/>
                  </a:lnTo>
                  <a:lnTo>
                    <a:pt x="738" y="420"/>
                  </a:lnTo>
                  <a:lnTo>
                    <a:pt x="744" y="420"/>
                  </a:lnTo>
                  <a:lnTo>
                    <a:pt x="750" y="414"/>
                  </a:lnTo>
                  <a:lnTo>
                    <a:pt x="762" y="408"/>
                  </a:lnTo>
                  <a:lnTo>
                    <a:pt x="768" y="408"/>
                  </a:lnTo>
                  <a:lnTo>
                    <a:pt x="768" y="402"/>
                  </a:lnTo>
                  <a:lnTo>
                    <a:pt x="780" y="396"/>
                  </a:lnTo>
                  <a:lnTo>
                    <a:pt x="786" y="396"/>
                  </a:lnTo>
                  <a:lnTo>
                    <a:pt x="786" y="390"/>
                  </a:lnTo>
                  <a:lnTo>
                    <a:pt x="792" y="384"/>
                  </a:lnTo>
                  <a:lnTo>
                    <a:pt x="792" y="378"/>
                  </a:lnTo>
                  <a:lnTo>
                    <a:pt x="798" y="366"/>
                  </a:lnTo>
                  <a:lnTo>
                    <a:pt x="804" y="360"/>
                  </a:lnTo>
                  <a:lnTo>
                    <a:pt x="816" y="342"/>
                  </a:lnTo>
                  <a:lnTo>
                    <a:pt x="816" y="312"/>
                  </a:lnTo>
                  <a:lnTo>
                    <a:pt x="804" y="300"/>
                  </a:lnTo>
                  <a:lnTo>
                    <a:pt x="798" y="288"/>
                  </a:lnTo>
                  <a:lnTo>
                    <a:pt x="762" y="264"/>
                  </a:lnTo>
                  <a:lnTo>
                    <a:pt x="738" y="234"/>
                  </a:lnTo>
                  <a:lnTo>
                    <a:pt x="738" y="222"/>
                  </a:lnTo>
                  <a:lnTo>
                    <a:pt x="744" y="210"/>
                  </a:lnTo>
                  <a:lnTo>
                    <a:pt x="732" y="174"/>
                  </a:lnTo>
                  <a:lnTo>
                    <a:pt x="714" y="156"/>
                  </a:lnTo>
                  <a:lnTo>
                    <a:pt x="708" y="144"/>
                  </a:lnTo>
                  <a:lnTo>
                    <a:pt x="714" y="126"/>
                  </a:lnTo>
                  <a:lnTo>
                    <a:pt x="720" y="114"/>
                  </a:lnTo>
                  <a:lnTo>
                    <a:pt x="732" y="102"/>
                  </a:lnTo>
                  <a:lnTo>
                    <a:pt x="744" y="102"/>
                  </a:lnTo>
                  <a:lnTo>
                    <a:pt x="762" y="108"/>
                  </a:lnTo>
                  <a:lnTo>
                    <a:pt x="774" y="114"/>
                  </a:lnTo>
                  <a:lnTo>
                    <a:pt x="780" y="138"/>
                  </a:lnTo>
                  <a:lnTo>
                    <a:pt x="786" y="144"/>
                  </a:lnTo>
                  <a:lnTo>
                    <a:pt x="798" y="138"/>
                  </a:lnTo>
                  <a:lnTo>
                    <a:pt x="804" y="132"/>
                  </a:lnTo>
                  <a:lnTo>
                    <a:pt x="816" y="120"/>
                  </a:lnTo>
                  <a:lnTo>
                    <a:pt x="816" y="108"/>
                  </a:lnTo>
                  <a:lnTo>
                    <a:pt x="828" y="102"/>
                  </a:lnTo>
                  <a:lnTo>
                    <a:pt x="828" y="96"/>
                  </a:lnTo>
                  <a:lnTo>
                    <a:pt x="840" y="96"/>
                  </a:lnTo>
                  <a:lnTo>
                    <a:pt x="840" y="84"/>
                  </a:lnTo>
                  <a:lnTo>
                    <a:pt x="852" y="90"/>
                  </a:lnTo>
                  <a:lnTo>
                    <a:pt x="852" y="96"/>
                  </a:lnTo>
                  <a:lnTo>
                    <a:pt x="870" y="90"/>
                  </a:lnTo>
                  <a:lnTo>
                    <a:pt x="894" y="78"/>
                  </a:lnTo>
                  <a:lnTo>
                    <a:pt x="912" y="78"/>
                  </a:lnTo>
                  <a:lnTo>
                    <a:pt x="942" y="66"/>
                  </a:lnTo>
                  <a:lnTo>
                    <a:pt x="942" y="60"/>
                  </a:lnTo>
                  <a:lnTo>
                    <a:pt x="954" y="48"/>
                  </a:lnTo>
                  <a:lnTo>
                    <a:pt x="966" y="30"/>
                  </a:lnTo>
                  <a:lnTo>
                    <a:pt x="978" y="30"/>
                  </a:lnTo>
                  <a:lnTo>
                    <a:pt x="978" y="24"/>
                  </a:lnTo>
                  <a:lnTo>
                    <a:pt x="984" y="12"/>
                  </a:lnTo>
                  <a:lnTo>
                    <a:pt x="990" y="12"/>
                  </a:lnTo>
                  <a:lnTo>
                    <a:pt x="996" y="12"/>
                  </a:lnTo>
                  <a:lnTo>
                    <a:pt x="1014" y="6"/>
                  </a:lnTo>
                  <a:lnTo>
                    <a:pt x="1026" y="6"/>
                  </a:lnTo>
                  <a:lnTo>
                    <a:pt x="1044" y="6"/>
                  </a:lnTo>
                  <a:lnTo>
                    <a:pt x="1050" y="6"/>
                  </a:lnTo>
                  <a:lnTo>
                    <a:pt x="1056" y="6"/>
                  </a:lnTo>
                  <a:lnTo>
                    <a:pt x="1062" y="6"/>
                  </a:lnTo>
                  <a:lnTo>
                    <a:pt x="1068" y="6"/>
                  </a:lnTo>
                  <a:lnTo>
                    <a:pt x="1074" y="6"/>
                  </a:lnTo>
                  <a:lnTo>
                    <a:pt x="1080" y="6"/>
                  </a:lnTo>
                  <a:lnTo>
                    <a:pt x="1086" y="0"/>
                  </a:lnTo>
                  <a:lnTo>
                    <a:pt x="1092" y="30"/>
                  </a:lnTo>
                  <a:lnTo>
                    <a:pt x="1098" y="60"/>
                  </a:lnTo>
                  <a:lnTo>
                    <a:pt x="1110" y="84"/>
                  </a:lnTo>
                  <a:lnTo>
                    <a:pt x="1122" y="114"/>
                  </a:lnTo>
                  <a:lnTo>
                    <a:pt x="1128" y="144"/>
                  </a:lnTo>
                  <a:lnTo>
                    <a:pt x="1122" y="156"/>
                  </a:lnTo>
                  <a:lnTo>
                    <a:pt x="1128" y="168"/>
                  </a:lnTo>
                  <a:lnTo>
                    <a:pt x="1134" y="186"/>
                  </a:lnTo>
                  <a:lnTo>
                    <a:pt x="1140" y="204"/>
                  </a:lnTo>
                  <a:lnTo>
                    <a:pt x="1146" y="210"/>
                  </a:lnTo>
                  <a:lnTo>
                    <a:pt x="1146" y="216"/>
                  </a:lnTo>
                  <a:lnTo>
                    <a:pt x="1146" y="228"/>
                  </a:lnTo>
                  <a:lnTo>
                    <a:pt x="1146" y="234"/>
                  </a:lnTo>
                  <a:lnTo>
                    <a:pt x="1140" y="246"/>
                  </a:lnTo>
                  <a:lnTo>
                    <a:pt x="1128" y="258"/>
                  </a:lnTo>
                  <a:lnTo>
                    <a:pt x="1116" y="264"/>
                  </a:lnTo>
                  <a:lnTo>
                    <a:pt x="1110" y="276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2" y="312"/>
                  </a:lnTo>
                  <a:lnTo>
                    <a:pt x="1116" y="324"/>
                  </a:lnTo>
                  <a:lnTo>
                    <a:pt x="1104" y="336"/>
                  </a:lnTo>
                  <a:lnTo>
                    <a:pt x="1104" y="354"/>
                  </a:lnTo>
                  <a:lnTo>
                    <a:pt x="1098" y="372"/>
                  </a:lnTo>
                  <a:lnTo>
                    <a:pt x="1092" y="384"/>
                  </a:lnTo>
                  <a:lnTo>
                    <a:pt x="1086" y="390"/>
                  </a:lnTo>
                  <a:lnTo>
                    <a:pt x="1086" y="402"/>
                  </a:lnTo>
                  <a:lnTo>
                    <a:pt x="1080" y="414"/>
                  </a:lnTo>
                  <a:lnTo>
                    <a:pt x="1074" y="426"/>
                  </a:lnTo>
                  <a:lnTo>
                    <a:pt x="1074" y="450"/>
                  </a:lnTo>
                  <a:lnTo>
                    <a:pt x="1074" y="462"/>
                  </a:lnTo>
                  <a:lnTo>
                    <a:pt x="1068" y="474"/>
                  </a:lnTo>
                  <a:lnTo>
                    <a:pt x="1062" y="486"/>
                  </a:lnTo>
                  <a:lnTo>
                    <a:pt x="1056" y="498"/>
                  </a:lnTo>
                  <a:close/>
                  <a:moveTo>
                    <a:pt x="186" y="378"/>
                  </a:moveTo>
                  <a:lnTo>
                    <a:pt x="186" y="384"/>
                  </a:lnTo>
                  <a:lnTo>
                    <a:pt x="180" y="390"/>
                  </a:lnTo>
                  <a:lnTo>
                    <a:pt x="174" y="396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14"/>
                  </a:lnTo>
                  <a:lnTo>
                    <a:pt x="126" y="414"/>
                  </a:lnTo>
                  <a:lnTo>
                    <a:pt x="120" y="414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2" y="426"/>
                  </a:lnTo>
                  <a:lnTo>
                    <a:pt x="102" y="432"/>
                  </a:lnTo>
                  <a:lnTo>
                    <a:pt x="96" y="432"/>
                  </a:lnTo>
                  <a:lnTo>
                    <a:pt x="90" y="432"/>
                  </a:lnTo>
                  <a:lnTo>
                    <a:pt x="84" y="438"/>
                  </a:lnTo>
                  <a:lnTo>
                    <a:pt x="78" y="438"/>
                  </a:lnTo>
                  <a:lnTo>
                    <a:pt x="78" y="444"/>
                  </a:lnTo>
                  <a:lnTo>
                    <a:pt x="72" y="444"/>
                  </a:lnTo>
                  <a:lnTo>
                    <a:pt x="72" y="450"/>
                  </a:lnTo>
                  <a:lnTo>
                    <a:pt x="66" y="456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48" y="468"/>
                  </a:lnTo>
                  <a:lnTo>
                    <a:pt x="42" y="468"/>
                  </a:lnTo>
                  <a:lnTo>
                    <a:pt x="42" y="462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8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0" y="396"/>
                  </a:lnTo>
                  <a:lnTo>
                    <a:pt x="6" y="384"/>
                  </a:lnTo>
                  <a:lnTo>
                    <a:pt x="18" y="372"/>
                  </a:lnTo>
                  <a:lnTo>
                    <a:pt x="30" y="348"/>
                  </a:lnTo>
                  <a:lnTo>
                    <a:pt x="30" y="342"/>
                  </a:lnTo>
                  <a:lnTo>
                    <a:pt x="42" y="330"/>
                  </a:lnTo>
                  <a:lnTo>
                    <a:pt x="42" y="324"/>
                  </a:lnTo>
                  <a:lnTo>
                    <a:pt x="48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60" y="282"/>
                  </a:lnTo>
                  <a:lnTo>
                    <a:pt x="60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2" y="258"/>
                  </a:lnTo>
                  <a:lnTo>
                    <a:pt x="84" y="246"/>
                  </a:lnTo>
                  <a:lnTo>
                    <a:pt x="90" y="234"/>
                  </a:lnTo>
                  <a:lnTo>
                    <a:pt x="96" y="234"/>
                  </a:lnTo>
                  <a:lnTo>
                    <a:pt x="96" y="228"/>
                  </a:lnTo>
                  <a:lnTo>
                    <a:pt x="102" y="222"/>
                  </a:lnTo>
                  <a:lnTo>
                    <a:pt x="102" y="228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14" y="228"/>
                  </a:lnTo>
                  <a:lnTo>
                    <a:pt x="114" y="234"/>
                  </a:lnTo>
                  <a:lnTo>
                    <a:pt x="120" y="228"/>
                  </a:lnTo>
                  <a:lnTo>
                    <a:pt x="120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26" y="228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8" y="234"/>
                  </a:lnTo>
                  <a:lnTo>
                    <a:pt x="144" y="234"/>
                  </a:lnTo>
                  <a:lnTo>
                    <a:pt x="144" y="228"/>
                  </a:lnTo>
                  <a:lnTo>
                    <a:pt x="150" y="228"/>
                  </a:lnTo>
                  <a:lnTo>
                    <a:pt x="156" y="228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46"/>
                  </a:lnTo>
                  <a:lnTo>
                    <a:pt x="162" y="240"/>
                  </a:lnTo>
                  <a:lnTo>
                    <a:pt x="162" y="246"/>
                  </a:lnTo>
                  <a:lnTo>
                    <a:pt x="162" y="258"/>
                  </a:lnTo>
                  <a:lnTo>
                    <a:pt x="162" y="264"/>
                  </a:lnTo>
                  <a:lnTo>
                    <a:pt x="156" y="270"/>
                  </a:lnTo>
                  <a:lnTo>
                    <a:pt x="162" y="270"/>
                  </a:lnTo>
                  <a:lnTo>
                    <a:pt x="162" y="282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86" y="288"/>
                  </a:lnTo>
                  <a:lnTo>
                    <a:pt x="186" y="294"/>
                  </a:lnTo>
                  <a:lnTo>
                    <a:pt x="180" y="300"/>
                  </a:lnTo>
                  <a:lnTo>
                    <a:pt x="174" y="318"/>
                  </a:lnTo>
                  <a:lnTo>
                    <a:pt x="174" y="324"/>
                  </a:lnTo>
                  <a:lnTo>
                    <a:pt x="168" y="330"/>
                  </a:lnTo>
                  <a:lnTo>
                    <a:pt x="168" y="342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74" y="360"/>
                  </a:lnTo>
                  <a:lnTo>
                    <a:pt x="180" y="366"/>
                  </a:lnTo>
                  <a:lnTo>
                    <a:pt x="186" y="3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8" name="Freeform 23">
              <a:extLst>
                <a:ext uri="{FF2B5EF4-FFF2-40B4-BE49-F238E27FC236}">
                  <a16:creationId xmlns:a16="http://schemas.microsoft.com/office/drawing/2014/main" id="{A539A33E-3F6E-4AF7-BD88-1853165307F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6312" y="3604793"/>
              <a:ext cx="581410" cy="621747"/>
            </a:xfrm>
            <a:custGeom>
              <a:avLst/>
              <a:gdLst>
                <a:gd name="T0" fmla="*/ 90 w 1092"/>
                <a:gd name="T1" fmla="*/ 60 h 1170"/>
                <a:gd name="T2" fmla="*/ 83 w 1092"/>
                <a:gd name="T3" fmla="*/ 62 h 1170"/>
                <a:gd name="T4" fmla="*/ 72 w 1092"/>
                <a:gd name="T5" fmla="*/ 68 h 1170"/>
                <a:gd name="T6" fmla="*/ 68 w 1092"/>
                <a:gd name="T7" fmla="*/ 71 h 1170"/>
                <a:gd name="T8" fmla="*/ 61 w 1092"/>
                <a:gd name="T9" fmla="*/ 69 h 1170"/>
                <a:gd name="T10" fmla="*/ 64 w 1092"/>
                <a:gd name="T11" fmla="*/ 82 h 1170"/>
                <a:gd name="T12" fmla="*/ 67 w 1092"/>
                <a:gd name="T13" fmla="*/ 93 h 1170"/>
                <a:gd name="T14" fmla="*/ 62 w 1092"/>
                <a:gd name="T15" fmla="*/ 96 h 1170"/>
                <a:gd name="T16" fmla="*/ 59 w 1092"/>
                <a:gd name="T17" fmla="*/ 99 h 1170"/>
                <a:gd name="T18" fmla="*/ 53 w 1092"/>
                <a:gd name="T19" fmla="*/ 101 h 1170"/>
                <a:gd name="T20" fmla="*/ 50 w 1092"/>
                <a:gd name="T21" fmla="*/ 100 h 1170"/>
                <a:gd name="T22" fmla="*/ 50 w 1092"/>
                <a:gd name="T23" fmla="*/ 93 h 1170"/>
                <a:gd name="T24" fmla="*/ 37 w 1092"/>
                <a:gd name="T25" fmla="*/ 85 h 1170"/>
                <a:gd name="T26" fmla="*/ 32 w 1092"/>
                <a:gd name="T27" fmla="*/ 86 h 1170"/>
                <a:gd name="T28" fmla="*/ 29 w 1092"/>
                <a:gd name="T29" fmla="*/ 88 h 1170"/>
                <a:gd name="T30" fmla="*/ 27 w 1092"/>
                <a:gd name="T31" fmla="*/ 86 h 1170"/>
                <a:gd name="T32" fmla="*/ 23 w 1092"/>
                <a:gd name="T33" fmla="*/ 87 h 1170"/>
                <a:gd name="T34" fmla="*/ 17 w 1092"/>
                <a:gd name="T35" fmla="*/ 87 h 1170"/>
                <a:gd name="T36" fmla="*/ 18 w 1092"/>
                <a:gd name="T37" fmla="*/ 89 h 1170"/>
                <a:gd name="T38" fmla="*/ 16 w 1092"/>
                <a:gd name="T39" fmla="*/ 92 h 1170"/>
                <a:gd name="T40" fmla="*/ 12 w 1092"/>
                <a:gd name="T41" fmla="*/ 89 h 1170"/>
                <a:gd name="T42" fmla="*/ 13 w 1092"/>
                <a:gd name="T43" fmla="*/ 84 h 1170"/>
                <a:gd name="T44" fmla="*/ 12 w 1092"/>
                <a:gd name="T45" fmla="*/ 80 h 1170"/>
                <a:gd name="T46" fmla="*/ 10 w 1092"/>
                <a:gd name="T47" fmla="*/ 80 h 1170"/>
                <a:gd name="T48" fmla="*/ 8 w 1092"/>
                <a:gd name="T49" fmla="*/ 79 h 1170"/>
                <a:gd name="T50" fmla="*/ 6 w 1092"/>
                <a:gd name="T51" fmla="*/ 78 h 1170"/>
                <a:gd name="T52" fmla="*/ 6 w 1092"/>
                <a:gd name="T53" fmla="*/ 77 h 1170"/>
                <a:gd name="T54" fmla="*/ 4 w 1092"/>
                <a:gd name="T55" fmla="*/ 75 h 1170"/>
                <a:gd name="T56" fmla="*/ 0 w 1092"/>
                <a:gd name="T57" fmla="*/ 72 h 1170"/>
                <a:gd name="T58" fmla="*/ 0 w 1092"/>
                <a:gd name="T59" fmla="*/ 69 h 1170"/>
                <a:gd name="T60" fmla="*/ 3 w 1092"/>
                <a:gd name="T61" fmla="*/ 67 h 1170"/>
                <a:gd name="T62" fmla="*/ 6 w 1092"/>
                <a:gd name="T63" fmla="*/ 62 h 1170"/>
                <a:gd name="T64" fmla="*/ 8 w 1092"/>
                <a:gd name="T65" fmla="*/ 58 h 1170"/>
                <a:gd name="T66" fmla="*/ 5 w 1092"/>
                <a:gd name="T67" fmla="*/ 54 h 1170"/>
                <a:gd name="T68" fmla="*/ 6 w 1092"/>
                <a:gd name="T69" fmla="*/ 50 h 1170"/>
                <a:gd name="T70" fmla="*/ 8 w 1092"/>
                <a:gd name="T71" fmla="*/ 46 h 1170"/>
                <a:gd name="T72" fmla="*/ 10 w 1092"/>
                <a:gd name="T73" fmla="*/ 43 h 1170"/>
                <a:gd name="T74" fmla="*/ 14 w 1092"/>
                <a:gd name="T75" fmla="*/ 38 h 1170"/>
                <a:gd name="T76" fmla="*/ 31 w 1092"/>
                <a:gd name="T77" fmla="*/ 40 h 1170"/>
                <a:gd name="T78" fmla="*/ 30 w 1092"/>
                <a:gd name="T79" fmla="*/ 46 h 1170"/>
                <a:gd name="T80" fmla="*/ 36 w 1092"/>
                <a:gd name="T81" fmla="*/ 47 h 1170"/>
                <a:gd name="T82" fmla="*/ 41 w 1092"/>
                <a:gd name="T83" fmla="*/ 44 h 1170"/>
                <a:gd name="T84" fmla="*/ 43 w 1092"/>
                <a:gd name="T85" fmla="*/ 39 h 1170"/>
                <a:gd name="T86" fmla="*/ 44 w 1092"/>
                <a:gd name="T87" fmla="*/ 35 h 1170"/>
                <a:gd name="T88" fmla="*/ 44 w 1092"/>
                <a:gd name="T89" fmla="*/ 29 h 1170"/>
                <a:gd name="T90" fmla="*/ 48 w 1092"/>
                <a:gd name="T91" fmla="*/ 24 h 1170"/>
                <a:gd name="T92" fmla="*/ 49 w 1092"/>
                <a:gd name="T93" fmla="*/ 19 h 1170"/>
                <a:gd name="T94" fmla="*/ 51 w 1092"/>
                <a:gd name="T95" fmla="*/ 14 h 1170"/>
                <a:gd name="T96" fmla="*/ 54 w 1092"/>
                <a:gd name="T97" fmla="*/ 10 h 1170"/>
                <a:gd name="T98" fmla="*/ 53 w 1092"/>
                <a:gd name="T99" fmla="*/ 7 h 1170"/>
                <a:gd name="T100" fmla="*/ 55 w 1092"/>
                <a:gd name="T101" fmla="*/ 3 h 1170"/>
                <a:gd name="T102" fmla="*/ 58 w 1092"/>
                <a:gd name="T103" fmla="*/ 0 h 1170"/>
                <a:gd name="T104" fmla="*/ 65 w 1092"/>
                <a:gd name="T105" fmla="*/ 2 h 1170"/>
                <a:gd name="T106" fmla="*/ 61 w 1092"/>
                <a:gd name="T107" fmla="*/ 6 h 1170"/>
                <a:gd name="T108" fmla="*/ 67 w 1092"/>
                <a:gd name="T109" fmla="*/ 7 h 1170"/>
                <a:gd name="T110" fmla="*/ 71 w 1092"/>
                <a:gd name="T111" fmla="*/ 6 h 1170"/>
                <a:gd name="T112" fmla="*/ 75 w 1092"/>
                <a:gd name="T113" fmla="*/ 9 h 1170"/>
                <a:gd name="T114" fmla="*/ 82 w 1092"/>
                <a:gd name="T115" fmla="*/ 12 h 1170"/>
                <a:gd name="T116" fmla="*/ 84 w 1092"/>
                <a:gd name="T117" fmla="*/ 17 h 1170"/>
                <a:gd name="T118" fmla="*/ 94 w 1092"/>
                <a:gd name="T119" fmla="*/ 23 h 1170"/>
                <a:gd name="T120" fmla="*/ 94 w 1092"/>
                <a:gd name="T121" fmla="*/ 34 h 1170"/>
                <a:gd name="T122" fmla="*/ 90 w 1092"/>
                <a:gd name="T123" fmla="*/ 41 h 1170"/>
                <a:gd name="T124" fmla="*/ 91 w 1092"/>
                <a:gd name="T125" fmla="*/ 51 h 11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92"/>
                <a:gd name="T190" fmla="*/ 0 h 1170"/>
                <a:gd name="T191" fmla="*/ 1092 w 1092"/>
                <a:gd name="T192" fmla="*/ 1170 h 117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92" h="1170">
                  <a:moveTo>
                    <a:pt x="1056" y="654"/>
                  </a:moveTo>
                  <a:lnTo>
                    <a:pt x="1062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0"/>
                  </a:lnTo>
                  <a:lnTo>
                    <a:pt x="1038" y="690"/>
                  </a:lnTo>
                  <a:lnTo>
                    <a:pt x="1032" y="690"/>
                  </a:lnTo>
                  <a:lnTo>
                    <a:pt x="1026" y="690"/>
                  </a:lnTo>
                  <a:lnTo>
                    <a:pt x="1020" y="690"/>
                  </a:lnTo>
                  <a:lnTo>
                    <a:pt x="1002" y="690"/>
                  </a:lnTo>
                  <a:lnTo>
                    <a:pt x="990" y="690"/>
                  </a:lnTo>
                  <a:lnTo>
                    <a:pt x="972" y="696"/>
                  </a:lnTo>
                  <a:lnTo>
                    <a:pt x="966" y="696"/>
                  </a:lnTo>
                  <a:lnTo>
                    <a:pt x="960" y="696"/>
                  </a:lnTo>
                  <a:lnTo>
                    <a:pt x="954" y="708"/>
                  </a:lnTo>
                  <a:lnTo>
                    <a:pt x="954" y="714"/>
                  </a:lnTo>
                  <a:lnTo>
                    <a:pt x="942" y="714"/>
                  </a:lnTo>
                  <a:lnTo>
                    <a:pt x="930" y="732"/>
                  </a:lnTo>
                  <a:lnTo>
                    <a:pt x="918" y="744"/>
                  </a:lnTo>
                  <a:lnTo>
                    <a:pt x="918" y="750"/>
                  </a:lnTo>
                  <a:lnTo>
                    <a:pt x="888" y="762"/>
                  </a:lnTo>
                  <a:lnTo>
                    <a:pt x="870" y="762"/>
                  </a:lnTo>
                  <a:lnTo>
                    <a:pt x="846" y="774"/>
                  </a:lnTo>
                  <a:lnTo>
                    <a:pt x="828" y="780"/>
                  </a:lnTo>
                  <a:lnTo>
                    <a:pt x="828" y="774"/>
                  </a:lnTo>
                  <a:lnTo>
                    <a:pt x="816" y="768"/>
                  </a:lnTo>
                  <a:lnTo>
                    <a:pt x="816" y="780"/>
                  </a:lnTo>
                  <a:lnTo>
                    <a:pt x="804" y="780"/>
                  </a:lnTo>
                  <a:lnTo>
                    <a:pt x="804" y="786"/>
                  </a:lnTo>
                  <a:lnTo>
                    <a:pt x="792" y="792"/>
                  </a:lnTo>
                  <a:lnTo>
                    <a:pt x="792" y="804"/>
                  </a:lnTo>
                  <a:lnTo>
                    <a:pt x="780" y="816"/>
                  </a:lnTo>
                  <a:lnTo>
                    <a:pt x="774" y="822"/>
                  </a:lnTo>
                  <a:lnTo>
                    <a:pt x="762" y="828"/>
                  </a:lnTo>
                  <a:lnTo>
                    <a:pt x="756" y="822"/>
                  </a:lnTo>
                  <a:lnTo>
                    <a:pt x="750" y="798"/>
                  </a:lnTo>
                  <a:lnTo>
                    <a:pt x="738" y="792"/>
                  </a:lnTo>
                  <a:lnTo>
                    <a:pt x="720" y="786"/>
                  </a:lnTo>
                  <a:lnTo>
                    <a:pt x="708" y="786"/>
                  </a:lnTo>
                  <a:lnTo>
                    <a:pt x="696" y="798"/>
                  </a:lnTo>
                  <a:lnTo>
                    <a:pt x="690" y="810"/>
                  </a:lnTo>
                  <a:lnTo>
                    <a:pt x="684" y="828"/>
                  </a:lnTo>
                  <a:lnTo>
                    <a:pt x="690" y="840"/>
                  </a:lnTo>
                  <a:lnTo>
                    <a:pt x="708" y="858"/>
                  </a:lnTo>
                  <a:lnTo>
                    <a:pt x="720" y="894"/>
                  </a:lnTo>
                  <a:lnTo>
                    <a:pt x="714" y="906"/>
                  </a:lnTo>
                  <a:lnTo>
                    <a:pt x="714" y="918"/>
                  </a:lnTo>
                  <a:lnTo>
                    <a:pt x="738" y="948"/>
                  </a:lnTo>
                  <a:lnTo>
                    <a:pt x="774" y="972"/>
                  </a:lnTo>
                  <a:lnTo>
                    <a:pt x="780" y="984"/>
                  </a:lnTo>
                  <a:lnTo>
                    <a:pt x="792" y="996"/>
                  </a:lnTo>
                  <a:lnTo>
                    <a:pt x="792" y="1026"/>
                  </a:lnTo>
                  <a:lnTo>
                    <a:pt x="780" y="1044"/>
                  </a:lnTo>
                  <a:lnTo>
                    <a:pt x="774" y="1050"/>
                  </a:lnTo>
                  <a:lnTo>
                    <a:pt x="768" y="1062"/>
                  </a:lnTo>
                  <a:lnTo>
                    <a:pt x="768" y="1068"/>
                  </a:lnTo>
                  <a:lnTo>
                    <a:pt x="762" y="1074"/>
                  </a:lnTo>
                  <a:lnTo>
                    <a:pt x="762" y="1080"/>
                  </a:lnTo>
                  <a:lnTo>
                    <a:pt x="756" y="1080"/>
                  </a:lnTo>
                  <a:lnTo>
                    <a:pt x="744" y="1086"/>
                  </a:lnTo>
                  <a:lnTo>
                    <a:pt x="744" y="1092"/>
                  </a:lnTo>
                  <a:lnTo>
                    <a:pt x="738" y="1092"/>
                  </a:lnTo>
                  <a:lnTo>
                    <a:pt x="726" y="1098"/>
                  </a:lnTo>
                  <a:lnTo>
                    <a:pt x="720" y="1104"/>
                  </a:lnTo>
                  <a:lnTo>
                    <a:pt x="714" y="1104"/>
                  </a:lnTo>
                  <a:lnTo>
                    <a:pt x="702" y="1116"/>
                  </a:lnTo>
                  <a:lnTo>
                    <a:pt x="696" y="1122"/>
                  </a:lnTo>
                  <a:lnTo>
                    <a:pt x="696" y="1134"/>
                  </a:lnTo>
                  <a:lnTo>
                    <a:pt x="690" y="1134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72" y="1146"/>
                  </a:lnTo>
                  <a:lnTo>
                    <a:pt x="672" y="1152"/>
                  </a:lnTo>
                  <a:lnTo>
                    <a:pt x="660" y="1152"/>
                  </a:lnTo>
                  <a:lnTo>
                    <a:pt x="642" y="1152"/>
                  </a:lnTo>
                  <a:lnTo>
                    <a:pt x="636" y="1152"/>
                  </a:lnTo>
                  <a:lnTo>
                    <a:pt x="630" y="1158"/>
                  </a:lnTo>
                  <a:lnTo>
                    <a:pt x="624" y="1164"/>
                  </a:lnTo>
                  <a:lnTo>
                    <a:pt x="618" y="1170"/>
                  </a:lnTo>
                  <a:lnTo>
                    <a:pt x="612" y="1170"/>
                  </a:lnTo>
                  <a:lnTo>
                    <a:pt x="600" y="1170"/>
                  </a:lnTo>
                  <a:lnTo>
                    <a:pt x="594" y="1170"/>
                  </a:lnTo>
                  <a:lnTo>
                    <a:pt x="588" y="1170"/>
                  </a:lnTo>
                  <a:lnTo>
                    <a:pt x="582" y="1170"/>
                  </a:lnTo>
                  <a:lnTo>
                    <a:pt x="582" y="1164"/>
                  </a:lnTo>
                  <a:lnTo>
                    <a:pt x="576" y="1158"/>
                  </a:lnTo>
                  <a:lnTo>
                    <a:pt x="570" y="1158"/>
                  </a:lnTo>
                  <a:lnTo>
                    <a:pt x="570" y="1152"/>
                  </a:lnTo>
                  <a:lnTo>
                    <a:pt x="570" y="1146"/>
                  </a:lnTo>
                  <a:lnTo>
                    <a:pt x="570" y="1140"/>
                  </a:lnTo>
                  <a:lnTo>
                    <a:pt x="564" y="1140"/>
                  </a:lnTo>
                  <a:lnTo>
                    <a:pt x="564" y="1134"/>
                  </a:lnTo>
                  <a:lnTo>
                    <a:pt x="564" y="1128"/>
                  </a:lnTo>
                  <a:lnTo>
                    <a:pt x="576" y="1104"/>
                  </a:lnTo>
                  <a:lnTo>
                    <a:pt x="582" y="1086"/>
                  </a:lnTo>
                  <a:lnTo>
                    <a:pt x="570" y="1068"/>
                  </a:lnTo>
                  <a:lnTo>
                    <a:pt x="534" y="1056"/>
                  </a:lnTo>
                  <a:lnTo>
                    <a:pt x="516" y="1026"/>
                  </a:lnTo>
                  <a:lnTo>
                    <a:pt x="492" y="1020"/>
                  </a:lnTo>
                  <a:lnTo>
                    <a:pt x="492" y="1014"/>
                  </a:lnTo>
                  <a:lnTo>
                    <a:pt x="480" y="1008"/>
                  </a:lnTo>
                  <a:lnTo>
                    <a:pt x="474" y="996"/>
                  </a:lnTo>
                  <a:lnTo>
                    <a:pt x="444" y="984"/>
                  </a:lnTo>
                  <a:lnTo>
                    <a:pt x="426" y="978"/>
                  </a:lnTo>
                  <a:lnTo>
                    <a:pt x="420" y="972"/>
                  </a:lnTo>
                  <a:lnTo>
                    <a:pt x="408" y="984"/>
                  </a:lnTo>
                  <a:lnTo>
                    <a:pt x="402" y="984"/>
                  </a:lnTo>
                  <a:lnTo>
                    <a:pt x="396" y="984"/>
                  </a:lnTo>
                  <a:lnTo>
                    <a:pt x="390" y="984"/>
                  </a:lnTo>
                  <a:lnTo>
                    <a:pt x="384" y="990"/>
                  </a:lnTo>
                  <a:lnTo>
                    <a:pt x="378" y="990"/>
                  </a:lnTo>
                  <a:lnTo>
                    <a:pt x="372" y="990"/>
                  </a:lnTo>
                  <a:lnTo>
                    <a:pt x="372" y="996"/>
                  </a:lnTo>
                  <a:lnTo>
                    <a:pt x="366" y="996"/>
                  </a:lnTo>
                  <a:lnTo>
                    <a:pt x="360" y="1002"/>
                  </a:lnTo>
                  <a:lnTo>
                    <a:pt x="360" y="1008"/>
                  </a:lnTo>
                  <a:lnTo>
                    <a:pt x="354" y="1008"/>
                  </a:lnTo>
                  <a:lnTo>
                    <a:pt x="342" y="1014"/>
                  </a:lnTo>
                  <a:lnTo>
                    <a:pt x="336" y="1020"/>
                  </a:lnTo>
                  <a:lnTo>
                    <a:pt x="336" y="1014"/>
                  </a:lnTo>
                  <a:lnTo>
                    <a:pt x="330" y="1014"/>
                  </a:lnTo>
                  <a:lnTo>
                    <a:pt x="330" y="1008"/>
                  </a:lnTo>
                  <a:lnTo>
                    <a:pt x="330" y="1002"/>
                  </a:lnTo>
                  <a:lnTo>
                    <a:pt x="324" y="1002"/>
                  </a:lnTo>
                  <a:lnTo>
                    <a:pt x="324" y="996"/>
                  </a:lnTo>
                  <a:lnTo>
                    <a:pt x="324" y="990"/>
                  </a:lnTo>
                  <a:lnTo>
                    <a:pt x="318" y="990"/>
                  </a:lnTo>
                  <a:lnTo>
                    <a:pt x="306" y="996"/>
                  </a:lnTo>
                  <a:lnTo>
                    <a:pt x="300" y="996"/>
                  </a:lnTo>
                  <a:lnTo>
                    <a:pt x="294" y="996"/>
                  </a:lnTo>
                  <a:lnTo>
                    <a:pt x="288" y="1002"/>
                  </a:lnTo>
                  <a:lnTo>
                    <a:pt x="282" y="990"/>
                  </a:lnTo>
                  <a:lnTo>
                    <a:pt x="276" y="984"/>
                  </a:lnTo>
                  <a:lnTo>
                    <a:pt x="270" y="990"/>
                  </a:lnTo>
                  <a:lnTo>
                    <a:pt x="270" y="996"/>
                  </a:lnTo>
                  <a:lnTo>
                    <a:pt x="270" y="1002"/>
                  </a:lnTo>
                  <a:lnTo>
                    <a:pt x="264" y="1008"/>
                  </a:lnTo>
                  <a:lnTo>
                    <a:pt x="252" y="996"/>
                  </a:lnTo>
                  <a:lnTo>
                    <a:pt x="246" y="996"/>
                  </a:lnTo>
                  <a:lnTo>
                    <a:pt x="234" y="1002"/>
                  </a:lnTo>
                  <a:lnTo>
                    <a:pt x="222" y="1002"/>
                  </a:lnTo>
                  <a:lnTo>
                    <a:pt x="210" y="1002"/>
                  </a:lnTo>
                  <a:lnTo>
                    <a:pt x="198" y="996"/>
                  </a:lnTo>
                  <a:lnTo>
                    <a:pt x="198" y="1002"/>
                  </a:lnTo>
                  <a:lnTo>
                    <a:pt x="198" y="1008"/>
                  </a:lnTo>
                  <a:lnTo>
                    <a:pt x="192" y="1020"/>
                  </a:lnTo>
                  <a:lnTo>
                    <a:pt x="198" y="1020"/>
                  </a:lnTo>
                  <a:lnTo>
                    <a:pt x="204" y="1020"/>
                  </a:lnTo>
                  <a:lnTo>
                    <a:pt x="210" y="1026"/>
                  </a:lnTo>
                  <a:lnTo>
                    <a:pt x="216" y="1026"/>
                  </a:lnTo>
                  <a:lnTo>
                    <a:pt x="216" y="1032"/>
                  </a:lnTo>
                  <a:lnTo>
                    <a:pt x="210" y="1032"/>
                  </a:lnTo>
                  <a:lnTo>
                    <a:pt x="210" y="1038"/>
                  </a:lnTo>
                  <a:lnTo>
                    <a:pt x="204" y="1038"/>
                  </a:lnTo>
                  <a:lnTo>
                    <a:pt x="204" y="1044"/>
                  </a:lnTo>
                  <a:lnTo>
                    <a:pt x="198" y="1044"/>
                  </a:lnTo>
                  <a:lnTo>
                    <a:pt x="192" y="1044"/>
                  </a:lnTo>
                  <a:lnTo>
                    <a:pt x="186" y="1050"/>
                  </a:lnTo>
                  <a:lnTo>
                    <a:pt x="186" y="1056"/>
                  </a:lnTo>
                  <a:lnTo>
                    <a:pt x="180" y="1056"/>
                  </a:lnTo>
                  <a:lnTo>
                    <a:pt x="180" y="1062"/>
                  </a:lnTo>
                  <a:lnTo>
                    <a:pt x="174" y="1062"/>
                  </a:lnTo>
                  <a:lnTo>
                    <a:pt x="168" y="1062"/>
                  </a:lnTo>
                  <a:lnTo>
                    <a:pt x="162" y="1062"/>
                  </a:lnTo>
                  <a:lnTo>
                    <a:pt x="156" y="1050"/>
                  </a:lnTo>
                  <a:lnTo>
                    <a:pt x="150" y="1044"/>
                  </a:lnTo>
                  <a:lnTo>
                    <a:pt x="150" y="1038"/>
                  </a:lnTo>
                  <a:lnTo>
                    <a:pt x="144" y="1032"/>
                  </a:lnTo>
                  <a:lnTo>
                    <a:pt x="144" y="1026"/>
                  </a:lnTo>
                  <a:lnTo>
                    <a:pt x="144" y="1014"/>
                  </a:lnTo>
                  <a:lnTo>
                    <a:pt x="150" y="1008"/>
                  </a:lnTo>
                  <a:lnTo>
                    <a:pt x="150" y="1002"/>
                  </a:lnTo>
                  <a:lnTo>
                    <a:pt x="156" y="984"/>
                  </a:lnTo>
                  <a:lnTo>
                    <a:pt x="162" y="978"/>
                  </a:lnTo>
                  <a:lnTo>
                    <a:pt x="162" y="972"/>
                  </a:lnTo>
                  <a:lnTo>
                    <a:pt x="150" y="966"/>
                  </a:lnTo>
                  <a:lnTo>
                    <a:pt x="144" y="966"/>
                  </a:lnTo>
                  <a:lnTo>
                    <a:pt x="138" y="966"/>
                  </a:lnTo>
                  <a:lnTo>
                    <a:pt x="138" y="954"/>
                  </a:lnTo>
                  <a:lnTo>
                    <a:pt x="132" y="954"/>
                  </a:lnTo>
                  <a:lnTo>
                    <a:pt x="138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8" y="924"/>
                  </a:lnTo>
                  <a:lnTo>
                    <a:pt x="132" y="930"/>
                  </a:lnTo>
                  <a:lnTo>
                    <a:pt x="132" y="924"/>
                  </a:lnTo>
                  <a:lnTo>
                    <a:pt x="126" y="918"/>
                  </a:lnTo>
                  <a:lnTo>
                    <a:pt x="132" y="918"/>
                  </a:lnTo>
                  <a:lnTo>
                    <a:pt x="132" y="912"/>
                  </a:lnTo>
                  <a:lnTo>
                    <a:pt x="126" y="912"/>
                  </a:lnTo>
                  <a:lnTo>
                    <a:pt x="120" y="912"/>
                  </a:lnTo>
                  <a:lnTo>
                    <a:pt x="120" y="918"/>
                  </a:lnTo>
                  <a:lnTo>
                    <a:pt x="114" y="918"/>
                  </a:lnTo>
                  <a:lnTo>
                    <a:pt x="114" y="912"/>
                  </a:lnTo>
                  <a:lnTo>
                    <a:pt x="108" y="912"/>
                  </a:lnTo>
                  <a:lnTo>
                    <a:pt x="102" y="912"/>
                  </a:lnTo>
                  <a:lnTo>
                    <a:pt x="108" y="906"/>
                  </a:lnTo>
                  <a:lnTo>
                    <a:pt x="102" y="906"/>
                  </a:lnTo>
                  <a:lnTo>
                    <a:pt x="96" y="906"/>
                  </a:lnTo>
                  <a:lnTo>
                    <a:pt x="96" y="912"/>
                  </a:lnTo>
                  <a:lnTo>
                    <a:pt x="90" y="918"/>
                  </a:lnTo>
                  <a:lnTo>
                    <a:pt x="90" y="912"/>
                  </a:lnTo>
                  <a:lnTo>
                    <a:pt x="84" y="912"/>
                  </a:lnTo>
                  <a:lnTo>
                    <a:pt x="84" y="918"/>
                  </a:lnTo>
                  <a:lnTo>
                    <a:pt x="78" y="918"/>
                  </a:lnTo>
                  <a:lnTo>
                    <a:pt x="78" y="912"/>
                  </a:lnTo>
                  <a:lnTo>
                    <a:pt x="78" y="906"/>
                  </a:lnTo>
                  <a:lnTo>
                    <a:pt x="72" y="900"/>
                  </a:lnTo>
                  <a:lnTo>
                    <a:pt x="78" y="900"/>
                  </a:lnTo>
                  <a:lnTo>
                    <a:pt x="72" y="900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8" y="888"/>
                  </a:lnTo>
                  <a:lnTo>
                    <a:pt x="72" y="888"/>
                  </a:lnTo>
                  <a:lnTo>
                    <a:pt x="72" y="882"/>
                  </a:lnTo>
                  <a:lnTo>
                    <a:pt x="66" y="876"/>
                  </a:lnTo>
                  <a:lnTo>
                    <a:pt x="60" y="882"/>
                  </a:lnTo>
                  <a:lnTo>
                    <a:pt x="54" y="876"/>
                  </a:lnTo>
                  <a:lnTo>
                    <a:pt x="54" y="882"/>
                  </a:lnTo>
                  <a:lnTo>
                    <a:pt x="48" y="882"/>
                  </a:lnTo>
                  <a:lnTo>
                    <a:pt x="42" y="870"/>
                  </a:lnTo>
                  <a:lnTo>
                    <a:pt x="42" y="864"/>
                  </a:lnTo>
                  <a:lnTo>
                    <a:pt x="36" y="858"/>
                  </a:lnTo>
                  <a:lnTo>
                    <a:pt x="36" y="852"/>
                  </a:lnTo>
                  <a:lnTo>
                    <a:pt x="30" y="852"/>
                  </a:lnTo>
                  <a:lnTo>
                    <a:pt x="30" y="846"/>
                  </a:lnTo>
                  <a:lnTo>
                    <a:pt x="24" y="846"/>
                  </a:lnTo>
                  <a:lnTo>
                    <a:pt x="18" y="840"/>
                  </a:lnTo>
                  <a:lnTo>
                    <a:pt x="12" y="834"/>
                  </a:lnTo>
                  <a:lnTo>
                    <a:pt x="0" y="828"/>
                  </a:lnTo>
                  <a:lnTo>
                    <a:pt x="0" y="822"/>
                  </a:lnTo>
                  <a:lnTo>
                    <a:pt x="0" y="816"/>
                  </a:lnTo>
                  <a:lnTo>
                    <a:pt x="0" y="810"/>
                  </a:lnTo>
                  <a:lnTo>
                    <a:pt x="6" y="804"/>
                  </a:lnTo>
                  <a:lnTo>
                    <a:pt x="12" y="804"/>
                  </a:lnTo>
                  <a:lnTo>
                    <a:pt x="12" y="798"/>
                  </a:lnTo>
                  <a:lnTo>
                    <a:pt x="12" y="792"/>
                  </a:lnTo>
                  <a:lnTo>
                    <a:pt x="6" y="792"/>
                  </a:lnTo>
                  <a:lnTo>
                    <a:pt x="6" y="786"/>
                  </a:lnTo>
                  <a:lnTo>
                    <a:pt x="6" y="780"/>
                  </a:lnTo>
                  <a:lnTo>
                    <a:pt x="18" y="780"/>
                  </a:lnTo>
                  <a:lnTo>
                    <a:pt x="18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0" y="774"/>
                  </a:lnTo>
                  <a:lnTo>
                    <a:pt x="36" y="768"/>
                  </a:lnTo>
                  <a:lnTo>
                    <a:pt x="42" y="768"/>
                  </a:lnTo>
                  <a:lnTo>
                    <a:pt x="60" y="750"/>
                  </a:lnTo>
                  <a:lnTo>
                    <a:pt x="60" y="744"/>
                  </a:lnTo>
                  <a:lnTo>
                    <a:pt x="54" y="738"/>
                  </a:lnTo>
                  <a:lnTo>
                    <a:pt x="60" y="732"/>
                  </a:lnTo>
                  <a:lnTo>
                    <a:pt x="54" y="732"/>
                  </a:lnTo>
                  <a:lnTo>
                    <a:pt x="60" y="726"/>
                  </a:lnTo>
                  <a:lnTo>
                    <a:pt x="66" y="720"/>
                  </a:lnTo>
                  <a:lnTo>
                    <a:pt x="72" y="714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84" y="696"/>
                  </a:lnTo>
                  <a:lnTo>
                    <a:pt x="90" y="684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66"/>
                  </a:lnTo>
                  <a:lnTo>
                    <a:pt x="90" y="660"/>
                  </a:lnTo>
                  <a:lnTo>
                    <a:pt x="84" y="654"/>
                  </a:lnTo>
                  <a:lnTo>
                    <a:pt x="84" y="648"/>
                  </a:lnTo>
                  <a:lnTo>
                    <a:pt x="78" y="636"/>
                  </a:lnTo>
                  <a:lnTo>
                    <a:pt x="66" y="630"/>
                  </a:lnTo>
                  <a:lnTo>
                    <a:pt x="66" y="624"/>
                  </a:lnTo>
                  <a:lnTo>
                    <a:pt x="60" y="624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60" y="600"/>
                  </a:lnTo>
                  <a:lnTo>
                    <a:pt x="66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6" y="588"/>
                  </a:lnTo>
                  <a:lnTo>
                    <a:pt x="66" y="582"/>
                  </a:lnTo>
                  <a:lnTo>
                    <a:pt x="72" y="582"/>
                  </a:lnTo>
                  <a:lnTo>
                    <a:pt x="78" y="576"/>
                  </a:lnTo>
                  <a:lnTo>
                    <a:pt x="72" y="576"/>
                  </a:lnTo>
                  <a:lnTo>
                    <a:pt x="66" y="570"/>
                  </a:lnTo>
                  <a:lnTo>
                    <a:pt x="72" y="564"/>
                  </a:lnTo>
                  <a:lnTo>
                    <a:pt x="78" y="558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90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102" y="516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0" y="504"/>
                  </a:lnTo>
                  <a:lnTo>
                    <a:pt x="120" y="498"/>
                  </a:lnTo>
                  <a:lnTo>
                    <a:pt x="120" y="492"/>
                  </a:lnTo>
                  <a:lnTo>
                    <a:pt x="126" y="480"/>
                  </a:lnTo>
                  <a:lnTo>
                    <a:pt x="132" y="474"/>
                  </a:lnTo>
                  <a:lnTo>
                    <a:pt x="132" y="468"/>
                  </a:lnTo>
                  <a:lnTo>
                    <a:pt x="138" y="462"/>
                  </a:lnTo>
                  <a:lnTo>
                    <a:pt x="138" y="456"/>
                  </a:lnTo>
                  <a:lnTo>
                    <a:pt x="138" y="450"/>
                  </a:lnTo>
                  <a:lnTo>
                    <a:pt x="144" y="444"/>
                  </a:lnTo>
                  <a:lnTo>
                    <a:pt x="162" y="438"/>
                  </a:lnTo>
                  <a:lnTo>
                    <a:pt x="186" y="438"/>
                  </a:lnTo>
                  <a:lnTo>
                    <a:pt x="210" y="444"/>
                  </a:lnTo>
                  <a:lnTo>
                    <a:pt x="276" y="450"/>
                  </a:lnTo>
                  <a:lnTo>
                    <a:pt x="342" y="450"/>
                  </a:lnTo>
                  <a:lnTo>
                    <a:pt x="348" y="450"/>
                  </a:lnTo>
                  <a:lnTo>
                    <a:pt x="354" y="450"/>
                  </a:lnTo>
                  <a:lnTo>
                    <a:pt x="360" y="456"/>
                  </a:lnTo>
                  <a:lnTo>
                    <a:pt x="354" y="462"/>
                  </a:lnTo>
                  <a:lnTo>
                    <a:pt x="354" y="468"/>
                  </a:lnTo>
                  <a:lnTo>
                    <a:pt x="354" y="474"/>
                  </a:lnTo>
                  <a:lnTo>
                    <a:pt x="348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48" y="498"/>
                  </a:lnTo>
                  <a:lnTo>
                    <a:pt x="342" y="510"/>
                  </a:lnTo>
                  <a:lnTo>
                    <a:pt x="348" y="528"/>
                  </a:lnTo>
                  <a:lnTo>
                    <a:pt x="348" y="534"/>
                  </a:lnTo>
                  <a:lnTo>
                    <a:pt x="354" y="552"/>
                  </a:lnTo>
                  <a:lnTo>
                    <a:pt x="366" y="546"/>
                  </a:lnTo>
                  <a:lnTo>
                    <a:pt x="372" y="540"/>
                  </a:lnTo>
                  <a:lnTo>
                    <a:pt x="384" y="540"/>
                  </a:lnTo>
                  <a:lnTo>
                    <a:pt x="396" y="534"/>
                  </a:lnTo>
                  <a:lnTo>
                    <a:pt x="402" y="534"/>
                  </a:lnTo>
                  <a:lnTo>
                    <a:pt x="414" y="546"/>
                  </a:lnTo>
                  <a:lnTo>
                    <a:pt x="432" y="540"/>
                  </a:lnTo>
                  <a:lnTo>
                    <a:pt x="450" y="534"/>
                  </a:lnTo>
                  <a:lnTo>
                    <a:pt x="450" y="528"/>
                  </a:lnTo>
                  <a:lnTo>
                    <a:pt x="456" y="528"/>
                  </a:lnTo>
                  <a:lnTo>
                    <a:pt x="456" y="522"/>
                  </a:lnTo>
                  <a:lnTo>
                    <a:pt x="456" y="516"/>
                  </a:lnTo>
                  <a:lnTo>
                    <a:pt x="462" y="516"/>
                  </a:lnTo>
                  <a:lnTo>
                    <a:pt x="468" y="510"/>
                  </a:lnTo>
                  <a:lnTo>
                    <a:pt x="468" y="504"/>
                  </a:lnTo>
                  <a:lnTo>
                    <a:pt x="474" y="504"/>
                  </a:lnTo>
                  <a:lnTo>
                    <a:pt x="480" y="504"/>
                  </a:lnTo>
                  <a:lnTo>
                    <a:pt x="486" y="498"/>
                  </a:lnTo>
                  <a:lnTo>
                    <a:pt x="492" y="498"/>
                  </a:lnTo>
                  <a:lnTo>
                    <a:pt x="486" y="480"/>
                  </a:lnTo>
                  <a:lnTo>
                    <a:pt x="492" y="462"/>
                  </a:lnTo>
                  <a:lnTo>
                    <a:pt x="498" y="444"/>
                  </a:lnTo>
                  <a:lnTo>
                    <a:pt x="498" y="426"/>
                  </a:lnTo>
                  <a:lnTo>
                    <a:pt x="498" y="420"/>
                  </a:lnTo>
                  <a:lnTo>
                    <a:pt x="504" y="426"/>
                  </a:lnTo>
                  <a:lnTo>
                    <a:pt x="504" y="420"/>
                  </a:lnTo>
                  <a:lnTo>
                    <a:pt x="510" y="420"/>
                  </a:lnTo>
                  <a:lnTo>
                    <a:pt x="510" y="414"/>
                  </a:lnTo>
                  <a:lnTo>
                    <a:pt x="510" y="408"/>
                  </a:lnTo>
                  <a:lnTo>
                    <a:pt x="504" y="402"/>
                  </a:lnTo>
                  <a:lnTo>
                    <a:pt x="504" y="396"/>
                  </a:lnTo>
                  <a:lnTo>
                    <a:pt x="504" y="384"/>
                  </a:lnTo>
                  <a:lnTo>
                    <a:pt x="504" y="378"/>
                  </a:lnTo>
                  <a:lnTo>
                    <a:pt x="504" y="360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510" y="348"/>
                  </a:lnTo>
                  <a:lnTo>
                    <a:pt x="510" y="336"/>
                  </a:lnTo>
                  <a:lnTo>
                    <a:pt x="516" y="330"/>
                  </a:lnTo>
                  <a:lnTo>
                    <a:pt x="522" y="324"/>
                  </a:lnTo>
                  <a:lnTo>
                    <a:pt x="528" y="318"/>
                  </a:lnTo>
                  <a:lnTo>
                    <a:pt x="534" y="312"/>
                  </a:lnTo>
                  <a:lnTo>
                    <a:pt x="534" y="300"/>
                  </a:lnTo>
                  <a:lnTo>
                    <a:pt x="540" y="294"/>
                  </a:lnTo>
                  <a:lnTo>
                    <a:pt x="546" y="288"/>
                  </a:lnTo>
                  <a:lnTo>
                    <a:pt x="552" y="276"/>
                  </a:lnTo>
                  <a:lnTo>
                    <a:pt x="558" y="264"/>
                  </a:lnTo>
                  <a:lnTo>
                    <a:pt x="558" y="258"/>
                  </a:lnTo>
                  <a:lnTo>
                    <a:pt x="558" y="252"/>
                  </a:lnTo>
                  <a:lnTo>
                    <a:pt x="558" y="246"/>
                  </a:lnTo>
                  <a:lnTo>
                    <a:pt x="564" y="246"/>
                  </a:lnTo>
                  <a:lnTo>
                    <a:pt x="564" y="240"/>
                  </a:lnTo>
                  <a:lnTo>
                    <a:pt x="570" y="234"/>
                  </a:lnTo>
                  <a:lnTo>
                    <a:pt x="564" y="216"/>
                  </a:lnTo>
                  <a:lnTo>
                    <a:pt x="564" y="210"/>
                  </a:lnTo>
                  <a:lnTo>
                    <a:pt x="570" y="210"/>
                  </a:lnTo>
                  <a:lnTo>
                    <a:pt x="570" y="204"/>
                  </a:lnTo>
                  <a:lnTo>
                    <a:pt x="570" y="198"/>
                  </a:lnTo>
                  <a:lnTo>
                    <a:pt x="582" y="180"/>
                  </a:lnTo>
                  <a:lnTo>
                    <a:pt x="582" y="174"/>
                  </a:lnTo>
                  <a:lnTo>
                    <a:pt x="582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606" y="150"/>
                  </a:lnTo>
                  <a:lnTo>
                    <a:pt x="612" y="150"/>
                  </a:lnTo>
                  <a:lnTo>
                    <a:pt x="618" y="150"/>
                  </a:lnTo>
                  <a:lnTo>
                    <a:pt x="624" y="138"/>
                  </a:lnTo>
                  <a:lnTo>
                    <a:pt x="618" y="132"/>
                  </a:lnTo>
                  <a:lnTo>
                    <a:pt x="618" y="126"/>
                  </a:lnTo>
                  <a:lnTo>
                    <a:pt x="618" y="120"/>
                  </a:lnTo>
                  <a:lnTo>
                    <a:pt x="618" y="114"/>
                  </a:lnTo>
                  <a:lnTo>
                    <a:pt x="612" y="108"/>
                  </a:lnTo>
                  <a:lnTo>
                    <a:pt x="612" y="102"/>
                  </a:lnTo>
                  <a:lnTo>
                    <a:pt x="618" y="90"/>
                  </a:lnTo>
                  <a:lnTo>
                    <a:pt x="624" y="84"/>
                  </a:lnTo>
                  <a:lnTo>
                    <a:pt x="618" y="84"/>
                  </a:lnTo>
                  <a:lnTo>
                    <a:pt x="618" y="78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0" y="72"/>
                  </a:lnTo>
                  <a:lnTo>
                    <a:pt x="600" y="66"/>
                  </a:lnTo>
                  <a:lnTo>
                    <a:pt x="600" y="60"/>
                  </a:lnTo>
                  <a:lnTo>
                    <a:pt x="600" y="48"/>
                  </a:lnTo>
                  <a:lnTo>
                    <a:pt x="612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36"/>
                  </a:lnTo>
                  <a:lnTo>
                    <a:pt x="630" y="30"/>
                  </a:lnTo>
                  <a:lnTo>
                    <a:pt x="636" y="24"/>
                  </a:lnTo>
                  <a:lnTo>
                    <a:pt x="642" y="24"/>
                  </a:lnTo>
                  <a:lnTo>
                    <a:pt x="648" y="24"/>
                  </a:lnTo>
                  <a:lnTo>
                    <a:pt x="648" y="18"/>
                  </a:lnTo>
                  <a:lnTo>
                    <a:pt x="654" y="12"/>
                  </a:lnTo>
                  <a:lnTo>
                    <a:pt x="660" y="0"/>
                  </a:lnTo>
                  <a:lnTo>
                    <a:pt x="678" y="0"/>
                  </a:lnTo>
                  <a:lnTo>
                    <a:pt x="696" y="0"/>
                  </a:lnTo>
                  <a:lnTo>
                    <a:pt x="702" y="0"/>
                  </a:lnTo>
                  <a:lnTo>
                    <a:pt x="714" y="0"/>
                  </a:lnTo>
                  <a:lnTo>
                    <a:pt x="720" y="6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44" y="24"/>
                  </a:lnTo>
                  <a:lnTo>
                    <a:pt x="744" y="30"/>
                  </a:lnTo>
                  <a:lnTo>
                    <a:pt x="732" y="42"/>
                  </a:lnTo>
                  <a:lnTo>
                    <a:pt x="726" y="42"/>
                  </a:lnTo>
                  <a:lnTo>
                    <a:pt x="720" y="42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54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90"/>
                  </a:lnTo>
                  <a:lnTo>
                    <a:pt x="726" y="84"/>
                  </a:lnTo>
                  <a:lnTo>
                    <a:pt x="738" y="84"/>
                  </a:lnTo>
                  <a:lnTo>
                    <a:pt x="750" y="96"/>
                  </a:lnTo>
                  <a:lnTo>
                    <a:pt x="768" y="96"/>
                  </a:lnTo>
                  <a:lnTo>
                    <a:pt x="768" y="90"/>
                  </a:lnTo>
                  <a:lnTo>
                    <a:pt x="774" y="84"/>
                  </a:lnTo>
                  <a:lnTo>
                    <a:pt x="780" y="78"/>
                  </a:lnTo>
                  <a:lnTo>
                    <a:pt x="786" y="78"/>
                  </a:lnTo>
                  <a:lnTo>
                    <a:pt x="792" y="72"/>
                  </a:lnTo>
                  <a:lnTo>
                    <a:pt x="804" y="72"/>
                  </a:lnTo>
                  <a:lnTo>
                    <a:pt x="804" y="66"/>
                  </a:lnTo>
                  <a:lnTo>
                    <a:pt x="810" y="66"/>
                  </a:lnTo>
                  <a:lnTo>
                    <a:pt x="810" y="72"/>
                  </a:lnTo>
                  <a:lnTo>
                    <a:pt x="816" y="66"/>
                  </a:lnTo>
                  <a:lnTo>
                    <a:pt x="828" y="66"/>
                  </a:lnTo>
                  <a:lnTo>
                    <a:pt x="834" y="72"/>
                  </a:lnTo>
                  <a:lnTo>
                    <a:pt x="840" y="72"/>
                  </a:lnTo>
                  <a:lnTo>
                    <a:pt x="840" y="78"/>
                  </a:lnTo>
                  <a:lnTo>
                    <a:pt x="840" y="84"/>
                  </a:lnTo>
                  <a:lnTo>
                    <a:pt x="852" y="84"/>
                  </a:lnTo>
                  <a:lnTo>
                    <a:pt x="858" y="96"/>
                  </a:lnTo>
                  <a:lnTo>
                    <a:pt x="864" y="108"/>
                  </a:lnTo>
                  <a:lnTo>
                    <a:pt x="876" y="114"/>
                  </a:lnTo>
                  <a:lnTo>
                    <a:pt x="894" y="114"/>
                  </a:lnTo>
                  <a:lnTo>
                    <a:pt x="906" y="114"/>
                  </a:lnTo>
                  <a:lnTo>
                    <a:pt x="906" y="126"/>
                  </a:lnTo>
                  <a:lnTo>
                    <a:pt x="912" y="144"/>
                  </a:lnTo>
                  <a:lnTo>
                    <a:pt x="930" y="138"/>
                  </a:lnTo>
                  <a:lnTo>
                    <a:pt x="936" y="138"/>
                  </a:lnTo>
                  <a:lnTo>
                    <a:pt x="942" y="144"/>
                  </a:lnTo>
                  <a:lnTo>
                    <a:pt x="948" y="150"/>
                  </a:lnTo>
                  <a:lnTo>
                    <a:pt x="954" y="156"/>
                  </a:lnTo>
                  <a:lnTo>
                    <a:pt x="954" y="168"/>
                  </a:lnTo>
                  <a:lnTo>
                    <a:pt x="954" y="174"/>
                  </a:lnTo>
                  <a:lnTo>
                    <a:pt x="960" y="180"/>
                  </a:lnTo>
                  <a:lnTo>
                    <a:pt x="966" y="186"/>
                  </a:lnTo>
                  <a:lnTo>
                    <a:pt x="960" y="186"/>
                  </a:lnTo>
                  <a:lnTo>
                    <a:pt x="966" y="192"/>
                  </a:lnTo>
                  <a:lnTo>
                    <a:pt x="966" y="198"/>
                  </a:lnTo>
                  <a:lnTo>
                    <a:pt x="978" y="204"/>
                  </a:lnTo>
                  <a:lnTo>
                    <a:pt x="1050" y="186"/>
                  </a:lnTo>
                  <a:lnTo>
                    <a:pt x="1056" y="198"/>
                  </a:lnTo>
                  <a:lnTo>
                    <a:pt x="1068" y="210"/>
                  </a:lnTo>
                  <a:lnTo>
                    <a:pt x="1074" y="216"/>
                  </a:lnTo>
                  <a:lnTo>
                    <a:pt x="1080" y="252"/>
                  </a:lnTo>
                  <a:lnTo>
                    <a:pt x="1086" y="270"/>
                  </a:lnTo>
                  <a:lnTo>
                    <a:pt x="1092" y="282"/>
                  </a:lnTo>
                  <a:lnTo>
                    <a:pt x="1086" y="300"/>
                  </a:lnTo>
                  <a:lnTo>
                    <a:pt x="1074" y="330"/>
                  </a:lnTo>
                  <a:lnTo>
                    <a:pt x="1068" y="336"/>
                  </a:lnTo>
                  <a:lnTo>
                    <a:pt x="1062" y="348"/>
                  </a:lnTo>
                  <a:lnTo>
                    <a:pt x="1062" y="360"/>
                  </a:lnTo>
                  <a:lnTo>
                    <a:pt x="1068" y="378"/>
                  </a:lnTo>
                  <a:lnTo>
                    <a:pt x="1074" y="390"/>
                  </a:lnTo>
                  <a:lnTo>
                    <a:pt x="1068" y="396"/>
                  </a:lnTo>
                  <a:lnTo>
                    <a:pt x="1068" y="408"/>
                  </a:lnTo>
                  <a:lnTo>
                    <a:pt x="1062" y="414"/>
                  </a:lnTo>
                  <a:lnTo>
                    <a:pt x="1050" y="432"/>
                  </a:lnTo>
                  <a:lnTo>
                    <a:pt x="1044" y="450"/>
                  </a:lnTo>
                  <a:lnTo>
                    <a:pt x="1038" y="456"/>
                  </a:lnTo>
                  <a:lnTo>
                    <a:pt x="1026" y="468"/>
                  </a:lnTo>
                  <a:lnTo>
                    <a:pt x="1026" y="474"/>
                  </a:lnTo>
                  <a:lnTo>
                    <a:pt x="1026" y="480"/>
                  </a:lnTo>
                  <a:lnTo>
                    <a:pt x="1032" y="492"/>
                  </a:lnTo>
                  <a:lnTo>
                    <a:pt x="1044" y="504"/>
                  </a:lnTo>
                  <a:lnTo>
                    <a:pt x="1044" y="516"/>
                  </a:lnTo>
                  <a:lnTo>
                    <a:pt x="1038" y="528"/>
                  </a:lnTo>
                  <a:lnTo>
                    <a:pt x="1032" y="546"/>
                  </a:lnTo>
                  <a:lnTo>
                    <a:pt x="1032" y="570"/>
                  </a:lnTo>
                  <a:lnTo>
                    <a:pt x="1050" y="594"/>
                  </a:lnTo>
                  <a:lnTo>
                    <a:pt x="1056" y="624"/>
                  </a:lnTo>
                  <a:lnTo>
                    <a:pt x="1056" y="65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9" name="Freeform 24">
              <a:extLst>
                <a:ext uri="{FF2B5EF4-FFF2-40B4-BE49-F238E27FC236}">
                  <a16:creationId xmlns:a16="http://schemas.microsoft.com/office/drawing/2014/main" id="{CAE689DA-332A-4F73-BDE6-8865C9170AA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84829" y="3213406"/>
              <a:ext cx="851989" cy="744754"/>
            </a:xfrm>
            <a:custGeom>
              <a:avLst/>
              <a:gdLst>
                <a:gd name="T0" fmla="*/ 116 w 1602"/>
                <a:gd name="T1" fmla="*/ 91 h 1404"/>
                <a:gd name="T2" fmla="*/ 111 w 1602"/>
                <a:gd name="T3" fmla="*/ 95 h 1404"/>
                <a:gd name="T4" fmla="*/ 102 w 1602"/>
                <a:gd name="T5" fmla="*/ 101 h 1404"/>
                <a:gd name="T6" fmla="*/ 99 w 1602"/>
                <a:gd name="T7" fmla="*/ 103 h 1404"/>
                <a:gd name="T8" fmla="*/ 96 w 1602"/>
                <a:gd name="T9" fmla="*/ 106 h 1404"/>
                <a:gd name="T10" fmla="*/ 93 w 1602"/>
                <a:gd name="T11" fmla="*/ 108 h 1404"/>
                <a:gd name="T12" fmla="*/ 88 w 1602"/>
                <a:gd name="T13" fmla="*/ 106 h 1404"/>
                <a:gd name="T14" fmla="*/ 86 w 1602"/>
                <a:gd name="T15" fmla="*/ 108 h 1404"/>
                <a:gd name="T16" fmla="*/ 81 w 1602"/>
                <a:gd name="T17" fmla="*/ 119 h 1404"/>
                <a:gd name="T18" fmla="*/ 71 w 1602"/>
                <a:gd name="T19" fmla="*/ 109 h 1404"/>
                <a:gd name="T20" fmla="*/ 72 w 1602"/>
                <a:gd name="T21" fmla="*/ 101 h 1404"/>
                <a:gd name="T22" fmla="*/ 74 w 1602"/>
                <a:gd name="T23" fmla="*/ 93 h 1404"/>
                <a:gd name="T24" fmla="*/ 73 w 1602"/>
                <a:gd name="T25" fmla="*/ 82 h 1404"/>
                <a:gd name="T26" fmla="*/ 64 w 1602"/>
                <a:gd name="T27" fmla="*/ 79 h 1404"/>
                <a:gd name="T28" fmla="*/ 59 w 1602"/>
                <a:gd name="T29" fmla="*/ 75 h 1404"/>
                <a:gd name="T30" fmla="*/ 54 w 1602"/>
                <a:gd name="T31" fmla="*/ 71 h 1404"/>
                <a:gd name="T32" fmla="*/ 51 w 1602"/>
                <a:gd name="T33" fmla="*/ 70 h 1404"/>
                <a:gd name="T34" fmla="*/ 45 w 1602"/>
                <a:gd name="T35" fmla="*/ 71 h 1404"/>
                <a:gd name="T36" fmla="*/ 43 w 1602"/>
                <a:gd name="T37" fmla="*/ 68 h 1404"/>
                <a:gd name="T38" fmla="*/ 43 w 1602"/>
                <a:gd name="T39" fmla="*/ 64 h 1404"/>
                <a:gd name="T40" fmla="*/ 36 w 1602"/>
                <a:gd name="T41" fmla="*/ 66 h 1404"/>
                <a:gd name="T42" fmla="*/ 31 w 1602"/>
                <a:gd name="T43" fmla="*/ 55 h 1404"/>
                <a:gd name="T44" fmla="*/ 25 w 1602"/>
                <a:gd name="T45" fmla="*/ 53 h 1404"/>
                <a:gd name="T46" fmla="*/ 19 w 1602"/>
                <a:gd name="T47" fmla="*/ 51 h 1404"/>
                <a:gd name="T48" fmla="*/ 17 w 1602"/>
                <a:gd name="T49" fmla="*/ 43 h 1404"/>
                <a:gd name="T50" fmla="*/ 17 w 1602"/>
                <a:gd name="T51" fmla="*/ 39 h 1404"/>
                <a:gd name="T52" fmla="*/ 12 w 1602"/>
                <a:gd name="T53" fmla="*/ 39 h 1404"/>
                <a:gd name="T54" fmla="*/ 10 w 1602"/>
                <a:gd name="T55" fmla="*/ 35 h 1404"/>
                <a:gd name="T56" fmla="*/ 5 w 1602"/>
                <a:gd name="T57" fmla="*/ 30 h 1404"/>
                <a:gd name="T58" fmla="*/ 3 w 1602"/>
                <a:gd name="T59" fmla="*/ 27 h 1404"/>
                <a:gd name="T60" fmla="*/ 2 w 1602"/>
                <a:gd name="T61" fmla="*/ 25 h 1404"/>
                <a:gd name="T62" fmla="*/ 0 w 1602"/>
                <a:gd name="T63" fmla="*/ 22 h 1404"/>
                <a:gd name="T64" fmla="*/ 8 w 1602"/>
                <a:gd name="T65" fmla="*/ 14 h 1404"/>
                <a:gd name="T66" fmla="*/ 16 w 1602"/>
                <a:gd name="T67" fmla="*/ 16 h 1404"/>
                <a:gd name="T68" fmla="*/ 31 w 1602"/>
                <a:gd name="T69" fmla="*/ 18 h 1404"/>
                <a:gd name="T70" fmla="*/ 43 w 1602"/>
                <a:gd name="T71" fmla="*/ 17 h 1404"/>
                <a:gd name="T72" fmla="*/ 47 w 1602"/>
                <a:gd name="T73" fmla="*/ 6 h 1404"/>
                <a:gd name="T74" fmla="*/ 52 w 1602"/>
                <a:gd name="T75" fmla="*/ 0 h 1404"/>
                <a:gd name="T76" fmla="*/ 55 w 1602"/>
                <a:gd name="T77" fmla="*/ 3 h 1404"/>
                <a:gd name="T78" fmla="*/ 59 w 1602"/>
                <a:gd name="T79" fmla="*/ 9 h 1404"/>
                <a:gd name="T80" fmla="*/ 62 w 1602"/>
                <a:gd name="T81" fmla="*/ 16 h 1404"/>
                <a:gd name="T82" fmla="*/ 66 w 1602"/>
                <a:gd name="T83" fmla="*/ 20 h 1404"/>
                <a:gd name="T84" fmla="*/ 70 w 1602"/>
                <a:gd name="T85" fmla="*/ 25 h 1404"/>
                <a:gd name="T86" fmla="*/ 74 w 1602"/>
                <a:gd name="T87" fmla="*/ 30 h 1404"/>
                <a:gd name="T88" fmla="*/ 76 w 1602"/>
                <a:gd name="T89" fmla="*/ 27 h 1404"/>
                <a:gd name="T90" fmla="*/ 78 w 1602"/>
                <a:gd name="T91" fmla="*/ 27 h 1404"/>
                <a:gd name="T92" fmla="*/ 78 w 1602"/>
                <a:gd name="T93" fmla="*/ 23 h 1404"/>
                <a:gd name="T94" fmla="*/ 82 w 1602"/>
                <a:gd name="T95" fmla="*/ 20 h 1404"/>
                <a:gd name="T96" fmla="*/ 82 w 1602"/>
                <a:gd name="T97" fmla="*/ 18 h 1404"/>
                <a:gd name="T98" fmla="*/ 90 w 1602"/>
                <a:gd name="T99" fmla="*/ 24 h 1404"/>
                <a:gd name="T100" fmla="*/ 90 w 1602"/>
                <a:gd name="T101" fmla="*/ 45 h 1404"/>
                <a:gd name="T102" fmla="*/ 104 w 1602"/>
                <a:gd name="T103" fmla="*/ 41 h 1404"/>
                <a:gd name="T104" fmla="*/ 117 w 1602"/>
                <a:gd name="T105" fmla="*/ 39 h 1404"/>
                <a:gd name="T106" fmla="*/ 125 w 1602"/>
                <a:gd name="T107" fmla="*/ 39 h 1404"/>
                <a:gd name="T108" fmla="*/ 127 w 1602"/>
                <a:gd name="T109" fmla="*/ 43 h 1404"/>
                <a:gd name="T110" fmla="*/ 131 w 1602"/>
                <a:gd name="T111" fmla="*/ 53 h 1404"/>
                <a:gd name="T112" fmla="*/ 133 w 1602"/>
                <a:gd name="T113" fmla="*/ 60 h 1404"/>
                <a:gd name="T114" fmla="*/ 138 w 1602"/>
                <a:gd name="T115" fmla="*/ 73 h 1404"/>
                <a:gd name="T116" fmla="*/ 136 w 1602"/>
                <a:gd name="T117" fmla="*/ 80 h 1404"/>
                <a:gd name="T118" fmla="*/ 129 w 1602"/>
                <a:gd name="T119" fmla="*/ 87 h 1404"/>
                <a:gd name="T120" fmla="*/ 123 w 1602"/>
                <a:gd name="T121" fmla="*/ 95 h 14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02"/>
                <a:gd name="T184" fmla="*/ 0 h 1404"/>
                <a:gd name="T185" fmla="*/ 1602 w 1602"/>
                <a:gd name="T186" fmla="*/ 1404 h 14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02" h="1404">
                  <a:moveTo>
                    <a:pt x="1392" y="1080"/>
                  </a:moveTo>
                  <a:lnTo>
                    <a:pt x="1380" y="1074"/>
                  </a:lnTo>
                  <a:lnTo>
                    <a:pt x="1368" y="1056"/>
                  </a:lnTo>
                  <a:lnTo>
                    <a:pt x="1356" y="1044"/>
                  </a:lnTo>
                  <a:lnTo>
                    <a:pt x="1344" y="1038"/>
                  </a:lnTo>
                  <a:lnTo>
                    <a:pt x="1338" y="1038"/>
                  </a:lnTo>
                  <a:lnTo>
                    <a:pt x="1332" y="1038"/>
                  </a:lnTo>
                  <a:lnTo>
                    <a:pt x="1326" y="1044"/>
                  </a:lnTo>
                  <a:lnTo>
                    <a:pt x="1320" y="1044"/>
                  </a:lnTo>
                  <a:lnTo>
                    <a:pt x="1314" y="1044"/>
                  </a:lnTo>
                  <a:lnTo>
                    <a:pt x="1296" y="1056"/>
                  </a:lnTo>
                  <a:lnTo>
                    <a:pt x="1296" y="1080"/>
                  </a:lnTo>
                  <a:lnTo>
                    <a:pt x="1290" y="1080"/>
                  </a:lnTo>
                  <a:lnTo>
                    <a:pt x="1284" y="1086"/>
                  </a:lnTo>
                  <a:lnTo>
                    <a:pt x="1278" y="1086"/>
                  </a:lnTo>
                  <a:lnTo>
                    <a:pt x="1278" y="1092"/>
                  </a:lnTo>
                  <a:lnTo>
                    <a:pt x="1272" y="1092"/>
                  </a:lnTo>
                  <a:lnTo>
                    <a:pt x="1266" y="1086"/>
                  </a:lnTo>
                  <a:lnTo>
                    <a:pt x="1260" y="1086"/>
                  </a:lnTo>
                  <a:lnTo>
                    <a:pt x="1260" y="1098"/>
                  </a:lnTo>
                  <a:lnTo>
                    <a:pt x="1248" y="1098"/>
                  </a:lnTo>
                  <a:lnTo>
                    <a:pt x="1212" y="1116"/>
                  </a:lnTo>
                  <a:lnTo>
                    <a:pt x="1206" y="1158"/>
                  </a:lnTo>
                  <a:lnTo>
                    <a:pt x="1176" y="1164"/>
                  </a:lnTo>
                  <a:lnTo>
                    <a:pt x="1158" y="1164"/>
                  </a:lnTo>
                  <a:lnTo>
                    <a:pt x="1152" y="1164"/>
                  </a:lnTo>
                  <a:lnTo>
                    <a:pt x="1152" y="1170"/>
                  </a:lnTo>
                  <a:lnTo>
                    <a:pt x="1152" y="1176"/>
                  </a:lnTo>
                  <a:lnTo>
                    <a:pt x="1146" y="1176"/>
                  </a:lnTo>
                  <a:lnTo>
                    <a:pt x="1140" y="1176"/>
                  </a:lnTo>
                  <a:lnTo>
                    <a:pt x="1134" y="1182"/>
                  </a:lnTo>
                  <a:lnTo>
                    <a:pt x="1134" y="1188"/>
                  </a:lnTo>
                  <a:lnTo>
                    <a:pt x="1128" y="1194"/>
                  </a:lnTo>
                  <a:lnTo>
                    <a:pt x="1122" y="1194"/>
                  </a:lnTo>
                  <a:lnTo>
                    <a:pt x="1116" y="1194"/>
                  </a:lnTo>
                  <a:lnTo>
                    <a:pt x="1110" y="1200"/>
                  </a:lnTo>
                  <a:lnTo>
                    <a:pt x="1110" y="1206"/>
                  </a:lnTo>
                  <a:lnTo>
                    <a:pt x="1104" y="1212"/>
                  </a:lnTo>
                  <a:lnTo>
                    <a:pt x="1104" y="1218"/>
                  </a:lnTo>
                  <a:lnTo>
                    <a:pt x="1098" y="1224"/>
                  </a:lnTo>
                  <a:lnTo>
                    <a:pt x="1092" y="1230"/>
                  </a:lnTo>
                  <a:lnTo>
                    <a:pt x="1086" y="1230"/>
                  </a:lnTo>
                  <a:lnTo>
                    <a:pt x="1080" y="1230"/>
                  </a:lnTo>
                  <a:lnTo>
                    <a:pt x="1080" y="1242"/>
                  </a:lnTo>
                  <a:lnTo>
                    <a:pt x="1074" y="1242"/>
                  </a:lnTo>
                  <a:lnTo>
                    <a:pt x="1068" y="1242"/>
                  </a:lnTo>
                  <a:lnTo>
                    <a:pt x="1068" y="1236"/>
                  </a:lnTo>
                  <a:lnTo>
                    <a:pt x="1062" y="1242"/>
                  </a:lnTo>
                  <a:lnTo>
                    <a:pt x="1056" y="1236"/>
                  </a:lnTo>
                  <a:lnTo>
                    <a:pt x="1050" y="1242"/>
                  </a:lnTo>
                  <a:lnTo>
                    <a:pt x="1050" y="1236"/>
                  </a:lnTo>
                  <a:lnTo>
                    <a:pt x="1044" y="1194"/>
                  </a:lnTo>
                  <a:lnTo>
                    <a:pt x="1032" y="1194"/>
                  </a:lnTo>
                  <a:lnTo>
                    <a:pt x="1032" y="1200"/>
                  </a:lnTo>
                  <a:lnTo>
                    <a:pt x="1026" y="1200"/>
                  </a:lnTo>
                  <a:lnTo>
                    <a:pt x="1014" y="1218"/>
                  </a:lnTo>
                  <a:lnTo>
                    <a:pt x="1014" y="1224"/>
                  </a:lnTo>
                  <a:lnTo>
                    <a:pt x="1014" y="1236"/>
                  </a:lnTo>
                  <a:lnTo>
                    <a:pt x="1014" y="1242"/>
                  </a:lnTo>
                  <a:lnTo>
                    <a:pt x="1008" y="1242"/>
                  </a:lnTo>
                  <a:lnTo>
                    <a:pt x="1002" y="1236"/>
                  </a:lnTo>
                  <a:lnTo>
                    <a:pt x="1002" y="1230"/>
                  </a:lnTo>
                  <a:lnTo>
                    <a:pt x="996" y="1236"/>
                  </a:lnTo>
                  <a:lnTo>
                    <a:pt x="990" y="1236"/>
                  </a:lnTo>
                  <a:lnTo>
                    <a:pt x="990" y="1230"/>
                  </a:lnTo>
                  <a:lnTo>
                    <a:pt x="984" y="1236"/>
                  </a:lnTo>
                  <a:lnTo>
                    <a:pt x="978" y="1248"/>
                  </a:lnTo>
                  <a:lnTo>
                    <a:pt x="972" y="1254"/>
                  </a:lnTo>
                  <a:lnTo>
                    <a:pt x="966" y="1260"/>
                  </a:lnTo>
                  <a:lnTo>
                    <a:pt x="930" y="1284"/>
                  </a:lnTo>
                  <a:lnTo>
                    <a:pt x="942" y="1356"/>
                  </a:lnTo>
                  <a:lnTo>
                    <a:pt x="930" y="1368"/>
                  </a:lnTo>
                  <a:lnTo>
                    <a:pt x="852" y="1404"/>
                  </a:lnTo>
                  <a:lnTo>
                    <a:pt x="834" y="1392"/>
                  </a:lnTo>
                  <a:lnTo>
                    <a:pt x="834" y="1362"/>
                  </a:lnTo>
                  <a:lnTo>
                    <a:pt x="828" y="1332"/>
                  </a:lnTo>
                  <a:lnTo>
                    <a:pt x="810" y="1308"/>
                  </a:lnTo>
                  <a:lnTo>
                    <a:pt x="810" y="1284"/>
                  </a:lnTo>
                  <a:lnTo>
                    <a:pt x="816" y="1266"/>
                  </a:lnTo>
                  <a:lnTo>
                    <a:pt x="822" y="1254"/>
                  </a:lnTo>
                  <a:lnTo>
                    <a:pt x="822" y="1242"/>
                  </a:lnTo>
                  <a:lnTo>
                    <a:pt x="810" y="1230"/>
                  </a:lnTo>
                  <a:lnTo>
                    <a:pt x="804" y="1218"/>
                  </a:lnTo>
                  <a:lnTo>
                    <a:pt x="804" y="1212"/>
                  </a:lnTo>
                  <a:lnTo>
                    <a:pt x="804" y="1206"/>
                  </a:lnTo>
                  <a:lnTo>
                    <a:pt x="816" y="1194"/>
                  </a:lnTo>
                  <a:lnTo>
                    <a:pt x="822" y="1188"/>
                  </a:lnTo>
                  <a:lnTo>
                    <a:pt x="828" y="1170"/>
                  </a:lnTo>
                  <a:lnTo>
                    <a:pt x="840" y="1152"/>
                  </a:lnTo>
                  <a:lnTo>
                    <a:pt x="846" y="1146"/>
                  </a:lnTo>
                  <a:lnTo>
                    <a:pt x="846" y="1134"/>
                  </a:lnTo>
                  <a:lnTo>
                    <a:pt x="852" y="1128"/>
                  </a:lnTo>
                  <a:lnTo>
                    <a:pt x="846" y="1116"/>
                  </a:lnTo>
                  <a:lnTo>
                    <a:pt x="840" y="1098"/>
                  </a:lnTo>
                  <a:lnTo>
                    <a:pt x="840" y="1086"/>
                  </a:lnTo>
                  <a:lnTo>
                    <a:pt x="846" y="1074"/>
                  </a:lnTo>
                  <a:lnTo>
                    <a:pt x="852" y="1068"/>
                  </a:lnTo>
                  <a:lnTo>
                    <a:pt x="864" y="1038"/>
                  </a:lnTo>
                  <a:lnTo>
                    <a:pt x="870" y="1020"/>
                  </a:lnTo>
                  <a:lnTo>
                    <a:pt x="864" y="1008"/>
                  </a:lnTo>
                  <a:lnTo>
                    <a:pt x="858" y="990"/>
                  </a:lnTo>
                  <a:lnTo>
                    <a:pt x="852" y="954"/>
                  </a:lnTo>
                  <a:lnTo>
                    <a:pt x="846" y="948"/>
                  </a:lnTo>
                  <a:lnTo>
                    <a:pt x="834" y="936"/>
                  </a:lnTo>
                  <a:lnTo>
                    <a:pt x="828" y="924"/>
                  </a:lnTo>
                  <a:lnTo>
                    <a:pt x="756" y="942"/>
                  </a:lnTo>
                  <a:lnTo>
                    <a:pt x="744" y="936"/>
                  </a:lnTo>
                  <a:lnTo>
                    <a:pt x="744" y="930"/>
                  </a:lnTo>
                  <a:lnTo>
                    <a:pt x="738" y="924"/>
                  </a:lnTo>
                  <a:lnTo>
                    <a:pt x="744" y="924"/>
                  </a:lnTo>
                  <a:lnTo>
                    <a:pt x="738" y="918"/>
                  </a:lnTo>
                  <a:lnTo>
                    <a:pt x="732" y="912"/>
                  </a:lnTo>
                  <a:lnTo>
                    <a:pt x="732" y="906"/>
                  </a:lnTo>
                  <a:lnTo>
                    <a:pt x="732" y="894"/>
                  </a:lnTo>
                  <a:lnTo>
                    <a:pt x="726" y="888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6"/>
                  </a:lnTo>
                  <a:lnTo>
                    <a:pt x="690" y="882"/>
                  </a:lnTo>
                  <a:lnTo>
                    <a:pt x="684" y="864"/>
                  </a:lnTo>
                  <a:lnTo>
                    <a:pt x="684" y="852"/>
                  </a:lnTo>
                  <a:lnTo>
                    <a:pt x="672" y="852"/>
                  </a:lnTo>
                  <a:lnTo>
                    <a:pt x="654" y="852"/>
                  </a:lnTo>
                  <a:lnTo>
                    <a:pt x="642" y="846"/>
                  </a:lnTo>
                  <a:lnTo>
                    <a:pt x="636" y="834"/>
                  </a:lnTo>
                  <a:lnTo>
                    <a:pt x="630" y="822"/>
                  </a:lnTo>
                  <a:lnTo>
                    <a:pt x="618" y="822"/>
                  </a:lnTo>
                  <a:lnTo>
                    <a:pt x="618" y="816"/>
                  </a:lnTo>
                  <a:lnTo>
                    <a:pt x="618" y="810"/>
                  </a:lnTo>
                  <a:lnTo>
                    <a:pt x="612" y="810"/>
                  </a:lnTo>
                  <a:lnTo>
                    <a:pt x="606" y="804"/>
                  </a:lnTo>
                  <a:lnTo>
                    <a:pt x="594" y="804"/>
                  </a:lnTo>
                  <a:lnTo>
                    <a:pt x="588" y="810"/>
                  </a:lnTo>
                  <a:lnTo>
                    <a:pt x="588" y="804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70" y="810"/>
                  </a:lnTo>
                  <a:lnTo>
                    <a:pt x="564" y="816"/>
                  </a:lnTo>
                  <a:lnTo>
                    <a:pt x="558" y="816"/>
                  </a:lnTo>
                  <a:lnTo>
                    <a:pt x="552" y="822"/>
                  </a:lnTo>
                  <a:lnTo>
                    <a:pt x="546" y="828"/>
                  </a:lnTo>
                  <a:lnTo>
                    <a:pt x="546" y="834"/>
                  </a:lnTo>
                  <a:lnTo>
                    <a:pt x="528" y="834"/>
                  </a:lnTo>
                  <a:lnTo>
                    <a:pt x="516" y="822"/>
                  </a:lnTo>
                  <a:lnTo>
                    <a:pt x="504" y="822"/>
                  </a:lnTo>
                  <a:lnTo>
                    <a:pt x="492" y="82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6" y="792"/>
                  </a:lnTo>
                  <a:lnTo>
                    <a:pt x="492" y="786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504" y="780"/>
                  </a:lnTo>
                  <a:lnTo>
                    <a:pt x="510" y="780"/>
                  </a:lnTo>
                  <a:lnTo>
                    <a:pt x="522" y="768"/>
                  </a:lnTo>
                  <a:lnTo>
                    <a:pt x="522" y="762"/>
                  </a:lnTo>
                  <a:lnTo>
                    <a:pt x="504" y="756"/>
                  </a:lnTo>
                  <a:lnTo>
                    <a:pt x="498" y="756"/>
                  </a:lnTo>
                  <a:lnTo>
                    <a:pt x="498" y="744"/>
                  </a:lnTo>
                  <a:lnTo>
                    <a:pt x="492" y="738"/>
                  </a:lnTo>
                  <a:lnTo>
                    <a:pt x="480" y="738"/>
                  </a:lnTo>
                  <a:lnTo>
                    <a:pt x="474" y="738"/>
                  </a:lnTo>
                  <a:lnTo>
                    <a:pt x="456" y="738"/>
                  </a:lnTo>
                  <a:lnTo>
                    <a:pt x="438" y="738"/>
                  </a:lnTo>
                  <a:lnTo>
                    <a:pt x="432" y="750"/>
                  </a:lnTo>
                  <a:lnTo>
                    <a:pt x="426" y="756"/>
                  </a:lnTo>
                  <a:lnTo>
                    <a:pt x="426" y="762"/>
                  </a:lnTo>
                  <a:lnTo>
                    <a:pt x="420" y="762"/>
                  </a:lnTo>
                  <a:lnTo>
                    <a:pt x="408" y="744"/>
                  </a:lnTo>
                  <a:lnTo>
                    <a:pt x="408" y="732"/>
                  </a:lnTo>
                  <a:lnTo>
                    <a:pt x="390" y="714"/>
                  </a:lnTo>
                  <a:lnTo>
                    <a:pt x="384" y="702"/>
                  </a:lnTo>
                  <a:lnTo>
                    <a:pt x="384" y="690"/>
                  </a:lnTo>
                  <a:lnTo>
                    <a:pt x="372" y="690"/>
                  </a:lnTo>
                  <a:lnTo>
                    <a:pt x="366" y="660"/>
                  </a:lnTo>
                  <a:lnTo>
                    <a:pt x="354" y="630"/>
                  </a:lnTo>
                  <a:lnTo>
                    <a:pt x="348" y="630"/>
                  </a:lnTo>
                  <a:lnTo>
                    <a:pt x="336" y="630"/>
                  </a:lnTo>
                  <a:lnTo>
                    <a:pt x="330" y="630"/>
                  </a:lnTo>
                  <a:lnTo>
                    <a:pt x="318" y="630"/>
                  </a:lnTo>
                  <a:lnTo>
                    <a:pt x="312" y="624"/>
                  </a:lnTo>
                  <a:lnTo>
                    <a:pt x="306" y="624"/>
                  </a:lnTo>
                  <a:lnTo>
                    <a:pt x="294" y="618"/>
                  </a:lnTo>
                  <a:lnTo>
                    <a:pt x="288" y="612"/>
                  </a:lnTo>
                  <a:lnTo>
                    <a:pt x="276" y="600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58" y="588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8"/>
                  </a:lnTo>
                  <a:lnTo>
                    <a:pt x="216" y="582"/>
                  </a:lnTo>
                  <a:lnTo>
                    <a:pt x="210" y="588"/>
                  </a:lnTo>
                  <a:lnTo>
                    <a:pt x="198" y="582"/>
                  </a:lnTo>
                  <a:lnTo>
                    <a:pt x="180" y="582"/>
                  </a:lnTo>
                  <a:lnTo>
                    <a:pt x="174" y="552"/>
                  </a:lnTo>
                  <a:lnTo>
                    <a:pt x="168" y="504"/>
                  </a:lnTo>
                  <a:lnTo>
                    <a:pt x="186" y="504"/>
                  </a:lnTo>
                  <a:lnTo>
                    <a:pt x="192" y="504"/>
                  </a:lnTo>
                  <a:lnTo>
                    <a:pt x="192" y="498"/>
                  </a:lnTo>
                  <a:lnTo>
                    <a:pt x="192" y="492"/>
                  </a:lnTo>
                  <a:lnTo>
                    <a:pt x="192" y="486"/>
                  </a:lnTo>
                  <a:lnTo>
                    <a:pt x="198" y="486"/>
                  </a:lnTo>
                  <a:lnTo>
                    <a:pt x="198" y="480"/>
                  </a:lnTo>
                  <a:lnTo>
                    <a:pt x="204" y="474"/>
                  </a:lnTo>
                  <a:lnTo>
                    <a:pt x="210" y="468"/>
                  </a:lnTo>
                  <a:lnTo>
                    <a:pt x="198" y="462"/>
                  </a:lnTo>
                  <a:lnTo>
                    <a:pt x="192" y="444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32"/>
                  </a:lnTo>
                  <a:lnTo>
                    <a:pt x="168" y="438"/>
                  </a:lnTo>
                  <a:lnTo>
                    <a:pt x="150" y="450"/>
                  </a:lnTo>
                  <a:lnTo>
                    <a:pt x="144" y="456"/>
                  </a:lnTo>
                  <a:lnTo>
                    <a:pt x="132" y="456"/>
                  </a:lnTo>
                  <a:lnTo>
                    <a:pt x="126" y="468"/>
                  </a:lnTo>
                  <a:lnTo>
                    <a:pt x="114" y="468"/>
                  </a:lnTo>
                  <a:lnTo>
                    <a:pt x="108" y="468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14"/>
                  </a:lnTo>
                  <a:lnTo>
                    <a:pt x="108" y="396"/>
                  </a:lnTo>
                  <a:lnTo>
                    <a:pt x="120" y="396"/>
                  </a:lnTo>
                  <a:lnTo>
                    <a:pt x="126" y="384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84" y="354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0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60" y="318"/>
                  </a:lnTo>
                  <a:lnTo>
                    <a:pt x="42" y="324"/>
                  </a:lnTo>
                  <a:lnTo>
                    <a:pt x="36" y="318"/>
                  </a:lnTo>
                  <a:lnTo>
                    <a:pt x="36" y="312"/>
                  </a:lnTo>
                  <a:lnTo>
                    <a:pt x="36" y="306"/>
                  </a:lnTo>
                  <a:lnTo>
                    <a:pt x="36" y="300"/>
                  </a:lnTo>
                  <a:lnTo>
                    <a:pt x="30" y="300"/>
                  </a:lnTo>
                  <a:lnTo>
                    <a:pt x="30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24" y="276"/>
                  </a:lnTo>
                  <a:lnTo>
                    <a:pt x="18" y="276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18" y="234"/>
                  </a:lnTo>
                  <a:lnTo>
                    <a:pt x="30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42" y="192"/>
                  </a:lnTo>
                  <a:lnTo>
                    <a:pt x="66" y="186"/>
                  </a:lnTo>
                  <a:lnTo>
                    <a:pt x="90" y="156"/>
                  </a:lnTo>
                  <a:lnTo>
                    <a:pt x="102" y="144"/>
                  </a:lnTo>
                  <a:lnTo>
                    <a:pt x="138" y="150"/>
                  </a:lnTo>
                  <a:lnTo>
                    <a:pt x="162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0" y="180"/>
                  </a:lnTo>
                  <a:lnTo>
                    <a:pt x="174" y="180"/>
                  </a:lnTo>
                  <a:lnTo>
                    <a:pt x="180" y="186"/>
                  </a:lnTo>
                  <a:lnTo>
                    <a:pt x="186" y="186"/>
                  </a:lnTo>
                  <a:lnTo>
                    <a:pt x="198" y="192"/>
                  </a:lnTo>
                  <a:lnTo>
                    <a:pt x="216" y="198"/>
                  </a:lnTo>
                  <a:lnTo>
                    <a:pt x="252" y="204"/>
                  </a:lnTo>
                  <a:lnTo>
                    <a:pt x="258" y="210"/>
                  </a:lnTo>
                  <a:lnTo>
                    <a:pt x="306" y="216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84" y="210"/>
                  </a:lnTo>
                  <a:lnTo>
                    <a:pt x="408" y="222"/>
                  </a:lnTo>
                  <a:lnTo>
                    <a:pt x="438" y="228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86" y="222"/>
                  </a:lnTo>
                  <a:lnTo>
                    <a:pt x="492" y="210"/>
                  </a:lnTo>
                  <a:lnTo>
                    <a:pt x="492" y="198"/>
                  </a:lnTo>
                  <a:lnTo>
                    <a:pt x="486" y="180"/>
                  </a:lnTo>
                  <a:lnTo>
                    <a:pt x="492" y="162"/>
                  </a:lnTo>
                  <a:lnTo>
                    <a:pt x="510" y="96"/>
                  </a:lnTo>
                  <a:lnTo>
                    <a:pt x="516" y="84"/>
                  </a:lnTo>
                  <a:lnTo>
                    <a:pt x="522" y="84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34" y="72"/>
                  </a:lnTo>
                  <a:lnTo>
                    <a:pt x="534" y="60"/>
                  </a:lnTo>
                  <a:lnTo>
                    <a:pt x="540" y="36"/>
                  </a:lnTo>
                  <a:lnTo>
                    <a:pt x="546" y="6"/>
                  </a:lnTo>
                  <a:lnTo>
                    <a:pt x="558" y="6"/>
                  </a:lnTo>
                  <a:lnTo>
                    <a:pt x="564" y="0"/>
                  </a:lnTo>
                  <a:lnTo>
                    <a:pt x="582" y="0"/>
                  </a:lnTo>
                  <a:lnTo>
                    <a:pt x="588" y="0"/>
                  </a:lnTo>
                  <a:lnTo>
                    <a:pt x="594" y="6"/>
                  </a:lnTo>
                  <a:lnTo>
                    <a:pt x="600" y="12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24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36" y="36"/>
                  </a:lnTo>
                  <a:lnTo>
                    <a:pt x="642" y="36"/>
                  </a:lnTo>
                  <a:lnTo>
                    <a:pt x="642" y="42"/>
                  </a:lnTo>
                  <a:lnTo>
                    <a:pt x="648" y="54"/>
                  </a:lnTo>
                  <a:lnTo>
                    <a:pt x="660" y="72"/>
                  </a:lnTo>
                  <a:lnTo>
                    <a:pt x="666" y="78"/>
                  </a:lnTo>
                  <a:lnTo>
                    <a:pt x="672" y="90"/>
                  </a:lnTo>
                  <a:lnTo>
                    <a:pt x="678" y="102"/>
                  </a:lnTo>
                  <a:lnTo>
                    <a:pt x="678" y="114"/>
                  </a:lnTo>
                  <a:lnTo>
                    <a:pt x="684" y="132"/>
                  </a:lnTo>
                  <a:lnTo>
                    <a:pt x="684" y="144"/>
                  </a:lnTo>
                  <a:lnTo>
                    <a:pt x="690" y="162"/>
                  </a:lnTo>
                  <a:lnTo>
                    <a:pt x="696" y="168"/>
                  </a:lnTo>
                  <a:lnTo>
                    <a:pt x="696" y="180"/>
                  </a:lnTo>
                  <a:lnTo>
                    <a:pt x="702" y="186"/>
                  </a:lnTo>
                  <a:lnTo>
                    <a:pt x="708" y="186"/>
                  </a:lnTo>
                  <a:lnTo>
                    <a:pt x="714" y="198"/>
                  </a:lnTo>
                  <a:lnTo>
                    <a:pt x="720" y="198"/>
                  </a:lnTo>
                  <a:lnTo>
                    <a:pt x="732" y="204"/>
                  </a:lnTo>
                  <a:lnTo>
                    <a:pt x="738" y="210"/>
                  </a:lnTo>
                  <a:lnTo>
                    <a:pt x="738" y="216"/>
                  </a:lnTo>
                  <a:lnTo>
                    <a:pt x="744" y="222"/>
                  </a:lnTo>
                  <a:lnTo>
                    <a:pt x="750" y="228"/>
                  </a:lnTo>
                  <a:lnTo>
                    <a:pt x="756" y="228"/>
                  </a:lnTo>
                  <a:lnTo>
                    <a:pt x="768" y="240"/>
                  </a:lnTo>
                  <a:lnTo>
                    <a:pt x="774" y="252"/>
                  </a:lnTo>
                  <a:lnTo>
                    <a:pt x="780" y="258"/>
                  </a:lnTo>
                  <a:lnTo>
                    <a:pt x="786" y="258"/>
                  </a:lnTo>
                  <a:lnTo>
                    <a:pt x="798" y="264"/>
                  </a:lnTo>
                  <a:lnTo>
                    <a:pt x="798" y="270"/>
                  </a:lnTo>
                  <a:lnTo>
                    <a:pt x="798" y="276"/>
                  </a:lnTo>
                  <a:lnTo>
                    <a:pt x="810" y="288"/>
                  </a:lnTo>
                  <a:lnTo>
                    <a:pt x="816" y="288"/>
                  </a:lnTo>
                  <a:lnTo>
                    <a:pt x="816" y="300"/>
                  </a:lnTo>
                  <a:lnTo>
                    <a:pt x="816" y="306"/>
                  </a:lnTo>
                  <a:lnTo>
                    <a:pt x="822" y="318"/>
                  </a:lnTo>
                  <a:lnTo>
                    <a:pt x="828" y="324"/>
                  </a:lnTo>
                  <a:lnTo>
                    <a:pt x="834" y="330"/>
                  </a:lnTo>
                  <a:lnTo>
                    <a:pt x="846" y="336"/>
                  </a:lnTo>
                  <a:lnTo>
                    <a:pt x="846" y="342"/>
                  </a:lnTo>
                  <a:lnTo>
                    <a:pt x="852" y="348"/>
                  </a:lnTo>
                  <a:lnTo>
                    <a:pt x="852" y="354"/>
                  </a:lnTo>
                  <a:lnTo>
                    <a:pt x="858" y="354"/>
                  </a:lnTo>
                  <a:lnTo>
                    <a:pt x="858" y="348"/>
                  </a:lnTo>
                  <a:lnTo>
                    <a:pt x="864" y="342"/>
                  </a:lnTo>
                  <a:lnTo>
                    <a:pt x="864" y="336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76" y="306"/>
                  </a:lnTo>
                  <a:lnTo>
                    <a:pt x="870" y="300"/>
                  </a:lnTo>
                  <a:lnTo>
                    <a:pt x="870" y="294"/>
                  </a:lnTo>
                  <a:lnTo>
                    <a:pt x="876" y="294"/>
                  </a:lnTo>
                  <a:lnTo>
                    <a:pt x="882" y="300"/>
                  </a:lnTo>
                  <a:lnTo>
                    <a:pt x="888" y="300"/>
                  </a:lnTo>
                  <a:lnTo>
                    <a:pt x="888" y="306"/>
                  </a:lnTo>
                  <a:lnTo>
                    <a:pt x="894" y="300"/>
                  </a:lnTo>
                  <a:lnTo>
                    <a:pt x="900" y="294"/>
                  </a:lnTo>
                  <a:lnTo>
                    <a:pt x="894" y="288"/>
                  </a:lnTo>
                  <a:lnTo>
                    <a:pt x="888" y="282"/>
                  </a:lnTo>
                  <a:lnTo>
                    <a:pt x="888" y="276"/>
                  </a:lnTo>
                  <a:lnTo>
                    <a:pt x="894" y="276"/>
                  </a:lnTo>
                  <a:lnTo>
                    <a:pt x="900" y="276"/>
                  </a:lnTo>
                  <a:lnTo>
                    <a:pt x="900" y="270"/>
                  </a:lnTo>
                  <a:lnTo>
                    <a:pt x="906" y="264"/>
                  </a:lnTo>
                  <a:lnTo>
                    <a:pt x="906" y="258"/>
                  </a:lnTo>
                  <a:lnTo>
                    <a:pt x="918" y="264"/>
                  </a:lnTo>
                  <a:lnTo>
                    <a:pt x="918" y="258"/>
                  </a:lnTo>
                  <a:lnTo>
                    <a:pt x="924" y="252"/>
                  </a:lnTo>
                  <a:lnTo>
                    <a:pt x="930" y="252"/>
                  </a:lnTo>
                  <a:lnTo>
                    <a:pt x="930" y="246"/>
                  </a:lnTo>
                  <a:lnTo>
                    <a:pt x="936" y="234"/>
                  </a:lnTo>
                  <a:lnTo>
                    <a:pt x="942" y="228"/>
                  </a:lnTo>
                  <a:lnTo>
                    <a:pt x="942" y="222"/>
                  </a:lnTo>
                  <a:lnTo>
                    <a:pt x="948" y="222"/>
                  </a:lnTo>
                  <a:lnTo>
                    <a:pt x="948" y="216"/>
                  </a:lnTo>
                  <a:lnTo>
                    <a:pt x="942" y="216"/>
                  </a:lnTo>
                  <a:lnTo>
                    <a:pt x="936" y="216"/>
                  </a:lnTo>
                  <a:lnTo>
                    <a:pt x="936" y="210"/>
                  </a:lnTo>
                  <a:lnTo>
                    <a:pt x="942" y="210"/>
                  </a:lnTo>
                  <a:lnTo>
                    <a:pt x="972" y="210"/>
                  </a:lnTo>
                  <a:lnTo>
                    <a:pt x="1032" y="216"/>
                  </a:lnTo>
                  <a:lnTo>
                    <a:pt x="1068" y="216"/>
                  </a:lnTo>
                  <a:lnTo>
                    <a:pt x="1056" y="234"/>
                  </a:lnTo>
                  <a:lnTo>
                    <a:pt x="1050" y="240"/>
                  </a:lnTo>
                  <a:lnTo>
                    <a:pt x="1044" y="246"/>
                  </a:lnTo>
                  <a:lnTo>
                    <a:pt x="1038" y="246"/>
                  </a:lnTo>
                  <a:lnTo>
                    <a:pt x="1026" y="282"/>
                  </a:lnTo>
                  <a:lnTo>
                    <a:pt x="1032" y="306"/>
                  </a:lnTo>
                  <a:lnTo>
                    <a:pt x="1044" y="324"/>
                  </a:lnTo>
                  <a:lnTo>
                    <a:pt x="1044" y="342"/>
                  </a:lnTo>
                  <a:lnTo>
                    <a:pt x="1062" y="366"/>
                  </a:lnTo>
                  <a:lnTo>
                    <a:pt x="1056" y="396"/>
                  </a:lnTo>
                  <a:lnTo>
                    <a:pt x="1038" y="462"/>
                  </a:lnTo>
                  <a:lnTo>
                    <a:pt x="1038" y="498"/>
                  </a:lnTo>
                  <a:lnTo>
                    <a:pt x="1038" y="522"/>
                  </a:lnTo>
                  <a:lnTo>
                    <a:pt x="1038" y="534"/>
                  </a:lnTo>
                  <a:lnTo>
                    <a:pt x="1056" y="522"/>
                  </a:lnTo>
                  <a:lnTo>
                    <a:pt x="1098" y="504"/>
                  </a:lnTo>
                  <a:lnTo>
                    <a:pt x="1104" y="498"/>
                  </a:lnTo>
                  <a:lnTo>
                    <a:pt x="1128" y="492"/>
                  </a:lnTo>
                  <a:lnTo>
                    <a:pt x="1152" y="480"/>
                  </a:lnTo>
                  <a:lnTo>
                    <a:pt x="1170" y="474"/>
                  </a:lnTo>
                  <a:lnTo>
                    <a:pt x="1188" y="468"/>
                  </a:lnTo>
                  <a:lnTo>
                    <a:pt x="1200" y="462"/>
                  </a:lnTo>
                  <a:lnTo>
                    <a:pt x="1224" y="450"/>
                  </a:lnTo>
                  <a:lnTo>
                    <a:pt x="1248" y="450"/>
                  </a:lnTo>
                  <a:lnTo>
                    <a:pt x="1266" y="450"/>
                  </a:lnTo>
                  <a:lnTo>
                    <a:pt x="1296" y="456"/>
                  </a:lnTo>
                  <a:lnTo>
                    <a:pt x="1308" y="456"/>
                  </a:lnTo>
                  <a:lnTo>
                    <a:pt x="1326" y="456"/>
                  </a:lnTo>
                  <a:lnTo>
                    <a:pt x="1338" y="456"/>
                  </a:lnTo>
                  <a:lnTo>
                    <a:pt x="1350" y="462"/>
                  </a:lnTo>
                  <a:lnTo>
                    <a:pt x="1356" y="462"/>
                  </a:lnTo>
                  <a:lnTo>
                    <a:pt x="1374" y="456"/>
                  </a:lnTo>
                  <a:lnTo>
                    <a:pt x="1386" y="456"/>
                  </a:lnTo>
                  <a:lnTo>
                    <a:pt x="1392" y="456"/>
                  </a:lnTo>
                  <a:lnTo>
                    <a:pt x="1398" y="456"/>
                  </a:lnTo>
                  <a:lnTo>
                    <a:pt x="1422" y="456"/>
                  </a:lnTo>
                  <a:lnTo>
                    <a:pt x="1440" y="456"/>
                  </a:lnTo>
                  <a:lnTo>
                    <a:pt x="1446" y="456"/>
                  </a:lnTo>
                  <a:lnTo>
                    <a:pt x="1476" y="456"/>
                  </a:lnTo>
                  <a:lnTo>
                    <a:pt x="1470" y="468"/>
                  </a:lnTo>
                  <a:lnTo>
                    <a:pt x="1470" y="474"/>
                  </a:lnTo>
                  <a:lnTo>
                    <a:pt x="1470" y="486"/>
                  </a:lnTo>
                  <a:lnTo>
                    <a:pt x="1464" y="492"/>
                  </a:lnTo>
                  <a:lnTo>
                    <a:pt x="1464" y="498"/>
                  </a:lnTo>
                  <a:lnTo>
                    <a:pt x="1458" y="498"/>
                  </a:lnTo>
                  <a:lnTo>
                    <a:pt x="1458" y="510"/>
                  </a:lnTo>
                  <a:lnTo>
                    <a:pt x="1452" y="522"/>
                  </a:lnTo>
                  <a:lnTo>
                    <a:pt x="1458" y="528"/>
                  </a:lnTo>
                  <a:lnTo>
                    <a:pt x="1464" y="546"/>
                  </a:lnTo>
                  <a:lnTo>
                    <a:pt x="1470" y="552"/>
                  </a:lnTo>
                  <a:lnTo>
                    <a:pt x="1476" y="564"/>
                  </a:lnTo>
                  <a:lnTo>
                    <a:pt x="1488" y="588"/>
                  </a:lnTo>
                  <a:lnTo>
                    <a:pt x="1506" y="606"/>
                  </a:lnTo>
                  <a:lnTo>
                    <a:pt x="1506" y="612"/>
                  </a:lnTo>
                  <a:lnTo>
                    <a:pt x="1518" y="618"/>
                  </a:lnTo>
                  <a:lnTo>
                    <a:pt x="1512" y="630"/>
                  </a:lnTo>
                  <a:lnTo>
                    <a:pt x="1518" y="642"/>
                  </a:lnTo>
                  <a:lnTo>
                    <a:pt x="1518" y="648"/>
                  </a:lnTo>
                  <a:lnTo>
                    <a:pt x="1530" y="666"/>
                  </a:lnTo>
                  <a:lnTo>
                    <a:pt x="1518" y="672"/>
                  </a:lnTo>
                  <a:lnTo>
                    <a:pt x="1524" y="696"/>
                  </a:lnTo>
                  <a:lnTo>
                    <a:pt x="1518" y="732"/>
                  </a:lnTo>
                  <a:lnTo>
                    <a:pt x="1524" y="762"/>
                  </a:lnTo>
                  <a:lnTo>
                    <a:pt x="1524" y="780"/>
                  </a:lnTo>
                  <a:lnTo>
                    <a:pt x="1524" y="810"/>
                  </a:lnTo>
                  <a:lnTo>
                    <a:pt x="1530" y="834"/>
                  </a:lnTo>
                  <a:lnTo>
                    <a:pt x="1536" y="846"/>
                  </a:lnTo>
                  <a:lnTo>
                    <a:pt x="1542" y="846"/>
                  </a:lnTo>
                  <a:lnTo>
                    <a:pt x="1584" y="840"/>
                  </a:lnTo>
                  <a:lnTo>
                    <a:pt x="1590" y="846"/>
                  </a:lnTo>
                  <a:lnTo>
                    <a:pt x="1596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90" y="864"/>
                  </a:lnTo>
                  <a:lnTo>
                    <a:pt x="1578" y="882"/>
                  </a:lnTo>
                  <a:lnTo>
                    <a:pt x="1572" y="906"/>
                  </a:lnTo>
                  <a:lnTo>
                    <a:pt x="1560" y="924"/>
                  </a:lnTo>
                  <a:lnTo>
                    <a:pt x="1560" y="936"/>
                  </a:lnTo>
                  <a:lnTo>
                    <a:pt x="1548" y="960"/>
                  </a:lnTo>
                  <a:lnTo>
                    <a:pt x="1542" y="978"/>
                  </a:lnTo>
                  <a:lnTo>
                    <a:pt x="1536" y="990"/>
                  </a:lnTo>
                  <a:lnTo>
                    <a:pt x="1530" y="990"/>
                  </a:lnTo>
                  <a:lnTo>
                    <a:pt x="1506" y="996"/>
                  </a:lnTo>
                  <a:lnTo>
                    <a:pt x="1494" y="1002"/>
                  </a:lnTo>
                  <a:lnTo>
                    <a:pt x="1482" y="1002"/>
                  </a:lnTo>
                  <a:lnTo>
                    <a:pt x="1464" y="1008"/>
                  </a:lnTo>
                  <a:lnTo>
                    <a:pt x="1446" y="1026"/>
                  </a:lnTo>
                  <a:lnTo>
                    <a:pt x="1440" y="1026"/>
                  </a:lnTo>
                  <a:lnTo>
                    <a:pt x="1434" y="1038"/>
                  </a:lnTo>
                  <a:lnTo>
                    <a:pt x="1428" y="1044"/>
                  </a:lnTo>
                  <a:lnTo>
                    <a:pt x="1428" y="1062"/>
                  </a:lnTo>
                  <a:lnTo>
                    <a:pt x="1428" y="1086"/>
                  </a:lnTo>
                  <a:lnTo>
                    <a:pt x="1416" y="1092"/>
                  </a:lnTo>
                  <a:lnTo>
                    <a:pt x="1410" y="1080"/>
                  </a:lnTo>
                  <a:lnTo>
                    <a:pt x="1392" y="10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0" name="Freeform 25">
              <a:extLst>
                <a:ext uri="{FF2B5EF4-FFF2-40B4-BE49-F238E27FC236}">
                  <a16:creationId xmlns:a16="http://schemas.microsoft.com/office/drawing/2014/main" id="{39FDFF90-5ACF-4D65-81AD-C44D2CBE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70228" y="3063559"/>
              <a:ext cx="644023" cy="704498"/>
            </a:xfrm>
            <a:custGeom>
              <a:avLst/>
              <a:gdLst>
                <a:gd name="T0" fmla="*/ 74 w 1212"/>
                <a:gd name="T1" fmla="*/ 113 h 1326"/>
                <a:gd name="T2" fmla="*/ 60 w 1212"/>
                <a:gd name="T3" fmla="*/ 116 h 1326"/>
                <a:gd name="T4" fmla="*/ 62 w 1212"/>
                <a:gd name="T5" fmla="*/ 110 h 1326"/>
                <a:gd name="T6" fmla="*/ 60 w 1212"/>
                <a:gd name="T7" fmla="*/ 105 h 1326"/>
                <a:gd name="T8" fmla="*/ 52 w 1212"/>
                <a:gd name="T9" fmla="*/ 96 h 1326"/>
                <a:gd name="T10" fmla="*/ 47 w 1212"/>
                <a:gd name="T11" fmla="*/ 98 h 1326"/>
                <a:gd name="T12" fmla="*/ 44 w 1212"/>
                <a:gd name="T13" fmla="*/ 93 h 1326"/>
                <a:gd name="T14" fmla="*/ 40 w 1212"/>
                <a:gd name="T15" fmla="*/ 96 h 1326"/>
                <a:gd name="T16" fmla="*/ 35 w 1212"/>
                <a:gd name="T17" fmla="*/ 102 h 1326"/>
                <a:gd name="T18" fmla="*/ 27 w 1212"/>
                <a:gd name="T19" fmla="*/ 100 h 1326"/>
                <a:gd name="T20" fmla="*/ 23 w 1212"/>
                <a:gd name="T21" fmla="*/ 96 h 1326"/>
                <a:gd name="T22" fmla="*/ 20 w 1212"/>
                <a:gd name="T23" fmla="*/ 90 h 1326"/>
                <a:gd name="T24" fmla="*/ 18 w 1212"/>
                <a:gd name="T25" fmla="*/ 89 h 1326"/>
                <a:gd name="T26" fmla="*/ 18 w 1212"/>
                <a:gd name="T27" fmla="*/ 85 h 1326"/>
                <a:gd name="T28" fmla="*/ 19 w 1212"/>
                <a:gd name="T29" fmla="*/ 83 h 1326"/>
                <a:gd name="T30" fmla="*/ 19 w 1212"/>
                <a:gd name="T31" fmla="*/ 82 h 1326"/>
                <a:gd name="T32" fmla="*/ 20 w 1212"/>
                <a:gd name="T33" fmla="*/ 79 h 1326"/>
                <a:gd name="T34" fmla="*/ 19 w 1212"/>
                <a:gd name="T35" fmla="*/ 75 h 1326"/>
                <a:gd name="T36" fmla="*/ 17 w 1212"/>
                <a:gd name="T37" fmla="*/ 77 h 1326"/>
                <a:gd name="T38" fmla="*/ 14 w 1212"/>
                <a:gd name="T39" fmla="*/ 76 h 1326"/>
                <a:gd name="T40" fmla="*/ 12 w 1212"/>
                <a:gd name="T41" fmla="*/ 71 h 1326"/>
                <a:gd name="T42" fmla="*/ 8 w 1212"/>
                <a:gd name="T43" fmla="*/ 69 h 1326"/>
                <a:gd name="T44" fmla="*/ 0 w 1212"/>
                <a:gd name="T45" fmla="*/ 72 h 1326"/>
                <a:gd name="T46" fmla="*/ 2 w 1212"/>
                <a:gd name="T47" fmla="*/ 67 h 1326"/>
                <a:gd name="T48" fmla="*/ 3 w 1212"/>
                <a:gd name="T49" fmla="*/ 61 h 1326"/>
                <a:gd name="T50" fmla="*/ 4 w 1212"/>
                <a:gd name="T51" fmla="*/ 56 h 1326"/>
                <a:gd name="T52" fmla="*/ 4 w 1212"/>
                <a:gd name="T53" fmla="*/ 52 h 1326"/>
                <a:gd name="T54" fmla="*/ 2 w 1212"/>
                <a:gd name="T55" fmla="*/ 47 h 1326"/>
                <a:gd name="T56" fmla="*/ 2 w 1212"/>
                <a:gd name="T57" fmla="*/ 42 h 1326"/>
                <a:gd name="T58" fmla="*/ 5 w 1212"/>
                <a:gd name="T59" fmla="*/ 39 h 1326"/>
                <a:gd name="T60" fmla="*/ 5 w 1212"/>
                <a:gd name="T61" fmla="*/ 35 h 1326"/>
                <a:gd name="T62" fmla="*/ 7 w 1212"/>
                <a:gd name="T63" fmla="*/ 31 h 1326"/>
                <a:gd name="T64" fmla="*/ 14 w 1212"/>
                <a:gd name="T65" fmla="*/ 31 h 1326"/>
                <a:gd name="T66" fmla="*/ 18 w 1212"/>
                <a:gd name="T67" fmla="*/ 27 h 1326"/>
                <a:gd name="T68" fmla="*/ 22 w 1212"/>
                <a:gd name="T69" fmla="*/ 24 h 1326"/>
                <a:gd name="T70" fmla="*/ 27 w 1212"/>
                <a:gd name="T71" fmla="*/ 20 h 1326"/>
                <a:gd name="T72" fmla="*/ 35 w 1212"/>
                <a:gd name="T73" fmla="*/ 21 h 1326"/>
                <a:gd name="T74" fmla="*/ 61 w 1212"/>
                <a:gd name="T75" fmla="*/ 8 h 1326"/>
                <a:gd name="T76" fmla="*/ 73 w 1212"/>
                <a:gd name="T77" fmla="*/ 4 h 1326"/>
                <a:gd name="T78" fmla="*/ 86 w 1212"/>
                <a:gd name="T79" fmla="*/ 12 h 1326"/>
                <a:gd name="T80" fmla="*/ 92 w 1212"/>
                <a:gd name="T81" fmla="*/ 13 h 1326"/>
                <a:gd name="T82" fmla="*/ 86 w 1212"/>
                <a:gd name="T83" fmla="*/ 18 h 1326"/>
                <a:gd name="T84" fmla="*/ 88 w 1212"/>
                <a:gd name="T85" fmla="*/ 33 h 1326"/>
                <a:gd name="T86" fmla="*/ 97 w 1212"/>
                <a:gd name="T87" fmla="*/ 49 h 1326"/>
                <a:gd name="T88" fmla="*/ 102 w 1212"/>
                <a:gd name="T89" fmla="*/ 57 h 1326"/>
                <a:gd name="T90" fmla="*/ 104 w 1212"/>
                <a:gd name="T91" fmla="*/ 67 h 1326"/>
                <a:gd name="T92" fmla="*/ 101 w 1212"/>
                <a:gd name="T93" fmla="*/ 69 h 1326"/>
                <a:gd name="T94" fmla="*/ 97 w 1212"/>
                <a:gd name="T95" fmla="*/ 69 h 1326"/>
                <a:gd name="T96" fmla="*/ 96 w 1212"/>
                <a:gd name="T97" fmla="*/ 71 h 1326"/>
                <a:gd name="T98" fmla="*/ 93 w 1212"/>
                <a:gd name="T99" fmla="*/ 70 h 1326"/>
                <a:gd name="T100" fmla="*/ 86 w 1212"/>
                <a:gd name="T101" fmla="*/ 69 h 1326"/>
                <a:gd name="T102" fmla="*/ 82 w 1212"/>
                <a:gd name="T103" fmla="*/ 73 h 1326"/>
                <a:gd name="T104" fmla="*/ 79 w 1212"/>
                <a:gd name="T105" fmla="*/ 74 h 1326"/>
                <a:gd name="T106" fmla="*/ 78 w 1212"/>
                <a:gd name="T107" fmla="*/ 79 h 1326"/>
                <a:gd name="T108" fmla="*/ 78 w 1212"/>
                <a:gd name="T109" fmla="*/ 83 h 1326"/>
                <a:gd name="T110" fmla="*/ 82 w 1212"/>
                <a:gd name="T111" fmla="*/ 87 h 1326"/>
                <a:gd name="T112" fmla="*/ 83 w 1212"/>
                <a:gd name="T113" fmla="*/ 90 h 1326"/>
                <a:gd name="T114" fmla="*/ 82 w 1212"/>
                <a:gd name="T115" fmla="*/ 94 h 1326"/>
                <a:gd name="T116" fmla="*/ 82 w 1212"/>
                <a:gd name="T117" fmla="*/ 98 h 1326"/>
                <a:gd name="T118" fmla="*/ 82 w 1212"/>
                <a:gd name="T119" fmla="*/ 104 h 1326"/>
                <a:gd name="T120" fmla="*/ 78 w 1212"/>
                <a:gd name="T121" fmla="*/ 110 h 132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12"/>
                <a:gd name="T184" fmla="*/ 0 h 1326"/>
                <a:gd name="T185" fmla="*/ 1212 w 1212"/>
                <a:gd name="T186" fmla="*/ 1326 h 132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12" h="1326">
                  <a:moveTo>
                    <a:pt x="906" y="1290"/>
                  </a:moveTo>
                  <a:lnTo>
                    <a:pt x="906" y="1296"/>
                  </a:lnTo>
                  <a:lnTo>
                    <a:pt x="900" y="1296"/>
                  </a:lnTo>
                  <a:lnTo>
                    <a:pt x="876" y="1290"/>
                  </a:lnTo>
                  <a:lnTo>
                    <a:pt x="870" y="1290"/>
                  </a:lnTo>
                  <a:lnTo>
                    <a:pt x="864" y="1296"/>
                  </a:lnTo>
                  <a:lnTo>
                    <a:pt x="852" y="1296"/>
                  </a:lnTo>
                  <a:lnTo>
                    <a:pt x="840" y="1302"/>
                  </a:lnTo>
                  <a:lnTo>
                    <a:pt x="834" y="1308"/>
                  </a:lnTo>
                  <a:lnTo>
                    <a:pt x="822" y="1320"/>
                  </a:lnTo>
                  <a:lnTo>
                    <a:pt x="816" y="1320"/>
                  </a:lnTo>
                  <a:lnTo>
                    <a:pt x="732" y="1320"/>
                  </a:lnTo>
                  <a:lnTo>
                    <a:pt x="696" y="1320"/>
                  </a:lnTo>
                  <a:lnTo>
                    <a:pt x="690" y="1326"/>
                  </a:lnTo>
                  <a:lnTo>
                    <a:pt x="678" y="1326"/>
                  </a:lnTo>
                  <a:lnTo>
                    <a:pt x="672" y="1308"/>
                  </a:lnTo>
                  <a:lnTo>
                    <a:pt x="696" y="1302"/>
                  </a:lnTo>
                  <a:lnTo>
                    <a:pt x="708" y="1296"/>
                  </a:lnTo>
                  <a:lnTo>
                    <a:pt x="720" y="1284"/>
                  </a:lnTo>
                  <a:lnTo>
                    <a:pt x="714" y="1278"/>
                  </a:lnTo>
                  <a:lnTo>
                    <a:pt x="714" y="1266"/>
                  </a:lnTo>
                  <a:lnTo>
                    <a:pt x="708" y="1260"/>
                  </a:lnTo>
                  <a:lnTo>
                    <a:pt x="708" y="1254"/>
                  </a:lnTo>
                  <a:lnTo>
                    <a:pt x="708" y="1248"/>
                  </a:lnTo>
                  <a:lnTo>
                    <a:pt x="702" y="1236"/>
                  </a:lnTo>
                  <a:lnTo>
                    <a:pt x="702" y="1230"/>
                  </a:lnTo>
                  <a:lnTo>
                    <a:pt x="702" y="1218"/>
                  </a:lnTo>
                  <a:lnTo>
                    <a:pt x="696" y="1200"/>
                  </a:lnTo>
                  <a:lnTo>
                    <a:pt x="696" y="1182"/>
                  </a:lnTo>
                  <a:lnTo>
                    <a:pt x="666" y="1182"/>
                  </a:lnTo>
                  <a:lnTo>
                    <a:pt x="672" y="1134"/>
                  </a:lnTo>
                  <a:lnTo>
                    <a:pt x="666" y="1128"/>
                  </a:lnTo>
                  <a:lnTo>
                    <a:pt x="660" y="1092"/>
                  </a:lnTo>
                  <a:lnTo>
                    <a:pt x="654" y="1098"/>
                  </a:lnTo>
                  <a:lnTo>
                    <a:pt x="594" y="1098"/>
                  </a:lnTo>
                  <a:lnTo>
                    <a:pt x="576" y="1098"/>
                  </a:lnTo>
                  <a:lnTo>
                    <a:pt x="570" y="1104"/>
                  </a:lnTo>
                  <a:lnTo>
                    <a:pt x="564" y="1110"/>
                  </a:lnTo>
                  <a:lnTo>
                    <a:pt x="558" y="1110"/>
                  </a:lnTo>
                  <a:lnTo>
                    <a:pt x="552" y="1110"/>
                  </a:lnTo>
                  <a:lnTo>
                    <a:pt x="546" y="1110"/>
                  </a:lnTo>
                  <a:lnTo>
                    <a:pt x="546" y="1116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10" y="1128"/>
                  </a:lnTo>
                  <a:lnTo>
                    <a:pt x="522" y="1104"/>
                  </a:lnTo>
                  <a:lnTo>
                    <a:pt x="510" y="1098"/>
                  </a:lnTo>
                  <a:lnTo>
                    <a:pt x="510" y="1074"/>
                  </a:lnTo>
                  <a:lnTo>
                    <a:pt x="504" y="1068"/>
                  </a:lnTo>
                  <a:lnTo>
                    <a:pt x="498" y="1068"/>
                  </a:lnTo>
                  <a:lnTo>
                    <a:pt x="492" y="1068"/>
                  </a:lnTo>
                  <a:lnTo>
                    <a:pt x="474" y="1080"/>
                  </a:lnTo>
                  <a:lnTo>
                    <a:pt x="474" y="1086"/>
                  </a:lnTo>
                  <a:lnTo>
                    <a:pt x="474" y="1092"/>
                  </a:lnTo>
                  <a:lnTo>
                    <a:pt x="468" y="1098"/>
                  </a:lnTo>
                  <a:lnTo>
                    <a:pt x="462" y="1104"/>
                  </a:lnTo>
                  <a:lnTo>
                    <a:pt x="456" y="1110"/>
                  </a:lnTo>
                  <a:lnTo>
                    <a:pt x="456" y="1122"/>
                  </a:lnTo>
                  <a:lnTo>
                    <a:pt x="456" y="1128"/>
                  </a:lnTo>
                  <a:lnTo>
                    <a:pt x="450" y="1140"/>
                  </a:lnTo>
                  <a:lnTo>
                    <a:pt x="444" y="1146"/>
                  </a:lnTo>
                  <a:lnTo>
                    <a:pt x="426" y="1170"/>
                  </a:lnTo>
                  <a:lnTo>
                    <a:pt x="408" y="1176"/>
                  </a:lnTo>
                  <a:lnTo>
                    <a:pt x="402" y="1170"/>
                  </a:lnTo>
                  <a:lnTo>
                    <a:pt x="396" y="1170"/>
                  </a:lnTo>
                  <a:lnTo>
                    <a:pt x="396" y="1158"/>
                  </a:lnTo>
                  <a:lnTo>
                    <a:pt x="384" y="1152"/>
                  </a:lnTo>
                  <a:lnTo>
                    <a:pt x="372" y="1140"/>
                  </a:lnTo>
                  <a:lnTo>
                    <a:pt x="354" y="1140"/>
                  </a:lnTo>
                  <a:lnTo>
                    <a:pt x="306" y="1146"/>
                  </a:lnTo>
                  <a:lnTo>
                    <a:pt x="294" y="1134"/>
                  </a:lnTo>
                  <a:lnTo>
                    <a:pt x="294" y="1128"/>
                  </a:lnTo>
                  <a:lnTo>
                    <a:pt x="288" y="1122"/>
                  </a:lnTo>
                  <a:lnTo>
                    <a:pt x="276" y="1122"/>
                  </a:lnTo>
                  <a:lnTo>
                    <a:pt x="276" y="1110"/>
                  </a:lnTo>
                  <a:lnTo>
                    <a:pt x="276" y="1104"/>
                  </a:lnTo>
                  <a:lnTo>
                    <a:pt x="270" y="1098"/>
                  </a:lnTo>
                  <a:lnTo>
                    <a:pt x="264" y="1086"/>
                  </a:lnTo>
                  <a:lnTo>
                    <a:pt x="264" y="1074"/>
                  </a:lnTo>
                  <a:lnTo>
                    <a:pt x="258" y="1068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34" y="1038"/>
                  </a:lnTo>
                  <a:lnTo>
                    <a:pt x="228" y="1038"/>
                  </a:lnTo>
                  <a:lnTo>
                    <a:pt x="222" y="1038"/>
                  </a:lnTo>
                  <a:lnTo>
                    <a:pt x="216" y="1038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0"/>
                  </a:lnTo>
                  <a:lnTo>
                    <a:pt x="204" y="1014"/>
                  </a:lnTo>
                  <a:lnTo>
                    <a:pt x="204" y="1008"/>
                  </a:lnTo>
                  <a:lnTo>
                    <a:pt x="198" y="1002"/>
                  </a:lnTo>
                  <a:lnTo>
                    <a:pt x="198" y="996"/>
                  </a:lnTo>
                  <a:lnTo>
                    <a:pt x="198" y="990"/>
                  </a:lnTo>
                  <a:lnTo>
                    <a:pt x="204" y="990"/>
                  </a:lnTo>
                  <a:lnTo>
                    <a:pt x="204" y="984"/>
                  </a:lnTo>
                  <a:lnTo>
                    <a:pt x="210" y="978"/>
                  </a:lnTo>
                  <a:lnTo>
                    <a:pt x="210" y="972"/>
                  </a:lnTo>
                  <a:lnTo>
                    <a:pt x="210" y="966"/>
                  </a:lnTo>
                  <a:lnTo>
                    <a:pt x="216" y="960"/>
                  </a:lnTo>
                  <a:lnTo>
                    <a:pt x="216" y="954"/>
                  </a:lnTo>
                  <a:lnTo>
                    <a:pt x="210" y="954"/>
                  </a:lnTo>
                  <a:lnTo>
                    <a:pt x="204" y="954"/>
                  </a:lnTo>
                  <a:lnTo>
                    <a:pt x="216" y="954"/>
                  </a:lnTo>
                  <a:lnTo>
                    <a:pt x="216" y="948"/>
                  </a:lnTo>
                  <a:lnTo>
                    <a:pt x="210" y="948"/>
                  </a:lnTo>
                  <a:lnTo>
                    <a:pt x="210" y="942"/>
                  </a:lnTo>
                  <a:lnTo>
                    <a:pt x="216" y="942"/>
                  </a:lnTo>
                  <a:lnTo>
                    <a:pt x="222" y="942"/>
                  </a:lnTo>
                  <a:lnTo>
                    <a:pt x="222" y="936"/>
                  </a:lnTo>
                  <a:lnTo>
                    <a:pt x="216" y="936"/>
                  </a:lnTo>
                  <a:lnTo>
                    <a:pt x="210" y="936"/>
                  </a:lnTo>
                  <a:lnTo>
                    <a:pt x="210" y="930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22" y="918"/>
                  </a:lnTo>
                  <a:lnTo>
                    <a:pt x="228" y="912"/>
                  </a:lnTo>
                  <a:lnTo>
                    <a:pt x="228" y="906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2" y="888"/>
                  </a:lnTo>
                  <a:lnTo>
                    <a:pt x="222" y="882"/>
                  </a:lnTo>
                  <a:lnTo>
                    <a:pt x="222" y="876"/>
                  </a:lnTo>
                  <a:lnTo>
                    <a:pt x="222" y="858"/>
                  </a:lnTo>
                  <a:lnTo>
                    <a:pt x="216" y="858"/>
                  </a:lnTo>
                  <a:lnTo>
                    <a:pt x="216" y="852"/>
                  </a:lnTo>
                  <a:lnTo>
                    <a:pt x="210" y="852"/>
                  </a:lnTo>
                  <a:lnTo>
                    <a:pt x="210" y="840"/>
                  </a:lnTo>
                  <a:lnTo>
                    <a:pt x="198" y="840"/>
                  </a:lnTo>
                  <a:lnTo>
                    <a:pt x="198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0" y="894"/>
                  </a:lnTo>
                  <a:lnTo>
                    <a:pt x="180" y="906"/>
                  </a:lnTo>
                  <a:lnTo>
                    <a:pt x="156" y="912"/>
                  </a:lnTo>
                  <a:lnTo>
                    <a:pt x="156" y="894"/>
                  </a:lnTo>
                  <a:lnTo>
                    <a:pt x="156" y="882"/>
                  </a:lnTo>
                  <a:lnTo>
                    <a:pt x="156" y="876"/>
                  </a:lnTo>
                  <a:lnTo>
                    <a:pt x="150" y="876"/>
                  </a:lnTo>
                  <a:lnTo>
                    <a:pt x="144" y="876"/>
                  </a:lnTo>
                  <a:lnTo>
                    <a:pt x="138" y="870"/>
                  </a:lnTo>
                  <a:lnTo>
                    <a:pt x="132" y="864"/>
                  </a:lnTo>
                  <a:lnTo>
                    <a:pt x="138" y="840"/>
                  </a:lnTo>
                  <a:lnTo>
                    <a:pt x="132" y="840"/>
                  </a:lnTo>
                  <a:lnTo>
                    <a:pt x="138" y="810"/>
                  </a:lnTo>
                  <a:lnTo>
                    <a:pt x="144" y="804"/>
                  </a:lnTo>
                  <a:lnTo>
                    <a:pt x="144" y="798"/>
                  </a:lnTo>
                  <a:lnTo>
                    <a:pt x="156" y="798"/>
                  </a:lnTo>
                  <a:lnTo>
                    <a:pt x="156" y="792"/>
                  </a:lnTo>
                  <a:lnTo>
                    <a:pt x="120" y="792"/>
                  </a:lnTo>
                  <a:lnTo>
                    <a:pt x="108" y="786"/>
                  </a:lnTo>
                  <a:lnTo>
                    <a:pt x="96" y="786"/>
                  </a:lnTo>
                  <a:lnTo>
                    <a:pt x="96" y="780"/>
                  </a:lnTo>
                  <a:lnTo>
                    <a:pt x="78" y="780"/>
                  </a:lnTo>
                  <a:lnTo>
                    <a:pt x="72" y="804"/>
                  </a:lnTo>
                  <a:lnTo>
                    <a:pt x="60" y="816"/>
                  </a:lnTo>
                  <a:lnTo>
                    <a:pt x="36" y="828"/>
                  </a:lnTo>
                  <a:lnTo>
                    <a:pt x="18" y="840"/>
                  </a:lnTo>
                  <a:lnTo>
                    <a:pt x="0" y="822"/>
                  </a:lnTo>
                  <a:lnTo>
                    <a:pt x="6" y="816"/>
                  </a:lnTo>
                  <a:lnTo>
                    <a:pt x="12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18" y="786"/>
                  </a:lnTo>
                  <a:lnTo>
                    <a:pt x="24" y="780"/>
                  </a:lnTo>
                  <a:lnTo>
                    <a:pt x="24" y="768"/>
                  </a:lnTo>
                  <a:lnTo>
                    <a:pt x="24" y="762"/>
                  </a:lnTo>
                  <a:lnTo>
                    <a:pt x="24" y="750"/>
                  </a:lnTo>
                  <a:lnTo>
                    <a:pt x="36" y="714"/>
                  </a:lnTo>
                  <a:lnTo>
                    <a:pt x="36" y="708"/>
                  </a:lnTo>
                  <a:lnTo>
                    <a:pt x="42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6" y="690"/>
                  </a:lnTo>
                  <a:lnTo>
                    <a:pt x="42" y="684"/>
                  </a:lnTo>
                  <a:lnTo>
                    <a:pt x="42" y="672"/>
                  </a:lnTo>
                  <a:lnTo>
                    <a:pt x="42" y="666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48" y="648"/>
                  </a:lnTo>
                  <a:lnTo>
                    <a:pt x="54" y="642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54" y="612"/>
                  </a:lnTo>
                  <a:lnTo>
                    <a:pt x="48" y="606"/>
                  </a:lnTo>
                  <a:lnTo>
                    <a:pt x="48" y="600"/>
                  </a:lnTo>
                  <a:lnTo>
                    <a:pt x="42" y="600"/>
                  </a:lnTo>
                  <a:lnTo>
                    <a:pt x="36" y="594"/>
                  </a:lnTo>
                  <a:lnTo>
                    <a:pt x="36" y="588"/>
                  </a:lnTo>
                  <a:lnTo>
                    <a:pt x="30" y="582"/>
                  </a:lnTo>
                  <a:lnTo>
                    <a:pt x="30" y="570"/>
                  </a:lnTo>
                  <a:lnTo>
                    <a:pt x="18" y="552"/>
                  </a:lnTo>
                  <a:lnTo>
                    <a:pt x="18" y="546"/>
                  </a:lnTo>
                  <a:lnTo>
                    <a:pt x="18" y="540"/>
                  </a:lnTo>
                  <a:lnTo>
                    <a:pt x="18" y="528"/>
                  </a:lnTo>
                  <a:lnTo>
                    <a:pt x="18" y="522"/>
                  </a:lnTo>
                  <a:lnTo>
                    <a:pt x="24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30" y="474"/>
                  </a:lnTo>
                  <a:lnTo>
                    <a:pt x="36" y="474"/>
                  </a:lnTo>
                  <a:lnTo>
                    <a:pt x="42" y="468"/>
                  </a:lnTo>
                  <a:lnTo>
                    <a:pt x="48" y="468"/>
                  </a:lnTo>
                  <a:lnTo>
                    <a:pt x="48" y="462"/>
                  </a:lnTo>
                  <a:lnTo>
                    <a:pt x="48" y="456"/>
                  </a:lnTo>
                  <a:lnTo>
                    <a:pt x="54" y="450"/>
                  </a:lnTo>
                  <a:lnTo>
                    <a:pt x="60" y="438"/>
                  </a:lnTo>
                  <a:lnTo>
                    <a:pt x="54" y="438"/>
                  </a:lnTo>
                  <a:lnTo>
                    <a:pt x="54" y="432"/>
                  </a:ln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54" y="402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6" y="384"/>
                  </a:lnTo>
                  <a:lnTo>
                    <a:pt x="72" y="372"/>
                  </a:lnTo>
                  <a:lnTo>
                    <a:pt x="78" y="366"/>
                  </a:lnTo>
                  <a:lnTo>
                    <a:pt x="84" y="360"/>
                  </a:lnTo>
                  <a:lnTo>
                    <a:pt x="102" y="360"/>
                  </a:lnTo>
                  <a:lnTo>
                    <a:pt x="114" y="36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8" y="360"/>
                  </a:lnTo>
                  <a:lnTo>
                    <a:pt x="156" y="360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74" y="342"/>
                  </a:lnTo>
                  <a:lnTo>
                    <a:pt x="180" y="342"/>
                  </a:lnTo>
                  <a:lnTo>
                    <a:pt x="186" y="336"/>
                  </a:lnTo>
                  <a:lnTo>
                    <a:pt x="192" y="330"/>
                  </a:lnTo>
                  <a:lnTo>
                    <a:pt x="204" y="312"/>
                  </a:lnTo>
                  <a:lnTo>
                    <a:pt x="210" y="312"/>
                  </a:lnTo>
                  <a:lnTo>
                    <a:pt x="216" y="306"/>
                  </a:lnTo>
                  <a:lnTo>
                    <a:pt x="216" y="300"/>
                  </a:lnTo>
                  <a:lnTo>
                    <a:pt x="222" y="288"/>
                  </a:lnTo>
                  <a:lnTo>
                    <a:pt x="234" y="288"/>
                  </a:lnTo>
                  <a:lnTo>
                    <a:pt x="240" y="282"/>
                  </a:lnTo>
                  <a:lnTo>
                    <a:pt x="246" y="282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70" y="270"/>
                  </a:lnTo>
                  <a:lnTo>
                    <a:pt x="276" y="264"/>
                  </a:lnTo>
                  <a:lnTo>
                    <a:pt x="282" y="26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8" y="234"/>
                  </a:lnTo>
                  <a:lnTo>
                    <a:pt x="330" y="234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72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14" y="240"/>
                  </a:lnTo>
                  <a:lnTo>
                    <a:pt x="444" y="216"/>
                  </a:lnTo>
                  <a:lnTo>
                    <a:pt x="480" y="204"/>
                  </a:lnTo>
                  <a:lnTo>
                    <a:pt x="600" y="150"/>
                  </a:lnTo>
                  <a:lnTo>
                    <a:pt x="648" y="126"/>
                  </a:lnTo>
                  <a:lnTo>
                    <a:pt x="702" y="96"/>
                  </a:lnTo>
                  <a:lnTo>
                    <a:pt x="708" y="54"/>
                  </a:lnTo>
                  <a:lnTo>
                    <a:pt x="720" y="24"/>
                  </a:lnTo>
                  <a:lnTo>
                    <a:pt x="738" y="12"/>
                  </a:lnTo>
                  <a:lnTo>
                    <a:pt x="768" y="0"/>
                  </a:lnTo>
                  <a:lnTo>
                    <a:pt x="792" y="6"/>
                  </a:lnTo>
                  <a:lnTo>
                    <a:pt x="804" y="12"/>
                  </a:lnTo>
                  <a:lnTo>
                    <a:pt x="834" y="48"/>
                  </a:lnTo>
                  <a:lnTo>
                    <a:pt x="834" y="60"/>
                  </a:lnTo>
                  <a:lnTo>
                    <a:pt x="852" y="84"/>
                  </a:lnTo>
                  <a:lnTo>
                    <a:pt x="864" y="96"/>
                  </a:lnTo>
                  <a:lnTo>
                    <a:pt x="888" y="102"/>
                  </a:lnTo>
                  <a:lnTo>
                    <a:pt x="978" y="120"/>
                  </a:lnTo>
                  <a:lnTo>
                    <a:pt x="984" y="126"/>
                  </a:lnTo>
                  <a:lnTo>
                    <a:pt x="984" y="132"/>
                  </a:lnTo>
                  <a:lnTo>
                    <a:pt x="996" y="138"/>
                  </a:lnTo>
                  <a:lnTo>
                    <a:pt x="1038" y="126"/>
                  </a:lnTo>
                  <a:lnTo>
                    <a:pt x="1056" y="114"/>
                  </a:lnTo>
                  <a:lnTo>
                    <a:pt x="1068" y="126"/>
                  </a:lnTo>
                  <a:lnTo>
                    <a:pt x="1074" y="132"/>
                  </a:lnTo>
                  <a:lnTo>
                    <a:pt x="1068" y="138"/>
                  </a:lnTo>
                  <a:lnTo>
                    <a:pt x="1056" y="150"/>
                  </a:lnTo>
                  <a:lnTo>
                    <a:pt x="1038" y="162"/>
                  </a:lnTo>
                  <a:lnTo>
                    <a:pt x="1038" y="168"/>
                  </a:lnTo>
                  <a:lnTo>
                    <a:pt x="1020" y="174"/>
                  </a:lnTo>
                  <a:lnTo>
                    <a:pt x="1014" y="180"/>
                  </a:lnTo>
                  <a:lnTo>
                    <a:pt x="1008" y="186"/>
                  </a:lnTo>
                  <a:lnTo>
                    <a:pt x="1002" y="198"/>
                  </a:lnTo>
                  <a:lnTo>
                    <a:pt x="984" y="204"/>
                  </a:lnTo>
                  <a:lnTo>
                    <a:pt x="984" y="246"/>
                  </a:lnTo>
                  <a:lnTo>
                    <a:pt x="978" y="270"/>
                  </a:lnTo>
                  <a:lnTo>
                    <a:pt x="990" y="306"/>
                  </a:lnTo>
                  <a:lnTo>
                    <a:pt x="990" y="324"/>
                  </a:lnTo>
                  <a:lnTo>
                    <a:pt x="1002" y="336"/>
                  </a:lnTo>
                  <a:lnTo>
                    <a:pt x="1020" y="372"/>
                  </a:lnTo>
                  <a:lnTo>
                    <a:pt x="1014" y="378"/>
                  </a:lnTo>
                  <a:lnTo>
                    <a:pt x="1014" y="384"/>
                  </a:lnTo>
                  <a:lnTo>
                    <a:pt x="1020" y="384"/>
                  </a:lnTo>
                  <a:lnTo>
                    <a:pt x="1020" y="396"/>
                  </a:lnTo>
                  <a:lnTo>
                    <a:pt x="1062" y="468"/>
                  </a:lnTo>
                  <a:lnTo>
                    <a:pt x="1092" y="522"/>
                  </a:lnTo>
                  <a:lnTo>
                    <a:pt x="1110" y="546"/>
                  </a:lnTo>
                  <a:lnTo>
                    <a:pt x="1122" y="564"/>
                  </a:lnTo>
                  <a:lnTo>
                    <a:pt x="1134" y="576"/>
                  </a:lnTo>
                  <a:lnTo>
                    <a:pt x="1146" y="582"/>
                  </a:lnTo>
                  <a:lnTo>
                    <a:pt x="1146" y="588"/>
                  </a:lnTo>
                  <a:lnTo>
                    <a:pt x="1164" y="600"/>
                  </a:lnTo>
                  <a:lnTo>
                    <a:pt x="1170" y="612"/>
                  </a:lnTo>
                  <a:lnTo>
                    <a:pt x="1170" y="624"/>
                  </a:lnTo>
                  <a:lnTo>
                    <a:pt x="1176" y="654"/>
                  </a:lnTo>
                  <a:lnTo>
                    <a:pt x="1176" y="666"/>
                  </a:lnTo>
                  <a:lnTo>
                    <a:pt x="1182" y="684"/>
                  </a:lnTo>
                  <a:lnTo>
                    <a:pt x="1194" y="696"/>
                  </a:lnTo>
                  <a:lnTo>
                    <a:pt x="1212" y="696"/>
                  </a:lnTo>
                  <a:lnTo>
                    <a:pt x="1206" y="762"/>
                  </a:lnTo>
                  <a:lnTo>
                    <a:pt x="1200" y="768"/>
                  </a:lnTo>
                  <a:lnTo>
                    <a:pt x="1194" y="768"/>
                  </a:lnTo>
                  <a:lnTo>
                    <a:pt x="1194" y="774"/>
                  </a:lnTo>
                  <a:lnTo>
                    <a:pt x="1188" y="774"/>
                  </a:lnTo>
                  <a:lnTo>
                    <a:pt x="1182" y="780"/>
                  </a:lnTo>
                  <a:lnTo>
                    <a:pt x="1176" y="780"/>
                  </a:lnTo>
                  <a:lnTo>
                    <a:pt x="1170" y="780"/>
                  </a:lnTo>
                  <a:lnTo>
                    <a:pt x="1164" y="786"/>
                  </a:lnTo>
                  <a:lnTo>
                    <a:pt x="1158" y="786"/>
                  </a:lnTo>
                  <a:lnTo>
                    <a:pt x="1152" y="786"/>
                  </a:lnTo>
                  <a:lnTo>
                    <a:pt x="1140" y="786"/>
                  </a:lnTo>
                  <a:lnTo>
                    <a:pt x="1134" y="786"/>
                  </a:lnTo>
                  <a:lnTo>
                    <a:pt x="1134" y="780"/>
                  </a:lnTo>
                  <a:lnTo>
                    <a:pt x="1122" y="780"/>
                  </a:lnTo>
                  <a:lnTo>
                    <a:pt x="1116" y="786"/>
                  </a:lnTo>
                  <a:lnTo>
                    <a:pt x="1116" y="792"/>
                  </a:lnTo>
                  <a:lnTo>
                    <a:pt x="1122" y="804"/>
                  </a:lnTo>
                  <a:lnTo>
                    <a:pt x="1128" y="804"/>
                  </a:lnTo>
                  <a:lnTo>
                    <a:pt x="1128" y="816"/>
                  </a:lnTo>
                  <a:lnTo>
                    <a:pt x="1122" y="822"/>
                  </a:lnTo>
                  <a:lnTo>
                    <a:pt x="1116" y="816"/>
                  </a:lnTo>
                  <a:lnTo>
                    <a:pt x="1110" y="816"/>
                  </a:lnTo>
                  <a:lnTo>
                    <a:pt x="1104" y="816"/>
                  </a:lnTo>
                  <a:lnTo>
                    <a:pt x="1098" y="816"/>
                  </a:lnTo>
                  <a:lnTo>
                    <a:pt x="1098" y="822"/>
                  </a:lnTo>
                  <a:lnTo>
                    <a:pt x="1092" y="834"/>
                  </a:lnTo>
                  <a:lnTo>
                    <a:pt x="1092" y="840"/>
                  </a:lnTo>
                  <a:lnTo>
                    <a:pt x="1074" y="840"/>
                  </a:lnTo>
                  <a:lnTo>
                    <a:pt x="1074" y="828"/>
                  </a:lnTo>
                  <a:lnTo>
                    <a:pt x="1062" y="804"/>
                  </a:lnTo>
                  <a:lnTo>
                    <a:pt x="1056" y="792"/>
                  </a:lnTo>
                  <a:lnTo>
                    <a:pt x="1056" y="786"/>
                  </a:lnTo>
                  <a:lnTo>
                    <a:pt x="1026" y="780"/>
                  </a:lnTo>
                  <a:lnTo>
                    <a:pt x="1026" y="768"/>
                  </a:lnTo>
                  <a:lnTo>
                    <a:pt x="1008" y="768"/>
                  </a:lnTo>
                  <a:lnTo>
                    <a:pt x="1002" y="780"/>
                  </a:lnTo>
                  <a:lnTo>
                    <a:pt x="996" y="792"/>
                  </a:lnTo>
                  <a:lnTo>
                    <a:pt x="978" y="798"/>
                  </a:lnTo>
                  <a:lnTo>
                    <a:pt x="972" y="810"/>
                  </a:lnTo>
                  <a:lnTo>
                    <a:pt x="972" y="822"/>
                  </a:lnTo>
                  <a:lnTo>
                    <a:pt x="978" y="828"/>
                  </a:lnTo>
                  <a:lnTo>
                    <a:pt x="978" y="834"/>
                  </a:lnTo>
                  <a:lnTo>
                    <a:pt x="960" y="840"/>
                  </a:lnTo>
                  <a:lnTo>
                    <a:pt x="936" y="840"/>
                  </a:lnTo>
                  <a:lnTo>
                    <a:pt x="918" y="846"/>
                  </a:lnTo>
                  <a:lnTo>
                    <a:pt x="912" y="840"/>
                  </a:lnTo>
                  <a:lnTo>
                    <a:pt x="912" y="834"/>
                  </a:lnTo>
                  <a:lnTo>
                    <a:pt x="906" y="834"/>
                  </a:lnTo>
                  <a:lnTo>
                    <a:pt x="906" y="840"/>
                  </a:lnTo>
                  <a:lnTo>
                    <a:pt x="900" y="846"/>
                  </a:lnTo>
                  <a:lnTo>
                    <a:pt x="906" y="852"/>
                  </a:lnTo>
                  <a:lnTo>
                    <a:pt x="900" y="864"/>
                  </a:lnTo>
                  <a:lnTo>
                    <a:pt x="900" y="876"/>
                  </a:lnTo>
                  <a:lnTo>
                    <a:pt x="900" y="882"/>
                  </a:lnTo>
                  <a:lnTo>
                    <a:pt x="894" y="888"/>
                  </a:lnTo>
                  <a:lnTo>
                    <a:pt x="900" y="900"/>
                  </a:lnTo>
                  <a:lnTo>
                    <a:pt x="900" y="906"/>
                  </a:lnTo>
                  <a:lnTo>
                    <a:pt x="894" y="906"/>
                  </a:lnTo>
                  <a:lnTo>
                    <a:pt x="894" y="912"/>
                  </a:lnTo>
                  <a:lnTo>
                    <a:pt x="900" y="918"/>
                  </a:lnTo>
                  <a:lnTo>
                    <a:pt x="900" y="924"/>
                  </a:lnTo>
                  <a:lnTo>
                    <a:pt x="900" y="948"/>
                  </a:lnTo>
                  <a:lnTo>
                    <a:pt x="888" y="948"/>
                  </a:lnTo>
                  <a:lnTo>
                    <a:pt x="888" y="954"/>
                  </a:lnTo>
                  <a:lnTo>
                    <a:pt x="894" y="954"/>
                  </a:lnTo>
                  <a:lnTo>
                    <a:pt x="900" y="960"/>
                  </a:lnTo>
                  <a:lnTo>
                    <a:pt x="900" y="972"/>
                  </a:lnTo>
                  <a:lnTo>
                    <a:pt x="906" y="984"/>
                  </a:lnTo>
                  <a:lnTo>
                    <a:pt x="912" y="984"/>
                  </a:lnTo>
                  <a:lnTo>
                    <a:pt x="918" y="990"/>
                  </a:lnTo>
                  <a:lnTo>
                    <a:pt x="936" y="990"/>
                  </a:lnTo>
                  <a:lnTo>
                    <a:pt x="936" y="996"/>
                  </a:lnTo>
                  <a:lnTo>
                    <a:pt x="942" y="996"/>
                  </a:lnTo>
                  <a:lnTo>
                    <a:pt x="942" y="1002"/>
                  </a:lnTo>
                  <a:lnTo>
                    <a:pt x="942" y="1008"/>
                  </a:lnTo>
                  <a:lnTo>
                    <a:pt x="948" y="1008"/>
                  </a:lnTo>
                  <a:lnTo>
                    <a:pt x="948" y="1014"/>
                  </a:lnTo>
                  <a:lnTo>
                    <a:pt x="948" y="1020"/>
                  </a:lnTo>
                  <a:lnTo>
                    <a:pt x="954" y="1032"/>
                  </a:lnTo>
                  <a:lnTo>
                    <a:pt x="948" y="1038"/>
                  </a:lnTo>
                  <a:lnTo>
                    <a:pt x="954" y="1044"/>
                  </a:lnTo>
                  <a:lnTo>
                    <a:pt x="954" y="1056"/>
                  </a:lnTo>
                  <a:lnTo>
                    <a:pt x="960" y="1056"/>
                  </a:lnTo>
                  <a:lnTo>
                    <a:pt x="960" y="1062"/>
                  </a:lnTo>
                  <a:lnTo>
                    <a:pt x="954" y="1068"/>
                  </a:lnTo>
                  <a:lnTo>
                    <a:pt x="948" y="1074"/>
                  </a:lnTo>
                  <a:lnTo>
                    <a:pt x="948" y="1080"/>
                  </a:lnTo>
                  <a:lnTo>
                    <a:pt x="948" y="1086"/>
                  </a:lnTo>
                  <a:lnTo>
                    <a:pt x="942" y="1092"/>
                  </a:lnTo>
                  <a:lnTo>
                    <a:pt x="942" y="1098"/>
                  </a:lnTo>
                  <a:lnTo>
                    <a:pt x="942" y="1104"/>
                  </a:lnTo>
                  <a:lnTo>
                    <a:pt x="942" y="1110"/>
                  </a:lnTo>
                  <a:lnTo>
                    <a:pt x="936" y="1116"/>
                  </a:lnTo>
                  <a:lnTo>
                    <a:pt x="936" y="1122"/>
                  </a:lnTo>
                  <a:lnTo>
                    <a:pt x="936" y="1128"/>
                  </a:lnTo>
                  <a:lnTo>
                    <a:pt x="936" y="1134"/>
                  </a:lnTo>
                  <a:lnTo>
                    <a:pt x="942" y="1146"/>
                  </a:lnTo>
                  <a:lnTo>
                    <a:pt x="936" y="1158"/>
                  </a:lnTo>
                  <a:lnTo>
                    <a:pt x="936" y="1170"/>
                  </a:lnTo>
                  <a:lnTo>
                    <a:pt x="936" y="1194"/>
                  </a:lnTo>
                  <a:lnTo>
                    <a:pt x="930" y="1200"/>
                  </a:lnTo>
                  <a:lnTo>
                    <a:pt x="930" y="1212"/>
                  </a:lnTo>
                  <a:lnTo>
                    <a:pt x="918" y="1218"/>
                  </a:lnTo>
                  <a:lnTo>
                    <a:pt x="918" y="1230"/>
                  </a:lnTo>
                  <a:lnTo>
                    <a:pt x="906" y="1230"/>
                  </a:lnTo>
                  <a:lnTo>
                    <a:pt x="900" y="1254"/>
                  </a:lnTo>
                  <a:lnTo>
                    <a:pt x="900" y="1260"/>
                  </a:lnTo>
                  <a:lnTo>
                    <a:pt x="900" y="1266"/>
                  </a:lnTo>
                  <a:lnTo>
                    <a:pt x="900" y="1272"/>
                  </a:lnTo>
                  <a:lnTo>
                    <a:pt x="900" y="1278"/>
                  </a:lnTo>
                  <a:lnTo>
                    <a:pt x="900" y="1284"/>
                  </a:lnTo>
                  <a:lnTo>
                    <a:pt x="906" y="129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1" name="Freeform 26">
              <a:extLst>
                <a:ext uri="{FF2B5EF4-FFF2-40B4-BE49-F238E27FC236}">
                  <a16:creationId xmlns:a16="http://schemas.microsoft.com/office/drawing/2014/main" id="{25725EFE-FE00-49A8-A87A-6752B785C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79173" y="3477313"/>
              <a:ext cx="650731" cy="559125"/>
            </a:xfrm>
            <a:custGeom>
              <a:avLst/>
              <a:gdLst>
                <a:gd name="T0" fmla="*/ 95 w 1224"/>
                <a:gd name="T1" fmla="*/ 89 h 1050"/>
                <a:gd name="T2" fmla="*/ 90 w 1224"/>
                <a:gd name="T3" fmla="*/ 84 h 1050"/>
                <a:gd name="T4" fmla="*/ 84 w 1224"/>
                <a:gd name="T5" fmla="*/ 83 h 1050"/>
                <a:gd name="T6" fmla="*/ 82 w 1224"/>
                <a:gd name="T7" fmla="*/ 80 h 1050"/>
                <a:gd name="T8" fmla="*/ 85 w 1224"/>
                <a:gd name="T9" fmla="*/ 77 h 1050"/>
                <a:gd name="T10" fmla="*/ 81 w 1224"/>
                <a:gd name="T11" fmla="*/ 76 h 1050"/>
                <a:gd name="T12" fmla="*/ 77 w 1224"/>
                <a:gd name="T13" fmla="*/ 77 h 1050"/>
                <a:gd name="T14" fmla="*/ 78 w 1224"/>
                <a:gd name="T15" fmla="*/ 73 h 1050"/>
                <a:gd name="T16" fmla="*/ 59 w 1224"/>
                <a:gd name="T17" fmla="*/ 71 h 1050"/>
                <a:gd name="T18" fmla="*/ 41 w 1224"/>
                <a:gd name="T19" fmla="*/ 73 h 1050"/>
                <a:gd name="T20" fmla="*/ 33 w 1224"/>
                <a:gd name="T21" fmla="*/ 71 h 1050"/>
                <a:gd name="T22" fmla="*/ 30 w 1224"/>
                <a:gd name="T23" fmla="*/ 75 h 1050"/>
                <a:gd name="T24" fmla="*/ 27 w 1224"/>
                <a:gd name="T25" fmla="*/ 80 h 1050"/>
                <a:gd name="T26" fmla="*/ 12 w 1224"/>
                <a:gd name="T27" fmla="*/ 81 h 1050"/>
                <a:gd name="T28" fmla="*/ 9 w 1224"/>
                <a:gd name="T29" fmla="*/ 84 h 1050"/>
                <a:gd name="T30" fmla="*/ 6 w 1224"/>
                <a:gd name="T31" fmla="*/ 83 h 1050"/>
                <a:gd name="T32" fmla="*/ 1 w 1224"/>
                <a:gd name="T33" fmla="*/ 83 h 1050"/>
                <a:gd name="T34" fmla="*/ 3 w 1224"/>
                <a:gd name="T35" fmla="*/ 77 h 1050"/>
                <a:gd name="T36" fmla="*/ 5 w 1224"/>
                <a:gd name="T37" fmla="*/ 70 h 1050"/>
                <a:gd name="T38" fmla="*/ 2 w 1224"/>
                <a:gd name="T39" fmla="*/ 65 h 1050"/>
                <a:gd name="T40" fmla="*/ 3 w 1224"/>
                <a:gd name="T41" fmla="*/ 58 h 1050"/>
                <a:gd name="T42" fmla="*/ 4 w 1224"/>
                <a:gd name="T43" fmla="*/ 51 h 1050"/>
                <a:gd name="T44" fmla="*/ 3 w 1224"/>
                <a:gd name="T45" fmla="*/ 47 h 1050"/>
                <a:gd name="T46" fmla="*/ 4 w 1224"/>
                <a:gd name="T47" fmla="*/ 39 h 1050"/>
                <a:gd name="T48" fmla="*/ 6 w 1224"/>
                <a:gd name="T49" fmla="*/ 29 h 1050"/>
                <a:gd name="T50" fmla="*/ 3 w 1224"/>
                <a:gd name="T51" fmla="*/ 22 h 1050"/>
                <a:gd name="T52" fmla="*/ 2 w 1224"/>
                <a:gd name="T53" fmla="*/ 14 h 1050"/>
                <a:gd name="T54" fmla="*/ 0 w 1224"/>
                <a:gd name="T55" fmla="*/ 6 h 1050"/>
                <a:gd name="T56" fmla="*/ 9 w 1224"/>
                <a:gd name="T57" fmla="*/ 1 h 1050"/>
                <a:gd name="T58" fmla="*/ 11 w 1224"/>
                <a:gd name="T59" fmla="*/ 8 h 1050"/>
                <a:gd name="T60" fmla="*/ 15 w 1224"/>
                <a:gd name="T61" fmla="*/ 9 h 1050"/>
                <a:gd name="T62" fmla="*/ 18 w 1224"/>
                <a:gd name="T63" fmla="*/ 8 h 1050"/>
                <a:gd name="T64" fmla="*/ 18 w 1224"/>
                <a:gd name="T65" fmla="*/ 13 h 1050"/>
                <a:gd name="T66" fmla="*/ 17 w 1224"/>
                <a:gd name="T67" fmla="*/ 15 h 1050"/>
                <a:gd name="T68" fmla="*/ 17 w 1224"/>
                <a:gd name="T69" fmla="*/ 17 h 1050"/>
                <a:gd name="T70" fmla="*/ 17 w 1224"/>
                <a:gd name="T71" fmla="*/ 21 h 1050"/>
                <a:gd name="T72" fmla="*/ 21 w 1224"/>
                <a:gd name="T73" fmla="*/ 25 h 1050"/>
                <a:gd name="T74" fmla="*/ 24 w 1224"/>
                <a:gd name="T75" fmla="*/ 31 h 1050"/>
                <a:gd name="T76" fmla="*/ 35 w 1224"/>
                <a:gd name="T77" fmla="*/ 34 h 1050"/>
                <a:gd name="T78" fmla="*/ 40 w 1224"/>
                <a:gd name="T79" fmla="*/ 27 h 1050"/>
                <a:gd name="T80" fmla="*/ 46 w 1224"/>
                <a:gd name="T81" fmla="*/ 30 h 1050"/>
                <a:gd name="T82" fmla="*/ 51 w 1224"/>
                <a:gd name="T83" fmla="*/ 27 h 1050"/>
                <a:gd name="T84" fmla="*/ 59 w 1224"/>
                <a:gd name="T85" fmla="*/ 39 h 1050"/>
                <a:gd name="T86" fmla="*/ 59 w 1224"/>
                <a:gd name="T87" fmla="*/ 45 h 1050"/>
                <a:gd name="T88" fmla="*/ 72 w 1224"/>
                <a:gd name="T89" fmla="*/ 45 h 1050"/>
                <a:gd name="T90" fmla="*/ 79 w 1224"/>
                <a:gd name="T91" fmla="*/ 44 h 1050"/>
                <a:gd name="T92" fmla="*/ 87 w 1224"/>
                <a:gd name="T93" fmla="*/ 48 h 1050"/>
                <a:gd name="T94" fmla="*/ 93 w 1224"/>
                <a:gd name="T95" fmla="*/ 50 h 1050"/>
                <a:gd name="T96" fmla="*/ 98 w 1224"/>
                <a:gd name="T97" fmla="*/ 51 h 1050"/>
                <a:gd name="T98" fmla="*/ 106 w 1224"/>
                <a:gd name="T99" fmla="*/ 50 h 1050"/>
                <a:gd name="T100" fmla="*/ 104 w 1224"/>
                <a:gd name="T101" fmla="*/ 54 h 1050"/>
                <a:gd name="T102" fmla="*/ 104 w 1224"/>
                <a:gd name="T103" fmla="*/ 60 h 1050"/>
                <a:gd name="T104" fmla="*/ 101 w 1224"/>
                <a:gd name="T105" fmla="*/ 63 h 1050"/>
                <a:gd name="T106" fmla="*/ 98 w 1224"/>
                <a:gd name="T107" fmla="*/ 66 h 1050"/>
                <a:gd name="T108" fmla="*/ 95 w 1224"/>
                <a:gd name="T109" fmla="*/ 68 h 1050"/>
                <a:gd name="T110" fmla="*/ 93 w 1224"/>
                <a:gd name="T111" fmla="*/ 72 h 1050"/>
                <a:gd name="T112" fmla="*/ 98 w 1224"/>
                <a:gd name="T113" fmla="*/ 75 h 1050"/>
                <a:gd name="T114" fmla="*/ 102 w 1224"/>
                <a:gd name="T115" fmla="*/ 77 h 1050"/>
                <a:gd name="T116" fmla="*/ 107 w 1224"/>
                <a:gd name="T117" fmla="*/ 76 h 1050"/>
                <a:gd name="T118" fmla="*/ 104 w 1224"/>
                <a:gd name="T119" fmla="*/ 84 h 1050"/>
                <a:gd name="T120" fmla="*/ 103 w 1224"/>
                <a:gd name="T121" fmla="*/ 87 h 1050"/>
                <a:gd name="T122" fmla="*/ 104 w 1224"/>
                <a:gd name="T123" fmla="*/ 91 h 105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24"/>
                <a:gd name="T187" fmla="*/ 0 h 1050"/>
                <a:gd name="T188" fmla="*/ 1224 w 1224"/>
                <a:gd name="T189" fmla="*/ 1050 h 105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24" h="1050">
                  <a:moveTo>
                    <a:pt x="1128" y="1032"/>
                  </a:moveTo>
                  <a:lnTo>
                    <a:pt x="1122" y="1026"/>
                  </a:lnTo>
                  <a:lnTo>
                    <a:pt x="1116" y="1026"/>
                  </a:lnTo>
                  <a:lnTo>
                    <a:pt x="1110" y="1026"/>
                  </a:lnTo>
                  <a:lnTo>
                    <a:pt x="1104" y="1026"/>
                  </a:lnTo>
                  <a:lnTo>
                    <a:pt x="1104" y="1020"/>
                  </a:lnTo>
                  <a:lnTo>
                    <a:pt x="1098" y="1020"/>
                  </a:lnTo>
                  <a:lnTo>
                    <a:pt x="1092" y="1020"/>
                  </a:lnTo>
                  <a:lnTo>
                    <a:pt x="1086" y="1020"/>
                  </a:lnTo>
                  <a:lnTo>
                    <a:pt x="1080" y="1014"/>
                  </a:lnTo>
                  <a:lnTo>
                    <a:pt x="1068" y="1014"/>
                  </a:lnTo>
                  <a:lnTo>
                    <a:pt x="1062" y="1014"/>
                  </a:lnTo>
                  <a:lnTo>
                    <a:pt x="1062" y="1008"/>
                  </a:lnTo>
                  <a:lnTo>
                    <a:pt x="1062" y="990"/>
                  </a:lnTo>
                  <a:lnTo>
                    <a:pt x="1062" y="984"/>
                  </a:lnTo>
                  <a:lnTo>
                    <a:pt x="1062" y="972"/>
                  </a:lnTo>
                  <a:lnTo>
                    <a:pt x="1044" y="966"/>
                  </a:lnTo>
                  <a:lnTo>
                    <a:pt x="1026" y="966"/>
                  </a:lnTo>
                  <a:lnTo>
                    <a:pt x="1014" y="966"/>
                  </a:lnTo>
                  <a:lnTo>
                    <a:pt x="996" y="966"/>
                  </a:lnTo>
                  <a:lnTo>
                    <a:pt x="996" y="972"/>
                  </a:lnTo>
                  <a:lnTo>
                    <a:pt x="990" y="972"/>
                  </a:lnTo>
                  <a:lnTo>
                    <a:pt x="984" y="966"/>
                  </a:lnTo>
                  <a:lnTo>
                    <a:pt x="978" y="966"/>
                  </a:lnTo>
                  <a:lnTo>
                    <a:pt x="978" y="960"/>
                  </a:lnTo>
                  <a:lnTo>
                    <a:pt x="972" y="954"/>
                  </a:lnTo>
                  <a:lnTo>
                    <a:pt x="966" y="954"/>
                  </a:lnTo>
                  <a:lnTo>
                    <a:pt x="960" y="954"/>
                  </a:lnTo>
                  <a:lnTo>
                    <a:pt x="954" y="954"/>
                  </a:lnTo>
                  <a:lnTo>
                    <a:pt x="954" y="948"/>
                  </a:lnTo>
                  <a:lnTo>
                    <a:pt x="942" y="942"/>
                  </a:lnTo>
                  <a:lnTo>
                    <a:pt x="936" y="942"/>
                  </a:lnTo>
                  <a:lnTo>
                    <a:pt x="936" y="936"/>
                  </a:lnTo>
                  <a:lnTo>
                    <a:pt x="936" y="930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42" y="918"/>
                  </a:lnTo>
                  <a:lnTo>
                    <a:pt x="948" y="918"/>
                  </a:lnTo>
                  <a:lnTo>
                    <a:pt x="960" y="918"/>
                  </a:lnTo>
                  <a:lnTo>
                    <a:pt x="966" y="912"/>
                  </a:lnTo>
                  <a:lnTo>
                    <a:pt x="978" y="906"/>
                  </a:lnTo>
                  <a:lnTo>
                    <a:pt x="978" y="900"/>
                  </a:lnTo>
                  <a:lnTo>
                    <a:pt x="978" y="894"/>
                  </a:lnTo>
                  <a:lnTo>
                    <a:pt x="978" y="888"/>
                  </a:lnTo>
                  <a:lnTo>
                    <a:pt x="972" y="888"/>
                  </a:lnTo>
                  <a:lnTo>
                    <a:pt x="978" y="888"/>
                  </a:lnTo>
                  <a:lnTo>
                    <a:pt x="978" y="882"/>
                  </a:lnTo>
                  <a:lnTo>
                    <a:pt x="972" y="876"/>
                  </a:lnTo>
                  <a:lnTo>
                    <a:pt x="966" y="870"/>
                  </a:lnTo>
                  <a:lnTo>
                    <a:pt x="954" y="876"/>
                  </a:lnTo>
                  <a:lnTo>
                    <a:pt x="948" y="876"/>
                  </a:lnTo>
                  <a:lnTo>
                    <a:pt x="942" y="870"/>
                  </a:lnTo>
                  <a:lnTo>
                    <a:pt x="936" y="876"/>
                  </a:lnTo>
                  <a:lnTo>
                    <a:pt x="930" y="876"/>
                  </a:lnTo>
                  <a:lnTo>
                    <a:pt x="924" y="882"/>
                  </a:lnTo>
                  <a:lnTo>
                    <a:pt x="912" y="888"/>
                  </a:lnTo>
                  <a:lnTo>
                    <a:pt x="906" y="894"/>
                  </a:lnTo>
                  <a:lnTo>
                    <a:pt x="900" y="900"/>
                  </a:lnTo>
                  <a:lnTo>
                    <a:pt x="894" y="888"/>
                  </a:lnTo>
                  <a:lnTo>
                    <a:pt x="888" y="894"/>
                  </a:lnTo>
                  <a:lnTo>
                    <a:pt x="882" y="888"/>
                  </a:lnTo>
                  <a:lnTo>
                    <a:pt x="876" y="894"/>
                  </a:lnTo>
                  <a:lnTo>
                    <a:pt x="876" y="888"/>
                  </a:lnTo>
                  <a:lnTo>
                    <a:pt x="876" y="882"/>
                  </a:lnTo>
                  <a:lnTo>
                    <a:pt x="876" y="876"/>
                  </a:lnTo>
                  <a:lnTo>
                    <a:pt x="870" y="858"/>
                  </a:lnTo>
                  <a:lnTo>
                    <a:pt x="864" y="858"/>
                  </a:lnTo>
                  <a:lnTo>
                    <a:pt x="870" y="852"/>
                  </a:lnTo>
                  <a:lnTo>
                    <a:pt x="870" y="846"/>
                  </a:lnTo>
                  <a:lnTo>
                    <a:pt x="876" y="846"/>
                  </a:lnTo>
                  <a:lnTo>
                    <a:pt x="882" y="846"/>
                  </a:lnTo>
                  <a:lnTo>
                    <a:pt x="888" y="840"/>
                  </a:lnTo>
                  <a:lnTo>
                    <a:pt x="894" y="834"/>
                  </a:lnTo>
                  <a:lnTo>
                    <a:pt x="894" y="828"/>
                  </a:lnTo>
                  <a:lnTo>
                    <a:pt x="894" y="816"/>
                  </a:lnTo>
                  <a:lnTo>
                    <a:pt x="858" y="810"/>
                  </a:lnTo>
                  <a:lnTo>
                    <a:pt x="858" y="816"/>
                  </a:lnTo>
                  <a:lnTo>
                    <a:pt x="852" y="816"/>
                  </a:lnTo>
                  <a:lnTo>
                    <a:pt x="780" y="816"/>
                  </a:lnTo>
                  <a:lnTo>
                    <a:pt x="750" y="816"/>
                  </a:lnTo>
                  <a:lnTo>
                    <a:pt x="684" y="816"/>
                  </a:lnTo>
                  <a:lnTo>
                    <a:pt x="636" y="816"/>
                  </a:lnTo>
                  <a:lnTo>
                    <a:pt x="612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0" y="816"/>
                  </a:lnTo>
                  <a:lnTo>
                    <a:pt x="480" y="822"/>
                  </a:lnTo>
                  <a:lnTo>
                    <a:pt x="480" y="834"/>
                  </a:lnTo>
                  <a:lnTo>
                    <a:pt x="474" y="840"/>
                  </a:lnTo>
                  <a:lnTo>
                    <a:pt x="468" y="840"/>
                  </a:lnTo>
                  <a:lnTo>
                    <a:pt x="432" y="840"/>
                  </a:lnTo>
                  <a:lnTo>
                    <a:pt x="426" y="834"/>
                  </a:lnTo>
                  <a:lnTo>
                    <a:pt x="420" y="834"/>
                  </a:lnTo>
                  <a:lnTo>
                    <a:pt x="420" y="828"/>
                  </a:lnTo>
                  <a:lnTo>
                    <a:pt x="414" y="822"/>
                  </a:lnTo>
                  <a:lnTo>
                    <a:pt x="408" y="822"/>
                  </a:lnTo>
                  <a:lnTo>
                    <a:pt x="396" y="822"/>
                  </a:lnTo>
                  <a:lnTo>
                    <a:pt x="396" y="816"/>
                  </a:lnTo>
                  <a:lnTo>
                    <a:pt x="384" y="816"/>
                  </a:lnTo>
                  <a:lnTo>
                    <a:pt x="372" y="810"/>
                  </a:lnTo>
                  <a:lnTo>
                    <a:pt x="372" y="804"/>
                  </a:lnTo>
                  <a:lnTo>
                    <a:pt x="366" y="804"/>
                  </a:lnTo>
                  <a:lnTo>
                    <a:pt x="360" y="804"/>
                  </a:lnTo>
                  <a:lnTo>
                    <a:pt x="348" y="828"/>
                  </a:lnTo>
                  <a:lnTo>
                    <a:pt x="348" y="834"/>
                  </a:lnTo>
                  <a:lnTo>
                    <a:pt x="348" y="852"/>
                  </a:lnTo>
                  <a:lnTo>
                    <a:pt x="348" y="858"/>
                  </a:lnTo>
                  <a:lnTo>
                    <a:pt x="342" y="864"/>
                  </a:lnTo>
                  <a:lnTo>
                    <a:pt x="342" y="870"/>
                  </a:lnTo>
                  <a:lnTo>
                    <a:pt x="330" y="876"/>
                  </a:lnTo>
                  <a:lnTo>
                    <a:pt x="324" y="888"/>
                  </a:lnTo>
                  <a:lnTo>
                    <a:pt x="324" y="894"/>
                  </a:lnTo>
                  <a:lnTo>
                    <a:pt x="330" y="900"/>
                  </a:lnTo>
                  <a:lnTo>
                    <a:pt x="330" y="906"/>
                  </a:lnTo>
                  <a:lnTo>
                    <a:pt x="324" y="906"/>
                  </a:lnTo>
                  <a:lnTo>
                    <a:pt x="318" y="912"/>
                  </a:lnTo>
                  <a:lnTo>
                    <a:pt x="312" y="918"/>
                  </a:lnTo>
                  <a:lnTo>
                    <a:pt x="306" y="924"/>
                  </a:lnTo>
                  <a:lnTo>
                    <a:pt x="288" y="924"/>
                  </a:lnTo>
                  <a:lnTo>
                    <a:pt x="282" y="924"/>
                  </a:lnTo>
                  <a:lnTo>
                    <a:pt x="276" y="930"/>
                  </a:lnTo>
                  <a:lnTo>
                    <a:pt x="270" y="930"/>
                  </a:lnTo>
                  <a:lnTo>
                    <a:pt x="264" y="930"/>
                  </a:lnTo>
                  <a:lnTo>
                    <a:pt x="198" y="930"/>
                  </a:lnTo>
                  <a:lnTo>
                    <a:pt x="132" y="930"/>
                  </a:lnTo>
                  <a:lnTo>
                    <a:pt x="132" y="936"/>
                  </a:lnTo>
                  <a:lnTo>
                    <a:pt x="132" y="942"/>
                  </a:lnTo>
                  <a:lnTo>
                    <a:pt x="132" y="948"/>
                  </a:lnTo>
                  <a:lnTo>
                    <a:pt x="126" y="948"/>
                  </a:lnTo>
                  <a:lnTo>
                    <a:pt x="120" y="948"/>
                  </a:lnTo>
                  <a:lnTo>
                    <a:pt x="120" y="954"/>
                  </a:lnTo>
                  <a:lnTo>
                    <a:pt x="114" y="954"/>
                  </a:lnTo>
                  <a:lnTo>
                    <a:pt x="114" y="960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02" y="966"/>
                  </a:lnTo>
                  <a:lnTo>
                    <a:pt x="102" y="972"/>
                  </a:lnTo>
                  <a:lnTo>
                    <a:pt x="96" y="972"/>
                  </a:lnTo>
                  <a:lnTo>
                    <a:pt x="96" y="966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78" y="960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60"/>
                  </a:lnTo>
                  <a:lnTo>
                    <a:pt x="54" y="966"/>
                  </a:lnTo>
                  <a:lnTo>
                    <a:pt x="48" y="966"/>
                  </a:lnTo>
                  <a:lnTo>
                    <a:pt x="42" y="966"/>
                  </a:lnTo>
                  <a:lnTo>
                    <a:pt x="36" y="966"/>
                  </a:lnTo>
                  <a:lnTo>
                    <a:pt x="30" y="966"/>
                  </a:lnTo>
                  <a:lnTo>
                    <a:pt x="24" y="960"/>
                  </a:lnTo>
                  <a:lnTo>
                    <a:pt x="18" y="960"/>
                  </a:lnTo>
                  <a:lnTo>
                    <a:pt x="12" y="960"/>
                  </a:lnTo>
                  <a:lnTo>
                    <a:pt x="12" y="948"/>
                  </a:lnTo>
                  <a:lnTo>
                    <a:pt x="18" y="942"/>
                  </a:lnTo>
                  <a:lnTo>
                    <a:pt x="18" y="936"/>
                  </a:lnTo>
                  <a:lnTo>
                    <a:pt x="18" y="930"/>
                  </a:lnTo>
                  <a:lnTo>
                    <a:pt x="18" y="924"/>
                  </a:lnTo>
                  <a:lnTo>
                    <a:pt x="18" y="912"/>
                  </a:lnTo>
                  <a:lnTo>
                    <a:pt x="24" y="906"/>
                  </a:lnTo>
                  <a:lnTo>
                    <a:pt x="30" y="900"/>
                  </a:lnTo>
                  <a:lnTo>
                    <a:pt x="36" y="894"/>
                  </a:lnTo>
                  <a:lnTo>
                    <a:pt x="36" y="882"/>
                  </a:lnTo>
                  <a:lnTo>
                    <a:pt x="30" y="876"/>
                  </a:lnTo>
                  <a:lnTo>
                    <a:pt x="30" y="870"/>
                  </a:lnTo>
                  <a:lnTo>
                    <a:pt x="24" y="858"/>
                  </a:lnTo>
                  <a:lnTo>
                    <a:pt x="24" y="846"/>
                  </a:lnTo>
                  <a:lnTo>
                    <a:pt x="36" y="822"/>
                  </a:lnTo>
                  <a:lnTo>
                    <a:pt x="42" y="816"/>
                  </a:lnTo>
                  <a:lnTo>
                    <a:pt x="48" y="816"/>
                  </a:lnTo>
                  <a:lnTo>
                    <a:pt x="60" y="804"/>
                  </a:lnTo>
                  <a:lnTo>
                    <a:pt x="60" y="786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54" y="762"/>
                  </a:lnTo>
                  <a:lnTo>
                    <a:pt x="42" y="762"/>
                  </a:lnTo>
                  <a:lnTo>
                    <a:pt x="36" y="762"/>
                  </a:lnTo>
                  <a:lnTo>
                    <a:pt x="30" y="762"/>
                  </a:lnTo>
                  <a:lnTo>
                    <a:pt x="30" y="756"/>
                  </a:lnTo>
                  <a:lnTo>
                    <a:pt x="24" y="750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702"/>
                  </a:lnTo>
                  <a:lnTo>
                    <a:pt x="36" y="684"/>
                  </a:lnTo>
                  <a:lnTo>
                    <a:pt x="36" y="678"/>
                  </a:lnTo>
                  <a:lnTo>
                    <a:pt x="36" y="666"/>
                  </a:lnTo>
                  <a:lnTo>
                    <a:pt x="36" y="654"/>
                  </a:lnTo>
                  <a:lnTo>
                    <a:pt x="18" y="654"/>
                  </a:lnTo>
                  <a:lnTo>
                    <a:pt x="18" y="648"/>
                  </a:lnTo>
                  <a:lnTo>
                    <a:pt x="18" y="618"/>
                  </a:lnTo>
                  <a:lnTo>
                    <a:pt x="18" y="612"/>
                  </a:lnTo>
                  <a:lnTo>
                    <a:pt x="24" y="612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54" y="588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76"/>
                  </a:lnTo>
                  <a:lnTo>
                    <a:pt x="48" y="564"/>
                  </a:lnTo>
                  <a:lnTo>
                    <a:pt x="42" y="564"/>
                  </a:lnTo>
                  <a:lnTo>
                    <a:pt x="36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6" y="540"/>
                  </a:lnTo>
                  <a:lnTo>
                    <a:pt x="48" y="534"/>
                  </a:lnTo>
                  <a:lnTo>
                    <a:pt x="54" y="528"/>
                  </a:lnTo>
                  <a:lnTo>
                    <a:pt x="60" y="504"/>
                  </a:lnTo>
                  <a:lnTo>
                    <a:pt x="60" y="492"/>
                  </a:lnTo>
                  <a:lnTo>
                    <a:pt x="54" y="492"/>
                  </a:lnTo>
                  <a:lnTo>
                    <a:pt x="54" y="480"/>
                  </a:lnTo>
                  <a:lnTo>
                    <a:pt x="48" y="456"/>
                  </a:lnTo>
                  <a:lnTo>
                    <a:pt x="42" y="450"/>
                  </a:lnTo>
                  <a:lnTo>
                    <a:pt x="36" y="444"/>
                  </a:lnTo>
                  <a:lnTo>
                    <a:pt x="36" y="420"/>
                  </a:lnTo>
                  <a:lnTo>
                    <a:pt x="36" y="408"/>
                  </a:lnTo>
                  <a:lnTo>
                    <a:pt x="36" y="37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60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6" y="300"/>
                  </a:lnTo>
                  <a:lnTo>
                    <a:pt x="60" y="294"/>
                  </a:lnTo>
                  <a:lnTo>
                    <a:pt x="60" y="288"/>
                  </a:lnTo>
                  <a:lnTo>
                    <a:pt x="54" y="282"/>
                  </a:lnTo>
                  <a:lnTo>
                    <a:pt x="42" y="276"/>
                  </a:lnTo>
                  <a:lnTo>
                    <a:pt x="36" y="276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0" y="252"/>
                  </a:lnTo>
                  <a:lnTo>
                    <a:pt x="24" y="246"/>
                  </a:lnTo>
                  <a:lnTo>
                    <a:pt x="24" y="240"/>
                  </a:lnTo>
                  <a:lnTo>
                    <a:pt x="24" y="228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62"/>
                  </a:lnTo>
                  <a:lnTo>
                    <a:pt x="24" y="144"/>
                  </a:lnTo>
                  <a:lnTo>
                    <a:pt x="24" y="132"/>
                  </a:lnTo>
                  <a:lnTo>
                    <a:pt x="24" y="114"/>
                  </a:lnTo>
                  <a:lnTo>
                    <a:pt x="24" y="102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18" y="48"/>
                  </a:lnTo>
                  <a:lnTo>
                    <a:pt x="42" y="36"/>
                  </a:lnTo>
                  <a:lnTo>
                    <a:pt x="54" y="24"/>
                  </a:lnTo>
                  <a:lnTo>
                    <a:pt x="60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10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14" y="60"/>
                  </a:lnTo>
                  <a:lnTo>
                    <a:pt x="120" y="60"/>
                  </a:lnTo>
                  <a:lnTo>
                    <a:pt x="114" y="84"/>
                  </a:lnTo>
                  <a:lnTo>
                    <a:pt x="120" y="90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38" y="114"/>
                  </a:lnTo>
                  <a:lnTo>
                    <a:pt x="138" y="132"/>
                  </a:lnTo>
                  <a:lnTo>
                    <a:pt x="162" y="126"/>
                  </a:lnTo>
                  <a:lnTo>
                    <a:pt x="162" y="114"/>
                  </a:lnTo>
                  <a:lnTo>
                    <a:pt x="174" y="108"/>
                  </a:lnTo>
                  <a:lnTo>
                    <a:pt x="174" y="102"/>
                  </a:lnTo>
                  <a:lnTo>
                    <a:pt x="180" y="96"/>
                  </a:lnTo>
                  <a:lnTo>
                    <a:pt x="180" y="60"/>
                  </a:lnTo>
                  <a:lnTo>
                    <a:pt x="192" y="60"/>
                  </a:lnTo>
                  <a:lnTo>
                    <a:pt x="192" y="72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04" y="108"/>
                  </a:lnTo>
                  <a:lnTo>
                    <a:pt x="204" y="114"/>
                  </a:lnTo>
                  <a:lnTo>
                    <a:pt x="204" y="120"/>
                  </a:lnTo>
                  <a:lnTo>
                    <a:pt x="204" y="126"/>
                  </a:lnTo>
                  <a:lnTo>
                    <a:pt x="210" y="126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8" y="174"/>
                  </a:lnTo>
                  <a:lnTo>
                    <a:pt x="198" y="180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86" y="204"/>
                  </a:lnTo>
                  <a:lnTo>
                    <a:pt x="186" y="210"/>
                  </a:lnTo>
                  <a:lnTo>
                    <a:pt x="180" y="210"/>
                  </a:lnTo>
                  <a:lnTo>
                    <a:pt x="180" y="216"/>
                  </a:lnTo>
                  <a:lnTo>
                    <a:pt x="180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92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8" y="258"/>
                  </a:lnTo>
                  <a:lnTo>
                    <a:pt x="204" y="258"/>
                  </a:lnTo>
                  <a:lnTo>
                    <a:pt x="210" y="258"/>
                  </a:lnTo>
                  <a:lnTo>
                    <a:pt x="216" y="258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34" y="276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46" y="306"/>
                  </a:lnTo>
                  <a:lnTo>
                    <a:pt x="252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42"/>
                  </a:lnTo>
                  <a:lnTo>
                    <a:pt x="270" y="342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88" y="366"/>
                  </a:lnTo>
                  <a:lnTo>
                    <a:pt x="336" y="360"/>
                  </a:lnTo>
                  <a:lnTo>
                    <a:pt x="354" y="360"/>
                  </a:lnTo>
                  <a:lnTo>
                    <a:pt x="366" y="372"/>
                  </a:lnTo>
                  <a:lnTo>
                    <a:pt x="378" y="378"/>
                  </a:lnTo>
                  <a:lnTo>
                    <a:pt x="378" y="390"/>
                  </a:lnTo>
                  <a:lnTo>
                    <a:pt x="384" y="390"/>
                  </a:lnTo>
                  <a:lnTo>
                    <a:pt x="390" y="396"/>
                  </a:lnTo>
                  <a:lnTo>
                    <a:pt x="408" y="390"/>
                  </a:lnTo>
                  <a:lnTo>
                    <a:pt x="426" y="366"/>
                  </a:lnTo>
                  <a:lnTo>
                    <a:pt x="432" y="360"/>
                  </a:lnTo>
                  <a:lnTo>
                    <a:pt x="438" y="348"/>
                  </a:lnTo>
                  <a:lnTo>
                    <a:pt x="438" y="342"/>
                  </a:lnTo>
                  <a:lnTo>
                    <a:pt x="438" y="330"/>
                  </a:lnTo>
                  <a:lnTo>
                    <a:pt x="444" y="324"/>
                  </a:lnTo>
                  <a:lnTo>
                    <a:pt x="450" y="318"/>
                  </a:lnTo>
                  <a:lnTo>
                    <a:pt x="456" y="312"/>
                  </a:lnTo>
                  <a:lnTo>
                    <a:pt x="456" y="306"/>
                  </a:lnTo>
                  <a:lnTo>
                    <a:pt x="456" y="300"/>
                  </a:lnTo>
                  <a:lnTo>
                    <a:pt x="474" y="288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92" y="294"/>
                  </a:lnTo>
                  <a:lnTo>
                    <a:pt x="492" y="318"/>
                  </a:lnTo>
                  <a:lnTo>
                    <a:pt x="504" y="324"/>
                  </a:lnTo>
                  <a:lnTo>
                    <a:pt x="492" y="348"/>
                  </a:lnTo>
                  <a:lnTo>
                    <a:pt x="522" y="348"/>
                  </a:lnTo>
                  <a:lnTo>
                    <a:pt x="528" y="342"/>
                  </a:lnTo>
                  <a:lnTo>
                    <a:pt x="528" y="336"/>
                  </a:lnTo>
                  <a:lnTo>
                    <a:pt x="528" y="330"/>
                  </a:lnTo>
                  <a:lnTo>
                    <a:pt x="534" y="330"/>
                  </a:lnTo>
                  <a:lnTo>
                    <a:pt x="540" y="330"/>
                  </a:lnTo>
                  <a:lnTo>
                    <a:pt x="546" y="330"/>
                  </a:lnTo>
                  <a:lnTo>
                    <a:pt x="552" y="324"/>
                  </a:lnTo>
                  <a:lnTo>
                    <a:pt x="558" y="318"/>
                  </a:lnTo>
                  <a:lnTo>
                    <a:pt x="576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8" y="348"/>
                  </a:lnTo>
                  <a:lnTo>
                    <a:pt x="654" y="354"/>
                  </a:lnTo>
                  <a:lnTo>
                    <a:pt x="648" y="402"/>
                  </a:lnTo>
                  <a:lnTo>
                    <a:pt x="678" y="402"/>
                  </a:lnTo>
                  <a:lnTo>
                    <a:pt x="678" y="420"/>
                  </a:lnTo>
                  <a:lnTo>
                    <a:pt x="684" y="438"/>
                  </a:lnTo>
                  <a:lnTo>
                    <a:pt x="684" y="450"/>
                  </a:lnTo>
                  <a:lnTo>
                    <a:pt x="684" y="456"/>
                  </a:lnTo>
                  <a:lnTo>
                    <a:pt x="690" y="468"/>
                  </a:lnTo>
                  <a:lnTo>
                    <a:pt x="690" y="474"/>
                  </a:lnTo>
                  <a:lnTo>
                    <a:pt x="690" y="480"/>
                  </a:lnTo>
                  <a:lnTo>
                    <a:pt x="696" y="486"/>
                  </a:lnTo>
                  <a:lnTo>
                    <a:pt x="696" y="498"/>
                  </a:lnTo>
                  <a:lnTo>
                    <a:pt x="702" y="504"/>
                  </a:lnTo>
                  <a:lnTo>
                    <a:pt x="690" y="516"/>
                  </a:lnTo>
                  <a:lnTo>
                    <a:pt x="678" y="522"/>
                  </a:lnTo>
                  <a:lnTo>
                    <a:pt x="654" y="528"/>
                  </a:lnTo>
                  <a:lnTo>
                    <a:pt x="660" y="546"/>
                  </a:lnTo>
                  <a:lnTo>
                    <a:pt x="672" y="546"/>
                  </a:lnTo>
                  <a:lnTo>
                    <a:pt x="678" y="540"/>
                  </a:lnTo>
                  <a:lnTo>
                    <a:pt x="714" y="540"/>
                  </a:lnTo>
                  <a:lnTo>
                    <a:pt x="798" y="540"/>
                  </a:lnTo>
                  <a:lnTo>
                    <a:pt x="804" y="540"/>
                  </a:lnTo>
                  <a:lnTo>
                    <a:pt x="816" y="528"/>
                  </a:lnTo>
                  <a:lnTo>
                    <a:pt x="822" y="522"/>
                  </a:lnTo>
                  <a:lnTo>
                    <a:pt x="834" y="516"/>
                  </a:lnTo>
                  <a:lnTo>
                    <a:pt x="846" y="516"/>
                  </a:lnTo>
                  <a:lnTo>
                    <a:pt x="852" y="510"/>
                  </a:lnTo>
                  <a:lnTo>
                    <a:pt x="858" y="510"/>
                  </a:lnTo>
                  <a:lnTo>
                    <a:pt x="882" y="516"/>
                  </a:lnTo>
                  <a:lnTo>
                    <a:pt x="888" y="516"/>
                  </a:lnTo>
                  <a:lnTo>
                    <a:pt x="888" y="510"/>
                  </a:lnTo>
                  <a:lnTo>
                    <a:pt x="894" y="510"/>
                  </a:lnTo>
                  <a:lnTo>
                    <a:pt x="906" y="504"/>
                  </a:lnTo>
                  <a:lnTo>
                    <a:pt x="918" y="498"/>
                  </a:lnTo>
                  <a:lnTo>
                    <a:pt x="930" y="492"/>
                  </a:lnTo>
                  <a:lnTo>
                    <a:pt x="936" y="492"/>
                  </a:lnTo>
                  <a:lnTo>
                    <a:pt x="948" y="492"/>
                  </a:lnTo>
                  <a:lnTo>
                    <a:pt x="954" y="528"/>
                  </a:lnTo>
                  <a:lnTo>
                    <a:pt x="954" y="564"/>
                  </a:lnTo>
                  <a:lnTo>
                    <a:pt x="972" y="564"/>
                  </a:lnTo>
                  <a:lnTo>
                    <a:pt x="978" y="558"/>
                  </a:lnTo>
                  <a:lnTo>
                    <a:pt x="990" y="552"/>
                  </a:lnTo>
                  <a:lnTo>
                    <a:pt x="1002" y="540"/>
                  </a:lnTo>
                  <a:lnTo>
                    <a:pt x="1026" y="534"/>
                  </a:lnTo>
                  <a:lnTo>
                    <a:pt x="1032" y="540"/>
                  </a:lnTo>
                  <a:lnTo>
                    <a:pt x="1044" y="546"/>
                  </a:lnTo>
                  <a:lnTo>
                    <a:pt x="1062" y="552"/>
                  </a:lnTo>
                  <a:lnTo>
                    <a:pt x="1068" y="552"/>
                  </a:lnTo>
                  <a:lnTo>
                    <a:pt x="1068" y="570"/>
                  </a:lnTo>
                  <a:lnTo>
                    <a:pt x="1068" y="576"/>
                  </a:lnTo>
                  <a:lnTo>
                    <a:pt x="1068" y="582"/>
                  </a:lnTo>
                  <a:lnTo>
                    <a:pt x="1068" y="588"/>
                  </a:lnTo>
                  <a:lnTo>
                    <a:pt x="1068" y="594"/>
                  </a:lnTo>
                  <a:lnTo>
                    <a:pt x="1080" y="600"/>
                  </a:lnTo>
                  <a:lnTo>
                    <a:pt x="1086" y="606"/>
                  </a:lnTo>
                  <a:lnTo>
                    <a:pt x="1092" y="594"/>
                  </a:lnTo>
                  <a:lnTo>
                    <a:pt x="1104" y="588"/>
                  </a:lnTo>
                  <a:lnTo>
                    <a:pt x="1116" y="588"/>
                  </a:lnTo>
                  <a:lnTo>
                    <a:pt x="1122" y="588"/>
                  </a:lnTo>
                  <a:lnTo>
                    <a:pt x="1122" y="594"/>
                  </a:lnTo>
                  <a:lnTo>
                    <a:pt x="1128" y="594"/>
                  </a:lnTo>
                  <a:lnTo>
                    <a:pt x="1134" y="594"/>
                  </a:lnTo>
                  <a:lnTo>
                    <a:pt x="1140" y="594"/>
                  </a:lnTo>
                  <a:lnTo>
                    <a:pt x="1146" y="588"/>
                  </a:lnTo>
                  <a:lnTo>
                    <a:pt x="1158" y="582"/>
                  </a:lnTo>
                  <a:lnTo>
                    <a:pt x="1164" y="576"/>
                  </a:lnTo>
                  <a:lnTo>
                    <a:pt x="1176" y="576"/>
                  </a:lnTo>
                  <a:lnTo>
                    <a:pt x="1194" y="576"/>
                  </a:lnTo>
                  <a:lnTo>
                    <a:pt x="1218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24" y="594"/>
                  </a:lnTo>
                  <a:lnTo>
                    <a:pt x="1212" y="600"/>
                  </a:lnTo>
                  <a:lnTo>
                    <a:pt x="1206" y="606"/>
                  </a:lnTo>
                  <a:lnTo>
                    <a:pt x="1200" y="606"/>
                  </a:lnTo>
                  <a:lnTo>
                    <a:pt x="1200" y="612"/>
                  </a:lnTo>
                  <a:lnTo>
                    <a:pt x="1194" y="612"/>
                  </a:lnTo>
                  <a:lnTo>
                    <a:pt x="1194" y="618"/>
                  </a:lnTo>
                  <a:lnTo>
                    <a:pt x="1194" y="624"/>
                  </a:lnTo>
                  <a:lnTo>
                    <a:pt x="1194" y="630"/>
                  </a:lnTo>
                  <a:lnTo>
                    <a:pt x="1194" y="648"/>
                  </a:lnTo>
                  <a:lnTo>
                    <a:pt x="1194" y="660"/>
                  </a:lnTo>
                  <a:lnTo>
                    <a:pt x="1194" y="666"/>
                  </a:lnTo>
                  <a:lnTo>
                    <a:pt x="1194" y="672"/>
                  </a:lnTo>
                  <a:lnTo>
                    <a:pt x="1194" y="678"/>
                  </a:lnTo>
                  <a:lnTo>
                    <a:pt x="1188" y="684"/>
                  </a:lnTo>
                  <a:lnTo>
                    <a:pt x="1188" y="690"/>
                  </a:lnTo>
                  <a:lnTo>
                    <a:pt x="1188" y="696"/>
                  </a:lnTo>
                  <a:lnTo>
                    <a:pt x="1188" y="702"/>
                  </a:lnTo>
                  <a:lnTo>
                    <a:pt x="1188" y="708"/>
                  </a:lnTo>
                  <a:lnTo>
                    <a:pt x="1188" y="714"/>
                  </a:lnTo>
                  <a:lnTo>
                    <a:pt x="1182" y="720"/>
                  </a:lnTo>
                  <a:lnTo>
                    <a:pt x="1170" y="720"/>
                  </a:lnTo>
                  <a:lnTo>
                    <a:pt x="1158" y="726"/>
                  </a:lnTo>
                  <a:lnTo>
                    <a:pt x="1152" y="726"/>
                  </a:lnTo>
                  <a:lnTo>
                    <a:pt x="1152" y="732"/>
                  </a:lnTo>
                  <a:lnTo>
                    <a:pt x="1146" y="738"/>
                  </a:lnTo>
                  <a:lnTo>
                    <a:pt x="1140" y="738"/>
                  </a:lnTo>
                  <a:lnTo>
                    <a:pt x="1140" y="744"/>
                  </a:lnTo>
                  <a:lnTo>
                    <a:pt x="1134" y="744"/>
                  </a:lnTo>
                  <a:lnTo>
                    <a:pt x="1128" y="744"/>
                  </a:lnTo>
                  <a:lnTo>
                    <a:pt x="1122" y="750"/>
                  </a:lnTo>
                  <a:lnTo>
                    <a:pt x="1128" y="750"/>
                  </a:lnTo>
                  <a:lnTo>
                    <a:pt x="1122" y="756"/>
                  </a:lnTo>
                  <a:lnTo>
                    <a:pt x="1116" y="756"/>
                  </a:lnTo>
                  <a:lnTo>
                    <a:pt x="1110" y="762"/>
                  </a:lnTo>
                  <a:lnTo>
                    <a:pt x="1104" y="762"/>
                  </a:lnTo>
                  <a:lnTo>
                    <a:pt x="1104" y="768"/>
                  </a:lnTo>
                  <a:lnTo>
                    <a:pt x="1098" y="768"/>
                  </a:lnTo>
                  <a:lnTo>
                    <a:pt x="1098" y="774"/>
                  </a:lnTo>
                  <a:lnTo>
                    <a:pt x="1092" y="774"/>
                  </a:lnTo>
                  <a:lnTo>
                    <a:pt x="1092" y="780"/>
                  </a:lnTo>
                  <a:lnTo>
                    <a:pt x="1086" y="780"/>
                  </a:lnTo>
                  <a:lnTo>
                    <a:pt x="1086" y="786"/>
                  </a:lnTo>
                  <a:lnTo>
                    <a:pt x="1080" y="786"/>
                  </a:lnTo>
                  <a:lnTo>
                    <a:pt x="1080" y="792"/>
                  </a:lnTo>
                  <a:lnTo>
                    <a:pt x="1080" y="798"/>
                  </a:lnTo>
                  <a:lnTo>
                    <a:pt x="1080" y="804"/>
                  </a:lnTo>
                  <a:lnTo>
                    <a:pt x="1086" y="810"/>
                  </a:lnTo>
                  <a:lnTo>
                    <a:pt x="1080" y="816"/>
                  </a:lnTo>
                  <a:lnTo>
                    <a:pt x="1080" y="822"/>
                  </a:lnTo>
                  <a:lnTo>
                    <a:pt x="1074" y="822"/>
                  </a:lnTo>
                  <a:lnTo>
                    <a:pt x="1068" y="828"/>
                  </a:lnTo>
                  <a:lnTo>
                    <a:pt x="1074" y="828"/>
                  </a:lnTo>
                  <a:lnTo>
                    <a:pt x="1074" y="834"/>
                  </a:lnTo>
                  <a:lnTo>
                    <a:pt x="1080" y="846"/>
                  </a:lnTo>
                  <a:lnTo>
                    <a:pt x="1086" y="846"/>
                  </a:lnTo>
                  <a:lnTo>
                    <a:pt x="1092" y="852"/>
                  </a:lnTo>
                  <a:lnTo>
                    <a:pt x="1092" y="858"/>
                  </a:lnTo>
                  <a:lnTo>
                    <a:pt x="1098" y="858"/>
                  </a:lnTo>
                  <a:lnTo>
                    <a:pt x="1110" y="864"/>
                  </a:lnTo>
                  <a:lnTo>
                    <a:pt x="1116" y="864"/>
                  </a:lnTo>
                  <a:lnTo>
                    <a:pt x="1122" y="864"/>
                  </a:lnTo>
                  <a:lnTo>
                    <a:pt x="1128" y="864"/>
                  </a:lnTo>
                  <a:lnTo>
                    <a:pt x="1134" y="876"/>
                  </a:lnTo>
                  <a:lnTo>
                    <a:pt x="1140" y="882"/>
                  </a:lnTo>
                  <a:lnTo>
                    <a:pt x="1140" y="888"/>
                  </a:lnTo>
                  <a:lnTo>
                    <a:pt x="1152" y="918"/>
                  </a:lnTo>
                  <a:lnTo>
                    <a:pt x="1158" y="894"/>
                  </a:lnTo>
                  <a:lnTo>
                    <a:pt x="1164" y="888"/>
                  </a:lnTo>
                  <a:lnTo>
                    <a:pt x="1164" y="882"/>
                  </a:lnTo>
                  <a:lnTo>
                    <a:pt x="1176" y="864"/>
                  </a:lnTo>
                  <a:lnTo>
                    <a:pt x="1182" y="858"/>
                  </a:lnTo>
                  <a:lnTo>
                    <a:pt x="1188" y="846"/>
                  </a:lnTo>
                  <a:lnTo>
                    <a:pt x="1200" y="840"/>
                  </a:lnTo>
                  <a:lnTo>
                    <a:pt x="1212" y="840"/>
                  </a:lnTo>
                  <a:lnTo>
                    <a:pt x="1218" y="846"/>
                  </a:lnTo>
                  <a:lnTo>
                    <a:pt x="1224" y="858"/>
                  </a:lnTo>
                  <a:lnTo>
                    <a:pt x="1224" y="864"/>
                  </a:lnTo>
                  <a:lnTo>
                    <a:pt x="1224" y="876"/>
                  </a:lnTo>
                  <a:lnTo>
                    <a:pt x="1212" y="912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00" y="930"/>
                  </a:lnTo>
                  <a:lnTo>
                    <a:pt x="1200" y="942"/>
                  </a:lnTo>
                  <a:lnTo>
                    <a:pt x="1194" y="948"/>
                  </a:lnTo>
                  <a:lnTo>
                    <a:pt x="1194" y="960"/>
                  </a:lnTo>
                  <a:lnTo>
                    <a:pt x="1194" y="966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70" y="984"/>
                  </a:lnTo>
                  <a:lnTo>
                    <a:pt x="1164" y="984"/>
                  </a:lnTo>
                  <a:lnTo>
                    <a:pt x="1158" y="984"/>
                  </a:lnTo>
                  <a:lnTo>
                    <a:pt x="1146" y="984"/>
                  </a:lnTo>
                  <a:lnTo>
                    <a:pt x="1140" y="990"/>
                  </a:lnTo>
                  <a:lnTo>
                    <a:pt x="1140" y="996"/>
                  </a:lnTo>
                  <a:lnTo>
                    <a:pt x="1152" y="996"/>
                  </a:lnTo>
                  <a:lnTo>
                    <a:pt x="1176" y="1002"/>
                  </a:lnTo>
                  <a:lnTo>
                    <a:pt x="1194" y="1008"/>
                  </a:lnTo>
                  <a:lnTo>
                    <a:pt x="1206" y="1008"/>
                  </a:lnTo>
                  <a:lnTo>
                    <a:pt x="1218" y="1014"/>
                  </a:lnTo>
                  <a:lnTo>
                    <a:pt x="1212" y="1038"/>
                  </a:lnTo>
                  <a:lnTo>
                    <a:pt x="1212" y="1044"/>
                  </a:lnTo>
                  <a:lnTo>
                    <a:pt x="1206" y="1044"/>
                  </a:lnTo>
                  <a:lnTo>
                    <a:pt x="1206" y="1050"/>
                  </a:lnTo>
                  <a:lnTo>
                    <a:pt x="1194" y="1050"/>
                  </a:lnTo>
                  <a:lnTo>
                    <a:pt x="1188" y="1044"/>
                  </a:lnTo>
                  <a:lnTo>
                    <a:pt x="1158" y="1020"/>
                  </a:lnTo>
                  <a:lnTo>
                    <a:pt x="1152" y="1020"/>
                  </a:lnTo>
                  <a:lnTo>
                    <a:pt x="1140" y="1020"/>
                  </a:lnTo>
                  <a:lnTo>
                    <a:pt x="1134" y="1020"/>
                  </a:lnTo>
                  <a:lnTo>
                    <a:pt x="1134" y="1026"/>
                  </a:lnTo>
                  <a:lnTo>
                    <a:pt x="1134" y="1032"/>
                  </a:lnTo>
                  <a:lnTo>
                    <a:pt x="1128" y="1032"/>
                  </a:lnTo>
                  <a:close/>
                </a:path>
              </a:pathLst>
            </a:custGeom>
            <a:solidFill>
              <a:srgbClr val="BFBFBF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2" name="Freeform 27">
              <a:extLst>
                <a:ext uri="{FF2B5EF4-FFF2-40B4-BE49-F238E27FC236}">
                  <a16:creationId xmlns:a16="http://schemas.microsoft.com/office/drawing/2014/main" id="{CE95C9DF-B651-4085-946F-65424BC51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2063" y="3421400"/>
              <a:ext cx="342138" cy="377969"/>
            </a:xfrm>
            <a:custGeom>
              <a:avLst/>
              <a:gdLst>
                <a:gd name="T0" fmla="*/ 43 w 642"/>
                <a:gd name="T1" fmla="*/ 41 h 708"/>
                <a:gd name="T2" fmla="*/ 39 w 642"/>
                <a:gd name="T3" fmla="*/ 41 h 708"/>
                <a:gd name="T4" fmla="*/ 38 w 642"/>
                <a:gd name="T5" fmla="*/ 47 h 708"/>
                <a:gd name="T6" fmla="*/ 38 w 642"/>
                <a:gd name="T7" fmla="*/ 49 h 708"/>
                <a:gd name="T8" fmla="*/ 38 w 642"/>
                <a:gd name="T9" fmla="*/ 50 h 708"/>
                <a:gd name="T10" fmla="*/ 36 w 642"/>
                <a:gd name="T11" fmla="*/ 52 h 708"/>
                <a:gd name="T12" fmla="*/ 35 w 642"/>
                <a:gd name="T13" fmla="*/ 53 h 708"/>
                <a:gd name="T14" fmla="*/ 33 w 642"/>
                <a:gd name="T15" fmla="*/ 55 h 708"/>
                <a:gd name="T16" fmla="*/ 32 w 642"/>
                <a:gd name="T17" fmla="*/ 56 h 708"/>
                <a:gd name="T18" fmla="*/ 31 w 642"/>
                <a:gd name="T19" fmla="*/ 59 h 708"/>
                <a:gd name="T20" fmla="*/ 26 w 642"/>
                <a:gd name="T21" fmla="*/ 59 h 708"/>
                <a:gd name="T22" fmla="*/ 23 w 642"/>
                <a:gd name="T23" fmla="*/ 61 h 708"/>
                <a:gd name="T24" fmla="*/ 20 w 642"/>
                <a:gd name="T25" fmla="*/ 61 h 708"/>
                <a:gd name="T26" fmla="*/ 17 w 642"/>
                <a:gd name="T27" fmla="*/ 59 h 708"/>
                <a:gd name="T28" fmla="*/ 15 w 642"/>
                <a:gd name="T29" fmla="*/ 56 h 708"/>
                <a:gd name="T30" fmla="*/ 9 w 642"/>
                <a:gd name="T31" fmla="*/ 58 h 708"/>
                <a:gd name="T32" fmla="*/ 6 w 642"/>
                <a:gd name="T33" fmla="*/ 52 h 708"/>
                <a:gd name="T34" fmla="*/ 2 w 642"/>
                <a:gd name="T35" fmla="*/ 53 h 708"/>
                <a:gd name="T36" fmla="*/ 1 w 642"/>
                <a:gd name="T37" fmla="*/ 51 h 708"/>
                <a:gd name="T38" fmla="*/ 4 w 642"/>
                <a:gd name="T39" fmla="*/ 47 h 708"/>
                <a:gd name="T40" fmla="*/ 5 w 642"/>
                <a:gd name="T41" fmla="*/ 41 h 708"/>
                <a:gd name="T42" fmla="*/ 5 w 642"/>
                <a:gd name="T43" fmla="*/ 38 h 708"/>
                <a:gd name="T44" fmla="*/ 5 w 642"/>
                <a:gd name="T45" fmla="*/ 35 h 708"/>
                <a:gd name="T46" fmla="*/ 6 w 642"/>
                <a:gd name="T47" fmla="*/ 33 h 708"/>
                <a:gd name="T48" fmla="*/ 5 w 642"/>
                <a:gd name="T49" fmla="*/ 29 h 708"/>
                <a:gd name="T50" fmla="*/ 4 w 642"/>
                <a:gd name="T51" fmla="*/ 28 h 708"/>
                <a:gd name="T52" fmla="*/ 1 w 642"/>
                <a:gd name="T53" fmla="*/ 26 h 708"/>
                <a:gd name="T54" fmla="*/ 1 w 642"/>
                <a:gd name="T55" fmla="*/ 24 h 708"/>
                <a:gd name="T56" fmla="*/ 1 w 642"/>
                <a:gd name="T57" fmla="*/ 20 h 708"/>
                <a:gd name="T58" fmla="*/ 1 w 642"/>
                <a:gd name="T59" fmla="*/ 16 h 708"/>
                <a:gd name="T60" fmla="*/ 2 w 642"/>
                <a:gd name="T61" fmla="*/ 14 h 708"/>
                <a:gd name="T62" fmla="*/ 8 w 642"/>
                <a:gd name="T63" fmla="*/ 14 h 708"/>
                <a:gd name="T64" fmla="*/ 9 w 642"/>
                <a:gd name="T65" fmla="*/ 10 h 708"/>
                <a:gd name="T66" fmla="*/ 15 w 642"/>
                <a:gd name="T67" fmla="*/ 9 h 708"/>
                <a:gd name="T68" fmla="*/ 18 w 642"/>
                <a:gd name="T69" fmla="*/ 14 h 708"/>
                <a:gd name="T70" fmla="*/ 20 w 642"/>
                <a:gd name="T71" fmla="*/ 12 h 708"/>
                <a:gd name="T72" fmla="*/ 20 w 642"/>
                <a:gd name="T73" fmla="*/ 11 h 708"/>
                <a:gd name="T74" fmla="*/ 21 w 642"/>
                <a:gd name="T75" fmla="*/ 9 h 708"/>
                <a:gd name="T76" fmla="*/ 24 w 642"/>
                <a:gd name="T77" fmla="*/ 9 h 708"/>
                <a:gd name="T78" fmla="*/ 27 w 642"/>
                <a:gd name="T79" fmla="*/ 8 h 708"/>
                <a:gd name="T80" fmla="*/ 33 w 642"/>
                <a:gd name="T81" fmla="*/ 2 h 708"/>
                <a:gd name="T82" fmla="*/ 42 w 642"/>
                <a:gd name="T83" fmla="*/ 2 h 708"/>
                <a:gd name="T84" fmla="*/ 49 w 642"/>
                <a:gd name="T85" fmla="*/ 1 h 708"/>
                <a:gd name="T86" fmla="*/ 53 w 642"/>
                <a:gd name="T87" fmla="*/ 4 h 708"/>
                <a:gd name="T88" fmla="*/ 55 w 642"/>
                <a:gd name="T89" fmla="*/ 4 h 708"/>
                <a:gd name="T90" fmla="*/ 55 w 642"/>
                <a:gd name="T91" fmla="*/ 7 h 708"/>
                <a:gd name="T92" fmla="*/ 52 w 642"/>
                <a:gd name="T93" fmla="*/ 9 h 708"/>
                <a:gd name="T94" fmla="*/ 49 w 642"/>
                <a:gd name="T95" fmla="*/ 12 h 708"/>
                <a:gd name="T96" fmla="*/ 47 w 642"/>
                <a:gd name="T97" fmla="*/ 14 h 708"/>
                <a:gd name="T98" fmla="*/ 47 w 642"/>
                <a:gd name="T99" fmla="*/ 17 h 708"/>
                <a:gd name="T100" fmla="*/ 45 w 642"/>
                <a:gd name="T101" fmla="*/ 26 h 708"/>
                <a:gd name="T102" fmla="*/ 50 w 642"/>
                <a:gd name="T103" fmla="*/ 37 h 70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42"/>
                <a:gd name="T157" fmla="*/ 0 h 708"/>
                <a:gd name="T158" fmla="*/ 642 w 642"/>
                <a:gd name="T159" fmla="*/ 708 h 70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42" h="708">
                  <a:moveTo>
                    <a:pt x="576" y="468"/>
                  </a:moveTo>
                  <a:lnTo>
                    <a:pt x="564" y="468"/>
                  </a:lnTo>
                  <a:lnTo>
                    <a:pt x="516" y="468"/>
                  </a:lnTo>
                  <a:lnTo>
                    <a:pt x="498" y="474"/>
                  </a:lnTo>
                  <a:lnTo>
                    <a:pt x="492" y="468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68" y="474"/>
                  </a:lnTo>
                  <a:lnTo>
                    <a:pt x="456" y="468"/>
                  </a:lnTo>
                  <a:lnTo>
                    <a:pt x="444" y="474"/>
                  </a:lnTo>
                  <a:lnTo>
                    <a:pt x="438" y="492"/>
                  </a:lnTo>
                  <a:lnTo>
                    <a:pt x="438" y="504"/>
                  </a:lnTo>
                  <a:lnTo>
                    <a:pt x="432" y="516"/>
                  </a:lnTo>
                  <a:lnTo>
                    <a:pt x="432" y="528"/>
                  </a:lnTo>
                  <a:lnTo>
                    <a:pt x="432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52"/>
                  </a:lnTo>
                  <a:lnTo>
                    <a:pt x="432" y="558"/>
                  </a:lnTo>
                  <a:lnTo>
                    <a:pt x="438" y="564"/>
                  </a:lnTo>
                  <a:lnTo>
                    <a:pt x="444" y="564"/>
                  </a:lnTo>
                  <a:lnTo>
                    <a:pt x="438" y="564"/>
                  </a:lnTo>
                  <a:lnTo>
                    <a:pt x="438" y="570"/>
                  </a:lnTo>
                  <a:lnTo>
                    <a:pt x="432" y="570"/>
                  </a:lnTo>
                  <a:lnTo>
                    <a:pt x="432" y="576"/>
                  </a:lnTo>
                  <a:lnTo>
                    <a:pt x="426" y="588"/>
                  </a:lnTo>
                  <a:lnTo>
                    <a:pt x="420" y="594"/>
                  </a:lnTo>
                  <a:lnTo>
                    <a:pt x="420" y="600"/>
                  </a:lnTo>
                  <a:lnTo>
                    <a:pt x="414" y="600"/>
                  </a:lnTo>
                  <a:lnTo>
                    <a:pt x="414" y="606"/>
                  </a:lnTo>
                  <a:lnTo>
                    <a:pt x="408" y="606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396" y="612"/>
                  </a:lnTo>
                  <a:lnTo>
                    <a:pt x="390" y="612"/>
                  </a:lnTo>
                  <a:lnTo>
                    <a:pt x="390" y="618"/>
                  </a:lnTo>
                  <a:lnTo>
                    <a:pt x="384" y="618"/>
                  </a:lnTo>
                  <a:lnTo>
                    <a:pt x="378" y="618"/>
                  </a:lnTo>
                  <a:lnTo>
                    <a:pt x="378" y="624"/>
                  </a:lnTo>
                  <a:lnTo>
                    <a:pt x="384" y="630"/>
                  </a:lnTo>
                  <a:lnTo>
                    <a:pt x="384" y="636"/>
                  </a:lnTo>
                  <a:lnTo>
                    <a:pt x="378" y="630"/>
                  </a:lnTo>
                  <a:lnTo>
                    <a:pt x="372" y="636"/>
                  </a:lnTo>
                  <a:lnTo>
                    <a:pt x="372" y="642"/>
                  </a:lnTo>
                  <a:lnTo>
                    <a:pt x="366" y="642"/>
                  </a:lnTo>
                  <a:lnTo>
                    <a:pt x="360" y="654"/>
                  </a:lnTo>
                  <a:lnTo>
                    <a:pt x="354" y="666"/>
                  </a:lnTo>
                  <a:lnTo>
                    <a:pt x="354" y="672"/>
                  </a:lnTo>
                  <a:lnTo>
                    <a:pt x="354" y="678"/>
                  </a:lnTo>
                  <a:lnTo>
                    <a:pt x="354" y="684"/>
                  </a:lnTo>
                  <a:lnTo>
                    <a:pt x="348" y="678"/>
                  </a:lnTo>
                  <a:lnTo>
                    <a:pt x="324" y="678"/>
                  </a:lnTo>
                  <a:lnTo>
                    <a:pt x="306" y="678"/>
                  </a:lnTo>
                  <a:lnTo>
                    <a:pt x="294" y="678"/>
                  </a:lnTo>
                  <a:lnTo>
                    <a:pt x="288" y="684"/>
                  </a:lnTo>
                  <a:lnTo>
                    <a:pt x="276" y="690"/>
                  </a:lnTo>
                  <a:lnTo>
                    <a:pt x="270" y="696"/>
                  </a:lnTo>
                  <a:lnTo>
                    <a:pt x="264" y="696"/>
                  </a:lnTo>
                  <a:lnTo>
                    <a:pt x="258" y="696"/>
                  </a:lnTo>
                  <a:lnTo>
                    <a:pt x="252" y="696"/>
                  </a:lnTo>
                  <a:lnTo>
                    <a:pt x="252" y="690"/>
                  </a:lnTo>
                  <a:lnTo>
                    <a:pt x="246" y="690"/>
                  </a:lnTo>
                  <a:lnTo>
                    <a:pt x="234" y="690"/>
                  </a:lnTo>
                  <a:lnTo>
                    <a:pt x="222" y="696"/>
                  </a:lnTo>
                  <a:lnTo>
                    <a:pt x="216" y="708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8" y="690"/>
                  </a:lnTo>
                  <a:lnTo>
                    <a:pt x="198" y="684"/>
                  </a:lnTo>
                  <a:lnTo>
                    <a:pt x="198" y="678"/>
                  </a:lnTo>
                  <a:lnTo>
                    <a:pt x="198" y="672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74" y="648"/>
                  </a:lnTo>
                  <a:lnTo>
                    <a:pt x="162" y="642"/>
                  </a:lnTo>
                  <a:lnTo>
                    <a:pt x="156" y="636"/>
                  </a:lnTo>
                  <a:lnTo>
                    <a:pt x="132" y="642"/>
                  </a:lnTo>
                  <a:lnTo>
                    <a:pt x="120" y="654"/>
                  </a:lnTo>
                  <a:lnTo>
                    <a:pt x="108" y="660"/>
                  </a:lnTo>
                  <a:lnTo>
                    <a:pt x="102" y="666"/>
                  </a:lnTo>
                  <a:lnTo>
                    <a:pt x="84" y="666"/>
                  </a:lnTo>
                  <a:lnTo>
                    <a:pt x="84" y="630"/>
                  </a:lnTo>
                  <a:lnTo>
                    <a:pt x="78" y="594"/>
                  </a:lnTo>
                  <a:lnTo>
                    <a:pt x="66" y="594"/>
                  </a:lnTo>
                  <a:lnTo>
                    <a:pt x="60" y="594"/>
                  </a:lnTo>
                  <a:lnTo>
                    <a:pt x="48" y="600"/>
                  </a:lnTo>
                  <a:lnTo>
                    <a:pt x="36" y="606"/>
                  </a:lnTo>
                  <a:lnTo>
                    <a:pt x="24" y="612"/>
                  </a:lnTo>
                  <a:lnTo>
                    <a:pt x="18" y="612"/>
                  </a:lnTo>
                  <a:lnTo>
                    <a:pt x="12" y="606"/>
                  </a:lnTo>
                  <a:lnTo>
                    <a:pt x="12" y="600"/>
                  </a:lnTo>
                  <a:lnTo>
                    <a:pt x="12" y="594"/>
                  </a:lnTo>
                  <a:lnTo>
                    <a:pt x="12" y="588"/>
                  </a:lnTo>
                  <a:lnTo>
                    <a:pt x="12" y="582"/>
                  </a:lnTo>
                  <a:lnTo>
                    <a:pt x="12" y="576"/>
                  </a:lnTo>
                  <a:lnTo>
                    <a:pt x="18" y="552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42" y="534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48" y="492"/>
                  </a:lnTo>
                  <a:lnTo>
                    <a:pt x="48" y="480"/>
                  </a:lnTo>
                  <a:lnTo>
                    <a:pt x="54" y="468"/>
                  </a:lnTo>
                  <a:lnTo>
                    <a:pt x="48" y="456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66" y="390"/>
                  </a:lnTo>
                  <a:lnTo>
                    <a:pt x="72" y="384"/>
                  </a:lnTo>
                  <a:lnTo>
                    <a:pt x="72" y="378"/>
                  </a:lnTo>
                  <a:lnTo>
                    <a:pt x="66" y="378"/>
                  </a:lnTo>
                  <a:lnTo>
                    <a:pt x="66" y="366"/>
                  </a:lnTo>
                  <a:lnTo>
                    <a:pt x="60" y="360"/>
                  </a:lnTo>
                  <a:lnTo>
                    <a:pt x="66" y="354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48" y="312"/>
                  </a:lnTo>
                  <a:lnTo>
                    <a:pt x="30" y="312"/>
                  </a:lnTo>
                  <a:lnTo>
                    <a:pt x="24" y="306"/>
                  </a:lnTo>
                  <a:lnTo>
                    <a:pt x="18" y="306"/>
                  </a:lnTo>
                  <a:lnTo>
                    <a:pt x="12" y="294"/>
                  </a:lnTo>
                  <a:lnTo>
                    <a:pt x="12" y="282"/>
                  </a:lnTo>
                  <a:lnTo>
                    <a:pt x="6" y="276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12" y="270"/>
                  </a:lnTo>
                  <a:lnTo>
                    <a:pt x="12" y="246"/>
                  </a:lnTo>
                  <a:lnTo>
                    <a:pt x="12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8" y="174"/>
                  </a:lnTo>
                  <a:lnTo>
                    <a:pt x="12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48" y="162"/>
                  </a:lnTo>
                  <a:lnTo>
                    <a:pt x="72" y="162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84" y="132"/>
                  </a:lnTo>
                  <a:lnTo>
                    <a:pt x="90" y="120"/>
                  </a:lnTo>
                  <a:lnTo>
                    <a:pt x="108" y="114"/>
                  </a:lnTo>
                  <a:lnTo>
                    <a:pt x="114" y="102"/>
                  </a:lnTo>
                  <a:lnTo>
                    <a:pt x="120" y="90"/>
                  </a:lnTo>
                  <a:lnTo>
                    <a:pt x="138" y="90"/>
                  </a:lnTo>
                  <a:lnTo>
                    <a:pt x="138" y="102"/>
                  </a:lnTo>
                  <a:lnTo>
                    <a:pt x="168" y="108"/>
                  </a:lnTo>
                  <a:lnTo>
                    <a:pt x="168" y="114"/>
                  </a:lnTo>
                  <a:lnTo>
                    <a:pt x="174" y="126"/>
                  </a:lnTo>
                  <a:lnTo>
                    <a:pt x="186" y="150"/>
                  </a:lnTo>
                  <a:lnTo>
                    <a:pt x="186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34" y="144"/>
                  </a:lnTo>
                  <a:lnTo>
                    <a:pt x="240" y="138"/>
                  </a:lnTo>
                  <a:lnTo>
                    <a:pt x="240" y="126"/>
                  </a:lnTo>
                  <a:lnTo>
                    <a:pt x="234" y="126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34" y="102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82" y="102"/>
                  </a:lnTo>
                  <a:lnTo>
                    <a:pt x="288" y="102"/>
                  </a:lnTo>
                  <a:lnTo>
                    <a:pt x="294" y="102"/>
                  </a:lnTo>
                  <a:lnTo>
                    <a:pt x="300" y="96"/>
                  </a:lnTo>
                  <a:lnTo>
                    <a:pt x="306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84"/>
                  </a:lnTo>
                  <a:lnTo>
                    <a:pt x="324" y="18"/>
                  </a:lnTo>
                  <a:lnTo>
                    <a:pt x="360" y="18"/>
                  </a:lnTo>
                  <a:lnTo>
                    <a:pt x="378" y="18"/>
                  </a:lnTo>
                  <a:lnTo>
                    <a:pt x="378" y="30"/>
                  </a:lnTo>
                  <a:lnTo>
                    <a:pt x="390" y="30"/>
                  </a:lnTo>
                  <a:lnTo>
                    <a:pt x="432" y="30"/>
                  </a:lnTo>
                  <a:lnTo>
                    <a:pt x="456" y="24"/>
                  </a:lnTo>
                  <a:lnTo>
                    <a:pt x="480" y="24"/>
                  </a:lnTo>
                  <a:lnTo>
                    <a:pt x="498" y="30"/>
                  </a:lnTo>
                  <a:lnTo>
                    <a:pt x="522" y="18"/>
                  </a:lnTo>
                  <a:lnTo>
                    <a:pt x="528" y="0"/>
                  </a:lnTo>
                  <a:lnTo>
                    <a:pt x="558" y="6"/>
                  </a:lnTo>
                  <a:lnTo>
                    <a:pt x="558" y="12"/>
                  </a:lnTo>
                  <a:lnTo>
                    <a:pt x="570" y="18"/>
                  </a:lnTo>
                  <a:lnTo>
                    <a:pt x="576" y="24"/>
                  </a:lnTo>
                  <a:lnTo>
                    <a:pt x="588" y="36"/>
                  </a:lnTo>
                  <a:lnTo>
                    <a:pt x="594" y="48"/>
                  </a:lnTo>
                  <a:lnTo>
                    <a:pt x="606" y="48"/>
                  </a:lnTo>
                  <a:lnTo>
                    <a:pt x="606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42"/>
                  </a:lnTo>
                  <a:lnTo>
                    <a:pt x="636" y="42"/>
                  </a:lnTo>
                  <a:lnTo>
                    <a:pt x="636" y="48"/>
                  </a:lnTo>
                  <a:lnTo>
                    <a:pt x="642" y="54"/>
                  </a:lnTo>
                  <a:lnTo>
                    <a:pt x="636" y="60"/>
                  </a:lnTo>
                  <a:lnTo>
                    <a:pt x="636" y="66"/>
                  </a:lnTo>
                  <a:lnTo>
                    <a:pt x="636" y="78"/>
                  </a:lnTo>
                  <a:lnTo>
                    <a:pt x="624" y="84"/>
                  </a:lnTo>
                  <a:lnTo>
                    <a:pt x="618" y="90"/>
                  </a:lnTo>
                  <a:lnTo>
                    <a:pt x="612" y="90"/>
                  </a:lnTo>
                  <a:lnTo>
                    <a:pt x="600" y="102"/>
                  </a:lnTo>
                  <a:lnTo>
                    <a:pt x="594" y="108"/>
                  </a:lnTo>
                  <a:lnTo>
                    <a:pt x="582" y="114"/>
                  </a:lnTo>
                  <a:lnTo>
                    <a:pt x="570" y="132"/>
                  </a:lnTo>
                  <a:lnTo>
                    <a:pt x="564" y="132"/>
                  </a:lnTo>
                  <a:lnTo>
                    <a:pt x="564" y="138"/>
                  </a:lnTo>
                  <a:lnTo>
                    <a:pt x="558" y="144"/>
                  </a:lnTo>
                  <a:lnTo>
                    <a:pt x="558" y="150"/>
                  </a:lnTo>
                  <a:lnTo>
                    <a:pt x="552" y="150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0" y="162"/>
                  </a:lnTo>
                  <a:lnTo>
                    <a:pt x="534" y="168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6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28" y="234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16" y="294"/>
                  </a:lnTo>
                  <a:lnTo>
                    <a:pt x="516" y="312"/>
                  </a:lnTo>
                  <a:lnTo>
                    <a:pt x="528" y="318"/>
                  </a:lnTo>
                  <a:lnTo>
                    <a:pt x="540" y="360"/>
                  </a:lnTo>
                  <a:lnTo>
                    <a:pt x="558" y="408"/>
                  </a:lnTo>
                  <a:lnTo>
                    <a:pt x="570" y="426"/>
                  </a:lnTo>
                  <a:lnTo>
                    <a:pt x="576" y="432"/>
                  </a:lnTo>
                  <a:lnTo>
                    <a:pt x="576" y="438"/>
                  </a:lnTo>
                  <a:lnTo>
                    <a:pt x="576" y="444"/>
                  </a:lnTo>
                  <a:lnTo>
                    <a:pt x="576" y="46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3" name="Freeform 28">
              <a:extLst>
                <a:ext uri="{FF2B5EF4-FFF2-40B4-BE49-F238E27FC236}">
                  <a16:creationId xmlns:a16="http://schemas.microsoft.com/office/drawing/2014/main" id="{CF9B4F31-BF73-448E-83AA-188F6CF1BDC5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4879" y="3432583"/>
              <a:ext cx="324248" cy="270616"/>
            </a:xfrm>
            <a:custGeom>
              <a:avLst/>
              <a:gdLst>
                <a:gd name="T0" fmla="*/ 5 w 606"/>
                <a:gd name="T1" fmla="*/ 36 h 510"/>
                <a:gd name="T2" fmla="*/ 4 w 606"/>
                <a:gd name="T3" fmla="*/ 34 h 510"/>
                <a:gd name="T4" fmla="*/ 0 w 606"/>
                <a:gd name="T5" fmla="*/ 25 h 510"/>
                <a:gd name="T6" fmla="*/ 1 w 606"/>
                <a:gd name="T7" fmla="*/ 20 h 510"/>
                <a:gd name="T8" fmla="*/ 2 w 606"/>
                <a:gd name="T9" fmla="*/ 15 h 510"/>
                <a:gd name="T10" fmla="*/ 2 w 606"/>
                <a:gd name="T11" fmla="*/ 13 h 510"/>
                <a:gd name="T12" fmla="*/ 3 w 606"/>
                <a:gd name="T13" fmla="*/ 12 h 510"/>
                <a:gd name="T14" fmla="*/ 4 w 606"/>
                <a:gd name="T15" fmla="*/ 11 h 510"/>
                <a:gd name="T16" fmla="*/ 4 w 606"/>
                <a:gd name="T17" fmla="*/ 10 h 510"/>
                <a:gd name="T18" fmla="*/ 7 w 606"/>
                <a:gd name="T19" fmla="*/ 8 h 510"/>
                <a:gd name="T20" fmla="*/ 9 w 606"/>
                <a:gd name="T21" fmla="*/ 6 h 510"/>
                <a:gd name="T22" fmla="*/ 11 w 606"/>
                <a:gd name="T23" fmla="*/ 4 h 510"/>
                <a:gd name="T24" fmla="*/ 12 w 606"/>
                <a:gd name="T25" fmla="*/ 3 h 510"/>
                <a:gd name="T26" fmla="*/ 13 w 606"/>
                <a:gd name="T27" fmla="*/ 4 h 510"/>
                <a:gd name="T28" fmla="*/ 15 w 606"/>
                <a:gd name="T29" fmla="*/ 2 h 510"/>
                <a:gd name="T30" fmla="*/ 17 w 606"/>
                <a:gd name="T31" fmla="*/ 2 h 510"/>
                <a:gd name="T32" fmla="*/ 19 w 606"/>
                <a:gd name="T33" fmla="*/ 5 h 510"/>
                <a:gd name="T34" fmla="*/ 22 w 606"/>
                <a:gd name="T35" fmla="*/ 5 h 510"/>
                <a:gd name="T36" fmla="*/ 25 w 606"/>
                <a:gd name="T37" fmla="*/ 6 h 510"/>
                <a:gd name="T38" fmla="*/ 29 w 606"/>
                <a:gd name="T39" fmla="*/ 1 h 510"/>
                <a:gd name="T40" fmla="*/ 38 w 606"/>
                <a:gd name="T41" fmla="*/ 0 h 510"/>
                <a:gd name="T42" fmla="*/ 38 w 606"/>
                <a:gd name="T43" fmla="*/ 5 h 510"/>
                <a:gd name="T44" fmla="*/ 41 w 606"/>
                <a:gd name="T45" fmla="*/ 4 h 510"/>
                <a:gd name="T46" fmla="*/ 45 w 606"/>
                <a:gd name="T47" fmla="*/ 2 h 510"/>
                <a:gd name="T48" fmla="*/ 46 w 606"/>
                <a:gd name="T49" fmla="*/ 2 h 510"/>
                <a:gd name="T50" fmla="*/ 47 w 606"/>
                <a:gd name="T51" fmla="*/ 5 h 510"/>
                <a:gd name="T52" fmla="*/ 45 w 606"/>
                <a:gd name="T53" fmla="*/ 6 h 510"/>
                <a:gd name="T54" fmla="*/ 45 w 606"/>
                <a:gd name="T55" fmla="*/ 7 h 510"/>
                <a:gd name="T56" fmla="*/ 43 w 606"/>
                <a:gd name="T57" fmla="*/ 8 h 510"/>
                <a:gd name="T58" fmla="*/ 45 w 606"/>
                <a:gd name="T59" fmla="*/ 15 h 510"/>
                <a:gd name="T60" fmla="*/ 49 w 606"/>
                <a:gd name="T61" fmla="*/ 15 h 510"/>
                <a:gd name="T62" fmla="*/ 51 w 606"/>
                <a:gd name="T63" fmla="*/ 15 h 510"/>
                <a:gd name="T64" fmla="*/ 53 w 606"/>
                <a:gd name="T65" fmla="*/ 16 h 510"/>
                <a:gd name="T66" fmla="*/ 52 w 606"/>
                <a:gd name="T67" fmla="*/ 20 h 510"/>
                <a:gd name="T68" fmla="*/ 48 w 606"/>
                <a:gd name="T69" fmla="*/ 23 h 510"/>
                <a:gd name="T70" fmla="*/ 45 w 606"/>
                <a:gd name="T71" fmla="*/ 25 h 510"/>
                <a:gd name="T72" fmla="*/ 44 w 606"/>
                <a:gd name="T73" fmla="*/ 28 h 510"/>
                <a:gd name="T74" fmla="*/ 43 w 606"/>
                <a:gd name="T75" fmla="*/ 33 h 510"/>
                <a:gd name="T76" fmla="*/ 39 w 606"/>
                <a:gd name="T77" fmla="*/ 38 h 510"/>
                <a:gd name="T78" fmla="*/ 37 w 606"/>
                <a:gd name="T79" fmla="*/ 41 h 510"/>
                <a:gd name="T80" fmla="*/ 31 w 606"/>
                <a:gd name="T81" fmla="*/ 44 h 510"/>
                <a:gd name="T82" fmla="*/ 28 w 606"/>
                <a:gd name="T83" fmla="*/ 43 h 510"/>
                <a:gd name="T84" fmla="*/ 28 w 606"/>
                <a:gd name="T85" fmla="*/ 41 h 510"/>
                <a:gd name="T86" fmla="*/ 28 w 606"/>
                <a:gd name="T87" fmla="*/ 40 h 510"/>
                <a:gd name="T88" fmla="*/ 27 w 606"/>
                <a:gd name="T89" fmla="*/ 38 h 510"/>
                <a:gd name="T90" fmla="*/ 27 w 606"/>
                <a:gd name="T91" fmla="*/ 36 h 510"/>
                <a:gd name="T92" fmla="*/ 24 w 606"/>
                <a:gd name="T93" fmla="*/ 35 h 510"/>
                <a:gd name="T94" fmla="*/ 16 w 606"/>
                <a:gd name="T95" fmla="*/ 34 h 510"/>
                <a:gd name="T96" fmla="*/ 13 w 606"/>
                <a:gd name="T97" fmla="*/ 34 h 510"/>
                <a:gd name="T98" fmla="*/ 9 w 606"/>
                <a:gd name="T99" fmla="*/ 36 h 510"/>
                <a:gd name="T100" fmla="*/ 8 w 606"/>
                <a:gd name="T101" fmla="*/ 38 h 510"/>
                <a:gd name="T102" fmla="*/ 7 w 606"/>
                <a:gd name="T103" fmla="*/ 39 h 51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06"/>
                <a:gd name="T157" fmla="*/ 0 h 510"/>
                <a:gd name="T158" fmla="*/ 606 w 606"/>
                <a:gd name="T159" fmla="*/ 510 h 51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06" h="510">
                  <a:moveTo>
                    <a:pt x="60" y="450"/>
                  </a:move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42" y="390"/>
                  </a:lnTo>
                  <a:lnTo>
                    <a:pt x="24" y="342"/>
                  </a:lnTo>
                  <a:lnTo>
                    <a:pt x="12" y="300"/>
                  </a:lnTo>
                  <a:lnTo>
                    <a:pt x="0" y="294"/>
                  </a:lnTo>
                  <a:lnTo>
                    <a:pt x="0" y="276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24" y="192"/>
                  </a:lnTo>
                  <a:lnTo>
                    <a:pt x="24" y="180"/>
                  </a:lnTo>
                  <a:lnTo>
                    <a:pt x="24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6" y="96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108" y="66"/>
                  </a:lnTo>
                  <a:lnTo>
                    <a:pt x="120" y="60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36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62" y="36"/>
                  </a:lnTo>
                  <a:lnTo>
                    <a:pt x="162" y="30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0" y="54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46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76" y="66"/>
                  </a:lnTo>
                  <a:lnTo>
                    <a:pt x="312" y="66"/>
                  </a:lnTo>
                  <a:lnTo>
                    <a:pt x="318" y="60"/>
                  </a:lnTo>
                  <a:lnTo>
                    <a:pt x="330" y="12"/>
                  </a:lnTo>
                  <a:lnTo>
                    <a:pt x="414" y="6"/>
                  </a:lnTo>
                  <a:lnTo>
                    <a:pt x="420" y="0"/>
                  </a:lnTo>
                  <a:lnTo>
                    <a:pt x="426" y="6"/>
                  </a:lnTo>
                  <a:lnTo>
                    <a:pt x="426" y="12"/>
                  </a:lnTo>
                  <a:lnTo>
                    <a:pt x="426" y="54"/>
                  </a:lnTo>
                  <a:lnTo>
                    <a:pt x="432" y="54"/>
                  </a:lnTo>
                  <a:lnTo>
                    <a:pt x="444" y="54"/>
                  </a:lnTo>
                  <a:lnTo>
                    <a:pt x="450" y="42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86" y="24"/>
                  </a:lnTo>
                  <a:lnTo>
                    <a:pt x="504" y="18"/>
                  </a:lnTo>
                  <a:lnTo>
                    <a:pt x="510" y="12"/>
                  </a:lnTo>
                  <a:lnTo>
                    <a:pt x="516" y="18"/>
                  </a:lnTo>
                  <a:lnTo>
                    <a:pt x="522" y="24"/>
                  </a:lnTo>
                  <a:lnTo>
                    <a:pt x="510" y="30"/>
                  </a:lnTo>
                  <a:lnTo>
                    <a:pt x="516" y="48"/>
                  </a:lnTo>
                  <a:lnTo>
                    <a:pt x="528" y="54"/>
                  </a:lnTo>
                  <a:lnTo>
                    <a:pt x="522" y="60"/>
                  </a:lnTo>
                  <a:lnTo>
                    <a:pt x="516" y="66"/>
                  </a:lnTo>
                  <a:lnTo>
                    <a:pt x="516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0" y="84"/>
                  </a:lnTo>
                  <a:lnTo>
                    <a:pt x="510" y="90"/>
                  </a:lnTo>
                  <a:lnTo>
                    <a:pt x="504" y="90"/>
                  </a:lnTo>
                  <a:lnTo>
                    <a:pt x="486" y="90"/>
                  </a:lnTo>
                  <a:lnTo>
                    <a:pt x="492" y="138"/>
                  </a:lnTo>
                  <a:lnTo>
                    <a:pt x="498" y="168"/>
                  </a:lnTo>
                  <a:lnTo>
                    <a:pt x="516" y="168"/>
                  </a:lnTo>
                  <a:lnTo>
                    <a:pt x="528" y="174"/>
                  </a:lnTo>
                  <a:lnTo>
                    <a:pt x="534" y="168"/>
                  </a:lnTo>
                  <a:lnTo>
                    <a:pt x="558" y="174"/>
                  </a:lnTo>
                  <a:lnTo>
                    <a:pt x="564" y="168"/>
                  </a:lnTo>
                  <a:lnTo>
                    <a:pt x="570" y="168"/>
                  </a:lnTo>
                  <a:lnTo>
                    <a:pt x="576" y="174"/>
                  </a:lnTo>
                  <a:lnTo>
                    <a:pt x="588" y="168"/>
                  </a:lnTo>
                  <a:lnTo>
                    <a:pt x="594" y="168"/>
                  </a:lnTo>
                  <a:lnTo>
                    <a:pt x="594" y="186"/>
                  </a:lnTo>
                  <a:lnTo>
                    <a:pt x="606" y="198"/>
                  </a:lnTo>
                  <a:lnTo>
                    <a:pt x="600" y="210"/>
                  </a:lnTo>
                  <a:lnTo>
                    <a:pt x="588" y="234"/>
                  </a:lnTo>
                  <a:lnTo>
                    <a:pt x="564" y="246"/>
                  </a:lnTo>
                  <a:lnTo>
                    <a:pt x="546" y="258"/>
                  </a:lnTo>
                  <a:lnTo>
                    <a:pt x="540" y="270"/>
                  </a:lnTo>
                  <a:lnTo>
                    <a:pt x="534" y="294"/>
                  </a:lnTo>
                  <a:lnTo>
                    <a:pt x="528" y="300"/>
                  </a:lnTo>
                  <a:lnTo>
                    <a:pt x="516" y="294"/>
                  </a:lnTo>
                  <a:lnTo>
                    <a:pt x="510" y="300"/>
                  </a:lnTo>
                  <a:lnTo>
                    <a:pt x="498" y="318"/>
                  </a:lnTo>
                  <a:lnTo>
                    <a:pt x="492" y="324"/>
                  </a:lnTo>
                  <a:lnTo>
                    <a:pt x="486" y="336"/>
                  </a:lnTo>
                  <a:lnTo>
                    <a:pt x="486" y="354"/>
                  </a:lnTo>
                  <a:lnTo>
                    <a:pt x="486" y="384"/>
                  </a:lnTo>
                  <a:lnTo>
                    <a:pt x="474" y="408"/>
                  </a:lnTo>
                  <a:lnTo>
                    <a:pt x="450" y="426"/>
                  </a:lnTo>
                  <a:lnTo>
                    <a:pt x="444" y="444"/>
                  </a:lnTo>
                  <a:lnTo>
                    <a:pt x="426" y="474"/>
                  </a:lnTo>
                  <a:lnTo>
                    <a:pt x="420" y="486"/>
                  </a:lnTo>
                  <a:lnTo>
                    <a:pt x="414" y="486"/>
                  </a:lnTo>
                  <a:lnTo>
                    <a:pt x="414" y="498"/>
                  </a:lnTo>
                  <a:lnTo>
                    <a:pt x="378" y="504"/>
                  </a:lnTo>
                  <a:lnTo>
                    <a:pt x="348" y="510"/>
                  </a:lnTo>
                  <a:lnTo>
                    <a:pt x="330" y="510"/>
                  </a:lnTo>
                  <a:lnTo>
                    <a:pt x="324" y="504"/>
                  </a:lnTo>
                  <a:lnTo>
                    <a:pt x="318" y="504"/>
                  </a:lnTo>
                  <a:lnTo>
                    <a:pt x="312" y="504"/>
                  </a:lnTo>
                  <a:lnTo>
                    <a:pt x="312" y="498"/>
                  </a:lnTo>
                  <a:lnTo>
                    <a:pt x="312" y="486"/>
                  </a:lnTo>
                  <a:lnTo>
                    <a:pt x="312" y="480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56"/>
                  </a:lnTo>
                  <a:lnTo>
                    <a:pt x="312" y="450"/>
                  </a:lnTo>
                  <a:lnTo>
                    <a:pt x="306" y="444"/>
                  </a:lnTo>
                  <a:lnTo>
                    <a:pt x="306" y="438"/>
                  </a:lnTo>
                  <a:lnTo>
                    <a:pt x="300" y="426"/>
                  </a:lnTo>
                  <a:lnTo>
                    <a:pt x="300" y="420"/>
                  </a:lnTo>
                  <a:lnTo>
                    <a:pt x="294" y="414"/>
                  </a:lnTo>
                  <a:lnTo>
                    <a:pt x="294" y="408"/>
                  </a:lnTo>
                  <a:lnTo>
                    <a:pt x="270" y="408"/>
                  </a:lnTo>
                  <a:lnTo>
                    <a:pt x="246" y="408"/>
                  </a:lnTo>
                  <a:lnTo>
                    <a:pt x="222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56" y="402"/>
                  </a:lnTo>
                  <a:lnTo>
                    <a:pt x="144" y="396"/>
                  </a:lnTo>
                  <a:lnTo>
                    <a:pt x="126" y="396"/>
                  </a:lnTo>
                  <a:lnTo>
                    <a:pt x="108" y="408"/>
                  </a:lnTo>
                  <a:lnTo>
                    <a:pt x="102" y="414"/>
                  </a:lnTo>
                  <a:lnTo>
                    <a:pt x="102" y="420"/>
                  </a:lnTo>
                  <a:lnTo>
                    <a:pt x="96" y="426"/>
                  </a:lnTo>
                  <a:lnTo>
                    <a:pt x="96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78" y="450"/>
                  </a:lnTo>
                  <a:lnTo>
                    <a:pt x="60" y="450"/>
                  </a:lnTo>
                  <a:close/>
                </a:path>
              </a:pathLst>
            </a:custGeom>
            <a:solidFill>
              <a:srgbClr val="2A4F1D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4" name="Freeform 29">
              <a:extLst>
                <a:ext uri="{FF2B5EF4-FFF2-40B4-BE49-F238E27FC236}">
                  <a16:creationId xmlns:a16="http://schemas.microsoft.com/office/drawing/2014/main" id="{B6AC2B96-1504-4082-8778-17130FDA021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401" y="3537698"/>
              <a:ext cx="559048" cy="641876"/>
            </a:xfrm>
            <a:custGeom>
              <a:avLst/>
              <a:gdLst>
                <a:gd name="T0" fmla="*/ 39 w 1056"/>
                <a:gd name="T1" fmla="*/ 94 h 1206"/>
                <a:gd name="T2" fmla="*/ 35 w 1056"/>
                <a:gd name="T3" fmla="*/ 103 h 1206"/>
                <a:gd name="T4" fmla="*/ 29 w 1056"/>
                <a:gd name="T5" fmla="*/ 99 h 1206"/>
                <a:gd name="T6" fmla="*/ 23 w 1056"/>
                <a:gd name="T7" fmla="*/ 94 h 1206"/>
                <a:gd name="T8" fmla="*/ 21 w 1056"/>
                <a:gd name="T9" fmla="*/ 91 h 1206"/>
                <a:gd name="T10" fmla="*/ 18 w 1056"/>
                <a:gd name="T11" fmla="*/ 89 h 1206"/>
                <a:gd name="T12" fmla="*/ 15 w 1056"/>
                <a:gd name="T13" fmla="*/ 86 h 1206"/>
                <a:gd name="T14" fmla="*/ 11 w 1056"/>
                <a:gd name="T15" fmla="*/ 83 h 1206"/>
                <a:gd name="T16" fmla="*/ 8 w 1056"/>
                <a:gd name="T17" fmla="*/ 81 h 1206"/>
                <a:gd name="T18" fmla="*/ 6 w 1056"/>
                <a:gd name="T19" fmla="*/ 79 h 1206"/>
                <a:gd name="T20" fmla="*/ 13 w 1056"/>
                <a:gd name="T21" fmla="*/ 78 h 1206"/>
                <a:gd name="T22" fmla="*/ 8 w 1056"/>
                <a:gd name="T23" fmla="*/ 75 h 1206"/>
                <a:gd name="T24" fmla="*/ 13 w 1056"/>
                <a:gd name="T25" fmla="*/ 71 h 1206"/>
                <a:gd name="T26" fmla="*/ 10 w 1056"/>
                <a:gd name="T27" fmla="*/ 63 h 1206"/>
                <a:gd name="T28" fmla="*/ 6 w 1056"/>
                <a:gd name="T29" fmla="*/ 66 h 1206"/>
                <a:gd name="T30" fmla="*/ 1 w 1056"/>
                <a:gd name="T31" fmla="*/ 63 h 1206"/>
                <a:gd name="T32" fmla="*/ 1 w 1056"/>
                <a:gd name="T33" fmla="*/ 59 h 1206"/>
                <a:gd name="T34" fmla="*/ 3 w 1056"/>
                <a:gd name="T35" fmla="*/ 57 h 1206"/>
                <a:gd name="T36" fmla="*/ 6 w 1056"/>
                <a:gd name="T37" fmla="*/ 55 h 1206"/>
                <a:gd name="T38" fmla="*/ 10 w 1056"/>
                <a:gd name="T39" fmla="*/ 51 h 1206"/>
                <a:gd name="T40" fmla="*/ 11 w 1056"/>
                <a:gd name="T41" fmla="*/ 46 h 1206"/>
                <a:gd name="T42" fmla="*/ 14 w 1056"/>
                <a:gd name="T43" fmla="*/ 42 h 1206"/>
                <a:gd name="T44" fmla="*/ 15 w 1056"/>
                <a:gd name="T45" fmla="*/ 36 h 1206"/>
                <a:gd name="T46" fmla="*/ 17 w 1056"/>
                <a:gd name="T47" fmla="*/ 34 h 1206"/>
                <a:gd name="T48" fmla="*/ 20 w 1056"/>
                <a:gd name="T49" fmla="*/ 31 h 1206"/>
                <a:gd name="T50" fmla="*/ 21 w 1056"/>
                <a:gd name="T51" fmla="*/ 29 h 1206"/>
                <a:gd name="T52" fmla="*/ 23 w 1056"/>
                <a:gd name="T53" fmla="*/ 22 h 1206"/>
                <a:gd name="T54" fmla="*/ 35 w 1056"/>
                <a:gd name="T55" fmla="*/ 22 h 1206"/>
                <a:gd name="T56" fmla="*/ 41 w 1056"/>
                <a:gd name="T57" fmla="*/ 18 h 1206"/>
                <a:gd name="T58" fmla="*/ 54 w 1056"/>
                <a:gd name="T59" fmla="*/ 20 h 1206"/>
                <a:gd name="T60" fmla="*/ 54 w 1056"/>
                <a:gd name="T61" fmla="*/ 26 h 1206"/>
                <a:gd name="T62" fmla="*/ 64 w 1056"/>
                <a:gd name="T63" fmla="*/ 25 h 1206"/>
                <a:gd name="T64" fmla="*/ 71 w 1056"/>
                <a:gd name="T65" fmla="*/ 10 h 1206"/>
                <a:gd name="T66" fmla="*/ 80 w 1056"/>
                <a:gd name="T67" fmla="*/ 1 h 1206"/>
                <a:gd name="T68" fmla="*/ 86 w 1056"/>
                <a:gd name="T69" fmla="*/ 2 h 1206"/>
                <a:gd name="T70" fmla="*/ 91 w 1056"/>
                <a:gd name="T71" fmla="*/ 13 h 1206"/>
                <a:gd name="T72" fmla="*/ 88 w 1056"/>
                <a:gd name="T73" fmla="*/ 17 h 1206"/>
                <a:gd name="T74" fmla="*/ 89 w 1056"/>
                <a:gd name="T75" fmla="*/ 21 h 1206"/>
                <a:gd name="T76" fmla="*/ 86 w 1056"/>
                <a:gd name="T77" fmla="*/ 25 h 1206"/>
                <a:gd name="T78" fmla="*/ 85 w 1056"/>
                <a:gd name="T79" fmla="*/ 31 h 1206"/>
                <a:gd name="T80" fmla="*/ 83 w 1056"/>
                <a:gd name="T81" fmla="*/ 36 h 1206"/>
                <a:gd name="T82" fmla="*/ 80 w 1056"/>
                <a:gd name="T83" fmla="*/ 42 h 1206"/>
                <a:gd name="T84" fmla="*/ 80 w 1056"/>
                <a:gd name="T85" fmla="*/ 47 h 1206"/>
                <a:gd name="T86" fmla="*/ 77 w 1056"/>
                <a:gd name="T87" fmla="*/ 55 h 1206"/>
                <a:gd name="T88" fmla="*/ 75 w 1056"/>
                <a:gd name="T89" fmla="*/ 57 h 1206"/>
                <a:gd name="T90" fmla="*/ 66 w 1056"/>
                <a:gd name="T91" fmla="*/ 57 h 1206"/>
                <a:gd name="T92" fmla="*/ 66 w 1056"/>
                <a:gd name="T93" fmla="*/ 51 h 1206"/>
                <a:gd name="T94" fmla="*/ 48 w 1056"/>
                <a:gd name="T95" fmla="*/ 50 h 1206"/>
                <a:gd name="T96" fmla="*/ 46 w 1056"/>
                <a:gd name="T97" fmla="*/ 55 h 1206"/>
                <a:gd name="T98" fmla="*/ 42 w 1056"/>
                <a:gd name="T99" fmla="*/ 59 h 1206"/>
                <a:gd name="T100" fmla="*/ 41 w 1056"/>
                <a:gd name="T101" fmla="*/ 62 h 1206"/>
                <a:gd name="T102" fmla="*/ 43 w 1056"/>
                <a:gd name="T103" fmla="*/ 67 h 1206"/>
                <a:gd name="T104" fmla="*/ 42 w 1056"/>
                <a:gd name="T105" fmla="*/ 72 h 1206"/>
                <a:gd name="T106" fmla="*/ 39 w 1056"/>
                <a:gd name="T107" fmla="*/ 77 h 1206"/>
                <a:gd name="T108" fmla="*/ 36 w 1056"/>
                <a:gd name="T109" fmla="*/ 80 h 1206"/>
                <a:gd name="T110" fmla="*/ 37 w 1056"/>
                <a:gd name="T111" fmla="*/ 83 h 1206"/>
                <a:gd name="T112" fmla="*/ 40 w 1056"/>
                <a:gd name="T113" fmla="*/ 87 h 1206"/>
                <a:gd name="T114" fmla="*/ 42 w 1056"/>
                <a:gd name="T115" fmla="*/ 89 h 12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56"/>
                <a:gd name="T175" fmla="*/ 0 h 1206"/>
                <a:gd name="T176" fmla="*/ 1056 w 1056"/>
                <a:gd name="T177" fmla="*/ 1206 h 12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56" h="1206">
                  <a:moveTo>
                    <a:pt x="492" y="1032"/>
                  </a:moveTo>
                  <a:lnTo>
                    <a:pt x="486" y="1038"/>
                  </a:lnTo>
                  <a:lnTo>
                    <a:pt x="486" y="1044"/>
                  </a:lnTo>
                  <a:lnTo>
                    <a:pt x="480" y="1044"/>
                  </a:lnTo>
                  <a:lnTo>
                    <a:pt x="474" y="1056"/>
                  </a:lnTo>
                  <a:lnTo>
                    <a:pt x="462" y="1068"/>
                  </a:lnTo>
                  <a:lnTo>
                    <a:pt x="456" y="1080"/>
                  </a:lnTo>
                  <a:lnTo>
                    <a:pt x="450" y="1080"/>
                  </a:lnTo>
                  <a:lnTo>
                    <a:pt x="450" y="1086"/>
                  </a:lnTo>
                  <a:lnTo>
                    <a:pt x="450" y="1092"/>
                  </a:lnTo>
                  <a:lnTo>
                    <a:pt x="444" y="1104"/>
                  </a:lnTo>
                  <a:lnTo>
                    <a:pt x="444" y="1116"/>
                  </a:lnTo>
                  <a:lnTo>
                    <a:pt x="438" y="1128"/>
                  </a:lnTo>
                  <a:lnTo>
                    <a:pt x="432" y="1134"/>
                  </a:lnTo>
                  <a:lnTo>
                    <a:pt x="432" y="1140"/>
                  </a:lnTo>
                  <a:lnTo>
                    <a:pt x="420" y="1152"/>
                  </a:lnTo>
                  <a:lnTo>
                    <a:pt x="420" y="1158"/>
                  </a:lnTo>
                  <a:lnTo>
                    <a:pt x="408" y="1182"/>
                  </a:lnTo>
                  <a:lnTo>
                    <a:pt x="396" y="1194"/>
                  </a:lnTo>
                  <a:lnTo>
                    <a:pt x="390" y="1206"/>
                  </a:lnTo>
                  <a:lnTo>
                    <a:pt x="390" y="1200"/>
                  </a:lnTo>
                  <a:lnTo>
                    <a:pt x="384" y="1194"/>
                  </a:lnTo>
                  <a:lnTo>
                    <a:pt x="378" y="1188"/>
                  </a:lnTo>
                  <a:lnTo>
                    <a:pt x="366" y="1176"/>
                  </a:lnTo>
                  <a:lnTo>
                    <a:pt x="366" y="1170"/>
                  </a:lnTo>
                  <a:lnTo>
                    <a:pt x="348" y="1152"/>
                  </a:lnTo>
                  <a:lnTo>
                    <a:pt x="336" y="1140"/>
                  </a:lnTo>
                  <a:lnTo>
                    <a:pt x="330" y="1134"/>
                  </a:lnTo>
                  <a:lnTo>
                    <a:pt x="324" y="1128"/>
                  </a:lnTo>
                  <a:lnTo>
                    <a:pt x="318" y="1122"/>
                  </a:lnTo>
                  <a:lnTo>
                    <a:pt x="312" y="1116"/>
                  </a:lnTo>
                  <a:lnTo>
                    <a:pt x="306" y="1110"/>
                  </a:lnTo>
                  <a:lnTo>
                    <a:pt x="300" y="1104"/>
                  </a:lnTo>
                  <a:lnTo>
                    <a:pt x="294" y="1098"/>
                  </a:lnTo>
                  <a:lnTo>
                    <a:pt x="276" y="1080"/>
                  </a:lnTo>
                  <a:lnTo>
                    <a:pt x="270" y="1080"/>
                  </a:lnTo>
                  <a:lnTo>
                    <a:pt x="270" y="1074"/>
                  </a:lnTo>
                  <a:lnTo>
                    <a:pt x="264" y="1068"/>
                  </a:lnTo>
                  <a:lnTo>
                    <a:pt x="258" y="1062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40" y="1050"/>
                  </a:lnTo>
                  <a:lnTo>
                    <a:pt x="234" y="1044"/>
                  </a:lnTo>
                  <a:lnTo>
                    <a:pt x="228" y="1044"/>
                  </a:lnTo>
                  <a:lnTo>
                    <a:pt x="222" y="1038"/>
                  </a:lnTo>
                  <a:lnTo>
                    <a:pt x="222" y="1032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6"/>
                  </a:lnTo>
                  <a:lnTo>
                    <a:pt x="204" y="1020"/>
                  </a:lnTo>
                  <a:lnTo>
                    <a:pt x="204" y="1014"/>
                  </a:lnTo>
                  <a:lnTo>
                    <a:pt x="198" y="1014"/>
                  </a:lnTo>
                  <a:lnTo>
                    <a:pt x="192" y="1014"/>
                  </a:lnTo>
                  <a:lnTo>
                    <a:pt x="192" y="1008"/>
                  </a:lnTo>
                  <a:lnTo>
                    <a:pt x="186" y="1008"/>
                  </a:lnTo>
                  <a:lnTo>
                    <a:pt x="186" y="1002"/>
                  </a:lnTo>
                  <a:lnTo>
                    <a:pt x="180" y="1002"/>
                  </a:lnTo>
                  <a:lnTo>
                    <a:pt x="174" y="996"/>
                  </a:lnTo>
                  <a:lnTo>
                    <a:pt x="168" y="996"/>
                  </a:lnTo>
                  <a:lnTo>
                    <a:pt x="168" y="990"/>
                  </a:lnTo>
                  <a:lnTo>
                    <a:pt x="162" y="990"/>
                  </a:lnTo>
                  <a:lnTo>
                    <a:pt x="162" y="984"/>
                  </a:lnTo>
                  <a:lnTo>
                    <a:pt x="150" y="978"/>
                  </a:lnTo>
                  <a:lnTo>
                    <a:pt x="144" y="972"/>
                  </a:lnTo>
                  <a:lnTo>
                    <a:pt x="138" y="972"/>
                  </a:lnTo>
                  <a:lnTo>
                    <a:pt x="138" y="966"/>
                  </a:lnTo>
                  <a:lnTo>
                    <a:pt x="132" y="966"/>
                  </a:lnTo>
                  <a:lnTo>
                    <a:pt x="126" y="960"/>
                  </a:lnTo>
                  <a:lnTo>
                    <a:pt x="126" y="954"/>
                  </a:lnTo>
                  <a:lnTo>
                    <a:pt x="120" y="954"/>
                  </a:lnTo>
                  <a:lnTo>
                    <a:pt x="114" y="948"/>
                  </a:lnTo>
                  <a:lnTo>
                    <a:pt x="108" y="948"/>
                  </a:lnTo>
                  <a:lnTo>
                    <a:pt x="108" y="942"/>
                  </a:lnTo>
                  <a:lnTo>
                    <a:pt x="102" y="942"/>
                  </a:lnTo>
                  <a:lnTo>
                    <a:pt x="96" y="942"/>
                  </a:lnTo>
                  <a:lnTo>
                    <a:pt x="96" y="936"/>
                  </a:lnTo>
                  <a:lnTo>
                    <a:pt x="90" y="936"/>
                  </a:lnTo>
                  <a:lnTo>
                    <a:pt x="90" y="930"/>
                  </a:lnTo>
                  <a:lnTo>
                    <a:pt x="84" y="930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18"/>
                  </a:lnTo>
                  <a:lnTo>
                    <a:pt x="66" y="918"/>
                  </a:lnTo>
                  <a:lnTo>
                    <a:pt x="66" y="912"/>
                  </a:lnTo>
                  <a:lnTo>
                    <a:pt x="66" y="906"/>
                  </a:lnTo>
                  <a:lnTo>
                    <a:pt x="72" y="906"/>
                  </a:lnTo>
                  <a:lnTo>
                    <a:pt x="84" y="906"/>
                  </a:lnTo>
                  <a:lnTo>
                    <a:pt x="90" y="906"/>
                  </a:lnTo>
                  <a:lnTo>
                    <a:pt x="120" y="930"/>
                  </a:lnTo>
                  <a:lnTo>
                    <a:pt x="126" y="936"/>
                  </a:lnTo>
                  <a:lnTo>
                    <a:pt x="138" y="936"/>
                  </a:lnTo>
                  <a:lnTo>
                    <a:pt x="138" y="930"/>
                  </a:lnTo>
                  <a:lnTo>
                    <a:pt x="144" y="930"/>
                  </a:lnTo>
                  <a:lnTo>
                    <a:pt x="144" y="924"/>
                  </a:lnTo>
                  <a:lnTo>
                    <a:pt x="150" y="900"/>
                  </a:lnTo>
                  <a:lnTo>
                    <a:pt x="138" y="894"/>
                  </a:lnTo>
                  <a:lnTo>
                    <a:pt x="126" y="894"/>
                  </a:lnTo>
                  <a:lnTo>
                    <a:pt x="108" y="888"/>
                  </a:lnTo>
                  <a:lnTo>
                    <a:pt x="84" y="882"/>
                  </a:lnTo>
                  <a:lnTo>
                    <a:pt x="72" y="882"/>
                  </a:lnTo>
                  <a:lnTo>
                    <a:pt x="72" y="876"/>
                  </a:lnTo>
                  <a:lnTo>
                    <a:pt x="78" y="870"/>
                  </a:lnTo>
                  <a:lnTo>
                    <a:pt x="90" y="870"/>
                  </a:lnTo>
                  <a:lnTo>
                    <a:pt x="96" y="870"/>
                  </a:lnTo>
                  <a:lnTo>
                    <a:pt x="102" y="870"/>
                  </a:lnTo>
                  <a:lnTo>
                    <a:pt x="114" y="870"/>
                  </a:lnTo>
                  <a:lnTo>
                    <a:pt x="120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34"/>
                  </a:lnTo>
                  <a:lnTo>
                    <a:pt x="132" y="828"/>
                  </a:lnTo>
                  <a:lnTo>
                    <a:pt x="132" y="816"/>
                  </a:lnTo>
                  <a:lnTo>
                    <a:pt x="150" y="816"/>
                  </a:lnTo>
                  <a:lnTo>
                    <a:pt x="150" y="804"/>
                  </a:lnTo>
                  <a:lnTo>
                    <a:pt x="144" y="798"/>
                  </a:lnTo>
                  <a:lnTo>
                    <a:pt x="156" y="762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32"/>
                  </a:lnTo>
                  <a:lnTo>
                    <a:pt x="144" y="726"/>
                  </a:lnTo>
                  <a:lnTo>
                    <a:pt x="132" y="726"/>
                  </a:lnTo>
                  <a:lnTo>
                    <a:pt x="120" y="732"/>
                  </a:lnTo>
                  <a:lnTo>
                    <a:pt x="114" y="744"/>
                  </a:lnTo>
                  <a:lnTo>
                    <a:pt x="108" y="750"/>
                  </a:lnTo>
                  <a:lnTo>
                    <a:pt x="96" y="768"/>
                  </a:lnTo>
                  <a:lnTo>
                    <a:pt x="96" y="774"/>
                  </a:lnTo>
                  <a:lnTo>
                    <a:pt x="90" y="780"/>
                  </a:lnTo>
                  <a:lnTo>
                    <a:pt x="84" y="804"/>
                  </a:lnTo>
                  <a:lnTo>
                    <a:pt x="72" y="774"/>
                  </a:lnTo>
                  <a:lnTo>
                    <a:pt x="72" y="768"/>
                  </a:lnTo>
                  <a:lnTo>
                    <a:pt x="66" y="762"/>
                  </a:lnTo>
                  <a:lnTo>
                    <a:pt x="60" y="750"/>
                  </a:lnTo>
                  <a:lnTo>
                    <a:pt x="54" y="750"/>
                  </a:lnTo>
                  <a:lnTo>
                    <a:pt x="48" y="750"/>
                  </a:lnTo>
                  <a:lnTo>
                    <a:pt x="42" y="750"/>
                  </a:lnTo>
                  <a:lnTo>
                    <a:pt x="30" y="744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12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2" y="702"/>
                  </a:lnTo>
                  <a:lnTo>
                    <a:pt x="18" y="696"/>
                  </a:lnTo>
                  <a:lnTo>
                    <a:pt x="12" y="690"/>
                  </a:lnTo>
                  <a:lnTo>
                    <a:pt x="12" y="684"/>
                  </a:lnTo>
                  <a:lnTo>
                    <a:pt x="12" y="678"/>
                  </a:lnTo>
                  <a:lnTo>
                    <a:pt x="12" y="672"/>
                  </a:lnTo>
                  <a:lnTo>
                    <a:pt x="18" y="672"/>
                  </a:lnTo>
                  <a:lnTo>
                    <a:pt x="18" y="666"/>
                  </a:lnTo>
                  <a:lnTo>
                    <a:pt x="24" y="666"/>
                  </a:lnTo>
                  <a:lnTo>
                    <a:pt x="24" y="660"/>
                  </a:lnTo>
                  <a:lnTo>
                    <a:pt x="30" y="660"/>
                  </a:lnTo>
                  <a:lnTo>
                    <a:pt x="30" y="654"/>
                  </a:lnTo>
                  <a:lnTo>
                    <a:pt x="36" y="654"/>
                  </a:lnTo>
                  <a:lnTo>
                    <a:pt x="36" y="648"/>
                  </a:lnTo>
                  <a:lnTo>
                    <a:pt x="42" y="648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60" y="630"/>
                  </a:lnTo>
                  <a:lnTo>
                    <a:pt x="66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78" y="624"/>
                  </a:lnTo>
                  <a:lnTo>
                    <a:pt x="84" y="618"/>
                  </a:lnTo>
                  <a:lnTo>
                    <a:pt x="84" y="612"/>
                  </a:lnTo>
                  <a:lnTo>
                    <a:pt x="90" y="612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20" y="588"/>
                  </a:lnTo>
                  <a:lnTo>
                    <a:pt x="120" y="582"/>
                  </a:lnTo>
                  <a:lnTo>
                    <a:pt x="120" y="576"/>
                  </a:lnTo>
                  <a:lnTo>
                    <a:pt x="120" y="570"/>
                  </a:lnTo>
                  <a:lnTo>
                    <a:pt x="126" y="564"/>
                  </a:lnTo>
                  <a:lnTo>
                    <a:pt x="126" y="558"/>
                  </a:lnTo>
                  <a:lnTo>
                    <a:pt x="126" y="552"/>
                  </a:lnTo>
                  <a:lnTo>
                    <a:pt x="126" y="546"/>
                  </a:lnTo>
                  <a:lnTo>
                    <a:pt x="126" y="534"/>
                  </a:lnTo>
                  <a:lnTo>
                    <a:pt x="126" y="516"/>
                  </a:lnTo>
                  <a:lnTo>
                    <a:pt x="126" y="510"/>
                  </a:lnTo>
                  <a:lnTo>
                    <a:pt x="126" y="504"/>
                  </a:lnTo>
                  <a:lnTo>
                    <a:pt x="126" y="498"/>
                  </a:lnTo>
                  <a:lnTo>
                    <a:pt x="132" y="498"/>
                  </a:lnTo>
                  <a:lnTo>
                    <a:pt x="132" y="492"/>
                  </a:lnTo>
                  <a:lnTo>
                    <a:pt x="138" y="492"/>
                  </a:lnTo>
                  <a:lnTo>
                    <a:pt x="144" y="486"/>
                  </a:lnTo>
                  <a:lnTo>
                    <a:pt x="156" y="480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6" y="462"/>
                  </a:lnTo>
                  <a:lnTo>
                    <a:pt x="156" y="456"/>
                  </a:lnTo>
                  <a:lnTo>
                    <a:pt x="156" y="450"/>
                  </a:lnTo>
                  <a:lnTo>
                    <a:pt x="162" y="438"/>
                  </a:lnTo>
                  <a:lnTo>
                    <a:pt x="168" y="426"/>
                  </a:lnTo>
                  <a:lnTo>
                    <a:pt x="174" y="426"/>
                  </a:lnTo>
                  <a:lnTo>
                    <a:pt x="174" y="420"/>
                  </a:lnTo>
                  <a:lnTo>
                    <a:pt x="180" y="414"/>
                  </a:lnTo>
                  <a:lnTo>
                    <a:pt x="186" y="420"/>
                  </a:lnTo>
                  <a:lnTo>
                    <a:pt x="186" y="414"/>
                  </a:lnTo>
                  <a:lnTo>
                    <a:pt x="180" y="408"/>
                  </a:lnTo>
                  <a:lnTo>
                    <a:pt x="180" y="402"/>
                  </a:lnTo>
                  <a:lnTo>
                    <a:pt x="186" y="402"/>
                  </a:lnTo>
                  <a:lnTo>
                    <a:pt x="192" y="402"/>
                  </a:lnTo>
                  <a:lnTo>
                    <a:pt x="192" y="396"/>
                  </a:lnTo>
                  <a:lnTo>
                    <a:pt x="198" y="396"/>
                  </a:lnTo>
                  <a:lnTo>
                    <a:pt x="204" y="396"/>
                  </a:lnTo>
                  <a:lnTo>
                    <a:pt x="210" y="396"/>
                  </a:lnTo>
                  <a:lnTo>
                    <a:pt x="210" y="390"/>
                  </a:lnTo>
                  <a:lnTo>
                    <a:pt x="216" y="390"/>
                  </a:lnTo>
                  <a:lnTo>
                    <a:pt x="216" y="384"/>
                  </a:lnTo>
                  <a:lnTo>
                    <a:pt x="222" y="384"/>
                  </a:lnTo>
                  <a:lnTo>
                    <a:pt x="222" y="378"/>
                  </a:lnTo>
                  <a:lnTo>
                    <a:pt x="228" y="372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0" y="348"/>
                  </a:lnTo>
                  <a:lnTo>
                    <a:pt x="234" y="342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46" y="330"/>
                  </a:lnTo>
                  <a:lnTo>
                    <a:pt x="246" y="324"/>
                  </a:lnTo>
                  <a:lnTo>
                    <a:pt x="234" y="318"/>
                  </a:lnTo>
                  <a:lnTo>
                    <a:pt x="234" y="312"/>
                  </a:lnTo>
                  <a:lnTo>
                    <a:pt x="234" y="300"/>
                  </a:lnTo>
                  <a:lnTo>
                    <a:pt x="240" y="288"/>
                  </a:lnTo>
                  <a:lnTo>
                    <a:pt x="240" y="276"/>
                  </a:lnTo>
                  <a:lnTo>
                    <a:pt x="246" y="258"/>
                  </a:lnTo>
                  <a:lnTo>
                    <a:pt x="258" y="252"/>
                  </a:lnTo>
                  <a:lnTo>
                    <a:pt x="270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294" y="252"/>
                  </a:lnTo>
                  <a:lnTo>
                    <a:pt x="300" y="258"/>
                  </a:lnTo>
                  <a:lnTo>
                    <a:pt x="318" y="252"/>
                  </a:lnTo>
                  <a:lnTo>
                    <a:pt x="366" y="252"/>
                  </a:lnTo>
                  <a:lnTo>
                    <a:pt x="378" y="252"/>
                  </a:lnTo>
                  <a:lnTo>
                    <a:pt x="396" y="252"/>
                  </a:lnTo>
                  <a:lnTo>
                    <a:pt x="408" y="252"/>
                  </a:lnTo>
                  <a:lnTo>
                    <a:pt x="408" y="246"/>
                  </a:lnTo>
                  <a:lnTo>
                    <a:pt x="414" y="240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20" y="216"/>
                  </a:lnTo>
                  <a:lnTo>
                    <a:pt x="426" y="210"/>
                  </a:lnTo>
                  <a:lnTo>
                    <a:pt x="444" y="198"/>
                  </a:lnTo>
                  <a:lnTo>
                    <a:pt x="462" y="198"/>
                  </a:lnTo>
                  <a:lnTo>
                    <a:pt x="474" y="204"/>
                  </a:lnTo>
                  <a:lnTo>
                    <a:pt x="498" y="198"/>
                  </a:lnTo>
                  <a:lnTo>
                    <a:pt x="498" y="204"/>
                  </a:lnTo>
                  <a:lnTo>
                    <a:pt x="540" y="210"/>
                  </a:lnTo>
                  <a:lnTo>
                    <a:pt x="564" y="210"/>
                  </a:lnTo>
                  <a:lnTo>
                    <a:pt x="588" y="210"/>
                  </a:lnTo>
                  <a:lnTo>
                    <a:pt x="612" y="210"/>
                  </a:lnTo>
                  <a:lnTo>
                    <a:pt x="612" y="216"/>
                  </a:lnTo>
                  <a:lnTo>
                    <a:pt x="618" y="222"/>
                  </a:lnTo>
                  <a:lnTo>
                    <a:pt x="618" y="228"/>
                  </a:lnTo>
                  <a:lnTo>
                    <a:pt x="624" y="240"/>
                  </a:lnTo>
                  <a:lnTo>
                    <a:pt x="624" y="246"/>
                  </a:lnTo>
                  <a:lnTo>
                    <a:pt x="630" y="252"/>
                  </a:lnTo>
                  <a:lnTo>
                    <a:pt x="630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0" y="282"/>
                  </a:lnTo>
                  <a:lnTo>
                    <a:pt x="630" y="288"/>
                  </a:lnTo>
                  <a:lnTo>
                    <a:pt x="630" y="300"/>
                  </a:lnTo>
                  <a:lnTo>
                    <a:pt x="630" y="306"/>
                  </a:lnTo>
                  <a:lnTo>
                    <a:pt x="636" y="306"/>
                  </a:lnTo>
                  <a:lnTo>
                    <a:pt x="642" y="306"/>
                  </a:lnTo>
                  <a:lnTo>
                    <a:pt x="648" y="312"/>
                  </a:lnTo>
                  <a:lnTo>
                    <a:pt x="666" y="312"/>
                  </a:lnTo>
                  <a:lnTo>
                    <a:pt x="696" y="306"/>
                  </a:lnTo>
                  <a:lnTo>
                    <a:pt x="732" y="300"/>
                  </a:lnTo>
                  <a:lnTo>
                    <a:pt x="732" y="288"/>
                  </a:lnTo>
                  <a:lnTo>
                    <a:pt x="738" y="288"/>
                  </a:lnTo>
                  <a:lnTo>
                    <a:pt x="744" y="276"/>
                  </a:lnTo>
                  <a:lnTo>
                    <a:pt x="762" y="246"/>
                  </a:lnTo>
                  <a:lnTo>
                    <a:pt x="768" y="228"/>
                  </a:lnTo>
                  <a:lnTo>
                    <a:pt x="792" y="210"/>
                  </a:lnTo>
                  <a:lnTo>
                    <a:pt x="804" y="186"/>
                  </a:lnTo>
                  <a:lnTo>
                    <a:pt x="804" y="156"/>
                  </a:lnTo>
                  <a:lnTo>
                    <a:pt x="804" y="138"/>
                  </a:lnTo>
                  <a:lnTo>
                    <a:pt x="810" y="126"/>
                  </a:lnTo>
                  <a:lnTo>
                    <a:pt x="816" y="120"/>
                  </a:lnTo>
                  <a:lnTo>
                    <a:pt x="828" y="102"/>
                  </a:lnTo>
                  <a:lnTo>
                    <a:pt x="834" y="96"/>
                  </a:lnTo>
                  <a:lnTo>
                    <a:pt x="846" y="102"/>
                  </a:lnTo>
                  <a:lnTo>
                    <a:pt x="852" y="96"/>
                  </a:lnTo>
                  <a:lnTo>
                    <a:pt x="858" y="72"/>
                  </a:lnTo>
                  <a:lnTo>
                    <a:pt x="864" y="60"/>
                  </a:lnTo>
                  <a:lnTo>
                    <a:pt x="882" y="48"/>
                  </a:lnTo>
                  <a:lnTo>
                    <a:pt x="906" y="36"/>
                  </a:lnTo>
                  <a:lnTo>
                    <a:pt x="918" y="12"/>
                  </a:lnTo>
                  <a:lnTo>
                    <a:pt x="924" y="0"/>
                  </a:lnTo>
                  <a:lnTo>
                    <a:pt x="930" y="6"/>
                  </a:lnTo>
                  <a:lnTo>
                    <a:pt x="942" y="12"/>
                  </a:lnTo>
                  <a:lnTo>
                    <a:pt x="948" y="12"/>
                  </a:lnTo>
                  <a:lnTo>
                    <a:pt x="954" y="18"/>
                  </a:lnTo>
                  <a:lnTo>
                    <a:pt x="966" y="18"/>
                  </a:lnTo>
                  <a:lnTo>
                    <a:pt x="972" y="18"/>
                  </a:lnTo>
                  <a:lnTo>
                    <a:pt x="984" y="18"/>
                  </a:lnTo>
                  <a:lnTo>
                    <a:pt x="990" y="18"/>
                  </a:lnTo>
                  <a:lnTo>
                    <a:pt x="1002" y="48"/>
                  </a:lnTo>
                  <a:lnTo>
                    <a:pt x="1008" y="78"/>
                  </a:lnTo>
                  <a:lnTo>
                    <a:pt x="1020" y="78"/>
                  </a:lnTo>
                  <a:lnTo>
                    <a:pt x="1020" y="90"/>
                  </a:lnTo>
                  <a:lnTo>
                    <a:pt x="1026" y="102"/>
                  </a:lnTo>
                  <a:lnTo>
                    <a:pt x="1044" y="120"/>
                  </a:lnTo>
                  <a:lnTo>
                    <a:pt x="1044" y="132"/>
                  </a:lnTo>
                  <a:lnTo>
                    <a:pt x="1056" y="150"/>
                  </a:lnTo>
                  <a:lnTo>
                    <a:pt x="1050" y="150"/>
                  </a:lnTo>
                  <a:lnTo>
                    <a:pt x="1044" y="156"/>
                  </a:lnTo>
                  <a:lnTo>
                    <a:pt x="1044" y="162"/>
                  </a:lnTo>
                  <a:lnTo>
                    <a:pt x="1038" y="162"/>
                  </a:lnTo>
                  <a:lnTo>
                    <a:pt x="1032" y="162"/>
                  </a:lnTo>
                  <a:lnTo>
                    <a:pt x="1026" y="168"/>
                  </a:lnTo>
                  <a:lnTo>
                    <a:pt x="1014" y="174"/>
                  </a:lnTo>
                  <a:lnTo>
                    <a:pt x="1014" y="186"/>
                  </a:lnTo>
                  <a:lnTo>
                    <a:pt x="1014" y="192"/>
                  </a:lnTo>
                  <a:lnTo>
                    <a:pt x="1014" y="198"/>
                  </a:lnTo>
                  <a:lnTo>
                    <a:pt x="1020" y="204"/>
                  </a:lnTo>
                  <a:lnTo>
                    <a:pt x="1026" y="204"/>
                  </a:lnTo>
                  <a:lnTo>
                    <a:pt x="1032" y="204"/>
                  </a:lnTo>
                  <a:lnTo>
                    <a:pt x="1032" y="210"/>
                  </a:lnTo>
                  <a:lnTo>
                    <a:pt x="1038" y="210"/>
                  </a:lnTo>
                  <a:lnTo>
                    <a:pt x="1032" y="216"/>
                  </a:lnTo>
                  <a:lnTo>
                    <a:pt x="1026" y="228"/>
                  </a:lnTo>
                  <a:lnTo>
                    <a:pt x="1026" y="234"/>
                  </a:lnTo>
                  <a:lnTo>
                    <a:pt x="1032" y="240"/>
                  </a:lnTo>
                  <a:lnTo>
                    <a:pt x="1032" y="246"/>
                  </a:lnTo>
                  <a:lnTo>
                    <a:pt x="1032" y="252"/>
                  </a:lnTo>
                  <a:lnTo>
                    <a:pt x="1032" y="258"/>
                  </a:lnTo>
                  <a:lnTo>
                    <a:pt x="1038" y="264"/>
                  </a:lnTo>
                  <a:lnTo>
                    <a:pt x="1032" y="276"/>
                  </a:lnTo>
                  <a:lnTo>
                    <a:pt x="1026" y="276"/>
                  </a:lnTo>
                  <a:lnTo>
                    <a:pt x="1020" y="276"/>
                  </a:lnTo>
                  <a:lnTo>
                    <a:pt x="996" y="282"/>
                  </a:lnTo>
                  <a:lnTo>
                    <a:pt x="996" y="288"/>
                  </a:lnTo>
                  <a:lnTo>
                    <a:pt x="996" y="294"/>
                  </a:lnTo>
                  <a:lnTo>
                    <a:pt x="996" y="300"/>
                  </a:lnTo>
                  <a:lnTo>
                    <a:pt x="996" y="306"/>
                  </a:lnTo>
                  <a:lnTo>
                    <a:pt x="984" y="324"/>
                  </a:lnTo>
                  <a:lnTo>
                    <a:pt x="984" y="330"/>
                  </a:lnTo>
                  <a:lnTo>
                    <a:pt x="984" y="336"/>
                  </a:lnTo>
                  <a:lnTo>
                    <a:pt x="978" y="336"/>
                  </a:lnTo>
                  <a:lnTo>
                    <a:pt x="978" y="342"/>
                  </a:lnTo>
                  <a:lnTo>
                    <a:pt x="984" y="360"/>
                  </a:lnTo>
                  <a:lnTo>
                    <a:pt x="978" y="366"/>
                  </a:lnTo>
                  <a:lnTo>
                    <a:pt x="978" y="372"/>
                  </a:lnTo>
                  <a:lnTo>
                    <a:pt x="972" y="372"/>
                  </a:lnTo>
                  <a:lnTo>
                    <a:pt x="972" y="378"/>
                  </a:lnTo>
                  <a:lnTo>
                    <a:pt x="972" y="384"/>
                  </a:lnTo>
                  <a:lnTo>
                    <a:pt x="972" y="390"/>
                  </a:lnTo>
                  <a:lnTo>
                    <a:pt x="966" y="402"/>
                  </a:lnTo>
                  <a:lnTo>
                    <a:pt x="960" y="414"/>
                  </a:lnTo>
                  <a:lnTo>
                    <a:pt x="954" y="420"/>
                  </a:lnTo>
                  <a:lnTo>
                    <a:pt x="948" y="426"/>
                  </a:lnTo>
                  <a:lnTo>
                    <a:pt x="948" y="438"/>
                  </a:lnTo>
                  <a:lnTo>
                    <a:pt x="942" y="444"/>
                  </a:lnTo>
                  <a:lnTo>
                    <a:pt x="936" y="450"/>
                  </a:lnTo>
                  <a:lnTo>
                    <a:pt x="930" y="456"/>
                  </a:lnTo>
                  <a:lnTo>
                    <a:pt x="924" y="462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18" y="522"/>
                  </a:lnTo>
                  <a:lnTo>
                    <a:pt x="918" y="528"/>
                  </a:lnTo>
                  <a:lnTo>
                    <a:pt x="924" y="534"/>
                  </a:lnTo>
                  <a:lnTo>
                    <a:pt x="924" y="540"/>
                  </a:lnTo>
                  <a:lnTo>
                    <a:pt x="924" y="546"/>
                  </a:lnTo>
                  <a:lnTo>
                    <a:pt x="918" y="546"/>
                  </a:lnTo>
                  <a:lnTo>
                    <a:pt x="918" y="552"/>
                  </a:lnTo>
                  <a:lnTo>
                    <a:pt x="912" y="546"/>
                  </a:lnTo>
                  <a:lnTo>
                    <a:pt x="912" y="552"/>
                  </a:lnTo>
                  <a:lnTo>
                    <a:pt x="912" y="570"/>
                  </a:lnTo>
                  <a:lnTo>
                    <a:pt x="906" y="588"/>
                  </a:lnTo>
                  <a:lnTo>
                    <a:pt x="900" y="606"/>
                  </a:lnTo>
                  <a:lnTo>
                    <a:pt x="906" y="624"/>
                  </a:lnTo>
                  <a:lnTo>
                    <a:pt x="900" y="624"/>
                  </a:lnTo>
                  <a:lnTo>
                    <a:pt x="894" y="630"/>
                  </a:lnTo>
                  <a:lnTo>
                    <a:pt x="888" y="630"/>
                  </a:lnTo>
                  <a:lnTo>
                    <a:pt x="882" y="630"/>
                  </a:lnTo>
                  <a:lnTo>
                    <a:pt x="882" y="636"/>
                  </a:lnTo>
                  <a:lnTo>
                    <a:pt x="876" y="642"/>
                  </a:lnTo>
                  <a:lnTo>
                    <a:pt x="870" y="642"/>
                  </a:lnTo>
                  <a:lnTo>
                    <a:pt x="870" y="648"/>
                  </a:lnTo>
                  <a:lnTo>
                    <a:pt x="870" y="654"/>
                  </a:lnTo>
                  <a:lnTo>
                    <a:pt x="864" y="654"/>
                  </a:lnTo>
                  <a:lnTo>
                    <a:pt x="864" y="660"/>
                  </a:lnTo>
                  <a:lnTo>
                    <a:pt x="846" y="666"/>
                  </a:lnTo>
                  <a:lnTo>
                    <a:pt x="828" y="672"/>
                  </a:lnTo>
                  <a:lnTo>
                    <a:pt x="816" y="660"/>
                  </a:lnTo>
                  <a:lnTo>
                    <a:pt x="810" y="660"/>
                  </a:lnTo>
                  <a:lnTo>
                    <a:pt x="798" y="666"/>
                  </a:lnTo>
                  <a:lnTo>
                    <a:pt x="786" y="666"/>
                  </a:lnTo>
                  <a:lnTo>
                    <a:pt x="780" y="672"/>
                  </a:lnTo>
                  <a:lnTo>
                    <a:pt x="768" y="678"/>
                  </a:lnTo>
                  <a:lnTo>
                    <a:pt x="762" y="660"/>
                  </a:lnTo>
                  <a:lnTo>
                    <a:pt x="762" y="654"/>
                  </a:lnTo>
                  <a:lnTo>
                    <a:pt x="756" y="636"/>
                  </a:lnTo>
                  <a:lnTo>
                    <a:pt x="762" y="624"/>
                  </a:lnTo>
                  <a:lnTo>
                    <a:pt x="756" y="606"/>
                  </a:lnTo>
                  <a:lnTo>
                    <a:pt x="756" y="600"/>
                  </a:lnTo>
                  <a:lnTo>
                    <a:pt x="762" y="594"/>
                  </a:lnTo>
                  <a:lnTo>
                    <a:pt x="768" y="600"/>
                  </a:lnTo>
                  <a:lnTo>
                    <a:pt x="768" y="594"/>
                  </a:lnTo>
                  <a:lnTo>
                    <a:pt x="768" y="588"/>
                  </a:lnTo>
                  <a:lnTo>
                    <a:pt x="774" y="582"/>
                  </a:lnTo>
                  <a:lnTo>
                    <a:pt x="768" y="576"/>
                  </a:lnTo>
                  <a:lnTo>
                    <a:pt x="762" y="576"/>
                  </a:lnTo>
                  <a:lnTo>
                    <a:pt x="756" y="576"/>
                  </a:lnTo>
                  <a:lnTo>
                    <a:pt x="690" y="576"/>
                  </a:lnTo>
                  <a:lnTo>
                    <a:pt x="624" y="570"/>
                  </a:lnTo>
                  <a:lnTo>
                    <a:pt x="600" y="564"/>
                  </a:lnTo>
                  <a:lnTo>
                    <a:pt x="576" y="564"/>
                  </a:lnTo>
                  <a:lnTo>
                    <a:pt x="558" y="570"/>
                  </a:lnTo>
                  <a:lnTo>
                    <a:pt x="552" y="576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46" y="594"/>
                  </a:lnTo>
                  <a:lnTo>
                    <a:pt x="546" y="600"/>
                  </a:lnTo>
                  <a:lnTo>
                    <a:pt x="540" y="606"/>
                  </a:lnTo>
                  <a:lnTo>
                    <a:pt x="534" y="618"/>
                  </a:lnTo>
                  <a:lnTo>
                    <a:pt x="534" y="624"/>
                  </a:lnTo>
                  <a:lnTo>
                    <a:pt x="534" y="630"/>
                  </a:lnTo>
                  <a:lnTo>
                    <a:pt x="534" y="636"/>
                  </a:lnTo>
                  <a:lnTo>
                    <a:pt x="528" y="636"/>
                  </a:lnTo>
                  <a:lnTo>
                    <a:pt x="516" y="642"/>
                  </a:lnTo>
                  <a:lnTo>
                    <a:pt x="516" y="648"/>
                  </a:lnTo>
                  <a:lnTo>
                    <a:pt x="510" y="648"/>
                  </a:lnTo>
                  <a:lnTo>
                    <a:pt x="504" y="654"/>
                  </a:lnTo>
                  <a:lnTo>
                    <a:pt x="492" y="666"/>
                  </a:lnTo>
                  <a:lnTo>
                    <a:pt x="492" y="672"/>
                  </a:lnTo>
                  <a:lnTo>
                    <a:pt x="492" y="684"/>
                  </a:lnTo>
                  <a:lnTo>
                    <a:pt x="486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92" y="702"/>
                  </a:lnTo>
                  <a:lnTo>
                    <a:pt x="486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74" y="720"/>
                  </a:lnTo>
                  <a:lnTo>
                    <a:pt x="480" y="726"/>
                  </a:lnTo>
                  <a:lnTo>
                    <a:pt x="474" y="726"/>
                  </a:lnTo>
                  <a:lnTo>
                    <a:pt x="474" y="738"/>
                  </a:lnTo>
                  <a:lnTo>
                    <a:pt x="474" y="744"/>
                  </a:lnTo>
                  <a:lnTo>
                    <a:pt x="474" y="750"/>
                  </a:lnTo>
                  <a:lnTo>
                    <a:pt x="480" y="750"/>
                  </a:lnTo>
                  <a:lnTo>
                    <a:pt x="480" y="756"/>
                  </a:lnTo>
                  <a:lnTo>
                    <a:pt x="492" y="762"/>
                  </a:lnTo>
                  <a:lnTo>
                    <a:pt x="498" y="774"/>
                  </a:lnTo>
                  <a:lnTo>
                    <a:pt x="498" y="780"/>
                  </a:lnTo>
                  <a:lnTo>
                    <a:pt x="504" y="786"/>
                  </a:lnTo>
                  <a:lnTo>
                    <a:pt x="510" y="792"/>
                  </a:lnTo>
                  <a:lnTo>
                    <a:pt x="504" y="798"/>
                  </a:lnTo>
                  <a:lnTo>
                    <a:pt x="504" y="804"/>
                  </a:lnTo>
                  <a:lnTo>
                    <a:pt x="504" y="810"/>
                  </a:lnTo>
                  <a:lnTo>
                    <a:pt x="498" y="822"/>
                  </a:lnTo>
                  <a:lnTo>
                    <a:pt x="492" y="828"/>
                  </a:lnTo>
                  <a:lnTo>
                    <a:pt x="492" y="834"/>
                  </a:lnTo>
                  <a:lnTo>
                    <a:pt x="486" y="840"/>
                  </a:lnTo>
                  <a:lnTo>
                    <a:pt x="480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74" y="858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876"/>
                  </a:lnTo>
                  <a:lnTo>
                    <a:pt x="456" y="894"/>
                  </a:lnTo>
                  <a:lnTo>
                    <a:pt x="450" y="894"/>
                  </a:lnTo>
                  <a:lnTo>
                    <a:pt x="444" y="900"/>
                  </a:lnTo>
                  <a:lnTo>
                    <a:pt x="444" y="894"/>
                  </a:lnTo>
                  <a:lnTo>
                    <a:pt x="438" y="894"/>
                  </a:lnTo>
                  <a:lnTo>
                    <a:pt x="432" y="900"/>
                  </a:lnTo>
                  <a:lnTo>
                    <a:pt x="432" y="906"/>
                  </a:lnTo>
                  <a:lnTo>
                    <a:pt x="420" y="906"/>
                  </a:lnTo>
                  <a:lnTo>
                    <a:pt x="420" y="912"/>
                  </a:lnTo>
                  <a:lnTo>
                    <a:pt x="420" y="918"/>
                  </a:lnTo>
                  <a:lnTo>
                    <a:pt x="426" y="918"/>
                  </a:lnTo>
                  <a:lnTo>
                    <a:pt x="426" y="924"/>
                  </a:lnTo>
                  <a:lnTo>
                    <a:pt x="426" y="930"/>
                  </a:lnTo>
                  <a:lnTo>
                    <a:pt x="420" y="930"/>
                  </a:lnTo>
                  <a:lnTo>
                    <a:pt x="414" y="936"/>
                  </a:lnTo>
                  <a:lnTo>
                    <a:pt x="414" y="942"/>
                  </a:lnTo>
                  <a:lnTo>
                    <a:pt x="414" y="948"/>
                  </a:lnTo>
                  <a:lnTo>
                    <a:pt x="414" y="954"/>
                  </a:lnTo>
                  <a:lnTo>
                    <a:pt x="426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44" y="972"/>
                  </a:lnTo>
                  <a:lnTo>
                    <a:pt x="444" y="978"/>
                  </a:lnTo>
                  <a:lnTo>
                    <a:pt x="450" y="978"/>
                  </a:lnTo>
                  <a:lnTo>
                    <a:pt x="450" y="984"/>
                  </a:lnTo>
                  <a:lnTo>
                    <a:pt x="456" y="990"/>
                  </a:lnTo>
                  <a:lnTo>
                    <a:pt x="456" y="996"/>
                  </a:lnTo>
                  <a:lnTo>
                    <a:pt x="462" y="1008"/>
                  </a:lnTo>
                  <a:lnTo>
                    <a:pt x="468" y="1008"/>
                  </a:lnTo>
                  <a:lnTo>
                    <a:pt x="468" y="1002"/>
                  </a:lnTo>
                  <a:lnTo>
                    <a:pt x="474" y="1008"/>
                  </a:lnTo>
                  <a:lnTo>
                    <a:pt x="480" y="1002"/>
                  </a:lnTo>
                  <a:lnTo>
                    <a:pt x="486" y="1008"/>
                  </a:lnTo>
                  <a:lnTo>
                    <a:pt x="486" y="1014"/>
                  </a:lnTo>
                  <a:lnTo>
                    <a:pt x="492" y="1014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86" y="1026"/>
                  </a:lnTo>
                  <a:lnTo>
                    <a:pt x="492" y="1026"/>
                  </a:lnTo>
                  <a:lnTo>
                    <a:pt x="486" y="1026"/>
                  </a:lnTo>
                  <a:lnTo>
                    <a:pt x="492" y="103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5" name="Freeform 30">
              <a:extLst>
                <a:ext uri="{FF2B5EF4-FFF2-40B4-BE49-F238E27FC236}">
                  <a16:creationId xmlns:a16="http://schemas.microsoft.com/office/drawing/2014/main" id="{85C7B827-0C1A-4D72-AEBD-F01CFE7EC12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3645" y="3904484"/>
              <a:ext cx="559048" cy="111825"/>
            </a:xfrm>
            <a:custGeom>
              <a:avLst/>
              <a:gdLst>
                <a:gd name="T0" fmla="*/ 69 w 1056"/>
                <a:gd name="T1" fmla="*/ 7 h 210"/>
                <a:gd name="T2" fmla="*/ 63 w 1056"/>
                <a:gd name="T3" fmla="*/ 5 h 210"/>
                <a:gd name="T4" fmla="*/ 57 w 1056"/>
                <a:gd name="T5" fmla="*/ 5 h 210"/>
                <a:gd name="T6" fmla="*/ 54 w 1056"/>
                <a:gd name="T7" fmla="*/ 6 h 210"/>
                <a:gd name="T8" fmla="*/ 51 w 1056"/>
                <a:gd name="T9" fmla="*/ 7 h 210"/>
                <a:gd name="T10" fmla="*/ 46 w 1056"/>
                <a:gd name="T11" fmla="*/ 9 h 210"/>
                <a:gd name="T12" fmla="*/ 42 w 1056"/>
                <a:gd name="T13" fmla="*/ 8 h 210"/>
                <a:gd name="T14" fmla="*/ 42 w 1056"/>
                <a:gd name="T15" fmla="*/ 5 h 210"/>
                <a:gd name="T16" fmla="*/ 41 w 1056"/>
                <a:gd name="T17" fmla="*/ 7 h 210"/>
                <a:gd name="T18" fmla="*/ 38 w 1056"/>
                <a:gd name="T19" fmla="*/ 10 h 210"/>
                <a:gd name="T20" fmla="*/ 37 w 1056"/>
                <a:gd name="T21" fmla="*/ 12 h 210"/>
                <a:gd name="T22" fmla="*/ 37 w 1056"/>
                <a:gd name="T23" fmla="*/ 15 h 210"/>
                <a:gd name="T24" fmla="*/ 37 w 1056"/>
                <a:gd name="T25" fmla="*/ 16 h 210"/>
                <a:gd name="T26" fmla="*/ 38 w 1056"/>
                <a:gd name="T27" fmla="*/ 16 h 210"/>
                <a:gd name="T28" fmla="*/ 34 w 1056"/>
                <a:gd name="T29" fmla="*/ 16 h 210"/>
                <a:gd name="T30" fmla="*/ 26 w 1056"/>
                <a:gd name="T31" fmla="*/ 16 h 210"/>
                <a:gd name="T32" fmla="*/ 20 w 1056"/>
                <a:gd name="T33" fmla="*/ 17 h 210"/>
                <a:gd name="T34" fmla="*/ 13 w 1056"/>
                <a:gd name="T35" fmla="*/ 17 h 210"/>
                <a:gd name="T36" fmla="*/ 6 w 1056"/>
                <a:gd name="T37" fmla="*/ 17 h 210"/>
                <a:gd name="T38" fmla="*/ 1 w 1056"/>
                <a:gd name="T39" fmla="*/ 18 h 210"/>
                <a:gd name="T40" fmla="*/ 3 w 1056"/>
                <a:gd name="T41" fmla="*/ 14 h 210"/>
                <a:gd name="T42" fmla="*/ 8 w 1056"/>
                <a:gd name="T43" fmla="*/ 15 h 210"/>
                <a:gd name="T44" fmla="*/ 11 w 1056"/>
                <a:gd name="T45" fmla="*/ 12 h 210"/>
                <a:gd name="T46" fmla="*/ 26 w 1056"/>
                <a:gd name="T47" fmla="*/ 10 h 210"/>
                <a:gd name="T48" fmla="*/ 29 w 1056"/>
                <a:gd name="T49" fmla="*/ 5 h 210"/>
                <a:gd name="T50" fmla="*/ 34 w 1056"/>
                <a:gd name="T51" fmla="*/ 1 h 210"/>
                <a:gd name="T52" fmla="*/ 41 w 1056"/>
                <a:gd name="T53" fmla="*/ 3 h 210"/>
                <a:gd name="T54" fmla="*/ 73 w 1056"/>
                <a:gd name="T55" fmla="*/ 1 h 210"/>
                <a:gd name="T56" fmla="*/ 75 w 1056"/>
                <a:gd name="T57" fmla="*/ 4 h 210"/>
                <a:gd name="T58" fmla="*/ 85 w 1056"/>
                <a:gd name="T59" fmla="*/ 15 h 210"/>
                <a:gd name="T60" fmla="*/ 91 w 1056"/>
                <a:gd name="T61" fmla="*/ 18 h 210"/>
                <a:gd name="T62" fmla="*/ 85 w 1056"/>
                <a:gd name="T63" fmla="*/ 18 h 210"/>
                <a:gd name="T64" fmla="*/ 79 w 1056"/>
                <a:gd name="T65" fmla="*/ 16 h 210"/>
                <a:gd name="T66" fmla="*/ 74 w 1056"/>
                <a:gd name="T67" fmla="*/ 16 h 210"/>
                <a:gd name="T68" fmla="*/ 69 w 1056"/>
                <a:gd name="T69" fmla="*/ 15 h 210"/>
                <a:gd name="T70" fmla="*/ 65 w 1056"/>
                <a:gd name="T71" fmla="*/ 14 h 210"/>
                <a:gd name="T72" fmla="*/ 59 w 1056"/>
                <a:gd name="T73" fmla="*/ 15 h 210"/>
                <a:gd name="T74" fmla="*/ 54 w 1056"/>
                <a:gd name="T75" fmla="*/ 15 h 210"/>
                <a:gd name="T76" fmla="*/ 49 w 1056"/>
                <a:gd name="T77" fmla="*/ 15 h 210"/>
                <a:gd name="T78" fmla="*/ 42 w 1056"/>
                <a:gd name="T79" fmla="*/ 15 h 210"/>
                <a:gd name="T80" fmla="*/ 38 w 1056"/>
                <a:gd name="T81" fmla="*/ 16 h 210"/>
                <a:gd name="T82" fmla="*/ 41 w 1056"/>
                <a:gd name="T83" fmla="*/ 14 h 210"/>
                <a:gd name="T84" fmla="*/ 42 w 1056"/>
                <a:gd name="T85" fmla="*/ 13 h 210"/>
                <a:gd name="T86" fmla="*/ 45 w 1056"/>
                <a:gd name="T87" fmla="*/ 13 h 210"/>
                <a:gd name="T88" fmla="*/ 48 w 1056"/>
                <a:gd name="T89" fmla="*/ 12 h 210"/>
                <a:gd name="T90" fmla="*/ 51 w 1056"/>
                <a:gd name="T91" fmla="*/ 11 h 210"/>
                <a:gd name="T92" fmla="*/ 54 w 1056"/>
                <a:gd name="T93" fmla="*/ 9 h 210"/>
                <a:gd name="T94" fmla="*/ 57 w 1056"/>
                <a:gd name="T95" fmla="*/ 8 h 210"/>
                <a:gd name="T96" fmla="*/ 60 w 1056"/>
                <a:gd name="T97" fmla="*/ 5 h 210"/>
                <a:gd name="T98" fmla="*/ 65 w 1056"/>
                <a:gd name="T99" fmla="*/ 5 h 210"/>
                <a:gd name="T100" fmla="*/ 72 w 1056"/>
                <a:gd name="T101" fmla="*/ 7 h 210"/>
                <a:gd name="T102" fmla="*/ 77 w 1056"/>
                <a:gd name="T103" fmla="*/ 11 h 210"/>
                <a:gd name="T104" fmla="*/ 69 w 1056"/>
                <a:gd name="T105" fmla="*/ 10 h 210"/>
                <a:gd name="T106" fmla="*/ 72 w 1056"/>
                <a:gd name="T107" fmla="*/ 12 h 210"/>
                <a:gd name="T108" fmla="*/ 78 w 1056"/>
                <a:gd name="T109" fmla="*/ 15 h 210"/>
                <a:gd name="T110" fmla="*/ 84 w 1056"/>
                <a:gd name="T111" fmla="*/ 14 h 210"/>
                <a:gd name="T112" fmla="*/ 84 w 1056"/>
                <a:gd name="T113" fmla="*/ 14 h 210"/>
                <a:gd name="T114" fmla="*/ 78 w 1056"/>
                <a:gd name="T115" fmla="*/ 13 h 210"/>
                <a:gd name="T116" fmla="*/ 76 w 1056"/>
                <a:gd name="T117" fmla="*/ 14 h 210"/>
                <a:gd name="T118" fmla="*/ 38 w 1056"/>
                <a:gd name="T119" fmla="*/ 12 h 210"/>
                <a:gd name="T120" fmla="*/ 41 w 1056"/>
                <a:gd name="T121" fmla="*/ 12 h 210"/>
                <a:gd name="T122" fmla="*/ 40 w 1056"/>
                <a:gd name="T123" fmla="*/ 14 h 2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6"/>
                <a:gd name="T187" fmla="*/ 0 h 210"/>
                <a:gd name="T188" fmla="*/ 1056 w 1056"/>
                <a:gd name="T189" fmla="*/ 210 h 21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6" h="210">
                  <a:moveTo>
                    <a:pt x="870" y="90"/>
                  </a:moveTo>
                  <a:lnTo>
                    <a:pt x="864" y="90"/>
                  </a:lnTo>
                  <a:lnTo>
                    <a:pt x="852" y="84"/>
                  </a:lnTo>
                  <a:lnTo>
                    <a:pt x="846" y="84"/>
                  </a:lnTo>
                  <a:lnTo>
                    <a:pt x="846" y="78"/>
                  </a:lnTo>
                  <a:lnTo>
                    <a:pt x="840" y="78"/>
                  </a:lnTo>
                  <a:lnTo>
                    <a:pt x="834" y="78"/>
                  </a:lnTo>
                  <a:lnTo>
                    <a:pt x="834" y="72"/>
                  </a:lnTo>
                  <a:lnTo>
                    <a:pt x="804" y="78"/>
                  </a:lnTo>
                  <a:lnTo>
                    <a:pt x="798" y="78"/>
                  </a:lnTo>
                  <a:lnTo>
                    <a:pt x="792" y="72"/>
                  </a:lnTo>
                  <a:lnTo>
                    <a:pt x="780" y="60"/>
                  </a:lnTo>
                  <a:lnTo>
                    <a:pt x="768" y="54"/>
                  </a:lnTo>
                  <a:lnTo>
                    <a:pt x="756" y="54"/>
                  </a:lnTo>
                  <a:lnTo>
                    <a:pt x="750" y="54"/>
                  </a:lnTo>
                  <a:lnTo>
                    <a:pt x="750" y="48"/>
                  </a:lnTo>
                  <a:lnTo>
                    <a:pt x="744" y="48"/>
                  </a:lnTo>
                  <a:lnTo>
                    <a:pt x="738" y="48"/>
                  </a:lnTo>
                  <a:lnTo>
                    <a:pt x="732" y="48"/>
                  </a:lnTo>
                  <a:lnTo>
                    <a:pt x="732" y="54"/>
                  </a:lnTo>
                  <a:lnTo>
                    <a:pt x="726" y="48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48"/>
                  </a:lnTo>
                  <a:lnTo>
                    <a:pt x="702" y="48"/>
                  </a:lnTo>
                  <a:lnTo>
                    <a:pt x="696" y="48"/>
                  </a:lnTo>
                  <a:lnTo>
                    <a:pt x="684" y="48"/>
                  </a:lnTo>
                  <a:lnTo>
                    <a:pt x="678" y="48"/>
                  </a:lnTo>
                  <a:lnTo>
                    <a:pt x="672" y="48"/>
                  </a:lnTo>
                  <a:lnTo>
                    <a:pt x="666" y="54"/>
                  </a:lnTo>
                  <a:lnTo>
                    <a:pt x="660" y="54"/>
                  </a:lnTo>
                  <a:lnTo>
                    <a:pt x="660" y="48"/>
                  </a:lnTo>
                  <a:lnTo>
                    <a:pt x="654" y="48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42" y="54"/>
                  </a:lnTo>
                  <a:lnTo>
                    <a:pt x="63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30" y="66"/>
                  </a:lnTo>
                  <a:lnTo>
                    <a:pt x="624" y="66"/>
                  </a:lnTo>
                  <a:lnTo>
                    <a:pt x="618" y="66"/>
                  </a:lnTo>
                  <a:lnTo>
                    <a:pt x="618" y="72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6" y="84"/>
                  </a:lnTo>
                  <a:lnTo>
                    <a:pt x="600" y="84"/>
                  </a:lnTo>
                  <a:lnTo>
                    <a:pt x="594" y="90"/>
                  </a:lnTo>
                  <a:lnTo>
                    <a:pt x="588" y="90"/>
                  </a:lnTo>
                  <a:lnTo>
                    <a:pt x="588" y="84"/>
                  </a:lnTo>
                  <a:lnTo>
                    <a:pt x="582" y="84"/>
                  </a:lnTo>
                  <a:lnTo>
                    <a:pt x="576" y="84"/>
                  </a:lnTo>
                  <a:lnTo>
                    <a:pt x="570" y="84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58" y="96"/>
                  </a:lnTo>
                  <a:lnTo>
                    <a:pt x="552" y="96"/>
                  </a:lnTo>
                  <a:lnTo>
                    <a:pt x="546" y="102"/>
                  </a:lnTo>
                  <a:lnTo>
                    <a:pt x="540" y="102"/>
                  </a:lnTo>
                  <a:lnTo>
                    <a:pt x="534" y="102"/>
                  </a:lnTo>
                  <a:lnTo>
                    <a:pt x="528" y="102"/>
                  </a:lnTo>
                  <a:lnTo>
                    <a:pt x="528" y="108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16" y="102"/>
                  </a:lnTo>
                  <a:lnTo>
                    <a:pt x="510" y="102"/>
                  </a:lnTo>
                  <a:lnTo>
                    <a:pt x="504" y="102"/>
                  </a:lnTo>
                  <a:lnTo>
                    <a:pt x="498" y="102"/>
                  </a:lnTo>
                  <a:lnTo>
                    <a:pt x="498" y="96"/>
                  </a:lnTo>
                  <a:lnTo>
                    <a:pt x="492" y="96"/>
                  </a:lnTo>
                  <a:lnTo>
                    <a:pt x="492" y="90"/>
                  </a:lnTo>
                  <a:lnTo>
                    <a:pt x="492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498" y="66"/>
                  </a:lnTo>
                  <a:lnTo>
                    <a:pt x="504" y="60"/>
                  </a:lnTo>
                  <a:lnTo>
                    <a:pt x="498" y="60"/>
                  </a:lnTo>
                  <a:lnTo>
                    <a:pt x="498" y="54"/>
                  </a:lnTo>
                  <a:lnTo>
                    <a:pt x="492" y="54"/>
                  </a:lnTo>
                  <a:lnTo>
                    <a:pt x="492" y="60"/>
                  </a:lnTo>
                  <a:lnTo>
                    <a:pt x="486" y="60"/>
                  </a:lnTo>
                  <a:lnTo>
                    <a:pt x="486" y="66"/>
                  </a:lnTo>
                  <a:lnTo>
                    <a:pt x="480" y="66"/>
                  </a:lnTo>
                  <a:lnTo>
                    <a:pt x="474" y="72"/>
                  </a:lnTo>
                  <a:lnTo>
                    <a:pt x="474" y="66"/>
                  </a:lnTo>
                  <a:lnTo>
                    <a:pt x="474" y="72"/>
                  </a:lnTo>
                  <a:lnTo>
                    <a:pt x="468" y="72"/>
                  </a:lnTo>
                  <a:lnTo>
                    <a:pt x="468" y="78"/>
                  </a:lnTo>
                  <a:lnTo>
                    <a:pt x="468" y="84"/>
                  </a:lnTo>
                  <a:lnTo>
                    <a:pt x="462" y="90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0" y="84"/>
                  </a:lnTo>
                  <a:lnTo>
                    <a:pt x="450" y="90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44" y="102"/>
                  </a:lnTo>
                  <a:lnTo>
                    <a:pt x="444" y="108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38" y="126"/>
                  </a:lnTo>
                  <a:lnTo>
                    <a:pt x="438" y="132"/>
                  </a:lnTo>
                  <a:lnTo>
                    <a:pt x="438" y="138"/>
                  </a:lnTo>
                  <a:lnTo>
                    <a:pt x="438" y="144"/>
                  </a:lnTo>
                  <a:lnTo>
                    <a:pt x="432" y="144"/>
                  </a:lnTo>
                  <a:lnTo>
                    <a:pt x="432" y="150"/>
                  </a:lnTo>
                  <a:lnTo>
                    <a:pt x="432" y="144"/>
                  </a:lnTo>
                  <a:lnTo>
                    <a:pt x="426" y="144"/>
                  </a:lnTo>
                  <a:lnTo>
                    <a:pt x="426" y="150"/>
                  </a:lnTo>
                  <a:lnTo>
                    <a:pt x="426" y="156"/>
                  </a:lnTo>
                  <a:lnTo>
                    <a:pt x="432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2"/>
                  </a:lnTo>
                  <a:lnTo>
                    <a:pt x="432" y="168"/>
                  </a:lnTo>
                  <a:lnTo>
                    <a:pt x="426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44" y="168"/>
                  </a:lnTo>
                  <a:lnTo>
                    <a:pt x="444" y="174"/>
                  </a:lnTo>
                  <a:lnTo>
                    <a:pt x="444" y="180"/>
                  </a:lnTo>
                  <a:lnTo>
                    <a:pt x="444" y="186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2" y="192"/>
                  </a:lnTo>
                  <a:lnTo>
                    <a:pt x="426" y="192"/>
                  </a:lnTo>
                  <a:lnTo>
                    <a:pt x="420" y="186"/>
                  </a:lnTo>
                  <a:lnTo>
                    <a:pt x="414" y="186"/>
                  </a:lnTo>
                  <a:lnTo>
                    <a:pt x="408" y="186"/>
                  </a:lnTo>
                  <a:lnTo>
                    <a:pt x="402" y="186"/>
                  </a:lnTo>
                  <a:lnTo>
                    <a:pt x="396" y="186"/>
                  </a:lnTo>
                  <a:lnTo>
                    <a:pt x="390" y="186"/>
                  </a:lnTo>
                  <a:lnTo>
                    <a:pt x="384" y="186"/>
                  </a:lnTo>
                  <a:lnTo>
                    <a:pt x="378" y="186"/>
                  </a:lnTo>
                  <a:lnTo>
                    <a:pt x="372" y="186"/>
                  </a:lnTo>
                  <a:lnTo>
                    <a:pt x="354" y="186"/>
                  </a:lnTo>
                  <a:lnTo>
                    <a:pt x="342" y="186"/>
                  </a:lnTo>
                  <a:lnTo>
                    <a:pt x="324" y="186"/>
                  </a:lnTo>
                  <a:lnTo>
                    <a:pt x="312" y="186"/>
                  </a:lnTo>
                  <a:lnTo>
                    <a:pt x="306" y="186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82" y="186"/>
                  </a:lnTo>
                  <a:lnTo>
                    <a:pt x="270" y="186"/>
                  </a:lnTo>
                  <a:lnTo>
                    <a:pt x="264" y="186"/>
                  </a:lnTo>
                  <a:lnTo>
                    <a:pt x="258" y="192"/>
                  </a:lnTo>
                  <a:lnTo>
                    <a:pt x="258" y="186"/>
                  </a:lnTo>
                  <a:lnTo>
                    <a:pt x="246" y="186"/>
                  </a:lnTo>
                  <a:lnTo>
                    <a:pt x="240" y="186"/>
                  </a:lnTo>
                  <a:lnTo>
                    <a:pt x="234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2"/>
                  </a:lnTo>
                  <a:lnTo>
                    <a:pt x="204" y="192"/>
                  </a:lnTo>
                  <a:lnTo>
                    <a:pt x="198" y="192"/>
                  </a:lnTo>
                  <a:lnTo>
                    <a:pt x="192" y="192"/>
                  </a:lnTo>
                  <a:lnTo>
                    <a:pt x="180" y="192"/>
                  </a:lnTo>
                  <a:lnTo>
                    <a:pt x="168" y="192"/>
                  </a:lnTo>
                  <a:lnTo>
                    <a:pt x="162" y="192"/>
                  </a:lnTo>
                  <a:lnTo>
                    <a:pt x="150" y="192"/>
                  </a:lnTo>
                  <a:lnTo>
                    <a:pt x="138" y="192"/>
                  </a:lnTo>
                  <a:lnTo>
                    <a:pt x="132" y="192"/>
                  </a:lnTo>
                  <a:lnTo>
                    <a:pt x="120" y="192"/>
                  </a:lnTo>
                  <a:lnTo>
                    <a:pt x="114" y="192"/>
                  </a:lnTo>
                  <a:lnTo>
                    <a:pt x="108" y="192"/>
                  </a:lnTo>
                  <a:lnTo>
                    <a:pt x="102" y="192"/>
                  </a:lnTo>
                  <a:lnTo>
                    <a:pt x="90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2" y="198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36" y="198"/>
                  </a:lnTo>
                  <a:lnTo>
                    <a:pt x="30" y="204"/>
                  </a:lnTo>
                  <a:lnTo>
                    <a:pt x="24" y="204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6" y="210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54" y="156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56"/>
                  </a:lnTo>
                  <a:lnTo>
                    <a:pt x="78" y="162"/>
                  </a:lnTo>
                  <a:lnTo>
                    <a:pt x="84" y="162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9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0" y="126"/>
                  </a:lnTo>
                  <a:lnTo>
                    <a:pt x="276" y="120"/>
                  </a:lnTo>
                  <a:lnTo>
                    <a:pt x="282" y="120"/>
                  </a:lnTo>
                  <a:lnTo>
                    <a:pt x="300" y="120"/>
                  </a:lnTo>
                  <a:lnTo>
                    <a:pt x="306" y="114"/>
                  </a:lnTo>
                  <a:lnTo>
                    <a:pt x="312" y="108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8"/>
                  </a:lnTo>
                  <a:lnTo>
                    <a:pt x="342" y="30"/>
                  </a:lnTo>
                  <a:lnTo>
                    <a:pt x="342" y="24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8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24"/>
                  </a:lnTo>
                  <a:lnTo>
                    <a:pt x="414" y="30"/>
                  </a:lnTo>
                  <a:lnTo>
                    <a:pt x="420" y="30"/>
                  </a:lnTo>
                  <a:lnTo>
                    <a:pt x="42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74" y="30"/>
                  </a:lnTo>
                  <a:lnTo>
                    <a:pt x="474" y="18"/>
                  </a:lnTo>
                  <a:lnTo>
                    <a:pt x="474" y="12"/>
                  </a:lnTo>
                  <a:lnTo>
                    <a:pt x="480" y="12"/>
                  </a:lnTo>
                  <a:lnTo>
                    <a:pt x="486" y="12"/>
                  </a:lnTo>
                  <a:lnTo>
                    <a:pt x="606" y="12"/>
                  </a:lnTo>
                  <a:lnTo>
                    <a:pt x="630" y="12"/>
                  </a:lnTo>
                  <a:lnTo>
                    <a:pt x="678" y="12"/>
                  </a:lnTo>
                  <a:lnTo>
                    <a:pt x="744" y="12"/>
                  </a:lnTo>
                  <a:lnTo>
                    <a:pt x="774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2" y="6"/>
                  </a:lnTo>
                  <a:lnTo>
                    <a:pt x="888" y="12"/>
                  </a:lnTo>
                  <a:lnTo>
                    <a:pt x="888" y="24"/>
                  </a:lnTo>
                  <a:lnTo>
                    <a:pt x="888" y="30"/>
                  </a:lnTo>
                  <a:lnTo>
                    <a:pt x="882" y="36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64" y="42"/>
                  </a:lnTo>
                  <a:lnTo>
                    <a:pt x="864" y="48"/>
                  </a:lnTo>
                  <a:lnTo>
                    <a:pt x="858" y="54"/>
                  </a:lnTo>
                  <a:lnTo>
                    <a:pt x="864" y="54"/>
                  </a:lnTo>
                  <a:lnTo>
                    <a:pt x="870" y="72"/>
                  </a:lnTo>
                  <a:lnTo>
                    <a:pt x="870" y="78"/>
                  </a:lnTo>
                  <a:lnTo>
                    <a:pt x="870" y="84"/>
                  </a:lnTo>
                  <a:lnTo>
                    <a:pt x="870" y="90"/>
                  </a:lnTo>
                  <a:close/>
                  <a:moveTo>
                    <a:pt x="972" y="156"/>
                  </a:moveTo>
                  <a:lnTo>
                    <a:pt x="972" y="162"/>
                  </a:lnTo>
                  <a:lnTo>
                    <a:pt x="978" y="162"/>
                  </a:lnTo>
                  <a:lnTo>
                    <a:pt x="984" y="168"/>
                  </a:lnTo>
                  <a:lnTo>
                    <a:pt x="990" y="168"/>
                  </a:lnTo>
                  <a:lnTo>
                    <a:pt x="990" y="162"/>
                  </a:lnTo>
                  <a:lnTo>
                    <a:pt x="1008" y="162"/>
                  </a:lnTo>
                  <a:lnTo>
                    <a:pt x="1020" y="162"/>
                  </a:lnTo>
                  <a:lnTo>
                    <a:pt x="1038" y="162"/>
                  </a:lnTo>
                  <a:lnTo>
                    <a:pt x="1056" y="168"/>
                  </a:lnTo>
                  <a:lnTo>
                    <a:pt x="1056" y="180"/>
                  </a:lnTo>
                  <a:lnTo>
                    <a:pt x="1056" y="186"/>
                  </a:lnTo>
                  <a:lnTo>
                    <a:pt x="1056" y="204"/>
                  </a:lnTo>
                  <a:lnTo>
                    <a:pt x="1050" y="204"/>
                  </a:lnTo>
                  <a:lnTo>
                    <a:pt x="1044" y="204"/>
                  </a:lnTo>
                  <a:lnTo>
                    <a:pt x="1038" y="204"/>
                  </a:lnTo>
                  <a:lnTo>
                    <a:pt x="1032" y="204"/>
                  </a:lnTo>
                  <a:lnTo>
                    <a:pt x="1026" y="204"/>
                  </a:lnTo>
                  <a:lnTo>
                    <a:pt x="1020" y="204"/>
                  </a:lnTo>
                  <a:lnTo>
                    <a:pt x="1014" y="204"/>
                  </a:lnTo>
                  <a:lnTo>
                    <a:pt x="1008" y="204"/>
                  </a:lnTo>
                  <a:lnTo>
                    <a:pt x="1002" y="204"/>
                  </a:lnTo>
                  <a:lnTo>
                    <a:pt x="996" y="204"/>
                  </a:lnTo>
                  <a:lnTo>
                    <a:pt x="984" y="204"/>
                  </a:lnTo>
                  <a:lnTo>
                    <a:pt x="984" y="198"/>
                  </a:lnTo>
                  <a:lnTo>
                    <a:pt x="978" y="198"/>
                  </a:lnTo>
                  <a:lnTo>
                    <a:pt x="966" y="198"/>
                  </a:lnTo>
                  <a:lnTo>
                    <a:pt x="948" y="192"/>
                  </a:lnTo>
                  <a:lnTo>
                    <a:pt x="942" y="192"/>
                  </a:lnTo>
                  <a:lnTo>
                    <a:pt x="936" y="192"/>
                  </a:lnTo>
                  <a:lnTo>
                    <a:pt x="924" y="192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12" y="186"/>
                  </a:lnTo>
                  <a:lnTo>
                    <a:pt x="906" y="186"/>
                  </a:lnTo>
                  <a:lnTo>
                    <a:pt x="900" y="186"/>
                  </a:lnTo>
                  <a:lnTo>
                    <a:pt x="894" y="186"/>
                  </a:lnTo>
                  <a:lnTo>
                    <a:pt x="888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76" y="180"/>
                  </a:lnTo>
                  <a:lnTo>
                    <a:pt x="870" y="180"/>
                  </a:lnTo>
                  <a:lnTo>
                    <a:pt x="864" y="180"/>
                  </a:lnTo>
                  <a:lnTo>
                    <a:pt x="858" y="180"/>
                  </a:lnTo>
                  <a:lnTo>
                    <a:pt x="852" y="180"/>
                  </a:lnTo>
                  <a:lnTo>
                    <a:pt x="852" y="174"/>
                  </a:lnTo>
                  <a:lnTo>
                    <a:pt x="846" y="174"/>
                  </a:lnTo>
                  <a:lnTo>
                    <a:pt x="840" y="174"/>
                  </a:lnTo>
                  <a:lnTo>
                    <a:pt x="834" y="174"/>
                  </a:lnTo>
                  <a:lnTo>
                    <a:pt x="828" y="174"/>
                  </a:lnTo>
                  <a:lnTo>
                    <a:pt x="822" y="174"/>
                  </a:lnTo>
                  <a:lnTo>
                    <a:pt x="816" y="174"/>
                  </a:lnTo>
                  <a:lnTo>
                    <a:pt x="810" y="168"/>
                  </a:lnTo>
                  <a:lnTo>
                    <a:pt x="804" y="168"/>
                  </a:lnTo>
                  <a:lnTo>
                    <a:pt x="798" y="168"/>
                  </a:lnTo>
                  <a:lnTo>
                    <a:pt x="792" y="168"/>
                  </a:lnTo>
                  <a:lnTo>
                    <a:pt x="786" y="168"/>
                  </a:lnTo>
                  <a:lnTo>
                    <a:pt x="780" y="168"/>
                  </a:lnTo>
                  <a:lnTo>
                    <a:pt x="774" y="168"/>
                  </a:lnTo>
                  <a:lnTo>
                    <a:pt x="768" y="168"/>
                  </a:lnTo>
                  <a:lnTo>
                    <a:pt x="762" y="168"/>
                  </a:lnTo>
                  <a:lnTo>
                    <a:pt x="756" y="168"/>
                  </a:lnTo>
                  <a:lnTo>
                    <a:pt x="750" y="168"/>
                  </a:lnTo>
                  <a:lnTo>
                    <a:pt x="750" y="162"/>
                  </a:lnTo>
                  <a:lnTo>
                    <a:pt x="744" y="168"/>
                  </a:lnTo>
                  <a:lnTo>
                    <a:pt x="738" y="162"/>
                  </a:lnTo>
                  <a:lnTo>
                    <a:pt x="732" y="162"/>
                  </a:lnTo>
                  <a:lnTo>
                    <a:pt x="726" y="162"/>
                  </a:lnTo>
                  <a:lnTo>
                    <a:pt x="714" y="162"/>
                  </a:lnTo>
                  <a:lnTo>
                    <a:pt x="702" y="162"/>
                  </a:lnTo>
                  <a:lnTo>
                    <a:pt x="696" y="168"/>
                  </a:lnTo>
                  <a:lnTo>
                    <a:pt x="690" y="168"/>
                  </a:lnTo>
                  <a:lnTo>
                    <a:pt x="684" y="168"/>
                  </a:lnTo>
                  <a:lnTo>
                    <a:pt x="678" y="168"/>
                  </a:lnTo>
                  <a:lnTo>
                    <a:pt x="672" y="168"/>
                  </a:lnTo>
                  <a:lnTo>
                    <a:pt x="666" y="168"/>
                  </a:lnTo>
                  <a:lnTo>
                    <a:pt x="660" y="168"/>
                  </a:lnTo>
                  <a:lnTo>
                    <a:pt x="654" y="168"/>
                  </a:lnTo>
                  <a:lnTo>
                    <a:pt x="648" y="174"/>
                  </a:lnTo>
                  <a:lnTo>
                    <a:pt x="648" y="168"/>
                  </a:lnTo>
                  <a:lnTo>
                    <a:pt x="642" y="174"/>
                  </a:lnTo>
                  <a:lnTo>
                    <a:pt x="636" y="174"/>
                  </a:lnTo>
                  <a:lnTo>
                    <a:pt x="630" y="174"/>
                  </a:lnTo>
                  <a:lnTo>
                    <a:pt x="624" y="174"/>
                  </a:lnTo>
                  <a:lnTo>
                    <a:pt x="618" y="174"/>
                  </a:lnTo>
                  <a:lnTo>
                    <a:pt x="612" y="174"/>
                  </a:lnTo>
                  <a:lnTo>
                    <a:pt x="606" y="174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74"/>
                  </a:lnTo>
                  <a:lnTo>
                    <a:pt x="582" y="174"/>
                  </a:lnTo>
                  <a:lnTo>
                    <a:pt x="576" y="174"/>
                  </a:lnTo>
                  <a:lnTo>
                    <a:pt x="570" y="174"/>
                  </a:lnTo>
                  <a:lnTo>
                    <a:pt x="564" y="174"/>
                  </a:lnTo>
                  <a:lnTo>
                    <a:pt x="558" y="174"/>
                  </a:lnTo>
                  <a:lnTo>
                    <a:pt x="552" y="174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0" y="174"/>
                  </a:lnTo>
                  <a:lnTo>
                    <a:pt x="504" y="174"/>
                  </a:lnTo>
                  <a:lnTo>
                    <a:pt x="498" y="174"/>
                  </a:lnTo>
                  <a:lnTo>
                    <a:pt x="492" y="174"/>
                  </a:lnTo>
                  <a:lnTo>
                    <a:pt x="486" y="174"/>
                  </a:lnTo>
                  <a:lnTo>
                    <a:pt x="480" y="174"/>
                  </a:lnTo>
                  <a:lnTo>
                    <a:pt x="474" y="174"/>
                  </a:lnTo>
                  <a:lnTo>
                    <a:pt x="468" y="174"/>
                  </a:lnTo>
                  <a:lnTo>
                    <a:pt x="462" y="174"/>
                  </a:lnTo>
                  <a:lnTo>
                    <a:pt x="456" y="174"/>
                  </a:lnTo>
                  <a:lnTo>
                    <a:pt x="450" y="180"/>
                  </a:lnTo>
                  <a:lnTo>
                    <a:pt x="450" y="186"/>
                  </a:lnTo>
                  <a:lnTo>
                    <a:pt x="450" y="192"/>
                  </a:lnTo>
                  <a:lnTo>
                    <a:pt x="444" y="192"/>
                  </a:lnTo>
                  <a:lnTo>
                    <a:pt x="444" y="186"/>
                  </a:lnTo>
                  <a:lnTo>
                    <a:pt x="444" y="180"/>
                  </a:lnTo>
                  <a:lnTo>
                    <a:pt x="450" y="180"/>
                  </a:lnTo>
                  <a:lnTo>
                    <a:pt x="450" y="174"/>
                  </a:lnTo>
                  <a:lnTo>
                    <a:pt x="450" y="168"/>
                  </a:lnTo>
                  <a:lnTo>
                    <a:pt x="450" y="162"/>
                  </a:lnTo>
                  <a:lnTo>
                    <a:pt x="456" y="162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62" y="162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74" y="168"/>
                  </a:lnTo>
                  <a:lnTo>
                    <a:pt x="480" y="168"/>
                  </a:lnTo>
                  <a:lnTo>
                    <a:pt x="480" y="162"/>
                  </a:lnTo>
                  <a:lnTo>
                    <a:pt x="480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56"/>
                  </a:lnTo>
                  <a:lnTo>
                    <a:pt x="492" y="156"/>
                  </a:lnTo>
                  <a:lnTo>
                    <a:pt x="486" y="150"/>
                  </a:lnTo>
                  <a:lnTo>
                    <a:pt x="492" y="150"/>
                  </a:lnTo>
                  <a:lnTo>
                    <a:pt x="498" y="150"/>
                  </a:lnTo>
                  <a:lnTo>
                    <a:pt x="498" y="156"/>
                  </a:lnTo>
                  <a:lnTo>
                    <a:pt x="504" y="156"/>
                  </a:lnTo>
                  <a:lnTo>
                    <a:pt x="504" y="162"/>
                  </a:lnTo>
                  <a:lnTo>
                    <a:pt x="504" y="156"/>
                  </a:lnTo>
                  <a:lnTo>
                    <a:pt x="510" y="156"/>
                  </a:lnTo>
                  <a:lnTo>
                    <a:pt x="510" y="150"/>
                  </a:lnTo>
                  <a:lnTo>
                    <a:pt x="516" y="150"/>
                  </a:lnTo>
                  <a:lnTo>
                    <a:pt x="522" y="150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28" y="150"/>
                  </a:lnTo>
                  <a:lnTo>
                    <a:pt x="528" y="144"/>
                  </a:lnTo>
                  <a:lnTo>
                    <a:pt x="540" y="144"/>
                  </a:lnTo>
                  <a:lnTo>
                    <a:pt x="546" y="144"/>
                  </a:lnTo>
                  <a:lnTo>
                    <a:pt x="552" y="138"/>
                  </a:lnTo>
                  <a:lnTo>
                    <a:pt x="552" y="132"/>
                  </a:lnTo>
                  <a:lnTo>
                    <a:pt x="558" y="132"/>
                  </a:lnTo>
                  <a:lnTo>
                    <a:pt x="558" y="126"/>
                  </a:lnTo>
                  <a:lnTo>
                    <a:pt x="558" y="120"/>
                  </a:lnTo>
                  <a:lnTo>
                    <a:pt x="558" y="114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6" y="114"/>
                  </a:lnTo>
                  <a:lnTo>
                    <a:pt x="582" y="120"/>
                  </a:lnTo>
                  <a:lnTo>
                    <a:pt x="588" y="120"/>
                  </a:lnTo>
                  <a:lnTo>
                    <a:pt x="588" y="126"/>
                  </a:lnTo>
                  <a:lnTo>
                    <a:pt x="588" y="120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600" y="114"/>
                  </a:lnTo>
                  <a:lnTo>
                    <a:pt x="606" y="114"/>
                  </a:lnTo>
                  <a:lnTo>
                    <a:pt x="618" y="114"/>
                  </a:lnTo>
                  <a:lnTo>
                    <a:pt x="618" y="108"/>
                  </a:lnTo>
                  <a:lnTo>
                    <a:pt x="624" y="108"/>
                  </a:lnTo>
                  <a:lnTo>
                    <a:pt x="624" y="102"/>
                  </a:lnTo>
                  <a:lnTo>
                    <a:pt x="630" y="102"/>
                  </a:lnTo>
                  <a:lnTo>
                    <a:pt x="636" y="102"/>
                  </a:lnTo>
                  <a:lnTo>
                    <a:pt x="636" y="108"/>
                  </a:lnTo>
                  <a:lnTo>
                    <a:pt x="642" y="108"/>
                  </a:lnTo>
                  <a:lnTo>
                    <a:pt x="648" y="108"/>
                  </a:lnTo>
                  <a:lnTo>
                    <a:pt x="648" y="102"/>
                  </a:lnTo>
                  <a:lnTo>
                    <a:pt x="654" y="102"/>
                  </a:lnTo>
                  <a:lnTo>
                    <a:pt x="660" y="102"/>
                  </a:lnTo>
                  <a:lnTo>
                    <a:pt x="660" y="96"/>
                  </a:lnTo>
                  <a:lnTo>
                    <a:pt x="660" y="90"/>
                  </a:lnTo>
                  <a:lnTo>
                    <a:pt x="666" y="90"/>
                  </a:lnTo>
                  <a:lnTo>
                    <a:pt x="666" y="84"/>
                  </a:lnTo>
                  <a:lnTo>
                    <a:pt x="672" y="78"/>
                  </a:lnTo>
                  <a:lnTo>
                    <a:pt x="672" y="72"/>
                  </a:lnTo>
                  <a:lnTo>
                    <a:pt x="678" y="66"/>
                  </a:lnTo>
                  <a:lnTo>
                    <a:pt x="684" y="66"/>
                  </a:lnTo>
                  <a:lnTo>
                    <a:pt x="684" y="60"/>
                  </a:lnTo>
                  <a:lnTo>
                    <a:pt x="690" y="60"/>
                  </a:lnTo>
                  <a:lnTo>
                    <a:pt x="696" y="60"/>
                  </a:lnTo>
                  <a:lnTo>
                    <a:pt x="702" y="60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66"/>
                  </a:lnTo>
                  <a:lnTo>
                    <a:pt x="720" y="66"/>
                  </a:lnTo>
                  <a:lnTo>
                    <a:pt x="720" y="60"/>
                  </a:lnTo>
                  <a:lnTo>
                    <a:pt x="726" y="60"/>
                  </a:lnTo>
                  <a:lnTo>
                    <a:pt x="732" y="60"/>
                  </a:lnTo>
                  <a:lnTo>
                    <a:pt x="744" y="60"/>
                  </a:lnTo>
                  <a:lnTo>
                    <a:pt x="750" y="54"/>
                  </a:lnTo>
                  <a:lnTo>
                    <a:pt x="762" y="60"/>
                  </a:lnTo>
                  <a:lnTo>
                    <a:pt x="774" y="60"/>
                  </a:lnTo>
                  <a:lnTo>
                    <a:pt x="774" y="66"/>
                  </a:lnTo>
                  <a:lnTo>
                    <a:pt x="780" y="72"/>
                  </a:lnTo>
                  <a:lnTo>
                    <a:pt x="786" y="78"/>
                  </a:lnTo>
                  <a:lnTo>
                    <a:pt x="792" y="78"/>
                  </a:lnTo>
                  <a:lnTo>
                    <a:pt x="810" y="84"/>
                  </a:lnTo>
                  <a:lnTo>
                    <a:pt x="822" y="84"/>
                  </a:lnTo>
                  <a:lnTo>
                    <a:pt x="828" y="84"/>
                  </a:lnTo>
                  <a:lnTo>
                    <a:pt x="834" y="84"/>
                  </a:lnTo>
                  <a:lnTo>
                    <a:pt x="840" y="96"/>
                  </a:lnTo>
                  <a:lnTo>
                    <a:pt x="846" y="102"/>
                  </a:lnTo>
                  <a:lnTo>
                    <a:pt x="858" y="102"/>
                  </a:lnTo>
                  <a:lnTo>
                    <a:pt x="864" y="102"/>
                  </a:lnTo>
                  <a:lnTo>
                    <a:pt x="876" y="96"/>
                  </a:lnTo>
                  <a:lnTo>
                    <a:pt x="882" y="102"/>
                  </a:lnTo>
                  <a:lnTo>
                    <a:pt x="888" y="108"/>
                  </a:lnTo>
                  <a:lnTo>
                    <a:pt x="888" y="114"/>
                  </a:lnTo>
                  <a:lnTo>
                    <a:pt x="888" y="120"/>
                  </a:lnTo>
                  <a:lnTo>
                    <a:pt x="888" y="126"/>
                  </a:lnTo>
                  <a:lnTo>
                    <a:pt x="888" y="132"/>
                  </a:lnTo>
                  <a:lnTo>
                    <a:pt x="882" y="132"/>
                  </a:lnTo>
                  <a:lnTo>
                    <a:pt x="864" y="126"/>
                  </a:lnTo>
                  <a:lnTo>
                    <a:pt x="852" y="120"/>
                  </a:lnTo>
                  <a:lnTo>
                    <a:pt x="840" y="126"/>
                  </a:lnTo>
                  <a:lnTo>
                    <a:pt x="834" y="120"/>
                  </a:lnTo>
                  <a:lnTo>
                    <a:pt x="828" y="120"/>
                  </a:lnTo>
                  <a:lnTo>
                    <a:pt x="822" y="120"/>
                  </a:lnTo>
                  <a:lnTo>
                    <a:pt x="810" y="114"/>
                  </a:lnTo>
                  <a:lnTo>
                    <a:pt x="804" y="114"/>
                  </a:lnTo>
                  <a:lnTo>
                    <a:pt x="798" y="114"/>
                  </a:lnTo>
                  <a:lnTo>
                    <a:pt x="792" y="114"/>
                  </a:lnTo>
                  <a:lnTo>
                    <a:pt x="786" y="114"/>
                  </a:lnTo>
                  <a:lnTo>
                    <a:pt x="780" y="114"/>
                  </a:lnTo>
                  <a:lnTo>
                    <a:pt x="780" y="126"/>
                  </a:lnTo>
                  <a:lnTo>
                    <a:pt x="786" y="126"/>
                  </a:lnTo>
                  <a:lnTo>
                    <a:pt x="798" y="126"/>
                  </a:lnTo>
                  <a:lnTo>
                    <a:pt x="804" y="126"/>
                  </a:lnTo>
                  <a:lnTo>
                    <a:pt x="822" y="132"/>
                  </a:lnTo>
                  <a:lnTo>
                    <a:pt x="828" y="132"/>
                  </a:lnTo>
                  <a:lnTo>
                    <a:pt x="834" y="132"/>
                  </a:lnTo>
                  <a:lnTo>
                    <a:pt x="840" y="144"/>
                  </a:lnTo>
                  <a:lnTo>
                    <a:pt x="846" y="150"/>
                  </a:lnTo>
                  <a:lnTo>
                    <a:pt x="858" y="150"/>
                  </a:lnTo>
                  <a:lnTo>
                    <a:pt x="864" y="162"/>
                  </a:lnTo>
                  <a:lnTo>
                    <a:pt x="870" y="162"/>
                  </a:lnTo>
                  <a:lnTo>
                    <a:pt x="876" y="168"/>
                  </a:lnTo>
                  <a:lnTo>
                    <a:pt x="888" y="168"/>
                  </a:lnTo>
                  <a:lnTo>
                    <a:pt x="894" y="174"/>
                  </a:lnTo>
                  <a:lnTo>
                    <a:pt x="900" y="174"/>
                  </a:lnTo>
                  <a:lnTo>
                    <a:pt x="918" y="174"/>
                  </a:lnTo>
                  <a:lnTo>
                    <a:pt x="924" y="174"/>
                  </a:lnTo>
                  <a:lnTo>
                    <a:pt x="930" y="174"/>
                  </a:lnTo>
                  <a:lnTo>
                    <a:pt x="942" y="174"/>
                  </a:lnTo>
                  <a:lnTo>
                    <a:pt x="954" y="174"/>
                  </a:lnTo>
                  <a:lnTo>
                    <a:pt x="960" y="174"/>
                  </a:lnTo>
                  <a:lnTo>
                    <a:pt x="966" y="174"/>
                  </a:lnTo>
                  <a:lnTo>
                    <a:pt x="966" y="168"/>
                  </a:lnTo>
                  <a:lnTo>
                    <a:pt x="972" y="162"/>
                  </a:lnTo>
                  <a:lnTo>
                    <a:pt x="972" y="156"/>
                  </a:lnTo>
                  <a:close/>
                  <a:moveTo>
                    <a:pt x="942" y="174"/>
                  </a:moveTo>
                  <a:lnTo>
                    <a:pt x="936" y="174"/>
                  </a:lnTo>
                  <a:lnTo>
                    <a:pt x="936" y="168"/>
                  </a:lnTo>
                  <a:lnTo>
                    <a:pt x="936" y="162"/>
                  </a:lnTo>
                  <a:lnTo>
                    <a:pt x="948" y="162"/>
                  </a:lnTo>
                  <a:lnTo>
                    <a:pt x="948" y="156"/>
                  </a:lnTo>
                  <a:lnTo>
                    <a:pt x="954" y="156"/>
                  </a:lnTo>
                  <a:lnTo>
                    <a:pt x="960" y="156"/>
                  </a:lnTo>
                  <a:lnTo>
                    <a:pt x="966" y="156"/>
                  </a:lnTo>
                  <a:lnTo>
                    <a:pt x="966" y="162"/>
                  </a:lnTo>
                  <a:lnTo>
                    <a:pt x="960" y="168"/>
                  </a:lnTo>
                  <a:lnTo>
                    <a:pt x="942" y="174"/>
                  </a:lnTo>
                  <a:close/>
                  <a:moveTo>
                    <a:pt x="900" y="168"/>
                  </a:moveTo>
                  <a:lnTo>
                    <a:pt x="894" y="168"/>
                  </a:lnTo>
                  <a:lnTo>
                    <a:pt x="882" y="156"/>
                  </a:lnTo>
                  <a:lnTo>
                    <a:pt x="882" y="150"/>
                  </a:lnTo>
                  <a:lnTo>
                    <a:pt x="888" y="156"/>
                  </a:lnTo>
                  <a:lnTo>
                    <a:pt x="894" y="150"/>
                  </a:lnTo>
                  <a:lnTo>
                    <a:pt x="900" y="150"/>
                  </a:lnTo>
                  <a:lnTo>
                    <a:pt x="906" y="150"/>
                  </a:lnTo>
                  <a:lnTo>
                    <a:pt x="912" y="150"/>
                  </a:lnTo>
                  <a:lnTo>
                    <a:pt x="924" y="150"/>
                  </a:lnTo>
                  <a:lnTo>
                    <a:pt x="924" y="156"/>
                  </a:lnTo>
                  <a:lnTo>
                    <a:pt x="924" y="162"/>
                  </a:lnTo>
                  <a:lnTo>
                    <a:pt x="924" y="168"/>
                  </a:lnTo>
                  <a:lnTo>
                    <a:pt x="918" y="168"/>
                  </a:lnTo>
                  <a:lnTo>
                    <a:pt x="906" y="168"/>
                  </a:lnTo>
                  <a:lnTo>
                    <a:pt x="900" y="168"/>
                  </a:lnTo>
                  <a:close/>
                  <a:moveTo>
                    <a:pt x="870" y="162"/>
                  </a:moveTo>
                  <a:lnTo>
                    <a:pt x="876" y="162"/>
                  </a:lnTo>
                  <a:lnTo>
                    <a:pt x="876" y="168"/>
                  </a:lnTo>
                  <a:lnTo>
                    <a:pt x="870" y="168"/>
                  </a:lnTo>
                  <a:lnTo>
                    <a:pt x="870" y="162"/>
                  </a:lnTo>
                  <a:close/>
                  <a:moveTo>
                    <a:pt x="450" y="162"/>
                  </a:moveTo>
                  <a:lnTo>
                    <a:pt x="444" y="162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2" y="150"/>
                  </a:lnTo>
                  <a:lnTo>
                    <a:pt x="438" y="150"/>
                  </a:lnTo>
                  <a:lnTo>
                    <a:pt x="438" y="144"/>
                  </a:lnTo>
                  <a:lnTo>
                    <a:pt x="438" y="150"/>
                  </a:lnTo>
                  <a:lnTo>
                    <a:pt x="444" y="150"/>
                  </a:lnTo>
                  <a:lnTo>
                    <a:pt x="450" y="150"/>
                  </a:lnTo>
                  <a:lnTo>
                    <a:pt x="450" y="156"/>
                  </a:lnTo>
                  <a:lnTo>
                    <a:pt x="456" y="156"/>
                  </a:lnTo>
                  <a:lnTo>
                    <a:pt x="456" y="150"/>
                  </a:lnTo>
                  <a:lnTo>
                    <a:pt x="456" y="156"/>
                  </a:lnTo>
                  <a:lnTo>
                    <a:pt x="462" y="150"/>
                  </a:lnTo>
                  <a:lnTo>
                    <a:pt x="462" y="144"/>
                  </a:lnTo>
                  <a:lnTo>
                    <a:pt x="468" y="144"/>
                  </a:lnTo>
                  <a:lnTo>
                    <a:pt x="468" y="150"/>
                  </a:lnTo>
                  <a:lnTo>
                    <a:pt x="474" y="150"/>
                  </a:lnTo>
                  <a:lnTo>
                    <a:pt x="480" y="150"/>
                  </a:lnTo>
                  <a:lnTo>
                    <a:pt x="480" y="156"/>
                  </a:lnTo>
                  <a:lnTo>
                    <a:pt x="480" y="162"/>
                  </a:lnTo>
                  <a:lnTo>
                    <a:pt x="474" y="162"/>
                  </a:lnTo>
                  <a:lnTo>
                    <a:pt x="474" y="168"/>
                  </a:lnTo>
                  <a:lnTo>
                    <a:pt x="474" y="162"/>
                  </a:lnTo>
                  <a:lnTo>
                    <a:pt x="468" y="162"/>
                  </a:lnTo>
                  <a:lnTo>
                    <a:pt x="462" y="162"/>
                  </a:lnTo>
                  <a:lnTo>
                    <a:pt x="456" y="162"/>
                  </a:lnTo>
                  <a:lnTo>
                    <a:pt x="450" y="16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6" name="Freeform 31">
              <a:extLst>
                <a:ext uri="{FF2B5EF4-FFF2-40B4-BE49-F238E27FC236}">
                  <a16:creationId xmlns:a16="http://schemas.microsoft.com/office/drawing/2014/main" id="{0989F057-38E8-4AA5-8B73-27F6355E235C}"/>
                </a:ext>
              </a:extLst>
            </p:cNvPr>
            <p:cNvSpPr>
              <a:spLocks/>
            </p:cNvSpPr>
            <p:nvPr/>
          </p:nvSpPr>
          <p:spPr bwMode="gray">
            <a:xfrm>
              <a:off x="792590" y="2728084"/>
              <a:ext cx="1182944" cy="740282"/>
            </a:xfrm>
            <a:custGeom>
              <a:avLst/>
              <a:gdLst>
                <a:gd name="T0" fmla="*/ 138 w 2226"/>
                <a:gd name="T1" fmla="*/ 121 h 1392"/>
                <a:gd name="T2" fmla="*/ 133 w 2226"/>
                <a:gd name="T3" fmla="*/ 119 h 1392"/>
                <a:gd name="T4" fmla="*/ 128 w 2226"/>
                <a:gd name="T5" fmla="*/ 117 h 1392"/>
                <a:gd name="T6" fmla="*/ 119 w 2226"/>
                <a:gd name="T7" fmla="*/ 116 h 1392"/>
                <a:gd name="T8" fmla="*/ 101 w 2226"/>
                <a:gd name="T9" fmla="*/ 116 h 1392"/>
                <a:gd name="T10" fmla="*/ 94 w 2226"/>
                <a:gd name="T11" fmla="*/ 104 h 1392"/>
                <a:gd name="T12" fmla="*/ 82 w 2226"/>
                <a:gd name="T13" fmla="*/ 83 h 1392"/>
                <a:gd name="T14" fmla="*/ 87 w 2226"/>
                <a:gd name="T15" fmla="*/ 69 h 1392"/>
                <a:gd name="T16" fmla="*/ 82 w 2226"/>
                <a:gd name="T17" fmla="*/ 65 h 1392"/>
                <a:gd name="T18" fmla="*/ 59 w 2226"/>
                <a:gd name="T19" fmla="*/ 57 h 1392"/>
                <a:gd name="T20" fmla="*/ 29 w 2226"/>
                <a:gd name="T21" fmla="*/ 77 h 1392"/>
                <a:gd name="T22" fmla="*/ 20 w 2226"/>
                <a:gd name="T23" fmla="*/ 78 h 1392"/>
                <a:gd name="T24" fmla="*/ 15 w 2226"/>
                <a:gd name="T25" fmla="*/ 82 h 1392"/>
                <a:gd name="T26" fmla="*/ 8 w 2226"/>
                <a:gd name="T27" fmla="*/ 86 h 1392"/>
                <a:gd name="T28" fmla="*/ 1 w 2226"/>
                <a:gd name="T29" fmla="*/ 88 h 1392"/>
                <a:gd name="T30" fmla="*/ 0 w 2226"/>
                <a:gd name="T31" fmla="*/ 82 h 1392"/>
                <a:gd name="T32" fmla="*/ 0 w 2226"/>
                <a:gd name="T33" fmla="*/ 76 h 1392"/>
                <a:gd name="T34" fmla="*/ 2 w 2226"/>
                <a:gd name="T35" fmla="*/ 70 h 1392"/>
                <a:gd name="T36" fmla="*/ 3 w 2226"/>
                <a:gd name="T37" fmla="*/ 65 h 1392"/>
                <a:gd name="T38" fmla="*/ 2 w 2226"/>
                <a:gd name="T39" fmla="*/ 63 h 1392"/>
                <a:gd name="T40" fmla="*/ 9 w 2226"/>
                <a:gd name="T41" fmla="*/ 60 h 1392"/>
                <a:gd name="T42" fmla="*/ 17 w 2226"/>
                <a:gd name="T43" fmla="*/ 59 h 1392"/>
                <a:gd name="T44" fmla="*/ 22 w 2226"/>
                <a:gd name="T45" fmla="*/ 51 h 1392"/>
                <a:gd name="T46" fmla="*/ 23 w 2226"/>
                <a:gd name="T47" fmla="*/ 43 h 1392"/>
                <a:gd name="T48" fmla="*/ 27 w 2226"/>
                <a:gd name="T49" fmla="*/ 34 h 1392"/>
                <a:gd name="T50" fmla="*/ 30 w 2226"/>
                <a:gd name="T51" fmla="*/ 27 h 1392"/>
                <a:gd name="T52" fmla="*/ 33 w 2226"/>
                <a:gd name="T53" fmla="*/ 22 h 1392"/>
                <a:gd name="T54" fmla="*/ 42 w 2226"/>
                <a:gd name="T55" fmla="*/ 17 h 1392"/>
                <a:gd name="T56" fmla="*/ 47 w 2226"/>
                <a:gd name="T57" fmla="*/ 14 h 1392"/>
                <a:gd name="T58" fmla="*/ 49 w 2226"/>
                <a:gd name="T59" fmla="*/ 5 h 1392"/>
                <a:gd name="T60" fmla="*/ 53 w 2226"/>
                <a:gd name="T61" fmla="*/ 0 h 1392"/>
                <a:gd name="T62" fmla="*/ 55 w 2226"/>
                <a:gd name="T63" fmla="*/ 4 h 1392"/>
                <a:gd name="T64" fmla="*/ 59 w 2226"/>
                <a:gd name="T65" fmla="*/ 7 h 1392"/>
                <a:gd name="T66" fmla="*/ 63 w 2226"/>
                <a:gd name="T67" fmla="*/ 7 h 1392"/>
                <a:gd name="T68" fmla="*/ 66 w 2226"/>
                <a:gd name="T69" fmla="*/ 9 h 1392"/>
                <a:gd name="T70" fmla="*/ 67 w 2226"/>
                <a:gd name="T71" fmla="*/ 12 h 1392"/>
                <a:gd name="T72" fmla="*/ 67 w 2226"/>
                <a:gd name="T73" fmla="*/ 13 h 1392"/>
                <a:gd name="T74" fmla="*/ 70 w 2226"/>
                <a:gd name="T75" fmla="*/ 15 h 1392"/>
                <a:gd name="T76" fmla="*/ 74 w 2226"/>
                <a:gd name="T77" fmla="*/ 17 h 1392"/>
                <a:gd name="T78" fmla="*/ 78 w 2226"/>
                <a:gd name="T79" fmla="*/ 18 h 1392"/>
                <a:gd name="T80" fmla="*/ 97 w 2226"/>
                <a:gd name="T81" fmla="*/ 40 h 1392"/>
                <a:gd name="T82" fmla="*/ 102 w 2226"/>
                <a:gd name="T83" fmla="*/ 44 h 1392"/>
                <a:gd name="T84" fmla="*/ 110 w 2226"/>
                <a:gd name="T85" fmla="*/ 49 h 1392"/>
                <a:gd name="T86" fmla="*/ 113 w 2226"/>
                <a:gd name="T87" fmla="*/ 53 h 1392"/>
                <a:gd name="T88" fmla="*/ 118 w 2226"/>
                <a:gd name="T89" fmla="*/ 57 h 1392"/>
                <a:gd name="T90" fmla="*/ 124 w 2226"/>
                <a:gd name="T91" fmla="*/ 54 h 1392"/>
                <a:gd name="T92" fmla="*/ 133 w 2226"/>
                <a:gd name="T93" fmla="*/ 58 h 1392"/>
                <a:gd name="T94" fmla="*/ 137 w 2226"/>
                <a:gd name="T95" fmla="*/ 64 h 1392"/>
                <a:gd name="T96" fmla="*/ 145 w 2226"/>
                <a:gd name="T97" fmla="*/ 65 h 1392"/>
                <a:gd name="T98" fmla="*/ 152 w 2226"/>
                <a:gd name="T99" fmla="*/ 67 h 1392"/>
                <a:gd name="T100" fmla="*/ 161 w 2226"/>
                <a:gd name="T101" fmla="*/ 72 h 1392"/>
                <a:gd name="T102" fmla="*/ 168 w 2226"/>
                <a:gd name="T103" fmla="*/ 76 h 1392"/>
                <a:gd name="T104" fmla="*/ 177 w 2226"/>
                <a:gd name="T105" fmla="*/ 78 h 1392"/>
                <a:gd name="T106" fmla="*/ 184 w 2226"/>
                <a:gd name="T107" fmla="*/ 78 h 1392"/>
                <a:gd name="T108" fmla="*/ 190 w 2226"/>
                <a:gd name="T109" fmla="*/ 81 h 1392"/>
                <a:gd name="T110" fmla="*/ 192 w 2226"/>
                <a:gd name="T111" fmla="*/ 86 h 1392"/>
                <a:gd name="T112" fmla="*/ 187 w 2226"/>
                <a:gd name="T113" fmla="*/ 99 h 1392"/>
                <a:gd name="T114" fmla="*/ 165 w 2226"/>
                <a:gd name="T115" fmla="*/ 97 h 1392"/>
                <a:gd name="T116" fmla="*/ 155 w 2226"/>
                <a:gd name="T117" fmla="*/ 92 h 1392"/>
                <a:gd name="T118" fmla="*/ 146 w 2226"/>
                <a:gd name="T119" fmla="*/ 102 h 1392"/>
                <a:gd name="T120" fmla="*/ 149 w 2226"/>
                <a:gd name="T121" fmla="*/ 106 h 1392"/>
                <a:gd name="T122" fmla="*/ 151 w 2226"/>
                <a:gd name="T123" fmla="*/ 108 h 1392"/>
                <a:gd name="T124" fmla="*/ 157 w 2226"/>
                <a:gd name="T125" fmla="*/ 113 h 13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1392"/>
                <a:gd name="T191" fmla="*/ 2226 w 2226"/>
                <a:gd name="T192" fmla="*/ 1392 h 13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1392">
                  <a:moveTo>
                    <a:pt x="1782" y="1326"/>
                  </a:moveTo>
                  <a:lnTo>
                    <a:pt x="1776" y="1332"/>
                  </a:lnTo>
                  <a:lnTo>
                    <a:pt x="1692" y="1338"/>
                  </a:lnTo>
                  <a:lnTo>
                    <a:pt x="1680" y="1386"/>
                  </a:lnTo>
                  <a:lnTo>
                    <a:pt x="1674" y="1392"/>
                  </a:lnTo>
                  <a:lnTo>
                    <a:pt x="1638" y="1392"/>
                  </a:lnTo>
                  <a:lnTo>
                    <a:pt x="1620" y="1392"/>
                  </a:lnTo>
                  <a:lnTo>
                    <a:pt x="1614" y="1392"/>
                  </a:lnTo>
                  <a:lnTo>
                    <a:pt x="1608" y="1386"/>
                  </a:lnTo>
                  <a:lnTo>
                    <a:pt x="1584" y="1386"/>
                  </a:lnTo>
                  <a:lnTo>
                    <a:pt x="1578" y="1386"/>
                  </a:lnTo>
                  <a:lnTo>
                    <a:pt x="1572" y="1380"/>
                  </a:lnTo>
                  <a:lnTo>
                    <a:pt x="1578" y="1356"/>
                  </a:lnTo>
                  <a:lnTo>
                    <a:pt x="1572" y="1356"/>
                  </a:lnTo>
                  <a:lnTo>
                    <a:pt x="1560" y="1350"/>
                  </a:lnTo>
                  <a:lnTo>
                    <a:pt x="1554" y="1350"/>
                  </a:lnTo>
                  <a:lnTo>
                    <a:pt x="1542" y="1350"/>
                  </a:lnTo>
                  <a:lnTo>
                    <a:pt x="1530" y="1350"/>
                  </a:lnTo>
                  <a:lnTo>
                    <a:pt x="1524" y="1356"/>
                  </a:lnTo>
                  <a:lnTo>
                    <a:pt x="1524" y="1362"/>
                  </a:lnTo>
                  <a:lnTo>
                    <a:pt x="1512" y="1374"/>
                  </a:lnTo>
                  <a:lnTo>
                    <a:pt x="1506" y="1374"/>
                  </a:lnTo>
                  <a:lnTo>
                    <a:pt x="1500" y="1368"/>
                  </a:lnTo>
                  <a:lnTo>
                    <a:pt x="1500" y="1362"/>
                  </a:lnTo>
                  <a:lnTo>
                    <a:pt x="1488" y="1362"/>
                  </a:lnTo>
                  <a:lnTo>
                    <a:pt x="1482" y="1356"/>
                  </a:lnTo>
                  <a:lnTo>
                    <a:pt x="1482" y="1350"/>
                  </a:lnTo>
                  <a:lnTo>
                    <a:pt x="1476" y="1350"/>
                  </a:lnTo>
                  <a:lnTo>
                    <a:pt x="1470" y="1344"/>
                  </a:lnTo>
                  <a:lnTo>
                    <a:pt x="1464" y="1344"/>
                  </a:lnTo>
                  <a:lnTo>
                    <a:pt x="1452" y="1350"/>
                  </a:lnTo>
                  <a:lnTo>
                    <a:pt x="1452" y="1356"/>
                  </a:lnTo>
                  <a:lnTo>
                    <a:pt x="1440" y="1356"/>
                  </a:lnTo>
                  <a:lnTo>
                    <a:pt x="1434" y="1344"/>
                  </a:lnTo>
                  <a:lnTo>
                    <a:pt x="1422" y="1332"/>
                  </a:lnTo>
                  <a:lnTo>
                    <a:pt x="1416" y="1326"/>
                  </a:lnTo>
                  <a:lnTo>
                    <a:pt x="1404" y="1320"/>
                  </a:lnTo>
                  <a:lnTo>
                    <a:pt x="1404" y="1314"/>
                  </a:lnTo>
                  <a:lnTo>
                    <a:pt x="1374" y="1308"/>
                  </a:lnTo>
                  <a:lnTo>
                    <a:pt x="1368" y="1326"/>
                  </a:lnTo>
                  <a:lnTo>
                    <a:pt x="1344" y="1338"/>
                  </a:lnTo>
                  <a:lnTo>
                    <a:pt x="1326" y="1332"/>
                  </a:lnTo>
                  <a:lnTo>
                    <a:pt x="1302" y="1332"/>
                  </a:lnTo>
                  <a:lnTo>
                    <a:pt x="1278" y="1338"/>
                  </a:lnTo>
                  <a:lnTo>
                    <a:pt x="1236" y="1338"/>
                  </a:lnTo>
                  <a:lnTo>
                    <a:pt x="1224" y="1338"/>
                  </a:lnTo>
                  <a:lnTo>
                    <a:pt x="1224" y="1326"/>
                  </a:lnTo>
                  <a:lnTo>
                    <a:pt x="1206" y="1326"/>
                  </a:lnTo>
                  <a:lnTo>
                    <a:pt x="1170" y="1326"/>
                  </a:lnTo>
                  <a:lnTo>
                    <a:pt x="1152" y="1326"/>
                  </a:lnTo>
                  <a:lnTo>
                    <a:pt x="1140" y="1314"/>
                  </a:lnTo>
                  <a:lnTo>
                    <a:pt x="1134" y="1296"/>
                  </a:lnTo>
                  <a:lnTo>
                    <a:pt x="1134" y="1284"/>
                  </a:lnTo>
                  <a:lnTo>
                    <a:pt x="1128" y="1254"/>
                  </a:lnTo>
                  <a:lnTo>
                    <a:pt x="1128" y="1242"/>
                  </a:lnTo>
                  <a:lnTo>
                    <a:pt x="1122" y="1230"/>
                  </a:lnTo>
                  <a:lnTo>
                    <a:pt x="1104" y="1218"/>
                  </a:lnTo>
                  <a:lnTo>
                    <a:pt x="1104" y="1212"/>
                  </a:lnTo>
                  <a:lnTo>
                    <a:pt x="1092" y="1206"/>
                  </a:lnTo>
                  <a:lnTo>
                    <a:pt x="1080" y="1194"/>
                  </a:lnTo>
                  <a:lnTo>
                    <a:pt x="1068" y="1176"/>
                  </a:lnTo>
                  <a:lnTo>
                    <a:pt x="1050" y="1152"/>
                  </a:lnTo>
                  <a:lnTo>
                    <a:pt x="1020" y="1098"/>
                  </a:lnTo>
                  <a:lnTo>
                    <a:pt x="978" y="1026"/>
                  </a:lnTo>
                  <a:lnTo>
                    <a:pt x="978" y="1014"/>
                  </a:lnTo>
                  <a:lnTo>
                    <a:pt x="972" y="1014"/>
                  </a:lnTo>
                  <a:lnTo>
                    <a:pt x="972" y="1008"/>
                  </a:lnTo>
                  <a:lnTo>
                    <a:pt x="978" y="1002"/>
                  </a:lnTo>
                  <a:lnTo>
                    <a:pt x="960" y="966"/>
                  </a:lnTo>
                  <a:lnTo>
                    <a:pt x="948" y="954"/>
                  </a:lnTo>
                  <a:lnTo>
                    <a:pt x="948" y="936"/>
                  </a:lnTo>
                  <a:lnTo>
                    <a:pt x="936" y="900"/>
                  </a:lnTo>
                  <a:lnTo>
                    <a:pt x="942" y="876"/>
                  </a:lnTo>
                  <a:lnTo>
                    <a:pt x="942" y="834"/>
                  </a:lnTo>
                  <a:lnTo>
                    <a:pt x="960" y="828"/>
                  </a:lnTo>
                  <a:lnTo>
                    <a:pt x="966" y="816"/>
                  </a:lnTo>
                  <a:lnTo>
                    <a:pt x="972" y="810"/>
                  </a:lnTo>
                  <a:lnTo>
                    <a:pt x="978" y="804"/>
                  </a:lnTo>
                  <a:lnTo>
                    <a:pt x="996" y="798"/>
                  </a:lnTo>
                  <a:lnTo>
                    <a:pt x="996" y="792"/>
                  </a:lnTo>
                  <a:lnTo>
                    <a:pt x="1014" y="780"/>
                  </a:lnTo>
                  <a:lnTo>
                    <a:pt x="1026" y="768"/>
                  </a:lnTo>
                  <a:lnTo>
                    <a:pt x="1032" y="762"/>
                  </a:lnTo>
                  <a:lnTo>
                    <a:pt x="1026" y="756"/>
                  </a:lnTo>
                  <a:lnTo>
                    <a:pt x="1014" y="744"/>
                  </a:lnTo>
                  <a:lnTo>
                    <a:pt x="996" y="756"/>
                  </a:lnTo>
                  <a:lnTo>
                    <a:pt x="954" y="768"/>
                  </a:lnTo>
                  <a:lnTo>
                    <a:pt x="942" y="762"/>
                  </a:lnTo>
                  <a:lnTo>
                    <a:pt x="942" y="756"/>
                  </a:lnTo>
                  <a:lnTo>
                    <a:pt x="936" y="750"/>
                  </a:lnTo>
                  <a:lnTo>
                    <a:pt x="846" y="732"/>
                  </a:lnTo>
                  <a:lnTo>
                    <a:pt x="822" y="726"/>
                  </a:lnTo>
                  <a:lnTo>
                    <a:pt x="810" y="714"/>
                  </a:lnTo>
                  <a:lnTo>
                    <a:pt x="792" y="690"/>
                  </a:lnTo>
                  <a:lnTo>
                    <a:pt x="792" y="678"/>
                  </a:lnTo>
                  <a:lnTo>
                    <a:pt x="762" y="642"/>
                  </a:lnTo>
                  <a:lnTo>
                    <a:pt x="750" y="636"/>
                  </a:lnTo>
                  <a:lnTo>
                    <a:pt x="726" y="630"/>
                  </a:lnTo>
                  <a:lnTo>
                    <a:pt x="696" y="642"/>
                  </a:lnTo>
                  <a:lnTo>
                    <a:pt x="678" y="654"/>
                  </a:lnTo>
                  <a:lnTo>
                    <a:pt x="666" y="684"/>
                  </a:lnTo>
                  <a:lnTo>
                    <a:pt x="660" y="726"/>
                  </a:lnTo>
                  <a:lnTo>
                    <a:pt x="606" y="756"/>
                  </a:lnTo>
                  <a:lnTo>
                    <a:pt x="558" y="780"/>
                  </a:lnTo>
                  <a:lnTo>
                    <a:pt x="438" y="834"/>
                  </a:lnTo>
                  <a:lnTo>
                    <a:pt x="402" y="846"/>
                  </a:lnTo>
                  <a:lnTo>
                    <a:pt x="372" y="870"/>
                  </a:lnTo>
                  <a:lnTo>
                    <a:pt x="360" y="876"/>
                  </a:lnTo>
                  <a:lnTo>
                    <a:pt x="354" y="876"/>
                  </a:lnTo>
                  <a:lnTo>
                    <a:pt x="330" y="882"/>
                  </a:lnTo>
                  <a:lnTo>
                    <a:pt x="306" y="882"/>
                  </a:lnTo>
                  <a:lnTo>
                    <a:pt x="300" y="876"/>
                  </a:lnTo>
                  <a:lnTo>
                    <a:pt x="294" y="876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76" y="864"/>
                  </a:lnTo>
                  <a:lnTo>
                    <a:pt x="270" y="870"/>
                  </a:lnTo>
                  <a:lnTo>
                    <a:pt x="264" y="870"/>
                  </a:lnTo>
                  <a:lnTo>
                    <a:pt x="240" y="894"/>
                  </a:lnTo>
                  <a:lnTo>
                    <a:pt x="234" y="894"/>
                  </a:lnTo>
                  <a:lnTo>
                    <a:pt x="228" y="900"/>
                  </a:lnTo>
                  <a:lnTo>
                    <a:pt x="222" y="906"/>
                  </a:lnTo>
                  <a:lnTo>
                    <a:pt x="210" y="912"/>
                  </a:lnTo>
                  <a:lnTo>
                    <a:pt x="204" y="912"/>
                  </a:lnTo>
                  <a:lnTo>
                    <a:pt x="198" y="912"/>
                  </a:lnTo>
                  <a:lnTo>
                    <a:pt x="192" y="918"/>
                  </a:lnTo>
                  <a:lnTo>
                    <a:pt x="180" y="918"/>
                  </a:lnTo>
                  <a:lnTo>
                    <a:pt x="174" y="930"/>
                  </a:lnTo>
                  <a:lnTo>
                    <a:pt x="174" y="936"/>
                  </a:lnTo>
                  <a:lnTo>
                    <a:pt x="168" y="942"/>
                  </a:lnTo>
                  <a:lnTo>
                    <a:pt x="162" y="942"/>
                  </a:lnTo>
                  <a:lnTo>
                    <a:pt x="150" y="960"/>
                  </a:lnTo>
                  <a:lnTo>
                    <a:pt x="144" y="966"/>
                  </a:lnTo>
                  <a:lnTo>
                    <a:pt x="138" y="972"/>
                  </a:lnTo>
                  <a:lnTo>
                    <a:pt x="132" y="972"/>
                  </a:lnTo>
                  <a:lnTo>
                    <a:pt x="126" y="984"/>
                  </a:lnTo>
                  <a:lnTo>
                    <a:pt x="120" y="984"/>
                  </a:lnTo>
                  <a:lnTo>
                    <a:pt x="114" y="990"/>
                  </a:lnTo>
                  <a:lnTo>
                    <a:pt x="96" y="990"/>
                  </a:lnTo>
                  <a:lnTo>
                    <a:pt x="90" y="990"/>
                  </a:lnTo>
                  <a:lnTo>
                    <a:pt x="78" y="990"/>
                  </a:lnTo>
                  <a:lnTo>
                    <a:pt x="72" y="990"/>
                  </a:lnTo>
                  <a:lnTo>
                    <a:pt x="60" y="990"/>
                  </a:lnTo>
                  <a:lnTo>
                    <a:pt x="42" y="990"/>
                  </a:lnTo>
                  <a:lnTo>
                    <a:pt x="36" y="996"/>
                  </a:lnTo>
                  <a:lnTo>
                    <a:pt x="30" y="1002"/>
                  </a:lnTo>
                  <a:lnTo>
                    <a:pt x="24" y="1014"/>
                  </a:lnTo>
                  <a:lnTo>
                    <a:pt x="24" y="1020"/>
                  </a:lnTo>
                  <a:lnTo>
                    <a:pt x="18" y="1020"/>
                  </a:lnTo>
                  <a:lnTo>
                    <a:pt x="12" y="1014"/>
                  </a:lnTo>
                  <a:lnTo>
                    <a:pt x="12" y="1008"/>
                  </a:lnTo>
                  <a:lnTo>
                    <a:pt x="12" y="990"/>
                  </a:lnTo>
                  <a:lnTo>
                    <a:pt x="12" y="984"/>
                  </a:lnTo>
                  <a:lnTo>
                    <a:pt x="12" y="972"/>
                  </a:lnTo>
                  <a:lnTo>
                    <a:pt x="12" y="966"/>
                  </a:lnTo>
                  <a:lnTo>
                    <a:pt x="6" y="966"/>
                  </a:lnTo>
                  <a:lnTo>
                    <a:pt x="6" y="960"/>
                  </a:lnTo>
                  <a:lnTo>
                    <a:pt x="6" y="954"/>
                  </a:lnTo>
                  <a:lnTo>
                    <a:pt x="6" y="948"/>
                  </a:lnTo>
                  <a:lnTo>
                    <a:pt x="6" y="942"/>
                  </a:lnTo>
                  <a:lnTo>
                    <a:pt x="12" y="930"/>
                  </a:lnTo>
                  <a:lnTo>
                    <a:pt x="6" y="924"/>
                  </a:lnTo>
                  <a:lnTo>
                    <a:pt x="6" y="918"/>
                  </a:lnTo>
                  <a:lnTo>
                    <a:pt x="6" y="912"/>
                  </a:lnTo>
                  <a:lnTo>
                    <a:pt x="6" y="906"/>
                  </a:lnTo>
                  <a:lnTo>
                    <a:pt x="6" y="900"/>
                  </a:lnTo>
                  <a:lnTo>
                    <a:pt x="0" y="894"/>
                  </a:lnTo>
                  <a:lnTo>
                    <a:pt x="0" y="888"/>
                  </a:lnTo>
                  <a:lnTo>
                    <a:pt x="0" y="882"/>
                  </a:lnTo>
                  <a:lnTo>
                    <a:pt x="6" y="876"/>
                  </a:lnTo>
                  <a:lnTo>
                    <a:pt x="6" y="870"/>
                  </a:lnTo>
                  <a:lnTo>
                    <a:pt x="18" y="864"/>
                  </a:lnTo>
                  <a:lnTo>
                    <a:pt x="18" y="858"/>
                  </a:lnTo>
                  <a:lnTo>
                    <a:pt x="18" y="846"/>
                  </a:lnTo>
                  <a:lnTo>
                    <a:pt x="18" y="834"/>
                  </a:lnTo>
                  <a:lnTo>
                    <a:pt x="18" y="828"/>
                  </a:lnTo>
                  <a:lnTo>
                    <a:pt x="24" y="828"/>
                  </a:lnTo>
                  <a:lnTo>
                    <a:pt x="24" y="810"/>
                  </a:lnTo>
                  <a:lnTo>
                    <a:pt x="24" y="804"/>
                  </a:lnTo>
                  <a:lnTo>
                    <a:pt x="18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24" y="792"/>
                  </a:lnTo>
                  <a:lnTo>
                    <a:pt x="30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6" y="762"/>
                  </a:lnTo>
                  <a:lnTo>
                    <a:pt x="36" y="756"/>
                  </a:lnTo>
                  <a:lnTo>
                    <a:pt x="30" y="756"/>
                  </a:lnTo>
                  <a:lnTo>
                    <a:pt x="30" y="750"/>
                  </a:lnTo>
                  <a:lnTo>
                    <a:pt x="36" y="750"/>
                  </a:lnTo>
                  <a:lnTo>
                    <a:pt x="36" y="744"/>
                  </a:lnTo>
                  <a:lnTo>
                    <a:pt x="30" y="744"/>
                  </a:lnTo>
                  <a:lnTo>
                    <a:pt x="30" y="738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0" y="732"/>
                  </a:lnTo>
                  <a:lnTo>
                    <a:pt x="36" y="726"/>
                  </a:lnTo>
                  <a:lnTo>
                    <a:pt x="30" y="726"/>
                  </a:lnTo>
                  <a:lnTo>
                    <a:pt x="24" y="726"/>
                  </a:lnTo>
                  <a:lnTo>
                    <a:pt x="30" y="720"/>
                  </a:lnTo>
                  <a:lnTo>
                    <a:pt x="30" y="714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696"/>
                  </a:lnTo>
                  <a:lnTo>
                    <a:pt x="66" y="702"/>
                  </a:lnTo>
                  <a:lnTo>
                    <a:pt x="78" y="702"/>
                  </a:lnTo>
                  <a:lnTo>
                    <a:pt x="84" y="702"/>
                  </a:lnTo>
                  <a:lnTo>
                    <a:pt x="96" y="696"/>
                  </a:lnTo>
                  <a:lnTo>
                    <a:pt x="102" y="690"/>
                  </a:lnTo>
                  <a:lnTo>
                    <a:pt x="102" y="684"/>
                  </a:lnTo>
                  <a:lnTo>
                    <a:pt x="114" y="684"/>
                  </a:lnTo>
                  <a:lnTo>
                    <a:pt x="144" y="684"/>
                  </a:lnTo>
                  <a:lnTo>
                    <a:pt x="150" y="690"/>
                  </a:lnTo>
                  <a:lnTo>
                    <a:pt x="162" y="696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6" y="690"/>
                  </a:lnTo>
                  <a:lnTo>
                    <a:pt x="192" y="690"/>
                  </a:lnTo>
                  <a:lnTo>
                    <a:pt x="198" y="684"/>
                  </a:lnTo>
                  <a:lnTo>
                    <a:pt x="204" y="684"/>
                  </a:lnTo>
                  <a:lnTo>
                    <a:pt x="210" y="684"/>
                  </a:lnTo>
                  <a:lnTo>
                    <a:pt x="222" y="678"/>
                  </a:lnTo>
                  <a:lnTo>
                    <a:pt x="228" y="678"/>
                  </a:lnTo>
                  <a:lnTo>
                    <a:pt x="228" y="660"/>
                  </a:lnTo>
                  <a:lnTo>
                    <a:pt x="234" y="642"/>
                  </a:lnTo>
                  <a:lnTo>
                    <a:pt x="246" y="618"/>
                  </a:lnTo>
                  <a:lnTo>
                    <a:pt x="252" y="618"/>
                  </a:lnTo>
                  <a:lnTo>
                    <a:pt x="252" y="600"/>
                  </a:lnTo>
                  <a:lnTo>
                    <a:pt x="252" y="588"/>
                  </a:lnTo>
                  <a:lnTo>
                    <a:pt x="252" y="582"/>
                  </a:lnTo>
                  <a:lnTo>
                    <a:pt x="258" y="576"/>
                  </a:lnTo>
                  <a:lnTo>
                    <a:pt x="270" y="564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70" y="522"/>
                  </a:lnTo>
                  <a:lnTo>
                    <a:pt x="270" y="510"/>
                  </a:lnTo>
                  <a:lnTo>
                    <a:pt x="270" y="498"/>
                  </a:lnTo>
                  <a:lnTo>
                    <a:pt x="258" y="468"/>
                  </a:lnTo>
                  <a:lnTo>
                    <a:pt x="252" y="456"/>
                  </a:lnTo>
                  <a:lnTo>
                    <a:pt x="258" y="444"/>
                  </a:lnTo>
                  <a:lnTo>
                    <a:pt x="264" y="432"/>
                  </a:lnTo>
                  <a:lnTo>
                    <a:pt x="270" y="426"/>
                  </a:lnTo>
                  <a:lnTo>
                    <a:pt x="276" y="420"/>
                  </a:lnTo>
                  <a:lnTo>
                    <a:pt x="288" y="420"/>
                  </a:lnTo>
                  <a:lnTo>
                    <a:pt x="288" y="414"/>
                  </a:lnTo>
                  <a:lnTo>
                    <a:pt x="294" y="414"/>
                  </a:lnTo>
                  <a:lnTo>
                    <a:pt x="306" y="390"/>
                  </a:lnTo>
                  <a:lnTo>
                    <a:pt x="312" y="384"/>
                  </a:lnTo>
                  <a:lnTo>
                    <a:pt x="318" y="378"/>
                  </a:lnTo>
                  <a:lnTo>
                    <a:pt x="318" y="372"/>
                  </a:lnTo>
                  <a:lnTo>
                    <a:pt x="324" y="366"/>
                  </a:lnTo>
                  <a:lnTo>
                    <a:pt x="330" y="354"/>
                  </a:lnTo>
                  <a:lnTo>
                    <a:pt x="336" y="348"/>
                  </a:lnTo>
                  <a:lnTo>
                    <a:pt x="336" y="330"/>
                  </a:lnTo>
                  <a:lnTo>
                    <a:pt x="342" y="324"/>
                  </a:lnTo>
                  <a:lnTo>
                    <a:pt x="342" y="318"/>
                  </a:lnTo>
                  <a:lnTo>
                    <a:pt x="348" y="318"/>
                  </a:lnTo>
                  <a:lnTo>
                    <a:pt x="360" y="318"/>
                  </a:lnTo>
                  <a:lnTo>
                    <a:pt x="372" y="318"/>
                  </a:lnTo>
                  <a:lnTo>
                    <a:pt x="384" y="306"/>
                  </a:lnTo>
                  <a:lnTo>
                    <a:pt x="396" y="300"/>
                  </a:lnTo>
                  <a:lnTo>
                    <a:pt x="396" y="294"/>
                  </a:lnTo>
                  <a:lnTo>
                    <a:pt x="396" y="288"/>
                  </a:lnTo>
                  <a:lnTo>
                    <a:pt x="390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2"/>
                  </a:lnTo>
                  <a:lnTo>
                    <a:pt x="378" y="246"/>
                  </a:lnTo>
                  <a:lnTo>
                    <a:pt x="384" y="228"/>
                  </a:lnTo>
                  <a:lnTo>
                    <a:pt x="390" y="216"/>
                  </a:lnTo>
                  <a:lnTo>
                    <a:pt x="402" y="210"/>
                  </a:lnTo>
                  <a:lnTo>
                    <a:pt x="408" y="210"/>
                  </a:lnTo>
                  <a:lnTo>
                    <a:pt x="420" y="204"/>
                  </a:lnTo>
                  <a:lnTo>
                    <a:pt x="444" y="198"/>
                  </a:lnTo>
                  <a:lnTo>
                    <a:pt x="462" y="192"/>
                  </a:lnTo>
                  <a:lnTo>
                    <a:pt x="474" y="186"/>
                  </a:lnTo>
                  <a:lnTo>
                    <a:pt x="480" y="192"/>
                  </a:lnTo>
                  <a:lnTo>
                    <a:pt x="492" y="192"/>
                  </a:lnTo>
                  <a:lnTo>
                    <a:pt x="498" y="192"/>
                  </a:lnTo>
                  <a:lnTo>
                    <a:pt x="504" y="192"/>
                  </a:lnTo>
                  <a:lnTo>
                    <a:pt x="510" y="192"/>
                  </a:lnTo>
                  <a:lnTo>
                    <a:pt x="516" y="186"/>
                  </a:lnTo>
                  <a:lnTo>
                    <a:pt x="522" y="180"/>
                  </a:lnTo>
                  <a:lnTo>
                    <a:pt x="522" y="174"/>
                  </a:lnTo>
                  <a:lnTo>
                    <a:pt x="528" y="168"/>
                  </a:lnTo>
                  <a:lnTo>
                    <a:pt x="534" y="168"/>
                  </a:lnTo>
                  <a:lnTo>
                    <a:pt x="534" y="156"/>
                  </a:lnTo>
                  <a:lnTo>
                    <a:pt x="534" y="150"/>
                  </a:lnTo>
                  <a:lnTo>
                    <a:pt x="552" y="138"/>
                  </a:lnTo>
                  <a:lnTo>
                    <a:pt x="558" y="126"/>
                  </a:lnTo>
                  <a:lnTo>
                    <a:pt x="558" y="114"/>
                  </a:lnTo>
                  <a:lnTo>
                    <a:pt x="564" y="102"/>
                  </a:lnTo>
                  <a:lnTo>
                    <a:pt x="564" y="96"/>
                  </a:lnTo>
                  <a:lnTo>
                    <a:pt x="564" y="90"/>
                  </a:lnTo>
                  <a:lnTo>
                    <a:pt x="564" y="72"/>
                  </a:lnTo>
                  <a:lnTo>
                    <a:pt x="564" y="60"/>
                  </a:lnTo>
                  <a:lnTo>
                    <a:pt x="564" y="54"/>
                  </a:lnTo>
                  <a:lnTo>
                    <a:pt x="570" y="42"/>
                  </a:lnTo>
                  <a:lnTo>
                    <a:pt x="576" y="42"/>
                  </a:lnTo>
                  <a:lnTo>
                    <a:pt x="582" y="36"/>
                  </a:lnTo>
                  <a:lnTo>
                    <a:pt x="594" y="36"/>
                  </a:lnTo>
                  <a:lnTo>
                    <a:pt x="594" y="30"/>
                  </a:lnTo>
                  <a:lnTo>
                    <a:pt x="600" y="24"/>
                  </a:lnTo>
                  <a:lnTo>
                    <a:pt x="600" y="12"/>
                  </a:lnTo>
                  <a:lnTo>
                    <a:pt x="606" y="6"/>
                  </a:lnTo>
                  <a:lnTo>
                    <a:pt x="606" y="0"/>
                  </a:lnTo>
                  <a:lnTo>
                    <a:pt x="612" y="0"/>
                  </a:lnTo>
                  <a:lnTo>
                    <a:pt x="618" y="0"/>
                  </a:lnTo>
                  <a:lnTo>
                    <a:pt x="624" y="6"/>
                  </a:lnTo>
                  <a:lnTo>
                    <a:pt x="624" y="12"/>
                  </a:lnTo>
                  <a:lnTo>
                    <a:pt x="624" y="18"/>
                  </a:lnTo>
                  <a:lnTo>
                    <a:pt x="624" y="24"/>
                  </a:lnTo>
                  <a:lnTo>
                    <a:pt x="624" y="30"/>
                  </a:lnTo>
                  <a:lnTo>
                    <a:pt x="630" y="30"/>
                  </a:lnTo>
                  <a:lnTo>
                    <a:pt x="630" y="36"/>
                  </a:lnTo>
                  <a:lnTo>
                    <a:pt x="630" y="42"/>
                  </a:lnTo>
                  <a:lnTo>
                    <a:pt x="630" y="48"/>
                  </a:lnTo>
                  <a:lnTo>
                    <a:pt x="636" y="54"/>
                  </a:lnTo>
                  <a:lnTo>
                    <a:pt x="642" y="48"/>
                  </a:lnTo>
                  <a:lnTo>
                    <a:pt x="648" y="48"/>
                  </a:lnTo>
                  <a:lnTo>
                    <a:pt x="648" y="60"/>
                  </a:lnTo>
                  <a:lnTo>
                    <a:pt x="654" y="66"/>
                  </a:lnTo>
                  <a:lnTo>
                    <a:pt x="660" y="72"/>
                  </a:lnTo>
                  <a:lnTo>
                    <a:pt x="666" y="72"/>
                  </a:lnTo>
                  <a:lnTo>
                    <a:pt x="666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72" y="66"/>
                  </a:lnTo>
                  <a:lnTo>
                    <a:pt x="678" y="66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6" y="66"/>
                  </a:lnTo>
                  <a:lnTo>
                    <a:pt x="696" y="72"/>
                  </a:lnTo>
                  <a:lnTo>
                    <a:pt x="702" y="72"/>
                  </a:lnTo>
                  <a:lnTo>
                    <a:pt x="708" y="72"/>
                  </a:lnTo>
                  <a:lnTo>
                    <a:pt x="720" y="66"/>
                  </a:lnTo>
                  <a:lnTo>
                    <a:pt x="726" y="78"/>
                  </a:lnTo>
                  <a:lnTo>
                    <a:pt x="744" y="84"/>
                  </a:lnTo>
                  <a:lnTo>
                    <a:pt x="744" y="90"/>
                  </a:lnTo>
                  <a:lnTo>
                    <a:pt x="744" y="96"/>
                  </a:lnTo>
                  <a:lnTo>
                    <a:pt x="738" y="96"/>
                  </a:lnTo>
                  <a:lnTo>
                    <a:pt x="738" y="102"/>
                  </a:lnTo>
                  <a:lnTo>
                    <a:pt x="732" y="102"/>
                  </a:lnTo>
                  <a:lnTo>
                    <a:pt x="732" y="108"/>
                  </a:lnTo>
                  <a:lnTo>
                    <a:pt x="738" y="108"/>
                  </a:lnTo>
                  <a:lnTo>
                    <a:pt x="744" y="114"/>
                  </a:lnTo>
                  <a:lnTo>
                    <a:pt x="750" y="108"/>
                  </a:lnTo>
                  <a:lnTo>
                    <a:pt x="756" y="108"/>
                  </a:lnTo>
                  <a:lnTo>
                    <a:pt x="762" y="108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80" y="120"/>
                  </a:lnTo>
                  <a:lnTo>
                    <a:pt x="774" y="120"/>
                  </a:lnTo>
                  <a:lnTo>
                    <a:pt x="768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74" y="138"/>
                  </a:lnTo>
                  <a:lnTo>
                    <a:pt x="774" y="132"/>
                  </a:lnTo>
                  <a:lnTo>
                    <a:pt x="780" y="132"/>
                  </a:lnTo>
                  <a:lnTo>
                    <a:pt x="786" y="132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44"/>
                  </a:lnTo>
                  <a:lnTo>
                    <a:pt x="786" y="150"/>
                  </a:lnTo>
                  <a:lnTo>
                    <a:pt x="780" y="150"/>
                  </a:lnTo>
                  <a:lnTo>
                    <a:pt x="774" y="150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74" y="162"/>
                  </a:lnTo>
                  <a:lnTo>
                    <a:pt x="780" y="162"/>
                  </a:lnTo>
                  <a:lnTo>
                    <a:pt x="786" y="168"/>
                  </a:lnTo>
                  <a:lnTo>
                    <a:pt x="792" y="162"/>
                  </a:lnTo>
                  <a:lnTo>
                    <a:pt x="798" y="168"/>
                  </a:lnTo>
                  <a:lnTo>
                    <a:pt x="798" y="174"/>
                  </a:lnTo>
                  <a:lnTo>
                    <a:pt x="804" y="168"/>
                  </a:lnTo>
                  <a:lnTo>
                    <a:pt x="810" y="168"/>
                  </a:lnTo>
                  <a:lnTo>
                    <a:pt x="810" y="174"/>
                  </a:lnTo>
                  <a:lnTo>
                    <a:pt x="816" y="168"/>
                  </a:lnTo>
                  <a:lnTo>
                    <a:pt x="822" y="162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74"/>
                  </a:lnTo>
                  <a:lnTo>
                    <a:pt x="834" y="192"/>
                  </a:lnTo>
                  <a:lnTo>
                    <a:pt x="834" y="198"/>
                  </a:lnTo>
                  <a:lnTo>
                    <a:pt x="840" y="192"/>
                  </a:lnTo>
                  <a:lnTo>
                    <a:pt x="846" y="192"/>
                  </a:lnTo>
                  <a:lnTo>
                    <a:pt x="852" y="186"/>
                  </a:lnTo>
                  <a:lnTo>
                    <a:pt x="858" y="192"/>
                  </a:lnTo>
                  <a:lnTo>
                    <a:pt x="864" y="192"/>
                  </a:lnTo>
                  <a:lnTo>
                    <a:pt x="870" y="198"/>
                  </a:lnTo>
                  <a:lnTo>
                    <a:pt x="876" y="180"/>
                  </a:lnTo>
                  <a:lnTo>
                    <a:pt x="882" y="180"/>
                  </a:lnTo>
                  <a:lnTo>
                    <a:pt x="888" y="180"/>
                  </a:lnTo>
                  <a:lnTo>
                    <a:pt x="894" y="186"/>
                  </a:lnTo>
                  <a:lnTo>
                    <a:pt x="888" y="198"/>
                  </a:lnTo>
                  <a:lnTo>
                    <a:pt x="894" y="204"/>
                  </a:lnTo>
                  <a:lnTo>
                    <a:pt x="906" y="210"/>
                  </a:lnTo>
                  <a:lnTo>
                    <a:pt x="918" y="246"/>
                  </a:lnTo>
                  <a:lnTo>
                    <a:pt x="930" y="258"/>
                  </a:lnTo>
                  <a:lnTo>
                    <a:pt x="942" y="282"/>
                  </a:lnTo>
                  <a:lnTo>
                    <a:pt x="966" y="288"/>
                  </a:lnTo>
                  <a:lnTo>
                    <a:pt x="972" y="300"/>
                  </a:lnTo>
                  <a:lnTo>
                    <a:pt x="972" y="318"/>
                  </a:lnTo>
                  <a:lnTo>
                    <a:pt x="996" y="336"/>
                  </a:lnTo>
                  <a:lnTo>
                    <a:pt x="1050" y="390"/>
                  </a:lnTo>
                  <a:lnTo>
                    <a:pt x="1116" y="462"/>
                  </a:lnTo>
                  <a:lnTo>
                    <a:pt x="1122" y="468"/>
                  </a:lnTo>
                  <a:lnTo>
                    <a:pt x="1128" y="474"/>
                  </a:lnTo>
                  <a:lnTo>
                    <a:pt x="1140" y="474"/>
                  </a:lnTo>
                  <a:lnTo>
                    <a:pt x="1152" y="486"/>
                  </a:lnTo>
                  <a:lnTo>
                    <a:pt x="1152" y="492"/>
                  </a:lnTo>
                  <a:lnTo>
                    <a:pt x="1158" y="492"/>
                  </a:lnTo>
                  <a:lnTo>
                    <a:pt x="1164" y="492"/>
                  </a:lnTo>
                  <a:lnTo>
                    <a:pt x="1170" y="504"/>
                  </a:lnTo>
                  <a:lnTo>
                    <a:pt x="1176" y="504"/>
                  </a:lnTo>
                  <a:lnTo>
                    <a:pt x="1176" y="510"/>
                  </a:lnTo>
                  <a:lnTo>
                    <a:pt x="1200" y="516"/>
                  </a:lnTo>
                  <a:lnTo>
                    <a:pt x="1200" y="522"/>
                  </a:lnTo>
                  <a:lnTo>
                    <a:pt x="1212" y="534"/>
                  </a:lnTo>
                  <a:lnTo>
                    <a:pt x="1218" y="540"/>
                  </a:lnTo>
                  <a:lnTo>
                    <a:pt x="1224" y="552"/>
                  </a:lnTo>
                  <a:lnTo>
                    <a:pt x="1230" y="552"/>
                  </a:lnTo>
                  <a:lnTo>
                    <a:pt x="1242" y="552"/>
                  </a:lnTo>
                  <a:lnTo>
                    <a:pt x="1248" y="558"/>
                  </a:lnTo>
                  <a:lnTo>
                    <a:pt x="1254" y="558"/>
                  </a:lnTo>
                  <a:lnTo>
                    <a:pt x="1260" y="564"/>
                  </a:lnTo>
                  <a:lnTo>
                    <a:pt x="1266" y="564"/>
                  </a:lnTo>
                  <a:lnTo>
                    <a:pt x="1272" y="564"/>
                  </a:lnTo>
                  <a:lnTo>
                    <a:pt x="1284" y="564"/>
                  </a:lnTo>
                  <a:lnTo>
                    <a:pt x="1290" y="570"/>
                  </a:lnTo>
                  <a:lnTo>
                    <a:pt x="1296" y="576"/>
                  </a:lnTo>
                  <a:lnTo>
                    <a:pt x="1302" y="588"/>
                  </a:lnTo>
                  <a:lnTo>
                    <a:pt x="1296" y="594"/>
                  </a:lnTo>
                  <a:lnTo>
                    <a:pt x="1296" y="600"/>
                  </a:lnTo>
                  <a:lnTo>
                    <a:pt x="1296" y="606"/>
                  </a:lnTo>
                  <a:lnTo>
                    <a:pt x="1290" y="612"/>
                  </a:lnTo>
                  <a:lnTo>
                    <a:pt x="1290" y="624"/>
                  </a:lnTo>
                  <a:lnTo>
                    <a:pt x="1290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308" y="654"/>
                  </a:lnTo>
                  <a:lnTo>
                    <a:pt x="1320" y="654"/>
                  </a:lnTo>
                  <a:lnTo>
                    <a:pt x="1326" y="660"/>
                  </a:lnTo>
                  <a:lnTo>
                    <a:pt x="1338" y="654"/>
                  </a:lnTo>
                  <a:lnTo>
                    <a:pt x="1344" y="654"/>
                  </a:lnTo>
                  <a:lnTo>
                    <a:pt x="1356" y="654"/>
                  </a:lnTo>
                  <a:lnTo>
                    <a:pt x="1362" y="648"/>
                  </a:lnTo>
                  <a:lnTo>
                    <a:pt x="1368" y="642"/>
                  </a:lnTo>
                  <a:lnTo>
                    <a:pt x="1374" y="636"/>
                  </a:lnTo>
                  <a:lnTo>
                    <a:pt x="1380" y="636"/>
                  </a:lnTo>
                  <a:lnTo>
                    <a:pt x="1392" y="636"/>
                  </a:lnTo>
                  <a:lnTo>
                    <a:pt x="1398" y="636"/>
                  </a:lnTo>
                  <a:lnTo>
                    <a:pt x="1404" y="636"/>
                  </a:lnTo>
                  <a:lnTo>
                    <a:pt x="1410" y="630"/>
                  </a:lnTo>
                  <a:lnTo>
                    <a:pt x="1410" y="624"/>
                  </a:lnTo>
                  <a:lnTo>
                    <a:pt x="1422" y="618"/>
                  </a:lnTo>
                  <a:lnTo>
                    <a:pt x="1428" y="618"/>
                  </a:lnTo>
                  <a:lnTo>
                    <a:pt x="1440" y="612"/>
                  </a:lnTo>
                  <a:lnTo>
                    <a:pt x="1446" y="612"/>
                  </a:lnTo>
                  <a:lnTo>
                    <a:pt x="1458" y="612"/>
                  </a:lnTo>
                  <a:lnTo>
                    <a:pt x="1470" y="624"/>
                  </a:lnTo>
                  <a:lnTo>
                    <a:pt x="1488" y="642"/>
                  </a:lnTo>
                  <a:lnTo>
                    <a:pt x="1500" y="648"/>
                  </a:lnTo>
                  <a:lnTo>
                    <a:pt x="1512" y="654"/>
                  </a:lnTo>
                  <a:lnTo>
                    <a:pt x="1518" y="660"/>
                  </a:lnTo>
                  <a:lnTo>
                    <a:pt x="1524" y="660"/>
                  </a:lnTo>
                  <a:lnTo>
                    <a:pt x="1530" y="660"/>
                  </a:lnTo>
                  <a:lnTo>
                    <a:pt x="1536" y="666"/>
                  </a:lnTo>
                  <a:lnTo>
                    <a:pt x="1542" y="672"/>
                  </a:lnTo>
                  <a:lnTo>
                    <a:pt x="1548" y="672"/>
                  </a:lnTo>
                  <a:lnTo>
                    <a:pt x="1554" y="684"/>
                  </a:lnTo>
                  <a:lnTo>
                    <a:pt x="1554" y="690"/>
                  </a:lnTo>
                  <a:lnTo>
                    <a:pt x="1566" y="702"/>
                  </a:lnTo>
                  <a:lnTo>
                    <a:pt x="1572" y="720"/>
                  </a:lnTo>
                  <a:lnTo>
                    <a:pt x="1572" y="726"/>
                  </a:lnTo>
                  <a:lnTo>
                    <a:pt x="1578" y="732"/>
                  </a:lnTo>
                  <a:lnTo>
                    <a:pt x="1584" y="738"/>
                  </a:lnTo>
                  <a:lnTo>
                    <a:pt x="1590" y="738"/>
                  </a:lnTo>
                  <a:lnTo>
                    <a:pt x="1596" y="738"/>
                  </a:lnTo>
                  <a:lnTo>
                    <a:pt x="1602" y="744"/>
                  </a:lnTo>
                  <a:lnTo>
                    <a:pt x="1608" y="744"/>
                  </a:lnTo>
                  <a:lnTo>
                    <a:pt x="1614" y="744"/>
                  </a:lnTo>
                  <a:lnTo>
                    <a:pt x="1626" y="744"/>
                  </a:lnTo>
                  <a:lnTo>
                    <a:pt x="1638" y="744"/>
                  </a:lnTo>
                  <a:lnTo>
                    <a:pt x="1650" y="744"/>
                  </a:lnTo>
                  <a:lnTo>
                    <a:pt x="1662" y="744"/>
                  </a:lnTo>
                  <a:lnTo>
                    <a:pt x="1668" y="744"/>
                  </a:lnTo>
                  <a:lnTo>
                    <a:pt x="1674" y="744"/>
                  </a:lnTo>
                  <a:lnTo>
                    <a:pt x="1686" y="744"/>
                  </a:lnTo>
                  <a:lnTo>
                    <a:pt x="1698" y="750"/>
                  </a:lnTo>
                  <a:lnTo>
                    <a:pt x="1704" y="750"/>
                  </a:lnTo>
                  <a:lnTo>
                    <a:pt x="1716" y="756"/>
                  </a:lnTo>
                  <a:lnTo>
                    <a:pt x="1722" y="756"/>
                  </a:lnTo>
                  <a:lnTo>
                    <a:pt x="1728" y="756"/>
                  </a:lnTo>
                  <a:lnTo>
                    <a:pt x="1734" y="762"/>
                  </a:lnTo>
                  <a:lnTo>
                    <a:pt x="1740" y="768"/>
                  </a:lnTo>
                  <a:lnTo>
                    <a:pt x="1758" y="780"/>
                  </a:lnTo>
                  <a:lnTo>
                    <a:pt x="1770" y="780"/>
                  </a:lnTo>
                  <a:lnTo>
                    <a:pt x="1776" y="780"/>
                  </a:lnTo>
                  <a:lnTo>
                    <a:pt x="1782" y="780"/>
                  </a:lnTo>
                  <a:lnTo>
                    <a:pt x="1800" y="798"/>
                  </a:lnTo>
                  <a:lnTo>
                    <a:pt x="1818" y="810"/>
                  </a:lnTo>
                  <a:lnTo>
                    <a:pt x="1830" y="816"/>
                  </a:lnTo>
                  <a:lnTo>
                    <a:pt x="1836" y="822"/>
                  </a:lnTo>
                  <a:lnTo>
                    <a:pt x="1836" y="828"/>
                  </a:lnTo>
                  <a:lnTo>
                    <a:pt x="1842" y="828"/>
                  </a:lnTo>
                  <a:lnTo>
                    <a:pt x="1848" y="834"/>
                  </a:lnTo>
                  <a:lnTo>
                    <a:pt x="1854" y="840"/>
                  </a:lnTo>
                  <a:lnTo>
                    <a:pt x="1860" y="846"/>
                  </a:lnTo>
                  <a:lnTo>
                    <a:pt x="1872" y="852"/>
                  </a:lnTo>
                  <a:lnTo>
                    <a:pt x="1884" y="852"/>
                  </a:lnTo>
                  <a:lnTo>
                    <a:pt x="1896" y="852"/>
                  </a:lnTo>
                  <a:lnTo>
                    <a:pt x="1902" y="846"/>
                  </a:lnTo>
                  <a:lnTo>
                    <a:pt x="1908" y="852"/>
                  </a:lnTo>
                  <a:lnTo>
                    <a:pt x="1920" y="858"/>
                  </a:lnTo>
                  <a:lnTo>
                    <a:pt x="1926" y="870"/>
                  </a:lnTo>
                  <a:lnTo>
                    <a:pt x="1938" y="888"/>
                  </a:lnTo>
                  <a:lnTo>
                    <a:pt x="1944" y="900"/>
                  </a:lnTo>
                  <a:lnTo>
                    <a:pt x="1950" y="900"/>
                  </a:lnTo>
                  <a:lnTo>
                    <a:pt x="1962" y="906"/>
                  </a:lnTo>
                  <a:lnTo>
                    <a:pt x="1968" y="906"/>
                  </a:lnTo>
                  <a:lnTo>
                    <a:pt x="1980" y="906"/>
                  </a:lnTo>
                  <a:lnTo>
                    <a:pt x="1998" y="906"/>
                  </a:lnTo>
                  <a:lnTo>
                    <a:pt x="2010" y="900"/>
                  </a:lnTo>
                  <a:lnTo>
                    <a:pt x="2022" y="900"/>
                  </a:lnTo>
                  <a:lnTo>
                    <a:pt x="2028" y="900"/>
                  </a:lnTo>
                  <a:lnTo>
                    <a:pt x="2034" y="906"/>
                  </a:lnTo>
                  <a:lnTo>
                    <a:pt x="2046" y="906"/>
                  </a:lnTo>
                  <a:lnTo>
                    <a:pt x="2052" y="900"/>
                  </a:lnTo>
                  <a:lnTo>
                    <a:pt x="2058" y="900"/>
                  </a:lnTo>
                  <a:lnTo>
                    <a:pt x="2064" y="900"/>
                  </a:lnTo>
                  <a:lnTo>
                    <a:pt x="2070" y="900"/>
                  </a:lnTo>
                  <a:lnTo>
                    <a:pt x="2076" y="900"/>
                  </a:lnTo>
                  <a:lnTo>
                    <a:pt x="2076" y="906"/>
                  </a:lnTo>
                  <a:lnTo>
                    <a:pt x="2088" y="906"/>
                  </a:lnTo>
                  <a:lnTo>
                    <a:pt x="2106" y="900"/>
                  </a:lnTo>
                  <a:lnTo>
                    <a:pt x="2118" y="900"/>
                  </a:lnTo>
                  <a:lnTo>
                    <a:pt x="2130" y="900"/>
                  </a:lnTo>
                  <a:lnTo>
                    <a:pt x="2142" y="900"/>
                  </a:lnTo>
                  <a:lnTo>
                    <a:pt x="2148" y="906"/>
                  </a:lnTo>
                  <a:lnTo>
                    <a:pt x="2154" y="906"/>
                  </a:lnTo>
                  <a:lnTo>
                    <a:pt x="2160" y="906"/>
                  </a:lnTo>
                  <a:lnTo>
                    <a:pt x="2166" y="906"/>
                  </a:lnTo>
                  <a:lnTo>
                    <a:pt x="2178" y="918"/>
                  </a:lnTo>
                  <a:lnTo>
                    <a:pt x="2178" y="924"/>
                  </a:lnTo>
                  <a:lnTo>
                    <a:pt x="2184" y="924"/>
                  </a:lnTo>
                  <a:lnTo>
                    <a:pt x="2190" y="924"/>
                  </a:lnTo>
                  <a:lnTo>
                    <a:pt x="2196" y="924"/>
                  </a:lnTo>
                  <a:lnTo>
                    <a:pt x="2202" y="918"/>
                  </a:lnTo>
                  <a:lnTo>
                    <a:pt x="2208" y="918"/>
                  </a:lnTo>
                  <a:lnTo>
                    <a:pt x="2214" y="918"/>
                  </a:lnTo>
                  <a:lnTo>
                    <a:pt x="2226" y="918"/>
                  </a:lnTo>
                  <a:lnTo>
                    <a:pt x="2220" y="948"/>
                  </a:lnTo>
                  <a:lnTo>
                    <a:pt x="2214" y="972"/>
                  </a:lnTo>
                  <a:lnTo>
                    <a:pt x="2214" y="984"/>
                  </a:lnTo>
                  <a:lnTo>
                    <a:pt x="2208" y="990"/>
                  </a:lnTo>
                  <a:lnTo>
                    <a:pt x="2208" y="996"/>
                  </a:lnTo>
                  <a:lnTo>
                    <a:pt x="2202" y="996"/>
                  </a:lnTo>
                  <a:lnTo>
                    <a:pt x="2196" y="996"/>
                  </a:lnTo>
                  <a:lnTo>
                    <a:pt x="2190" y="1008"/>
                  </a:lnTo>
                  <a:lnTo>
                    <a:pt x="2172" y="1074"/>
                  </a:lnTo>
                  <a:lnTo>
                    <a:pt x="2166" y="1092"/>
                  </a:lnTo>
                  <a:lnTo>
                    <a:pt x="2172" y="1110"/>
                  </a:lnTo>
                  <a:lnTo>
                    <a:pt x="2172" y="1122"/>
                  </a:lnTo>
                  <a:lnTo>
                    <a:pt x="2166" y="1134"/>
                  </a:lnTo>
                  <a:lnTo>
                    <a:pt x="2148" y="1140"/>
                  </a:lnTo>
                  <a:lnTo>
                    <a:pt x="2148" y="1134"/>
                  </a:lnTo>
                  <a:lnTo>
                    <a:pt x="2118" y="1140"/>
                  </a:lnTo>
                  <a:lnTo>
                    <a:pt x="2088" y="1134"/>
                  </a:lnTo>
                  <a:lnTo>
                    <a:pt x="2064" y="1122"/>
                  </a:lnTo>
                  <a:lnTo>
                    <a:pt x="2034" y="1122"/>
                  </a:lnTo>
                  <a:lnTo>
                    <a:pt x="2022" y="1128"/>
                  </a:lnTo>
                  <a:lnTo>
                    <a:pt x="1986" y="1128"/>
                  </a:lnTo>
                  <a:lnTo>
                    <a:pt x="1938" y="1122"/>
                  </a:lnTo>
                  <a:lnTo>
                    <a:pt x="1932" y="1116"/>
                  </a:lnTo>
                  <a:lnTo>
                    <a:pt x="1896" y="1110"/>
                  </a:lnTo>
                  <a:lnTo>
                    <a:pt x="1878" y="1104"/>
                  </a:lnTo>
                  <a:lnTo>
                    <a:pt x="1866" y="1098"/>
                  </a:lnTo>
                  <a:lnTo>
                    <a:pt x="1860" y="1098"/>
                  </a:lnTo>
                  <a:lnTo>
                    <a:pt x="1854" y="1092"/>
                  </a:lnTo>
                  <a:lnTo>
                    <a:pt x="1860" y="1092"/>
                  </a:lnTo>
                  <a:lnTo>
                    <a:pt x="1860" y="1086"/>
                  </a:lnTo>
                  <a:lnTo>
                    <a:pt x="1854" y="1086"/>
                  </a:lnTo>
                  <a:lnTo>
                    <a:pt x="1842" y="1080"/>
                  </a:lnTo>
                  <a:lnTo>
                    <a:pt x="1818" y="1062"/>
                  </a:lnTo>
                  <a:lnTo>
                    <a:pt x="1782" y="1056"/>
                  </a:lnTo>
                  <a:lnTo>
                    <a:pt x="1770" y="1068"/>
                  </a:lnTo>
                  <a:lnTo>
                    <a:pt x="1746" y="1098"/>
                  </a:lnTo>
                  <a:lnTo>
                    <a:pt x="1722" y="1104"/>
                  </a:lnTo>
                  <a:lnTo>
                    <a:pt x="1710" y="1122"/>
                  </a:lnTo>
                  <a:lnTo>
                    <a:pt x="1710" y="1128"/>
                  </a:lnTo>
                  <a:lnTo>
                    <a:pt x="1710" y="1140"/>
                  </a:lnTo>
                  <a:lnTo>
                    <a:pt x="1698" y="1146"/>
                  </a:lnTo>
                  <a:lnTo>
                    <a:pt x="1686" y="1152"/>
                  </a:lnTo>
                  <a:lnTo>
                    <a:pt x="1680" y="1164"/>
                  </a:lnTo>
                  <a:lnTo>
                    <a:pt x="1680" y="1170"/>
                  </a:lnTo>
                  <a:lnTo>
                    <a:pt x="1686" y="1170"/>
                  </a:lnTo>
                  <a:lnTo>
                    <a:pt x="1686" y="1176"/>
                  </a:lnTo>
                  <a:lnTo>
                    <a:pt x="1698" y="1188"/>
                  </a:lnTo>
                  <a:lnTo>
                    <a:pt x="1704" y="1188"/>
                  </a:lnTo>
                  <a:lnTo>
                    <a:pt x="1698" y="1194"/>
                  </a:lnTo>
                  <a:lnTo>
                    <a:pt x="1704" y="1194"/>
                  </a:lnTo>
                  <a:lnTo>
                    <a:pt x="1704" y="1200"/>
                  </a:lnTo>
                  <a:lnTo>
                    <a:pt x="1704" y="1206"/>
                  </a:lnTo>
                  <a:lnTo>
                    <a:pt x="1704" y="1212"/>
                  </a:lnTo>
                  <a:lnTo>
                    <a:pt x="1704" y="1218"/>
                  </a:lnTo>
                  <a:lnTo>
                    <a:pt x="1710" y="1218"/>
                  </a:lnTo>
                  <a:lnTo>
                    <a:pt x="1710" y="1212"/>
                  </a:lnTo>
                  <a:lnTo>
                    <a:pt x="1716" y="1212"/>
                  </a:lnTo>
                  <a:lnTo>
                    <a:pt x="1716" y="1218"/>
                  </a:lnTo>
                  <a:lnTo>
                    <a:pt x="1716" y="1224"/>
                  </a:lnTo>
                  <a:lnTo>
                    <a:pt x="1716" y="1230"/>
                  </a:lnTo>
                  <a:lnTo>
                    <a:pt x="1722" y="1236"/>
                  </a:lnTo>
                  <a:lnTo>
                    <a:pt x="1740" y="1230"/>
                  </a:lnTo>
                  <a:lnTo>
                    <a:pt x="1734" y="1236"/>
                  </a:lnTo>
                  <a:lnTo>
                    <a:pt x="1734" y="1242"/>
                  </a:lnTo>
                  <a:lnTo>
                    <a:pt x="1734" y="1248"/>
                  </a:lnTo>
                  <a:lnTo>
                    <a:pt x="1734" y="1254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52" y="1266"/>
                  </a:lnTo>
                  <a:lnTo>
                    <a:pt x="1764" y="1266"/>
                  </a:lnTo>
                  <a:lnTo>
                    <a:pt x="1788" y="1260"/>
                  </a:lnTo>
                  <a:lnTo>
                    <a:pt x="1800" y="1260"/>
                  </a:lnTo>
                  <a:lnTo>
                    <a:pt x="1806" y="1272"/>
                  </a:lnTo>
                  <a:lnTo>
                    <a:pt x="1806" y="1296"/>
                  </a:lnTo>
                  <a:lnTo>
                    <a:pt x="1800" y="1308"/>
                  </a:lnTo>
                  <a:lnTo>
                    <a:pt x="1788" y="1308"/>
                  </a:lnTo>
                  <a:lnTo>
                    <a:pt x="1782" y="13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7" name="Freeform 32">
              <a:extLst>
                <a:ext uri="{FF2B5EF4-FFF2-40B4-BE49-F238E27FC236}">
                  <a16:creationId xmlns:a16="http://schemas.microsoft.com/office/drawing/2014/main" id="{1EF84438-BF7A-47D2-9156-E231EA2A279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3295" y="2316568"/>
              <a:ext cx="1290281" cy="1084704"/>
            </a:xfrm>
            <a:custGeom>
              <a:avLst/>
              <a:gdLst>
                <a:gd name="T0" fmla="*/ 177 w 2430"/>
                <a:gd name="T1" fmla="*/ 169 h 2040"/>
                <a:gd name="T2" fmla="*/ 174 w 2430"/>
                <a:gd name="T3" fmla="*/ 173 h 2040"/>
                <a:gd name="T4" fmla="*/ 169 w 2430"/>
                <a:gd name="T5" fmla="*/ 171 h 2040"/>
                <a:gd name="T6" fmla="*/ 160 w 2430"/>
                <a:gd name="T7" fmla="*/ 163 h 2040"/>
                <a:gd name="T8" fmla="*/ 154 w 2430"/>
                <a:gd name="T9" fmla="*/ 149 h 2040"/>
                <a:gd name="T10" fmla="*/ 144 w 2430"/>
                <a:gd name="T11" fmla="*/ 147 h 2040"/>
                <a:gd name="T12" fmla="*/ 133 w 2430"/>
                <a:gd name="T13" fmla="*/ 146 h 2040"/>
                <a:gd name="T14" fmla="*/ 121 w 2430"/>
                <a:gd name="T15" fmla="*/ 145 h 2040"/>
                <a:gd name="T16" fmla="*/ 110 w 2430"/>
                <a:gd name="T17" fmla="*/ 137 h 2040"/>
                <a:gd name="T18" fmla="*/ 97 w 2430"/>
                <a:gd name="T19" fmla="*/ 131 h 2040"/>
                <a:gd name="T20" fmla="*/ 87 w 2430"/>
                <a:gd name="T21" fmla="*/ 125 h 2040"/>
                <a:gd name="T22" fmla="*/ 75 w 2430"/>
                <a:gd name="T23" fmla="*/ 122 h 2040"/>
                <a:gd name="T24" fmla="*/ 65 w 2430"/>
                <a:gd name="T25" fmla="*/ 122 h 2040"/>
                <a:gd name="T26" fmla="*/ 59 w 2430"/>
                <a:gd name="T27" fmla="*/ 115 h 2040"/>
                <a:gd name="T28" fmla="*/ 50 w 2430"/>
                <a:gd name="T29" fmla="*/ 107 h 2040"/>
                <a:gd name="T30" fmla="*/ 28 w 2430"/>
                <a:gd name="T31" fmla="*/ 84 h 2040"/>
                <a:gd name="T32" fmla="*/ 22 w 2430"/>
                <a:gd name="T33" fmla="*/ 82 h 2040"/>
                <a:gd name="T34" fmla="*/ 20 w 2430"/>
                <a:gd name="T35" fmla="*/ 79 h 2040"/>
                <a:gd name="T36" fmla="*/ 16 w 2430"/>
                <a:gd name="T37" fmla="*/ 76 h 2040"/>
                <a:gd name="T38" fmla="*/ 11 w 2430"/>
                <a:gd name="T39" fmla="*/ 74 h 2040"/>
                <a:gd name="T40" fmla="*/ 7 w 2430"/>
                <a:gd name="T41" fmla="*/ 69 h 2040"/>
                <a:gd name="T42" fmla="*/ 0 w 2430"/>
                <a:gd name="T43" fmla="*/ 60 h 2040"/>
                <a:gd name="T44" fmla="*/ 10 w 2430"/>
                <a:gd name="T45" fmla="*/ 53 h 2040"/>
                <a:gd name="T46" fmla="*/ 15 w 2430"/>
                <a:gd name="T47" fmla="*/ 40 h 2040"/>
                <a:gd name="T48" fmla="*/ 9 w 2430"/>
                <a:gd name="T49" fmla="*/ 29 h 2040"/>
                <a:gd name="T50" fmla="*/ 7 w 2430"/>
                <a:gd name="T51" fmla="*/ 16 h 2040"/>
                <a:gd name="T52" fmla="*/ 18 w 2430"/>
                <a:gd name="T53" fmla="*/ 21 h 2040"/>
                <a:gd name="T54" fmla="*/ 48 w 2430"/>
                <a:gd name="T55" fmla="*/ 27 h 2040"/>
                <a:gd name="T56" fmla="*/ 62 w 2430"/>
                <a:gd name="T57" fmla="*/ 25 h 2040"/>
                <a:gd name="T58" fmla="*/ 59 w 2430"/>
                <a:gd name="T59" fmla="*/ 42 h 2040"/>
                <a:gd name="T60" fmla="*/ 54 w 2430"/>
                <a:gd name="T61" fmla="*/ 65 h 2040"/>
                <a:gd name="T62" fmla="*/ 65 w 2430"/>
                <a:gd name="T63" fmla="*/ 60 h 2040"/>
                <a:gd name="T64" fmla="*/ 68 w 2430"/>
                <a:gd name="T65" fmla="*/ 40 h 2040"/>
                <a:gd name="T66" fmla="*/ 75 w 2430"/>
                <a:gd name="T67" fmla="*/ 36 h 2040"/>
                <a:gd name="T68" fmla="*/ 83 w 2430"/>
                <a:gd name="T69" fmla="*/ 29 h 2040"/>
                <a:gd name="T70" fmla="*/ 81 w 2430"/>
                <a:gd name="T71" fmla="*/ 17 h 2040"/>
                <a:gd name="T72" fmla="*/ 66 w 2430"/>
                <a:gd name="T73" fmla="*/ 7 h 2040"/>
                <a:gd name="T74" fmla="*/ 80 w 2430"/>
                <a:gd name="T75" fmla="*/ 5 h 2040"/>
                <a:gd name="T76" fmla="*/ 89 w 2430"/>
                <a:gd name="T77" fmla="*/ 1 h 2040"/>
                <a:gd name="T78" fmla="*/ 101 w 2430"/>
                <a:gd name="T79" fmla="*/ 10 h 2040"/>
                <a:gd name="T80" fmla="*/ 103 w 2430"/>
                <a:gd name="T81" fmla="*/ 18 h 2040"/>
                <a:gd name="T82" fmla="*/ 110 w 2430"/>
                <a:gd name="T83" fmla="*/ 23 h 2040"/>
                <a:gd name="T84" fmla="*/ 121 w 2430"/>
                <a:gd name="T85" fmla="*/ 20 h 2040"/>
                <a:gd name="T86" fmla="*/ 129 w 2430"/>
                <a:gd name="T87" fmla="*/ 15 h 2040"/>
                <a:gd name="T88" fmla="*/ 142 w 2430"/>
                <a:gd name="T89" fmla="*/ 23 h 2040"/>
                <a:gd name="T90" fmla="*/ 141 w 2430"/>
                <a:gd name="T91" fmla="*/ 30 h 2040"/>
                <a:gd name="T92" fmla="*/ 140 w 2430"/>
                <a:gd name="T93" fmla="*/ 38 h 2040"/>
                <a:gd name="T94" fmla="*/ 139 w 2430"/>
                <a:gd name="T95" fmla="*/ 46 h 2040"/>
                <a:gd name="T96" fmla="*/ 147 w 2430"/>
                <a:gd name="T97" fmla="*/ 54 h 2040"/>
                <a:gd name="T98" fmla="*/ 152 w 2430"/>
                <a:gd name="T99" fmla="*/ 50 h 2040"/>
                <a:gd name="T100" fmla="*/ 159 w 2430"/>
                <a:gd name="T101" fmla="*/ 43 h 2040"/>
                <a:gd name="T102" fmla="*/ 174 w 2430"/>
                <a:gd name="T103" fmla="*/ 41 h 2040"/>
                <a:gd name="T104" fmla="*/ 190 w 2430"/>
                <a:gd name="T105" fmla="*/ 57 h 2040"/>
                <a:gd name="T106" fmla="*/ 187 w 2430"/>
                <a:gd name="T107" fmla="*/ 66 h 2040"/>
                <a:gd name="T108" fmla="*/ 183 w 2430"/>
                <a:gd name="T109" fmla="*/ 72 h 2040"/>
                <a:gd name="T110" fmla="*/ 194 w 2430"/>
                <a:gd name="T111" fmla="*/ 73 h 2040"/>
                <a:gd name="T112" fmla="*/ 202 w 2430"/>
                <a:gd name="T113" fmla="*/ 74 h 2040"/>
                <a:gd name="T114" fmla="*/ 204 w 2430"/>
                <a:gd name="T115" fmla="*/ 89 h 2040"/>
                <a:gd name="T116" fmla="*/ 208 w 2430"/>
                <a:gd name="T117" fmla="*/ 99 h 2040"/>
                <a:gd name="T118" fmla="*/ 203 w 2430"/>
                <a:gd name="T119" fmla="*/ 103 h 2040"/>
                <a:gd name="T120" fmla="*/ 209 w 2430"/>
                <a:gd name="T121" fmla="*/ 111 h 2040"/>
                <a:gd name="T122" fmla="*/ 204 w 2430"/>
                <a:gd name="T123" fmla="*/ 124 h 2040"/>
                <a:gd name="T124" fmla="*/ 190 w 2430"/>
                <a:gd name="T125" fmla="*/ 117 h 20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30"/>
                <a:gd name="T190" fmla="*/ 0 h 2040"/>
                <a:gd name="T191" fmla="*/ 2430 w 2430"/>
                <a:gd name="T192" fmla="*/ 2040 h 20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30" h="2040">
                  <a:moveTo>
                    <a:pt x="2076" y="1896"/>
                  </a:moveTo>
                  <a:lnTo>
                    <a:pt x="2070" y="1896"/>
                  </a:lnTo>
                  <a:lnTo>
                    <a:pt x="2070" y="1902"/>
                  </a:lnTo>
                  <a:lnTo>
                    <a:pt x="2076" y="1902"/>
                  </a:lnTo>
                  <a:lnTo>
                    <a:pt x="2082" y="1902"/>
                  </a:lnTo>
                  <a:lnTo>
                    <a:pt x="2082" y="1908"/>
                  </a:lnTo>
                  <a:lnTo>
                    <a:pt x="2076" y="1908"/>
                  </a:lnTo>
                  <a:lnTo>
                    <a:pt x="2076" y="1914"/>
                  </a:lnTo>
                  <a:lnTo>
                    <a:pt x="2070" y="1920"/>
                  </a:lnTo>
                  <a:lnTo>
                    <a:pt x="2064" y="1932"/>
                  </a:lnTo>
                  <a:lnTo>
                    <a:pt x="2064" y="1938"/>
                  </a:lnTo>
                  <a:lnTo>
                    <a:pt x="2058" y="1938"/>
                  </a:lnTo>
                  <a:lnTo>
                    <a:pt x="2052" y="1944"/>
                  </a:lnTo>
                  <a:lnTo>
                    <a:pt x="2052" y="1950"/>
                  </a:lnTo>
                  <a:lnTo>
                    <a:pt x="2040" y="1944"/>
                  </a:lnTo>
                  <a:lnTo>
                    <a:pt x="2040" y="1950"/>
                  </a:lnTo>
                  <a:lnTo>
                    <a:pt x="2034" y="1956"/>
                  </a:lnTo>
                  <a:lnTo>
                    <a:pt x="2034" y="1962"/>
                  </a:lnTo>
                  <a:lnTo>
                    <a:pt x="2028" y="1962"/>
                  </a:lnTo>
                  <a:lnTo>
                    <a:pt x="2022" y="1962"/>
                  </a:lnTo>
                  <a:lnTo>
                    <a:pt x="2022" y="1968"/>
                  </a:lnTo>
                  <a:lnTo>
                    <a:pt x="2028" y="1974"/>
                  </a:lnTo>
                  <a:lnTo>
                    <a:pt x="2034" y="1980"/>
                  </a:lnTo>
                  <a:lnTo>
                    <a:pt x="2028" y="1986"/>
                  </a:lnTo>
                  <a:lnTo>
                    <a:pt x="2022" y="1992"/>
                  </a:lnTo>
                  <a:lnTo>
                    <a:pt x="2022" y="1986"/>
                  </a:lnTo>
                  <a:lnTo>
                    <a:pt x="2016" y="1986"/>
                  </a:lnTo>
                  <a:lnTo>
                    <a:pt x="2010" y="1980"/>
                  </a:lnTo>
                  <a:lnTo>
                    <a:pt x="2004" y="1980"/>
                  </a:lnTo>
                  <a:lnTo>
                    <a:pt x="2004" y="1986"/>
                  </a:lnTo>
                  <a:lnTo>
                    <a:pt x="2010" y="1992"/>
                  </a:lnTo>
                  <a:lnTo>
                    <a:pt x="2010" y="1998"/>
                  </a:lnTo>
                  <a:lnTo>
                    <a:pt x="2004" y="2004"/>
                  </a:lnTo>
                  <a:lnTo>
                    <a:pt x="1998" y="2004"/>
                  </a:lnTo>
                  <a:lnTo>
                    <a:pt x="1998" y="2022"/>
                  </a:lnTo>
                  <a:lnTo>
                    <a:pt x="1998" y="2028"/>
                  </a:lnTo>
                  <a:lnTo>
                    <a:pt x="1992" y="2034"/>
                  </a:lnTo>
                  <a:lnTo>
                    <a:pt x="1992" y="2040"/>
                  </a:lnTo>
                  <a:lnTo>
                    <a:pt x="1986" y="2040"/>
                  </a:lnTo>
                  <a:lnTo>
                    <a:pt x="1986" y="2034"/>
                  </a:lnTo>
                  <a:lnTo>
                    <a:pt x="1980" y="2028"/>
                  </a:lnTo>
                  <a:lnTo>
                    <a:pt x="1980" y="2022"/>
                  </a:lnTo>
                  <a:lnTo>
                    <a:pt x="1968" y="2016"/>
                  </a:lnTo>
                  <a:lnTo>
                    <a:pt x="1962" y="2010"/>
                  </a:lnTo>
                  <a:lnTo>
                    <a:pt x="1956" y="2004"/>
                  </a:lnTo>
                  <a:lnTo>
                    <a:pt x="1950" y="1992"/>
                  </a:lnTo>
                  <a:lnTo>
                    <a:pt x="1950" y="1986"/>
                  </a:lnTo>
                  <a:lnTo>
                    <a:pt x="1950" y="1974"/>
                  </a:lnTo>
                  <a:lnTo>
                    <a:pt x="1944" y="1974"/>
                  </a:lnTo>
                  <a:lnTo>
                    <a:pt x="1932" y="1962"/>
                  </a:lnTo>
                  <a:lnTo>
                    <a:pt x="1932" y="1956"/>
                  </a:lnTo>
                  <a:lnTo>
                    <a:pt x="1932" y="1950"/>
                  </a:lnTo>
                  <a:lnTo>
                    <a:pt x="1920" y="1944"/>
                  </a:lnTo>
                  <a:lnTo>
                    <a:pt x="1914" y="1944"/>
                  </a:lnTo>
                  <a:lnTo>
                    <a:pt x="1908" y="1938"/>
                  </a:lnTo>
                  <a:lnTo>
                    <a:pt x="1902" y="1926"/>
                  </a:lnTo>
                  <a:lnTo>
                    <a:pt x="1890" y="1914"/>
                  </a:lnTo>
                  <a:lnTo>
                    <a:pt x="1884" y="1914"/>
                  </a:lnTo>
                  <a:lnTo>
                    <a:pt x="1878" y="1908"/>
                  </a:lnTo>
                  <a:lnTo>
                    <a:pt x="1872" y="1902"/>
                  </a:lnTo>
                  <a:lnTo>
                    <a:pt x="1872" y="1896"/>
                  </a:lnTo>
                  <a:lnTo>
                    <a:pt x="1866" y="1890"/>
                  </a:lnTo>
                  <a:lnTo>
                    <a:pt x="1854" y="1884"/>
                  </a:lnTo>
                  <a:lnTo>
                    <a:pt x="1848" y="1884"/>
                  </a:lnTo>
                  <a:lnTo>
                    <a:pt x="1842" y="1872"/>
                  </a:lnTo>
                  <a:lnTo>
                    <a:pt x="1836" y="1872"/>
                  </a:lnTo>
                  <a:lnTo>
                    <a:pt x="1830" y="1866"/>
                  </a:lnTo>
                  <a:lnTo>
                    <a:pt x="1830" y="1854"/>
                  </a:lnTo>
                  <a:lnTo>
                    <a:pt x="1824" y="1848"/>
                  </a:lnTo>
                  <a:lnTo>
                    <a:pt x="1818" y="1830"/>
                  </a:lnTo>
                  <a:lnTo>
                    <a:pt x="1818" y="1818"/>
                  </a:lnTo>
                  <a:lnTo>
                    <a:pt x="1812" y="1800"/>
                  </a:lnTo>
                  <a:lnTo>
                    <a:pt x="1812" y="1788"/>
                  </a:lnTo>
                  <a:lnTo>
                    <a:pt x="1806" y="1776"/>
                  </a:lnTo>
                  <a:lnTo>
                    <a:pt x="1800" y="1764"/>
                  </a:lnTo>
                  <a:lnTo>
                    <a:pt x="1794" y="1758"/>
                  </a:lnTo>
                  <a:lnTo>
                    <a:pt x="1782" y="1740"/>
                  </a:lnTo>
                  <a:lnTo>
                    <a:pt x="1776" y="1728"/>
                  </a:lnTo>
                  <a:lnTo>
                    <a:pt x="1776" y="1722"/>
                  </a:lnTo>
                  <a:lnTo>
                    <a:pt x="1770" y="1722"/>
                  </a:lnTo>
                  <a:lnTo>
                    <a:pt x="1770" y="1716"/>
                  </a:lnTo>
                  <a:lnTo>
                    <a:pt x="1764" y="1716"/>
                  </a:lnTo>
                  <a:lnTo>
                    <a:pt x="1758" y="1710"/>
                  </a:lnTo>
                  <a:lnTo>
                    <a:pt x="1752" y="1704"/>
                  </a:lnTo>
                  <a:lnTo>
                    <a:pt x="1746" y="1704"/>
                  </a:lnTo>
                  <a:lnTo>
                    <a:pt x="1740" y="1704"/>
                  </a:lnTo>
                  <a:lnTo>
                    <a:pt x="1734" y="1704"/>
                  </a:lnTo>
                  <a:lnTo>
                    <a:pt x="1734" y="1698"/>
                  </a:lnTo>
                  <a:lnTo>
                    <a:pt x="1728" y="1692"/>
                  </a:lnTo>
                  <a:lnTo>
                    <a:pt x="1722" y="1686"/>
                  </a:lnTo>
                  <a:lnTo>
                    <a:pt x="1716" y="1686"/>
                  </a:lnTo>
                  <a:lnTo>
                    <a:pt x="1698" y="1686"/>
                  </a:lnTo>
                  <a:lnTo>
                    <a:pt x="1692" y="1692"/>
                  </a:lnTo>
                  <a:lnTo>
                    <a:pt x="1680" y="1692"/>
                  </a:lnTo>
                  <a:lnTo>
                    <a:pt x="1668" y="1692"/>
                  </a:lnTo>
                  <a:lnTo>
                    <a:pt x="1662" y="1692"/>
                  </a:lnTo>
                  <a:lnTo>
                    <a:pt x="1656" y="1692"/>
                  </a:lnTo>
                  <a:lnTo>
                    <a:pt x="1650" y="1698"/>
                  </a:lnTo>
                  <a:lnTo>
                    <a:pt x="1644" y="1698"/>
                  </a:lnTo>
                  <a:lnTo>
                    <a:pt x="1638" y="1698"/>
                  </a:lnTo>
                  <a:lnTo>
                    <a:pt x="1632" y="1698"/>
                  </a:lnTo>
                  <a:lnTo>
                    <a:pt x="1632" y="1692"/>
                  </a:lnTo>
                  <a:lnTo>
                    <a:pt x="1620" y="1680"/>
                  </a:lnTo>
                  <a:lnTo>
                    <a:pt x="1614" y="1680"/>
                  </a:lnTo>
                  <a:lnTo>
                    <a:pt x="1608" y="1680"/>
                  </a:lnTo>
                  <a:lnTo>
                    <a:pt x="1602" y="1680"/>
                  </a:lnTo>
                  <a:lnTo>
                    <a:pt x="1596" y="1674"/>
                  </a:lnTo>
                  <a:lnTo>
                    <a:pt x="1584" y="1674"/>
                  </a:lnTo>
                  <a:lnTo>
                    <a:pt x="1572" y="1674"/>
                  </a:lnTo>
                  <a:lnTo>
                    <a:pt x="1560" y="1674"/>
                  </a:lnTo>
                  <a:lnTo>
                    <a:pt x="1542" y="1680"/>
                  </a:lnTo>
                  <a:lnTo>
                    <a:pt x="1530" y="1680"/>
                  </a:lnTo>
                  <a:lnTo>
                    <a:pt x="1530" y="1674"/>
                  </a:lnTo>
                  <a:lnTo>
                    <a:pt x="1524" y="1674"/>
                  </a:lnTo>
                  <a:lnTo>
                    <a:pt x="1518" y="1674"/>
                  </a:lnTo>
                  <a:lnTo>
                    <a:pt x="1512" y="1674"/>
                  </a:lnTo>
                  <a:lnTo>
                    <a:pt x="1506" y="1674"/>
                  </a:lnTo>
                  <a:lnTo>
                    <a:pt x="1500" y="1680"/>
                  </a:lnTo>
                  <a:lnTo>
                    <a:pt x="1488" y="1680"/>
                  </a:lnTo>
                  <a:lnTo>
                    <a:pt x="1482" y="1674"/>
                  </a:lnTo>
                  <a:lnTo>
                    <a:pt x="1476" y="1674"/>
                  </a:lnTo>
                  <a:lnTo>
                    <a:pt x="1464" y="1674"/>
                  </a:lnTo>
                  <a:lnTo>
                    <a:pt x="1452" y="1680"/>
                  </a:lnTo>
                  <a:lnTo>
                    <a:pt x="1434" y="1680"/>
                  </a:lnTo>
                  <a:lnTo>
                    <a:pt x="1422" y="1680"/>
                  </a:lnTo>
                  <a:lnTo>
                    <a:pt x="1416" y="1680"/>
                  </a:lnTo>
                  <a:lnTo>
                    <a:pt x="1404" y="1674"/>
                  </a:lnTo>
                  <a:lnTo>
                    <a:pt x="1398" y="1674"/>
                  </a:lnTo>
                  <a:lnTo>
                    <a:pt x="1392" y="1662"/>
                  </a:lnTo>
                  <a:lnTo>
                    <a:pt x="1380" y="1644"/>
                  </a:lnTo>
                  <a:lnTo>
                    <a:pt x="1374" y="1632"/>
                  </a:lnTo>
                  <a:lnTo>
                    <a:pt x="1362" y="1626"/>
                  </a:lnTo>
                  <a:lnTo>
                    <a:pt x="1356" y="1620"/>
                  </a:lnTo>
                  <a:lnTo>
                    <a:pt x="1350" y="1626"/>
                  </a:lnTo>
                  <a:lnTo>
                    <a:pt x="1338" y="1626"/>
                  </a:lnTo>
                  <a:lnTo>
                    <a:pt x="1326" y="1626"/>
                  </a:lnTo>
                  <a:lnTo>
                    <a:pt x="1314" y="1620"/>
                  </a:lnTo>
                  <a:lnTo>
                    <a:pt x="1308" y="1614"/>
                  </a:lnTo>
                  <a:lnTo>
                    <a:pt x="1302" y="1608"/>
                  </a:lnTo>
                  <a:lnTo>
                    <a:pt x="1296" y="1602"/>
                  </a:lnTo>
                  <a:lnTo>
                    <a:pt x="1290" y="1602"/>
                  </a:lnTo>
                  <a:lnTo>
                    <a:pt x="1290" y="1596"/>
                  </a:lnTo>
                  <a:lnTo>
                    <a:pt x="1284" y="1590"/>
                  </a:lnTo>
                  <a:lnTo>
                    <a:pt x="1272" y="1584"/>
                  </a:lnTo>
                  <a:lnTo>
                    <a:pt x="1254" y="1572"/>
                  </a:lnTo>
                  <a:lnTo>
                    <a:pt x="1236" y="1554"/>
                  </a:lnTo>
                  <a:lnTo>
                    <a:pt x="1230" y="1554"/>
                  </a:lnTo>
                  <a:lnTo>
                    <a:pt x="1224" y="1554"/>
                  </a:lnTo>
                  <a:lnTo>
                    <a:pt x="1212" y="1554"/>
                  </a:lnTo>
                  <a:lnTo>
                    <a:pt x="1194" y="1542"/>
                  </a:lnTo>
                  <a:lnTo>
                    <a:pt x="1188" y="1536"/>
                  </a:lnTo>
                  <a:lnTo>
                    <a:pt x="1182" y="1530"/>
                  </a:lnTo>
                  <a:lnTo>
                    <a:pt x="1176" y="1530"/>
                  </a:lnTo>
                  <a:lnTo>
                    <a:pt x="1170" y="1530"/>
                  </a:lnTo>
                  <a:lnTo>
                    <a:pt x="1158" y="1524"/>
                  </a:lnTo>
                  <a:lnTo>
                    <a:pt x="1152" y="1524"/>
                  </a:lnTo>
                  <a:lnTo>
                    <a:pt x="1140" y="1518"/>
                  </a:lnTo>
                  <a:lnTo>
                    <a:pt x="1128" y="1518"/>
                  </a:lnTo>
                  <a:lnTo>
                    <a:pt x="1122" y="1518"/>
                  </a:lnTo>
                  <a:lnTo>
                    <a:pt x="1116" y="1518"/>
                  </a:lnTo>
                  <a:lnTo>
                    <a:pt x="1104" y="1518"/>
                  </a:lnTo>
                  <a:lnTo>
                    <a:pt x="1092" y="1518"/>
                  </a:lnTo>
                  <a:lnTo>
                    <a:pt x="1080" y="1518"/>
                  </a:lnTo>
                  <a:lnTo>
                    <a:pt x="1068" y="1518"/>
                  </a:lnTo>
                  <a:lnTo>
                    <a:pt x="1062" y="1518"/>
                  </a:lnTo>
                  <a:lnTo>
                    <a:pt x="1056" y="1518"/>
                  </a:lnTo>
                  <a:lnTo>
                    <a:pt x="1050" y="1512"/>
                  </a:lnTo>
                  <a:lnTo>
                    <a:pt x="1044" y="1512"/>
                  </a:lnTo>
                  <a:lnTo>
                    <a:pt x="1038" y="1512"/>
                  </a:lnTo>
                  <a:lnTo>
                    <a:pt x="1032" y="1506"/>
                  </a:lnTo>
                  <a:lnTo>
                    <a:pt x="1026" y="1500"/>
                  </a:lnTo>
                  <a:lnTo>
                    <a:pt x="1026" y="1494"/>
                  </a:lnTo>
                  <a:lnTo>
                    <a:pt x="1020" y="1476"/>
                  </a:lnTo>
                  <a:lnTo>
                    <a:pt x="1008" y="1464"/>
                  </a:lnTo>
                  <a:lnTo>
                    <a:pt x="1008" y="1458"/>
                  </a:lnTo>
                  <a:lnTo>
                    <a:pt x="1002" y="1446"/>
                  </a:lnTo>
                  <a:lnTo>
                    <a:pt x="996" y="1446"/>
                  </a:lnTo>
                  <a:lnTo>
                    <a:pt x="990" y="1440"/>
                  </a:lnTo>
                  <a:lnTo>
                    <a:pt x="984" y="1434"/>
                  </a:lnTo>
                  <a:lnTo>
                    <a:pt x="978" y="1434"/>
                  </a:lnTo>
                  <a:lnTo>
                    <a:pt x="972" y="1434"/>
                  </a:lnTo>
                  <a:lnTo>
                    <a:pt x="966" y="1428"/>
                  </a:lnTo>
                  <a:lnTo>
                    <a:pt x="954" y="1422"/>
                  </a:lnTo>
                  <a:lnTo>
                    <a:pt x="942" y="1416"/>
                  </a:lnTo>
                  <a:lnTo>
                    <a:pt x="924" y="1398"/>
                  </a:lnTo>
                  <a:lnTo>
                    <a:pt x="912" y="1386"/>
                  </a:lnTo>
                  <a:lnTo>
                    <a:pt x="900" y="1386"/>
                  </a:lnTo>
                  <a:lnTo>
                    <a:pt x="894" y="1386"/>
                  </a:lnTo>
                  <a:lnTo>
                    <a:pt x="882" y="1392"/>
                  </a:lnTo>
                  <a:lnTo>
                    <a:pt x="876" y="1392"/>
                  </a:lnTo>
                  <a:lnTo>
                    <a:pt x="864" y="1398"/>
                  </a:lnTo>
                  <a:lnTo>
                    <a:pt x="864" y="1404"/>
                  </a:lnTo>
                  <a:lnTo>
                    <a:pt x="858" y="1410"/>
                  </a:lnTo>
                  <a:lnTo>
                    <a:pt x="852" y="1410"/>
                  </a:lnTo>
                  <a:lnTo>
                    <a:pt x="846" y="1410"/>
                  </a:lnTo>
                  <a:lnTo>
                    <a:pt x="834" y="1410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10" y="1428"/>
                  </a:lnTo>
                  <a:lnTo>
                    <a:pt x="798" y="1428"/>
                  </a:lnTo>
                  <a:lnTo>
                    <a:pt x="792" y="1428"/>
                  </a:lnTo>
                  <a:lnTo>
                    <a:pt x="780" y="1434"/>
                  </a:lnTo>
                  <a:lnTo>
                    <a:pt x="774" y="1428"/>
                  </a:lnTo>
                  <a:lnTo>
                    <a:pt x="762" y="1428"/>
                  </a:lnTo>
                  <a:lnTo>
                    <a:pt x="756" y="1422"/>
                  </a:lnTo>
                  <a:lnTo>
                    <a:pt x="750" y="1416"/>
                  </a:lnTo>
                  <a:lnTo>
                    <a:pt x="744" y="1410"/>
                  </a:lnTo>
                  <a:lnTo>
                    <a:pt x="744" y="1398"/>
                  </a:lnTo>
                  <a:lnTo>
                    <a:pt x="744" y="1386"/>
                  </a:lnTo>
                  <a:lnTo>
                    <a:pt x="750" y="1380"/>
                  </a:lnTo>
                  <a:lnTo>
                    <a:pt x="750" y="1374"/>
                  </a:lnTo>
                  <a:lnTo>
                    <a:pt x="750" y="1368"/>
                  </a:lnTo>
                  <a:lnTo>
                    <a:pt x="756" y="1362"/>
                  </a:lnTo>
                  <a:lnTo>
                    <a:pt x="750" y="1350"/>
                  </a:lnTo>
                  <a:lnTo>
                    <a:pt x="744" y="1344"/>
                  </a:lnTo>
                  <a:lnTo>
                    <a:pt x="738" y="1338"/>
                  </a:lnTo>
                  <a:lnTo>
                    <a:pt x="726" y="1338"/>
                  </a:lnTo>
                  <a:lnTo>
                    <a:pt x="720" y="1338"/>
                  </a:lnTo>
                  <a:lnTo>
                    <a:pt x="714" y="1338"/>
                  </a:lnTo>
                  <a:lnTo>
                    <a:pt x="708" y="1332"/>
                  </a:lnTo>
                  <a:lnTo>
                    <a:pt x="702" y="1332"/>
                  </a:lnTo>
                  <a:lnTo>
                    <a:pt x="696" y="1326"/>
                  </a:lnTo>
                  <a:lnTo>
                    <a:pt x="684" y="1326"/>
                  </a:lnTo>
                  <a:lnTo>
                    <a:pt x="678" y="1326"/>
                  </a:lnTo>
                  <a:lnTo>
                    <a:pt x="672" y="1314"/>
                  </a:lnTo>
                  <a:lnTo>
                    <a:pt x="666" y="1308"/>
                  </a:lnTo>
                  <a:lnTo>
                    <a:pt x="654" y="1296"/>
                  </a:lnTo>
                  <a:lnTo>
                    <a:pt x="654" y="1290"/>
                  </a:lnTo>
                  <a:lnTo>
                    <a:pt x="630" y="1284"/>
                  </a:lnTo>
                  <a:lnTo>
                    <a:pt x="630" y="1278"/>
                  </a:lnTo>
                  <a:lnTo>
                    <a:pt x="624" y="1278"/>
                  </a:lnTo>
                  <a:lnTo>
                    <a:pt x="618" y="1266"/>
                  </a:lnTo>
                  <a:lnTo>
                    <a:pt x="612" y="1266"/>
                  </a:lnTo>
                  <a:lnTo>
                    <a:pt x="606" y="1266"/>
                  </a:lnTo>
                  <a:lnTo>
                    <a:pt x="606" y="1260"/>
                  </a:lnTo>
                  <a:lnTo>
                    <a:pt x="594" y="1248"/>
                  </a:lnTo>
                  <a:lnTo>
                    <a:pt x="582" y="1248"/>
                  </a:lnTo>
                  <a:lnTo>
                    <a:pt x="576" y="1242"/>
                  </a:lnTo>
                  <a:lnTo>
                    <a:pt x="570" y="1236"/>
                  </a:lnTo>
                  <a:lnTo>
                    <a:pt x="504" y="1164"/>
                  </a:lnTo>
                  <a:lnTo>
                    <a:pt x="450" y="1110"/>
                  </a:lnTo>
                  <a:lnTo>
                    <a:pt x="426" y="1092"/>
                  </a:lnTo>
                  <a:lnTo>
                    <a:pt x="426" y="1074"/>
                  </a:lnTo>
                  <a:lnTo>
                    <a:pt x="420" y="1062"/>
                  </a:lnTo>
                  <a:lnTo>
                    <a:pt x="396" y="1056"/>
                  </a:lnTo>
                  <a:lnTo>
                    <a:pt x="384" y="1032"/>
                  </a:lnTo>
                  <a:lnTo>
                    <a:pt x="372" y="1020"/>
                  </a:lnTo>
                  <a:lnTo>
                    <a:pt x="360" y="984"/>
                  </a:lnTo>
                  <a:lnTo>
                    <a:pt x="348" y="978"/>
                  </a:lnTo>
                  <a:lnTo>
                    <a:pt x="342" y="972"/>
                  </a:lnTo>
                  <a:lnTo>
                    <a:pt x="348" y="960"/>
                  </a:lnTo>
                  <a:lnTo>
                    <a:pt x="342" y="954"/>
                  </a:lnTo>
                  <a:lnTo>
                    <a:pt x="336" y="954"/>
                  </a:lnTo>
                  <a:lnTo>
                    <a:pt x="330" y="954"/>
                  </a:lnTo>
                  <a:lnTo>
                    <a:pt x="324" y="972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0" y="966"/>
                  </a:lnTo>
                  <a:lnTo>
                    <a:pt x="294" y="966"/>
                  </a:lnTo>
                  <a:lnTo>
                    <a:pt x="288" y="972"/>
                  </a:lnTo>
                  <a:lnTo>
                    <a:pt x="288" y="966"/>
                  </a:lnTo>
                  <a:lnTo>
                    <a:pt x="282" y="948"/>
                  </a:lnTo>
                  <a:lnTo>
                    <a:pt x="282" y="942"/>
                  </a:lnTo>
                  <a:lnTo>
                    <a:pt x="276" y="942"/>
                  </a:lnTo>
                  <a:lnTo>
                    <a:pt x="276" y="936"/>
                  </a:lnTo>
                  <a:lnTo>
                    <a:pt x="270" y="942"/>
                  </a:lnTo>
                  <a:lnTo>
                    <a:pt x="264" y="948"/>
                  </a:lnTo>
                  <a:lnTo>
                    <a:pt x="264" y="942"/>
                  </a:lnTo>
                  <a:lnTo>
                    <a:pt x="258" y="942"/>
                  </a:lnTo>
                  <a:lnTo>
                    <a:pt x="252" y="948"/>
                  </a:lnTo>
                  <a:lnTo>
                    <a:pt x="252" y="942"/>
                  </a:lnTo>
                  <a:lnTo>
                    <a:pt x="246" y="936"/>
                  </a:lnTo>
                  <a:lnTo>
                    <a:pt x="240" y="942"/>
                  </a:lnTo>
                  <a:lnTo>
                    <a:pt x="234" y="936"/>
                  </a:lnTo>
                  <a:lnTo>
                    <a:pt x="228" y="936"/>
                  </a:lnTo>
                  <a:lnTo>
                    <a:pt x="222" y="936"/>
                  </a:lnTo>
                  <a:lnTo>
                    <a:pt x="222" y="930"/>
                  </a:lnTo>
                  <a:lnTo>
                    <a:pt x="222" y="924"/>
                  </a:lnTo>
                  <a:lnTo>
                    <a:pt x="228" y="924"/>
                  </a:lnTo>
                  <a:lnTo>
                    <a:pt x="234" y="924"/>
                  </a:lnTo>
                  <a:lnTo>
                    <a:pt x="240" y="924"/>
                  </a:lnTo>
                  <a:lnTo>
                    <a:pt x="240" y="918"/>
                  </a:lnTo>
                  <a:lnTo>
                    <a:pt x="246" y="918"/>
                  </a:lnTo>
                  <a:lnTo>
                    <a:pt x="246" y="912"/>
                  </a:lnTo>
                  <a:lnTo>
                    <a:pt x="240" y="906"/>
                  </a:lnTo>
                  <a:lnTo>
                    <a:pt x="234" y="906"/>
                  </a:lnTo>
                  <a:lnTo>
                    <a:pt x="228" y="906"/>
                  </a:lnTo>
                  <a:lnTo>
                    <a:pt x="228" y="912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8" y="894"/>
                  </a:lnTo>
                  <a:lnTo>
                    <a:pt x="234" y="894"/>
                  </a:lnTo>
                  <a:lnTo>
                    <a:pt x="228" y="888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198" y="888"/>
                  </a:lnTo>
                  <a:lnTo>
                    <a:pt x="192" y="882"/>
                  </a:lnTo>
                  <a:lnTo>
                    <a:pt x="186" y="882"/>
                  </a:lnTo>
                  <a:lnTo>
                    <a:pt x="186" y="876"/>
                  </a:lnTo>
                  <a:lnTo>
                    <a:pt x="192" y="876"/>
                  </a:lnTo>
                  <a:lnTo>
                    <a:pt x="192" y="870"/>
                  </a:lnTo>
                  <a:lnTo>
                    <a:pt x="198" y="870"/>
                  </a:lnTo>
                  <a:lnTo>
                    <a:pt x="198" y="864"/>
                  </a:lnTo>
                  <a:lnTo>
                    <a:pt x="198" y="858"/>
                  </a:lnTo>
                  <a:lnTo>
                    <a:pt x="180" y="852"/>
                  </a:lnTo>
                  <a:lnTo>
                    <a:pt x="174" y="840"/>
                  </a:lnTo>
                  <a:lnTo>
                    <a:pt x="162" y="846"/>
                  </a:lnTo>
                  <a:lnTo>
                    <a:pt x="156" y="846"/>
                  </a:lnTo>
                  <a:lnTo>
                    <a:pt x="150" y="846"/>
                  </a:lnTo>
                  <a:lnTo>
                    <a:pt x="150" y="840"/>
                  </a:lnTo>
                  <a:lnTo>
                    <a:pt x="138" y="834"/>
                  </a:lnTo>
                  <a:lnTo>
                    <a:pt x="132" y="834"/>
                  </a:lnTo>
                  <a:lnTo>
                    <a:pt x="132" y="840"/>
                  </a:lnTo>
                  <a:lnTo>
                    <a:pt x="126" y="840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58"/>
                  </a:lnTo>
                  <a:lnTo>
                    <a:pt x="120" y="846"/>
                  </a:lnTo>
                  <a:lnTo>
                    <a:pt x="114" y="846"/>
                  </a:lnTo>
                  <a:lnTo>
                    <a:pt x="108" y="840"/>
                  </a:lnTo>
                  <a:lnTo>
                    <a:pt x="102" y="834"/>
                  </a:lnTo>
                  <a:lnTo>
                    <a:pt x="102" y="822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78" y="804"/>
                  </a:lnTo>
                  <a:lnTo>
                    <a:pt x="78" y="798"/>
                  </a:lnTo>
                  <a:lnTo>
                    <a:pt x="78" y="792"/>
                  </a:lnTo>
                  <a:lnTo>
                    <a:pt x="78" y="786"/>
                  </a:lnTo>
                  <a:lnTo>
                    <a:pt x="78" y="780"/>
                  </a:lnTo>
                  <a:lnTo>
                    <a:pt x="72" y="774"/>
                  </a:lnTo>
                  <a:lnTo>
                    <a:pt x="66" y="774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60" y="762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6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2" y="666"/>
                  </a:lnTo>
                  <a:lnTo>
                    <a:pt x="18" y="648"/>
                  </a:lnTo>
                  <a:lnTo>
                    <a:pt x="24" y="636"/>
                  </a:lnTo>
                  <a:lnTo>
                    <a:pt x="30" y="630"/>
                  </a:lnTo>
                  <a:lnTo>
                    <a:pt x="30" y="624"/>
                  </a:lnTo>
                  <a:lnTo>
                    <a:pt x="30" y="612"/>
                  </a:lnTo>
                  <a:lnTo>
                    <a:pt x="30" y="606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66" y="582"/>
                  </a:lnTo>
                  <a:lnTo>
                    <a:pt x="72" y="588"/>
                  </a:lnTo>
                  <a:lnTo>
                    <a:pt x="84" y="594"/>
                  </a:lnTo>
                  <a:lnTo>
                    <a:pt x="90" y="600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14" y="612"/>
                  </a:lnTo>
                  <a:lnTo>
                    <a:pt x="120" y="612"/>
                  </a:lnTo>
                  <a:lnTo>
                    <a:pt x="126" y="618"/>
                  </a:lnTo>
                  <a:lnTo>
                    <a:pt x="138" y="594"/>
                  </a:lnTo>
                  <a:lnTo>
                    <a:pt x="138" y="582"/>
                  </a:lnTo>
                  <a:lnTo>
                    <a:pt x="138" y="570"/>
                  </a:lnTo>
                  <a:lnTo>
                    <a:pt x="138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50" y="528"/>
                  </a:lnTo>
                  <a:lnTo>
                    <a:pt x="156" y="510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62"/>
                  </a:lnTo>
                  <a:lnTo>
                    <a:pt x="168" y="450"/>
                  </a:lnTo>
                  <a:lnTo>
                    <a:pt x="168" y="444"/>
                  </a:lnTo>
                  <a:lnTo>
                    <a:pt x="162" y="432"/>
                  </a:lnTo>
                  <a:lnTo>
                    <a:pt x="162" y="426"/>
                  </a:lnTo>
                  <a:lnTo>
                    <a:pt x="156" y="420"/>
                  </a:lnTo>
                  <a:lnTo>
                    <a:pt x="144" y="414"/>
                  </a:lnTo>
                  <a:lnTo>
                    <a:pt x="132" y="402"/>
                  </a:lnTo>
                  <a:lnTo>
                    <a:pt x="126" y="390"/>
                  </a:lnTo>
                  <a:lnTo>
                    <a:pt x="120" y="384"/>
                  </a:lnTo>
                  <a:lnTo>
                    <a:pt x="120" y="372"/>
                  </a:lnTo>
                  <a:lnTo>
                    <a:pt x="114" y="360"/>
                  </a:lnTo>
                  <a:lnTo>
                    <a:pt x="108" y="360"/>
                  </a:lnTo>
                  <a:lnTo>
                    <a:pt x="108" y="354"/>
                  </a:lnTo>
                  <a:lnTo>
                    <a:pt x="102" y="348"/>
                  </a:lnTo>
                  <a:lnTo>
                    <a:pt x="102" y="342"/>
                  </a:lnTo>
                  <a:lnTo>
                    <a:pt x="108" y="330"/>
                  </a:lnTo>
                  <a:lnTo>
                    <a:pt x="114" y="312"/>
                  </a:lnTo>
                  <a:lnTo>
                    <a:pt x="114" y="300"/>
                  </a:lnTo>
                  <a:lnTo>
                    <a:pt x="120" y="288"/>
                  </a:lnTo>
                  <a:lnTo>
                    <a:pt x="120" y="282"/>
                  </a:lnTo>
                  <a:lnTo>
                    <a:pt x="114" y="270"/>
                  </a:lnTo>
                  <a:lnTo>
                    <a:pt x="114" y="258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84" y="222"/>
                  </a:lnTo>
                  <a:lnTo>
                    <a:pt x="84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84" y="186"/>
                  </a:lnTo>
                  <a:lnTo>
                    <a:pt x="84" y="180"/>
                  </a:lnTo>
                  <a:lnTo>
                    <a:pt x="108" y="174"/>
                  </a:lnTo>
                  <a:lnTo>
                    <a:pt x="132" y="186"/>
                  </a:lnTo>
                  <a:lnTo>
                    <a:pt x="138" y="192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56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74" y="204"/>
                  </a:lnTo>
                  <a:lnTo>
                    <a:pt x="180" y="216"/>
                  </a:lnTo>
                  <a:lnTo>
                    <a:pt x="186" y="228"/>
                  </a:lnTo>
                  <a:lnTo>
                    <a:pt x="192" y="234"/>
                  </a:lnTo>
                  <a:lnTo>
                    <a:pt x="198" y="234"/>
                  </a:lnTo>
                  <a:lnTo>
                    <a:pt x="204" y="240"/>
                  </a:lnTo>
                  <a:lnTo>
                    <a:pt x="210" y="240"/>
                  </a:lnTo>
                  <a:lnTo>
                    <a:pt x="216" y="240"/>
                  </a:lnTo>
                  <a:lnTo>
                    <a:pt x="222" y="240"/>
                  </a:lnTo>
                  <a:lnTo>
                    <a:pt x="228" y="246"/>
                  </a:lnTo>
                  <a:lnTo>
                    <a:pt x="234" y="246"/>
                  </a:lnTo>
                  <a:lnTo>
                    <a:pt x="240" y="246"/>
                  </a:lnTo>
                  <a:lnTo>
                    <a:pt x="252" y="252"/>
                  </a:lnTo>
                  <a:lnTo>
                    <a:pt x="330" y="246"/>
                  </a:lnTo>
                  <a:lnTo>
                    <a:pt x="360" y="228"/>
                  </a:lnTo>
                  <a:lnTo>
                    <a:pt x="396" y="228"/>
                  </a:lnTo>
                  <a:lnTo>
                    <a:pt x="402" y="240"/>
                  </a:lnTo>
                  <a:lnTo>
                    <a:pt x="432" y="240"/>
                  </a:lnTo>
                  <a:lnTo>
                    <a:pt x="450" y="258"/>
                  </a:lnTo>
                  <a:lnTo>
                    <a:pt x="468" y="258"/>
                  </a:lnTo>
                  <a:lnTo>
                    <a:pt x="474" y="294"/>
                  </a:lnTo>
                  <a:lnTo>
                    <a:pt x="558" y="318"/>
                  </a:lnTo>
                  <a:lnTo>
                    <a:pt x="588" y="318"/>
                  </a:lnTo>
                  <a:lnTo>
                    <a:pt x="588" y="312"/>
                  </a:lnTo>
                  <a:lnTo>
                    <a:pt x="594" y="306"/>
                  </a:lnTo>
                  <a:lnTo>
                    <a:pt x="600" y="306"/>
                  </a:lnTo>
                  <a:lnTo>
                    <a:pt x="612" y="300"/>
                  </a:lnTo>
                  <a:lnTo>
                    <a:pt x="618" y="300"/>
                  </a:lnTo>
                  <a:lnTo>
                    <a:pt x="630" y="300"/>
                  </a:lnTo>
                  <a:lnTo>
                    <a:pt x="642" y="306"/>
                  </a:lnTo>
                  <a:lnTo>
                    <a:pt x="660" y="306"/>
                  </a:lnTo>
                  <a:lnTo>
                    <a:pt x="666" y="306"/>
                  </a:lnTo>
                  <a:lnTo>
                    <a:pt x="672" y="306"/>
                  </a:lnTo>
                  <a:lnTo>
                    <a:pt x="684" y="300"/>
                  </a:lnTo>
                  <a:lnTo>
                    <a:pt x="696" y="294"/>
                  </a:lnTo>
                  <a:lnTo>
                    <a:pt x="702" y="288"/>
                  </a:lnTo>
                  <a:lnTo>
                    <a:pt x="714" y="282"/>
                  </a:lnTo>
                  <a:lnTo>
                    <a:pt x="714" y="288"/>
                  </a:lnTo>
                  <a:lnTo>
                    <a:pt x="726" y="300"/>
                  </a:lnTo>
                  <a:lnTo>
                    <a:pt x="732" y="306"/>
                  </a:lnTo>
                  <a:lnTo>
                    <a:pt x="732" y="318"/>
                  </a:lnTo>
                  <a:lnTo>
                    <a:pt x="732" y="330"/>
                  </a:lnTo>
                  <a:lnTo>
                    <a:pt x="726" y="342"/>
                  </a:lnTo>
                  <a:lnTo>
                    <a:pt x="720" y="354"/>
                  </a:lnTo>
                  <a:lnTo>
                    <a:pt x="720" y="360"/>
                  </a:lnTo>
                  <a:lnTo>
                    <a:pt x="714" y="372"/>
                  </a:lnTo>
                  <a:lnTo>
                    <a:pt x="714" y="378"/>
                  </a:lnTo>
                  <a:lnTo>
                    <a:pt x="714" y="408"/>
                  </a:lnTo>
                  <a:lnTo>
                    <a:pt x="708" y="420"/>
                  </a:lnTo>
                  <a:lnTo>
                    <a:pt x="714" y="432"/>
                  </a:lnTo>
                  <a:lnTo>
                    <a:pt x="708" y="450"/>
                  </a:lnTo>
                  <a:lnTo>
                    <a:pt x="708" y="468"/>
                  </a:lnTo>
                  <a:lnTo>
                    <a:pt x="696" y="480"/>
                  </a:lnTo>
                  <a:lnTo>
                    <a:pt x="684" y="486"/>
                  </a:lnTo>
                  <a:lnTo>
                    <a:pt x="672" y="492"/>
                  </a:lnTo>
                  <a:lnTo>
                    <a:pt x="660" y="498"/>
                  </a:lnTo>
                  <a:lnTo>
                    <a:pt x="654" y="510"/>
                  </a:lnTo>
                  <a:lnTo>
                    <a:pt x="648" y="516"/>
                  </a:lnTo>
                  <a:lnTo>
                    <a:pt x="642" y="522"/>
                  </a:lnTo>
                  <a:lnTo>
                    <a:pt x="630" y="522"/>
                  </a:lnTo>
                  <a:lnTo>
                    <a:pt x="624" y="528"/>
                  </a:lnTo>
                  <a:lnTo>
                    <a:pt x="618" y="540"/>
                  </a:lnTo>
                  <a:lnTo>
                    <a:pt x="618" y="558"/>
                  </a:lnTo>
                  <a:lnTo>
                    <a:pt x="612" y="576"/>
                  </a:lnTo>
                  <a:lnTo>
                    <a:pt x="612" y="684"/>
                  </a:lnTo>
                  <a:lnTo>
                    <a:pt x="618" y="696"/>
                  </a:lnTo>
                  <a:lnTo>
                    <a:pt x="636" y="696"/>
                  </a:lnTo>
                  <a:lnTo>
                    <a:pt x="636" y="720"/>
                  </a:lnTo>
                  <a:lnTo>
                    <a:pt x="636" y="732"/>
                  </a:lnTo>
                  <a:lnTo>
                    <a:pt x="618" y="750"/>
                  </a:lnTo>
                  <a:lnTo>
                    <a:pt x="606" y="762"/>
                  </a:lnTo>
                  <a:lnTo>
                    <a:pt x="600" y="774"/>
                  </a:lnTo>
                  <a:lnTo>
                    <a:pt x="594" y="798"/>
                  </a:lnTo>
                  <a:lnTo>
                    <a:pt x="606" y="798"/>
                  </a:lnTo>
                  <a:lnTo>
                    <a:pt x="660" y="792"/>
                  </a:lnTo>
                  <a:lnTo>
                    <a:pt x="696" y="798"/>
                  </a:lnTo>
                  <a:lnTo>
                    <a:pt x="720" y="798"/>
                  </a:lnTo>
                  <a:lnTo>
                    <a:pt x="720" y="786"/>
                  </a:lnTo>
                  <a:lnTo>
                    <a:pt x="720" y="774"/>
                  </a:lnTo>
                  <a:lnTo>
                    <a:pt x="702" y="762"/>
                  </a:lnTo>
                  <a:lnTo>
                    <a:pt x="702" y="750"/>
                  </a:lnTo>
                  <a:lnTo>
                    <a:pt x="702" y="726"/>
                  </a:lnTo>
                  <a:lnTo>
                    <a:pt x="714" y="714"/>
                  </a:lnTo>
                  <a:lnTo>
                    <a:pt x="720" y="702"/>
                  </a:lnTo>
                  <a:lnTo>
                    <a:pt x="720" y="696"/>
                  </a:lnTo>
                  <a:lnTo>
                    <a:pt x="744" y="690"/>
                  </a:lnTo>
                  <a:lnTo>
                    <a:pt x="744" y="696"/>
                  </a:lnTo>
                  <a:lnTo>
                    <a:pt x="756" y="696"/>
                  </a:lnTo>
                  <a:lnTo>
                    <a:pt x="762" y="690"/>
                  </a:lnTo>
                  <a:lnTo>
                    <a:pt x="768" y="690"/>
                  </a:lnTo>
                  <a:lnTo>
                    <a:pt x="774" y="696"/>
                  </a:lnTo>
                  <a:lnTo>
                    <a:pt x="780" y="696"/>
                  </a:lnTo>
                  <a:lnTo>
                    <a:pt x="786" y="696"/>
                  </a:lnTo>
                  <a:lnTo>
                    <a:pt x="804" y="684"/>
                  </a:lnTo>
                  <a:lnTo>
                    <a:pt x="810" y="684"/>
                  </a:lnTo>
                  <a:lnTo>
                    <a:pt x="810" y="654"/>
                  </a:lnTo>
                  <a:lnTo>
                    <a:pt x="816" y="588"/>
                  </a:lnTo>
                  <a:lnTo>
                    <a:pt x="804" y="582"/>
                  </a:lnTo>
                  <a:lnTo>
                    <a:pt x="798" y="552"/>
                  </a:lnTo>
                  <a:lnTo>
                    <a:pt x="798" y="480"/>
                  </a:lnTo>
                  <a:lnTo>
                    <a:pt x="780" y="468"/>
                  </a:lnTo>
                  <a:lnTo>
                    <a:pt x="780" y="462"/>
                  </a:lnTo>
                  <a:lnTo>
                    <a:pt x="774" y="450"/>
                  </a:lnTo>
                  <a:lnTo>
                    <a:pt x="762" y="444"/>
                  </a:lnTo>
                  <a:lnTo>
                    <a:pt x="762" y="438"/>
                  </a:lnTo>
                  <a:lnTo>
                    <a:pt x="768" y="432"/>
                  </a:lnTo>
                  <a:lnTo>
                    <a:pt x="774" y="426"/>
                  </a:lnTo>
                  <a:lnTo>
                    <a:pt x="780" y="426"/>
                  </a:lnTo>
                  <a:lnTo>
                    <a:pt x="780" y="414"/>
                  </a:lnTo>
                  <a:lnTo>
                    <a:pt x="834" y="414"/>
                  </a:lnTo>
                  <a:lnTo>
                    <a:pt x="834" y="426"/>
                  </a:lnTo>
                  <a:lnTo>
                    <a:pt x="840" y="432"/>
                  </a:lnTo>
                  <a:lnTo>
                    <a:pt x="846" y="432"/>
                  </a:lnTo>
                  <a:lnTo>
                    <a:pt x="852" y="432"/>
                  </a:lnTo>
                  <a:lnTo>
                    <a:pt x="858" y="432"/>
                  </a:lnTo>
                  <a:lnTo>
                    <a:pt x="870" y="432"/>
                  </a:lnTo>
                  <a:lnTo>
                    <a:pt x="870" y="426"/>
                  </a:lnTo>
                  <a:lnTo>
                    <a:pt x="870" y="420"/>
                  </a:lnTo>
                  <a:lnTo>
                    <a:pt x="876" y="420"/>
                  </a:lnTo>
                  <a:lnTo>
                    <a:pt x="882" y="420"/>
                  </a:lnTo>
                  <a:lnTo>
                    <a:pt x="894" y="414"/>
                  </a:lnTo>
                  <a:lnTo>
                    <a:pt x="900" y="414"/>
                  </a:lnTo>
                  <a:lnTo>
                    <a:pt x="906" y="408"/>
                  </a:lnTo>
                  <a:lnTo>
                    <a:pt x="918" y="408"/>
                  </a:lnTo>
                  <a:lnTo>
                    <a:pt x="924" y="402"/>
                  </a:lnTo>
                  <a:lnTo>
                    <a:pt x="930" y="384"/>
                  </a:lnTo>
                  <a:lnTo>
                    <a:pt x="948" y="396"/>
                  </a:lnTo>
                  <a:lnTo>
                    <a:pt x="954" y="384"/>
                  </a:lnTo>
                  <a:lnTo>
                    <a:pt x="960" y="384"/>
                  </a:lnTo>
                  <a:lnTo>
                    <a:pt x="972" y="384"/>
                  </a:lnTo>
                  <a:lnTo>
                    <a:pt x="978" y="378"/>
                  </a:lnTo>
                  <a:lnTo>
                    <a:pt x="972" y="366"/>
                  </a:lnTo>
                  <a:lnTo>
                    <a:pt x="966" y="342"/>
                  </a:lnTo>
                  <a:lnTo>
                    <a:pt x="960" y="330"/>
                  </a:lnTo>
                  <a:lnTo>
                    <a:pt x="942" y="324"/>
                  </a:lnTo>
                  <a:lnTo>
                    <a:pt x="936" y="318"/>
                  </a:lnTo>
                  <a:lnTo>
                    <a:pt x="936" y="294"/>
                  </a:lnTo>
                  <a:lnTo>
                    <a:pt x="942" y="294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282"/>
                  </a:lnTo>
                  <a:lnTo>
                    <a:pt x="954" y="276"/>
                  </a:lnTo>
                  <a:lnTo>
                    <a:pt x="960" y="276"/>
                  </a:lnTo>
                  <a:lnTo>
                    <a:pt x="966" y="276"/>
                  </a:lnTo>
                  <a:lnTo>
                    <a:pt x="960" y="258"/>
                  </a:lnTo>
                  <a:lnTo>
                    <a:pt x="954" y="240"/>
                  </a:lnTo>
                  <a:lnTo>
                    <a:pt x="948" y="204"/>
                  </a:lnTo>
                  <a:lnTo>
                    <a:pt x="954" y="204"/>
                  </a:lnTo>
                  <a:lnTo>
                    <a:pt x="960" y="198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00" y="186"/>
                  </a:lnTo>
                  <a:lnTo>
                    <a:pt x="876" y="180"/>
                  </a:lnTo>
                  <a:lnTo>
                    <a:pt x="858" y="180"/>
                  </a:lnTo>
                  <a:lnTo>
                    <a:pt x="852" y="168"/>
                  </a:lnTo>
                  <a:lnTo>
                    <a:pt x="834" y="156"/>
                  </a:lnTo>
                  <a:lnTo>
                    <a:pt x="822" y="156"/>
                  </a:lnTo>
                  <a:lnTo>
                    <a:pt x="804" y="156"/>
                  </a:lnTo>
                  <a:lnTo>
                    <a:pt x="804" y="150"/>
                  </a:lnTo>
                  <a:lnTo>
                    <a:pt x="792" y="144"/>
                  </a:lnTo>
                  <a:lnTo>
                    <a:pt x="762" y="138"/>
                  </a:lnTo>
                  <a:lnTo>
                    <a:pt x="768" y="120"/>
                  </a:lnTo>
                  <a:lnTo>
                    <a:pt x="756" y="120"/>
                  </a:lnTo>
                  <a:lnTo>
                    <a:pt x="744" y="108"/>
                  </a:lnTo>
                  <a:lnTo>
                    <a:pt x="744" y="96"/>
                  </a:lnTo>
                  <a:lnTo>
                    <a:pt x="762" y="84"/>
                  </a:lnTo>
                  <a:lnTo>
                    <a:pt x="768" y="84"/>
                  </a:lnTo>
                  <a:lnTo>
                    <a:pt x="768" y="72"/>
                  </a:lnTo>
                  <a:lnTo>
                    <a:pt x="780" y="66"/>
                  </a:lnTo>
                  <a:lnTo>
                    <a:pt x="798" y="54"/>
                  </a:lnTo>
                  <a:lnTo>
                    <a:pt x="792" y="54"/>
                  </a:lnTo>
                  <a:lnTo>
                    <a:pt x="798" y="36"/>
                  </a:lnTo>
                  <a:lnTo>
                    <a:pt x="804" y="36"/>
                  </a:lnTo>
                  <a:lnTo>
                    <a:pt x="816" y="30"/>
                  </a:lnTo>
                  <a:lnTo>
                    <a:pt x="828" y="30"/>
                  </a:lnTo>
                  <a:lnTo>
                    <a:pt x="846" y="12"/>
                  </a:lnTo>
                  <a:lnTo>
                    <a:pt x="876" y="0"/>
                  </a:lnTo>
                  <a:lnTo>
                    <a:pt x="882" y="6"/>
                  </a:lnTo>
                  <a:lnTo>
                    <a:pt x="900" y="6"/>
                  </a:lnTo>
                  <a:lnTo>
                    <a:pt x="912" y="36"/>
                  </a:lnTo>
                  <a:lnTo>
                    <a:pt x="918" y="42"/>
                  </a:lnTo>
                  <a:lnTo>
                    <a:pt x="924" y="54"/>
                  </a:lnTo>
                  <a:lnTo>
                    <a:pt x="930" y="54"/>
                  </a:lnTo>
                  <a:lnTo>
                    <a:pt x="930" y="78"/>
                  </a:lnTo>
                  <a:lnTo>
                    <a:pt x="954" y="72"/>
                  </a:lnTo>
                  <a:lnTo>
                    <a:pt x="954" y="60"/>
                  </a:lnTo>
                  <a:lnTo>
                    <a:pt x="966" y="66"/>
                  </a:lnTo>
                  <a:lnTo>
                    <a:pt x="966" y="78"/>
                  </a:lnTo>
                  <a:lnTo>
                    <a:pt x="960" y="84"/>
                  </a:lnTo>
                  <a:lnTo>
                    <a:pt x="954" y="102"/>
                  </a:lnTo>
                  <a:lnTo>
                    <a:pt x="972" y="102"/>
                  </a:lnTo>
                  <a:lnTo>
                    <a:pt x="978" y="84"/>
                  </a:lnTo>
                  <a:lnTo>
                    <a:pt x="984" y="72"/>
                  </a:lnTo>
                  <a:lnTo>
                    <a:pt x="990" y="72"/>
                  </a:lnTo>
                  <a:lnTo>
                    <a:pt x="996" y="18"/>
                  </a:lnTo>
                  <a:lnTo>
                    <a:pt x="990" y="12"/>
                  </a:lnTo>
                  <a:lnTo>
                    <a:pt x="1014" y="12"/>
                  </a:lnTo>
                  <a:lnTo>
                    <a:pt x="1026" y="12"/>
                  </a:lnTo>
                  <a:lnTo>
                    <a:pt x="1026" y="24"/>
                  </a:lnTo>
                  <a:lnTo>
                    <a:pt x="1050" y="24"/>
                  </a:lnTo>
                  <a:lnTo>
                    <a:pt x="1050" y="36"/>
                  </a:lnTo>
                  <a:lnTo>
                    <a:pt x="1062" y="66"/>
                  </a:lnTo>
                  <a:lnTo>
                    <a:pt x="1074" y="66"/>
                  </a:lnTo>
                  <a:lnTo>
                    <a:pt x="1080" y="60"/>
                  </a:lnTo>
                  <a:lnTo>
                    <a:pt x="1074" y="24"/>
                  </a:lnTo>
                  <a:lnTo>
                    <a:pt x="1086" y="18"/>
                  </a:lnTo>
                  <a:lnTo>
                    <a:pt x="1086" y="12"/>
                  </a:lnTo>
                  <a:lnTo>
                    <a:pt x="1104" y="6"/>
                  </a:lnTo>
                  <a:lnTo>
                    <a:pt x="1122" y="0"/>
                  </a:lnTo>
                  <a:lnTo>
                    <a:pt x="1134" y="6"/>
                  </a:lnTo>
                  <a:lnTo>
                    <a:pt x="1134" y="42"/>
                  </a:lnTo>
                  <a:lnTo>
                    <a:pt x="1140" y="72"/>
                  </a:lnTo>
                  <a:lnTo>
                    <a:pt x="1158" y="114"/>
                  </a:lnTo>
                  <a:lnTo>
                    <a:pt x="1170" y="114"/>
                  </a:lnTo>
                  <a:lnTo>
                    <a:pt x="1170" y="126"/>
                  </a:lnTo>
                  <a:lnTo>
                    <a:pt x="1182" y="126"/>
                  </a:lnTo>
                  <a:lnTo>
                    <a:pt x="1182" y="138"/>
                  </a:lnTo>
                  <a:lnTo>
                    <a:pt x="1194" y="144"/>
                  </a:lnTo>
                  <a:lnTo>
                    <a:pt x="1194" y="156"/>
                  </a:lnTo>
                  <a:lnTo>
                    <a:pt x="1188" y="156"/>
                  </a:lnTo>
                  <a:lnTo>
                    <a:pt x="1194" y="162"/>
                  </a:lnTo>
                  <a:lnTo>
                    <a:pt x="1194" y="168"/>
                  </a:lnTo>
                  <a:lnTo>
                    <a:pt x="1188" y="168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82" y="180"/>
                  </a:lnTo>
                  <a:lnTo>
                    <a:pt x="1188" y="186"/>
                  </a:lnTo>
                  <a:lnTo>
                    <a:pt x="1188" y="192"/>
                  </a:lnTo>
                  <a:lnTo>
                    <a:pt x="1182" y="198"/>
                  </a:lnTo>
                  <a:lnTo>
                    <a:pt x="1182" y="204"/>
                  </a:lnTo>
                  <a:lnTo>
                    <a:pt x="1182" y="210"/>
                  </a:lnTo>
                  <a:lnTo>
                    <a:pt x="1188" y="210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2"/>
                  </a:lnTo>
                  <a:lnTo>
                    <a:pt x="1194" y="264"/>
                  </a:lnTo>
                  <a:lnTo>
                    <a:pt x="1200" y="264"/>
                  </a:lnTo>
                  <a:lnTo>
                    <a:pt x="1212" y="264"/>
                  </a:lnTo>
                  <a:lnTo>
                    <a:pt x="1212" y="258"/>
                  </a:lnTo>
                  <a:lnTo>
                    <a:pt x="1224" y="258"/>
                  </a:lnTo>
                  <a:lnTo>
                    <a:pt x="1248" y="252"/>
                  </a:lnTo>
                  <a:lnTo>
                    <a:pt x="1248" y="264"/>
                  </a:lnTo>
                  <a:lnTo>
                    <a:pt x="1254" y="264"/>
                  </a:lnTo>
                  <a:lnTo>
                    <a:pt x="1254" y="270"/>
                  </a:lnTo>
                  <a:lnTo>
                    <a:pt x="1260" y="270"/>
                  </a:lnTo>
                  <a:lnTo>
                    <a:pt x="1266" y="270"/>
                  </a:lnTo>
                  <a:lnTo>
                    <a:pt x="1272" y="270"/>
                  </a:lnTo>
                  <a:lnTo>
                    <a:pt x="1272" y="264"/>
                  </a:lnTo>
                  <a:lnTo>
                    <a:pt x="1272" y="258"/>
                  </a:lnTo>
                  <a:lnTo>
                    <a:pt x="1278" y="258"/>
                  </a:lnTo>
                  <a:lnTo>
                    <a:pt x="1278" y="252"/>
                  </a:lnTo>
                  <a:lnTo>
                    <a:pt x="1290" y="252"/>
                  </a:lnTo>
                  <a:lnTo>
                    <a:pt x="1296" y="246"/>
                  </a:lnTo>
                  <a:lnTo>
                    <a:pt x="1308" y="246"/>
                  </a:lnTo>
                  <a:lnTo>
                    <a:pt x="1308" y="240"/>
                  </a:lnTo>
                  <a:lnTo>
                    <a:pt x="1320" y="240"/>
                  </a:lnTo>
                  <a:lnTo>
                    <a:pt x="1326" y="246"/>
                  </a:lnTo>
                  <a:lnTo>
                    <a:pt x="1338" y="246"/>
                  </a:lnTo>
                  <a:lnTo>
                    <a:pt x="1338" y="240"/>
                  </a:lnTo>
                  <a:lnTo>
                    <a:pt x="1350" y="240"/>
                  </a:lnTo>
                  <a:lnTo>
                    <a:pt x="1386" y="234"/>
                  </a:lnTo>
                  <a:lnTo>
                    <a:pt x="1398" y="228"/>
                  </a:lnTo>
                  <a:lnTo>
                    <a:pt x="1404" y="216"/>
                  </a:lnTo>
                  <a:lnTo>
                    <a:pt x="1416" y="204"/>
                  </a:lnTo>
                  <a:lnTo>
                    <a:pt x="1434" y="192"/>
                  </a:lnTo>
                  <a:lnTo>
                    <a:pt x="1446" y="198"/>
                  </a:lnTo>
                  <a:lnTo>
                    <a:pt x="1446" y="204"/>
                  </a:lnTo>
                  <a:lnTo>
                    <a:pt x="1452" y="210"/>
                  </a:lnTo>
                  <a:lnTo>
                    <a:pt x="1464" y="222"/>
                  </a:lnTo>
                  <a:lnTo>
                    <a:pt x="1464" y="228"/>
                  </a:lnTo>
                  <a:lnTo>
                    <a:pt x="1464" y="234"/>
                  </a:lnTo>
                  <a:lnTo>
                    <a:pt x="1470" y="240"/>
                  </a:lnTo>
                  <a:lnTo>
                    <a:pt x="1476" y="228"/>
                  </a:lnTo>
                  <a:lnTo>
                    <a:pt x="1476" y="222"/>
                  </a:lnTo>
                  <a:lnTo>
                    <a:pt x="1482" y="210"/>
                  </a:lnTo>
                  <a:lnTo>
                    <a:pt x="1488" y="192"/>
                  </a:lnTo>
                  <a:lnTo>
                    <a:pt x="1488" y="186"/>
                  </a:lnTo>
                  <a:lnTo>
                    <a:pt x="1488" y="180"/>
                  </a:lnTo>
                  <a:lnTo>
                    <a:pt x="1500" y="180"/>
                  </a:lnTo>
                  <a:lnTo>
                    <a:pt x="1500" y="174"/>
                  </a:lnTo>
                  <a:lnTo>
                    <a:pt x="1518" y="162"/>
                  </a:lnTo>
                  <a:lnTo>
                    <a:pt x="1536" y="150"/>
                  </a:lnTo>
                  <a:lnTo>
                    <a:pt x="1554" y="168"/>
                  </a:lnTo>
                  <a:lnTo>
                    <a:pt x="1572" y="180"/>
                  </a:lnTo>
                  <a:lnTo>
                    <a:pt x="1596" y="216"/>
                  </a:lnTo>
                  <a:lnTo>
                    <a:pt x="1602" y="216"/>
                  </a:lnTo>
                  <a:lnTo>
                    <a:pt x="1614" y="228"/>
                  </a:lnTo>
                  <a:lnTo>
                    <a:pt x="1614" y="234"/>
                  </a:lnTo>
                  <a:lnTo>
                    <a:pt x="1620" y="240"/>
                  </a:lnTo>
                  <a:lnTo>
                    <a:pt x="1620" y="246"/>
                  </a:lnTo>
                  <a:lnTo>
                    <a:pt x="1626" y="252"/>
                  </a:lnTo>
                  <a:lnTo>
                    <a:pt x="1632" y="258"/>
                  </a:lnTo>
                  <a:lnTo>
                    <a:pt x="1632" y="264"/>
                  </a:lnTo>
                  <a:lnTo>
                    <a:pt x="1638" y="264"/>
                  </a:lnTo>
                  <a:lnTo>
                    <a:pt x="1638" y="270"/>
                  </a:lnTo>
                  <a:lnTo>
                    <a:pt x="1638" y="276"/>
                  </a:lnTo>
                  <a:lnTo>
                    <a:pt x="1638" y="282"/>
                  </a:lnTo>
                  <a:lnTo>
                    <a:pt x="1644" y="288"/>
                  </a:lnTo>
                  <a:lnTo>
                    <a:pt x="1644" y="294"/>
                  </a:lnTo>
                  <a:lnTo>
                    <a:pt x="1644" y="300"/>
                  </a:lnTo>
                  <a:lnTo>
                    <a:pt x="1644" y="306"/>
                  </a:lnTo>
                  <a:lnTo>
                    <a:pt x="1650" y="306"/>
                  </a:lnTo>
                  <a:lnTo>
                    <a:pt x="1650" y="312"/>
                  </a:lnTo>
                  <a:lnTo>
                    <a:pt x="1650" y="318"/>
                  </a:lnTo>
                  <a:lnTo>
                    <a:pt x="1650" y="324"/>
                  </a:lnTo>
                  <a:lnTo>
                    <a:pt x="1644" y="330"/>
                  </a:lnTo>
                  <a:lnTo>
                    <a:pt x="1626" y="330"/>
                  </a:lnTo>
                  <a:lnTo>
                    <a:pt x="1626" y="336"/>
                  </a:lnTo>
                  <a:lnTo>
                    <a:pt x="1626" y="342"/>
                  </a:lnTo>
                  <a:lnTo>
                    <a:pt x="1626" y="348"/>
                  </a:lnTo>
                  <a:lnTo>
                    <a:pt x="1620" y="354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14" y="390"/>
                  </a:lnTo>
                  <a:lnTo>
                    <a:pt x="1614" y="396"/>
                  </a:lnTo>
                  <a:lnTo>
                    <a:pt x="1614" y="402"/>
                  </a:lnTo>
                  <a:lnTo>
                    <a:pt x="1614" y="408"/>
                  </a:lnTo>
                  <a:lnTo>
                    <a:pt x="1614" y="414"/>
                  </a:lnTo>
                  <a:lnTo>
                    <a:pt x="1602" y="420"/>
                  </a:lnTo>
                  <a:lnTo>
                    <a:pt x="1602" y="426"/>
                  </a:lnTo>
                  <a:lnTo>
                    <a:pt x="1608" y="432"/>
                  </a:lnTo>
                  <a:lnTo>
                    <a:pt x="1614" y="426"/>
                  </a:lnTo>
                  <a:lnTo>
                    <a:pt x="1620" y="438"/>
                  </a:lnTo>
                  <a:lnTo>
                    <a:pt x="1626" y="438"/>
                  </a:lnTo>
                  <a:lnTo>
                    <a:pt x="1632" y="444"/>
                  </a:lnTo>
                  <a:lnTo>
                    <a:pt x="1626" y="456"/>
                  </a:lnTo>
                  <a:lnTo>
                    <a:pt x="1626" y="468"/>
                  </a:lnTo>
                  <a:lnTo>
                    <a:pt x="1620" y="474"/>
                  </a:lnTo>
                  <a:lnTo>
                    <a:pt x="1614" y="474"/>
                  </a:lnTo>
                  <a:lnTo>
                    <a:pt x="1614" y="486"/>
                  </a:lnTo>
                  <a:lnTo>
                    <a:pt x="1614" y="492"/>
                  </a:lnTo>
                  <a:lnTo>
                    <a:pt x="1620" y="492"/>
                  </a:lnTo>
                  <a:lnTo>
                    <a:pt x="1626" y="498"/>
                  </a:lnTo>
                  <a:lnTo>
                    <a:pt x="1626" y="504"/>
                  </a:lnTo>
                  <a:lnTo>
                    <a:pt x="1626" y="510"/>
                  </a:lnTo>
                  <a:lnTo>
                    <a:pt x="1620" y="516"/>
                  </a:lnTo>
                  <a:lnTo>
                    <a:pt x="1620" y="522"/>
                  </a:lnTo>
                  <a:lnTo>
                    <a:pt x="1614" y="522"/>
                  </a:lnTo>
                  <a:lnTo>
                    <a:pt x="1608" y="528"/>
                  </a:lnTo>
                  <a:lnTo>
                    <a:pt x="1602" y="522"/>
                  </a:lnTo>
                  <a:lnTo>
                    <a:pt x="1602" y="528"/>
                  </a:lnTo>
                  <a:lnTo>
                    <a:pt x="1602" y="540"/>
                  </a:lnTo>
                  <a:lnTo>
                    <a:pt x="1602" y="558"/>
                  </a:lnTo>
                  <a:lnTo>
                    <a:pt x="1602" y="564"/>
                  </a:lnTo>
                  <a:lnTo>
                    <a:pt x="1602" y="570"/>
                  </a:lnTo>
                  <a:lnTo>
                    <a:pt x="1602" y="576"/>
                  </a:lnTo>
                  <a:lnTo>
                    <a:pt x="1596" y="576"/>
                  </a:lnTo>
                  <a:lnTo>
                    <a:pt x="1632" y="582"/>
                  </a:lnTo>
                  <a:lnTo>
                    <a:pt x="1644" y="618"/>
                  </a:lnTo>
                  <a:lnTo>
                    <a:pt x="1650" y="648"/>
                  </a:lnTo>
                  <a:lnTo>
                    <a:pt x="1662" y="636"/>
                  </a:lnTo>
                  <a:lnTo>
                    <a:pt x="1668" y="636"/>
                  </a:lnTo>
                  <a:lnTo>
                    <a:pt x="1674" y="636"/>
                  </a:lnTo>
                  <a:lnTo>
                    <a:pt x="1680" y="630"/>
                  </a:lnTo>
                  <a:lnTo>
                    <a:pt x="1686" y="630"/>
                  </a:lnTo>
                  <a:lnTo>
                    <a:pt x="1692" y="630"/>
                  </a:lnTo>
                  <a:lnTo>
                    <a:pt x="1698" y="630"/>
                  </a:lnTo>
                  <a:lnTo>
                    <a:pt x="1704" y="630"/>
                  </a:lnTo>
                  <a:lnTo>
                    <a:pt x="1704" y="624"/>
                  </a:lnTo>
                  <a:lnTo>
                    <a:pt x="1710" y="624"/>
                  </a:lnTo>
                  <a:lnTo>
                    <a:pt x="1716" y="624"/>
                  </a:lnTo>
                  <a:lnTo>
                    <a:pt x="1722" y="624"/>
                  </a:lnTo>
                  <a:lnTo>
                    <a:pt x="1728" y="624"/>
                  </a:lnTo>
                  <a:lnTo>
                    <a:pt x="1722" y="618"/>
                  </a:lnTo>
                  <a:lnTo>
                    <a:pt x="1728" y="606"/>
                  </a:lnTo>
                  <a:lnTo>
                    <a:pt x="1734" y="606"/>
                  </a:lnTo>
                  <a:lnTo>
                    <a:pt x="1740" y="600"/>
                  </a:lnTo>
                  <a:lnTo>
                    <a:pt x="1746" y="594"/>
                  </a:lnTo>
                  <a:lnTo>
                    <a:pt x="1752" y="588"/>
                  </a:lnTo>
                  <a:lnTo>
                    <a:pt x="1752" y="582"/>
                  </a:lnTo>
                  <a:lnTo>
                    <a:pt x="1758" y="576"/>
                  </a:lnTo>
                  <a:lnTo>
                    <a:pt x="1764" y="576"/>
                  </a:lnTo>
                  <a:lnTo>
                    <a:pt x="1770" y="570"/>
                  </a:lnTo>
                  <a:lnTo>
                    <a:pt x="1776" y="564"/>
                  </a:lnTo>
                  <a:lnTo>
                    <a:pt x="1788" y="558"/>
                  </a:lnTo>
                  <a:lnTo>
                    <a:pt x="1788" y="546"/>
                  </a:lnTo>
                  <a:lnTo>
                    <a:pt x="1788" y="540"/>
                  </a:lnTo>
                  <a:lnTo>
                    <a:pt x="1794" y="540"/>
                  </a:lnTo>
                  <a:lnTo>
                    <a:pt x="1788" y="534"/>
                  </a:lnTo>
                  <a:lnTo>
                    <a:pt x="1788" y="528"/>
                  </a:lnTo>
                  <a:lnTo>
                    <a:pt x="1794" y="516"/>
                  </a:lnTo>
                  <a:lnTo>
                    <a:pt x="1800" y="510"/>
                  </a:lnTo>
                  <a:lnTo>
                    <a:pt x="1812" y="510"/>
                  </a:lnTo>
                  <a:lnTo>
                    <a:pt x="1818" y="504"/>
                  </a:lnTo>
                  <a:lnTo>
                    <a:pt x="1824" y="504"/>
                  </a:lnTo>
                  <a:lnTo>
                    <a:pt x="1830" y="498"/>
                  </a:lnTo>
                  <a:lnTo>
                    <a:pt x="1836" y="498"/>
                  </a:lnTo>
                  <a:lnTo>
                    <a:pt x="1848" y="492"/>
                  </a:lnTo>
                  <a:lnTo>
                    <a:pt x="1848" y="480"/>
                  </a:lnTo>
                  <a:lnTo>
                    <a:pt x="1854" y="480"/>
                  </a:lnTo>
                  <a:lnTo>
                    <a:pt x="1890" y="504"/>
                  </a:lnTo>
                  <a:lnTo>
                    <a:pt x="1908" y="534"/>
                  </a:lnTo>
                  <a:lnTo>
                    <a:pt x="1902" y="534"/>
                  </a:lnTo>
                  <a:lnTo>
                    <a:pt x="1920" y="528"/>
                  </a:lnTo>
                  <a:lnTo>
                    <a:pt x="1920" y="516"/>
                  </a:lnTo>
                  <a:lnTo>
                    <a:pt x="1944" y="516"/>
                  </a:lnTo>
                  <a:lnTo>
                    <a:pt x="2004" y="516"/>
                  </a:lnTo>
                  <a:lnTo>
                    <a:pt x="2010" y="510"/>
                  </a:lnTo>
                  <a:lnTo>
                    <a:pt x="2004" y="510"/>
                  </a:lnTo>
                  <a:lnTo>
                    <a:pt x="2010" y="498"/>
                  </a:lnTo>
                  <a:lnTo>
                    <a:pt x="2004" y="486"/>
                  </a:lnTo>
                  <a:lnTo>
                    <a:pt x="2004" y="480"/>
                  </a:lnTo>
                  <a:lnTo>
                    <a:pt x="2004" y="474"/>
                  </a:lnTo>
                  <a:lnTo>
                    <a:pt x="2004" y="462"/>
                  </a:lnTo>
                  <a:lnTo>
                    <a:pt x="2004" y="456"/>
                  </a:lnTo>
                  <a:lnTo>
                    <a:pt x="2058" y="462"/>
                  </a:lnTo>
                  <a:lnTo>
                    <a:pt x="2076" y="474"/>
                  </a:lnTo>
                  <a:lnTo>
                    <a:pt x="2082" y="522"/>
                  </a:lnTo>
                  <a:lnTo>
                    <a:pt x="2088" y="516"/>
                  </a:lnTo>
                  <a:lnTo>
                    <a:pt x="2094" y="522"/>
                  </a:lnTo>
                  <a:lnTo>
                    <a:pt x="2100" y="528"/>
                  </a:lnTo>
                  <a:lnTo>
                    <a:pt x="2130" y="540"/>
                  </a:lnTo>
                  <a:lnTo>
                    <a:pt x="2160" y="564"/>
                  </a:lnTo>
                  <a:lnTo>
                    <a:pt x="2166" y="600"/>
                  </a:lnTo>
                  <a:lnTo>
                    <a:pt x="2160" y="618"/>
                  </a:lnTo>
                  <a:lnTo>
                    <a:pt x="2142" y="636"/>
                  </a:lnTo>
                  <a:lnTo>
                    <a:pt x="2148" y="648"/>
                  </a:lnTo>
                  <a:lnTo>
                    <a:pt x="2154" y="660"/>
                  </a:lnTo>
                  <a:lnTo>
                    <a:pt x="2196" y="654"/>
                  </a:lnTo>
                  <a:lnTo>
                    <a:pt x="2214" y="660"/>
                  </a:lnTo>
                  <a:lnTo>
                    <a:pt x="2214" y="666"/>
                  </a:lnTo>
                  <a:lnTo>
                    <a:pt x="2220" y="672"/>
                  </a:lnTo>
                  <a:lnTo>
                    <a:pt x="2214" y="678"/>
                  </a:lnTo>
                  <a:lnTo>
                    <a:pt x="2214" y="684"/>
                  </a:lnTo>
                  <a:lnTo>
                    <a:pt x="2214" y="690"/>
                  </a:lnTo>
                  <a:lnTo>
                    <a:pt x="2208" y="690"/>
                  </a:lnTo>
                  <a:lnTo>
                    <a:pt x="2202" y="696"/>
                  </a:lnTo>
                  <a:lnTo>
                    <a:pt x="2196" y="702"/>
                  </a:lnTo>
                  <a:lnTo>
                    <a:pt x="2190" y="708"/>
                  </a:lnTo>
                  <a:lnTo>
                    <a:pt x="2190" y="720"/>
                  </a:lnTo>
                  <a:lnTo>
                    <a:pt x="2184" y="720"/>
                  </a:lnTo>
                  <a:lnTo>
                    <a:pt x="2178" y="726"/>
                  </a:lnTo>
                  <a:lnTo>
                    <a:pt x="2166" y="732"/>
                  </a:lnTo>
                  <a:lnTo>
                    <a:pt x="2160" y="744"/>
                  </a:lnTo>
                  <a:lnTo>
                    <a:pt x="2154" y="756"/>
                  </a:lnTo>
                  <a:lnTo>
                    <a:pt x="2148" y="762"/>
                  </a:lnTo>
                  <a:lnTo>
                    <a:pt x="2124" y="762"/>
                  </a:lnTo>
                  <a:lnTo>
                    <a:pt x="2124" y="768"/>
                  </a:lnTo>
                  <a:lnTo>
                    <a:pt x="2118" y="768"/>
                  </a:lnTo>
                  <a:lnTo>
                    <a:pt x="2124" y="774"/>
                  </a:lnTo>
                  <a:lnTo>
                    <a:pt x="2118" y="774"/>
                  </a:lnTo>
                  <a:lnTo>
                    <a:pt x="2112" y="774"/>
                  </a:lnTo>
                  <a:lnTo>
                    <a:pt x="2106" y="780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06" y="798"/>
                  </a:lnTo>
                  <a:lnTo>
                    <a:pt x="2106" y="810"/>
                  </a:lnTo>
                  <a:lnTo>
                    <a:pt x="2112" y="828"/>
                  </a:lnTo>
                  <a:lnTo>
                    <a:pt x="2112" y="834"/>
                  </a:lnTo>
                  <a:lnTo>
                    <a:pt x="2112" y="840"/>
                  </a:lnTo>
                  <a:lnTo>
                    <a:pt x="2112" y="834"/>
                  </a:lnTo>
                  <a:lnTo>
                    <a:pt x="2124" y="834"/>
                  </a:lnTo>
                  <a:lnTo>
                    <a:pt x="2130" y="834"/>
                  </a:lnTo>
                  <a:lnTo>
                    <a:pt x="2136" y="840"/>
                  </a:lnTo>
                  <a:lnTo>
                    <a:pt x="2142" y="840"/>
                  </a:lnTo>
                  <a:lnTo>
                    <a:pt x="2154" y="852"/>
                  </a:lnTo>
                  <a:lnTo>
                    <a:pt x="2160" y="852"/>
                  </a:lnTo>
                  <a:lnTo>
                    <a:pt x="2172" y="846"/>
                  </a:lnTo>
                  <a:lnTo>
                    <a:pt x="2178" y="846"/>
                  </a:lnTo>
                  <a:lnTo>
                    <a:pt x="2184" y="846"/>
                  </a:lnTo>
                  <a:lnTo>
                    <a:pt x="2190" y="846"/>
                  </a:lnTo>
                  <a:lnTo>
                    <a:pt x="2196" y="852"/>
                  </a:lnTo>
                  <a:lnTo>
                    <a:pt x="2196" y="858"/>
                  </a:lnTo>
                  <a:lnTo>
                    <a:pt x="2202" y="852"/>
                  </a:lnTo>
                  <a:lnTo>
                    <a:pt x="2208" y="846"/>
                  </a:lnTo>
                  <a:lnTo>
                    <a:pt x="2214" y="846"/>
                  </a:lnTo>
                  <a:lnTo>
                    <a:pt x="2226" y="846"/>
                  </a:lnTo>
                  <a:lnTo>
                    <a:pt x="2232" y="852"/>
                  </a:lnTo>
                  <a:lnTo>
                    <a:pt x="2238" y="852"/>
                  </a:lnTo>
                  <a:lnTo>
                    <a:pt x="2244" y="858"/>
                  </a:lnTo>
                  <a:lnTo>
                    <a:pt x="2250" y="858"/>
                  </a:lnTo>
                  <a:lnTo>
                    <a:pt x="2256" y="858"/>
                  </a:lnTo>
                  <a:lnTo>
                    <a:pt x="2262" y="858"/>
                  </a:lnTo>
                  <a:lnTo>
                    <a:pt x="2268" y="852"/>
                  </a:lnTo>
                  <a:lnTo>
                    <a:pt x="2274" y="852"/>
                  </a:lnTo>
                  <a:lnTo>
                    <a:pt x="2280" y="852"/>
                  </a:lnTo>
                  <a:lnTo>
                    <a:pt x="2286" y="852"/>
                  </a:lnTo>
                  <a:lnTo>
                    <a:pt x="2298" y="858"/>
                  </a:lnTo>
                  <a:lnTo>
                    <a:pt x="2304" y="858"/>
                  </a:lnTo>
                  <a:lnTo>
                    <a:pt x="2310" y="858"/>
                  </a:lnTo>
                  <a:lnTo>
                    <a:pt x="2316" y="852"/>
                  </a:lnTo>
                  <a:lnTo>
                    <a:pt x="2322" y="858"/>
                  </a:lnTo>
                  <a:lnTo>
                    <a:pt x="2328" y="858"/>
                  </a:lnTo>
                  <a:lnTo>
                    <a:pt x="2328" y="852"/>
                  </a:lnTo>
                  <a:lnTo>
                    <a:pt x="2364" y="858"/>
                  </a:lnTo>
                  <a:lnTo>
                    <a:pt x="2376" y="876"/>
                  </a:lnTo>
                  <a:lnTo>
                    <a:pt x="2382" y="936"/>
                  </a:lnTo>
                  <a:lnTo>
                    <a:pt x="2388" y="966"/>
                  </a:lnTo>
                  <a:lnTo>
                    <a:pt x="2382" y="972"/>
                  </a:lnTo>
                  <a:lnTo>
                    <a:pt x="2382" y="978"/>
                  </a:lnTo>
                  <a:lnTo>
                    <a:pt x="2382" y="984"/>
                  </a:lnTo>
                  <a:lnTo>
                    <a:pt x="2388" y="990"/>
                  </a:lnTo>
                  <a:lnTo>
                    <a:pt x="2382" y="990"/>
                  </a:lnTo>
                  <a:lnTo>
                    <a:pt x="2382" y="996"/>
                  </a:lnTo>
                  <a:lnTo>
                    <a:pt x="2376" y="996"/>
                  </a:lnTo>
                  <a:lnTo>
                    <a:pt x="2376" y="1020"/>
                  </a:lnTo>
                  <a:lnTo>
                    <a:pt x="2370" y="1032"/>
                  </a:lnTo>
                  <a:lnTo>
                    <a:pt x="2352" y="1032"/>
                  </a:lnTo>
                  <a:lnTo>
                    <a:pt x="2346" y="1020"/>
                  </a:lnTo>
                  <a:lnTo>
                    <a:pt x="2328" y="1032"/>
                  </a:lnTo>
                  <a:lnTo>
                    <a:pt x="2316" y="1038"/>
                  </a:lnTo>
                  <a:lnTo>
                    <a:pt x="2328" y="1044"/>
                  </a:lnTo>
                  <a:lnTo>
                    <a:pt x="2340" y="1056"/>
                  </a:lnTo>
                  <a:lnTo>
                    <a:pt x="2376" y="1062"/>
                  </a:lnTo>
                  <a:lnTo>
                    <a:pt x="2376" y="1068"/>
                  </a:lnTo>
                  <a:lnTo>
                    <a:pt x="2382" y="1086"/>
                  </a:lnTo>
                  <a:lnTo>
                    <a:pt x="2376" y="1086"/>
                  </a:lnTo>
                  <a:lnTo>
                    <a:pt x="2370" y="1086"/>
                  </a:lnTo>
                  <a:lnTo>
                    <a:pt x="2364" y="1086"/>
                  </a:lnTo>
                  <a:lnTo>
                    <a:pt x="2364" y="1098"/>
                  </a:lnTo>
                  <a:lnTo>
                    <a:pt x="2388" y="1104"/>
                  </a:lnTo>
                  <a:lnTo>
                    <a:pt x="2400" y="1122"/>
                  </a:lnTo>
                  <a:lnTo>
                    <a:pt x="2400" y="1134"/>
                  </a:lnTo>
                  <a:lnTo>
                    <a:pt x="2400" y="1146"/>
                  </a:lnTo>
                  <a:lnTo>
                    <a:pt x="2394" y="1146"/>
                  </a:lnTo>
                  <a:lnTo>
                    <a:pt x="2394" y="1152"/>
                  </a:lnTo>
                  <a:lnTo>
                    <a:pt x="2388" y="1152"/>
                  </a:lnTo>
                  <a:lnTo>
                    <a:pt x="2388" y="1146"/>
                  </a:lnTo>
                  <a:lnTo>
                    <a:pt x="2382" y="1152"/>
                  </a:lnTo>
                  <a:lnTo>
                    <a:pt x="2376" y="1152"/>
                  </a:lnTo>
                  <a:lnTo>
                    <a:pt x="2370" y="1158"/>
                  </a:lnTo>
                  <a:lnTo>
                    <a:pt x="2370" y="1164"/>
                  </a:lnTo>
                  <a:lnTo>
                    <a:pt x="2364" y="1170"/>
                  </a:lnTo>
                  <a:lnTo>
                    <a:pt x="2370" y="1170"/>
                  </a:lnTo>
                  <a:lnTo>
                    <a:pt x="2376" y="1170"/>
                  </a:lnTo>
                  <a:lnTo>
                    <a:pt x="2370" y="1176"/>
                  </a:lnTo>
                  <a:lnTo>
                    <a:pt x="2364" y="1176"/>
                  </a:lnTo>
                  <a:lnTo>
                    <a:pt x="2358" y="1182"/>
                  </a:lnTo>
                  <a:lnTo>
                    <a:pt x="2352" y="1182"/>
                  </a:lnTo>
                  <a:lnTo>
                    <a:pt x="2346" y="1188"/>
                  </a:lnTo>
                  <a:lnTo>
                    <a:pt x="2340" y="1182"/>
                  </a:lnTo>
                  <a:lnTo>
                    <a:pt x="2334" y="1182"/>
                  </a:lnTo>
                  <a:lnTo>
                    <a:pt x="2334" y="1188"/>
                  </a:lnTo>
                  <a:lnTo>
                    <a:pt x="2328" y="1194"/>
                  </a:lnTo>
                  <a:lnTo>
                    <a:pt x="2328" y="1200"/>
                  </a:lnTo>
                  <a:lnTo>
                    <a:pt x="2322" y="1224"/>
                  </a:lnTo>
                  <a:lnTo>
                    <a:pt x="2328" y="1230"/>
                  </a:lnTo>
                  <a:lnTo>
                    <a:pt x="2358" y="1230"/>
                  </a:lnTo>
                  <a:lnTo>
                    <a:pt x="2358" y="1242"/>
                  </a:lnTo>
                  <a:lnTo>
                    <a:pt x="2358" y="1254"/>
                  </a:lnTo>
                  <a:lnTo>
                    <a:pt x="2346" y="1254"/>
                  </a:lnTo>
                  <a:lnTo>
                    <a:pt x="2346" y="1278"/>
                  </a:lnTo>
                  <a:lnTo>
                    <a:pt x="2358" y="1278"/>
                  </a:lnTo>
                  <a:lnTo>
                    <a:pt x="2358" y="1284"/>
                  </a:lnTo>
                  <a:lnTo>
                    <a:pt x="2376" y="1284"/>
                  </a:lnTo>
                  <a:lnTo>
                    <a:pt x="2388" y="1278"/>
                  </a:lnTo>
                  <a:lnTo>
                    <a:pt x="2406" y="1278"/>
                  </a:lnTo>
                  <a:lnTo>
                    <a:pt x="2430" y="1284"/>
                  </a:lnTo>
                  <a:lnTo>
                    <a:pt x="2430" y="1302"/>
                  </a:lnTo>
                  <a:lnTo>
                    <a:pt x="2430" y="1314"/>
                  </a:lnTo>
                  <a:lnTo>
                    <a:pt x="2424" y="1326"/>
                  </a:lnTo>
                  <a:lnTo>
                    <a:pt x="2412" y="1326"/>
                  </a:lnTo>
                  <a:lnTo>
                    <a:pt x="2412" y="1344"/>
                  </a:lnTo>
                  <a:lnTo>
                    <a:pt x="2406" y="1344"/>
                  </a:lnTo>
                  <a:lnTo>
                    <a:pt x="2400" y="1362"/>
                  </a:lnTo>
                  <a:lnTo>
                    <a:pt x="2394" y="1368"/>
                  </a:lnTo>
                  <a:lnTo>
                    <a:pt x="2388" y="1374"/>
                  </a:lnTo>
                  <a:lnTo>
                    <a:pt x="2382" y="1380"/>
                  </a:lnTo>
                  <a:lnTo>
                    <a:pt x="2376" y="1386"/>
                  </a:lnTo>
                  <a:lnTo>
                    <a:pt x="2376" y="1392"/>
                  </a:lnTo>
                  <a:lnTo>
                    <a:pt x="2370" y="1404"/>
                  </a:lnTo>
                  <a:lnTo>
                    <a:pt x="2364" y="1416"/>
                  </a:lnTo>
                  <a:lnTo>
                    <a:pt x="2346" y="1434"/>
                  </a:lnTo>
                  <a:lnTo>
                    <a:pt x="2328" y="1440"/>
                  </a:lnTo>
                  <a:lnTo>
                    <a:pt x="2328" y="1446"/>
                  </a:lnTo>
                  <a:lnTo>
                    <a:pt x="2322" y="1452"/>
                  </a:lnTo>
                  <a:lnTo>
                    <a:pt x="2316" y="1452"/>
                  </a:lnTo>
                  <a:lnTo>
                    <a:pt x="2304" y="1446"/>
                  </a:lnTo>
                  <a:lnTo>
                    <a:pt x="2298" y="1446"/>
                  </a:lnTo>
                  <a:lnTo>
                    <a:pt x="2298" y="1434"/>
                  </a:lnTo>
                  <a:lnTo>
                    <a:pt x="2292" y="1434"/>
                  </a:lnTo>
                  <a:lnTo>
                    <a:pt x="2286" y="1428"/>
                  </a:lnTo>
                  <a:lnTo>
                    <a:pt x="2274" y="1416"/>
                  </a:lnTo>
                  <a:lnTo>
                    <a:pt x="2256" y="1404"/>
                  </a:lnTo>
                  <a:lnTo>
                    <a:pt x="2244" y="1386"/>
                  </a:lnTo>
                  <a:lnTo>
                    <a:pt x="2220" y="1368"/>
                  </a:lnTo>
                  <a:lnTo>
                    <a:pt x="2208" y="1362"/>
                  </a:lnTo>
                  <a:lnTo>
                    <a:pt x="2202" y="1350"/>
                  </a:lnTo>
                  <a:lnTo>
                    <a:pt x="2196" y="1350"/>
                  </a:lnTo>
                  <a:lnTo>
                    <a:pt x="2190" y="1356"/>
                  </a:lnTo>
                  <a:lnTo>
                    <a:pt x="2184" y="1356"/>
                  </a:lnTo>
                  <a:lnTo>
                    <a:pt x="2094" y="1350"/>
                  </a:lnTo>
                  <a:lnTo>
                    <a:pt x="2058" y="1350"/>
                  </a:lnTo>
                  <a:lnTo>
                    <a:pt x="2034" y="1890"/>
                  </a:lnTo>
                  <a:lnTo>
                    <a:pt x="2064" y="1890"/>
                  </a:lnTo>
                  <a:lnTo>
                    <a:pt x="2070" y="1896"/>
                  </a:lnTo>
                  <a:lnTo>
                    <a:pt x="2076" y="18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8" name="Freeform 33">
              <a:extLst>
                <a:ext uri="{FF2B5EF4-FFF2-40B4-BE49-F238E27FC236}">
                  <a16:creationId xmlns:a16="http://schemas.microsoft.com/office/drawing/2014/main" id="{0E96F118-1F4D-4E52-AF27-149259451CD6}"/>
                </a:ext>
              </a:extLst>
            </p:cNvPr>
            <p:cNvSpPr>
              <a:spLocks/>
            </p:cNvSpPr>
            <p:nvPr/>
          </p:nvSpPr>
          <p:spPr bwMode="gray">
            <a:xfrm>
              <a:off x="1266662" y="1459989"/>
              <a:ext cx="903421" cy="778302"/>
            </a:xfrm>
            <a:custGeom>
              <a:avLst/>
              <a:gdLst>
                <a:gd name="T0" fmla="*/ 143 w 1698"/>
                <a:gd name="T1" fmla="*/ 43 h 1464"/>
                <a:gd name="T2" fmla="*/ 131 w 1698"/>
                <a:gd name="T3" fmla="*/ 44 h 1464"/>
                <a:gd name="T4" fmla="*/ 126 w 1698"/>
                <a:gd name="T5" fmla="*/ 41 h 1464"/>
                <a:gd name="T6" fmla="*/ 119 w 1698"/>
                <a:gd name="T7" fmla="*/ 45 h 1464"/>
                <a:gd name="T8" fmla="*/ 111 w 1698"/>
                <a:gd name="T9" fmla="*/ 46 h 1464"/>
                <a:gd name="T10" fmla="*/ 107 w 1698"/>
                <a:gd name="T11" fmla="*/ 50 h 1464"/>
                <a:gd name="T12" fmla="*/ 107 w 1698"/>
                <a:gd name="T13" fmla="*/ 60 h 1464"/>
                <a:gd name="T14" fmla="*/ 104 w 1698"/>
                <a:gd name="T15" fmla="*/ 62 h 1464"/>
                <a:gd name="T16" fmla="*/ 97 w 1698"/>
                <a:gd name="T17" fmla="*/ 59 h 1464"/>
                <a:gd name="T18" fmla="*/ 92 w 1698"/>
                <a:gd name="T19" fmla="*/ 59 h 1464"/>
                <a:gd name="T20" fmla="*/ 90 w 1698"/>
                <a:gd name="T21" fmla="*/ 62 h 1464"/>
                <a:gd name="T22" fmla="*/ 93 w 1698"/>
                <a:gd name="T23" fmla="*/ 77 h 1464"/>
                <a:gd name="T24" fmla="*/ 85 w 1698"/>
                <a:gd name="T25" fmla="*/ 88 h 1464"/>
                <a:gd name="T26" fmla="*/ 70 w 1698"/>
                <a:gd name="T27" fmla="*/ 89 h 1464"/>
                <a:gd name="T28" fmla="*/ 65 w 1698"/>
                <a:gd name="T29" fmla="*/ 88 h 1464"/>
                <a:gd name="T30" fmla="*/ 50 w 1698"/>
                <a:gd name="T31" fmla="*/ 88 h 1464"/>
                <a:gd name="T32" fmla="*/ 48 w 1698"/>
                <a:gd name="T33" fmla="*/ 107 h 1464"/>
                <a:gd name="T34" fmla="*/ 47 w 1698"/>
                <a:gd name="T35" fmla="*/ 120 h 1464"/>
                <a:gd name="T36" fmla="*/ 43 w 1698"/>
                <a:gd name="T37" fmla="*/ 121 h 1464"/>
                <a:gd name="T38" fmla="*/ 40 w 1698"/>
                <a:gd name="T39" fmla="*/ 120 h 1464"/>
                <a:gd name="T40" fmla="*/ 35 w 1698"/>
                <a:gd name="T41" fmla="*/ 122 h 1464"/>
                <a:gd name="T42" fmla="*/ 29 w 1698"/>
                <a:gd name="T43" fmla="*/ 123 h 1464"/>
                <a:gd name="T44" fmla="*/ 24 w 1698"/>
                <a:gd name="T45" fmla="*/ 125 h 1464"/>
                <a:gd name="T46" fmla="*/ 20 w 1698"/>
                <a:gd name="T47" fmla="*/ 125 h 1464"/>
                <a:gd name="T48" fmla="*/ 18 w 1698"/>
                <a:gd name="T49" fmla="*/ 122 h 1464"/>
                <a:gd name="T50" fmla="*/ 26 w 1698"/>
                <a:gd name="T51" fmla="*/ 108 h 1464"/>
                <a:gd name="T52" fmla="*/ 24 w 1698"/>
                <a:gd name="T53" fmla="*/ 89 h 1464"/>
                <a:gd name="T54" fmla="*/ 28 w 1698"/>
                <a:gd name="T55" fmla="*/ 85 h 1464"/>
                <a:gd name="T56" fmla="*/ 32 w 1698"/>
                <a:gd name="T57" fmla="*/ 80 h 1464"/>
                <a:gd name="T58" fmla="*/ 36 w 1698"/>
                <a:gd name="T59" fmla="*/ 86 h 1464"/>
                <a:gd name="T60" fmla="*/ 39 w 1698"/>
                <a:gd name="T61" fmla="*/ 80 h 1464"/>
                <a:gd name="T62" fmla="*/ 41 w 1698"/>
                <a:gd name="T63" fmla="*/ 73 h 1464"/>
                <a:gd name="T64" fmla="*/ 38 w 1698"/>
                <a:gd name="T65" fmla="*/ 64 h 1464"/>
                <a:gd name="T66" fmla="*/ 39 w 1698"/>
                <a:gd name="T67" fmla="*/ 59 h 1464"/>
                <a:gd name="T68" fmla="*/ 32 w 1698"/>
                <a:gd name="T69" fmla="*/ 54 h 1464"/>
                <a:gd name="T70" fmla="*/ 32 w 1698"/>
                <a:gd name="T71" fmla="*/ 45 h 1464"/>
                <a:gd name="T72" fmla="*/ 31 w 1698"/>
                <a:gd name="T73" fmla="*/ 41 h 1464"/>
                <a:gd name="T74" fmla="*/ 24 w 1698"/>
                <a:gd name="T75" fmla="*/ 43 h 1464"/>
                <a:gd name="T76" fmla="*/ 17 w 1698"/>
                <a:gd name="T77" fmla="*/ 40 h 1464"/>
                <a:gd name="T78" fmla="*/ 11 w 1698"/>
                <a:gd name="T79" fmla="*/ 38 h 1464"/>
                <a:gd name="T80" fmla="*/ 2 w 1698"/>
                <a:gd name="T81" fmla="*/ 36 h 1464"/>
                <a:gd name="T82" fmla="*/ 0 w 1698"/>
                <a:gd name="T83" fmla="*/ 24 h 1464"/>
                <a:gd name="T84" fmla="*/ 11 w 1698"/>
                <a:gd name="T85" fmla="*/ 18 h 1464"/>
                <a:gd name="T86" fmla="*/ 19 w 1698"/>
                <a:gd name="T87" fmla="*/ 10 h 1464"/>
                <a:gd name="T88" fmla="*/ 28 w 1698"/>
                <a:gd name="T89" fmla="*/ 9 h 1464"/>
                <a:gd name="T90" fmla="*/ 40 w 1698"/>
                <a:gd name="T91" fmla="*/ 6 h 1464"/>
                <a:gd name="T92" fmla="*/ 49 w 1698"/>
                <a:gd name="T93" fmla="*/ 8 h 1464"/>
                <a:gd name="T94" fmla="*/ 56 w 1698"/>
                <a:gd name="T95" fmla="*/ 8 h 1464"/>
                <a:gd name="T96" fmla="*/ 64 w 1698"/>
                <a:gd name="T97" fmla="*/ 7 h 1464"/>
                <a:gd name="T98" fmla="*/ 74 w 1698"/>
                <a:gd name="T99" fmla="*/ 1 h 1464"/>
                <a:gd name="T100" fmla="*/ 83 w 1698"/>
                <a:gd name="T101" fmla="*/ 3 h 1464"/>
                <a:gd name="T102" fmla="*/ 99 w 1698"/>
                <a:gd name="T103" fmla="*/ 9 h 1464"/>
                <a:gd name="T104" fmla="*/ 112 w 1698"/>
                <a:gd name="T105" fmla="*/ 14 h 1464"/>
                <a:gd name="T106" fmla="*/ 119 w 1698"/>
                <a:gd name="T107" fmla="*/ 12 h 1464"/>
                <a:gd name="T108" fmla="*/ 128 w 1698"/>
                <a:gd name="T109" fmla="*/ 17 h 1464"/>
                <a:gd name="T110" fmla="*/ 141 w 1698"/>
                <a:gd name="T111" fmla="*/ 29 h 1464"/>
                <a:gd name="T112" fmla="*/ 145 w 1698"/>
                <a:gd name="T113" fmla="*/ 35 h 14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98"/>
                <a:gd name="T172" fmla="*/ 0 h 1464"/>
                <a:gd name="T173" fmla="*/ 1698 w 1698"/>
                <a:gd name="T174" fmla="*/ 1464 h 14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98" h="1464">
                  <a:moveTo>
                    <a:pt x="1698" y="462"/>
                  </a:moveTo>
                  <a:lnTo>
                    <a:pt x="1686" y="468"/>
                  </a:lnTo>
                  <a:lnTo>
                    <a:pt x="1680" y="474"/>
                  </a:lnTo>
                  <a:lnTo>
                    <a:pt x="1674" y="480"/>
                  </a:lnTo>
                  <a:lnTo>
                    <a:pt x="1668" y="480"/>
                  </a:lnTo>
                  <a:lnTo>
                    <a:pt x="1662" y="486"/>
                  </a:lnTo>
                  <a:lnTo>
                    <a:pt x="1656" y="492"/>
                  </a:lnTo>
                  <a:lnTo>
                    <a:pt x="1644" y="498"/>
                  </a:lnTo>
                  <a:lnTo>
                    <a:pt x="1626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0" y="516"/>
                  </a:lnTo>
                  <a:lnTo>
                    <a:pt x="1590" y="522"/>
                  </a:lnTo>
                  <a:lnTo>
                    <a:pt x="1566" y="522"/>
                  </a:lnTo>
                  <a:lnTo>
                    <a:pt x="1506" y="510"/>
                  </a:lnTo>
                  <a:lnTo>
                    <a:pt x="1500" y="510"/>
                  </a:lnTo>
                  <a:lnTo>
                    <a:pt x="1488" y="504"/>
                  </a:lnTo>
                  <a:lnTo>
                    <a:pt x="1482" y="498"/>
                  </a:lnTo>
                  <a:lnTo>
                    <a:pt x="1476" y="498"/>
                  </a:lnTo>
                  <a:lnTo>
                    <a:pt x="1476" y="492"/>
                  </a:lnTo>
                  <a:lnTo>
                    <a:pt x="1470" y="492"/>
                  </a:lnTo>
                  <a:lnTo>
                    <a:pt x="1464" y="486"/>
                  </a:lnTo>
                  <a:lnTo>
                    <a:pt x="1452" y="486"/>
                  </a:lnTo>
                  <a:lnTo>
                    <a:pt x="1446" y="474"/>
                  </a:lnTo>
                  <a:lnTo>
                    <a:pt x="1434" y="468"/>
                  </a:lnTo>
                  <a:lnTo>
                    <a:pt x="1416" y="468"/>
                  </a:lnTo>
                  <a:lnTo>
                    <a:pt x="1392" y="468"/>
                  </a:lnTo>
                  <a:lnTo>
                    <a:pt x="1374" y="474"/>
                  </a:lnTo>
                  <a:lnTo>
                    <a:pt x="1368" y="474"/>
                  </a:lnTo>
                  <a:lnTo>
                    <a:pt x="1368" y="486"/>
                  </a:lnTo>
                  <a:lnTo>
                    <a:pt x="1368" y="498"/>
                  </a:lnTo>
                  <a:lnTo>
                    <a:pt x="1368" y="522"/>
                  </a:lnTo>
                  <a:lnTo>
                    <a:pt x="1368" y="534"/>
                  </a:lnTo>
                  <a:lnTo>
                    <a:pt x="1362" y="546"/>
                  </a:lnTo>
                  <a:lnTo>
                    <a:pt x="1356" y="546"/>
                  </a:lnTo>
                  <a:lnTo>
                    <a:pt x="1344" y="540"/>
                  </a:lnTo>
                  <a:lnTo>
                    <a:pt x="1338" y="534"/>
                  </a:lnTo>
                  <a:lnTo>
                    <a:pt x="1308" y="522"/>
                  </a:lnTo>
                  <a:lnTo>
                    <a:pt x="1296" y="522"/>
                  </a:lnTo>
                  <a:lnTo>
                    <a:pt x="1278" y="528"/>
                  </a:lnTo>
                  <a:lnTo>
                    <a:pt x="1260" y="534"/>
                  </a:lnTo>
                  <a:lnTo>
                    <a:pt x="1242" y="546"/>
                  </a:lnTo>
                  <a:lnTo>
                    <a:pt x="1236" y="552"/>
                  </a:lnTo>
                  <a:lnTo>
                    <a:pt x="1224" y="558"/>
                  </a:lnTo>
                  <a:lnTo>
                    <a:pt x="1218" y="558"/>
                  </a:lnTo>
                  <a:lnTo>
                    <a:pt x="1218" y="564"/>
                  </a:lnTo>
                  <a:lnTo>
                    <a:pt x="1224" y="570"/>
                  </a:lnTo>
                  <a:lnTo>
                    <a:pt x="1224" y="582"/>
                  </a:lnTo>
                  <a:lnTo>
                    <a:pt x="1224" y="594"/>
                  </a:lnTo>
                  <a:lnTo>
                    <a:pt x="1212" y="618"/>
                  </a:lnTo>
                  <a:lnTo>
                    <a:pt x="1212" y="624"/>
                  </a:lnTo>
                  <a:lnTo>
                    <a:pt x="1212" y="630"/>
                  </a:lnTo>
                  <a:lnTo>
                    <a:pt x="1212" y="636"/>
                  </a:lnTo>
                  <a:lnTo>
                    <a:pt x="1218" y="654"/>
                  </a:lnTo>
                  <a:lnTo>
                    <a:pt x="1224" y="672"/>
                  </a:lnTo>
                  <a:lnTo>
                    <a:pt x="1230" y="696"/>
                  </a:lnTo>
                  <a:lnTo>
                    <a:pt x="1236" y="708"/>
                  </a:lnTo>
                  <a:lnTo>
                    <a:pt x="1236" y="714"/>
                  </a:lnTo>
                  <a:lnTo>
                    <a:pt x="1236" y="720"/>
                  </a:lnTo>
                  <a:lnTo>
                    <a:pt x="1218" y="726"/>
                  </a:lnTo>
                  <a:lnTo>
                    <a:pt x="1212" y="726"/>
                  </a:lnTo>
                  <a:lnTo>
                    <a:pt x="1206" y="726"/>
                  </a:lnTo>
                  <a:lnTo>
                    <a:pt x="1194" y="720"/>
                  </a:lnTo>
                  <a:lnTo>
                    <a:pt x="1194" y="714"/>
                  </a:lnTo>
                  <a:lnTo>
                    <a:pt x="1176" y="714"/>
                  </a:lnTo>
                  <a:lnTo>
                    <a:pt x="1164" y="708"/>
                  </a:lnTo>
                  <a:lnTo>
                    <a:pt x="1158" y="708"/>
                  </a:lnTo>
                  <a:lnTo>
                    <a:pt x="1140" y="702"/>
                  </a:lnTo>
                  <a:lnTo>
                    <a:pt x="1134" y="696"/>
                  </a:lnTo>
                  <a:lnTo>
                    <a:pt x="1128" y="690"/>
                  </a:lnTo>
                  <a:lnTo>
                    <a:pt x="1116" y="678"/>
                  </a:lnTo>
                  <a:lnTo>
                    <a:pt x="1110" y="678"/>
                  </a:lnTo>
                  <a:lnTo>
                    <a:pt x="1104" y="672"/>
                  </a:lnTo>
                  <a:lnTo>
                    <a:pt x="1092" y="672"/>
                  </a:lnTo>
                  <a:lnTo>
                    <a:pt x="1086" y="672"/>
                  </a:lnTo>
                  <a:lnTo>
                    <a:pt x="1080" y="672"/>
                  </a:lnTo>
                  <a:lnTo>
                    <a:pt x="1074" y="672"/>
                  </a:lnTo>
                  <a:lnTo>
                    <a:pt x="1068" y="672"/>
                  </a:lnTo>
                  <a:lnTo>
                    <a:pt x="1062" y="678"/>
                  </a:lnTo>
                  <a:lnTo>
                    <a:pt x="1056" y="678"/>
                  </a:lnTo>
                  <a:lnTo>
                    <a:pt x="1056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6"/>
                  </a:lnTo>
                  <a:lnTo>
                    <a:pt x="1032" y="708"/>
                  </a:lnTo>
                  <a:lnTo>
                    <a:pt x="1026" y="708"/>
                  </a:lnTo>
                  <a:lnTo>
                    <a:pt x="1032" y="714"/>
                  </a:lnTo>
                  <a:lnTo>
                    <a:pt x="1026" y="720"/>
                  </a:lnTo>
                  <a:lnTo>
                    <a:pt x="1020" y="720"/>
                  </a:lnTo>
                  <a:lnTo>
                    <a:pt x="1014" y="732"/>
                  </a:lnTo>
                  <a:lnTo>
                    <a:pt x="1014" y="744"/>
                  </a:lnTo>
                  <a:lnTo>
                    <a:pt x="1038" y="810"/>
                  </a:lnTo>
                  <a:lnTo>
                    <a:pt x="1050" y="834"/>
                  </a:lnTo>
                  <a:lnTo>
                    <a:pt x="1056" y="858"/>
                  </a:lnTo>
                  <a:lnTo>
                    <a:pt x="1062" y="876"/>
                  </a:lnTo>
                  <a:lnTo>
                    <a:pt x="1068" y="882"/>
                  </a:lnTo>
                  <a:lnTo>
                    <a:pt x="1062" y="972"/>
                  </a:lnTo>
                  <a:lnTo>
                    <a:pt x="1056" y="972"/>
                  </a:lnTo>
                  <a:lnTo>
                    <a:pt x="1050" y="996"/>
                  </a:lnTo>
                  <a:lnTo>
                    <a:pt x="1044" y="1014"/>
                  </a:lnTo>
                  <a:lnTo>
                    <a:pt x="1008" y="1014"/>
                  </a:lnTo>
                  <a:lnTo>
                    <a:pt x="1008" y="1008"/>
                  </a:lnTo>
                  <a:lnTo>
                    <a:pt x="990" y="1008"/>
                  </a:lnTo>
                  <a:lnTo>
                    <a:pt x="972" y="1014"/>
                  </a:lnTo>
                  <a:lnTo>
                    <a:pt x="948" y="1020"/>
                  </a:lnTo>
                  <a:lnTo>
                    <a:pt x="918" y="1026"/>
                  </a:lnTo>
                  <a:lnTo>
                    <a:pt x="840" y="1032"/>
                  </a:lnTo>
                  <a:lnTo>
                    <a:pt x="834" y="1032"/>
                  </a:lnTo>
                  <a:lnTo>
                    <a:pt x="834" y="1026"/>
                  </a:lnTo>
                  <a:lnTo>
                    <a:pt x="822" y="1026"/>
                  </a:lnTo>
                  <a:lnTo>
                    <a:pt x="816" y="1032"/>
                  </a:lnTo>
                  <a:lnTo>
                    <a:pt x="804" y="1032"/>
                  </a:lnTo>
                  <a:lnTo>
                    <a:pt x="798" y="1026"/>
                  </a:lnTo>
                  <a:lnTo>
                    <a:pt x="780" y="1026"/>
                  </a:lnTo>
                  <a:lnTo>
                    <a:pt x="762" y="1026"/>
                  </a:lnTo>
                  <a:lnTo>
                    <a:pt x="756" y="1026"/>
                  </a:lnTo>
                  <a:lnTo>
                    <a:pt x="750" y="1026"/>
                  </a:lnTo>
                  <a:lnTo>
                    <a:pt x="756" y="1020"/>
                  </a:lnTo>
                  <a:lnTo>
                    <a:pt x="750" y="1020"/>
                  </a:lnTo>
                  <a:lnTo>
                    <a:pt x="744" y="1014"/>
                  </a:lnTo>
                  <a:lnTo>
                    <a:pt x="684" y="1020"/>
                  </a:lnTo>
                  <a:lnTo>
                    <a:pt x="648" y="1020"/>
                  </a:lnTo>
                  <a:lnTo>
                    <a:pt x="630" y="1020"/>
                  </a:lnTo>
                  <a:lnTo>
                    <a:pt x="618" y="1020"/>
                  </a:lnTo>
                  <a:lnTo>
                    <a:pt x="606" y="1014"/>
                  </a:lnTo>
                  <a:lnTo>
                    <a:pt x="582" y="1014"/>
                  </a:lnTo>
                  <a:lnTo>
                    <a:pt x="576" y="1014"/>
                  </a:lnTo>
                  <a:lnTo>
                    <a:pt x="570" y="1014"/>
                  </a:lnTo>
                  <a:lnTo>
                    <a:pt x="564" y="1020"/>
                  </a:lnTo>
                  <a:lnTo>
                    <a:pt x="558" y="1026"/>
                  </a:lnTo>
                  <a:lnTo>
                    <a:pt x="552" y="1032"/>
                  </a:lnTo>
                  <a:lnTo>
                    <a:pt x="552" y="1038"/>
                  </a:lnTo>
                  <a:lnTo>
                    <a:pt x="558" y="1194"/>
                  </a:lnTo>
                  <a:lnTo>
                    <a:pt x="558" y="1206"/>
                  </a:lnTo>
                  <a:lnTo>
                    <a:pt x="552" y="1218"/>
                  </a:lnTo>
                  <a:lnTo>
                    <a:pt x="552" y="1236"/>
                  </a:lnTo>
                  <a:lnTo>
                    <a:pt x="546" y="1272"/>
                  </a:lnTo>
                  <a:lnTo>
                    <a:pt x="546" y="1308"/>
                  </a:lnTo>
                  <a:lnTo>
                    <a:pt x="540" y="1332"/>
                  </a:lnTo>
                  <a:lnTo>
                    <a:pt x="546" y="1356"/>
                  </a:lnTo>
                  <a:lnTo>
                    <a:pt x="546" y="1362"/>
                  </a:lnTo>
                  <a:lnTo>
                    <a:pt x="546" y="1374"/>
                  </a:lnTo>
                  <a:lnTo>
                    <a:pt x="546" y="1380"/>
                  </a:lnTo>
                  <a:lnTo>
                    <a:pt x="540" y="1380"/>
                  </a:lnTo>
                  <a:lnTo>
                    <a:pt x="522" y="1380"/>
                  </a:lnTo>
                  <a:lnTo>
                    <a:pt x="516" y="1380"/>
                  </a:lnTo>
                  <a:lnTo>
                    <a:pt x="516" y="1386"/>
                  </a:lnTo>
                  <a:lnTo>
                    <a:pt x="516" y="1392"/>
                  </a:lnTo>
                  <a:lnTo>
                    <a:pt x="510" y="1392"/>
                  </a:lnTo>
                  <a:lnTo>
                    <a:pt x="504" y="1386"/>
                  </a:lnTo>
                  <a:lnTo>
                    <a:pt x="498" y="1392"/>
                  </a:lnTo>
                  <a:lnTo>
                    <a:pt x="492" y="1398"/>
                  </a:lnTo>
                  <a:lnTo>
                    <a:pt x="486" y="1398"/>
                  </a:lnTo>
                  <a:lnTo>
                    <a:pt x="486" y="1392"/>
                  </a:lnTo>
                  <a:lnTo>
                    <a:pt x="486" y="1380"/>
                  </a:lnTo>
                  <a:lnTo>
                    <a:pt x="486" y="1374"/>
                  </a:lnTo>
                  <a:lnTo>
                    <a:pt x="480" y="1374"/>
                  </a:lnTo>
                  <a:lnTo>
                    <a:pt x="474" y="1374"/>
                  </a:lnTo>
                  <a:lnTo>
                    <a:pt x="468" y="1380"/>
                  </a:lnTo>
                  <a:lnTo>
                    <a:pt x="462" y="1380"/>
                  </a:lnTo>
                  <a:lnTo>
                    <a:pt x="456" y="1380"/>
                  </a:lnTo>
                  <a:lnTo>
                    <a:pt x="450" y="1386"/>
                  </a:lnTo>
                  <a:lnTo>
                    <a:pt x="444" y="1386"/>
                  </a:lnTo>
                  <a:lnTo>
                    <a:pt x="444" y="1392"/>
                  </a:lnTo>
                  <a:lnTo>
                    <a:pt x="432" y="1398"/>
                  </a:lnTo>
                  <a:lnTo>
                    <a:pt x="426" y="1404"/>
                  </a:lnTo>
                  <a:lnTo>
                    <a:pt x="420" y="1404"/>
                  </a:lnTo>
                  <a:lnTo>
                    <a:pt x="408" y="1404"/>
                  </a:lnTo>
                  <a:lnTo>
                    <a:pt x="378" y="1410"/>
                  </a:lnTo>
                  <a:lnTo>
                    <a:pt x="372" y="1410"/>
                  </a:lnTo>
                  <a:lnTo>
                    <a:pt x="360" y="1410"/>
                  </a:lnTo>
                  <a:lnTo>
                    <a:pt x="354" y="1416"/>
                  </a:lnTo>
                  <a:lnTo>
                    <a:pt x="348" y="1416"/>
                  </a:lnTo>
                  <a:lnTo>
                    <a:pt x="342" y="1410"/>
                  </a:lnTo>
                  <a:lnTo>
                    <a:pt x="336" y="1410"/>
                  </a:lnTo>
                  <a:lnTo>
                    <a:pt x="336" y="1416"/>
                  </a:lnTo>
                  <a:lnTo>
                    <a:pt x="330" y="1422"/>
                  </a:lnTo>
                  <a:lnTo>
                    <a:pt x="324" y="1422"/>
                  </a:lnTo>
                  <a:lnTo>
                    <a:pt x="318" y="1422"/>
                  </a:lnTo>
                  <a:lnTo>
                    <a:pt x="312" y="1428"/>
                  </a:lnTo>
                  <a:lnTo>
                    <a:pt x="312" y="1434"/>
                  </a:lnTo>
                  <a:lnTo>
                    <a:pt x="300" y="1428"/>
                  </a:lnTo>
                  <a:lnTo>
                    <a:pt x="288" y="1434"/>
                  </a:lnTo>
                  <a:lnTo>
                    <a:pt x="282" y="1440"/>
                  </a:lnTo>
                  <a:lnTo>
                    <a:pt x="282" y="1446"/>
                  </a:lnTo>
                  <a:lnTo>
                    <a:pt x="276" y="1446"/>
                  </a:lnTo>
                  <a:lnTo>
                    <a:pt x="276" y="1452"/>
                  </a:lnTo>
                  <a:lnTo>
                    <a:pt x="270" y="1452"/>
                  </a:lnTo>
                  <a:lnTo>
                    <a:pt x="258" y="1464"/>
                  </a:lnTo>
                  <a:lnTo>
                    <a:pt x="240" y="1458"/>
                  </a:lnTo>
                  <a:lnTo>
                    <a:pt x="234" y="1452"/>
                  </a:lnTo>
                  <a:lnTo>
                    <a:pt x="234" y="1446"/>
                  </a:lnTo>
                  <a:lnTo>
                    <a:pt x="228" y="1446"/>
                  </a:lnTo>
                  <a:lnTo>
                    <a:pt x="222" y="1440"/>
                  </a:lnTo>
                  <a:lnTo>
                    <a:pt x="216" y="1440"/>
                  </a:lnTo>
                  <a:lnTo>
                    <a:pt x="210" y="1428"/>
                  </a:lnTo>
                  <a:lnTo>
                    <a:pt x="210" y="1422"/>
                  </a:lnTo>
                  <a:lnTo>
                    <a:pt x="198" y="1416"/>
                  </a:lnTo>
                  <a:lnTo>
                    <a:pt x="204" y="1410"/>
                  </a:lnTo>
                  <a:lnTo>
                    <a:pt x="210" y="1404"/>
                  </a:lnTo>
                  <a:lnTo>
                    <a:pt x="210" y="1398"/>
                  </a:lnTo>
                  <a:lnTo>
                    <a:pt x="252" y="1368"/>
                  </a:lnTo>
                  <a:lnTo>
                    <a:pt x="276" y="1350"/>
                  </a:lnTo>
                  <a:lnTo>
                    <a:pt x="300" y="1338"/>
                  </a:lnTo>
                  <a:lnTo>
                    <a:pt x="294" y="1314"/>
                  </a:lnTo>
                  <a:lnTo>
                    <a:pt x="288" y="1308"/>
                  </a:lnTo>
                  <a:lnTo>
                    <a:pt x="300" y="1266"/>
                  </a:lnTo>
                  <a:lnTo>
                    <a:pt x="300" y="1242"/>
                  </a:lnTo>
                  <a:lnTo>
                    <a:pt x="300" y="1206"/>
                  </a:lnTo>
                  <a:lnTo>
                    <a:pt x="300" y="1164"/>
                  </a:lnTo>
                  <a:lnTo>
                    <a:pt x="294" y="1134"/>
                  </a:lnTo>
                  <a:lnTo>
                    <a:pt x="282" y="1086"/>
                  </a:lnTo>
                  <a:lnTo>
                    <a:pt x="276" y="1074"/>
                  </a:lnTo>
                  <a:lnTo>
                    <a:pt x="276" y="1056"/>
                  </a:lnTo>
                  <a:lnTo>
                    <a:pt x="270" y="1038"/>
                  </a:lnTo>
                  <a:lnTo>
                    <a:pt x="270" y="1020"/>
                  </a:lnTo>
                  <a:lnTo>
                    <a:pt x="282" y="1020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94" y="1002"/>
                  </a:lnTo>
                  <a:lnTo>
                    <a:pt x="306" y="996"/>
                  </a:lnTo>
                  <a:lnTo>
                    <a:pt x="312" y="990"/>
                  </a:lnTo>
                  <a:lnTo>
                    <a:pt x="318" y="990"/>
                  </a:lnTo>
                  <a:lnTo>
                    <a:pt x="324" y="984"/>
                  </a:lnTo>
                  <a:lnTo>
                    <a:pt x="324" y="978"/>
                  </a:lnTo>
                  <a:lnTo>
                    <a:pt x="324" y="972"/>
                  </a:lnTo>
                  <a:lnTo>
                    <a:pt x="324" y="954"/>
                  </a:lnTo>
                  <a:lnTo>
                    <a:pt x="336" y="948"/>
                  </a:lnTo>
                  <a:lnTo>
                    <a:pt x="342" y="936"/>
                  </a:lnTo>
                  <a:lnTo>
                    <a:pt x="348" y="924"/>
                  </a:lnTo>
                  <a:lnTo>
                    <a:pt x="354" y="924"/>
                  </a:lnTo>
                  <a:lnTo>
                    <a:pt x="372" y="924"/>
                  </a:lnTo>
                  <a:lnTo>
                    <a:pt x="372" y="930"/>
                  </a:lnTo>
                  <a:lnTo>
                    <a:pt x="378" y="930"/>
                  </a:lnTo>
                  <a:lnTo>
                    <a:pt x="378" y="936"/>
                  </a:lnTo>
                  <a:lnTo>
                    <a:pt x="384" y="936"/>
                  </a:lnTo>
                  <a:lnTo>
                    <a:pt x="384" y="942"/>
                  </a:lnTo>
                  <a:lnTo>
                    <a:pt x="402" y="942"/>
                  </a:lnTo>
                  <a:lnTo>
                    <a:pt x="402" y="996"/>
                  </a:lnTo>
                  <a:lnTo>
                    <a:pt x="414" y="996"/>
                  </a:lnTo>
                  <a:lnTo>
                    <a:pt x="420" y="996"/>
                  </a:lnTo>
                  <a:lnTo>
                    <a:pt x="426" y="996"/>
                  </a:lnTo>
                  <a:lnTo>
                    <a:pt x="432" y="996"/>
                  </a:lnTo>
                  <a:lnTo>
                    <a:pt x="438" y="996"/>
                  </a:lnTo>
                  <a:lnTo>
                    <a:pt x="438" y="942"/>
                  </a:lnTo>
                  <a:lnTo>
                    <a:pt x="444" y="930"/>
                  </a:lnTo>
                  <a:lnTo>
                    <a:pt x="444" y="924"/>
                  </a:lnTo>
                  <a:lnTo>
                    <a:pt x="444" y="918"/>
                  </a:lnTo>
                  <a:lnTo>
                    <a:pt x="462" y="918"/>
                  </a:lnTo>
                  <a:lnTo>
                    <a:pt x="474" y="906"/>
                  </a:lnTo>
                  <a:lnTo>
                    <a:pt x="480" y="900"/>
                  </a:lnTo>
                  <a:lnTo>
                    <a:pt x="486" y="888"/>
                  </a:lnTo>
                  <a:lnTo>
                    <a:pt x="492" y="876"/>
                  </a:lnTo>
                  <a:lnTo>
                    <a:pt x="492" y="858"/>
                  </a:lnTo>
                  <a:lnTo>
                    <a:pt x="480" y="858"/>
                  </a:lnTo>
                  <a:lnTo>
                    <a:pt x="474" y="840"/>
                  </a:lnTo>
                  <a:lnTo>
                    <a:pt x="450" y="834"/>
                  </a:lnTo>
                  <a:lnTo>
                    <a:pt x="438" y="816"/>
                  </a:lnTo>
                  <a:lnTo>
                    <a:pt x="432" y="792"/>
                  </a:lnTo>
                  <a:lnTo>
                    <a:pt x="432" y="786"/>
                  </a:lnTo>
                  <a:lnTo>
                    <a:pt x="432" y="774"/>
                  </a:lnTo>
                  <a:lnTo>
                    <a:pt x="432" y="762"/>
                  </a:lnTo>
                  <a:lnTo>
                    <a:pt x="438" y="750"/>
                  </a:lnTo>
                  <a:lnTo>
                    <a:pt x="438" y="738"/>
                  </a:lnTo>
                  <a:lnTo>
                    <a:pt x="444" y="732"/>
                  </a:lnTo>
                  <a:lnTo>
                    <a:pt x="450" y="732"/>
                  </a:lnTo>
                  <a:lnTo>
                    <a:pt x="456" y="732"/>
                  </a:lnTo>
                  <a:lnTo>
                    <a:pt x="456" y="726"/>
                  </a:lnTo>
                  <a:lnTo>
                    <a:pt x="456" y="714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44" y="684"/>
                  </a:lnTo>
                  <a:lnTo>
                    <a:pt x="438" y="666"/>
                  </a:lnTo>
                  <a:lnTo>
                    <a:pt x="426" y="666"/>
                  </a:lnTo>
                  <a:lnTo>
                    <a:pt x="432" y="666"/>
                  </a:lnTo>
                  <a:lnTo>
                    <a:pt x="420" y="666"/>
                  </a:lnTo>
                  <a:lnTo>
                    <a:pt x="414" y="660"/>
                  </a:lnTo>
                  <a:lnTo>
                    <a:pt x="396" y="654"/>
                  </a:lnTo>
                  <a:lnTo>
                    <a:pt x="384" y="642"/>
                  </a:lnTo>
                  <a:lnTo>
                    <a:pt x="366" y="624"/>
                  </a:lnTo>
                  <a:lnTo>
                    <a:pt x="354" y="606"/>
                  </a:lnTo>
                  <a:lnTo>
                    <a:pt x="342" y="588"/>
                  </a:lnTo>
                  <a:lnTo>
                    <a:pt x="342" y="582"/>
                  </a:lnTo>
                  <a:lnTo>
                    <a:pt x="360" y="564"/>
                  </a:lnTo>
                  <a:lnTo>
                    <a:pt x="372" y="540"/>
                  </a:lnTo>
                  <a:lnTo>
                    <a:pt x="366" y="528"/>
                  </a:lnTo>
                  <a:lnTo>
                    <a:pt x="366" y="522"/>
                  </a:lnTo>
                  <a:lnTo>
                    <a:pt x="372" y="516"/>
                  </a:lnTo>
                  <a:lnTo>
                    <a:pt x="384" y="504"/>
                  </a:lnTo>
                  <a:lnTo>
                    <a:pt x="378" y="492"/>
                  </a:lnTo>
                  <a:lnTo>
                    <a:pt x="378" y="486"/>
                  </a:lnTo>
                  <a:lnTo>
                    <a:pt x="378" y="480"/>
                  </a:lnTo>
                  <a:lnTo>
                    <a:pt x="378" y="474"/>
                  </a:lnTo>
                  <a:lnTo>
                    <a:pt x="378" y="468"/>
                  </a:lnTo>
                  <a:lnTo>
                    <a:pt x="366" y="468"/>
                  </a:lnTo>
                  <a:lnTo>
                    <a:pt x="360" y="474"/>
                  </a:lnTo>
                  <a:lnTo>
                    <a:pt x="354" y="480"/>
                  </a:lnTo>
                  <a:lnTo>
                    <a:pt x="348" y="486"/>
                  </a:lnTo>
                  <a:lnTo>
                    <a:pt x="348" y="492"/>
                  </a:lnTo>
                  <a:lnTo>
                    <a:pt x="336" y="510"/>
                  </a:lnTo>
                  <a:lnTo>
                    <a:pt x="300" y="516"/>
                  </a:lnTo>
                  <a:lnTo>
                    <a:pt x="300" y="510"/>
                  </a:lnTo>
                  <a:lnTo>
                    <a:pt x="282" y="504"/>
                  </a:lnTo>
                  <a:lnTo>
                    <a:pt x="282" y="498"/>
                  </a:lnTo>
                  <a:lnTo>
                    <a:pt x="264" y="486"/>
                  </a:lnTo>
                  <a:lnTo>
                    <a:pt x="258" y="492"/>
                  </a:lnTo>
                  <a:lnTo>
                    <a:pt x="234" y="492"/>
                  </a:lnTo>
                  <a:lnTo>
                    <a:pt x="222" y="486"/>
                  </a:lnTo>
                  <a:lnTo>
                    <a:pt x="204" y="480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92" y="462"/>
                  </a:lnTo>
                  <a:lnTo>
                    <a:pt x="186" y="462"/>
                  </a:lnTo>
                  <a:lnTo>
                    <a:pt x="180" y="468"/>
                  </a:lnTo>
                  <a:lnTo>
                    <a:pt x="150" y="450"/>
                  </a:lnTo>
                  <a:lnTo>
                    <a:pt x="144" y="438"/>
                  </a:lnTo>
                  <a:lnTo>
                    <a:pt x="138" y="438"/>
                  </a:lnTo>
                  <a:lnTo>
                    <a:pt x="132" y="432"/>
                  </a:lnTo>
                  <a:lnTo>
                    <a:pt x="126" y="432"/>
                  </a:lnTo>
                  <a:lnTo>
                    <a:pt x="120" y="432"/>
                  </a:lnTo>
                  <a:lnTo>
                    <a:pt x="102" y="426"/>
                  </a:lnTo>
                  <a:lnTo>
                    <a:pt x="96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2" y="414"/>
                  </a:lnTo>
                  <a:lnTo>
                    <a:pt x="60" y="414"/>
                  </a:lnTo>
                  <a:lnTo>
                    <a:pt x="30" y="414"/>
                  </a:lnTo>
                  <a:lnTo>
                    <a:pt x="24" y="414"/>
                  </a:lnTo>
                  <a:lnTo>
                    <a:pt x="12" y="414"/>
                  </a:lnTo>
                  <a:lnTo>
                    <a:pt x="0" y="420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0" y="336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30" y="270"/>
                  </a:lnTo>
                  <a:lnTo>
                    <a:pt x="42" y="270"/>
                  </a:lnTo>
                  <a:lnTo>
                    <a:pt x="54" y="264"/>
                  </a:lnTo>
                  <a:lnTo>
                    <a:pt x="78" y="240"/>
                  </a:lnTo>
                  <a:lnTo>
                    <a:pt x="102" y="216"/>
                  </a:lnTo>
                  <a:lnTo>
                    <a:pt x="114" y="210"/>
                  </a:lnTo>
                  <a:lnTo>
                    <a:pt x="120" y="204"/>
                  </a:lnTo>
                  <a:lnTo>
                    <a:pt x="126" y="198"/>
                  </a:lnTo>
                  <a:lnTo>
                    <a:pt x="138" y="18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38"/>
                  </a:lnTo>
                  <a:lnTo>
                    <a:pt x="210" y="126"/>
                  </a:lnTo>
                  <a:lnTo>
                    <a:pt x="216" y="120"/>
                  </a:lnTo>
                  <a:lnTo>
                    <a:pt x="222" y="120"/>
                  </a:lnTo>
                  <a:lnTo>
                    <a:pt x="258" y="114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300" y="102"/>
                  </a:lnTo>
                  <a:lnTo>
                    <a:pt x="312" y="102"/>
                  </a:lnTo>
                  <a:lnTo>
                    <a:pt x="318" y="102"/>
                  </a:lnTo>
                  <a:lnTo>
                    <a:pt x="348" y="96"/>
                  </a:lnTo>
                  <a:lnTo>
                    <a:pt x="366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408" y="84"/>
                  </a:lnTo>
                  <a:lnTo>
                    <a:pt x="420" y="84"/>
                  </a:lnTo>
                  <a:lnTo>
                    <a:pt x="462" y="72"/>
                  </a:lnTo>
                  <a:lnTo>
                    <a:pt x="474" y="72"/>
                  </a:lnTo>
                  <a:lnTo>
                    <a:pt x="474" y="78"/>
                  </a:lnTo>
                  <a:lnTo>
                    <a:pt x="492" y="90"/>
                  </a:lnTo>
                  <a:lnTo>
                    <a:pt x="498" y="90"/>
                  </a:lnTo>
                  <a:lnTo>
                    <a:pt x="522" y="96"/>
                  </a:lnTo>
                  <a:lnTo>
                    <a:pt x="540" y="96"/>
                  </a:lnTo>
                  <a:lnTo>
                    <a:pt x="546" y="96"/>
                  </a:lnTo>
                  <a:lnTo>
                    <a:pt x="558" y="96"/>
                  </a:lnTo>
                  <a:lnTo>
                    <a:pt x="564" y="96"/>
                  </a:lnTo>
                  <a:lnTo>
                    <a:pt x="576" y="96"/>
                  </a:lnTo>
                  <a:lnTo>
                    <a:pt x="588" y="96"/>
                  </a:lnTo>
                  <a:lnTo>
                    <a:pt x="612" y="90"/>
                  </a:lnTo>
                  <a:lnTo>
                    <a:pt x="624" y="90"/>
                  </a:lnTo>
                  <a:lnTo>
                    <a:pt x="636" y="90"/>
                  </a:lnTo>
                  <a:lnTo>
                    <a:pt x="642" y="90"/>
                  </a:lnTo>
                  <a:lnTo>
                    <a:pt x="648" y="96"/>
                  </a:lnTo>
                  <a:lnTo>
                    <a:pt x="660" y="96"/>
                  </a:lnTo>
                  <a:lnTo>
                    <a:pt x="666" y="96"/>
                  </a:lnTo>
                  <a:lnTo>
                    <a:pt x="672" y="96"/>
                  </a:lnTo>
                  <a:lnTo>
                    <a:pt x="684" y="96"/>
                  </a:lnTo>
                  <a:lnTo>
                    <a:pt x="708" y="96"/>
                  </a:lnTo>
                  <a:lnTo>
                    <a:pt x="714" y="96"/>
                  </a:lnTo>
                  <a:lnTo>
                    <a:pt x="726" y="96"/>
                  </a:lnTo>
                  <a:lnTo>
                    <a:pt x="738" y="84"/>
                  </a:lnTo>
                  <a:lnTo>
                    <a:pt x="744" y="78"/>
                  </a:lnTo>
                  <a:lnTo>
                    <a:pt x="756" y="66"/>
                  </a:lnTo>
                  <a:lnTo>
                    <a:pt x="774" y="42"/>
                  </a:lnTo>
                  <a:lnTo>
                    <a:pt x="780" y="30"/>
                  </a:lnTo>
                  <a:lnTo>
                    <a:pt x="816" y="24"/>
                  </a:lnTo>
                  <a:lnTo>
                    <a:pt x="840" y="18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64" y="6"/>
                  </a:lnTo>
                  <a:lnTo>
                    <a:pt x="870" y="6"/>
                  </a:lnTo>
                  <a:lnTo>
                    <a:pt x="894" y="0"/>
                  </a:lnTo>
                  <a:lnTo>
                    <a:pt x="900" y="6"/>
                  </a:lnTo>
                  <a:lnTo>
                    <a:pt x="930" y="18"/>
                  </a:lnTo>
                  <a:lnTo>
                    <a:pt x="942" y="24"/>
                  </a:lnTo>
                  <a:lnTo>
                    <a:pt x="954" y="30"/>
                  </a:lnTo>
                  <a:lnTo>
                    <a:pt x="1026" y="60"/>
                  </a:lnTo>
                  <a:lnTo>
                    <a:pt x="1032" y="60"/>
                  </a:lnTo>
                  <a:lnTo>
                    <a:pt x="1038" y="66"/>
                  </a:lnTo>
                  <a:lnTo>
                    <a:pt x="1068" y="72"/>
                  </a:lnTo>
                  <a:lnTo>
                    <a:pt x="1098" y="84"/>
                  </a:lnTo>
                  <a:lnTo>
                    <a:pt x="1122" y="90"/>
                  </a:lnTo>
                  <a:lnTo>
                    <a:pt x="1122" y="96"/>
                  </a:lnTo>
                  <a:lnTo>
                    <a:pt x="1140" y="102"/>
                  </a:lnTo>
                  <a:lnTo>
                    <a:pt x="1182" y="114"/>
                  </a:lnTo>
                  <a:lnTo>
                    <a:pt x="1188" y="114"/>
                  </a:lnTo>
                  <a:lnTo>
                    <a:pt x="1200" y="120"/>
                  </a:lnTo>
                  <a:lnTo>
                    <a:pt x="1212" y="126"/>
                  </a:lnTo>
                  <a:lnTo>
                    <a:pt x="1224" y="126"/>
                  </a:lnTo>
                  <a:lnTo>
                    <a:pt x="1248" y="138"/>
                  </a:lnTo>
                  <a:lnTo>
                    <a:pt x="1272" y="150"/>
                  </a:lnTo>
                  <a:lnTo>
                    <a:pt x="1284" y="156"/>
                  </a:lnTo>
                  <a:lnTo>
                    <a:pt x="1290" y="162"/>
                  </a:lnTo>
                  <a:lnTo>
                    <a:pt x="1296" y="162"/>
                  </a:lnTo>
                  <a:lnTo>
                    <a:pt x="1308" y="156"/>
                  </a:lnTo>
                  <a:lnTo>
                    <a:pt x="1320" y="150"/>
                  </a:lnTo>
                  <a:lnTo>
                    <a:pt x="1326" y="150"/>
                  </a:lnTo>
                  <a:lnTo>
                    <a:pt x="1338" y="144"/>
                  </a:lnTo>
                  <a:lnTo>
                    <a:pt x="1362" y="144"/>
                  </a:lnTo>
                  <a:lnTo>
                    <a:pt x="1368" y="144"/>
                  </a:lnTo>
                  <a:lnTo>
                    <a:pt x="1374" y="144"/>
                  </a:lnTo>
                  <a:lnTo>
                    <a:pt x="1386" y="150"/>
                  </a:lnTo>
                  <a:lnTo>
                    <a:pt x="1392" y="150"/>
                  </a:lnTo>
                  <a:lnTo>
                    <a:pt x="1398" y="150"/>
                  </a:lnTo>
                  <a:lnTo>
                    <a:pt x="1416" y="162"/>
                  </a:lnTo>
                  <a:lnTo>
                    <a:pt x="1458" y="186"/>
                  </a:lnTo>
                  <a:lnTo>
                    <a:pt x="1464" y="186"/>
                  </a:lnTo>
                  <a:lnTo>
                    <a:pt x="1470" y="192"/>
                  </a:lnTo>
                  <a:lnTo>
                    <a:pt x="1482" y="204"/>
                  </a:lnTo>
                  <a:lnTo>
                    <a:pt x="1512" y="234"/>
                  </a:lnTo>
                  <a:lnTo>
                    <a:pt x="1554" y="276"/>
                  </a:lnTo>
                  <a:lnTo>
                    <a:pt x="1560" y="276"/>
                  </a:lnTo>
                  <a:lnTo>
                    <a:pt x="1566" y="282"/>
                  </a:lnTo>
                  <a:lnTo>
                    <a:pt x="1578" y="294"/>
                  </a:lnTo>
                  <a:lnTo>
                    <a:pt x="1602" y="318"/>
                  </a:lnTo>
                  <a:lnTo>
                    <a:pt x="1614" y="330"/>
                  </a:lnTo>
                  <a:lnTo>
                    <a:pt x="1620" y="336"/>
                  </a:lnTo>
                  <a:lnTo>
                    <a:pt x="1626" y="342"/>
                  </a:lnTo>
                  <a:lnTo>
                    <a:pt x="1632" y="354"/>
                  </a:lnTo>
                  <a:lnTo>
                    <a:pt x="1644" y="366"/>
                  </a:lnTo>
                  <a:lnTo>
                    <a:pt x="1650" y="378"/>
                  </a:lnTo>
                  <a:lnTo>
                    <a:pt x="1650" y="384"/>
                  </a:lnTo>
                  <a:lnTo>
                    <a:pt x="1656" y="384"/>
                  </a:lnTo>
                  <a:lnTo>
                    <a:pt x="1662" y="402"/>
                  </a:lnTo>
                  <a:lnTo>
                    <a:pt x="1668" y="408"/>
                  </a:lnTo>
                  <a:lnTo>
                    <a:pt x="1674" y="426"/>
                  </a:lnTo>
                  <a:lnTo>
                    <a:pt x="1686" y="438"/>
                  </a:lnTo>
                  <a:lnTo>
                    <a:pt x="1698" y="46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9" name="Freeform 34">
              <a:extLst>
                <a:ext uri="{FF2B5EF4-FFF2-40B4-BE49-F238E27FC236}">
                  <a16:creationId xmlns:a16="http://schemas.microsoft.com/office/drawing/2014/main" id="{94603F24-8CF7-4226-A433-00D18CA7D9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1988" y="1681402"/>
              <a:ext cx="869877" cy="1060101"/>
            </a:xfrm>
            <a:custGeom>
              <a:avLst/>
              <a:gdLst>
                <a:gd name="T0" fmla="*/ 4 w 1638"/>
                <a:gd name="T1" fmla="*/ 111 h 1998"/>
                <a:gd name="T2" fmla="*/ 6 w 1638"/>
                <a:gd name="T3" fmla="*/ 87 h 1998"/>
                <a:gd name="T4" fmla="*/ 10 w 1638"/>
                <a:gd name="T5" fmla="*/ 80 h 1998"/>
                <a:gd name="T6" fmla="*/ 10 w 1638"/>
                <a:gd name="T7" fmla="*/ 71 h 1998"/>
                <a:gd name="T8" fmla="*/ 9 w 1638"/>
                <a:gd name="T9" fmla="*/ 56 h 1998"/>
                <a:gd name="T10" fmla="*/ 8 w 1638"/>
                <a:gd name="T11" fmla="*/ 40 h 1998"/>
                <a:gd name="T12" fmla="*/ 20 w 1638"/>
                <a:gd name="T13" fmla="*/ 30 h 1998"/>
                <a:gd name="T14" fmla="*/ 30 w 1638"/>
                <a:gd name="T15" fmla="*/ 19 h 1998"/>
                <a:gd name="T16" fmla="*/ 35 w 1638"/>
                <a:gd name="T17" fmla="*/ 2 h 1998"/>
                <a:gd name="T18" fmla="*/ 47 w 1638"/>
                <a:gd name="T19" fmla="*/ 2 h 1998"/>
                <a:gd name="T20" fmla="*/ 56 w 1638"/>
                <a:gd name="T21" fmla="*/ 7 h 1998"/>
                <a:gd name="T22" fmla="*/ 67 w 1638"/>
                <a:gd name="T23" fmla="*/ 5 h 1998"/>
                <a:gd name="T24" fmla="*/ 65 w 1638"/>
                <a:gd name="T25" fmla="*/ 15 h 1998"/>
                <a:gd name="T26" fmla="*/ 74 w 1638"/>
                <a:gd name="T27" fmla="*/ 24 h 1998"/>
                <a:gd name="T28" fmla="*/ 73 w 1638"/>
                <a:gd name="T29" fmla="*/ 33 h 1998"/>
                <a:gd name="T30" fmla="*/ 74 w 1638"/>
                <a:gd name="T31" fmla="*/ 44 h 1998"/>
                <a:gd name="T32" fmla="*/ 68 w 1638"/>
                <a:gd name="T33" fmla="*/ 45 h 1998"/>
                <a:gd name="T34" fmla="*/ 63 w 1638"/>
                <a:gd name="T35" fmla="*/ 50 h 1998"/>
                <a:gd name="T36" fmla="*/ 61 w 1638"/>
                <a:gd name="T37" fmla="*/ 62 h 1998"/>
                <a:gd name="T38" fmla="*/ 53 w 1638"/>
                <a:gd name="T39" fmla="*/ 86 h 1998"/>
                <a:gd name="T40" fmla="*/ 59 w 1638"/>
                <a:gd name="T41" fmla="*/ 90 h 1998"/>
                <a:gd name="T42" fmla="*/ 65 w 1638"/>
                <a:gd name="T43" fmla="*/ 86 h 1998"/>
                <a:gd name="T44" fmla="*/ 74 w 1638"/>
                <a:gd name="T45" fmla="*/ 84 h 1998"/>
                <a:gd name="T46" fmla="*/ 79 w 1638"/>
                <a:gd name="T47" fmla="*/ 85 h 1998"/>
                <a:gd name="T48" fmla="*/ 84 w 1638"/>
                <a:gd name="T49" fmla="*/ 84 h 1998"/>
                <a:gd name="T50" fmla="*/ 91 w 1638"/>
                <a:gd name="T51" fmla="*/ 84 h 1998"/>
                <a:gd name="T52" fmla="*/ 94 w 1638"/>
                <a:gd name="T53" fmla="*/ 81 h 1998"/>
                <a:gd name="T54" fmla="*/ 100 w 1638"/>
                <a:gd name="T55" fmla="*/ 81 h 1998"/>
                <a:gd name="T56" fmla="*/ 102 w 1638"/>
                <a:gd name="T57" fmla="*/ 84 h 1998"/>
                <a:gd name="T58" fmla="*/ 108 w 1638"/>
                <a:gd name="T59" fmla="*/ 85 h 1998"/>
                <a:gd name="T60" fmla="*/ 113 w 1638"/>
                <a:gd name="T61" fmla="*/ 88 h 1998"/>
                <a:gd name="T62" fmla="*/ 116 w 1638"/>
                <a:gd name="T63" fmla="*/ 88 h 1998"/>
                <a:gd name="T64" fmla="*/ 123 w 1638"/>
                <a:gd name="T65" fmla="*/ 87 h 1998"/>
                <a:gd name="T66" fmla="*/ 128 w 1638"/>
                <a:gd name="T67" fmla="*/ 86 h 1998"/>
                <a:gd name="T68" fmla="*/ 132 w 1638"/>
                <a:gd name="T69" fmla="*/ 90 h 1998"/>
                <a:gd name="T70" fmla="*/ 138 w 1638"/>
                <a:gd name="T71" fmla="*/ 96 h 1998"/>
                <a:gd name="T72" fmla="*/ 138 w 1638"/>
                <a:gd name="T73" fmla="*/ 110 h 1998"/>
                <a:gd name="T74" fmla="*/ 137 w 1638"/>
                <a:gd name="T75" fmla="*/ 118 h 1998"/>
                <a:gd name="T76" fmla="*/ 133 w 1638"/>
                <a:gd name="T77" fmla="*/ 124 h 1998"/>
                <a:gd name="T78" fmla="*/ 122 w 1638"/>
                <a:gd name="T79" fmla="*/ 125 h 1998"/>
                <a:gd name="T80" fmla="*/ 116 w 1638"/>
                <a:gd name="T81" fmla="*/ 127 h 1998"/>
                <a:gd name="T82" fmla="*/ 108 w 1638"/>
                <a:gd name="T83" fmla="*/ 123 h 1998"/>
                <a:gd name="T84" fmla="*/ 109 w 1638"/>
                <a:gd name="T85" fmla="*/ 119 h 1998"/>
                <a:gd name="T86" fmla="*/ 104 w 1638"/>
                <a:gd name="T87" fmla="*/ 104 h 1998"/>
                <a:gd name="T88" fmla="*/ 94 w 1638"/>
                <a:gd name="T89" fmla="*/ 105 h 1998"/>
                <a:gd name="T90" fmla="*/ 88 w 1638"/>
                <a:gd name="T91" fmla="*/ 109 h 1998"/>
                <a:gd name="T92" fmla="*/ 76 w 1638"/>
                <a:gd name="T93" fmla="*/ 107 h 1998"/>
                <a:gd name="T94" fmla="*/ 72 w 1638"/>
                <a:gd name="T95" fmla="*/ 114 h 1998"/>
                <a:gd name="T96" fmla="*/ 86 w 1638"/>
                <a:gd name="T97" fmla="*/ 121 h 1998"/>
                <a:gd name="T98" fmla="*/ 87 w 1638"/>
                <a:gd name="T99" fmla="*/ 129 h 1998"/>
                <a:gd name="T100" fmla="*/ 86 w 1638"/>
                <a:gd name="T101" fmla="*/ 137 h 1998"/>
                <a:gd name="T102" fmla="*/ 79 w 1638"/>
                <a:gd name="T103" fmla="*/ 141 h 1998"/>
                <a:gd name="T104" fmla="*/ 73 w 1638"/>
                <a:gd name="T105" fmla="*/ 144 h 1998"/>
                <a:gd name="T106" fmla="*/ 72 w 1638"/>
                <a:gd name="T107" fmla="*/ 164 h 1998"/>
                <a:gd name="T108" fmla="*/ 68 w 1638"/>
                <a:gd name="T109" fmla="*/ 172 h 1998"/>
                <a:gd name="T110" fmla="*/ 59 w 1638"/>
                <a:gd name="T111" fmla="*/ 164 h 1998"/>
                <a:gd name="T112" fmla="*/ 65 w 1638"/>
                <a:gd name="T113" fmla="*/ 146 h 1998"/>
                <a:gd name="T114" fmla="*/ 69 w 1638"/>
                <a:gd name="T115" fmla="*/ 133 h 1998"/>
                <a:gd name="T116" fmla="*/ 61 w 1638"/>
                <a:gd name="T117" fmla="*/ 131 h 1998"/>
                <a:gd name="T118" fmla="*/ 43 w 1638"/>
                <a:gd name="T119" fmla="*/ 125 h 1998"/>
                <a:gd name="T120" fmla="*/ 23 w 1638"/>
                <a:gd name="T121" fmla="*/ 125 h 1998"/>
                <a:gd name="T122" fmla="*/ 17 w 1638"/>
                <a:gd name="T123" fmla="*/ 121 h 19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638"/>
                <a:gd name="T187" fmla="*/ 0 h 1998"/>
                <a:gd name="T188" fmla="*/ 1638 w 1638"/>
                <a:gd name="T189" fmla="*/ 1998 h 19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638" h="1998">
                  <a:moveTo>
                    <a:pt x="144" y="1380"/>
                  </a:moveTo>
                  <a:lnTo>
                    <a:pt x="150" y="1368"/>
                  </a:lnTo>
                  <a:lnTo>
                    <a:pt x="150" y="1362"/>
                  </a:lnTo>
                  <a:lnTo>
                    <a:pt x="150" y="1356"/>
                  </a:lnTo>
                  <a:lnTo>
                    <a:pt x="144" y="1356"/>
                  </a:lnTo>
                  <a:lnTo>
                    <a:pt x="138" y="1356"/>
                  </a:lnTo>
                  <a:lnTo>
                    <a:pt x="126" y="1356"/>
                  </a:lnTo>
                  <a:lnTo>
                    <a:pt x="114" y="1344"/>
                  </a:lnTo>
                  <a:lnTo>
                    <a:pt x="84" y="1320"/>
                  </a:lnTo>
                  <a:lnTo>
                    <a:pt x="54" y="1296"/>
                  </a:lnTo>
                  <a:lnTo>
                    <a:pt x="48" y="1290"/>
                  </a:lnTo>
                  <a:lnTo>
                    <a:pt x="42" y="1278"/>
                  </a:lnTo>
                  <a:lnTo>
                    <a:pt x="30" y="1272"/>
                  </a:lnTo>
                  <a:lnTo>
                    <a:pt x="0" y="1248"/>
                  </a:lnTo>
                  <a:lnTo>
                    <a:pt x="6" y="1230"/>
                  </a:lnTo>
                  <a:lnTo>
                    <a:pt x="12" y="1194"/>
                  </a:lnTo>
                  <a:lnTo>
                    <a:pt x="18" y="1170"/>
                  </a:lnTo>
                  <a:lnTo>
                    <a:pt x="30" y="1134"/>
                  </a:lnTo>
                  <a:lnTo>
                    <a:pt x="36" y="1086"/>
                  </a:lnTo>
                  <a:lnTo>
                    <a:pt x="42" y="1050"/>
                  </a:lnTo>
                  <a:lnTo>
                    <a:pt x="48" y="1044"/>
                  </a:lnTo>
                  <a:lnTo>
                    <a:pt x="54" y="1026"/>
                  </a:lnTo>
                  <a:lnTo>
                    <a:pt x="60" y="1014"/>
                  </a:lnTo>
                  <a:lnTo>
                    <a:pt x="66" y="1002"/>
                  </a:lnTo>
                  <a:lnTo>
                    <a:pt x="66" y="996"/>
                  </a:lnTo>
                  <a:lnTo>
                    <a:pt x="72" y="996"/>
                  </a:lnTo>
                  <a:lnTo>
                    <a:pt x="72" y="990"/>
                  </a:lnTo>
                  <a:lnTo>
                    <a:pt x="78" y="990"/>
                  </a:lnTo>
                  <a:lnTo>
                    <a:pt x="90" y="978"/>
                  </a:lnTo>
                  <a:lnTo>
                    <a:pt x="96" y="966"/>
                  </a:lnTo>
                  <a:lnTo>
                    <a:pt x="102" y="966"/>
                  </a:lnTo>
                  <a:lnTo>
                    <a:pt x="114" y="954"/>
                  </a:lnTo>
                  <a:lnTo>
                    <a:pt x="120" y="954"/>
                  </a:lnTo>
                  <a:lnTo>
                    <a:pt x="120" y="948"/>
                  </a:lnTo>
                  <a:lnTo>
                    <a:pt x="114" y="930"/>
                  </a:lnTo>
                  <a:lnTo>
                    <a:pt x="114" y="924"/>
                  </a:lnTo>
                  <a:lnTo>
                    <a:pt x="108" y="918"/>
                  </a:lnTo>
                  <a:lnTo>
                    <a:pt x="102" y="912"/>
                  </a:lnTo>
                  <a:lnTo>
                    <a:pt x="90" y="906"/>
                  </a:lnTo>
                  <a:lnTo>
                    <a:pt x="84" y="900"/>
                  </a:lnTo>
                  <a:lnTo>
                    <a:pt x="84" y="888"/>
                  </a:lnTo>
                  <a:lnTo>
                    <a:pt x="84" y="882"/>
                  </a:lnTo>
                  <a:lnTo>
                    <a:pt x="78" y="858"/>
                  </a:lnTo>
                  <a:lnTo>
                    <a:pt x="78" y="852"/>
                  </a:lnTo>
                  <a:lnTo>
                    <a:pt x="84" y="846"/>
                  </a:lnTo>
                  <a:lnTo>
                    <a:pt x="84" y="840"/>
                  </a:lnTo>
                  <a:lnTo>
                    <a:pt x="96" y="828"/>
                  </a:lnTo>
                  <a:lnTo>
                    <a:pt x="114" y="816"/>
                  </a:lnTo>
                  <a:lnTo>
                    <a:pt x="114" y="810"/>
                  </a:lnTo>
                  <a:lnTo>
                    <a:pt x="114" y="804"/>
                  </a:lnTo>
                  <a:lnTo>
                    <a:pt x="108" y="780"/>
                  </a:lnTo>
                  <a:lnTo>
                    <a:pt x="96" y="756"/>
                  </a:lnTo>
                  <a:lnTo>
                    <a:pt x="96" y="750"/>
                  </a:lnTo>
                  <a:lnTo>
                    <a:pt x="90" y="720"/>
                  </a:lnTo>
                  <a:lnTo>
                    <a:pt x="90" y="708"/>
                  </a:lnTo>
                  <a:lnTo>
                    <a:pt x="90" y="690"/>
                  </a:lnTo>
                  <a:lnTo>
                    <a:pt x="96" y="672"/>
                  </a:lnTo>
                  <a:lnTo>
                    <a:pt x="90" y="666"/>
                  </a:lnTo>
                  <a:lnTo>
                    <a:pt x="96" y="666"/>
                  </a:lnTo>
                  <a:lnTo>
                    <a:pt x="102" y="642"/>
                  </a:lnTo>
                  <a:lnTo>
                    <a:pt x="108" y="624"/>
                  </a:lnTo>
                  <a:lnTo>
                    <a:pt x="102" y="618"/>
                  </a:lnTo>
                  <a:lnTo>
                    <a:pt x="102" y="588"/>
                  </a:lnTo>
                  <a:lnTo>
                    <a:pt x="102" y="564"/>
                  </a:lnTo>
                  <a:lnTo>
                    <a:pt x="102" y="546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0"/>
                  </a:lnTo>
                  <a:lnTo>
                    <a:pt x="96" y="498"/>
                  </a:lnTo>
                  <a:lnTo>
                    <a:pt x="96" y="486"/>
                  </a:lnTo>
                  <a:lnTo>
                    <a:pt x="96" y="474"/>
                  </a:lnTo>
                  <a:lnTo>
                    <a:pt x="96" y="462"/>
                  </a:lnTo>
                  <a:lnTo>
                    <a:pt x="114" y="450"/>
                  </a:lnTo>
                  <a:lnTo>
                    <a:pt x="126" y="438"/>
                  </a:lnTo>
                  <a:lnTo>
                    <a:pt x="132" y="432"/>
                  </a:lnTo>
                  <a:lnTo>
                    <a:pt x="144" y="426"/>
                  </a:lnTo>
                  <a:lnTo>
                    <a:pt x="144" y="420"/>
                  </a:lnTo>
                  <a:lnTo>
                    <a:pt x="156" y="414"/>
                  </a:lnTo>
                  <a:lnTo>
                    <a:pt x="162" y="408"/>
                  </a:lnTo>
                  <a:lnTo>
                    <a:pt x="180" y="396"/>
                  </a:lnTo>
                  <a:lnTo>
                    <a:pt x="210" y="372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34" y="348"/>
                  </a:lnTo>
                  <a:lnTo>
                    <a:pt x="240" y="348"/>
                  </a:lnTo>
                  <a:lnTo>
                    <a:pt x="246" y="342"/>
                  </a:lnTo>
                  <a:lnTo>
                    <a:pt x="276" y="318"/>
                  </a:lnTo>
                  <a:lnTo>
                    <a:pt x="282" y="312"/>
                  </a:lnTo>
                  <a:lnTo>
                    <a:pt x="288" y="306"/>
                  </a:lnTo>
                  <a:lnTo>
                    <a:pt x="300" y="288"/>
                  </a:lnTo>
                  <a:lnTo>
                    <a:pt x="306" y="276"/>
                  </a:lnTo>
                  <a:lnTo>
                    <a:pt x="324" y="246"/>
                  </a:lnTo>
                  <a:lnTo>
                    <a:pt x="330" y="240"/>
                  </a:lnTo>
                  <a:lnTo>
                    <a:pt x="336" y="234"/>
                  </a:lnTo>
                  <a:lnTo>
                    <a:pt x="342" y="228"/>
                  </a:lnTo>
                  <a:lnTo>
                    <a:pt x="342" y="216"/>
                  </a:lnTo>
                  <a:lnTo>
                    <a:pt x="354" y="204"/>
                  </a:lnTo>
                  <a:lnTo>
                    <a:pt x="360" y="204"/>
                  </a:lnTo>
                  <a:lnTo>
                    <a:pt x="366" y="186"/>
                  </a:lnTo>
                  <a:lnTo>
                    <a:pt x="384" y="162"/>
                  </a:lnTo>
                  <a:lnTo>
                    <a:pt x="390" y="144"/>
                  </a:lnTo>
                  <a:lnTo>
                    <a:pt x="396" y="114"/>
                  </a:lnTo>
                  <a:lnTo>
                    <a:pt x="396" y="102"/>
                  </a:lnTo>
                  <a:lnTo>
                    <a:pt x="402" y="90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08" y="36"/>
                  </a:lnTo>
                  <a:lnTo>
                    <a:pt x="408" y="24"/>
                  </a:lnTo>
                  <a:lnTo>
                    <a:pt x="408" y="6"/>
                  </a:lnTo>
                  <a:lnTo>
                    <a:pt x="420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68" y="0"/>
                  </a:lnTo>
                  <a:lnTo>
                    <a:pt x="480" y="0"/>
                  </a:lnTo>
                  <a:lnTo>
                    <a:pt x="492" y="0"/>
                  </a:lnTo>
                  <a:lnTo>
                    <a:pt x="498" y="0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8" y="18"/>
                  </a:lnTo>
                  <a:lnTo>
                    <a:pt x="534" y="18"/>
                  </a:lnTo>
                  <a:lnTo>
                    <a:pt x="540" y="18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8" y="36"/>
                  </a:lnTo>
                  <a:lnTo>
                    <a:pt x="588" y="54"/>
                  </a:lnTo>
                  <a:lnTo>
                    <a:pt x="594" y="48"/>
                  </a:lnTo>
                  <a:lnTo>
                    <a:pt x="600" y="48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12" y="66"/>
                  </a:lnTo>
                  <a:lnTo>
                    <a:pt x="630" y="72"/>
                  </a:lnTo>
                  <a:lnTo>
                    <a:pt x="642" y="78"/>
                  </a:lnTo>
                  <a:lnTo>
                    <a:pt x="666" y="78"/>
                  </a:lnTo>
                  <a:lnTo>
                    <a:pt x="672" y="72"/>
                  </a:lnTo>
                  <a:lnTo>
                    <a:pt x="690" y="84"/>
                  </a:lnTo>
                  <a:lnTo>
                    <a:pt x="690" y="90"/>
                  </a:lnTo>
                  <a:lnTo>
                    <a:pt x="708" y="96"/>
                  </a:lnTo>
                  <a:lnTo>
                    <a:pt x="708" y="102"/>
                  </a:lnTo>
                  <a:lnTo>
                    <a:pt x="744" y="96"/>
                  </a:lnTo>
                  <a:lnTo>
                    <a:pt x="756" y="78"/>
                  </a:lnTo>
                  <a:lnTo>
                    <a:pt x="756" y="72"/>
                  </a:lnTo>
                  <a:lnTo>
                    <a:pt x="762" y="66"/>
                  </a:lnTo>
                  <a:lnTo>
                    <a:pt x="768" y="60"/>
                  </a:lnTo>
                  <a:lnTo>
                    <a:pt x="774" y="54"/>
                  </a:lnTo>
                  <a:lnTo>
                    <a:pt x="786" y="54"/>
                  </a:lnTo>
                  <a:lnTo>
                    <a:pt x="786" y="60"/>
                  </a:lnTo>
                  <a:lnTo>
                    <a:pt x="786" y="66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92" y="90"/>
                  </a:lnTo>
                  <a:lnTo>
                    <a:pt x="780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26"/>
                  </a:lnTo>
                  <a:lnTo>
                    <a:pt x="768" y="150"/>
                  </a:lnTo>
                  <a:lnTo>
                    <a:pt x="750" y="168"/>
                  </a:lnTo>
                  <a:lnTo>
                    <a:pt x="750" y="174"/>
                  </a:lnTo>
                  <a:lnTo>
                    <a:pt x="762" y="192"/>
                  </a:lnTo>
                  <a:lnTo>
                    <a:pt x="774" y="210"/>
                  </a:lnTo>
                  <a:lnTo>
                    <a:pt x="792" y="228"/>
                  </a:lnTo>
                  <a:lnTo>
                    <a:pt x="804" y="240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40" y="252"/>
                  </a:lnTo>
                  <a:lnTo>
                    <a:pt x="834" y="252"/>
                  </a:lnTo>
                  <a:lnTo>
                    <a:pt x="846" y="252"/>
                  </a:lnTo>
                  <a:lnTo>
                    <a:pt x="852" y="270"/>
                  </a:lnTo>
                  <a:lnTo>
                    <a:pt x="858" y="282"/>
                  </a:lnTo>
                  <a:lnTo>
                    <a:pt x="858" y="288"/>
                  </a:lnTo>
                  <a:lnTo>
                    <a:pt x="864" y="300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58" y="318"/>
                  </a:lnTo>
                  <a:lnTo>
                    <a:pt x="852" y="318"/>
                  </a:lnTo>
                  <a:lnTo>
                    <a:pt x="846" y="324"/>
                  </a:lnTo>
                  <a:lnTo>
                    <a:pt x="846" y="336"/>
                  </a:lnTo>
                  <a:lnTo>
                    <a:pt x="840" y="348"/>
                  </a:lnTo>
                  <a:lnTo>
                    <a:pt x="840" y="360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46" y="402"/>
                  </a:lnTo>
                  <a:lnTo>
                    <a:pt x="858" y="420"/>
                  </a:lnTo>
                  <a:lnTo>
                    <a:pt x="882" y="426"/>
                  </a:lnTo>
                  <a:lnTo>
                    <a:pt x="888" y="444"/>
                  </a:lnTo>
                  <a:lnTo>
                    <a:pt x="900" y="444"/>
                  </a:lnTo>
                  <a:lnTo>
                    <a:pt x="900" y="462"/>
                  </a:lnTo>
                  <a:lnTo>
                    <a:pt x="894" y="474"/>
                  </a:lnTo>
                  <a:lnTo>
                    <a:pt x="888" y="486"/>
                  </a:lnTo>
                  <a:lnTo>
                    <a:pt x="882" y="492"/>
                  </a:lnTo>
                  <a:lnTo>
                    <a:pt x="870" y="504"/>
                  </a:lnTo>
                  <a:lnTo>
                    <a:pt x="852" y="504"/>
                  </a:lnTo>
                  <a:lnTo>
                    <a:pt x="852" y="510"/>
                  </a:lnTo>
                  <a:lnTo>
                    <a:pt x="852" y="516"/>
                  </a:lnTo>
                  <a:lnTo>
                    <a:pt x="846" y="528"/>
                  </a:lnTo>
                  <a:lnTo>
                    <a:pt x="846" y="582"/>
                  </a:lnTo>
                  <a:lnTo>
                    <a:pt x="840" y="582"/>
                  </a:lnTo>
                  <a:lnTo>
                    <a:pt x="834" y="582"/>
                  </a:lnTo>
                  <a:lnTo>
                    <a:pt x="828" y="582"/>
                  </a:lnTo>
                  <a:lnTo>
                    <a:pt x="822" y="582"/>
                  </a:lnTo>
                  <a:lnTo>
                    <a:pt x="810" y="582"/>
                  </a:lnTo>
                  <a:lnTo>
                    <a:pt x="810" y="528"/>
                  </a:lnTo>
                  <a:lnTo>
                    <a:pt x="792" y="528"/>
                  </a:lnTo>
                  <a:lnTo>
                    <a:pt x="792" y="522"/>
                  </a:lnTo>
                  <a:lnTo>
                    <a:pt x="786" y="522"/>
                  </a:lnTo>
                  <a:lnTo>
                    <a:pt x="786" y="516"/>
                  </a:lnTo>
                  <a:lnTo>
                    <a:pt x="780" y="516"/>
                  </a:lnTo>
                  <a:lnTo>
                    <a:pt x="780" y="510"/>
                  </a:lnTo>
                  <a:lnTo>
                    <a:pt x="762" y="510"/>
                  </a:lnTo>
                  <a:lnTo>
                    <a:pt x="756" y="510"/>
                  </a:lnTo>
                  <a:lnTo>
                    <a:pt x="750" y="522"/>
                  </a:lnTo>
                  <a:lnTo>
                    <a:pt x="744" y="534"/>
                  </a:lnTo>
                  <a:lnTo>
                    <a:pt x="732" y="540"/>
                  </a:lnTo>
                  <a:lnTo>
                    <a:pt x="732" y="558"/>
                  </a:lnTo>
                  <a:lnTo>
                    <a:pt x="732" y="564"/>
                  </a:lnTo>
                  <a:lnTo>
                    <a:pt x="732" y="570"/>
                  </a:lnTo>
                  <a:lnTo>
                    <a:pt x="726" y="576"/>
                  </a:lnTo>
                  <a:lnTo>
                    <a:pt x="720" y="576"/>
                  </a:lnTo>
                  <a:lnTo>
                    <a:pt x="714" y="582"/>
                  </a:lnTo>
                  <a:lnTo>
                    <a:pt x="702" y="588"/>
                  </a:lnTo>
                  <a:lnTo>
                    <a:pt x="696" y="594"/>
                  </a:lnTo>
                  <a:lnTo>
                    <a:pt x="690" y="600"/>
                  </a:lnTo>
                  <a:lnTo>
                    <a:pt x="690" y="606"/>
                  </a:lnTo>
                  <a:lnTo>
                    <a:pt x="678" y="606"/>
                  </a:lnTo>
                  <a:lnTo>
                    <a:pt x="678" y="624"/>
                  </a:lnTo>
                  <a:lnTo>
                    <a:pt x="684" y="642"/>
                  </a:lnTo>
                  <a:lnTo>
                    <a:pt x="684" y="660"/>
                  </a:lnTo>
                  <a:lnTo>
                    <a:pt x="690" y="672"/>
                  </a:lnTo>
                  <a:lnTo>
                    <a:pt x="702" y="720"/>
                  </a:lnTo>
                  <a:lnTo>
                    <a:pt x="708" y="750"/>
                  </a:lnTo>
                  <a:lnTo>
                    <a:pt x="708" y="792"/>
                  </a:lnTo>
                  <a:lnTo>
                    <a:pt x="708" y="828"/>
                  </a:lnTo>
                  <a:lnTo>
                    <a:pt x="708" y="852"/>
                  </a:lnTo>
                  <a:lnTo>
                    <a:pt x="696" y="894"/>
                  </a:lnTo>
                  <a:lnTo>
                    <a:pt x="702" y="900"/>
                  </a:lnTo>
                  <a:lnTo>
                    <a:pt x="708" y="924"/>
                  </a:lnTo>
                  <a:lnTo>
                    <a:pt x="684" y="936"/>
                  </a:lnTo>
                  <a:lnTo>
                    <a:pt x="660" y="954"/>
                  </a:lnTo>
                  <a:lnTo>
                    <a:pt x="618" y="984"/>
                  </a:lnTo>
                  <a:lnTo>
                    <a:pt x="618" y="990"/>
                  </a:lnTo>
                  <a:lnTo>
                    <a:pt x="612" y="996"/>
                  </a:lnTo>
                  <a:lnTo>
                    <a:pt x="606" y="1002"/>
                  </a:lnTo>
                  <a:lnTo>
                    <a:pt x="618" y="1008"/>
                  </a:lnTo>
                  <a:lnTo>
                    <a:pt x="618" y="1014"/>
                  </a:lnTo>
                  <a:lnTo>
                    <a:pt x="624" y="1026"/>
                  </a:lnTo>
                  <a:lnTo>
                    <a:pt x="630" y="1026"/>
                  </a:lnTo>
                  <a:lnTo>
                    <a:pt x="636" y="1032"/>
                  </a:lnTo>
                  <a:lnTo>
                    <a:pt x="642" y="1032"/>
                  </a:lnTo>
                  <a:lnTo>
                    <a:pt x="642" y="1038"/>
                  </a:lnTo>
                  <a:lnTo>
                    <a:pt x="648" y="1044"/>
                  </a:lnTo>
                  <a:lnTo>
                    <a:pt x="666" y="1050"/>
                  </a:lnTo>
                  <a:lnTo>
                    <a:pt x="678" y="1038"/>
                  </a:lnTo>
                  <a:lnTo>
                    <a:pt x="684" y="1038"/>
                  </a:lnTo>
                  <a:lnTo>
                    <a:pt x="684" y="1032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20"/>
                  </a:lnTo>
                  <a:lnTo>
                    <a:pt x="708" y="1014"/>
                  </a:lnTo>
                  <a:lnTo>
                    <a:pt x="720" y="1020"/>
                  </a:lnTo>
                  <a:lnTo>
                    <a:pt x="720" y="1014"/>
                  </a:lnTo>
                  <a:lnTo>
                    <a:pt x="726" y="1008"/>
                  </a:lnTo>
                  <a:lnTo>
                    <a:pt x="732" y="1008"/>
                  </a:lnTo>
                  <a:lnTo>
                    <a:pt x="738" y="1008"/>
                  </a:lnTo>
                  <a:lnTo>
                    <a:pt x="744" y="1002"/>
                  </a:lnTo>
                  <a:lnTo>
                    <a:pt x="744" y="996"/>
                  </a:lnTo>
                  <a:lnTo>
                    <a:pt x="750" y="996"/>
                  </a:lnTo>
                  <a:lnTo>
                    <a:pt x="756" y="1002"/>
                  </a:lnTo>
                  <a:lnTo>
                    <a:pt x="762" y="1002"/>
                  </a:lnTo>
                  <a:lnTo>
                    <a:pt x="768" y="996"/>
                  </a:lnTo>
                  <a:lnTo>
                    <a:pt x="780" y="996"/>
                  </a:lnTo>
                  <a:lnTo>
                    <a:pt x="786" y="996"/>
                  </a:lnTo>
                  <a:lnTo>
                    <a:pt x="816" y="990"/>
                  </a:lnTo>
                  <a:lnTo>
                    <a:pt x="828" y="990"/>
                  </a:lnTo>
                  <a:lnTo>
                    <a:pt x="834" y="990"/>
                  </a:lnTo>
                  <a:lnTo>
                    <a:pt x="840" y="984"/>
                  </a:lnTo>
                  <a:lnTo>
                    <a:pt x="852" y="978"/>
                  </a:lnTo>
                  <a:lnTo>
                    <a:pt x="852" y="972"/>
                  </a:lnTo>
                  <a:lnTo>
                    <a:pt x="858" y="972"/>
                  </a:lnTo>
                  <a:lnTo>
                    <a:pt x="864" y="966"/>
                  </a:lnTo>
                  <a:lnTo>
                    <a:pt x="870" y="966"/>
                  </a:lnTo>
                  <a:lnTo>
                    <a:pt x="876" y="966"/>
                  </a:lnTo>
                  <a:lnTo>
                    <a:pt x="882" y="960"/>
                  </a:lnTo>
                  <a:lnTo>
                    <a:pt x="888" y="960"/>
                  </a:lnTo>
                  <a:lnTo>
                    <a:pt x="894" y="960"/>
                  </a:lnTo>
                  <a:lnTo>
                    <a:pt x="894" y="966"/>
                  </a:lnTo>
                  <a:lnTo>
                    <a:pt x="894" y="978"/>
                  </a:lnTo>
                  <a:lnTo>
                    <a:pt x="894" y="984"/>
                  </a:lnTo>
                  <a:lnTo>
                    <a:pt x="900" y="984"/>
                  </a:lnTo>
                  <a:lnTo>
                    <a:pt x="906" y="978"/>
                  </a:lnTo>
                  <a:lnTo>
                    <a:pt x="912" y="972"/>
                  </a:lnTo>
                  <a:lnTo>
                    <a:pt x="918" y="978"/>
                  </a:lnTo>
                  <a:lnTo>
                    <a:pt x="924" y="978"/>
                  </a:lnTo>
                  <a:lnTo>
                    <a:pt x="924" y="972"/>
                  </a:lnTo>
                  <a:lnTo>
                    <a:pt x="924" y="966"/>
                  </a:lnTo>
                  <a:lnTo>
                    <a:pt x="930" y="966"/>
                  </a:lnTo>
                  <a:lnTo>
                    <a:pt x="948" y="966"/>
                  </a:lnTo>
                  <a:lnTo>
                    <a:pt x="954" y="966"/>
                  </a:lnTo>
                  <a:lnTo>
                    <a:pt x="954" y="960"/>
                  </a:lnTo>
                  <a:lnTo>
                    <a:pt x="960" y="960"/>
                  </a:lnTo>
                  <a:lnTo>
                    <a:pt x="966" y="960"/>
                  </a:lnTo>
                  <a:lnTo>
                    <a:pt x="966" y="966"/>
                  </a:lnTo>
                  <a:lnTo>
                    <a:pt x="978" y="972"/>
                  </a:lnTo>
                  <a:lnTo>
                    <a:pt x="978" y="978"/>
                  </a:lnTo>
                  <a:lnTo>
                    <a:pt x="978" y="984"/>
                  </a:lnTo>
                  <a:lnTo>
                    <a:pt x="984" y="978"/>
                  </a:lnTo>
                  <a:lnTo>
                    <a:pt x="990" y="978"/>
                  </a:lnTo>
                  <a:lnTo>
                    <a:pt x="996" y="984"/>
                  </a:lnTo>
                  <a:lnTo>
                    <a:pt x="1002" y="990"/>
                  </a:lnTo>
                  <a:lnTo>
                    <a:pt x="1008" y="972"/>
                  </a:lnTo>
                  <a:lnTo>
                    <a:pt x="1026" y="972"/>
                  </a:lnTo>
                  <a:lnTo>
                    <a:pt x="1032" y="972"/>
                  </a:lnTo>
                  <a:lnTo>
                    <a:pt x="1038" y="972"/>
                  </a:lnTo>
                  <a:lnTo>
                    <a:pt x="1050" y="972"/>
                  </a:lnTo>
                  <a:lnTo>
                    <a:pt x="1056" y="972"/>
                  </a:lnTo>
                  <a:lnTo>
                    <a:pt x="1062" y="966"/>
                  </a:lnTo>
                  <a:lnTo>
                    <a:pt x="1074" y="966"/>
                  </a:lnTo>
                  <a:lnTo>
                    <a:pt x="1074" y="960"/>
                  </a:lnTo>
                  <a:lnTo>
                    <a:pt x="1080" y="954"/>
                  </a:lnTo>
                  <a:lnTo>
                    <a:pt x="1080" y="948"/>
                  </a:lnTo>
                  <a:lnTo>
                    <a:pt x="1074" y="948"/>
                  </a:lnTo>
                  <a:lnTo>
                    <a:pt x="1068" y="948"/>
                  </a:lnTo>
                  <a:lnTo>
                    <a:pt x="1062" y="942"/>
                  </a:lnTo>
                  <a:lnTo>
                    <a:pt x="1068" y="936"/>
                  </a:lnTo>
                  <a:lnTo>
                    <a:pt x="1074" y="936"/>
                  </a:lnTo>
                  <a:lnTo>
                    <a:pt x="1080" y="936"/>
                  </a:lnTo>
                  <a:lnTo>
                    <a:pt x="1086" y="942"/>
                  </a:lnTo>
                  <a:lnTo>
                    <a:pt x="1092" y="942"/>
                  </a:lnTo>
                  <a:lnTo>
                    <a:pt x="1098" y="948"/>
                  </a:lnTo>
                  <a:lnTo>
                    <a:pt x="1104" y="954"/>
                  </a:lnTo>
                  <a:lnTo>
                    <a:pt x="1110" y="954"/>
                  </a:lnTo>
                  <a:lnTo>
                    <a:pt x="1116" y="948"/>
                  </a:lnTo>
                  <a:lnTo>
                    <a:pt x="1122" y="942"/>
                  </a:lnTo>
                  <a:lnTo>
                    <a:pt x="1128" y="942"/>
                  </a:lnTo>
                  <a:lnTo>
                    <a:pt x="1134" y="942"/>
                  </a:lnTo>
                  <a:lnTo>
                    <a:pt x="1140" y="948"/>
                  </a:lnTo>
                  <a:lnTo>
                    <a:pt x="1146" y="942"/>
                  </a:lnTo>
                  <a:lnTo>
                    <a:pt x="1152" y="942"/>
                  </a:lnTo>
                  <a:lnTo>
                    <a:pt x="1152" y="930"/>
                  </a:lnTo>
                  <a:lnTo>
                    <a:pt x="1164" y="936"/>
                  </a:lnTo>
                  <a:lnTo>
                    <a:pt x="1158" y="942"/>
                  </a:lnTo>
                  <a:lnTo>
                    <a:pt x="1158" y="948"/>
                  </a:lnTo>
                  <a:lnTo>
                    <a:pt x="1146" y="954"/>
                  </a:lnTo>
                  <a:lnTo>
                    <a:pt x="1152" y="954"/>
                  </a:lnTo>
                  <a:lnTo>
                    <a:pt x="1158" y="954"/>
                  </a:lnTo>
                  <a:lnTo>
                    <a:pt x="1158" y="948"/>
                  </a:lnTo>
                  <a:lnTo>
                    <a:pt x="1164" y="948"/>
                  </a:lnTo>
                  <a:lnTo>
                    <a:pt x="1170" y="948"/>
                  </a:lnTo>
                  <a:lnTo>
                    <a:pt x="1176" y="954"/>
                  </a:lnTo>
                  <a:lnTo>
                    <a:pt x="1176" y="966"/>
                  </a:lnTo>
                  <a:lnTo>
                    <a:pt x="1182" y="972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88" y="984"/>
                  </a:lnTo>
                  <a:lnTo>
                    <a:pt x="1194" y="984"/>
                  </a:lnTo>
                  <a:lnTo>
                    <a:pt x="1200" y="984"/>
                  </a:lnTo>
                  <a:lnTo>
                    <a:pt x="1212" y="984"/>
                  </a:lnTo>
                  <a:lnTo>
                    <a:pt x="1218" y="990"/>
                  </a:lnTo>
                  <a:lnTo>
                    <a:pt x="1224" y="990"/>
                  </a:lnTo>
                  <a:lnTo>
                    <a:pt x="1224" y="984"/>
                  </a:lnTo>
                  <a:lnTo>
                    <a:pt x="1230" y="990"/>
                  </a:lnTo>
                  <a:lnTo>
                    <a:pt x="1236" y="984"/>
                  </a:lnTo>
                  <a:lnTo>
                    <a:pt x="1242" y="984"/>
                  </a:lnTo>
                  <a:lnTo>
                    <a:pt x="1248" y="990"/>
                  </a:lnTo>
                  <a:lnTo>
                    <a:pt x="1254" y="990"/>
                  </a:lnTo>
                  <a:lnTo>
                    <a:pt x="1254" y="996"/>
                  </a:lnTo>
                  <a:lnTo>
                    <a:pt x="1254" y="1002"/>
                  </a:lnTo>
                  <a:lnTo>
                    <a:pt x="1254" y="1008"/>
                  </a:lnTo>
                  <a:lnTo>
                    <a:pt x="1260" y="1014"/>
                  </a:lnTo>
                  <a:lnTo>
                    <a:pt x="1266" y="1014"/>
                  </a:lnTo>
                  <a:lnTo>
                    <a:pt x="1272" y="1014"/>
                  </a:lnTo>
                  <a:lnTo>
                    <a:pt x="1278" y="1020"/>
                  </a:lnTo>
                  <a:lnTo>
                    <a:pt x="1284" y="1020"/>
                  </a:lnTo>
                  <a:lnTo>
                    <a:pt x="1290" y="1014"/>
                  </a:lnTo>
                  <a:lnTo>
                    <a:pt x="1290" y="1008"/>
                  </a:lnTo>
                  <a:lnTo>
                    <a:pt x="1296" y="1008"/>
                  </a:lnTo>
                  <a:lnTo>
                    <a:pt x="1302" y="1014"/>
                  </a:lnTo>
                  <a:lnTo>
                    <a:pt x="1308" y="1014"/>
                  </a:lnTo>
                  <a:lnTo>
                    <a:pt x="1314" y="1008"/>
                  </a:lnTo>
                  <a:lnTo>
                    <a:pt x="1320" y="1008"/>
                  </a:lnTo>
                  <a:lnTo>
                    <a:pt x="1320" y="1002"/>
                  </a:lnTo>
                  <a:lnTo>
                    <a:pt x="1320" y="996"/>
                  </a:lnTo>
                  <a:lnTo>
                    <a:pt x="1332" y="1002"/>
                  </a:lnTo>
                  <a:lnTo>
                    <a:pt x="1332" y="1008"/>
                  </a:lnTo>
                  <a:lnTo>
                    <a:pt x="1326" y="1014"/>
                  </a:lnTo>
                  <a:lnTo>
                    <a:pt x="1332" y="1014"/>
                  </a:lnTo>
                  <a:lnTo>
                    <a:pt x="1338" y="1014"/>
                  </a:lnTo>
                  <a:lnTo>
                    <a:pt x="1338" y="1008"/>
                  </a:lnTo>
                  <a:lnTo>
                    <a:pt x="1344" y="1008"/>
                  </a:lnTo>
                  <a:lnTo>
                    <a:pt x="1350" y="1008"/>
                  </a:lnTo>
                  <a:lnTo>
                    <a:pt x="1356" y="1014"/>
                  </a:lnTo>
                  <a:lnTo>
                    <a:pt x="1356" y="1008"/>
                  </a:lnTo>
                  <a:lnTo>
                    <a:pt x="1362" y="1014"/>
                  </a:lnTo>
                  <a:lnTo>
                    <a:pt x="1392" y="1014"/>
                  </a:lnTo>
                  <a:lnTo>
                    <a:pt x="1398" y="1014"/>
                  </a:lnTo>
                  <a:lnTo>
                    <a:pt x="1404" y="1008"/>
                  </a:lnTo>
                  <a:lnTo>
                    <a:pt x="1404" y="1014"/>
                  </a:lnTo>
                  <a:lnTo>
                    <a:pt x="1410" y="1008"/>
                  </a:lnTo>
                  <a:lnTo>
                    <a:pt x="1416" y="1008"/>
                  </a:lnTo>
                  <a:lnTo>
                    <a:pt x="1422" y="1002"/>
                  </a:lnTo>
                  <a:lnTo>
                    <a:pt x="1428" y="1002"/>
                  </a:lnTo>
                  <a:lnTo>
                    <a:pt x="1428" y="996"/>
                  </a:lnTo>
                  <a:lnTo>
                    <a:pt x="1428" y="990"/>
                  </a:lnTo>
                  <a:lnTo>
                    <a:pt x="1440" y="1002"/>
                  </a:lnTo>
                  <a:lnTo>
                    <a:pt x="1446" y="1002"/>
                  </a:lnTo>
                  <a:lnTo>
                    <a:pt x="1452" y="1002"/>
                  </a:lnTo>
                  <a:lnTo>
                    <a:pt x="1446" y="996"/>
                  </a:lnTo>
                  <a:lnTo>
                    <a:pt x="1452" y="996"/>
                  </a:lnTo>
                  <a:lnTo>
                    <a:pt x="1458" y="996"/>
                  </a:lnTo>
                  <a:lnTo>
                    <a:pt x="1464" y="996"/>
                  </a:lnTo>
                  <a:lnTo>
                    <a:pt x="1464" y="1002"/>
                  </a:lnTo>
                  <a:lnTo>
                    <a:pt x="1476" y="1014"/>
                  </a:lnTo>
                  <a:lnTo>
                    <a:pt x="1476" y="1008"/>
                  </a:lnTo>
                  <a:lnTo>
                    <a:pt x="1482" y="1008"/>
                  </a:lnTo>
                  <a:lnTo>
                    <a:pt x="1488" y="1020"/>
                  </a:lnTo>
                  <a:lnTo>
                    <a:pt x="1494" y="1020"/>
                  </a:lnTo>
                  <a:lnTo>
                    <a:pt x="1500" y="1014"/>
                  </a:lnTo>
                  <a:lnTo>
                    <a:pt x="1500" y="1020"/>
                  </a:lnTo>
                  <a:lnTo>
                    <a:pt x="1506" y="1026"/>
                  </a:lnTo>
                  <a:lnTo>
                    <a:pt x="1512" y="1032"/>
                  </a:lnTo>
                  <a:lnTo>
                    <a:pt x="1518" y="1032"/>
                  </a:lnTo>
                  <a:lnTo>
                    <a:pt x="1518" y="1038"/>
                  </a:lnTo>
                  <a:lnTo>
                    <a:pt x="1518" y="1044"/>
                  </a:lnTo>
                  <a:lnTo>
                    <a:pt x="1524" y="1044"/>
                  </a:lnTo>
                  <a:lnTo>
                    <a:pt x="1524" y="1050"/>
                  </a:lnTo>
                  <a:lnTo>
                    <a:pt x="1530" y="1056"/>
                  </a:lnTo>
                  <a:lnTo>
                    <a:pt x="1548" y="1062"/>
                  </a:lnTo>
                  <a:lnTo>
                    <a:pt x="1560" y="1074"/>
                  </a:lnTo>
                  <a:lnTo>
                    <a:pt x="1560" y="1080"/>
                  </a:lnTo>
                  <a:lnTo>
                    <a:pt x="1560" y="1086"/>
                  </a:lnTo>
                  <a:lnTo>
                    <a:pt x="1566" y="1086"/>
                  </a:lnTo>
                  <a:lnTo>
                    <a:pt x="1572" y="1098"/>
                  </a:lnTo>
                  <a:lnTo>
                    <a:pt x="1572" y="1104"/>
                  </a:lnTo>
                  <a:lnTo>
                    <a:pt x="1584" y="1110"/>
                  </a:lnTo>
                  <a:lnTo>
                    <a:pt x="1590" y="1116"/>
                  </a:lnTo>
                  <a:lnTo>
                    <a:pt x="1596" y="1116"/>
                  </a:lnTo>
                  <a:lnTo>
                    <a:pt x="1608" y="1122"/>
                  </a:lnTo>
                  <a:lnTo>
                    <a:pt x="1620" y="1140"/>
                  </a:lnTo>
                  <a:lnTo>
                    <a:pt x="1626" y="1158"/>
                  </a:lnTo>
                  <a:lnTo>
                    <a:pt x="1638" y="1200"/>
                  </a:lnTo>
                  <a:lnTo>
                    <a:pt x="1638" y="1218"/>
                  </a:lnTo>
                  <a:lnTo>
                    <a:pt x="1620" y="1230"/>
                  </a:lnTo>
                  <a:lnTo>
                    <a:pt x="1554" y="1230"/>
                  </a:lnTo>
                  <a:lnTo>
                    <a:pt x="1560" y="1248"/>
                  </a:lnTo>
                  <a:lnTo>
                    <a:pt x="1584" y="1260"/>
                  </a:lnTo>
                  <a:lnTo>
                    <a:pt x="1584" y="1266"/>
                  </a:lnTo>
                  <a:lnTo>
                    <a:pt x="1578" y="1272"/>
                  </a:lnTo>
                  <a:lnTo>
                    <a:pt x="1572" y="1272"/>
                  </a:lnTo>
                  <a:lnTo>
                    <a:pt x="1566" y="1278"/>
                  </a:lnTo>
                  <a:lnTo>
                    <a:pt x="1566" y="1284"/>
                  </a:lnTo>
                  <a:lnTo>
                    <a:pt x="1560" y="1290"/>
                  </a:lnTo>
                  <a:lnTo>
                    <a:pt x="1554" y="1290"/>
                  </a:lnTo>
                  <a:lnTo>
                    <a:pt x="1554" y="1296"/>
                  </a:lnTo>
                  <a:lnTo>
                    <a:pt x="1554" y="1302"/>
                  </a:lnTo>
                  <a:lnTo>
                    <a:pt x="1560" y="1332"/>
                  </a:lnTo>
                  <a:lnTo>
                    <a:pt x="1566" y="1356"/>
                  </a:lnTo>
                  <a:lnTo>
                    <a:pt x="1572" y="1356"/>
                  </a:lnTo>
                  <a:lnTo>
                    <a:pt x="1572" y="1362"/>
                  </a:lnTo>
                  <a:lnTo>
                    <a:pt x="1578" y="1362"/>
                  </a:lnTo>
                  <a:lnTo>
                    <a:pt x="1560" y="1374"/>
                  </a:lnTo>
                  <a:lnTo>
                    <a:pt x="1560" y="1380"/>
                  </a:lnTo>
                  <a:lnTo>
                    <a:pt x="1548" y="1380"/>
                  </a:lnTo>
                  <a:lnTo>
                    <a:pt x="1548" y="1386"/>
                  </a:lnTo>
                  <a:lnTo>
                    <a:pt x="1548" y="1392"/>
                  </a:lnTo>
                  <a:lnTo>
                    <a:pt x="1542" y="1410"/>
                  </a:lnTo>
                  <a:lnTo>
                    <a:pt x="1536" y="1422"/>
                  </a:lnTo>
                  <a:lnTo>
                    <a:pt x="1536" y="1428"/>
                  </a:lnTo>
                  <a:lnTo>
                    <a:pt x="1530" y="1440"/>
                  </a:lnTo>
                  <a:lnTo>
                    <a:pt x="1524" y="1434"/>
                  </a:lnTo>
                  <a:lnTo>
                    <a:pt x="1524" y="1428"/>
                  </a:lnTo>
                  <a:lnTo>
                    <a:pt x="1524" y="1422"/>
                  </a:lnTo>
                  <a:lnTo>
                    <a:pt x="1512" y="1410"/>
                  </a:lnTo>
                  <a:lnTo>
                    <a:pt x="1506" y="1404"/>
                  </a:lnTo>
                  <a:lnTo>
                    <a:pt x="1506" y="1398"/>
                  </a:lnTo>
                  <a:lnTo>
                    <a:pt x="1494" y="1392"/>
                  </a:lnTo>
                  <a:lnTo>
                    <a:pt x="1476" y="1404"/>
                  </a:lnTo>
                  <a:lnTo>
                    <a:pt x="1464" y="1416"/>
                  </a:lnTo>
                  <a:lnTo>
                    <a:pt x="1458" y="1428"/>
                  </a:lnTo>
                  <a:lnTo>
                    <a:pt x="1446" y="1434"/>
                  </a:lnTo>
                  <a:lnTo>
                    <a:pt x="1410" y="1440"/>
                  </a:lnTo>
                  <a:lnTo>
                    <a:pt x="1398" y="1440"/>
                  </a:lnTo>
                  <a:lnTo>
                    <a:pt x="1398" y="1446"/>
                  </a:lnTo>
                  <a:lnTo>
                    <a:pt x="1386" y="1446"/>
                  </a:lnTo>
                  <a:lnTo>
                    <a:pt x="1380" y="1440"/>
                  </a:lnTo>
                  <a:lnTo>
                    <a:pt x="1368" y="1440"/>
                  </a:lnTo>
                  <a:lnTo>
                    <a:pt x="1368" y="1446"/>
                  </a:lnTo>
                  <a:lnTo>
                    <a:pt x="1356" y="1446"/>
                  </a:lnTo>
                  <a:lnTo>
                    <a:pt x="1350" y="1452"/>
                  </a:lnTo>
                  <a:lnTo>
                    <a:pt x="1338" y="1452"/>
                  </a:lnTo>
                  <a:lnTo>
                    <a:pt x="1338" y="1458"/>
                  </a:lnTo>
                  <a:lnTo>
                    <a:pt x="1332" y="1458"/>
                  </a:lnTo>
                  <a:lnTo>
                    <a:pt x="1332" y="1464"/>
                  </a:lnTo>
                  <a:lnTo>
                    <a:pt x="1332" y="1470"/>
                  </a:lnTo>
                  <a:lnTo>
                    <a:pt x="1326" y="1470"/>
                  </a:lnTo>
                  <a:lnTo>
                    <a:pt x="1320" y="1470"/>
                  </a:lnTo>
                  <a:lnTo>
                    <a:pt x="1314" y="1470"/>
                  </a:lnTo>
                  <a:lnTo>
                    <a:pt x="1314" y="1464"/>
                  </a:lnTo>
                  <a:lnTo>
                    <a:pt x="1308" y="1464"/>
                  </a:lnTo>
                  <a:lnTo>
                    <a:pt x="1308" y="1452"/>
                  </a:lnTo>
                  <a:lnTo>
                    <a:pt x="1284" y="1458"/>
                  </a:lnTo>
                  <a:lnTo>
                    <a:pt x="1272" y="1458"/>
                  </a:lnTo>
                  <a:lnTo>
                    <a:pt x="1272" y="1464"/>
                  </a:lnTo>
                  <a:lnTo>
                    <a:pt x="1260" y="1464"/>
                  </a:lnTo>
                  <a:lnTo>
                    <a:pt x="1254" y="1464"/>
                  </a:lnTo>
                  <a:lnTo>
                    <a:pt x="1242" y="1422"/>
                  </a:lnTo>
                  <a:lnTo>
                    <a:pt x="1242" y="1416"/>
                  </a:lnTo>
                  <a:lnTo>
                    <a:pt x="1242" y="1410"/>
                  </a:lnTo>
                  <a:lnTo>
                    <a:pt x="1248" y="1410"/>
                  </a:lnTo>
                  <a:lnTo>
                    <a:pt x="1242" y="1410"/>
                  </a:lnTo>
                  <a:lnTo>
                    <a:pt x="1242" y="1404"/>
                  </a:lnTo>
                  <a:lnTo>
                    <a:pt x="1242" y="1398"/>
                  </a:lnTo>
                  <a:lnTo>
                    <a:pt x="1248" y="1392"/>
                  </a:lnTo>
                  <a:lnTo>
                    <a:pt x="1248" y="1386"/>
                  </a:lnTo>
                  <a:lnTo>
                    <a:pt x="1242" y="1380"/>
                  </a:lnTo>
                  <a:lnTo>
                    <a:pt x="1248" y="1380"/>
                  </a:lnTo>
                  <a:lnTo>
                    <a:pt x="1248" y="1374"/>
                  </a:lnTo>
                  <a:lnTo>
                    <a:pt x="1248" y="1368"/>
                  </a:lnTo>
                  <a:lnTo>
                    <a:pt x="1254" y="1368"/>
                  </a:lnTo>
                  <a:lnTo>
                    <a:pt x="1254" y="1362"/>
                  </a:lnTo>
                  <a:lnTo>
                    <a:pt x="1248" y="1356"/>
                  </a:lnTo>
                  <a:lnTo>
                    <a:pt x="1254" y="1356"/>
                  </a:lnTo>
                  <a:lnTo>
                    <a:pt x="1254" y="1344"/>
                  </a:lnTo>
                  <a:lnTo>
                    <a:pt x="1242" y="1338"/>
                  </a:lnTo>
                  <a:lnTo>
                    <a:pt x="1242" y="1326"/>
                  </a:lnTo>
                  <a:lnTo>
                    <a:pt x="1230" y="1326"/>
                  </a:lnTo>
                  <a:lnTo>
                    <a:pt x="1230" y="1314"/>
                  </a:lnTo>
                  <a:lnTo>
                    <a:pt x="1218" y="1314"/>
                  </a:lnTo>
                  <a:lnTo>
                    <a:pt x="1200" y="1272"/>
                  </a:lnTo>
                  <a:lnTo>
                    <a:pt x="1194" y="1242"/>
                  </a:lnTo>
                  <a:lnTo>
                    <a:pt x="1194" y="1206"/>
                  </a:lnTo>
                  <a:lnTo>
                    <a:pt x="1182" y="1200"/>
                  </a:lnTo>
                  <a:lnTo>
                    <a:pt x="1164" y="1206"/>
                  </a:lnTo>
                  <a:lnTo>
                    <a:pt x="1146" y="1212"/>
                  </a:lnTo>
                  <a:lnTo>
                    <a:pt x="1146" y="1218"/>
                  </a:lnTo>
                  <a:lnTo>
                    <a:pt x="1134" y="1224"/>
                  </a:lnTo>
                  <a:lnTo>
                    <a:pt x="1140" y="1260"/>
                  </a:lnTo>
                  <a:lnTo>
                    <a:pt x="1134" y="1266"/>
                  </a:lnTo>
                  <a:lnTo>
                    <a:pt x="1122" y="1266"/>
                  </a:lnTo>
                  <a:lnTo>
                    <a:pt x="1110" y="1236"/>
                  </a:lnTo>
                  <a:lnTo>
                    <a:pt x="1110" y="1224"/>
                  </a:lnTo>
                  <a:lnTo>
                    <a:pt x="1086" y="1224"/>
                  </a:lnTo>
                  <a:lnTo>
                    <a:pt x="1086" y="1212"/>
                  </a:lnTo>
                  <a:lnTo>
                    <a:pt x="1074" y="1212"/>
                  </a:lnTo>
                  <a:lnTo>
                    <a:pt x="1050" y="1212"/>
                  </a:lnTo>
                  <a:lnTo>
                    <a:pt x="1056" y="1218"/>
                  </a:lnTo>
                  <a:lnTo>
                    <a:pt x="1050" y="1272"/>
                  </a:lnTo>
                  <a:lnTo>
                    <a:pt x="1044" y="1272"/>
                  </a:lnTo>
                  <a:lnTo>
                    <a:pt x="1038" y="1284"/>
                  </a:lnTo>
                  <a:lnTo>
                    <a:pt x="1032" y="1302"/>
                  </a:lnTo>
                  <a:lnTo>
                    <a:pt x="1014" y="1302"/>
                  </a:lnTo>
                  <a:lnTo>
                    <a:pt x="1020" y="1284"/>
                  </a:lnTo>
                  <a:lnTo>
                    <a:pt x="1026" y="1278"/>
                  </a:lnTo>
                  <a:lnTo>
                    <a:pt x="1026" y="1266"/>
                  </a:lnTo>
                  <a:lnTo>
                    <a:pt x="1014" y="1260"/>
                  </a:lnTo>
                  <a:lnTo>
                    <a:pt x="1014" y="1272"/>
                  </a:lnTo>
                  <a:lnTo>
                    <a:pt x="990" y="1278"/>
                  </a:lnTo>
                  <a:lnTo>
                    <a:pt x="990" y="1254"/>
                  </a:lnTo>
                  <a:lnTo>
                    <a:pt x="984" y="1254"/>
                  </a:lnTo>
                  <a:lnTo>
                    <a:pt x="978" y="1242"/>
                  </a:lnTo>
                  <a:lnTo>
                    <a:pt x="972" y="1236"/>
                  </a:lnTo>
                  <a:lnTo>
                    <a:pt x="960" y="1206"/>
                  </a:lnTo>
                  <a:lnTo>
                    <a:pt x="942" y="1206"/>
                  </a:lnTo>
                  <a:lnTo>
                    <a:pt x="936" y="1200"/>
                  </a:lnTo>
                  <a:lnTo>
                    <a:pt x="906" y="1212"/>
                  </a:lnTo>
                  <a:lnTo>
                    <a:pt x="888" y="1230"/>
                  </a:lnTo>
                  <a:lnTo>
                    <a:pt x="876" y="1230"/>
                  </a:lnTo>
                  <a:lnTo>
                    <a:pt x="864" y="1236"/>
                  </a:lnTo>
                  <a:lnTo>
                    <a:pt x="858" y="1236"/>
                  </a:lnTo>
                  <a:lnTo>
                    <a:pt x="852" y="1254"/>
                  </a:lnTo>
                  <a:lnTo>
                    <a:pt x="858" y="1254"/>
                  </a:lnTo>
                  <a:lnTo>
                    <a:pt x="840" y="1266"/>
                  </a:lnTo>
                  <a:lnTo>
                    <a:pt x="828" y="1272"/>
                  </a:lnTo>
                  <a:lnTo>
                    <a:pt x="828" y="1284"/>
                  </a:lnTo>
                  <a:lnTo>
                    <a:pt x="822" y="1284"/>
                  </a:lnTo>
                  <a:lnTo>
                    <a:pt x="804" y="1296"/>
                  </a:lnTo>
                  <a:lnTo>
                    <a:pt x="804" y="1308"/>
                  </a:lnTo>
                  <a:lnTo>
                    <a:pt x="816" y="1320"/>
                  </a:lnTo>
                  <a:lnTo>
                    <a:pt x="828" y="1320"/>
                  </a:lnTo>
                  <a:lnTo>
                    <a:pt x="822" y="1338"/>
                  </a:lnTo>
                  <a:lnTo>
                    <a:pt x="852" y="1344"/>
                  </a:lnTo>
                  <a:lnTo>
                    <a:pt x="864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94" y="1356"/>
                  </a:lnTo>
                  <a:lnTo>
                    <a:pt x="912" y="1368"/>
                  </a:lnTo>
                  <a:lnTo>
                    <a:pt x="918" y="1380"/>
                  </a:lnTo>
                  <a:lnTo>
                    <a:pt x="936" y="1380"/>
                  </a:lnTo>
                  <a:lnTo>
                    <a:pt x="960" y="1386"/>
                  </a:lnTo>
                  <a:lnTo>
                    <a:pt x="990" y="1386"/>
                  </a:lnTo>
                  <a:lnTo>
                    <a:pt x="990" y="1392"/>
                  </a:lnTo>
                  <a:lnTo>
                    <a:pt x="1020" y="1398"/>
                  </a:lnTo>
                  <a:lnTo>
                    <a:pt x="1014" y="1404"/>
                  </a:lnTo>
                  <a:lnTo>
                    <a:pt x="1008" y="1404"/>
                  </a:lnTo>
                  <a:lnTo>
                    <a:pt x="1014" y="1440"/>
                  </a:lnTo>
                  <a:lnTo>
                    <a:pt x="1020" y="1458"/>
                  </a:lnTo>
                  <a:lnTo>
                    <a:pt x="1026" y="1476"/>
                  </a:lnTo>
                  <a:lnTo>
                    <a:pt x="1020" y="1476"/>
                  </a:lnTo>
                  <a:lnTo>
                    <a:pt x="1014" y="1476"/>
                  </a:lnTo>
                  <a:lnTo>
                    <a:pt x="1014" y="1482"/>
                  </a:lnTo>
                  <a:lnTo>
                    <a:pt x="1014" y="1488"/>
                  </a:lnTo>
                  <a:lnTo>
                    <a:pt x="1002" y="1488"/>
                  </a:lnTo>
                  <a:lnTo>
                    <a:pt x="1002" y="1494"/>
                  </a:lnTo>
                  <a:lnTo>
                    <a:pt x="996" y="1494"/>
                  </a:lnTo>
                  <a:lnTo>
                    <a:pt x="996" y="1518"/>
                  </a:lnTo>
                  <a:lnTo>
                    <a:pt x="1002" y="1524"/>
                  </a:lnTo>
                  <a:lnTo>
                    <a:pt x="1020" y="1530"/>
                  </a:lnTo>
                  <a:lnTo>
                    <a:pt x="1026" y="1542"/>
                  </a:lnTo>
                  <a:lnTo>
                    <a:pt x="1032" y="1566"/>
                  </a:lnTo>
                  <a:lnTo>
                    <a:pt x="1038" y="1578"/>
                  </a:lnTo>
                  <a:lnTo>
                    <a:pt x="1032" y="1584"/>
                  </a:lnTo>
                  <a:lnTo>
                    <a:pt x="1020" y="1584"/>
                  </a:lnTo>
                  <a:lnTo>
                    <a:pt x="1014" y="1584"/>
                  </a:lnTo>
                  <a:lnTo>
                    <a:pt x="1008" y="1596"/>
                  </a:lnTo>
                  <a:lnTo>
                    <a:pt x="990" y="1584"/>
                  </a:lnTo>
                  <a:lnTo>
                    <a:pt x="984" y="1602"/>
                  </a:lnTo>
                  <a:lnTo>
                    <a:pt x="978" y="1608"/>
                  </a:lnTo>
                  <a:lnTo>
                    <a:pt x="966" y="1608"/>
                  </a:lnTo>
                  <a:lnTo>
                    <a:pt x="960" y="1614"/>
                  </a:lnTo>
                  <a:lnTo>
                    <a:pt x="954" y="1614"/>
                  </a:lnTo>
                  <a:lnTo>
                    <a:pt x="942" y="1620"/>
                  </a:lnTo>
                  <a:lnTo>
                    <a:pt x="936" y="1620"/>
                  </a:lnTo>
                  <a:lnTo>
                    <a:pt x="930" y="1620"/>
                  </a:lnTo>
                  <a:lnTo>
                    <a:pt x="930" y="1626"/>
                  </a:lnTo>
                  <a:lnTo>
                    <a:pt x="930" y="1632"/>
                  </a:lnTo>
                  <a:lnTo>
                    <a:pt x="918" y="1632"/>
                  </a:lnTo>
                  <a:lnTo>
                    <a:pt x="912" y="1632"/>
                  </a:lnTo>
                  <a:lnTo>
                    <a:pt x="906" y="1632"/>
                  </a:lnTo>
                  <a:lnTo>
                    <a:pt x="900" y="1632"/>
                  </a:lnTo>
                  <a:lnTo>
                    <a:pt x="894" y="1626"/>
                  </a:lnTo>
                  <a:lnTo>
                    <a:pt x="894" y="1614"/>
                  </a:lnTo>
                  <a:lnTo>
                    <a:pt x="840" y="1614"/>
                  </a:lnTo>
                  <a:lnTo>
                    <a:pt x="840" y="1626"/>
                  </a:lnTo>
                  <a:lnTo>
                    <a:pt x="834" y="1626"/>
                  </a:lnTo>
                  <a:lnTo>
                    <a:pt x="828" y="1632"/>
                  </a:lnTo>
                  <a:lnTo>
                    <a:pt x="822" y="1638"/>
                  </a:lnTo>
                  <a:lnTo>
                    <a:pt x="822" y="1644"/>
                  </a:lnTo>
                  <a:lnTo>
                    <a:pt x="834" y="1650"/>
                  </a:lnTo>
                  <a:lnTo>
                    <a:pt x="840" y="1662"/>
                  </a:lnTo>
                  <a:lnTo>
                    <a:pt x="840" y="1668"/>
                  </a:lnTo>
                  <a:lnTo>
                    <a:pt x="858" y="1680"/>
                  </a:lnTo>
                  <a:lnTo>
                    <a:pt x="858" y="1752"/>
                  </a:lnTo>
                  <a:lnTo>
                    <a:pt x="864" y="1782"/>
                  </a:lnTo>
                  <a:lnTo>
                    <a:pt x="876" y="1788"/>
                  </a:lnTo>
                  <a:lnTo>
                    <a:pt x="870" y="1854"/>
                  </a:lnTo>
                  <a:lnTo>
                    <a:pt x="870" y="1884"/>
                  </a:lnTo>
                  <a:lnTo>
                    <a:pt x="864" y="1884"/>
                  </a:lnTo>
                  <a:lnTo>
                    <a:pt x="846" y="1896"/>
                  </a:lnTo>
                  <a:lnTo>
                    <a:pt x="840" y="1896"/>
                  </a:lnTo>
                  <a:lnTo>
                    <a:pt x="834" y="1896"/>
                  </a:lnTo>
                  <a:lnTo>
                    <a:pt x="828" y="1890"/>
                  </a:lnTo>
                  <a:lnTo>
                    <a:pt x="822" y="1890"/>
                  </a:lnTo>
                  <a:lnTo>
                    <a:pt x="816" y="1896"/>
                  </a:lnTo>
                  <a:lnTo>
                    <a:pt x="804" y="1896"/>
                  </a:lnTo>
                  <a:lnTo>
                    <a:pt x="804" y="1890"/>
                  </a:lnTo>
                  <a:lnTo>
                    <a:pt x="780" y="1896"/>
                  </a:lnTo>
                  <a:lnTo>
                    <a:pt x="780" y="1902"/>
                  </a:lnTo>
                  <a:lnTo>
                    <a:pt x="774" y="1914"/>
                  </a:lnTo>
                  <a:lnTo>
                    <a:pt x="762" y="1926"/>
                  </a:lnTo>
                  <a:lnTo>
                    <a:pt x="762" y="1950"/>
                  </a:lnTo>
                  <a:lnTo>
                    <a:pt x="762" y="1962"/>
                  </a:lnTo>
                  <a:lnTo>
                    <a:pt x="780" y="1974"/>
                  </a:lnTo>
                  <a:lnTo>
                    <a:pt x="780" y="1986"/>
                  </a:lnTo>
                  <a:lnTo>
                    <a:pt x="780" y="1998"/>
                  </a:lnTo>
                  <a:lnTo>
                    <a:pt x="756" y="1998"/>
                  </a:lnTo>
                  <a:lnTo>
                    <a:pt x="720" y="1992"/>
                  </a:lnTo>
                  <a:lnTo>
                    <a:pt x="666" y="1998"/>
                  </a:lnTo>
                  <a:lnTo>
                    <a:pt x="654" y="1998"/>
                  </a:lnTo>
                  <a:lnTo>
                    <a:pt x="660" y="1974"/>
                  </a:lnTo>
                  <a:lnTo>
                    <a:pt x="666" y="1962"/>
                  </a:lnTo>
                  <a:lnTo>
                    <a:pt x="678" y="1950"/>
                  </a:lnTo>
                  <a:lnTo>
                    <a:pt x="696" y="1932"/>
                  </a:lnTo>
                  <a:lnTo>
                    <a:pt x="696" y="1920"/>
                  </a:lnTo>
                  <a:lnTo>
                    <a:pt x="696" y="1896"/>
                  </a:lnTo>
                  <a:lnTo>
                    <a:pt x="678" y="1896"/>
                  </a:lnTo>
                  <a:lnTo>
                    <a:pt x="672" y="1884"/>
                  </a:lnTo>
                  <a:lnTo>
                    <a:pt x="672" y="1776"/>
                  </a:lnTo>
                  <a:lnTo>
                    <a:pt x="678" y="1758"/>
                  </a:lnTo>
                  <a:lnTo>
                    <a:pt x="678" y="1740"/>
                  </a:lnTo>
                  <a:lnTo>
                    <a:pt x="684" y="1728"/>
                  </a:lnTo>
                  <a:lnTo>
                    <a:pt x="690" y="1722"/>
                  </a:lnTo>
                  <a:lnTo>
                    <a:pt x="702" y="1722"/>
                  </a:lnTo>
                  <a:lnTo>
                    <a:pt x="708" y="1716"/>
                  </a:lnTo>
                  <a:lnTo>
                    <a:pt x="714" y="1710"/>
                  </a:lnTo>
                  <a:lnTo>
                    <a:pt x="720" y="1698"/>
                  </a:lnTo>
                  <a:lnTo>
                    <a:pt x="732" y="1692"/>
                  </a:lnTo>
                  <a:lnTo>
                    <a:pt x="744" y="1686"/>
                  </a:lnTo>
                  <a:lnTo>
                    <a:pt x="756" y="1680"/>
                  </a:lnTo>
                  <a:lnTo>
                    <a:pt x="768" y="1668"/>
                  </a:lnTo>
                  <a:lnTo>
                    <a:pt x="768" y="1650"/>
                  </a:lnTo>
                  <a:lnTo>
                    <a:pt x="774" y="1632"/>
                  </a:lnTo>
                  <a:lnTo>
                    <a:pt x="768" y="1620"/>
                  </a:lnTo>
                  <a:lnTo>
                    <a:pt x="774" y="1608"/>
                  </a:lnTo>
                  <a:lnTo>
                    <a:pt x="774" y="1578"/>
                  </a:lnTo>
                  <a:lnTo>
                    <a:pt x="774" y="1572"/>
                  </a:lnTo>
                  <a:lnTo>
                    <a:pt x="780" y="1560"/>
                  </a:lnTo>
                  <a:lnTo>
                    <a:pt x="780" y="1554"/>
                  </a:lnTo>
                  <a:lnTo>
                    <a:pt x="786" y="1542"/>
                  </a:lnTo>
                  <a:lnTo>
                    <a:pt x="792" y="1530"/>
                  </a:lnTo>
                  <a:lnTo>
                    <a:pt x="792" y="1518"/>
                  </a:lnTo>
                  <a:lnTo>
                    <a:pt x="792" y="1506"/>
                  </a:lnTo>
                  <a:lnTo>
                    <a:pt x="786" y="1500"/>
                  </a:lnTo>
                  <a:lnTo>
                    <a:pt x="774" y="1488"/>
                  </a:lnTo>
                  <a:lnTo>
                    <a:pt x="774" y="1482"/>
                  </a:lnTo>
                  <a:lnTo>
                    <a:pt x="762" y="1488"/>
                  </a:lnTo>
                  <a:lnTo>
                    <a:pt x="756" y="1494"/>
                  </a:lnTo>
                  <a:lnTo>
                    <a:pt x="744" y="1500"/>
                  </a:lnTo>
                  <a:lnTo>
                    <a:pt x="732" y="1506"/>
                  </a:lnTo>
                  <a:lnTo>
                    <a:pt x="726" y="1506"/>
                  </a:lnTo>
                  <a:lnTo>
                    <a:pt x="720" y="1506"/>
                  </a:lnTo>
                  <a:lnTo>
                    <a:pt x="702" y="1506"/>
                  </a:lnTo>
                  <a:lnTo>
                    <a:pt x="690" y="1500"/>
                  </a:lnTo>
                  <a:lnTo>
                    <a:pt x="678" y="1500"/>
                  </a:lnTo>
                  <a:lnTo>
                    <a:pt x="672" y="1500"/>
                  </a:lnTo>
                  <a:lnTo>
                    <a:pt x="660" y="1506"/>
                  </a:lnTo>
                  <a:lnTo>
                    <a:pt x="654" y="1506"/>
                  </a:lnTo>
                  <a:lnTo>
                    <a:pt x="648" y="1512"/>
                  </a:lnTo>
                  <a:lnTo>
                    <a:pt x="648" y="1518"/>
                  </a:lnTo>
                  <a:lnTo>
                    <a:pt x="618" y="1518"/>
                  </a:lnTo>
                  <a:lnTo>
                    <a:pt x="534" y="1494"/>
                  </a:lnTo>
                  <a:lnTo>
                    <a:pt x="528" y="1458"/>
                  </a:lnTo>
                  <a:lnTo>
                    <a:pt x="510" y="1458"/>
                  </a:lnTo>
                  <a:lnTo>
                    <a:pt x="492" y="1440"/>
                  </a:lnTo>
                  <a:lnTo>
                    <a:pt x="462" y="1440"/>
                  </a:lnTo>
                  <a:lnTo>
                    <a:pt x="456" y="1428"/>
                  </a:lnTo>
                  <a:lnTo>
                    <a:pt x="420" y="1428"/>
                  </a:lnTo>
                  <a:lnTo>
                    <a:pt x="390" y="1446"/>
                  </a:lnTo>
                  <a:lnTo>
                    <a:pt x="312" y="1452"/>
                  </a:lnTo>
                  <a:lnTo>
                    <a:pt x="300" y="1446"/>
                  </a:lnTo>
                  <a:lnTo>
                    <a:pt x="294" y="1446"/>
                  </a:lnTo>
                  <a:lnTo>
                    <a:pt x="288" y="1446"/>
                  </a:lnTo>
                  <a:lnTo>
                    <a:pt x="282" y="1440"/>
                  </a:lnTo>
                  <a:lnTo>
                    <a:pt x="276" y="1440"/>
                  </a:lnTo>
                  <a:lnTo>
                    <a:pt x="270" y="1440"/>
                  </a:lnTo>
                  <a:lnTo>
                    <a:pt x="264" y="1440"/>
                  </a:lnTo>
                  <a:lnTo>
                    <a:pt x="258" y="1434"/>
                  </a:lnTo>
                  <a:lnTo>
                    <a:pt x="252" y="1434"/>
                  </a:lnTo>
                  <a:lnTo>
                    <a:pt x="246" y="1428"/>
                  </a:lnTo>
                  <a:lnTo>
                    <a:pt x="240" y="1416"/>
                  </a:lnTo>
                  <a:lnTo>
                    <a:pt x="234" y="1404"/>
                  </a:lnTo>
                  <a:lnTo>
                    <a:pt x="228" y="1398"/>
                  </a:lnTo>
                  <a:lnTo>
                    <a:pt x="222" y="1398"/>
                  </a:lnTo>
                  <a:lnTo>
                    <a:pt x="216" y="1404"/>
                  </a:lnTo>
                  <a:lnTo>
                    <a:pt x="210" y="1404"/>
                  </a:lnTo>
                  <a:lnTo>
                    <a:pt x="204" y="1404"/>
                  </a:lnTo>
                  <a:lnTo>
                    <a:pt x="204" y="1398"/>
                  </a:lnTo>
                  <a:lnTo>
                    <a:pt x="198" y="1392"/>
                  </a:lnTo>
                  <a:lnTo>
                    <a:pt x="192" y="1386"/>
                  </a:lnTo>
                  <a:lnTo>
                    <a:pt x="168" y="1374"/>
                  </a:lnTo>
                  <a:lnTo>
                    <a:pt x="144" y="13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0" name="Freeform 35">
              <a:extLst>
                <a:ext uri="{FF2B5EF4-FFF2-40B4-BE49-F238E27FC236}">
                  <a16:creationId xmlns:a16="http://schemas.microsoft.com/office/drawing/2014/main" id="{F64BF16E-9D62-438E-A1CC-CD4088AC7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2895" y="1706004"/>
              <a:ext cx="767013" cy="785011"/>
            </a:xfrm>
            <a:custGeom>
              <a:avLst/>
              <a:gdLst>
                <a:gd name="T0" fmla="*/ 102 w 1440"/>
                <a:gd name="T1" fmla="*/ 104 h 1476"/>
                <a:gd name="T2" fmla="*/ 99 w 1440"/>
                <a:gd name="T3" fmla="*/ 108 h 1476"/>
                <a:gd name="T4" fmla="*/ 98 w 1440"/>
                <a:gd name="T5" fmla="*/ 112 h 1476"/>
                <a:gd name="T6" fmla="*/ 96 w 1440"/>
                <a:gd name="T7" fmla="*/ 116 h 1476"/>
                <a:gd name="T8" fmla="*/ 91 w 1440"/>
                <a:gd name="T9" fmla="*/ 118 h 1476"/>
                <a:gd name="T10" fmla="*/ 87 w 1440"/>
                <a:gd name="T11" fmla="*/ 120 h 1476"/>
                <a:gd name="T12" fmla="*/ 75 w 1440"/>
                <a:gd name="T13" fmla="*/ 120 h 1476"/>
                <a:gd name="T14" fmla="*/ 72 w 1440"/>
                <a:gd name="T15" fmla="*/ 123 h 1476"/>
                <a:gd name="T16" fmla="*/ 69 w 1440"/>
                <a:gd name="T17" fmla="*/ 128 h 1476"/>
                <a:gd name="T18" fmla="*/ 67 w 1440"/>
                <a:gd name="T19" fmla="*/ 127 h 1476"/>
                <a:gd name="T20" fmla="*/ 66 w 1440"/>
                <a:gd name="T21" fmla="*/ 123 h 1476"/>
                <a:gd name="T22" fmla="*/ 63 w 1440"/>
                <a:gd name="T23" fmla="*/ 119 h 1476"/>
                <a:gd name="T24" fmla="*/ 54 w 1440"/>
                <a:gd name="T25" fmla="*/ 114 h 1476"/>
                <a:gd name="T26" fmla="*/ 55 w 1440"/>
                <a:gd name="T27" fmla="*/ 106 h 1476"/>
                <a:gd name="T28" fmla="*/ 60 w 1440"/>
                <a:gd name="T29" fmla="*/ 100 h 1476"/>
                <a:gd name="T30" fmla="*/ 55 w 1440"/>
                <a:gd name="T31" fmla="*/ 91 h 1476"/>
                <a:gd name="T32" fmla="*/ 51 w 1440"/>
                <a:gd name="T33" fmla="*/ 86 h 1476"/>
                <a:gd name="T34" fmla="*/ 47 w 1440"/>
                <a:gd name="T35" fmla="*/ 85 h 1476"/>
                <a:gd name="T36" fmla="*/ 44 w 1440"/>
                <a:gd name="T37" fmla="*/ 82 h 1476"/>
                <a:gd name="T38" fmla="*/ 41 w 1440"/>
                <a:gd name="T39" fmla="*/ 83 h 1476"/>
                <a:gd name="T40" fmla="*/ 36 w 1440"/>
                <a:gd name="T41" fmla="*/ 83 h 1476"/>
                <a:gd name="T42" fmla="*/ 33 w 1440"/>
                <a:gd name="T43" fmla="*/ 83 h 1476"/>
                <a:gd name="T44" fmla="*/ 30 w 1440"/>
                <a:gd name="T45" fmla="*/ 83 h 1476"/>
                <a:gd name="T46" fmla="*/ 27 w 1440"/>
                <a:gd name="T47" fmla="*/ 83 h 1476"/>
                <a:gd name="T48" fmla="*/ 24 w 1440"/>
                <a:gd name="T49" fmla="*/ 82 h 1476"/>
                <a:gd name="T50" fmla="*/ 21 w 1440"/>
                <a:gd name="T51" fmla="*/ 80 h 1476"/>
                <a:gd name="T52" fmla="*/ 18 w 1440"/>
                <a:gd name="T53" fmla="*/ 79 h 1476"/>
                <a:gd name="T54" fmla="*/ 17 w 1440"/>
                <a:gd name="T55" fmla="*/ 78 h 1476"/>
                <a:gd name="T56" fmla="*/ 12 w 1440"/>
                <a:gd name="T57" fmla="*/ 78 h 1476"/>
                <a:gd name="T58" fmla="*/ 12 w 1440"/>
                <a:gd name="T59" fmla="*/ 78 h 1476"/>
                <a:gd name="T60" fmla="*/ 7 w 1440"/>
                <a:gd name="T61" fmla="*/ 80 h 1476"/>
                <a:gd name="T62" fmla="*/ 3 w 1440"/>
                <a:gd name="T63" fmla="*/ 81 h 1476"/>
                <a:gd name="T64" fmla="*/ 0 w 1440"/>
                <a:gd name="T65" fmla="*/ 76 h 1476"/>
                <a:gd name="T66" fmla="*/ 1 w 1440"/>
                <a:gd name="T67" fmla="*/ 50 h 1476"/>
                <a:gd name="T68" fmla="*/ 8 w 1440"/>
                <a:gd name="T69" fmla="*/ 48 h 1476"/>
                <a:gd name="T70" fmla="*/ 20 w 1440"/>
                <a:gd name="T71" fmla="*/ 49 h 1476"/>
                <a:gd name="T72" fmla="*/ 26 w 1440"/>
                <a:gd name="T73" fmla="*/ 50 h 1476"/>
                <a:gd name="T74" fmla="*/ 44 w 1440"/>
                <a:gd name="T75" fmla="*/ 47 h 1476"/>
                <a:gd name="T76" fmla="*/ 41 w 1440"/>
                <a:gd name="T77" fmla="*/ 24 h 1476"/>
                <a:gd name="T78" fmla="*/ 44 w 1440"/>
                <a:gd name="T79" fmla="*/ 20 h 1476"/>
                <a:gd name="T80" fmla="*/ 47 w 1440"/>
                <a:gd name="T81" fmla="*/ 18 h 1476"/>
                <a:gd name="T82" fmla="*/ 54 w 1440"/>
                <a:gd name="T83" fmla="*/ 21 h 1476"/>
                <a:gd name="T84" fmla="*/ 61 w 1440"/>
                <a:gd name="T85" fmla="*/ 23 h 1476"/>
                <a:gd name="T86" fmla="*/ 59 w 1440"/>
                <a:gd name="T87" fmla="*/ 14 h 1476"/>
                <a:gd name="T88" fmla="*/ 61 w 1440"/>
                <a:gd name="T89" fmla="*/ 8 h 1476"/>
                <a:gd name="T90" fmla="*/ 71 w 1440"/>
                <a:gd name="T91" fmla="*/ 7 h 1476"/>
                <a:gd name="T92" fmla="*/ 75 w 1440"/>
                <a:gd name="T93" fmla="*/ 0 h 1476"/>
                <a:gd name="T94" fmla="*/ 82 w 1440"/>
                <a:gd name="T95" fmla="*/ 3 h 1476"/>
                <a:gd name="T96" fmla="*/ 93 w 1440"/>
                <a:gd name="T97" fmla="*/ 5 h 1476"/>
                <a:gd name="T98" fmla="*/ 100 w 1440"/>
                <a:gd name="T99" fmla="*/ 1 h 1476"/>
                <a:gd name="T100" fmla="*/ 104 w 1440"/>
                <a:gd name="T101" fmla="*/ 4 h 1476"/>
                <a:gd name="T102" fmla="*/ 110 w 1440"/>
                <a:gd name="T103" fmla="*/ 10 h 1476"/>
                <a:gd name="T104" fmla="*/ 115 w 1440"/>
                <a:gd name="T105" fmla="*/ 23 h 1476"/>
                <a:gd name="T106" fmla="*/ 117 w 1440"/>
                <a:gd name="T107" fmla="*/ 42 h 1476"/>
                <a:gd name="T108" fmla="*/ 121 w 1440"/>
                <a:gd name="T109" fmla="*/ 52 h 1476"/>
                <a:gd name="T110" fmla="*/ 118 w 1440"/>
                <a:gd name="T111" fmla="*/ 62 h 1476"/>
                <a:gd name="T112" fmla="*/ 124 w 1440"/>
                <a:gd name="T113" fmla="*/ 66 h 1476"/>
                <a:gd name="T114" fmla="*/ 121 w 1440"/>
                <a:gd name="T115" fmla="*/ 71 h 1476"/>
                <a:gd name="T116" fmla="*/ 115 w 1440"/>
                <a:gd name="T117" fmla="*/ 76 h 1476"/>
                <a:gd name="T118" fmla="*/ 109 w 1440"/>
                <a:gd name="T119" fmla="*/ 76 h 1476"/>
                <a:gd name="T120" fmla="*/ 105 w 1440"/>
                <a:gd name="T121" fmla="*/ 86 h 1476"/>
                <a:gd name="T122" fmla="*/ 107 w 1440"/>
                <a:gd name="T123" fmla="*/ 97 h 147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40"/>
                <a:gd name="T187" fmla="*/ 0 h 1476"/>
                <a:gd name="T188" fmla="*/ 1440 w 1440"/>
                <a:gd name="T189" fmla="*/ 1476 h 147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40" h="1476">
                  <a:moveTo>
                    <a:pt x="1212" y="1164"/>
                  </a:moveTo>
                  <a:lnTo>
                    <a:pt x="1206" y="1170"/>
                  </a:lnTo>
                  <a:lnTo>
                    <a:pt x="1200" y="1176"/>
                  </a:lnTo>
                  <a:lnTo>
                    <a:pt x="1194" y="1176"/>
                  </a:lnTo>
                  <a:lnTo>
                    <a:pt x="1188" y="1188"/>
                  </a:lnTo>
                  <a:lnTo>
                    <a:pt x="1182" y="1194"/>
                  </a:lnTo>
                  <a:lnTo>
                    <a:pt x="1176" y="1194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64" y="1206"/>
                  </a:lnTo>
                  <a:lnTo>
                    <a:pt x="1158" y="1206"/>
                  </a:lnTo>
                  <a:lnTo>
                    <a:pt x="1152" y="1212"/>
                  </a:lnTo>
                  <a:lnTo>
                    <a:pt x="1146" y="1212"/>
                  </a:lnTo>
                  <a:lnTo>
                    <a:pt x="1140" y="1224"/>
                  </a:lnTo>
                  <a:lnTo>
                    <a:pt x="1134" y="1230"/>
                  </a:lnTo>
                  <a:lnTo>
                    <a:pt x="1128" y="1236"/>
                  </a:lnTo>
                  <a:lnTo>
                    <a:pt x="1128" y="1242"/>
                  </a:lnTo>
                  <a:lnTo>
                    <a:pt x="1128" y="1254"/>
                  </a:lnTo>
                  <a:lnTo>
                    <a:pt x="1128" y="1260"/>
                  </a:lnTo>
                  <a:lnTo>
                    <a:pt x="1122" y="1260"/>
                  </a:lnTo>
                  <a:lnTo>
                    <a:pt x="1122" y="1266"/>
                  </a:lnTo>
                  <a:lnTo>
                    <a:pt x="1128" y="1278"/>
                  </a:lnTo>
                  <a:lnTo>
                    <a:pt x="1122" y="1278"/>
                  </a:lnTo>
                  <a:lnTo>
                    <a:pt x="1122" y="1284"/>
                  </a:lnTo>
                  <a:lnTo>
                    <a:pt x="1128" y="1290"/>
                  </a:lnTo>
                  <a:lnTo>
                    <a:pt x="1122" y="1296"/>
                  </a:lnTo>
                  <a:lnTo>
                    <a:pt x="1122" y="1302"/>
                  </a:lnTo>
                  <a:lnTo>
                    <a:pt x="1116" y="1302"/>
                  </a:lnTo>
                  <a:lnTo>
                    <a:pt x="1110" y="1314"/>
                  </a:lnTo>
                  <a:lnTo>
                    <a:pt x="1110" y="1320"/>
                  </a:lnTo>
                  <a:lnTo>
                    <a:pt x="1110" y="1326"/>
                  </a:lnTo>
                  <a:lnTo>
                    <a:pt x="1098" y="1332"/>
                  </a:lnTo>
                  <a:lnTo>
                    <a:pt x="1092" y="1338"/>
                  </a:lnTo>
                  <a:lnTo>
                    <a:pt x="1092" y="1344"/>
                  </a:lnTo>
                  <a:lnTo>
                    <a:pt x="1086" y="1350"/>
                  </a:lnTo>
                  <a:lnTo>
                    <a:pt x="1080" y="1350"/>
                  </a:lnTo>
                  <a:lnTo>
                    <a:pt x="1074" y="1350"/>
                  </a:lnTo>
                  <a:lnTo>
                    <a:pt x="1068" y="1356"/>
                  </a:lnTo>
                  <a:lnTo>
                    <a:pt x="1062" y="1356"/>
                  </a:lnTo>
                  <a:lnTo>
                    <a:pt x="1044" y="1356"/>
                  </a:lnTo>
                  <a:lnTo>
                    <a:pt x="1038" y="1362"/>
                  </a:lnTo>
                  <a:lnTo>
                    <a:pt x="1032" y="1368"/>
                  </a:lnTo>
                  <a:lnTo>
                    <a:pt x="1026" y="1368"/>
                  </a:lnTo>
                  <a:lnTo>
                    <a:pt x="1020" y="1374"/>
                  </a:lnTo>
                  <a:lnTo>
                    <a:pt x="1008" y="1374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74"/>
                  </a:lnTo>
                  <a:lnTo>
                    <a:pt x="978" y="1380"/>
                  </a:lnTo>
                  <a:lnTo>
                    <a:pt x="972" y="1380"/>
                  </a:lnTo>
                  <a:lnTo>
                    <a:pt x="954" y="1368"/>
                  </a:lnTo>
                  <a:lnTo>
                    <a:pt x="930" y="1368"/>
                  </a:lnTo>
                  <a:lnTo>
                    <a:pt x="918" y="1368"/>
                  </a:lnTo>
                  <a:lnTo>
                    <a:pt x="906" y="1368"/>
                  </a:lnTo>
                  <a:lnTo>
                    <a:pt x="894" y="1368"/>
                  </a:lnTo>
                  <a:lnTo>
                    <a:pt x="864" y="1374"/>
                  </a:lnTo>
                  <a:lnTo>
                    <a:pt x="852" y="1374"/>
                  </a:lnTo>
                  <a:lnTo>
                    <a:pt x="846" y="1386"/>
                  </a:lnTo>
                  <a:lnTo>
                    <a:pt x="846" y="1392"/>
                  </a:lnTo>
                  <a:lnTo>
                    <a:pt x="840" y="1398"/>
                  </a:lnTo>
                  <a:lnTo>
                    <a:pt x="840" y="1404"/>
                  </a:lnTo>
                  <a:lnTo>
                    <a:pt x="834" y="1416"/>
                  </a:lnTo>
                  <a:lnTo>
                    <a:pt x="828" y="1416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04" y="1428"/>
                  </a:lnTo>
                  <a:lnTo>
                    <a:pt x="804" y="1434"/>
                  </a:lnTo>
                  <a:lnTo>
                    <a:pt x="804" y="1440"/>
                  </a:lnTo>
                  <a:lnTo>
                    <a:pt x="798" y="1446"/>
                  </a:lnTo>
                  <a:lnTo>
                    <a:pt x="798" y="1458"/>
                  </a:lnTo>
                  <a:lnTo>
                    <a:pt x="792" y="1464"/>
                  </a:lnTo>
                  <a:lnTo>
                    <a:pt x="786" y="1476"/>
                  </a:lnTo>
                  <a:lnTo>
                    <a:pt x="780" y="1470"/>
                  </a:lnTo>
                  <a:lnTo>
                    <a:pt x="774" y="1470"/>
                  </a:lnTo>
                  <a:lnTo>
                    <a:pt x="768" y="1470"/>
                  </a:lnTo>
                  <a:lnTo>
                    <a:pt x="762" y="1476"/>
                  </a:lnTo>
                  <a:lnTo>
                    <a:pt x="762" y="1470"/>
                  </a:lnTo>
                  <a:lnTo>
                    <a:pt x="762" y="1464"/>
                  </a:lnTo>
                  <a:lnTo>
                    <a:pt x="762" y="1458"/>
                  </a:lnTo>
                  <a:lnTo>
                    <a:pt x="756" y="1458"/>
                  </a:lnTo>
                  <a:lnTo>
                    <a:pt x="756" y="1452"/>
                  </a:lnTo>
                  <a:lnTo>
                    <a:pt x="756" y="1446"/>
                  </a:lnTo>
                  <a:lnTo>
                    <a:pt x="756" y="1440"/>
                  </a:lnTo>
                  <a:lnTo>
                    <a:pt x="750" y="1434"/>
                  </a:lnTo>
                  <a:lnTo>
                    <a:pt x="750" y="1428"/>
                  </a:lnTo>
                  <a:lnTo>
                    <a:pt x="750" y="1422"/>
                  </a:lnTo>
                  <a:lnTo>
                    <a:pt x="750" y="1416"/>
                  </a:lnTo>
                  <a:lnTo>
                    <a:pt x="744" y="1416"/>
                  </a:lnTo>
                  <a:lnTo>
                    <a:pt x="744" y="1410"/>
                  </a:lnTo>
                  <a:lnTo>
                    <a:pt x="738" y="1404"/>
                  </a:lnTo>
                  <a:lnTo>
                    <a:pt x="732" y="1398"/>
                  </a:lnTo>
                  <a:lnTo>
                    <a:pt x="732" y="1392"/>
                  </a:lnTo>
                  <a:lnTo>
                    <a:pt x="726" y="1386"/>
                  </a:lnTo>
                  <a:lnTo>
                    <a:pt x="726" y="1380"/>
                  </a:lnTo>
                  <a:lnTo>
                    <a:pt x="714" y="1368"/>
                  </a:lnTo>
                  <a:lnTo>
                    <a:pt x="708" y="1368"/>
                  </a:lnTo>
                  <a:lnTo>
                    <a:pt x="684" y="1332"/>
                  </a:lnTo>
                  <a:lnTo>
                    <a:pt x="666" y="1320"/>
                  </a:lnTo>
                  <a:lnTo>
                    <a:pt x="648" y="1302"/>
                  </a:lnTo>
                  <a:lnTo>
                    <a:pt x="630" y="1314"/>
                  </a:lnTo>
                  <a:lnTo>
                    <a:pt x="624" y="1314"/>
                  </a:lnTo>
                  <a:lnTo>
                    <a:pt x="624" y="1308"/>
                  </a:lnTo>
                  <a:lnTo>
                    <a:pt x="618" y="1308"/>
                  </a:lnTo>
                  <a:lnTo>
                    <a:pt x="612" y="1284"/>
                  </a:lnTo>
                  <a:lnTo>
                    <a:pt x="606" y="1254"/>
                  </a:lnTo>
                  <a:lnTo>
                    <a:pt x="606" y="1248"/>
                  </a:lnTo>
                  <a:lnTo>
                    <a:pt x="606" y="1242"/>
                  </a:lnTo>
                  <a:lnTo>
                    <a:pt x="612" y="1242"/>
                  </a:lnTo>
                  <a:lnTo>
                    <a:pt x="618" y="1236"/>
                  </a:lnTo>
                  <a:lnTo>
                    <a:pt x="618" y="1230"/>
                  </a:lnTo>
                  <a:lnTo>
                    <a:pt x="624" y="1224"/>
                  </a:lnTo>
                  <a:lnTo>
                    <a:pt x="630" y="1224"/>
                  </a:lnTo>
                  <a:lnTo>
                    <a:pt x="636" y="1218"/>
                  </a:lnTo>
                  <a:lnTo>
                    <a:pt x="636" y="1212"/>
                  </a:lnTo>
                  <a:lnTo>
                    <a:pt x="612" y="1200"/>
                  </a:lnTo>
                  <a:lnTo>
                    <a:pt x="606" y="1182"/>
                  </a:lnTo>
                  <a:lnTo>
                    <a:pt x="672" y="1182"/>
                  </a:lnTo>
                  <a:lnTo>
                    <a:pt x="690" y="1170"/>
                  </a:lnTo>
                  <a:lnTo>
                    <a:pt x="690" y="1152"/>
                  </a:lnTo>
                  <a:lnTo>
                    <a:pt x="678" y="1110"/>
                  </a:lnTo>
                  <a:lnTo>
                    <a:pt x="672" y="1092"/>
                  </a:lnTo>
                  <a:lnTo>
                    <a:pt x="660" y="1074"/>
                  </a:lnTo>
                  <a:lnTo>
                    <a:pt x="648" y="1068"/>
                  </a:lnTo>
                  <a:lnTo>
                    <a:pt x="642" y="1068"/>
                  </a:lnTo>
                  <a:lnTo>
                    <a:pt x="636" y="1062"/>
                  </a:lnTo>
                  <a:lnTo>
                    <a:pt x="624" y="1056"/>
                  </a:lnTo>
                  <a:lnTo>
                    <a:pt x="624" y="1050"/>
                  </a:lnTo>
                  <a:lnTo>
                    <a:pt x="618" y="1038"/>
                  </a:lnTo>
                  <a:lnTo>
                    <a:pt x="612" y="1038"/>
                  </a:lnTo>
                  <a:lnTo>
                    <a:pt x="612" y="1032"/>
                  </a:lnTo>
                  <a:lnTo>
                    <a:pt x="612" y="1026"/>
                  </a:lnTo>
                  <a:lnTo>
                    <a:pt x="600" y="1014"/>
                  </a:lnTo>
                  <a:lnTo>
                    <a:pt x="582" y="1008"/>
                  </a:lnTo>
                  <a:lnTo>
                    <a:pt x="576" y="1002"/>
                  </a:lnTo>
                  <a:lnTo>
                    <a:pt x="576" y="996"/>
                  </a:lnTo>
                  <a:lnTo>
                    <a:pt x="570" y="996"/>
                  </a:lnTo>
                  <a:lnTo>
                    <a:pt x="570" y="990"/>
                  </a:lnTo>
                  <a:lnTo>
                    <a:pt x="570" y="984"/>
                  </a:lnTo>
                  <a:lnTo>
                    <a:pt x="564" y="984"/>
                  </a:lnTo>
                  <a:lnTo>
                    <a:pt x="558" y="978"/>
                  </a:lnTo>
                  <a:lnTo>
                    <a:pt x="552" y="972"/>
                  </a:lnTo>
                  <a:lnTo>
                    <a:pt x="552" y="966"/>
                  </a:lnTo>
                  <a:lnTo>
                    <a:pt x="546" y="972"/>
                  </a:lnTo>
                  <a:lnTo>
                    <a:pt x="540" y="972"/>
                  </a:lnTo>
                  <a:lnTo>
                    <a:pt x="534" y="960"/>
                  </a:lnTo>
                  <a:lnTo>
                    <a:pt x="528" y="960"/>
                  </a:lnTo>
                  <a:lnTo>
                    <a:pt x="528" y="966"/>
                  </a:lnTo>
                  <a:lnTo>
                    <a:pt x="516" y="954"/>
                  </a:lnTo>
                  <a:lnTo>
                    <a:pt x="516" y="948"/>
                  </a:lnTo>
                  <a:lnTo>
                    <a:pt x="510" y="948"/>
                  </a:lnTo>
                  <a:lnTo>
                    <a:pt x="504" y="948"/>
                  </a:lnTo>
                  <a:lnTo>
                    <a:pt x="498" y="948"/>
                  </a:lnTo>
                  <a:lnTo>
                    <a:pt x="504" y="954"/>
                  </a:lnTo>
                  <a:lnTo>
                    <a:pt x="498" y="954"/>
                  </a:lnTo>
                  <a:lnTo>
                    <a:pt x="492" y="954"/>
                  </a:lnTo>
                  <a:lnTo>
                    <a:pt x="480" y="942"/>
                  </a:lnTo>
                  <a:lnTo>
                    <a:pt x="480" y="948"/>
                  </a:lnTo>
                  <a:lnTo>
                    <a:pt x="480" y="954"/>
                  </a:lnTo>
                  <a:lnTo>
                    <a:pt x="474" y="954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56" y="966"/>
                  </a:lnTo>
                  <a:lnTo>
                    <a:pt x="456" y="960"/>
                  </a:lnTo>
                  <a:lnTo>
                    <a:pt x="450" y="966"/>
                  </a:lnTo>
                  <a:lnTo>
                    <a:pt x="444" y="966"/>
                  </a:lnTo>
                  <a:lnTo>
                    <a:pt x="414" y="966"/>
                  </a:lnTo>
                  <a:lnTo>
                    <a:pt x="408" y="960"/>
                  </a:lnTo>
                  <a:lnTo>
                    <a:pt x="408" y="966"/>
                  </a:lnTo>
                  <a:lnTo>
                    <a:pt x="402" y="960"/>
                  </a:lnTo>
                  <a:lnTo>
                    <a:pt x="396" y="960"/>
                  </a:lnTo>
                  <a:lnTo>
                    <a:pt x="390" y="960"/>
                  </a:lnTo>
                  <a:lnTo>
                    <a:pt x="390" y="966"/>
                  </a:lnTo>
                  <a:lnTo>
                    <a:pt x="384" y="966"/>
                  </a:lnTo>
                  <a:lnTo>
                    <a:pt x="378" y="966"/>
                  </a:lnTo>
                  <a:lnTo>
                    <a:pt x="384" y="960"/>
                  </a:lnTo>
                  <a:lnTo>
                    <a:pt x="384" y="954"/>
                  </a:lnTo>
                  <a:lnTo>
                    <a:pt x="372" y="948"/>
                  </a:lnTo>
                  <a:lnTo>
                    <a:pt x="372" y="954"/>
                  </a:lnTo>
                  <a:lnTo>
                    <a:pt x="372" y="960"/>
                  </a:lnTo>
                  <a:lnTo>
                    <a:pt x="366" y="960"/>
                  </a:lnTo>
                  <a:lnTo>
                    <a:pt x="360" y="966"/>
                  </a:lnTo>
                  <a:lnTo>
                    <a:pt x="354" y="966"/>
                  </a:lnTo>
                  <a:lnTo>
                    <a:pt x="348" y="960"/>
                  </a:lnTo>
                  <a:lnTo>
                    <a:pt x="342" y="960"/>
                  </a:lnTo>
                  <a:lnTo>
                    <a:pt x="342" y="966"/>
                  </a:lnTo>
                  <a:lnTo>
                    <a:pt x="336" y="972"/>
                  </a:lnTo>
                  <a:lnTo>
                    <a:pt x="330" y="972"/>
                  </a:lnTo>
                  <a:lnTo>
                    <a:pt x="324" y="966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6" y="954"/>
                  </a:lnTo>
                  <a:lnTo>
                    <a:pt x="306" y="948"/>
                  </a:lnTo>
                  <a:lnTo>
                    <a:pt x="306" y="942"/>
                  </a:lnTo>
                  <a:lnTo>
                    <a:pt x="300" y="942"/>
                  </a:lnTo>
                  <a:lnTo>
                    <a:pt x="294" y="936"/>
                  </a:lnTo>
                  <a:lnTo>
                    <a:pt x="288" y="936"/>
                  </a:lnTo>
                  <a:lnTo>
                    <a:pt x="282" y="942"/>
                  </a:lnTo>
                  <a:lnTo>
                    <a:pt x="276" y="936"/>
                  </a:lnTo>
                  <a:lnTo>
                    <a:pt x="276" y="942"/>
                  </a:lnTo>
                  <a:lnTo>
                    <a:pt x="270" y="942"/>
                  </a:lnTo>
                  <a:lnTo>
                    <a:pt x="264" y="936"/>
                  </a:lnTo>
                  <a:lnTo>
                    <a:pt x="252" y="936"/>
                  </a:lnTo>
                  <a:lnTo>
                    <a:pt x="246" y="936"/>
                  </a:lnTo>
                  <a:lnTo>
                    <a:pt x="240" y="936"/>
                  </a:lnTo>
                  <a:lnTo>
                    <a:pt x="234" y="936"/>
                  </a:lnTo>
                  <a:lnTo>
                    <a:pt x="240" y="924"/>
                  </a:lnTo>
                  <a:lnTo>
                    <a:pt x="234" y="924"/>
                  </a:lnTo>
                  <a:lnTo>
                    <a:pt x="228" y="918"/>
                  </a:lnTo>
                  <a:lnTo>
                    <a:pt x="228" y="906"/>
                  </a:lnTo>
                  <a:lnTo>
                    <a:pt x="222" y="900"/>
                  </a:lnTo>
                  <a:lnTo>
                    <a:pt x="216" y="900"/>
                  </a:lnTo>
                  <a:lnTo>
                    <a:pt x="210" y="900"/>
                  </a:lnTo>
                  <a:lnTo>
                    <a:pt x="210" y="906"/>
                  </a:lnTo>
                  <a:lnTo>
                    <a:pt x="204" y="906"/>
                  </a:lnTo>
                  <a:lnTo>
                    <a:pt x="198" y="906"/>
                  </a:lnTo>
                  <a:lnTo>
                    <a:pt x="210" y="900"/>
                  </a:lnTo>
                  <a:lnTo>
                    <a:pt x="210" y="894"/>
                  </a:lnTo>
                  <a:lnTo>
                    <a:pt x="216" y="888"/>
                  </a:lnTo>
                  <a:lnTo>
                    <a:pt x="204" y="882"/>
                  </a:lnTo>
                  <a:lnTo>
                    <a:pt x="204" y="894"/>
                  </a:lnTo>
                  <a:lnTo>
                    <a:pt x="198" y="894"/>
                  </a:lnTo>
                  <a:lnTo>
                    <a:pt x="192" y="900"/>
                  </a:lnTo>
                  <a:lnTo>
                    <a:pt x="186" y="894"/>
                  </a:lnTo>
                  <a:lnTo>
                    <a:pt x="180" y="894"/>
                  </a:lnTo>
                  <a:lnTo>
                    <a:pt x="174" y="894"/>
                  </a:lnTo>
                  <a:lnTo>
                    <a:pt x="168" y="900"/>
                  </a:lnTo>
                  <a:lnTo>
                    <a:pt x="162" y="906"/>
                  </a:lnTo>
                  <a:lnTo>
                    <a:pt x="156" y="906"/>
                  </a:lnTo>
                  <a:lnTo>
                    <a:pt x="150" y="900"/>
                  </a:lnTo>
                  <a:lnTo>
                    <a:pt x="144" y="894"/>
                  </a:lnTo>
                  <a:lnTo>
                    <a:pt x="138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0" y="888"/>
                  </a:lnTo>
                  <a:lnTo>
                    <a:pt x="114" y="894"/>
                  </a:lnTo>
                  <a:lnTo>
                    <a:pt x="120" y="900"/>
                  </a:lnTo>
                  <a:lnTo>
                    <a:pt x="126" y="900"/>
                  </a:lnTo>
                  <a:lnTo>
                    <a:pt x="132" y="900"/>
                  </a:lnTo>
                  <a:lnTo>
                    <a:pt x="132" y="906"/>
                  </a:lnTo>
                  <a:lnTo>
                    <a:pt x="126" y="912"/>
                  </a:lnTo>
                  <a:lnTo>
                    <a:pt x="126" y="918"/>
                  </a:lnTo>
                  <a:lnTo>
                    <a:pt x="114" y="918"/>
                  </a:lnTo>
                  <a:lnTo>
                    <a:pt x="108" y="924"/>
                  </a:lnTo>
                  <a:lnTo>
                    <a:pt x="102" y="924"/>
                  </a:lnTo>
                  <a:lnTo>
                    <a:pt x="90" y="924"/>
                  </a:lnTo>
                  <a:lnTo>
                    <a:pt x="84" y="924"/>
                  </a:lnTo>
                  <a:lnTo>
                    <a:pt x="78" y="924"/>
                  </a:lnTo>
                  <a:lnTo>
                    <a:pt x="60" y="924"/>
                  </a:lnTo>
                  <a:lnTo>
                    <a:pt x="54" y="942"/>
                  </a:lnTo>
                  <a:lnTo>
                    <a:pt x="48" y="936"/>
                  </a:lnTo>
                  <a:lnTo>
                    <a:pt x="42" y="930"/>
                  </a:lnTo>
                  <a:lnTo>
                    <a:pt x="36" y="930"/>
                  </a:lnTo>
                  <a:lnTo>
                    <a:pt x="30" y="936"/>
                  </a:lnTo>
                  <a:lnTo>
                    <a:pt x="30" y="930"/>
                  </a:lnTo>
                  <a:lnTo>
                    <a:pt x="30" y="924"/>
                  </a:lnTo>
                  <a:lnTo>
                    <a:pt x="18" y="918"/>
                  </a:lnTo>
                  <a:lnTo>
                    <a:pt x="18" y="912"/>
                  </a:lnTo>
                  <a:lnTo>
                    <a:pt x="12" y="912"/>
                  </a:lnTo>
                  <a:lnTo>
                    <a:pt x="6" y="912"/>
                  </a:lnTo>
                  <a:lnTo>
                    <a:pt x="6" y="900"/>
                  </a:lnTo>
                  <a:lnTo>
                    <a:pt x="6" y="894"/>
                  </a:lnTo>
                  <a:lnTo>
                    <a:pt x="0" y="870"/>
                  </a:lnTo>
                  <a:lnTo>
                    <a:pt x="6" y="846"/>
                  </a:lnTo>
                  <a:lnTo>
                    <a:pt x="6" y="810"/>
                  </a:lnTo>
                  <a:lnTo>
                    <a:pt x="12" y="774"/>
                  </a:lnTo>
                  <a:lnTo>
                    <a:pt x="12" y="756"/>
                  </a:lnTo>
                  <a:lnTo>
                    <a:pt x="18" y="744"/>
                  </a:lnTo>
                  <a:lnTo>
                    <a:pt x="18" y="732"/>
                  </a:lnTo>
                  <a:lnTo>
                    <a:pt x="12" y="576"/>
                  </a:lnTo>
                  <a:lnTo>
                    <a:pt x="12" y="570"/>
                  </a:lnTo>
                  <a:lnTo>
                    <a:pt x="18" y="564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42" y="552"/>
                  </a:lnTo>
                  <a:lnTo>
                    <a:pt x="66" y="552"/>
                  </a:lnTo>
                  <a:lnTo>
                    <a:pt x="78" y="558"/>
                  </a:lnTo>
                  <a:lnTo>
                    <a:pt x="90" y="558"/>
                  </a:lnTo>
                  <a:lnTo>
                    <a:pt x="108" y="558"/>
                  </a:lnTo>
                  <a:lnTo>
                    <a:pt x="144" y="558"/>
                  </a:lnTo>
                  <a:lnTo>
                    <a:pt x="204" y="552"/>
                  </a:lnTo>
                  <a:lnTo>
                    <a:pt x="210" y="558"/>
                  </a:lnTo>
                  <a:lnTo>
                    <a:pt x="216" y="558"/>
                  </a:lnTo>
                  <a:lnTo>
                    <a:pt x="210" y="564"/>
                  </a:lnTo>
                  <a:lnTo>
                    <a:pt x="216" y="564"/>
                  </a:lnTo>
                  <a:lnTo>
                    <a:pt x="222" y="564"/>
                  </a:lnTo>
                  <a:lnTo>
                    <a:pt x="240" y="564"/>
                  </a:lnTo>
                  <a:lnTo>
                    <a:pt x="258" y="564"/>
                  </a:lnTo>
                  <a:lnTo>
                    <a:pt x="264" y="570"/>
                  </a:lnTo>
                  <a:lnTo>
                    <a:pt x="276" y="570"/>
                  </a:lnTo>
                  <a:lnTo>
                    <a:pt x="282" y="564"/>
                  </a:lnTo>
                  <a:lnTo>
                    <a:pt x="294" y="564"/>
                  </a:lnTo>
                  <a:lnTo>
                    <a:pt x="294" y="570"/>
                  </a:lnTo>
                  <a:lnTo>
                    <a:pt x="300" y="570"/>
                  </a:lnTo>
                  <a:lnTo>
                    <a:pt x="378" y="564"/>
                  </a:lnTo>
                  <a:lnTo>
                    <a:pt x="408" y="558"/>
                  </a:lnTo>
                  <a:lnTo>
                    <a:pt x="432" y="552"/>
                  </a:lnTo>
                  <a:lnTo>
                    <a:pt x="450" y="546"/>
                  </a:lnTo>
                  <a:lnTo>
                    <a:pt x="468" y="546"/>
                  </a:lnTo>
                  <a:lnTo>
                    <a:pt x="468" y="552"/>
                  </a:lnTo>
                  <a:lnTo>
                    <a:pt x="504" y="552"/>
                  </a:lnTo>
                  <a:lnTo>
                    <a:pt x="510" y="534"/>
                  </a:lnTo>
                  <a:lnTo>
                    <a:pt x="516" y="510"/>
                  </a:lnTo>
                  <a:lnTo>
                    <a:pt x="522" y="510"/>
                  </a:lnTo>
                  <a:lnTo>
                    <a:pt x="528" y="420"/>
                  </a:lnTo>
                  <a:lnTo>
                    <a:pt x="522" y="414"/>
                  </a:lnTo>
                  <a:lnTo>
                    <a:pt x="516" y="396"/>
                  </a:lnTo>
                  <a:lnTo>
                    <a:pt x="510" y="372"/>
                  </a:lnTo>
                  <a:lnTo>
                    <a:pt x="498" y="348"/>
                  </a:lnTo>
                  <a:lnTo>
                    <a:pt x="474" y="282"/>
                  </a:lnTo>
                  <a:lnTo>
                    <a:pt x="474" y="270"/>
                  </a:lnTo>
                  <a:lnTo>
                    <a:pt x="480" y="258"/>
                  </a:lnTo>
                  <a:lnTo>
                    <a:pt x="486" y="258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92" y="246"/>
                  </a:lnTo>
                  <a:lnTo>
                    <a:pt x="504" y="234"/>
                  </a:lnTo>
                  <a:lnTo>
                    <a:pt x="510" y="228"/>
                  </a:lnTo>
                  <a:lnTo>
                    <a:pt x="516" y="228"/>
                  </a:lnTo>
                  <a:lnTo>
                    <a:pt x="516" y="222"/>
                  </a:lnTo>
                  <a:lnTo>
                    <a:pt x="516" y="216"/>
                  </a:lnTo>
                  <a:lnTo>
                    <a:pt x="522" y="216"/>
                  </a:lnTo>
                  <a:lnTo>
                    <a:pt x="528" y="210"/>
                  </a:lnTo>
                  <a:lnTo>
                    <a:pt x="534" y="210"/>
                  </a:lnTo>
                  <a:lnTo>
                    <a:pt x="540" y="210"/>
                  </a:lnTo>
                  <a:lnTo>
                    <a:pt x="546" y="210"/>
                  </a:lnTo>
                  <a:lnTo>
                    <a:pt x="552" y="210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16"/>
                  </a:lnTo>
                  <a:lnTo>
                    <a:pt x="588" y="228"/>
                  </a:lnTo>
                  <a:lnTo>
                    <a:pt x="594" y="234"/>
                  </a:lnTo>
                  <a:lnTo>
                    <a:pt x="600" y="240"/>
                  </a:lnTo>
                  <a:lnTo>
                    <a:pt x="618" y="246"/>
                  </a:lnTo>
                  <a:lnTo>
                    <a:pt x="624" y="246"/>
                  </a:lnTo>
                  <a:lnTo>
                    <a:pt x="636" y="252"/>
                  </a:lnTo>
                  <a:lnTo>
                    <a:pt x="654" y="252"/>
                  </a:lnTo>
                  <a:lnTo>
                    <a:pt x="654" y="258"/>
                  </a:lnTo>
                  <a:lnTo>
                    <a:pt x="666" y="264"/>
                  </a:lnTo>
                  <a:lnTo>
                    <a:pt x="672" y="264"/>
                  </a:lnTo>
                  <a:lnTo>
                    <a:pt x="678" y="264"/>
                  </a:lnTo>
                  <a:lnTo>
                    <a:pt x="696" y="258"/>
                  </a:lnTo>
                  <a:lnTo>
                    <a:pt x="696" y="252"/>
                  </a:lnTo>
                  <a:lnTo>
                    <a:pt x="696" y="246"/>
                  </a:lnTo>
                  <a:lnTo>
                    <a:pt x="690" y="234"/>
                  </a:lnTo>
                  <a:lnTo>
                    <a:pt x="684" y="210"/>
                  </a:lnTo>
                  <a:lnTo>
                    <a:pt x="678" y="192"/>
                  </a:lnTo>
                  <a:lnTo>
                    <a:pt x="672" y="174"/>
                  </a:lnTo>
                  <a:lnTo>
                    <a:pt x="672" y="168"/>
                  </a:lnTo>
                  <a:lnTo>
                    <a:pt x="672" y="162"/>
                  </a:lnTo>
                  <a:lnTo>
                    <a:pt x="672" y="156"/>
                  </a:lnTo>
                  <a:lnTo>
                    <a:pt x="684" y="132"/>
                  </a:lnTo>
                  <a:lnTo>
                    <a:pt x="684" y="120"/>
                  </a:lnTo>
                  <a:lnTo>
                    <a:pt x="684" y="108"/>
                  </a:lnTo>
                  <a:lnTo>
                    <a:pt x="678" y="102"/>
                  </a:lnTo>
                  <a:lnTo>
                    <a:pt x="678" y="96"/>
                  </a:lnTo>
                  <a:lnTo>
                    <a:pt x="684" y="96"/>
                  </a:lnTo>
                  <a:lnTo>
                    <a:pt x="696" y="90"/>
                  </a:lnTo>
                  <a:lnTo>
                    <a:pt x="702" y="84"/>
                  </a:lnTo>
                  <a:lnTo>
                    <a:pt x="720" y="72"/>
                  </a:lnTo>
                  <a:lnTo>
                    <a:pt x="738" y="66"/>
                  </a:lnTo>
                  <a:lnTo>
                    <a:pt x="756" y="60"/>
                  </a:lnTo>
                  <a:lnTo>
                    <a:pt x="768" y="60"/>
                  </a:lnTo>
                  <a:lnTo>
                    <a:pt x="798" y="72"/>
                  </a:lnTo>
                  <a:lnTo>
                    <a:pt x="804" y="78"/>
                  </a:lnTo>
                  <a:lnTo>
                    <a:pt x="816" y="84"/>
                  </a:lnTo>
                  <a:lnTo>
                    <a:pt x="822" y="84"/>
                  </a:lnTo>
                  <a:lnTo>
                    <a:pt x="828" y="72"/>
                  </a:lnTo>
                  <a:lnTo>
                    <a:pt x="828" y="60"/>
                  </a:lnTo>
                  <a:lnTo>
                    <a:pt x="828" y="36"/>
                  </a:lnTo>
                  <a:lnTo>
                    <a:pt x="828" y="24"/>
                  </a:lnTo>
                  <a:lnTo>
                    <a:pt x="828" y="12"/>
                  </a:lnTo>
                  <a:lnTo>
                    <a:pt x="834" y="12"/>
                  </a:lnTo>
                  <a:lnTo>
                    <a:pt x="852" y="6"/>
                  </a:lnTo>
                  <a:lnTo>
                    <a:pt x="876" y="6"/>
                  </a:lnTo>
                  <a:lnTo>
                    <a:pt x="894" y="6"/>
                  </a:lnTo>
                  <a:lnTo>
                    <a:pt x="906" y="12"/>
                  </a:lnTo>
                  <a:lnTo>
                    <a:pt x="912" y="24"/>
                  </a:lnTo>
                  <a:lnTo>
                    <a:pt x="924" y="24"/>
                  </a:lnTo>
                  <a:lnTo>
                    <a:pt x="930" y="30"/>
                  </a:lnTo>
                  <a:lnTo>
                    <a:pt x="936" y="30"/>
                  </a:lnTo>
                  <a:lnTo>
                    <a:pt x="936" y="36"/>
                  </a:lnTo>
                  <a:lnTo>
                    <a:pt x="942" y="36"/>
                  </a:lnTo>
                  <a:lnTo>
                    <a:pt x="948" y="42"/>
                  </a:lnTo>
                  <a:lnTo>
                    <a:pt x="960" y="48"/>
                  </a:lnTo>
                  <a:lnTo>
                    <a:pt x="966" y="48"/>
                  </a:lnTo>
                  <a:lnTo>
                    <a:pt x="1026" y="60"/>
                  </a:lnTo>
                  <a:lnTo>
                    <a:pt x="1050" y="60"/>
                  </a:lnTo>
                  <a:lnTo>
                    <a:pt x="1050" y="54"/>
                  </a:lnTo>
                  <a:lnTo>
                    <a:pt x="1062" y="54"/>
                  </a:lnTo>
                  <a:lnTo>
                    <a:pt x="1074" y="48"/>
                  </a:lnTo>
                  <a:lnTo>
                    <a:pt x="1086" y="42"/>
                  </a:lnTo>
                  <a:lnTo>
                    <a:pt x="1104" y="36"/>
                  </a:lnTo>
                  <a:lnTo>
                    <a:pt x="1116" y="30"/>
                  </a:lnTo>
                  <a:lnTo>
                    <a:pt x="1122" y="24"/>
                  </a:lnTo>
                  <a:lnTo>
                    <a:pt x="1128" y="18"/>
                  </a:lnTo>
                  <a:lnTo>
                    <a:pt x="1134" y="18"/>
                  </a:lnTo>
                  <a:lnTo>
                    <a:pt x="1140" y="12"/>
                  </a:lnTo>
                  <a:lnTo>
                    <a:pt x="1146" y="6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24"/>
                  </a:lnTo>
                  <a:lnTo>
                    <a:pt x="1176" y="36"/>
                  </a:lnTo>
                  <a:lnTo>
                    <a:pt x="1188" y="42"/>
                  </a:lnTo>
                  <a:lnTo>
                    <a:pt x="1200" y="54"/>
                  </a:lnTo>
                  <a:lnTo>
                    <a:pt x="1224" y="84"/>
                  </a:lnTo>
                  <a:lnTo>
                    <a:pt x="1224" y="90"/>
                  </a:lnTo>
                  <a:lnTo>
                    <a:pt x="1236" y="96"/>
                  </a:lnTo>
                  <a:lnTo>
                    <a:pt x="1236" y="108"/>
                  </a:lnTo>
                  <a:lnTo>
                    <a:pt x="1248" y="114"/>
                  </a:lnTo>
                  <a:lnTo>
                    <a:pt x="1254" y="114"/>
                  </a:lnTo>
                  <a:lnTo>
                    <a:pt x="1260" y="114"/>
                  </a:lnTo>
                  <a:lnTo>
                    <a:pt x="1296" y="114"/>
                  </a:lnTo>
                  <a:lnTo>
                    <a:pt x="1302" y="114"/>
                  </a:lnTo>
                  <a:lnTo>
                    <a:pt x="1320" y="108"/>
                  </a:lnTo>
                  <a:lnTo>
                    <a:pt x="1326" y="108"/>
                  </a:lnTo>
                  <a:lnTo>
                    <a:pt x="1326" y="138"/>
                  </a:lnTo>
                  <a:lnTo>
                    <a:pt x="1326" y="210"/>
                  </a:lnTo>
                  <a:lnTo>
                    <a:pt x="1320" y="252"/>
                  </a:lnTo>
                  <a:lnTo>
                    <a:pt x="1320" y="270"/>
                  </a:lnTo>
                  <a:lnTo>
                    <a:pt x="1320" y="288"/>
                  </a:lnTo>
                  <a:lnTo>
                    <a:pt x="1320" y="318"/>
                  </a:lnTo>
                  <a:lnTo>
                    <a:pt x="1326" y="354"/>
                  </a:lnTo>
                  <a:lnTo>
                    <a:pt x="1326" y="372"/>
                  </a:lnTo>
                  <a:lnTo>
                    <a:pt x="1332" y="420"/>
                  </a:lnTo>
                  <a:lnTo>
                    <a:pt x="1332" y="450"/>
                  </a:lnTo>
                  <a:lnTo>
                    <a:pt x="1338" y="480"/>
                  </a:lnTo>
                  <a:lnTo>
                    <a:pt x="1344" y="486"/>
                  </a:lnTo>
                  <a:lnTo>
                    <a:pt x="1338" y="492"/>
                  </a:lnTo>
                  <a:lnTo>
                    <a:pt x="1344" y="492"/>
                  </a:lnTo>
                  <a:lnTo>
                    <a:pt x="1344" y="498"/>
                  </a:lnTo>
                  <a:lnTo>
                    <a:pt x="1350" y="498"/>
                  </a:lnTo>
                  <a:lnTo>
                    <a:pt x="1350" y="522"/>
                  </a:lnTo>
                  <a:lnTo>
                    <a:pt x="1362" y="564"/>
                  </a:lnTo>
                  <a:lnTo>
                    <a:pt x="1368" y="582"/>
                  </a:lnTo>
                  <a:lnTo>
                    <a:pt x="1380" y="600"/>
                  </a:lnTo>
                  <a:lnTo>
                    <a:pt x="1386" y="636"/>
                  </a:lnTo>
                  <a:lnTo>
                    <a:pt x="1380" y="660"/>
                  </a:lnTo>
                  <a:lnTo>
                    <a:pt x="1380" y="678"/>
                  </a:lnTo>
                  <a:lnTo>
                    <a:pt x="1380" y="684"/>
                  </a:lnTo>
                  <a:lnTo>
                    <a:pt x="1374" y="684"/>
                  </a:lnTo>
                  <a:lnTo>
                    <a:pt x="1368" y="690"/>
                  </a:lnTo>
                  <a:lnTo>
                    <a:pt x="1356" y="702"/>
                  </a:lnTo>
                  <a:lnTo>
                    <a:pt x="1350" y="708"/>
                  </a:lnTo>
                  <a:lnTo>
                    <a:pt x="1356" y="714"/>
                  </a:lnTo>
                  <a:lnTo>
                    <a:pt x="1368" y="726"/>
                  </a:lnTo>
                  <a:lnTo>
                    <a:pt x="1380" y="738"/>
                  </a:lnTo>
                  <a:lnTo>
                    <a:pt x="1386" y="744"/>
                  </a:lnTo>
                  <a:lnTo>
                    <a:pt x="1392" y="744"/>
                  </a:lnTo>
                  <a:lnTo>
                    <a:pt x="1410" y="750"/>
                  </a:lnTo>
                  <a:lnTo>
                    <a:pt x="1416" y="756"/>
                  </a:lnTo>
                  <a:lnTo>
                    <a:pt x="1422" y="756"/>
                  </a:lnTo>
                  <a:lnTo>
                    <a:pt x="1422" y="762"/>
                  </a:lnTo>
                  <a:lnTo>
                    <a:pt x="1428" y="774"/>
                  </a:lnTo>
                  <a:lnTo>
                    <a:pt x="1428" y="780"/>
                  </a:lnTo>
                  <a:lnTo>
                    <a:pt x="1434" y="780"/>
                  </a:lnTo>
                  <a:lnTo>
                    <a:pt x="1440" y="798"/>
                  </a:lnTo>
                  <a:lnTo>
                    <a:pt x="1422" y="816"/>
                  </a:lnTo>
                  <a:lnTo>
                    <a:pt x="1386" y="810"/>
                  </a:lnTo>
                  <a:lnTo>
                    <a:pt x="1380" y="816"/>
                  </a:lnTo>
                  <a:lnTo>
                    <a:pt x="1374" y="840"/>
                  </a:lnTo>
                  <a:lnTo>
                    <a:pt x="1350" y="852"/>
                  </a:lnTo>
                  <a:lnTo>
                    <a:pt x="1350" y="858"/>
                  </a:lnTo>
                  <a:lnTo>
                    <a:pt x="1350" y="864"/>
                  </a:lnTo>
                  <a:lnTo>
                    <a:pt x="1344" y="864"/>
                  </a:lnTo>
                  <a:lnTo>
                    <a:pt x="1338" y="870"/>
                  </a:lnTo>
                  <a:lnTo>
                    <a:pt x="1332" y="876"/>
                  </a:lnTo>
                  <a:lnTo>
                    <a:pt x="1314" y="876"/>
                  </a:lnTo>
                  <a:lnTo>
                    <a:pt x="1314" y="870"/>
                  </a:lnTo>
                  <a:lnTo>
                    <a:pt x="1308" y="870"/>
                  </a:lnTo>
                  <a:lnTo>
                    <a:pt x="1302" y="864"/>
                  </a:lnTo>
                  <a:lnTo>
                    <a:pt x="1296" y="864"/>
                  </a:lnTo>
                  <a:lnTo>
                    <a:pt x="1284" y="870"/>
                  </a:lnTo>
                  <a:lnTo>
                    <a:pt x="1266" y="870"/>
                  </a:lnTo>
                  <a:lnTo>
                    <a:pt x="1260" y="870"/>
                  </a:lnTo>
                  <a:lnTo>
                    <a:pt x="1248" y="876"/>
                  </a:lnTo>
                  <a:lnTo>
                    <a:pt x="1236" y="876"/>
                  </a:lnTo>
                  <a:lnTo>
                    <a:pt x="1230" y="882"/>
                  </a:lnTo>
                  <a:lnTo>
                    <a:pt x="1224" y="894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18" y="942"/>
                  </a:lnTo>
                  <a:lnTo>
                    <a:pt x="1212" y="948"/>
                  </a:lnTo>
                  <a:lnTo>
                    <a:pt x="1200" y="984"/>
                  </a:lnTo>
                  <a:lnTo>
                    <a:pt x="1194" y="1008"/>
                  </a:lnTo>
                  <a:lnTo>
                    <a:pt x="1218" y="1038"/>
                  </a:lnTo>
                  <a:lnTo>
                    <a:pt x="1224" y="1044"/>
                  </a:lnTo>
                  <a:lnTo>
                    <a:pt x="1224" y="1062"/>
                  </a:lnTo>
                  <a:lnTo>
                    <a:pt x="1236" y="1080"/>
                  </a:lnTo>
                  <a:lnTo>
                    <a:pt x="1236" y="1086"/>
                  </a:lnTo>
                  <a:lnTo>
                    <a:pt x="1230" y="1092"/>
                  </a:lnTo>
                  <a:lnTo>
                    <a:pt x="1224" y="1110"/>
                  </a:lnTo>
                  <a:lnTo>
                    <a:pt x="1218" y="1122"/>
                  </a:lnTo>
                  <a:lnTo>
                    <a:pt x="1224" y="1140"/>
                  </a:lnTo>
                  <a:lnTo>
                    <a:pt x="1218" y="1146"/>
                  </a:lnTo>
                  <a:lnTo>
                    <a:pt x="1218" y="1152"/>
                  </a:lnTo>
                  <a:lnTo>
                    <a:pt x="1212" y="116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1" name="Freeform 36">
              <a:extLst>
                <a:ext uri="{FF2B5EF4-FFF2-40B4-BE49-F238E27FC236}">
                  <a16:creationId xmlns:a16="http://schemas.microsoft.com/office/drawing/2014/main" id="{B9C0D6BE-CB1C-4E69-B224-1ABF097AA8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90208" y="1647855"/>
              <a:ext cx="742415" cy="758173"/>
            </a:xfrm>
            <a:custGeom>
              <a:avLst/>
              <a:gdLst>
                <a:gd name="T0" fmla="*/ 75 w 1398"/>
                <a:gd name="T1" fmla="*/ 48 h 1428"/>
                <a:gd name="T2" fmla="*/ 68 w 1398"/>
                <a:gd name="T3" fmla="*/ 54 h 1428"/>
                <a:gd name="T4" fmla="*/ 57 w 1398"/>
                <a:gd name="T5" fmla="*/ 59 h 1428"/>
                <a:gd name="T6" fmla="*/ 55 w 1398"/>
                <a:gd name="T7" fmla="*/ 68 h 1428"/>
                <a:gd name="T8" fmla="*/ 55 w 1398"/>
                <a:gd name="T9" fmla="*/ 77 h 1428"/>
                <a:gd name="T10" fmla="*/ 57 w 1398"/>
                <a:gd name="T11" fmla="*/ 81 h 1428"/>
                <a:gd name="T12" fmla="*/ 56 w 1398"/>
                <a:gd name="T13" fmla="*/ 86 h 1428"/>
                <a:gd name="T14" fmla="*/ 57 w 1398"/>
                <a:gd name="T15" fmla="*/ 89 h 1428"/>
                <a:gd name="T16" fmla="*/ 58 w 1398"/>
                <a:gd name="T17" fmla="*/ 92 h 1428"/>
                <a:gd name="T18" fmla="*/ 58 w 1398"/>
                <a:gd name="T19" fmla="*/ 96 h 1428"/>
                <a:gd name="T20" fmla="*/ 49 w 1398"/>
                <a:gd name="T21" fmla="*/ 100 h 1428"/>
                <a:gd name="T22" fmla="*/ 47 w 1398"/>
                <a:gd name="T23" fmla="*/ 108 h 1428"/>
                <a:gd name="T24" fmla="*/ 48 w 1398"/>
                <a:gd name="T25" fmla="*/ 113 h 1428"/>
                <a:gd name="T26" fmla="*/ 43 w 1398"/>
                <a:gd name="T27" fmla="*/ 114 h 1428"/>
                <a:gd name="T28" fmla="*/ 39 w 1398"/>
                <a:gd name="T29" fmla="*/ 113 h 1428"/>
                <a:gd name="T30" fmla="*/ 33 w 1398"/>
                <a:gd name="T31" fmla="*/ 109 h 1428"/>
                <a:gd name="T32" fmla="*/ 29 w 1398"/>
                <a:gd name="T33" fmla="*/ 114 h 1428"/>
                <a:gd name="T34" fmla="*/ 22 w 1398"/>
                <a:gd name="T35" fmla="*/ 115 h 1428"/>
                <a:gd name="T36" fmla="*/ 21 w 1398"/>
                <a:gd name="T37" fmla="*/ 121 h 1428"/>
                <a:gd name="T38" fmla="*/ 12 w 1398"/>
                <a:gd name="T39" fmla="*/ 119 h 1428"/>
                <a:gd name="T40" fmla="*/ 9 w 1398"/>
                <a:gd name="T41" fmla="*/ 113 h 1428"/>
                <a:gd name="T42" fmla="*/ 2 w 1398"/>
                <a:gd name="T43" fmla="*/ 109 h 1428"/>
                <a:gd name="T44" fmla="*/ 4 w 1398"/>
                <a:gd name="T45" fmla="*/ 103 h 1428"/>
                <a:gd name="T46" fmla="*/ 2 w 1398"/>
                <a:gd name="T47" fmla="*/ 91 h 1428"/>
                <a:gd name="T48" fmla="*/ 6 w 1398"/>
                <a:gd name="T49" fmla="*/ 85 h 1428"/>
                <a:gd name="T50" fmla="*/ 10 w 1398"/>
                <a:gd name="T51" fmla="*/ 85 h 1428"/>
                <a:gd name="T52" fmla="*/ 15 w 1398"/>
                <a:gd name="T53" fmla="*/ 82 h 1428"/>
                <a:gd name="T54" fmla="*/ 20 w 1398"/>
                <a:gd name="T55" fmla="*/ 77 h 1428"/>
                <a:gd name="T56" fmla="*/ 16 w 1398"/>
                <a:gd name="T57" fmla="*/ 73 h 1428"/>
                <a:gd name="T58" fmla="*/ 16 w 1398"/>
                <a:gd name="T59" fmla="*/ 69 h 1428"/>
                <a:gd name="T60" fmla="*/ 14 w 1398"/>
                <a:gd name="T61" fmla="*/ 54 h 1428"/>
                <a:gd name="T62" fmla="*/ 12 w 1398"/>
                <a:gd name="T63" fmla="*/ 48 h 1428"/>
                <a:gd name="T64" fmla="*/ 11 w 1398"/>
                <a:gd name="T65" fmla="*/ 31 h 1428"/>
                <a:gd name="T66" fmla="*/ 14 w 1398"/>
                <a:gd name="T67" fmla="*/ 18 h 1428"/>
                <a:gd name="T68" fmla="*/ 19 w 1398"/>
                <a:gd name="T69" fmla="*/ 15 h 1428"/>
                <a:gd name="T70" fmla="*/ 26 w 1398"/>
                <a:gd name="T71" fmla="*/ 13 h 1428"/>
                <a:gd name="T72" fmla="*/ 34 w 1398"/>
                <a:gd name="T73" fmla="*/ 12 h 1428"/>
                <a:gd name="T74" fmla="*/ 39 w 1398"/>
                <a:gd name="T75" fmla="*/ 9 h 1428"/>
                <a:gd name="T76" fmla="*/ 43 w 1398"/>
                <a:gd name="T77" fmla="*/ 7 h 1428"/>
                <a:gd name="T78" fmla="*/ 48 w 1398"/>
                <a:gd name="T79" fmla="*/ 3 h 1428"/>
                <a:gd name="T80" fmla="*/ 54 w 1398"/>
                <a:gd name="T81" fmla="*/ 0 h 1428"/>
                <a:gd name="T82" fmla="*/ 58 w 1398"/>
                <a:gd name="T83" fmla="*/ 0 h 1428"/>
                <a:gd name="T84" fmla="*/ 66 w 1398"/>
                <a:gd name="T85" fmla="*/ 2 h 1428"/>
                <a:gd name="T86" fmla="*/ 70 w 1398"/>
                <a:gd name="T87" fmla="*/ 3 h 1428"/>
                <a:gd name="T88" fmla="*/ 75 w 1398"/>
                <a:gd name="T89" fmla="*/ 6 h 1428"/>
                <a:gd name="T90" fmla="*/ 80 w 1398"/>
                <a:gd name="T91" fmla="*/ 9 h 1428"/>
                <a:gd name="T92" fmla="*/ 83 w 1398"/>
                <a:gd name="T93" fmla="*/ 12 h 1428"/>
                <a:gd name="T94" fmla="*/ 87 w 1398"/>
                <a:gd name="T95" fmla="*/ 15 h 1428"/>
                <a:gd name="T96" fmla="*/ 94 w 1398"/>
                <a:gd name="T97" fmla="*/ 15 h 1428"/>
                <a:gd name="T98" fmla="*/ 99 w 1398"/>
                <a:gd name="T99" fmla="*/ 21 h 1428"/>
                <a:gd name="T100" fmla="*/ 103 w 1398"/>
                <a:gd name="T101" fmla="*/ 23 h 1428"/>
                <a:gd name="T102" fmla="*/ 110 w 1398"/>
                <a:gd name="T103" fmla="*/ 26 h 1428"/>
                <a:gd name="T104" fmla="*/ 116 w 1398"/>
                <a:gd name="T105" fmla="*/ 27 h 1428"/>
                <a:gd name="T106" fmla="*/ 120 w 1398"/>
                <a:gd name="T107" fmla="*/ 27 h 1428"/>
                <a:gd name="T108" fmla="*/ 116 w 1398"/>
                <a:gd name="T109" fmla="*/ 35 h 1428"/>
                <a:gd name="T110" fmla="*/ 104 w 1398"/>
                <a:gd name="T111" fmla="*/ 37 h 1428"/>
                <a:gd name="T112" fmla="*/ 97 w 1398"/>
                <a:gd name="T113" fmla="*/ 34 h 1428"/>
                <a:gd name="T114" fmla="*/ 91 w 1398"/>
                <a:gd name="T115" fmla="*/ 29 h 1428"/>
                <a:gd name="T116" fmla="*/ 75 w 1398"/>
                <a:gd name="T117" fmla="*/ 29 h 1428"/>
                <a:gd name="T118" fmla="*/ 72 w 1398"/>
                <a:gd name="T119" fmla="*/ 39 h 1428"/>
                <a:gd name="T120" fmla="*/ 80 w 1398"/>
                <a:gd name="T121" fmla="*/ 41 h 142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98"/>
                <a:gd name="T184" fmla="*/ 0 h 1428"/>
                <a:gd name="T185" fmla="*/ 1398 w 1398"/>
                <a:gd name="T186" fmla="*/ 1428 h 142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98" h="1428">
                  <a:moveTo>
                    <a:pt x="924" y="474"/>
                  </a:moveTo>
                  <a:lnTo>
                    <a:pt x="900" y="480"/>
                  </a:lnTo>
                  <a:lnTo>
                    <a:pt x="864" y="486"/>
                  </a:lnTo>
                  <a:lnTo>
                    <a:pt x="864" y="504"/>
                  </a:lnTo>
                  <a:lnTo>
                    <a:pt x="858" y="522"/>
                  </a:lnTo>
                  <a:lnTo>
                    <a:pt x="864" y="528"/>
                  </a:lnTo>
                  <a:lnTo>
                    <a:pt x="864" y="552"/>
                  </a:lnTo>
                  <a:lnTo>
                    <a:pt x="852" y="552"/>
                  </a:lnTo>
                  <a:lnTo>
                    <a:pt x="846" y="564"/>
                  </a:lnTo>
                  <a:lnTo>
                    <a:pt x="840" y="582"/>
                  </a:lnTo>
                  <a:lnTo>
                    <a:pt x="834" y="594"/>
                  </a:lnTo>
                  <a:lnTo>
                    <a:pt x="828" y="606"/>
                  </a:lnTo>
                  <a:lnTo>
                    <a:pt x="828" y="618"/>
                  </a:lnTo>
                  <a:lnTo>
                    <a:pt x="786" y="630"/>
                  </a:lnTo>
                  <a:lnTo>
                    <a:pt x="774" y="636"/>
                  </a:lnTo>
                  <a:lnTo>
                    <a:pt x="762" y="642"/>
                  </a:lnTo>
                  <a:lnTo>
                    <a:pt x="744" y="648"/>
                  </a:lnTo>
                  <a:lnTo>
                    <a:pt x="714" y="660"/>
                  </a:lnTo>
                  <a:lnTo>
                    <a:pt x="696" y="666"/>
                  </a:lnTo>
                  <a:lnTo>
                    <a:pt x="666" y="672"/>
                  </a:lnTo>
                  <a:lnTo>
                    <a:pt x="654" y="684"/>
                  </a:lnTo>
                  <a:lnTo>
                    <a:pt x="648" y="684"/>
                  </a:lnTo>
                  <a:lnTo>
                    <a:pt x="642" y="696"/>
                  </a:lnTo>
                  <a:lnTo>
                    <a:pt x="636" y="696"/>
                  </a:lnTo>
                  <a:lnTo>
                    <a:pt x="630" y="714"/>
                  </a:lnTo>
                  <a:lnTo>
                    <a:pt x="624" y="738"/>
                  </a:lnTo>
                  <a:lnTo>
                    <a:pt x="624" y="762"/>
                  </a:lnTo>
                  <a:lnTo>
                    <a:pt x="630" y="780"/>
                  </a:lnTo>
                  <a:lnTo>
                    <a:pt x="636" y="804"/>
                  </a:lnTo>
                  <a:lnTo>
                    <a:pt x="642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6" y="834"/>
                  </a:lnTo>
                  <a:lnTo>
                    <a:pt x="636" y="870"/>
                  </a:lnTo>
                  <a:lnTo>
                    <a:pt x="636" y="882"/>
                  </a:lnTo>
                  <a:lnTo>
                    <a:pt x="636" y="906"/>
                  </a:lnTo>
                  <a:lnTo>
                    <a:pt x="630" y="906"/>
                  </a:lnTo>
                  <a:lnTo>
                    <a:pt x="636" y="918"/>
                  </a:lnTo>
                  <a:lnTo>
                    <a:pt x="642" y="918"/>
                  </a:lnTo>
                  <a:lnTo>
                    <a:pt x="642" y="930"/>
                  </a:lnTo>
                  <a:lnTo>
                    <a:pt x="648" y="936"/>
                  </a:lnTo>
                  <a:lnTo>
                    <a:pt x="654" y="936"/>
                  </a:lnTo>
                  <a:lnTo>
                    <a:pt x="654" y="942"/>
                  </a:lnTo>
                  <a:lnTo>
                    <a:pt x="654" y="948"/>
                  </a:lnTo>
                  <a:lnTo>
                    <a:pt x="648" y="954"/>
                  </a:lnTo>
                  <a:lnTo>
                    <a:pt x="648" y="960"/>
                  </a:lnTo>
                  <a:lnTo>
                    <a:pt x="648" y="966"/>
                  </a:lnTo>
                  <a:lnTo>
                    <a:pt x="648" y="972"/>
                  </a:lnTo>
                  <a:lnTo>
                    <a:pt x="648" y="990"/>
                  </a:lnTo>
                  <a:lnTo>
                    <a:pt x="654" y="996"/>
                  </a:lnTo>
                  <a:lnTo>
                    <a:pt x="648" y="1002"/>
                  </a:lnTo>
                  <a:lnTo>
                    <a:pt x="648" y="1008"/>
                  </a:lnTo>
                  <a:lnTo>
                    <a:pt x="654" y="1014"/>
                  </a:lnTo>
                  <a:lnTo>
                    <a:pt x="654" y="1020"/>
                  </a:lnTo>
                  <a:lnTo>
                    <a:pt x="654" y="1026"/>
                  </a:lnTo>
                  <a:lnTo>
                    <a:pt x="660" y="1026"/>
                  </a:lnTo>
                  <a:lnTo>
                    <a:pt x="660" y="1032"/>
                  </a:lnTo>
                  <a:lnTo>
                    <a:pt x="660" y="1038"/>
                  </a:lnTo>
                  <a:lnTo>
                    <a:pt x="666" y="1044"/>
                  </a:lnTo>
                  <a:lnTo>
                    <a:pt x="672" y="1050"/>
                  </a:lnTo>
                  <a:lnTo>
                    <a:pt x="672" y="1056"/>
                  </a:lnTo>
                  <a:lnTo>
                    <a:pt x="672" y="1062"/>
                  </a:lnTo>
                  <a:lnTo>
                    <a:pt x="672" y="1068"/>
                  </a:lnTo>
                  <a:lnTo>
                    <a:pt x="672" y="1074"/>
                  </a:lnTo>
                  <a:lnTo>
                    <a:pt x="678" y="1074"/>
                  </a:lnTo>
                  <a:lnTo>
                    <a:pt x="678" y="1080"/>
                  </a:lnTo>
                  <a:lnTo>
                    <a:pt x="678" y="1086"/>
                  </a:lnTo>
                  <a:lnTo>
                    <a:pt x="672" y="1092"/>
                  </a:lnTo>
                  <a:lnTo>
                    <a:pt x="672" y="1098"/>
                  </a:lnTo>
                  <a:lnTo>
                    <a:pt x="672" y="1104"/>
                  </a:lnTo>
                  <a:lnTo>
                    <a:pt x="666" y="1116"/>
                  </a:lnTo>
                  <a:lnTo>
                    <a:pt x="624" y="1122"/>
                  </a:lnTo>
                  <a:lnTo>
                    <a:pt x="576" y="1134"/>
                  </a:lnTo>
                  <a:lnTo>
                    <a:pt x="570" y="1140"/>
                  </a:lnTo>
                  <a:lnTo>
                    <a:pt x="570" y="1146"/>
                  </a:lnTo>
                  <a:lnTo>
                    <a:pt x="564" y="1146"/>
                  </a:lnTo>
                  <a:lnTo>
                    <a:pt x="564" y="1152"/>
                  </a:lnTo>
                  <a:lnTo>
                    <a:pt x="564" y="1164"/>
                  </a:lnTo>
                  <a:lnTo>
                    <a:pt x="564" y="1170"/>
                  </a:lnTo>
                  <a:lnTo>
                    <a:pt x="564" y="1176"/>
                  </a:lnTo>
                  <a:lnTo>
                    <a:pt x="546" y="1176"/>
                  </a:lnTo>
                  <a:lnTo>
                    <a:pt x="540" y="1212"/>
                  </a:lnTo>
                  <a:lnTo>
                    <a:pt x="540" y="1230"/>
                  </a:lnTo>
                  <a:lnTo>
                    <a:pt x="546" y="1242"/>
                  </a:lnTo>
                  <a:lnTo>
                    <a:pt x="546" y="1254"/>
                  </a:lnTo>
                  <a:lnTo>
                    <a:pt x="558" y="1266"/>
                  </a:lnTo>
                  <a:lnTo>
                    <a:pt x="576" y="1272"/>
                  </a:lnTo>
                  <a:lnTo>
                    <a:pt x="570" y="1278"/>
                  </a:lnTo>
                  <a:lnTo>
                    <a:pt x="576" y="1284"/>
                  </a:lnTo>
                  <a:lnTo>
                    <a:pt x="570" y="1296"/>
                  </a:lnTo>
                  <a:lnTo>
                    <a:pt x="558" y="1302"/>
                  </a:lnTo>
                  <a:lnTo>
                    <a:pt x="540" y="1308"/>
                  </a:lnTo>
                  <a:lnTo>
                    <a:pt x="522" y="1314"/>
                  </a:lnTo>
                  <a:lnTo>
                    <a:pt x="516" y="1314"/>
                  </a:lnTo>
                  <a:lnTo>
                    <a:pt x="510" y="1314"/>
                  </a:lnTo>
                  <a:lnTo>
                    <a:pt x="504" y="1314"/>
                  </a:lnTo>
                  <a:lnTo>
                    <a:pt x="498" y="1320"/>
                  </a:lnTo>
                  <a:lnTo>
                    <a:pt x="492" y="1320"/>
                  </a:lnTo>
                  <a:lnTo>
                    <a:pt x="492" y="1326"/>
                  </a:lnTo>
                  <a:lnTo>
                    <a:pt x="486" y="1326"/>
                  </a:lnTo>
                  <a:lnTo>
                    <a:pt x="480" y="1326"/>
                  </a:lnTo>
                  <a:lnTo>
                    <a:pt x="480" y="1320"/>
                  </a:lnTo>
                  <a:lnTo>
                    <a:pt x="468" y="1314"/>
                  </a:lnTo>
                  <a:lnTo>
                    <a:pt x="462" y="1308"/>
                  </a:lnTo>
                  <a:lnTo>
                    <a:pt x="456" y="1302"/>
                  </a:lnTo>
                  <a:lnTo>
                    <a:pt x="444" y="1296"/>
                  </a:lnTo>
                  <a:lnTo>
                    <a:pt x="420" y="1290"/>
                  </a:lnTo>
                  <a:lnTo>
                    <a:pt x="414" y="1278"/>
                  </a:lnTo>
                  <a:lnTo>
                    <a:pt x="408" y="1278"/>
                  </a:lnTo>
                  <a:lnTo>
                    <a:pt x="408" y="1266"/>
                  </a:lnTo>
                  <a:lnTo>
                    <a:pt x="402" y="1260"/>
                  </a:lnTo>
                  <a:lnTo>
                    <a:pt x="384" y="1260"/>
                  </a:lnTo>
                  <a:lnTo>
                    <a:pt x="372" y="1266"/>
                  </a:lnTo>
                  <a:lnTo>
                    <a:pt x="360" y="1272"/>
                  </a:lnTo>
                  <a:lnTo>
                    <a:pt x="348" y="1272"/>
                  </a:lnTo>
                  <a:lnTo>
                    <a:pt x="342" y="1284"/>
                  </a:lnTo>
                  <a:lnTo>
                    <a:pt x="336" y="1290"/>
                  </a:lnTo>
                  <a:lnTo>
                    <a:pt x="336" y="1308"/>
                  </a:lnTo>
                  <a:lnTo>
                    <a:pt x="336" y="1314"/>
                  </a:lnTo>
                  <a:lnTo>
                    <a:pt x="336" y="1320"/>
                  </a:lnTo>
                  <a:lnTo>
                    <a:pt x="330" y="1326"/>
                  </a:lnTo>
                  <a:lnTo>
                    <a:pt x="330" y="1332"/>
                  </a:lnTo>
                  <a:lnTo>
                    <a:pt x="330" y="1338"/>
                  </a:lnTo>
                  <a:lnTo>
                    <a:pt x="300" y="1338"/>
                  </a:lnTo>
                  <a:lnTo>
                    <a:pt x="288" y="1338"/>
                  </a:lnTo>
                  <a:lnTo>
                    <a:pt x="258" y="1326"/>
                  </a:lnTo>
                  <a:lnTo>
                    <a:pt x="246" y="1332"/>
                  </a:lnTo>
                  <a:lnTo>
                    <a:pt x="240" y="1338"/>
                  </a:lnTo>
                  <a:lnTo>
                    <a:pt x="234" y="1338"/>
                  </a:lnTo>
                  <a:lnTo>
                    <a:pt x="228" y="1350"/>
                  </a:lnTo>
                  <a:lnTo>
                    <a:pt x="228" y="1374"/>
                  </a:lnTo>
                  <a:lnTo>
                    <a:pt x="234" y="1392"/>
                  </a:lnTo>
                  <a:lnTo>
                    <a:pt x="246" y="1398"/>
                  </a:lnTo>
                  <a:lnTo>
                    <a:pt x="246" y="1410"/>
                  </a:lnTo>
                  <a:lnTo>
                    <a:pt x="216" y="1428"/>
                  </a:lnTo>
                  <a:lnTo>
                    <a:pt x="198" y="1428"/>
                  </a:lnTo>
                  <a:lnTo>
                    <a:pt x="192" y="1422"/>
                  </a:lnTo>
                  <a:lnTo>
                    <a:pt x="174" y="1410"/>
                  </a:lnTo>
                  <a:lnTo>
                    <a:pt x="156" y="1386"/>
                  </a:lnTo>
                  <a:lnTo>
                    <a:pt x="132" y="1374"/>
                  </a:lnTo>
                  <a:lnTo>
                    <a:pt x="108" y="1368"/>
                  </a:lnTo>
                  <a:lnTo>
                    <a:pt x="84" y="1368"/>
                  </a:lnTo>
                  <a:lnTo>
                    <a:pt x="96" y="1356"/>
                  </a:lnTo>
                  <a:lnTo>
                    <a:pt x="102" y="1344"/>
                  </a:lnTo>
                  <a:lnTo>
                    <a:pt x="102" y="1332"/>
                  </a:lnTo>
                  <a:lnTo>
                    <a:pt x="108" y="1320"/>
                  </a:lnTo>
                  <a:lnTo>
                    <a:pt x="108" y="1302"/>
                  </a:lnTo>
                  <a:lnTo>
                    <a:pt x="96" y="1278"/>
                  </a:lnTo>
                  <a:lnTo>
                    <a:pt x="66" y="1284"/>
                  </a:lnTo>
                  <a:lnTo>
                    <a:pt x="54" y="1278"/>
                  </a:lnTo>
                  <a:lnTo>
                    <a:pt x="36" y="1278"/>
                  </a:lnTo>
                  <a:lnTo>
                    <a:pt x="18" y="1284"/>
                  </a:lnTo>
                  <a:lnTo>
                    <a:pt x="18" y="1272"/>
                  </a:lnTo>
                  <a:lnTo>
                    <a:pt x="24" y="1260"/>
                  </a:lnTo>
                  <a:lnTo>
                    <a:pt x="24" y="1254"/>
                  </a:lnTo>
                  <a:lnTo>
                    <a:pt x="30" y="1248"/>
                  </a:lnTo>
                  <a:lnTo>
                    <a:pt x="24" y="1230"/>
                  </a:lnTo>
                  <a:lnTo>
                    <a:pt x="30" y="1218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30" y="1170"/>
                  </a:lnTo>
                  <a:lnTo>
                    <a:pt x="30" y="1152"/>
                  </a:lnTo>
                  <a:lnTo>
                    <a:pt x="24" y="1146"/>
                  </a:lnTo>
                  <a:lnTo>
                    <a:pt x="0" y="1116"/>
                  </a:lnTo>
                  <a:lnTo>
                    <a:pt x="6" y="1092"/>
                  </a:lnTo>
                  <a:lnTo>
                    <a:pt x="18" y="1056"/>
                  </a:lnTo>
                  <a:lnTo>
                    <a:pt x="24" y="1050"/>
                  </a:lnTo>
                  <a:lnTo>
                    <a:pt x="24" y="1038"/>
                  </a:lnTo>
                  <a:lnTo>
                    <a:pt x="24" y="1026"/>
                  </a:lnTo>
                  <a:lnTo>
                    <a:pt x="30" y="1002"/>
                  </a:lnTo>
                  <a:lnTo>
                    <a:pt x="36" y="990"/>
                  </a:lnTo>
                  <a:lnTo>
                    <a:pt x="42" y="984"/>
                  </a:lnTo>
                  <a:lnTo>
                    <a:pt x="54" y="984"/>
                  </a:lnTo>
                  <a:lnTo>
                    <a:pt x="66" y="978"/>
                  </a:lnTo>
                  <a:lnTo>
                    <a:pt x="72" y="978"/>
                  </a:lnTo>
                  <a:lnTo>
                    <a:pt x="90" y="978"/>
                  </a:lnTo>
                  <a:lnTo>
                    <a:pt x="102" y="972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78"/>
                  </a:lnTo>
                  <a:lnTo>
                    <a:pt x="120" y="984"/>
                  </a:lnTo>
                  <a:lnTo>
                    <a:pt x="138" y="984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6" y="972"/>
                  </a:lnTo>
                  <a:lnTo>
                    <a:pt x="156" y="966"/>
                  </a:lnTo>
                  <a:lnTo>
                    <a:pt x="156" y="960"/>
                  </a:lnTo>
                  <a:lnTo>
                    <a:pt x="180" y="948"/>
                  </a:lnTo>
                  <a:lnTo>
                    <a:pt x="186" y="924"/>
                  </a:lnTo>
                  <a:lnTo>
                    <a:pt x="192" y="918"/>
                  </a:lnTo>
                  <a:lnTo>
                    <a:pt x="228" y="924"/>
                  </a:lnTo>
                  <a:lnTo>
                    <a:pt x="246" y="906"/>
                  </a:lnTo>
                  <a:lnTo>
                    <a:pt x="240" y="888"/>
                  </a:lnTo>
                  <a:lnTo>
                    <a:pt x="234" y="888"/>
                  </a:lnTo>
                  <a:lnTo>
                    <a:pt x="234" y="882"/>
                  </a:lnTo>
                  <a:lnTo>
                    <a:pt x="228" y="870"/>
                  </a:lnTo>
                  <a:lnTo>
                    <a:pt x="228" y="864"/>
                  </a:lnTo>
                  <a:lnTo>
                    <a:pt x="222" y="864"/>
                  </a:lnTo>
                  <a:lnTo>
                    <a:pt x="216" y="858"/>
                  </a:lnTo>
                  <a:lnTo>
                    <a:pt x="198" y="852"/>
                  </a:lnTo>
                  <a:lnTo>
                    <a:pt x="192" y="852"/>
                  </a:lnTo>
                  <a:lnTo>
                    <a:pt x="186" y="846"/>
                  </a:lnTo>
                  <a:lnTo>
                    <a:pt x="174" y="834"/>
                  </a:lnTo>
                  <a:lnTo>
                    <a:pt x="162" y="822"/>
                  </a:lnTo>
                  <a:lnTo>
                    <a:pt x="156" y="816"/>
                  </a:lnTo>
                  <a:lnTo>
                    <a:pt x="162" y="810"/>
                  </a:lnTo>
                  <a:lnTo>
                    <a:pt x="174" y="798"/>
                  </a:lnTo>
                  <a:lnTo>
                    <a:pt x="180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68"/>
                  </a:lnTo>
                  <a:lnTo>
                    <a:pt x="192" y="744"/>
                  </a:lnTo>
                  <a:lnTo>
                    <a:pt x="186" y="708"/>
                  </a:lnTo>
                  <a:lnTo>
                    <a:pt x="174" y="690"/>
                  </a:lnTo>
                  <a:lnTo>
                    <a:pt x="168" y="672"/>
                  </a:lnTo>
                  <a:lnTo>
                    <a:pt x="156" y="630"/>
                  </a:lnTo>
                  <a:lnTo>
                    <a:pt x="156" y="606"/>
                  </a:lnTo>
                  <a:lnTo>
                    <a:pt x="150" y="606"/>
                  </a:lnTo>
                  <a:lnTo>
                    <a:pt x="150" y="600"/>
                  </a:lnTo>
                  <a:lnTo>
                    <a:pt x="144" y="600"/>
                  </a:lnTo>
                  <a:lnTo>
                    <a:pt x="150" y="594"/>
                  </a:lnTo>
                  <a:lnTo>
                    <a:pt x="144" y="588"/>
                  </a:lnTo>
                  <a:lnTo>
                    <a:pt x="138" y="558"/>
                  </a:lnTo>
                  <a:lnTo>
                    <a:pt x="138" y="528"/>
                  </a:lnTo>
                  <a:lnTo>
                    <a:pt x="132" y="480"/>
                  </a:lnTo>
                  <a:lnTo>
                    <a:pt x="132" y="462"/>
                  </a:lnTo>
                  <a:lnTo>
                    <a:pt x="126" y="426"/>
                  </a:lnTo>
                  <a:lnTo>
                    <a:pt x="126" y="396"/>
                  </a:lnTo>
                  <a:lnTo>
                    <a:pt x="126" y="378"/>
                  </a:lnTo>
                  <a:lnTo>
                    <a:pt x="126" y="360"/>
                  </a:lnTo>
                  <a:lnTo>
                    <a:pt x="132" y="318"/>
                  </a:lnTo>
                  <a:lnTo>
                    <a:pt x="132" y="24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2" y="210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92" y="198"/>
                  </a:lnTo>
                  <a:lnTo>
                    <a:pt x="198" y="198"/>
                  </a:lnTo>
                  <a:lnTo>
                    <a:pt x="216" y="180"/>
                  </a:lnTo>
                  <a:lnTo>
                    <a:pt x="222" y="174"/>
                  </a:lnTo>
                  <a:lnTo>
                    <a:pt x="222" y="168"/>
                  </a:lnTo>
                  <a:lnTo>
                    <a:pt x="228" y="168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44"/>
                  </a:lnTo>
                  <a:lnTo>
                    <a:pt x="258" y="144"/>
                  </a:lnTo>
                  <a:lnTo>
                    <a:pt x="276" y="150"/>
                  </a:lnTo>
                  <a:lnTo>
                    <a:pt x="300" y="150"/>
                  </a:lnTo>
                  <a:lnTo>
                    <a:pt x="312" y="150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8" y="156"/>
                  </a:lnTo>
                  <a:lnTo>
                    <a:pt x="354" y="150"/>
                  </a:lnTo>
                  <a:lnTo>
                    <a:pt x="372" y="144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08" y="126"/>
                  </a:lnTo>
                  <a:lnTo>
                    <a:pt x="414" y="120"/>
                  </a:lnTo>
                  <a:lnTo>
                    <a:pt x="420" y="120"/>
                  </a:lnTo>
                  <a:lnTo>
                    <a:pt x="426" y="120"/>
                  </a:lnTo>
                  <a:lnTo>
                    <a:pt x="432" y="114"/>
                  </a:lnTo>
                  <a:lnTo>
                    <a:pt x="450" y="102"/>
                  </a:lnTo>
                  <a:lnTo>
                    <a:pt x="456" y="96"/>
                  </a:lnTo>
                  <a:lnTo>
                    <a:pt x="468" y="90"/>
                  </a:lnTo>
                  <a:lnTo>
                    <a:pt x="474" y="90"/>
                  </a:lnTo>
                  <a:lnTo>
                    <a:pt x="480" y="84"/>
                  </a:lnTo>
                  <a:lnTo>
                    <a:pt x="486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504" y="72"/>
                  </a:lnTo>
                  <a:lnTo>
                    <a:pt x="510" y="66"/>
                  </a:lnTo>
                  <a:lnTo>
                    <a:pt x="516" y="66"/>
                  </a:lnTo>
                  <a:lnTo>
                    <a:pt x="522" y="60"/>
                  </a:lnTo>
                  <a:lnTo>
                    <a:pt x="552" y="42"/>
                  </a:lnTo>
                  <a:lnTo>
                    <a:pt x="558" y="36"/>
                  </a:lnTo>
                  <a:lnTo>
                    <a:pt x="576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94" y="18"/>
                  </a:lnTo>
                  <a:lnTo>
                    <a:pt x="600" y="12"/>
                  </a:lnTo>
                  <a:lnTo>
                    <a:pt x="612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6"/>
                  </a:lnTo>
                  <a:lnTo>
                    <a:pt x="648" y="6"/>
                  </a:lnTo>
                  <a:lnTo>
                    <a:pt x="660" y="6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38" y="18"/>
                  </a:lnTo>
                  <a:lnTo>
                    <a:pt x="744" y="18"/>
                  </a:lnTo>
                  <a:lnTo>
                    <a:pt x="756" y="18"/>
                  </a:lnTo>
                  <a:lnTo>
                    <a:pt x="762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80" y="24"/>
                  </a:lnTo>
                  <a:lnTo>
                    <a:pt x="792" y="24"/>
                  </a:lnTo>
                  <a:lnTo>
                    <a:pt x="792" y="30"/>
                  </a:lnTo>
                  <a:lnTo>
                    <a:pt x="810" y="30"/>
                  </a:lnTo>
                  <a:lnTo>
                    <a:pt x="822" y="36"/>
                  </a:lnTo>
                  <a:lnTo>
                    <a:pt x="834" y="42"/>
                  </a:lnTo>
                  <a:lnTo>
                    <a:pt x="840" y="48"/>
                  </a:lnTo>
                  <a:lnTo>
                    <a:pt x="846" y="54"/>
                  </a:lnTo>
                  <a:lnTo>
                    <a:pt x="852" y="60"/>
                  </a:lnTo>
                  <a:lnTo>
                    <a:pt x="858" y="66"/>
                  </a:lnTo>
                  <a:lnTo>
                    <a:pt x="864" y="66"/>
                  </a:lnTo>
                  <a:lnTo>
                    <a:pt x="864" y="72"/>
                  </a:lnTo>
                  <a:lnTo>
                    <a:pt x="876" y="78"/>
                  </a:lnTo>
                  <a:lnTo>
                    <a:pt x="900" y="84"/>
                  </a:lnTo>
                  <a:lnTo>
                    <a:pt x="906" y="90"/>
                  </a:lnTo>
                  <a:lnTo>
                    <a:pt x="912" y="90"/>
                  </a:lnTo>
                  <a:lnTo>
                    <a:pt x="912" y="96"/>
                  </a:lnTo>
                  <a:lnTo>
                    <a:pt x="924" y="108"/>
                  </a:lnTo>
                  <a:lnTo>
                    <a:pt x="930" y="108"/>
                  </a:lnTo>
                  <a:lnTo>
                    <a:pt x="936" y="114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60" y="138"/>
                  </a:lnTo>
                  <a:lnTo>
                    <a:pt x="966" y="144"/>
                  </a:lnTo>
                  <a:lnTo>
                    <a:pt x="972" y="156"/>
                  </a:lnTo>
                  <a:lnTo>
                    <a:pt x="978" y="162"/>
                  </a:lnTo>
                  <a:lnTo>
                    <a:pt x="984" y="162"/>
                  </a:lnTo>
                  <a:lnTo>
                    <a:pt x="990" y="168"/>
                  </a:lnTo>
                  <a:lnTo>
                    <a:pt x="996" y="174"/>
                  </a:lnTo>
                  <a:lnTo>
                    <a:pt x="1002" y="180"/>
                  </a:lnTo>
                  <a:lnTo>
                    <a:pt x="1008" y="180"/>
                  </a:lnTo>
                  <a:lnTo>
                    <a:pt x="1020" y="180"/>
                  </a:lnTo>
                  <a:lnTo>
                    <a:pt x="1038" y="174"/>
                  </a:lnTo>
                  <a:lnTo>
                    <a:pt x="1050" y="174"/>
                  </a:lnTo>
                  <a:lnTo>
                    <a:pt x="1056" y="174"/>
                  </a:lnTo>
                  <a:lnTo>
                    <a:pt x="1068" y="180"/>
                  </a:lnTo>
                  <a:lnTo>
                    <a:pt x="1080" y="180"/>
                  </a:lnTo>
                  <a:lnTo>
                    <a:pt x="1086" y="186"/>
                  </a:lnTo>
                  <a:lnTo>
                    <a:pt x="1098" y="192"/>
                  </a:lnTo>
                  <a:lnTo>
                    <a:pt x="1116" y="204"/>
                  </a:lnTo>
                  <a:lnTo>
                    <a:pt x="1122" y="210"/>
                  </a:lnTo>
                  <a:lnTo>
                    <a:pt x="1134" y="222"/>
                  </a:lnTo>
                  <a:lnTo>
                    <a:pt x="1146" y="234"/>
                  </a:lnTo>
                  <a:lnTo>
                    <a:pt x="1146" y="240"/>
                  </a:lnTo>
                  <a:lnTo>
                    <a:pt x="1152" y="246"/>
                  </a:lnTo>
                  <a:lnTo>
                    <a:pt x="1152" y="252"/>
                  </a:lnTo>
                  <a:lnTo>
                    <a:pt x="1152" y="258"/>
                  </a:lnTo>
                  <a:lnTo>
                    <a:pt x="1164" y="258"/>
                  </a:lnTo>
                  <a:lnTo>
                    <a:pt x="1170" y="264"/>
                  </a:lnTo>
                  <a:lnTo>
                    <a:pt x="1182" y="270"/>
                  </a:lnTo>
                  <a:lnTo>
                    <a:pt x="1188" y="270"/>
                  </a:lnTo>
                  <a:lnTo>
                    <a:pt x="1194" y="270"/>
                  </a:lnTo>
                  <a:lnTo>
                    <a:pt x="1206" y="276"/>
                  </a:lnTo>
                  <a:lnTo>
                    <a:pt x="1224" y="282"/>
                  </a:lnTo>
                  <a:lnTo>
                    <a:pt x="1236" y="282"/>
                  </a:lnTo>
                  <a:lnTo>
                    <a:pt x="1242" y="288"/>
                  </a:lnTo>
                  <a:lnTo>
                    <a:pt x="1254" y="288"/>
                  </a:lnTo>
                  <a:lnTo>
                    <a:pt x="1266" y="294"/>
                  </a:lnTo>
                  <a:lnTo>
                    <a:pt x="1272" y="294"/>
                  </a:lnTo>
                  <a:lnTo>
                    <a:pt x="1284" y="300"/>
                  </a:lnTo>
                  <a:lnTo>
                    <a:pt x="1290" y="300"/>
                  </a:lnTo>
                  <a:lnTo>
                    <a:pt x="1296" y="300"/>
                  </a:lnTo>
                  <a:lnTo>
                    <a:pt x="1302" y="306"/>
                  </a:lnTo>
                  <a:lnTo>
                    <a:pt x="1326" y="312"/>
                  </a:lnTo>
                  <a:lnTo>
                    <a:pt x="1338" y="312"/>
                  </a:lnTo>
                  <a:lnTo>
                    <a:pt x="1338" y="318"/>
                  </a:lnTo>
                  <a:lnTo>
                    <a:pt x="1344" y="318"/>
                  </a:lnTo>
                  <a:lnTo>
                    <a:pt x="1350" y="318"/>
                  </a:lnTo>
                  <a:lnTo>
                    <a:pt x="1362" y="324"/>
                  </a:lnTo>
                  <a:lnTo>
                    <a:pt x="1368" y="318"/>
                  </a:lnTo>
                  <a:lnTo>
                    <a:pt x="1374" y="318"/>
                  </a:lnTo>
                  <a:lnTo>
                    <a:pt x="1386" y="318"/>
                  </a:lnTo>
                  <a:lnTo>
                    <a:pt x="1398" y="324"/>
                  </a:lnTo>
                  <a:lnTo>
                    <a:pt x="1398" y="342"/>
                  </a:lnTo>
                  <a:lnTo>
                    <a:pt x="1356" y="342"/>
                  </a:lnTo>
                  <a:lnTo>
                    <a:pt x="1350" y="348"/>
                  </a:lnTo>
                  <a:lnTo>
                    <a:pt x="1350" y="372"/>
                  </a:lnTo>
                  <a:lnTo>
                    <a:pt x="1338" y="384"/>
                  </a:lnTo>
                  <a:lnTo>
                    <a:pt x="1332" y="408"/>
                  </a:lnTo>
                  <a:lnTo>
                    <a:pt x="1320" y="420"/>
                  </a:lnTo>
                  <a:lnTo>
                    <a:pt x="1254" y="426"/>
                  </a:lnTo>
                  <a:lnTo>
                    <a:pt x="1248" y="432"/>
                  </a:lnTo>
                  <a:lnTo>
                    <a:pt x="1230" y="432"/>
                  </a:lnTo>
                  <a:lnTo>
                    <a:pt x="1212" y="432"/>
                  </a:lnTo>
                  <a:lnTo>
                    <a:pt x="1212" y="426"/>
                  </a:lnTo>
                  <a:lnTo>
                    <a:pt x="1200" y="426"/>
                  </a:lnTo>
                  <a:lnTo>
                    <a:pt x="1182" y="414"/>
                  </a:lnTo>
                  <a:lnTo>
                    <a:pt x="1182" y="420"/>
                  </a:lnTo>
                  <a:lnTo>
                    <a:pt x="1164" y="420"/>
                  </a:lnTo>
                  <a:lnTo>
                    <a:pt x="1158" y="414"/>
                  </a:lnTo>
                  <a:lnTo>
                    <a:pt x="1152" y="408"/>
                  </a:lnTo>
                  <a:lnTo>
                    <a:pt x="1146" y="402"/>
                  </a:lnTo>
                  <a:lnTo>
                    <a:pt x="1122" y="396"/>
                  </a:lnTo>
                  <a:lnTo>
                    <a:pt x="1116" y="366"/>
                  </a:lnTo>
                  <a:lnTo>
                    <a:pt x="1116" y="348"/>
                  </a:lnTo>
                  <a:lnTo>
                    <a:pt x="1110" y="342"/>
                  </a:lnTo>
                  <a:lnTo>
                    <a:pt x="1104" y="336"/>
                  </a:lnTo>
                  <a:lnTo>
                    <a:pt x="1092" y="330"/>
                  </a:lnTo>
                  <a:lnTo>
                    <a:pt x="1074" y="330"/>
                  </a:lnTo>
                  <a:lnTo>
                    <a:pt x="1044" y="330"/>
                  </a:lnTo>
                  <a:lnTo>
                    <a:pt x="1014" y="336"/>
                  </a:lnTo>
                  <a:lnTo>
                    <a:pt x="984" y="342"/>
                  </a:lnTo>
                  <a:lnTo>
                    <a:pt x="978" y="330"/>
                  </a:lnTo>
                  <a:lnTo>
                    <a:pt x="966" y="324"/>
                  </a:lnTo>
                  <a:lnTo>
                    <a:pt x="888" y="336"/>
                  </a:lnTo>
                  <a:lnTo>
                    <a:pt x="888" y="330"/>
                  </a:lnTo>
                  <a:lnTo>
                    <a:pt x="870" y="336"/>
                  </a:lnTo>
                  <a:lnTo>
                    <a:pt x="858" y="336"/>
                  </a:lnTo>
                  <a:lnTo>
                    <a:pt x="852" y="354"/>
                  </a:lnTo>
                  <a:lnTo>
                    <a:pt x="852" y="402"/>
                  </a:lnTo>
                  <a:lnTo>
                    <a:pt x="840" y="414"/>
                  </a:lnTo>
                  <a:lnTo>
                    <a:pt x="834" y="420"/>
                  </a:lnTo>
                  <a:lnTo>
                    <a:pt x="834" y="444"/>
                  </a:lnTo>
                  <a:lnTo>
                    <a:pt x="834" y="450"/>
                  </a:lnTo>
                  <a:lnTo>
                    <a:pt x="852" y="456"/>
                  </a:lnTo>
                  <a:lnTo>
                    <a:pt x="864" y="462"/>
                  </a:lnTo>
                  <a:lnTo>
                    <a:pt x="894" y="456"/>
                  </a:lnTo>
                  <a:lnTo>
                    <a:pt x="900" y="468"/>
                  </a:lnTo>
                  <a:lnTo>
                    <a:pt x="918" y="462"/>
                  </a:lnTo>
                  <a:lnTo>
                    <a:pt x="924" y="468"/>
                  </a:lnTo>
                  <a:lnTo>
                    <a:pt x="924" y="47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2" name="Freeform 37">
              <a:extLst>
                <a:ext uri="{FF2B5EF4-FFF2-40B4-BE49-F238E27FC236}">
                  <a16:creationId xmlns:a16="http://schemas.microsoft.com/office/drawing/2014/main" id="{DED8A1FF-B656-4D37-BD26-5B0A7B1A4A6D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441" y="1898343"/>
              <a:ext cx="567992" cy="686605"/>
            </a:xfrm>
            <a:custGeom>
              <a:avLst/>
              <a:gdLst>
                <a:gd name="T0" fmla="*/ 79 w 1068"/>
                <a:gd name="T1" fmla="*/ 72 h 1290"/>
                <a:gd name="T2" fmla="*/ 75 w 1068"/>
                <a:gd name="T3" fmla="*/ 73 h 1290"/>
                <a:gd name="T4" fmla="*/ 72 w 1068"/>
                <a:gd name="T5" fmla="*/ 76 h 1290"/>
                <a:gd name="T6" fmla="*/ 70 w 1068"/>
                <a:gd name="T7" fmla="*/ 78 h 1290"/>
                <a:gd name="T8" fmla="*/ 67 w 1068"/>
                <a:gd name="T9" fmla="*/ 82 h 1290"/>
                <a:gd name="T10" fmla="*/ 61 w 1068"/>
                <a:gd name="T11" fmla="*/ 86 h 1290"/>
                <a:gd name="T12" fmla="*/ 60 w 1068"/>
                <a:gd name="T13" fmla="*/ 93 h 1290"/>
                <a:gd name="T14" fmla="*/ 59 w 1068"/>
                <a:gd name="T15" fmla="*/ 97 h 1290"/>
                <a:gd name="T16" fmla="*/ 61 w 1068"/>
                <a:gd name="T17" fmla="*/ 101 h 1290"/>
                <a:gd name="T18" fmla="*/ 63 w 1068"/>
                <a:gd name="T19" fmla="*/ 104 h 1290"/>
                <a:gd name="T20" fmla="*/ 62 w 1068"/>
                <a:gd name="T21" fmla="*/ 108 h 1290"/>
                <a:gd name="T22" fmla="*/ 60 w 1068"/>
                <a:gd name="T23" fmla="*/ 111 h 1290"/>
                <a:gd name="T24" fmla="*/ 56 w 1068"/>
                <a:gd name="T25" fmla="*/ 111 h 1290"/>
                <a:gd name="T26" fmla="*/ 53 w 1068"/>
                <a:gd name="T27" fmla="*/ 110 h 1290"/>
                <a:gd name="T28" fmla="*/ 50 w 1068"/>
                <a:gd name="T29" fmla="*/ 109 h 1290"/>
                <a:gd name="T30" fmla="*/ 47 w 1068"/>
                <a:gd name="T31" fmla="*/ 110 h 1290"/>
                <a:gd name="T32" fmla="*/ 51 w 1068"/>
                <a:gd name="T33" fmla="*/ 104 h 1290"/>
                <a:gd name="T34" fmla="*/ 50 w 1068"/>
                <a:gd name="T35" fmla="*/ 95 h 1290"/>
                <a:gd name="T36" fmla="*/ 51 w 1068"/>
                <a:gd name="T37" fmla="*/ 90 h 1290"/>
                <a:gd name="T38" fmla="*/ 47 w 1068"/>
                <a:gd name="T39" fmla="*/ 84 h 1290"/>
                <a:gd name="T40" fmla="*/ 42 w 1068"/>
                <a:gd name="T41" fmla="*/ 78 h 1290"/>
                <a:gd name="T42" fmla="*/ 33 w 1068"/>
                <a:gd name="T43" fmla="*/ 73 h 1290"/>
                <a:gd name="T44" fmla="*/ 26 w 1068"/>
                <a:gd name="T45" fmla="*/ 68 h 1290"/>
                <a:gd name="T46" fmla="*/ 22 w 1068"/>
                <a:gd name="T47" fmla="*/ 63 h 1290"/>
                <a:gd name="T48" fmla="*/ 11 w 1068"/>
                <a:gd name="T49" fmla="*/ 67 h 1290"/>
                <a:gd name="T50" fmla="*/ 0 w 1068"/>
                <a:gd name="T51" fmla="*/ 68 h 1290"/>
                <a:gd name="T52" fmla="*/ 2 w 1068"/>
                <a:gd name="T53" fmla="*/ 59 h 1290"/>
                <a:gd name="T54" fmla="*/ 12 w 1068"/>
                <a:gd name="T55" fmla="*/ 55 h 1290"/>
                <a:gd name="T56" fmla="*/ 12 w 1068"/>
                <a:gd name="T57" fmla="*/ 51 h 1290"/>
                <a:gd name="T58" fmla="*/ 10 w 1068"/>
                <a:gd name="T59" fmla="*/ 47 h 1290"/>
                <a:gd name="T60" fmla="*/ 9 w 1068"/>
                <a:gd name="T61" fmla="*/ 42 h 1290"/>
                <a:gd name="T62" fmla="*/ 8 w 1068"/>
                <a:gd name="T63" fmla="*/ 38 h 1290"/>
                <a:gd name="T64" fmla="*/ 8 w 1068"/>
                <a:gd name="T65" fmla="*/ 29 h 1290"/>
                <a:gd name="T66" fmla="*/ 10 w 1068"/>
                <a:gd name="T67" fmla="*/ 18 h 1290"/>
                <a:gd name="T68" fmla="*/ 25 w 1068"/>
                <a:gd name="T69" fmla="*/ 12 h 1290"/>
                <a:gd name="T70" fmla="*/ 27 w 1068"/>
                <a:gd name="T71" fmla="*/ 4 h 1290"/>
                <a:gd name="T72" fmla="*/ 35 w 1068"/>
                <a:gd name="T73" fmla="*/ 6 h 1290"/>
                <a:gd name="T74" fmla="*/ 39 w 1068"/>
                <a:gd name="T75" fmla="*/ 8 h 1290"/>
                <a:gd name="T76" fmla="*/ 41 w 1068"/>
                <a:gd name="T77" fmla="*/ 3 h 1290"/>
                <a:gd name="T78" fmla="*/ 45 w 1068"/>
                <a:gd name="T79" fmla="*/ 0 h 1290"/>
                <a:gd name="T80" fmla="*/ 51 w 1068"/>
                <a:gd name="T81" fmla="*/ 0 h 1290"/>
                <a:gd name="T82" fmla="*/ 56 w 1068"/>
                <a:gd name="T83" fmla="*/ 4 h 1290"/>
                <a:gd name="T84" fmla="*/ 62 w 1068"/>
                <a:gd name="T85" fmla="*/ 12 h 1290"/>
                <a:gd name="T86" fmla="*/ 58 w 1068"/>
                <a:gd name="T87" fmla="*/ 17 h 1290"/>
                <a:gd name="T88" fmla="*/ 60 w 1068"/>
                <a:gd name="T89" fmla="*/ 18 h 1290"/>
                <a:gd name="T90" fmla="*/ 64 w 1068"/>
                <a:gd name="T91" fmla="*/ 16 h 1290"/>
                <a:gd name="T92" fmla="*/ 68 w 1068"/>
                <a:gd name="T93" fmla="*/ 18 h 1290"/>
                <a:gd name="T94" fmla="*/ 71 w 1068"/>
                <a:gd name="T95" fmla="*/ 27 h 1290"/>
                <a:gd name="T96" fmla="*/ 74 w 1068"/>
                <a:gd name="T97" fmla="*/ 30 h 1290"/>
                <a:gd name="T98" fmla="*/ 82 w 1068"/>
                <a:gd name="T99" fmla="*/ 30 h 1290"/>
                <a:gd name="T100" fmla="*/ 87 w 1068"/>
                <a:gd name="T101" fmla="*/ 35 h 1290"/>
                <a:gd name="T102" fmla="*/ 85 w 1068"/>
                <a:gd name="T103" fmla="*/ 42 h 1290"/>
                <a:gd name="T104" fmla="*/ 81 w 1068"/>
                <a:gd name="T105" fmla="*/ 46 h 1290"/>
                <a:gd name="T106" fmla="*/ 86 w 1068"/>
                <a:gd name="T107" fmla="*/ 50 h 1290"/>
                <a:gd name="T108" fmla="*/ 89 w 1068"/>
                <a:gd name="T109" fmla="*/ 58 h 1290"/>
                <a:gd name="T110" fmla="*/ 92 w 1068"/>
                <a:gd name="T111" fmla="*/ 61 h 1290"/>
                <a:gd name="T112" fmla="*/ 86 w 1068"/>
                <a:gd name="T113" fmla="*/ 66 h 1290"/>
                <a:gd name="T114" fmla="*/ 85 w 1068"/>
                <a:gd name="T115" fmla="*/ 70 h 129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68"/>
                <a:gd name="T175" fmla="*/ 0 h 1290"/>
                <a:gd name="T176" fmla="*/ 1068 w 1068"/>
                <a:gd name="T177" fmla="*/ 1290 h 129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68" h="1290">
                  <a:moveTo>
                    <a:pt x="978" y="804"/>
                  </a:moveTo>
                  <a:lnTo>
                    <a:pt x="972" y="810"/>
                  </a:lnTo>
                  <a:lnTo>
                    <a:pt x="966" y="810"/>
                  </a:lnTo>
                  <a:lnTo>
                    <a:pt x="966" y="816"/>
                  </a:lnTo>
                  <a:lnTo>
                    <a:pt x="936" y="828"/>
                  </a:lnTo>
                  <a:lnTo>
                    <a:pt x="924" y="822"/>
                  </a:lnTo>
                  <a:lnTo>
                    <a:pt x="912" y="822"/>
                  </a:lnTo>
                  <a:lnTo>
                    <a:pt x="906" y="828"/>
                  </a:lnTo>
                  <a:lnTo>
                    <a:pt x="900" y="828"/>
                  </a:lnTo>
                  <a:lnTo>
                    <a:pt x="900" y="822"/>
                  </a:lnTo>
                  <a:lnTo>
                    <a:pt x="894" y="822"/>
                  </a:lnTo>
                  <a:lnTo>
                    <a:pt x="888" y="828"/>
                  </a:lnTo>
                  <a:lnTo>
                    <a:pt x="882" y="834"/>
                  </a:lnTo>
                  <a:lnTo>
                    <a:pt x="876" y="834"/>
                  </a:lnTo>
                  <a:lnTo>
                    <a:pt x="870" y="840"/>
                  </a:lnTo>
                  <a:lnTo>
                    <a:pt x="864" y="840"/>
                  </a:lnTo>
                  <a:lnTo>
                    <a:pt x="864" y="846"/>
                  </a:lnTo>
                  <a:lnTo>
                    <a:pt x="858" y="846"/>
                  </a:lnTo>
                  <a:lnTo>
                    <a:pt x="852" y="846"/>
                  </a:lnTo>
                  <a:lnTo>
                    <a:pt x="852" y="858"/>
                  </a:lnTo>
                  <a:lnTo>
                    <a:pt x="846" y="864"/>
                  </a:lnTo>
                  <a:lnTo>
                    <a:pt x="840" y="870"/>
                  </a:lnTo>
                  <a:lnTo>
                    <a:pt x="834" y="870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34" y="876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10" y="894"/>
                  </a:lnTo>
                  <a:lnTo>
                    <a:pt x="810" y="900"/>
                  </a:lnTo>
                  <a:lnTo>
                    <a:pt x="804" y="900"/>
                  </a:lnTo>
                  <a:lnTo>
                    <a:pt x="798" y="900"/>
                  </a:lnTo>
                  <a:lnTo>
                    <a:pt x="798" y="906"/>
                  </a:lnTo>
                  <a:lnTo>
                    <a:pt x="792" y="906"/>
                  </a:lnTo>
                  <a:lnTo>
                    <a:pt x="792" y="912"/>
                  </a:lnTo>
                  <a:lnTo>
                    <a:pt x="792" y="924"/>
                  </a:lnTo>
                  <a:lnTo>
                    <a:pt x="786" y="930"/>
                  </a:lnTo>
                  <a:lnTo>
                    <a:pt x="774" y="942"/>
                  </a:lnTo>
                  <a:lnTo>
                    <a:pt x="774" y="948"/>
                  </a:lnTo>
                  <a:lnTo>
                    <a:pt x="768" y="954"/>
                  </a:lnTo>
                  <a:lnTo>
                    <a:pt x="762" y="954"/>
                  </a:lnTo>
                  <a:lnTo>
                    <a:pt x="750" y="972"/>
                  </a:lnTo>
                  <a:lnTo>
                    <a:pt x="720" y="978"/>
                  </a:lnTo>
                  <a:lnTo>
                    <a:pt x="714" y="978"/>
                  </a:lnTo>
                  <a:lnTo>
                    <a:pt x="708" y="978"/>
                  </a:lnTo>
                  <a:lnTo>
                    <a:pt x="702" y="990"/>
                  </a:lnTo>
                  <a:lnTo>
                    <a:pt x="696" y="990"/>
                  </a:lnTo>
                  <a:lnTo>
                    <a:pt x="696" y="1008"/>
                  </a:lnTo>
                  <a:lnTo>
                    <a:pt x="690" y="1008"/>
                  </a:lnTo>
                  <a:lnTo>
                    <a:pt x="690" y="1014"/>
                  </a:lnTo>
                  <a:lnTo>
                    <a:pt x="684" y="1032"/>
                  </a:lnTo>
                  <a:lnTo>
                    <a:pt x="690" y="1050"/>
                  </a:lnTo>
                  <a:lnTo>
                    <a:pt x="690" y="1062"/>
                  </a:lnTo>
                  <a:lnTo>
                    <a:pt x="690" y="1068"/>
                  </a:lnTo>
                  <a:lnTo>
                    <a:pt x="690" y="1074"/>
                  </a:lnTo>
                  <a:lnTo>
                    <a:pt x="684" y="1074"/>
                  </a:lnTo>
                  <a:lnTo>
                    <a:pt x="684" y="1080"/>
                  </a:lnTo>
                  <a:lnTo>
                    <a:pt x="678" y="1086"/>
                  </a:lnTo>
                  <a:lnTo>
                    <a:pt x="678" y="1104"/>
                  </a:lnTo>
                  <a:lnTo>
                    <a:pt x="678" y="1110"/>
                  </a:lnTo>
                  <a:lnTo>
                    <a:pt x="678" y="1116"/>
                  </a:lnTo>
                  <a:lnTo>
                    <a:pt x="684" y="1116"/>
                  </a:lnTo>
                  <a:lnTo>
                    <a:pt x="678" y="1128"/>
                  </a:lnTo>
                  <a:lnTo>
                    <a:pt x="684" y="1128"/>
                  </a:lnTo>
                  <a:lnTo>
                    <a:pt x="690" y="1134"/>
                  </a:lnTo>
                  <a:lnTo>
                    <a:pt x="690" y="1140"/>
                  </a:lnTo>
                  <a:lnTo>
                    <a:pt x="696" y="1140"/>
                  </a:lnTo>
                  <a:lnTo>
                    <a:pt x="696" y="1146"/>
                  </a:lnTo>
                  <a:lnTo>
                    <a:pt x="696" y="1152"/>
                  </a:lnTo>
                  <a:lnTo>
                    <a:pt x="702" y="1152"/>
                  </a:lnTo>
                  <a:lnTo>
                    <a:pt x="708" y="1152"/>
                  </a:lnTo>
                  <a:lnTo>
                    <a:pt x="714" y="1158"/>
                  </a:lnTo>
                  <a:lnTo>
                    <a:pt x="714" y="1164"/>
                  </a:lnTo>
                  <a:lnTo>
                    <a:pt x="720" y="1170"/>
                  </a:lnTo>
                  <a:lnTo>
                    <a:pt x="720" y="1176"/>
                  </a:lnTo>
                  <a:lnTo>
                    <a:pt x="720" y="1182"/>
                  </a:lnTo>
                  <a:lnTo>
                    <a:pt x="726" y="1188"/>
                  </a:lnTo>
                  <a:lnTo>
                    <a:pt x="726" y="1194"/>
                  </a:lnTo>
                  <a:lnTo>
                    <a:pt x="732" y="1194"/>
                  </a:lnTo>
                  <a:lnTo>
                    <a:pt x="732" y="1200"/>
                  </a:lnTo>
                  <a:lnTo>
                    <a:pt x="738" y="1212"/>
                  </a:lnTo>
                  <a:lnTo>
                    <a:pt x="732" y="1218"/>
                  </a:lnTo>
                  <a:lnTo>
                    <a:pt x="732" y="1224"/>
                  </a:lnTo>
                  <a:lnTo>
                    <a:pt x="726" y="1230"/>
                  </a:lnTo>
                  <a:lnTo>
                    <a:pt x="720" y="1230"/>
                  </a:lnTo>
                  <a:lnTo>
                    <a:pt x="720" y="1236"/>
                  </a:lnTo>
                  <a:lnTo>
                    <a:pt x="720" y="1242"/>
                  </a:lnTo>
                  <a:lnTo>
                    <a:pt x="720" y="1248"/>
                  </a:lnTo>
                  <a:lnTo>
                    <a:pt x="714" y="1248"/>
                  </a:lnTo>
                  <a:lnTo>
                    <a:pt x="714" y="1254"/>
                  </a:lnTo>
                  <a:lnTo>
                    <a:pt x="708" y="1260"/>
                  </a:lnTo>
                  <a:lnTo>
                    <a:pt x="702" y="1272"/>
                  </a:lnTo>
                  <a:lnTo>
                    <a:pt x="696" y="1272"/>
                  </a:lnTo>
                  <a:lnTo>
                    <a:pt x="696" y="1278"/>
                  </a:lnTo>
                  <a:lnTo>
                    <a:pt x="690" y="1284"/>
                  </a:lnTo>
                  <a:lnTo>
                    <a:pt x="690" y="1290"/>
                  </a:lnTo>
                  <a:lnTo>
                    <a:pt x="684" y="1290"/>
                  </a:lnTo>
                  <a:lnTo>
                    <a:pt x="660" y="1284"/>
                  </a:lnTo>
                  <a:lnTo>
                    <a:pt x="660" y="1278"/>
                  </a:lnTo>
                  <a:lnTo>
                    <a:pt x="654" y="1272"/>
                  </a:lnTo>
                  <a:lnTo>
                    <a:pt x="648" y="1272"/>
                  </a:lnTo>
                  <a:lnTo>
                    <a:pt x="642" y="1272"/>
                  </a:lnTo>
                  <a:lnTo>
                    <a:pt x="642" y="1266"/>
                  </a:lnTo>
                  <a:lnTo>
                    <a:pt x="636" y="1266"/>
                  </a:lnTo>
                  <a:lnTo>
                    <a:pt x="630" y="1266"/>
                  </a:lnTo>
                  <a:lnTo>
                    <a:pt x="624" y="1266"/>
                  </a:lnTo>
                  <a:lnTo>
                    <a:pt x="624" y="1260"/>
                  </a:lnTo>
                  <a:lnTo>
                    <a:pt x="618" y="1260"/>
                  </a:lnTo>
                  <a:lnTo>
                    <a:pt x="612" y="1260"/>
                  </a:lnTo>
                  <a:lnTo>
                    <a:pt x="606" y="1260"/>
                  </a:lnTo>
                  <a:lnTo>
                    <a:pt x="600" y="1260"/>
                  </a:lnTo>
                  <a:lnTo>
                    <a:pt x="600" y="1254"/>
                  </a:lnTo>
                  <a:lnTo>
                    <a:pt x="594" y="1254"/>
                  </a:lnTo>
                  <a:lnTo>
                    <a:pt x="588" y="1248"/>
                  </a:lnTo>
                  <a:lnTo>
                    <a:pt x="588" y="1254"/>
                  </a:lnTo>
                  <a:lnTo>
                    <a:pt x="582" y="1254"/>
                  </a:lnTo>
                  <a:lnTo>
                    <a:pt x="582" y="1248"/>
                  </a:lnTo>
                  <a:lnTo>
                    <a:pt x="576" y="1248"/>
                  </a:lnTo>
                  <a:lnTo>
                    <a:pt x="576" y="1254"/>
                  </a:lnTo>
                  <a:lnTo>
                    <a:pt x="570" y="1248"/>
                  </a:lnTo>
                  <a:lnTo>
                    <a:pt x="564" y="1248"/>
                  </a:lnTo>
                  <a:lnTo>
                    <a:pt x="564" y="1254"/>
                  </a:lnTo>
                  <a:lnTo>
                    <a:pt x="558" y="1254"/>
                  </a:lnTo>
                  <a:lnTo>
                    <a:pt x="552" y="1254"/>
                  </a:lnTo>
                  <a:lnTo>
                    <a:pt x="552" y="1260"/>
                  </a:lnTo>
                  <a:lnTo>
                    <a:pt x="546" y="1260"/>
                  </a:lnTo>
                  <a:lnTo>
                    <a:pt x="540" y="1260"/>
                  </a:lnTo>
                  <a:lnTo>
                    <a:pt x="540" y="1254"/>
                  </a:lnTo>
                  <a:lnTo>
                    <a:pt x="534" y="1254"/>
                  </a:lnTo>
                  <a:lnTo>
                    <a:pt x="528" y="1224"/>
                  </a:lnTo>
                  <a:lnTo>
                    <a:pt x="534" y="1212"/>
                  </a:lnTo>
                  <a:lnTo>
                    <a:pt x="546" y="1206"/>
                  </a:lnTo>
                  <a:lnTo>
                    <a:pt x="582" y="1206"/>
                  </a:lnTo>
                  <a:lnTo>
                    <a:pt x="588" y="1188"/>
                  </a:lnTo>
                  <a:lnTo>
                    <a:pt x="582" y="1188"/>
                  </a:lnTo>
                  <a:lnTo>
                    <a:pt x="582" y="1182"/>
                  </a:lnTo>
                  <a:lnTo>
                    <a:pt x="576" y="1176"/>
                  </a:lnTo>
                  <a:lnTo>
                    <a:pt x="558" y="1128"/>
                  </a:lnTo>
                  <a:lnTo>
                    <a:pt x="558" y="1122"/>
                  </a:lnTo>
                  <a:lnTo>
                    <a:pt x="576" y="1098"/>
                  </a:lnTo>
                  <a:lnTo>
                    <a:pt x="576" y="1092"/>
                  </a:lnTo>
                  <a:lnTo>
                    <a:pt x="582" y="1092"/>
                  </a:lnTo>
                  <a:lnTo>
                    <a:pt x="582" y="1086"/>
                  </a:lnTo>
                  <a:lnTo>
                    <a:pt x="582" y="1080"/>
                  </a:lnTo>
                  <a:lnTo>
                    <a:pt x="582" y="1074"/>
                  </a:lnTo>
                  <a:lnTo>
                    <a:pt x="588" y="1074"/>
                  </a:lnTo>
                  <a:lnTo>
                    <a:pt x="588" y="1062"/>
                  </a:lnTo>
                  <a:lnTo>
                    <a:pt x="588" y="1056"/>
                  </a:lnTo>
                  <a:lnTo>
                    <a:pt x="588" y="1044"/>
                  </a:lnTo>
                  <a:lnTo>
                    <a:pt x="588" y="1038"/>
                  </a:lnTo>
                  <a:lnTo>
                    <a:pt x="588" y="1032"/>
                  </a:lnTo>
                  <a:lnTo>
                    <a:pt x="582" y="1026"/>
                  </a:lnTo>
                  <a:lnTo>
                    <a:pt x="582" y="1020"/>
                  </a:lnTo>
                  <a:lnTo>
                    <a:pt x="582" y="1008"/>
                  </a:lnTo>
                  <a:lnTo>
                    <a:pt x="576" y="990"/>
                  </a:lnTo>
                  <a:lnTo>
                    <a:pt x="570" y="972"/>
                  </a:lnTo>
                  <a:lnTo>
                    <a:pt x="552" y="972"/>
                  </a:lnTo>
                  <a:lnTo>
                    <a:pt x="540" y="960"/>
                  </a:lnTo>
                  <a:lnTo>
                    <a:pt x="534" y="954"/>
                  </a:lnTo>
                  <a:lnTo>
                    <a:pt x="534" y="948"/>
                  </a:lnTo>
                  <a:lnTo>
                    <a:pt x="516" y="948"/>
                  </a:lnTo>
                  <a:lnTo>
                    <a:pt x="522" y="936"/>
                  </a:lnTo>
                  <a:lnTo>
                    <a:pt x="522" y="930"/>
                  </a:lnTo>
                  <a:lnTo>
                    <a:pt x="504" y="918"/>
                  </a:lnTo>
                  <a:lnTo>
                    <a:pt x="492" y="906"/>
                  </a:lnTo>
                  <a:lnTo>
                    <a:pt x="486" y="894"/>
                  </a:lnTo>
                  <a:lnTo>
                    <a:pt x="468" y="876"/>
                  </a:lnTo>
                  <a:lnTo>
                    <a:pt x="450" y="876"/>
                  </a:lnTo>
                  <a:lnTo>
                    <a:pt x="414" y="882"/>
                  </a:lnTo>
                  <a:lnTo>
                    <a:pt x="402" y="870"/>
                  </a:lnTo>
                  <a:lnTo>
                    <a:pt x="390" y="864"/>
                  </a:lnTo>
                  <a:lnTo>
                    <a:pt x="384" y="852"/>
                  </a:lnTo>
                  <a:lnTo>
                    <a:pt x="378" y="840"/>
                  </a:lnTo>
                  <a:lnTo>
                    <a:pt x="378" y="834"/>
                  </a:lnTo>
                  <a:lnTo>
                    <a:pt x="360" y="822"/>
                  </a:lnTo>
                  <a:lnTo>
                    <a:pt x="342" y="828"/>
                  </a:lnTo>
                  <a:lnTo>
                    <a:pt x="324" y="816"/>
                  </a:lnTo>
                  <a:lnTo>
                    <a:pt x="318" y="816"/>
                  </a:lnTo>
                  <a:lnTo>
                    <a:pt x="306" y="810"/>
                  </a:lnTo>
                  <a:lnTo>
                    <a:pt x="306" y="804"/>
                  </a:lnTo>
                  <a:lnTo>
                    <a:pt x="300" y="804"/>
                  </a:lnTo>
                  <a:lnTo>
                    <a:pt x="300" y="780"/>
                  </a:lnTo>
                  <a:lnTo>
                    <a:pt x="300" y="774"/>
                  </a:lnTo>
                  <a:lnTo>
                    <a:pt x="306" y="774"/>
                  </a:lnTo>
                  <a:lnTo>
                    <a:pt x="312" y="756"/>
                  </a:lnTo>
                  <a:lnTo>
                    <a:pt x="312" y="732"/>
                  </a:lnTo>
                  <a:lnTo>
                    <a:pt x="300" y="720"/>
                  </a:lnTo>
                  <a:lnTo>
                    <a:pt x="288" y="702"/>
                  </a:lnTo>
                  <a:lnTo>
                    <a:pt x="276" y="702"/>
                  </a:lnTo>
                  <a:lnTo>
                    <a:pt x="258" y="714"/>
                  </a:lnTo>
                  <a:lnTo>
                    <a:pt x="246" y="726"/>
                  </a:lnTo>
                  <a:lnTo>
                    <a:pt x="222" y="726"/>
                  </a:lnTo>
                  <a:lnTo>
                    <a:pt x="192" y="726"/>
                  </a:lnTo>
                  <a:lnTo>
                    <a:pt x="174" y="738"/>
                  </a:lnTo>
                  <a:lnTo>
                    <a:pt x="162" y="750"/>
                  </a:lnTo>
                  <a:lnTo>
                    <a:pt x="144" y="762"/>
                  </a:lnTo>
                  <a:lnTo>
                    <a:pt x="138" y="768"/>
                  </a:lnTo>
                  <a:lnTo>
                    <a:pt x="126" y="774"/>
                  </a:lnTo>
                  <a:lnTo>
                    <a:pt x="114" y="780"/>
                  </a:lnTo>
                  <a:lnTo>
                    <a:pt x="108" y="786"/>
                  </a:lnTo>
                  <a:lnTo>
                    <a:pt x="102" y="786"/>
                  </a:lnTo>
                  <a:lnTo>
                    <a:pt x="54" y="786"/>
                  </a:lnTo>
                  <a:lnTo>
                    <a:pt x="48" y="792"/>
                  </a:lnTo>
                  <a:lnTo>
                    <a:pt x="36" y="798"/>
                  </a:lnTo>
                  <a:lnTo>
                    <a:pt x="18" y="792"/>
                  </a:lnTo>
                  <a:lnTo>
                    <a:pt x="6" y="780"/>
                  </a:lnTo>
                  <a:lnTo>
                    <a:pt x="6" y="768"/>
                  </a:lnTo>
                  <a:lnTo>
                    <a:pt x="0" y="756"/>
                  </a:lnTo>
                  <a:lnTo>
                    <a:pt x="0" y="738"/>
                  </a:lnTo>
                  <a:lnTo>
                    <a:pt x="6" y="702"/>
                  </a:lnTo>
                  <a:lnTo>
                    <a:pt x="24" y="702"/>
                  </a:lnTo>
                  <a:lnTo>
                    <a:pt x="24" y="696"/>
                  </a:lnTo>
                  <a:lnTo>
                    <a:pt x="24" y="690"/>
                  </a:lnTo>
                  <a:lnTo>
                    <a:pt x="24" y="678"/>
                  </a:lnTo>
                  <a:lnTo>
                    <a:pt x="24" y="672"/>
                  </a:lnTo>
                  <a:lnTo>
                    <a:pt x="30" y="672"/>
                  </a:lnTo>
                  <a:lnTo>
                    <a:pt x="30" y="666"/>
                  </a:lnTo>
                  <a:lnTo>
                    <a:pt x="36" y="660"/>
                  </a:lnTo>
                  <a:lnTo>
                    <a:pt x="84" y="648"/>
                  </a:lnTo>
                  <a:lnTo>
                    <a:pt x="126" y="642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32" y="618"/>
                  </a:lnTo>
                  <a:lnTo>
                    <a:pt x="138" y="612"/>
                  </a:lnTo>
                  <a:lnTo>
                    <a:pt x="138" y="606"/>
                  </a:lnTo>
                  <a:lnTo>
                    <a:pt x="138" y="600"/>
                  </a:lnTo>
                  <a:lnTo>
                    <a:pt x="132" y="600"/>
                  </a:lnTo>
                  <a:lnTo>
                    <a:pt x="132" y="594"/>
                  </a:lnTo>
                  <a:lnTo>
                    <a:pt x="132" y="588"/>
                  </a:lnTo>
                  <a:lnTo>
                    <a:pt x="132" y="582"/>
                  </a:lnTo>
                  <a:lnTo>
                    <a:pt x="132" y="576"/>
                  </a:lnTo>
                  <a:lnTo>
                    <a:pt x="126" y="570"/>
                  </a:lnTo>
                  <a:lnTo>
                    <a:pt x="120" y="564"/>
                  </a:lnTo>
                  <a:lnTo>
                    <a:pt x="120" y="558"/>
                  </a:lnTo>
                  <a:lnTo>
                    <a:pt x="120" y="552"/>
                  </a:lnTo>
                  <a:lnTo>
                    <a:pt x="114" y="552"/>
                  </a:lnTo>
                  <a:lnTo>
                    <a:pt x="114" y="546"/>
                  </a:lnTo>
                  <a:lnTo>
                    <a:pt x="114" y="540"/>
                  </a:lnTo>
                  <a:lnTo>
                    <a:pt x="108" y="534"/>
                  </a:lnTo>
                  <a:lnTo>
                    <a:pt x="108" y="528"/>
                  </a:lnTo>
                  <a:lnTo>
                    <a:pt x="114" y="522"/>
                  </a:lnTo>
                  <a:lnTo>
                    <a:pt x="108" y="516"/>
                  </a:lnTo>
                  <a:lnTo>
                    <a:pt x="108" y="498"/>
                  </a:lnTo>
                  <a:lnTo>
                    <a:pt x="108" y="492"/>
                  </a:lnTo>
                  <a:lnTo>
                    <a:pt x="108" y="486"/>
                  </a:lnTo>
                  <a:lnTo>
                    <a:pt x="108" y="480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08" y="462"/>
                  </a:lnTo>
                  <a:lnTo>
                    <a:pt x="102" y="456"/>
                  </a:lnTo>
                  <a:lnTo>
                    <a:pt x="102" y="444"/>
                  </a:lnTo>
                  <a:lnTo>
                    <a:pt x="96" y="444"/>
                  </a:lnTo>
                  <a:lnTo>
                    <a:pt x="90" y="432"/>
                  </a:lnTo>
                  <a:lnTo>
                    <a:pt x="96" y="432"/>
                  </a:lnTo>
                  <a:lnTo>
                    <a:pt x="96" y="408"/>
                  </a:lnTo>
                  <a:lnTo>
                    <a:pt x="96" y="396"/>
                  </a:lnTo>
                  <a:lnTo>
                    <a:pt x="96" y="360"/>
                  </a:lnTo>
                  <a:lnTo>
                    <a:pt x="96" y="354"/>
                  </a:lnTo>
                  <a:lnTo>
                    <a:pt x="102" y="354"/>
                  </a:lnTo>
                  <a:lnTo>
                    <a:pt x="102" y="348"/>
                  </a:lnTo>
                  <a:lnTo>
                    <a:pt x="96" y="330"/>
                  </a:lnTo>
                  <a:lnTo>
                    <a:pt x="90" y="306"/>
                  </a:lnTo>
                  <a:lnTo>
                    <a:pt x="84" y="288"/>
                  </a:lnTo>
                  <a:lnTo>
                    <a:pt x="84" y="264"/>
                  </a:lnTo>
                  <a:lnTo>
                    <a:pt x="90" y="240"/>
                  </a:lnTo>
                  <a:lnTo>
                    <a:pt x="96" y="222"/>
                  </a:lnTo>
                  <a:lnTo>
                    <a:pt x="102" y="222"/>
                  </a:lnTo>
                  <a:lnTo>
                    <a:pt x="108" y="210"/>
                  </a:lnTo>
                  <a:lnTo>
                    <a:pt x="114" y="210"/>
                  </a:lnTo>
                  <a:lnTo>
                    <a:pt x="126" y="198"/>
                  </a:lnTo>
                  <a:lnTo>
                    <a:pt x="156" y="192"/>
                  </a:lnTo>
                  <a:lnTo>
                    <a:pt x="174" y="186"/>
                  </a:lnTo>
                  <a:lnTo>
                    <a:pt x="204" y="174"/>
                  </a:lnTo>
                  <a:lnTo>
                    <a:pt x="222" y="168"/>
                  </a:lnTo>
                  <a:lnTo>
                    <a:pt x="234" y="162"/>
                  </a:lnTo>
                  <a:lnTo>
                    <a:pt x="246" y="156"/>
                  </a:lnTo>
                  <a:lnTo>
                    <a:pt x="288" y="144"/>
                  </a:lnTo>
                  <a:lnTo>
                    <a:pt x="288" y="132"/>
                  </a:lnTo>
                  <a:lnTo>
                    <a:pt x="294" y="120"/>
                  </a:lnTo>
                  <a:lnTo>
                    <a:pt x="300" y="108"/>
                  </a:lnTo>
                  <a:lnTo>
                    <a:pt x="306" y="90"/>
                  </a:lnTo>
                  <a:lnTo>
                    <a:pt x="312" y="78"/>
                  </a:lnTo>
                  <a:lnTo>
                    <a:pt x="324" y="78"/>
                  </a:lnTo>
                  <a:lnTo>
                    <a:pt x="324" y="54"/>
                  </a:lnTo>
                  <a:lnTo>
                    <a:pt x="318" y="48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60" y="6"/>
                  </a:lnTo>
                  <a:lnTo>
                    <a:pt x="384" y="0"/>
                  </a:lnTo>
                  <a:lnTo>
                    <a:pt x="390" y="6"/>
                  </a:lnTo>
                  <a:lnTo>
                    <a:pt x="390" y="18"/>
                  </a:lnTo>
                  <a:lnTo>
                    <a:pt x="390" y="54"/>
                  </a:lnTo>
                  <a:lnTo>
                    <a:pt x="396" y="66"/>
                  </a:lnTo>
                  <a:lnTo>
                    <a:pt x="414" y="84"/>
                  </a:lnTo>
                  <a:lnTo>
                    <a:pt x="426" y="90"/>
                  </a:lnTo>
                  <a:lnTo>
                    <a:pt x="432" y="96"/>
                  </a:lnTo>
                  <a:lnTo>
                    <a:pt x="426" y="102"/>
                  </a:lnTo>
                  <a:lnTo>
                    <a:pt x="438" y="102"/>
                  </a:lnTo>
                  <a:lnTo>
                    <a:pt x="444" y="108"/>
                  </a:lnTo>
                  <a:lnTo>
                    <a:pt x="444" y="102"/>
                  </a:lnTo>
                  <a:lnTo>
                    <a:pt x="450" y="90"/>
                  </a:lnTo>
                  <a:lnTo>
                    <a:pt x="450" y="84"/>
                  </a:lnTo>
                  <a:lnTo>
                    <a:pt x="450" y="78"/>
                  </a:lnTo>
                  <a:lnTo>
                    <a:pt x="456" y="72"/>
                  </a:lnTo>
                  <a:lnTo>
                    <a:pt x="462" y="66"/>
                  </a:lnTo>
                  <a:lnTo>
                    <a:pt x="462" y="60"/>
                  </a:lnTo>
                  <a:lnTo>
                    <a:pt x="462" y="54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74" y="24"/>
                  </a:lnTo>
                  <a:lnTo>
                    <a:pt x="480" y="18"/>
                  </a:lnTo>
                  <a:lnTo>
                    <a:pt x="486" y="12"/>
                  </a:lnTo>
                  <a:lnTo>
                    <a:pt x="492" y="12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2" y="6"/>
                  </a:lnTo>
                  <a:lnTo>
                    <a:pt x="534" y="6"/>
                  </a:lnTo>
                  <a:lnTo>
                    <a:pt x="540" y="6"/>
                  </a:lnTo>
                  <a:lnTo>
                    <a:pt x="546" y="6"/>
                  </a:lnTo>
                  <a:lnTo>
                    <a:pt x="564" y="0"/>
                  </a:lnTo>
                  <a:lnTo>
                    <a:pt x="570" y="0"/>
                  </a:lnTo>
                  <a:lnTo>
                    <a:pt x="576" y="6"/>
                  </a:lnTo>
                  <a:lnTo>
                    <a:pt x="582" y="6"/>
                  </a:lnTo>
                  <a:lnTo>
                    <a:pt x="594" y="6"/>
                  </a:lnTo>
                  <a:lnTo>
                    <a:pt x="600" y="6"/>
                  </a:lnTo>
                  <a:lnTo>
                    <a:pt x="606" y="6"/>
                  </a:lnTo>
                  <a:lnTo>
                    <a:pt x="624" y="0"/>
                  </a:lnTo>
                  <a:lnTo>
                    <a:pt x="636" y="0"/>
                  </a:lnTo>
                  <a:lnTo>
                    <a:pt x="636" y="6"/>
                  </a:lnTo>
                  <a:lnTo>
                    <a:pt x="654" y="18"/>
                  </a:lnTo>
                  <a:lnTo>
                    <a:pt x="654" y="30"/>
                  </a:lnTo>
                  <a:lnTo>
                    <a:pt x="642" y="42"/>
                  </a:lnTo>
                  <a:lnTo>
                    <a:pt x="630" y="66"/>
                  </a:lnTo>
                  <a:lnTo>
                    <a:pt x="636" y="84"/>
                  </a:lnTo>
                  <a:lnTo>
                    <a:pt x="636" y="96"/>
                  </a:lnTo>
                  <a:lnTo>
                    <a:pt x="648" y="102"/>
                  </a:lnTo>
                  <a:lnTo>
                    <a:pt x="672" y="114"/>
                  </a:lnTo>
                  <a:lnTo>
                    <a:pt x="702" y="120"/>
                  </a:lnTo>
                  <a:lnTo>
                    <a:pt x="714" y="126"/>
                  </a:lnTo>
                  <a:lnTo>
                    <a:pt x="720" y="144"/>
                  </a:lnTo>
                  <a:lnTo>
                    <a:pt x="720" y="156"/>
                  </a:lnTo>
                  <a:lnTo>
                    <a:pt x="708" y="156"/>
                  </a:lnTo>
                  <a:lnTo>
                    <a:pt x="702" y="162"/>
                  </a:lnTo>
                  <a:lnTo>
                    <a:pt x="702" y="174"/>
                  </a:lnTo>
                  <a:lnTo>
                    <a:pt x="696" y="174"/>
                  </a:lnTo>
                  <a:lnTo>
                    <a:pt x="690" y="180"/>
                  </a:lnTo>
                  <a:lnTo>
                    <a:pt x="678" y="186"/>
                  </a:lnTo>
                  <a:lnTo>
                    <a:pt x="672" y="192"/>
                  </a:lnTo>
                  <a:lnTo>
                    <a:pt x="654" y="210"/>
                  </a:lnTo>
                  <a:lnTo>
                    <a:pt x="654" y="216"/>
                  </a:lnTo>
                  <a:lnTo>
                    <a:pt x="648" y="246"/>
                  </a:lnTo>
                  <a:lnTo>
                    <a:pt x="660" y="246"/>
                  </a:lnTo>
                  <a:lnTo>
                    <a:pt x="666" y="234"/>
                  </a:lnTo>
                  <a:lnTo>
                    <a:pt x="678" y="240"/>
                  </a:lnTo>
                  <a:lnTo>
                    <a:pt x="684" y="228"/>
                  </a:lnTo>
                  <a:lnTo>
                    <a:pt x="690" y="210"/>
                  </a:lnTo>
                  <a:lnTo>
                    <a:pt x="696" y="204"/>
                  </a:lnTo>
                  <a:lnTo>
                    <a:pt x="702" y="204"/>
                  </a:lnTo>
                  <a:lnTo>
                    <a:pt x="708" y="192"/>
                  </a:lnTo>
                  <a:lnTo>
                    <a:pt x="714" y="192"/>
                  </a:lnTo>
                  <a:lnTo>
                    <a:pt x="714" y="186"/>
                  </a:lnTo>
                  <a:lnTo>
                    <a:pt x="726" y="186"/>
                  </a:lnTo>
                  <a:lnTo>
                    <a:pt x="732" y="186"/>
                  </a:lnTo>
                  <a:lnTo>
                    <a:pt x="738" y="186"/>
                  </a:lnTo>
                  <a:lnTo>
                    <a:pt x="744" y="216"/>
                  </a:lnTo>
                  <a:lnTo>
                    <a:pt x="750" y="210"/>
                  </a:lnTo>
                  <a:lnTo>
                    <a:pt x="750" y="204"/>
                  </a:lnTo>
                  <a:lnTo>
                    <a:pt x="756" y="192"/>
                  </a:lnTo>
                  <a:lnTo>
                    <a:pt x="762" y="192"/>
                  </a:lnTo>
                  <a:lnTo>
                    <a:pt x="768" y="192"/>
                  </a:lnTo>
                  <a:lnTo>
                    <a:pt x="780" y="186"/>
                  </a:lnTo>
                  <a:lnTo>
                    <a:pt x="786" y="204"/>
                  </a:lnTo>
                  <a:lnTo>
                    <a:pt x="774" y="210"/>
                  </a:lnTo>
                  <a:lnTo>
                    <a:pt x="774" y="234"/>
                  </a:lnTo>
                  <a:lnTo>
                    <a:pt x="780" y="246"/>
                  </a:lnTo>
                  <a:lnTo>
                    <a:pt x="804" y="264"/>
                  </a:lnTo>
                  <a:lnTo>
                    <a:pt x="816" y="276"/>
                  </a:lnTo>
                  <a:lnTo>
                    <a:pt x="822" y="288"/>
                  </a:lnTo>
                  <a:lnTo>
                    <a:pt x="822" y="312"/>
                  </a:lnTo>
                  <a:lnTo>
                    <a:pt x="816" y="312"/>
                  </a:lnTo>
                  <a:lnTo>
                    <a:pt x="810" y="318"/>
                  </a:lnTo>
                  <a:lnTo>
                    <a:pt x="810" y="348"/>
                  </a:lnTo>
                  <a:lnTo>
                    <a:pt x="816" y="348"/>
                  </a:lnTo>
                  <a:lnTo>
                    <a:pt x="816" y="342"/>
                  </a:lnTo>
                  <a:lnTo>
                    <a:pt x="834" y="342"/>
                  </a:lnTo>
                  <a:lnTo>
                    <a:pt x="834" y="348"/>
                  </a:lnTo>
                  <a:lnTo>
                    <a:pt x="846" y="348"/>
                  </a:lnTo>
                  <a:lnTo>
                    <a:pt x="846" y="342"/>
                  </a:lnTo>
                  <a:lnTo>
                    <a:pt x="882" y="342"/>
                  </a:lnTo>
                  <a:lnTo>
                    <a:pt x="894" y="366"/>
                  </a:lnTo>
                  <a:lnTo>
                    <a:pt x="900" y="372"/>
                  </a:lnTo>
                  <a:lnTo>
                    <a:pt x="906" y="384"/>
                  </a:lnTo>
                  <a:lnTo>
                    <a:pt x="924" y="384"/>
                  </a:lnTo>
                  <a:lnTo>
                    <a:pt x="930" y="372"/>
                  </a:lnTo>
                  <a:lnTo>
                    <a:pt x="936" y="372"/>
                  </a:lnTo>
                  <a:lnTo>
                    <a:pt x="942" y="348"/>
                  </a:lnTo>
                  <a:lnTo>
                    <a:pt x="954" y="348"/>
                  </a:lnTo>
                  <a:lnTo>
                    <a:pt x="954" y="342"/>
                  </a:lnTo>
                  <a:lnTo>
                    <a:pt x="984" y="342"/>
                  </a:lnTo>
                  <a:lnTo>
                    <a:pt x="978" y="390"/>
                  </a:lnTo>
                  <a:lnTo>
                    <a:pt x="984" y="390"/>
                  </a:lnTo>
                  <a:lnTo>
                    <a:pt x="990" y="396"/>
                  </a:lnTo>
                  <a:lnTo>
                    <a:pt x="996" y="396"/>
                  </a:lnTo>
                  <a:lnTo>
                    <a:pt x="1002" y="396"/>
                  </a:lnTo>
                  <a:lnTo>
                    <a:pt x="1002" y="408"/>
                  </a:lnTo>
                  <a:lnTo>
                    <a:pt x="990" y="414"/>
                  </a:lnTo>
                  <a:lnTo>
                    <a:pt x="984" y="426"/>
                  </a:lnTo>
                  <a:lnTo>
                    <a:pt x="990" y="444"/>
                  </a:lnTo>
                  <a:lnTo>
                    <a:pt x="996" y="450"/>
                  </a:lnTo>
                  <a:lnTo>
                    <a:pt x="990" y="462"/>
                  </a:lnTo>
                  <a:lnTo>
                    <a:pt x="990" y="468"/>
                  </a:lnTo>
                  <a:lnTo>
                    <a:pt x="984" y="480"/>
                  </a:lnTo>
                  <a:lnTo>
                    <a:pt x="978" y="486"/>
                  </a:lnTo>
                  <a:lnTo>
                    <a:pt x="972" y="486"/>
                  </a:lnTo>
                  <a:lnTo>
                    <a:pt x="966" y="492"/>
                  </a:lnTo>
                  <a:lnTo>
                    <a:pt x="966" y="498"/>
                  </a:lnTo>
                  <a:lnTo>
                    <a:pt x="954" y="510"/>
                  </a:lnTo>
                  <a:lnTo>
                    <a:pt x="948" y="510"/>
                  </a:lnTo>
                  <a:lnTo>
                    <a:pt x="942" y="516"/>
                  </a:lnTo>
                  <a:lnTo>
                    <a:pt x="936" y="528"/>
                  </a:lnTo>
                  <a:lnTo>
                    <a:pt x="936" y="534"/>
                  </a:lnTo>
                  <a:lnTo>
                    <a:pt x="936" y="546"/>
                  </a:lnTo>
                  <a:lnTo>
                    <a:pt x="936" y="558"/>
                  </a:lnTo>
                  <a:lnTo>
                    <a:pt x="948" y="558"/>
                  </a:lnTo>
                  <a:lnTo>
                    <a:pt x="954" y="558"/>
                  </a:lnTo>
                  <a:lnTo>
                    <a:pt x="996" y="558"/>
                  </a:lnTo>
                  <a:lnTo>
                    <a:pt x="1002" y="570"/>
                  </a:lnTo>
                  <a:lnTo>
                    <a:pt x="996" y="576"/>
                  </a:lnTo>
                  <a:lnTo>
                    <a:pt x="996" y="588"/>
                  </a:lnTo>
                  <a:lnTo>
                    <a:pt x="984" y="588"/>
                  </a:lnTo>
                  <a:lnTo>
                    <a:pt x="990" y="612"/>
                  </a:lnTo>
                  <a:lnTo>
                    <a:pt x="1014" y="606"/>
                  </a:lnTo>
                  <a:lnTo>
                    <a:pt x="1014" y="636"/>
                  </a:lnTo>
                  <a:lnTo>
                    <a:pt x="1014" y="648"/>
                  </a:lnTo>
                  <a:lnTo>
                    <a:pt x="1020" y="648"/>
                  </a:lnTo>
                  <a:lnTo>
                    <a:pt x="1026" y="660"/>
                  </a:lnTo>
                  <a:lnTo>
                    <a:pt x="1038" y="654"/>
                  </a:lnTo>
                  <a:lnTo>
                    <a:pt x="1050" y="654"/>
                  </a:lnTo>
                  <a:lnTo>
                    <a:pt x="1062" y="654"/>
                  </a:lnTo>
                  <a:lnTo>
                    <a:pt x="1068" y="660"/>
                  </a:lnTo>
                  <a:lnTo>
                    <a:pt x="1068" y="678"/>
                  </a:lnTo>
                  <a:lnTo>
                    <a:pt x="1068" y="684"/>
                  </a:lnTo>
                  <a:lnTo>
                    <a:pt x="1062" y="690"/>
                  </a:lnTo>
                  <a:lnTo>
                    <a:pt x="1056" y="696"/>
                  </a:lnTo>
                  <a:lnTo>
                    <a:pt x="1056" y="702"/>
                  </a:lnTo>
                  <a:lnTo>
                    <a:pt x="1038" y="714"/>
                  </a:lnTo>
                  <a:lnTo>
                    <a:pt x="1026" y="720"/>
                  </a:lnTo>
                  <a:lnTo>
                    <a:pt x="1008" y="726"/>
                  </a:lnTo>
                  <a:lnTo>
                    <a:pt x="1008" y="732"/>
                  </a:lnTo>
                  <a:lnTo>
                    <a:pt x="990" y="732"/>
                  </a:lnTo>
                  <a:lnTo>
                    <a:pt x="984" y="744"/>
                  </a:lnTo>
                  <a:lnTo>
                    <a:pt x="990" y="750"/>
                  </a:lnTo>
                  <a:lnTo>
                    <a:pt x="984" y="762"/>
                  </a:lnTo>
                  <a:lnTo>
                    <a:pt x="984" y="768"/>
                  </a:lnTo>
                  <a:lnTo>
                    <a:pt x="984" y="774"/>
                  </a:lnTo>
                  <a:lnTo>
                    <a:pt x="984" y="780"/>
                  </a:lnTo>
                  <a:lnTo>
                    <a:pt x="984" y="786"/>
                  </a:lnTo>
                  <a:lnTo>
                    <a:pt x="984" y="792"/>
                  </a:lnTo>
                  <a:lnTo>
                    <a:pt x="978" y="798"/>
                  </a:lnTo>
                  <a:lnTo>
                    <a:pt x="978" y="80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3" name="Freeform 38">
              <a:extLst>
                <a:ext uri="{FF2B5EF4-FFF2-40B4-BE49-F238E27FC236}">
                  <a16:creationId xmlns:a16="http://schemas.microsoft.com/office/drawing/2014/main" id="{819B99CE-D972-4530-8964-A992C1EC87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2825" y="1634436"/>
              <a:ext cx="959326" cy="959458"/>
            </a:xfrm>
            <a:custGeom>
              <a:avLst/>
              <a:gdLst>
                <a:gd name="T0" fmla="*/ 105 w 1806"/>
                <a:gd name="T1" fmla="*/ 155 h 1806"/>
                <a:gd name="T2" fmla="*/ 103 w 1806"/>
                <a:gd name="T3" fmla="*/ 155 h 1806"/>
                <a:gd name="T4" fmla="*/ 103 w 1806"/>
                <a:gd name="T5" fmla="*/ 150 h 1806"/>
                <a:gd name="T6" fmla="*/ 104 w 1806"/>
                <a:gd name="T7" fmla="*/ 141 h 1806"/>
                <a:gd name="T8" fmla="*/ 104 w 1806"/>
                <a:gd name="T9" fmla="*/ 136 h 1806"/>
                <a:gd name="T10" fmla="*/ 100 w 1806"/>
                <a:gd name="T11" fmla="*/ 131 h 1806"/>
                <a:gd name="T12" fmla="*/ 96 w 1806"/>
                <a:gd name="T13" fmla="*/ 127 h 1806"/>
                <a:gd name="T14" fmla="*/ 91 w 1806"/>
                <a:gd name="T15" fmla="*/ 121 h 1806"/>
                <a:gd name="T16" fmla="*/ 87 w 1806"/>
                <a:gd name="T17" fmla="*/ 120 h 1806"/>
                <a:gd name="T18" fmla="*/ 81 w 1806"/>
                <a:gd name="T19" fmla="*/ 117 h 1806"/>
                <a:gd name="T20" fmla="*/ 65 w 1806"/>
                <a:gd name="T21" fmla="*/ 113 h 1806"/>
                <a:gd name="T22" fmla="*/ 69 w 1806"/>
                <a:gd name="T23" fmla="*/ 105 h 1806"/>
                <a:gd name="T24" fmla="*/ 66 w 1806"/>
                <a:gd name="T25" fmla="*/ 89 h 1806"/>
                <a:gd name="T26" fmla="*/ 63 w 1806"/>
                <a:gd name="T27" fmla="*/ 84 h 1806"/>
                <a:gd name="T28" fmla="*/ 62 w 1806"/>
                <a:gd name="T29" fmla="*/ 74 h 1806"/>
                <a:gd name="T30" fmla="*/ 58 w 1806"/>
                <a:gd name="T31" fmla="*/ 52 h 1806"/>
                <a:gd name="T32" fmla="*/ 53 w 1806"/>
                <a:gd name="T33" fmla="*/ 49 h 1806"/>
                <a:gd name="T34" fmla="*/ 51 w 1806"/>
                <a:gd name="T35" fmla="*/ 36 h 1806"/>
                <a:gd name="T36" fmla="*/ 43 w 1806"/>
                <a:gd name="T37" fmla="*/ 32 h 1806"/>
                <a:gd name="T38" fmla="*/ 33 w 1806"/>
                <a:gd name="T39" fmla="*/ 30 h 1806"/>
                <a:gd name="T40" fmla="*/ 30 w 1806"/>
                <a:gd name="T41" fmla="*/ 21 h 1806"/>
                <a:gd name="T42" fmla="*/ 17 w 1806"/>
                <a:gd name="T43" fmla="*/ 25 h 1806"/>
                <a:gd name="T44" fmla="*/ 4 w 1806"/>
                <a:gd name="T45" fmla="*/ 33 h 1806"/>
                <a:gd name="T46" fmla="*/ 7 w 1806"/>
                <a:gd name="T47" fmla="*/ 26 h 1806"/>
                <a:gd name="T48" fmla="*/ 11 w 1806"/>
                <a:gd name="T49" fmla="*/ 20 h 1806"/>
                <a:gd name="T50" fmla="*/ 18 w 1806"/>
                <a:gd name="T51" fmla="*/ 12 h 1806"/>
                <a:gd name="T52" fmla="*/ 26 w 1806"/>
                <a:gd name="T53" fmla="*/ 8 h 1806"/>
                <a:gd name="T54" fmla="*/ 35 w 1806"/>
                <a:gd name="T55" fmla="*/ 6 h 1806"/>
                <a:gd name="T56" fmla="*/ 44 w 1806"/>
                <a:gd name="T57" fmla="*/ 5 h 1806"/>
                <a:gd name="T58" fmla="*/ 54 w 1806"/>
                <a:gd name="T59" fmla="*/ 2 h 1806"/>
                <a:gd name="T60" fmla="*/ 65 w 1806"/>
                <a:gd name="T61" fmla="*/ 0 h 1806"/>
                <a:gd name="T62" fmla="*/ 76 w 1806"/>
                <a:gd name="T63" fmla="*/ 0 h 1806"/>
                <a:gd name="T64" fmla="*/ 85 w 1806"/>
                <a:gd name="T65" fmla="*/ 0 h 1806"/>
                <a:gd name="T66" fmla="*/ 97 w 1806"/>
                <a:gd name="T67" fmla="*/ 0 h 1806"/>
                <a:gd name="T68" fmla="*/ 108 w 1806"/>
                <a:gd name="T69" fmla="*/ 3 h 1806"/>
                <a:gd name="T70" fmla="*/ 115 w 1806"/>
                <a:gd name="T71" fmla="*/ 5 h 1806"/>
                <a:gd name="T72" fmla="*/ 123 w 1806"/>
                <a:gd name="T73" fmla="*/ 7 h 1806"/>
                <a:gd name="T74" fmla="*/ 133 w 1806"/>
                <a:gd name="T75" fmla="*/ 14 h 1806"/>
                <a:gd name="T76" fmla="*/ 138 w 1806"/>
                <a:gd name="T77" fmla="*/ 16 h 1806"/>
                <a:gd name="T78" fmla="*/ 140 w 1806"/>
                <a:gd name="T79" fmla="*/ 14 h 1806"/>
                <a:gd name="T80" fmla="*/ 145 w 1806"/>
                <a:gd name="T81" fmla="*/ 16 h 1806"/>
                <a:gd name="T82" fmla="*/ 147 w 1806"/>
                <a:gd name="T83" fmla="*/ 16 h 1806"/>
                <a:gd name="T84" fmla="*/ 150 w 1806"/>
                <a:gd name="T85" fmla="*/ 17 h 1806"/>
                <a:gd name="T86" fmla="*/ 152 w 1806"/>
                <a:gd name="T87" fmla="*/ 18 h 1806"/>
                <a:gd name="T88" fmla="*/ 155 w 1806"/>
                <a:gd name="T89" fmla="*/ 37 h 1806"/>
                <a:gd name="T90" fmla="*/ 146 w 1806"/>
                <a:gd name="T91" fmla="*/ 66 h 1806"/>
                <a:gd name="T92" fmla="*/ 143 w 1806"/>
                <a:gd name="T93" fmla="*/ 88 h 1806"/>
                <a:gd name="T94" fmla="*/ 144 w 1806"/>
                <a:gd name="T95" fmla="*/ 98 h 1806"/>
                <a:gd name="T96" fmla="*/ 137 w 1806"/>
                <a:gd name="T97" fmla="*/ 118 h 1806"/>
                <a:gd name="T98" fmla="*/ 132 w 1806"/>
                <a:gd name="T99" fmla="*/ 129 h 1806"/>
                <a:gd name="T100" fmla="*/ 124 w 1806"/>
                <a:gd name="T101" fmla="*/ 135 h 1806"/>
                <a:gd name="T102" fmla="*/ 119 w 1806"/>
                <a:gd name="T103" fmla="*/ 136 h 1806"/>
                <a:gd name="T104" fmla="*/ 116 w 1806"/>
                <a:gd name="T105" fmla="*/ 137 h 1806"/>
                <a:gd name="T106" fmla="*/ 112 w 1806"/>
                <a:gd name="T107" fmla="*/ 139 h 1806"/>
                <a:gd name="T108" fmla="*/ 112 w 1806"/>
                <a:gd name="T109" fmla="*/ 141 h 1806"/>
                <a:gd name="T110" fmla="*/ 116 w 1806"/>
                <a:gd name="T111" fmla="*/ 146 h 1806"/>
                <a:gd name="T112" fmla="*/ 116 w 1806"/>
                <a:gd name="T113" fmla="*/ 151 h 1806"/>
                <a:gd name="T114" fmla="*/ 113 w 1806"/>
                <a:gd name="T115" fmla="*/ 153 h 18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6"/>
                <a:gd name="T175" fmla="*/ 0 h 1806"/>
                <a:gd name="T176" fmla="*/ 1806 w 1806"/>
                <a:gd name="T177" fmla="*/ 1806 h 18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6" h="1806">
                  <a:moveTo>
                    <a:pt x="1260" y="1776"/>
                  </a:moveTo>
                  <a:lnTo>
                    <a:pt x="1254" y="1776"/>
                  </a:lnTo>
                  <a:lnTo>
                    <a:pt x="1248" y="1776"/>
                  </a:lnTo>
                  <a:lnTo>
                    <a:pt x="1242" y="1782"/>
                  </a:lnTo>
                  <a:lnTo>
                    <a:pt x="1236" y="1782"/>
                  </a:lnTo>
                  <a:lnTo>
                    <a:pt x="1230" y="1788"/>
                  </a:lnTo>
                  <a:lnTo>
                    <a:pt x="1224" y="1782"/>
                  </a:lnTo>
                  <a:lnTo>
                    <a:pt x="1218" y="1782"/>
                  </a:lnTo>
                  <a:lnTo>
                    <a:pt x="1218" y="1788"/>
                  </a:lnTo>
                  <a:lnTo>
                    <a:pt x="1212" y="1788"/>
                  </a:lnTo>
                  <a:lnTo>
                    <a:pt x="1206" y="1788"/>
                  </a:lnTo>
                  <a:lnTo>
                    <a:pt x="1206" y="1794"/>
                  </a:lnTo>
                  <a:lnTo>
                    <a:pt x="1200" y="1806"/>
                  </a:lnTo>
                  <a:lnTo>
                    <a:pt x="1194" y="1800"/>
                  </a:lnTo>
                  <a:lnTo>
                    <a:pt x="1194" y="1794"/>
                  </a:lnTo>
                  <a:lnTo>
                    <a:pt x="1194" y="1788"/>
                  </a:lnTo>
                  <a:lnTo>
                    <a:pt x="1188" y="1788"/>
                  </a:lnTo>
                  <a:lnTo>
                    <a:pt x="1188" y="1782"/>
                  </a:lnTo>
                  <a:lnTo>
                    <a:pt x="1188" y="1776"/>
                  </a:lnTo>
                  <a:lnTo>
                    <a:pt x="1194" y="1770"/>
                  </a:lnTo>
                  <a:lnTo>
                    <a:pt x="1194" y="1764"/>
                  </a:lnTo>
                  <a:lnTo>
                    <a:pt x="1194" y="1758"/>
                  </a:lnTo>
                  <a:lnTo>
                    <a:pt x="1194" y="1752"/>
                  </a:lnTo>
                  <a:lnTo>
                    <a:pt x="1200" y="1746"/>
                  </a:lnTo>
                  <a:lnTo>
                    <a:pt x="1200" y="1740"/>
                  </a:lnTo>
                  <a:lnTo>
                    <a:pt x="1200" y="1734"/>
                  </a:lnTo>
                  <a:lnTo>
                    <a:pt x="1188" y="1722"/>
                  </a:lnTo>
                  <a:lnTo>
                    <a:pt x="1188" y="1716"/>
                  </a:lnTo>
                  <a:lnTo>
                    <a:pt x="1194" y="1704"/>
                  </a:lnTo>
                  <a:lnTo>
                    <a:pt x="1194" y="1692"/>
                  </a:lnTo>
                  <a:lnTo>
                    <a:pt x="1200" y="1680"/>
                  </a:lnTo>
                  <a:lnTo>
                    <a:pt x="1200" y="1662"/>
                  </a:lnTo>
                  <a:lnTo>
                    <a:pt x="1200" y="1650"/>
                  </a:lnTo>
                  <a:lnTo>
                    <a:pt x="1206" y="1644"/>
                  </a:lnTo>
                  <a:lnTo>
                    <a:pt x="1206" y="1638"/>
                  </a:lnTo>
                  <a:lnTo>
                    <a:pt x="1206" y="1626"/>
                  </a:lnTo>
                  <a:lnTo>
                    <a:pt x="1206" y="1620"/>
                  </a:lnTo>
                  <a:lnTo>
                    <a:pt x="1206" y="1614"/>
                  </a:lnTo>
                  <a:lnTo>
                    <a:pt x="1200" y="1608"/>
                  </a:lnTo>
                  <a:lnTo>
                    <a:pt x="1200" y="1602"/>
                  </a:lnTo>
                  <a:lnTo>
                    <a:pt x="1200" y="1596"/>
                  </a:lnTo>
                  <a:lnTo>
                    <a:pt x="1200" y="1590"/>
                  </a:lnTo>
                  <a:lnTo>
                    <a:pt x="1200" y="1572"/>
                  </a:lnTo>
                  <a:lnTo>
                    <a:pt x="1200" y="1566"/>
                  </a:lnTo>
                  <a:lnTo>
                    <a:pt x="1200" y="1560"/>
                  </a:lnTo>
                  <a:lnTo>
                    <a:pt x="1194" y="1554"/>
                  </a:lnTo>
                  <a:lnTo>
                    <a:pt x="1188" y="1548"/>
                  </a:lnTo>
                  <a:lnTo>
                    <a:pt x="1188" y="1542"/>
                  </a:lnTo>
                  <a:lnTo>
                    <a:pt x="1176" y="1536"/>
                  </a:lnTo>
                  <a:lnTo>
                    <a:pt x="1176" y="1530"/>
                  </a:lnTo>
                  <a:lnTo>
                    <a:pt x="1170" y="1524"/>
                  </a:lnTo>
                  <a:lnTo>
                    <a:pt x="1170" y="1518"/>
                  </a:lnTo>
                  <a:lnTo>
                    <a:pt x="1164" y="1512"/>
                  </a:lnTo>
                  <a:lnTo>
                    <a:pt x="1158" y="1506"/>
                  </a:lnTo>
                  <a:lnTo>
                    <a:pt x="1152" y="1500"/>
                  </a:lnTo>
                  <a:lnTo>
                    <a:pt x="1146" y="1494"/>
                  </a:lnTo>
                  <a:lnTo>
                    <a:pt x="1140" y="1488"/>
                  </a:lnTo>
                  <a:lnTo>
                    <a:pt x="1134" y="1482"/>
                  </a:lnTo>
                  <a:lnTo>
                    <a:pt x="1128" y="1476"/>
                  </a:lnTo>
                  <a:lnTo>
                    <a:pt x="1122" y="1470"/>
                  </a:lnTo>
                  <a:lnTo>
                    <a:pt x="1116" y="1464"/>
                  </a:lnTo>
                  <a:lnTo>
                    <a:pt x="1110" y="1464"/>
                  </a:lnTo>
                  <a:lnTo>
                    <a:pt x="1104" y="1458"/>
                  </a:lnTo>
                  <a:lnTo>
                    <a:pt x="1098" y="1464"/>
                  </a:lnTo>
                  <a:lnTo>
                    <a:pt x="1092" y="1464"/>
                  </a:lnTo>
                  <a:lnTo>
                    <a:pt x="1086" y="1446"/>
                  </a:lnTo>
                  <a:lnTo>
                    <a:pt x="1086" y="1440"/>
                  </a:lnTo>
                  <a:lnTo>
                    <a:pt x="1080" y="1416"/>
                  </a:lnTo>
                  <a:lnTo>
                    <a:pt x="1068" y="1404"/>
                  </a:lnTo>
                  <a:lnTo>
                    <a:pt x="1062" y="1398"/>
                  </a:lnTo>
                  <a:lnTo>
                    <a:pt x="1056" y="1398"/>
                  </a:lnTo>
                  <a:lnTo>
                    <a:pt x="1050" y="1398"/>
                  </a:lnTo>
                  <a:lnTo>
                    <a:pt x="1044" y="1398"/>
                  </a:lnTo>
                  <a:lnTo>
                    <a:pt x="1044" y="1392"/>
                  </a:lnTo>
                  <a:lnTo>
                    <a:pt x="1038" y="1392"/>
                  </a:lnTo>
                  <a:lnTo>
                    <a:pt x="1032" y="1392"/>
                  </a:lnTo>
                  <a:lnTo>
                    <a:pt x="1020" y="1386"/>
                  </a:lnTo>
                  <a:lnTo>
                    <a:pt x="1014" y="1386"/>
                  </a:lnTo>
                  <a:lnTo>
                    <a:pt x="1014" y="1380"/>
                  </a:lnTo>
                  <a:lnTo>
                    <a:pt x="1008" y="1380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62"/>
                  </a:lnTo>
                  <a:lnTo>
                    <a:pt x="984" y="1356"/>
                  </a:lnTo>
                  <a:lnTo>
                    <a:pt x="978" y="1356"/>
                  </a:lnTo>
                  <a:lnTo>
                    <a:pt x="972" y="1356"/>
                  </a:lnTo>
                  <a:lnTo>
                    <a:pt x="966" y="1356"/>
                  </a:lnTo>
                  <a:lnTo>
                    <a:pt x="966" y="1350"/>
                  </a:lnTo>
                  <a:lnTo>
                    <a:pt x="948" y="1350"/>
                  </a:lnTo>
                  <a:lnTo>
                    <a:pt x="936" y="1344"/>
                  </a:lnTo>
                  <a:lnTo>
                    <a:pt x="930" y="1338"/>
                  </a:lnTo>
                  <a:lnTo>
                    <a:pt x="918" y="1332"/>
                  </a:lnTo>
                  <a:lnTo>
                    <a:pt x="900" y="1326"/>
                  </a:lnTo>
                  <a:lnTo>
                    <a:pt x="864" y="1332"/>
                  </a:lnTo>
                  <a:lnTo>
                    <a:pt x="828" y="1332"/>
                  </a:lnTo>
                  <a:lnTo>
                    <a:pt x="792" y="1314"/>
                  </a:lnTo>
                  <a:lnTo>
                    <a:pt x="780" y="1314"/>
                  </a:lnTo>
                  <a:lnTo>
                    <a:pt x="780" y="1308"/>
                  </a:lnTo>
                  <a:lnTo>
                    <a:pt x="756" y="1296"/>
                  </a:lnTo>
                  <a:lnTo>
                    <a:pt x="756" y="1278"/>
                  </a:lnTo>
                  <a:lnTo>
                    <a:pt x="768" y="1278"/>
                  </a:lnTo>
                  <a:lnTo>
                    <a:pt x="774" y="1272"/>
                  </a:lnTo>
                  <a:lnTo>
                    <a:pt x="780" y="1266"/>
                  </a:lnTo>
                  <a:lnTo>
                    <a:pt x="786" y="1260"/>
                  </a:lnTo>
                  <a:lnTo>
                    <a:pt x="792" y="1254"/>
                  </a:lnTo>
                  <a:lnTo>
                    <a:pt x="798" y="1242"/>
                  </a:lnTo>
                  <a:lnTo>
                    <a:pt x="804" y="1242"/>
                  </a:lnTo>
                  <a:lnTo>
                    <a:pt x="804" y="1206"/>
                  </a:lnTo>
                  <a:lnTo>
                    <a:pt x="804" y="1182"/>
                  </a:lnTo>
                  <a:lnTo>
                    <a:pt x="804" y="1158"/>
                  </a:lnTo>
                  <a:lnTo>
                    <a:pt x="804" y="1134"/>
                  </a:lnTo>
                  <a:lnTo>
                    <a:pt x="798" y="1116"/>
                  </a:lnTo>
                  <a:lnTo>
                    <a:pt x="792" y="1092"/>
                  </a:lnTo>
                  <a:lnTo>
                    <a:pt x="786" y="1062"/>
                  </a:lnTo>
                  <a:lnTo>
                    <a:pt x="768" y="1032"/>
                  </a:lnTo>
                  <a:lnTo>
                    <a:pt x="762" y="1032"/>
                  </a:lnTo>
                  <a:lnTo>
                    <a:pt x="762" y="1020"/>
                  </a:lnTo>
                  <a:lnTo>
                    <a:pt x="762" y="1014"/>
                  </a:lnTo>
                  <a:lnTo>
                    <a:pt x="756" y="1008"/>
                  </a:lnTo>
                  <a:lnTo>
                    <a:pt x="750" y="1002"/>
                  </a:lnTo>
                  <a:lnTo>
                    <a:pt x="738" y="1002"/>
                  </a:lnTo>
                  <a:lnTo>
                    <a:pt x="738" y="990"/>
                  </a:lnTo>
                  <a:lnTo>
                    <a:pt x="726" y="990"/>
                  </a:lnTo>
                  <a:lnTo>
                    <a:pt x="726" y="978"/>
                  </a:lnTo>
                  <a:lnTo>
                    <a:pt x="732" y="972"/>
                  </a:lnTo>
                  <a:lnTo>
                    <a:pt x="732" y="966"/>
                  </a:lnTo>
                  <a:lnTo>
                    <a:pt x="726" y="966"/>
                  </a:lnTo>
                  <a:lnTo>
                    <a:pt x="732" y="948"/>
                  </a:lnTo>
                  <a:lnTo>
                    <a:pt x="726" y="942"/>
                  </a:lnTo>
                  <a:lnTo>
                    <a:pt x="726" y="930"/>
                  </a:lnTo>
                  <a:lnTo>
                    <a:pt x="720" y="924"/>
                  </a:lnTo>
                  <a:lnTo>
                    <a:pt x="714" y="912"/>
                  </a:lnTo>
                  <a:lnTo>
                    <a:pt x="714" y="882"/>
                  </a:lnTo>
                  <a:lnTo>
                    <a:pt x="714" y="870"/>
                  </a:lnTo>
                  <a:lnTo>
                    <a:pt x="714" y="858"/>
                  </a:lnTo>
                  <a:lnTo>
                    <a:pt x="714" y="846"/>
                  </a:lnTo>
                  <a:lnTo>
                    <a:pt x="708" y="822"/>
                  </a:lnTo>
                  <a:lnTo>
                    <a:pt x="702" y="798"/>
                  </a:lnTo>
                  <a:lnTo>
                    <a:pt x="696" y="792"/>
                  </a:lnTo>
                  <a:lnTo>
                    <a:pt x="684" y="726"/>
                  </a:lnTo>
                  <a:lnTo>
                    <a:pt x="678" y="666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66" y="600"/>
                  </a:lnTo>
                  <a:lnTo>
                    <a:pt x="660" y="594"/>
                  </a:lnTo>
                  <a:lnTo>
                    <a:pt x="654" y="594"/>
                  </a:lnTo>
                  <a:lnTo>
                    <a:pt x="636" y="582"/>
                  </a:lnTo>
                  <a:lnTo>
                    <a:pt x="630" y="576"/>
                  </a:lnTo>
                  <a:lnTo>
                    <a:pt x="624" y="576"/>
                  </a:lnTo>
                  <a:lnTo>
                    <a:pt x="618" y="570"/>
                  </a:lnTo>
                  <a:lnTo>
                    <a:pt x="612" y="564"/>
                  </a:lnTo>
                  <a:lnTo>
                    <a:pt x="606" y="558"/>
                  </a:lnTo>
                  <a:lnTo>
                    <a:pt x="606" y="564"/>
                  </a:lnTo>
                  <a:lnTo>
                    <a:pt x="600" y="564"/>
                  </a:lnTo>
                  <a:lnTo>
                    <a:pt x="594" y="558"/>
                  </a:lnTo>
                  <a:lnTo>
                    <a:pt x="594" y="540"/>
                  </a:lnTo>
                  <a:lnTo>
                    <a:pt x="594" y="528"/>
                  </a:lnTo>
                  <a:lnTo>
                    <a:pt x="594" y="516"/>
                  </a:lnTo>
                  <a:lnTo>
                    <a:pt x="594" y="510"/>
                  </a:lnTo>
                  <a:lnTo>
                    <a:pt x="594" y="492"/>
                  </a:lnTo>
                  <a:lnTo>
                    <a:pt x="594" y="456"/>
                  </a:lnTo>
                  <a:lnTo>
                    <a:pt x="588" y="414"/>
                  </a:lnTo>
                  <a:lnTo>
                    <a:pt x="588" y="408"/>
                  </a:lnTo>
                  <a:lnTo>
                    <a:pt x="582" y="396"/>
                  </a:lnTo>
                  <a:lnTo>
                    <a:pt x="582" y="384"/>
                  </a:lnTo>
                  <a:lnTo>
                    <a:pt x="582" y="372"/>
                  </a:lnTo>
                  <a:lnTo>
                    <a:pt x="564" y="372"/>
                  </a:lnTo>
                  <a:lnTo>
                    <a:pt x="552" y="366"/>
                  </a:lnTo>
                  <a:lnTo>
                    <a:pt x="552" y="372"/>
                  </a:lnTo>
                  <a:lnTo>
                    <a:pt x="498" y="372"/>
                  </a:lnTo>
                  <a:lnTo>
                    <a:pt x="498" y="366"/>
                  </a:lnTo>
                  <a:lnTo>
                    <a:pt x="474" y="360"/>
                  </a:lnTo>
                  <a:lnTo>
                    <a:pt x="456" y="354"/>
                  </a:lnTo>
                  <a:lnTo>
                    <a:pt x="438" y="348"/>
                  </a:lnTo>
                  <a:lnTo>
                    <a:pt x="426" y="354"/>
                  </a:lnTo>
                  <a:lnTo>
                    <a:pt x="408" y="360"/>
                  </a:lnTo>
                  <a:lnTo>
                    <a:pt x="378" y="360"/>
                  </a:lnTo>
                  <a:lnTo>
                    <a:pt x="378" y="354"/>
                  </a:lnTo>
                  <a:lnTo>
                    <a:pt x="378" y="348"/>
                  </a:lnTo>
                  <a:lnTo>
                    <a:pt x="378" y="342"/>
                  </a:lnTo>
                  <a:lnTo>
                    <a:pt x="390" y="330"/>
                  </a:lnTo>
                  <a:lnTo>
                    <a:pt x="396" y="312"/>
                  </a:lnTo>
                  <a:lnTo>
                    <a:pt x="396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8"/>
                  </a:lnTo>
                  <a:lnTo>
                    <a:pt x="372" y="234"/>
                  </a:lnTo>
                  <a:lnTo>
                    <a:pt x="354" y="234"/>
                  </a:lnTo>
                  <a:lnTo>
                    <a:pt x="342" y="246"/>
                  </a:lnTo>
                  <a:lnTo>
                    <a:pt x="330" y="252"/>
                  </a:lnTo>
                  <a:lnTo>
                    <a:pt x="318" y="252"/>
                  </a:lnTo>
                  <a:lnTo>
                    <a:pt x="276" y="258"/>
                  </a:lnTo>
                  <a:lnTo>
                    <a:pt x="276" y="264"/>
                  </a:lnTo>
                  <a:lnTo>
                    <a:pt x="252" y="270"/>
                  </a:lnTo>
                  <a:lnTo>
                    <a:pt x="240" y="270"/>
                  </a:lnTo>
                  <a:lnTo>
                    <a:pt x="228" y="276"/>
                  </a:lnTo>
                  <a:lnTo>
                    <a:pt x="210" y="282"/>
                  </a:lnTo>
                  <a:lnTo>
                    <a:pt x="198" y="288"/>
                  </a:lnTo>
                  <a:lnTo>
                    <a:pt x="186" y="294"/>
                  </a:lnTo>
                  <a:lnTo>
                    <a:pt x="174" y="330"/>
                  </a:lnTo>
                  <a:lnTo>
                    <a:pt x="162" y="342"/>
                  </a:lnTo>
                  <a:lnTo>
                    <a:pt x="156" y="354"/>
                  </a:lnTo>
                  <a:lnTo>
                    <a:pt x="150" y="360"/>
                  </a:lnTo>
                  <a:lnTo>
                    <a:pt x="150" y="366"/>
                  </a:lnTo>
                  <a:lnTo>
                    <a:pt x="108" y="372"/>
                  </a:lnTo>
                  <a:lnTo>
                    <a:pt x="60" y="378"/>
                  </a:lnTo>
                  <a:lnTo>
                    <a:pt x="42" y="378"/>
                  </a:lnTo>
                  <a:lnTo>
                    <a:pt x="12" y="378"/>
                  </a:lnTo>
                  <a:lnTo>
                    <a:pt x="6" y="378"/>
                  </a:lnTo>
                  <a:lnTo>
                    <a:pt x="0" y="366"/>
                  </a:lnTo>
                  <a:lnTo>
                    <a:pt x="12" y="360"/>
                  </a:lnTo>
                  <a:lnTo>
                    <a:pt x="24" y="348"/>
                  </a:lnTo>
                  <a:lnTo>
                    <a:pt x="30" y="342"/>
                  </a:lnTo>
                  <a:lnTo>
                    <a:pt x="36" y="330"/>
                  </a:lnTo>
                  <a:lnTo>
                    <a:pt x="72" y="300"/>
                  </a:lnTo>
                  <a:lnTo>
                    <a:pt x="78" y="294"/>
                  </a:lnTo>
                  <a:lnTo>
                    <a:pt x="78" y="288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96" y="270"/>
                  </a:lnTo>
                  <a:lnTo>
                    <a:pt x="102" y="264"/>
                  </a:lnTo>
                  <a:lnTo>
                    <a:pt x="108" y="258"/>
                  </a:lnTo>
                  <a:lnTo>
                    <a:pt x="114" y="246"/>
                  </a:lnTo>
                  <a:lnTo>
                    <a:pt x="120" y="240"/>
                  </a:lnTo>
                  <a:lnTo>
                    <a:pt x="126" y="234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0" y="210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86" y="174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22" y="138"/>
                  </a:lnTo>
                  <a:lnTo>
                    <a:pt x="234" y="132"/>
                  </a:lnTo>
                  <a:lnTo>
                    <a:pt x="246" y="126"/>
                  </a:lnTo>
                  <a:lnTo>
                    <a:pt x="246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88" y="102"/>
                  </a:lnTo>
                  <a:lnTo>
                    <a:pt x="300" y="96"/>
                  </a:lnTo>
                  <a:lnTo>
                    <a:pt x="306" y="90"/>
                  </a:lnTo>
                  <a:lnTo>
                    <a:pt x="318" y="90"/>
                  </a:lnTo>
                  <a:lnTo>
                    <a:pt x="324" y="84"/>
                  </a:lnTo>
                  <a:lnTo>
                    <a:pt x="348" y="72"/>
                  </a:lnTo>
                  <a:lnTo>
                    <a:pt x="354" y="72"/>
                  </a:lnTo>
                  <a:lnTo>
                    <a:pt x="384" y="66"/>
                  </a:lnTo>
                  <a:lnTo>
                    <a:pt x="390" y="66"/>
                  </a:lnTo>
                  <a:lnTo>
                    <a:pt x="396" y="66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66"/>
                  </a:lnTo>
                  <a:lnTo>
                    <a:pt x="438" y="66"/>
                  </a:lnTo>
                  <a:lnTo>
                    <a:pt x="468" y="66"/>
                  </a:lnTo>
                  <a:lnTo>
                    <a:pt x="480" y="66"/>
                  </a:lnTo>
                  <a:lnTo>
                    <a:pt x="486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22" y="60"/>
                  </a:lnTo>
                  <a:lnTo>
                    <a:pt x="534" y="54"/>
                  </a:lnTo>
                  <a:lnTo>
                    <a:pt x="564" y="42"/>
                  </a:lnTo>
                  <a:lnTo>
                    <a:pt x="570" y="42"/>
                  </a:lnTo>
                  <a:lnTo>
                    <a:pt x="582" y="36"/>
                  </a:lnTo>
                  <a:lnTo>
                    <a:pt x="588" y="36"/>
                  </a:lnTo>
                  <a:lnTo>
                    <a:pt x="600" y="30"/>
                  </a:lnTo>
                  <a:lnTo>
                    <a:pt x="606" y="30"/>
                  </a:lnTo>
                  <a:lnTo>
                    <a:pt x="618" y="24"/>
                  </a:lnTo>
                  <a:lnTo>
                    <a:pt x="642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72" y="12"/>
                  </a:lnTo>
                  <a:lnTo>
                    <a:pt x="696" y="12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50" y="6"/>
                  </a:lnTo>
                  <a:lnTo>
                    <a:pt x="768" y="6"/>
                  </a:lnTo>
                  <a:lnTo>
                    <a:pt x="774" y="6"/>
                  </a:lnTo>
                  <a:lnTo>
                    <a:pt x="786" y="6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6" y="6"/>
                  </a:lnTo>
                  <a:lnTo>
                    <a:pt x="846" y="6"/>
                  </a:lnTo>
                  <a:lnTo>
                    <a:pt x="852" y="0"/>
                  </a:lnTo>
                  <a:lnTo>
                    <a:pt x="876" y="0"/>
                  </a:lnTo>
                  <a:lnTo>
                    <a:pt x="876" y="6"/>
                  </a:lnTo>
                  <a:lnTo>
                    <a:pt x="888" y="0"/>
                  </a:lnTo>
                  <a:lnTo>
                    <a:pt x="900" y="0"/>
                  </a:lnTo>
                  <a:lnTo>
                    <a:pt x="906" y="0"/>
                  </a:lnTo>
                  <a:lnTo>
                    <a:pt x="912" y="0"/>
                  </a:lnTo>
                  <a:lnTo>
                    <a:pt x="948" y="0"/>
                  </a:lnTo>
                  <a:lnTo>
                    <a:pt x="954" y="0"/>
                  </a:lnTo>
                  <a:lnTo>
                    <a:pt x="972" y="0"/>
                  </a:lnTo>
                  <a:lnTo>
                    <a:pt x="978" y="0"/>
                  </a:lnTo>
                  <a:lnTo>
                    <a:pt x="996" y="0"/>
                  </a:lnTo>
                  <a:lnTo>
                    <a:pt x="1032" y="0"/>
                  </a:lnTo>
                  <a:lnTo>
                    <a:pt x="1044" y="0"/>
                  </a:lnTo>
                  <a:lnTo>
                    <a:pt x="1050" y="0"/>
                  </a:lnTo>
                  <a:lnTo>
                    <a:pt x="1056" y="6"/>
                  </a:lnTo>
                  <a:lnTo>
                    <a:pt x="1056" y="0"/>
                  </a:lnTo>
                  <a:lnTo>
                    <a:pt x="1074" y="0"/>
                  </a:lnTo>
                  <a:lnTo>
                    <a:pt x="1098" y="6"/>
                  </a:lnTo>
                  <a:lnTo>
                    <a:pt x="1116" y="6"/>
                  </a:lnTo>
                  <a:lnTo>
                    <a:pt x="1140" y="12"/>
                  </a:lnTo>
                  <a:lnTo>
                    <a:pt x="1152" y="12"/>
                  </a:lnTo>
                  <a:lnTo>
                    <a:pt x="1158" y="12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6" y="12"/>
                  </a:lnTo>
                  <a:lnTo>
                    <a:pt x="1194" y="18"/>
                  </a:lnTo>
                  <a:lnTo>
                    <a:pt x="1206" y="18"/>
                  </a:lnTo>
                  <a:lnTo>
                    <a:pt x="1242" y="36"/>
                  </a:lnTo>
                  <a:lnTo>
                    <a:pt x="1248" y="36"/>
                  </a:lnTo>
                  <a:lnTo>
                    <a:pt x="1254" y="36"/>
                  </a:lnTo>
                  <a:lnTo>
                    <a:pt x="1260" y="42"/>
                  </a:lnTo>
                  <a:lnTo>
                    <a:pt x="1272" y="48"/>
                  </a:lnTo>
                  <a:lnTo>
                    <a:pt x="1278" y="48"/>
                  </a:lnTo>
                  <a:lnTo>
                    <a:pt x="1284" y="48"/>
                  </a:lnTo>
                  <a:lnTo>
                    <a:pt x="1290" y="54"/>
                  </a:lnTo>
                  <a:lnTo>
                    <a:pt x="1308" y="60"/>
                  </a:lnTo>
                  <a:lnTo>
                    <a:pt x="1326" y="60"/>
                  </a:lnTo>
                  <a:lnTo>
                    <a:pt x="1338" y="66"/>
                  </a:lnTo>
                  <a:lnTo>
                    <a:pt x="1344" y="66"/>
                  </a:lnTo>
                  <a:lnTo>
                    <a:pt x="1350" y="66"/>
                  </a:lnTo>
                  <a:lnTo>
                    <a:pt x="1356" y="66"/>
                  </a:lnTo>
                  <a:lnTo>
                    <a:pt x="1362" y="72"/>
                  </a:lnTo>
                  <a:lnTo>
                    <a:pt x="1368" y="72"/>
                  </a:lnTo>
                  <a:lnTo>
                    <a:pt x="1380" y="72"/>
                  </a:lnTo>
                  <a:lnTo>
                    <a:pt x="1386" y="72"/>
                  </a:lnTo>
                  <a:lnTo>
                    <a:pt x="1422" y="84"/>
                  </a:lnTo>
                  <a:lnTo>
                    <a:pt x="1428" y="84"/>
                  </a:lnTo>
                  <a:lnTo>
                    <a:pt x="1446" y="90"/>
                  </a:lnTo>
                  <a:lnTo>
                    <a:pt x="1458" y="102"/>
                  </a:lnTo>
                  <a:lnTo>
                    <a:pt x="1494" y="126"/>
                  </a:lnTo>
                  <a:lnTo>
                    <a:pt x="1500" y="132"/>
                  </a:lnTo>
                  <a:lnTo>
                    <a:pt x="1512" y="138"/>
                  </a:lnTo>
                  <a:lnTo>
                    <a:pt x="1512" y="144"/>
                  </a:lnTo>
                  <a:lnTo>
                    <a:pt x="1518" y="150"/>
                  </a:lnTo>
                  <a:lnTo>
                    <a:pt x="1530" y="156"/>
                  </a:lnTo>
                  <a:lnTo>
                    <a:pt x="1530" y="162"/>
                  </a:lnTo>
                  <a:lnTo>
                    <a:pt x="1548" y="168"/>
                  </a:lnTo>
                  <a:lnTo>
                    <a:pt x="1566" y="180"/>
                  </a:lnTo>
                  <a:lnTo>
                    <a:pt x="1578" y="186"/>
                  </a:lnTo>
                  <a:lnTo>
                    <a:pt x="1578" y="180"/>
                  </a:lnTo>
                  <a:lnTo>
                    <a:pt x="1584" y="186"/>
                  </a:lnTo>
                  <a:lnTo>
                    <a:pt x="1584" y="174"/>
                  </a:lnTo>
                  <a:lnTo>
                    <a:pt x="1590" y="174"/>
                  </a:lnTo>
                  <a:lnTo>
                    <a:pt x="1590" y="180"/>
                  </a:lnTo>
                  <a:lnTo>
                    <a:pt x="1596" y="180"/>
                  </a:lnTo>
                  <a:lnTo>
                    <a:pt x="1596" y="174"/>
                  </a:lnTo>
                  <a:lnTo>
                    <a:pt x="1602" y="174"/>
                  </a:lnTo>
                  <a:lnTo>
                    <a:pt x="1608" y="174"/>
                  </a:lnTo>
                  <a:lnTo>
                    <a:pt x="1614" y="180"/>
                  </a:lnTo>
                  <a:lnTo>
                    <a:pt x="1620" y="174"/>
                  </a:lnTo>
                  <a:lnTo>
                    <a:pt x="1614" y="168"/>
                  </a:lnTo>
                  <a:lnTo>
                    <a:pt x="1614" y="162"/>
                  </a:lnTo>
                  <a:lnTo>
                    <a:pt x="1620" y="162"/>
                  </a:lnTo>
                  <a:lnTo>
                    <a:pt x="1626" y="162"/>
                  </a:lnTo>
                  <a:lnTo>
                    <a:pt x="1632" y="162"/>
                  </a:lnTo>
                  <a:lnTo>
                    <a:pt x="1638" y="168"/>
                  </a:lnTo>
                  <a:lnTo>
                    <a:pt x="1644" y="168"/>
                  </a:lnTo>
                  <a:lnTo>
                    <a:pt x="1650" y="174"/>
                  </a:lnTo>
                  <a:lnTo>
                    <a:pt x="1656" y="168"/>
                  </a:lnTo>
                  <a:lnTo>
                    <a:pt x="1668" y="168"/>
                  </a:lnTo>
                  <a:lnTo>
                    <a:pt x="1674" y="174"/>
                  </a:lnTo>
                  <a:lnTo>
                    <a:pt x="1674" y="180"/>
                  </a:lnTo>
                  <a:lnTo>
                    <a:pt x="1674" y="186"/>
                  </a:lnTo>
                  <a:lnTo>
                    <a:pt x="1680" y="186"/>
                  </a:lnTo>
                  <a:lnTo>
                    <a:pt x="1680" y="192"/>
                  </a:lnTo>
                  <a:lnTo>
                    <a:pt x="1686" y="192"/>
                  </a:lnTo>
                  <a:lnTo>
                    <a:pt x="1686" y="186"/>
                  </a:lnTo>
                  <a:lnTo>
                    <a:pt x="1680" y="186"/>
                  </a:lnTo>
                  <a:lnTo>
                    <a:pt x="1686" y="180"/>
                  </a:lnTo>
                  <a:lnTo>
                    <a:pt x="1692" y="180"/>
                  </a:lnTo>
                  <a:lnTo>
                    <a:pt x="1698" y="180"/>
                  </a:lnTo>
                  <a:lnTo>
                    <a:pt x="1704" y="180"/>
                  </a:lnTo>
                  <a:lnTo>
                    <a:pt x="1704" y="186"/>
                  </a:lnTo>
                  <a:lnTo>
                    <a:pt x="1710" y="186"/>
                  </a:lnTo>
                  <a:lnTo>
                    <a:pt x="1716" y="186"/>
                  </a:lnTo>
                  <a:lnTo>
                    <a:pt x="1716" y="192"/>
                  </a:lnTo>
                  <a:lnTo>
                    <a:pt x="1716" y="198"/>
                  </a:lnTo>
                  <a:lnTo>
                    <a:pt x="1722" y="192"/>
                  </a:lnTo>
                  <a:lnTo>
                    <a:pt x="1722" y="186"/>
                  </a:lnTo>
                  <a:lnTo>
                    <a:pt x="1728" y="192"/>
                  </a:lnTo>
                  <a:lnTo>
                    <a:pt x="1734" y="192"/>
                  </a:lnTo>
                  <a:lnTo>
                    <a:pt x="1734" y="186"/>
                  </a:lnTo>
                  <a:lnTo>
                    <a:pt x="1740" y="186"/>
                  </a:lnTo>
                  <a:lnTo>
                    <a:pt x="1740" y="192"/>
                  </a:lnTo>
                  <a:lnTo>
                    <a:pt x="1746" y="192"/>
                  </a:lnTo>
                  <a:lnTo>
                    <a:pt x="1758" y="192"/>
                  </a:lnTo>
                  <a:lnTo>
                    <a:pt x="1764" y="192"/>
                  </a:lnTo>
                  <a:lnTo>
                    <a:pt x="1764" y="198"/>
                  </a:lnTo>
                  <a:lnTo>
                    <a:pt x="1758" y="204"/>
                  </a:lnTo>
                  <a:lnTo>
                    <a:pt x="1752" y="210"/>
                  </a:lnTo>
                  <a:lnTo>
                    <a:pt x="1746" y="216"/>
                  </a:lnTo>
                  <a:lnTo>
                    <a:pt x="1746" y="222"/>
                  </a:lnTo>
                  <a:lnTo>
                    <a:pt x="1734" y="228"/>
                  </a:lnTo>
                  <a:lnTo>
                    <a:pt x="1734" y="234"/>
                  </a:lnTo>
                  <a:lnTo>
                    <a:pt x="1734" y="258"/>
                  </a:lnTo>
                  <a:lnTo>
                    <a:pt x="1740" y="330"/>
                  </a:lnTo>
                  <a:lnTo>
                    <a:pt x="1746" y="372"/>
                  </a:lnTo>
                  <a:lnTo>
                    <a:pt x="1788" y="426"/>
                  </a:lnTo>
                  <a:lnTo>
                    <a:pt x="1806" y="438"/>
                  </a:lnTo>
                  <a:lnTo>
                    <a:pt x="1794" y="480"/>
                  </a:lnTo>
                  <a:lnTo>
                    <a:pt x="1770" y="516"/>
                  </a:lnTo>
                  <a:lnTo>
                    <a:pt x="1746" y="546"/>
                  </a:lnTo>
                  <a:lnTo>
                    <a:pt x="1716" y="570"/>
                  </a:lnTo>
                  <a:lnTo>
                    <a:pt x="1680" y="594"/>
                  </a:lnTo>
                  <a:lnTo>
                    <a:pt x="1668" y="630"/>
                  </a:lnTo>
                  <a:lnTo>
                    <a:pt x="1680" y="684"/>
                  </a:lnTo>
                  <a:lnTo>
                    <a:pt x="1686" y="756"/>
                  </a:lnTo>
                  <a:lnTo>
                    <a:pt x="1662" y="870"/>
                  </a:lnTo>
                  <a:lnTo>
                    <a:pt x="1656" y="888"/>
                  </a:lnTo>
                  <a:lnTo>
                    <a:pt x="1650" y="972"/>
                  </a:lnTo>
                  <a:lnTo>
                    <a:pt x="1656" y="978"/>
                  </a:lnTo>
                  <a:lnTo>
                    <a:pt x="1650" y="984"/>
                  </a:lnTo>
                  <a:lnTo>
                    <a:pt x="1650" y="990"/>
                  </a:lnTo>
                  <a:lnTo>
                    <a:pt x="1650" y="1002"/>
                  </a:lnTo>
                  <a:lnTo>
                    <a:pt x="1656" y="1008"/>
                  </a:lnTo>
                  <a:lnTo>
                    <a:pt x="1656" y="1014"/>
                  </a:lnTo>
                  <a:lnTo>
                    <a:pt x="1662" y="1026"/>
                  </a:lnTo>
                  <a:lnTo>
                    <a:pt x="1650" y="1032"/>
                  </a:lnTo>
                  <a:lnTo>
                    <a:pt x="1638" y="1044"/>
                  </a:lnTo>
                  <a:lnTo>
                    <a:pt x="1626" y="1080"/>
                  </a:lnTo>
                  <a:lnTo>
                    <a:pt x="1614" y="1116"/>
                  </a:lnTo>
                  <a:lnTo>
                    <a:pt x="1614" y="1128"/>
                  </a:lnTo>
                  <a:lnTo>
                    <a:pt x="1626" y="1134"/>
                  </a:lnTo>
                  <a:lnTo>
                    <a:pt x="1644" y="1134"/>
                  </a:lnTo>
                  <a:lnTo>
                    <a:pt x="1662" y="1134"/>
                  </a:lnTo>
                  <a:lnTo>
                    <a:pt x="1680" y="1140"/>
                  </a:lnTo>
                  <a:lnTo>
                    <a:pt x="1698" y="1170"/>
                  </a:lnTo>
                  <a:lnTo>
                    <a:pt x="1704" y="1194"/>
                  </a:lnTo>
                  <a:lnTo>
                    <a:pt x="1692" y="1206"/>
                  </a:lnTo>
                  <a:lnTo>
                    <a:pt x="1662" y="1242"/>
                  </a:lnTo>
                  <a:lnTo>
                    <a:pt x="1632" y="1266"/>
                  </a:lnTo>
                  <a:lnTo>
                    <a:pt x="1620" y="1314"/>
                  </a:lnTo>
                  <a:lnTo>
                    <a:pt x="1584" y="1356"/>
                  </a:lnTo>
                  <a:lnTo>
                    <a:pt x="1578" y="1356"/>
                  </a:lnTo>
                  <a:lnTo>
                    <a:pt x="1578" y="1362"/>
                  </a:lnTo>
                  <a:lnTo>
                    <a:pt x="1572" y="1410"/>
                  </a:lnTo>
                  <a:lnTo>
                    <a:pt x="1584" y="1452"/>
                  </a:lnTo>
                  <a:lnTo>
                    <a:pt x="1608" y="1476"/>
                  </a:lnTo>
                  <a:lnTo>
                    <a:pt x="1596" y="1476"/>
                  </a:lnTo>
                  <a:lnTo>
                    <a:pt x="1584" y="1482"/>
                  </a:lnTo>
                  <a:lnTo>
                    <a:pt x="1560" y="1482"/>
                  </a:lnTo>
                  <a:lnTo>
                    <a:pt x="1536" y="1482"/>
                  </a:lnTo>
                  <a:lnTo>
                    <a:pt x="1524" y="1482"/>
                  </a:lnTo>
                  <a:lnTo>
                    <a:pt x="1506" y="1500"/>
                  </a:lnTo>
                  <a:lnTo>
                    <a:pt x="1482" y="1530"/>
                  </a:lnTo>
                  <a:lnTo>
                    <a:pt x="1452" y="1542"/>
                  </a:lnTo>
                  <a:lnTo>
                    <a:pt x="1446" y="1542"/>
                  </a:lnTo>
                  <a:lnTo>
                    <a:pt x="1440" y="1542"/>
                  </a:lnTo>
                  <a:lnTo>
                    <a:pt x="1440" y="1548"/>
                  </a:lnTo>
                  <a:lnTo>
                    <a:pt x="1434" y="1548"/>
                  </a:lnTo>
                  <a:lnTo>
                    <a:pt x="1428" y="1548"/>
                  </a:lnTo>
                  <a:lnTo>
                    <a:pt x="1428" y="1554"/>
                  </a:lnTo>
                  <a:lnTo>
                    <a:pt x="1422" y="1560"/>
                  </a:lnTo>
                  <a:lnTo>
                    <a:pt x="1416" y="1560"/>
                  </a:lnTo>
                  <a:lnTo>
                    <a:pt x="1410" y="1566"/>
                  </a:lnTo>
                  <a:lnTo>
                    <a:pt x="1410" y="1560"/>
                  </a:lnTo>
                  <a:lnTo>
                    <a:pt x="1404" y="1560"/>
                  </a:lnTo>
                  <a:lnTo>
                    <a:pt x="1392" y="1560"/>
                  </a:lnTo>
                  <a:lnTo>
                    <a:pt x="1386" y="1560"/>
                  </a:lnTo>
                  <a:lnTo>
                    <a:pt x="1380" y="1566"/>
                  </a:lnTo>
                  <a:lnTo>
                    <a:pt x="1374" y="1560"/>
                  </a:lnTo>
                  <a:lnTo>
                    <a:pt x="1368" y="1566"/>
                  </a:lnTo>
                  <a:lnTo>
                    <a:pt x="1362" y="1566"/>
                  </a:lnTo>
                  <a:lnTo>
                    <a:pt x="1362" y="1572"/>
                  </a:lnTo>
                  <a:lnTo>
                    <a:pt x="1356" y="1572"/>
                  </a:lnTo>
                  <a:lnTo>
                    <a:pt x="1356" y="1578"/>
                  </a:lnTo>
                  <a:lnTo>
                    <a:pt x="1350" y="1578"/>
                  </a:lnTo>
                  <a:lnTo>
                    <a:pt x="1350" y="1572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32" y="1584"/>
                  </a:lnTo>
                  <a:lnTo>
                    <a:pt x="1326" y="1590"/>
                  </a:lnTo>
                  <a:lnTo>
                    <a:pt x="1320" y="1584"/>
                  </a:lnTo>
                  <a:lnTo>
                    <a:pt x="1314" y="1590"/>
                  </a:lnTo>
                  <a:lnTo>
                    <a:pt x="1308" y="1596"/>
                  </a:lnTo>
                  <a:lnTo>
                    <a:pt x="1302" y="1596"/>
                  </a:lnTo>
                  <a:lnTo>
                    <a:pt x="1296" y="1596"/>
                  </a:lnTo>
                  <a:lnTo>
                    <a:pt x="1290" y="1596"/>
                  </a:lnTo>
                  <a:lnTo>
                    <a:pt x="1284" y="1596"/>
                  </a:lnTo>
                  <a:lnTo>
                    <a:pt x="1278" y="1602"/>
                  </a:lnTo>
                  <a:lnTo>
                    <a:pt x="1266" y="1602"/>
                  </a:lnTo>
                  <a:lnTo>
                    <a:pt x="1272" y="1608"/>
                  </a:lnTo>
                  <a:lnTo>
                    <a:pt x="1278" y="1608"/>
                  </a:lnTo>
                  <a:lnTo>
                    <a:pt x="1284" y="1608"/>
                  </a:lnTo>
                  <a:lnTo>
                    <a:pt x="1290" y="1614"/>
                  </a:lnTo>
                  <a:lnTo>
                    <a:pt x="1296" y="1620"/>
                  </a:lnTo>
                  <a:lnTo>
                    <a:pt x="1302" y="1626"/>
                  </a:lnTo>
                  <a:lnTo>
                    <a:pt x="1308" y="1632"/>
                  </a:lnTo>
                  <a:lnTo>
                    <a:pt x="1314" y="1638"/>
                  </a:lnTo>
                  <a:lnTo>
                    <a:pt x="1314" y="1644"/>
                  </a:lnTo>
                  <a:lnTo>
                    <a:pt x="1320" y="1644"/>
                  </a:lnTo>
                  <a:lnTo>
                    <a:pt x="1320" y="1650"/>
                  </a:lnTo>
                  <a:lnTo>
                    <a:pt x="1326" y="1656"/>
                  </a:lnTo>
                  <a:lnTo>
                    <a:pt x="1332" y="1668"/>
                  </a:lnTo>
                  <a:lnTo>
                    <a:pt x="1338" y="1680"/>
                  </a:lnTo>
                  <a:lnTo>
                    <a:pt x="1338" y="1698"/>
                  </a:lnTo>
                  <a:lnTo>
                    <a:pt x="1350" y="1710"/>
                  </a:lnTo>
                  <a:lnTo>
                    <a:pt x="1350" y="1716"/>
                  </a:lnTo>
                  <a:lnTo>
                    <a:pt x="1350" y="1722"/>
                  </a:lnTo>
                  <a:lnTo>
                    <a:pt x="1350" y="1728"/>
                  </a:lnTo>
                  <a:lnTo>
                    <a:pt x="1356" y="1728"/>
                  </a:lnTo>
                  <a:lnTo>
                    <a:pt x="1356" y="1734"/>
                  </a:lnTo>
                  <a:lnTo>
                    <a:pt x="1350" y="1734"/>
                  </a:lnTo>
                  <a:lnTo>
                    <a:pt x="1344" y="1740"/>
                  </a:lnTo>
                  <a:lnTo>
                    <a:pt x="1338" y="1740"/>
                  </a:lnTo>
                  <a:lnTo>
                    <a:pt x="1332" y="1746"/>
                  </a:lnTo>
                  <a:lnTo>
                    <a:pt x="1326" y="1746"/>
                  </a:lnTo>
                  <a:lnTo>
                    <a:pt x="1326" y="1752"/>
                  </a:lnTo>
                  <a:lnTo>
                    <a:pt x="1320" y="1752"/>
                  </a:lnTo>
                  <a:lnTo>
                    <a:pt x="1320" y="1758"/>
                  </a:lnTo>
                  <a:lnTo>
                    <a:pt x="1314" y="1758"/>
                  </a:lnTo>
                  <a:lnTo>
                    <a:pt x="1308" y="1758"/>
                  </a:lnTo>
                  <a:lnTo>
                    <a:pt x="1302" y="1758"/>
                  </a:lnTo>
                  <a:lnTo>
                    <a:pt x="1296" y="1758"/>
                  </a:lnTo>
                  <a:lnTo>
                    <a:pt x="1290" y="1764"/>
                  </a:lnTo>
                  <a:lnTo>
                    <a:pt x="1284" y="1770"/>
                  </a:lnTo>
                  <a:lnTo>
                    <a:pt x="1278" y="1770"/>
                  </a:lnTo>
                  <a:lnTo>
                    <a:pt x="1272" y="1770"/>
                  </a:lnTo>
                  <a:lnTo>
                    <a:pt x="1266" y="1770"/>
                  </a:lnTo>
                  <a:lnTo>
                    <a:pt x="1266" y="1776"/>
                  </a:lnTo>
                  <a:lnTo>
                    <a:pt x="1260" y="1776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4" name="Freeform 39">
              <a:extLst>
                <a:ext uri="{FF2B5EF4-FFF2-40B4-BE49-F238E27FC236}">
                  <a16:creationId xmlns:a16="http://schemas.microsoft.com/office/drawing/2014/main" id="{E01CDA8B-32C7-421A-B23E-968CAC7F78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2974" y="1759680"/>
              <a:ext cx="825155" cy="700024"/>
            </a:xfrm>
            <a:custGeom>
              <a:avLst/>
              <a:gdLst>
                <a:gd name="T0" fmla="*/ 60 w 1554"/>
                <a:gd name="T1" fmla="*/ 86 h 1320"/>
                <a:gd name="T2" fmla="*/ 66 w 1554"/>
                <a:gd name="T3" fmla="*/ 80 h 1320"/>
                <a:gd name="T4" fmla="*/ 61 w 1554"/>
                <a:gd name="T5" fmla="*/ 73 h 1320"/>
                <a:gd name="T6" fmla="*/ 57 w 1554"/>
                <a:gd name="T7" fmla="*/ 67 h 1320"/>
                <a:gd name="T8" fmla="*/ 60 w 1554"/>
                <a:gd name="T9" fmla="*/ 59 h 1320"/>
                <a:gd name="T10" fmla="*/ 56 w 1554"/>
                <a:gd name="T11" fmla="*/ 55 h 1320"/>
                <a:gd name="T12" fmla="*/ 45 w 1554"/>
                <a:gd name="T13" fmla="*/ 53 h 1320"/>
                <a:gd name="T14" fmla="*/ 42 w 1554"/>
                <a:gd name="T15" fmla="*/ 41 h 1320"/>
                <a:gd name="T16" fmla="*/ 37 w 1554"/>
                <a:gd name="T17" fmla="*/ 39 h 1320"/>
                <a:gd name="T18" fmla="*/ 31 w 1554"/>
                <a:gd name="T19" fmla="*/ 44 h 1320"/>
                <a:gd name="T20" fmla="*/ 37 w 1554"/>
                <a:gd name="T21" fmla="*/ 35 h 1320"/>
                <a:gd name="T22" fmla="*/ 30 w 1554"/>
                <a:gd name="T23" fmla="*/ 23 h 1320"/>
                <a:gd name="T24" fmla="*/ 21 w 1554"/>
                <a:gd name="T25" fmla="*/ 23 h 1320"/>
                <a:gd name="T26" fmla="*/ 15 w 1554"/>
                <a:gd name="T27" fmla="*/ 27 h 1320"/>
                <a:gd name="T28" fmla="*/ 11 w 1554"/>
                <a:gd name="T29" fmla="*/ 32 h 1320"/>
                <a:gd name="T30" fmla="*/ 6 w 1554"/>
                <a:gd name="T31" fmla="*/ 22 h 1320"/>
                <a:gd name="T32" fmla="*/ 3 w 1554"/>
                <a:gd name="T33" fmla="*/ 11 h 1320"/>
                <a:gd name="T34" fmla="*/ 24 w 1554"/>
                <a:gd name="T35" fmla="*/ 12 h 1320"/>
                <a:gd name="T36" fmla="*/ 33 w 1554"/>
                <a:gd name="T37" fmla="*/ 19 h 1320"/>
                <a:gd name="T38" fmla="*/ 49 w 1554"/>
                <a:gd name="T39" fmla="*/ 12 h 1320"/>
                <a:gd name="T40" fmla="*/ 58 w 1554"/>
                <a:gd name="T41" fmla="*/ 10 h 1320"/>
                <a:gd name="T42" fmla="*/ 68 w 1554"/>
                <a:gd name="T43" fmla="*/ 11 h 1320"/>
                <a:gd name="T44" fmla="*/ 79 w 1554"/>
                <a:gd name="T45" fmla="*/ 12 h 1320"/>
                <a:gd name="T46" fmla="*/ 96 w 1554"/>
                <a:gd name="T47" fmla="*/ 11 h 1320"/>
                <a:gd name="T48" fmla="*/ 107 w 1554"/>
                <a:gd name="T49" fmla="*/ 2 h 1320"/>
                <a:gd name="T50" fmla="*/ 117 w 1554"/>
                <a:gd name="T51" fmla="*/ 8 h 1320"/>
                <a:gd name="T52" fmla="*/ 126 w 1554"/>
                <a:gd name="T53" fmla="*/ 12 h 1320"/>
                <a:gd name="T54" fmla="*/ 134 w 1554"/>
                <a:gd name="T55" fmla="*/ 24 h 1320"/>
                <a:gd name="T56" fmla="*/ 133 w 1554"/>
                <a:gd name="T57" fmla="*/ 29 h 1320"/>
                <a:gd name="T58" fmla="*/ 129 w 1554"/>
                <a:gd name="T59" fmla="*/ 31 h 1320"/>
                <a:gd name="T60" fmla="*/ 125 w 1554"/>
                <a:gd name="T61" fmla="*/ 32 h 1320"/>
                <a:gd name="T62" fmla="*/ 115 w 1554"/>
                <a:gd name="T63" fmla="*/ 34 h 1320"/>
                <a:gd name="T64" fmla="*/ 113 w 1554"/>
                <a:gd name="T65" fmla="*/ 44 h 1320"/>
                <a:gd name="T66" fmla="*/ 111 w 1554"/>
                <a:gd name="T67" fmla="*/ 54 h 1320"/>
                <a:gd name="T68" fmla="*/ 107 w 1554"/>
                <a:gd name="T69" fmla="*/ 56 h 1320"/>
                <a:gd name="T70" fmla="*/ 102 w 1554"/>
                <a:gd name="T71" fmla="*/ 58 h 1320"/>
                <a:gd name="T72" fmla="*/ 99 w 1554"/>
                <a:gd name="T73" fmla="*/ 60 h 1320"/>
                <a:gd name="T74" fmla="*/ 93 w 1554"/>
                <a:gd name="T75" fmla="*/ 62 h 1320"/>
                <a:gd name="T76" fmla="*/ 87 w 1554"/>
                <a:gd name="T77" fmla="*/ 64 h 1320"/>
                <a:gd name="T78" fmla="*/ 84 w 1554"/>
                <a:gd name="T79" fmla="*/ 65 h 1320"/>
                <a:gd name="T80" fmla="*/ 81 w 1554"/>
                <a:gd name="T81" fmla="*/ 69 h 1320"/>
                <a:gd name="T82" fmla="*/ 83 w 1554"/>
                <a:gd name="T83" fmla="*/ 72 h 1320"/>
                <a:gd name="T84" fmla="*/ 92 w 1554"/>
                <a:gd name="T85" fmla="*/ 73 h 1320"/>
                <a:gd name="T86" fmla="*/ 93 w 1554"/>
                <a:gd name="T87" fmla="*/ 87 h 1320"/>
                <a:gd name="T88" fmla="*/ 104 w 1554"/>
                <a:gd name="T89" fmla="*/ 98 h 1320"/>
                <a:gd name="T90" fmla="*/ 108 w 1554"/>
                <a:gd name="T91" fmla="*/ 98 h 1320"/>
                <a:gd name="T92" fmla="*/ 112 w 1554"/>
                <a:gd name="T93" fmla="*/ 100 h 1320"/>
                <a:gd name="T94" fmla="*/ 118 w 1554"/>
                <a:gd name="T95" fmla="*/ 100 h 1320"/>
                <a:gd name="T96" fmla="*/ 122 w 1554"/>
                <a:gd name="T97" fmla="*/ 102 h 1320"/>
                <a:gd name="T98" fmla="*/ 118 w 1554"/>
                <a:gd name="T99" fmla="*/ 105 h 1320"/>
                <a:gd name="T100" fmla="*/ 114 w 1554"/>
                <a:gd name="T101" fmla="*/ 107 h 1320"/>
                <a:gd name="T102" fmla="*/ 113 w 1554"/>
                <a:gd name="T103" fmla="*/ 113 h 1320"/>
                <a:gd name="T104" fmla="*/ 104 w 1554"/>
                <a:gd name="T105" fmla="*/ 113 h 1320"/>
                <a:gd name="T106" fmla="*/ 93 w 1554"/>
                <a:gd name="T107" fmla="*/ 109 h 1320"/>
                <a:gd name="T108" fmla="*/ 96 w 1554"/>
                <a:gd name="T109" fmla="*/ 103 h 1320"/>
                <a:gd name="T110" fmla="*/ 95 w 1554"/>
                <a:gd name="T111" fmla="*/ 97 h 1320"/>
                <a:gd name="T112" fmla="*/ 87 w 1554"/>
                <a:gd name="T113" fmla="*/ 98 h 1320"/>
                <a:gd name="T114" fmla="*/ 81 w 1554"/>
                <a:gd name="T115" fmla="*/ 98 h 1320"/>
                <a:gd name="T116" fmla="*/ 78 w 1554"/>
                <a:gd name="T117" fmla="*/ 93 h 1320"/>
                <a:gd name="T118" fmla="*/ 65 w 1554"/>
                <a:gd name="T119" fmla="*/ 92 h 1320"/>
                <a:gd name="T120" fmla="*/ 59 w 1554"/>
                <a:gd name="T121" fmla="*/ 92 h 13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54"/>
                <a:gd name="T184" fmla="*/ 0 h 1320"/>
                <a:gd name="T185" fmla="*/ 1554 w 1554"/>
                <a:gd name="T186" fmla="*/ 1320 h 132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54" h="1320">
                  <a:moveTo>
                    <a:pt x="684" y="1068"/>
                  </a:moveTo>
                  <a:lnTo>
                    <a:pt x="684" y="1062"/>
                  </a:lnTo>
                  <a:lnTo>
                    <a:pt x="690" y="1056"/>
                  </a:lnTo>
                  <a:lnTo>
                    <a:pt x="690" y="1050"/>
                  </a:lnTo>
                  <a:lnTo>
                    <a:pt x="690" y="1044"/>
                  </a:lnTo>
                  <a:lnTo>
                    <a:pt x="690" y="1038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14"/>
                  </a:lnTo>
                  <a:lnTo>
                    <a:pt x="690" y="1008"/>
                  </a:lnTo>
                  <a:lnTo>
                    <a:pt x="696" y="996"/>
                  </a:lnTo>
                  <a:lnTo>
                    <a:pt x="714" y="996"/>
                  </a:lnTo>
                  <a:lnTo>
                    <a:pt x="714" y="990"/>
                  </a:lnTo>
                  <a:lnTo>
                    <a:pt x="732" y="984"/>
                  </a:lnTo>
                  <a:lnTo>
                    <a:pt x="744" y="978"/>
                  </a:lnTo>
                  <a:lnTo>
                    <a:pt x="762" y="966"/>
                  </a:lnTo>
                  <a:lnTo>
                    <a:pt x="762" y="960"/>
                  </a:lnTo>
                  <a:lnTo>
                    <a:pt x="768" y="954"/>
                  </a:lnTo>
                  <a:lnTo>
                    <a:pt x="774" y="948"/>
                  </a:lnTo>
                  <a:lnTo>
                    <a:pt x="774" y="942"/>
                  </a:lnTo>
                  <a:lnTo>
                    <a:pt x="774" y="924"/>
                  </a:lnTo>
                  <a:lnTo>
                    <a:pt x="768" y="918"/>
                  </a:lnTo>
                  <a:lnTo>
                    <a:pt x="756" y="918"/>
                  </a:lnTo>
                  <a:lnTo>
                    <a:pt x="744" y="918"/>
                  </a:lnTo>
                  <a:lnTo>
                    <a:pt x="732" y="924"/>
                  </a:lnTo>
                  <a:lnTo>
                    <a:pt x="726" y="912"/>
                  </a:lnTo>
                  <a:lnTo>
                    <a:pt x="720" y="912"/>
                  </a:lnTo>
                  <a:lnTo>
                    <a:pt x="720" y="900"/>
                  </a:lnTo>
                  <a:lnTo>
                    <a:pt x="720" y="870"/>
                  </a:lnTo>
                  <a:lnTo>
                    <a:pt x="696" y="876"/>
                  </a:lnTo>
                  <a:lnTo>
                    <a:pt x="690" y="852"/>
                  </a:lnTo>
                  <a:lnTo>
                    <a:pt x="702" y="852"/>
                  </a:lnTo>
                  <a:lnTo>
                    <a:pt x="702" y="840"/>
                  </a:lnTo>
                  <a:lnTo>
                    <a:pt x="708" y="834"/>
                  </a:lnTo>
                  <a:lnTo>
                    <a:pt x="702" y="822"/>
                  </a:lnTo>
                  <a:lnTo>
                    <a:pt x="660" y="822"/>
                  </a:lnTo>
                  <a:lnTo>
                    <a:pt x="654" y="822"/>
                  </a:lnTo>
                  <a:lnTo>
                    <a:pt x="642" y="822"/>
                  </a:lnTo>
                  <a:lnTo>
                    <a:pt x="642" y="810"/>
                  </a:lnTo>
                  <a:lnTo>
                    <a:pt x="642" y="798"/>
                  </a:lnTo>
                  <a:lnTo>
                    <a:pt x="642" y="792"/>
                  </a:lnTo>
                  <a:lnTo>
                    <a:pt x="648" y="780"/>
                  </a:lnTo>
                  <a:lnTo>
                    <a:pt x="654" y="774"/>
                  </a:lnTo>
                  <a:lnTo>
                    <a:pt x="660" y="774"/>
                  </a:lnTo>
                  <a:lnTo>
                    <a:pt x="672" y="762"/>
                  </a:lnTo>
                  <a:lnTo>
                    <a:pt x="672" y="756"/>
                  </a:lnTo>
                  <a:lnTo>
                    <a:pt x="678" y="750"/>
                  </a:lnTo>
                  <a:lnTo>
                    <a:pt x="684" y="750"/>
                  </a:lnTo>
                  <a:lnTo>
                    <a:pt x="690" y="744"/>
                  </a:lnTo>
                  <a:lnTo>
                    <a:pt x="696" y="732"/>
                  </a:lnTo>
                  <a:lnTo>
                    <a:pt x="696" y="726"/>
                  </a:lnTo>
                  <a:lnTo>
                    <a:pt x="702" y="714"/>
                  </a:lnTo>
                  <a:lnTo>
                    <a:pt x="696" y="708"/>
                  </a:lnTo>
                  <a:lnTo>
                    <a:pt x="690" y="690"/>
                  </a:lnTo>
                  <a:lnTo>
                    <a:pt x="696" y="678"/>
                  </a:lnTo>
                  <a:lnTo>
                    <a:pt x="708" y="672"/>
                  </a:lnTo>
                  <a:lnTo>
                    <a:pt x="708" y="660"/>
                  </a:lnTo>
                  <a:lnTo>
                    <a:pt x="702" y="660"/>
                  </a:lnTo>
                  <a:lnTo>
                    <a:pt x="696" y="660"/>
                  </a:lnTo>
                  <a:lnTo>
                    <a:pt x="690" y="654"/>
                  </a:lnTo>
                  <a:lnTo>
                    <a:pt x="684" y="654"/>
                  </a:lnTo>
                  <a:lnTo>
                    <a:pt x="690" y="606"/>
                  </a:lnTo>
                  <a:lnTo>
                    <a:pt x="660" y="606"/>
                  </a:lnTo>
                  <a:lnTo>
                    <a:pt x="660" y="612"/>
                  </a:lnTo>
                  <a:lnTo>
                    <a:pt x="648" y="612"/>
                  </a:lnTo>
                  <a:lnTo>
                    <a:pt x="642" y="636"/>
                  </a:lnTo>
                  <a:lnTo>
                    <a:pt x="636" y="636"/>
                  </a:lnTo>
                  <a:lnTo>
                    <a:pt x="630" y="648"/>
                  </a:lnTo>
                  <a:lnTo>
                    <a:pt x="612" y="648"/>
                  </a:lnTo>
                  <a:lnTo>
                    <a:pt x="606" y="636"/>
                  </a:lnTo>
                  <a:lnTo>
                    <a:pt x="600" y="630"/>
                  </a:lnTo>
                  <a:lnTo>
                    <a:pt x="588" y="606"/>
                  </a:lnTo>
                  <a:lnTo>
                    <a:pt x="552" y="606"/>
                  </a:lnTo>
                  <a:lnTo>
                    <a:pt x="552" y="612"/>
                  </a:lnTo>
                  <a:lnTo>
                    <a:pt x="540" y="612"/>
                  </a:lnTo>
                  <a:lnTo>
                    <a:pt x="540" y="606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16" y="612"/>
                  </a:lnTo>
                  <a:lnTo>
                    <a:pt x="516" y="582"/>
                  </a:lnTo>
                  <a:lnTo>
                    <a:pt x="522" y="576"/>
                  </a:lnTo>
                  <a:lnTo>
                    <a:pt x="528" y="576"/>
                  </a:lnTo>
                  <a:lnTo>
                    <a:pt x="528" y="552"/>
                  </a:lnTo>
                  <a:lnTo>
                    <a:pt x="522" y="540"/>
                  </a:lnTo>
                  <a:lnTo>
                    <a:pt x="510" y="528"/>
                  </a:lnTo>
                  <a:lnTo>
                    <a:pt x="486" y="510"/>
                  </a:lnTo>
                  <a:lnTo>
                    <a:pt x="480" y="498"/>
                  </a:lnTo>
                  <a:lnTo>
                    <a:pt x="480" y="474"/>
                  </a:lnTo>
                  <a:lnTo>
                    <a:pt x="492" y="468"/>
                  </a:lnTo>
                  <a:lnTo>
                    <a:pt x="486" y="450"/>
                  </a:lnTo>
                  <a:lnTo>
                    <a:pt x="474" y="456"/>
                  </a:lnTo>
                  <a:lnTo>
                    <a:pt x="468" y="456"/>
                  </a:lnTo>
                  <a:lnTo>
                    <a:pt x="462" y="456"/>
                  </a:lnTo>
                  <a:lnTo>
                    <a:pt x="456" y="468"/>
                  </a:lnTo>
                  <a:lnTo>
                    <a:pt x="456" y="474"/>
                  </a:lnTo>
                  <a:lnTo>
                    <a:pt x="450" y="480"/>
                  </a:lnTo>
                  <a:lnTo>
                    <a:pt x="444" y="450"/>
                  </a:lnTo>
                  <a:lnTo>
                    <a:pt x="438" y="450"/>
                  </a:lnTo>
                  <a:lnTo>
                    <a:pt x="432" y="450"/>
                  </a:lnTo>
                  <a:lnTo>
                    <a:pt x="420" y="450"/>
                  </a:lnTo>
                  <a:lnTo>
                    <a:pt x="420" y="456"/>
                  </a:lnTo>
                  <a:lnTo>
                    <a:pt x="414" y="456"/>
                  </a:lnTo>
                  <a:lnTo>
                    <a:pt x="408" y="468"/>
                  </a:lnTo>
                  <a:lnTo>
                    <a:pt x="402" y="468"/>
                  </a:lnTo>
                  <a:lnTo>
                    <a:pt x="396" y="474"/>
                  </a:lnTo>
                  <a:lnTo>
                    <a:pt x="390" y="492"/>
                  </a:lnTo>
                  <a:lnTo>
                    <a:pt x="384" y="504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54" y="510"/>
                  </a:lnTo>
                  <a:lnTo>
                    <a:pt x="360" y="480"/>
                  </a:lnTo>
                  <a:lnTo>
                    <a:pt x="360" y="474"/>
                  </a:lnTo>
                  <a:lnTo>
                    <a:pt x="378" y="456"/>
                  </a:lnTo>
                  <a:lnTo>
                    <a:pt x="384" y="450"/>
                  </a:lnTo>
                  <a:lnTo>
                    <a:pt x="396" y="444"/>
                  </a:lnTo>
                  <a:lnTo>
                    <a:pt x="402" y="438"/>
                  </a:lnTo>
                  <a:lnTo>
                    <a:pt x="408" y="438"/>
                  </a:lnTo>
                  <a:lnTo>
                    <a:pt x="408" y="426"/>
                  </a:lnTo>
                  <a:lnTo>
                    <a:pt x="414" y="420"/>
                  </a:lnTo>
                  <a:lnTo>
                    <a:pt x="426" y="420"/>
                  </a:lnTo>
                  <a:lnTo>
                    <a:pt x="426" y="408"/>
                  </a:lnTo>
                  <a:lnTo>
                    <a:pt x="420" y="390"/>
                  </a:lnTo>
                  <a:lnTo>
                    <a:pt x="408" y="384"/>
                  </a:lnTo>
                  <a:lnTo>
                    <a:pt x="378" y="378"/>
                  </a:lnTo>
                  <a:lnTo>
                    <a:pt x="354" y="366"/>
                  </a:lnTo>
                  <a:lnTo>
                    <a:pt x="342" y="360"/>
                  </a:lnTo>
                  <a:lnTo>
                    <a:pt x="342" y="348"/>
                  </a:lnTo>
                  <a:lnTo>
                    <a:pt x="336" y="330"/>
                  </a:lnTo>
                  <a:lnTo>
                    <a:pt x="348" y="306"/>
                  </a:lnTo>
                  <a:lnTo>
                    <a:pt x="360" y="294"/>
                  </a:lnTo>
                  <a:lnTo>
                    <a:pt x="360" y="282"/>
                  </a:lnTo>
                  <a:lnTo>
                    <a:pt x="342" y="270"/>
                  </a:lnTo>
                  <a:lnTo>
                    <a:pt x="342" y="264"/>
                  </a:lnTo>
                  <a:lnTo>
                    <a:pt x="330" y="264"/>
                  </a:lnTo>
                  <a:lnTo>
                    <a:pt x="312" y="270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88" y="270"/>
                  </a:lnTo>
                  <a:lnTo>
                    <a:pt x="282" y="270"/>
                  </a:lnTo>
                  <a:lnTo>
                    <a:pt x="276" y="264"/>
                  </a:lnTo>
                  <a:lnTo>
                    <a:pt x="270" y="264"/>
                  </a:lnTo>
                  <a:lnTo>
                    <a:pt x="252" y="270"/>
                  </a:lnTo>
                  <a:lnTo>
                    <a:pt x="246" y="270"/>
                  </a:lnTo>
                  <a:lnTo>
                    <a:pt x="240" y="270"/>
                  </a:lnTo>
                  <a:lnTo>
                    <a:pt x="228" y="270"/>
                  </a:lnTo>
                  <a:lnTo>
                    <a:pt x="216" y="276"/>
                  </a:lnTo>
                  <a:lnTo>
                    <a:pt x="210" y="270"/>
                  </a:lnTo>
                  <a:lnTo>
                    <a:pt x="204" y="270"/>
                  </a:lnTo>
                  <a:lnTo>
                    <a:pt x="198" y="276"/>
                  </a:lnTo>
                  <a:lnTo>
                    <a:pt x="192" y="276"/>
                  </a:lnTo>
                  <a:lnTo>
                    <a:pt x="186" y="282"/>
                  </a:lnTo>
                  <a:lnTo>
                    <a:pt x="180" y="288"/>
                  </a:lnTo>
                  <a:lnTo>
                    <a:pt x="174" y="300"/>
                  </a:lnTo>
                  <a:lnTo>
                    <a:pt x="168" y="306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8" y="330"/>
                  </a:lnTo>
                  <a:lnTo>
                    <a:pt x="162" y="336"/>
                  </a:lnTo>
                  <a:lnTo>
                    <a:pt x="156" y="342"/>
                  </a:lnTo>
                  <a:lnTo>
                    <a:pt x="156" y="348"/>
                  </a:lnTo>
                  <a:lnTo>
                    <a:pt x="156" y="354"/>
                  </a:lnTo>
                  <a:lnTo>
                    <a:pt x="150" y="366"/>
                  </a:lnTo>
                  <a:lnTo>
                    <a:pt x="150" y="372"/>
                  </a:lnTo>
                  <a:lnTo>
                    <a:pt x="144" y="366"/>
                  </a:lnTo>
                  <a:lnTo>
                    <a:pt x="132" y="366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20" y="348"/>
                  </a:lnTo>
                  <a:lnTo>
                    <a:pt x="102" y="330"/>
                  </a:lnTo>
                  <a:lnTo>
                    <a:pt x="96" y="318"/>
                  </a:lnTo>
                  <a:lnTo>
                    <a:pt x="96" y="282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0" y="258"/>
                  </a:lnTo>
                  <a:lnTo>
                    <a:pt x="84" y="252"/>
                  </a:lnTo>
                  <a:lnTo>
                    <a:pt x="66" y="258"/>
                  </a:lnTo>
                  <a:lnTo>
                    <a:pt x="60" y="246"/>
                  </a:lnTo>
                  <a:lnTo>
                    <a:pt x="30" y="252"/>
                  </a:lnTo>
                  <a:lnTo>
                    <a:pt x="18" y="246"/>
                  </a:lnTo>
                  <a:lnTo>
                    <a:pt x="0" y="240"/>
                  </a:lnTo>
                  <a:lnTo>
                    <a:pt x="0" y="234"/>
                  </a:lnTo>
                  <a:lnTo>
                    <a:pt x="0" y="210"/>
                  </a:lnTo>
                  <a:lnTo>
                    <a:pt x="6" y="204"/>
                  </a:lnTo>
                  <a:lnTo>
                    <a:pt x="18" y="192"/>
                  </a:lnTo>
                  <a:lnTo>
                    <a:pt x="18" y="144"/>
                  </a:lnTo>
                  <a:lnTo>
                    <a:pt x="24" y="126"/>
                  </a:lnTo>
                  <a:lnTo>
                    <a:pt x="36" y="126"/>
                  </a:lnTo>
                  <a:lnTo>
                    <a:pt x="54" y="120"/>
                  </a:lnTo>
                  <a:lnTo>
                    <a:pt x="54" y="126"/>
                  </a:lnTo>
                  <a:lnTo>
                    <a:pt x="132" y="114"/>
                  </a:lnTo>
                  <a:lnTo>
                    <a:pt x="144" y="120"/>
                  </a:lnTo>
                  <a:lnTo>
                    <a:pt x="150" y="132"/>
                  </a:lnTo>
                  <a:lnTo>
                    <a:pt x="180" y="126"/>
                  </a:lnTo>
                  <a:lnTo>
                    <a:pt x="210" y="120"/>
                  </a:lnTo>
                  <a:lnTo>
                    <a:pt x="240" y="120"/>
                  </a:lnTo>
                  <a:lnTo>
                    <a:pt x="258" y="120"/>
                  </a:lnTo>
                  <a:lnTo>
                    <a:pt x="270" y="126"/>
                  </a:lnTo>
                  <a:lnTo>
                    <a:pt x="276" y="132"/>
                  </a:lnTo>
                  <a:lnTo>
                    <a:pt x="282" y="138"/>
                  </a:lnTo>
                  <a:lnTo>
                    <a:pt x="282" y="156"/>
                  </a:lnTo>
                  <a:lnTo>
                    <a:pt x="288" y="186"/>
                  </a:lnTo>
                  <a:lnTo>
                    <a:pt x="312" y="192"/>
                  </a:lnTo>
                  <a:lnTo>
                    <a:pt x="318" y="198"/>
                  </a:lnTo>
                  <a:lnTo>
                    <a:pt x="324" y="204"/>
                  </a:lnTo>
                  <a:lnTo>
                    <a:pt x="330" y="210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66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86" y="210"/>
                  </a:lnTo>
                  <a:lnTo>
                    <a:pt x="498" y="198"/>
                  </a:lnTo>
                  <a:lnTo>
                    <a:pt x="504" y="174"/>
                  </a:lnTo>
                  <a:lnTo>
                    <a:pt x="516" y="162"/>
                  </a:lnTo>
                  <a:lnTo>
                    <a:pt x="516" y="138"/>
                  </a:lnTo>
                  <a:lnTo>
                    <a:pt x="522" y="132"/>
                  </a:lnTo>
                  <a:lnTo>
                    <a:pt x="564" y="132"/>
                  </a:lnTo>
                  <a:lnTo>
                    <a:pt x="564" y="114"/>
                  </a:lnTo>
                  <a:lnTo>
                    <a:pt x="582" y="114"/>
                  </a:lnTo>
                  <a:lnTo>
                    <a:pt x="594" y="114"/>
                  </a:lnTo>
                  <a:lnTo>
                    <a:pt x="606" y="114"/>
                  </a:lnTo>
                  <a:lnTo>
                    <a:pt x="612" y="114"/>
                  </a:lnTo>
                  <a:lnTo>
                    <a:pt x="630" y="114"/>
                  </a:lnTo>
                  <a:lnTo>
                    <a:pt x="636" y="114"/>
                  </a:lnTo>
                  <a:lnTo>
                    <a:pt x="648" y="114"/>
                  </a:lnTo>
                  <a:lnTo>
                    <a:pt x="654" y="114"/>
                  </a:lnTo>
                  <a:lnTo>
                    <a:pt x="660" y="120"/>
                  </a:lnTo>
                  <a:lnTo>
                    <a:pt x="672" y="120"/>
                  </a:lnTo>
                  <a:lnTo>
                    <a:pt x="684" y="120"/>
                  </a:lnTo>
                  <a:lnTo>
                    <a:pt x="690" y="120"/>
                  </a:lnTo>
                  <a:lnTo>
                    <a:pt x="702" y="120"/>
                  </a:lnTo>
                  <a:lnTo>
                    <a:pt x="708" y="120"/>
                  </a:lnTo>
                  <a:lnTo>
                    <a:pt x="726" y="126"/>
                  </a:lnTo>
                  <a:lnTo>
                    <a:pt x="732" y="126"/>
                  </a:lnTo>
                  <a:lnTo>
                    <a:pt x="738" y="126"/>
                  </a:lnTo>
                  <a:lnTo>
                    <a:pt x="750" y="126"/>
                  </a:lnTo>
                  <a:lnTo>
                    <a:pt x="756" y="126"/>
                  </a:lnTo>
                  <a:lnTo>
                    <a:pt x="768" y="126"/>
                  </a:lnTo>
                  <a:lnTo>
                    <a:pt x="780" y="126"/>
                  </a:lnTo>
                  <a:lnTo>
                    <a:pt x="786" y="120"/>
                  </a:lnTo>
                  <a:lnTo>
                    <a:pt x="792" y="120"/>
                  </a:lnTo>
                  <a:lnTo>
                    <a:pt x="810" y="120"/>
                  </a:lnTo>
                  <a:lnTo>
                    <a:pt x="822" y="120"/>
                  </a:lnTo>
                  <a:lnTo>
                    <a:pt x="846" y="126"/>
                  </a:lnTo>
                  <a:lnTo>
                    <a:pt x="858" y="126"/>
                  </a:lnTo>
                  <a:lnTo>
                    <a:pt x="870" y="132"/>
                  </a:lnTo>
                  <a:lnTo>
                    <a:pt x="882" y="132"/>
                  </a:lnTo>
                  <a:lnTo>
                    <a:pt x="894" y="132"/>
                  </a:lnTo>
                  <a:lnTo>
                    <a:pt x="900" y="132"/>
                  </a:lnTo>
                  <a:lnTo>
                    <a:pt x="912" y="132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36" y="132"/>
                  </a:lnTo>
                  <a:lnTo>
                    <a:pt x="960" y="132"/>
                  </a:lnTo>
                  <a:lnTo>
                    <a:pt x="966" y="144"/>
                  </a:lnTo>
                  <a:lnTo>
                    <a:pt x="972" y="144"/>
                  </a:lnTo>
                  <a:lnTo>
                    <a:pt x="1002" y="144"/>
                  </a:lnTo>
                  <a:lnTo>
                    <a:pt x="1020" y="144"/>
                  </a:lnTo>
                  <a:lnTo>
                    <a:pt x="1068" y="138"/>
                  </a:lnTo>
                  <a:lnTo>
                    <a:pt x="1110" y="132"/>
                  </a:lnTo>
                  <a:lnTo>
                    <a:pt x="1110" y="126"/>
                  </a:lnTo>
                  <a:lnTo>
                    <a:pt x="1116" y="120"/>
                  </a:lnTo>
                  <a:lnTo>
                    <a:pt x="1122" y="108"/>
                  </a:lnTo>
                  <a:lnTo>
                    <a:pt x="1134" y="96"/>
                  </a:lnTo>
                  <a:lnTo>
                    <a:pt x="1146" y="60"/>
                  </a:lnTo>
                  <a:lnTo>
                    <a:pt x="1158" y="54"/>
                  </a:lnTo>
                  <a:lnTo>
                    <a:pt x="1170" y="48"/>
                  </a:lnTo>
                  <a:lnTo>
                    <a:pt x="1188" y="42"/>
                  </a:lnTo>
                  <a:lnTo>
                    <a:pt x="1200" y="36"/>
                  </a:lnTo>
                  <a:lnTo>
                    <a:pt x="1212" y="36"/>
                  </a:lnTo>
                  <a:lnTo>
                    <a:pt x="1236" y="30"/>
                  </a:lnTo>
                  <a:lnTo>
                    <a:pt x="1236" y="24"/>
                  </a:lnTo>
                  <a:lnTo>
                    <a:pt x="1278" y="18"/>
                  </a:lnTo>
                  <a:lnTo>
                    <a:pt x="1290" y="18"/>
                  </a:lnTo>
                  <a:lnTo>
                    <a:pt x="1302" y="12"/>
                  </a:lnTo>
                  <a:lnTo>
                    <a:pt x="1314" y="0"/>
                  </a:lnTo>
                  <a:lnTo>
                    <a:pt x="1332" y="0"/>
                  </a:lnTo>
                  <a:lnTo>
                    <a:pt x="1338" y="24"/>
                  </a:lnTo>
                  <a:lnTo>
                    <a:pt x="1344" y="30"/>
                  </a:lnTo>
                  <a:lnTo>
                    <a:pt x="1350" y="42"/>
                  </a:lnTo>
                  <a:lnTo>
                    <a:pt x="1356" y="48"/>
                  </a:lnTo>
                  <a:lnTo>
                    <a:pt x="1356" y="78"/>
                  </a:lnTo>
                  <a:lnTo>
                    <a:pt x="1350" y="96"/>
                  </a:lnTo>
                  <a:lnTo>
                    <a:pt x="1338" y="108"/>
                  </a:lnTo>
                  <a:lnTo>
                    <a:pt x="1338" y="114"/>
                  </a:lnTo>
                  <a:lnTo>
                    <a:pt x="1338" y="120"/>
                  </a:lnTo>
                  <a:lnTo>
                    <a:pt x="1338" y="126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398" y="114"/>
                  </a:lnTo>
                  <a:lnTo>
                    <a:pt x="1416" y="120"/>
                  </a:lnTo>
                  <a:lnTo>
                    <a:pt x="1434" y="126"/>
                  </a:lnTo>
                  <a:lnTo>
                    <a:pt x="1458" y="132"/>
                  </a:lnTo>
                  <a:lnTo>
                    <a:pt x="1458" y="138"/>
                  </a:lnTo>
                  <a:lnTo>
                    <a:pt x="1512" y="138"/>
                  </a:lnTo>
                  <a:lnTo>
                    <a:pt x="1512" y="132"/>
                  </a:lnTo>
                  <a:lnTo>
                    <a:pt x="1524" y="138"/>
                  </a:lnTo>
                  <a:lnTo>
                    <a:pt x="1542" y="138"/>
                  </a:lnTo>
                  <a:lnTo>
                    <a:pt x="1542" y="150"/>
                  </a:lnTo>
                  <a:lnTo>
                    <a:pt x="1542" y="162"/>
                  </a:lnTo>
                  <a:lnTo>
                    <a:pt x="1548" y="174"/>
                  </a:lnTo>
                  <a:lnTo>
                    <a:pt x="1548" y="180"/>
                  </a:lnTo>
                  <a:lnTo>
                    <a:pt x="1554" y="222"/>
                  </a:lnTo>
                  <a:lnTo>
                    <a:pt x="1554" y="258"/>
                  </a:lnTo>
                  <a:lnTo>
                    <a:pt x="1554" y="276"/>
                  </a:lnTo>
                  <a:lnTo>
                    <a:pt x="1554" y="282"/>
                  </a:lnTo>
                  <a:lnTo>
                    <a:pt x="1554" y="294"/>
                  </a:lnTo>
                  <a:lnTo>
                    <a:pt x="1554" y="306"/>
                  </a:lnTo>
                  <a:lnTo>
                    <a:pt x="1554" y="324"/>
                  </a:lnTo>
                  <a:lnTo>
                    <a:pt x="1554" y="330"/>
                  </a:lnTo>
                  <a:lnTo>
                    <a:pt x="1548" y="330"/>
                  </a:lnTo>
                  <a:lnTo>
                    <a:pt x="1548" y="336"/>
                  </a:lnTo>
                  <a:lnTo>
                    <a:pt x="1548" y="342"/>
                  </a:lnTo>
                  <a:lnTo>
                    <a:pt x="1542" y="336"/>
                  </a:lnTo>
                  <a:lnTo>
                    <a:pt x="1542" y="330"/>
                  </a:lnTo>
                  <a:lnTo>
                    <a:pt x="1536" y="330"/>
                  </a:lnTo>
                  <a:lnTo>
                    <a:pt x="1530" y="330"/>
                  </a:lnTo>
                  <a:lnTo>
                    <a:pt x="1530" y="336"/>
                  </a:lnTo>
                  <a:lnTo>
                    <a:pt x="1536" y="342"/>
                  </a:lnTo>
                  <a:lnTo>
                    <a:pt x="1530" y="342"/>
                  </a:lnTo>
                  <a:lnTo>
                    <a:pt x="1518" y="348"/>
                  </a:lnTo>
                  <a:lnTo>
                    <a:pt x="1512" y="354"/>
                  </a:lnTo>
                  <a:lnTo>
                    <a:pt x="1506" y="354"/>
                  </a:lnTo>
                  <a:lnTo>
                    <a:pt x="1500" y="354"/>
                  </a:lnTo>
                  <a:lnTo>
                    <a:pt x="1494" y="354"/>
                  </a:lnTo>
                  <a:lnTo>
                    <a:pt x="1494" y="360"/>
                  </a:lnTo>
                  <a:lnTo>
                    <a:pt x="1488" y="360"/>
                  </a:lnTo>
                  <a:lnTo>
                    <a:pt x="1488" y="366"/>
                  </a:lnTo>
                  <a:lnTo>
                    <a:pt x="1488" y="372"/>
                  </a:lnTo>
                  <a:lnTo>
                    <a:pt x="1482" y="372"/>
                  </a:lnTo>
                  <a:lnTo>
                    <a:pt x="1476" y="372"/>
                  </a:lnTo>
                  <a:lnTo>
                    <a:pt x="1470" y="372"/>
                  </a:lnTo>
                  <a:lnTo>
                    <a:pt x="1470" y="378"/>
                  </a:lnTo>
                  <a:lnTo>
                    <a:pt x="1470" y="384"/>
                  </a:lnTo>
                  <a:lnTo>
                    <a:pt x="1470" y="390"/>
                  </a:lnTo>
                  <a:lnTo>
                    <a:pt x="1464" y="402"/>
                  </a:lnTo>
                  <a:lnTo>
                    <a:pt x="1446" y="402"/>
                  </a:lnTo>
                  <a:lnTo>
                    <a:pt x="1440" y="372"/>
                  </a:lnTo>
                  <a:lnTo>
                    <a:pt x="1410" y="372"/>
                  </a:lnTo>
                  <a:lnTo>
                    <a:pt x="1380" y="372"/>
                  </a:lnTo>
                  <a:lnTo>
                    <a:pt x="1374" y="372"/>
                  </a:lnTo>
                  <a:lnTo>
                    <a:pt x="1368" y="378"/>
                  </a:lnTo>
                  <a:lnTo>
                    <a:pt x="1362" y="378"/>
                  </a:lnTo>
                  <a:lnTo>
                    <a:pt x="1356" y="378"/>
                  </a:lnTo>
                  <a:lnTo>
                    <a:pt x="1350" y="384"/>
                  </a:lnTo>
                  <a:lnTo>
                    <a:pt x="1350" y="390"/>
                  </a:lnTo>
                  <a:lnTo>
                    <a:pt x="1344" y="390"/>
                  </a:lnTo>
                  <a:lnTo>
                    <a:pt x="1338" y="390"/>
                  </a:lnTo>
                  <a:lnTo>
                    <a:pt x="1332" y="390"/>
                  </a:lnTo>
                  <a:lnTo>
                    <a:pt x="1332" y="396"/>
                  </a:lnTo>
                  <a:lnTo>
                    <a:pt x="1332" y="390"/>
                  </a:lnTo>
                  <a:lnTo>
                    <a:pt x="1326" y="402"/>
                  </a:lnTo>
                  <a:lnTo>
                    <a:pt x="1320" y="402"/>
                  </a:lnTo>
                  <a:lnTo>
                    <a:pt x="1302" y="474"/>
                  </a:lnTo>
                  <a:lnTo>
                    <a:pt x="1308" y="480"/>
                  </a:lnTo>
                  <a:lnTo>
                    <a:pt x="1314" y="480"/>
                  </a:lnTo>
                  <a:lnTo>
                    <a:pt x="1308" y="498"/>
                  </a:lnTo>
                  <a:lnTo>
                    <a:pt x="1308" y="504"/>
                  </a:lnTo>
                  <a:lnTo>
                    <a:pt x="1314" y="510"/>
                  </a:lnTo>
                  <a:lnTo>
                    <a:pt x="1308" y="510"/>
                  </a:lnTo>
                  <a:lnTo>
                    <a:pt x="1308" y="516"/>
                  </a:lnTo>
                  <a:lnTo>
                    <a:pt x="1302" y="516"/>
                  </a:lnTo>
                  <a:lnTo>
                    <a:pt x="1296" y="510"/>
                  </a:lnTo>
                  <a:lnTo>
                    <a:pt x="1296" y="516"/>
                  </a:lnTo>
                  <a:lnTo>
                    <a:pt x="1290" y="540"/>
                  </a:lnTo>
                  <a:lnTo>
                    <a:pt x="1290" y="552"/>
                  </a:lnTo>
                  <a:lnTo>
                    <a:pt x="1284" y="558"/>
                  </a:lnTo>
                  <a:lnTo>
                    <a:pt x="1290" y="576"/>
                  </a:lnTo>
                  <a:lnTo>
                    <a:pt x="1290" y="600"/>
                  </a:lnTo>
                  <a:lnTo>
                    <a:pt x="1284" y="618"/>
                  </a:lnTo>
                  <a:lnTo>
                    <a:pt x="1290" y="624"/>
                  </a:lnTo>
                  <a:lnTo>
                    <a:pt x="1284" y="630"/>
                  </a:lnTo>
                  <a:lnTo>
                    <a:pt x="1278" y="630"/>
                  </a:lnTo>
                  <a:lnTo>
                    <a:pt x="1272" y="630"/>
                  </a:lnTo>
                  <a:lnTo>
                    <a:pt x="1266" y="636"/>
                  </a:lnTo>
                  <a:lnTo>
                    <a:pt x="1260" y="642"/>
                  </a:lnTo>
                  <a:lnTo>
                    <a:pt x="1260" y="636"/>
                  </a:lnTo>
                  <a:lnTo>
                    <a:pt x="1254" y="636"/>
                  </a:lnTo>
                  <a:lnTo>
                    <a:pt x="1248" y="636"/>
                  </a:lnTo>
                  <a:lnTo>
                    <a:pt x="1248" y="642"/>
                  </a:lnTo>
                  <a:lnTo>
                    <a:pt x="1242" y="642"/>
                  </a:lnTo>
                  <a:lnTo>
                    <a:pt x="1242" y="648"/>
                  </a:lnTo>
                  <a:lnTo>
                    <a:pt x="1236" y="654"/>
                  </a:lnTo>
                  <a:lnTo>
                    <a:pt x="1230" y="654"/>
                  </a:lnTo>
                  <a:lnTo>
                    <a:pt x="1224" y="654"/>
                  </a:lnTo>
                  <a:lnTo>
                    <a:pt x="1218" y="660"/>
                  </a:lnTo>
                  <a:lnTo>
                    <a:pt x="1212" y="660"/>
                  </a:lnTo>
                  <a:lnTo>
                    <a:pt x="1206" y="660"/>
                  </a:lnTo>
                  <a:lnTo>
                    <a:pt x="1200" y="660"/>
                  </a:lnTo>
                  <a:lnTo>
                    <a:pt x="1200" y="666"/>
                  </a:lnTo>
                  <a:lnTo>
                    <a:pt x="1194" y="666"/>
                  </a:lnTo>
                  <a:lnTo>
                    <a:pt x="1188" y="666"/>
                  </a:lnTo>
                  <a:lnTo>
                    <a:pt x="1182" y="672"/>
                  </a:lnTo>
                  <a:lnTo>
                    <a:pt x="1176" y="672"/>
                  </a:lnTo>
                  <a:lnTo>
                    <a:pt x="1170" y="672"/>
                  </a:lnTo>
                  <a:lnTo>
                    <a:pt x="1164" y="678"/>
                  </a:lnTo>
                  <a:lnTo>
                    <a:pt x="1170" y="678"/>
                  </a:lnTo>
                  <a:lnTo>
                    <a:pt x="1164" y="684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52" y="684"/>
                  </a:lnTo>
                  <a:lnTo>
                    <a:pt x="1152" y="690"/>
                  </a:lnTo>
                  <a:lnTo>
                    <a:pt x="1146" y="690"/>
                  </a:lnTo>
                  <a:lnTo>
                    <a:pt x="1140" y="690"/>
                  </a:lnTo>
                  <a:lnTo>
                    <a:pt x="1134" y="696"/>
                  </a:lnTo>
                  <a:lnTo>
                    <a:pt x="1128" y="696"/>
                  </a:lnTo>
                  <a:lnTo>
                    <a:pt x="1122" y="702"/>
                  </a:lnTo>
                  <a:lnTo>
                    <a:pt x="1116" y="702"/>
                  </a:lnTo>
                  <a:lnTo>
                    <a:pt x="1110" y="708"/>
                  </a:lnTo>
                  <a:lnTo>
                    <a:pt x="1104" y="708"/>
                  </a:lnTo>
                  <a:lnTo>
                    <a:pt x="1098" y="708"/>
                  </a:lnTo>
                  <a:lnTo>
                    <a:pt x="1092" y="708"/>
                  </a:lnTo>
                  <a:lnTo>
                    <a:pt x="1092" y="714"/>
                  </a:lnTo>
                  <a:lnTo>
                    <a:pt x="1086" y="720"/>
                  </a:lnTo>
                  <a:lnTo>
                    <a:pt x="1080" y="720"/>
                  </a:lnTo>
                  <a:lnTo>
                    <a:pt x="1074" y="720"/>
                  </a:lnTo>
                  <a:lnTo>
                    <a:pt x="1068" y="720"/>
                  </a:lnTo>
                  <a:lnTo>
                    <a:pt x="1062" y="720"/>
                  </a:lnTo>
                  <a:lnTo>
                    <a:pt x="1050" y="726"/>
                  </a:lnTo>
                  <a:lnTo>
                    <a:pt x="1044" y="726"/>
                  </a:lnTo>
                  <a:lnTo>
                    <a:pt x="1038" y="732"/>
                  </a:lnTo>
                  <a:lnTo>
                    <a:pt x="1026" y="732"/>
                  </a:lnTo>
                  <a:lnTo>
                    <a:pt x="1020" y="732"/>
                  </a:lnTo>
                  <a:lnTo>
                    <a:pt x="1014" y="738"/>
                  </a:lnTo>
                  <a:lnTo>
                    <a:pt x="1008" y="738"/>
                  </a:lnTo>
                  <a:lnTo>
                    <a:pt x="1002" y="738"/>
                  </a:lnTo>
                  <a:lnTo>
                    <a:pt x="996" y="738"/>
                  </a:lnTo>
                  <a:lnTo>
                    <a:pt x="990" y="738"/>
                  </a:lnTo>
                  <a:lnTo>
                    <a:pt x="990" y="732"/>
                  </a:lnTo>
                  <a:lnTo>
                    <a:pt x="984" y="732"/>
                  </a:lnTo>
                  <a:lnTo>
                    <a:pt x="978" y="738"/>
                  </a:lnTo>
                  <a:lnTo>
                    <a:pt x="978" y="744"/>
                  </a:lnTo>
                  <a:lnTo>
                    <a:pt x="984" y="744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8" y="756"/>
                  </a:lnTo>
                  <a:lnTo>
                    <a:pt x="972" y="756"/>
                  </a:lnTo>
                  <a:lnTo>
                    <a:pt x="972" y="762"/>
                  </a:lnTo>
                  <a:lnTo>
                    <a:pt x="966" y="768"/>
                  </a:lnTo>
                  <a:lnTo>
                    <a:pt x="966" y="762"/>
                  </a:lnTo>
                  <a:lnTo>
                    <a:pt x="960" y="762"/>
                  </a:lnTo>
                  <a:lnTo>
                    <a:pt x="954" y="768"/>
                  </a:lnTo>
                  <a:lnTo>
                    <a:pt x="954" y="774"/>
                  </a:lnTo>
                  <a:lnTo>
                    <a:pt x="948" y="774"/>
                  </a:lnTo>
                  <a:lnTo>
                    <a:pt x="948" y="780"/>
                  </a:lnTo>
                  <a:lnTo>
                    <a:pt x="948" y="786"/>
                  </a:lnTo>
                  <a:lnTo>
                    <a:pt x="942" y="786"/>
                  </a:lnTo>
                  <a:lnTo>
                    <a:pt x="942" y="792"/>
                  </a:lnTo>
                  <a:lnTo>
                    <a:pt x="936" y="792"/>
                  </a:lnTo>
                  <a:lnTo>
                    <a:pt x="942" y="798"/>
                  </a:lnTo>
                  <a:lnTo>
                    <a:pt x="942" y="804"/>
                  </a:lnTo>
                  <a:lnTo>
                    <a:pt x="942" y="810"/>
                  </a:lnTo>
                  <a:lnTo>
                    <a:pt x="948" y="810"/>
                  </a:lnTo>
                  <a:lnTo>
                    <a:pt x="942" y="816"/>
                  </a:lnTo>
                  <a:lnTo>
                    <a:pt x="948" y="816"/>
                  </a:lnTo>
                  <a:lnTo>
                    <a:pt x="948" y="822"/>
                  </a:lnTo>
                  <a:lnTo>
                    <a:pt x="954" y="822"/>
                  </a:lnTo>
                  <a:lnTo>
                    <a:pt x="960" y="828"/>
                  </a:lnTo>
                  <a:lnTo>
                    <a:pt x="960" y="834"/>
                  </a:lnTo>
                  <a:lnTo>
                    <a:pt x="966" y="834"/>
                  </a:lnTo>
                  <a:lnTo>
                    <a:pt x="960" y="840"/>
                  </a:lnTo>
                  <a:lnTo>
                    <a:pt x="966" y="846"/>
                  </a:lnTo>
                  <a:lnTo>
                    <a:pt x="966" y="840"/>
                  </a:lnTo>
                  <a:lnTo>
                    <a:pt x="972" y="840"/>
                  </a:lnTo>
                  <a:lnTo>
                    <a:pt x="990" y="840"/>
                  </a:lnTo>
                  <a:lnTo>
                    <a:pt x="1002" y="834"/>
                  </a:lnTo>
                  <a:lnTo>
                    <a:pt x="1020" y="828"/>
                  </a:lnTo>
                  <a:lnTo>
                    <a:pt x="1032" y="828"/>
                  </a:lnTo>
                  <a:lnTo>
                    <a:pt x="1050" y="828"/>
                  </a:lnTo>
                  <a:lnTo>
                    <a:pt x="1062" y="846"/>
                  </a:lnTo>
                  <a:lnTo>
                    <a:pt x="1074" y="876"/>
                  </a:lnTo>
                  <a:lnTo>
                    <a:pt x="1068" y="900"/>
                  </a:lnTo>
                  <a:lnTo>
                    <a:pt x="1074" y="912"/>
                  </a:lnTo>
                  <a:lnTo>
                    <a:pt x="1074" y="936"/>
                  </a:lnTo>
                  <a:lnTo>
                    <a:pt x="1068" y="942"/>
                  </a:lnTo>
                  <a:lnTo>
                    <a:pt x="1062" y="954"/>
                  </a:lnTo>
                  <a:lnTo>
                    <a:pt x="1056" y="978"/>
                  </a:lnTo>
                  <a:lnTo>
                    <a:pt x="1056" y="996"/>
                  </a:lnTo>
                  <a:lnTo>
                    <a:pt x="1068" y="990"/>
                  </a:lnTo>
                  <a:lnTo>
                    <a:pt x="1074" y="990"/>
                  </a:lnTo>
                  <a:lnTo>
                    <a:pt x="1074" y="1008"/>
                  </a:lnTo>
                  <a:lnTo>
                    <a:pt x="1080" y="1008"/>
                  </a:lnTo>
                  <a:lnTo>
                    <a:pt x="1092" y="1014"/>
                  </a:lnTo>
                  <a:lnTo>
                    <a:pt x="1110" y="1044"/>
                  </a:lnTo>
                  <a:lnTo>
                    <a:pt x="1110" y="1062"/>
                  </a:lnTo>
                  <a:lnTo>
                    <a:pt x="1128" y="1068"/>
                  </a:lnTo>
                  <a:lnTo>
                    <a:pt x="1128" y="1092"/>
                  </a:lnTo>
                  <a:lnTo>
                    <a:pt x="1134" y="1098"/>
                  </a:lnTo>
                  <a:lnTo>
                    <a:pt x="1158" y="1122"/>
                  </a:lnTo>
                  <a:lnTo>
                    <a:pt x="1188" y="1122"/>
                  </a:lnTo>
                  <a:lnTo>
                    <a:pt x="1188" y="1128"/>
                  </a:lnTo>
                  <a:lnTo>
                    <a:pt x="1200" y="1134"/>
                  </a:lnTo>
                  <a:lnTo>
                    <a:pt x="1206" y="1134"/>
                  </a:lnTo>
                  <a:lnTo>
                    <a:pt x="1206" y="1128"/>
                  </a:lnTo>
                  <a:lnTo>
                    <a:pt x="1212" y="1128"/>
                  </a:lnTo>
                  <a:lnTo>
                    <a:pt x="1218" y="1128"/>
                  </a:lnTo>
                  <a:lnTo>
                    <a:pt x="1224" y="1122"/>
                  </a:lnTo>
                  <a:lnTo>
                    <a:pt x="1224" y="1128"/>
                  </a:lnTo>
                  <a:lnTo>
                    <a:pt x="1230" y="1128"/>
                  </a:lnTo>
                  <a:lnTo>
                    <a:pt x="1236" y="1128"/>
                  </a:lnTo>
                  <a:lnTo>
                    <a:pt x="1236" y="1122"/>
                  </a:lnTo>
                  <a:lnTo>
                    <a:pt x="1242" y="1122"/>
                  </a:lnTo>
                  <a:lnTo>
                    <a:pt x="1248" y="1128"/>
                  </a:lnTo>
                  <a:lnTo>
                    <a:pt x="1254" y="1128"/>
                  </a:lnTo>
                  <a:lnTo>
                    <a:pt x="1260" y="1134"/>
                  </a:lnTo>
                  <a:lnTo>
                    <a:pt x="1260" y="1140"/>
                  </a:lnTo>
                  <a:lnTo>
                    <a:pt x="1266" y="1140"/>
                  </a:lnTo>
                  <a:lnTo>
                    <a:pt x="1272" y="1140"/>
                  </a:lnTo>
                  <a:lnTo>
                    <a:pt x="1278" y="1140"/>
                  </a:lnTo>
                  <a:lnTo>
                    <a:pt x="1284" y="1140"/>
                  </a:lnTo>
                  <a:lnTo>
                    <a:pt x="1290" y="1146"/>
                  </a:lnTo>
                  <a:lnTo>
                    <a:pt x="1290" y="1152"/>
                  </a:lnTo>
                  <a:lnTo>
                    <a:pt x="1296" y="1146"/>
                  </a:lnTo>
                  <a:lnTo>
                    <a:pt x="1296" y="1152"/>
                  </a:lnTo>
                  <a:lnTo>
                    <a:pt x="1308" y="1152"/>
                  </a:lnTo>
                  <a:lnTo>
                    <a:pt x="1314" y="1152"/>
                  </a:lnTo>
                  <a:lnTo>
                    <a:pt x="1320" y="1152"/>
                  </a:lnTo>
                  <a:lnTo>
                    <a:pt x="1332" y="1152"/>
                  </a:lnTo>
                  <a:lnTo>
                    <a:pt x="1338" y="1152"/>
                  </a:lnTo>
                  <a:lnTo>
                    <a:pt x="1344" y="1152"/>
                  </a:lnTo>
                  <a:lnTo>
                    <a:pt x="1344" y="1158"/>
                  </a:lnTo>
                  <a:lnTo>
                    <a:pt x="1350" y="1158"/>
                  </a:lnTo>
                  <a:lnTo>
                    <a:pt x="1356" y="1158"/>
                  </a:lnTo>
                  <a:lnTo>
                    <a:pt x="1362" y="1158"/>
                  </a:lnTo>
                  <a:lnTo>
                    <a:pt x="1368" y="1158"/>
                  </a:lnTo>
                  <a:lnTo>
                    <a:pt x="1374" y="1164"/>
                  </a:lnTo>
                  <a:lnTo>
                    <a:pt x="1380" y="1164"/>
                  </a:lnTo>
                  <a:lnTo>
                    <a:pt x="1386" y="1170"/>
                  </a:lnTo>
                  <a:lnTo>
                    <a:pt x="1392" y="1170"/>
                  </a:lnTo>
                  <a:lnTo>
                    <a:pt x="1398" y="1164"/>
                  </a:lnTo>
                  <a:lnTo>
                    <a:pt x="1404" y="1164"/>
                  </a:lnTo>
                  <a:lnTo>
                    <a:pt x="1410" y="1164"/>
                  </a:lnTo>
                  <a:lnTo>
                    <a:pt x="1416" y="1164"/>
                  </a:lnTo>
                  <a:lnTo>
                    <a:pt x="1416" y="1170"/>
                  </a:lnTo>
                  <a:lnTo>
                    <a:pt x="1422" y="1176"/>
                  </a:lnTo>
                  <a:lnTo>
                    <a:pt x="1416" y="1176"/>
                  </a:lnTo>
                  <a:lnTo>
                    <a:pt x="1416" y="1182"/>
                  </a:lnTo>
                  <a:lnTo>
                    <a:pt x="1410" y="1188"/>
                  </a:lnTo>
                  <a:lnTo>
                    <a:pt x="1404" y="1194"/>
                  </a:lnTo>
                  <a:lnTo>
                    <a:pt x="1404" y="1200"/>
                  </a:lnTo>
                  <a:lnTo>
                    <a:pt x="1404" y="1206"/>
                  </a:lnTo>
                  <a:lnTo>
                    <a:pt x="1398" y="1212"/>
                  </a:lnTo>
                  <a:lnTo>
                    <a:pt x="1398" y="1206"/>
                  </a:lnTo>
                  <a:lnTo>
                    <a:pt x="1392" y="1206"/>
                  </a:lnTo>
                  <a:lnTo>
                    <a:pt x="1386" y="1206"/>
                  </a:lnTo>
                  <a:lnTo>
                    <a:pt x="1380" y="1212"/>
                  </a:lnTo>
                  <a:lnTo>
                    <a:pt x="1374" y="1212"/>
                  </a:lnTo>
                  <a:lnTo>
                    <a:pt x="1368" y="1218"/>
                  </a:lnTo>
                  <a:lnTo>
                    <a:pt x="1362" y="1218"/>
                  </a:lnTo>
                  <a:lnTo>
                    <a:pt x="1362" y="1224"/>
                  </a:lnTo>
                  <a:lnTo>
                    <a:pt x="1356" y="1230"/>
                  </a:lnTo>
                  <a:lnTo>
                    <a:pt x="1350" y="1230"/>
                  </a:lnTo>
                  <a:lnTo>
                    <a:pt x="1344" y="1236"/>
                  </a:lnTo>
                  <a:lnTo>
                    <a:pt x="1338" y="1230"/>
                  </a:lnTo>
                  <a:lnTo>
                    <a:pt x="1332" y="1230"/>
                  </a:lnTo>
                  <a:lnTo>
                    <a:pt x="1326" y="1230"/>
                  </a:lnTo>
                  <a:lnTo>
                    <a:pt x="1320" y="1230"/>
                  </a:lnTo>
                  <a:lnTo>
                    <a:pt x="1314" y="1230"/>
                  </a:lnTo>
                  <a:lnTo>
                    <a:pt x="1296" y="1242"/>
                  </a:lnTo>
                  <a:lnTo>
                    <a:pt x="1296" y="1248"/>
                  </a:lnTo>
                  <a:lnTo>
                    <a:pt x="1290" y="1248"/>
                  </a:lnTo>
                  <a:lnTo>
                    <a:pt x="1290" y="1260"/>
                  </a:lnTo>
                  <a:lnTo>
                    <a:pt x="1278" y="1272"/>
                  </a:lnTo>
                  <a:lnTo>
                    <a:pt x="1278" y="1278"/>
                  </a:lnTo>
                  <a:lnTo>
                    <a:pt x="1278" y="1284"/>
                  </a:lnTo>
                  <a:lnTo>
                    <a:pt x="1278" y="1290"/>
                  </a:lnTo>
                  <a:lnTo>
                    <a:pt x="1284" y="1296"/>
                  </a:lnTo>
                  <a:lnTo>
                    <a:pt x="1302" y="1302"/>
                  </a:lnTo>
                  <a:lnTo>
                    <a:pt x="1308" y="1308"/>
                  </a:lnTo>
                  <a:lnTo>
                    <a:pt x="1308" y="1314"/>
                  </a:lnTo>
                  <a:lnTo>
                    <a:pt x="1302" y="1320"/>
                  </a:lnTo>
                  <a:lnTo>
                    <a:pt x="1278" y="1314"/>
                  </a:lnTo>
                  <a:lnTo>
                    <a:pt x="1266" y="1308"/>
                  </a:lnTo>
                  <a:lnTo>
                    <a:pt x="1260" y="1296"/>
                  </a:lnTo>
                  <a:lnTo>
                    <a:pt x="1236" y="1296"/>
                  </a:lnTo>
                  <a:lnTo>
                    <a:pt x="1224" y="1308"/>
                  </a:lnTo>
                  <a:lnTo>
                    <a:pt x="1218" y="1308"/>
                  </a:lnTo>
                  <a:lnTo>
                    <a:pt x="1218" y="1302"/>
                  </a:lnTo>
                  <a:lnTo>
                    <a:pt x="1212" y="1302"/>
                  </a:lnTo>
                  <a:lnTo>
                    <a:pt x="1206" y="1302"/>
                  </a:lnTo>
                  <a:lnTo>
                    <a:pt x="1170" y="1314"/>
                  </a:lnTo>
                  <a:lnTo>
                    <a:pt x="1134" y="1296"/>
                  </a:lnTo>
                  <a:lnTo>
                    <a:pt x="1122" y="1290"/>
                  </a:lnTo>
                  <a:lnTo>
                    <a:pt x="1104" y="1290"/>
                  </a:lnTo>
                  <a:lnTo>
                    <a:pt x="1098" y="1278"/>
                  </a:lnTo>
                  <a:lnTo>
                    <a:pt x="1092" y="1242"/>
                  </a:lnTo>
                  <a:lnTo>
                    <a:pt x="1086" y="1242"/>
                  </a:lnTo>
                  <a:lnTo>
                    <a:pt x="1086" y="1248"/>
                  </a:lnTo>
                  <a:lnTo>
                    <a:pt x="1086" y="1254"/>
                  </a:lnTo>
                  <a:lnTo>
                    <a:pt x="1080" y="1254"/>
                  </a:lnTo>
                  <a:lnTo>
                    <a:pt x="1080" y="1260"/>
                  </a:lnTo>
                  <a:lnTo>
                    <a:pt x="1074" y="1260"/>
                  </a:lnTo>
                  <a:lnTo>
                    <a:pt x="1068" y="1236"/>
                  </a:lnTo>
                  <a:lnTo>
                    <a:pt x="1068" y="1206"/>
                  </a:lnTo>
                  <a:lnTo>
                    <a:pt x="1080" y="1194"/>
                  </a:lnTo>
                  <a:lnTo>
                    <a:pt x="1086" y="1194"/>
                  </a:lnTo>
                  <a:lnTo>
                    <a:pt x="1092" y="1200"/>
                  </a:lnTo>
                  <a:lnTo>
                    <a:pt x="1098" y="1206"/>
                  </a:lnTo>
                  <a:lnTo>
                    <a:pt x="1104" y="1200"/>
                  </a:lnTo>
                  <a:lnTo>
                    <a:pt x="1104" y="1194"/>
                  </a:lnTo>
                  <a:lnTo>
                    <a:pt x="1110" y="1194"/>
                  </a:lnTo>
                  <a:lnTo>
                    <a:pt x="1110" y="1188"/>
                  </a:lnTo>
                  <a:lnTo>
                    <a:pt x="1116" y="1182"/>
                  </a:lnTo>
                  <a:lnTo>
                    <a:pt x="1110" y="1182"/>
                  </a:lnTo>
                  <a:lnTo>
                    <a:pt x="1110" y="1170"/>
                  </a:lnTo>
                  <a:lnTo>
                    <a:pt x="1110" y="1158"/>
                  </a:lnTo>
                  <a:lnTo>
                    <a:pt x="1110" y="1152"/>
                  </a:lnTo>
                  <a:lnTo>
                    <a:pt x="1104" y="1146"/>
                  </a:lnTo>
                  <a:lnTo>
                    <a:pt x="1098" y="1140"/>
                  </a:lnTo>
                  <a:lnTo>
                    <a:pt x="1098" y="1134"/>
                  </a:lnTo>
                  <a:lnTo>
                    <a:pt x="1098" y="1128"/>
                  </a:lnTo>
                  <a:lnTo>
                    <a:pt x="1092" y="1128"/>
                  </a:lnTo>
                  <a:lnTo>
                    <a:pt x="1092" y="1122"/>
                  </a:lnTo>
                  <a:lnTo>
                    <a:pt x="1092" y="1116"/>
                  </a:lnTo>
                  <a:lnTo>
                    <a:pt x="1092" y="1110"/>
                  </a:lnTo>
                  <a:lnTo>
                    <a:pt x="1056" y="1122"/>
                  </a:lnTo>
                  <a:lnTo>
                    <a:pt x="1038" y="1128"/>
                  </a:lnTo>
                  <a:lnTo>
                    <a:pt x="1032" y="1128"/>
                  </a:lnTo>
                  <a:lnTo>
                    <a:pt x="1026" y="1128"/>
                  </a:lnTo>
                  <a:lnTo>
                    <a:pt x="1020" y="1128"/>
                  </a:lnTo>
                  <a:lnTo>
                    <a:pt x="1014" y="1128"/>
                  </a:lnTo>
                  <a:lnTo>
                    <a:pt x="1014" y="1122"/>
                  </a:lnTo>
                  <a:lnTo>
                    <a:pt x="1008" y="1122"/>
                  </a:lnTo>
                  <a:lnTo>
                    <a:pt x="1002" y="1128"/>
                  </a:lnTo>
                  <a:lnTo>
                    <a:pt x="1002" y="1134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84" y="1140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66" y="1140"/>
                  </a:lnTo>
                  <a:lnTo>
                    <a:pt x="954" y="1140"/>
                  </a:lnTo>
                  <a:lnTo>
                    <a:pt x="954" y="1134"/>
                  </a:lnTo>
                  <a:lnTo>
                    <a:pt x="948" y="1134"/>
                  </a:lnTo>
                  <a:lnTo>
                    <a:pt x="942" y="1134"/>
                  </a:lnTo>
                  <a:lnTo>
                    <a:pt x="936" y="1134"/>
                  </a:lnTo>
                  <a:lnTo>
                    <a:pt x="930" y="1134"/>
                  </a:lnTo>
                  <a:lnTo>
                    <a:pt x="924" y="1134"/>
                  </a:lnTo>
                  <a:lnTo>
                    <a:pt x="918" y="1134"/>
                  </a:lnTo>
                  <a:lnTo>
                    <a:pt x="918" y="1128"/>
                  </a:lnTo>
                  <a:lnTo>
                    <a:pt x="918" y="1104"/>
                  </a:lnTo>
                  <a:lnTo>
                    <a:pt x="906" y="1104"/>
                  </a:lnTo>
                  <a:lnTo>
                    <a:pt x="900" y="1098"/>
                  </a:lnTo>
                  <a:lnTo>
                    <a:pt x="900" y="1092"/>
                  </a:lnTo>
                  <a:lnTo>
                    <a:pt x="900" y="1086"/>
                  </a:lnTo>
                  <a:lnTo>
                    <a:pt x="900" y="1080"/>
                  </a:lnTo>
                  <a:lnTo>
                    <a:pt x="894" y="1080"/>
                  </a:lnTo>
                  <a:lnTo>
                    <a:pt x="858" y="1074"/>
                  </a:lnTo>
                  <a:lnTo>
                    <a:pt x="852" y="1080"/>
                  </a:lnTo>
                  <a:lnTo>
                    <a:pt x="846" y="1086"/>
                  </a:lnTo>
                  <a:lnTo>
                    <a:pt x="840" y="1086"/>
                  </a:lnTo>
                  <a:lnTo>
                    <a:pt x="840" y="1092"/>
                  </a:lnTo>
                  <a:lnTo>
                    <a:pt x="834" y="1092"/>
                  </a:lnTo>
                  <a:lnTo>
                    <a:pt x="828" y="1098"/>
                  </a:lnTo>
                  <a:lnTo>
                    <a:pt x="822" y="1098"/>
                  </a:lnTo>
                  <a:lnTo>
                    <a:pt x="762" y="1074"/>
                  </a:lnTo>
                  <a:lnTo>
                    <a:pt x="756" y="1068"/>
                  </a:lnTo>
                  <a:lnTo>
                    <a:pt x="750" y="1068"/>
                  </a:lnTo>
                  <a:lnTo>
                    <a:pt x="744" y="1062"/>
                  </a:lnTo>
                  <a:lnTo>
                    <a:pt x="744" y="1068"/>
                  </a:lnTo>
                  <a:lnTo>
                    <a:pt x="744" y="1074"/>
                  </a:lnTo>
                  <a:lnTo>
                    <a:pt x="738" y="1074"/>
                  </a:lnTo>
                  <a:lnTo>
                    <a:pt x="738" y="1068"/>
                  </a:lnTo>
                  <a:lnTo>
                    <a:pt x="732" y="1068"/>
                  </a:lnTo>
                  <a:lnTo>
                    <a:pt x="726" y="1068"/>
                  </a:lnTo>
                  <a:lnTo>
                    <a:pt x="726" y="1074"/>
                  </a:lnTo>
                  <a:lnTo>
                    <a:pt x="720" y="1074"/>
                  </a:lnTo>
                  <a:lnTo>
                    <a:pt x="684" y="106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5" name="Freeform 40">
              <a:extLst>
                <a:ext uri="{FF2B5EF4-FFF2-40B4-BE49-F238E27FC236}">
                  <a16:creationId xmlns:a16="http://schemas.microsoft.com/office/drawing/2014/main" id="{37EC2F22-BDB9-4162-8FA4-08493F6898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3558" y="1520374"/>
              <a:ext cx="1057717" cy="1252440"/>
            </a:xfrm>
            <a:custGeom>
              <a:avLst/>
              <a:gdLst>
                <a:gd name="T0" fmla="*/ 98 w 1992"/>
                <a:gd name="T1" fmla="*/ 162 h 2358"/>
                <a:gd name="T2" fmla="*/ 93 w 1992"/>
                <a:gd name="T3" fmla="*/ 172 h 2358"/>
                <a:gd name="T4" fmla="*/ 82 w 1992"/>
                <a:gd name="T5" fmla="*/ 179 h 2358"/>
                <a:gd name="T6" fmla="*/ 70 w 1992"/>
                <a:gd name="T7" fmla="*/ 174 h 2358"/>
                <a:gd name="T8" fmla="*/ 62 w 1992"/>
                <a:gd name="T9" fmla="*/ 182 h 2358"/>
                <a:gd name="T10" fmla="*/ 45 w 1992"/>
                <a:gd name="T11" fmla="*/ 189 h 2358"/>
                <a:gd name="T12" fmla="*/ 24 w 1992"/>
                <a:gd name="T13" fmla="*/ 205 h 2358"/>
                <a:gd name="T14" fmla="*/ 17 w 1992"/>
                <a:gd name="T15" fmla="*/ 204 h 2358"/>
                <a:gd name="T16" fmla="*/ 7 w 1992"/>
                <a:gd name="T17" fmla="*/ 197 h 2358"/>
                <a:gd name="T18" fmla="*/ 1 w 1992"/>
                <a:gd name="T19" fmla="*/ 191 h 2358"/>
                <a:gd name="T20" fmla="*/ 4 w 1992"/>
                <a:gd name="T21" fmla="*/ 175 h 2358"/>
                <a:gd name="T22" fmla="*/ 7 w 1992"/>
                <a:gd name="T23" fmla="*/ 172 h 2358"/>
                <a:gd name="T24" fmla="*/ 11 w 1992"/>
                <a:gd name="T25" fmla="*/ 168 h 2358"/>
                <a:gd name="T26" fmla="*/ 5 w 1992"/>
                <a:gd name="T27" fmla="*/ 159 h 2358"/>
                <a:gd name="T28" fmla="*/ 10 w 1992"/>
                <a:gd name="T29" fmla="*/ 156 h 2358"/>
                <a:gd name="T30" fmla="*/ 15 w 1992"/>
                <a:gd name="T31" fmla="*/ 155 h 2358"/>
                <a:gd name="T32" fmla="*/ 24 w 1992"/>
                <a:gd name="T33" fmla="*/ 149 h 2358"/>
                <a:gd name="T34" fmla="*/ 38 w 1992"/>
                <a:gd name="T35" fmla="*/ 127 h 2358"/>
                <a:gd name="T36" fmla="*/ 38 w 1992"/>
                <a:gd name="T37" fmla="*/ 107 h 2358"/>
                <a:gd name="T38" fmla="*/ 45 w 1992"/>
                <a:gd name="T39" fmla="*/ 66 h 2358"/>
                <a:gd name="T40" fmla="*/ 47 w 1992"/>
                <a:gd name="T41" fmla="*/ 36 h 2358"/>
                <a:gd name="T42" fmla="*/ 51 w 1992"/>
                <a:gd name="T43" fmla="*/ 35 h 2358"/>
                <a:gd name="T44" fmla="*/ 55 w 1992"/>
                <a:gd name="T45" fmla="*/ 30 h 2358"/>
                <a:gd name="T46" fmla="*/ 56 w 1992"/>
                <a:gd name="T47" fmla="*/ 27 h 2358"/>
                <a:gd name="T48" fmla="*/ 60 w 1992"/>
                <a:gd name="T49" fmla="*/ 23 h 2358"/>
                <a:gd name="T50" fmla="*/ 63 w 1992"/>
                <a:gd name="T51" fmla="*/ 23 h 2358"/>
                <a:gd name="T52" fmla="*/ 70 w 1992"/>
                <a:gd name="T53" fmla="*/ 18 h 2358"/>
                <a:gd name="T54" fmla="*/ 71 w 1992"/>
                <a:gd name="T55" fmla="*/ 15 h 2358"/>
                <a:gd name="T56" fmla="*/ 72 w 1992"/>
                <a:gd name="T57" fmla="*/ 13 h 2358"/>
                <a:gd name="T58" fmla="*/ 77 w 1992"/>
                <a:gd name="T59" fmla="*/ 12 h 2358"/>
                <a:gd name="T60" fmla="*/ 83 w 1992"/>
                <a:gd name="T61" fmla="*/ 10 h 2358"/>
                <a:gd name="T62" fmla="*/ 87 w 1992"/>
                <a:gd name="T63" fmla="*/ 10 h 2358"/>
                <a:gd name="T64" fmla="*/ 89 w 1992"/>
                <a:gd name="T65" fmla="*/ 10 h 2358"/>
                <a:gd name="T66" fmla="*/ 93 w 1992"/>
                <a:gd name="T67" fmla="*/ 8 h 2358"/>
                <a:gd name="T68" fmla="*/ 95 w 1992"/>
                <a:gd name="T69" fmla="*/ 4 h 2358"/>
                <a:gd name="T70" fmla="*/ 99 w 1992"/>
                <a:gd name="T71" fmla="*/ 0 h 2358"/>
                <a:gd name="T72" fmla="*/ 111 w 1992"/>
                <a:gd name="T73" fmla="*/ 0 h 2358"/>
                <a:gd name="T74" fmla="*/ 121 w 1992"/>
                <a:gd name="T75" fmla="*/ 9 h 2358"/>
                <a:gd name="T76" fmla="*/ 128 w 1992"/>
                <a:gd name="T77" fmla="*/ 19 h 2358"/>
                <a:gd name="T78" fmla="*/ 138 w 1992"/>
                <a:gd name="T79" fmla="*/ 33 h 2358"/>
                <a:gd name="T80" fmla="*/ 142 w 1992"/>
                <a:gd name="T81" fmla="*/ 47 h 2358"/>
                <a:gd name="T82" fmla="*/ 145 w 1992"/>
                <a:gd name="T83" fmla="*/ 62 h 2358"/>
                <a:gd name="T84" fmla="*/ 145 w 1992"/>
                <a:gd name="T85" fmla="*/ 70 h 2358"/>
                <a:gd name="T86" fmla="*/ 147 w 1992"/>
                <a:gd name="T87" fmla="*/ 75 h 2358"/>
                <a:gd name="T88" fmla="*/ 153 w 1992"/>
                <a:gd name="T89" fmla="*/ 75 h 2358"/>
                <a:gd name="T90" fmla="*/ 160 w 1992"/>
                <a:gd name="T91" fmla="*/ 76 h 2358"/>
                <a:gd name="T92" fmla="*/ 164 w 1992"/>
                <a:gd name="T93" fmla="*/ 79 h 2358"/>
                <a:gd name="T94" fmla="*/ 168 w 1992"/>
                <a:gd name="T95" fmla="*/ 83 h 2358"/>
                <a:gd name="T96" fmla="*/ 172 w 1992"/>
                <a:gd name="T97" fmla="*/ 86 h 2358"/>
                <a:gd name="T98" fmla="*/ 170 w 1992"/>
                <a:gd name="T99" fmla="*/ 93 h 2358"/>
                <a:gd name="T100" fmla="*/ 170 w 1992"/>
                <a:gd name="T101" fmla="*/ 99 h 2358"/>
                <a:gd name="T102" fmla="*/ 169 w 1992"/>
                <a:gd name="T103" fmla="*/ 106 h 2358"/>
                <a:gd name="T104" fmla="*/ 166 w 1992"/>
                <a:gd name="T105" fmla="*/ 113 h 2358"/>
                <a:gd name="T106" fmla="*/ 170 w 1992"/>
                <a:gd name="T107" fmla="*/ 122 h 2358"/>
                <a:gd name="T108" fmla="*/ 159 w 1992"/>
                <a:gd name="T109" fmla="*/ 128 h 2358"/>
                <a:gd name="T110" fmla="*/ 148 w 1992"/>
                <a:gd name="T111" fmla="*/ 134 h 2358"/>
                <a:gd name="T112" fmla="*/ 139 w 1992"/>
                <a:gd name="T113" fmla="*/ 136 h 2358"/>
                <a:gd name="T114" fmla="*/ 132 w 1992"/>
                <a:gd name="T115" fmla="*/ 138 h 2358"/>
                <a:gd name="T116" fmla="*/ 128 w 1992"/>
                <a:gd name="T117" fmla="*/ 145 h 2358"/>
                <a:gd name="T118" fmla="*/ 124 w 1992"/>
                <a:gd name="T119" fmla="*/ 150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92"/>
                <a:gd name="T181" fmla="*/ 0 h 2358"/>
                <a:gd name="T182" fmla="*/ 1992 w 1992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92" h="2358">
                  <a:moveTo>
                    <a:pt x="1356" y="1782"/>
                  </a:moveTo>
                  <a:lnTo>
                    <a:pt x="1350" y="1788"/>
                  </a:lnTo>
                  <a:lnTo>
                    <a:pt x="1266" y="1788"/>
                  </a:lnTo>
                  <a:lnTo>
                    <a:pt x="1260" y="1800"/>
                  </a:lnTo>
                  <a:lnTo>
                    <a:pt x="1242" y="1806"/>
                  </a:lnTo>
                  <a:lnTo>
                    <a:pt x="1218" y="1812"/>
                  </a:lnTo>
                  <a:lnTo>
                    <a:pt x="1182" y="1812"/>
                  </a:lnTo>
                  <a:lnTo>
                    <a:pt x="1158" y="1806"/>
                  </a:lnTo>
                  <a:lnTo>
                    <a:pt x="1134" y="1800"/>
                  </a:lnTo>
                  <a:lnTo>
                    <a:pt x="1134" y="1806"/>
                  </a:lnTo>
                  <a:lnTo>
                    <a:pt x="1134" y="1830"/>
                  </a:lnTo>
                  <a:lnTo>
                    <a:pt x="1128" y="1842"/>
                  </a:lnTo>
                  <a:lnTo>
                    <a:pt x="1128" y="1854"/>
                  </a:lnTo>
                  <a:lnTo>
                    <a:pt x="1128" y="1860"/>
                  </a:lnTo>
                  <a:lnTo>
                    <a:pt x="1128" y="1866"/>
                  </a:lnTo>
                  <a:lnTo>
                    <a:pt x="1128" y="1872"/>
                  </a:lnTo>
                  <a:lnTo>
                    <a:pt x="1128" y="1884"/>
                  </a:lnTo>
                  <a:lnTo>
                    <a:pt x="1128" y="1890"/>
                  </a:lnTo>
                  <a:lnTo>
                    <a:pt x="1128" y="1896"/>
                  </a:lnTo>
                  <a:lnTo>
                    <a:pt x="1122" y="1902"/>
                  </a:lnTo>
                  <a:lnTo>
                    <a:pt x="1122" y="1920"/>
                  </a:lnTo>
                  <a:lnTo>
                    <a:pt x="1116" y="1920"/>
                  </a:lnTo>
                  <a:lnTo>
                    <a:pt x="1110" y="1926"/>
                  </a:lnTo>
                  <a:lnTo>
                    <a:pt x="1110" y="1932"/>
                  </a:lnTo>
                  <a:lnTo>
                    <a:pt x="1104" y="1938"/>
                  </a:lnTo>
                  <a:lnTo>
                    <a:pt x="1086" y="1962"/>
                  </a:lnTo>
                  <a:lnTo>
                    <a:pt x="1074" y="1974"/>
                  </a:lnTo>
                  <a:lnTo>
                    <a:pt x="1074" y="1980"/>
                  </a:lnTo>
                  <a:lnTo>
                    <a:pt x="1068" y="1986"/>
                  </a:lnTo>
                  <a:lnTo>
                    <a:pt x="1062" y="1998"/>
                  </a:lnTo>
                  <a:lnTo>
                    <a:pt x="1062" y="2004"/>
                  </a:lnTo>
                  <a:lnTo>
                    <a:pt x="1068" y="2004"/>
                  </a:lnTo>
                  <a:lnTo>
                    <a:pt x="1056" y="2034"/>
                  </a:lnTo>
                  <a:lnTo>
                    <a:pt x="1050" y="2076"/>
                  </a:lnTo>
                  <a:lnTo>
                    <a:pt x="1056" y="2100"/>
                  </a:lnTo>
                  <a:lnTo>
                    <a:pt x="1038" y="2106"/>
                  </a:lnTo>
                  <a:lnTo>
                    <a:pt x="1002" y="2106"/>
                  </a:lnTo>
                  <a:lnTo>
                    <a:pt x="978" y="2094"/>
                  </a:lnTo>
                  <a:lnTo>
                    <a:pt x="972" y="2082"/>
                  </a:lnTo>
                  <a:lnTo>
                    <a:pt x="966" y="2070"/>
                  </a:lnTo>
                  <a:lnTo>
                    <a:pt x="954" y="2064"/>
                  </a:lnTo>
                  <a:lnTo>
                    <a:pt x="942" y="2058"/>
                  </a:lnTo>
                  <a:lnTo>
                    <a:pt x="936" y="2058"/>
                  </a:lnTo>
                  <a:lnTo>
                    <a:pt x="918" y="2046"/>
                  </a:lnTo>
                  <a:lnTo>
                    <a:pt x="906" y="2028"/>
                  </a:lnTo>
                  <a:lnTo>
                    <a:pt x="900" y="2022"/>
                  </a:lnTo>
                  <a:lnTo>
                    <a:pt x="894" y="2022"/>
                  </a:lnTo>
                  <a:lnTo>
                    <a:pt x="882" y="2022"/>
                  </a:lnTo>
                  <a:lnTo>
                    <a:pt x="870" y="2016"/>
                  </a:lnTo>
                  <a:lnTo>
                    <a:pt x="864" y="2016"/>
                  </a:lnTo>
                  <a:lnTo>
                    <a:pt x="852" y="2010"/>
                  </a:lnTo>
                  <a:lnTo>
                    <a:pt x="846" y="2004"/>
                  </a:lnTo>
                  <a:lnTo>
                    <a:pt x="840" y="2004"/>
                  </a:lnTo>
                  <a:lnTo>
                    <a:pt x="828" y="1998"/>
                  </a:lnTo>
                  <a:lnTo>
                    <a:pt x="816" y="1998"/>
                  </a:lnTo>
                  <a:lnTo>
                    <a:pt x="810" y="1998"/>
                  </a:lnTo>
                  <a:lnTo>
                    <a:pt x="804" y="1998"/>
                  </a:lnTo>
                  <a:lnTo>
                    <a:pt x="798" y="1998"/>
                  </a:lnTo>
                  <a:lnTo>
                    <a:pt x="792" y="2004"/>
                  </a:lnTo>
                  <a:lnTo>
                    <a:pt x="786" y="2010"/>
                  </a:lnTo>
                  <a:lnTo>
                    <a:pt x="762" y="2010"/>
                  </a:lnTo>
                  <a:lnTo>
                    <a:pt x="756" y="2010"/>
                  </a:lnTo>
                  <a:lnTo>
                    <a:pt x="744" y="2022"/>
                  </a:lnTo>
                  <a:lnTo>
                    <a:pt x="738" y="2034"/>
                  </a:lnTo>
                  <a:lnTo>
                    <a:pt x="732" y="2040"/>
                  </a:lnTo>
                  <a:lnTo>
                    <a:pt x="732" y="2046"/>
                  </a:lnTo>
                  <a:lnTo>
                    <a:pt x="726" y="2058"/>
                  </a:lnTo>
                  <a:lnTo>
                    <a:pt x="720" y="2064"/>
                  </a:lnTo>
                  <a:lnTo>
                    <a:pt x="714" y="2070"/>
                  </a:lnTo>
                  <a:lnTo>
                    <a:pt x="708" y="2088"/>
                  </a:lnTo>
                  <a:lnTo>
                    <a:pt x="702" y="2100"/>
                  </a:lnTo>
                  <a:lnTo>
                    <a:pt x="690" y="2100"/>
                  </a:lnTo>
                  <a:lnTo>
                    <a:pt x="684" y="2094"/>
                  </a:lnTo>
                  <a:lnTo>
                    <a:pt x="666" y="2100"/>
                  </a:lnTo>
                  <a:lnTo>
                    <a:pt x="636" y="2106"/>
                  </a:lnTo>
                  <a:lnTo>
                    <a:pt x="636" y="2112"/>
                  </a:lnTo>
                  <a:lnTo>
                    <a:pt x="636" y="2118"/>
                  </a:lnTo>
                  <a:lnTo>
                    <a:pt x="636" y="2124"/>
                  </a:lnTo>
                  <a:lnTo>
                    <a:pt x="630" y="2124"/>
                  </a:lnTo>
                  <a:lnTo>
                    <a:pt x="630" y="2148"/>
                  </a:lnTo>
                  <a:lnTo>
                    <a:pt x="612" y="2160"/>
                  </a:lnTo>
                  <a:lnTo>
                    <a:pt x="576" y="2172"/>
                  </a:lnTo>
                  <a:lnTo>
                    <a:pt x="546" y="2172"/>
                  </a:lnTo>
                  <a:lnTo>
                    <a:pt x="516" y="2172"/>
                  </a:lnTo>
                  <a:lnTo>
                    <a:pt x="486" y="2172"/>
                  </a:lnTo>
                  <a:lnTo>
                    <a:pt x="462" y="2172"/>
                  </a:lnTo>
                  <a:lnTo>
                    <a:pt x="444" y="2196"/>
                  </a:lnTo>
                  <a:lnTo>
                    <a:pt x="432" y="2232"/>
                  </a:lnTo>
                  <a:lnTo>
                    <a:pt x="408" y="2238"/>
                  </a:lnTo>
                  <a:lnTo>
                    <a:pt x="390" y="2256"/>
                  </a:lnTo>
                  <a:lnTo>
                    <a:pt x="372" y="2274"/>
                  </a:lnTo>
                  <a:lnTo>
                    <a:pt x="360" y="2274"/>
                  </a:lnTo>
                  <a:lnTo>
                    <a:pt x="336" y="2328"/>
                  </a:lnTo>
                  <a:lnTo>
                    <a:pt x="324" y="2340"/>
                  </a:lnTo>
                  <a:lnTo>
                    <a:pt x="300" y="2346"/>
                  </a:lnTo>
                  <a:lnTo>
                    <a:pt x="294" y="2352"/>
                  </a:lnTo>
                  <a:lnTo>
                    <a:pt x="288" y="2352"/>
                  </a:lnTo>
                  <a:lnTo>
                    <a:pt x="282" y="2352"/>
                  </a:lnTo>
                  <a:lnTo>
                    <a:pt x="276" y="2352"/>
                  </a:lnTo>
                  <a:lnTo>
                    <a:pt x="270" y="2352"/>
                  </a:lnTo>
                  <a:lnTo>
                    <a:pt x="270" y="2346"/>
                  </a:lnTo>
                  <a:lnTo>
                    <a:pt x="264" y="2346"/>
                  </a:lnTo>
                  <a:lnTo>
                    <a:pt x="258" y="2352"/>
                  </a:lnTo>
                  <a:lnTo>
                    <a:pt x="252" y="2352"/>
                  </a:lnTo>
                  <a:lnTo>
                    <a:pt x="240" y="2352"/>
                  </a:lnTo>
                  <a:lnTo>
                    <a:pt x="228" y="2352"/>
                  </a:lnTo>
                  <a:lnTo>
                    <a:pt x="222" y="2352"/>
                  </a:lnTo>
                  <a:lnTo>
                    <a:pt x="216" y="2358"/>
                  </a:lnTo>
                  <a:lnTo>
                    <a:pt x="216" y="2352"/>
                  </a:lnTo>
                  <a:lnTo>
                    <a:pt x="210" y="2346"/>
                  </a:lnTo>
                  <a:lnTo>
                    <a:pt x="204" y="2346"/>
                  </a:lnTo>
                  <a:lnTo>
                    <a:pt x="198" y="2340"/>
                  </a:lnTo>
                  <a:lnTo>
                    <a:pt x="192" y="2340"/>
                  </a:lnTo>
                  <a:lnTo>
                    <a:pt x="186" y="2340"/>
                  </a:lnTo>
                  <a:lnTo>
                    <a:pt x="180" y="2340"/>
                  </a:lnTo>
                  <a:lnTo>
                    <a:pt x="174" y="2340"/>
                  </a:lnTo>
                  <a:lnTo>
                    <a:pt x="162" y="2328"/>
                  </a:lnTo>
                  <a:lnTo>
                    <a:pt x="156" y="2322"/>
                  </a:lnTo>
                  <a:lnTo>
                    <a:pt x="156" y="2316"/>
                  </a:lnTo>
                  <a:lnTo>
                    <a:pt x="156" y="2310"/>
                  </a:lnTo>
                  <a:lnTo>
                    <a:pt x="132" y="2286"/>
                  </a:lnTo>
                  <a:lnTo>
                    <a:pt x="120" y="2280"/>
                  </a:lnTo>
                  <a:lnTo>
                    <a:pt x="96" y="2274"/>
                  </a:lnTo>
                  <a:lnTo>
                    <a:pt x="84" y="2268"/>
                  </a:lnTo>
                  <a:lnTo>
                    <a:pt x="78" y="2268"/>
                  </a:lnTo>
                  <a:lnTo>
                    <a:pt x="78" y="2262"/>
                  </a:lnTo>
                  <a:lnTo>
                    <a:pt x="78" y="2256"/>
                  </a:lnTo>
                  <a:lnTo>
                    <a:pt x="78" y="2250"/>
                  </a:lnTo>
                  <a:lnTo>
                    <a:pt x="72" y="2250"/>
                  </a:lnTo>
                  <a:lnTo>
                    <a:pt x="66" y="2250"/>
                  </a:lnTo>
                  <a:lnTo>
                    <a:pt x="60" y="2250"/>
                  </a:lnTo>
                  <a:lnTo>
                    <a:pt x="48" y="2244"/>
                  </a:lnTo>
                  <a:lnTo>
                    <a:pt x="36" y="2238"/>
                  </a:lnTo>
                  <a:lnTo>
                    <a:pt x="36" y="2226"/>
                  </a:lnTo>
                  <a:lnTo>
                    <a:pt x="30" y="2226"/>
                  </a:lnTo>
                  <a:lnTo>
                    <a:pt x="30" y="2220"/>
                  </a:lnTo>
                  <a:lnTo>
                    <a:pt x="24" y="2208"/>
                  </a:lnTo>
                  <a:lnTo>
                    <a:pt x="18" y="2202"/>
                  </a:lnTo>
                  <a:lnTo>
                    <a:pt x="18" y="2196"/>
                  </a:lnTo>
                  <a:lnTo>
                    <a:pt x="12" y="2190"/>
                  </a:lnTo>
                  <a:lnTo>
                    <a:pt x="0" y="2190"/>
                  </a:lnTo>
                  <a:lnTo>
                    <a:pt x="6" y="2184"/>
                  </a:lnTo>
                  <a:lnTo>
                    <a:pt x="12" y="2178"/>
                  </a:lnTo>
                  <a:lnTo>
                    <a:pt x="18" y="2172"/>
                  </a:lnTo>
                  <a:lnTo>
                    <a:pt x="24" y="2166"/>
                  </a:lnTo>
                  <a:lnTo>
                    <a:pt x="30" y="2166"/>
                  </a:lnTo>
                  <a:lnTo>
                    <a:pt x="24" y="2160"/>
                  </a:lnTo>
                  <a:lnTo>
                    <a:pt x="30" y="2160"/>
                  </a:lnTo>
                  <a:lnTo>
                    <a:pt x="36" y="2154"/>
                  </a:lnTo>
                  <a:lnTo>
                    <a:pt x="36" y="2136"/>
                  </a:lnTo>
                  <a:lnTo>
                    <a:pt x="36" y="2118"/>
                  </a:lnTo>
                  <a:lnTo>
                    <a:pt x="48" y="2058"/>
                  </a:lnTo>
                  <a:lnTo>
                    <a:pt x="48" y="2022"/>
                  </a:lnTo>
                  <a:lnTo>
                    <a:pt x="48" y="2016"/>
                  </a:lnTo>
                  <a:lnTo>
                    <a:pt x="48" y="2010"/>
                  </a:lnTo>
                  <a:lnTo>
                    <a:pt x="48" y="2004"/>
                  </a:lnTo>
                  <a:lnTo>
                    <a:pt x="42" y="2004"/>
                  </a:lnTo>
                  <a:lnTo>
                    <a:pt x="42" y="1998"/>
                  </a:lnTo>
                  <a:lnTo>
                    <a:pt x="36" y="1992"/>
                  </a:lnTo>
                  <a:lnTo>
                    <a:pt x="42" y="1992"/>
                  </a:lnTo>
                  <a:lnTo>
                    <a:pt x="42" y="1986"/>
                  </a:lnTo>
                  <a:lnTo>
                    <a:pt x="48" y="1986"/>
                  </a:lnTo>
                  <a:lnTo>
                    <a:pt x="54" y="1986"/>
                  </a:lnTo>
                  <a:lnTo>
                    <a:pt x="60" y="1986"/>
                  </a:lnTo>
                  <a:lnTo>
                    <a:pt x="66" y="1980"/>
                  </a:lnTo>
                  <a:lnTo>
                    <a:pt x="72" y="1974"/>
                  </a:lnTo>
                  <a:lnTo>
                    <a:pt x="78" y="1974"/>
                  </a:lnTo>
                  <a:lnTo>
                    <a:pt x="84" y="1974"/>
                  </a:lnTo>
                  <a:lnTo>
                    <a:pt x="90" y="1974"/>
                  </a:lnTo>
                  <a:lnTo>
                    <a:pt x="96" y="1974"/>
                  </a:lnTo>
                  <a:lnTo>
                    <a:pt x="96" y="1968"/>
                  </a:lnTo>
                  <a:lnTo>
                    <a:pt x="102" y="1968"/>
                  </a:lnTo>
                  <a:lnTo>
                    <a:pt x="102" y="1962"/>
                  </a:lnTo>
                  <a:lnTo>
                    <a:pt x="108" y="1962"/>
                  </a:lnTo>
                  <a:lnTo>
                    <a:pt x="114" y="1956"/>
                  </a:lnTo>
                  <a:lnTo>
                    <a:pt x="120" y="1956"/>
                  </a:lnTo>
                  <a:lnTo>
                    <a:pt x="126" y="1950"/>
                  </a:lnTo>
                  <a:lnTo>
                    <a:pt x="132" y="1950"/>
                  </a:lnTo>
                  <a:lnTo>
                    <a:pt x="132" y="1944"/>
                  </a:lnTo>
                  <a:lnTo>
                    <a:pt x="126" y="1944"/>
                  </a:lnTo>
                  <a:lnTo>
                    <a:pt x="126" y="1938"/>
                  </a:lnTo>
                  <a:lnTo>
                    <a:pt x="126" y="1932"/>
                  </a:lnTo>
                  <a:lnTo>
                    <a:pt x="126" y="1926"/>
                  </a:lnTo>
                  <a:lnTo>
                    <a:pt x="114" y="1914"/>
                  </a:lnTo>
                  <a:lnTo>
                    <a:pt x="114" y="1896"/>
                  </a:lnTo>
                  <a:lnTo>
                    <a:pt x="108" y="1884"/>
                  </a:lnTo>
                  <a:lnTo>
                    <a:pt x="102" y="1872"/>
                  </a:lnTo>
                  <a:lnTo>
                    <a:pt x="96" y="1866"/>
                  </a:lnTo>
                  <a:lnTo>
                    <a:pt x="96" y="1860"/>
                  </a:lnTo>
                  <a:lnTo>
                    <a:pt x="90" y="1860"/>
                  </a:lnTo>
                  <a:lnTo>
                    <a:pt x="90" y="1854"/>
                  </a:lnTo>
                  <a:lnTo>
                    <a:pt x="84" y="1848"/>
                  </a:lnTo>
                  <a:lnTo>
                    <a:pt x="78" y="1842"/>
                  </a:lnTo>
                  <a:lnTo>
                    <a:pt x="72" y="1836"/>
                  </a:lnTo>
                  <a:lnTo>
                    <a:pt x="66" y="1830"/>
                  </a:lnTo>
                  <a:lnTo>
                    <a:pt x="60" y="1824"/>
                  </a:lnTo>
                  <a:lnTo>
                    <a:pt x="54" y="1824"/>
                  </a:lnTo>
                  <a:lnTo>
                    <a:pt x="48" y="1824"/>
                  </a:lnTo>
                  <a:lnTo>
                    <a:pt x="42" y="1818"/>
                  </a:lnTo>
                  <a:lnTo>
                    <a:pt x="54" y="1818"/>
                  </a:lnTo>
                  <a:lnTo>
                    <a:pt x="60" y="1812"/>
                  </a:lnTo>
                  <a:lnTo>
                    <a:pt x="66" y="1812"/>
                  </a:lnTo>
                  <a:lnTo>
                    <a:pt x="72" y="1812"/>
                  </a:lnTo>
                  <a:lnTo>
                    <a:pt x="78" y="1812"/>
                  </a:lnTo>
                  <a:lnTo>
                    <a:pt x="84" y="1812"/>
                  </a:lnTo>
                  <a:lnTo>
                    <a:pt x="90" y="1806"/>
                  </a:lnTo>
                  <a:lnTo>
                    <a:pt x="96" y="1800"/>
                  </a:lnTo>
                  <a:lnTo>
                    <a:pt x="102" y="1806"/>
                  </a:lnTo>
                  <a:lnTo>
                    <a:pt x="108" y="1800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26" y="1788"/>
                  </a:lnTo>
                  <a:lnTo>
                    <a:pt x="126" y="1794"/>
                  </a:lnTo>
                  <a:lnTo>
                    <a:pt x="132" y="1794"/>
                  </a:lnTo>
                  <a:lnTo>
                    <a:pt x="132" y="1788"/>
                  </a:lnTo>
                  <a:lnTo>
                    <a:pt x="138" y="1788"/>
                  </a:lnTo>
                  <a:lnTo>
                    <a:pt x="138" y="1782"/>
                  </a:lnTo>
                  <a:lnTo>
                    <a:pt x="144" y="1782"/>
                  </a:lnTo>
                  <a:lnTo>
                    <a:pt x="150" y="1776"/>
                  </a:lnTo>
                  <a:lnTo>
                    <a:pt x="156" y="1782"/>
                  </a:lnTo>
                  <a:lnTo>
                    <a:pt x="162" y="1776"/>
                  </a:lnTo>
                  <a:lnTo>
                    <a:pt x="168" y="1776"/>
                  </a:lnTo>
                  <a:lnTo>
                    <a:pt x="180" y="1776"/>
                  </a:lnTo>
                  <a:lnTo>
                    <a:pt x="186" y="1776"/>
                  </a:lnTo>
                  <a:lnTo>
                    <a:pt x="186" y="1782"/>
                  </a:lnTo>
                  <a:lnTo>
                    <a:pt x="192" y="1776"/>
                  </a:lnTo>
                  <a:lnTo>
                    <a:pt x="198" y="1776"/>
                  </a:lnTo>
                  <a:lnTo>
                    <a:pt x="204" y="1770"/>
                  </a:lnTo>
                  <a:lnTo>
                    <a:pt x="204" y="1764"/>
                  </a:lnTo>
                  <a:lnTo>
                    <a:pt x="210" y="1764"/>
                  </a:lnTo>
                  <a:lnTo>
                    <a:pt x="216" y="1764"/>
                  </a:lnTo>
                  <a:lnTo>
                    <a:pt x="216" y="1758"/>
                  </a:lnTo>
                  <a:lnTo>
                    <a:pt x="222" y="1758"/>
                  </a:lnTo>
                  <a:lnTo>
                    <a:pt x="228" y="1758"/>
                  </a:lnTo>
                  <a:lnTo>
                    <a:pt x="258" y="1746"/>
                  </a:lnTo>
                  <a:lnTo>
                    <a:pt x="282" y="1716"/>
                  </a:lnTo>
                  <a:lnTo>
                    <a:pt x="300" y="1698"/>
                  </a:lnTo>
                  <a:lnTo>
                    <a:pt x="312" y="1698"/>
                  </a:lnTo>
                  <a:lnTo>
                    <a:pt x="336" y="1698"/>
                  </a:lnTo>
                  <a:lnTo>
                    <a:pt x="360" y="1698"/>
                  </a:lnTo>
                  <a:lnTo>
                    <a:pt x="372" y="1692"/>
                  </a:lnTo>
                  <a:lnTo>
                    <a:pt x="384" y="1692"/>
                  </a:lnTo>
                  <a:lnTo>
                    <a:pt x="360" y="1668"/>
                  </a:lnTo>
                  <a:lnTo>
                    <a:pt x="348" y="1626"/>
                  </a:lnTo>
                  <a:lnTo>
                    <a:pt x="354" y="1578"/>
                  </a:lnTo>
                  <a:lnTo>
                    <a:pt x="354" y="1572"/>
                  </a:lnTo>
                  <a:lnTo>
                    <a:pt x="360" y="1572"/>
                  </a:lnTo>
                  <a:lnTo>
                    <a:pt x="396" y="1530"/>
                  </a:lnTo>
                  <a:lnTo>
                    <a:pt x="408" y="1482"/>
                  </a:lnTo>
                  <a:lnTo>
                    <a:pt x="438" y="1458"/>
                  </a:lnTo>
                  <a:lnTo>
                    <a:pt x="468" y="1422"/>
                  </a:lnTo>
                  <a:lnTo>
                    <a:pt x="480" y="1410"/>
                  </a:lnTo>
                  <a:lnTo>
                    <a:pt x="474" y="1386"/>
                  </a:lnTo>
                  <a:lnTo>
                    <a:pt x="456" y="1356"/>
                  </a:lnTo>
                  <a:lnTo>
                    <a:pt x="438" y="1350"/>
                  </a:lnTo>
                  <a:lnTo>
                    <a:pt x="420" y="1350"/>
                  </a:lnTo>
                  <a:lnTo>
                    <a:pt x="402" y="1350"/>
                  </a:lnTo>
                  <a:lnTo>
                    <a:pt x="390" y="1344"/>
                  </a:lnTo>
                  <a:lnTo>
                    <a:pt x="390" y="1332"/>
                  </a:lnTo>
                  <a:lnTo>
                    <a:pt x="402" y="1296"/>
                  </a:lnTo>
                  <a:lnTo>
                    <a:pt x="414" y="1260"/>
                  </a:lnTo>
                  <a:lnTo>
                    <a:pt x="426" y="1248"/>
                  </a:lnTo>
                  <a:lnTo>
                    <a:pt x="438" y="1242"/>
                  </a:lnTo>
                  <a:lnTo>
                    <a:pt x="432" y="1230"/>
                  </a:lnTo>
                  <a:lnTo>
                    <a:pt x="432" y="1224"/>
                  </a:lnTo>
                  <a:lnTo>
                    <a:pt x="426" y="1218"/>
                  </a:lnTo>
                  <a:lnTo>
                    <a:pt x="426" y="1206"/>
                  </a:lnTo>
                  <a:lnTo>
                    <a:pt x="426" y="1200"/>
                  </a:lnTo>
                  <a:lnTo>
                    <a:pt x="432" y="1194"/>
                  </a:lnTo>
                  <a:lnTo>
                    <a:pt x="426" y="1188"/>
                  </a:lnTo>
                  <a:lnTo>
                    <a:pt x="432" y="1104"/>
                  </a:lnTo>
                  <a:lnTo>
                    <a:pt x="438" y="1086"/>
                  </a:lnTo>
                  <a:lnTo>
                    <a:pt x="462" y="972"/>
                  </a:lnTo>
                  <a:lnTo>
                    <a:pt x="456" y="900"/>
                  </a:lnTo>
                  <a:lnTo>
                    <a:pt x="444" y="846"/>
                  </a:lnTo>
                  <a:lnTo>
                    <a:pt x="456" y="810"/>
                  </a:lnTo>
                  <a:lnTo>
                    <a:pt x="492" y="786"/>
                  </a:lnTo>
                  <a:lnTo>
                    <a:pt x="522" y="762"/>
                  </a:lnTo>
                  <a:lnTo>
                    <a:pt x="546" y="732"/>
                  </a:lnTo>
                  <a:lnTo>
                    <a:pt x="570" y="696"/>
                  </a:lnTo>
                  <a:lnTo>
                    <a:pt x="582" y="654"/>
                  </a:lnTo>
                  <a:lnTo>
                    <a:pt x="564" y="642"/>
                  </a:lnTo>
                  <a:lnTo>
                    <a:pt x="522" y="588"/>
                  </a:lnTo>
                  <a:lnTo>
                    <a:pt x="516" y="546"/>
                  </a:lnTo>
                  <a:lnTo>
                    <a:pt x="510" y="474"/>
                  </a:lnTo>
                  <a:lnTo>
                    <a:pt x="510" y="450"/>
                  </a:lnTo>
                  <a:lnTo>
                    <a:pt x="510" y="444"/>
                  </a:lnTo>
                  <a:lnTo>
                    <a:pt x="522" y="438"/>
                  </a:lnTo>
                  <a:lnTo>
                    <a:pt x="522" y="432"/>
                  </a:lnTo>
                  <a:lnTo>
                    <a:pt x="528" y="426"/>
                  </a:lnTo>
                  <a:lnTo>
                    <a:pt x="534" y="420"/>
                  </a:lnTo>
                  <a:lnTo>
                    <a:pt x="540" y="414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08"/>
                  </a:lnTo>
                  <a:lnTo>
                    <a:pt x="546" y="408"/>
                  </a:lnTo>
                  <a:lnTo>
                    <a:pt x="558" y="414"/>
                  </a:lnTo>
                  <a:lnTo>
                    <a:pt x="564" y="414"/>
                  </a:lnTo>
                  <a:lnTo>
                    <a:pt x="570" y="414"/>
                  </a:lnTo>
                  <a:lnTo>
                    <a:pt x="582" y="414"/>
                  </a:lnTo>
                  <a:lnTo>
                    <a:pt x="582" y="420"/>
                  </a:lnTo>
                  <a:lnTo>
                    <a:pt x="588" y="414"/>
                  </a:lnTo>
                  <a:lnTo>
                    <a:pt x="582" y="408"/>
                  </a:lnTo>
                  <a:lnTo>
                    <a:pt x="588" y="402"/>
                  </a:lnTo>
                  <a:lnTo>
                    <a:pt x="594" y="402"/>
                  </a:lnTo>
                  <a:lnTo>
                    <a:pt x="594" y="396"/>
                  </a:lnTo>
                  <a:lnTo>
                    <a:pt x="594" y="390"/>
                  </a:lnTo>
                  <a:lnTo>
                    <a:pt x="594" y="384"/>
                  </a:lnTo>
                  <a:lnTo>
                    <a:pt x="594" y="378"/>
                  </a:lnTo>
                  <a:lnTo>
                    <a:pt x="600" y="366"/>
                  </a:lnTo>
                  <a:lnTo>
                    <a:pt x="606" y="366"/>
                  </a:lnTo>
                  <a:lnTo>
                    <a:pt x="612" y="360"/>
                  </a:lnTo>
                  <a:lnTo>
                    <a:pt x="612" y="366"/>
                  </a:lnTo>
                  <a:lnTo>
                    <a:pt x="618" y="366"/>
                  </a:lnTo>
                  <a:lnTo>
                    <a:pt x="624" y="366"/>
                  </a:lnTo>
                  <a:lnTo>
                    <a:pt x="630" y="360"/>
                  </a:lnTo>
                  <a:lnTo>
                    <a:pt x="636" y="354"/>
                  </a:lnTo>
                  <a:lnTo>
                    <a:pt x="630" y="354"/>
                  </a:lnTo>
                  <a:lnTo>
                    <a:pt x="630" y="348"/>
                  </a:lnTo>
                  <a:lnTo>
                    <a:pt x="630" y="342"/>
                  </a:lnTo>
                  <a:lnTo>
                    <a:pt x="636" y="342"/>
                  </a:lnTo>
                  <a:lnTo>
                    <a:pt x="642" y="336"/>
                  </a:lnTo>
                  <a:lnTo>
                    <a:pt x="636" y="330"/>
                  </a:lnTo>
                  <a:lnTo>
                    <a:pt x="630" y="336"/>
                  </a:lnTo>
                  <a:lnTo>
                    <a:pt x="624" y="336"/>
                  </a:lnTo>
                  <a:lnTo>
                    <a:pt x="624" y="330"/>
                  </a:lnTo>
                  <a:lnTo>
                    <a:pt x="624" y="324"/>
                  </a:lnTo>
                  <a:lnTo>
                    <a:pt x="618" y="324"/>
                  </a:lnTo>
                  <a:lnTo>
                    <a:pt x="624" y="324"/>
                  </a:lnTo>
                  <a:lnTo>
                    <a:pt x="630" y="330"/>
                  </a:lnTo>
                  <a:lnTo>
                    <a:pt x="630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2" y="306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8" y="288"/>
                  </a:lnTo>
                  <a:lnTo>
                    <a:pt x="648" y="282"/>
                  </a:lnTo>
                  <a:lnTo>
                    <a:pt x="654" y="288"/>
                  </a:lnTo>
                  <a:lnTo>
                    <a:pt x="654" y="282"/>
                  </a:lnTo>
                  <a:lnTo>
                    <a:pt x="660" y="282"/>
                  </a:lnTo>
                  <a:lnTo>
                    <a:pt x="666" y="282"/>
                  </a:lnTo>
                  <a:lnTo>
                    <a:pt x="672" y="282"/>
                  </a:lnTo>
                  <a:lnTo>
                    <a:pt x="678" y="282"/>
                  </a:lnTo>
                  <a:lnTo>
                    <a:pt x="684" y="276"/>
                  </a:lnTo>
                  <a:lnTo>
                    <a:pt x="690" y="270"/>
                  </a:lnTo>
                  <a:lnTo>
                    <a:pt x="690" y="264"/>
                  </a:lnTo>
                  <a:lnTo>
                    <a:pt x="690" y="270"/>
                  </a:lnTo>
                  <a:lnTo>
                    <a:pt x="690" y="276"/>
                  </a:lnTo>
                  <a:lnTo>
                    <a:pt x="696" y="276"/>
                  </a:lnTo>
                  <a:lnTo>
                    <a:pt x="702" y="276"/>
                  </a:lnTo>
                  <a:lnTo>
                    <a:pt x="702" y="282"/>
                  </a:lnTo>
                  <a:lnTo>
                    <a:pt x="708" y="282"/>
                  </a:lnTo>
                  <a:lnTo>
                    <a:pt x="720" y="270"/>
                  </a:lnTo>
                  <a:lnTo>
                    <a:pt x="720" y="264"/>
                  </a:lnTo>
                  <a:lnTo>
                    <a:pt x="720" y="258"/>
                  </a:lnTo>
                  <a:lnTo>
                    <a:pt x="726" y="258"/>
                  </a:lnTo>
                  <a:lnTo>
                    <a:pt x="732" y="258"/>
                  </a:lnTo>
                  <a:lnTo>
                    <a:pt x="732" y="264"/>
                  </a:lnTo>
                  <a:lnTo>
                    <a:pt x="738" y="264"/>
                  </a:lnTo>
                  <a:lnTo>
                    <a:pt x="738" y="258"/>
                  </a:lnTo>
                  <a:lnTo>
                    <a:pt x="732" y="258"/>
                  </a:lnTo>
                  <a:lnTo>
                    <a:pt x="732" y="252"/>
                  </a:lnTo>
                  <a:lnTo>
                    <a:pt x="744" y="252"/>
                  </a:lnTo>
                  <a:lnTo>
                    <a:pt x="750" y="252"/>
                  </a:lnTo>
                  <a:lnTo>
                    <a:pt x="750" y="246"/>
                  </a:lnTo>
                  <a:lnTo>
                    <a:pt x="750" y="240"/>
                  </a:lnTo>
                  <a:lnTo>
                    <a:pt x="762" y="234"/>
                  </a:lnTo>
                  <a:lnTo>
                    <a:pt x="768" y="234"/>
                  </a:lnTo>
                  <a:lnTo>
                    <a:pt x="774" y="234"/>
                  </a:lnTo>
                  <a:lnTo>
                    <a:pt x="780" y="228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16"/>
                  </a:lnTo>
                  <a:lnTo>
                    <a:pt x="792" y="210"/>
                  </a:lnTo>
                  <a:lnTo>
                    <a:pt x="804" y="204"/>
                  </a:lnTo>
                  <a:lnTo>
                    <a:pt x="804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0" y="192"/>
                  </a:lnTo>
                  <a:lnTo>
                    <a:pt x="798" y="186"/>
                  </a:lnTo>
                  <a:lnTo>
                    <a:pt x="810" y="186"/>
                  </a:lnTo>
                  <a:lnTo>
                    <a:pt x="810" y="180"/>
                  </a:lnTo>
                  <a:lnTo>
                    <a:pt x="810" y="186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0" y="180"/>
                  </a:lnTo>
                  <a:lnTo>
                    <a:pt x="816" y="174"/>
                  </a:lnTo>
                  <a:lnTo>
                    <a:pt x="822" y="174"/>
                  </a:lnTo>
                  <a:lnTo>
                    <a:pt x="822" y="180"/>
                  </a:lnTo>
                  <a:lnTo>
                    <a:pt x="828" y="180"/>
                  </a:lnTo>
                  <a:lnTo>
                    <a:pt x="828" y="174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62"/>
                  </a:lnTo>
                  <a:lnTo>
                    <a:pt x="828" y="156"/>
                  </a:lnTo>
                  <a:lnTo>
                    <a:pt x="822" y="156"/>
                  </a:lnTo>
                  <a:lnTo>
                    <a:pt x="828" y="156"/>
                  </a:lnTo>
                  <a:lnTo>
                    <a:pt x="828" y="150"/>
                  </a:lnTo>
                  <a:lnTo>
                    <a:pt x="834" y="150"/>
                  </a:lnTo>
                  <a:lnTo>
                    <a:pt x="840" y="156"/>
                  </a:lnTo>
                  <a:lnTo>
                    <a:pt x="840" y="150"/>
                  </a:lnTo>
                  <a:lnTo>
                    <a:pt x="834" y="150"/>
                  </a:lnTo>
                  <a:lnTo>
                    <a:pt x="834" y="144"/>
                  </a:lnTo>
                  <a:lnTo>
                    <a:pt x="840" y="138"/>
                  </a:lnTo>
                  <a:lnTo>
                    <a:pt x="846" y="144"/>
                  </a:lnTo>
                  <a:lnTo>
                    <a:pt x="846" y="150"/>
                  </a:lnTo>
                  <a:lnTo>
                    <a:pt x="852" y="150"/>
                  </a:lnTo>
                  <a:lnTo>
                    <a:pt x="858" y="150"/>
                  </a:lnTo>
                  <a:lnTo>
                    <a:pt x="870" y="150"/>
                  </a:lnTo>
                  <a:lnTo>
                    <a:pt x="870" y="144"/>
                  </a:lnTo>
                  <a:lnTo>
                    <a:pt x="876" y="138"/>
                  </a:lnTo>
                  <a:lnTo>
                    <a:pt x="882" y="138"/>
                  </a:lnTo>
                  <a:lnTo>
                    <a:pt x="888" y="132"/>
                  </a:lnTo>
                  <a:lnTo>
                    <a:pt x="888" y="138"/>
                  </a:lnTo>
                  <a:lnTo>
                    <a:pt x="894" y="138"/>
                  </a:lnTo>
                  <a:lnTo>
                    <a:pt x="894" y="132"/>
                  </a:lnTo>
                  <a:lnTo>
                    <a:pt x="900" y="126"/>
                  </a:lnTo>
                  <a:lnTo>
                    <a:pt x="900" y="132"/>
                  </a:lnTo>
                  <a:lnTo>
                    <a:pt x="906" y="132"/>
                  </a:lnTo>
                  <a:lnTo>
                    <a:pt x="912" y="132"/>
                  </a:lnTo>
                  <a:lnTo>
                    <a:pt x="918" y="126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24" y="126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8" y="120"/>
                  </a:lnTo>
                  <a:lnTo>
                    <a:pt x="948" y="114"/>
                  </a:lnTo>
                  <a:lnTo>
                    <a:pt x="948" y="108"/>
                  </a:lnTo>
                  <a:lnTo>
                    <a:pt x="954" y="114"/>
                  </a:lnTo>
                  <a:lnTo>
                    <a:pt x="960" y="108"/>
                  </a:lnTo>
                  <a:lnTo>
                    <a:pt x="966" y="108"/>
                  </a:lnTo>
                  <a:lnTo>
                    <a:pt x="972" y="108"/>
                  </a:lnTo>
                  <a:lnTo>
                    <a:pt x="966" y="114"/>
                  </a:lnTo>
                  <a:lnTo>
                    <a:pt x="960" y="114"/>
                  </a:lnTo>
                  <a:lnTo>
                    <a:pt x="960" y="120"/>
                  </a:lnTo>
                  <a:lnTo>
                    <a:pt x="966" y="126"/>
                  </a:lnTo>
                  <a:lnTo>
                    <a:pt x="972" y="126"/>
                  </a:lnTo>
                  <a:lnTo>
                    <a:pt x="978" y="126"/>
                  </a:lnTo>
                  <a:lnTo>
                    <a:pt x="984" y="120"/>
                  </a:lnTo>
                  <a:lnTo>
                    <a:pt x="984" y="114"/>
                  </a:lnTo>
                  <a:lnTo>
                    <a:pt x="996" y="126"/>
                  </a:lnTo>
                  <a:lnTo>
                    <a:pt x="996" y="120"/>
                  </a:lnTo>
                  <a:lnTo>
                    <a:pt x="1002" y="120"/>
                  </a:lnTo>
                  <a:lnTo>
                    <a:pt x="996" y="114"/>
                  </a:lnTo>
                  <a:lnTo>
                    <a:pt x="1002" y="114"/>
                  </a:lnTo>
                  <a:lnTo>
                    <a:pt x="1008" y="114"/>
                  </a:lnTo>
                  <a:lnTo>
                    <a:pt x="1008" y="108"/>
                  </a:lnTo>
                  <a:lnTo>
                    <a:pt x="1014" y="108"/>
                  </a:lnTo>
                  <a:lnTo>
                    <a:pt x="1008" y="114"/>
                  </a:lnTo>
                  <a:lnTo>
                    <a:pt x="1008" y="120"/>
                  </a:lnTo>
                  <a:lnTo>
                    <a:pt x="1008" y="126"/>
                  </a:lnTo>
                  <a:lnTo>
                    <a:pt x="1014" y="126"/>
                  </a:lnTo>
                  <a:lnTo>
                    <a:pt x="1014" y="132"/>
                  </a:lnTo>
                  <a:lnTo>
                    <a:pt x="1020" y="132"/>
                  </a:lnTo>
                  <a:lnTo>
                    <a:pt x="1020" y="126"/>
                  </a:lnTo>
                  <a:lnTo>
                    <a:pt x="1020" y="120"/>
                  </a:lnTo>
                  <a:lnTo>
                    <a:pt x="1032" y="120"/>
                  </a:lnTo>
                  <a:lnTo>
                    <a:pt x="1038" y="120"/>
                  </a:lnTo>
                  <a:lnTo>
                    <a:pt x="1038" y="126"/>
                  </a:lnTo>
                  <a:lnTo>
                    <a:pt x="1044" y="132"/>
                  </a:lnTo>
                  <a:lnTo>
                    <a:pt x="1044" y="126"/>
                  </a:lnTo>
                  <a:lnTo>
                    <a:pt x="1050" y="120"/>
                  </a:lnTo>
                  <a:lnTo>
                    <a:pt x="1050" y="114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68" y="102"/>
                  </a:lnTo>
                  <a:lnTo>
                    <a:pt x="1074" y="96"/>
                  </a:lnTo>
                  <a:lnTo>
                    <a:pt x="1074" y="90"/>
                  </a:lnTo>
                  <a:lnTo>
                    <a:pt x="1068" y="90"/>
                  </a:lnTo>
                  <a:lnTo>
                    <a:pt x="1068" y="84"/>
                  </a:lnTo>
                  <a:lnTo>
                    <a:pt x="1080" y="84"/>
                  </a:lnTo>
                  <a:lnTo>
                    <a:pt x="1086" y="78"/>
                  </a:lnTo>
                  <a:lnTo>
                    <a:pt x="1086" y="72"/>
                  </a:lnTo>
                  <a:lnTo>
                    <a:pt x="1080" y="78"/>
                  </a:lnTo>
                  <a:lnTo>
                    <a:pt x="1080" y="72"/>
                  </a:lnTo>
                  <a:lnTo>
                    <a:pt x="1080" y="66"/>
                  </a:lnTo>
                  <a:lnTo>
                    <a:pt x="1074" y="66"/>
                  </a:lnTo>
                  <a:lnTo>
                    <a:pt x="1080" y="66"/>
                  </a:lnTo>
                  <a:lnTo>
                    <a:pt x="1080" y="60"/>
                  </a:lnTo>
                  <a:lnTo>
                    <a:pt x="1086" y="60"/>
                  </a:lnTo>
                  <a:lnTo>
                    <a:pt x="1086" y="54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2" y="42"/>
                  </a:lnTo>
                  <a:lnTo>
                    <a:pt x="1098" y="42"/>
                  </a:lnTo>
                  <a:lnTo>
                    <a:pt x="1104" y="36"/>
                  </a:lnTo>
                  <a:lnTo>
                    <a:pt x="1110" y="36"/>
                  </a:lnTo>
                  <a:lnTo>
                    <a:pt x="1110" y="30"/>
                  </a:lnTo>
                  <a:lnTo>
                    <a:pt x="1110" y="24"/>
                  </a:lnTo>
                  <a:lnTo>
                    <a:pt x="1116" y="24"/>
                  </a:lnTo>
                  <a:lnTo>
                    <a:pt x="1116" y="18"/>
                  </a:lnTo>
                  <a:lnTo>
                    <a:pt x="1122" y="18"/>
                  </a:lnTo>
                  <a:lnTo>
                    <a:pt x="1128" y="18"/>
                  </a:lnTo>
                  <a:lnTo>
                    <a:pt x="1134" y="12"/>
                  </a:lnTo>
                  <a:lnTo>
                    <a:pt x="1134" y="6"/>
                  </a:lnTo>
                  <a:lnTo>
                    <a:pt x="1140" y="6"/>
                  </a:lnTo>
                  <a:lnTo>
                    <a:pt x="1146" y="0"/>
                  </a:lnTo>
                  <a:lnTo>
                    <a:pt x="1152" y="0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70" y="0"/>
                  </a:lnTo>
                  <a:lnTo>
                    <a:pt x="1176" y="6"/>
                  </a:lnTo>
                  <a:lnTo>
                    <a:pt x="1182" y="6"/>
                  </a:lnTo>
                  <a:lnTo>
                    <a:pt x="1194" y="6"/>
                  </a:lnTo>
                  <a:lnTo>
                    <a:pt x="1200" y="6"/>
                  </a:lnTo>
                  <a:lnTo>
                    <a:pt x="1212" y="0"/>
                  </a:lnTo>
                  <a:lnTo>
                    <a:pt x="1212" y="6"/>
                  </a:lnTo>
                  <a:lnTo>
                    <a:pt x="1218" y="6"/>
                  </a:lnTo>
                  <a:lnTo>
                    <a:pt x="1266" y="6"/>
                  </a:lnTo>
                  <a:lnTo>
                    <a:pt x="1272" y="0"/>
                  </a:lnTo>
                  <a:lnTo>
                    <a:pt x="1278" y="6"/>
                  </a:lnTo>
                  <a:lnTo>
                    <a:pt x="1290" y="6"/>
                  </a:lnTo>
                  <a:lnTo>
                    <a:pt x="1296" y="6"/>
                  </a:lnTo>
                  <a:lnTo>
                    <a:pt x="1308" y="6"/>
                  </a:lnTo>
                  <a:lnTo>
                    <a:pt x="1314" y="6"/>
                  </a:lnTo>
                  <a:lnTo>
                    <a:pt x="1320" y="6"/>
                  </a:lnTo>
                  <a:lnTo>
                    <a:pt x="1326" y="12"/>
                  </a:lnTo>
                  <a:lnTo>
                    <a:pt x="1338" y="30"/>
                  </a:lnTo>
                  <a:lnTo>
                    <a:pt x="1344" y="36"/>
                  </a:lnTo>
                  <a:lnTo>
                    <a:pt x="1356" y="48"/>
                  </a:lnTo>
                  <a:lnTo>
                    <a:pt x="1362" y="60"/>
                  </a:lnTo>
                  <a:lnTo>
                    <a:pt x="1368" y="66"/>
                  </a:lnTo>
                  <a:lnTo>
                    <a:pt x="1374" y="72"/>
                  </a:lnTo>
                  <a:lnTo>
                    <a:pt x="1374" y="78"/>
                  </a:lnTo>
                  <a:lnTo>
                    <a:pt x="1398" y="108"/>
                  </a:lnTo>
                  <a:lnTo>
                    <a:pt x="1398" y="114"/>
                  </a:lnTo>
                  <a:lnTo>
                    <a:pt x="1404" y="114"/>
                  </a:lnTo>
                  <a:lnTo>
                    <a:pt x="1404" y="120"/>
                  </a:lnTo>
                  <a:lnTo>
                    <a:pt x="1410" y="132"/>
                  </a:lnTo>
                  <a:lnTo>
                    <a:pt x="1416" y="132"/>
                  </a:lnTo>
                  <a:lnTo>
                    <a:pt x="1416" y="138"/>
                  </a:lnTo>
                  <a:lnTo>
                    <a:pt x="1422" y="144"/>
                  </a:lnTo>
                  <a:lnTo>
                    <a:pt x="1428" y="150"/>
                  </a:lnTo>
                  <a:lnTo>
                    <a:pt x="1428" y="156"/>
                  </a:lnTo>
                  <a:lnTo>
                    <a:pt x="1458" y="192"/>
                  </a:lnTo>
                  <a:lnTo>
                    <a:pt x="1458" y="198"/>
                  </a:lnTo>
                  <a:lnTo>
                    <a:pt x="1464" y="204"/>
                  </a:lnTo>
                  <a:lnTo>
                    <a:pt x="1470" y="210"/>
                  </a:lnTo>
                  <a:lnTo>
                    <a:pt x="1476" y="216"/>
                  </a:lnTo>
                  <a:lnTo>
                    <a:pt x="1482" y="228"/>
                  </a:lnTo>
                  <a:lnTo>
                    <a:pt x="1488" y="234"/>
                  </a:lnTo>
                  <a:lnTo>
                    <a:pt x="1512" y="270"/>
                  </a:lnTo>
                  <a:lnTo>
                    <a:pt x="1512" y="276"/>
                  </a:lnTo>
                  <a:lnTo>
                    <a:pt x="1530" y="300"/>
                  </a:lnTo>
                  <a:lnTo>
                    <a:pt x="1536" y="306"/>
                  </a:lnTo>
                  <a:lnTo>
                    <a:pt x="1542" y="312"/>
                  </a:lnTo>
                  <a:lnTo>
                    <a:pt x="1542" y="318"/>
                  </a:lnTo>
                  <a:lnTo>
                    <a:pt x="1560" y="336"/>
                  </a:lnTo>
                  <a:lnTo>
                    <a:pt x="1566" y="348"/>
                  </a:lnTo>
                  <a:lnTo>
                    <a:pt x="1572" y="354"/>
                  </a:lnTo>
                  <a:lnTo>
                    <a:pt x="1578" y="360"/>
                  </a:lnTo>
                  <a:lnTo>
                    <a:pt x="1584" y="378"/>
                  </a:lnTo>
                  <a:lnTo>
                    <a:pt x="1590" y="378"/>
                  </a:lnTo>
                  <a:lnTo>
                    <a:pt x="1596" y="390"/>
                  </a:lnTo>
                  <a:lnTo>
                    <a:pt x="1602" y="396"/>
                  </a:lnTo>
                  <a:lnTo>
                    <a:pt x="1608" y="408"/>
                  </a:lnTo>
                  <a:lnTo>
                    <a:pt x="1614" y="408"/>
                  </a:lnTo>
                  <a:lnTo>
                    <a:pt x="1614" y="432"/>
                  </a:lnTo>
                  <a:lnTo>
                    <a:pt x="1620" y="438"/>
                  </a:lnTo>
                  <a:lnTo>
                    <a:pt x="1620" y="450"/>
                  </a:lnTo>
                  <a:lnTo>
                    <a:pt x="1620" y="462"/>
                  </a:lnTo>
                  <a:lnTo>
                    <a:pt x="1626" y="474"/>
                  </a:lnTo>
                  <a:lnTo>
                    <a:pt x="1626" y="480"/>
                  </a:lnTo>
                  <a:lnTo>
                    <a:pt x="1626" y="486"/>
                  </a:lnTo>
                  <a:lnTo>
                    <a:pt x="1632" y="522"/>
                  </a:lnTo>
                  <a:lnTo>
                    <a:pt x="1632" y="528"/>
                  </a:lnTo>
                  <a:lnTo>
                    <a:pt x="1632" y="534"/>
                  </a:lnTo>
                  <a:lnTo>
                    <a:pt x="1638" y="540"/>
                  </a:lnTo>
                  <a:lnTo>
                    <a:pt x="1638" y="558"/>
                  </a:lnTo>
                  <a:lnTo>
                    <a:pt x="1638" y="570"/>
                  </a:lnTo>
                  <a:lnTo>
                    <a:pt x="1644" y="582"/>
                  </a:lnTo>
                  <a:lnTo>
                    <a:pt x="1650" y="618"/>
                  </a:lnTo>
                  <a:lnTo>
                    <a:pt x="1650" y="624"/>
                  </a:lnTo>
                  <a:lnTo>
                    <a:pt x="1650" y="636"/>
                  </a:lnTo>
                  <a:lnTo>
                    <a:pt x="1656" y="642"/>
                  </a:lnTo>
                  <a:lnTo>
                    <a:pt x="1656" y="648"/>
                  </a:lnTo>
                  <a:lnTo>
                    <a:pt x="1656" y="654"/>
                  </a:lnTo>
                  <a:lnTo>
                    <a:pt x="1656" y="660"/>
                  </a:lnTo>
                  <a:lnTo>
                    <a:pt x="1662" y="696"/>
                  </a:lnTo>
                  <a:lnTo>
                    <a:pt x="1668" y="708"/>
                  </a:lnTo>
                  <a:lnTo>
                    <a:pt x="1668" y="714"/>
                  </a:lnTo>
                  <a:lnTo>
                    <a:pt x="1668" y="732"/>
                  </a:lnTo>
                  <a:lnTo>
                    <a:pt x="1668" y="744"/>
                  </a:lnTo>
                  <a:lnTo>
                    <a:pt x="1674" y="756"/>
                  </a:lnTo>
                  <a:lnTo>
                    <a:pt x="1680" y="762"/>
                  </a:lnTo>
                  <a:lnTo>
                    <a:pt x="1680" y="768"/>
                  </a:lnTo>
                  <a:lnTo>
                    <a:pt x="1680" y="774"/>
                  </a:lnTo>
                  <a:lnTo>
                    <a:pt x="1680" y="780"/>
                  </a:lnTo>
                  <a:lnTo>
                    <a:pt x="1674" y="786"/>
                  </a:lnTo>
                  <a:lnTo>
                    <a:pt x="1668" y="792"/>
                  </a:lnTo>
                  <a:lnTo>
                    <a:pt x="1668" y="798"/>
                  </a:lnTo>
                  <a:lnTo>
                    <a:pt x="1668" y="804"/>
                  </a:lnTo>
                  <a:lnTo>
                    <a:pt x="1674" y="804"/>
                  </a:lnTo>
                  <a:lnTo>
                    <a:pt x="1668" y="810"/>
                  </a:lnTo>
                  <a:lnTo>
                    <a:pt x="1674" y="810"/>
                  </a:lnTo>
                  <a:lnTo>
                    <a:pt x="1680" y="810"/>
                  </a:lnTo>
                  <a:lnTo>
                    <a:pt x="1680" y="816"/>
                  </a:lnTo>
                  <a:lnTo>
                    <a:pt x="1680" y="822"/>
                  </a:lnTo>
                  <a:lnTo>
                    <a:pt x="1674" y="822"/>
                  </a:lnTo>
                  <a:lnTo>
                    <a:pt x="1674" y="828"/>
                  </a:lnTo>
                  <a:lnTo>
                    <a:pt x="1668" y="828"/>
                  </a:lnTo>
                  <a:lnTo>
                    <a:pt x="1674" y="834"/>
                  </a:lnTo>
                  <a:lnTo>
                    <a:pt x="1668" y="834"/>
                  </a:lnTo>
                  <a:lnTo>
                    <a:pt x="1668" y="840"/>
                  </a:lnTo>
                  <a:lnTo>
                    <a:pt x="1674" y="840"/>
                  </a:lnTo>
                  <a:lnTo>
                    <a:pt x="1686" y="852"/>
                  </a:lnTo>
                  <a:lnTo>
                    <a:pt x="1692" y="858"/>
                  </a:lnTo>
                  <a:lnTo>
                    <a:pt x="1698" y="858"/>
                  </a:lnTo>
                  <a:lnTo>
                    <a:pt x="1698" y="864"/>
                  </a:lnTo>
                  <a:lnTo>
                    <a:pt x="1698" y="870"/>
                  </a:lnTo>
                  <a:lnTo>
                    <a:pt x="1704" y="864"/>
                  </a:lnTo>
                  <a:lnTo>
                    <a:pt x="1716" y="864"/>
                  </a:lnTo>
                  <a:lnTo>
                    <a:pt x="1722" y="864"/>
                  </a:lnTo>
                  <a:lnTo>
                    <a:pt x="1728" y="864"/>
                  </a:lnTo>
                  <a:lnTo>
                    <a:pt x="1734" y="864"/>
                  </a:lnTo>
                  <a:lnTo>
                    <a:pt x="1740" y="864"/>
                  </a:lnTo>
                  <a:lnTo>
                    <a:pt x="1746" y="876"/>
                  </a:lnTo>
                  <a:lnTo>
                    <a:pt x="1746" y="870"/>
                  </a:lnTo>
                  <a:lnTo>
                    <a:pt x="1740" y="864"/>
                  </a:lnTo>
                  <a:lnTo>
                    <a:pt x="1746" y="864"/>
                  </a:lnTo>
                  <a:lnTo>
                    <a:pt x="1752" y="870"/>
                  </a:lnTo>
                  <a:lnTo>
                    <a:pt x="1758" y="864"/>
                  </a:lnTo>
                  <a:lnTo>
                    <a:pt x="1764" y="864"/>
                  </a:lnTo>
                  <a:lnTo>
                    <a:pt x="1770" y="858"/>
                  </a:lnTo>
                  <a:lnTo>
                    <a:pt x="1782" y="864"/>
                  </a:lnTo>
                  <a:lnTo>
                    <a:pt x="1782" y="870"/>
                  </a:lnTo>
                  <a:lnTo>
                    <a:pt x="1788" y="864"/>
                  </a:lnTo>
                  <a:lnTo>
                    <a:pt x="1794" y="864"/>
                  </a:lnTo>
                  <a:lnTo>
                    <a:pt x="1800" y="870"/>
                  </a:lnTo>
                  <a:lnTo>
                    <a:pt x="1818" y="864"/>
                  </a:lnTo>
                  <a:lnTo>
                    <a:pt x="1824" y="870"/>
                  </a:lnTo>
                  <a:lnTo>
                    <a:pt x="1830" y="864"/>
                  </a:lnTo>
                  <a:lnTo>
                    <a:pt x="1836" y="864"/>
                  </a:lnTo>
                  <a:lnTo>
                    <a:pt x="1842" y="870"/>
                  </a:lnTo>
                  <a:lnTo>
                    <a:pt x="1842" y="876"/>
                  </a:lnTo>
                  <a:lnTo>
                    <a:pt x="1848" y="876"/>
                  </a:lnTo>
                  <a:lnTo>
                    <a:pt x="1848" y="870"/>
                  </a:lnTo>
                  <a:lnTo>
                    <a:pt x="1854" y="870"/>
                  </a:lnTo>
                  <a:lnTo>
                    <a:pt x="1860" y="870"/>
                  </a:lnTo>
                  <a:lnTo>
                    <a:pt x="1860" y="876"/>
                  </a:lnTo>
                  <a:lnTo>
                    <a:pt x="1866" y="876"/>
                  </a:lnTo>
                  <a:lnTo>
                    <a:pt x="1866" y="882"/>
                  </a:lnTo>
                  <a:lnTo>
                    <a:pt x="1872" y="882"/>
                  </a:lnTo>
                  <a:lnTo>
                    <a:pt x="1878" y="888"/>
                  </a:lnTo>
                  <a:lnTo>
                    <a:pt x="1890" y="888"/>
                  </a:lnTo>
                  <a:lnTo>
                    <a:pt x="1890" y="894"/>
                  </a:lnTo>
                  <a:lnTo>
                    <a:pt x="1890" y="900"/>
                  </a:lnTo>
                  <a:lnTo>
                    <a:pt x="1884" y="900"/>
                  </a:lnTo>
                  <a:lnTo>
                    <a:pt x="1884" y="906"/>
                  </a:lnTo>
                  <a:lnTo>
                    <a:pt x="1884" y="912"/>
                  </a:lnTo>
                  <a:lnTo>
                    <a:pt x="1890" y="912"/>
                  </a:lnTo>
                  <a:lnTo>
                    <a:pt x="1896" y="912"/>
                  </a:lnTo>
                  <a:lnTo>
                    <a:pt x="1902" y="912"/>
                  </a:lnTo>
                  <a:lnTo>
                    <a:pt x="1908" y="918"/>
                  </a:lnTo>
                  <a:lnTo>
                    <a:pt x="1908" y="924"/>
                  </a:lnTo>
                  <a:lnTo>
                    <a:pt x="1908" y="930"/>
                  </a:lnTo>
                  <a:lnTo>
                    <a:pt x="1908" y="936"/>
                  </a:lnTo>
                  <a:lnTo>
                    <a:pt x="1914" y="936"/>
                  </a:lnTo>
                  <a:lnTo>
                    <a:pt x="1914" y="942"/>
                  </a:lnTo>
                  <a:lnTo>
                    <a:pt x="1908" y="948"/>
                  </a:lnTo>
                  <a:lnTo>
                    <a:pt x="1914" y="948"/>
                  </a:lnTo>
                  <a:lnTo>
                    <a:pt x="1920" y="954"/>
                  </a:lnTo>
                  <a:lnTo>
                    <a:pt x="1926" y="954"/>
                  </a:lnTo>
                  <a:lnTo>
                    <a:pt x="1932" y="954"/>
                  </a:lnTo>
                  <a:lnTo>
                    <a:pt x="1938" y="954"/>
                  </a:lnTo>
                  <a:lnTo>
                    <a:pt x="1938" y="960"/>
                  </a:lnTo>
                  <a:lnTo>
                    <a:pt x="1944" y="966"/>
                  </a:lnTo>
                  <a:lnTo>
                    <a:pt x="1944" y="972"/>
                  </a:lnTo>
                  <a:lnTo>
                    <a:pt x="1944" y="978"/>
                  </a:lnTo>
                  <a:lnTo>
                    <a:pt x="1950" y="978"/>
                  </a:lnTo>
                  <a:lnTo>
                    <a:pt x="1950" y="984"/>
                  </a:lnTo>
                  <a:lnTo>
                    <a:pt x="1956" y="984"/>
                  </a:lnTo>
                  <a:lnTo>
                    <a:pt x="1962" y="984"/>
                  </a:lnTo>
                  <a:lnTo>
                    <a:pt x="1962" y="978"/>
                  </a:lnTo>
                  <a:lnTo>
                    <a:pt x="1968" y="978"/>
                  </a:lnTo>
                  <a:lnTo>
                    <a:pt x="1974" y="978"/>
                  </a:lnTo>
                  <a:lnTo>
                    <a:pt x="1980" y="972"/>
                  </a:lnTo>
                  <a:lnTo>
                    <a:pt x="1980" y="978"/>
                  </a:lnTo>
                  <a:lnTo>
                    <a:pt x="1980" y="984"/>
                  </a:lnTo>
                  <a:lnTo>
                    <a:pt x="1986" y="984"/>
                  </a:lnTo>
                  <a:lnTo>
                    <a:pt x="1992" y="990"/>
                  </a:lnTo>
                  <a:lnTo>
                    <a:pt x="1992" y="996"/>
                  </a:lnTo>
                  <a:lnTo>
                    <a:pt x="1992" y="1002"/>
                  </a:lnTo>
                  <a:lnTo>
                    <a:pt x="1974" y="1008"/>
                  </a:lnTo>
                  <a:lnTo>
                    <a:pt x="1974" y="1014"/>
                  </a:lnTo>
                  <a:lnTo>
                    <a:pt x="1974" y="1020"/>
                  </a:lnTo>
                  <a:lnTo>
                    <a:pt x="1974" y="1026"/>
                  </a:lnTo>
                  <a:lnTo>
                    <a:pt x="1968" y="1038"/>
                  </a:lnTo>
                  <a:lnTo>
                    <a:pt x="1968" y="1044"/>
                  </a:lnTo>
                  <a:lnTo>
                    <a:pt x="1974" y="1056"/>
                  </a:lnTo>
                  <a:lnTo>
                    <a:pt x="1968" y="1062"/>
                  </a:lnTo>
                  <a:lnTo>
                    <a:pt x="1962" y="1062"/>
                  </a:lnTo>
                  <a:lnTo>
                    <a:pt x="1956" y="1068"/>
                  </a:lnTo>
                  <a:lnTo>
                    <a:pt x="1956" y="1074"/>
                  </a:lnTo>
                  <a:lnTo>
                    <a:pt x="1956" y="1080"/>
                  </a:lnTo>
                  <a:lnTo>
                    <a:pt x="1956" y="1086"/>
                  </a:lnTo>
                  <a:lnTo>
                    <a:pt x="1956" y="1092"/>
                  </a:lnTo>
                  <a:lnTo>
                    <a:pt x="1962" y="1092"/>
                  </a:lnTo>
                  <a:lnTo>
                    <a:pt x="1962" y="1104"/>
                  </a:lnTo>
                  <a:lnTo>
                    <a:pt x="1968" y="1110"/>
                  </a:lnTo>
                  <a:lnTo>
                    <a:pt x="1968" y="1116"/>
                  </a:lnTo>
                  <a:lnTo>
                    <a:pt x="1974" y="1116"/>
                  </a:lnTo>
                  <a:lnTo>
                    <a:pt x="1974" y="1122"/>
                  </a:lnTo>
                  <a:lnTo>
                    <a:pt x="1980" y="1122"/>
                  </a:lnTo>
                  <a:lnTo>
                    <a:pt x="1974" y="1128"/>
                  </a:lnTo>
                  <a:lnTo>
                    <a:pt x="1968" y="1134"/>
                  </a:lnTo>
                  <a:lnTo>
                    <a:pt x="1962" y="1140"/>
                  </a:lnTo>
                  <a:lnTo>
                    <a:pt x="1962" y="1146"/>
                  </a:lnTo>
                  <a:lnTo>
                    <a:pt x="1968" y="1152"/>
                  </a:lnTo>
                  <a:lnTo>
                    <a:pt x="1968" y="1158"/>
                  </a:lnTo>
                  <a:lnTo>
                    <a:pt x="1962" y="1158"/>
                  </a:lnTo>
                  <a:lnTo>
                    <a:pt x="1962" y="1164"/>
                  </a:lnTo>
                  <a:lnTo>
                    <a:pt x="1956" y="1164"/>
                  </a:lnTo>
                  <a:lnTo>
                    <a:pt x="1956" y="1170"/>
                  </a:lnTo>
                  <a:lnTo>
                    <a:pt x="1944" y="1182"/>
                  </a:lnTo>
                  <a:lnTo>
                    <a:pt x="1944" y="1188"/>
                  </a:lnTo>
                  <a:lnTo>
                    <a:pt x="1950" y="1188"/>
                  </a:lnTo>
                  <a:lnTo>
                    <a:pt x="1944" y="1200"/>
                  </a:lnTo>
                  <a:lnTo>
                    <a:pt x="1944" y="1206"/>
                  </a:lnTo>
                  <a:lnTo>
                    <a:pt x="1944" y="1212"/>
                  </a:lnTo>
                  <a:lnTo>
                    <a:pt x="1944" y="1218"/>
                  </a:lnTo>
                  <a:lnTo>
                    <a:pt x="1944" y="1230"/>
                  </a:lnTo>
                  <a:lnTo>
                    <a:pt x="1944" y="1236"/>
                  </a:lnTo>
                  <a:lnTo>
                    <a:pt x="1944" y="1242"/>
                  </a:lnTo>
                  <a:lnTo>
                    <a:pt x="1938" y="1248"/>
                  </a:lnTo>
                  <a:lnTo>
                    <a:pt x="1938" y="1254"/>
                  </a:lnTo>
                  <a:lnTo>
                    <a:pt x="1932" y="1254"/>
                  </a:lnTo>
                  <a:lnTo>
                    <a:pt x="1926" y="1260"/>
                  </a:lnTo>
                  <a:lnTo>
                    <a:pt x="1920" y="1266"/>
                  </a:lnTo>
                  <a:lnTo>
                    <a:pt x="1914" y="1272"/>
                  </a:lnTo>
                  <a:lnTo>
                    <a:pt x="1908" y="1272"/>
                  </a:lnTo>
                  <a:lnTo>
                    <a:pt x="1908" y="1278"/>
                  </a:lnTo>
                  <a:lnTo>
                    <a:pt x="1914" y="1278"/>
                  </a:lnTo>
                  <a:lnTo>
                    <a:pt x="1914" y="1290"/>
                  </a:lnTo>
                  <a:lnTo>
                    <a:pt x="1920" y="1296"/>
                  </a:lnTo>
                  <a:lnTo>
                    <a:pt x="1938" y="1302"/>
                  </a:lnTo>
                  <a:lnTo>
                    <a:pt x="1944" y="1308"/>
                  </a:lnTo>
                  <a:lnTo>
                    <a:pt x="1950" y="1314"/>
                  </a:lnTo>
                  <a:lnTo>
                    <a:pt x="1956" y="1314"/>
                  </a:lnTo>
                  <a:lnTo>
                    <a:pt x="1962" y="1320"/>
                  </a:lnTo>
                  <a:lnTo>
                    <a:pt x="1962" y="1326"/>
                  </a:lnTo>
                  <a:lnTo>
                    <a:pt x="1968" y="1326"/>
                  </a:lnTo>
                  <a:lnTo>
                    <a:pt x="1968" y="1332"/>
                  </a:lnTo>
                  <a:lnTo>
                    <a:pt x="1968" y="1344"/>
                  </a:lnTo>
                  <a:lnTo>
                    <a:pt x="1968" y="1350"/>
                  </a:lnTo>
                  <a:lnTo>
                    <a:pt x="1968" y="1368"/>
                  </a:lnTo>
                  <a:lnTo>
                    <a:pt x="1962" y="1380"/>
                  </a:lnTo>
                  <a:lnTo>
                    <a:pt x="1968" y="1392"/>
                  </a:lnTo>
                  <a:lnTo>
                    <a:pt x="1962" y="1398"/>
                  </a:lnTo>
                  <a:lnTo>
                    <a:pt x="1956" y="1404"/>
                  </a:lnTo>
                  <a:lnTo>
                    <a:pt x="1950" y="1410"/>
                  </a:lnTo>
                  <a:lnTo>
                    <a:pt x="1944" y="1410"/>
                  </a:lnTo>
                  <a:lnTo>
                    <a:pt x="1932" y="1416"/>
                  </a:lnTo>
                  <a:lnTo>
                    <a:pt x="1926" y="1416"/>
                  </a:lnTo>
                  <a:lnTo>
                    <a:pt x="1896" y="1428"/>
                  </a:lnTo>
                  <a:lnTo>
                    <a:pt x="1884" y="1434"/>
                  </a:lnTo>
                  <a:lnTo>
                    <a:pt x="1878" y="1434"/>
                  </a:lnTo>
                  <a:lnTo>
                    <a:pt x="1866" y="1434"/>
                  </a:lnTo>
                  <a:lnTo>
                    <a:pt x="1854" y="1440"/>
                  </a:lnTo>
                  <a:lnTo>
                    <a:pt x="1848" y="1440"/>
                  </a:lnTo>
                  <a:lnTo>
                    <a:pt x="1842" y="1446"/>
                  </a:lnTo>
                  <a:lnTo>
                    <a:pt x="1842" y="1458"/>
                  </a:lnTo>
                  <a:lnTo>
                    <a:pt x="1836" y="1470"/>
                  </a:lnTo>
                  <a:lnTo>
                    <a:pt x="1830" y="1476"/>
                  </a:lnTo>
                  <a:lnTo>
                    <a:pt x="1824" y="1476"/>
                  </a:lnTo>
                  <a:lnTo>
                    <a:pt x="1806" y="1482"/>
                  </a:lnTo>
                  <a:lnTo>
                    <a:pt x="1800" y="1488"/>
                  </a:lnTo>
                  <a:lnTo>
                    <a:pt x="1794" y="1488"/>
                  </a:lnTo>
                  <a:lnTo>
                    <a:pt x="1788" y="1488"/>
                  </a:lnTo>
                  <a:lnTo>
                    <a:pt x="1776" y="1494"/>
                  </a:lnTo>
                  <a:lnTo>
                    <a:pt x="1764" y="1494"/>
                  </a:lnTo>
                  <a:lnTo>
                    <a:pt x="1758" y="1500"/>
                  </a:lnTo>
                  <a:lnTo>
                    <a:pt x="1746" y="1506"/>
                  </a:lnTo>
                  <a:lnTo>
                    <a:pt x="1728" y="1518"/>
                  </a:lnTo>
                  <a:lnTo>
                    <a:pt x="1716" y="1524"/>
                  </a:lnTo>
                  <a:lnTo>
                    <a:pt x="1710" y="1530"/>
                  </a:lnTo>
                  <a:lnTo>
                    <a:pt x="1704" y="1536"/>
                  </a:lnTo>
                  <a:lnTo>
                    <a:pt x="1698" y="1542"/>
                  </a:lnTo>
                  <a:lnTo>
                    <a:pt x="1692" y="1554"/>
                  </a:lnTo>
                  <a:lnTo>
                    <a:pt x="1686" y="1560"/>
                  </a:lnTo>
                  <a:lnTo>
                    <a:pt x="1680" y="1560"/>
                  </a:lnTo>
                  <a:lnTo>
                    <a:pt x="1674" y="1560"/>
                  </a:lnTo>
                  <a:lnTo>
                    <a:pt x="1656" y="1572"/>
                  </a:lnTo>
                  <a:lnTo>
                    <a:pt x="1650" y="1572"/>
                  </a:lnTo>
                  <a:lnTo>
                    <a:pt x="1644" y="1572"/>
                  </a:lnTo>
                  <a:lnTo>
                    <a:pt x="1638" y="1578"/>
                  </a:lnTo>
                  <a:lnTo>
                    <a:pt x="1632" y="1578"/>
                  </a:lnTo>
                  <a:lnTo>
                    <a:pt x="1626" y="1578"/>
                  </a:lnTo>
                  <a:lnTo>
                    <a:pt x="1620" y="1572"/>
                  </a:lnTo>
                  <a:lnTo>
                    <a:pt x="1614" y="1572"/>
                  </a:lnTo>
                  <a:lnTo>
                    <a:pt x="1608" y="1566"/>
                  </a:lnTo>
                  <a:lnTo>
                    <a:pt x="1602" y="1560"/>
                  </a:lnTo>
                  <a:lnTo>
                    <a:pt x="1596" y="1554"/>
                  </a:lnTo>
                  <a:lnTo>
                    <a:pt x="1590" y="1548"/>
                  </a:lnTo>
                  <a:lnTo>
                    <a:pt x="1578" y="1548"/>
                  </a:lnTo>
                  <a:lnTo>
                    <a:pt x="1572" y="1548"/>
                  </a:lnTo>
                  <a:lnTo>
                    <a:pt x="1566" y="1548"/>
                  </a:lnTo>
                  <a:lnTo>
                    <a:pt x="1554" y="1536"/>
                  </a:lnTo>
                  <a:lnTo>
                    <a:pt x="1548" y="1536"/>
                  </a:lnTo>
                  <a:lnTo>
                    <a:pt x="1542" y="1542"/>
                  </a:lnTo>
                  <a:lnTo>
                    <a:pt x="1536" y="1548"/>
                  </a:lnTo>
                  <a:lnTo>
                    <a:pt x="1536" y="1566"/>
                  </a:lnTo>
                  <a:lnTo>
                    <a:pt x="1530" y="1572"/>
                  </a:lnTo>
                  <a:lnTo>
                    <a:pt x="1524" y="1578"/>
                  </a:lnTo>
                  <a:lnTo>
                    <a:pt x="1518" y="1584"/>
                  </a:lnTo>
                  <a:lnTo>
                    <a:pt x="1512" y="1596"/>
                  </a:lnTo>
                  <a:lnTo>
                    <a:pt x="1506" y="1602"/>
                  </a:lnTo>
                  <a:lnTo>
                    <a:pt x="1506" y="1608"/>
                  </a:lnTo>
                  <a:lnTo>
                    <a:pt x="1506" y="1614"/>
                  </a:lnTo>
                  <a:lnTo>
                    <a:pt x="1500" y="1614"/>
                  </a:lnTo>
                  <a:lnTo>
                    <a:pt x="1500" y="1620"/>
                  </a:lnTo>
                  <a:lnTo>
                    <a:pt x="1500" y="1626"/>
                  </a:lnTo>
                  <a:lnTo>
                    <a:pt x="1494" y="1632"/>
                  </a:lnTo>
                  <a:lnTo>
                    <a:pt x="1488" y="1638"/>
                  </a:lnTo>
                  <a:lnTo>
                    <a:pt x="1482" y="1638"/>
                  </a:lnTo>
                  <a:lnTo>
                    <a:pt x="1482" y="1644"/>
                  </a:lnTo>
                  <a:lnTo>
                    <a:pt x="1482" y="1650"/>
                  </a:lnTo>
                  <a:lnTo>
                    <a:pt x="1482" y="1656"/>
                  </a:lnTo>
                  <a:lnTo>
                    <a:pt x="1476" y="1662"/>
                  </a:lnTo>
                  <a:lnTo>
                    <a:pt x="1470" y="1668"/>
                  </a:lnTo>
                  <a:lnTo>
                    <a:pt x="1464" y="1674"/>
                  </a:lnTo>
                  <a:lnTo>
                    <a:pt x="1464" y="1680"/>
                  </a:lnTo>
                  <a:lnTo>
                    <a:pt x="1458" y="1680"/>
                  </a:lnTo>
                  <a:lnTo>
                    <a:pt x="1452" y="1686"/>
                  </a:lnTo>
                  <a:lnTo>
                    <a:pt x="1446" y="1686"/>
                  </a:lnTo>
                  <a:lnTo>
                    <a:pt x="1440" y="1698"/>
                  </a:lnTo>
                  <a:lnTo>
                    <a:pt x="1440" y="1704"/>
                  </a:lnTo>
                  <a:lnTo>
                    <a:pt x="1434" y="1710"/>
                  </a:lnTo>
                  <a:lnTo>
                    <a:pt x="1434" y="1716"/>
                  </a:lnTo>
                  <a:lnTo>
                    <a:pt x="1428" y="1716"/>
                  </a:lnTo>
                  <a:lnTo>
                    <a:pt x="1428" y="1722"/>
                  </a:lnTo>
                  <a:lnTo>
                    <a:pt x="1428" y="1728"/>
                  </a:lnTo>
                  <a:lnTo>
                    <a:pt x="1422" y="1728"/>
                  </a:lnTo>
                  <a:lnTo>
                    <a:pt x="1422" y="1734"/>
                  </a:lnTo>
                  <a:lnTo>
                    <a:pt x="1416" y="1734"/>
                  </a:lnTo>
                  <a:lnTo>
                    <a:pt x="1410" y="1734"/>
                  </a:lnTo>
                  <a:lnTo>
                    <a:pt x="1392" y="1746"/>
                  </a:lnTo>
                  <a:lnTo>
                    <a:pt x="1386" y="1746"/>
                  </a:lnTo>
                  <a:lnTo>
                    <a:pt x="1368" y="1752"/>
                  </a:lnTo>
                  <a:lnTo>
                    <a:pt x="1362" y="1758"/>
                  </a:lnTo>
                  <a:lnTo>
                    <a:pt x="1362" y="1770"/>
                  </a:lnTo>
                  <a:lnTo>
                    <a:pt x="1356" y="178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</p:grpSp>
      <p:graphicFrame>
        <p:nvGraphicFramePr>
          <p:cNvPr id="357" name="Group 76">
            <a:extLst>
              <a:ext uri="{FF2B5EF4-FFF2-40B4-BE49-F238E27FC236}">
                <a16:creationId xmlns:a16="http://schemas.microsoft.com/office/drawing/2014/main" id="{57830D68-CF73-4A3E-9D36-141B03AADB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6871773"/>
              </p:ext>
            </p:extLst>
          </p:nvPr>
        </p:nvGraphicFramePr>
        <p:xfrm>
          <a:off x="541338" y="3402013"/>
          <a:ext cx="3735387" cy="1827306"/>
        </p:xfrm>
        <a:graphic>
          <a:graphicData uri="http://schemas.openxmlformats.org/drawingml/2006/table">
            <a:tbl>
              <a:tblPr/>
              <a:tblGrid>
                <a:gridCol w="1316931">
                  <a:extLst>
                    <a:ext uri="{9D8B030D-6E8A-4147-A177-3AD203B41FA5}">
                      <a16:colId xmlns:a16="http://schemas.microsoft.com/office/drawing/2014/main" val="2027704273"/>
                    </a:ext>
                  </a:extLst>
                </a:gridCol>
                <a:gridCol w="603796">
                  <a:extLst>
                    <a:ext uri="{9D8B030D-6E8A-4147-A177-3AD203B41FA5}">
                      <a16:colId xmlns:a16="http://schemas.microsoft.com/office/drawing/2014/main" val="3432768286"/>
                    </a:ext>
                  </a:extLst>
                </a:gridCol>
                <a:gridCol w="744015">
                  <a:extLst>
                    <a:ext uri="{9D8B030D-6E8A-4147-A177-3AD203B41FA5}">
                      <a16:colId xmlns:a16="http://schemas.microsoft.com/office/drawing/2014/main" val="3730294207"/>
                    </a:ext>
                  </a:extLst>
                </a:gridCol>
                <a:gridCol w="1070645">
                  <a:extLst>
                    <a:ext uri="{9D8B030D-6E8A-4147-A177-3AD203B41FA5}">
                      <a16:colId xmlns:a16="http://schemas.microsoft.com/office/drawing/2014/main" val="2258321117"/>
                    </a:ext>
                  </a:extLst>
                </a:gridCol>
              </a:tblGrid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apital</a:t>
                      </a:r>
                      <a:endParaRPr kumimoji="0" lang="en-SG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292929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SG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Ado-Ekiti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703009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nd Are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5,435 km</a:t>
                      </a:r>
                      <a:r>
                        <a:rPr kumimoji="0" lang="en-US" altLang="en-US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3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603614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Population (2017E)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3,255,436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1 of 37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505851"/>
                  </a:ext>
                </a:extLst>
              </a:tr>
              <a:tr h="203024">
                <a:tc row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Dem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0-14: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,204,132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7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130093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5-64: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,934,134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59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387564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65+: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   117,169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[4%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38801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bour force 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,727,394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24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797882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limate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ropical savann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3942226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op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Rocky, mountainous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32899"/>
                  </a:ext>
                </a:extLst>
              </a:tr>
            </a:tbl>
          </a:graphicData>
        </a:graphic>
      </p:graphicFrame>
      <p:pic>
        <p:nvPicPr>
          <p:cNvPr id="23609" name="Picture 13">
            <a:extLst>
              <a:ext uri="{FF2B5EF4-FFF2-40B4-BE49-F238E27FC236}">
                <a16:creationId xmlns:a16="http://schemas.microsoft.com/office/drawing/2014/main" id="{952964D5-F0ED-4CAE-B71C-DB4A723FA5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0" y="3006725"/>
            <a:ext cx="1116013" cy="155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9" name="TextBox 378">
            <a:extLst>
              <a:ext uri="{FF2B5EF4-FFF2-40B4-BE49-F238E27FC236}">
                <a16:creationId xmlns:a16="http://schemas.microsoft.com/office/drawing/2014/main" id="{1B3FD4BF-4685-4C74-821F-10048D6246BF}"/>
              </a:ext>
            </a:extLst>
          </p:cNvPr>
          <p:cNvSpPr txBox="1"/>
          <p:nvPr/>
        </p:nvSpPr>
        <p:spPr>
          <a:xfrm>
            <a:off x="6124575" y="957263"/>
            <a:ext cx="3475038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mpetitive Advantages</a:t>
            </a: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455FE7A1-ADE5-4F7B-A489-00196671A53E}"/>
              </a:ext>
            </a:extLst>
          </p:cNvPr>
          <p:cNvSpPr/>
          <p:nvPr/>
        </p:nvSpPr>
        <p:spPr>
          <a:xfrm>
            <a:off x="4267248" y="1187511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4.9bn/$16.3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EBB25788-D073-4A78-9D6C-DF3836CFFFBB}"/>
              </a:ext>
            </a:extLst>
          </p:cNvPr>
          <p:cNvSpPr txBox="1"/>
          <p:nvPr/>
        </p:nvSpPr>
        <p:spPr>
          <a:xfrm>
            <a:off x="4267200" y="955675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GR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6F07DF39-553B-44F0-8864-1F897C2BD79A}"/>
              </a:ext>
            </a:extLst>
          </p:cNvPr>
          <p:cNvSpPr/>
          <p:nvPr/>
        </p:nvSpPr>
        <p:spPr>
          <a:xfrm>
            <a:off x="4267252" y="1809750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96bn/$321.3bn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2508695A-2D2C-45A3-80FE-9C2CB18200C2}"/>
              </a:ext>
            </a:extLst>
          </p:cNvPr>
          <p:cNvSpPr txBox="1"/>
          <p:nvPr/>
        </p:nvSpPr>
        <p:spPr>
          <a:xfrm>
            <a:off x="4267200" y="1576388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Budget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8)</a:t>
            </a: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86A33ABE-3AE3-40A7-A6A6-1B757A6A9B0F}"/>
              </a:ext>
            </a:extLst>
          </p:cNvPr>
          <p:cNvSpPr/>
          <p:nvPr/>
        </p:nvSpPr>
        <p:spPr>
          <a:xfrm>
            <a:off x="4256076" y="2667155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1trn /$3.4bn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1E919764-A18B-4532-A533-A84A31D7FEFE}"/>
              </a:ext>
            </a:extLst>
          </p:cNvPr>
          <p:cNvSpPr txBox="1"/>
          <p:nvPr/>
        </p:nvSpPr>
        <p:spPr>
          <a:xfrm>
            <a:off x="4256088" y="2185988"/>
            <a:ext cx="1811337" cy="50641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Household </a:t>
            </a:r>
          </a:p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nsumption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96" name="Plaque 95">
            <a:extLst>
              <a:ext uri="{FF2B5EF4-FFF2-40B4-BE49-F238E27FC236}">
                <a16:creationId xmlns:a16="http://schemas.microsoft.com/office/drawing/2014/main" id="{E3BE1182-17B4-4194-8641-F1EA2CCBB757}"/>
              </a:ext>
            </a:extLst>
          </p:cNvPr>
          <p:cNvSpPr/>
          <p:nvPr/>
        </p:nvSpPr>
        <p:spPr>
          <a:xfrm>
            <a:off x="5638800" y="2805162"/>
            <a:ext cx="428625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6 of 36</a:t>
            </a:r>
          </a:p>
        </p:txBody>
      </p:sp>
      <p:sp>
        <p:nvSpPr>
          <p:cNvPr id="99" name="Plaque 98">
            <a:extLst>
              <a:ext uri="{FF2B5EF4-FFF2-40B4-BE49-F238E27FC236}">
                <a16:creationId xmlns:a16="http://schemas.microsoft.com/office/drawing/2014/main" id="{8620E393-1C52-4CE1-9888-20922FA6DFEA}"/>
              </a:ext>
            </a:extLst>
          </p:cNvPr>
          <p:cNvSpPr/>
          <p:nvPr/>
        </p:nvSpPr>
        <p:spPr>
          <a:xfrm>
            <a:off x="5638800" y="1951087"/>
            <a:ext cx="428626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35 of 36</a:t>
            </a:r>
          </a:p>
        </p:txBody>
      </p:sp>
      <p:sp>
        <p:nvSpPr>
          <p:cNvPr id="100" name="Plaque 99">
            <a:extLst>
              <a:ext uri="{FF2B5EF4-FFF2-40B4-BE49-F238E27FC236}">
                <a16:creationId xmlns:a16="http://schemas.microsoft.com/office/drawing/2014/main" id="{3BFA6D28-9A42-4459-8BF1-090CE1B45216}"/>
              </a:ext>
            </a:extLst>
          </p:cNvPr>
          <p:cNvSpPr/>
          <p:nvPr/>
        </p:nvSpPr>
        <p:spPr>
          <a:xfrm>
            <a:off x="5638800" y="1333500"/>
            <a:ext cx="430213" cy="1539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latin typeface="Calibri" panose="020F0502020204030204" pitchFamily="34" charset="0"/>
                <a:cs typeface="Calibri" panose="020F0502020204030204" pitchFamily="34" charset="0"/>
              </a:rPr>
              <a:t>33 of 36</a:t>
            </a:r>
          </a:p>
        </p:txBody>
      </p:sp>
      <p:sp>
        <p:nvSpPr>
          <p:cNvPr id="101" name="Pentagon 19">
            <a:extLst>
              <a:ext uri="{FF2B5EF4-FFF2-40B4-BE49-F238E27FC236}">
                <a16:creationId xmlns:a16="http://schemas.microsoft.com/office/drawing/2014/main" id="{CCD74FA4-19D0-4356-90C9-B3B49BCC3F54}"/>
              </a:ext>
            </a:extLst>
          </p:cNvPr>
          <p:cNvSpPr>
            <a:spLocks/>
          </p:cNvSpPr>
          <p:nvPr/>
        </p:nvSpPr>
        <p:spPr bwMode="auto">
          <a:xfrm>
            <a:off x="688340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4 of 37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12EE735-1E43-4799-A46A-5D0787F375CE}"/>
              </a:ext>
            </a:extLst>
          </p:cNvPr>
          <p:cNvSpPr/>
          <p:nvPr/>
        </p:nvSpPr>
        <p:spPr>
          <a:xfrm>
            <a:off x="6880225" y="5726113"/>
            <a:ext cx="642938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Starting a Business</a:t>
            </a:r>
          </a:p>
        </p:txBody>
      </p:sp>
      <p:pic>
        <p:nvPicPr>
          <p:cNvPr id="23622" name="Picture 3">
            <a:extLst>
              <a:ext uri="{FF2B5EF4-FFF2-40B4-BE49-F238E27FC236}">
                <a16:creationId xmlns:a16="http://schemas.microsoft.com/office/drawing/2014/main" id="{53FAD0C6-8FFE-437B-B7E4-F2A938D3BE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350" y="5249863"/>
            <a:ext cx="41910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23" name="Freeform 15">
            <a:extLst>
              <a:ext uri="{FF2B5EF4-FFF2-40B4-BE49-F238E27FC236}">
                <a16:creationId xmlns:a16="http://schemas.microsoft.com/office/drawing/2014/main" id="{183A3C8B-011E-4D99-9165-3FF03A2D3207}"/>
              </a:ext>
            </a:extLst>
          </p:cNvPr>
          <p:cNvSpPr>
            <a:spLocks noEditPoints="1"/>
          </p:cNvSpPr>
          <p:nvPr/>
        </p:nvSpPr>
        <p:spPr bwMode="auto">
          <a:xfrm>
            <a:off x="9093200" y="5257800"/>
            <a:ext cx="276225" cy="347663"/>
          </a:xfrm>
          <a:custGeom>
            <a:avLst/>
            <a:gdLst>
              <a:gd name="T0" fmla="*/ 2147483646 w 3556"/>
              <a:gd name="T1" fmla="*/ 2147483646 h 3950"/>
              <a:gd name="T2" fmla="*/ 2147483646 w 3556"/>
              <a:gd name="T3" fmla="*/ 2147483646 h 3950"/>
              <a:gd name="T4" fmla="*/ 2147483646 w 3556"/>
              <a:gd name="T5" fmla="*/ 2147483646 h 3950"/>
              <a:gd name="T6" fmla="*/ 2147483646 w 3556"/>
              <a:gd name="T7" fmla="*/ 2147483646 h 3950"/>
              <a:gd name="T8" fmla="*/ 2147483646 w 3556"/>
              <a:gd name="T9" fmla="*/ 2147483646 h 3950"/>
              <a:gd name="T10" fmla="*/ 2147483646 w 3556"/>
              <a:gd name="T11" fmla="*/ 2147483646 h 3950"/>
              <a:gd name="T12" fmla="*/ 2147483646 w 3556"/>
              <a:gd name="T13" fmla="*/ 2147483646 h 3950"/>
              <a:gd name="T14" fmla="*/ 2147483646 w 3556"/>
              <a:gd name="T15" fmla="*/ 2147483646 h 3950"/>
              <a:gd name="T16" fmla="*/ 2147483646 w 3556"/>
              <a:gd name="T17" fmla="*/ 2147483646 h 3950"/>
              <a:gd name="T18" fmla="*/ 2147483646 w 3556"/>
              <a:gd name="T19" fmla="*/ 2147483646 h 3950"/>
              <a:gd name="T20" fmla="*/ 2147483646 w 3556"/>
              <a:gd name="T21" fmla="*/ 2147483646 h 3950"/>
              <a:gd name="T22" fmla="*/ 0 w 3556"/>
              <a:gd name="T23" fmla="*/ 2147483646 h 3950"/>
              <a:gd name="T24" fmla="*/ 2147483646 w 3556"/>
              <a:gd name="T25" fmla="*/ 2147483646 h 3950"/>
              <a:gd name="T26" fmla="*/ 2147483646 w 3556"/>
              <a:gd name="T27" fmla="*/ 2147483646 h 3950"/>
              <a:gd name="T28" fmla="*/ 2147483646 w 3556"/>
              <a:gd name="T29" fmla="*/ 2147483646 h 3950"/>
              <a:gd name="T30" fmla="*/ 2147483646 w 3556"/>
              <a:gd name="T31" fmla="*/ 2147483646 h 3950"/>
              <a:gd name="T32" fmla="*/ 2147483646 w 3556"/>
              <a:gd name="T33" fmla="*/ 2147483646 h 3950"/>
              <a:gd name="T34" fmla="*/ 2147483646 w 3556"/>
              <a:gd name="T35" fmla="*/ 2147483646 h 3950"/>
              <a:gd name="T36" fmla="*/ 2147483646 w 3556"/>
              <a:gd name="T37" fmla="*/ 2147483646 h 3950"/>
              <a:gd name="T38" fmla="*/ 2147483646 w 3556"/>
              <a:gd name="T39" fmla="*/ 2147483646 h 3950"/>
              <a:gd name="T40" fmla="*/ 2147483646 w 3556"/>
              <a:gd name="T41" fmla="*/ 2147483646 h 3950"/>
              <a:gd name="T42" fmla="*/ 2147483646 w 3556"/>
              <a:gd name="T43" fmla="*/ 2147483646 h 3950"/>
              <a:gd name="T44" fmla="*/ 2147483646 w 3556"/>
              <a:gd name="T45" fmla="*/ 2147483646 h 3950"/>
              <a:gd name="T46" fmla="*/ 2147483646 w 3556"/>
              <a:gd name="T47" fmla="*/ 2147483646 h 3950"/>
              <a:gd name="T48" fmla="*/ 2147483646 w 3556"/>
              <a:gd name="T49" fmla="*/ 2147483646 h 3950"/>
              <a:gd name="T50" fmla="*/ 2147483646 w 3556"/>
              <a:gd name="T51" fmla="*/ 2147483646 h 3950"/>
              <a:gd name="T52" fmla="*/ 2147483646 w 3556"/>
              <a:gd name="T53" fmla="*/ 2147483646 h 3950"/>
              <a:gd name="T54" fmla="*/ 2147483646 w 3556"/>
              <a:gd name="T55" fmla="*/ 2147483646 h 3950"/>
              <a:gd name="T56" fmla="*/ 2147483646 w 3556"/>
              <a:gd name="T57" fmla="*/ 2147483646 h 3950"/>
              <a:gd name="T58" fmla="*/ 2147483646 w 3556"/>
              <a:gd name="T59" fmla="*/ 2147483646 h 3950"/>
              <a:gd name="T60" fmla="*/ 2147483646 w 3556"/>
              <a:gd name="T61" fmla="*/ 2147483646 h 3950"/>
              <a:gd name="T62" fmla="*/ 2147483646 w 3556"/>
              <a:gd name="T63" fmla="*/ 2147483646 h 3950"/>
              <a:gd name="T64" fmla="*/ 2147483646 w 3556"/>
              <a:gd name="T65" fmla="*/ 2147483646 h 3950"/>
              <a:gd name="T66" fmla="*/ 2147483646 w 3556"/>
              <a:gd name="T67" fmla="*/ 2147483646 h 3950"/>
              <a:gd name="T68" fmla="*/ 2147483646 w 3556"/>
              <a:gd name="T69" fmla="*/ 2147483646 h 3950"/>
              <a:gd name="T70" fmla="*/ 2147483646 w 3556"/>
              <a:gd name="T71" fmla="*/ 2147483646 h 3950"/>
              <a:gd name="T72" fmla="*/ 2147483646 w 3556"/>
              <a:gd name="T73" fmla="*/ 2147483646 h 3950"/>
              <a:gd name="T74" fmla="*/ 2147483646 w 3556"/>
              <a:gd name="T75" fmla="*/ 2147483646 h 3950"/>
              <a:gd name="T76" fmla="*/ 2147483646 w 3556"/>
              <a:gd name="T77" fmla="*/ 2147483646 h 3950"/>
              <a:gd name="T78" fmla="*/ 2147483646 w 3556"/>
              <a:gd name="T79" fmla="*/ 2147483646 h 3950"/>
              <a:gd name="T80" fmla="*/ 2147483646 w 3556"/>
              <a:gd name="T81" fmla="*/ 0 h 3950"/>
              <a:gd name="T82" fmla="*/ 2147483646 w 3556"/>
              <a:gd name="T83" fmla="*/ 2147483646 h 3950"/>
              <a:gd name="T84" fmla="*/ 2147483646 w 3556"/>
              <a:gd name="T85" fmla="*/ 2147483646 h 3950"/>
              <a:gd name="T86" fmla="*/ 2147483646 w 3556"/>
              <a:gd name="T87" fmla="*/ 2147483646 h 395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556"/>
              <a:gd name="T133" fmla="*/ 0 h 3950"/>
              <a:gd name="T134" fmla="*/ 3556 w 3556"/>
              <a:gd name="T135" fmla="*/ 3950 h 395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556" h="3950">
                <a:moveTo>
                  <a:pt x="909" y="3917"/>
                </a:moveTo>
                <a:cubicBezTo>
                  <a:pt x="824" y="3832"/>
                  <a:pt x="894" y="3725"/>
                  <a:pt x="1036" y="3725"/>
                </a:cubicBezTo>
                <a:cubicBezTo>
                  <a:pt x="1119" y="3725"/>
                  <a:pt x="1129" y="3717"/>
                  <a:pt x="1129" y="3645"/>
                </a:cubicBezTo>
                <a:cubicBezTo>
                  <a:pt x="1129" y="3472"/>
                  <a:pt x="1135" y="3471"/>
                  <a:pt x="2192" y="3471"/>
                </a:cubicBezTo>
                <a:cubicBezTo>
                  <a:pt x="3086" y="3471"/>
                  <a:pt x="3155" y="3475"/>
                  <a:pt x="3199" y="3523"/>
                </a:cubicBezTo>
                <a:cubicBezTo>
                  <a:pt x="3225" y="3551"/>
                  <a:pt x="3246" y="3608"/>
                  <a:pt x="3246" y="3648"/>
                </a:cubicBezTo>
                <a:cubicBezTo>
                  <a:pt x="3246" y="3712"/>
                  <a:pt x="3259" y="3723"/>
                  <a:pt x="3349" y="3730"/>
                </a:cubicBezTo>
                <a:cubicBezTo>
                  <a:pt x="3470" y="3741"/>
                  <a:pt x="3530" y="3811"/>
                  <a:pt x="3482" y="3887"/>
                </a:cubicBezTo>
                <a:cubicBezTo>
                  <a:pt x="3453" y="3933"/>
                  <a:pt x="3356" y="3937"/>
                  <a:pt x="2197" y="3944"/>
                </a:cubicBezTo>
                <a:cubicBezTo>
                  <a:pt x="1245" y="3950"/>
                  <a:pt x="935" y="3943"/>
                  <a:pt x="909" y="3917"/>
                </a:cubicBezTo>
                <a:close/>
                <a:moveTo>
                  <a:pt x="87" y="3370"/>
                </a:moveTo>
                <a:cubicBezTo>
                  <a:pt x="24" y="3317"/>
                  <a:pt x="0" y="3272"/>
                  <a:pt x="0" y="3209"/>
                </a:cubicBezTo>
                <a:cubicBezTo>
                  <a:pt x="0" y="3132"/>
                  <a:pt x="86" y="3035"/>
                  <a:pt x="705" y="2414"/>
                </a:cubicBezTo>
                <a:lnTo>
                  <a:pt x="1411" y="1706"/>
                </a:lnTo>
                <a:lnTo>
                  <a:pt x="1235" y="1530"/>
                </a:lnTo>
                <a:lnTo>
                  <a:pt x="1059" y="1355"/>
                </a:lnTo>
                <a:lnTo>
                  <a:pt x="1510" y="903"/>
                </a:lnTo>
                <a:lnTo>
                  <a:pt x="1960" y="452"/>
                </a:lnTo>
                <a:lnTo>
                  <a:pt x="2135" y="624"/>
                </a:lnTo>
                <a:cubicBezTo>
                  <a:pt x="2305" y="793"/>
                  <a:pt x="2310" y="796"/>
                  <a:pt x="2374" y="751"/>
                </a:cubicBezTo>
                <a:cubicBezTo>
                  <a:pt x="2469" y="685"/>
                  <a:pt x="2547" y="695"/>
                  <a:pt x="2633" y="785"/>
                </a:cubicBezTo>
                <a:cubicBezTo>
                  <a:pt x="2720" y="875"/>
                  <a:pt x="2731" y="974"/>
                  <a:pt x="2662" y="1050"/>
                </a:cubicBezTo>
                <a:cubicBezTo>
                  <a:pt x="2616" y="1100"/>
                  <a:pt x="2624" y="1112"/>
                  <a:pt x="2823" y="1313"/>
                </a:cubicBezTo>
                <a:lnTo>
                  <a:pt x="3033" y="1524"/>
                </a:lnTo>
                <a:lnTo>
                  <a:pt x="2582" y="1975"/>
                </a:lnTo>
                <a:lnTo>
                  <a:pt x="2132" y="2427"/>
                </a:lnTo>
                <a:lnTo>
                  <a:pt x="1933" y="2229"/>
                </a:lnTo>
                <a:cubicBezTo>
                  <a:pt x="1824" y="2121"/>
                  <a:pt x="1722" y="2032"/>
                  <a:pt x="1707" y="2032"/>
                </a:cubicBezTo>
                <a:cubicBezTo>
                  <a:pt x="1693" y="2032"/>
                  <a:pt x="1362" y="2349"/>
                  <a:pt x="973" y="2737"/>
                </a:cubicBezTo>
                <a:cubicBezTo>
                  <a:pt x="584" y="3125"/>
                  <a:pt x="245" y="3443"/>
                  <a:pt x="220" y="3443"/>
                </a:cubicBezTo>
                <a:cubicBezTo>
                  <a:pt x="194" y="3443"/>
                  <a:pt x="135" y="3410"/>
                  <a:pt x="87" y="3370"/>
                </a:cubicBezTo>
                <a:close/>
                <a:moveTo>
                  <a:pt x="2258" y="2887"/>
                </a:moveTo>
                <a:cubicBezTo>
                  <a:pt x="2196" y="2865"/>
                  <a:pt x="2145" y="2792"/>
                  <a:pt x="2145" y="2725"/>
                </a:cubicBezTo>
                <a:cubicBezTo>
                  <a:pt x="2145" y="2686"/>
                  <a:pt x="2337" y="2474"/>
                  <a:pt x="2703" y="2109"/>
                </a:cubicBezTo>
                <a:cubicBezTo>
                  <a:pt x="3289" y="1523"/>
                  <a:pt x="3346" y="1485"/>
                  <a:pt x="3453" y="1604"/>
                </a:cubicBezTo>
                <a:cubicBezTo>
                  <a:pt x="3556" y="1717"/>
                  <a:pt x="3522" y="1766"/>
                  <a:pt x="2956" y="2331"/>
                </a:cubicBezTo>
                <a:cubicBezTo>
                  <a:pt x="2657" y="2630"/>
                  <a:pt x="2388" y="2880"/>
                  <a:pt x="2357" y="2888"/>
                </a:cubicBezTo>
                <a:cubicBezTo>
                  <a:pt x="2326" y="2895"/>
                  <a:pt x="2281" y="2895"/>
                  <a:pt x="2258" y="2887"/>
                </a:cubicBezTo>
                <a:close/>
                <a:moveTo>
                  <a:pt x="637" y="1282"/>
                </a:moveTo>
                <a:cubicBezTo>
                  <a:pt x="528" y="1172"/>
                  <a:pt x="568" y="1113"/>
                  <a:pt x="1137" y="544"/>
                </a:cubicBezTo>
                <a:cubicBezTo>
                  <a:pt x="1607" y="74"/>
                  <a:pt x="1693" y="0"/>
                  <a:pt x="1767" y="0"/>
                </a:cubicBezTo>
                <a:cubicBezTo>
                  <a:pt x="1862" y="0"/>
                  <a:pt x="1947" y="73"/>
                  <a:pt x="1947" y="156"/>
                </a:cubicBezTo>
                <a:cubicBezTo>
                  <a:pt x="1947" y="186"/>
                  <a:pt x="1715" y="442"/>
                  <a:pt x="1391" y="767"/>
                </a:cubicBezTo>
                <a:cubicBezTo>
                  <a:pt x="808" y="1353"/>
                  <a:pt x="749" y="1393"/>
                  <a:pt x="637" y="12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4" name="Group 118">
            <a:extLst>
              <a:ext uri="{FF2B5EF4-FFF2-40B4-BE49-F238E27FC236}">
                <a16:creationId xmlns:a16="http://schemas.microsoft.com/office/drawing/2014/main" id="{FB3D6A90-C4FD-433A-A1C1-A4B3864804A5}"/>
              </a:ext>
            </a:extLst>
          </p:cNvPr>
          <p:cNvGrpSpPr/>
          <p:nvPr/>
        </p:nvGrpSpPr>
        <p:grpSpPr>
          <a:xfrm>
            <a:off x="8409631" y="5248358"/>
            <a:ext cx="346498" cy="347472"/>
            <a:chOff x="1468138" y="5997240"/>
            <a:chExt cx="283642" cy="307072"/>
          </a:xfrm>
          <a:solidFill>
            <a:schemeClr val="bg1"/>
          </a:solidFill>
        </p:grpSpPr>
        <p:sp>
          <p:nvSpPr>
            <p:cNvPr id="120" name="Freeform 16">
              <a:extLst>
                <a:ext uri="{FF2B5EF4-FFF2-40B4-BE49-F238E27FC236}">
                  <a16:creationId xmlns:a16="http://schemas.microsoft.com/office/drawing/2014/main" id="{D6134FC8-4249-4088-8AE8-003C8AAC7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6136" y="6255221"/>
              <a:ext cx="26428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1 w 349"/>
                <a:gd name="T25" fmla="*/ 226 h 350"/>
                <a:gd name="T26" fmla="*/ 225 w 349"/>
                <a:gd name="T27" fmla="*/ 213 h 350"/>
                <a:gd name="T28" fmla="*/ 234 w 349"/>
                <a:gd name="T29" fmla="*/ 194 h 350"/>
                <a:gd name="T30" fmla="*/ 237 w 349"/>
                <a:gd name="T31" fmla="*/ 175 h 350"/>
                <a:gd name="T32" fmla="*/ 235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5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4 w 349"/>
                <a:gd name="T47" fmla="*/ 3 h 350"/>
                <a:gd name="T48" fmla="*/ 234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8 w 349"/>
                <a:gd name="T55" fmla="*/ 63 h 350"/>
                <a:gd name="T56" fmla="*/ 325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5 w 349"/>
                <a:gd name="T65" fmla="*/ 210 h 350"/>
                <a:gd name="T66" fmla="*/ 335 w 349"/>
                <a:gd name="T67" fmla="*/ 243 h 350"/>
                <a:gd name="T68" fmla="*/ 319 w 349"/>
                <a:gd name="T69" fmla="*/ 273 h 350"/>
                <a:gd name="T70" fmla="*/ 297 w 349"/>
                <a:gd name="T71" fmla="*/ 299 h 350"/>
                <a:gd name="T72" fmla="*/ 272 w 349"/>
                <a:gd name="T73" fmla="*/ 319 h 350"/>
                <a:gd name="T74" fmla="*/ 242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39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29 w 349"/>
                <a:gd name="T89" fmla="*/ 273 h 350"/>
                <a:gd name="T90" fmla="*/ 14 w 349"/>
                <a:gd name="T91" fmla="*/ 243 h 350"/>
                <a:gd name="T92" fmla="*/ 3 w 349"/>
                <a:gd name="T93" fmla="*/ 210 h 350"/>
                <a:gd name="T94" fmla="*/ 0 w 349"/>
                <a:gd name="T95" fmla="*/ 175 h 350"/>
                <a:gd name="T96" fmla="*/ 3 w 349"/>
                <a:gd name="T97" fmla="*/ 140 h 350"/>
                <a:gd name="T98" fmla="*/ 14 w 349"/>
                <a:gd name="T99" fmla="*/ 107 h 350"/>
                <a:gd name="T100" fmla="*/ 29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39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1" y="226"/>
                  </a:lnTo>
                  <a:lnTo>
                    <a:pt x="225" y="213"/>
                  </a:lnTo>
                  <a:lnTo>
                    <a:pt x="234" y="194"/>
                  </a:lnTo>
                  <a:lnTo>
                    <a:pt x="237" y="175"/>
                  </a:lnTo>
                  <a:lnTo>
                    <a:pt x="235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5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4" y="3"/>
                  </a:lnTo>
                  <a:lnTo>
                    <a:pt x="234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8" y="63"/>
                  </a:lnTo>
                  <a:lnTo>
                    <a:pt x="325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5" y="210"/>
                  </a:lnTo>
                  <a:lnTo>
                    <a:pt x="335" y="243"/>
                  </a:lnTo>
                  <a:lnTo>
                    <a:pt x="319" y="273"/>
                  </a:lnTo>
                  <a:lnTo>
                    <a:pt x="297" y="299"/>
                  </a:lnTo>
                  <a:lnTo>
                    <a:pt x="272" y="319"/>
                  </a:lnTo>
                  <a:lnTo>
                    <a:pt x="242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39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29" y="273"/>
                  </a:lnTo>
                  <a:lnTo>
                    <a:pt x="14" y="243"/>
                  </a:lnTo>
                  <a:lnTo>
                    <a:pt x="3" y="210"/>
                  </a:lnTo>
                  <a:lnTo>
                    <a:pt x="0" y="175"/>
                  </a:lnTo>
                  <a:lnTo>
                    <a:pt x="3" y="140"/>
                  </a:lnTo>
                  <a:lnTo>
                    <a:pt x="14" y="107"/>
                  </a:lnTo>
                  <a:lnTo>
                    <a:pt x="29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39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1" name="Freeform 17">
              <a:extLst>
                <a:ext uri="{FF2B5EF4-FFF2-40B4-BE49-F238E27FC236}">
                  <a16:creationId xmlns:a16="http://schemas.microsoft.com/office/drawing/2014/main" id="{67A5F0B0-C078-4A85-9E32-409FF0B3D5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2133" y="6255221"/>
              <a:ext cx="26656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2 w 349"/>
                <a:gd name="T25" fmla="*/ 226 h 350"/>
                <a:gd name="T26" fmla="*/ 226 w 349"/>
                <a:gd name="T27" fmla="*/ 213 h 350"/>
                <a:gd name="T28" fmla="*/ 235 w 349"/>
                <a:gd name="T29" fmla="*/ 194 h 350"/>
                <a:gd name="T30" fmla="*/ 237 w 349"/>
                <a:gd name="T31" fmla="*/ 175 h 350"/>
                <a:gd name="T32" fmla="*/ 236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7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5 w 349"/>
                <a:gd name="T47" fmla="*/ 3 h 350"/>
                <a:gd name="T48" fmla="*/ 235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9 w 349"/>
                <a:gd name="T55" fmla="*/ 63 h 350"/>
                <a:gd name="T56" fmla="*/ 326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6 w 349"/>
                <a:gd name="T65" fmla="*/ 210 h 350"/>
                <a:gd name="T66" fmla="*/ 336 w 349"/>
                <a:gd name="T67" fmla="*/ 243 h 350"/>
                <a:gd name="T68" fmla="*/ 319 w 349"/>
                <a:gd name="T69" fmla="*/ 273 h 350"/>
                <a:gd name="T70" fmla="*/ 298 w 349"/>
                <a:gd name="T71" fmla="*/ 299 h 350"/>
                <a:gd name="T72" fmla="*/ 272 w 349"/>
                <a:gd name="T73" fmla="*/ 319 h 350"/>
                <a:gd name="T74" fmla="*/ 243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40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30 w 349"/>
                <a:gd name="T89" fmla="*/ 273 h 350"/>
                <a:gd name="T90" fmla="*/ 14 w 349"/>
                <a:gd name="T91" fmla="*/ 243 h 350"/>
                <a:gd name="T92" fmla="*/ 4 w 349"/>
                <a:gd name="T93" fmla="*/ 210 h 350"/>
                <a:gd name="T94" fmla="*/ 0 w 349"/>
                <a:gd name="T95" fmla="*/ 175 h 350"/>
                <a:gd name="T96" fmla="*/ 4 w 349"/>
                <a:gd name="T97" fmla="*/ 140 h 350"/>
                <a:gd name="T98" fmla="*/ 14 w 349"/>
                <a:gd name="T99" fmla="*/ 107 h 350"/>
                <a:gd name="T100" fmla="*/ 30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40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7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7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5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19" y="273"/>
                  </a:lnTo>
                  <a:lnTo>
                    <a:pt x="298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2" name="Freeform 18">
              <a:extLst>
                <a:ext uri="{FF2B5EF4-FFF2-40B4-BE49-F238E27FC236}">
                  <a16:creationId xmlns:a16="http://schemas.microsoft.com/office/drawing/2014/main" id="{BF1784DA-3E40-44FD-998D-DB1DD379C0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8357" y="6255221"/>
              <a:ext cx="26428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7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1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7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8 w 350"/>
                <a:gd name="T31" fmla="*/ 175 h 350"/>
                <a:gd name="T32" fmla="*/ 236 w 350"/>
                <a:gd name="T33" fmla="*/ 158 h 350"/>
                <a:gd name="T34" fmla="*/ 229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7 w 350"/>
                <a:gd name="T53" fmla="*/ 41 h 350"/>
                <a:gd name="T54" fmla="*/ 309 w 350"/>
                <a:gd name="T55" fmla="*/ 63 h 350"/>
                <a:gd name="T56" fmla="*/ 326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2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7 w 350"/>
                <a:gd name="T85" fmla="*/ 319 h 350"/>
                <a:gd name="T86" fmla="*/ 51 w 350"/>
                <a:gd name="T87" fmla="*/ 299 h 350"/>
                <a:gd name="T88" fmla="*/ 30 w 350"/>
                <a:gd name="T89" fmla="*/ 273 h 350"/>
                <a:gd name="T90" fmla="*/ 14 w 350"/>
                <a:gd name="T91" fmla="*/ 243 h 350"/>
                <a:gd name="T92" fmla="*/ 4 w 350"/>
                <a:gd name="T93" fmla="*/ 210 h 350"/>
                <a:gd name="T94" fmla="*/ 0 w 350"/>
                <a:gd name="T95" fmla="*/ 175 h 350"/>
                <a:gd name="T96" fmla="*/ 4 w 350"/>
                <a:gd name="T97" fmla="*/ 140 h 350"/>
                <a:gd name="T98" fmla="*/ 14 w 350"/>
                <a:gd name="T99" fmla="*/ 107 h 350"/>
                <a:gd name="T100" fmla="*/ 30 w 350"/>
                <a:gd name="T101" fmla="*/ 78 h 350"/>
                <a:gd name="T102" fmla="*/ 51 w 350"/>
                <a:gd name="T103" fmla="*/ 52 h 350"/>
                <a:gd name="T104" fmla="*/ 77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8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3" name="Freeform 19">
              <a:extLst>
                <a:ext uri="{FF2B5EF4-FFF2-40B4-BE49-F238E27FC236}">
                  <a16:creationId xmlns:a16="http://schemas.microsoft.com/office/drawing/2014/main" id="{FF26547B-24B3-4108-8095-A2794E966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4353" y="6255221"/>
              <a:ext cx="26656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8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3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8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9 w 350"/>
                <a:gd name="T31" fmla="*/ 175 h 350"/>
                <a:gd name="T32" fmla="*/ 236 w 350"/>
                <a:gd name="T33" fmla="*/ 158 h 350"/>
                <a:gd name="T34" fmla="*/ 231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8 w 350"/>
                <a:gd name="T53" fmla="*/ 41 h 350"/>
                <a:gd name="T54" fmla="*/ 309 w 350"/>
                <a:gd name="T55" fmla="*/ 63 h 350"/>
                <a:gd name="T56" fmla="*/ 327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3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8 w 350"/>
                <a:gd name="T85" fmla="*/ 319 h 350"/>
                <a:gd name="T86" fmla="*/ 53 w 350"/>
                <a:gd name="T87" fmla="*/ 299 h 350"/>
                <a:gd name="T88" fmla="*/ 31 w 350"/>
                <a:gd name="T89" fmla="*/ 273 h 350"/>
                <a:gd name="T90" fmla="*/ 15 w 350"/>
                <a:gd name="T91" fmla="*/ 243 h 350"/>
                <a:gd name="T92" fmla="*/ 5 w 350"/>
                <a:gd name="T93" fmla="*/ 210 h 350"/>
                <a:gd name="T94" fmla="*/ 0 w 350"/>
                <a:gd name="T95" fmla="*/ 175 h 350"/>
                <a:gd name="T96" fmla="*/ 5 w 350"/>
                <a:gd name="T97" fmla="*/ 140 h 350"/>
                <a:gd name="T98" fmla="*/ 15 w 350"/>
                <a:gd name="T99" fmla="*/ 107 h 350"/>
                <a:gd name="T100" fmla="*/ 31 w 350"/>
                <a:gd name="T101" fmla="*/ 78 h 350"/>
                <a:gd name="T102" fmla="*/ 53 w 350"/>
                <a:gd name="T103" fmla="*/ 52 h 350"/>
                <a:gd name="T104" fmla="*/ 78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8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3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8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9" y="175"/>
                  </a:lnTo>
                  <a:lnTo>
                    <a:pt x="236" y="158"/>
                  </a:lnTo>
                  <a:lnTo>
                    <a:pt x="231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8" y="41"/>
                  </a:lnTo>
                  <a:lnTo>
                    <a:pt x="309" y="63"/>
                  </a:lnTo>
                  <a:lnTo>
                    <a:pt x="327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3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8" y="319"/>
                  </a:lnTo>
                  <a:lnTo>
                    <a:pt x="53" y="299"/>
                  </a:lnTo>
                  <a:lnTo>
                    <a:pt x="31" y="273"/>
                  </a:lnTo>
                  <a:lnTo>
                    <a:pt x="15" y="243"/>
                  </a:lnTo>
                  <a:lnTo>
                    <a:pt x="5" y="210"/>
                  </a:lnTo>
                  <a:lnTo>
                    <a:pt x="0" y="175"/>
                  </a:lnTo>
                  <a:lnTo>
                    <a:pt x="5" y="140"/>
                  </a:lnTo>
                  <a:lnTo>
                    <a:pt x="15" y="107"/>
                  </a:lnTo>
                  <a:lnTo>
                    <a:pt x="31" y="78"/>
                  </a:lnTo>
                  <a:lnTo>
                    <a:pt x="53" y="52"/>
                  </a:lnTo>
                  <a:lnTo>
                    <a:pt x="78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4" name="Freeform 20">
              <a:extLst>
                <a:ext uri="{FF2B5EF4-FFF2-40B4-BE49-F238E27FC236}">
                  <a16:creationId xmlns:a16="http://schemas.microsoft.com/office/drawing/2014/main" id="{6F553FA1-4728-401A-8C20-F18E165CA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80832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2 h 111"/>
                <a:gd name="T10" fmla="*/ 168 w 171"/>
                <a:gd name="T11" fmla="*/ 37 h 111"/>
                <a:gd name="T12" fmla="*/ 171 w 171"/>
                <a:gd name="T13" fmla="*/ 55 h 111"/>
                <a:gd name="T14" fmla="*/ 168 w 171"/>
                <a:gd name="T15" fmla="*/ 72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8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8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2 h 111"/>
                <a:gd name="T34" fmla="*/ 0 w 171"/>
                <a:gd name="T35" fmla="*/ 55 h 111"/>
                <a:gd name="T36" fmla="*/ 2 w 171"/>
                <a:gd name="T37" fmla="*/ 37 h 111"/>
                <a:gd name="T38" fmla="*/ 10 w 171"/>
                <a:gd name="T39" fmla="*/ 22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2"/>
                  </a:lnTo>
                  <a:lnTo>
                    <a:pt x="168" y="37"/>
                  </a:lnTo>
                  <a:lnTo>
                    <a:pt x="171" y="55"/>
                  </a:lnTo>
                  <a:lnTo>
                    <a:pt x="168" y="72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8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8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2"/>
                  </a:lnTo>
                  <a:lnTo>
                    <a:pt x="0" y="55"/>
                  </a:lnTo>
                  <a:lnTo>
                    <a:pt x="2" y="37"/>
                  </a:lnTo>
                  <a:lnTo>
                    <a:pt x="10" y="22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5" name="Freeform 21">
              <a:extLst>
                <a:ext uri="{FF2B5EF4-FFF2-40B4-BE49-F238E27FC236}">
                  <a16:creationId xmlns:a16="http://schemas.microsoft.com/office/drawing/2014/main" id="{2A783787-5E9B-43C9-9BF4-073950C97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95860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3 h 111"/>
                <a:gd name="T10" fmla="*/ 168 w 171"/>
                <a:gd name="T11" fmla="*/ 38 h 111"/>
                <a:gd name="T12" fmla="*/ 171 w 171"/>
                <a:gd name="T13" fmla="*/ 55 h 111"/>
                <a:gd name="T14" fmla="*/ 168 w 171"/>
                <a:gd name="T15" fmla="*/ 74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9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9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4 h 111"/>
                <a:gd name="T34" fmla="*/ 0 w 171"/>
                <a:gd name="T35" fmla="*/ 55 h 111"/>
                <a:gd name="T36" fmla="*/ 2 w 171"/>
                <a:gd name="T37" fmla="*/ 38 h 111"/>
                <a:gd name="T38" fmla="*/ 10 w 171"/>
                <a:gd name="T39" fmla="*/ 23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3"/>
                  </a:lnTo>
                  <a:lnTo>
                    <a:pt x="168" y="38"/>
                  </a:lnTo>
                  <a:lnTo>
                    <a:pt x="171" y="55"/>
                  </a:lnTo>
                  <a:lnTo>
                    <a:pt x="168" y="74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9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9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4"/>
                  </a:lnTo>
                  <a:lnTo>
                    <a:pt x="0" y="55"/>
                  </a:lnTo>
                  <a:lnTo>
                    <a:pt x="2" y="38"/>
                  </a:lnTo>
                  <a:lnTo>
                    <a:pt x="10" y="23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6" name="Freeform 22">
              <a:extLst>
                <a:ext uri="{FF2B5EF4-FFF2-40B4-BE49-F238E27FC236}">
                  <a16:creationId xmlns:a16="http://schemas.microsoft.com/office/drawing/2014/main" id="{6465D05A-ED22-49B3-924E-6DFC4C8C8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8138" y="5997240"/>
              <a:ext cx="283642" cy="307072"/>
            </a:xfrm>
            <a:custGeom>
              <a:avLst/>
              <a:gdLst>
                <a:gd name="T0" fmla="*/ 185 w 3736"/>
                <a:gd name="T1" fmla="*/ 3069 h 3678"/>
                <a:gd name="T2" fmla="*/ 125 w 3736"/>
                <a:gd name="T3" fmla="*/ 3352 h 3678"/>
                <a:gd name="T4" fmla="*/ 325 w 3736"/>
                <a:gd name="T5" fmla="*/ 3554 h 3678"/>
                <a:gd name="T6" fmla="*/ 2002 w 3736"/>
                <a:gd name="T7" fmla="*/ 3518 h 3678"/>
                <a:gd name="T8" fmla="*/ 2140 w 3736"/>
                <a:gd name="T9" fmla="*/ 3266 h 3678"/>
                <a:gd name="T10" fmla="*/ 2002 w 3736"/>
                <a:gd name="T11" fmla="*/ 3013 h 3678"/>
                <a:gd name="T12" fmla="*/ 943 w 3736"/>
                <a:gd name="T13" fmla="*/ 2853 h 3678"/>
                <a:gd name="T14" fmla="*/ 2970 w 3736"/>
                <a:gd name="T15" fmla="*/ 2765 h 3678"/>
                <a:gd name="T16" fmla="*/ 3240 w 3736"/>
                <a:gd name="T17" fmla="*/ 2787 h 3678"/>
                <a:gd name="T18" fmla="*/ 3506 w 3736"/>
                <a:gd name="T19" fmla="*/ 2599 h 3678"/>
                <a:gd name="T20" fmla="*/ 302 w 3736"/>
                <a:gd name="T21" fmla="*/ 2099 h 3678"/>
                <a:gd name="T22" fmla="*/ 333 w 3736"/>
                <a:gd name="T23" fmla="*/ 2613 h 3678"/>
                <a:gd name="T24" fmla="*/ 3524 w 3736"/>
                <a:gd name="T25" fmla="*/ 1966 h 3678"/>
                <a:gd name="T26" fmla="*/ 3542 w 3736"/>
                <a:gd name="T27" fmla="*/ 2077 h 3678"/>
                <a:gd name="T28" fmla="*/ 3622 w 3736"/>
                <a:gd name="T29" fmla="*/ 1998 h 3678"/>
                <a:gd name="T30" fmla="*/ 893 w 3736"/>
                <a:gd name="T31" fmla="*/ 1458 h 3678"/>
                <a:gd name="T32" fmla="*/ 1843 w 3736"/>
                <a:gd name="T33" fmla="*/ 2616 h 3678"/>
                <a:gd name="T34" fmla="*/ 1132 w 3736"/>
                <a:gd name="T35" fmla="*/ 2414 h 3678"/>
                <a:gd name="T36" fmla="*/ 954 w 3736"/>
                <a:gd name="T37" fmla="*/ 2256 h 3678"/>
                <a:gd name="T38" fmla="*/ 1082 w 3736"/>
                <a:gd name="T39" fmla="*/ 2271 h 3678"/>
                <a:gd name="T40" fmla="*/ 1271 w 3736"/>
                <a:gd name="T41" fmla="*/ 1557 h 3678"/>
                <a:gd name="T42" fmla="*/ 1360 w 3736"/>
                <a:gd name="T43" fmla="*/ 1601 h 3678"/>
                <a:gd name="T44" fmla="*/ 1958 w 3736"/>
                <a:gd name="T45" fmla="*/ 2171 h 3678"/>
                <a:gd name="T46" fmla="*/ 1525 w 3736"/>
                <a:gd name="T47" fmla="*/ 1457 h 3678"/>
                <a:gd name="T48" fmla="*/ 2749 w 3736"/>
                <a:gd name="T49" fmla="*/ 361 h 3678"/>
                <a:gd name="T50" fmla="*/ 3541 w 3736"/>
                <a:gd name="T51" fmla="*/ 1844 h 3678"/>
                <a:gd name="T52" fmla="*/ 1658 w 3736"/>
                <a:gd name="T53" fmla="*/ 1439 h 3678"/>
                <a:gd name="T54" fmla="*/ 2419 w 3736"/>
                <a:gd name="T55" fmla="*/ 427 h 3678"/>
                <a:gd name="T56" fmla="*/ 2498 w 3736"/>
                <a:gd name="T57" fmla="*/ 124 h 3678"/>
                <a:gd name="T58" fmla="*/ 2441 w 3736"/>
                <a:gd name="T59" fmla="*/ 287 h 3678"/>
                <a:gd name="T60" fmla="*/ 2599 w 3736"/>
                <a:gd name="T61" fmla="*/ 347 h 3678"/>
                <a:gd name="T62" fmla="*/ 2672 w 3736"/>
                <a:gd name="T63" fmla="*/ 256 h 3678"/>
                <a:gd name="T64" fmla="*/ 2625 w 3736"/>
                <a:gd name="T65" fmla="*/ 136 h 3678"/>
                <a:gd name="T66" fmla="*/ 2665 w 3736"/>
                <a:gd name="T67" fmla="*/ 28 h 3678"/>
                <a:gd name="T68" fmla="*/ 3734 w 3736"/>
                <a:gd name="T69" fmla="*/ 1986 h 3678"/>
                <a:gd name="T70" fmla="*/ 3646 w 3736"/>
                <a:gd name="T71" fmla="*/ 2170 h 3678"/>
                <a:gd name="T72" fmla="*/ 3580 w 3736"/>
                <a:gd name="T73" fmla="*/ 2724 h 3678"/>
                <a:gd name="T74" fmla="*/ 3180 w 3736"/>
                <a:gd name="T75" fmla="*/ 2918 h 3678"/>
                <a:gd name="T76" fmla="*/ 2865 w 3736"/>
                <a:gd name="T77" fmla="*/ 2826 h 3678"/>
                <a:gd name="T78" fmla="*/ 2459 w 3736"/>
                <a:gd name="T79" fmla="*/ 2397 h 3678"/>
                <a:gd name="T80" fmla="*/ 3431 w 3736"/>
                <a:gd name="T81" fmla="*/ 2200 h 3678"/>
                <a:gd name="T82" fmla="*/ 3506 w 3736"/>
                <a:gd name="T83" fmla="*/ 2183 h 3678"/>
                <a:gd name="T84" fmla="*/ 1983 w 3736"/>
                <a:gd name="T85" fmla="*/ 1926 h 3678"/>
                <a:gd name="T86" fmla="*/ 2073 w 3736"/>
                <a:gd name="T87" fmla="*/ 2433 h 3678"/>
                <a:gd name="T88" fmla="*/ 2059 w 3736"/>
                <a:gd name="T89" fmla="*/ 2469 h 3678"/>
                <a:gd name="T90" fmla="*/ 2043 w 3736"/>
                <a:gd name="T91" fmla="*/ 2482 h 3678"/>
                <a:gd name="T92" fmla="*/ 2024 w 3736"/>
                <a:gd name="T93" fmla="*/ 2489 h 3678"/>
                <a:gd name="T94" fmla="*/ 1942 w 3736"/>
                <a:gd name="T95" fmla="*/ 2705 h 3678"/>
                <a:gd name="T96" fmla="*/ 1890 w 3736"/>
                <a:gd name="T97" fmla="*/ 2857 h 3678"/>
                <a:gd name="T98" fmla="*/ 2177 w 3736"/>
                <a:gd name="T99" fmla="*/ 3030 h 3678"/>
                <a:gd name="T100" fmla="*/ 2238 w 3736"/>
                <a:gd name="T101" fmla="*/ 3367 h 3678"/>
                <a:gd name="T102" fmla="*/ 2032 w 3736"/>
                <a:gd name="T103" fmla="*/ 3630 h 3678"/>
                <a:gd name="T104" fmla="*/ 311 w 3736"/>
                <a:gd name="T105" fmla="*/ 3666 h 3678"/>
                <a:gd name="T106" fmla="*/ 49 w 3736"/>
                <a:gd name="T107" fmla="*/ 3460 h 3678"/>
                <a:gd name="T108" fmla="*/ 28 w 3736"/>
                <a:gd name="T109" fmla="*/ 3116 h 3678"/>
                <a:gd name="T110" fmla="*/ 263 w 3736"/>
                <a:gd name="T111" fmla="*/ 2882 h 3678"/>
                <a:gd name="T112" fmla="*/ 317 w 3736"/>
                <a:gd name="T113" fmla="*/ 2724 h 3678"/>
                <a:gd name="T114" fmla="*/ 178 w 3736"/>
                <a:gd name="T115" fmla="*/ 2553 h 3678"/>
                <a:gd name="T116" fmla="*/ 284 w 3736"/>
                <a:gd name="T117" fmla="*/ 1975 h 3678"/>
                <a:gd name="T118" fmla="*/ 740 w 3736"/>
                <a:gd name="T119" fmla="*/ 1477 h 3678"/>
                <a:gd name="T120" fmla="*/ 963 w 3736"/>
                <a:gd name="T121" fmla="*/ 1310 h 3678"/>
                <a:gd name="T122" fmla="*/ 2410 w 3736"/>
                <a:gd name="T123" fmla="*/ 48 h 3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6" h="3678">
                  <a:moveTo>
                    <a:pt x="413" y="2964"/>
                  </a:moveTo>
                  <a:lnTo>
                    <a:pt x="367" y="2968"/>
                  </a:lnTo>
                  <a:lnTo>
                    <a:pt x="325" y="2978"/>
                  </a:lnTo>
                  <a:lnTo>
                    <a:pt x="286" y="2993"/>
                  </a:lnTo>
                  <a:lnTo>
                    <a:pt x="248" y="3013"/>
                  </a:lnTo>
                  <a:lnTo>
                    <a:pt x="215" y="3039"/>
                  </a:lnTo>
                  <a:lnTo>
                    <a:pt x="185" y="3069"/>
                  </a:lnTo>
                  <a:lnTo>
                    <a:pt x="160" y="3102"/>
                  </a:lnTo>
                  <a:lnTo>
                    <a:pt x="139" y="3139"/>
                  </a:lnTo>
                  <a:lnTo>
                    <a:pt x="125" y="3179"/>
                  </a:lnTo>
                  <a:lnTo>
                    <a:pt x="114" y="3222"/>
                  </a:lnTo>
                  <a:lnTo>
                    <a:pt x="111" y="3266"/>
                  </a:lnTo>
                  <a:lnTo>
                    <a:pt x="114" y="3310"/>
                  </a:lnTo>
                  <a:lnTo>
                    <a:pt x="125" y="3352"/>
                  </a:lnTo>
                  <a:lnTo>
                    <a:pt x="139" y="3393"/>
                  </a:lnTo>
                  <a:lnTo>
                    <a:pt x="160" y="3430"/>
                  </a:lnTo>
                  <a:lnTo>
                    <a:pt x="185" y="3464"/>
                  </a:lnTo>
                  <a:lnTo>
                    <a:pt x="215" y="3493"/>
                  </a:lnTo>
                  <a:lnTo>
                    <a:pt x="248" y="3518"/>
                  </a:lnTo>
                  <a:lnTo>
                    <a:pt x="286" y="3538"/>
                  </a:lnTo>
                  <a:lnTo>
                    <a:pt x="325" y="3554"/>
                  </a:lnTo>
                  <a:lnTo>
                    <a:pt x="367" y="3563"/>
                  </a:lnTo>
                  <a:lnTo>
                    <a:pt x="413" y="3567"/>
                  </a:lnTo>
                  <a:lnTo>
                    <a:pt x="1838" y="3567"/>
                  </a:lnTo>
                  <a:lnTo>
                    <a:pt x="1882" y="3563"/>
                  </a:lnTo>
                  <a:lnTo>
                    <a:pt x="1925" y="3554"/>
                  </a:lnTo>
                  <a:lnTo>
                    <a:pt x="1965" y="3538"/>
                  </a:lnTo>
                  <a:lnTo>
                    <a:pt x="2002" y="3518"/>
                  </a:lnTo>
                  <a:lnTo>
                    <a:pt x="2035" y="3493"/>
                  </a:lnTo>
                  <a:lnTo>
                    <a:pt x="2065" y="3464"/>
                  </a:lnTo>
                  <a:lnTo>
                    <a:pt x="2091" y="3430"/>
                  </a:lnTo>
                  <a:lnTo>
                    <a:pt x="2111" y="3393"/>
                  </a:lnTo>
                  <a:lnTo>
                    <a:pt x="2126" y="3352"/>
                  </a:lnTo>
                  <a:lnTo>
                    <a:pt x="2136" y="3310"/>
                  </a:lnTo>
                  <a:lnTo>
                    <a:pt x="2140" y="3266"/>
                  </a:lnTo>
                  <a:lnTo>
                    <a:pt x="2136" y="3222"/>
                  </a:lnTo>
                  <a:lnTo>
                    <a:pt x="2126" y="3179"/>
                  </a:lnTo>
                  <a:lnTo>
                    <a:pt x="2111" y="3139"/>
                  </a:lnTo>
                  <a:lnTo>
                    <a:pt x="2091" y="3102"/>
                  </a:lnTo>
                  <a:lnTo>
                    <a:pt x="2065" y="3069"/>
                  </a:lnTo>
                  <a:lnTo>
                    <a:pt x="2035" y="3039"/>
                  </a:lnTo>
                  <a:lnTo>
                    <a:pt x="2002" y="3013"/>
                  </a:lnTo>
                  <a:lnTo>
                    <a:pt x="1965" y="2993"/>
                  </a:lnTo>
                  <a:lnTo>
                    <a:pt x="1925" y="2978"/>
                  </a:lnTo>
                  <a:lnTo>
                    <a:pt x="1882" y="2968"/>
                  </a:lnTo>
                  <a:lnTo>
                    <a:pt x="1838" y="2964"/>
                  </a:lnTo>
                  <a:lnTo>
                    <a:pt x="413" y="2964"/>
                  </a:lnTo>
                  <a:close/>
                  <a:moveTo>
                    <a:pt x="943" y="2727"/>
                  </a:moveTo>
                  <a:lnTo>
                    <a:pt x="943" y="2853"/>
                  </a:lnTo>
                  <a:lnTo>
                    <a:pt x="1307" y="2853"/>
                  </a:lnTo>
                  <a:lnTo>
                    <a:pt x="1307" y="2727"/>
                  </a:lnTo>
                  <a:lnTo>
                    <a:pt x="943" y="2727"/>
                  </a:lnTo>
                  <a:close/>
                  <a:moveTo>
                    <a:pt x="3407" y="2328"/>
                  </a:moveTo>
                  <a:lnTo>
                    <a:pt x="2754" y="2590"/>
                  </a:lnTo>
                  <a:lnTo>
                    <a:pt x="2936" y="2741"/>
                  </a:lnTo>
                  <a:lnTo>
                    <a:pt x="2970" y="2765"/>
                  </a:lnTo>
                  <a:lnTo>
                    <a:pt x="3005" y="2783"/>
                  </a:lnTo>
                  <a:lnTo>
                    <a:pt x="3042" y="2797"/>
                  </a:lnTo>
                  <a:lnTo>
                    <a:pt x="3081" y="2806"/>
                  </a:lnTo>
                  <a:lnTo>
                    <a:pt x="3121" y="2809"/>
                  </a:lnTo>
                  <a:lnTo>
                    <a:pt x="3161" y="2808"/>
                  </a:lnTo>
                  <a:lnTo>
                    <a:pt x="3201" y="2800"/>
                  </a:lnTo>
                  <a:lnTo>
                    <a:pt x="3240" y="2787"/>
                  </a:lnTo>
                  <a:lnTo>
                    <a:pt x="3429" y="2711"/>
                  </a:lnTo>
                  <a:lnTo>
                    <a:pt x="3452" y="2700"/>
                  </a:lnTo>
                  <a:lnTo>
                    <a:pt x="3470" y="2684"/>
                  </a:lnTo>
                  <a:lnTo>
                    <a:pt x="3485" y="2666"/>
                  </a:lnTo>
                  <a:lnTo>
                    <a:pt x="3496" y="2646"/>
                  </a:lnTo>
                  <a:lnTo>
                    <a:pt x="3504" y="2623"/>
                  </a:lnTo>
                  <a:lnTo>
                    <a:pt x="3506" y="2599"/>
                  </a:lnTo>
                  <a:lnTo>
                    <a:pt x="3504" y="2575"/>
                  </a:lnTo>
                  <a:lnTo>
                    <a:pt x="3497" y="2551"/>
                  </a:lnTo>
                  <a:lnTo>
                    <a:pt x="3407" y="2328"/>
                  </a:lnTo>
                  <a:close/>
                  <a:moveTo>
                    <a:pt x="353" y="2073"/>
                  </a:moveTo>
                  <a:lnTo>
                    <a:pt x="333" y="2076"/>
                  </a:lnTo>
                  <a:lnTo>
                    <a:pt x="315" y="2085"/>
                  </a:lnTo>
                  <a:lnTo>
                    <a:pt x="302" y="2099"/>
                  </a:lnTo>
                  <a:lnTo>
                    <a:pt x="292" y="2116"/>
                  </a:lnTo>
                  <a:lnTo>
                    <a:pt x="289" y="2136"/>
                  </a:lnTo>
                  <a:lnTo>
                    <a:pt x="289" y="2553"/>
                  </a:lnTo>
                  <a:lnTo>
                    <a:pt x="292" y="2572"/>
                  </a:lnTo>
                  <a:lnTo>
                    <a:pt x="302" y="2590"/>
                  </a:lnTo>
                  <a:lnTo>
                    <a:pt x="315" y="2604"/>
                  </a:lnTo>
                  <a:lnTo>
                    <a:pt x="333" y="2613"/>
                  </a:lnTo>
                  <a:lnTo>
                    <a:pt x="353" y="2616"/>
                  </a:lnTo>
                  <a:lnTo>
                    <a:pt x="713" y="2616"/>
                  </a:lnTo>
                  <a:lnTo>
                    <a:pt x="713" y="2073"/>
                  </a:lnTo>
                  <a:lnTo>
                    <a:pt x="353" y="2073"/>
                  </a:lnTo>
                  <a:close/>
                  <a:moveTo>
                    <a:pt x="3562" y="1955"/>
                  </a:moveTo>
                  <a:lnTo>
                    <a:pt x="3542" y="1957"/>
                  </a:lnTo>
                  <a:lnTo>
                    <a:pt x="3524" y="1966"/>
                  </a:lnTo>
                  <a:lnTo>
                    <a:pt x="3511" y="1980"/>
                  </a:lnTo>
                  <a:lnTo>
                    <a:pt x="3502" y="1998"/>
                  </a:lnTo>
                  <a:lnTo>
                    <a:pt x="3498" y="2017"/>
                  </a:lnTo>
                  <a:lnTo>
                    <a:pt x="3502" y="2038"/>
                  </a:lnTo>
                  <a:lnTo>
                    <a:pt x="3511" y="2055"/>
                  </a:lnTo>
                  <a:lnTo>
                    <a:pt x="3524" y="2068"/>
                  </a:lnTo>
                  <a:lnTo>
                    <a:pt x="3542" y="2077"/>
                  </a:lnTo>
                  <a:lnTo>
                    <a:pt x="3562" y="2081"/>
                  </a:lnTo>
                  <a:lnTo>
                    <a:pt x="3582" y="2077"/>
                  </a:lnTo>
                  <a:lnTo>
                    <a:pt x="3599" y="2068"/>
                  </a:lnTo>
                  <a:lnTo>
                    <a:pt x="3613" y="2055"/>
                  </a:lnTo>
                  <a:lnTo>
                    <a:pt x="3622" y="2038"/>
                  </a:lnTo>
                  <a:lnTo>
                    <a:pt x="3625" y="2017"/>
                  </a:lnTo>
                  <a:lnTo>
                    <a:pt x="3622" y="1998"/>
                  </a:lnTo>
                  <a:lnTo>
                    <a:pt x="3613" y="1980"/>
                  </a:lnTo>
                  <a:lnTo>
                    <a:pt x="3599" y="1966"/>
                  </a:lnTo>
                  <a:lnTo>
                    <a:pt x="3582" y="1957"/>
                  </a:lnTo>
                  <a:lnTo>
                    <a:pt x="3562" y="1955"/>
                  </a:lnTo>
                  <a:close/>
                  <a:moveTo>
                    <a:pt x="950" y="1428"/>
                  </a:moveTo>
                  <a:lnTo>
                    <a:pt x="921" y="1441"/>
                  </a:lnTo>
                  <a:lnTo>
                    <a:pt x="893" y="1458"/>
                  </a:lnTo>
                  <a:lnTo>
                    <a:pt x="871" y="1481"/>
                  </a:lnTo>
                  <a:lnTo>
                    <a:pt x="851" y="1507"/>
                  </a:lnTo>
                  <a:lnTo>
                    <a:pt x="837" y="1536"/>
                  </a:lnTo>
                  <a:lnTo>
                    <a:pt x="828" y="1568"/>
                  </a:lnTo>
                  <a:lnTo>
                    <a:pt x="824" y="1601"/>
                  </a:lnTo>
                  <a:lnTo>
                    <a:pt x="824" y="2616"/>
                  </a:lnTo>
                  <a:lnTo>
                    <a:pt x="1843" y="2616"/>
                  </a:lnTo>
                  <a:lnTo>
                    <a:pt x="1843" y="2489"/>
                  </a:lnTo>
                  <a:lnTo>
                    <a:pt x="1556" y="2489"/>
                  </a:lnTo>
                  <a:lnTo>
                    <a:pt x="1468" y="2487"/>
                  </a:lnTo>
                  <a:lnTo>
                    <a:pt x="1382" y="2478"/>
                  </a:lnTo>
                  <a:lnTo>
                    <a:pt x="1297" y="2462"/>
                  </a:lnTo>
                  <a:lnTo>
                    <a:pt x="1213" y="2441"/>
                  </a:lnTo>
                  <a:lnTo>
                    <a:pt x="1132" y="2414"/>
                  </a:lnTo>
                  <a:lnTo>
                    <a:pt x="1050" y="2382"/>
                  </a:lnTo>
                  <a:lnTo>
                    <a:pt x="1026" y="2369"/>
                  </a:lnTo>
                  <a:lnTo>
                    <a:pt x="1005" y="2352"/>
                  </a:lnTo>
                  <a:lnTo>
                    <a:pt x="985" y="2331"/>
                  </a:lnTo>
                  <a:lnTo>
                    <a:pt x="971" y="2309"/>
                  </a:lnTo>
                  <a:lnTo>
                    <a:pt x="960" y="2284"/>
                  </a:lnTo>
                  <a:lnTo>
                    <a:pt x="954" y="2256"/>
                  </a:lnTo>
                  <a:lnTo>
                    <a:pt x="950" y="2228"/>
                  </a:lnTo>
                  <a:lnTo>
                    <a:pt x="950" y="1428"/>
                  </a:lnTo>
                  <a:close/>
                  <a:moveTo>
                    <a:pt x="1062" y="1419"/>
                  </a:moveTo>
                  <a:lnTo>
                    <a:pt x="1062" y="2228"/>
                  </a:lnTo>
                  <a:lnTo>
                    <a:pt x="1065" y="2245"/>
                  </a:lnTo>
                  <a:lnTo>
                    <a:pt x="1071" y="2259"/>
                  </a:lnTo>
                  <a:lnTo>
                    <a:pt x="1082" y="2271"/>
                  </a:lnTo>
                  <a:lnTo>
                    <a:pt x="1095" y="2280"/>
                  </a:lnTo>
                  <a:lnTo>
                    <a:pt x="1171" y="2311"/>
                  </a:lnTo>
                  <a:lnTo>
                    <a:pt x="1248" y="2335"/>
                  </a:lnTo>
                  <a:lnTo>
                    <a:pt x="1248" y="1601"/>
                  </a:lnTo>
                  <a:lnTo>
                    <a:pt x="1251" y="1584"/>
                  </a:lnTo>
                  <a:lnTo>
                    <a:pt x="1259" y="1568"/>
                  </a:lnTo>
                  <a:lnTo>
                    <a:pt x="1271" y="1557"/>
                  </a:lnTo>
                  <a:lnTo>
                    <a:pt x="1286" y="1549"/>
                  </a:lnTo>
                  <a:lnTo>
                    <a:pt x="1304" y="1545"/>
                  </a:lnTo>
                  <a:lnTo>
                    <a:pt x="1321" y="1549"/>
                  </a:lnTo>
                  <a:lnTo>
                    <a:pt x="1337" y="1557"/>
                  </a:lnTo>
                  <a:lnTo>
                    <a:pt x="1348" y="1568"/>
                  </a:lnTo>
                  <a:lnTo>
                    <a:pt x="1356" y="1584"/>
                  </a:lnTo>
                  <a:lnTo>
                    <a:pt x="1360" y="1601"/>
                  </a:lnTo>
                  <a:lnTo>
                    <a:pt x="1360" y="2361"/>
                  </a:lnTo>
                  <a:lnTo>
                    <a:pt x="1424" y="2370"/>
                  </a:lnTo>
                  <a:lnTo>
                    <a:pt x="1490" y="2376"/>
                  </a:lnTo>
                  <a:lnTo>
                    <a:pt x="1556" y="2378"/>
                  </a:lnTo>
                  <a:lnTo>
                    <a:pt x="1961" y="2378"/>
                  </a:lnTo>
                  <a:lnTo>
                    <a:pt x="1961" y="2221"/>
                  </a:lnTo>
                  <a:lnTo>
                    <a:pt x="1958" y="2171"/>
                  </a:lnTo>
                  <a:lnTo>
                    <a:pt x="1949" y="2123"/>
                  </a:lnTo>
                  <a:lnTo>
                    <a:pt x="1936" y="2076"/>
                  </a:lnTo>
                  <a:lnTo>
                    <a:pt x="1915" y="2031"/>
                  </a:lnTo>
                  <a:lnTo>
                    <a:pt x="1890" y="1988"/>
                  </a:lnTo>
                  <a:lnTo>
                    <a:pt x="1566" y="1500"/>
                  </a:lnTo>
                  <a:lnTo>
                    <a:pt x="1547" y="1477"/>
                  </a:lnTo>
                  <a:lnTo>
                    <a:pt x="1525" y="1457"/>
                  </a:lnTo>
                  <a:lnTo>
                    <a:pt x="1500" y="1441"/>
                  </a:lnTo>
                  <a:lnTo>
                    <a:pt x="1473" y="1428"/>
                  </a:lnTo>
                  <a:lnTo>
                    <a:pt x="1445" y="1422"/>
                  </a:lnTo>
                  <a:lnTo>
                    <a:pt x="1414" y="1419"/>
                  </a:lnTo>
                  <a:lnTo>
                    <a:pt x="1062" y="1419"/>
                  </a:lnTo>
                  <a:close/>
                  <a:moveTo>
                    <a:pt x="2753" y="353"/>
                  </a:moveTo>
                  <a:lnTo>
                    <a:pt x="2749" y="361"/>
                  </a:lnTo>
                  <a:lnTo>
                    <a:pt x="2571" y="659"/>
                  </a:lnTo>
                  <a:lnTo>
                    <a:pt x="3419" y="1917"/>
                  </a:lnTo>
                  <a:lnTo>
                    <a:pt x="3437" y="1895"/>
                  </a:lnTo>
                  <a:lnTo>
                    <a:pt x="3460" y="1876"/>
                  </a:lnTo>
                  <a:lnTo>
                    <a:pt x="3485" y="1861"/>
                  </a:lnTo>
                  <a:lnTo>
                    <a:pt x="3512" y="1850"/>
                  </a:lnTo>
                  <a:lnTo>
                    <a:pt x="3541" y="1844"/>
                  </a:lnTo>
                  <a:lnTo>
                    <a:pt x="2753" y="353"/>
                  </a:lnTo>
                  <a:close/>
                  <a:moveTo>
                    <a:pt x="2334" y="320"/>
                  </a:moveTo>
                  <a:lnTo>
                    <a:pt x="1562" y="1348"/>
                  </a:lnTo>
                  <a:lnTo>
                    <a:pt x="1590" y="1366"/>
                  </a:lnTo>
                  <a:lnTo>
                    <a:pt x="1616" y="1387"/>
                  </a:lnTo>
                  <a:lnTo>
                    <a:pt x="1638" y="1411"/>
                  </a:lnTo>
                  <a:lnTo>
                    <a:pt x="1658" y="1439"/>
                  </a:lnTo>
                  <a:lnTo>
                    <a:pt x="1827" y="1690"/>
                  </a:lnTo>
                  <a:lnTo>
                    <a:pt x="2555" y="467"/>
                  </a:lnTo>
                  <a:lnTo>
                    <a:pt x="2551" y="467"/>
                  </a:lnTo>
                  <a:lnTo>
                    <a:pt x="2515" y="465"/>
                  </a:lnTo>
                  <a:lnTo>
                    <a:pt x="2481" y="457"/>
                  </a:lnTo>
                  <a:lnTo>
                    <a:pt x="2448" y="444"/>
                  </a:lnTo>
                  <a:lnTo>
                    <a:pt x="2419" y="427"/>
                  </a:lnTo>
                  <a:lnTo>
                    <a:pt x="2391" y="405"/>
                  </a:lnTo>
                  <a:lnTo>
                    <a:pt x="2369" y="380"/>
                  </a:lnTo>
                  <a:lnTo>
                    <a:pt x="2349" y="351"/>
                  </a:lnTo>
                  <a:lnTo>
                    <a:pt x="2334" y="320"/>
                  </a:lnTo>
                  <a:close/>
                  <a:moveTo>
                    <a:pt x="2551" y="111"/>
                  </a:moveTo>
                  <a:lnTo>
                    <a:pt x="2523" y="115"/>
                  </a:lnTo>
                  <a:lnTo>
                    <a:pt x="2498" y="124"/>
                  </a:lnTo>
                  <a:lnTo>
                    <a:pt x="2475" y="138"/>
                  </a:lnTo>
                  <a:lnTo>
                    <a:pt x="2456" y="157"/>
                  </a:lnTo>
                  <a:lnTo>
                    <a:pt x="2441" y="180"/>
                  </a:lnTo>
                  <a:lnTo>
                    <a:pt x="2432" y="205"/>
                  </a:lnTo>
                  <a:lnTo>
                    <a:pt x="2429" y="234"/>
                  </a:lnTo>
                  <a:lnTo>
                    <a:pt x="2432" y="262"/>
                  </a:lnTo>
                  <a:lnTo>
                    <a:pt x="2441" y="287"/>
                  </a:lnTo>
                  <a:lnTo>
                    <a:pt x="2456" y="311"/>
                  </a:lnTo>
                  <a:lnTo>
                    <a:pt x="2475" y="329"/>
                  </a:lnTo>
                  <a:lnTo>
                    <a:pt x="2498" y="344"/>
                  </a:lnTo>
                  <a:lnTo>
                    <a:pt x="2523" y="353"/>
                  </a:lnTo>
                  <a:lnTo>
                    <a:pt x="2551" y="356"/>
                  </a:lnTo>
                  <a:lnTo>
                    <a:pt x="2576" y="354"/>
                  </a:lnTo>
                  <a:lnTo>
                    <a:pt x="2599" y="347"/>
                  </a:lnTo>
                  <a:lnTo>
                    <a:pt x="2619" y="336"/>
                  </a:lnTo>
                  <a:lnTo>
                    <a:pt x="2638" y="321"/>
                  </a:lnTo>
                  <a:lnTo>
                    <a:pt x="2653" y="303"/>
                  </a:lnTo>
                  <a:lnTo>
                    <a:pt x="2656" y="298"/>
                  </a:lnTo>
                  <a:lnTo>
                    <a:pt x="2657" y="297"/>
                  </a:lnTo>
                  <a:lnTo>
                    <a:pt x="2666" y="278"/>
                  </a:lnTo>
                  <a:lnTo>
                    <a:pt x="2672" y="256"/>
                  </a:lnTo>
                  <a:lnTo>
                    <a:pt x="2674" y="234"/>
                  </a:lnTo>
                  <a:lnTo>
                    <a:pt x="2672" y="210"/>
                  </a:lnTo>
                  <a:lnTo>
                    <a:pt x="2665" y="187"/>
                  </a:lnTo>
                  <a:lnTo>
                    <a:pt x="2661" y="180"/>
                  </a:lnTo>
                  <a:lnTo>
                    <a:pt x="2658" y="174"/>
                  </a:lnTo>
                  <a:lnTo>
                    <a:pt x="2643" y="153"/>
                  </a:lnTo>
                  <a:lnTo>
                    <a:pt x="2625" y="136"/>
                  </a:lnTo>
                  <a:lnTo>
                    <a:pt x="2603" y="123"/>
                  </a:lnTo>
                  <a:lnTo>
                    <a:pt x="2579" y="115"/>
                  </a:lnTo>
                  <a:lnTo>
                    <a:pt x="2551" y="111"/>
                  </a:lnTo>
                  <a:close/>
                  <a:moveTo>
                    <a:pt x="2551" y="0"/>
                  </a:moveTo>
                  <a:lnTo>
                    <a:pt x="2591" y="3"/>
                  </a:lnTo>
                  <a:lnTo>
                    <a:pt x="2630" y="12"/>
                  </a:lnTo>
                  <a:lnTo>
                    <a:pt x="2665" y="28"/>
                  </a:lnTo>
                  <a:lnTo>
                    <a:pt x="2696" y="50"/>
                  </a:lnTo>
                  <a:lnTo>
                    <a:pt x="2724" y="75"/>
                  </a:lnTo>
                  <a:lnTo>
                    <a:pt x="2747" y="106"/>
                  </a:lnTo>
                  <a:lnTo>
                    <a:pt x="2766" y="138"/>
                  </a:lnTo>
                  <a:lnTo>
                    <a:pt x="3713" y="1930"/>
                  </a:lnTo>
                  <a:lnTo>
                    <a:pt x="3726" y="1957"/>
                  </a:lnTo>
                  <a:lnTo>
                    <a:pt x="3734" y="1986"/>
                  </a:lnTo>
                  <a:lnTo>
                    <a:pt x="3736" y="2017"/>
                  </a:lnTo>
                  <a:lnTo>
                    <a:pt x="3733" y="2050"/>
                  </a:lnTo>
                  <a:lnTo>
                    <a:pt x="3725" y="2080"/>
                  </a:lnTo>
                  <a:lnTo>
                    <a:pt x="3711" y="2108"/>
                  </a:lnTo>
                  <a:lnTo>
                    <a:pt x="3693" y="2132"/>
                  </a:lnTo>
                  <a:lnTo>
                    <a:pt x="3672" y="2153"/>
                  </a:lnTo>
                  <a:lnTo>
                    <a:pt x="3646" y="2170"/>
                  </a:lnTo>
                  <a:lnTo>
                    <a:pt x="3617" y="2183"/>
                  </a:lnTo>
                  <a:lnTo>
                    <a:pt x="3617" y="2612"/>
                  </a:lnTo>
                  <a:lnTo>
                    <a:pt x="3617" y="2620"/>
                  </a:lnTo>
                  <a:lnTo>
                    <a:pt x="3616" y="2626"/>
                  </a:lnTo>
                  <a:lnTo>
                    <a:pt x="3609" y="2660"/>
                  </a:lnTo>
                  <a:lnTo>
                    <a:pt x="3597" y="2693"/>
                  </a:lnTo>
                  <a:lnTo>
                    <a:pt x="3580" y="2724"/>
                  </a:lnTo>
                  <a:lnTo>
                    <a:pt x="3559" y="2752"/>
                  </a:lnTo>
                  <a:lnTo>
                    <a:pt x="3533" y="2777"/>
                  </a:lnTo>
                  <a:lnTo>
                    <a:pt x="3504" y="2799"/>
                  </a:lnTo>
                  <a:lnTo>
                    <a:pt x="3471" y="2815"/>
                  </a:lnTo>
                  <a:lnTo>
                    <a:pt x="3282" y="2891"/>
                  </a:lnTo>
                  <a:lnTo>
                    <a:pt x="3231" y="2908"/>
                  </a:lnTo>
                  <a:lnTo>
                    <a:pt x="3180" y="2918"/>
                  </a:lnTo>
                  <a:lnTo>
                    <a:pt x="3127" y="2920"/>
                  </a:lnTo>
                  <a:lnTo>
                    <a:pt x="3081" y="2918"/>
                  </a:lnTo>
                  <a:lnTo>
                    <a:pt x="3034" y="2910"/>
                  </a:lnTo>
                  <a:lnTo>
                    <a:pt x="2989" y="2896"/>
                  </a:lnTo>
                  <a:lnTo>
                    <a:pt x="2946" y="2878"/>
                  </a:lnTo>
                  <a:lnTo>
                    <a:pt x="2904" y="2855"/>
                  </a:lnTo>
                  <a:lnTo>
                    <a:pt x="2865" y="2826"/>
                  </a:lnTo>
                  <a:lnTo>
                    <a:pt x="2454" y="2487"/>
                  </a:lnTo>
                  <a:lnTo>
                    <a:pt x="2442" y="2474"/>
                  </a:lnTo>
                  <a:lnTo>
                    <a:pt x="2436" y="2458"/>
                  </a:lnTo>
                  <a:lnTo>
                    <a:pt x="2433" y="2441"/>
                  </a:lnTo>
                  <a:lnTo>
                    <a:pt x="2438" y="2424"/>
                  </a:lnTo>
                  <a:lnTo>
                    <a:pt x="2447" y="2409"/>
                  </a:lnTo>
                  <a:lnTo>
                    <a:pt x="2459" y="2397"/>
                  </a:lnTo>
                  <a:lnTo>
                    <a:pt x="2475" y="2390"/>
                  </a:lnTo>
                  <a:lnTo>
                    <a:pt x="2492" y="2388"/>
                  </a:lnTo>
                  <a:lnTo>
                    <a:pt x="2509" y="2393"/>
                  </a:lnTo>
                  <a:lnTo>
                    <a:pt x="2525" y="2402"/>
                  </a:lnTo>
                  <a:lnTo>
                    <a:pt x="2656" y="2509"/>
                  </a:lnTo>
                  <a:lnTo>
                    <a:pt x="3418" y="2203"/>
                  </a:lnTo>
                  <a:lnTo>
                    <a:pt x="3431" y="2200"/>
                  </a:lnTo>
                  <a:lnTo>
                    <a:pt x="3446" y="2200"/>
                  </a:lnTo>
                  <a:lnTo>
                    <a:pt x="3460" y="2204"/>
                  </a:lnTo>
                  <a:lnTo>
                    <a:pt x="3472" y="2211"/>
                  </a:lnTo>
                  <a:lnTo>
                    <a:pt x="3482" y="2221"/>
                  </a:lnTo>
                  <a:lnTo>
                    <a:pt x="3490" y="2235"/>
                  </a:lnTo>
                  <a:lnTo>
                    <a:pt x="3506" y="2275"/>
                  </a:lnTo>
                  <a:lnTo>
                    <a:pt x="3506" y="2183"/>
                  </a:lnTo>
                  <a:lnTo>
                    <a:pt x="3478" y="2170"/>
                  </a:lnTo>
                  <a:lnTo>
                    <a:pt x="3452" y="2152"/>
                  </a:lnTo>
                  <a:lnTo>
                    <a:pt x="3429" y="2131"/>
                  </a:lnTo>
                  <a:lnTo>
                    <a:pt x="3411" y="2106"/>
                  </a:lnTo>
                  <a:lnTo>
                    <a:pt x="2507" y="766"/>
                  </a:lnTo>
                  <a:lnTo>
                    <a:pt x="1895" y="1794"/>
                  </a:lnTo>
                  <a:lnTo>
                    <a:pt x="1983" y="1926"/>
                  </a:lnTo>
                  <a:lnTo>
                    <a:pt x="2010" y="1971"/>
                  </a:lnTo>
                  <a:lnTo>
                    <a:pt x="2032" y="2018"/>
                  </a:lnTo>
                  <a:lnTo>
                    <a:pt x="2050" y="2067"/>
                  </a:lnTo>
                  <a:lnTo>
                    <a:pt x="2063" y="2117"/>
                  </a:lnTo>
                  <a:lnTo>
                    <a:pt x="2069" y="2168"/>
                  </a:lnTo>
                  <a:lnTo>
                    <a:pt x="2073" y="2221"/>
                  </a:lnTo>
                  <a:lnTo>
                    <a:pt x="2073" y="2433"/>
                  </a:lnTo>
                  <a:lnTo>
                    <a:pt x="2072" y="2441"/>
                  </a:lnTo>
                  <a:lnTo>
                    <a:pt x="2069" y="2452"/>
                  </a:lnTo>
                  <a:lnTo>
                    <a:pt x="2066" y="2460"/>
                  </a:lnTo>
                  <a:lnTo>
                    <a:pt x="2064" y="2463"/>
                  </a:lnTo>
                  <a:lnTo>
                    <a:pt x="2063" y="2465"/>
                  </a:lnTo>
                  <a:lnTo>
                    <a:pt x="2060" y="2469"/>
                  </a:lnTo>
                  <a:lnTo>
                    <a:pt x="2059" y="2469"/>
                  </a:lnTo>
                  <a:lnTo>
                    <a:pt x="2058" y="2471"/>
                  </a:lnTo>
                  <a:lnTo>
                    <a:pt x="2056" y="2473"/>
                  </a:lnTo>
                  <a:lnTo>
                    <a:pt x="2055" y="2474"/>
                  </a:lnTo>
                  <a:lnTo>
                    <a:pt x="2052" y="2477"/>
                  </a:lnTo>
                  <a:lnTo>
                    <a:pt x="2050" y="2478"/>
                  </a:lnTo>
                  <a:lnTo>
                    <a:pt x="2048" y="2480"/>
                  </a:lnTo>
                  <a:lnTo>
                    <a:pt x="2043" y="2482"/>
                  </a:lnTo>
                  <a:lnTo>
                    <a:pt x="2039" y="2485"/>
                  </a:lnTo>
                  <a:lnTo>
                    <a:pt x="2039" y="2485"/>
                  </a:lnTo>
                  <a:lnTo>
                    <a:pt x="2035" y="2486"/>
                  </a:lnTo>
                  <a:lnTo>
                    <a:pt x="2033" y="2487"/>
                  </a:lnTo>
                  <a:lnTo>
                    <a:pt x="2031" y="2488"/>
                  </a:lnTo>
                  <a:lnTo>
                    <a:pt x="2027" y="2488"/>
                  </a:lnTo>
                  <a:lnTo>
                    <a:pt x="2024" y="2489"/>
                  </a:lnTo>
                  <a:lnTo>
                    <a:pt x="2023" y="2489"/>
                  </a:lnTo>
                  <a:lnTo>
                    <a:pt x="2019" y="2489"/>
                  </a:lnTo>
                  <a:lnTo>
                    <a:pt x="2017" y="2489"/>
                  </a:lnTo>
                  <a:lnTo>
                    <a:pt x="1954" y="2489"/>
                  </a:lnTo>
                  <a:lnTo>
                    <a:pt x="1954" y="2672"/>
                  </a:lnTo>
                  <a:lnTo>
                    <a:pt x="1950" y="2689"/>
                  </a:lnTo>
                  <a:lnTo>
                    <a:pt x="1942" y="2705"/>
                  </a:lnTo>
                  <a:lnTo>
                    <a:pt x="1931" y="2716"/>
                  </a:lnTo>
                  <a:lnTo>
                    <a:pt x="1915" y="2724"/>
                  </a:lnTo>
                  <a:lnTo>
                    <a:pt x="1898" y="2727"/>
                  </a:lnTo>
                  <a:lnTo>
                    <a:pt x="1418" y="2727"/>
                  </a:lnTo>
                  <a:lnTo>
                    <a:pt x="1418" y="2853"/>
                  </a:lnTo>
                  <a:lnTo>
                    <a:pt x="1838" y="2853"/>
                  </a:lnTo>
                  <a:lnTo>
                    <a:pt x="1890" y="2857"/>
                  </a:lnTo>
                  <a:lnTo>
                    <a:pt x="1940" y="2866"/>
                  </a:lnTo>
                  <a:lnTo>
                    <a:pt x="1988" y="2882"/>
                  </a:lnTo>
                  <a:lnTo>
                    <a:pt x="2032" y="2902"/>
                  </a:lnTo>
                  <a:lnTo>
                    <a:pt x="2074" y="2927"/>
                  </a:lnTo>
                  <a:lnTo>
                    <a:pt x="2112" y="2958"/>
                  </a:lnTo>
                  <a:lnTo>
                    <a:pt x="2146" y="2992"/>
                  </a:lnTo>
                  <a:lnTo>
                    <a:pt x="2177" y="3030"/>
                  </a:lnTo>
                  <a:lnTo>
                    <a:pt x="2202" y="3072"/>
                  </a:lnTo>
                  <a:lnTo>
                    <a:pt x="2222" y="3116"/>
                  </a:lnTo>
                  <a:lnTo>
                    <a:pt x="2238" y="3164"/>
                  </a:lnTo>
                  <a:lnTo>
                    <a:pt x="2247" y="3214"/>
                  </a:lnTo>
                  <a:lnTo>
                    <a:pt x="2251" y="3266"/>
                  </a:lnTo>
                  <a:lnTo>
                    <a:pt x="2247" y="3317"/>
                  </a:lnTo>
                  <a:lnTo>
                    <a:pt x="2238" y="3367"/>
                  </a:lnTo>
                  <a:lnTo>
                    <a:pt x="2222" y="3415"/>
                  </a:lnTo>
                  <a:lnTo>
                    <a:pt x="2202" y="3460"/>
                  </a:lnTo>
                  <a:lnTo>
                    <a:pt x="2177" y="3501"/>
                  </a:lnTo>
                  <a:lnTo>
                    <a:pt x="2146" y="3540"/>
                  </a:lnTo>
                  <a:lnTo>
                    <a:pt x="2112" y="3574"/>
                  </a:lnTo>
                  <a:lnTo>
                    <a:pt x="2074" y="3604"/>
                  </a:lnTo>
                  <a:lnTo>
                    <a:pt x="2032" y="3630"/>
                  </a:lnTo>
                  <a:lnTo>
                    <a:pt x="1988" y="3651"/>
                  </a:lnTo>
                  <a:lnTo>
                    <a:pt x="1940" y="3666"/>
                  </a:lnTo>
                  <a:lnTo>
                    <a:pt x="1890" y="3676"/>
                  </a:lnTo>
                  <a:lnTo>
                    <a:pt x="1838" y="3678"/>
                  </a:lnTo>
                  <a:lnTo>
                    <a:pt x="413" y="3678"/>
                  </a:lnTo>
                  <a:lnTo>
                    <a:pt x="360" y="3676"/>
                  </a:lnTo>
                  <a:lnTo>
                    <a:pt x="311" y="3666"/>
                  </a:lnTo>
                  <a:lnTo>
                    <a:pt x="263" y="3651"/>
                  </a:lnTo>
                  <a:lnTo>
                    <a:pt x="219" y="3630"/>
                  </a:lnTo>
                  <a:lnTo>
                    <a:pt x="177" y="3604"/>
                  </a:lnTo>
                  <a:lnTo>
                    <a:pt x="138" y="3574"/>
                  </a:lnTo>
                  <a:lnTo>
                    <a:pt x="104" y="3540"/>
                  </a:lnTo>
                  <a:lnTo>
                    <a:pt x="74" y="3501"/>
                  </a:lnTo>
                  <a:lnTo>
                    <a:pt x="49" y="3460"/>
                  </a:lnTo>
                  <a:lnTo>
                    <a:pt x="28" y="3415"/>
                  </a:lnTo>
                  <a:lnTo>
                    <a:pt x="12" y="3367"/>
                  </a:lnTo>
                  <a:lnTo>
                    <a:pt x="3" y="3317"/>
                  </a:lnTo>
                  <a:lnTo>
                    <a:pt x="0" y="3266"/>
                  </a:lnTo>
                  <a:lnTo>
                    <a:pt x="3" y="3214"/>
                  </a:lnTo>
                  <a:lnTo>
                    <a:pt x="12" y="3164"/>
                  </a:lnTo>
                  <a:lnTo>
                    <a:pt x="28" y="3116"/>
                  </a:lnTo>
                  <a:lnTo>
                    <a:pt x="49" y="3072"/>
                  </a:lnTo>
                  <a:lnTo>
                    <a:pt x="74" y="3030"/>
                  </a:lnTo>
                  <a:lnTo>
                    <a:pt x="104" y="2992"/>
                  </a:lnTo>
                  <a:lnTo>
                    <a:pt x="138" y="2958"/>
                  </a:lnTo>
                  <a:lnTo>
                    <a:pt x="177" y="2927"/>
                  </a:lnTo>
                  <a:lnTo>
                    <a:pt x="219" y="2902"/>
                  </a:lnTo>
                  <a:lnTo>
                    <a:pt x="263" y="2882"/>
                  </a:lnTo>
                  <a:lnTo>
                    <a:pt x="311" y="2866"/>
                  </a:lnTo>
                  <a:lnTo>
                    <a:pt x="360" y="2857"/>
                  </a:lnTo>
                  <a:lnTo>
                    <a:pt x="413" y="2853"/>
                  </a:lnTo>
                  <a:lnTo>
                    <a:pt x="832" y="2853"/>
                  </a:lnTo>
                  <a:lnTo>
                    <a:pt x="832" y="2727"/>
                  </a:lnTo>
                  <a:lnTo>
                    <a:pt x="353" y="2727"/>
                  </a:lnTo>
                  <a:lnTo>
                    <a:pt x="317" y="2724"/>
                  </a:lnTo>
                  <a:lnTo>
                    <a:pt x="284" y="2714"/>
                  </a:lnTo>
                  <a:lnTo>
                    <a:pt x="255" y="2698"/>
                  </a:lnTo>
                  <a:lnTo>
                    <a:pt x="229" y="2676"/>
                  </a:lnTo>
                  <a:lnTo>
                    <a:pt x="209" y="2650"/>
                  </a:lnTo>
                  <a:lnTo>
                    <a:pt x="192" y="2621"/>
                  </a:lnTo>
                  <a:lnTo>
                    <a:pt x="181" y="2588"/>
                  </a:lnTo>
                  <a:lnTo>
                    <a:pt x="178" y="2553"/>
                  </a:lnTo>
                  <a:lnTo>
                    <a:pt x="178" y="2136"/>
                  </a:lnTo>
                  <a:lnTo>
                    <a:pt x="181" y="2101"/>
                  </a:lnTo>
                  <a:lnTo>
                    <a:pt x="192" y="2068"/>
                  </a:lnTo>
                  <a:lnTo>
                    <a:pt x="209" y="2039"/>
                  </a:lnTo>
                  <a:lnTo>
                    <a:pt x="229" y="2013"/>
                  </a:lnTo>
                  <a:lnTo>
                    <a:pt x="255" y="1991"/>
                  </a:lnTo>
                  <a:lnTo>
                    <a:pt x="284" y="1975"/>
                  </a:lnTo>
                  <a:lnTo>
                    <a:pt x="317" y="1965"/>
                  </a:lnTo>
                  <a:lnTo>
                    <a:pt x="353" y="1962"/>
                  </a:lnTo>
                  <a:lnTo>
                    <a:pt x="713" y="1962"/>
                  </a:lnTo>
                  <a:lnTo>
                    <a:pt x="713" y="1601"/>
                  </a:lnTo>
                  <a:lnTo>
                    <a:pt x="717" y="1558"/>
                  </a:lnTo>
                  <a:lnTo>
                    <a:pt x="726" y="1517"/>
                  </a:lnTo>
                  <a:lnTo>
                    <a:pt x="740" y="1477"/>
                  </a:lnTo>
                  <a:lnTo>
                    <a:pt x="761" y="1442"/>
                  </a:lnTo>
                  <a:lnTo>
                    <a:pt x="785" y="1409"/>
                  </a:lnTo>
                  <a:lnTo>
                    <a:pt x="814" y="1380"/>
                  </a:lnTo>
                  <a:lnTo>
                    <a:pt x="847" y="1355"/>
                  </a:lnTo>
                  <a:lnTo>
                    <a:pt x="883" y="1335"/>
                  </a:lnTo>
                  <a:lnTo>
                    <a:pt x="922" y="1321"/>
                  </a:lnTo>
                  <a:lnTo>
                    <a:pt x="963" y="1310"/>
                  </a:lnTo>
                  <a:lnTo>
                    <a:pt x="1007" y="1308"/>
                  </a:lnTo>
                  <a:lnTo>
                    <a:pt x="1414" y="1308"/>
                  </a:lnTo>
                  <a:lnTo>
                    <a:pt x="1452" y="1310"/>
                  </a:lnTo>
                  <a:lnTo>
                    <a:pt x="2359" y="101"/>
                  </a:lnTo>
                  <a:lnTo>
                    <a:pt x="2359" y="101"/>
                  </a:lnTo>
                  <a:lnTo>
                    <a:pt x="2382" y="73"/>
                  </a:lnTo>
                  <a:lnTo>
                    <a:pt x="2410" y="48"/>
                  </a:lnTo>
                  <a:lnTo>
                    <a:pt x="2441" y="27"/>
                  </a:lnTo>
                  <a:lnTo>
                    <a:pt x="2475" y="12"/>
                  </a:lnTo>
                  <a:lnTo>
                    <a:pt x="2513" y="3"/>
                  </a:lnTo>
                  <a:lnTo>
                    <a:pt x="2551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</p:grpSp>
      <p:sp>
        <p:nvSpPr>
          <p:cNvPr id="23625" name="TextBox 158">
            <a:extLst>
              <a:ext uri="{FF2B5EF4-FFF2-40B4-BE49-F238E27FC236}">
                <a16:creationId xmlns:a16="http://schemas.microsoft.com/office/drawing/2014/main" id="{E039C87F-72AD-4054-B63A-554ACFFB9E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4663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6" name="TextBox 159">
            <a:extLst>
              <a:ext uri="{FF2B5EF4-FFF2-40B4-BE49-F238E27FC236}">
                <a16:creationId xmlns:a16="http://schemas.microsoft.com/office/drawing/2014/main" id="{C89D28E8-6E73-4458-A352-42A749EC09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3488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7" name="TextBox 127">
            <a:extLst>
              <a:ext uri="{FF2B5EF4-FFF2-40B4-BE49-F238E27FC236}">
                <a16:creationId xmlns:a16="http://schemas.microsoft.com/office/drawing/2014/main" id="{D2C4F5E9-E854-4896-8355-45DEC69063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7813" y="6378575"/>
            <a:ext cx="426243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Sources: National Bureau of Statistics, World Bank Report on Doing Business in Nigeria 2018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climate-</a:t>
            </a:r>
            <a:r>
              <a:rPr lang="en-GB" altLang="en-US" sz="800" dirty="0" err="1">
                <a:latin typeface="Calibri" panose="020F0502020204030204" pitchFamily="34" charset="0"/>
              </a:rPr>
              <a:t>data.org</a:t>
            </a:r>
            <a:r>
              <a:rPr lang="en-GB" altLang="en-US" sz="800" dirty="0">
                <a:latin typeface="Calibri" panose="020F0502020204030204" pitchFamily="34" charset="0"/>
              </a:rPr>
              <a:t>, State Government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Exchange rate= $1/N305 (Central Bank of Nigeria)</a:t>
            </a:r>
          </a:p>
        </p:txBody>
      </p:sp>
      <p:sp>
        <p:nvSpPr>
          <p:cNvPr id="23628" name="TextBox 128">
            <a:extLst>
              <a:ext uri="{FF2B5EF4-FFF2-40B4-BE49-F238E27FC236}">
                <a16:creationId xmlns:a16="http://schemas.microsoft.com/office/drawing/2014/main" id="{409BCC6F-A5F0-4C79-BB4A-38A1ABC14F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70497" y="3649889"/>
            <a:ext cx="58541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Kola Nut</a:t>
            </a:r>
          </a:p>
        </p:txBody>
      </p:sp>
      <p:sp>
        <p:nvSpPr>
          <p:cNvPr id="23629" name="TextBox 129">
            <a:extLst>
              <a:ext uri="{FF2B5EF4-FFF2-40B4-BE49-F238E27FC236}">
                <a16:creationId xmlns:a16="http://schemas.microsoft.com/office/drawing/2014/main" id="{489E7B41-20C9-4493-8E7D-07238EB8FA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2892" y="3654980"/>
            <a:ext cx="53572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Granite</a:t>
            </a:r>
          </a:p>
        </p:txBody>
      </p:sp>
      <p:sp>
        <p:nvSpPr>
          <p:cNvPr id="23630" name="TextBox 130">
            <a:extLst>
              <a:ext uri="{FF2B5EF4-FFF2-40B4-BE49-F238E27FC236}">
                <a16:creationId xmlns:a16="http://schemas.microsoft.com/office/drawing/2014/main" id="{048DE5D8-5309-42DA-9D97-2935A10CB7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31" name="TextBox 131">
            <a:extLst>
              <a:ext uri="{FF2B5EF4-FFF2-40B4-BE49-F238E27FC236}">
                <a16:creationId xmlns:a16="http://schemas.microsoft.com/office/drawing/2014/main" id="{FF8B6C80-43E2-43AF-A364-A31845F05C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5388" y="3656013"/>
            <a:ext cx="552450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Cassava</a:t>
            </a:r>
          </a:p>
        </p:txBody>
      </p:sp>
      <p:sp>
        <p:nvSpPr>
          <p:cNvPr id="23632" name="TextBox 132">
            <a:extLst>
              <a:ext uri="{FF2B5EF4-FFF2-40B4-BE49-F238E27FC236}">
                <a16:creationId xmlns:a16="http://schemas.microsoft.com/office/drawing/2014/main" id="{A1C640C1-61D1-4BA5-8A76-E684397E8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46689" y="3650683"/>
            <a:ext cx="47000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Cocoa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238751" y="3833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23638" name="TextBox 141">
            <a:extLst>
              <a:ext uri="{FF2B5EF4-FFF2-40B4-BE49-F238E27FC236}">
                <a16:creationId xmlns:a16="http://schemas.microsoft.com/office/drawing/2014/main" id="{EE481231-8673-4FD7-B5CC-900AEE7A9F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8233" y="3652271"/>
            <a:ext cx="388248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Yam</a:t>
            </a:r>
          </a:p>
        </p:txBody>
      </p:sp>
      <p:sp>
        <p:nvSpPr>
          <p:cNvPr id="23649" name="TextBox 165">
            <a:extLst>
              <a:ext uri="{FF2B5EF4-FFF2-40B4-BE49-F238E27FC236}">
                <a16:creationId xmlns:a16="http://schemas.microsoft.com/office/drawing/2014/main" id="{1242633E-9CB1-48ED-83F4-2223DFC7ED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59970" y="4459560"/>
            <a:ext cx="65274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Education</a:t>
            </a:r>
          </a:p>
        </p:txBody>
      </p:sp>
      <p:sp>
        <p:nvSpPr>
          <p:cNvPr id="23650" name="TextBox 166">
            <a:extLst>
              <a:ext uri="{FF2B5EF4-FFF2-40B4-BE49-F238E27FC236}">
                <a16:creationId xmlns:a16="http://schemas.microsoft.com/office/drawing/2014/main" id="{6B51369B-8FA6-464A-B908-12B0FFE6B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32791" y="4458812"/>
            <a:ext cx="55976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Palm oil</a:t>
            </a:r>
          </a:p>
        </p:txBody>
      </p:sp>
      <p:sp>
        <p:nvSpPr>
          <p:cNvPr id="23651" name="TextBox 167">
            <a:extLst>
              <a:ext uri="{FF2B5EF4-FFF2-40B4-BE49-F238E27FC236}">
                <a16:creationId xmlns:a16="http://schemas.microsoft.com/office/drawing/2014/main" id="{4F9404E1-8339-401B-8B10-4C7D1A8CEC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96936" y="4457881"/>
            <a:ext cx="468398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Maize</a:t>
            </a:r>
          </a:p>
        </p:txBody>
      </p:sp>
      <p:sp>
        <p:nvSpPr>
          <p:cNvPr id="23652" name="TextBox 168">
            <a:extLst>
              <a:ext uri="{FF2B5EF4-FFF2-40B4-BE49-F238E27FC236}">
                <a16:creationId xmlns:a16="http://schemas.microsoft.com/office/drawing/2014/main" id="{1C04917D-B2C3-4C21-8CC2-A45C349B4B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65456" y="4457326"/>
            <a:ext cx="566738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Tourism</a:t>
            </a:r>
          </a:p>
        </p:txBody>
      </p:sp>
      <p:sp>
        <p:nvSpPr>
          <p:cNvPr id="23653" name="TextBox 169">
            <a:extLst>
              <a:ext uri="{FF2B5EF4-FFF2-40B4-BE49-F238E27FC236}">
                <a16:creationId xmlns:a16="http://schemas.microsoft.com/office/drawing/2014/main" id="{4BADA327-4F2D-4897-B7C0-4647A1484B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95351" y="4457973"/>
            <a:ext cx="51969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Timber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8A28B48-1841-45BB-BFBC-EADE77B37C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9475045"/>
              </p:ext>
            </p:extLst>
          </p:nvPr>
        </p:nvGraphicFramePr>
        <p:xfrm>
          <a:off x="2779712" y="2589213"/>
          <a:ext cx="1482725" cy="812800"/>
        </p:xfrm>
        <a:graphic>
          <a:graphicData uri="http://schemas.openxmlformats.org/drawingml/2006/table">
            <a:tbl>
              <a:tblPr/>
              <a:tblGrid>
                <a:gridCol w="11367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9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32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GB" sz="1000" b="1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Domestic</a:t>
                      </a:r>
                      <a:r>
                        <a:rPr lang="en-GB" sz="10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US" sz="1000" b="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International 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Railway</a:t>
                      </a:r>
                      <a:r>
                        <a:rPr lang="en-GB" sz="1000" b="1" kern="1200" baseline="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 Station</a:t>
                      </a:r>
                      <a:endParaRPr lang="en-GB" sz="1000" b="1" kern="1200" dirty="0">
                        <a:solidFill>
                          <a:srgbClr val="292929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32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Sea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7" name="TextBox 136">
            <a:extLst>
              <a:ext uri="{FF2B5EF4-FFF2-40B4-BE49-F238E27FC236}">
                <a16:creationId xmlns:a16="http://schemas.microsoft.com/office/drawing/2014/main" id="{2F4C4876-7073-4C13-A183-127A8909BDC0}"/>
              </a:ext>
            </a:extLst>
          </p:cNvPr>
          <p:cNvSpPr txBox="1"/>
          <p:nvPr/>
        </p:nvSpPr>
        <p:spPr>
          <a:xfrm>
            <a:off x="538163" y="5268913"/>
            <a:ext cx="373856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For further details</a:t>
            </a:r>
          </a:p>
        </p:txBody>
      </p:sp>
      <p:sp>
        <p:nvSpPr>
          <p:cNvPr id="23676" name="TextBox 156">
            <a:extLst>
              <a:ext uri="{FF2B5EF4-FFF2-40B4-BE49-F238E27FC236}">
                <a16:creationId xmlns:a16="http://schemas.microsoft.com/office/drawing/2014/main" id="{95D66AAF-6B48-4B9E-9E5B-F1BB063A89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6300" y="6342063"/>
            <a:ext cx="37306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Abbreviations: </a:t>
            </a:r>
            <a:r>
              <a:rPr lang="en-GB" altLang="en-US" sz="800" b="1" dirty="0">
                <a:latin typeface="Calibri" panose="020F0502020204030204" pitchFamily="34" charset="0"/>
              </a:rPr>
              <a:t>	NICPS</a:t>
            </a:r>
            <a:r>
              <a:rPr lang="en-GB" altLang="en-US" sz="800" dirty="0">
                <a:latin typeface="Calibri" panose="020F0502020204030204" pitchFamily="34" charset="0"/>
              </a:rPr>
              <a:t>: Nigerian Investment Certification Programme for States                  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	</a:t>
            </a:r>
            <a:r>
              <a:rPr lang="en-GB" altLang="en-US" sz="800" b="1" dirty="0">
                <a:latin typeface="Calibri" panose="020F0502020204030204" pitchFamily="34" charset="0"/>
              </a:rPr>
              <a:t>IGR</a:t>
            </a:r>
            <a:r>
              <a:rPr lang="en-GB" altLang="en-US" sz="800" dirty="0">
                <a:latin typeface="Calibri" panose="020F0502020204030204" pitchFamily="34" charset="0"/>
              </a:rPr>
              <a:t>:     Internal Generated Revenue</a:t>
            </a:r>
          </a:p>
        </p:txBody>
      </p:sp>
      <p:sp>
        <p:nvSpPr>
          <p:cNvPr id="23678" name="TextBox 152">
            <a:extLst>
              <a:ext uri="{FF2B5EF4-FFF2-40B4-BE49-F238E27FC236}">
                <a16:creationId xmlns:a16="http://schemas.microsoft.com/office/drawing/2014/main" id="{BFAF6896-F732-45FC-AC47-950DF99D9E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4575" y="1202215"/>
            <a:ext cx="3446463" cy="1492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15888" indent="-11588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Significant clay deposi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Tourist attraction (</a:t>
            </a:r>
            <a:r>
              <a:rPr lang="en-GB" sz="1300" dirty="0" err="1">
                <a:latin typeface="Calibri" panose="020F0502020204030204" pitchFamily="34" charset="0"/>
              </a:rPr>
              <a:t>Ikogosi</a:t>
            </a:r>
            <a:r>
              <a:rPr lang="en-GB" sz="1300" dirty="0">
                <a:latin typeface="Calibri" panose="020F0502020204030204" pitchFamily="34" charset="0"/>
              </a:rPr>
              <a:t> Warm Spring)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Erin </a:t>
            </a:r>
            <a:r>
              <a:rPr lang="en-GB" sz="1300" dirty="0" err="1">
                <a:latin typeface="Calibri" panose="020F0502020204030204" pitchFamily="34" charset="0"/>
              </a:rPr>
              <a:t>Ayonigba</a:t>
            </a:r>
            <a:r>
              <a:rPr lang="en-GB" sz="1300" dirty="0">
                <a:latin typeface="Calibri" panose="020F0502020204030204" pitchFamily="34" charset="0"/>
              </a:rPr>
              <a:t> fish rive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Largest cocoa producer in Nigeri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One of the five states producing </a:t>
            </a:r>
            <a:r>
              <a:rPr lang="en-GB" sz="1300" dirty="0" err="1">
                <a:latin typeface="Calibri" panose="020F0502020204030204" pitchFamily="34" charset="0"/>
              </a:rPr>
              <a:t>kolanuts</a:t>
            </a:r>
            <a:r>
              <a:rPr lang="en-GB" sz="1300" dirty="0">
                <a:latin typeface="Calibri" panose="020F0502020204030204" pitchFamily="34" charset="0"/>
              </a:rPr>
              <a:t> in Nigeria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</a:rPr>
              <a:t>Tourism (</a:t>
            </a:r>
            <a:r>
              <a:rPr lang="en-US" sz="1300" dirty="0" err="1">
                <a:latin typeface="Calibri" panose="020F0502020204030204" pitchFamily="34" charset="0"/>
              </a:rPr>
              <a:t>Orole</a:t>
            </a:r>
            <a:r>
              <a:rPr lang="en-US" sz="1300" dirty="0">
                <a:latin typeface="Calibri" panose="020F0502020204030204" pitchFamily="34" charset="0"/>
              </a:rPr>
              <a:t> and </a:t>
            </a:r>
            <a:r>
              <a:rPr lang="en-US" sz="1300" dirty="0" err="1">
                <a:latin typeface="Calibri" panose="020F0502020204030204" pitchFamily="34" charset="0"/>
              </a:rPr>
              <a:t>Olosunta</a:t>
            </a:r>
            <a:r>
              <a:rPr lang="en-US" sz="1300" dirty="0">
                <a:latin typeface="Calibri" panose="020F0502020204030204" pitchFamily="34" charset="0"/>
              </a:rPr>
              <a:t> hills)</a:t>
            </a:r>
            <a:endParaRPr lang="en-GB" sz="1300" dirty="0">
              <a:latin typeface="Calibri" panose="020F0502020204030204" pitchFamily="34" charset="0"/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D4E23C6-26A0-4545-B8F7-7007C8EEBFE4}"/>
              </a:ext>
            </a:extLst>
          </p:cNvPr>
          <p:cNvSpPr txBox="1"/>
          <p:nvPr/>
        </p:nvSpPr>
        <p:spPr>
          <a:xfrm>
            <a:off x="4338638" y="5265738"/>
            <a:ext cx="247491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id you know?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132" name="Text Placeholder 42">
            <a:extLst>
              <a:ext uri="{FF2B5EF4-FFF2-40B4-BE49-F238E27FC236}">
                <a16:creationId xmlns:a16="http://schemas.microsoft.com/office/drawing/2014/main" id="{D510D0DC-1548-4249-8DB1-9A1055126D07}"/>
              </a:ext>
            </a:extLst>
          </p:cNvPr>
          <p:cNvSpPr txBox="1">
            <a:spLocks/>
          </p:cNvSpPr>
          <p:nvPr/>
        </p:nvSpPr>
        <p:spPr>
          <a:xfrm>
            <a:off x="522288" y="5511800"/>
            <a:ext cx="3733800" cy="801687"/>
          </a:xfrm>
          <a:prstGeom prst="rect">
            <a:avLst/>
          </a:prstGeom>
        </p:spPr>
        <p:txBody>
          <a:bodyPr lIns="36576" tIns="0" rIns="36576" bIns="0"/>
          <a:lstStyle>
            <a:lvl1pPr marL="0" indent="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/>
              <a:buNone/>
              <a:defRPr sz="800" b="1" baseline="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6575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93763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 charset="0"/>
              <a:buChar char="►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50950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619250" indent="-188913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0764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25336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29908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34480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NIGERIAN INVESTMENT PROMOTION COMMISSION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 err="1">
                <a:solidFill>
                  <a:schemeClr val="tx1"/>
                </a:solidFill>
                <a:hlinkClick r:id="rId7"/>
              </a:rPr>
              <a:t>statesco@nipc.gov.ng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000" kern="0" dirty="0">
                <a:solidFill>
                  <a:schemeClr val="tx1"/>
                </a:solidFill>
              </a:rPr>
              <a:t>DEPARTMENT OF INVESTMENT, PROMOTION &amp; MANAGEMENT</a:t>
            </a: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 err="1">
                <a:solidFill>
                  <a:schemeClr val="tx1"/>
                </a:solidFill>
                <a:hlinkClick r:id="rId8"/>
              </a:rPr>
              <a:t>funkeade@ekiti.info.org</a:t>
            </a:r>
            <a:r>
              <a:rPr lang="en-US" sz="1000" b="0" kern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FF015425-7997-4612-9D0E-1F6C433DFCC7}"/>
              </a:ext>
            </a:extLst>
          </p:cNvPr>
          <p:cNvSpPr/>
          <p:nvPr/>
        </p:nvSpPr>
        <p:spPr>
          <a:xfrm>
            <a:off x="6080877" y="3040856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4C0B7457-CABD-4AC8-8A1A-1FD468581E4D}"/>
              </a:ext>
            </a:extLst>
          </p:cNvPr>
          <p:cNvSpPr/>
          <p:nvPr/>
        </p:nvSpPr>
        <p:spPr>
          <a:xfrm>
            <a:off x="6784796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2D626A89-F50C-45A3-9271-5D3F2EEA9C83}"/>
              </a:ext>
            </a:extLst>
          </p:cNvPr>
          <p:cNvSpPr/>
          <p:nvPr/>
        </p:nvSpPr>
        <p:spPr>
          <a:xfrm>
            <a:off x="7518399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240713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A62E850A-D87D-46D0-9257-0071E677FCF0}"/>
              </a:ext>
            </a:extLst>
          </p:cNvPr>
          <p:cNvSpPr/>
          <p:nvPr/>
        </p:nvSpPr>
        <p:spPr>
          <a:xfrm>
            <a:off x="8947150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4D1FAA17-3EFF-404B-B4C4-B468BCE2E9A5}"/>
              </a:ext>
            </a:extLst>
          </p:cNvPr>
          <p:cNvSpPr/>
          <p:nvPr/>
        </p:nvSpPr>
        <p:spPr>
          <a:xfrm>
            <a:off x="6078265" y="3836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E861211D-5D09-4577-8A09-FD96D972A5D4}"/>
              </a:ext>
            </a:extLst>
          </p:cNvPr>
          <p:cNvSpPr/>
          <p:nvPr/>
        </p:nvSpPr>
        <p:spPr>
          <a:xfrm>
            <a:off x="6780509" y="3833831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D9F8790B-E97D-4D8F-AD51-26FAFBF8CA40}"/>
              </a:ext>
            </a:extLst>
          </p:cNvPr>
          <p:cNvSpPr/>
          <p:nvPr/>
        </p:nvSpPr>
        <p:spPr>
          <a:xfrm>
            <a:off x="8946402" y="3833630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3CBEFD1C-6360-47CD-AEDD-DFB49FC0E0C7}"/>
              </a:ext>
            </a:extLst>
          </p:cNvPr>
          <p:cNvSpPr/>
          <p:nvPr/>
        </p:nvSpPr>
        <p:spPr>
          <a:xfrm>
            <a:off x="7518603" y="3830834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pic>
        <p:nvPicPr>
          <p:cNvPr id="136" name="Picture 2">
            <a:extLst>
              <a:ext uri="{FF2B5EF4-FFF2-40B4-BE49-F238E27FC236}">
                <a16:creationId xmlns:a16="http://schemas.microsoft.com/office/drawing/2014/main" id="{3FA1353F-88F0-45BE-9827-93FCF08760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6988" y="3138824"/>
            <a:ext cx="360795" cy="39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9" name="Picture 6">
            <a:extLst>
              <a:ext uri="{FF2B5EF4-FFF2-40B4-BE49-F238E27FC236}">
                <a16:creationId xmlns:a16="http://schemas.microsoft.com/office/drawing/2014/main" id="{8853DD13-42F9-44BD-B933-44CF687FB6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44814" r="9340" b="9302"/>
          <a:stretch/>
        </p:blipFill>
        <p:spPr bwMode="auto">
          <a:xfrm>
            <a:off x="7531922" y="3162869"/>
            <a:ext cx="576042" cy="38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1" name="Picture 140">
            <a:extLst>
              <a:ext uri="{FF2B5EF4-FFF2-40B4-BE49-F238E27FC236}">
                <a16:creationId xmlns:a16="http://schemas.microsoft.com/office/drawing/2014/main" id="{778B5914-8C38-469D-95BA-A7553D90C41B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907214" y="3175520"/>
            <a:ext cx="372361" cy="377370"/>
          </a:xfrm>
          <a:prstGeom prst="rect">
            <a:avLst/>
          </a:prstGeom>
        </p:spPr>
      </p:pic>
      <p:pic>
        <p:nvPicPr>
          <p:cNvPr id="142" name="Picture 141">
            <a:extLst>
              <a:ext uri="{FF2B5EF4-FFF2-40B4-BE49-F238E27FC236}">
                <a16:creationId xmlns:a16="http://schemas.microsoft.com/office/drawing/2014/main" id="{30171C5D-6669-476D-AF4B-C33C46ED7430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335150" y="3153655"/>
            <a:ext cx="400110" cy="400110"/>
          </a:xfrm>
          <a:prstGeom prst="rect">
            <a:avLst/>
          </a:prstGeom>
        </p:spPr>
      </p:pic>
      <p:pic>
        <p:nvPicPr>
          <p:cNvPr id="149" name="Picture 148">
            <a:extLst>
              <a:ext uri="{FF2B5EF4-FFF2-40B4-BE49-F238E27FC236}">
                <a16:creationId xmlns:a16="http://schemas.microsoft.com/office/drawing/2014/main" id="{71090F3C-B3E0-4848-ADF2-52989C342CF6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179334" y="3976342"/>
            <a:ext cx="463402" cy="347105"/>
          </a:xfrm>
          <a:prstGeom prst="rect">
            <a:avLst/>
          </a:prstGeom>
        </p:spPr>
      </p:pic>
      <p:pic>
        <p:nvPicPr>
          <p:cNvPr id="150" name="Picture 149">
            <a:extLst>
              <a:ext uri="{FF2B5EF4-FFF2-40B4-BE49-F238E27FC236}">
                <a16:creationId xmlns:a16="http://schemas.microsoft.com/office/drawing/2014/main" id="{231862BC-5949-45D6-BE53-7730EA855A82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851455" y="3856449"/>
            <a:ext cx="526748" cy="600034"/>
          </a:xfrm>
          <a:prstGeom prst="rect">
            <a:avLst/>
          </a:prstGeom>
        </p:spPr>
      </p:pic>
      <p:pic>
        <p:nvPicPr>
          <p:cNvPr id="151" name="Picture 150">
            <a:extLst>
              <a:ext uri="{FF2B5EF4-FFF2-40B4-BE49-F238E27FC236}">
                <a16:creationId xmlns:a16="http://schemas.microsoft.com/office/drawing/2014/main" id="{D050F924-0363-46A5-9D74-D50A399DD14E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627019" y="3979362"/>
            <a:ext cx="453460" cy="444300"/>
          </a:xfrm>
          <a:prstGeom prst="rect">
            <a:avLst/>
          </a:prstGeom>
        </p:spPr>
      </p:pic>
      <p:sp>
        <p:nvSpPr>
          <p:cNvPr id="144" name="TextBox 143">
            <a:extLst>
              <a:ext uri="{FF2B5EF4-FFF2-40B4-BE49-F238E27FC236}">
                <a16:creationId xmlns:a16="http://schemas.microsoft.com/office/drawing/2014/main" id="{D0A41506-8873-4C2F-B45B-4459F0229CA3}"/>
              </a:ext>
            </a:extLst>
          </p:cNvPr>
          <p:cNvSpPr txBox="1"/>
          <p:nvPr/>
        </p:nvSpPr>
        <p:spPr>
          <a:xfrm>
            <a:off x="4374578" y="4541674"/>
            <a:ext cx="17988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te Investment Certification Process Not Started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276725" y="5418958"/>
            <a:ext cx="257473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‘</a:t>
            </a:r>
            <a:r>
              <a:rPr lang="en-US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Okiti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’ is a term that is said to denote a settlement of many hills.</a:t>
            </a:r>
            <a:b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b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13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1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90" t="4016" r="6399" b="19197"/>
          <a:stretch/>
        </p:blipFill>
        <p:spPr>
          <a:xfrm>
            <a:off x="8963061" y="3909864"/>
            <a:ext cx="538291" cy="47125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346326" y="3888260"/>
            <a:ext cx="420660" cy="48772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8" cstate="hq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50" t="8747" r="11177" b="23944"/>
          <a:stretch/>
        </p:blipFill>
        <p:spPr>
          <a:xfrm>
            <a:off x="9006668" y="3138583"/>
            <a:ext cx="485624" cy="418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3253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Pentagon 19">
            <a:extLst>
              <a:ext uri="{FF2B5EF4-FFF2-40B4-BE49-F238E27FC236}">
                <a16:creationId xmlns:a16="http://schemas.microsoft.com/office/drawing/2014/main" id="{CAD93C59-72A9-4F6D-A654-02B9F8A5EFF9}"/>
              </a:ext>
            </a:extLst>
          </p:cNvPr>
          <p:cNvSpPr>
            <a:spLocks/>
          </p:cNvSpPr>
          <p:nvPr/>
        </p:nvSpPr>
        <p:spPr bwMode="auto">
          <a:xfrm>
            <a:off x="756602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9 of 37</a:t>
            </a:r>
          </a:p>
        </p:txBody>
      </p:sp>
      <p:sp>
        <p:nvSpPr>
          <p:cNvPr id="376" name="Pentagon 19">
            <a:extLst>
              <a:ext uri="{FF2B5EF4-FFF2-40B4-BE49-F238E27FC236}">
                <a16:creationId xmlns:a16="http://schemas.microsoft.com/office/drawing/2014/main" id="{1BDC5465-6022-4404-B4D8-ED55CF961B8A}"/>
              </a:ext>
            </a:extLst>
          </p:cNvPr>
          <p:cNvSpPr>
            <a:spLocks/>
          </p:cNvSpPr>
          <p:nvPr/>
        </p:nvSpPr>
        <p:spPr bwMode="auto">
          <a:xfrm>
            <a:off x="824865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8 of 3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57F1EBC-D01A-4083-B657-63AFB1490839}"/>
              </a:ext>
            </a:extLst>
          </p:cNvPr>
          <p:cNvSpPr txBox="1"/>
          <p:nvPr/>
        </p:nvSpPr>
        <p:spPr>
          <a:xfrm>
            <a:off x="6122988" y="2749550"/>
            <a:ext cx="3475037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nvestment Opportunit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D251BD-538A-4F4F-847E-620EEDA298A0}"/>
              </a:ext>
            </a:extLst>
          </p:cNvPr>
          <p:cNvSpPr txBox="1"/>
          <p:nvPr/>
        </p:nvSpPr>
        <p:spPr>
          <a:xfrm>
            <a:off x="6881813" y="4648300"/>
            <a:ext cx="2697162" cy="30777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Doing Business Ranking(2018)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1B8F13C-F732-4DA1-9250-DB02936E7688}"/>
              </a:ext>
            </a:extLst>
          </p:cNvPr>
          <p:cNvSpPr/>
          <p:nvPr/>
        </p:nvSpPr>
        <p:spPr>
          <a:xfrm>
            <a:off x="756602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Registering Propert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6BA1818-32ED-44D1-975C-958200BDD124}"/>
              </a:ext>
            </a:extLst>
          </p:cNvPr>
          <p:cNvSpPr/>
          <p:nvPr/>
        </p:nvSpPr>
        <p:spPr>
          <a:xfrm>
            <a:off x="8248650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Dealing with Construction Permits</a:t>
            </a:r>
          </a:p>
        </p:txBody>
      </p:sp>
      <p:sp>
        <p:nvSpPr>
          <p:cNvPr id="23560" name="TextBox 174">
            <a:extLst>
              <a:ext uri="{FF2B5EF4-FFF2-40B4-BE49-F238E27FC236}">
                <a16:creationId xmlns:a16="http://schemas.microsoft.com/office/drawing/2014/main" id="{1573FD4E-62B9-45E8-8F28-CED990ED2D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0B63A6C-2A5E-4CA3-BC66-4CBC6008BC9A}"/>
              </a:ext>
            </a:extLst>
          </p:cNvPr>
          <p:cNvSpPr/>
          <p:nvPr/>
        </p:nvSpPr>
        <p:spPr>
          <a:xfrm>
            <a:off x="893127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Enforcing Contracts</a:t>
            </a:r>
          </a:p>
        </p:txBody>
      </p:sp>
      <p:pic>
        <p:nvPicPr>
          <p:cNvPr id="23562" name="Picture 4">
            <a:extLst>
              <a:ext uri="{FF2B5EF4-FFF2-40B4-BE49-F238E27FC236}">
                <a16:creationId xmlns:a16="http://schemas.microsoft.com/office/drawing/2014/main" id="{7C8EEAB2-0239-4BB5-94B3-23E319AF1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513" y="5249863"/>
            <a:ext cx="439737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6" name="Pentagon 19">
            <a:extLst>
              <a:ext uri="{FF2B5EF4-FFF2-40B4-BE49-F238E27FC236}">
                <a16:creationId xmlns:a16="http://schemas.microsoft.com/office/drawing/2014/main" id="{5F8E9670-D71A-4765-B6B5-D711BC9AD6E1}"/>
              </a:ext>
            </a:extLst>
          </p:cNvPr>
          <p:cNvSpPr>
            <a:spLocks/>
          </p:cNvSpPr>
          <p:nvPr/>
        </p:nvSpPr>
        <p:spPr bwMode="auto">
          <a:xfrm>
            <a:off x="893127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31</a:t>
            </a:r>
            <a:r>
              <a:rPr lang="en-GB" sz="1000" baseline="3000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of 37</a:t>
            </a:r>
          </a:p>
        </p:txBody>
      </p:sp>
      <p:sp>
        <p:nvSpPr>
          <p:cNvPr id="23564" name="Title 3">
            <a:extLst>
              <a:ext uri="{FF2B5EF4-FFF2-40B4-BE49-F238E27FC236}">
                <a16:creationId xmlns:a16="http://schemas.microsoft.com/office/drawing/2014/main" id="{C62A749B-CFC7-4224-A789-D20A772AC33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77813" y="222250"/>
            <a:ext cx="8543925" cy="5619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en-GB" alt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nugu State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6882DF2C-9120-4A66-8487-575D9494F4D6}"/>
              </a:ext>
            </a:extLst>
          </p:cNvPr>
          <p:cNvSpPr txBox="1"/>
          <p:nvPr/>
        </p:nvSpPr>
        <p:spPr>
          <a:xfrm rot="16200000">
            <a:off x="-2290084" y="3478372"/>
            <a:ext cx="5303837" cy="2743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al City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grpSp>
        <p:nvGrpSpPr>
          <p:cNvPr id="23566" name="Group 9">
            <a:extLst>
              <a:ext uri="{FF2B5EF4-FFF2-40B4-BE49-F238E27FC236}">
                <a16:creationId xmlns:a16="http://schemas.microsoft.com/office/drawing/2014/main" id="{5B6131BD-3CE3-4FC4-B13A-FA9B797C1EF5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41338" y="963613"/>
            <a:ext cx="2897187" cy="2319337"/>
            <a:chOff x="770228" y="1459989"/>
            <a:chExt cx="4081047" cy="3267527"/>
          </a:xfrm>
        </p:grpSpPr>
        <p:sp>
          <p:nvSpPr>
            <p:cNvPr id="299" name="Freeform 4">
              <a:extLst>
                <a:ext uri="{FF2B5EF4-FFF2-40B4-BE49-F238E27FC236}">
                  <a16:creationId xmlns:a16="http://schemas.microsoft.com/office/drawing/2014/main" id="{B6150C82-CBE5-48B4-B60C-C210BB7B26A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91538" y="4349548"/>
              <a:ext cx="418167" cy="377968"/>
            </a:xfrm>
            <a:custGeom>
              <a:avLst/>
              <a:gdLst>
                <a:gd name="T0" fmla="*/ 12 w 786"/>
                <a:gd name="T1" fmla="*/ 19 h 714"/>
                <a:gd name="T2" fmla="*/ 22 w 786"/>
                <a:gd name="T3" fmla="*/ 18 h 714"/>
                <a:gd name="T4" fmla="*/ 27 w 786"/>
                <a:gd name="T5" fmla="*/ 17 h 714"/>
                <a:gd name="T6" fmla="*/ 30 w 786"/>
                <a:gd name="T7" fmla="*/ 14 h 714"/>
                <a:gd name="T8" fmla="*/ 37 w 786"/>
                <a:gd name="T9" fmla="*/ 16 h 714"/>
                <a:gd name="T10" fmla="*/ 43 w 786"/>
                <a:gd name="T11" fmla="*/ 13 h 714"/>
                <a:gd name="T12" fmla="*/ 48 w 786"/>
                <a:gd name="T13" fmla="*/ 8 h 714"/>
                <a:gd name="T14" fmla="*/ 55 w 786"/>
                <a:gd name="T15" fmla="*/ 4 h 714"/>
                <a:gd name="T16" fmla="*/ 66 w 786"/>
                <a:gd name="T17" fmla="*/ 0 h 714"/>
                <a:gd name="T18" fmla="*/ 63 w 786"/>
                <a:gd name="T19" fmla="*/ 12 h 714"/>
                <a:gd name="T20" fmla="*/ 59 w 786"/>
                <a:gd name="T21" fmla="*/ 19 h 714"/>
                <a:gd name="T22" fmla="*/ 57 w 786"/>
                <a:gd name="T23" fmla="*/ 29 h 714"/>
                <a:gd name="T24" fmla="*/ 59 w 786"/>
                <a:gd name="T25" fmla="*/ 36 h 714"/>
                <a:gd name="T26" fmla="*/ 66 w 786"/>
                <a:gd name="T27" fmla="*/ 35 h 714"/>
                <a:gd name="T28" fmla="*/ 64 w 786"/>
                <a:gd name="T29" fmla="*/ 41 h 714"/>
                <a:gd name="T30" fmla="*/ 64 w 786"/>
                <a:gd name="T31" fmla="*/ 48 h 714"/>
                <a:gd name="T32" fmla="*/ 63 w 786"/>
                <a:gd name="T33" fmla="*/ 56 h 714"/>
                <a:gd name="T34" fmla="*/ 60 w 786"/>
                <a:gd name="T35" fmla="*/ 60 h 714"/>
                <a:gd name="T36" fmla="*/ 57 w 786"/>
                <a:gd name="T37" fmla="*/ 58 h 714"/>
                <a:gd name="T38" fmla="*/ 54 w 786"/>
                <a:gd name="T39" fmla="*/ 54 h 714"/>
                <a:gd name="T40" fmla="*/ 53 w 786"/>
                <a:gd name="T41" fmla="*/ 51 h 714"/>
                <a:gd name="T42" fmla="*/ 51 w 786"/>
                <a:gd name="T43" fmla="*/ 53 h 714"/>
                <a:gd name="T44" fmla="*/ 49 w 786"/>
                <a:gd name="T45" fmla="*/ 54 h 714"/>
                <a:gd name="T46" fmla="*/ 47 w 786"/>
                <a:gd name="T47" fmla="*/ 50 h 714"/>
                <a:gd name="T48" fmla="*/ 48 w 786"/>
                <a:gd name="T49" fmla="*/ 54 h 714"/>
                <a:gd name="T50" fmla="*/ 47 w 786"/>
                <a:gd name="T51" fmla="*/ 54 h 714"/>
                <a:gd name="T52" fmla="*/ 46 w 786"/>
                <a:gd name="T53" fmla="*/ 59 h 714"/>
                <a:gd name="T54" fmla="*/ 47 w 786"/>
                <a:gd name="T55" fmla="*/ 62 h 714"/>
                <a:gd name="T56" fmla="*/ 42 w 786"/>
                <a:gd name="T57" fmla="*/ 62 h 714"/>
                <a:gd name="T58" fmla="*/ 39 w 786"/>
                <a:gd name="T59" fmla="*/ 57 h 714"/>
                <a:gd name="T60" fmla="*/ 40 w 786"/>
                <a:gd name="T61" fmla="*/ 54 h 714"/>
                <a:gd name="T62" fmla="*/ 43 w 786"/>
                <a:gd name="T63" fmla="*/ 55 h 714"/>
                <a:gd name="T64" fmla="*/ 40 w 786"/>
                <a:gd name="T65" fmla="*/ 53 h 714"/>
                <a:gd name="T66" fmla="*/ 38 w 786"/>
                <a:gd name="T67" fmla="*/ 57 h 714"/>
                <a:gd name="T68" fmla="*/ 37 w 786"/>
                <a:gd name="T69" fmla="*/ 57 h 714"/>
                <a:gd name="T70" fmla="*/ 37 w 786"/>
                <a:gd name="T71" fmla="*/ 60 h 714"/>
                <a:gd name="T72" fmla="*/ 33 w 786"/>
                <a:gd name="T73" fmla="*/ 56 h 714"/>
                <a:gd name="T74" fmla="*/ 32 w 786"/>
                <a:gd name="T75" fmla="*/ 58 h 714"/>
                <a:gd name="T76" fmla="*/ 26 w 786"/>
                <a:gd name="T77" fmla="*/ 54 h 714"/>
                <a:gd name="T78" fmla="*/ 26 w 786"/>
                <a:gd name="T79" fmla="*/ 54 h 714"/>
                <a:gd name="T80" fmla="*/ 24 w 786"/>
                <a:gd name="T81" fmla="*/ 51 h 714"/>
                <a:gd name="T82" fmla="*/ 22 w 786"/>
                <a:gd name="T83" fmla="*/ 51 h 714"/>
                <a:gd name="T84" fmla="*/ 20 w 786"/>
                <a:gd name="T85" fmla="*/ 50 h 714"/>
                <a:gd name="T86" fmla="*/ 20 w 786"/>
                <a:gd name="T87" fmla="*/ 48 h 714"/>
                <a:gd name="T88" fmla="*/ 18 w 786"/>
                <a:gd name="T89" fmla="*/ 47 h 714"/>
                <a:gd name="T90" fmla="*/ 15 w 786"/>
                <a:gd name="T91" fmla="*/ 45 h 714"/>
                <a:gd name="T92" fmla="*/ 11 w 786"/>
                <a:gd name="T93" fmla="*/ 39 h 714"/>
                <a:gd name="T94" fmla="*/ 12 w 786"/>
                <a:gd name="T95" fmla="*/ 36 h 714"/>
                <a:gd name="T96" fmla="*/ 7 w 786"/>
                <a:gd name="T97" fmla="*/ 33 h 714"/>
                <a:gd name="T98" fmla="*/ 5 w 786"/>
                <a:gd name="T99" fmla="*/ 28 h 714"/>
                <a:gd name="T100" fmla="*/ 7 w 786"/>
                <a:gd name="T101" fmla="*/ 30 h 714"/>
                <a:gd name="T102" fmla="*/ 4 w 786"/>
                <a:gd name="T103" fmla="*/ 24 h 714"/>
                <a:gd name="T104" fmla="*/ 2 w 786"/>
                <a:gd name="T105" fmla="*/ 20 h 714"/>
                <a:gd name="T106" fmla="*/ 0 w 786"/>
                <a:gd name="T107" fmla="*/ 15 h 714"/>
                <a:gd name="T108" fmla="*/ 4 w 786"/>
                <a:gd name="T109" fmla="*/ 16 h 714"/>
                <a:gd name="T110" fmla="*/ 55 w 786"/>
                <a:gd name="T111" fmla="*/ 60 h 714"/>
                <a:gd name="T112" fmla="*/ 47 w 786"/>
                <a:gd name="T113" fmla="*/ 60 h 714"/>
                <a:gd name="T114" fmla="*/ 51 w 786"/>
                <a:gd name="T115" fmla="*/ 54 h 714"/>
                <a:gd name="T116" fmla="*/ 54 w 786"/>
                <a:gd name="T117" fmla="*/ 56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86"/>
                <a:gd name="T178" fmla="*/ 0 h 714"/>
                <a:gd name="T179" fmla="*/ 786 w 786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86" h="714">
                  <a:moveTo>
                    <a:pt x="54" y="186"/>
                  </a:moveTo>
                  <a:lnTo>
                    <a:pt x="54" y="192"/>
                  </a:lnTo>
                  <a:lnTo>
                    <a:pt x="72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204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20" y="210"/>
                  </a:lnTo>
                  <a:lnTo>
                    <a:pt x="126" y="210"/>
                  </a:lnTo>
                  <a:lnTo>
                    <a:pt x="132" y="210"/>
                  </a:lnTo>
                  <a:lnTo>
                    <a:pt x="132" y="216"/>
                  </a:lnTo>
                  <a:lnTo>
                    <a:pt x="138" y="222"/>
                  </a:lnTo>
                  <a:lnTo>
                    <a:pt x="150" y="222"/>
                  </a:lnTo>
                  <a:lnTo>
                    <a:pt x="162" y="234"/>
                  </a:lnTo>
                  <a:lnTo>
                    <a:pt x="168" y="240"/>
                  </a:lnTo>
                  <a:lnTo>
                    <a:pt x="180" y="240"/>
                  </a:lnTo>
                  <a:lnTo>
                    <a:pt x="186" y="228"/>
                  </a:lnTo>
                  <a:lnTo>
                    <a:pt x="210" y="234"/>
                  </a:lnTo>
                  <a:lnTo>
                    <a:pt x="222" y="228"/>
                  </a:lnTo>
                  <a:lnTo>
                    <a:pt x="228" y="216"/>
                  </a:lnTo>
                  <a:lnTo>
                    <a:pt x="234" y="210"/>
                  </a:lnTo>
                  <a:lnTo>
                    <a:pt x="240" y="216"/>
                  </a:lnTo>
                  <a:lnTo>
                    <a:pt x="246" y="210"/>
                  </a:lnTo>
                  <a:lnTo>
                    <a:pt x="252" y="210"/>
                  </a:lnTo>
                  <a:lnTo>
                    <a:pt x="258" y="210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192"/>
                  </a:lnTo>
                  <a:lnTo>
                    <a:pt x="270" y="192"/>
                  </a:lnTo>
                  <a:lnTo>
                    <a:pt x="276" y="192"/>
                  </a:lnTo>
                  <a:lnTo>
                    <a:pt x="282" y="192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192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198"/>
                  </a:lnTo>
                  <a:lnTo>
                    <a:pt x="312" y="198"/>
                  </a:lnTo>
                  <a:lnTo>
                    <a:pt x="312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24" y="186"/>
                  </a:lnTo>
                  <a:lnTo>
                    <a:pt x="318" y="180"/>
                  </a:lnTo>
                  <a:lnTo>
                    <a:pt x="324" y="180"/>
                  </a:lnTo>
                  <a:lnTo>
                    <a:pt x="330" y="186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74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54" y="144"/>
                  </a:lnTo>
                  <a:lnTo>
                    <a:pt x="360" y="144"/>
                  </a:lnTo>
                  <a:lnTo>
                    <a:pt x="372" y="156"/>
                  </a:lnTo>
                  <a:lnTo>
                    <a:pt x="372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96" y="168"/>
                  </a:lnTo>
                  <a:lnTo>
                    <a:pt x="396" y="174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26" y="186"/>
                  </a:lnTo>
                  <a:lnTo>
                    <a:pt x="432" y="186"/>
                  </a:lnTo>
                  <a:lnTo>
                    <a:pt x="438" y="180"/>
                  </a:lnTo>
                  <a:lnTo>
                    <a:pt x="438" y="168"/>
                  </a:lnTo>
                  <a:lnTo>
                    <a:pt x="438" y="162"/>
                  </a:lnTo>
                  <a:lnTo>
                    <a:pt x="444" y="156"/>
                  </a:lnTo>
                  <a:lnTo>
                    <a:pt x="450" y="156"/>
                  </a:lnTo>
                  <a:lnTo>
                    <a:pt x="456" y="150"/>
                  </a:lnTo>
                  <a:lnTo>
                    <a:pt x="462" y="156"/>
                  </a:lnTo>
                  <a:lnTo>
                    <a:pt x="468" y="162"/>
                  </a:lnTo>
                  <a:lnTo>
                    <a:pt x="474" y="162"/>
                  </a:lnTo>
                  <a:lnTo>
                    <a:pt x="486" y="162"/>
                  </a:lnTo>
                  <a:lnTo>
                    <a:pt x="492" y="156"/>
                  </a:lnTo>
                  <a:lnTo>
                    <a:pt x="498" y="150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28" y="126"/>
                  </a:lnTo>
                  <a:lnTo>
                    <a:pt x="522" y="120"/>
                  </a:lnTo>
                  <a:lnTo>
                    <a:pt x="522" y="114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28" y="102"/>
                  </a:lnTo>
                  <a:lnTo>
                    <a:pt x="534" y="96"/>
                  </a:lnTo>
                  <a:lnTo>
                    <a:pt x="552" y="96"/>
                  </a:lnTo>
                  <a:lnTo>
                    <a:pt x="570" y="102"/>
                  </a:lnTo>
                  <a:lnTo>
                    <a:pt x="582" y="96"/>
                  </a:lnTo>
                  <a:lnTo>
                    <a:pt x="582" y="90"/>
                  </a:lnTo>
                  <a:lnTo>
                    <a:pt x="582" y="78"/>
                  </a:lnTo>
                  <a:lnTo>
                    <a:pt x="582" y="72"/>
                  </a:lnTo>
                  <a:lnTo>
                    <a:pt x="582" y="66"/>
                  </a:lnTo>
                  <a:lnTo>
                    <a:pt x="594" y="60"/>
                  </a:lnTo>
                  <a:lnTo>
                    <a:pt x="600" y="60"/>
                  </a:lnTo>
                  <a:lnTo>
                    <a:pt x="606" y="54"/>
                  </a:lnTo>
                  <a:lnTo>
                    <a:pt x="618" y="48"/>
                  </a:lnTo>
                  <a:lnTo>
                    <a:pt x="618" y="42"/>
                  </a:lnTo>
                  <a:lnTo>
                    <a:pt x="624" y="42"/>
                  </a:lnTo>
                  <a:lnTo>
                    <a:pt x="636" y="48"/>
                  </a:lnTo>
                  <a:lnTo>
                    <a:pt x="648" y="54"/>
                  </a:lnTo>
                  <a:lnTo>
                    <a:pt x="660" y="54"/>
                  </a:lnTo>
                  <a:lnTo>
                    <a:pt x="666" y="60"/>
                  </a:lnTo>
                  <a:lnTo>
                    <a:pt x="672" y="54"/>
                  </a:lnTo>
                  <a:lnTo>
                    <a:pt x="684" y="48"/>
                  </a:lnTo>
                  <a:lnTo>
                    <a:pt x="708" y="42"/>
                  </a:lnTo>
                  <a:lnTo>
                    <a:pt x="714" y="42"/>
                  </a:lnTo>
                  <a:lnTo>
                    <a:pt x="720" y="36"/>
                  </a:lnTo>
                  <a:lnTo>
                    <a:pt x="720" y="30"/>
                  </a:lnTo>
                  <a:lnTo>
                    <a:pt x="714" y="12"/>
                  </a:lnTo>
                  <a:lnTo>
                    <a:pt x="708" y="0"/>
                  </a:lnTo>
                  <a:lnTo>
                    <a:pt x="738" y="6"/>
                  </a:lnTo>
                  <a:lnTo>
                    <a:pt x="756" y="6"/>
                  </a:lnTo>
                  <a:lnTo>
                    <a:pt x="762" y="42"/>
                  </a:lnTo>
                  <a:lnTo>
                    <a:pt x="738" y="72"/>
                  </a:lnTo>
                  <a:lnTo>
                    <a:pt x="750" y="90"/>
                  </a:lnTo>
                  <a:lnTo>
                    <a:pt x="762" y="96"/>
                  </a:lnTo>
                  <a:lnTo>
                    <a:pt x="756" y="102"/>
                  </a:lnTo>
                  <a:lnTo>
                    <a:pt x="750" y="108"/>
                  </a:lnTo>
                  <a:lnTo>
                    <a:pt x="750" y="114"/>
                  </a:lnTo>
                  <a:lnTo>
                    <a:pt x="750" y="120"/>
                  </a:lnTo>
                  <a:lnTo>
                    <a:pt x="750" y="126"/>
                  </a:lnTo>
                  <a:lnTo>
                    <a:pt x="750" y="132"/>
                  </a:lnTo>
                  <a:lnTo>
                    <a:pt x="738" y="132"/>
                  </a:lnTo>
                  <a:lnTo>
                    <a:pt x="732" y="138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14" y="144"/>
                  </a:lnTo>
                  <a:lnTo>
                    <a:pt x="714" y="150"/>
                  </a:lnTo>
                  <a:lnTo>
                    <a:pt x="720" y="156"/>
                  </a:lnTo>
                  <a:lnTo>
                    <a:pt x="720" y="162"/>
                  </a:lnTo>
                  <a:lnTo>
                    <a:pt x="714" y="162"/>
                  </a:lnTo>
                  <a:lnTo>
                    <a:pt x="708" y="168"/>
                  </a:lnTo>
                  <a:lnTo>
                    <a:pt x="708" y="180"/>
                  </a:lnTo>
                  <a:lnTo>
                    <a:pt x="708" y="192"/>
                  </a:lnTo>
                  <a:lnTo>
                    <a:pt x="696" y="198"/>
                  </a:lnTo>
                  <a:lnTo>
                    <a:pt x="696" y="204"/>
                  </a:lnTo>
                  <a:lnTo>
                    <a:pt x="684" y="210"/>
                  </a:lnTo>
                  <a:lnTo>
                    <a:pt x="684" y="216"/>
                  </a:lnTo>
                  <a:lnTo>
                    <a:pt x="684" y="222"/>
                  </a:lnTo>
                  <a:lnTo>
                    <a:pt x="678" y="228"/>
                  </a:lnTo>
                  <a:lnTo>
                    <a:pt x="678" y="234"/>
                  </a:lnTo>
                  <a:lnTo>
                    <a:pt x="672" y="240"/>
                  </a:lnTo>
                  <a:lnTo>
                    <a:pt x="672" y="252"/>
                  </a:lnTo>
                  <a:lnTo>
                    <a:pt x="672" y="258"/>
                  </a:lnTo>
                  <a:lnTo>
                    <a:pt x="666" y="264"/>
                  </a:lnTo>
                  <a:lnTo>
                    <a:pt x="678" y="264"/>
                  </a:lnTo>
                  <a:lnTo>
                    <a:pt x="684" y="276"/>
                  </a:lnTo>
                  <a:lnTo>
                    <a:pt x="684" y="288"/>
                  </a:lnTo>
                  <a:lnTo>
                    <a:pt x="672" y="300"/>
                  </a:lnTo>
                  <a:lnTo>
                    <a:pt x="660" y="318"/>
                  </a:lnTo>
                  <a:lnTo>
                    <a:pt x="660" y="336"/>
                  </a:lnTo>
                  <a:lnTo>
                    <a:pt x="654" y="342"/>
                  </a:lnTo>
                  <a:lnTo>
                    <a:pt x="660" y="354"/>
                  </a:lnTo>
                  <a:lnTo>
                    <a:pt x="660" y="366"/>
                  </a:lnTo>
                  <a:lnTo>
                    <a:pt x="666" y="378"/>
                  </a:lnTo>
                  <a:lnTo>
                    <a:pt x="672" y="390"/>
                  </a:lnTo>
                  <a:lnTo>
                    <a:pt x="678" y="396"/>
                  </a:lnTo>
                  <a:lnTo>
                    <a:pt x="684" y="390"/>
                  </a:lnTo>
                  <a:lnTo>
                    <a:pt x="690" y="390"/>
                  </a:lnTo>
                  <a:lnTo>
                    <a:pt x="690" y="396"/>
                  </a:lnTo>
                  <a:lnTo>
                    <a:pt x="684" y="396"/>
                  </a:lnTo>
                  <a:lnTo>
                    <a:pt x="684" y="402"/>
                  </a:lnTo>
                  <a:lnTo>
                    <a:pt x="684" y="408"/>
                  </a:lnTo>
                  <a:lnTo>
                    <a:pt x="678" y="414"/>
                  </a:lnTo>
                  <a:lnTo>
                    <a:pt x="684" y="414"/>
                  </a:lnTo>
                  <a:lnTo>
                    <a:pt x="684" y="420"/>
                  </a:lnTo>
                  <a:lnTo>
                    <a:pt x="684" y="426"/>
                  </a:lnTo>
                  <a:lnTo>
                    <a:pt x="690" y="420"/>
                  </a:lnTo>
                  <a:lnTo>
                    <a:pt x="696" y="420"/>
                  </a:lnTo>
                  <a:lnTo>
                    <a:pt x="696" y="426"/>
                  </a:lnTo>
                  <a:lnTo>
                    <a:pt x="690" y="426"/>
                  </a:lnTo>
                  <a:lnTo>
                    <a:pt x="696" y="426"/>
                  </a:lnTo>
                  <a:lnTo>
                    <a:pt x="708" y="426"/>
                  </a:lnTo>
                  <a:lnTo>
                    <a:pt x="726" y="414"/>
                  </a:lnTo>
                  <a:lnTo>
                    <a:pt x="732" y="408"/>
                  </a:lnTo>
                  <a:lnTo>
                    <a:pt x="744" y="402"/>
                  </a:lnTo>
                  <a:lnTo>
                    <a:pt x="756" y="402"/>
                  </a:lnTo>
                  <a:lnTo>
                    <a:pt x="768" y="402"/>
                  </a:lnTo>
                  <a:lnTo>
                    <a:pt x="786" y="408"/>
                  </a:lnTo>
                  <a:lnTo>
                    <a:pt x="786" y="414"/>
                  </a:lnTo>
                  <a:lnTo>
                    <a:pt x="774" y="420"/>
                  </a:lnTo>
                  <a:lnTo>
                    <a:pt x="774" y="426"/>
                  </a:lnTo>
                  <a:lnTo>
                    <a:pt x="768" y="432"/>
                  </a:lnTo>
                  <a:lnTo>
                    <a:pt x="762" y="438"/>
                  </a:lnTo>
                  <a:lnTo>
                    <a:pt x="756" y="438"/>
                  </a:lnTo>
                  <a:lnTo>
                    <a:pt x="756" y="444"/>
                  </a:lnTo>
                  <a:lnTo>
                    <a:pt x="756" y="450"/>
                  </a:lnTo>
                  <a:lnTo>
                    <a:pt x="762" y="450"/>
                  </a:lnTo>
                  <a:lnTo>
                    <a:pt x="750" y="456"/>
                  </a:lnTo>
                  <a:lnTo>
                    <a:pt x="738" y="468"/>
                  </a:lnTo>
                  <a:lnTo>
                    <a:pt x="726" y="480"/>
                  </a:lnTo>
                  <a:lnTo>
                    <a:pt x="726" y="486"/>
                  </a:lnTo>
                  <a:lnTo>
                    <a:pt x="732" y="486"/>
                  </a:lnTo>
                  <a:lnTo>
                    <a:pt x="732" y="492"/>
                  </a:lnTo>
                  <a:lnTo>
                    <a:pt x="732" y="504"/>
                  </a:lnTo>
                  <a:lnTo>
                    <a:pt x="738" y="504"/>
                  </a:lnTo>
                  <a:lnTo>
                    <a:pt x="744" y="510"/>
                  </a:lnTo>
                  <a:lnTo>
                    <a:pt x="738" y="522"/>
                  </a:lnTo>
                  <a:lnTo>
                    <a:pt x="744" y="528"/>
                  </a:lnTo>
                  <a:lnTo>
                    <a:pt x="756" y="534"/>
                  </a:lnTo>
                  <a:lnTo>
                    <a:pt x="756" y="540"/>
                  </a:lnTo>
                  <a:lnTo>
                    <a:pt x="744" y="552"/>
                  </a:lnTo>
                  <a:lnTo>
                    <a:pt x="738" y="552"/>
                  </a:lnTo>
                  <a:lnTo>
                    <a:pt x="738" y="558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64"/>
                  </a:lnTo>
                  <a:lnTo>
                    <a:pt x="744" y="576"/>
                  </a:lnTo>
                  <a:lnTo>
                    <a:pt x="738" y="588"/>
                  </a:lnTo>
                  <a:lnTo>
                    <a:pt x="738" y="594"/>
                  </a:lnTo>
                  <a:lnTo>
                    <a:pt x="738" y="600"/>
                  </a:lnTo>
                  <a:lnTo>
                    <a:pt x="738" y="606"/>
                  </a:lnTo>
                  <a:lnTo>
                    <a:pt x="732" y="612"/>
                  </a:lnTo>
                  <a:lnTo>
                    <a:pt x="726" y="624"/>
                  </a:lnTo>
                  <a:lnTo>
                    <a:pt x="726" y="636"/>
                  </a:lnTo>
                  <a:lnTo>
                    <a:pt x="726" y="648"/>
                  </a:lnTo>
                  <a:lnTo>
                    <a:pt x="738" y="654"/>
                  </a:lnTo>
                  <a:lnTo>
                    <a:pt x="750" y="660"/>
                  </a:lnTo>
                  <a:lnTo>
                    <a:pt x="750" y="666"/>
                  </a:lnTo>
                  <a:lnTo>
                    <a:pt x="750" y="678"/>
                  </a:lnTo>
                  <a:lnTo>
                    <a:pt x="744" y="678"/>
                  </a:lnTo>
                  <a:lnTo>
                    <a:pt x="738" y="684"/>
                  </a:lnTo>
                  <a:lnTo>
                    <a:pt x="732" y="684"/>
                  </a:lnTo>
                  <a:lnTo>
                    <a:pt x="720" y="678"/>
                  </a:lnTo>
                  <a:lnTo>
                    <a:pt x="714" y="684"/>
                  </a:lnTo>
                  <a:lnTo>
                    <a:pt x="708" y="684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0" y="690"/>
                  </a:lnTo>
                  <a:lnTo>
                    <a:pt x="690" y="684"/>
                  </a:lnTo>
                  <a:lnTo>
                    <a:pt x="690" y="690"/>
                  </a:lnTo>
                  <a:lnTo>
                    <a:pt x="684" y="690"/>
                  </a:lnTo>
                  <a:lnTo>
                    <a:pt x="684" y="684"/>
                  </a:lnTo>
                  <a:lnTo>
                    <a:pt x="678" y="684"/>
                  </a:lnTo>
                  <a:lnTo>
                    <a:pt x="672" y="678"/>
                  </a:lnTo>
                  <a:lnTo>
                    <a:pt x="672" y="672"/>
                  </a:lnTo>
                  <a:lnTo>
                    <a:pt x="678" y="672"/>
                  </a:lnTo>
                  <a:lnTo>
                    <a:pt x="672" y="672"/>
                  </a:lnTo>
                  <a:lnTo>
                    <a:pt x="666" y="672"/>
                  </a:lnTo>
                  <a:lnTo>
                    <a:pt x="660" y="672"/>
                  </a:lnTo>
                  <a:lnTo>
                    <a:pt x="654" y="672"/>
                  </a:lnTo>
                  <a:lnTo>
                    <a:pt x="654" y="666"/>
                  </a:lnTo>
                  <a:lnTo>
                    <a:pt x="648" y="666"/>
                  </a:lnTo>
                  <a:lnTo>
                    <a:pt x="642" y="660"/>
                  </a:lnTo>
                  <a:lnTo>
                    <a:pt x="642" y="654"/>
                  </a:lnTo>
                  <a:lnTo>
                    <a:pt x="642" y="648"/>
                  </a:lnTo>
                  <a:lnTo>
                    <a:pt x="636" y="648"/>
                  </a:lnTo>
                  <a:lnTo>
                    <a:pt x="630" y="648"/>
                  </a:lnTo>
                  <a:lnTo>
                    <a:pt x="624" y="648"/>
                  </a:lnTo>
                  <a:lnTo>
                    <a:pt x="624" y="642"/>
                  </a:lnTo>
                  <a:lnTo>
                    <a:pt x="618" y="636"/>
                  </a:lnTo>
                  <a:lnTo>
                    <a:pt x="624" y="636"/>
                  </a:lnTo>
                  <a:lnTo>
                    <a:pt x="624" y="630"/>
                  </a:lnTo>
                  <a:lnTo>
                    <a:pt x="618" y="630"/>
                  </a:lnTo>
                  <a:lnTo>
                    <a:pt x="618" y="624"/>
                  </a:lnTo>
                  <a:lnTo>
                    <a:pt x="618" y="618"/>
                  </a:lnTo>
                  <a:lnTo>
                    <a:pt x="618" y="612"/>
                  </a:lnTo>
                  <a:lnTo>
                    <a:pt x="618" y="606"/>
                  </a:lnTo>
                  <a:lnTo>
                    <a:pt x="624" y="606"/>
                  </a:lnTo>
                  <a:lnTo>
                    <a:pt x="624" y="600"/>
                  </a:lnTo>
                  <a:lnTo>
                    <a:pt x="618" y="600"/>
                  </a:lnTo>
                  <a:lnTo>
                    <a:pt x="618" y="594"/>
                  </a:lnTo>
                  <a:lnTo>
                    <a:pt x="618" y="588"/>
                  </a:lnTo>
                  <a:lnTo>
                    <a:pt x="618" y="582"/>
                  </a:lnTo>
                  <a:lnTo>
                    <a:pt x="612" y="582"/>
                  </a:lnTo>
                  <a:lnTo>
                    <a:pt x="606" y="582"/>
                  </a:lnTo>
                  <a:lnTo>
                    <a:pt x="612" y="582"/>
                  </a:lnTo>
                  <a:lnTo>
                    <a:pt x="612" y="588"/>
                  </a:lnTo>
                  <a:lnTo>
                    <a:pt x="612" y="594"/>
                  </a:lnTo>
                  <a:lnTo>
                    <a:pt x="618" y="594"/>
                  </a:lnTo>
                  <a:lnTo>
                    <a:pt x="618" y="600"/>
                  </a:lnTo>
                  <a:lnTo>
                    <a:pt x="618" y="606"/>
                  </a:lnTo>
                  <a:lnTo>
                    <a:pt x="618" y="612"/>
                  </a:lnTo>
                  <a:lnTo>
                    <a:pt x="612" y="612"/>
                  </a:lnTo>
                  <a:lnTo>
                    <a:pt x="612" y="618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94" y="612"/>
                  </a:lnTo>
                  <a:lnTo>
                    <a:pt x="588" y="606"/>
                  </a:lnTo>
                  <a:lnTo>
                    <a:pt x="588" y="612"/>
                  </a:lnTo>
                  <a:lnTo>
                    <a:pt x="594" y="612"/>
                  </a:lnTo>
                  <a:lnTo>
                    <a:pt x="594" y="618"/>
                  </a:lnTo>
                  <a:lnTo>
                    <a:pt x="588" y="618"/>
                  </a:lnTo>
                  <a:lnTo>
                    <a:pt x="588" y="624"/>
                  </a:lnTo>
                  <a:lnTo>
                    <a:pt x="582" y="624"/>
                  </a:lnTo>
                  <a:lnTo>
                    <a:pt x="582" y="630"/>
                  </a:lnTo>
                  <a:lnTo>
                    <a:pt x="576" y="630"/>
                  </a:lnTo>
                  <a:lnTo>
                    <a:pt x="576" y="636"/>
                  </a:lnTo>
                  <a:lnTo>
                    <a:pt x="570" y="636"/>
                  </a:lnTo>
                  <a:lnTo>
                    <a:pt x="570" y="642"/>
                  </a:lnTo>
                  <a:lnTo>
                    <a:pt x="564" y="642"/>
                  </a:lnTo>
                  <a:lnTo>
                    <a:pt x="564" y="636"/>
                  </a:lnTo>
                  <a:lnTo>
                    <a:pt x="564" y="630"/>
                  </a:lnTo>
                  <a:lnTo>
                    <a:pt x="564" y="624"/>
                  </a:lnTo>
                  <a:lnTo>
                    <a:pt x="564" y="618"/>
                  </a:lnTo>
                  <a:lnTo>
                    <a:pt x="570" y="612"/>
                  </a:lnTo>
                  <a:lnTo>
                    <a:pt x="564" y="606"/>
                  </a:lnTo>
                  <a:lnTo>
                    <a:pt x="564" y="600"/>
                  </a:lnTo>
                  <a:lnTo>
                    <a:pt x="564" y="594"/>
                  </a:lnTo>
                  <a:lnTo>
                    <a:pt x="558" y="594"/>
                  </a:lnTo>
                  <a:lnTo>
                    <a:pt x="558" y="588"/>
                  </a:lnTo>
                  <a:lnTo>
                    <a:pt x="552" y="582"/>
                  </a:lnTo>
                  <a:lnTo>
                    <a:pt x="552" y="576"/>
                  </a:lnTo>
                  <a:lnTo>
                    <a:pt x="552" y="570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6" y="582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58" y="588"/>
                  </a:lnTo>
                  <a:lnTo>
                    <a:pt x="558" y="594"/>
                  </a:lnTo>
                  <a:lnTo>
                    <a:pt x="558" y="600"/>
                  </a:lnTo>
                  <a:lnTo>
                    <a:pt x="558" y="606"/>
                  </a:lnTo>
                  <a:lnTo>
                    <a:pt x="552" y="612"/>
                  </a:lnTo>
                  <a:lnTo>
                    <a:pt x="558" y="612"/>
                  </a:lnTo>
                  <a:lnTo>
                    <a:pt x="558" y="618"/>
                  </a:lnTo>
                  <a:lnTo>
                    <a:pt x="558" y="624"/>
                  </a:lnTo>
                  <a:lnTo>
                    <a:pt x="558" y="630"/>
                  </a:lnTo>
                  <a:lnTo>
                    <a:pt x="552" y="630"/>
                  </a:lnTo>
                  <a:lnTo>
                    <a:pt x="552" y="624"/>
                  </a:lnTo>
                  <a:lnTo>
                    <a:pt x="546" y="624"/>
                  </a:lnTo>
                  <a:lnTo>
                    <a:pt x="546" y="618"/>
                  </a:lnTo>
                  <a:lnTo>
                    <a:pt x="546" y="612"/>
                  </a:lnTo>
                  <a:lnTo>
                    <a:pt x="540" y="612"/>
                  </a:lnTo>
                  <a:lnTo>
                    <a:pt x="534" y="612"/>
                  </a:lnTo>
                  <a:lnTo>
                    <a:pt x="528" y="612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28" y="618"/>
                  </a:lnTo>
                  <a:lnTo>
                    <a:pt x="534" y="618"/>
                  </a:lnTo>
                  <a:lnTo>
                    <a:pt x="540" y="618"/>
                  </a:lnTo>
                  <a:lnTo>
                    <a:pt x="540" y="624"/>
                  </a:lnTo>
                  <a:lnTo>
                    <a:pt x="546" y="624"/>
                  </a:lnTo>
                  <a:lnTo>
                    <a:pt x="546" y="630"/>
                  </a:lnTo>
                  <a:lnTo>
                    <a:pt x="552" y="630"/>
                  </a:lnTo>
                  <a:lnTo>
                    <a:pt x="552" y="636"/>
                  </a:lnTo>
                  <a:lnTo>
                    <a:pt x="546" y="642"/>
                  </a:lnTo>
                  <a:lnTo>
                    <a:pt x="546" y="648"/>
                  </a:lnTo>
                  <a:lnTo>
                    <a:pt x="540" y="648"/>
                  </a:lnTo>
                  <a:lnTo>
                    <a:pt x="540" y="654"/>
                  </a:lnTo>
                  <a:lnTo>
                    <a:pt x="540" y="660"/>
                  </a:lnTo>
                  <a:lnTo>
                    <a:pt x="534" y="666"/>
                  </a:lnTo>
                  <a:lnTo>
                    <a:pt x="534" y="672"/>
                  </a:lnTo>
                  <a:lnTo>
                    <a:pt x="534" y="678"/>
                  </a:lnTo>
                  <a:lnTo>
                    <a:pt x="534" y="684"/>
                  </a:lnTo>
                  <a:lnTo>
                    <a:pt x="534" y="678"/>
                  </a:lnTo>
                  <a:lnTo>
                    <a:pt x="528" y="678"/>
                  </a:lnTo>
                  <a:lnTo>
                    <a:pt x="528" y="684"/>
                  </a:lnTo>
                  <a:lnTo>
                    <a:pt x="522" y="690"/>
                  </a:lnTo>
                  <a:lnTo>
                    <a:pt x="528" y="690"/>
                  </a:lnTo>
                  <a:lnTo>
                    <a:pt x="528" y="684"/>
                  </a:lnTo>
                  <a:lnTo>
                    <a:pt x="534" y="684"/>
                  </a:lnTo>
                  <a:lnTo>
                    <a:pt x="534" y="690"/>
                  </a:lnTo>
                  <a:lnTo>
                    <a:pt x="534" y="696"/>
                  </a:lnTo>
                  <a:lnTo>
                    <a:pt x="540" y="696"/>
                  </a:lnTo>
                  <a:lnTo>
                    <a:pt x="540" y="702"/>
                  </a:lnTo>
                  <a:lnTo>
                    <a:pt x="540" y="708"/>
                  </a:lnTo>
                  <a:lnTo>
                    <a:pt x="534" y="708"/>
                  </a:lnTo>
                  <a:lnTo>
                    <a:pt x="528" y="708"/>
                  </a:lnTo>
                  <a:lnTo>
                    <a:pt x="522" y="708"/>
                  </a:lnTo>
                  <a:lnTo>
                    <a:pt x="516" y="708"/>
                  </a:lnTo>
                  <a:lnTo>
                    <a:pt x="510" y="708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2" y="708"/>
                  </a:lnTo>
                  <a:lnTo>
                    <a:pt x="486" y="714"/>
                  </a:lnTo>
                  <a:lnTo>
                    <a:pt x="480" y="708"/>
                  </a:lnTo>
                  <a:lnTo>
                    <a:pt x="474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68" y="714"/>
                  </a:lnTo>
                  <a:lnTo>
                    <a:pt x="456" y="714"/>
                  </a:lnTo>
                  <a:lnTo>
                    <a:pt x="450" y="714"/>
                  </a:lnTo>
                  <a:lnTo>
                    <a:pt x="450" y="708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50" y="690"/>
                  </a:lnTo>
                  <a:lnTo>
                    <a:pt x="450" y="684"/>
                  </a:lnTo>
                  <a:lnTo>
                    <a:pt x="450" y="678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56" y="660"/>
                  </a:lnTo>
                  <a:lnTo>
                    <a:pt x="462" y="660"/>
                  </a:lnTo>
                  <a:lnTo>
                    <a:pt x="462" y="654"/>
                  </a:lnTo>
                  <a:lnTo>
                    <a:pt x="456" y="654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48"/>
                  </a:lnTo>
                  <a:lnTo>
                    <a:pt x="444" y="648"/>
                  </a:lnTo>
                  <a:lnTo>
                    <a:pt x="444" y="642"/>
                  </a:lnTo>
                  <a:lnTo>
                    <a:pt x="444" y="636"/>
                  </a:lnTo>
                  <a:lnTo>
                    <a:pt x="450" y="636"/>
                  </a:lnTo>
                  <a:lnTo>
                    <a:pt x="450" y="630"/>
                  </a:lnTo>
                  <a:lnTo>
                    <a:pt x="456" y="630"/>
                  </a:lnTo>
                  <a:lnTo>
                    <a:pt x="462" y="630"/>
                  </a:lnTo>
                  <a:lnTo>
                    <a:pt x="462" y="624"/>
                  </a:lnTo>
                  <a:lnTo>
                    <a:pt x="468" y="624"/>
                  </a:lnTo>
                  <a:lnTo>
                    <a:pt x="474" y="624"/>
                  </a:lnTo>
                  <a:lnTo>
                    <a:pt x="474" y="618"/>
                  </a:lnTo>
                  <a:lnTo>
                    <a:pt x="480" y="618"/>
                  </a:lnTo>
                  <a:lnTo>
                    <a:pt x="486" y="618"/>
                  </a:lnTo>
                  <a:lnTo>
                    <a:pt x="486" y="624"/>
                  </a:lnTo>
                  <a:lnTo>
                    <a:pt x="486" y="636"/>
                  </a:lnTo>
                  <a:lnTo>
                    <a:pt x="486" y="642"/>
                  </a:lnTo>
                  <a:lnTo>
                    <a:pt x="486" y="648"/>
                  </a:lnTo>
                  <a:lnTo>
                    <a:pt x="492" y="648"/>
                  </a:lnTo>
                  <a:lnTo>
                    <a:pt x="492" y="642"/>
                  </a:lnTo>
                  <a:lnTo>
                    <a:pt x="498" y="636"/>
                  </a:lnTo>
                  <a:lnTo>
                    <a:pt x="492" y="636"/>
                  </a:lnTo>
                  <a:lnTo>
                    <a:pt x="492" y="630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6" y="618"/>
                  </a:lnTo>
                  <a:lnTo>
                    <a:pt x="486" y="612"/>
                  </a:lnTo>
                  <a:lnTo>
                    <a:pt x="486" y="606"/>
                  </a:lnTo>
                  <a:lnTo>
                    <a:pt x="480" y="606"/>
                  </a:lnTo>
                  <a:lnTo>
                    <a:pt x="480" y="612"/>
                  </a:lnTo>
                  <a:lnTo>
                    <a:pt x="474" y="618"/>
                  </a:lnTo>
                  <a:lnTo>
                    <a:pt x="468" y="618"/>
                  </a:lnTo>
                  <a:lnTo>
                    <a:pt x="462" y="618"/>
                  </a:lnTo>
                  <a:lnTo>
                    <a:pt x="462" y="612"/>
                  </a:lnTo>
                  <a:lnTo>
                    <a:pt x="456" y="612"/>
                  </a:lnTo>
                  <a:lnTo>
                    <a:pt x="456" y="618"/>
                  </a:lnTo>
                  <a:lnTo>
                    <a:pt x="462" y="618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30"/>
                  </a:lnTo>
                  <a:lnTo>
                    <a:pt x="444" y="630"/>
                  </a:lnTo>
                  <a:lnTo>
                    <a:pt x="444" y="636"/>
                  </a:lnTo>
                  <a:lnTo>
                    <a:pt x="444" y="642"/>
                  </a:lnTo>
                  <a:lnTo>
                    <a:pt x="444" y="654"/>
                  </a:lnTo>
                  <a:lnTo>
                    <a:pt x="444" y="660"/>
                  </a:lnTo>
                  <a:lnTo>
                    <a:pt x="438" y="660"/>
                  </a:lnTo>
                  <a:lnTo>
                    <a:pt x="432" y="660"/>
                  </a:lnTo>
                  <a:lnTo>
                    <a:pt x="432" y="654"/>
                  </a:lnTo>
                  <a:lnTo>
                    <a:pt x="438" y="654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48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26" y="660"/>
                  </a:lnTo>
                  <a:lnTo>
                    <a:pt x="432" y="666"/>
                  </a:lnTo>
                  <a:lnTo>
                    <a:pt x="432" y="672"/>
                  </a:lnTo>
                  <a:lnTo>
                    <a:pt x="438" y="672"/>
                  </a:lnTo>
                  <a:lnTo>
                    <a:pt x="438" y="678"/>
                  </a:lnTo>
                  <a:lnTo>
                    <a:pt x="444" y="678"/>
                  </a:lnTo>
                  <a:lnTo>
                    <a:pt x="444" y="684"/>
                  </a:lnTo>
                  <a:lnTo>
                    <a:pt x="438" y="690"/>
                  </a:lnTo>
                  <a:lnTo>
                    <a:pt x="438" y="696"/>
                  </a:lnTo>
                  <a:lnTo>
                    <a:pt x="438" y="702"/>
                  </a:lnTo>
                  <a:lnTo>
                    <a:pt x="432" y="702"/>
                  </a:lnTo>
                  <a:lnTo>
                    <a:pt x="426" y="702"/>
                  </a:lnTo>
                  <a:lnTo>
                    <a:pt x="426" y="696"/>
                  </a:lnTo>
                  <a:lnTo>
                    <a:pt x="414" y="696"/>
                  </a:lnTo>
                  <a:lnTo>
                    <a:pt x="402" y="696"/>
                  </a:lnTo>
                  <a:lnTo>
                    <a:pt x="402" y="690"/>
                  </a:lnTo>
                  <a:lnTo>
                    <a:pt x="396" y="690"/>
                  </a:lnTo>
                  <a:lnTo>
                    <a:pt x="390" y="690"/>
                  </a:lnTo>
                  <a:lnTo>
                    <a:pt x="384" y="690"/>
                  </a:lnTo>
                  <a:lnTo>
                    <a:pt x="384" y="684"/>
                  </a:lnTo>
                  <a:lnTo>
                    <a:pt x="384" y="678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390" y="660"/>
                  </a:lnTo>
                  <a:lnTo>
                    <a:pt x="390" y="654"/>
                  </a:lnTo>
                  <a:lnTo>
                    <a:pt x="384" y="648"/>
                  </a:lnTo>
                  <a:lnTo>
                    <a:pt x="384" y="642"/>
                  </a:lnTo>
                  <a:lnTo>
                    <a:pt x="378" y="636"/>
                  </a:lnTo>
                  <a:lnTo>
                    <a:pt x="378" y="642"/>
                  </a:lnTo>
                  <a:lnTo>
                    <a:pt x="378" y="648"/>
                  </a:lnTo>
                  <a:lnTo>
                    <a:pt x="372" y="648"/>
                  </a:lnTo>
                  <a:lnTo>
                    <a:pt x="378" y="654"/>
                  </a:lnTo>
                  <a:lnTo>
                    <a:pt x="378" y="660"/>
                  </a:lnTo>
                  <a:lnTo>
                    <a:pt x="378" y="666"/>
                  </a:lnTo>
                  <a:lnTo>
                    <a:pt x="372" y="672"/>
                  </a:lnTo>
                  <a:lnTo>
                    <a:pt x="378" y="672"/>
                  </a:lnTo>
                  <a:lnTo>
                    <a:pt x="378" y="678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54" y="666"/>
                  </a:lnTo>
                  <a:lnTo>
                    <a:pt x="354" y="660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0" y="654"/>
                  </a:lnTo>
                  <a:lnTo>
                    <a:pt x="324" y="648"/>
                  </a:lnTo>
                  <a:lnTo>
                    <a:pt x="318" y="648"/>
                  </a:lnTo>
                  <a:lnTo>
                    <a:pt x="318" y="642"/>
                  </a:lnTo>
                  <a:lnTo>
                    <a:pt x="312" y="642"/>
                  </a:lnTo>
                  <a:lnTo>
                    <a:pt x="306" y="636"/>
                  </a:lnTo>
                  <a:lnTo>
                    <a:pt x="300" y="636"/>
                  </a:lnTo>
                  <a:lnTo>
                    <a:pt x="300" y="630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0" y="618"/>
                  </a:lnTo>
                  <a:lnTo>
                    <a:pt x="306" y="612"/>
                  </a:lnTo>
                  <a:lnTo>
                    <a:pt x="300" y="612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294" y="612"/>
                  </a:lnTo>
                  <a:lnTo>
                    <a:pt x="288" y="618"/>
                  </a:lnTo>
                  <a:lnTo>
                    <a:pt x="288" y="612"/>
                  </a:lnTo>
                  <a:lnTo>
                    <a:pt x="288" y="618"/>
                  </a:lnTo>
                  <a:lnTo>
                    <a:pt x="294" y="618"/>
                  </a:lnTo>
                  <a:lnTo>
                    <a:pt x="300" y="624"/>
                  </a:lnTo>
                  <a:lnTo>
                    <a:pt x="294" y="624"/>
                  </a:lnTo>
                  <a:lnTo>
                    <a:pt x="288" y="624"/>
                  </a:lnTo>
                  <a:lnTo>
                    <a:pt x="282" y="61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70" y="600"/>
                  </a:lnTo>
                  <a:lnTo>
                    <a:pt x="270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82" y="588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594"/>
                  </a:lnTo>
                  <a:lnTo>
                    <a:pt x="264" y="600"/>
                  </a:lnTo>
                  <a:lnTo>
                    <a:pt x="264" y="594"/>
                  </a:lnTo>
                  <a:lnTo>
                    <a:pt x="270" y="594"/>
                  </a:lnTo>
                  <a:lnTo>
                    <a:pt x="270" y="588"/>
                  </a:lnTo>
                  <a:lnTo>
                    <a:pt x="264" y="594"/>
                  </a:lnTo>
                  <a:lnTo>
                    <a:pt x="258" y="594"/>
                  </a:lnTo>
                  <a:lnTo>
                    <a:pt x="258" y="588"/>
                  </a:lnTo>
                  <a:lnTo>
                    <a:pt x="252" y="588"/>
                  </a:lnTo>
                  <a:lnTo>
                    <a:pt x="246" y="588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52" y="588"/>
                  </a:lnTo>
                  <a:lnTo>
                    <a:pt x="252" y="594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46" y="594"/>
                  </a:lnTo>
                  <a:lnTo>
                    <a:pt x="246" y="588"/>
                  </a:lnTo>
                  <a:lnTo>
                    <a:pt x="240" y="588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2" y="570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64"/>
                  </a:lnTo>
                  <a:lnTo>
                    <a:pt x="234" y="564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34" y="558"/>
                  </a:lnTo>
                  <a:lnTo>
                    <a:pt x="228" y="558"/>
                  </a:lnTo>
                  <a:lnTo>
                    <a:pt x="222" y="558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2" y="564"/>
                  </a:lnTo>
                  <a:lnTo>
                    <a:pt x="222" y="558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04" y="546"/>
                  </a:lnTo>
                  <a:lnTo>
                    <a:pt x="204" y="540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10" y="540"/>
                  </a:lnTo>
                  <a:lnTo>
                    <a:pt x="210" y="534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8"/>
                  </a:lnTo>
                  <a:lnTo>
                    <a:pt x="174" y="516"/>
                  </a:lnTo>
                  <a:lnTo>
                    <a:pt x="168" y="510"/>
                  </a:lnTo>
                  <a:lnTo>
                    <a:pt x="162" y="504"/>
                  </a:lnTo>
                  <a:lnTo>
                    <a:pt x="156" y="498"/>
                  </a:lnTo>
                  <a:lnTo>
                    <a:pt x="156" y="492"/>
                  </a:lnTo>
                  <a:lnTo>
                    <a:pt x="150" y="486"/>
                  </a:lnTo>
                  <a:lnTo>
                    <a:pt x="144" y="480"/>
                  </a:lnTo>
                  <a:lnTo>
                    <a:pt x="144" y="474"/>
                  </a:lnTo>
                  <a:lnTo>
                    <a:pt x="138" y="474"/>
                  </a:lnTo>
                  <a:lnTo>
                    <a:pt x="138" y="468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26" y="450"/>
                  </a:lnTo>
                  <a:lnTo>
                    <a:pt x="126" y="444"/>
                  </a:lnTo>
                  <a:lnTo>
                    <a:pt x="114" y="438"/>
                  </a:lnTo>
                  <a:lnTo>
                    <a:pt x="114" y="432"/>
                  </a:lnTo>
                  <a:lnTo>
                    <a:pt x="114" y="426"/>
                  </a:lnTo>
                  <a:lnTo>
                    <a:pt x="114" y="432"/>
                  </a:lnTo>
                  <a:lnTo>
                    <a:pt x="120" y="432"/>
                  </a:lnTo>
                  <a:lnTo>
                    <a:pt x="120" y="438"/>
                  </a:lnTo>
                  <a:lnTo>
                    <a:pt x="120" y="444"/>
                  </a:lnTo>
                  <a:lnTo>
                    <a:pt x="126" y="444"/>
                  </a:lnTo>
                  <a:lnTo>
                    <a:pt x="126" y="438"/>
                  </a:lnTo>
                  <a:lnTo>
                    <a:pt x="120" y="438"/>
                  </a:lnTo>
                  <a:lnTo>
                    <a:pt x="126" y="432"/>
                  </a:lnTo>
                  <a:lnTo>
                    <a:pt x="126" y="426"/>
                  </a:lnTo>
                  <a:lnTo>
                    <a:pt x="132" y="420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08" y="414"/>
                  </a:lnTo>
                  <a:lnTo>
                    <a:pt x="102" y="414"/>
                  </a:lnTo>
                  <a:lnTo>
                    <a:pt x="102" y="408"/>
                  </a:lnTo>
                  <a:lnTo>
                    <a:pt x="96" y="402"/>
                  </a:lnTo>
                  <a:lnTo>
                    <a:pt x="96" y="396"/>
                  </a:lnTo>
                  <a:lnTo>
                    <a:pt x="96" y="390"/>
                  </a:lnTo>
                  <a:lnTo>
                    <a:pt x="90" y="390"/>
                  </a:lnTo>
                  <a:lnTo>
                    <a:pt x="90" y="384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78" y="372"/>
                  </a:lnTo>
                  <a:lnTo>
                    <a:pt x="78" y="366"/>
                  </a:lnTo>
                  <a:lnTo>
                    <a:pt x="78" y="360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6" y="348"/>
                  </a:lnTo>
                  <a:lnTo>
                    <a:pt x="66" y="342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6" y="336"/>
                  </a:lnTo>
                  <a:lnTo>
                    <a:pt x="66" y="342"/>
                  </a:lnTo>
                  <a:lnTo>
                    <a:pt x="72" y="348"/>
                  </a:lnTo>
                  <a:lnTo>
                    <a:pt x="78" y="354"/>
                  </a:lnTo>
                  <a:lnTo>
                    <a:pt x="84" y="360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0" y="360"/>
                  </a:lnTo>
                  <a:lnTo>
                    <a:pt x="84" y="360"/>
                  </a:lnTo>
                  <a:lnTo>
                    <a:pt x="84" y="354"/>
                  </a:lnTo>
                  <a:lnTo>
                    <a:pt x="78" y="348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66" y="330"/>
                  </a:lnTo>
                  <a:lnTo>
                    <a:pt x="66" y="324"/>
                  </a:lnTo>
                  <a:lnTo>
                    <a:pt x="60" y="318"/>
                  </a:lnTo>
                  <a:lnTo>
                    <a:pt x="60" y="312"/>
                  </a:lnTo>
                  <a:lnTo>
                    <a:pt x="54" y="306"/>
                  </a:lnTo>
                  <a:lnTo>
                    <a:pt x="54" y="300"/>
                  </a:lnTo>
                  <a:lnTo>
                    <a:pt x="54" y="294"/>
                  </a:lnTo>
                  <a:lnTo>
                    <a:pt x="48" y="288"/>
                  </a:lnTo>
                  <a:lnTo>
                    <a:pt x="48" y="294"/>
                  </a:lnTo>
                  <a:lnTo>
                    <a:pt x="48" y="288"/>
                  </a:lnTo>
                  <a:lnTo>
                    <a:pt x="48" y="282"/>
                  </a:lnTo>
                  <a:lnTo>
                    <a:pt x="48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18" y="216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62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68"/>
                  </a:lnTo>
                  <a:lnTo>
                    <a:pt x="42" y="168"/>
                  </a:lnTo>
                  <a:lnTo>
                    <a:pt x="42" y="174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86"/>
                  </a:lnTo>
                  <a:close/>
                  <a:moveTo>
                    <a:pt x="642" y="660"/>
                  </a:moveTo>
                  <a:lnTo>
                    <a:pt x="642" y="666"/>
                  </a:lnTo>
                  <a:lnTo>
                    <a:pt x="648" y="666"/>
                  </a:lnTo>
                  <a:lnTo>
                    <a:pt x="648" y="672"/>
                  </a:lnTo>
                  <a:lnTo>
                    <a:pt x="648" y="678"/>
                  </a:lnTo>
                  <a:lnTo>
                    <a:pt x="654" y="678"/>
                  </a:lnTo>
                  <a:lnTo>
                    <a:pt x="654" y="684"/>
                  </a:lnTo>
                  <a:lnTo>
                    <a:pt x="660" y="684"/>
                  </a:lnTo>
                  <a:lnTo>
                    <a:pt x="660" y="690"/>
                  </a:lnTo>
                  <a:lnTo>
                    <a:pt x="654" y="690"/>
                  </a:lnTo>
                  <a:lnTo>
                    <a:pt x="648" y="690"/>
                  </a:lnTo>
                  <a:lnTo>
                    <a:pt x="636" y="696"/>
                  </a:lnTo>
                  <a:lnTo>
                    <a:pt x="630" y="696"/>
                  </a:lnTo>
                  <a:lnTo>
                    <a:pt x="624" y="696"/>
                  </a:lnTo>
                  <a:lnTo>
                    <a:pt x="618" y="696"/>
                  </a:lnTo>
                  <a:lnTo>
                    <a:pt x="612" y="696"/>
                  </a:lnTo>
                  <a:lnTo>
                    <a:pt x="594" y="696"/>
                  </a:lnTo>
                  <a:lnTo>
                    <a:pt x="588" y="696"/>
                  </a:lnTo>
                  <a:lnTo>
                    <a:pt x="582" y="696"/>
                  </a:lnTo>
                  <a:lnTo>
                    <a:pt x="570" y="702"/>
                  </a:lnTo>
                  <a:lnTo>
                    <a:pt x="564" y="702"/>
                  </a:lnTo>
                  <a:lnTo>
                    <a:pt x="558" y="702"/>
                  </a:lnTo>
                  <a:lnTo>
                    <a:pt x="552" y="702"/>
                  </a:lnTo>
                  <a:lnTo>
                    <a:pt x="552" y="696"/>
                  </a:lnTo>
                  <a:lnTo>
                    <a:pt x="546" y="696"/>
                  </a:lnTo>
                  <a:lnTo>
                    <a:pt x="546" y="690"/>
                  </a:lnTo>
                  <a:lnTo>
                    <a:pt x="552" y="684"/>
                  </a:lnTo>
                  <a:lnTo>
                    <a:pt x="552" y="678"/>
                  </a:lnTo>
                  <a:lnTo>
                    <a:pt x="558" y="672"/>
                  </a:lnTo>
                  <a:lnTo>
                    <a:pt x="558" y="666"/>
                  </a:lnTo>
                  <a:lnTo>
                    <a:pt x="564" y="666"/>
                  </a:lnTo>
                  <a:lnTo>
                    <a:pt x="570" y="666"/>
                  </a:lnTo>
                  <a:lnTo>
                    <a:pt x="570" y="654"/>
                  </a:lnTo>
                  <a:lnTo>
                    <a:pt x="570" y="648"/>
                  </a:lnTo>
                  <a:lnTo>
                    <a:pt x="582" y="642"/>
                  </a:lnTo>
                  <a:lnTo>
                    <a:pt x="582" y="636"/>
                  </a:lnTo>
                  <a:lnTo>
                    <a:pt x="588" y="636"/>
                  </a:lnTo>
                  <a:lnTo>
                    <a:pt x="588" y="630"/>
                  </a:lnTo>
                  <a:lnTo>
                    <a:pt x="594" y="624"/>
                  </a:lnTo>
                  <a:lnTo>
                    <a:pt x="594" y="618"/>
                  </a:lnTo>
                  <a:lnTo>
                    <a:pt x="600" y="618"/>
                  </a:lnTo>
                  <a:lnTo>
                    <a:pt x="600" y="612"/>
                  </a:lnTo>
                  <a:lnTo>
                    <a:pt x="606" y="612"/>
                  </a:lnTo>
                  <a:lnTo>
                    <a:pt x="606" y="618"/>
                  </a:lnTo>
                  <a:lnTo>
                    <a:pt x="612" y="618"/>
                  </a:lnTo>
                  <a:lnTo>
                    <a:pt x="618" y="618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18" y="636"/>
                  </a:lnTo>
                  <a:lnTo>
                    <a:pt x="618" y="642"/>
                  </a:lnTo>
                  <a:lnTo>
                    <a:pt x="618" y="648"/>
                  </a:lnTo>
                  <a:lnTo>
                    <a:pt x="624" y="648"/>
                  </a:lnTo>
                  <a:lnTo>
                    <a:pt x="630" y="648"/>
                  </a:lnTo>
                  <a:lnTo>
                    <a:pt x="636" y="654"/>
                  </a:lnTo>
                  <a:lnTo>
                    <a:pt x="642" y="654"/>
                  </a:lnTo>
                  <a:lnTo>
                    <a:pt x="642" y="66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0" name="Freeform 5">
              <a:extLst>
                <a:ext uri="{FF2B5EF4-FFF2-40B4-BE49-F238E27FC236}">
                  <a16:creationId xmlns:a16="http://schemas.microsoft.com/office/drawing/2014/main" id="{5577BDCA-F2C7-42E0-A391-018D79AA29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0384" y="4231013"/>
              <a:ext cx="404750" cy="480848"/>
            </a:xfrm>
            <a:custGeom>
              <a:avLst/>
              <a:gdLst>
                <a:gd name="T0" fmla="*/ 9 w 762"/>
                <a:gd name="T1" fmla="*/ 58 h 900"/>
                <a:gd name="T2" fmla="*/ 4 w 762"/>
                <a:gd name="T3" fmla="*/ 56 h 900"/>
                <a:gd name="T4" fmla="*/ 0 w 762"/>
                <a:gd name="T5" fmla="*/ 49 h 900"/>
                <a:gd name="T6" fmla="*/ 4 w 762"/>
                <a:gd name="T7" fmla="*/ 36 h 900"/>
                <a:gd name="T8" fmla="*/ 8 w 762"/>
                <a:gd name="T9" fmla="*/ 28 h 900"/>
                <a:gd name="T10" fmla="*/ 7 w 762"/>
                <a:gd name="T11" fmla="*/ 13 h 900"/>
                <a:gd name="T12" fmla="*/ 15 w 762"/>
                <a:gd name="T13" fmla="*/ 0 h 900"/>
                <a:gd name="T14" fmla="*/ 16 w 762"/>
                <a:gd name="T15" fmla="*/ 13 h 900"/>
                <a:gd name="T16" fmla="*/ 31 w 762"/>
                <a:gd name="T17" fmla="*/ 28 h 900"/>
                <a:gd name="T18" fmla="*/ 49 w 762"/>
                <a:gd name="T19" fmla="*/ 33 h 900"/>
                <a:gd name="T20" fmla="*/ 42 w 762"/>
                <a:gd name="T21" fmla="*/ 48 h 900"/>
                <a:gd name="T22" fmla="*/ 51 w 762"/>
                <a:gd name="T23" fmla="*/ 48 h 900"/>
                <a:gd name="T24" fmla="*/ 61 w 762"/>
                <a:gd name="T25" fmla="*/ 51 h 900"/>
                <a:gd name="T26" fmla="*/ 63 w 762"/>
                <a:gd name="T27" fmla="*/ 60 h 900"/>
                <a:gd name="T28" fmla="*/ 63 w 762"/>
                <a:gd name="T29" fmla="*/ 66 h 900"/>
                <a:gd name="T30" fmla="*/ 65 w 762"/>
                <a:gd name="T31" fmla="*/ 69 h 900"/>
                <a:gd name="T32" fmla="*/ 66 w 762"/>
                <a:gd name="T33" fmla="*/ 72 h 900"/>
                <a:gd name="T34" fmla="*/ 56 w 762"/>
                <a:gd name="T35" fmla="*/ 73 h 900"/>
                <a:gd name="T36" fmla="*/ 55 w 762"/>
                <a:gd name="T37" fmla="*/ 69 h 900"/>
                <a:gd name="T38" fmla="*/ 57 w 762"/>
                <a:gd name="T39" fmla="*/ 67 h 900"/>
                <a:gd name="T40" fmla="*/ 55 w 762"/>
                <a:gd name="T41" fmla="*/ 65 h 900"/>
                <a:gd name="T42" fmla="*/ 53 w 762"/>
                <a:gd name="T43" fmla="*/ 68 h 900"/>
                <a:gd name="T44" fmla="*/ 49 w 762"/>
                <a:gd name="T45" fmla="*/ 68 h 900"/>
                <a:gd name="T46" fmla="*/ 44 w 762"/>
                <a:gd name="T47" fmla="*/ 63 h 900"/>
                <a:gd name="T48" fmla="*/ 40 w 762"/>
                <a:gd name="T49" fmla="*/ 59 h 900"/>
                <a:gd name="T50" fmla="*/ 38 w 762"/>
                <a:gd name="T51" fmla="*/ 57 h 900"/>
                <a:gd name="T52" fmla="*/ 43 w 762"/>
                <a:gd name="T53" fmla="*/ 62 h 900"/>
                <a:gd name="T54" fmla="*/ 43 w 762"/>
                <a:gd name="T55" fmla="*/ 66 h 900"/>
                <a:gd name="T56" fmla="*/ 41 w 762"/>
                <a:gd name="T57" fmla="*/ 71 h 900"/>
                <a:gd name="T58" fmla="*/ 37 w 762"/>
                <a:gd name="T59" fmla="*/ 69 h 900"/>
                <a:gd name="T60" fmla="*/ 35 w 762"/>
                <a:gd name="T61" fmla="*/ 64 h 900"/>
                <a:gd name="T62" fmla="*/ 31 w 762"/>
                <a:gd name="T63" fmla="*/ 57 h 900"/>
                <a:gd name="T64" fmla="*/ 30 w 762"/>
                <a:gd name="T65" fmla="*/ 62 h 900"/>
                <a:gd name="T66" fmla="*/ 29 w 762"/>
                <a:gd name="T67" fmla="*/ 61 h 900"/>
                <a:gd name="T68" fmla="*/ 31 w 762"/>
                <a:gd name="T69" fmla="*/ 66 h 900"/>
                <a:gd name="T70" fmla="*/ 33 w 762"/>
                <a:gd name="T71" fmla="*/ 72 h 900"/>
                <a:gd name="T72" fmla="*/ 32 w 762"/>
                <a:gd name="T73" fmla="*/ 76 h 900"/>
                <a:gd name="T74" fmla="*/ 28 w 762"/>
                <a:gd name="T75" fmla="*/ 75 h 900"/>
                <a:gd name="T76" fmla="*/ 24 w 762"/>
                <a:gd name="T77" fmla="*/ 69 h 900"/>
                <a:gd name="T78" fmla="*/ 24 w 762"/>
                <a:gd name="T79" fmla="*/ 62 h 900"/>
                <a:gd name="T80" fmla="*/ 23 w 762"/>
                <a:gd name="T81" fmla="*/ 62 h 900"/>
                <a:gd name="T82" fmla="*/ 23 w 762"/>
                <a:gd name="T83" fmla="*/ 68 h 900"/>
                <a:gd name="T84" fmla="*/ 25 w 762"/>
                <a:gd name="T85" fmla="*/ 77 h 900"/>
                <a:gd name="T86" fmla="*/ 17 w 762"/>
                <a:gd name="T87" fmla="*/ 74 h 900"/>
                <a:gd name="T88" fmla="*/ 17 w 762"/>
                <a:gd name="T89" fmla="*/ 67 h 900"/>
                <a:gd name="T90" fmla="*/ 16 w 762"/>
                <a:gd name="T91" fmla="*/ 67 h 900"/>
                <a:gd name="T92" fmla="*/ 15 w 762"/>
                <a:gd name="T93" fmla="*/ 71 h 900"/>
                <a:gd name="T94" fmla="*/ 12 w 762"/>
                <a:gd name="T95" fmla="*/ 68 h 900"/>
                <a:gd name="T96" fmla="*/ 15 w 762"/>
                <a:gd name="T97" fmla="*/ 72 h 900"/>
                <a:gd name="T98" fmla="*/ 17 w 762"/>
                <a:gd name="T99" fmla="*/ 77 h 900"/>
                <a:gd name="T100" fmla="*/ 11 w 762"/>
                <a:gd name="T101" fmla="*/ 77 h 900"/>
                <a:gd name="T102" fmla="*/ 10 w 762"/>
                <a:gd name="T103" fmla="*/ 69 h 900"/>
                <a:gd name="T104" fmla="*/ 11 w 762"/>
                <a:gd name="T105" fmla="*/ 72 h 900"/>
                <a:gd name="T106" fmla="*/ 9 w 762"/>
                <a:gd name="T107" fmla="*/ 78 h 900"/>
                <a:gd name="T108" fmla="*/ 43 w 762"/>
                <a:gd name="T109" fmla="*/ 71 h 900"/>
                <a:gd name="T110" fmla="*/ 51 w 762"/>
                <a:gd name="T111" fmla="*/ 69 h 900"/>
                <a:gd name="T112" fmla="*/ 43 w 762"/>
                <a:gd name="T113" fmla="*/ 76 h 900"/>
                <a:gd name="T114" fmla="*/ 36 w 762"/>
                <a:gd name="T115" fmla="*/ 65 h 900"/>
                <a:gd name="T116" fmla="*/ 38 w 762"/>
                <a:gd name="T117" fmla="*/ 72 h 900"/>
                <a:gd name="T118" fmla="*/ 34 w 762"/>
                <a:gd name="T119" fmla="*/ 69 h 900"/>
                <a:gd name="T120" fmla="*/ 29 w 762"/>
                <a:gd name="T121" fmla="*/ 64 h 900"/>
                <a:gd name="T122" fmla="*/ 32 w 762"/>
                <a:gd name="T123" fmla="*/ 66 h 9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900"/>
                <a:gd name="T188" fmla="*/ 762 w 762"/>
                <a:gd name="T189" fmla="*/ 900 h 90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900">
                  <a:moveTo>
                    <a:pt x="90" y="768"/>
                  </a:moveTo>
                  <a:lnTo>
                    <a:pt x="102" y="756"/>
                  </a:lnTo>
                  <a:lnTo>
                    <a:pt x="102" y="750"/>
                  </a:lnTo>
                  <a:lnTo>
                    <a:pt x="90" y="744"/>
                  </a:lnTo>
                  <a:lnTo>
                    <a:pt x="84" y="738"/>
                  </a:lnTo>
                  <a:lnTo>
                    <a:pt x="90" y="726"/>
                  </a:lnTo>
                  <a:lnTo>
                    <a:pt x="84" y="720"/>
                  </a:lnTo>
                  <a:lnTo>
                    <a:pt x="78" y="720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72" y="702"/>
                  </a:lnTo>
                  <a:lnTo>
                    <a:pt x="72" y="696"/>
                  </a:lnTo>
                  <a:lnTo>
                    <a:pt x="84" y="684"/>
                  </a:lnTo>
                  <a:lnTo>
                    <a:pt x="96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102" y="654"/>
                  </a:lnTo>
                  <a:lnTo>
                    <a:pt x="108" y="654"/>
                  </a:lnTo>
                  <a:lnTo>
                    <a:pt x="114" y="648"/>
                  </a:lnTo>
                  <a:lnTo>
                    <a:pt x="120" y="642"/>
                  </a:lnTo>
                  <a:lnTo>
                    <a:pt x="120" y="636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14" y="618"/>
                  </a:lnTo>
                  <a:lnTo>
                    <a:pt x="102" y="618"/>
                  </a:lnTo>
                  <a:lnTo>
                    <a:pt x="90" y="618"/>
                  </a:lnTo>
                  <a:lnTo>
                    <a:pt x="78" y="624"/>
                  </a:lnTo>
                  <a:lnTo>
                    <a:pt x="72" y="630"/>
                  </a:lnTo>
                  <a:lnTo>
                    <a:pt x="54" y="642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42" y="642"/>
                  </a:lnTo>
                  <a:lnTo>
                    <a:pt x="42" y="636"/>
                  </a:lnTo>
                  <a:lnTo>
                    <a:pt x="36" y="636"/>
                  </a:lnTo>
                  <a:lnTo>
                    <a:pt x="30" y="642"/>
                  </a:lnTo>
                  <a:lnTo>
                    <a:pt x="30" y="636"/>
                  </a:lnTo>
                  <a:lnTo>
                    <a:pt x="30" y="630"/>
                  </a:lnTo>
                  <a:lnTo>
                    <a:pt x="24" y="630"/>
                  </a:lnTo>
                  <a:lnTo>
                    <a:pt x="30" y="624"/>
                  </a:lnTo>
                  <a:lnTo>
                    <a:pt x="30" y="618"/>
                  </a:lnTo>
                  <a:lnTo>
                    <a:pt x="30" y="612"/>
                  </a:lnTo>
                  <a:lnTo>
                    <a:pt x="36" y="612"/>
                  </a:lnTo>
                  <a:lnTo>
                    <a:pt x="36" y="606"/>
                  </a:lnTo>
                  <a:lnTo>
                    <a:pt x="30" y="606"/>
                  </a:lnTo>
                  <a:lnTo>
                    <a:pt x="24" y="612"/>
                  </a:lnTo>
                  <a:lnTo>
                    <a:pt x="18" y="606"/>
                  </a:lnTo>
                  <a:lnTo>
                    <a:pt x="12" y="594"/>
                  </a:lnTo>
                  <a:lnTo>
                    <a:pt x="6" y="582"/>
                  </a:lnTo>
                  <a:lnTo>
                    <a:pt x="6" y="570"/>
                  </a:lnTo>
                  <a:lnTo>
                    <a:pt x="0" y="558"/>
                  </a:lnTo>
                  <a:lnTo>
                    <a:pt x="6" y="552"/>
                  </a:lnTo>
                  <a:lnTo>
                    <a:pt x="6" y="534"/>
                  </a:lnTo>
                  <a:lnTo>
                    <a:pt x="18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12" y="480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54" y="408"/>
                  </a:lnTo>
                  <a:lnTo>
                    <a:pt x="54" y="396"/>
                  </a:lnTo>
                  <a:lnTo>
                    <a:pt x="54" y="384"/>
                  </a:lnTo>
                  <a:lnTo>
                    <a:pt x="60" y="378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66"/>
                  </a:lnTo>
                  <a:lnTo>
                    <a:pt x="60" y="360"/>
                  </a:lnTo>
                  <a:lnTo>
                    <a:pt x="66" y="360"/>
                  </a:lnTo>
                  <a:lnTo>
                    <a:pt x="72" y="354"/>
                  </a:lnTo>
                  <a:lnTo>
                    <a:pt x="78" y="354"/>
                  </a:lnTo>
                  <a:lnTo>
                    <a:pt x="84" y="348"/>
                  </a:lnTo>
                  <a:lnTo>
                    <a:pt x="96" y="348"/>
                  </a:lnTo>
                  <a:lnTo>
                    <a:pt x="96" y="342"/>
                  </a:lnTo>
                  <a:lnTo>
                    <a:pt x="96" y="336"/>
                  </a:lnTo>
                  <a:lnTo>
                    <a:pt x="96" y="330"/>
                  </a:lnTo>
                  <a:lnTo>
                    <a:pt x="96" y="324"/>
                  </a:lnTo>
                  <a:lnTo>
                    <a:pt x="102" y="318"/>
                  </a:lnTo>
                  <a:lnTo>
                    <a:pt x="108" y="312"/>
                  </a:lnTo>
                  <a:lnTo>
                    <a:pt x="96" y="306"/>
                  </a:lnTo>
                  <a:lnTo>
                    <a:pt x="84" y="288"/>
                  </a:lnTo>
                  <a:lnTo>
                    <a:pt x="108" y="258"/>
                  </a:lnTo>
                  <a:lnTo>
                    <a:pt x="102" y="222"/>
                  </a:lnTo>
                  <a:lnTo>
                    <a:pt x="84" y="222"/>
                  </a:lnTo>
                  <a:lnTo>
                    <a:pt x="54" y="216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2"/>
                  </a:lnTo>
                  <a:lnTo>
                    <a:pt x="72" y="192"/>
                  </a:lnTo>
                  <a:lnTo>
                    <a:pt x="84" y="186"/>
                  </a:lnTo>
                  <a:lnTo>
                    <a:pt x="90" y="186"/>
                  </a:lnTo>
                  <a:lnTo>
                    <a:pt x="90" y="174"/>
                  </a:lnTo>
                  <a:lnTo>
                    <a:pt x="84" y="162"/>
                  </a:lnTo>
                  <a:lnTo>
                    <a:pt x="84" y="150"/>
                  </a:lnTo>
                  <a:lnTo>
                    <a:pt x="84" y="126"/>
                  </a:lnTo>
                  <a:lnTo>
                    <a:pt x="84" y="114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8" y="96"/>
                  </a:lnTo>
                  <a:lnTo>
                    <a:pt x="120" y="90"/>
                  </a:lnTo>
                  <a:lnTo>
                    <a:pt x="126" y="78"/>
                  </a:lnTo>
                  <a:lnTo>
                    <a:pt x="138" y="66"/>
                  </a:lnTo>
                  <a:lnTo>
                    <a:pt x="138" y="48"/>
                  </a:lnTo>
                  <a:lnTo>
                    <a:pt x="138" y="42"/>
                  </a:lnTo>
                  <a:lnTo>
                    <a:pt x="126" y="30"/>
                  </a:lnTo>
                  <a:lnTo>
                    <a:pt x="120" y="18"/>
                  </a:lnTo>
                  <a:lnTo>
                    <a:pt x="132" y="12"/>
                  </a:lnTo>
                  <a:lnTo>
                    <a:pt x="144" y="0"/>
                  </a:lnTo>
                  <a:lnTo>
                    <a:pt x="150" y="6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6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74" y="66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68" y="72"/>
                  </a:lnTo>
                  <a:lnTo>
                    <a:pt x="156" y="150"/>
                  </a:lnTo>
                  <a:lnTo>
                    <a:pt x="168" y="144"/>
                  </a:lnTo>
                  <a:lnTo>
                    <a:pt x="180" y="150"/>
                  </a:lnTo>
                  <a:lnTo>
                    <a:pt x="186" y="150"/>
                  </a:lnTo>
                  <a:lnTo>
                    <a:pt x="186" y="144"/>
                  </a:lnTo>
                  <a:lnTo>
                    <a:pt x="192" y="150"/>
                  </a:lnTo>
                  <a:lnTo>
                    <a:pt x="222" y="150"/>
                  </a:lnTo>
                  <a:lnTo>
                    <a:pt x="222" y="168"/>
                  </a:lnTo>
                  <a:lnTo>
                    <a:pt x="222" y="186"/>
                  </a:lnTo>
                  <a:lnTo>
                    <a:pt x="234" y="198"/>
                  </a:lnTo>
                  <a:lnTo>
                    <a:pt x="234" y="234"/>
                  </a:lnTo>
                  <a:lnTo>
                    <a:pt x="228" y="270"/>
                  </a:lnTo>
                  <a:lnTo>
                    <a:pt x="246" y="282"/>
                  </a:lnTo>
                  <a:lnTo>
                    <a:pt x="258" y="294"/>
                  </a:lnTo>
                  <a:lnTo>
                    <a:pt x="270" y="300"/>
                  </a:lnTo>
                  <a:lnTo>
                    <a:pt x="294" y="300"/>
                  </a:lnTo>
                  <a:lnTo>
                    <a:pt x="288" y="306"/>
                  </a:lnTo>
                  <a:lnTo>
                    <a:pt x="300" y="312"/>
                  </a:lnTo>
                  <a:lnTo>
                    <a:pt x="306" y="318"/>
                  </a:lnTo>
                  <a:lnTo>
                    <a:pt x="324" y="324"/>
                  </a:lnTo>
                  <a:lnTo>
                    <a:pt x="354" y="318"/>
                  </a:lnTo>
                  <a:lnTo>
                    <a:pt x="354" y="312"/>
                  </a:lnTo>
                  <a:lnTo>
                    <a:pt x="366" y="312"/>
                  </a:lnTo>
                  <a:lnTo>
                    <a:pt x="384" y="312"/>
                  </a:lnTo>
                  <a:lnTo>
                    <a:pt x="390" y="306"/>
                  </a:lnTo>
                  <a:lnTo>
                    <a:pt x="396" y="306"/>
                  </a:lnTo>
                  <a:lnTo>
                    <a:pt x="408" y="306"/>
                  </a:lnTo>
                  <a:lnTo>
                    <a:pt x="426" y="312"/>
                  </a:lnTo>
                  <a:lnTo>
                    <a:pt x="456" y="324"/>
                  </a:lnTo>
                  <a:lnTo>
                    <a:pt x="504" y="330"/>
                  </a:lnTo>
                  <a:lnTo>
                    <a:pt x="510" y="336"/>
                  </a:lnTo>
                  <a:lnTo>
                    <a:pt x="534" y="336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58" y="330"/>
                  </a:lnTo>
                  <a:lnTo>
                    <a:pt x="564" y="330"/>
                  </a:lnTo>
                  <a:lnTo>
                    <a:pt x="570" y="354"/>
                  </a:lnTo>
                  <a:lnTo>
                    <a:pt x="564" y="378"/>
                  </a:lnTo>
                  <a:lnTo>
                    <a:pt x="558" y="396"/>
                  </a:lnTo>
                  <a:lnTo>
                    <a:pt x="546" y="414"/>
                  </a:lnTo>
                  <a:lnTo>
                    <a:pt x="546" y="438"/>
                  </a:lnTo>
                  <a:lnTo>
                    <a:pt x="540" y="456"/>
                  </a:lnTo>
                  <a:lnTo>
                    <a:pt x="540" y="474"/>
                  </a:lnTo>
                  <a:lnTo>
                    <a:pt x="528" y="480"/>
                  </a:lnTo>
                  <a:lnTo>
                    <a:pt x="522" y="492"/>
                  </a:lnTo>
                  <a:lnTo>
                    <a:pt x="504" y="498"/>
                  </a:lnTo>
                  <a:lnTo>
                    <a:pt x="498" y="498"/>
                  </a:lnTo>
                  <a:lnTo>
                    <a:pt x="492" y="504"/>
                  </a:lnTo>
                  <a:lnTo>
                    <a:pt x="486" y="510"/>
                  </a:lnTo>
                  <a:lnTo>
                    <a:pt x="480" y="510"/>
                  </a:lnTo>
                  <a:lnTo>
                    <a:pt x="480" y="516"/>
                  </a:lnTo>
                  <a:lnTo>
                    <a:pt x="474" y="522"/>
                  </a:lnTo>
                  <a:lnTo>
                    <a:pt x="474" y="528"/>
                  </a:lnTo>
                  <a:lnTo>
                    <a:pt x="474" y="534"/>
                  </a:lnTo>
                  <a:lnTo>
                    <a:pt x="480" y="540"/>
                  </a:lnTo>
                  <a:lnTo>
                    <a:pt x="492" y="540"/>
                  </a:lnTo>
                  <a:lnTo>
                    <a:pt x="498" y="546"/>
                  </a:lnTo>
                  <a:lnTo>
                    <a:pt x="504" y="552"/>
                  </a:lnTo>
                  <a:lnTo>
                    <a:pt x="510" y="552"/>
                  </a:lnTo>
                  <a:lnTo>
                    <a:pt x="516" y="558"/>
                  </a:lnTo>
                  <a:lnTo>
                    <a:pt x="528" y="558"/>
                  </a:lnTo>
                  <a:lnTo>
                    <a:pt x="534" y="552"/>
                  </a:lnTo>
                  <a:lnTo>
                    <a:pt x="540" y="552"/>
                  </a:lnTo>
                  <a:lnTo>
                    <a:pt x="546" y="552"/>
                  </a:lnTo>
                  <a:lnTo>
                    <a:pt x="558" y="546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70" y="546"/>
                  </a:lnTo>
                  <a:lnTo>
                    <a:pt x="570" y="540"/>
                  </a:lnTo>
                  <a:lnTo>
                    <a:pt x="570" y="546"/>
                  </a:lnTo>
                  <a:lnTo>
                    <a:pt x="576" y="546"/>
                  </a:lnTo>
                  <a:lnTo>
                    <a:pt x="582" y="546"/>
                  </a:lnTo>
                  <a:lnTo>
                    <a:pt x="588" y="540"/>
                  </a:lnTo>
                  <a:lnTo>
                    <a:pt x="594" y="546"/>
                  </a:lnTo>
                  <a:lnTo>
                    <a:pt x="606" y="546"/>
                  </a:lnTo>
                  <a:lnTo>
                    <a:pt x="612" y="546"/>
                  </a:lnTo>
                  <a:lnTo>
                    <a:pt x="612" y="552"/>
                  </a:lnTo>
                  <a:lnTo>
                    <a:pt x="618" y="552"/>
                  </a:lnTo>
                  <a:lnTo>
                    <a:pt x="624" y="552"/>
                  </a:lnTo>
                  <a:lnTo>
                    <a:pt x="630" y="552"/>
                  </a:lnTo>
                  <a:lnTo>
                    <a:pt x="648" y="546"/>
                  </a:lnTo>
                  <a:lnTo>
                    <a:pt x="654" y="546"/>
                  </a:lnTo>
                  <a:lnTo>
                    <a:pt x="654" y="552"/>
                  </a:lnTo>
                  <a:lnTo>
                    <a:pt x="660" y="558"/>
                  </a:lnTo>
                  <a:lnTo>
                    <a:pt x="666" y="564"/>
                  </a:lnTo>
                  <a:lnTo>
                    <a:pt x="672" y="564"/>
                  </a:lnTo>
                  <a:lnTo>
                    <a:pt x="678" y="564"/>
                  </a:lnTo>
                  <a:lnTo>
                    <a:pt x="696" y="576"/>
                  </a:lnTo>
                  <a:lnTo>
                    <a:pt x="696" y="582"/>
                  </a:lnTo>
                  <a:lnTo>
                    <a:pt x="708" y="588"/>
                  </a:lnTo>
                  <a:lnTo>
                    <a:pt x="708" y="594"/>
                  </a:lnTo>
                  <a:lnTo>
                    <a:pt x="720" y="606"/>
                  </a:lnTo>
                  <a:lnTo>
                    <a:pt x="720" y="618"/>
                  </a:lnTo>
                  <a:lnTo>
                    <a:pt x="720" y="624"/>
                  </a:lnTo>
                  <a:lnTo>
                    <a:pt x="726" y="630"/>
                  </a:lnTo>
                  <a:lnTo>
                    <a:pt x="732" y="636"/>
                  </a:lnTo>
                  <a:lnTo>
                    <a:pt x="732" y="642"/>
                  </a:lnTo>
                  <a:lnTo>
                    <a:pt x="732" y="648"/>
                  </a:lnTo>
                  <a:lnTo>
                    <a:pt x="726" y="654"/>
                  </a:lnTo>
                  <a:lnTo>
                    <a:pt x="720" y="660"/>
                  </a:lnTo>
                  <a:lnTo>
                    <a:pt x="714" y="666"/>
                  </a:lnTo>
                  <a:lnTo>
                    <a:pt x="714" y="672"/>
                  </a:lnTo>
                  <a:lnTo>
                    <a:pt x="714" y="678"/>
                  </a:lnTo>
                  <a:lnTo>
                    <a:pt x="720" y="678"/>
                  </a:lnTo>
                  <a:lnTo>
                    <a:pt x="720" y="684"/>
                  </a:lnTo>
                  <a:lnTo>
                    <a:pt x="714" y="690"/>
                  </a:lnTo>
                  <a:lnTo>
                    <a:pt x="714" y="696"/>
                  </a:lnTo>
                  <a:lnTo>
                    <a:pt x="714" y="702"/>
                  </a:lnTo>
                  <a:lnTo>
                    <a:pt x="714" y="708"/>
                  </a:lnTo>
                  <a:lnTo>
                    <a:pt x="720" y="708"/>
                  </a:lnTo>
                  <a:lnTo>
                    <a:pt x="720" y="720"/>
                  </a:lnTo>
                  <a:lnTo>
                    <a:pt x="720" y="726"/>
                  </a:lnTo>
                  <a:lnTo>
                    <a:pt x="726" y="726"/>
                  </a:lnTo>
                  <a:lnTo>
                    <a:pt x="726" y="732"/>
                  </a:lnTo>
                  <a:lnTo>
                    <a:pt x="732" y="732"/>
                  </a:lnTo>
                  <a:lnTo>
                    <a:pt x="732" y="738"/>
                  </a:lnTo>
                  <a:lnTo>
                    <a:pt x="726" y="738"/>
                  </a:lnTo>
                  <a:lnTo>
                    <a:pt x="720" y="738"/>
                  </a:lnTo>
                  <a:lnTo>
                    <a:pt x="720" y="744"/>
                  </a:lnTo>
                  <a:lnTo>
                    <a:pt x="720" y="750"/>
                  </a:lnTo>
                  <a:lnTo>
                    <a:pt x="714" y="750"/>
                  </a:lnTo>
                  <a:lnTo>
                    <a:pt x="714" y="756"/>
                  </a:lnTo>
                  <a:lnTo>
                    <a:pt x="720" y="756"/>
                  </a:lnTo>
                  <a:lnTo>
                    <a:pt x="714" y="762"/>
                  </a:lnTo>
                  <a:lnTo>
                    <a:pt x="720" y="762"/>
                  </a:lnTo>
                  <a:lnTo>
                    <a:pt x="726" y="768"/>
                  </a:lnTo>
                  <a:lnTo>
                    <a:pt x="726" y="774"/>
                  </a:lnTo>
                  <a:lnTo>
                    <a:pt x="732" y="774"/>
                  </a:lnTo>
                  <a:lnTo>
                    <a:pt x="732" y="780"/>
                  </a:lnTo>
                  <a:lnTo>
                    <a:pt x="726" y="780"/>
                  </a:lnTo>
                  <a:lnTo>
                    <a:pt x="726" y="786"/>
                  </a:lnTo>
                  <a:lnTo>
                    <a:pt x="720" y="786"/>
                  </a:lnTo>
                  <a:lnTo>
                    <a:pt x="726" y="786"/>
                  </a:lnTo>
                  <a:lnTo>
                    <a:pt x="732" y="780"/>
                  </a:lnTo>
                  <a:lnTo>
                    <a:pt x="738" y="780"/>
                  </a:lnTo>
                  <a:lnTo>
                    <a:pt x="744" y="780"/>
                  </a:lnTo>
                  <a:lnTo>
                    <a:pt x="744" y="786"/>
                  </a:lnTo>
                  <a:lnTo>
                    <a:pt x="750" y="786"/>
                  </a:lnTo>
                  <a:lnTo>
                    <a:pt x="744" y="786"/>
                  </a:lnTo>
                  <a:lnTo>
                    <a:pt x="744" y="792"/>
                  </a:lnTo>
                  <a:lnTo>
                    <a:pt x="744" y="786"/>
                  </a:lnTo>
                  <a:lnTo>
                    <a:pt x="738" y="792"/>
                  </a:lnTo>
                  <a:lnTo>
                    <a:pt x="744" y="792"/>
                  </a:lnTo>
                  <a:lnTo>
                    <a:pt x="750" y="792"/>
                  </a:lnTo>
                  <a:lnTo>
                    <a:pt x="750" y="786"/>
                  </a:lnTo>
                  <a:lnTo>
                    <a:pt x="756" y="786"/>
                  </a:lnTo>
                  <a:lnTo>
                    <a:pt x="756" y="792"/>
                  </a:lnTo>
                  <a:lnTo>
                    <a:pt x="762" y="792"/>
                  </a:lnTo>
                  <a:lnTo>
                    <a:pt x="756" y="798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0" y="810"/>
                  </a:lnTo>
                  <a:lnTo>
                    <a:pt x="756" y="810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6" y="816"/>
                  </a:lnTo>
                  <a:lnTo>
                    <a:pt x="750" y="816"/>
                  </a:lnTo>
                  <a:lnTo>
                    <a:pt x="738" y="810"/>
                  </a:lnTo>
                  <a:lnTo>
                    <a:pt x="732" y="810"/>
                  </a:lnTo>
                  <a:lnTo>
                    <a:pt x="732" y="816"/>
                  </a:lnTo>
                  <a:lnTo>
                    <a:pt x="726" y="810"/>
                  </a:lnTo>
                  <a:lnTo>
                    <a:pt x="714" y="816"/>
                  </a:lnTo>
                  <a:lnTo>
                    <a:pt x="708" y="816"/>
                  </a:lnTo>
                  <a:lnTo>
                    <a:pt x="702" y="816"/>
                  </a:lnTo>
                  <a:lnTo>
                    <a:pt x="696" y="816"/>
                  </a:lnTo>
                  <a:lnTo>
                    <a:pt x="690" y="822"/>
                  </a:lnTo>
                  <a:lnTo>
                    <a:pt x="684" y="822"/>
                  </a:lnTo>
                  <a:lnTo>
                    <a:pt x="678" y="822"/>
                  </a:lnTo>
                  <a:lnTo>
                    <a:pt x="672" y="822"/>
                  </a:lnTo>
                  <a:lnTo>
                    <a:pt x="666" y="822"/>
                  </a:lnTo>
                  <a:lnTo>
                    <a:pt x="666" y="828"/>
                  </a:lnTo>
                  <a:lnTo>
                    <a:pt x="654" y="828"/>
                  </a:lnTo>
                  <a:lnTo>
                    <a:pt x="648" y="828"/>
                  </a:lnTo>
                  <a:lnTo>
                    <a:pt x="642" y="828"/>
                  </a:lnTo>
                  <a:lnTo>
                    <a:pt x="630" y="828"/>
                  </a:lnTo>
                  <a:lnTo>
                    <a:pt x="624" y="822"/>
                  </a:lnTo>
                  <a:lnTo>
                    <a:pt x="618" y="822"/>
                  </a:lnTo>
                  <a:lnTo>
                    <a:pt x="612" y="822"/>
                  </a:lnTo>
                  <a:lnTo>
                    <a:pt x="606" y="822"/>
                  </a:lnTo>
                  <a:lnTo>
                    <a:pt x="600" y="822"/>
                  </a:lnTo>
                  <a:lnTo>
                    <a:pt x="594" y="822"/>
                  </a:lnTo>
                  <a:lnTo>
                    <a:pt x="594" y="816"/>
                  </a:lnTo>
                  <a:lnTo>
                    <a:pt x="594" y="810"/>
                  </a:lnTo>
                  <a:lnTo>
                    <a:pt x="600" y="804"/>
                  </a:lnTo>
                  <a:lnTo>
                    <a:pt x="600" y="798"/>
                  </a:lnTo>
                  <a:lnTo>
                    <a:pt x="600" y="792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2" y="786"/>
                  </a:lnTo>
                  <a:lnTo>
                    <a:pt x="618" y="786"/>
                  </a:lnTo>
                  <a:lnTo>
                    <a:pt x="624" y="786"/>
                  </a:lnTo>
                  <a:lnTo>
                    <a:pt x="624" y="780"/>
                  </a:lnTo>
                  <a:lnTo>
                    <a:pt x="630" y="780"/>
                  </a:lnTo>
                  <a:lnTo>
                    <a:pt x="630" y="774"/>
                  </a:lnTo>
                  <a:lnTo>
                    <a:pt x="636" y="774"/>
                  </a:lnTo>
                  <a:lnTo>
                    <a:pt x="642" y="780"/>
                  </a:lnTo>
                  <a:lnTo>
                    <a:pt x="642" y="786"/>
                  </a:lnTo>
                  <a:lnTo>
                    <a:pt x="642" y="792"/>
                  </a:lnTo>
                  <a:lnTo>
                    <a:pt x="648" y="792"/>
                  </a:lnTo>
                  <a:lnTo>
                    <a:pt x="648" y="786"/>
                  </a:lnTo>
                  <a:lnTo>
                    <a:pt x="642" y="786"/>
                  </a:lnTo>
                  <a:lnTo>
                    <a:pt x="642" y="780"/>
                  </a:lnTo>
                  <a:lnTo>
                    <a:pt x="642" y="774"/>
                  </a:lnTo>
                  <a:lnTo>
                    <a:pt x="648" y="768"/>
                  </a:lnTo>
                  <a:lnTo>
                    <a:pt x="642" y="768"/>
                  </a:lnTo>
                  <a:lnTo>
                    <a:pt x="648" y="768"/>
                  </a:lnTo>
                  <a:lnTo>
                    <a:pt x="648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66" y="762"/>
                  </a:lnTo>
                  <a:lnTo>
                    <a:pt x="672" y="756"/>
                  </a:lnTo>
                  <a:lnTo>
                    <a:pt x="666" y="756"/>
                  </a:lnTo>
                  <a:lnTo>
                    <a:pt x="660" y="756"/>
                  </a:lnTo>
                  <a:lnTo>
                    <a:pt x="660" y="750"/>
                  </a:lnTo>
                  <a:lnTo>
                    <a:pt x="654" y="750"/>
                  </a:lnTo>
                  <a:lnTo>
                    <a:pt x="648" y="750"/>
                  </a:lnTo>
                  <a:lnTo>
                    <a:pt x="648" y="756"/>
                  </a:lnTo>
                  <a:lnTo>
                    <a:pt x="642" y="756"/>
                  </a:lnTo>
                  <a:lnTo>
                    <a:pt x="642" y="750"/>
                  </a:lnTo>
                  <a:lnTo>
                    <a:pt x="642" y="744"/>
                  </a:lnTo>
                  <a:lnTo>
                    <a:pt x="642" y="750"/>
                  </a:lnTo>
                  <a:lnTo>
                    <a:pt x="636" y="750"/>
                  </a:lnTo>
                  <a:lnTo>
                    <a:pt x="636" y="744"/>
                  </a:lnTo>
                  <a:lnTo>
                    <a:pt x="630" y="744"/>
                  </a:lnTo>
                  <a:lnTo>
                    <a:pt x="630" y="738"/>
                  </a:lnTo>
                  <a:lnTo>
                    <a:pt x="630" y="744"/>
                  </a:lnTo>
                  <a:lnTo>
                    <a:pt x="630" y="750"/>
                  </a:lnTo>
                  <a:lnTo>
                    <a:pt x="636" y="750"/>
                  </a:lnTo>
                  <a:lnTo>
                    <a:pt x="636" y="756"/>
                  </a:lnTo>
                  <a:lnTo>
                    <a:pt x="630" y="756"/>
                  </a:lnTo>
                  <a:lnTo>
                    <a:pt x="636" y="762"/>
                  </a:lnTo>
                  <a:lnTo>
                    <a:pt x="630" y="762"/>
                  </a:lnTo>
                  <a:lnTo>
                    <a:pt x="624" y="762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24" y="786"/>
                  </a:lnTo>
                  <a:lnTo>
                    <a:pt x="618" y="786"/>
                  </a:lnTo>
                  <a:lnTo>
                    <a:pt x="618" y="78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12" y="774"/>
                  </a:lnTo>
                  <a:lnTo>
                    <a:pt x="612" y="780"/>
                  </a:lnTo>
                  <a:lnTo>
                    <a:pt x="606" y="780"/>
                  </a:lnTo>
                  <a:lnTo>
                    <a:pt x="600" y="780"/>
                  </a:lnTo>
                  <a:lnTo>
                    <a:pt x="600" y="774"/>
                  </a:lnTo>
                  <a:lnTo>
                    <a:pt x="594" y="768"/>
                  </a:lnTo>
                  <a:lnTo>
                    <a:pt x="594" y="762"/>
                  </a:lnTo>
                  <a:lnTo>
                    <a:pt x="594" y="756"/>
                  </a:lnTo>
                  <a:lnTo>
                    <a:pt x="594" y="762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594" y="780"/>
                  </a:lnTo>
                  <a:lnTo>
                    <a:pt x="588" y="780"/>
                  </a:lnTo>
                  <a:lnTo>
                    <a:pt x="582" y="780"/>
                  </a:lnTo>
                  <a:lnTo>
                    <a:pt x="576" y="780"/>
                  </a:lnTo>
                  <a:lnTo>
                    <a:pt x="570" y="780"/>
                  </a:lnTo>
                  <a:lnTo>
                    <a:pt x="564" y="780"/>
                  </a:lnTo>
                  <a:lnTo>
                    <a:pt x="564" y="786"/>
                  </a:lnTo>
                  <a:lnTo>
                    <a:pt x="558" y="786"/>
                  </a:lnTo>
                  <a:lnTo>
                    <a:pt x="552" y="786"/>
                  </a:lnTo>
                  <a:lnTo>
                    <a:pt x="552" y="780"/>
                  </a:lnTo>
                  <a:lnTo>
                    <a:pt x="552" y="774"/>
                  </a:lnTo>
                  <a:lnTo>
                    <a:pt x="552" y="768"/>
                  </a:lnTo>
                  <a:lnTo>
                    <a:pt x="546" y="768"/>
                  </a:lnTo>
                  <a:lnTo>
                    <a:pt x="540" y="762"/>
                  </a:lnTo>
                  <a:lnTo>
                    <a:pt x="540" y="756"/>
                  </a:lnTo>
                  <a:lnTo>
                    <a:pt x="534" y="756"/>
                  </a:lnTo>
                  <a:lnTo>
                    <a:pt x="534" y="750"/>
                  </a:lnTo>
                  <a:lnTo>
                    <a:pt x="534" y="744"/>
                  </a:lnTo>
                  <a:lnTo>
                    <a:pt x="528" y="738"/>
                  </a:lnTo>
                  <a:lnTo>
                    <a:pt x="522" y="738"/>
                  </a:lnTo>
                  <a:lnTo>
                    <a:pt x="522" y="732"/>
                  </a:lnTo>
                  <a:lnTo>
                    <a:pt x="510" y="726"/>
                  </a:lnTo>
                  <a:lnTo>
                    <a:pt x="510" y="720"/>
                  </a:lnTo>
                  <a:lnTo>
                    <a:pt x="504" y="720"/>
                  </a:lnTo>
                  <a:lnTo>
                    <a:pt x="504" y="714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8" y="702"/>
                  </a:lnTo>
                  <a:lnTo>
                    <a:pt x="498" y="696"/>
                  </a:lnTo>
                  <a:lnTo>
                    <a:pt x="492" y="690"/>
                  </a:lnTo>
                  <a:lnTo>
                    <a:pt x="492" y="684"/>
                  </a:lnTo>
                  <a:lnTo>
                    <a:pt x="486" y="684"/>
                  </a:lnTo>
                  <a:lnTo>
                    <a:pt x="486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74" y="678"/>
                  </a:lnTo>
                  <a:lnTo>
                    <a:pt x="468" y="678"/>
                  </a:lnTo>
                  <a:lnTo>
                    <a:pt x="462" y="678"/>
                  </a:lnTo>
                  <a:lnTo>
                    <a:pt x="462" y="672"/>
                  </a:lnTo>
                  <a:lnTo>
                    <a:pt x="456" y="672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44" y="666"/>
                  </a:lnTo>
                  <a:lnTo>
                    <a:pt x="438" y="660"/>
                  </a:lnTo>
                  <a:lnTo>
                    <a:pt x="438" y="648"/>
                  </a:lnTo>
                  <a:lnTo>
                    <a:pt x="438" y="642"/>
                  </a:lnTo>
                  <a:lnTo>
                    <a:pt x="438" y="636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36"/>
                  </a:lnTo>
                  <a:lnTo>
                    <a:pt x="420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60"/>
                  </a:lnTo>
                  <a:lnTo>
                    <a:pt x="432" y="666"/>
                  </a:lnTo>
                  <a:lnTo>
                    <a:pt x="438" y="666"/>
                  </a:lnTo>
                  <a:lnTo>
                    <a:pt x="438" y="672"/>
                  </a:lnTo>
                  <a:lnTo>
                    <a:pt x="444" y="672"/>
                  </a:lnTo>
                  <a:lnTo>
                    <a:pt x="444" y="678"/>
                  </a:lnTo>
                  <a:lnTo>
                    <a:pt x="450" y="678"/>
                  </a:lnTo>
                  <a:lnTo>
                    <a:pt x="456" y="678"/>
                  </a:lnTo>
                  <a:lnTo>
                    <a:pt x="456" y="684"/>
                  </a:lnTo>
                  <a:lnTo>
                    <a:pt x="462" y="684"/>
                  </a:lnTo>
                  <a:lnTo>
                    <a:pt x="468" y="684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80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86" y="708"/>
                  </a:lnTo>
                  <a:lnTo>
                    <a:pt x="492" y="714"/>
                  </a:lnTo>
                  <a:lnTo>
                    <a:pt x="492" y="720"/>
                  </a:lnTo>
                  <a:lnTo>
                    <a:pt x="492" y="726"/>
                  </a:lnTo>
                  <a:lnTo>
                    <a:pt x="498" y="732"/>
                  </a:lnTo>
                  <a:lnTo>
                    <a:pt x="492" y="738"/>
                  </a:lnTo>
                  <a:lnTo>
                    <a:pt x="492" y="744"/>
                  </a:lnTo>
                  <a:lnTo>
                    <a:pt x="492" y="750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68" y="738"/>
                  </a:lnTo>
                  <a:lnTo>
                    <a:pt x="468" y="744"/>
                  </a:lnTo>
                  <a:lnTo>
                    <a:pt x="474" y="750"/>
                  </a:lnTo>
                  <a:lnTo>
                    <a:pt x="480" y="756"/>
                  </a:lnTo>
                  <a:lnTo>
                    <a:pt x="486" y="756"/>
                  </a:lnTo>
                  <a:lnTo>
                    <a:pt x="492" y="762"/>
                  </a:lnTo>
                  <a:lnTo>
                    <a:pt x="498" y="768"/>
                  </a:lnTo>
                  <a:lnTo>
                    <a:pt x="492" y="774"/>
                  </a:lnTo>
                  <a:lnTo>
                    <a:pt x="492" y="780"/>
                  </a:lnTo>
                  <a:lnTo>
                    <a:pt x="498" y="780"/>
                  </a:lnTo>
                  <a:lnTo>
                    <a:pt x="492" y="786"/>
                  </a:lnTo>
                  <a:lnTo>
                    <a:pt x="492" y="792"/>
                  </a:lnTo>
                  <a:lnTo>
                    <a:pt x="492" y="79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0" y="810"/>
                  </a:lnTo>
                  <a:lnTo>
                    <a:pt x="480" y="804"/>
                  </a:lnTo>
                  <a:lnTo>
                    <a:pt x="474" y="804"/>
                  </a:lnTo>
                  <a:lnTo>
                    <a:pt x="474" y="798"/>
                  </a:lnTo>
                  <a:lnTo>
                    <a:pt x="474" y="804"/>
                  </a:lnTo>
                  <a:lnTo>
                    <a:pt x="468" y="804"/>
                  </a:lnTo>
                  <a:lnTo>
                    <a:pt x="468" y="810"/>
                  </a:lnTo>
                  <a:lnTo>
                    <a:pt x="462" y="810"/>
                  </a:lnTo>
                  <a:lnTo>
                    <a:pt x="456" y="810"/>
                  </a:lnTo>
                  <a:lnTo>
                    <a:pt x="450" y="810"/>
                  </a:lnTo>
                  <a:lnTo>
                    <a:pt x="450" y="816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50" y="822"/>
                  </a:lnTo>
                  <a:lnTo>
                    <a:pt x="450" y="816"/>
                  </a:lnTo>
                  <a:lnTo>
                    <a:pt x="444" y="816"/>
                  </a:lnTo>
                  <a:lnTo>
                    <a:pt x="438" y="810"/>
                  </a:lnTo>
                  <a:lnTo>
                    <a:pt x="432" y="810"/>
                  </a:lnTo>
                  <a:lnTo>
                    <a:pt x="426" y="804"/>
                  </a:lnTo>
                  <a:lnTo>
                    <a:pt x="426" y="798"/>
                  </a:lnTo>
                  <a:lnTo>
                    <a:pt x="420" y="798"/>
                  </a:lnTo>
                  <a:lnTo>
                    <a:pt x="426" y="798"/>
                  </a:lnTo>
                  <a:lnTo>
                    <a:pt x="426" y="792"/>
                  </a:lnTo>
                  <a:lnTo>
                    <a:pt x="426" y="786"/>
                  </a:lnTo>
                  <a:lnTo>
                    <a:pt x="432" y="786"/>
                  </a:lnTo>
                  <a:lnTo>
                    <a:pt x="432" y="780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0" y="756"/>
                  </a:lnTo>
                  <a:lnTo>
                    <a:pt x="420" y="750"/>
                  </a:lnTo>
                  <a:lnTo>
                    <a:pt x="414" y="750"/>
                  </a:lnTo>
                  <a:lnTo>
                    <a:pt x="420" y="750"/>
                  </a:lnTo>
                  <a:lnTo>
                    <a:pt x="420" y="744"/>
                  </a:lnTo>
                  <a:lnTo>
                    <a:pt x="414" y="744"/>
                  </a:lnTo>
                  <a:lnTo>
                    <a:pt x="414" y="738"/>
                  </a:lnTo>
                  <a:lnTo>
                    <a:pt x="414" y="732"/>
                  </a:lnTo>
                  <a:lnTo>
                    <a:pt x="408" y="732"/>
                  </a:lnTo>
                  <a:lnTo>
                    <a:pt x="408" y="726"/>
                  </a:lnTo>
                  <a:lnTo>
                    <a:pt x="402" y="726"/>
                  </a:lnTo>
                  <a:lnTo>
                    <a:pt x="396" y="726"/>
                  </a:lnTo>
                  <a:lnTo>
                    <a:pt x="390" y="726"/>
                  </a:lnTo>
                  <a:lnTo>
                    <a:pt x="390" y="720"/>
                  </a:lnTo>
                  <a:lnTo>
                    <a:pt x="390" y="714"/>
                  </a:lnTo>
                  <a:lnTo>
                    <a:pt x="384" y="708"/>
                  </a:lnTo>
                  <a:lnTo>
                    <a:pt x="384" y="702"/>
                  </a:lnTo>
                  <a:lnTo>
                    <a:pt x="378" y="702"/>
                  </a:lnTo>
                  <a:lnTo>
                    <a:pt x="378" y="696"/>
                  </a:lnTo>
                  <a:lnTo>
                    <a:pt x="378" y="690"/>
                  </a:lnTo>
                  <a:lnTo>
                    <a:pt x="372" y="684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66" y="666"/>
                  </a:lnTo>
                  <a:lnTo>
                    <a:pt x="366" y="660"/>
                  </a:lnTo>
                  <a:lnTo>
                    <a:pt x="366" y="654"/>
                  </a:lnTo>
                  <a:lnTo>
                    <a:pt x="360" y="648"/>
                  </a:lnTo>
                  <a:lnTo>
                    <a:pt x="360" y="654"/>
                  </a:lnTo>
                  <a:lnTo>
                    <a:pt x="360" y="660"/>
                  </a:lnTo>
                  <a:lnTo>
                    <a:pt x="360" y="666"/>
                  </a:lnTo>
                  <a:lnTo>
                    <a:pt x="360" y="672"/>
                  </a:lnTo>
                  <a:lnTo>
                    <a:pt x="360" y="678"/>
                  </a:lnTo>
                  <a:lnTo>
                    <a:pt x="366" y="678"/>
                  </a:lnTo>
                  <a:lnTo>
                    <a:pt x="366" y="684"/>
                  </a:lnTo>
                  <a:lnTo>
                    <a:pt x="366" y="690"/>
                  </a:lnTo>
                  <a:lnTo>
                    <a:pt x="372" y="696"/>
                  </a:lnTo>
                  <a:lnTo>
                    <a:pt x="372" y="702"/>
                  </a:lnTo>
                  <a:lnTo>
                    <a:pt x="372" y="708"/>
                  </a:lnTo>
                  <a:lnTo>
                    <a:pt x="372" y="714"/>
                  </a:lnTo>
                  <a:lnTo>
                    <a:pt x="366" y="714"/>
                  </a:lnTo>
                  <a:lnTo>
                    <a:pt x="360" y="714"/>
                  </a:lnTo>
                  <a:lnTo>
                    <a:pt x="354" y="714"/>
                  </a:lnTo>
                  <a:lnTo>
                    <a:pt x="348" y="714"/>
                  </a:lnTo>
                  <a:lnTo>
                    <a:pt x="348" y="708"/>
                  </a:lnTo>
                  <a:lnTo>
                    <a:pt x="342" y="708"/>
                  </a:lnTo>
                  <a:lnTo>
                    <a:pt x="342" y="702"/>
                  </a:lnTo>
                  <a:lnTo>
                    <a:pt x="342" y="696"/>
                  </a:lnTo>
                  <a:lnTo>
                    <a:pt x="336" y="696"/>
                  </a:lnTo>
                  <a:lnTo>
                    <a:pt x="336" y="690"/>
                  </a:lnTo>
                  <a:lnTo>
                    <a:pt x="336" y="684"/>
                  </a:lnTo>
                  <a:lnTo>
                    <a:pt x="330" y="684"/>
                  </a:lnTo>
                  <a:lnTo>
                    <a:pt x="330" y="678"/>
                  </a:lnTo>
                  <a:lnTo>
                    <a:pt x="324" y="672"/>
                  </a:lnTo>
                  <a:lnTo>
                    <a:pt x="324" y="666"/>
                  </a:lnTo>
                  <a:lnTo>
                    <a:pt x="318" y="666"/>
                  </a:lnTo>
                  <a:lnTo>
                    <a:pt x="318" y="672"/>
                  </a:lnTo>
                  <a:lnTo>
                    <a:pt x="324" y="672"/>
                  </a:lnTo>
                  <a:lnTo>
                    <a:pt x="324" y="678"/>
                  </a:lnTo>
                  <a:lnTo>
                    <a:pt x="324" y="684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30" y="696"/>
                  </a:lnTo>
                  <a:lnTo>
                    <a:pt x="336" y="702"/>
                  </a:lnTo>
                  <a:lnTo>
                    <a:pt x="342" y="708"/>
                  </a:lnTo>
                  <a:lnTo>
                    <a:pt x="342" y="714"/>
                  </a:lnTo>
                  <a:lnTo>
                    <a:pt x="348" y="720"/>
                  </a:lnTo>
                  <a:lnTo>
                    <a:pt x="342" y="720"/>
                  </a:lnTo>
                  <a:lnTo>
                    <a:pt x="336" y="720"/>
                  </a:lnTo>
                  <a:lnTo>
                    <a:pt x="330" y="720"/>
                  </a:lnTo>
                  <a:lnTo>
                    <a:pt x="330" y="726"/>
                  </a:lnTo>
                  <a:lnTo>
                    <a:pt x="336" y="726"/>
                  </a:lnTo>
                  <a:lnTo>
                    <a:pt x="330" y="732"/>
                  </a:lnTo>
                  <a:lnTo>
                    <a:pt x="330" y="738"/>
                  </a:lnTo>
                  <a:lnTo>
                    <a:pt x="330" y="744"/>
                  </a:lnTo>
                  <a:lnTo>
                    <a:pt x="336" y="744"/>
                  </a:lnTo>
                  <a:lnTo>
                    <a:pt x="342" y="744"/>
                  </a:lnTo>
                  <a:lnTo>
                    <a:pt x="348" y="744"/>
                  </a:lnTo>
                  <a:lnTo>
                    <a:pt x="348" y="750"/>
                  </a:lnTo>
                  <a:lnTo>
                    <a:pt x="354" y="750"/>
                  </a:lnTo>
                  <a:lnTo>
                    <a:pt x="360" y="756"/>
                  </a:lnTo>
                  <a:lnTo>
                    <a:pt x="360" y="762"/>
                  </a:lnTo>
                  <a:lnTo>
                    <a:pt x="366" y="762"/>
                  </a:lnTo>
                  <a:lnTo>
                    <a:pt x="366" y="768"/>
                  </a:lnTo>
                  <a:lnTo>
                    <a:pt x="366" y="774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72" y="792"/>
                  </a:lnTo>
                  <a:lnTo>
                    <a:pt x="372" y="798"/>
                  </a:lnTo>
                  <a:lnTo>
                    <a:pt x="372" y="804"/>
                  </a:lnTo>
                  <a:lnTo>
                    <a:pt x="378" y="804"/>
                  </a:lnTo>
                  <a:lnTo>
                    <a:pt x="378" y="810"/>
                  </a:lnTo>
                  <a:lnTo>
                    <a:pt x="378" y="816"/>
                  </a:lnTo>
                  <a:lnTo>
                    <a:pt x="372" y="816"/>
                  </a:lnTo>
                  <a:lnTo>
                    <a:pt x="378" y="816"/>
                  </a:lnTo>
                  <a:lnTo>
                    <a:pt x="378" y="822"/>
                  </a:lnTo>
                  <a:lnTo>
                    <a:pt x="378" y="828"/>
                  </a:lnTo>
                  <a:lnTo>
                    <a:pt x="378" y="834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0" y="864"/>
                  </a:lnTo>
                  <a:lnTo>
                    <a:pt x="384" y="864"/>
                  </a:lnTo>
                  <a:lnTo>
                    <a:pt x="384" y="870"/>
                  </a:lnTo>
                  <a:lnTo>
                    <a:pt x="378" y="864"/>
                  </a:lnTo>
                  <a:lnTo>
                    <a:pt x="372" y="864"/>
                  </a:lnTo>
                  <a:lnTo>
                    <a:pt x="366" y="858"/>
                  </a:lnTo>
                  <a:lnTo>
                    <a:pt x="366" y="852"/>
                  </a:lnTo>
                  <a:lnTo>
                    <a:pt x="360" y="852"/>
                  </a:lnTo>
                  <a:lnTo>
                    <a:pt x="360" y="858"/>
                  </a:lnTo>
                  <a:lnTo>
                    <a:pt x="366" y="858"/>
                  </a:lnTo>
                  <a:lnTo>
                    <a:pt x="366" y="864"/>
                  </a:lnTo>
                  <a:lnTo>
                    <a:pt x="360" y="864"/>
                  </a:lnTo>
                  <a:lnTo>
                    <a:pt x="354" y="864"/>
                  </a:lnTo>
                  <a:lnTo>
                    <a:pt x="354" y="870"/>
                  </a:lnTo>
                  <a:lnTo>
                    <a:pt x="354" y="864"/>
                  </a:lnTo>
                  <a:lnTo>
                    <a:pt x="348" y="864"/>
                  </a:lnTo>
                  <a:lnTo>
                    <a:pt x="342" y="864"/>
                  </a:lnTo>
                  <a:lnTo>
                    <a:pt x="342" y="858"/>
                  </a:lnTo>
                  <a:lnTo>
                    <a:pt x="336" y="858"/>
                  </a:lnTo>
                  <a:lnTo>
                    <a:pt x="330" y="858"/>
                  </a:lnTo>
                  <a:lnTo>
                    <a:pt x="324" y="858"/>
                  </a:lnTo>
                  <a:lnTo>
                    <a:pt x="318" y="858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0" y="852"/>
                  </a:lnTo>
                  <a:lnTo>
                    <a:pt x="294" y="852"/>
                  </a:lnTo>
                  <a:lnTo>
                    <a:pt x="294" y="846"/>
                  </a:lnTo>
                  <a:lnTo>
                    <a:pt x="288" y="840"/>
                  </a:lnTo>
                  <a:lnTo>
                    <a:pt x="288" y="828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2" y="816"/>
                  </a:lnTo>
                  <a:lnTo>
                    <a:pt x="282" y="810"/>
                  </a:lnTo>
                  <a:lnTo>
                    <a:pt x="276" y="810"/>
                  </a:lnTo>
                  <a:lnTo>
                    <a:pt x="276" y="804"/>
                  </a:lnTo>
                  <a:lnTo>
                    <a:pt x="276" y="798"/>
                  </a:lnTo>
                  <a:lnTo>
                    <a:pt x="276" y="792"/>
                  </a:lnTo>
                  <a:lnTo>
                    <a:pt x="270" y="786"/>
                  </a:lnTo>
                  <a:lnTo>
                    <a:pt x="270" y="780"/>
                  </a:lnTo>
                  <a:lnTo>
                    <a:pt x="270" y="774"/>
                  </a:lnTo>
                  <a:lnTo>
                    <a:pt x="264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64" y="750"/>
                  </a:lnTo>
                  <a:lnTo>
                    <a:pt x="264" y="744"/>
                  </a:lnTo>
                  <a:lnTo>
                    <a:pt x="264" y="738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26"/>
                  </a:lnTo>
                  <a:lnTo>
                    <a:pt x="276" y="720"/>
                  </a:lnTo>
                  <a:lnTo>
                    <a:pt x="282" y="720"/>
                  </a:lnTo>
                  <a:lnTo>
                    <a:pt x="282" y="714"/>
                  </a:lnTo>
                  <a:lnTo>
                    <a:pt x="282" y="708"/>
                  </a:lnTo>
                  <a:lnTo>
                    <a:pt x="276" y="708"/>
                  </a:lnTo>
                  <a:lnTo>
                    <a:pt x="276" y="702"/>
                  </a:lnTo>
                  <a:lnTo>
                    <a:pt x="270" y="702"/>
                  </a:lnTo>
                  <a:lnTo>
                    <a:pt x="270" y="696"/>
                  </a:lnTo>
                  <a:lnTo>
                    <a:pt x="264" y="690"/>
                  </a:lnTo>
                  <a:lnTo>
                    <a:pt x="258" y="690"/>
                  </a:lnTo>
                  <a:lnTo>
                    <a:pt x="258" y="684"/>
                  </a:lnTo>
                  <a:lnTo>
                    <a:pt x="252" y="684"/>
                  </a:lnTo>
                  <a:lnTo>
                    <a:pt x="252" y="678"/>
                  </a:lnTo>
                  <a:lnTo>
                    <a:pt x="246" y="678"/>
                  </a:lnTo>
                  <a:lnTo>
                    <a:pt x="240" y="678"/>
                  </a:lnTo>
                  <a:lnTo>
                    <a:pt x="240" y="684"/>
                  </a:lnTo>
                  <a:lnTo>
                    <a:pt x="246" y="684"/>
                  </a:lnTo>
                  <a:lnTo>
                    <a:pt x="252" y="690"/>
                  </a:lnTo>
                  <a:lnTo>
                    <a:pt x="258" y="690"/>
                  </a:lnTo>
                  <a:lnTo>
                    <a:pt x="258" y="696"/>
                  </a:lnTo>
                  <a:lnTo>
                    <a:pt x="258" y="702"/>
                  </a:lnTo>
                  <a:lnTo>
                    <a:pt x="264" y="702"/>
                  </a:lnTo>
                  <a:lnTo>
                    <a:pt x="270" y="708"/>
                  </a:lnTo>
                  <a:lnTo>
                    <a:pt x="270" y="714"/>
                  </a:lnTo>
                  <a:lnTo>
                    <a:pt x="270" y="720"/>
                  </a:lnTo>
                  <a:lnTo>
                    <a:pt x="276" y="720"/>
                  </a:lnTo>
                  <a:lnTo>
                    <a:pt x="270" y="720"/>
                  </a:lnTo>
                  <a:lnTo>
                    <a:pt x="270" y="726"/>
                  </a:lnTo>
                  <a:lnTo>
                    <a:pt x="264" y="726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52" y="738"/>
                  </a:lnTo>
                  <a:lnTo>
                    <a:pt x="252" y="744"/>
                  </a:lnTo>
                  <a:lnTo>
                    <a:pt x="252" y="750"/>
                  </a:lnTo>
                  <a:lnTo>
                    <a:pt x="252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58" y="774"/>
                  </a:lnTo>
                  <a:lnTo>
                    <a:pt x="258" y="780"/>
                  </a:lnTo>
                  <a:lnTo>
                    <a:pt x="264" y="786"/>
                  </a:lnTo>
                  <a:lnTo>
                    <a:pt x="264" y="792"/>
                  </a:lnTo>
                  <a:lnTo>
                    <a:pt x="264" y="798"/>
                  </a:lnTo>
                  <a:lnTo>
                    <a:pt x="270" y="810"/>
                  </a:lnTo>
                  <a:lnTo>
                    <a:pt x="270" y="816"/>
                  </a:lnTo>
                  <a:lnTo>
                    <a:pt x="270" y="822"/>
                  </a:lnTo>
                  <a:lnTo>
                    <a:pt x="276" y="822"/>
                  </a:lnTo>
                  <a:lnTo>
                    <a:pt x="276" y="828"/>
                  </a:lnTo>
                  <a:lnTo>
                    <a:pt x="276" y="834"/>
                  </a:lnTo>
                  <a:lnTo>
                    <a:pt x="276" y="840"/>
                  </a:lnTo>
                  <a:lnTo>
                    <a:pt x="276" y="846"/>
                  </a:lnTo>
                  <a:lnTo>
                    <a:pt x="282" y="852"/>
                  </a:lnTo>
                  <a:lnTo>
                    <a:pt x="282" y="858"/>
                  </a:lnTo>
                  <a:lnTo>
                    <a:pt x="294" y="864"/>
                  </a:lnTo>
                  <a:lnTo>
                    <a:pt x="300" y="870"/>
                  </a:lnTo>
                  <a:lnTo>
                    <a:pt x="300" y="876"/>
                  </a:lnTo>
                  <a:lnTo>
                    <a:pt x="288" y="876"/>
                  </a:lnTo>
                  <a:lnTo>
                    <a:pt x="282" y="876"/>
                  </a:lnTo>
                  <a:lnTo>
                    <a:pt x="276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2" y="882"/>
                  </a:lnTo>
                  <a:lnTo>
                    <a:pt x="246" y="882"/>
                  </a:lnTo>
                  <a:lnTo>
                    <a:pt x="240" y="882"/>
                  </a:lnTo>
                  <a:lnTo>
                    <a:pt x="234" y="882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204" y="876"/>
                  </a:lnTo>
                  <a:lnTo>
                    <a:pt x="198" y="876"/>
                  </a:lnTo>
                  <a:lnTo>
                    <a:pt x="198" y="870"/>
                  </a:lnTo>
                  <a:lnTo>
                    <a:pt x="198" y="852"/>
                  </a:lnTo>
                  <a:lnTo>
                    <a:pt x="198" y="846"/>
                  </a:lnTo>
                  <a:lnTo>
                    <a:pt x="204" y="846"/>
                  </a:lnTo>
                  <a:lnTo>
                    <a:pt x="198" y="840"/>
                  </a:lnTo>
                  <a:lnTo>
                    <a:pt x="198" y="834"/>
                  </a:lnTo>
                  <a:lnTo>
                    <a:pt x="198" y="828"/>
                  </a:lnTo>
                  <a:lnTo>
                    <a:pt x="198" y="822"/>
                  </a:lnTo>
                  <a:lnTo>
                    <a:pt x="198" y="816"/>
                  </a:lnTo>
                  <a:lnTo>
                    <a:pt x="198" y="810"/>
                  </a:lnTo>
                  <a:lnTo>
                    <a:pt x="192" y="810"/>
                  </a:lnTo>
                  <a:lnTo>
                    <a:pt x="192" y="804"/>
                  </a:lnTo>
                  <a:lnTo>
                    <a:pt x="192" y="798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2" y="774"/>
                  </a:lnTo>
                  <a:lnTo>
                    <a:pt x="192" y="768"/>
                  </a:lnTo>
                  <a:lnTo>
                    <a:pt x="198" y="768"/>
                  </a:lnTo>
                  <a:lnTo>
                    <a:pt x="198" y="762"/>
                  </a:lnTo>
                  <a:lnTo>
                    <a:pt x="198" y="756"/>
                  </a:lnTo>
                  <a:lnTo>
                    <a:pt x="204" y="756"/>
                  </a:lnTo>
                  <a:lnTo>
                    <a:pt x="204" y="750"/>
                  </a:lnTo>
                  <a:lnTo>
                    <a:pt x="210" y="744"/>
                  </a:lnTo>
                  <a:lnTo>
                    <a:pt x="210" y="738"/>
                  </a:lnTo>
                  <a:lnTo>
                    <a:pt x="210" y="732"/>
                  </a:lnTo>
                  <a:lnTo>
                    <a:pt x="210" y="726"/>
                  </a:lnTo>
                  <a:lnTo>
                    <a:pt x="210" y="720"/>
                  </a:lnTo>
                  <a:lnTo>
                    <a:pt x="204" y="714"/>
                  </a:lnTo>
                  <a:lnTo>
                    <a:pt x="204" y="720"/>
                  </a:lnTo>
                  <a:lnTo>
                    <a:pt x="204" y="732"/>
                  </a:lnTo>
                  <a:lnTo>
                    <a:pt x="204" y="738"/>
                  </a:lnTo>
                  <a:lnTo>
                    <a:pt x="198" y="738"/>
                  </a:lnTo>
                  <a:lnTo>
                    <a:pt x="198" y="744"/>
                  </a:lnTo>
                  <a:lnTo>
                    <a:pt x="198" y="750"/>
                  </a:lnTo>
                  <a:lnTo>
                    <a:pt x="192" y="756"/>
                  </a:lnTo>
                  <a:lnTo>
                    <a:pt x="186" y="762"/>
                  </a:lnTo>
                  <a:lnTo>
                    <a:pt x="186" y="768"/>
                  </a:lnTo>
                  <a:lnTo>
                    <a:pt x="186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98"/>
                  </a:lnTo>
                  <a:lnTo>
                    <a:pt x="186" y="804"/>
                  </a:lnTo>
                  <a:lnTo>
                    <a:pt x="186" y="810"/>
                  </a:lnTo>
                  <a:lnTo>
                    <a:pt x="192" y="816"/>
                  </a:lnTo>
                  <a:lnTo>
                    <a:pt x="192" y="828"/>
                  </a:lnTo>
                  <a:lnTo>
                    <a:pt x="192" y="834"/>
                  </a:lnTo>
                  <a:lnTo>
                    <a:pt x="186" y="834"/>
                  </a:lnTo>
                  <a:lnTo>
                    <a:pt x="186" y="828"/>
                  </a:lnTo>
                  <a:lnTo>
                    <a:pt x="180" y="822"/>
                  </a:lnTo>
                  <a:lnTo>
                    <a:pt x="180" y="816"/>
                  </a:lnTo>
                  <a:lnTo>
                    <a:pt x="180" y="810"/>
                  </a:lnTo>
                  <a:lnTo>
                    <a:pt x="174" y="810"/>
                  </a:lnTo>
                  <a:lnTo>
                    <a:pt x="174" y="804"/>
                  </a:lnTo>
                  <a:lnTo>
                    <a:pt x="174" y="798"/>
                  </a:lnTo>
                  <a:lnTo>
                    <a:pt x="174" y="792"/>
                  </a:lnTo>
                  <a:lnTo>
                    <a:pt x="168" y="786"/>
                  </a:lnTo>
                  <a:lnTo>
                    <a:pt x="168" y="780"/>
                  </a:lnTo>
                  <a:lnTo>
                    <a:pt x="162" y="780"/>
                  </a:lnTo>
                  <a:lnTo>
                    <a:pt x="168" y="774"/>
                  </a:lnTo>
                  <a:lnTo>
                    <a:pt x="168" y="768"/>
                  </a:lnTo>
                  <a:lnTo>
                    <a:pt x="174" y="768"/>
                  </a:lnTo>
                  <a:lnTo>
                    <a:pt x="168" y="768"/>
                  </a:lnTo>
                  <a:lnTo>
                    <a:pt x="162" y="774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50" y="774"/>
                  </a:lnTo>
                  <a:lnTo>
                    <a:pt x="144" y="774"/>
                  </a:lnTo>
                  <a:lnTo>
                    <a:pt x="144" y="768"/>
                  </a:lnTo>
                  <a:lnTo>
                    <a:pt x="144" y="762"/>
                  </a:lnTo>
                  <a:lnTo>
                    <a:pt x="138" y="756"/>
                  </a:lnTo>
                  <a:lnTo>
                    <a:pt x="132" y="756"/>
                  </a:lnTo>
                  <a:lnTo>
                    <a:pt x="138" y="756"/>
                  </a:lnTo>
                  <a:lnTo>
                    <a:pt x="138" y="762"/>
                  </a:lnTo>
                  <a:lnTo>
                    <a:pt x="138" y="768"/>
                  </a:lnTo>
                  <a:lnTo>
                    <a:pt x="144" y="768"/>
                  </a:lnTo>
                  <a:lnTo>
                    <a:pt x="144" y="774"/>
                  </a:lnTo>
                  <a:lnTo>
                    <a:pt x="150" y="780"/>
                  </a:lnTo>
                  <a:lnTo>
                    <a:pt x="156" y="780"/>
                  </a:lnTo>
                  <a:lnTo>
                    <a:pt x="156" y="786"/>
                  </a:lnTo>
                  <a:lnTo>
                    <a:pt x="162" y="786"/>
                  </a:lnTo>
                  <a:lnTo>
                    <a:pt x="168" y="792"/>
                  </a:lnTo>
                  <a:lnTo>
                    <a:pt x="168" y="798"/>
                  </a:lnTo>
                  <a:lnTo>
                    <a:pt x="168" y="804"/>
                  </a:lnTo>
                  <a:lnTo>
                    <a:pt x="174" y="810"/>
                  </a:lnTo>
                  <a:lnTo>
                    <a:pt x="174" y="816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68" y="828"/>
                  </a:lnTo>
                  <a:lnTo>
                    <a:pt x="168" y="834"/>
                  </a:lnTo>
                  <a:lnTo>
                    <a:pt x="174" y="840"/>
                  </a:lnTo>
                  <a:lnTo>
                    <a:pt x="180" y="840"/>
                  </a:lnTo>
                  <a:lnTo>
                    <a:pt x="180" y="846"/>
                  </a:lnTo>
                  <a:lnTo>
                    <a:pt x="186" y="846"/>
                  </a:lnTo>
                  <a:lnTo>
                    <a:pt x="186" y="852"/>
                  </a:lnTo>
                  <a:lnTo>
                    <a:pt x="186" y="858"/>
                  </a:lnTo>
                  <a:lnTo>
                    <a:pt x="186" y="864"/>
                  </a:lnTo>
                  <a:lnTo>
                    <a:pt x="192" y="864"/>
                  </a:lnTo>
                  <a:lnTo>
                    <a:pt x="192" y="870"/>
                  </a:lnTo>
                  <a:lnTo>
                    <a:pt x="192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6" y="888"/>
                  </a:lnTo>
                  <a:lnTo>
                    <a:pt x="180" y="888"/>
                  </a:lnTo>
                  <a:lnTo>
                    <a:pt x="174" y="888"/>
                  </a:lnTo>
                  <a:lnTo>
                    <a:pt x="168" y="894"/>
                  </a:lnTo>
                  <a:lnTo>
                    <a:pt x="162" y="894"/>
                  </a:lnTo>
                  <a:lnTo>
                    <a:pt x="156" y="894"/>
                  </a:lnTo>
                  <a:lnTo>
                    <a:pt x="150" y="894"/>
                  </a:lnTo>
                  <a:lnTo>
                    <a:pt x="144" y="894"/>
                  </a:lnTo>
                  <a:lnTo>
                    <a:pt x="144" y="900"/>
                  </a:lnTo>
                  <a:lnTo>
                    <a:pt x="138" y="894"/>
                  </a:lnTo>
                  <a:lnTo>
                    <a:pt x="138" y="900"/>
                  </a:lnTo>
                  <a:lnTo>
                    <a:pt x="132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6" y="882"/>
                  </a:lnTo>
                  <a:lnTo>
                    <a:pt x="126" y="876"/>
                  </a:lnTo>
                  <a:lnTo>
                    <a:pt x="120" y="876"/>
                  </a:lnTo>
                  <a:lnTo>
                    <a:pt x="126" y="870"/>
                  </a:lnTo>
                  <a:lnTo>
                    <a:pt x="126" y="864"/>
                  </a:lnTo>
                  <a:lnTo>
                    <a:pt x="126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26" y="828"/>
                  </a:lnTo>
                  <a:lnTo>
                    <a:pt x="126" y="822"/>
                  </a:lnTo>
                  <a:lnTo>
                    <a:pt x="126" y="816"/>
                  </a:lnTo>
                  <a:lnTo>
                    <a:pt x="126" y="810"/>
                  </a:lnTo>
                  <a:lnTo>
                    <a:pt x="126" y="804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20" y="792"/>
                  </a:lnTo>
                  <a:lnTo>
                    <a:pt x="114" y="792"/>
                  </a:lnTo>
                  <a:lnTo>
                    <a:pt x="114" y="786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96" y="780"/>
                  </a:lnTo>
                  <a:lnTo>
                    <a:pt x="96" y="774"/>
                  </a:lnTo>
                  <a:lnTo>
                    <a:pt x="90" y="774"/>
                  </a:lnTo>
                  <a:lnTo>
                    <a:pt x="90" y="768"/>
                  </a:lnTo>
                  <a:close/>
                  <a:moveTo>
                    <a:pt x="96" y="780"/>
                  </a:moveTo>
                  <a:lnTo>
                    <a:pt x="102" y="780"/>
                  </a:lnTo>
                  <a:lnTo>
                    <a:pt x="102" y="786"/>
                  </a:lnTo>
                  <a:lnTo>
                    <a:pt x="108" y="786"/>
                  </a:lnTo>
                  <a:lnTo>
                    <a:pt x="114" y="792"/>
                  </a:lnTo>
                  <a:lnTo>
                    <a:pt x="120" y="798"/>
                  </a:lnTo>
                  <a:lnTo>
                    <a:pt x="120" y="804"/>
                  </a:lnTo>
                  <a:lnTo>
                    <a:pt x="126" y="810"/>
                  </a:lnTo>
                  <a:lnTo>
                    <a:pt x="126" y="816"/>
                  </a:lnTo>
                  <a:lnTo>
                    <a:pt x="126" y="822"/>
                  </a:lnTo>
                  <a:lnTo>
                    <a:pt x="120" y="828"/>
                  </a:lnTo>
                  <a:lnTo>
                    <a:pt x="120" y="840"/>
                  </a:lnTo>
                  <a:lnTo>
                    <a:pt x="120" y="852"/>
                  </a:lnTo>
                  <a:lnTo>
                    <a:pt x="120" y="858"/>
                  </a:lnTo>
                  <a:lnTo>
                    <a:pt x="120" y="864"/>
                  </a:lnTo>
                  <a:lnTo>
                    <a:pt x="120" y="870"/>
                  </a:lnTo>
                  <a:lnTo>
                    <a:pt x="114" y="870"/>
                  </a:lnTo>
                  <a:lnTo>
                    <a:pt x="108" y="870"/>
                  </a:lnTo>
                  <a:lnTo>
                    <a:pt x="108" y="876"/>
                  </a:lnTo>
                  <a:lnTo>
                    <a:pt x="114" y="876"/>
                  </a:lnTo>
                  <a:lnTo>
                    <a:pt x="120" y="876"/>
                  </a:lnTo>
                  <a:lnTo>
                    <a:pt x="120" y="882"/>
                  </a:lnTo>
                  <a:lnTo>
                    <a:pt x="114" y="888"/>
                  </a:lnTo>
                  <a:lnTo>
                    <a:pt x="120" y="888"/>
                  </a:lnTo>
                  <a:lnTo>
                    <a:pt x="120" y="894"/>
                  </a:lnTo>
                  <a:lnTo>
                    <a:pt x="114" y="894"/>
                  </a:lnTo>
                  <a:lnTo>
                    <a:pt x="108" y="894"/>
                  </a:lnTo>
                  <a:lnTo>
                    <a:pt x="96" y="894"/>
                  </a:lnTo>
                  <a:lnTo>
                    <a:pt x="96" y="882"/>
                  </a:lnTo>
                  <a:lnTo>
                    <a:pt x="96" y="876"/>
                  </a:lnTo>
                  <a:lnTo>
                    <a:pt x="84" y="870"/>
                  </a:lnTo>
                  <a:lnTo>
                    <a:pt x="72" y="864"/>
                  </a:lnTo>
                  <a:lnTo>
                    <a:pt x="72" y="852"/>
                  </a:lnTo>
                  <a:lnTo>
                    <a:pt x="72" y="840"/>
                  </a:lnTo>
                  <a:lnTo>
                    <a:pt x="78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90" y="792"/>
                  </a:lnTo>
                  <a:lnTo>
                    <a:pt x="96" y="780"/>
                  </a:lnTo>
                  <a:close/>
                  <a:moveTo>
                    <a:pt x="492" y="810"/>
                  </a:moveTo>
                  <a:lnTo>
                    <a:pt x="498" y="810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510" y="792"/>
                  </a:lnTo>
                  <a:lnTo>
                    <a:pt x="516" y="786"/>
                  </a:lnTo>
                  <a:lnTo>
                    <a:pt x="522" y="780"/>
                  </a:lnTo>
                  <a:lnTo>
                    <a:pt x="522" y="774"/>
                  </a:lnTo>
                  <a:lnTo>
                    <a:pt x="528" y="768"/>
                  </a:lnTo>
                  <a:lnTo>
                    <a:pt x="528" y="762"/>
                  </a:lnTo>
                  <a:lnTo>
                    <a:pt x="534" y="762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46" y="780"/>
                  </a:lnTo>
                  <a:lnTo>
                    <a:pt x="552" y="786"/>
                  </a:lnTo>
                  <a:lnTo>
                    <a:pt x="558" y="786"/>
                  </a:lnTo>
                  <a:lnTo>
                    <a:pt x="564" y="786"/>
                  </a:lnTo>
                  <a:lnTo>
                    <a:pt x="576" y="786"/>
                  </a:lnTo>
                  <a:lnTo>
                    <a:pt x="582" y="786"/>
                  </a:lnTo>
                  <a:lnTo>
                    <a:pt x="588" y="786"/>
                  </a:lnTo>
                  <a:lnTo>
                    <a:pt x="594" y="786"/>
                  </a:lnTo>
                  <a:lnTo>
                    <a:pt x="588" y="792"/>
                  </a:lnTo>
                  <a:lnTo>
                    <a:pt x="588" y="798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82" y="822"/>
                  </a:lnTo>
                  <a:lnTo>
                    <a:pt x="588" y="828"/>
                  </a:lnTo>
                  <a:lnTo>
                    <a:pt x="588" y="834"/>
                  </a:lnTo>
                  <a:lnTo>
                    <a:pt x="582" y="840"/>
                  </a:lnTo>
                  <a:lnTo>
                    <a:pt x="570" y="840"/>
                  </a:lnTo>
                  <a:lnTo>
                    <a:pt x="558" y="846"/>
                  </a:lnTo>
                  <a:lnTo>
                    <a:pt x="552" y="846"/>
                  </a:lnTo>
                  <a:lnTo>
                    <a:pt x="534" y="852"/>
                  </a:lnTo>
                  <a:lnTo>
                    <a:pt x="522" y="858"/>
                  </a:lnTo>
                  <a:lnTo>
                    <a:pt x="510" y="858"/>
                  </a:lnTo>
                  <a:lnTo>
                    <a:pt x="498" y="864"/>
                  </a:lnTo>
                  <a:lnTo>
                    <a:pt x="474" y="864"/>
                  </a:lnTo>
                  <a:lnTo>
                    <a:pt x="468" y="858"/>
                  </a:lnTo>
                  <a:lnTo>
                    <a:pt x="468" y="852"/>
                  </a:lnTo>
                  <a:lnTo>
                    <a:pt x="468" y="846"/>
                  </a:lnTo>
                  <a:lnTo>
                    <a:pt x="474" y="840"/>
                  </a:lnTo>
                  <a:lnTo>
                    <a:pt x="474" y="834"/>
                  </a:lnTo>
                  <a:lnTo>
                    <a:pt x="480" y="828"/>
                  </a:lnTo>
                  <a:lnTo>
                    <a:pt x="492" y="822"/>
                  </a:lnTo>
                  <a:lnTo>
                    <a:pt x="492" y="810"/>
                  </a:lnTo>
                  <a:close/>
                  <a:moveTo>
                    <a:pt x="384" y="720"/>
                  </a:moveTo>
                  <a:lnTo>
                    <a:pt x="384" y="726"/>
                  </a:lnTo>
                  <a:lnTo>
                    <a:pt x="390" y="726"/>
                  </a:lnTo>
                  <a:lnTo>
                    <a:pt x="396" y="726"/>
                  </a:lnTo>
                  <a:lnTo>
                    <a:pt x="402" y="732"/>
                  </a:lnTo>
                  <a:lnTo>
                    <a:pt x="408" y="732"/>
                  </a:lnTo>
                  <a:lnTo>
                    <a:pt x="414" y="732"/>
                  </a:lnTo>
                  <a:lnTo>
                    <a:pt x="414" y="738"/>
                  </a:lnTo>
                  <a:lnTo>
                    <a:pt x="414" y="744"/>
                  </a:lnTo>
                  <a:lnTo>
                    <a:pt x="414" y="750"/>
                  </a:lnTo>
                  <a:lnTo>
                    <a:pt x="414" y="756"/>
                  </a:lnTo>
                  <a:lnTo>
                    <a:pt x="414" y="762"/>
                  </a:lnTo>
                  <a:lnTo>
                    <a:pt x="420" y="768"/>
                  </a:lnTo>
                  <a:lnTo>
                    <a:pt x="420" y="774"/>
                  </a:lnTo>
                  <a:lnTo>
                    <a:pt x="426" y="780"/>
                  </a:lnTo>
                  <a:lnTo>
                    <a:pt x="426" y="786"/>
                  </a:lnTo>
                  <a:lnTo>
                    <a:pt x="420" y="786"/>
                  </a:lnTo>
                  <a:lnTo>
                    <a:pt x="420" y="792"/>
                  </a:lnTo>
                  <a:lnTo>
                    <a:pt x="420" y="798"/>
                  </a:lnTo>
                  <a:lnTo>
                    <a:pt x="420" y="804"/>
                  </a:lnTo>
                  <a:lnTo>
                    <a:pt x="426" y="804"/>
                  </a:lnTo>
                  <a:lnTo>
                    <a:pt x="426" y="810"/>
                  </a:lnTo>
                  <a:lnTo>
                    <a:pt x="426" y="816"/>
                  </a:lnTo>
                  <a:lnTo>
                    <a:pt x="432" y="816"/>
                  </a:lnTo>
                  <a:lnTo>
                    <a:pt x="438" y="816"/>
                  </a:lnTo>
                  <a:lnTo>
                    <a:pt x="438" y="822"/>
                  </a:lnTo>
                  <a:lnTo>
                    <a:pt x="432" y="822"/>
                  </a:lnTo>
                  <a:lnTo>
                    <a:pt x="426" y="828"/>
                  </a:lnTo>
                  <a:lnTo>
                    <a:pt x="420" y="828"/>
                  </a:lnTo>
                  <a:lnTo>
                    <a:pt x="414" y="828"/>
                  </a:lnTo>
                  <a:lnTo>
                    <a:pt x="408" y="828"/>
                  </a:lnTo>
                  <a:lnTo>
                    <a:pt x="402" y="828"/>
                  </a:lnTo>
                  <a:lnTo>
                    <a:pt x="402" y="822"/>
                  </a:lnTo>
                  <a:lnTo>
                    <a:pt x="396" y="822"/>
                  </a:lnTo>
                  <a:lnTo>
                    <a:pt x="402" y="822"/>
                  </a:lnTo>
                  <a:lnTo>
                    <a:pt x="402" y="816"/>
                  </a:lnTo>
                  <a:lnTo>
                    <a:pt x="396" y="816"/>
                  </a:lnTo>
                  <a:lnTo>
                    <a:pt x="396" y="810"/>
                  </a:lnTo>
                  <a:lnTo>
                    <a:pt x="396" y="804"/>
                  </a:lnTo>
                  <a:lnTo>
                    <a:pt x="390" y="798"/>
                  </a:lnTo>
                  <a:lnTo>
                    <a:pt x="390" y="792"/>
                  </a:lnTo>
                  <a:lnTo>
                    <a:pt x="390" y="786"/>
                  </a:lnTo>
                  <a:lnTo>
                    <a:pt x="390" y="780"/>
                  </a:lnTo>
                  <a:lnTo>
                    <a:pt x="390" y="774"/>
                  </a:lnTo>
                  <a:lnTo>
                    <a:pt x="390" y="768"/>
                  </a:lnTo>
                  <a:lnTo>
                    <a:pt x="390" y="762"/>
                  </a:lnTo>
                  <a:lnTo>
                    <a:pt x="384" y="756"/>
                  </a:lnTo>
                  <a:lnTo>
                    <a:pt x="384" y="750"/>
                  </a:lnTo>
                  <a:lnTo>
                    <a:pt x="384" y="744"/>
                  </a:lnTo>
                  <a:lnTo>
                    <a:pt x="378" y="744"/>
                  </a:lnTo>
                  <a:lnTo>
                    <a:pt x="384" y="744"/>
                  </a:lnTo>
                  <a:lnTo>
                    <a:pt x="384" y="738"/>
                  </a:lnTo>
                  <a:lnTo>
                    <a:pt x="378" y="738"/>
                  </a:lnTo>
                  <a:lnTo>
                    <a:pt x="378" y="732"/>
                  </a:lnTo>
                  <a:lnTo>
                    <a:pt x="378" y="726"/>
                  </a:lnTo>
                  <a:lnTo>
                    <a:pt x="378" y="720"/>
                  </a:lnTo>
                  <a:lnTo>
                    <a:pt x="384" y="720"/>
                  </a:lnTo>
                  <a:close/>
                  <a:moveTo>
                    <a:pt x="330" y="738"/>
                  </a:moveTo>
                  <a:lnTo>
                    <a:pt x="336" y="732"/>
                  </a:lnTo>
                  <a:lnTo>
                    <a:pt x="336" y="726"/>
                  </a:lnTo>
                  <a:lnTo>
                    <a:pt x="342" y="720"/>
                  </a:lnTo>
                  <a:lnTo>
                    <a:pt x="348" y="720"/>
                  </a:lnTo>
                  <a:lnTo>
                    <a:pt x="360" y="720"/>
                  </a:lnTo>
                  <a:lnTo>
                    <a:pt x="366" y="726"/>
                  </a:lnTo>
                  <a:lnTo>
                    <a:pt x="372" y="732"/>
                  </a:lnTo>
                  <a:lnTo>
                    <a:pt x="372" y="738"/>
                  </a:lnTo>
                  <a:lnTo>
                    <a:pt x="366" y="750"/>
                  </a:lnTo>
                  <a:lnTo>
                    <a:pt x="372" y="756"/>
                  </a:lnTo>
                  <a:lnTo>
                    <a:pt x="372" y="762"/>
                  </a:lnTo>
                  <a:lnTo>
                    <a:pt x="372" y="768"/>
                  </a:lnTo>
                  <a:lnTo>
                    <a:pt x="372" y="774"/>
                  </a:lnTo>
                  <a:lnTo>
                    <a:pt x="372" y="780"/>
                  </a:lnTo>
                  <a:lnTo>
                    <a:pt x="372" y="774"/>
                  </a:lnTo>
                  <a:lnTo>
                    <a:pt x="366" y="768"/>
                  </a:lnTo>
                  <a:lnTo>
                    <a:pt x="366" y="762"/>
                  </a:lnTo>
                  <a:lnTo>
                    <a:pt x="366" y="756"/>
                  </a:lnTo>
                  <a:lnTo>
                    <a:pt x="360" y="756"/>
                  </a:lnTo>
                  <a:lnTo>
                    <a:pt x="360" y="750"/>
                  </a:lnTo>
                  <a:lnTo>
                    <a:pt x="354" y="750"/>
                  </a:lnTo>
                  <a:lnTo>
                    <a:pt x="348" y="744"/>
                  </a:lnTo>
                  <a:lnTo>
                    <a:pt x="342" y="744"/>
                  </a:lnTo>
                  <a:lnTo>
                    <a:pt x="336" y="744"/>
                  </a:lnTo>
                  <a:lnTo>
                    <a:pt x="330" y="73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1" name="Freeform 6">
              <a:extLst>
                <a:ext uri="{FF2B5EF4-FFF2-40B4-BE49-F238E27FC236}">
                  <a16:creationId xmlns:a16="http://schemas.microsoft.com/office/drawing/2014/main" id="{0656C385-F30A-4AC8-AE9F-B1F66208B38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3123" y="4163918"/>
              <a:ext cx="266107" cy="248252"/>
            </a:xfrm>
            <a:custGeom>
              <a:avLst/>
              <a:gdLst>
                <a:gd name="T0" fmla="*/ 33 w 504"/>
                <a:gd name="T1" fmla="*/ 41 h 468"/>
                <a:gd name="T2" fmla="*/ 26 w 504"/>
                <a:gd name="T3" fmla="*/ 39 h 468"/>
                <a:gd name="T4" fmla="*/ 21 w 504"/>
                <a:gd name="T5" fmla="*/ 38 h 468"/>
                <a:gd name="T6" fmla="*/ 18 w 504"/>
                <a:gd name="T7" fmla="*/ 38 h 468"/>
                <a:gd name="T8" fmla="*/ 15 w 504"/>
                <a:gd name="T9" fmla="*/ 39 h 468"/>
                <a:gd name="T10" fmla="*/ 12 w 504"/>
                <a:gd name="T11" fmla="*/ 38 h 468"/>
                <a:gd name="T12" fmla="*/ 9 w 504"/>
                <a:gd name="T13" fmla="*/ 37 h 468"/>
                <a:gd name="T14" fmla="*/ 7 w 504"/>
                <a:gd name="T15" fmla="*/ 32 h 468"/>
                <a:gd name="T16" fmla="*/ 6 w 504"/>
                <a:gd name="T17" fmla="*/ 26 h 468"/>
                <a:gd name="T18" fmla="*/ 3 w 504"/>
                <a:gd name="T19" fmla="*/ 24 h 468"/>
                <a:gd name="T20" fmla="*/ 1 w 504"/>
                <a:gd name="T21" fmla="*/ 24 h 468"/>
                <a:gd name="T22" fmla="*/ 2 w 504"/>
                <a:gd name="T23" fmla="*/ 18 h 468"/>
                <a:gd name="T24" fmla="*/ 1 w 504"/>
                <a:gd name="T25" fmla="*/ 17 h 468"/>
                <a:gd name="T26" fmla="*/ 0 w 504"/>
                <a:gd name="T27" fmla="*/ 17 h 468"/>
                <a:gd name="T28" fmla="*/ 0 w 504"/>
                <a:gd name="T29" fmla="*/ 15 h 468"/>
                <a:gd name="T30" fmla="*/ 2 w 504"/>
                <a:gd name="T31" fmla="*/ 12 h 468"/>
                <a:gd name="T32" fmla="*/ 4 w 504"/>
                <a:gd name="T33" fmla="*/ 10 h 468"/>
                <a:gd name="T34" fmla="*/ 6 w 504"/>
                <a:gd name="T35" fmla="*/ 8 h 468"/>
                <a:gd name="T36" fmla="*/ 8 w 504"/>
                <a:gd name="T37" fmla="*/ 8 h 468"/>
                <a:gd name="T38" fmla="*/ 10 w 504"/>
                <a:gd name="T39" fmla="*/ 9 h 468"/>
                <a:gd name="T40" fmla="*/ 12 w 504"/>
                <a:gd name="T41" fmla="*/ 10 h 468"/>
                <a:gd name="T42" fmla="*/ 12 w 504"/>
                <a:gd name="T43" fmla="*/ 11 h 468"/>
                <a:gd name="T44" fmla="*/ 14 w 504"/>
                <a:gd name="T45" fmla="*/ 8 h 468"/>
                <a:gd name="T46" fmla="*/ 15 w 504"/>
                <a:gd name="T47" fmla="*/ 7 h 468"/>
                <a:gd name="T48" fmla="*/ 17 w 504"/>
                <a:gd name="T49" fmla="*/ 6 h 468"/>
                <a:gd name="T50" fmla="*/ 19 w 504"/>
                <a:gd name="T51" fmla="*/ 3 h 468"/>
                <a:gd name="T52" fmla="*/ 20 w 504"/>
                <a:gd name="T53" fmla="*/ 2 h 468"/>
                <a:gd name="T54" fmla="*/ 22 w 504"/>
                <a:gd name="T55" fmla="*/ 1 h 468"/>
                <a:gd name="T56" fmla="*/ 27 w 504"/>
                <a:gd name="T57" fmla="*/ 1 h 468"/>
                <a:gd name="T58" fmla="*/ 30 w 504"/>
                <a:gd name="T59" fmla="*/ 2 h 468"/>
                <a:gd name="T60" fmla="*/ 31 w 504"/>
                <a:gd name="T61" fmla="*/ 2 h 468"/>
                <a:gd name="T62" fmla="*/ 34 w 504"/>
                <a:gd name="T63" fmla="*/ 0 h 468"/>
                <a:gd name="T64" fmla="*/ 37 w 504"/>
                <a:gd name="T65" fmla="*/ 1 h 468"/>
                <a:gd name="T66" fmla="*/ 41 w 504"/>
                <a:gd name="T67" fmla="*/ 2 h 468"/>
                <a:gd name="T68" fmla="*/ 42 w 504"/>
                <a:gd name="T69" fmla="*/ 4 h 468"/>
                <a:gd name="T70" fmla="*/ 42 w 504"/>
                <a:gd name="T71" fmla="*/ 10 h 468"/>
                <a:gd name="T72" fmla="*/ 41 w 504"/>
                <a:gd name="T73" fmla="*/ 14 h 468"/>
                <a:gd name="T74" fmla="*/ 42 w 504"/>
                <a:gd name="T75" fmla="*/ 15 h 468"/>
                <a:gd name="T76" fmla="*/ 44 w 504"/>
                <a:gd name="T77" fmla="*/ 18 h 468"/>
                <a:gd name="T78" fmla="*/ 43 w 504"/>
                <a:gd name="T79" fmla="*/ 19 h 468"/>
                <a:gd name="T80" fmla="*/ 42 w 504"/>
                <a:gd name="T81" fmla="*/ 21 h 468"/>
                <a:gd name="T82" fmla="*/ 42 w 504"/>
                <a:gd name="T83" fmla="*/ 23 h 468"/>
                <a:gd name="T84" fmla="*/ 39 w 504"/>
                <a:gd name="T85" fmla="*/ 27 h 468"/>
                <a:gd name="T86" fmla="*/ 38 w 504"/>
                <a:gd name="T87" fmla="*/ 29 h 468"/>
                <a:gd name="T88" fmla="*/ 38 w 504"/>
                <a:gd name="T89" fmla="*/ 31 h 468"/>
                <a:gd name="T90" fmla="*/ 36 w 504"/>
                <a:gd name="T91" fmla="*/ 32 h 468"/>
                <a:gd name="T92" fmla="*/ 35 w 504"/>
                <a:gd name="T93" fmla="*/ 34 h 468"/>
                <a:gd name="T94" fmla="*/ 34 w 504"/>
                <a:gd name="T95" fmla="*/ 38 h 46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04"/>
                <a:gd name="T145" fmla="*/ 0 h 468"/>
                <a:gd name="T146" fmla="*/ 504 w 504"/>
                <a:gd name="T147" fmla="*/ 468 h 46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04" h="468">
                  <a:moveTo>
                    <a:pt x="390" y="456"/>
                  </a:moveTo>
                  <a:lnTo>
                    <a:pt x="384" y="468"/>
                  </a:lnTo>
                  <a:lnTo>
                    <a:pt x="378" y="468"/>
                  </a:lnTo>
                  <a:lnTo>
                    <a:pt x="354" y="468"/>
                  </a:lnTo>
                  <a:lnTo>
                    <a:pt x="348" y="462"/>
                  </a:lnTo>
                  <a:lnTo>
                    <a:pt x="300" y="456"/>
                  </a:lnTo>
                  <a:lnTo>
                    <a:pt x="270" y="444"/>
                  </a:lnTo>
                  <a:lnTo>
                    <a:pt x="252" y="438"/>
                  </a:lnTo>
                  <a:lnTo>
                    <a:pt x="240" y="438"/>
                  </a:lnTo>
                  <a:lnTo>
                    <a:pt x="234" y="438"/>
                  </a:lnTo>
                  <a:lnTo>
                    <a:pt x="228" y="444"/>
                  </a:lnTo>
                  <a:lnTo>
                    <a:pt x="210" y="444"/>
                  </a:lnTo>
                  <a:lnTo>
                    <a:pt x="198" y="444"/>
                  </a:lnTo>
                  <a:lnTo>
                    <a:pt x="198" y="450"/>
                  </a:lnTo>
                  <a:lnTo>
                    <a:pt x="168" y="456"/>
                  </a:lnTo>
                  <a:lnTo>
                    <a:pt x="150" y="450"/>
                  </a:lnTo>
                  <a:lnTo>
                    <a:pt x="144" y="444"/>
                  </a:lnTo>
                  <a:lnTo>
                    <a:pt x="132" y="438"/>
                  </a:lnTo>
                  <a:lnTo>
                    <a:pt x="138" y="432"/>
                  </a:lnTo>
                  <a:lnTo>
                    <a:pt x="114" y="432"/>
                  </a:lnTo>
                  <a:lnTo>
                    <a:pt x="102" y="426"/>
                  </a:lnTo>
                  <a:lnTo>
                    <a:pt x="90" y="414"/>
                  </a:lnTo>
                  <a:lnTo>
                    <a:pt x="72" y="402"/>
                  </a:lnTo>
                  <a:lnTo>
                    <a:pt x="78" y="366"/>
                  </a:lnTo>
                  <a:lnTo>
                    <a:pt x="78" y="330"/>
                  </a:lnTo>
                  <a:lnTo>
                    <a:pt x="66" y="318"/>
                  </a:lnTo>
                  <a:lnTo>
                    <a:pt x="66" y="300"/>
                  </a:lnTo>
                  <a:lnTo>
                    <a:pt x="66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30" y="282"/>
                  </a:lnTo>
                  <a:lnTo>
                    <a:pt x="24" y="282"/>
                  </a:lnTo>
                  <a:lnTo>
                    <a:pt x="12" y="276"/>
                  </a:lnTo>
                  <a:lnTo>
                    <a:pt x="0" y="282"/>
                  </a:lnTo>
                  <a:lnTo>
                    <a:pt x="12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2" y="198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6" y="180"/>
                  </a:lnTo>
                  <a:lnTo>
                    <a:pt x="12" y="186"/>
                  </a:lnTo>
                  <a:lnTo>
                    <a:pt x="18" y="138"/>
                  </a:lnTo>
                  <a:lnTo>
                    <a:pt x="24" y="126"/>
                  </a:lnTo>
                  <a:lnTo>
                    <a:pt x="30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20" y="102"/>
                  </a:lnTo>
                  <a:lnTo>
                    <a:pt x="126" y="108"/>
                  </a:lnTo>
                  <a:lnTo>
                    <a:pt x="126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0"/>
                  </a:lnTo>
                  <a:lnTo>
                    <a:pt x="156" y="96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16" y="42"/>
                  </a:lnTo>
                  <a:lnTo>
                    <a:pt x="222" y="36"/>
                  </a:lnTo>
                  <a:lnTo>
                    <a:pt x="228" y="36"/>
                  </a:lnTo>
                  <a:lnTo>
                    <a:pt x="228" y="30"/>
                  </a:lnTo>
                  <a:lnTo>
                    <a:pt x="228" y="24"/>
                  </a:lnTo>
                  <a:lnTo>
                    <a:pt x="246" y="18"/>
                  </a:lnTo>
                  <a:lnTo>
                    <a:pt x="252" y="18"/>
                  </a:lnTo>
                  <a:lnTo>
                    <a:pt x="258" y="12"/>
                  </a:lnTo>
                  <a:lnTo>
                    <a:pt x="270" y="6"/>
                  </a:lnTo>
                  <a:lnTo>
                    <a:pt x="288" y="6"/>
                  </a:lnTo>
                  <a:lnTo>
                    <a:pt x="312" y="12"/>
                  </a:lnTo>
                  <a:lnTo>
                    <a:pt x="324" y="12"/>
                  </a:lnTo>
                  <a:lnTo>
                    <a:pt x="336" y="18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14" y="12"/>
                  </a:lnTo>
                  <a:lnTo>
                    <a:pt x="426" y="12"/>
                  </a:lnTo>
                  <a:lnTo>
                    <a:pt x="444" y="18"/>
                  </a:lnTo>
                  <a:lnTo>
                    <a:pt x="462" y="18"/>
                  </a:lnTo>
                  <a:lnTo>
                    <a:pt x="474" y="18"/>
                  </a:lnTo>
                  <a:lnTo>
                    <a:pt x="480" y="18"/>
                  </a:lnTo>
                  <a:lnTo>
                    <a:pt x="486" y="36"/>
                  </a:lnTo>
                  <a:lnTo>
                    <a:pt x="480" y="42"/>
                  </a:lnTo>
                  <a:lnTo>
                    <a:pt x="480" y="54"/>
                  </a:lnTo>
                  <a:lnTo>
                    <a:pt x="486" y="78"/>
                  </a:lnTo>
                  <a:lnTo>
                    <a:pt x="486" y="114"/>
                  </a:lnTo>
                  <a:lnTo>
                    <a:pt x="486" y="150"/>
                  </a:lnTo>
                  <a:lnTo>
                    <a:pt x="468" y="150"/>
                  </a:lnTo>
                  <a:lnTo>
                    <a:pt x="474" y="162"/>
                  </a:lnTo>
                  <a:lnTo>
                    <a:pt x="480" y="162"/>
                  </a:lnTo>
                  <a:lnTo>
                    <a:pt x="486" y="174"/>
                  </a:lnTo>
                  <a:lnTo>
                    <a:pt x="492" y="174"/>
                  </a:lnTo>
                  <a:lnTo>
                    <a:pt x="492" y="192"/>
                  </a:lnTo>
                  <a:lnTo>
                    <a:pt x="498" y="198"/>
                  </a:lnTo>
                  <a:lnTo>
                    <a:pt x="504" y="204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8" y="222"/>
                  </a:lnTo>
                  <a:lnTo>
                    <a:pt x="492" y="228"/>
                  </a:lnTo>
                  <a:lnTo>
                    <a:pt x="492" y="234"/>
                  </a:lnTo>
                  <a:lnTo>
                    <a:pt x="492" y="240"/>
                  </a:lnTo>
                  <a:lnTo>
                    <a:pt x="486" y="246"/>
                  </a:lnTo>
                  <a:lnTo>
                    <a:pt x="486" y="258"/>
                  </a:lnTo>
                  <a:lnTo>
                    <a:pt x="480" y="264"/>
                  </a:lnTo>
                  <a:lnTo>
                    <a:pt x="474" y="276"/>
                  </a:lnTo>
                  <a:lnTo>
                    <a:pt x="468" y="288"/>
                  </a:lnTo>
                  <a:lnTo>
                    <a:pt x="456" y="306"/>
                  </a:lnTo>
                  <a:lnTo>
                    <a:pt x="456" y="312"/>
                  </a:lnTo>
                  <a:lnTo>
                    <a:pt x="444" y="318"/>
                  </a:lnTo>
                  <a:lnTo>
                    <a:pt x="432" y="336"/>
                  </a:lnTo>
                  <a:lnTo>
                    <a:pt x="432" y="342"/>
                  </a:lnTo>
                  <a:lnTo>
                    <a:pt x="432" y="348"/>
                  </a:lnTo>
                  <a:lnTo>
                    <a:pt x="432" y="354"/>
                  </a:lnTo>
                  <a:lnTo>
                    <a:pt x="426" y="366"/>
                  </a:lnTo>
                  <a:lnTo>
                    <a:pt x="420" y="366"/>
                  </a:lnTo>
                  <a:lnTo>
                    <a:pt x="420" y="372"/>
                  </a:lnTo>
                  <a:lnTo>
                    <a:pt x="414" y="378"/>
                  </a:lnTo>
                  <a:lnTo>
                    <a:pt x="414" y="390"/>
                  </a:lnTo>
                  <a:lnTo>
                    <a:pt x="408" y="390"/>
                  </a:lnTo>
                  <a:lnTo>
                    <a:pt x="408" y="402"/>
                  </a:lnTo>
                  <a:lnTo>
                    <a:pt x="402" y="414"/>
                  </a:lnTo>
                  <a:lnTo>
                    <a:pt x="396" y="438"/>
                  </a:lnTo>
                  <a:lnTo>
                    <a:pt x="396" y="444"/>
                  </a:lnTo>
                  <a:lnTo>
                    <a:pt x="390" y="45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11" name="Freeform 7">
              <a:extLst>
                <a:ext uri="{FF2B5EF4-FFF2-40B4-BE49-F238E27FC236}">
                  <a16:creationId xmlns:a16="http://schemas.microsoft.com/office/drawing/2014/main" id="{0D8DE62D-4554-4314-9F3A-7208D89B4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90838" y="4128134"/>
              <a:ext cx="283995" cy="411516"/>
            </a:xfrm>
            <a:custGeom>
              <a:avLst/>
              <a:gdLst>
                <a:gd name="T0" fmla="*/ 39 w 534"/>
                <a:gd name="T1" fmla="*/ 35 h 774"/>
                <a:gd name="T2" fmla="*/ 35 w 534"/>
                <a:gd name="T3" fmla="*/ 31 h 774"/>
                <a:gd name="T4" fmla="*/ 32 w 534"/>
                <a:gd name="T5" fmla="*/ 29 h 774"/>
                <a:gd name="T6" fmla="*/ 32 w 534"/>
                <a:gd name="T7" fmla="*/ 31 h 774"/>
                <a:gd name="T8" fmla="*/ 29 w 534"/>
                <a:gd name="T9" fmla="*/ 33 h 774"/>
                <a:gd name="T10" fmla="*/ 27 w 534"/>
                <a:gd name="T11" fmla="*/ 36 h 774"/>
                <a:gd name="T12" fmla="*/ 30 w 534"/>
                <a:gd name="T13" fmla="*/ 38 h 774"/>
                <a:gd name="T14" fmla="*/ 29 w 534"/>
                <a:gd name="T15" fmla="*/ 40 h 774"/>
                <a:gd name="T16" fmla="*/ 25 w 534"/>
                <a:gd name="T17" fmla="*/ 40 h 774"/>
                <a:gd name="T18" fmla="*/ 23 w 534"/>
                <a:gd name="T19" fmla="*/ 42 h 774"/>
                <a:gd name="T20" fmla="*/ 22 w 534"/>
                <a:gd name="T21" fmla="*/ 47 h 774"/>
                <a:gd name="T22" fmla="*/ 22 w 534"/>
                <a:gd name="T23" fmla="*/ 51 h 774"/>
                <a:gd name="T24" fmla="*/ 22 w 534"/>
                <a:gd name="T25" fmla="*/ 54 h 774"/>
                <a:gd name="T26" fmla="*/ 21 w 534"/>
                <a:gd name="T27" fmla="*/ 56 h 774"/>
                <a:gd name="T28" fmla="*/ 19 w 534"/>
                <a:gd name="T29" fmla="*/ 58 h 774"/>
                <a:gd name="T30" fmla="*/ 20 w 534"/>
                <a:gd name="T31" fmla="*/ 59 h 774"/>
                <a:gd name="T32" fmla="*/ 19 w 534"/>
                <a:gd name="T33" fmla="*/ 62 h 774"/>
                <a:gd name="T34" fmla="*/ 19 w 534"/>
                <a:gd name="T35" fmla="*/ 64 h 774"/>
                <a:gd name="T36" fmla="*/ 20 w 534"/>
                <a:gd name="T37" fmla="*/ 66 h 774"/>
                <a:gd name="T38" fmla="*/ 17 w 534"/>
                <a:gd name="T39" fmla="*/ 66 h 774"/>
                <a:gd name="T40" fmla="*/ 16 w 534"/>
                <a:gd name="T41" fmla="*/ 65 h 774"/>
                <a:gd name="T42" fmla="*/ 13 w 534"/>
                <a:gd name="T43" fmla="*/ 65 h 774"/>
                <a:gd name="T44" fmla="*/ 11 w 534"/>
                <a:gd name="T45" fmla="*/ 65 h 774"/>
                <a:gd name="T46" fmla="*/ 8 w 534"/>
                <a:gd name="T47" fmla="*/ 65 h 774"/>
                <a:gd name="T48" fmla="*/ 8 w 534"/>
                <a:gd name="T49" fmla="*/ 64 h 774"/>
                <a:gd name="T50" fmla="*/ 5 w 534"/>
                <a:gd name="T51" fmla="*/ 65 h 774"/>
                <a:gd name="T52" fmla="*/ 3 w 534"/>
                <a:gd name="T53" fmla="*/ 65 h 774"/>
                <a:gd name="T54" fmla="*/ 0 w 534"/>
                <a:gd name="T55" fmla="*/ 64 h 774"/>
                <a:gd name="T56" fmla="*/ 0 w 534"/>
                <a:gd name="T57" fmla="*/ 62 h 774"/>
                <a:gd name="T58" fmla="*/ 3 w 534"/>
                <a:gd name="T59" fmla="*/ 60 h 774"/>
                <a:gd name="T60" fmla="*/ 6 w 534"/>
                <a:gd name="T61" fmla="*/ 57 h 774"/>
                <a:gd name="T62" fmla="*/ 8 w 534"/>
                <a:gd name="T63" fmla="*/ 50 h 774"/>
                <a:gd name="T64" fmla="*/ 6 w 534"/>
                <a:gd name="T65" fmla="*/ 45 h 774"/>
                <a:gd name="T66" fmla="*/ 8 w 534"/>
                <a:gd name="T67" fmla="*/ 41 h 774"/>
                <a:gd name="T68" fmla="*/ 9 w 534"/>
                <a:gd name="T69" fmla="*/ 38 h 774"/>
                <a:gd name="T70" fmla="*/ 10 w 534"/>
                <a:gd name="T71" fmla="*/ 36 h 774"/>
                <a:gd name="T72" fmla="*/ 12 w 534"/>
                <a:gd name="T73" fmla="*/ 33 h 774"/>
                <a:gd name="T74" fmla="*/ 14 w 534"/>
                <a:gd name="T75" fmla="*/ 29 h 774"/>
                <a:gd name="T76" fmla="*/ 16 w 534"/>
                <a:gd name="T77" fmla="*/ 26 h 774"/>
                <a:gd name="T78" fmla="*/ 16 w 534"/>
                <a:gd name="T79" fmla="*/ 24 h 774"/>
                <a:gd name="T80" fmla="*/ 16 w 534"/>
                <a:gd name="T81" fmla="*/ 21 h 774"/>
                <a:gd name="T82" fmla="*/ 13 w 534"/>
                <a:gd name="T83" fmla="*/ 19 h 774"/>
                <a:gd name="T84" fmla="*/ 14 w 534"/>
                <a:gd name="T85" fmla="*/ 10 h 774"/>
                <a:gd name="T86" fmla="*/ 14 w 534"/>
                <a:gd name="T87" fmla="*/ 7 h 774"/>
                <a:gd name="T88" fmla="*/ 8 w 534"/>
                <a:gd name="T89" fmla="*/ 7 h 774"/>
                <a:gd name="T90" fmla="*/ 7 w 534"/>
                <a:gd name="T91" fmla="*/ 3 h 774"/>
                <a:gd name="T92" fmla="*/ 11 w 534"/>
                <a:gd name="T93" fmla="*/ 1 h 774"/>
                <a:gd name="T94" fmla="*/ 12 w 534"/>
                <a:gd name="T95" fmla="*/ 0 h 774"/>
                <a:gd name="T96" fmla="*/ 16 w 534"/>
                <a:gd name="T97" fmla="*/ 2 h 774"/>
                <a:gd name="T98" fmla="*/ 20 w 534"/>
                <a:gd name="T99" fmla="*/ 2 h 774"/>
                <a:gd name="T100" fmla="*/ 23 w 534"/>
                <a:gd name="T101" fmla="*/ 3 h 774"/>
                <a:gd name="T102" fmla="*/ 23 w 534"/>
                <a:gd name="T103" fmla="*/ 10 h 774"/>
                <a:gd name="T104" fmla="*/ 29 w 534"/>
                <a:gd name="T105" fmla="*/ 12 h 774"/>
                <a:gd name="T106" fmla="*/ 35 w 534"/>
                <a:gd name="T107" fmla="*/ 12 h 774"/>
                <a:gd name="T108" fmla="*/ 38 w 534"/>
                <a:gd name="T109" fmla="*/ 17 h 774"/>
                <a:gd name="T110" fmla="*/ 40 w 534"/>
                <a:gd name="T111" fmla="*/ 19 h 774"/>
                <a:gd name="T112" fmla="*/ 44 w 534"/>
                <a:gd name="T113" fmla="*/ 23 h 774"/>
                <a:gd name="T114" fmla="*/ 44 w 534"/>
                <a:gd name="T115" fmla="*/ 30 h 774"/>
                <a:gd name="T116" fmla="*/ 46 w 534"/>
                <a:gd name="T117" fmla="*/ 36 h 774"/>
                <a:gd name="T118" fmla="*/ 41 w 534"/>
                <a:gd name="T119" fmla="*/ 37 h 77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34"/>
                <a:gd name="T181" fmla="*/ 0 h 774"/>
                <a:gd name="T182" fmla="*/ 534 w 534"/>
                <a:gd name="T183" fmla="*/ 774 h 77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34" h="774">
                  <a:moveTo>
                    <a:pt x="462" y="426"/>
                  </a:moveTo>
                  <a:lnTo>
                    <a:pt x="462" y="414"/>
                  </a:lnTo>
                  <a:lnTo>
                    <a:pt x="450" y="402"/>
                  </a:lnTo>
                  <a:lnTo>
                    <a:pt x="444" y="396"/>
                  </a:lnTo>
                  <a:lnTo>
                    <a:pt x="420" y="396"/>
                  </a:lnTo>
                  <a:lnTo>
                    <a:pt x="408" y="390"/>
                  </a:lnTo>
                  <a:lnTo>
                    <a:pt x="402" y="366"/>
                  </a:lnTo>
                  <a:lnTo>
                    <a:pt x="390" y="354"/>
                  </a:lnTo>
                  <a:lnTo>
                    <a:pt x="384" y="336"/>
                  </a:lnTo>
                  <a:lnTo>
                    <a:pt x="378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8" y="348"/>
                  </a:lnTo>
                  <a:lnTo>
                    <a:pt x="360" y="354"/>
                  </a:lnTo>
                  <a:lnTo>
                    <a:pt x="360" y="390"/>
                  </a:lnTo>
                  <a:lnTo>
                    <a:pt x="348" y="390"/>
                  </a:lnTo>
                  <a:lnTo>
                    <a:pt x="342" y="384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90"/>
                  </a:lnTo>
                  <a:lnTo>
                    <a:pt x="312" y="402"/>
                  </a:lnTo>
                  <a:lnTo>
                    <a:pt x="306" y="420"/>
                  </a:lnTo>
                  <a:lnTo>
                    <a:pt x="324" y="414"/>
                  </a:lnTo>
                  <a:lnTo>
                    <a:pt x="330" y="414"/>
                  </a:lnTo>
                  <a:lnTo>
                    <a:pt x="336" y="420"/>
                  </a:lnTo>
                  <a:lnTo>
                    <a:pt x="336" y="432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6"/>
                  </a:lnTo>
                  <a:lnTo>
                    <a:pt x="318" y="456"/>
                  </a:lnTo>
                  <a:lnTo>
                    <a:pt x="300" y="456"/>
                  </a:lnTo>
                  <a:lnTo>
                    <a:pt x="288" y="462"/>
                  </a:lnTo>
                  <a:lnTo>
                    <a:pt x="276" y="462"/>
                  </a:lnTo>
                  <a:lnTo>
                    <a:pt x="270" y="462"/>
                  </a:lnTo>
                  <a:lnTo>
                    <a:pt x="270" y="468"/>
                  </a:lnTo>
                  <a:lnTo>
                    <a:pt x="252" y="468"/>
                  </a:lnTo>
                  <a:lnTo>
                    <a:pt x="258" y="480"/>
                  </a:lnTo>
                  <a:lnTo>
                    <a:pt x="258" y="492"/>
                  </a:lnTo>
                  <a:lnTo>
                    <a:pt x="258" y="498"/>
                  </a:lnTo>
                  <a:lnTo>
                    <a:pt x="258" y="510"/>
                  </a:lnTo>
                  <a:lnTo>
                    <a:pt x="252" y="540"/>
                  </a:lnTo>
                  <a:lnTo>
                    <a:pt x="246" y="564"/>
                  </a:lnTo>
                  <a:lnTo>
                    <a:pt x="246" y="570"/>
                  </a:lnTo>
                  <a:lnTo>
                    <a:pt x="252" y="576"/>
                  </a:lnTo>
                  <a:lnTo>
                    <a:pt x="246" y="582"/>
                  </a:lnTo>
                  <a:lnTo>
                    <a:pt x="252" y="600"/>
                  </a:lnTo>
                  <a:lnTo>
                    <a:pt x="258" y="606"/>
                  </a:lnTo>
                  <a:lnTo>
                    <a:pt x="258" y="612"/>
                  </a:lnTo>
                  <a:lnTo>
                    <a:pt x="252" y="618"/>
                  </a:lnTo>
                  <a:lnTo>
                    <a:pt x="246" y="624"/>
                  </a:lnTo>
                  <a:lnTo>
                    <a:pt x="246" y="630"/>
                  </a:lnTo>
                  <a:lnTo>
                    <a:pt x="246" y="636"/>
                  </a:lnTo>
                  <a:lnTo>
                    <a:pt x="240" y="642"/>
                  </a:lnTo>
                  <a:lnTo>
                    <a:pt x="234" y="654"/>
                  </a:lnTo>
                  <a:lnTo>
                    <a:pt x="228" y="654"/>
                  </a:lnTo>
                  <a:lnTo>
                    <a:pt x="222" y="660"/>
                  </a:lnTo>
                  <a:lnTo>
                    <a:pt x="216" y="666"/>
                  </a:lnTo>
                  <a:lnTo>
                    <a:pt x="210" y="666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22" y="684"/>
                  </a:lnTo>
                  <a:lnTo>
                    <a:pt x="222" y="690"/>
                  </a:lnTo>
                  <a:lnTo>
                    <a:pt x="222" y="696"/>
                  </a:lnTo>
                  <a:lnTo>
                    <a:pt x="222" y="702"/>
                  </a:lnTo>
                  <a:lnTo>
                    <a:pt x="216" y="708"/>
                  </a:lnTo>
                  <a:lnTo>
                    <a:pt x="210" y="720"/>
                  </a:lnTo>
                  <a:lnTo>
                    <a:pt x="216" y="732"/>
                  </a:lnTo>
                  <a:lnTo>
                    <a:pt x="210" y="732"/>
                  </a:lnTo>
                  <a:lnTo>
                    <a:pt x="216" y="738"/>
                  </a:lnTo>
                  <a:lnTo>
                    <a:pt x="216" y="744"/>
                  </a:lnTo>
                  <a:lnTo>
                    <a:pt x="222" y="750"/>
                  </a:lnTo>
                  <a:lnTo>
                    <a:pt x="228" y="756"/>
                  </a:lnTo>
                  <a:lnTo>
                    <a:pt x="222" y="762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04" y="762"/>
                  </a:lnTo>
                  <a:lnTo>
                    <a:pt x="198" y="762"/>
                  </a:lnTo>
                  <a:lnTo>
                    <a:pt x="192" y="762"/>
                  </a:lnTo>
                  <a:lnTo>
                    <a:pt x="186" y="756"/>
                  </a:lnTo>
                  <a:lnTo>
                    <a:pt x="180" y="750"/>
                  </a:lnTo>
                  <a:lnTo>
                    <a:pt x="180" y="744"/>
                  </a:lnTo>
                  <a:lnTo>
                    <a:pt x="174" y="744"/>
                  </a:lnTo>
                  <a:lnTo>
                    <a:pt x="156" y="750"/>
                  </a:lnTo>
                  <a:lnTo>
                    <a:pt x="150" y="750"/>
                  </a:lnTo>
                  <a:lnTo>
                    <a:pt x="144" y="750"/>
                  </a:lnTo>
                  <a:lnTo>
                    <a:pt x="138" y="750"/>
                  </a:lnTo>
                  <a:lnTo>
                    <a:pt x="138" y="744"/>
                  </a:lnTo>
                  <a:lnTo>
                    <a:pt x="132" y="744"/>
                  </a:lnTo>
                  <a:lnTo>
                    <a:pt x="120" y="744"/>
                  </a:lnTo>
                  <a:lnTo>
                    <a:pt x="114" y="738"/>
                  </a:lnTo>
                  <a:lnTo>
                    <a:pt x="108" y="744"/>
                  </a:lnTo>
                  <a:lnTo>
                    <a:pt x="102" y="744"/>
                  </a:lnTo>
                  <a:lnTo>
                    <a:pt x="96" y="744"/>
                  </a:lnTo>
                  <a:lnTo>
                    <a:pt x="96" y="738"/>
                  </a:lnTo>
                  <a:lnTo>
                    <a:pt x="96" y="744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44"/>
                  </a:lnTo>
                  <a:lnTo>
                    <a:pt x="72" y="750"/>
                  </a:lnTo>
                  <a:lnTo>
                    <a:pt x="66" y="750"/>
                  </a:lnTo>
                  <a:lnTo>
                    <a:pt x="60" y="750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0"/>
                  </a:lnTo>
                  <a:lnTo>
                    <a:pt x="30" y="750"/>
                  </a:lnTo>
                  <a:lnTo>
                    <a:pt x="24" y="744"/>
                  </a:lnTo>
                  <a:lnTo>
                    <a:pt x="18" y="738"/>
                  </a:lnTo>
                  <a:lnTo>
                    <a:pt x="6" y="738"/>
                  </a:lnTo>
                  <a:lnTo>
                    <a:pt x="0" y="732"/>
                  </a:lnTo>
                  <a:lnTo>
                    <a:pt x="0" y="726"/>
                  </a:lnTo>
                  <a:lnTo>
                    <a:pt x="0" y="720"/>
                  </a:lnTo>
                  <a:lnTo>
                    <a:pt x="6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8" y="702"/>
                  </a:lnTo>
                  <a:lnTo>
                    <a:pt x="24" y="696"/>
                  </a:lnTo>
                  <a:lnTo>
                    <a:pt x="30" y="696"/>
                  </a:lnTo>
                  <a:lnTo>
                    <a:pt x="48" y="690"/>
                  </a:lnTo>
                  <a:lnTo>
                    <a:pt x="54" y="678"/>
                  </a:lnTo>
                  <a:lnTo>
                    <a:pt x="66" y="672"/>
                  </a:lnTo>
                  <a:lnTo>
                    <a:pt x="66" y="654"/>
                  </a:lnTo>
                  <a:lnTo>
                    <a:pt x="72" y="636"/>
                  </a:lnTo>
                  <a:lnTo>
                    <a:pt x="72" y="612"/>
                  </a:lnTo>
                  <a:lnTo>
                    <a:pt x="84" y="594"/>
                  </a:lnTo>
                  <a:lnTo>
                    <a:pt x="90" y="576"/>
                  </a:lnTo>
                  <a:lnTo>
                    <a:pt x="96" y="552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72" y="522"/>
                  </a:lnTo>
                  <a:lnTo>
                    <a:pt x="78" y="510"/>
                  </a:lnTo>
                  <a:lnTo>
                    <a:pt x="78" y="504"/>
                  </a:lnTo>
                  <a:lnTo>
                    <a:pt x="84" y="480"/>
                  </a:lnTo>
                  <a:lnTo>
                    <a:pt x="90" y="468"/>
                  </a:lnTo>
                  <a:lnTo>
                    <a:pt x="90" y="456"/>
                  </a:lnTo>
                  <a:lnTo>
                    <a:pt x="96" y="456"/>
                  </a:lnTo>
                  <a:lnTo>
                    <a:pt x="96" y="444"/>
                  </a:lnTo>
                  <a:lnTo>
                    <a:pt x="102" y="438"/>
                  </a:lnTo>
                  <a:lnTo>
                    <a:pt x="102" y="432"/>
                  </a:lnTo>
                  <a:lnTo>
                    <a:pt x="108" y="432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14" y="408"/>
                  </a:lnTo>
                  <a:lnTo>
                    <a:pt x="114" y="402"/>
                  </a:lnTo>
                  <a:lnTo>
                    <a:pt x="126" y="384"/>
                  </a:lnTo>
                  <a:lnTo>
                    <a:pt x="138" y="378"/>
                  </a:lnTo>
                  <a:lnTo>
                    <a:pt x="138" y="372"/>
                  </a:lnTo>
                  <a:lnTo>
                    <a:pt x="150" y="354"/>
                  </a:lnTo>
                  <a:lnTo>
                    <a:pt x="156" y="342"/>
                  </a:lnTo>
                  <a:lnTo>
                    <a:pt x="162" y="330"/>
                  </a:lnTo>
                  <a:lnTo>
                    <a:pt x="168" y="324"/>
                  </a:lnTo>
                  <a:lnTo>
                    <a:pt x="168" y="312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74" y="294"/>
                  </a:lnTo>
                  <a:lnTo>
                    <a:pt x="180" y="288"/>
                  </a:lnTo>
                  <a:lnTo>
                    <a:pt x="180" y="276"/>
                  </a:lnTo>
                  <a:lnTo>
                    <a:pt x="186" y="276"/>
                  </a:lnTo>
                  <a:lnTo>
                    <a:pt x="186" y="270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40"/>
                  </a:lnTo>
                  <a:lnTo>
                    <a:pt x="168" y="240"/>
                  </a:lnTo>
                  <a:lnTo>
                    <a:pt x="162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68" y="216"/>
                  </a:lnTo>
                  <a:lnTo>
                    <a:pt x="168" y="180"/>
                  </a:lnTo>
                  <a:lnTo>
                    <a:pt x="168" y="144"/>
                  </a:lnTo>
                  <a:lnTo>
                    <a:pt x="162" y="120"/>
                  </a:lnTo>
                  <a:lnTo>
                    <a:pt x="162" y="108"/>
                  </a:lnTo>
                  <a:lnTo>
                    <a:pt x="168" y="102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44" y="84"/>
                  </a:lnTo>
                  <a:lnTo>
                    <a:pt x="126" y="84"/>
                  </a:lnTo>
                  <a:lnTo>
                    <a:pt x="108" y="78"/>
                  </a:lnTo>
                  <a:lnTo>
                    <a:pt x="96" y="78"/>
                  </a:lnTo>
                  <a:lnTo>
                    <a:pt x="78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8" y="36"/>
                  </a:lnTo>
                  <a:lnTo>
                    <a:pt x="96" y="24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56" y="0"/>
                  </a:lnTo>
                  <a:lnTo>
                    <a:pt x="156" y="6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18"/>
                  </a:lnTo>
                  <a:lnTo>
                    <a:pt x="198" y="18"/>
                  </a:lnTo>
                  <a:lnTo>
                    <a:pt x="210" y="18"/>
                  </a:lnTo>
                  <a:lnTo>
                    <a:pt x="222" y="18"/>
                  </a:lnTo>
                  <a:lnTo>
                    <a:pt x="234" y="12"/>
                  </a:lnTo>
                  <a:lnTo>
                    <a:pt x="252" y="18"/>
                  </a:lnTo>
                  <a:lnTo>
                    <a:pt x="252" y="24"/>
                  </a:lnTo>
                  <a:lnTo>
                    <a:pt x="258" y="36"/>
                  </a:lnTo>
                  <a:lnTo>
                    <a:pt x="258" y="66"/>
                  </a:lnTo>
                  <a:lnTo>
                    <a:pt x="252" y="84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82" y="126"/>
                  </a:lnTo>
                  <a:lnTo>
                    <a:pt x="294" y="132"/>
                  </a:lnTo>
                  <a:lnTo>
                    <a:pt x="306" y="138"/>
                  </a:lnTo>
                  <a:lnTo>
                    <a:pt x="324" y="138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60" y="144"/>
                  </a:lnTo>
                  <a:lnTo>
                    <a:pt x="396" y="144"/>
                  </a:lnTo>
                  <a:lnTo>
                    <a:pt x="408" y="150"/>
                  </a:lnTo>
                  <a:lnTo>
                    <a:pt x="414" y="180"/>
                  </a:lnTo>
                  <a:lnTo>
                    <a:pt x="420" y="186"/>
                  </a:lnTo>
                  <a:lnTo>
                    <a:pt x="426" y="192"/>
                  </a:lnTo>
                  <a:lnTo>
                    <a:pt x="426" y="198"/>
                  </a:lnTo>
                  <a:lnTo>
                    <a:pt x="432" y="198"/>
                  </a:lnTo>
                  <a:lnTo>
                    <a:pt x="438" y="210"/>
                  </a:lnTo>
                  <a:lnTo>
                    <a:pt x="450" y="216"/>
                  </a:lnTo>
                  <a:lnTo>
                    <a:pt x="468" y="228"/>
                  </a:lnTo>
                  <a:lnTo>
                    <a:pt x="492" y="234"/>
                  </a:lnTo>
                  <a:lnTo>
                    <a:pt x="492" y="246"/>
                  </a:lnTo>
                  <a:lnTo>
                    <a:pt x="492" y="270"/>
                  </a:lnTo>
                  <a:lnTo>
                    <a:pt x="486" y="294"/>
                  </a:lnTo>
                  <a:lnTo>
                    <a:pt x="486" y="312"/>
                  </a:lnTo>
                  <a:lnTo>
                    <a:pt x="486" y="330"/>
                  </a:lnTo>
                  <a:lnTo>
                    <a:pt x="492" y="348"/>
                  </a:lnTo>
                  <a:lnTo>
                    <a:pt x="498" y="360"/>
                  </a:lnTo>
                  <a:lnTo>
                    <a:pt x="510" y="366"/>
                  </a:lnTo>
                  <a:lnTo>
                    <a:pt x="516" y="384"/>
                  </a:lnTo>
                  <a:lnTo>
                    <a:pt x="522" y="414"/>
                  </a:lnTo>
                  <a:lnTo>
                    <a:pt x="528" y="414"/>
                  </a:lnTo>
                  <a:lnTo>
                    <a:pt x="534" y="426"/>
                  </a:lnTo>
                  <a:lnTo>
                    <a:pt x="528" y="432"/>
                  </a:lnTo>
                  <a:lnTo>
                    <a:pt x="468" y="426"/>
                  </a:lnTo>
                  <a:lnTo>
                    <a:pt x="462" y="42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3" name="Freeform 8">
              <a:extLst>
                <a:ext uri="{FF2B5EF4-FFF2-40B4-BE49-F238E27FC236}">
                  <a16:creationId xmlns:a16="http://schemas.microsoft.com/office/drawing/2014/main" id="{D473457C-872E-4E31-888A-D60FD52063A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98175" y="4307054"/>
              <a:ext cx="295177" cy="348894"/>
            </a:xfrm>
            <a:custGeom>
              <a:avLst/>
              <a:gdLst>
                <a:gd name="T0" fmla="*/ 3 w 552"/>
                <a:gd name="T1" fmla="*/ 46 h 660"/>
                <a:gd name="T2" fmla="*/ 4 w 552"/>
                <a:gd name="T3" fmla="*/ 42 h 660"/>
                <a:gd name="T4" fmla="*/ 2 w 552"/>
                <a:gd name="T5" fmla="*/ 38 h 660"/>
                <a:gd name="T6" fmla="*/ 0 w 552"/>
                <a:gd name="T7" fmla="*/ 34 h 660"/>
                <a:gd name="T8" fmla="*/ 2 w 552"/>
                <a:gd name="T9" fmla="*/ 30 h 660"/>
                <a:gd name="T10" fmla="*/ 3 w 552"/>
                <a:gd name="T11" fmla="*/ 27 h 660"/>
                <a:gd name="T12" fmla="*/ 5 w 552"/>
                <a:gd name="T13" fmla="*/ 23 h 660"/>
                <a:gd name="T14" fmla="*/ 5 w 552"/>
                <a:gd name="T15" fmla="*/ 15 h 660"/>
                <a:gd name="T16" fmla="*/ 6 w 552"/>
                <a:gd name="T17" fmla="*/ 11 h 660"/>
                <a:gd name="T18" fmla="*/ 11 w 552"/>
                <a:gd name="T19" fmla="*/ 9 h 660"/>
                <a:gd name="T20" fmla="*/ 10 w 552"/>
                <a:gd name="T21" fmla="*/ 5 h 660"/>
                <a:gd name="T22" fmla="*/ 12 w 552"/>
                <a:gd name="T23" fmla="*/ 1 h 660"/>
                <a:gd name="T24" fmla="*/ 16 w 552"/>
                <a:gd name="T25" fmla="*/ 2 h 660"/>
                <a:gd name="T26" fmla="*/ 23 w 552"/>
                <a:gd name="T27" fmla="*/ 8 h 660"/>
                <a:gd name="T28" fmla="*/ 23 w 552"/>
                <a:gd name="T29" fmla="*/ 11 h 660"/>
                <a:gd name="T30" fmla="*/ 27 w 552"/>
                <a:gd name="T31" fmla="*/ 12 h 660"/>
                <a:gd name="T32" fmla="*/ 29 w 552"/>
                <a:gd name="T33" fmla="*/ 17 h 660"/>
                <a:gd name="T34" fmla="*/ 31 w 552"/>
                <a:gd name="T35" fmla="*/ 15 h 660"/>
                <a:gd name="T36" fmla="*/ 33 w 552"/>
                <a:gd name="T37" fmla="*/ 17 h 660"/>
                <a:gd name="T38" fmla="*/ 36 w 552"/>
                <a:gd name="T39" fmla="*/ 23 h 660"/>
                <a:gd name="T40" fmla="*/ 41 w 552"/>
                <a:gd name="T41" fmla="*/ 33 h 660"/>
                <a:gd name="T42" fmla="*/ 43 w 552"/>
                <a:gd name="T43" fmla="*/ 36 h 660"/>
                <a:gd name="T44" fmla="*/ 43 w 552"/>
                <a:gd name="T45" fmla="*/ 37 h 660"/>
                <a:gd name="T46" fmla="*/ 41 w 552"/>
                <a:gd name="T47" fmla="*/ 35 h 660"/>
                <a:gd name="T48" fmla="*/ 43 w 552"/>
                <a:gd name="T49" fmla="*/ 37 h 660"/>
                <a:gd name="T50" fmla="*/ 44 w 552"/>
                <a:gd name="T51" fmla="*/ 39 h 660"/>
                <a:gd name="T52" fmla="*/ 47 w 552"/>
                <a:gd name="T53" fmla="*/ 41 h 660"/>
                <a:gd name="T54" fmla="*/ 47 w 552"/>
                <a:gd name="T55" fmla="*/ 44 h 660"/>
                <a:gd name="T56" fmla="*/ 48 w 552"/>
                <a:gd name="T57" fmla="*/ 46 h 660"/>
                <a:gd name="T58" fmla="*/ 47 w 552"/>
                <a:gd name="T59" fmla="*/ 46 h 660"/>
                <a:gd name="T60" fmla="*/ 44 w 552"/>
                <a:gd name="T61" fmla="*/ 46 h 660"/>
                <a:gd name="T62" fmla="*/ 47 w 552"/>
                <a:gd name="T63" fmla="*/ 47 h 660"/>
                <a:gd name="T64" fmla="*/ 47 w 552"/>
                <a:gd name="T65" fmla="*/ 49 h 660"/>
                <a:gd name="T66" fmla="*/ 47 w 552"/>
                <a:gd name="T67" fmla="*/ 52 h 660"/>
                <a:gd name="T68" fmla="*/ 46 w 552"/>
                <a:gd name="T69" fmla="*/ 53 h 660"/>
                <a:gd name="T70" fmla="*/ 43 w 552"/>
                <a:gd name="T71" fmla="*/ 54 h 660"/>
                <a:gd name="T72" fmla="*/ 37 w 552"/>
                <a:gd name="T73" fmla="*/ 54 h 660"/>
                <a:gd name="T74" fmla="*/ 30 w 552"/>
                <a:gd name="T75" fmla="*/ 54 h 660"/>
                <a:gd name="T76" fmla="*/ 29 w 552"/>
                <a:gd name="T77" fmla="*/ 53 h 660"/>
                <a:gd name="T78" fmla="*/ 27 w 552"/>
                <a:gd name="T79" fmla="*/ 53 h 660"/>
                <a:gd name="T80" fmla="*/ 29 w 552"/>
                <a:gd name="T81" fmla="*/ 53 h 660"/>
                <a:gd name="T82" fmla="*/ 28 w 552"/>
                <a:gd name="T83" fmla="*/ 54 h 660"/>
                <a:gd name="T84" fmla="*/ 24 w 552"/>
                <a:gd name="T85" fmla="*/ 54 h 660"/>
                <a:gd name="T86" fmla="*/ 20 w 552"/>
                <a:gd name="T87" fmla="*/ 55 h 660"/>
                <a:gd name="T88" fmla="*/ 15 w 552"/>
                <a:gd name="T89" fmla="*/ 56 h 660"/>
                <a:gd name="T90" fmla="*/ 12 w 552"/>
                <a:gd name="T91" fmla="*/ 56 h 660"/>
                <a:gd name="T92" fmla="*/ 11 w 552"/>
                <a:gd name="T93" fmla="*/ 57 h 660"/>
                <a:gd name="T94" fmla="*/ 9 w 552"/>
                <a:gd name="T95" fmla="*/ 57 h 660"/>
                <a:gd name="T96" fmla="*/ 7 w 552"/>
                <a:gd name="T97" fmla="*/ 56 h 660"/>
                <a:gd name="T98" fmla="*/ 5 w 552"/>
                <a:gd name="T99" fmla="*/ 55 h 660"/>
                <a:gd name="T100" fmla="*/ 7 w 552"/>
                <a:gd name="T101" fmla="*/ 54 h 660"/>
                <a:gd name="T102" fmla="*/ 5 w 552"/>
                <a:gd name="T103" fmla="*/ 54 h 660"/>
                <a:gd name="T104" fmla="*/ 5 w 552"/>
                <a:gd name="T105" fmla="*/ 53 h 660"/>
                <a:gd name="T106" fmla="*/ 4 w 552"/>
                <a:gd name="T107" fmla="*/ 49 h 660"/>
                <a:gd name="T108" fmla="*/ 45 w 552"/>
                <a:gd name="T109" fmla="*/ 38 h 66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52"/>
                <a:gd name="T166" fmla="*/ 0 h 660"/>
                <a:gd name="T167" fmla="*/ 552 w 552"/>
                <a:gd name="T168" fmla="*/ 660 h 66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52" h="660">
                  <a:moveTo>
                    <a:pt x="36" y="564"/>
                  </a:moveTo>
                  <a:lnTo>
                    <a:pt x="36" y="558"/>
                  </a:lnTo>
                  <a:lnTo>
                    <a:pt x="36" y="552"/>
                  </a:lnTo>
                  <a:lnTo>
                    <a:pt x="42" y="546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34"/>
                  </a:lnTo>
                  <a:lnTo>
                    <a:pt x="36" y="528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54" y="510"/>
                  </a:lnTo>
                  <a:lnTo>
                    <a:pt x="54" y="504"/>
                  </a:lnTo>
                  <a:lnTo>
                    <a:pt x="54" y="498"/>
                  </a:lnTo>
                  <a:lnTo>
                    <a:pt x="48" y="492"/>
                  </a:lnTo>
                  <a:lnTo>
                    <a:pt x="42" y="486"/>
                  </a:lnTo>
                  <a:lnTo>
                    <a:pt x="42" y="480"/>
                  </a:lnTo>
                  <a:lnTo>
                    <a:pt x="42" y="468"/>
                  </a:lnTo>
                  <a:lnTo>
                    <a:pt x="30" y="456"/>
                  </a:lnTo>
                  <a:lnTo>
                    <a:pt x="30" y="450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2"/>
                  </a:lnTo>
                  <a:lnTo>
                    <a:pt x="18" y="426"/>
                  </a:lnTo>
                  <a:lnTo>
                    <a:pt x="24" y="420"/>
                  </a:lnTo>
                  <a:lnTo>
                    <a:pt x="18" y="414"/>
                  </a:lnTo>
                  <a:lnTo>
                    <a:pt x="12" y="408"/>
                  </a:lnTo>
                  <a:lnTo>
                    <a:pt x="12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6" y="384"/>
                  </a:lnTo>
                  <a:lnTo>
                    <a:pt x="12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8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36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54" y="270"/>
                  </a:lnTo>
                  <a:lnTo>
                    <a:pt x="48" y="264"/>
                  </a:lnTo>
                  <a:lnTo>
                    <a:pt x="42" y="246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8" y="204"/>
                  </a:lnTo>
                  <a:lnTo>
                    <a:pt x="54" y="174"/>
                  </a:lnTo>
                  <a:lnTo>
                    <a:pt x="54" y="162"/>
                  </a:lnTo>
                  <a:lnTo>
                    <a:pt x="54" y="156"/>
                  </a:lnTo>
                  <a:lnTo>
                    <a:pt x="54" y="144"/>
                  </a:lnTo>
                  <a:lnTo>
                    <a:pt x="48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72" y="126"/>
                  </a:lnTo>
                  <a:lnTo>
                    <a:pt x="84" y="126"/>
                  </a:lnTo>
                  <a:lnTo>
                    <a:pt x="96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2" y="84"/>
                  </a:lnTo>
                  <a:lnTo>
                    <a:pt x="126" y="78"/>
                  </a:lnTo>
                  <a:lnTo>
                    <a:pt x="120" y="78"/>
                  </a:lnTo>
                  <a:lnTo>
                    <a:pt x="102" y="84"/>
                  </a:lnTo>
                  <a:lnTo>
                    <a:pt x="108" y="66"/>
                  </a:lnTo>
                  <a:lnTo>
                    <a:pt x="114" y="54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8" y="4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6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74" y="0"/>
                  </a:lnTo>
                  <a:lnTo>
                    <a:pt x="180" y="0"/>
                  </a:lnTo>
                  <a:lnTo>
                    <a:pt x="186" y="18"/>
                  </a:lnTo>
                  <a:lnTo>
                    <a:pt x="198" y="30"/>
                  </a:lnTo>
                  <a:lnTo>
                    <a:pt x="204" y="54"/>
                  </a:lnTo>
                  <a:lnTo>
                    <a:pt x="216" y="60"/>
                  </a:lnTo>
                  <a:lnTo>
                    <a:pt x="240" y="60"/>
                  </a:lnTo>
                  <a:lnTo>
                    <a:pt x="246" y="66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2" y="120"/>
                  </a:lnTo>
                  <a:lnTo>
                    <a:pt x="25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6" y="126"/>
                  </a:lnTo>
                  <a:lnTo>
                    <a:pt x="282" y="120"/>
                  </a:lnTo>
                  <a:lnTo>
                    <a:pt x="282" y="126"/>
                  </a:lnTo>
                  <a:lnTo>
                    <a:pt x="294" y="126"/>
                  </a:lnTo>
                  <a:lnTo>
                    <a:pt x="300" y="132"/>
                  </a:lnTo>
                  <a:lnTo>
                    <a:pt x="306" y="144"/>
                  </a:lnTo>
                  <a:lnTo>
                    <a:pt x="312" y="144"/>
                  </a:lnTo>
                  <a:lnTo>
                    <a:pt x="312" y="150"/>
                  </a:lnTo>
                  <a:lnTo>
                    <a:pt x="312" y="162"/>
                  </a:lnTo>
                  <a:lnTo>
                    <a:pt x="312" y="174"/>
                  </a:lnTo>
                  <a:lnTo>
                    <a:pt x="324" y="180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30" y="192"/>
                  </a:lnTo>
                  <a:lnTo>
                    <a:pt x="336" y="198"/>
                  </a:lnTo>
                  <a:lnTo>
                    <a:pt x="342" y="192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54" y="180"/>
                  </a:lnTo>
                  <a:lnTo>
                    <a:pt x="354" y="174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84" y="192"/>
                  </a:lnTo>
                  <a:lnTo>
                    <a:pt x="390" y="204"/>
                  </a:lnTo>
                  <a:lnTo>
                    <a:pt x="390" y="210"/>
                  </a:lnTo>
                  <a:lnTo>
                    <a:pt x="390" y="216"/>
                  </a:lnTo>
                  <a:lnTo>
                    <a:pt x="384" y="234"/>
                  </a:lnTo>
                  <a:lnTo>
                    <a:pt x="390" y="240"/>
                  </a:lnTo>
                  <a:lnTo>
                    <a:pt x="408" y="252"/>
                  </a:lnTo>
                  <a:lnTo>
                    <a:pt x="414" y="264"/>
                  </a:lnTo>
                  <a:lnTo>
                    <a:pt x="408" y="300"/>
                  </a:lnTo>
                  <a:lnTo>
                    <a:pt x="414" y="312"/>
                  </a:lnTo>
                  <a:lnTo>
                    <a:pt x="426" y="336"/>
                  </a:lnTo>
                  <a:lnTo>
                    <a:pt x="438" y="354"/>
                  </a:lnTo>
                  <a:lnTo>
                    <a:pt x="444" y="366"/>
                  </a:lnTo>
                  <a:lnTo>
                    <a:pt x="456" y="366"/>
                  </a:lnTo>
                  <a:lnTo>
                    <a:pt x="474" y="378"/>
                  </a:lnTo>
                  <a:lnTo>
                    <a:pt x="474" y="384"/>
                  </a:lnTo>
                  <a:lnTo>
                    <a:pt x="480" y="390"/>
                  </a:lnTo>
                  <a:lnTo>
                    <a:pt x="486" y="396"/>
                  </a:lnTo>
                  <a:lnTo>
                    <a:pt x="486" y="402"/>
                  </a:lnTo>
                  <a:lnTo>
                    <a:pt x="480" y="408"/>
                  </a:lnTo>
                  <a:lnTo>
                    <a:pt x="486" y="408"/>
                  </a:lnTo>
                  <a:lnTo>
                    <a:pt x="486" y="414"/>
                  </a:lnTo>
                  <a:lnTo>
                    <a:pt x="492" y="414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32"/>
                  </a:lnTo>
                  <a:lnTo>
                    <a:pt x="498" y="438"/>
                  </a:lnTo>
                  <a:lnTo>
                    <a:pt x="492" y="432"/>
                  </a:lnTo>
                  <a:lnTo>
                    <a:pt x="486" y="426"/>
                  </a:lnTo>
                  <a:lnTo>
                    <a:pt x="486" y="420"/>
                  </a:lnTo>
                  <a:lnTo>
                    <a:pt x="486" y="414"/>
                  </a:lnTo>
                  <a:lnTo>
                    <a:pt x="480" y="414"/>
                  </a:lnTo>
                  <a:lnTo>
                    <a:pt x="480" y="408"/>
                  </a:lnTo>
                  <a:lnTo>
                    <a:pt x="474" y="408"/>
                  </a:lnTo>
                  <a:lnTo>
                    <a:pt x="468" y="408"/>
                  </a:lnTo>
                  <a:lnTo>
                    <a:pt x="468" y="402"/>
                  </a:lnTo>
                  <a:lnTo>
                    <a:pt x="462" y="402"/>
                  </a:lnTo>
                  <a:lnTo>
                    <a:pt x="462" y="408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80" y="426"/>
                  </a:lnTo>
                  <a:lnTo>
                    <a:pt x="486" y="426"/>
                  </a:lnTo>
                  <a:lnTo>
                    <a:pt x="486" y="432"/>
                  </a:lnTo>
                  <a:lnTo>
                    <a:pt x="492" y="438"/>
                  </a:lnTo>
                  <a:lnTo>
                    <a:pt x="498" y="438"/>
                  </a:lnTo>
                  <a:lnTo>
                    <a:pt x="504" y="444"/>
                  </a:lnTo>
                  <a:lnTo>
                    <a:pt x="510" y="444"/>
                  </a:lnTo>
                  <a:lnTo>
                    <a:pt x="510" y="450"/>
                  </a:lnTo>
                  <a:lnTo>
                    <a:pt x="510" y="456"/>
                  </a:lnTo>
                  <a:lnTo>
                    <a:pt x="516" y="456"/>
                  </a:lnTo>
                  <a:lnTo>
                    <a:pt x="516" y="462"/>
                  </a:lnTo>
                  <a:lnTo>
                    <a:pt x="522" y="462"/>
                  </a:lnTo>
                  <a:lnTo>
                    <a:pt x="522" y="468"/>
                  </a:lnTo>
                  <a:lnTo>
                    <a:pt x="528" y="468"/>
                  </a:lnTo>
                  <a:lnTo>
                    <a:pt x="534" y="468"/>
                  </a:lnTo>
                  <a:lnTo>
                    <a:pt x="534" y="474"/>
                  </a:lnTo>
                  <a:lnTo>
                    <a:pt x="540" y="474"/>
                  </a:lnTo>
                  <a:lnTo>
                    <a:pt x="540" y="480"/>
                  </a:lnTo>
                  <a:lnTo>
                    <a:pt x="546" y="486"/>
                  </a:lnTo>
                  <a:lnTo>
                    <a:pt x="546" y="492"/>
                  </a:lnTo>
                  <a:lnTo>
                    <a:pt x="546" y="498"/>
                  </a:lnTo>
                  <a:lnTo>
                    <a:pt x="546" y="504"/>
                  </a:lnTo>
                  <a:lnTo>
                    <a:pt x="540" y="504"/>
                  </a:lnTo>
                  <a:lnTo>
                    <a:pt x="546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10"/>
                  </a:lnTo>
                  <a:lnTo>
                    <a:pt x="552" y="516"/>
                  </a:lnTo>
                  <a:lnTo>
                    <a:pt x="552" y="522"/>
                  </a:lnTo>
                  <a:lnTo>
                    <a:pt x="552" y="528"/>
                  </a:lnTo>
                  <a:lnTo>
                    <a:pt x="552" y="534"/>
                  </a:lnTo>
                  <a:lnTo>
                    <a:pt x="552" y="540"/>
                  </a:lnTo>
                  <a:lnTo>
                    <a:pt x="546" y="540"/>
                  </a:lnTo>
                  <a:lnTo>
                    <a:pt x="546" y="546"/>
                  </a:lnTo>
                  <a:lnTo>
                    <a:pt x="546" y="540"/>
                  </a:lnTo>
                  <a:lnTo>
                    <a:pt x="546" y="534"/>
                  </a:lnTo>
                  <a:lnTo>
                    <a:pt x="540" y="534"/>
                  </a:lnTo>
                  <a:lnTo>
                    <a:pt x="540" y="528"/>
                  </a:lnTo>
                  <a:lnTo>
                    <a:pt x="534" y="528"/>
                  </a:lnTo>
                  <a:lnTo>
                    <a:pt x="528" y="528"/>
                  </a:lnTo>
                  <a:lnTo>
                    <a:pt x="522" y="528"/>
                  </a:lnTo>
                  <a:lnTo>
                    <a:pt x="516" y="528"/>
                  </a:lnTo>
                  <a:lnTo>
                    <a:pt x="510" y="528"/>
                  </a:lnTo>
                  <a:lnTo>
                    <a:pt x="510" y="534"/>
                  </a:lnTo>
                  <a:lnTo>
                    <a:pt x="510" y="528"/>
                  </a:lnTo>
                  <a:lnTo>
                    <a:pt x="516" y="528"/>
                  </a:lnTo>
                  <a:lnTo>
                    <a:pt x="522" y="528"/>
                  </a:lnTo>
                  <a:lnTo>
                    <a:pt x="528" y="528"/>
                  </a:lnTo>
                  <a:lnTo>
                    <a:pt x="534" y="534"/>
                  </a:lnTo>
                  <a:lnTo>
                    <a:pt x="540" y="534"/>
                  </a:lnTo>
                  <a:lnTo>
                    <a:pt x="540" y="540"/>
                  </a:lnTo>
                  <a:lnTo>
                    <a:pt x="540" y="546"/>
                  </a:lnTo>
                  <a:lnTo>
                    <a:pt x="546" y="546"/>
                  </a:lnTo>
                  <a:lnTo>
                    <a:pt x="546" y="552"/>
                  </a:lnTo>
                  <a:lnTo>
                    <a:pt x="552" y="552"/>
                  </a:lnTo>
                  <a:lnTo>
                    <a:pt x="552" y="558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0" y="576"/>
                  </a:lnTo>
                  <a:lnTo>
                    <a:pt x="540" y="582"/>
                  </a:lnTo>
                  <a:lnTo>
                    <a:pt x="540" y="588"/>
                  </a:lnTo>
                  <a:lnTo>
                    <a:pt x="534" y="594"/>
                  </a:lnTo>
                  <a:lnTo>
                    <a:pt x="534" y="600"/>
                  </a:lnTo>
                  <a:lnTo>
                    <a:pt x="528" y="600"/>
                  </a:lnTo>
                  <a:lnTo>
                    <a:pt x="522" y="594"/>
                  </a:lnTo>
                  <a:lnTo>
                    <a:pt x="528" y="600"/>
                  </a:lnTo>
                  <a:lnTo>
                    <a:pt x="534" y="600"/>
                  </a:lnTo>
                  <a:lnTo>
                    <a:pt x="534" y="606"/>
                  </a:lnTo>
                  <a:lnTo>
                    <a:pt x="528" y="606"/>
                  </a:lnTo>
                  <a:lnTo>
                    <a:pt x="528" y="612"/>
                  </a:lnTo>
                  <a:lnTo>
                    <a:pt x="522" y="612"/>
                  </a:lnTo>
                  <a:lnTo>
                    <a:pt x="522" y="618"/>
                  </a:lnTo>
                  <a:lnTo>
                    <a:pt x="522" y="624"/>
                  </a:lnTo>
                  <a:lnTo>
                    <a:pt x="510" y="624"/>
                  </a:lnTo>
                  <a:lnTo>
                    <a:pt x="498" y="624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0" y="624"/>
                  </a:lnTo>
                  <a:lnTo>
                    <a:pt x="474" y="624"/>
                  </a:lnTo>
                  <a:lnTo>
                    <a:pt x="468" y="618"/>
                  </a:lnTo>
                  <a:lnTo>
                    <a:pt x="456" y="618"/>
                  </a:lnTo>
                  <a:lnTo>
                    <a:pt x="450" y="618"/>
                  </a:lnTo>
                  <a:lnTo>
                    <a:pt x="426" y="618"/>
                  </a:lnTo>
                  <a:lnTo>
                    <a:pt x="420" y="618"/>
                  </a:lnTo>
                  <a:lnTo>
                    <a:pt x="414" y="618"/>
                  </a:lnTo>
                  <a:lnTo>
                    <a:pt x="408" y="618"/>
                  </a:lnTo>
                  <a:lnTo>
                    <a:pt x="396" y="618"/>
                  </a:lnTo>
                  <a:lnTo>
                    <a:pt x="366" y="618"/>
                  </a:lnTo>
                  <a:lnTo>
                    <a:pt x="348" y="624"/>
                  </a:lnTo>
                  <a:lnTo>
                    <a:pt x="342" y="624"/>
                  </a:lnTo>
                  <a:lnTo>
                    <a:pt x="342" y="618"/>
                  </a:lnTo>
                  <a:lnTo>
                    <a:pt x="336" y="618"/>
                  </a:lnTo>
                  <a:lnTo>
                    <a:pt x="336" y="612"/>
                  </a:lnTo>
                  <a:lnTo>
                    <a:pt x="342" y="612"/>
                  </a:lnTo>
                  <a:lnTo>
                    <a:pt x="348" y="612"/>
                  </a:lnTo>
                  <a:lnTo>
                    <a:pt x="342" y="612"/>
                  </a:lnTo>
                  <a:lnTo>
                    <a:pt x="336" y="612"/>
                  </a:lnTo>
                  <a:lnTo>
                    <a:pt x="336" y="606"/>
                  </a:lnTo>
                  <a:lnTo>
                    <a:pt x="330" y="606"/>
                  </a:lnTo>
                  <a:lnTo>
                    <a:pt x="330" y="600"/>
                  </a:lnTo>
                  <a:lnTo>
                    <a:pt x="324" y="600"/>
                  </a:lnTo>
                  <a:lnTo>
                    <a:pt x="324" y="606"/>
                  </a:lnTo>
                  <a:lnTo>
                    <a:pt x="318" y="606"/>
                  </a:lnTo>
                  <a:lnTo>
                    <a:pt x="318" y="612"/>
                  </a:lnTo>
                  <a:lnTo>
                    <a:pt x="312" y="612"/>
                  </a:lnTo>
                  <a:lnTo>
                    <a:pt x="306" y="606"/>
                  </a:lnTo>
                  <a:lnTo>
                    <a:pt x="306" y="612"/>
                  </a:lnTo>
                  <a:lnTo>
                    <a:pt x="312" y="612"/>
                  </a:lnTo>
                  <a:lnTo>
                    <a:pt x="318" y="612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30" y="606"/>
                  </a:lnTo>
                  <a:lnTo>
                    <a:pt x="336" y="612"/>
                  </a:lnTo>
                  <a:lnTo>
                    <a:pt x="336" y="618"/>
                  </a:lnTo>
                  <a:lnTo>
                    <a:pt x="330" y="618"/>
                  </a:lnTo>
                  <a:lnTo>
                    <a:pt x="336" y="618"/>
                  </a:lnTo>
                  <a:lnTo>
                    <a:pt x="336" y="624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288" y="624"/>
                  </a:lnTo>
                  <a:lnTo>
                    <a:pt x="282" y="624"/>
                  </a:lnTo>
                  <a:lnTo>
                    <a:pt x="270" y="630"/>
                  </a:lnTo>
                  <a:lnTo>
                    <a:pt x="264" y="630"/>
                  </a:lnTo>
                  <a:lnTo>
                    <a:pt x="258" y="630"/>
                  </a:lnTo>
                  <a:lnTo>
                    <a:pt x="252" y="630"/>
                  </a:lnTo>
                  <a:lnTo>
                    <a:pt x="246" y="630"/>
                  </a:lnTo>
                  <a:lnTo>
                    <a:pt x="240" y="630"/>
                  </a:lnTo>
                  <a:lnTo>
                    <a:pt x="228" y="636"/>
                  </a:lnTo>
                  <a:lnTo>
                    <a:pt x="222" y="636"/>
                  </a:lnTo>
                  <a:lnTo>
                    <a:pt x="210" y="636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42"/>
                  </a:lnTo>
                  <a:lnTo>
                    <a:pt x="186" y="642"/>
                  </a:lnTo>
                  <a:lnTo>
                    <a:pt x="180" y="642"/>
                  </a:lnTo>
                  <a:lnTo>
                    <a:pt x="168" y="642"/>
                  </a:lnTo>
                  <a:lnTo>
                    <a:pt x="162" y="642"/>
                  </a:lnTo>
                  <a:lnTo>
                    <a:pt x="162" y="648"/>
                  </a:lnTo>
                  <a:lnTo>
                    <a:pt x="156" y="648"/>
                  </a:lnTo>
                  <a:lnTo>
                    <a:pt x="150" y="648"/>
                  </a:lnTo>
                  <a:lnTo>
                    <a:pt x="144" y="648"/>
                  </a:lnTo>
                  <a:lnTo>
                    <a:pt x="138" y="648"/>
                  </a:lnTo>
                  <a:lnTo>
                    <a:pt x="132" y="648"/>
                  </a:lnTo>
                  <a:lnTo>
                    <a:pt x="126" y="642"/>
                  </a:lnTo>
                  <a:lnTo>
                    <a:pt x="126" y="636"/>
                  </a:lnTo>
                  <a:lnTo>
                    <a:pt x="120" y="636"/>
                  </a:lnTo>
                  <a:lnTo>
                    <a:pt x="126" y="642"/>
                  </a:lnTo>
                  <a:lnTo>
                    <a:pt x="126" y="648"/>
                  </a:lnTo>
                  <a:lnTo>
                    <a:pt x="132" y="648"/>
                  </a:lnTo>
                  <a:lnTo>
                    <a:pt x="126" y="654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54"/>
                  </a:lnTo>
                  <a:lnTo>
                    <a:pt x="108" y="660"/>
                  </a:lnTo>
                  <a:lnTo>
                    <a:pt x="108" y="654"/>
                  </a:lnTo>
                  <a:lnTo>
                    <a:pt x="102" y="654"/>
                  </a:lnTo>
                  <a:lnTo>
                    <a:pt x="102" y="660"/>
                  </a:lnTo>
                  <a:lnTo>
                    <a:pt x="108" y="660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0" y="660"/>
                  </a:lnTo>
                  <a:lnTo>
                    <a:pt x="90" y="654"/>
                  </a:lnTo>
                  <a:lnTo>
                    <a:pt x="84" y="648"/>
                  </a:lnTo>
                  <a:lnTo>
                    <a:pt x="84" y="642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72" y="636"/>
                  </a:lnTo>
                  <a:lnTo>
                    <a:pt x="78" y="636"/>
                  </a:lnTo>
                  <a:lnTo>
                    <a:pt x="72" y="636"/>
                  </a:lnTo>
                  <a:lnTo>
                    <a:pt x="66" y="636"/>
                  </a:lnTo>
                  <a:lnTo>
                    <a:pt x="60" y="636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60" y="618"/>
                  </a:lnTo>
                  <a:lnTo>
                    <a:pt x="66" y="618"/>
                  </a:lnTo>
                  <a:lnTo>
                    <a:pt x="72" y="618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2" y="612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12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54" y="618"/>
                  </a:lnTo>
                  <a:lnTo>
                    <a:pt x="54" y="624"/>
                  </a:lnTo>
                  <a:lnTo>
                    <a:pt x="48" y="618"/>
                  </a:lnTo>
                  <a:lnTo>
                    <a:pt x="42" y="618"/>
                  </a:lnTo>
                  <a:lnTo>
                    <a:pt x="42" y="612"/>
                  </a:lnTo>
                  <a:lnTo>
                    <a:pt x="48" y="606"/>
                  </a:lnTo>
                  <a:lnTo>
                    <a:pt x="54" y="606"/>
                  </a:lnTo>
                  <a:lnTo>
                    <a:pt x="54" y="600"/>
                  </a:lnTo>
                  <a:lnTo>
                    <a:pt x="54" y="594"/>
                  </a:lnTo>
                  <a:lnTo>
                    <a:pt x="54" y="588"/>
                  </a:lnTo>
                  <a:lnTo>
                    <a:pt x="48" y="588"/>
                  </a:lnTo>
                  <a:lnTo>
                    <a:pt x="48" y="582"/>
                  </a:lnTo>
                  <a:lnTo>
                    <a:pt x="42" y="582"/>
                  </a:lnTo>
                  <a:lnTo>
                    <a:pt x="42" y="570"/>
                  </a:lnTo>
                  <a:lnTo>
                    <a:pt x="42" y="564"/>
                  </a:lnTo>
                  <a:lnTo>
                    <a:pt x="36" y="564"/>
                  </a:lnTo>
                  <a:close/>
                  <a:moveTo>
                    <a:pt x="498" y="420"/>
                  </a:moveTo>
                  <a:lnTo>
                    <a:pt x="504" y="426"/>
                  </a:lnTo>
                  <a:lnTo>
                    <a:pt x="510" y="432"/>
                  </a:lnTo>
                  <a:lnTo>
                    <a:pt x="516" y="432"/>
                  </a:lnTo>
                  <a:lnTo>
                    <a:pt x="516" y="438"/>
                  </a:lnTo>
                  <a:lnTo>
                    <a:pt x="510" y="438"/>
                  </a:lnTo>
                  <a:lnTo>
                    <a:pt x="504" y="438"/>
                  </a:lnTo>
                  <a:lnTo>
                    <a:pt x="504" y="432"/>
                  </a:lnTo>
                  <a:lnTo>
                    <a:pt x="498" y="432"/>
                  </a:lnTo>
                  <a:lnTo>
                    <a:pt x="498" y="426"/>
                  </a:lnTo>
                  <a:lnTo>
                    <a:pt x="498" y="4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4" name="Freeform 9">
              <a:extLst>
                <a:ext uri="{FF2B5EF4-FFF2-40B4-BE49-F238E27FC236}">
                  <a16:creationId xmlns:a16="http://schemas.microsoft.com/office/drawing/2014/main" id="{E0116D32-BD2E-45EA-B818-A3082585D5F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3055" y="2468650"/>
              <a:ext cx="800556" cy="1207710"/>
            </a:xfrm>
            <a:custGeom>
              <a:avLst/>
              <a:gdLst>
                <a:gd name="T0" fmla="*/ 24 w 1506"/>
                <a:gd name="T1" fmla="*/ 190 h 2274"/>
                <a:gd name="T2" fmla="*/ 25 w 1506"/>
                <a:gd name="T3" fmla="*/ 180 h 2274"/>
                <a:gd name="T4" fmla="*/ 21 w 1506"/>
                <a:gd name="T5" fmla="*/ 174 h 2274"/>
                <a:gd name="T6" fmla="*/ 17 w 1506"/>
                <a:gd name="T7" fmla="*/ 170 h 2274"/>
                <a:gd name="T8" fmla="*/ 12 w 1506"/>
                <a:gd name="T9" fmla="*/ 168 h 2274"/>
                <a:gd name="T10" fmla="*/ 10 w 1506"/>
                <a:gd name="T11" fmla="*/ 173 h 2274"/>
                <a:gd name="T12" fmla="*/ 7 w 1506"/>
                <a:gd name="T13" fmla="*/ 174 h 2274"/>
                <a:gd name="T14" fmla="*/ 0 w 1506"/>
                <a:gd name="T15" fmla="*/ 163 h 2274"/>
                <a:gd name="T16" fmla="*/ 16 w 1506"/>
                <a:gd name="T17" fmla="*/ 140 h 2274"/>
                <a:gd name="T18" fmla="*/ 19 w 1506"/>
                <a:gd name="T19" fmla="*/ 137 h 2274"/>
                <a:gd name="T20" fmla="*/ 24 w 1506"/>
                <a:gd name="T21" fmla="*/ 126 h 2274"/>
                <a:gd name="T22" fmla="*/ 23 w 1506"/>
                <a:gd name="T23" fmla="*/ 105 h 2274"/>
                <a:gd name="T24" fmla="*/ 14 w 1506"/>
                <a:gd name="T25" fmla="*/ 86 h 2274"/>
                <a:gd name="T26" fmla="*/ 8 w 1506"/>
                <a:gd name="T27" fmla="*/ 84 h 2274"/>
                <a:gd name="T28" fmla="*/ 5 w 1506"/>
                <a:gd name="T29" fmla="*/ 79 h 2274"/>
                <a:gd name="T30" fmla="*/ 16 w 1506"/>
                <a:gd name="T31" fmla="*/ 71 h 2274"/>
                <a:gd name="T32" fmla="*/ 28 w 1506"/>
                <a:gd name="T33" fmla="*/ 55 h 2274"/>
                <a:gd name="T34" fmla="*/ 29 w 1506"/>
                <a:gd name="T35" fmla="*/ 48 h 2274"/>
                <a:gd name="T36" fmla="*/ 35 w 1506"/>
                <a:gd name="T37" fmla="*/ 50 h 2274"/>
                <a:gd name="T38" fmla="*/ 42 w 1506"/>
                <a:gd name="T39" fmla="*/ 47 h 2274"/>
                <a:gd name="T40" fmla="*/ 63 w 1506"/>
                <a:gd name="T41" fmla="*/ 34 h 2274"/>
                <a:gd name="T42" fmla="*/ 74 w 1506"/>
                <a:gd name="T43" fmla="*/ 27 h 2274"/>
                <a:gd name="T44" fmla="*/ 81 w 1506"/>
                <a:gd name="T45" fmla="*/ 20 h 2274"/>
                <a:gd name="T46" fmla="*/ 89 w 1506"/>
                <a:gd name="T47" fmla="*/ 20 h 2274"/>
                <a:gd name="T48" fmla="*/ 98 w 1506"/>
                <a:gd name="T49" fmla="*/ 27 h 2274"/>
                <a:gd name="T50" fmla="*/ 106 w 1506"/>
                <a:gd name="T51" fmla="*/ 17 h 2274"/>
                <a:gd name="T52" fmla="*/ 111 w 1506"/>
                <a:gd name="T53" fmla="*/ 8 h 2274"/>
                <a:gd name="T54" fmla="*/ 121 w 1506"/>
                <a:gd name="T55" fmla="*/ 2 h 2274"/>
                <a:gd name="T56" fmla="*/ 129 w 1506"/>
                <a:gd name="T57" fmla="*/ 5 h 2274"/>
                <a:gd name="T58" fmla="*/ 125 w 1506"/>
                <a:gd name="T59" fmla="*/ 12 h 2274"/>
                <a:gd name="T60" fmla="*/ 122 w 1506"/>
                <a:gd name="T61" fmla="*/ 20 h 2274"/>
                <a:gd name="T62" fmla="*/ 122 w 1506"/>
                <a:gd name="T63" fmla="*/ 27 h 2274"/>
                <a:gd name="T64" fmla="*/ 120 w 1506"/>
                <a:gd name="T65" fmla="*/ 36 h 2274"/>
                <a:gd name="T66" fmla="*/ 116 w 1506"/>
                <a:gd name="T67" fmla="*/ 43 h 2274"/>
                <a:gd name="T68" fmla="*/ 109 w 1506"/>
                <a:gd name="T69" fmla="*/ 47 h 2274"/>
                <a:gd name="T70" fmla="*/ 108 w 1506"/>
                <a:gd name="T71" fmla="*/ 54 h 2274"/>
                <a:gd name="T72" fmla="*/ 106 w 1506"/>
                <a:gd name="T73" fmla="*/ 59 h 2274"/>
                <a:gd name="T74" fmla="*/ 109 w 1506"/>
                <a:gd name="T75" fmla="*/ 64 h 2274"/>
                <a:gd name="T76" fmla="*/ 106 w 1506"/>
                <a:gd name="T77" fmla="*/ 70 h 2274"/>
                <a:gd name="T78" fmla="*/ 105 w 1506"/>
                <a:gd name="T79" fmla="*/ 75 h 2274"/>
                <a:gd name="T80" fmla="*/ 101 w 1506"/>
                <a:gd name="T81" fmla="*/ 78 h 2274"/>
                <a:gd name="T82" fmla="*/ 92 w 1506"/>
                <a:gd name="T83" fmla="*/ 81 h 2274"/>
                <a:gd name="T84" fmla="*/ 85 w 1506"/>
                <a:gd name="T85" fmla="*/ 85 h 2274"/>
                <a:gd name="T86" fmla="*/ 87 w 1506"/>
                <a:gd name="T87" fmla="*/ 91 h 2274"/>
                <a:gd name="T88" fmla="*/ 86 w 1506"/>
                <a:gd name="T89" fmla="*/ 98 h 2274"/>
                <a:gd name="T90" fmla="*/ 86 w 1506"/>
                <a:gd name="T91" fmla="*/ 103 h 2274"/>
                <a:gd name="T92" fmla="*/ 82 w 1506"/>
                <a:gd name="T93" fmla="*/ 111 h 2274"/>
                <a:gd name="T94" fmla="*/ 81 w 1506"/>
                <a:gd name="T95" fmla="*/ 116 h 2274"/>
                <a:gd name="T96" fmla="*/ 78 w 1506"/>
                <a:gd name="T97" fmla="*/ 120 h 2274"/>
                <a:gd name="T98" fmla="*/ 76 w 1506"/>
                <a:gd name="T99" fmla="*/ 126 h 2274"/>
                <a:gd name="T100" fmla="*/ 68 w 1506"/>
                <a:gd name="T101" fmla="*/ 129 h 2274"/>
                <a:gd name="T102" fmla="*/ 62 w 1506"/>
                <a:gd name="T103" fmla="*/ 131 h 2274"/>
                <a:gd name="T104" fmla="*/ 58 w 1506"/>
                <a:gd name="T105" fmla="*/ 136 h 2274"/>
                <a:gd name="T106" fmla="*/ 51 w 1506"/>
                <a:gd name="T107" fmla="*/ 138 h 2274"/>
                <a:gd name="T108" fmla="*/ 51 w 1506"/>
                <a:gd name="T109" fmla="*/ 147 h 2274"/>
                <a:gd name="T110" fmla="*/ 49 w 1506"/>
                <a:gd name="T111" fmla="*/ 159 h 2274"/>
                <a:gd name="T112" fmla="*/ 48 w 1506"/>
                <a:gd name="T113" fmla="*/ 166 h 2274"/>
                <a:gd name="T114" fmla="*/ 41 w 1506"/>
                <a:gd name="T115" fmla="*/ 174 h 2274"/>
                <a:gd name="T116" fmla="*/ 39 w 1506"/>
                <a:gd name="T117" fmla="*/ 181 h 2274"/>
                <a:gd name="T118" fmla="*/ 37 w 1506"/>
                <a:gd name="T119" fmla="*/ 190 h 2274"/>
                <a:gd name="T120" fmla="*/ 29 w 1506"/>
                <a:gd name="T121" fmla="*/ 198 h 22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06"/>
                <a:gd name="T184" fmla="*/ 0 h 2274"/>
                <a:gd name="T185" fmla="*/ 1506 w 1506"/>
                <a:gd name="T186" fmla="*/ 2274 h 227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06" h="2274">
                  <a:moveTo>
                    <a:pt x="330" y="2274"/>
                  </a:moveTo>
                  <a:lnTo>
                    <a:pt x="318" y="2262"/>
                  </a:lnTo>
                  <a:lnTo>
                    <a:pt x="312" y="2238"/>
                  </a:lnTo>
                  <a:lnTo>
                    <a:pt x="312" y="2232"/>
                  </a:lnTo>
                  <a:lnTo>
                    <a:pt x="294" y="2214"/>
                  </a:lnTo>
                  <a:lnTo>
                    <a:pt x="288" y="2208"/>
                  </a:lnTo>
                  <a:lnTo>
                    <a:pt x="288" y="2202"/>
                  </a:lnTo>
                  <a:lnTo>
                    <a:pt x="276" y="2196"/>
                  </a:lnTo>
                  <a:lnTo>
                    <a:pt x="276" y="2190"/>
                  </a:lnTo>
                  <a:lnTo>
                    <a:pt x="282" y="2190"/>
                  </a:lnTo>
                  <a:lnTo>
                    <a:pt x="282" y="2184"/>
                  </a:lnTo>
                  <a:lnTo>
                    <a:pt x="276" y="2172"/>
                  </a:lnTo>
                  <a:lnTo>
                    <a:pt x="276" y="2166"/>
                  </a:lnTo>
                  <a:lnTo>
                    <a:pt x="282" y="2166"/>
                  </a:lnTo>
                  <a:lnTo>
                    <a:pt x="282" y="2154"/>
                  </a:lnTo>
                  <a:lnTo>
                    <a:pt x="276" y="2136"/>
                  </a:lnTo>
                  <a:lnTo>
                    <a:pt x="276" y="2112"/>
                  </a:lnTo>
                  <a:lnTo>
                    <a:pt x="282" y="2088"/>
                  </a:lnTo>
                  <a:lnTo>
                    <a:pt x="282" y="2082"/>
                  </a:lnTo>
                  <a:lnTo>
                    <a:pt x="282" y="2076"/>
                  </a:lnTo>
                  <a:lnTo>
                    <a:pt x="282" y="2070"/>
                  </a:lnTo>
                  <a:lnTo>
                    <a:pt x="288" y="2070"/>
                  </a:lnTo>
                  <a:lnTo>
                    <a:pt x="288" y="2064"/>
                  </a:lnTo>
                  <a:lnTo>
                    <a:pt x="282" y="2052"/>
                  </a:lnTo>
                  <a:lnTo>
                    <a:pt x="282" y="2046"/>
                  </a:lnTo>
                  <a:lnTo>
                    <a:pt x="276" y="2040"/>
                  </a:lnTo>
                  <a:lnTo>
                    <a:pt x="270" y="2034"/>
                  </a:lnTo>
                  <a:lnTo>
                    <a:pt x="264" y="2022"/>
                  </a:lnTo>
                  <a:lnTo>
                    <a:pt x="258" y="2022"/>
                  </a:lnTo>
                  <a:lnTo>
                    <a:pt x="258" y="2016"/>
                  </a:lnTo>
                  <a:lnTo>
                    <a:pt x="252" y="2016"/>
                  </a:lnTo>
                  <a:lnTo>
                    <a:pt x="246" y="2016"/>
                  </a:lnTo>
                  <a:lnTo>
                    <a:pt x="240" y="2010"/>
                  </a:lnTo>
                  <a:lnTo>
                    <a:pt x="234" y="2004"/>
                  </a:lnTo>
                  <a:lnTo>
                    <a:pt x="228" y="2004"/>
                  </a:lnTo>
                  <a:lnTo>
                    <a:pt x="228" y="1998"/>
                  </a:lnTo>
                  <a:lnTo>
                    <a:pt x="228" y="1992"/>
                  </a:lnTo>
                  <a:lnTo>
                    <a:pt x="222" y="1992"/>
                  </a:lnTo>
                  <a:lnTo>
                    <a:pt x="222" y="1986"/>
                  </a:lnTo>
                  <a:lnTo>
                    <a:pt x="216" y="1986"/>
                  </a:lnTo>
                  <a:lnTo>
                    <a:pt x="210" y="1980"/>
                  </a:lnTo>
                  <a:lnTo>
                    <a:pt x="216" y="1974"/>
                  </a:lnTo>
                  <a:lnTo>
                    <a:pt x="210" y="1968"/>
                  </a:lnTo>
                  <a:lnTo>
                    <a:pt x="198" y="1956"/>
                  </a:lnTo>
                  <a:lnTo>
                    <a:pt x="192" y="1956"/>
                  </a:lnTo>
                  <a:lnTo>
                    <a:pt x="186" y="1956"/>
                  </a:lnTo>
                  <a:lnTo>
                    <a:pt x="180" y="1944"/>
                  </a:lnTo>
                  <a:lnTo>
                    <a:pt x="180" y="1938"/>
                  </a:lnTo>
                  <a:lnTo>
                    <a:pt x="174" y="1932"/>
                  </a:lnTo>
                  <a:lnTo>
                    <a:pt x="168" y="1932"/>
                  </a:lnTo>
                  <a:lnTo>
                    <a:pt x="162" y="1932"/>
                  </a:lnTo>
                  <a:lnTo>
                    <a:pt x="150" y="1932"/>
                  </a:lnTo>
                  <a:lnTo>
                    <a:pt x="150" y="1926"/>
                  </a:lnTo>
                  <a:lnTo>
                    <a:pt x="150" y="1932"/>
                  </a:lnTo>
                  <a:lnTo>
                    <a:pt x="144" y="1932"/>
                  </a:lnTo>
                  <a:lnTo>
                    <a:pt x="138" y="1932"/>
                  </a:lnTo>
                  <a:lnTo>
                    <a:pt x="132" y="1932"/>
                  </a:lnTo>
                  <a:lnTo>
                    <a:pt x="132" y="1938"/>
                  </a:lnTo>
                  <a:lnTo>
                    <a:pt x="126" y="1944"/>
                  </a:lnTo>
                  <a:lnTo>
                    <a:pt x="126" y="1956"/>
                  </a:lnTo>
                  <a:lnTo>
                    <a:pt x="120" y="1968"/>
                  </a:lnTo>
                  <a:lnTo>
                    <a:pt x="120" y="1974"/>
                  </a:lnTo>
                  <a:lnTo>
                    <a:pt x="120" y="1980"/>
                  </a:lnTo>
                  <a:lnTo>
                    <a:pt x="126" y="1980"/>
                  </a:lnTo>
                  <a:lnTo>
                    <a:pt x="120" y="1986"/>
                  </a:lnTo>
                  <a:lnTo>
                    <a:pt x="120" y="1992"/>
                  </a:lnTo>
                  <a:lnTo>
                    <a:pt x="114" y="1992"/>
                  </a:lnTo>
                  <a:lnTo>
                    <a:pt x="114" y="1986"/>
                  </a:lnTo>
                  <a:lnTo>
                    <a:pt x="108" y="1992"/>
                  </a:lnTo>
                  <a:lnTo>
                    <a:pt x="108" y="1998"/>
                  </a:lnTo>
                  <a:lnTo>
                    <a:pt x="114" y="2004"/>
                  </a:lnTo>
                  <a:lnTo>
                    <a:pt x="108" y="2004"/>
                  </a:lnTo>
                  <a:lnTo>
                    <a:pt x="102" y="2010"/>
                  </a:lnTo>
                  <a:lnTo>
                    <a:pt x="102" y="2004"/>
                  </a:lnTo>
                  <a:lnTo>
                    <a:pt x="90" y="2004"/>
                  </a:lnTo>
                  <a:lnTo>
                    <a:pt x="84" y="2004"/>
                  </a:lnTo>
                  <a:lnTo>
                    <a:pt x="78" y="1998"/>
                  </a:lnTo>
                  <a:lnTo>
                    <a:pt x="78" y="1992"/>
                  </a:lnTo>
                  <a:lnTo>
                    <a:pt x="78" y="1986"/>
                  </a:lnTo>
                  <a:lnTo>
                    <a:pt x="72" y="1986"/>
                  </a:lnTo>
                  <a:lnTo>
                    <a:pt x="66" y="1980"/>
                  </a:lnTo>
                  <a:lnTo>
                    <a:pt x="66" y="1968"/>
                  </a:lnTo>
                  <a:lnTo>
                    <a:pt x="60" y="1956"/>
                  </a:lnTo>
                  <a:lnTo>
                    <a:pt x="60" y="1950"/>
                  </a:lnTo>
                  <a:lnTo>
                    <a:pt x="48" y="1944"/>
                  </a:lnTo>
                  <a:lnTo>
                    <a:pt x="30" y="1926"/>
                  </a:lnTo>
                  <a:lnTo>
                    <a:pt x="12" y="1890"/>
                  </a:lnTo>
                  <a:lnTo>
                    <a:pt x="6" y="1872"/>
                  </a:lnTo>
                  <a:lnTo>
                    <a:pt x="0" y="1854"/>
                  </a:lnTo>
                  <a:lnTo>
                    <a:pt x="6" y="1824"/>
                  </a:lnTo>
                  <a:lnTo>
                    <a:pt x="30" y="1794"/>
                  </a:lnTo>
                  <a:lnTo>
                    <a:pt x="66" y="1752"/>
                  </a:lnTo>
                  <a:lnTo>
                    <a:pt x="72" y="1752"/>
                  </a:lnTo>
                  <a:lnTo>
                    <a:pt x="78" y="1746"/>
                  </a:lnTo>
                  <a:lnTo>
                    <a:pt x="84" y="1746"/>
                  </a:lnTo>
                  <a:lnTo>
                    <a:pt x="90" y="1746"/>
                  </a:lnTo>
                  <a:lnTo>
                    <a:pt x="138" y="1674"/>
                  </a:lnTo>
                  <a:lnTo>
                    <a:pt x="186" y="1620"/>
                  </a:lnTo>
                  <a:lnTo>
                    <a:pt x="186" y="1614"/>
                  </a:lnTo>
                  <a:lnTo>
                    <a:pt x="186" y="1608"/>
                  </a:lnTo>
                  <a:lnTo>
                    <a:pt x="192" y="1608"/>
                  </a:lnTo>
                  <a:lnTo>
                    <a:pt x="192" y="1614"/>
                  </a:lnTo>
                  <a:lnTo>
                    <a:pt x="198" y="1614"/>
                  </a:lnTo>
                  <a:lnTo>
                    <a:pt x="198" y="1608"/>
                  </a:lnTo>
                  <a:lnTo>
                    <a:pt x="198" y="1602"/>
                  </a:lnTo>
                  <a:lnTo>
                    <a:pt x="204" y="1602"/>
                  </a:lnTo>
                  <a:lnTo>
                    <a:pt x="204" y="1596"/>
                  </a:lnTo>
                  <a:lnTo>
                    <a:pt x="210" y="1590"/>
                  </a:lnTo>
                  <a:lnTo>
                    <a:pt x="216" y="1590"/>
                  </a:lnTo>
                  <a:lnTo>
                    <a:pt x="216" y="1584"/>
                  </a:lnTo>
                  <a:lnTo>
                    <a:pt x="222" y="1584"/>
                  </a:lnTo>
                  <a:lnTo>
                    <a:pt x="228" y="1572"/>
                  </a:lnTo>
                  <a:lnTo>
                    <a:pt x="222" y="1572"/>
                  </a:lnTo>
                  <a:lnTo>
                    <a:pt x="228" y="1566"/>
                  </a:lnTo>
                  <a:lnTo>
                    <a:pt x="228" y="1560"/>
                  </a:lnTo>
                  <a:lnTo>
                    <a:pt x="252" y="1548"/>
                  </a:lnTo>
                  <a:lnTo>
                    <a:pt x="276" y="1530"/>
                  </a:lnTo>
                  <a:lnTo>
                    <a:pt x="282" y="1512"/>
                  </a:lnTo>
                  <a:lnTo>
                    <a:pt x="282" y="1506"/>
                  </a:lnTo>
                  <a:lnTo>
                    <a:pt x="282" y="1494"/>
                  </a:lnTo>
                  <a:lnTo>
                    <a:pt x="282" y="1452"/>
                  </a:lnTo>
                  <a:lnTo>
                    <a:pt x="288" y="1440"/>
                  </a:lnTo>
                  <a:lnTo>
                    <a:pt x="294" y="1440"/>
                  </a:lnTo>
                  <a:lnTo>
                    <a:pt x="294" y="1428"/>
                  </a:lnTo>
                  <a:lnTo>
                    <a:pt x="324" y="1368"/>
                  </a:lnTo>
                  <a:lnTo>
                    <a:pt x="330" y="1362"/>
                  </a:lnTo>
                  <a:lnTo>
                    <a:pt x="330" y="1356"/>
                  </a:lnTo>
                  <a:lnTo>
                    <a:pt x="360" y="1338"/>
                  </a:lnTo>
                  <a:lnTo>
                    <a:pt x="366" y="1296"/>
                  </a:lnTo>
                  <a:lnTo>
                    <a:pt x="354" y="1278"/>
                  </a:lnTo>
                  <a:lnTo>
                    <a:pt x="336" y="1230"/>
                  </a:lnTo>
                  <a:lnTo>
                    <a:pt x="270" y="1212"/>
                  </a:lnTo>
                  <a:lnTo>
                    <a:pt x="264" y="1212"/>
                  </a:lnTo>
                  <a:lnTo>
                    <a:pt x="252" y="1200"/>
                  </a:lnTo>
                  <a:lnTo>
                    <a:pt x="234" y="1188"/>
                  </a:lnTo>
                  <a:lnTo>
                    <a:pt x="222" y="1182"/>
                  </a:lnTo>
                  <a:lnTo>
                    <a:pt x="228" y="1104"/>
                  </a:lnTo>
                  <a:lnTo>
                    <a:pt x="228" y="1098"/>
                  </a:lnTo>
                  <a:lnTo>
                    <a:pt x="198" y="1038"/>
                  </a:lnTo>
                  <a:lnTo>
                    <a:pt x="192" y="1032"/>
                  </a:lnTo>
                  <a:lnTo>
                    <a:pt x="180" y="1020"/>
                  </a:lnTo>
                  <a:lnTo>
                    <a:pt x="168" y="996"/>
                  </a:lnTo>
                  <a:lnTo>
                    <a:pt x="162" y="990"/>
                  </a:lnTo>
                  <a:lnTo>
                    <a:pt x="156" y="990"/>
                  </a:lnTo>
                  <a:lnTo>
                    <a:pt x="150" y="990"/>
                  </a:lnTo>
                  <a:lnTo>
                    <a:pt x="132" y="990"/>
                  </a:lnTo>
                  <a:lnTo>
                    <a:pt x="120" y="984"/>
                  </a:lnTo>
                  <a:lnTo>
                    <a:pt x="120" y="990"/>
                  </a:lnTo>
                  <a:lnTo>
                    <a:pt x="114" y="990"/>
                  </a:lnTo>
                  <a:lnTo>
                    <a:pt x="102" y="984"/>
                  </a:lnTo>
                  <a:lnTo>
                    <a:pt x="96" y="984"/>
                  </a:lnTo>
                  <a:lnTo>
                    <a:pt x="96" y="978"/>
                  </a:lnTo>
                  <a:lnTo>
                    <a:pt x="90" y="978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84" y="960"/>
                  </a:lnTo>
                  <a:lnTo>
                    <a:pt x="84" y="954"/>
                  </a:lnTo>
                  <a:lnTo>
                    <a:pt x="78" y="948"/>
                  </a:lnTo>
                  <a:lnTo>
                    <a:pt x="72" y="948"/>
                  </a:lnTo>
                  <a:lnTo>
                    <a:pt x="72" y="942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06"/>
                  </a:lnTo>
                  <a:lnTo>
                    <a:pt x="60" y="888"/>
                  </a:lnTo>
                  <a:lnTo>
                    <a:pt x="54" y="882"/>
                  </a:lnTo>
                  <a:lnTo>
                    <a:pt x="60" y="882"/>
                  </a:lnTo>
                  <a:lnTo>
                    <a:pt x="72" y="876"/>
                  </a:lnTo>
                  <a:lnTo>
                    <a:pt x="78" y="876"/>
                  </a:lnTo>
                  <a:lnTo>
                    <a:pt x="90" y="870"/>
                  </a:lnTo>
                  <a:lnTo>
                    <a:pt x="90" y="864"/>
                  </a:lnTo>
                  <a:lnTo>
                    <a:pt x="96" y="840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80" y="822"/>
                  </a:lnTo>
                  <a:lnTo>
                    <a:pt x="204" y="798"/>
                  </a:lnTo>
                  <a:lnTo>
                    <a:pt x="222" y="786"/>
                  </a:lnTo>
                  <a:lnTo>
                    <a:pt x="252" y="780"/>
                  </a:lnTo>
                  <a:lnTo>
                    <a:pt x="264" y="762"/>
                  </a:lnTo>
                  <a:lnTo>
                    <a:pt x="276" y="762"/>
                  </a:lnTo>
                  <a:lnTo>
                    <a:pt x="288" y="744"/>
                  </a:lnTo>
                  <a:lnTo>
                    <a:pt x="306" y="738"/>
                  </a:lnTo>
                  <a:lnTo>
                    <a:pt x="318" y="732"/>
                  </a:lnTo>
                  <a:lnTo>
                    <a:pt x="324" y="648"/>
                  </a:lnTo>
                  <a:lnTo>
                    <a:pt x="324" y="636"/>
                  </a:lnTo>
                  <a:lnTo>
                    <a:pt x="324" y="630"/>
                  </a:lnTo>
                  <a:lnTo>
                    <a:pt x="330" y="624"/>
                  </a:lnTo>
                  <a:lnTo>
                    <a:pt x="324" y="618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24" y="588"/>
                  </a:lnTo>
                  <a:lnTo>
                    <a:pt x="318" y="576"/>
                  </a:lnTo>
                  <a:lnTo>
                    <a:pt x="318" y="570"/>
                  </a:lnTo>
                  <a:lnTo>
                    <a:pt x="324" y="570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30" y="558"/>
                  </a:lnTo>
                  <a:lnTo>
                    <a:pt x="336" y="558"/>
                  </a:lnTo>
                  <a:lnTo>
                    <a:pt x="342" y="558"/>
                  </a:lnTo>
                  <a:lnTo>
                    <a:pt x="348" y="558"/>
                  </a:lnTo>
                  <a:lnTo>
                    <a:pt x="354" y="564"/>
                  </a:lnTo>
                  <a:lnTo>
                    <a:pt x="360" y="564"/>
                  </a:lnTo>
                  <a:lnTo>
                    <a:pt x="366" y="570"/>
                  </a:lnTo>
                  <a:lnTo>
                    <a:pt x="366" y="576"/>
                  </a:lnTo>
                  <a:lnTo>
                    <a:pt x="372" y="570"/>
                  </a:lnTo>
                  <a:lnTo>
                    <a:pt x="378" y="570"/>
                  </a:lnTo>
                  <a:lnTo>
                    <a:pt x="390" y="570"/>
                  </a:lnTo>
                  <a:lnTo>
                    <a:pt x="402" y="570"/>
                  </a:lnTo>
                  <a:lnTo>
                    <a:pt x="408" y="570"/>
                  </a:lnTo>
                  <a:lnTo>
                    <a:pt x="414" y="564"/>
                  </a:lnTo>
                  <a:lnTo>
                    <a:pt x="420" y="564"/>
                  </a:lnTo>
                  <a:lnTo>
                    <a:pt x="420" y="570"/>
                  </a:lnTo>
                  <a:lnTo>
                    <a:pt x="426" y="570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44" y="570"/>
                  </a:lnTo>
                  <a:lnTo>
                    <a:pt x="450" y="564"/>
                  </a:lnTo>
                  <a:lnTo>
                    <a:pt x="474" y="558"/>
                  </a:lnTo>
                  <a:lnTo>
                    <a:pt x="486" y="54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40" y="474"/>
                  </a:lnTo>
                  <a:lnTo>
                    <a:pt x="558" y="456"/>
                  </a:lnTo>
                  <a:lnTo>
                    <a:pt x="582" y="450"/>
                  </a:lnTo>
                  <a:lnTo>
                    <a:pt x="594" y="414"/>
                  </a:lnTo>
                  <a:lnTo>
                    <a:pt x="612" y="390"/>
                  </a:lnTo>
                  <a:lnTo>
                    <a:pt x="636" y="390"/>
                  </a:lnTo>
                  <a:lnTo>
                    <a:pt x="666" y="390"/>
                  </a:lnTo>
                  <a:lnTo>
                    <a:pt x="696" y="390"/>
                  </a:lnTo>
                  <a:lnTo>
                    <a:pt x="726" y="390"/>
                  </a:lnTo>
                  <a:lnTo>
                    <a:pt x="762" y="378"/>
                  </a:lnTo>
                  <a:lnTo>
                    <a:pt x="780" y="366"/>
                  </a:lnTo>
                  <a:lnTo>
                    <a:pt x="780" y="342"/>
                  </a:lnTo>
                  <a:lnTo>
                    <a:pt x="786" y="342"/>
                  </a:lnTo>
                  <a:lnTo>
                    <a:pt x="786" y="336"/>
                  </a:lnTo>
                  <a:lnTo>
                    <a:pt x="786" y="330"/>
                  </a:lnTo>
                  <a:lnTo>
                    <a:pt x="786" y="324"/>
                  </a:lnTo>
                  <a:lnTo>
                    <a:pt x="816" y="318"/>
                  </a:lnTo>
                  <a:lnTo>
                    <a:pt x="834" y="312"/>
                  </a:lnTo>
                  <a:lnTo>
                    <a:pt x="840" y="318"/>
                  </a:lnTo>
                  <a:lnTo>
                    <a:pt x="852" y="318"/>
                  </a:lnTo>
                  <a:lnTo>
                    <a:pt x="858" y="306"/>
                  </a:lnTo>
                  <a:lnTo>
                    <a:pt x="864" y="288"/>
                  </a:lnTo>
                  <a:lnTo>
                    <a:pt x="870" y="282"/>
                  </a:lnTo>
                  <a:lnTo>
                    <a:pt x="876" y="276"/>
                  </a:lnTo>
                  <a:lnTo>
                    <a:pt x="882" y="264"/>
                  </a:lnTo>
                  <a:lnTo>
                    <a:pt x="882" y="258"/>
                  </a:lnTo>
                  <a:lnTo>
                    <a:pt x="888" y="252"/>
                  </a:lnTo>
                  <a:lnTo>
                    <a:pt x="894" y="240"/>
                  </a:lnTo>
                  <a:lnTo>
                    <a:pt x="906" y="228"/>
                  </a:lnTo>
                  <a:lnTo>
                    <a:pt x="912" y="228"/>
                  </a:lnTo>
                  <a:lnTo>
                    <a:pt x="936" y="228"/>
                  </a:lnTo>
                  <a:lnTo>
                    <a:pt x="942" y="222"/>
                  </a:lnTo>
                  <a:lnTo>
                    <a:pt x="948" y="216"/>
                  </a:lnTo>
                  <a:lnTo>
                    <a:pt x="954" y="216"/>
                  </a:lnTo>
                  <a:lnTo>
                    <a:pt x="960" y="216"/>
                  </a:lnTo>
                  <a:lnTo>
                    <a:pt x="966" y="216"/>
                  </a:lnTo>
                  <a:lnTo>
                    <a:pt x="978" y="216"/>
                  </a:lnTo>
                  <a:lnTo>
                    <a:pt x="990" y="222"/>
                  </a:lnTo>
                  <a:lnTo>
                    <a:pt x="996" y="222"/>
                  </a:lnTo>
                  <a:lnTo>
                    <a:pt x="1002" y="228"/>
                  </a:lnTo>
                  <a:lnTo>
                    <a:pt x="1014" y="234"/>
                  </a:lnTo>
                  <a:lnTo>
                    <a:pt x="1020" y="234"/>
                  </a:lnTo>
                  <a:lnTo>
                    <a:pt x="1032" y="240"/>
                  </a:lnTo>
                  <a:lnTo>
                    <a:pt x="1044" y="240"/>
                  </a:lnTo>
                  <a:lnTo>
                    <a:pt x="1050" y="240"/>
                  </a:lnTo>
                  <a:lnTo>
                    <a:pt x="1056" y="246"/>
                  </a:lnTo>
                  <a:lnTo>
                    <a:pt x="1068" y="264"/>
                  </a:lnTo>
                  <a:lnTo>
                    <a:pt x="1086" y="276"/>
                  </a:lnTo>
                  <a:lnTo>
                    <a:pt x="1092" y="276"/>
                  </a:lnTo>
                  <a:lnTo>
                    <a:pt x="1104" y="282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8" y="312"/>
                  </a:lnTo>
                  <a:lnTo>
                    <a:pt x="1152" y="324"/>
                  </a:lnTo>
                  <a:lnTo>
                    <a:pt x="1188" y="324"/>
                  </a:lnTo>
                  <a:lnTo>
                    <a:pt x="1206" y="318"/>
                  </a:lnTo>
                  <a:lnTo>
                    <a:pt x="1200" y="294"/>
                  </a:lnTo>
                  <a:lnTo>
                    <a:pt x="1206" y="252"/>
                  </a:lnTo>
                  <a:lnTo>
                    <a:pt x="1218" y="222"/>
                  </a:lnTo>
                  <a:lnTo>
                    <a:pt x="1212" y="222"/>
                  </a:lnTo>
                  <a:lnTo>
                    <a:pt x="1212" y="216"/>
                  </a:lnTo>
                  <a:lnTo>
                    <a:pt x="1218" y="204"/>
                  </a:lnTo>
                  <a:lnTo>
                    <a:pt x="1224" y="198"/>
                  </a:lnTo>
                  <a:lnTo>
                    <a:pt x="1224" y="192"/>
                  </a:lnTo>
                  <a:lnTo>
                    <a:pt x="1236" y="180"/>
                  </a:lnTo>
                  <a:lnTo>
                    <a:pt x="1254" y="156"/>
                  </a:lnTo>
                  <a:lnTo>
                    <a:pt x="1260" y="150"/>
                  </a:lnTo>
                  <a:lnTo>
                    <a:pt x="1260" y="144"/>
                  </a:lnTo>
                  <a:lnTo>
                    <a:pt x="1266" y="138"/>
                  </a:lnTo>
                  <a:lnTo>
                    <a:pt x="1272" y="138"/>
                  </a:lnTo>
                  <a:lnTo>
                    <a:pt x="1272" y="120"/>
                  </a:lnTo>
                  <a:lnTo>
                    <a:pt x="1278" y="114"/>
                  </a:lnTo>
                  <a:lnTo>
                    <a:pt x="1278" y="108"/>
                  </a:lnTo>
                  <a:lnTo>
                    <a:pt x="1278" y="102"/>
                  </a:lnTo>
                  <a:lnTo>
                    <a:pt x="1278" y="90"/>
                  </a:lnTo>
                  <a:lnTo>
                    <a:pt x="1278" y="84"/>
                  </a:lnTo>
                  <a:lnTo>
                    <a:pt x="1278" y="78"/>
                  </a:lnTo>
                  <a:lnTo>
                    <a:pt x="1278" y="72"/>
                  </a:lnTo>
                  <a:lnTo>
                    <a:pt x="1278" y="60"/>
                  </a:lnTo>
                  <a:lnTo>
                    <a:pt x="1284" y="48"/>
                  </a:lnTo>
                  <a:lnTo>
                    <a:pt x="1284" y="24"/>
                  </a:lnTo>
                  <a:lnTo>
                    <a:pt x="1284" y="18"/>
                  </a:lnTo>
                  <a:lnTo>
                    <a:pt x="1308" y="24"/>
                  </a:lnTo>
                  <a:lnTo>
                    <a:pt x="1332" y="30"/>
                  </a:lnTo>
                  <a:lnTo>
                    <a:pt x="1368" y="30"/>
                  </a:lnTo>
                  <a:lnTo>
                    <a:pt x="1392" y="24"/>
                  </a:lnTo>
                  <a:lnTo>
                    <a:pt x="1410" y="18"/>
                  </a:lnTo>
                  <a:lnTo>
                    <a:pt x="1416" y="6"/>
                  </a:lnTo>
                  <a:lnTo>
                    <a:pt x="1500" y="6"/>
                  </a:lnTo>
                  <a:lnTo>
                    <a:pt x="1506" y="0"/>
                  </a:lnTo>
                  <a:lnTo>
                    <a:pt x="1506" y="6"/>
                  </a:lnTo>
                  <a:lnTo>
                    <a:pt x="1506" y="18"/>
                  </a:lnTo>
                  <a:lnTo>
                    <a:pt x="1506" y="24"/>
                  </a:lnTo>
                  <a:lnTo>
                    <a:pt x="1500" y="30"/>
                  </a:lnTo>
                  <a:lnTo>
                    <a:pt x="1500" y="42"/>
                  </a:lnTo>
                  <a:lnTo>
                    <a:pt x="1494" y="54"/>
                  </a:lnTo>
                  <a:lnTo>
                    <a:pt x="1488" y="60"/>
                  </a:lnTo>
                  <a:lnTo>
                    <a:pt x="1482" y="60"/>
                  </a:lnTo>
                  <a:lnTo>
                    <a:pt x="1476" y="66"/>
                  </a:lnTo>
                  <a:lnTo>
                    <a:pt x="1476" y="72"/>
                  </a:lnTo>
                  <a:lnTo>
                    <a:pt x="1476" y="78"/>
                  </a:lnTo>
                  <a:lnTo>
                    <a:pt x="1470" y="78"/>
                  </a:lnTo>
                  <a:lnTo>
                    <a:pt x="1464" y="90"/>
                  </a:lnTo>
                  <a:lnTo>
                    <a:pt x="1458" y="96"/>
                  </a:lnTo>
                  <a:lnTo>
                    <a:pt x="1458" y="102"/>
                  </a:lnTo>
                  <a:lnTo>
                    <a:pt x="1452" y="120"/>
                  </a:lnTo>
                  <a:lnTo>
                    <a:pt x="1452" y="132"/>
                  </a:lnTo>
                  <a:lnTo>
                    <a:pt x="1446" y="144"/>
                  </a:lnTo>
                  <a:lnTo>
                    <a:pt x="1446" y="150"/>
                  </a:lnTo>
                  <a:lnTo>
                    <a:pt x="1440" y="150"/>
                  </a:lnTo>
                  <a:lnTo>
                    <a:pt x="1434" y="156"/>
                  </a:lnTo>
                  <a:lnTo>
                    <a:pt x="1428" y="168"/>
                  </a:lnTo>
                  <a:lnTo>
                    <a:pt x="1422" y="168"/>
                  </a:lnTo>
                  <a:lnTo>
                    <a:pt x="1416" y="174"/>
                  </a:lnTo>
                  <a:lnTo>
                    <a:pt x="1410" y="186"/>
                  </a:lnTo>
                  <a:lnTo>
                    <a:pt x="1410" y="204"/>
                  </a:lnTo>
                  <a:lnTo>
                    <a:pt x="1404" y="210"/>
                  </a:lnTo>
                  <a:lnTo>
                    <a:pt x="1404" y="216"/>
                  </a:lnTo>
                  <a:lnTo>
                    <a:pt x="1410" y="228"/>
                  </a:lnTo>
                  <a:lnTo>
                    <a:pt x="1410" y="234"/>
                  </a:lnTo>
                  <a:lnTo>
                    <a:pt x="1410" y="240"/>
                  </a:lnTo>
                  <a:lnTo>
                    <a:pt x="1416" y="252"/>
                  </a:lnTo>
                  <a:lnTo>
                    <a:pt x="1416" y="258"/>
                  </a:lnTo>
                  <a:lnTo>
                    <a:pt x="1422" y="264"/>
                  </a:lnTo>
                  <a:lnTo>
                    <a:pt x="1422" y="270"/>
                  </a:lnTo>
                  <a:lnTo>
                    <a:pt x="1422" y="282"/>
                  </a:lnTo>
                  <a:lnTo>
                    <a:pt x="1416" y="288"/>
                  </a:lnTo>
                  <a:lnTo>
                    <a:pt x="1410" y="294"/>
                  </a:lnTo>
                  <a:lnTo>
                    <a:pt x="1404" y="300"/>
                  </a:lnTo>
                  <a:lnTo>
                    <a:pt x="1404" y="306"/>
                  </a:lnTo>
                  <a:lnTo>
                    <a:pt x="1398" y="324"/>
                  </a:lnTo>
                  <a:lnTo>
                    <a:pt x="1404" y="330"/>
                  </a:lnTo>
                  <a:lnTo>
                    <a:pt x="1404" y="342"/>
                  </a:lnTo>
                  <a:lnTo>
                    <a:pt x="1392" y="354"/>
                  </a:lnTo>
                  <a:lnTo>
                    <a:pt x="1392" y="360"/>
                  </a:lnTo>
                  <a:lnTo>
                    <a:pt x="1392" y="372"/>
                  </a:lnTo>
                  <a:lnTo>
                    <a:pt x="1392" y="384"/>
                  </a:lnTo>
                  <a:lnTo>
                    <a:pt x="1392" y="396"/>
                  </a:lnTo>
                  <a:lnTo>
                    <a:pt x="1392" y="408"/>
                  </a:lnTo>
                  <a:lnTo>
                    <a:pt x="1386" y="414"/>
                  </a:lnTo>
                  <a:lnTo>
                    <a:pt x="1380" y="420"/>
                  </a:lnTo>
                  <a:lnTo>
                    <a:pt x="1380" y="426"/>
                  </a:lnTo>
                  <a:lnTo>
                    <a:pt x="1368" y="432"/>
                  </a:lnTo>
                  <a:lnTo>
                    <a:pt x="1362" y="444"/>
                  </a:lnTo>
                  <a:lnTo>
                    <a:pt x="1362" y="450"/>
                  </a:lnTo>
                  <a:lnTo>
                    <a:pt x="1362" y="462"/>
                  </a:lnTo>
                  <a:lnTo>
                    <a:pt x="1362" y="468"/>
                  </a:lnTo>
                  <a:lnTo>
                    <a:pt x="1362" y="474"/>
                  </a:lnTo>
                  <a:lnTo>
                    <a:pt x="1356" y="474"/>
                  </a:lnTo>
                  <a:lnTo>
                    <a:pt x="1350" y="480"/>
                  </a:lnTo>
                  <a:lnTo>
                    <a:pt x="1344" y="486"/>
                  </a:lnTo>
                  <a:lnTo>
                    <a:pt x="1338" y="498"/>
                  </a:lnTo>
                  <a:lnTo>
                    <a:pt x="1332" y="510"/>
                  </a:lnTo>
                  <a:lnTo>
                    <a:pt x="1320" y="510"/>
                  </a:lnTo>
                  <a:lnTo>
                    <a:pt x="1314" y="516"/>
                  </a:lnTo>
                  <a:lnTo>
                    <a:pt x="1302" y="522"/>
                  </a:lnTo>
                  <a:lnTo>
                    <a:pt x="1296" y="522"/>
                  </a:lnTo>
                  <a:lnTo>
                    <a:pt x="1284" y="516"/>
                  </a:lnTo>
                  <a:lnTo>
                    <a:pt x="1278" y="516"/>
                  </a:lnTo>
                  <a:lnTo>
                    <a:pt x="1272" y="522"/>
                  </a:lnTo>
                  <a:lnTo>
                    <a:pt x="1266" y="522"/>
                  </a:lnTo>
                  <a:lnTo>
                    <a:pt x="1266" y="528"/>
                  </a:lnTo>
                  <a:lnTo>
                    <a:pt x="1254" y="540"/>
                  </a:lnTo>
                  <a:lnTo>
                    <a:pt x="1248" y="546"/>
                  </a:lnTo>
                  <a:lnTo>
                    <a:pt x="1242" y="558"/>
                  </a:lnTo>
                  <a:lnTo>
                    <a:pt x="1230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30" y="594"/>
                  </a:lnTo>
                  <a:lnTo>
                    <a:pt x="1230" y="600"/>
                  </a:lnTo>
                  <a:lnTo>
                    <a:pt x="1236" y="606"/>
                  </a:lnTo>
                  <a:lnTo>
                    <a:pt x="1242" y="606"/>
                  </a:lnTo>
                  <a:lnTo>
                    <a:pt x="1242" y="612"/>
                  </a:lnTo>
                  <a:lnTo>
                    <a:pt x="1242" y="618"/>
                  </a:lnTo>
                  <a:lnTo>
                    <a:pt x="1242" y="624"/>
                  </a:lnTo>
                  <a:lnTo>
                    <a:pt x="1236" y="630"/>
                  </a:lnTo>
                  <a:lnTo>
                    <a:pt x="1230" y="642"/>
                  </a:lnTo>
                  <a:lnTo>
                    <a:pt x="1230" y="648"/>
                  </a:lnTo>
                  <a:lnTo>
                    <a:pt x="1218" y="654"/>
                  </a:lnTo>
                  <a:lnTo>
                    <a:pt x="1212" y="654"/>
                  </a:lnTo>
                  <a:lnTo>
                    <a:pt x="1212" y="660"/>
                  </a:lnTo>
                  <a:lnTo>
                    <a:pt x="1212" y="666"/>
                  </a:lnTo>
                  <a:lnTo>
                    <a:pt x="1212" y="672"/>
                  </a:lnTo>
                  <a:lnTo>
                    <a:pt x="1212" y="678"/>
                  </a:lnTo>
                  <a:lnTo>
                    <a:pt x="1218" y="684"/>
                  </a:lnTo>
                  <a:lnTo>
                    <a:pt x="1218" y="690"/>
                  </a:lnTo>
                  <a:lnTo>
                    <a:pt x="1224" y="696"/>
                  </a:lnTo>
                  <a:lnTo>
                    <a:pt x="1230" y="702"/>
                  </a:lnTo>
                  <a:lnTo>
                    <a:pt x="1236" y="696"/>
                  </a:lnTo>
                  <a:lnTo>
                    <a:pt x="1242" y="702"/>
                  </a:lnTo>
                  <a:lnTo>
                    <a:pt x="1248" y="708"/>
                  </a:lnTo>
                  <a:lnTo>
                    <a:pt x="1254" y="714"/>
                  </a:lnTo>
                  <a:lnTo>
                    <a:pt x="1254" y="720"/>
                  </a:lnTo>
                  <a:lnTo>
                    <a:pt x="1260" y="720"/>
                  </a:lnTo>
                  <a:lnTo>
                    <a:pt x="1254" y="732"/>
                  </a:lnTo>
                  <a:lnTo>
                    <a:pt x="1248" y="738"/>
                  </a:lnTo>
                  <a:lnTo>
                    <a:pt x="1242" y="744"/>
                  </a:lnTo>
                  <a:lnTo>
                    <a:pt x="1236" y="750"/>
                  </a:lnTo>
                  <a:lnTo>
                    <a:pt x="1236" y="756"/>
                  </a:lnTo>
                  <a:lnTo>
                    <a:pt x="1236" y="762"/>
                  </a:lnTo>
                  <a:lnTo>
                    <a:pt x="1236" y="768"/>
                  </a:lnTo>
                  <a:lnTo>
                    <a:pt x="1236" y="780"/>
                  </a:lnTo>
                  <a:lnTo>
                    <a:pt x="1230" y="780"/>
                  </a:lnTo>
                  <a:lnTo>
                    <a:pt x="1230" y="786"/>
                  </a:lnTo>
                  <a:lnTo>
                    <a:pt x="1230" y="792"/>
                  </a:lnTo>
                  <a:lnTo>
                    <a:pt x="1230" y="804"/>
                  </a:lnTo>
                  <a:lnTo>
                    <a:pt x="1224" y="810"/>
                  </a:lnTo>
                  <a:lnTo>
                    <a:pt x="1218" y="816"/>
                  </a:lnTo>
                  <a:lnTo>
                    <a:pt x="1224" y="822"/>
                  </a:lnTo>
                  <a:lnTo>
                    <a:pt x="1224" y="828"/>
                  </a:lnTo>
                  <a:lnTo>
                    <a:pt x="1218" y="834"/>
                  </a:lnTo>
                  <a:lnTo>
                    <a:pt x="1224" y="834"/>
                  </a:lnTo>
                  <a:lnTo>
                    <a:pt x="1224" y="840"/>
                  </a:lnTo>
                  <a:lnTo>
                    <a:pt x="1224" y="846"/>
                  </a:lnTo>
                  <a:lnTo>
                    <a:pt x="1224" y="852"/>
                  </a:lnTo>
                  <a:lnTo>
                    <a:pt x="1218" y="858"/>
                  </a:lnTo>
                  <a:lnTo>
                    <a:pt x="1218" y="870"/>
                  </a:lnTo>
                  <a:lnTo>
                    <a:pt x="1212" y="870"/>
                  </a:lnTo>
                  <a:lnTo>
                    <a:pt x="1212" y="876"/>
                  </a:lnTo>
                  <a:lnTo>
                    <a:pt x="1206" y="888"/>
                  </a:lnTo>
                  <a:lnTo>
                    <a:pt x="1200" y="882"/>
                  </a:lnTo>
                  <a:lnTo>
                    <a:pt x="1194" y="888"/>
                  </a:lnTo>
                  <a:lnTo>
                    <a:pt x="1188" y="894"/>
                  </a:lnTo>
                  <a:lnTo>
                    <a:pt x="1182" y="894"/>
                  </a:lnTo>
                  <a:lnTo>
                    <a:pt x="1182" y="900"/>
                  </a:lnTo>
                  <a:lnTo>
                    <a:pt x="1176" y="900"/>
                  </a:lnTo>
                  <a:lnTo>
                    <a:pt x="1170" y="894"/>
                  </a:lnTo>
                  <a:lnTo>
                    <a:pt x="1164" y="900"/>
                  </a:lnTo>
                  <a:lnTo>
                    <a:pt x="1158" y="900"/>
                  </a:lnTo>
                  <a:lnTo>
                    <a:pt x="1152" y="900"/>
                  </a:lnTo>
                  <a:lnTo>
                    <a:pt x="1140" y="900"/>
                  </a:lnTo>
                  <a:lnTo>
                    <a:pt x="1134" y="900"/>
                  </a:lnTo>
                  <a:lnTo>
                    <a:pt x="1128" y="906"/>
                  </a:lnTo>
                  <a:lnTo>
                    <a:pt x="1110" y="906"/>
                  </a:lnTo>
                  <a:lnTo>
                    <a:pt x="1104" y="906"/>
                  </a:lnTo>
                  <a:lnTo>
                    <a:pt x="1098" y="906"/>
                  </a:lnTo>
                  <a:lnTo>
                    <a:pt x="1092" y="912"/>
                  </a:lnTo>
                  <a:lnTo>
                    <a:pt x="1080" y="918"/>
                  </a:lnTo>
                  <a:lnTo>
                    <a:pt x="1068" y="930"/>
                  </a:lnTo>
                  <a:lnTo>
                    <a:pt x="1062" y="930"/>
                  </a:lnTo>
                  <a:lnTo>
                    <a:pt x="1056" y="930"/>
                  </a:lnTo>
                  <a:lnTo>
                    <a:pt x="1050" y="930"/>
                  </a:lnTo>
                  <a:lnTo>
                    <a:pt x="1050" y="936"/>
                  </a:lnTo>
                  <a:lnTo>
                    <a:pt x="1038" y="942"/>
                  </a:lnTo>
                  <a:lnTo>
                    <a:pt x="1032" y="948"/>
                  </a:lnTo>
                  <a:lnTo>
                    <a:pt x="1026" y="954"/>
                  </a:lnTo>
                  <a:lnTo>
                    <a:pt x="1020" y="960"/>
                  </a:lnTo>
                  <a:lnTo>
                    <a:pt x="1014" y="966"/>
                  </a:lnTo>
                  <a:lnTo>
                    <a:pt x="1002" y="966"/>
                  </a:lnTo>
                  <a:lnTo>
                    <a:pt x="990" y="978"/>
                  </a:lnTo>
                  <a:lnTo>
                    <a:pt x="984" y="978"/>
                  </a:lnTo>
                  <a:lnTo>
                    <a:pt x="978" y="984"/>
                  </a:lnTo>
                  <a:lnTo>
                    <a:pt x="972" y="984"/>
                  </a:lnTo>
                  <a:lnTo>
                    <a:pt x="978" y="990"/>
                  </a:lnTo>
                  <a:lnTo>
                    <a:pt x="972" y="996"/>
                  </a:lnTo>
                  <a:lnTo>
                    <a:pt x="978" y="1002"/>
                  </a:lnTo>
                  <a:lnTo>
                    <a:pt x="1002" y="1002"/>
                  </a:lnTo>
                  <a:lnTo>
                    <a:pt x="1002" y="1008"/>
                  </a:lnTo>
                  <a:lnTo>
                    <a:pt x="1008" y="1020"/>
                  </a:lnTo>
                  <a:lnTo>
                    <a:pt x="1002" y="1026"/>
                  </a:lnTo>
                  <a:lnTo>
                    <a:pt x="1002" y="1032"/>
                  </a:lnTo>
                  <a:lnTo>
                    <a:pt x="1002" y="1050"/>
                  </a:lnTo>
                  <a:lnTo>
                    <a:pt x="1002" y="1056"/>
                  </a:lnTo>
                  <a:lnTo>
                    <a:pt x="1008" y="1062"/>
                  </a:lnTo>
                  <a:lnTo>
                    <a:pt x="1008" y="1074"/>
                  </a:lnTo>
                  <a:lnTo>
                    <a:pt x="1008" y="1086"/>
                  </a:lnTo>
                  <a:lnTo>
                    <a:pt x="996" y="1092"/>
                  </a:lnTo>
                  <a:lnTo>
                    <a:pt x="996" y="1098"/>
                  </a:lnTo>
                  <a:lnTo>
                    <a:pt x="996" y="1104"/>
                  </a:lnTo>
                  <a:lnTo>
                    <a:pt x="990" y="1110"/>
                  </a:lnTo>
                  <a:lnTo>
                    <a:pt x="990" y="1116"/>
                  </a:lnTo>
                  <a:lnTo>
                    <a:pt x="996" y="1122"/>
                  </a:lnTo>
                  <a:lnTo>
                    <a:pt x="990" y="1128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96" y="1140"/>
                  </a:lnTo>
                  <a:lnTo>
                    <a:pt x="996" y="1146"/>
                  </a:lnTo>
                  <a:lnTo>
                    <a:pt x="996" y="1152"/>
                  </a:lnTo>
                  <a:lnTo>
                    <a:pt x="996" y="1158"/>
                  </a:lnTo>
                  <a:lnTo>
                    <a:pt x="996" y="1164"/>
                  </a:lnTo>
                  <a:lnTo>
                    <a:pt x="996" y="1170"/>
                  </a:lnTo>
                  <a:lnTo>
                    <a:pt x="996" y="1176"/>
                  </a:lnTo>
                  <a:lnTo>
                    <a:pt x="990" y="1182"/>
                  </a:lnTo>
                  <a:lnTo>
                    <a:pt x="990" y="1188"/>
                  </a:lnTo>
                  <a:lnTo>
                    <a:pt x="984" y="1200"/>
                  </a:lnTo>
                  <a:lnTo>
                    <a:pt x="990" y="1206"/>
                  </a:lnTo>
                  <a:lnTo>
                    <a:pt x="990" y="1212"/>
                  </a:lnTo>
                  <a:lnTo>
                    <a:pt x="990" y="1218"/>
                  </a:lnTo>
                  <a:lnTo>
                    <a:pt x="978" y="1230"/>
                  </a:lnTo>
                  <a:lnTo>
                    <a:pt x="972" y="1236"/>
                  </a:lnTo>
                  <a:lnTo>
                    <a:pt x="972" y="1242"/>
                  </a:lnTo>
                  <a:lnTo>
                    <a:pt x="966" y="1248"/>
                  </a:lnTo>
                  <a:lnTo>
                    <a:pt x="960" y="1260"/>
                  </a:lnTo>
                  <a:lnTo>
                    <a:pt x="954" y="1266"/>
                  </a:lnTo>
                  <a:lnTo>
                    <a:pt x="942" y="1278"/>
                  </a:lnTo>
                  <a:lnTo>
                    <a:pt x="936" y="1278"/>
                  </a:lnTo>
                  <a:lnTo>
                    <a:pt x="936" y="1284"/>
                  </a:lnTo>
                  <a:lnTo>
                    <a:pt x="936" y="1296"/>
                  </a:lnTo>
                  <a:lnTo>
                    <a:pt x="936" y="1302"/>
                  </a:lnTo>
                  <a:lnTo>
                    <a:pt x="942" y="1302"/>
                  </a:lnTo>
                  <a:lnTo>
                    <a:pt x="942" y="1308"/>
                  </a:lnTo>
                  <a:lnTo>
                    <a:pt x="936" y="1314"/>
                  </a:lnTo>
                  <a:lnTo>
                    <a:pt x="930" y="1320"/>
                  </a:lnTo>
                  <a:lnTo>
                    <a:pt x="930" y="1326"/>
                  </a:lnTo>
                  <a:lnTo>
                    <a:pt x="930" y="1332"/>
                  </a:lnTo>
                  <a:lnTo>
                    <a:pt x="936" y="1338"/>
                  </a:lnTo>
                  <a:lnTo>
                    <a:pt x="936" y="1344"/>
                  </a:lnTo>
                  <a:lnTo>
                    <a:pt x="942" y="1356"/>
                  </a:lnTo>
                  <a:lnTo>
                    <a:pt x="948" y="1368"/>
                  </a:lnTo>
                  <a:lnTo>
                    <a:pt x="942" y="1380"/>
                  </a:lnTo>
                  <a:lnTo>
                    <a:pt x="936" y="1386"/>
                  </a:lnTo>
                  <a:lnTo>
                    <a:pt x="930" y="1392"/>
                  </a:lnTo>
                  <a:lnTo>
                    <a:pt x="924" y="1392"/>
                  </a:lnTo>
                  <a:lnTo>
                    <a:pt x="918" y="1386"/>
                  </a:lnTo>
                  <a:lnTo>
                    <a:pt x="912" y="1386"/>
                  </a:lnTo>
                  <a:lnTo>
                    <a:pt x="906" y="1386"/>
                  </a:lnTo>
                  <a:lnTo>
                    <a:pt x="900" y="1386"/>
                  </a:lnTo>
                  <a:lnTo>
                    <a:pt x="900" y="1392"/>
                  </a:lnTo>
                  <a:lnTo>
                    <a:pt x="894" y="1392"/>
                  </a:lnTo>
                  <a:lnTo>
                    <a:pt x="888" y="1392"/>
                  </a:lnTo>
                  <a:lnTo>
                    <a:pt x="888" y="1398"/>
                  </a:lnTo>
                  <a:lnTo>
                    <a:pt x="882" y="1404"/>
                  </a:lnTo>
                  <a:lnTo>
                    <a:pt x="882" y="1416"/>
                  </a:lnTo>
                  <a:lnTo>
                    <a:pt x="882" y="1428"/>
                  </a:lnTo>
                  <a:lnTo>
                    <a:pt x="882" y="1434"/>
                  </a:lnTo>
                  <a:lnTo>
                    <a:pt x="870" y="1440"/>
                  </a:lnTo>
                  <a:lnTo>
                    <a:pt x="864" y="1452"/>
                  </a:lnTo>
                  <a:lnTo>
                    <a:pt x="870" y="1452"/>
                  </a:lnTo>
                  <a:lnTo>
                    <a:pt x="864" y="1458"/>
                  </a:lnTo>
                  <a:lnTo>
                    <a:pt x="858" y="1464"/>
                  </a:lnTo>
                  <a:lnTo>
                    <a:pt x="852" y="1464"/>
                  </a:lnTo>
                  <a:lnTo>
                    <a:pt x="846" y="1458"/>
                  </a:lnTo>
                  <a:lnTo>
                    <a:pt x="840" y="1458"/>
                  </a:lnTo>
                  <a:lnTo>
                    <a:pt x="828" y="1470"/>
                  </a:lnTo>
                  <a:lnTo>
                    <a:pt x="810" y="1482"/>
                  </a:lnTo>
                  <a:lnTo>
                    <a:pt x="804" y="1488"/>
                  </a:lnTo>
                  <a:lnTo>
                    <a:pt x="798" y="1488"/>
                  </a:lnTo>
                  <a:lnTo>
                    <a:pt x="792" y="1488"/>
                  </a:lnTo>
                  <a:lnTo>
                    <a:pt x="786" y="1488"/>
                  </a:lnTo>
                  <a:lnTo>
                    <a:pt x="768" y="1482"/>
                  </a:lnTo>
                  <a:lnTo>
                    <a:pt x="762" y="1476"/>
                  </a:lnTo>
                  <a:lnTo>
                    <a:pt x="744" y="1476"/>
                  </a:lnTo>
                  <a:lnTo>
                    <a:pt x="738" y="1476"/>
                  </a:lnTo>
                  <a:lnTo>
                    <a:pt x="732" y="1476"/>
                  </a:lnTo>
                  <a:lnTo>
                    <a:pt x="726" y="1482"/>
                  </a:lnTo>
                  <a:lnTo>
                    <a:pt x="726" y="1488"/>
                  </a:lnTo>
                  <a:lnTo>
                    <a:pt x="726" y="1494"/>
                  </a:lnTo>
                  <a:lnTo>
                    <a:pt x="726" y="1500"/>
                  </a:lnTo>
                  <a:lnTo>
                    <a:pt x="720" y="1500"/>
                  </a:lnTo>
                  <a:lnTo>
                    <a:pt x="720" y="1506"/>
                  </a:lnTo>
                  <a:lnTo>
                    <a:pt x="714" y="1512"/>
                  </a:lnTo>
                  <a:lnTo>
                    <a:pt x="714" y="1518"/>
                  </a:lnTo>
                  <a:lnTo>
                    <a:pt x="708" y="1518"/>
                  </a:lnTo>
                  <a:lnTo>
                    <a:pt x="708" y="1530"/>
                  </a:lnTo>
                  <a:lnTo>
                    <a:pt x="708" y="1536"/>
                  </a:lnTo>
                  <a:lnTo>
                    <a:pt x="708" y="1542"/>
                  </a:lnTo>
                  <a:lnTo>
                    <a:pt x="696" y="1554"/>
                  </a:lnTo>
                  <a:lnTo>
                    <a:pt x="690" y="1560"/>
                  </a:lnTo>
                  <a:lnTo>
                    <a:pt x="684" y="1566"/>
                  </a:lnTo>
                  <a:lnTo>
                    <a:pt x="672" y="1566"/>
                  </a:lnTo>
                  <a:lnTo>
                    <a:pt x="666" y="1566"/>
                  </a:lnTo>
                  <a:lnTo>
                    <a:pt x="660" y="1566"/>
                  </a:lnTo>
                  <a:lnTo>
                    <a:pt x="654" y="1572"/>
                  </a:lnTo>
                  <a:lnTo>
                    <a:pt x="654" y="1578"/>
                  </a:lnTo>
                  <a:lnTo>
                    <a:pt x="642" y="1578"/>
                  </a:lnTo>
                  <a:lnTo>
                    <a:pt x="630" y="1572"/>
                  </a:lnTo>
                  <a:lnTo>
                    <a:pt x="624" y="1572"/>
                  </a:lnTo>
                  <a:lnTo>
                    <a:pt x="618" y="1578"/>
                  </a:lnTo>
                  <a:lnTo>
                    <a:pt x="612" y="1584"/>
                  </a:lnTo>
                  <a:lnTo>
                    <a:pt x="606" y="1584"/>
                  </a:lnTo>
                  <a:lnTo>
                    <a:pt x="600" y="1590"/>
                  </a:lnTo>
                  <a:lnTo>
                    <a:pt x="594" y="1590"/>
                  </a:lnTo>
                  <a:lnTo>
                    <a:pt x="588" y="1590"/>
                  </a:lnTo>
                  <a:lnTo>
                    <a:pt x="582" y="1590"/>
                  </a:lnTo>
                  <a:lnTo>
                    <a:pt x="582" y="1596"/>
                  </a:lnTo>
                  <a:lnTo>
                    <a:pt x="576" y="1614"/>
                  </a:lnTo>
                  <a:lnTo>
                    <a:pt x="570" y="1632"/>
                  </a:lnTo>
                  <a:lnTo>
                    <a:pt x="570" y="1638"/>
                  </a:lnTo>
                  <a:lnTo>
                    <a:pt x="576" y="1644"/>
                  </a:lnTo>
                  <a:lnTo>
                    <a:pt x="576" y="1650"/>
                  </a:lnTo>
                  <a:lnTo>
                    <a:pt x="582" y="1662"/>
                  </a:lnTo>
                  <a:lnTo>
                    <a:pt x="582" y="1668"/>
                  </a:lnTo>
                  <a:lnTo>
                    <a:pt x="588" y="1692"/>
                  </a:lnTo>
                  <a:lnTo>
                    <a:pt x="594" y="1728"/>
                  </a:lnTo>
                  <a:lnTo>
                    <a:pt x="594" y="1752"/>
                  </a:lnTo>
                  <a:lnTo>
                    <a:pt x="594" y="1764"/>
                  </a:lnTo>
                  <a:lnTo>
                    <a:pt x="582" y="1770"/>
                  </a:lnTo>
                  <a:lnTo>
                    <a:pt x="582" y="1782"/>
                  </a:lnTo>
                  <a:lnTo>
                    <a:pt x="576" y="1788"/>
                  </a:lnTo>
                  <a:lnTo>
                    <a:pt x="570" y="1794"/>
                  </a:lnTo>
                  <a:lnTo>
                    <a:pt x="564" y="1806"/>
                  </a:lnTo>
                  <a:lnTo>
                    <a:pt x="564" y="1812"/>
                  </a:lnTo>
                  <a:lnTo>
                    <a:pt x="558" y="1812"/>
                  </a:lnTo>
                  <a:lnTo>
                    <a:pt x="564" y="1824"/>
                  </a:lnTo>
                  <a:lnTo>
                    <a:pt x="564" y="1830"/>
                  </a:lnTo>
                  <a:lnTo>
                    <a:pt x="564" y="1842"/>
                  </a:lnTo>
                  <a:lnTo>
                    <a:pt x="564" y="1848"/>
                  </a:lnTo>
                  <a:lnTo>
                    <a:pt x="564" y="1854"/>
                  </a:lnTo>
                  <a:lnTo>
                    <a:pt x="570" y="1860"/>
                  </a:lnTo>
                  <a:lnTo>
                    <a:pt x="570" y="1866"/>
                  </a:lnTo>
                  <a:lnTo>
                    <a:pt x="570" y="1872"/>
                  </a:lnTo>
                  <a:lnTo>
                    <a:pt x="570" y="1878"/>
                  </a:lnTo>
                  <a:lnTo>
                    <a:pt x="564" y="1890"/>
                  </a:lnTo>
                  <a:lnTo>
                    <a:pt x="558" y="1896"/>
                  </a:lnTo>
                  <a:lnTo>
                    <a:pt x="552" y="1908"/>
                  </a:lnTo>
                  <a:lnTo>
                    <a:pt x="546" y="1914"/>
                  </a:lnTo>
                  <a:lnTo>
                    <a:pt x="540" y="1920"/>
                  </a:lnTo>
                  <a:lnTo>
                    <a:pt x="534" y="1932"/>
                  </a:lnTo>
                  <a:lnTo>
                    <a:pt x="528" y="1944"/>
                  </a:lnTo>
                  <a:lnTo>
                    <a:pt x="516" y="1950"/>
                  </a:lnTo>
                  <a:lnTo>
                    <a:pt x="510" y="1956"/>
                  </a:lnTo>
                  <a:lnTo>
                    <a:pt x="498" y="1962"/>
                  </a:lnTo>
                  <a:lnTo>
                    <a:pt x="492" y="1974"/>
                  </a:lnTo>
                  <a:lnTo>
                    <a:pt x="486" y="1980"/>
                  </a:lnTo>
                  <a:lnTo>
                    <a:pt x="480" y="1998"/>
                  </a:lnTo>
                  <a:lnTo>
                    <a:pt x="474" y="2004"/>
                  </a:lnTo>
                  <a:lnTo>
                    <a:pt x="474" y="2010"/>
                  </a:lnTo>
                  <a:lnTo>
                    <a:pt x="474" y="2016"/>
                  </a:lnTo>
                  <a:lnTo>
                    <a:pt x="468" y="2016"/>
                  </a:lnTo>
                  <a:lnTo>
                    <a:pt x="468" y="2028"/>
                  </a:lnTo>
                  <a:lnTo>
                    <a:pt x="462" y="2034"/>
                  </a:lnTo>
                  <a:lnTo>
                    <a:pt x="456" y="2040"/>
                  </a:lnTo>
                  <a:lnTo>
                    <a:pt x="456" y="2052"/>
                  </a:lnTo>
                  <a:lnTo>
                    <a:pt x="450" y="2058"/>
                  </a:lnTo>
                  <a:lnTo>
                    <a:pt x="450" y="2070"/>
                  </a:lnTo>
                  <a:lnTo>
                    <a:pt x="450" y="2076"/>
                  </a:lnTo>
                  <a:lnTo>
                    <a:pt x="450" y="2082"/>
                  </a:lnTo>
                  <a:lnTo>
                    <a:pt x="444" y="2088"/>
                  </a:lnTo>
                  <a:lnTo>
                    <a:pt x="438" y="2094"/>
                  </a:lnTo>
                  <a:lnTo>
                    <a:pt x="444" y="2100"/>
                  </a:lnTo>
                  <a:lnTo>
                    <a:pt x="444" y="2124"/>
                  </a:lnTo>
                  <a:lnTo>
                    <a:pt x="444" y="2142"/>
                  </a:lnTo>
                  <a:lnTo>
                    <a:pt x="444" y="2160"/>
                  </a:lnTo>
                  <a:lnTo>
                    <a:pt x="450" y="2166"/>
                  </a:lnTo>
                  <a:lnTo>
                    <a:pt x="456" y="2178"/>
                  </a:lnTo>
                  <a:lnTo>
                    <a:pt x="438" y="2184"/>
                  </a:lnTo>
                  <a:lnTo>
                    <a:pt x="432" y="2184"/>
                  </a:lnTo>
                  <a:lnTo>
                    <a:pt x="426" y="2190"/>
                  </a:lnTo>
                  <a:lnTo>
                    <a:pt x="408" y="2190"/>
                  </a:lnTo>
                  <a:lnTo>
                    <a:pt x="402" y="2196"/>
                  </a:lnTo>
                  <a:lnTo>
                    <a:pt x="396" y="2196"/>
                  </a:lnTo>
                  <a:lnTo>
                    <a:pt x="384" y="2208"/>
                  </a:lnTo>
                  <a:lnTo>
                    <a:pt x="378" y="2220"/>
                  </a:lnTo>
                  <a:lnTo>
                    <a:pt x="366" y="2232"/>
                  </a:lnTo>
                  <a:lnTo>
                    <a:pt x="366" y="2238"/>
                  </a:lnTo>
                  <a:lnTo>
                    <a:pt x="360" y="2238"/>
                  </a:lnTo>
                  <a:lnTo>
                    <a:pt x="360" y="2244"/>
                  </a:lnTo>
                  <a:lnTo>
                    <a:pt x="354" y="2244"/>
                  </a:lnTo>
                  <a:lnTo>
                    <a:pt x="330" y="227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5" name="Freeform 10">
              <a:extLst>
                <a:ext uri="{FF2B5EF4-FFF2-40B4-BE49-F238E27FC236}">
                  <a16:creationId xmlns:a16="http://schemas.microsoft.com/office/drawing/2014/main" id="{3AD2FC58-3490-4B7F-A8BE-621F3CDD69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1996" y="1931890"/>
              <a:ext cx="805029" cy="1037736"/>
            </a:xfrm>
            <a:custGeom>
              <a:avLst/>
              <a:gdLst>
                <a:gd name="T0" fmla="*/ 124 w 1512"/>
                <a:gd name="T1" fmla="*/ 76 h 1956"/>
                <a:gd name="T2" fmla="*/ 120 w 1512"/>
                <a:gd name="T3" fmla="*/ 80 h 1956"/>
                <a:gd name="T4" fmla="*/ 106 w 1512"/>
                <a:gd name="T5" fmla="*/ 84 h 1956"/>
                <a:gd name="T6" fmla="*/ 105 w 1512"/>
                <a:gd name="T7" fmla="*/ 91 h 1956"/>
                <a:gd name="T8" fmla="*/ 101 w 1512"/>
                <a:gd name="T9" fmla="*/ 99 h 1956"/>
                <a:gd name="T10" fmla="*/ 105 w 1512"/>
                <a:gd name="T11" fmla="*/ 107 h 1956"/>
                <a:gd name="T12" fmla="*/ 119 w 1512"/>
                <a:gd name="T13" fmla="*/ 116 h 1956"/>
                <a:gd name="T14" fmla="*/ 121 w 1512"/>
                <a:gd name="T15" fmla="*/ 128 h 1956"/>
                <a:gd name="T16" fmla="*/ 112 w 1512"/>
                <a:gd name="T17" fmla="*/ 136 h 1956"/>
                <a:gd name="T18" fmla="*/ 119 w 1512"/>
                <a:gd name="T19" fmla="*/ 143 h 1956"/>
                <a:gd name="T20" fmla="*/ 126 w 1512"/>
                <a:gd name="T21" fmla="*/ 148 h 1956"/>
                <a:gd name="T22" fmla="*/ 126 w 1512"/>
                <a:gd name="T23" fmla="*/ 160 h 1956"/>
                <a:gd name="T24" fmla="*/ 104 w 1512"/>
                <a:gd name="T25" fmla="*/ 170 h 1956"/>
                <a:gd name="T26" fmla="*/ 99 w 1512"/>
                <a:gd name="T27" fmla="*/ 164 h 1956"/>
                <a:gd name="T28" fmla="*/ 73 w 1512"/>
                <a:gd name="T29" fmla="*/ 152 h 1956"/>
                <a:gd name="T30" fmla="*/ 56 w 1512"/>
                <a:gd name="T31" fmla="*/ 165 h 1956"/>
                <a:gd name="T32" fmla="*/ 33 w 1512"/>
                <a:gd name="T33" fmla="*/ 162 h 1956"/>
                <a:gd name="T34" fmla="*/ 25 w 1512"/>
                <a:gd name="T35" fmla="*/ 155 h 1956"/>
                <a:gd name="T36" fmla="*/ 31 w 1512"/>
                <a:gd name="T37" fmla="*/ 142 h 1956"/>
                <a:gd name="T38" fmla="*/ 24 w 1512"/>
                <a:gd name="T39" fmla="*/ 137 h 1956"/>
                <a:gd name="T40" fmla="*/ 14 w 1512"/>
                <a:gd name="T41" fmla="*/ 136 h 1956"/>
                <a:gd name="T42" fmla="*/ 11 w 1512"/>
                <a:gd name="T43" fmla="*/ 125 h 1956"/>
                <a:gd name="T44" fmla="*/ 3 w 1512"/>
                <a:gd name="T45" fmla="*/ 116 h 1956"/>
                <a:gd name="T46" fmla="*/ 2 w 1512"/>
                <a:gd name="T47" fmla="*/ 106 h 1956"/>
                <a:gd name="T48" fmla="*/ 5 w 1512"/>
                <a:gd name="T49" fmla="*/ 101 h 1956"/>
                <a:gd name="T50" fmla="*/ 2 w 1512"/>
                <a:gd name="T51" fmla="*/ 95 h 1956"/>
                <a:gd name="T52" fmla="*/ 1 w 1512"/>
                <a:gd name="T53" fmla="*/ 88 h 1956"/>
                <a:gd name="T54" fmla="*/ 4 w 1512"/>
                <a:gd name="T55" fmla="*/ 80 h 1956"/>
                <a:gd name="T56" fmla="*/ 12 w 1512"/>
                <a:gd name="T57" fmla="*/ 73 h 1956"/>
                <a:gd name="T58" fmla="*/ 16 w 1512"/>
                <a:gd name="T59" fmla="*/ 68 h 1956"/>
                <a:gd name="T60" fmla="*/ 22 w 1512"/>
                <a:gd name="T61" fmla="*/ 66 h 1956"/>
                <a:gd name="T62" fmla="*/ 32 w 1512"/>
                <a:gd name="T63" fmla="*/ 65 h 1956"/>
                <a:gd name="T64" fmla="*/ 45 w 1512"/>
                <a:gd name="T65" fmla="*/ 66 h 1956"/>
                <a:gd name="T66" fmla="*/ 50 w 1512"/>
                <a:gd name="T67" fmla="*/ 70 h 1956"/>
                <a:gd name="T68" fmla="*/ 55 w 1512"/>
                <a:gd name="T69" fmla="*/ 70 h 1956"/>
                <a:gd name="T70" fmla="*/ 63 w 1512"/>
                <a:gd name="T71" fmla="*/ 71 h 1956"/>
                <a:gd name="T72" fmla="*/ 61 w 1512"/>
                <a:gd name="T73" fmla="*/ 75 h 1956"/>
                <a:gd name="T74" fmla="*/ 66 w 1512"/>
                <a:gd name="T75" fmla="*/ 84 h 1956"/>
                <a:gd name="T76" fmla="*/ 81 w 1512"/>
                <a:gd name="T77" fmla="*/ 85 h 1956"/>
                <a:gd name="T78" fmla="*/ 83 w 1512"/>
                <a:gd name="T79" fmla="*/ 79 h 1956"/>
                <a:gd name="T80" fmla="*/ 89 w 1512"/>
                <a:gd name="T81" fmla="*/ 77 h 1956"/>
                <a:gd name="T82" fmla="*/ 89 w 1512"/>
                <a:gd name="T83" fmla="*/ 73 h 1956"/>
                <a:gd name="T84" fmla="*/ 83 w 1512"/>
                <a:gd name="T85" fmla="*/ 72 h 1956"/>
                <a:gd name="T86" fmla="*/ 77 w 1512"/>
                <a:gd name="T87" fmla="*/ 70 h 1956"/>
                <a:gd name="T88" fmla="*/ 71 w 1512"/>
                <a:gd name="T89" fmla="*/ 70 h 1956"/>
                <a:gd name="T90" fmla="*/ 59 w 1512"/>
                <a:gd name="T91" fmla="*/ 58 h 1956"/>
                <a:gd name="T92" fmla="*/ 54 w 1512"/>
                <a:gd name="T93" fmla="*/ 45 h 1956"/>
                <a:gd name="T94" fmla="*/ 49 w 1512"/>
                <a:gd name="T95" fmla="*/ 42 h 1956"/>
                <a:gd name="T96" fmla="*/ 51 w 1512"/>
                <a:gd name="T97" fmla="*/ 39 h 1956"/>
                <a:gd name="T98" fmla="*/ 55 w 1512"/>
                <a:gd name="T99" fmla="*/ 36 h 1956"/>
                <a:gd name="T100" fmla="*/ 63 w 1512"/>
                <a:gd name="T101" fmla="*/ 34 h 1956"/>
                <a:gd name="T102" fmla="*/ 68 w 1512"/>
                <a:gd name="T103" fmla="*/ 32 h 1956"/>
                <a:gd name="T104" fmla="*/ 73 w 1512"/>
                <a:gd name="T105" fmla="*/ 29 h 1956"/>
                <a:gd name="T106" fmla="*/ 78 w 1512"/>
                <a:gd name="T107" fmla="*/ 27 h 1956"/>
                <a:gd name="T108" fmla="*/ 81 w 1512"/>
                <a:gd name="T109" fmla="*/ 17 h 1956"/>
                <a:gd name="T110" fmla="*/ 84 w 1512"/>
                <a:gd name="T111" fmla="*/ 6 h 1956"/>
                <a:gd name="T112" fmla="*/ 95 w 1512"/>
                <a:gd name="T113" fmla="*/ 6 h 1956"/>
                <a:gd name="T114" fmla="*/ 99 w 1512"/>
                <a:gd name="T115" fmla="*/ 3 h 1956"/>
                <a:gd name="T116" fmla="*/ 103 w 1512"/>
                <a:gd name="T117" fmla="*/ 0 h 1956"/>
                <a:gd name="T118" fmla="*/ 110 w 1512"/>
                <a:gd name="T119" fmla="*/ 4 h 1956"/>
                <a:gd name="T120" fmla="*/ 114 w 1512"/>
                <a:gd name="T121" fmla="*/ 33 h 1956"/>
                <a:gd name="T122" fmla="*/ 117 w 1512"/>
                <a:gd name="T123" fmla="*/ 41 h 1956"/>
                <a:gd name="T124" fmla="*/ 119 w 1512"/>
                <a:gd name="T125" fmla="*/ 62 h 195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12"/>
                <a:gd name="T190" fmla="*/ 0 h 1956"/>
                <a:gd name="T191" fmla="*/ 1512 w 1512"/>
                <a:gd name="T192" fmla="*/ 1956 h 195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12" h="1956">
                  <a:moveTo>
                    <a:pt x="1512" y="780"/>
                  </a:moveTo>
                  <a:lnTo>
                    <a:pt x="1482" y="786"/>
                  </a:lnTo>
                  <a:lnTo>
                    <a:pt x="1476" y="792"/>
                  </a:lnTo>
                  <a:lnTo>
                    <a:pt x="1476" y="798"/>
                  </a:lnTo>
                  <a:lnTo>
                    <a:pt x="1476" y="804"/>
                  </a:lnTo>
                  <a:lnTo>
                    <a:pt x="1476" y="816"/>
                  </a:lnTo>
                  <a:lnTo>
                    <a:pt x="1470" y="834"/>
                  </a:lnTo>
                  <a:lnTo>
                    <a:pt x="1464" y="840"/>
                  </a:lnTo>
                  <a:lnTo>
                    <a:pt x="1452" y="852"/>
                  </a:lnTo>
                  <a:lnTo>
                    <a:pt x="1440" y="864"/>
                  </a:lnTo>
                  <a:lnTo>
                    <a:pt x="1434" y="864"/>
                  </a:lnTo>
                  <a:lnTo>
                    <a:pt x="1434" y="870"/>
                  </a:lnTo>
                  <a:lnTo>
                    <a:pt x="1422" y="876"/>
                  </a:lnTo>
                  <a:lnTo>
                    <a:pt x="1410" y="894"/>
                  </a:lnTo>
                  <a:lnTo>
                    <a:pt x="1404" y="894"/>
                  </a:lnTo>
                  <a:lnTo>
                    <a:pt x="1404" y="900"/>
                  </a:lnTo>
                  <a:lnTo>
                    <a:pt x="1404" y="906"/>
                  </a:lnTo>
                  <a:lnTo>
                    <a:pt x="1410" y="918"/>
                  </a:lnTo>
                  <a:lnTo>
                    <a:pt x="1404" y="918"/>
                  </a:lnTo>
                  <a:lnTo>
                    <a:pt x="1392" y="924"/>
                  </a:lnTo>
                  <a:lnTo>
                    <a:pt x="1386" y="924"/>
                  </a:lnTo>
                  <a:lnTo>
                    <a:pt x="1380" y="924"/>
                  </a:lnTo>
                  <a:lnTo>
                    <a:pt x="1380" y="930"/>
                  </a:lnTo>
                  <a:lnTo>
                    <a:pt x="1374" y="930"/>
                  </a:lnTo>
                  <a:lnTo>
                    <a:pt x="1374" y="924"/>
                  </a:lnTo>
                  <a:lnTo>
                    <a:pt x="1374" y="918"/>
                  </a:lnTo>
                  <a:lnTo>
                    <a:pt x="1368" y="912"/>
                  </a:lnTo>
                  <a:lnTo>
                    <a:pt x="1368" y="906"/>
                  </a:lnTo>
                  <a:lnTo>
                    <a:pt x="1368" y="900"/>
                  </a:lnTo>
                  <a:lnTo>
                    <a:pt x="1368" y="894"/>
                  </a:lnTo>
                  <a:lnTo>
                    <a:pt x="1362" y="894"/>
                  </a:lnTo>
                  <a:lnTo>
                    <a:pt x="1326" y="894"/>
                  </a:lnTo>
                  <a:lnTo>
                    <a:pt x="1302" y="906"/>
                  </a:lnTo>
                  <a:lnTo>
                    <a:pt x="1284" y="918"/>
                  </a:lnTo>
                  <a:lnTo>
                    <a:pt x="1284" y="924"/>
                  </a:lnTo>
                  <a:lnTo>
                    <a:pt x="1278" y="930"/>
                  </a:lnTo>
                  <a:lnTo>
                    <a:pt x="1266" y="930"/>
                  </a:lnTo>
                  <a:lnTo>
                    <a:pt x="1236" y="954"/>
                  </a:lnTo>
                  <a:lnTo>
                    <a:pt x="1212" y="972"/>
                  </a:lnTo>
                  <a:lnTo>
                    <a:pt x="1218" y="996"/>
                  </a:lnTo>
                  <a:lnTo>
                    <a:pt x="1224" y="1008"/>
                  </a:lnTo>
                  <a:lnTo>
                    <a:pt x="1236" y="1014"/>
                  </a:lnTo>
                  <a:lnTo>
                    <a:pt x="1242" y="1026"/>
                  </a:lnTo>
                  <a:lnTo>
                    <a:pt x="1248" y="1038"/>
                  </a:lnTo>
                  <a:lnTo>
                    <a:pt x="1260" y="1050"/>
                  </a:lnTo>
                  <a:lnTo>
                    <a:pt x="1260" y="1056"/>
                  </a:lnTo>
                  <a:lnTo>
                    <a:pt x="1260" y="1074"/>
                  </a:lnTo>
                  <a:lnTo>
                    <a:pt x="1254" y="1074"/>
                  </a:lnTo>
                  <a:lnTo>
                    <a:pt x="1236" y="1056"/>
                  </a:lnTo>
                  <a:lnTo>
                    <a:pt x="1224" y="1050"/>
                  </a:lnTo>
                  <a:lnTo>
                    <a:pt x="1212" y="1050"/>
                  </a:lnTo>
                  <a:lnTo>
                    <a:pt x="1206" y="1050"/>
                  </a:lnTo>
                  <a:lnTo>
                    <a:pt x="1200" y="1056"/>
                  </a:lnTo>
                  <a:lnTo>
                    <a:pt x="1194" y="1062"/>
                  </a:lnTo>
                  <a:lnTo>
                    <a:pt x="1188" y="1068"/>
                  </a:lnTo>
                  <a:lnTo>
                    <a:pt x="1188" y="1074"/>
                  </a:lnTo>
                  <a:lnTo>
                    <a:pt x="1176" y="1086"/>
                  </a:lnTo>
                  <a:lnTo>
                    <a:pt x="1170" y="1086"/>
                  </a:lnTo>
                  <a:lnTo>
                    <a:pt x="1170" y="1092"/>
                  </a:lnTo>
                  <a:lnTo>
                    <a:pt x="1164" y="1098"/>
                  </a:lnTo>
                  <a:lnTo>
                    <a:pt x="1158" y="1110"/>
                  </a:lnTo>
                  <a:lnTo>
                    <a:pt x="1152" y="1116"/>
                  </a:lnTo>
                  <a:lnTo>
                    <a:pt x="1152" y="1122"/>
                  </a:lnTo>
                  <a:lnTo>
                    <a:pt x="1146" y="1128"/>
                  </a:lnTo>
                  <a:lnTo>
                    <a:pt x="1152" y="1140"/>
                  </a:lnTo>
                  <a:lnTo>
                    <a:pt x="1158" y="1140"/>
                  </a:lnTo>
                  <a:lnTo>
                    <a:pt x="1164" y="1146"/>
                  </a:lnTo>
                  <a:lnTo>
                    <a:pt x="1164" y="1152"/>
                  </a:lnTo>
                  <a:lnTo>
                    <a:pt x="1170" y="1164"/>
                  </a:lnTo>
                  <a:lnTo>
                    <a:pt x="1164" y="1176"/>
                  </a:lnTo>
                  <a:lnTo>
                    <a:pt x="1170" y="1182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82" y="1218"/>
                  </a:lnTo>
                  <a:lnTo>
                    <a:pt x="1188" y="1218"/>
                  </a:lnTo>
                  <a:lnTo>
                    <a:pt x="1194" y="1218"/>
                  </a:lnTo>
                  <a:lnTo>
                    <a:pt x="1194" y="1224"/>
                  </a:lnTo>
                  <a:lnTo>
                    <a:pt x="1200" y="1230"/>
                  </a:lnTo>
                  <a:lnTo>
                    <a:pt x="1200" y="1248"/>
                  </a:lnTo>
                  <a:lnTo>
                    <a:pt x="1212" y="1266"/>
                  </a:lnTo>
                  <a:lnTo>
                    <a:pt x="1218" y="1278"/>
                  </a:lnTo>
                  <a:lnTo>
                    <a:pt x="1224" y="1284"/>
                  </a:lnTo>
                  <a:lnTo>
                    <a:pt x="1236" y="1296"/>
                  </a:lnTo>
                  <a:lnTo>
                    <a:pt x="1242" y="1302"/>
                  </a:lnTo>
                  <a:lnTo>
                    <a:pt x="1242" y="1308"/>
                  </a:lnTo>
                  <a:lnTo>
                    <a:pt x="1272" y="1308"/>
                  </a:lnTo>
                  <a:lnTo>
                    <a:pt x="1296" y="1314"/>
                  </a:lnTo>
                  <a:lnTo>
                    <a:pt x="1320" y="1320"/>
                  </a:lnTo>
                  <a:lnTo>
                    <a:pt x="1338" y="1320"/>
                  </a:lnTo>
                  <a:lnTo>
                    <a:pt x="1356" y="1332"/>
                  </a:lnTo>
                  <a:lnTo>
                    <a:pt x="1368" y="1344"/>
                  </a:lnTo>
                  <a:lnTo>
                    <a:pt x="1374" y="1362"/>
                  </a:lnTo>
                  <a:lnTo>
                    <a:pt x="1368" y="1362"/>
                  </a:lnTo>
                  <a:lnTo>
                    <a:pt x="1368" y="1398"/>
                  </a:lnTo>
                  <a:lnTo>
                    <a:pt x="1368" y="1410"/>
                  </a:lnTo>
                  <a:lnTo>
                    <a:pt x="1368" y="1428"/>
                  </a:lnTo>
                  <a:lnTo>
                    <a:pt x="1368" y="1434"/>
                  </a:lnTo>
                  <a:lnTo>
                    <a:pt x="1368" y="1440"/>
                  </a:lnTo>
                  <a:lnTo>
                    <a:pt x="1374" y="1446"/>
                  </a:lnTo>
                  <a:lnTo>
                    <a:pt x="1374" y="1452"/>
                  </a:lnTo>
                  <a:lnTo>
                    <a:pt x="1380" y="1458"/>
                  </a:lnTo>
                  <a:lnTo>
                    <a:pt x="1386" y="1464"/>
                  </a:lnTo>
                  <a:lnTo>
                    <a:pt x="1386" y="1470"/>
                  </a:lnTo>
                  <a:lnTo>
                    <a:pt x="1380" y="1476"/>
                  </a:lnTo>
                  <a:lnTo>
                    <a:pt x="1374" y="1482"/>
                  </a:lnTo>
                  <a:lnTo>
                    <a:pt x="1362" y="1500"/>
                  </a:lnTo>
                  <a:lnTo>
                    <a:pt x="1362" y="1506"/>
                  </a:lnTo>
                  <a:lnTo>
                    <a:pt x="1362" y="1512"/>
                  </a:lnTo>
                  <a:lnTo>
                    <a:pt x="1362" y="1518"/>
                  </a:lnTo>
                  <a:lnTo>
                    <a:pt x="1362" y="1524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38" y="1548"/>
                  </a:lnTo>
                  <a:lnTo>
                    <a:pt x="1296" y="1548"/>
                  </a:lnTo>
                  <a:lnTo>
                    <a:pt x="1290" y="1554"/>
                  </a:lnTo>
                  <a:lnTo>
                    <a:pt x="1284" y="1560"/>
                  </a:lnTo>
                  <a:lnTo>
                    <a:pt x="1284" y="1566"/>
                  </a:lnTo>
                  <a:lnTo>
                    <a:pt x="1290" y="1578"/>
                  </a:lnTo>
                  <a:lnTo>
                    <a:pt x="1296" y="1590"/>
                  </a:lnTo>
                  <a:lnTo>
                    <a:pt x="1302" y="1590"/>
                  </a:lnTo>
                  <a:lnTo>
                    <a:pt x="1308" y="1596"/>
                  </a:lnTo>
                  <a:lnTo>
                    <a:pt x="1320" y="1602"/>
                  </a:lnTo>
                  <a:lnTo>
                    <a:pt x="1326" y="1602"/>
                  </a:lnTo>
                  <a:lnTo>
                    <a:pt x="1326" y="1608"/>
                  </a:lnTo>
                  <a:lnTo>
                    <a:pt x="1332" y="1614"/>
                  </a:lnTo>
                  <a:lnTo>
                    <a:pt x="1344" y="1620"/>
                  </a:lnTo>
                  <a:lnTo>
                    <a:pt x="1356" y="1626"/>
                  </a:lnTo>
                  <a:lnTo>
                    <a:pt x="1356" y="1632"/>
                  </a:lnTo>
                  <a:lnTo>
                    <a:pt x="1356" y="1638"/>
                  </a:lnTo>
                  <a:lnTo>
                    <a:pt x="1362" y="1644"/>
                  </a:lnTo>
                  <a:lnTo>
                    <a:pt x="1368" y="1644"/>
                  </a:lnTo>
                  <a:lnTo>
                    <a:pt x="1380" y="1650"/>
                  </a:lnTo>
                  <a:lnTo>
                    <a:pt x="1386" y="1650"/>
                  </a:lnTo>
                  <a:lnTo>
                    <a:pt x="1386" y="1656"/>
                  </a:lnTo>
                  <a:lnTo>
                    <a:pt x="1392" y="1656"/>
                  </a:lnTo>
                  <a:lnTo>
                    <a:pt x="1398" y="1662"/>
                  </a:lnTo>
                  <a:lnTo>
                    <a:pt x="1410" y="1674"/>
                  </a:lnTo>
                  <a:lnTo>
                    <a:pt x="1428" y="1680"/>
                  </a:lnTo>
                  <a:lnTo>
                    <a:pt x="1428" y="1686"/>
                  </a:lnTo>
                  <a:lnTo>
                    <a:pt x="1428" y="1698"/>
                  </a:lnTo>
                  <a:lnTo>
                    <a:pt x="1434" y="1704"/>
                  </a:lnTo>
                  <a:lnTo>
                    <a:pt x="1434" y="1710"/>
                  </a:lnTo>
                  <a:lnTo>
                    <a:pt x="1440" y="1710"/>
                  </a:lnTo>
                  <a:lnTo>
                    <a:pt x="1446" y="1710"/>
                  </a:lnTo>
                  <a:lnTo>
                    <a:pt x="1446" y="1716"/>
                  </a:lnTo>
                  <a:lnTo>
                    <a:pt x="1440" y="1722"/>
                  </a:lnTo>
                  <a:lnTo>
                    <a:pt x="1440" y="1728"/>
                  </a:lnTo>
                  <a:lnTo>
                    <a:pt x="1440" y="1734"/>
                  </a:lnTo>
                  <a:lnTo>
                    <a:pt x="1440" y="1740"/>
                  </a:lnTo>
                  <a:lnTo>
                    <a:pt x="1440" y="1746"/>
                  </a:lnTo>
                  <a:lnTo>
                    <a:pt x="1440" y="1788"/>
                  </a:lnTo>
                  <a:lnTo>
                    <a:pt x="1440" y="1800"/>
                  </a:lnTo>
                  <a:lnTo>
                    <a:pt x="1440" y="1806"/>
                  </a:lnTo>
                  <a:lnTo>
                    <a:pt x="1440" y="1836"/>
                  </a:lnTo>
                  <a:lnTo>
                    <a:pt x="1440" y="1848"/>
                  </a:lnTo>
                  <a:lnTo>
                    <a:pt x="1446" y="1848"/>
                  </a:lnTo>
                  <a:lnTo>
                    <a:pt x="1446" y="1854"/>
                  </a:lnTo>
                  <a:lnTo>
                    <a:pt x="1452" y="1848"/>
                  </a:lnTo>
                  <a:lnTo>
                    <a:pt x="1458" y="1854"/>
                  </a:lnTo>
                  <a:lnTo>
                    <a:pt x="1452" y="1860"/>
                  </a:lnTo>
                  <a:lnTo>
                    <a:pt x="1452" y="1866"/>
                  </a:lnTo>
                  <a:lnTo>
                    <a:pt x="1458" y="1872"/>
                  </a:lnTo>
                  <a:lnTo>
                    <a:pt x="1464" y="1884"/>
                  </a:lnTo>
                  <a:lnTo>
                    <a:pt x="1428" y="1878"/>
                  </a:lnTo>
                  <a:lnTo>
                    <a:pt x="1356" y="1890"/>
                  </a:lnTo>
                  <a:lnTo>
                    <a:pt x="1296" y="1926"/>
                  </a:lnTo>
                  <a:lnTo>
                    <a:pt x="1266" y="1944"/>
                  </a:lnTo>
                  <a:lnTo>
                    <a:pt x="1224" y="1944"/>
                  </a:lnTo>
                  <a:lnTo>
                    <a:pt x="1188" y="1956"/>
                  </a:lnTo>
                  <a:lnTo>
                    <a:pt x="1188" y="1950"/>
                  </a:lnTo>
                  <a:lnTo>
                    <a:pt x="1176" y="1944"/>
                  </a:lnTo>
                  <a:lnTo>
                    <a:pt x="1176" y="1938"/>
                  </a:lnTo>
                  <a:lnTo>
                    <a:pt x="1170" y="1938"/>
                  </a:lnTo>
                  <a:lnTo>
                    <a:pt x="1164" y="1932"/>
                  </a:lnTo>
                  <a:lnTo>
                    <a:pt x="1158" y="1926"/>
                  </a:lnTo>
                  <a:lnTo>
                    <a:pt x="1158" y="1920"/>
                  </a:lnTo>
                  <a:lnTo>
                    <a:pt x="1152" y="1920"/>
                  </a:lnTo>
                  <a:lnTo>
                    <a:pt x="1146" y="1914"/>
                  </a:lnTo>
                  <a:lnTo>
                    <a:pt x="1146" y="1908"/>
                  </a:lnTo>
                  <a:lnTo>
                    <a:pt x="1140" y="1908"/>
                  </a:lnTo>
                  <a:lnTo>
                    <a:pt x="1134" y="1902"/>
                  </a:lnTo>
                  <a:lnTo>
                    <a:pt x="1134" y="1896"/>
                  </a:lnTo>
                  <a:lnTo>
                    <a:pt x="1116" y="1896"/>
                  </a:lnTo>
                  <a:lnTo>
                    <a:pt x="1104" y="1884"/>
                  </a:lnTo>
                  <a:lnTo>
                    <a:pt x="1092" y="1860"/>
                  </a:lnTo>
                  <a:lnTo>
                    <a:pt x="1068" y="1854"/>
                  </a:lnTo>
                  <a:lnTo>
                    <a:pt x="1032" y="1842"/>
                  </a:lnTo>
                  <a:lnTo>
                    <a:pt x="1008" y="1836"/>
                  </a:lnTo>
                  <a:lnTo>
                    <a:pt x="978" y="1824"/>
                  </a:lnTo>
                  <a:lnTo>
                    <a:pt x="942" y="1818"/>
                  </a:lnTo>
                  <a:lnTo>
                    <a:pt x="924" y="1806"/>
                  </a:lnTo>
                  <a:lnTo>
                    <a:pt x="906" y="1788"/>
                  </a:lnTo>
                  <a:lnTo>
                    <a:pt x="894" y="1776"/>
                  </a:lnTo>
                  <a:lnTo>
                    <a:pt x="864" y="1758"/>
                  </a:lnTo>
                  <a:lnTo>
                    <a:pt x="834" y="1752"/>
                  </a:lnTo>
                  <a:lnTo>
                    <a:pt x="798" y="1746"/>
                  </a:lnTo>
                  <a:lnTo>
                    <a:pt x="792" y="1806"/>
                  </a:lnTo>
                  <a:lnTo>
                    <a:pt x="798" y="1812"/>
                  </a:lnTo>
                  <a:lnTo>
                    <a:pt x="810" y="1830"/>
                  </a:lnTo>
                  <a:lnTo>
                    <a:pt x="792" y="1842"/>
                  </a:lnTo>
                  <a:lnTo>
                    <a:pt x="768" y="1842"/>
                  </a:lnTo>
                  <a:lnTo>
                    <a:pt x="708" y="1848"/>
                  </a:lnTo>
                  <a:lnTo>
                    <a:pt x="690" y="1860"/>
                  </a:lnTo>
                  <a:lnTo>
                    <a:pt x="690" y="1866"/>
                  </a:lnTo>
                  <a:lnTo>
                    <a:pt x="678" y="1878"/>
                  </a:lnTo>
                  <a:lnTo>
                    <a:pt x="660" y="1884"/>
                  </a:lnTo>
                  <a:lnTo>
                    <a:pt x="660" y="1902"/>
                  </a:lnTo>
                  <a:lnTo>
                    <a:pt x="642" y="1902"/>
                  </a:lnTo>
                  <a:lnTo>
                    <a:pt x="582" y="1914"/>
                  </a:lnTo>
                  <a:lnTo>
                    <a:pt x="534" y="1908"/>
                  </a:lnTo>
                  <a:lnTo>
                    <a:pt x="510" y="1908"/>
                  </a:lnTo>
                  <a:lnTo>
                    <a:pt x="510" y="1896"/>
                  </a:lnTo>
                  <a:lnTo>
                    <a:pt x="492" y="1896"/>
                  </a:lnTo>
                  <a:lnTo>
                    <a:pt x="486" y="1902"/>
                  </a:lnTo>
                  <a:lnTo>
                    <a:pt x="474" y="1908"/>
                  </a:lnTo>
                  <a:lnTo>
                    <a:pt x="450" y="1908"/>
                  </a:lnTo>
                  <a:lnTo>
                    <a:pt x="432" y="1902"/>
                  </a:lnTo>
                  <a:lnTo>
                    <a:pt x="426" y="1896"/>
                  </a:lnTo>
                  <a:lnTo>
                    <a:pt x="402" y="1884"/>
                  </a:lnTo>
                  <a:lnTo>
                    <a:pt x="390" y="1872"/>
                  </a:lnTo>
                  <a:lnTo>
                    <a:pt x="384" y="1872"/>
                  </a:lnTo>
                  <a:lnTo>
                    <a:pt x="378" y="1872"/>
                  </a:lnTo>
                  <a:lnTo>
                    <a:pt x="378" y="1866"/>
                  </a:lnTo>
                  <a:lnTo>
                    <a:pt x="372" y="1860"/>
                  </a:lnTo>
                  <a:lnTo>
                    <a:pt x="372" y="1854"/>
                  </a:lnTo>
                  <a:lnTo>
                    <a:pt x="366" y="1842"/>
                  </a:lnTo>
                  <a:lnTo>
                    <a:pt x="366" y="1836"/>
                  </a:lnTo>
                  <a:lnTo>
                    <a:pt x="348" y="1830"/>
                  </a:lnTo>
                  <a:lnTo>
                    <a:pt x="348" y="1806"/>
                  </a:lnTo>
                  <a:lnTo>
                    <a:pt x="348" y="1800"/>
                  </a:lnTo>
                  <a:lnTo>
                    <a:pt x="348" y="1782"/>
                  </a:lnTo>
                  <a:lnTo>
                    <a:pt x="336" y="1788"/>
                  </a:lnTo>
                  <a:lnTo>
                    <a:pt x="312" y="1794"/>
                  </a:lnTo>
                  <a:lnTo>
                    <a:pt x="288" y="1788"/>
                  </a:lnTo>
                  <a:lnTo>
                    <a:pt x="264" y="1758"/>
                  </a:lnTo>
                  <a:lnTo>
                    <a:pt x="270" y="1758"/>
                  </a:lnTo>
                  <a:lnTo>
                    <a:pt x="270" y="1752"/>
                  </a:lnTo>
                  <a:lnTo>
                    <a:pt x="276" y="1752"/>
                  </a:lnTo>
                  <a:lnTo>
                    <a:pt x="282" y="1746"/>
                  </a:lnTo>
                  <a:lnTo>
                    <a:pt x="300" y="1746"/>
                  </a:lnTo>
                  <a:lnTo>
                    <a:pt x="312" y="1746"/>
                  </a:lnTo>
                  <a:lnTo>
                    <a:pt x="336" y="1710"/>
                  </a:lnTo>
                  <a:lnTo>
                    <a:pt x="342" y="1692"/>
                  </a:lnTo>
                  <a:lnTo>
                    <a:pt x="348" y="1680"/>
                  </a:lnTo>
                  <a:lnTo>
                    <a:pt x="342" y="1650"/>
                  </a:lnTo>
                  <a:lnTo>
                    <a:pt x="354" y="1644"/>
                  </a:lnTo>
                  <a:lnTo>
                    <a:pt x="354" y="1638"/>
                  </a:lnTo>
                  <a:lnTo>
                    <a:pt x="360" y="1632"/>
                  </a:lnTo>
                  <a:lnTo>
                    <a:pt x="354" y="1626"/>
                  </a:lnTo>
                  <a:lnTo>
                    <a:pt x="348" y="1626"/>
                  </a:lnTo>
                  <a:lnTo>
                    <a:pt x="348" y="1620"/>
                  </a:lnTo>
                  <a:lnTo>
                    <a:pt x="342" y="1620"/>
                  </a:lnTo>
                  <a:lnTo>
                    <a:pt x="348" y="1614"/>
                  </a:lnTo>
                  <a:lnTo>
                    <a:pt x="324" y="1566"/>
                  </a:lnTo>
                  <a:lnTo>
                    <a:pt x="318" y="1566"/>
                  </a:lnTo>
                  <a:lnTo>
                    <a:pt x="306" y="1572"/>
                  </a:lnTo>
                  <a:lnTo>
                    <a:pt x="300" y="1572"/>
                  </a:lnTo>
                  <a:lnTo>
                    <a:pt x="294" y="1578"/>
                  </a:lnTo>
                  <a:lnTo>
                    <a:pt x="288" y="1584"/>
                  </a:lnTo>
                  <a:lnTo>
                    <a:pt x="282" y="1584"/>
                  </a:lnTo>
                  <a:lnTo>
                    <a:pt x="282" y="1578"/>
                  </a:lnTo>
                  <a:lnTo>
                    <a:pt x="276" y="1578"/>
                  </a:lnTo>
                  <a:lnTo>
                    <a:pt x="270" y="1578"/>
                  </a:lnTo>
                  <a:lnTo>
                    <a:pt x="264" y="1578"/>
                  </a:lnTo>
                  <a:lnTo>
                    <a:pt x="258" y="1578"/>
                  </a:lnTo>
                  <a:lnTo>
                    <a:pt x="252" y="1578"/>
                  </a:lnTo>
                  <a:lnTo>
                    <a:pt x="252" y="1584"/>
                  </a:lnTo>
                  <a:lnTo>
                    <a:pt x="246" y="1584"/>
                  </a:lnTo>
                  <a:lnTo>
                    <a:pt x="210" y="1584"/>
                  </a:lnTo>
                  <a:lnTo>
                    <a:pt x="204" y="1584"/>
                  </a:lnTo>
                  <a:lnTo>
                    <a:pt x="192" y="1584"/>
                  </a:lnTo>
                  <a:lnTo>
                    <a:pt x="168" y="1596"/>
                  </a:lnTo>
                  <a:lnTo>
                    <a:pt x="156" y="1572"/>
                  </a:lnTo>
                  <a:lnTo>
                    <a:pt x="156" y="1566"/>
                  </a:lnTo>
                  <a:lnTo>
                    <a:pt x="156" y="1560"/>
                  </a:lnTo>
                  <a:lnTo>
                    <a:pt x="162" y="1548"/>
                  </a:lnTo>
                  <a:lnTo>
                    <a:pt x="162" y="1542"/>
                  </a:lnTo>
                  <a:lnTo>
                    <a:pt x="162" y="1536"/>
                  </a:lnTo>
                  <a:lnTo>
                    <a:pt x="168" y="1530"/>
                  </a:lnTo>
                  <a:lnTo>
                    <a:pt x="168" y="1524"/>
                  </a:lnTo>
                  <a:lnTo>
                    <a:pt x="168" y="1518"/>
                  </a:lnTo>
                  <a:lnTo>
                    <a:pt x="174" y="1518"/>
                  </a:lnTo>
                  <a:lnTo>
                    <a:pt x="174" y="1506"/>
                  </a:lnTo>
                  <a:lnTo>
                    <a:pt x="156" y="1470"/>
                  </a:lnTo>
                  <a:lnTo>
                    <a:pt x="138" y="1464"/>
                  </a:lnTo>
                  <a:lnTo>
                    <a:pt x="126" y="1446"/>
                  </a:lnTo>
                  <a:lnTo>
                    <a:pt x="126" y="1440"/>
                  </a:lnTo>
                  <a:lnTo>
                    <a:pt x="126" y="1434"/>
                  </a:lnTo>
                  <a:lnTo>
                    <a:pt x="120" y="1428"/>
                  </a:lnTo>
                  <a:lnTo>
                    <a:pt x="126" y="1398"/>
                  </a:lnTo>
                  <a:lnTo>
                    <a:pt x="120" y="1374"/>
                  </a:lnTo>
                  <a:lnTo>
                    <a:pt x="60" y="1374"/>
                  </a:lnTo>
                  <a:lnTo>
                    <a:pt x="60" y="1368"/>
                  </a:lnTo>
                  <a:lnTo>
                    <a:pt x="54" y="1362"/>
                  </a:lnTo>
                  <a:lnTo>
                    <a:pt x="48" y="1356"/>
                  </a:lnTo>
                  <a:lnTo>
                    <a:pt x="42" y="1356"/>
                  </a:lnTo>
                  <a:lnTo>
                    <a:pt x="42" y="1350"/>
                  </a:lnTo>
                  <a:lnTo>
                    <a:pt x="36" y="1344"/>
                  </a:lnTo>
                  <a:lnTo>
                    <a:pt x="36" y="1338"/>
                  </a:lnTo>
                  <a:lnTo>
                    <a:pt x="30" y="1332"/>
                  </a:lnTo>
                  <a:lnTo>
                    <a:pt x="30" y="1326"/>
                  </a:lnTo>
                  <a:lnTo>
                    <a:pt x="18" y="1326"/>
                  </a:lnTo>
                  <a:lnTo>
                    <a:pt x="18" y="1320"/>
                  </a:lnTo>
                  <a:lnTo>
                    <a:pt x="18" y="1326"/>
                  </a:lnTo>
                  <a:lnTo>
                    <a:pt x="6" y="1320"/>
                  </a:lnTo>
                  <a:lnTo>
                    <a:pt x="0" y="1314"/>
                  </a:lnTo>
                  <a:lnTo>
                    <a:pt x="12" y="1266"/>
                  </a:lnTo>
                  <a:lnTo>
                    <a:pt x="6" y="1242"/>
                  </a:lnTo>
                  <a:lnTo>
                    <a:pt x="12" y="1236"/>
                  </a:lnTo>
                  <a:lnTo>
                    <a:pt x="12" y="1230"/>
                  </a:lnTo>
                  <a:lnTo>
                    <a:pt x="18" y="1230"/>
                  </a:lnTo>
                  <a:lnTo>
                    <a:pt x="18" y="1224"/>
                  </a:lnTo>
                  <a:lnTo>
                    <a:pt x="24" y="1218"/>
                  </a:lnTo>
                  <a:lnTo>
                    <a:pt x="24" y="1212"/>
                  </a:lnTo>
                  <a:lnTo>
                    <a:pt x="30" y="1212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48" y="1188"/>
                  </a:lnTo>
                  <a:lnTo>
                    <a:pt x="48" y="1182"/>
                  </a:lnTo>
                  <a:lnTo>
                    <a:pt x="48" y="1176"/>
                  </a:lnTo>
                  <a:lnTo>
                    <a:pt x="48" y="1170"/>
                  </a:lnTo>
                  <a:lnTo>
                    <a:pt x="54" y="1170"/>
                  </a:lnTo>
                  <a:lnTo>
                    <a:pt x="60" y="1164"/>
                  </a:lnTo>
                  <a:lnTo>
                    <a:pt x="60" y="1158"/>
                  </a:lnTo>
                  <a:lnTo>
                    <a:pt x="66" y="1152"/>
                  </a:lnTo>
                  <a:lnTo>
                    <a:pt x="60" y="1140"/>
                  </a:lnTo>
                  <a:lnTo>
                    <a:pt x="60" y="1134"/>
                  </a:lnTo>
                  <a:lnTo>
                    <a:pt x="54" y="1134"/>
                  </a:lnTo>
                  <a:lnTo>
                    <a:pt x="54" y="1128"/>
                  </a:lnTo>
                  <a:lnTo>
                    <a:pt x="48" y="1122"/>
                  </a:lnTo>
                  <a:lnTo>
                    <a:pt x="48" y="1116"/>
                  </a:lnTo>
                  <a:lnTo>
                    <a:pt x="48" y="1110"/>
                  </a:lnTo>
                  <a:lnTo>
                    <a:pt x="42" y="1104"/>
                  </a:lnTo>
                  <a:lnTo>
                    <a:pt x="42" y="1098"/>
                  </a:lnTo>
                  <a:lnTo>
                    <a:pt x="36" y="1092"/>
                  </a:lnTo>
                  <a:lnTo>
                    <a:pt x="30" y="1092"/>
                  </a:lnTo>
                  <a:lnTo>
                    <a:pt x="24" y="1092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18" y="1080"/>
                  </a:lnTo>
                  <a:lnTo>
                    <a:pt x="18" y="1074"/>
                  </a:lnTo>
                  <a:lnTo>
                    <a:pt x="12" y="1068"/>
                  </a:lnTo>
                  <a:lnTo>
                    <a:pt x="6" y="1068"/>
                  </a:lnTo>
                  <a:lnTo>
                    <a:pt x="12" y="1056"/>
                  </a:lnTo>
                  <a:lnTo>
                    <a:pt x="6" y="1056"/>
                  </a:lnTo>
                  <a:lnTo>
                    <a:pt x="6" y="1050"/>
                  </a:lnTo>
                  <a:lnTo>
                    <a:pt x="6" y="1044"/>
                  </a:lnTo>
                  <a:lnTo>
                    <a:pt x="6" y="1026"/>
                  </a:lnTo>
                  <a:lnTo>
                    <a:pt x="12" y="1020"/>
                  </a:lnTo>
                  <a:lnTo>
                    <a:pt x="12" y="1014"/>
                  </a:lnTo>
                  <a:lnTo>
                    <a:pt x="18" y="1014"/>
                  </a:lnTo>
                  <a:lnTo>
                    <a:pt x="18" y="1008"/>
                  </a:lnTo>
                  <a:lnTo>
                    <a:pt x="18" y="1002"/>
                  </a:lnTo>
                  <a:lnTo>
                    <a:pt x="18" y="990"/>
                  </a:lnTo>
                  <a:lnTo>
                    <a:pt x="12" y="972"/>
                  </a:lnTo>
                  <a:lnTo>
                    <a:pt x="18" y="954"/>
                  </a:lnTo>
                  <a:lnTo>
                    <a:pt x="18" y="948"/>
                  </a:lnTo>
                  <a:lnTo>
                    <a:pt x="24" y="948"/>
                  </a:lnTo>
                  <a:lnTo>
                    <a:pt x="24" y="930"/>
                  </a:lnTo>
                  <a:lnTo>
                    <a:pt x="30" y="930"/>
                  </a:lnTo>
                  <a:lnTo>
                    <a:pt x="36" y="918"/>
                  </a:lnTo>
                  <a:lnTo>
                    <a:pt x="42" y="918"/>
                  </a:lnTo>
                  <a:lnTo>
                    <a:pt x="48" y="918"/>
                  </a:lnTo>
                  <a:lnTo>
                    <a:pt x="78" y="912"/>
                  </a:lnTo>
                  <a:lnTo>
                    <a:pt x="90" y="894"/>
                  </a:lnTo>
                  <a:lnTo>
                    <a:pt x="96" y="894"/>
                  </a:lnTo>
                  <a:lnTo>
                    <a:pt x="102" y="888"/>
                  </a:lnTo>
                  <a:lnTo>
                    <a:pt x="102" y="882"/>
                  </a:lnTo>
                  <a:lnTo>
                    <a:pt x="114" y="870"/>
                  </a:lnTo>
                  <a:lnTo>
                    <a:pt x="120" y="864"/>
                  </a:lnTo>
                  <a:lnTo>
                    <a:pt x="120" y="852"/>
                  </a:lnTo>
                  <a:lnTo>
                    <a:pt x="120" y="846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32" y="840"/>
                  </a:lnTo>
                  <a:lnTo>
                    <a:pt x="138" y="840"/>
                  </a:lnTo>
                  <a:lnTo>
                    <a:pt x="138" y="834"/>
                  </a:lnTo>
                  <a:lnTo>
                    <a:pt x="144" y="834"/>
                  </a:lnTo>
                  <a:lnTo>
                    <a:pt x="144" y="828"/>
                  </a:lnTo>
                  <a:lnTo>
                    <a:pt x="150" y="828"/>
                  </a:lnTo>
                  <a:lnTo>
                    <a:pt x="156" y="822"/>
                  </a:lnTo>
                  <a:lnTo>
                    <a:pt x="162" y="816"/>
                  </a:lnTo>
                  <a:lnTo>
                    <a:pt x="162" y="822"/>
                  </a:lnTo>
                  <a:lnTo>
                    <a:pt x="162" y="816"/>
                  </a:lnTo>
                  <a:lnTo>
                    <a:pt x="162" y="810"/>
                  </a:lnTo>
                  <a:lnTo>
                    <a:pt x="168" y="810"/>
                  </a:lnTo>
                  <a:lnTo>
                    <a:pt x="174" y="804"/>
                  </a:lnTo>
                  <a:lnTo>
                    <a:pt x="180" y="798"/>
                  </a:lnTo>
                  <a:lnTo>
                    <a:pt x="180" y="786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8" y="780"/>
                  </a:lnTo>
                  <a:lnTo>
                    <a:pt x="204" y="774"/>
                  </a:lnTo>
                  <a:lnTo>
                    <a:pt x="210" y="774"/>
                  </a:lnTo>
                  <a:lnTo>
                    <a:pt x="216" y="768"/>
                  </a:lnTo>
                  <a:lnTo>
                    <a:pt x="222" y="762"/>
                  </a:lnTo>
                  <a:lnTo>
                    <a:pt x="228" y="762"/>
                  </a:lnTo>
                  <a:lnTo>
                    <a:pt x="228" y="768"/>
                  </a:lnTo>
                  <a:lnTo>
                    <a:pt x="234" y="768"/>
                  </a:lnTo>
                  <a:lnTo>
                    <a:pt x="240" y="762"/>
                  </a:lnTo>
                  <a:lnTo>
                    <a:pt x="252" y="762"/>
                  </a:lnTo>
                  <a:lnTo>
                    <a:pt x="264" y="768"/>
                  </a:lnTo>
                  <a:lnTo>
                    <a:pt x="294" y="756"/>
                  </a:lnTo>
                  <a:lnTo>
                    <a:pt x="294" y="750"/>
                  </a:lnTo>
                  <a:lnTo>
                    <a:pt x="300" y="750"/>
                  </a:lnTo>
                  <a:lnTo>
                    <a:pt x="306" y="744"/>
                  </a:lnTo>
                  <a:lnTo>
                    <a:pt x="342" y="750"/>
                  </a:lnTo>
                  <a:lnTo>
                    <a:pt x="348" y="750"/>
                  </a:lnTo>
                  <a:lnTo>
                    <a:pt x="348" y="744"/>
                  </a:lnTo>
                  <a:lnTo>
                    <a:pt x="354" y="744"/>
                  </a:lnTo>
                  <a:lnTo>
                    <a:pt x="360" y="744"/>
                  </a:lnTo>
                  <a:lnTo>
                    <a:pt x="360" y="750"/>
                  </a:lnTo>
                  <a:lnTo>
                    <a:pt x="366" y="750"/>
                  </a:lnTo>
                  <a:lnTo>
                    <a:pt x="366" y="744"/>
                  </a:lnTo>
                  <a:lnTo>
                    <a:pt x="366" y="738"/>
                  </a:lnTo>
                  <a:lnTo>
                    <a:pt x="372" y="744"/>
                  </a:lnTo>
                  <a:lnTo>
                    <a:pt x="378" y="744"/>
                  </a:lnTo>
                  <a:lnTo>
                    <a:pt x="384" y="750"/>
                  </a:lnTo>
                  <a:lnTo>
                    <a:pt x="444" y="774"/>
                  </a:lnTo>
                  <a:lnTo>
                    <a:pt x="450" y="774"/>
                  </a:lnTo>
                  <a:lnTo>
                    <a:pt x="456" y="768"/>
                  </a:lnTo>
                  <a:lnTo>
                    <a:pt x="462" y="768"/>
                  </a:lnTo>
                  <a:lnTo>
                    <a:pt x="462" y="762"/>
                  </a:lnTo>
                  <a:lnTo>
                    <a:pt x="468" y="762"/>
                  </a:lnTo>
                  <a:lnTo>
                    <a:pt x="474" y="756"/>
                  </a:lnTo>
                  <a:lnTo>
                    <a:pt x="480" y="750"/>
                  </a:lnTo>
                  <a:lnTo>
                    <a:pt x="516" y="756"/>
                  </a:lnTo>
                  <a:lnTo>
                    <a:pt x="522" y="756"/>
                  </a:lnTo>
                  <a:lnTo>
                    <a:pt x="522" y="762"/>
                  </a:lnTo>
                  <a:lnTo>
                    <a:pt x="522" y="768"/>
                  </a:lnTo>
                  <a:lnTo>
                    <a:pt x="522" y="774"/>
                  </a:lnTo>
                  <a:lnTo>
                    <a:pt x="528" y="780"/>
                  </a:lnTo>
                  <a:lnTo>
                    <a:pt x="540" y="780"/>
                  </a:lnTo>
                  <a:lnTo>
                    <a:pt x="540" y="804"/>
                  </a:lnTo>
                  <a:lnTo>
                    <a:pt x="540" y="810"/>
                  </a:lnTo>
                  <a:lnTo>
                    <a:pt x="546" y="810"/>
                  </a:lnTo>
                  <a:lnTo>
                    <a:pt x="552" y="810"/>
                  </a:lnTo>
                  <a:lnTo>
                    <a:pt x="558" y="810"/>
                  </a:lnTo>
                  <a:lnTo>
                    <a:pt x="564" y="810"/>
                  </a:lnTo>
                  <a:lnTo>
                    <a:pt x="570" y="810"/>
                  </a:lnTo>
                  <a:lnTo>
                    <a:pt x="576" y="810"/>
                  </a:lnTo>
                  <a:lnTo>
                    <a:pt x="576" y="816"/>
                  </a:lnTo>
                  <a:lnTo>
                    <a:pt x="588" y="816"/>
                  </a:lnTo>
                  <a:lnTo>
                    <a:pt x="594" y="816"/>
                  </a:lnTo>
                  <a:lnTo>
                    <a:pt x="600" y="822"/>
                  </a:lnTo>
                  <a:lnTo>
                    <a:pt x="606" y="816"/>
                  </a:lnTo>
                  <a:lnTo>
                    <a:pt x="612" y="816"/>
                  </a:lnTo>
                  <a:lnTo>
                    <a:pt x="612" y="810"/>
                  </a:lnTo>
                  <a:lnTo>
                    <a:pt x="624" y="810"/>
                  </a:lnTo>
                  <a:lnTo>
                    <a:pt x="624" y="804"/>
                  </a:lnTo>
                  <a:lnTo>
                    <a:pt x="630" y="798"/>
                  </a:lnTo>
                  <a:lnTo>
                    <a:pt x="636" y="798"/>
                  </a:lnTo>
                  <a:lnTo>
                    <a:pt x="636" y="804"/>
                  </a:lnTo>
                  <a:lnTo>
                    <a:pt x="642" y="804"/>
                  </a:lnTo>
                  <a:lnTo>
                    <a:pt x="648" y="804"/>
                  </a:lnTo>
                  <a:lnTo>
                    <a:pt x="654" y="804"/>
                  </a:lnTo>
                  <a:lnTo>
                    <a:pt x="660" y="804"/>
                  </a:lnTo>
                  <a:lnTo>
                    <a:pt x="678" y="798"/>
                  </a:lnTo>
                  <a:lnTo>
                    <a:pt x="714" y="786"/>
                  </a:lnTo>
                  <a:lnTo>
                    <a:pt x="714" y="792"/>
                  </a:lnTo>
                  <a:lnTo>
                    <a:pt x="714" y="798"/>
                  </a:lnTo>
                  <a:lnTo>
                    <a:pt x="714" y="804"/>
                  </a:lnTo>
                  <a:lnTo>
                    <a:pt x="720" y="804"/>
                  </a:lnTo>
                  <a:lnTo>
                    <a:pt x="720" y="810"/>
                  </a:lnTo>
                  <a:lnTo>
                    <a:pt x="720" y="816"/>
                  </a:lnTo>
                  <a:lnTo>
                    <a:pt x="726" y="822"/>
                  </a:lnTo>
                  <a:lnTo>
                    <a:pt x="732" y="828"/>
                  </a:lnTo>
                  <a:lnTo>
                    <a:pt x="732" y="834"/>
                  </a:lnTo>
                  <a:lnTo>
                    <a:pt x="732" y="846"/>
                  </a:lnTo>
                  <a:lnTo>
                    <a:pt x="732" y="858"/>
                  </a:lnTo>
                  <a:lnTo>
                    <a:pt x="738" y="858"/>
                  </a:lnTo>
                  <a:lnTo>
                    <a:pt x="732" y="864"/>
                  </a:lnTo>
                  <a:lnTo>
                    <a:pt x="732" y="870"/>
                  </a:lnTo>
                  <a:lnTo>
                    <a:pt x="726" y="870"/>
                  </a:lnTo>
                  <a:lnTo>
                    <a:pt x="726" y="876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0" y="882"/>
                  </a:lnTo>
                  <a:lnTo>
                    <a:pt x="690" y="912"/>
                  </a:lnTo>
                  <a:lnTo>
                    <a:pt x="696" y="936"/>
                  </a:lnTo>
                  <a:lnTo>
                    <a:pt x="702" y="936"/>
                  </a:lnTo>
                  <a:lnTo>
                    <a:pt x="702" y="930"/>
                  </a:lnTo>
                  <a:lnTo>
                    <a:pt x="708" y="930"/>
                  </a:lnTo>
                  <a:lnTo>
                    <a:pt x="708" y="924"/>
                  </a:lnTo>
                  <a:lnTo>
                    <a:pt x="708" y="918"/>
                  </a:lnTo>
                  <a:lnTo>
                    <a:pt x="714" y="918"/>
                  </a:lnTo>
                  <a:lnTo>
                    <a:pt x="720" y="954"/>
                  </a:lnTo>
                  <a:lnTo>
                    <a:pt x="726" y="966"/>
                  </a:lnTo>
                  <a:lnTo>
                    <a:pt x="744" y="966"/>
                  </a:lnTo>
                  <a:lnTo>
                    <a:pt x="756" y="972"/>
                  </a:lnTo>
                  <a:lnTo>
                    <a:pt x="792" y="990"/>
                  </a:lnTo>
                  <a:lnTo>
                    <a:pt x="828" y="978"/>
                  </a:lnTo>
                  <a:lnTo>
                    <a:pt x="834" y="978"/>
                  </a:lnTo>
                  <a:lnTo>
                    <a:pt x="840" y="978"/>
                  </a:lnTo>
                  <a:lnTo>
                    <a:pt x="840" y="984"/>
                  </a:lnTo>
                  <a:lnTo>
                    <a:pt x="846" y="984"/>
                  </a:lnTo>
                  <a:lnTo>
                    <a:pt x="858" y="972"/>
                  </a:lnTo>
                  <a:lnTo>
                    <a:pt x="882" y="972"/>
                  </a:lnTo>
                  <a:lnTo>
                    <a:pt x="888" y="984"/>
                  </a:lnTo>
                  <a:lnTo>
                    <a:pt x="900" y="990"/>
                  </a:lnTo>
                  <a:lnTo>
                    <a:pt x="924" y="996"/>
                  </a:lnTo>
                  <a:lnTo>
                    <a:pt x="930" y="990"/>
                  </a:lnTo>
                  <a:lnTo>
                    <a:pt x="930" y="984"/>
                  </a:lnTo>
                  <a:lnTo>
                    <a:pt x="924" y="978"/>
                  </a:lnTo>
                  <a:lnTo>
                    <a:pt x="906" y="972"/>
                  </a:lnTo>
                  <a:lnTo>
                    <a:pt x="900" y="966"/>
                  </a:lnTo>
                  <a:lnTo>
                    <a:pt x="900" y="960"/>
                  </a:lnTo>
                  <a:lnTo>
                    <a:pt x="900" y="954"/>
                  </a:lnTo>
                  <a:lnTo>
                    <a:pt x="900" y="948"/>
                  </a:lnTo>
                  <a:lnTo>
                    <a:pt x="912" y="936"/>
                  </a:lnTo>
                  <a:lnTo>
                    <a:pt x="912" y="924"/>
                  </a:lnTo>
                  <a:lnTo>
                    <a:pt x="918" y="924"/>
                  </a:lnTo>
                  <a:lnTo>
                    <a:pt x="918" y="918"/>
                  </a:lnTo>
                  <a:lnTo>
                    <a:pt x="936" y="906"/>
                  </a:lnTo>
                  <a:lnTo>
                    <a:pt x="942" y="906"/>
                  </a:lnTo>
                  <a:lnTo>
                    <a:pt x="948" y="906"/>
                  </a:lnTo>
                  <a:lnTo>
                    <a:pt x="954" y="906"/>
                  </a:lnTo>
                  <a:lnTo>
                    <a:pt x="960" y="906"/>
                  </a:lnTo>
                  <a:lnTo>
                    <a:pt x="966" y="912"/>
                  </a:lnTo>
                  <a:lnTo>
                    <a:pt x="972" y="906"/>
                  </a:lnTo>
                  <a:lnTo>
                    <a:pt x="978" y="906"/>
                  </a:lnTo>
                  <a:lnTo>
                    <a:pt x="984" y="900"/>
                  </a:lnTo>
                  <a:lnTo>
                    <a:pt x="984" y="894"/>
                  </a:lnTo>
                  <a:lnTo>
                    <a:pt x="990" y="894"/>
                  </a:lnTo>
                  <a:lnTo>
                    <a:pt x="996" y="888"/>
                  </a:lnTo>
                  <a:lnTo>
                    <a:pt x="1002" y="888"/>
                  </a:lnTo>
                  <a:lnTo>
                    <a:pt x="1008" y="882"/>
                  </a:lnTo>
                  <a:lnTo>
                    <a:pt x="1014" y="882"/>
                  </a:lnTo>
                  <a:lnTo>
                    <a:pt x="1020" y="882"/>
                  </a:lnTo>
                  <a:lnTo>
                    <a:pt x="1020" y="888"/>
                  </a:lnTo>
                  <a:lnTo>
                    <a:pt x="1026" y="882"/>
                  </a:lnTo>
                  <a:lnTo>
                    <a:pt x="1026" y="876"/>
                  </a:lnTo>
                  <a:lnTo>
                    <a:pt x="1026" y="870"/>
                  </a:lnTo>
                  <a:lnTo>
                    <a:pt x="1032" y="864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44" y="852"/>
                  </a:lnTo>
                  <a:lnTo>
                    <a:pt x="1038" y="846"/>
                  </a:lnTo>
                  <a:lnTo>
                    <a:pt x="1038" y="840"/>
                  </a:lnTo>
                  <a:lnTo>
                    <a:pt x="1032" y="840"/>
                  </a:lnTo>
                  <a:lnTo>
                    <a:pt x="1026" y="840"/>
                  </a:lnTo>
                  <a:lnTo>
                    <a:pt x="1020" y="840"/>
                  </a:lnTo>
                  <a:lnTo>
                    <a:pt x="1014" y="846"/>
                  </a:lnTo>
                  <a:lnTo>
                    <a:pt x="1008" y="846"/>
                  </a:lnTo>
                  <a:lnTo>
                    <a:pt x="1002" y="840"/>
                  </a:lnTo>
                  <a:lnTo>
                    <a:pt x="996" y="840"/>
                  </a:lnTo>
                  <a:lnTo>
                    <a:pt x="990" y="834"/>
                  </a:lnTo>
                  <a:lnTo>
                    <a:pt x="984" y="834"/>
                  </a:lnTo>
                  <a:lnTo>
                    <a:pt x="978" y="834"/>
                  </a:lnTo>
                  <a:lnTo>
                    <a:pt x="972" y="834"/>
                  </a:lnTo>
                  <a:lnTo>
                    <a:pt x="966" y="834"/>
                  </a:lnTo>
                  <a:lnTo>
                    <a:pt x="966" y="828"/>
                  </a:lnTo>
                  <a:lnTo>
                    <a:pt x="960" y="828"/>
                  </a:lnTo>
                  <a:lnTo>
                    <a:pt x="954" y="828"/>
                  </a:lnTo>
                  <a:lnTo>
                    <a:pt x="942" y="828"/>
                  </a:lnTo>
                  <a:lnTo>
                    <a:pt x="936" y="828"/>
                  </a:lnTo>
                  <a:lnTo>
                    <a:pt x="930" y="828"/>
                  </a:lnTo>
                  <a:lnTo>
                    <a:pt x="918" y="828"/>
                  </a:lnTo>
                  <a:lnTo>
                    <a:pt x="918" y="822"/>
                  </a:lnTo>
                  <a:lnTo>
                    <a:pt x="912" y="828"/>
                  </a:lnTo>
                  <a:lnTo>
                    <a:pt x="912" y="822"/>
                  </a:lnTo>
                  <a:lnTo>
                    <a:pt x="906" y="816"/>
                  </a:lnTo>
                  <a:lnTo>
                    <a:pt x="900" y="816"/>
                  </a:lnTo>
                  <a:lnTo>
                    <a:pt x="894" y="816"/>
                  </a:lnTo>
                  <a:lnTo>
                    <a:pt x="888" y="816"/>
                  </a:lnTo>
                  <a:lnTo>
                    <a:pt x="882" y="816"/>
                  </a:lnTo>
                  <a:lnTo>
                    <a:pt x="882" y="810"/>
                  </a:lnTo>
                  <a:lnTo>
                    <a:pt x="876" y="804"/>
                  </a:lnTo>
                  <a:lnTo>
                    <a:pt x="870" y="804"/>
                  </a:lnTo>
                  <a:lnTo>
                    <a:pt x="864" y="798"/>
                  </a:lnTo>
                  <a:lnTo>
                    <a:pt x="858" y="798"/>
                  </a:lnTo>
                  <a:lnTo>
                    <a:pt x="858" y="804"/>
                  </a:lnTo>
                  <a:lnTo>
                    <a:pt x="852" y="804"/>
                  </a:lnTo>
                  <a:lnTo>
                    <a:pt x="846" y="804"/>
                  </a:lnTo>
                  <a:lnTo>
                    <a:pt x="846" y="798"/>
                  </a:lnTo>
                  <a:lnTo>
                    <a:pt x="840" y="804"/>
                  </a:lnTo>
                  <a:lnTo>
                    <a:pt x="834" y="804"/>
                  </a:lnTo>
                  <a:lnTo>
                    <a:pt x="828" y="804"/>
                  </a:lnTo>
                  <a:lnTo>
                    <a:pt x="828" y="810"/>
                  </a:lnTo>
                  <a:lnTo>
                    <a:pt x="822" y="810"/>
                  </a:lnTo>
                  <a:lnTo>
                    <a:pt x="810" y="804"/>
                  </a:lnTo>
                  <a:lnTo>
                    <a:pt x="810" y="798"/>
                  </a:lnTo>
                  <a:lnTo>
                    <a:pt x="780" y="798"/>
                  </a:lnTo>
                  <a:lnTo>
                    <a:pt x="756" y="774"/>
                  </a:lnTo>
                  <a:lnTo>
                    <a:pt x="750" y="768"/>
                  </a:lnTo>
                  <a:lnTo>
                    <a:pt x="750" y="744"/>
                  </a:lnTo>
                  <a:lnTo>
                    <a:pt x="732" y="738"/>
                  </a:lnTo>
                  <a:lnTo>
                    <a:pt x="732" y="720"/>
                  </a:lnTo>
                  <a:lnTo>
                    <a:pt x="714" y="690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6" y="666"/>
                  </a:lnTo>
                  <a:lnTo>
                    <a:pt x="690" y="666"/>
                  </a:lnTo>
                  <a:lnTo>
                    <a:pt x="678" y="672"/>
                  </a:lnTo>
                  <a:lnTo>
                    <a:pt x="678" y="654"/>
                  </a:lnTo>
                  <a:lnTo>
                    <a:pt x="684" y="630"/>
                  </a:lnTo>
                  <a:lnTo>
                    <a:pt x="690" y="618"/>
                  </a:lnTo>
                  <a:lnTo>
                    <a:pt x="696" y="612"/>
                  </a:lnTo>
                  <a:lnTo>
                    <a:pt x="696" y="588"/>
                  </a:lnTo>
                  <a:lnTo>
                    <a:pt x="690" y="576"/>
                  </a:lnTo>
                  <a:lnTo>
                    <a:pt x="696" y="552"/>
                  </a:lnTo>
                  <a:lnTo>
                    <a:pt x="684" y="522"/>
                  </a:lnTo>
                  <a:lnTo>
                    <a:pt x="672" y="504"/>
                  </a:lnTo>
                  <a:lnTo>
                    <a:pt x="654" y="504"/>
                  </a:lnTo>
                  <a:lnTo>
                    <a:pt x="642" y="504"/>
                  </a:lnTo>
                  <a:lnTo>
                    <a:pt x="624" y="510"/>
                  </a:lnTo>
                  <a:lnTo>
                    <a:pt x="612" y="516"/>
                  </a:lnTo>
                  <a:lnTo>
                    <a:pt x="594" y="516"/>
                  </a:lnTo>
                  <a:lnTo>
                    <a:pt x="588" y="516"/>
                  </a:lnTo>
                  <a:lnTo>
                    <a:pt x="588" y="522"/>
                  </a:lnTo>
                  <a:lnTo>
                    <a:pt x="582" y="516"/>
                  </a:lnTo>
                  <a:lnTo>
                    <a:pt x="588" y="510"/>
                  </a:lnTo>
                  <a:lnTo>
                    <a:pt x="582" y="510"/>
                  </a:lnTo>
                  <a:lnTo>
                    <a:pt x="582" y="504"/>
                  </a:lnTo>
                  <a:lnTo>
                    <a:pt x="576" y="498"/>
                  </a:lnTo>
                  <a:lnTo>
                    <a:pt x="570" y="498"/>
                  </a:lnTo>
                  <a:lnTo>
                    <a:pt x="570" y="492"/>
                  </a:lnTo>
                  <a:lnTo>
                    <a:pt x="564" y="492"/>
                  </a:lnTo>
                  <a:lnTo>
                    <a:pt x="570" y="486"/>
                  </a:lnTo>
                  <a:lnTo>
                    <a:pt x="564" y="486"/>
                  </a:lnTo>
                  <a:lnTo>
                    <a:pt x="564" y="480"/>
                  </a:lnTo>
                  <a:lnTo>
                    <a:pt x="564" y="474"/>
                  </a:lnTo>
                  <a:lnTo>
                    <a:pt x="558" y="468"/>
                  </a:lnTo>
                  <a:lnTo>
                    <a:pt x="564" y="468"/>
                  </a:lnTo>
                  <a:lnTo>
                    <a:pt x="564" y="462"/>
                  </a:lnTo>
                  <a:lnTo>
                    <a:pt x="570" y="462"/>
                  </a:lnTo>
                  <a:lnTo>
                    <a:pt x="570" y="456"/>
                  </a:lnTo>
                  <a:lnTo>
                    <a:pt x="570" y="450"/>
                  </a:lnTo>
                  <a:lnTo>
                    <a:pt x="576" y="450"/>
                  </a:lnTo>
                  <a:lnTo>
                    <a:pt x="576" y="444"/>
                  </a:lnTo>
                  <a:lnTo>
                    <a:pt x="582" y="438"/>
                  </a:lnTo>
                  <a:lnTo>
                    <a:pt x="588" y="438"/>
                  </a:lnTo>
                  <a:lnTo>
                    <a:pt x="588" y="444"/>
                  </a:lnTo>
                  <a:lnTo>
                    <a:pt x="594" y="438"/>
                  </a:lnTo>
                  <a:lnTo>
                    <a:pt x="594" y="432"/>
                  </a:lnTo>
                  <a:lnTo>
                    <a:pt x="600" y="432"/>
                  </a:lnTo>
                  <a:lnTo>
                    <a:pt x="600" y="426"/>
                  </a:lnTo>
                  <a:lnTo>
                    <a:pt x="600" y="420"/>
                  </a:lnTo>
                  <a:lnTo>
                    <a:pt x="606" y="420"/>
                  </a:lnTo>
                  <a:lnTo>
                    <a:pt x="600" y="420"/>
                  </a:lnTo>
                  <a:lnTo>
                    <a:pt x="600" y="414"/>
                  </a:lnTo>
                  <a:lnTo>
                    <a:pt x="606" y="408"/>
                  </a:lnTo>
                  <a:lnTo>
                    <a:pt x="612" y="408"/>
                  </a:lnTo>
                  <a:lnTo>
                    <a:pt x="612" y="414"/>
                  </a:lnTo>
                  <a:lnTo>
                    <a:pt x="618" y="414"/>
                  </a:lnTo>
                  <a:lnTo>
                    <a:pt x="624" y="414"/>
                  </a:lnTo>
                  <a:lnTo>
                    <a:pt x="630" y="414"/>
                  </a:lnTo>
                  <a:lnTo>
                    <a:pt x="636" y="414"/>
                  </a:lnTo>
                  <a:lnTo>
                    <a:pt x="642" y="408"/>
                  </a:lnTo>
                  <a:lnTo>
                    <a:pt x="648" y="408"/>
                  </a:lnTo>
                  <a:lnTo>
                    <a:pt x="660" y="408"/>
                  </a:lnTo>
                  <a:lnTo>
                    <a:pt x="666" y="402"/>
                  </a:lnTo>
                  <a:lnTo>
                    <a:pt x="672" y="402"/>
                  </a:lnTo>
                  <a:lnTo>
                    <a:pt x="684" y="396"/>
                  </a:lnTo>
                  <a:lnTo>
                    <a:pt x="690" y="396"/>
                  </a:lnTo>
                  <a:lnTo>
                    <a:pt x="696" y="396"/>
                  </a:lnTo>
                  <a:lnTo>
                    <a:pt x="702" y="396"/>
                  </a:lnTo>
                  <a:lnTo>
                    <a:pt x="708" y="396"/>
                  </a:lnTo>
                  <a:lnTo>
                    <a:pt x="714" y="390"/>
                  </a:lnTo>
                  <a:lnTo>
                    <a:pt x="714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32" y="384"/>
                  </a:lnTo>
                  <a:lnTo>
                    <a:pt x="738" y="378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56" y="372"/>
                  </a:lnTo>
                  <a:lnTo>
                    <a:pt x="762" y="366"/>
                  </a:lnTo>
                  <a:lnTo>
                    <a:pt x="768" y="366"/>
                  </a:lnTo>
                  <a:lnTo>
                    <a:pt x="774" y="366"/>
                  </a:lnTo>
                  <a:lnTo>
                    <a:pt x="774" y="360"/>
                  </a:lnTo>
                  <a:lnTo>
                    <a:pt x="780" y="366"/>
                  </a:lnTo>
                  <a:lnTo>
                    <a:pt x="786" y="366"/>
                  </a:lnTo>
                  <a:lnTo>
                    <a:pt x="786" y="360"/>
                  </a:lnTo>
                  <a:lnTo>
                    <a:pt x="792" y="354"/>
                  </a:lnTo>
                  <a:lnTo>
                    <a:pt x="786" y="354"/>
                  </a:lnTo>
                  <a:lnTo>
                    <a:pt x="792" y="348"/>
                  </a:lnTo>
                  <a:lnTo>
                    <a:pt x="798" y="348"/>
                  </a:lnTo>
                  <a:lnTo>
                    <a:pt x="804" y="348"/>
                  </a:lnTo>
                  <a:lnTo>
                    <a:pt x="810" y="342"/>
                  </a:lnTo>
                  <a:lnTo>
                    <a:pt x="816" y="342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28" y="336"/>
                  </a:lnTo>
                  <a:lnTo>
                    <a:pt x="834" y="336"/>
                  </a:lnTo>
                  <a:lnTo>
                    <a:pt x="840" y="336"/>
                  </a:lnTo>
                  <a:lnTo>
                    <a:pt x="846" y="330"/>
                  </a:lnTo>
                  <a:lnTo>
                    <a:pt x="852" y="330"/>
                  </a:lnTo>
                  <a:lnTo>
                    <a:pt x="858" y="330"/>
                  </a:lnTo>
                  <a:lnTo>
                    <a:pt x="864" y="324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0" y="312"/>
                  </a:lnTo>
                  <a:lnTo>
                    <a:pt x="876" y="312"/>
                  </a:lnTo>
                  <a:lnTo>
                    <a:pt x="882" y="312"/>
                  </a:lnTo>
                  <a:lnTo>
                    <a:pt x="882" y="318"/>
                  </a:lnTo>
                  <a:lnTo>
                    <a:pt x="888" y="312"/>
                  </a:lnTo>
                  <a:lnTo>
                    <a:pt x="894" y="306"/>
                  </a:lnTo>
                  <a:lnTo>
                    <a:pt x="900" y="306"/>
                  </a:lnTo>
                  <a:lnTo>
                    <a:pt x="906" y="306"/>
                  </a:lnTo>
                  <a:lnTo>
                    <a:pt x="912" y="300"/>
                  </a:lnTo>
                  <a:lnTo>
                    <a:pt x="906" y="294"/>
                  </a:lnTo>
                  <a:lnTo>
                    <a:pt x="912" y="276"/>
                  </a:lnTo>
                  <a:lnTo>
                    <a:pt x="912" y="252"/>
                  </a:lnTo>
                  <a:lnTo>
                    <a:pt x="906" y="234"/>
                  </a:lnTo>
                  <a:lnTo>
                    <a:pt x="912" y="228"/>
                  </a:lnTo>
                  <a:lnTo>
                    <a:pt x="912" y="216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24" y="192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36" y="186"/>
                  </a:lnTo>
                  <a:lnTo>
                    <a:pt x="930" y="180"/>
                  </a:lnTo>
                  <a:lnTo>
                    <a:pt x="930" y="174"/>
                  </a:lnTo>
                  <a:lnTo>
                    <a:pt x="936" y="156"/>
                  </a:lnTo>
                  <a:lnTo>
                    <a:pt x="930" y="156"/>
                  </a:lnTo>
                  <a:lnTo>
                    <a:pt x="924" y="150"/>
                  </a:lnTo>
                  <a:lnTo>
                    <a:pt x="942" y="78"/>
                  </a:lnTo>
                  <a:lnTo>
                    <a:pt x="948" y="78"/>
                  </a:lnTo>
                  <a:lnTo>
                    <a:pt x="954" y="66"/>
                  </a:lnTo>
                  <a:lnTo>
                    <a:pt x="954" y="72"/>
                  </a:lnTo>
                  <a:lnTo>
                    <a:pt x="954" y="66"/>
                  </a:lnTo>
                  <a:lnTo>
                    <a:pt x="960" y="66"/>
                  </a:lnTo>
                  <a:lnTo>
                    <a:pt x="966" y="66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54"/>
                  </a:lnTo>
                  <a:lnTo>
                    <a:pt x="990" y="54"/>
                  </a:lnTo>
                  <a:lnTo>
                    <a:pt x="996" y="48"/>
                  </a:lnTo>
                  <a:lnTo>
                    <a:pt x="1002" y="48"/>
                  </a:lnTo>
                  <a:lnTo>
                    <a:pt x="1032" y="48"/>
                  </a:lnTo>
                  <a:lnTo>
                    <a:pt x="1062" y="48"/>
                  </a:lnTo>
                  <a:lnTo>
                    <a:pt x="1068" y="78"/>
                  </a:lnTo>
                  <a:lnTo>
                    <a:pt x="1086" y="78"/>
                  </a:lnTo>
                  <a:lnTo>
                    <a:pt x="1092" y="66"/>
                  </a:lnTo>
                  <a:lnTo>
                    <a:pt x="1092" y="60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8" y="48"/>
                  </a:lnTo>
                  <a:lnTo>
                    <a:pt x="1104" y="48"/>
                  </a:lnTo>
                  <a:lnTo>
                    <a:pt x="1110" y="48"/>
                  </a:lnTo>
                  <a:lnTo>
                    <a:pt x="1110" y="42"/>
                  </a:lnTo>
                  <a:lnTo>
                    <a:pt x="1110" y="36"/>
                  </a:lnTo>
                  <a:lnTo>
                    <a:pt x="1116" y="36"/>
                  </a:lnTo>
                  <a:lnTo>
                    <a:pt x="1116" y="30"/>
                  </a:lnTo>
                  <a:lnTo>
                    <a:pt x="1122" y="30"/>
                  </a:lnTo>
                  <a:lnTo>
                    <a:pt x="1128" y="30"/>
                  </a:lnTo>
                  <a:lnTo>
                    <a:pt x="1134" y="30"/>
                  </a:lnTo>
                  <a:lnTo>
                    <a:pt x="1140" y="24"/>
                  </a:lnTo>
                  <a:lnTo>
                    <a:pt x="1152" y="18"/>
                  </a:lnTo>
                  <a:lnTo>
                    <a:pt x="1158" y="18"/>
                  </a:lnTo>
                  <a:lnTo>
                    <a:pt x="1152" y="12"/>
                  </a:lnTo>
                  <a:lnTo>
                    <a:pt x="1152" y="6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8"/>
                  </a:lnTo>
                  <a:lnTo>
                    <a:pt x="1170" y="12"/>
                  </a:lnTo>
                  <a:lnTo>
                    <a:pt x="1170" y="6"/>
                  </a:lnTo>
                  <a:lnTo>
                    <a:pt x="1176" y="6"/>
                  </a:lnTo>
                  <a:lnTo>
                    <a:pt x="1176" y="0"/>
                  </a:lnTo>
                  <a:lnTo>
                    <a:pt x="1182" y="6"/>
                  </a:lnTo>
                  <a:lnTo>
                    <a:pt x="1188" y="6"/>
                  </a:lnTo>
                  <a:lnTo>
                    <a:pt x="1188" y="0"/>
                  </a:lnTo>
                  <a:lnTo>
                    <a:pt x="1194" y="6"/>
                  </a:lnTo>
                  <a:lnTo>
                    <a:pt x="1200" y="12"/>
                  </a:lnTo>
                  <a:lnTo>
                    <a:pt x="1206" y="18"/>
                  </a:lnTo>
                  <a:lnTo>
                    <a:pt x="1212" y="18"/>
                  </a:lnTo>
                  <a:lnTo>
                    <a:pt x="1218" y="24"/>
                  </a:lnTo>
                  <a:lnTo>
                    <a:pt x="1236" y="36"/>
                  </a:lnTo>
                  <a:lnTo>
                    <a:pt x="1242" y="36"/>
                  </a:lnTo>
                  <a:lnTo>
                    <a:pt x="1248" y="42"/>
                  </a:lnTo>
                  <a:lnTo>
                    <a:pt x="1248" y="48"/>
                  </a:lnTo>
                  <a:lnTo>
                    <a:pt x="1260" y="48"/>
                  </a:lnTo>
                  <a:lnTo>
                    <a:pt x="1260" y="108"/>
                  </a:lnTo>
                  <a:lnTo>
                    <a:pt x="1266" y="168"/>
                  </a:lnTo>
                  <a:lnTo>
                    <a:pt x="1278" y="234"/>
                  </a:lnTo>
                  <a:lnTo>
                    <a:pt x="1284" y="240"/>
                  </a:lnTo>
                  <a:lnTo>
                    <a:pt x="1290" y="264"/>
                  </a:lnTo>
                  <a:lnTo>
                    <a:pt x="1296" y="288"/>
                  </a:lnTo>
                  <a:lnTo>
                    <a:pt x="1296" y="300"/>
                  </a:lnTo>
                  <a:lnTo>
                    <a:pt x="1296" y="312"/>
                  </a:lnTo>
                  <a:lnTo>
                    <a:pt x="1296" y="324"/>
                  </a:lnTo>
                  <a:lnTo>
                    <a:pt x="1296" y="354"/>
                  </a:lnTo>
                  <a:lnTo>
                    <a:pt x="1302" y="366"/>
                  </a:lnTo>
                  <a:lnTo>
                    <a:pt x="1308" y="372"/>
                  </a:lnTo>
                  <a:lnTo>
                    <a:pt x="1308" y="384"/>
                  </a:lnTo>
                  <a:lnTo>
                    <a:pt x="1314" y="390"/>
                  </a:lnTo>
                  <a:lnTo>
                    <a:pt x="1308" y="408"/>
                  </a:lnTo>
                  <a:lnTo>
                    <a:pt x="1314" y="408"/>
                  </a:lnTo>
                  <a:lnTo>
                    <a:pt x="1314" y="414"/>
                  </a:lnTo>
                  <a:lnTo>
                    <a:pt x="1308" y="420"/>
                  </a:lnTo>
                  <a:lnTo>
                    <a:pt x="1308" y="432"/>
                  </a:lnTo>
                  <a:lnTo>
                    <a:pt x="1320" y="432"/>
                  </a:lnTo>
                  <a:lnTo>
                    <a:pt x="1320" y="444"/>
                  </a:lnTo>
                  <a:lnTo>
                    <a:pt x="1332" y="444"/>
                  </a:lnTo>
                  <a:lnTo>
                    <a:pt x="1338" y="450"/>
                  </a:lnTo>
                  <a:lnTo>
                    <a:pt x="1344" y="456"/>
                  </a:lnTo>
                  <a:lnTo>
                    <a:pt x="1344" y="462"/>
                  </a:lnTo>
                  <a:lnTo>
                    <a:pt x="1344" y="474"/>
                  </a:lnTo>
                  <a:lnTo>
                    <a:pt x="1350" y="474"/>
                  </a:lnTo>
                  <a:lnTo>
                    <a:pt x="1368" y="504"/>
                  </a:lnTo>
                  <a:lnTo>
                    <a:pt x="1374" y="534"/>
                  </a:lnTo>
                  <a:lnTo>
                    <a:pt x="1380" y="558"/>
                  </a:lnTo>
                  <a:lnTo>
                    <a:pt x="1386" y="576"/>
                  </a:lnTo>
                  <a:lnTo>
                    <a:pt x="1386" y="600"/>
                  </a:lnTo>
                  <a:lnTo>
                    <a:pt x="1386" y="624"/>
                  </a:lnTo>
                  <a:lnTo>
                    <a:pt x="1386" y="648"/>
                  </a:lnTo>
                  <a:lnTo>
                    <a:pt x="1386" y="684"/>
                  </a:lnTo>
                  <a:lnTo>
                    <a:pt x="1380" y="684"/>
                  </a:lnTo>
                  <a:lnTo>
                    <a:pt x="1374" y="696"/>
                  </a:lnTo>
                  <a:lnTo>
                    <a:pt x="1368" y="702"/>
                  </a:lnTo>
                  <a:lnTo>
                    <a:pt x="1362" y="708"/>
                  </a:lnTo>
                  <a:lnTo>
                    <a:pt x="1356" y="714"/>
                  </a:lnTo>
                  <a:lnTo>
                    <a:pt x="1350" y="720"/>
                  </a:lnTo>
                  <a:lnTo>
                    <a:pt x="1338" y="720"/>
                  </a:lnTo>
                  <a:lnTo>
                    <a:pt x="1338" y="738"/>
                  </a:lnTo>
                  <a:lnTo>
                    <a:pt x="1362" y="750"/>
                  </a:lnTo>
                  <a:lnTo>
                    <a:pt x="1362" y="756"/>
                  </a:lnTo>
                  <a:lnTo>
                    <a:pt x="1374" y="756"/>
                  </a:lnTo>
                  <a:lnTo>
                    <a:pt x="1410" y="774"/>
                  </a:lnTo>
                  <a:lnTo>
                    <a:pt x="1446" y="774"/>
                  </a:lnTo>
                  <a:lnTo>
                    <a:pt x="1482" y="768"/>
                  </a:lnTo>
                  <a:lnTo>
                    <a:pt x="1500" y="774"/>
                  </a:lnTo>
                  <a:lnTo>
                    <a:pt x="1512" y="78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6" name="Freeform 11">
              <a:extLst>
                <a:ext uri="{FF2B5EF4-FFF2-40B4-BE49-F238E27FC236}">
                  <a16:creationId xmlns:a16="http://schemas.microsoft.com/office/drawing/2014/main" id="{1FF8E66F-B850-456A-B132-C45FEEDE95C6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2475" y="2345643"/>
              <a:ext cx="445003" cy="603855"/>
            </a:xfrm>
            <a:custGeom>
              <a:avLst/>
              <a:gdLst>
                <a:gd name="T0" fmla="*/ 47 w 840"/>
                <a:gd name="T1" fmla="*/ 98 h 1134"/>
                <a:gd name="T2" fmla="*/ 41 w 840"/>
                <a:gd name="T3" fmla="*/ 98 h 1134"/>
                <a:gd name="T4" fmla="*/ 37 w 840"/>
                <a:gd name="T5" fmla="*/ 98 h 1134"/>
                <a:gd name="T6" fmla="*/ 29 w 840"/>
                <a:gd name="T7" fmla="*/ 97 h 1134"/>
                <a:gd name="T8" fmla="*/ 27 w 840"/>
                <a:gd name="T9" fmla="*/ 94 h 1134"/>
                <a:gd name="T10" fmla="*/ 26 w 840"/>
                <a:gd name="T11" fmla="*/ 93 h 1134"/>
                <a:gd name="T12" fmla="*/ 26 w 840"/>
                <a:gd name="T13" fmla="*/ 83 h 1134"/>
                <a:gd name="T14" fmla="*/ 26 w 840"/>
                <a:gd name="T15" fmla="*/ 81 h 1134"/>
                <a:gd name="T16" fmla="*/ 23 w 840"/>
                <a:gd name="T17" fmla="*/ 77 h 1134"/>
                <a:gd name="T18" fmla="*/ 19 w 840"/>
                <a:gd name="T19" fmla="*/ 75 h 1134"/>
                <a:gd name="T20" fmla="*/ 16 w 840"/>
                <a:gd name="T21" fmla="*/ 72 h 1134"/>
                <a:gd name="T22" fmla="*/ 13 w 840"/>
                <a:gd name="T23" fmla="*/ 70 h 1134"/>
                <a:gd name="T24" fmla="*/ 17 w 840"/>
                <a:gd name="T25" fmla="*/ 67 h 1134"/>
                <a:gd name="T26" fmla="*/ 19 w 840"/>
                <a:gd name="T27" fmla="*/ 63 h 1134"/>
                <a:gd name="T28" fmla="*/ 20 w 840"/>
                <a:gd name="T29" fmla="*/ 59 h 1134"/>
                <a:gd name="T30" fmla="*/ 19 w 840"/>
                <a:gd name="T31" fmla="*/ 55 h 1134"/>
                <a:gd name="T32" fmla="*/ 17 w 840"/>
                <a:gd name="T33" fmla="*/ 47 h 1134"/>
                <a:gd name="T34" fmla="*/ 8 w 840"/>
                <a:gd name="T35" fmla="*/ 45 h 1134"/>
                <a:gd name="T36" fmla="*/ 4 w 840"/>
                <a:gd name="T37" fmla="*/ 39 h 1134"/>
                <a:gd name="T38" fmla="*/ 2 w 840"/>
                <a:gd name="T39" fmla="*/ 35 h 1134"/>
                <a:gd name="T40" fmla="*/ 0 w 840"/>
                <a:gd name="T41" fmla="*/ 31 h 1134"/>
                <a:gd name="T42" fmla="*/ 2 w 840"/>
                <a:gd name="T43" fmla="*/ 27 h 1134"/>
                <a:gd name="T44" fmla="*/ 5 w 840"/>
                <a:gd name="T45" fmla="*/ 24 h 1134"/>
                <a:gd name="T46" fmla="*/ 10 w 840"/>
                <a:gd name="T47" fmla="*/ 26 h 1134"/>
                <a:gd name="T48" fmla="*/ 7 w 840"/>
                <a:gd name="T49" fmla="*/ 20 h 1134"/>
                <a:gd name="T50" fmla="*/ 12 w 840"/>
                <a:gd name="T51" fmla="*/ 12 h 1134"/>
                <a:gd name="T52" fmla="*/ 19 w 840"/>
                <a:gd name="T53" fmla="*/ 10 h 1134"/>
                <a:gd name="T54" fmla="*/ 20 w 840"/>
                <a:gd name="T55" fmla="*/ 13 h 1134"/>
                <a:gd name="T56" fmla="*/ 22 w 840"/>
                <a:gd name="T57" fmla="*/ 11 h 1134"/>
                <a:gd name="T58" fmla="*/ 25 w 840"/>
                <a:gd name="T59" fmla="*/ 7 h 1134"/>
                <a:gd name="T60" fmla="*/ 29 w 840"/>
                <a:gd name="T61" fmla="*/ 2 h 1134"/>
                <a:gd name="T62" fmla="*/ 33 w 840"/>
                <a:gd name="T63" fmla="*/ 1 h 1134"/>
                <a:gd name="T64" fmla="*/ 37 w 840"/>
                <a:gd name="T65" fmla="*/ 2 h 1134"/>
                <a:gd name="T66" fmla="*/ 39 w 840"/>
                <a:gd name="T67" fmla="*/ 4 h 1134"/>
                <a:gd name="T68" fmla="*/ 43 w 840"/>
                <a:gd name="T69" fmla="*/ 5 h 1134"/>
                <a:gd name="T70" fmla="*/ 46 w 840"/>
                <a:gd name="T71" fmla="*/ 11 h 1134"/>
                <a:gd name="T72" fmla="*/ 49 w 840"/>
                <a:gd name="T73" fmla="*/ 12 h 1134"/>
                <a:gd name="T74" fmla="*/ 52 w 840"/>
                <a:gd name="T75" fmla="*/ 15 h 1134"/>
                <a:gd name="T76" fmla="*/ 54 w 840"/>
                <a:gd name="T77" fmla="*/ 18 h 1134"/>
                <a:gd name="T78" fmla="*/ 55 w 840"/>
                <a:gd name="T79" fmla="*/ 22 h 1134"/>
                <a:gd name="T80" fmla="*/ 56 w 840"/>
                <a:gd name="T81" fmla="*/ 26 h 1134"/>
                <a:gd name="T82" fmla="*/ 55 w 840"/>
                <a:gd name="T83" fmla="*/ 32 h 1134"/>
                <a:gd name="T84" fmla="*/ 55 w 840"/>
                <a:gd name="T85" fmla="*/ 36 h 1134"/>
                <a:gd name="T86" fmla="*/ 54 w 840"/>
                <a:gd name="T87" fmla="*/ 39 h 1134"/>
                <a:gd name="T88" fmla="*/ 56 w 840"/>
                <a:gd name="T89" fmla="*/ 39 h 1134"/>
                <a:gd name="T90" fmla="*/ 58 w 840"/>
                <a:gd name="T91" fmla="*/ 39 h 1134"/>
                <a:gd name="T92" fmla="*/ 61 w 840"/>
                <a:gd name="T93" fmla="*/ 39 h 1134"/>
                <a:gd name="T94" fmla="*/ 60 w 840"/>
                <a:gd name="T95" fmla="*/ 49 h 1134"/>
                <a:gd name="T96" fmla="*/ 59 w 840"/>
                <a:gd name="T97" fmla="*/ 53 h 1134"/>
                <a:gd name="T98" fmla="*/ 59 w 840"/>
                <a:gd name="T99" fmla="*/ 56 h 1134"/>
                <a:gd name="T100" fmla="*/ 60 w 840"/>
                <a:gd name="T101" fmla="*/ 59 h 1134"/>
                <a:gd name="T102" fmla="*/ 64 w 840"/>
                <a:gd name="T103" fmla="*/ 61 h 1134"/>
                <a:gd name="T104" fmla="*/ 69 w 840"/>
                <a:gd name="T105" fmla="*/ 63 h 1134"/>
                <a:gd name="T106" fmla="*/ 72 w 840"/>
                <a:gd name="T107" fmla="*/ 69 h 1134"/>
                <a:gd name="T108" fmla="*/ 72 w 840"/>
                <a:gd name="T109" fmla="*/ 73 h 1134"/>
                <a:gd name="T110" fmla="*/ 72 w 840"/>
                <a:gd name="T111" fmla="*/ 83 h 1134"/>
                <a:gd name="T112" fmla="*/ 63 w 840"/>
                <a:gd name="T113" fmla="*/ 88 h 1134"/>
                <a:gd name="T114" fmla="*/ 52 w 840"/>
                <a:gd name="T115" fmla="*/ 95 h 11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40"/>
                <a:gd name="T175" fmla="*/ 0 h 1134"/>
                <a:gd name="T176" fmla="*/ 840 w 840"/>
                <a:gd name="T177" fmla="*/ 1134 h 11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40" h="1134">
                  <a:moveTo>
                    <a:pt x="564" y="1110"/>
                  </a:moveTo>
                  <a:lnTo>
                    <a:pt x="564" y="1104"/>
                  </a:lnTo>
                  <a:lnTo>
                    <a:pt x="558" y="1104"/>
                  </a:lnTo>
                  <a:lnTo>
                    <a:pt x="552" y="1110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28" y="1128"/>
                  </a:lnTo>
                  <a:lnTo>
                    <a:pt x="498" y="1128"/>
                  </a:lnTo>
                  <a:lnTo>
                    <a:pt x="492" y="1128"/>
                  </a:lnTo>
                  <a:lnTo>
                    <a:pt x="486" y="1128"/>
                  </a:lnTo>
                  <a:lnTo>
                    <a:pt x="480" y="1128"/>
                  </a:lnTo>
                  <a:lnTo>
                    <a:pt x="474" y="1134"/>
                  </a:lnTo>
                  <a:lnTo>
                    <a:pt x="468" y="1134"/>
                  </a:lnTo>
                  <a:lnTo>
                    <a:pt x="462" y="1134"/>
                  </a:lnTo>
                  <a:lnTo>
                    <a:pt x="456" y="1134"/>
                  </a:lnTo>
                  <a:lnTo>
                    <a:pt x="456" y="1128"/>
                  </a:lnTo>
                  <a:lnTo>
                    <a:pt x="450" y="1122"/>
                  </a:lnTo>
                  <a:lnTo>
                    <a:pt x="426" y="1128"/>
                  </a:lnTo>
                  <a:lnTo>
                    <a:pt x="414" y="1128"/>
                  </a:lnTo>
                  <a:lnTo>
                    <a:pt x="348" y="1134"/>
                  </a:lnTo>
                  <a:lnTo>
                    <a:pt x="348" y="1128"/>
                  </a:lnTo>
                  <a:lnTo>
                    <a:pt x="342" y="1128"/>
                  </a:lnTo>
                  <a:lnTo>
                    <a:pt x="336" y="1122"/>
                  </a:lnTo>
                  <a:lnTo>
                    <a:pt x="330" y="1122"/>
                  </a:lnTo>
                  <a:lnTo>
                    <a:pt x="324" y="1116"/>
                  </a:lnTo>
                  <a:lnTo>
                    <a:pt x="324" y="1110"/>
                  </a:lnTo>
                  <a:lnTo>
                    <a:pt x="318" y="1110"/>
                  </a:lnTo>
                  <a:lnTo>
                    <a:pt x="318" y="1104"/>
                  </a:lnTo>
                  <a:lnTo>
                    <a:pt x="312" y="1092"/>
                  </a:lnTo>
                  <a:lnTo>
                    <a:pt x="306" y="1086"/>
                  </a:lnTo>
                  <a:lnTo>
                    <a:pt x="306" y="1080"/>
                  </a:lnTo>
                  <a:lnTo>
                    <a:pt x="312" y="1074"/>
                  </a:lnTo>
                  <a:lnTo>
                    <a:pt x="306" y="1068"/>
                  </a:lnTo>
                  <a:lnTo>
                    <a:pt x="300" y="1074"/>
                  </a:lnTo>
                  <a:lnTo>
                    <a:pt x="300" y="1068"/>
                  </a:lnTo>
                  <a:lnTo>
                    <a:pt x="294" y="1068"/>
                  </a:lnTo>
                  <a:lnTo>
                    <a:pt x="294" y="1056"/>
                  </a:lnTo>
                  <a:lnTo>
                    <a:pt x="294" y="1026"/>
                  </a:lnTo>
                  <a:lnTo>
                    <a:pt x="294" y="1020"/>
                  </a:lnTo>
                  <a:lnTo>
                    <a:pt x="294" y="1008"/>
                  </a:lnTo>
                  <a:lnTo>
                    <a:pt x="294" y="966"/>
                  </a:lnTo>
                  <a:lnTo>
                    <a:pt x="294" y="960"/>
                  </a:lnTo>
                  <a:lnTo>
                    <a:pt x="294" y="954"/>
                  </a:lnTo>
                  <a:lnTo>
                    <a:pt x="294" y="948"/>
                  </a:lnTo>
                  <a:lnTo>
                    <a:pt x="294" y="942"/>
                  </a:lnTo>
                  <a:lnTo>
                    <a:pt x="300" y="936"/>
                  </a:lnTo>
                  <a:lnTo>
                    <a:pt x="300" y="930"/>
                  </a:lnTo>
                  <a:lnTo>
                    <a:pt x="294" y="930"/>
                  </a:lnTo>
                  <a:lnTo>
                    <a:pt x="288" y="930"/>
                  </a:lnTo>
                  <a:lnTo>
                    <a:pt x="288" y="924"/>
                  </a:lnTo>
                  <a:lnTo>
                    <a:pt x="282" y="918"/>
                  </a:lnTo>
                  <a:lnTo>
                    <a:pt x="282" y="906"/>
                  </a:lnTo>
                  <a:lnTo>
                    <a:pt x="282" y="900"/>
                  </a:lnTo>
                  <a:lnTo>
                    <a:pt x="264" y="894"/>
                  </a:lnTo>
                  <a:lnTo>
                    <a:pt x="252" y="882"/>
                  </a:lnTo>
                  <a:lnTo>
                    <a:pt x="246" y="876"/>
                  </a:lnTo>
                  <a:lnTo>
                    <a:pt x="240" y="876"/>
                  </a:lnTo>
                  <a:lnTo>
                    <a:pt x="240" y="870"/>
                  </a:lnTo>
                  <a:lnTo>
                    <a:pt x="234" y="870"/>
                  </a:lnTo>
                  <a:lnTo>
                    <a:pt x="222" y="864"/>
                  </a:lnTo>
                  <a:lnTo>
                    <a:pt x="216" y="864"/>
                  </a:lnTo>
                  <a:lnTo>
                    <a:pt x="210" y="858"/>
                  </a:lnTo>
                  <a:lnTo>
                    <a:pt x="210" y="852"/>
                  </a:lnTo>
                  <a:lnTo>
                    <a:pt x="210" y="846"/>
                  </a:lnTo>
                  <a:lnTo>
                    <a:pt x="198" y="840"/>
                  </a:lnTo>
                  <a:lnTo>
                    <a:pt x="186" y="834"/>
                  </a:lnTo>
                  <a:lnTo>
                    <a:pt x="180" y="828"/>
                  </a:lnTo>
                  <a:lnTo>
                    <a:pt x="180" y="822"/>
                  </a:lnTo>
                  <a:lnTo>
                    <a:pt x="174" y="822"/>
                  </a:lnTo>
                  <a:lnTo>
                    <a:pt x="162" y="816"/>
                  </a:lnTo>
                  <a:lnTo>
                    <a:pt x="156" y="810"/>
                  </a:lnTo>
                  <a:lnTo>
                    <a:pt x="150" y="810"/>
                  </a:lnTo>
                  <a:lnTo>
                    <a:pt x="144" y="798"/>
                  </a:lnTo>
                  <a:lnTo>
                    <a:pt x="138" y="786"/>
                  </a:lnTo>
                  <a:lnTo>
                    <a:pt x="138" y="780"/>
                  </a:lnTo>
                  <a:lnTo>
                    <a:pt x="144" y="774"/>
                  </a:lnTo>
                  <a:lnTo>
                    <a:pt x="150" y="768"/>
                  </a:lnTo>
                  <a:lnTo>
                    <a:pt x="192" y="768"/>
                  </a:lnTo>
                  <a:lnTo>
                    <a:pt x="210" y="762"/>
                  </a:lnTo>
                  <a:lnTo>
                    <a:pt x="216" y="756"/>
                  </a:lnTo>
                  <a:lnTo>
                    <a:pt x="216" y="744"/>
                  </a:lnTo>
                  <a:lnTo>
                    <a:pt x="216" y="738"/>
                  </a:lnTo>
                  <a:lnTo>
                    <a:pt x="216" y="732"/>
                  </a:lnTo>
                  <a:lnTo>
                    <a:pt x="216" y="726"/>
                  </a:lnTo>
                  <a:lnTo>
                    <a:pt x="216" y="720"/>
                  </a:lnTo>
                  <a:lnTo>
                    <a:pt x="228" y="702"/>
                  </a:lnTo>
                  <a:lnTo>
                    <a:pt x="234" y="696"/>
                  </a:lnTo>
                  <a:lnTo>
                    <a:pt x="240" y="690"/>
                  </a:lnTo>
                  <a:lnTo>
                    <a:pt x="240" y="684"/>
                  </a:lnTo>
                  <a:lnTo>
                    <a:pt x="234" y="678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0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22" y="630"/>
                  </a:lnTo>
                  <a:lnTo>
                    <a:pt x="222" y="618"/>
                  </a:lnTo>
                  <a:lnTo>
                    <a:pt x="222" y="582"/>
                  </a:lnTo>
                  <a:lnTo>
                    <a:pt x="228" y="582"/>
                  </a:lnTo>
                  <a:lnTo>
                    <a:pt x="222" y="564"/>
                  </a:lnTo>
                  <a:lnTo>
                    <a:pt x="210" y="552"/>
                  </a:lnTo>
                  <a:lnTo>
                    <a:pt x="192" y="540"/>
                  </a:lnTo>
                  <a:lnTo>
                    <a:pt x="174" y="540"/>
                  </a:lnTo>
                  <a:lnTo>
                    <a:pt x="150" y="534"/>
                  </a:lnTo>
                  <a:lnTo>
                    <a:pt x="126" y="528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90" y="516"/>
                  </a:lnTo>
                  <a:lnTo>
                    <a:pt x="78" y="504"/>
                  </a:lnTo>
                  <a:lnTo>
                    <a:pt x="72" y="498"/>
                  </a:lnTo>
                  <a:lnTo>
                    <a:pt x="66" y="486"/>
                  </a:lnTo>
                  <a:lnTo>
                    <a:pt x="54" y="468"/>
                  </a:lnTo>
                  <a:lnTo>
                    <a:pt x="54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42" y="438"/>
                  </a:lnTo>
                  <a:lnTo>
                    <a:pt x="36" y="438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24" y="384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2" y="360"/>
                  </a:lnTo>
                  <a:lnTo>
                    <a:pt x="6" y="360"/>
                  </a:lnTo>
                  <a:lnTo>
                    <a:pt x="0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0"/>
                  </a:lnTo>
                  <a:lnTo>
                    <a:pt x="18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8" y="270"/>
                  </a:lnTo>
                  <a:lnTo>
                    <a:pt x="90" y="276"/>
                  </a:lnTo>
                  <a:lnTo>
                    <a:pt x="108" y="294"/>
                  </a:lnTo>
                  <a:lnTo>
                    <a:pt x="114" y="294"/>
                  </a:lnTo>
                  <a:lnTo>
                    <a:pt x="114" y="276"/>
                  </a:lnTo>
                  <a:lnTo>
                    <a:pt x="114" y="270"/>
                  </a:lnTo>
                  <a:lnTo>
                    <a:pt x="102" y="258"/>
                  </a:lnTo>
                  <a:lnTo>
                    <a:pt x="96" y="246"/>
                  </a:lnTo>
                  <a:lnTo>
                    <a:pt x="90" y="234"/>
                  </a:lnTo>
                  <a:lnTo>
                    <a:pt x="78" y="228"/>
                  </a:lnTo>
                  <a:lnTo>
                    <a:pt x="72" y="216"/>
                  </a:lnTo>
                  <a:lnTo>
                    <a:pt x="66" y="192"/>
                  </a:lnTo>
                  <a:lnTo>
                    <a:pt x="90" y="174"/>
                  </a:lnTo>
                  <a:lnTo>
                    <a:pt x="120" y="150"/>
                  </a:lnTo>
                  <a:lnTo>
                    <a:pt x="132" y="150"/>
                  </a:lnTo>
                  <a:lnTo>
                    <a:pt x="138" y="144"/>
                  </a:lnTo>
                  <a:lnTo>
                    <a:pt x="138" y="138"/>
                  </a:lnTo>
                  <a:lnTo>
                    <a:pt x="156" y="126"/>
                  </a:lnTo>
                  <a:lnTo>
                    <a:pt x="180" y="114"/>
                  </a:lnTo>
                  <a:lnTo>
                    <a:pt x="216" y="114"/>
                  </a:lnTo>
                  <a:lnTo>
                    <a:pt x="222" y="114"/>
                  </a:lnTo>
                  <a:lnTo>
                    <a:pt x="222" y="120"/>
                  </a:lnTo>
                  <a:lnTo>
                    <a:pt x="222" y="126"/>
                  </a:lnTo>
                  <a:lnTo>
                    <a:pt x="222" y="132"/>
                  </a:lnTo>
                  <a:lnTo>
                    <a:pt x="228" y="138"/>
                  </a:lnTo>
                  <a:lnTo>
                    <a:pt x="228" y="144"/>
                  </a:lnTo>
                  <a:lnTo>
                    <a:pt x="228" y="150"/>
                  </a:lnTo>
                  <a:lnTo>
                    <a:pt x="234" y="150"/>
                  </a:lnTo>
                  <a:lnTo>
                    <a:pt x="234" y="144"/>
                  </a:lnTo>
                  <a:lnTo>
                    <a:pt x="240" y="144"/>
                  </a:lnTo>
                  <a:lnTo>
                    <a:pt x="246" y="144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58" y="126"/>
                  </a:lnTo>
                  <a:lnTo>
                    <a:pt x="258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76" y="96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6" y="72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36"/>
                  </a:lnTo>
                  <a:lnTo>
                    <a:pt x="330" y="24"/>
                  </a:lnTo>
                  <a:lnTo>
                    <a:pt x="330" y="18"/>
                  </a:lnTo>
                  <a:lnTo>
                    <a:pt x="330" y="12"/>
                  </a:lnTo>
                  <a:lnTo>
                    <a:pt x="336" y="6"/>
                  </a:lnTo>
                  <a:lnTo>
                    <a:pt x="366" y="0"/>
                  </a:lnTo>
                  <a:lnTo>
                    <a:pt x="372" y="6"/>
                  </a:lnTo>
                  <a:lnTo>
                    <a:pt x="384" y="12"/>
                  </a:lnTo>
                  <a:lnTo>
                    <a:pt x="402" y="12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18"/>
                  </a:lnTo>
                  <a:lnTo>
                    <a:pt x="420" y="18"/>
                  </a:lnTo>
                  <a:lnTo>
                    <a:pt x="426" y="24"/>
                  </a:lnTo>
                  <a:lnTo>
                    <a:pt x="432" y="30"/>
                  </a:lnTo>
                  <a:lnTo>
                    <a:pt x="438" y="36"/>
                  </a:lnTo>
                  <a:lnTo>
                    <a:pt x="444" y="42"/>
                  </a:lnTo>
                  <a:lnTo>
                    <a:pt x="450" y="42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16" y="78"/>
                  </a:lnTo>
                  <a:lnTo>
                    <a:pt x="522" y="102"/>
                  </a:lnTo>
                  <a:lnTo>
                    <a:pt x="522" y="108"/>
                  </a:lnTo>
                  <a:lnTo>
                    <a:pt x="528" y="126"/>
                  </a:lnTo>
                  <a:lnTo>
                    <a:pt x="534" y="126"/>
                  </a:lnTo>
                  <a:lnTo>
                    <a:pt x="540" y="120"/>
                  </a:lnTo>
                  <a:lnTo>
                    <a:pt x="546" y="126"/>
                  </a:lnTo>
                  <a:lnTo>
                    <a:pt x="552" y="126"/>
                  </a:lnTo>
                  <a:lnTo>
                    <a:pt x="558" y="132"/>
                  </a:lnTo>
                  <a:lnTo>
                    <a:pt x="564" y="138"/>
                  </a:lnTo>
                  <a:lnTo>
                    <a:pt x="570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594" y="168"/>
                  </a:lnTo>
                  <a:lnTo>
                    <a:pt x="600" y="174"/>
                  </a:lnTo>
                  <a:lnTo>
                    <a:pt x="606" y="180"/>
                  </a:lnTo>
                  <a:lnTo>
                    <a:pt x="606" y="186"/>
                  </a:lnTo>
                  <a:lnTo>
                    <a:pt x="612" y="192"/>
                  </a:lnTo>
                  <a:lnTo>
                    <a:pt x="612" y="198"/>
                  </a:lnTo>
                  <a:lnTo>
                    <a:pt x="624" y="204"/>
                  </a:lnTo>
                  <a:lnTo>
                    <a:pt x="624" y="210"/>
                  </a:lnTo>
                  <a:lnTo>
                    <a:pt x="630" y="216"/>
                  </a:lnTo>
                  <a:lnTo>
                    <a:pt x="636" y="222"/>
                  </a:lnTo>
                  <a:lnTo>
                    <a:pt x="636" y="228"/>
                  </a:lnTo>
                  <a:lnTo>
                    <a:pt x="636" y="234"/>
                  </a:lnTo>
                  <a:lnTo>
                    <a:pt x="636" y="252"/>
                  </a:lnTo>
                  <a:lnTo>
                    <a:pt x="636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42" y="276"/>
                  </a:lnTo>
                  <a:lnTo>
                    <a:pt x="642" y="282"/>
                  </a:lnTo>
                  <a:lnTo>
                    <a:pt x="642" y="288"/>
                  </a:lnTo>
                  <a:lnTo>
                    <a:pt x="642" y="300"/>
                  </a:lnTo>
                  <a:lnTo>
                    <a:pt x="642" y="306"/>
                  </a:lnTo>
                  <a:lnTo>
                    <a:pt x="636" y="312"/>
                  </a:lnTo>
                  <a:lnTo>
                    <a:pt x="636" y="324"/>
                  </a:lnTo>
                  <a:lnTo>
                    <a:pt x="636" y="342"/>
                  </a:lnTo>
                  <a:lnTo>
                    <a:pt x="630" y="354"/>
                  </a:lnTo>
                  <a:lnTo>
                    <a:pt x="630" y="366"/>
                  </a:lnTo>
                  <a:lnTo>
                    <a:pt x="624" y="378"/>
                  </a:lnTo>
                  <a:lnTo>
                    <a:pt x="624" y="384"/>
                  </a:lnTo>
                  <a:lnTo>
                    <a:pt x="636" y="396"/>
                  </a:lnTo>
                  <a:lnTo>
                    <a:pt x="636" y="402"/>
                  </a:lnTo>
                  <a:lnTo>
                    <a:pt x="636" y="408"/>
                  </a:lnTo>
                  <a:lnTo>
                    <a:pt x="630" y="414"/>
                  </a:lnTo>
                  <a:lnTo>
                    <a:pt x="630" y="420"/>
                  </a:lnTo>
                  <a:lnTo>
                    <a:pt x="630" y="426"/>
                  </a:lnTo>
                  <a:lnTo>
                    <a:pt x="630" y="432"/>
                  </a:lnTo>
                  <a:lnTo>
                    <a:pt x="624" y="438"/>
                  </a:lnTo>
                  <a:lnTo>
                    <a:pt x="624" y="444"/>
                  </a:lnTo>
                  <a:lnTo>
                    <a:pt x="624" y="450"/>
                  </a:lnTo>
                  <a:lnTo>
                    <a:pt x="630" y="450"/>
                  </a:lnTo>
                  <a:lnTo>
                    <a:pt x="630" y="456"/>
                  </a:lnTo>
                  <a:lnTo>
                    <a:pt x="630" y="462"/>
                  </a:lnTo>
                  <a:lnTo>
                    <a:pt x="636" y="468"/>
                  </a:lnTo>
                  <a:lnTo>
                    <a:pt x="642" y="456"/>
                  </a:lnTo>
                  <a:lnTo>
                    <a:pt x="642" y="450"/>
                  </a:lnTo>
                  <a:lnTo>
                    <a:pt x="648" y="450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60" y="444"/>
                  </a:lnTo>
                  <a:lnTo>
                    <a:pt x="666" y="450"/>
                  </a:lnTo>
                  <a:lnTo>
                    <a:pt x="672" y="444"/>
                  </a:lnTo>
                  <a:lnTo>
                    <a:pt x="678" y="444"/>
                  </a:lnTo>
                  <a:lnTo>
                    <a:pt x="684" y="438"/>
                  </a:lnTo>
                  <a:lnTo>
                    <a:pt x="690" y="438"/>
                  </a:lnTo>
                  <a:lnTo>
                    <a:pt x="696" y="438"/>
                  </a:lnTo>
                  <a:lnTo>
                    <a:pt x="702" y="444"/>
                  </a:lnTo>
                  <a:lnTo>
                    <a:pt x="702" y="450"/>
                  </a:lnTo>
                  <a:lnTo>
                    <a:pt x="708" y="450"/>
                  </a:lnTo>
                  <a:lnTo>
                    <a:pt x="708" y="456"/>
                  </a:lnTo>
                  <a:lnTo>
                    <a:pt x="708" y="462"/>
                  </a:lnTo>
                  <a:lnTo>
                    <a:pt x="708" y="468"/>
                  </a:lnTo>
                  <a:lnTo>
                    <a:pt x="708" y="504"/>
                  </a:lnTo>
                  <a:lnTo>
                    <a:pt x="696" y="564"/>
                  </a:lnTo>
                  <a:lnTo>
                    <a:pt x="696" y="582"/>
                  </a:lnTo>
                  <a:lnTo>
                    <a:pt x="696" y="600"/>
                  </a:lnTo>
                  <a:lnTo>
                    <a:pt x="690" y="606"/>
                  </a:lnTo>
                  <a:lnTo>
                    <a:pt x="684" y="606"/>
                  </a:lnTo>
                  <a:lnTo>
                    <a:pt x="690" y="612"/>
                  </a:lnTo>
                  <a:lnTo>
                    <a:pt x="684" y="612"/>
                  </a:lnTo>
                  <a:lnTo>
                    <a:pt x="678" y="618"/>
                  </a:lnTo>
                  <a:lnTo>
                    <a:pt x="672" y="624"/>
                  </a:lnTo>
                  <a:lnTo>
                    <a:pt x="666" y="630"/>
                  </a:lnTo>
                  <a:lnTo>
                    <a:pt x="660" y="636"/>
                  </a:lnTo>
                  <a:lnTo>
                    <a:pt x="672" y="636"/>
                  </a:lnTo>
                  <a:lnTo>
                    <a:pt x="678" y="642"/>
                  </a:lnTo>
                  <a:lnTo>
                    <a:pt x="678" y="648"/>
                  </a:lnTo>
                  <a:lnTo>
                    <a:pt x="684" y="654"/>
                  </a:lnTo>
                  <a:lnTo>
                    <a:pt x="690" y="666"/>
                  </a:lnTo>
                  <a:lnTo>
                    <a:pt x="690" y="672"/>
                  </a:lnTo>
                  <a:lnTo>
                    <a:pt x="696" y="672"/>
                  </a:lnTo>
                  <a:lnTo>
                    <a:pt x="696" y="684"/>
                  </a:lnTo>
                  <a:lnTo>
                    <a:pt x="708" y="690"/>
                  </a:lnTo>
                  <a:lnTo>
                    <a:pt x="720" y="696"/>
                  </a:lnTo>
                  <a:lnTo>
                    <a:pt x="726" y="696"/>
                  </a:lnTo>
                  <a:lnTo>
                    <a:pt x="732" y="696"/>
                  </a:lnTo>
                  <a:lnTo>
                    <a:pt x="738" y="696"/>
                  </a:lnTo>
                  <a:lnTo>
                    <a:pt x="738" y="702"/>
                  </a:lnTo>
                  <a:lnTo>
                    <a:pt x="738" y="708"/>
                  </a:lnTo>
                  <a:lnTo>
                    <a:pt x="738" y="714"/>
                  </a:lnTo>
                  <a:lnTo>
                    <a:pt x="744" y="714"/>
                  </a:lnTo>
                  <a:lnTo>
                    <a:pt x="756" y="720"/>
                  </a:lnTo>
                  <a:lnTo>
                    <a:pt x="780" y="726"/>
                  </a:lnTo>
                  <a:lnTo>
                    <a:pt x="792" y="732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22" y="774"/>
                  </a:lnTo>
                  <a:lnTo>
                    <a:pt x="834" y="786"/>
                  </a:lnTo>
                  <a:lnTo>
                    <a:pt x="834" y="792"/>
                  </a:lnTo>
                  <a:lnTo>
                    <a:pt x="834" y="798"/>
                  </a:lnTo>
                  <a:lnTo>
                    <a:pt x="828" y="798"/>
                  </a:lnTo>
                  <a:lnTo>
                    <a:pt x="828" y="804"/>
                  </a:lnTo>
                  <a:lnTo>
                    <a:pt x="834" y="816"/>
                  </a:lnTo>
                  <a:lnTo>
                    <a:pt x="834" y="834"/>
                  </a:lnTo>
                  <a:lnTo>
                    <a:pt x="834" y="840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34" y="858"/>
                  </a:lnTo>
                  <a:lnTo>
                    <a:pt x="834" y="864"/>
                  </a:lnTo>
                  <a:lnTo>
                    <a:pt x="834" y="876"/>
                  </a:lnTo>
                  <a:lnTo>
                    <a:pt x="828" y="960"/>
                  </a:lnTo>
                  <a:lnTo>
                    <a:pt x="816" y="966"/>
                  </a:lnTo>
                  <a:lnTo>
                    <a:pt x="798" y="972"/>
                  </a:lnTo>
                  <a:lnTo>
                    <a:pt x="786" y="990"/>
                  </a:lnTo>
                  <a:lnTo>
                    <a:pt x="774" y="990"/>
                  </a:lnTo>
                  <a:lnTo>
                    <a:pt x="762" y="1008"/>
                  </a:lnTo>
                  <a:lnTo>
                    <a:pt x="732" y="1014"/>
                  </a:lnTo>
                  <a:lnTo>
                    <a:pt x="714" y="1026"/>
                  </a:lnTo>
                  <a:lnTo>
                    <a:pt x="690" y="1050"/>
                  </a:lnTo>
                  <a:lnTo>
                    <a:pt x="654" y="1056"/>
                  </a:lnTo>
                  <a:lnTo>
                    <a:pt x="630" y="1056"/>
                  </a:lnTo>
                  <a:lnTo>
                    <a:pt x="606" y="1068"/>
                  </a:lnTo>
                  <a:lnTo>
                    <a:pt x="600" y="1092"/>
                  </a:lnTo>
                  <a:lnTo>
                    <a:pt x="600" y="1098"/>
                  </a:lnTo>
                  <a:lnTo>
                    <a:pt x="588" y="1104"/>
                  </a:lnTo>
                  <a:lnTo>
                    <a:pt x="582" y="1104"/>
                  </a:lnTo>
                  <a:lnTo>
                    <a:pt x="570" y="1110"/>
                  </a:lnTo>
                  <a:lnTo>
                    <a:pt x="564" y="111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7" name="Freeform 12">
              <a:extLst>
                <a:ext uri="{FF2B5EF4-FFF2-40B4-BE49-F238E27FC236}">
                  <a16:creationId xmlns:a16="http://schemas.microsoft.com/office/drawing/2014/main" id="{6C93C114-E5D0-49BB-A44C-A127CE01CFE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810" y="2271838"/>
              <a:ext cx="923547" cy="845397"/>
            </a:xfrm>
            <a:custGeom>
              <a:avLst/>
              <a:gdLst>
                <a:gd name="T0" fmla="*/ 138 w 1740"/>
                <a:gd name="T1" fmla="*/ 134 h 1590"/>
                <a:gd name="T2" fmla="*/ 128 w 1740"/>
                <a:gd name="T3" fmla="*/ 131 h 1590"/>
                <a:gd name="T4" fmla="*/ 121 w 1740"/>
                <a:gd name="T5" fmla="*/ 130 h 1590"/>
                <a:gd name="T6" fmla="*/ 119 w 1740"/>
                <a:gd name="T7" fmla="*/ 134 h 1590"/>
                <a:gd name="T8" fmla="*/ 110 w 1740"/>
                <a:gd name="T9" fmla="*/ 132 h 1590"/>
                <a:gd name="T10" fmla="*/ 111 w 1740"/>
                <a:gd name="T11" fmla="*/ 127 h 1590"/>
                <a:gd name="T12" fmla="*/ 103 w 1740"/>
                <a:gd name="T13" fmla="*/ 117 h 1590"/>
                <a:gd name="T14" fmla="*/ 93 w 1740"/>
                <a:gd name="T15" fmla="*/ 123 h 1590"/>
                <a:gd name="T16" fmla="*/ 80 w 1740"/>
                <a:gd name="T17" fmla="*/ 118 h 1590"/>
                <a:gd name="T18" fmla="*/ 66 w 1740"/>
                <a:gd name="T19" fmla="*/ 117 h 1590"/>
                <a:gd name="T20" fmla="*/ 66 w 1740"/>
                <a:gd name="T21" fmla="*/ 110 h 1590"/>
                <a:gd name="T22" fmla="*/ 69 w 1740"/>
                <a:gd name="T23" fmla="*/ 107 h 1590"/>
                <a:gd name="T24" fmla="*/ 68 w 1740"/>
                <a:gd name="T25" fmla="*/ 102 h 1590"/>
                <a:gd name="T26" fmla="*/ 68 w 1740"/>
                <a:gd name="T27" fmla="*/ 96 h 1590"/>
                <a:gd name="T28" fmla="*/ 67 w 1740"/>
                <a:gd name="T29" fmla="*/ 82 h 1590"/>
                <a:gd name="T30" fmla="*/ 58 w 1740"/>
                <a:gd name="T31" fmla="*/ 82 h 1590"/>
                <a:gd name="T32" fmla="*/ 52 w 1740"/>
                <a:gd name="T33" fmla="*/ 82 h 1590"/>
                <a:gd name="T34" fmla="*/ 46 w 1740"/>
                <a:gd name="T35" fmla="*/ 80 h 1590"/>
                <a:gd name="T36" fmla="*/ 45 w 1740"/>
                <a:gd name="T37" fmla="*/ 74 h 1590"/>
                <a:gd name="T38" fmla="*/ 52 w 1740"/>
                <a:gd name="T39" fmla="*/ 70 h 1590"/>
                <a:gd name="T40" fmla="*/ 52 w 1740"/>
                <a:gd name="T41" fmla="*/ 64 h 1590"/>
                <a:gd name="T42" fmla="*/ 42 w 1740"/>
                <a:gd name="T43" fmla="*/ 53 h 1590"/>
                <a:gd name="T44" fmla="*/ 35 w 1740"/>
                <a:gd name="T45" fmla="*/ 52 h 1590"/>
                <a:gd name="T46" fmla="*/ 20 w 1740"/>
                <a:gd name="T47" fmla="*/ 51 h 1590"/>
                <a:gd name="T48" fmla="*/ 17 w 1740"/>
                <a:gd name="T49" fmla="*/ 56 h 1590"/>
                <a:gd name="T50" fmla="*/ 11 w 1740"/>
                <a:gd name="T51" fmla="*/ 61 h 1590"/>
                <a:gd name="T52" fmla="*/ 7 w 1740"/>
                <a:gd name="T53" fmla="*/ 63 h 1590"/>
                <a:gd name="T54" fmla="*/ 0 w 1740"/>
                <a:gd name="T55" fmla="*/ 55 h 1590"/>
                <a:gd name="T56" fmla="*/ 2 w 1740"/>
                <a:gd name="T57" fmla="*/ 50 h 1590"/>
                <a:gd name="T58" fmla="*/ 0 w 1740"/>
                <a:gd name="T59" fmla="*/ 44 h 1590"/>
                <a:gd name="T60" fmla="*/ 2 w 1740"/>
                <a:gd name="T61" fmla="*/ 38 h 1590"/>
                <a:gd name="T62" fmla="*/ 7 w 1740"/>
                <a:gd name="T63" fmla="*/ 35 h 1590"/>
                <a:gd name="T64" fmla="*/ 11 w 1740"/>
                <a:gd name="T65" fmla="*/ 30 h 1590"/>
                <a:gd name="T66" fmla="*/ 21 w 1740"/>
                <a:gd name="T67" fmla="*/ 26 h 1590"/>
                <a:gd name="T68" fmla="*/ 29 w 1740"/>
                <a:gd name="T69" fmla="*/ 25 h 1590"/>
                <a:gd name="T70" fmla="*/ 35 w 1740"/>
                <a:gd name="T71" fmla="*/ 21 h 1590"/>
                <a:gd name="T72" fmla="*/ 36 w 1740"/>
                <a:gd name="T73" fmla="*/ 16 h 1590"/>
                <a:gd name="T74" fmla="*/ 41 w 1740"/>
                <a:gd name="T75" fmla="*/ 11 h 1590"/>
                <a:gd name="T76" fmla="*/ 51 w 1740"/>
                <a:gd name="T77" fmla="*/ 9 h 1590"/>
                <a:gd name="T78" fmla="*/ 59 w 1740"/>
                <a:gd name="T79" fmla="*/ 21 h 1590"/>
                <a:gd name="T80" fmla="*/ 65 w 1740"/>
                <a:gd name="T81" fmla="*/ 13 h 1590"/>
                <a:gd name="T82" fmla="*/ 73 w 1740"/>
                <a:gd name="T83" fmla="*/ 8 h 1590"/>
                <a:gd name="T84" fmla="*/ 82 w 1740"/>
                <a:gd name="T85" fmla="*/ 12 h 1590"/>
                <a:gd name="T86" fmla="*/ 88 w 1740"/>
                <a:gd name="T87" fmla="*/ 12 h 1590"/>
                <a:gd name="T88" fmla="*/ 99 w 1740"/>
                <a:gd name="T89" fmla="*/ 7 h 1590"/>
                <a:gd name="T90" fmla="*/ 114 w 1740"/>
                <a:gd name="T91" fmla="*/ 0 h 1590"/>
                <a:gd name="T92" fmla="*/ 117 w 1740"/>
                <a:gd name="T93" fmla="*/ 10 h 1590"/>
                <a:gd name="T94" fmla="*/ 132 w 1740"/>
                <a:gd name="T95" fmla="*/ 17 h 1590"/>
                <a:gd name="T96" fmla="*/ 140 w 1740"/>
                <a:gd name="T97" fmla="*/ 25 h 1590"/>
                <a:gd name="T98" fmla="*/ 140 w 1740"/>
                <a:gd name="T99" fmla="*/ 33 h 1590"/>
                <a:gd name="T100" fmla="*/ 140 w 1740"/>
                <a:gd name="T101" fmla="*/ 44 h 1590"/>
                <a:gd name="T102" fmla="*/ 138 w 1740"/>
                <a:gd name="T103" fmla="*/ 48 h 1590"/>
                <a:gd name="T104" fmla="*/ 141 w 1740"/>
                <a:gd name="T105" fmla="*/ 49 h 1590"/>
                <a:gd name="T106" fmla="*/ 146 w 1740"/>
                <a:gd name="T107" fmla="*/ 50 h 1590"/>
                <a:gd name="T108" fmla="*/ 149 w 1740"/>
                <a:gd name="T109" fmla="*/ 59 h 1590"/>
                <a:gd name="T110" fmla="*/ 148 w 1740"/>
                <a:gd name="T111" fmla="*/ 67 h 1590"/>
                <a:gd name="T112" fmla="*/ 141 w 1740"/>
                <a:gd name="T113" fmla="*/ 78 h 1590"/>
                <a:gd name="T114" fmla="*/ 141 w 1740"/>
                <a:gd name="T115" fmla="*/ 91 h 1590"/>
                <a:gd name="T116" fmla="*/ 138 w 1740"/>
                <a:gd name="T117" fmla="*/ 102 h 1590"/>
                <a:gd name="T118" fmla="*/ 138 w 1740"/>
                <a:gd name="T119" fmla="*/ 110 h 1590"/>
                <a:gd name="T120" fmla="*/ 144 w 1740"/>
                <a:gd name="T121" fmla="*/ 118 h 1590"/>
                <a:gd name="T122" fmla="*/ 143 w 1740"/>
                <a:gd name="T123" fmla="*/ 125 h 159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740"/>
                <a:gd name="T187" fmla="*/ 0 h 1590"/>
                <a:gd name="T188" fmla="*/ 1740 w 1740"/>
                <a:gd name="T189" fmla="*/ 1590 h 159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740" h="1590">
                  <a:moveTo>
                    <a:pt x="1638" y="1458"/>
                  </a:moveTo>
                  <a:lnTo>
                    <a:pt x="1638" y="1482"/>
                  </a:lnTo>
                  <a:lnTo>
                    <a:pt x="1638" y="1500"/>
                  </a:lnTo>
                  <a:lnTo>
                    <a:pt x="1626" y="1500"/>
                  </a:lnTo>
                  <a:lnTo>
                    <a:pt x="1620" y="1500"/>
                  </a:lnTo>
                  <a:lnTo>
                    <a:pt x="1614" y="1500"/>
                  </a:lnTo>
                  <a:lnTo>
                    <a:pt x="1614" y="1506"/>
                  </a:lnTo>
                  <a:lnTo>
                    <a:pt x="1614" y="1512"/>
                  </a:lnTo>
                  <a:lnTo>
                    <a:pt x="1620" y="1518"/>
                  </a:lnTo>
                  <a:lnTo>
                    <a:pt x="1614" y="1524"/>
                  </a:lnTo>
                  <a:lnTo>
                    <a:pt x="1590" y="1536"/>
                  </a:lnTo>
                  <a:lnTo>
                    <a:pt x="1584" y="1566"/>
                  </a:lnTo>
                  <a:lnTo>
                    <a:pt x="1578" y="1590"/>
                  </a:lnTo>
                  <a:lnTo>
                    <a:pt x="1548" y="1590"/>
                  </a:lnTo>
                  <a:lnTo>
                    <a:pt x="1542" y="1584"/>
                  </a:lnTo>
                  <a:lnTo>
                    <a:pt x="1542" y="1572"/>
                  </a:lnTo>
                  <a:lnTo>
                    <a:pt x="1536" y="1566"/>
                  </a:lnTo>
                  <a:lnTo>
                    <a:pt x="1536" y="1554"/>
                  </a:lnTo>
                  <a:lnTo>
                    <a:pt x="1536" y="1548"/>
                  </a:lnTo>
                  <a:lnTo>
                    <a:pt x="1506" y="1530"/>
                  </a:lnTo>
                  <a:lnTo>
                    <a:pt x="1488" y="1506"/>
                  </a:lnTo>
                  <a:lnTo>
                    <a:pt x="1464" y="1500"/>
                  </a:lnTo>
                  <a:lnTo>
                    <a:pt x="1470" y="1494"/>
                  </a:lnTo>
                  <a:lnTo>
                    <a:pt x="1470" y="1488"/>
                  </a:lnTo>
                  <a:lnTo>
                    <a:pt x="1470" y="1482"/>
                  </a:lnTo>
                  <a:lnTo>
                    <a:pt x="1428" y="1464"/>
                  </a:lnTo>
                  <a:lnTo>
                    <a:pt x="1404" y="1470"/>
                  </a:lnTo>
                  <a:lnTo>
                    <a:pt x="1398" y="1470"/>
                  </a:lnTo>
                  <a:lnTo>
                    <a:pt x="1392" y="1476"/>
                  </a:lnTo>
                  <a:lnTo>
                    <a:pt x="1386" y="1476"/>
                  </a:lnTo>
                  <a:lnTo>
                    <a:pt x="1386" y="1482"/>
                  </a:lnTo>
                  <a:lnTo>
                    <a:pt x="1392" y="1482"/>
                  </a:lnTo>
                  <a:lnTo>
                    <a:pt x="1386" y="1488"/>
                  </a:lnTo>
                  <a:lnTo>
                    <a:pt x="1386" y="1494"/>
                  </a:lnTo>
                  <a:lnTo>
                    <a:pt x="1380" y="1494"/>
                  </a:lnTo>
                  <a:lnTo>
                    <a:pt x="1380" y="1500"/>
                  </a:lnTo>
                  <a:lnTo>
                    <a:pt x="1380" y="1512"/>
                  </a:lnTo>
                  <a:lnTo>
                    <a:pt x="1380" y="1518"/>
                  </a:lnTo>
                  <a:lnTo>
                    <a:pt x="1380" y="1524"/>
                  </a:lnTo>
                  <a:lnTo>
                    <a:pt x="1380" y="1530"/>
                  </a:lnTo>
                  <a:lnTo>
                    <a:pt x="1374" y="1536"/>
                  </a:lnTo>
                  <a:lnTo>
                    <a:pt x="1374" y="1542"/>
                  </a:lnTo>
                  <a:lnTo>
                    <a:pt x="1368" y="1542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44" y="1554"/>
                  </a:lnTo>
                  <a:lnTo>
                    <a:pt x="1332" y="1560"/>
                  </a:lnTo>
                  <a:lnTo>
                    <a:pt x="1302" y="1554"/>
                  </a:lnTo>
                  <a:lnTo>
                    <a:pt x="1290" y="1554"/>
                  </a:lnTo>
                  <a:lnTo>
                    <a:pt x="1278" y="1542"/>
                  </a:lnTo>
                  <a:lnTo>
                    <a:pt x="1272" y="1530"/>
                  </a:lnTo>
                  <a:lnTo>
                    <a:pt x="1272" y="1524"/>
                  </a:lnTo>
                  <a:lnTo>
                    <a:pt x="1272" y="1518"/>
                  </a:lnTo>
                  <a:lnTo>
                    <a:pt x="1266" y="1518"/>
                  </a:lnTo>
                  <a:lnTo>
                    <a:pt x="1266" y="1512"/>
                  </a:lnTo>
                  <a:lnTo>
                    <a:pt x="1266" y="1506"/>
                  </a:lnTo>
                  <a:lnTo>
                    <a:pt x="1272" y="1506"/>
                  </a:lnTo>
                  <a:lnTo>
                    <a:pt x="1272" y="1500"/>
                  </a:lnTo>
                  <a:lnTo>
                    <a:pt x="1278" y="1500"/>
                  </a:lnTo>
                  <a:lnTo>
                    <a:pt x="1278" y="1494"/>
                  </a:lnTo>
                  <a:lnTo>
                    <a:pt x="1278" y="1488"/>
                  </a:lnTo>
                  <a:lnTo>
                    <a:pt x="1284" y="1488"/>
                  </a:lnTo>
                  <a:lnTo>
                    <a:pt x="1284" y="1482"/>
                  </a:lnTo>
                  <a:lnTo>
                    <a:pt x="1290" y="1476"/>
                  </a:lnTo>
                  <a:lnTo>
                    <a:pt x="1284" y="1470"/>
                  </a:lnTo>
                  <a:lnTo>
                    <a:pt x="1278" y="1458"/>
                  </a:lnTo>
                  <a:lnTo>
                    <a:pt x="1278" y="1452"/>
                  </a:lnTo>
                  <a:lnTo>
                    <a:pt x="1260" y="1428"/>
                  </a:lnTo>
                  <a:lnTo>
                    <a:pt x="1254" y="1416"/>
                  </a:lnTo>
                  <a:lnTo>
                    <a:pt x="1254" y="1410"/>
                  </a:lnTo>
                  <a:lnTo>
                    <a:pt x="1248" y="1398"/>
                  </a:lnTo>
                  <a:lnTo>
                    <a:pt x="1242" y="1398"/>
                  </a:lnTo>
                  <a:lnTo>
                    <a:pt x="1236" y="1398"/>
                  </a:lnTo>
                  <a:lnTo>
                    <a:pt x="1218" y="1386"/>
                  </a:lnTo>
                  <a:lnTo>
                    <a:pt x="1212" y="1362"/>
                  </a:lnTo>
                  <a:lnTo>
                    <a:pt x="1200" y="1344"/>
                  </a:lnTo>
                  <a:lnTo>
                    <a:pt x="1188" y="1338"/>
                  </a:lnTo>
                  <a:lnTo>
                    <a:pt x="1164" y="1338"/>
                  </a:lnTo>
                  <a:lnTo>
                    <a:pt x="1158" y="1344"/>
                  </a:lnTo>
                  <a:lnTo>
                    <a:pt x="1152" y="1350"/>
                  </a:lnTo>
                  <a:lnTo>
                    <a:pt x="1152" y="1356"/>
                  </a:lnTo>
                  <a:lnTo>
                    <a:pt x="1140" y="1362"/>
                  </a:lnTo>
                  <a:lnTo>
                    <a:pt x="1134" y="1380"/>
                  </a:lnTo>
                  <a:lnTo>
                    <a:pt x="1116" y="1398"/>
                  </a:lnTo>
                  <a:lnTo>
                    <a:pt x="1110" y="1416"/>
                  </a:lnTo>
                  <a:lnTo>
                    <a:pt x="1086" y="1416"/>
                  </a:lnTo>
                  <a:lnTo>
                    <a:pt x="1080" y="1410"/>
                  </a:lnTo>
                  <a:lnTo>
                    <a:pt x="1074" y="1410"/>
                  </a:lnTo>
                  <a:lnTo>
                    <a:pt x="1074" y="1404"/>
                  </a:lnTo>
                  <a:lnTo>
                    <a:pt x="1062" y="1404"/>
                  </a:lnTo>
                  <a:lnTo>
                    <a:pt x="1062" y="1380"/>
                  </a:lnTo>
                  <a:lnTo>
                    <a:pt x="1038" y="1380"/>
                  </a:lnTo>
                  <a:lnTo>
                    <a:pt x="1026" y="1350"/>
                  </a:lnTo>
                  <a:lnTo>
                    <a:pt x="996" y="1326"/>
                  </a:lnTo>
                  <a:lnTo>
                    <a:pt x="966" y="1314"/>
                  </a:lnTo>
                  <a:lnTo>
                    <a:pt x="954" y="1320"/>
                  </a:lnTo>
                  <a:lnTo>
                    <a:pt x="942" y="1338"/>
                  </a:lnTo>
                  <a:lnTo>
                    <a:pt x="930" y="1338"/>
                  </a:lnTo>
                  <a:lnTo>
                    <a:pt x="924" y="1350"/>
                  </a:lnTo>
                  <a:lnTo>
                    <a:pt x="906" y="1356"/>
                  </a:lnTo>
                  <a:lnTo>
                    <a:pt x="846" y="1356"/>
                  </a:lnTo>
                  <a:lnTo>
                    <a:pt x="834" y="1368"/>
                  </a:lnTo>
                  <a:lnTo>
                    <a:pt x="810" y="1362"/>
                  </a:lnTo>
                  <a:lnTo>
                    <a:pt x="792" y="1362"/>
                  </a:lnTo>
                  <a:lnTo>
                    <a:pt x="780" y="1368"/>
                  </a:lnTo>
                  <a:lnTo>
                    <a:pt x="762" y="1368"/>
                  </a:lnTo>
                  <a:lnTo>
                    <a:pt x="762" y="1362"/>
                  </a:lnTo>
                  <a:lnTo>
                    <a:pt x="750" y="1362"/>
                  </a:lnTo>
                  <a:lnTo>
                    <a:pt x="750" y="1338"/>
                  </a:lnTo>
                  <a:lnTo>
                    <a:pt x="762" y="1338"/>
                  </a:lnTo>
                  <a:lnTo>
                    <a:pt x="762" y="1326"/>
                  </a:lnTo>
                  <a:lnTo>
                    <a:pt x="762" y="1314"/>
                  </a:lnTo>
                  <a:lnTo>
                    <a:pt x="732" y="1314"/>
                  </a:lnTo>
                  <a:lnTo>
                    <a:pt x="726" y="1308"/>
                  </a:lnTo>
                  <a:lnTo>
                    <a:pt x="732" y="1284"/>
                  </a:lnTo>
                  <a:lnTo>
                    <a:pt x="732" y="1278"/>
                  </a:lnTo>
                  <a:lnTo>
                    <a:pt x="738" y="1272"/>
                  </a:lnTo>
                  <a:lnTo>
                    <a:pt x="738" y="1266"/>
                  </a:lnTo>
                  <a:lnTo>
                    <a:pt x="744" y="1266"/>
                  </a:lnTo>
                  <a:lnTo>
                    <a:pt x="750" y="1272"/>
                  </a:lnTo>
                  <a:lnTo>
                    <a:pt x="756" y="1266"/>
                  </a:lnTo>
                  <a:lnTo>
                    <a:pt x="762" y="1266"/>
                  </a:lnTo>
                  <a:lnTo>
                    <a:pt x="768" y="1260"/>
                  </a:lnTo>
                  <a:lnTo>
                    <a:pt x="774" y="1260"/>
                  </a:lnTo>
                  <a:lnTo>
                    <a:pt x="780" y="1254"/>
                  </a:lnTo>
                  <a:lnTo>
                    <a:pt x="774" y="1254"/>
                  </a:lnTo>
                  <a:lnTo>
                    <a:pt x="768" y="1254"/>
                  </a:lnTo>
                  <a:lnTo>
                    <a:pt x="774" y="1248"/>
                  </a:lnTo>
                  <a:lnTo>
                    <a:pt x="774" y="1242"/>
                  </a:lnTo>
                  <a:lnTo>
                    <a:pt x="780" y="1236"/>
                  </a:lnTo>
                  <a:lnTo>
                    <a:pt x="786" y="1236"/>
                  </a:lnTo>
                  <a:lnTo>
                    <a:pt x="792" y="1230"/>
                  </a:lnTo>
                  <a:lnTo>
                    <a:pt x="792" y="1236"/>
                  </a:lnTo>
                  <a:lnTo>
                    <a:pt x="798" y="1236"/>
                  </a:lnTo>
                  <a:lnTo>
                    <a:pt x="798" y="1230"/>
                  </a:lnTo>
                  <a:lnTo>
                    <a:pt x="804" y="1230"/>
                  </a:lnTo>
                  <a:lnTo>
                    <a:pt x="804" y="1218"/>
                  </a:lnTo>
                  <a:lnTo>
                    <a:pt x="804" y="1206"/>
                  </a:lnTo>
                  <a:lnTo>
                    <a:pt x="792" y="1188"/>
                  </a:lnTo>
                  <a:lnTo>
                    <a:pt x="768" y="1182"/>
                  </a:lnTo>
                  <a:lnTo>
                    <a:pt x="768" y="1170"/>
                  </a:lnTo>
                  <a:lnTo>
                    <a:pt x="774" y="1170"/>
                  </a:lnTo>
                  <a:lnTo>
                    <a:pt x="780" y="1170"/>
                  </a:lnTo>
                  <a:lnTo>
                    <a:pt x="786" y="1170"/>
                  </a:lnTo>
                  <a:lnTo>
                    <a:pt x="780" y="1152"/>
                  </a:lnTo>
                  <a:lnTo>
                    <a:pt x="780" y="1146"/>
                  </a:lnTo>
                  <a:lnTo>
                    <a:pt x="744" y="1140"/>
                  </a:lnTo>
                  <a:lnTo>
                    <a:pt x="732" y="1128"/>
                  </a:lnTo>
                  <a:lnTo>
                    <a:pt x="720" y="1122"/>
                  </a:lnTo>
                  <a:lnTo>
                    <a:pt x="732" y="1116"/>
                  </a:lnTo>
                  <a:lnTo>
                    <a:pt x="750" y="1104"/>
                  </a:lnTo>
                  <a:lnTo>
                    <a:pt x="756" y="1116"/>
                  </a:lnTo>
                  <a:lnTo>
                    <a:pt x="774" y="1116"/>
                  </a:lnTo>
                  <a:lnTo>
                    <a:pt x="780" y="1104"/>
                  </a:lnTo>
                  <a:lnTo>
                    <a:pt x="780" y="1080"/>
                  </a:lnTo>
                  <a:lnTo>
                    <a:pt x="786" y="1080"/>
                  </a:lnTo>
                  <a:lnTo>
                    <a:pt x="786" y="1074"/>
                  </a:lnTo>
                  <a:lnTo>
                    <a:pt x="792" y="1074"/>
                  </a:lnTo>
                  <a:lnTo>
                    <a:pt x="786" y="1068"/>
                  </a:lnTo>
                  <a:lnTo>
                    <a:pt x="786" y="1062"/>
                  </a:lnTo>
                  <a:lnTo>
                    <a:pt x="786" y="1056"/>
                  </a:lnTo>
                  <a:lnTo>
                    <a:pt x="792" y="1050"/>
                  </a:lnTo>
                  <a:lnTo>
                    <a:pt x="786" y="1020"/>
                  </a:lnTo>
                  <a:lnTo>
                    <a:pt x="780" y="960"/>
                  </a:lnTo>
                  <a:lnTo>
                    <a:pt x="768" y="942"/>
                  </a:lnTo>
                  <a:lnTo>
                    <a:pt x="732" y="936"/>
                  </a:lnTo>
                  <a:lnTo>
                    <a:pt x="732" y="942"/>
                  </a:lnTo>
                  <a:lnTo>
                    <a:pt x="726" y="942"/>
                  </a:lnTo>
                  <a:lnTo>
                    <a:pt x="720" y="936"/>
                  </a:lnTo>
                  <a:lnTo>
                    <a:pt x="714" y="942"/>
                  </a:lnTo>
                  <a:lnTo>
                    <a:pt x="708" y="942"/>
                  </a:lnTo>
                  <a:lnTo>
                    <a:pt x="702" y="942"/>
                  </a:lnTo>
                  <a:lnTo>
                    <a:pt x="690" y="936"/>
                  </a:lnTo>
                  <a:lnTo>
                    <a:pt x="684" y="936"/>
                  </a:lnTo>
                  <a:lnTo>
                    <a:pt x="678" y="936"/>
                  </a:lnTo>
                  <a:lnTo>
                    <a:pt x="672" y="936"/>
                  </a:lnTo>
                  <a:lnTo>
                    <a:pt x="666" y="942"/>
                  </a:lnTo>
                  <a:lnTo>
                    <a:pt x="660" y="942"/>
                  </a:lnTo>
                  <a:lnTo>
                    <a:pt x="654" y="942"/>
                  </a:lnTo>
                  <a:lnTo>
                    <a:pt x="648" y="942"/>
                  </a:lnTo>
                  <a:lnTo>
                    <a:pt x="642" y="936"/>
                  </a:lnTo>
                  <a:lnTo>
                    <a:pt x="636" y="936"/>
                  </a:lnTo>
                  <a:lnTo>
                    <a:pt x="630" y="930"/>
                  </a:lnTo>
                  <a:lnTo>
                    <a:pt x="618" y="930"/>
                  </a:lnTo>
                  <a:lnTo>
                    <a:pt x="612" y="930"/>
                  </a:lnTo>
                  <a:lnTo>
                    <a:pt x="606" y="936"/>
                  </a:lnTo>
                  <a:lnTo>
                    <a:pt x="600" y="942"/>
                  </a:lnTo>
                  <a:lnTo>
                    <a:pt x="600" y="936"/>
                  </a:lnTo>
                  <a:lnTo>
                    <a:pt x="594" y="930"/>
                  </a:lnTo>
                  <a:lnTo>
                    <a:pt x="588" y="930"/>
                  </a:lnTo>
                  <a:lnTo>
                    <a:pt x="582" y="930"/>
                  </a:lnTo>
                  <a:lnTo>
                    <a:pt x="576" y="930"/>
                  </a:lnTo>
                  <a:lnTo>
                    <a:pt x="564" y="936"/>
                  </a:lnTo>
                  <a:lnTo>
                    <a:pt x="558" y="936"/>
                  </a:lnTo>
                  <a:lnTo>
                    <a:pt x="546" y="924"/>
                  </a:lnTo>
                  <a:lnTo>
                    <a:pt x="540" y="924"/>
                  </a:lnTo>
                  <a:lnTo>
                    <a:pt x="534" y="918"/>
                  </a:lnTo>
                  <a:lnTo>
                    <a:pt x="528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6" y="918"/>
                  </a:lnTo>
                  <a:lnTo>
                    <a:pt x="516" y="912"/>
                  </a:lnTo>
                  <a:lnTo>
                    <a:pt x="510" y="894"/>
                  </a:lnTo>
                  <a:lnTo>
                    <a:pt x="510" y="882"/>
                  </a:lnTo>
                  <a:lnTo>
                    <a:pt x="510" y="876"/>
                  </a:lnTo>
                  <a:lnTo>
                    <a:pt x="516" y="870"/>
                  </a:lnTo>
                  <a:lnTo>
                    <a:pt x="510" y="864"/>
                  </a:lnTo>
                  <a:lnTo>
                    <a:pt x="516" y="858"/>
                  </a:lnTo>
                  <a:lnTo>
                    <a:pt x="522" y="858"/>
                  </a:lnTo>
                  <a:lnTo>
                    <a:pt x="528" y="858"/>
                  </a:lnTo>
                  <a:lnTo>
                    <a:pt x="522" y="852"/>
                  </a:lnTo>
                  <a:lnTo>
                    <a:pt x="528" y="852"/>
                  </a:lnTo>
                  <a:lnTo>
                    <a:pt x="528" y="846"/>
                  </a:lnTo>
                  <a:lnTo>
                    <a:pt x="552" y="846"/>
                  </a:lnTo>
                  <a:lnTo>
                    <a:pt x="558" y="840"/>
                  </a:lnTo>
                  <a:lnTo>
                    <a:pt x="564" y="828"/>
                  </a:lnTo>
                  <a:lnTo>
                    <a:pt x="570" y="816"/>
                  </a:lnTo>
                  <a:lnTo>
                    <a:pt x="582" y="810"/>
                  </a:lnTo>
                  <a:lnTo>
                    <a:pt x="588" y="804"/>
                  </a:lnTo>
                  <a:lnTo>
                    <a:pt x="594" y="804"/>
                  </a:lnTo>
                  <a:lnTo>
                    <a:pt x="594" y="792"/>
                  </a:lnTo>
                  <a:lnTo>
                    <a:pt x="600" y="786"/>
                  </a:lnTo>
                  <a:lnTo>
                    <a:pt x="606" y="780"/>
                  </a:lnTo>
                  <a:lnTo>
                    <a:pt x="612" y="774"/>
                  </a:lnTo>
                  <a:lnTo>
                    <a:pt x="618" y="774"/>
                  </a:lnTo>
                  <a:lnTo>
                    <a:pt x="618" y="768"/>
                  </a:lnTo>
                  <a:lnTo>
                    <a:pt x="618" y="762"/>
                  </a:lnTo>
                  <a:lnTo>
                    <a:pt x="624" y="756"/>
                  </a:lnTo>
                  <a:lnTo>
                    <a:pt x="618" y="750"/>
                  </a:lnTo>
                  <a:lnTo>
                    <a:pt x="618" y="744"/>
                  </a:lnTo>
                  <a:lnTo>
                    <a:pt x="600" y="738"/>
                  </a:lnTo>
                  <a:lnTo>
                    <a:pt x="558" y="744"/>
                  </a:lnTo>
                  <a:lnTo>
                    <a:pt x="552" y="732"/>
                  </a:lnTo>
                  <a:lnTo>
                    <a:pt x="546" y="720"/>
                  </a:lnTo>
                  <a:lnTo>
                    <a:pt x="564" y="702"/>
                  </a:lnTo>
                  <a:lnTo>
                    <a:pt x="570" y="684"/>
                  </a:lnTo>
                  <a:lnTo>
                    <a:pt x="564" y="648"/>
                  </a:lnTo>
                  <a:lnTo>
                    <a:pt x="534" y="624"/>
                  </a:lnTo>
                  <a:lnTo>
                    <a:pt x="504" y="612"/>
                  </a:lnTo>
                  <a:lnTo>
                    <a:pt x="498" y="606"/>
                  </a:lnTo>
                  <a:lnTo>
                    <a:pt x="492" y="600"/>
                  </a:lnTo>
                  <a:lnTo>
                    <a:pt x="486" y="606"/>
                  </a:lnTo>
                  <a:lnTo>
                    <a:pt x="480" y="558"/>
                  </a:lnTo>
                  <a:lnTo>
                    <a:pt x="462" y="546"/>
                  </a:lnTo>
                  <a:lnTo>
                    <a:pt x="408" y="540"/>
                  </a:lnTo>
                  <a:lnTo>
                    <a:pt x="408" y="546"/>
                  </a:lnTo>
                  <a:lnTo>
                    <a:pt x="408" y="558"/>
                  </a:lnTo>
                  <a:lnTo>
                    <a:pt x="408" y="564"/>
                  </a:lnTo>
                  <a:lnTo>
                    <a:pt x="408" y="570"/>
                  </a:lnTo>
                  <a:lnTo>
                    <a:pt x="414" y="582"/>
                  </a:lnTo>
                  <a:lnTo>
                    <a:pt x="408" y="594"/>
                  </a:lnTo>
                  <a:lnTo>
                    <a:pt x="414" y="594"/>
                  </a:lnTo>
                  <a:lnTo>
                    <a:pt x="408" y="600"/>
                  </a:lnTo>
                  <a:lnTo>
                    <a:pt x="348" y="600"/>
                  </a:lnTo>
                  <a:lnTo>
                    <a:pt x="324" y="600"/>
                  </a:lnTo>
                  <a:lnTo>
                    <a:pt x="324" y="612"/>
                  </a:lnTo>
                  <a:lnTo>
                    <a:pt x="306" y="618"/>
                  </a:lnTo>
                  <a:lnTo>
                    <a:pt x="312" y="618"/>
                  </a:lnTo>
                  <a:lnTo>
                    <a:pt x="294" y="588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76"/>
                  </a:lnTo>
                  <a:lnTo>
                    <a:pt x="240" y="582"/>
                  </a:lnTo>
                  <a:lnTo>
                    <a:pt x="234" y="582"/>
                  </a:lnTo>
                  <a:lnTo>
                    <a:pt x="228" y="588"/>
                  </a:lnTo>
                  <a:lnTo>
                    <a:pt x="222" y="588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8" y="600"/>
                  </a:lnTo>
                  <a:lnTo>
                    <a:pt x="192" y="612"/>
                  </a:lnTo>
                  <a:lnTo>
                    <a:pt x="192" y="618"/>
                  </a:lnTo>
                  <a:lnTo>
                    <a:pt x="198" y="624"/>
                  </a:lnTo>
                  <a:lnTo>
                    <a:pt x="192" y="624"/>
                  </a:lnTo>
                  <a:lnTo>
                    <a:pt x="192" y="630"/>
                  </a:lnTo>
                  <a:lnTo>
                    <a:pt x="192" y="642"/>
                  </a:lnTo>
                  <a:lnTo>
                    <a:pt x="180" y="648"/>
                  </a:lnTo>
                  <a:lnTo>
                    <a:pt x="174" y="654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6"/>
                  </a:lnTo>
                  <a:lnTo>
                    <a:pt x="156" y="672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90"/>
                  </a:lnTo>
                  <a:lnTo>
                    <a:pt x="132" y="690"/>
                  </a:lnTo>
                  <a:lnTo>
                    <a:pt x="126" y="702"/>
                  </a:lnTo>
                  <a:lnTo>
                    <a:pt x="132" y="708"/>
                  </a:lnTo>
                  <a:lnTo>
                    <a:pt x="126" y="708"/>
                  </a:lnTo>
                  <a:lnTo>
                    <a:pt x="120" y="708"/>
                  </a:lnTo>
                  <a:lnTo>
                    <a:pt x="114" y="708"/>
                  </a:lnTo>
                  <a:lnTo>
                    <a:pt x="108" y="708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78" y="720"/>
                  </a:lnTo>
                  <a:lnTo>
                    <a:pt x="72" y="720"/>
                  </a:lnTo>
                  <a:lnTo>
                    <a:pt x="66" y="720"/>
                  </a:lnTo>
                  <a:lnTo>
                    <a:pt x="54" y="732"/>
                  </a:lnTo>
                  <a:lnTo>
                    <a:pt x="48" y="702"/>
                  </a:lnTo>
                  <a:lnTo>
                    <a:pt x="36" y="666"/>
                  </a:lnTo>
                  <a:lnTo>
                    <a:pt x="0" y="660"/>
                  </a:lnTo>
                  <a:lnTo>
                    <a:pt x="6" y="660"/>
                  </a:lnTo>
                  <a:lnTo>
                    <a:pt x="6" y="654"/>
                  </a:lnTo>
                  <a:lnTo>
                    <a:pt x="6" y="648"/>
                  </a:lnTo>
                  <a:lnTo>
                    <a:pt x="6" y="642"/>
                  </a:lnTo>
                  <a:lnTo>
                    <a:pt x="6" y="624"/>
                  </a:lnTo>
                  <a:lnTo>
                    <a:pt x="6" y="612"/>
                  </a:lnTo>
                  <a:lnTo>
                    <a:pt x="6" y="606"/>
                  </a:lnTo>
                  <a:lnTo>
                    <a:pt x="12" y="612"/>
                  </a:lnTo>
                  <a:lnTo>
                    <a:pt x="18" y="606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30" y="594"/>
                  </a:lnTo>
                  <a:lnTo>
                    <a:pt x="30" y="588"/>
                  </a:lnTo>
                  <a:lnTo>
                    <a:pt x="30" y="582"/>
                  </a:lnTo>
                  <a:lnTo>
                    <a:pt x="24" y="576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18" y="558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36" y="528"/>
                  </a:lnTo>
                  <a:lnTo>
                    <a:pt x="30" y="522"/>
                  </a:lnTo>
                  <a:lnTo>
                    <a:pt x="24" y="522"/>
                  </a:lnTo>
                  <a:lnTo>
                    <a:pt x="18" y="510"/>
                  </a:lnTo>
                  <a:lnTo>
                    <a:pt x="12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8" y="474"/>
                  </a:lnTo>
                  <a:lnTo>
                    <a:pt x="12" y="468"/>
                  </a:lnTo>
                  <a:lnTo>
                    <a:pt x="12" y="462"/>
                  </a:lnTo>
                  <a:lnTo>
                    <a:pt x="18" y="456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0" y="420"/>
                  </a:lnTo>
                  <a:lnTo>
                    <a:pt x="30" y="414"/>
                  </a:lnTo>
                  <a:lnTo>
                    <a:pt x="48" y="414"/>
                  </a:lnTo>
                  <a:lnTo>
                    <a:pt x="54" y="408"/>
                  </a:lnTo>
                  <a:lnTo>
                    <a:pt x="60" y="402"/>
                  </a:lnTo>
                  <a:lnTo>
                    <a:pt x="66" y="402"/>
                  </a:lnTo>
                  <a:lnTo>
                    <a:pt x="72" y="402"/>
                  </a:lnTo>
                  <a:lnTo>
                    <a:pt x="78" y="408"/>
                  </a:lnTo>
                  <a:lnTo>
                    <a:pt x="84" y="396"/>
                  </a:lnTo>
                  <a:lnTo>
                    <a:pt x="90" y="390"/>
                  </a:lnTo>
                  <a:lnTo>
                    <a:pt x="90" y="378"/>
                  </a:lnTo>
                  <a:lnTo>
                    <a:pt x="96" y="372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8" y="354"/>
                  </a:lnTo>
                  <a:lnTo>
                    <a:pt x="114" y="348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32" y="336"/>
                  </a:lnTo>
                  <a:lnTo>
                    <a:pt x="132" y="330"/>
                  </a:lnTo>
                  <a:lnTo>
                    <a:pt x="138" y="324"/>
                  </a:lnTo>
                  <a:lnTo>
                    <a:pt x="138" y="318"/>
                  </a:lnTo>
                  <a:lnTo>
                    <a:pt x="144" y="306"/>
                  </a:lnTo>
                  <a:lnTo>
                    <a:pt x="156" y="306"/>
                  </a:lnTo>
                  <a:lnTo>
                    <a:pt x="186" y="300"/>
                  </a:lnTo>
                  <a:lnTo>
                    <a:pt x="198" y="300"/>
                  </a:lnTo>
                  <a:lnTo>
                    <a:pt x="210" y="300"/>
                  </a:lnTo>
                  <a:lnTo>
                    <a:pt x="222" y="300"/>
                  </a:lnTo>
                  <a:lnTo>
                    <a:pt x="246" y="300"/>
                  </a:lnTo>
                  <a:lnTo>
                    <a:pt x="264" y="312"/>
                  </a:lnTo>
                  <a:lnTo>
                    <a:pt x="270" y="312"/>
                  </a:lnTo>
                  <a:lnTo>
                    <a:pt x="282" y="306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300" y="306"/>
                  </a:lnTo>
                  <a:lnTo>
                    <a:pt x="312" y="306"/>
                  </a:lnTo>
                  <a:lnTo>
                    <a:pt x="318" y="300"/>
                  </a:lnTo>
                  <a:lnTo>
                    <a:pt x="324" y="300"/>
                  </a:lnTo>
                  <a:lnTo>
                    <a:pt x="330" y="294"/>
                  </a:lnTo>
                  <a:lnTo>
                    <a:pt x="336" y="288"/>
                  </a:lnTo>
                  <a:lnTo>
                    <a:pt x="354" y="288"/>
                  </a:lnTo>
                  <a:lnTo>
                    <a:pt x="360" y="288"/>
                  </a:lnTo>
                  <a:lnTo>
                    <a:pt x="366" y="282"/>
                  </a:lnTo>
                  <a:lnTo>
                    <a:pt x="372" y="282"/>
                  </a:lnTo>
                  <a:lnTo>
                    <a:pt x="378" y="282"/>
                  </a:lnTo>
                  <a:lnTo>
                    <a:pt x="384" y="276"/>
                  </a:lnTo>
                  <a:lnTo>
                    <a:pt x="384" y="270"/>
                  </a:lnTo>
                  <a:lnTo>
                    <a:pt x="390" y="264"/>
                  </a:lnTo>
                  <a:lnTo>
                    <a:pt x="402" y="258"/>
                  </a:lnTo>
                  <a:lnTo>
                    <a:pt x="402" y="252"/>
                  </a:lnTo>
                  <a:lnTo>
                    <a:pt x="402" y="246"/>
                  </a:lnTo>
                  <a:lnTo>
                    <a:pt x="408" y="234"/>
                  </a:lnTo>
                  <a:lnTo>
                    <a:pt x="414" y="234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14" y="216"/>
                  </a:lnTo>
                  <a:lnTo>
                    <a:pt x="414" y="210"/>
                  </a:lnTo>
                  <a:lnTo>
                    <a:pt x="420" y="210"/>
                  </a:lnTo>
                  <a:lnTo>
                    <a:pt x="414" y="198"/>
                  </a:lnTo>
                  <a:lnTo>
                    <a:pt x="414" y="192"/>
                  </a:lnTo>
                  <a:lnTo>
                    <a:pt x="420" y="192"/>
                  </a:lnTo>
                  <a:lnTo>
                    <a:pt x="420" y="186"/>
                  </a:lnTo>
                  <a:lnTo>
                    <a:pt x="420" y="174"/>
                  </a:lnTo>
                  <a:lnTo>
                    <a:pt x="420" y="168"/>
                  </a:lnTo>
                  <a:lnTo>
                    <a:pt x="426" y="162"/>
                  </a:lnTo>
                  <a:lnTo>
                    <a:pt x="432" y="156"/>
                  </a:lnTo>
                  <a:lnTo>
                    <a:pt x="438" y="144"/>
                  </a:lnTo>
                  <a:lnTo>
                    <a:pt x="444" y="144"/>
                  </a:lnTo>
                  <a:lnTo>
                    <a:pt x="450" y="138"/>
                  </a:lnTo>
                  <a:lnTo>
                    <a:pt x="456" y="138"/>
                  </a:lnTo>
                  <a:lnTo>
                    <a:pt x="462" y="132"/>
                  </a:lnTo>
                  <a:lnTo>
                    <a:pt x="462" y="126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0"/>
                  </a:lnTo>
                  <a:lnTo>
                    <a:pt x="486" y="108"/>
                  </a:lnTo>
                  <a:lnTo>
                    <a:pt x="492" y="108"/>
                  </a:lnTo>
                  <a:lnTo>
                    <a:pt x="498" y="102"/>
                  </a:lnTo>
                  <a:lnTo>
                    <a:pt x="504" y="96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40" y="102"/>
                  </a:lnTo>
                  <a:lnTo>
                    <a:pt x="552" y="108"/>
                  </a:lnTo>
                  <a:lnTo>
                    <a:pt x="582" y="102"/>
                  </a:lnTo>
                  <a:lnTo>
                    <a:pt x="594" y="126"/>
                  </a:lnTo>
                  <a:lnTo>
                    <a:pt x="594" y="144"/>
                  </a:lnTo>
                  <a:lnTo>
                    <a:pt x="588" y="156"/>
                  </a:lnTo>
                  <a:lnTo>
                    <a:pt x="588" y="168"/>
                  </a:lnTo>
                  <a:lnTo>
                    <a:pt x="582" y="180"/>
                  </a:lnTo>
                  <a:lnTo>
                    <a:pt x="570" y="192"/>
                  </a:lnTo>
                  <a:lnTo>
                    <a:pt x="594" y="192"/>
                  </a:lnTo>
                  <a:lnTo>
                    <a:pt x="618" y="198"/>
                  </a:lnTo>
                  <a:lnTo>
                    <a:pt x="642" y="210"/>
                  </a:lnTo>
                  <a:lnTo>
                    <a:pt x="660" y="234"/>
                  </a:lnTo>
                  <a:lnTo>
                    <a:pt x="678" y="246"/>
                  </a:lnTo>
                  <a:lnTo>
                    <a:pt x="684" y="252"/>
                  </a:lnTo>
                  <a:lnTo>
                    <a:pt x="702" y="252"/>
                  </a:lnTo>
                  <a:lnTo>
                    <a:pt x="732" y="234"/>
                  </a:lnTo>
                  <a:lnTo>
                    <a:pt x="732" y="222"/>
                  </a:lnTo>
                  <a:lnTo>
                    <a:pt x="720" y="216"/>
                  </a:lnTo>
                  <a:lnTo>
                    <a:pt x="714" y="198"/>
                  </a:lnTo>
                  <a:lnTo>
                    <a:pt x="714" y="174"/>
                  </a:lnTo>
                  <a:lnTo>
                    <a:pt x="720" y="162"/>
                  </a:lnTo>
                  <a:lnTo>
                    <a:pt x="726" y="162"/>
                  </a:lnTo>
                  <a:lnTo>
                    <a:pt x="732" y="156"/>
                  </a:lnTo>
                  <a:lnTo>
                    <a:pt x="744" y="150"/>
                  </a:lnTo>
                  <a:lnTo>
                    <a:pt x="774" y="162"/>
                  </a:lnTo>
                  <a:lnTo>
                    <a:pt x="786" y="162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16" y="150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2" y="132"/>
                  </a:lnTo>
                  <a:lnTo>
                    <a:pt x="822" y="114"/>
                  </a:lnTo>
                  <a:lnTo>
                    <a:pt x="828" y="108"/>
                  </a:lnTo>
                  <a:lnTo>
                    <a:pt x="834" y="96"/>
                  </a:lnTo>
                  <a:lnTo>
                    <a:pt x="846" y="96"/>
                  </a:lnTo>
                  <a:lnTo>
                    <a:pt x="858" y="90"/>
                  </a:lnTo>
                  <a:lnTo>
                    <a:pt x="870" y="84"/>
                  </a:lnTo>
                  <a:lnTo>
                    <a:pt x="888" y="84"/>
                  </a:lnTo>
                  <a:lnTo>
                    <a:pt x="894" y="90"/>
                  </a:lnTo>
                  <a:lnTo>
                    <a:pt x="894" y="102"/>
                  </a:lnTo>
                  <a:lnTo>
                    <a:pt x="900" y="102"/>
                  </a:lnTo>
                  <a:lnTo>
                    <a:pt x="906" y="114"/>
                  </a:lnTo>
                  <a:lnTo>
                    <a:pt x="930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54" y="138"/>
                  </a:lnTo>
                  <a:lnTo>
                    <a:pt x="966" y="144"/>
                  </a:lnTo>
                  <a:lnTo>
                    <a:pt x="966" y="150"/>
                  </a:lnTo>
                  <a:lnTo>
                    <a:pt x="972" y="150"/>
                  </a:lnTo>
                  <a:lnTo>
                    <a:pt x="978" y="150"/>
                  </a:lnTo>
                  <a:lnTo>
                    <a:pt x="978" y="144"/>
                  </a:lnTo>
                  <a:lnTo>
                    <a:pt x="984" y="144"/>
                  </a:lnTo>
                  <a:lnTo>
                    <a:pt x="990" y="138"/>
                  </a:lnTo>
                  <a:lnTo>
                    <a:pt x="996" y="138"/>
                  </a:lnTo>
                  <a:lnTo>
                    <a:pt x="1002" y="138"/>
                  </a:lnTo>
                  <a:lnTo>
                    <a:pt x="1008" y="138"/>
                  </a:lnTo>
                  <a:lnTo>
                    <a:pt x="1026" y="132"/>
                  </a:lnTo>
                  <a:lnTo>
                    <a:pt x="1044" y="126"/>
                  </a:lnTo>
                  <a:lnTo>
                    <a:pt x="1056" y="120"/>
                  </a:lnTo>
                  <a:lnTo>
                    <a:pt x="1062" y="108"/>
                  </a:lnTo>
                  <a:lnTo>
                    <a:pt x="1056" y="102"/>
                  </a:lnTo>
                  <a:lnTo>
                    <a:pt x="1062" y="96"/>
                  </a:lnTo>
                  <a:lnTo>
                    <a:pt x="1074" y="90"/>
                  </a:lnTo>
                  <a:lnTo>
                    <a:pt x="1080" y="84"/>
                  </a:lnTo>
                  <a:lnTo>
                    <a:pt x="1128" y="84"/>
                  </a:lnTo>
                  <a:lnTo>
                    <a:pt x="1134" y="84"/>
                  </a:lnTo>
                  <a:lnTo>
                    <a:pt x="1140" y="78"/>
                  </a:lnTo>
                  <a:lnTo>
                    <a:pt x="1152" y="72"/>
                  </a:lnTo>
                  <a:lnTo>
                    <a:pt x="1164" y="66"/>
                  </a:lnTo>
                  <a:lnTo>
                    <a:pt x="1170" y="60"/>
                  </a:lnTo>
                  <a:lnTo>
                    <a:pt x="1188" y="48"/>
                  </a:lnTo>
                  <a:lnTo>
                    <a:pt x="1200" y="36"/>
                  </a:lnTo>
                  <a:lnTo>
                    <a:pt x="1218" y="24"/>
                  </a:lnTo>
                  <a:lnTo>
                    <a:pt x="1248" y="24"/>
                  </a:lnTo>
                  <a:lnTo>
                    <a:pt x="1272" y="24"/>
                  </a:lnTo>
                  <a:lnTo>
                    <a:pt x="1284" y="12"/>
                  </a:lnTo>
                  <a:lnTo>
                    <a:pt x="1302" y="0"/>
                  </a:lnTo>
                  <a:lnTo>
                    <a:pt x="1314" y="0"/>
                  </a:lnTo>
                  <a:lnTo>
                    <a:pt x="1326" y="18"/>
                  </a:lnTo>
                  <a:lnTo>
                    <a:pt x="1338" y="30"/>
                  </a:lnTo>
                  <a:lnTo>
                    <a:pt x="1338" y="54"/>
                  </a:lnTo>
                  <a:lnTo>
                    <a:pt x="1332" y="72"/>
                  </a:lnTo>
                  <a:lnTo>
                    <a:pt x="1326" y="72"/>
                  </a:lnTo>
                  <a:lnTo>
                    <a:pt x="1326" y="78"/>
                  </a:lnTo>
                  <a:lnTo>
                    <a:pt x="1326" y="102"/>
                  </a:lnTo>
                  <a:lnTo>
                    <a:pt x="1332" y="102"/>
                  </a:lnTo>
                  <a:lnTo>
                    <a:pt x="1332" y="108"/>
                  </a:lnTo>
                  <a:lnTo>
                    <a:pt x="1344" y="114"/>
                  </a:lnTo>
                  <a:lnTo>
                    <a:pt x="1350" y="114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404" y="132"/>
                  </a:lnTo>
                  <a:lnTo>
                    <a:pt x="1404" y="138"/>
                  </a:lnTo>
                  <a:lnTo>
                    <a:pt x="1410" y="150"/>
                  </a:lnTo>
                  <a:lnTo>
                    <a:pt x="1416" y="162"/>
                  </a:lnTo>
                  <a:lnTo>
                    <a:pt x="1428" y="168"/>
                  </a:lnTo>
                  <a:lnTo>
                    <a:pt x="1440" y="180"/>
                  </a:lnTo>
                  <a:lnTo>
                    <a:pt x="1476" y="174"/>
                  </a:lnTo>
                  <a:lnTo>
                    <a:pt x="1494" y="174"/>
                  </a:lnTo>
                  <a:lnTo>
                    <a:pt x="1512" y="192"/>
                  </a:lnTo>
                  <a:lnTo>
                    <a:pt x="1518" y="204"/>
                  </a:lnTo>
                  <a:lnTo>
                    <a:pt x="1530" y="216"/>
                  </a:lnTo>
                  <a:lnTo>
                    <a:pt x="1548" y="228"/>
                  </a:lnTo>
                  <a:lnTo>
                    <a:pt x="1548" y="234"/>
                  </a:lnTo>
                  <a:lnTo>
                    <a:pt x="1542" y="246"/>
                  </a:lnTo>
                  <a:lnTo>
                    <a:pt x="1560" y="246"/>
                  </a:lnTo>
                  <a:lnTo>
                    <a:pt x="1560" y="252"/>
                  </a:lnTo>
                  <a:lnTo>
                    <a:pt x="1566" y="258"/>
                  </a:lnTo>
                  <a:lnTo>
                    <a:pt x="1578" y="270"/>
                  </a:lnTo>
                  <a:lnTo>
                    <a:pt x="1596" y="270"/>
                  </a:lnTo>
                  <a:lnTo>
                    <a:pt x="1602" y="288"/>
                  </a:lnTo>
                  <a:lnTo>
                    <a:pt x="1608" y="306"/>
                  </a:lnTo>
                  <a:lnTo>
                    <a:pt x="1608" y="318"/>
                  </a:lnTo>
                  <a:lnTo>
                    <a:pt x="1608" y="324"/>
                  </a:lnTo>
                  <a:lnTo>
                    <a:pt x="1614" y="330"/>
                  </a:lnTo>
                  <a:lnTo>
                    <a:pt x="1614" y="336"/>
                  </a:lnTo>
                  <a:lnTo>
                    <a:pt x="1614" y="342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08" y="390"/>
                  </a:lnTo>
                  <a:lnTo>
                    <a:pt x="1602" y="390"/>
                  </a:lnTo>
                  <a:lnTo>
                    <a:pt x="1602" y="396"/>
                  </a:lnTo>
                  <a:lnTo>
                    <a:pt x="1584" y="420"/>
                  </a:lnTo>
                  <a:lnTo>
                    <a:pt x="1584" y="426"/>
                  </a:lnTo>
                  <a:lnTo>
                    <a:pt x="1602" y="474"/>
                  </a:lnTo>
                  <a:lnTo>
                    <a:pt x="1608" y="480"/>
                  </a:lnTo>
                  <a:lnTo>
                    <a:pt x="1608" y="486"/>
                  </a:lnTo>
                  <a:lnTo>
                    <a:pt x="1614" y="486"/>
                  </a:lnTo>
                  <a:lnTo>
                    <a:pt x="1608" y="504"/>
                  </a:lnTo>
                  <a:lnTo>
                    <a:pt x="1572" y="504"/>
                  </a:lnTo>
                  <a:lnTo>
                    <a:pt x="1560" y="510"/>
                  </a:lnTo>
                  <a:lnTo>
                    <a:pt x="1554" y="522"/>
                  </a:lnTo>
                  <a:lnTo>
                    <a:pt x="1560" y="552"/>
                  </a:lnTo>
                  <a:lnTo>
                    <a:pt x="1566" y="552"/>
                  </a:lnTo>
                  <a:lnTo>
                    <a:pt x="1566" y="558"/>
                  </a:lnTo>
                  <a:lnTo>
                    <a:pt x="1572" y="558"/>
                  </a:lnTo>
                  <a:lnTo>
                    <a:pt x="1578" y="558"/>
                  </a:lnTo>
                  <a:lnTo>
                    <a:pt x="1578" y="552"/>
                  </a:lnTo>
                  <a:lnTo>
                    <a:pt x="1584" y="552"/>
                  </a:lnTo>
                  <a:lnTo>
                    <a:pt x="1590" y="552"/>
                  </a:lnTo>
                  <a:lnTo>
                    <a:pt x="1590" y="546"/>
                  </a:lnTo>
                  <a:lnTo>
                    <a:pt x="1596" y="546"/>
                  </a:lnTo>
                  <a:lnTo>
                    <a:pt x="1602" y="552"/>
                  </a:lnTo>
                  <a:lnTo>
                    <a:pt x="1602" y="546"/>
                  </a:lnTo>
                  <a:lnTo>
                    <a:pt x="1608" y="546"/>
                  </a:lnTo>
                  <a:lnTo>
                    <a:pt x="1608" y="552"/>
                  </a:lnTo>
                  <a:lnTo>
                    <a:pt x="1614" y="552"/>
                  </a:lnTo>
                  <a:lnTo>
                    <a:pt x="1614" y="546"/>
                  </a:lnTo>
                  <a:lnTo>
                    <a:pt x="1620" y="552"/>
                  </a:lnTo>
                  <a:lnTo>
                    <a:pt x="1626" y="552"/>
                  </a:lnTo>
                  <a:lnTo>
                    <a:pt x="1626" y="558"/>
                  </a:lnTo>
                  <a:lnTo>
                    <a:pt x="1632" y="558"/>
                  </a:lnTo>
                  <a:lnTo>
                    <a:pt x="1638" y="558"/>
                  </a:lnTo>
                  <a:lnTo>
                    <a:pt x="1644" y="558"/>
                  </a:lnTo>
                  <a:lnTo>
                    <a:pt x="1650" y="558"/>
                  </a:lnTo>
                  <a:lnTo>
                    <a:pt x="1650" y="564"/>
                  </a:lnTo>
                  <a:lnTo>
                    <a:pt x="1656" y="564"/>
                  </a:lnTo>
                  <a:lnTo>
                    <a:pt x="1662" y="564"/>
                  </a:lnTo>
                  <a:lnTo>
                    <a:pt x="1668" y="564"/>
                  </a:lnTo>
                  <a:lnTo>
                    <a:pt x="1668" y="570"/>
                  </a:lnTo>
                  <a:lnTo>
                    <a:pt x="1674" y="570"/>
                  </a:lnTo>
                  <a:lnTo>
                    <a:pt x="1680" y="570"/>
                  </a:lnTo>
                  <a:lnTo>
                    <a:pt x="1686" y="576"/>
                  </a:lnTo>
                  <a:lnTo>
                    <a:pt x="1686" y="582"/>
                  </a:lnTo>
                  <a:lnTo>
                    <a:pt x="1710" y="588"/>
                  </a:lnTo>
                  <a:lnTo>
                    <a:pt x="1710" y="594"/>
                  </a:lnTo>
                  <a:lnTo>
                    <a:pt x="1704" y="600"/>
                  </a:lnTo>
                  <a:lnTo>
                    <a:pt x="1710" y="624"/>
                  </a:lnTo>
                  <a:lnTo>
                    <a:pt x="1698" y="672"/>
                  </a:lnTo>
                  <a:lnTo>
                    <a:pt x="1704" y="678"/>
                  </a:lnTo>
                  <a:lnTo>
                    <a:pt x="1716" y="684"/>
                  </a:lnTo>
                  <a:lnTo>
                    <a:pt x="1716" y="678"/>
                  </a:lnTo>
                  <a:lnTo>
                    <a:pt x="1716" y="684"/>
                  </a:lnTo>
                  <a:lnTo>
                    <a:pt x="1728" y="684"/>
                  </a:lnTo>
                  <a:lnTo>
                    <a:pt x="1728" y="690"/>
                  </a:lnTo>
                  <a:lnTo>
                    <a:pt x="1734" y="696"/>
                  </a:lnTo>
                  <a:lnTo>
                    <a:pt x="1734" y="702"/>
                  </a:lnTo>
                  <a:lnTo>
                    <a:pt x="1740" y="708"/>
                  </a:lnTo>
                  <a:lnTo>
                    <a:pt x="1740" y="714"/>
                  </a:lnTo>
                  <a:lnTo>
                    <a:pt x="1710" y="714"/>
                  </a:lnTo>
                  <a:lnTo>
                    <a:pt x="1710" y="756"/>
                  </a:lnTo>
                  <a:lnTo>
                    <a:pt x="1704" y="762"/>
                  </a:lnTo>
                  <a:lnTo>
                    <a:pt x="1698" y="762"/>
                  </a:lnTo>
                  <a:lnTo>
                    <a:pt x="1698" y="768"/>
                  </a:lnTo>
                  <a:lnTo>
                    <a:pt x="1698" y="774"/>
                  </a:lnTo>
                  <a:lnTo>
                    <a:pt x="1692" y="780"/>
                  </a:lnTo>
                  <a:lnTo>
                    <a:pt x="1692" y="786"/>
                  </a:lnTo>
                  <a:lnTo>
                    <a:pt x="1686" y="786"/>
                  </a:lnTo>
                  <a:lnTo>
                    <a:pt x="1668" y="798"/>
                  </a:lnTo>
                  <a:lnTo>
                    <a:pt x="1662" y="810"/>
                  </a:lnTo>
                  <a:lnTo>
                    <a:pt x="1650" y="810"/>
                  </a:lnTo>
                  <a:lnTo>
                    <a:pt x="1644" y="816"/>
                  </a:lnTo>
                  <a:lnTo>
                    <a:pt x="1638" y="816"/>
                  </a:lnTo>
                  <a:lnTo>
                    <a:pt x="1626" y="852"/>
                  </a:lnTo>
                  <a:lnTo>
                    <a:pt x="1620" y="888"/>
                  </a:lnTo>
                  <a:lnTo>
                    <a:pt x="1626" y="888"/>
                  </a:lnTo>
                  <a:lnTo>
                    <a:pt x="1638" y="912"/>
                  </a:lnTo>
                  <a:lnTo>
                    <a:pt x="1644" y="918"/>
                  </a:lnTo>
                  <a:lnTo>
                    <a:pt x="1650" y="966"/>
                  </a:lnTo>
                  <a:lnTo>
                    <a:pt x="1626" y="972"/>
                  </a:lnTo>
                  <a:lnTo>
                    <a:pt x="1608" y="978"/>
                  </a:lnTo>
                  <a:lnTo>
                    <a:pt x="1614" y="984"/>
                  </a:lnTo>
                  <a:lnTo>
                    <a:pt x="1620" y="984"/>
                  </a:lnTo>
                  <a:lnTo>
                    <a:pt x="1620" y="1020"/>
                  </a:lnTo>
                  <a:lnTo>
                    <a:pt x="1614" y="1038"/>
                  </a:lnTo>
                  <a:lnTo>
                    <a:pt x="1620" y="1044"/>
                  </a:lnTo>
                  <a:lnTo>
                    <a:pt x="1626" y="1056"/>
                  </a:lnTo>
                  <a:lnTo>
                    <a:pt x="1626" y="1074"/>
                  </a:lnTo>
                  <a:lnTo>
                    <a:pt x="1620" y="1080"/>
                  </a:lnTo>
                  <a:lnTo>
                    <a:pt x="1620" y="1104"/>
                  </a:lnTo>
                  <a:lnTo>
                    <a:pt x="1620" y="1110"/>
                  </a:lnTo>
                  <a:lnTo>
                    <a:pt x="1614" y="1116"/>
                  </a:lnTo>
                  <a:lnTo>
                    <a:pt x="1608" y="1140"/>
                  </a:lnTo>
                  <a:lnTo>
                    <a:pt x="1602" y="1146"/>
                  </a:lnTo>
                  <a:lnTo>
                    <a:pt x="1602" y="1164"/>
                  </a:lnTo>
                  <a:lnTo>
                    <a:pt x="1596" y="1170"/>
                  </a:lnTo>
                  <a:lnTo>
                    <a:pt x="1590" y="1164"/>
                  </a:lnTo>
                  <a:lnTo>
                    <a:pt x="1584" y="1164"/>
                  </a:lnTo>
                  <a:lnTo>
                    <a:pt x="1578" y="1164"/>
                  </a:lnTo>
                  <a:lnTo>
                    <a:pt x="1578" y="1188"/>
                  </a:lnTo>
                  <a:lnTo>
                    <a:pt x="1584" y="1194"/>
                  </a:lnTo>
                  <a:lnTo>
                    <a:pt x="1590" y="1194"/>
                  </a:lnTo>
                  <a:lnTo>
                    <a:pt x="1590" y="1212"/>
                  </a:lnTo>
                  <a:lnTo>
                    <a:pt x="1584" y="1212"/>
                  </a:lnTo>
                  <a:lnTo>
                    <a:pt x="1584" y="1224"/>
                  </a:lnTo>
                  <a:lnTo>
                    <a:pt x="1578" y="1224"/>
                  </a:lnTo>
                  <a:lnTo>
                    <a:pt x="1578" y="1236"/>
                  </a:lnTo>
                  <a:lnTo>
                    <a:pt x="1584" y="1254"/>
                  </a:lnTo>
                  <a:lnTo>
                    <a:pt x="1584" y="1260"/>
                  </a:lnTo>
                  <a:lnTo>
                    <a:pt x="1590" y="1260"/>
                  </a:lnTo>
                  <a:lnTo>
                    <a:pt x="1590" y="1266"/>
                  </a:lnTo>
                  <a:lnTo>
                    <a:pt x="1596" y="1284"/>
                  </a:lnTo>
                  <a:lnTo>
                    <a:pt x="1602" y="1278"/>
                  </a:lnTo>
                  <a:lnTo>
                    <a:pt x="1608" y="1284"/>
                  </a:lnTo>
                  <a:lnTo>
                    <a:pt x="1632" y="1350"/>
                  </a:lnTo>
                  <a:lnTo>
                    <a:pt x="1638" y="1356"/>
                  </a:lnTo>
                  <a:lnTo>
                    <a:pt x="1644" y="1356"/>
                  </a:lnTo>
                  <a:lnTo>
                    <a:pt x="1650" y="1356"/>
                  </a:lnTo>
                  <a:lnTo>
                    <a:pt x="1656" y="1356"/>
                  </a:lnTo>
                  <a:lnTo>
                    <a:pt x="1662" y="1362"/>
                  </a:lnTo>
                  <a:lnTo>
                    <a:pt x="1668" y="1356"/>
                  </a:lnTo>
                  <a:lnTo>
                    <a:pt x="1668" y="1380"/>
                  </a:lnTo>
                  <a:lnTo>
                    <a:pt x="1662" y="1392"/>
                  </a:lnTo>
                  <a:lnTo>
                    <a:pt x="1656" y="1404"/>
                  </a:lnTo>
                  <a:lnTo>
                    <a:pt x="1656" y="1410"/>
                  </a:lnTo>
                  <a:lnTo>
                    <a:pt x="1656" y="1416"/>
                  </a:lnTo>
                  <a:lnTo>
                    <a:pt x="1650" y="1422"/>
                  </a:lnTo>
                  <a:lnTo>
                    <a:pt x="1650" y="1428"/>
                  </a:lnTo>
                  <a:lnTo>
                    <a:pt x="1644" y="1428"/>
                  </a:lnTo>
                  <a:lnTo>
                    <a:pt x="1644" y="1434"/>
                  </a:lnTo>
                  <a:lnTo>
                    <a:pt x="1638" y="1434"/>
                  </a:lnTo>
                  <a:lnTo>
                    <a:pt x="1638" y="1440"/>
                  </a:lnTo>
                  <a:lnTo>
                    <a:pt x="1632" y="1440"/>
                  </a:lnTo>
                  <a:lnTo>
                    <a:pt x="1638" y="145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8" name="Freeform 13">
              <a:extLst>
                <a:ext uri="{FF2B5EF4-FFF2-40B4-BE49-F238E27FC236}">
                  <a16:creationId xmlns:a16="http://schemas.microsoft.com/office/drawing/2014/main" id="{66308D9B-1739-4227-AAC3-BB866CD1F5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63374" y="2969626"/>
              <a:ext cx="330956" cy="357840"/>
            </a:xfrm>
            <a:custGeom>
              <a:avLst/>
              <a:gdLst>
                <a:gd name="T0" fmla="*/ 11 w 624"/>
                <a:gd name="T1" fmla="*/ 59 h 672"/>
                <a:gd name="T2" fmla="*/ 4 w 624"/>
                <a:gd name="T3" fmla="*/ 58 h 672"/>
                <a:gd name="T4" fmla="*/ 3 w 624"/>
                <a:gd name="T5" fmla="*/ 58 h 672"/>
                <a:gd name="T6" fmla="*/ 2 w 624"/>
                <a:gd name="T7" fmla="*/ 11 h 672"/>
                <a:gd name="T8" fmla="*/ 13 w 624"/>
                <a:gd name="T9" fmla="*/ 11 h 672"/>
                <a:gd name="T10" fmla="*/ 14 w 624"/>
                <a:gd name="T11" fmla="*/ 11 h 672"/>
                <a:gd name="T12" fmla="*/ 15 w 624"/>
                <a:gd name="T13" fmla="*/ 12 h 672"/>
                <a:gd name="T14" fmla="*/ 18 w 624"/>
                <a:gd name="T15" fmla="*/ 14 h 672"/>
                <a:gd name="T16" fmla="*/ 21 w 624"/>
                <a:gd name="T17" fmla="*/ 16 h 672"/>
                <a:gd name="T18" fmla="*/ 22 w 624"/>
                <a:gd name="T19" fmla="*/ 18 h 672"/>
                <a:gd name="T20" fmla="*/ 23 w 624"/>
                <a:gd name="T21" fmla="*/ 19 h 672"/>
                <a:gd name="T22" fmla="*/ 24 w 624"/>
                <a:gd name="T23" fmla="*/ 19 h 672"/>
                <a:gd name="T24" fmla="*/ 26 w 624"/>
                <a:gd name="T25" fmla="*/ 19 h 672"/>
                <a:gd name="T26" fmla="*/ 27 w 624"/>
                <a:gd name="T27" fmla="*/ 18 h 672"/>
                <a:gd name="T28" fmla="*/ 29 w 624"/>
                <a:gd name="T29" fmla="*/ 15 h 672"/>
                <a:gd name="T30" fmla="*/ 30 w 624"/>
                <a:gd name="T31" fmla="*/ 14 h 672"/>
                <a:gd name="T32" fmla="*/ 31 w 624"/>
                <a:gd name="T33" fmla="*/ 12 h 672"/>
                <a:gd name="T34" fmla="*/ 32 w 624"/>
                <a:gd name="T35" fmla="*/ 12 h 672"/>
                <a:gd name="T36" fmla="*/ 33 w 624"/>
                <a:gd name="T37" fmla="*/ 10 h 672"/>
                <a:gd name="T38" fmla="*/ 34 w 624"/>
                <a:gd name="T39" fmla="*/ 8 h 672"/>
                <a:gd name="T40" fmla="*/ 34 w 624"/>
                <a:gd name="T41" fmla="*/ 6 h 672"/>
                <a:gd name="T42" fmla="*/ 35 w 624"/>
                <a:gd name="T43" fmla="*/ 4 h 672"/>
                <a:gd name="T44" fmla="*/ 42 w 624"/>
                <a:gd name="T45" fmla="*/ 3 h 672"/>
                <a:gd name="T46" fmla="*/ 44 w 624"/>
                <a:gd name="T47" fmla="*/ 2 h 672"/>
                <a:gd name="T48" fmla="*/ 46 w 624"/>
                <a:gd name="T49" fmla="*/ 0 h 672"/>
                <a:gd name="T50" fmla="*/ 51 w 624"/>
                <a:gd name="T51" fmla="*/ 3 h 672"/>
                <a:gd name="T52" fmla="*/ 54 w 624"/>
                <a:gd name="T53" fmla="*/ 6 h 672"/>
                <a:gd name="T54" fmla="*/ 54 w 624"/>
                <a:gd name="T55" fmla="*/ 8 h 672"/>
                <a:gd name="T56" fmla="*/ 52 w 624"/>
                <a:gd name="T57" fmla="*/ 9 h 672"/>
                <a:gd name="T58" fmla="*/ 49 w 624"/>
                <a:gd name="T59" fmla="*/ 11 h 672"/>
                <a:gd name="T60" fmla="*/ 48 w 624"/>
                <a:gd name="T61" fmla="*/ 14 h 672"/>
                <a:gd name="T62" fmla="*/ 46 w 624"/>
                <a:gd name="T63" fmla="*/ 22 h 672"/>
                <a:gd name="T64" fmla="*/ 45 w 624"/>
                <a:gd name="T65" fmla="*/ 39 h 672"/>
                <a:gd name="T66" fmla="*/ 43 w 624"/>
                <a:gd name="T67" fmla="*/ 43 h 672"/>
                <a:gd name="T68" fmla="*/ 39 w 624"/>
                <a:gd name="T69" fmla="*/ 50 h 672"/>
                <a:gd name="T70" fmla="*/ 36 w 624"/>
                <a:gd name="T71" fmla="*/ 53 h 672"/>
                <a:gd name="T72" fmla="*/ 32 w 624"/>
                <a:gd name="T73" fmla="*/ 56 h 672"/>
                <a:gd name="T74" fmla="*/ 30 w 624"/>
                <a:gd name="T75" fmla="*/ 58 h 672"/>
                <a:gd name="T76" fmla="*/ 20 w 624"/>
                <a:gd name="T77" fmla="*/ 59 h 672"/>
                <a:gd name="T78" fmla="*/ 15 w 624"/>
                <a:gd name="T79" fmla="*/ 59 h 67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24"/>
                <a:gd name="T121" fmla="*/ 0 h 672"/>
                <a:gd name="T122" fmla="*/ 624 w 624"/>
                <a:gd name="T123" fmla="*/ 672 h 67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24" h="672">
                  <a:moveTo>
                    <a:pt x="168" y="672"/>
                  </a:moveTo>
                  <a:lnTo>
                    <a:pt x="132" y="672"/>
                  </a:lnTo>
                  <a:lnTo>
                    <a:pt x="72" y="666"/>
                  </a:lnTo>
                  <a:lnTo>
                    <a:pt x="42" y="666"/>
                  </a:lnTo>
                  <a:lnTo>
                    <a:pt x="36" y="666"/>
                  </a:lnTo>
                  <a:lnTo>
                    <a:pt x="30" y="660"/>
                  </a:lnTo>
                  <a:lnTo>
                    <a:pt x="0" y="660"/>
                  </a:lnTo>
                  <a:lnTo>
                    <a:pt x="24" y="120"/>
                  </a:lnTo>
                  <a:lnTo>
                    <a:pt x="60" y="120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62" y="120"/>
                  </a:lnTo>
                  <a:lnTo>
                    <a:pt x="168" y="120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10" y="156"/>
                  </a:lnTo>
                  <a:lnTo>
                    <a:pt x="222" y="174"/>
                  </a:lnTo>
                  <a:lnTo>
                    <a:pt x="240" y="186"/>
                  </a:lnTo>
                  <a:lnTo>
                    <a:pt x="252" y="198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216"/>
                  </a:lnTo>
                  <a:lnTo>
                    <a:pt x="270" y="216"/>
                  </a:lnTo>
                  <a:lnTo>
                    <a:pt x="282" y="222"/>
                  </a:lnTo>
                  <a:lnTo>
                    <a:pt x="288" y="222"/>
                  </a:lnTo>
                  <a:lnTo>
                    <a:pt x="294" y="216"/>
                  </a:lnTo>
                  <a:lnTo>
                    <a:pt x="294" y="210"/>
                  </a:lnTo>
                  <a:lnTo>
                    <a:pt x="312" y="204"/>
                  </a:lnTo>
                  <a:lnTo>
                    <a:pt x="330" y="186"/>
                  </a:lnTo>
                  <a:lnTo>
                    <a:pt x="336" y="174"/>
                  </a:lnTo>
                  <a:lnTo>
                    <a:pt x="342" y="162"/>
                  </a:lnTo>
                  <a:lnTo>
                    <a:pt x="342" y="156"/>
                  </a:lnTo>
                  <a:lnTo>
                    <a:pt x="348" y="150"/>
                  </a:lnTo>
                  <a:lnTo>
                    <a:pt x="354" y="144"/>
                  </a:lnTo>
                  <a:lnTo>
                    <a:pt x="360" y="138"/>
                  </a:lnTo>
                  <a:lnTo>
                    <a:pt x="366" y="132"/>
                  </a:lnTo>
                  <a:lnTo>
                    <a:pt x="372" y="114"/>
                  </a:lnTo>
                  <a:lnTo>
                    <a:pt x="378" y="114"/>
                  </a:lnTo>
                  <a:lnTo>
                    <a:pt x="378" y="96"/>
                  </a:lnTo>
                  <a:lnTo>
                    <a:pt x="390" y="96"/>
                  </a:lnTo>
                  <a:lnTo>
                    <a:pt x="396" y="84"/>
                  </a:lnTo>
                  <a:lnTo>
                    <a:pt x="396" y="72"/>
                  </a:lnTo>
                  <a:lnTo>
                    <a:pt x="396" y="54"/>
                  </a:lnTo>
                  <a:lnTo>
                    <a:pt x="408" y="42"/>
                  </a:lnTo>
                  <a:lnTo>
                    <a:pt x="468" y="42"/>
                  </a:lnTo>
                  <a:lnTo>
                    <a:pt x="486" y="36"/>
                  </a:lnTo>
                  <a:lnTo>
                    <a:pt x="492" y="24"/>
                  </a:lnTo>
                  <a:lnTo>
                    <a:pt x="504" y="24"/>
                  </a:lnTo>
                  <a:lnTo>
                    <a:pt x="516" y="6"/>
                  </a:lnTo>
                  <a:lnTo>
                    <a:pt x="528" y="0"/>
                  </a:lnTo>
                  <a:lnTo>
                    <a:pt x="558" y="12"/>
                  </a:lnTo>
                  <a:lnTo>
                    <a:pt x="588" y="36"/>
                  </a:lnTo>
                  <a:lnTo>
                    <a:pt x="600" y="66"/>
                  </a:lnTo>
                  <a:lnTo>
                    <a:pt x="624" y="66"/>
                  </a:lnTo>
                  <a:lnTo>
                    <a:pt x="624" y="90"/>
                  </a:lnTo>
                  <a:lnTo>
                    <a:pt x="618" y="90"/>
                  </a:lnTo>
                  <a:lnTo>
                    <a:pt x="618" y="96"/>
                  </a:lnTo>
                  <a:lnTo>
                    <a:pt x="600" y="102"/>
                  </a:lnTo>
                  <a:lnTo>
                    <a:pt x="588" y="108"/>
                  </a:lnTo>
                  <a:lnTo>
                    <a:pt x="570" y="120"/>
                  </a:lnTo>
                  <a:lnTo>
                    <a:pt x="564" y="138"/>
                  </a:lnTo>
                  <a:lnTo>
                    <a:pt x="558" y="162"/>
                  </a:lnTo>
                  <a:lnTo>
                    <a:pt x="540" y="210"/>
                  </a:lnTo>
                  <a:lnTo>
                    <a:pt x="528" y="252"/>
                  </a:lnTo>
                  <a:lnTo>
                    <a:pt x="528" y="402"/>
                  </a:lnTo>
                  <a:lnTo>
                    <a:pt x="522" y="444"/>
                  </a:lnTo>
                  <a:lnTo>
                    <a:pt x="510" y="468"/>
                  </a:lnTo>
                  <a:lnTo>
                    <a:pt x="498" y="498"/>
                  </a:lnTo>
                  <a:lnTo>
                    <a:pt x="474" y="534"/>
                  </a:lnTo>
                  <a:lnTo>
                    <a:pt x="456" y="570"/>
                  </a:lnTo>
                  <a:lnTo>
                    <a:pt x="444" y="576"/>
                  </a:lnTo>
                  <a:lnTo>
                    <a:pt x="420" y="606"/>
                  </a:lnTo>
                  <a:lnTo>
                    <a:pt x="390" y="624"/>
                  </a:lnTo>
                  <a:lnTo>
                    <a:pt x="372" y="642"/>
                  </a:lnTo>
                  <a:lnTo>
                    <a:pt x="366" y="654"/>
                  </a:lnTo>
                  <a:lnTo>
                    <a:pt x="342" y="660"/>
                  </a:lnTo>
                  <a:lnTo>
                    <a:pt x="300" y="666"/>
                  </a:lnTo>
                  <a:lnTo>
                    <a:pt x="234" y="672"/>
                  </a:lnTo>
                  <a:lnTo>
                    <a:pt x="192" y="672"/>
                  </a:lnTo>
                  <a:lnTo>
                    <a:pt x="168" y="67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9" name="Freeform 14">
              <a:extLst>
                <a:ext uri="{FF2B5EF4-FFF2-40B4-BE49-F238E27FC236}">
                  <a16:creationId xmlns:a16="http://schemas.microsoft.com/office/drawing/2014/main" id="{2EA1E999-9CDF-4391-8BC9-7DE71AF9C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0460" y="2983045"/>
              <a:ext cx="905658" cy="561362"/>
            </a:xfrm>
            <a:custGeom>
              <a:avLst/>
              <a:gdLst>
                <a:gd name="T0" fmla="*/ 31 w 1704"/>
                <a:gd name="T1" fmla="*/ 78 h 1056"/>
                <a:gd name="T2" fmla="*/ 23 w 1704"/>
                <a:gd name="T3" fmla="*/ 78 h 1056"/>
                <a:gd name="T4" fmla="*/ 11 w 1704"/>
                <a:gd name="T5" fmla="*/ 79 h 1056"/>
                <a:gd name="T6" fmla="*/ 1 w 1704"/>
                <a:gd name="T7" fmla="*/ 81 h 1056"/>
                <a:gd name="T8" fmla="*/ 0 w 1704"/>
                <a:gd name="T9" fmla="*/ 62 h 1056"/>
                <a:gd name="T10" fmla="*/ 9 w 1704"/>
                <a:gd name="T11" fmla="*/ 56 h 1056"/>
                <a:gd name="T12" fmla="*/ 27 w 1704"/>
                <a:gd name="T13" fmla="*/ 48 h 1056"/>
                <a:gd name="T14" fmla="*/ 35 w 1704"/>
                <a:gd name="T15" fmla="*/ 20 h 1056"/>
                <a:gd name="T16" fmla="*/ 43 w 1704"/>
                <a:gd name="T17" fmla="*/ 6 h 1056"/>
                <a:gd name="T18" fmla="*/ 47 w 1704"/>
                <a:gd name="T19" fmla="*/ 7 h 1056"/>
                <a:gd name="T20" fmla="*/ 52 w 1704"/>
                <a:gd name="T21" fmla="*/ 0 h 1056"/>
                <a:gd name="T22" fmla="*/ 59 w 1704"/>
                <a:gd name="T23" fmla="*/ 5 h 1056"/>
                <a:gd name="T24" fmla="*/ 63 w 1704"/>
                <a:gd name="T25" fmla="*/ 12 h 1056"/>
                <a:gd name="T26" fmla="*/ 62 w 1704"/>
                <a:gd name="T27" fmla="*/ 15 h 1056"/>
                <a:gd name="T28" fmla="*/ 62 w 1704"/>
                <a:gd name="T29" fmla="*/ 18 h 1056"/>
                <a:gd name="T30" fmla="*/ 70 w 1704"/>
                <a:gd name="T31" fmla="*/ 18 h 1056"/>
                <a:gd name="T32" fmla="*/ 71 w 1704"/>
                <a:gd name="T33" fmla="*/ 14 h 1056"/>
                <a:gd name="T34" fmla="*/ 72 w 1704"/>
                <a:gd name="T35" fmla="*/ 12 h 1056"/>
                <a:gd name="T36" fmla="*/ 78 w 1704"/>
                <a:gd name="T37" fmla="*/ 14 h 1056"/>
                <a:gd name="T38" fmla="*/ 85 w 1704"/>
                <a:gd name="T39" fmla="*/ 21 h 1056"/>
                <a:gd name="T40" fmla="*/ 91 w 1704"/>
                <a:gd name="T41" fmla="*/ 15 h 1056"/>
                <a:gd name="T42" fmla="*/ 93 w 1704"/>
                <a:gd name="T43" fmla="*/ 10 h 1056"/>
                <a:gd name="T44" fmla="*/ 101 w 1704"/>
                <a:gd name="T45" fmla="*/ 14 h 1056"/>
                <a:gd name="T46" fmla="*/ 103 w 1704"/>
                <a:gd name="T47" fmla="*/ 19 h 1056"/>
                <a:gd name="T48" fmla="*/ 115 w 1704"/>
                <a:gd name="T49" fmla="*/ 20 h 1056"/>
                <a:gd name="T50" fmla="*/ 118 w 1704"/>
                <a:gd name="T51" fmla="*/ 23 h 1056"/>
                <a:gd name="T52" fmla="*/ 117 w 1704"/>
                <a:gd name="T53" fmla="*/ 27 h 1056"/>
                <a:gd name="T54" fmla="*/ 111 w 1704"/>
                <a:gd name="T55" fmla="*/ 33 h 1056"/>
                <a:gd name="T56" fmla="*/ 108 w 1704"/>
                <a:gd name="T57" fmla="*/ 36 h 1056"/>
                <a:gd name="T58" fmla="*/ 109 w 1704"/>
                <a:gd name="T59" fmla="*/ 40 h 1056"/>
                <a:gd name="T60" fmla="*/ 111 w 1704"/>
                <a:gd name="T61" fmla="*/ 43 h 1056"/>
                <a:gd name="T62" fmla="*/ 113 w 1704"/>
                <a:gd name="T63" fmla="*/ 50 h 1056"/>
                <a:gd name="T64" fmla="*/ 121 w 1704"/>
                <a:gd name="T65" fmla="*/ 55 h 1056"/>
                <a:gd name="T66" fmla="*/ 132 w 1704"/>
                <a:gd name="T67" fmla="*/ 52 h 1056"/>
                <a:gd name="T68" fmla="*/ 148 w 1704"/>
                <a:gd name="T69" fmla="*/ 58 h 1056"/>
                <a:gd name="T70" fmla="*/ 148 w 1704"/>
                <a:gd name="T71" fmla="*/ 61 h 1056"/>
                <a:gd name="T72" fmla="*/ 148 w 1704"/>
                <a:gd name="T73" fmla="*/ 64 h 1056"/>
                <a:gd name="T74" fmla="*/ 135 w 1704"/>
                <a:gd name="T75" fmla="*/ 61 h 1056"/>
                <a:gd name="T76" fmla="*/ 135 w 1704"/>
                <a:gd name="T77" fmla="*/ 66 h 1056"/>
                <a:gd name="T78" fmla="*/ 137 w 1704"/>
                <a:gd name="T79" fmla="*/ 71 h 1056"/>
                <a:gd name="T80" fmla="*/ 136 w 1704"/>
                <a:gd name="T81" fmla="*/ 79 h 1056"/>
                <a:gd name="T82" fmla="*/ 126 w 1704"/>
                <a:gd name="T83" fmla="*/ 84 h 1056"/>
                <a:gd name="T84" fmla="*/ 121 w 1704"/>
                <a:gd name="T85" fmla="*/ 79 h 1056"/>
                <a:gd name="T86" fmla="*/ 117 w 1704"/>
                <a:gd name="T87" fmla="*/ 75 h 1056"/>
                <a:gd name="T88" fmla="*/ 98 w 1704"/>
                <a:gd name="T89" fmla="*/ 74 h 1056"/>
                <a:gd name="T90" fmla="*/ 81 w 1704"/>
                <a:gd name="T91" fmla="*/ 75 h 1056"/>
                <a:gd name="T92" fmla="*/ 83 w 1704"/>
                <a:gd name="T93" fmla="*/ 88 h 1056"/>
                <a:gd name="T94" fmla="*/ 82 w 1704"/>
                <a:gd name="T95" fmla="*/ 91 h 1056"/>
                <a:gd name="T96" fmla="*/ 77 w 1704"/>
                <a:gd name="T97" fmla="*/ 90 h 1056"/>
                <a:gd name="T98" fmla="*/ 73 w 1704"/>
                <a:gd name="T99" fmla="*/ 86 h 1056"/>
                <a:gd name="T100" fmla="*/ 68 w 1704"/>
                <a:gd name="T101" fmla="*/ 85 h 1056"/>
                <a:gd name="T102" fmla="*/ 64 w 1704"/>
                <a:gd name="T103" fmla="*/ 83 h 1056"/>
                <a:gd name="T104" fmla="*/ 57 w 1704"/>
                <a:gd name="T105" fmla="*/ 81 h 1056"/>
                <a:gd name="T106" fmla="*/ 52 w 1704"/>
                <a:gd name="T107" fmla="*/ 80 h 1056"/>
                <a:gd name="T108" fmla="*/ 50 w 1704"/>
                <a:gd name="T109" fmla="*/ 80 h 1056"/>
                <a:gd name="T110" fmla="*/ 46 w 1704"/>
                <a:gd name="T111" fmla="*/ 79 h 1056"/>
                <a:gd name="T112" fmla="*/ 41 w 1704"/>
                <a:gd name="T113" fmla="*/ 78 h 10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04"/>
                <a:gd name="T172" fmla="*/ 0 h 1056"/>
                <a:gd name="T173" fmla="*/ 1704 w 1704"/>
                <a:gd name="T174" fmla="*/ 1056 h 10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04" h="1056">
                  <a:moveTo>
                    <a:pt x="450" y="888"/>
                  </a:moveTo>
                  <a:lnTo>
                    <a:pt x="420" y="888"/>
                  </a:lnTo>
                  <a:lnTo>
                    <a:pt x="414" y="888"/>
                  </a:lnTo>
                  <a:lnTo>
                    <a:pt x="396" y="888"/>
                  </a:lnTo>
                  <a:lnTo>
                    <a:pt x="372" y="888"/>
                  </a:lnTo>
                  <a:lnTo>
                    <a:pt x="366" y="888"/>
                  </a:lnTo>
                  <a:lnTo>
                    <a:pt x="360" y="888"/>
                  </a:lnTo>
                  <a:lnTo>
                    <a:pt x="348" y="888"/>
                  </a:lnTo>
                  <a:lnTo>
                    <a:pt x="330" y="894"/>
                  </a:lnTo>
                  <a:lnTo>
                    <a:pt x="324" y="894"/>
                  </a:lnTo>
                  <a:lnTo>
                    <a:pt x="312" y="888"/>
                  </a:lnTo>
                  <a:lnTo>
                    <a:pt x="300" y="888"/>
                  </a:lnTo>
                  <a:lnTo>
                    <a:pt x="282" y="888"/>
                  </a:lnTo>
                  <a:lnTo>
                    <a:pt x="270" y="888"/>
                  </a:lnTo>
                  <a:lnTo>
                    <a:pt x="240" y="882"/>
                  </a:lnTo>
                  <a:lnTo>
                    <a:pt x="222" y="882"/>
                  </a:lnTo>
                  <a:lnTo>
                    <a:pt x="198" y="882"/>
                  </a:lnTo>
                  <a:lnTo>
                    <a:pt x="174" y="894"/>
                  </a:lnTo>
                  <a:lnTo>
                    <a:pt x="162" y="900"/>
                  </a:lnTo>
                  <a:lnTo>
                    <a:pt x="144" y="906"/>
                  </a:lnTo>
                  <a:lnTo>
                    <a:pt x="126" y="912"/>
                  </a:lnTo>
                  <a:lnTo>
                    <a:pt x="102" y="924"/>
                  </a:lnTo>
                  <a:lnTo>
                    <a:pt x="78" y="930"/>
                  </a:lnTo>
                  <a:lnTo>
                    <a:pt x="72" y="936"/>
                  </a:lnTo>
                  <a:lnTo>
                    <a:pt x="30" y="954"/>
                  </a:lnTo>
                  <a:lnTo>
                    <a:pt x="12" y="966"/>
                  </a:lnTo>
                  <a:lnTo>
                    <a:pt x="12" y="954"/>
                  </a:lnTo>
                  <a:lnTo>
                    <a:pt x="12" y="930"/>
                  </a:lnTo>
                  <a:lnTo>
                    <a:pt x="12" y="894"/>
                  </a:lnTo>
                  <a:lnTo>
                    <a:pt x="30" y="828"/>
                  </a:lnTo>
                  <a:lnTo>
                    <a:pt x="36" y="798"/>
                  </a:lnTo>
                  <a:lnTo>
                    <a:pt x="18" y="774"/>
                  </a:lnTo>
                  <a:lnTo>
                    <a:pt x="18" y="756"/>
                  </a:lnTo>
                  <a:lnTo>
                    <a:pt x="6" y="738"/>
                  </a:lnTo>
                  <a:lnTo>
                    <a:pt x="0" y="714"/>
                  </a:lnTo>
                  <a:lnTo>
                    <a:pt x="12" y="678"/>
                  </a:lnTo>
                  <a:lnTo>
                    <a:pt x="18" y="678"/>
                  </a:lnTo>
                  <a:lnTo>
                    <a:pt x="24" y="672"/>
                  </a:lnTo>
                  <a:lnTo>
                    <a:pt x="30" y="666"/>
                  </a:lnTo>
                  <a:lnTo>
                    <a:pt x="42" y="648"/>
                  </a:lnTo>
                  <a:lnTo>
                    <a:pt x="66" y="648"/>
                  </a:lnTo>
                  <a:lnTo>
                    <a:pt x="108" y="648"/>
                  </a:lnTo>
                  <a:lnTo>
                    <a:pt x="174" y="642"/>
                  </a:lnTo>
                  <a:lnTo>
                    <a:pt x="216" y="636"/>
                  </a:lnTo>
                  <a:lnTo>
                    <a:pt x="240" y="630"/>
                  </a:lnTo>
                  <a:lnTo>
                    <a:pt x="246" y="618"/>
                  </a:lnTo>
                  <a:lnTo>
                    <a:pt x="264" y="600"/>
                  </a:lnTo>
                  <a:lnTo>
                    <a:pt x="294" y="582"/>
                  </a:lnTo>
                  <a:lnTo>
                    <a:pt x="318" y="552"/>
                  </a:lnTo>
                  <a:lnTo>
                    <a:pt x="330" y="546"/>
                  </a:lnTo>
                  <a:lnTo>
                    <a:pt x="348" y="510"/>
                  </a:lnTo>
                  <a:lnTo>
                    <a:pt x="372" y="474"/>
                  </a:lnTo>
                  <a:lnTo>
                    <a:pt x="384" y="444"/>
                  </a:lnTo>
                  <a:lnTo>
                    <a:pt x="396" y="420"/>
                  </a:lnTo>
                  <a:lnTo>
                    <a:pt x="402" y="378"/>
                  </a:lnTo>
                  <a:lnTo>
                    <a:pt x="402" y="228"/>
                  </a:lnTo>
                  <a:lnTo>
                    <a:pt x="414" y="186"/>
                  </a:lnTo>
                  <a:lnTo>
                    <a:pt x="432" y="138"/>
                  </a:lnTo>
                  <a:lnTo>
                    <a:pt x="438" y="114"/>
                  </a:lnTo>
                  <a:lnTo>
                    <a:pt x="444" y="96"/>
                  </a:lnTo>
                  <a:lnTo>
                    <a:pt x="462" y="84"/>
                  </a:lnTo>
                  <a:lnTo>
                    <a:pt x="474" y="78"/>
                  </a:lnTo>
                  <a:lnTo>
                    <a:pt x="492" y="72"/>
                  </a:lnTo>
                  <a:lnTo>
                    <a:pt x="492" y="66"/>
                  </a:lnTo>
                  <a:lnTo>
                    <a:pt x="498" y="66"/>
                  </a:lnTo>
                  <a:lnTo>
                    <a:pt x="510" y="66"/>
                  </a:lnTo>
                  <a:lnTo>
                    <a:pt x="510" y="72"/>
                  </a:lnTo>
                  <a:lnTo>
                    <a:pt x="516" y="72"/>
                  </a:lnTo>
                  <a:lnTo>
                    <a:pt x="522" y="78"/>
                  </a:lnTo>
                  <a:lnTo>
                    <a:pt x="546" y="78"/>
                  </a:lnTo>
                  <a:lnTo>
                    <a:pt x="552" y="60"/>
                  </a:lnTo>
                  <a:lnTo>
                    <a:pt x="570" y="42"/>
                  </a:lnTo>
                  <a:lnTo>
                    <a:pt x="576" y="24"/>
                  </a:lnTo>
                  <a:lnTo>
                    <a:pt x="588" y="18"/>
                  </a:lnTo>
                  <a:lnTo>
                    <a:pt x="588" y="12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624" y="0"/>
                  </a:lnTo>
                  <a:lnTo>
                    <a:pt x="636" y="6"/>
                  </a:lnTo>
                  <a:lnTo>
                    <a:pt x="648" y="24"/>
                  </a:lnTo>
                  <a:lnTo>
                    <a:pt x="654" y="48"/>
                  </a:lnTo>
                  <a:lnTo>
                    <a:pt x="672" y="60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0" y="72"/>
                  </a:lnTo>
                  <a:lnTo>
                    <a:pt x="690" y="78"/>
                  </a:lnTo>
                  <a:lnTo>
                    <a:pt x="696" y="90"/>
                  </a:lnTo>
                  <a:lnTo>
                    <a:pt x="714" y="114"/>
                  </a:lnTo>
                  <a:lnTo>
                    <a:pt x="714" y="120"/>
                  </a:lnTo>
                  <a:lnTo>
                    <a:pt x="720" y="132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20" y="150"/>
                  </a:lnTo>
                  <a:lnTo>
                    <a:pt x="714" y="150"/>
                  </a:lnTo>
                  <a:lnTo>
                    <a:pt x="714" y="156"/>
                  </a:lnTo>
                  <a:lnTo>
                    <a:pt x="714" y="162"/>
                  </a:lnTo>
                  <a:lnTo>
                    <a:pt x="708" y="162"/>
                  </a:lnTo>
                  <a:lnTo>
                    <a:pt x="708" y="168"/>
                  </a:lnTo>
                  <a:lnTo>
                    <a:pt x="702" y="168"/>
                  </a:lnTo>
                  <a:lnTo>
                    <a:pt x="702" y="174"/>
                  </a:lnTo>
                  <a:lnTo>
                    <a:pt x="702" y="180"/>
                  </a:lnTo>
                  <a:lnTo>
                    <a:pt x="708" y="180"/>
                  </a:lnTo>
                  <a:lnTo>
                    <a:pt x="708" y="186"/>
                  </a:lnTo>
                  <a:lnTo>
                    <a:pt x="708" y="192"/>
                  </a:lnTo>
                  <a:lnTo>
                    <a:pt x="714" y="204"/>
                  </a:lnTo>
                  <a:lnTo>
                    <a:pt x="726" y="216"/>
                  </a:lnTo>
                  <a:lnTo>
                    <a:pt x="738" y="216"/>
                  </a:lnTo>
                  <a:lnTo>
                    <a:pt x="768" y="222"/>
                  </a:lnTo>
                  <a:lnTo>
                    <a:pt x="780" y="216"/>
                  </a:lnTo>
                  <a:lnTo>
                    <a:pt x="792" y="204"/>
                  </a:lnTo>
                  <a:lnTo>
                    <a:pt x="798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6" y="192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6" y="174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22" y="156"/>
                  </a:lnTo>
                  <a:lnTo>
                    <a:pt x="822" y="150"/>
                  </a:lnTo>
                  <a:lnTo>
                    <a:pt x="828" y="144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8" y="138"/>
                  </a:lnTo>
                  <a:lnTo>
                    <a:pt x="834" y="132"/>
                  </a:lnTo>
                  <a:lnTo>
                    <a:pt x="840" y="132"/>
                  </a:lnTo>
                  <a:lnTo>
                    <a:pt x="864" y="126"/>
                  </a:lnTo>
                  <a:lnTo>
                    <a:pt x="906" y="144"/>
                  </a:lnTo>
                  <a:lnTo>
                    <a:pt x="906" y="150"/>
                  </a:lnTo>
                  <a:lnTo>
                    <a:pt x="906" y="156"/>
                  </a:lnTo>
                  <a:lnTo>
                    <a:pt x="900" y="162"/>
                  </a:lnTo>
                  <a:lnTo>
                    <a:pt x="924" y="168"/>
                  </a:lnTo>
                  <a:lnTo>
                    <a:pt x="942" y="192"/>
                  </a:lnTo>
                  <a:lnTo>
                    <a:pt x="972" y="210"/>
                  </a:lnTo>
                  <a:lnTo>
                    <a:pt x="972" y="216"/>
                  </a:lnTo>
                  <a:lnTo>
                    <a:pt x="972" y="228"/>
                  </a:lnTo>
                  <a:lnTo>
                    <a:pt x="978" y="234"/>
                  </a:lnTo>
                  <a:lnTo>
                    <a:pt x="978" y="246"/>
                  </a:lnTo>
                  <a:lnTo>
                    <a:pt x="984" y="252"/>
                  </a:lnTo>
                  <a:lnTo>
                    <a:pt x="1014" y="252"/>
                  </a:lnTo>
                  <a:lnTo>
                    <a:pt x="1020" y="228"/>
                  </a:lnTo>
                  <a:lnTo>
                    <a:pt x="1026" y="198"/>
                  </a:lnTo>
                  <a:lnTo>
                    <a:pt x="1050" y="186"/>
                  </a:lnTo>
                  <a:lnTo>
                    <a:pt x="1056" y="180"/>
                  </a:lnTo>
                  <a:lnTo>
                    <a:pt x="1050" y="174"/>
                  </a:lnTo>
                  <a:lnTo>
                    <a:pt x="1050" y="168"/>
                  </a:lnTo>
                  <a:lnTo>
                    <a:pt x="1050" y="162"/>
                  </a:lnTo>
                  <a:lnTo>
                    <a:pt x="1056" y="162"/>
                  </a:lnTo>
                  <a:lnTo>
                    <a:pt x="1062" y="162"/>
                  </a:lnTo>
                  <a:lnTo>
                    <a:pt x="1074" y="162"/>
                  </a:lnTo>
                  <a:lnTo>
                    <a:pt x="1074" y="144"/>
                  </a:lnTo>
                  <a:lnTo>
                    <a:pt x="1074" y="120"/>
                  </a:lnTo>
                  <a:lnTo>
                    <a:pt x="1092" y="120"/>
                  </a:lnTo>
                  <a:lnTo>
                    <a:pt x="1098" y="126"/>
                  </a:lnTo>
                  <a:lnTo>
                    <a:pt x="1134" y="132"/>
                  </a:lnTo>
                  <a:lnTo>
                    <a:pt x="1146" y="132"/>
                  </a:lnTo>
                  <a:lnTo>
                    <a:pt x="1158" y="150"/>
                  </a:lnTo>
                  <a:lnTo>
                    <a:pt x="1158" y="156"/>
                  </a:lnTo>
                  <a:lnTo>
                    <a:pt x="1158" y="162"/>
                  </a:lnTo>
                  <a:lnTo>
                    <a:pt x="1158" y="180"/>
                  </a:lnTo>
                  <a:lnTo>
                    <a:pt x="1158" y="186"/>
                  </a:lnTo>
                  <a:lnTo>
                    <a:pt x="1164" y="192"/>
                  </a:lnTo>
                  <a:lnTo>
                    <a:pt x="1176" y="198"/>
                  </a:lnTo>
                  <a:lnTo>
                    <a:pt x="1182" y="198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8"/>
                  </a:lnTo>
                  <a:lnTo>
                    <a:pt x="1188" y="234"/>
                  </a:lnTo>
                  <a:lnTo>
                    <a:pt x="1212" y="234"/>
                  </a:lnTo>
                  <a:lnTo>
                    <a:pt x="1242" y="234"/>
                  </a:lnTo>
                  <a:lnTo>
                    <a:pt x="1248" y="234"/>
                  </a:lnTo>
                  <a:lnTo>
                    <a:pt x="1278" y="240"/>
                  </a:lnTo>
                  <a:lnTo>
                    <a:pt x="1320" y="234"/>
                  </a:lnTo>
                  <a:lnTo>
                    <a:pt x="1332" y="228"/>
                  </a:lnTo>
                  <a:lnTo>
                    <a:pt x="1344" y="228"/>
                  </a:lnTo>
                  <a:lnTo>
                    <a:pt x="1350" y="234"/>
                  </a:lnTo>
                  <a:lnTo>
                    <a:pt x="1350" y="240"/>
                  </a:lnTo>
                  <a:lnTo>
                    <a:pt x="1356" y="246"/>
                  </a:lnTo>
                  <a:lnTo>
                    <a:pt x="1350" y="252"/>
                  </a:lnTo>
                  <a:lnTo>
                    <a:pt x="1356" y="264"/>
                  </a:lnTo>
                  <a:lnTo>
                    <a:pt x="1356" y="270"/>
                  </a:lnTo>
                  <a:lnTo>
                    <a:pt x="1356" y="276"/>
                  </a:lnTo>
                  <a:lnTo>
                    <a:pt x="1356" y="282"/>
                  </a:lnTo>
                  <a:lnTo>
                    <a:pt x="1356" y="288"/>
                  </a:lnTo>
                  <a:lnTo>
                    <a:pt x="1350" y="294"/>
                  </a:lnTo>
                  <a:lnTo>
                    <a:pt x="1344" y="300"/>
                  </a:lnTo>
                  <a:lnTo>
                    <a:pt x="1344" y="306"/>
                  </a:lnTo>
                  <a:lnTo>
                    <a:pt x="1338" y="312"/>
                  </a:lnTo>
                  <a:lnTo>
                    <a:pt x="1326" y="342"/>
                  </a:lnTo>
                  <a:lnTo>
                    <a:pt x="1320" y="348"/>
                  </a:lnTo>
                  <a:lnTo>
                    <a:pt x="1314" y="354"/>
                  </a:lnTo>
                  <a:lnTo>
                    <a:pt x="1290" y="354"/>
                  </a:lnTo>
                  <a:lnTo>
                    <a:pt x="1284" y="360"/>
                  </a:lnTo>
                  <a:lnTo>
                    <a:pt x="1278" y="378"/>
                  </a:lnTo>
                  <a:lnTo>
                    <a:pt x="1278" y="384"/>
                  </a:lnTo>
                  <a:lnTo>
                    <a:pt x="1272" y="390"/>
                  </a:lnTo>
                  <a:lnTo>
                    <a:pt x="1266" y="396"/>
                  </a:lnTo>
                  <a:lnTo>
                    <a:pt x="1260" y="396"/>
                  </a:lnTo>
                  <a:lnTo>
                    <a:pt x="1248" y="402"/>
                  </a:lnTo>
                  <a:lnTo>
                    <a:pt x="1242" y="408"/>
                  </a:lnTo>
                  <a:lnTo>
                    <a:pt x="1242" y="414"/>
                  </a:lnTo>
                  <a:lnTo>
                    <a:pt x="1242" y="420"/>
                  </a:lnTo>
                  <a:lnTo>
                    <a:pt x="1236" y="432"/>
                  </a:lnTo>
                  <a:lnTo>
                    <a:pt x="1242" y="432"/>
                  </a:lnTo>
                  <a:lnTo>
                    <a:pt x="1242" y="444"/>
                  </a:lnTo>
                  <a:lnTo>
                    <a:pt x="1242" y="456"/>
                  </a:lnTo>
                  <a:lnTo>
                    <a:pt x="1248" y="456"/>
                  </a:lnTo>
                  <a:lnTo>
                    <a:pt x="1254" y="462"/>
                  </a:lnTo>
                  <a:lnTo>
                    <a:pt x="1248" y="468"/>
                  </a:lnTo>
                  <a:lnTo>
                    <a:pt x="1254" y="468"/>
                  </a:lnTo>
                  <a:lnTo>
                    <a:pt x="1266" y="474"/>
                  </a:lnTo>
                  <a:lnTo>
                    <a:pt x="1266" y="480"/>
                  </a:lnTo>
                  <a:lnTo>
                    <a:pt x="1266" y="486"/>
                  </a:lnTo>
                  <a:lnTo>
                    <a:pt x="1272" y="486"/>
                  </a:lnTo>
                  <a:lnTo>
                    <a:pt x="1272" y="492"/>
                  </a:lnTo>
                  <a:lnTo>
                    <a:pt x="1290" y="510"/>
                  </a:lnTo>
                  <a:lnTo>
                    <a:pt x="1296" y="516"/>
                  </a:lnTo>
                  <a:lnTo>
                    <a:pt x="1302" y="540"/>
                  </a:lnTo>
                  <a:lnTo>
                    <a:pt x="1302" y="546"/>
                  </a:lnTo>
                  <a:lnTo>
                    <a:pt x="1302" y="558"/>
                  </a:lnTo>
                  <a:lnTo>
                    <a:pt x="1302" y="570"/>
                  </a:lnTo>
                  <a:lnTo>
                    <a:pt x="1302" y="576"/>
                  </a:lnTo>
                  <a:lnTo>
                    <a:pt x="1344" y="570"/>
                  </a:lnTo>
                  <a:lnTo>
                    <a:pt x="1350" y="582"/>
                  </a:lnTo>
                  <a:lnTo>
                    <a:pt x="1368" y="594"/>
                  </a:lnTo>
                  <a:lnTo>
                    <a:pt x="1374" y="600"/>
                  </a:lnTo>
                  <a:lnTo>
                    <a:pt x="1380" y="600"/>
                  </a:lnTo>
                  <a:lnTo>
                    <a:pt x="1380" y="618"/>
                  </a:lnTo>
                  <a:lnTo>
                    <a:pt x="1386" y="624"/>
                  </a:lnTo>
                  <a:lnTo>
                    <a:pt x="1404" y="624"/>
                  </a:lnTo>
                  <a:lnTo>
                    <a:pt x="1410" y="612"/>
                  </a:lnTo>
                  <a:lnTo>
                    <a:pt x="1428" y="606"/>
                  </a:lnTo>
                  <a:lnTo>
                    <a:pt x="1488" y="606"/>
                  </a:lnTo>
                  <a:lnTo>
                    <a:pt x="1506" y="606"/>
                  </a:lnTo>
                  <a:lnTo>
                    <a:pt x="1512" y="600"/>
                  </a:lnTo>
                  <a:lnTo>
                    <a:pt x="1524" y="594"/>
                  </a:lnTo>
                  <a:lnTo>
                    <a:pt x="1554" y="594"/>
                  </a:lnTo>
                  <a:lnTo>
                    <a:pt x="1578" y="606"/>
                  </a:lnTo>
                  <a:lnTo>
                    <a:pt x="1596" y="624"/>
                  </a:lnTo>
                  <a:lnTo>
                    <a:pt x="1650" y="642"/>
                  </a:lnTo>
                  <a:lnTo>
                    <a:pt x="1686" y="648"/>
                  </a:lnTo>
                  <a:lnTo>
                    <a:pt x="1698" y="654"/>
                  </a:lnTo>
                  <a:lnTo>
                    <a:pt x="1698" y="660"/>
                  </a:lnTo>
                  <a:lnTo>
                    <a:pt x="1692" y="666"/>
                  </a:lnTo>
                  <a:lnTo>
                    <a:pt x="1692" y="672"/>
                  </a:lnTo>
                  <a:lnTo>
                    <a:pt x="1698" y="678"/>
                  </a:lnTo>
                  <a:lnTo>
                    <a:pt x="1698" y="684"/>
                  </a:lnTo>
                  <a:lnTo>
                    <a:pt x="1692" y="684"/>
                  </a:lnTo>
                  <a:lnTo>
                    <a:pt x="1692" y="690"/>
                  </a:lnTo>
                  <a:lnTo>
                    <a:pt x="1698" y="696"/>
                  </a:lnTo>
                  <a:lnTo>
                    <a:pt x="1698" y="702"/>
                  </a:lnTo>
                  <a:lnTo>
                    <a:pt x="1698" y="708"/>
                  </a:lnTo>
                  <a:lnTo>
                    <a:pt x="1704" y="714"/>
                  </a:lnTo>
                  <a:lnTo>
                    <a:pt x="1704" y="720"/>
                  </a:lnTo>
                  <a:lnTo>
                    <a:pt x="1704" y="726"/>
                  </a:lnTo>
                  <a:lnTo>
                    <a:pt x="1704" y="732"/>
                  </a:lnTo>
                  <a:lnTo>
                    <a:pt x="1704" y="738"/>
                  </a:lnTo>
                  <a:lnTo>
                    <a:pt x="1698" y="726"/>
                  </a:lnTo>
                  <a:lnTo>
                    <a:pt x="1668" y="720"/>
                  </a:lnTo>
                  <a:lnTo>
                    <a:pt x="1626" y="714"/>
                  </a:lnTo>
                  <a:lnTo>
                    <a:pt x="1614" y="708"/>
                  </a:lnTo>
                  <a:lnTo>
                    <a:pt x="1578" y="696"/>
                  </a:lnTo>
                  <a:lnTo>
                    <a:pt x="1566" y="696"/>
                  </a:lnTo>
                  <a:lnTo>
                    <a:pt x="1548" y="702"/>
                  </a:lnTo>
                  <a:lnTo>
                    <a:pt x="1542" y="714"/>
                  </a:lnTo>
                  <a:lnTo>
                    <a:pt x="1536" y="732"/>
                  </a:lnTo>
                  <a:lnTo>
                    <a:pt x="1530" y="750"/>
                  </a:lnTo>
                  <a:lnTo>
                    <a:pt x="1536" y="750"/>
                  </a:lnTo>
                  <a:lnTo>
                    <a:pt x="1542" y="756"/>
                  </a:lnTo>
                  <a:lnTo>
                    <a:pt x="1542" y="762"/>
                  </a:lnTo>
                  <a:lnTo>
                    <a:pt x="1548" y="762"/>
                  </a:lnTo>
                  <a:lnTo>
                    <a:pt x="1554" y="762"/>
                  </a:lnTo>
                  <a:lnTo>
                    <a:pt x="1554" y="768"/>
                  </a:lnTo>
                  <a:lnTo>
                    <a:pt x="1560" y="774"/>
                  </a:lnTo>
                  <a:lnTo>
                    <a:pt x="1566" y="774"/>
                  </a:lnTo>
                  <a:lnTo>
                    <a:pt x="1584" y="792"/>
                  </a:lnTo>
                  <a:lnTo>
                    <a:pt x="1584" y="810"/>
                  </a:lnTo>
                  <a:lnTo>
                    <a:pt x="1572" y="816"/>
                  </a:lnTo>
                  <a:lnTo>
                    <a:pt x="1578" y="834"/>
                  </a:lnTo>
                  <a:lnTo>
                    <a:pt x="1578" y="846"/>
                  </a:lnTo>
                  <a:lnTo>
                    <a:pt x="1584" y="858"/>
                  </a:lnTo>
                  <a:lnTo>
                    <a:pt x="1590" y="864"/>
                  </a:lnTo>
                  <a:lnTo>
                    <a:pt x="1590" y="876"/>
                  </a:lnTo>
                  <a:lnTo>
                    <a:pt x="1578" y="888"/>
                  </a:lnTo>
                  <a:lnTo>
                    <a:pt x="1560" y="906"/>
                  </a:lnTo>
                  <a:lnTo>
                    <a:pt x="1536" y="930"/>
                  </a:lnTo>
                  <a:lnTo>
                    <a:pt x="1530" y="930"/>
                  </a:lnTo>
                  <a:lnTo>
                    <a:pt x="1506" y="942"/>
                  </a:lnTo>
                  <a:lnTo>
                    <a:pt x="1488" y="948"/>
                  </a:lnTo>
                  <a:lnTo>
                    <a:pt x="1476" y="954"/>
                  </a:lnTo>
                  <a:lnTo>
                    <a:pt x="1458" y="960"/>
                  </a:lnTo>
                  <a:lnTo>
                    <a:pt x="1452" y="966"/>
                  </a:lnTo>
                  <a:lnTo>
                    <a:pt x="1446" y="966"/>
                  </a:lnTo>
                  <a:lnTo>
                    <a:pt x="1434" y="972"/>
                  </a:lnTo>
                  <a:lnTo>
                    <a:pt x="1434" y="954"/>
                  </a:lnTo>
                  <a:lnTo>
                    <a:pt x="1422" y="942"/>
                  </a:lnTo>
                  <a:lnTo>
                    <a:pt x="1398" y="924"/>
                  </a:lnTo>
                  <a:lnTo>
                    <a:pt x="1398" y="912"/>
                  </a:lnTo>
                  <a:lnTo>
                    <a:pt x="1398" y="906"/>
                  </a:lnTo>
                  <a:lnTo>
                    <a:pt x="1398" y="900"/>
                  </a:lnTo>
                  <a:lnTo>
                    <a:pt x="1380" y="900"/>
                  </a:lnTo>
                  <a:lnTo>
                    <a:pt x="1380" y="894"/>
                  </a:lnTo>
                  <a:lnTo>
                    <a:pt x="1368" y="888"/>
                  </a:lnTo>
                  <a:lnTo>
                    <a:pt x="1362" y="882"/>
                  </a:lnTo>
                  <a:lnTo>
                    <a:pt x="1356" y="876"/>
                  </a:lnTo>
                  <a:lnTo>
                    <a:pt x="1350" y="864"/>
                  </a:lnTo>
                  <a:lnTo>
                    <a:pt x="1344" y="858"/>
                  </a:lnTo>
                  <a:lnTo>
                    <a:pt x="1314" y="870"/>
                  </a:lnTo>
                  <a:lnTo>
                    <a:pt x="1272" y="876"/>
                  </a:lnTo>
                  <a:lnTo>
                    <a:pt x="1218" y="870"/>
                  </a:lnTo>
                  <a:lnTo>
                    <a:pt x="1200" y="864"/>
                  </a:lnTo>
                  <a:lnTo>
                    <a:pt x="1182" y="864"/>
                  </a:lnTo>
                  <a:lnTo>
                    <a:pt x="1134" y="858"/>
                  </a:lnTo>
                  <a:lnTo>
                    <a:pt x="1110" y="840"/>
                  </a:lnTo>
                  <a:lnTo>
                    <a:pt x="1086" y="828"/>
                  </a:lnTo>
                  <a:lnTo>
                    <a:pt x="1044" y="816"/>
                  </a:lnTo>
                  <a:lnTo>
                    <a:pt x="1014" y="816"/>
                  </a:lnTo>
                  <a:lnTo>
                    <a:pt x="990" y="822"/>
                  </a:lnTo>
                  <a:lnTo>
                    <a:pt x="948" y="858"/>
                  </a:lnTo>
                  <a:lnTo>
                    <a:pt x="930" y="864"/>
                  </a:lnTo>
                  <a:lnTo>
                    <a:pt x="924" y="876"/>
                  </a:lnTo>
                  <a:lnTo>
                    <a:pt x="918" y="906"/>
                  </a:lnTo>
                  <a:lnTo>
                    <a:pt x="924" y="930"/>
                  </a:lnTo>
                  <a:lnTo>
                    <a:pt x="948" y="984"/>
                  </a:lnTo>
                  <a:lnTo>
                    <a:pt x="954" y="1008"/>
                  </a:lnTo>
                  <a:lnTo>
                    <a:pt x="948" y="1014"/>
                  </a:lnTo>
                  <a:lnTo>
                    <a:pt x="954" y="1014"/>
                  </a:lnTo>
                  <a:lnTo>
                    <a:pt x="954" y="1032"/>
                  </a:lnTo>
                  <a:lnTo>
                    <a:pt x="966" y="1044"/>
                  </a:lnTo>
                  <a:lnTo>
                    <a:pt x="960" y="1056"/>
                  </a:lnTo>
                  <a:lnTo>
                    <a:pt x="954" y="1056"/>
                  </a:lnTo>
                  <a:lnTo>
                    <a:pt x="948" y="1056"/>
                  </a:lnTo>
                  <a:lnTo>
                    <a:pt x="942" y="1056"/>
                  </a:lnTo>
                  <a:lnTo>
                    <a:pt x="936" y="1050"/>
                  </a:lnTo>
                  <a:lnTo>
                    <a:pt x="930" y="1044"/>
                  </a:lnTo>
                  <a:lnTo>
                    <a:pt x="924" y="1044"/>
                  </a:lnTo>
                  <a:lnTo>
                    <a:pt x="918" y="1038"/>
                  </a:lnTo>
                  <a:lnTo>
                    <a:pt x="912" y="1038"/>
                  </a:lnTo>
                  <a:lnTo>
                    <a:pt x="906" y="1032"/>
                  </a:lnTo>
                  <a:lnTo>
                    <a:pt x="900" y="1032"/>
                  </a:lnTo>
                  <a:lnTo>
                    <a:pt x="888" y="1026"/>
                  </a:lnTo>
                  <a:lnTo>
                    <a:pt x="882" y="1026"/>
                  </a:lnTo>
                  <a:lnTo>
                    <a:pt x="876" y="1026"/>
                  </a:lnTo>
                  <a:lnTo>
                    <a:pt x="864" y="1014"/>
                  </a:lnTo>
                  <a:lnTo>
                    <a:pt x="846" y="1008"/>
                  </a:lnTo>
                  <a:lnTo>
                    <a:pt x="840" y="996"/>
                  </a:lnTo>
                  <a:lnTo>
                    <a:pt x="840" y="990"/>
                  </a:lnTo>
                  <a:lnTo>
                    <a:pt x="834" y="990"/>
                  </a:lnTo>
                  <a:lnTo>
                    <a:pt x="828" y="990"/>
                  </a:lnTo>
                  <a:lnTo>
                    <a:pt x="816" y="990"/>
                  </a:lnTo>
                  <a:lnTo>
                    <a:pt x="810" y="990"/>
                  </a:lnTo>
                  <a:lnTo>
                    <a:pt x="804" y="984"/>
                  </a:lnTo>
                  <a:lnTo>
                    <a:pt x="792" y="978"/>
                  </a:lnTo>
                  <a:lnTo>
                    <a:pt x="786" y="972"/>
                  </a:lnTo>
                  <a:lnTo>
                    <a:pt x="780" y="972"/>
                  </a:lnTo>
                  <a:lnTo>
                    <a:pt x="768" y="966"/>
                  </a:lnTo>
                  <a:lnTo>
                    <a:pt x="762" y="966"/>
                  </a:lnTo>
                  <a:lnTo>
                    <a:pt x="756" y="966"/>
                  </a:lnTo>
                  <a:lnTo>
                    <a:pt x="750" y="966"/>
                  </a:lnTo>
                  <a:lnTo>
                    <a:pt x="744" y="966"/>
                  </a:lnTo>
                  <a:lnTo>
                    <a:pt x="738" y="960"/>
                  </a:lnTo>
                  <a:lnTo>
                    <a:pt x="732" y="954"/>
                  </a:lnTo>
                  <a:lnTo>
                    <a:pt x="720" y="954"/>
                  </a:lnTo>
                  <a:lnTo>
                    <a:pt x="714" y="948"/>
                  </a:lnTo>
                  <a:lnTo>
                    <a:pt x="708" y="948"/>
                  </a:lnTo>
                  <a:lnTo>
                    <a:pt x="696" y="948"/>
                  </a:lnTo>
                  <a:lnTo>
                    <a:pt x="684" y="942"/>
                  </a:lnTo>
                  <a:lnTo>
                    <a:pt x="678" y="936"/>
                  </a:lnTo>
                  <a:lnTo>
                    <a:pt x="660" y="930"/>
                  </a:lnTo>
                  <a:lnTo>
                    <a:pt x="642" y="924"/>
                  </a:lnTo>
                  <a:lnTo>
                    <a:pt x="636" y="924"/>
                  </a:lnTo>
                  <a:lnTo>
                    <a:pt x="630" y="924"/>
                  </a:lnTo>
                  <a:lnTo>
                    <a:pt x="618" y="924"/>
                  </a:lnTo>
                  <a:lnTo>
                    <a:pt x="618" y="918"/>
                  </a:lnTo>
                  <a:lnTo>
                    <a:pt x="606" y="918"/>
                  </a:lnTo>
                  <a:lnTo>
                    <a:pt x="600" y="918"/>
                  </a:lnTo>
                  <a:lnTo>
                    <a:pt x="594" y="918"/>
                  </a:lnTo>
                  <a:lnTo>
                    <a:pt x="594" y="912"/>
                  </a:lnTo>
                  <a:lnTo>
                    <a:pt x="588" y="912"/>
                  </a:lnTo>
                  <a:lnTo>
                    <a:pt x="582" y="912"/>
                  </a:lnTo>
                  <a:lnTo>
                    <a:pt x="582" y="918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58" y="918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12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00"/>
                  </a:lnTo>
                  <a:lnTo>
                    <a:pt x="516" y="900"/>
                  </a:lnTo>
                  <a:lnTo>
                    <a:pt x="510" y="900"/>
                  </a:lnTo>
                  <a:lnTo>
                    <a:pt x="486" y="894"/>
                  </a:lnTo>
                  <a:lnTo>
                    <a:pt x="474" y="888"/>
                  </a:lnTo>
                  <a:lnTo>
                    <a:pt x="468" y="888"/>
                  </a:lnTo>
                  <a:lnTo>
                    <a:pt x="450" y="88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0" name="Freeform 15">
              <a:extLst>
                <a:ext uri="{FF2B5EF4-FFF2-40B4-BE49-F238E27FC236}">
                  <a16:creationId xmlns:a16="http://schemas.microsoft.com/office/drawing/2014/main" id="{8B991D7A-45C6-40F6-A035-24DFC733305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382" y="2652043"/>
              <a:ext cx="724526" cy="695552"/>
            </a:xfrm>
            <a:custGeom>
              <a:avLst/>
              <a:gdLst>
                <a:gd name="T0" fmla="*/ 44 w 1362"/>
                <a:gd name="T1" fmla="*/ 106 h 1308"/>
                <a:gd name="T2" fmla="*/ 32 w 1362"/>
                <a:gd name="T3" fmla="*/ 109 h 1308"/>
                <a:gd name="T4" fmla="*/ 25 w 1362"/>
                <a:gd name="T5" fmla="*/ 105 h 1308"/>
                <a:gd name="T6" fmla="*/ 22 w 1362"/>
                <a:gd name="T7" fmla="*/ 97 h 1308"/>
                <a:gd name="T8" fmla="*/ 21 w 1362"/>
                <a:gd name="T9" fmla="*/ 95 h 1308"/>
                <a:gd name="T10" fmla="*/ 20 w 1362"/>
                <a:gd name="T11" fmla="*/ 90 h 1308"/>
                <a:gd name="T12" fmla="*/ 23 w 1362"/>
                <a:gd name="T13" fmla="*/ 87 h 1308"/>
                <a:gd name="T14" fmla="*/ 29 w 1362"/>
                <a:gd name="T15" fmla="*/ 81 h 1308"/>
                <a:gd name="T16" fmla="*/ 30 w 1362"/>
                <a:gd name="T17" fmla="*/ 78 h 1308"/>
                <a:gd name="T18" fmla="*/ 27 w 1362"/>
                <a:gd name="T19" fmla="*/ 75 h 1308"/>
                <a:gd name="T20" fmla="*/ 15 w 1362"/>
                <a:gd name="T21" fmla="*/ 73 h 1308"/>
                <a:gd name="T22" fmla="*/ 12 w 1362"/>
                <a:gd name="T23" fmla="*/ 69 h 1308"/>
                <a:gd name="T24" fmla="*/ 5 w 1362"/>
                <a:gd name="T25" fmla="*/ 65 h 1308"/>
                <a:gd name="T26" fmla="*/ 6 w 1362"/>
                <a:gd name="T27" fmla="*/ 62 h 1308"/>
                <a:gd name="T28" fmla="*/ 7 w 1362"/>
                <a:gd name="T29" fmla="*/ 56 h 1308"/>
                <a:gd name="T30" fmla="*/ 2 w 1362"/>
                <a:gd name="T31" fmla="*/ 49 h 1308"/>
                <a:gd name="T32" fmla="*/ 0 w 1362"/>
                <a:gd name="T33" fmla="*/ 44 h 1308"/>
                <a:gd name="T34" fmla="*/ 0 w 1362"/>
                <a:gd name="T35" fmla="*/ 39 h 1308"/>
                <a:gd name="T36" fmla="*/ 3 w 1362"/>
                <a:gd name="T37" fmla="*/ 35 h 1308"/>
                <a:gd name="T38" fmla="*/ 3 w 1362"/>
                <a:gd name="T39" fmla="*/ 28 h 1308"/>
                <a:gd name="T40" fmla="*/ 6 w 1362"/>
                <a:gd name="T41" fmla="*/ 18 h 1308"/>
                <a:gd name="T42" fmla="*/ 6 w 1362"/>
                <a:gd name="T43" fmla="*/ 8 h 1308"/>
                <a:gd name="T44" fmla="*/ 10 w 1362"/>
                <a:gd name="T45" fmla="*/ 5 h 1308"/>
                <a:gd name="T46" fmla="*/ 15 w 1362"/>
                <a:gd name="T47" fmla="*/ 0 h 1308"/>
                <a:gd name="T48" fmla="*/ 21 w 1362"/>
                <a:gd name="T49" fmla="*/ 7 h 1308"/>
                <a:gd name="T50" fmla="*/ 25 w 1362"/>
                <a:gd name="T51" fmla="*/ 15 h 1308"/>
                <a:gd name="T52" fmla="*/ 24 w 1362"/>
                <a:gd name="T53" fmla="*/ 19 h 1308"/>
                <a:gd name="T54" fmla="*/ 32 w 1362"/>
                <a:gd name="T55" fmla="*/ 19 h 1308"/>
                <a:gd name="T56" fmla="*/ 35 w 1362"/>
                <a:gd name="T57" fmla="*/ 20 h 1308"/>
                <a:gd name="T58" fmla="*/ 40 w 1362"/>
                <a:gd name="T59" fmla="*/ 23 h 1308"/>
                <a:gd name="T60" fmla="*/ 40 w 1362"/>
                <a:gd name="T61" fmla="*/ 26 h 1308"/>
                <a:gd name="T62" fmla="*/ 34 w 1362"/>
                <a:gd name="T63" fmla="*/ 35 h 1308"/>
                <a:gd name="T64" fmla="*/ 41 w 1362"/>
                <a:gd name="T65" fmla="*/ 37 h 1308"/>
                <a:gd name="T66" fmla="*/ 43 w 1362"/>
                <a:gd name="T67" fmla="*/ 44 h 1308"/>
                <a:gd name="T68" fmla="*/ 48 w 1362"/>
                <a:gd name="T69" fmla="*/ 47 h 1308"/>
                <a:gd name="T70" fmla="*/ 57 w 1362"/>
                <a:gd name="T71" fmla="*/ 48 h 1308"/>
                <a:gd name="T72" fmla="*/ 70 w 1362"/>
                <a:gd name="T73" fmla="*/ 44 h 1308"/>
                <a:gd name="T74" fmla="*/ 80 w 1362"/>
                <a:gd name="T75" fmla="*/ 34 h 1308"/>
                <a:gd name="T76" fmla="*/ 95 w 1362"/>
                <a:gd name="T77" fmla="*/ 41 h 1308"/>
                <a:gd name="T78" fmla="*/ 109 w 1362"/>
                <a:gd name="T79" fmla="*/ 47 h 1308"/>
                <a:gd name="T80" fmla="*/ 111 w 1362"/>
                <a:gd name="T81" fmla="*/ 50 h 1308"/>
                <a:gd name="T82" fmla="*/ 113 w 1362"/>
                <a:gd name="T83" fmla="*/ 53 h 1308"/>
                <a:gd name="T84" fmla="*/ 113 w 1362"/>
                <a:gd name="T85" fmla="*/ 55 h 1308"/>
                <a:gd name="T86" fmla="*/ 113 w 1362"/>
                <a:gd name="T87" fmla="*/ 59 h 1308"/>
                <a:gd name="T88" fmla="*/ 113 w 1362"/>
                <a:gd name="T89" fmla="*/ 62 h 1308"/>
                <a:gd name="T90" fmla="*/ 115 w 1362"/>
                <a:gd name="T91" fmla="*/ 65 h 1308"/>
                <a:gd name="T92" fmla="*/ 115 w 1362"/>
                <a:gd name="T93" fmla="*/ 67 h 1308"/>
                <a:gd name="T94" fmla="*/ 116 w 1362"/>
                <a:gd name="T95" fmla="*/ 69 h 1308"/>
                <a:gd name="T96" fmla="*/ 116 w 1362"/>
                <a:gd name="T97" fmla="*/ 71 h 1308"/>
                <a:gd name="T98" fmla="*/ 118 w 1362"/>
                <a:gd name="T99" fmla="*/ 75 h 1308"/>
                <a:gd name="T100" fmla="*/ 116 w 1362"/>
                <a:gd name="T101" fmla="*/ 77 h 1308"/>
                <a:gd name="T102" fmla="*/ 116 w 1362"/>
                <a:gd name="T103" fmla="*/ 79 h 1308"/>
                <a:gd name="T104" fmla="*/ 101 w 1362"/>
                <a:gd name="T105" fmla="*/ 87 h 1308"/>
                <a:gd name="T106" fmla="*/ 85 w 1362"/>
                <a:gd name="T107" fmla="*/ 103 h 1308"/>
                <a:gd name="T108" fmla="*/ 67 w 1362"/>
                <a:gd name="T109" fmla="*/ 114 h 130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62"/>
                <a:gd name="T166" fmla="*/ 0 h 1308"/>
                <a:gd name="T167" fmla="*/ 1362 w 1362"/>
                <a:gd name="T168" fmla="*/ 1308 h 130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62" h="1308">
                  <a:moveTo>
                    <a:pt x="684" y="1278"/>
                  </a:moveTo>
                  <a:lnTo>
                    <a:pt x="672" y="1272"/>
                  </a:lnTo>
                  <a:lnTo>
                    <a:pt x="636" y="1266"/>
                  </a:lnTo>
                  <a:lnTo>
                    <a:pt x="582" y="1248"/>
                  </a:lnTo>
                  <a:lnTo>
                    <a:pt x="564" y="1230"/>
                  </a:lnTo>
                  <a:lnTo>
                    <a:pt x="540" y="1218"/>
                  </a:lnTo>
                  <a:lnTo>
                    <a:pt x="510" y="1218"/>
                  </a:lnTo>
                  <a:lnTo>
                    <a:pt x="498" y="1224"/>
                  </a:lnTo>
                  <a:lnTo>
                    <a:pt x="492" y="1230"/>
                  </a:lnTo>
                  <a:lnTo>
                    <a:pt x="474" y="1230"/>
                  </a:lnTo>
                  <a:lnTo>
                    <a:pt x="414" y="1230"/>
                  </a:lnTo>
                  <a:lnTo>
                    <a:pt x="396" y="1236"/>
                  </a:lnTo>
                  <a:lnTo>
                    <a:pt x="390" y="1248"/>
                  </a:lnTo>
                  <a:lnTo>
                    <a:pt x="372" y="1248"/>
                  </a:lnTo>
                  <a:lnTo>
                    <a:pt x="366" y="1242"/>
                  </a:lnTo>
                  <a:lnTo>
                    <a:pt x="366" y="1224"/>
                  </a:lnTo>
                  <a:lnTo>
                    <a:pt x="360" y="1224"/>
                  </a:lnTo>
                  <a:lnTo>
                    <a:pt x="354" y="1218"/>
                  </a:lnTo>
                  <a:lnTo>
                    <a:pt x="336" y="1206"/>
                  </a:lnTo>
                  <a:lnTo>
                    <a:pt x="330" y="1194"/>
                  </a:lnTo>
                  <a:lnTo>
                    <a:pt x="288" y="1200"/>
                  </a:lnTo>
                  <a:lnTo>
                    <a:pt x="288" y="1194"/>
                  </a:lnTo>
                  <a:lnTo>
                    <a:pt x="288" y="1182"/>
                  </a:lnTo>
                  <a:lnTo>
                    <a:pt x="288" y="1170"/>
                  </a:lnTo>
                  <a:lnTo>
                    <a:pt x="288" y="1164"/>
                  </a:lnTo>
                  <a:lnTo>
                    <a:pt x="282" y="1140"/>
                  </a:lnTo>
                  <a:lnTo>
                    <a:pt x="276" y="1134"/>
                  </a:lnTo>
                  <a:lnTo>
                    <a:pt x="258" y="1116"/>
                  </a:lnTo>
                  <a:lnTo>
                    <a:pt x="258" y="1110"/>
                  </a:lnTo>
                  <a:lnTo>
                    <a:pt x="252" y="1110"/>
                  </a:lnTo>
                  <a:lnTo>
                    <a:pt x="252" y="1104"/>
                  </a:lnTo>
                  <a:lnTo>
                    <a:pt x="252" y="1098"/>
                  </a:lnTo>
                  <a:lnTo>
                    <a:pt x="240" y="1092"/>
                  </a:lnTo>
                  <a:lnTo>
                    <a:pt x="234" y="1092"/>
                  </a:lnTo>
                  <a:lnTo>
                    <a:pt x="240" y="1086"/>
                  </a:lnTo>
                  <a:lnTo>
                    <a:pt x="234" y="1080"/>
                  </a:lnTo>
                  <a:lnTo>
                    <a:pt x="228" y="1080"/>
                  </a:lnTo>
                  <a:lnTo>
                    <a:pt x="228" y="1068"/>
                  </a:lnTo>
                  <a:lnTo>
                    <a:pt x="228" y="1056"/>
                  </a:lnTo>
                  <a:lnTo>
                    <a:pt x="222" y="1056"/>
                  </a:lnTo>
                  <a:lnTo>
                    <a:pt x="228" y="1044"/>
                  </a:lnTo>
                  <a:lnTo>
                    <a:pt x="228" y="1038"/>
                  </a:lnTo>
                  <a:lnTo>
                    <a:pt x="228" y="1032"/>
                  </a:lnTo>
                  <a:lnTo>
                    <a:pt x="234" y="1026"/>
                  </a:lnTo>
                  <a:lnTo>
                    <a:pt x="246" y="1020"/>
                  </a:lnTo>
                  <a:lnTo>
                    <a:pt x="252" y="1020"/>
                  </a:lnTo>
                  <a:lnTo>
                    <a:pt x="258" y="1014"/>
                  </a:lnTo>
                  <a:lnTo>
                    <a:pt x="264" y="1008"/>
                  </a:lnTo>
                  <a:lnTo>
                    <a:pt x="264" y="1002"/>
                  </a:lnTo>
                  <a:lnTo>
                    <a:pt x="270" y="984"/>
                  </a:lnTo>
                  <a:lnTo>
                    <a:pt x="276" y="978"/>
                  </a:lnTo>
                  <a:lnTo>
                    <a:pt x="300" y="978"/>
                  </a:lnTo>
                  <a:lnTo>
                    <a:pt x="306" y="972"/>
                  </a:lnTo>
                  <a:lnTo>
                    <a:pt x="312" y="966"/>
                  </a:lnTo>
                  <a:lnTo>
                    <a:pt x="324" y="936"/>
                  </a:lnTo>
                  <a:lnTo>
                    <a:pt x="330" y="930"/>
                  </a:lnTo>
                  <a:lnTo>
                    <a:pt x="330" y="924"/>
                  </a:lnTo>
                  <a:lnTo>
                    <a:pt x="336" y="918"/>
                  </a:lnTo>
                  <a:lnTo>
                    <a:pt x="342" y="912"/>
                  </a:lnTo>
                  <a:lnTo>
                    <a:pt x="342" y="906"/>
                  </a:lnTo>
                  <a:lnTo>
                    <a:pt x="342" y="900"/>
                  </a:lnTo>
                  <a:lnTo>
                    <a:pt x="342" y="894"/>
                  </a:lnTo>
                  <a:lnTo>
                    <a:pt x="342" y="888"/>
                  </a:lnTo>
                  <a:lnTo>
                    <a:pt x="336" y="876"/>
                  </a:lnTo>
                  <a:lnTo>
                    <a:pt x="342" y="870"/>
                  </a:lnTo>
                  <a:lnTo>
                    <a:pt x="336" y="864"/>
                  </a:lnTo>
                  <a:lnTo>
                    <a:pt x="336" y="858"/>
                  </a:lnTo>
                  <a:lnTo>
                    <a:pt x="330" y="852"/>
                  </a:lnTo>
                  <a:lnTo>
                    <a:pt x="318" y="852"/>
                  </a:lnTo>
                  <a:lnTo>
                    <a:pt x="306" y="858"/>
                  </a:lnTo>
                  <a:lnTo>
                    <a:pt x="264" y="864"/>
                  </a:lnTo>
                  <a:lnTo>
                    <a:pt x="234" y="858"/>
                  </a:lnTo>
                  <a:lnTo>
                    <a:pt x="228" y="858"/>
                  </a:lnTo>
                  <a:lnTo>
                    <a:pt x="198" y="858"/>
                  </a:lnTo>
                  <a:lnTo>
                    <a:pt x="174" y="858"/>
                  </a:lnTo>
                  <a:lnTo>
                    <a:pt x="168" y="852"/>
                  </a:lnTo>
                  <a:lnTo>
                    <a:pt x="168" y="840"/>
                  </a:lnTo>
                  <a:lnTo>
                    <a:pt x="168" y="834"/>
                  </a:lnTo>
                  <a:lnTo>
                    <a:pt x="168" y="822"/>
                  </a:lnTo>
                  <a:lnTo>
                    <a:pt x="162" y="822"/>
                  </a:lnTo>
                  <a:lnTo>
                    <a:pt x="150" y="816"/>
                  </a:lnTo>
                  <a:lnTo>
                    <a:pt x="144" y="810"/>
                  </a:lnTo>
                  <a:lnTo>
                    <a:pt x="144" y="804"/>
                  </a:lnTo>
                  <a:lnTo>
                    <a:pt x="144" y="786"/>
                  </a:lnTo>
                  <a:lnTo>
                    <a:pt x="144" y="780"/>
                  </a:lnTo>
                  <a:lnTo>
                    <a:pt x="144" y="774"/>
                  </a:lnTo>
                  <a:lnTo>
                    <a:pt x="132" y="756"/>
                  </a:lnTo>
                  <a:lnTo>
                    <a:pt x="120" y="756"/>
                  </a:lnTo>
                  <a:lnTo>
                    <a:pt x="84" y="750"/>
                  </a:lnTo>
                  <a:lnTo>
                    <a:pt x="78" y="744"/>
                  </a:lnTo>
                  <a:lnTo>
                    <a:pt x="60" y="744"/>
                  </a:lnTo>
                  <a:lnTo>
                    <a:pt x="54" y="726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66" y="720"/>
                  </a:lnTo>
                  <a:lnTo>
                    <a:pt x="66" y="714"/>
                  </a:lnTo>
                  <a:lnTo>
                    <a:pt x="72" y="714"/>
                  </a:lnTo>
                  <a:lnTo>
                    <a:pt x="72" y="708"/>
                  </a:lnTo>
                  <a:lnTo>
                    <a:pt x="78" y="702"/>
                  </a:lnTo>
                  <a:lnTo>
                    <a:pt x="78" y="696"/>
                  </a:lnTo>
                  <a:lnTo>
                    <a:pt x="78" y="690"/>
                  </a:lnTo>
                  <a:lnTo>
                    <a:pt x="84" y="678"/>
                  </a:lnTo>
                  <a:lnTo>
                    <a:pt x="90" y="666"/>
                  </a:lnTo>
                  <a:lnTo>
                    <a:pt x="90" y="642"/>
                  </a:lnTo>
                  <a:lnTo>
                    <a:pt x="84" y="648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66" y="642"/>
                  </a:lnTo>
                  <a:lnTo>
                    <a:pt x="60" y="642"/>
                  </a:lnTo>
                  <a:lnTo>
                    <a:pt x="54" y="636"/>
                  </a:lnTo>
                  <a:lnTo>
                    <a:pt x="30" y="570"/>
                  </a:lnTo>
                  <a:lnTo>
                    <a:pt x="24" y="564"/>
                  </a:lnTo>
                  <a:lnTo>
                    <a:pt x="18" y="570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6"/>
                  </a:lnTo>
                  <a:lnTo>
                    <a:pt x="6" y="540"/>
                  </a:lnTo>
                  <a:lnTo>
                    <a:pt x="0" y="522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2" y="480"/>
                  </a:lnTo>
                  <a:lnTo>
                    <a:pt x="6" y="480"/>
                  </a:lnTo>
                  <a:lnTo>
                    <a:pt x="0" y="474"/>
                  </a:lnTo>
                  <a:lnTo>
                    <a:pt x="0" y="450"/>
                  </a:lnTo>
                  <a:lnTo>
                    <a:pt x="6" y="450"/>
                  </a:lnTo>
                  <a:lnTo>
                    <a:pt x="12" y="450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32"/>
                  </a:lnTo>
                  <a:lnTo>
                    <a:pt x="30" y="426"/>
                  </a:lnTo>
                  <a:lnTo>
                    <a:pt x="36" y="402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2" y="366"/>
                  </a:lnTo>
                  <a:lnTo>
                    <a:pt x="48" y="360"/>
                  </a:lnTo>
                  <a:lnTo>
                    <a:pt x="48" y="342"/>
                  </a:lnTo>
                  <a:lnTo>
                    <a:pt x="42" y="330"/>
                  </a:lnTo>
                  <a:lnTo>
                    <a:pt x="36" y="324"/>
                  </a:lnTo>
                  <a:lnTo>
                    <a:pt x="42" y="306"/>
                  </a:lnTo>
                  <a:lnTo>
                    <a:pt x="42" y="270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48" y="258"/>
                  </a:lnTo>
                  <a:lnTo>
                    <a:pt x="72" y="252"/>
                  </a:lnTo>
                  <a:lnTo>
                    <a:pt x="66" y="204"/>
                  </a:lnTo>
                  <a:lnTo>
                    <a:pt x="60" y="198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8" y="13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84" y="96"/>
                  </a:lnTo>
                  <a:lnTo>
                    <a:pt x="90" y="84"/>
                  </a:lnTo>
                  <a:lnTo>
                    <a:pt x="108" y="72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20" y="60"/>
                  </a:lnTo>
                  <a:lnTo>
                    <a:pt x="120" y="54"/>
                  </a:lnTo>
                  <a:lnTo>
                    <a:pt x="120" y="48"/>
                  </a:lnTo>
                  <a:lnTo>
                    <a:pt x="126" y="48"/>
                  </a:lnTo>
                  <a:lnTo>
                    <a:pt x="132" y="42"/>
                  </a:lnTo>
                  <a:lnTo>
                    <a:pt x="132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240" y="18"/>
                  </a:lnTo>
                  <a:lnTo>
                    <a:pt x="246" y="42"/>
                  </a:lnTo>
                  <a:lnTo>
                    <a:pt x="240" y="72"/>
                  </a:lnTo>
                  <a:lnTo>
                    <a:pt x="246" y="78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8" y="108"/>
                  </a:lnTo>
                  <a:lnTo>
                    <a:pt x="276" y="114"/>
                  </a:lnTo>
                  <a:lnTo>
                    <a:pt x="294" y="150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82" y="186"/>
                  </a:lnTo>
                  <a:lnTo>
                    <a:pt x="282" y="192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76" y="216"/>
                  </a:lnTo>
                  <a:lnTo>
                    <a:pt x="288" y="240"/>
                  </a:lnTo>
                  <a:lnTo>
                    <a:pt x="312" y="228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66" y="228"/>
                  </a:lnTo>
                  <a:lnTo>
                    <a:pt x="372" y="228"/>
                  </a:lnTo>
                  <a:lnTo>
                    <a:pt x="372" y="222"/>
                  </a:lnTo>
                  <a:lnTo>
                    <a:pt x="378" y="222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6" y="222"/>
                  </a:lnTo>
                  <a:lnTo>
                    <a:pt x="402" y="222"/>
                  </a:lnTo>
                  <a:lnTo>
                    <a:pt x="402" y="228"/>
                  </a:lnTo>
                  <a:lnTo>
                    <a:pt x="408" y="228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26" y="216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68" y="258"/>
                  </a:lnTo>
                  <a:lnTo>
                    <a:pt x="462" y="264"/>
                  </a:lnTo>
                  <a:lnTo>
                    <a:pt x="468" y="264"/>
                  </a:lnTo>
                  <a:lnTo>
                    <a:pt x="468" y="270"/>
                  </a:lnTo>
                  <a:lnTo>
                    <a:pt x="474" y="270"/>
                  </a:lnTo>
                  <a:lnTo>
                    <a:pt x="480" y="276"/>
                  </a:lnTo>
                  <a:lnTo>
                    <a:pt x="474" y="282"/>
                  </a:lnTo>
                  <a:lnTo>
                    <a:pt x="474" y="288"/>
                  </a:lnTo>
                  <a:lnTo>
                    <a:pt x="462" y="294"/>
                  </a:lnTo>
                  <a:lnTo>
                    <a:pt x="468" y="324"/>
                  </a:lnTo>
                  <a:lnTo>
                    <a:pt x="462" y="336"/>
                  </a:lnTo>
                  <a:lnTo>
                    <a:pt x="456" y="354"/>
                  </a:lnTo>
                  <a:lnTo>
                    <a:pt x="432" y="390"/>
                  </a:lnTo>
                  <a:lnTo>
                    <a:pt x="420" y="390"/>
                  </a:lnTo>
                  <a:lnTo>
                    <a:pt x="402" y="390"/>
                  </a:lnTo>
                  <a:lnTo>
                    <a:pt x="396" y="396"/>
                  </a:lnTo>
                  <a:lnTo>
                    <a:pt x="390" y="396"/>
                  </a:lnTo>
                  <a:lnTo>
                    <a:pt x="390" y="402"/>
                  </a:lnTo>
                  <a:lnTo>
                    <a:pt x="384" y="402"/>
                  </a:lnTo>
                  <a:lnTo>
                    <a:pt x="408" y="432"/>
                  </a:lnTo>
                  <a:lnTo>
                    <a:pt x="432" y="438"/>
                  </a:lnTo>
                  <a:lnTo>
                    <a:pt x="456" y="432"/>
                  </a:lnTo>
                  <a:lnTo>
                    <a:pt x="468" y="426"/>
                  </a:lnTo>
                  <a:lnTo>
                    <a:pt x="468" y="444"/>
                  </a:lnTo>
                  <a:lnTo>
                    <a:pt x="468" y="450"/>
                  </a:lnTo>
                  <a:lnTo>
                    <a:pt x="468" y="474"/>
                  </a:lnTo>
                  <a:lnTo>
                    <a:pt x="486" y="480"/>
                  </a:lnTo>
                  <a:lnTo>
                    <a:pt x="486" y="486"/>
                  </a:lnTo>
                  <a:lnTo>
                    <a:pt x="492" y="498"/>
                  </a:lnTo>
                  <a:lnTo>
                    <a:pt x="492" y="504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504" y="516"/>
                  </a:lnTo>
                  <a:lnTo>
                    <a:pt x="510" y="516"/>
                  </a:lnTo>
                  <a:lnTo>
                    <a:pt x="522" y="528"/>
                  </a:lnTo>
                  <a:lnTo>
                    <a:pt x="546" y="540"/>
                  </a:lnTo>
                  <a:lnTo>
                    <a:pt x="552" y="546"/>
                  </a:lnTo>
                  <a:lnTo>
                    <a:pt x="570" y="552"/>
                  </a:lnTo>
                  <a:lnTo>
                    <a:pt x="594" y="552"/>
                  </a:lnTo>
                  <a:lnTo>
                    <a:pt x="606" y="546"/>
                  </a:lnTo>
                  <a:lnTo>
                    <a:pt x="612" y="540"/>
                  </a:lnTo>
                  <a:lnTo>
                    <a:pt x="630" y="540"/>
                  </a:lnTo>
                  <a:lnTo>
                    <a:pt x="630" y="552"/>
                  </a:lnTo>
                  <a:lnTo>
                    <a:pt x="654" y="552"/>
                  </a:lnTo>
                  <a:lnTo>
                    <a:pt x="702" y="558"/>
                  </a:lnTo>
                  <a:lnTo>
                    <a:pt x="762" y="546"/>
                  </a:lnTo>
                  <a:lnTo>
                    <a:pt x="780" y="546"/>
                  </a:lnTo>
                  <a:lnTo>
                    <a:pt x="780" y="528"/>
                  </a:lnTo>
                  <a:lnTo>
                    <a:pt x="798" y="522"/>
                  </a:lnTo>
                  <a:lnTo>
                    <a:pt x="810" y="510"/>
                  </a:lnTo>
                  <a:lnTo>
                    <a:pt x="810" y="504"/>
                  </a:lnTo>
                  <a:lnTo>
                    <a:pt x="828" y="492"/>
                  </a:lnTo>
                  <a:lnTo>
                    <a:pt x="888" y="486"/>
                  </a:lnTo>
                  <a:lnTo>
                    <a:pt x="912" y="486"/>
                  </a:lnTo>
                  <a:lnTo>
                    <a:pt x="930" y="474"/>
                  </a:lnTo>
                  <a:lnTo>
                    <a:pt x="918" y="456"/>
                  </a:lnTo>
                  <a:lnTo>
                    <a:pt x="912" y="450"/>
                  </a:lnTo>
                  <a:lnTo>
                    <a:pt x="918" y="390"/>
                  </a:lnTo>
                  <a:lnTo>
                    <a:pt x="954" y="396"/>
                  </a:lnTo>
                  <a:lnTo>
                    <a:pt x="984" y="402"/>
                  </a:lnTo>
                  <a:lnTo>
                    <a:pt x="1014" y="420"/>
                  </a:lnTo>
                  <a:lnTo>
                    <a:pt x="1026" y="432"/>
                  </a:lnTo>
                  <a:lnTo>
                    <a:pt x="1044" y="450"/>
                  </a:lnTo>
                  <a:lnTo>
                    <a:pt x="1062" y="462"/>
                  </a:lnTo>
                  <a:lnTo>
                    <a:pt x="1098" y="468"/>
                  </a:lnTo>
                  <a:lnTo>
                    <a:pt x="1128" y="480"/>
                  </a:lnTo>
                  <a:lnTo>
                    <a:pt x="1152" y="486"/>
                  </a:lnTo>
                  <a:lnTo>
                    <a:pt x="1188" y="498"/>
                  </a:lnTo>
                  <a:lnTo>
                    <a:pt x="1212" y="504"/>
                  </a:lnTo>
                  <a:lnTo>
                    <a:pt x="1224" y="528"/>
                  </a:lnTo>
                  <a:lnTo>
                    <a:pt x="1236" y="540"/>
                  </a:lnTo>
                  <a:lnTo>
                    <a:pt x="1254" y="540"/>
                  </a:lnTo>
                  <a:lnTo>
                    <a:pt x="1254" y="546"/>
                  </a:lnTo>
                  <a:lnTo>
                    <a:pt x="1260" y="552"/>
                  </a:lnTo>
                  <a:lnTo>
                    <a:pt x="1266" y="552"/>
                  </a:lnTo>
                  <a:lnTo>
                    <a:pt x="1266" y="558"/>
                  </a:lnTo>
                  <a:lnTo>
                    <a:pt x="1272" y="564"/>
                  </a:lnTo>
                  <a:lnTo>
                    <a:pt x="1278" y="564"/>
                  </a:lnTo>
                  <a:lnTo>
                    <a:pt x="1278" y="570"/>
                  </a:lnTo>
                  <a:lnTo>
                    <a:pt x="1284" y="576"/>
                  </a:lnTo>
                  <a:lnTo>
                    <a:pt x="1290" y="582"/>
                  </a:lnTo>
                  <a:lnTo>
                    <a:pt x="1296" y="582"/>
                  </a:lnTo>
                  <a:lnTo>
                    <a:pt x="1296" y="588"/>
                  </a:lnTo>
                  <a:lnTo>
                    <a:pt x="1308" y="594"/>
                  </a:lnTo>
                  <a:lnTo>
                    <a:pt x="1308" y="600"/>
                  </a:lnTo>
                  <a:lnTo>
                    <a:pt x="1308" y="606"/>
                  </a:lnTo>
                  <a:lnTo>
                    <a:pt x="1314" y="612"/>
                  </a:lnTo>
                  <a:lnTo>
                    <a:pt x="1308" y="618"/>
                  </a:lnTo>
                  <a:lnTo>
                    <a:pt x="1314" y="618"/>
                  </a:lnTo>
                  <a:lnTo>
                    <a:pt x="1314" y="624"/>
                  </a:lnTo>
                  <a:lnTo>
                    <a:pt x="1308" y="624"/>
                  </a:lnTo>
                  <a:lnTo>
                    <a:pt x="1302" y="630"/>
                  </a:lnTo>
                  <a:lnTo>
                    <a:pt x="1302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296" y="654"/>
                  </a:lnTo>
                  <a:lnTo>
                    <a:pt x="1302" y="660"/>
                  </a:lnTo>
                  <a:lnTo>
                    <a:pt x="1302" y="666"/>
                  </a:lnTo>
                  <a:lnTo>
                    <a:pt x="1308" y="666"/>
                  </a:lnTo>
                  <a:lnTo>
                    <a:pt x="1308" y="672"/>
                  </a:lnTo>
                  <a:lnTo>
                    <a:pt x="1308" y="678"/>
                  </a:lnTo>
                  <a:lnTo>
                    <a:pt x="1308" y="684"/>
                  </a:lnTo>
                  <a:lnTo>
                    <a:pt x="1308" y="690"/>
                  </a:lnTo>
                  <a:lnTo>
                    <a:pt x="1302" y="696"/>
                  </a:lnTo>
                  <a:lnTo>
                    <a:pt x="1302" y="702"/>
                  </a:lnTo>
                  <a:lnTo>
                    <a:pt x="1308" y="702"/>
                  </a:lnTo>
                  <a:lnTo>
                    <a:pt x="1302" y="708"/>
                  </a:lnTo>
                  <a:lnTo>
                    <a:pt x="1308" y="714"/>
                  </a:lnTo>
                  <a:lnTo>
                    <a:pt x="1308" y="720"/>
                  </a:lnTo>
                  <a:lnTo>
                    <a:pt x="1308" y="726"/>
                  </a:lnTo>
                  <a:lnTo>
                    <a:pt x="1308" y="732"/>
                  </a:lnTo>
                  <a:lnTo>
                    <a:pt x="1314" y="732"/>
                  </a:lnTo>
                  <a:lnTo>
                    <a:pt x="1314" y="738"/>
                  </a:lnTo>
                  <a:lnTo>
                    <a:pt x="1320" y="744"/>
                  </a:lnTo>
                  <a:lnTo>
                    <a:pt x="1326" y="750"/>
                  </a:lnTo>
                  <a:lnTo>
                    <a:pt x="1320" y="750"/>
                  </a:lnTo>
                  <a:lnTo>
                    <a:pt x="1320" y="756"/>
                  </a:lnTo>
                  <a:lnTo>
                    <a:pt x="1314" y="756"/>
                  </a:lnTo>
                  <a:lnTo>
                    <a:pt x="1314" y="762"/>
                  </a:lnTo>
                  <a:lnTo>
                    <a:pt x="1314" y="768"/>
                  </a:lnTo>
                  <a:lnTo>
                    <a:pt x="1320" y="768"/>
                  </a:lnTo>
                  <a:lnTo>
                    <a:pt x="1320" y="762"/>
                  </a:lnTo>
                  <a:lnTo>
                    <a:pt x="1320" y="768"/>
                  </a:lnTo>
                  <a:lnTo>
                    <a:pt x="1326" y="774"/>
                  </a:lnTo>
                  <a:lnTo>
                    <a:pt x="1332" y="774"/>
                  </a:lnTo>
                  <a:lnTo>
                    <a:pt x="1332" y="780"/>
                  </a:lnTo>
                  <a:lnTo>
                    <a:pt x="1332" y="786"/>
                  </a:lnTo>
                  <a:lnTo>
                    <a:pt x="1332" y="792"/>
                  </a:lnTo>
                  <a:lnTo>
                    <a:pt x="1338" y="786"/>
                  </a:lnTo>
                  <a:lnTo>
                    <a:pt x="1338" y="792"/>
                  </a:lnTo>
                  <a:lnTo>
                    <a:pt x="1344" y="798"/>
                  </a:lnTo>
                  <a:lnTo>
                    <a:pt x="1344" y="804"/>
                  </a:lnTo>
                  <a:lnTo>
                    <a:pt x="1344" y="810"/>
                  </a:lnTo>
                  <a:lnTo>
                    <a:pt x="1344" y="816"/>
                  </a:lnTo>
                  <a:lnTo>
                    <a:pt x="1344" y="822"/>
                  </a:lnTo>
                  <a:lnTo>
                    <a:pt x="1338" y="828"/>
                  </a:lnTo>
                  <a:lnTo>
                    <a:pt x="1332" y="828"/>
                  </a:lnTo>
                  <a:lnTo>
                    <a:pt x="1338" y="840"/>
                  </a:lnTo>
                  <a:lnTo>
                    <a:pt x="1344" y="846"/>
                  </a:lnTo>
                  <a:lnTo>
                    <a:pt x="1344" y="852"/>
                  </a:lnTo>
                  <a:lnTo>
                    <a:pt x="1350" y="852"/>
                  </a:lnTo>
                  <a:lnTo>
                    <a:pt x="1356" y="858"/>
                  </a:lnTo>
                  <a:lnTo>
                    <a:pt x="1362" y="858"/>
                  </a:lnTo>
                  <a:lnTo>
                    <a:pt x="1362" y="870"/>
                  </a:lnTo>
                  <a:lnTo>
                    <a:pt x="1356" y="870"/>
                  </a:lnTo>
                  <a:lnTo>
                    <a:pt x="1356" y="876"/>
                  </a:lnTo>
                  <a:lnTo>
                    <a:pt x="1350" y="876"/>
                  </a:lnTo>
                  <a:lnTo>
                    <a:pt x="1344" y="876"/>
                  </a:lnTo>
                  <a:lnTo>
                    <a:pt x="1344" y="882"/>
                  </a:lnTo>
                  <a:lnTo>
                    <a:pt x="1338" y="882"/>
                  </a:lnTo>
                  <a:lnTo>
                    <a:pt x="1338" y="888"/>
                  </a:lnTo>
                  <a:lnTo>
                    <a:pt x="1338" y="894"/>
                  </a:lnTo>
                  <a:lnTo>
                    <a:pt x="1344" y="900"/>
                  </a:lnTo>
                  <a:lnTo>
                    <a:pt x="1344" y="906"/>
                  </a:lnTo>
                  <a:lnTo>
                    <a:pt x="1338" y="906"/>
                  </a:lnTo>
                  <a:lnTo>
                    <a:pt x="1332" y="912"/>
                  </a:lnTo>
                  <a:lnTo>
                    <a:pt x="1332" y="918"/>
                  </a:lnTo>
                  <a:lnTo>
                    <a:pt x="1326" y="918"/>
                  </a:lnTo>
                  <a:lnTo>
                    <a:pt x="1332" y="924"/>
                  </a:lnTo>
                  <a:lnTo>
                    <a:pt x="1284" y="942"/>
                  </a:lnTo>
                  <a:lnTo>
                    <a:pt x="1236" y="948"/>
                  </a:lnTo>
                  <a:lnTo>
                    <a:pt x="1194" y="966"/>
                  </a:lnTo>
                  <a:lnTo>
                    <a:pt x="1170" y="1002"/>
                  </a:lnTo>
                  <a:lnTo>
                    <a:pt x="1134" y="1020"/>
                  </a:lnTo>
                  <a:lnTo>
                    <a:pt x="1116" y="1032"/>
                  </a:lnTo>
                  <a:lnTo>
                    <a:pt x="1098" y="1050"/>
                  </a:lnTo>
                  <a:lnTo>
                    <a:pt x="1074" y="1074"/>
                  </a:lnTo>
                  <a:lnTo>
                    <a:pt x="1008" y="1134"/>
                  </a:lnTo>
                  <a:lnTo>
                    <a:pt x="990" y="1158"/>
                  </a:lnTo>
                  <a:lnTo>
                    <a:pt x="978" y="1182"/>
                  </a:lnTo>
                  <a:lnTo>
                    <a:pt x="960" y="1194"/>
                  </a:lnTo>
                  <a:lnTo>
                    <a:pt x="942" y="1212"/>
                  </a:lnTo>
                  <a:lnTo>
                    <a:pt x="912" y="1242"/>
                  </a:lnTo>
                  <a:lnTo>
                    <a:pt x="888" y="1254"/>
                  </a:lnTo>
                  <a:lnTo>
                    <a:pt x="864" y="1278"/>
                  </a:lnTo>
                  <a:lnTo>
                    <a:pt x="828" y="1296"/>
                  </a:lnTo>
                  <a:lnTo>
                    <a:pt x="774" y="1308"/>
                  </a:lnTo>
                  <a:lnTo>
                    <a:pt x="732" y="1302"/>
                  </a:lnTo>
                  <a:lnTo>
                    <a:pt x="702" y="1284"/>
                  </a:lnTo>
                  <a:lnTo>
                    <a:pt x="684" y="12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1" name="Freeform 16">
              <a:extLst>
                <a:ext uri="{FF2B5EF4-FFF2-40B4-BE49-F238E27FC236}">
                  <a16:creationId xmlns:a16="http://schemas.microsoft.com/office/drawing/2014/main" id="{D8D8591A-D9DB-4301-BEBD-D8F5A26DA9E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3001" y="2929369"/>
              <a:ext cx="914601" cy="1037736"/>
            </a:xfrm>
            <a:custGeom>
              <a:avLst/>
              <a:gdLst>
                <a:gd name="T0" fmla="*/ 144 w 1722"/>
                <a:gd name="T1" fmla="*/ 131 h 1956"/>
                <a:gd name="T2" fmla="*/ 142 w 1722"/>
                <a:gd name="T3" fmla="*/ 139 h 1956"/>
                <a:gd name="T4" fmla="*/ 137 w 1722"/>
                <a:gd name="T5" fmla="*/ 143 h 1956"/>
                <a:gd name="T6" fmla="*/ 133 w 1722"/>
                <a:gd name="T7" fmla="*/ 147 h 1956"/>
                <a:gd name="T8" fmla="*/ 132 w 1722"/>
                <a:gd name="T9" fmla="*/ 152 h 1956"/>
                <a:gd name="T10" fmla="*/ 130 w 1722"/>
                <a:gd name="T11" fmla="*/ 159 h 1956"/>
                <a:gd name="T12" fmla="*/ 127 w 1722"/>
                <a:gd name="T13" fmla="*/ 164 h 1956"/>
                <a:gd name="T14" fmla="*/ 123 w 1722"/>
                <a:gd name="T15" fmla="*/ 168 h 1956"/>
                <a:gd name="T16" fmla="*/ 117 w 1722"/>
                <a:gd name="T17" fmla="*/ 169 h 1956"/>
                <a:gd name="T18" fmla="*/ 110 w 1722"/>
                <a:gd name="T19" fmla="*/ 168 h 1956"/>
                <a:gd name="T20" fmla="*/ 104 w 1722"/>
                <a:gd name="T21" fmla="*/ 166 h 1956"/>
                <a:gd name="T22" fmla="*/ 101 w 1722"/>
                <a:gd name="T23" fmla="*/ 159 h 1956"/>
                <a:gd name="T24" fmla="*/ 95 w 1722"/>
                <a:gd name="T25" fmla="*/ 156 h 1956"/>
                <a:gd name="T26" fmla="*/ 89 w 1722"/>
                <a:gd name="T27" fmla="*/ 151 h 1956"/>
                <a:gd name="T28" fmla="*/ 87 w 1722"/>
                <a:gd name="T29" fmla="*/ 144 h 1956"/>
                <a:gd name="T30" fmla="*/ 82 w 1722"/>
                <a:gd name="T31" fmla="*/ 141 h 1956"/>
                <a:gd name="T32" fmla="*/ 76 w 1722"/>
                <a:gd name="T33" fmla="*/ 134 h 1956"/>
                <a:gd name="T34" fmla="*/ 74 w 1722"/>
                <a:gd name="T35" fmla="*/ 143 h 1956"/>
                <a:gd name="T36" fmla="*/ 68 w 1722"/>
                <a:gd name="T37" fmla="*/ 147 h 1956"/>
                <a:gd name="T38" fmla="*/ 54 w 1722"/>
                <a:gd name="T39" fmla="*/ 144 h 1956"/>
                <a:gd name="T40" fmla="*/ 51 w 1722"/>
                <a:gd name="T41" fmla="*/ 142 h 1956"/>
                <a:gd name="T42" fmla="*/ 42 w 1722"/>
                <a:gd name="T43" fmla="*/ 151 h 1956"/>
                <a:gd name="T44" fmla="*/ 33 w 1722"/>
                <a:gd name="T45" fmla="*/ 154 h 1956"/>
                <a:gd name="T46" fmla="*/ 31 w 1722"/>
                <a:gd name="T47" fmla="*/ 159 h 1956"/>
                <a:gd name="T48" fmla="*/ 29 w 1722"/>
                <a:gd name="T49" fmla="*/ 166 h 1956"/>
                <a:gd name="T50" fmla="*/ 25 w 1722"/>
                <a:gd name="T51" fmla="*/ 169 h 1956"/>
                <a:gd name="T52" fmla="*/ 27 w 1722"/>
                <a:gd name="T53" fmla="*/ 154 h 1956"/>
                <a:gd name="T54" fmla="*/ 37 w 1722"/>
                <a:gd name="T55" fmla="*/ 133 h 1956"/>
                <a:gd name="T56" fmla="*/ 36 w 1722"/>
                <a:gd name="T57" fmla="*/ 109 h 1956"/>
                <a:gd name="T58" fmla="*/ 27 w 1722"/>
                <a:gd name="T59" fmla="*/ 101 h 1956"/>
                <a:gd name="T60" fmla="*/ 5 w 1722"/>
                <a:gd name="T61" fmla="*/ 98 h 1956"/>
                <a:gd name="T62" fmla="*/ 2 w 1722"/>
                <a:gd name="T63" fmla="*/ 93 h 1956"/>
                <a:gd name="T64" fmla="*/ 12 w 1722"/>
                <a:gd name="T65" fmla="*/ 82 h 1956"/>
                <a:gd name="T66" fmla="*/ 9 w 1722"/>
                <a:gd name="T67" fmla="*/ 74 h 1956"/>
                <a:gd name="T68" fmla="*/ 23 w 1722"/>
                <a:gd name="T69" fmla="*/ 72 h 1956"/>
                <a:gd name="T70" fmla="*/ 22 w 1722"/>
                <a:gd name="T71" fmla="*/ 67 h 1956"/>
                <a:gd name="T72" fmla="*/ 48 w 1722"/>
                <a:gd name="T73" fmla="*/ 57 h 1956"/>
                <a:gd name="T74" fmla="*/ 78 w 1722"/>
                <a:gd name="T75" fmla="*/ 34 h 1956"/>
                <a:gd name="T76" fmla="*/ 81 w 1722"/>
                <a:gd name="T77" fmla="*/ 31 h 1956"/>
                <a:gd name="T78" fmla="*/ 80 w 1722"/>
                <a:gd name="T79" fmla="*/ 26 h 1956"/>
                <a:gd name="T80" fmla="*/ 78 w 1722"/>
                <a:gd name="T81" fmla="*/ 21 h 1956"/>
                <a:gd name="T82" fmla="*/ 77 w 1722"/>
                <a:gd name="T83" fmla="*/ 18 h 1956"/>
                <a:gd name="T84" fmla="*/ 77 w 1722"/>
                <a:gd name="T85" fmla="*/ 12 h 1956"/>
                <a:gd name="T86" fmla="*/ 77 w 1722"/>
                <a:gd name="T87" fmla="*/ 7 h 1956"/>
                <a:gd name="T88" fmla="*/ 102 w 1722"/>
                <a:gd name="T89" fmla="*/ 2 h 1956"/>
                <a:gd name="T90" fmla="*/ 115 w 1722"/>
                <a:gd name="T91" fmla="*/ 3 h 1956"/>
                <a:gd name="T92" fmla="*/ 123 w 1722"/>
                <a:gd name="T93" fmla="*/ 3 h 1956"/>
                <a:gd name="T94" fmla="*/ 125 w 1722"/>
                <a:gd name="T95" fmla="*/ 9 h 1956"/>
                <a:gd name="T96" fmla="*/ 133 w 1722"/>
                <a:gd name="T97" fmla="*/ 13 h 1956"/>
                <a:gd name="T98" fmla="*/ 149 w 1722"/>
                <a:gd name="T99" fmla="*/ 37 h 1956"/>
                <a:gd name="T100" fmla="*/ 141 w 1722"/>
                <a:gd name="T101" fmla="*/ 57 h 1956"/>
                <a:gd name="T102" fmla="*/ 135 w 1722"/>
                <a:gd name="T103" fmla="*/ 63 h 1956"/>
                <a:gd name="T104" fmla="*/ 124 w 1722"/>
                <a:gd name="T105" fmla="*/ 77 h 1956"/>
                <a:gd name="T106" fmla="*/ 123 w 1722"/>
                <a:gd name="T107" fmla="*/ 96 h 1956"/>
                <a:gd name="T108" fmla="*/ 127 w 1722"/>
                <a:gd name="T109" fmla="*/ 97 h 1956"/>
                <a:gd name="T110" fmla="*/ 129 w 1722"/>
                <a:gd name="T111" fmla="*/ 92 h 1956"/>
                <a:gd name="T112" fmla="*/ 134 w 1722"/>
                <a:gd name="T113" fmla="*/ 94 h 1956"/>
                <a:gd name="T114" fmla="*/ 138 w 1722"/>
                <a:gd name="T115" fmla="*/ 99 h 1956"/>
                <a:gd name="T116" fmla="*/ 142 w 1722"/>
                <a:gd name="T117" fmla="*/ 104 h 1956"/>
                <a:gd name="T118" fmla="*/ 141 w 1722"/>
                <a:gd name="T119" fmla="*/ 115 h 19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722"/>
                <a:gd name="T181" fmla="*/ 0 h 1956"/>
                <a:gd name="T182" fmla="*/ 1722 w 1722"/>
                <a:gd name="T183" fmla="*/ 1956 h 19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722" h="1956">
                  <a:moveTo>
                    <a:pt x="1686" y="1404"/>
                  </a:moveTo>
                  <a:lnTo>
                    <a:pt x="1680" y="1416"/>
                  </a:lnTo>
                  <a:lnTo>
                    <a:pt x="1674" y="1422"/>
                  </a:lnTo>
                  <a:lnTo>
                    <a:pt x="1674" y="1428"/>
                  </a:lnTo>
                  <a:lnTo>
                    <a:pt x="1668" y="1428"/>
                  </a:lnTo>
                  <a:lnTo>
                    <a:pt x="1668" y="1434"/>
                  </a:lnTo>
                  <a:lnTo>
                    <a:pt x="1662" y="1446"/>
                  </a:lnTo>
                  <a:lnTo>
                    <a:pt x="1656" y="1464"/>
                  </a:lnTo>
                  <a:lnTo>
                    <a:pt x="1656" y="1476"/>
                  </a:lnTo>
                  <a:lnTo>
                    <a:pt x="1656" y="1488"/>
                  </a:lnTo>
                  <a:lnTo>
                    <a:pt x="1662" y="1500"/>
                  </a:lnTo>
                  <a:lnTo>
                    <a:pt x="1662" y="1506"/>
                  </a:lnTo>
                  <a:lnTo>
                    <a:pt x="1662" y="1524"/>
                  </a:lnTo>
                  <a:lnTo>
                    <a:pt x="1668" y="1542"/>
                  </a:lnTo>
                  <a:lnTo>
                    <a:pt x="1674" y="1560"/>
                  </a:lnTo>
                  <a:lnTo>
                    <a:pt x="1680" y="1578"/>
                  </a:lnTo>
                  <a:lnTo>
                    <a:pt x="1686" y="1578"/>
                  </a:lnTo>
                  <a:lnTo>
                    <a:pt x="1686" y="1584"/>
                  </a:lnTo>
                  <a:lnTo>
                    <a:pt x="1686" y="1590"/>
                  </a:lnTo>
                  <a:lnTo>
                    <a:pt x="1686" y="1596"/>
                  </a:lnTo>
                  <a:lnTo>
                    <a:pt x="1680" y="1596"/>
                  </a:lnTo>
                  <a:lnTo>
                    <a:pt x="1674" y="1602"/>
                  </a:lnTo>
                  <a:lnTo>
                    <a:pt x="1662" y="1602"/>
                  </a:lnTo>
                  <a:lnTo>
                    <a:pt x="1638" y="1596"/>
                  </a:lnTo>
                  <a:lnTo>
                    <a:pt x="1632" y="1596"/>
                  </a:lnTo>
                  <a:lnTo>
                    <a:pt x="1626" y="1602"/>
                  </a:lnTo>
                  <a:lnTo>
                    <a:pt x="1620" y="1602"/>
                  </a:lnTo>
                  <a:lnTo>
                    <a:pt x="1614" y="1602"/>
                  </a:lnTo>
                  <a:lnTo>
                    <a:pt x="1602" y="1602"/>
                  </a:lnTo>
                  <a:lnTo>
                    <a:pt x="1602" y="1608"/>
                  </a:lnTo>
                  <a:lnTo>
                    <a:pt x="1602" y="1620"/>
                  </a:lnTo>
                  <a:lnTo>
                    <a:pt x="1596" y="1620"/>
                  </a:lnTo>
                  <a:lnTo>
                    <a:pt x="1590" y="1620"/>
                  </a:lnTo>
                  <a:lnTo>
                    <a:pt x="1584" y="1626"/>
                  </a:lnTo>
                  <a:lnTo>
                    <a:pt x="1584" y="1632"/>
                  </a:lnTo>
                  <a:lnTo>
                    <a:pt x="1578" y="1644"/>
                  </a:lnTo>
                  <a:lnTo>
                    <a:pt x="1572" y="1644"/>
                  </a:lnTo>
                  <a:lnTo>
                    <a:pt x="1566" y="1644"/>
                  </a:lnTo>
                  <a:lnTo>
                    <a:pt x="1566" y="1650"/>
                  </a:lnTo>
                  <a:lnTo>
                    <a:pt x="1560" y="1650"/>
                  </a:lnTo>
                  <a:lnTo>
                    <a:pt x="1554" y="1650"/>
                  </a:lnTo>
                  <a:lnTo>
                    <a:pt x="1548" y="1650"/>
                  </a:lnTo>
                  <a:lnTo>
                    <a:pt x="1548" y="1656"/>
                  </a:lnTo>
                  <a:lnTo>
                    <a:pt x="1542" y="1668"/>
                  </a:lnTo>
                  <a:lnTo>
                    <a:pt x="1542" y="1674"/>
                  </a:lnTo>
                  <a:lnTo>
                    <a:pt x="1542" y="1692"/>
                  </a:lnTo>
                  <a:lnTo>
                    <a:pt x="1536" y="1698"/>
                  </a:lnTo>
                  <a:lnTo>
                    <a:pt x="1530" y="1698"/>
                  </a:lnTo>
                  <a:lnTo>
                    <a:pt x="1524" y="1698"/>
                  </a:lnTo>
                  <a:lnTo>
                    <a:pt x="1518" y="1704"/>
                  </a:lnTo>
                  <a:lnTo>
                    <a:pt x="1512" y="1710"/>
                  </a:lnTo>
                  <a:lnTo>
                    <a:pt x="1506" y="1722"/>
                  </a:lnTo>
                  <a:lnTo>
                    <a:pt x="1500" y="1728"/>
                  </a:lnTo>
                  <a:lnTo>
                    <a:pt x="1500" y="1734"/>
                  </a:lnTo>
                  <a:lnTo>
                    <a:pt x="1512" y="1734"/>
                  </a:lnTo>
                  <a:lnTo>
                    <a:pt x="1518" y="1740"/>
                  </a:lnTo>
                  <a:lnTo>
                    <a:pt x="1518" y="1746"/>
                  </a:lnTo>
                  <a:lnTo>
                    <a:pt x="1518" y="1752"/>
                  </a:lnTo>
                  <a:lnTo>
                    <a:pt x="1518" y="1758"/>
                  </a:lnTo>
                  <a:lnTo>
                    <a:pt x="1524" y="1758"/>
                  </a:lnTo>
                  <a:lnTo>
                    <a:pt x="1524" y="1764"/>
                  </a:lnTo>
                  <a:lnTo>
                    <a:pt x="1530" y="1770"/>
                  </a:lnTo>
                  <a:lnTo>
                    <a:pt x="1518" y="1770"/>
                  </a:lnTo>
                  <a:lnTo>
                    <a:pt x="1512" y="1782"/>
                  </a:lnTo>
                  <a:lnTo>
                    <a:pt x="1512" y="1788"/>
                  </a:lnTo>
                  <a:lnTo>
                    <a:pt x="1518" y="1788"/>
                  </a:lnTo>
                  <a:lnTo>
                    <a:pt x="1524" y="1800"/>
                  </a:lnTo>
                  <a:lnTo>
                    <a:pt x="1524" y="1806"/>
                  </a:lnTo>
                  <a:lnTo>
                    <a:pt x="1518" y="1812"/>
                  </a:lnTo>
                  <a:lnTo>
                    <a:pt x="1512" y="1818"/>
                  </a:lnTo>
                  <a:lnTo>
                    <a:pt x="1506" y="1818"/>
                  </a:lnTo>
                  <a:lnTo>
                    <a:pt x="1500" y="1824"/>
                  </a:lnTo>
                  <a:lnTo>
                    <a:pt x="1500" y="1836"/>
                  </a:lnTo>
                  <a:lnTo>
                    <a:pt x="1500" y="1842"/>
                  </a:lnTo>
                  <a:lnTo>
                    <a:pt x="1500" y="1848"/>
                  </a:lnTo>
                  <a:lnTo>
                    <a:pt x="1500" y="1854"/>
                  </a:lnTo>
                  <a:lnTo>
                    <a:pt x="1494" y="1860"/>
                  </a:lnTo>
                  <a:lnTo>
                    <a:pt x="1488" y="1860"/>
                  </a:lnTo>
                  <a:lnTo>
                    <a:pt x="1488" y="1866"/>
                  </a:lnTo>
                  <a:lnTo>
                    <a:pt x="1482" y="1872"/>
                  </a:lnTo>
                  <a:lnTo>
                    <a:pt x="1482" y="1878"/>
                  </a:lnTo>
                  <a:lnTo>
                    <a:pt x="1482" y="1884"/>
                  </a:lnTo>
                  <a:lnTo>
                    <a:pt x="1476" y="1890"/>
                  </a:lnTo>
                  <a:lnTo>
                    <a:pt x="1470" y="1890"/>
                  </a:lnTo>
                  <a:lnTo>
                    <a:pt x="1470" y="1896"/>
                  </a:lnTo>
                  <a:lnTo>
                    <a:pt x="1464" y="1896"/>
                  </a:lnTo>
                  <a:lnTo>
                    <a:pt x="1458" y="1896"/>
                  </a:lnTo>
                  <a:lnTo>
                    <a:pt x="1452" y="1896"/>
                  </a:lnTo>
                  <a:lnTo>
                    <a:pt x="1440" y="1890"/>
                  </a:lnTo>
                  <a:lnTo>
                    <a:pt x="1434" y="1896"/>
                  </a:lnTo>
                  <a:lnTo>
                    <a:pt x="1428" y="1896"/>
                  </a:lnTo>
                  <a:lnTo>
                    <a:pt x="1422" y="1896"/>
                  </a:lnTo>
                  <a:lnTo>
                    <a:pt x="1422" y="1902"/>
                  </a:lnTo>
                  <a:lnTo>
                    <a:pt x="1416" y="1902"/>
                  </a:lnTo>
                  <a:lnTo>
                    <a:pt x="1422" y="1914"/>
                  </a:lnTo>
                  <a:lnTo>
                    <a:pt x="1422" y="1932"/>
                  </a:lnTo>
                  <a:lnTo>
                    <a:pt x="1416" y="1938"/>
                  </a:lnTo>
                  <a:lnTo>
                    <a:pt x="1422" y="1938"/>
                  </a:lnTo>
                  <a:lnTo>
                    <a:pt x="1404" y="1938"/>
                  </a:lnTo>
                  <a:lnTo>
                    <a:pt x="1392" y="1944"/>
                  </a:lnTo>
                  <a:lnTo>
                    <a:pt x="1386" y="1944"/>
                  </a:lnTo>
                  <a:lnTo>
                    <a:pt x="1374" y="1944"/>
                  </a:lnTo>
                  <a:lnTo>
                    <a:pt x="1368" y="1950"/>
                  </a:lnTo>
                  <a:lnTo>
                    <a:pt x="1374" y="1956"/>
                  </a:lnTo>
                  <a:lnTo>
                    <a:pt x="1368" y="1956"/>
                  </a:lnTo>
                  <a:lnTo>
                    <a:pt x="1356" y="1956"/>
                  </a:lnTo>
                  <a:lnTo>
                    <a:pt x="1350" y="1956"/>
                  </a:lnTo>
                  <a:lnTo>
                    <a:pt x="1350" y="1950"/>
                  </a:lnTo>
                  <a:lnTo>
                    <a:pt x="1344" y="1944"/>
                  </a:lnTo>
                  <a:lnTo>
                    <a:pt x="1332" y="1938"/>
                  </a:lnTo>
                  <a:lnTo>
                    <a:pt x="1326" y="1938"/>
                  </a:lnTo>
                  <a:lnTo>
                    <a:pt x="1320" y="1938"/>
                  </a:lnTo>
                  <a:lnTo>
                    <a:pt x="1314" y="1944"/>
                  </a:lnTo>
                  <a:lnTo>
                    <a:pt x="1308" y="1944"/>
                  </a:lnTo>
                  <a:lnTo>
                    <a:pt x="1302" y="1944"/>
                  </a:lnTo>
                  <a:lnTo>
                    <a:pt x="1296" y="1938"/>
                  </a:lnTo>
                  <a:lnTo>
                    <a:pt x="1284" y="1938"/>
                  </a:lnTo>
                  <a:lnTo>
                    <a:pt x="1278" y="1938"/>
                  </a:lnTo>
                  <a:lnTo>
                    <a:pt x="1272" y="1938"/>
                  </a:lnTo>
                  <a:lnTo>
                    <a:pt x="1266" y="1932"/>
                  </a:lnTo>
                  <a:lnTo>
                    <a:pt x="1260" y="1932"/>
                  </a:lnTo>
                  <a:lnTo>
                    <a:pt x="1254" y="1920"/>
                  </a:lnTo>
                  <a:lnTo>
                    <a:pt x="1248" y="1920"/>
                  </a:lnTo>
                  <a:lnTo>
                    <a:pt x="1242" y="1920"/>
                  </a:lnTo>
                  <a:lnTo>
                    <a:pt x="1236" y="1926"/>
                  </a:lnTo>
                  <a:lnTo>
                    <a:pt x="1236" y="1932"/>
                  </a:lnTo>
                  <a:lnTo>
                    <a:pt x="1230" y="1932"/>
                  </a:lnTo>
                  <a:lnTo>
                    <a:pt x="1224" y="1932"/>
                  </a:lnTo>
                  <a:lnTo>
                    <a:pt x="1218" y="1938"/>
                  </a:lnTo>
                  <a:lnTo>
                    <a:pt x="1212" y="1932"/>
                  </a:lnTo>
                  <a:lnTo>
                    <a:pt x="1206" y="1926"/>
                  </a:lnTo>
                  <a:lnTo>
                    <a:pt x="1206" y="1908"/>
                  </a:lnTo>
                  <a:lnTo>
                    <a:pt x="1206" y="1884"/>
                  </a:lnTo>
                  <a:lnTo>
                    <a:pt x="1206" y="1866"/>
                  </a:lnTo>
                  <a:lnTo>
                    <a:pt x="1212" y="1848"/>
                  </a:lnTo>
                  <a:lnTo>
                    <a:pt x="1212" y="1842"/>
                  </a:lnTo>
                  <a:lnTo>
                    <a:pt x="1206" y="1836"/>
                  </a:lnTo>
                  <a:lnTo>
                    <a:pt x="1200" y="1830"/>
                  </a:lnTo>
                  <a:lnTo>
                    <a:pt x="1194" y="1824"/>
                  </a:lnTo>
                  <a:lnTo>
                    <a:pt x="1188" y="1824"/>
                  </a:lnTo>
                  <a:lnTo>
                    <a:pt x="1182" y="1824"/>
                  </a:lnTo>
                  <a:lnTo>
                    <a:pt x="1176" y="1824"/>
                  </a:lnTo>
                  <a:lnTo>
                    <a:pt x="1170" y="1818"/>
                  </a:lnTo>
                  <a:lnTo>
                    <a:pt x="1164" y="1830"/>
                  </a:lnTo>
                  <a:lnTo>
                    <a:pt x="1152" y="1836"/>
                  </a:lnTo>
                  <a:lnTo>
                    <a:pt x="1146" y="1842"/>
                  </a:lnTo>
                  <a:lnTo>
                    <a:pt x="1140" y="1842"/>
                  </a:lnTo>
                  <a:lnTo>
                    <a:pt x="1134" y="1842"/>
                  </a:lnTo>
                  <a:lnTo>
                    <a:pt x="1128" y="1842"/>
                  </a:lnTo>
                  <a:lnTo>
                    <a:pt x="1116" y="1836"/>
                  </a:lnTo>
                  <a:lnTo>
                    <a:pt x="1110" y="1842"/>
                  </a:lnTo>
                  <a:lnTo>
                    <a:pt x="1092" y="1830"/>
                  </a:lnTo>
                  <a:lnTo>
                    <a:pt x="1092" y="1824"/>
                  </a:lnTo>
                  <a:lnTo>
                    <a:pt x="1092" y="1806"/>
                  </a:lnTo>
                  <a:lnTo>
                    <a:pt x="1092" y="1800"/>
                  </a:lnTo>
                  <a:lnTo>
                    <a:pt x="1092" y="1794"/>
                  </a:lnTo>
                  <a:lnTo>
                    <a:pt x="1086" y="1788"/>
                  </a:lnTo>
                  <a:lnTo>
                    <a:pt x="1080" y="1794"/>
                  </a:lnTo>
                  <a:lnTo>
                    <a:pt x="1074" y="1788"/>
                  </a:lnTo>
                  <a:lnTo>
                    <a:pt x="1068" y="1770"/>
                  </a:lnTo>
                  <a:lnTo>
                    <a:pt x="1056" y="1764"/>
                  </a:lnTo>
                  <a:lnTo>
                    <a:pt x="1050" y="1764"/>
                  </a:lnTo>
                  <a:lnTo>
                    <a:pt x="1044" y="1764"/>
                  </a:lnTo>
                  <a:lnTo>
                    <a:pt x="1038" y="1758"/>
                  </a:lnTo>
                  <a:lnTo>
                    <a:pt x="1032" y="1752"/>
                  </a:lnTo>
                  <a:lnTo>
                    <a:pt x="1032" y="1746"/>
                  </a:lnTo>
                  <a:lnTo>
                    <a:pt x="1032" y="1740"/>
                  </a:lnTo>
                  <a:lnTo>
                    <a:pt x="1032" y="1734"/>
                  </a:lnTo>
                  <a:lnTo>
                    <a:pt x="1026" y="1734"/>
                  </a:lnTo>
                  <a:lnTo>
                    <a:pt x="1032" y="1728"/>
                  </a:lnTo>
                  <a:lnTo>
                    <a:pt x="1032" y="1722"/>
                  </a:lnTo>
                  <a:lnTo>
                    <a:pt x="1044" y="1686"/>
                  </a:lnTo>
                  <a:lnTo>
                    <a:pt x="1044" y="1680"/>
                  </a:lnTo>
                  <a:lnTo>
                    <a:pt x="1032" y="1674"/>
                  </a:lnTo>
                  <a:lnTo>
                    <a:pt x="1026" y="1674"/>
                  </a:lnTo>
                  <a:lnTo>
                    <a:pt x="1026" y="1668"/>
                  </a:lnTo>
                  <a:lnTo>
                    <a:pt x="1020" y="1662"/>
                  </a:lnTo>
                  <a:lnTo>
                    <a:pt x="1014" y="1668"/>
                  </a:lnTo>
                  <a:lnTo>
                    <a:pt x="1008" y="1662"/>
                  </a:lnTo>
                  <a:lnTo>
                    <a:pt x="1002" y="1662"/>
                  </a:lnTo>
                  <a:lnTo>
                    <a:pt x="1002" y="1668"/>
                  </a:lnTo>
                  <a:lnTo>
                    <a:pt x="996" y="1668"/>
                  </a:lnTo>
                  <a:lnTo>
                    <a:pt x="996" y="1662"/>
                  </a:lnTo>
                  <a:lnTo>
                    <a:pt x="984" y="1662"/>
                  </a:lnTo>
                  <a:lnTo>
                    <a:pt x="984" y="1656"/>
                  </a:lnTo>
                  <a:lnTo>
                    <a:pt x="978" y="1650"/>
                  </a:lnTo>
                  <a:lnTo>
                    <a:pt x="978" y="1644"/>
                  </a:lnTo>
                  <a:lnTo>
                    <a:pt x="966" y="1650"/>
                  </a:lnTo>
                  <a:lnTo>
                    <a:pt x="960" y="1638"/>
                  </a:lnTo>
                  <a:lnTo>
                    <a:pt x="954" y="1632"/>
                  </a:lnTo>
                  <a:lnTo>
                    <a:pt x="948" y="1632"/>
                  </a:lnTo>
                  <a:lnTo>
                    <a:pt x="942" y="1626"/>
                  </a:lnTo>
                  <a:lnTo>
                    <a:pt x="942" y="1614"/>
                  </a:lnTo>
                  <a:lnTo>
                    <a:pt x="930" y="1608"/>
                  </a:lnTo>
                  <a:lnTo>
                    <a:pt x="924" y="1614"/>
                  </a:lnTo>
                  <a:lnTo>
                    <a:pt x="912" y="1608"/>
                  </a:lnTo>
                  <a:lnTo>
                    <a:pt x="888" y="1590"/>
                  </a:lnTo>
                  <a:lnTo>
                    <a:pt x="894" y="1578"/>
                  </a:lnTo>
                  <a:lnTo>
                    <a:pt x="894" y="1572"/>
                  </a:lnTo>
                  <a:lnTo>
                    <a:pt x="894" y="1566"/>
                  </a:lnTo>
                  <a:lnTo>
                    <a:pt x="894" y="1548"/>
                  </a:lnTo>
                  <a:lnTo>
                    <a:pt x="888" y="1548"/>
                  </a:lnTo>
                  <a:lnTo>
                    <a:pt x="882" y="1542"/>
                  </a:lnTo>
                  <a:lnTo>
                    <a:pt x="876" y="1542"/>
                  </a:lnTo>
                  <a:lnTo>
                    <a:pt x="876" y="1536"/>
                  </a:lnTo>
                  <a:lnTo>
                    <a:pt x="870" y="1542"/>
                  </a:lnTo>
                  <a:lnTo>
                    <a:pt x="870" y="1554"/>
                  </a:lnTo>
                  <a:lnTo>
                    <a:pt x="870" y="1566"/>
                  </a:lnTo>
                  <a:lnTo>
                    <a:pt x="870" y="1578"/>
                  </a:lnTo>
                  <a:lnTo>
                    <a:pt x="870" y="1584"/>
                  </a:lnTo>
                  <a:lnTo>
                    <a:pt x="864" y="1584"/>
                  </a:lnTo>
                  <a:lnTo>
                    <a:pt x="870" y="1602"/>
                  </a:lnTo>
                  <a:lnTo>
                    <a:pt x="864" y="1608"/>
                  </a:lnTo>
                  <a:lnTo>
                    <a:pt x="870" y="1614"/>
                  </a:lnTo>
                  <a:lnTo>
                    <a:pt x="864" y="1644"/>
                  </a:lnTo>
                  <a:lnTo>
                    <a:pt x="858" y="1650"/>
                  </a:lnTo>
                  <a:lnTo>
                    <a:pt x="858" y="1656"/>
                  </a:lnTo>
                  <a:lnTo>
                    <a:pt x="852" y="1662"/>
                  </a:lnTo>
                  <a:lnTo>
                    <a:pt x="852" y="1680"/>
                  </a:lnTo>
                  <a:lnTo>
                    <a:pt x="846" y="1686"/>
                  </a:lnTo>
                  <a:lnTo>
                    <a:pt x="834" y="1692"/>
                  </a:lnTo>
                  <a:lnTo>
                    <a:pt x="828" y="1692"/>
                  </a:lnTo>
                  <a:lnTo>
                    <a:pt x="822" y="1698"/>
                  </a:lnTo>
                  <a:lnTo>
                    <a:pt x="822" y="1704"/>
                  </a:lnTo>
                  <a:lnTo>
                    <a:pt x="816" y="1704"/>
                  </a:lnTo>
                  <a:lnTo>
                    <a:pt x="804" y="1692"/>
                  </a:lnTo>
                  <a:lnTo>
                    <a:pt x="786" y="1698"/>
                  </a:lnTo>
                  <a:lnTo>
                    <a:pt x="780" y="1698"/>
                  </a:lnTo>
                  <a:lnTo>
                    <a:pt x="756" y="1698"/>
                  </a:lnTo>
                  <a:lnTo>
                    <a:pt x="744" y="1698"/>
                  </a:lnTo>
                  <a:lnTo>
                    <a:pt x="738" y="1698"/>
                  </a:lnTo>
                  <a:lnTo>
                    <a:pt x="732" y="1704"/>
                  </a:lnTo>
                  <a:lnTo>
                    <a:pt x="726" y="1704"/>
                  </a:lnTo>
                  <a:lnTo>
                    <a:pt x="678" y="1710"/>
                  </a:lnTo>
                  <a:lnTo>
                    <a:pt x="642" y="1710"/>
                  </a:lnTo>
                  <a:lnTo>
                    <a:pt x="618" y="1680"/>
                  </a:lnTo>
                  <a:lnTo>
                    <a:pt x="618" y="1674"/>
                  </a:lnTo>
                  <a:lnTo>
                    <a:pt x="618" y="1668"/>
                  </a:lnTo>
                  <a:lnTo>
                    <a:pt x="624" y="1662"/>
                  </a:lnTo>
                  <a:lnTo>
                    <a:pt x="624" y="1656"/>
                  </a:lnTo>
                  <a:lnTo>
                    <a:pt x="624" y="1650"/>
                  </a:lnTo>
                  <a:lnTo>
                    <a:pt x="618" y="1650"/>
                  </a:lnTo>
                  <a:lnTo>
                    <a:pt x="618" y="1644"/>
                  </a:lnTo>
                  <a:lnTo>
                    <a:pt x="618" y="1638"/>
                  </a:lnTo>
                  <a:lnTo>
                    <a:pt x="618" y="1632"/>
                  </a:lnTo>
                  <a:lnTo>
                    <a:pt x="618" y="1626"/>
                  </a:lnTo>
                  <a:lnTo>
                    <a:pt x="612" y="1626"/>
                  </a:lnTo>
                  <a:lnTo>
                    <a:pt x="612" y="1620"/>
                  </a:lnTo>
                  <a:lnTo>
                    <a:pt x="606" y="1614"/>
                  </a:lnTo>
                  <a:lnTo>
                    <a:pt x="594" y="1626"/>
                  </a:lnTo>
                  <a:lnTo>
                    <a:pt x="594" y="1632"/>
                  </a:lnTo>
                  <a:lnTo>
                    <a:pt x="588" y="1638"/>
                  </a:lnTo>
                  <a:lnTo>
                    <a:pt x="582" y="1638"/>
                  </a:lnTo>
                  <a:lnTo>
                    <a:pt x="564" y="1656"/>
                  </a:lnTo>
                  <a:lnTo>
                    <a:pt x="558" y="1662"/>
                  </a:lnTo>
                  <a:lnTo>
                    <a:pt x="552" y="1662"/>
                  </a:lnTo>
                  <a:lnTo>
                    <a:pt x="540" y="1674"/>
                  </a:lnTo>
                  <a:lnTo>
                    <a:pt x="534" y="1680"/>
                  </a:lnTo>
                  <a:lnTo>
                    <a:pt x="522" y="1692"/>
                  </a:lnTo>
                  <a:lnTo>
                    <a:pt x="516" y="1704"/>
                  </a:lnTo>
                  <a:lnTo>
                    <a:pt x="510" y="1704"/>
                  </a:lnTo>
                  <a:lnTo>
                    <a:pt x="504" y="1704"/>
                  </a:lnTo>
                  <a:lnTo>
                    <a:pt x="486" y="1722"/>
                  </a:lnTo>
                  <a:lnTo>
                    <a:pt x="480" y="1740"/>
                  </a:lnTo>
                  <a:lnTo>
                    <a:pt x="474" y="1740"/>
                  </a:lnTo>
                  <a:lnTo>
                    <a:pt x="468" y="1746"/>
                  </a:lnTo>
                  <a:lnTo>
                    <a:pt x="456" y="1758"/>
                  </a:lnTo>
                  <a:lnTo>
                    <a:pt x="444" y="1770"/>
                  </a:lnTo>
                  <a:lnTo>
                    <a:pt x="438" y="1782"/>
                  </a:lnTo>
                  <a:lnTo>
                    <a:pt x="426" y="1788"/>
                  </a:lnTo>
                  <a:lnTo>
                    <a:pt x="420" y="1788"/>
                  </a:lnTo>
                  <a:lnTo>
                    <a:pt x="420" y="1782"/>
                  </a:lnTo>
                  <a:lnTo>
                    <a:pt x="414" y="1782"/>
                  </a:lnTo>
                  <a:lnTo>
                    <a:pt x="390" y="1782"/>
                  </a:lnTo>
                  <a:lnTo>
                    <a:pt x="390" y="1776"/>
                  </a:lnTo>
                  <a:lnTo>
                    <a:pt x="384" y="1776"/>
                  </a:lnTo>
                  <a:lnTo>
                    <a:pt x="378" y="1776"/>
                  </a:lnTo>
                  <a:lnTo>
                    <a:pt x="372" y="1776"/>
                  </a:lnTo>
                  <a:lnTo>
                    <a:pt x="366" y="1770"/>
                  </a:lnTo>
                  <a:lnTo>
                    <a:pt x="366" y="1776"/>
                  </a:lnTo>
                  <a:lnTo>
                    <a:pt x="360" y="1788"/>
                  </a:lnTo>
                  <a:lnTo>
                    <a:pt x="360" y="1794"/>
                  </a:lnTo>
                  <a:lnTo>
                    <a:pt x="360" y="1800"/>
                  </a:lnTo>
                  <a:lnTo>
                    <a:pt x="354" y="1806"/>
                  </a:lnTo>
                  <a:lnTo>
                    <a:pt x="354" y="1812"/>
                  </a:lnTo>
                  <a:lnTo>
                    <a:pt x="354" y="1824"/>
                  </a:lnTo>
                  <a:lnTo>
                    <a:pt x="348" y="1830"/>
                  </a:lnTo>
                  <a:lnTo>
                    <a:pt x="354" y="1836"/>
                  </a:lnTo>
                  <a:lnTo>
                    <a:pt x="348" y="1842"/>
                  </a:lnTo>
                  <a:lnTo>
                    <a:pt x="354" y="1848"/>
                  </a:lnTo>
                  <a:lnTo>
                    <a:pt x="348" y="1854"/>
                  </a:lnTo>
                  <a:lnTo>
                    <a:pt x="354" y="1854"/>
                  </a:lnTo>
                  <a:lnTo>
                    <a:pt x="348" y="1860"/>
                  </a:lnTo>
                  <a:lnTo>
                    <a:pt x="348" y="1866"/>
                  </a:lnTo>
                  <a:lnTo>
                    <a:pt x="342" y="1866"/>
                  </a:lnTo>
                  <a:lnTo>
                    <a:pt x="342" y="1872"/>
                  </a:lnTo>
                  <a:lnTo>
                    <a:pt x="342" y="1878"/>
                  </a:lnTo>
                  <a:lnTo>
                    <a:pt x="342" y="1884"/>
                  </a:lnTo>
                  <a:lnTo>
                    <a:pt x="336" y="1896"/>
                  </a:lnTo>
                  <a:lnTo>
                    <a:pt x="330" y="1914"/>
                  </a:lnTo>
                  <a:lnTo>
                    <a:pt x="324" y="1920"/>
                  </a:lnTo>
                  <a:lnTo>
                    <a:pt x="324" y="1926"/>
                  </a:lnTo>
                  <a:lnTo>
                    <a:pt x="318" y="1944"/>
                  </a:lnTo>
                  <a:lnTo>
                    <a:pt x="318" y="1950"/>
                  </a:lnTo>
                  <a:lnTo>
                    <a:pt x="312" y="1956"/>
                  </a:lnTo>
                  <a:lnTo>
                    <a:pt x="312" y="1950"/>
                  </a:lnTo>
                  <a:lnTo>
                    <a:pt x="306" y="1950"/>
                  </a:lnTo>
                  <a:lnTo>
                    <a:pt x="306" y="1956"/>
                  </a:lnTo>
                  <a:lnTo>
                    <a:pt x="300" y="1950"/>
                  </a:lnTo>
                  <a:lnTo>
                    <a:pt x="294" y="1956"/>
                  </a:lnTo>
                  <a:lnTo>
                    <a:pt x="288" y="1950"/>
                  </a:lnTo>
                  <a:lnTo>
                    <a:pt x="288" y="1944"/>
                  </a:lnTo>
                  <a:lnTo>
                    <a:pt x="282" y="1938"/>
                  </a:lnTo>
                  <a:lnTo>
                    <a:pt x="282" y="1932"/>
                  </a:lnTo>
                  <a:lnTo>
                    <a:pt x="282" y="1890"/>
                  </a:lnTo>
                  <a:lnTo>
                    <a:pt x="288" y="1860"/>
                  </a:lnTo>
                  <a:lnTo>
                    <a:pt x="294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300" y="1818"/>
                  </a:lnTo>
                  <a:lnTo>
                    <a:pt x="306" y="1794"/>
                  </a:lnTo>
                  <a:lnTo>
                    <a:pt x="306" y="1788"/>
                  </a:lnTo>
                  <a:lnTo>
                    <a:pt x="306" y="1782"/>
                  </a:lnTo>
                  <a:lnTo>
                    <a:pt x="312" y="1776"/>
                  </a:lnTo>
                  <a:lnTo>
                    <a:pt x="306" y="1776"/>
                  </a:lnTo>
                  <a:lnTo>
                    <a:pt x="312" y="1770"/>
                  </a:lnTo>
                  <a:lnTo>
                    <a:pt x="312" y="1740"/>
                  </a:lnTo>
                  <a:lnTo>
                    <a:pt x="318" y="1722"/>
                  </a:lnTo>
                  <a:lnTo>
                    <a:pt x="312" y="1722"/>
                  </a:lnTo>
                  <a:lnTo>
                    <a:pt x="300" y="1716"/>
                  </a:lnTo>
                  <a:lnTo>
                    <a:pt x="306" y="1716"/>
                  </a:lnTo>
                  <a:lnTo>
                    <a:pt x="312" y="1710"/>
                  </a:lnTo>
                  <a:lnTo>
                    <a:pt x="324" y="1674"/>
                  </a:lnTo>
                  <a:lnTo>
                    <a:pt x="366" y="1590"/>
                  </a:lnTo>
                  <a:lnTo>
                    <a:pt x="408" y="1548"/>
                  </a:lnTo>
                  <a:lnTo>
                    <a:pt x="426" y="1530"/>
                  </a:lnTo>
                  <a:lnTo>
                    <a:pt x="432" y="1500"/>
                  </a:lnTo>
                  <a:lnTo>
                    <a:pt x="426" y="1494"/>
                  </a:lnTo>
                  <a:lnTo>
                    <a:pt x="426" y="1482"/>
                  </a:lnTo>
                  <a:lnTo>
                    <a:pt x="432" y="1464"/>
                  </a:lnTo>
                  <a:lnTo>
                    <a:pt x="438" y="1428"/>
                  </a:lnTo>
                  <a:lnTo>
                    <a:pt x="462" y="1398"/>
                  </a:lnTo>
                  <a:lnTo>
                    <a:pt x="468" y="1362"/>
                  </a:lnTo>
                  <a:lnTo>
                    <a:pt x="462" y="1314"/>
                  </a:lnTo>
                  <a:lnTo>
                    <a:pt x="444" y="1284"/>
                  </a:lnTo>
                  <a:lnTo>
                    <a:pt x="432" y="1260"/>
                  </a:lnTo>
                  <a:lnTo>
                    <a:pt x="426" y="1260"/>
                  </a:lnTo>
                  <a:lnTo>
                    <a:pt x="420" y="1254"/>
                  </a:lnTo>
                  <a:lnTo>
                    <a:pt x="408" y="1260"/>
                  </a:lnTo>
                  <a:lnTo>
                    <a:pt x="402" y="1260"/>
                  </a:lnTo>
                  <a:lnTo>
                    <a:pt x="402" y="1254"/>
                  </a:lnTo>
                  <a:lnTo>
                    <a:pt x="396" y="1254"/>
                  </a:lnTo>
                  <a:lnTo>
                    <a:pt x="396" y="1248"/>
                  </a:lnTo>
                  <a:lnTo>
                    <a:pt x="384" y="1248"/>
                  </a:lnTo>
                  <a:lnTo>
                    <a:pt x="372" y="1230"/>
                  </a:lnTo>
                  <a:lnTo>
                    <a:pt x="360" y="1212"/>
                  </a:lnTo>
                  <a:lnTo>
                    <a:pt x="348" y="1188"/>
                  </a:lnTo>
                  <a:lnTo>
                    <a:pt x="324" y="1170"/>
                  </a:lnTo>
                  <a:lnTo>
                    <a:pt x="318" y="1170"/>
                  </a:lnTo>
                  <a:lnTo>
                    <a:pt x="312" y="1158"/>
                  </a:lnTo>
                  <a:lnTo>
                    <a:pt x="312" y="1152"/>
                  </a:lnTo>
                  <a:lnTo>
                    <a:pt x="306" y="1146"/>
                  </a:lnTo>
                  <a:lnTo>
                    <a:pt x="270" y="1122"/>
                  </a:lnTo>
                  <a:lnTo>
                    <a:pt x="240" y="1122"/>
                  </a:lnTo>
                  <a:lnTo>
                    <a:pt x="180" y="1116"/>
                  </a:lnTo>
                  <a:lnTo>
                    <a:pt x="174" y="1122"/>
                  </a:lnTo>
                  <a:lnTo>
                    <a:pt x="174" y="1128"/>
                  </a:lnTo>
                  <a:lnTo>
                    <a:pt x="168" y="1122"/>
                  </a:lnTo>
                  <a:lnTo>
                    <a:pt x="162" y="1116"/>
                  </a:lnTo>
                  <a:lnTo>
                    <a:pt x="144" y="1122"/>
                  </a:lnTo>
                  <a:lnTo>
                    <a:pt x="120" y="1122"/>
                  </a:lnTo>
                  <a:lnTo>
                    <a:pt x="54" y="1134"/>
                  </a:lnTo>
                  <a:lnTo>
                    <a:pt x="24" y="1152"/>
                  </a:lnTo>
                  <a:lnTo>
                    <a:pt x="6" y="1146"/>
                  </a:lnTo>
                  <a:lnTo>
                    <a:pt x="0" y="1134"/>
                  </a:lnTo>
                  <a:lnTo>
                    <a:pt x="0" y="1128"/>
                  </a:lnTo>
                  <a:lnTo>
                    <a:pt x="18" y="1110"/>
                  </a:lnTo>
                  <a:lnTo>
                    <a:pt x="24" y="1104"/>
                  </a:lnTo>
                  <a:lnTo>
                    <a:pt x="24" y="1098"/>
                  </a:lnTo>
                  <a:lnTo>
                    <a:pt x="30" y="1086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24" y="1074"/>
                  </a:lnTo>
                  <a:lnTo>
                    <a:pt x="18" y="1068"/>
                  </a:lnTo>
                  <a:lnTo>
                    <a:pt x="24" y="1062"/>
                  </a:lnTo>
                  <a:lnTo>
                    <a:pt x="42" y="1056"/>
                  </a:lnTo>
                  <a:lnTo>
                    <a:pt x="54" y="1050"/>
                  </a:lnTo>
                  <a:lnTo>
                    <a:pt x="72" y="1044"/>
                  </a:lnTo>
                  <a:lnTo>
                    <a:pt x="96" y="1032"/>
                  </a:lnTo>
                  <a:lnTo>
                    <a:pt x="102" y="1032"/>
                  </a:lnTo>
                  <a:lnTo>
                    <a:pt x="126" y="1008"/>
                  </a:lnTo>
                  <a:lnTo>
                    <a:pt x="144" y="990"/>
                  </a:lnTo>
                  <a:lnTo>
                    <a:pt x="156" y="978"/>
                  </a:lnTo>
                  <a:lnTo>
                    <a:pt x="156" y="966"/>
                  </a:lnTo>
                  <a:lnTo>
                    <a:pt x="150" y="960"/>
                  </a:lnTo>
                  <a:lnTo>
                    <a:pt x="144" y="948"/>
                  </a:lnTo>
                  <a:lnTo>
                    <a:pt x="144" y="936"/>
                  </a:lnTo>
                  <a:lnTo>
                    <a:pt x="138" y="918"/>
                  </a:lnTo>
                  <a:lnTo>
                    <a:pt x="150" y="912"/>
                  </a:lnTo>
                  <a:lnTo>
                    <a:pt x="150" y="894"/>
                  </a:lnTo>
                  <a:lnTo>
                    <a:pt x="132" y="876"/>
                  </a:lnTo>
                  <a:lnTo>
                    <a:pt x="126" y="876"/>
                  </a:lnTo>
                  <a:lnTo>
                    <a:pt x="120" y="870"/>
                  </a:lnTo>
                  <a:lnTo>
                    <a:pt x="120" y="864"/>
                  </a:lnTo>
                  <a:lnTo>
                    <a:pt x="114" y="864"/>
                  </a:lnTo>
                  <a:lnTo>
                    <a:pt x="108" y="864"/>
                  </a:lnTo>
                  <a:lnTo>
                    <a:pt x="108" y="858"/>
                  </a:lnTo>
                  <a:lnTo>
                    <a:pt x="102" y="852"/>
                  </a:lnTo>
                  <a:lnTo>
                    <a:pt x="96" y="852"/>
                  </a:lnTo>
                  <a:lnTo>
                    <a:pt x="102" y="834"/>
                  </a:lnTo>
                  <a:lnTo>
                    <a:pt x="108" y="816"/>
                  </a:lnTo>
                  <a:lnTo>
                    <a:pt x="114" y="804"/>
                  </a:lnTo>
                  <a:lnTo>
                    <a:pt x="132" y="798"/>
                  </a:lnTo>
                  <a:lnTo>
                    <a:pt x="144" y="798"/>
                  </a:lnTo>
                  <a:lnTo>
                    <a:pt x="180" y="810"/>
                  </a:lnTo>
                  <a:lnTo>
                    <a:pt x="192" y="816"/>
                  </a:lnTo>
                  <a:lnTo>
                    <a:pt x="234" y="822"/>
                  </a:lnTo>
                  <a:lnTo>
                    <a:pt x="264" y="828"/>
                  </a:lnTo>
                  <a:lnTo>
                    <a:pt x="270" y="840"/>
                  </a:lnTo>
                  <a:lnTo>
                    <a:pt x="270" y="834"/>
                  </a:lnTo>
                  <a:lnTo>
                    <a:pt x="270" y="828"/>
                  </a:lnTo>
                  <a:lnTo>
                    <a:pt x="270" y="822"/>
                  </a:lnTo>
                  <a:lnTo>
                    <a:pt x="270" y="816"/>
                  </a:lnTo>
                  <a:lnTo>
                    <a:pt x="264" y="810"/>
                  </a:lnTo>
                  <a:lnTo>
                    <a:pt x="264" y="804"/>
                  </a:lnTo>
                  <a:lnTo>
                    <a:pt x="264" y="798"/>
                  </a:lnTo>
                  <a:lnTo>
                    <a:pt x="258" y="792"/>
                  </a:lnTo>
                  <a:lnTo>
                    <a:pt x="258" y="786"/>
                  </a:lnTo>
                  <a:lnTo>
                    <a:pt x="264" y="786"/>
                  </a:lnTo>
                  <a:lnTo>
                    <a:pt x="264" y="780"/>
                  </a:lnTo>
                  <a:lnTo>
                    <a:pt x="258" y="774"/>
                  </a:lnTo>
                  <a:lnTo>
                    <a:pt x="258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82" y="762"/>
                  </a:lnTo>
                  <a:lnTo>
                    <a:pt x="312" y="780"/>
                  </a:lnTo>
                  <a:lnTo>
                    <a:pt x="354" y="786"/>
                  </a:lnTo>
                  <a:lnTo>
                    <a:pt x="408" y="774"/>
                  </a:lnTo>
                  <a:lnTo>
                    <a:pt x="444" y="756"/>
                  </a:lnTo>
                  <a:lnTo>
                    <a:pt x="468" y="732"/>
                  </a:lnTo>
                  <a:lnTo>
                    <a:pt x="492" y="720"/>
                  </a:lnTo>
                  <a:lnTo>
                    <a:pt x="522" y="690"/>
                  </a:lnTo>
                  <a:lnTo>
                    <a:pt x="540" y="672"/>
                  </a:lnTo>
                  <a:lnTo>
                    <a:pt x="558" y="660"/>
                  </a:lnTo>
                  <a:lnTo>
                    <a:pt x="570" y="636"/>
                  </a:lnTo>
                  <a:lnTo>
                    <a:pt x="588" y="612"/>
                  </a:lnTo>
                  <a:lnTo>
                    <a:pt x="654" y="552"/>
                  </a:lnTo>
                  <a:lnTo>
                    <a:pt x="678" y="528"/>
                  </a:lnTo>
                  <a:lnTo>
                    <a:pt x="696" y="510"/>
                  </a:lnTo>
                  <a:lnTo>
                    <a:pt x="714" y="498"/>
                  </a:lnTo>
                  <a:lnTo>
                    <a:pt x="750" y="480"/>
                  </a:lnTo>
                  <a:lnTo>
                    <a:pt x="774" y="444"/>
                  </a:lnTo>
                  <a:lnTo>
                    <a:pt x="816" y="426"/>
                  </a:lnTo>
                  <a:lnTo>
                    <a:pt x="864" y="420"/>
                  </a:lnTo>
                  <a:lnTo>
                    <a:pt x="912" y="402"/>
                  </a:lnTo>
                  <a:lnTo>
                    <a:pt x="906" y="396"/>
                  </a:lnTo>
                  <a:lnTo>
                    <a:pt x="912" y="396"/>
                  </a:lnTo>
                  <a:lnTo>
                    <a:pt x="912" y="390"/>
                  </a:lnTo>
                  <a:lnTo>
                    <a:pt x="918" y="384"/>
                  </a:lnTo>
                  <a:lnTo>
                    <a:pt x="924" y="384"/>
                  </a:lnTo>
                  <a:lnTo>
                    <a:pt x="924" y="378"/>
                  </a:lnTo>
                  <a:lnTo>
                    <a:pt x="918" y="372"/>
                  </a:lnTo>
                  <a:lnTo>
                    <a:pt x="918" y="366"/>
                  </a:lnTo>
                  <a:lnTo>
                    <a:pt x="918" y="360"/>
                  </a:lnTo>
                  <a:lnTo>
                    <a:pt x="924" y="360"/>
                  </a:lnTo>
                  <a:lnTo>
                    <a:pt x="924" y="354"/>
                  </a:lnTo>
                  <a:lnTo>
                    <a:pt x="930" y="354"/>
                  </a:lnTo>
                  <a:lnTo>
                    <a:pt x="936" y="354"/>
                  </a:lnTo>
                  <a:lnTo>
                    <a:pt x="936" y="348"/>
                  </a:lnTo>
                  <a:lnTo>
                    <a:pt x="942" y="348"/>
                  </a:lnTo>
                  <a:lnTo>
                    <a:pt x="942" y="336"/>
                  </a:lnTo>
                  <a:lnTo>
                    <a:pt x="936" y="336"/>
                  </a:lnTo>
                  <a:lnTo>
                    <a:pt x="930" y="330"/>
                  </a:lnTo>
                  <a:lnTo>
                    <a:pt x="924" y="330"/>
                  </a:lnTo>
                  <a:lnTo>
                    <a:pt x="924" y="324"/>
                  </a:lnTo>
                  <a:lnTo>
                    <a:pt x="918" y="318"/>
                  </a:lnTo>
                  <a:lnTo>
                    <a:pt x="912" y="306"/>
                  </a:lnTo>
                  <a:lnTo>
                    <a:pt x="918" y="306"/>
                  </a:lnTo>
                  <a:lnTo>
                    <a:pt x="924" y="300"/>
                  </a:lnTo>
                  <a:lnTo>
                    <a:pt x="924" y="294"/>
                  </a:lnTo>
                  <a:lnTo>
                    <a:pt x="924" y="288"/>
                  </a:lnTo>
                  <a:lnTo>
                    <a:pt x="924" y="282"/>
                  </a:lnTo>
                  <a:lnTo>
                    <a:pt x="924" y="276"/>
                  </a:lnTo>
                  <a:lnTo>
                    <a:pt x="918" y="270"/>
                  </a:lnTo>
                  <a:lnTo>
                    <a:pt x="918" y="264"/>
                  </a:lnTo>
                  <a:lnTo>
                    <a:pt x="912" y="270"/>
                  </a:lnTo>
                  <a:lnTo>
                    <a:pt x="912" y="264"/>
                  </a:lnTo>
                  <a:lnTo>
                    <a:pt x="912" y="258"/>
                  </a:lnTo>
                  <a:lnTo>
                    <a:pt x="912" y="252"/>
                  </a:lnTo>
                  <a:lnTo>
                    <a:pt x="906" y="252"/>
                  </a:lnTo>
                  <a:lnTo>
                    <a:pt x="900" y="246"/>
                  </a:lnTo>
                  <a:lnTo>
                    <a:pt x="900" y="240"/>
                  </a:lnTo>
                  <a:lnTo>
                    <a:pt x="900" y="246"/>
                  </a:lnTo>
                  <a:lnTo>
                    <a:pt x="894" y="246"/>
                  </a:lnTo>
                  <a:lnTo>
                    <a:pt x="894" y="240"/>
                  </a:lnTo>
                  <a:lnTo>
                    <a:pt x="894" y="234"/>
                  </a:lnTo>
                  <a:lnTo>
                    <a:pt x="900" y="234"/>
                  </a:lnTo>
                  <a:lnTo>
                    <a:pt x="900" y="228"/>
                  </a:lnTo>
                  <a:lnTo>
                    <a:pt x="906" y="228"/>
                  </a:lnTo>
                  <a:lnTo>
                    <a:pt x="900" y="222"/>
                  </a:lnTo>
                  <a:lnTo>
                    <a:pt x="894" y="216"/>
                  </a:lnTo>
                  <a:lnTo>
                    <a:pt x="894" y="210"/>
                  </a:lnTo>
                  <a:lnTo>
                    <a:pt x="888" y="210"/>
                  </a:lnTo>
                  <a:lnTo>
                    <a:pt x="888" y="204"/>
                  </a:lnTo>
                  <a:lnTo>
                    <a:pt x="888" y="198"/>
                  </a:lnTo>
                  <a:lnTo>
                    <a:pt x="888" y="192"/>
                  </a:lnTo>
                  <a:lnTo>
                    <a:pt x="882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82" y="174"/>
                  </a:lnTo>
                  <a:lnTo>
                    <a:pt x="888" y="168"/>
                  </a:lnTo>
                  <a:lnTo>
                    <a:pt x="888" y="162"/>
                  </a:lnTo>
                  <a:lnTo>
                    <a:pt x="888" y="156"/>
                  </a:lnTo>
                  <a:lnTo>
                    <a:pt x="888" y="150"/>
                  </a:lnTo>
                  <a:lnTo>
                    <a:pt x="888" y="144"/>
                  </a:lnTo>
                  <a:lnTo>
                    <a:pt x="882" y="144"/>
                  </a:lnTo>
                  <a:lnTo>
                    <a:pt x="882" y="138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76" y="120"/>
                  </a:lnTo>
                  <a:lnTo>
                    <a:pt x="882" y="114"/>
                  </a:lnTo>
                  <a:lnTo>
                    <a:pt x="882" y="108"/>
                  </a:lnTo>
                  <a:lnTo>
                    <a:pt x="888" y="102"/>
                  </a:lnTo>
                  <a:lnTo>
                    <a:pt x="894" y="102"/>
                  </a:lnTo>
                  <a:lnTo>
                    <a:pt x="894" y="96"/>
                  </a:lnTo>
                  <a:lnTo>
                    <a:pt x="888" y="96"/>
                  </a:lnTo>
                  <a:lnTo>
                    <a:pt x="894" y="90"/>
                  </a:lnTo>
                  <a:lnTo>
                    <a:pt x="888" y="84"/>
                  </a:lnTo>
                  <a:lnTo>
                    <a:pt x="888" y="78"/>
                  </a:lnTo>
                  <a:lnTo>
                    <a:pt x="924" y="66"/>
                  </a:lnTo>
                  <a:lnTo>
                    <a:pt x="966" y="66"/>
                  </a:lnTo>
                  <a:lnTo>
                    <a:pt x="996" y="48"/>
                  </a:lnTo>
                  <a:lnTo>
                    <a:pt x="1056" y="12"/>
                  </a:lnTo>
                  <a:lnTo>
                    <a:pt x="1128" y="0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0" y="18"/>
                  </a:lnTo>
                  <a:lnTo>
                    <a:pt x="1176" y="24"/>
                  </a:lnTo>
                  <a:lnTo>
                    <a:pt x="1182" y="24"/>
                  </a:lnTo>
                  <a:lnTo>
                    <a:pt x="1188" y="30"/>
                  </a:lnTo>
                  <a:lnTo>
                    <a:pt x="1194" y="30"/>
                  </a:lnTo>
                  <a:lnTo>
                    <a:pt x="1194" y="36"/>
                  </a:lnTo>
                  <a:lnTo>
                    <a:pt x="1260" y="30"/>
                  </a:lnTo>
                  <a:lnTo>
                    <a:pt x="1272" y="30"/>
                  </a:lnTo>
                  <a:lnTo>
                    <a:pt x="1296" y="24"/>
                  </a:lnTo>
                  <a:lnTo>
                    <a:pt x="1302" y="30"/>
                  </a:lnTo>
                  <a:lnTo>
                    <a:pt x="1302" y="36"/>
                  </a:lnTo>
                  <a:lnTo>
                    <a:pt x="1308" y="36"/>
                  </a:lnTo>
                  <a:lnTo>
                    <a:pt x="1314" y="36"/>
                  </a:lnTo>
                  <a:lnTo>
                    <a:pt x="1320" y="36"/>
                  </a:lnTo>
                  <a:lnTo>
                    <a:pt x="1326" y="30"/>
                  </a:lnTo>
                  <a:lnTo>
                    <a:pt x="1332" y="30"/>
                  </a:lnTo>
                  <a:lnTo>
                    <a:pt x="1338" y="30"/>
                  </a:lnTo>
                  <a:lnTo>
                    <a:pt x="1344" y="30"/>
                  </a:lnTo>
                  <a:lnTo>
                    <a:pt x="1374" y="30"/>
                  </a:lnTo>
                  <a:lnTo>
                    <a:pt x="1386" y="30"/>
                  </a:lnTo>
                  <a:lnTo>
                    <a:pt x="1392" y="24"/>
                  </a:lnTo>
                  <a:lnTo>
                    <a:pt x="1398" y="12"/>
                  </a:lnTo>
                  <a:lnTo>
                    <a:pt x="1404" y="6"/>
                  </a:lnTo>
                  <a:lnTo>
                    <a:pt x="1410" y="6"/>
                  </a:lnTo>
                  <a:lnTo>
                    <a:pt x="1410" y="12"/>
                  </a:lnTo>
                  <a:lnTo>
                    <a:pt x="1416" y="18"/>
                  </a:lnTo>
                  <a:lnTo>
                    <a:pt x="1416" y="36"/>
                  </a:lnTo>
                  <a:lnTo>
                    <a:pt x="1434" y="54"/>
                  </a:lnTo>
                  <a:lnTo>
                    <a:pt x="1434" y="60"/>
                  </a:lnTo>
                  <a:lnTo>
                    <a:pt x="1434" y="66"/>
                  </a:lnTo>
                  <a:lnTo>
                    <a:pt x="1434" y="72"/>
                  </a:lnTo>
                  <a:lnTo>
                    <a:pt x="1428" y="72"/>
                  </a:lnTo>
                  <a:lnTo>
                    <a:pt x="1428" y="78"/>
                  </a:lnTo>
                  <a:lnTo>
                    <a:pt x="1434" y="78"/>
                  </a:lnTo>
                  <a:lnTo>
                    <a:pt x="1440" y="84"/>
                  </a:lnTo>
                  <a:lnTo>
                    <a:pt x="1440" y="90"/>
                  </a:lnTo>
                  <a:lnTo>
                    <a:pt x="1440" y="96"/>
                  </a:lnTo>
                  <a:lnTo>
                    <a:pt x="1446" y="96"/>
                  </a:lnTo>
                  <a:lnTo>
                    <a:pt x="1446" y="108"/>
                  </a:lnTo>
                  <a:lnTo>
                    <a:pt x="1452" y="108"/>
                  </a:lnTo>
                  <a:lnTo>
                    <a:pt x="1452" y="114"/>
                  </a:lnTo>
                  <a:lnTo>
                    <a:pt x="1458" y="114"/>
                  </a:lnTo>
                  <a:lnTo>
                    <a:pt x="1470" y="120"/>
                  </a:lnTo>
                  <a:lnTo>
                    <a:pt x="1476" y="120"/>
                  </a:lnTo>
                  <a:lnTo>
                    <a:pt x="1476" y="114"/>
                  </a:lnTo>
                  <a:lnTo>
                    <a:pt x="1488" y="120"/>
                  </a:lnTo>
                  <a:lnTo>
                    <a:pt x="1506" y="120"/>
                  </a:lnTo>
                  <a:lnTo>
                    <a:pt x="1512" y="120"/>
                  </a:lnTo>
                  <a:lnTo>
                    <a:pt x="1518" y="120"/>
                  </a:lnTo>
                  <a:lnTo>
                    <a:pt x="1524" y="126"/>
                  </a:lnTo>
                  <a:lnTo>
                    <a:pt x="1536" y="150"/>
                  </a:lnTo>
                  <a:lnTo>
                    <a:pt x="1548" y="162"/>
                  </a:lnTo>
                  <a:lnTo>
                    <a:pt x="1554" y="168"/>
                  </a:lnTo>
                  <a:lnTo>
                    <a:pt x="1584" y="228"/>
                  </a:lnTo>
                  <a:lnTo>
                    <a:pt x="1584" y="234"/>
                  </a:lnTo>
                  <a:lnTo>
                    <a:pt x="1578" y="312"/>
                  </a:lnTo>
                  <a:lnTo>
                    <a:pt x="1590" y="318"/>
                  </a:lnTo>
                  <a:lnTo>
                    <a:pt x="1608" y="330"/>
                  </a:lnTo>
                  <a:lnTo>
                    <a:pt x="1620" y="342"/>
                  </a:lnTo>
                  <a:lnTo>
                    <a:pt x="1626" y="342"/>
                  </a:lnTo>
                  <a:lnTo>
                    <a:pt x="1692" y="360"/>
                  </a:lnTo>
                  <a:lnTo>
                    <a:pt x="1710" y="408"/>
                  </a:lnTo>
                  <a:lnTo>
                    <a:pt x="1722" y="426"/>
                  </a:lnTo>
                  <a:lnTo>
                    <a:pt x="1716" y="468"/>
                  </a:lnTo>
                  <a:lnTo>
                    <a:pt x="1686" y="486"/>
                  </a:lnTo>
                  <a:lnTo>
                    <a:pt x="1686" y="492"/>
                  </a:lnTo>
                  <a:lnTo>
                    <a:pt x="1680" y="498"/>
                  </a:lnTo>
                  <a:lnTo>
                    <a:pt x="1650" y="558"/>
                  </a:lnTo>
                  <a:lnTo>
                    <a:pt x="1650" y="570"/>
                  </a:lnTo>
                  <a:lnTo>
                    <a:pt x="1644" y="570"/>
                  </a:lnTo>
                  <a:lnTo>
                    <a:pt x="1638" y="582"/>
                  </a:lnTo>
                  <a:lnTo>
                    <a:pt x="1638" y="624"/>
                  </a:lnTo>
                  <a:lnTo>
                    <a:pt x="1638" y="636"/>
                  </a:lnTo>
                  <a:lnTo>
                    <a:pt x="1638" y="642"/>
                  </a:lnTo>
                  <a:lnTo>
                    <a:pt x="1632" y="660"/>
                  </a:lnTo>
                  <a:lnTo>
                    <a:pt x="1608" y="678"/>
                  </a:lnTo>
                  <a:lnTo>
                    <a:pt x="1584" y="690"/>
                  </a:lnTo>
                  <a:lnTo>
                    <a:pt x="1584" y="696"/>
                  </a:lnTo>
                  <a:lnTo>
                    <a:pt x="1578" y="702"/>
                  </a:lnTo>
                  <a:lnTo>
                    <a:pt x="1584" y="702"/>
                  </a:lnTo>
                  <a:lnTo>
                    <a:pt x="1578" y="714"/>
                  </a:lnTo>
                  <a:lnTo>
                    <a:pt x="1572" y="714"/>
                  </a:lnTo>
                  <a:lnTo>
                    <a:pt x="1572" y="720"/>
                  </a:lnTo>
                  <a:lnTo>
                    <a:pt x="1566" y="720"/>
                  </a:lnTo>
                  <a:lnTo>
                    <a:pt x="1560" y="726"/>
                  </a:lnTo>
                  <a:lnTo>
                    <a:pt x="1560" y="732"/>
                  </a:lnTo>
                  <a:lnTo>
                    <a:pt x="1554" y="732"/>
                  </a:lnTo>
                  <a:lnTo>
                    <a:pt x="1554" y="738"/>
                  </a:lnTo>
                  <a:lnTo>
                    <a:pt x="1554" y="744"/>
                  </a:lnTo>
                  <a:lnTo>
                    <a:pt x="1548" y="744"/>
                  </a:lnTo>
                  <a:lnTo>
                    <a:pt x="1548" y="738"/>
                  </a:lnTo>
                  <a:lnTo>
                    <a:pt x="1542" y="738"/>
                  </a:lnTo>
                  <a:lnTo>
                    <a:pt x="1542" y="744"/>
                  </a:lnTo>
                  <a:lnTo>
                    <a:pt x="1542" y="750"/>
                  </a:lnTo>
                  <a:lnTo>
                    <a:pt x="1494" y="804"/>
                  </a:lnTo>
                  <a:lnTo>
                    <a:pt x="1446" y="876"/>
                  </a:lnTo>
                  <a:lnTo>
                    <a:pt x="1440" y="876"/>
                  </a:lnTo>
                  <a:lnTo>
                    <a:pt x="1434" y="876"/>
                  </a:lnTo>
                  <a:lnTo>
                    <a:pt x="1428" y="882"/>
                  </a:lnTo>
                  <a:lnTo>
                    <a:pt x="1422" y="882"/>
                  </a:lnTo>
                  <a:lnTo>
                    <a:pt x="1386" y="924"/>
                  </a:lnTo>
                  <a:lnTo>
                    <a:pt x="1362" y="954"/>
                  </a:lnTo>
                  <a:lnTo>
                    <a:pt x="1356" y="984"/>
                  </a:lnTo>
                  <a:lnTo>
                    <a:pt x="1362" y="1002"/>
                  </a:lnTo>
                  <a:lnTo>
                    <a:pt x="1368" y="1020"/>
                  </a:lnTo>
                  <a:lnTo>
                    <a:pt x="1386" y="1056"/>
                  </a:lnTo>
                  <a:lnTo>
                    <a:pt x="1404" y="1074"/>
                  </a:lnTo>
                  <a:lnTo>
                    <a:pt x="1416" y="1080"/>
                  </a:lnTo>
                  <a:lnTo>
                    <a:pt x="1416" y="1086"/>
                  </a:lnTo>
                  <a:lnTo>
                    <a:pt x="1422" y="1098"/>
                  </a:lnTo>
                  <a:lnTo>
                    <a:pt x="1422" y="1110"/>
                  </a:lnTo>
                  <a:lnTo>
                    <a:pt x="1428" y="1116"/>
                  </a:lnTo>
                  <a:lnTo>
                    <a:pt x="1434" y="1116"/>
                  </a:lnTo>
                  <a:lnTo>
                    <a:pt x="1434" y="1122"/>
                  </a:lnTo>
                  <a:lnTo>
                    <a:pt x="1434" y="1128"/>
                  </a:lnTo>
                  <a:lnTo>
                    <a:pt x="1440" y="1134"/>
                  </a:lnTo>
                  <a:lnTo>
                    <a:pt x="1446" y="1134"/>
                  </a:lnTo>
                  <a:lnTo>
                    <a:pt x="1458" y="1134"/>
                  </a:lnTo>
                  <a:lnTo>
                    <a:pt x="1458" y="1140"/>
                  </a:lnTo>
                  <a:lnTo>
                    <a:pt x="1464" y="1134"/>
                  </a:lnTo>
                  <a:lnTo>
                    <a:pt x="1470" y="1134"/>
                  </a:lnTo>
                  <a:lnTo>
                    <a:pt x="1464" y="1128"/>
                  </a:lnTo>
                  <a:lnTo>
                    <a:pt x="1464" y="1122"/>
                  </a:lnTo>
                  <a:lnTo>
                    <a:pt x="1470" y="1116"/>
                  </a:lnTo>
                  <a:lnTo>
                    <a:pt x="1470" y="1122"/>
                  </a:lnTo>
                  <a:lnTo>
                    <a:pt x="1476" y="1122"/>
                  </a:lnTo>
                  <a:lnTo>
                    <a:pt x="1476" y="1116"/>
                  </a:lnTo>
                  <a:lnTo>
                    <a:pt x="1482" y="1110"/>
                  </a:lnTo>
                  <a:lnTo>
                    <a:pt x="1476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82" y="1086"/>
                  </a:lnTo>
                  <a:lnTo>
                    <a:pt x="1482" y="1074"/>
                  </a:lnTo>
                  <a:lnTo>
                    <a:pt x="1488" y="1068"/>
                  </a:lnTo>
                  <a:lnTo>
                    <a:pt x="1488" y="1062"/>
                  </a:lnTo>
                  <a:lnTo>
                    <a:pt x="1494" y="1062"/>
                  </a:lnTo>
                  <a:lnTo>
                    <a:pt x="1500" y="1062"/>
                  </a:lnTo>
                  <a:lnTo>
                    <a:pt x="1506" y="1062"/>
                  </a:lnTo>
                  <a:lnTo>
                    <a:pt x="1506" y="1056"/>
                  </a:lnTo>
                  <a:lnTo>
                    <a:pt x="1506" y="1062"/>
                  </a:lnTo>
                  <a:lnTo>
                    <a:pt x="1518" y="1062"/>
                  </a:lnTo>
                  <a:lnTo>
                    <a:pt x="1524" y="1062"/>
                  </a:lnTo>
                  <a:lnTo>
                    <a:pt x="1530" y="1062"/>
                  </a:lnTo>
                  <a:lnTo>
                    <a:pt x="1536" y="1068"/>
                  </a:lnTo>
                  <a:lnTo>
                    <a:pt x="1536" y="1074"/>
                  </a:lnTo>
                  <a:lnTo>
                    <a:pt x="1542" y="1086"/>
                  </a:lnTo>
                  <a:lnTo>
                    <a:pt x="1548" y="1086"/>
                  </a:lnTo>
                  <a:lnTo>
                    <a:pt x="1554" y="1086"/>
                  </a:lnTo>
                  <a:lnTo>
                    <a:pt x="1566" y="1098"/>
                  </a:lnTo>
                  <a:lnTo>
                    <a:pt x="1572" y="1104"/>
                  </a:lnTo>
                  <a:lnTo>
                    <a:pt x="1566" y="1110"/>
                  </a:lnTo>
                  <a:lnTo>
                    <a:pt x="1572" y="1116"/>
                  </a:lnTo>
                  <a:lnTo>
                    <a:pt x="1578" y="1116"/>
                  </a:lnTo>
                  <a:lnTo>
                    <a:pt x="1578" y="1122"/>
                  </a:lnTo>
                  <a:lnTo>
                    <a:pt x="1584" y="1122"/>
                  </a:lnTo>
                  <a:lnTo>
                    <a:pt x="1584" y="1128"/>
                  </a:lnTo>
                  <a:lnTo>
                    <a:pt x="1584" y="1134"/>
                  </a:lnTo>
                  <a:lnTo>
                    <a:pt x="1590" y="1134"/>
                  </a:lnTo>
                  <a:lnTo>
                    <a:pt x="1596" y="1140"/>
                  </a:lnTo>
                  <a:lnTo>
                    <a:pt x="1602" y="1146"/>
                  </a:lnTo>
                  <a:lnTo>
                    <a:pt x="1608" y="1146"/>
                  </a:lnTo>
                  <a:lnTo>
                    <a:pt x="1614" y="1146"/>
                  </a:lnTo>
                  <a:lnTo>
                    <a:pt x="1614" y="1152"/>
                  </a:lnTo>
                  <a:lnTo>
                    <a:pt x="1620" y="1152"/>
                  </a:lnTo>
                  <a:lnTo>
                    <a:pt x="1626" y="1164"/>
                  </a:lnTo>
                  <a:lnTo>
                    <a:pt x="1632" y="1170"/>
                  </a:lnTo>
                  <a:lnTo>
                    <a:pt x="1638" y="1176"/>
                  </a:lnTo>
                  <a:lnTo>
                    <a:pt x="1638" y="1182"/>
                  </a:lnTo>
                  <a:lnTo>
                    <a:pt x="1644" y="1194"/>
                  </a:lnTo>
                  <a:lnTo>
                    <a:pt x="1644" y="1200"/>
                  </a:lnTo>
                  <a:lnTo>
                    <a:pt x="1638" y="1200"/>
                  </a:lnTo>
                  <a:lnTo>
                    <a:pt x="1638" y="1206"/>
                  </a:lnTo>
                  <a:lnTo>
                    <a:pt x="1638" y="1212"/>
                  </a:lnTo>
                  <a:lnTo>
                    <a:pt x="1638" y="1218"/>
                  </a:lnTo>
                  <a:lnTo>
                    <a:pt x="1632" y="1242"/>
                  </a:lnTo>
                  <a:lnTo>
                    <a:pt x="1632" y="1266"/>
                  </a:lnTo>
                  <a:lnTo>
                    <a:pt x="1638" y="1284"/>
                  </a:lnTo>
                  <a:lnTo>
                    <a:pt x="1638" y="1296"/>
                  </a:lnTo>
                  <a:lnTo>
                    <a:pt x="1632" y="1296"/>
                  </a:lnTo>
                  <a:lnTo>
                    <a:pt x="1632" y="1302"/>
                  </a:lnTo>
                  <a:lnTo>
                    <a:pt x="1638" y="1314"/>
                  </a:lnTo>
                  <a:lnTo>
                    <a:pt x="1638" y="1320"/>
                  </a:lnTo>
                  <a:lnTo>
                    <a:pt x="1632" y="1320"/>
                  </a:lnTo>
                  <a:lnTo>
                    <a:pt x="1632" y="1326"/>
                  </a:lnTo>
                  <a:lnTo>
                    <a:pt x="1644" y="1332"/>
                  </a:lnTo>
                  <a:lnTo>
                    <a:pt x="1644" y="1338"/>
                  </a:lnTo>
                  <a:lnTo>
                    <a:pt x="1650" y="1344"/>
                  </a:lnTo>
                  <a:lnTo>
                    <a:pt x="1668" y="1362"/>
                  </a:lnTo>
                  <a:lnTo>
                    <a:pt x="1668" y="1368"/>
                  </a:lnTo>
                  <a:lnTo>
                    <a:pt x="1674" y="1392"/>
                  </a:lnTo>
                  <a:lnTo>
                    <a:pt x="1686" y="140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2" name="Freeform 17">
              <a:extLst>
                <a:ext uri="{FF2B5EF4-FFF2-40B4-BE49-F238E27FC236}">
                  <a16:creationId xmlns:a16="http://schemas.microsoft.com/office/drawing/2014/main" id="{9F9DF7AF-2203-4CCB-AF1B-32CDAF87CC5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416927"/>
              <a:ext cx="816209" cy="574781"/>
            </a:xfrm>
            <a:custGeom>
              <a:avLst/>
              <a:gdLst>
                <a:gd name="T0" fmla="*/ 115 w 1536"/>
                <a:gd name="T1" fmla="*/ 89 h 1080"/>
                <a:gd name="T2" fmla="*/ 113 w 1536"/>
                <a:gd name="T3" fmla="*/ 92 h 1080"/>
                <a:gd name="T4" fmla="*/ 107 w 1536"/>
                <a:gd name="T5" fmla="*/ 93 h 1080"/>
                <a:gd name="T6" fmla="*/ 108 w 1536"/>
                <a:gd name="T7" fmla="*/ 90 h 1080"/>
                <a:gd name="T8" fmla="*/ 105 w 1536"/>
                <a:gd name="T9" fmla="*/ 87 h 1080"/>
                <a:gd name="T10" fmla="*/ 102 w 1536"/>
                <a:gd name="T11" fmla="*/ 85 h 1080"/>
                <a:gd name="T12" fmla="*/ 89 w 1536"/>
                <a:gd name="T13" fmla="*/ 80 h 1080"/>
                <a:gd name="T14" fmla="*/ 85 w 1536"/>
                <a:gd name="T15" fmla="*/ 82 h 1080"/>
                <a:gd name="T16" fmla="*/ 82 w 1536"/>
                <a:gd name="T17" fmla="*/ 80 h 1080"/>
                <a:gd name="T18" fmla="*/ 80 w 1536"/>
                <a:gd name="T19" fmla="*/ 75 h 1080"/>
                <a:gd name="T20" fmla="*/ 75 w 1536"/>
                <a:gd name="T21" fmla="*/ 72 h 1080"/>
                <a:gd name="T22" fmla="*/ 61 w 1536"/>
                <a:gd name="T23" fmla="*/ 70 h 1080"/>
                <a:gd name="T24" fmla="*/ 62 w 1536"/>
                <a:gd name="T25" fmla="*/ 72 h 1080"/>
                <a:gd name="T26" fmla="*/ 58 w 1536"/>
                <a:gd name="T27" fmla="*/ 75 h 1080"/>
                <a:gd name="T28" fmla="*/ 49 w 1536"/>
                <a:gd name="T29" fmla="*/ 76 h 1080"/>
                <a:gd name="T30" fmla="*/ 41 w 1536"/>
                <a:gd name="T31" fmla="*/ 79 h 1080"/>
                <a:gd name="T32" fmla="*/ 41 w 1536"/>
                <a:gd name="T33" fmla="*/ 77 h 1080"/>
                <a:gd name="T34" fmla="*/ 39 w 1536"/>
                <a:gd name="T35" fmla="*/ 74 h 1080"/>
                <a:gd name="T36" fmla="*/ 28 w 1536"/>
                <a:gd name="T37" fmla="*/ 78 h 1080"/>
                <a:gd name="T38" fmla="*/ 18 w 1536"/>
                <a:gd name="T39" fmla="*/ 85 h 1080"/>
                <a:gd name="T40" fmla="*/ 18 w 1536"/>
                <a:gd name="T41" fmla="*/ 77 h 1080"/>
                <a:gd name="T42" fmla="*/ 19 w 1536"/>
                <a:gd name="T43" fmla="*/ 69 h 1080"/>
                <a:gd name="T44" fmla="*/ 16 w 1536"/>
                <a:gd name="T45" fmla="*/ 69 h 1080"/>
                <a:gd name="T46" fmla="*/ 11 w 1536"/>
                <a:gd name="T47" fmla="*/ 69 h 1080"/>
                <a:gd name="T48" fmla="*/ 5 w 1536"/>
                <a:gd name="T49" fmla="*/ 68 h 1080"/>
                <a:gd name="T50" fmla="*/ 1 w 1536"/>
                <a:gd name="T51" fmla="*/ 63 h 1080"/>
                <a:gd name="T52" fmla="*/ 3 w 1536"/>
                <a:gd name="T53" fmla="*/ 59 h 1080"/>
                <a:gd name="T54" fmla="*/ 9 w 1536"/>
                <a:gd name="T55" fmla="*/ 54 h 1080"/>
                <a:gd name="T56" fmla="*/ 15 w 1536"/>
                <a:gd name="T57" fmla="*/ 47 h 1080"/>
                <a:gd name="T58" fmla="*/ 17 w 1536"/>
                <a:gd name="T59" fmla="*/ 40 h 1080"/>
                <a:gd name="T60" fmla="*/ 12 w 1536"/>
                <a:gd name="T61" fmla="*/ 33 h 1080"/>
                <a:gd name="T62" fmla="*/ 10 w 1536"/>
                <a:gd name="T63" fmla="*/ 21 h 1080"/>
                <a:gd name="T64" fmla="*/ 6 w 1536"/>
                <a:gd name="T65" fmla="*/ 14 h 1080"/>
                <a:gd name="T66" fmla="*/ 7 w 1536"/>
                <a:gd name="T67" fmla="*/ 9 h 1080"/>
                <a:gd name="T68" fmla="*/ 12 w 1536"/>
                <a:gd name="T69" fmla="*/ 7 h 1080"/>
                <a:gd name="T70" fmla="*/ 16 w 1536"/>
                <a:gd name="T71" fmla="*/ 8 h 1080"/>
                <a:gd name="T72" fmla="*/ 19 w 1536"/>
                <a:gd name="T73" fmla="*/ 8 h 1080"/>
                <a:gd name="T74" fmla="*/ 22 w 1536"/>
                <a:gd name="T75" fmla="*/ 9 h 1080"/>
                <a:gd name="T76" fmla="*/ 29 w 1536"/>
                <a:gd name="T77" fmla="*/ 12 h 1080"/>
                <a:gd name="T78" fmla="*/ 33 w 1536"/>
                <a:gd name="T79" fmla="*/ 13 h 1080"/>
                <a:gd name="T80" fmla="*/ 38 w 1536"/>
                <a:gd name="T81" fmla="*/ 15 h 1080"/>
                <a:gd name="T82" fmla="*/ 42 w 1536"/>
                <a:gd name="T83" fmla="*/ 17 h 1080"/>
                <a:gd name="T84" fmla="*/ 47 w 1536"/>
                <a:gd name="T85" fmla="*/ 19 h 1080"/>
                <a:gd name="T86" fmla="*/ 51 w 1536"/>
                <a:gd name="T87" fmla="*/ 21 h 1080"/>
                <a:gd name="T88" fmla="*/ 50 w 1536"/>
                <a:gd name="T89" fmla="*/ 15 h 1080"/>
                <a:gd name="T90" fmla="*/ 56 w 1536"/>
                <a:gd name="T91" fmla="*/ 0 h 1080"/>
                <a:gd name="T92" fmla="*/ 74 w 1536"/>
                <a:gd name="T93" fmla="*/ 5 h 1080"/>
                <a:gd name="T94" fmla="*/ 87 w 1536"/>
                <a:gd name="T95" fmla="*/ 6 h 1080"/>
                <a:gd name="T96" fmla="*/ 92 w 1536"/>
                <a:gd name="T97" fmla="*/ 11 h 1080"/>
                <a:gd name="T98" fmla="*/ 95 w 1536"/>
                <a:gd name="T99" fmla="*/ 15 h 1080"/>
                <a:gd name="T100" fmla="*/ 93 w 1536"/>
                <a:gd name="T101" fmla="*/ 20 h 1080"/>
                <a:gd name="T102" fmla="*/ 108 w 1536"/>
                <a:gd name="T103" fmla="*/ 18 h 1080"/>
                <a:gd name="T104" fmla="*/ 120 w 1536"/>
                <a:gd name="T105" fmla="*/ 21 h 1080"/>
                <a:gd name="T106" fmla="*/ 127 w 1536"/>
                <a:gd name="T107" fmla="*/ 29 h 1080"/>
                <a:gd name="T108" fmla="*/ 130 w 1536"/>
                <a:gd name="T109" fmla="*/ 30 h 1080"/>
                <a:gd name="T110" fmla="*/ 130 w 1536"/>
                <a:gd name="T111" fmla="*/ 49 h 1080"/>
                <a:gd name="T112" fmla="*/ 120 w 1536"/>
                <a:gd name="T113" fmla="*/ 69 h 1080"/>
                <a:gd name="T114" fmla="*/ 119 w 1536"/>
                <a:gd name="T115" fmla="*/ 74 h 1080"/>
                <a:gd name="T116" fmla="*/ 118 w 1536"/>
                <a:gd name="T117" fmla="*/ 80 h 108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536"/>
                <a:gd name="T178" fmla="*/ 0 h 1080"/>
                <a:gd name="T179" fmla="*/ 1536 w 1536"/>
                <a:gd name="T180" fmla="*/ 1080 h 108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536" h="1080">
                  <a:moveTo>
                    <a:pt x="1350" y="1020"/>
                  </a:moveTo>
                  <a:lnTo>
                    <a:pt x="1350" y="1026"/>
                  </a:lnTo>
                  <a:lnTo>
                    <a:pt x="1344" y="1026"/>
                  </a:lnTo>
                  <a:lnTo>
                    <a:pt x="1338" y="1032"/>
                  </a:lnTo>
                  <a:lnTo>
                    <a:pt x="1332" y="1026"/>
                  </a:lnTo>
                  <a:lnTo>
                    <a:pt x="1326" y="1026"/>
                  </a:lnTo>
                  <a:lnTo>
                    <a:pt x="1320" y="1020"/>
                  </a:lnTo>
                  <a:lnTo>
                    <a:pt x="1314" y="1026"/>
                  </a:lnTo>
                  <a:lnTo>
                    <a:pt x="1314" y="1032"/>
                  </a:lnTo>
                  <a:lnTo>
                    <a:pt x="1308" y="1038"/>
                  </a:lnTo>
                  <a:lnTo>
                    <a:pt x="1308" y="1044"/>
                  </a:lnTo>
                  <a:lnTo>
                    <a:pt x="1308" y="1050"/>
                  </a:lnTo>
                  <a:lnTo>
                    <a:pt x="1308" y="1056"/>
                  </a:lnTo>
                  <a:lnTo>
                    <a:pt x="1308" y="1062"/>
                  </a:lnTo>
                  <a:lnTo>
                    <a:pt x="1296" y="1068"/>
                  </a:lnTo>
                  <a:lnTo>
                    <a:pt x="1284" y="1074"/>
                  </a:lnTo>
                  <a:lnTo>
                    <a:pt x="1272" y="1080"/>
                  </a:lnTo>
                  <a:lnTo>
                    <a:pt x="1260" y="1080"/>
                  </a:lnTo>
                  <a:lnTo>
                    <a:pt x="1254" y="1074"/>
                  </a:lnTo>
                  <a:lnTo>
                    <a:pt x="1236" y="1074"/>
                  </a:lnTo>
                  <a:lnTo>
                    <a:pt x="1230" y="1074"/>
                  </a:lnTo>
                  <a:lnTo>
                    <a:pt x="1236" y="1074"/>
                  </a:lnTo>
                  <a:lnTo>
                    <a:pt x="1236" y="1068"/>
                  </a:lnTo>
                  <a:lnTo>
                    <a:pt x="1236" y="1062"/>
                  </a:lnTo>
                  <a:lnTo>
                    <a:pt x="1236" y="1056"/>
                  </a:lnTo>
                  <a:lnTo>
                    <a:pt x="1242" y="1050"/>
                  </a:lnTo>
                  <a:lnTo>
                    <a:pt x="1242" y="1044"/>
                  </a:lnTo>
                  <a:lnTo>
                    <a:pt x="1242" y="1038"/>
                  </a:lnTo>
                  <a:lnTo>
                    <a:pt x="1248" y="1032"/>
                  </a:lnTo>
                  <a:lnTo>
                    <a:pt x="1236" y="1026"/>
                  </a:lnTo>
                  <a:lnTo>
                    <a:pt x="1218" y="1020"/>
                  </a:lnTo>
                  <a:lnTo>
                    <a:pt x="1224" y="1014"/>
                  </a:lnTo>
                  <a:lnTo>
                    <a:pt x="1218" y="1008"/>
                  </a:lnTo>
                  <a:lnTo>
                    <a:pt x="1218" y="1002"/>
                  </a:lnTo>
                  <a:lnTo>
                    <a:pt x="1212" y="1008"/>
                  </a:lnTo>
                  <a:lnTo>
                    <a:pt x="1206" y="1002"/>
                  </a:lnTo>
                  <a:lnTo>
                    <a:pt x="1212" y="1002"/>
                  </a:lnTo>
                  <a:lnTo>
                    <a:pt x="1212" y="996"/>
                  </a:lnTo>
                  <a:lnTo>
                    <a:pt x="1200" y="990"/>
                  </a:lnTo>
                  <a:lnTo>
                    <a:pt x="1200" y="984"/>
                  </a:lnTo>
                  <a:lnTo>
                    <a:pt x="1188" y="984"/>
                  </a:lnTo>
                  <a:lnTo>
                    <a:pt x="1176" y="978"/>
                  </a:lnTo>
                  <a:lnTo>
                    <a:pt x="1164" y="960"/>
                  </a:lnTo>
                  <a:lnTo>
                    <a:pt x="1152" y="936"/>
                  </a:lnTo>
                  <a:lnTo>
                    <a:pt x="1146" y="936"/>
                  </a:lnTo>
                  <a:lnTo>
                    <a:pt x="1128" y="900"/>
                  </a:lnTo>
                  <a:lnTo>
                    <a:pt x="1038" y="912"/>
                  </a:lnTo>
                  <a:lnTo>
                    <a:pt x="1038" y="918"/>
                  </a:lnTo>
                  <a:lnTo>
                    <a:pt x="1032" y="924"/>
                  </a:lnTo>
                  <a:lnTo>
                    <a:pt x="1026" y="918"/>
                  </a:lnTo>
                  <a:lnTo>
                    <a:pt x="1020" y="924"/>
                  </a:lnTo>
                  <a:lnTo>
                    <a:pt x="1008" y="936"/>
                  </a:lnTo>
                  <a:lnTo>
                    <a:pt x="990" y="936"/>
                  </a:lnTo>
                  <a:lnTo>
                    <a:pt x="990" y="942"/>
                  </a:lnTo>
                  <a:lnTo>
                    <a:pt x="996" y="942"/>
                  </a:lnTo>
                  <a:lnTo>
                    <a:pt x="984" y="948"/>
                  </a:lnTo>
                  <a:lnTo>
                    <a:pt x="972" y="948"/>
                  </a:lnTo>
                  <a:lnTo>
                    <a:pt x="960" y="948"/>
                  </a:lnTo>
                  <a:lnTo>
                    <a:pt x="948" y="942"/>
                  </a:lnTo>
                  <a:lnTo>
                    <a:pt x="948" y="936"/>
                  </a:lnTo>
                  <a:lnTo>
                    <a:pt x="942" y="936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30" y="924"/>
                  </a:lnTo>
                  <a:lnTo>
                    <a:pt x="936" y="918"/>
                  </a:lnTo>
                  <a:lnTo>
                    <a:pt x="918" y="918"/>
                  </a:lnTo>
                  <a:lnTo>
                    <a:pt x="918" y="900"/>
                  </a:lnTo>
                  <a:lnTo>
                    <a:pt x="924" y="900"/>
                  </a:lnTo>
                  <a:lnTo>
                    <a:pt x="924" y="894"/>
                  </a:lnTo>
                  <a:lnTo>
                    <a:pt x="924" y="870"/>
                  </a:lnTo>
                  <a:lnTo>
                    <a:pt x="924" y="864"/>
                  </a:lnTo>
                  <a:lnTo>
                    <a:pt x="918" y="858"/>
                  </a:lnTo>
                  <a:lnTo>
                    <a:pt x="918" y="852"/>
                  </a:lnTo>
                  <a:lnTo>
                    <a:pt x="906" y="840"/>
                  </a:lnTo>
                  <a:lnTo>
                    <a:pt x="894" y="834"/>
                  </a:lnTo>
                  <a:lnTo>
                    <a:pt x="876" y="822"/>
                  </a:lnTo>
                  <a:lnTo>
                    <a:pt x="870" y="828"/>
                  </a:lnTo>
                  <a:lnTo>
                    <a:pt x="858" y="816"/>
                  </a:lnTo>
                  <a:lnTo>
                    <a:pt x="810" y="798"/>
                  </a:lnTo>
                  <a:lnTo>
                    <a:pt x="774" y="792"/>
                  </a:lnTo>
                  <a:lnTo>
                    <a:pt x="732" y="798"/>
                  </a:lnTo>
                  <a:lnTo>
                    <a:pt x="726" y="804"/>
                  </a:lnTo>
                  <a:lnTo>
                    <a:pt x="714" y="810"/>
                  </a:lnTo>
                  <a:lnTo>
                    <a:pt x="702" y="810"/>
                  </a:lnTo>
                  <a:lnTo>
                    <a:pt x="690" y="810"/>
                  </a:lnTo>
                  <a:lnTo>
                    <a:pt x="696" y="816"/>
                  </a:lnTo>
                  <a:lnTo>
                    <a:pt x="696" y="822"/>
                  </a:lnTo>
                  <a:lnTo>
                    <a:pt x="702" y="822"/>
                  </a:lnTo>
                  <a:lnTo>
                    <a:pt x="708" y="822"/>
                  </a:lnTo>
                  <a:lnTo>
                    <a:pt x="708" y="828"/>
                  </a:lnTo>
                  <a:lnTo>
                    <a:pt x="708" y="834"/>
                  </a:lnTo>
                  <a:lnTo>
                    <a:pt x="714" y="834"/>
                  </a:lnTo>
                  <a:lnTo>
                    <a:pt x="708" y="846"/>
                  </a:lnTo>
                  <a:lnTo>
                    <a:pt x="708" y="852"/>
                  </a:lnTo>
                  <a:lnTo>
                    <a:pt x="702" y="852"/>
                  </a:lnTo>
                  <a:lnTo>
                    <a:pt x="696" y="858"/>
                  </a:lnTo>
                  <a:lnTo>
                    <a:pt x="690" y="864"/>
                  </a:lnTo>
                  <a:lnTo>
                    <a:pt x="666" y="870"/>
                  </a:lnTo>
                  <a:lnTo>
                    <a:pt x="660" y="876"/>
                  </a:lnTo>
                  <a:lnTo>
                    <a:pt x="642" y="876"/>
                  </a:lnTo>
                  <a:lnTo>
                    <a:pt x="606" y="882"/>
                  </a:lnTo>
                  <a:lnTo>
                    <a:pt x="588" y="882"/>
                  </a:lnTo>
                  <a:lnTo>
                    <a:pt x="582" y="876"/>
                  </a:lnTo>
                  <a:lnTo>
                    <a:pt x="576" y="876"/>
                  </a:lnTo>
                  <a:lnTo>
                    <a:pt x="564" y="876"/>
                  </a:lnTo>
                  <a:lnTo>
                    <a:pt x="552" y="882"/>
                  </a:lnTo>
                  <a:lnTo>
                    <a:pt x="540" y="894"/>
                  </a:lnTo>
                  <a:lnTo>
                    <a:pt x="534" y="906"/>
                  </a:lnTo>
                  <a:lnTo>
                    <a:pt x="528" y="912"/>
                  </a:lnTo>
                  <a:lnTo>
                    <a:pt x="516" y="924"/>
                  </a:lnTo>
                  <a:lnTo>
                    <a:pt x="486" y="930"/>
                  </a:lnTo>
                  <a:lnTo>
                    <a:pt x="474" y="912"/>
                  </a:lnTo>
                  <a:lnTo>
                    <a:pt x="474" y="906"/>
                  </a:lnTo>
                  <a:lnTo>
                    <a:pt x="468" y="906"/>
                  </a:lnTo>
                  <a:lnTo>
                    <a:pt x="468" y="900"/>
                  </a:lnTo>
                  <a:lnTo>
                    <a:pt x="462" y="894"/>
                  </a:lnTo>
                  <a:lnTo>
                    <a:pt x="456" y="894"/>
                  </a:lnTo>
                  <a:lnTo>
                    <a:pt x="462" y="888"/>
                  </a:lnTo>
                  <a:lnTo>
                    <a:pt x="468" y="888"/>
                  </a:lnTo>
                  <a:lnTo>
                    <a:pt x="462" y="882"/>
                  </a:lnTo>
                  <a:lnTo>
                    <a:pt x="462" y="876"/>
                  </a:lnTo>
                  <a:lnTo>
                    <a:pt x="456" y="870"/>
                  </a:lnTo>
                  <a:lnTo>
                    <a:pt x="456" y="864"/>
                  </a:lnTo>
                  <a:lnTo>
                    <a:pt x="450" y="858"/>
                  </a:lnTo>
                  <a:lnTo>
                    <a:pt x="444" y="858"/>
                  </a:lnTo>
                  <a:lnTo>
                    <a:pt x="444" y="852"/>
                  </a:lnTo>
                  <a:lnTo>
                    <a:pt x="438" y="852"/>
                  </a:lnTo>
                  <a:lnTo>
                    <a:pt x="438" y="858"/>
                  </a:lnTo>
                  <a:lnTo>
                    <a:pt x="402" y="870"/>
                  </a:lnTo>
                  <a:lnTo>
                    <a:pt x="390" y="882"/>
                  </a:lnTo>
                  <a:lnTo>
                    <a:pt x="384" y="900"/>
                  </a:lnTo>
                  <a:lnTo>
                    <a:pt x="342" y="900"/>
                  </a:lnTo>
                  <a:lnTo>
                    <a:pt x="324" y="900"/>
                  </a:lnTo>
                  <a:lnTo>
                    <a:pt x="294" y="906"/>
                  </a:lnTo>
                  <a:lnTo>
                    <a:pt x="282" y="948"/>
                  </a:lnTo>
                  <a:lnTo>
                    <a:pt x="282" y="978"/>
                  </a:lnTo>
                  <a:lnTo>
                    <a:pt x="270" y="1008"/>
                  </a:lnTo>
                  <a:lnTo>
                    <a:pt x="240" y="1014"/>
                  </a:lnTo>
                  <a:lnTo>
                    <a:pt x="216" y="996"/>
                  </a:lnTo>
                  <a:lnTo>
                    <a:pt x="204" y="984"/>
                  </a:lnTo>
                  <a:lnTo>
                    <a:pt x="192" y="966"/>
                  </a:lnTo>
                  <a:lnTo>
                    <a:pt x="186" y="948"/>
                  </a:lnTo>
                  <a:lnTo>
                    <a:pt x="174" y="948"/>
                  </a:lnTo>
                  <a:lnTo>
                    <a:pt x="174" y="936"/>
                  </a:lnTo>
                  <a:lnTo>
                    <a:pt x="186" y="924"/>
                  </a:lnTo>
                  <a:lnTo>
                    <a:pt x="198" y="906"/>
                  </a:lnTo>
                  <a:lnTo>
                    <a:pt x="204" y="888"/>
                  </a:lnTo>
                  <a:lnTo>
                    <a:pt x="222" y="870"/>
                  </a:lnTo>
                  <a:lnTo>
                    <a:pt x="234" y="858"/>
                  </a:lnTo>
                  <a:lnTo>
                    <a:pt x="234" y="852"/>
                  </a:lnTo>
                  <a:lnTo>
                    <a:pt x="222" y="852"/>
                  </a:lnTo>
                  <a:lnTo>
                    <a:pt x="228" y="810"/>
                  </a:lnTo>
                  <a:lnTo>
                    <a:pt x="222" y="798"/>
                  </a:lnTo>
                  <a:lnTo>
                    <a:pt x="216" y="798"/>
                  </a:lnTo>
                  <a:lnTo>
                    <a:pt x="216" y="792"/>
                  </a:lnTo>
                  <a:lnTo>
                    <a:pt x="210" y="792"/>
                  </a:lnTo>
                  <a:lnTo>
                    <a:pt x="204" y="798"/>
                  </a:lnTo>
                  <a:lnTo>
                    <a:pt x="204" y="792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0" y="786"/>
                  </a:lnTo>
                  <a:lnTo>
                    <a:pt x="174" y="792"/>
                  </a:lnTo>
                  <a:lnTo>
                    <a:pt x="162" y="792"/>
                  </a:lnTo>
                  <a:lnTo>
                    <a:pt x="156" y="792"/>
                  </a:lnTo>
                  <a:lnTo>
                    <a:pt x="156" y="798"/>
                  </a:lnTo>
                  <a:lnTo>
                    <a:pt x="138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6" y="804"/>
                  </a:lnTo>
                  <a:lnTo>
                    <a:pt x="102" y="810"/>
                  </a:lnTo>
                  <a:lnTo>
                    <a:pt x="90" y="810"/>
                  </a:lnTo>
                  <a:lnTo>
                    <a:pt x="72" y="798"/>
                  </a:lnTo>
                  <a:lnTo>
                    <a:pt x="66" y="780"/>
                  </a:lnTo>
                  <a:lnTo>
                    <a:pt x="60" y="780"/>
                  </a:lnTo>
                  <a:lnTo>
                    <a:pt x="60" y="768"/>
                  </a:lnTo>
                  <a:lnTo>
                    <a:pt x="54" y="768"/>
                  </a:lnTo>
                  <a:lnTo>
                    <a:pt x="24" y="756"/>
                  </a:lnTo>
                  <a:lnTo>
                    <a:pt x="18" y="744"/>
                  </a:lnTo>
                  <a:lnTo>
                    <a:pt x="12" y="738"/>
                  </a:lnTo>
                  <a:lnTo>
                    <a:pt x="18" y="732"/>
                  </a:lnTo>
                  <a:lnTo>
                    <a:pt x="12" y="726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8" y="696"/>
                  </a:lnTo>
                  <a:lnTo>
                    <a:pt x="24" y="708"/>
                  </a:lnTo>
                  <a:lnTo>
                    <a:pt x="36" y="702"/>
                  </a:lnTo>
                  <a:lnTo>
                    <a:pt x="36" y="678"/>
                  </a:lnTo>
                  <a:lnTo>
                    <a:pt x="36" y="660"/>
                  </a:lnTo>
                  <a:lnTo>
                    <a:pt x="42" y="654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72" y="624"/>
                  </a:lnTo>
                  <a:lnTo>
                    <a:pt x="90" y="618"/>
                  </a:lnTo>
                  <a:lnTo>
                    <a:pt x="102" y="618"/>
                  </a:lnTo>
                  <a:lnTo>
                    <a:pt x="114" y="612"/>
                  </a:lnTo>
                  <a:lnTo>
                    <a:pt x="138" y="606"/>
                  </a:lnTo>
                  <a:lnTo>
                    <a:pt x="144" y="606"/>
                  </a:lnTo>
                  <a:lnTo>
                    <a:pt x="150" y="594"/>
                  </a:lnTo>
                  <a:lnTo>
                    <a:pt x="156" y="576"/>
                  </a:lnTo>
                  <a:lnTo>
                    <a:pt x="168" y="552"/>
                  </a:lnTo>
                  <a:lnTo>
                    <a:pt x="168" y="540"/>
                  </a:lnTo>
                  <a:lnTo>
                    <a:pt x="180" y="522"/>
                  </a:lnTo>
                  <a:lnTo>
                    <a:pt x="186" y="498"/>
                  </a:lnTo>
                  <a:lnTo>
                    <a:pt x="198" y="480"/>
                  </a:lnTo>
                  <a:lnTo>
                    <a:pt x="204" y="486"/>
                  </a:lnTo>
                  <a:lnTo>
                    <a:pt x="210" y="480"/>
                  </a:lnTo>
                  <a:lnTo>
                    <a:pt x="204" y="474"/>
                  </a:lnTo>
                  <a:lnTo>
                    <a:pt x="198" y="462"/>
                  </a:lnTo>
                  <a:lnTo>
                    <a:pt x="192" y="456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50"/>
                  </a:lnTo>
                  <a:lnTo>
                    <a:pt x="132" y="426"/>
                  </a:lnTo>
                  <a:lnTo>
                    <a:pt x="132" y="396"/>
                  </a:lnTo>
                  <a:lnTo>
                    <a:pt x="132" y="378"/>
                  </a:lnTo>
                  <a:lnTo>
                    <a:pt x="126" y="348"/>
                  </a:lnTo>
                  <a:lnTo>
                    <a:pt x="132" y="312"/>
                  </a:lnTo>
                  <a:lnTo>
                    <a:pt x="126" y="288"/>
                  </a:lnTo>
                  <a:lnTo>
                    <a:pt x="138" y="282"/>
                  </a:lnTo>
                  <a:lnTo>
                    <a:pt x="126" y="264"/>
                  </a:lnTo>
                  <a:lnTo>
                    <a:pt x="126" y="258"/>
                  </a:lnTo>
                  <a:lnTo>
                    <a:pt x="120" y="246"/>
                  </a:lnTo>
                  <a:lnTo>
                    <a:pt x="126" y="234"/>
                  </a:lnTo>
                  <a:lnTo>
                    <a:pt x="114" y="228"/>
                  </a:lnTo>
                  <a:lnTo>
                    <a:pt x="114" y="222"/>
                  </a:lnTo>
                  <a:lnTo>
                    <a:pt x="96" y="204"/>
                  </a:lnTo>
                  <a:lnTo>
                    <a:pt x="84" y="180"/>
                  </a:lnTo>
                  <a:lnTo>
                    <a:pt x="78" y="168"/>
                  </a:lnTo>
                  <a:lnTo>
                    <a:pt x="72" y="162"/>
                  </a:lnTo>
                  <a:lnTo>
                    <a:pt x="66" y="144"/>
                  </a:lnTo>
                  <a:lnTo>
                    <a:pt x="60" y="138"/>
                  </a:lnTo>
                  <a:lnTo>
                    <a:pt x="66" y="126"/>
                  </a:lnTo>
                  <a:lnTo>
                    <a:pt x="66" y="114"/>
                  </a:lnTo>
                  <a:lnTo>
                    <a:pt x="72" y="114"/>
                  </a:lnTo>
                  <a:lnTo>
                    <a:pt x="72" y="108"/>
                  </a:lnTo>
                  <a:lnTo>
                    <a:pt x="78" y="102"/>
                  </a:lnTo>
                  <a:lnTo>
                    <a:pt x="78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120" y="78"/>
                  </a:lnTo>
                  <a:lnTo>
                    <a:pt x="144" y="84"/>
                  </a:lnTo>
                  <a:lnTo>
                    <a:pt x="150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74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92" y="102"/>
                  </a:lnTo>
                  <a:lnTo>
                    <a:pt x="198" y="96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16" y="96"/>
                  </a:lnTo>
                  <a:lnTo>
                    <a:pt x="222" y="96"/>
                  </a:lnTo>
                  <a:lnTo>
                    <a:pt x="228" y="96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94" y="114"/>
                  </a:lnTo>
                  <a:lnTo>
                    <a:pt x="312" y="120"/>
                  </a:lnTo>
                  <a:lnTo>
                    <a:pt x="318" y="126"/>
                  </a:lnTo>
                  <a:lnTo>
                    <a:pt x="330" y="132"/>
                  </a:lnTo>
                  <a:lnTo>
                    <a:pt x="342" y="132"/>
                  </a:lnTo>
                  <a:lnTo>
                    <a:pt x="348" y="132"/>
                  </a:lnTo>
                  <a:lnTo>
                    <a:pt x="354" y="138"/>
                  </a:lnTo>
                  <a:lnTo>
                    <a:pt x="366" y="138"/>
                  </a:lnTo>
                  <a:lnTo>
                    <a:pt x="372" y="144"/>
                  </a:lnTo>
                  <a:lnTo>
                    <a:pt x="378" y="150"/>
                  </a:lnTo>
                  <a:lnTo>
                    <a:pt x="384" y="150"/>
                  </a:lnTo>
                  <a:lnTo>
                    <a:pt x="390" y="150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14" y="156"/>
                  </a:lnTo>
                  <a:lnTo>
                    <a:pt x="420" y="156"/>
                  </a:lnTo>
                  <a:lnTo>
                    <a:pt x="426" y="162"/>
                  </a:lnTo>
                  <a:lnTo>
                    <a:pt x="438" y="168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62" y="174"/>
                  </a:lnTo>
                  <a:lnTo>
                    <a:pt x="468" y="174"/>
                  </a:lnTo>
                  <a:lnTo>
                    <a:pt x="474" y="174"/>
                  </a:lnTo>
                  <a:lnTo>
                    <a:pt x="474" y="180"/>
                  </a:lnTo>
                  <a:lnTo>
                    <a:pt x="480" y="192"/>
                  </a:lnTo>
                  <a:lnTo>
                    <a:pt x="498" y="198"/>
                  </a:lnTo>
                  <a:lnTo>
                    <a:pt x="510" y="210"/>
                  </a:lnTo>
                  <a:lnTo>
                    <a:pt x="516" y="210"/>
                  </a:lnTo>
                  <a:lnTo>
                    <a:pt x="522" y="210"/>
                  </a:lnTo>
                  <a:lnTo>
                    <a:pt x="534" y="216"/>
                  </a:lnTo>
                  <a:lnTo>
                    <a:pt x="540" y="216"/>
                  </a:lnTo>
                  <a:lnTo>
                    <a:pt x="546" y="222"/>
                  </a:lnTo>
                  <a:lnTo>
                    <a:pt x="552" y="222"/>
                  </a:lnTo>
                  <a:lnTo>
                    <a:pt x="558" y="228"/>
                  </a:lnTo>
                  <a:lnTo>
                    <a:pt x="564" y="228"/>
                  </a:lnTo>
                  <a:lnTo>
                    <a:pt x="570" y="234"/>
                  </a:lnTo>
                  <a:lnTo>
                    <a:pt x="576" y="240"/>
                  </a:lnTo>
                  <a:lnTo>
                    <a:pt x="582" y="240"/>
                  </a:lnTo>
                  <a:lnTo>
                    <a:pt x="588" y="240"/>
                  </a:lnTo>
                  <a:lnTo>
                    <a:pt x="594" y="240"/>
                  </a:lnTo>
                  <a:lnTo>
                    <a:pt x="600" y="228"/>
                  </a:lnTo>
                  <a:lnTo>
                    <a:pt x="588" y="216"/>
                  </a:lnTo>
                  <a:lnTo>
                    <a:pt x="588" y="198"/>
                  </a:lnTo>
                  <a:lnTo>
                    <a:pt x="582" y="198"/>
                  </a:lnTo>
                  <a:lnTo>
                    <a:pt x="588" y="192"/>
                  </a:lnTo>
                  <a:lnTo>
                    <a:pt x="582" y="168"/>
                  </a:lnTo>
                  <a:lnTo>
                    <a:pt x="558" y="114"/>
                  </a:lnTo>
                  <a:lnTo>
                    <a:pt x="552" y="90"/>
                  </a:lnTo>
                  <a:lnTo>
                    <a:pt x="558" y="60"/>
                  </a:lnTo>
                  <a:lnTo>
                    <a:pt x="564" y="48"/>
                  </a:lnTo>
                  <a:lnTo>
                    <a:pt x="582" y="42"/>
                  </a:lnTo>
                  <a:lnTo>
                    <a:pt x="624" y="6"/>
                  </a:lnTo>
                  <a:lnTo>
                    <a:pt x="648" y="0"/>
                  </a:lnTo>
                  <a:lnTo>
                    <a:pt x="678" y="0"/>
                  </a:lnTo>
                  <a:lnTo>
                    <a:pt x="720" y="12"/>
                  </a:lnTo>
                  <a:lnTo>
                    <a:pt x="744" y="24"/>
                  </a:lnTo>
                  <a:lnTo>
                    <a:pt x="768" y="42"/>
                  </a:lnTo>
                  <a:lnTo>
                    <a:pt x="816" y="48"/>
                  </a:lnTo>
                  <a:lnTo>
                    <a:pt x="834" y="48"/>
                  </a:lnTo>
                  <a:lnTo>
                    <a:pt x="852" y="54"/>
                  </a:lnTo>
                  <a:lnTo>
                    <a:pt x="906" y="60"/>
                  </a:lnTo>
                  <a:lnTo>
                    <a:pt x="948" y="54"/>
                  </a:lnTo>
                  <a:lnTo>
                    <a:pt x="978" y="42"/>
                  </a:lnTo>
                  <a:lnTo>
                    <a:pt x="984" y="48"/>
                  </a:lnTo>
                  <a:lnTo>
                    <a:pt x="990" y="60"/>
                  </a:lnTo>
                  <a:lnTo>
                    <a:pt x="996" y="66"/>
                  </a:lnTo>
                  <a:lnTo>
                    <a:pt x="1002" y="72"/>
                  </a:lnTo>
                  <a:lnTo>
                    <a:pt x="1014" y="78"/>
                  </a:lnTo>
                  <a:lnTo>
                    <a:pt x="1014" y="84"/>
                  </a:lnTo>
                  <a:lnTo>
                    <a:pt x="1032" y="84"/>
                  </a:lnTo>
                  <a:lnTo>
                    <a:pt x="1032" y="90"/>
                  </a:lnTo>
                  <a:lnTo>
                    <a:pt x="1032" y="96"/>
                  </a:lnTo>
                  <a:lnTo>
                    <a:pt x="1032" y="108"/>
                  </a:lnTo>
                  <a:lnTo>
                    <a:pt x="1056" y="126"/>
                  </a:lnTo>
                  <a:lnTo>
                    <a:pt x="1068" y="138"/>
                  </a:lnTo>
                  <a:lnTo>
                    <a:pt x="1068" y="156"/>
                  </a:lnTo>
                  <a:lnTo>
                    <a:pt x="1080" y="150"/>
                  </a:lnTo>
                  <a:lnTo>
                    <a:pt x="1086" y="150"/>
                  </a:lnTo>
                  <a:lnTo>
                    <a:pt x="1092" y="156"/>
                  </a:lnTo>
                  <a:lnTo>
                    <a:pt x="1092" y="162"/>
                  </a:lnTo>
                  <a:lnTo>
                    <a:pt x="1092" y="168"/>
                  </a:lnTo>
                  <a:lnTo>
                    <a:pt x="1098" y="168"/>
                  </a:lnTo>
                  <a:lnTo>
                    <a:pt x="1092" y="180"/>
                  </a:lnTo>
                  <a:lnTo>
                    <a:pt x="1092" y="186"/>
                  </a:lnTo>
                  <a:lnTo>
                    <a:pt x="1086" y="192"/>
                  </a:lnTo>
                  <a:lnTo>
                    <a:pt x="1068" y="210"/>
                  </a:lnTo>
                  <a:lnTo>
                    <a:pt x="1068" y="216"/>
                  </a:lnTo>
                  <a:lnTo>
                    <a:pt x="1074" y="228"/>
                  </a:lnTo>
                  <a:lnTo>
                    <a:pt x="1092" y="234"/>
                  </a:lnTo>
                  <a:lnTo>
                    <a:pt x="1122" y="216"/>
                  </a:lnTo>
                  <a:lnTo>
                    <a:pt x="1188" y="204"/>
                  </a:lnTo>
                  <a:lnTo>
                    <a:pt x="1212" y="204"/>
                  </a:lnTo>
                  <a:lnTo>
                    <a:pt x="1230" y="198"/>
                  </a:lnTo>
                  <a:lnTo>
                    <a:pt x="1236" y="204"/>
                  </a:lnTo>
                  <a:lnTo>
                    <a:pt x="1242" y="210"/>
                  </a:lnTo>
                  <a:lnTo>
                    <a:pt x="1242" y="204"/>
                  </a:lnTo>
                  <a:lnTo>
                    <a:pt x="1248" y="198"/>
                  </a:lnTo>
                  <a:lnTo>
                    <a:pt x="1308" y="204"/>
                  </a:lnTo>
                  <a:lnTo>
                    <a:pt x="1338" y="204"/>
                  </a:lnTo>
                  <a:lnTo>
                    <a:pt x="1374" y="228"/>
                  </a:lnTo>
                  <a:lnTo>
                    <a:pt x="1380" y="234"/>
                  </a:lnTo>
                  <a:lnTo>
                    <a:pt x="1380" y="240"/>
                  </a:lnTo>
                  <a:lnTo>
                    <a:pt x="1386" y="252"/>
                  </a:lnTo>
                  <a:lnTo>
                    <a:pt x="1392" y="252"/>
                  </a:lnTo>
                  <a:lnTo>
                    <a:pt x="1416" y="270"/>
                  </a:lnTo>
                  <a:lnTo>
                    <a:pt x="1428" y="294"/>
                  </a:lnTo>
                  <a:lnTo>
                    <a:pt x="1440" y="312"/>
                  </a:lnTo>
                  <a:lnTo>
                    <a:pt x="1452" y="330"/>
                  </a:lnTo>
                  <a:lnTo>
                    <a:pt x="1464" y="330"/>
                  </a:lnTo>
                  <a:lnTo>
                    <a:pt x="1464" y="336"/>
                  </a:lnTo>
                  <a:lnTo>
                    <a:pt x="1470" y="336"/>
                  </a:lnTo>
                  <a:lnTo>
                    <a:pt x="1470" y="342"/>
                  </a:lnTo>
                  <a:lnTo>
                    <a:pt x="1476" y="342"/>
                  </a:lnTo>
                  <a:lnTo>
                    <a:pt x="1488" y="336"/>
                  </a:lnTo>
                  <a:lnTo>
                    <a:pt x="1494" y="342"/>
                  </a:lnTo>
                  <a:lnTo>
                    <a:pt x="1500" y="342"/>
                  </a:lnTo>
                  <a:lnTo>
                    <a:pt x="1512" y="366"/>
                  </a:lnTo>
                  <a:lnTo>
                    <a:pt x="1530" y="396"/>
                  </a:lnTo>
                  <a:lnTo>
                    <a:pt x="1536" y="444"/>
                  </a:lnTo>
                  <a:lnTo>
                    <a:pt x="1530" y="480"/>
                  </a:lnTo>
                  <a:lnTo>
                    <a:pt x="1506" y="510"/>
                  </a:lnTo>
                  <a:lnTo>
                    <a:pt x="1500" y="546"/>
                  </a:lnTo>
                  <a:lnTo>
                    <a:pt x="1494" y="564"/>
                  </a:lnTo>
                  <a:lnTo>
                    <a:pt x="1494" y="576"/>
                  </a:lnTo>
                  <a:lnTo>
                    <a:pt x="1500" y="582"/>
                  </a:lnTo>
                  <a:lnTo>
                    <a:pt x="1494" y="612"/>
                  </a:lnTo>
                  <a:lnTo>
                    <a:pt x="1476" y="630"/>
                  </a:lnTo>
                  <a:lnTo>
                    <a:pt x="1434" y="672"/>
                  </a:lnTo>
                  <a:lnTo>
                    <a:pt x="1392" y="756"/>
                  </a:lnTo>
                  <a:lnTo>
                    <a:pt x="1380" y="792"/>
                  </a:lnTo>
                  <a:lnTo>
                    <a:pt x="1374" y="798"/>
                  </a:lnTo>
                  <a:lnTo>
                    <a:pt x="1368" y="798"/>
                  </a:lnTo>
                  <a:lnTo>
                    <a:pt x="1380" y="804"/>
                  </a:lnTo>
                  <a:lnTo>
                    <a:pt x="1386" y="804"/>
                  </a:lnTo>
                  <a:lnTo>
                    <a:pt x="1380" y="822"/>
                  </a:lnTo>
                  <a:lnTo>
                    <a:pt x="1380" y="852"/>
                  </a:lnTo>
                  <a:lnTo>
                    <a:pt x="1374" y="858"/>
                  </a:lnTo>
                  <a:lnTo>
                    <a:pt x="1380" y="858"/>
                  </a:lnTo>
                  <a:lnTo>
                    <a:pt x="1374" y="864"/>
                  </a:lnTo>
                  <a:lnTo>
                    <a:pt x="1374" y="870"/>
                  </a:lnTo>
                  <a:lnTo>
                    <a:pt x="1374" y="876"/>
                  </a:lnTo>
                  <a:lnTo>
                    <a:pt x="1368" y="900"/>
                  </a:lnTo>
                  <a:lnTo>
                    <a:pt x="1362" y="906"/>
                  </a:lnTo>
                  <a:lnTo>
                    <a:pt x="1362" y="918"/>
                  </a:lnTo>
                  <a:lnTo>
                    <a:pt x="1362" y="924"/>
                  </a:lnTo>
                  <a:lnTo>
                    <a:pt x="1356" y="942"/>
                  </a:lnTo>
                  <a:lnTo>
                    <a:pt x="1350" y="972"/>
                  </a:lnTo>
                  <a:lnTo>
                    <a:pt x="1350" y="1014"/>
                  </a:lnTo>
                  <a:lnTo>
                    <a:pt x="1350" y="10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3" name="Freeform 18">
              <a:extLst>
                <a:ext uri="{FF2B5EF4-FFF2-40B4-BE49-F238E27FC236}">
                  <a16:creationId xmlns:a16="http://schemas.microsoft.com/office/drawing/2014/main" id="{EC11F2E0-3C06-46E2-8AD2-66EBE00FFE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32346" y="3837389"/>
              <a:ext cx="556811" cy="818559"/>
            </a:xfrm>
            <a:custGeom>
              <a:avLst/>
              <a:gdLst>
                <a:gd name="T0" fmla="*/ 12 w 1044"/>
                <a:gd name="T1" fmla="*/ 95 h 1542"/>
                <a:gd name="T2" fmla="*/ 7 w 1044"/>
                <a:gd name="T3" fmla="*/ 93 h 1542"/>
                <a:gd name="T4" fmla="*/ 0 w 1044"/>
                <a:gd name="T5" fmla="*/ 88 h 1542"/>
                <a:gd name="T6" fmla="*/ 3 w 1044"/>
                <a:gd name="T7" fmla="*/ 74 h 1542"/>
                <a:gd name="T8" fmla="*/ 4 w 1044"/>
                <a:gd name="T9" fmla="*/ 59 h 1542"/>
                <a:gd name="T10" fmla="*/ 7 w 1044"/>
                <a:gd name="T11" fmla="*/ 52 h 1542"/>
                <a:gd name="T12" fmla="*/ 20 w 1044"/>
                <a:gd name="T13" fmla="*/ 50 h 1542"/>
                <a:gd name="T14" fmla="*/ 24 w 1044"/>
                <a:gd name="T15" fmla="*/ 46 h 1542"/>
                <a:gd name="T16" fmla="*/ 29 w 1044"/>
                <a:gd name="T17" fmla="*/ 33 h 1542"/>
                <a:gd name="T18" fmla="*/ 32 w 1044"/>
                <a:gd name="T19" fmla="*/ 26 h 1542"/>
                <a:gd name="T20" fmla="*/ 30 w 1044"/>
                <a:gd name="T21" fmla="*/ 20 h 1542"/>
                <a:gd name="T22" fmla="*/ 26 w 1044"/>
                <a:gd name="T23" fmla="*/ 17 h 1542"/>
                <a:gd name="T24" fmla="*/ 28 w 1044"/>
                <a:gd name="T25" fmla="*/ 12 h 1542"/>
                <a:gd name="T26" fmla="*/ 44 w 1044"/>
                <a:gd name="T27" fmla="*/ 5 h 1542"/>
                <a:gd name="T28" fmla="*/ 57 w 1044"/>
                <a:gd name="T29" fmla="*/ 2 h 1542"/>
                <a:gd name="T30" fmla="*/ 65 w 1044"/>
                <a:gd name="T31" fmla="*/ 12 h 1542"/>
                <a:gd name="T32" fmla="*/ 81 w 1044"/>
                <a:gd name="T33" fmla="*/ 9 h 1542"/>
                <a:gd name="T34" fmla="*/ 91 w 1044"/>
                <a:gd name="T35" fmla="*/ 20 h 1542"/>
                <a:gd name="T36" fmla="*/ 89 w 1044"/>
                <a:gd name="T37" fmla="*/ 28 h 1542"/>
                <a:gd name="T38" fmla="*/ 83 w 1044"/>
                <a:gd name="T39" fmla="*/ 33 h 1542"/>
                <a:gd name="T40" fmla="*/ 74 w 1044"/>
                <a:gd name="T41" fmla="*/ 42 h 1542"/>
                <a:gd name="T42" fmla="*/ 58 w 1044"/>
                <a:gd name="T43" fmla="*/ 57 h 1542"/>
                <a:gd name="T44" fmla="*/ 54 w 1044"/>
                <a:gd name="T45" fmla="*/ 65 h 1542"/>
                <a:gd name="T46" fmla="*/ 59 w 1044"/>
                <a:gd name="T47" fmla="*/ 74 h 1542"/>
                <a:gd name="T48" fmla="*/ 55 w 1044"/>
                <a:gd name="T49" fmla="*/ 84 h 1542"/>
                <a:gd name="T50" fmla="*/ 52 w 1044"/>
                <a:gd name="T51" fmla="*/ 98 h 1542"/>
                <a:gd name="T52" fmla="*/ 47 w 1044"/>
                <a:gd name="T53" fmla="*/ 105 h 1542"/>
                <a:gd name="T54" fmla="*/ 42 w 1044"/>
                <a:gd name="T55" fmla="*/ 111 h 1542"/>
                <a:gd name="T56" fmla="*/ 43 w 1044"/>
                <a:gd name="T57" fmla="*/ 120 h 1542"/>
                <a:gd name="T58" fmla="*/ 45 w 1044"/>
                <a:gd name="T59" fmla="*/ 125 h 1542"/>
                <a:gd name="T60" fmla="*/ 44 w 1044"/>
                <a:gd name="T61" fmla="*/ 130 h 1542"/>
                <a:gd name="T62" fmla="*/ 45 w 1044"/>
                <a:gd name="T63" fmla="*/ 131 h 1542"/>
                <a:gd name="T64" fmla="*/ 48 w 1044"/>
                <a:gd name="T65" fmla="*/ 133 h 1542"/>
                <a:gd name="T66" fmla="*/ 39 w 1044"/>
                <a:gd name="T67" fmla="*/ 133 h 1542"/>
                <a:gd name="T68" fmla="*/ 42 w 1044"/>
                <a:gd name="T69" fmla="*/ 132 h 1542"/>
                <a:gd name="T70" fmla="*/ 38 w 1044"/>
                <a:gd name="T71" fmla="*/ 133 h 1542"/>
                <a:gd name="T72" fmla="*/ 37 w 1044"/>
                <a:gd name="T73" fmla="*/ 129 h 1542"/>
                <a:gd name="T74" fmla="*/ 40 w 1044"/>
                <a:gd name="T75" fmla="*/ 125 h 1542"/>
                <a:gd name="T76" fmla="*/ 40 w 1044"/>
                <a:gd name="T77" fmla="*/ 120 h 1542"/>
                <a:gd name="T78" fmla="*/ 40 w 1044"/>
                <a:gd name="T79" fmla="*/ 117 h 1542"/>
                <a:gd name="T80" fmla="*/ 37 w 1044"/>
                <a:gd name="T81" fmla="*/ 120 h 1542"/>
                <a:gd name="T82" fmla="*/ 34 w 1044"/>
                <a:gd name="T83" fmla="*/ 122 h 1542"/>
                <a:gd name="T84" fmla="*/ 36 w 1044"/>
                <a:gd name="T85" fmla="*/ 120 h 1542"/>
                <a:gd name="T86" fmla="*/ 30 w 1044"/>
                <a:gd name="T87" fmla="*/ 120 h 1542"/>
                <a:gd name="T88" fmla="*/ 31 w 1044"/>
                <a:gd name="T89" fmla="*/ 113 h 1542"/>
                <a:gd name="T90" fmla="*/ 29 w 1044"/>
                <a:gd name="T91" fmla="*/ 112 h 1542"/>
                <a:gd name="T92" fmla="*/ 31 w 1044"/>
                <a:gd name="T93" fmla="*/ 117 h 1542"/>
                <a:gd name="T94" fmla="*/ 27 w 1044"/>
                <a:gd name="T95" fmla="*/ 116 h 1542"/>
                <a:gd name="T96" fmla="*/ 25 w 1044"/>
                <a:gd name="T97" fmla="*/ 112 h 1542"/>
                <a:gd name="T98" fmla="*/ 21 w 1044"/>
                <a:gd name="T99" fmla="*/ 109 h 1542"/>
                <a:gd name="T100" fmla="*/ 21 w 1044"/>
                <a:gd name="T101" fmla="*/ 113 h 1542"/>
                <a:gd name="T102" fmla="*/ 40 w 1044"/>
                <a:gd name="T103" fmla="*/ 120 h 1542"/>
                <a:gd name="T104" fmla="*/ 40 w 1044"/>
                <a:gd name="T105" fmla="*/ 121 h 1542"/>
                <a:gd name="T106" fmla="*/ 40 w 1044"/>
                <a:gd name="T107" fmla="*/ 116 h 1542"/>
                <a:gd name="T108" fmla="*/ 38 w 1044"/>
                <a:gd name="T109" fmla="*/ 120 h 1542"/>
                <a:gd name="T110" fmla="*/ 23 w 1044"/>
                <a:gd name="T111" fmla="*/ 110 h 1542"/>
                <a:gd name="T112" fmla="*/ 37 w 1044"/>
                <a:gd name="T113" fmla="*/ 124 h 1542"/>
                <a:gd name="T114" fmla="*/ 40 w 1044"/>
                <a:gd name="T115" fmla="*/ 125 h 1542"/>
                <a:gd name="T116" fmla="*/ 38 w 1044"/>
                <a:gd name="T117" fmla="*/ 128 h 1542"/>
                <a:gd name="T118" fmla="*/ 25 w 1044"/>
                <a:gd name="T119" fmla="*/ 117 h 1542"/>
                <a:gd name="T120" fmla="*/ 27 w 1044"/>
                <a:gd name="T121" fmla="*/ 127 h 1542"/>
                <a:gd name="T122" fmla="*/ 24 w 1044"/>
                <a:gd name="T123" fmla="*/ 113 h 15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4"/>
                <a:gd name="T187" fmla="*/ 0 h 1542"/>
                <a:gd name="T188" fmla="*/ 1044 w 1044"/>
                <a:gd name="T189" fmla="*/ 1542 h 154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4" h="1542">
                  <a:moveTo>
                    <a:pt x="234" y="1278"/>
                  </a:moveTo>
                  <a:lnTo>
                    <a:pt x="228" y="1272"/>
                  </a:lnTo>
                  <a:lnTo>
                    <a:pt x="222" y="1266"/>
                  </a:lnTo>
                  <a:lnTo>
                    <a:pt x="222" y="1260"/>
                  </a:lnTo>
                  <a:lnTo>
                    <a:pt x="204" y="1248"/>
                  </a:lnTo>
                  <a:lnTo>
                    <a:pt x="192" y="1248"/>
                  </a:lnTo>
                  <a:lnTo>
                    <a:pt x="186" y="1236"/>
                  </a:lnTo>
                  <a:lnTo>
                    <a:pt x="174" y="1218"/>
                  </a:lnTo>
                  <a:lnTo>
                    <a:pt x="162" y="1194"/>
                  </a:lnTo>
                  <a:lnTo>
                    <a:pt x="156" y="1182"/>
                  </a:lnTo>
                  <a:lnTo>
                    <a:pt x="162" y="1146"/>
                  </a:lnTo>
                  <a:lnTo>
                    <a:pt x="156" y="1134"/>
                  </a:lnTo>
                  <a:lnTo>
                    <a:pt x="138" y="1122"/>
                  </a:lnTo>
                  <a:lnTo>
                    <a:pt x="132" y="1116"/>
                  </a:lnTo>
                  <a:lnTo>
                    <a:pt x="138" y="1098"/>
                  </a:lnTo>
                  <a:lnTo>
                    <a:pt x="138" y="1092"/>
                  </a:lnTo>
                  <a:lnTo>
                    <a:pt x="138" y="1086"/>
                  </a:lnTo>
                  <a:lnTo>
                    <a:pt x="132" y="1074"/>
                  </a:lnTo>
                  <a:lnTo>
                    <a:pt x="126" y="1074"/>
                  </a:lnTo>
                  <a:lnTo>
                    <a:pt x="126" y="1068"/>
                  </a:lnTo>
                  <a:lnTo>
                    <a:pt x="120" y="1062"/>
                  </a:lnTo>
                  <a:lnTo>
                    <a:pt x="120" y="1056"/>
                  </a:lnTo>
                  <a:lnTo>
                    <a:pt x="114" y="1050"/>
                  </a:lnTo>
                  <a:lnTo>
                    <a:pt x="108" y="1050"/>
                  </a:lnTo>
                  <a:lnTo>
                    <a:pt x="102" y="1056"/>
                  </a:lnTo>
                  <a:lnTo>
                    <a:pt x="102" y="1062"/>
                  </a:lnTo>
                  <a:lnTo>
                    <a:pt x="96" y="1062"/>
                  </a:lnTo>
                  <a:lnTo>
                    <a:pt x="96" y="1068"/>
                  </a:lnTo>
                  <a:lnTo>
                    <a:pt x="96" y="1074"/>
                  </a:lnTo>
                  <a:lnTo>
                    <a:pt x="90" y="1074"/>
                  </a:lnTo>
                  <a:lnTo>
                    <a:pt x="84" y="1080"/>
                  </a:lnTo>
                  <a:lnTo>
                    <a:pt x="78" y="1074"/>
                  </a:lnTo>
                  <a:lnTo>
                    <a:pt x="72" y="1074"/>
                  </a:lnTo>
                  <a:lnTo>
                    <a:pt x="72" y="1068"/>
                  </a:lnTo>
                  <a:lnTo>
                    <a:pt x="72" y="1062"/>
                  </a:lnTo>
                  <a:lnTo>
                    <a:pt x="60" y="1056"/>
                  </a:lnTo>
                  <a:lnTo>
                    <a:pt x="60" y="1044"/>
                  </a:lnTo>
                  <a:lnTo>
                    <a:pt x="60" y="1032"/>
                  </a:lnTo>
                  <a:lnTo>
                    <a:pt x="60" y="1026"/>
                  </a:lnTo>
                  <a:lnTo>
                    <a:pt x="54" y="1026"/>
                  </a:lnTo>
                  <a:lnTo>
                    <a:pt x="48" y="1014"/>
                  </a:lnTo>
                  <a:lnTo>
                    <a:pt x="42" y="1008"/>
                  </a:lnTo>
                  <a:lnTo>
                    <a:pt x="30" y="1008"/>
                  </a:lnTo>
                  <a:lnTo>
                    <a:pt x="30" y="1002"/>
                  </a:lnTo>
                  <a:lnTo>
                    <a:pt x="24" y="1008"/>
                  </a:lnTo>
                  <a:lnTo>
                    <a:pt x="12" y="1008"/>
                  </a:lnTo>
                  <a:lnTo>
                    <a:pt x="6" y="1008"/>
                  </a:lnTo>
                  <a:lnTo>
                    <a:pt x="0" y="1008"/>
                  </a:lnTo>
                  <a:lnTo>
                    <a:pt x="0" y="1002"/>
                  </a:lnTo>
                  <a:lnTo>
                    <a:pt x="6" y="990"/>
                  </a:lnTo>
                  <a:lnTo>
                    <a:pt x="6" y="984"/>
                  </a:lnTo>
                  <a:lnTo>
                    <a:pt x="0" y="978"/>
                  </a:lnTo>
                  <a:lnTo>
                    <a:pt x="6" y="972"/>
                  </a:lnTo>
                  <a:lnTo>
                    <a:pt x="12" y="972"/>
                  </a:lnTo>
                  <a:lnTo>
                    <a:pt x="72" y="978"/>
                  </a:lnTo>
                  <a:lnTo>
                    <a:pt x="78" y="972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30"/>
                  </a:lnTo>
                  <a:lnTo>
                    <a:pt x="54" y="912"/>
                  </a:lnTo>
                  <a:lnTo>
                    <a:pt x="42" y="906"/>
                  </a:lnTo>
                  <a:lnTo>
                    <a:pt x="36" y="894"/>
                  </a:lnTo>
                  <a:lnTo>
                    <a:pt x="30" y="876"/>
                  </a:lnTo>
                  <a:lnTo>
                    <a:pt x="30" y="858"/>
                  </a:lnTo>
                  <a:lnTo>
                    <a:pt x="30" y="840"/>
                  </a:lnTo>
                  <a:lnTo>
                    <a:pt x="36" y="816"/>
                  </a:lnTo>
                  <a:lnTo>
                    <a:pt x="36" y="792"/>
                  </a:lnTo>
                  <a:lnTo>
                    <a:pt x="36" y="780"/>
                  </a:lnTo>
                  <a:lnTo>
                    <a:pt x="12" y="774"/>
                  </a:lnTo>
                  <a:lnTo>
                    <a:pt x="24" y="756"/>
                  </a:lnTo>
                  <a:lnTo>
                    <a:pt x="24" y="744"/>
                  </a:lnTo>
                  <a:lnTo>
                    <a:pt x="30" y="738"/>
                  </a:lnTo>
                  <a:lnTo>
                    <a:pt x="30" y="732"/>
                  </a:lnTo>
                  <a:lnTo>
                    <a:pt x="36" y="720"/>
                  </a:lnTo>
                  <a:lnTo>
                    <a:pt x="42" y="714"/>
                  </a:lnTo>
                  <a:lnTo>
                    <a:pt x="54" y="708"/>
                  </a:lnTo>
                  <a:lnTo>
                    <a:pt x="60" y="702"/>
                  </a:lnTo>
                  <a:lnTo>
                    <a:pt x="48" y="690"/>
                  </a:lnTo>
                  <a:lnTo>
                    <a:pt x="48" y="684"/>
                  </a:lnTo>
                  <a:lnTo>
                    <a:pt x="48" y="678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66"/>
                  </a:lnTo>
                  <a:lnTo>
                    <a:pt x="72" y="654"/>
                  </a:lnTo>
                  <a:lnTo>
                    <a:pt x="72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84" y="630"/>
                  </a:lnTo>
                  <a:lnTo>
                    <a:pt x="90" y="630"/>
                  </a:lnTo>
                  <a:lnTo>
                    <a:pt x="96" y="630"/>
                  </a:lnTo>
                  <a:lnTo>
                    <a:pt x="96" y="624"/>
                  </a:lnTo>
                  <a:lnTo>
                    <a:pt x="90" y="624"/>
                  </a:lnTo>
                  <a:lnTo>
                    <a:pt x="84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90" y="600"/>
                  </a:lnTo>
                  <a:lnTo>
                    <a:pt x="84" y="600"/>
                  </a:lnTo>
                  <a:lnTo>
                    <a:pt x="78" y="594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126" y="564"/>
                  </a:lnTo>
                  <a:lnTo>
                    <a:pt x="144" y="564"/>
                  </a:lnTo>
                  <a:lnTo>
                    <a:pt x="156" y="582"/>
                  </a:lnTo>
                  <a:lnTo>
                    <a:pt x="162" y="600"/>
                  </a:lnTo>
                  <a:lnTo>
                    <a:pt x="180" y="588"/>
                  </a:lnTo>
                  <a:lnTo>
                    <a:pt x="192" y="588"/>
                  </a:lnTo>
                  <a:lnTo>
                    <a:pt x="198" y="588"/>
                  </a:lnTo>
                  <a:lnTo>
                    <a:pt x="210" y="582"/>
                  </a:lnTo>
                  <a:lnTo>
                    <a:pt x="216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58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46" y="558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58" y="570"/>
                  </a:lnTo>
                  <a:lnTo>
                    <a:pt x="264" y="570"/>
                  </a:lnTo>
                  <a:lnTo>
                    <a:pt x="270" y="564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46"/>
                  </a:lnTo>
                  <a:lnTo>
                    <a:pt x="276" y="540"/>
                  </a:lnTo>
                  <a:lnTo>
                    <a:pt x="276" y="534"/>
                  </a:lnTo>
                  <a:lnTo>
                    <a:pt x="276" y="528"/>
                  </a:lnTo>
                  <a:lnTo>
                    <a:pt x="282" y="528"/>
                  </a:lnTo>
                  <a:lnTo>
                    <a:pt x="282" y="522"/>
                  </a:lnTo>
                  <a:lnTo>
                    <a:pt x="282" y="516"/>
                  </a:lnTo>
                  <a:lnTo>
                    <a:pt x="282" y="510"/>
                  </a:lnTo>
                  <a:lnTo>
                    <a:pt x="282" y="504"/>
                  </a:lnTo>
                  <a:lnTo>
                    <a:pt x="282" y="492"/>
                  </a:lnTo>
                  <a:lnTo>
                    <a:pt x="288" y="486"/>
                  </a:lnTo>
                  <a:lnTo>
                    <a:pt x="300" y="480"/>
                  </a:lnTo>
                  <a:lnTo>
                    <a:pt x="306" y="462"/>
                  </a:lnTo>
                  <a:lnTo>
                    <a:pt x="318" y="444"/>
                  </a:lnTo>
                  <a:lnTo>
                    <a:pt x="330" y="444"/>
                  </a:lnTo>
                  <a:lnTo>
                    <a:pt x="330" y="432"/>
                  </a:lnTo>
                  <a:lnTo>
                    <a:pt x="342" y="432"/>
                  </a:lnTo>
                  <a:lnTo>
                    <a:pt x="354" y="402"/>
                  </a:lnTo>
                  <a:lnTo>
                    <a:pt x="348" y="390"/>
                  </a:lnTo>
                  <a:lnTo>
                    <a:pt x="336" y="384"/>
                  </a:lnTo>
                  <a:lnTo>
                    <a:pt x="336" y="360"/>
                  </a:lnTo>
                  <a:lnTo>
                    <a:pt x="336" y="354"/>
                  </a:lnTo>
                  <a:lnTo>
                    <a:pt x="336" y="342"/>
                  </a:lnTo>
                  <a:lnTo>
                    <a:pt x="342" y="336"/>
                  </a:lnTo>
                  <a:lnTo>
                    <a:pt x="342" y="324"/>
                  </a:lnTo>
                  <a:lnTo>
                    <a:pt x="372" y="324"/>
                  </a:lnTo>
                  <a:lnTo>
                    <a:pt x="378" y="324"/>
                  </a:lnTo>
                  <a:lnTo>
                    <a:pt x="378" y="318"/>
                  </a:lnTo>
                  <a:lnTo>
                    <a:pt x="372" y="312"/>
                  </a:lnTo>
                  <a:lnTo>
                    <a:pt x="378" y="312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84" y="300"/>
                  </a:lnTo>
                  <a:lnTo>
                    <a:pt x="384" y="294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66" y="294"/>
                  </a:lnTo>
                  <a:lnTo>
                    <a:pt x="366" y="288"/>
                  </a:lnTo>
                  <a:lnTo>
                    <a:pt x="372" y="288"/>
                  </a:lnTo>
                  <a:lnTo>
                    <a:pt x="372" y="282"/>
                  </a:lnTo>
                  <a:lnTo>
                    <a:pt x="366" y="276"/>
                  </a:lnTo>
                  <a:lnTo>
                    <a:pt x="360" y="270"/>
                  </a:lnTo>
                  <a:lnTo>
                    <a:pt x="360" y="264"/>
                  </a:lnTo>
                  <a:lnTo>
                    <a:pt x="354" y="264"/>
                  </a:lnTo>
                  <a:lnTo>
                    <a:pt x="348" y="258"/>
                  </a:lnTo>
                  <a:lnTo>
                    <a:pt x="354" y="258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40"/>
                  </a:lnTo>
                  <a:lnTo>
                    <a:pt x="354" y="240"/>
                  </a:lnTo>
                  <a:lnTo>
                    <a:pt x="342" y="234"/>
                  </a:lnTo>
                  <a:lnTo>
                    <a:pt x="342" y="228"/>
                  </a:lnTo>
                  <a:lnTo>
                    <a:pt x="348" y="228"/>
                  </a:lnTo>
                  <a:lnTo>
                    <a:pt x="342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6" y="216"/>
                  </a:lnTo>
                  <a:lnTo>
                    <a:pt x="330" y="222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24" y="210"/>
                  </a:lnTo>
                  <a:lnTo>
                    <a:pt x="318" y="210"/>
                  </a:lnTo>
                  <a:lnTo>
                    <a:pt x="318" y="204"/>
                  </a:lnTo>
                  <a:lnTo>
                    <a:pt x="312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294" y="192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300" y="174"/>
                  </a:lnTo>
                  <a:lnTo>
                    <a:pt x="300" y="168"/>
                  </a:lnTo>
                  <a:lnTo>
                    <a:pt x="300" y="162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88" y="150"/>
                  </a:lnTo>
                  <a:lnTo>
                    <a:pt x="288" y="144"/>
                  </a:lnTo>
                  <a:lnTo>
                    <a:pt x="282" y="144"/>
                  </a:lnTo>
                  <a:lnTo>
                    <a:pt x="282" y="138"/>
                  </a:lnTo>
                  <a:lnTo>
                    <a:pt x="312" y="132"/>
                  </a:lnTo>
                  <a:lnTo>
                    <a:pt x="324" y="120"/>
                  </a:lnTo>
                  <a:lnTo>
                    <a:pt x="330" y="114"/>
                  </a:lnTo>
                  <a:lnTo>
                    <a:pt x="336" y="102"/>
                  </a:lnTo>
                  <a:lnTo>
                    <a:pt x="348" y="90"/>
                  </a:lnTo>
                  <a:lnTo>
                    <a:pt x="360" y="84"/>
                  </a:lnTo>
                  <a:lnTo>
                    <a:pt x="372" y="84"/>
                  </a:lnTo>
                  <a:lnTo>
                    <a:pt x="378" y="84"/>
                  </a:lnTo>
                  <a:lnTo>
                    <a:pt x="384" y="90"/>
                  </a:lnTo>
                  <a:lnTo>
                    <a:pt x="402" y="90"/>
                  </a:lnTo>
                  <a:lnTo>
                    <a:pt x="438" y="84"/>
                  </a:lnTo>
                  <a:lnTo>
                    <a:pt x="456" y="84"/>
                  </a:lnTo>
                  <a:lnTo>
                    <a:pt x="462" y="78"/>
                  </a:lnTo>
                  <a:lnTo>
                    <a:pt x="486" y="72"/>
                  </a:lnTo>
                  <a:lnTo>
                    <a:pt x="492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04" y="54"/>
                  </a:lnTo>
                  <a:lnTo>
                    <a:pt x="510" y="42"/>
                  </a:lnTo>
                  <a:lnTo>
                    <a:pt x="504" y="42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498" y="30"/>
                  </a:lnTo>
                  <a:lnTo>
                    <a:pt x="492" y="30"/>
                  </a:lnTo>
                  <a:lnTo>
                    <a:pt x="492" y="24"/>
                  </a:lnTo>
                  <a:lnTo>
                    <a:pt x="486" y="18"/>
                  </a:lnTo>
                  <a:lnTo>
                    <a:pt x="498" y="18"/>
                  </a:lnTo>
                  <a:lnTo>
                    <a:pt x="510" y="18"/>
                  </a:lnTo>
                  <a:lnTo>
                    <a:pt x="522" y="12"/>
                  </a:lnTo>
                  <a:lnTo>
                    <a:pt x="528" y="6"/>
                  </a:lnTo>
                  <a:lnTo>
                    <a:pt x="570" y="0"/>
                  </a:lnTo>
                  <a:lnTo>
                    <a:pt x="606" y="6"/>
                  </a:lnTo>
                  <a:lnTo>
                    <a:pt x="654" y="24"/>
                  </a:lnTo>
                  <a:lnTo>
                    <a:pt x="666" y="36"/>
                  </a:lnTo>
                  <a:lnTo>
                    <a:pt x="672" y="30"/>
                  </a:lnTo>
                  <a:lnTo>
                    <a:pt x="690" y="42"/>
                  </a:lnTo>
                  <a:lnTo>
                    <a:pt x="702" y="48"/>
                  </a:lnTo>
                  <a:lnTo>
                    <a:pt x="714" y="60"/>
                  </a:lnTo>
                  <a:lnTo>
                    <a:pt x="714" y="66"/>
                  </a:lnTo>
                  <a:lnTo>
                    <a:pt x="720" y="72"/>
                  </a:lnTo>
                  <a:lnTo>
                    <a:pt x="720" y="78"/>
                  </a:lnTo>
                  <a:lnTo>
                    <a:pt x="720" y="102"/>
                  </a:lnTo>
                  <a:lnTo>
                    <a:pt x="720" y="108"/>
                  </a:lnTo>
                  <a:lnTo>
                    <a:pt x="714" y="108"/>
                  </a:lnTo>
                  <a:lnTo>
                    <a:pt x="714" y="126"/>
                  </a:lnTo>
                  <a:lnTo>
                    <a:pt x="732" y="126"/>
                  </a:lnTo>
                  <a:lnTo>
                    <a:pt x="726" y="132"/>
                  </a:lnTo>
                  <a:lnTo>
                    <a:pt x="738" y="132"/>
                  </a:lnTo>
                  <a:lnTo>
                    <a:pt x="738" y="138"/>
                  </a:lnTo>
                  <a:lnTo>
                    <a:pt x="738" y="144"/>
                  </a:lnTo>
                  <a:lnTo>
                    <a:pt x="744" y="144"/>
                  </a:lnTo>
                  <a:lnTo>
                    <a:pt x="744" y="150"/>
                  </a:lnTo>
                  <a:lnTo>
                    <a:pt x="756" y="156"/>
                  </a:lnTo>
                  <a:lnTo>
                    <a:pt x="768" y="156"/>
                  </a:lnTo>
                  <a:lnTo>
                    <a:pt x="780" y="156"/>
                  </a:lnTo>
                  <a:lnTo>
                    <a:pt x="792" y="150"/>
                  </a:lnTo>
                  <a:lnTo>
                    <a:pt x="786" y="150"/>
                  </a:lnTo>
                  <a:lnTo>
                    <a:pt x="786" y="144"/>
                  </a:lnTo>
                  <a:lnTo>
                    <a:pt x="804" y="144"/>
                  </a:lnTo>
                  <a:lnTo>
                    <a:pt x="816" y="132"/>
                  </a:lnTo>
                  <a:lnTo>
                    <a:pt x="822" y="126"/>
                  </a:lnTo>
                  <a:lnTo>
                    <a:pt x="828" y="132"/>
                  </a:lnTo>
                  <a:lnTo>
                    <a:pt x="834" y="126"/>
                  </a:lnTo>
                  <a:lnTo>
                    <a:pt x="834" y="120"/>
                  </a:lnTo>
                  <a:lnTo>
                    <a:pt x="924" y="108"/>
                  </a:lnTo>
                  <a:lnTo>
                    <a:pt x="942" y="144"/>
                  </a:lnTo>
                  <a:lnTo>
                    <a:pt x="948" y="144"/>
                  </a:lnTo>
                  <a:lnTo>
                    <a:pt x="960" y="168"/>
                  </a:lnTo>
                  <a:lnTo>
                    <a:pt x="972" y="186"/>
                  </a:lnTo>
                  <a:lnTo>
                    <a:pt x="984" y="192"/>
                  </a:lnTo>
                  <a:lnTo>
                    <a:pt x="996" y="192"/>
                  </a:lnTo>
                  <a:lnTo>
                    <a:pt x="996" y="198"/>
                  </a:lnTo>
                  <a:lnTo>
                    <a:pt x="1008" y="204"/>
                  </a:lnTo>
                  <a:lnTo>
                    <a:pt x="1008" y="210"/>
                  </a:lnTo>
                  <a:lnTo>
                    <a:pt x="1002" y="210"/>
                  </a:lnTo>
                  <a:lnTo>
                    <a:pt x="1008" y="216"/>
                  </a:lnTo>
                  <a:lnTo>
                    <a:pt x="1014" y="210"/>
                  </a:lnTo>
                  <a:lnTo>
                    <a:pt x="1014" y="216"/>
                  </a:lnTo>
                  <a:lnTo>
                    <a:pt x="1020" y="222"/>
                  </a:lnTo>
                  <a:lnTo>
                    <a:pt x="1014" y="228"/>
                  </a:lnTo>
                  <a:lnTo>
                    <a:pt x="1032" y="234"/>
                  </a:lnTo>
                  <a:lnTo>
                    <a:pt x="1044" y="240"/>
                  </a:lnTo>
                  <a:lnTo>
                    <a:pt x="1038" y="246"/>
                  </a:lnTo>
                  <a:lnTo>
                    <a:pt x="1038" y="252"/>
                  </a:lnTo>
                  <a:lnTo>
                    <a:pt x="1038" y="258"/>
                  </a:lnTo>
                  <a:lnTo>
                    <a:pt x="1032" y="264"/>
                  </a:lnTo>
                  <a:lnTo>
                    <a:pt x="1032" y="270"/>
                  </a:lnTo>
                  <a:lnTo>
                    <a:pt x="1032" y="276"/>
                  </a:lnTo>
                  <a:lnTo>
                    <a:pt x="1032" y="282"/>
                  </a:lnTo>
                  <a:lnTo>
                    <a:pt x="1026" y="282"/>
                  </a:lnTo>
                  <a:lnTo>
                    <a:pt x="1026" y="288"/>
                  </a:lnTo>
                  <a:lnTo>
                    <a:pt x="1026" y="294"/>
                  </a:lnTo>
                  <a:lnTo>
                    <a:pt x="1026" y="300"/>
                  </a:lnTo>
                  <a:lnTo>
                    <a:pt x="1026" y="306"/>
                  </a:lnTo>
                  <a:lnTo>
                    <a:pt x="1020" y="318"/>
                  </a:lnTo>
                  <a:lnTo>
                    <a:pt x="1020" y="324"/>
                  </a:lnTo>
                  <a:lnTo>
                    <a:pt x="1014" y="324"/>
                  </a:lnTo>
                  <a:lnTo>
                    <a:pt x="1014" y="330"/>
                  </a:lnTo>
                  <a:lnTo>
                    <a:pt x="1014" y="336"/>
                  </a:lnTo>
                  <a:lnTo>
                    <a:pt x="1008" y="366"/>
                  </a:lnTo>
                  <a:lnTo>
                    <a:pt x="1002" y="366"/>
                  </a:lnTo>
                  <a:lnTo>
                    <a:pt x="984" y="354"/>
                  </a:lnTo>
                  <a:lnTo>
                    <a:pt x="978" y="354"/>
                  </a:lnTo>
                  <a:lnTo>
                    <a:pt x="972" y="354"/>
                  </a:lnTo>
                  <a:lnTo>
                    <a:pt x="966" y="348"/>
                  </a:lnTo>
                  <a:lnTo>
                    <a:pt x="954" y="348"/>
                  </a:lnTo>
                  <a:lnTo>
                    <a:pt x="948" y="348"/>
                  </a:lnTo>
                  <a:lnTo>
                    <a:pt x="948" y="360"/>
                  </a:lnTo>
                  <a:lnTo>
                    <a:pt x="948" y="366"/>
                  </a:lnTo>
                  <a:lnTo>
                    <a:pt x="948" y="372"/>
                  </a:lnTo>
                  <a:lnTo>
                    <a:pt x="948" y="378"/>
                  </a:lnTo>
                  <a:lnTo>
                    <a:pt x="948" y="384"/>
                  </a:lnTo>
                  <a:lnTo>
                    <a:pt x="942" y="384"/>
                  </a:lnTo>
                  <a:lnTo>
                    <a:pt x="942" y="390"/>
                  </a:lnTo>
                  <a:lnTo>
                    <a:pt x="936" y="390"/>
                  </a:lnTo>
                  <a:lnTo>
                    <a:pt x="942" y="390"/>
                  </a:lnTo>
                  <a:lnTo>
                    <a:pt x="936" y="396"/>
                  </a:lnTo>
                  <a:lnTo>
                    <a:pt x="930" y="402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2" y="432"/>
                  </a:lnTo>
                  <a:lnTo>
                    <a:pt x="900" y="450"/>
                  </a:lnTo>
                  <a:lnTo>
                    <a:pt x="894" y="456"/>
                  </a:lnTo>
                  <a:lnTo>
                    <a:pt x="888" y="456"/>
                  </a:lnTo>
                  <a:lnTo>
                    <a:pt x="882" y="456"/>
                  </a:lnTo>
                  <a:lnTo>
                    <a:pt x="876" y="456"/>
                  </a:lnTo>
                  <a:lnTo>
                    <a:pt x="864" y="462"/>
                  </a:lnTo>
                  <a:lnTo>
                    <a:pt x="852" y="474"/>
                  </a:lnTo>
                  <a:lnTo>
                    <a:pt x="846" y="480"/>
                  </a:lnTo>
                  <a:lnTo>
                    <a:pt x="840" y="486"/>
                  </a:lnTo>
                  <a:lnTo>
                    <a:pt x="834" y="498"/>
                  </a:lnTo>
                  <a:lnTo>
                    <a:pt x="828" y="510"/>
                  </a:lnTo>
                  <a:lnTo>
                    <a:pt x="816" y="522"/>
                  </a:lnTo>
                  <a:lnTo>
                    <a:pt x="798" y="540"/>
                  </a:lnTo>
                  <a:lnTo>
                    <a:pt x="780" y="558"/>
                  </a:lnTo>
                  <a:lnTo>
                    <a:pt x="774" y="558"/>
                  </a:lnTo>
                  <a:lnTo>
                    <a:pt x="756" y="576"/>
                  </a:lnTo>
                  <a:lnTo>
                    <a:pt x="732" y="600"/>
                  </a:lnTo>
                  <a:lnTo>
                    <a:pt x="726" y="600"/>
                  </a:lnTo>
                  <a:lnTo>
                    <a:pt x="720" y="606"/>
                  </a:lnTo>
                  <a:lnTo>
                    <a:pt x="714" y="612"/>
                  </a:lnTo>
                  <a:lnTo>
                    <a:pt x="690" y="630"/>
                  </a:lnTo>
                  <a:lnTo>
                    <a:pt x="678" y="636"/>
                  </a:lnTo>
                  <a:lnTo>
                    <a:pt x="672" y="642"/>
                  </a:lnTo>
                  <a:lnTo>
                    <a:pt x="660" y="660"/>
                  </a:lnTo>
                  <a:lnTo>
                    <a:pt x="642" y="666"/>
                  </a:lnTo>
                  <a:lnTo>
                    <a:pt x="636" y="678"/>
                  </a:lnTo>
                  <a:lnTo>
                    <a:pt x="630" y="678"/>
                  </a:lnTo>
                  <a:lnTo>
                    <a:pt x="630" y="684"/>
                  </a:lnTo>
                  <a:lnTo>
                    <a:pt x="630" y="690"/>
                  </a:lnTo>
                  <a:lnTo>
                    <a:pt x="636" y="696"/>
                  </a:lnTo>
                  <a:lnTo>
                    <a:pt x="642" y="696"/>
                  </a:lnTo>
                  <a:lnTo>
                    <a:pt x="648" y="702"/>
                  </a:lnTo>
                  <a:lnTo>
                    <a:pt x="648" y="708"/>
                  </a:lnTo>
                  <a:lnTo>
                    <a:pt x="642" y="708"/>
                  </a:lnTo>
                  <a:lnTo>
                    <a:pt x="636" y="714"/>
                  </a:lnTo>
                  <a:lnTo>
                    <a:pt x="636" y="720"/>
                  </a:lnTo>
                  <a:lnTo>
                    <a:pt x="642" y="726"/>
                  </a:lnTo>
                  <a:lnTo>
                    <a:pt x="636" y="738"/>
                  </a:lnTo>
                  <a:lnTo>
                    <a:pt x="618" y="756"/>
                  </a:lnTo>
                  <a:lnTo>
                    <a:pt x="612" y="750"/>
                  </a:lnTo>
                  <a:lnTo>
                    <a:pt x="612" y="756"/>
                  </a:lnTo>
                  <a:lnTo>
                    <a:pt x="618" y="762"/>
                  </a:lnTo>
                  <a:lnTo>
                    <a:pt x="618" y="768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36" y="786"/>
                  </a:lnTo>
                  <a:lnTo>
                    <a:pt x="642" y="792"/>
                  </a:lnTo>
                  <a:lnTo>
                    <a:pt x="642" y="798"/>
                  </a:lnTo>
                  <a:lnTo>
                    <a:pt x="648" y="804"/>
                  </a:lnTo>
                  <a:lnTo>
                    <a:pt x="654" y="810"/>
                  </a:lnTo>
                  <a:lnTo>
                    <a:pt x="660" y="816"/>
                  </a:lnTo>
                  <a:lnTo>
                    <a:pt x="666" y="816"/>
                  </a:lnTo>
                  <a:lnTo>
                    <a:pt x="666" y="822"/>
                  </a:lnTo>
                  <a:lnTo>
                    <a:pt x="672" y="828"/>
                  </a:lnTo>
                  <a:lnTo>
                    <a:pt x="672" y="840"/>
                  </a:lnTo>
                  <a:lnTo>
                    <a:pt x="672" y="846"/>
                  </a:lnTo>
                  <a:lnTo>
                    <a:pt x="666" y="852"/>
                  </a:lnTo>
                  <a:lnTo>
                    <a:pt x="660" y="864"/>
                  </a:lnTo>
                  <a:lnTo>
                    <a:pt x="654" y="876"/>
                  </a:lnTo>
                  <a:lnTo>
                    <a:pt x="648" y="882"/>
                  </a:lnTo>
                  <a:lnTo>
                    <a:pt x="642" y="888"/>
                  </a:lnTo>
                  <a:lnTo>
                    <a:pt x="642" y="894"/>
                  </a:lnTo>
                  <a:lnTo>
                    <a:pt x="642" y="906"/>
                  </a:lnTo>
                  <a:lnTo>
                    <a:pt x="630" y="918"/>
                  </a:lnTo>
                  <a:lnTo>
                    <a:pt x="630" y="924"/>
                  </a:lnTo>
                  <a:lnTo>
                    <a:pt x="624" y="930"/>
                  </a:lnTo>
                  <a:lnTo>
                    <a:pt x="630" y="936"/>
                  </a:lnTo>
                  <a:lnTo>
                    <a:pt x="630" y="942"/>
                  </a:lnTo>
                  <a:lnTo>
                    <a:pt x="630" y="948"/>
                  </a:lnTo>
                  <a:lnTo>
                    <a:pt x="630" y="954"/>
                  </a:lnTo>
                  <a:lnTo>
                    <a:pt x="630" y="960"/>
                  </a:lnTo>
                  <a:lnTo>
                    <a:pt x="624" y="966"/>
                  </a:lnTo>
                  <a:lnTo>
                    <a:pt x="618" y="990"/>
                  </a:lnTo>
                  <a:lnTo>
                    <a:pt x="618" y="1008"/>
                  </a:lnTo>
                  <a:lnTo>
                    <a:pt x="612" y="1026"/>
                  </a:lnTo>
                  <a:lnTo>
                    <a:pt x="612" y="1038"/>
                  </a:lnTo>
                  <a:lnTo>
                    <a:pt x="612" y="1050"/>
                  </a:lnTo>
                  <a:lnTo>
                    <a:pt x="612" y="1056"/>
                  </a:lnTo>
                  <a:lnTo>
                    <a:pt x="612" y="1062"/>
                  </a:lnTo>
                  <a:lnTo>
                    <a:pt x="612" y="1068"/>
                  </a:lnTo>
                  <a:lnTo>
                    <a:pt x="612" y="1086"/>
                  </a:lnTo>
                  <a:lnTo>
                    <a:pt x="612" y="1092"/>
                  </a:lnTo>
                  <a:lnTo>
                    <a:pt x="606" y="1098"/>
                  </a:lnTo>
                  <a:lnTo>
                    <a:pt x="600" y="1110"/>
                  </a:lnTo>
                  <a:lnTo>
                    <a:pt x="600" y="1116"/>
                  </a:lnTo>
                  <a:lnTo>
                    <a:pt x="594" y="1122"/>
                  </a:lnTo>
                  <a:lnTo>
                    <a:pt x="594" y="1128"/>
                  </a:lnTo>
                  <a:lnTo>
                    <a:pt x="588" y="1134"/>
                  </a:lnTo>
                  <a:lnTo>
                    <a:pt x="582" y="1140"/>
                  </a:lnTo>
                  <a:lnTo>
                    <a:pt x="570" y="1140"/>
                  </a:lnTo>
                  <a:lnTo>
                    <a:pt x="564" y="1146"/>
                  </a:lnTo>
                  <a:lnTo>
                    <a:pt x="570" y="1146"/>
                  </a:lnTo>
                  <a:lnTo>
                    <a:pt x="564" y="1152"/>
                  </a:lnTo>
                  <a:lnTo>
                    <a:pt x="558" y="1158"/>
                  </a:lnTo>
                  <a:lnTo>
                    <a:pt x="552" y="1164"/>
                  </a:lnTo>
                  <a:lnTo>
                    <a:pt x="552" y="1170"/>
                  </a:lnTo>
                  <a:lnTo>
                    <a:pt x="546" y="1176"/>
                  </a:lnTo>
                  <a:lnTo>
                    <a:pt x="546" y="1182"/>
                  </a:lnTo>
                  <a:lnTo>
                    <a:pt x="546" y="1188"/>
                  </a:lnTo>
                  <a:lnTo>
                    <a:pt x="540" y="1188"/>
                  </a:lnTo>
                  <a:lnTo>
                    <a:pt x="540" y="1194"/>
                  </a:lnTo>
                  <a:lnTo>
                    <a:pt x="528" y="1206"/>
                  </a:lnTo>
                  <a:lnTo>
                    <a:pt x="528" y="1212"/>
                  </a:lnTo>
                  <a:lnTo>
                    <a:pt x="534" y="1212"/>
                  </a:lnTo>
                  <a:lnTo>
                    <a:pt x="540" y="1218"/>
                  </a:lnTo>
                  <a:lnTo>
                    <a:pt x="534" y="1218"/>
                  </a:lnTo>
                  <a:lnTo>
                    <a:pt x="528" y="1218"/>
                  </a:lnTo>
                  <a:lnTo>
                    <a:pt x="528" y="1224"/>
                  </a:lnTo>
                  <a:lnTo>
                    <a:pt x="522" y="1230"/>
                  </a:lnTo>
                  <a:lnTo>
                    <a:pt x="516" y="1236"/>
                  </a:lnTo>
                  <a:lnTo>
                    <a:pt x="522" y="1236"/>
                  </a:lnTo>
                  <a:lnTo>
                    <a:pt x="516" y="1242"/>
                  </a:lnTo>
                  <a:lnTo>
                    <a:pt x="510" y="1242"/>
                  </a:lnTo>
                  <a:lnTo>
                    <a:pt x="504" y="1248"/>
                  </a:lnTo>
                  <a:lnTo>
                    <a:pt x="510" y="1260"/>
                  </a:lnTo>
                  <a:lnTo>
                    <a:pt x="504" y="1266"/>
                  </a:lnTo>
                  <a:lnTo>
                    <a:pt x="492" y="1266"/>
                  </a:lnTo>
                  <a:lnTo>
                    <a:pt x="486" y="1272"/>
                  </a:lnTo>
                  <a:lnTo>
                    <a:pt x="486" y="1278"/>
                  </a:lnTo>
                  <a:lnTo>
                    <a:pt x="480" y="1278"/>
                  </a:lnTo>
                  <a:lnTo>
                    <a:pt x="480" y="1284"/>
                  </a:lnTo>
                  <a:lnTo>
                    <a:pt x="480" y="1290"/>
                  </a:lnTo>
                  <a:lnTo>
                    <a:pt x="480" y="1296"/>
                  </a:lnTo>
                  <a:lnTo>
                    <a:pt x="492" y="1302"/>
                  </a:lnTo>
                  <a:lnTo>
                    <a:pt x="492" y="1308"/>
                  </a:lnTo>
                  <a:lnTo>
                    <a:pt x="492" y="1320"/>
                  </a:lnTo>
                  <a:lnTo>
                    <a:pt x="492" y="1332"/>
                  </a:lnTo>
                  <a:lnTo>
                    <a:pt x="498" y="1344"/>
                  </a:lnTo>
                  <a:lnTo>
                    <a:pt x="498" y="1350"/>
                  </a:lnTo>
                  <a:lnTo>
                    <a:pt x="498" y="1356"/>
                  </a:lnTo>
                  <a:lnTo>
                    <a:pt x="504" y="1362"/>
                  </a:lnTo>
                  <a:lnTo>
                    <a:pt x="498" y="1362"/>
                  </a:lnTo>
                  <a:lnTo>
                    <a:pt x="498" y="1368"/>
                  </a:lnTo>
                  <a:lnTo>
                    <a:pt x="492" y="1368"/>
                  </a:lnTo>
                  <a:lnTo>
                    <a:pt x="492" y="1374"/>
                  </a:lnTo>
                  <a:lnTo>
                    <a:pt x="492" y="1380"/>
                  </a:lnTo>
                  <a:lnTo>
                    <a:pt x="498" y="1380"/>
                  </a:lnTo>
                  <a:lnTo>
                    <a:pt x="504" y="1380"/>
                  </a:lnTo>
                  <a:lnTo>
                    <a:pt x="498" y="1386"/>
                  </a:lnTo>
                  <a:lnTo>
                    <a:pt x="498" y="1392"/>
                  </a:lnTo>
                  <a:lnTo>
                    <a:pt x="498" y="1398"/>
                  </a:lnTo>
                  <a:lnTo>
                    <a:pt x="498" y="1404"/>
                  </a:lnTo>
                  <a:lnTo>
                    <a:pt x="498" y="1410"/>
                  </a:lnTo>
                  <a:lnTo>
                    <a:pt x="498" y="1416"/>
                  </a:lnTo>
                  <a:lnTo>
                    <a:pt x="492" y="1416"/>
                  </a:lnTo>
                  <a:lnTo>
                    <a:pt x="498" y="1416"/>
                  </a:lnTo>
                  <a:lnTo>
                    <a:pt x="504" y="1416"/>
                  </a:lnTo>
                  <a:lnTo>
                    <a:pt x="504" y="1422"/>
                  </a:lnTo>
                  <a:lnTo>
                    <a:pt x="510" y="1428"/>
                  </a:lnTo>
                  <a:lnTo>
                    <a:pt x="510" y="1434"/>
                  </a:lnTo>
                  <a:lnTo>
                    <a:pt x="510" y="1440"/>
                  </a:lnTo>
                  <a:lnTo>
                    <a:pt x="516" y="1446"/>
                  </a:lnTo>
                  <a:lnTo>
                    <a:pt x="516" y="1452"/>
                  </a:lnTo>
                  <a:lnTo>
                    <a:pt x="516" y="1458"/>
                  </a:lnTo>
                  <a:lnTo>
                    <a:pt x="516" y="1464"/>
                  </a:lnTo>
                  <a:lnTo>
                    <a:pt x="516" y="1482"/>
                  </a:lnTo>
                  <a:lnTo>
                    <a:pt x="516" y="1488"/>
                  </a:lnTo>
                  <a:lnTo>
                    <a:pt x="522" y="1488"/>
                  </a:lnTo>
                  <a:lnTo>
                    <a:pt x="522" y="1494"/>
                  </a:lnTo>
                  <a:lnTo>
                    <a:pt x="522" y="1500"/>
                  </a:lnTo>
                  <a:lnTo>
                    <a:pt x="516" y="1506"/>
                  </a:lnTo>
                  <a:lnTo>
                    <a:pt x="510" y="1500"/>
                  </a:lnTo>
                  <a:lnTo>
                    <a:pt x="504" y="1500"/>
                  </a:lnTo>
                  <a:lnTo>
                    <a:pt x="504" y="1494"/>
                  </a:lnTo>
                  <a:lnTo>
                    <a:pt x="504" y="1488"/>
                  </a:lnTo>
                  <a:lnTo>
                    <a:pt x="504" y="1482"/>
                  </a:lnTo>
                  <a:lnTo>
                    <a:pt x="504" y="1488"/>
                  </a:lnTo>
                  <a:lnTo>
                    <a:pt x="504" y="1494"/>
                  </a:lnTo>
                  <a:lnTo>
                    <a:pt x="504" y="1500"/>
                  </a:lnTo>
                  <a:lnTo>
                    <a:pt x="498" y="1500"/>
                  </a:lnTo>
                  <a:lnTo>
                    <a:pt x="492" y="1500"/>
                  </a:lnTo>
                  <a:lnTo>
                    <a:pt x="492" y="1494"/>
                  </a:lnTo>
                  <a:lnTo>
                    <a:pt x="492" y="1488"/>
                  </a:lnTo>
                  <a:lnTo>
                    <a:pt x="492" y="1494"/>
                  </a:lnTo>
                  <a:lnTo>
                    <a:pt x="492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00"/>
                  </a:lnTo>
                  <a:lnTo>
                    <a:pt x="510" y="1500"/>
                  </a:lnTo>
                  <a:lnTo>
                    <a:pt x="510" y="1506"/>
                  </a:lnTo>
                  <a:lnTo>
                    <a:pt x="516" y="1506"/>
                  </a:lnTo>
                  <a:lnTo>
                    <a:pt x="510" y="1506"/>
                  </a:lnTo>
                  <a:lnTo>
                    <a:pt x="510" y="1512"/>
                  </a:lnTo>
                  <a:lnTo>
                    <a:pt x="516" y="1506"/>
                  </a:lnTo>
                  <a:lnTo>
                    <a:pt x="522" y="1506"/>
                  </a:lnTo>
                  <a:lnTo>
                    <a:pt x="528" y="1506"/>
                  </a:lnTo>
                  <a:lnTo>
                    <a:pt x="528" y="1500"/>
                  </a:lnTo>
                  <a:lnTo>
                    <a:pt x="534" y="1500"/>
                  </a:lnTo>
                  <a:lnTo>
                    <a:pt x="534" y="1506"/>
                  </a:lnTo>
                  <a:lnTo>
                    <a:pt x="540" y="1512"/>
                  </a:lnTo>
                  <a:lnTo>
                    <a:pt x="540" y="1518"/>
                  </a:lnTo>
                  <a:lnTo>
                    <a:pt x="546" y="1518"/>
                  </a:lnTo>
                  <a:lnTo>
                    <a:pt x="540" y="1518"/>
                  </a:lnTo>
                  <a:lnTo>
                    <a:pt x="540" y="1524"/>
                  </a:lnTo>
                  <a:lnTo>
                    <a:pt x="534" y="1524"/>
                  </a:lnTo>
                  <a:lnTo>
                    <a:pt x="540" y="1524"/>
                  </a:lnTo>
                  <a:lnTo>
                    <a:pt x="546" y="1524"/>
                  </a:lnTo>
                  <a:lnTo>
                    <a:pt x="546" y="1530"/>
                  </a:lnTo>
                  <a:lnTo>
                    <a:pt x="540" y="1530"/>
                  </a:lnTo>
                  <a:lnTo>
                    <a:pt x="540" y="1536"/>
                  </a:lnTo>
                  <a:lnTo>
                    <a:pt x="534" y="1542"/>
                  </a:lnTo>
                  <a:lnTo>
                    <a:pt x="528" y="1542"/>
                  </a:lnTo>
                  <a:lnTo>
                    <a:pt x="522" y="1542"/>
                  </a:lnTo>
                  <a:lnTo>
                    <a:pt x="516" y="1542"/>
                  </a:lnTo>
                  <a:lnTo>
                    <a:pt x="510" y="1542"/>
                  </a:lnTo>
                  <a:lnTo>
                    <a:pt x="504" y="1542"/>
                  </a:lnTo>
                  <a:lnTo>
                    <a:pt x="492" y="1542"/>
                  </a:lnTo>
                  <a:lnTo>
                    <a:pt x="486" y="1536"/>
                  </a:lnTo>
                  <a:lnTo>
                    <a:pt x="480" y="1536"/>
                  </a:lnTo>
                  <a:lnTo>
                    <a:pt x="468" y="1536"/>
                  </a:lnTo>
                  <a:lnTo>
                    <a:pt x="468" y="1542"/>
                  </a:lnTo>
                  <a:lnTo>
                    <a:pt x="462" y="1542"/>
                  </a:lnTo>
                  <a:lnTo>
                    <a:pt x="456" y="1542"/>
                  </a:lnTo>
                  <a:lnTo>
                    <a:pt x="450" y="1542"/>
                  </a:lnTo>
                  <a:lnTo>
                    <a:pt x="444" y="1542"/>
                  </a:lnTo>
                  <a:lnTo>
                    <a:pt x="444" y="1536"/>
                  </a:lnTo>
                  <a:lnTo>
                    <a:pt x="450" y="1536"/>
                  </a:lnTo>
                  <a:lnTo>
                    <a:pt x="456" y="1536"/>
                  </a:lnTo>
                  <a:lnTo>
                    <a:pt x="450" y="1536"/>
                  </a:lnTo>
                  <a:lnTo>
                    <a:pt x="444" y="1536"/>
                  </a:lnTo>
                  <a:lnTo>
                    <a:pt x="444" y="1530"/>
                  </a:lnTo>
                  <a:lnTo>
                    <a:pt x="450" y="1530"/>
                  </a:lnTo>
                  <a:lnTo>
                    <a:pt x="456" y="1524"/>
                  </a:lnTo>
                  <a:lnTo>
                    <a:pt x="456" y="1518"/>
                  </a:lnTo>
                  <a:lnTo>
                    <a:pt x="462" y="1518"/>
                  </a:lnTo>
                  <a:lnTo>
                    <a:pt x="462" y="1524"/>
                  </a:lnTo>
                  <a:lnTo>
                    <a:pt x="468" y="1524"/>
                  </a:lnTo>
                  <a:lnTo>
                    <a:pt x="474" y="1524"/>
                  </a:lnTo>
                  <a:lnTo>
                    <a:pt x="474" y="1518"/>
                  </a:lnTo>
                  <a:lnTo>
                    <a:pt x="480" y="1518"/>
                  </a:lnTo>
                  <a:lnTo>
                    <a:pt x="474" y="1518"/>
                  </a:lnTo>
                  <a:lnTo>
                    <a:pt x="474" y="1524"/>
                  </a:lnTo>
                  <a:lnTo>
                    <a:pt x="468" y="1524"/>
                  </a:lnTo>
                  <a:lnTo>
                    <a:pt x="462" y="1518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62" y="1512"/>
                  </a:lnTo>
                  <a:lnTo>
                    <a:pt x="462" y="1506"/>
                  </a:lnTo>
                  <a:lnTo>
                    <a:pt x="456" y="1506"/>
                  </a:lnTo>
                  <a:lnTo>
                    <a:pt x="456" y="1512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50" y="1518"/>
                  </a:lnTo>
                  <a:lnTo>
                    <a:pt x="444" y="1518"/>
                  </a:lnTo>
                  <a:lnTo>
                    <a:pt x="444" y="1524"/>
                  </a:lnTo>
                  <a:lnTo>
                    <a:pt x="438" y="1524"/>
                  </a:lnTo>
                  <a:lnTo>
                    <a:pt x="438" y="1530"/>
                  </a:lnTo>
                  <a:lnTo>
                    <a:pt x="432" y="1530"/>
                  </a:lnTo>
                  <a:lnTo>
                    <a:pt x="432" y="1536"/>
                  </a:lnTo>
                  <a:lnTo>
                    <a:pt x="426" y="1530"/>
                  </a:lnTo>
                  <a:lnTo>
                    <a:pt x="420" y="1530"/>
                  </a:lnTo>
                  <a:lnTo>
                    <a:pt x="414" y="1530"/>
                  </a:lnTo>
                  <a:lnTo>
                    <a:pt x="414" y="1524"/>
                  </a:lnTo>
                  <a:lnTo>
                    <a:pt x="408" y="1518"/>
                  </a:lnTo>
                  <a:lnTo>
                    <a:pt x="414" y="1512"/>
                  </a:lnTo>
                  <a:lnTo>
                    <a:pt x="408" y="1512"/>
                  </a:lnTo>
                  <a:lnTo>
                    <a:pt x="408" y="1506"/>
                  </a:lnTo>
                  <a:lnTo>
                    <a:pt x="408" y="1500"/>
                  </a:lnTo>
                  <a:lnTo>
                    <a:pt x="408" y="1494"/>
                  </a:lnTo>
                  <a:lnTo>
                    <a:pt x="408" y="1488"/>
                  </a:lnTo>
                  <a:lnTo>
                    <a:pt x="408" y="1494"/>
                  </a:lnTo>
                  <a:lnTo>
                    <a:pt x="414" y="1494"/>
                  </a:lnTo>
                  <a:lnTo>
                    <a:pt x="420" y="1494"/>
                  </a:lnTo>
                  <a:lnTo>
                    <a:pt x="420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82"/>
                  </a:lnTo>
                  <a:lnTo>
                    <a:pt x="426" y="1476"/>
                  </a:lnTo>
                  <a:lnTo>
                    <a:pt x="432" y="1476"/>
                  </a:lnTo>
                  <a:lnTo>
                    <a:pt x="432" y="1470"/>
                  </a:lnTo>
                  <a:lnTo>
                    <a:pt x="438" y="1470"/>
                  </a:lnTo>
                  <a:lnTo>
                    <a:pt x="444" y="1464"/>
                  </a:lnTo>
                  <a:lnTo>
                    <a:pt x="450" y="1458"/>
                  </a:lnTo>
                  <a:lnTo>
                    <a:pt x="456" y="1458"/>
                  </a:lnTo>
                  <a:lnTo>
                    <a:pt x="462" y="1452"/>
                  </a:lnTo>
                  <a:lnTo>
                    <a:pt x="468" y="1452"/>
                  </a:lnTo>
                  <a:lnTo>
                    <a:pt x="468" y="1446"/>
                  </a:lnTo>
                  <a:lnTo>
                    <a:pt x="462" y="1440"/>
                  </a:lnTo>
                  <a:lnTo>
                    <a:pt x="456" y="1434"/>
                  </a:lnTo>
                  <a:lnTo>
                    <a:pt x="456" y="1428"/>
                  </a:lnTo>
                  <a:lnTo>
                    <a:pt x="456" y="1422"/>
                  </a:lnTo>
                  <a:lnTo>
                    <a:pt x="456" y="1416"/>
                  </a:lnTo>
                  <a:lnTo>
                    <a:pt x="450" y="1410"/>
                  </a:lnTo>
                  <a:lnTo>
                    <a:pt x="444" y="1410"/>
                  </a:lnTo>
                  <a:lnTo>
                    <a:pt x="450" y="1410"/>
                  </a:lnTo>
                  <a:lnTo>
                    <a:pt x="450" y="1404"/>
                  </a:lnTo>
                  <a:lnTo>
                    <a:pt x="456" y="1404"/>
                  </a:lnTo>
                  <a:lnTo>
                    <a:pt x="462" y="1404"/>
                  </a:lnTo>
                  <a:lnTo>
                    <a:pt x="468" y="1398"/>
                  </a:lnTo>
                  <a:lnTo>
                    <a:pt x="462" y="1398"/>
                  </a:lnTo>
                  <a:lnTo>
                    <a:pt x="462" y="1392"/>
                  </a:lnTo>
                  <a:lnTo>
                    <a:pt x="456" y="1392"/>
                  </a:lnTo>
                  <a:lnTo>
                    <a:pt x="456" y="1386"/>
                  </a:lnTo>
                  <a:lnTo>
                    <a:pt x="462" y="1386"/>
                  </a:lnTo>
                  <a:lnTo>
                    <a:pt x="468" y="1386"/>
                  </a:lnTo>
                  <a:lnTo>
                    <a:pt x="474" y="1386"/>
                  </a:lnTo>
                  <a:lnTo>
                    <a:pt x="468" y="1386"/>
                  </a:lnTo>
                  <a:lnTo>
                    <a:pt x="462" y="1386"/>
                  </a:lnTo>
                  <a:lnTo>
                    <a:pt x="456" y="1380"/>
                  </a:lnTo>
                  <a:lnTo>
                    <a:pt x="456" y="1374"/>
                  </a:lnTo>
                  <a:lnTo>
                    <a:pt x="462" y="1374"/>
                  </a:lnTo>
                  <a:lnTo>
                    <a:pt x="462" y="1368"/>
                  </a:lnTo>
                  <a:lnTo>
                    <a:pt x="456" y="1374"/>
                  </a:lnTo>
                  <a:lnTo>
                    <a:pt x="456" y="1368"/>
                  </a:lnTo>
                  <a:lnTo>
                    <a:pt x="456" y="1362"/>
                  </a:lnTo>
                  <a:lnTo>
                    <a:pt x="450" y="1362"/>
                  </a:lnTo>
                  <a:lnTo>
                    <a:pt x="450" y="1356"/>
                  </a:lnTo>
                  <a:lnTo>
                    <a:pt x="450" y="1350"/>
                  </a:lnTo>
                  <a:lnTo>
                    <a:pt x="450" y="1344"/>
                  </a:lnTo>
                  <a:lnTo>
                    <a:pt x="456" y="1344"/>
                  </a:lnTo>
                  <a:lnTo>
                    <a:pt x="456" y="1338"/>
                  </a:lnTo>
                  <a:lnTo>
                    <a:pt x="462" y="1338"/>
                  </a:lnTo>
                  <a:lnTo>
                    <a:pt x="462" y="1332"/>
                  </a:lnTo>
                  <a:lnTo>
                    <a:pt x="456" y="1332"/>
                  </a:lnTo>
                  <a:lnTo>
                    <a:pt x="456" y="1326"/>
                  </a:lnTo>
                  <a:lnTo>
                    <a:pt x="450" y="1326"/>
                  </a:lnTo>
                  <a:lnTo>
                    <a:pt x="444" y="1326"/>
                  </a:lnTo>
                  <a:lnTo>
                    <a:pt x="444" y="1332"/>
                  </a:lnTo>
                  <a:lnTo>
                    <a:pt x="438" y="1332"/>
                  </a:lnTo>
                  <a:lnTo>
                    <a:pt x="438" y="1338"/>
                  </a:lnTo>
                  <a:lnTo>
                    <a:pt x="432" y="1338"/>
                  </a:lnTo>
                  <a:lnTo>
                    <a:pt x="432" y="1344"/>
                  </a:lnTo>
                  <a:lnTo>
                    <a:pt x="432" y="1350"/>
                  </a:lnTo>
                  <a:lnTo>
                    <a:pt x="426" y="1356"/>
                  </a:lnTo>
                  <a:lnTo>
                    <a:pt x="426" y="1368"/>
                  </a:lnTo>
                  <a:lnTo>
                    <a:pt x="426" y="1374"/>
                  </a:lnTo>
                  <a:lnTo>
                    <a:pt x="426" y="1380"/>
                  </a:lnTo>
                  <a:lnTo>
                    <a:pt x="432" y="1386"/>
                  </a:lnTo>
                  <a:lnTo>
                    <a:pt x="432" y="1392"/>
                  </a:lnTo>
                  <a:lnTo>
                    <a:pt x="432" y="1398"/>
                  </a:lnTo>
                  <a:lnTo>
                    <a:pt x="426" y="1398"/>
                  </a:lnTo>
                  <a:lnTo>
                    <a:pt x="420" y="1398"/>
                  </a:lnTo>
                  <a:lnTo>
                    <a:pt x="414" y="1398"/>
                  </a:lnTo>
                  <a:lnTo>
                    <a:pt x="420" y="1398"/>
                  </a:lnTo>
                  <a:lnTo>
                    <a:pt x="414" y="1404"/>
                  </a:lnTo>
                  <a:lnTo>
                    <a:pt x="420" y="1404"/>
                  </a:lnTo>
                  <a:lnTo>
                    <a:pt x="414" y="1404"/>
                  </a:lnTo>
                  <a:lnTo>
                    <a:pt x="408" y="1404"/>
                  </a:lnTo>
                  <a:lnTo>
                    <a:pt x="402" y="1410"/>
                  </a:lnTo>
                  <a:lnTo>
                    <a:pt x="402" y="1404"/>
                  </a:lnTo>
                  <a:lnTo>
                    <a:pt x="396" y="1404"/>
                  </a:lnTo>
                  <a:lnTo>
                    <a:pt x="390" y="1404"/>
                  </a:lnTo>
                  <a:lnTo>
                    <a:pt x="384" y="1404"/>
                  </a:lnTo>
                  <a:lnTo>
                    <a:pt x="384" y="1398"/>
                  </a:lnTo>
                  <a:lnTo>
                    <a:pt x="384" y="1392"/>
                  </a:lnTo>
                  <a:lnTo>
                    <a:pt x="390" y="1392"/>
                  </a:lnTo>
                  <a:lnTo>
                    <a:pt x="390" y="1386"/>
                  </a:lnTo>
                  <a:lnTo>
                    <a:pt x="390" y="1380"/>
                  </a:lnTo>
                  <a:lnTo>
                    <a:pt x="396" y="1380"/>
                  </a:lnTo>
                  <a:lnTo>
                    <a:pt x="402" y="1380"/>
                  </a:lnTo>
                  <a:lnTo>
                    <a:pt x="408" y="1380"/>
                  </a:lnTo>
                  <a:lnTo>
                    <a:pt x="408" y="1374"/>
                  </a:lnTo>
                  <a:lnTo>
                    <a:pt x="414" y="1374"/>
                  </a:lnTo>
                  <a:lnTo>
                    <a:pt x="414" y="1368"/>
                  </a:lnTo>
                  <a:lnTo>
                    <a:pt x="414" y="1362"/>
                  </a:lnTo>
                  <a:lnTo>
                    <a:pt x="414" y="1368"/>
                  </a:lnTo>
                  <a:lnTo>
                    <a:pt x="414" y="1374"/>
                  </a:lnTo>
                  <a:lnTo>
                    <a:pt x="408" y="1374"/>
                  </a:lnTo>
                  <a:lnTo>
                    <a:pt x="402" y="1380"/>
                  </a:lnTo>
                  <a:lnTo>
                    <a:pt x="396" y="1380"/>
                  </a:lnTo>
                  <a:lnTo>
                    <a:pt x="396" y="1374"/>
                  </a:lnTo>
                  <a:lnTo>
                    <a:pt x="390" y="1374"/>
                  </a:lnTo>
                  <a:lnTo>
                    <a:pt x="390" y="1368"/>
                  </a:lnTo>
                  <a:lnTo>
                    <a:pt x="384" y="1368"/>
                  </a:lnTo>
                  <a:lnTo>
                    <a:pt x="384" y="1374"/>
                  </a:lnTo>
                  <a:lnTo>
                    <a:pt x="378" y="1374"/>
                  </a:lnTo>
                  <a:lnTo>
                    <a:pt x="378" y="1380"/>
                  </a:lnTo>
                  <a:lnTo>
                    <a:pt x="372" y="1380"/>
                  </a:lnTo>
                  <a:lnTo>
                    <a:pt x="366" y="1386"/>
                  </a:lnTo>
                  <a:lnTo>
                    <a:pt x="360" y="1386"/>
                  </a:lnTo>
                  <a:lnTo>
                    <a:pt x="354" y="1386"/>
                  </a:lnTo>
                  <a:lnTo>
                    <a:pt x="354" y="1380"/>
                  </a:lnTo>
                  <a:lnTo>
                    <a:pt x="348" y="1380"/>
                  </a:lnTo>
                  <a:lnTo>
                    <a:pt x="342" y="1380"/>
                  </a:lnTo>
                  <a:lnTo>
                    <a:pt x="342" y="1374"/>
                  </a:lnTo>
                  <a:lnTo>
                    <a:pt x="336" y="1368"/>
                  </a:lnTo>
                  <a:lnTo>
                    <a:pt x="342" y="1368"/>
                  </a:lnTo>
                  <a:lnTo>
                    <a:pt x="342" y="1362"/>
                  </a:lnTo>
                  <a:lnTo>
                    <a:pt x="348" y="1362"/>
                  </a:lnTo>
                  <a:lnTo>
                    <a:pt x="354" y="1362"/>
                  </a:lnTo>
                  <a:lnTo>
                    <a:pt x="354" y="1356"/>
                  </a:lnTo>
                  <a:lnTo>
                    <a:pt x="348" y="1356"/>
                  </a:lnTo>
                  <a:lnTo>
                    <a:pt x="348" y="1350"/>
                  </a:lnTo>
                  <a:lnTo>
                    <a:pt x="348" y="1344"/>
                  </a:lnTo>
                  <a:lnTo>
                    <a:pt x="354" y="1338"/>
                  </a:lnTo>
                  <a:lnTo>
                    <a:pt x="354" y="1332"/>
                  </a:lnTo>
                  <a:lnTo>
                    <a:pt x="354" y="1326"/>
                  </a:lnTo>
                  <a:lnTo>
                    <a:pt x="354" y="1320"/>
                  </a:lnTo>
                  <a:lnTo>
                    <a:pt x="354" y="1314"/>
                  </a:lnTo>
                  <a:lnTo>
                    <a:pt x="354" y="1308"/>
                  </a:lnTo>
                  <a:lnTo>
                    <a:pt x="348" y="1308"/>
                  </a:lnTo>
                  <a:lnTo>
                    <a:pt x="348" y="1302"/>
                  </a:lnTo>
                  <a:lnTo>
                    <a:pt x="342" y="1296"/>
                  </a:lnTo>
                  <a:lnTo>
                    <a:pt x="336" y="1296"/>
                  </a:lnTo>
                  <a:lnTo>
                    <a:pt x="336" y="1290"/>
                  </a:lnTo>
                  <a:lnTo>
                    <a:pt x="330" y="1290"/>
                  </a:lnTo>
                  <a:lnTo>
                    <a:pt x="324" y="1290"/>
                  </a:lnTo>
                  <a:lnTo>
                    <a:pt x="324" y="1284"/>
                  </a:lnTo>
                  <a:lnTo>
                    <a:pt x="318" y="1284"/>
                  </a:lnTo>
                  <a:lnTo>
                    <a:pt x="318" y="1278"/>
                  </a:lnTo>
                  <a:lnTo>
                    <a:pt x="312" y="1278"/>
                  </a:lnTo>
                  <a:lnTo>
                    <a:pt x="312" y="1272"/>
                  </a:lnTo>
                  <a:lnTo>
                    <a:pt x="312" y="1278"/>
                  </a:lnTo>
                  <a:lnTo>
                    <a:pt x="318" y="1284"/>
                  </a:lnTo>
                  <a:lnTo>
                    <a:pt x="324" y="1290"/>
                  </a:lnTo>
                  <a:lnTo>
                    <a:pt x="330" y="1290"/>
                  </a:lnTo>
                  <a:lnTo>
                    <a:pt x="330" y="1296"/>
                  </a:lnTo>
                  <a:lnTo>
                    <a:pt x="336" y="1296"/>
                  </a:lnTo>
                  <a:lnTo>
                    <a:pt x="336" y="1302"/>
                  </a:lnTo>
                  <a:lnTo>
                    <a:pt x="342" y="1302"/>
                  </a:lnTo>
                  <a:lnTo>
                    <a:pt x="348" y="1302"/>
                  </a:lnTo>
                  <a:lnTo>
                    <a:pt x="348" y="1308"/>
                  </a:lnTo>
                  <a:lnTo>
                    <a:pt x="348" y="1314"/>
                  </a:lnTo>
                  <a:lnTo>
                    <a:pt x="354" y="1314"/>
                  </a:lnTo>
                  <a:lnTo>
                    <a:pt x="354" y="1320"/>
                  </a:lnTo>
                  <a:lnTo>
                    <a:pt x="354" y="1326"/>
                  </a:lnTo>
                  <a:lnTo>
                    <a:pt x="348" y="1326"/>
                  </a:lnTo>
                  <a:lnTo>
                    <a:pt x="348" y="1332"/>
                  </a:lnTo>
                  <a:lnTo>
                    <a:pt x="348" y="1338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2" y="1350"/>
                  </a:lnTo>
                  <a:lnTo>
                    <a:pt x="336" y="1350"/>
                  </a:lnTo>
                  <a:lnTo>
                    <a:pt x="330" y="1350"/>
                  </a:lnTo>
                  <a:lnTo>
                    <a:pt x="330" y="1356"/>
                  </a:lnTo>
                  <a:lnTo>
                    <a:pt x="330" y="1350"/>
                  </a:lnTo>
                  <a:lnTo>
                    <a:pt x="324" y="1350"/>
                  </a:lnTo>
                  <a:lnTo>
                    <a:pt x="318" y="1344"/>
                  </a:lnTo>
                  <a:lnTo>
                    <a:pt x="318" y="1350"/>
                  </a:lnTo>
                  <a:lnTo>
                    <a:pt x="312" y="1344"/>
                  </a:lnTo>
                  <a:lnTo>
                    <a:pt x="312" y="1338"/>
                  </a:lnTo>
                  <a:lnTo>
                    <a:pt x="306" y="1338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6" y="1326"/>
                  </a:lnTo>
                  <a:lnTo>
                    <a:pt x="306" y="1320"/>
                  </a:lnTo>
                  <a:lnTo>
                    <a:pt x="306" y="1326"/>
                  </a:lnTo>
                  <a:lnTo>
                    <a:pt x="312" y="1326"/>
                  </a:lnTo>
                  <a:lnTo>
                    <a:pt x="312" y="1320"/>
                  </a:lnTo>
                  <a:lnTo>
                    <a:pt x="306" y="1320"/>
                  </a:lnTo>
                  <a:lnTo>
                    <a:pt x="300" y="1320"/>
                  </a:lnTo>
                  <a:lnTo>
                    <a:pt x="294" y="1320"/>
                  </a:lnTo>
                  <a:lnTo>
                    <a:pt x="294" y="1314"/>
                  </a:lnTo>
                  <a:lnTo>
                    <a:pt x="288" y="1314"/>
                  </a:lnTo>
                  <a:lnTo>
                    <a:pt x="288" y="1308"/>
                  </a:lnTo>
                  <a:lnTo>
                    <a:pt x="288" y="1302"/>
                  </a:lnTo>
                  <a:lnTo>
                    <a:pt x="294" y="1302"/>
                  </a:lnTo>
                  <a:lnTo>
                    <a:pt x="294" y="1296"/>
                  </a:lnTo>
                  <a:lnTo>
                    <a:pt x="288" y="1296"/>
                  </a:lnTo>
                  <a:lnTo>
                    <a:pt x="288" y="1290"/>
                  </a:lnTo>
                  <a:lnTo>
                    <a:pt x="288" y="1296"/>
                  </a:lnTo>
                  <a:lnTo>
                    <a:pt x="294" y="1302"/>
                  </a:lnTo>
                  <a:lnTo>
                    <a:pt x="288" y="1302"/>
                  </a:lnTo>
                  <a:lnTo>
                    <a:pt x="282" y="1296"/>
                  </a:lnTo>
                  <a:lnTo>
                    <a:pt x="276" y="1296"/>
                  </a:lnTo>
                  <a:lnTo>
                    <a:pt x="276" y="1290"/>
                  </a:lnTo>
                  <a:lnTo>
                    <a:pt x="270" y="1290"/>
                  </a:lnTo>
                  <a:lnTo>
                    <a:pt x="264" y="1284"/>
                  </a:lnTo>
                  <a:lnTo>
                    <a:pt x="264" y="1278"/>
                  </a:lnTo>
                  <a:lnTo>
                    <a:pt x="264" y="1272"/>
                  </a:lnTo>
                  <a:lnTo>
                    <a:pt x="264" y="1266"/>
                  </a:lnTo>
                  <a:lnTo>
                    <a:pt x="258" y="1266"/>
                  </a:lnTo>
                  <a:lnTo>
                    <a:pt x="252" y="1266"/>
                  </a:lnTo>
                  <a:lnTo>
                    <a:pt x="246" y="1260"/>
                  </a:lnTo>
                  <a:lnTo>
                    <a:pt x="240" y="1254"/>
                  </a:lnTo>
                  <a:lnTo>
                    <a:pt x="240" y="1260"/>
                  </a:lnTo>
                  <a:lnTo>
                    <a:pt x="240" y="1266"/>
                  </a:lnTo>
                  <a:lnTo>
                    <a:pt x="240" y="1272"/>
                  </a:lnTo>
                  <a:lnTo>
                    <a:pt x="246" y="1272"/>
                  </a:lnTo>
                  <a:lnTo>
                    <a:pt x="246" y="1278"/>
                  </a:lnTo>
                  <a:lnTo>
                    <a:pt x="246" y="1284"/>
                  </a:lnTo>
                  <a:lnTo>
                    <a:pt x="252" y="1284"/>
                  </a:lnTo>
                  <a:lnTo>
                    <a:pt x="252" y="1290"/>
                  </a:lnTo>
                  <a:lnTo>
                    <a:pt x="258" y="1296"/>
                  </a:lnTo>
                  <a:lnTo>
                    <a:pt x="264" y="1302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58" y="1314"/>
                  </a:lnTo>
                  <a:lnTo>
                    <a:pt x="258" y="1308"/>
                  </a:lnTo>
                  <a:lnTo>
                    <a:pt x="252" y="1308"/>
                  </a:lnTo>
                  <a:lnTo>
                    <a:pt x="252" y="1302"/>
                  </a:lnTo>
                  <a:lnTo>
                    <a:pt x="246" y="1302"/>
                  </a:lnTo>
                  <a:lnTo>
                    <a:pt x="246" y="1296"/>
                  </a:lnTo>
                  <a:lnTo>
                    <a:pt x="240" y="1296"/>
                  </a:lnTo>
                  <a:lnTo>
                    <a:pt x="240" y="1290"/>
                  </a:lnTo>
                  <a:lnTo>
                    <a:pt x="234" y="1284"/>
                  </a:lnTo>
                  <a:lnTo>
                    <a:pt x="234" y="1278"/>
                  </a:lnTo>
                  <a:close/>
                  <a:moveTo>
                    <a:pt x="444" y="1332"/>
                  </a:moveTo>
                  <a:lnTo>
                    <a:pt x="450" y="1326"/>
                  </a:lnTo>
                  <a:lnTo>
                    <a:pt x="456" y="1326"/>
                  </a:lnTo>
                  <a:lnTo>
                    <a:pt x="456" y="1332"/>
                  </a:lnTo>
                  <a:lnTo>
                    <a:pt x="456" y="1338"/>
                  </a:lnTo>
                  <a:lnTo>
                    <a:pt x="450" y="1338"/>
                  </a:lnTo>
                  <a:lnTo>
                    <a:pt x="444" y="1338"/>
                  </a:lnTo>
                  <a:lnTo>
                    <a:pt x="444" y="1332"/>
                  </a:lnTo>
                  <a:close/>
                  <a:moveTo>
                    <a:pt x="444" y="1368"/>
                  </a:moveTo>
                  <a:lnTo>
                    <a:pt x="456" y="1368"/>
                  </a:lnTo>
                  <a:lnTo>
                    <a:pt x="456" y="1374"/>
                  </a:lnTo>
                  <a:lnTo>
                    <a:pt x="444" y="1374"/>
                  </a:lnTo>
                  <a:lnTo>
                    <a:pt x="444" y="1368"/>
                  </a:lnTo>
                  <a:close/>
                  <a:moveTo>
                    <a:pt x="444" y="1386"/>
                  </a:moveTo>
                  <a:lnTo>
                    <a:pt x="444" y="1380"/>
                  </a:lnTo>
                  <a:lnTo>
                    <a:pt x="444" y="1374"/>
                  </a:lnTo>
                  <a:lnTo>
                    <a:pt x="444" y="1380"/>
                  </a:lnTo>
                  <a:lnTo>
                    <a:pt x="450" y="1380"/>
                  </a:lnTo>
                  <a:lnTo>
                    <a:pt x="456" y="1380"/>
                  </a:lnTo>
                  <a:lnTo>
                    <a:pt x="456" y="1386"/>
                  </a:lnTo>
                  <a:lnTo>
                    <a:pt x="456" y="1392"/>
                  </a:lnTo>
                  <a:lnTo>
                    <a:pt x="462" y="1392"/>
                  </a:lnTo>
                  <a:lnTo>
                    <a:pt x="462" y="1398"/>
                  </a:lnTo>
                  <a:lnTo>
                    <a:pt x="462" y="1404"/>
                  </a:lnTo>
                  <a:lnTo>
                    <a:pt x="456" y="1404"/>
                  </a:lnTo>
                  <a:lnTo>
                    <a:pt x="450" y="1404"/>
                  </a:lnTo>
                  <a:lnTo>
                    <a:pt x="450" y="1398"/>
                  </a:lnTo>
                  <a:lnTo>
                    <a:pt x="444" y="1398"/>
                  </a:lnTo>
                  <a:lnTo>
                    <a:pt x="444" y="1392"/>
                  </a:lnTo>
                  <a:lnTo>
                    <a:pt x="444" y="1386"/>
                  </a:lnTo>
                  <a:close/>
                  <a:moveTo>
                    <a:pt x="438" y="1362"/>
                  </a:moveTo>
                  <a:lnTo>
                    <a:pt x="444" y="1356"/>
                  </a:lnTo>
                  <a:lnTo>
                    <a:pt x="450" y="1356"/>
                  </a:lnTo>
                  <a:lnTo>
                    <a:pt x="450" y="1362"/>
                  </a:lnTo>
                  <a:lnTo>
                    <a:pt x="450" y="1368"/>
                  </a:lnTo>
                  <a:lnTo>
                    <a:pt x="444" y="1368"/>
                  </a:lnTo>
                  <a:lnTo>
                    <a:pt x="444" y="1362"/>
                  </a:lnTo>
                  <a:lnTo>
                    <a:pt x="438" y="1362"/>
                  </a:lnTo>
                  <a:close/>
                  <a:moveTo>
                    <a:pt x="438" y="1350"/>
                  </a:moveTo>
                  <a:lnTo>
                    <a:pt x="438" y="1344"/>
                  </a:lnTo>
                  <a:lnTo>
                    <a:pt x="438" y="1338"/>
                  </a:lnTo>
                  <a:lnTo>
                    <a:pt x="444" y="1338"/>
                  </a:lnTo>
                  <a:lnTo>
                    <a:pt x="450" y="1338"/>
                  </a:lnTo>
                  <a:lnTo>
                    <a:pt x="456" y="1338"/>
                  </a:lnTo>
                  <a:lnTo>
                    <a:pt x="450" y="1344"/>
                  </a:lnTo>
                  <a:lnTo>
                    <a:pt x="444" y="1350"/>
                  </a:lnTo>
                  <a:lnTo>
                    <a:pt x="438" y="1350"/>
                  </a:lnTo>
                  <a:close/>
                  <a:moveTo>
                    <a:pt x="432" y="1380"/>
                  </a:moveTo>
                  <a:lnTo>
                    <a:pt x="432" y="1368"/>
                  </a:lnTo>
                  <a:lnTo>
                    <a:pt x="432" y="1362"/>
                  </a:lnTo>
                  <a:lnTo>
                    <a:pt x="432" y="1356"/>
                  </a:lnTo>
                  <a:lnTo>
                    <a:pt x="438" y="1356"/>
                  </a:lnTo>
                  <a:lnTo>
                    <a:pt x="438" y="1362"/>
                  </a:lnTo>
                  <a:lnTo>
                    <a:pt x="438" y="1368"/>
                  </a:lnTo>
                  <a:lnTo>
                    <a:pt x="438" y="1374"/>
                  </a:lnTo>
                  <a:lnTo>
                    <a:pt x="438" y="1380"/>
                  </a:lnTo>
                  <a:lnTo>
                    <a:pt x="438" y="1386"/>
                  </a:lnTo>
                  <a:lnTo>
                    <a:pt x="438" y="1380"/>
                  </a:lnTo>
                  <a:lnTo>
                    <a:pt x="432" y="1380"/>
                  </a:lnTo>
                  <a:close/>
                  <a:moveTo>
                    <a:pt x="246" y="1272"/>
                  </a:moveTo>
                  <a:lnTo>
                    <a:pt x="252" y="1272"/>
                  </a:lnTo>
                  <a:lnTo>
                    <a:pt x="252" y="1278"/>
                  </a:lnTo>
                  <a:lnTo>
                    <a:pt x="246" y="1278"/>
                  </a:lnTo>
                  <a:lnTo>
                    <a:pt x="246" y="1272"/>
                  </a:lnTo>
                  <a:close/>
                  <a:moveTo>
                    <a:pt x="426" y="1416"/>
                  </a:moveTo>
                  <a:lnTo>
                    <a:pt x="432" y="1410"/>
                  </a:lnTo>
                  <a:lnTo>
                    <a:pt x="438" y="1410"/>
                  </a:lnTo>
                  <a:lnTo>
                    <a:pt x="438" y="1416"/>
                  </a:lnTo>
                  <a:lnTo>
                    <a:pt x="438" y="1422"/>
                  </a:lnTo>
                  <a:lnTo>
                    <a:pt x="432" y="1422"/>
                  </a:lnTo>
                  <a:lnTo>
                    <a:pt x="426" y="1422"/>
                  </a:lnTo>
                  <a:lnTo>
                    <a:pt x="426" y="1416"/>
                  </a:lnTo>
                  <a:close/>
                  <a:moveTo>
                    <a:pt x="246" y="1266"/>
                  </a:moveTo>
                  <a:lnTo>
                    <a:pt x="252" y="1266"/>
                  </a:lnTo>
                  <a:lnTo>
                    <a:pt x="258" y="1272"/>
                  </a:lnTo>
                  <a:lnTo>
                    <a:pt x="258" y="1278"/>
                  </a:lnTo>
                  <a:lnTo>
                    <a:pt x="258" y="1284"/>
                  </a:lnTo>
                  <a:lnTo>
                    <a:pt x="252" y="1284"/>
                  </a:lnTo>
                  <a:lnTo>
                    <a:pt x="252" y="1278"/>
                  </a:lnTo>
                  <a:lnTo>
                    <a:pt x="252" y="1272"/>
                  </a:lnTo>
                  <a:lnTo>
                    <a:pt x="252" y="1266"/>
                  </a:lnTo>
                  <a:lnTo>
                    <a:pt x="246" y="1266"/>
                  </a:lnTo>
                  <a:close/>
                  <a:moveTo>
                    <a:pt x="408" y="1458"/>
                  </a:moveTo>
                  <a:lnTo>
                    <a:pt x="408" y="1452"/>
                  </a:lnTo>
                  <a:lnTo>
                    <a:pt x="414" y="1452"/>
                  </a:lnTo>
                  <a:lnTo>
                    <a:pt x="414" y="1446"/>
                  </a:lnTo>
                  <a:lnTo>
                    <a:pt x="414" y="1440"/>
                  </a:lnTo>
                  <a:lnTo>
                    <a:pt x="420" y="1440"/>
                  </a:lnTo>
                  <a:lnTo>
                    <a:pt x="420" y="1434"/>
                  </a:lnTo>
                  <a:lnTo>
                    <a:pt x="420" y="1428"/>
                  </a:lnTo>
                  <a:lnTo>
                    <a:pt x="420" y="1422"/>
                  </a:lnTo>
                  <a:lnTo>
                    <a:pt x="426" y="1422"/>
                  </a:lnTo>
                  <a:lnTo>
                    <a:pt x="432" y="1428"/>
                  </a:lnTo>
                  <a:lnTo>
                    <a:pt x="438" y="1428"/>
                  </a:lnTo>
                  <a:lnTo>
                    <a:pt x="438" y="1434"/>
                  </a:lnTo>
                  <a:lnTo>
                    <a:pt x="438" y="1428"/>
                  </a:lnTo>
                  <a:lnTo>
                    <a:pt x="438" y="1422"/>
                  </a:lnTo>
                  <a:lnTo>
                    <a:pt x="444" y="1416"/>
                  </a:lnTo>
                  <a:lnTo>
                    <a:pt x="444" y="1410"/>
                  </a:lnTo>
                  <a:lnTo>
                    <a:pt x="450" y="1416"/>
                  </a:lnTo>
                  <a:lnTo>
                    <a:pt x="456" y="1416"/>
                  </a:lnTo>
                  <a:lnTo>
                    <a:pt x="456" y="1422"/>
                  </a:lnTo>
                  <a:lnTo>
                    <a:pt x="456" y="1428"/>
                  </a:lnTo>
                  <a:lnTo>
                    <a:pt x="456" y="1434"/>
                  </a:lnTo>
                  <a:lnTo>
                    <a:pt x="456" y="1440"/>
                  </a:lnTo>
                  <a:lnTo>
                    <a:pt x="462" y="1440"/>
                  </a:lnTo>
                  <a:lnTo>
                    <a:pt x="462" y="1446"/>
                  </a:lnTo>
                  <a:lnTo>
                    <a:pt x="462" y="1452"/>
                  </a:lnTo>
                  <a:lnTo>
                    <a:pt x="456" y="1452"/>
                  </a:lnTo>
                  <a:lnTo>
                    <a:pt x="450" y="1452"/>
                  </a:lnTo>
                  <a:lnTo>
                    <a:pt x="444" y="1446"/>
                  </a:lnTo>
                  <a:lnTo>
                    <a:pt x="444" y="1452"/>
                  </a:lnTo>
                  <a:lnTo>
                    <a:pt x="450" y="1452"/>
                  </a:lnTo>
                  <a:lnTo>
                    <a:pt x="450" y="1458"/>
                  </a:lnTo>
                  <a:lnTo>
                    <a:pt x="444" y="1458"/>
                  </a:lnTo>
                  <a:lnTo>
                    <a:pt x="438" y="1464"/>
                  </a:lnTo>
                  <a:lnTo>
                    <a:pt x="438" y="1458"/>
                  </a:lnTo>
                  <a:lnTo>
                    <a:pt x="432" y="1458"/>
                  </a:lnTo>
                  <a:lnTo>
                    <a:pt x="426" y="1458"/>
                  </a:lnTo>
                  <a:lnTo>
                    <a:pt x="432" y="1458"/>
                  </a:lnTo>
                  <a:lnTo>
                    <a:pt x="438" y="1464"/>
                  </a:lnTo>
                  <a:lnTo>
                    <a:pt x="432" y="1464"/>
                  </a:lnTo>
                  <a:lnTo>
                    <a:pt x="432" y="1470"/>
                  </a:lnTo>
                  <a:lnTo>
                    <a:pt x="426" y="1470"/>
                  </a:lnTo>
                  <a:lnTo>
                    <a:pt x="420" y="1476"/>
                  </a:lnTo>
                  <a:lnTo>
                    <a:pt x="420" y="1470"/>
                  </a:lnTo>
                  <a:lnTo>
                    <a:pt x="414" y="1470"/>
                  </a:lnTo>
                  <a:lnTo>
                    <a:pt x="414" y="1464"/>
                  </a:lnTo>
                  <a:lnTo>
                    <a:pt x="414" y="1458"/>
                  </a:lnTo>
                  <a:lnTo>
                    <a:pt x="408" y="1458"/>
                  </a:lnTo>
                  <a:close/>
                  <a:moveTo>
                    <a:pt x="270" y="1326"/>
                  </a:moveTo>
                  <a:lnTo>
                    <a:pt x="270" y="1320"/>
                  </a:lnTo>
                  <a:lnTo>
                    <a:pt x="276" y="1320"/>
                  </a:lnTo>
                  <a:lnTo>
                    <a:pt x="282" y="1326"/>
                  </a:lnTo>
                  <a:lnTo>
                    <a:pt x="288" y="1326"/>
                  </a:lnTo>
                  <a:lnTo>
                    <a:pt x="288" y="1332"/>
                  </a:lnTo>
                  <a:lnTo>
                    <a:pt x="288" y="1338"/>
                  </a:lnTo>
                  <a:lnTo>
                    <a:pt x="288" y="1344"/>
                  </a:lnTo>
                  <a:lnTo>
                    <a:pt x="282" y="1344"/>
                  </a:lnTo>
                  <a:lnTo>
                    <a:pt x="282" y="1338"/>
                  </a:lnTo>
                  <a:lnTo>
                    <a:pt x="276" y="1338"/>
                  </a:lnTo>
                  <a:lnTo>
                    <a:pt x="276" y="1332"/>
                  </a:lnTo>
                  <a:lnTo>
                    <a:pt x="270" y="1332"/>
                  </a:lnTo>
                  <a:lnTo>
                    <a:pt x="270" y="1326"/>
                  </a:lnTo>
                  <a:close/>
                  <a:moveTo>
                    <a:pt x="288" y="1458"/>
                  </a:moveTo>
                  <a:lnTo>
                    <a:pt x="294" y="1458"/>
                  </a:lnTo>
                  <a:lnTo>
                    <a:pt x="294" y="1452"/>
                  </a:lnTo>
                  <a:lnTo>
                    <a:pt x="294" y="1446"/>
                  </a:lnTo>
                  <a:lnTo>
                    <a:pt x="300" y="1446"/>
                  </a:lnTo>
                  <a:lnTo>
                    <a:pt x="300" y="1440"/>
                  </a:lnTo>
                  <a:lnTo>
                    <a:pt x="306" y="1440"/>
                  </a:lnTo>
                  <a:lnTo>
                    <a:pt x="306" y="1446"/>
                  </a:lnTo>
                  <a:lnTo>
                    <a:pt x="312" y="1452"/>
                  </a:lnTo>
                  <a:lnTo>
                    <a:pt x="306" y="1452"/>
                  </a:lnTo>
                  <a:lnTo>
                    <a:pt x="306" y="1458"/>
                  </a:lnTo>
                  <a:lnTo>
                    <a:pt x="312" y="1464"/>
                  </a:lnTo>
                  <a:lnTo>
                    <a:pt x="306" y="1464"/>
                  </a:lnTo>
                  <a:lnTo>
                    <a:pt x="306" y="1470"/>
                  </a:lnTo>
                  <a:lnTo>
                    <a:pt x="300" y="1476"/>
                  </a:lnTo>
                  <a:lnTo>
                    <a:pt x="294" y="1476"/>
                  </a:lnTo>
                  <a:lnTo>
                    <a:pt x="294" y="1470"/>
                  </a:lnTo>
                  <a:lnTo>
                    <a:pt x="288" y="1470"/>
                  </a:lnTo>
                  <a:lnTo>
                    <a:pt x="288" y="1464"/>
                  </a:lnTo>
                  <a:lnTo>
                    <a:pt x="288" y="1458"/>
                  </a:lnTo>
                  <a:close/>
                  <a:moveTo>
                    <a:pt x="270" y="1296"/>
                  </a:moveTo>
                  <a:lnTo>
                    <a:pt x="276" y="1296"/>
                  </a:lnTo>
                  <a:lnTo>
                    <a:pt x="282" y="1296"/>
                  </a:lnTo>
                  <a:lnTo>
                    <a:pt x="288" y="1296"/>
                  </a:lnTo>
                  <a:lnTo>
                    <a:pt x="288" y="1302"/>
                  </a:lnTo>
                  <a:lnTo>
                    <a:pt x="282" y="1308"/>
                  </a:lnTo>
                  <a:lnTo>
                    <a:pt x="276" y="1308"/>
                  </a:lnTo>
                  <a:lnTo>
                    <a:pt x="276" y="1302"/>
                  </a:lnTo>
                  <a:lnTo>
                    <a:pt x="270" y="12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4" name="Freeform 19">
              <a:extLst>
                <a:ext uri="{FF2B5EF4-FFF2-40B4-BE49-F238E27FC236}">
                  <a16:creationId xmlns:a16="http://schemas.microsoft.com/office/drawing/2014/main" id="{5B9020B8-E1C1-4611-A248-9642BBD69C9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7043" y="3765821"/>
              <a:ext cx="333193" cy="398097"/>
            </a:xfrm>
            <a:custGeom>
              <a:avLst/>
              <a:gdLst>
                <a:gd name="T0" fmla="*/ 30 w 624"/>
                <a:gd name="T1" fmla="*/ 61 h 750"/>
                <a:gd name="T2" fmla="*/ 27 w 624"/>
                <a:gd name="T3" fmla="*/ 62 h 750"/>
                <a:gd name="T4" fmla="*/ 23 w 624"/>
                <a:gd name="T5" fmla="*/ 59 h 750"/>
                <a:gd name="T6" fmla="*/ 20 w 624"/>
                <a:gd name="T7" fmla="*/ 58 h 750"/>
                <a:gd name="T8" fmla="*/ 19 w 624"/>
                <a:gd name="T9" fmla="*/ 56 h 750"/>
                <a:gd name="T10" fmla="*/ 17 w 624"/>
                <a:gd name="T11" fmla="*/ 55 h 750"/>
                <a:gd name="T12" fmla="*/ 16 w 624"/>
                <a:gd name="T13" fmla="*/ 51 h 750"/>
                <a:gd name="T14" fmla="*/ 14 w 624"/>
                <a:gd name="T15" fmla="*/ 48 h 750"/>
                <a:gd name="T16" fmla="*/ 12 w 624"/>
                <a:gd name="T17" fmla="*/ 46 h 750"/>
                <a:gd name="T18" fmla="*/ 12 w 624"/>
                <a:gd name="T19" fmla="*/ 44 h 750"/>
                <a:gd name="T20" fmla="*/ 11 w 624"/>
                <a:gd name="T21" fmla="*/ 41 h 750"/>
                <a:gd name="T22" fmla="*/ 8 w 624"/>
                <a:gd name="T23" fmla="*/ 38 h 750"/>
                <a:gd name="T24" fmla="*/ 6 w 624"/>
                <a:gd name="T25" fmla="*/ 38 h 750"/>
                <a:gd name="T26" fmla="*/ 6 w 624"/>
                <a:gd name="T27" fmla="*/ 35 h 750"/>
                <a:gd name="T28" fmla="*/ 7 w 624"/>
                <a:gd name="T29" fmla="*/ 31 h 750"/>
                <a:gd name="T30" fmla="*/ 10 w 624"/>
                <a:gd name="T31" fmla="*/ 27 h 750"/>
                <a:gd name="T32" fmla="*/ 8 w 624"/>
                <a:gd name="T33" fmla="*/ 23 h 750"/>
                <a:gd name="T34" fmla="*/ 6 w 624"/>
                <a:gd name="T35" fmla="*/ 23 h 750"/>
                <a:gd name="T36" fmla="*/ 3 w 624"/>
                <a:gd name="T37" fmla="*/ 22 h 750"/>
                <a:gd name="T38" fmla="*/ 0 w 624"/>
                <a:gd name="T39" fmla="*/ 22 h 750"/>
                <a:gd name="T40" fmla="*/ 0 w 624"/>
                <a:gd name="T41" fmla="*/ 19 h 750"/>
                <a:gd name="T42" fmla="*/ 1 w 624"/>
                <a:gd name="T43" fmla="*/ 18 h 750"/>
                <a:gd name="T44" fmla="*/ 2 w 624"/>
                <a:gd name="T45" fmla="*/ 14 h 750"/>
                <a:gd name="T46" fmla="*/ 4 w 624"/>
                <a:gd name="T47" fmla="*/ 17 h 750"/>
                <a:gd name="T48" fmla="*/ 6 w 624"/>
                <a:gd name="T49" fmla="*/ 17 h 750"/>
                <a:gd name="T50" fmla="*/ 7 w 624"/>
                <a:gd name="T51" fmla="*/ 17 h 750"/>
                <a:gd name="T52" fmla="*/ 9 w 624"/>
                <a:gd name="T53" fmla="*/ 15 h 750"/>
                <a:gd name="T54" fmla="*/ 10 w 624"/>
                <a:gd name="T55" fmla="*/ 14 h 750"/>
                <a:gd name="T56" fmla="*/ 11 w 624"/>
                <a:gd name="T57" fmla="*/ 12 h 750"/>
                <a:gd name="T58" fmla="*/ 13 w 624"/>
                <a:gd name="T59" fmla="*/ 12 h 750"/>
                <a:gd name="T60" fmla="*/ 18 w 624"/>
                <a:gd name="T61" fmla="*/ 10 h 750"/>
                <a:gd name="T62" fmla="*/ 22 w 624"/>
                <a:gd name="T63" fmla="*/ 4 h 750"/>
                <a:gd name="T64" fmla="*/ 24 w 624"/>
                <a:gd name="T65" fmla="*/ 4 h 750"/>
                <a:gd name="T66" fmla="*/ 26 w 624"/>
                <a:gd name="T67" fmla="*/ 2 h 750"/>
                <a:gd name="T68" fmla="*/ 29 w 624"/>
                <a:gd name="T69" fmla="*/ 0 h 750"/>
                <a:gd name="T70" fmla="*/ 32 w 624"/>
                <a:gd name="T71" fmla="*/ 2 h 750"/>
                <a:gd name="T72" fmla="*/ 34 w 624"/>
                <a:gd name="T73" fmla="*/ 5 h 750"/>
                <a:gd name="T74" fmla="*/ 35 w 624"/>
                <a:gd name="T75" fmla="*/ 8 h 750"/>
                <a:gd name="T76" fmla="*/ 39 w 624"/>
                <a:gd name="T77" fmla="*/ 11 h 750"/>
                <a:gd name="T78" fmla="*/ 42 w 624"/>
                <a:gd name="T79" fmla="*/ 14 h 750"/>
                <a:gd name="T80" fmla="*/ 46 w 624"/>
                <a:gd name="T81" fmla="*/ 12 h 750"/>
                <a:gd name="T82" fmla="*/ 49 w 624"/>
                <a:gd name="T83" fmla="*/ 12 h 750"/>
                <a:gd name="T84" fmla="*/ 51 w 624"/>
                <a:gd name="T85" fmla="*/ 12 h 750"/>
                <a:gd name="T86" fmla="*/ 53 w 624"/>
                <a:gd name="T87" fmla="*/ 12 h 750"/>
                <a:gd name="T88" fmla="*/ 53 w 624"/>
                <a:gd name="T89" fmla="*/ 17 h 750"/>
                <a:gd name="T90" fmla="*/ 51 w 624"/>
                <a:gd name="T91" fmla="*/ 20 h 750"/>
                <a:gd name="T92" fmla="*/ 49 w 624"/>
                <a:gd name="T93" fmla="*/ 26 h 750"/>
                <a:gd name="T94" fmla="*/ 47 w 624"/>
                <a:gd name="T95" fmla="*/ 26 h 750"/>
                <a:gd name="T96" fmla="*/ 44 w 624"/>
                <a:gd name="T97" fmla="*/ 26 h 750"/>
                <a:gd name="T98" fmla="*/ 43 w 624"/>
                <a:gd name="T99" fmla="*/ 27 h 750"/>
                <a:gd name="T100" fmla="*/ 45 w 624"/>
                <a:gd name="T101" fmla="*/ 32 h 750"/>
                <a:gd name="T102" fmla="*/ 44 w 624"/>
                <a:gd name="T103" fmla="*/ 43 h 750"/>
                <a:gd name="T104" fmla="*/ 44 w 624"/>
                <a:gd name="T105" fmla="*/ 47 h 750"/>
                <a:gd name="T106" fmla="*/ 44 w 624"/>
                <a:gd name="T107" fmla="*/ 54 h 750"/>
                <a:gd name="T108" fmla="*/ 41 w 624"/>
                <a:gd name="T109" fmla="*/ 60 h 750"/>
                <a:gd name="T110" fmla="*/ 42 w 624"/>
                <a:gd name="T111" fmla="*/ 62 h 750"/>
                <a:gd name="T112" fmla="*/ 43 w 624"/>
                <a:gd name="T113" fmla="*/ 65 h 750"/>
                <a:gd name="T114" fmla="*/ 39 w 624"/>
                <a:gd name="T115" fmla="*/ 63 h 750"/>
                <a:gd name="T116" fmla="*/ 35 w 624"/>
                <a:gd name="T117" fmla="*/ 62 h 75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24"/>
                <a:gd name="T178" fmla="*/ 0 h 750"/>
                <a:gd name="T179" fmla="*/ 624 w 624"/>
                <a:gd name="T180" fmla="*/ 750 h 75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24" h="750">
                  <a:moveTo>
                    <a:pt x="390" y="702"/>
                  </a:moveTo>
                  <a:lnTo>
                    <a:pt x="372" y="696"/>
                  </a:lnTo>
                  <a:lnTo>
                    <a:pt x="360" y="702"/>
                  </a:lnTo>
                  <a:lnTo>
                    <a:pt x="348" y="702"/>
                  </a:lnTo>
                  <a:lnTo>
                    <a:pt x="336" y="702"/>
                  </a:lnTo>
                  <a:lnTo>
                    <a:pt x="330" y="702"/>
                  </a:lnTo>
                  <a:lnTo>
                    <a:pt x="318" y="708"/>
                  </a:lnTo>
                  <a:lnTo>
                    <a:pt x="306" y="708"/>
                  </a:lnTo>
                  <a:lnTo>
                    <a:pt x="294" y="690"/>
                  </a:lnTo>
                  <a:lnTo>
                    <a:pt x="294" y="684"/>
                  </a:lnTo>
                  <a:lnTo>
                    <a:pt x="276" y="684"/>
                  </a:lnTo>
                  <a:lnTo>
                    <a:pt x="270" y="678"/>
                  </a:lnTo>
                  <a:lnTo>
                    <a:pt x="240" y="672"/>
                  </a:lnTo>
                  <a:lnTo>
                    <a:pt x="234" y="672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6"/>
                  </a:lnTo>
                  <a:lnTo>
                    <a:pt x="216" y="660"/>
                  </a:lnTo>
                  <a:lnTo>
                    <a:pt x="216" y="654"/>
                  </a:lnTo>
                  <a:lnTo>
                    <a:pt x="216" y="642"/>
                  </a:lnTo>
                  <a:lnTo>
                    <a:pt x="210" y="642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36"/>
                  </a:lnTo>
                  <a:lnTo>
                    <a:pt x="192" y="624"/>
                  </a:lnTo>
                  <a:lnTo>
                    <a:pt x="186" y="612"/>
                  </a:lnTo>
                  <a:lnTo>
                    <a:pt x="186" y="600"/>
                  </a:lnTo>
                  <a:lnTo>
                    <a:pt x="186" y="588"/>
                  </a:lnTo>
                  <a:lnTo>
                    <a:pt x="180" y="582"/>
                  </a:lnTo>
                  <a:lnTo>
                    <a:pt x="180" y="570"/>
                  </a:lnTo>
                  <a:lnTo>
                    <a:pt x="174" y="558"/>
                  </a:lnTo>
                  <a:lnTo>
                    <a:pt x="162" y="558"/>
                  </a:lnTo>
                  <a:lnTo>
                    <a:pt x="144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38" y="534"/>
                  </a:lnTo>
                  <a:lnTo>
                    <a:pt x="138" y="528"/>
                  </a:lnTo>
                  <a:lnTo>
                    <a:pt x="132" y="522"/>
                  </a:lnTo>
                  <a:lnTo>
                    <a:pt x="144" y="522"/>
                  </a:lnTo>
                  <a:lnTo>
                    <a:pt x="144" y="510"/>
                  </a:lnTo>
                  <a:lnTo>
                    <a:pt x="144" y="504"/>
                  </a:lnTo>
                  <a:lnTo>
                    <a:pt x="138" y="492"/>
                  </a:lnTo>
                  <a:lnTo>
                    <a:pt x="138" y="474"/>
                  </a:lnTo>
                  <a:lnTo>
                    <a:pt x="126" y="468"/>
                  </a:lnTo>
                  <a:lnTo>
                    <a:pt x="120" y="456"/>
                  </a:lnTo>
                  <a:lnTo>
                    <a:pt x="114" y="450"/>
                  </a:lnTo>
                  <a:lnTo>
                    <a:pt x="108" y="438"/>
                  </a:lnTo>
                  <a:lnTo>
                    <a:pt x="96" y="432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60" y="426"/>
                  </a:lnTo>
                  <a:lnTo>
                    <a:pt x="66" y="420"/>
                  </a:lnTo>
                  <a:lnTo>
                    <a:pt x="66" y="408"/>
                  </a:lnTo>
                  <a:lnTo>
                    <a:pt x="72" y="408"/>
                  </a:lnTo>
                  <a:lnTo>
                    <a:pt x="72" y="384"/>
                  </a:lnTo>
                  <a:lnTo>
                    <a:pt x="72" y="366"/>
                  </a:lnTo>
                  <a:lnTo>
                    <a:pt x="78" y="354"/>
                  </a:lnTo>
                  <a:lnTo>
                    <a:pt x="84" y="354"/>
                  </a:lnTo>
                  <a:lnTo>
                    <a:pt x="90" y="348"/>
                  </a:lnTo>
                  <a:lnTo>
                    <a:pt x="102" y="336"/>
                  </a:lnTo>
                  <a:lnTo>
                    <a:pt x="114" y="324"/>
                  </a:lnTo>
                  <a:lnTo>
                    <a:pt x="120" y="312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20" y="276"/>
                  </a:lnTo>
                  <a:lnTo>
                    <a:pt x="96" y="270"/>
                  </a:lnTo>
                  <a:lnTo>
                    <a:pt x="84" y="270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72" y="264"/>
                  </a:lnTo>
                  <a:lnTo>
                    <a:pt x="60" y="252"/>
                  </a:lnTo>
                  <a:lnTo>
                    <a:pt x="42" y="252"/>
                  </a:lnTo>
                  <a:lnTo>
                    <a:pt x="42" y="258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18" y="252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42" y="156"/>
                  </a:lnTo>
                  <a:lnTo>
                    <a:pt x="48" y="198"/>
                  </a:lnTo>
                  <a:lnTo>
                    <a:pt x="48" y="204"/>
                  </a:lnTo>
                  <a:lnTo>
                    <a:pt x="54" y="198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204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192"/>
                  </a:lnTo>
                  <a:lnTo>
                    <a:pt x="96" y="186"/>
                  </a:lnTo>
                  <a:lnTo>
                    <a:pt x="102" y="180"/>
                  </a:lnTo>
                  <a:lnTo>
                    <a:pt x="102" y="174"/>
                  </a:lnTo>
                  <a:lnTo>
                    <a:pt x="108" y="168"/>
                  </a:lnTo>
                  <a:lnTo>
                    <a:pt x="108" y="162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0"/>
                  </a:lnTo>
                  <a:lnTo>
                    <a:pt x="132" y="144"/>
                  </a:lnTo>
                  <a:lnTo>
                    <a:pt x="138" y="138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0" y="132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74" y="126"/>
                  </a:lnTo>
                  <a:lnTo>
                    <a:pt x="204" y="120"/>
                  </a:lnTo>
                  <a:lnTo>
                    <a:pt x="210" y="78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54"/>
                  </a:lnTo>
                  <a:lnTo>
                    <a:pt x="276" y="54"/>
                  </a:lnTo>
                  <a:lnTo>
                    <a:pt x="276" y="48"/>
                  </a:lnTo>
                  <a:lnTo>
                    <a:pt x="282" y="48"/>
                  </a:lnTo>
                  <a:lnTo>
                    <a:pt x="288" y="42"/>
                  </a:lnTo>
                  <a:lnTo>
                    <a:pt x="294" y="42"/>
                  </a:lnTo>
                  <a:lnTo>
                    <a:pt x="294" y="18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0"/>
                  </a:lnTo>
                  <a:lnTo>
                    <a:pt x="336" y="0"/>
                  </a:lnTo>
                  <a:lnTo>
                    <a:pt x="342" y="0"/>
                  </a:lnTo>
                  <a:lnTo>
                    <a:pt x="354" y="6"/>
                  </a:lnTo>
                  <a:lnTo>
                    <a:pt x="366" y="18"/>
                  </a:lnTo>
                  <a:lnTo>
                    <a:pt x="378" y="36"/>
                  </a:lnTo>
                  <a:lnTo>
                    <a:pt x="390" y="42"/>
                  </a:lnTo>
                  <a:lnTo>
                    <a:pt x="390" y="48"/>
                  </a:lnTo>
                  <a:lnTo>
                    <a:pt x="396" y="60"/>
                  </a:lnTo>
                  <a:lnTo>
                    <a:pt x="402" y="72"/>
                  </a:lnTo>
                  <a:lnTo>
                    <a:pt x="408" y="78"/>
                  </a:lnTo>
                  <a:lnTo>
                    <a:pt x="402" y="84"/>
                  </a:lnTo>
                  <a:lnTo>
                    <a:pt x="408" y="90"/>
                  </a:lnTo>
                  <a:lnTo>
                    <a:pt x="414" y="102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50" y="126"/>
                  </a:lnTo>
                  <a:lnTo>
                    <a:pt x="456" y="126"/>
                  </a:lnTo>
                  <a:lnTo>
                    <a:pt x="462" y="144"/>
                  </a:lnTo>
                  <a:lnTo>
                    <a:pt x="480" y="156"/>
                  </a:lnTo>
                  <a:lnTo>
                    <a:pt x="492" y="156"/>
                  </a:lnTo>
                  <a:lnTo>
                    <a:pt x="516" y="150"/>
                  </a:lnTo>
                  <a:lnTo>
                    <a:pt x="516" y="144"/>
                  </a:lnTo>
                  <a:lnTo>
                    <a:pt x="516" y="138"/>
                  </a:lnTo>
                  <a:lnTo>
                    <a:pt x="528" y="138"/>
                  </a:lnTo>
                  <a:lnTo>
                    <a:pt x="546" y="144"/>
                  </a:lnTo>
                  <a:lnTo>
                    <a:pt x="546" y="138"/>
                  </a:lnTo>
                  <a:lnTo>
                    <a:pt x="552" y="138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76" y="138"/>
                  </a:lnTo>
                  <a:lnTo>
                    <a:pt x="582" y="138"/>
                  </a:lnTo>
                  <a:lnTo>
                    <a:pt x="588" y="138"/>
                  </a:lnTo>
                  <a:lnTo>
                    <a:pt x="594" y="138"/>
                  </a:lnTo>
                  <a:lnTo>
                    <a:pt x="594" y="144"/>
                  </a:lnTo>
                  <a:lnTo>
                    <a:pt x="600" y="138"/>
                  </a:lnTo>
                  <a:lnTo>
                    <a:pt x="606" y="138"/>
                  </a:lnTo>
                  <a:lnTo>
                    <a:pt x="606" y="144"/>
                  </a:lnTo>
                  <a:lnTo>
                    <a:pt x="612" y="144"/>
                  </a:lnTo>
                  <a:lnTo>
                    <a:pt x="618" y="156"/>
                  </a:lnTo>
                  <a:lnTo>
                    <a:pt x="612" y="198"/>
                  </a:lnTo>
                  <a:lnTo>
                    <a:pt x="624" y="198"/>
                  </a:lnTo>
                  <a:lnTo>
                    <a:pt x="624" y="204"/>
                  </a:lnTo>
                  <a:lnTo>
                    <a:pt x="612" y="216"/>
                  </a:lnTo>
                  <a:lnTo>
                    <a:pt x="594" y="234"/>
                  </a:lnTo>
                  <a:lnTo>
                    <a:pt x="588" y="252"/>
                  </a:lnTo>
                  <a:lnTo>
                    <a:pt x="576" y="270"/>
                  </a:lnTo>
                  <a:lnTo>
                    <a:pt x="564" y="282"/>
                  </a:lnTo>
                  <a:lnTo>
                    <a:pt x="564" y="294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8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34" y="294"/>
                  </a:lnTo>
                  <a:lnTo>
                    <a:pt x="522" y="300"/>
                  </a:lnTo>
                  <a:lnTo>
                    <a:pt x="510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498" y="324"/>
                  </a:lnTo>
                  <a:lnTo>
                    <a:pt x="504" y="336"/>
                  </a:lnTo>
                  <a:lnTo>
                    <a:pt x="510" y="348"/>
                  </a:lnTo>
                  <a:lnTo>
                    <a:pt x="516" y="366"/>
                  </a:lnTo>
                  <a:lnTo>
                    <a:pt x="522" y="432"/>
                  </a:lnTo>
                  <a:lnTo>
                    <a:pt x="522" y="456"/>
                  </a:lnTo>
                  <a:lnTo>
                    <a:pt x="504" y="492"/>
                  </a:lnTo>
                  <a:lnTo>
                    <a:pt x="504" y="498"/>
                  </a:lnTo>
                  <a:lnTo>
                    <a:pt x="498" y="504"/>
                  </a:lnTo>
                  <a:lnTo>
                    <a:pt x="498" y="522"/>
                  </a:lnTo>
                  <a:lnTo>
                    <a:pt x="504" y="534"/>
                  </a:lnTo>
                  <a:lnTo>
                    <a:pt x="510" y="546"/>
                  </a:lnTo>
                  <a:lnTo>
                    <a:pt x="516" y="558"/>
                  </a:lnTo>
                  <a:lnTo>
                    <a:pt x="516" y="588"/>
                  </a:lnTo>
                  <a:lnTo>
                    <a:pt x="516" y="600"/>
                  </a:lnTo>
                  <a:lnTo>
                    <a:pt x="510" y="618"/>
                  </a:lnTo>
                  <a:lnTo>
                    <a:pt x="504" y="636"/>
                  </a:lnTo>
                  <a:lnTo>
                    <a:pt x="504" y="642"/>
                  </a:lnTo>
                  <a:lnTo>
                    <a:pt x="474" y="654"/>
                  </a:lnTo>
                  <a:lnTo>
                    <a:pt x="474" y="690"/>
                  </a:lnTo>
                  <a:lnTo>
                    <a:pt x="474" y="696"/>
                  </a:lnTo>
                  <a:lnTo>
                    <a:pt x="480" y="702"/>
                  </a:lnTo>
                  <a:lnTo>
                    <a:pt x="486" y="708"/>
                  </a:lnTo>
                  <a:lnTo>
                    <a:pt x="492" y="708"/>
                  </a:lnTo>
                  <a:lnTo>
                    <a:pt x="498" y="726"/>
                  </a:lnTo>
                  <a:lnTo>
                    <a:pt x="504" y="726"/>
                  </a:lnTo>
                  <a:lnTo>
                    <a:pt x="504" y="738"/>
                  </a:lnTo>
                  <a:lnTo>
                    <a:pt x="498" y="744"/>
                  </a:lnTo>
                  <a:lnTo>
                    <a:pt x="486" y="750"/>
                  </a:lnTo>
                  <a:lnTo>
                    <a:pt x="474" y="744"/>
                  </a:lnTo>
                  <a:lnTo>
                    <a:pt x="462" y="744"/>
                  </a:lnTo>
                  <a:lnTo>
                    <a:pt x="456" y="732"/>
                  </a:lnTo>
                  <a:lnTo>
                    <a:pt x="444" y="732"/>
                  </a:lnTo>
                  <a:lnTo>
                    <a:pt x="432" y="726"/>
                  </a:lnTo>
                  <a:lnTo>
                    <a:pt x="420" y="720"/>
                  </a:lnTo>
                  <a:lnTo>
                    <a:pt x="408" y="708"/>
                  </a:lnTo>
                  <a:lnTo>
                    <a:pt x="402" y="708"/>
                  </a:lnTo>
                  <a:lnTo>
                    <a:pt x="390" y="702"/>
                  </a:lnTo>
                  <a:close/>
                </a:path>
              </a:pathLst>
            </a:custGeom>
            <a:solidFill>
              <a:srgbClr val="2A4F1D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5" name="Freeform 20">
              <a:extLst>
                <a:ext uri="{FF2B5EF4-FFF2-40B4-BE49-F238E27FC236}">
                  <a16:creationId xmlns:a16="http://schemas.microsoft.com/office/drawing/2014/main" id="{B8342C3B-ECEC-465F-AAFF-4815B8AC392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870937"/>
              <a:ext cx="313067" cy="377968"/>
            </a:xfrm>
            <a:custGeom>
              <a:avLst/>
              <a:gdLst>
                <a:gd name="T0" fmla="*/ 15 w 588"/>
                <a:gd name="T1" fmla="*/ 59 h 714"/>
                <a:gd name="T2" fmla="*/ 14 w 588"/>
                <a:gd name="T3" fmla="*/ 58 h 714"/>
                <a:gd name="T4" fmla="*/ 9 w 588"/>
                <a:gd name="T5" fmla="*/ 54 h 714"/>
                <a:gd name="T6" fmla="*/ 4 w 588"/>
                <a:gd name="T7" fmla="*/ 54 h 714"/>
                <a:gd name="T8" fmla="*/ 0 w 588"/>
                <a:gd name="T9" fmla="*/ 50 h 714"/>
                <a:gd name="T10" fmla="*/ 0 w 588"/>
                <a:gd name="T11" fmla="*/ 44 h 714"/>
                <a:gd name="T12" fmla="*/ 4 w 588"/>
                <a:gd name="T13" fmla="*/ 46 h 714"/>
                <a:gd name="T14" fmla="*/ 7 w 588"/>
                <a:gd name="T15" fmla="*/ 47 h 714"/>
                <a:gd name="T16" fmla="*/ 10 w 588"/>
                <a:gd name="T17" fmla="*/ 46 h 714"/>
                <a:gd name="T18" fmla="*/ 8 w 588"/>
                <a:gd name="T19" fmla="*/ 44 h 714"/>
                <a:gd name="T20" fmla="*/ 10 w 588"/>
                <a:gd name="T21" fmla="*/ 39 h 714"/>
                <a:gd name="T22" fmla="*/ 11 w 588"/>
                <a:gd name="T23" fmla="*/ 34 h 714"/>
                <a:gd name="T24" fmla="*/ 9 w 588"/>
                <a:gd name="T25" fmla="*/ 28 h 714"/>
                <a:gd name="T26" fmla="*/ 11 w 588"/>
                <a:gd name="T27" fmla="*/ 22 h 714"/>
                <a:gd name="T28" fmla="*/ 10 w 588"/>
                <a:gd name="T29" fmla="*/ 12 h 714"/>
                <a:gd name="T30" fmla="*/ 9 w 588"/>
                <a:gd name="T31" fmla="*/ 9 h 714"/>
                <a:gd name="T32" fmla="*/ 12 w 588"/>
                <a:gd name="T33" fmla="*/ 8 h 714"/>
                <a:gd name="T34" fmla="*/ 14 w 588"/>
                <a:gd name="T35" fmla="*/ 7 h 714"/>
                <a:gd name="T36" fmla="*/ 17 w 588"/>
                <a:gd name="T37" fmla="*/ 10 h 714"/>
                <a:gd name="T38" fmla="*/ 23 w 588"/>
                <a:gd name="T39" fmla="*/ 14 h 714"/>
                <a:gd name="T40" fmla="*/ 28 w 588"/>
                <a:gd name="T41" fmla="*/ 4 h 714"/>
                <a:gd name="T42" fmla="*/ 35 w 588"/>
                <a:gd name="T43" fmla="*/ 2 h 714"/>
                <a:gd name="T44" fmla="*/ 38 w 588"/>
                <a:gd name="T45" fmla="*/ 0 h 714"/>
                <a:gd name="T46" fmla="*/ 40 w 588"/>
                <a:gd name="T47" fmla="*/ 2 h 714"/>
                <a:gd name="T48" fmla="*/ 39 w 588"/>
                <a:gd name="T49" fmla="*/ 4 h 714"/>
                <a:gd name="T50" fmla="*/ 41 w 588"/>
                <a:gd name="T51" fmla="*/ 5 h 714"/>
                <a:gd name="T52" fmla="*/ 42 w 588"/>
                <a:gd name="T53" fmla="*/ 7 h 714"/>
                <a:gd name="T54" fmla="*/ 43 w 588"/>
                <a:gd name="T55" fmla="*/ 9 h 714"/>
                <a:gd name="T56" fmla="*/ 43 w 588"/>
                <a:gd name="T57" fmla="*/ 10 h 714"/>
                <a:gd name="T58" fmla="*/ 43 w 588"/>
                <a:gd name="T59" fmla="*/ 12 h 714"/>
                <a:gd name="T60" fmla="*/ 44 w 588"/>
                <a:gd name="T61" fmla="*/ 12 h 714"/>
                <a:gd name="T62" fmla="*/ 46 w 588"/>
                <a:gd name="T63" fmla="*/ 13 h 714"/>
                <a:gd name="T64" fmla="*/ 47 w 588"/>
                <a:gd name="T65" fmla="*/ 14 h 714"/>
                <a:gd name="T66" fmla="*/ 48 w 588"/>
                <a:gd name="T67" fmla="*/ 15 h 714"/>
                <a:gd name="T68" fmla="*/ 49 w 588"/>
                <a:gd name="T69" fmla="*/ 15 h 714"/>
                <a:gd name="T70" fmla="*/ 48 w 588"/>
                <a:gd name="T71" fmla="*/ 17 h 714"/>
                <a:gd name="T72" fmla="*/ 49 w 588"/>
                <a:gd name="T73" fmla="*/ 19 h 714"/>
                <a:gd name="T74" fmla="*/ 49 w 588"/>
                <a:gd name="T75" fmla="*/ 20 h 714"/>
                <a:gd name="T76" fmla="*/ 51 w 588"/>
                <a:gd name="T77" fmla="*/ 21 h 714"/>
                <a:gd name="T78" fmla="*/ 50 w 588"/>
                <a:gd name="T79" fmla="*/ 22 h 714"/>
                <a:gd name="T80" fmla="*/ 47 w 588"/>
                <a:gd name="T81" fmla="*/ 23 h 714"/>
                <a:gd name="T82" fmla="*/ 47 w 588"/>
                <a:gd name="T83" fmla="*/ 26 h 714"/>
                <a:gd name="T84" fmla="*/ 47 w 588"/>
                <a:gd name="T85" fmla="*/ 32 h 714"/>
                <a:gd name="T86" fmla="*/ 44 w 588"/>
                <a:gd name="T87" fmla="*/ 35 h 714"/>
                <a:gd name="T88" fmla="*/ 42 w 588"/>
                <a:gd name="T89" fmla="*/ 39 h 714"/>
                <a:gd name="T90" fmla="*/ 42 w 588"/>
                <a:gd name="T91" fmla="*/ 41 h 714"/>
                <a:gd name="T92" fmla="*/ 42 w 588"/>
                <a:gd name="T93" fmla="*/ 42 h 714"/>
                <a:gd name="T94" fmla="*/ 41 w 588"/>
                <a:gd name="T95" fmla="*/ 44 h 714"/>
                <a:gd name="T96" fmla="*/ 39 w 588"/>
                <a:gd name="T97" fmla="*/ 43 h 714"/>
                <a:gd name="T98" fmla="*/ 37 w 588"/>
                <a:gd name="T99" fmla="*/ 44 h 714"/>
                <a:gd name="T100" fmla="*/ 35 w 588"/>
                <a:gd name="T101" fmla="*/ 46 h 714"/>
                <a:gd name="T102" fmla="*/ 31 w 588"/>
                <a:gd name="T103" fmla="*/ 45 h 714"/>
                <a:gd name="T104" fmla="*/ 24 w 588"/>
                <a:gd name="T105" fmla="*/ 45 h 714"/>
                <a:gd name="T106" fmla="*/ 25 w 588"/>
                <a:gd name="T107" fmla="*/ 47 h 714"/>
                <a:gd name="T108" fmla="*/ 25 w 588"/>
                <a:gd name="T109" fmla="*/ 49 h 714"/>
                <a:gd name="T110" fmla="*/ 25 w 588"/>
                <a:gd name="T111" fmla="*/ 50 h 714"/>
                <a:gd name="T112" fmla="*/ 24 w 588"/>
                <a:gd name="T113" fmla="*/ 51 h 714"/>
                <a:gd name="T114" fmla="*/ 22 w 588"/>
                <a:gd name="T115" fmla="*/ 53 h 714"/>
                <a:gd name="T116" fmla="*/ 23 w 588"/>
                <a:gd name="T117" fmla="*/ 56 h 714"/>
                <a:gd name="T118" fmla="*/ 20 w 588"/>
                <a:gd name="T119" fmla="*/ 58 h 714"/>
                <a:gd name="T120" fmla="*/ 19 w 588"/>
                <a:gd name="T121" fmla="*/ 62 h 7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8"/>
                <a:gd name="T184" fmla="*/ 0 h 714"/>
                <a:gd name="T185" fmla="*/ 588 w 588"/>
                <a:gd name="T186" fmla="*/ 714 h 7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8" h="714">
                  <a:moveTo>
                    <a:pt x="216" y="714"/>
                  </a:moveTo>
                  <a:lnTo>
                    <a:pt x="198" y="702"/>
                  </a:lnTo>
                  <a:lnTo>
                    <a:pt x="186" y="696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74" y="678"/>
                  </a:lnTo>
                  <a:lnTo>
                    <a:pt x="168" y="672"/>
                  </a:lnTo>
                  <a:lnTo>
                    <a:pt x="162" y="666"/>
                  </a:lnTo>
                  <a:lnTo>
                    <a:pt x="156" y="636"/>
                  </a:lnTo>
                  <a:lnTo>
                    <a:pt x="144" y="630"/>
                  </a:lnTo>
                  <a:lnTo>
                    <a:pt x="108" y="630"/>
                  </a:lnTo>
                  <a:lnTo>
                    <a:pt x="102" y="624"/>
                  </a:lnTo>
                  <a:lnTo>
                    <a:pt x="96" y="624"/>
                  </a:lnTo>
                  <a:lnTo>
                    <a:pt x="72" y="624"/>
                  </a:lnTo>
                  <a:lnTo>
                    <a:pt x="54" y="624"/>
                  </a:lnTo>
                  <a:lnTo>
                    <a:pt x="42" y="618"/>
                  </a:lnTo>
                  <a:lnTo>
                    <a:pt x="30" y="612"/>
                  </a:lnTo>
                  <a:lnTo>
                    <a:pt x="6" y="606"/>
                  </a:lnTo>
                  <a:lnTo>
                    <a:pt x="0" y="606"/>
                  </a:lnTo>
                  <a:lnTo>
                    <a:pt x="0" y="570"/>
                  </a:lnTo>
                  <a:lnTo>
                    <a:pt x="6" y="552"/>
                  </a:lnTo>
                  <a:lnTo>
                    <a:pt x="6" y="522"/>
                  </a:lnTo>
                  <a:lnTo>
                    <a:pt x="0" y="510"/>
                  </a:lnTo>
                  <a:lnTo>
                    <a:pt x="0" y="504"/>
                  </a:lnTo>
                  <a:lnTo>
                    <a:pt x="12" y="510"/>
                  </a:lnTo>
                  <a:lnTo>
                    <a:pt x="18" y="510"/>
                  </a:lnTo>
                  <a:lnTo>
                    <a:pt x="30" y="522"/>
                  </a:lnTo>
                  <a:lnTo>
                    <a:pt x="42" y="528"/>
                  </a:lnTo>
                  <a:lnTo>
                    <a:pt x="54" y="534"/>
                  </a:lnTo>
                  <a:lnTo>
                    <a:pt x="66" y="534"/>
                  </a:lnTo>
                  <a:lnTo>
                    <a:pt x="72" y="546"/>
                  </a:lnTo>
                  <a:lnTo>
                    <a:pt x="84" y="546"/>
                  </a:lnTo>
                  <a:lnTo>
                    <a:pt x="96" y="552"/>
                  </a:lnTo>
                  <a:lnTo>
                    <a:pt x="108" y="546"/>
                  </a:lnTo>
                  <a:lnTo>
                    <a:pt x="114" y="540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90" y="504"/>
                  </a:lnTo>
                  <a:lnTo>
                    <a:pt x="84" y="498"/>
                  </a:lnTo>
                  <a:lnTo>
                    <a:pt x="84" y="492"/>
                  </a:lnTo>
                  <a:lnTo>
                    <a:pt x="84" y="456"/>
                  </a:lnTo>
                  <a:lnTo>
                    <a:pt x="114" y="444"/>
                  </a:lnTo>
                  <a:lnTo>
                    <a:pt x="114" y="438"/>
                  </a:lnTo>
                  <a:lnTo>
                    <a:pt x="120" y="420"/>
                  </a:lnTo>
                  <a:lnTo>
                    <a:pt x="126" y="402"/>
                  </a:lnTo>
                  <a:lnTo>
                    <a:pt x="126" y="390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14" y="336"/>
                  </a:lnTo>
                  <a:lnTo>
                    <a:pt x="108" y="324"/>
                  </a:lnTo>
                  <a:lnTo>
                    <a:pt x="108" y="306"/>
                  </a:lnTo>
                  <a:lnTo>
                    <a:pt x="114" y="300"/>
                  </a:lnTo>
                  <a:lnTo>
                    <a:pt x="114" y="294"/>
                  </a:lnTo>
                  <a:lnTo>
                    <a:pt x="132" y="258"/>
                  </a:lnTo>
                  <a:lnTo>
                    <a:pt x="132" y="234"/>
                  </a:lnTo>
                  <a:lnTo>
                    <a:pt x="126" y="168"/>
                  </a:lnTo>
                  <a:lnTo>
                    <a:pt x="120" y="150"/>
                  </a:lnTo>
                  <a:lnTo>
                    <a:pt x="114" y="138"/>
                  </a:lnTo>
                  <a:lnTo>
                    <a:pt x="108" y="126"/>
                  </a:lnTo>
                  <a:lnTo>
                    <a:pt x="108" y="120"/>
                  </a:lnTo>
                  <a:lnTo>
                    <a:pt x="108" y="114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20" y="96"/>
                  </a:lnTo>
                  <a:lnTo>
                    <a:pt x="132" y="102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56" y="90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96"/>
                  </a:lnTo>
                  <a:lnTo>
                    <a:pt x="186" y="96"/>
                  </a:lnTo>
                  <a:lnTo>
                    <a:pt x="192" y="114"/>
                  </a:lnTo>
                  <a:lnTo>
                    <a:pt x="204" y="132"/>
                  </a:lnTo>
                  <a:lnTo>
                    <a:pt x="216" y="144"/>
                  </a:lnTo>
                  <a:lnTo>
                    <a:pt x="240" y="162"/>
                  </a:lnTo>
                  <a:lnTo>
                    <a:pt x="270" y="156"/>
                  </a:lnTo>
                  <a:lnTo>
                    <a:pt x="282" y="126"/>
                  </a:lnTo>
                  <a:lnTo>
                    <a:pt x="282" y="96"/>
                  </a:lnTo>
                  <a:lnTo>
                    <a:pt x="294" y="54"/>
                  </a:lnTo>
                  <a:lnTo>
                    <a:pt x="324" y="48"/>
                  </a:lnTo>
                  <a:lnTo>
                    <a:pt x="342" y="48"/>
                  </a:lnTo>
                  <a:lnTo>
                    <a:pt x="384" y="48"/>
                  </a:lnTo>
                  <a:lnTo>
                    <a:pt x="390" y="30"/>
                  </a:lnTo>
                  <a:lnTo>
                    <a:pt x="402" y="18"/>
                  </a:lnTo>
                  <a:lnTo>
                    <a:pt x="438" y="6"/>
                  </a:lnTo>
                  <a:lnTo>
                    <a:pt x="438" y="0"/>
                  </a:lnTo>
                  <a:lnTo>
                    <a:pt x="444" y="0"/>
                  </a:lnTo>
                  <a:lnTo>
                    <a:pt x="444" y="6"/>
                  </a:lnTo>
                  <a:lnTo>
                    <a:pt x="450" y="6"/>
                  </a:lnTo>
                  <a:lnTo>
                    <a:pt x="456" y="12"/>
                  </a:lnTo>
                  <a:lnTo>
                    <a:pt x="456" y="18"/>
                  </a:lnTo>
                  <a:lnTo>
                    <a:pt x="462" y="24"/>
                  </a:lnTo>
                  <a:lnTo>
                    <a:pt x="462" y="30"/>
                  </a:lnTo>
                  <a:lnTo>
                    <a:pt x="468" y="36"/>
                  </a:lnTo>
                  <a:lnTo>
                    <a:pt x="462" y="36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74" y="60"/>
                  </a:lnTo>
                  <a:lnTo>
                    <a:pt x="486" y="78"/>
                  </a:lnTo>
                  <a:lnTo>
                    <a:pt x="486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8" y="102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498" y="114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504" y="126"/>
                  </a:lnTo>
                  <a:lnTo>
                    <a:pt x="498" y="132"/>
                  </a:lnTo>
                  <a:lnTo>
                    <a:pt x="504" y="138"/>
                  </a:lnTo>
                  <a:lnTo>
                    <a:pt x="504" y="132"/>
                  </a:lnTo>
                  <a:lnTo>
                    <a:pt x="510" y="132"/>
                  </a:lnTo>
                  <a:lnTo>
                    <a:pt x="510" y="138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56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6" y="168"/>
                  </a:lnTo>
                  <a:lnTo>
                    <a:pt x="552" y="168"/>
                  </a:lnTo>
                  <a:lnTo>
                    <a:pt x="546" y="168"/>
                  </a:lnTo>
                  <a:lnTo>
                    <a:pt x="546" y="174"/>
                  </a:lnTo>
                  <a:lnTo>
                    <a:pt x="558" y="180"/>
                  </a:lnTo>
                  <a:lnTo>
                    <a:pt x="564" y="180"/>
                  </a:lnTo>
                  <a:lnTo>
                    <a:pt x="564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52" y="198"/>
                  </a:lnTo>
                  <a:lnTo>
                    <a:pt x="558" y="204"/>
                  </a:lnTo>
                  <a:lnTo>
                    <a:pt x="564" y="204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22"/>
                  </a:lnTo>
                  <a:lnTo>
                    <a:pt x="576" y="228"/>
                  </a:lnTo>
                  <a:lnTo>
                    <a:pt x="570" y="228"/>
                  </a:lnTo>
                  <a:lnTo>
                    <a:pt x="570" y="234"/>
                  </a:lnTo>
                  <a:lnTo>
                    <a:pt x="576" y="234"/>
                  </a:lnTo>
                  <a:lnTo>
                    <a:pt x="582" y="234"/>
                  </a:lnTo>
                  <a:lnTo>
                    <a:pt x="588" y="234"/>
                  </a:lnTo>
                  <a:lnTo>
                    <a:pt x="588" y="240"/>
                  </a:lnTo>
                  <a:lnTo>
                    <a:pt x="588" y="246"/>
                  </a:lnTo>
                  <a:lnTo>
                    <a:pt x="588" y="252"/>
                  </a:lnTo>
                  <a:lnTo>
                    <a:pt x="582" y="252"/>
                  </a:lnTo>
                  <a:lnTo>
                    <a:pt x="576" y="252"/>
                  </a:lnTo>
                  <a:lnTo>
                    <a:pt x="582" y="258"/>
                  </a:lnTo>
                  <a:lnTo>
                    <a:pt x="582" y="264"/>
                  </a:lnTo>
                  <a:lnTo>
                    <a:pt x="576" y="264"/>
                  </a:lnTo>
                  <a:lnTo>
                    <a:pt x="546" y="264"/>
                  </a:lnTo>
                  <a:lnTo>
                    <a:pt x="546" y="276"/>
                  </a:lnTo>
                  <a:lnTo>
                    <a:pt x="540" y="282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40" y="324"/>
                  </a:lnTo>
                  <a:lnTo>
                    <a:pt x="552" y="330"/>
                  </a:lnTo>
                  <a:lnTo>
                    <a:pt x="558" y="342"/>
                  </a:lnTo>
                  <a:lnTo>
                    <a:pt x="546" y="372"/>
                  </a:lnTo>
                  <a:lnTo>
                    <a:pt x="534" y="372"/>
                  </a:lnTo>
                  <a:lnTo>
                    <a:pt x="534" y="384"/>
                  </a:lnTo>
                  <a:lnTo>
                    <a:pt x="522" y="384"/>
                  </a:lnTo>
                  <a:lnTo>
                    <a:pt x="510" y="402"/>
                  </a:lnTo>
                  <a:lnTo>
                    <a:pt x="504" y="420"/>
                  </a:lnTo>
                  <a:lnTo>
                    <a:pt x="492" y="426"/>
                  </a:lnTo>
                  <a:lnTo>
                    <a:pt x="486" y="432"/>
                  </a:lnTo>
                  <a:lnTo>
                    <a:pt x="486" y="444"/>
                  </a:lnTo>
                  <a:lnTo>
                    <a:pt x="486" y="450"/>
                  </a:lnTo>
                  <a:lnTo>
                    <a:pt x="486" y="456"/>
                  </a:lnTo>
                  <a:lnTo>
                    <a:pt x="486" y="462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80" y="474"/>
                  </a:lnTo>
                  <a:lnTo>
                    <a:pt x="480" y="480"/>
                  </a:lnTo>
                  <a:lnTo>
                    <a:pt x="480" y="486"/>
                  </a:lnTo>
                  <a:lnTo>
                    <a:pt x="480" y="492"/>
                  </a:lnTo>
                  <a:lnTo>
                    <a:pt x="480" y="498"/>
                  </a:lnTo>
                  <a:lnTo>
                    <a:pt x="474" y="504"/>
                  </a:lnTo>
                  <a:lnTo>
                    <a:pt x="468" y="510"/>
                  </a:lnTo>
                  <a:lnTo>
                    <a:pt x="462" y="510"/>
                  </a:lnTo>
                  <a:lnTo>
                    <a:pt x="456" y="504"/>
                  </a:lnTo>
                  <a:lnTo>
                    <a:pt x="456" y="498"/>
                  </a:lnTo>
                  <a:lnTo>
                    <a:pt x="450" y="498"/>
                  </a:lnTo>
                  <a:lnTo>
                    <a:pt x="444" y="498"/>
                  </a:lnTo>
                  <a:lnTo>
                    <a:pt x="438" y="498"/>
                  </a:lnTo>
                  <a:lnTo>
                    <a:pt x="432" y="498"/>
                  </a:lnTo>
                  <a:lnTo>
                    <a:pt x="426" y="504"/>
                  </a:lnTo>
                  <a:lnTo>
                    <a:pt x="426" y="510"/>
                  </a:lnTo>
                  <a:lnTo>
                    <a:pt x="420" y="516"/>
                  </a:lnTo>
                  <a:lnTo>
                    <a:pt x="414" y="522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84" y="528"/>
                  </a:lnTo>
                  <a:lnTo>
                    <a:pt x="366" y="540"/>
                  </a:lnTo>
                  <a:lnTo>
                    <a:pt x="360" y="522"/>
                  </a:lnTo>
                  <a:lnTo>
                    <a:pt x="348" y="504"/>
                  </a:lnTo>
                  <a:lnTo>
                    <a:pt x="330" y="504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34"/>
                  </a:lnTo>
                  <a:lnTo>
                    <a:pt x="288" y="540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2" y="540"/>
                  </a:lnTo>
                  <a:lnTo>
                    <a:pt x="282" y="546"/>
                  </a:lnTo>
                  <a:lnTo>
                    <a:pt x="288" y="552"/>
                  </a:lnTo>
                  <a:lnTo>
                    <a:pt x="294" y="564"/>
                  </a:lnTo>
                  <a:lnTo>
                    <a:pt x="300" y="564"/>
                  </a:lnTo>
                  <a:lnTo>
                    <a:pt x="300" y="570"/>
                  </a:lnTo>
                  <a:lnTo>
                    <a:pt x="294" y="570"/>
                  </a:lnTo>
                  <a:lnTo>
                    <a:pt x="288" y="570"/>
                  </a:lnTo>
                  <a:lnTo>
                    <a:pt x="288" y="576"/>
                  </a:lnTo>
                  <a:lnTo>
                    <a:pt x="288" y="582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606"/>
                  </a:lnTo>
                  <a:lnTo>
                    <a:pt x="264" y="612"/>
                  </a:lnTo>
                  <a:lnTo>
                    <a:pt x="258" y="612"/>
                  </a:lnTo>
                  <a:lnTo>
                    <a:pt x="252" y="612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52" y="630"/>
                  </a:lnTo>
                  <a:lnTo>
                    <a:pt x="264" y="642"/>
                  </a:lnTo>
                  <a:lnTo>
                    <a:pt x="258" y="648"/>
                  </a:lnTo>
                  <a:lnTo>
                    <a:pt x="246" y="654"/>
                  </a:lnTo>
                  <a:lnTo>
                    <a:pt x="240" y="660"/>
                  </a:lnTo>
                  <a:lnTo>
                    <a:pt x="234" y="672"/>
                  </a:lnTo>
                  <a:lnTo>
                    <a:pt x="234" y="678"/>
                  </a:lnTo>
                  <a:lnTo>
                    <a:pt x="228" y="684"/>
                  </a:lnTo>
                  <a:lnTo>
                    <a:pt x="228" y="696"/>
                  </a:lnTo>
                  <a:lnTo>
                    <a:pt x="216" y="71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6" name="Freeform 21">
              <a:extLst>
                <a:ext uri="{FF2B5EF4-FFF2-40B4-BE49-F238E27FC236}">
                  <a16:creationId xmlns:a16="http://schemas.microsoft.com/office/drawing/2014/main" id="{DCB1E808-522D-4C19-B741-CC5DD56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4178" y="3866464"/>
              <a:ext cx="250453" cy="371259"/>
            </a:xfrm>
            <a:custGeom>
              <a:avLst/>
              <a:gdLst>
                <a:gd name="T0" fmla="*/ 0 w 468"/>
                <a:gd name="T1" fmla="*/ 61 h 696"/>
                <a:gd name="T2" fmla="*/ 1 w 468"/>
                <a:gd name="T3" fmla="*/ 58 h 696"/>
                <a:gd name="T4" fmla="*/ 2 w 468"/>
                <a:gd name="T5" fmla="*/ 54 h 696"/>
                <a:gd name="T6" fmla="*/ 3 w 468"/>
                <a:gd name="T7" fmla="*/ 51 h 696"/>
                <a:gd name="T8" fmla="*/ 4 w 468"/>
                <a:gd name="T9" fmla="*/ 48 h 696"/>
                <a:gd name="T10" fmla="*/ 6 w 468"/>
                <a:gd name="T11" fmla="*/ 44 h 696"/>
                <a:gd name="T12" fmla="*/ 5 w 468"/>
                <a:gd name="T13" fmla="*/ 41 h 696"/>
                <a:gd name="T14" fmla="*/ 7 w 468"/>
                <a:gd name="T15" fmla="*/ 38 h 696"/>
                <a:gd name="T16" fmla="*/ 8 w 468"/>
                <a:gd name="T17" fmla="*/ 36 h 696"/>
                <a:gd name="T18" fmla="*/ 7 w 468"/>
                <a:gd name="T19" fmla="*/ 33 h 696"/>
                <a:gd name="T20" fmla="*/ 6 w 468"/>
                <a:gd name="T21" fmla="*/ 29 h 696"/>
                <a:gd name="T22" fmla="*/ 4 w 468"/>
                <a:gd name="T23" fmla="*/ 22 h 696"/>
                <a:gd name="T24" fmla="*/ 2 w 468"/>
                <a:gd name="T25" fmla="*/ 14 h 696"/>
                <a:gd name="T26" fmla="*/ 12 w 468"/>
                <a:gd name="T27" fmla="*/ 11 h 696"/>
                <a:gd name="T28" fmla="*/ 14 w 468"/>
                <a:gd name="T29" fmla="*/ 2 h 696"/>
                <a:gd name="T30" fmla="*/ 16 w 468"/>
                <a:gd name="T31" fmla="*/ 0 h 696"/>
                <a:gd name="T32" fmla="*/ 17 w 468"/>
                <a:gd name="T33" fmla="*/ 0 h 696"/>
                <a:gd name="T34" fmla="*/ 18 w 468"/>
                <a:gd name="T35" fmla="*/ 1 h 696"/>
                <a:gd name="T36" fmla="*/ 17 w 468"/>
                <a:gd name="T37" fmla="*/ 2 h 696"/>
                <a:gd name="T38" fmla="*/ 17 w 468"/>
                <a:gd name="T39" fmla="*/ 4 h 696"/>
                <a:gd name="T40" fmla="*/ 17 w 468"/>
                <a:gd name="T41" fmla="*/ 6 h 696"/>
                <a:gd name="T42" fmla="*/ 20 w 468"/>
                <a:gd name="T43" fmla="*/ 6 h 696"/>
                <a:gd name="T44" fmla="*/ 22 w 468"/>
                <a:gd name="T45" fmla="*/ 5 h 696"/>
                <a:gd name="T46" fmla="*/ 24 w 468"/>
                <a:gd name="T47" fmla="*/ 7 h 696"/>
                <a:gd name="T48" fmla="*/ 28 w 468"/>
                <a:gd name="T49" fmla="*/ 7 h 696"/>
                <a:gd name="T50" fmla="*/ 28 w 468"/>
                <a:gd name="T51" fmla="*/ 11 h 696"/>
                <a:gd name="T52" fmla="*/ 25 w 468"/>
                <a:gd name="T53" fmla="*/ 14 h 696"/>
                <a:gd name="T54" fmla="*/ 23 w 468"/>
                <a:gd name="T55" fmla="*/ 15 h 696"/>
                <a:gd name="T56" fmla="*/ 23 w 468"/>
                <a:gd name="T57" fmla="*/ 19 h 696"/>
                <a:gd name="T58" fmla="*/ 23 w 468"/>
                <a:gd name="T59" fmla="*/ 21 h 696"/>
                <a:gd name="T60" fmla="*/ 24 w 468"/>
                <a:gd name="T61" fmla="*/ 21 h 696"/>
                <a:gd name="T62" fmla="*/ 27 w 468"/>
                <a:gd name="T63" fmla="*/ 23 h 696"/>
                <a:gd name="T64" fmla="*/ 29 w 468"/>
                <a:gd name="T65" fmla="*/ 24 h 696"/>
                <a:gd name="T66" fmla="*/ 29 w 468"/>
                <a:gd name="T67" fmla="*/ 28 h 696"/>
                <a:gd name="T68" fmla="*/ 29 w 468"/>
                <a:gd name="T69" fmla="*/ 29 h 696"/>
                <a:gd name="T70" fmla="*/ 29 w 468"/>
                <a:gd name="T71" fmla="*/ 32 h 696"/>
                <a:gd name="T72" fmla="*/ 32 w 468"/>
                <a:gd name="T73" fmla="*/ 32 h 696"/>
                <a:gd name="T74" fmla="*/ 33 w 468"/>
                <a:gd name="T75" fmla="*/ 35 h 696"/>
                <a:gd name="T76" fmla="*/ 34 w 468"/>
                <a:gd name="T77" fmla="*/ 38 h 696"/>
                <a:gd name="T78" fmla="*/ 35 w 468"/>
                <a:gd name="T79" fmla="*/ 39 h 696"/>
                <a:gd name="T80" fmla="*/ 36 w 468"/>
                <a:gd name="T81" fmla="*/ 40 h 696"/>
                <a:gd name="T82" fmla="*/ 37 w 468"/>
                <a:gd name="T83" fmla="*/ 41 h 696"/>
                <a:gd name="T84" fmla="*/ 38 w 468"/>
                <a:gd name="T85" fmla="*/ 42 h 696"/>
                <a:gd name="T86" fmla="*/ 41 w 468"/>
                <a:gd name="T87" fmla="*/ 44 h 696"/>
                <a:gd name="T88" fmla="*/ 40 w 468"/>
                <a:gd name="T89" fmla="*/ 44 h 696"/>
                <a:gd name="T90" fmla="*/ 37 w 468"/>
                <a:gd name="T91" fmla="*/ 45 h 696"/>
                <a:gd name="T92" fmla="*/ 36 w 468"/>
                <a:gd name="T93" fmla="*/ 48 h 696"/>
                <a:gd name="T94" fmla="*/ 34 w 468"/>
                <a:gd name="T95" fmla="*/ 49 h 696"/>
                <a:gd name="T96" fmla="*/ 32 w 468"/>
                <a:gd name="T97" fmla="*/ 51 h 696"/>
                <a:gd name="T98" fmla="*/ 31 w 468"/>
                <a:gd name="T99" fmla="*/ 51 h 696"/>
                <a:gd name="T100" fmla="*/ 26 w 468"/>
                <a:gd name="T101" fmla="*/ 49 h 696"/>
                <a:gd name="T102" fmla="*/ 23 w 468"/>
                <a:gd name="T103" fmla="*/ 51 h 696"/>
                <a:gd name="T104" fmla="*/ 21 w 468"/>
                <a:gd name="T105" fmla="*/ 51 h 696"/>
                <a:gd name="T106" fmla="*/ 20 w 468"/>
                <a:gd name="T107" fmla="*/ 52 h 696"/>
                <a:gd name="T108" fmla="*/ 17 w 468"/>
                <a:gd name="T109" fmla="*/ 55 h 696"/>
                <a:gd name="T110" fmla="*/ 15 w 468"/>
                <a:gd name="T111" fmla="*/ 56 h 696"/>
                <a:gd name="T112" fmla="*/ 15 w 468"/>
                <a:gd name="T113" fmla="*/ 59 h 696"/>
                <a:gd name="T114" fmla="*/ 14 w 468"/>
                <a:gd name="T115" fmla="*/ 59 h 696"/>
                <a:gd name="T116" fmla="*/ 12 w 468"/>
                <a:gd name="T117" fmla="*/ 59 h 696"/>
                <a:gd name="T118" fmla="*/ 11 w 468"/>
                <a:gd name="T119" fmla="*/ 57 h 696"/>
                <a:gd name="T120" fmla="*/ 9 w 468"/>
                <a:gd name="T121" fmla="*/ 57 h 696"/>
                <a:gd name="T122" fmla="*/ 6 w 468"/>
                <a:gd name="T123" fmla="*/ 58 h 696"/>
                <a:gd name="T124" fmla="*/ 4 w 468"/>
                <a:gd name="T125" fmla="*/ 60 h 69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8"/>
                <a:gd name="T190" fmla="*/ 0 h 696"/>
                <a:gd name="T191" fmla="*/ 468 w 468"/>
                <a:gd name="T192" fmla="*/ 696 h 69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8" h="696">
                  <a:moveTo>
                    <a:pt x="30" y="696"/>
                  </a:moveTo>
                  <a:lnTo>
                    <a:pt x="18" y="696"/>
                  </a:lnTo>
                  <a:lnTo>
                    <a:pt x="6" y="696"/>
                  </a:lnTo>
                  <a:lnTo>
                    <a:pt x="0" y="690"/>
                  </a:lnTo>
                  <a:lnTo>
                    <a:pt x="6" y="678"/>
                  </a:lnTo>
                  <a:lnTo>
                    <a:pt x="12" y="666"/>
                  </a:lnTo>
                  <a:lnTo>
                    <a:pt x="18" y="654"/>
                  </a:lnTo>
                  <a:lnTo>
                    <a:pt x="18" y="642"/>
                  </a:lnTo>
                  <a:lnTo>
                    <a:pt x="18" y="618"/>
                  </a:lnTo>
                  <a:lnTo>
                    <a:pt x="24" y="606"/>
                  </a:lnTo>
                  <a:lnTo>
                    <a:pt x="30" y="594"/>
                  </a:lnTo>
                  <a:lnTo>
                    <a:pt x="30" y="582"/>
                  </a:lnTo>
                  <a:lnTo>
                    <a:pt x="36" y="576"/>
                  </a:lnTo>
                  <a:lnTo>
                    <a:pt x="42" y="564"/>
                  </a:lnTo>
                  <a:lnTo>
                    <a:pt x="48" y="546"/>
                  </a:lnTo>
                  <a:lnTo>
                    <a:pt x="48" y="528"/>
                  </a:lnTo>
                  <a:lnTo>
                    <a:pt x="60" y="516"/>
                  </a:lnTo>
                  <a:lnTo>
                    <a:pt x="66" y="504"/>
                  </a:lnTo>
                  <a:lnTo>
                    <a:pt x="66" y="492"/>
                  </a:lnTo>
                  <a:lnTo>
                    <a:pt x="60" y="480"/>
                  </a:lnTo>
                  <a:lnTo>
                    <a:pt x="54" y="468"/>
                  </a:lnTo>
                  <a:lnTo>
                    <a:pt x="60" y="456"/>
                  </a:lnTo>
                  <a:lnTo>
                    <a:pt x="72" y="450"/>
                  </a:lnTo>
                  <a:lnTo>
                    <a:pt x="84" y="438"/>
                  </a:lnTo>
                  <a:lnTo>
                    <a:pt x="90" y="426"/>
                  </a:lnTo>
                  <a:lnTo>
                    <a:pt x="90" y="420"/>
                  </a:lnTo>
                  <a:lnTo>
                    <a:pt x="90" y="408"/>
                  </a:lnTo>
                  <a:lnTo>
                    <a:pt x="90" y="402"/>
                  </a:lnTo>
                  <a:lnTo>
                    <a:pt x="84" y="396"/>
                  </a:lnTo>
                  <a:lnTo>
                    <a:pt x="78" y="378"/>
                  </a:lnTo>
                  <a:lnTo>
                    <a:pt x="72" y="360"/>
                  </a:lnTo>
                  <a:lnTo>
                    <a:pt x="66" y="348"/>
                  </a:lnTo>
                  <a:lnTo>
                    <a:pt x="72" y="336"/>
                  </a:lnTo>
                  <a:lnTo>
                    <a:pt x="66" y="306"/>
                  </a:lnTo>
                  <a:lnTo>
                    <a:pt x="54" y="276"/>
                  </a:lnTo>
                  <a:lnTo>
                    <a:pt x="42" y="252"/>
                  </a:lnTo>
                  <a:lnTo>
                    <a:pt x="36" y="222"/>
                  </a:lnTo>
                  <a:lnTo>
                    <a:pt x="30" y="192"/>
                  </a:lnTo>
                  <a:lnTo>
                    <a:pt x="24" y="162"/>
                  </a:lnTo>
                  <a:lnTo>
                    <a:pt x="42" y="174"/>
                  </a:lnTo>
                  <a:lnTo>
                    <a:pt x="120" y="138"/>
                  </a:lnTo>
                  <a:lnTo>
                    <a:pt x="132" y="126"/>
                  </a:lnTo>
                  <a:lnTo>
                    <a:pt x="120" y="54"/>
                  </a:lnTo>
                  <a:lnTo>
                    <a:pt x="156" y="30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0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8" y="18"/>
                  </a:lnTo>
                  <a:lnTo>
                    <a:pt x="198" y="24"/>
                  </a:lnTo>
                  <a:lnTo>
                    <a:pt x="198" y="30"/>
                  </a:lnTo>
                  <a:lnTo>
                    <a:pt x="198" y="42"/>
                  </a:lnTo>
                  <a:lnTo>
                    <a:pt x="198" y="48"/>
                  </a:lnTo>
                  <a:lnTo>
                    <a:pt x="192" y="60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28" y="60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34" y="60"/>
                  </a:lnTo>
                  <a:lnTo>
                    <a:pt x="252" y="60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312" y="84"/>
                  </a:lnTo>
                  <a:lnTo>
                    <a:pt x="318" y="96"/>
                  </a:lnTo>
                  <a:lnTo>
                    <a:pt x="318" y="102"/>
                  </a:lnTo>
                  <a:lnTo>
                    <a:pt x="312" y="120"/>
                  </a:lnTo>
                  <a:lnTo>
                    <a:pt x="306" y="132"/>
                  </a:lnTo>
                  <a:lnTo>
                    <a:pt x="294" y="144"/>
                  </a:lnTo>
                  <a:lnTo>
                    <a:pt x="282" y="156"/>
                  </a:lnTo>
                  <a:lnTo>
                    <a:pt x="276" y="162"/>
                  </a:lnTo>
                  <a:lnTo>
                    <a:pt x="270" y="162"/>
                  </a:lnTo>
                  <a:lnTo>
                    <a:pt x="264" y="174"/>
                  </a:lnTo>
                  <a:lnTo>
                    <a:pt x="264" y="192"/>
                  </a:lnTo>
                  <a:lnTo>
                    <a:pt x="264" y="216"/>
                  </a:lnTo>
                  <a:lnTo>
                    <a:pt x="258" y="216"/>
                  </a:lnTo>
                  <a:lnTo>
                    <a:pt x="258" y="228"/>
                  </a:lnTo>
                  <a:lnTo>
                    <a:pt x="252" y="234"/>
                  </a:lnTo>
                  <a:lnTo>
                    <a:pt x="258" y="240"/>
                  </a:lnTo>
                  <a:lnTo>
                    <a:pt x="264" y="240"/>
                  </a:lnTo>
                  <a:lnTo>
                    <a:pt x="270" y="240"/>
                  </a:lnTo>
                  <a:lnTo>
                    <a:pt x="276" y="240"/>
                  </a:lnTo>
                  <a:lnTo>
                    <a:pt x="288" y="240"/>
                  </a:lnTo>
                  <a:lnTo>
                    <a:pt x="300" y="246"/>
                  </a:lnTo>
                  <a:lnTo>
                    <a:pt x="306" y="258"/>
                  </a:lnTo>
                  <a:lnTo>
                    <a:pt x="312" y="264"/>
                  </a:lnTo>
                  <a:lnTo>
                    <a:pt x="318" y="276"/>
                  </a:lnTo>
                  <a:lnTo>
                    <a:pt x="330" y="282"/>
                  </a:lnTo>
                  <a:lnTo>
                    <a:pt x="330" y="300"/>
                  </a:lnTo>
                  <a:lnTo>
                    <a:pt x="336" y="312"/>
                  </a:lnTo>
                  <a:lnTo>
                    <a:pt x="336" y="318"/>
                  </a:lnTo>
                  <a:lnTo>
                    <a:pt x="336" y="330"/>
                  </a:lnTo>
                  <a:lnTo>
                    <a:pt x="324" y="330"/>
                  </a:lnTo>
                  <a:lnTo>
                    <a:pt x="330" y="336"/>
                  </a:lnTo>
                  <a:lnTo>
                    <a:pt x="330" y="342"/>
                  </a:lnTo>
                  <a:lnTo>
                    <a:pt x="336" y="348"/>
                  </a:lnTo>
                  <a:lnTo>
                    <a:pt x="330" y="360"/>
                  </a:lnTo>
                  <a:lnTo>
                    <a:pt x="336" y="372"/>
                  </a:lnTo>
                  <a:lnTo>
                    <a:pt x="354" y="366"/>
                  </a:lnTo>
                  <a:lnTo>
                    <a:pt x="366" y="366"/>
                  </a:lnTo>
                  <a:lnTo>
                    <a:pt x="372" y="378"/>
                  </a:lnTo>
                  <a:lnTo>
                    <a:pt x="372" y="390"/>
                  </a:lnTo>
                  <a:lnTo>
                    <a:pt x="378" y="396"/>
                  </a:lnTo>
                  <a:lnTo>
                    <a:pt x="378" y="408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44"/>
                  </a:lnTo>
                  <a:lnTo>
                    <a:pt x="390" y="444"/>
                  </a:lnTo>
                  <a:lnTo>
                    <a:pt x="396" y="444"/>
                  </a:lnTo>
                  <a:lnTo>
                    <a:pt x="402" y="450"/>
                  </a:lnTo>
                  <a:lnTo>
                    <a:pt x="408" y="450"/>
                  </a:lnTo>
                  <a:lnTo>
                    <a:pt x="408" y="462"/>
                  </a:lnTo>
                  <a:lnTo>
                    <a:pt x="408" y="468"/>
                  </a:lnTo>
                  <a:lnTo>
                    <a:pt x="414" y="474"/>
                  </a:lnTo>
                  <a:lnTo>
                    <a:pt x="420" y="474"/>
                  </a:lnTo>
                  <a:lnTo>
                    <a:pt x="420" y="480"/>
                  </a:lnTo>
                  <a:lnTo>
                    <a:pt x="426" y="480"/>
                  </a:lnTo>
                  <a:lnTo>
                    <a:pt x="432" y="480"/>
                  </a:lnTo>
                  <a:lnTo>
                    <a:pt x="462" y="486"/>
                  </a:lnTo>
                  <a:lnTo>
                    <a:pt x="468" y="492"/>
                  </a:lnTo>
                  <a:lnTo>
                    <a:pt x="468" y="498"/>
                  </a:lnTo>
                  <a:lnTo>
                    <a:pt x="462" y="498"/>
                  </a:lnTo>
                  <a:lnTo>
                    <a:pt x="456" y="498"/>
                  </a:lnTo>
                  <a:lnTo>
                    <a:pt x="456" y="504"/>
                  </a:lnTo>
                  <a:lnTo>
                    <a:pt x="456" y="510"/>
                  </a:lnTo>
                  <a:lnTo>
                    <a:pt x="450" y="516"/>
                  </a:lnTo>
                  <a:lnTo>
                    <a:pt x="426" y="516"/>
                  </a:lnTo>
                  <a:lnTo>
                    <a:pt x="408" y="528"/>
                  </a:lnTo>
                  <a:lnTo>
                    <a:pt x="408" y="546"/>
                  </a:lnTo>
                  <a:lnTo>
                    <a:pt x="414" y="552"/>
                  </a:lnTo>
                  <a:lnTo>
                    <a:pt x="408" y="558"/>
                  </a:lnTo>
                  <a:lnTo>
                    <a:pt x="402" y="564"/>
                  </a:lnTo>
                  <a:lnTo>
                    <a:pt x="384" y="564"/>
                  </a:lnTo>
                  <a:lnTo>
                    <a:pt x="372" y="564"/>
                  </a:lnTo>
                  <a:lnTo>
                    <a:pt x="372" y="576"/>
                  </a:lnTo>
                  <a:lnTo>
                    <a:pt x="366" y="576"/>
                  </a:lnTo>
                  <a:lnTo>
                    <a:pt x="366" y="582"/>
                  </a:lnTo>
                  <a:lnTo>
                    <a:pt x="360" y="582"/>
                  </a:lnTo>
                  <a:lnTo>
                    <a:pt x="348" y="576"/>
                  </a:lnTo>
                  <a:lnTo>
                    <a:pt x="336" y="570"/>
                  </a:lnTo>
                  <a:lnTo>
                    <a:pt x="324" y="570"/>
                  </a:lnTo>
                  <a:lnTo>
                    <a:pt x="300" y="564"/>
                  </a:lnTo>
                  <a:lnTo>
                    <a:pt x="282" y="564"/>
                  </a:lnTo>
                  <a:lnTo>
                    <a:pt x="270" y="570"/>
                  </a:lnTo>
                  <a:lnTo>
                    <a:pt x="264" y="576"/>
                  </a:lnTo>
                  <a:lnTo>
                    <a:pt x="258" y="576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34" y="594"/>
                  </a:lnTo>
                  <a:lnTo>
                    <a:pt x="228" y="600"/>
                  </a:lnTo>
                  <a:lnTo>
                    <a:pt x="210" y="618"/>
                  </a:lnTo>
                  <a:lnTo>
                    <a:pt x="210" y="624"/>
                  </a:lnTo>
                  <a:lnTo>
                    <a:pt x="192" y="630"/>
                  </a:lnTo>
                  <a:lnTo>
                    <a:pt x="186" y="630"/>
                  </a:lnTo>
                  <a:lnTo>
                    <a:pt x="180" y="636"/>
                  </a:lnTo>
                  <a:lnTo>
                    <a:pt x="174" y="642"/>
                  </a:lnTo>
                  <a:lnTo>
                    <a:pt x="168" y="642"/>
                  </a:lnTo>
                  <a:lnTo>
                    <a:pt x="168" y="654"/>
                  </a:lnTo>
                  <a:lnTo>
                    <a:pt x="168" y="678"/>
                  </a:lnTo>
                  <a:lnTo>
                    <a:pt x="162" y="684"/>
                  </a:lnTo>
                  <a:lnTo>
                    <a:pt x="156" y="684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72"/>
                  </a:lnTo>
                  <a:lnTo>
                    <a:pt x="138" y="672"/>
                  </a:lnTo>
                  <a:lnTo>
                    <a:pt x="138" y="666"/>
                  </a:lnTo>
                  <a:lnTo>
                    <a:pt x="132" y="660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48"/>
                  </a:lnTo>
                  <a:lnTo>
                    <a:pt x="102" y="654"/>
                  </a:lnTo>
                  <a:lnTo>
                    <a:pt x="90" y="654"/>
                  </a:lnTo>
                  <a:lnTo>
                    <a:pt x="84" y="654"/>
                  </a:lnTo>
                  <a:lnTo>
                    <a:pt x="72" y="660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36" y="684"/>
                  </a:lnTo>
                  <a:lnTo>
                    <a:pt x="30" y="69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7" name="Freeform 22">
              <a:extLst>
                <a:ext uri="{FF2B5EF4-FFF2-40B4-BE49-F238E27FC236}">
                  <a16:creationId xmlns:a16="http://schemas.microsoft.com/office/drawing/2014/main" id="{2F7A477D-6CF8-44B3-8B32-64EE03DC4D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2895" y="3967106"/>
              <a:ext cx="610479" cy="507686"/>
            </a:xfrm>
            <a:custGeom>
              <a:avLst/>
              <a:gdLst>
                <a:gd name="T0" fmla="*/ 87 w 1146"/>
                <a:gd name="T1" fmla="*/ 56 h 954"/>
                <a:gd name="T2" fmla="*/ 83 w 1146"/>
                <a:gd name="T3" fmla="*/ 66 h 954"/>
                <a:gd name="T4" fmla="*/ 74 w 1146"/>
                <a:gd name="T5" fmla="*/ 69 h 954"/>
                <a:gd name="T6" fmla="*/ 67 w 1146"/>
                <a:gd name="T7" fmla="*/ 75 h 954"/>
                <a:gd name="T8" fmla="*/ 59 w 1146"/>
                <a:gd name="T9" fmla="*/ 78 h 954"/>
                <a:gd name="T10" fmla="*/ 52 w 1146"/>
                <a:gd name="T11" fmla="*/ 77 h 954"/>
                <a:gd name="T12" fmla="*/ 48 w 1146"/>
                <a:gd name="T13" fmla="*/ 79 h 954"/>
                <a:gd name="T14" fmla="*/ 41 w 1146"/>
                <a:gd name="T15" fmla="*/ 82 h 954"/>
                <a:gd name="T16" fmla="*/ 29 w 1146"/>
                <a:gd name="T17" fmla="*/ 78 h 954"/>
                <a:gd name="T18" fmla="*/ 28 w 1146"/>
                <a:gd name="T19" fmla="*/ 76 h 954"/>
                <a:gd name="T20" fmla="*/ 28 w 1146"/>
                <a:gd name="T21" fmla="*/ 72 h 954"/>
                <a:gd name="T22" fmla="*/ 28 w 1146"/>
                <a:gd name="T23" fmla="*/ 74 h 954"/>
                <a:gd name="T24" fmla="*/ 21 w 1146"/>
                <a:gd name="T25" fmla="*/ 74 h 954"/>
                <a:gd name="T26" fmla="*/ 20 w 1146"/>
                <a:gd name="T27" fmla="*/ 67 h 954"/>
                <a:gd name="T28" fmla="*/ 23 w 1146"/>
                <a:gd name="T29" fmla="*/ 64 h 954"/>
                <a:gd name="T30" fmla="*/ 28 w 1146"/>
                <a:gd name="T31" fmla="*/ 65 h 954"/>
                <a:gd name="T32" fmla="*/ 32 w 1146"/>
                <a:gd name="T33" fmla="*/ 62 h 954"/>
                <a:gd name="T34" fmla="*/ 31 w 1146"/>
                <a:gd name="T35" fmla="*/ 56 h 954"/>
                <a:gd name="T36" fmla="*/ 36 w 1146"/>
                <a:gd name="T37" fmla="*/ 54 h 954"/>
                <a:gd name="T38" fmla="*/ 38 w 1146"/>
                <a:gd name="T39" fmla="*/ 54 h 954"/>
                <a:gd name="T40" fmla="*/ 32 w 1146"/>
                <a:gd name="T41" fmla="*/ 54 h 954"/>
                <a:gd name="T42" fmla="*/ 29 w 1146"/>
                <a:gd name="T43" fmla="*/ 59 h 954"/>
                <a:gd name="T44" fmla="*/ 26 w 1146"/>
                <a:gd name="T45" fmla="*/ 59 h 954"/>
                <a:gd name="T46" fmla="*/ 25 w 1146"/>
                <a:gd name="T47" fmla="*/ 61 h 954"/>
                <a:gd name="T48" fmla="*/ 20 w 1146"/>
                <a:gd name="T49" fmla="*/ 61 h 954"/>
                <a:gd name="T50" fmla="*/ 11 w 1146"/>
                <a:gd name="T51" fmla="*/ 54 h 954"/>
                <a:gd name="T52" fmla="*/ 14 w 1146"/>
                <a:gd name="T53" fmla="*/ 50 h 954"/>
                <a:gd name="T54" fmla="*/ 21 w 1146"/>
                <a:gd name="T55" fmla="*/ 51 h 954"/>
                <a:gd name="T56" fmla="*/ 24 w 1146"/>
                <a:gd name="T57" fmla="*/ 50 h 954"/>
                <a:gd name="T58" fmla="*/ 28 w 1146"/>
                <a:gd name="T59" fmla="*/ 48 h 954"/>
                <a:gd name="T60" fmla="*/ 30 w 1146"/>
                <a:gd name="T61" fmla="*/ 49 h 954"/>
                <a:gd name="T62" fmla="*/ 26 w 1146"/>
                <a:gd name="T63" fmla="*/ 47 h 954"/>
                <a:gd name="T64" fmla="*/ 20 w 1146"/>
                <a:gd name="T65" fmla="*/ 50 h 954"/>
                <a:gd name="T66" fmla="*/ 20 w 1146"/>
                <a:gd name="T67" fmla="*/ 44 h 954"/>
                <a:gd name="T68" fmla="*/ 19 w 1146"/>
                <a:gd name="T69" fmla="*/ 46 h 954"/>
                <a:gd name="T70" fmla="*/ 15 w 1146"/>
                <a:gd name="T71" fmla="*/ 49 h 954"/>
                <a:gd name="T72" fmla="*/ 8 w 1146"/>
                <a:gd name="T73" fmla="*/ 48 h 954"/>
                <a:gd name="T74" fmla="*/ 6 w 1146"/>
                <a:gd name="T75" fmla="*/ 41 h 954"/>
                <a:gd name="T76" fmla="*/ 10 w 1146"/>
                <a:gd name="T77" fmla="*/ 41 h 954"/>
                <a:gd name="T78" fmla="*/ 9 w 1146"/>
                <a:gd name="T79" fmla="*/ 39 h 954"/>
                <a:gd name="T80" fmla="*/ 14 w 1146"/>
                <a:gd name="T81" fmla="*/ 35 h 954"/>
                <a:gd name="T82" fmla="*/ 19 w 1146"/>
                <a:gd name="T83" fmla="*/ 32 h 954"/>
                <a:gd name="T84" fmla="*/ 20 w 1146"/>
                <a:gd name="T85" fmla="*/ 29 h 954"/>
                <a:gd name="T86" fmla="*/ 27 w 1146"/>
                <a:gd name="T87" fmla="*/ 27 h 954"/>
                <a:gd name="T88" fmla="*/ 33 w 1146"/>
                <a:gd name="T89" fmla="*/ 28 h 954"/>
                <a:gd name="T90" fmla="*/ 44 w 1146"/>
                <a:gd name="T91" fmla="*/ 27 h 954"/>
                <a:gd name="T92" fmla="*/ 52 w 1146"/>
                <a:gd name="T93" fmla="*/ 41 h 954"/>
                <a:gd name="T94" fmla="*/ 61 w 1146"/>
                <a:gd name="T95" fmla="*/ 40 h 954"/>
                <a:gd name="T96" fmla="*/ 69 w 1146"/>
                <a:gd name="T97" fmla="*/ 34 h 954"/>
                <a:gd name="T98" fmla="*/ 62 w 1146"/>
                <a:gd name="T99" fmla="*/ 12 h 954"/>
                <a:gd name="T100" fmla="*/ 74 w 1146"/>
                <a:gd name="T101" fmla="*/ 8 h 954"/>
                <a:gd name="T102" fmla="*/ 87 w 1146"/>
                <a:gd name="T103" fmla="*/ 1 h 954"/>
                <a:gd name="T104" fmla="*/ 99 w 1146"/>
                <a:gd name="T105" fmla="*/ 12 h 954"/>
                <a:gd name="T106" fmla="*/ 98 w 1146"/>
                <a:gd name="T107" fmla="*/ 27 h 954"/>
                <a:gd name="T108" fmla="*/ 16 w 1146"/>
                <a:gd name="T109" fmla="*/ 33 h 954"/>
                <a:gd name="T110" fmla="*/ 11 w 1146"/>
                <a:gd name="T111" fmla="*/ 36 h 954"/>
                <a:gd name="T112" fmla="*/ 5 w 1146"/>
                <a:gd name="T113" fmla="*/ 41 h 954"/>
                <a:gd name="T114" fmla="*/ 2 w 1146"/>
                <a:gd name="T115" fmla="*/ 36 h 954"/>
                <a:gd name="T116" fmla="*/ 5 w 1146"/>
                <a:gd name="T117" fmla="*/ 26 h 954"/>
                <a:gd name="T118" fmla="*/ 10 w 1146"/>
                <a:gd name="T119" fmla="*/ 20 h 954"/>
                <a:gd name="T120" fmla="*/ 13 w 1146"/>
                <a:gd name="T121" fmla="*/ 20 h 954"/>
                <a:gd name="T122" fmla="*/ 15 w 1146"/>
                <a:gd name="T123" fmla="*/ 27 h 95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46"/>
                <a:gd name="T187" fmla="*/ 0 h 954"/>
                <a:gd name="T188" fmla="*/ 1146 w 1146"/>
                <a:gd name="T189" fmla="*/ 954 h 95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46" h="954">
                  <a:moveTo>
                    <a:pt x="1056" y="498"/>
                  </a:moveTo>
                  <a:lnTo>
                    <a:pt x="1044" y="510"/>
                  </a:lnTo>
                  <a:lnTo>
                    <a:pt x="1032" y="516"/>
                  </a:lnTo>
                  <a:lnTo>
                    <a:pt x="1038" y="528"/>
                  </a:lnTo>
                  <a:lnTo>
                    <a:pt x="1050" y="540"/>
                  </a:lnTo>
                  <a:lnTo>
                    <a:pt x="1050" y="546"/>
                  </a:lnTo>
                  <a:lnTo>
                    <a:pt x="1050" y="564"/>
                  </a:lnTo>
                  <a:lnTo>
                    <a:pt x="1038" y="576"/>
                  </a:lnTo>
                  <a:lnTo>
                    <a:pt x="1032" y="588"/>
                  </a:lnTo>
                  <a:lnTo>
                    <a:pt x="1020" y="594"/>
                  </a:lnTo>
                  <a:lnTo>
                    <a:pt x="1008" y="594"/>
                  </a:lnTo>
                  <a:lnTo>
                    <a:pt x="1002" y="600"/>
                  </a:lnTo>
                  <a:lnTo>
                    <a:pt x="996" y="612"/>
                  </a:lnTo>
                  <a:lnTo>
                    <a:pt x="996" y="624"/>
                  </a:lnTo>
                  <a:lnTo>
                    <a:pt x="996" y="648"/>
                  </a:lnTo>
                  <a:lnTo>
                    <a:pt x="996" y="660"/>
                  </a:lnTo>
                  <a:lnTo>
                    <a:pt x="1002" y="672"/>
                  </a:lnTo>
                  <a:lnTo>
                    <a:pt x="1002" y="684"/>
                  </a:lnTo>
                  <a:lnTo>
                    <a:pt x="996" y="684"/>
                  </a:lnTo>
                  <a:lnTo>
                    <a:pt x="984" y="690"/>
                  </a:lnTo>
                  <a:lnTo>
                    <a:pt x="972" y="690"/>
                  </a:lnTo>
                  <a:lnTo>
                    <a:pt x="966" y="696"/>
                  </a:lnTo>
                  <a:lnTo>
                    <a:pt x="966" y="702"/>
                  </a:lnTo>
                  <a:lnTo>
                    <a:pt x="966" y="714"/>
                  </a:lnTo>
                  <a:lnTo>
                    <a:pt x="972" y="726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2" y="756"/>
                  </a:lnTo>
                  <a:lnTo>
                    <a:pt x="966" y="756"/>
                  </a:lnTo>
                  <a:lnTo>
                    <a:pt x="942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18" y="768"/>
                  </a:lnTo>
                  <a:lnTo>
                    <a:pt x="906" y="768"/>
                  </a:lnTo>
                  <a:lnTo>
                    <a:pt x="894" y="762"/>
                  </a:lnTo>
                  <a:lnTo>
                    <a:pt x="882" y="756"/>
                  </a:lnTo>
                  <a:lnTo>
                    <a:pt x="876" y="756"/>
                  </a:lnTo>
                  <a:lnTo>
                    <a:pt x="876" y="762"/>
                  </a:lnTo>
                  <a:lnTo>
                    <a:pt x="864" y="768"/>
                  </a:lnTo>
                  <a:lnTo>
                    <a:pt x="858" y="774"/>
                  </a:lnTo>
                  <a:lnTo>
                    <a:pt x="852" y="774"/>
                  </a:lnTo>
                  <a:lnTo>
                    <a:pt x="840" y="780"/>
                  </a:lnTo>
                  <a:lnTo>
                    <a:pt x="840" y="786"/>
                  </a:lnTo>
                  <a:lnTo>
                    <a:pt x="840" y="792"/>
                  </a:lnTo>
                  <a:lnTo>
                    <a:pt x="840" y="804"/>
                  </a:lnTo>
                  <a:lnTo>
                    <a:pt x="840" y="810"/>
                  </a:lnTo>
                  <a:lnTo>
                    <a:pt x="828" y="816"/>
                  </a:lnTo>
                  <a:lnTo>
                    <a:pt x="810" y="810"/>
                  </a:lnTo>
                  <a:lnTo>
                    <a:pt x="792" y="810"/>
                  </a:lnTo>
                  <a:lnTo>
                    <a:pt x="786" y="816"/>
                  </a:lnTo>
                  <a:lnTo>
                    <a:pt x="780" y="816"/>
                  </a:lnTo>
                  <a:lnTo>
                    <a:pt x="780" y="822"/>
                  </a:lnTo>
                  <a:lnTo>
                    <a:pt x="780" y="828"/>
                  </a:lnTo>
                  <a:lnTo>
                    <a:pt x="780" y="834"/>
                  </a:lnTo>
                  <a:lnTo>
                    <a:pt x="786" y="840"/>
                  </a:lnTo>
                  <a:lnTo>
                    <a:pt x="786" y="846"/>
                  </a:lnTo>
                  <a:lnTo>
                    <a:pt x="786" y="852"/>
                  </a:lnTo>
                  <a:lnTo>
                    <a:pt x="780" y="858"/>
                  </a:lnTo>
                  <a:lnTo>
                    <a:pt x="768" y="858"/>
                  </a:lnTo>
                  <a:lnTo>
                    <a:pt x="762" y="864"/>
                  </a:lnTo>
                  <a:lnTo>
                    <a:pt x="756" y="864"/>
                  </a:lnTo>
                  <a:lnTo>
                    <a:pt x="750" y="870"/>
                  </a:lnTo>
                  <a:lnTo>
                    <a:pt x="744" y="876"/>
                  </a:lnTo>
                  <a:lnTo>
                    <a:pt x="732" y="876"/>
                  </a:lnTo>
                  <a:lnTo>
                    <a:pt x="726" y="876"/>
                  </a:lnTo>
                  <a:lnTo>
                    <a:pt x="720" y="870"/>
                  </a:lnTo>
                  <a:lnTo>
                    <a:pt x="714" y="864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6" y="876"/>
                  </a:lnTo>
                  <a:lnTo>
                    <a:pt x="696" y="882"/>
                  </a:lnTo>
                  <a:lnTo>
                    <a:pt x="696" y="894"/>
                  </a:lnTo>
                  <a:lnTo>
                    <a:pt x="690" y="900"/>
                  </a:lnTo>
                  <a:lnTo>
                    <a:pt x="684" y="900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54" y="888"/>
                  </a:lnTo>
                  <a:lnTo>
                    <a:pt x="654" y="882"/>
                  </a:lnTo>
                  <a:lnTo>
                    <a:pt x="642" y="876"/>
                  </a:lnTo>
                  <a:lnTo>
                    <a:pt x="636" y="876"/>
                  </a:lnTo>
                  <a:lnTo>
                    <a:pt x="630" y="876"/>
                  </a:lnTo>
                  <a:lnTo>
                    <a:pt x="630" y="870"/>
                  </a:lnTo>
                  <a:lnTo>
                    <a:pt x="618" y="858"/>
                  </a:lnTo>
                  <a:lnTo>
                    <a:pt x="612" y="858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06" y="876"/>
                  </a:lnTo>
                  <a:lnTo>
                    <a:pt x="606" y="882"/>
                  </a:lnTo>
                  <a:lnTo>
                    <a:pt x="606" y="888"/>
                  </a:lnTo>
                  <a:lnTo>
                    <a:pt x="600" y="894"/>
                  </a:lnTo>
                  <a:lnTo>
                    <a:pt x="594" y="894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76" y="894"/>
                  </a:lnTo>
                  <a:lnTo>
                    <a:pt x="582" y="900"/>
                  </a:lnTo>
                  <a:lnTo>
                    <a:pt x="576" y="906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64" y="918"/>
                  </a:lnTo>
                  <a:lnTo>
                    <a:pt x="558" y="918"/>
                  </a:lnTo>
                  <a:lnTo>
                    <a:pt x="558" y="912"/>
                  </a:lnTo>
                  <a:lnTo>
                    <a:pt x="552" y="906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06"/>
                  </a:lnTo>
                  <a:lnTo>
                    <a:pt x="534" y="906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0" y="924"/>
                  </a:lnTo>
                  <a:lnTo>
                    <a:pt x="504" y="924"/>
                  </a:lnTo>
                  <a:lnTo>
                    <a:pt x="498" y="930"/>
                  </a:lnTo>
                  <a:lnTo>
                    <a:pt x="492" y="924"/>
                  </a:lnTo>
                  <a:lnTo>
                    <a:pt x="486" y="930"/>
                  </a:lnTo>
                  <a:lnTo>
                    <a:pt x="480" y="942"/>
                  </a:lnTo>
                  <a:lnTo>
                    <a:pt x="468" y="948"/>
                  </a:lnTo>
                  <a:lnTo>
                    <a:pt x="444" y="942"/>
                  </a:lnTo>
                  <a:lnTo>
                    <a:pt x="438" y="954"/>
                  </a:lnTo>
                  <a:lnTo>
                    <a:pt x="426" y="954"/>
                  </a:lnTo>
                  <a:lnTo>
                    <a:pt x="420" y="948"/>
                  </a:lnTo>
                  <a:lnTo>
                    <a:pt x="408" y="936"/>
                  </a:lnTo>
                  <a:lnTo>
                    <a:pt x="396" y="936"/>
                  </a:lnTo>
                  <a:lnTo>
                    <a:pt x="390" y="930"/>
                  </a:lnTo>
                  <a:lnTo>
                    <a:pt x="390" y="924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66" y="924"/>
                  </a:lnTo>
                  <a:lnTo>
                    <a:pt x="360" y="924"/>
                  </a:lnTo>
                  <a:lnTo>
                    <a:pt x="348" y="918"/>
                  </a:lnTo>
                  <a:lnTo>
                    <a:pt x="342" y="906"/>
                  </a:lnTo>
                  <a:lnTo>
                    <a:pt x="336" y="906"/>
                  </a:lnTo>
                  <a:lnTo>
                    <a:pt x="330" y="906"/>
                  </a:lnTo>
                  <a:lnTo>
                    <a:pt x="312" y="906"/>
                  </a:lnTo>
                  <a:lnTo>
                    <a:pt x="312" y="900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888"/>
                  </a:lnTo>
                  <a:lnTo>
                    <a:pt x="312" y="882"/>
                  </a:lnTo>
                  <a:lnTo>
                    <a:pt x="306" y="876"/>
                  </a:lnTo>
                  <a:lnTo>
                    <a:pt x="312" y="876"/>
                  </a:lnTo>
                  <a:lnTo>
                    <a:pt x="312" y="870"/>
                  </a:lnTo>
                  <a:lnTo>
                    <a:pt x="318" y="876"/>
                  </a:lnTo>
                  <a:lnTo>
                    <a:pt x="318" y="870"/>
                  </a:lnTo>
                  <a:lnTo>
                    <a:pt x="324" y="876"/>
                  </a:lnTo>
                  <a:lnTo>
                    <a:pt x="330" y="876"/>
                  </a:lnTo>
                  <a:lnTo>
                    <a:pt x="336" y="876"/>
                  </a:lnTo>
                  <a:lnTo>
                    <a:pt x="342" y="876"/>
                  </a:lnTo>
                  <a:lnTo>
                    <a:pt x="336" y="876"/>
                  </a:lnTo>
                  <a:lnTo>
                    <a:pt x="330" y="870"/>
                  </a:lnTo>
                  <a:lnTo>
                    <a:pt x="324" y="870"/>
                  </a:lnTo>
                  <a:lnTo>
                    <a:pt x="318" y="870"/>
                  </a:lnTo>
                  <a:lnTo>
                    <a:pt x="312" y="870"/>
                  </a:lnTo>
                  <a:lnTo>
                    <a:pt x="318" y="864"/>
                  </a:lnTo>
                  <a:lnTo>
                    <a:pt x="318" y="858"/>
                  </a:lnTo>
                  <a:lnTo>
                    <a:pt x="318" y="852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6" y="846"/>
                  </a:lnTo>
                  <a:lnTo>
                    <a:pt x="312" y="828"/>
                  </a:lnTo>
                  <a:lnTo>
                    <a:pt x="312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06" y="816"/>
                  </a:lnTo>
                  <a:lnTo>
                    <a:pt x="306" y="810"/>
                  </a:lnTo>
                  <a:lnTo>
                    <a:pt x="306" y="816"/>
                  </a:lnTo>
                  <a:lnTo>
                    <a:pt x="312" y="822"/>
                  </a:lnTo>
                  <a:lnTo>
                    <a:pt x="306" y="822"/>
                  </a:lnTo>
                  <a:lnTo>
                    <a:pt x="306" y="828"/>
                  </a:lnTo>
                  <a:lnTo>
                    <a:pt x="306" y="834"/>
                  </a:lnTo>
                  <a:lnTo>
                    <a:pt x="300" y="840"/>
                  </a:lnTo>
                  <a:lnTo>
                    <a:pt x="300" y="846"/>
                  </a:lnTo>
                  <a:lnTo>
                    <a:pt x="306" y="852"/>
                  </a:lnTo>
                  <a:lnTo>
                    <a:pt x="306" y="858"/>
                  </a:lnTo>
                  <a:lnTo>
                    <a:pt x="312" y="858"/>
                  </a:lnTo>
                  <a:lnTo>
                    <a:pt x="312" y="864"/>
                  </a:lnTo>
                  <a:lnTo>
                    <a:pt x="306" y="864"/>
                  </a:lnTo>
                  <a:lnTo>
                    <a:pt x="300" y="864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82" y="870"/>
                  </a:lnTo>
                  <a:lnTo>
                    <a:pt x="276" y="870"/>
                  </a:lnTo>
                  <a:lnTo>
                    <a:pt x="270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8" y="870"/>
                  </a:lnTo>
                  <a:lnTo>
                    <a:pt x="252" y="870"/>
                  </a:lnTo>
                  <a:lnTo>
                    <a:pt x="252" y="864"/>
                  </a:lnTo>
                  <a:lnTo>
                    <a:pt x="246" y="858"/>
                  </a:lnTo>
                  <a:lnTo>
                    <a:pt x="246" y="852"/>
                  </a:lnTo>
                  <a:lnTo>
                    <a:pt x="246" y="846"/>
                  </a:lnTo>
                  <a:lnTo>
                    <a:pt x="246" y="840"/>
                  </a:lnTo>
                  <a:lnTo>
                    <a:pt x="246" y="834"/>
                  </a:lnTo>
                  <a:lnTo>
                    <a:pt x="246" y="828"/>
                  </a:lnTo>
                  <a:lnTo>
                    <a:pt x="246" y="822"/>
                  </a:lnTo>
                  <a:lnTo>
                    <a:pt x="240" y="816"/>
                  </a:lnTo>
                  <a:lnTo>
                    <a:pt x="240" y="810"/>
                  </a:lnTo>
                  <a:lnTo>
                    <a:pt x="240" y="804"/>
                  </a:lnTo>
                  <a:lnTo>
                    <a:pt x="240" y="798"/>
                  </a:lnTo>
                  <a:lnTo>
                    <a:pt x="234" y="798"/>
                  </a:lnTo>
                  <a:lnTo>
                    <a:pt x="234" y="792"/>
                  </a:lnTo>
                  <a:lnTo>
                    <a:pt x="234" y="786"/>
                  </a:lnTo>
                  <a:lnTo>
                    <a:pt x="234" y="780"/>
                  </a:lnTo>
                  <a:lnTo>
                    <a:pt x="228" y="780"/>
                  </a:lnTo>
                  <a:lnTo>
                    <a:pt x="228" y="774"/>
                  </a:lnTo>
                  <a:lnTo>
                    <a:pt x="228" y="768"/>
                  </a:lnTo>
                  <a:lnTo>
                    <a:pt x="222" y="762"/>
                  </a:lnTo>
                  <a:lnTo>
                    <a:pt x="222" y="756"/>
                  </a:lnTo>
                  <a:lnTo>
                    <a:pt x="222" y="750"/>
                  </a:lnTo>
                  <a:lnTo>
                    <a:pt x="222" y="744"/>
                  </a:lnTo>
                  <a:lnTo>
                    <a:pt x="222" y="738"/>
                  </a:lnTo>
                  <a:lnTo>
                    <a:pt x="216" y="732"/>
                  </a:lnTo>
                  <a:lnTo>
                    <a:pt x="222" y="732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32"/>
                  </a:lnTo>
                  <a:lnTo>
                    <a:pt x="246" y="732"/>
                  </a:lnTo>
                  <a:lnTo>
                    <a:pt x="246" y="738"/>
                  </a:lnTo>
                  <a:lnTo>
                    <a:pt x="252" y="738"/>
                  </a:lnTo>
                  <a:lnTo>
                    <a:pt x="258" y="738"/>
                  </a:lnTo>
                  <a:lnTo>
                    <a:pt x="258" y="732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8" y="732"/>
                  </a:lnTo>
                  <a:lnTo>
                    <a:pt x="294" y="732"/>
                  </a:lnTo>
                  <a:lnTo>
                    <a:pt x="300" y="732"/>
                  </a:lnTo>
                  <a:lnTo>
                    <a:pt x="300" y="738"/>
                  </a:lnTo>
                  <a:lnTo>
                    <a:pt x="306" y="738"/>
                  </a:lnTo>
                  <a:lnTo>
                    <a:pt x="306" y="744"/>
                  </a:lnTo>
                  <a:lnTo>
                    <a:pt x="306" y="750"/>
                  </a:lnTo>
                  <a:lnTo>
                    <a:pt x="312" y="750"/>
                  </a:lnTo>
                  <a:lnTo>
                    <a:pt x="312" y="756"/>
                  </a:lnTo>
                  <a:lnTo>
                    <a:pt x="318" y="756"/>
                  </a:lnTo>
                  <a:lnTo>
                    <a:pt x="318" y="750"/>
                  </a:lnTo>
                  <a:lnTo>
                    <a:pt x="312" y="750"/>
                  </a:lnTo>
                  <a:lnTo>
                    <a:pt x="312" y="744"/>
                  </a:lnTo>
                  <a:lnTo>
                    <a:pt x="318" y="738"/>
                  </a:lnTo>
                  <a:lnTo>
                    <a:pt x="324" y="738"/>
                  </a:lnTo>
                  <a:lnTo>
                    <a:pt x="330" y="738"/>
                  </a:lnTo>
                  <a:lnTo>
                    <a:pt x="336" y="738"/>
                  </a:lnTo>
                  <a:lnTo>
                    <a:pt x="342" y="738"/>
                  </a:lnTo>
                  <a:lnTo>
                    <a:pt x="348" y="732"/>
                  </a:lnTo>
                  <a:lnTo>
                    <a:pt x="354" y="732"/>
                  </a:lnTo>
                  <a:lnTo>
                    <a:pt x="360" y="732"/>
                  </a:lnTo>
                  <a:lnTo>
                    <a:pt x="360" y="726"/>
                  </a:lnTo>
                  <a:lnTo>
                    <a:pt x="366" y="726"/>
                  </a:lnTo>
                  <a:lnTo>
                    <a:pt x="366" y="720"/>
                  </a:lnTo>
                  <a:lnTo>
                    <a:pt x="366" y="714"/>
                  </a:lnTo>
                  <a:lnTo>
                    <a:pt x="360" y="708"/>
                  </a:lnTo>
                  <a:lnTo>
                    <a:pt x="354" y="708"/>
                  </a:lnTo>
                  <a:lnTo>
                    <a:pt x="348" y="702"/>
                  </a:lnTo>
                  <a:lnTo>
                    <a:pt x="354" y="702"/>
                  </a:lnTo>
                  <a:lnTo>
                    <a:pt x="354" y="696"/>
                  </a:lnTo>
                  <a:lnTo>
                    <a:pt x="348" y="696"/>
                  </a:lnTo>
                  <a:lnTo>
                    <a:pt x="348" y="690"/>
                  </a:lnTo>
                  <a:lnTo>
                    <a:pt x="342" y="690"/>
                  </a:lnTo>
                  <a:lnTo>
                    <a:pt x="342" y="684"/>
                  </a:lnTo>
                  <a:lnTo>
                    <a:pt x="342" y="678"/>
                  </a:lnTo>
                  <a:lnTo>
                    <a:pt x="342" y="666"/>
                  </a:lnTo>
                  <a:lnTo>
                    <a:pt x="342" y="660"/>
                  </a:lnTo>
                  <a:lnTo>
                    <a:pt x="348" y="654"/>
                  </a:lnTo>
                  <a:lnTo>
                    <a:pt x="348" y="642"/>
                  </a:lnTo>
                  <a:lnTo>
                    <a:pt x="354" y="642"/>
                  </a:lnTo>
                  <a:lnTo>
                    <a:pt x="360" y="642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66" y="642"/>
                  </a:lnTo>
                  <a:lnTo>
                    <a:pt x="372" y="642"/>
                  </a:lnTo>
                  <a:lnTo>
                    <a:pt x="378" y="642"/>
                  </a:lnTo>
                  <a:lnTo>
                    <a:pt x="384" y="642"/>
                  </a:lnTo>
                  <a:lnTo>
                    <a:pt x="390" y="642"/>
                  </a:lnTo>
                  <a:lnTo>
                    <a:pt x="396" y="642"/>
                  </a:lnTo>
                  <a:lnTo>
                    <a:pt x="396" y="636"/>
                  </a:lnTo>
                  <a:lnTo>
                    <a:pt x="402" y="636"/>
                  </a:lnTo>
                  <a:lnTo>
                    <a:pt x="408" y="636"/>
                  </a:lnTo>
                  <a:lnTo>
                    <a:pt x="402" y="636"/>
                  </a:lnTo>
                  <a:lnTo>
                    <a:pt x="402" y="630"/>
                  </a:lnTo>
                  <a:lnTo>
                    <a:pt x="408" y="630"/>
                  </a:lnTo>
                  <a:lnTo>
                    <a:pt x="408" y="624"/>
                  </a:lnTo>
                  <a:lnTo>
                    <a:pt x="408" y="618"/>
                  </a:lnTo>
                  <a:lnTo>
                    <a:pt x="414" y="618"/>
                  </a:lnTo>
                  <a:lnTo>
                    <a:pt x="420" y="618"/>
                  </a:lnTo>
                  <a:lnTo>
                    <a:pt x="426" y="624"/>
                  </a:lnTo>
                  <a:lnTo>
                    <a:pt x="432" y="624"/>
                  </a:lnTo>
                  <a:lnTo>
                    <a:pt x="438" y="624"/>
                  </a:lnTo>
                  <a:lnTo>
                    <a:pt x="438" y="618"/>
                  </a:lnTo>
                  <a:lnTo>
                    <a:pt x="444" y="618"/>
                  </a:lnTo>
                  <a:lnTo>
                    <a:pt x="450" y="618"/>
                  </a:lnTo>
                  <a:lnTo>
                    <a:pt x="444" y="618"/>
                  </a:lnTo>
                  <a:lnTo>
                    <a:pt x="438" y="618"/>
                  </a:lnTo>
                  <a:lnTo>
                    <a:pt x="438" y="612"/>
                  </a:lnTo>
                  <a:lnTo>
                    <a:pt x="438" y="618"/>
                  </a:lnTo>
                  <a:lnTo>
                    <a:pt x="432" y="624"/>
                  </a:lnTo>
                  <a:lnTo>
                    <a:pt x="426" y="618"/>
                  </a:lnTo>
                  <a:lnTo>
                    <a:pt x="420" y="612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402" y="624"/>
                  </a:lnTo>
                  <a:lnTo>
                    <a:pt x="396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78" y="630"/>
                  </a:lnTo>
                  <a:lnTo>
                    <a:pt x="378" y="636"/>
                  </a:lnTo>
                  <a:lnTo>
                    <a:pt x="372" y="630"/>
                  </a:lnTo>
                  <a:lnTo>
                    <a:pt x="366" y="630"/>
                  </a:lnTo>
                  <a:lnTo>
                    <a:pt x="360" y="630"/>
                  </a:lnTo>
                  <a:lnTo>
                    <a:pt x="354" y="630"/>
                  </a:lnTo>
                  <a:lnTo>
                    <a:pt x="354" y="636"/>
                  </a:lnTo>
                  <a:lnTo>
                    <a:pt x="348" y="636"/>
                  </a:lnTo>
                  <a:lnTo>
                    <a:pt x="348" y="642"/>
                  </a:lnTo>
                  <a:lnTo>
                    <a:pt x="342" y="642"/>
                  </a:lnTo>
                  <a:lnTo>
                    <a:pt x="342" y="648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6" y="660"/>
                  </a:lnTo>
                  <a:lnTo>
                    <a:pt x="336" y="666"/>
                  </a:lnTo>
                  <a:lnTo>
                    <a:pt x="330" y="672"/>
                  </a:lnTo>
                  <a:lnTo>
                    <a:pt x="330" y="678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24" y="696"/>
                  </a:lnTo>
                  <a:lnTo>
                    <a:pt x="324" y="702"/>
                  </a:lnTo>
                  <a:lnTo>
                    <a:pt x="318" y="702"/>
                  </a:lnTo>
                  <a:lnTo>
                    <a:pt x="318" y="708"/>
                  </a:lnTo>
                  <a:lnTo>
                    <a:pt x="312" y="708"/>
                  </a:lnTo>
                  <a:lnTo>
                    <a:pt x="312" y="702"/>
                  </a:lnTo>
                  <a:lnTo>
                    <a:pt x="306" y="702"/>
                  </a:lnTo>
                  <a:lnTo>
                    <a:pt x="300" y="702"/>
                  </a:lnTo>
                  <a:lnTo>
                    <a:pt x="294" y="696"/>
                  </a:lnTo>
                  <a:lnTo>
                    <a:pt x="288" y="696"/>
                  </a:lnTo>
                  <a:lnTo>
                    <a:pt x="282" y="690"/>
                  </a:lnTo>
                  <a:lnTo>
                    <a:pt x="288" y="684"/>
                  </a:lnTo>
                  <a:lnTo>
                    <a:pt x="294" y="684"/>
                  </a:lnTo>
                  <a:lnTo>
                    <a:pt x="294" y="678"/>
                  </a:lnTo>
                  <a:lnTo>
                    <a:pt x="300" y="678"/>
                  </a:lnTo>
                  <a:lnTo>
                    <a:pt x="294" y="678"/>
                  </a:lnTo>
                  <a:lnTo>
                    <a:pt x="294" y="672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94" y="672"/>
                  </a:lnTo>
                  <a:lnTo>
                    <a:pt x="288" y="678"/>
                  </a:lnTo>
                  <a:lnTo>
                    <a:pt x="282" y="684"/>
                  </a:lnTo>
                  <a:lnTo>
                    <a:pt x="282" y="678"/>
                  </a:lnTo>
                  <a:lnTo>
                    <a:pt x="276" y="678"/>
                  </a:lnTo>
                  <a:lnTo>
                    <a:pt x="282" y="684"/>
                  </a:lnTo>
                  <a:lnTo>
                    <a:pt x="282" y="690"/>
                  </a:lnTo>
                  <a:lnTo>
                    <a:pt x="282" y="696"/>
                  </a:lnTo>
                  <a:lnTo>
                    <a:pt x="288" y="702"/>
                  </a:lnTo>
                  <a:lnTo>
                    <a:pt x="294" y="708"/>
                  </a:lnTo>
                  <a:lnTo>
                    <a:pt x="294" y="714"/>
                  </a:lnTo>
                  <a:lnTo>
                    <a:pt x="288" y="714"/>
                  </a:lnTo>
                  <a:lnTo>
                    <a:pt x="282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64" y="714"/>
                  </a:lnTo>
                  <a:lnTo>
                    <a:pt x="258" y="714"/>
                  </a:lnTo>
                  <a:lnTo>
                    <a:pt x="252" y="714"/>
                  </a:lnTo>
                  <a:lnTo>
                    <a:pt x="246" y="714"/>
                  </a:lnTo>
                  <a:lnTo>
                    <a:pt x="240" y="714"/>
                  </a:lnTo>
                  <a:lnTo>
                    <a:pt x="240" y="708"/>
                  </a:lnTo>
                  <a:lnTo>
                    <a:pt x="234" y="708"/>
                  </a:lnTo>
                  <a:lnTo>
                    <a:pt x="228" y="708"/>
                  </a:lnTo>
                  <a:lnTo>
                    <a:pt x="222" y="702"/>
                  </a:lnTo>
                  <a:lnTo>
                    <a:pt x="216" y="702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2" y="690"/>
                  </a:lnTo>
                  <a:lnTo>
                    <a:pt x="186" y="690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68" y="684"/>
                  </a:lnTo>
                  <a:lnTo>
                    <a:pt x="168" y="678"/>
                  </a:lnTo>
                  <a:lnTo>
                    <a:pt x="156" y="672"/>
                  </a:lnTo>
                  <a:lnTo>
                    <a:pt x="150" y="660"/>
                  </a:lnTo>
                  <a:lnTo>
                    <a:pt x="126" y="630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12"/>
                  </a:lnTo>
                  <a:lnTo>
                    <a:pt x="126" y="606"/>
                  </a:lnTo>
                  <a:lnTo>
                    <a:pt x="126" y="600"/>
                  </a:lnTo>
                  <a:lnTo>
                    <a:pt x="132" y="594"/>
                  </a:lnTo>
                  <a:lnTo>
                    <a:pt x="138" y="594"/>
                  </a:lnTo>
                  <a:lnTo>
                    <a:pt x="144" y="588"/>
                  </a:lnTo>
                  <a:lnTo>
                    <a:pt x="144" y="582"/>
                  </a:lnTo>
                  <a:lnTo>
                    <a:pt x="150" y="582"/>
                  </a:lnTo>
                  <a:lnTo>
                    <a:pt x="150" y="576"/>
                  </a:lnTo>
                  <a:lnTo>
                    <a:pt x="156" y="576"/>
                  </a:lnTo>
                  <a:lnTo>
                    <a:pt x="156" y="582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8" y="576"/>
                  </a:lnTo>
                  <a:lnTo>
                    <a:pt x="174" y="576"/>
                  </a:lnTo>
                  <a:lnTo>
                    <a:pt x="180" y="582"/>
                  </a:lnTo>
                  <a:lnTo>
                    <a:pt x="192" y="582"/>
                  </a:lnTo>
                  <a:lnTo>
                    <a:pt x="198" y="582"/>
                  </a:lnTo>
                  <a:lnTo>
                    <a:pt x="204" y="582"/>
                  </a:lnTo>
                  <a:lnTo>
                    <a:pt x="210" y="582"/>
                  </a:lnTo>
                  <a:lnTo>
                    <a:pt x="216" y="588"/>
                  </a:lnTo>
                  <a:lnTo>
                    <a:pt x="222" y="588"/>
                  </a:lnTo>
                  <a:lnTo>
                    <a:pt x="234" y="588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46" y="594"/>
                  </a:lnTo>
                  <a:lnTo>
                    <a:pt x="252" y="588"/>
                  </a:lnTo>
                  <a:lnTo>
                    <a:pt x="258" y="588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52" y="600"/>
                  </a:lnTo>
                  <a:lnTo>
                    <a:pt x="246" y="600"/>
                  </a:lnTo>
                  <a:lnTo>
                    <a:pt x="246" y="606"/>
                  </a:lnTo>
                  <a:lnTo>
                    <a:pt x="246" y="600"/>
                  </a:lnTo>
                  <a:lnTo>
                    <a:pt x="252" y="600"/>
                  </a:lnTo>
                  <a:lnTo>
                    <a:pt x="258" y="594"/>
                  </a:lnTo>
                  <a:lnTo>
                    <a:pt x="264" y="594"/>
                  </a:lnTo>
                  <a:lnTo>
                    <a:pt x="264" y="588"/>
                  </a:lnTo>
                  <a:lnTo>
                    <a:pt x="270" y="588"/>
                  </a:lnTo>
                  <a:lnTo>
                    <a:pt x="270" y="582"/>
                  </a:lnTo>
                  <a:lnTo>
                    <a:pt x="270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76" y="564"/>
                  </a:lnTo>
                  <a:lnTo>
                    <a:pt x="270" y="558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58"/>
                  </a:lnTo>
                  <a:lnTo>
                    <a:pt x="282" y="558"/>
                  </a:lnTo>
                  <a:lnTo>
                    <a:pt x="288" y="558"/>
                  </a:lnTo>
                  <a:lnTo>
                    <a:pt x="294" y="558"/>
                  </a:lnTo>
                  <a:lnTo>
                    <a:pt x="300" y="558"/>
                  </a:lnTo>
                  <a:lnTo>
                    <a:pt x="306" y="558"/>
                  </a:lnTo>
                  <a:lnTo>
                    <a:pt x="312" y="558"/>
                  </a:lnTo>
                  <a:lnTo>
                    <a:pt x="318" y="558"/>
                  </a:lnTo>
                  <a:lnTo>
                    <a:pt x="318" y="564"/>
                  </a:lnTo>
                  <a:lnTo>
                    <a:pt x="324" y="564"/>
                  </a:lnTo>
                  <a:lnTo>
                    <a:pt x="324" y="570"/>
                  </a:lnTo>
                  <a:lnTo>
                    <a:pt x="330" y="570"/>
                  </a:lnTo>
                  <a:lnTo>
                    <a:pt x="336" y="570"/>
                  </a:lnTo>
                  <a:lnTo>
                    <a:pt x="342" y="570"/>
                  </a:lnTo>
                  <a:lnTo>
                    <a:pt x="348" y="570"/>
                  </a:lnTo>
                  <a:lnTo>
                    <a:pt x="354" y="570"/>
                  </a:lnTo>
                  <a:lnTo>
                    <a:pt x="360" y="570"/>
                  </a:lnTo>
                  <a:lnTo>
                    <a:pt x="366" y="570"/>
                  </a:lnTo>
                  <a:lnTo>
                    <a:pt x="360" y="570"/>
                  </a:lnTo>
                  <a:lnTo>
                    <a:pt x="360" y="564"/>
                  </a:lnTo>
                  <a:lnTo>
                    <a:pt x="354" y="564"/>
                  </a:lnTo>
                  <a:lnTo>
                    <a:pt x="348" y="564"/>
                  </a:lnTo>
                  <a:lnTo>
                    <a:pt x="342" y="564"/>
                  </a:lnTo>
                  <a:lnTo>
                    <a:pt x="342" y="570"/>
                  </a:lnTo>
                  <a:lnTo>
                    <a:pt x="336" y="564"/>
                  </a:lnTo>
                  <a:lnTo>
                    <a:pt x="336" y="570"/>
                  </a:lnTo>
                  <a:lnTo>
                    <a:pt x="336" y="564"/>
                  </a:lnTo>
                  <a:lnTo>
                    <a:pt x="330" y="564"/>
                  </a:lnTo>
                  <a:lnTo>
                    <a:pt x="324" y="558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18" y="558"/>
                  </a:lnTo>
                  <a:lnTo>
                    <a:pt x="312" y="552"/>
                  </a:lnTo>
                  <a:lnTo>
                    <a:pt x="312" y="558"/>
                  </a:lnTo>
                  <a:lnTo>
                    <a:pt x="312" y="552"/>
                  </a:lnTo>
                  <a:lnTo>
                    <a:pt x="306" y="552"/>
                  </a:lnTo>
                  <a:lnTo>
                    <a:pt x="300" y="546"/>
                  </a:lnTo>
                  <a:lnTo>
                    <a:pt x="294" y="546"/>
                  </a:lnTo>
                  <a:lnTo>
                    <a:pt x="288" y="546"/>
                  </a:lnTo>
                  <a:lnTo>
                    <a:pt x="282" y="546"/>
                  </a:lnTo>
                  <a:lnTo>
                    <a:pt x="276" y="546"/>
                  </a:lnTo>
                  <a:lnTo>
                    <a:pt x="276" y="552"/>
                  </a:lnTo>
                  <a:lnTo>
                    <a:pt x="270" y="552"/>
                  </a:lnTo>
                  <a:lnTo>
                    <a:pt x="270" y="558"/>
                  </a:lnTo>
                  <a:lnTo>
                    <a:pt x="270" y="564"/>
                  </a:lnTo>
                  <a:lnTo>
                    <a:pt x="264" y="570"/>
                  </a:lnTo>
                  <a:lnTo>
                    <a:pt x="258" y="576"/>
                  </a:lnTo>
                  <a:lnTo>
                    <a:pt x="258" y="582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34" y="576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16" y="552"/>
                  </a:lnTo>
                  <a:lnTo>
                    <a:pt x="216" y="546"/>
                  </a:lnTo>
                  <a:lnTo>
                    <a:pt x="216" y="540"/>
                  </a:lnTo>
                  <a:lnTo>
                    <a:pt x="222" y="534"/>
                  </a:lnTo>
                  <a:lnTo>
                    <a:pt x="222" y="528"/>
                  </a:lnTo>
                  <a:lnTo>
                    <a:pt x="228" y="522"/>
                  </a:lnTo>
                  <a:lnTo>
                    <a:pt x="228" y="516"/>
                  </a:lnTo>
                  <a:lnTo>
                    <a:pt x="228" y="510"/>
                  </a:lnTo>
                  <a:lnTo>
                    <a:pt x="234" y="510"/>
                  </a:lnTo>
                  <a:lnTo>
                    <a:pt x="240" y="516"/>
                  </a:lnTo>
                  <a:lnTo>
                    <a:pt x="246" y="522"/>
                  </a:lnTo>
                  <a:lnTo>
                    <a:pt x="246" y="516"/>
                  </a:lnTo>
                  <a:lnTo>
                    <a:pt x="240" y="516"/>
                  </a:lnTo>
                  <a:lnTo>
                    <a:pt x="240" y="510"/>
                  </a:lnTo>
                  <a:lnTo>
                    <a:pt x="234" y="510"/>
                  </a:lnTo>
                  <a:lnTo>
                    <a:pt x="234" y="504"/>
                  </a:lnTo>
                  <a:lnTo>
                    <a:pt x="228" y="504"/>
                  </a:lnTo>
                  <a:lnTo>
                    <a:pt x="222" y="504"/>
                  </a:lnTo>
                  <a:lnTo>
                    <a:pt x="222" y="498"/>
                  </a:lnTo>
                  <a:lnTo>
                    <a:pt x="222" y="504"/>
                  </a:lnTo>
                  <a:lnTo>
                    <a:pt x="222" y="510"/>
                  </a:lnTo>
                  <a:lnTo>
                    <a:pt x="222" y="516"/>
                  </a:lnTo>
                  <a:lnTo>
                    <a:pt x="216" y="522"/>
                  </a:lnTo>
                  <a:lnTo>
                    <a:pt x="216" y="528"/>
                  </a:lnTo>
                  <a:lnTo>
                    <a:pt x="210" y="528"/>
                  </a:lnTo>
                  <a:lnTo>
                    <a:pt x="216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04" y="546"/>
                  </a:lnTo>
                  <a:lnTo>
                    <a:pt x="204" y="552"/>
                  </a:lnTo>
                  <a:lnTo>
                    <a:pt x="204" y="558"/>
                  </a:lnTo>
                  <a:lnTo>
                    <a:pt x="204" y="564"/>
                  </a:lnTo>
                  <a:lnTo>
                    <a:pt x="198" y="570"/>
                  </a:lnTo>
                  <a:lnTo>
                    <a:pt x="192" y="564"/>
                  </a:lnTo>
                  <a:lnTo>
                    <a:pt x="186" y="564"/>
                  </a:lnTo>
                  <a:lnTo>
                    <a:pt x="180" y="564"/>
                  </a:lnTo>
                  <a:lnTo>
                    <a:pt x="174" y="564"/>
                  </a:lnTo>
                  <a:lnTo>
                    <a:pt x="168" y="564"/>
                  </a:lnTo>
                  <a:lnTo>
                    <a:pt x="162" y="564"/>
                  </a:lnTo>
                  <a:lnTo>
                    <a:pt x="156" y="570"/>
                  </a:lnTo>
                  <a:lnTo>
                    <a:pt x="150" y="570"/>
                  </a:lnTo>
                  <a:lnTo>
                    <a:pt x="150" y="564"/>
                  </a:lnTo>
                  <a:lnTo>
                    <a:pt x="150" y="570"/>
                  </a:lnTo>
                  <a:lnTo>
                    <a:pt x="150" y="576"/>
                  </a:lnTo>
                  <a:lnTo>
                    <a:pt x="144" y="576"/>
                  </a:lnTo>
                  <a:lnTo>
                    <a:pt x="138" y="576"/>
                  </a:lnTo>
                  <a:lnTo>
                    <a:pt x="132" y="582"/>
                  </a:lnTo>
                  <a:lnTo>
                    <a:pt x="126" y="582"/>
                  </a:lnTo>
                  <a:lnTo>
                    <a:pt x="120" y="582"/>
                  </a:lnTo>
                  <a:lnTo>
                    <a:pt x="114" y="576"/>
                  </a:lnTo>
                  <a:lnTo>
                    <a:pt x="108" y="564"/>
                  </a:lnTo>
                  <a:lnTo>
                    <a:pt x="102" y="558"/>
                  </a:lnTo>
                  <a:lnTo>
                    <a:pt x="96" y="552"/>
                  </a:lnTo>
                  <a:lnTo>
                    <a:pt x="90" y="546"/>
                  </a:lnTo>
                  <a:lnTo>
                    <a:pt x="90" y="540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2"/>
                  </a:lnTo>
                  <a:lnTo>
                    <a:pt x="78" y="516"/>
                  </a:lnTo>
                  <a:lnTo>
                    <a:pt x="72" y="510"/>
                  </a:lnTo>
                  <a:lnTo>
                    <a:pt x="66" y="504"/>
                  </a:lnTo>
                  <a:lnTo>
                    <a:pt x="66" y="498"/>
                  </a:lnTo>
                  <a:lnTo>
                    <a:pt x="66" y="492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6" y="474"/>
                  </a:lnTo>
                  <a:lnTo>
                    <a:pt x="72" y="474"/>
                  </a:lnTo>
                  <a:lnTo>
                    <a:pt x="72" y="468"/>
                  </a:lnTo>
                  <a:lnTo>
                    <a:pt x="78" y="462"/>
                  </a:lnTo>
                  <a:lnTo>
                    <a:pt x="78" y="456"/>
                  </a:lnTo>
                  <a:lnTo>
                    <a:pt x="84" y="456"/>
                  </a:lnTo>
                  <a:lnTo>
                    <a:pt x="84" y="450"/>
                  </a:lnTo>
                  <a:lnTo>
                    <a:pt x="84" y="444"/>
                  </a:lnTo>
                  <a:lnTo>
                    <a:pt x="90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02" y="450"/>
                  </a:lnTo>
                  <a:lnTo>
                    <a:pt x="108" y="450"/>
                  </a:lnTo>
                  <a:lnTo>
                    <a:pt x="108" y="456"/>
                  </a:lnTo>
                  <a:lnTo>
                    <a:pt x="108" y="462"/>
                  </a:lnTo>
                  <a:lnTo>
                    <a:pt x="114" y="462"/>
                  </a:lnTo>
                  <a:lnTo>
                    <a:pt x="114" y="468"/>
                  </a:lnTo>
                  <a:lnTo>
                    <a:pt x="114" y="474"/>
                  </a:lnTo>
                  <a:lnTo>
                    <a:pt x="114" y="480"/>
                  </a:lnTo>
                  <a:lnTo>
                    <a:pt x="114" y="486"/>
                  </a:lnTo>
                  <a:lnTo>
                    <a:pt x="120" y="486"/>
                  </a:lnTo>
                  <a:lnTo>
                    <a:pt x="126" y="486"/>
                  </a:lnTo>
                  <a:lnTo>
                    <a:pt x="132" y="486"/>
                  </a:lnTo>
                  <a:lnTo>
                    <a:pt x="126" y="480"/>
                  </a:lnTo>
                  <a:lnTo>
                    <a:pt x="120" y="480"/>
                  </a:lnTo>
                  <a:lnTo>
                    <a:pt x="114" y="480"/>
                  </a:lnTo>
                  <a:lnTo>
                    <a:pt x="120" y="480"/>
                  </a:lnTo>
                  <a:lnTo>
                    <a:pt x="120" y="474"/>
                  </a:lnTo>
                  <a:lnTo>
                    <a:pt x="120" y="468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108" y="450"/>
                  </a:lnTo>
                  <a:lnTo>
                    <a:pt x="108" y="444"/>
                  </a:lnTo>
                  <a:lnTo>
                    <a:pt x="114" y="438"/>
                  </a:lnTo>
                  <a:lnTo>
                    <a:pt x="120" y="438"/>
                  </a:lnTo>
                  <a:lnTo>
                    <a:pt x="120" y="432"/>
                  </a:lnTo>
                  <a:lnTo>
                    <a:pt x="132" y="426"/>
                  </a:lnTo>
                  <a:lnTo>
                    <a:pt x="138" y="420"/>
                  </a:lnTo>
                  <a:lnTo>
                    <a:pt x="144" y="420"/>
                  </a:lnTo>
                  <a:lnTo>
                    <a:pt x="144" y="414"/>
                  </a:lnTo>
                  <a:lnTo>
                    <a:pt x="144" y="420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6" y="414"/>
                  </a:lnTo>
                  <a:lnTo>
                    <a:pt x="162" y="414"/>
                  </a:lnTo>
                  <a:lnTo>
                    <a:pt x="162" y="408"/>
                  </a:lnTo>
                  <a:lnTo>
                    <a:pt x="168" y="408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86" y="396"/>
                  </a:lnTo>
                  <a:lnTo>
                    <a:pt x="186" y="390"/>
                  </a:lnTo>
                  <a:lnTo>
                    <a:pt x="192" y="390"/>
                  </a:lnTo>
                  <a:lnTo>
                    <a:pt x="198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210" y="378"/>
                  </a:lnTo>
                  <a:lnTo>
                    <a:pt x="210" y="372"/>
                  </a:lnTo>
                  <a:lnTo>
                    <a:pt x="216" y="372"/>
                  </a:lnTo>
                  <a:lnTo>
                    <a:pt x="222" y="366"/>
                  </a:lnTo>
                  <a:lnTo>
                    <a:pt x="228" y="360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6" y="348"/>
                  </a:lnTo>
                  <a:lnTo>
                    <a:pt x="252" y="348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0" y="342"/>
                  </a:lnTo>
                  <a:lnTo>
                    <a:pt x="234" y="342"/>
                  </a:lnTo>
                  <a:lnTo>
                    <a:pt x="228" y="336"/>
                  </a:lnTo>
                  <a:lnTo>
                    <a:pt x="222" y="336"/>
                  </a:lnTo>
                  <a:lnTo>
                    <a:pt x="216" y="336"/>
                  </a:lnTo>
                  <a:lnTo>
                    <a:pt x="222" y="324"/>
                  </a:lnTo>
                  <a:lnTo>
                    <a:pt x="222" y="318"/>
                  </a:lnTo>
                  <a:lnTo>
                    <a:pt x="222" y="312"/>
                  </a:lnTo>
                  <a:lnTo>
                    <a:pt x="234" y="318"/>
                  </a:lnTo>
                  <a:lnTo>
                    <a:pt x="246" y="318"/>
                  </a:lnTo>
                  <a:lnTo>
                    <a:pt x="258" y="318"/>
                  </a:lnTo>
                  <a:lnTo>
                    <a:pt x="270" y="312"/>
                  </a:lnTo>
                  <a:lnTo>
                    <a:pt x="276" y="312"/>
                  </a:lnTo>
                  <a:lnTo>
                    <a:pt x="288" y="324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94" y="306"/>
                  </a:lnTo>
                  <a:lnTo>
                    <a:pt x="300" y="300"/>
                  </a:lnTo>
                  <a:lnTo>
                    <a:pt x="306" y="306"/>
                  </a:lnTo>
                  <a:lnTo>
                    <a:pt x="312" y="318"/>
                  </a:lnTo>
                  <a:lnTo>
                    <a:pt x="318" y="312"/>
                  </a:lnTo>
                  <a:lnTo>
                    <a:pt x="324" y="312"/>
                  </a:lnTo>
                  <a:lnTo>
                    <a:pt x="330" y="312"/>
                  </a:lnTo>
                  <a:lnTo>
                    <a:pt x="342" y="306"/>
                  </a:lnTo>
                  <a:lnTo>
                    <a:pt x="348" y="306"/>
                  </a:lnTo>
                  <a:lnTo>
                    <a:pt x="348" y="312"/>
                  </a:lnTo>
                  <a:lnTo>
                    <a:pt x="348" y="318"/>
                  </a:lnTo>
                  <a:lnTo>
                    <a:pt x="354" y="318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60" y="336"/>
                  </a:lnTo>
                  <a:lnTo>
                    <a:pt x="366" y="330"/>
                  </a:lnTo>
                  <a:lnTo>
                    <a:pt x="378" y="324"/>
                  </a:lnTo>
                  <a:lnTo>
                    <a:pt x="384" y="324"/>
                  </a:lnTo>
                  <a:lnTo>
                    <a:pt x="384" y="318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6"/>
                  </a:lnTo>
                  <a:lnTo>
                    <a:pt x="402" y="306"/>
                  </a:lnTo>
                  <a:lnTo>
                    <a:pt x="408" y="306"/>
                  </a:lnTo>
                  <a:lnTo>
                    <a:pt x="414" y="300"/>
                  </a:lnTo>
                  <a:lnTo>
                    <a:pt x="420" y="300"/>
                  </a:lnTo>
                  <a:lnTo>
                    <a:pt x="426" y="300"/>
                  </a:lnTo>
                  <a:lnTo>
                    <a:pt x="432" y="300"/>
                  </a:lnTo>
                  <a:lnTo>
                    <a:pt x="444" y="288"/>
                  </a:lnTo>
                  <a:lnTo>
                    <a:pt x="450" y="294"/>
                  </a:lnTo>
                  <a:lnTo>
                    <a:pt x="468" y="300"/>
                  </a:lnTo>
                  <a:lnTo>
                    <a:pt x="498" y="312"/>
                  </a:lnTo>
                  <a:lnTo>
                    <a:pt x="504" y="324"/>
                  </a:lnTo>
                  <a:lnTo>
                    <a:pt x="516" y="330"/>
                  </a:lnTo>
                  <a:lnTo>
                    <a:pt x="516" y="336"/>
                  </a:lnTo>
                  <a:lnTo>
                    <a:pt x="540" y="342"/>
                  </a:lnTo>
                  <a:lnTo>
                    <a:pt x="558" y="372"/>
                  </a:lnTo>
                  <a:lnTo>
                    <a:pt x="594" y="384"/>
                  </a:lnTo>
                  <a:lnTo>
                    <a:pt x="606" y="402"/>
                  </a:lnTo>
                  <a:lnTo>
                    <a:pt x="600" y="420"/>
                  </a:lnTo>
                  <a:lnTo>
                    <a:pt x="588" y="444"/>
                  </a:lnTo>
                  <a:lnTo>
                    <a:pt x="588" y="450"/>
                  </a:lnTo>
                  <a:lnTo>
                    <a:pt x="588" y="456"/>
                  </a:lnTo>
                  <a:lnTo>
                    <a:pt x="594" y="456"/>
                  </a:lnTo>
                  <a:lnTo>
                    <a:pt x="594" y="462"/>
                  </a:lnTo>
                  <a:lnTo>
                    <a:pt x="594" y="468"/>
                  </a:lnTo>
                  <a:lnTo>
                    <a:pt x="594" y="474"/>
                  </a:lnTo>
                  <a:lnTo>
                    <a:pt x="600" y="474"/>
                  </a:lnTo>
                  <a:lnTo>
                    <a:pt x="606" y="480"/>
                  </a:lnTo>
                  <a:lnTo>
                    <a:pt x="606" y="486"/>
                  </a:lnTo>
                  <a:lnTo>
                    <a:pt x="612" y="486"/>
                  </a:lnTo>
                  <a:lnTo>
                    <a:pt x="618" y="486"/>
                  </a:lnTo>
                  <a:lnTo>
                    <a:pt x="624" y="486"/>
                  </a:lnTo>
                  <a:lnTo>
                    <a:pt x="636" y="486"/>
                  </a:lnTo>
                  <a:lnTo>
                    <a:pt x="642" y="486"/>
                  </a:lnTo>
                  <a:lnTo>
                    <a:pt x="648" y="480"/>
                  </a:lnTo>
                  <a:lnTo>
                    <a:pt x="654" y="474"/>
                  </a:lnTo>
                  <a:lnTo>
                    <a:pt x="660" y="468"/>
                  </a:lnTo>
                  <a:lnTo>
                    <a:pt x="666" y="468"/>
                  </a:lnTo>
                  <a:lnTo>
                    <a:pt x="684" y="468"/>
                  </a:lnTo>
                  <a:lnTo>
                    <a:pt x="696" y="468"/>
                  </a:lnTo>
                  <a:lnTo>
                    <a:pt x="696" y="462"/>
                  </a:lnTo>
                  <a:lnTo>
                    <a:pt x="702" y="456"/>
                  </a:lnTo>
                  <a:lnTo>
                    <a:pt x="708" y="450"/>
                  </a:lnTo>
                  <a:lnTo>
                    <a:pt x="714" y="450"/>
                  </a:lnTo>
                  <a:lnTo>
                    <a:pt x="720" y="450"/>
                  </a:lnTo>
                  <a:lnTo>
                    <a:pt x="720" y="438"/>
                  </a:lnTo>
                  <a:lnTo>
                    <a:pt x="726" y="432"/>
                  </a:lnTo>
                  <a:lnTo>
                    <a:pt x="738" y="420"/>
                  </a:lnTo>
                  <a:lnTo>
                    <a:pt x="744" y="420"/>
                  </a:lnTo>
                  <a:lnTo>
                    <a:pt x="750" y="414"/>
                  </a:lnTo>
                  <a:lnTo>
                    <a:pt x="762" y="408"/>
                  </a:lnTo>
                  <a:lnTo>
                    <a:pt x="768" y="408"/>
                  </a:lnTo>
                  <a:lnTo>
                    <a:pt x="768" y="402"/>
                  </a:lnTo>
                  <a:lnTo>
                    <a:pt x="780" y="396"/>
                  </a:lnTo>
                  <a:lnTo>
                    <a:pt x="786" y="396"/>
                  </a:lnTo>
                  <a:lnTo>
                    <a:pt x="786" y="390"/>
                  </a:lnTo>
                  <a:lnTo>
                    <a:pt x="792" y="384"/>
                  </a:lnTo>
                  <a:lnTo>
                    <a:pt x="792" y="378"/>
                  </a:lnTo>
                  <a:lnTo>
                    <a:pt x="798" y="366"/>
                  </a:lnTo>
                  <a:lnTo>
                    <a:pt x="804" y="360"/>
                  </a:lnTo>
                  <a:lnTo>
                    <a:pt x="816" y="342"/>
                  </a:lnTo>
                  <a:lnTo>
                    <a:pt x="816" y="312"/>
                  </a:lnTo>
                  <a:lnTo>
                    <a:pt x="804" y="300"/>
                  </a:lnTo>
                  <a:lnTo>
                    <a:pt x="798" y="288"/>
                  </a:lnTo>
                  <a:lnTo>
                    <a:pt x="762" y="264"/>
                  </a:lnTo>
                  <a:lnTo>
                    <a:pt x="738" y="234"/>
                  </a:lnTo>
                  <a:lnTo>
                    <a:pt x="738" y="222"/>
                  </a:lnTo>
                  <a:lnTo>
                    <a:pt x="744" y="210"/>
                  </a:lnTo>
                  <a:lnTo>
                    <a:pt x="732" y="174"/>
                  </a:lnTo>
                  <a:lnTo>
                    <a:pt x="714" y="156"/>
                  </a:lnTo>
                  <a:lnTo>
                    <a:pt x="708" y="144"/>
                  </a:lnTo>
                  <a:lnTo>
                    <a:pt x="714" y="126"/>
                  </a:lnTo>
                  <a:lnTo>
                    <a:pt x="720" y="114"/>
                  </a:lnTo>
                  <a:lnTo>
                    <a:pt x="732" y="102"/>
                  </a:lnTo>
                  <a:lnTo>
                    <a:pt x="744" y="102"/>
                  </a:lnTo>
                  <a:lnTo>
                    <a:pt x="762" y="108"/>
                  </a:lnTo>
                  <a:lnTo>
                    <a:pt x="774" y="114"/>
                  </a:lnTo>
                  <a:lnTo>
                    <a:pt x="780" y="138"/>
                  </a:lnTo>
                  <a:lnTo>
                    <a:pt x="786" y="144"/>
                  </a:lnTo>
                  <a:lnTo>
                    <a:pt x="798" y="138"/>
                  </a:lnTo>
                  <a:lnTo>
                    <a:pt x="804" y="132"/>
                  </a:lnTo>
                  <a:lnTo>
                    <a:pt x="816" y="120"/>
                  </a:lnTo>
                  <a:lnTo>
                    <a:pt x="816" y="108"/>
                  </a:lnTo>
                  <a:lnTo>
                    <a:pt x="828" y="102"/>
                  </a:lnTo>
                  <a:lnTo>
                    <a:pt x="828" y="96"/>
                  </a:lnTo>
                  <a:lnTo>
                    <a:pt x="840" y="96"/>
                  </a:lnTo>
                  <a:lnTo>
                    <a:pt x="840" y="84"/>
                  </a:lnTo>
                  <a:lnTo>
                    <a:pt x="852" y="90"/>
                  </a:lnTo>
                  <a:lnTo>
                    <a:pt x="852" y="96"/>
                  </a:lnTo>
                  <a:lnTo>
                    <a:pt x="870" y="90"/>
                  </a:lnTo>
                  <a:lnTo>
                    <a:pt x="894" y="78"/>
                  </a:lnTo>
                  <a:lnTo>
                    <a:pt x="912" y="78"/>
                  </a:lnTo>
                  <a:lnTo>
                    <a:pt x="942" y="66"/>
                  </a:lnTo>
                  <a:lnTo>
                    <a:pt x="942" y="60"/>
                  </a:lnTo>
                  <a:lnTo>
                    <a:pt x="954" y="48"/>
                  </a:lnTo>
                  <a:lnTo>
                    <a:pt x="966" y="30"/>
                  </a:lnTo>
                  <a:lnTo>
                    <a:pt x="978" y="30"/>
                  </a:lnTo>
                  <a:lnTo>
                    <a:pt x="978" y="24"/>
                  </a:lnTo>
                  <a:lnTo>
                    <a:pt x="984" y="12"/>
                  </a:lnTo>
                  <a:lnTo>
                    <a:pt x="990" y="12"/>
                  </a:lnTo>
                  <a:lnTo>
                    <a:pt x="996" y="12"/>
                  </a:lnTo>
                  <a:lnTo>
                    <a:pt x="1014" y="6"/>
                  </a:lnTo>
                  <a:lnTo>
                    <a:pt x="1026" y="6"/>
                  </a:lnTo>
                  <a:lnTo>
                    <a:pt x="1044" y="6"/>
                  </a:lnTo>
                  <a:lnTo>
                    <a:pt x="1050" y="6"/>
                  </a:lnTo>
                  <a:lnTo>
                    <a:pt x="1056" y="6"/>
                  </a:lnTo>
                  <a:lnTo>
                    <a:pt x="1062" y="6"/>
                  </a:lnTo>
                  <a:lnTo>
                    <a:pt x="1068" y="6"/>
                  </a:lnTo>
                  <a:lnTo>
                    <a:pt x="1074" y="6"/>
                  </a:lnTo>
                  <a:lnTo>
                    <a:pt x="1080" y="6"/>
                  </a:lnTo>
                  <a:lnTo>
                    <a:pt x="1086" y="0"/>
                  </a:lnTo>
                  <a:lnTo>
                    <a:pt x="1092" y="30"/>
                  </a:lnTo>
                  <a:lnTo>
                    <a:pt x="1098" y="60"/>
                  </a:lnTo>
                  <a:lnTo>
                    <a:pt x="1110" y="84"/>
                  </a:lnTo>
                  <a:lnTo>
                    <a:pt x="1122" y="114"/>
                  </a:lnTo>
                  <a:lnTo>
                    <a:pt x="1128" y="144"/>
                  </a:lnTo>
                  <a:lnTo>
                    <a:pt x="1122" y="156"/>
                  </a:lnTo>
                  <a:lnTo>
                    <a:pt x="1128" y="168"/>
                  </a:lnTo>
                  <a:lnTo>
                    <a:pt x="1134" y="186"/>
                  </a:lnTo>
                  <a:lnTo>
                    <a:pt x="1140" y="204"/>
                  </a:lnTo>
                  <a:lnTo>
                    <a:pt x="1146" y="210"/>
                  </a:lnTo>
                  <a:lnTo>
                    <a:pt x="1146" y="216"/>
                  </a:lnTo>
                  <a:lnTo>
                    <a:pt x="1146" y="228"/>
                  </a:lnTo>
                  <a:lnTo>
                    <a:pt x="1146" y="234"/>
                  </a:lnTo>
                  <a:lnTo>
                    <a:pt x="1140" y="246"/>
                  </a:lnTo>
                  <a:lnTo>
                    <a:pt x="1128" y="258"/>
                  </a:lnTo>
                  <a:lnTo>
                    <a:pt x="1116" y="264"/>
                  </a:lnTo>
                  <a:lnTo>
                    <a:pt x="1110" y="276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2" y="312"/>
                  </a:lnTo>
                  <a:lnTo>
                    <a:pt x="1116" y="324"/>
                  </a:lnTo>
                  <a:lnTo>
                    <a:pt x="1104" y="336"/>
                  </a:lnTo>
                  <a:lnTo>
                    <a:pt x="1104" y="354"/>
                  </a:lnTo>
                  <a:lnTo>
                    <a:pt x="1098" y="372"/>
                  </a:lnTo>
                  <a:lnTo>
                    <a:pt x="1092" y="384"/>
                  </a:lnTo>
                  <a:lnTo>
                    <a:pt x="1086" y="390"/>
                  </a:lnTo>
                  <a:lnTo>
                    <a:pt x="1086" y="402"/>
                  </a:lnTo>
                  <a:lnTo>
                    <a:pt x="1080" y="414"/>
                  </a:lnTo>
                  <a:lnTo>
                    <a:pt x="1074" y="426"/>
                  </a:lnTo>
                  <a:lnTo>
                    <a:pt x="1074" y="450"/>
                  </a:lnTo>
                  <a:lnTo>
                    <a:pt x="1074" y="462"/>
                  </a:lnTo>
                  <a:lnTo>
                    <a:pt x="1068" y="474"/>
                  </a:lnTo>
                  <a:lnTo>
                    <a:pt x="1062" y="486"/>
                  </a:lnTo>
                  <a:lnTo>
                    <a:pt x="1056" y="498"/>
                  </a:lnTo>
                  <a:close/>
                  <a:moveTo>
                    <a:pt x="186" y="378"/>
                  </a:moveTo>
                  <a:lnTo>
                    <a:pt x="186" y="384"/>
                  </a:lnTo>
                  <a:lnTo>
                    <a:pt x="180" y="390"/>
                  </a:lnTo>
                  <a:lnTo>
                    <a:pt x="174" y="396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14"/>
                  </a:lnTo>
                  <a:lnTo>
                    <a:pt x="126" y="414"/>
                  </a:lnTo>
                  <a:lnTo>
                    <a:pt x="120" y="414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2" y="426"/>
                  </a:lnTo>
                  <a:lnTo>
                    <a:pt x="102" y="432"/>
                  </a:lnTo>
                  <a:lnTo>
                    <a:pt x="96" y="432"/>
                  </a:lnTo>
                  <a:lnTo>
                    <a:pt x="90" y="432"/>
                  </a:lnTo>
                  <a:lnTo>
                    <a:pt x="84" y="438"/>
                  </a:lnTo>
                  <a:lnTo>
                    <a:pt x="78" y="438"/>
                  </a:lnTo>
                  <a:lnTo>
                    <a:pt x="78" y="444"/>
                  </a:lnTo>
                  <a:lnTo>
                    <a:pt x="72" y="444"/>
                  </a:lnTo>
                  <a:lnTo>
                    <a:pt x="72" y="450"/>
                  </a:lnTo>
                  <a:lnTo>
                    <a:pt x="66" y="456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48" y="468"/>
                  </a:lnTo>
                  <a:lnTo>
                    <a:pt x="42" y="468"/>
                  </a:lnTo>
                  <a:lnTo>
                    <a:pt x="42" y="462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8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0" y="396"/>
                  </a:lnTo>
                  <a:lnTo>
                    <a:pt x="6" y="384"/>
                  </a:lnTo>
                  <a:lnTo>
                    <a:pt x="18" y="372"/>
                  </a:lnTo>
                  <a:lnTo>
                    <a:pt x="30" y="348"/>
                  </a:lnTo>
                  <a:lnTo>
                    <a:pt x="30" y="342"/>
                  </a:lnTo>
                  <a:lnTo>
                    <a:pt x="42" y="330"/>
                  </a:lnTo>
                  <a:lnTo>
                    <a:pt x="42" y="324"/>
                  </a:lnTo>
                  <a:lnTo>
                    <a:pt x="48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60" y="282"/>
                  </a:lnTo>
                  <a:lnTo>
                    <a:pt x="60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2" y="258"/>
                  </a:lnTo>
                  <a:lnTo>
                    <a:pt x="84" y="246"/>
                  </a:lnTo>
                  <a:lnTo>
                    <a:pt x="90" y="234"/>
                  </a:lnTo>
                  <a:lnTo>
                    <a:pt x="96" y="234"/>
                  </a:lnTo>
                  <a:lnTo>
                    <a:pt x="96" y="228"/>
                  </a:lnTo>
                  <a:lnTo>
                    <a:pt x="102" y="222"/>
                  </a:lnTo>
                  <a:lnTo>
                    <a:pt x="102" y="228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14" y="228"/>
                  </a:lnTo>
                  <a:lnTo>
                    <a:pt x="114" y="234"/>
                  </a:lnTo>
                  <a:lnTo>
                    <a:pt x="120" y="228"/>
                  </a:lnTo>
                  <a:lnTo>
                    <a:pt x="120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26" y="228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8" y="234"/>
                  </a:lnTo>
                  <a:lnTo>
                    <a:pt x="144" y="234"/>
                  </a:lnTo>
                  <a:lnTo>
                    <a:pt x="144" y="228"/>
                  </a:lnTo>
                  <a:lnTo>
                    <a:pt x="150" y="228"/>
                  </a:lnTo>
                  <a:lnTo>
                    <a:pt x="156" y="228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46"/>
                  </a:lnTo>
                  <a:lnTo>
                    <a:pt x="162" y="240"/>
                  </a:lnTo>
                  <a:lnTo>
                    <a:pt x="162" y="246"/>
                  </a:lnTo>
                  <a:lnTo>
                    <a:pt x="162" y="258"/>
                  </a:lnTo>
                  <a:lnTo>
                    <a:pt x="162" y="264"/>
                  </a:lnTo>
                  <a:lnTo>
                    <a:pt x="156" y="270"/>
                  </a:lnTo>
                  <a:lnTo>
                    <a:pt x="162" y="270"/>
                  </a:lnTo>
                  <a:lnTo>
                    <a:pt x="162" y="282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86" y="288"/>
                  </a:lnTo>
                  <a:lnTo>
                    <a:pt x="186" y="294"/>
                  </a:lnTo>
                  <a:lnTo>
                    <a:pt x="180" y="300"/>
                  </a:lnTo>
                  <a:lnTo>
                    <a:pt x="174" y="318"/>
                  </a:lnTo>
                  <a:lnTo>
                    <a:pt x="174" y="324"/>
                  </a:lnTo>
                  <a:lnTo>
                    <a:pt x="168" y="330"/>
                  </a:lnTo>
                  <a:lnTo>
                    <a:pt x="168" y="342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74" y="360"/>
                  </a:lnTo>
                  <a:lnTo>
                    <a:pt x="180" y="366"/>
                  </a:lnTo>
                  <a:lnTo>
                    <a:pt x="186" y="3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8" name="Freeform 23">
              <a:extLst>
                <a:ext uri="{FF2B5EF4-FFF2-40B4-BE49-F238E27FC236}">
                  <a16:creationId xmlns:a16="http://schemas.microsoft.com/office/drawing/2014/main" id="{A539A33E-3F6E-4AF7-BD88-1853165307F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6312" y="3604793"/>
              <a:ext cx="581410" cy="621747"/>
            </a:xfrm>
            <a:custGeom>
              <a:avLst/>
              <a:gdLst>
                <a:gd name="T0" fmla="*/ 90 w 1092"/>
                <a:gd name="T1" fmla="*/ 60 h 1170"/>
                <a:gd name="T2" fmla="*/ 83 w 1092"/>
                <a:gd name="T3" fmla="*/ 62 h 1170"/>
                <a:gd name="T4" fmla="*/ 72 w 1092"/>
                <a:gd name="T5" fmla="*/ 68 h 1170"/>
                <a:gd name="T6" fmla="*/ 68 w 1092"/>
                <a:gd name="T7" fmla="*/ 71 h 1170"/>
                <a:gd name="T8" fmla="*/ 61 w 1092"/>
                <a:gd name="T9" fmla="*/ 69 h 1170"/>
                <a:gd name="T10" fmla="*/ 64 w 1092"/>
                <a:gd name="T11" fmla="*/ 82 h 1170"/>
                <a:gd name="T12" fmla="*/ 67 w 1092"/>
                <a:gd name="T13" fmla="*/ 93 h 1170"/>
                <a:gd name="T14" fmla="*/ 62 w 1092"/>
                <a:gd name="T15" fmla="*/ 96 h 1170"/>
                <a:gd name="T16" fmla="*/ 59 w 1092"/>
                <a:gd name="T17" fmla="*/ 99 h 1170"/>
                <a:gd name="T18" fmla="*/ 53 w 1092"/>
                <a:gd name="T19" fmla="*/ 101 h 1170"/>
                <a:gd name="T20" fmla="*/ 50 w 1092"/>
                <a:gd name="T21" fmla="*/ 100 h 1170"/>
                <a:gd name="T22" fmla="*/ 50 w 1092"/>
                <a:gd name="T23" fmla="*/ 93 h 1170"/>
                <a:gd name="T24" fmla="*/ 37 w 1092"/>
                <a:gd name="T25" fmla="*/ 85 h 1170"/>
                <a:gd name="T26" fmla="*/ 32 w 1092"/>
                <a:gd name="T27" fmla="*/ 86 h 1170"/>
                <a:gd name="T28" fmla="*/ 29 w 1092"/>
                <a:gd name="T29" fmla="*/ 88 h 1170"/>
                <a:gd name="T30" fmla="*/ 27 w 1092"/>
                <a:gd name="T31" fmla="*/ 86 h 1170"/>
                <a:gd name="T32" fmla="*/ 23 w 1092"/>
                <a:gd name="T33" fmla="*/ 87 h 1170"/>
                <a:gd name="T34" fmla="*/ 17 w 1092"/>
                <a:gd name="T35" fmla="*/ 87 h 1170"/>
                <a:gd name="T36" fmla="*/ 18 w 1092"/>
                <a:gd name="T37" fmla="*/ 89 h 1170"/>
                <a:gd name="T38" fmla="*/ 16 w 1092"/>
                <a:gd name="T39" fmla="*/ 92 h 1170"/>
                <a:gd name="T40" fmla="*/ 12 w 1092"/>
                <a:gd name="T41" fmla="*/ 89 h 1170"/>
                <a:gd name="T42" fmla="*/ 13 w 1092"/>
                <a:gd name="T43" fmla="*/ 84 h 1170"/>
                <a:gd name="T44" fmla="*/ 12 w 1092"/>
                <a:gd name="T45" fmla="*/ 80 h 1170"/>
                <a:gd name="T46" fmla="*/ 10 w 1092"/>
                <a:gd name="T47" fmla="*/ 80 h 1170"/>
                <a:gd name="T48" fmla="*/ 8 w 1092"/>
                <a:gd name="T49" fmla="*/ 79 h 1170"/>
                <a:gd name="T50" fmla="*/ 6 w 1092"/>
                <a:gd name="T51" fmla="*/ 78 h 1170"/>
                <a:gd name="T52" fmla="*/ 6 w 1092"/>
                <a:gd name="T53" fmla="*/ 77 h 1170"/>
                <a:gd name="T54" fmla="*/ 4 w 1092"/>
                <a:gd name="T55" fmla="*/ 75 h 1170"/>
                <a:gd name="T56" fmla="*/ 0 w 1092"/>
                <a:gd name="T57" fmla="*/ 72 h 1170"/>
                <a:gd name="T58" fmla="*/ 0 w 1092"/>
                <a:gd name="T59" fmla="*/ 69 h 1170"/>
                <a:gd name="T60" fmla="*/ 3 w 1092"/>
                <a:gd name="T61" fmla="*/ 67 h 1170"/>
                <a:gd name="T62" fmla="*/ 6 w 1092"/>
                <a:gd name="T63" fmla="*/ 62 h 1170"/>
                <a:gd name="T64" fmla="*/ 8 w 1092"/>
                <a:gd name="T65" fmla="*/ 58 h 1170"/>
                <a:gd name="T66" fmla="*/ 5 w 1092"/>
                <a:gd name="T67" fmla="*/ 54 h 1170"/>
                <a:gd name="T68" fmla="*/ 6 w 1092"/>
                <a:gd name="T69" fmla="*/ 50 h 1170"/>
                <a:gd name="T70" fmla="*/ 8 w 1092"/>
                <a:gd name="T71" fmla="*/ 46 h 1170"/>
                <a:gd name="T72" fmla="*/ 10 w 1092"/>
                <a:gd name="T73" fmla="*/ 43 h 1170"/>
                <a:gd name="T74" fmla="*/ 14 w 1092"/>
                <a:gd name="T75" fmla="*/ 38 h 1170"/>
                <a:gd name="T76" fmla="*/ 31 w 1092"/>
                <a:gd name="T77" fmla="*/ 40 h 1170"/>
                <a:gd name="T78" fmla="*/ 30 w 1092"/>
                <a:gd name="T79" fmla="*/ 46 h 1170"/>
                <a:gd name="T80" fmla="*/ 36 w 1092"/>
                <a:gd name="T81" fmla="*/ 47 h 1170"/>
                <a:gd name="T82" fmla="*/ 41 w 1092"/>
                <a:gd name="T83" fmla="*/ 44 h 1170"/>
                <a:gd name="T84" fmla="*/ 43 w 1092"/>
                <a:gd name="T85" fmla="*/ 39 h 1170"/>
                <a:gd name="T86" fmla="*/ 44 w 1092"/>
                <a:gd name="T87" fmla="*/ 35 h 1170"/>
                <a:gd name="T88" fmla="*/ 44 w 1092"/>
                <a:gd name="T89" fmla="*/ 29 h 1170"/>
                <a:gd name="T90" fmla="*/ 48 w 1092"/>
                <a:gd name="T91" fmla="*/ 24 h 1170"/>
                <a:gd name="T92" fmla="*/ 49 w 1092"/>
                <a:gd name="T93" fmla="*/ 19 h 1170"/>
                <a:gd name="T94" fmla="*/ 51 w 1092"/>
                <a:gd name="T95" fmla="*/ 14 h 1170"/>
                <a:gd name="T96" fmla="*/ 54 w 1092"/>
                <a:gd name="T97" fmla="*/ 10 h 1170"/>
                <a:gd name="T98" fmla="*/ 53 w 1092"/>
                <a:gd name="T99" fmla="*/ 7 h 1170"/>
                <a:gd name="T100" fmla="*/ 55 w 1092"/>
                <a:gd name="T101" fmla="*/ 3 h 1170"/>
                <a:gd name="T102" fmla="*/ 58 w 1092"/>
                <a:gd name="T103" fmla="*/ 0 h 1170"/>
                <a:gd name="T104" fmla="*/ 65 w 1092"/>
                <a:gd name="T105" fmla="*/ 2 h 1170"/>
                <a:gd name="T106" fmla="*/ 61 w 1092"/>
                <a:gd name="T107" fmla="*/ 6 h 1170"/>
                <a:gd name="T108" fmla="*/ 67 w 1092"/>
                <a:gd name="T109" fmla="*/ 7 h 1170"/>
                <a:gd name="T110" fmla="*/ 71 w 1092"/>
                <a:gd name="T111" fmla="*/ 6 h 1170"/>
                <a:gd name="T112" fmla="*/ 75 w 1092"/>
                <a:gd name="T113" fmla="*/ 9 h 1170"/>
                <a:gd name="T114" fmla="*/ 82 w 1092"/>
                <a:gd name="T115" fmla="*/ 12 h 1170"/>
                <a:gd name="T116" fmla="*/ 84 w 1092"/>
                <a:gd name="T117" fmla="*/ 17 h 1170"/>
                <a:gd name="T118" fmla="*/ 94 w 1092"/>
                <a:gd name="T119" fmla="*/ 23 h 1170"/>
                <a:gd name="T120" fmla="*/ 94 w 1092"/>
                <a:gd name="T121" fmla="*/ 34 h 1170"/>
                <a:gd name="T122" fmla="*/ 90 w 1092"/>
                <a:gd name="T123" fmla="*/ 41 h 1170"/>
                <a:gd name="T124" fmla="*/ 91 w 1092"/>
                <a:gd name="T125" fmla="*/ 51 h 11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92"/>
                <a:gd name="T190" fmla="*/ 0 h 1170"/>
                <a:gd name="T191" fmla="*/ 1092 w 1092"/>
                <a:gd name="T192" fmla="*/ 1170 h 117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92" h="1170">
                  <a:moveTo>
                    <a:pt x="1056" y="654"/>
                  </a:moveTo>
                  <a:lnTo>
                    <a:pt x="1062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0"/>
                  </a:lnTo>
                  <a:lnTo>
                    <a:pt x="1038" y="690"/>
                  </a:lnTo>
                  <a:lnTo>
                    <a:pt x="1032" y="690"/>
                  </a:lnTo>
                  <a:lnTo>
                    <a:pt x="1026" y="690"/>
                  </a:lnTo>
                  <a:lnTo>
                    <a:pt x="1020" y="690"/>
                  </a:lnTo>
                  <a:lnTo>
                    <a:pt x="1002" y="690"/>
                  </a:lnTo>
                  <a:lnTo>
                    <a:pt x="990" y="690"/>
                  </a:lnTo>
                  <a:lnTo>
                    <a:pt x="972" y="696"/>
                  </a:lnTo>
                  <a:lnTo>
                    <a:pt x="966" y="696"/>
                  </a:lnTo>
                  <a:lnTo>
                    <a:pt x="960" y="696"/>
                  </a:lnTo>
                  <a:lnTo>
                    <a:pt x="954" y="708"/>
                  </a:lnTo>
                  <a:lnTo>
                    <a:pt x="954" y="714"/>
                  </a:lnTo>
                  <a:lnTo>
                    <a:pt x="942" y="714"/>
                  </a:lnTo>
                  <a:lnTo>
                    <a:pt x="930" y="732"/>
                  </a:lnTo>
                  <a:lnTo>
                    <a:pt x="918" y="744"/>
                  </a:lnTo>
                  <a:lnTo>
                    <a:pt x="918" y="750"/>
                  </a:lnTo>
                  <a:lnTo>
                    <a:pt x="888" y="762"/>
                  </a:lnTo>
                  <a:lnTo>
                    <a:pt x="870" y="762"/>
                  </a:lnTo>
                  <a:lnTo>
                    <a:pt x="846" y="774"/>
                  </a:lnTo>
                  <a:lnTo>
                    <a:pt x="828" y="780"/>
                  </a:lnTo>
                  <a:lnTo>
                    <a:pt x="828" y="774"/>
                  </a:lnTo>
                  <a:lnTo>
                    <a:pt x="816" y="768"/>
                  </a:lnTo>
                  <a:lnTo>
                    <a:pt x="816" y="780"/>
                  </a:lnTo>
                  <a:lnTo>
                    <a:pt x="804" y="780"/>
                  </a:lnTo>
                  <a:lnTo>
                    <a:pt x="804" y="786"/>
                  </a:lnTo>
                  <a:lnTo>
                    <a:pt x="792" y="792"/>
                  </a:lnTo>
                  <a:lnTo>
                    <a:pt x="792" y="804"/>
                  </a:lnTo>
                  <a:lnTo>
                    <a:pt x="780" y="816"/>
                  </a:lnTo>
                  <a:lnTo>
                    <a:pt x="774" y="822"/>
                  </a:lnTo>
                  <a:lnTo>
                    <a:pt x="762" y="828"/>
                  </a:lnTo>
                  <a:lnTo>
                    <a:pt x="756" y="822"/>
                  </a:lnTo>
                  <a:lnTo>
                    <a:pt x="750" y="798"/>
                  </a:lnTo>
                  <a:lnTo>
                    <a:pt x="738" y="792"/>
                  </a:lnTo>
                  <a:lnTo>
                    <a:pt x="720" y="786"/>
                  </a:lnTo>
                  <a:lnTo>
                    <a:pt x="708" y="786"/>
                  </a:lnTo>
                  <a:lnTo>
                    <a:pt x="696" y="798"/>
                  </a:lnTo>
                  <a:lnTo>
                    <a:pt x="690" y="810"/>
                  </a:lnTo>
                  <a:lnTo>
                    <a:pt x="684" y="828"/>
                  </a:lnTo>
                  <a:lnTo>
                    <a:pt x="690" y="840"/>
                  </a:lnTo>
                  <a:lnTo>
                    <a:pt x="708" y="858"/>
                  </a:lnTo>
                  <a:lnTo>
                    <a:pt x="720" y="894"/>
                  </a:lnTo>
                  <a:lnTo>
                    <a:pt x="714" y="906"/>
                  </a:lnTo>
                  <a:lnTo>
                    <a:pt x="714" y="918"/>
                  </a:lnTo>
                  <a:lnTo>
                    <a:pt x="738" y="948"/>
                  </a:lnTo>
                  <a:lnTo>
                    <a:pt x="774" y="972"/>
                  </a:lnTo>
                  <a:lnTo>
                    <a:pt x="780" y="984"/>
                  </a:lnTo>
                  <a:lnTo>
                    <a:pt x="792" y="996"/>
                  </a:lnTo>
                  <a:lnTo>
                    <a:pt x="792" y="1026"/>
                  </a:lnTo>
                  <a:lnTo>
                    <a:pt x="780" y="1044"/>
                  </a:lnTo>
                  <a:lnTo>
                    <a:pt x="774" y="1050"/>
                  </a:lnTo>
                  <a:lnTo>
                    <a:pt x="768" y="1062"/>
                  </a:lnTo>
                  <a:lnTo>
                    <a:pt x="768" y="1068"/>
                  </a:lnTo>
                  <a:lnTo>
                    <a:pt x="762" y="1074"/>
                  </a:lnTo>
                  <a:lnTo>
                    <a:pt x="762" y="1080"/>
                  </a:lnTo>
                  <a:lnTo>
                    <a:pt x="756" y="1080"/>
                  </a:lnTo>
                  <a:lnTo>
                    <a:pt x="744" y="1086"/>
                  </a:lnTo>
                  <a:lnTo>
                    <a:pt x="744" y="1092"/>
                  </a:lnTo>
                  <a:lnTo>
                    <a:pt x="738" y="1092"/>
                  </a:lnTo>
                  <a:lnTo>
                    <a:pt x="726" y="1098"/>
                  </a:lnTo>
                  <a:lnTo>
                    <a:pt x="720" y="1104"/>
                  </a:lnTo>
                  <a:lnTo>
                    <a:pt x="714" y="1104"/>
                  </a:lnTo>
                  <a:lnTo>
                    <a:pt x="702" y="1116"/>
                  </a:lnTo>
                  <a:lnTo>
                    <a:pt x="696" y="1122"/>
                  </a:lnTo>
                  <a:lnTo>
                    <a:pt x="696" y="1134"/>
                  </a:lnTo>
                  <a:lnTo>
                    <a:pt x="690" y="1134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72" y="1146"/>
                  </a:lnTo>
                  <a:lnTo>
                    <a:pt x="672" y="1152"/>
                  </a:lnTo>
                  <a:lnTo>
                    <a:pt x="660" y="1152"/>
                  </a:lnTo>
                  <a:lnTo>
                    <a:pt x="642" y="1152"/>
                  </a:lnTo>
                  <a:lnTo>
                    <a:pt x="636" y="1152"/>
                  </a:lnTo>
                  <a:lnTo>
                    <a:pt x="630" y="1158"/>
                  </a:lnTo>
                  <a:lnTo>
                    <a:pt x="624" y="1164"/>
                  </a:lnTo>
                  <a:lnTo>
                    <a:pt x="618" y="1170"/>
                  </a:lnTo>
                  <a:lnTo>
                    <a:pt x="612" y="1170"/>
                  </a:lnTo>
                  <a:lnTo>
                    <a:pt x="600" y="1170"/>
                  </a:lnTo>
                  <a:lnTo>
                    <a:pt x="594" y="1170"/>
                  </a:lnTo>
                  <a:lnTo>
                    <a:pt x="588" y="1170"/>
                  </a:lnTo>
                  <a:lnTo>
                    <a:pt x="582" y="1170"/>
                  </a:lnTo>
                  <a:lnTo>
                    <a:pt x="582" y="1164"/>
                  </a:lnTo>
                  <a:lnTo>
                    <a:pt x="576" y="1158"/>
                  </a:lnTo>
                  <a:lnTo>
                    <a:pt x="570" y="1158"/>
                  </a:lnTo>
                  <a:lnTo>
                    <a:pt x="570" y="1152"/>
                  </a:lnTo>
                  <a:lnTo>
                    <a:pt x="570" y="1146"/>
                  </a:lnTo>
                  <a:lnTo>
                    <a:pt x="570" y="1140"/>
                  </a:lnTo>
                  <a:lnTo>
                    <a:pt x="564" y="1140"/>
                  </a:lnTo>
                  <a:lnTo>
                    <a:pt x="564" y="1134"/>
                  </a:lnTo>
                  <a:lnTo>
                    <a:pt x="564" y="1128"/>
                  </a:lnTo>
                  <a:lnTo>
                    <a:pt x="576" y="1104"/>
                  </a:lnTo>
                  <a:lnTo>
                    <a:pt x="582" y="1086"/>
                  </a:lnTo>
                  <a:lnTo>
                    <a:pt x="570" y="1068"/>
                  </a:lnTo>
                  <a:lnTo>
                    <a:pt x="534" y="1056"/>
                  </a:lnTo>
                  <a:lnTo>
                    <a:pt x="516" y="1026"/>
                  </a:lnTo>
                  <a:lnTo>
                    <a:pt x="492" y="1020"/>
                  </a:lnTo>
                  <a:lnTo>
                    <a:pt x="492" y="1014"/>
                  </a:lnTo>
                  <a:lnTo>
                    <a:pt x="480" y="1008"/>
                  </a:lnTo>
                  <a:lnTo>
                    <a:pt x="474" y="996"/>
                  </a:lnTo>
                  <a:lnTo>
                    <a:pt x="444" y="984"/>
                  </a:lnTo>
                  <a:lnTo>
                    <a:pt x="426" y="978"/>
                  </a:lnTo>
                  <a:lnTo>
                    <a:pt x="420" y="972"/>
                  </a:lnTo>
                  <a:lnTo>
                    <a:pt x="408" y="984"/>
                  </a:lnTo>
                  <a:lnTo>
                    <a:pt x="402" y="984"/>
                  </a:lnTo>
                  <a:lnTo>
                    <a:pt x="396" y="984"/>
                  </a:lnTo>
                  <a:lnTo>
                    <a:pt x="390" y="984"/>
                  </a:lnTo>
                  <a:lnTo>
                    <a:pt x="384" y="990"/>
                  </a:lnTo>
                  <a:lnTo>
                    <a:pt x="378" y="990"/>
                  </a:lnTo>
                  <a:lnTo>
                    <a:pt x="372" y="990"/>
                  </a:lnTo>
                  <a:lnTo>
                    <a:pt x="372" y="996"/>
                  </a:lnTo>
                  <a:lnTo>
                    <a:pt x="366" y="996"/>
                  </a:lnTo>
                  <a:lnTo>
                    <a:pt x="360" y="1002"/>
                  </a:lnTo>
                  <a:lnTo>
                    <a:pt x="360" y="1008"/>
                  </a:lnTo>
                  <a:lnTo>
                    <a:pt x="354" y="1008"/>
                  </a:lnTo>
                  <a:lnTo>
                    <a:pt x="342" y="1014"/>
                  </a:lnTo>
                  <a:lnTo>
                    <a:pt x="336" y="1020"/>
                  </a:lnTo>
                  <a:lnTo>
                    <a:pt x="336" y="1014"/>
                  </a:lnTo>
                  <a:lnTo>
                    <a:pt x="330" y="1014"/>
                  </a:lnTo>
                  <a:lnTo>
                    <a:pt x="330" y="1008"/>
                  </a:lnTo>
                  <a:lnTo>
                    <a:pt x="330" y="1002"/>
                  </a:lnTo>
                  <a:lnTo>
                    <a:pt x="324" y="1002"/>
                  </a:lnTo>
                  <a:lnTo>
                    <a:pt x="324" y="996"/>
                  </a:lnTo>
                  <a:lnTo>
                    <a:pt x="324" y="990"/>
                  </a:lnTo>
                  <a:lnTo>
                    <a:pt x="318" y="990"/>
                  </a:lnTo>
                  <a:lnTo>
                    <a:pt x="306" y="996"/>
                  </a:lnTo>
                  <a:lnTo>
                    <a:pt x="300" y="996"/>
                  </a:lnTo>
                  <a:lnTo>
                    <a:pt x="294" y="996"/>
                  </a:lnTo>
                  <a:lnTo>
                    <a:pt x="288" y="1002"/>
                  </a:lnTo>
                  <a:lnTo>
                    <a:pt x="282" y="990"/>
                  </a:lnTo>
                  <a:lnTo>
                    <a:pt x="276" y="984"/>
                  </a:lnTo>
                  <a:lnTo>
                    <a:pt x="270" y="990"/>
                  </a:lnTo>
                  <a:lnTo>
                    <a:pt x="270" y="996"/>
                  </a:lnTo>
                  <a:lnTo>
                    <a:pt x="270" y="1002"/>
                  </a:lnTo>
                  <a:lnTo>
                    <a:pt x="264" y="1008"/>
                  </a:lnTo>
                  <a:lnTo>
                    <a:pt x="252" y="996"/>
                  </a:lnTo>
                  <a:lnTo>
                    <a:pt x="246" y="996"/>
                  </a:lnTo>
                  <a:lnTo>
                    <a:pt x="234" y="1002"/>
                  </a:lnTo>
                  <a:lnTo>
                    <a:pt x="222" y="1002"/>
                  </a:lnTo>
                  <a:lnTo>
                    <a:pt x="210" y="1002"/>
                  </a:lnTo>
                  <a:lnTo>
                    <a:pt x="198" y="996"/>
                  </a:lnTo>
                  <a:lnTo>
                    <a:pt x="198" y="1002"/>
                  </a:lnTo>
                  <a:lnTo>
                    <a:pt x="198" y="1008"/>
                  </a:lnTo>
                  <a:lnTo>
                    <a:pt x="192" y="1020"/>
                  </a:lnTo>
                  <a:lnTo>
                    <a:pt x="198" y="1020"/>
                  </a:lnTo>
                  <a:lnTo>
                    <a:pt x="204" y="1020"/>
                  </a:lnTo>
                  <a:lnTo>
                    <a:pt x="210" y="1026"/>
                  </a:lnTo>
                  <a:lnTo>
                    <a:pt x="216" y="1026"/>
                  </a:lnTo>
                  <a:lnTo>
                    <a:pt x="216" y="1032"/>
                  </a:lnTo>
                  <a:lnTo>
                    <a:pt x="210" y="1032"/>
                  </a:lnTo>
                  <a:lnTo>
                    <a:pt x="210" y="1038"/>
                  </a:lnTo>
                  <a:lnTo>
                    <a:pt x="204" y="1038"/>
                  </a:lnTo>
                  <a:lnTo>
                    <a:pt x="204" y="1044"/>
                  </a:lnTo>
                  <a:lnTo>
                    <a:pt x="198" y="1044"/>
                  </a:lnTo>
                  <a:lnTo>
                    <a:pt x="192" y="1044"/>
                  </a:lnTo>
                  <a:lnTo>
                    <a:pt x="186" y="1050"/>
                  </a:lnTo>
                  <a:lnTo>
                    <a:pt x="186" y="1056"/>
                  </a:lnTo>
                  <a:lnTo>
                    <a:pt x="180" y="1056"/>
                  </a:lnTo>
                  <a:lnTo>
                    <a:pt x="180" y="1062"/>
                  </a:lnTo>
                  <a:lnTo>
                    <a:pt x="174" y="1062"/>
                  </a:lnTo>
                  <a:lnTo>
                    <a:pt x="168" y="1062"/>
                  </a:lnTo>
                  <a:lnTo>
                    <a:pt x="162" y="1062"/>
                  </a:lnTo>
                  <a:lnTo>
                    <a:pt x="156" y="1050"/>
                  </a:lnTo>
                  <a:lnTo>
                    <a:pt x="150" y="1044"/>
                  </a:lnTo>
                  <a:lnTo>
                    <a:pt x="150" y="1038"/>
                  </a:lnTo>
                  <a:lnTo>
                    <a:pt x="144" y="1032"/>
                  </a:lnTo>
                  <a:lnTo>
                    <a:pt x="144" y="1026"/>
                  </a:lnTo>
                  <a:lnTo>
                    <a:pt x="144" y="1014"/>
                  </a:lnTo>
                  <a:lnTo>
                    <a:pt x="150" y="1008"/>
                  </a:lnTo>
                  <a:lnTo>
                    <a:pt x="150" y="1002"/>
                  </a:lnTo>
                  <a:lnTo>
                    <a:pt x="156" y="984"/>
                  </a:lnTo>
                  <a:lnTo>
                    <a:pt x="162" y="978"/>
                  </a:lnTo>
                  <a:lnTo>
                    <a:pt x="162" y="972"/>
                  </a:lnTo>
                  <a:lnTo>
                    <a:pt x="150" y="966"/>
                  </a:lnTo>
                  <a:lnTo>
                    <a:pt x="144" y="966"/>
                  </a:lnTo>
                  <a:lnTo>
                    <a:pt x="138" y="966"/>
                  </a:lnTo>
                  <a:lnTo>
                    <a:pt x="138" y="954"/>
                  </a:lnTo>
                  <a:lnTo>
                    <a:pt x="132" y="954"/>
                  </a:lnTo>
                  <a:lnTo>
                    <a:pt x="138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8" y="924"/>
                  </a:lnTo>
                  <a:lnTo>
                    <a:pt x="132" y="930"/>
                  </a:lnTo>
                  <a:lnTo>
                    <a:pt x="132" y="924"/>
                  </a:lnTo>
                  <a:lnTo>
                    <a:pt x="126" y="918"/>
                  </a:lnTo>
                  <a:lnTo>
                    <a:pt x="132" y="918"/>
                  </a:lnTo>
                  <a:lnTo>
                    <a:pt x="132" y="912"/>
                  </a:lnTo>
                  <a:lnTo>
                    <a:pt x="126" y="912"/>
                  </a:lnTo>
                  <a:lnTo>
                    <a:pt x="120" y="912"/>
                  </a:lnTo>
                  <a:lnTo>
                    <a:pt x="120" y="918"/>
                  </a:lnTo>
                  <a:lnTo>
                    <a:pt x="114" y="918"/>
                  </a:lnTo>
                  <a:lnTo>
                    <a:pt x="114" y="912"/>
                  </a:lnTo>
                  <a:lnTo>
                    <a:pt x="108" y="912"/>
                  </a:lnTo>
                  <a:lnTo>
                    <a:pt x="102" y="912"/>
                  </a:lnTo>
                  <a:lnTo>
                    <a:pt x="108" y="906"/>
                  </a:lnTo>
                  <a:lnTo>
                    <a:pt x="102" y="906"/>
                  </a:lnTo>
                  <a:lnTo>
                    <a:pt x="96" y="906"/>
                  </a:lnTo>
                  <a:lnTo>
                    <a:pt x="96" y="912"/>
                  </a:lnTo>
                  <a:lnTo>
                    <a:pt x="90" y="918"/>
                  </a:lnTo>
                  <a:lnTo>
                    <a:pt x="90" y="912"/>
                  </a:lnTo>
                  <a:lnTo>
                    <a:pt x="84" y="912"/>
                  </a:lnTo>
                  <a:lnTo>
                    <a:pt x="84" y="918"/>
                  </a:lnTo>
                  <a:lnTo>
                    <a:pt x="78" y="918"/>
                  </a:lnTo>
                  <a:lnTo>
                    <a:pt x="78" y="912"/>
                  </a:lnTo>
                  <a:lnTo>
                    <a:pt x="78" y="906"/>
                  </a:lnTo>
                  <a:lnTo>
                    <a:pt x="72" y="900"/>
                  </a:lnTo>
                  <a:lnTo>
                    <a:pt x="78" y="900"/>
                  </a:lnTo>
                  <a:lnTo>
                    <a:pt x="72" y="900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8" y="888"/>
                  </a:lnTo>
                  <a:lnTo>
                    <a:pt x="72" y="888"/>
                  </a:lnTo>
                  <a:lnTo>
                    <a:pt x="72" y="882"/>
                  </a:lnTo>
                  <a:lnTo>
                    <a:pt x="66" y="876"/>
                  </a:lnTo>
                  <a:lnTo>
                    <a:pt x="60" y="882"/>
                  </a:lnTo>
                  <a:lnTo>
                    <a:pt x="54" y="876"/>
                  </a:lnTo>
                  <a:lnTo>
                    <a:pt x="54" y="882"/>
                  </a:lnTo>
                  <a:lnTo>
                    <a:pt x="48" y="882"/>
                  </a:lnTo>
                  <a:lnTo>
                    <a:pt x="42" y="870"/>
                  </a:lnTo>
                  <a:lnTo>
                    <a:pt x="42" y="864"/>
                  </a:lnTo>
                  <a:lnTo>
                    <a:pt x="36" y="858"/>
                  </a:lnTo>
                  <a:lnTo>
                    <a:pt x="36" y="852"/>
                  </a:lnTo>
                  <a:lnTo>
                    <a:pt x="30" y="852"/>
                  </a:lnTo>
                  <a:lnTo>
                    <a:pt x="30" y="846"/>
                  </a:lnTo>
                  <a:lnTo>
                    <a:pt x="24" y="846"/>
                  </a:lnTo>
                  <a:lnTo>
                    <a:pt x="18" y="840"/>
                  </a:lnTo>
                  <a:lnTo>
                    <a:pt x="12" y="834"/>
                  </a:lnTo>
                  <a:lnTo>
                    <a:pt x="0" y="828"/>
                  </a:lnTo>
                  <a:lnTo>
                    <a:pt x="0" y="822"/>
                  </a:lnTo>
                  <a:lnTo>
                    <a:pt x="0" y="816"/>
                  </a:lnTo>
                  <a:lnTo>
                    <a:pt x="0" y="810"/>
                  </a:lnTo>
                  <a:lnTo>
                    <a:pt x="6" y="804"/>
                  </a:lnTo>
                  <a:lnTo>
                    <a:pt x="12" y="804"/>
                  </a:lnTo>
                  <a:lnTo>
                    <a:pt x="12" y="798"/>
                  </a:lnTo>
                  <a:lnTo>
                    <a:pt x="12" y="792"/>
                  </a:lnTo>
                  <a:lnTo>
                    <a:pt x="6" y="792"/>
                  </a:lnTo>
                  <a:lnTo>
                    <a:pt x="6" y="786"/>
                  </a:lnTo>
                  <a:lnTo>
                    <a:pt x="6" y="780"/>
                  </a:lnTo>
                  <a:lnTo>
                    <a:pt x="18" y="780"/>
                  </a:lnTo>
                  <a:lnTo>
                    <a:pt x="18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0" y="774"/>
                  </a:lnTo>
                  <a:lnTo>
                    <a:pt x="36" y="768"/>
                  </a:lnTo>
                  <a:lnTo>
                    <a:pt x="42" y="768"/>
                  </a:lnTo>
                  <a:lnTo>
                    <a:pt x="60" y="750"/>
                  </a:lnTo>
                  <a:lnTo>
                    <a:pt x="60" y="744"/>
                  </a:lnTo>
                  <a:lnTo>
                    <a:pt x="54" y="738"/>
                  </a:lnTo>
                  <a:lnTo>
                    <a:pt x="60" y="732"/>
                  </a:lnTo>
                  <a:lnTo>
                    <a:pt x="54" y="732"/>
                  </a:lnTo>
                  <a:lnTo>
                    <a:pt x="60" y="726"/>
                  </a:lnTo>
                  <a:lnTo>
                    <a:pt x="66" y="720"/>
                  </a:lnTo>
                  <a:lnTo>
                    <a:pt x="72" y="714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84" y="696"/>
                  </a:lnTo>
                  <a:lnTo>
                    <a:pt x="90" y="684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66"/>
                  </a:lnTo>
                  <a:lnTo>
                    <a:pt x="90" y="660"/>
                  </a:lnTo>
                  <a:lnTo>
                    <a:pt x="84" y="654"/>
                  </a:lnTo>
                  <a:lnTo>
                    <a:pt x="84" y="648"/>
                  </a:lnTo>
                  <a:lnTo>
                    <a:pt x="78" y="636"/>
                  </a:lnTo>
                  <a:lnTo>
                    <a:pt x="66" y="630"/>
                  </a:lnTo>
                  <a:lnTo>
                    <a:pt x="66" y="624"/>
                  </a:lnTo>
                  <a:lnTo>
                    <a:pt x="60" y="624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60" y="600"/>
                  </a:lnTo>
                  <a:lnTo>
                    <a:pt x="66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6" y="588"/>
                  </a:lnTo>
                  <a:lnTo>
                    <a:pt x="66" y="582"/>
                  </a:lnTo>
                  <a:lnTo>
                    <a:pt x="72" y="582"/>
                  </a:lnTo>
                  <a:lnTo>
                    <a:pt x="78" y="576"/>
                  </a:lnTo>
                  <a:lnTo>
                    <a:pt x="72" y="576"/>
                  </a:lnTo>
                  <a:lnTo>
                    <a:pt x="66" y="570"/>
                  </a:lnTo>
                  <a:lnTo>
                    <a:pt x="72" y="564"/>
                  </a:lnTo>
                  <a:lnTo>
                    <a:pt x="78" y="558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90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102" y="516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0" y="504"/>
                  </a:lnTo>
                  <a:lnTo>
                    <a:pt x="120" y="498"/>
                  </a:lnTo>
                  <a:lnTo>
                    <a:pt x="120" y="492"/>
                  </a:lnTo>
                  <a:lnTo>
                    <a:pt x="126" y="480"/>
                  </a:lnTo>
                  <a:lnTo>
                    <a:pt x="132" y="474"/>
                  </a:lnTo>
                  <a:lnTo>
                    <a:pt x="132" y="468"/>
                  </a:lnTo>
                  <a:lnTo>
                    <a:pt x="138" y="462"/>
                  </a:lnTo>
                  <a:lnTo>
                    <a:pt x="138" y="456"/>
                  </a:lnTo>
                  <a:lnTo>
                    <a:pt x="138" y="450"/>
                  </a:lnTo>
                  <a:lnTo>
                    <a:pt x="144" y="444"/>
                  </a:lnTo>
                  <a:lnTo>
                    <a:pt x="162" y="438"/>
                  </a:lnTo>
                  <a:lnTo>
                    <a:pt x="186" y="438"/>
                  </a:lnTo>
                  <a:lnTo>
                    <a:pt x="210" y="444"/>
                  </a:lnTo>
                  <a:lnTo>
                    <a:pt x="276" y="450"/>
                  </a:lnTo>
                  <a:lnTo>
                    <a:pt x="342" y="450"/>
                  </a:lnTo>
                  <a:lnTo>
                    <a:pt x="348" y="450"/>
                  </a:lnTo>
                  <a:lnTo>
                    <a:pt x="354" y="450"/>
                  </a:lnTo>
                  <a:lnTo>
                    <a:pt x="360" y="456"/>
                  </a:lnTo>
                  <a:lnTo>
                    <a:pt x="354" y="462"/>
                  </a:lnTo>
                  <a:lnTo>
                    <a:pt x="354" y="468"/>
                  </a:lnTo>
                  <a:lnTo>
                    <a:pt x="354" y="474"/>
                  </a:lnTo>
                  <a:lnTo>
                    <a:pt x="348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48" y="498"/>
                  </a:lnTo>
                  <a:lnTo>
                    <a:pt x="342" y="510"/>
                  </a:lnTo>
                  <a:lnTo>
                    <a:pt x="348" y="528"/>
                  </a:lnTo>
                  <a:lnTo>
                    <a:pt x="348" y="534"/>
                  </a:lnTo>
                  <a:lnTo>
                    <a:pt x="354" y="552"/>
                  </a:lnTo>
                  <a:lnTo>
                    <a:pt x="366" y="546"/>
                  </a:lnTo>
                  <a:lnTo>
                    <a:pt x="372" y="540"/>
                  </a:lnTo>
                  <a:lnTo>
                    <a:pt x="384" y="540"/>
                  </a:lnTo>
                  <a:lnTo>
                    <a:pt x="396" y="534"/>
                  </a:lnTo>
                  <a:lnTo>
                    <a:pt x="402" y="534"/>
                  </a:lnTo>
                  <a:lnTo>
                    <a:pt x="414" y="546"/>
                  </a:lnTo>
                  <a:lnTo>
                    <a:pt x="432" y="540"/>
                  </a:lnTo>
                  <a:lnTo>
                    <a:pt x="450" y="534"/>
                  </a:lnTo>
                  <a:lnTo>
                    <a:pt x="450" y="528"/>
                  </a:lnTo>
                  <a:lnTo>
                    <a:pt x="456" y="528"/>
                  </a:lnTo>
                  <a:lnTo>
                    <a:pt x="456" y="522"/>
                  </a:lnTo>
                  <a:lnTo>
                    <a:pt x="456" y="516"/>
                  </a:lnTo>
                  <a:lnTo>
                    <a:pt x="462" y="516"/>
                  </a:lnTo>
                  <a:lnTo>
                    <a:pt x="468" y="510"/>
                  </a:lnTo>
                  <a:lnTo>
                    <a:pt x="468" y="504"/>
                  </a:lnTo>
                  <a:lnTo>
                    <a:pt x="474" y="504"/>
                  </a:lnTo>
                  <a:lnTo>
                    <a:pt x="480" y="504"/>
                  </a:lnTo>
                  <a:lnTo>
                    <a:pt x="486" y="498"/>
                  </a:lnTo>
                  <a:lnTo>
                    <a:pt x="492" y="498"/>
                  </a:lnTo>
                  <a:lnTo>
                    <a:pt x="486" y="480"/>
                  </a:lnTo>
                  <a:lnTo>
                    <a:pt x="492" y="462"/>
                  </a:lnTo>
                  <a:lnTo>
                    <a:pt x="498" y="444"/>
                  </a:lnTo>
                  <a:lnTo>
                    <a:pt x="498" y="426"/>
                  </a:lnTo>
                  <a:lnTo>
                    <a:pt x="498" y="420"/>
                  </a:lnTo>
                  <a:lnTo>
                    <a:pt x="504" y="426"/>
                  </a:lnTo>
                  <a:lnTo>
                    <a:pt x="504" y="420"/>
                  </a:lnTo>
                  <a:lnTo>
                    <a:pt x="510" y="420"/>
                  </a:lnTo>
                  <a:lnTo>
                    <a:pt x="510" y="414"/>
                  </a:lnTo>
                  <a:lnTo>
                    <a:pt x="510" y="408"/>
                  </a:lnTo>
                  <a:lnTo>
                    <a:pt x="504" y="402"/>
                  </a:lnTo>
                  <a:lnTo>
                    <a:pt x="504" y="396"/>
                  </a:lnTo>
                  <a:lnTo>
                    <a:pt x="504" y="384"/>
                  </a:lnTo>
                  <a:lnTo>
                    <a:pt x="504" y="378"/>
                  </a:lnTo>
                  <a:lnTo>
                    <a:pt x="504" y="360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510" y="348"/>
                  </a:lnTo>
                  <a:lnTo>
                    <a:pt x="510" y="336"/>
                  </a:lnTo>
                  <a:lnTo>
                    <a:pt x="516" y="330"/>
                  </a:lnTo>
                  <a:lnTo>
                    <a:pt x="522" y="324"/>
                  </a:lnTo>
                  <a:lnTo>
                    <a:pt x="528" y="318"/>
                  </a:lnTo>
                  <a:lnTo>
                    <a:pt x="534" y="312"/>
                  </a:lnTo>
                  <a:lnTo>
                    <a:pt x="534" y="300"/>
                  </a:lnTo>
                  <a:lnTo>
                    <a:pt x="540" y="294"/>
                  </a:lnTo>
                  <a:lnTo>
                    <a:pt x="546" y="288"/>
                  </a:lnTo>
                  <a:lnTo>
                    <a:pt x="552" y="276"/>
                  </a:lnTo>
                  <a:lnTo>
                    <a:pt x="558" y="264"/>
                  </a:lnTo>
                  <a:lnTo>
                    <a:pt x="558" y="258"/>
                  </a:lnTo>
                  <a:lnTo>
                    <a:pt x="558" y="252"/>
                  </a:lnTo>
                  <a:lnTo>
                    <a:pt x="558" y="246"/>
                  </a:lnTo>
                  <a:lnTo>
                    <a:pt x="564" y="246"/>
                  </a:lnTo>
                  <a:lnTo>
                    <a:pt x="564" y="240"/>
                  </a:lnTo>
                  <a:lnTo>
                    <a:pt x="570" y="234"/>
                  </a:lnTo>
                  <a:lnTo>
                    <a:pt x="564" y="216"/>
                  </a:lnTo>
                  <a:lnTo>
                    <a:pt x="564" y="210"/>
                  </a:lnTo>
                  <a:lnTo>
                    <a:pt x="570" y="210"/>
                  </a:lnTo>
                  <a:lnTo>
                    <a:pt x="570" y="204"/>
                  </a:lnTo>
                  <a:lnTo>
                    <a:pt x="570" y="198"/>
                  </a:lnTo>
                  <a:lnTo>
                    <a:pt x="582" y="180"/>
                  </a:lnTo>
                  <a:lnTo>
                    <a:pt x="582" y="174"/>
                  </a:lnTo>
                  <a:lnTo>
                    <a:pt x="582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606" y="150"/>
                  </a:lnTo>
                  <a:lnTo>
                    <a:pt x="612" y="150"/>
                  </a:lnTo>
                  <a:lnTo>
                    <a:pt x="618" y="150"/>
                  </a:lnTo>
                  <a:lnTo>
                    <a:pt x="624" y="138"/>
                  </a:lnTo>
                  <a:lnTo>
                    <a:pt x="618" y="132"/>
                  </a:lnTo>
                  <a:lnTo>
                    <a:pt x="618" y="126"/>
                  </a:lnTo>
                  <a:lnTo>
                    <a:pt x="618" y="120"/>
                  </a:lnTo>
                  <a:lnTo>
                    <a:pt x="618" y="114"/>
                  </a:lnTo>
                  <a:lnTo>
                    <a:pt x="612" y="108"/>
                  </a:lnTo>
                  <a:lnTo>
                    <a:pt x="612" y="102"/>
                  </a:lnTo>
                  <a:lnTo>
                    <a:pt x="618" y="90"/>
                  </a:lnTo>
                  <a:lnTo>
                    <a:pt x="624" y="84"/>
                  </a:lnTo>
                  <a:lnTo>
                    <a:pt x="618" y="84"/>
                  </a:lnTo>
                  <a:lnTo>
                    <a:pt x="618" y="78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0" y="72"/>
                  </a:lnTo>
                  <a:lnTo>
                    <a:pt x="600" y="66"/>
                  </a:lnTo>
                  <a:lnTo>
                    <a:pt x="600" y="60"/>
                  </a:lnTo>
                  <a:lnTo>
                    <a:pt x="600" y="48"/>
                  </a:lnTo>
                  <a:lnTo>
                    <a:pt x="612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36"/>
                  </a:lnTo>
                  <a:lnTo>
                    <a:pt x="630" y="30"/>
                  </a:lnTo>
                  <a:lnTo>
                    <a:pt x="636" y="24"/>
                  </a:lnTo>
                  <a:lnTo>
                    <a:pt x="642" y="24"/>
                  </a:lnTo>
                  <a:lnTo>
                    <a:pt x="648" y="24"/>
                  </a:lnTo>
                  <a:lnTo>
                    <a:pt x="648" y="18"/>
                  </a:lnTo>
                  <a:lnTo>
                    <a:pt x="654" y="12"/>
                  </a:lnTo>
                  <a:lnTo>
                    <a:pt x="660" y="0"/>
                  </a:lnTo>
                  <a:lnTo>
                    <a:pt x="678" y="0"/>
                  </a:lnTo>
                  <a:lnTo>
                    <a:pt x="696" y="0"/>
                  </a:lnTo>
                  <a:lnTo>
                    <a:pt x="702" y="0"/>
                  </a:lnTo>
                  <a:lnTo>
                    <a:pt x="714" y="0"/>
                  </a:lnTo>
                  <a:lnTo>
                    <a:pt x="720" y="6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44" y="24"/>
                  </a:lnTo>
                  <a:lnTo>
                    <a:pt x="744" y="30"/>
                  </a:lnTo>
                  <a:lnTo>
                    <a:pt x="732" y="42"/>
                  </a:lnTo>
                  <a:lnTo>
                    <a:pt x="726" y="42"/>
                  </a:lnTo>
                  <a:lnTo>
                    <a:pt x="720" y="42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54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90"/>
                  </a:lnTo>
                  <a:lnTo>
                    <a:pt x="726" y="84"/>
                  </a:lnTo>
                  <a:lnTo>
                    <a:pt x="738" y="84"/>
                  </a:lnTo>
                  <a:lnTo>
                    <a:pt x="750" y="96"/>
                  </a:lnTo>
                  <a:lnTo>
                    <a:pt x="768" y="96"/>
                  </a:lnTo>
                  <a:lnTo>
                    <a:pt x="768" y="90"/>
                  </a:lnTo>
                  <a:lnTo>
                    <a:pt x="774" y="84"/>
                  </a:lnTo>
                  <a:lnTo>
                    <a:pt x="780" y="78"/>
                  </a:lnTo>
                  <a:lnTo>
                    <a:pt x="786" y="78"/>
                  </a:lnTo>
                  <a:lnTo>
                    <a:pt x="792" y="72"/>
                  </a:lnTo>
                  <a:lnTo>
                    <a:pt x="804" y="72"/>
                  </a:lnTo>
                  <a:lnTo>
                    <a:pt x="804" y="66"/>
                  </a:lnTo>
                  <a:lnTo>
                    <a:pt x="810" y="66"/>
                  </a:lnTo>
                  <a:lnTo>
                    <a:pt x="810" y="72"/>
                  </a:lnTo>
                  <a:lnTo>
                    <a:pt x="816" y="66"/>
                  </a:lnTo>
                  <a:lnTo>
                    <a:pt x="828" y="66"/>
                  </a:lnTo>
                  <a:lnTo>
                    <a:pt x="834" y="72"/>
                  </a:lnTo>
                  <a:lnTo>
                    <a:pt x="840" y="72"/>
                  </a:lnTo>
                  <a:lnTo>
                    <a:pt x="840" y="78"/>
                  </a:lnTo>
                  <a:lnTo>
                    <a:pt x="840" y="84"/>
                  </a:lnTo>
                  <a:lnTo>
                    <a:pt x="852" y="84"/>
                  </a:lnTo>
                  <a:lnTo>
                    <a:pt x="858" y="96"/>
                  </a:lnTo>
                  <a:lnTo>
                    <a:pt x="864" y="108"/>
                  </a:lnTo>
                  <a:lnTo>
                    <a:pt x="876" y="114"/>
                  </a:lnTo>
                  <a:lnTo>
                    <a:pt x="894" y="114"/>
                  </a:lnTo>
                  <a:lnTo>
                    <a:pt x="906" y="114"/>
                  </a:lnTo>
                  <a:lnTo>
                    <a:pt x="906" y="126"/>
                  </a:lnTo>
                  <a:lnTo>
                    <a:pt x="912" y="144"/>
                  </a:lnTo>
                  <a:lnTo>
                    <a:pt x="930" y="138"/>
                  </a:lnTo>
                  <a:lnTo>
                    <a:pt x="936" y="138"/>
                  </a:lnTo>
                  <a:lnTo>
                    <a:pt x="942" y="144"/>
                  </a:lnTo>
                  <a:lnTo>
                    <a:pt x="948" y="150"/>
                  </a:lnTo>
                  <a:lnTo>
                    <a:pt x="954" y="156"/>
                  </a:lnTo>
                  <a:lnTo>
                    <a:pt x="954" y="168"/>
                  </a:lnTo>
                  <a:lnTo>
                    <a:pt x="954" y="174"/>
                  </a:lnTo>
                  <a:lnTo>
                    <a:pt x="960" y="180"/>
                  </a:lnTo>
                  <a:lnTo>
                    <a:pt x="966" y="186"/>
                  </a:lnTo>
                  <a:lnTo>
                    <a:pt x="960" y="186"/>
                  </a:lnTo>
                  <a:lnTo>
                    <a:pt x="966" y="192"/>
                  </a:lnTo>
                  <a:lnTo>
                    <a:pt x="966" y="198"/>
                  </a:lnTo>
                  <a:lnTo>
                    <a:pt x="978" y="204"/>
                  </a:lnTo>
                  <a:lnTo>
                    <a:pt x="1050" y="186"/>
                  </a:lnTo>
                  <a:lnTo>
                    <a:pt x="1056" y="198"/>
                  </a:lnTo>
                  <a:lnTo>
                    <a:pt x="1068" y="210"/>
                  </a:lnTo>
                  <a:lnTo>
                    <a:pt x="1074" y="216"/>
                  </a:lnTo>
                  <a:lnTo>
                    <a:pt x="1080" y="252"/>
                  </a:lnTo>
                  <a:lnTo>
                    <a:pt x="1086" y="270"/>
                  </a:lnTo>
                  <a:lnTo>
                    <a:pt x="1092" y="282"/>
                  </a:lnTo>
                  <a:lnTo>
                    <a:pt x="1086" y="300"/>
                  </a:lnTo>
                  <a:lnTo>
                    <a:pt x="1074" y="330"/>
                  </a:lnTo>
                  <a:lnTo>
                    <a:pt x="1068" y="336"/>
                  </a:lnTo>
                  <a:lnTo>
                    <a:pt x="1062" y="348"/>
                  </a:lnTo>
                  <a:lnTo>
                    <a:pt x="1062" y="360"/>
                  </a:lnTo>
                  <a:lnTo>
                    <a:pt x="1068" y="378"/>
                  </a:lnTo>
                  <a:lnTo>
                    <a:pt x="1074" y="390"/>
                  </a:lnTo>
                  <a:lnTo>
                    <a:pt x="1068" y="396"/>
                  </a:lnTo>
                  <a:lnTo>
                    <a:pt x="1068" y="408"/>
                  </a:lnTo>
                  <a:lnTo>
                    <a:pt x="1062" y="414"/>
                  </a:lnTo>
                  <a:lnTo>
                    <a:pt x="1050" y="432"/>
                  </a:lnTo>
                  <a:lnTo>
                    <a:pt x="1044" y="450"/>
                  </a:lnTo>
                  <a:lnTo>
                    <a:pt x="1038" y="456"/>
                  </a:lnTo>
                  <a:lnTo>
                    <a:pt x="1026" y="468"/>
                  </a:lnTo>
                  <a:lnTo>
                    <a:pt x="1026" y="474"/>
                  </a:lnTo>
                  <a:lnTo>
                    <a:pt x="1026" y="480"/>
                  </a:lnTo>
                  <a:lnTo>
                    <a:pt x="1032" y="492"/>
                  </a:lnTo>
                  <a:lnTo>
                    <a:pt x="1044" y="504"/>
                  </a:lnTo>
                  <a:lnTo>
                    <a:pt x="1044" y="516"/>
                  </a:lnTo>
                  <a:lnTo>
                    <a:pt x="1038" y="528"/>
                  </a:lnTo>
                  <a:lnTo>
                    <a:pt x="1032" y="546"/>
                  </a:lnTo>
                  <a:lnTo>
                    <a:pt x="1032" y="570"/>
                  </a:lnTo>
                  <a:lnTo>
                    <a:pt x="1050" y="594"/>
                  </a:lnTo>
                  <a:lnTo>
                    <a:pt x="1056" y="624"/>
                  </a:lnTo>
                  <a:lnTo>
                    <a:pt x="1056" y="65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9" name="Freeform 24">
              <a:extLst>
                <a:ext uri="{FF2B5EF4-FFF2-40B4-BE49-F238E27FC236}">
                  <a16:creationId xmlns:a16="http://schemas.microsoft.com/office/drawing/2014/main" id="{CAE689DA-332A-4F73-BDE6-8865C9170AA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84829" y="3213406"/>
              <a:ext cx="851989" cy="744754"/>
            </a:xfrm>
            <a:custGeom>
              <a:avLst/>
              <a:gdLst>
                <a:gd name="T0" fmla="*/ 116 w 1602"/>
                <a:gd name="T1" fmla="*/ 91 h 1404"/>
                <a:gd name="T2" fmla="*/ 111 w 1602"/>
                <a:gd name="T3" fmla="*/ 95 h 1404"/>
                <a:gd name="T4" fmla="*/ 102 w 1602"/>
                <a:gd name="T5" fmla="*/ 101 h 1404"/>
                <a:gd name="T6" fmla="*/ 99 w 1602"/>
                <a:gd name="T7" fmla="*/ 103 h 1404"/>
                <a:gd name="T8" fmla="*/ 96 w 1602"/>
                <a:gd name="T9" fmla="*/ 106 h 1404"/>
                <a:gd name="T10" fmla="*/ 93 w 1602"/>
                <a:gd name="T11" fmla="*/ 108 h 1404"/>
                <a:gd name="T12" fmla="*/ 88 w 1602"/>
                <a:gd name="T13" fmla="*/ 106 h 1404"/>
                <a:gd name="T14" fmla="*/ 86 w 1602"/>
                <a:gd name="T15" fmla="*/ 108 h 1404"/>
                <a:gd name="T16" fmla="*/ 81 w 1602"/>
                <a:gd name="T17" fmla="*/ 119 h 1404"/>
                <a:gd name="T18" fmla="*/ 71 w 1602"/>
                <a:gd name="T19" fmla="*/ 109 h 1404"/>
                <a:gd name="T20" fmla="*/ 72 w 1602"/>
                <a:gd name="T21" fmla="*/ 101 h 1404"/>
                <a:gd name="T22" fmla="*/ 74 w 1602"/>
                <a:gd name="T23" fmla="*/ 93 h 1404"/>
                <a:gd name="T24" fmla="*/ 73 w 1602"/>
                <a:gd name="T25" fmla="*/ 82 h 1404"/>
                <a:gd name="T26" fmla="*/ 64 w 1602"/>
                <a:gd name="T27" fmla="*/ 79 h 1404"/>
                <a:gd name="T28" fmla="*/ 59 w 1602"/>
                <a:gd name="T29" fmla="*/ 75 h 1404"/>
                <a:gd name="T30" fmla="*/ 54 w 1602"/>
                <a:gd name="T31" fmla="*/ 71 h 1404"/>
                <a:gd name="T32" fmla="*/ 51 w 1602"/>
                <a:gd name="T33" fmla="*/ 70 h 1404"/>
                <a:gd name="T34" fmla="*/ 45 w 1602"/>
                <a:gd name="T35" fmla="*/ 71 h 1404"/>
                <a:gd name="T36" fmla="*/ 43 w 1602"/>
                <a:gd name="T37" fmla="*/ 68 h 1404"/>
                <a:gd name="T38" fmla="*/ 43 w 1602"/>
                <a:gd name="T39" fmla="*/ 64 h 1404"/>
                <a:gd name="T40" fmla="*/ 36 w 1602"/>
                <a:gd name="T41" fmla="*/ 66 h 1404"/>
                <a:gd name="T42" fmla="*/ 31 w 1602"/>
                <a:gd name="T43" fmla="*/ 55 h 1404"/>
                <a:gd name="T44" fmla="*/ 25 w 1602"/>
                <a:gd name="T45" fmla="*/ 53 h 1404"/>
                <a:gd name="T46" fmla="*/ 19 w 1602"/>
                <a:gd name="T47" fmla="*/ 51 h 1404"/>
                <a:gd name="T48" fmla="*/ 17 w 1602"/>
                <a:gd name="T49" fmla="*/ 43 h 1404"/>
                <a:gd name="T50" fmla="*/ 17 w 1602"/>
                <a:gd name="T51" fmla="*/ 39 h 1404"/>
                <a:gd name="T52" fmla="*/ 12 w 1602"/>
                <a:gd name="T53" fmla="*/ 39 h 1404"/>
                <a:gd name="T54" fmla="*/ 10 w 1602"/>
                <a:gd name="T55" fmla="*/ 35 h 1404"/>
                <a:gd name="T56" fmla="*/ 5 w 1602"/>
                <a:gd name="T57" fmla="*/ 30 h 1404"/>
                <a:gd name="T58" fmla="*/ 3 w 1602"/>
                <a:gd name="T59" fmla="*/ 27 h 1404"/>
                <a:gd name="T60" fmla="*/ 2 w 1602"/>
                <a:gd name="T61" fmla="*/ 25 h 1404"/>
                <a:gd name="T62" fmla="*/ 0 w 1602"/>
                <a:gd name="T63" fmla="*/ 22 h 1404"/>
                <a:gd name="T64" fmla="*/ 8 w 1602"/>
                <a:gd name="T65" fmla="*/ 14 h 1404"/>
                <a:gd name="T66" fmla="*/ 16 w 1602"/>
                <a:gd name="T67" fmla="*/ 16 h 1404"/>
                <a:gd name="T68" fmla="*/ 31 w 1602"/>
                <a:gd name="T69" fmla="*/ 18 h 1404"/>
                <a:gd name="T70" fmla="*/ 43 w 1602"/>
                <a:gd name="T71" fmla="*/ 17 h 1404"/>
                <a:gd name="T72" fmla="*/ 47 w 1602"/>
                <a:gd name="T73" fmla="*/ 6 h 1404"/>
                <a:gd name="T74" fmla="*/ 52 w 1602"/>
                <a:gd name="T75" fmla="*/ 0 h 1404"/>
                <a:gd name="T76" fmla="*/ 55 w 1602"/>
                <a:gd name="T77" fmla="*/ 3 h 1404"/>
                <a:gd name="T78" fmla="*/ 59 w 1602"/>
                <a:gd name="T79" fmla="*/ 9 h 1404"/>
                <a:gd name="T80" fmla="*/ 62 w 1602"/>
                <a:gd name="T81" fmla="*/ 16 h 1404"/>
                <a:gd name="T82" fmla="*/ 66 w 1602"/>
                <a:gd name="T83" fmla="*/ 20 h 1404"/>
                <a:gd name="T84" fmla="*/ 70 w 1602"/>
                <a:gd name="T85" fmla="*/ 25 h 1404"/>
                <a:gd name="T86" fmla="*/ 74 w 1602"/>
                <a:gd name="T87" fmla="*/ 30 h 1404"/>
                <a:gd name="T88" fmla="*/ 76 w 1602"/>
                <a:gd name="T89" fmla="*/ 27 h 1404"/>
                <a:gd name="T90" fmla="*/ 78 w 1602"/>
                <a:gd name="T91" fmla="*/ 27 h 1404"/>
                <a:gd name="T92" fmla="*/ 78 w 1602"/>
                <a:gd name="T93" fmla="*/ 23 h 1404"/>
                <a:gd name="T94" fmla="*/ 82 w 1602"/>
                <a:gd name="T95" fmla="*/ 20 h 1404"/>
                <a:gd name="T96" fmla="*/ 82 w 1602"/>
                <a:gd name="T97" fmla="*/ 18 h 1404"/>
                <a:gd name="T98" fmla="*/ 90 w 1602"/>
                <a:gd name="T99" fmla="*/ 24 h 1404"/>
                <a:gd name="T100" fmla="*/ 90 w 1602"/>
                <a:gd name="T101" fmla="*/ 45 h 1404"/>
                <a:gd name="T102" fmla="*/ 104 w 1602"/>
                <a:gd name="T103" fmla="*/ 41 h 1404"/>
                <a:gd name="T104" fmla="*/ 117 w 1602"/>
                <a:gd name="T105" fmla="*/ 39 h 1404"/>
                <a:gd name="T106" fmla="*/ 125 w 1602"/>
                <a:gd name="T107" fmla="*/ 39 h 1404"/>
                <a:gd name="T108" fmla="*/ 127 w 1602"/>
                <a:gd name="T109" fmla="*/ 43 h 1404"/>
                <a:gd name="T110" fmla="*/ 131 w 1602"/>
                <a:gd name="T111" fmla="*/ 53 h 1404"/>
                <a:gd name="T112" fmla="*/ 133 w 1602"/>
                <a:gd name="T113" fmla="*/ 60 h 1404"/>
                <a:gd name="T114" fmla="*/ 138 w 1602"/>
                <a:gd name="T115" fmla="*/ 73 h 1404"/>
                <a:gd name="T116" fmla="*/ 136 w 1602"/>
                <a:gd name="T117" fmla="*/ 80 h 1404"/>
                <a:gd name="T118" fmla="*/ 129 w 1602"/>
                <a:gd name="T119" fmla="*/ 87 h 1404"/>
                <a:gd name="T120" fmla="*/ 123 w 1602"/>
                <a:gd name="T121" fmla="*/ 95 h 14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02"/>
                <a:gd name="T184" fmla="*/ 0 h 1404"/>
                <a:gd name="T185" fmla="*/ 1602 w 1602"/>
                <a:gd name="T186" fmla="*/ 1404 h 14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02" h="1404">
                  <a:moveTo>
                    <a:pt x="1392" y="1080"/>
                  </a:moveTo>
                  <a:lnTo>
                    <a:pt x="1380" y="1074"/>
                  </a:lnTo>
                  <a:lnTo>
                    <a:pt x="1368" y="1056"/>
                  </a:lnTo>
                  <a:lnTo>
                    <a:pt x="1356" y="1044"/>
                  </a:lnTo>
                  <a:lnTo>
                    <a:pt x="1344" y="1038"/>
                  </a:lnTo>
                  <a:lnTo>
                    <a:pt x="1338" y="1038"/>
                  </a:lnTo>
                  <a:lnTo>
                    <a:pt x="1332" y="1038"/>
                  </a:lnTo>
                  <a:lnTo>
                    <a:pt x="1326" y="1044"/>
                  </a:lnTo>
                  <a:lnTo>
                    <a:pt x="1320" y="1044"/>
                  </a:lnTo>
                  <a:lnTo>
                    <a:pt x="1314" y="1044"/>
                  </a:lnTo>
                  <a:lnTo>
                    <a:pt x="1296" y="1056"/>
                  </a:lnTo>
                  <a:lnTo>
                    <a:pt x="1296" y="1080"/>
                  </a:lnTo>
                  <a:lnTo>
                    <a:pt x="1290" y="1080"/>
                  </a:lnTo>
                  <a:lnTo>
                    <a:pt x="1284" y="1086"/>
                  </a:lnTo>
                  <a:lnTo>
                    <a:pt x="1278" y="1086"/>
                  </a:lnTo>
                  <a:lnTo>
                    <a:pt x="1278" y="1092"/>
                  </a:lnTo>
                  <a:lnTo>
                    <a:pt x="1272" y="1092"/>
                  </a:lnTo>
                  <a:lnTo>
                    <a:pt x="1266" y="1086"/>
                  </a:lnTo>
                  <a:lnTo>
                    <a:pt x="1260" y="1086"/>
                  </a:lnTo>
                  <a:lnTo>
                    <a:pt x="1260" y="1098"/>
                  </a:lnTo>
                  <a:lnTo>
                    <a:pt x="1248" y="1098"/>
                  </a:lnTo>
                  <a:lnTo>
                    <a:pt x="1212" y="1116"/>
                  </a:lnTo>
                  <a:lnTo>
                    <a:pt x="1206" y="1158"/>
                  </a:lnTo>
                  <a:lnTo>
                    <a:pt x="1176" y="1164"/>
                  </a:lnTo>
                  <a:lnTo>
                    <a:pt x="1158" y="1164"/>
                  </a:lnTo>
                  <a:lnTo>
                    <a:pt x="1152" y="1164"/>
                  </a:lnTo>
                  <a:lnTo>
                    <a:pt x="1152" y="1170"/>
                  </a:lnTo>
                  <a:lnTo>
                    <a:pt x="1152" y="1176"/>
                  </a:lnTo>
                  <a:lnTo>
                    <a:pt x="1146" y="1176"/>
                  </a:lnTo>
                  <a:lnTo>
                    <a:pt x="1140" y="1176"/>
                  </a:lnTo>
                  <a:lnTo>
                    <a:pt x="1134" y="1182"/>
                  </a:lnTo>
                  <a:lnTo>
                    <a:pt x="1134" y="1188"/>
                  </a:lnTo>
                  <a:lnTo>
                    <a:pt x="1128" y="1194"/>
                  </a:lnTo>
                  <a:lnTo>
                    <a:pt x="1122" y="1194"/>
                  </a:lnTo>
                  <a:lnTo>
                    <a:pt x="1116" y="1194"/>
                  </a:lnTo>
                  <a:lnTo>
                    <a:pt x="1110" y="1200"/>
                  </a:lnTo>
                  <a:lnTo>
                    <a:pt x="1110" y="1206"/>
                  </a:lnTo>
                  <a:lnTo>
                    <a:pt x="1104" y="1212"/>
                  </a:lnTo>
                  <a:lnTo>
                    <a:pt x="1104" y="1218"/>
                  </a:lnTo>
                  <a:lnTo>
                    <a:pt x="1098" y="1224"/>
                  </a:lnTo>
                  <a:lnTo>
                    <a:pt x="1092" y="1230"/>
                  </a:lnTo>
                  <a:lnTo>
                    <a:pt x="1086" y="1230"/>
                  </a:lnTo>
                  <a:lnTo>
                    <a:pt x="1080" y="1230"/>
                  </a:lnTo>
                  <a:lnTo>
                    <a:pt x="1080" y="1242"/>
                  </a:lnTo>
                  <a:lnTo>
                    <a:pt x="1074" y="1242"/>
                  </a:lnTo>
                  <a:lnTo>
                    <a:pt x="1068" y="1242"/>
                  </a:lnTo>
                  <a:lnTo>
                    <a:pt x="1068" y="1236"/>
                  </a:lnTo>
                  <a:lnTo>
                    <a:pt x="1062" y="1242"/>
                  </a:lnTo>
                  <a:lnTo>
                    <a:pt x="1056" y="1236"/>
                  </a:lnTo>
                  <a:lnTo>
                    <a:pt x="1050" y="1242"/>
                  </a:lnTo>
                  <a:lnTo>
                    <a:pt x="1050" y="1236"/>
                  </a:lnTo>
                  <a:lnTo>
                    <a:pt x="1044" y="1194"/>
                  </a:lnTo>
                  <a:lnTo>
                    <a:pt x="1032" y="1194"/>
                  </a:lnTo>
                  <a:lnTo>
                    <a:pt x="1032" y="1200"/>
                  </a:lnTo>
                  <a:lnTo>
                    <a:pt x="1026" y="1200"/>
                  </a:lnTo>
                  <a:lnTo>
                    <a:pt x="1014" y="1218"/>
                  </a:lnTo>
                  <a:lnTo>
                    <a:pt x="1014" y="1224"/>
                  </a:lnTo>
                  <a:lnTo>
                    <a:pt x="1014" y="1236"/>
                  </a:lnTo>
                  <a:lnTo>
                    <a:pt x="1014" y="1242"/>
                  </a:lnTo>
                  <a:lnTo>
                    <a:pt x="1008" y="1242"/>
                  </a:lnTo>
                  <a:lnTo>
                    <a:pt x="1002" y="1236"/>
                  </a:lnTo>
                  <a:lnTo>
                    <a:pt x="1002" y="1230"/>
                  </a:lnTo>
                  <a:lnTo>
                    <a:pt x="996" y="1236"/>
                  </a:lnTo>
                  <a:lnTo>
                    <a:pt x="990" y="1236"/>
                  </a:lnTo>
                  <a:lnTo>
                    <a:pt x="990" y="1230"/>
                  </a:lnTo>
                  <a:lnTo>
                    <a:pt x="984" y="1236"/>
                  </a:lnTo>
                  <a:lnTo>
                    <a:pt x="978" y="1248"/>
                  </a:lnTo>
                  <a:lnTo>
                    <a:pt x="972" y="1254"/>
                  </a:lnTo>
                  <a:lnTo>
                    <a:pt x="966" y="1260"/>
                  </a:lnTo>
                  <a:lnTo>
                    <a:pt x="930" y="1284"/>
                  </a:lnTo>
                  <a:lnTo>
                    <a:pt x="942" y="1356"/>
                  </a:lnTo>
                  <a:lnTo>
                    <a:pt x="930" y="1368"/>
                  </a:lnTo>
                  <a:lnTo>
                    <a:pt x="852" y="1404"/>
                  </a:lnTo>
                  <a:lnTo>
                    <a:pt x="834" y="1392"/>
                  </a:lnTo>
                  <a:lnTo>
                    <a:pt x="834" y="1362"/>
                  </a:lnTo>
                  <a:lnTo>
                    <a:pt x="828" y="1332"/>
                  </a:lnTo>
                  <a:lnTo>
                    <a:pt x="810" y="1308"/>
                  </a:lnTo>
                  <a:lnTo>
                    <a:pt x="810" y="1284"/>
                  </a:lnTo>
                  <a:lnTo>
                    <a:pt x="816" y="1266"/>
                  </a:lnTo>
                  <a:lnTo>
                    <a:pt x="822" y="1254"/>
                  </a:lnTo>
                  <a:lnTo>
                    <a:pt x="822" y="1242"/>
                  </a:lnTo>
                  <a:lnTo>
                    <a:pt x="810" y="1230"/>
                  </a:lnTo>
                  <a:lnTo>
                    <a:pt x="804" y="1218"/>
                  </a:lnTo>
                  <a:lnTo>
                    <a:pt x="804" y="1212"/>
                  </a:lnTo>
                  <a:lnTo>
                    <a:pt x="804" y="1206"/>
                  </a:lnTo>
                  <a:lnTo>
                    <a:pt x="816" y="1194"/>
                  </a:lnTo>
                  <a:lnTo>
                    <a:pt x="822" y="1188"/>
                  </a:lnTo>
                  <a:lnTo>
                    <a:pt x="828" y="1170"/>
                  </a:lnTo>
                  <a:lnTo>
                    <a:pt x="840" y="1152"/>
                  </a:lnTo>
                  <a:lnTo>
                    <a:pt x="846" y="1146"/>
                  </a:lnTo>
                  <a:lnTo>
                    <a:pt x="846" y="1134"/>
                  </a:lnTo>
                  <a:lnTo>
                    <a:pt x="852" y="1128"/>
                  </a:lnTo>
                  <a:lnTo>
                    <a:pt x="846" y="1116"/>
                  </a:lnTo>
                  <a:lnTo>
                    <a:pt x="840" y="1098"/>
                  </a:lnTo>
                  <a:lnTo>
                    <a:pt x="840" y="1086"/>
                  </a:lnTo>
                  <a:lnTo>
                    <a:pt x="846" y="1074"/>
                  </a:lnTo>
                  <a:lnTo>
                    <a:pt x="852" y="1068"/>
                  </a:lnTo>
                  <a:lnTo>
                    <a:pt x="864" y="1038"/>
                  </a:lnTo>
                  <a:lnTo>
                    <a:pt x="870" y="1020"/>
                  </a:lnTo>
                  <a:lnTo>
                    <a:pt x="864" y="1008"/>
                  </a:lnTo>
                  <a:lnTo>
                    <a:pt x="858" y="990"/>
                  </a:lnTo>
                  <a:lnTo>
                    <a:pt x="852" y="954"/>
                  </a:lnTo>
                  <a:lnTo>
                    <a:pt x="846" y="948"/>
                  </a:lnTo>
                  <a:lnTo>
                    <a:pt x="834" y="936"/>
                  </a:lnTo>
                  <a:lnTo>
                    <a:pt x="828" y="924"/>
                  </a:lnTo>
                  <a:lnTo>
                    <a:pt x="756" y="942"/>
                  </a:lnTo>
                  <a:lnTo>
                    <a:pt x="744" y="936"/>
                  </a:lnTo>
                  <a:lnTo>
                    <a:pt x="744" y="930"/>
                  </a:lnTo>
                  <a:lnTo>
                    <a:pt x="738" y="924"/>
                  </a:lnTo>
                  <a:lnTo>
                    <a:pt x="744" y="924"/>
                  </a:lnTo>
                  <a:lnTo>
                    <a:pt x="738" y="918"/>
                  </a:lnTo>
                  <a:lnTo>
                    <a:pt x="732" y="912"/>
                  </a:lnTo>
                  <a:lnTo>
                    <a:pt x="732" y="906"/>
                  </a:lnTo>
                  <a:lnTo>
                    <a:pt x="732" y="894"/>
                  </a:lnTo>
                  <a:lnTo>
                    <a:pt x="726" y="888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6"/>
                  </a:lnTo>
                  <a:lnTo>
                    <a:pt x="690" y="882"/>
                  </a:lnTo>
                  <a:lnTo>
                    <a:pt x="684" y="864"/>
                  </a:lnTo>
                  <a:lnTo>
                    <a:pt x="684" y="852"/>
                  </a:lnTo>
                  <a:lnTo>
                    <a:pt x="672" y="852"/>
                  </a:lnTo>
                  <a:lnTo>
                    <a:pt x="654" y="852"/>
                  </a:lnTo>
                  <a:lnTo>
                    <a:pt x="642" y="846"/>
                  </a:lnTo>
                  <a:lnTo>
                    <a:pt x="636" y="834"/>
                  </a:lnTo>
                  <a:lnTo>
                    <a:pt x="630" y="822"/>
                  </a:lnTo>
                  <a:lnTo>
                    <a:pt x="618" y="822"/>
                  </a:lnTo>
                  <a:lnTo>
                    <a:pt x="618" y="816"/>
                  </a:lnTo>
                  <a:lnTo>
                    <a:pt x="618" y="810"/>
                  </a:lnTo>
                  <a:lnTo>
                    <a:pt x="612" y="810"/>
                  </a:lnTo>
                  <a:lnTo>
                    <a:pt x="606" y="804"/>
                  </a:lnTo>
                  <a:lnTo>
                    <a:pt x="594" y="804"/>
                  </a:lnTo>
                  <a:lnTo>
                    <a:pt x="588" y="810"/>
                  </a:lnTo>
                  <a:lnTo>
                    <a:pt x="588" y="804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70" y="810"/>
                  </a:lnTo>
                  <a:lnTo>
                    <a:pt x="564" y="816"/>
                  </a:lnTo>
                  <a:lnTo>
                    <a:pt x="558" y="816"/>
                  </a:lnTo>
                  <a:lnTo>
                    <a:pt x="552" y="822"/>
                  </a:lnTo>
                  <a:lnTo>
                    <a:pt x="546" y="828"/>
                  </a:lnTo>
                  <a:lnTo>
                    <a:pt x="546" y="834"/>
                  </a:lnTo>
                  <a:lnTo>
                    <a:pt x="528" y="834"/>
                  </a:lnTo>
                  <a:lnTo>
                    <a:pt x="516" y="822"/>
                  </a:lnTo>
                  <a:lnTo>
                    <a:pt x="504" y="822"/>
                  </a:lnTo>
                  <a:lnTo>
                    <a:pt x="492" y="82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6" y="792"/>
                  </a:lnTo>
                  <a:lnTo>
                    <a:pt x="492" y="786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504" y="780"/>
                  </a:lnTo>
                  <a:lnTo>
                    <a:pt x="510" y="780"/>
                  </a:lnTo>
                  <a:lnTo>
                    <a:pt x="522" y="768"/>
                  </a:lnTo>
                  <a:lnTo>
                    <a:pt x="522" y="762"/>
                  </a:lnTo>
                  <a:lnTo>
                    <a:pt x="504" y="756"/>
                  </a:lnTo>
                  <a:lnTo>
                    <a:pt x="498" y="756"/>
                  </a:lnTo>
                  <a:lnTo>
                    <a:pt x="498" y="744"/>
                  </a:lnTo>
                  <a:lnTo>
                    <a:pt x="492" y="738"/>
                  </a:lnTo>
                  <a:lnTo>
                    <a:pt x="480" y="738"/>
                  </a:lnTo>
                  <a:lnTo>
                    <a:pt x="474" y="738"/>
                  </a:lnTo>
                  <a:lnTo>
                    <a:pt x="456" y="738"/>
                  </a:lnTo>
                  <a:lnTo>
                    <a:pt x="438" y="738"/>
                  </a:lnTo>
                  <a:lnTo>
                    <a:pt x="432" y="750"/>
                  </a:lnTo>
                  <a:lnTo>
                    <a:pt x="426" y="756"/>
                  </a:lnTo>
                  <a:lnTo>
                    <a:pt x="426" y="762"/>
                  </a:lnTo>
                  <a:lnTo>
                    <a:pt x="420" y="762"/>
                  </a:lnTo>
                  <a:lnTo>
                    <a:pt x="408" y="744"/>
                  </a:lnTo>
                  <a:lnTo>
                    <a:pt x="408" y="732"/>
                  </a:lnTo>
                  <a:lnTo>
                    <a:pt x="390" y="714"/>
                  </a:lnTo>
                  <a:lnTo>
                    <a:pt x="384" y="702"/>
                  </a:lnTo>
                  <a:lnTo>
                    <a:pt x="384" y="690"/>
                  </a:lnTo>
                  <a:lnTo>
                    <a:pt x="372" y="690"/>
                  </a:lnTo>
                  <a:lnTo>
                    <a:pt x="366" y="660"/>
                  </a:lnTo>
                  <a:lnTo>
                    <a:pt x="354" y="630"/>
                  </a:lnTo>
                  <a:lnTo>
                    <a:pt x="348" y="630"/>
                  </a:lnTo>
                  <a:lnTo>
                    <a:pt x="336" y="630"/>
                  </a:lnTo>
                  <a:lnTo>
                    <a:pt x="330" y="630"/>
                  </a:lnTo>
                  <a:lnTo>
                    <a:pt x="318" y="630"/>
                  </a:lnTo>
                  <a:lnTo>
                    <a:pt x="312" y="624"/>
                  </a:lnTo>
                  <a:lnTo>
                    <a:pt x="306" y="624"/>
                  </a:lnTo>
                  <a:lnTo>
                    <a:pt x="294" y="618"/>
                  </a:lnTo>
                  <a:lnTo>
                    <a:pt x="288" y="612"/>
                  </a:lnTo>
                  <a:lnTo>
                    <a:pt x="276" y="600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58" y="588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8"/>
                  </a:lnTo>
                  <a:lnTo>
                    <a:pt x="216" y="582"/>
                  </a:lnTo>
                  <a:lnTo>
                    <a:pt x="210" y="588"/>
                  </a:lnTo>
                  <a:lnTo>
                    <a:pt x="198" y="582"/>
                  </a:lnTo>
                  <a:lnTo>
                    <a:pt x="180" y="582"/>
                  </a:lnTo>
                  <a:lnTo>
                    <a:pt x="174" y="552"/>
                  </a:lnTo>
                  <a:lnTo>
                    <a:pt x="168" y="504"/>
                  </a:lnTo>
                  <a:lnTo>
                    <a:pt x="186" y="504"/>
                  </a:lnTo>
                  <a:lnTo>
                    <a:pt x="192" y="504"/>
                  </a:lnTo>
                  <a:lnTo>
                    <a:pt x="192" y="498"/>
                  </a:lnTo>
                  <a:lnTo>
                    <a:pt x="192" y="492"/>
                  </a:lnTo>
                  <a:lnTo>
                    <a:pt x="192" y="486"/>
                  </a:lnTo>
                  <a:lnTo>
                    <a:pt x="198" y="486"/>
                  </a:lnTo>
                  <a:lnTo>
                    <a:pt x="198" y="480"/>
                  </a:lnTo>
                  <a:lnTo>
                    <a:pt x="204" y="474"/>
                  </a:lnTo>
                  <a:lnTo>
                    <a:pt x="210" y="468"/>
                  </a:lnTo>
                  <a:lnTo>
                    <a:pt x="198" y="462"/>
                  </a:lnTo>
                  <a:lnTo>
                    <a:pt x="192" y="444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32"/>
                  </a:lnTo>
                  <a:lnTo>
                    <a:pt x="168" y="438"/>
                  </a:lnTo>
                  <a:lnTo>
                    <a:pt x="150" y="450"/>
                  </a:lnTo>
                  <a:lnTo>
                    <a:pt x="144" y="456"/>
                  </a:lnTo>
                  <a:lnTo>
                    <a:pt x="132" y="456"/>
                  </a:lnTo>
                  <a:lnTo>
                    <a:pt x="126" y="468"/>
                  </a:lnTo>
                  <a:lnTo>
                    <a:pt x="114" y="468"/>
                  </a:lnTo>
                  <a:lnTo>
                    <a:pt x="108" y="468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14"/>
                  </a:lnTo>
                  <a:lnTo>
                    <a:pt x="108" y="396"/>
                  </a:lnTo>
                  <a:lnTo>
                    <a:pt x="120" y="396"/>
                  </a:lnTo>
                  <a:lnTo>
                    <a:pt x="126" y="384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84" y="354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0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60" y="318"/>
                  </a:lnTo>
                  <a:lnTo>
                    <a:pt x="42" y="324"/>
                  </a:lnTo>
                  <a:lnTo>
                    <a:pt x="36" y="318"/>
                  </a:lnTo>
                  <a:lnTo>
                    <a:pt x="36" y="312"/>
                  </a:lnTo>
                  <a:lnTo>
                    <a:pt x="36" y="306"/>
                  </a:lnTo>
                  <a:lnTo>
                    <a:pt x="36" y="300"/>
                  </a:lnTo>
                  <a:lnTo>
                    <a:pt x="30" y="300"/>
                  </a:lnTo>
                  <a:lnTo>
                    <a:pt x="30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24" y="276"/>
                  </a:lnTo>
                  <a:lnTo>
                    <a:pt x="18" y="276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18" y="234"/>
                  </a:lnTo>
                  <a:lnTo>
                    <a:pt x="30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42" y="192"/>
                  </a:lnTo>
                  <a:lnTo>
                    <a:pt x="66" y="186"/>
                  </a:lnTo>
                  <a:lnTo>
                    <a:pt x="90" y="156"/>
                  </a:lnTo>
                  <a:lnTo>
                    <a:pt x="102" y="144"/>
                  </a:lnTo>
                  <a:lnTo>
                    <a:pt x="138" y="150"/>
                  </a:lnTo>
                  <a:lnTo>
                    <a:pt x="162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0" y="180"/>
                  </a:lnTo>
                  <a:lnTo>
                    <a:pt x="174" y="180"/>
                  </a:lnTo>
                  <a:lnTo>
                    <a:pt x="180" y="186"/>
                  </a:lnTo>
                  <a:lnTo>
                    <a:pt x="186" y="186"/>
                  </a:lnTo>
                  <a:lnTo>
                    <a:pt x="198" y="192"/>
                  </a:lnTo>
                  <a:lnTo>
                    <a:pt x="216" y="198"/>
                  </a:lnTo>
                  <a:lnTo>
                    <a:pt x="252" y="204"/>
                  </a:lnTo>
                  <a:lnTo>
                    <a:pt x="258" y="210"/>
                  </a:lnTo>
                  <a:lnTo>
                    <a:pt x="306" y="216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84" y="210"/>
                  </a:lnTo>
                  <a:lnTo>
                    <a:pt x="408" y="222"/>
                  </a:lnTo>
                  <a:lnTo>
                    <a:pt x="438" y="228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86" y="222"/>
                  </a:lnTo>
                  <a:lnTo>
                    <a:pt x="492" y="210"/>
                  </a:lnTo>
                  <a:lnTo>
                    <a:pt x="492" y="198"/>
                  </a:lnTo>
                  <a:lnTo>
                    <a:pt x="486" y="180"/>
                  </a:lnTo>
                  <a:lnTo>
                    <a:pt x="492" y="162"/>
                  </a:lnTo>
                  <a:lnTo>
                    <a:pt x="510" y="96"/>
                  </a:lnTo>
                  <a:lnTo>
                    <a:pt x="516" y="84"/>
                  </a:lnTo>
                  <a:lnTo>
                    <a:pt x="522" y="84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34" y="72"/>
                  </a:lnTo>
                  <a:lnTo>
                    <a:pt x="534" y="60"/>
                  </a:lnTo>
                  <a:lnTo>
                    <a:pt x="540" y="36"/>
                  </a:lnTo>
                  <a:lnTo>
                    <a:pt x="546" y="6"/>
                  </a:lnTo>
                  <a:lnTo>
                    <a:pt x="558" y="6"/>
                  </a:lnTo>
                  <a:lnTo>
                    <a:pt x="564" y="0"/>
                  </a:lnTo>
                  <a:lnTo>
                    <a:pt x="582" y="0"/>
                  </a:lnTo>
                  <a:lnTo>
                    <a:pt x="588" y="0"/>
                  </a:lnTo>
                  <a:lnTo>
                    <a:pt x="594" y="6"/>
                  </a:lnTo>
                  <a:lnTo>
                    <a:pt x="600" y="12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24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36" y="36"/>
                  </a:lnTo>
                  <a:lnTo>
                    <a:pt x="642" y="36"/>
                  </a:lnTo>
                  <a:lnTo>
                    <a:pt x="642" y="42"/>
                  </a:lnTo>
                  <a:lnTo>
                    <a:pt x="648" y="54"/>
                  </a:lnTo>
                  <a:lnTo>
                    <a:pt x="660" y="72"/>
                  </a:lnTo>
                  <a:lnTo>
                    <a:pt x="666" y="78"/>
                  </a:lnTo>
                  <a:lnTo>
                    <a:pt x="672" y="90"/>
                  </a:lnTo>
                  <a:lnTo>
                    <a:pt x="678" y="102"/>
                  </a:lnTo>
                  <a:lnTo>
                    <a:pt x="678" y="114"/>
                  </a:lnTo>
                  <a:lnTo>
                    <a:pt x="684" y="132"/>
                  </a:lnTo>
                  <a:lnTo>
                    <a:pt x="684" y="144"/>
                  </a:lnTo>
                  <a:lnTo>
                    <a:pt x="690" y="162"/>
                  </a:lnTo>
                  <a:lnTo>
                    <a:pt x="696" y="168"/>
                  </a:lnTo>
                  <a:lnTo>
                    <a:pt x="696" y="180"/>
                  </a:lnTo>
                  <a:lnTo>
                    <a:pt x="702" y="186"/>
                  </a:lnTo>
                  <a:lnTo>
                    <a:pt x="708" y="186"/>
                  </a:lnTo>
                  <a:lnTo>
                    <a:pt x="714" y="198"/>
                  </a:lnTo>
                  <a:lnTo>
                    <a:pt x="720" y="198"/>
                  </a:lnTo>
                  <a:lnTo>
                    <a:pt x="732" y="204"/>
                  </a:lnTo>
                  <a:lnTo>
                    <a:pt x="738" y="210"/>
                  </a:lnTo>
                  <a:lnTo>
                    <a:pt x="738" y="216"/>
                  </a:lnTo>
                  <a:lnTo>
                    <a:pt x="744" y="222"/>
                  </a:lnTo>
                  <a:lnTo>
                    <a:pt x="750" y="228"/>
                  </a:lnTo>
                  <a:lnTo>
                    <a:pt x="756" y="228"/>
                  </a:lnTo>
                  <a:lnTo>
                    <a:pt x="768" y="240"/>
                  </a:lnTo>
                  <a:lnTo>
                    <a:pt x="774" y="252"/>
                  </a:lnTo>
                  <a:lnTo>
                    <a:pt x="780" y="258"/>
                  </a:lnTo>
                  <a:lnTo>
                    <a:pt x="786" y="258"/>
                  </a:lnTo>
                  <a:lnTo>
                    <a:pt x="798" y="264"/>
                  </a:lnTo>
                  <a:lnTo>
                    <a:pt x="798" y="270"/>
                  </a:lnTo>
                  <a:lnTo>
                    <a:pt x="798" y="276"/>
                  </a:lnTo>
                  <a:lnTo>
                    <a:pt x="810" y="288"/>
                  </a:lnTo>
                  <a:lnTo>
                    <a:pt x="816" y="288"/>
                  </a:lnTo>
                  <a:lnTo>
                    <a:pt x="816" y="300"/>
                  </a:lnTo>
                  <a:lnTo>
                    <a:pt x="816" y="306"/>
                  </a:lnTo>
                  <a:lnTo>
                    <a:pt x="822" y="318"/>
                  </a:lnTo>
                  <a:lnTo>
                    <a:pt x="828" y="324"/>
                  </a:lnTo>
                  <a:lnTo>
                    <a:pt x="834" y="330"/>
                  </a:lnTo>
                  <a:lnTo>
                    <a:pt x="846" y="336"/>
                  </a:lnTo>
                  <a:lnTo>
                    <a:pt x="846" y="342"/>
                  </a:lnTo>
                  <a:lnTo>
                    <a:pt x="852" y="348"/>
                  </a:lnTo>
                  <a:lnTo>
                    <a:pt x="852" y="354"/>
                  </a:lnTo>
                  <a:lnTo>
                    <a:pt x="858" y="354"/>
                  </a:lnTo>
                  <a:lnTo>
                    <a:pt x="858" y="348"/>
                  </a:lnTo>
                  <a:lnTo>
                    <a:pt x="864" y="342"/>
                  </a:lnTo>
                  <a:lnTo>
                    <a:pt x="864" y="336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76" y="306"/>
                  </a:lnTo>
                  <a:lnTo>
                    <a:pt x="870" y="300"/>
                  </a:lnTo>
                  <a:lnTo>
                    <a:pt x="870" y="294"/>
                  </a:lnTo>
                  <a:lnTo>
                    <a:pt x="876" y="294"/>
                  </a:lnTo>
                  <a:lnTo>
                    <a:pt x="882" y="300"/>
                  </a:lnTo>
                  <a:lnTo>
                    <a:pt x="888" y="300"/>
                  </a:lnTo>
                  <a:lnTo>
                    <a:pt x="888" y="306"/>
                  </a:lnTo>
                  <a:lnTo>
                    <a:pt x="894" y="300"/>
                  </a:lnTo>
                  <a:lnTo>
                    <a:pt x="900" y="294"/>
                  </a:lnTo>
                  <a:lnTo>
                    <a:pt x="894" y="288"/>
                  </a:lnTo>
                  <a:lnTo>
                    <a:pt x="888" y="282"/>
                  </a:lnTo>
                  <a:lnTo>
                    <a:pt x="888" y="276"/>
                  </a:lnTo>
                  <a:lnTo>
                    <a:pt x="894" y="276"/>
                  </a:lnTo>
                  <a:lnTo>
                    <a:pt x="900" y="276"/>
                  </a:lnTo>
                  <a:lnTo>
                    <a:pt x="900" y="270"/>
                  </a:lnTo>
                  <a:lnTo>
                    <a:pt x="906" y="264"/>
                  </a:lnTo>
                  <a:lnTo>
                    <a:pt x="906" y="258"/>
                  </a:lnTo>
                  <a:lnTo>
                    <a:pt x="918" y="264"/>
                  </a:lnTo>
                  <a:lnTo>
                    <a:pt x="918" y="258"/>
                  </a:lnTo>
                  <a:lnTo>
                    <a:pt x="924" y="252"/>
                  </a:lnTo>
                  <a:lnTo>
                    <a:pt x="930" y="252"/>
                  </a:lnTo>
                  <a:lnTo>
                    <a:pt x="930" y="246"/>
                  </a:lnTo>
                  <a:lnTo>
                    <a:pt x="936" y="234"/>
                  </a:lnTo>
                  <a:lnTo>
                    <a:pt x="942" y="228"/>
                  </a:lnTo>
                  <a:lnTo>
                    <a:pt x="942" y="222"/>
                  </a:lnTo>
                  <a:lnTo>
                    <a:pt x="948" y="222"/>
                  </a:lnTo>
                  <a:lnTo>
                    <a:pt x="948" y="216"/>
                  </a:lnTo>
                  <a:lnTo>
                    <a:pt x="942" y="216"/>
                  </a:lnTo>
                  <a:lnTo>
                    <a:pt x="936" y="216"/>
                  </a:lnTo>
                  <a:lnTo>
                    <a:pt x="936" y="210"/>
                  </a:lnTo>
                  <a:lnTo>
                    <a:pt x="942" y="210"/>
                  </a:lnTo>
                  <a:lnTo>
                    <a:pt x="972" y="210"/>
                  </a:lnTo>
                  <a:lnTo>
                    <a:pt x="1032" y="216"/>
                  </a:lnTo>
                  <a:lnTo>
                    <a:pt x="1068" y="216"/>
                  </a:lnTo>
                  <a:lnTo>
                    <a:pt x="1056" y="234"/>
                  </a:lnTo>
                  <a:lnTo>
                    <a:pt x="1050" y="240"/>
                  </a:lnTo>
                  <a:lnTo>
                    <a:pt x="1044" y="246"/>
                  </a:lnTo>
                  <a:lnTo>
                    <a:pt x="1038" y="246"/>
                  </a:lnTo>
                  <a:lnTo>
                    <a:pt x="1026" y="282"/>
                  </a:lnTo>
                  <a:lnTo>
                    <a:pt x="1032" y="306"/>
                  </a:lnTo>
                  <a:lnTo>
                    <a:pt x="1044" y="324"/>
                  </a:lnTo>
                  <a:lnTo>
                    <a:pt x="1044" y="342"/>
                  </a:lnTo>
                  <a:lnTo>
                    <a:pt x="1062" y="366"/>
                  </a:lnTo>
                  <a:lnTo>
                    <a:pt x="1056" y="396"/>
                  </a:lnTo>
                  <a:lnTo>
                    <a:pt x="1038" y="462"/>
                  </a:lnTo>
                  <a:lnTo>
                    <a:pt x="1038" y="498"/>
                  </a:lnTo>
                  <a:lnTo>
                    <a:pt x="1038" y="522"/>
                  </a:lnTo>
                  <a:lnTo>
                    <a:pt x="1038" y="534"/>
                  </a:lnTo>
                  <a:lnTo>
                    <a:pt x="1056" y="522"/>
                  </a:lnTo>
                  <a:lnTo>
                    <a:pt x="1098" y="504"/>
                  </a:lnTo>
                  <a:lnTo>
                    <a:pt x="1104" y="498"/>
                  </a:lnTo>
                  <a:lnTo>
                    <a:pt x="1128" y="492"/>
                  </a:lnTo>
                  <a:lnTo>
                    <a:pt x="1152" y="480"/>
                  </a:lnTo>
                  <a:lnTo>
                    <a:pt x="1170" y="474"/>
                  </a:lnTo>
                  <a:lnTo>
                    <a:pt x="1188" y="468"/>
                  </a:lnTo>
                  <a:lnTo>
                    <a:pt x="1200" y="462"/>
                  </a:lnTo>
                  <a:lnTo>
                    <a:pt x="1224" y="450"/>
                  </a:lnTo>
                  <a:lnTo>
                    <a:pt x="1248" y="450"/>
                  </a:lnTo>
                  <a:lnTo>
                    <a:pt x="1266" y="450"/>
                  </a:lnTo>
                  <a:lnTo>
                    <a:pt x="1296" y="456"/>
                  </a:lnTo>
                  <a:lnTo>
                    <a:pt x="1308" y="456"/>
                  </a:lnTo>
                  <a:lnTo>
                    <a:pt x="1326" y="456"/>
                  </a:lnTo>
                  <a:lnTo>
                    <a:pt x="1338" y="456"/>
                  </a:lnTo>
                  <a:lnTo>
                    <a:pt x="1350" y="462"/>
                  </a:lnTo>
                  <a:lnTo>
                    <a:pt x="1356" y="462"/>
                  </a:lnTo>
                  <a:lnTo>
                    <a:pt x="1374" y="456"/>
                  </a:lnTo>
                  <a:lnTo>
                    <a:pt x="1386" y="456"/>
                  </a:lnTo>
                  <a:lnTo>
                    <a:pt x="1392" y="456"/>
                  </a:lnTo>
                  <a:lnTo>
                    <a:pt x="1398" y="456"/>
                  </a:lnTo>
                  <a:lnTo>
                    <a:pt x="1422" y="456"/>
                  </a:lnTo>
                  <a:lnTo>
                    <a:pt x="1440" y="456"/>
                  </a:lnTo>
                  <a:lnTo>
                    <a:pt x="1446" y="456"/>
                  </a:lnTo>
                  <a:lnTo>
                    <a:pt x="1476" y="456"/>
                  </a:lnTo>
                  <a:lnTo>
                    <a:pt x="1470" y="468"/>
                  </a:lnTo>
                  <a:lnTo>
                    <a:pt x="1470" y="474"/>
                  </a:lnTo>
                  <a:lnTo>
                    <a:pt x="1470" y="486"/>
                  </a:lnTo>
                  <a:lnTo>
                    <a:pt x="1464" y="492"/>
                  </a:lnTo>
                  <a:lnTo>
                    <a:pt x="1464" y="498"/>
                  </a:lnTo>
                  <a:lnTo>
                    <a:pt x="1458" y="498"/>
                  </a:lnTo>
                  <a:lnTo>
                    <a:pt x="1458" y="510"/>
                  </a:lnTo>
                  <a:lnTo>
                    <a:pt x="1452" y="522"/>
                  </a:lnTo>
                  <a:lnTo>
                    <a:pt x="1458" y="528"/>
                  </a:lnTo>
                  <a:lnTo>
                    <a:pt x="1464" y="546"/>
                  </a:lnTo>
                  <a:lnTo>
                    <a:pt x="1470" y="552"/>
                  </a:lnTo>
                  <a:lnTo>
                    <a:pt x="1476" y="564"/>
                  </a:lnTo>
                  <a:lnTo>
                    <a:pt x="1488" y="588"/>
                  </a:lnTo>
                  <a:lnTo>
                    <a:pt x="1506" y="606"/>
                  </a:lnTo>
                  <a:lnTo>
                    <a:pt x="1506" y="612"/>
                  </a:lnTo>
                  <a:lnTo>
                    <a:pt x="1518" y="618"/>
                  </a:lnTo>
                  <a:lnTo>
                    <a:pt x="1512" y="630"/>
                  </a:lnTo>
                  <a:lnTo>
                    <a:pt x="1518" y="642"/>
                  </a:lnTo>
                  <a:lnTo>
                    <a:pt x="1518" y="648"/>
                  </a:lnTo>
                  <a:lnTo>
                    <a:pt x="1530" y="666"/>
                  </a:lnTo>
                  <a:lnTo>
                    <a:pt x="1518" y="672"/>
                  </a:lnTo>
                  <a:lnTo>
                    <a:pt x="1524" y="696"/>
                  </a:lnTo>
                  <a:lnTo>
                    <a:pt x="1518" y="732"/>
                  </a:lnTo>
                  <a:lnTo>
                    <a:pt x="1524" y="762"/>
                  </a:lnTo>
                  <a:lnTo>
                    <a:pt x="1524" y="780"/>
                  </a:lnTo>
                  <a:lnTo>
                    <a:pt x="1524" y="810"/>
                  </a:lnTo>
                  <a:lnTo>
                    <a:pt x="1530" y="834"/>
                  </a:lnTo>
                  <a:lnTo>
                    <a:pt x="1536" y="846"/>
                  </a:lnTo>
                  <a:lnTo>
                    <a:pt x="1542" y="846"/>
                  </a:lnTo>
                  <a:lnTo>
                    <a:pt x="1584" y="840"/>
                  </a:lnTo>
                  <a:lnTo>
                    <a:pt x="1590" y="846"/>
                  </a:lnTo>
                  <a:lnTo>
                    <a:pt x="1596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90" y="864"/>
                  </a:lnTo>
                  <a:lnTo>
                    <a:pt x="1578" y="882"/>
                  </a:lnTo>
                  <a:lnTo>
                    <a:pt x="1572" y="906"/>
                  </a:lnTo>
                  <a:lnTo>
                    <a:pt x="1560" y="924"/>
                  </a:lnTo>
                  <a:lnTo>
                    <a:pt x="1560" y="936"/>
                  </a:lnTo>
                  <a:lnTo>
                    <a:pt x="1548" y="960"/>
                  </a:lnTo>
                  <a:lnTo>
                    <a:pt x="1542" y="978"/>
                  </a:lnTo>
                  <a:lnTo>
                    <a:pt x="1536" y="990"/>
                  </a:lnTo>
                  <a:lnTo>
                    <a:pt x="1530" y="990"/>
                  </a:lnTo>
                  <a:lnTo>
                    <a:pt x="1506" y="996"/>
                  </a:lnTo>
                  <a:lnTo>
                    <a:pt x="1494" y="1002"/>
                  </a:lnTo>
                  <a:lnTo>
                    <a:pt x="1482" y="1002"/>
                  </a:lnTo>
                  <a:lnTo>
                    <a:pt x="1464" y="1008"/>
                  </a:lnTo>
                  <a:lnTo>
                    <a:pt x="1446" y="1026"/>
                  </a:lnTo>
                  <a:lnTo>
                    <a:pt x="1440" y="1026"/>
                  </a:lnTo>
                  <a:lnTo>
                    <a:pt x="1434" y="1038"/>
                  </a:lnTo>
                  <a:lnTo>
                    <a:pt x="1428" y="1044"/>
                  </a:lnTo>
                  <a:lnTo>
                    <a:pt x="1428" y="1062"/>
                  </a:lnTo>
                  <a:lnTo>
                    <a:pt x="1428" y="1086"/>
                  </a:lnTo>
                  <a:lnTo>
                    <a:pt x="1416" y="1092"/>
                  </a:lnTo>
                  <a:lnTo>
                    <a:pt x="1410" y="1080"/>
                  </a:lnTo>
                  <a:lnTo>
                    <a:pt x="1392" y="10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0" name="Freeform 25">
              <a:extLst>
                <a:ext uri="{FF2B5EF4-FFF2-40B4-BE49-F238E27FC236}">
                  <a16:creationId xmlns:a16="http://schemas.microsoft.com/office/drawing/2014/main" id="{39FDFF90-5ACF-4D65-81AD-C44D2CBE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70228" y="3063559"/>
              <a:ext cx="644023" cy="704498"/>
            </a:xfrm>
            <a:custGeom>
              <a:avLst/>
              <a:gdLst>
                <a:gd name="T0" fmla="*/ 74 w 1212"/>
                <a:gd name="T1" fmla="*/ 113 h 1326"/>
                <a:gd name="T2" fmla="*/ 60 w 1212"/>
                <a:gd name="T3" fmla="*/ 116 h 1326"/>
                <a:gd name="T4" fmla="*/ 62 w 1212"/>
                <a:gd name="T5" fmla="*/ 110 h 1326"/>
                <a:gd name="T6" fmla="*/ 60 w 1212"/>
                <a:gd name="T7" fmla="*/ 105 h 1326"/>
                <a:gd name="T8" fmla="*/ 52 w 1212"/>
                <a:gd name="T9" fmla="*/ 96 h 1326"/>
                <a:gd name="T10" fmla="*/ 47 w 1212"/>
                <a:gd name="T11" fmla="*/ 98 h 1326"/>
                <a:gd name="T12" fmla="*/ 44 w 1212"/>
                <a:gd name="T13" fmla="*/ 93 h 1326"/>
                <a:gd name="T14" fmla="*/ 40 w 1212"/>
                <a:gd name="T15" fmla="*/ 96 h 1326"/>
                <a:gd name="T16" fmla="*/ 35 w 1212"/>
                <a:gd name="T17" fmla="*/ 102 h 1326"/>
                <a:gd name="T18" fmla="*/ 27 w 1212"/>
                <a:gd name="T19" fmla="*/ 100 h 1326"/>
                <a:gd name="T20" fmla="*/ 23 w 1212"/>
                <a:gd name="T21" fmla="*/ 96 h 1326"/>
                <a:gd name="T22" fmla="*/ 20 w 1212"/>
                <a:gd name="T23" fmla="*/ 90 h 1326"/>
                <a:gd name="T24" fmla="*/ 18 w 1212"/>
                <a:gd name="T25" fmla="*/ 89 h 1326"/>
                <a:gd name="T26" fmla="*/ 18 w 1212"/>
                <a:gd name="T27" fmla="*/ 85 h 1326"/>
                <a:gd name="T28" fmla="*/ 19 w 1212"/>
                <a:gd name="T29" fmla="*/ 83 h 1326"/>
                <a:gd name="T30" fmla="*/ 19 w 1212"/>
                <a:gd name="T31" fmla="*/ 82 h 1326"/>
                <a:gd name="T32" fmla="*/ 20 w 1212"/>
                <a:gd name="T33" fmla="*/ 79 h 1326"/>
                <a:gd name="T34" fmla="*/ 19 w 1212"/>
                <a:gd name="T35" fmla="*/ 75 h 1326"/>
                <a:gd name="T36" fmla="*/ 17 w 1212"/>
                <a:gd name="T37" fmla="*/ 77 h 1326"/>
                <a:gd name="T38" fmla="*/ 14 w 1212"/>
                <a:gd name="T39" fmla="*/ 76 h 1326"/>
                <a:gd name="T40" fmla="*/ 12 w 1212"/>
                <a:gd name="T41" fmla="*/ 71 h 1326"/>
                <a:gd name="T42" fmla="*/ 8 w 1212"/>
                <a:gd name="T43" fmla="*/ 69 h 1326"/>
                <a:gd name="T44" fmla="*/ 0 w 1212"/>
                <a:gd name="T45" fmla="*/ 72 h 1326"/>
                <a:gd name="T46" fmla="*/ 2 w 1212"/>
                <a:gd name="T47" fmla="*/ 67 h 1326"/>
                <a:gd name="T48" fmla="*/ 3 w 1212"/>
                <a:gd name="T49" fmla="*/ 61 h 1326"/>
                <a:gd name="T50" fmla="*/ 4 w 1212"/>
                <a:gd name="T51" fmla="*/ 56 h 1326"/>
                <a:gd name="T52" fmla="*/ 4 w 1212"/>
                <a:gd name="T53" fmla="*/ 52 h 1326"/>
                <a:gd name="T54" fmla="*/ 2 w 1212"/>
                <a:gd name="T55" fmla="*/ 47 h 1326"/>
                <a:gd name="T56" fmla="*/ 2 w 1212"/>
                <a:gd name="T57" fmla="*/ 42 h 1326"/>
                <a:gd name="T58" fmla="*/ 5 w 1212"/>
                <a:gd name="T59" fmla="*/ 39 h 1326"/>
                <a:gd name="T60" fmla="*/ 5 w 1212"/>
                <a:gd name="T61" fmla="*/ 35 h 1326"/>
                <a:gd name="T62" fmla="*/ 7 w 1212"/>
                <a:gd name="T63" fmla="*/ 31 h 1326"/>
                <a:gd name="T64" fmla="*/ 14 w 1212"/>
                <a:gd name="T65" fmla="*/ 31 h 1326"/>
                <a:gd name="T66" fmla="*/ 18 w 1212"/>
                <a:gd name="T67" fmla="*/ 27 h 1326"/>
                <a:gd name="T68" fmla="*/ 22 w 1212"/>
                <a:gd name="T69" fmla="*/ 24 h 1326"/>
                <a:gd name="T70" fmla="*/ 27 w 1212"/>
                <a:gd name="T71" fmla="*/ 20 h 1326"/>
                <a:gd name="T72" fmla="*/ 35 w 1212"/>
                <a:gd name="T73" fmla="*/ 21 h 1326"/>
                <a:gd name="T74" fmla="*/ 61 w 1212"/>
                <a:gd name="T75" fmla="*/ 8 h 1326"/>
                <a:gd name="T76" fmla="*/ 73 w 1212"/>
                <a:gd name="T77" fmla="*/ 4 h 1326"/>
                <a:gd name="T78" fmla="*/ 86 w 1212"/>
                <a:gd name="T79" fmla="*/ 12 h 1326"/>
                <a:gd name="T80" fmla="*/ 92 w 1212"/>
                <a:gd name="T81" fmla="*/ 13 h 1326"/>
                <a:gd name="T82" fmla="*/ 86 w 1212"/>
                <a:gd name="T83" fmla="*/ 18 h 1326"/>
                <a:gd name="T84" fmla="*/ 88 w 1212"/>
                <a:gd name="T85" fmla="*/ 33 h 1326"/>
                <a:gd name="T86" fmla="*/ 97 w 1212"/>
                <a:gd name="T87" fmla="*/ 49 h 1326"/>
                <a:gd name="T88" fmla="*/ 102 w 1212"/>
                <a:gd name="T89" fmla="*/ 57 h 1326"/>
                <a:gd name="T90" fmla="*/ 104 w 1212"/>
                <a:gd name="T91" fmla="*/ 67 h 1326"/>
                <a:gd name="T92" fmla="*/ 101 w 1212"/>
                <a:gd name="T93" fmla="*/ 69 h 1326"/>
                <a:gd name="T94" fmla="*/ 97 w 1212"/>
                <a:gd name="T95" fmla="*/ 69 h 1326"/>
                <a:gd name="T96" fmla="*/ 96 w 1212"/>
                <a:gd name="T97" fmla="*/ 71 h 1326"/>
                <a:gd name="T98" fmla="*/ 93 w 1212"/>
                <a:gd name="T99" fmla="*/ 70 h 1326"/>
                <a:gd name="T100" fmla="*/ 86 w 1212"/>
                <a:gd name="T101" fmla="*/ 69 h 1326"/>
                <a:gd name="T102" fmla="*/ 82 w 1212"/>
                <a:gd name="T103" fmla="*/ 73 h 1326"/>
                <a:gd name="T104" fmla="*/ 79 w 1212"/>
                <a:gd name="T105" fmla="*/ 74 h 1326"/>
                <a:gd name="T106" fmla="*/ 78 w 1212"/>
                <a:gd name="T107" fmla="*/ 79 h 1326"/>
                <a:gd name="T108" fmla="*/ 78 w 1212"/>
                <a:gd name="T109" fmla="*/ 83 h 1326"/>
                <a:gd name="T110" fmla="*/ 82 w 1212"/>
                <a:gd name="T111" fmla="*/ 87 h 1326"/>
                <a:gd name="T112" fmla="*/ 83 w 1212"/>
                <a:gd name="T113" fmla="*/ 90 h 1326"/>
                <a:gd name="T114" fmla="*/ 82 w 1212"/>
                <a:gd name="T115" fmla="*/ 94 h 1326"/>
                <a:gd name="T116" fmla="*/ 82 w 1212"/>
                <a:gd name="T117" fmla="*/ 98 h 1326"/>
                <a:gd name="T118" fmla="*/ 82 w 1212"/>
                <a:gd name="T119" fmla="*/ 104 h 1326"/>
                <a:gd name="T120" fmla="*/ 78 w 1212"/>
                <a:gd name="T121" fmla="*/ 110 h 132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12"/>
                <a:gd name="T184" fmla="*/ 0 h 1326"/>
                <a:gd name="T185" fmla="*/ 1212 w 1212"/>
                <a:gd name="T186" fmla="*/ 1326 h 132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12" h="1326">
                  <a:moveTo>
                    <a:pt x="906" y="1290"/>
                  </a:moveTo>
                  <a:lnTo>
                    <a:pt x="906" y="1296"/>
                  </a:lnTo>
                  <a:lnTo>
                    <a:pt x="900" y="1296"/>
                  </a:lnTo>
                  <a:lnTo>
                    <a:pt x="876" y="1290"/>
                  </a:lnTo>
                  <a:lnTo>
                    <a:pt x="870" y="1290"/>
                  </a:lnTo>
                  <a:lnTo>
                    <a:pt x="864" y="1296"/>
                  </a:lnTo>
                  <a:lnTo>
                    <a:pt x="852" y="1296"/>
                  </a:lnTo>
                  <a:lnTo>
                    <a:pt x="840" y="1302"/>
                  </a:lnTo>
                  <a:lnTo>
                    <a:pt x="834" y="1308"/>
                  </a:lnTo>
                  <a:lnTo>
                    <a:pt x="822" y="1320"/>
                  </a:lnTo>
                  <a:lnTo>
                    <a:pt x="816" y="1320"/>
                  </a:lnTo>
                  <a:lnTo>
                    <a:pt x="732" y="1320"/>
                  </a:lnTo>
                  <a:lnTo>
                    <a:pt x="696" y="1320"/>
                  </a:lnTo>
                  <a:lnTo>
                    <a:pt x="690" y="1326"/>
                  </a:lnTo>
                  <a:lnTo>
                    <a:pt x="678" y="1326"/>
                  </a:lnTo>
                  <a:lnTo>
                    <a:pt x="672" y="1308"/>
                  </a:lnTo>
                  <a:lnTo>
                    <a:pt x="696" y="1302"/>
                  </a:lnTo>
                  <a:lnTo>
                    <a:pt x="708" y="1296"/>
                  </a:lnTo>
                  <a:lnTo>
                    <a:pt x="720" y="1284"/>
                  </a:lnTo>
                  <a:lnTo>
                    <a:pt x="714" y="1278"/>
                  </a:lnTo>
                  <a:lnTo>
                    <a:pt x="714" y="1266"/>
                  </a:lnTo>
                  <a:lnTo>
                    <a:pt x="708" y="1260"/>
                  </a:lnTo>
                  <a:lnTo>
                    <a:pt x="708" y="1254"/>
                  </a:lnTo>
                  <a:lnTo>
                    <a:pt x="708" y="1248"/>
                  </a:lnTo>
                  <a:lnTo>
                    <a:pt x="702" y="1236"/>
                  </a:lnTo>
                  <a:lnTo>
                    <a:pt x="702" y="1230"/>
                  </a:lnTo>
                  <a:lnTo>
                    <a:pt x="702" y="1218"/>
                  </a:lnTo>
                  <a:lnTo>
                    <a:pt x="696" y="1200"/>
                  </a:lnTo>
                  <a:lnTo>
                    <a:pt x="696" y="1182"/>
                  </a:lnTo>
                  <a:lnTo>
                    <a:pt x="666" y="1182"/>
                  </a:lnTo>
                  <a:lnTo>
                    <a:pt x="672" y="1134"/>
                  </a:lnTo>
                  <a:lnTo>
                    <a:pt x="666" y="1128"/>
                  </a:lnTo>
                  <a:lnTo>
                    <a:pt x="660" y="1092"/>
                  </a:lnTo>
                  <a:lnTo>
                    <a:pt x="654" y="1098"/>
                  </a:lnTo>
                  <a:lnTo>
                    <a:pt x="594" y="1098"/>
                  </a:lnTo>
                  <a:lnTo>
                    <a:pt x="576" y="1098"/>
                  </a:lnTo>
                  <a:lnTo>
                    <a:pt x="570" y="1104"/>
                  </a:lnTo>
                  <a:lnTo>
                    <a:pt x="564" y="1110"/>
                  </a:lnTo>
                  <a:lnTo>
                    <a:pt x="558" y="1110"/>
                  </a:lnTo>
                  <a:lnTo>
                    <a:pt x="552" y="1110"/>
                  </a:lnTo>
                  <a:lnTo>
                    <a:pt x="546" y="1110"/>
                  </a:lnTo>
                  <a:lnTo>
                    <a:pt x="546" y="1116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10" y="1128"/>
                  </a:lnTo>
                  <a:lnTo>
                    <a:pt x="522" y="1104"/>
                  </a:lnTo>
                  <a:lnTo>
                    <a:pt x="510" y="1098"/>
                  </a:lnTo>
                  <a:lnTo>
                    <a:pt x="510" y="1074"/>
                  </a:lnTo>
                  <a:lnTo>
                    <a:pt x="504" y="1068"/>
                  </a:lnTo>
                  <a:lnTo>
                    <a:pt x="498" y="1068"/>
                  </a:lnTo>
                  <a:lnTo>
                    <a:pt x="492" y="1068"/>
                  </a:lnTo>
                  <a:lnTo>
                    <a:pt x="474" y="1080"/>
                  </a:lnTo>
                  <a:lnTo>
                    <a:pt x="474" y="1086"/>
                  </a:lnTo>
                  <a:lnTo>
                    <a:pt x="474" y="1092"/>
                  </a:lnTo>
                  <a:lnTo>
                    <a:pt x="468" y="1098"/>
                  </a:lnTo>
                  <a:lnTo>
                    <a:pt x="462" y="1104"/>
                  </a:lnTo>
                  <a:lnTo>
                    <a:pt x="456" y="1110"/>
                  </a:lnTo>
                  <a:lnTo>
                    <a:pt x="456" y="1122"/>
                  </a:lnTo>
                  <a:lnTo>
                    <a:pt x="456" y="1128"/>
                  </a:lnTo>
                  <a:lnTo>
                    <a:pt x="450" y="1140"/>
                  </a:lnTo>
                  <a:lnTo>
                    <a:pt x="444" y="1146"/>
                  </a:lnTo>
                  <a:lnTo>
                    <a:pt x="426" y="1170"/>
                  </a:lnTo>
                  <a:lnTo>
                    <a:pt x="408" y="1176"/>
                  </a:lnTo>
                  <a:lnTo>
                    <a:pt x="402" y="1170"/>
                  </a:lnTo>
                  <a:lnTo>
                    <a:pt x="396" y="1170"/>
                  </a:lnTo>
                  <a:lnTo>
                    <a:pt x="396" y="1158"/>
                  </a:lnTo>
                  <a:lnTo>
                    <a:pt x="384" y="1152"/>
                  </a:lnTo>
                  <a:lnTo>
                    <a:pt x="372" y="1140"/>
                  </a:lnTo>
                  <a:lnTo>
                    <a:pt x="354" y="1140"/>
                  </a:lnTo>
                  <a:lnTo>
                    <a:pt x="306" y="1146"/>
                  </a:lnTo>
                  <a:lnTo>
                    <a:pt x="294" y="1134"/>
                  </a:lnTo>
                  <a:lnTo>
                    <a:pt x="294" y="1128"/>
                  </a:lnTo>
                  <a:lnTo>
                    <a:pt x="288" y="1122"/>
                  </a:lnTo>
                  <a:lnTo>
                    <a:pt x="276" y="1122"/>
                  </a:lnTo>
                  <a:lnTo>
                    <a:pt x="276" y="1110"/>
                  </a:lnTo>
                  <a:lnTo>
                    <a:pt x="276" y="1104"/>
                  </a:lnTo>
                  <a:lnTo>
                    <a:pt x="270" y="1098"/>
                  </a:lnTo>
                  <a:lnTo>
                    <a:pt x="264" y="1086"/>
                  </a:lnTo>
                  <a:lnTo>
                    <a:pt x="264" y="1074"/>
                  </a:lnTo>
                  <a:lnTo>
                    <a:pt x="258" y="1068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34" y="1038"/>
                  </a:lnTo>
                  <a:lnTo>
                    <a:pt x="228" y="1038"/>
                  </a:lnTo>
                  <a:lnTo>
                    <a:pt x="222" y="1038"/>
                  </a:lnTo>
                  <a:lnTo>
                    <a:pt x="216" y="1038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0"/>
                  </a:lnTo>
                  <a:lnTo>
                    <a:pt x="204" y="1014"/>
                  </a:lnTo>
                  <a:lnTo>
                    <a:pt x="204" y="1008"/>
                  </a:lnTo>
                  <a:lnTo>
                    <a:pt x="198" y="1002"/>
                  </a:lnTo>
                  <a:lnTo>
                    <a:pt x="198" y="996"/>
                  </a:lnTo>
                  <a:lnTo>
                    <a:pt x="198" y="990"/>
                  </a:lnTo>
                  <a:lnTo>
                    <a:pt x="204" y="990"/>
                  </a:lnTo>
                  <a:lnTo>
                    <a:pt x="204" y="984"/>
                  </a:lnTo>
                  <a:lnTo>
                    <a:pt x="210" y="978"/>
                  </a:lnTo>
                  <a:lnTo>
                    <a:pt x="210" y="972"/>
                  </a:lnTo>
                  <a:lnTo>
                    <a:pt x="210" y="966"/>
                  </a:lnTo>
                  <a:lnTo>
                    <a:pt x="216" y="960"/>
                  </a:lnTo>
                  <a:lnTo>
                    <a:pt x="216" y="954"/>
                  </a:lnTo>
                  <a:lnTo>
                    <a:pt x="210" y="954"/>
                  </a:lnTo>
                  <a:lnTo>
                    <a:pt x="204" y="954"/>
                  </a:lnTo>
                  <a:lnTo>
                    <a:pt x="216" y="954"/>
                  </a:lnTo>
                  <a:lnTo>
                    <a:pt x="216" y="948"/>
                  </a:lnTo>
                  <a:lnTo>
                    <a:pt x="210" y="948"/>
                  </a:lnTo>
                  <a:lnTo>
                    <a:pt x="210" y="942"/>
                  </a:lnTo>
                  <a:lnTo>
                    <a:pt x="216" y="942"/>
                  </a:lnTo>
                  <a:lnTo>
                    <a:pt x="222" y="942"/>
                  </a:lnTo>
                  <a:lnTo>
                    <a:pt x="222" y="936"/>
                  </a:lnTo>
                  <a:lnTo>
                    <a:pt x="216" y="936"/>
                  </a:lnTo>
                  <a:lnTo>
                    <a:pt x="210" y="936"/>
                  </a:lnTo>
                  <a:lnTo>
                    <a:pt x="210" y="930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22" y="918"/>
                  </a:lnTo>
                  <a:lnTo>
                    <a:pt x="228" y="912"/>
                  </a:lnTo>
                  <a:lnTo>
                    <a:pt x="228" y="906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2" y="888"/>
                  </a:lnTo>
                  <a:lnTo>
                    <a:pt x="222" y="882"/>
                  </a:lnTo>
                  <a:lnTo>
                    <a:pt x="222" y="876"/>
                  </a:lnTo>
                  <a:lnTo>
                    <a:pt x="222" y="858"/>
                  </a:lnTo>
                  <a:lnTo>
                    <a:pt x="216" y="858"/>
                  </a:lnTo>
                  <a:lnTo>
                    <a:pt x="216" y="852"/>
                  </a:lnTo>
                  <a:lnTo>
                    <a:pt x="210" y="852"/>
                  </a:lnTo>
                  <a:lnTo>
                    <a:pt x="210" y="840"/>
                  </a:lnTo>
                  <a:lnTo>
                    <a:pt x="198" y="840"/>
                  </a:lnTo>
                  <a:lnTo>
                    <a:pt x="198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0" y="894"/>
                  </a:lnTo>
                  <a:lnTo>
                    <a:pt x="180" y="906"/>
                  </a:lnTo>
                  <a:lnTo>
                    <a:pt x="156" y="912"/>
                  </a:lnTo>
                  <a:lnTo>
                    <a:pt x="156" y="894"/>
                  </a:lnTo>
                  <a:lnTo>
                    <a:pt x="156" y="882"/>
                  </a:lnTo>
                  <a:lnTo>
                    <a:pt x="156" y="876"/>
                  </a:lnTo>
                  <a:lnTo>
                    <a:pt x="150" y="876"/>
                  </a:lnTo>
                  <a:lnTo>
                    <a:pt x="144" y="876"/>
                  </a:lnTo>
                  <a:lnTo>
                    <a:pt x="138" y="870"/>
                  </a:lnTo>
                  <a:lnTo>
                    <a:pt x="132" y="864"/>
                  </a:lnTo>
                  <a:lnTo>
                    <a:pt x="138" y="840"/>
                  </a:lnTo>
                  <a:lnTo>
                    <a:pt x="132" y="840"/>
                  </a:lnTo>
                  <a:lnTo>
                    <a:pt x="138" y="810"/>
                  </a:lnTo>
                  <a:lnTo>
                    <a:pt x="144" y="804"/>
                  </a:lnTo>
                  <a:lnTo>
                    <a:pt x="144" y="798"/>
                  </a:lnTo>
                  <a:lnTo>
                    <a:pt x="156" y="798"/>
                  </a:lnTo>
                  <a:lnTo>
                    <a:pt x="156" y="792"/>
                  </a:lnTo>
                  <a:lnTo>
                    <a:pt x="120" y="792"/>
                  </a:lnTo>
                  <a:lnTo>
                    <a:pt x="108" y="786"/>
                  </a:lnTo>
                  <a:lnTo>
                    <a:pt x="96" y="786"/>
                  </a:lnTo>
                  <a:lnTo>
                    <a:pt x="96" y="780"/>
                  </a:lnTo>
                  <a:lnTo>
                    <a:pt x="78" y="780"/>
                  </a:lnTo>
                  <a:lnTo>
                    <a:pt x="72" y="804"/>
                  </a:lnTo>
                  <a:lnTo>
                    <a:pt x="60" y="816"/>
                  </a:lnTo>
                  <a:lnTo>
                    <a:pt x="36" y="828"/>
                  </a:lnTo>
                  <a:lnTo>
                    <a:pt x="18" y="840"/>
                  </a:lnTo>
                  <a:lnTo>
                    <a:pt x="0" y="822"/>
                  </a:lnTo>
                  <a:lnTo>
                    <a:pt x="6" y="816"/>
                  </a:lnTo>
                  <a:lnTo>
                    <a:pt x="12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18" y="786"/>
                  </a:lnTo>
                  <a:lnTo>
                    <a:pt x="24" y="780"/>
                  </a:lnTo>
                  <a:lnTo>
                    <a:pt x="24" y="768"/>
                  </a:lnTo>
                  <a:lnTo>
                    <a:pt x="24" y="762"/>
                  </a:lnTo>
                  <a:lnTo>
                    <a:pt x="24" y="750"/>
                  </a:lnTo>
                  <a:lnTo>
                    <a:pt x="36" y="714"/>
                  </a:lnTo>
                  <a:lnTo>
                    <a:pt x="36" y="708"/>
                  </a:lnTo>
                  <a:lnTo>
                    <a:pt x="42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6" y="690"/>
                  </a:lnTo>
                  <a:lnTo>
                    <a:pt x="42" y="684"/>
                  </a:lnTo>
                  <a:lnTo>
                    <a:pt x="42" y="672"/>
                  </a:lnTo>
                  <a:lnTo>
                    <a:pt x="42" y="666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48" y="648"/>
                  </a:lnTo>
                  <a:lnTo>
                    <a:pt x="54" y="642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54" y="612"/>
                  </a:lnTo>
                  <a:lnTo>
                    <a:pt x="48" y="606"/>
                  </a:lnTo>
                  <a:lnTo>
                    <a:pt x="48" y="600"/>
                  </a:lnTo>
                  <a:lnTo>
                    <a:pt x="42" y="600"/>
                  </a:lnTo>
                  <a:lnTo>
                    <a:pt x="36" y="594"/>
                  </a:lnTo>
                  <a:lnTo>
                    <a:pt x="36" y="588"/>
                  </a:lnTo>
                  <a:lnTo>
                    <a:pt x="30" y="582"/>
                  </a:lnTo>
                  <a:lnTo>
                    <a:pt x="30" y="570"/>
                  </a:lnTo>
                  <a:lnTo>
                    <a:pt x="18" y="552"/>
                  </a:lnTo>
                  <a:lnTo>
                    <a:pt x="18" y="546"/>
                  </a:lnTo>
                  <a:lnTo>
                    <a:pt x="18" y="540"/>
                  </a:lnTo>
                  <a:lnTo>
                    <a:pt x="18" y="528"/>
                  </a:lnTo>
                  <a:lnTo>
                    <a:pt x="18" y="522"/>
                  </a:lnTo>
                  <a:lnTo>
                    <a:pt x="24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30" y="474"/>
                  </a:lnTo>
                  <a:lnTo>
                    <a:pt x="36" y="474"/>
                  </a:lnTo>
                  <a:lnTo>
                    <a:pt x="42" y="468"/>
                  </a:lnTo>
                  <a:lnTo>
                    <a:pt x="48" y="468"/>
                  </a:lnTo>
                  <a:lnTo>
                    <a:pt x="48" y="462"/>
                  </a:lnTo>
                  <a:lnTo>
                    <a:pt x="48" y="456"/>
                  </a:lnTo>
                  <a:lnTo>
                    <a:pt x="54" y="450"/>
                  </a:lnTo>
                  <a:lnTo>
                    <a:pt x="60" y="438"/>
                  </a:lnTo>
                  <a:lnTo>
                    <a:pt x="54" y="438"/>
                  </a:lnTo>
                  <a:lnTo>
                    <a:pt x="54" y="432"/>
                  </a:ln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54" y="402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6" y="384"/>
                  </a:lnTo>
                  <a:lnTo>
                    <a:pt x="72" y="372"/>
                  </a:lnTo>
                  <a:lnTo>
                    <a:pt x="78" y="366"/>
                  </a:lnTo>
                  <a:lnTo>
                    <a:pt x="84" y="360"/>
                  </a:lnTo>
                  <a:lnTo>
                    <a:pt x="102" y="360"/>
                  </a:lnTo>
                  <a:lnTo>
                    <a:pt x="114" y="36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8" y="360"/>
                  </a:lnTo>
                  <a:lnTo>
                    <a:pt x="156" y="360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74" y="342"/>
                  </a:lnTo>
                  <a:lnTo>
                    <a:pt x="180" y="342"/>
                  </a:lnTo>
                  <a:lnTo>
                    <a:pt x="186" y="336"/>
                  </a:lnTo>
                  <a:lnTo>
                    <a:pt x="192" y="330"/>
                  </a:lnTo>
                  <a:lnTo>
                    <a:pt x="204" y="312"/>
                  </a:lnTo>
                  <a:lnTo>
                    <a:pt x="210" y="312"/>
                  </a:lnTo>
                  <a:lnTo>
                    <a:pt x="216" y="306"/>
                  </a:lnTo>
                  <a:lnTo>
                    <a:pt x="216" y="300"/>
                  </a:lnTo>
                  <a:lnTo>
                    <a:pt x="222" y="288"/>
                  </a:lnTo>
                  <a:lnTo>
                    <a:pt x="234" y="288"/>
                  </a:lnTo>
                  <a:lnTo>
                    <a:pt x="240" y="282"/>
                  </a:lnTo>
                  <a:lnTo>
                    <a:pt x="246" y="282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70" y="270"/>
                  </a:lnTo>
                  <a:lnTo>
                    <a:pt x="276" y="264"/>
                  </a:lnTo>
                  <a:lnTo>
                    <a:pt x="282" y="26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8" y="234"/>
                  </a:lnTo>
                  <a:lnTo>
                    <a:pt x="330" y="234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72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14" y="240"/>
                  </a:lnTo>
                  <a:lnTo>
                    <a:pt x="444" y="216"/>
                  </a:lnTo>
                  <a:lnTo>
                    <a:pt x="480" y="204"/>
                  </a:lnTo>
                  <a:lnTo>
                    <a:pt x="600" y="150"/>
                  </a:lnTo>
                  <a:lnTo>
                    <a:pt x="648" y="126"/>
                  </a:lnTo>
                  <a:lnTo>
                    <a:pt x="702" y="96"/>
                  </a:lnTo>
                  <a:lnTo>
                    <a:pt x="708" y="54"/>
                  </a:lnTo>
                  <a:lnTo>
                    <a:pt x="720" y="24"/>
                  </a:lnTo>
                  <a:lnTo>
                    <a:pt x="738" y="12"/>
                  </a:lnTo>
                  <a:lnTo>
                    <a:pt x="768" y="0"/>
                  </a:lnTo>
                  <a:lnTo>
                    <a:pt x="792" y="6"/>
                  </a:lnTo>
                  <a:lnTo>
                    <a:pt x="804" y="12"/>
                  </a:lnTo>
                  <a:lnTo>
                    <a:pt x="834" y="48"/>
                  </a:lnTo>
                  <a:lnTo>
                    <a:pt x="834" y="60"/>
                  </a:lnTo>
                  <a:lnTo>
                    <a:pt x="852" y="84"/>
                  </a:lnTo>
                  <a:lnTo>
                    <a:pt x="864" y="96"/>
                  </a:lnTo>
                  <a:lnTo>
                    <a:pt x="888" y="102"/>
                  </a:lnTo>
                  <a:lnTo>
                    <a:pt x="978" y="120"/>
                  </a:lnTo>
                  <a:lnTo>
                    <a:pt x="984" y="126"/>
                  </a:lnTo>
                  <a:lnTo>
                    <a:pt x="984" y="132"/>
                  </a:lnTo>
                  <a:lnTo>
                    <a:pt x="996" y="138"/>
                  </a:lnTo>
                  <a:lnTo>
                    <a:pt x="1038" y="126"/>
                  </a:lnTo>
                  <a:lnTo>
                    <a:pt x="1056" y="114"/>
                  </a:lnTo>
                  <a:lnTo>
                    <a:pt x="1068" y="126"/>
                  </a:lnTo>
                  <a:lnTo>
                    <a:pt x="1074" y="132"/>
                  </a:lnTo>
                  <a:lnTo>
                    <a:pt x="1068" y="138"/>
                  </a:lnTo>
                  <a:lnTo>
                    <a:pt x="1056" y="150"/>
                  </a:lnTo>
                  <a:lnTo>
                    <a:pt x="1038" y="162"/>
                  </a:lnTo>
                  <a:lnTo>
                    <a:pt x="1038" y="168"/>
                  </a:lnTo>
                  <a:lnTo>
                    <a:pt x="1020" y="174"/>
                  </a:lnTo>
                  <a:lnTo>
                    <a:pt x="1014" y="180"/>
                  </a:lnTo>
                  <a:lnTo>
                    <a:pt x="1008" y="186"/>
                  </a:lnTo>
                  <a:lnTo>
                    <a:pt x="1002" y="198"/>
                  </a:lnTo>
                  <a:lnTo>
                    <a:pt x="984" y="204"/>
                  </a:lnTo>
                  <a:lnTo>
                    <a:pt x="984" y="246"/>
                  </a:lnTo>
                  <a:lnTo>
                    <a:pt x="978" y="270"/>
                  </a:lnTo>
                  <a:lnTo>
                    <a:pt x="990" y="306"/>
                  </a:lnTo>
                  <a:lnTo>
                    <a:pt x="990" y="324"/>
                  </a:lnTo>
                  <a:lnTo>
                    <a:pt x="1002" y="336"/>
                  </a:lnTo>
                  <a:lnTo>
                    <a:pt x="1020" y="372"/>
                  </a:lnTo>
                  <a:lnTo>
                    <a:pt x="1014" y="378"/>
                  </a:lnTo>
                  <a:lnTo>
                    <a:pt x="1014" y="384"/>
                  </a:lnTo>
                  <a:lnTo>
                    <a:pt x="1020" y="384"/>
                  </a:lnTo>
                  <a:lnTo>
                    <a:pt x="1020" y="396"/>
                  </a:lnTo>
                  <a:lnTo>
                    <a:pt x="1062" y="468"/>
                  </a:lnTo>
                  <a:lnTo>
                    <a:pt x="1092" y="522"/>
                  </a:lnTo>
                  <a:lnTo>
                    <a:pt x="1110" y="546"/>
                  </a:lnTo>
                  <a:lnTo>
                    <a:pt x="1122" y="564"/>
                  </a:lnTo>
                  <a:lnTo>
                    <a:pt x="1134" y="576"/>
                  </a:lnTo>
                  <a:lnTo>
                    <a:pt x="1146" y="582"/>
                  </a:lnTo>
                  <a:lnTo>
                    <a:pt x="1146" y="588"/>
                  </a:lnTo>
                  <a:lnTo>
                    <a:pt x="1164" y="600"/>
                  </a:lnTo>
                  <a:lnTo>
                    <a:pt x="1170" y="612"/>
                  </a:lnTo>
                  <a:lnTo>
                    <a:pt x="1170" y="624"/>
                  </a:lnTo>
                  <a:lnTo>
                    <a:pt x="1176" y="654"/>
                  </a:lnTo>
                  <a:lnTo>
                    <a:pt x="1176" y="666"/>
                  </a:lnTo>
                  <a:lnTo>
                    <a:pt x="1182" y="684"/>
                  </a:lnTo>
                  <a:lnTo>
                    <a:pt x="1194" y="696"/>
                  </a:lnTo>
                  <a:lnTo>
                    <a:pt x="1212" y="696"/>
                  </a:lnTo>
                  <a:lnTo>
                    <a:pt x="1206" y="762"/>
                  </a:lnTo>
                  <a:lnTo>
                    <a:pt x="1200" y="768"/>
                  </a:lnTo>
                  <a:lnTo>
                    <a:pt x="1194" y="768"/>
                  </a:lnTo>
                  <a:lnTo>
                    <a:pt x="1194" y="774"/>
                  </a:lnTo>
                  <a:lnTo>
                    <a:pt x="1188" y="774"/>
                  </a:lnTo>
                  <a:lnTo>
                    <a:pt x="1182" y="780"/>
                  </a:lnTo>
                  <a:lnTo>
                    <a:pt x="1176" y="780"/>
                  </a:lnTo>
                  <a:lnTo>
                    <a:pt x="1170" y="780"/>
                  </a:lnTo>
                  <a:lnTo>
                    <a:pt x="1164" y="786"/>
                  </a:lnTo>
                  <a:lnTo>
                    <a:pt x="1158" y="786"/>
                  </a:lnTo>
                  <a:lnTo>
                    <a:pt x="1152" y="786"/>
                  </a:lnTo>
                  <a:lnTo>
                    <a:pt x="1140" y="786"/>
                  </a:lnTo>
                  <a:lnTo>
                    <a:pt x="1134" y="786"/>
                  </a:lnTo>
                  <a:lnTo>
                    <a:pt x="1134" y="780"/>
                  </a:lnTo>
                  <a:lnTo>
                    <a:pt x="1122" y="780"/>
                  </a:lnTo>
                  <a:lnTo>
                    <a:pt x="1116" y="786"/>
                  </a:lnTo>
                  <a:lnTo>
                    <a:pt x="1116" y="792"/>
                  </a:lnTo>
                  <a:lnTo>
                    <a:pt x="1122" y="804"/>
                  </a:lnTo>
                  <a:lnTo>
                    <a:pt x="1128" y="804"/>
                  </a:lnTo>
                  <a:lnTo>
                    <a:pt x="1128" y="816"/>
                  </a:lnTo>
                  <a:lnTo>
                    <a:pt x="1122" y="822"/>
                  </a:lnTo>
                  <a:lnTo>
                    <a:pt x="1116" y="816"/>
                  </a:lnTo>
                  <a:lnTo>
                    <a:pt x="1110" y="816"/>
                  </a:lnTo>
                  <a:lnTo>
                    <a:pt x="1104" y="816"/>
                  </a:lnTo>
                  <a:lnTo>
                    <a:pt x="1098" y="816"/>
                  </a:lnTo>
                  <a:lnTo>
                    <a:pt x="1098" y="822"/>
                  </a:lnTo>
                  <a:lnTo>
                    <a:pt x="1092" y="834"/>
                  </a:lnTo>
                  <a:lnTo>
                    <a:pt x="1092" y="840"/>
                  </a:lnTo>
                  <a:lnTo>
                    <a:pt x="1074" y="840"/>
                  </a:lnTo>
                  <a:lnTo>
                    <a:pt x="1074" y="828"/>
                  </a:lnTo>
                  <a:lnTo>
                    <a:pt x="1062" y="804"/>
                  </a:lnTo>
                  <a:lnTo>
                    <a:pt x="1056" y="792"/>
                  </a:lnTo>
                  <a:lnTo>
                    <a:pt x="1056" y="786"/>
                  </a:lnTo>
                  <a:lnTo>
                    <a:pt x="1026" y="780"/>
                  </a:lnTo>
                  <a:lnTo>
                    <a:pt x="1026" y="768"/>
                  </a:lnTo>
                  <a:lnTo>
                    <a:pt x="1008" y="768"/>
                  </a:lnTo>
                  <a:lnTo>
                    <a:pt x="1002" y="780"/>
                  </a:lnTo>
                  <a:lnTo>
                    <a:pt x="996" y="792"/>
                  </a:lnTo>
                  <a:lnTo>
                    <a:pt x="978" y="798"/>
                  </a:lnTo>
                  <a:lnTo>
                    <a:pt x="972" y="810"/>
                  </a:lnTo>
                  <a:lnTo>
                    <a:pt x="972" y="822"/>
                  </a:lnTo>
                  <a:lnTo>
                    <a:pt x="978" y="828"/>
                  </a:lnTo>
                  <a:lnTo>
                    <a:pt x="978" y="834"/>
                  </a:lnTo>
                  <a:lnTo>
                    <a:pt x="960" y="840"/>
                  </a:lnTo>
                  <a:lnTo>
                    <a:pt x="936" y="840"/>
                  </a:lnTo>
                  <a:lnTo>
                    <a:pt x="918" y="846"/>
                  </a:lnTo>
                  <a:lnTo>
                    <a:pt x="912" y="840"/>
                  </a:lnTo>
                  <a:lnTo>
                    <a:pt x="912" y="834"/>
                  </a:lnTo>
                  <a:lnTo>
                    <a:pt x="906" y="834"/>
                  </a:lnTo>
                  <a:lnTo>
                    <a:pt x="906" y="840"/>
                  </a:lnTo>
                  <a:lnTo>
                    <a:pt x="900" y="846"/>
                  </a:lnTo>
                  <a:lnTo>
                    <a:pt x="906" y="852"/>
                  </a:lnTo>
                  <a:lnTo>
                    <a:pt x="900" y="864"/>
                  </a:lnTo>
                  <a:lnTo>
                    <a:pt x="900" y="876"/>
                  </a:lnTo>
                  <a:lnTo>
                    <a:pt x="900" y="882"/>
                  </a:lnTo>
                  <a:lnTo>
                    <a:pt x="894" y="888"/>
                  </a:lnTo>
                  <a:lnTo>
                    <a:pt x="900" y="900"/>
                  </a:lnTo>
                  <a:lnTo>
                    <a:pt x="900" y="906"/>
                  </a:lnTo>
                  <a:lnTo>
                    <a:pt x="894" y="906"/>
                  </a:lnTo>
                  <a:lnTo>
                    <a:pt x="894" y="912"/>
                  </a:lnTo>
                  <a:lnTo>
                    <a:pt x="900" y="918"/>
                  </a:lnTo>
                  <a:lnTo>
                    <a:pt x="900" y="924"/>
                  </a:lnTo>
                  <a:lnTo>
                    <a:pt x="900" y="948"/>
                  </a:lnTo>
                  <a:lnTo>
                    <a:pt x="888" y="948"/>
                  </a:lnTo>
                  <a:lnTo>
                    <a:pt x="888" y="954"/>
                  </a:lnTo>
                  <a:lnTo>
                    <a:pt x="894" y="954"/>
                  </a:lnTo>
                  <a:lnTo>
                    <a:pt x="900" y="960"/>
                  </a:lnTo>
                  <a:lnTo>
                    <a:pt x="900" y="972"/>
                  </a:lnTo>
                  <a:lnTo>
                    <a:pt x="906" y="984"/>
                  </a:lnTo>
                  <a:lnTo>
                    <a:pt x="912" y="984"/>
                  </a:lnTo>
                  <a:lnTo>
                    <a:pt x="918" y="990"/>
                  </a:lnTo>
                  <a:lnTo>
                    <a:pt x="936" y="990"/>
                  </a:lnTo>
                  <a:lnTo>
                    <a:pt x="936" y="996"/>
                  </a:lnTo>
                  <a:lnTo>
                    <a:pt x="942" y="996"/>
                  </a:lnTo>
                  <a:lnTo>
                    <a:pt x="942" y="1002"/>
                  </a:lnTo>
                  <a:lnTo>
                    <a:pt x="942" y="1008"/>
                  </a:lnTo>
                  <a:lnTo>
                    <a:pt x="948" y="1008"/>
                  </a:lnTo>
                  <a:lnTo>
                    <a:pt x="948" y="1014"/>
                  </a:lnTo>
                  <a:lnTo>
                    <a:pt x="948" y="1020"/>
                  </a:lnTo>
                  <a:lnTo>
                    <a:pt x="954" y="1032"/>
                  </a:lnTo>
                  <a:lnTo>
                    <a:pt x="948" y="1038"/>
                  </a:lnTo>
                  <a:lnTo>
                    <a:pt x="954" y="1044"/>
                  </a:lnTo>
                  <a:lnTo>
                    <a:pt x="954" y="1056"/>
                  </a:lnTo>
                  <a:lnTo>
                    <a:pt x="960" y="1056"/>
                  </a:lnTo>
                  <a:lnTo>
                    <a:pt x="960" y="1062"/>
                  </a:lnTo>
                  <a:lnTo>
                    <a:pt x="954" y="1068"/>
                  </a:lnTo>
                  <a:lnTo>
                    <a:pt x="948" y="1074"/>
                  </a:lnTo>
                  <a:lnTo>
                    <a:pt x="948" y="1080"/>
                  </a:lnTo>
                  <a:lnTo>
                    <a:pt x="948" y="1086"/>
                  </a:lnTo>
                  <a:lnTo>
                    <a:pt x="942" y="1092"/>
                  </a:lnTo>
                  <a:lnTo>
                    <a:pt x="942" y="1098"/>
                  </a:lnTo>
                  <a:lnTo>
                    <a:pt x="942" y="1104"/>
                  </a:lnTo>
                  <a:lnTo>
                    <a:pt x="942" y="1110"/>
                  </a:lnTo>
                  <a:lnTo>
                    <a:pt x="936" y="1116"/>
                  </a:lnTo>
                  <a:lnTo>
                    <a:pt x="936" y="1122"/>
                  </a:lnTo>
                  <a:lnTo>
                    <a:pt x="936" y="1128"/>
                  </a:lnTo>
                  <a:lnTo>
                    <a:pt x="936" y="1134"/>
                  </a:lnTo>
                  <a:lnTo>
                    <a:pt x="942" y="1146"/>
                  </a:lnTo>
                  <a:lnTo>
                    <a:pt x="936" y="1158"/>
                  </a:lnTo>
                  <a:lnTo>
                    <a:pt x="936" y="1170"/>
                  </a:lnTo>
                  <a:lnTo>
                    <a:pt x="936" y="1194"/>
                  </a:lnTo>
                  <a:lnTo>
                    <a:pt x="930" y="1200"/>
                  </a:lnTo>
                  <a:lnTo>
                    <a:pt x="930" y="1212"/>
                  </a:lnTo>
                  <a:lnTo>
                    <a:pt x="918" y="1218"/>
                  </a:lnTo>
                  <a:lnTo>
                    <a:pt x="918" y="1230"/>
                  </a:lnTo>
                  <a:lnTo>
                    <a:pt x="906" y="1230"/>
                  </a:lnTo>
                  <a:lnTo>
                    <a:pt x="900" y="1254"/>
                  </a:lnTo>
                  <a:lnTo>
                    <a:pt x="900" y="1260"/>
                  </a:lnTo>
                  <a:lnTo>
                    <a:pt x="900" y="1266"/>
                  </a:lnTo>
                  <a:lnTo>
                    <a:pt x="900" y="1272"/>
                  </a:lnTo>
                  <a:lnTo>
                    <a:pt x="900" y="1278"/>
                  </a:lnTo>
                  <a:lnTo>
                    <a:pt x="900" y="1284"/>
                  </a:lnTo>
                  <a:lnTo>
                    <a:pt x="906" y="129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1" name="Freeform 26">
              <a:extLst>
                <a:ext uri="{FF2B5EF4-FFF2-40B4-BE49-F238E27FC236}">
                  <a16:creationId xmlns:a16="http://schemas.microsoft.com/office/drawing/2014/main" id="{25725EFE-FE00-49A8-A87A-6752B785C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79173" y="3477313"/>
              <a:ext cx="650731" cy="559125"/>
            </a:xfrm>
            <a:custGeom>
              <a:avLst/>
              <a:gdLst>
                <a:gd name="T0" fmla="*/ 95 w 1224"/>
                <a:gd name="T1" fmla="*/ 89 h 1050"/>
                <a:gd name="T2" fmla="*/ 90 w 1224"/>
                <a:gd name="T3" fmla="*/ 84 h 1050"/>
                <a:gd name="T4" fmla="*/ 84 w 1224"/>
                <a:gd name="T5" fmla="*/ 83 h 1050"/>
                <a:gd name="T6" fmla="*/ 82 w 1224"/>
                <a:gd name="T7" fmla="*/ 80 h 1050"/>
                <a:gd name="T8" fmla="*/ 85 w 1224"/>
                <a:gd name="T9" fmla="*/ 77 h 1050"/>
                <a:gd name="T10" fmla="*/ 81 w 1224"/>
                <a:gd name="T11" fmla="*/ 76 h 1050"/>
                <a:gd name="T12" fmla="*/ 77 w 1224"/>
                <a:gd name="T13" fmla="*/ 77 h 1050"/>
                <a:gd name="T14" fmla="*/ 78 w 1224"/>
                <a:gd name="T15" fmla="*/ 73 h 1050"/>
                <a:gd name="T16" fmla="*/ 59 w 1224"/>
                <a:gd name="T17" fmla="*/ 71 h 1050"/>
                <a:gd name="T18" fmla="*/ 41 w 1224"/>
                <a:gd name="T19" fmla="*/ 73 h 1050"/>
                <a:gd name="T20" fmla="*/ 33 w 1224"/>
                <a:gd name="T21" fmla="*/ 71 h 1050"/>
                <a:gd name="T22" fmla="*/ 30 w 1224"/>
                <a:gd name="T23" fmla="*/ 75 h 1050"/>
                <a:gd name="T24" fmla="*/ 27 w 1224"/>
                <a:gd name="T25" fmla="*/ 80 h 1050"/>
                <a:gd name="T26" fmla="*/ 12 w 1224"/>
                <a:gd name="T27" fmla="*/ 81 h 1050"/>
                <a:gd name="T28" fmla="*/ 9 w 1224"/>
                <a:gd name="T29" fmla="*/ 84 h 1050"/>
                <a:gd name="T30" fmla="*/ 6 w 1224"/>
                <a:gd name="T31" fmla="*/ 83 h 1050"/>
                <a:gd name="T32" fmla="*/ 1 w 1224"/>
                <a:gd name="T33" fmla="*/ 83 h 1050"/>
                <a:gd name="T34" fmla="*/ 3 w 1224"/>
                <a:gd name="T35" fmla="*/ 77 h 1050"/>
                <a:gd name="T36" fmla="*/ 5 w 1224"/>
                <a:gd name="T37" fmla="*/ 70 h 1050"/>
                <a:gd name="T38" fmla="*/ 2 w 1224"/>
                <a:gd name="T39" fmla="*/ 65 h 1050"/>
                <a:gd name="T40" fmla="*/ 3 w 1224"/>
                <a:gd name="T41" fmla="*/ 58 h 1050"/>
                <a:gd name="T42" fmla="*/ 4 w 1224"/>
                <a:gd name="T43" fmla="*/ 51 h 1050"/>
                <a:gd name="T44" fmla="*/ 3 w 1224"/>
                <a:gd name="T45" fmla="*/ 47 h 1050"/>
                <a:gd name="T46" fmla="*/ 4 w 1224"/>
                <a:gd name="T47" fmla="*/ 39 h 1050"/>
                <a:gd name="T48" fmla="*/ 6 w 1224"/>
                <a:gd name="T49" fmla="*/ 29 h 1050"/>
                <a:gd name="T50" fmla="*/ 3 w 1224"/>
                <a:gd name="T51" fmla="*/ 22 h 1050"/>
                <a:gd name="T52" fmla="*/ 2 w 1224"/>
                <a:gd name="T53" fmla="*/ 14 h 1050"/>
                <a:gd name="T54" fmla="*/ 0 w 1224"/>
                <a:gd name="T55" fmla="*/ 6 h 1050"/>
                <a:gd name="T56" fmla="*/ 9 w 1224"/>
                <a:gd name="T57" fmla="*/ 1 h 1050"/>
                <a:gd name="T58" fmla="*/ 11 w 1224"/>
                <a:gd name="T59" fmla="*/ 8 h 1050"/>
                <a:gd name="T60" fmla="*/ 15 w 1224"/>
                <a:gd name="T61" fmla="*/ 9 h 1050"/>
                <a:gd name="T62" fmla="*/ 18 w 1224"/>
                <a:gd name="T63" fmla="*/ 8 h 1050"/>
                <a:gd name="T64" fmla="*/ 18 w 1224"/>
                <a:gd name="T65" fmla="*/ 13 h 1050"/>
                <a:gd name="T66" fmla="*/ 17 w 1224"/>
                <a:gd name="T67" fmla="*/ 15 h 1050"/>
                <a:gd name="T68" fmla="*/ 17 w 1224"/>
                <a:gd name="T69" fmla="*/ 17 h 1050"/>
                <a:gd name="T70" fmla="*/ 17 w 1224"/>
                <a:gd name="T71" fmla="*/ 21 h 1050"/>
                <a:gd name="T72" fmla="*/ 21 w 1224"/>
                <a:gd name="T73" fmla="*/ 25 h 1050"/>
                <a:gd name="T74" fmla="*/ 24 w 1224"/>
                <a:gd name="T75" fmla="*/ 31 h 1050"/>
                <a:gd name="T76" fmla="*/ 35 w 1224"/>
                <a:gd name="T77" fmla="*/ 34 h 1050"/>
                <a:gd name="T78" fmla="*/ 40 w 1224"/>
                <a:gd name="T79" fmla="*/ 27 h 1050"/>
                <a:gd name="T80" fmla="*/ 46 w 1224"/>
                <a:gd name="T81" fmla="*/ 30 h 1050"/>
                <a:gd name="T82" fmla="*/ 51 w 1224"/>
                <a:gd name="T83" fmla="*/ 27 h 1050"/>
                <a:gd name="T84" fmla="*/ 59 w 1224"/>
                <a:gd name="T85" fmla="*/ 39 h 1050"/>
                <a:gd name="T86" fmla="*/ 59 w 1224"/>
                <a:gd name="T87" fmla="*/ 45 h 1050"/>
                <a:gd name="T88" fmla="*/ 72 w 1224"/>
                <a:gd name="T89" fmla="*/ 45 h 1050"/>
                <a:gd name="T90" fmla="*/ 79 w 1224"/>
                <a:gd name="T91" fmla="*/ 44 h 1050"/>
                <a:gd name="T92" fmla="*/ 87 w 1224"/>
                <a:gd name="T93" fmla="*/ 48 h 1050"/>
                <a:gd name="T94" fmla="*/ 93 w 1224"/>
                <a:gd name="T95" fmla="*/ 50 h 1050"/>
                <a:gd name="T96" fmla="*/ 98 w 1224"/>
                <a:gd name="T97" fmla="*/ 51 h 1050"/>
                <a:gd name="T98" fmla="*/ 106 w 1224"/>
                <a:gd name="T99" fmla="*/ 50 h 1050"/>
                <a:gd name="T100" fmla="*/ 104 w 1224"/>
                <a:gd name="T101" fmla="*/ 54 h 1050"/>
                <a:gd name="T102" fmla="*/ 104 w 1224"/>
                <a:gd name="T103" fmla="*/ 60 h 1050"/>
                <a:gd name="T104" fmla="*/ 101 w 1224"/>
                <a:gd name="T105" fmla="*/ 63 h 1050"/>
                <a:gd name="T106" fmla="*/ 98 w 1224"/>
                <a:gd name="T107" fmla="*/ 66 h 1050"/>
                <a:gd name="T108" fmla="*/ 95 w 1224"/>
                <a:gd name="T109" fmla="*/ 68 h 1050"/>
                <a:gd name="T110" fmla="*/ 93 w 1224"/>
                <a:gd name="T111" fmla="*/ 72 h 1050"/>
                <a:gd name="T112" fmla="*/ 98 w 1224"/>
                <a:gd name="T113" fmla="*/ 75 h 1050"/>
                <a:gd name="T114" fmla="*/ 102 w 1224"/>
                <a:gd name="T115" fmla="*/ 77 h 1050"/>
                <a:gd name="T116" fmla="*/ 107 w 1224"/>
                <a:gd name="T117" fmla="*/ 76 h 1050"/>
                <a:gd name="T118" fmla="*/ 104 w 1224"/>
                <a:gd name="T119" fmla="*/ 84 h 1050"/>
                <a:gd name="T120" fmla="*/ 103 w 1224"/>
                <a:gd name="T121" fmla="*/ 87 h 1050"/>
                <a:gd name="T122" fmla="*/ 104 w 1224"/>
                <a:gd name="T123" fmla="*/ 91 h 105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24"/>
                <a:gd name="T187" fmla="*/ 0 h 1050"/>
                <a:gd name="T188" fmla="*/ 1224 w 1224"/>
                <a:gd name="T189" fmla="*/ 1050 h 105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24" h="1050">
                  <a:moveTo>
                    <a:pt x="1128" y="1032"/>
                  </a:moveTo>
                  <a:lnTo>
                    <a:pt x="1122" y="1026"/>
                  </a:lnTo>
                  <a:lnTo>
                    <a:pt x="1116" y="1026"/>
                  </a:lnTo>
                  <a:lnTo>
                    <a:pt x="1110" y="1026"/>
                  </a:lnTo>
                  <a:lnTo>
                    <a:pt x="1104" y="1026"/>
                  </a:lnTo>
                  <a:lnTo>
                    <a:pt x="1104" y="1020"/>
                  </a:lnTo>
                  <a:lnTo>
                    <a:pt x="1098" y="1020"/>
                  </a:lnTo>
                  <a:lnTo>
                    <a:pt x="1092" y="1020"/>
                  </a:lnTo>
                  <a:lnTo>
                    <a:pt x="1086" y="1020"/>
                  </a:lnTo>
                  <a:lnTo>
                    <a:pt x="1080" y="1014"/>
                  </a:lnTo>
                  <a:lnTo>
                    <a:pt x="1068" y="1014"/>
                  </a:lnTo>
                  <a:lnTo>
                    <a:pt x="1062" y="1014"/>
                  </a:lnTo>
                  <a:lnTo>
                    <a:pt x="1062" y="1008"/>
                  </a:lnTo>
                  <a:lnTo>
                    <a:pt x="1062" y="990"/>
                  </a:lnTo>
                  <a:lnTo>
                    <a:pt x="1062" y="984"/>
                  </a:lnTo>
                  <a:lnTo>
                    <a:pt x="1062" y="972"/>
                  </a:lnTo>
                  <a:lnTo>
                    <a:pt x="1044" y="966"/>
                  </a:lnTo>
                  <a:lnTo>
                    <a:pt x="1026" y="966"/>
                  </a:lnTo>
                  <a:lnTo>
                    <a:pt x="1014" y="966"/>
                  </a:lnTo>
                  <a:lnTo>
                    <a:pt x="996" y="966"/>
                  </a:lnTo>
                  <a:lnTo>
                    <a:pt x="996" y="972"/>
                  </a:lnTo>
                  <a:lnTo>
                    <a:pt x="990" y="972"/>
                  </a:lnTo>
                  <a:lnTo>
                    <a:pt x="984" y="966"/>
                  </a:lnTo>
                  <a:lnTo>
                    <a:pt x="978" y="966"/>
                  </a:lnTo>
                  <a:lnTo>
                    <a:pt x="978" y="960"/>
                  </a:lnTo>
                  <a:lnTo>
                    <a:pt x="972" y="954"/>
                  </a:lnTo>
                  <a:lnTo>
                    <a:pt x="966" y="954"/>
                  </a:lnTo>
                  <a:lnTo>
                    <a:pt x="960" y="954"/>
                  </a:lnTo>
                  <a:lnTo>
                    <a:pt x="954" y="954"/>
                  </a:lnTo>
                  <a:lnTo>
                    <a:pt x="954" y="948"/>
                  </a:lnTo>
                  <a:lnTo>
                    <a:pt x="942" y="942"/>
                  </a:lnTo>
                  <a:lnTo>
                    <a:pt x="936" y="942"/>
                  </a:lnTo>
                  <a:lnTo>
                    <a:pt x="936" y="936"/>
                  </a:lnTo>
                  <a:lnTo>
                    <a:pt x="936" y="930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42" y="918"/>
                  </a:lnTo>
                  <a:lnTo>
                    <a:pt x="948" y="918"/>
                  </a:lnTo>
                  <a:lnTo>
                    <a:pt x="960" y="918"/>
                  </a:lnTo>
                  <a:lnTo>
                    <a:pt x="966" y="912"/>
                  </a:lnTo>
                  <a:lnTo>
                    <a:pt x="978" y="906"/>
                  </a:lnTo>
                  <a:lnTo>
                    <a:pt x="978" y="900"/>
                  </a:lnTo>
                  <a:lnTo>
                    <a:pt x="978" y="894"/>
                  </a:lnTo>
                  <a:lnTo>
                    <a:pt x="978" y="888"/>
                  </a:lnTo>
                  <a:lnTo>
                    <a:pt x="972" y="888"/>
                  </a:lnTo>
                  <a:lnTo>
                    <a:pt x="978" y="888"/>
                  </a:lnTo>
                  <a:lnTo>
                    <a:pt x="978" y="882"/>
                  </a:lnTo>
                  <a:lnTo>
                    <a:pt x="972" y="876"/>
                  </a:lnTo>
                  <a:lnTo>
                    <a:pt x="966" y="870"/>
                  </a:lnTo>
                  <a:lnTo>
                    <a:pt x="954" y="876"/>
                  </a:lnTo>
                  <a:lnTo>
                    <a:pt x="948" y="876"/>
                  </a:lnTo>
                  <a:lnTo>
                    <a:pt x="942" y="870"/>
                  </a:lnTo>
                  <a:lnTo>
                    <a:pt x="936" y="876"/>
                  </a:lnTo>
                  <a:lnTo>
                    <a:pt x="930" y="876"/>
                  </a:lnTo>
                  <a:lnTo>
                    <a:pt x="924" y="882"/>
                  </a:lnTo>
                  <a:lnTo>
                    <a:pt x="912" y="888"/>
                  </a:lnTo>
                  <a:lnTo>
                    <a:pt x="906" y="894"/>
                  </a:lnTo>
                  <a:lnTo>
                    <a:pt x="900" y="900"/>
                  </a:lnTo>
                  <a:lnTo>
                    <a:pt x="894" y="888"/>
                  </a:lnTo>
                  <a:lnTo>
                    <a:pt x="888" y="894"/>
                  </a:lnTo>
                  <a:lnTo>
                    <a:pt x="882" y="888"/>
                  </a:lnTo>
                  <a:lnTo>
                    <a:pt x="876" y="894"/>
                  </a:lnTo>
                  <a:lnTo>
                    <a:pt x="876" y="888"/>
                  </a:lnTo>
                  <a:lnTo>
                    <a:pt x="876" y="882"/>
                  </a:lnTo>
                  <a:lnTo>
                    <a:pt x="876" y="876"/>
                  </a:lnTo>
                  <a:lnTo>
                    <a:pt x="870" y="858"/>
                  </a:lnTo>
                  <a:lnTo>
                    <a:pt x="864" y="858"/>
                  </a:lnTo>
                  <a:lnTo>
                    <a:pt x="870" y="852"/>
                  </a:lnTo>
                  <a:lnTo>
                    <a:pt x="870" y="846"/>
                  </a:lnTo>
                  <a:lnTo>
                    <a:pt x="876" y="846"/>
                  </a:lnTo>
                  <a:lnTo>
                    <a:pt x="882" y="846"/>
                  </a:lnTo>
                  <a:lnTo>
                    <a:pt x="888" y="840"/>
                  </a:lnTo>
                  <a:lnTo>
                    <a:pt x="894" y="834"/>
                  </a:lnTo>
                  <a:lnTo>
                    <a:pt x="894" y="828"/>
                  </a:lnTo>
                  <a:lnTo>
                    <a:pt x="894" y="816"/>
                  </a:lnTo>
                  <a:lnTo>
                    <a:pt x="858" y="810"/>
                  </a:lnTo>
                  <a:lnTo>
                    <a:pt x="858" y="816"/>
                  </a:lnTo>
                  <a:lnTo>
                    <a:pt x="852" y="816"/>
                  </a:lnTo>
                  <a:lnTo>
                    <a:pt x="780" y="816"/>
                  </a:lnTo>
                  <a:lnTo>
                    <a:pt x="750" y="816"/>
                  </a:lnTo>
                  <a:lnTo>
                    <a:pt x="684" y="816"/>
                  </a:lnTo>
                  <a:lnTo>
                    <a:pt x="636" y="816"/>
                  </a:lnTo>
                  <a:lnTo>
                    <a:pt x="612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0" y="816"/>
                  </a:lnTo>
                  <a:lnTo>
                    <a:pt x="480" y="822"/>
                  </a:lnTo>
                  <a:lnTo>
                    <a:pt x="480" y="834"/>
                  </a:lnTo>
                  <a:lnTo>
                    <a:pt x="474" y="840"/>
                  </a:lnTo>
                  <a:lnTo>
                    <a:pt x="468" y="840"/>
                  </a:lnTo>
                  <a:lnTo>
                    <a:pt x="432" y="840"/>
                  </a:lnTo>
                  <a:lnTo>
                    <a:pt x="426" y="834"/>
                  </a:lnTo>
                  <a:lnTo>
                    <a:pt x="420" y="834"/>
                  </a:lnTo>
                  <a:lnTo>
                    <a:pt x="420" y="828"/>
                  </a:lnTo>
                  <a:lnTo>
                    <a:pt x="414" y="822"/>
                  </a:lnTo>
                  <a:lnTo>
                    <a:pt x="408" y="822"/>
                  </a:lnTo>
                  <a:lnTo>
                    <a:pt x="396" y="822"/>
                  </a:lnTo>
                  <a:lnTo>
                    <a:pt x="396" y="816"/>
                  </a:lnTo>
                  <a:lnTo>
                    <a:pt x="384" y="816"/>
                  </a:lnTo>
                  <a:lnTo>
                    <a:pt x="372" y="810"/>
                  </a:lnTo>
                  <a:lnTo>
                    <a:pt x="372" y="804"/>
                  </a:lnTo>
                  <a:lnTo>
                    <a:pt x="366" y="804"/>
                  </a:lnTo>
                  <a:lnTo>
                    <a:pt x="360" y="804"/>
                  </a:lnTo>
                  <a:lnTo>
                    <a:pt x="348" y="828"/>
                  </a:lnTo>
                  <a:lnTo>
                    <a:pt x="348" y="834"/>
                  </a:lnTo>
                  <a:lnTo>
                    <a:pt x="348" y="852"/>
                  </a:lnTo>
                  <a:lnTo>
                    <a:pt x="348" y="858"/>
                  </a:lnTo>
                  <a:lnTo>
                    <a:pt x="342" y="864"/>
                  </a:lnTo>
                  <a:lnTo>
                    <a:pt x="342" y="870"/>
                  </a:lnTo>
                  <a:lnTo>
                    <a:pt x="330" y="876"/>
                  </a:lnTo>
                  <a:lnTo>
                    <a:pt x="324" y="888"/>
                  </a:lnTo>
                  <a:lnTo>
                    <a:pt x="324" y="894"/>
                  </a:lnTo>
                  <a:lnTo>
                    <a:pt x="330" y="900"/>
                  </a:lnTo>
                  <a:lnTo>
                    <a:pt x="330" y="906"/>
                  </a:lnTo>
                  <a:lnTo>
                    <a:pt x="324" y="906"/>
                  </a:lnTo>
                  <a:lnTo>
                    <a:pt x="318" y="912"/>
                  </a:lnTo>
                  <a:lnTo>
                    <a:pt x="312" y="918"/>
                  </a:lnTo>
                  <a:lnTo>
                    <a:pt x="306" y="924"/>
                  </a:lnTo>
                  <a:lnTo>
                    <a:pt x="288" y="924"/>
                  </a:lnTo>
                  <a:lnTo>
                    <a:pt x="282" y="924"/>
                  </a:lnTo>
                  <a:lnTo>
                    <a:pt x="276" y="930"/>
                  </a:lnTo>
                  <a:lnTo>
                    <a:pt x="270" y="930"/>
                  </a:lnTo>
                  <a:lnTo>
                    <a:pt x="264" y="930"/>
                  </a:lnTo>
                  <a:lnTo>
                    <a:pt x="198" y="930"/>
                  </a:lnTo>
                  <a:lnTo>
                    <a:pt x="132" y="930"/>
                  </a:lnTo>
                  <a:lnTo>
                    <a:pt x="132" y="936"/>
                  </a:lnTo>
                  <a:lnTo>
                    <a:pt x="132" y="942"/>
                  </a:lnTo>
                  <a:lnTo>
                    <a:pt x="132" y="948"/>
                  </a:lnTo>
                  <a:lnTo>
                    <a:pt x="126" y="948"/>
                  </a:lnTo>
                  <a:lnTo>
                    <a:pt x="120" y="948"/>
                  </a:lnTo>
                  <a:lnTo>
                    <a:pt x="120" y="954"/>
                  </a:lnTo>
                  <a:lnTo>
                    <a:pt x="114" y="954"/>
                  </a:lnTo>
                  <a:lnTo>
                    <a:pt x="114" y="960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02" y="966"/>
                  </a:lnTo>
                  <a:lnTo>
                    <a:pt x="102" y="972"/>
                  </a:lnTo>
                  <a:lnTo>
                    <a:pt x="96" y="972"/>
                  </a:lnTo>
                  <a:lnTo>
                    <a:pt x="96" y="966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78" y="960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60"/>
                  </a:lnTo>
                  <a:lnTo>
                    <a:pt x="54" y="966"/>
                  </a:lnTo>
                  <a:lnTo>
                    <a:pt x="48" y="966"/>
                  </a:lnTo>
                  <a:lnTo>
                    <a:pt x="42" y="966"/>
                  </a:lnTo>
                  <a:lnTo>
                    <a:pt x="36" y="966"/>
                  </a:lnTo>
                  <a:lnTo>
                    <a:pt x="30" y="966"/>
                  </a:lnTo>
                  <a:lnTo>
                    <a:pt x="24" y="960"/>
                  </a:lnTo>
                  <a:lnTo>
                    <a:pt x="18" y="960"/>
                  </a:lnTo>
                  <a:lnTo>
                    <a:pt x="12" y="960"/>
                  </a:lnTo>
                  <a:lnTo>
                    <a:pt x="12" y="948"/>
                  </a:lnTo>
                  <a:lnTo>
                    <a:pt x="18" y="942"/>
                  </a:lnTo>
                  <a:lnTo>
                    <a:pt x="18" y="936"/>
                  </a:lnTo>
                  <a:lnTo>
                    <a:pt x="18" y="930"/>
                  </a:lnTo>
                  <a:lnTo>
                    <a:pt x="18" y="924"/>
                  </a:lnTo>
                  <a:lnTo>
                    <a:pt x="18" y="912"/>
                  </a:lnTo>
                  <a:lnTo>
                    <a:pt x="24" y="906"/>
                  </a:lnTo>
                  <a:lnTo>
                    <a:pt x="30" y="900"/>
                  </a:lnTo>
                  <a:lnTo>
                    <a:pt x="36" y="894"/>
                  </a:lnTo>
                  <a:lnTo>
                    <a:pt x="36" y="882"/>
                  </a:lnTo>
                  <a:lnTo>
                    <a:pt x="30" y="876"/>
                  </a:lnTo>
                  <a:lnTo>
                    <a:pt x="30" y="870"/>
                  </a:lnTo>
                  <a:lnTo>
                    <a:pt x="24" y="858"/>
                  </a:lnTo>
                  <a:lnTo>
                    <a:pt x="24" y="846"/>
                  </a:lnTo>
                  <a:lnTo>
                    <a:pt x="36" y="822"/>
                  </a:lnTo>
                  <a:lnTo>
                    <a:pt x="42" y="816"/>
                  </a:lnTo>
                  <a:lnTo>
                    <a:pt x="48" y="816"/>
                  </a:lnTo>
                  <a:lnTo>
                    <a:pt x="60" y="804"/>
                  </a:lnTo>
                  <a:lnTo>
                    <a:pt x="60" y="786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54" y="762"/>
                  </a:lnTo>
                  <a:lnTo>
                    <a:pt x="42" y="762"/>
                  </a:lnTo>
                  <a:lnTo>
                    <a:pt x="36" y="762"/>
                  </a:lnTo>
                  <a:lnTo>
                    <a:pt x="30" y="762"/>
                  </a:lnTo>
                  <a:lnTo>
                    <a:pt x="30" y="756"/>
                  </a:lnTo>
                  <a:lnTo>
                    <a:pt x="24" y="750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702"/>
                  </a:lnTo>
                  <a:lnTo>
                    <a:pt x="36" y="684"/>
                  </a:lnTo>
                  <a:lnTo>
                    <a:pt x="36" y="678"/>
                  </a:lnTo>
                  <a:lnTo>
                    <a:pt x="36" y="666"/>
                  </a:lnTo>
                  <a:lnTo>
                    <a:pt x="36" y="654"/>
                  </a:lnTo>
                  <a:lnTo>
                    <a:pt x="18" y="654"/>
                  </a:lnTo>
                  <a:lnTo>
                    <a:pt x="18" y="648"/>
                  </a:lnTo>
                  <a:lnTo>
                    <a:pt x="18" y="618"/>
                  </a:lnTo>
                  <a:lnTo>
                    <a:pt x="18" y="612"/>
                  </a:lnTo>
                  <a:lnTo>
                    <a:pt x="24" y="612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54" y="588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76"/>
                  </a:lnTo>
                  <a:lnTo>
                    <a:pt x="48" y="564"/>
                  </a:lnTo>
                  <a:lnTo>
                    <a:pt x="42" y="564"/>
                  </a:lnTo>
                  <a:lnTo>
                    <a:pt x="36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6" y="540"/>
                  </a:lnTo>
                  <a:lnTo>
                    <a:pt x="48" y="534"/>
                  </a:lnTo>
                  <a:lnTo>
                    <a:pt x="54" y="528"/>
                  </a:lnTo>
                  <a:lnTo>
                    <a:pt x="60" y="504"/>
                  </a:lnTo>
                  <a:lnTo>
                    <a:pt x="60" y="492"/>
                  </a:lnTo>
                  <a:lnTo>
                    <a:pt x="54" y="492"/>
                  </a:lnTo>
                  <a:lnTo>
                    <a:pt x="54" y="480"/>
                  </a:lnTo>
                  <a:lnTo>
                    <a:pt x="48" y="456"/>
                  </a:lnTo>
                  <a:lnTo>
                    <a:pt x="42" y="450"/>
                  </a:lnTo>
                  <a:lnTo>
                    <a:pt x="36" y="444"/>
                  </a:lnTo>
                  <a:lnTo>
                    <a:pt x="36" y="420"/>
                  </a:lnTo>
                  <a:lnTo>
                    <a:pt x="36" y="408"/>
                  </a:lnTo>
                  <a:lnTo>
                    <a:pt x="36" y="37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60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6" y="300"/>
                  </a:lnTo>
                  <a:lnTo>
                    <a:pt x="60" y="294"/>
                  </a:lnTo>
                  <a:lnTo>
                    <a:pt x="60" y="288"/>
                  </a:lnTo>
                  <a:lnTo>
                    <a:pt x="54" y="282"/>
                  </a:lnTo>
                  <a:lnTo>
                    <a:pt x="42" y="276"/>
                  </a:lnTo>
                  <a:lnTo>
                    <a:pt x="36" y="276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0" y="252"/>
                  </a:lnTo>
                  <a:lnTo>
                    <a:pt x="24" y="246"/>
                  </a:lnTo>
                  <a:lnTo>
                    <a:pt x="24" y="240"/>
                  </a:lnTo>
                  <a:lnTo>
                    <a:pt x="24" y="228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62"/>
                  </a:lnTo>
                  <a:lnTo>
                    <a:pt x="24" y="144"/>
                  </a:lnTo>
                  <a:lnTo>
                    <a:pt x="24" y="132"/>
                  </a:lnTo>
                  <a:lnTo>
                    <a:pt x="24" y="114"/>
                  </a:lnTo>
                  <a:lnTo>
                    <a:pt x="24" y="102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18" y="48"/>
                  </a:lnTo>
                  <a:lnTo>
                    <a:pt x="42" y="36"/>
                  </a:lnTo>
                  <a:lnTo>
                    <a:pt x="54" y="24"/>
                  </a:lnTo>
                  <a:lnTo>
                    <a:pt x="60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10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14" y="60"/>
                  </a:lnTo>
                  <a:lnTo>
                    <a:pt x="120" y="60"/>
                  </a:lnTo>
                  <a:lnTo>
                    <a:pt x="114" y="84"/>
                  </a:lnTo>
                  <a:lnTo>
                    <a:pt x="120" y="90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38" y="114"/>
                  </a:lnTo>
                  <a:lnTo>
                    <a:pt x="138" y="132"/>
                  </a:lnTo>
                  <a:lnTo>
                    <a:pt x="162" y="126"/>
                  </a:lnTo>
                  <a:lnTo>
                    <a:pt x="162" y="114"/>
                  </a:lnTo>
                  <a:lnTo>
                    <a:pt x="174" y="108"/>
                  </a:lnTo>
                  <a:lnTo>
                    <a:pt x="174" y="102"/>
                  </a:lnTo>
                  <a:lnTo>
                    <a:pt x="180" y="96"/>
                  </a:lnTo>
                  <a:lnTo>
                    <a:pt x="180" y="60"/>
                  </a:lnTo>
                  <a:lnTo>
                    <a:pt x="192" y="60"/>
                  </a:lnTo>
                  <a:lnTo>
                    <a:pt x="192" y="72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04" y="108"/>
                  </a:lnTo>
                  <a:lnTo>
                    <a:pt x="204" y="114"/>
                  </a:lnTo>
                  <a:lnTo>
                    <a:pt x="204" y="120"/>
                  </a:lnTo>
                  <a:lnTo>
                    <a:pt x="204" y="126"/>
                  </a:lnTo>
                  <a:lnTo>
                    <a:pt x="210" y="126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8" y="174"/>
                  </a:lnTo>
                  <a:lnTo>
                    <a:pt x="198" y="180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86" y="204"/>
                  </a:lnTo>
                  <a:lnTo>
                    <a:pt x="186" y="210"/>
                  </a:lnTo>
                  <a:lnTo>
                    <a:pt x="180" y="210"/>
                  </a:lnTo>
                  <a:lnTo>
                    <a:pt x="180" y="216"/>
                  </a:lnTo>
                  <a:lnTo>
                    <a:pt x="180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92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8" y="258"/>
                  </a:lnTo>
                  <a:lnTo>
                    <a:pt x="204" y="258"/>
                  </a:lnTo>
                  <a:lnTo>
                    <a:pt x="210" y="258"/>
                  </a:lnTo>
                  <a:lnTo>
                    <a:pt x="216" y="258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34" y="276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46" y="306"/>
                  </a:lnTo>
                  <a:lnTo>
                    <a:pt x="252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42"/>
                  </a:lnTo>
                  <a:lnTo>
                    <a:pt x="270" y="342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88" y="366"/>
                  </a:lnTo>
                  <a:lnTo>
                    <a:pt x="336" y="360"/>
                  </a:lnTo>
                  <a:lnTo>
                    <a:pt x="354" y="360"/>
                  </a:lnTo>
                  <a:lnTo>
                    <a:pt x="366" y="372"/>
                  </a:lnTo>
                  <a:lnTo>
                    <a:pt x="378" y="378"/>
                  </a:lnTo>
                  <a:lnTo>
                    <a:pt x="378" y="390"/>
                  </a:lnTo>
                  <a:lnTo>
                    <a:pt x="384" y="390"/>
                  </a:lnTo>
                  <a:lnTo>
                    <a:pt x="390" y="396"/>
                  </a:lnTo>
                  <a:lnTo>
                    <a:pt x="408" y="390"/>
                  </a:lnTo>
                  <a:lnTo>
                    <a:pt x="426" y="366"/>
                  </a:lnTo>
                  <a:lnTo>
                    <a:pt x="432" y="360"/>
                  </a:lnTo>
                  <a:lnTo>
                    <a:pt x="438" y="348"/>
                  </a:lnTo>
                  <a:lnTo>
                    <a:pt x="438" y="342"/>
                  </a:lnTo>
                  <a:lnTo>
                    <a:pt x="438" y="330"/>
                  </a:lnTo>
                  <a:lnTo>
                    <a:pt x="444" y="324"/>
                  </a:lnTo>
                  <a:lnTo>
                    <a:pt x="450" y="318"/>
                  </a:lnTo>
                  <a:lnTo>
                    <a:pt x="456" y="312"/>
                  </a:lnTo>
                  <a:lnTo>
                    <a:pt x="456" y="306"/>
                  </a:lnTo>
                  <a:lnTo>
                    <a:pt x="456" y="300"/>
                  </a:lnTo>
                  <a:lnTo>
                    <a:pt x="474" y="288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92" y="294"/>
                  </a:lnTo>
                  <a:lnTo>
                    <a:pt x="492" y="318"/>
                  </a:lnTo>
                  <a:lnTo>
                    <a:pt x="504" y="324"/>
                  </a:lnTo>
                  <a:lnTo>
                    <a:pt x="492" y="348"/>
                  </a:lnTo>
                  <a:lnTo>
                    <a:pt x="522" y="348"/>
                  </a:lnTo>
                  <a:lnTo>
                    <a:pt x="528" y="342"/>
                  </a:lnTo>
                  <a:lnTo>
                    <a:pt x="528" y="336"/>
                  </a:lnTo>
                  <a:lnTo>
                    <a:pt x="528" y="330"/>
                  </a:lnTo>
                  <a:lnTo>
                    <a:pt x="534" y="330"/>
                  </a:lnTo>
                  <a:lnTo>
                    <a:pt x="540" y="330"/>
                  </a:lnTo>
                  <a:lnTo>
                    <a:pt x="546" y="330"/>
                  </a:lnTo>
                  <a:lnTo>
                    <a:pt x="552" y="324"/>
                  </a:lnTo>
                  <a:lnTo>
                    <a:pt x="558" y="318"/>
                  </a:lnTo>
                  <a:lnTo>
                    <a:pt x="576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8" y="348"/>
                  </a:lnTo>
                  <a:lnTo>
                    <a:pt x="654" y="354"/>
                  </a:lnTo>
                  <a:lnTo>
                    <a:pt x="648" y="402"/>
                  </a:lnTo>
                  <a:lnTo>
                    <a:pt x="678" y="402"/>
                  </a:lnTo>
                  <a:lnTo>
                    <a:pt x="678" y="420"/>
                  </a:lnTo>
                  <a:lnTo>
                    <a:pt x="684" y="438"/>
                  </a:lnTo>
                  <a:lnTo>
                    <a:pt x="684" y="450"/>
                  </a:lnTo>
                  <a:lnTo>
                    <a:pt x="684" y="456"/>
                  </a:lnTo>
                  <a:lnTo>
                    <a:pt x="690" y="468"/>
                  </a:lnTo>
                  <a:lnTo>
                    <a:pt x="690" y="474"/>
                  </a:lnTo>
                  <a:lnTo>
                    <a:pt x="690" y="480"/>
                  </a:lnTo>
                  <a:lnTo>
                    <a:pt x="696" y="486"/>
                  </a:lnTo>
                  <a:lnTo>
                    <a:pt x="696" y="498"/>
                  </a:lnTo>
                  <a:lnTo>
                    <a:pt x="702" y="504"/>
                  </a:lnTo>
                  <a:lnTo>
                    <a:pt x="690" y="516"/>
                  </a:lnTo>
                  <a:lnTo>
                    <a:pt x="678" y="522"/>
                  </a:lnTo>
                  <a:lnTo>
                    <a:pt x="654" y="528"/>
                  </a:lnTo>
                  <a:lnTo>
                    <a:pt x="660" y="546"/>
                  </a:lnTo>
                  <a:lnTo>
                    <a:pt x="672" y="546"/>
                  </a:lnTo>
                  <a:lnTo>
                    <a:pt x="678" y="540"/>
                  </a:lnTo>
                  <a:lnTo>
                    <a:pt x="714" y="540"/>
                  </a:lnTo>
                  <a:lnTo>
                    <a:pt x="798" y="540"/>
                  </a:lnTo>
                  <a:lnTo>
                    <a:pt x="804" y="540"/>
                  </a:lnTo>
                  <a:lnTo>
                    <a:pt x="816" y="528"/>
                  </a:lnTo>
                  <a:lnTo>
                    <a:pt x="822" y="522"/>
                  </a:lnTo>
                  <a:lnTo>
                    <a:pt x="834" y="516"/>
                  </a:lnTo>
                  <a:lnTo>
                    <a:pt x="846" y="516"/>
                  </a:lnTo>
                  <a:lnTo>
                    <a:pt x="852" y="510"/>
                  </a:lnTo>
                  <a:lnTo>
                    <a:pt x="858" y="510"/>
                  </a:lnTo>
                  <a:lnTo>
                    <a:pt x="882" y="516"/>
                  </a:lnTo>
                  <a:lnTo>
                    <a:pt x="888" y="516"/>
                  </a:lnTo>
                  <a:lnTo>
                    <a:pt x="888" y="510"/>
                  </a:lnTo>
                  <a:lnTo>
                    <a:pt x="894" y="510"/>
                  </a:lnTo>
                  <a:lnTo>
                    <a:pt x="906" y="504"/>
                  </a:lnTo>
                  <a:lnTo>
                    <a:pt x="918" y="498"/>
                  </a:lnTo>
                  <a:lnTo>
                    <a:pt x="930" y="492"/>
                  </a:lnTo>
                  <a:lnTo>
                    <a:pt x="936" y="492"/>
                  </a:lnTo>
                  <a:lnTo>
                    <a:pt x="948" y="492"/>
                  </a:lnTo>
                  <a:lnTo>
                    <a:pt x="954" y="528"/>
                  </a:lnTo>
                  <a:lnTo>
                    <a:pt x="954" y="564"/>
                  </a:lnTo>
                  <a:lnTo>
                    <a:pt x="972" y="564"/>
                  </a:lnTo>
                  <a:lnTo>
                    <a:pt x="978" y="558"/>
                  </a:lnTo>
                  <a:lnTo>
                    <a:pt x="990" y="552"/>
                  </a:lnTo>
                  <a:lnTo>
                    <a:pt x="1002" y="540"/>
                  </a:lnTo>
                  <a:lnTo>
                    <a:pt x="1026" y="534"/>
                  </a:lnTo>
                  <a:lnTo>
                    <a:pt x="1032" y="540"/>
                  </a:lnTo>
                  <a:lnTo>
                    <a:pt x="1044" y="546"/>
                  </a:lnTo>
                  <a:lnTo>
                    <a:pt x="1062" y="552"/>
                  </a:lnTo>
                  <a:lnTo>
                    <a:pt x="1068" y="552"/>
                  </a:lnTo>
                  <a:lnTo>
                    <a:pt x="1068" y="570"/>
                  </a:lnTo>
                  <a:lnTo>
                    <a:pt x="1068" y="576"/>
                  </a:lnTo>
                  <a:lnTo>
                    <a:pt x="1068" y="582"/>
                  </a:lnTo>
                  <a:lnTo>
                    <a:pt x="1068" y="588"/>
                  </a:lnTo>
                  <a:lnTo>
                    <a:pt x="1068" y="594"/>
                  </a:lnTo>
                  <a:lnTo>
                    <a:pt x="1080" y="600"/>
                  </a:lnTo>
                  <a:lnTo>
                    <a:pt x="1086" y="606"/>
                  </a:lnTo>
                  <a:lnTo>
                    <a:pt x="1092" y="594"/>
                  </a:lnTo>
                  <a:lnTo>
                    <a:pt x="1104" y="588"/>
                  </a:lnTo>
                  <a:lnTo>
                    <a:pt x="1116" y="588"/>
                  </a:lnTo>
                  <a:lnTo>
                    <a:pt x="1122" y="588"/>
                  </a:lnTo>
                  <a:lnTo>
                    <a:pt x="1122" y="594"/>
                  </a:lnTo>
                  <a:lnTo>
                    <a:pt x="1128" y="594"/>
                  </a:lnTo>
                  <a:lnTo>
                    <a:pt x="1134" y="594"/>
                  </a:lnTo>
                  <a:lnTo>
                    <a:pt x="1140" y="594"/>
                  </a:lnTo>
                  <a:lnTo>
                    <a:pt x="1146" y="588"/>
                  </a:lnTo>
                  <a:lnTo>
                    <a:pt x="1158" y="582"/>
                  </a:lnTo>
                  <a:lnTo>
                    <a:pt x="1164" y="576"/>
                  </a:lnTo>
                  <a:lnTo>
                    <a:pt x="1176" y="576"/>
                  </a:lnTo>
                  <a:lnTo>
                    <a:pt x="1194" y="576"/>
                  </a:lnTo>
                  <a:lnTo>
                    <a:pt x="1218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24" y="594"/>
                  </a:lnTo>
                  <a:lnTo>
                    <a:pt x="1212" y="600"/>
                  </a:lnTo>
                  <a:lnTo>
                    <a:pt x="1206" y="606"/>
                  </a:lnTo>
                  <a:lnTo>
                    <a:pt x="1200" y="606"/>
                  </a:lnTo>
                  <a:lnTo>
                    <a:pt x="1200" y="612"/>
                  </a:lnTo>
                  <a:lnTo>
                    <a:pt x="1194" y="612"/>
                  </a:lnTo>
                  <a:lnTo>
                    <a:pt x="1194" y="618"/>
                  </a:lnTo>
                  <a:lnTo>
                    <a:pt x="1194" y="624"/>
                  </a:lnTo>
                  <a:lnTo>
                    <a:pt x="1194" y="630"/>
                  </a:lnTo>
                  <a:lnTo>
                    <a:pt x="1194" y="648"/>
                  </a:lnTo>
                  <a:lnTo>
                    <a:pt x="1194" y="660"/>
                  </a:lnTo>
                  <a:lnTo>
                    <a:pt x="1194" y="666"/>
                  </a:lnTo>
                  <a:lnTo>
                    <a:pt x="1194" y="672"/>
                  </a:lnTo>
                  <a:lnTo>
                    <a:pt x="1194" y="678"/>
                  </a:lnTo>
                  <a:lnTo>
                    <a:pt x="1188" y="684"/>
                  </a:lnTo>
                  <a:lnTo>
                    <a:pt x="1188" y="690"/>
                  </a:lnTo>
                  <a:lnTo>
                    <a:pt x="1188" y="696"/>
                  </a:lnTo>
                  <a:lnTo>
                    <a:pt x="1188" y="702"/>
                  </a:lnTo>
                  <a:lnTo>
                    <a:pt x="1188" y="708"/>
                  </a:lnTo>
                  <a:lnTo>
                    <a:pt x="1188" y="714"/>
                  </a:lnTo>
                  <a:lnTo>
                    <a:pt x="1182" y="720"/>
                  </a:lnTo>
                  <a:lnTo>
                    <a:pt x="1170" y="720"/>
                  </a:lnTo>
                  <a:lnTo>
                    <a:pt x="1158" y="726"/>
                  </a:lnTo>
                  <a:lnTo>
                    <a:pt x="1152" y="726"/>
                  </a:lnTo>
                  <a:lnTo>
                    <a:pt x="1152" y="732"/>
                  </a:lnTo>
                  <a:lnTo>
                    <a:pt x="1146" y="738"/>
                  </a:lnTo>
                  <a:lnTo>
                    <a:pt x="1140" y="738"/>
                  </a:lnTo>
                  <a:lnTo>
                    <a:pt x="1140" y="744"/>
                  </a:lnTo>
                  <a:lnTo>
                    <a:pt x="1134" y="744"/>
                  </a:lnTo>
                  <a:lnTo>
                    <a:pt x="1128" y="744"/>
                  </a:lnTo>
                  <a:lnTo>
                    <a:pt x="1122" y="750"/>
                  </a:lnTo>
                  <a:lnTo>
                    <a:pt x="1128" y="750"/>
                  </a:lnTo>
                  <a:lnTo>
                    <a:pt x="1122" y="756"/>
                  </a:lnTo>
                  <a:lnTo>
                    <a:pt x="1116" y="756"/>
                  </a:lnTo>
                  <a:lnTo>
                    <a:pt x="1110" y="762"/>
                  </a:lnTo>
                  <a:lnTo>
                    <a:pt x="1104" y="762"/>
                  </a:lnTo>
                  <a:lnTo>
                    <a:pt x="1104" y="768"/>
                  </a:lnTo>
                  <a:lnTo>
                    <a:pt x="1098" y="768"/>
                  </a:lnTo>
                  <a:lnTo>
                    <a:pt x="1098" y="774"/>
                  </a:lnTo>
                  <a:lnTo>
                    <a:pt x="1092" y="774"/>
                  </a:lnTo>
                  <a:lnTo>
                    <a:pt x="1092" y="780"/>
                  </a:lnTo>
                  <a:lnTo>
                    <a:pt x="1086" y="780"/>
                  </a:lnTo>
                  <a:lnTo>
                    <a:pt x="1086" y="786"/>
                  </a:lnTo>
                  <a:lnTo>
                    <a:pt x="1080" y="786"/>
                  </a:lnTo>
                  <a:lnTo>
                    <a:pt x="1080" y="792"/>
                  </a:lnTo>
                  <a:lnTo>
                    <a:pt x="1080" y="798"/>
                  </a:lnTo>
                  <a:lnTo>
                    <a:pt x="1080" y="804"/>
                  </a:lnTo>
                  <a:lnTo>
                    <a:pt x="1086" y="810"/>
                  </a:lnTo>
                  <a:lnTo>
                    <a:pt x="1080" y="816"/>
                  </a:lnTo>
                  <a:lnTo>
                    <a:pt x="1080" y="822"/>
                  </a:lnTo>
                  <a:lnTo>
                    <a:pt x="1074" y="822"/>
                  </a:lnTo>
                  <a:lnTo>
                    <a:pt x="1068" y="828"/>
                  </a:lnTo>
                  <a:lnTo>
                    <a:pt x="1074" y="828"/>
                  </a:lnTo>
                  <a:lnTo>
                    <a:pt x="1074" y="834"/>
                  </a:lnTo>
                  <a:lnTo>
                    <a:pt x="1080" y="846"/>
                  </a:lnTo>
                  <a:lnTo>
                    <a:pt x="1086" y="846"/>
                  </a:lnTo>
                  <a:lnTo>
                    <a:pt x="1092" y="852"/>
                  </a:lnTo>
                  <a:lnTo>
                    <a:pt x="1092" y="858"/>
                  </a:lnTo>
                  <a:lnTo>
                    <a:pt x="1098" y="858"/>
                  </a:lnTo>
                  <a:lnTo>
                    <a:pt x="1110" y="864"/>
                  </a:lnTo>
                  <a:lnTo>
                    <a:pt x="1116" y="864"/>
                  </a:lnTo>
                  <a:lnTo>
                    <a:pt x="1122" y="864"/>
                  </a:lnTo>
                  <a:lnTo>
                    <a:pt x="1128" y="864"/>
                  </a:lnTo>
                  <a:lnTo>
                    <a:pt x="1134" y="876"/>
                  </a:lnTo>
                  <a:lnTo>
                    <a:pt x="1140" y="882"/>
                  </a:lnTo>
                  <a:lnTo>
                    <a:pt x="1140" y="888"/>
                  </a:lnTo>
                  <a:lnTo>
                    <a:pt x="1152" y="918"/>
                  </a:lnTo>
                  <a:lnTo>
                    <a:pt x="1158" y="894"/>
                  </a:lnTo>
                  <a:lnTo>
                    <a:pt x="1164" y="888"/>
                  </a:lnTo>
                  <a:lnTo>
                    <a:pt x="1164" y="882"/>
                  </a:lnTo>
                  <a:lnTo>
                    <a:pt x="1176" y="864"/>
                  </a:lnTo>
                  <a:lnTo>
                    <a:pt x="1182" y="858"/>
                  </a:lnTo>
                  <a:lnTo>
                    <a:pt x="1188" y="846"/>
                  </a:lnTo>
                  <a:lnTo>
                    <a:pt x="1200" y="840"/>
                  </a:lnTo>
                  <a:lnTo>
                    <a:pt x="1212" y="840"/>
                  </a:lnTo>
                  <a:lnTo>
                    <a:pt x="1218" y="846"/>
                  </a:lnTo>
                  <a:lnTo>
                    <a:pt x="1224" y="858"/>
                  </a:lnTo>
                  <a:lnTo>
                    <a:pt x="1224" y="864"/>
                  </a:lnTo>
                  <a:lnTo>
                    <a:pt x="1224" y="876"/>
                  </a:lnTo>
                  <a:lnTo>
                    <a:pt x="1212" y="912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00" y="930"/>
                  </a:lnTo>
                  <a:lnTo>
                    <a:pt x="1200" y="942"/>
                  </a:lnTo>
                  <a:lnTo>
                    <a:pt x="1194" y="948"/>
                  </a:lnTo>
                  <a:lnTo>
                    <a:pt x="1194" y="960"/>
                  </a:lnTo>
                  <a:lnTo>
                    <a:pt x="1194" y="966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70" y="984"/>
                  </a:lnTo>
                  <a:lnTo>
                    <a:pt x="1164" y="984"/>
                  </a:lnTo>
                  <a:lnTo>
                    <a:pt x="1158" y="984"/>
                  </a:lnTo>
                  <a:lnTo>
                    <a:pt x="1146" y="984"/>
                  </a:lnTo>
                  <a:lnTo>
                    <a:pt x="1140" y="990"/>
                  </a:lnTo>
                  <a:lnTo>
                    <a:pt x="1140" y="996"/>
                  </a:lnTo>
                  <a:lnTo>
                    <a:pt x="1152" y="996"/>
                  </a:lnTo>
                  <a:lnTo>
                    <a:pt x="1176" y="1002"/>
                  </a:lnTo>
                  <a:lnTo>
                    <a:pt x="1194" y="1008"/>
                  </a:lnTo>
                  <a:lnTo>
                    <a:pt x="1206" y="1008"/>
                  </a:lnTo>
                  <a:lnTo>
                    <a:pt x="1218" y="1014"/>
                  </a:lnTo>
                  <a:lnTo>
                    <a:pt x="1212" y="1038"/>
                  </a:lnTo>
                  <a:lnTo>
                    <a:pt x="1212" y="1044"/>
                  </a:lnTo>
                  <a:lnTo>
                    <a:pt x="1206" y="1044"/>
                  </a:lnTo>
                  <a:lnTo>
                    <a:pt x="1206" y="1050"/>
                  </a:lnTo>
                  <a:lnTo>
                    <a:pt x="1194" y="1050"/>
                  </a:lnTo>
                  <a:lnTo>
                    <a:pt x="1188" y="1044"/>
                  </a:lnTo>
                  <a:lnTo>
                    <a:pt x="1158" y="1020"/>
                  </a:lnTo>
                  <a:lnTo>
                    <a:pt x="1152" y="1020"/>
                  </a:lnTo>
                  <a:lnTo>
                    <a:pt x="1140" y="1020"/>
                  </a:lnTo>
                  <a:lnTo>
                    <a:pt x="1134" y="1020"/>
                  </a:lnTo>
                  <a:lnTo>
                    <a:pt x="1134" y="1026"/>
                  </a:lnTo>
                  <a:lnTo>
                    <a:pt x="1134" y="1032"/>
                  </a:lnTo>
                  <a:lnTo>
                    <a:pt x="1128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2" name="Freeform 27">
              <a:extLst>
                <a:ext uri="{FF2B5EF4-FFF2-40B4-BE49-F238E27FC236}">
                  <a16:creationId xmlns:a16="http://schemas.microsoft.com/office/drawing/2014/main" id="{CE95C9DF-B651-4085-946F-65424BC51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2063" y="3421400"/>
              <a:ext cx="342138" cy="377969"/>
            </a:xfrm>
            <a:custGeom>
              <a:avLst/>
              <a:gdLst>
                <a:gd name="T0" fmla="*/ 43 w 642"/>
                <a:gd name="T1" fmla="*/ 41 h 708"/>
                <a:gd name="T2" fmla="*/ 39 w 642"/>
                <a:gd name="T3" fmla="*/ 41 h 708"/>
                <a:gd name="T4" fmla="*/ 38 w 642"/>
                <a:gd name="T5" fmla="*/ 47 h 708"/>
                <a:gd name="T6" fmla="*/ 38 w 642"/>
                <a:gd name="T7" fmla="*/ 49 h 708"/>
                <a:gd name="T8" fmla="*/ 38 w 642"/>
                <a:gd name="T9" fmla="*/ 50 h 708"/>
                <a:gd name="T10" fmla="*/ 36 w 642"/>
                <a:gd name="T11" fmla="*/ 52 h 708"/>
                <a:gd name="T12" fmla="*/ 35 w 642"/>
                <a:gd name="T13" fmla="*/ 53 h 708"/>
                <a:gd name="T14" fmla="*/ 33 w 642"/>
                <a:gd name="T15" fmla="*/ 55 h 708"/>
                <a:gd name="T16" fmla="*/ 32 w 642"/>
                <a:gd name="T17" fmla="*/ 56 h 708"/>
                <a:gd name="T18" fmla="*/ 31 w 642"/>
                <a:gd name="T19" fmla="*/ 59 h 708"/>
                <a:gd name="T20" fmla="*/ 26 w 642"/>
                <a:gd name="T21" fmla="*/ 59 h 708"/>
                <a:gd name="T22" fmla="*/ 23 w 642"/>
                <a:gd name="T23" fmla="*/ 61 h 708"/>
                <a:gd name="T24" fmla="*/ 20 w 642"/>
                <a:gd name="T25" fmla="*/ 61 h 708"/>
                <a:gd name="T26" fmla="*/ 17 w 642"/>
                <a:gd name="T27" fmla="*/ 59 h 708"/>
                <a:gd name="T28" fmla="*/ 15 w 642"/>
                <a:gd name="T29" fmla="*/ 56 h 708"/>
                <a:gd name="T30" fmla="*/ 9 w 642"/>
                <a:gd name="T31" fmla="*/ 58 h 708"/>
                <a:gd name="T32" fmla="*/ 6 w 642"/>
                <a:gd name="T33" fmla="*/ 52 h 708"/>
                <a:gd name="T34" fmla="*/ 2 w 642"/>
                <a:gd name="T35" fmla="*/ 53 h 708"/>
                <a:gd name="T36" fmla="*/ 1 w 642"/>
                <a:gd name="T37" fmla="*/ 51 h 708"/>
                <a:gd name="T38" fmla="*/ 4 w 642"/>
                <a:gd name="T39" fmla="*/ 47 h 708"/>
                <a:gd name="T40" fmla="*/ 5 w 642"/>
                <a:gd name="T41" fmla="*/ 41 h 708"/>
                <a:gd name="T42" fmla="*/ 5 w 642"/>
                <a:gd name="T43" fmla="*/ 38 h 708"/>
                <a:gd name="T44" fmla="*/ 5 w 642"/>
                <a:gd name="T45" fmla="*/ 35 h 708"/>
                <a:gd name="T46" fmla="*/ 6 w 642"/>
                <a:gd name="T47" fmla="*/ 33 h 708"/>
                <a:gd name="T48" fmla="*/ 5 w 642"/>
                <a:gd name="T49" fmla="*/ 29 h 708"/>
                <a:gd name="T50" fmla="*/ 4 w 642"/>
                <a:gd name="T51" fmla="*/ 28 h 708"/>
                <a:gd name="T52" fmla="*/ 1 w 642"/>
                <a:gd name="T53" fmla="*/ 26 h 708"/>
                <a:gd name="T54" fmla="*/ 1 w 642"/>
                <a:gd name="T55" fmla="*/ 24 h 708"/>
                <a:gd name="T56" fmla="*/ 1 w 642"/>
                <a:gd name="T57" fmla="*/ 20 h 708"/>
                <a:gd name="T58" fmla="*/ 1 w 642"/>
                <a:gd name="T59" fmla="*/ 16 h 708"/>
                <a:gd name="T60" fmla="*/ 2 w 642"/>
                <a:gd name="T61" fmla="*/ 14 h 708"/>
                <a:gd name="T62" fmla="*/ 8 w 642"/>
                <a:gd name="T63" fmla="*/ 14 h 708"/>
                <a:gd name="T64" fmla="*/ 9 w 642"/>
                <a:gd name="T65" fmla="*/ 10 h 708"/>
                <a:gd name="T66" fmla="*/ 15 w 642"/>
                <a:gd name="T67" fmla="*/ 9 h 708"/>
                <a:gd name="T68" fmla="*/ 18 w 642"/>
                <a:gd name="T69" fmla="*/ 14 h 708"/>
                <a:gd name="T70" fmla="*/ 20 w 642"/>
                <a:gd name="T71" fmla="*/ 12 h 708"/>
                <a:gd name="T72" fmla="*/ 20 w 642"/>
                <a:gd name="T73" fmla="*/ 11 h 708"/>
                <a:gd name="T74" fmla="*/ 21 w 642"/>
                <a:gd name="T75" fmla="*/ 9 h 708"/>
                <a:gd name="T76" fmla="*/ 24 w 642"/>
                <a:gd name="T77" fmla="*/ 9 h 708"/>
                <a:gd name="T78" fmla="*/ 27 w 642"/>
                <a:gd name="T79" fmla="*/ 8 h 708"/>
                <a:gd name="T80" fmla="*/ 33 w 642"/>
                <a:gd name="T81" fmla="*/ 2 h 708"/>
                <a:gd name="T82" fmla="*/ 42 w 642"/>
                <a:gd name="T83" fmla="*/ 2 h 708"/>
                <a:gd name="T84" fmla="*/ 49 w 642"/>
                <a:gd name="T85" fmla="*/ 1 h 708"/>
                <a:gd name="T86" fmla="*/ 53 w 642"/>
                <a:gd name="T87" fmla="*/ 4 h 708"/>
                <a:gd name="T88" fmla="*/ 55 w 642"/>
                <a:gd name="T89" fmla="*/ 4 h 708"/>
                <a:gd name="T90" fmla="*/ 55 w 642"/>
                <a:gd name="T91" fmla="*/ 7 h 708"/>
                <a:gd name="T92" fmla="*/ 52 w 642"/>
                <a:gd name="T93" fmla="*/ 9 h 708"/>
                <a:gd name="T94" fmla="*/ 49 w 642"/>
                <a:gd name="T95" fmla="*/ 12 h 708"/>
                <a:gd name="T96" fmla="*/ 47 w 642"/>
                <a:gd name="T97" fmla="*/ 14 h 708"/>
                <a:gd name="T98" fmla="*/ 47 w 642"/>
                <a:gd name="T99" fmla="*/ 17 h 708"/>
                <a:gd name="T100" fmla="*/ 45 w 642"/>
                <a:gd name="T101" fmla="*/ 26 h 708"/>
                <a:gd name="T102" fmla="*/ 50 w 642"/>
                <a:gd name="T103" fmla="*/ 37 h 70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42"/>
                <a:gd name="T157" fmla="*/ 0 h 708"/>
                <a:gd name="T158" fmla="*/ 642 w 642"/>
                <a:gd name="T159" fmla="*/ 708 h 70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42" h="708">
                  <a:moveTo>
                    <a:pt x="576" y="468"/>
                  </a:moveTo>
                  <a:lnTo>
                    <a:pt x="564" y="468"/>
                  </a:lnTo>
                  <a:lnTo>
                    <a:pt x="516" y="468"/>
                  </a:lnTo>
                  <a:lnTo>
                    <a:pt x="498" y="474"/>
                  </a:lnTo>
                  <a:lnTo>
                    <a:pt x="492" y="468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68" y="474"/>
                  </a:lnTo>
                  <a:lnTo>
                    <a:pt x="456" y="468"/>
                  </a:lnTo>
                  <a:lnTo>
                    <a:pt x="444" y="474"/>
                  </a:lnTo>
                  <a:lnTo>
                    <a:pt x="438" y="492"/>
                  </a:lnTo>
                  <a:lnTo>
                    <a:pt x="438" y="504"/>
                  </a:lnTo>
                  <a:lnTo>
                    <a:pt x="432" y="516"/>
                  </a:lnTo>
                  <a:lnTo>
                    <a:pt x="432" y="528"/>
                  </a:lnTo>
                  <a:lnTo>
                    <a:pt x="432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52"/>
                  </a:lnTo>
                  <a:lnTo>
                    <a:pt x="432" y="558"/>
                  </a:lnTo>
                  <a:lnTo>
                    <a:pt x="438" y="564"/>
                  </a:lnTo>
                  <a:lnTo>
                    <a:pt x="444" y="564"/>
                  </a:lnTo>
                  <a:lnTo>
                    <a:pt x="438" y="564"/>
                  </a:lnTo>
                  <a:lnTo>
                    <a:pt x="438" y="570"/>
                  </a:lnTo>
                  <a:lnTo>
                    <a:pt x="432" y="570"/>
                  </a:lnTo>
                  <a:lnTo>
                    <a:pt x="432" y="576"/>
                  </a:lnTo>
                  <a:lnTo>
                    <a:pt x="426" y="588"/>
                  </a:lnTo>
                  <a:lnTo>
                    <a:pt x="420" y="594"/>
                  </a:lnTo>
                  <a:lnTo>
                    <a:pt x="420" y="600"/>
                  </a:lnTo>
                  <a:lnTo>
                    <a:pt x="414" y="600"/>
                  </a:lnTo>
                  <a:lnTo>
                    <a:pt x="414" y="606"/>
                  </a:lnTo>
                  <a:lnTo>
                    <a:pt x="408" y="606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396" y="612"/>
                  </a:lnTo>
                  <a:lnTo>
                    <a:pt x="390" y="612"/>
                  </a:lnTo>
                  <a:lnTo>
                    <a:pt x="390" y="618"/>
                  </a:lnTo>
                  <a:lnTo>
                    <a:pt x="384" y="618"/>
                  </a:lnTo>
                  <a:lnTo>
                    <a:pt x="378" y="618"/>
                  </a:lnTo>
                  <a:lnTo>
                    <a:pt x="378" y="624"/>
                  </a:lnTo>
                  <a:lnTo>
                    <a:pt x="384" y="630"/>
                  </a:lnTo>
                  <a:lnTo>
                    <a:pt x="384" y="636"/>
                  </a:lnTo>
                  <a:lnTo>
                    <a:pt x="378" y="630"/>
                  </a:lnTo>
                  <a:lnTo>
                    <a:pt x="372" y="636"/>
                  </a:lnTo>
                  <a:lnTo>
                    <a:pt x="372" y="642"/>
                  </a:lnTo>
                  <a:lnTo>
                    <a:pt x="366" y="642"/>
                  </a:lnTo>
                  <a:lnTo>
                    <a:pt x="360" y="654"/>
                  </a:lnTo>
                  <a:lnTo>
                    <a:pt x="354" y="666"/>
                  </a:lnTo>
                  <a:lnTo>
                    <a:pt x="354" y="672"/>
                  </a:lnTo>
                  <a:lnTo>
                    <a:pt x="354" y="678"/>
                  </a:lnTo>
                  <a:lnTo>
                    <a:pt x="354" y="684"/>
                  </a:lnTo>
                  <a:lnTo>
                    <a:pt x="348" y="678"/>
                  </a:lnTo>
                  <a:lnTo>
                    <a:pt x="324" y="678"/>
                  </a:lnTo>
                  <a:lnTo>
                    <a:pt x="306" y="678"/>
                  </a:lnTo>
                  <a:lnTo>
                    <a:pt x="294" y="678"/>
                  </a:lnTo>
                  <a:lnTo>
                    <a:pt x="288" y="684"/>
                  </a:lnTo>
                  <a:lnTo>
                    <a:pt x="276" y="690"/>
                  </a:lnTo>
                  <a:lnTo>
                    <a:pt x="270" y="696"/>
                  </a:lnTo>
                  <a:lnTo>
                    <a:pt x="264" y="696"/>
                  </a:lnTo>
                  <a:lnTo>
                    <a:pt x="258" y="696"/>
                  </a:lnTo>
                  <a:lnTo>
                    <a:pt x="252" y="696"/>
                  </a:lnTo>
                  <a:lnTo>
                    <a:pt x="252" y="690"/>
                  </a:lnTo>
                  <a:lnTo>
                    <a:pt x="246" y="690"/>
                  </a:lnTo>
                  <a:lnTo>
                    <a:pt x="234" y="690"/>
                  </a:lnTo>
                  <a:lnTo>
                    <a:pt x="222" y="696"/>
                  </a:lnTo>
                  <a:lnTo>
                    <a:pt x="216" y="708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8" y="690"/>
                  </a:lnTo>
                  <a:lnTo>
                    <a:pt x="198" y="684"/>
                  </a:lnTo>
                  <a:lnTo>
                    <a:pt x="198" y="678"/>
                  </a:lnTo>
                  <a:lnTo>
                    <a:pt x="198" y="672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74" y="648"/>
                  </a:lnTo>
                  <a:lnTo>
                    <a:pt x="162" y="642"/>
                  </a:lnTo>
                  <a:lnTo>
                    <a:pt x="156" y="636"/>
                  </a:lnTo>
                  <a:lnTo>
                    <a:pt x="132" y="642"/>
                  </a:lnTo>
                  <a:lnTo>
                    <a:pt x="120" y="654"/>
                  </a:lnTo>
                  <a:lnTo>
                    <a:pt x="108" y="660"/>
                  </a:lnTo>
                  <a:lnTo>
                    <a:pt x="102" y="666"/>
                  </a:lnTo>
                  <a:lnTo>
                    <a:pt x="84" y="666"/>
                  </a:lnTo>
                  <a:lnTo>
                    <a:pt x="84" y="630"/>
                  </a:lnTo>
                  <a:lnTo>
                    <a:pt x="78" y="594"/>
                  </a:lnTo>
                  <a:lnTo>
                    <a:pt x="66" y="594"/>
                  </a:lnTo>
                  <a:lnTo>
                    <a:pt x="60" y="594"/>
                  </a:lnTo>
                  <a:lnTo>
                    <a:pt x="48" y="600"/>
                  </a:lnTo>
                  <a:lnTo>
                    <a:pt x="36" y="606"/>
                  </a:lnTo>
                  <a:lnTo>
                    <a:pt x="24" y="612"/>
                  </a:lnTo>
                  <a:lnTo>
                    <a:pt x="18" y="612"/>
                  </a:lnTo>
                  <a:lnTo>
                    <a:pt x="12" y="606"/>
                  </a:lnTo>
                  <a:lnTo>
                    <a:pt x="12" y="600"/>
                  </a:lnTo>
                  <a:lnTo>
                    <a:pt x="12" y="594"/>
                  </a:lnTo>
                  <a:lnTo>
                    <a:pt x="12" y="588"/>
                  </a:lnTo>
                  <a:lnTo>
                    <a:pt x="12" y="582"/>
                  </a:lnTo>
                  <a:lnTo>
                    <a:pt x="12" y="576"/>
                  </a:lnTo>
                  <a:lnTo>
                    <a:pt x="18" y="552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42" y="534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48" y="492"/>
                  </a:lnTo>
                  <a:lnTo>
                    <a:pt x="48" y="480"/>
                  </a:lnTo>
                  <a:lnTo>
                    <a:pt x="54" y="468"/>
                  </a:lnTo>
                  <a:lnTo>
                    <a:pt x="48" y="456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66" y="390"/>
                  </a:lnTo>
                  <a:lnTo>
                    <a:pt x="72" y="384"/>
                  </a:lnTo>
                  <a:lnTo>
                    <a:pt x="72" y="378"/>
                  </a:lnTo>
                  <a:lnTo>
                    <a:pt x="66" y="378"/>
                  </a:lnTo>
                  <a:lnTo>
                    <a:pt x="66" y="366"/>
                  </a:lnTo>
                  <a:lnTo>
                    <a:pt x="60" y="360"/>
                  </a:lnTo>
                  <a:lnTo>
                    <a:pt x="66" y="354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48" y="312"/>
                  </a:lnTo>
                  <a:lnTo>
                    <a:pt x="30" y="312"/>
                  </a:lnTo>
                  <a:lnTo>
                    <a:pt x="24" y="306"/>
                  </a:lnTo>
                  <a:lnTo>
                    <a:pt x="18" y="306"/>
                  </a:lnTo>
                  <a:lnTo>
                    <a:pt x="12" y="294"/>
                  </a:lnTo>
                  <a:lnTo>
                    <a:pt x="12" y="282"/>
                  </a:lnTo>
                  <a:lnTo>
                    <a:pt x="6" y="276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12" y="270"/>
                  </a:lnTo>
                  <a:lnTo>
                    <a:pt x="12" y="246"/>
                  </a:lnTo>
                  <a:lnTo>
                    <a:pt x="12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8" y="174"/>
                  </a:lnTo>
                  <a:lnTo>
                    <a:pt x="12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48" y="162"/>
                  </a:lnTo>
                  <a:lnTo>
                    <a:pt x="72" y="162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84" y="132"/>
                  </a:lnTo>
                  <a:lnTo>
                    <a:pt x="90" y="120"/>
                  </a:lnTo>
                  <a:lnTo>
                    <a:pt x="108" y="114"/>
                  </a:lnTo>
                  <a:lnTo>
                    <a:pt x="114" y="102"/>
                  </a:lnTo>
                  <a:lnTo>
                    <a:pt x="120" y="90"/>
                  </a:lnTo>
                  <a:lnTo>
                    <a:pt x="138" y="90"/>
                  </a:lnTo>
                  <a:lnTo>
                    <a:pt x="138" y="102"/>
                  </a:lnTo>
                  <a:lnTo>
                    <a:pt x="168" y="108"/>
                  </a:lnTo>
                  <a:lnTo>
                    <a:pt x="168" y="114"/>
                  </a:lnTo>
                  <a:lnTo>
                    <a:pt x="174" y="126"/>
                  </a:lnTo>
                  <a:lnTo>
                    <a:pt x="186" y="150"/>
                  </a:lnTo>
                  <a:lnTo>
                    <a:pt x="186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34" y="144"/>
                  </a:lnTo>
                  <a:lnTo>
                    <a:pt x="240" y="138"/>
                  </a:lnTo>
                  <a:lnTo>
                    <a:pt x="240" y="126"/>
                  </a:lnTo>
                  <a:lnTo>
                    <a:pt x="234" y="126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34" y="102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82" y="102"/>
                  </a:lnTo>
                  <a:lnTo>
                    <a:pt x="288" y="102"/>
                  </a:lnTo>
                  <a:lnTo>
                    <a:pt x="294" y="102"/>
                  </a:lnTo>
                  <a:lnTo>
                    <a:pt x="300" y="96"/>
                  </a:lnTo>
                  <a:lnTo>
                    <a:pt x="306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84"/>
                  </a:lnTo>
                  <a:lnTo>
                    <a:pt x="324" y="18"/>
                  </a:lnTo>
                  <a:lnTo>
                    <a:pt x="360" y="18"/>
                  </a:lnTo>
                  <a:lnTo>
                    <a:pt x="378" y="18"/>
                  </a:lnTo>
                  <a:lnTo>
                    <a:pt x="378" y="30"/>
                  </a:lnTo>
                  <a:lnTo>
                    <a:pt x="390" y="30"/>
                  </a:lnTo>
                  <a:lnTo>
                    <a:pt x="432" y="30"/>
                  </a:lnTo>
                  <a:lnTo>
                    <a:pt x="456" y="24"/>
                  </a:lnTo>
                  <a:lnTo>
                    <a:pt x="480" y="24"/>
                  </a:lnTo>
                  <a:lnTo>
                    <a:pt x="498" y="30"/>
                  </a:lnTo>
                  <a:lnTo>
                    <a:pt x="522" y="18"/>
                  </a:lnTo>
                  <a:lnTo>
                    <a:pt x="528" y="0"/>
                  </a:lnTo>
                  <a:lnTo>
                    <a:pt x="558" y="6"/>
                  </a:lnTo>
                  <a:lnTo>
                    <a:pt x="558" y="12"/>
                  </a:lnTo>
                  <a:lnTo>
                    <a:pt x="570" y="18"/>
                  </a:lnTo>
                  <a:lnTo>
                    <a:pt x="576" y="24"/>
                  </a:lnTo>
                  <a:lnTo>
                    <a:pt x="588" y="36"/>
                  </a:lnTo>
                  <a:lnTo>
                    <a:pt x="594" y="48"/>
                  </a:lnTo>
                  <a:lnTo>
                    <a:pt x="606" y="48"/>
                  </a:lnTo>
                  <a:lnTo>
                    <a:pt x="606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42"/>
                  </a:lnTo>
                  <a:lnTo>
                    <a:pt x="636" y="42"/>
                  </a:lnTo>
                  <a:lnTo>
                    <a:pt x="636" y="48"/>
                  </a:lnTo>
                  <a:lnTo>
                    <a:pt x="642" y="54"/>
                  </a:lnTo>
                  <a:lnTo>
                    <a:pt x="636" y="60"/>
                  </a:lnTo>
                  <a:lnTo>
                    <a:pt x="636" y="66"/>
                  </a:lnTo>
                  <a:lnTo>
                    <a:pt x="636" y="78"/>
                  </a:lnTo>
                  <a:lnTo>
                    <a:pt x="624" y="84"/>
                  </a:lnTo>
                  <a:lnTo>
                    <a:pt x="618" y="90"/>
                  </a:lnTo>
                  <a:lnTo>
                    <a:pt x="612" y="90"/>
                  </a:lnTo>
                  <a:lnTo>
                    <a:pt x="600" y="102"/>
                  </a:lnTo>
                  <a:lnTo>
                    <a:pt x="594" y="108"/>
                  </a:lnTo>
                  <a:lnTo>
                    <a:pt x="582" y="114"/>
                  </a:lnTo>
                  <a:lnTo>
                    <a:pt x="570" y="132"/>
                  </a:lnTo>
                  <a:lnTo>
                    <a:pt x="564" y="132"/>
                  </a:lnTo>
                  <a:lnTo>
                    <a:pt x="564" y="138"/>
                  </a:lnTo>
                  <a:lnTo>
                    <a:pt x="558" y="144"/>
                  </a:lnTo>
                  <a:lnTo>
                    <a:pt x="558" y="150"/>
                  </a:lnTo>
                  <a:lnTo>
                    <a:pt x="552" y="150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0" y="162"/>
                  </a:lnTo>
                  <a:lnTo>
                    <a:pt x="534" y="168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6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28" y="234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16" y="294"/>
                  </a:lnTo>
                  <a:lnTo>
                    <a:pt x="516" y="312"/>
                  </a:lnTo>
                  <a:lnTo>
                    <a:pt x="528" y="318"/>
                  </a:lnTo>
                  <a:lnTo>
                    <a:pt x="540" y="360"/>
                  </a:lnTo>
                  <a:lnTo>
                    <a:pt x="558" y="408"/>
                  </a:lnTo>
                  <a:lnTo>
                    <a:pt x="570" y="426"/>
                  </a:lnTo>
                  <a:lnTo>
                    <a:pt x="576" y="432"/>
                  </a:lnTo>
                  <a:lnTo>
                    <a:pt x="576" y="438"/>
                  </a:lnTo>
                  <a:lnTo>
                    <a:pt x="576" y="444"/>
                  </a:lnTo>
                  <a:lnTo>
                    <a:pt x="576" y="46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3" name="Freeform 28">
              <a:extLst>
                <a:ext uri="{FF2B5EF4-FFF2-40B4-BE49-F238E27FC236}">
                  <a16:creationId xmlns:a16="http://schemas.microsoft.com/office/drawing/2014/main" id="{CF9B4F31-BF73-448E-83AA-188F6CF1BDC5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4879" y="3432583"/>
              <a:ext cx="324248" cy="270616"/>
            </a:xfrm>
            <a:custGeom>
              <a:avLst/>
              <a:gdLst>
                <a:gd name="T0" fmla="*/ 5 w 606"/>
                <a:gd name="T1" fmla="*/ 36 h 510"/>
                <a:gd name="T2" fmla="*/ 4 w 606"/>
                <a:gd name="T3" fmla="*/ 34 h 510"/>
                <a:gd name="T4" fmla="*/ 0 w 606"/>
                <a:gd name="T5" fmla="*/ 25 h 510"/>
                <a:gd name="T6" fmla="*/ 1 w 606"/>
                <a:gd name="T7" fmla="*/ 20 h 510"/>
                <a:gd name="T8" fmla="*/ 2 w 606"/>
                <a:gd name="T9" fmla="*/ 15 h 510"/>
                <a:gd name="T10" fmla="*/ 2 w 606"/>
                <a:gd name="T11" fmla="*/ 13 h 510"/>
                <a:gd name="T12" fmla="*/ 3 w 606"/>
                <a:gd name="T13" fmla="*/ 12 h 510"/>
                <a:gd name="T14" fmla="*/ 4 w 606"/>
                <a:gd name="T15" fmla="*/ 11 h 510"/>
                <a:gd name="T16" fmla="*/ 4 w 606"/>
                <a:gd name="T17" fmla="*/ 10 h 510"/>
                <a:gd name="T18" fmla="*/ 7 w 606"/>
                <a:gd name="T19" fmla="*/ 8 h 510"/>
                <a:gd name="T20" fmla="*/ 9 w 606"/>
                <a:gd name="T21" fmla="*/ 6 h 510"/>
                <a:gd name="T22" fmla="*/ 11 w 606"/>
                <a:gd name="T23" fmla="*/ 4 h 510"/>
                <a:gd name="T24" fmla="*/ 12 w 606"/>
                <a:gd name="T25" fmla="*/ 3 h 510"/>
                <a:gd name="T26" fmla="*/ 13 w 606"/>
                <a:gd name="T27" fmla="*/ 4 h 510"/>
                <a:gd name="T28" fmla="*/ 15 w 606"/>
                <a:gd name="T29" fmla="*/ 2 h 510"/>
                <a:gd name="T30" fmla="*/ 17 w 606"/>
                <a:gd name="T31" fmla="*/ 2 h 510"/>
                <a:gd name="T32" fmla="*/ 19 w 606"/>
                <a:gd name="T33" fmla="*/ 5 h 510"/>
                <a:gd name="T34" fmla="*/ 22 w 606"/>
                <a:gd name="T35" fmla="*/ 5 h 510"/>
                <a:gd name="T36" fmla="*/ 25 w 606"/>
                <a:gd name="T37" fmla="*/ 6 h 510"/>
                <a:gd name="T38" fmla="*/ 29 w 606"/>
                <a:gd name="T39" fmla="*/ 1 h 510"/>
                <a:gd name="T40" fmla="*/ 38 w 606"/>
                <a:gd name="T41" fmla="*/ 0 h 510"/>
                <a:gd name="T42" fmla="*/ 38 w 606"/>
                <a:gd name="T43" fmla="*/ 5 h 510"/>
                <a:gd name="T44" fmla="*/ 41 w 606"/>
                <a:gd name="T45" fmla="*/ 4 h 510"/>
                <a:gd name="T46" fmla="*/ 45 w 606"/>
                <a:gd name="T47" fmla="*/ 2 h 510"/>
                <a:gd name="T48" fmla="*/ 46 w 606"/>
                <a:gd name="T49" fmla="*/ 2 h 510"/>
                <a:gd name="T50" fmla="*/ 47 w 606"/>
                <a:gd name="T51" fmla="*/ 5 h 510"/>
                <a:gd name="T52" fmla="*/ 45 w 606"/>
                <a:gd name="T53" fmla="*/ 6 h 510"/>
                <a:gd name="T54" fmla="*/ 45 w 606"/>
                <a:gd name="T55" fmla="*/ 7 h 510"/>
                <a:gd name="T56" fmla="*/ 43 w 606"/>
                <a:gd name="T57" fmla="*/ 8 h 510"/>
                <a:gd name="T58" fmla="*/ 45 w 606"/>
                <a:gd name="T59" fmla="*/ 15 h 510"/>
                <a:gd name="T60" fmla="*/ 49 w 606"/>
                <a:gd name="T61" fmla="*/ 15 h 510"/>
                <a:gd name="T62" fmla="*/ 51 w 606"/>
                <a:gd name="T63" fmla="*/ 15 h 510"/>
                <a:gd name="T64" fmla="*/ 53 w 606"/>
                <a:gd name="T65" fmla="*/ 16 h 510"/>
                <a:gd name="T66" fmla="*/ 52 w 606"/>
                <a:gd name="T67" fmla="*/ 20 h 510"/>
                <a:gd name="T68" fmla="*/ 48 w 606"/>
                <a:gd name="T69" fmla="*/ 23 h 510"/>
                <a:gd name="T70" fmla="*/ 45 w 606"/>
                <a:gd name="T71" fmla="*/ 25 h 510"/>
                <a:gd name="T72" fmla="*/ 44 w 606"/>
                <a:gd name="T73" fmla="*/ 28 h 510"/>
                <a:gd name="T74" fmla="*/ 43 w 606"/>
                <a:gd name="T75" fmla="*/ 33 h 510"/>
                <a:gd name="T76" fmla="*/ 39 w 606"/>
                <a:gd name="T77" fmla="*/ 38 h 510"/>
                <a:gd name="T78" fmla="*/ 37 w 606"/>
                <a:gd name="T79" fmla="*/ 41 h 510"/>
                <a:gd name="T80" fmla="*/ 31 w 606"/>
                <a:gd name="T81" fmla="*/ 44 h 510"/>
                <a:gd name="T82" fmla="*/ 28 w 606"/>
                <a:gd name="T83" fmla="*/ 43 h 510"/>
                <a:gd name="T84" fmla="*/ 28 w 606"/>
                <a:gd name="T85" fmla="*/ 41 h 510"/>
                <a:gd name="T86" fmla="*/ 28 w 606"/>
                <a:gd name="T87" fmla="*/ 40 h 510"/>
                <a:gd name="T88" fmla="*/ 27 w 606"/>
                <a:gd name="T89" fmla="*/ 38 h 510"/>
                <a:gd name="T90" fmla="*/ 27 w 606"/>
                <a:gd name="T91" fmla="*/ 36 h 510"/>
                <a:gd name="T92" fmla="*/ 24 w 606"/>
                <a:gd name="T93" fmla="*/ 35 h 510"/>
                <a:gd name="T94" fmla="*/ 16 w 606"/>
                <a:gd name="T95" fmla="*/ 34 h 510"/>
                <a:gd name="T96" fmla="*/ 13 w 606"/>
                <a:gd name="T97" fmla="*/ 34 h 510"/>
                <a:gd name="T98" fmla="*/ 9 w 606"/>
                <a:gd name="T99" fmla="*/ 36 h 510"/>
                <a:gd name="T100" fmla="*/ 8 w 606"/>
                <a:gd name="T101" fmla="*/ 38 h 510"/>
                <a:gd name="T102" fmla="*/ 7 w 606"/>
                <a:gd name="T103" fmla="*/ 39 h 51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06"/>
                <a:gd name="T157" fmla="*/ 0 h 510"/>
                <a:gd name="T158" fmla="*/ 606 w 606"/>
                <a:gd name="T159" fmla="*/ 510 h 51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06" h="510">
                  <a:moveTo>
                    <a:pt x="60" y="450"/>
                  </a:move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42" y="390"/>
                  </a:lnTo>
                  <a:lnTo>
                    <a:pt x="24" y="342"/>
                  </a:lnTo>
                  <a:lnTo>
                    <a:pt x="12" y="300"/>
                  </a:lnTo>
                  <a:lnTo>
                    <a:pt x="0" y="294"/>
                  </a:lnTo>
                  <a:lnTo>
                    <a:pt x="0" y="276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24" y="192"/>
                  </a:lnTo>
                  <a:lnTo>
                    <a:pt x="24" y="180"/>
                  </a:lnTo>
                  <a:lnTo>
                    <a:pt x="24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6" y="96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108" y="66"/>
                  </a:lnTo>
                  <a:lnTo>
                    <a:pt x="120" y="60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36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62" y="36"/>
                  </a:lnTo>
                  <a:lnTo>
                    <a:pt x="162" y="30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0" y="54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46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76" y="66"/>
                  </a:lnTo>
                  <a:lnTo>
                    <a:pt x="312" y="66"/>
                  </a:lnTo>
                  <a:lnTo>
                    <a:pt x="318" y="60"/>
                  </a:lnTo>
                  <a:lnTo>
                    <a:pt x="330" y="12"/>
                  </a:lnTo>
                  <a:lnTo>
                    <a:pt x="414" y="6"/>
                  </a:lnTo>
                  <a:lnTo>
                    <a:pt x="420" y="0"/>
                  </a:lnTo>
                  <a:lnTo>
                    <a:pt x="426" y="6"/>
                  </a:lnTo>
                  <a:lnTo>
                    <a:pt x="426" y="12"/>
                  </a:lnTo>
                  <a:lnTo>
                    <a:pt x="426" y="54"/>
                  </a:lnTo>
                  <a:lnTo>
                    <a:pt x="432" y="54"/>
                  </a:lnTo>
                  <a:lnTo>
                    <a:pt x="444" y="54"/>
                  </a:lnTo>
                  <a:lnTo>
                    <a:pt x="450" y="42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86" y="24"/>
                  </a:lnTo>
                  <a:lnTo>
                    <a:pt x="504" y="18"/>
                  </a:lnTo>
                  <a:lnTo>
                    <a:pt x="510" y="12"/>
                  </a:lnTo>
                  <a:lnTo>
                    <a:pt x="516" y="18"/>
                  </a:lnTo>
                  <a:lnTo>
                    <a:pt x="522" y="24"/>
                  </a:lnTo>
                  <a:lnTo>
                    <a:pt x="510" y="30"/>
                  </a:lnTo>
                  <a:lnTo>
                    <a:pt x="516" y="48"/>
                  </a:lnTo>
                  <a:lnTo>
                    <a:pt x="528" y="54"/>
                  </a:lnTo>
                  <a:lnTo>
                    <a:pt x="522" y="60"/>
                  </a:lnTo>
                  <a:lnTo>
                    <a:pt x="516" y="66"/>
                  </a:lnTo>
                  <a:lnTo>
                    <a:pt x="516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0" y="84"/>
                  </a:lnTo>
                  <a:lnTo>
                    <a:pt x="510" y="90"/>
                  </a:lnTo>
                  <a:lnTo>
                    <a:pt x="504" y="90"/>
                  </a:lnTo>
                  <a:lnTo>
                    <a:pt x="486" y="90"/>
                  </a:lnTo>
                  <a:lnTo>
                    <a:pt x="492" y="138"/>
                  </a:lnTo>
                  <a:lnTo>
                    <a:pt x="498" y="168"/>
                  </a:lnTo>
                  <a:lnTo>
                    <a:pt x="516" y="168"/>
                  </a:lnTo>
                  <a:lnTo>
                    <a:pt x="528" y="174"/>
                  </a:lnTo>
                  <a:lnTo>
                    <a:pt x="534" y="168"/>
                  </a:lnTo>
                  <a:lnTo>
                    <a:pt x="558" y="174"/>
                  </a:lnTo>
                  <a:lnTo>
                    <a:pt x="564" y="168"/>
                  </a:lnTo>
                  <a:lnTo>
                    <a:pt x="570" y="168"/>
                  </a:lnTo>
                  <a:lnTo>
                    <a:pt x="576" y="174"/>
                  </a:lnTo>
                  <a:lnTo>
                    <a:pt x="588" y="168"/>
                  </a:lnTo>
                  <a:lnTo>
                    <a:pt x="594" y="168"/>
                  </a:lnTo>
                  <a:lnTo>
                    <a:pt x="594" y="186"/>
                  </a:lnTo>
                  <a:lnTo>
                    <a:pt x="606" y="198"/>
                  </a:lnTo>
                  <a:lnTo>
                    <a:pt x="600" y="210"/>
                  </a:lnTo>
                  <a:lnTo>
                    <a:pt x="588" y="234"/>
                  </a:lnTo>
                  <a:lnTo>
                    <a:pt x="564" y="246"/>
                  </a:lnTo>
                  <a:lnTo>
                    <a:pt x="546" y="258"/>
                  </a:lnTo>
                  <a:lnTo>
                    <a:pt x="540" y="270"/>
                  </a:lnTo>
                  <a:lnTo>
                    <a:pt x="534" y="294"/>
                  </a:lnTo>
                  <a:lnTo>
                    <a:pt x="528" y="300"/>
                  </a:lnTo>
                  <a:lnTo>
                    <a:pt x="516" y="294"/>
                  </a:lnTo>
                  <a:lnTo>
                    <a:pt x="510" y="300"/>
                  </a:lnTo>
                  <a:lnTo>
                    <a:pt x="498" y="318"/>
                  </a:lnTo>
                  <a:lnTo>
                    <a:pt x="492" y="324"/>
                  </a:lnTo>
                  <a:lnTo>
                    <a:pt x="486" y="336"/>
                  </a:lnTo>
                  <a:lnTo>
                    <a:pt x="486" y="354"/>
                  </a:lnTo>
                  <a:lnTo>
                    <a:pt x="486" y="384"/>
                  </a:lnTo>
                  <a:lnTo>
                    <a:pt x="474" y="408"/>
                  </a:lnTo>
                  <a:lnTo>
                    <a:pt x="450" y="426"/>
                  </a:lnTo>
                  <a:lnTo>
                    <a:pt x="444" y="444"/>
                  </a:lnTo>
                  <a:lnTo>
                    <a:pt x="426" y="474"/>
                  </a:lnTo>
                  <a:lnTo>
                    <a:pt x="420" y="486"/>
                  </a:lnTo>
                  <a:lnTo>
                    <a:pt x="414" y="486"/>
                  </a:lnTo>
                  <a:lnTo>
                    <a:pt x="414" y="498"/>
                  </a:lnTo>
                  <a:lnTo>
                    <a:pt x="378" y="504"/>
                  </a:lnTo>
                  <a:lnTo>
                    <a:pt x="348" y="510"/>
                  </a:lnTo>
                  <a:lnTo>
                    <a:pt x="330" y="510"/>
                  </a:lnTo>
                  <a:lnTo>
                    <a:pt x="324" y="504"/>
                  </a:lnTo>
                  <a:lnTo>
                    <a:pt x="318" y="504"/>
                  </a:lnTo>
                  <a:lnTo>
                    <a:pt x="312" y="504"/>
                  </a:lnTo>
                  <a:lnTo>
                    <a:pt x="312" y="498"/>
                  </a:lnTo>
                  <a:lnTo>
                    <a:pt x="312" y="486"/>
                  </a:lnTo>
                  <a:lnTo>
                    <a:pt x="312" y="480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56"/>
                  </a:lnTo>
                  <a:lnTo>
                    <a:pt x="312" y="450"/>
                  </a:lnTo>
                  <a:lnTo>
                    <a:pt x="306" y="444"/>
                  </a:lnTo>
                  <a:lnTo>
                    <a:pt x="306" y="438"/>
                  </a:lnTo>
                  <a:lnTo>
                    <a:pt x="300" y="426"/>
                  </a:lnTo>
                  <a:lnTo>
                    <a:pt x="300" y="420"/>
                  </a:lnTo>
                  <a:lnTo>
                    <a:pt x="294" y="414"/>
                  </a:lnTo>
                  <a:lnTo>
                    <a:pt x="294" y="408"/>
                  </a:lnTo>
                  <a:lnTo>
                    <a:pt x="270" y="408"/>
                  </a:lnTo>
                  <a:lnTo>
                    <a:pt x="246" y="408"/>
                  </a:lnTo>
                  <a:lnTo>
                    <a:pt x="222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56" y="402"/>
                  </a:lnTo>
                  <a:lnTo>
                    <a:pt x="144" y="396"/>
                  </a:lnTo>
                  <a:lnTo>
                    <a:pt x="126" y="396"/>
                  </a:lnTo>
                  <a:lnTo>
                    <a:pt x="108" y="408"/>
                  </a:lnTo>
                  <a:lnTo>
                    <a:pt x="102" y="414"/>
                  </a:lnTo>
                  <a:lnTo>
                    <a:pt x="102" y="420"/>
                  </a:lnTo>
                  <a:lnTo>
                    <a:pt x="96" y="426"/>
                  </a:lnTo>
                  <a:lnTo>
                    <a:pt x="96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78" y="450"/>
                  </a:lnTo>
                  <a:lnTo>
                    <a:pt x="60" y="45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4" name="Freeform 29">
              <a:extLst>
                <a:ext uri="{FF2B5EF4-FFF2-40B4-BE49-F238E27FC236}">
                  <a16:creationId xmlns:a16="http://schemas.microsoft.com/office/drawing/2014/main" id="{B6AC2B96-1504-4082-8778-17130FDA021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401" y="3537698"/>
              <a:ext cx="559048" cy="641876"/>
            </a:xfrm>
            <a:custGeom>
              <a:avLst/>
              <a:gdLst>
                <a:gd name="T0" fmla="*/ 39 w 1056"/>
                <a:gd name="T1" fmla="*/ 94 h 1206"/>
                <a:gd name="T2" fmla="*/ 35 w 1056"/>
                <a:gd name="T3" fmla="*/ 103 h 1206"/>
                <a:gd name="T4" fmla="*/ 29 w 1056"/>
                <a:gd name="T5" fmla="*/ 99 h 1206"/>
                <a:gd name="T6" fmla="*/ 23 w 1056"/>
                <a:gd name="T7" fmla="*/ 94 h 1206"/>
                <a:gd name="T8" fmla="*/ 21 w 1056"/>
                <a:gd name="T9" fmla="*/ 91 h 1206"/>
                <a:gd name="T10" fmla="*/ 18 w 1056"/>
                <a:gd name="T11" fmla="*/ 89 h 1206"/>
                <a:gd name="T12" fmla="*/ 15 w 1056"/>
                <a:gd name="T13" fmla="*/ 86 h 1206"/>
                <a:gd name="T14" fmla="*/ 11 w 1056"/>
                <a:gd name="T15" fmla="*/ 83 h 1206"/>
                <a:gd name="T16" fmla="*/ 8 w 1056"/>
                <a:gd name="T17" fmla="*/ 81 h 1206"/>
                <a:gd name="T18" fmla="*/ 6 w 1056"/>
                <a:gd name="T19" fmla="*/ 79 h 1206"/>
                <a:gd name="T20" fmla="*/ 13 w 1056"/>
                <a:gd name="T21" fmla="*/ 78 h 1206"/>
                <a:gd name="T22" fmla="*/ 8 w 1056"/>
                <a:gd name="T23" fmla="*/ 75 h 1206"/>
                <a:gd name="T24" fmla="*/ 13 w 1056"/>
                <a:gd name="T25" fmla="*/ 71 h 1206"/>
                <a:gd name="T26" fmla="*/ 10 w 1056"/>
                <a:gd name="T27" fmla="*/ 63 h 1206"/>
                <a:gd name="T28" fmla="*/ 6 w 1056"/>
                <a:gd name="T29" fmla="*/ 66 h 1206"/>
                <a:gd name="T30" fmla="*/ 1 w 1056"/>
                <a:gd name="T31" fmla="*/ 63 h 1206"/>
                <a:gd name="T32" fmla="*/ 1 w 1056"/>
                <a:gd name="T33" fmla="*/ 59 h 1206"/>
                <a:gd name="T34" fmla="*/ 3 w 1056"/>
                <a:gd name="T35" fmla="*/ 57 h 1206"/>
                <a:gd name="T36" fmla="*/ 6 w 1056"/>
                <a:gd name="T37" fmla="*/ 55 h 1206"/>
                <a:gd name="T38" fmla="*/ 10 w 1056"/>
                <a:gd name="T39" fmla="*/ 51 h 1206"/>
                <a:gd name="T40" fmla="*/ 11 w 1056"/>
                <a:gd name="T41" fmla="*/ 46 h 1206"/>
                <a:gd name="T42" fmla="*/ 14 w 1056"/>
                <a:gd name="T43" fmla="*/ 42 h 1206"/>
                <a:gd name="T44" fmla="*/ 15 w 1056"/>
                <a:gd name="T45" fmla="*/ 36 h 1206"/>
                <a:gd name="T46" fmla="*/ 17 w 1056"/>
                <a:gd name="T47" fmla="*/ 34 h 1206"/>
                <a:gd name="T48" fmla="*/ 20 w 1056"/>
                <a:gd name="T49" fmla="*/ 31 h 1206"/>
                <a:gd name="T50" fmla="*/ 21 w 1056"/>
                <a:gd name="T51" fmla="*/ 29 h 1206"/>
                <a:gd name="T52" fmla="*/ 23 w 1056"/>
                <a:gd name="T53" fmla="*/ 22 h 1206"/>
                <a:gd name="T54" fmla="*/ 35 w 1056"/>
                <a:gd name="T55" fmla="*/ 22 h 1206"/>
                <a:gd name="T56" fmla="*/ 41 w 1056"/>
                <a:gd name="T57" fmla="*/ 18 h 1206"/>
                <a:gd name="T58" fmla="*/ 54 w 1056"/>
                <a:gd name="T59" fmla="*/ 20 h 1206"/>
                <a:gd name="T60" fmla="*/ 54 w 1056"/>
                <a:gd name="T61" fmla="*/ 26 h 1206"/>
                <a:gd name="T62" fmla="*/ 64 w 1056"/>
                <a:gd name="T63" fmla="*/ 25 h 1206"/>
                <a:gd name="T64" fmla="*/ 71 w 1056"/>
                <a:gd name="T65" fmla="*/ 10 h 1206"/>
                <a:gd name="T66" fmla="*/ 80 w 1056"/>
                <a:gd name="T67" fmla="*/ 1 h 1206"/>
                <a:gd name="T68" fmla="*/ 86 w 1056"/>
                <a:gd name="T69" fmla="*/ 2 h 1206"/>
                <a:gd name="T70" fmla="*/ 91 w 1056"/>
                <a:gd name="T71" fmla="*/ 13 h 1206"/>
                <a:gd name="T72" fmla="*/ 88 w 1056"/>
                <a:gd name="T73" fmla="*/ 17 h 1206"/>
                <a:gd name="T74" fmla="*/ 89 w 1056"/>
                <a:gd name="T75" fmla="*/ 21 h 1206"/>
                <a:gd name="T76" fmla="*/ 86 w 1056"/>
                <a:gd name="T77" fmla="*/ 25 h 1206"/>
                <a:gd name="T78" fmla="*/ 85 w 1056"/>
                <a:gd name="T79" fmla="*/ 31 h 1206"/>
                <a:gd name="T80" fmla="*/ 83 w 1056"/>
                <a:gd name="T81" fmla="*/ 36 h 1206"/>
                <a:gd name="T82" fmla="*/ 80 w 1056"/>
                <a:gd name="T83" fmla="*/ 42 h 1206"/>
                <a:gd name="T84" fmla="*/ 80 w 1056"/>
                <a:gd name="T85" fmla="*/ 47 h 1206"/>
                <a:gd name="T86" fmla="*/ 77 w 1056"/>
                <a:gd name="T87" fmla="*/ 55 h 1206"/>
                <a:gd name="T88" fmla="*/ 75 w 1056"/>
                <a:gd name="T89" fmla="*/ 57 h 1206"/>
                <a:gd name="T90" fmla="*/ 66 w 1056"/>
                <a:gd name="T91" fmla="*/ 57 h 1206"/>
                <a:gd name="T92" fmla="*/ 66 w 1056"/>
                <a:gd name="T93" fmla="*/ 51 h 1206"/>
                <a:gd name="T94" fmla="*/ 48 w 1056"/>
                <a:gd name="T95" fmla="*/ 50 h 1206"/>
                <a:gd name="T96" fmla="*/ 46 w 1056"/>
                <a:gd name="T97" fmla="*/ 55 h 1206"/>
                <a:gd name="T98" fmla="*/ 42 w 1056"/>
                <a:gd name="T99" fmla="*/ 59 h 1206"/>
                <a:gd name="T100" fmla="*/ 41 w 1056"/>
                <a:gd name="T101" fmla="*/ 62 h 1206"/>
                <a:gd name="T102" fmla="*/ 43 w 1056"/>
                <a:gd name="T103" fmla="*/ 67 h 1206"/>
                <a:gd name="T104" fmla="*/ 42 w 1056"/>
                <a:gd name="T105" fmla="*/ 72 h 1206"/>
                <a:gd name="T106" fmla="*/ 39 w 1056"/>
                <a:gd name="T107" fmla="*/ 77 h 1206"/>
                <a:gd name="T108" fmla="*/ 36 w 1056"/>
                <a:gd name="T109" fmla="*/ 80 h 1206"/>
                <a:gd name="T110" fmla="*/ 37 w 1056"/>
                <a:gd name="T111" fmla="*/ 83 h 1206"/>
                <a:gd name="T112" fmla="*/ 40 w 1056"/>
                <a:gd name="T113" fmla="*/ 87 h 1206"/>
                <a:gd name="T114" fmla="*/ 42 w 1056"/>
                <a:gd name="T115" fmla="*/ 89 h 12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56"/>
                <a:gd name="T175" fmla="*/ 0 h 1206"/>
                <a:gd name="T176" fmla="*/ 1056 w 1056"/>
                <a:gd name="T177" fmla="*/ 1206 h 12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56" h="1206">
                  <a:moveTo>
                    <a:pt x="492" y="1032"/>
                  </a:moveTo>
                  <a:lnTo>
                    <a:pt x="486" y="1038"/>
                  </a:lnTo>
                  <a:lnTo>
                    <a:pt x="486" y="1044"/>
                  </a:lnTo>
                  <a:lnTo>
                    <a:pt x="480" y="1044"/>
                  </a:lnTo>
                  <a:lnTo>
                    <a:pt x="474" y="1056"/>
                  </a:lnTo>
                  <a:lnTo>
                    <a:pt x="462" y="1068"/>
                  </a:lnTo>
                  <a:lnTo>
                    <a:pt x="456" y="1080"/>
                  </a:lnTo>
                  <a:lnTo>
                    <a:pt x="450" y="1080"/>
                  </a:lnTo>
                  <a:lnTo>
                    <a:pt x="450" y="1086"/>
                  </a:lnTo>
                  <a:lnTo>
                    <a:pt x="450" y="1092"/>
                  </a:lnTo>
                  <a:lnTo>
                    <a:pt x="444" y="1104"/>
                  </a:lnTo>
                  <a:lnTo>
                    <a:pt x="444" y="1116"/>
                  </a:lnTo>
                  <a:lnTo>
                    <a:pt x="438" y="1128"/>
                  </a:lnTo>
                  <a:lnTo>
                    <a:pt x="432" y="1134"/>
                  </a:lnTo>
                  <a:lnTo>
                    <a:pt x="432" y="1140"/>
                  </a:lnTo>
                  <a:lnTo>
                    <a:pt x="420" y="1152"/>
                  </a:lnTo>
                  <a:lnTo>
                    <a:pt x="420" y="1158"/>
                  </a:lnTo>
                  <a:lnTo>
                    <a:pt x="408" y="1182"/>
                  </a:lnTo>
                  <a:lnTo>
                    <a:pt x="396" y="1194"/>
                  </a:lnTo>
                  <a:lnTo>
                    <a:pt x="390" y="1206"/>
                  </a:lnTo>
                  <a:lnTo>
                    <a:pt x="390" y="1200"/>
                  </a:lnTo>
                  <a:lnTo>
                    <a:pt x="384" y="1194"/>
                  </a:lnTo>
                  <a:lnTo>
                    <a:pt x="378" y="1188"/>
                  </a:lnTo>
                  <a:lnTo>
                    <a:pt x="366" y="1176"/>
                  </a:lnTo>
                  <a:lnTo>
                    <a:pt x="366" y="1170"/>
                  </a:lnTo>
                  <a:lnTo>
                    <a:pt x="348" y="1152"/>
                  </a:lnTo>
                  <a:lnTo>
                    <a:pt x="336" y="1140"/>
                  </a:lnTo>
                  <a:lnTo>
                    <a:pt x="330" y="1134"/>
                  </a:lnTo>
                  <a:lnTo>
                    <a:pt x="324" y="1128"/>
                  </a:lnTo>
                  <a:lnTo>
                    <a:pt x="318" y="1122"/>
                  </a:lnTo>
                  <a:lnTo>
                    <a:pt x="312" y="1116"/>
                  </a:lnTo>
                  <a:lnTo>
                    <a:pt x="306" y="1110"/>
                  </a:lnTo>
                  <a:lnTo>
                    <a:pt x="300" y="1104"/>
                  </a:lnTo>
                  <a:lnTo>
                    <a:pt x="294" y="1098"/>
                  </a:lnTo>
                  <a:lnTo>
                    <a:pt x="276" y="1080"/>
                  </a:lnTo>
                  <a:lnTo>
                    <a:pt x="270" y="1080"/>
                  </a:lnTo>
                  <a:lnTo>
                    <a:pt x="270" y="1074"/>
                  </a:lnTo>
                  <a:lnTo>
                    <a:pt x="264" y="1068"/>
                  </a:lnTo>
                  <a:lnTo>
                    <a:pt x="258" y="1062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40" y="1050"/>
                  </a:lnTo>
                  <a:lnTo>
                    <a:pt x="234" y="1044"/>
                  </a:lnTo>
                  <a:lnTo>
                    <a:pt x="228" y="1044"/>
                  </a:lnTo>
                  <a:lnTo>
                    <a:pt x="222" y="1038"/>
                  </a:lnTo>
                  <a:lnTo>
                    <a:pt x="222" y="1032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6"/>
                  </a:lnTo>
                  <a:lnTo>
                    <a:pt x="204" y="1020"/>
                  </a:lnTo>
                  <a:lnTo>
                    <a:pt x="204" y="1014"/>
                  </a:lnTo>
                  <a:lnTo>
                    <a:pt x="198" y="1014"/>
                  </a:lnTo>
                  <a:lnTo>
                    <a:pt x="192" y="1014"/>
                  </a:lnTo>
                  <a:lnTo>
                    <a:pt x="192" y="1008"/>
                  </a:lnTo>
                  <a:lnTo>
                    <a:pt x="186" y="1008"/>
                  </a:lnTo>
                  <a:lnTo>
                    <a:pt x="186" y="1002"/>
                  </a:lnTo>
                  <a:lnTo>
                    <a:pt x="180" y="1002"/>
                  </a:lnTo>
                  <a:lnTo>
                    <a:pt x="174" y="996"/>
                  </a:lnTo>
                  <a:lnTo>
                    <a:pt x="168" y="996"/>
                  </a:lnTo>
                  <a:lnTo>
                    <a:pt x="168" y="990"/>
                  </a:lnTo>
                  <a:lnTo>
                    <a:pt x="162" y="990"/>
                  </a:lnTo>
                  <a:lnTo>
                    <a:pt x="162" y="984"/>
                  </a:lnTo>
                  <a:lnTo>
                    <a:pt x="150" y="978"/>
                  </a:lnTo>
                  <a:lnTo>
                    <a:pt x="144" y="972"/>
                  </a:lnTo>
                  <a:lnTo>
                    <a:pt x="138" y="972"/>
                  </a:lnTo>
                  <a:lnTo>
                    <a:pt x="138" y="966"/>
                  </a:lnTo>
                  <a:lnTo>
                    <a:pt x="132" y="966"/>
                  </a:lnTo>
                  <a:lnTo>
                    <a:pt x="126" y="960"/>
                  </a:lnTo>
                  <a:lnTo>
                    <a:pt x="126" y="954"/>
                  </a:lnTo>
                  <a:lnTo>
                    <a:pt x="120" y="954"/>
                  </a:lnTo>
                  <a:lnTo>
                    <a:pt x="114" y="948"/>
                  </a:lnTo>
                  <a:lnTo>
                    <a:pt x="108" y="948"/>
                  </a:lnTo>
                  <a:lnTo>
                    <a:pt x="108" y="942"/>
                  </a:lnTo>
                  <a:lnTo>
                    <a:pt x="102" y="942"/>
                  </a:lnTo>
                  <a:lnTo>
                    <a:pt x="96" y="942"/>
                  </a:lnTo>
                  <a:lnTo>
                    <a:pt x="96" y="936"/>
                  </a:lnTo>
                  <a:lnTo>
                    <a:pt x="90" y="936"/>
                  </a:lnTo>
                  <a:lnTo>
                    <a:pt x="90" y="930"/>
                  </a:lnTo>
                  <a:lnTo>
                    <a:pt x="84" y="930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18"/>
                  </a:lnTo>
                  <a:lnTo>
                    <a:pt x="66" y="918"/>
                  </a:lnTo>
                  <a:lnTo>
                    <a:pt x="66" y="912"/>
                  </a:lnTo>
                  <a:lnTo>
                    <a:pt x="66" y="906"/>
                  </a:lnTo>
                  <a:lnTo>
                    <a:pt x="72" y="906"/>
                  </a:lnTo>
                  <a:lnTo>
                    <a:pt x="84" y="906"/>
                  </a:lnTo>
                  <a:lnTo>
                    <a:pt x="90" y="906"/>
                  </a:lnTo>
                  <a:lnTo>
                    <a:pt x="120" y="930"/>
                  </a:lnTo>
                  <a:lnTo>
                    <a:pt x="126" y="936"/>
                  </a:lnTo>
                  <a:lnTo>
                    <a:pt x="138" y="936"/>
                  </a:lnTo>
                  <a:lnTo>
                    <a:pt x="138" y="930"/>
                  </a:lnTo>
                  <a:lnTo>
                    <a:pt x="144" y="930"/>
                  </a:lnTo>
                  <a:lnTo>
                    <a:pt x="144" y="924"/>
                  </a:lnTo>
                  <a:lnTo>
                    <a:pt x="150" y="900"/>
                  </a:lnTo>
                  <a:lnTo>
                    <a:pt x="138" y="894"/>
                  </a:lnTo>
                  <a:lnTo>
                    <a:pt x="126" y="894"/>
                  </a:lnTo>
                  <a:lnTo>
                    <a:pt x="108" y="888"/>
                  </a:lnTo>
                  <a:lnTo>
                    <a:pt x="84" y="882"/>
                  </a:lnTo>
                  <a:lnTo>
                    <a:pt x="72" y="882"/>
                  </a:lnTo>
                  <a:lnTo>
                    <a:pt x="72" y="876"/>
                  </a:lnTo>
                  <a:lnTo>
                    <a:pt x="78" y="870"/>
                  </a:lnTo>
                  <a:lnTo>
                    <a:pt x="90" y="870"/>
                  </a:lnTo>
                  <a:lnTo>
                    <a:pt x="96" y="870"/>
                  </a:lnTo>
                  <a:lnTo>
                    <a:pt x="102" y="870"/>
                  </a:lnTo>
                  <a:lnTo>
                    <a:pt x="114" y="870"/>
                  </a:lnTo>
                  <a:lnTo>
                    <a:pt x="120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34"/>
                  </a:lnTo>
                  <a:lnTo>
                    <a:pt x="132" y="828"/>
                  </a:lnTo>
                  <a:lnTo>
                    <a:pt x="132" y="816"/>
                  </a:lnTo>
                  <a:lnTo>
                    <a:pt x="150" y="816"/>
                  </a:lnTo>
                  <a:lnTo>
                    <a:pt x="150" y="804"/>
                  </a:lnTo>
                  <a:lnTo>
                    <a:pt x="144" y="798"/>
                  </a:lnTo>
                  <a:lnTo>
                    <a:pt x="156" y="762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32"/>
                  </a:lnTo>
                  <a:lnTo>
                    <a:pt x="144" y="726"/>
                  </a:lnTo>
                  <a:lnTo>
                    <a:pt x="132" y="726"/>
                  </a:lnTo>
                  <a:lnTo>
                    <a:pt x="120" y="732"/>
                  </a:lnTo>
                  <a:lnTo>
                    <a:pt x="114" y="744"/>
                  </a:lnTo>
                  <a:lnTo>
                    <a:pt x="108" y="750"/>
                  </a:lnTo>
                  <a:lnTo>
                    <a:pt x="96" y="768"/>
                  </a:lnTo>
                  <a:lnTo>
                    <a:pt x="96" y="774"/>
                  </a:lnTo>
                  <a:lnTo>
                    <a:pt x="90" y="780"/>
                  </a:lnTo>
                  <a:lnTo>
                    <a:pt x="84" y="804"/>
                  </a:lnTo>
                  <a:lnTo>
                    <a:pt x="72" y="774"/>
                  </a:lnTo>
                  <a:lnTo>
                    <a:pt x="72" y="768"/>
                  </a:lnTo>
                  <a:lnTo>
                    <a:pt x="66" y="762"/>
                  </a:lnTo>
                  <a:lnTo>
                    <a:pt x="60" y="750"/>
                  </a:lnTo>
                  <a:lnTo>
                    <a:pt x="54" y="750"/>
                  </a:lnTo>
                  <a:lnTo>
                    <a:pt x="48" y="750"/>
                  </a:lnTo>
                  <a:lnTo>
                    <a:pt x="42" y="750"/>
                  </a:lnTo>
                  <a:lnTo>
                    <a:pt x="30" y="744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12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2" y="702"/>
                  </a:lnTo>
                  <a:lnTo>
                    <a:pt x="18" y="696"/>
                  </a:lnTo>
                  <a:lnTo>
                    <a:pt x="12" y="690"/>
                  </a:lnTo>
                  <a:lnTo>
                    <a:pt x="12" y="684"/>
                  </a:lnTo>
                  <a:lnTo>
                    <a:pt x="12" y="678"/>
                  </a:lnTo>
                  <a:lnTo>
                    <a:pt x="12" y="672"/>
                  </a:lnTo>
                  <a:lnTo>
                    <a:pt x="18" y="672"/>
                  </a:lnTo>
                  <a:lnTo>
                    <a:pt x="18" y="666"/>
                  </a:lnTo>
                  <a:lnTo>
                    <a:pt x="24" y="666"/>
                  </a:lnTo>
                  <a:lnTo>
                    <a:pt x="24" y="660"/>
                  </a:lnTo>
                  <a:lnTo>
                    <a:pt x="30" y="660"/>
                  </a:lnTo>
                  <a:lnTo>
                    <a:pt x="30" y="654"/>
                  </a:lnTo>
                  <a:lnTo>
                    <a:pt x="36" y="654"/>
                  </a:lnTo>
                  <a:lnTo>
                    <a:pt x="36" y="648"/>
                  </a:lnTo>
                  <a:lnTo>
                    <a:pt x="42" y="648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60" y="630"/>
                  </a:lnTo>
                  <a:lnTo>
                    <a:pt x="66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78" y="624"/>
                  </a:lnTo>
                  <a:lnTo>
                    <a:pt x="84" y="618"/>
                  </a:lnTo>
                  <a:lnTo>
                    <a:pt x="84" y="612"/>
                  </a:lnTo>
                  <a:lnTo>
                    <a:pt x="90" y="612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20" y="588"/>
                  </a:lnTo>
                  <a:lnTo>
                    <a:pt x="120" y="582"/>
                  </a:lnTo>
                  <a:lnTo>
                    <a:pt x="120" y="576"/>
                  </a:lnTo>
                  <a:lnTo>
                    <a:pt x="120" y="570"/>
                  </a:lnTo>
                  <a:lnTo>
                    <a:pt x="126" y="564"/>
                  </a:lnTo>
                  <a:lnTo>
                    <a:pt x="126" y="558"/>
                  </a:lnTo>
                  <a:lnTo>
                    <a:pt x="126" y="552"/>
                  </a:lnTo>
                  <a:lnTo>
                    <a:pt x="126" y="546"/>
                  </a:lnTo>
                  <a:lnTo>
                    <a:pt x="126" y="534"/>
                  </a:lnTo>
                  <a:lnTo>
                    <a:pt x="126" y="516"/>
                  </a:lnTo>
                  <a:lnTo>
                    <a:pt x="126" y="510"/>
                  </a:lnTo>
                  <a:lnTo>
                    <a:pt x="126" y="504"/>
                  </a:lnTo>
                  <a:lnTo>
                    <a:pt x="126" y="498"/>
                  </a:lnTo>
                  <a:lnTo>
                    <a:pt x="132" y="498"/>
                  </a:lnTo>
                  <a:lnTo>
                    <a:pt x="132" y="492"/>
                  </a:lnTo>
                  <a:lnTo>
                    <a:pt x="138" y="492"/>
                  </a:lnTo>
                  <a:lnTo>
                    <a:pt x="144" y="486"/>
                  </a:lnTo>
                  <a:lnTo>
                    <a:pt x="156" y="480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6" y="462"/>
                  </a:lnTo>
                  <a:lnTo>
                    <a:pt x="156" y="456"/>
                  </a:lnTo>
                  <a:lnTo>
                    <a:pt x="156" y="450"/>
                  </a:lnTo>
                  <a:lnTo>
                    <a:pt x="162" y="438"/>
                  </a:lnTo>
                  <a:lnTo>
                    <a:pt x="168" y="426"/>
                  </a:lnTo>
                  <a:lnTo>
                    <a:pt x="174" y="426"/>
                  </a:lnTo>
                  <a:lnTo>
                    <a:pt x="174" y="420"/>
                  </a:lnTo>
                  <a:lnTo>
                    <a:pt x="180" y="414"/>
                  </a:lnTo>
                  <a:lnTo>
                    <a:pt x="186" y="420"/>
                  </a:lnTo>
                  <a:lnTo>
                    <a:pt x="186" y="414"/>
                  </a:lnTo>
                  <a:lnTo>
                    <a:pt x="180" y="408"/>
                  </a:lnTo>
                  <a:lnTo>
                    <a:pt x="180" y="402"/>
                  </a:lnTo>
                  <a:lnTo>
                    <a:pt x="186" y="402"/>
                  </a:lnTo>
                  <a:lnTo>
                    <a:pt x="192" y="402"/>
                  </a:lnTo>
                  <a:lnTo>
                    <a:pt x="192" y="396"/>
                  </a:lnTo>
                  <a:lnTo>
                    <a:pt x="198" y="396"/>
                  </a:lnTo>
                  <a:lnTo>
                    <a:pt x="204" y="396"/>
                  </a:lnTo>
                  <a:lnTo>
                    <a:pt x="210" y="396"/>
                  </a:lnTo>
                  <a:lnTo>
                    <a:pt x="210" y="390"/>
                  </a:lnTo>
                  <a:lnTo>
                    <a:pt x="216" y="390"/>
                  </a:lnTo>
                  <a:lnTo>
                    <a:pt x="216" y="384"/>
                  </a:lnTo>
                  <a:lnTo>
                    <a:pt x="222" y="384"/>
                  </a:lnTo>
                  <a:lnTo>
                    <a:pt x="222" y="378"/>
                  </a:lnTo>
                  <a:lnTo>
                    <a:pt x="228" y="372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0" y="348"/>
                  </a:lnTo>
                  <a:lnTo>
                    <a:pt x="234" y="342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46" y="330"/>
                  </a:lnTo>
                  <a:lnTo>
                    <a:pt x="246" y="324"/>
                  </a:lnTo>
                  <a:lnTo>
                    <a:pt x="234" y="318"/>
                  </a:lnTo>
                  <a:lnTo>
                    <a:pt x="234" y="312"/>
                  </a:lnTo>
                  <a:lnTo>
                    <a:pt x="234" y="300"/>
                  </a:lnTo>
                  <a:lnTo>
                    <a:pt x="240" y="288"/>
                  </a:lnTo>
                  <a:lnTo>
                    <a:pt x="240" y="276"/>
                  </a:lnTo>
                  <a:lnTo>
                    <a:pt x="246" y="258"/>
                  </a:lnTo>
                  <a:lnTo>
                    <a:pt x="258" y="252"/>
                  </a:lnTo>
                  <a:lnTo>
                    <a:pt x="270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294" y="252"/>
                  </a:lnTo>
                  <a:lnTo>
                    <a:pt x="300" y="258"/>
                  </a:lnTo>
                  <a:lnTo>
                    <a:pt x="318" y="252"/>
                  </a:lnTo>
                  <a:lnTo>
                    <a:pt x="366" y="252"/>
                  </a:lnTo>
                  <a:lnTo>
                    <a:pt x="378" y="252"/>
                  </a:lnTo>
                  <a:lnTo>
                    <a:pt x="396" y="252"/>
                  </a:lnTo>
                  <a:lnTo>
                    <a:pt x="408" y="252"/>
                  </a:lnTo>
                  <a:lnTo>
                    <a:pt x="408" y="246"/>
                  </a:lnTo>
                  <a:lnTo>
                    <a:pt x="414" y="240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20" y="216"/>
                  </a:lnTo>
                  <a:lnTo>
                    <a:pt x="426" y="210"/>
                  </a:lnTo>
                  <a:lnTo>
                    <a:pt x="444" y="198"/>
                  </a:lnTo>
                  <a:lnTo>
                    <a:pt x="462" y="198"/>
                  </a:lnTo>
                  <a:lnTo>
                    <a:pt x="474" y="204"/>
                  </a:lnTo>
                  <a:lnTo>
                    <a:pt x="498" y="198"/>
                  </a:lnTo>
                  <a:lnTo>
                    <a:pt x="498" y="204"/>
                  </a:lnTo>
                  <a:lnTo>
                    <a:pt x="540" y="210"/>
                  </a:lnTo>
                  <a:lnTo>
                    <a:pt x="564" y="210"/>
                  </a:lnTo>
                  <a:lnTo>
                    <a:pt x="588" y="210"/>
                  </a:lnTo>
                  <a:lnTo>
                    <a:pt x="612" y="210"/>
                  </a:lnTo>
                  <a:lnTo>
                    <a:pt x="612" y="216"/>
                  </a:lnTo>
                  <a:lnTo>
                    <a:pt x="618" y="222"/>
                  </a:lnTo>
                  <a:lnTo>
                    <a:pt x="618" y="228"/>
                  </a:lnTo>
                  <a:lnTo>
                    <a:pt x="624" y="240"/>
                  </a:lnTo>
                  <a:lnTo>
                    <a:pt x="624" y="246"/>
                  </a:lnTo>
                  <a:lnTo>
                    <a:pt x="630" y="252"/>
                  </a:lnTo>
                  <a:lnTo>
                    <a:pt x="630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0" y="282"/>
                  </a:lnTo>
                  <a:lnTo>
                    <a:pt x="630" y="288"/>
                  </a:lnTo>
                  <a:lnTo>
                    <a:pt x="630" y="300"/>
                  </a:lnTo>
                  <a:lnTo>
                    <a:pt x="630" y="306"/>
                  </a:lnTo>
                  <a:lnTo>
                    <a:pt x="636" y="306"/>
                  </a:lnTo>
                  <a:lnTo>
                    <a:pt x="642" y="306"/>
                  </a:lnTo>
                  <a:lnTo>
                    <a:pt x="648" y="312"/>
                  </a:lnTo>
                  <a:lnTo>
                    <a:pt x="666" y="312"/>
                  </a:lnTo>
                  <a:lnTo>
                    <a:pt x="696" y="306"/>
                  </a:lnTo>
                  <a:lnTo>
                    <a:pt x="732" y="300"/>
                  </a:lnTo>
                  <a:lnTo>
                    <a:pt x="732" y="288"/>
                  </a:lnTo>
                  <a:lnTo>
                    <a:pt x="738" y="288"/>
                  </a:lnTo>
                  <a:lnTo>
                    <a:pt x="744" y="276"/>
                  </a:lnTo>
                  <a:lnTo>
                    <a:pt x="762" y="246"/>
                  </a:lnTo>
                  <a:lnTo>
                    <a:pt x="768" y="228"/>
                  </a:lnTo>
                  <a:lnTo>
                    <a:pt x="792" y="210"/>
                  </a:lnTo>
                  <a:lnTo>
                    <a:pt x="804" y="186"/>
                  </a:lnTo>
                  <a:lnTo>
                    <a:pt x="804" y="156"/>
                  </a:lnTo>
                  <a:lnTo>
                    <a:pt x="804" y="138"/>
                  </a:lnTo>
                  <a:lnTo>
                    <a:pt x="810" y="126"/>
                  </a:lnTo>
                  <a:lnTo>
                    <a:pt x="816" y="120"/>
                  </a:lnTo>
                  <a:lnTo>
                    <a:pt x="828" y="102"/>
                  </a:lnTo>
                  <a:lnTo>
                    <a:pt x="834" y="96"/>
                  </a:lnTo>
                  <a:lnTo>
                    <a:pt x="846" y="102"/>
                  </a:lnTo>
                  <a:lnTo>
                    <a:pt x="852" y="96"/>
                  </a:lnTo>
                  <a:lnTo>
                    <a:pt x="858" y="72"/>
                  </a:lnTo>
                  <a:lnTo>
                    <a:pt x="864" y="60"/>
                  </a:lnTo>
                  <a:lnTo>
                    <a:pt x="882" y="48"/>
                  </a:lnTo>
                  <a:lnTo>
                    <a:pt x="906" y="36"/>
                  </a:lnTo>
                  <a:lnTo>
                    <a:pt x="918" y="12"/>
                  </a:lnTo>
                  <a:lnTo>
                    <a:pt x="924" y="0"/>
                  </a:lnTo>
                  <a:lnTo>
                    <a:pt x="930" y="6"/>
                  </a:lnTo>
                  <a:lnTo>
                    <a:pt x="942" y="12"/>
                  </a:lnTo>
                  <a:lnTo>
                    <a:pt x="948" y="12"/>
                  </a:lnTo>
                  <a:lnTo>
                    <a:pt x="954" y="18"/>
                  </a:lnTo>
                  <a:lnTo>
                    <a:pt x="966" y="18"/>
                  </a:lnTo>
                  <a:lnTo>
                    <a:pt x="972" y="18"/>
                  </a:lnTo>
                  <a:lnTo>
                    <a:pt x="984" y="18"/>
                  </a:lnTo>
                  <a:lnTo>
                    <a:pt x="990" y="18"/>
                  </a:lnTo>
                  <a:lnTo>
                    <a:pt x="1002" y="48"/>
                  </a:lnTo>
                  <a:lnTo>
                    <a:pt x="1008" y="78"/>
                  </a:lnTo>
                  <a:lnTo>
                    <a:pt x="1020" y="78"/>
                  </a:lnTo>
                  <a:lnTo>
                    <a:pt x="1020" y="90"/>
                  </a:lnTo>
                  <a:lnTo>
                    <a:pt x="1026" y="102"/>
                  </a:lnTo>
                  <a:lnTo>
                    <a:pt x="1044" y="120"/>
                  </a:lnTo>
                  <a:lnTo>
                    <a:pt x="1044" y="132"/>
                  </a:lnTo>
                  <a:lnTo>
                    <a:pt x="1056" y="150"/>
                  </a:lnTo>
                  <a:lnTo>
                    <a:pt x="1050" y="150"/>
                  </a:lnTo>
                  <a:lnTo>
                    <a:pt x="1044" y="156"/>
                  </a:lnTo>
                  <a:lnTo>
                    <a:pt x="1044" y="162"/>
                  </a:lnTo>
                  <a:lnTo>
                    <a:pt x="1038" y="162"/>
                  </a:lnTo>
                  <a:lnTo>
                    <a:pt x="1032" y="162"/>
                  </a:lnTo>
                  <a:lnTo>
                    <a:pt x="1026" y="168"/>
                  </a:lnTo>
                  <a:lnTo>
                    <a:pt x="1014" y="174"/>
                  </a:lnTo>
                  <a:lnTo>
                    <a:pt x="1014" y="186"/>
                  </a:lnTo>
                  <a:lnTo>
                    <a:pt x="1014" y="192"/>
                  </a:lnTo>
                  <a:lnTo>
                    <a:pt x="1014" y="198"/>
                  </a:lnTo>
                  <a:lnTo>
                    <a:pt x="1020" y="204"/>
                  </a:lnTo>
                  <a:lnTo>
                    <a:pt x="1026" y="204"/>
                  </a:lnTo>
                  <a:lnTo>
                    <a:pt x="1032" y="204"/>
                  </a:lnTo>
                  <a:lnTo>
                    <a:pt x="1032" y="210"/>
                  </a:lnTo>
                  <a:lnTo>
                    <a:pt x="1038" y="210"/>
                  </a:lnTo>
                  <a:lnTo>
                    <a:pt x="1032" y="216"/>
                  </a:lnTo>
                  <a:lnTo>
                    <a:pt x="1026" y="228"/>
                  </a:lnTo>
                  <a:lnTo>
                    <a:pt x="1026" y="234"/>
                  </a:lnTo>
                  <a:lnTo>
                    <a:pt x="1032" y="240"/>
                  </a:lnTo>
                  <a:lnTo>
                    <a:pt x="1032" y="246"/>
                  </a:lnTo>
                  <a:lnTo>
                    <a:pt x="1032" y="252"/>
                  </a:lnTo>
                  <a:lnTo>
                    <a:pt x="1032" y="258"/>
                  </a:lnTo>
                  <a:lnTo>
                    <a:pt x="1038" y="264"/>
                  </a:lnTo>
                  <a:lnTo>
                    <a:pt x="1032" y="276"/>
                  </a:lnTo>
                  <a:lnTo>
                    <a:pt x="1026" y="276"/>
                  </a:lnTo>
                  <a:lnTo>
                    <a:pt x="1020" y="276"/>
                  </a:lnTo>
                  <a:lnTo>
                    <a:pt x="996" y="282"/>
                  </a:lnTo>
                  <a:lnTo>
                    <a:pt x="996" y="288"/>
                  </a:lnTo>
                  <a:lnTo>
                    <a:pt x="996" y="294"/>
                  </a:lnTo>
                  <a:lnTo>
                    <a:pt x="996" y="300"/>
                  </a:lnTo>
                  <a:lnTo>
                    <a:pt x="996" y="306"/>
                  </a:lnTo>
                  <a:lnTo>
                    <a:pt x="984" y="324"/>
                  </a:lnTo>
                  <a:lnTo>
                    <a:pt x="984" y="330"/>
                  </a:lnTo>
                  <a:lnTo>
                    <a:pt x="984" y="336"/>
                  </a:lnTo>
                  <a:lnTo>
                    <a:pt x="978" y="336"/>
                  </a:lnTo>
                  <a:lnTo>
                    <a:pt x="978" y="342"/>
                  </a:lnTo>
                  <a:lnTo>
                    <a:pt x="984" y="360"/>
                  </a:lnTo>
                  <a:lnTo>
                    <a:pt x="978" y="366"/>
                  </a:lnTo>
                  <a:lnTo>
                    <a:pt x="978" y="372"/>
                  </a:lnTo>
                  <a:lnTo>
                    <a:pt x="972" y="372"/>
                  </a:lnTo>
                  <a:lnTo>
                    <a:pt x="972" y="378"/>
                  </a:lnTo>
                  <a:lnTo>
                    <a:pt x="972" y="384"/>
                  </a:lnTo>
                  <a:lnTo>
                    <a:pt x="972" y="390"/>
                  </a:lnTo>
                  <a:lnTo>
                    <a:pt x="966" y="402"/>
                  </a:lnTo>
                  <a:lnTo>
                    <a:pt x="960" y="414"/>
                  </a:lnTo>
                  <a:lnTo>
                    <a:pt x="954" y="420"/>
                  </a:lnTo>
                  <a:lnTo>
                    <a:pt x="948" y="426"/>
                  </a:lnTo>
                  <a:lnTo>
                    <a:pt x="948" y="438"/>
                  </a:lnTo>
                  <a:lnTo>
                    <a:pt x="942" y="444"/>
                  </a:lnTo>
                  <a:lnTo>
                    <a:pt x="936" y="450"/>
                  </a:lnTo>
                  <a:lnTo>
                    <a:pt x="930" y="456"/>
                  </a:lnTo>
                  <a:lnTo>
                    <a:pt x="924" y="462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18" y="522"/>
                  </a:lnTo>
                  <a:lnTo>
                    <a:pt x="918" y="528"/>
                  </a:lnTo>
                  <a:lnTo>
                    <a:pt x="924" y="534"/>
                  </a:lnTo>
                  <a:lnTo>
                    <a:pt x="924" y="540"/>
                  </a:lnTo>
                  <a:lnTo>
                    <a:pt x="924" y="546"/>
                  </a:lnTo>
                  <a:lnTo>
                    <a:pt x="918" y="546"/>
                  </a:lnTo>
                  <a:lnTo>
                    <a:pt x="918" y="552"/>
                  </a:lnTo>
                  <a:lnTo>
                    <a:pt x="912" y="546"/>
                  </a:lnTo>
                  <a:lnTo>
                    <a:pt x="912" y="552"/>
                  </a:lnTo>
                  <a:lnTo>
                    <a:pt x="912" y="570"/>
                  </a:lnTo>
                  <a:lnTo>
                    <a:pt x="906" y="588"/>
                  </a:lnTo>
                  <a:lnTo>
                    <a:pt x="900" y="606"/>
                  </a:lnTo>
                  <a:lnTo>
                    <a:pt x="906" y="624"/>
                  </a:lnTo>
                  <a:lnTo>
                    <a:pt x="900" y="624"/>
                  </a:lnTo>
                  <a:lnTo>
                    <a:pt x="894" y="630"/>
                  </a:lnTo>
                  <a:lnTo>
                    <a:pt x="888" y="630"/>
                  </a:lnTo>
                  <a:lnTo>
                    <a:pt x="882" y="630"/>
                  </a:lnTo>
                  <a:lnTo>
                    <a:pt x="882" y="636"/>
                  </a:lnTo>
                  <a:lnTo>
                    <a:pt x="876" y="642"/>
                  </a:lnTo>
                  <a:lnTo>
                    <a:pt x="870" y="642"/>
                  </a:lnTo>
                  <a:lnTo>
                    <a:pt x="870" y="648"/>
                  </a:lnTo>
                  <a:lnTo>
                    <a:pt x="870" y="654"/>
                  </a:lnTo>
                  <a:lnTo>
                    <a:pt x="864" y="654"/>
                  </a:lnTo>
                  <a:lnTo>
                    <a:pt x="864" y="660"/>
                  </a:lnTo>
                  <a:lnTo>
                    <a:pt x="846" y="666"/>
                  </a:lnTo>
                  <a:lnTo>
                    <a:pt x="828" y="672"/>
                  </a:lnTo>
                  <a:lnTo>
                    <a:pt x="816" y="660"/>
                  </a:lnTo>
                  <a:lnTo>
                    <a:pt x="810" y="660"/>
                  </a:lnTo>
                  <a:lnTo>
                    <a:pt x="798" y="666"/>
                  </a:lnTo>
                  <a:lnTo>
                    <a:pt x="786" y="666"/>
                  </a:lnTo>
                  <a:lnTo>
                    <a:pt x="780" y="672"/>
                  </a:lnTo>
                  <a:lnTo>
                    <a:pt x="768" y="678"/>
                  </a:lnTo>
                  <a:lnTo>
                    <a:pt x="762" y="660"/>
                  </a:lnTo>
                  <a:lnTo>
                    <a:pt x="762" y="654"/>
                  </a:lnTo>
                  <a:lnTo>
                    <a:pt x="756" y="636"/>
                  </a:lnTo>
                  <a:lnTo>
                    <a:pt x="762" y="624"/>
                  </a:lnTo>
                  <a:lnTo>
                    <a:pt x="756" y="606"/>
                  </a:lnTo>
                  <a:lnTo>
                    <a:pt x="756" y="600"/>
                  </a:lnTo>
                  <a:lnTo>
                    <a:pt x="762" y="594"/>
                  </a:lnTo>
                  <a:lnTo>
                    <a:pt x="768" y="600"/>
                  </a:lnTo>
                  <a:lnTo>
                    <a:pt x="768" y="594"/>
                  </a:lnTo>
                  <a:lnTo>
                    <a:pt x="768" y="588"/>
                  </a:lnTo>
                  <a:lnTo>
                    <a:pt x="774" y="582"/>
                  </a:lnTo>
                  <a:lnTo>
                    <a:pt x="768" y="576"/>
                  </a:lnTo>
                  <a:lnTo>
                    <a:pt x="762" y="576"/>
                  </a:lnTo>
                  <a:lnTo>
                    <a:pt x="756" y="576"/>
                  </a:lnTo>
                  <a:lnTo>
                    <a:pt x="690" y="576"/>
                  </a:lnTo>
                  <a:lnTo>
                    <a:pt x="624" y="570"/>
                  </a:lnTo>
                  <a:lnTo>
                    <a:pt x="600" y="564"/>
                  </a:lnTo>
                  <a:lnTo>
                    <a:pt x="576" y="564"/>
                  </a:lnTo>
                  <a:lnTo>
                    <a:pt x="558" y="570"/>
                  </a:lnTo>
                  <a:lnTo>
                    <a:pt x="552" y="576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46" y="594"/>
                  </a:lnTo>
                  <a:lnTo>
                    <a:pt x="546" y="600"/>
                  </a:lnTo>
                  <a:lnTo>
                    <a:pt x="540" y="606"/>
                  </a:lnTo>
                  <a:lnTo>
                    <a:pt x="534" y="618"/>
                  </a:lnTo>
                  <a:lnTo>
                    <a:pt x="534" y="624"/>
                  </a:lnTo>
                  <a:lnTo>
                    <a:pt x="534" y="630"/>
                  </a:lnTo>
                  <a:lnTo>
                    <a:pt x="534" y="636"/>
                  </a:lnTo>
                  <a:lnTo>
                    <a:pt x="528" y="636"/>
                  </a:lnTo>
                  <a:lnTo>
                    <a:pt x="516" y="642"/>
                  </a:lnTo>
                  <a:lnTo>
                    <a:pt x="516" y="648"/>
                  </a:lnTo>
                  <a:lnTo>
                    <a:pt x="510" y="648"/>
                  </a:lnTo>
                  <a:lnTo>
                    <a:pt x="504" y="654"/>
                  </a:lnTo>
                  <a:lnTo>
                    <a:pt x="492" y="666"/>
                  </a:lnTo>
                  <a:lnTo>
                    <a:pt x="492" y="672"/>
                  </a:lnTo>
                  <a:lnTo>
                    <a:pt x="492" y="684"/>
                  </a:lnTo>
                  <a:lnTo>
                    <a:pt x="486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92" y="702"/>
                  </a:lnTo>
                  <a:lnTo>
                    <a:pt x="486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74" y="720"/>
                  </a:lnTo>
                  <a:lnTo>
                    <a:pt x="480" y="726"/>
                  </a:lnTo>
                  <a:lnTo>
                    <a:pt x="474" y="726"/>
                  </a:lnTo>
                  <a:lnTo>
                    <a:pt x="474" y="738"/>
                  </a:lnTo>
                  <a:lnTo>
                    <a:pt x="474" y="744"/>
                  </a:lnTo>
                  <a:lnTo>
                    <a:pt x="474" y="750"/>
                  </a:lnTo>
                  <a:lnTo>
                    <a:pt x="480" y="750"/>
                  </a:lnTo>
                  <a:lnTo>
                    <a:pt x="480" y="756"/>
                  </a:lnTo>
                  <a:lnTo>
                    <a:pt x="492" y="762"/>
                  </a:lnTo>
                  <a:lnTo>
                    <a:pt x="498" y="774"/>
                  </a:lnTo>
                  <a:lnTo>
                    <a:pt x="498" y="780"/>
                  </a:lnTo>
                  <a:lnTo>
                    <a:pt x="504" y="786"/>
                  </a:lnTo>
                  <a:lnTo>
                    <a:pt x="510" y="792"/>
                  </a:lnTo>
                  <a:lnTo>
                    <a:pt x="504" y="798"/>
                  </a:lnTo>
                  <a:lnTo>
                    <a:pt x="504" y="804"/>
                  </a:lnTo>
                  <a:lnTo>
                    <a:pt x="504" y="810"/>
                  </a:lnTo>
                  <a:lnTo>
                    <a:pt x="498" y="822"/>
                  </a:lnTo>
                  <a:lnTo>
                    <a:pt x="492" y="828"/>
                  </a:lnTo>
                  <a:lnTo>
                    <a:pt x="492" y="834"/>
                  </a:lnTo>
                  <a:lnTo>
                    <a:pt x="486" y="840"/>
                  </a:lnTo>
                  <a:lnTo>
                    <a:pt x="480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74" y="858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876"/>
                  </a:lnTo>
                  <a:lnTo>
                    <a:pt x="456" y="894"/>
                  </a:lnTo>
                  <a:lnTo>
                    <a:pt x="450" y="894"/>
                  </a:lnTo>
                  <a:lnTo>
                    <a:pt x="444" y="900"/>
                  </a:lnTo>
                  <a:lnTo>
                    <a:pt x="444" y="894"/>
                  </a:lnTo>
                  <a:lnTo>
                    <a:pt x="438" y="894"/>
                  </a:lnTo>
                  <a:lnTo>
                    <a:pt x="432" y="900"/>
                  </a:lnTo>
                  <a:lnTo>
                    <a:pt x="432" y="906"/>
                  </a:lnTo>
                  <a:lnTo>
                    <a:pt x="420" y="906"/>
                  </a:lnTo>
                  <a:lnTo>
                    <a:pt x="420" y="912"/>
                  </a:lnTo>
                  <a:lnTo>
                    <a:pt x="420" y="918"/>
                  </a:lnTo>
                  <a:lnTo>
                    <a:pt x="426" y="918"/>
                  </a:lnTo>
                  <a:lnTo>
                    <a:pt x="426" y="924"/>
                  </a:lnTo>
                  <a:lnTo>
                    <a:pt x="426" y="930"/>
                  </a:lnTo>
                  <a:lnTo>
                    <a:pt x="420" y="930"/>
                  </a:lnTo>
                  <a:lnTo>
                    <a:pt x="414" y="936"/>
                  </a:lnTo>
                  <a:lnTo>
                    <a:pt x="414" y="942"/>
                  </a:lnTo>
                  <a:lnTo>
                    <a:pt x="414" y="948"/>
                  </a:lnTo>
                  <a:lnTo>
                    <a:pt x="414" y="954"/>
                  </a:lnTo>
                  <a:lnTo>
                    <a:pt x="426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44" y="972"/>
                  </a:lnTo>
                  <a:lnTo>
                    <a:pt x="444" y="978"/>
                  </a:lnTo>
                  <a:lnTo>
                    <a:pt x="450" y="978"/>
                  </a:lnTo>
                  <a:lnTo>
                    <a:pt x="450" y="984"/>
                  </a:lnTo>
                  <a:lnTo>
                    <a:pt x="456" y="990"/>
                  </a:lnTo>
                  <a:lnTo>
                    <a:pt x="456" y="996"/>
                  </a:lnTo>
                  <a:lnTo>
                    <a:pt x="462" y="1008"/>
                  </a:lnTo>
                  <a:lnTo>
                    <a:pt x="468" y="1008"/>
                  </a:lnTo>
                  <a:lnTo>
                    <a:pt x="468" y="1002"/>
                  </a:lnTo>
                  <a:lnTo>
                    <a:pt x="474" y="1008"/>
                  </a:lnTo>
                  <a:lnTo>
                    <a:pt x="480" y="1002"/>
                  </a:lnTo>
                  <a:lnTo>
                    <a:pt x="486" y="1008"/>
                  </a:lnTo>
                  <a:lnTo>
                    <a:pt x="486" y="1014"/>
                  </a:lnTo>
                  <a:lnTo>
                    <a:pt x="492" y="1014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86" y="1026"/>
                  </a:lnTo>
                  <a:lnTo>
                    <a:pt x="492" y="1026"/>
                  </a:lnTo>
                  <a:lnTo>
                    <a:pt x="486" y="1026"/>
                  </a:lnTo>
                  <a:lnTo>
                    <a:pt x="492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5" name="Freeform 30">
              <a:extLst>
                <a:ext uri="{FF2B5EF4-FFF2-40B4-BE49-F238E27FC236}">
                  <a16:creationId xmlns:a16="http://schemas.microsoft.com/office/drawing/2014/main" id="{85C7B827-0C1A-4D72-AEBD-F01CFE7EC12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3645" y="3904484"/>
              <a:ext cx="559048" cy="111825"/>
            </a:xfrm>
            <a:custGeom>
              <a:avLst/>
              <a:gdLst>
                <a:gd name="T0" fmla="*/ 69 w 1056"/>
                <a:gd name="T1" fmla="*/ 7 h 210"/>
                <a:gd name="T2" fmla="*/ 63 w 1056"/>
                <a:gd name="T3" fmla="*/ 5 h 210"/>
                <a:gd name="T4" fmla="*/ 57 w 1056"/>
                <a:gd name="T5" fmla="*/ 5 h 210"/>
                <a:gd name="T6" fmla="*/ 54 w 1056"/>
                <a:gd name="T7" fmla="*/ 6 h 210"/>
                <a:gd name="T8" fmla="*/ 51 w 1056"/>
                <a:gd name="T9" fmla="*/ 7 h 210"/>
                <a:gd name="T10" fmla="*/ 46 w 1056"/>
                <a:gd name="T11" fmla="*/ 9 h 210"/>
                <a:gd name="T12" fmla="*/ 42 w 1056"/>
                <a:gd name="T13" fmla="*/ 8 h 210"/>
                <a:gd name="T14" fmla="*/ 42 w 1056"/>
                <a:gd name="T15" fmla="*/ 5 h 210"/>
                <a:gd name="T16" fmla="*/ 41 w 1056"/>
                <a:gd name="T17" fmla="*/ 7 h 210"/>
                <a:gd name="T18" fmla="*/ 38 w 1056"/>
                <a:gd name="T19" fmla="*/ 10 h 210"/>
                <a:gd name="T20" fmla="*/ 37 w 1056"/>
                <a:gd name="T21" fmla="*/ 12 h 210"/>
                <a:gd name="T22" fmla="*/ 37 w 1056"/>
                <a:gd name="T23" fmla="*/ 15 h 210"/>
                <a:gd name="T24" fmla="*/ 37 w 1056"/>
                <a:gd name="T25" fmla="*/ 16 h 210"/>
                <a:gd name="T26" fmla="*/ 38 w 1056"/>
                <a:gd name="T27" fmla="*/ 16 h 210"/>
                <a:gd name="T28" fmla="*/ 34 w 1056"/>
                <a:gd name="T29" fmla="*/ 16 h 210"/>
                <a:gd name="T30" fmla="*/ 26 w 1056"/>
                <a:gd name="T31" fmla="*/ 16 h 210"/>
                <a:gd name="T32" fmla="*/ 20 w 1056"/>
                <a:gd name="T33" fmla="*/ 17 h 210"/>
                <a:gd name="T34" fmla="*/ 13 w 1056"/>
                <a:gd name="T35" fmla="*/ 17 h 210"/>
                <a:gd name="T36" fmla="*/ 6 w 1056"/>
                <a:gd name="T37" fmla="*/ 17 h 210"/>
                <a:gd name="T38" fmla="*/ 1 w 1056"/>
                <a:gd name="T39" fmla="*/ 18 h 210"/>
                <a:gd name="T40" fmla="*/ 3 w 1056"/>
                <a:gd name="T41" fmla="*/ 14 h 210"/>
                <a:gd name="T42" fmla="*/ 8 w 1056"/>
                <a:gd name="T43" fmla="*/ 15 h 210"/>
                <a:gd name="T44" fmla="*/ 11 w 1056"/>
                <a:gd name="T45" fmla="*/ 12 h 210"/>
                <a:gd name="T46" fmla="*/ 26 w 1056"/>
                <a:gd name="T47" fmla="*/ 10 h 210"/>
                <a:gd name="T48" fmla="*/ 29 w 1056"/>
                <a:gd name="T49" fmla="*/ 5 h 210"/>
                <a:gd name="T50" fmla="*/ 34 w 1056"/>
                <a:gd name="T51" fmla="*/ 1 h 210"/>
                <a:gd name="T52" fmla="*/ 41 w 1056"/>
                <a:gd name="T53" fmla="*/ 3 h 210"/>
                <a:gd name="T54" fmla="*/ 73 w 1056"/>
                <a:gd name="T55" fmla="*/ 1 h 210"/>
                <a:gd name="T56" fmla="*/ 75 w 1056"/>
                <a:gd name="T57" fmla="*/ 4 h 210"/>
                <a:gd name="T58" fmla="*/ 85 w 1056"/>
                <a:gd name="T59" fmla="*/ 15 h 210"/>
                <a:gd name="T60" fmla="*/ 91 w 1056"/>
                <a:gd name="T61" fmla="*/ 18 h 210"/>
                <a:gd name="T62" fmla="*/ 85 w 1056"/>
                <a:gd name="T63" fmla="*/ 18 h 210"/>
                <a:gd name="T64" fmla="*/ 79 w 1056"/>
                <a:gd name="T65" fmla="*/ 16 h 210"/>
                <a:gd name="T66" fmla="*/ 74 w 1056"/>
                <a:gd name="T67" fmla="*/ 16 h 210"/>
                <a:gd name="T68" fmla="*/ 69 w 1056"/>
                <a:gd name="T69" fmla="*/ 15 h 210"/>
                <a:gd name="T70" fmla="*/ 65 w 1056"/>
                <a:gd name="T71" fmla="*/ 14 h 210"/>
                <a:gd name="T72" fmla="*/ 59 w 1056"/>
                <a:gd name="T73" fmla="*/ 15 h 210"/>
                <a:gd name="T74" fmla="*/ 54 w 1056"/>
                <a:gd name="T75" fmla="*/ 15 h 210"/>
                <a:gd name="T76" fmla="*/ 49 w 1056"/>
                <a:gd name="T77" fmla="*/ 15 h 210"/>
                <a:gd name="T78" fmla="*/ 42 w 1056"/>
                <a:gd name="T79" fmla="*/ 15 h 210"/>
                <a:gd name="T80" fmla="*/ 38 w 1056"/>
                <a:gd name="T81" fmla="*/ 16 h 210"/>
                <a:gd name="T82" fmla="*/ 41 w 1056"/>
                <a:gd name="T83" fmla="*/ 14 h 210"/>
                <a:gd name="T84" fmla="*/ 42 w 1056"/>
                <a:gd name="T85" fmla="*/ 13 h 210"/>
                <a:gd name="T86" fmla="*/ 45 w 1056"/>
                <a:gd name="T87" fmla="*/ 13 h 210"/>
                <a:gd name="T88" fmla="*/ 48 w 1056"/>
                <a:gd name="T89" fmla="*/ 12 h 210"/>
                <a:gd name="T90" fmla="*/ 51 w 1056"/>
                <a:gd name="T91" fmla="*/ 11 h 210"/>
                <a:gd name="T92" fmla="*/ 54 w 1056"/>
                <a:gd name="T93" fmla="*/ 9 h 210"/>
                <a:gd name="T94" fmla="*/ 57 w 1056"/>
                <a:gd name="T95" fmla="*/ 8 h 210"/>
                <a:gd name="T96" fmla="*/ 60 w 1056"/>
                <a:gd name="T97" fmla="*/ 5 h 210"/>
                <a:gd name="T98" fmla="*/ 65 w 1056"/>
                <a:gd name="T99" fmla="*/ 5 h 210"/>
                <a:gd name="T100" fmla="*/ 72 w 1056"/>
                <a:gd name="T101" fmla="*/ 7 h 210"/>
                <a:gd name="T102" fmla="*/ 77 w 1056"/>
                <a:gd name="T103" fmla="*/ 11 h 210"/>
                <a:gd name="T104" fmla="*/ 69 w 1056"/>
                <a:gd name="T105" fmla="*/ 10 h 210"/>
                <a:gd name="T106" fmla="*/ 72 w 1056"/>
                <a:gd name="T107" fmla="*/ 12 h 210"/>
                <a:gd name="T108" fmla="*/ 78 w 1056"/>
                <a:gd name="T109" fmla="*/ 15 h 210"/>
                <a:gd name="T110" fmla="*/ 84 w 1056"/>
                <a:gd name="T111" fmla="*/ 14 h 210"/>
                <a:gd name="T112" fmla="*/ 84 w 1056"/>
                <a:gd name="T113" fmla="*/ 14 h 210"/>
                <a:gd name="T114" fmla="*/ 78 w 1056"/>
                <a:gd name="T115" fmla="*/ 13 h 210"/>
                <a:gd name="T116" fmla="*/ 76 w 1056"/>
                <a:gd name="T117" fmla="*/ 14 h 210"/>
                <a:gd name="T118" fmla="*/ 38 w 1056"/>
                <a:gd name="T119" fmla="*/ 12 h 210"/>
                <a:gd name="T120" fmla="*/ 41 w 1056"/>
                <a:gd name="T121" fmla="*/ 12 h 210"/>
                <a:gd name="T122" fmla="*/ 40 w 1056"/>
                <a:gd name="T123" fmla="*/ 14 h 2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6"/>
                <a:gd name="T187" fmla="*/ 0 h 210"/>
                <a:gd name="T188" fmla="*/ 1056 w 1056"/>
                <a:gd name="T189" fmla="*/ 210 h 21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6" h="210">
                  <a:moveTo>
                    <a:pt x="870" y="90"/>
                  </a:moveTo>
                  <a:lnTo>
                    <a:pt x="864" y="90"/>
                  </a:lnTo>
                  <a:lnTo>
                    <a:pt x="852" y="84"/>
                  </a:lnTo>
                  <a:lnTo>
                    <a:pt x="846" y="84"/>
                  </a:lnTo>
                  <a:lnTo>
                    <a:pt x="846" y="78"/>
                  </a:lnTo>
                  <a:lnTo>
                    <a:pt x="840" y="78"/>
                  </a:lnTo>
                  <a:lnTo>
                    <a:pt x="834" y="78"/>
                  </a:lnTo>
                  <a:lnTo>
                    <a:pt x="834" y="72"/>
                  </a:lnTo>
                  <a:lnTo>
                    <a:pt x="804" y="78"/>
                  </a:lnTo>
                  <a:lnTo>
                    <a:pt x="798" y="78"/>
                  </a:lnTo>
                  <a:lnTo>
                    <a:pt x="792" y="72"/>
                  </a:lnTo>
                  <a:lnTo>
                    <a:pt x="780" y="60"/>
                  </a:lnTo>
                  <a:lnTo>
                    <a:pt x="768" y="54"/>
                  </a:lnTo>
                  <a:lnTo>
                    <a:pt x="756" y="54"/>
                  </a:lnTo>
                  <a:lnTo>
                    <a:pt x="750" y="54"/>
                  </a:lnTo>
                  <a:lnTo>
                    <a:pt x="750" y="48"/>
                  </a:lnTo>
                  <a:lnTo>
                    <a:pt x="744" y="48"/>
                  </a:lnTo>
                  <a:lnTo>
                    <a:pt x="738" y="48"/>
                  </a:lnTo>
                  <a:lnTo>
                    <a:pt x="732" y="48"/>
                  </a:lnTo>
                  <a:lnTo>
                    <a:pt x="732" y="54"/>
                  </a:lnTo>
                  <a:lnTo>
                    <a:pt x="726" y="48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48"/>
                  </a:lnTo>
                  <a:lnTo>
                    <a:pt x="702" y="48"/>
                  </a:lnTo>
                  <a:lnTo>
                    <a:pt x="696" y="48"/>
                  </a:lnTo>
                  <a:lnTo>
                    <a:pt x="684" y="48"/>
                  </a:lnTo>
                  <a:lnTo>
                    <a:pt x="678" y="48"/>
                  </a:lnTo>
                  <a:lnTo>
                    <a:pt x="672" y="48"/>
                  </a:lnTo>
                  <a:lnTo>
                    <a:pt x="666" y="54"/>
                  </a:lnTo>
                  <a:lnTo>
                    <a:pt x="660" y="54"/>
                  </a:lnTo>
                  <a:lnTo>
                    <a:pt x="660" y="48"/>
                  </a:lnTo>
                  <a:lnTo>
                    <a:pt x="654" y="48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42" y="54"/>
                  </a:lnTo>
                  <a:lnTo>
                    <a:pt x="63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30" y="66"/>
                  </a:lnTo>
                  <a:lnTo>
                    <a:pt x="624" y="66"/>
                  </a:lnTo>
                  <a:lnTo>
                    <a:pt x="618" y="66"/>
                  </a:lnTo>
                  <a:lnTo>
                    <a:pt x="618" y="72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6" y="84"/>
                  </a:lnTo>
                  <a:lnTo>
                    <a:pt x="600" y="84"/>
                  </a:lnTo>
                  <a:lnTo>
                    <a:pt x="594" y="90"/>
                  </a:lnTo>
                  <a:lnTo>
                    <a:pt x="588" y="90"/>
                  </a:lnTo>
                  <a:lnTo>
                    <a:pt x="588" y="84"/>
                  </a:lnTo>
                  <a:lnTo>
                    <a:pt x="582" y="84"/>
                  </a:lnTo>
                  <a:lnTo>
                    <a:pt x="576" y="84"/>
                  </a:lnTo>
                  <a:lnTo>
                    <a:pt x="570" y="84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58" y="96"/>
                  </a:lnTo>
                  <a:lnTo>
                    <a:pt x="552" y="96"/>
                  </a:lnTo>
                  <a:lnTo>
                    <a:pt x="546" y="102"/>
                  </a:lnTo>
                  <a:lnTo>
                    <a:pt x="540" y="102"/>
                  </a:lnTo>
                  <a:lnTo>
                    <a:pt x="534" y="102"/>
                  </a:lnTo>
                  <a:lnTo>
                    <a:pt x="528" y="102"/>
                  </a:lnTo>
                  <a:lnTo>
                    <a:pt x="528" y="108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16" y="102"/>
                  </a:lnTo>
                  <a:lnTo>
                    <a:pt x="510" y="102"/>
                  </a:lnTo>
                  <a:lnTo>
                    <a:pt x="504" y="102"/>
                  </a:lnTo>
                  <a:lnTo>
                    <a:pt x="498" y="102"/>
                  </a:lnTo>
                  <a:lnTo>
                    <a:pt x="498" y="96"/>
                  </a:lnTo>
                  <a:lnTo>
                    <a:pt x="492" y="96"/>
                  </a:lnTo>
                  <a:lnTo>
                    <a:pt x="492" y="90"/>
                  </a:lnTo>
                  <a:lnTo>
                    <a:pt x="492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498" y="66"/>
                  </a:lnTo>
                  <a:lnTo>
                    <a:pt x="504" y="60"/>
                  </a:lnTo>
                  <a:lnTo>
                    <a:pt x="498" y="60"/>
                  </a:lnTo>
                  <a:lnTo>
                    <a:pt x="498" y="54"/>
                  </a:lnTo>
                  <a:lnTo>
                    <a:pt x="492" y="54"/>
                  </a:lnTo>
                  <a:lnTo>
                    <a:pt x="492" y="60"/>
                  </a:lnTo>
                  <a:lnTo>
                    <a:pt x="486" y="60"/>
                  </a:lnTo>
                  <a:lnTo>
                    <a:pt x="486" y="66"/>
                  </a:lnTo>
                  <a:lnTo>
                    <a:pt x="480" y="66"/>
                  </a:lnTo>
                  <a:lnTo>
                    <a:pt x="474" y="72"/>
                  </a:lnTo>
                  <a:lnTo>
                    <a:pt x="474" y="66"/>
                  </a:lnTo>
                  <a:lnTo>
                    <a:pt x="474" y="72"/>
                  </a:lnTo>
                  <a:lnTo>
                    <a:pt x="468" y="72"/>
                  </a:lnTo>
                  <a:lnTo>
                    <a:pt x="468" y="78"/>
                  </a:lnTo>
                  <a:lnTo>
                    <a:pt x="468" y="84"/>
                  </a:lnTo>
                  <a:lnTo>
                    <a:pt x="462" y="90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0" y="84"/>
                  </a:lnTo>
                  <a:lnTo>
                    <a:pt x="450" y="90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44" y="102"/>
                  </a:lnTo>
                  <a:lnTo>
                    <a:pt x="444" y="108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38" y="126"/>
                  </a:lnTo>
                  <a:lnTo>
                    <a:pt x="438" y="132"/>
                  </a:lnTo>
                  <a:lnTo>
                    <a:pt x="438" y="138"/>
                  </a:lnTo>
                  <a:lnTo>
                    <a:pt x="438" y="144"/>
                  </a:lnTo>
                  <a:lnTo>
                    <a:pt x="432" y="144"/>
                  </a:lnTo>
                  <a:lnTo>
                    <a:pt x="432" y="150"/>
                  </a:lnTo>
                  <a:lnTo>
                    <a:pt x="432" y="144"/>
                  </a:lnTo>
                  <a:lnTo>
                    <a:pt x="426" y="144"/>
                  </a:lnTo>
                  <a:lnTo>
                    <a:pt x="426" y="150"/>
                  </a:lnTo>
                  <a:lnTo>
                    <a:pt x="426" y="156"/>
                  </a:lnTo>
                  <a:lnTo>
                    <a:pt x="432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2"/>
                  </a:lnTo>
                  <a:lnTo>
                    <a:pt x="432" y="168"/>
                  </a:lnTo>
                  <a:lnTo>
                    <a:pt x="426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44" y="168"/>
                  </a:lnTo>
                  <a:lnTo>
                    <a:pt x="444" y="174"/>
                  </a:lnTo>
                  <a:lnTo>
                    <a:pt x="444" y="180"/>
                  </a:lnTo>
                  <a:lnTo>
                    <a:pt x="444" y="186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2" y="192"/>
                  </a:lnTo>
                  <a:lnTo>
                    <a:pt x="426" y="192"/>
                  </a:lnTo>
                  <a:lnTo>
                    <a:pt x="420" y="186"/>
                  </a:lnTo>
                  <a:lnTo>
                    <a:pt x="414" y="186"/>
                  </a:lnTo>
                  <a:lnTo>
                    <a:pt x="408" y="186"/>
                  </a:lnTo>
                  <a:lnTo>
                    <a:pt x="402" y="186"/>
                  </a:lnTo>
                  <a:lnTo>
                    <a:pt x="396" y="186"/>
                  </a:lnTo>
                  <a:lnTo>
                    <a:pt x="390" y="186"/>
                  </a:lnTo>
                  <a:lnTo>
                    <a:pt x="384" y="186"/>
                  </a:lnTo>
                  <a:lnTo>
                    <a:pt x="378" y="186"/>
                  </a:lnTo>
                  <a:lnTo>
                    <a:pt x="372" y="186"/>
                  </a:lnTo>
                  <a:lnTo>
                    <a:pt x="354" y="186"/>
                  </a:lnTo>
                  <a:lnTo>
                    <a:pt x="342" y="186"/>
                  </a:lnTo>
                  <a:lnTo>
                    <a:pt x="324" y="186"/>
                  </a:lnTo>
                  <a:lnTo>
                    <a:pt x="312" y="186"/>
                  </a:lnTo>
                  <a:lnTo>
                    <a:pt x="306" y="186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82" y="186"/>
                  </a:lnTo>
                  <a:lnTo>
                    <a:pt x="270" y="186"/>
                  </a:lnTo>
                  <a:lnTo>
                    <a:pt x="264" y="186"/>
                  </a:lnTo>
                  <a:lnTo>
                    <a:pt x="258" y="192"/>
                  </a:lnTo>
                  <a:lnTo>
                    <a:pt x="258" y="186"/>
                  </a:lnTo>
                  <a:lnTo>
                    <a:pt x="246" y="186"/>
                  </a:lnTo>
                  <a:lnTo>
                    <a:pt x="240" y="186"/>
                  </a:lnTo>
                  <a:lnTo>
                    <a:pt x="234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2"/>
                  </a:lnTo>
                  <a:lnTo>
                    <a:pt x="204" y="192"/>
                  </a:lnTo>
                  <a:lnTo>
                    <a:pt x="198" y="192"/>
                  </a:lnTo>
                  <a:lnTo>
                    <a:pt x="192" y="192"/>
                  </a:lnTo>
                  <a:lnTo>
                    <a:pt x="180" y="192"/>
                  </a:lnTo>
                  <a:lnTo>
                    <a:pt x="168" y="192"/>
                  </a:lnTo>
                  <a:lnTo>
                    <a:pt x="162" y="192"/>
                  </a:lnTo>
                  <a:lnTo>
                    <a:pt x="150" y="192"/>
                  </a:lnTo>
                  <a:lnTo>
                    <a:pt x="138" y="192"/>
                  </a:lnTo>
                  <a:lnTo>
                    <a:pt x="132" y="192"/>
                  </a:lnTo>
                  <a:lnTo>
                    <a:pt x="120" y="192"/>
                  </a:lnTo>
                  <a:lnTo>
                    <a:pt x="114" y="192"/>
                  </a:lnTo>
                  <a:lnTo>
                    <a:pt x="108" y="192"/>
                  </a:lnTo>
                  <a:lnTo>
                    <a:pt x="102" y="192"/>
                  </a:lnTo>
                  <a:lnTo>
                    <a:pt x="90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2" y="198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36" y="198"/>
                  </a:lnTo>
                  <a:lnTo>
                    <a:pt x="30" y="204"/>
                  </a:lnTo>
                  <a:lnTo>
                    <a:pt x="24" y="204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6" y="210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54" y="156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56"/>
                  </a:lnTo>
                  <a:lnTo>
                    <a:pt x="78" y="162"/>
                  </a:lnTo>
                  <a:lnTo>
                    <a:pt x="84" y="162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9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0" y="126"/>
                  </a:lnTo>
                  <a:lnTo>
                    <a:pt x="276" y="120"/>
                  </a:lnTo>
                  <a:lnTo>
                    <a:pt x="282" y="120"/>
                  </a:lnTo>
                  <a:lnTo>
                    <a:pt x="300" y="120"/>
                  </a:lnTo>
                  <a:lnTo>
                    <a:pt x="306" y="114"/>
                  </a:lnTo>
                  <a:lnTo>
                    <a:pt x="312" y="108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8"/>
                  </a:lnTo>
                  <a:lnTo>
                    <a:pt x="342" y="30"/>
                  </a:lnTo>
                  <a:lnTo>
                    <a:pt x="342" y="24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8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24"/>
                  </a:lnTo>
                  <a:lnTo>
                    <a:pt x="414" y="30"/>
                  </a:lnTo>
                  <a:lnTo>
                    <a:pt x="420" y="30"/>
                  </a:lnTo>
                  <a:lnTo>
                    <a:pt x="42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74" y="30"/>
                  </a:lnTo>
                  <a:lnTo>
                    <a:pt x="474" y="18"/>
                  </a:lnTo>
                  <a:lnTo>
                    <a:pt x="474" y="12"/>
                  </a:lnTo>
                  <a:lnTo>
                    <a:pt x="480" y="12"/>
                  </a:lnTo>
                  <a:lnTo>
                    <a:pt x="486" y="12"/>
                  </a:lnTo>
                  <a:lnTo>
                    <a:pt x="606" y="12"/>
                  </a:lnTo>
                  <a:lnTo>
                    <a:pt x="630" y="12"/>
                  </a:lnTo>
                  <a:lnTo>
                    <a:pt x="678" y="12"/>
                  </a:lnTo>
                  <a:lnTo>
                    <a:pt x="744" y="12"/>
                  </a:lnTo>
                  <a:lnTo>
                    <a:pt x="774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2" y="6"/>
                  </a:lnTo>
                  <a:lnTo>
                    <a:pt x="888" y="12"/>
                  </a:lnTo>
                  <a:lnTo>
                    <a:pt x="888" y="24"/>
                  </a:lnTo>
                  <a:lnTo>
                    <a:pt x="888" y="30"/>
                  </a:lnTo>
                  <a:lnTo>
                    <a:pt x="882" y="36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64" y="42"/>
                  </a:lnTo>
                  <a:lnTo>
                    <a:pt x="864" y="48"/>
                  </a:lnTo>
                  <a:lnTo>
                    <a:pt x="858" y="54"/>
                  </a:lnTo>
                  <a:lnTo>
                    <a:pt x="864" y="54"/>
                  </a:lnTo>
                  <a:lnTo>
                    <a:pt x="870" y="72"/>
                  </a:lnTo>
                  <a:lnTo>
                    <a:pt x="870" y="78"/>
                  </a:lnTo>
                  <a:lnTo>
                    <a:pt x="870" y="84"/>
                  </a:lnTo>
                  <a:lnTo>
                    <a:pt x="870" y="90"/>
                  </a:lnTo>
                  <a:close/>
                  <a:moveTo>
                    <a:pt x="972" y="156"/>
                  </a:moveTo>
                  <a:lnTo>
                    <a:pt x="972" y="162"/>
                  </a:lnTo>
                  <a:lnTo>
                    <a:pt x="978" y="162"/>
                  </a:lnTo>
                  <a:lnTo>
                    <a:pt x="984" y="168"/>
                  </a:lnTo>
                  <a:lnTo>
                    <a:pt x="990" y="168"/>
                  </a:lnTo>
                  <a:lnTo>
                    <a:pt x="990" y="162"/>
                  </a:lnTo>
                  <a:lnTo>
                    <a:pt x="1008" y="162"/>
                  </a:lnTo>
                  <a:lnTo>
                    <a:pt x="1020" y="162"/>
                  </a:lnTo>
                  <a:lnTo>
                    <a:pt x="1038" y="162"/>
                  </a:lnTo>
                  <a:lnTo>
                    <a:pt x="1056" y="168"/>
                  </a:lnTo>
                  <a:lnTo>
                    <a:pt x="1056" y="180"/>
                  </a:lnTo>
                  <a:lnTo>
                    <a:pt x="1056" y="186"/>
                  </a:lnTo>
                  <a:lnTo>
                    <a:pt x="1056" y="204"/>
                  </a:lnTo>
                  <a:lnTo>
                    <a:pt x="1050" y="204"/>
                  </a:lnTo>
                  <a:lnTo>
                    <a:pt x="1044" y="204"/>
                  </a:lnTo>
                  <a:lnTo>
                    <a:pt x="1038" y="204"/>
                  </a:lnTo>
                  <a:lnTo>
                    <a:pt x="1032" y="204"/>
                  </a:lnTo>
                  <a:lnTo>
                    <a:pt x="1026" y="204"/>
                  </a:lnTo>
                  <a:lnTo>
                    <a:pt x="1020" y="204"/>
                  </a:lnTo>
                  <a:lnTo>
                    <a:pt x="1014" y="204"/>
                  </a:lnTo>
                  <a:lnTo>
                    <a:pt x="1008" y="204"/>
                  </a:lnTo>
                  <a:lnTo>
                    <a:pt x="1002" y="204"/>
                  </a:lnTo>
                  <a:lnTo>
                    <a:pt x="996" y="204"/>
                  </a:lnTo>
                  <a:lnTo>
                    <a:pt x="984" y="204"/>
                  </a:lnTo>
                  <a:lnTo>
                    <a:pt x="984" y="198"/>
                  </a:lnTo>
                  <a:lnTo>
                    <a:pt x="978" y="198"/>
                  </a:lnTo>
                  <a:lnTo>
                    <a:pt x="966" y="198"/>
                  </a:lnTo>
                  <a:lnTo>
                    <a:pt x="948" y="192"/>
                  </a:lnTo>
                  <a:lnTo>
                    <a:pt x="942" y="192"/>
                  </a:lnTo>
                  <a:lnTo>
                    <a:pt x="936" y="192"/>
                  </a:lnTo>
                  <a:lnTo>
                    <a:pt x="924" y="192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12" y="186"/>
                  </a:lnTo>
                  <a:lnTo>
                    <a:pt x="906" y="186"/>
                  </a:lnTo>
                  <a:lnTo>
                    <a:pt x="900" y="186"/>
                  </a:lnTo>
                  <a:lnTo>
                    <a:pt x="894" y="186"/>
                  </a:lnTo>
                  <a:lnTo>
                    <a:pt x="888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76" y="180"/>
                  </a:lnTo>
                  <a:lnTo>
                    <a:pt x="870" y="180"/>
                  </a:lnTo>
                  <a:lnTo>
                    <a:pt x="864" y="180"/>
                  </a:lnTo>
                  <a:lnTo>
                    <a:pt x="858" y="180"/>
                  </a:lnTo>
                  <a:lnTo>
                    <a:pt x="852" y="180"/>
                  </a:lnTo>
                  <a:lnTo>
                    <a:pt x="852" y="174"/>
                  </a:lnTo>
                  <a:lnTo>
                    <a:pt x="846" y="174"/>
                  </a:lnTo>
                  <a:lnTo>
                    <a:pt x="840" y="174"/>
                  </a:lnTo>
                  <a:lnTo>
                    <a:pt x="834" y="174"/>
                  </a:lnTo>
                  <a:lnTo>
                    <a:pt x="828" y="174"/>
                  </a:lnTo>
                  <a:lnTo>
                    <a:pt x="822" y="174"/>
                  </a:lnTo>
                  <a:lnTo>
                    <a:pt x="816" y="174"/>
                  </a:lnTo>
                  <a:lnTo>
                    <a:pt x="810" y="168"/>
                  </a:lnTo>
                  <a:lnTo>
                    <a:pt x="804" y="168"/>
                  </a:lnTo>
                  <a:lnTo>
                    <a:pt x="798" y="168"/>
                  </a:lnTo>
                  <a:lnTo>
                    <a:pt x="792" y="168"/>
                  </a:lnTo>
                  <a:lnTo>
                    <a:pt x="786" y="168"/>
                  </a:lnTo>
                  <a:lnTo>
                    <a:pt x="780" y="168"/>
                  </a:lnTo>
                  <a:lnTo>
                    <a:pt x="774" y="168"/>
                  </a:lnTo>
                  <a:lnTo>
                    <a:pt x="768" y="168"/>
                  </a:lnTo>
                  <a:lnTo>
                    <a:pt x="762" y="168"/>
                  </a:lnTo>
                  <a:lnTo>
                    <a:pt x="756" y="168"/>
                  </a:lnTo>
                  <a:lnTo>
                    <a:pt x="750" y="168"/>
                  </a:lnTo>
                  <a:lnTo>
                    <a:pt x="750" y="162"/>
                  </a:lnTo>
                  <a:lnTo>
                    <a:pt x="744" y="168"/>
                  </a:lnTo>
                  <a:lnTo>
                    <a:pt x="738" y="162"/>
                  </a:lnTo>
                  <a:lnTo>
                    <a:pt x="732" y="162"/>
                  </a:lnTo>
                  <a:lnTo>
                    <a:pt x="726" y="162"/>
                  </a:lnTo>
                  <a:lnTo>
                    <a:pt x="714" y="162"/>
                  </a:lnTo>
                  <a:lnTo>
                    <a:pt x="702" y="162"/>
                  </a:lnTo>
                  <a:lnTo>
                    <a:pt x="696" y="168"/>
                  </a:lnTo>
                  <a:lnTo>
                    <a:pt x="690" y="168"/>
                  </a:lnTo>
                  <a:lnTo>
                    <a:pt x="684" y="168"/>
                  </a:lnTo>
                  <a:lnTo>
                    <a:pt x="678" y="168"/>
                  </a:lnTo>
                  <a:lnTo>
                    <a:pt x="672" y="168"/>
                  </a:lnTo>
                  <a:lnTo>
                    <a:pt x="666" y="168"/>
                  </a:lnTo>
                  <a:lnTo>
                    <a:pt x="660" y="168"/>
                  </a:lnTo>
                  <a:lnTo>
                    <a:pt x="654" y="168"/>
                  </a:lnTo>
                  <a:lnTo>
                    <a:pt x="648" y="174"/>
                  </a:lnTo>
                  <a:lnTo>
                    <a:pt x="648" y="168"/>
                  </a:lnTo>
                  <a:lnTo>
                    <a:pt x="642" y="174"/>
                  </a:lnTo>
                  <a:lnTo>
                    <a:pt x="636" y="174"/>
                  </a:lnTo>
                  <a:lnTo>
                    <a:pt x="630" y="174"/>
                  </a:lnTo>
                  <a:lnTo>
                    <a:pt x="624" y="174"/>
                  </a:lnTo>
                  <a:lnTo>
                    <a:pt x="618" y="174"/>
                  </a:lnTo>
                  <a:lnTo>
                    <a:pt x="612" y="174"/>
                  </a:lnTo>
                  <a:lnTo>
                    <a:pt x="606" y="174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74"/>
                  </a:lnTo>
                  <a:lnTo>
                    <a:pt x="582" y="174"/>
                  </a:lnTo>
                  <a:lnTo>
                    <a:pt x="576" y="174"/>
                  </a:lnTo>
                  <a:lnTo>
                    <a:pt x="570" y="174"/>
                  </a:lnTo>
                  <a:lnTo>
                    <a:pt x="564" y="174"/>
                  </a:lnTo>
                  <a:lnTo>
                    <a:pt x="558" y="174"/>
                  </a:lnTo>
                  <a:lnTo>
                    <a:pt x="552" y="174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0" y="174"/>
                  </a:lnTo>
                  <a:lnTo>
                    <a:pt x="504" y="174"/>
                  </a:lnTo>
                  <a:lnTo>
                    <a:pt x="498" y="174"/>
                  </a:lnTo>
                  <a:lnTo>
                    <a:pt x="492" y="174"/>
                  </a:lnTo>
                  <a:lnTo>
                    <a:pt x="486" y="174"/>
                  </a:lnTo>
                  <a:lnTo>
                    <a:pt x="480" y="174"/>
                  </a:lnTo>
                  <a:lnTo>
                    <a:pt x="474" y="174"/>
                  </a:lnTo>
                  <a:lnTo>
                    <a:pt x="468" y="174"/>
                  </a:lnTo>
                  <a:lnTo>
                    <a:pt x="462" y="174"/>
                  </a:lnTo>
                  <a:lnTo>
                    <a:pt x="456" y="174"/>
                  </a:lnTo>
                  <a:lnTo>
                    <a:pt x="450" y="180"/>
                  </a:lnTo>
                  <a:lnTo>
                    <a:pt x="450" y="186"/>
                  </a:lnTo>
                  <a:lnTo>
                    <a:pt x="450" y="192"/>
                  </a:lnTo>
                  <a:lnTo>
                    <a:pt x="444" y="192"/>
                  </a:lnTo>
                  <a:lnTo>
                    <a:pt x="444" y="186"/>
                  </a:lnTo>
                  <a:lnTo>
                    <a:pt x="444" y="180"/>
                  </a:lnTo>
                  <a:lnTo>
                    <a:pt x="450" y="180"/>
                  </a:lnTo>
                  <a:lnTo>
                    <a:pt x="450" y="174"/>
                  </a:lnTo>
                  <a:lnTo>
                    <a:pt x="450" y="168"/>
                  </a:lnTo>
                  <a:lnTo>
                    <a:pt x="450" y="162"/>
                  </a:lnTo>
                  <a:lnTo>
                    <a:pt x="456" y="162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62" y="162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74" y="168"/>
                  </a:lnTo>
                  <a:lnTo>
                    <a:pt x="480" y="168"/>
                  </a:lnTo>
                  <a:lnTo>
                    <a:pt x="480" y="162"/>
                  </a:lnTo>
                  <a:lnTo>
                    <a:pt x="480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56"/>
                  </a:lnTo>
                  <a:lnTo>
                    <a:pt x="492" y="156"/>
                  </a:lnTo>
                  <a:lnTo>
                    <a:pt x="486" y="150"/>
                  </a:lnTo>
                  <a:lnTo>
                    <a:pt x="492" y="150"/>
                  </a:lnTo>
                  <a:lnTo>
                    <a:pt x="498" y="150"/>
                  </a:lnTo>
                  <a:lnTo>
                    <a:pt x="498" y="156"/>
                  </a:lnTo>
                  <a:lnTo>
                    <a:pt x="504" y="156"/>
                  </a:lnTo>
                  <a:lnTo>
                    <a:pt x="504" y="162"/>
                  </a:lnTo>
                  <a:lnTo>
                    <a:pt x="504" y="156"/>
                  </a:lnTo>
                  <a:lnTo>
                    <a:pt x="510" y="156"/>
                  </a:lnTo>
                  <a:lnTo>
                    <a:pt x="510" y="150"/>
                  </a:lnTo>
                  <a:lnTo>
                    <a:pt x="516" y="150"/>
                  </a:lnTo>
                  <a:lnTo>
                    <a:pt x="522" y="150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28" y="150"/>
                  </a:lnTo>
                  <a:lnTo>
                    <a:pt x="528" y="144"/>
                  </a:lnTo>
                  <a:lnTo>
                    <a:pt x="540" y="144"/>
                  </a:lnTo>
                  <a:lnTo>
                    <a:pt x="546" y="144"/>
                  </a:lnTo>
                  <a:lnTo>
                    <a:pt x="552" y="138"/>
                  </a:lnTo>
                  <a:lnTo>
                    <a:pt x="552" y="132"/>
                  </a:lnTo>
                  <a:lnTo>
                    <a:pt x="558" y="132"/>
                  </a:lnTo>
                  <a:lnTo>
                    <a:pt x="558" y="126"/>
                  </a:lnTo>
                  <a:lnTo>
                    <a:pt x="558" y="120"/>
                  </a:lnTo>
                  <a:lnTo>
                    <a:pt x="558" y="114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6" y="114"/>
                  </a:lnTo>
                  <a:lnTo>
                    <a:pt x="582" y="120"/>
                  </a:lnTo>
                  <a:lnTo>
                    <a:pt x="588" y="120"/>
                  </a:lnTo>
                  <a:lnTo>
                    <a:pt x="588" y="126"/>
                  </a:lnTo>
                  <a:lnTo>
                    <a:pt x="588" y="120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600" y="114"/>
                  </a:lnTo>
                  <a:lnTo>
                    <a:pt x="606" y="114"/>
                  </a:lnTo>
                  <a:lnTo>
                    <a:pt x="618" y="114"/>
                  </a:lnTo>
                  <a:lnTo>
                    <a:pt x="618" y="108"/>
                  </a:lnTo>
                  <a:lnTo>
                    <a:pt x="624" y="108"/>
                  </a:lnTo>
                  <a:lnTo>
                    <a:pt x="624" y="102"/>
                  </a:lnTo>
                  <a:lnTo>
                    <a:pt x="630" y="102"/>
                  </a:lnTo>
                  <a:lnTo>
                    <a:pt x="636" y="102"/>
                  </a:lnTo>
                  <a:lnTo>
                    <a:pt x="636" y="108"/>
                  </a:lnTo>
                  <a:lnTo>
                    <a:pt x="642" y="108"/>
                  </a:lnTo>
                  <a:lnTo>
                    <a:pt x="648" y="108"/>
                  </a:lnTo>
                  <a:lnTo>
                    <a:pt x="648" y="102"/>
                  </a:lnTo>
                  <a:lnTo>
                    <a:pt x="654" y="102"/>
                  </a:lnTo>
                  <a:lnTo>
                    <a:pt x="660" y="102"/>
                  </a:lnTo>
                  <a:lnTo>
                    <a:pt x="660" y="96"/>
                  </a:lnTo>
                  <a:lnTo>
                    <a:pt x="660" y="90"/>
                  </a:lnTo>
                  <a:lnTo>
                    <a:pt x="666" y="90"/>
                  </a:lnTo>
                  <a:lnTo>
                    <a:pt x="666" y="84"/>
                  </a:lnTo>
                  <a:lnTo>
                    <a:pt x="672" y="78"/>
                  </a:lnTo>
                  <a:lnTo>
                    <a:pt x="672" y="72"/>
                  </a:lnTo>
                  <a:lnTo>
                    <a:pt x="678" y="66"/>
                  </a:lnTo>
                  <a:lnTo>
                    <a:pt x="684" y="66"/>
                  </a:lnTo>
                  <a:lnTo>
                    <a:pt x="684" y="60"/>
                  </a:lnTo>
                  <a:lnTo>
                    <a:pt x="690" y="60"/>
                  </a:lnTo>
                  <a:lnTo>
                    <a:pt x="696" y="60"/>
                  </a:lnTo>
                  <a:lnTo>
                    <a:pt x="702" y="60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66"/>
                  </a:lnTo>
                  <a:lnTo>
                    <a:pt x="720" y="66"/>
                  </a:lnTo>
                  <a:lnTo>
                    <a:pt x="720" y="60"/>
                  </a:lnTo>
                  <a:lnTo>
                    <a:pt x="726" y="60"/>
                  </a:lnTo>
                  <a:lnTo>
                    <a:pt x="732" y="60"/>
                  </a:lnTo>
                  <a:lnTo>
                    <a:pt x="744" y="60"/>
                  </a:lnTo>
                  <a:lnTo>
                    <a:pt x="750" y="54"/>
                  </a:lnTo>
                  <a:lnTo>
                    <a:pt x="762" y="60"/>
                  </a:lnTo>
                  <a:lnTo>
                    <a:pt x="774" y="60"/>
                  </a:lnTo>
                  <a:lnTo>
                    <a:pt x="774" y="66"/>
                  </a:lnTo>
                  <a:lnTo>
                    <a:pt x="780" y="72"/>
                  </a:lnTo>
                  <a:lnTo>
                    <a:pt x="786" y="78"/>
                  </a:lnTo>
                  <a:lnTo>
                    <a:pt x="792" y="78"/>
                  </a:lnTo>
                  <a:lnTo>
                    <a:pt x="810" y="84"/>
                  </a:lnTo>
                  <a:lnTo>
                    <a:pt x="822" y="84"/>
                  </a:lnTo>
                  <a:lnTo>
                    <a:pt x="828" y="84"/>
                  </a:lnTo>
                  <a:lnTo>
                    <a:pt x="834" y="84"/>
                  </a:lnTo>
                  <a:lnTo>
                    <a:pt x="840" y="96"/>
                  </a:lnTo>
                  <a:lnTo>
                    <a:pt x="846" y="102"/>
                  </a:lnTo>
                  <a:lnTo>
                    <a:pt x="858" y="102"/>
                  </a:lnTo>
                  <a:lnTo>
                    <a:pt x="864" y="102"/>
                  </a:lnTo>
                  <a:lnTo>
                    <a:pt x="876" y="96"/>
                  </a:lnTo>
                  <a:lnTo>
                    <a:pt x="882" y="102"/>
                  </a:lnTo>
                  <a:lnTo>
                    <a:pt x="888" y="108"/>
                  </a:lnTo>
                  <a:lnTo>
                    <a:pt x="888" y="114"/>
                  </a:lnTo>
                  <a:lnTo>
                    <a:pt x="888" y="120"/>
                  </a:lnTo>
                  <a:lnTo>
                    <a:pt x="888" y="126"/>
                  </a:lnTo>
                  <a:lnTo>
                    <a:pt x="888" y="132"/>
                  </a:lnTo>
                  <a:lnTo>
                    <a:pt x="882" y="132"/>
                  </a:lnTo>
                  <a:lnTo>
                    <a:pt x="864" y="126"/>
                  </a:lnTo>
                  <a:lnTo>
                    <a:pt x="852" y="120"/>
                  </a:lnTo>
                  <a:lnTo>
                    <a:pt x="840" y="126"/>
                  </a:lnTo>
                  <a:lnTo>
                    <a:pt x="834" y="120"/>
                  </a:lnTo>
                  <a:lnTo>
                    <a:pt x="828" y="120"/>
                  </a:lnTo>
                  <a:lnTo>
                    <a:pt x="822" y="120"/>
                  </a:lnTo>
                  <a:lnTo>
                    <a:pt x="810" y="114"/>
                  </a:lnTo>
                  <a:lnTo>
                    <a:pt x="804" y="114"/>
                  </a:lnTo>
                  <a:lnTo>
                    <a:pt x="798" y="114"/>
                  </a:lnTo>
                  <a:lnTo>
                    <a:pt x="792" y="114"/>
                  </a:lnTo>
                  <a:lnTo>
                    <a:pt x="786" y="114"/>
                  </a:lnTo>
                  <a:lnTo>
                    <a:pt x="780" y="114"/>
                  </a:lnTo>
                  <a:lnTo>
                    <a:pt x="780" y="126"/>
                  </a:lnTo>
                  <a:lnTo>
                    <a:pt x="786" y="126"/>
                  </a:lnTo>
                  <a:lnTo>
                    <a:pt x="798" y="126"/>
                  </a:lnTo>
                  <a:lnTo>
                    <a:pt x="804" y="126"/>
                  </a:lnTo>
                  <a:lnTo>
                    <a:pt x="822" y="132"/>
                  </a:lnTo>
                  <a:lnTo>
                    <a:pt x="828" y="132"/>
                  </a:lnTo>
                  <a:lnTo>
                    <a:pt x="834" y="132"/>
                  </a:lnTo>
                  <a:lnTo>
                    <a:pt x="840" y="144"/>
                  </a:lnTo>
                  <a:lnTo>
                    <a:pt x="846" y="150"/>
                  </a:lnTo>
                  <a:lnTo>
                    <a:pt x="858" y="150"/>
                  </a:lnTo>
                  <a:lnTo>
                    <a:pt x="864" y="162"/>
                  </a:lnTo>
                  <a:lnTo>
                    <a:pt x="870" y="162"/>
                  </a:lnTo>
                  <a:lnTo>
                    <a:pt x="876" y="168"/>
                  </a:lnTo>
                  <a:lnTo>
                    <a:pt x="888" y="168"/>
                  </a:lnTo>
                  <a:lnTo>
                    <a:pt x="894" y="174"/>
                  </a:lnTo>
                  <a:lnTo>
                    <a:pt x="900" y="174"/>
                  </a:lnTo>
                  <a:lnTo>
                    <a:pt x="918" y="174"/>
                  </a:lnTo>
                  <a:lnTo>
                    <a:pt x="924" y="174"/>
                  </a:lnTo>
                  <a:lnTo>
                    <a:pt x="930" y="174"/>
                  </a:lnTo>
                  <a:lnTo>
                    <a:pt x="942" y="174"/>
                  </a:lnTo>
                  <a:lnTo>
                    <a:pt x="954" y="174"/>
                  </a:lnTo>
                  <a:lnTo>
                    <a:pt x="960" y="174"/>
                  </a:lnTo>
                  <a:lnTo>
                    <a:pt x="966" y="174"/>
                  </a:lnTo>
                  <a:lnTo>
                    <a:pt x="966" y="168"/>
                  </a:lnTo>
                  <a:lnTo>
                    <a:pt x="972" y="162"/>
                  </a:lnTo>
                  <a:lnTo>
                    <a:pt x="972" y="156"/>
                  </a:lnTo>
                  <a:close/>
                  <a:moveTo>
                    <a:pt x="942" y="174"/>
                  </a:moveTo>
                  <a:lnTo>
                    <a:pt x="936" y="174"/>
                  </a:lnTo>
                  <a:lnTo>
                    <a:pt x="936" y="168"/>
                  </a:lnTo>
                  <a:lnTo>
                    <a:pt x="936" y="162"/>
                  </a:lnTo>
                  <a:lnTo>
                    <a:pt x="948" y="162"/>
                  </a:lnTo>
                  <a:lnTo>
                    <a:pt x="948" y="156"/>
                  </a:lnTo>
                  <a:lnTo>
                    <a:pt x="954" y="156"/>
                  </a:lnTo>
                  <a:lnTo>
                    <a:pt x="960" y="156"/>
                  </a:lnTo>
                  <a:lnTo>
                    <a:pt x="966" y="156"/>
                  </a:lnTo>
                  <a:lnTo>
                    <a:pt x="966" y="162"/>
                  </a:lnTo>
                  <a:lnTo>
                    <a:pt x="960" y="168"/>
                  </a:lnTo>
                  <a:lnTo>
                    <a:pt x="942" y="174"/>
                  </a:lnTo>
                  <a:close/>
                  <a:moveTo>
                    <a:pt x="900" y="168"/>
                  </a:moveTo>
                  <a:lnTo>
                    <a:pt x="894" y="168"/>
                  </a:lnTo>
                  <a:lnTo>
                    <a:pt x="882" y="156"/>
                  </a:lnTo>
                  <a:lnTo>
                    <a:pt x="882" y="150"/>
                  </a:lnTo>
                  <a:lnTo>
                    <a:pt x="888" y="156"/>
                  </a:lnTo>
                  <a:lnTo>
                    <a:pt x="894" y="150"/>
                  </a:lnTo>
                  <a:lnTo>
                    <a:pt x="900" y="150"/>
                  </a:lnTo>
                  <a:lnTo>
                    <a:pt x="906" y="150"/>
                  </a:lnTo>
                  <a:lnTo>
                    <a:pt x="912" y="150"/>
                  </a:lnTo>
                  <a:lnTo>
                    <a:pt x="924" y="150"/>
                  </a:lnTo>
                  <a:lnTo>
                    <a:pt x="924" y="156"/>
                  </a:lnTo>
                  <a:lnTo>
                    <a:pt x="924" y="162"/>
                  </a:lnTo>
                  <a:lnTo>
                    <a:pt x="924" y="168"/>
                  </a:lnTo>
                  <a:lnTo>
                    <a:pt x="918" y="168"/>
                  </a:lnTo>
                  <a:lnTo>
                    <a:pt x="906" y="168"/>
                  </a:lnTo>
                  <a:lnTo>
                    <a:pt x="900" y="168"/>
                  </a:lnTo>
                  <a:close/>
                  <a:moveTo>
                    <a:pt x="870" y="162"/>
                  </a:moveTo>
                  <a:lnTo>
                    <a:pt x="876" y="162"/>
                  </a:lnTo>
                  <a:lnTo>
                    <a:pt x="876" y="168"/>
                  </a:lnTo>
                  <a:lnTo>
                    <a:pt x="870" y="168"/>
                  </a:lnTo>
                  <a:lnTo>
                    <a:pt x="870" y="162"/>
                  </a:lnTo>
                  <a:close/>
                  <a:moveTo>
                    <a:pt x="450" y="162"/>
                  </a:moveTo>
                  <a:lnTo>
                    <a:pt x="444" y="162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2" y="150"/>
                  </a:lnTo>
                  <a:lnTo>
                    <a:pt x="438" y="150"/>
                  </a:lnTo>
                  <a:lnTo>
                    <a:pt x="438" y="144"/>
                  </a:lnTo>
                  <a:lnTo>
                    <a:pt x="438" y="150"/>
                  </a:lnTo>
                  <a:lnTo>
                    <a:pt x="444" y="150"/>
                  </a:lnTo>
                  <a:lnTo>
                    <a:pt x="450" y="150"/>
                  </a:lnTo>
                  <a:lnTo>
                    <a:pt x="450" y="156"/>
                  </a:lnTo>
                  <a:lnTo>
                    <a:pt x="456" y="156"/>
                  </a:lnTo>
                  <a:lnTo>
                    <a:pt x="456" y="150"/>
                  </a:lnTo>
                  <a:lnTo>
                    <a:pt x="456" y="156"/>
                  </a:lnTo>
                  <a:lnTo>
                    <a:pt x="462" y="150"/>
                  </a:lnTo>
                  <a:lnTo>
                    <a:pt x="462" y="144"/>
                  </a:lnTo>
                  <a:lnTo>
                    <a:pt x="468" y="144"/>
                  </a:lnTo>
                  <a:lnTo>
                    <a:pt x="468" y="150"/>
                  </a:lnTo>
                  <a:lnTo>
                    <a:pt x="474" y="150"/>
                  </a:lnTo>
                  <a:lnTo>
                    <a:pt x="480" y="150"/>
                  </a:lnTo>
                  <a:lnTo>
                    <a:pt x="480" y="156"/>
                  </a:lnTo>
                  <a:lnTo>
                    <a:pt x="480" y="162"/>
                  </a:lnTo>
                  <a:lnTo>
                    <a:pt x="474" y="162"/>
                  </a:lnTo>
                  <a:lnTo>
                    <a:pt x="474" y="168"/>
                  </a:lnTo>
                  <a:lnTo>
                    <a:pt x="474" y="162"/>
                  </a:lnTo>
                  <a:lnTo>
                    <a:pt x="468" y="162"/>
                  </a:lnTo>
                  <a:lnTo>
                    <a:pt x="462" y="162"/>
                  </a:lnTo>
                  <a:lnTo>
                    <a:pt x="456" y="162"/>
                  </a:lnTo>
                  <a:lnTo>
                    <a:pt x="450" y="16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6" name="Freeform 31">
              <a:extLst>
                <a:ext uri="{FF2B5EF4-FFF2-40B4-BE49-F238E27FC236}">
                  <a16:creationId xmlns:a16="http://schemas.microsoft.com/office/drawing/2014/main" id="{0989F057-38E8-4AA5-8B73-27F6355E235C}"/>
                </a:ext>
              </a:extLst>
            </p:cNvPr>
            <p:cNvSpPr>
              <a:spLocks/>
            </p:cNvSpPr>
            <p:nvPr/>
          </p:nvSpPr>
          <p:spPr bwMode="gray">
            <a:xfrm>
              <a:off x="792590" y="2728084"/>
              <a:ext cx="1182944" cy="740282"/>
            </a:xfrm>
            <a:custGeom>
              <a:avLst/>
              <a:gdLst>
                <a:gd name="T0" fmla="*/ 138 w 2226"/>
                <a:gd name="T1" fmla="*/ 121 h 1392"/>
                <a:gd name="T2" fmla="*/ 133 w 2226"/>
                <a:gd name="T3" fmla="*/ 119 h 1392"/>
                <a:gd name="T4" fmla="*/ 128 w 2226"/>
                <a:gd name="T5" fmla="*/ 117 h 1392"/>
                <a:gd name="T6" fmla="*/ 119 w 2226"/>
                <a:gd name="T7" fmla="*/ 116 h 1392"/>
                <a:gd name="T8" fmla="*/ 101 w 2226"/>
                <a:gd name="T9" fmla="*/ 116 h 1392"/>
                <a:gd name="T10" fmla="*/ 94 w 2226"/>
                <a:gd name="T11" fmla="*/ 104 h 1392"/>
                <a:gd name="T12" fmla="*/ 82 w 2226"/>
                <a:gd name="T13" fmla="*/ 83 h 1392"/>
                <a:gd name="T14" fmla="*/ 87 w 2226"/>
                <a:gd name="T15" fmla="*/ 69 h 1392"/>
                <a:gd name="T16" fmla="*/ 82 w 2226"/>
                <a:gd name="T17" fmla="*/ 65 h 1392"/>
                <a:gd name="T18" fmla="*/ 59 w 2226"/>
                <a:gd name="T19" fmla="*/ 57 h 1392"/>
                <a:gd name="T20" fmla="*/ 29 w 2226"/>
                <a:gd name="T21" fmla="*/ 77 h 1392"/>
                <a:gd name="T22" fmla="*/ 20 w 2226"/>
                <a:gd name="T23" fmla="*/ 78 h 1392"/>
                <a:gd name="T24" fmla="*/ 15 w 2226"/>
                <a:gd name="T25" fmla="*/ 82 h 1392"/>
                <a:gd name="T26" fmla="*/ 8 w 2226"/>
                <a:gd name="T27" fmla="*/ 86 h 1392"/>
                <a:gd name="T28" fmla="*/ 1 w 2226"/>
                <a:gd name="T29" fmla="*/ 88 h 1392"/>
                <a:gd name="T30" fmla="*/ 0 w 2226"/>
                <a:gd name="T31" fmla="*/ 82 h 1392"/>
                <a:gd name="T32" fmla="*/ 0 w 2226"/>
                <a:gd name="T33" fmla="*/ 76 h 1392"/>
                <a:gd name="T34" fmla="*/ 2 w 2226"/>
                <a:gd name="T35" fmla="*/ 70 h 1392"/>
                <a:gd name="T36" fmla="*/ 3 w 2226"/>
                <a:gd name="T37" fmla="*/ 65 h 1392"/>
                <a:gd name="T38" fmla="*/ 2 w 2226"/>
                <a:gd name="T39" fmla="*/ 63 h 1392"/>
                <a:gd name="T40" fmla="*/ 9 w 2226"/>
                <a:gd name="T41" fmla="*/ 60 h 1392"/>
                <a:gd name="T42" fmla="*/ 17 w 2226"/>
                <a:gd name="T43" fmla="*/ 59 h 1392"/>
                <a:gd name="T44" fmla="*/ 22 w 2226"/>
                <a:gd name="T45" fmla="*/ 51 h 1392"/>
                <a:gd name="T46" fmla="*/ 23 w 2226"/>
                <a:gd name="T47" fmla="*/ 43 h 1392"/>
                <a:gd name="T48" fmla="*/ 27 w 2226"/>
                <a:gd name="T49" fmla="*/ 34 h 1392"/>
                <a:gd name="T50" fmla="*/ 30 w 2226"/>
                <a:gd name="T51" fmla="*/ 27 h 1392"/>
                <a:gd name="T52" fmla="*/ 33 w 2226"/>
                <a:gd name="T53" fmla="*/ 22 h 1392"/>
                <a:gd name="T54" fmla="*/ 42 w 2226"/>
                <a:gd name="T55" fmla="*/ 17 h 1392"/>
                <a:gd name="T56" fmla="*/ 47 w 2226"/>
                <a:gd name="T57" fmla="*/ 14 h 1392"/>
                <a:gd name="T58" fmla="*/ 49 w 2226"/>
                <a:gd name="T59" fmla="*/ 5 h 1392"/>
                <a:gd name="T60" fmla="*/ 53 w 2226"/>
                <a:gd name="T61" fmla="*/ 0 h 1392"/>
                <a:gd name="T62" fmla="*/ 55 w 2226"/>
                <a:gd name="T63" fmla="*/ 4 h 1392"/>
                <a:gd name="T64" fmla="*/ 59 w 2226"/>
                <a:gd name="T65" fmla="*/ 7 h 1392"/>
                <a:gd name="T66" fmla="*/ 63 w 2226"/>
                <a:gd name="T67" fmla="*/ 7 h 1392"/>
                <a:gd name="T68" fmla="*/ 66 w 2226"/>
                <a:gd name="T69" fmla="*/ 9 h 1392"/>
                <a:gd name="T70" fmla="*/ 67 w 2226"/>
                <a:gd name="T71" fmla="*/ 12 h 1392"/>
                <a:gd name="T72" fmla="*/ 67 w 2226"/>
                <a:gd name="T73" fmla="*/ 13 h 1392"/>
                <a:gd name="T74" fmla="*/ 70 w 2226"/>
                <a:gd name="T75" fmla="*/ 15 h 1392"/>
                <a:gd name="T76" fmla="*/ 74 w 2226"/>
                <a:gd name="T77" fmla="*/ 17 h 1392"/>
                <a:gd name="T78" fmla="*/ 78 w 2226"/>
                <a:gd name="T79" fmla="*/ 18 h 1392"/>
                <a:gd name="T80" fmla="*/ 97 w 2226"/>
                <a:gd name="T81" fmla="*/ 40 h 1392"/>
                <a:gd name="T82" fmla="*/ 102 w 2226"/>
                <a:gd name="T83" fmla="*/ 44 h 1392"/>
                <a:gd name="T84" fmla="*/ 110 w 2226"/>
                <a:gd name="T85" fmla="*/ 49 h 1392"/>
                <a:gd name="T86" fmla="*/ 113 w 2226"/>
                <a:gd name="T87" fmla="*/ 53 h 1392"/>
                <a:gd name="T88" fmla="*/ 118 w 2226"/>
                <a:gd name="T89" fmla="*/ 57 h 1392"/>
                <a:gd name="T90" fmla="*/ 124 w 2226"/>
                <a:gd name="T91" fmla="*/ 54 h 1392"/>
                <a:gd name="T92" fmla="*/ 133 w 2226"/>
                <a:gd name="T93" fmla="*/ 58 h 1392"/>
                <a:gd name="T94" fmla="*/ 137 w 2226"/>
                <a:gd name="T95" fmla="*/ 64 h 1392"/>
                <a:gd name="T96" fmla="*/ 145 w 2226"/>
                <a:gd name="T97" fmla="*/ 65 h 1392"/>
                <a:gd name="T98" fmla="*/ 152 w 2226"/>
                <a:gd name="T99" fmla="*/ 67 h 1392"/>
                <a:gd name="T100" fmla="*/ 161 w 2226"/>
                <a:gd name="T101" fmla="*/ 72 h 1392"/>
                <a:gd name="T102" fmla="*/ 168 w 2226"/>
                <a:gd name="T103" fmla="*/ 76 h 1392"/>
                <a:gd name="T104" fmla="*/ 177 w 2226"/>
                <a:gd name="T105" fmla="*/ 78 h 1392"/>
                <a:gd name="T106" fmla="*/ 184 w 2226"/>
                <a:gd name="T107" fmla="*/ 78 h 1392"/>
                <a:gd name="T108" fmla="*/ 190 w 2226"/>
                <a:gd name="T109" fmla="*/ 81 h 1392"/>
                <a:gd name="T110" fmla="*/ 192 w 2226"/>
                <a:gd name="T111" fmla="*/ 86 h 1392"/>
                <a:gd name="T112" fmla="*/ 187 w 2226"/>
                <a:gd name="T113" fmla="*/ 99 h 1392"/>
                <a:gd name="T114" fmla="*/ 165 w 2226"/>
                <a:gd name="T115" fmla="*/ 97 h 1392"/>
                <a:gd name="T116" fmla="*/ 155 w 2226"/>
                <a:gd name="T117" fmla="*/ 92 h 1392"/>
                <a:gd name="T118" fmla="*/ 146 w 2226"/>
                <a:gd name="T119" fmla="*/ 102 h 1392"/>
                <a:gd name="T120" fmla="*/ 149 w 2226"/>
                <a:gd name="T121" fmla="*/ 106 h 1392"/>
                <a:gd name="T122" fmla="*/ 151 w 2226"/>
                <a:gd name="T123" fmla="*/ 108 h 1392"/>
                <a:gd name="T124" fmla="*/ 157 w 2226"/>
                <a:gd name="T125" fmla="*/ 113 h 13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1392"/>
                <a:gd name="T191" fmla="*/ 2226 w 2226"/>
                <a:gd name="T192" fmla="*/ 1392 h 13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1392">
                  <a:moveTo>
                    <a:pt x="1782" y="1326"/>
                  </a:moveTo>
                  <a:lnTo>
                    <a:pt x="1776" y="1332"/>
                  </a:lnTo>
                  <a:lnTo>
                    <a:pt x="1692" y="1338"/>
                  </a:lnTo>
                  <a:lnTo>
                    <a:pt x="1680" y="1386"/>
                  </a:lnTo>
                  <a:lnTo>
                    <a:pt x="1674" y="1392"/>
                  </a:lnTo>
                  <a:lnTo>
                    <a:pt x="1638" y="1392"/>
                  </a:lnTo>
                  <a:lnTo>
                    <a:pt x="1620" y="1392"/>
                  </a:lnTo>
                  <a:lnTo>
                    <a:pt x="1614" y="1392"/>
                  </a:lnTo>
                  <a:lnTo>
                    <a:pt x="1608" y="1386"/>
                  </a:lnTo>
                  <a:lnTo>
                    <a:pt x="1584" y="1386"/>
                  </a:lnTo>
                  <a:lnTo>
                    <a:pt x="1578" y="1386"/>
                  </a:lnTo>
                  <a:lnTo>
                    <a:pt x="1572" y="1380"/>
                  </a:lnTo>
                  <a:lnTo>
                    <a:pt x="1578" y="1356"/>
                  </a:lnTo>
                  <a:lnTo>
                    <a:pt x="1572" y="1356"/>
                  </a:lnTo>
                  <a:lnTo>
                    <a:pt x="1560" y="1350"/>
                  </a:lnTo>
                  <a:lnTo>
                    <a:pt x="1554" y="1350"/>
                  </a:lnTo>
                  <a:lnTo>
                    <a:pt x="1542" y="1350"/>
                  </a:lnTo>
                  <a:lnTo>
                    <a:pt x="1530" y="1350"/>
                  </a:lnTo>
                  <a:lnTo>
                    <a:pt x="1524" y="1356"/>
                  </a:lnTo>
                  <a:lnTo>
                    <a:pt x="1524" y="1362"/>
                  </a:lnTo>
                  <a:lnTo>
                    <a:pt x="1512" y="1374"/>
                  </a:lnTo>
                  <a:lnTo>
                    <a:pt x="1506" y="1374"/>
                  </a:lnTo>
                  <a:lnTo>
                    <a:pt x="1500" y="1368"/>
                  </a:lnTo>
                  <a:lnTo>
                    <a:pt x="1500" y="1362"/>
                  </a:lnTo>
                  <a:lnTo>
                    <a:pt x="1488" y="1362"/>
                  </a:lnTo>
                  <a:lnTo>
                    <a:pt x="1482" y="1356"/>
                  </a:lnTo>
                  <a:lnTo>
                    <a:pt x="1482" y="1350"/>
                  </a:lnTo>
                  <a:lnTo>
                    <a:pt x="1476" y="1350"/>
                  </a:lnTo>
                  <a:lnTo>
                    <a:pt x="1470" y="1344"/>
                  </a:lnTo>
                  <a:lnTo>
                    <a:pt x="1464" y="1344"/>
                  </a:lnTo>
                  <a:lnTo>
                    <a:pt x="1452" y="1350"/>
                  </a:lnTo>
                  <a:lnTo>
                    <a:pt x="1452" y="1356"/>
                  </a:lnTo>
                  <a:lnTo>
                    <a:pt x="1440" y="1356"/>
                  </a:lnTo>
                  <a:lnTo>
                    <a:pt x="1434" y="1344"/>
                  </a:lnTo>
                  <a:lnTo>
                    <a:pt x="1422" y="1332"/>
                  </a:lnTo>
                  <a:lnTo>
                    <a:pt x="1416" y="1326"/>
                  </a:lnTo>
                  <a:lnTo>
                    <a:pt x="1404" y="1320"/>
                  </a:lnTo>
                  <a:lnTo>
                    <a:pt x="1404" y="1314"/>
                  </a:lnTo>
                  <a:lnTo>
                    <a:pt x="1374" y="1308"/>
                  </a:lnTo>
                  <a:lnTo>
                    <a:pt x="1368" y="1326"/>
                  </a:lnTo>
                  <a:lnTo>
                    <a:pt x="1344" y="1338"/>
                  </a:lnTo>
                  <a:lnTo>
                    <a:pt x="1326" y="1332"/>
                  </a:lnTo>
                  <a:lnTo>
                    <a:pt x="1302" y="1332"/>
                  </a:lnTo>
                  <a:lnTo>
                    <a:pt x="1278" y="1338"/>
                  </a:lnTo>
                  <a:lnTo>
                    <a:pt x="1236" y="1338"/>
                  </a:lnTo>
                  <a:lnTo>
                    <a:pt x="1224" y="1338"/>
                  </a:lnTo>
                  <a:lnTo>
                    <a:pt x="1224" y="1326"/>
                  </a:lnTo>
                  <a:lnTo>
                    <a:pt x="1206" y="1326"/>
                  </a:lnTo>
                  <a:lnTo>
                    <a:pt x="1170" y="1326"/>
                  </a:lnTo>
                  <a:lnTo>
                    <a:pt x="1152" y="1326"/>
                  </a:lnTo>
                  <a:lnTo>
                    <a:pt x="1140" y="1314"/>
                  </a:lnTo>
                  <a:lnTo>
                    <a:pt x="1134" y="1296"/>
                  </a:lnTo>
                  <a:lnTo>
                    <a:pt x="1134" y="1284"/>
                  </a:lnTo>
                  <a:lnTo>
                    <a:pt x="1128" y="1254"/>
                  </a:lnTo>
                  <a:lnTo>
                    <a:pt x="1128" y="1242"/>
                  </a:lnTo>
                  <a:lnTo>
                    <a:pt x="1122" y="1230"/>
                  </a:lnTo>
                  <a:lnTo>
                    <a:pt x="1104" y="1218"/>
                  </a:lnTo>
                  <a:lnTo>
                    <a:pt x="1104" y="1212"/>
                  </a:lnTo>
                  <a:lnTo>
                    <a:pt x="1092" y="1206"/>
                  </a:lnTo>
                  <a:lnTo>
                    <a:pt x="1080" y="1194"/>
                  </a:lnTo>
                  <a:lnTo>
                    <a:pt x="1068" y="1176"/>
                  </a:lnTo>
                  <a:lnTo>
                    <a:pt x="1050" y="1152"/>
                  </a:lnTo>
                  <a:lnTo>
                    <a:pt x="1020" y="1098"/>
                  </a:lnTo>
                  <a:lnTo>
                    <a:pt x="978" y="1026"/>
                  </a:lnTo>
                  <a:lnTo>
                    <a:pt x="978" y="1014"/>
                  </a:lnTo>
                  <a:lnTo>
                    <a:pt x="972" y="1014"/>
                  </a:lnTo>
                  <a:lnTo>
                    <a:pt x="972" y="1008"/>
                  </a:lnTo>
                  <a:lnTo>
                    <a:pt x="978" y="1002"/>
                  </a:lnTo>
                  <a:lnTo>
                    <a:pt x="960" y="966"/>
                  </a:lnTo>
                  <a:lnTo>
                    <a:pt x="948" y="954"/>
                  </a:lnTo>
                  <a:lnTo>
                    <a:pt x="948" y="936"/>
                  </a:lnTo>
                  <a:lnTo>
                    <a:pt x="936" y="900"/>
                  </a:lnTo>
                  <a:lnTo>
                    <a:pt x="942" y="876"/>
                  </a:lnTo>
                  <a:lnTo>
                    <a:pt x="942" y="834"/>
                  </a:lnTo>
                  <a:lnTo>
                    <a:pt x="960" y="828"/>
                  </a:lnTo>
                  <a:lnTo>
                    <a:pt x="966" y="816"/>
                  </a:lnTo>
                  <a:lnTo>
                    <a:pt x="972" y="810"/>
                  </a:lnTo>
                  <a:lnTo>
                    <a:pt x="978" y="804"/>
                  </a:lnTo>
                  <a:lnTo>
                    <a:pt x="996" y="798"/>
                  </a:lnTo>
                  <a:lnTo>
                    <a:pt x="996" y="792"/>
                  </a:lnTo>
                  <a:lnTo>
                    <a:pt x="1014" y="780"/>
                  </a:lnTo>
                  <a:lnTo>
                    <a:pt x="1026" y="768"/>
                  </a:lnTo>
                  <a:lnTo>
                    <a:pt x="1032" y="762"/>
                  </a:lnTo>
                  <a:lnTo>
                    <a:pt x="1026" y="756"/>
                  </a:lnTo>
                  <a:lnTo>
                    <a:pt x="1014" y="744"/>
                  </a:lnTo>
                  <a:lnTo>
                    <a:pt x="996" y="756"/>
                  </a:lnTo>
                  <a:lnTo>
                    <a:pt x="954" y="768"/>
                  </a:lnTo>
                  <a:lnTo>
                    <a:pt x="942" y="762"/>
                  </a:lnTo>
                  <a:lnTo>
                    <a:pt x="942" y="756"/>
                  </a:lnTo>
                  <a:lnTo>
                    <a:pt x="936" y="750"/>
                  </a:lnTo>
                  <a:lnTo>
                    <a:pt x="846" y="732"/>
                  </a:lnTo>
                  <a:lnTo>
                    <a:pt x="822" y="726"/>
                  </a:lnTo>
                  <a:lnTo>
                    <a:pt x="810" y="714"/>
                  </a:lnTo>
                  <a:lnTo>
                    <a:pt x="792" y="690"/>
                  </a:lnTo>
                  <a:lnTo>
                    <a:pt x="792" y="678"/>
                  </a:lnTo>
                  <a:lnTo>
                    <a:pt x="762" y="642"/>
                  </a:lnTo>
                  <a:lnTo>
                    <a:pt x="750" y="636"/>
                  </a:lnTo>
                  <a:lnTo>
                    <a:pt x="726" y="630"/>
                  </a:lnTo>
                  <a:lnTo>
                    <a:pt x="696" y="642"/>
                  </a:lnTo>
                  <a:lnTo>
                    <a:pt x="678" y="654"/>
                  </a:lnTo>
                  <a:lnTo>
                    <a:pt x="666" y="684"/>
                  </a:lnTo>
                  <a:lnTo>
                    <a:pt x="660" y="726"/>
                  </a:lnTo>
                  <a:lnTo>
                    <a:pt x="606" y="756"/>
                  </a:lnTo>
                  <a:lnTo>
                    <a:pt x="558" y="780"/>
                  </a:lnTo>
                  <a:lnTo>
                    <a:pt x="438" y="834"/>
                  </a:lnTo>
                  <a:lnTo>
                    <a:pt x="402" y="846"/>
                  </a:lnTo>
                  <a:lnTo>
                    <a:pt x="372" y="870"/>
                  </a:lnTo>
                  <a:lnTo>
                    <a:pt x="360" y="876"/>
                  </a:lnTo>
                  <a:lnTo>
                    <a:pt x="354" y="876"/>
                  </a:lnTo>
                  <a:lnTo>
                    <a:pt x="330" y="882"/>
                  </a:lnTo>
                  <a:lnTo>
                    <a:pt x="306" y="882"/>
                  </a:lnTo>
                  <a:lnTo>
                    <a:pt x="300" y="876"/>
                  </a:lnTo>
                  <a:lnTo>
                    <a:pt x="294" y="876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76" y="864"/>
                  </a:lnTo>
                  <a:lnTo>
                    <a:pt x="270" y="870"/>
                  </a:lnTo>
                  <a:lnTo>
                    <a:pt x="264" y="870"/>
                  </a:lnTo>
                  <a:lnTo>
                    <a:pt x="240" y="894"/>
                  </a:lnTo>
                  <a:lnTo>
                    <a:pt x="234" y="894"/>
                  </a:lnTo>
                  <a:lnTo>
                    <a:pt x="228" y="900"/>
                  </a:lnTo>
                  <a:lnTo>
                    <a:pt x="222" y="906"/>
                  </a:lnTo>
                  <a:lnTo>
                    <a:pt x="210" y="912"/>
                  </a:lnTo>
                  <a:lnTo>
                    <a:pt x="204" y="912"/>
                  </a:lnTo>
                  <a:lnTo>
                    <a:pt x="198" y="912"/>
                  </a:lnTo>
                  <a:lnTo>
                    <a:pt x="192" y="918"/>
                  </a:lnTo>
                  <a:lnTo>
                    <a:pt x="180" y="918"/>
                  </a:lnTo>
                  <a:lnTo>
                    <a:pt x="174" y="930"/>
                  </a:lnTo>
                  <a:lnTo>
                    <a:pt x="174" y="936"/>
                  </a:lnTo>
                  <a:lnTo>
                    <a:pt x="168" y="942"/>
                  </a:lnTo>
                  <a:lnTo>
                    <a:pt x="162" y="942"/>
                  </a:lnTo>
                  <a:lnTo>
                    <a:pt x="150" y="960"/>
                  </a:lnTo>
                  <a:lnTo>
                    <a:pt x="144" y="966"/>
                  </a:lnTo>
                  <a:lnTo>
                    <a:pt x="138" y="972"/>
                  </a:lnTo>
                  <a:lnTo>
                    <a:pt x="132" y="972"/>
                  </a:lnTo>
                  <a:lnTo>
                    <a:pt x="126" y="984"/>
                  </a:lnTo>
                  <a:lnTo>
                    <a:pt x="120" y="984"/>
                  </a:lnTo>
                  <a:lnTo>
                    <a:pt x="114" y="990"/>
                  </a:lnTo>
                  <a:lnTo>
                    <a:pt x="96" y="990"/>
                  </a:lnTo>
                  <a:lnTo>
                    <a:pt x="90" y="990"/>
                  </a:lnTo>
                  <a:lnTo>
                    <a:pt x="78" y="990"/>
                  </a:lnTo>
                  <a:lnTo>
                    <a:pt x="72" y="990"/>
                  </a:lnTo>
                  <a:lnTo>
                    <a:pt x="60" y="990"/>
                  </a:lnTo>
                  <a:lnTo>
                    <a:pt x="42" y="990"/>
                  </a:lnTo>
                  <a:lnTo>
                    <a:pt x="36" y="996"/>
                  </a:lnTo>
                  <a:lnTo>
                    <a:pt x="30" y="1002"/>
                  </a:lnTo>
                  <a:lnTo>
                    <a:pt x="24" y="1014"/>
                  </a:lnTo>
                  <a:lnTo>
                    <a:pt x="24" y="1020"/>
                  </a:lnTo>
                  <a:lnTo>
                    <a:pt x="18" y="1020"/>
                  </a:lnTo>
                  <a:lnTo>
                    <a:pt x="12" y="1014"/>
                  </a:lnTo>
                  <a:lnTo>
                    <a:pt x="12" y="1008"/>
                  </a:lnTo>
                  <a:lnTo>
                    <a:pt x="12" y="990"/>
                  </a:lnTo>
                  <a:lnTo>
                    <a:pt x="12" y="984"/>
                  </a:lnTo>
                  <a:lnTo>
                    <a:pt x="12" y="972"/>
                  </a:lnTo>
                  <a:lnTo>
                    <a:pt x="12" y="966"/>
                  </a:lnTo>
                  <a:lnTo>
                    <a:pt x="6" y="966"/>
                  </a:lnTo>
                  <a:lnTo>
                    <a:pt x="6" y="960"/>
                  </a:lnTo>
                  <a:lnTo>
                    <a:pt x="6" y="954"/>
                  </a:lnTo>
                  <a:lnTo>
                    <a:pt x="6" y="948"/>
                  </a:lnTo>
                  <a:lnTo>
                    <a:pt x="6" y="942"/>
                  </a:lnTo>
                  <a:lnTo>
                    <a:pt x="12" y="930"/>
                  </a:lnTo>
                  <a:lnTo>
                    <a:pt x="6" y="924"/>
                  </a:lnTo>
                  <a:lnTo>
                    <a:pt x="6" y="918"/>
                  </a:lnTo>
                  <a:lnTo>
                    <a:pt x="6" y="912"/>
                  </a:lnTo>
                  <a:lnTo>
                    <a:pt x="6" y="906"/>
                  </a:lnTo>
                  <a:lnTo>
                    <a:pt x="6" y="900"/>
                  </a:lnTo>
                  <a:lnTo>
                    <a:pt x="0" y="894"/>
                  </a:lnTo>
                  <a:lnTo>
                    <a:pt x="0" y="888"/>
                  </a:lnTo>
                  <a:lnTo>
                    <a:pt x="0" y="882"/>
                  </a:lnTo>
                  <a:lnTo>
                    <a:pt x="6" y="876"/>
                  </a:lnTo>
                  <a:lnTo>
                    <a:pt x="6" y="870"/>
                  </a:lnTo>
                  <a:lnTo>
                    <a:pt x="18" y="864"/>
                  </a:lnTo>
                  <a:lnTo>
                    <a:pt x="18" y="858"/>
                  </a:lnTo>
                  <a:lnTo>
                    <a:pt x="18" y="846"/>
                  </a:lnTo>
                  <a:lnTo>
                    <a:pt x="18" y="834"/>
                  </a:lnTo>
                  <a:lnTo>
                    <a:pt x="18" y="828"/>
                  </a:lnTo>
                  <a:lnTo>
                    <a:pt x="24" y="828"/>
                  </a:lnTo>
                  <a:lnTo>
                    <a:pt x="24" y="810"/>
                  </a:lnTo>
                  <a:lnTo>
                    <a:pt x="24" y="804"/>
                  </a:lnTo>
                  <a:lnTo>
                    <a:pt x="18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24" y="792"/>
                  </a:lnTo>
                  <a:lnTo>
                    <a:pt x="30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6" y="762"/>
                  </a:lnTo>
                  <a:lnTo>
                    <a:pt x="36" y="756"/>
                  </a:lnTo>
                  <a:lnTo>
                    <a:pt x="30" y="756"/>
                  </a:lnTo>
                  <a:lnTo>
                    <a:pt x="30" y="750"/>
                  </a:lnTo>
                  <a:lnTo>
                    <a:pt x="36" y="750"/>
                  </a:lnTo>
                  <a:lnTo>
                    <a:pt x="36" y="744"/>
                  </a:lnTo>
                  <a:lnTo>
                    <a:pt x="30" y="744"/>
                  </a:lnTo>
                  <a:lnTo>
                    <a:pt x="30" y="738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0" y="732"/>
                  </a:lnTo>
                  <a:lnTo>
                    <a:pt x="36" y="726"/>
                  </a:lnTo>
                  <a:lnTo>
                    <a:pt x="30" y="726"/>
                  </a:lnTo>
                  <a:lnTo>
                    <a:pt x="24" y="726"/>
                  </a:lnTo>
                  <a:lnTo>
                    <a:pt x="30" y="720"/>
                  </a:lnTo>
                  <a:lnTo>
                    <a:pt x="30" y="714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696"/>
                  </a:lnTo>
                  <a:lnTo>
                    <a:pt x="66" y="702"/>
                  </a:lnTo>
                  <a:lnTo>
                    <a:pt x="78" y="702"/>
                  </a:lnTo>
                  <a:lnTo>
                    <a:pt x="84" y="702"/>
                  </a:lnTo>
                  <a:lnTo>
                    <a:pt x="96" y="696"/>
                  </a:lnTo>
                  <a:lnTo>
                    <a:pt x="102" y="690"/>
                  </a:lnTo>
                  <a:lnTo>
                    <a:pt x="102" y="684"/>
                  </a:lnTo>
                  <a:lnTo>
                    <a:pt x="114" y="684"/>
                  </a:lnTo>
                  <a:lnTo>
                    <a:pt x="144" y="684"/>
                  </a:lnTo>
                  <a:lnTo>
                    <a:pt x="150" y="690"/>
                  </a:lnTo>
                  <a:lnTo>
                    <a:pt x="162" y="696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6" y="690"/>
                  </a:lnTo>
                  <a:lnTo>
                    <a:pt x="192" y="690"/>
                  </a:lnTo>
                  <a:lnTo>
                    <a:pt x="198" y="684"/>
                  </a:lnTo>
                  <a:lnTo>
                    <a:pt x="204" y="684"/>
                  </a:lnTo>
                  <a:lnTo>
                    <a:pt x="210" y="684"/>
                  </a:lnTo>
                  <a:lnTo>
                    <a:pt x="222" y="678"/>
                  </a:lnTo>
                  <a:lnTo>
                    <a:pt x="228" y="678"/>
                  </a:lnTo>
                  <a:lnTo>
                    <a:pt x="228" y="660"/>
                  </a:lnTo>
                  <a:lnTo>
                    <a:pt x="234" y="642"/>
                  </a:lnTo>
                  <a:lnTo>
                    <a:pt x="246" y="618"/>
                  </a:lnTo>
                  <a:lnTo>
                    <a:pt x="252" y="618"/>
                  </a:lnTo>
                  <a:lnTo>
                    <a:pt x="252" y="600"/>
                  </a:lnTo>
                  <a:lnTo>
                    <a:pt x="252" y="588"/>
                  </a:lnTo>
                  <a:lnTo>
                    <a:pt x="252" y="582"/>
                  </a:lnTo>
                  <a:lnTo>
                    <a:pt x="258" y="576"/>
                  </a:lnTo>
                  <a:lnTo>
                    <a:pt x="270" y="564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70" y="522"/>
                  </a:lnTo>
                  <a:lnTo>
                    <a:pt x="270" y="510"/>
                  </a:lnTo>
                  <a:lnTo>
                    <a:pt x="270" y="498"/>
                  </a:lnTo>
                  <a:lnTo>
                    <a:pt x="258" y="468"/>
                  </a:lnTo>
                  <a:lnTo>
                    <a:pt x="252" y="456"/>
                  </a:lnTo>
                  <a:lnTo>
                    <a:pt x="258" y="444"/>
                  </a:lnTo>
                  <a:lnTo>
                    <a:pt x="264" y="432"/>
                  </a:lnTo>
                  <a:lnTo>
                    <a:pt x="270" y="426"/>
                  </a:lnTo>
                  <a:lnTo>
                    <a:pt x="276" y="420"/>
                  </a:lnTo>
                  <a:lnTo>
                    <a:pt x="288" y="420"/>
                  </a:lnTo>
                  <a:lnTo>
                    <a:pt x="288" y="414"/>
                  </a:lnTo>
                  <a:lnTo>
                    <a:pt x="294" y="414"/>
                  </a:lnTo>
                  <a:lnTo>
                    <a:pt x="306" y="390"/>
                  </a:lnTo>
                  <a:lnTo>
                    <a:pt x="312" y="384"/>
                  </a:lnTo>
                  <a:lnTo>
                    <a:pt x="318" y="378"/>
                  </a:lnTo>
                  <a:lnTo>
                    <a:pt x="318" y="372"/>
                  </a:lnTo>
                  <a:lnTo>
                    <a:pt x="324" y="366"/>
                  </a:lnTo>
                  <a:lnTo>
                    <a:pt x="330" y="354"/>
                  </a:lnTo>
                  <a:lnTo>
                    <a:pt x="336" y="348"/>
                  </a:lnTo>
                  <a:lnTo>
                    <a:pt x="336" y="330"/>
                  </a:lnTo>
                  <a:lnTo>
                    <a:pt x="342" y="324"/>
                  </a:lnTo>
                  <a:lnTo>
                    <a:pt x="342" y="318"/>
                  </a:lnTo>
                  <a:lnTo>
                    <a:pt x="348" y="318"/>
                  </a:lnTo>
                  <a:lnTo>
                    <a:pt x="360" y="318"/>
                  </a:lnTo>
                  <a:lnTo>
                    <a:pt x="372" y="318"/>
                  </a:lnTo>
                  <a:lnTo>
                    <a:pt x="384" y="306"/>
                  </a:lnTo>
                  <a:lnTo>
                    <a:pt x="396" y="300"/>
                  </a:lnTo>
                  <a:lnTo>
                    <a:pt x="396" y="294"/>
                  </a:lnTo>
                  <a:lnTo>
                    <a:pt x="396" y="288"/>
                  </a:lnTo>
                  <a:lnTo>
                    <a:pt x="390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2"/>
                  </a:lnTo>
                  <a:lnTo>
                    <a:pt x="378" y="246"/>
                  </a:lnTo>
                  <a:lnTo>
                    <a:pt x="384" y="228"/>
                  </a:lnTo>
                  <a:lnTo>
                    <a:pt x="390" y="216"/>
                  </a:lnTo>
                  <a:lnTo>
                    <a:pt x="402" y="210"/>
                  </a:lnTo>
                  <a:lnTo>
                    <a:pt x="408" y="210"/>
                  </a:lnTo>
                  <a:lnTo>
                    <a:pt x="420" y="204"/>
                  </a:lnTo>
                  <a:lnTo>
                    <a:pt x="444" y="198"/>
                  </a:lnTo>
                  <a:lnTo>
                    <a:pt x="462" y="192"/>
                  </a:lnTo>
                  <a:lnTo>
                    <a:pt x="474" y="186"/>
                  </a:lnTo>
                  <a:lnTo>
                    <a:pt x="480" y="192"/>
                  </a:lnTo>
                  <a:lnTo>
                    <a:pt x="492" y="192"/>
                  </a:lnTo>
                  <a:lnTo>
                    <a:pt x="498" y="192"/>
                  </a:lnTo>
                  <a:lnTo>
                    <a:pt x="504" y="192"/>
                  </a:lnTo>
                  <a:lnTo>
                    <a:pt x="510" y="192"/>
                  </a:lnTo>
                  <a:lnTo>
                    <a:pt x="516" y="186"/>
                  </a:lnTo>
                  <a:lnTo>
                    <a:pt x="522" y="180"/>
                  </a:lnTo>
                  <a:lnTo>
                    <a:pt x="522" y="174"/>
                  </a:lnTo>
                  <a:lnTo>
                    <a:pt x="528" y="168"/>
                  </a:lnTo>
                  <a:lnTo>
                    <a:pt x="534" y="168"/>
                  </a:lnTo>
                  <a:lnTo>
                    <a:pt x="534" y="156"/>
                  </a:lnTo>
                  <a:lnTo>
                    <a:pt x="534" y="150"/>
                  </a:lnTo>
                  <a:lnTo>
                    <a:pt x="552" y="138"/>
                  </a:lnTo>
                  <a:lnTo>
                    <a:pt x="558" y="126"/>
                  </a:lnTo>
                  <a:lnTo>
                    <a:pt x="558" y="114"/>
                  </a:lnTo>
                  <a:lnTo>
                    <a:pt x="564" y="102"/>
                  </a:lnTo>
                  <a:lnTo>
                    <a:pt x="564" y="96"/>
                  </a:lnTo>
                  <a:lnTo>
                    <a:pt x="564" y="90"/>
                  </a:lnTo>
                  <a:lnTo>
                    <a:pt x="564" y="72"/>
                  </a:lnTo>
                  <a:lnTo>
                    <a:pt x="564" y="60"/>
                  </a:lnTo>
                  <a:lnTo>
                    <a:pt x="564" y="54"/>
                  </a:lnTo>
                  <a:lnTo>
                    <a:pt x="570" y="42"/>
                  </a:lnTo>
                  <a:lnTo>
                    <a:pt x="576" y="42"/>
                  </a:lnTo>
                  <a:lnTo>
                    <a:pt x="582" y="36"/>
                  </a:lnTo>
                  <a:lnTo>
                    <a:pt x="594" y="36"/>
                  </a:lnTo>
                  <a:lnTo>
                    <a:pt x="594" y="30"/>
                  </a:lnTo>
                  <a:lnTo>
                    <a:pt x="600" y="24"/>
                  </a:lnTo>
                  <a:lnTo>
                    <a:pt x="600" y="12"/>
                  </a:lnTo>
                  <a:lnTo>
                    <a:pt x="606" y="6"/>
                  </a:lnTo>
                  <a:lnTo>
                    <a:pt x="606" y="0"/>
                  </a:lnTo>
                  <a:lnTo>
                    <a:pt x="612" y="0"/>
                  </a:lnTo>
                  <a:lnTo>
                    <a:pt x="618" y="0"/>
                  </a:lnTo>
                  <a:lnTo>
                    <a:pt x="624" y="6"/>
                  </a:lnTo>
                  <a:lnTo>
                    <a:pt x="624" y="12"/>
                  </a:lnTo>
                  <a:lnTo>
                    <a:pt x="624" y="18"/>
                  </a:lnTo>
                  <a:lnTo>
                    <a:pt x="624" y="24"/>
                  </a:lnTo>
                  <a:lnTo>
                    <a:pt x="624" y="30"/>
                  </a:lnTo>
                  <a:lnTo>
                    <a:pt x="630" y="30"/>
                  </a:lnTo>
                  <a:lnTo>
                    <a:pt x="630" y="36"/>
                  </a:lnTo>
                  <a:lnTo>
                    <a:pt x="630" y="42"/>
                  </a:lnTo>
                  <a:lnTo>
                    <a:pt x="630" y="48"/>
                  </a:lnTo>
                  <a:lnTo>
                    <a:pt x="636" y="54"/>
                  </a:lnTo>
                  <a:lnTo>
                    <a:pt x="642" y="48"/>
                  </a:lnTo>
                  <a:lnTo>
                    <a:pt x="648" y="48"/>
                  </a:lnTo>
                  <a:lnTo>
                    <a:pt x="648" y="60"/>
                  </a:lnTo>
                  <a:lnTo>
                    <a:pt x="654" y="66"/>
                  </a:lnTo>
                  <a:lnTo>
                    <a:pt x="660" y="72"/>
                  </a:lnTo>
                  <a:lnTo>
                    <a:pt x="666" y="72"/>
                  </a:lnTo>
                  <a:lnTo>
                    <a:pt x="666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72" y="66"/>
                  </a:lnTo>
                  <a:lnTo>
                    <a:pt x="678" y="66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6" y="66"/>
                  </a:lnTo>
                  <a:lnTo>
                    <a:pt x="696" y="72"/>
                  </a:lnTo>
                  <a:lnTo>
                    <a:pt x="702" y="72"/>
                  </a:lnTo>
                  <a:lnTo>
                    <a:pt x="708" y="72"/>
                  </a:lnTo>
                  <a:lnTo>
                    <a:pt x="720" y="66"/>
                  </a:lnTo>
                  <a:lnTo>
                    <a:pt x="726" y="78"/>
                  </a:lnTo>
                  <a:lnTo>
                    <a:pt x="744" y="84"/>
                  </a:lnTo>
                  <a:lnTo>
                    <a:pt x="744" y="90"/>
                  </a:lnTo>
                  <a:lnTo>
                    <a:pt x="744" y="96"/>
                  </a:lnTo>
                  <a:lnTo>
                    <a:pt x="738" y="96"/>
                  </a:lnTo>
                  <a:lnTo>
                    <a:pt x="738" y="102"/>
                  </a:lnTo>
                  <a:lnTo>
                    <a:pt x="732" y="102"/>
                  </a:lnTo>
                  <a:lnTo>
                    <a:pt x="732" y="108"/>
                  </a:lnTo>
                  <a:lnTo>
                    <a:pt x="738" y="108"/>
                  </a:lnTo>
                  <a:lnTo>
                    <a:pt x="744" y="114"/>
                  </a:lnTo>
                  <a:lnTo>
                    <a:pt x="750" y="108"/>
                  </a:lnTo>
                  <a:lnTo>
                    <a:pt x="756" y="108"/>
                  </a:lnTo>
                  <a:lnTo>
                    <a:pt x="762" y="108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80" y="120"/>
                  </a:lnTo>
                  <a:lnTo>
                    <a:pt x="774" y="120"/>
                  </a:lnTo>
                  <a:lnTo>
                    <a:pt x="768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74" y="138"/>
                  </a:lnTo>
                  <a:lnTo>
                    <a:pt x="774" y="132"/>
                  </a:lnTo>
                  <a:lnTo>
                    <a:pt x="780" y="132"/>
                  </a:lnTo>
                  <a:lnTo>
                    <a:pt x="786" y="132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44"/>
                  </a:lnTo>
                  <a:lnTo>
                    <a:pt x="786" y="150"/>
                  </a:lnTo>
                  <a:lnTo>
                    <a:pt x="780" y="150"/>
                  </a:lnTo>
                  <a:lnTo>
                    <a:pt x="774" y="150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74" y="162"/>
                  </a:lnTo>
                  <a:lnTo>
                    <a:pt x="780" y="162"/>
                  </a:lnTo>
                  <a:lnTo>
                    <a:pt x="786" y="168"/>
                  </a:lnTo>
                  <a:lnTo>
                    <a:pt x="792" y="162"/>
                  </a:lnTo>
                  <a:lnTo>
                    <a:pt x="798" y="168"/>
                  </a:lnTo>
                  <a:lnTo>
                    <a:pt x="798" y="174"/>
                  </a:lnTo>
                  <a:lnTo>
                    <a:pt x="804" y="168"/>
                  </a:lnTo>
                  <a:lnTo>
                    <a:pt x="810" y="168"/>
                  </a:lnTo>
                  <a:lnTo>
                    <a:pt x="810" y="174"/>
                  </a:lnTo>
                  <a:lnTo>
                    <a:pt x="816" y="168"/>
                  </a:lnTo>
                  <a:lnTo>
                    <a:pt x="822" y="162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74"/>
                  </a:lnTo>
                  <a:lnTo>
                    <a:pt x="834" y="192"/>
                  </a:lnTo>
                  <a:lnTo>
                    <a:pt x="834" y="198"/>
                  </a:lnTo>
                  <a:lnTo>
                    <a:pt x="840" y="192"/>
                  </a:lnTo>
                  <a:lnTo>
                    <a:pt x="846" y="192"/>
                  </a:lnTo>
                  <a:lnTo>
                    <a:pt x="852" y="186"/>
                  </a:lnTo>
                  <a:lnTo>
                    <a:pt x="858" y="192"/>
                  </a:lnTo>
                  <a:lnTo>
                    <a:pt x="864" y="192"/>
                  </a:lnTo>
                  <a:lnTo>
                    <a:pt x="870" y="198"/>
                  </a:lnTo>
                  <a:lnTo>
                    <a:pt x="876" y="180"/>
                  </a:lnTo>
                  <a:lnTo>
                    <a:pt x="882" y="180"/>
                  </a:lnTo>
                  <a:lnTo>
                    <a:pt x="888" y="180"/>
                  </a:lnTo>
                  <a:lnTo>
                    <a:pt x="894" y="186"/>
                  </a:lnTo>
                  <a:lnTo>
                    <a:pt x="888" y="198"/>
                  </a:lnTo>
                  <a:lnTo>
                    <a:pt x="894" y="204"/>
                  </a:lnTo>
                  <a:lnTo>
                    <a:pt x="906" y="210"/>
                  </a:lnTo>
                  <a:lnTo>
                    <a:pt x="918" y="246"/>
                  </a:lnTo>
                  <a:lnTo>
                    <a:pt x="930" y="258"/>
                  </a:lnTo>
                  <a:lnTo>
                    <a:pt x="942" y="282"/>
                  </a:lnTo>
                  <a:lnTo>
                    <a:pt x="966" y="288"/>
                  </a:lnTo>
                  <a:lnTo>
                    <a:pt x="972" y="300"/>
                  </a:lnTo>
                  <a:lnTo>
                    <a:pt x="972" y="318"/>
                  </a:lnTo>
                  <a:lnTo>
                    <a:pt x="996" y="336"/>
                  </a:lnTo>
                  <a:lnTo>
                    <a:pt x="1050" y="390"/>
                  </a:lnTo>
                  <a:lnTo>
                    <a:pt x="1116" y="462"/>
                  </a:lnTo>
                  <a:lnTo>
                    <a:pt x="1122" y="468"/>
                  </a:lnTo>
                  <a:lnTo>
                    <a:pt x="1128" y="474"/>
                  </a:lnTo>
                  <a:lnTo>
                    <a:pt x="1140" y="474"/>
                  </a:lnTo>
                  <a:lnTo>
                    <a:pt x="1152" y="486"/>
                  </a:lnTo>
                  <a:lnTo>
                    <a:pt x="1152" y="492"/>
                  </a:lnTo>
                  <a:lnTo>
                    <a:pt x="1158" y="492"/>
                  </a:lnTo>
                  <a:lnTo>
                    <a:pt x="1164" y="492"/>
                  </a:lnTo>
                  <a:lnTo>
                    <a:pt x="1170" y="504"/>
                  </a:lnTo>
                  <a:lnTo>
                    <a:pt x="1176" y="504"/>
                  </a:lnTo>
                  <a:lnTo>
                    <a:pt x="1176" y="510"/>
                  </a:lnTo>
                  <a:lnTo>
                    <a:pt x="1200" y="516"/>
                  </a:lnTo>
                  <a:lnTo>
                    <a:pt x="1200" y="522"/>
                  </a:lnTo>
                  <a:lnTo>
                    <a:pt x="1212" y="534"/>
                  </a:lnTo>
                  <a:lnTo>
                    <a:pt x="1218" y="540"/>
                  </a:lnTo>
                  <a:lnTo>
                    <a:pt x="1224" y="552"/>
                  </a:lnTo>
                  <a:lnTo>
                    <a:pt x="1230" y="552"/>
                  </a:lnTo>
                  <a:lnTo>
                    <a:pt x="1242" y="552"/>
                  </a:lnTo>
                  <a:lnTo>
                    <a:pt x="1248" y="558"/>
                  </a:lnTo>
                  <a:lnTo>
                    <a:pt x="1254" y="558"/>
                  </a:lnTo>
                  <a:lnTo>
                    <a:pt x="1260" y="564"/>
                  </a:lnTo>
                  <a:lnTo>
                    <a:pt x="1266" y="564"/>
                  </a:lnTo>
                  <a:lnTo>
                    <a:pt x="1272" y="564"/>
                  </a:lnTo>
                  <a:lnTo>
                    <a:pt x="1284" y="564"/>
                  </a:lnTo>
                  <a:lnTo>
                    <a:pt x="1290" y="570"/>
                  </a:lnTo>
                  <a:lnTo>
                    <a:pt x="1296" y="576"/>
                  </a:lnTo>
                  <a:lnTo>
                    <a:pt x="1302" y="588"/>
                  </a:lnTo>
                  <a:lnTo>
                    <a:pt x="1296" y="594"/>
                  </a:lnTo>
                  <a:lnTo>
                    <a:pt x="1296" y="600"/>
                  </a:lnTo>
                  <a:lnTo>
                    <a:pt x="1296" y="606"/>
                  </a:lnTo>
                  <a:lnTo>
                    <a:pt x="1290" y="612"/>
                  </a:lnTo>
                  <a:lnTo>
                    <a:pt x="1290" y="624"/>
                  </a:lnTo>
                  <a:lnTo>
                    <a:pt x="1290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308" y="654"/>
                  </a:lnTo>
                  <a:lnTo>
                    <a:pt x="1320" y="654"/>
                  </a:lnTo>
                  <a:lnTo>
                    <a:pt x="1326" y="660"/>
                  </a:lnTo>
                  <a:lnTo>
                    <a:pt x="1338" y="654"/>
                  </a:lnTo>
                  <a:lnTo>
                    <a:pt x="1344" y="654"/>
                  </a:lnTo>
                  <a:lnTo>
                    <a:pt x="1356" y="654"/>
                  </a:lnTo>
                  <a:lnTo>
                    <a:pt x="1362" y="648"/>
                  </a:lnTo>
                  <a:lnTo>
                    <a:pt x="1368" y="642"/>
                  </a:lnTo>
                  <a:lnTo>
                    <a:pt x="1374" y="636"/>
                  </a:lnTo>
                  <a:lnTo>
                    <a:pt x="1380" y="636"/>
                  </a:lnTo>
                  <a:lnTo>
                    <a:pt x="1392" y="636"/>
                  </a:lnTo>
                  <a:lnTo>
                    <a:pt x="1398" y="636"/>
                  </a:lnTo>
                  <a:lnTo>
                    <a:pt x="1404" y="636"/>
                  </a:lnTo>
                  <a:lnTo>
                    <a:pt x="1410" y="630"/>
                  </a:lnTo>
                  <a:lnTo>
                    <a:pt x="1410" y="624"/>
                  </a:lnTo>
                  <a:lnTo>
                    <a:pt x="1422" y="618"/>
                  </a:lnTo>
                  <a:lnTo>
                    <a:pt x="1428" y="618"/>
                  </a:lnTo>
                  <a:lnTo>
                    <a:pt x="1440" y="612"/>
                  </a:lnTo>
                  <a:lnTo>
                    <a:pt x="1446" y="612"/>
                  </a:lnTo>
                  <a:lnTo>
                    <a:pt x="1458" y="612"/>
                  </a:lnTo>
                  <a:lnTo>
                    <a:pt x="1470" y="624"/>
                  </a:lnTo>
                  <a:lnTo>
                    <a:pt x="1488" y="642"/>
                  </a:lnTo>
                  <a:lnTo>
                    <a:pt x="1500" y="648"/>
                  </a:lnTo>
                  <a:lnTo>
                    <a:pt x="1512" y="654"/>
                  </a:lnTo>
                  <a:lnTo>
                    <a:pt x="1518" y="660"/>
                  </a:lnTo>
                  <a:lnTo>
                    <a:pt x="1524" y="660"/>
                  </a:lnTo>
                  <a:lnTo>
                    <a:pt x="1530" y="660"/>
                  </a:lnTo>
                  <a:lnTo>
                    <a:pt x="1536" y="666"/>
                  </a:lnTo>
                  <a:lnTo>
                    <a:pt x="1542" y="672"/>
                  </a:lnTo>
                  <a:lnTo>
                    <a:pt x="1548" y="672"/>
                  </a:lnTo>
                  <a:lnTo>
                    <a:pt x="1554" y="684"/>
                  </a:lnTo>
                  <a:lnTo>
                    <a:pt x="1554" y="690"/>
                  </a:lnTo>
                  <a:lnTo>
                    <a:pt x="1566" y="702"/>
                  </a:lnTo>
                  <a:lnTo>
                    <a:pt x="1572" y="720"/>
                  </a:lnTo>
                  <a:lnTo>
                    <a:pt x="1572" y="726"/>
                  </a:lnTo>
                  <a:lnTo>
                    <a:pt x="1578" y="732"/>
                  </a:lnTo>
                  <a:lnTo>
                    <a:pt x="1584" y="738"/>
                  </a:lnTo>
                  <a:lnTo>
                    <a:pt x="1590" y="738"/>
                  </a:lnTo>
                  <a:lnTo>
                    <a:pt x="1596" y="738"/>
                  </a:lnTo>
                  <a:lnTo>
                    <a:pt x="1602" y="744"/>
                  </a:lnTo>
                  <a:lnTo>
                    <a:pt x="1608" y="744"/>
                  </a:lnTo>
                  <a:lnTo>
                    <a:pt x="1614" y="744"/>
                  </a:lnTo>
                  <a:lnTo>
                    <a:pt x="1626" y="744"/>
                  </a:lnTo>
                  <a:lnTo>
                    <a:pt x="1638" y="744"/>
                  </a:lnTo>
                  <a:lnTo>
                    <a:pt x="1650" y="744"/>
                  </a:lnTo>
                  <a:lnTo>
                    <a:pt x="1662" y="744"/>
                  </a:lnTo>
                  <a:lnTo>
                    <a:pt x="1668" y="744"/>
                  </a:lnTo>
                  <a:lnTo>
                    <a:pt x="1674" y="744"/>
                  </a:lnTo>
                  <a:lnTo>
                    <a:pt x="1686" y="744"/>
                  </a:lnTo>
                  <a:lnTo>
                    <a:pt x="1698" y="750"/>
                  </a:lnTo>
                  <a:lnTo>
                    <a:pt x="1704" y="750"/>
                  </a:lnTo>
                  <a:lnTo>
                    <a:pt x="1716" y="756"/>
                  </a:lnTo>
                  <a:lnTo>
                    <a:pt x="1722" y="756"/>
                  </a:lnTo>
                  <a:lnTo>
                    <a:pt x="1728" y="756"/>
                  </a:lnTo>
                  <a:lnTo>
                    <a:pt x="1734" y="762"/>
                  </a:lnTo>
                  <a:lnTo>
                    <a:pt x="1740" y="768"/>
                  </a:lnTo>
                  <a:lnTo>
                    <a:pt x="1758" y="780"/>
                  </a:lnTo>
                  <a:lnTo>
                    <a:pt x="1770" y="780"/>
                  </a:lnTo>
                  <a:lnTo>
                    <a:pt x="1776" y="780"/>
                  </a:lnTo>
                  <a:lnTo>
                    <a:pt x="1782" y="780"/>
                  </a:lnTo>
                  <a:lnTo>
                    <a:pt x="1800" y="798"/>
                  </a:lnTo>
                  <a:lnTo>
                    <a:pt x="1818" y="810"/>
                  </a:lnTo>
                  <a:lnTo>
                    <a:pt x="1830" y="816"/>
                  </a:lnTo>
                  <a:lnTo>
                    <a:pt x="1836" y="822"/>
                  </a:lnTo>
                  <a:lnTo>
                    <a:pt x="1836" y="828"/>
                  </a:lnTo>
                  <a:lnTo>
                    <a:pt x="1842" y="828"/>
                  </a:lnTo>
                  <a:lnTo>
                    <a:pt x="1848" y="834"/>
                  </a:lnTo>
                  <a:lnTo>
                    <a:pt x="1854" y="840"/>
                  </a:lnTo>
                  <a:lnTo>
                    <a:pt x="1860" y="846"/>
                  </a:lnTo>
                  <a:lnTo>
                    <a:pt x="1872" y="852"/>
                  </a:lnTo>
                  <a:lnTo>
                    <a:pt x="1884" y="852"/>
                  </a:lnTo>
                  <a:lnTo>
                    <a:pt x="1896" y="852"/>
                  </a:lnTo>
                  <a:lnTo>
                    <a:pt x="1902" y="846"/>
                  </a:lnTo>
                  <a:lnTo>
                    <a:pt x="1908" y="852"/>
                  </a:lnTo>
                  <a:lnTo>
                    <a:pt x="1920" y="858"/>
                  </a:lnTo>
                  <a:lnTo>
                    <a:pt x="1926" y="870"/>
                  </a:lnTo>
                  <a:lnTo>
                    <a:pt x="1938" y="888"/>
                  </a:lnTo>
                  <a:lnTo>
                    <a:pt x="1944" y="900"/>
                  </a:lnTo>
                  <a:lnTo>
                    <a:pt x="1950" y="900"/>
                  </a:lnTo>
                  <a:lnTo>
                    <a:pt x="1962" y="906"/>
                  </a:lnTo>
                  <a:lnTo>
                    <a:pt x="1968" y="906"/>
                  </a:lnTo>
                  <a:lnTo>
                    <a:pt x="1980" y="906"/>
                  </a:lnTo>
                  <a:lnTo>
                    <a:pt x="1998" y="906"/>
                  </a:lnTo>
                  <a:lnTo>
                    <a:pt x="2010" y="900"/>
                  </a:lnTo>
                  <a:lnTo>
                    <a:pt x="2022" y="900"/>
                  </a:lnTo>
                  <a:lnTo>
                    <a:pt x="2028" y="900"/>
                  </a:lnTo>
                  <a:lnTo>
                    <a:pt x="2034" y="906"/>
                  </a:lnTo>
                  <a:lnTo>
                    <a:pt x="2046" y="906"/>
                  </a:lnTo>
                  <a:lnTo>
                    <a:pt x="2052" y="900"/>
                  </a:lnTo>
                  <a:lnTo>
                    <a:pt x="2058" y="900"/>
                  </a:lnTo>
                  <a:lnTo>
                    <a:pt x="2064" y="900"/>
                  </a:lnTo>
                  <a:lnTo>
                    <a:pt x="2070" y="900"/>
                  </a:lnTo>
                  <a:lnTo>
                    <a:pt x="2076" y="900"/>
                  </a:lnTo>
                  <a:lnTo>
                    <a:pt x="2076" y="906"/>
                  </a:lnTo>
                  <a:lnTo>
                    <a:pt x="2088" y="906"/>
                  </a:lnTo>
                  <a:lnTo>
                    <a:pt x="2106" y="900"/>
                  </a:lnTo>
                  <a:lnTo>
                    <a:pt x="2118" y="900"/>
                  </a:lnTo>
                  <a:lnTo>
                    <a:pt x="2130" y="900"/>
                  </a:lnTo>
                  <a:lnTo>
                    <a:pt x="2142" y="900"/>
                  </a:lnTo>
                  <a:lnTo>
                    <a:pt x="2148" y="906"/>
                  </a:lnTo>
                  <a:lnTo>
                    <a:pt x="2154" y="906"/>
                  </a:lnTo>
                  <a:lnTo>
                    <a:pt x="2160" y="906"/>
                  </a:lnTo>
                  <a:lnTo>
                    <a:pt x="2166" y="906"/>
                  </a:lnTo>
                  <a:lnTo>
                    <a:pt x="2178" y="918"/>
                  </a:lnTo>
                  <a:lnTo>
                    <a:pt x="2178" y="924"/>
                  </a:lnTo>
                  <a:lnTo>
                    <a:pt x="2184" y="924"/>
                  </a:lnTo>
                  <a:lnTo>
                    <a:pt x="2190" y="924"/>
                  </a:lnTo>
                  <a:lnTo>
                    <a:pt x="2196" y="924"/>
                  </a:lnTo>
                  <a:lnTo>
                    <a:pt x="2202" y="918"/>
                  </a:lnTo>
                  <a:lnTo>
                    <a:pt x="2208" y="918"/>
                  </a:lnTo>
                  <a:lnTo>
                    <a:pt x="2214" y="918"/>
                  </a:lnTo>
                  <a:lnTo>
                    <a:pt x="2226" y="918"/>
                  </a:lnTo>
                  <a:lnTo>
                    <a:pt x="2220" y="948"/>
                  </a:lnTo>
                  <a:lnTo>
                    <a:pt x="2214" y="972"/>
                  </a:lnTo>
                  <a:lnTo>
                    <a:pt x="2214" y="984"/>
                  </a:lnTo>
                  <a:lnTo>
                    <a:pt x="2208" y="990"/>
                  </a:lnTo>
                  <a:lnTo>
                    <a:pt x="2208" y="996"/>
                  </a:lnTo>
                  <a:lnTo>
                    <a:pt x="2202" y="996"/>
                  </a:lnTo>
                  <a:lnTo>
                    <a:pt x="2196" y="996"/>
                  </a:lnTo>
                  <a:lnTo>
                    <a:pt x="2190" y="1008"/>
                  </a:lnTo>
                  <a:lnTo>
                    <a:pt x="2172" y="1074"/>
                  </a:lnTo>
                  <a:lnTo>
                    <a:pt x="2166" y="1092"/>
                  </a:lnTo>
                  <a:lnTo>
                    <a:pt x="2172" y="1110"/>
                  </a:lnTo>
                  <a:lnTo>
                    <a:pt x="2172" y="1122"/>
                  </a:lnTo>
                  <a:lnTo>
                    <a:pt x="2166" y="1134"/>
                  </a:lnTo>
                  <a:lnTo>
                    <a:pt x="2148" y="1140"/>
                  </a:lnTo>
                  <a:lnTo>
                    <a:pt x="2148" y="1134"/>
                  </a:lnTo>
                  <a:lnTo>
                    <a:pt x="2118" y="1140"/>
                  </a:lnTo>
                  <a:lnTo>
                    <a:pt x="2088" y="1134"/>
                  </a:lnTo>
                  <a:lnTo>
                    <a:pt x="2064" y="1122"/>
                  </a:lnTo>
                  <a:lnTo>
                    <a:pt x="2034" y="1122"/>
                  </a:lnTo>
                  <a:lnTo>
                    <a:pt x="2022" y="1128"/>
                  </a:lnTo>
                  <a:lnTo>
                    <a:pt x="1986" y="1128"/>
                  </a:lnTo>
                  <a:lnTo>
                    <a:pt x="1938" y="1122"/>
                  </a:lnTo>
                  <a:lnTo>
                    <a:pt x="1932" y="1116"/>
                  </a:lnTo>
                  <a:lnTo>
                    <a:pt x="1896" y="1110"/>
                  </a:lnTo>
                  <a:lnTo>
                    <a:pt x="1878" y="1104"/>
                  </a:lnTo>
                  <a:lnTo>
                    <a:pt x="1866" y="1098"/>
                  </a:lnTo>
                  <a:lnTo>
                    <a:pt x="1860" y="1098"/>
                  </a:lnTo>
                  <a:lnTo>
                    <a:pt x="1854" y="1092"/>
                  </a:lnTo>
                  <a:lnTo>
                    <a:pt x="1860" y="1092"/>
                  </a:lnTo>
                  <a:lnTo>
                    <a:pt x="1860" y="1086"/>
                  </a:lnTo>
                  <a:lnTo>
                    <a:pt x="1854" y="1086"/>
                  </a:lnTo>
                  <a:lnTo>
                    <a:pt x="1842" y="1080"/>
                  </a:lnTo>
                  <a:lnTo>
                    <a:pt x="1818" y="1062"/>
                  </a:lnTo>
                  <a:lnTo>
                    <a:pt x="1782" y="1056"/>
                  </a:lnTo>
                  <a:lnTo>
                    <a:pt x="1770" y="1068"/>
                  </a:lnTo>
                  <a:lnTo>
                    <a:pt x="1746" y="1098"/>
                  </a:lnTo>
                  <a:lnTo>
                    <a:pt x="1722" y="1104"/>
                  </a:lnTo>
                  <a:lnTo>
                    <a:pt x="1710" y="1122"/>
                  </a:lnTo>
                  <a:lnTo>
                    <a:pt x="1710" y="1128"/>
                  </a:lnTo>
                  <a:lnTo>
                    <a:pt x="1710" y="1140"/>
                  </a:lnTo>
                  <a:lnTo>
                    <a:pt x="1698" y="1146"/>
                  </a:lnTo>
                  <a:lnTo>
                    <a:pt x="1686" y="1152"/>
                  </a:lnTo>
                  <a:lnTo>
                    <a:pt x="1680" y="1164"/>
                  </a:lnTo>
                  <a:lnTo>
                    <a:pt x="1680" y="1170"/>
                  </a:lnTo>
                  <a:lnTo>
                    <a:pt x="1686" y="1170"/>
                  </a:lnTo>
                  <a:lnTo>
                    <a:pt x="1686" y="1176"/>
                  </a:lnTo>
                  <a:lnTo>
                    <a:pt x="1698" y="1188"/>
                  </a:lnTo>
                  <a:lnTo>
                    <a:pt x="1704" y="1188"/>
                  </a:lnTo>
                  <a:lnTo>
                    <a:pt x="1698" y="1194"/>
                  </a:lnTo>
                  <a:lnTo>
                    <a:pt x="1704" y="1194"/>
                  </a:lnTo>
                  <a:lnTo>
                    <a:pt x="1704" y="1200"/>
                  </a:lnTo>
                  <a:lnTo>
                    <a:pt x="1704" y="1206"/>
                  </a:lnTo>
                  <a:lnTo>
                    <a:pt x="1704" y="1212"/>
                  </a:lnTo>
                  <a:lnTo>
                    <a:pt x="1704" y="1218"/>
                  </a:lnTo>
                  <a:lnTo>
                    <a:pt x="1710" y="1218"/>
                  </a:lnTo>
                  <a:lnTo>
                    <a:pt x="1710" y="1212"/>
                  </a:lnTo>
                  <a:lnTo>
                    <a:pt x="1716" y="1212"/>
                  </a:lnTo>
                  <a:lnTo>
                    <a:pt x="1716" y="1218"/>
                  </a:lnTo>
                  <a:lnTo>
                    <a:pt x="1716" y="1224"/>
                  </a:lnTo>
                  <a:lnTo>
                    <a:pt x="1716" y="1230"/>
                  </a:lnTo>
                  <a:lnTo>
                    <a:pt x="1722" y="1236"/>
                  </a:lnTo>
                  <a:lnTo>
                    <a:pt x="1740" y="1230"/>
                  </a:lnTo>
                  <a:lnTo>
                    <a:pt x="1734" y="1236"/>
                  </a:lnTo>
                  <a:lnTo>
                    <a:pt x="1734" y="1242"/>
                  </a:lnTo>
                  <a:lnTo>
                    <a:pt x="1734" y="1248"/>
                  </a:lnTo>
                  <a:lnTo>
                    <a:pt x="1734" y="1254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52" y="1266"/>
                  </a:lnTo>
                  <a:lnTo>
                    <a:pt x="1764" y="1266"/>
                  </a:lnTo>
                  <a:lnTo>
                    <a:pt x="1788" y="1260"/>
                  </a:lnTo>
                  <a:lnTo>
                    <a:pt x="1800" y="1260"/>
                  </a:lnTo>
                  <a:lnTo>
                    <a:pt x="1806" y="1272"/>
                  </a:lnTo>
                  <a:lnTo>
                    <a:pt x="1806" y="1296"/>
                  </a:lnTo>
                  <a:lnTo>
                    <a:pt x="1800" y="1308"/>
                  </a:lnTo>
                  <a:lnTo>
                    <a:pt x="1788" y="1308"/>
                  </a:lnTo>
                  <a:lnTo>
                    <a:pt x="1782" y="13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7" name="Freeform 32">
              <a:extLst>
                <a:ext uri="{FF2B5EF4-FFF2-40B4-BE49-F238E27FC236}">
                  <a16:creationId xmlns:a16="http://schemas.microsoft.com/office/drawing/2014/main" id="{1EF84438-BF7A-47D2-9156-E231EA2A279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3295" y="2316568"/>
              <a:ext cx="1290281" cy="1084704"/>
            </a:xfrm>
            <a:custGeom>
              <a:avLst/>
              <a:gdLst>
                <a:gd name="T0" fmla="*/ 177 w 2430"/>
                <a:gd name="T1" fmla="*/ 169 h 2040"/>
                <a:gd name="T2" fmla="*/ 174 w 2430"/>
                <a:gd name="T3" fmla="*/ 173 h 2040"/>
                <a:gd name="T4" fmla="*/ 169 w 2430"/>
                <a:gd name="T5" fmla="*/ 171 h 2040"/>
                <a:gd name="T6" fmla="*/ 160 w 2430"/>
                <a:gd name="T7" fmla="*/ 163 h 2040"/>
                <a:gd name="T8" fmla="*/ 154 w 2430"/>
                <a:gd name="T9" fmla="*/ 149 h 2040"/>
                <a:gd name="T10" fmla="*/ 144 w 2430"/>
                <a:gd name="T11" fmla="*/ 147 h 2040"/>
                <a:gd name="T12" fmla="*/ 133 w 2430"/>
                <a:gd name="T13" fmla="*/ 146 h 2040"/>
                <a:gd name="T14" fmla="*/ 121 w 2430"/>
                <a:gd name="T15" fmla="*/ 145 h 2040"/>
                <a:gd name="T16" fmla="*/ 110 w 2430"/>
                <a:gd name="T17" fmla="*/ 137 h 2040"/>
                <a:gd name="T18" fmla="*/ 97 w 2430"/>
                <a:gd name="T19" fmla="*/ 131 h 2040"/>
                <a:gd name="T20" fmla="*/ 87 w 2430"/>
                <a:gd name="T21" fmla="*/ 125 h 2040"/>
                <a:gd name="T22" fmla="*/ 75 w 2430"/>
                <a:gd name="T23" fmla="*/ 122 h 2040"/>
                <a:gd name="T24" fmla="*/ 65 w 2430"/>
                <a:gd name="T25" fmla="*/ 122 h 2040"/>
                <a:gd name="T26" fmla="*/ 59 w 2430"/>
                <a:gd name="T27" fmla="*/ 115 h 2040"/>
                <a:gd name="T28" fmla="*/ 50 w 2430"/>
                <a:gd name="T29" fmla="*/ 107 h 2040"/>
                <a:gd name="T30" fmla="*/ 28 w 2430"/>
                <a:gd name="T31" fmla="*/ 84 h 2040"/>
                <a:gd name="T32" fmla="*/ 22 w 2430"/>
                <a:gd name="T33" fmla="*/ 82 h 2040"/>
                <a:gd name="T34" fmla="*/ 20 w 2430"/>
                <a:gd name="T35" fmla="*/ 79 h 2040"/>
                <a:gd name="T36" fmla="*/ 16 w 2430"/>
                <a:gd name="T37" fmla="*/ 76 h 2040"/>
                <a:gd name="T38" fmla="*/ 11 w 2430"/>
                <a:gd name="T39" fmla="*/ 74 h 2040"/>
                <a:gd name="T40" fmla="*/ 7 w 2430"/>
                <a:gd name="T41" fmla="*/ 69 h 2040"/>
                <a:gd name="T42" fmla="*/ 0 w 2430"/>
                <a:gd name="T43" fmla="*/ 60 h 2040"/>
                <a:gd name="T44" fmla="*/ 10 w 2430"/>
                <a:gd name="T45" fmla="*/ 53 h 2040"/>
                <a:gd name="T46" fmla="*/ 15 w 2430"/>
                <a:gd name="T47" fmla="*/ 40 h 2040"/>
                <a:gd name="T48" fmla="*/ 9 w 2430"/>
                <a:gd name="T49" fmla="*/ 29 h 2040"/>
                <a:gd name="T50" fmla="*/ 7 w 2430"/>
                <a:gd name="T51" fmla="*/ 16 h 2040"/>
                <a:gd name="T52" fmla="*/ 18 w 2430"/>
                <a:gd name="T53" fmla="*/ 21 h 2040"/>
                <a:gd name="T54" fmla="*/ 48 w 2430"/>
                <a:gd name="T55" fmla="*/ 27 h 2040"/>
                <a:gd name="T56" fmla="*/ 62 w 2430"/>
                <a:gd name="T57" fmla="*/ 25 h 2040"/>
                <a:gd name="T58" fmla="*/ 59 w 2430"/>
                <a:gd name="T59" fmla="*/ 42 h 2040"/>
                <a:gd name="T60" fmla="*/ 54 w 2430"/>
                <a:gd name="T61" fmla="*/ 65 h 2040"/>
                <a:gd name="T62" fmla="*/ 65 w 2430"/>
                <a:gd name="T63" fmla="*/ 60 h 2040"/>
                <a:gd name="T64" fmla="*/ 68 w 2430"/>
                <a:gd name="T65" fmla="*/ 40 h 2040"/>
                <a:gd name="T66" fmla="*/ 75 w 2430"/>
                <a:gd name="T67" fmla="*/ 36 h 2040"/>
                <a:gd name="T68" fmla="*/ 83 w 2430"/>
                <a:gd name="T69" fmla="*/ 29 h 2040"/>
                <a:gd name="T70" fmla="*/ 81 w 2430"/>
                <a:gd name="T71" fmla="*/ 17 h 2040"/>
                <a:gd name="T72" fmla="*/ 66 w 2430"/>
                <a:gd name="T73" fmla="*/ 7 h 2040"/>
                <a:gd name="T74" fmla="*/ 80 w 2430"/>
                <a:gd name="T75" fmla="*/ 5 h 2040"/>
                <a:gd name="T76" fmla="*/ 89 w 2430"/>
                <a:gd name="T77" fmla="*/ 1 h 2040"/>
                <a:gd name="T78" fmla="*/ 101 w 2430"/>
                <a:gd name="T79" fmla="*/ 10 h 2040"/>
                <a:gd name="T80" fmla="*/ 103 w 2430"/>
                <a:gd name="T81" fmla="*/ 18 h 2040"/>
                <a:gd name="T82" fmla="*/ 110 w 2430"/>
                <a:gd name="T83" fmla="*/ 23 h 2040"/>
                <a:gd name="T84" fmla="*/ 121 w 2430"/>
                <a:gd name="T85" fmla="*/ 20 h 2040"/>
                <a:gd name="T86" fmla="*/ 129 w 2430"/>
                <a:gd name="T87" fmla="*/ 15 h 2040"/>
                <a:gd name="T88" fmla="*/ 142 w 2430"/>
                <a:gd name="T89" fmla="*/ 23 h 2040"/>
                <a:gd name="T90" fmla="*/ 141 w 2430"/>
                <a:gd name="T91" fmla="*/ 30 h 2040"/>
                <a:gd name="T92" fmla="*/ 140 w 2430"/>
                <a:gd name="T93" fmla="*/ 38 h 2040"/>
                <a:gd name="T94" fmla="*/ 139 w 2430"/>
                <a:gd name="T95" fmla="*/ 46 h 2040"/>
                <a:gd name="T96" fmla="*/ 147 w 2430"/>
                <a:gd name="T97" fmla="*/ 54 h 2040"/>
                <a:gd name="T98" fmla="*/ 152 w 2430"/>
                <a:gd name="T99" fmla="*/ 50 h 2040"/>
                <a:gd name="T100" fmla="*/ 159 w 2430"/>
                <a:gd name="T101" fmla="*/ 43 h 2040"/>
                <a:gd name="T102" fmla="*/ 174 w 2430"/>
                <a:gd name="T103" fmla="*/ 41 h 2040"/>
                <a:gd name="T104" fmla="*/ 190 w 2430"/>
                <a:gd name="T105" fmla="*/ 57 h 2040"/>
                <a:gd name="T106" fmla="*/ 187 w 2430"/>
                <a:gd name="T107" fmla="*/ 66 h 2040"/>
                <a:gd name="T108" fmla="*/ 183 w 2430"/>
                <a:gd name="T109" fmla="*/ 72 h 2040"/>
                <a:gd name="T110" fmla="*/ 194 w 2430"/>
                <a:gd name="T111" fmla="*/ 73 h 2040"/>
                <a:gd name="T112" fmla="*/ 202 w 2430"/>
                <a:gd name="T113" fmla="*/ 74 h 2040"/>
                <a:gd name="T114" fmla="*/ 204 w 2430"/>
                <a:gd name="T115" fmla="*/ 89 h 2040"/>
                <a:gd name="T116" fmla="*/ 208 w 2430"/>
                <a:gd name="T117" fmla="*/ 99 h 2040"/>
                <a:gd name="T118" fmla="*/ 203 w 2430"/>
                <a:gd name="T119" fmla="*/ 103 h 2040"/>
                <a:gd name="T120" fmla="*/ 209 w 2430"/>
                <a:gd name="T121" fmla="*/ 111 h 2040"/>
                <a:gd name="T122" fmla="*/ 204 w 2430"/>
                <a:gd name="T123" fmla="*/ 124 h 2040"/>
                <a:gd name="T124" fmla="*/ 190 w 2430"/>
                <a:gd name="T125" fmla="*/ 117 h 20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30"/>
                <a:gd name="T190" fmla="*/ 0 h 2040"/>
                <a:gd name="T191" fmla="*/ 2430 w 2430"/>
                <a:gd name="T192" fmla="*/ 2040 h 20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30" h="2040">
                  <a:moveTo>
                    <a:pt x="2076" y="1896"/>
                  </a:moveTo>
                  <a:lnTo>
                    <a:pt x="2070" y="1896"/>
                  </a:lnTo>
                  <a:lnTo>
                    <a:pt x="2070" y="1902"/>
                  </a:lnTo>
                  <a:lnTo>
                    <a:pt x="2076" y="1902"/>
                  </a:lnTo>
                  <a:lnTo>
                    <a:pt x="2082" y="1902"/>
                  </a:lnTo>
                  <a:lnTo>
                    <a:pt x="2082" y="1908"/>
                  </a:lnTo>
                  <a:lnTo>
                    <a:pt x="2076" y="1908"/>
                  </a:lnTo>
                  <a:lnTo>
                    <a:pt x="2076" y="1914"/>
                  </a:lnTo>
                  <a:lnTo>
                    <a:pt x="2070" y="1920"/>
                  </a:lnTo>
                  <a:lnTo>
                    <a:pt x="2064" y="1932"/>
                  </a:lnTo>
                  <a:lnTo>
                    <a:pt x="2064" y="1938"/>
                  </a:lnTo>
                  <a:lnTo>
                    <a:pt x="2058" y="1938"/>
                  </a:lnTo>
                  <a:lnTo>
                    <a:pt x="2052" y="1944"/>
                  </a:lnTo>
                  <a:lnTo>
                    <a:pt x="2052" y="1950"/>
                  </a:lnTo>
                  <a:lnTo>
                    <a:pt x="2040" y="1944"/>
                  </a:lnTo>
                  <a:lnTo>
                    <a:pt x="2040" y="1950"/>
                  </a:lnTo>
                  <a:lnTo>
                    <a:pt x="2034" y="1956"/>
                  </a:lnTo>
                  <a:lnTo>
                    <a:pt x="2034" y="1962"/>
                  </a:lnTo>
                  <a:lnTo>
                    <a:pt x="2028" y="1962"/>
                  </a:lnTo>
                  <a:lnTo>
                    <a:pt x="2022" y="1962"/>
                  </a:lnTo>
                  <a:lnTo>
                    <a:pt x="2022" y="1968"/>
                  </a:lnTo>
                  <a:lnTo>
                    <a:pt x="2028" y="1974"/>
                  </a:lnTo>
                  <a:lnTo>
                    <a:pt x="2034" y="1980"/>
                  </a:lnTo>
                  <a:lnTo>
                    <a:pt x="2028" y="1986"/>
                  </a:lnTo>
                  <a:lnTo>
                    <a:pt x="2022" y="1992"/>
                  </a:lnTo>
                  <a:lnTo>
                    <a:pt x="2022" y="1986"/>
                  </a:lnTo>
                  <a:lnTo>
                    <a:pt x="2016" y="1986"/>
                  </a:lnTo>
                  <a:lnTo>
                    <a:pt x="2010" y="1980"/>
                  </a:lnTo>
                  <a:lnTo>
                    <a:pt x="2004" y="1980"/>
                  </a:lnTo>
                  <a:lnTo>
                    <a:pt x="2004" y="1986"/>
                  </a:lnTo>
                  <a:lnTo>
                    <a:pt x="2010" y="1992"/>
                  </a:lnTo>
                  <a:lnTo>
                    <a:pt x="2010" y="1998"/>
                  </a:lnTo>
                  <a:lnTo>
                    <a:pt x="2004" y="2004"/>
                  </a:lnTo>
                  <a:lnTo>
                    <a:pt x="1998" y="2004"/>
                  </a:lnTo>
                  <a:lnTo>
                    <a:pt x="1998" y="2022"/>
                  </a:lnTo>
                  <a:lnTo>
                    <a:pt x="1998" y="2028"/>
                  </a:lnTo>
                  <a:lnTo>
                    <a:pt x="1992" y="2034"/>
                  </a:lnTo>
                  <a:lnTo>
                    <a:pt x="1992" y="2040"/>
                  </a:lnTo>
                  <a:lnTo>
                    <a:pt x="1986" y="2040"/>
                  </a:lnTo>
                  <a:lnTo>
                    <a:pt x="1986" y="2034"/>
                  </a:lnTo>
                  <a:lnTo>
                    <a:pt x="1980" y="2028"/>
                  </a:lnTo>
                  <a:lnTo>
                    <a:pt x="1980" y="2022"/>
                  </a:lnTo>
                  <a:lnTo>
                    <a:pt x="1968" y="2016"/>
                  </a:lnTo>
                  <a:lnTo>
                    <a:pt x="1962" y="2010"/>
                  </a:lnTo>
                  <a:lnTo>
                    <a:pt x="1956" y="2004"/>
                  </a:lnTo>
                  <a:lnTo>
                    <a:pt x="1950" y="1992"/>
                  </a:lnTo>
                  <a:lnTo>
                    <a:pt x="1950" y="1986"/>
                  </a:lnTo>
                  <a:lnTo>
                    <a:pt x="1950" y="1974"/>
                  </a:lnTo>
                  <a:lnTo>
                    <a:pt x="1944" y="1974"/>
                  </a:lnTo>
                  <a:lnTo>
                    <a:pt x="1932" y="1962"/>
                  </a:lnTo>
                  <a:lnTo>
                    <a:pt x="1932" y="1956"/>
                  </a:lnTo>
                  <a:lnTo>
                    <a:pt x="1932" y="1950"/>
                  </a:lnTo>
                  <a:lnTo>
                    <a:pt x="1920" y="1944"/>
                  </a:lnTo>
                  <a:lnTo>
                    <a:pt x="1914" y="1944"/>
                  </a:lnTo>
                  <a:lnTo>
                    <a:pt x="1908" y="1938"/>
                  </a:lnTo>
                  <a:lnTo>
                    <a:pt x="1902" y="1926"/>
                  </a:lnTo>
                  <a:lnTo>
                    <a:pt x="1890" y="1914"/>
                  </a:lnTo>
                  <a:lnTo>
                    <a:pt x="1884" y="1914"/>
                  </a:lnTo>
                  <a:lnTo>
                    <a:pt x="1878" y="1908"/>
                  </a:lnTo>
                  <a:lnTo>
                    <a:pt x="1872" y="1902"/>
                  </a:lnTo>
                  <a:lnTo>
                    <a:pt x="1872" y="1896"/>
                  </a:lnTo>
                  <a:lnTo>
                    <a:pt x="1866" y="1890"/>
                  </a:lnTo>
                  <a:lnTo>
                    <a:pt x="1854" y="1884"/>
                  </a:lnTo>
                  <a:lnTo>
                    <a:pt x="1848" y="1884"/>
                  </a:lnTo>
                  <a:lnTo>
                    <a:pt x="1842" y="1872"/>
                  </a:lnTo>
                  <a:lnTo>
                    <a:pt x="1836" y="1872"/>
                  </a:lnTo>
                  <a:lnTo>
                    <a:pt x="1830" y="1866"/>
                  </a:lnTo>
                  <a:lnTo>
                    <a:pt x="1830" y="1854"/>
                  </a:lnTo>
                  <a:lnTo>
                    <a:pt x="1824" y="1848"/>
                  </a:lnTo>
                  <a:lnTo>
                    <a:pt x="1818" y="1830"/>
                  </a:lnTo>
                  <a:lnTo>
                    <a:pt x="1818" y="1818"/>
                  </a:lnTo>
                  <a:lnTo>
                    <a:pt x="1812" y="1800"/>
                  </a:lnTo>
                  <a:lnTo>
                    <a:pt x="1812" y="1788"/>
                  </a:lnTo>
                  <a:lnTo>
                    <a:pt x="1806" y="1776"/>
                  </a:lnTo>
                  <a:lnTo>
                    <a:pt x="1800" y="1764"/>
                  </a:lnTo>
                  <a:lnTo>
                    <a:pt x="1794" y="1758"/>
                  </a:lnTo>
                  <a:lnTo>
                    <a:pt x="1782" y="1740"/>
                  </a:lnTo>
                  <a:lnTo>
                    <a:pt x="1776" y="1728"/>
                  </a:lnTo>
                  <a:lnTo>
                    <a:pt x="1776" y="1722"/>
                  </a:lnTo>
                  <a:lnTo>
                    <a:pt x="1770" y="1722"/>
                  </a:lnTo>
                  <a:lnTo>
                    <a:pt x="1770" y="1716"/>
                  </a:lnTo>
                  <a:lnTo>
                    <a:pt x="1764" y="1716"/>
                  </a:lnTo>
                  <a:lnTo>
                    <a:pt x="1758" y="1710"/>
                  </a:lnTo>
                  <a:lnTo>
                    <a:pt x="1752" y="1704"/>
                  </a:lnTo>
                  <a:lnTo>
                    <a:pt x="1746" y="1704"/>
                  </a:lnTo>
                  <a:lnTo>
                    <a:pt x="1740" y="1704"/>
                  </a:lnTo>
                  <a:lnTo>
                    <a:pt x="1734" y="1704"/>
                  </a:lnTo>
                  <a:lnTo>
                    <a:pt x="1734" y="1698"/>
                  </a:lnTo>
                  <a:lnTo>
                    <a:pt x="1728" y="1692"/>
                  </a:lnTo>
                  <a:lnTo>
                    <a:pt x="1722" y="1686"/>
                  </a:lnTo>
                  <a:lnTo>
                    <a:pt x="1716" y="1686"/>
                  </a:lnTo>
                  <a:lnTo>
                    <a:pt x="1698" y="1686"/>
                  </a:lnTo>
                  <a:lnTo>
                    <a:pt x="1692" y="1692"/>
                  </a:lnTo>
                  <a:lnTo>
                    <a:pt x="1680" y="1692"/>
                  </a:lnTo>
                  <a:lnTo>
                    <a:pt x="1668" y="1692"/>
                  </a:lnTo>
                  <a:lnTo>
                    <a:pt x="1662" y="1692"/>
                  </a:lnTo>
                  <a:lnTo>
                    <a:pt x="1656" y="1692"/>
                  </a:lnTo>
                  <a:lnTo>
                    <a:pt x="1650" y="1698"/>
                  </a:lnTo>
                  <a:lnTo>
                    <a:pt x="1644" y="1698"/>
                  </a:lnTo>
                  <a:lnTo>
                    <a:pt x="1638" y="1698"/>
                  </a:lnTo>
                  <a:lnTo>
                    <a:pt x="1632" y="1698"/>
                  </a:lnTo>
                  <a:lnTo>
                    <a:pt x="1632" y="1692"/>
                  </a:lnTo>
                  <a:lnTo>
                    <a:pt x="1620" y="1680"/>
                  </a:lnTo>
                  <a:lnTo>
                    <a:pt x="1614" y="1680"/>
                  </a:lnTo>
                  <a:lnTo>
                    <a:pt x="1608" y="1680"/>
                  </a:lnTo>
                  <a:lnTo>
                    <a:pt x="1602" y="1680"/>
                  </a:lnTo>
                  <a:lnTo>
                    <a:pt x="1596" y="1674"/>
                  </a:lnTo>
                  <a:lnTo>
                    <a:pt x="1584" y="1674"/>
                  </a:lnTo>
                  <a:lnTo>
                    <a:pt x="1572" y="1674"/>
                  </a:lnTo>
                  <a:lnTo>
                    <a:pt x="1560" y="1674"/>
                  </a:lnTo>
                  <a:lnTo>
                    <a:pt x="1542" y="1680"/>
                  </a:lnTo>
                  <a:lnTo>
                    <a:pt x="1530" y="1680"/>
                  </a:lnTo>
                  <a:lnTo>
                    <a:pt x="1530" y="1674"/>
                  </a:lnTo>
                  <a:lnTo>
                    <a:pt x="1524" y="1674"/>
                  </a:lnTo>
                  <a:lnTo>
                    <a:pt x="1518" y="1674"/>
                  </a:lnTo>
                  <a:lnTo>
                    <a:pt x="1512" y="1674"/>
                  </a:lnTo>
                  <a:lnTo>
                    <a:pt x="1506" y="1674"/>
                  </a:lnTo>
                  <a:lnTo>
                    <a:pt x="1500" y="1680"/>
                  </a:lnTo>
                  <a:lnTo>
                    <a:pt x="1488" y="1680"/>
                  </a:lnTo>
                  <a:lnTo>
                    <a:pt x="1482" y="1674"/>
                  </a:lnTo>
                  <a:lnTo>
                    <a:pt x="1476" y="1674"/>
                  </a:lnTo>
                  <a:lnTo>
                    <a:pt x="1464" y="1674"/>
                  </a:lnTo>
                  <a:lnTo>
                    <a:pt x="1452" y="1680"/>
                  </a:lnTo>
                  <a:lnTo>
                    <a:pt x="1434" y="1680"/>
                  </a:lnTo>
                  <a:lnTo>
                    <a:pt x="1422" y="1680"/>
                  </a:lnTo>
                  <a:lnTo>
                    <a:pt x="1416" y="1680"/>
                  </a:lnTo>
                  <a:lnTo>
                    <a:pt x="1404" y="1674"/>
                  </a:lnTo>
                  <a:lnTo>
                    <a:pt x="1398" y="1674"/>
                  </a:lnTo>
                  <a:lnTo>
                    <a:pt x="1392" y="1662"/>
                  </a:lnTo>
                  <a:lnTo>
                    <a:pt x="1380" y="1644"/>
                  </a:lnTo>
                  <a:lnTo>
                    <a:pt x="1374" y="1632"/>
                  </a:lnTo>
                  <a:lnTo>
                    <a:pt x="1362" y="1626"/>
                  </a:lnTo>
                  <a:lnTo>
                    <a:pt x="1356" y="1620"/>
                  </a:lnTo>
                  <a:lnTo>
                    <a:pt x="1350" y="1626"/>
                  </a:lnTo>
                  <a:lnTo>
                    <a:pt x="1338" y="1626"/>
                  </a:lnTo>
                  <a:lnTo>
                    <a:pt x="1326" y="1626"/>
                  </a:lnTo>
                  <a:lnTo>
                    <a:pt x="1314" y="1620"/>
                  </a:lnTo>
                  <a:lnTo>
                    <a:pt x="1308" y="1614"/>
                  </a:lnTo>
                  <a:lnTo>
                    <a:pt x="1302" y="1608"/>
                  </a:lnTo>
                  <a:lnTo>
                    <a:pt x="1296" y="1602"/>
                  </a:lnTo>
                  <a:lnTo>
                    <a:pt x="1290" y="1602"/>
                  </a:lnTo>
                  <a:lnTo>
                    <a:pt x="1290" y="1596"/>
                  </a:lnTo>
                  <a:lnTo>
                    <a:pt x="1284" y="1590"/>
                  </a:lnTo>
                  <a:lnTo>
                    <a:pt x="1272" y="1584"/>
                  </a:lnTo>
                  <a:lnTo>
                    <a:pt x="1254" y="1572"/>
                  </a:lnTo>
                  <a:lnTo>
                    <a:pt x="1236" y="1554"/>
                  </a:lnTo>
                  <a:lnTo>
                    <a:pt x="1230" y="1554"/>
                  </a:lnTo>
                  <a:lnTo>
                    <a:pt x="1224" y="1554"/>
                  </a:lnTo>
                  <a:lnTo>
                    <a:pt x="1212" y="1554"/>
                  </a:lnTo>
                  <a:lnTo>
                    <a:pt x="1194" y="1542"/>
                  </a:lnTo>
                  <a:lnTo>
                    <a:pt x="1188" y="1536"/>
                  </a:lnTo>
                  <a:lnTo>
                    <a:pt x="1182" y="1530"/>
                  </a:lnTo>
                  <a:lnTo>
                    <a:pt x="1176" y="1530"/>
                  </a:lnTo>
                  <a:lnTo>
                    <a:pt x="1170" y="1530"/>
                  </a:lnTo>
                  <a:lnTo>
                    <a:pt x="1158" y="1524"/>
                  </a:lnTo>
                  <a:lnTo>
                    <a:pt x="1152" y="1524"/>
                  </a:lnTo>
                  <a:lnTo>
                    <a:pt x="1140" y="1518"/>
                  </a:lnTo>
                  <a:lnTo>
                    <a:pt x="1128" y="1518"/>
                  </a:lnTo>
                  <a:lnTo>
                    <a:pt x="1122" y="1518"/>
                  </a:lnTo>
                  <a:lnTo>
                    <a:pt x="1116" y="1518"/>
                  </a:lnTo>
                  <a:lnTo>
                    <a:pt x="1104" y="1518"/>
                  </a:lnTo>
                  <a:lnTo>
                    <a:pt x="1092" y="1518"/>
                  </a:lnTo>
                  <a:lnTo>
                    <a:pt x="1080" y="1518"/>
                  </a:lnTo>
                  <a:lnTo>
                    <a:pt x="1068" y="1518"/>
                  </a:lnTo>
                  <a:lnTo>
                    <a:pt x="1062" y="1518"/>
                  </a:lnTo>
                  <a:lnTo>
                    <a:pt x="1056" y="1518"/>
                  </a:lnTo>
                  <a:lnTo>
                    <a:pt x="1050" y="1512"/>
                  </a:lnTo>
                  <a:lnTo>
                    <a:pt x="1044" y="1512"/>
                  </a:lnTo>
                  <a:lnTo>
                    <a:pt x="1038" y="1512"/>
                  </a:lnTo>
                  <a:lnTo>
                    <a:pt x="1032" y="1506"/>
                  </a:lnTo>
                  <a:lnTo>
                    <a:pt x="1026" y="1500"/>
                  </a:lnTo>
                  <a:lnTo>
                    <a:pt x="1026" y="1494"/>
                  </a:lnTo>
                  <a:lnTo>
                    <a:pt x="1020" y="1476"/>
                  </a:lnTo>
                  <a:lnTo>
                    <a:pt x="1008" y="1464"/>
                  </a:lnTo>
                  <a:lnTo>
                    <a:pt x="1008" y="1458"/>
                  </a:lnTo>
                  <a:lnTo>
                    <a:pt x="1002" y="1446"/>
                  </a:lnTo>
                  <a:lnTo>
                    <a:pt x="996" y="1446"/>
                  </a:lnTo>
                  <a:lnTo>
                    <a:pt x="990" y="1440"/>
                  </a:lnTo>
                  <a:lnTo>
                    <a:pt x="984" y="1434"/>
                  </a:lnTo>
                  <a:lnTo>
                    <a:pt x="978" y="1434"/>
                  </a:lnTo>
                  <a:lnTo>
                    <a:pt x="972" y="1434"/>
                  </a:lnTo>
                  <a:lnTo>
                    <a:pt x="966" y="1428"/>
                  </a:lnTo>
                  <a:lnTo>
                    <a:pt x="954" y="1422"/>
                  </a:lnTo>
                  <a:lnTo>
                    <a:pt x="942" y="1416"/>
                  </a:lnTo>
                  <a:lnTo>
                    <a:pt x="924" y="1398"/>
                  </a:lnTo>
                  <a:lnTo>
                    <a:pt x="912" y="1386"/>
                  </a:lnTo>
                  <a:lnTo>
                    <a:pt x="900" y="1386"/>
                  </a:lnTo>
                  <a:lnTo>
                    <a:pt x="894" y="1386"/>
                  </a:lnTo>
                  <a:lnTo>
                    <a:pt x="882" y="1392"/>
                  </a:lnTo>
                  <a:lnTo>
                    <a:pt x="876" y="1392"/>
                  </a:lnTo>
                  <a:lnTo>
                    <a:pt x="864" y="1398"/>
                  </a:lnTo>
                  <a:lnTo>
                    <a:pt x="864" y="1404"/>
                  </a:lnTo>
                  <a:lnTo>
                    <a:pt x="858" y="1410"/>
                  </a:lnTo>
                  <a:lnTo>
                    <a:pt x="852" y="1410"/>
                  </a:lnTo>
                  <a:lnTo>
                    <a:pt x="846" y="1410"/>
                  </a:lnTo>
                  <a:lnTo>
                    <a:pt x="834" y="1410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10" y="1428"/>
                  </a:lnTo>
                  <a:lnTo>
                    <a:pt x="798" y="1428"/>
                  </a:lnTo>
                  <a:lnTo>
                    <a:pt x="792" y="1428"/>
                  </a:lnTo>
                  <a:lnTo>
                    <a:pt x="780" y="1434"/>
                  </a:lnTo>
                  <a:lnTo>
                    <a:pt x="774" y="1428"/>
                  </a:lnTo>
                  <a:lnTo>
                    <a:pt x="762" y="1428"/>
                  </a:lnTo>
                  <a:lnTo>
                    <a:pt x="756" y="1422"/>
                  </a:lnTo>
                  <a:lnTo>
                    <a:pt x="750" y="1416"/>
                  </a:lnTo>
                  <a:lnTo>
                    <a:pt x="744" y="1410"/>
                  </a:lnTo>
                  <a:lnTo>
                    <a:pt x="744" y="1398"/>
                  </a:lnTo>
                  <a:lnTo>
                    <a:pt x="744" y="1386"/>
                  </a:lnTo>
                  <a:lnTo>
                    <a:pt x="750" y="1380"/>
                  </a:lnTo>
                  <a:lnTo>
                    <a:pt x="750" y="1374"/>
                  </a:lnTo>
                  <a:lnTo>
                    <a:pt x="750" y="1368"/>
                  </a:lnTo>
                  <a:lnTo>
                    <a:pt x="756" y="1362"/>
                  </a:lnTo>
                  <a:lnTo>
                    <a:pt x="750" y="1350"/>
                  </a:lnTo>
                  <a:lnTo>
                    <a:pt x="744" y="1344"/>
                  </a:lnTo>
                  <a:lnTo>
                    <a:pt x="738" y="1338"/>
                  </a:lnTo>
                  <a:lnTo>
                    <a:pt x="726" y="1338"/>
                  </a:lnTo>
                  <a:lnTo>
                    <a:pt x="720" y="1338"/>
                  </a:lnTo>
                  <a:lnTo>
                    <a:pt x="714" y="1338"/>
                  </a:lnTo>
                  <a:lnTo>
                    <a:pt x="708" y="1332"/>
                  </a:lnTo>
                  <a:lnTo>
                    <a:pt x="702" y="1332"/>
                  </a:lnTo>
                  <a:lnTo>
                    <a:pt x="696" y="1326"/>
                  </a:lnTo>
                  <a:lnTo>
                    <a:pt x="684" y="1326"/>
                  </a:lnTo>
                  <a:lnTo>
                    <a:pt x="678" y="1326"/>
                  </a:lnTo>
                  <a:lnTo>
                    <a:pt x="672" y="1314"/>
                  </a:lnTo>
                  <a:lnTo>
                    <a:pt x="666" y="1308"/>
                  </a:lnTo>
                  <a:lnTo>
                    <a:pt x="654" y="1296"/>
                  </a:lnTo>
                  <a:lnTo>
                    <a:pt x="654" y="1290"/>
                  </a:lnTo>
                  <a:lnTo>
                    <a:pt x="630" y="1284"/>
                  </a:lnTo>
                  <a:lnTo>
                    <a:pt x="630" y="1278"/>
                  </a:lnTo>
                  <a:lnTo>
                    <a:pt x="624" y="1278"/>
                  </a:lnTo>
                  <a:lnTo>
                    <a:pt x="618" y="1266"/>
                  </a:lnTo>
                  <a:lnTo>
                    <a:pt x="612" y="1266"/>
                  </a:lnTo>
                  <a:lnTo>
                    <a:pt x="606" y="1266"/>
                  </a:lnTo>
                  <a:lnTo>
                    <a:pt x="606" y="1260"/>
                  </a:lnTo>
                  <a:lnTo>
                    <a:pt x="594" y="1248"/>
                  </a:lnTo>
                  <a:lnTo>
                    <a:pt x="582" y="1248"/>
                  </a:lnTo>
                  <a:lnTo>
                    <a:pt x="576" y="1242"/>
                  </a:lnTo>
                  <a:lnTo>
                    <a:pt x="570" y="1236"/>
                  </a:lnTo>
                  <a:lnTo>
                    <a:pt x="504" y="1164"/>
                  </a:lnTo>
                  <a:lnTo>
                    <a:pt x="450" y="1110"/>
                  </a:lnTo>
                  <a:lnTo>
                    <a:pt x="426" y="1092"/>
                  </a:lnTo>
                  <a:lnTo>
                    <a:pt x="426" y="1074"/>
                  </a:lnTo>
                  <a:lnTo>
                    <a:pt x="420" y="1062"/>
                  </a:lnTo>
                  <a:lnTo>
                    <a:pt x="396" y="1056"/>
                  </a:lnTo>
                  <a:lnTo>
                    <a:pt x="384" y="1032"/>
                  </a:lnTo>
                  <a:lnTo>
                    <a:pt x="372" y="1020"/>
                  </a:lnTo>
                  <a:lnTo>
                    <a:pt x="360" y="984"/>
                  </a:lnTo>
                  <a:lnTo>
                    <a:pt x="348" y="978"/>
                  </a:lnTo>
                  <a:lnTo>
                    <a:pt x="342" y="972"/>
                  </a:lnTo>
                  <a:lnTo>
                    <a:pt x="348" y="960"/>
                  </a:lnTo>
                  <a:lnTo>
                    <a:pt x="342" y="954"/>
                  </a:lnTo>
                  <a:lnTo>
                    <a:pt x="336" y="954"/>
                  </a:lnTo>
                  <a:lnTo>
                    <a:pt x="330" y="954"/>
                  </a:lnTo>
                  <a:lnTo>
                    <a:pt x="324" y="972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0" y="966"/>
                  </a:lnTo>
                  <a:lnTo>
                    <a:pt x="294" y="966"/>
                  </a:lnTo>
                  <a:lnTo>
                    <a:pt x="288" y="972"/>
                  </a:lnTo>
                  <a:lnTo>
                    <a:pt x="288" y="966"/>
                  </a:lnTo>
                  <a:lnTo>
                    <a:pt x="282" y="948"/>
                  </a:lnTo>
                  <a:lnTo>
                    <a:pt x="282" y="942"/>
                  </a:lnTo>
                  <a:lnTo>
                    <a:pt x="276" y="942"/>
                  </a:lnTo>
                  <a:lnTo>
                    <a:pt x="276" y="936"/>
                  </a:lnTo>
                  <a:lnTo>
                    <a:pt x="270" y="942"/>
                  </a:lnTo>
                  <a:lnTo>
                    <a:pt x="264" y="948"/>
                  </a:lnTo>
                  <a:lnTo>
                    <a:pt x="264" y="942"/>
                  </a:lnTo>
                  <a:lnTo>
                    <a:pt x="258" y="942"/>
                  </a:lnTo>
                  <a:lnTo>
                    <a:pt x="252" y="948"/>
                  </a:lnTo>
                  <a:lnTo>
                    <a:pt x="252" y="942"/>
                  </a:lnTo>
                  <a:lnTo>
                    <a:pt x="246" y="936"/>
                  </a:lnTo>
                  <a:lnTo>
                    <a:pt x="240" y="942"/>
                  </a:lnTo>
                  <a:lnTo>
                    <a:pt x="234" y="936"/>
                  </a:lnTo>
                  <a:lnTo>
                    <a:pt x="228" y="936"/>
                  </a:lnTo>
                  <a:lnTo>
                    <a:pt x="222" y="936"/>
                  </a:lnTo>
                  <a:lnTo>
                    <a:pt x="222" y="930"/>
                  </a:lnTo>
                  <a:lnTo>
                    <a:pt x="222" y="924"/>
                  </a:lnTo>
                  <a:lnTo>
                    <a:pt x="228" y="924"/>
                  </a:lnTo>
                  <a:lnTo>
                    <a:pt x="234" y="924"/>
                  </a:lnTo>
                  <a:lnTo>
                    <a:pt x="240" y="924"/>
                  </a:lnTo>
                  <a:lnTo>
                    <a:pt x="240" y="918"/>
                  </a:lnTo>
                  <a:lnTo>
                    <a:pt x="246" y="918"/>
                  </a:lnTo>
                  <a:lnTo>
                    <a:pt x="246" y="912"/>
                  </a:lnTo>
                  <a:lnTo>
                    <a:pt x="240" y="906"/>
                  </a:lnTo>
                  <a:lnTo>
                    <a:pt x="234" y="906"/>
                  </a:lnTo>
                  <a:lnTo>
                    <a:pt x="228" y="906"/>
                  </a:lnTo>
                  <a:lnTo>
                    <a:pt x="228" y="912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8" y="894"/>
                  </a:lnTo>
                  <a:lnTo>
                    <a:pt x="234" y="894"/>
                  </a:lnTo>
                  <a:lnTo>
                    <a:pt x="228" y="888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198" y="888"/>
                  </a:lnTo>
                  <a:lnTo>
                    <a:pt x="192" y="882"/>
                  </a:lnTo>
                  <a:lnTo>
                    <a:pt x="186" y="882"/>
                  </a:lnTo>
                  <a:lnTo>
                    <a:pt x="186" y="876"/>
                  </a:lnTo>
                  <a:lnTo>
                    <a:pt x="192" y="876"/>
                  </a:lnTo>
                  <a:lnTo>
                    <a:pt x="192" y="870"/>
                  </a:lnTo>
                  <a:lnTo>
                    <a:pt x="198" y="870"/>
                  </a:lnTo>
                  <a:lnTo>
                    <a:pt x="198" y="864"/>
                  </a:lnTo>
                  <a:lnTo>
                    <a:pt x="198" y="858"/>
                  </a:lnTo>
                  <a:lnTo>
                    <a:pt x="180" y="852"/>
                  </a:lnTo>
                  <a:lnTo>
                    <a:pt x="174" y="840"/>
                  </a:lnTo>
                  <a:lnTo>
                    <a:pt x="162" y="846"/>
                  </a:lnTo>
                  <a:lnTo>
                    <a:pt x="156" y="846"/>
                  </a:lnTo>
                  <a:lnTo>
                    <a:pt x="150" y="846"/>
                  </a:lnTo>
                  <a:lnTo>
                    <a:pt x="150" y="840"/>
                  </a:lnTo>
                  <a:lnTo>
                    <a:pt x="138" y="834"/>
                  </a:lnTo>
                  <a:lnTo>
                    <a:pt x="132" y="834"/>
                  </a:lnTo>
                  <a:lnTo>
                    <a:pt x="132" y="840"/>
                  </a:lnTo>
                  <a:lnTo>
                    <a:pt x="126" y="840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58"/>
                  </a:lnTo>
                  <a:lnTo>
                    <a:pt x="120" y="846"/>
                  </a:lnTo>
                  <a:lnTo>
                    <a:pt x="114" y="846"/>
                  </a:lnTo>
                  <a:lnTo>
                    <a:pt x="108" y="840"/>
                  </a:lnTo>
                  <a:lnTo>
                    <a:pt x="102" y="834"/>
                  </a:lnTo>
                  <a:lnTo>
                    <a:pt x="102" y="822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78" y="804"/>
                  </a:lnTo>
                  <a:lnTo>
                    <a:pt x="78" y="798"/>
                  </a:lnTo>
                  <a:lnTo>
                    <a:pt x="78" y="792"/>
                  </a:lnTo>
                  <a:lnTo>
                    <a:pt x="78" y="786"/>
                  </a:lnTo>
                  <a:lnTo>
                    <a:pt x="78" y="780"/>
                  </a:lnTo>
                  <a:lnTo>
                    <a:pt x="72" y="774"/>
                  </a:lnTo>
                  <a:lnTo>
                    <a:pt x="66" y="774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60" y="762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6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2" y="666"/>
                  </a:lnTo>
                  <a:lnTo>
                    <a:pt x="18" y="648"/>
                  </a:lnTo>
                  <a:lnTo>
                    <a:pt x="24" y="636"/>
                  </a:lnTo>
                  <a:lnTo>
                    <a:pt x="30" y="630"/>
                  </a:lnTo>
                  <a:lnTo>
                    <a:pt x="30" y="624"/>
                  </a:lnTo>
                  <a:lnTo>
                    <a:pt x="30" y="612"/>
                  </a:lnTo>
                  <a:lnTo>
                    <a:pt x="30" y="606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66" y="582"/>
                  </a:lnTo>
                  <a:lnTo>
                    <a:pt x="72" y="588"/>
                  </a:lnTo>
                  <a:lnTo>
                    <a:pt x="84" y="594"/>
                  </a:lnTo>
                  <a:lnTo>
                    <a:pt x="90" y="600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14" y="612"/>
                  </a:lnTo>
                  <a:lnTo>
                    <a:pt x="120" y="612"/>
                  </a:lnTo>
                  <a:lnTo>
                    <a:pt x="126" y="618"/>
                  </a:lnTo>
                  <a:lnTo>
                    <a:pt x="138" y="594"/>
                  </a:lnTo>
                  <a:lnTo>
                    <a:pt x="138" y="582"/>
                  </a:lnTo>
                  <a:lnTo>
                    <a:pt x="138" y="570"/>
                  </a:lnTo>
                  <a:lnTo>
                    <a:pt x="138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50" y="528"/>
                  </a:lnTo>
                  <a:lnTo>
                    <a:pt x="156" y="510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62"/>
                  </a:lnTo>
                  <a:lnTo>
                    <a:pt x="168" y="450"/>
                  </a:lnTo>
                  <a:lnTo>
                    <a:pt x="168" y="444"/>
                  </a:lnTo>
                  <a:lnTo>
                    <a:pt x="162" y="432"/>
                  </a:lnTo>
                  <a:lnTo>
                    <a:pt x="162" y="426"/>
                  </a:lnTo>
                  <a:lnTo>
                    <a:pt x="156" y="420"/>
                  </a:lnTo>
                  <a:lnTo>
                    <a:pt x="144" y="414"/>
                  </a:lnTo>
                  <a:lnTo>
                    <a:pt x="132" y="402"/>
                  </a:lnTo>
                  <a:lnTo>
                    <a:pt x="126" y="390"/>
                  </a:lnTo>
                  <a:lnTo>
                    <a:pt x="120" y="384"/>
                  </a:lnTo>
                  <a:lnTo>
                    <a:pt x="120" y="372"/>
                  </a:lnTo>
                  <a:lnTo>
                    <a:pt x="114" y="360"/>
                  </a:lnTo>
                  <a:lnTo>
                    <a:pt x="108" y="360"/>
                  </a:lnTo>
                  <a:lnTo>
                    <a:pt x="108" y="354"/>
                  </a:lnTo>
                  <a:lnTo>
                    <a:pt x="102" y="348"/>
                  </a:lnTo>
                  <a:lnTo>
                    <a:pt x="102" y="342"/>
                  </a:lnTo>
                  <a:lnTo>
                    <a:pt x="108" y="330"/>
                  </a:lnTo>
                  <a:lnTo>
                    <a:pt x="114" y="312"/>
                  </a:lnTo>
                  <a:lnTo>
                    <a:pt x="114" y="300"/>
                  </a:lnTo>
                  <a:lnTo>
                    <a:pt x="120" y="288"/>
                  </a:lnTo>
                  <a:lnTo>
                    <a:pt x="120" y="282"/>
                  </a:lnTo>
                  <a:lnTo>
                    <a:pt x="114" y="270"/>
                  </a:lnTo>
                  <a:lnTo>
                    <a:pt x="114" y="258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84" y="222"/>
                  </a:lnTo>
                  <a:lnTo>
                    <a:pt x="84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84" y="186"/>
                  </a:lnTo>
                  <a:lnTo>
                    <a:pt x="84" y="180"/>
                  </a:lnTo>
                  <a:lnTo>
                    <a:pt x="108" y="174"/>
                  </a:lnTo>
                  <a:lnTo>
                    <a:pt x="132" y="186"/>
                  </a:lnTo>
                  <a:lnTo>
                    <a:pt x="138" y="192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56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74" y="204"/>
                  </a:lnTo>
                  <a:lnTo>
                    <a:pt x="180" y="216"/>
                  </a:lnTo>
                  <a:lnTo>
                    <a:pt x="186" y="228"/>
                  </a:lnTo>
                  <a:lnTo>
                    <a:pt x="192" y="234"/>
                  </a:lnTo>
                  <a:lnTo>
                    <a:pt x="198" y="234"/>
                  </a:lnTo>
                  <a:lnTo>
                    <a:pt x="204" y="240"/>
                  </a:lnTo>
                  <a:lnTo>
                    <a:pt x="210" y="240"/>
                  </a:lnTo>
                  <a:lnTo>
                    <a:pt x="216" y="240"/>
                  </a:lnTo>
                  <a:lnTo>
                    <a:pt x="222" y="240"/>
                  </a:lnTo>
                  <a:lnTo>
                    <a:pt x="228" y="246"/>
                  </a:lnTo>
                  <a:lnTo>
                    <a:pt x="234" y="246"/>
                  </a:lnTo>
                  <a:lnTo>
                    <a:pt x="240" y="246"/>
                  </a:lnTo>
                  <a:lnTo>
                    <a:pt x="252" y="252"/>
                  </a:lnTo>
                  <a:lnTo>
                    <a:pt x="330" y="246"/>
                  </a:lnTo>
                  <a:lnTo>
                    <a:pt x="360" y="228"/>
                  </a:lnTo>
                  <a:lnTo>
                    <a:pt x="396" y="228"/>
                  </a:lnTo>
                  <a:lnTo>
                    <a:pt x="402" y="240"/>
                  </a:lnTo>
                  <a:lnTo>
                    <a:pt x="432" y="240"/>
                  </a:lnTo>
                  <a:lnTo>
                    <a:pt x="450" y="258"/>
                  </a:lnTo>
                  <a:lnTo>
                    <a:pt x="468" y="258"/>
                  </a:lnTo>
                  <a:lnTo>
                    <a:pt x="474" y="294"/>
                  </a:lnTo>
                  <a:lnTo>
                    <a:pt x="558" y="318"/>
                  </a:lnTo>
                  <a:lnTo>
                    <a:pt x="588" y="318"/>
                  </a:lnTo>
                  <a:lnTo>
                    <a:pt x="588" y="312"/>
                  </a:lnTo>
                  <a:lnTo>
                    <a:pt x="594" y="306"/>
                  </a:lnTo>
                  <a:lnTo>
                    <a:pt x="600" y="306"/>
                  </a:lnTo>
                  <a:lnTo>
                    <a:pt x="612" y="300"/>
                  </a:lnTo>
                  <a:lnTo>
                    <a:pt x="618" y="300"/>
                  </a:lnTo>
                  <a:lnTo>
                    <a:pt x="630" y="300"/>
                  </a:lnTo>
                  <a:lnTo>
                    <a:pt x="642" y="306"/>
                  </a:lnTo>
                  <a:lnTo>
                    <a:pt x="660" y="306"/>
                  </a:lnTo>
                  <a:lnTo>
                    <a:pt x="666" y="306"/>
                  </a:lnTo>
                  <a:lnTo>
                    <a:pt x="672" y="306"/>
                  </a:lnTo>
                  <a:lnTo>
                    <a:pt x="684" y="300"/>
                  </a:lnTo>
                  <a:lnTo>
                    <a:pt x="696" y="294"/>
                  </a:lnTo>
                  <a:lnTo>
                    <a:pt x="702" y="288"/>
                  </a:lnTo>
                  <a:lnTo>
                    <a:pt x="714" y="282"/>
                  </a:lnTo>
                  <a:lnTo>
                    <a:pt x="714" y="288"/>
                  </a:lnTo>
                  <a:lnTo>
                    <a:pt x="726" y="300"/>
                  </a:lnTo>
                  <a:lnTo>
                    <a:pt x="732" y="306"/>
                  </a:lnTo>
                  <a:lnTo>
                    <a:pt x="732" y="318"/>
                  </a:lnTo>
                  <a:lnTo>
                    <a:pt x="732" y="330"/>
                  </a:lnTo>
                  <a:lnTo>
                    <a:pt x="726" y="342"/>
                  </a:lnTo>
                  <a:lnTo>
                    <a:pt x="720" y="354"/>
                  </a:lnTo>
                  <a:lnTo>
                    <a:pt x="720" y="360"/>
                  </a:lnTo>
                  <a:lnTo>
                    <a:pt x="714" y="372"/>
                  </a:lnTo>
                  <a:lnTo>
                    <a:pt x="714" y="378"/>
                  </a:lnTo>
                  <a:lnTo>
                    <a:pt x="714" y="408"/>
                  </a:lnTo>
                  <a:lnTo>
                    <a:pt x="708" y="420"/>
                  </a:lnTo>
                  <a:lnTo>
                    <a:pt x="714" y="432"/>
                  </a:lnTo>
                  <a:lnTo>
                    <a:pt x="708" y="450"/>
                  </a:lnTo>
                  <a:lnTo>
                    <a:pt x="708" y="468"/>
                  </a:lnTo>
                  <a:lnTo>
                    <a:pt x="696" y="480"/>
                  </a:lnTo>
                  <a:lnTo>
                    <a:pt x="684" y="486"/>
                  </a:lnTo>
                  <a:lnTo>
                    <a:pt x="672" y="492"/>
                  </a:lnTo>
                  <a:lnTo>
                    <a:pt x="660" y="498"/>
                  </a:lnTo>
                  <a:lnTo>
                    <a:pt x="654" y="510"/>
                  </a:lnTo>
                  <a:lnTo>
                    <a:pt x="648" y="516"/>
                  </a:lnTo>
                  <a:lnTo>
                    <a:pt x="642" y="522"/>
                  </a:lnTo>
                  <a:lnTo>
                    <a:pt x="630" y="522"/>
                  </a:lnTo>
                  <a:lnTo>
                    <a:pt x="624" y="528"/>
                  </a:lnTo>
                  <a:lnTo>
                    <a:pt x="618" y="540"/>
                  </a:lnTo>
                  <a:lnTo>
                    <a:pt x="618" y="558"/>
                  </a:lnTo>
                  <a:lnTo>
                    <a:pt x="612" y="576"/>
                  </a:lnTo>
                  <a:lnTo>
                    <a:pt x="612" y="684"/>
                  </a:lnTo>
                  <a:lnTo>
                    <a:pt x="618" y="696"/>
                  </a:lnTo>
                  <a:lnTo>
                    <a:pt x="636" y="696"/>
                  </a:lnTo>
                  <a:lnTo>
                    <a:pt x="636" y="720"/>
                  </a:lnTo>
                  <a:lnTo>
                    <a:pt x="636" y="732"/>
                  </a:lnTo>
                  <a:lnTo>
                    <a:pt x="618" y="750"/>
                  </a:lnTo>
                  <a:lnTo>
                    <a:pt x="606" y="762"/>
                  </a:lnTo>
                  <a:lnTo>
                    <a:pt x="600" y="774"/>
                  </a:lnTo>
                  <a:lnTo>
                    <a:pt x="594" y="798"/>
                  </a:lnTo>
                  <a:lnTo>
                    <a:pt x="606" y="798"/>
                  </a:lnTo>
                  <a:lnTo>
                    <a:pt x="660" y="792"/>
                  </a:lnTo>
                  <a:lnTo>
                    <a:pt x="696" y="798"/>
                  </a:lnTo>
                  <a:lnTo>
                    <a:pt x="720" y="798"/>
                  </a:lnTo>
                  <a:lnTo>
                    <a:pt x="720" y="786"/>
                  </a:lnTo>
                  <a:lnTo>
                    <a:pt x="720" y="774"/>
                  </a:lnTo>
                  <a:lnTo>
                    <a:pt x="702" y="762"/>
                  </a:lnTo>
                  <a:lnTo>
                    <a:pt x="702" y="750"/>
                  </a:lnTo>
                  <a:lnTo>
                    <a:pt x="702" y="726"/>
                  </a:lnTo>
                  <a:lnTo>
                    <a:pt x="714" y="714"/>
                  </a:lnTo>
                  <a:lnTo>
                    <a:pt x="720" y="702"/>
                  </a:lnTo>
                  <a:lnTo>
                    <a:pt x="720" y="696"/>
                  </a:lnTo>
                  <a:lnTo>
                    <a:pt x="744" y="690"/>
                  </a:lnTo>
                  <a:lnTo>
                    <a:pt x="744" y="696"/>
                  </a:lnTo>
                  <a:lnTo>
                    <a:pt x="756" y="696"/>
                  </a:lnTo>
                  <a:lnTo>
                    <a:pt x="762" y="690"/>
                  </a:lnTo>
                  <a:lnTo>
                    <a:pt x="768" y="690"/>
                  </a:lnTo>
                  <a:lnTo>
                    <a:pt x="774" y="696"/>
                  </a:lnTo>
                  <a:lnTo>
                    <a:pt x="780" y="696"/>
                  </a:lnTo>
                  <a:lnTo>
                    <a:pt x="786" y="696"/>
                  </a:lnTo>
                  <a:lnTo>
                    <a:pt x="804" y="684"/>
                  </a:lnTo>
                  <a:lnTo>
                    <a:pt x="810" y="684"/>
                  </a:lnTo>
                  <a:lnTo>
                    <a:pt x="810" y="654"/>
                  </a:lnTo>
                  <a:lnTo>
                    <a:pt x="816" y="588"/>
                  </a:lnTo>
                  <a:lnTo>
                    <a:pt x="804" y="582"/>
                  </a:lnTo>
                  <a:lnTo>
                    <a:pt x="798" y="552"/>
                  </a:lnTo>
                  <a:lnTo>
                    <a:pt x="798" y="480"/>
                  </a:lnTo>
                  <a:lnTo>
                    <a:pt x="780" y="468"/>
                  </a:lnTo>
                  <a:lnTo>
                    <a:pt x="780" y="462"/>
                  </a:lnTo>
                  <a:lnTo>
                    <a:pt x="774" y="450"/>
                  </a:lnTo>
                  <a:lnTo>
                    <a:pt x="762" y="444"/>
                  </a:lnTo>
                  <a:lnTo>
                    <a:pt x="762" y="438"/>
                  </a:lnTo>
                  <a:lnTo>
                    <a:pt x="768" y="432"/>
                  </a:lnTo>
                  <a:lnTo>
                    <a:pt x="774" y="426"/>
                  </a:lnTo>
                  <a:lnTo>
                    <a:pt x="780" y="426"/>
                  </a:lnTo>
                  <a:lnTo>
                    <a:pt x="780" y="414"/>
                  </a:lnTo>
                  <a:lnTo>
                    <a:pt x="834" y="414"/>
                  </a:lnTo>
                  <a:lnTo>
                    <a:pt x="834" y="426"/>
                  </a:lnTo>
                  <a:lnTo>
                    <a:pt x="840" y="432"/>
                  </a:lnTo>
                  <a:lnTo>
                    <a:pt x="846" y="432"/>
                  </a:lnTo>
                  <a:lnTo>
                    <a:pt x="852" y="432"/>
                  </a:lnTo>
                  <a:lnTo>
                    <a:pt x="858" y="432"/>
                  </a:lnTo>
                  <a:lnTo>
                    <a:pt x="870" y="432"/>
                  </a:lnTo>
                  <a:lnTo>
                    <a:pt x="870" y="426"/>
                  </a:lnTo>
                  <a:lnTo>
                    <a:pt x="870" y="420"/>
                  </a:lnTo>
                  <a:lnTo>
                    <a:pt x="876" y="420"/>
                  </a:lnTo>
                  <a:lnTo>
                    <a:pt x="882" y="420"/>
                  </a:lnTo>
                  <a:lnTo>
                    <a:pt x="894" y="414"/>
                  </a:lnTo>
                  <a:lnTo>
                    <a:pt x="900" y="414"/>
                  </a:lnTo>
                  <a:lnTo>
                    <a:pt x="906" y="408"/>
                  </a:lnTo>
                  <a:lnTo>
                    <a:pt x="918" y="408"/>
                  </a:lnTo>
                  <a:lnTo>
                    <a:pt x="924" y="402"/>
                  </a:lnTo>
                  <a:lnTo>
                    <a:pt x="930" y="384"/>
                  </a:lnTo>
                  <a:lnTo>
                    <a:pt x="948" y="396"/>
                  </a:lnTo>
                  <a:lnTo>
                    <a:pt x="954" y="384"/>
                  </a:lnTo>
                  <a:lnTo>
                    <a:pt x="960" y="384"/>
                  </a:lnTo>
                  <a:lnTo>
                    <a:pt x="972" y="384"/>
                  </a:lnTo>
                  <a:lnTo>
                    <a:pt x="978" y="378"/>
                  </a:lnTo>
                  <a:lnTo>
                    <a:pt x="972" y="366"/>
                  </a:lnTo>
                  <a:lnTo>
                    <a:pt x="966" y="342"/>
                  </a:lnTo>
                  <a:lnTo>
                    <a:pt x="960" y="330"/>
                  </a:lnTo>
                  <a:lnTo>
                    <a:pt x="942" y="324"/>
                  </a:lnTo>
                  <a:lnTo>
                    <a:pt x="936" y="318"/>
                  </a:lnTo>
                  <a:lnTo>
                    <a:pt x="936" y="294"/>
                  </a:lnTo>
                  <a:lnTo>
                    <a:pt x="942" y="294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282"/>
                  </a:lnTo>
                  <a:lnTo>
                    <a:pt x="954" y="276"/>
                  </a:lnTo>
                  <a:lnTo>
                    <a:pt x="960" y="276"/>
                  </a:lnTo>
                  <a:lnTo>
                    <a:pt x="966" y="276"/>
                  </a:lnTo>
                  <a:lnTo>
                    <a:pt x="960" y="258"/>
                  </a:lnTo>
                  <a:lnTo>
                    <a:pt x="954" y="240"/>
                  </a:lnTo>
                  <a:lnTo>
                    <a:pt x="948" y="204"/>
                  </a:lnTo>
                  <a:lnTo>
                    <a:pt x="954" y="204"/>
                  </a:lnTo>
                  <a:lnTo>
                    <a:pt x="960" y="198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00" y="186"/>
                  </a:lnTo>
                  <a:lnTo>
                    <a:pt x="876" y="180"/>
                  </a:lnTo>
                  <a:lnTo>
                    <a:pt x="858" y="180"/>
                  </a:lnTo>
                  <a:lnTo>
                    <a:pt x="852" y="168"/>
                  </a:lnTo>
                  <a:lnTo>
                    <a:pt x="834" y="156"/>
                  </a:lnTo>
                  <a:lnTo>
                    <a:pt x="822" y="156"/>
                  </a:lnTo>
                  <a:lnTo>
                    <a:pt x="804" y="156"/>
                  </a:lnTo>
                  <a:lnTo>
                    <a:pt x="804" y="150"/>
                  </a:lnTo>
                  <a:lnTo>
                    <a:pt x="792" y="144"/>
                  </a:lnTo>
                  <a:lnTo>
                    <a:pt x="762" y="138"/>
                  </a:lnTo>
                  <a:lnTo>
                    <a:pt x="768" y="120"/>
                  </a:lnTo>
                  <a:lnTo>
                    <a:pt x="756" y="120"/>
                  </a:lnTo>
                  <a:lnTo>
                    <a:pt x="744" y="108"/>
                  </a:lnTo>
                  <a:lnTo>
                    <a:pt x="744" y="96"/>
                  </a:lnTo>
                  <a:lnTo>
                    <a:pt x="762" y="84"/>
                  </a:lnTo>
                  <a:lnTo>
                    <a:pt x="768" y="84"/>
                  </a:lnTo>
                  <a:lnTo>
                    <a:pt x="768" y="72"/>
                  </a:lnTo>
                  <a:lnTo>
                    <a:pt x="780" y="66"/>
                  </a:lnTo>
                  <a:lnTo>
                    <a:pt x="798" y="54"/>
                  </a:lnTo>
                  <a:lnTo>
                    <a:pt x="792" y="54"/>
                  </a:lnTo>
                  <a:lnTo>
                    <a:pt x="798" y="36"/>
                  </a:lnTo>
                  <a:lnTo>
                    <a:pt x="804" y="36"/>
                  </a:lnTo>
                  <a:lnTo>
                    <a:pt x="816" y="30"/>
                  </a:lnTo>
                  <a:lnTo>
                    <a:pt x="828" y="30"/>
                  </a:lnTo>
                  <a:lnTo>
                    <a:pt x="846" y="12"/>
                  </a:lnTo>
                  <a:lnTo>
                    <a:pt x="876" y="0"/>
                  </a:lnTo>
                  <a:lnTo>
                    <a:pt x="882" y="6"/>
                  </a:lnTo>
                  <a:lnTo>
                    <a:pt x="900" y="6"/>
                  </a:lnTo>
                  <a:lnTo>
                    <a:pt x="912" y="36"/>
                  </a:lnTo>
                  <a:lnTo>
                    <a:pt x="918" y="42"/>
                  </a:lnTo>
                  <a:lnTo>
                    <a:pt x="924" y="54"/>
                  </a:lnTo>
                  <a:lnTo>
                    <a:pt x="930" y="54"/>
                  </a:lnTo>
                  <a:lnTo>
                    <a:pt x="930" y="78"/>
                  </a:lnTo>
                  <a:lnTo>
                    <a:pt x="954" y="72"/>
                  </a:lnTo>
                  <a:lnTo>
                    <a:pt x="954" y="60"/>
                  </a:lnTo>
                  <a:lnTo>
                    <a:pt x="966" y="66"/>
                  </a:lnTo>
                  <a:lnTo>
                    <a:pt x="966" y="78"/>
                  </a:lnTo>
                  <a:lnTo>
                    <a:pt x="960" y="84"/>
                  </a:lnTo>
                  <a:lnTo>
                    <a:pt x="954" y="102"/>
                  </a:lnTo>
                  <a:lnTo>
                    <a:pt x="972" y="102"/>
                  </a:lnTo>
                  <a:lnTo>
                    <a:pt x="978" y="84"/>
                  </a:lnTo>
                  <a:lnTo>
                    <a:pt x="984" y="72"/>
                  </a:lnTo>
                  <a:lnTo>
                    <a:pt x="990" y="72"/>
                  </a:lnTo>
                  <a:lnTo>
                    <a:pt x="996" y="18"/>
                  </a:lnTo>
                  <a:lnTo>
                    <a:pt x="990" y="12"/>
                  </a:lnTo>
                  <a:lnTo>
                    <a:pt x="1014" y="12"/>
                  </a:lnTo>
                  <a:lnTo>
                    <a:pt x="1026" y="12"/>
                  </a:lnTo>
                  <a:lnTo>
                    <a:pt x="1026" y="24"/>
                  </a:lnTo>
                  <a:lnTo>
                    <a:pt x="1050" y="24"/>
                  </a:lnTo>
                  <a:lnTo>
                    <a:pt x="1050" y="36"/>
                  </a:lnTo>
                  <a:lnTo>
                    <a:pt x="1062" y="66"/>
                  </a:lnTo>
                  <a:lnTo>
                    <a:pt x="1074" y="66"/>
                  </a:lnTo>
                  <a:lnTo>
                    <a:pt x="1080" y="60"/>
                  </a:lnTo>
                  <a:lnTo>
                    <a:pt x="1074" y="24"/>
                  </a:lnTo>
                  <a:lnTo>
                    <a:pt x="1086" y="18"/>
                  </a:lnTo>
                  <a:lnTo>
                    <a:pt x="1086" y="12"/>
                  </a:lnTo>
                  <a:lnTo>
                    <a:pt x="1104" y="6"/>
                  </a:lnTo>
                  <a:lnTo>
                    <a:pt x="1122" y="0"/>
                  </a:lnTo>
                  <a:lnTo>
                    <a:pt x="1134" y="6"/>
                  </a:lnTo>
                  <a:lnTo>
                    <a:pt x="1134" y="42"/>
                  </a:lnTo>
                  <a:lnTo>
                    <a:pt x="1140" y="72"/>
                  </a:lnTo>
                  <a:lnTo>
                    <a:pt x="1158" y="114"/>
                  </a:lnTo>
                  <a:lnTo>
                    <a:pt x="1170" y="114"/>
                  </a:lnTo>
                  <a:lnTo>
                    <a:pt x="1170" y="126"/>
                  </a:lnTo>
                  <a:lnTo>
                    <a:pt x="1182" y="126"/>
                  </a:lnTo>
                  <a:lnTo>
                    <a:pt x="1182" y="138"/>
                  </a:lnTo>
                  <a:lnTo>
                    <a:pt x="1194" y="144"/>
                  </a:lnTo>
                  <a:lnTo>
                    <a:pt x="1194" y="156"/>
                  </a:lnTo>
                  <a:lnTo>
                    <a:pt x="1188" y="156"/>
                  </a:lnTo>
                  <a:lnTo>
                    <a:pt x="1194" y="162"/>
                  </a:lnTo>
                  <a:lnTo>
                    <a:pt x="1194" y="168"/>
                  </a:lnTo>
                  <a:lnTo>
                    <a:pt x="1188" y="168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82" y="180"/>
                  </a:lnTo>
                  <a:lnTo>
                    <a:pt x="1188" y="186"/>
                  </a:lnTo>
                  <a:lnTo>
                    <a:pt x="1188" y="192"/>
                  </a:lnTo>
                  <a:lnTo>
                    <a:pt x="1182" y="198"/>
                  </a:lnTo>
                  <a:lnTo>
                    <a:pt x="1182" y="204"/>
                  </a:lnTo>
                  <a:lnTo>
                    <a:pt x="1182" y="210"/>
                  </a:lnTo>
                  <a:lnTo>
                    <a:pt x="1188" y="210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2"/>
                  </a:lnTo>
                  <a:lnTo>
                    <a:pt x="1194" y="264"/>
                  </a:lnTo>
                  <a:lnTo>
                    <a:pt x="1200" y="264"/>
                  </a:lnTo>
                  <a:lnTo>
                    <a:pt x="1212" y="264"/>
                  </a:lnTo>
                  <a:lnTo>
                    <a:pt x="1212" y="258"/>
                  </a:lnTo>
                  <a:lnTo>
                    <a:pt x="1224" y="258"/>
                  </a:lnTo>
                  <a:lnTo>
                    <a:pt x="1248" y="252"/>
                  </a:lnTo>
                  <a:lnTo>
                    <a:pt x="1248" y="264"/>
                  </a:lnTo>
                  <a:lnTo>
                    <a:pt x="1254" y="264"/>
                  </a:lnTo>
                  <a:lnTo>
                    <a:pt x="1254" y="270"/>
                  </a:lnTo>
                  <a:lnTo>
                    <a:pt x="1260" y="270"/>
                  </a:lnTo>
                  <a:lnTo>
                    <a:pt x="1266" y="270"/>
                  </a:lnTo>
                  <a:lnTo>
                    <a:pt x="1272" y="270"/>
                  </a:lnTo>
                  <a:lnTo>
                    <a:pt x="1272" y="264"/>
                  </a:lnTo>
                  <a:lnTo>
                    <a:pt x="1272" y="258"/>
                  </a:lnTo>
                  <a:lnTo>
                    <a:pt x="1278" y="258"/>
                  </a:lnTo>
                  <a:lnTo>
                    <a:pt x="1278" y="252"/>
                  </a:lnTo>
                  <a:lnTo>
                    <a:pt x="1290" y="252"/>
                  </a:lnTo>
                  <a:lnTo>
                    <a:pt x="1296" y="246"/>
                  </a:lnTo>
                  <a:lnTo>
                    <a:pt x="1308" y="246"/>
                  </a:lnTo>
                  <a:lnTo>
                    <a:pt x="1308" y="240"/>
                  </a:lnTo>
                  <a:lnTo>
                    <a:pt x="1320" y="240"/>
                  </a:lnTo>
                  <a:lnTo>
                    <a:pt x="1326" y="246"/>
                  </a:lnTo>
                  <a:lnTo>
                    <a:pt x="1338" y="246"/>
                  </a:lnTo>
                  <a:lnTo>
                    <a:pt x="1338" y="240"/>
                  </a:lnTo>
                  <a:lnTo>
                    <a:pt x="1350" y="240"/>
                  </a:lnTo>
                  <a:lnTo>
                    <a:pt x="1386" y="234"/>
                  </a:lnTo>
                  <a:lnTo>
                    <a:pt x="1398" y="228"/>
                  </a:lnTo>
                  <a:lnTo>
                    <a:pt x="1404" y="216"/>
                  </a:lnTo>
                  <a:lnTo>
                    <a:pt x="1416" y="204"/>
                  </a:lnTo>
                  <a:lnTo>
                    <a:pt x="1434" y="192"/>
                  </a:lnTo>
                  <a:lnTo>
                    <a:pt x="1446" y="198"/>
                  </a:lnTo>
                  <a:lnTo>
                    <a:pt x="1446" y="204"/>
                  </a:lnTo>
                  <a:lnTo>
                    <a:pt x="1452" y="210"/>
                  </a:lnTo>
                  <a:lnTo>
                    <a:pt x="1464" y="222"/>
                  </a:lnTo>
                  <a:lnTo>
                    <a:pt x="1464" y="228"/>
                  </a:lnTo>
                  <a:lnTo>
                    <a:pt x="1464" y="234"/>
                  </a:lnTo>
                  <a:lnTo>
                    <a:pt x="1470" y="240"/>
                  </a:lnTo>
                  <a:lnTo>
                    <a:pt x="1476" y="228"/>
                  </a:lnTo>
                  <a:lnTo>
                    <a:pt x="1476" y="222"/>
                  </a:lnTo>
                  <a:lnTo>
                    <a:pt x="1482" y="210"/>
                  </a:lnTo>
                  <a:lnTo>
                    <a:pt x="1488" y="192"/>
                  </a:lnTo>
                  <a:lnTo>
                    <a:pt x="1488" y="186"/>
                  </a:lnTo>
                  <a:lnTo>
                    <a:pt x="1488" y="180"/>
                  </a:lnTo>
                  <a:lnTo>
                    <a:pt x="1500" y="180"/>
                  </a:lnTo>
                  <a:lnTo>
                    <a:pt x="1500" y="174"/>
                  </a:lnTo>
                  <a:lnTo>
                    <a:pt x="1518" y="162"/>
                  </a:lnTo>
                  <a:lnTo>
                    <a:pt x="1536" y="150"/>
                  </a:lnTo>
                  <a:lnTo>
                    <a:pt x="1554" y="168"/>
                  </a:lnTo>
                  <a:lnTo>
                    <a:pt x="1572" y="180"/>
                  </a:lnTo>
                  <a:lnTo>
                    <a:pt x="1596" y="216"/>
                  </a:lnTo>
                  <a:lnTo>
                    <a:pt x="1602" y="216"/>
                  </a:lnTo>
                  <a:lnTo>
                    <a:pt x="1614" y="228"/>
                  </a:lnTo>
                  <a:lnTo>
                    <a:pt x="1614" y="234"/>
                  </a:lnTo>
                  <a:lnTo>
                    <a:pt x="1620" y="240"/>
                  </a:lnTo>
                  <a:lnTo>
                    <a:pt x="1620" y="246"/>
                  </a:lnTo>
                  <a:lnTo>
                    <a:pt x="1626" y="252"/>
                  </a:lnTo>
                  <a:lnTo>
                    <a:pt x="1632" y="258"/>
                  </a:lnTo>
                  <a:lnTo>
                    <a:pt x="1632" y="264"/>
                  </a:lnTo>
                  <a:lnTo>
                    <a:pt x="1638" y="264"/>
                  </a:lnTo>
                  <a:lnTo>
                    <a:pt x="1638" y="270"/>
                  </a:lnTo>
                  <a:lnTo>
                    <a:pt x="1638" y="276"/>
                  </a:lnTo>
                  <a:lnTo>
                    <a:pt x="1638" y="282"/>
                  </a:lnTo>
                  <a:lnTo>
                    <a:pt x="1644" y="288"/>
                  </a:lnTo>
                  <a:lnTo>
                    <a:pt x="1644" y="294"/>
                  </a:lnTo>
                  <a:lnTo>
                    <a:pt x="1644" y="300"/>
                  </a:lnTo>
                  <a:lnTo>
                    <a:pt x="1644" y="306"/>
                  </a:lnTo>
                  <a:lnTo>
                    <a:pt x="1650" y="306"/>
                  </a:lnTo>
                  <a:lnTo>
                    <a:pt x="1650" y="312"/>
                  </a:lnTo>
                  <a:lnTo>
                    <a:pt x="1650" y="318"/>
                  </a:lnTo>
                  <a:lnTo>
                    <a:pt x="1650" y="324"/>
                  </a:lnTo>
                  <a:lnTo>
                    <a:pt x="1644" y="330"/>
                  </a:lnTo>
                  <a:lnTo>
                    <a:pt x="1626" y="330"/>
                  </a:lnTo>
                  <a:lnTo>
                    <a:pt x="1626" y="336"/>
                  </a:lnTo>
                  <a:lnTo>
                    <a:pt x="1626" y="342"/>
                  </a:lnTo>
                  <a:lnTo>
                    <a:pt x="1626" y="348"/>
                  </a:lnTo>
                  <a:lnTo>
                    <a:pt x="1620" y="354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14" y="390"/>
                  </a:lnTo>
                  <a:lnTo>
                    <a:pt x="1614" y="396"/>
                  </a:lnTo>
                  <a:lnTo>
                    <a:pt x="1614" y="402"/>
                  </a:lnTo>
                  <a:lnTo>
                    <a:pt x="1614" y="408"/>
                  </a:lnTo>
                  <a:lnTo>
                    <a:pt x="1614" y="414"/>
                  </a:lnTo>
                  <a:lnTo>
                    <a:pt x="1602" y="420"/>
                  </a:lnTo>
                  <a:lnTo>
                    <a:pt x="1602" y="426"/>
                  </a:lnTo>
                  <a:lnTo>
                    <a:pt x="1608" y="432"/>
                  </a:lnTo>
                  <a:lnTo>
                    <a:pt x="1614" y="426"/>
                  </a:lnTo>
                  <a:lnTo>
                    <a:pt x="1620" y="438"/>
                  </a:lnTo>
                  <a:lnTo>
                    <a:pt x="1626" y="438"/>
                  </a:lnTo>
                  <a:lnTo>
                    <a:pt x="1632" y="444"/>
                  </a:lnTo>
                  <a:lnTo>
                    <a:pt x="1626" y="456"/>
                  </a:lnTo>
                  <a:lnTo>
                    <a:pt x="1626" y="468"/>
                  </a:lnTo>
                  <a:lnTo>
                    <a:pt x="1620" y="474"/>
                  </a:lnTo>
                  <a:lnTo>
                    <a:pt x="1614" y="474"/>
                  </a:lnTo>
                  <a:lnTo>
                    <a:pt x="1614" y="486"/>
                  </a:lnTo>
                  <a:lnTo>
                    <a:pt x="1614" y="492"/>
                  </a:lnTo>
                  <a:lnTo>
                    <a:pt x="1620" y="492"/>
                  </a:lnTo>
                  <a:lnTo>
                    <a:pt x="1626" y="498"/>
                  </a:lnTo>
                  <a:lnTo>
                    <a:pt x="1626" y="504"/>
                  </a:lnTo>
                  <a:lnTo>
                    <a:pt x="1626" y="510"/>
                  </a:lnTo>
                  <a:lnTo>
                    <a:pt x="1620" y="516"/>
                  </a:lnTo>
                  <a:lnTo>
                    <a:pt x="1620" y="522"/>
                  </a:lnTo>
                  <a:lnTo>
                    <a:pt x="1614" y="522"/>
                  </a:lnTo>
                  <a:lnTo>
                    <a:pt x="1608" y="528"/>
                  </a:lnTo>
                  <a:lnTo>
                    <a:pt x="1602" y="522"/>
                  </a:lnTo>
                  <a:lnTo>
                    <a:pt x="1602" y="528"/>
                  </a:lnTo>
                  <a:lnTo>
                    <a:pt x="1602" y="540"/>
                  </a:lnTo>
                  <a:lnTo>
                    <a:pt x="1602" y="558"/>
                  </a:lnTo>
                  <a:lnTo>
                    <a:pt x="1602" y="564"/>
                  </a:lnTo>
                  <a:lnTo>
                    <a:pt x="1602" y="570"/>
                  </a:lnTo>
                  <a:lnTo>
                    <a:pt x="1602" y="576"/>
                  </a:lnTo>
                  <a:lnTo>
                    <a:pt x="1596" y="576"/>
                  </a:lnTo>
                  <a:lnTo>
                    <a:pt x="1632" y="582"/>
                  </a:lnTo>
                  <a:lnTo>
                    <a:pt x="1644" y="618"/>
                  </a:lnTo>
                  <a:lnTo>
                    <a:pt x="1650" y="648"/>
                  </a:lnTo>
                  <a:lnTo>
                    <a:pt x="1662" y="636"/>
                  </a:lnTo>
                  <a:lnTo>
                    <a:pt x="1668" y="636"/>
                  </a:lnTo>
                  <a:lnTo>
                    <a:pt x="1674" y="636"/>
                  </a:lnTo>
                  <a:lnTo>
                    <a:pt x="1680" y="630"/>
                  </a:lnTo>
                  <a:lnTo>
                    <a:pt x="1686" y="630"/>
                  </a:lnTo>
                  <a:lnTo>
                    <a:pt x="1692" y="630"/>
                  </a:lnTo>
                  <a:lnTo>
                    <a:pt x="1698" y="630"/>
                  </a:lnTo>
                  <a:lnTo>
                    <a:pt x="1704" y="630"/>
                  </a:lnTo>
                  <a:lnTo>
                    <a:pt x="1704" y="624"/>
                  </a:lnTo>
                  <a:lnTo>
                    <a:pt x="1710" y="624"/>
                  </a:lnTo>
                  <a:lnTo>
                    <a:pt x="1716" y="624"/>
                  </a:lnTo>
                  <a:lnTo>
                    <a:pt x="1722" y="624"/>
                  </a:lnTo>
                  <a:lnTo>
                    <a:pt x="1728" y="624"/>
                  </a:lnTo>
                  <a:lnTo>
                    <a:pt x="1722" y="618"/>
                  </a:lnTo>
                  <a:lnTo>
                    <a:pt x="1728" y="606"/>
                  </a:lnTo>
                  <a:lnTo>
                    <a:pt x="1734" y="606"/>
                  </a:lnTo>
                  <a:lnTo>
                    <a:pt x="1740" y="600"/>
                  </a:lnTo>
                  <a:lnTo>
                    <a:pt x="1746" y="594"/>
                  </a:lnTo>
                  <a:lnTo>
                    <a:pt x="1752" y="588"/>
                  </a:lnTo>
                  <a:lnTo>
                    <a:pt x="1752" y="582"/>
                  </a:lnTo>
                  <a:lnTo>
                    <a:pt x="1758" y="576"/>
                  </a:lnTo>
                  <a:lnTo>
                    <a:pt x="1764" y="576"/>
                  </a:lnTo>
                  <a:lnTo>
                    <a:pt x="1770" y="570"/>
                  </a:lnTo>
                  <a:lnTo>
                    <a:pt x="1776" y="564"/>
                  </a:lnTo>
                  <a:lnTo>
                    <a:pt x="1788" y="558"/>
                  </a:lnTo>
                  <a:lnTo>
                    <a:pt x="1788" y="546"/>
                  </a:lnTo>
                  <a:lnTo>
                    <a:pt x="1788" y="540"/>
                  </a:lnTo>
                  <a:lnTo>
                    <a:pt x="1794" y="540"/>
                  </a:lnTo>
                  <a:lnTo>
                    <a:pt x="1788" y="534"/>
                  </a:lnTo>
                  <a:lnTo>
                    <a:pt x="1788" y="528"/>
                  </a:lnTo>
                  <a:lnTo>
                    <a:pt x="1794" y="516"/>
                  </a:lnTo>
                  <a:lnTo>
                    <a:pt x="1800" y="510"/>
                  </a:lnTo>
                  <a:lnTo>
                    <a:pt x="1812" y="510"/>
                  </a:lnTo>
                  <a:lnTo>
                    <a:pt x="1818" y="504"/>
                  </a:lnTo>
                  <a:lnTo>
                    <a:pt x="1824" y="504"/>
                  </a:lnTo>
                  <a:lnTo>
                    <a:pt x="1830" y="498"/>
                  </a:lnTo>
                  <a:lnTo>
                    <a:pt x="1836" y="498"/>
                  </a:lnTo>
                  <a:lnTo>
                    <a:pt x="1848" y="492"/>
                  </a:lnTo>
                  <a:lnTo>
                    <a:pt x="1848" y="480"/>
                  </a:lnTo>
                  <a:lnTo>
                    <a:pt x="1854" y="480"/>
                  </a:lnTo>
                  <a:lnTo>
                    <a:pt x="1890" y="504"/>
                  </a:lnTo>
                  <a:lnTo>
                    <a:pt x="1908" y="534"/>
                  </a:lnTo>
                  <a:lnTo>
                    <a:pt x="1902" y="534"/>
                  </a:lnTo>
                  <a:lnTo>
                    <a:pt x="1920" y="528"/>
                  </a:lnTo>
                  <a:lnTo>
                    <a:pt x="1920" y="516"/>
                  </a:lnTo>
                  <a:lnTo>
                    <a:pt x="1944" y="516"/>
                  </a:lnTo>
                  <a:lnTo>
                    <a:pt x="2004" y="516"/>
                  </a:lnTo>
                  <a:lnTo>
                    <a:pt x="2010" y="510"/>
                  </a:lnTo>
                  <a:lnTo>
                    <a:pt x="2004" y="510"/>
                  </a:lnTo>
                  <a:lnTo>
                    <a:pt x="2010" y="498"/>
                  </a:lnTo>
                  <a:lnTo>
                    <a:pt x="2004" y="486"/>
                  </a:lnTo>
                  <a:lnTo>
                    <a:pt x="2004" y="480"/>
                  </a:lnTo>
                  <a:lnTo>
                    <a:pt x="2004" y="474"/>
                  </a:lnTo>
                  <a:lnTo>
                    <a:pt x="2004" y="462"/>
                  </a:lnTo>
                  <a:lnTo>
                    <a:pt x="2004" y="456"/>
                  </a:lnTo>
                  <a:lnTo>
                    <a:pt x="2058" y="462"/>
                  </a:lnTo>
                  <a:lnTo>
                    <a:pt x="2076" y="474"/>
                  </a:lnTo>
                  <a:lnTo>
                    <a:pt x="2082" y="522"/>
                  </a:lnTo>
                  <a:lnTo>
                    <a:pt x="2088" y="516"/>
                  </a:lnTo>
                  <a:lnTo>
                    <a:pt x="2094" y="522"/>
                  </a:lnTo>
                  <a:lnTo>
                    <a:pt x="2100" y="528"/>
                  </a:lnTo>
                  <a:lnTo>
                    <a:pt x="2130" y="540"/>
                  </a:lnTo>
                  <a:lnTo>
                    <a:pt x="2160" y="564"/>
                  </a:lnTo>
                  <a:lnTo>
                    <a:pt x="2166" y="600"/>
                  </a:lnTo>
                  <a:lnTo>
                    <a:pt x="2160" y="618"/>
                  </a:lnTo>
                  <a:lnTo>
                    <a:pt x="2142" y="636"/>
                  </a:lnTo>
                  <a:lnTo>
                    <a:pt x="2148" y="648"/>
                  </a:lnTo>
                  <a:lnTo>
                    <a:pt x="2154" y="660"/>
                  </a:lnTo>
                  <a:lnTo>
                    <a:pt x="2196" y="654"/>
                  </a:lnTo>
                  <a:lnTo>
                    <a:pt x="2214" y="660"/>
                  </a:lnTo>
                  <a:lnTo>
                    <a:pt x="2214" y="666"/>
                  </a:lnTo>
                  <a:lnTo>
                    <a:pt x="2220" y="672"/>
                  </a:lnTo>
                  <a:lnTo>
                    <a:pt x="2214" y="678"/>
                  </a:lnTo>
                  <a:lnTo>
                    <a:pt x="2214" y="684"/>
                  </a:lnTo>
                  <a:lnTo>
                    <a:pt x="2214" y="690"/>
                  </a:lnTo>
                  <a:lnTo>
                    <a:pt x="2208" y="690"/>
                  </a:lnTo>
                  <a:lnTo>
                    <a:pt x="2202" y="696"/>
                  </a:lnTo>
                  <a:lnTo>
                    <a:pt x="2196" y="702"/>
                  </a:lnTo>
                  <a:lnTo>
                    <a:pt x="2190" y="708"/>
                  </a:lnTo>
                  <a:lnTo>
                    <a:pt x="2190" y="720"/>
                  </a:lnTo>
                  <a:lnTo>
                    <a:pt x="2184" y="720"/>
                  </a:lnTo>
                  <a:lnTo>
                    <a:pt x="2178" y="726"/>
                  </a:lnTo>
                  <a:lnTo>
                    <a:pt x="2166" y="732"/>
                  </a:lnTo>
                  <a:lnTo>
                    <a:pt x="2160" y="744"/>
                  </a:lnTo>
                  <a:lnTo>
                    <a:pt x="2154" y="756"/>
                  </a:lnTo>
                  <a:lnTo>
                    <a:pt x="2148" y="762"/>
                  </a:lnTo>
                  <a:lnTo>
                    <a:pt x="2124" y="762"/>
                  </a:lnTo>
                  <a:lnTo>
                    <a:pt x="2124" y="768"/>
                  </a:lnTo>
                  <a:lnTo>
                    <a:pt x="2118" y="768"/>
                  </a:lnTo>
                  <a:lnTo>
                    <a:pt x="2124" y="774"/>
                  </a:lnTo>
                  <a:lnTo>
                    <a:pt x="2118" y="774"/>
                  </a:lnTo>
                  <a:lnTo>
                    <a:pt x="2112" y="774"/>
                  </a:lnTo>
                  <a:lnTo>
                    <a:pt x="2106" y="780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06" y="798"/>
                  </a:lnTo>
                  <a:lnTo>
                    <a:pt x="2106" y="810"/>
                  </a:lnTo>
                  <a:lnTo>
                    <a:pt x="2112" y="828"/>
                  </a:lnTo>
                  <a:lnTo>
                    <a:pt x="2112" y="834"/>
                  </a:lnTo>
                  <a:lnTo>
                    <a:pt x="2112" y="840"/>
                  </a:lnTo>
                  <a:lnTo>
                    <a:pt x="2112" y="834"/>
                  </a:lnTo>
                  <a:lnTo>
                    <a:pt x="2124" y="834"/>
                  </a:lnTo>
                  <a:lnTo>
                    <a:pt x="2130" y="834"/>
                  </a:lnTo>
                  <a:lnTo>
                    <a:pt x="2136" y="840"/>
                  </a:lnTo>
                  <a:lnTo>
                    <a:pt x="2142" y="840"/>
                  </a:lnTo>
                  <a:lnTo>
                    <a:pt x="2154" y="852"/>
                  </a:lnTo>
                  <a:lnTo>
                    <a:pt x="2160" y="852"/>
                  </a:lnTo>
                  <a:lnTo>
                    <a:pt x="2172" y="846"/>
                  </a:lnTo>
                  <a:lnTo>
                    <a:pt x="2178" y="846"/>
                  </a:lnTo>
                  <a:lnTo>
                    <a:pt x="2184" y="846"/>
                  </a:lnTo>
                  <a:lnTo>
                    <a:pt x="2190" y="846"/>
                  </a:lnTo>
                  <a:lnTo>
                    <a:pt x="2196" y="852"/>
                  </a:lnTo>
                  <a:lnTo>
                    <a:pt x="2196" y="858"/>
                  </a:lnTo>
                  <a:lnTo>
                    <a:pt x="2202" y="852"/>
                  </a:lnTo>
                  <a:lnTo>
                    <a:pt x="2208" y="846"/>
                  </a:lnTo>
                  <a:lnTo>
                    <a:pt x="2214" y="846"/>
                  </a:lnTo>
                  <a:lnTo>
                    <a:pt x="2226" y="846"/>
                  </a:lnTo>
                  <a:lnTo>
                    <a:pt x="2232" y="852"/>
                  </a:lnTo>
                  <a:lnTo>
                    <a:pt x="2238" y="852"/>
                  </a:lnTo>
                  <a:lnTo>
                    <a:pt x="2244" y="858"/>
                  </a:lnTo>
                  <a:lnTo>
                    <a:pt x="2250" y="858"/>
                  </a:lnTo>
                  <a:lnTo>
                    <a:pt x="2256" y="858"/>
                  </a:lnTo>
                  <a:lnTo>
                    <a:pt x="2262" y="858"/>
                  </a:lnTo>
                  <a:lnTo>
                    <a:pt x="2268" y="852"/>
                  </a:lnTo>
                  <a:lnTo>
                    <a:pt x="2274" y="852"/>
                  </a:lnTo>
                  <a:lnTo>
                    <a:pt x="2280" y="852"/>
                  </a:lnTo>
                  <a:lnTo>
                    <a:pt x="2286" y="852"/>
                  </a:lnTo>
                  <a:lnTo>
                    <a:pt x="2298" y="858"/>
                  </a:lnTo>
                  <a:lnTo>
                    <a:pt x="2304" y="858"/>
                  </a:lnTo>
                  <a:lnTo>
                    <a:pt x="2310" y="858"/>
                  </a:lnTo>
                  <a:lnTo>
                    <a:pt x="2316" y="852"/>
                  </a:lnTo>
                  <a:lnTo>
                    <a:pt x="2322" y="858"/>
                  </a:lnTo>
                  <a:lnTo>
                    <a:pt x="2328" y="858"/>
                  </a:lnTo>
                  <a:lnTo>
                    <a:pt x="2328" y="852"/>
                  </a:lnTo>
                  <a:lnTo>
                    <a:pt x="2364" y="858"/>
                  </a:lnTo>
                  <a:lnTo>
                    <a:pt x="2376" y="876"/>
                  </a:lnTo>
                  <a:lnTo>
                    <a:pt x="2382" y="936"/>
                  </a:lnTo>
                  <a:lnTo>
                    <a:pt x="2388" y="966"/>
                  </a:lnTo>
                  <a:lnTo>
                    <a:pt x="2382" y="972"/>
                  </a:lnTo>
                  <a:lnTo>
                    <a:pt x="2382" y="978"/>
                  </a:lnTo>
                  <a:lnTo>
                    <a:pt x="2382" y="984"/>
                  </a:lnTo>
                  <a:lnTo>
                    <a:pt x="2388" y="990"/>
                  </a:lnTo>
                  <a:lnTo>
                    <a:pt x="2382" y="990"/>
                  </a:lnTo>
                  <a:lnTo>
                    <a:pt x="2382" y="996"/>
                  </a:lnTo>
                  <a:lnTo>
                    <a:pt x="2376" y="996"/>
                  </a:lnTo>
                  <a:lnTo>
                    <a:pt x="2376" y="1020"/>
                  </a:lnTo>
                  <a:lnTo>
                    <a:pt x="2370" y="1032"/>
                  </a:lnTo>
                  <a:lnTo>
                    <a:pt x="2352" y="1032"/>
                  </a:lnTo>
                  <a:lnTo>
                    <a:pt x="2346" y="1020"/>
                  </a:lnTo>
                  <a:lnTo>
                    <a:pt x="2328" y="1032"/>
                  </a:lnTo>
                  <a:lnTo>
                    <a:pt x="2316" y="1038"/>
                  </a:lnTo>
                  <a:lnTo>
                    <a:pt x="2328" y="1044"/>
                  </a:lnTo>
                  <a:lnTo>
                    <a:pt x="2340" y="1056"/>
                  </a:lnTo>
                  <a:lnTo>
                    <a:pt x="2376" y="1062"/>
                  </a:lnTo>
                  <a:lnTo>
                    <a:pt x="2376" y="1068"/>
                  </a:lnTo>
                  <a:lnTo>
                    <a:pt x="2382" y="1086"/>
                  </a:lnTo>
                  <a:lnTo>
                    <a:pt x="2376" y="1086"/>
                  </a:lnTo>
                  <a:lnTo>
                    <a:pt x="2370" y="1086"/>
                  </a:lnTo>
                  <a:lnTo>
                    <a:pt x="2364" y="1086"/>
                  </a:lnTo>
                  <a:lnTo>
                    <a:pt x="2364" y="1098"/>
                  </a:lnTo>
                  <a:lnTo>
                    <a:pt x="2388" y="1104"/>
                  </a:lnTo>
                  <a:lnTo>
                    <a:pt x="2400" y="1122"/>
                  </a:lnTo>
                  <a:lnTo>
                    <a:pt x="2400" y="1134"/>
                  </a:lnTo>
                  <a:lnTo>
                    <a:pt x="2400" y="1146"/>
                  </a:lnTo>
                  <a:lnTo>
                    <a:pt x="2394" y="1146"/>
                  </a:lnTo>
                  <a:lnTo>
                    <a:pt x="2394" y="1152"/>
                  </a:lnTo>
                  <a:lnTo>
                    <a:pt x="2388" y="1152"/>
                  </a:lnTo>
                  <a:lnTo>
                    <a:pt x="2388" y="1146"/>
                  </a:lnTo>
                  <a:lnTo>
                    <a:pt x="2382" y="1152"/>
                  </a:lnTo>
                  <a:lnTo>
                    <a:pt x="2376" y="1152"/>
                  </a:lnTo>
                  <a:lnTo>
                    <a:pt x="2370" y="1158"/>
                  </a:lnTo>
                  <a:lnTo>
                    <a:pt x="2370" y="1164"/>
                  </a:lnTo>
                  <a:lnTo>
                    <a:pt x="2364" y="1170"/>
                  </a:lnTo>
                  <a:lnTo>
                    <a:pt x="2370" y="1170"/>
                  </a:lnTo>
                  <a:lnTo>
                    <a:pt x="2376" y="1170"/>
                  </a:lnTo>
                  <a:lnTo>
                    <a:pt x="2370" y="1176"/>
                  </a:lnTo>
                  <a:lnTo>
                    <a:pt x="2364" y="1176"/>
                  </a:lnTo>
                  <a:lnTo>
                    <a:pt x="2358" y="1182"/>
                  </a:lnTo>
                  <a:lnTo>
                    <a:pt x="2352" y="1182"/>
                  </a:lnTo>
                  <a:lnTo>
                    <a:pt x="2346" y="1188"/>
                  </a:lnTo>
                  <a:lnTo>
                    <a:pt x="2340" y="1182"/>
                  </a:lnTo>
                  <a:lnTo>
                    <a:pt x="2334" y="1182"/>
                  </a:lnTo>
                  <a:lnTo>
                    <a:pt x="2334" y="1188"/>
                  </a:lnTo>
                  <a:lnTo>
                    <a:pt x="2328" y="1194"/>
                  </a:lnTo>
                  <a:lnTo>
                    <a:pt x="2328" y="1200"/>
                  </a:lnTo>
                  <a:lnTo>
                    <a:pt x="2322" y="1224"/>
                  </a:lnTo>
                  <a:lnTo>
                    <a:pt x="2328" y="1230"/>
                  </a:lnTo>
                  <a:lnTo>
                    <a:pt x="2358" y="1230"/>
                  </a:lnTo>
                  <a:lnTo>
                    <a:pt x="2358" y="1242"/>
                  </a:lnTo>
                  <a:lnTo>
                    <a:pt x="2358" y="1254"/>
                  </a:lnTo>
                  <a:lnTo>
                    <a:pt x="2346" y="1254"/>
                  </a:lnTo>
                  <a:lnTo>
                    <a:pt x="2346" y="1278"/>
                  </a:lnTo>
                  <a:lnTo>
                    <a:pt x="2358" y="1278"/>
                  </a:lnTo>
                  <a:lnTo>
                    <a:pt x="2358" y="1284"/>
                  </a:lnTo>
                  <a:lnTo>
                    <a:pt x="2376" y="1284"/>
                  </a:lnTo>
                  <a:lnTo>
                    <a:pt x="2388" y="1278"/>
                  </a:lnTo>
                  <a:lnTo>
                    <a:pt x="2406" y="1278"/>
                  </a:lnTo>
                  <a:lnTo>
                    <a:pt x="2430" y="1284"/>
                  </a:lnTo>
                  <a:lnTo>
                    <a:pt x="2430" y="1302"/>
                  </a:lnTo>
                  <a:lnTo>
                    <a:pt x="2430" y="1314"/>
                  </a:lnTo>
                  <a:lnTo>
                    <a:pt x="2424" y="1326"/>
                  </a:lnTo>
                  <a:lnTo>
                    <a:pt x="2412" y="1326"/>
                  </a:lnTo>
                  <a:lnTo>
                    <a:pt x="2412" y="1344"/>
                  </a:lnTo>
                  <a:lnTo>
                    <a:pt x="2406" y="1344"/>
                  </a:lnTo>
                  <a:lnTo>
                    <a:pt x="2400" y="1362"/>
                  </a:lnTo>
                  <a:lnTo>
                    <a:pt x="2394" y="1368"/>
                  </a:lnTo>
                  <a:lnTo>
                    <a:pt x="2388" y="1374"/>
                  </a:lnTo>
                  <a:lnTo>
                    <a:pt x="2382" y="1380"/>
                  </a:lnTo>
                  <a:lnTo>
                    <a:pt x="2376" y="1386"/>
                  </a:lnTo>
                  <a:lnTo>
                    <a:pt x="2376" y="1392"/>
                  </a:lnTo>
                  <a:lnTo>
                    <a:pt x="2370" y="1404"/>
                  </a:lnTo>
                  <a:lnTo>
                    <a:pt x="2364" y="1416"/>
                  </a:lnTo>
                  <a:lnTo>
                    <a:pt x="2346" y="1434"/>
                  </a:lnTo>
                  <a:lnTo>
                    <a:pt x="2328" y="1440"/>
                  </a:lnTo>
                  <a:lnTo>
                    <a:pt x="2328" y="1446"/>
                  </a:lnTo>
                  <a:lnTo>
                    <a:pt x="2322" y="1452"/>
                  </a:lnTo>
                  <a:lnTo>
                    <a:pt x="2316" y="1452"/>
                  </a:lnTo>
                  <a:lnTo>
                    <a:pt x="2304" y="1446"/>
                  </a:lnTo>
                  <a:lnTo>
                    <a:pt x="2298" y="1446"/>
                  </a:lnTo>
                  <a:lnTo>
                    <a:pt x="2298" y="1434"/>
                  </a:lnTo>
                  <a:lnTo>
                    <a:pt x="2292" y="1434"/>
                  </a:lnTo>
                  <a:lnTo>
                    <a:pt x="2286" y="1428"/>
                  </a:lnTo>
                  <a:lnTo>
                    <a:pt x="2274" y="1416"/>
                  </a:lnTo>
                  <a:lnTo>
                    <a:pt x="2256" y="1404"/>
                  </a:lnTo>
                  <a:lnTo>
                    <a:pt x="2244" y="1386"/>
                  </a:lnTo>
                  <a:lnTo>
                    <a:pt x="2220" y="1368"/>
                  </a:lnTo>
                  <a:lnTo>
                    <a:pt x="2208" y="1362"/>
                  </a:lnTo>
                  <a:lnTo>
                    <a:pt x="2202" y="1350"/>
                  </a:lnTo>
                  <a:lnTo>
                    <a:pt x="2196" y="1350"/>
                  </a:lnTo>
                  <a:lnTo>
                    <a:pt x="2190" y="1356"/>
                  </a:lnTo>
                  <a:lnTo>
                    <a:pt x="2184" y="1356"/>
                  </a:lnTo>
                  <a:lnTo>
                    <a:pt x="2094" y="1350"/>
                  </a:lnTo>
                  <a:lnTo>
                    <a:pt x="2058" y="1350"/>
                  </a:lnTo>
                  <a:lnTo>
                    <a:pt x="2034" y="1890"/>
                  </a:lnTo>
                  <a:lnTo>
                    <a:pt x="2064" y="1890"/>
                  </a:lnTo>
                  <a:lnTo>
                    <a:pt x="2070" y="1896"/>
                  </a:lnTo>
                  <a:lnTo>
                    <a:pt x="2076" y="18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8" name="Freeform 33">
              <a:extLst>
                <a:ext uri="{FF2B5EF4-FFF2-40B4-BE49-F238E27FC236}">
                  <a16:creationId xmlns:a16="http://schemas.microsoft.com/office/drawing/2014/main" id="{0E96F118-1F4D-4E52-AF27-149259451CD6}"/>
                </a:ext>
              </a:extLst>
            </p:cNvPr>
            <p:cNvSpPr>
              <a:spLocks/>
            </p:cNvSpPr>
            <p:nvPr/>
          </p:nvSpPr>
          <p:spPr bwMode="gray">
            <a:xfrm>
              <a:off x="1266662" y="1459989"/>
              <a:ext cx="903421" cy="778302"/>
            </a:xfrm>
            <a:custGeom>
              <a:avLst/>
              <a:gdLst>
                <a:gd name="T0" fmla="*/ 143 w 1698"/>
                <a:gd name="T1" fmla="*/ 43 h 1464"/>
                <a:gd name="T2" fmla="*/ 131 w 1698"/>
                <a:gd name="T3" fmla="*/ 44 h 1464"/>
                <a:gd name="T4" fmla="*/ 126 w 1698"/>
                <a:gd name="T5" fmla="*/ 41 h 1464"/>
                <a:gd name="T6" fmla="*/ 119 w 1698"/>
                <a:gd name="T7" fmla="*/ 45 h 1464"/>
                <a:gd name="T8" fmla="*/ 111 w 1698"/>
                <a:gd name="T9" fmla="*/ 46 h 1464"/>
                <a:gd name="T10" fmla="*/ 107 w 1698"/>
                <a:gd name="T11" fmla="*/ 50 h 1464"/>
                <a:gd name="T12" fmla="*/ 107 w 1698"/>
                <a:gd name="T13" fmla="*/ 60 h 1464"/>
                <a:gd name="T14" fmla="*/ 104 w 1698"/>
                <a:gd name="T15" fmla="*/ 62 h 1464"/>
                <a:gd name="T16" fmla="*/ 97 w 1698"/>
                <a:gd name="T17" fmla="*/ 59 h 1464"/>
                <a:gd name="T18" fmla="*/ 92 w 1698"/>
                <a:gd name="T19" fmla="*/ 59 h 1464"/>
                <a:gd name="T20" fmla="*/ 90 w 1698"/>
                <a:gd name="T21" fmla="*/ 62 h 1464"/>
                <a:gd name="T22" fmla="*/ 93 w 1698"/>
                <a:gd name="T23" fmla="*/ 77 h 1464"/>
                <a:gd name="T24" fmla="*/ 85 w 1698"/>
                <a:gd name="T25" fmla="*/ 88 h 1464"/>
                <a:gd name="T26" fmla="*/ 70 w 1698"/>
                <a:gd name="T27" fmla="*/ 89 h 1464"/>
                <a:gd name="T28" fmla="*/ 65 w 1698"/>
                <a:gd name="T29" fmla="*/ 88 h 1464"/>
                <a:gd name="T30" fmla="*/ 50 w 1698"/>
                <a:gd name="T31" fmla="*/ 88 h 1464"/>
                <a:gd name="T32" fmla="*/ 48 w 1698"/>
                <a:gd name="T33" fmla="*/ 107 h 1464"/>
                <a:gd name="T34" fmla="*/ 47 w 1698"/>
                <a:gd name="T35" fmla="*/ 120 h 1464"/>
                <a:gd name="T36" fmla="*/ 43 w 1698"/>
                <a:gd name="T37" fmla="*/ 121 h 1464"/>
                <a:gd name="T38" fmla="*/ 40 w 1698"/>
                <a:gd name="T39" fmla="*/ 120 h 1464"/>
                <a:gd name="T40" fmla="*/ 35 w 1698"/>
                <a:gd name="T41" fmla="*/ 122 h 1464"/>
                <a:gd name="T42" fmla="*/ 29 w 1698"/>
                <a:gd name="T43" fmla="*/ 123 h 1464"/>
                <a:gd name="T44" fmla="*/ 24 w 1698"/>
                <a:gd name="T45" fmla="*/ 125 h 1464"/>
                <a:gd name="T46" fmla="*/ 20 w 1698"/>
                <a:gd name="T47" fmla="*/ 125 h 1464"/>
                <a:gd name="T48" fmla="*/ 18 w 1698"/>
                <a:gd name="T49" fmla="*/ 122 h 1464"/>
                <a:gd name="T50" fmla="*/ 26 w 1698"/>
                <a:gd name="T51" fmla="*/ 108 h 1464"/>
                <a:gd name="T52" fmla="*/ 24 w 1698"/>
                <a:gd name="T53" fmla="*/ 89 h 1464"/>
                <a:gd name="T54" fmla="*/ 28 w 1698"/>
                <a:gd name="T55" fmla="*/ 85 h 1464"/>
                <a:gd name="T56" fmla="*/ 32 w 1698"/>
                <a:gd name="T57" fmla="*/ 80 h 1464"/>
                <a:gd name="T58" fmla="*/ 36 w 1698"/>
                <a:gd name="T59" fmla="*/ 86 h 1464"/>
                <a:gd name="T60" fmla="*/ 39 w 1698"/>
                <a:gd name="T61" fmla="*/ 80 h 1464"/>
                <a:gd name="T62" fmla="*/ 41 w 1698"/>
                <a:gd name="T63" fmla="*/ 73 h 1464"/>
                <a:gd name="T64" fmla="*/ 38 w 1698"/>
                <a:gd name="T65" fmla="*/ 64 h 1464"/>
                <a:gd name="T66" fmla="*/ 39 w 1698"/>
                <a:gd name="T67" fmla="*/ 59 h 1464"/>
                <a:gd name="T68" fmla="*/ 32 w 1698"/>
                <a:gd name="T69" fmla="*/ 54 h 1464"/>
                <a:gd name="T70" fmla="*/ 32 w 1698"/>
                <a:gd name="T71" fmla="*/ 45 h 1464"/>
                <a:gd name="T72" fmla="*/ 31 w 1698"/>
                <a:gd name="T73" fmla="*/ 41 h 1464"/>
                <a:gd name="T74" fmla="*/ 24 w 1698"/>
                <a:gd name="T75" fmla="*/ 43 h 1464"/>
                <a:gd name="T76" fmla="*/ 17 w 1698"/>
                <a:gd name="T77" fmla="*/ 40 h 1464"/>
                <a:gd name="T78" fmla="*/ 11 w 1698"/>
                <a:gd name="T79" fmla="*/ 38 h 1464"/>
                <a:gd name="T80" fmla="*/ 2 w 1698"/>
                <a:gd name="T81" fmla="*/ 36 h 1464"/>
                <a:gd name="T82" fmla="*/ 0 w 1698"/>
                <a:gd name="T83" fmla="*/ 24 h 1464"/>
                <a:gd name="T84" fmla="*/ 11 w 1698"/>
                <a:gd name="T85" fmla="*/ 18 h 1464"/>
                <a:gd name="T86" fmla="*/ 19 w 1698"/>
                <a:gd name="T87" fmla="*/ 10 h 1464"/>
                <a:gd name="T88" fmla="*/ 28 w 1698"/>
                <a:gd name="T89" fmla="*/ 9 h 1464"/>
                <a:gd name="T90" fmla="*/ 40 w 1698"/>
                <a:gd name="T91" fmla="*/ 6 h 1464"/>
                <a:gd name="T92" fmla="*/ 49 w 1698"/>
                <a:gd name="T93" fmla="*/ 8 h 1464"/>
                <a:gd name="T94" fmla="*/ 56 w 1698"/>
                <a:gd name="T95" fmla="*/ 8 h 1464"/>
                <a:gd name="T96" fmla="*/ 64 w 1698"/>
                <a:gd name="T97" fmla="*/ 7 h 1464"/>
                <a:gd name="T98" fmla="*/ 74 w 1698"/>
                <a:gd name="T99" fmla="*/ 1 h 1464"/>
                <a:gd name="T100" fmla="*/ 83 w 1698"/>
                <a:gd name="T101" fmla="*/ 3 h 1464"/>
                <a:gd name="T102" fmla="*/ 99 w 1698"/>
                <a:gd name="T103" fmla="*/ 9 h 1464"/>
                <a:gd name="T104" fmla="*/ 112 w 1698"/>
                <a:gd name="T105" fmla="*/ 14 h 1464"/>
                <a:gd name="T106" fmla="*/ 119 w 1698"/>
                <a:gd name="T107" fmla="*/ 12 h 1464"/>
                <a:gd name="T108" fmla="*/ 128 w 1698"/>
                <a:gd name="T109" fmla="*/ 17 h 1464"/>
                <a:gd name="T110" fmla="*/ 141 w 1698"/>
                <a:gd name="T111" fmla="*/ 29 h 1464"/>
                <a:gd name="T112" fmla="*/ 145 w 1698"/>
                <a:gd name="T113" fmla="*/ 35 h 14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98"/>
                <a:gd name="T172" fmla="*/ 0 h 1464"/>
                <a:gd name="T173" fmla="*/ 1698 w 1698"/>
                <a:gd name="T174" fmla="*/ 1464 h 14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98" h="1464">
                  <a:moveTo>
                    <a:pt x="1698" y="462"/>
                  </a:moveTo>
                  <a:lnTo>
                    <a:pt x="1686" y="468"/>
                  </a:lnTo>
                  <a:lnTo>
                    <a:pt x="1680" y="474"/>
                  </a:lnTo>
                  <a:lnTo>
                    <a:pt x="1674" y="480"/>
                  </a:lnTo>
                  <a:lnTo>
                    <a:pt x="1668" y="480"/>
                  </a:lnTo>
                  <a:lnTo>
                    <a:pt x="1662" y="486"/>
                  </a:lnTo>
                  <a:lnTo>
                    <a:pt x="1656" y="492"/>
                  </a:lnTo>
                  <a:lnTo>
                    <a:pt x="1644" y="498"/>
                  </a:lnTo>
                  <a:lnTo>
                    <a:pt x="1626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0" y="516"/>
                  </a:lnTo>
                  <a:lnTo>
                    <a:pt x="1590" y="522"/>
                  </a:lnTo>
                  <a:lnTo>
                    <a:pt x="1566" y="522"/>
                  </a:lnTo>
                  <a:lnTo>
                    <a:pt x="1506" y="510"/>
                  </a:lnTo>
                  <a:lnTo>
                    <a:pt x="1500" y="510"/>
                  </a:lnTo>
                  <a:lnTo>
                    <a:pt x="1488" y="504"/>
                  </a:lnTo>
                  <a:lnTo>
                    <a:pt x="1482" y="498"/>
                  </a:lnTo>
                  <a:lnTo>
                    <a:pt x="1476" y="498"/>
                  </a:lnTo>
                  <a:lnTo>
                    <a:pt x="1476" y="492"/>
                  </a:lnTo>
                  <a:lnTo>
                    <a:pt x="1470" y="492"/>
                  </a:lnTo>
                  <a:lnTo>
                    <a:pt x="1464" y="486"/>
                  </a:lnTo>
                  <a:lnTo>
                    <a:pt x="1452" y="486"/>
                  </a:lnTo>
                  <a:lnTo>
                    <a:pt x="1446" y="474"/>
                  </a:lnTo>
                  <a:lnTo>
                    <a:pt x="1434" y="468"/>
                  </a:lnTo>
                  <a:lnTo>
                    <a:pt x="1416" y="468"/>
                  </a:lnTo>
                  <a:lnTo>
                    <a:pt x="1392" y="468"/>
                  </a:lnTo>
                  <a:lnTo>
                    <a:pt x="1374" y="474"/>
                  </a:lnTo>
                  <a:lnTo>
                    <a:pt x="1368" y="474"/>
                  </a:lnTo>
                  <a:lnTo>
                    <a:pt x="1368" y="486"/>
                  </a:lnTo>
                  <a:lnTo>
                    <a:pt x="1368" y="498"/>
                  </a:lnTo>
                  <a:lnTo>
                    <a:pt x="1368" y="522"/>
                  </a:lnTo>
                  <a:lnTo>
                    <a:pt x="1368" y="534"/>
                  </a:lnTo>
                  <a:lnTo>
                    <a:pt x="1362" y="546"/>
                  </a:lnTo>
                  <a:lnTo>
                    <a:pt x="1356" y="546"/>
                  </a:lnTo>
                  <a:lnTo>
                    <a:pt x="1344" y="540"/>
                  </a:lnTo>
                  <a:lnTo>
                    <a:pt x="1338" y="534"/>
                  </a:lnTo>
                  <a:lnTo>
                    <a:pt x="1308" y="522"/>
                  </a:lnTo>
                  <a:lnTo>
                    <a:pt x="1296" y="522"/>
                  </a:lnTo>
                  <a:lnTo>
                    <a:pt x="1278" y="528"/>
                  </a:lnTo>
                  <a:lnTo>
                    <a:pt x="1260" y="534"/>
                  </a:lnTo>
                  <a:lnTo>
                    <a:pt x="1242" y="546"/>
                  </a:lnTo>
                  <a:lnTo>
                    <a:pt x="1236" y="552"/>
                  </a:lnTo>
                  <a:lnTo>
                    <a:pt x="1224" y="558"/>
                  </a:lnTo>
                  <a:lnTo>
                    <a:pt x="1218" y="558"/>
                  </a:lnTo>
                  <a:lnTo>
                    <a:pt x="1218" y="564"/>
                  </a:lnTo>
                  <a:lnTo>
                    <a:pt x="1224" y="570"/>
                  </a:lnTo>
                  <a:lnTo>
                    <a:pt x="1224" y="582"/>
                  </a:lnTo>
                  <a:lnTo>
                    <a:pt x="1224" y="594"/>
                  </a:lnTo>
                  <a:lnTo>
                    <a:pt x="1212" y="618"/>
                  </a:lnTo>
                  <a:lnTo>
                    <a:pt x="1212" y="624"/>
                  </a:lnTo>
                  <a:lnTo>
                    <a:pt x="1212" y="630"/>
                  </a:lnTo>
                  <a:lnTo>
                    <a:pt x="1212" y="636"/>
                  </a:lnTo>
                  <a:lnTo>
                    <a:pt x="1218" y="654"/>
                  </a:lnTo>
                  <a:lnTo>
                    <a:pt x="1224" y="672"/>
                  </a:lnTo>
                  <a:lnTo>
                    <a:pt x="1230" y="696"/>
                  </a:lnTo>
                  <a:lnTo>
                    <a:pt x="1236" y="708"/>
                  </a:lnTo>
                  <a:lnTo>
                    <a:pt x="1236" y="714"/>
                  </a:lnTo>
                  <a:lnTo>
                    <a:pt x="1236" y="720"/>
                  </a:lnTo>
                  <a:lnTo>
                    <a:pt x="1218" y="726"/>
                  </a:lnTo>
                  <a:lnTo>
                    <a:pt x="1212" y="726"/>
                  </a:lnTo>
                  <a:lnTo>
                    <a:pt x="1206" y="726"/>
                  </a:lnTo>
                  <a:lnTo>
                    <a:pt x="1194" y="720"/>
                  </a:lnTo>
                  <a:lnTo>
                    <a:pt x="1194" y="714"/>
                  </a:lnTo>
                  <a:lnTo>
                    <a:pt x="1176" y="714"/>
                  </a:lnTo>
                  <a:lnTo>
                    <a:pt x="1164" y="708"/>
                  </a:lnTo>
                  <a:lnTo>
                    <a:pt x="1158" y="708"/>
                  </a:lnTo>
                  <a:lnTo>
                    <a:pt x="1140" y="702"/>
                  </a:lnTo>
                  <a:lnTo>
                    <a:pt x="1134" y="696"/>
                  </a:lnTo>
                  <a:lnTo>
                    <a:pt x="1128" y="690"/>
                  </a:lnTo>
                  <a:lnTo>
                    <a:pt x="1116" y="678"/>
                  </a:lnTo>
                  <a:lnTo>
                    <a:pt x="1110" y="678"/>
                  </a:lnTo>
                  <a:lnTo>
                    <a:pt x="1104" y="672"/>
                  </a:lnTo>
                  <a:lnTo>
                    <a:pt x="1092" y="672"/>
                  </a:lnTo>
                  <a:lnTo>
                    <a:pt x="1086" y="672"/>
                  </a:lnTo>
                  <a:lnTo>
                    <a:pt x="1080" y="672"/>
                  </a:lnTo>
                  <a:lnTo>
                    <a:pt x="1074" y="672"/>
                  </a:lnTo>
                  <a:lnTo>
                    <a:pt x="1068" y="672"/>
                  </a:lnTo>
                  <a:lnTo>
                    <a:pt x="1062" y="678"/>
                  </a:lnTo>
                  <a:lnTo>
                    <a:pt x="1056" y="678"/>
                  </a:lnTo>
                  <a:lnTo>
                    <a:pt x="1056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6"/>
                  </a:lnTo>
                  <a:lnTo>
                    <a:pt x="1032" y="708"/>
                  </a:lnTo>
                  <a:lnTo>
                    <a:pt x="1026" y="708"/>
                  </a:lnTo>
                  <a:lnTo>
                    <a:pt x="1032" y="714"/>
                  </a:lnTo>
                  <a:lnTo>
                    <a:pt x="1026" y="720"/>
                  </a:lnTo>
                  <a:lnTo>
                    <a:pt x="1020" y="720"/>
                  </a:lnTo>
                  <a:lnTo>
                    <a:pt x="1014" y="732"/>
                  </a:lnTo>
                  <a:lnTo>
                    <a:pt x="1014" y="744"/>
                  </a:lnTo>
                  <a:lnTo>
                    <a:pt x="1038" y="810"/>
                  </a:lnTo>
                  <a:lnTo>
                    <a:pt x="1050" y="834"/>
                  </a:lnTo>
                  <a:lnTo>
                    <a:pt x="1056" y="858"/>
                  </a:lnTo>
                  <a:lnTo>
                    <a:pt x="1062" y="876"/>
                  </a:lnTo>
                  <a:lnTo>
                    <a:pt x="1068" y="882"/>
                  </a:lnTo>
                  <a:lnTo>
                    <a:pt x="1062" y="972"/>
                  </a:lnTo>
                  <a:lnTo>
                    <a:pt x="1056" y="972"/>
                  </a:lnTo>
                  <a:lnTo>
                    <a:pt x="1050" y="996"/>
                  </a:lnTo>
                  <a:lnTo>
                    <a:pt x="1044" y="1014"/>
                  </a:lnTo>
                  <a:lnTo>
                    <a:pt x="1008" y="1014"/>
                  </a:lnTo>
                  <a:lnTo>
                    <a:pt x="1008" y="1008"/>
                  </a:lnTo>
                  <a:lnTo>
                    <a:pt x="990" y="1008"/>
                  </a:lnTo>
                  <a:lnTo>
                    <a:pt x="972" y="1014"/>
                  </a:lnTo>
                  <a:lnTo>
                    <a:pt x="948" y="1020"/>
                  </a:lnTo>
                  <a:lnTo>
                    <a:pt x="918" y="1026"/>
                  </a:lnTo>
                  <a:lnTo>
                    <a:pt x="840" y="1032"/>
                  </a:lnTo>
                  <a:lnTo>
                    <a:pt x="834" y="1032"/>
                  </a:lnTo>
                  <a:lnTo>
                    <a:pt x="834" y="1026"/>
                  </a:lnTo>
                  <a:lnTo>
                    <a:pt x="822" y="1026"/>
                  </a:lnTo>
                  <a:lnTo>
                    <a:pt x="816" y="1032"/>
                  </a:lnTo>
                  <a:lnTo>
                    <a:pt x="804" y="1032"/>
                  </a:lnTo>
                  <a:lnTo>
                    <a:pt x="798" y="1026"/>
                  </a:lnTo>
                  <a:lnTo>
                    <a:pt x="780" y="1026"/>
                  </a:lnTo>
                  <a:lnTo>
                    <a:pt x="762" y="1026"/>
                  </a:lnTo>
                  <a:lnTo>
                    <a:pt x="756" y="1026"/>
                  </a:lnTo>
                  <a:lnTo>
                    <a:pt x="750" y="1026"/>
                  </a:lnTo>
                  <a:lnTo>
                    <a:pt x="756" y="1020"/>
                  </a:lnTo>
                  <a:lnTo>
                    <a:pt x="750" y="1020"/>
                  </a:lnTo>
                  <a:lnTo>
                    <a:pt x="744" y="1014"/>
                  </a:lnTo>
                  <a:lnTo>
                    <a:pt x="684" y="1020"/>
                  </a:lnTo>
                  <a:lnTo>
                    <a:pt x="648" y="1020"/>
                  </a:lnTo>
                  <a:lnTo>
                    <a:pt x="630" y="1020"/>
                  </a:lnTo>
                  <a:lnTo>
                    <a:pt x="618" y="1020"/>
                  </a:lnTo>
                  <a:lnTo>
                    <a:pt x="606" y="1014"/>
                  </a:lnTo>
                  <a:lnTo>
                    <a:pt x="582" y="1014"/>
                  </a:lnTo>
                  <a:lnTo>
                    <a:pt x="576" y="1014"/>
                  </a:lnTo>
                  <a:lnTo>
                    <a:pt x="570" y="1014"/>
                  </a:lnTo>
                  <a:lnTo>
                    <a:pt x="564" y="1020"/>
                  </a:lnTo>
                  <a:lnTo>
                    <a:pt x="558" y="1026"/>
                  </a:lnTo>
                  <a:lnTo>
                    <a:pt x="552" y="1032"/>
                  </a:lnTo>
                  <a:lnTo>
                    <a:pt x="552" y="1038"/>
                  </a:lnTo>
                  <a:lnTo>
                    <a:pt x="558" y="1194"/>
                  </a:lnTo>
                  <a:lnTo>
                    <a:pt x="558" y="1206"/>
                  </a:lnTo>
                  <a:lnTo>
                    <a:pt x="552" y="1218"/>
                  </a:lnTo>
                  <a:lnTo>
                    <a:pt x="552" y="1236"/>
                  </a:lnTo>
                  <a:lnTo>
                    <a:pt x="546" y="1272"/>
                  </a:lnTo>
                  <a:lnTo>
                    <a:pt x="546" y="1308"/>
                  </a:lnTo>
                  <a:lnTo>
                    <a:pt x="540" y="1332"/>
                  </a:lnTo>
                  <a:lnTo>
                    <a:pt x="546" y="1356"/>
                  </a:lnTo>
                  <a:lnTo>
                    <a:pt x="546" y="1362"/>
                  </a:lnTo>
                  <a:lnTo>
                    <a:pt x="546" y="1374"/>
                  </a:lnTo>
                  <a:lnTo>
                    <a:pt x="546" y="1380"/>
                  </a:lnTo>
                  <a:lnTo>
                    <a:pt x="540" y="1380"/>
                  </a:lnTo>
                  <a:lnTo>
                    <a:pt x="522" y="1380"/>
                  </a:lnTo>
                  <a:lnTo>
                    <a:pt x="516" y="1380"/>
                  </a:lnTo>
                  <a:lnTo>
                    <a:pt x="516" y="1386"/>
                  </a:lnTo>
                  <a:lnTo>
                    <a:pt x="516" y="1392"/>
                  </a:lnTo>
                  <a:lnTo>
                    <a:pt x="510" y="1392"/>
                  </a:lnTo>
                  <a:lnTo>
                    <a:pt x="504" y="1386"/>
                  </a:lnTo>
                  <a:lnTo>
                    <a:pt x="498" y="1392"/>
                  </a:lnTo>
                  <a:lnTo>
                    <a:pt x="492" y="1398"/>
                  </a:lnTo>
                  <a:lnTo>
                    <a:pt x="486" y="1398"/>
                  </a:lnTo>
                  <a:lnTo>
                    <a:pt x="486" y="1392"/>
                  </a:lnTo>
                  <a:lnTo>
                    <a:pt x="486" y="1380"/>
                  </a:lnTo>
                  <a:lnTo>
                    <a:pt x="486" y="1374"/>
                  </a:lnTo>
                  <a:lnTo>
                    <a:pt x="480" y="1374"/>
                  </a:lnTo>
                  <a:lnTo>
                    <a:pt x="474" y="1374"/>
                  </a:lnTo>
                  <a:lnTo>
                    <a:pt x="468" y="1380"/>
                  </a:lnTo>
                  <a:lnTo>
                    <a:pt x="462" y="1380"/>
                  </a:lnTo>
                  <a:lnTo>
                    <a:pt x="456" y="1380"/>
                  </a:lnTo>
                  <a:lnTo>
                    <a:pt x="450" y="1386"/>
                  </a:lnTo>
                  <a:lnTo>
                    <a:pt x="444" y="1386"/>
                  </a:lnTo>
                  <a:lnTo>
                    <a:pt x="444" y="1392"/>
                  </a:lnTo>
                  <a:lnTo>
                    <a:pt x="432" y="1398"/>
                  </a:lnTo>
                  <a:lnTo>
                    <a:pt x="426" y="1404"/>
                  </a:lnTo>
                  <a:lnTo>
                    <a:pt x="420" y="1404"/>
                  </a:lnTo>
                  <a:lnTo>
                    <a:pt x="408" y="1404"/>
                  </a:lnTo>
                  <a:lnTo>
                    <a:pt x="378" y="1410"/>
                  </a:lnTo>
                  <a:lnTo>
                    <a:pt x="372" y="1410"/>
                  </a:lnTo>
                  <a:lnTo>
                    <a:pt x="360" y="1410"/>
                  </a:lnTo>
                  <a:lnTo>
                    <a:pt x="354" y="1416"/>
                  </a:lnTo>
                  <a:lnTo>
                    <a:pt x="348" y="1416"/>
                  </a:lnTo>
                  <a:lnTo>
                    <a:pt x="342" y="1410"/>
                  </a:lnTo>
                  <a:lnTo>
                    <a:pt x="336" y="1410"/>
                  </a:lnTo>
                  <a:lnTo>
                    <a:pt x="336" y="1416"/>
                  </a:lnTo>
                  <a:lnTo>
                    <a:pt x="330" y="1422"/>
                  </a:lnTo>
                  <a:lnTo>
                    <a:pt x="324" y="1422"/>
                  </a:lnTo>
                  <a:lnTo>
                    <a:pt x="318" y="1422"/>
                  </a:lnTo>
                  <a:lnTo>
                    <a:pt x="312" y="1428"/>
                  </a:lnTo>
                  <a:lnTo>
                    <a:pt x="312" y="1434"/>
                  </a:lnTo>
                  <a:lnTo>
                    <a:pt x="300" y="1428"/>
                  </a:lnTo>
                  <a:lnTo>
                    <a:pt x="288" y="1434"/>
                  </a:lnTo>
                  <a:lnTo>
                    <a:pt x="282" y="1440"/>
                  </a:lnTo>
                  <a:lnTo>
                    <a:pt x="282" y="1446"/>
                  </a:lnTo>
                  <a:lnTo>
                    <a:pt x="276" y="1446"/>
                  </a:lnTo>
                  <a:lnTo>
                    <a:pt x="276" y="1452"/>
                  </a:lnTo>
                  <a:lnTo>
                    <a:pt x="270" y="1452"/>
                  </a:lnTo>
                  <a:lnTo>
                    <a:pt x="258" y="1464"/>
                  </a:lnTo>
                  <a:lnTo>
                    <a:pt x="240" y="1458"/>
                  </a:lnTo>
                  <a:lnTo>
                    <a:pt x="234" y="1452"/>
                  </a:lnTo>
                  <a:lnTo>
                    <a:pt x="234" y="1446"/>
                  </a:lnTo>
                  <a:lnTo>
                    <a:pt x="228" y="1446"/>
                  </a:lnTo>
                  <a:lnTo>
                    <a:pt x="222" y="1440"/>
                  </a:lnTo>
                  <a:lnTo>
                    <a:pt x="216" y="1440"/>
                  </a:lnTo>
                  <a:lnTo>
                    <a:pt x="210" y="1428"/>
                  </a:lnTo>
                  <a:lnTo>
                    <a:pt x="210" y="1422"/>
                  </a:lnTo>
                  <a:lnTo>
                    <a:pt x="198" y="1416"/>
                  </a:lnTo>
                  <a:lnTo>
                    <a:pt x="204" y="1410"/>
                  </a:lnTo>
                  <a:lnTo>
                    <a:pt x="210" y="1404"/>
                  </a:lnTo>
                  <a:lnTo>
                    <a:pt x="210" y="1398"/>
                  </a:lnTo>
                  <a:lnTo>
                    <a:pt x="252" y="1368"/>
                  </a:lnTo>
                  <a:lnTo>
                    <a:pt x="276" y="1350"/>
                  </a:lnTo>
                  <a:lnTo>
                    <a:pt x="300" y="1338"/>
                  </a:lnTo>
                  <a:lnTo>
                    <a:pt x="294" y="1314"/>
                  </a:lnTo>
                  <a:lnTo>
                    <a:pt x="288" y="1308"/>
                  </a:lnTo>
                  <a:lnTo>
                    <a:pt x="300" y="1266"/>
                  </a:lnTo>
                  <a:lnTo>
                    <a:pt x="300" y="1242"/>
                  </a:lnTo>
                  <a:lnTo>
                    <a:pt x="300" y="1206"/>
                  </a:lnTo>
                  <a:lnTo>
                    <a:pt x="300" y="1164"/>
                  </a:lnTo>
                  <a:lnTo>
                    <a:pt x="294" y="1134"/>
                  </a:lnTo>
                  <a:lnTo>
                    <a:pt x="282" y="1086"/>
                  </a:lnTo>
                  <a:lnTo>
                    <a:pt x="276" y="1074"/>
                  </a:lnTo>
                  <a:lnTo>
                    <a:pt x="276" y="1056"/>
                  </a:lnTo>
                  <a:lnTo>
                    <a:pt x="270" y="1038"/>
                  </a:lnTo>
                  <a:lnTo>
                    <a:pt x="270" y="1020"/>
                  </a:lnTo>
                  <a:lnTo>
                    <a:pt x="282" y="1020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94" y="1002"/>
                  </a:lnTo>
                  <a:lnTo>
                    <a:pt x="306" y="996"/>
                  </a:lnTo>
                  <a:lnTo>
                    <a:pt x="312" y="990"/>
                  </a:lnTo>
                  <a:lnTo>
                    <a:pt x="318" y="990"/>
                  </a:lnTo>
                  <a:lnTo>
                    <a:pt x="324" y="984"/>
                  </a:lnTo>
                  <a:lnTo>
                    <a:pt x="324" y="978"/>
                  </a:lnTo>
                  <a:lnTo>
                    <a:pt x="324" y="972"/>
                  </a:lnTo>
                  <a:lnTo>
                    <a:pt x="324" y="954"/>
                  </a:lnTo>
                  <a:lnTo>
                    <a:pt x="336" y="948"/>
                  </a:lnTo>
                  <a:lnTo>
                    <a:pt x="342" y="936"/>
                  </a:lnTo>
                  <a:lnTo>
                    <a:pt x="348" y="924"/>
                  </a:lnTo>
                  <a:lnTo>
                    <a:pt x="354" y="924"/>
                  </a:lnTo>
                  <a:lnTo>
                    <a:pt x="372" y="924"/>
                  </a:lnTo>
                  <a:lnTo>
                    <a:pt x="372" y="930"/>
                  </a:lnTo>
                  <a:lnTo>
                    <a:pt x="378" y="930"/>
                  </a:lnTo>
                  <a:lnTo>
                    <a:pt x="378" y="936"/>
                  </a:lnTo>
                  <a:lnTo>
                    <a:pt x="384" y="936"/>
                  </a:lnTo>
                  <a:lnTo>
                    <a:pt x="384" y="942"/>
                  </a:lnTo>
                  <a:lnTo>
                    <a:pt x="402" y="942"/>
                  </a:lnTo>
                  <a:lnTo>
                    <a:pt x="402" y="996"/>
                  </a:lnTo>
                  <a:lnTo>
                    <a:pt x="414" y="996"/>
                  </a:lnTo>
                  <a:lnTo>
                    <a:pt x="420" y="996"/>
                  </a:lnTo>
                  <a:lnTo>
                    <a:pt x="426" y="996"/>
                  </a:lnTo>
                  <a:lnTo>
                    <a:pt x="432" y="996"/>
                  </a:lnTo>
                  <a:lnTo>
                    <a:pt x="438" y="996"/>
                  </a:lnTo>
                  <a:lnTo>
                    <a:pt x="438" y="942"/>
                  </a:lnTo>
                  <a:lnTo>
                    <a:pt x="444" y="930"/>
                  </a:lnTo>
                  <a:lnTo>
                    <a:pt x="444" y="924"/>
                  </a:lnTo>
                  <a:lnTo>
                    <a:pt x="444" y="918"/>
                  </a:lnTo>
                  <a:lnTo>
                    <a:pt x="462" y="918"/>
                  </a:lnTo>
                  <a:lnTo>
                    <a:pt x="474" y="906"/>
                  </a:lnTo>
                  <a:lnTo>
                    <a:pt x="480" y="900"/>
                  </a:lnTo>
                  <a:lnTo>
                    <a:pt x="486" y="888"/>
                  </a:lnTo>
                  <a:lnTo>
                    <a:pt x="492" y="876"/>
                  </a:lnTo>
                  <a:lnTo>
                    <a:pt x="492" y="858"/>
                  </a:lnTo>
                  <a:lnTo>
                    <a:pt x="480" y="858"/>
                  </a:lnTo>
                  <a:lnTo>
                    <a:pt x="474" y="840"/>
                  </a:lnTo>
                  <a:lnTo>
                    <a:pt x="450" y="834"/>
                  </a:lnTo>
                  <a:lnTo>
                    <a:pt x="438" y="816"/>
                  </a:lnTo>
                  <a:lnTo>
                    <a:pt x="432" y="792"/>
                  </a:lnTo>
                  <a:lnTo>
                    <a:pt x="432" y="786"/>
                  </a:lnTo>
                  <a:lnTo>
                    <a:pt x="432" y="774"/>
                  </a:lnTo>
                  <a:lnTo>
                    <a:pt x="432" y="762"/>
                  </a:lnTo>
                  <a:lnTo>
                    <a:pt x="438" y="750"/>
                  </a:lnTo>
                  <a:lnTo>
                    <a:pt x="438" y="738"/>
                  </a:lnTo>
                  <a:lnTo>
                    <a:pt x="444" y="732"/>
                  </a:lnTo>
                  <a:lnTo>
                    <a:pt x="450" y="732"/>
                  </a:lnTo>
                  <a:lnTo>
                    <a:pt x="456" y="732"/>
                  </a:lnTo>
                  <a:lnTo>
                    <a:pt x="456" y="726"/>
                  </a:lnTo>
                  <a:lnTo>
                    <a:pt x="456" y="714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44" y="684"/>
                  </a:lnTo>
                  <a:lnTo>
                    <a:pt x="438" y="666"/>
                  </a:lnTo>
                  <a:lnTo>
                    <a:pt x="426" y="666"/>
                  </a:lnTo>
                  <a:lnTo>
                    <a:pt x="432" y="666"/>
                  </a:lnTo>
                  <a:lnTo>
                    <a:pt x="420" y="666"/>
                  </a:lnTo>
                  <a:lnTo>
                    <a:pt x="414" y="660"/>
                  </a:lnTo>
                  <a:lnTo>
                    <a:pt x="396" y="654"/>
                  </a:lnTo>
                  <a:lnTo>
                    <a:pt x="384" y="642"/>
                  </a:lnTo>
                  <a:lnTo>
                    <a:pt x="366" y="624"/>
                  </a:lnTo>
                  <a:lnTo>
                    <a:pt x="354" y="606"/>
                  </a:lnTo>
                  <a:lnTo>
                    <a:pt x="342" y="588"/>
                  </a:lnTo>
                  <a:lnTo>
                    <a:pt x="342" y="582"/>
                  </a:lnTo>
                  <a:lnTo>
                    <a:pt x="360" y="564"/>
                  </a:lnTo>
                  <a:lnTo>
                    <a:pt x="372" y="540"/>
                  </a:lnTo>
                  <a:lnTo>
                    <a:pt x="366" y="528"/>
                  </a:lnTo>
                  <a:lnTo>
                    <a:pt x="366" y="522"/>
                  </a:lnTo>
                  <a:lnTo>
                    <a:pt x="372" y="516"/>
                  </a:lnTo>
                  <a:lnTo>
                    <a:pt x="384" y="504"/>
                  </a:lnTo>
                  <a:lnTo>
                    <a:pt x="378" y="492"/>
                  </a:lnTo>
                  <a:lnTo>
                    <a:pt x="378" y="486"/>
                  </a:lnTo>
                  <a:lnTo>
                    <a:pt x="378" y="480"/>
                  </a:lnTo>
                  <a:lnTo>
                    <a:pt x="378" y="474"/>
                  </a:lnTo>
                  <a:lnTo>
                    <a:pt x="378" y="468"/>
                  </a:lnTo>
                  <a:lnTo>
                    <a:pt x="366" y="468"/>
                  </a:lnTo>
                  <a:lnTo>
                    <a:pt x="360" y="474"/>
                  </a:lnTo>
                  <a:lnTo>
                    <a:pt x="354" y="480"/>
                  </a:lnTo>
                  <a:lnTo>
                    <a:pt x="348" y="486"/>
                  </a:lnTo>
                  <a:lnTo>
                    <a:pt x="348" y="492"/>
                  </a:lnTo>
                  <a:lnTo>
                    <a:pt x="336" y="510"/>
                  </a:lnTo>
                  <a:lnTo>
                    <a:pt x="300" y="516"/>
                  </a:lnTo>
                  <a:lnTo>
                    <a:pt x="300" y="510"/>
                  </a:lnTo>
                  <a:lnTo>
                    <a:pt x="282" y="504"/>
                  </a:lnTo>
                  <a:lnTo>
                    <a:pt x="282" y="498"/>
                  </a:lnTo>
                  <a:lnTo>
                    <a:pt x="264" y="486"/>
                  </a:lnTo>
                  <a:lnTo>
                    <a:pt x="258" y="492"/>
                  </a:lnTo>
                  <a:lnTo>
                    <a:pt x="234" y="492"/>
                  </a:lnTo>
                  <a:lnTo>
                    <a:pt x="222" y="486"/>
                  </a:lnTo>
                  <a:lnTo>
                    <a:pt x="204" y="480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92" y="462"/>
                  </a:lnTo>
                  <a:lnTo>
                    <a:pt x="186" y="462"/>
                  </a:lnTo>
                  <a:lnTo>
                    <a:pt x="180" y="468"/>
                  </a:lnTo>
                  <a:lnTo>
                    <a:pt x="150" y="450"/>
                  </a:lnTo>
                  <a:lnTo>
                    <a:pt x="144" y="438"/>
                  </a:lnTo>
                  <a:lnTo>
                    <a:pt x="138" y="438"/>
                  </a:lnTo>
                  <a:lnTo>
                    <a:pt x="132" y="432"/>
                  </a:lnTo>
                  <a:lnTo>
                    <a:pt x="126" y="432"/>
                  </a:lnTo>
                  <a:lnTo>
                    <a:pt x="120" y="432"/>
                  </a:lnTo>
                  <a:lnTo>
                    <a:pt x="102" y="426"/>
                  </a:lnTo>
                  <a:lnTo>
                    <a:pt x="96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2" y="414"/>
                  </a:lnTo>
                  <a:lnTo>
                    <a:pt x="60" y="414"/>
                  </a:lnTo>
                  <a:lnTo>
                    <a:pt x="30" y="414"/>
                  </a:lnTo>
                  <a:lnTo>
                    <a:pt x="24" y="414"/>
                  </a:lnTo>
                  <a:lnTo>
                    <a:pt x="12" y="414"/>
                  </a:lnTo>
                  <a:lnTo>
                    <a:pt x="0" y="420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0" y="336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30" y="270"/>
                  </a:lnTo>
                  <a:lnTo>
                    <a:pt x="42" y="270"/>
                  </a:lnTo>
                  <a:lnTo>
                    <a:pt x="54" y="264"/>
                  </a:lnTo>
                  <a:lnTo>
                    <a:pt x="78" y="240"/>
                  </a:lnTo>
                  <a:lnTo>
                    <a:pt x="102" y="216"/>
                  </a:lnTo>
                  <a:lnTo>
                    <a:pt x="114" y="210"/>
                  </a:lnTo>
                  <a:lnTo>
                    <a:pt x="120" y="204"/>
                  </a:lnTo>
                  <a:lnTo>
                    <a:pt x="126" y="198"/>
                  </a:lnTo>
                  <a:lnTo>
                    <a:pt x="138" y="18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38"/>
                  </a:lnTo>
                  <a:lnTo>
                    <a:pt x="210" y="126"/>
                  </a:lnTo>
                  <a:lnTo>
                    <a:pt x="216" y="120"/>
                  </a:lnTo>
                  <a:lnTo>
                    <a:pt x="222" y="120"/>
                  </a:lnTo>
                  <a:lnTo>
                    <a:pt x="258" y="114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300" y="102"/>
                  </a:lnTo>
                  <a:lnTo>
                    <a:pt x="312" y="102"/>
                  </a:lnTo>
                  <a:lnTo>
                    <a:pt x="318" y="102"/>
                  </a:lnTo>
                  <a:lnTo>
                    <a:pt x="348" y="96"/>
                  </a:lnTo>
                  <a:lnTo>
                    <a:pt x="366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408" y="84"/>
                  </a:lnTo>
                  <a:lnTo>
                    <a:pt x="420" y="84"/>
                  </a:lnTo>
                  <a:lnTo>
                    <a:pt x="462" y="72"/>
                  </a:lnTo>
                  <a:lnTo>
                    <a:pt x="474" y="72"/>
                  </a:lnTo>
                  <a:lnTo>
                    <a:pt x="474" y="78"/>
                  </a:lnTo>
                  <a:lnTo>
                    <a:pt x="492" y="90"/>
                  </a:lnTo>
                  <a:lnTo>
                    <a:pt x="498" y="90"/>
                  </a:lnTo>
                  <a:lnTo>
                    <a:pt x="522" y="96"/>
                  </a:lnTo>
                  <a:lnTo>
                    <a:pt x="540" y="96"/>
                  </a:lnTo>
                  <a:lnTo>
                    <a:pt x="546" y="96"/>
                  </a:lnTo>
                  <a:lnTo>
                    <a:pt x="558" y="96"/>
                  </a:lnTo>
                  <a:lnTo>
                    <a:pt x="564" y="96"/>
                  </a:lnTo>
                  <a:lnTo>
                    <a:pt x="576" y="96"/>
                  </a:lnTo>
                  <a:lnTo>
                    <a:pt x="588" y="96"/>
                  </a:lnTo>
                  <a:lnTo>
                    <a:pt x="612" y="90"/>
                  </a:lnTo>
                  <a:lnTo>
                    <a:pt x="624" y="90"/>
                  </a:lnTo>
                  <a:lnTo>
                    <a:pt x="636" y="90"/>
                  </a:lnTo>
                  <a:lnTo>
                    <a:pt x="642" y="90"/>
                  </a:lnTo>
                  <a:lnTo>
                    <a:pt x="648" y="96"/>
                  </a:lnTo>
                  <a:lnTo>
                    <a:pt x="660" y="96"/>
                  </a:lnTo>
                  <a:lnTo>
                    <a:pt x="666" y="96"/>
                  </a:lnTo>
                  <a:lnTo>
                    <a:pt x="672" y="96"/>
                  </a:lnTo>
                  <a:lnTo>
                    <a:pt x="684" y="96"/>
                  </a:lnTo>
                  <a:lnTo>
                    <a:pt x="708" y="96"/>
                  </a:lnTo>
                  <a:lnTo>
                    <a:pt x="714" y="96"/>
                  </a:lnTo>
                  <a:lnTo>
                    <a:pt x="726" y="96"/>
                  </a:lnTo>
                  <a:lnTo>
                    <a:pt x="738" y="84"/>
                  </a:lnTo>
                  <a:lnTo>
                    <a:pt x="744" y="78"/>
                  </a:lnTo>
                  <a:lnTo>
                    <a:pt x="756" y="66"/>
                  </a:lnTo>
                  <a:lnTo>
                    <a:pt x="774" y="42"/>
                  </a:lnTo>
                  <a:lnTo>
                    <a:pt x="780" y="30"/>
                  </a:lnTo>
                  <a:lnTo>
                    <a:pt x="816" y="24"/>
                  </a:lnTo>
                  <a:lnTo>
                    <a:pt x="840" y="18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64" y="6"/>
                  </a:lnTo>
                  <a:lnTo>
                    <a:pt x="870" y="6"/>
                  </a:lnTo>
                  <a:lnTo>
                    <a:pt x="894" y="0"/>
                  </a:lnTo>
                  <a:lnTo>
                    <a:pt x="900" y="6"/>
                  </a:lnTo>
                  <a:lnTo>
                    <a:pt x="930" y="18"/>
                  </a:lnTo>
                  <a:lnTo>
                    <a:pt x="942" y="24"/>
                  </a:lnTo>
                  <a:lnTo>
                    <a:pt x="954" y="30"/>
                  </a:lnTo>
                  <a:lnTo>
                    <a:pt x="1026" y="60"/>
                  </a:lnTo>
                  <a:lnTo>
                    <a:pt x="1032" y="60"/>
                  </a:lnTo>
                  <a:lnTo>
                    <a:pt x="1038" y="66"/>
                  </a:lnTo>
                  <a:lnTo>
                    <a:pt x="1068" y="72"/>
                  </a:lnTo>
                  <a:lnTo>
                    <a:pt x="1098" y="84"/>
                  </a:lnTo>
                  <a:lnTo>
                    <a:pt x="1122" y="90"/>
                  </a:lnTo>
                  <a:lnTo>
                    <a:pt x="1122" y="96"/>
                  </a:lnTo>
                  <a:lnTo>
                    <a:pt x="1140" y="102"/>
                  </a:lnTo>
                  <a:lnTo>
                    <a:pt x="1182" y="114"/>
                  </a:lnTo>
                  <a:lnTo>
                    <a:pt x="1188" y="114"/>
                  </a:lnTo>
                  <a:lnTo>
                    <a:pt x="1200" y="120"/>
                  </a:lnTo>
                  <a:lnTo>
                    <a:pt x="1212" y="126"/>
                  </a:lnTo>
                  <a:lnTo>
                    <a:pt x="1224" y="126"/>
                  </a:lnTo>
                  <a:lnTo>
                    <a:pt x="1248" y="138"/>
                  </a:lnTo>
                  <a:lnTo>
                    <a:pt x="1272" y="150"/>
                  </a:lnTo>
                  <a:lnTo>
                    <a:pt x="1284" y="156"/>
                  </a:lnTo>
                  <a:lnTo>
                    <a:pt x="1290" y="162"/>
                  </a:lnTo>
                  <a:lnTo>
                    <a:pt x="1296" y="162"/>
                  </a:lnTo>
                  <a:lnTo>
                    <a:pt x="1308" y="156"/>
                  </a:lnTo>
                  <a:lnTo>
                    <a:pt x="1320" y="150"/>
                  </a:lnTo>
                  <a:lnTo>
                    <a:pt x="1326" y="150"/>
                  </a:lnTo>
                  <a:lnTo>
                    <a:pt x="1338" y="144"/>
                  </a:lnTo>
                  <a:lnTo>
                    <a:pt x="1362" y="144"/>
                  </a:lnTo>
                  <a:lnTo>
                    <a:pt x="1368" y="144"/>
                  </a:lnTo>
                  <a:lnTo>
                    <a:pt x="1374" y="144"/>
                  </a:lnTo>
                  <a:lnTo>
                    <a:pt x="1386" y="150"/>
                  </a:lnTo>
                  <a:lnTo>
                    <a:pt x="1392" y="150"/>
                  </a:lnTo>
                  <a:lnTo>
                    <a:pt x="1398" y="150"/>
                  </a:lnTo>
                  <a:lnTo>
                    <a:pt x="1416" y="162"/>
                  </a:lnTo>
                  <a:lnTo>
                    <a:pt x="1458" y="186"/>
                  </a:lnTo>
                  <a:lnTo>
                    <a:pt x="1464" y="186"/>
                  </a:lnTo>
                  <a:lnTo>
                    <a:pt x="1470" y="192"/>
                  </a:lnTo>
                  <a:lnTo>
                    <a:pt x="1482" y="204"/>
                  </a:lnTo>
                  <a:lnTo>
                    <a:pt x="1512" y="234"/>
                  </a:lnTo>
                  <a:lnTo>
                    <a:pt x="1554" y="276"/>
                  </a:lnTo>
                  <a:lnTo>
                    <a:pt x="1560" y="276"/>
                  </a:lnTo>
                  <a:lnTo>
                    <a:pt x="1566" y="282"/>
                  </a:lnTo>
                  <a:lnTo>
                    <a:pt x="1578" y="294"/>
                  </a:lnTo>
                  <a:lnTo>
                    <a:pt x="1602" y="318"/>
                  </a:lnTo>
                  <a:lnTo>
                    <a:pt x="1614" y="330"/>
                  </a:lnTo>
                  <a:lnTo>
                    <a:pt x="1620" y="336"/>
                  </a:lnTo>
                  <a:lnTo>
                    <a:pt x="1626" y="342"/>
                  </a:lnTo>
                  <a:lnTo>
                    <a:pt x="1632" y="354"/>
                  </a:lnTo>
                  <a:lnTo>
                    <a:pt x="1644" y="366"/>
                  </a:lnTo>
                  <a:lnTo>
                    <a:pt x="1650" y="378"/>
                  </a:lnTo>
                  <a:lnTo>
                    <a:pt x="1650" y="384"/>
                  </a:lnTo>
                  <a:lnTo>
                    <a:pt x="1656" y="384"/>
                  </a:lnTo>
                  <a:lnTo>
                    <a:pt x="1662" y="402"/>
                  </a:lnTo>
                  <a:lnTo>
                    <a:pt x="1668" y="408"/>
                  </a:lnTo>
                  <a:lnTo>
                    <a:pt x="1674" y="426"/>
                  </a:lnTo>
                  <a:lnTo>
                    <a:pt x="1686" y="438"/>
                  </a:lnTo>
                  <a:lnTo>
                    <a:pt x="1698" y="46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9" name="Freeform 34">
              <a:extLst>
                <a:ext uri="{FF2B5EF4-FFF2-40B4-BE49-F238E27FC236}">
                  <a16:creationId xmlns:a16="http://schemas.microsoft.com/office/drawing/2014/main" id="{94603F24-8CF7-4226-A433-00D18CA7D9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1988" y="1681402"/>
              <a:ext cx="869877" cy="1060101"/>
            </a:xfrm>
            <a:custGeom>
              <a:avLst/>
              <a:gdLst>
                <a:gd name="T0" fmla="*/ 4 w 1638"/>
                <a:gd name="T1" fmla="*/ 111 h 1998"/>
                <a:gd name="T2" fmla="*/ 6 w 1638"/>
                <a:gd name="T3" fmla="*/ 87 h 1998"/>
                <a:gd name="T4" fmla="*/ 10 w 1638"/>
                <a:gd name="T5" fmla="*/ 80 h 1998"/>
                <a:gd name="T6" fmla="*/ 10 w 1638"/>
                <a:gd name="T7" fmla="*/ 71 h 1998"/>
                <a:gd name="T8" fmla="*/ 9 w 1638"/>
                <a:gd name="T9" fmla="*/ 56 h 1998"/>
                <a:gd name="T10" fmla="*/ 8 w 1638"/>
                <a:gd name="T11" fmla="*/ 40 h 1998"/>
                <a:gd name="T12" fmla="*/ 20 w 1638"/>
                <a:gd name="T13" fmla="*/ 30 h 1998"/>
                <a:gd name="T14" fmla="*/ 30 w 1638"/>
                <a:gd name="T15" fmla="*/ 19 h 1998"/>
                <a:gd name="T16" fmla="*/ 35 w 1638"/>
                <a:gd name="T17" fmla="*/ 2 h 1998"/>
                <a:gd name="T18" fmla="*/ 47 w 1638"/>
                <a:gd name="T19" fmla="*/ 2 h 1998"/>
                <a:gd name="T20" fmla="*/ 56 w 1638"/>
                <a:gd name="T21" fmla="*/ 7 h 1998"/>
                <a:gd name="T22" fmla="*/ 67 w 1638"/>
                <a:gd name="T23" fmla="*/ 5 h 1998"/>
                <a:gd name="T24" fmla="*/ 65 w 1638"/>
                <a:gd name="T25" fmla="*/ 15 h 1998"/>
                <a:gd name="T26" fmla="*/ 74 w 1638"/>
                <a:gd name="T27" fmla="*/ 24 h 1998"/>
                <a:gd name="T28" fmla="*/ 73 w 1638"/>
                <a:gd name="T29" fmla="*/ 33 h 1998"/>
                <a:gd name="T30" fmla="*/ 74 w 1638"/>
                <a:gd name="T31" fmla="*/ 44 h 1998"/>
                <a:gd name="T32" fmla="*/ 68 w 1638"/>
                <a:gd name="T33" fmla="*/ 45 h 1998"/>
                <a:gd name="T34" fmla="*/ 63 w 1638"/>
                <a:gd name="T35" fmla="*/ 50 h 1998"/>
                <a:gd name="T36" fmla="*/ 61 w 1638"/>
                <a:gd name="T37" fmla="*/ 62 h 1998"/>
                <a:gd name="T38" fmla="*/ 53 w 1638"/>
                <a:gd name="T39" fmla="*/ 86 h 1998"/>
                <a:gd name="T40" fmla="*/ 59 w 1638"/>
                <a:gd name="T41" fmla="*/ 90 h 1998"/>
                <a:gd name="T42" fmla="*/ 65 w 1638"/>
                <a:gd name="T43" fmla="*/ 86 h 1998"/>
                <a:gd name="T44" fmla="*/ 74 w 1638"/>
                <a:gd name="T45" fmla="*/ 84 h 1998"/>
                <a:gd name="T46" fmla="*/ 79 w 1638"/>
                <a:gd name="T47" fmla="*/ 85 h 1998"/>
                <a:gd name="T48" fmla="*/ 84 w 1638"/>
                <a:gd name="T49" fmla="*/ 84 h 1998"/>
                <a:gd name="T50" fmla="*/ 91 w 1638"/>
                <a:gd name="T51" fmla="*/ 84 h 1998"/>
                <a:gd name="T52" fmla="*/ 94 w 1638"/>
                <a:gd name="T53" fmla="*/ 81 h 1998"/>
                <a:gd name="T54" fmla="*/ 100 w 1638"/>
                <a:gd name="T55" fmla="*/ 81 h 1998"/>
                <a:gd name="T56" fmla="*/ 102 w 1638"/>
                <a:gd name="T57" fmla="*/ 84 h 1998"/>
                <a:gd name="T58" fmla="*/ 108 w 1638"/>
                <a:gd name="T59" fmla="*/ 85 h 1998"/>
                <a:gd name="T60" fmla="*/ 113 w 1638"/>
                <a:gd name="T61" fmla="*/ 88 h 1998"/>
                <a:gd name="T62" fmla="*/ 116 w 1638"/>
                <a:gd name="T63" fmla="*/ 88 h 1998"/>
                <a:gd name="T64" fmla="*/ 123 w 1638"/>
                <a:gd name="T65" fmla="*/ 87 h 1998"/>
                <a:gd name="T66" fmla="*/ 128 w 1638"/>
                <a:gd name="T67" fmla="*/ 86 h 1998"/>
                <a:gd name="T68" fmla="*/ 132 w 1638"/>
                <a:gd name="T69" fmla="*/ 90 h 1998"/>
                <a:gd name="T70" fmla="*/ 138 w 1638"/>
                <a:gd name="T71" fmla="*/ 96 h 1998"/>
                <a:gd name="T72" fmla="*/ 138 w 1638"/>
                <a:gd name="T73" fmla="*/ 110 h 1998"/>
                <a:gd name="T74" fmla="*/ 137 w 1638"/>
                <a:gd name="T75" fmla="*/ 118 h 1998"/>
                <a:gd name="T76" fmla="*/ 133 w 1638"/>
                <a:gd name="T77" fmla="*/ 124 h 1998"/>
                <a:gd name="T78" fmla="*/ 122 w 1638"/>
                <a:gd name="T79" fmla="*/ 125 h 1998"/>
                <a:gd name="T80" fmla="*/ 116 w 1638"/>
                <a:gd name="T81" fmla="*/ 127 h 1998"/>
                <a:gd name="T82" fmla="*/ 108 w 1638"/>
                <a:gd name="T83" fmla="*/ 123 h 1998"/>
                <a:gd name="T84" fmla="*/ 109 w 1638"/>
                <a:gd name="T85" fmla="*/ 119 h 1998"/>
                <a:gd name="T86" fmla="*/ 104 w 1638"/>
                <a:gd name="T87" fmla="*/ 104 h 1998"/>
                <a:gd name="T88" fmla="*/ 94 w 1638"/>
                <a:gd name="T89" fmla="*/ 105 h 1998"/>
                <a:gd name="T90" fmla="*/ 88 w 1638"/>
                <a:gd name="T91" fmla="*/ 109 h 1998"/>
                <a:gd name="T92" fmla="*/ 76 w 1638"/>
                <a:gd name="T93" fmla="*/ 107 h 1998"/>
                <a:gd name="T94" fmla="*/ 72 w 1638"/>
                <a:gd name="T95" fmla="*/ 114 h 1998"/>
                <a:gd name="T96" fmla="*/ 86 w 1638"/>
                <a:gd name="T97" fmla="*/ 121 h 1998"/>
                <a:gd name="T98" fmla="*/ 87 w 1638"/>
                <a:gd name="T99" fmla="*/ 129 h 1998"/>
                <a:gd name="T100" fmla="*/ 86 w 1638"/>
                <a:gd name="T101" fmla="*/ 137 h 1998"/>
                <a:gd name="T102" fmla="*/ 79 w 1638"/>
                <a:gd name="T103" fmla="*/ 141 h 1998"/>
                <a:gd name="T104" fmla="*/ 73 w 1638"/>
                <a:gd name="T105" fmla="*/ 144 h 1998"/>
                <a:gd name="T106" fmla="*/ 72 w 1638"/>
                <a:gd name="T107" fmla="*/ 164 h 1998"/>
                <a:gd name="T108" fmla="*/ 68 w 1638"/>
                <a:gd name="T109" fmla="*/ 172 h 1998"/>
                <a:gd name="T110" fmla="*/ 59 w 1638"/>
                <a:gd name="T111" fmla="*/ 164 h 1998"/>
                <a:gd name="T112" fmla="*/ 65 w 1638"/>
                <a:gd name="T113" fmla="*/ 146 h 1998"/>
                <a:gd name="T114" fmla="*/ 69 w 1638"/>
                <a:gd name="T115" fmla="*/ 133 h 1998"/>
                <a:gd name="T116" fmla="*/ 61 w 1638"/>
                <a:gd name="T117" fmla="*/ 131 h 1998"/>
                <a:gd name="T118" fmla="*/ 43 w 1638"/>
                <a:gd name="T119" fmla="*/ 125 h 1998"/>
                <a:gd name="T120" fmla="*/ 23 w 1638"/>
                <a:gd name="T121" fmla="*/ 125 h 1998"/>
                <a:gd name="T122" fmla="*/ 17 w 1638"/>
                <a:gd name="T123" fmla="*/ 121 h 19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638"/>
                <a:gd name="T187" fmla="*/ 0 h 1998"/>
                <a:gd name="T188" fmla="*/ 1638 w 1638"/>
                <a:gd name="T189" fmla="*/ 1998 h 19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638" h="1998">
                  <a:moveTo>
                    <a:pt x="144" y="1380"/>
                  </a:moveTo>
                  <a:lnTo>
                    <a:pt x="150" y="1368"/>
                  </a:lnTo>
                  <a:lnTo>
                    <a:pt x="150" y="1362"/>
                  </a:lnTo>
                  <a:lnTo>
                    <a:pt x="150" y="1356"/>
                  </a:lnTo>
                  <a:lnTo>
                    <a:pt x="144" y="1356"/>
                  </a:lnTo>
                  <a:lnTo>
                    <a:pt x="138" y="1356"/>
                  </a:lnTo>
                  <a:lnTo>
                    <a:pt x="126" y="1356"/>
                  </a:lnTo>
                  <a:lnTo>
                    <a:pt x="114" y="1344"/>
                  </a:lnTo>
                  <a:lnTo>
                    <a:pt x="84" y="1320"/>
                  </a:lnTo>
                  <a:lnTo>
                    <a:pt x="54" y="1296"/>
                  </a:lnTo>
                  <a:lnTo>
                    <a:pt x="48" y="1290"/>
                  </a:lnTo>
                  <a:lnTo>
                    <a:pt x="42" y="1278"/>
                  </a:lnTo>
                  <a:lnTo>
                    <a:pt x="30" y="1272"/>
                  </a:lnTo>
                  <a:lnTo>
                    <a:pt x="0" y="1248"/>
                  </a:lnTo>
                  <a:lnTo>
                    <a:pt x="6" y="1230"/>
                  </a:lnTo>
                  <a:lnTo>
                    <a:pt x="12" y="1194"/>
                  </a:lnTo>
                  <a:lnTo>
                    <a:pt x="18" y="1170"/>
                  </a:lnTo>
                  <a:lnTo>
                    <a:pt x="30" y="1134"/>
                  </a:lnTo>
                  <a:lnTo>
                    <a:pt x="36" y="1086"/>
                  </a:lnTo>
                  <a:lnTo>
                    <a:pt x="42" y="1050"/>
                  </a:lnTo>
                  <a:lnTo>
                    <a:pt x="48" y="1044"/>
                  </a:lnTo>
                  <a:lnTo>
                    <a:pt x="54" y="1026"/>
                  </a:lnTo>
                  <a:lnTo>
                    <a:pt x="60" y="1014"/>
                  </a:lnTo>
                  <a:lnTo>
                    <a:pt x="66" y="1002"/>
                  </a:lnTo>
                  <a:lnTo>
                    <a:pt x="66" y="996"/>
                  </a:lnTo>
                  <a:lnTo>
                    <a:pt x="72" y="996"/>
                  </a:lnTo>
                  <a:lnTo>
                    <a:pt x="72" y="990"/>
                  </a:lnTo>
                  <a:lnTo>
                    <a:pt x="78" y="990"/>
                  </a:lnTo>
                  <a:lnTo>
                    <a:pt x="90" y="978"/>
                  </a:lnTo>
                  <a:lnTo>
                    <a:pt x="96" y="966"/>
                  </a:lnTo>
                  <a:lnTo>
                    <a:pt x="102" y="966"/>
                  </a:lnTo>
                  <a:lnTo>
                    <a:pt x="114" y="954"/>
                  </a:lnTo>
                  <a:lnTo>
                    <a:pt x="120" y="954"/>
                  </a:lnTo>
                  <a:lnTo>
                    <a:pt x="120" y="948"/>
                  </a:lnTo>
                  <a:lnTo>
                    <a:pt x="114" y="930"/>
                  </a:lnTo>
                  <a:lnTo>
                    <a:pt x="114" y="924"/>
                  </a:lnTo>
                  <a:lnTo>
                    <a:pt x="108" y="918"/>
                  </a:lnTo>
                  <a:lnTo>
                    <a:pt x="102" y="912"/>
                  </a:lnTo>
                  <a:lnTo>
                    <a:pt x="90" y="906"/>
                  </a:lnTo>
                  <a:lnTo>
                    <a:pt x="84" y="900"/>
                  </a:lnTo>
                  <a:lnTo>
                    <a:pt x="84" y="888"/>
                  </a:lnTo>
                  <a:lnTo>
                    <a:pt x="84" y="882"/>
                  </a:lnTo>
                  <a:lnTo>
                    <a:pt x="78" y="858"/>
                  </a:lnTo>
                  <a:lnTo>
                    <a:pt x="78" y="852"/>
                  </a:lnTo>
                  <a:lnTo>
                    <a:pt x="84" y="846"/>
                  </a:lnTo>
                  <a:lnTo>
                    <a:pt x="84" y="840"/>
                  </a:lnTo>
                  <a:lnTo>
                    <a:pt x="96" y="828"/>
                  </a:lnTo>
                  <a:lnTo>
                    <a:pt x="114" y="816"/>
                  </a:lnTo>
                  <a:lnTo>
                    <a:pt x="114" y="810"/>
                  </a:lnTo>
                  <a:lnTo>
                    <a:pt x="114" y="804"/>
                  </a:lnTo>
                  <a:lnTo>
                    <a:pt x="108" y="780"/>
                  </a:lnTo>
                  <a:lnTo>
                    <a:pt x="96" y="756"/>
                  </a:lnTo>
                  <a:lnTo>
                    <a:pt x="96" y="750"/>
                  </a:lnTo>
                  <a:lnTo>
                    <a:pt x="90" y="720"/>
                  </a:lnTo>
                  <a:lnTo>
                    <a:pt x="90" y="708"/>
                  </a:lnTo>
                  <a:lnTo>
                    <a:pt x="90" y="690"/>
                  </a:lnTo>
                  <a:lnTo>
                    <a:pt x="96" y="672"/>
                  </a:lnTo>
                  <a:lnTo>
                    <a:pt x="90" y="666"/>
                  </a:lnTo>
                  <a:lnTo>
                    <a:pt x="96" y="666"/>
                  </a:lnTo>
                  <a:lnTo>
                    <a:pt x="102" y="642"/>
                  </a:lnTo>
                  <a:lnTo>
                    <a:pt x="108" y="624"/>
                  </a:lnTo>
                  <a:lnTo>
                    <a:pt x="102" y="618"/>
                  </a:lnTo>
                  <a:lnTo>
                    <a:pt x="102" y="588"/>
                  </a:lnTo>
                  <a:lnTo>
                    <a:pt x="102" y="564"/>
                  </a:lnTo>
                  <a:lnTo>
                    <a:pt x="102" y="546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0"/>
                  </a:lnTo>
                  <a:lnTo>
                    <a:pt x="96" y="498"/>
                  </a:lnTo>
                  <a:lnTo>
                    <a:pt x="96" y="486"/>
                  </a:lnTo>
                  <a:lnTo>
                    <a:pt x="96" y="474"/>
                  </a:lnTo>
                  <a:lnTo>
                    <a:pt x="96" y="462"/>
                  </a:lnTo>
                  <a:lnTo>
                    <a:pt x="114" y="450"/>
                  </a:lnTo>
                  <a:lnTo>
                    <a:pt x="126" y="438"/>
                  </a:lnTo>
                  <a:lnTo>
                    <a:pt x="132" y="432"/>
                  </a:lnTo>
                  <a:lnTo>
                    <a:pt x="144" y="426"/>
                  </a:lnTo>
                  <a:lnTo>
                    <a:pt x="144" y="420"/>
                  </a:lnTo>
                  <a:lnTo>
                    <a:pt x="156" y="414"/>
                  </a:lnTo>
                  <a:lnTo>
                    <a:pt x="162" y="408"/>
                  </a:lnTo>
                  <a:lnTo>
                    <a:pt x="180" y="396"/>
                  </a:lnTo>
                  <a:lnTo>
                    <a:pt x="210" y="372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34" y="348"/>
                  </a:lnTo>
                  <a:lnTo>
                    <a:pt x="240" y="348"/>
                  </a:lnTo>
                  <a:lnTo>
                    <a:pt x="246" y="342"/>
                  </a:lnTo>
                  <a:lnTo>
                    <a:pt x="276" y="318"/>
                  </a:lnTo>
                  <a:lnTo>
                    <a:pt x="282" y="312"/>
                  </a:lnTo>
                  <a:lnTo>
                    <a:pt x="288" y="306"/>
                  </a:lnTo>
                  <a:lnTo>
                    <a:pt x="300" y="288"/>
                  </a:lnTo>
                  <a:lnTo>
                    <a:pt x="306" y="276"/>
                  </a:lnTo>
                  <a:lnTo>
                    <a:pt x="324" y="246"/>
                  </a:lnTo>
                  <a:lnTo>
                    <a:pt x="330" y="240"/>
                  </a:lnTo>
                  <a:lnTo>
                    <a:pt x="336" y="234"/>
                  </a:lnTo>
                  <a:lnTo>
                    <a:pt x="342" y="228"/>
                  </a:lnTo>
                  <a:lnTo>
                    <a:pt x="342" y="216"/>
                  </a:lnTo>
                  <a:lnTo>
                    <a:pt x="354" y="204"/>
                  </a:lnTo>
                  <a:lnTo>
                    <a:pt x="360" y="204"/>
                  </a:lnTo>
                  <a:lnTo>
                    <a:pt x="366" y="186"/>
                  </a:lnTo>
                  <a:lnTo>
                    <a:pt x="384" y="162"/>
                  </a:lnTo>
                  <a:lnTo>
                    <a:pt x="390" y="144"/>
                  </a:lnTo>
                  <a:lnTo>
                    <a:pt x="396" y="114"/>
                  </a:lnTo>
                  <a:lnTo>
                    <a:pt x="396" y="102"/>
                  </a:lnTo>
                  <a:lnTo>
                    <a:pt x="402" y="90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08" y="36"/>
                  </a:lnTo>
                  <a:lnTo>
                    <a:pt x="408" y="24"/>
                  </a:lnTo>
                  <a:lnTo>
                    <a:pt x="408" y="6"/>
                  </a:lnTo>
                  <a:lnTo>
                    <a:pt x="420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68" y="0"/>
                  </a:lnTo>
                  <a:lnTo>
                    <a:pt x="480" y="0"/>
                  </a:lnTo>
                  <a:lnTo>
                    <a:pt x="492" y="0"/>
                  </a:lnTo>
                  <a:lnTo>
                    <a:pt x="498" y="0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8" y="18"/>
                  </a:lnTo>
                  <a:lnTo>
                    <a:pt x="534" y="18"/>
                  </a:lnTo>
                  <a:lnTo>
                    <a:pt x="540" y="18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8" y="36"/>
                  </a:lnTo>
                  <a:lnTo>
                    <a:pt x="588" y="54"/>
                  </a:lnTo>
                  <a:lnTo>
                    <a:pt x="594" y="48"/>
                  </a:lnTo>
                  <a:lnTo>
                    <a:pt x="600" y="48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12" y="66"/>
                  </a:lnTo>
                  <a:lnTo>
                    <a:pt x="630" y="72"/>
                  </a:lnTo>
                  <a:lnTo>
                    <a:pt x="642" y="78"/>
                  </a:lnTo>
                  <a:lnTo>
                    <a:pt x="666" y="78"/>
                  </a:lnTo>
                  <a:lnTo>
                    <a:pt x="672" y="72"/>
                  </a:lnTo>
                  <a:lnTo>
                    <a:pt x="690" y="84"/>
                  </a:lnTo>
                  <a:lnTo>
                    <a:pt x="690" y="90"/>
                  </a:lnTo>
                  <a:lnTo>
                    <a:pt x="708" y="96"/>
                  </a:lnTo>
                  <a:lnTo>
                    <a:pt x="708" y="102"/>
                  </a:lnTo>
                  <a:lnTo>
                    <a:pt x="744" y="96"/>
                  </a:lnTo>
                  <a:lnTo>
                    <a:pt x="756" y="78"/>
                  </a:lnTo>
                  <a:lnTo>
                    <a:pt x="756" y="72"/>
                  </a:lnTo>
                  <a:lnTo>
                    <a:pt x="762" y="66"/>
                  </a:lnTo>
                  <a:lnTo>
                    <a:pt x="768" y="60"/>
                  </a:lnTo>
                  <a:lnTo>
                    <a:pt x="774" y="54"/>
                  </a:lnTo>
                  <a:lnTo>
                    <a:pt x="786" y="54"/>
                  </a:lnTo>
                  <a:lnTo>
                    <a:pt x="786" y="60"/>
                  </a:lnTo>
                  <a:lnTo>
                    <a:pt x="786" y="66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92" y="90"/>
                  </a:lnTo>
                  <a:lnTo>
                    <a:pt x="780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26"/>
                  </a:lnTo>
                  <a:lnTo>
                    <a:pt x="768" y="150"/>
                  </a:lnTo>
                  <a:lnTo>
                    <a:pt x="750" y="168"/>
                  </a:lnTo>
                  <a:lnTo>
                    <a:pt x="750" y="174"/>
                  </a:lnTo>
                  <a:lnTo>
                    <a:pt x="762" y="192"/>
                  </a:lnTo>
                  <a:lnTo>
                    <a:pt x="774" y="210"/>
                  </a:lnTo>
                  <a:lnTo>
                    <a:pt x="792" y="228"/>
                  </a:lnTo>
                  <a:lnTo>
                    <a:pt x="804" y="240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40" y="252"/>
                  </a:lnTo>
                  <a:lnTo>
                    <a:pt x="834" y="252"/>
                  </a:lnTo>
                  <a:lnTo>
                    <a:pt x="846" y="252"/>
                  </a:lnTo>
                  <a:lnTo>
                    <a:pt x="852" y="270"/>
                  </a:lnTo>
                  <a:lnTo>
                    <a:pt x="858" y="282"/>
                  </a:lnTo>
                  <a:lnTo>
                    <a:pt x="858" y="288"/>
                  </a:lnTo>
                  <a:lnTo>
                    <a:pt x="864" y="300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58" y="318"/>
                  </a:lnTo>
                  <a:lnTo>
                    <a:pt x="852" y="318"/>
                  </a:lnTo>
                  <a:lnTo>
                    <a:pt x="846" y="324"/>
                  </a:lnTo>
                  <a:lnTo>
                    <a:pt x="846" y="336"/>
                  </a:lnTo>
                  <a:lnTo>
                    <a:pt x="840" y="348"/>
                  </a:lnTo>
                  <a:lnTo>
                    <a:pt x="840" y="360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46" y="402"/>
                  </a:lnTo>
                  <a:lnTo>
                    <a:pt x="858" y="420"/>
                  </a:lnTo>
                  <a:lnTo>
                    <a:pt x="882" y="426"/>
                  </a:lnTo>
                  <a:lnTo>
                    <a:pt x="888" y="444"/>
                  </a:lnTo>
                  <a:lnTo>
                    <a:pt x="900" y="444"/>
                  </a:lnTo>
                  <a:lnTo>
                    <a:pt x="900" y="462"/>
                  </a:lnTo>
                  <a:lnTo>
                    <a:pt x="894" y="474"/>
                  </a:lnTo>
                  <a:lnTo>
                    <a:pt x="888" y="486"/>
                  </a:lnTo>
                  <a:lnTo>
                    <a:pt x="882" y="492"/>
                  </a:lnTo>
                  <a:lnTo>
                    <a:pt x="870" y="504"/>
                  </a:lnTo>
                  <a:lnTo>
                    <a:pt x="852" y="504"/>
                  </a:lnTo>
                  <a:lnTo>
                    <a:pt x="852" y="510"/>
                  </a:lnTo>
                  <a:lnTo>
                    <a:pt x="852" y="516"/>
                  </a:lnTo>
                  <a:lnTo>
                    <a:pt x="846" y="528"/>
                  </a:lnTo>
                  <a:lnTo>
                    <a:pt x="846" y="582"/>
                  </a:lnTo>
                  <a:lnTo>
                    <a:pt x="840" y="582"/>
                  </a:lnTo>
                  <a:lnTo>
                    <a:pt x="834" y="582"/>
                  </a:lnTo>
                  <a:lnTo>
                    <a:pt x="828" y="582"/>
                  </a:lnTo>
                  <a:lnTo>
                    <a:pt x="822" y="582"/>
                  </a:lnTo>
                  <a:lnTo>
                    <a:pt x="810" y="582"/>
                  </a:lnTo>
                  <a:lnTo>
                    <a:pt x="810" y="528"/>
                  </a:lnTo>
                  <a:lnTo>
                    <a:pt x="792" y="528"/>
                  </a:lnTo>
                  <a:lnTo>
                    <a:pt x="792" y="522"/>
                  </a:lnTo>
                  <a:lnTo>
                    <a:pt x="786" y="522"/>
                  </a:lnTo>
                  <a:lnTo>
                    <a:pt x="786" y="516"/>
                  </a:lnTo>
                  <a:lnTo>
                    <a:pt x="780" y="516"/>
                  </a:lnTo>
                  <a:lnTo>
                    <a:pt x="780" y="510"/>
                  </a:lnTo>
                  <a:lnTo>
                    <a:pt x="762" y="510"/>
                  </a:lnTo>
                  <a:lnTo>
                    <a:pt x="756" y="510"/>
                  </a:lnTo>
                  <a:lnTo>
                    <a:pt x="750" y="522"/>
                  </a:lnTo>
                  <a:lnTo>
                    <a:pt x="744" y="534"/>
                  </a:lnTo>
                  <a:lnTo>
                    <a:pt x="732" y="540"/>
                  </a:lnTo>
                  <a:lnTo>
                    <a:pt x="732" y="558"/>
                  </a:lnTo>
                  <a:lnTo>
                    <a:pt x="732" y="564"/>
                  </a:lnTo>
                  <a:lnTo>
                    <a:pt x="732" y="570"/>
                  </a:lnTo>
                  <a:lnTo>
                    <a:pt x="726" y="576"/>
                  </a:lnTo>
                  <a:lnTo>
                    <a:pt x="720" y="576"/>
                  </a:lnTo>
                  <a:lnTo>
                    <a:pt x="714" y="582"/>
                  </a:lnTo>
                  <a:lnTo>
                    <a:pt x="702" y="588"/>
                  </a:lnTo>
                  <a:lnTo>
                    <a:pt x="696" y="594"/>
                  </a:lnTo>
                  <a:lnTo>
                    <a:pt x="690" y="600"/>
                  </a:lnTo>
                  <a:lnTo>
                    <a:pt x="690" y="606"/>
                  </a:lnTo>
                  <a:lnTo>
                    <a:pt x="678" y="606"/>
                  </a:lnTo>
                  <a:lnTo>
                    <a:pt x="678" y="624"/>
                  </a:lnTo>
                  <a:lnTo>
                    <a:pt x="684" y="642"/>
                  </a:lnTo>
                  <a:lnTo>
                    <a:pt x="684" y="660"/>
                  </a:lnTo>
                  <a:lnTo>
                    <a:pt x="690" y="672"/>
                  </a:lnTo>
                  <a:lnTo>
                    <a:pt x="702" y="720"/>
                  </a:lnTo>
                  <a:lnTo>
                    <a:pt x="708" y="750"/>
                  </a:lnTo>
                  <a:lnTo>
                    <a:pt x="708" y="792"/>
                  </a:lnTo>
                  <a:lnTo>
                    <a:pt x="708" y="828"/>
                  </a:lnTo>
                  <a:lnTo>
                    <a:pt x="708" y="852"/>
                  </a:lnTo>
                  <a:lnTo>
                    <a:pt x="696" y="894"/>
                  </a:lnTo>
                  <a:lnTo>
                    <a:pt x="702" y="900"/>
                  </a:lnTo>
                  <a:lnTo>
                    <a:pt x="708" y="924"/>
                  </a:lnTo>
                  <a:lnTo>
                    <a:pt x="684" y="936"/>
                  </a:lnTo>
                  <a:lnTo>
                    <a:pt x="660" y="954"/>
                  </a:lnTo>
                  <a:lnTo>
                    <a:pt x="618" y="984"/>
                  </a:lnTo>
                  <a:lnTo>
                    <a:pt x="618" y="990"/>
                  </a:lnTo>
                  <a:lnTo>
                    <a:pt x="612" y="996"/>
                  </a:lnTo>
                  <a:lnTo>
                    <a:pt x="606" y="1002"/>
                  </a:lnTo>
                  <a:lnTo>
                    <a:pt x="618" y="1008"/>
                  </a:lnTo>
                  <a:lnTo>
                    <a:pt x="618" y="1014"/>
                  </a:lnTo>
                  <a:lnTo>
                    <a:pt x="624" y="1026"/>
                  </a:lnTo>
                  <a:lnTo>
                    <a:pt x="630" y="1026"/>
                  </a:lnTo>
                  <a:lnTo>
                    <a:pt x="636" y="1032"/>
                  </a:lnTo>
                  <a:lnTo>
                    <a:pt x="642" y="1032"/>
                  </a:lnTo>
                  <a:lnTo>
                    <a:pt x="642" y="1038"/>
                  </a:lnTo>
                  <a:lnTo>
                    <a:pt x="648" y="1044"/>
                  </a:lnTo>
                  <a:lnTo>
                    <a:pt x="666" y="1050"/>
                  </a:lnTo>
                  <a:lnTo>
                    <a:pt x="678" y="1038"/>
                  </a:lnTo>
                  <a:lnTo>
                    <a:pt x="684" y="1038"/>
                  </a:lnTo>
                  <a:lnTo>
                    <a:pt x="684" y="1032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20"/>
                  </a:lnTo>
                  <a:lnTo>
                    <a:pt x="708" y="1014"/>
                  </a:lnTo>
                  <a:lnTo>
                    <a:pt x="720" y="1020"/>
                  </a:lnTo>
                  <a:lnTo>
                    <a:pt x="720" y="1014"/>
                  </a:lnTo>
                  <a:lnTo>
                    <a:pt x="726" y="1008"/>
                  </a:lnTo>
                  <a:lnTo>
                    <a:pt x="732" y="1008"/>
                  </a:lnTo>
                  <a:lnTo>
                    <a:pt x="738" y="1008"/>
                  </a:lnTo>
                  <a:lnTo>
                    <a:pt x="744" y="1002"/>
                  </a:lnTo>
                  <a:lnTo>
                    <a:pt x="744" y="996"/>
                  </a:lnTo>
                  <a:lnTo>
                    <a:pt x="750" y="996"/>
                  </a:lnTo>
                  <a:lnTo>
                    <a:pt x="756" y="1002"/>
                  </a:lnTo>
                  <a:lnTo>
                    <a:pt x="762" y="1002"/>
                  </a:lnTo>
                  <a:lnTo>
                    <a:pt x="768" y="996"/>
                  </a:lnTo>
                  <a:lnTo>
                    <a:pt x="780" y="996"/>
                  </a:lnTo>
                  <a:lnTo>
                    <a:pt x="786" y="996"/>
                  </a:lnTo>
                  <a:lnTo>
                    <a:pt x="816" y="990"/>
                  </a:lnTo>
                  <a:lnTo>
                    <a:pt x="828" y="990"/>
                  </a:lnTo>
                  <a:lnTo>
                    <a:pt x="834" y="990"/>
                  </a:lnTo>
                  <a:lnTo>
                    <a:pt x="840" y="984"/>
                  </a:lnTo>
                  <a:lnTo>
                    <a:pt x="852" y="978"/>
                  </a:lnTo>
                  <a:lnTo>
                    <a:pt x="852" y="972"/>
                  </a:lnTo>
                  <a:lnTo>
                    <a:pt x="858" y="972"/>
                  </a:lnTo>
                  <a:lnTo>
                    <a:pt x="864" y="966"/>
                  </a:lnTo>
                  <a:lnTo>
                    <a:pt x="870" y="966"/>
                  </a:lnTo>
                  <a:lnTo>
                    <a:pt x="876" y="966"/>
                  </a:lnTo>
                  <a:lnTo>
                    <a:pt x="882" y="960"/>
                  </a:lnTo>
                  <a:lnTo>
                    <a:pt x="888" y="960"/>
                  </a:lnTo>
                  <a:lnTo>
                    <a:pt x="894" y="960"/>
                  </a:lnTo>
                  <a:lnTo>
                    <a:pt x="894" y="966"/>
                  </a:lnTo>
                  <a:lnTo>
                    <a:pt x="894" y="978"/>
                  </a:lnTo>
                  <a:lnTo>
                    <a:pt x="894" y="984"/>
                  </a:lnTo>
                  <a:lnTo>
                    <a:pt x="900" y="984"/>
                  </a:lnTo>
                  <a:lnTo>
                    <a:pt x="906" y="978"/>
                  </a:lnTo>
                  <a:lnTo>
                    <a:pt x="912" y="972"/>
                  </a:lnTo>
                  <a:lnTo>
                    <a:pt x="918" y="978"/>
                  </a:lnTo>
                  <a:lnTo>
                    <a:pt x="924" y="978"/>
                  </a:lnTo>
                  <a:lnTo>
                    <a:pt x="924" y="972"/>
                  </a:lnTo>
                  <a:lnTo>
                    <a:pt x="924" y="966"/>
                  </a:lnTo>
                  <a:lnTo>
                    <a:pt x="930" y="966"/>
                  </a:lnTo>
                  <a:lnTo>
                    <a:pt x="948" y="966"/>
                  </a:lnTo>
                  <a:lnTo>
                    <a:pt x="954" y="966"/>
                  </a:lnTo>
                  <a:lnTo>
                    <a:pt x="954" y="960"/>
                  </a:lnTo>
                  <a:lnTo>
                    <a:pt x="960" y="960"/>
                  </a:lnTo>
                  <a:lnTo>
                    <a:pt x="966" y="960"/>
                  </a:lnTo>
                  <a:lnTo>
                    <a:pt x="966" y="966"/>
                  </a:lnTo>
                  <a:lnTo>
                    <a:pt x="978" y="972"/>
                  </a:lnTo>
                  <a:lnTo>
                    <a:pt x="978" y="978"/>
                  </a:lnTo>
                  <a:lnTo>
                    <a:pt x="978" y="984"/>
                  </a:lnTo>
                  <a:lnTo>
                    <a:pt x="984" y="978"/>
                  </a:lnTo>
                  <a:lnTo>
                    <a:pt x="990" y="978"/>
                  </a:lnTo>
                  <a:lnTo>
                    <a:pt x="996" y="984"/>
                  </a:lnTo>
                  <a:lnTo>
                    <a:pt x="1002" y="990"/>
                  </a:lnTo>
                  <a:lnTo>
                    <a:pt x="1008" y="972"/>
                  </a:lnTo>
                  <a:lnTo>
                    <a:pt x="1026" y="972"/>
                  </a:lnTo>
                  <a:lnTo>
                    <a:pt x="1032" y="972"/>
                  </a:lnTo>
                  <a:lnTo>
                    <a:pt x="1038" y="972"/>
                  </a:lnTo>
                  <a:lnTo>
                    <a:pt x="1050" y="972"/>
                  </a:lnTo>
                  <a:lnTo>
                    <a:pt x="1056" y="972"/>
                  </a:lnTo>
                  <a:lnTo>
                    <a:pt x="1062" y="966"/>
                  </a:lnTo>
                  <a:lnTo>
                    <a:pt x="1074" y="966"/>
                  </a:lnTo>
                  <a:lnTo>
                    <a:pt x="1074" y="960"/>
                  </a:lnTo>
                  <a:lnTo>
                    <a:pt x="1080" y="954"/>
                  </a:lnTo>
                  <a:lnTo>
                    <a:pt x="1080" y="948"/>
                  </a:lnTo>
                  <a:lnTo>
                    <a:pt x="1074" y="948"/>
                  </a:lnTo>
                  <a:lnTo>
                    <a:pt x="1068" y="948"/>
                  </a:lnTo>
                  <a:lnTo>
                    <a:pt x="1062" y="942"/>
                  </a:lnTo>
                  <a:lnTo>
                    <a:pt x="1068" y="936"/>
                  </a:lnTo>
                  <a:lnTo>
                    <a:pt x="1074" y="936"/>
                  </a:lnTo>
                  <a:lnTo>
                    <a:pt x="1080" y="936"/>
                  </a:lnTo>
                  <a:lnTo>
                    <a:pt x="1086" y="942"/>
                  </a:lnTo>
                  <a:lnTo>
                    <a:pt x="1092" y="942"/>
                  </a:lnTo>
                  <a:lnTo>
                    <a:pt x="1098" y="948"/>
                  </a:lnTo>
                  <a:lnTo>
                    <a:pt x="1104" y="954"/>
                  </a:lnTo>
                  <a:lnTo>
                    <a:pt x="1110" y="954"/>
                  </a:lnTo>
                  <a:lnTo>
                    <a:pt x="1116" y="948"/>
                  </a:lnTo>
                  <a:lnTo>
                    <a:pt x="1122" y="942"/>
                  </a:lnTo>
                  <a:lnTo>
                    <a:pt x="1128" y="942"/>
                  </a:lnTo>
                  <a:lnTo>
                    <a:pt x="1134" y="942"/>
                  </a:lnTo>
                  <a:lnTo>
                    <a:pt x="1140" y="948"/>
                  </a:lnTo>
                  <a:lnTo>
                    <a:pt x="1146" y="942"/>
                  </a:lnTo>
                  <a:lnTo>
                    <a:pt x="1152" y="942"/>
                  </a:lnTo>
                  <a:lnTo>
                    <a:pt x="1152" y="930"/>
                  </a:lnTo>
                  <a:lnTo>
                    <a:pt x="1164" y="936"/>
                  </a:lnTo>
                  <a:lnTo>
                    <a:pt x="1158" y="942"/>
                  </a:lnTo>
                  <a:lnTo>
                    <a:pt x="1158" y="948"/>
                  </a:lnTo>
                  <a:lnTo>
                    <a:pt x="1146" y="954"/>
                  </a:lnTo>
                  <a:lnTo>
                    <a:pt x="1152" y="954"/>
                  </a:lnTo>
                  <a:lnTo>
                    <a:pt x="1158" y="954"/>
                  </a:lnTo>
                  <a:lnTo>
                    <a:pt x="1158" y="948"/>
                  </a:lnTo>
                  <a:lnTo>
                    <a:pt x="1164" y="948"/>
                  </a:lnTo>
                  <a:lnTo>
                    <a:pt x="1170" y="948"/>
                  </a:lnTo>
                  <a:lnTo>
                    <a:pt x="1176" y="954"/>
                  </a:lnTo>
                  <a:lnTo>
                    <a:pt x="1176" y="966"/>
                  </a:lnTo>
                  <a:lnTo>
                    <a:pt x="1182" y="972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88" y="984"/>
                  </a:lnTo>
                  <a:lnTo>
                    <a:pt x="1194" y="984"/>
                  </a:lnTo>
                  <a:lnTo>
                    <a:pt x="1200" y="984"/>
                  </a:lnTo>
                  <a:lnTo>
                    <a:pt x="1212" y="984"/>
                  </a:lnTo>
                  <a:lnTo>
                    <a:pt x="1218" y="990"/>
                  </a:lnTo>
                  <a:lnTo>
                    <a:pt x="1224" y="990"/>
                  </a:lnTo>
                  <a:lnTo>
                    <a:pt x="1224" y="984"/>
                  </a:lnTo>
                  <a:lnTo>
                    <a:pt x="1230" y="990"/>
                  </a:lnTo>
                  <a:lnTo>
                    <a:pt x="1236" y="984"/>
                  </a:lnTo>
                  <a:lnTo>
                    <a:pt x="1242" y="984"/>
                  </a:lnTo>
                  <a:lnTo>
                    <a:pt x="1248" y="990"/>
                  </a:lnTo>
                  <a:lnTo>
                    <a:pt x="1254" y="990"/>
                  </a:lnTo>
                  <a:lnTo>
                    <a:pt x="1254" y="996"/>
                  </a:lnTo>
                  <a:lnTo>
                    <a:pt x="1254" y="1002"/>
                  </a:lnTo>
                  <a:lnTo>
                    <a:pt x="1254" y="1008"/>
                  </a:lnTo>
                  <a:lnTo>
                    <a:pt x="1260" y="1014"/>
                  </a:lnTo>
                  <a:lnTo>
                    <a:pt x="1266" y="1014"/>
                  </a:lnTo>
                  <a:lnTo>
                    <a:pt x="1272" y="1014"/>
                  </a:lnTo>
                  <a:lnTo>
                    <a:pt x="1278" y="1020"/>
                  </a:lnTo>
                  <a:lnTo>
                    <a:pt x="1284" y="1020"/>
                  </a:lnTo>
                  <a:lnTo>
                    <a:pt x="1290" y="1014"/>
                  </a:lnTo>
                  <a:lnTo>
                    <a:pt x="1290" y="1008"/>
                  </a:lnTo>
                  <a:lnTo>
                    <a:pt x="1296" y="1008"/>
                  </a:lnTo>
                  <a:lnTo>
                    <a:pt x="1302" y="1014"/>
                  </a:lnTo>
                  <a:lnTo>
                    <a:pt x="1308" y="1014"/>
                  </a:lnTo>
                  <a:lnTo>
                    <a:pt x="1314" y="1008"/>
                  </a:lnTo>
                  <a:lnTo>
                    <a:pt x="1320" y="1008"/>
                  </a:lnTo>
                  <a:lnTo>
                    <a:pt x="1320" y="1002"/>
                  </a:lnTo>
                  <a:lnTo>
                    <a:pt x="1320" y="996"/>
                  </a:lnTo>
                  <a:lnTo>
                    <a:pt x="1332" y="1002"/>
                  </a:lnTo>
                  <a:lnTo>
                    <a:pt x="1332" y="1008"/>
                  </a:lnTo>
                  <a:lnTo>
                    <a:pt x="1326" y="1014"/>
                  </a:lnTo>
                  <a:lnTo>
                    <a:pt x="1332" y="1014"/>
                  </a:lnTo>
                  <a:lnTo>
                    <a:pt x="1338" y="1014"/>
                  </a:lnTo>
                  <a:lnTo>
                    <a:pt x="1338" y="1008"/>
                  </a:lnTo>
                  <a:lnTo>
                    <a:pt x="1344" y="1008"/>
                  </a:lnTo>
                  <a:lnTo>
                    <a:pt x="1350" y="1008"/>
                  </a:lnTo>
                  <a:lnTo>
                    <a:pt x="1356" y="1014"/>
                  </a:lnTo>
                  <a:lnTo>
                    <a:pt x="1356" y="1008"/>
                  </a:lnTo>
                  <a:lnTo>
                    <a:pt x="1362" y="1014"/>
                  </a:lnTo>
                  <a:lnTo>
                    <a:pt x="1392" y="1014"/>
                  </a:lnTo>
                  <a:lnTo>
                    <a:pt x="1398" y="1014"/>
                  </a:lnTo>
                  <a:lnTo>
                    <a:pt x="1404" y="1008"/>
                  </a:lnTo>
                  <a:lnTo>
                    <a:pt x="1404" y="1014"/>
                  </a:lnTo>
                  <a:lnTo>
                    <a:pt x="1410" y="1008"/>
                  </a:lnTo>
                  <a:lnTo>
                    <a:pt x="1416" y="1008"/>
                  </a:lnTo>
                  <a:lnTo>
                    <a:pt x="1422" y="1002"/>
                  </a:lnTo>
                  <a:lnTo>
                    <a:pt x="1428" y="1002"/>
                  </a:lnTo>
                  <a:lnTo>
                    <a:pt x="1428" y="996"/>
                  </a:lnTo>
                  <a:lnTo>
                    <a:pt x="1428" y="990"/>
                  </a:lnTo>
                  <a:lnTo>
                    <a:pt x="1440" y="1002"/>
                  </a:lnTo>
                  <a:lnTo>
                    <a:pt x="1446" y="1002"/>
                  </a:lnTo>
                  <a:lnTo>
                    <a:pt x="1452" y="1002"/>
                  </a:lnTo>
                  <a:lnTo>
                    <a:pt x="1446" y="996"/>
                  </a:lnTo>
                  <a:lnTo>
                    <a:pt x="1452" y="996"/>
                  </a:lnTo>
                  <a:lnTo>
                    <a:pt x="1458" y="996"/>
                  </a:lnTo>
                  <a:lnTo>
                    <a:pt x="1464" y="996"/>
                  </a:lnTo>
                  <a:lnTo>
                    <a:pt x="1464" y="1002"/>
                  </a:lnTo>
                  <a:lnTo>
                    <a:pt x="1476" y="1014"/>
                  </a:lnTo>
                  <a:lnTo>
                    <a:pt x="1476" y="1008"/>
                  </a:lnTo>
                  <a:lnTo>
                    <a:pt x="1482" y="1008"/>
                  </a:lnTo>
                  <a:lnTo>
                    <a:pt x="1488" y="1020"/>
                  </a:lnTo>
                  <a:lnTo>
                    <a:pt x="1494" y="1020"/>
                  </a:lnTo>
                  <a:lnTo>
                    <a:pt x="1500" y="1014"/>
                  </a:lnTo>
                  <a:lnTo>
                    <a:pt x="1500" y="1020"/>
                  </a:lnTo>
                  <a:lnTo>
                    <a:pt x="1506" y="1026"/>
                  </a:lnTo>
                  <a:lnTo>
                    <a:pt x="1512" y="1032"/>
                  </a:lnTo>
                  <a:lnTo>
                    <a:pt x="1518" y="1032"/>
                  </a:lnTo>
                  <a:lnTo>
                    <a:pt x="1518" y="1038"/>
                  </a:lnTo>
                  <a:lnTo>
                    <a:pt x="1518" y="1044"/>
                  </a:lnTo>
                  <a:lnTo>
                    <a:pt x="1524" y="1044"/>
                  </a:lnTo>
                  <a:lnTo>
                    <a:pt x="1524" y="1050"/>
                  </a:lnTo>
                  <a:lnTo>
                    <a:pt x="1530" y="1056"/>
                  </a:lnTo>
                  <a:lnTo>
                    <a:pt x="1548" y="1062"/>
                  </a:lnTo>
                  <a:lnTo>
                    <a:pt x="1560" y="1074"/>
                  </a:lnTo>
                  <a:lnTo>
                    <a:pt x="1560" y="1080"/>
                  </a:lnTo>
                  <a:lnTo>
                    <a:pt x="1560" y="1086"/>
                  </a:lnTo>
                  <a:lnTo>
                    <a:pt x="1566" y="1086"/>
                  </a:lnTo>
                  <a:lnTo>
                    <a:pt x="1572" y="1098"/>
                  </a:lnTo>
                  <a:lnTo>
                    <a:pt x="1572" y="1104"/>
                  </a:lnTo>
                  <a:lnTo>
                    <a:pt x="1584" y="1110"/>
                  </a:lnTo>
                  <a:lnTo>
                    <a:pt x="1590" y="1116"/>
                  </a:lnTo>
                  <a:lnTo>
                    <a:pt x="1596" y="1116"/>
                  </a:lnTo>
                  <a:lnTo>
                    <a:pt x="1608" y="1122"/>
                  </a:lnTo>
                  <a:lnTo>
                    <a:pt x="1620" y="1140"/>
                  </a:lnTo>
                  <a:lnTo>
                    <a:pt x="1626" y="1158"/>
                  </a:lnTo>
                  <a:lnTo>
                    <a:pt x="1638" y="1200"/>
                  </a:lnTo>
                  <a:lnTo>
                    <a:pt x="1638" y="1218"/>
                  </a:lnTo>
                  <a:lnTo>
                    <a:pt x="1620" y="1230"/>
                  </a:lnTo>
                  <a:lnTo>
                    <a:pt x="1554" y="1230"/>
                  </a:lnTo>
                  <a:lnTo>
                    <a:pt x="1560" y="1248"/>
                  </a:lnTo>
                  <a:lnTo>
                    <a:pt x="1584" y="1260"/>
                  </a:lnTo>
                  <a:lnTo>
                    <a:pt x="1584" y="1266"/>
                  </a:lnTo>
                  <a:lnTo>
                    <a:pt x="1578" y="1272"/>
                  </a:lnTo>
                  <a:lnTo>
                    <a:pt x="1572" y="1272"/>
                  </a:lnTo>
                  <a:lnTo>
                    <a:pt x="1566" y="1278"/>
                  </a:lnTo>
                  <a:lnTo>
                    <a:pt x="1566" y="1284"/>
                  </a:lnTo>
                  <a:lnTo>
                    <a:pt x="1560" y="1290"/>
                  </a:lnTo>
                  <a:lnTo>
                    <a:pt x="1554" y="1290"/>
                  </a:lnTo>
                  <a:lnTo>
                    <a:pt x="1554" y="1296"/>
                  </a:lnTo>
                  <a:lnTo>
                    <a:pt x="1554" y="1302"/>
                  </a:lnTo>
                  <a:lnTo>
                    <a:pt x="1560" y="1332"/>
                  </a:lnTo>
                  <a:lnTo>
                    <a:pt x="1566" y="1356"/>
                  </a:lnTo>
                  <a:lnTo>
                    <a:pt x="1572" y="1356"/>
                  </a:lnTo>
                  <a:lnTo>
                    <a:pt x="1572" y="1362"/>
                  </a:lnTo>
                  <a:lnTo>
                    <a:pt x="1578" y="1362"/>
                  </a:lnTo>
                  <a:lnTo>
                    <a:pt x="1560" y="1374"/>
                  </a:lnTo>
                  <a:lnTo>
                    <a:pt x="1560" y="1380"/>
                  </a:lnTo>
                  <a:lnTo>
                    <a:pt x="1548" y="1380"/>
                  </a:lnTo>
                  <a:lnTo>
                    <a:pt x="1548" y="1386"/>
                  </a:lnTo>
                  <a:lnTo>
                    <a:pt x="1548" y="1392"/>
                  </a:lnTo>
                  <a:lnTo>
                    <a:pt x="1542" y="1410"/>
                  </a:lnTo>
                  <a:lnTo>
                    <a:pt x="1536" y="1422"/>
                  </a:lnTo>
                  <a:lnTo>
                    <a:pt x="1536" y="1428"/>
                  </a:lnTo>
                  <a:lnTo>
                    <a:pt x="1530" y="1440"/>
                  </a:lnTo>
                  <a:lnTo>
                    <a:pt x="1524" y="1434"/>
                  </a:lnTo>
                  <a:lnTo>
                    <a:pt x="1524" y="1428"/>
                  </a:lnTo>
                  <a:lnTo>
                    <a:pt x="1524" y="1422"/>
                  </a:lnTo>
                  <a:lnTo>
                    <a:pt x="1512" y="1410"/>
                  </a:lnTo>
                  <a:lnTo>
                    <a:pt x="1506" y="1404"/>
                  </a:lnTo>
                  <a:lnTo>
                    <a:pt x="1506" y="1398"/>
                  </a:lnTo>
                  <a:lnTo>
                    <a:pt x="1494" y="1392"/>
                  </a:lnTo>
                  <a:lnTo>
                    <a:pt x="1476" y="1404"/>
                  </a:lnTo>
                  <a:lnTo>
                    <a:pt x="1464" y="1416"/>
                  </a:lnTo>
                  <a:lnTo>
                    <a:pt x="1458" y="1428"/>
                  </a:lnTo>
                  <a:lnTo>
                    <a:pt x="1446" y="1434"/>
                  </a:lnTo>
                  <a:lnTo>
                    <a:pt x="1410" y="1440"/>
                  </a:lnTo>
                  <a:lnTo>
                    <a:pt x="1398" y="1440"/>
                  </a:lnTo>
                  <a:lnTo>
                    <a:pt x="1398" y="1446"/>
                  </a:lnTo>
                  <a:lnTo>
                    <a:pt x="1386" y="1446"/>
                  </a:lnTo>
                  <a:lnTo>
                    <a:pt x="1380" y="1440"/>
                  </a:lnTo>
                  <a:lnTo>
                    <a:pt x="1368" y="1440"/>
                  </a:lnTo>
                  <a:lnTo>
                    <a:pt x="1368" y="1446"/>
                  </a:lnTo>
                  <a:lnTo>
                    <a:pt x="1356" y="1446"/>
                  </a:lnTo>
                  <a:lnTo>
                    <a:pt x="1350" y="1452"/>
                  </a:lnTo>
                  <a:lnTo>
                    <a:pt x="1338" y="1452"/>
                  </a:lnTo>
                  <a:lnTo>
                    <a:pt x="1338" y="1458"/>
                  </a:lnTo>
                  <a:lnTo>
                    <a:pt x="1332" y="1458"/>
                  </a:lnTo>
                  <a:lnTo>
                    <a:pt x="1332" y="1464"/>
                  </a:lnTo>
                  <a:lnTo>
                    <a:pt x="1332" y="1470"/>
                  </a:lnTo>
                  <a:lnTo>
                    <a:pt x="1326" y="1470"/>
                  </a:lnTo>
                  <a:lnTo>
                    <a:pt x="1320" y="1470"/>
                  </a:lnTo>
                  <a:lnTo>
                    <a:pt x="1314" y="1470"/>
                  </a:lnTo>
                  <a:lnTo>
                    <a:pt x="1314" y="1464"/>
                  </a:lnTo>
                  <a:lnTo>
                    <a:pt x="1308" y="1464"/>
                  </a:lnTo>
                  <a:lnTo>
                    <a:pt x="1308" y="1452"/>
                  </a:lnTo>
                  <a:lnTo>
                    <a:pt x="1284" y="1458"/>
                  </a:lnTo>
                  <a:lnTo>
                    <a:pt x="1272" y="1458"/>
                  </a:lnTo>
                  <a:lnTo>
                    <a:pt x="1272" y="1464"/>
                  </a:lnTo>
                  <a:lnTo>
                    <a:pt x="1260" y="1464"/>
                  </a:lnTo>
                  <a:lnTo>
                    <a:pt x="1254" y="1464"/>
                  </a:lnTo>
                  <a:lnTo>
                    <a:pt x="1242" y="1422"/>
                  </a:lnTo>
                  <a:lnTo>
                    <a:pt x="1242" y="1416"/>
                  </a:lnTo>
                  <a:lnTo>
                    <a:pt x="1242" y="1410"/>
                  </a:lnTo>
                  <a:lnTo>
                    <a:pt x="1248" y="1410"/>
                  </a:lnTo>
                  <a:lnTo>
                    <a:pt x="1242" y="1410"/>
                  </a:lnTo>
                  <a:lnTo>
                    <a:pt x="1242" y="1404"/>
                  </a:lnTo>
                  <a:lnTo>
                    <a:pt x="1242" y="1398"/>
                  </a:lnTo>
                  <a:lnTo>
                    <a:pt x="1248" y="1392"/>
                  </a:lnTo>
                  <a:lnTo>
                    <a:pt x="1248" y="1386"/>
                  </a:lnTo>
                  <a:lnTo>
                    <a:pt x="1242" y="1380"/>
                  </a:lnTo>
                  <a:lnTo>
                    <a:pt x="1248" y="1380"/>
                  </a:lnTo>
                  <a:lnTo>
                    <a:pt x="1248" y="1374"/>
                  </a:lnTo>
                  <a:lnTo>
                    <a:pt x="1248" y="1368"/>
                  </a:lnTo>
                  <a:lnTo>
                    <a:pt x="1254" y="1368"/>
                  </a:lnTo>
                  <a:lnTo>
                    <a:pt x="1254" y="1362"/>
                  </a:lnTo>
                  <a:lnTo>
                    <a:pt x="1248" y="1356"/>
                  </a:lnTo>
                  <a:lnTo>
                    <a:pt x="1254" y="1356"/>
                  </a:lnTo>
                  <a:lnTo>
                    <a:pt x="1254" y="1344"/>
                  </a:lnTo>
                  <a:lnTo>
                    <a:pt x="1242" y="1338"/>
                  </a:lnTo>
                  <a:lnTo>
                    <a:pt x="1242" y="1326"/>
                  </a:lnTo>
                  <a:lnTo>
                    <a:pt x="1230" y="1326"/>
                  </a:lnTo>
                  <a:lnTo>
                    <a:pt x="1230" y="1314"/>
                  </a:lnTo>
                  <a:lnTo>
                    <a:pt x="1218" y="1314"/>
                  </a:lnTo>
                  <a:lnTo>
                    <a:pt x="1200" y="1272"/>
                  </a:lnTo>
                  <a:lnTo>
                    <a:pt x="1194" y="1242"/>
                  </a:lnTo>
                  <a:lnTo>
                    <a:pt x="1194" y="1206"/>
                  </a:lnTo>
                  <a:lnTo>
                    <a:pt x="1182" y="1200"/>
                  </a:lnTo>
                  <a:lnTo>
                    <a:pt x="1164" y="1206"/>
                  </a:lnTo>
                  <a:lnTo>
                    <a:pt x="1146" y="1212"/>
                  </a:lnTo>
                  <a:lnTo>
                    <a:pt x="1146" y="1218"/>
                  </a:lnTo>
                  <a:lnTo>
                    <a:pt x="1134" y="1224"/>
                  </a:lnTo>
                  <a:lnTo>
                    <a:pt x="1140" y="1260"/>
                  </a:lnTo>
                  <a:lnTo>
                    <a:pt x="1134" y="1266"/>
                  </a:lnTo>
                  <a:lnTo>
                    <a:pt x="1122" y="1266"/>
                  </a:lnTo>
                  <a:lnTo>
                    <a:pt x="1110" y="1236"/>
                  </a:lnTo>
                  <a:lnTo>
                    <a:pt x="1110" y="1224"/>
                  </a:lnTo>
                  <a:lnTo>
                    <a:pt x="1086" y="1224"/>
                  </a:lnTo>
                  <a:lnTo>
                    <a:pt x="1086" y="1212"/>
                  </a:lnTo>
                  <a:lnTo>
                    <a:pt x="1074" y="1212"/>
                  </a:lnTo>
                  <a:lnTo>
                    <a:pt x="1050" y="1212"/>
                  </a:lnTo>
                  <a:lnTo>
                    <a:pt x="1056" y="1218"/>
                  </a:lnTo>
                  <a:lnTo>
                    <a:pt x="1050" y="1272"/>
                  </a:lnTo>
                  <a:lnTo>
                    <a:pt x="1044" y="1272"/>
                  </a:lnTo>
                  <a:lnTo>
                    <a:pt x="1038" y="1284"/>
                  </a:lnTo>
                  <a:lnTo>
                    <a:pt x="1032" y="1302"/>
                  </a:lnTo>
                  <a:lnTo>
                    <a:pt x="1014" y="1302"/>
                  </a:lnTo>
                  <a:lnTo>
                    <a:pt x="1020" y="1284"/>
                  </a:lnTo>
                  <a:lnTo>
                    <a:pt x="1026" y="1278"/>
                  </a:lnTo>
                  <a:lnTo>
                    <a:pt x="1026" y="1266"/>
                  </a:lnTo>
                  <a:lnTo>
                    <a:pt x="1014" y="1260"/>
                  </a:lnTo>
                  <a:lnTo>
                    <a:pt x="1014" y="1272"/>
                  </a:lnTo>
                  <a:lnTo>
                    <a:pt x="990" y="1278"/>
                  </a:lnTo>
                  <a:lnTo>
                    <a:pt x="990" y="1254"/>
                  </a:lnTo>
                  <a:lnTo>
                    <a:pt x="984" y="1254"/>
                  </a:lnTo>
                  <a:lnTo>
                    <a:pt x="978" y="1242"/>
                  </a:lnTo>
                  <a:lnTo>
                    <a:pt x="972" y="1236"/>
                  </a:lnTo>
                  <a:lnTo>
                    <a:pt x="960" y="1206"/>
                  </a:lnTo>
                  <a:lnTo>
                    <a:pt x="942" y="1206"/>
                  </a:lnTo>
                  <a:lnTo>
                    <a:pt x="936" y="1200"/>
                  </a:lnTo>
                  <a:lnTo>
                    <a:pt x="906" y="1212"/>
                  </a:lnTo>
                  <a:lnTo>
                    <a:pt x="888" y="1230"/>
                  </a:lnTo>
                  <a:lnTo>
                    <a:pt x="876" y="1230"/>
                  </a:lnTo>
                  <a:lnTo>
                    <a:pt x="864" y="1236"/>
                  </a:lnTo>
                  <a:lnTo>
                    <a:pt x="858" y="1236"/>
                  </a:lnTo>
                  <a:lnTo>
                    <a:pt x="852" y="1254"/>
                  </a:lnTo>
                  <a:lnTo>
                    <a:pt x="858" y="1254"/>
                  </a:lnTo>
                  <a:lnTo>
                    <a:pt x="840" y="1266"/>
                  </a:lnTo>
                  <a:lnTo>
                    <a:pt x="828" y="1272"/>
                  </a:lnTo>
                  <a:lnTo>
                    <a:pt x="828" y="1284"/>
                  </a:lnTo>
                  <a:lnTo>
                    <a:pt x="822" y="1284"/>
                  </a:lnTo>
                  <a:lnTo>
                    <a:pt x="804" y="1296"/>
                  </a:lnTo>
                  <a:lnTo>
                    <a:pt x="804" y="1308"/>
                  </a:lnTo>
                  <a:lnTo>
                    <a:pt x="816" y="1320"/>
                  </a:lnTo>
                  <a:lnTo>
                    <a:pt x="828" y="1320"/>
                  </a:lnTo>
                  <a:lnTo>
                    <a:pt x="822" y="1338"/>
                  </a:lnTo>
                  <a:lnTo>
                    <a:pt x="852" y="1344"/>
                  </a:lnTo>
                  <a:lnTo>
                    <a:pt x="864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94" y="1356"/>
                  </a:lnTo>
                  <a:lnTo>
                    <a:pt x="912" y="1368"/>
                  </a:lnTo>
                  <a:lnTo>
                    <a:pt x="918" y="1380"/>
                  </a:lnTo>
                  <a:lnTo>
                    <a:pt x="936" y="1380"/>
                  </a:lnTo>
                  <a:lnTo>
                    <a:pt x="960" y="1386"/>
                  </a:lnTo>
                  <a:lnTo>
                    <a:pt x="990" y="1386"/>
                  </a:lnTo>
                  <a:lnTo>
                    <a:pt x="990" y="1392"/>
                  </a:lnTo>
                  <a:lnTo>
                    <a:pt x="1020" y="1398"/>
                  </a:lnTo>
                  <a:lnTo>
                    <a:pt x="1014" y="1404"/>
                  </a:lnTo>
                  <a:lnTo>
                    <a:pt x="1008" y="1404"/>
                  </a:lnTo>
                  <a:lnTo>
                    <a:pt x="1014" y="1440"/>
                  </a:lnTo>
                  <a:lnTo>
                    <a:pt x="1020" y="1458"/>
                  </a:lnTo>
                  <a:lnTo>
                    <a:pt x="1026" y="1476"/>
                  </a:lnTo>
                  <a:lnTo>
                    <a:pt x="1020" y="1476"/>
                  </a:lnTo>
                  <a:lnTo>
                    <a:pt x="1014" y="1476"/>
                  </a:lnTo>
                  <a:lnTo>
                    <a:pt x="1014" y="1482"/>
                  </a:lnTo>
                  <a:lnTo>
                    <a:pt x="1014" y="1488"/>
                  </a:lnTo>
                  <a:lnTo>
                    <a:pt x="1002" y="1488"/>
                  </a:lnTo>
                  <a:lnTo>
                    <a:pt x="1002" y="1494"/>
                  </a:lnTo>
                  <a:lnTo>
                    <a:pt x="996" y="1494"/>
                  </a:lnTo>
                  <a:lnTo>
                    <a:pt x="996" y="1518"/>
                  </a:lnTo>
                  <a:lnTo>
                    <a:pt x="1002" y="1524"/>
                  </a:lnTo>
                  <a:lnTo>
                    <a:pt x="1020" y="1530"/>
                  </a:lnTo>
                  <a:lnTo>
                    <a:pt x="1026" y="1542"/>
                  </a:lnTo>
                  <a:lnTo>
                    <a:pt x="1032" y="1566"/>
                  </a:lnTo>
                  <a:lnTo>
                    <a:pt x="1038" y="1578"/>
                  </a:lnTo>
                  <a:lnTo>
                    <a:pt x="1032" y="1584"/>
                  </a:lnTo>
                  <a:lnTo>
                    <a:pt x="1020" y="1584"/>
                  </a:lnTo>
                  <a:lnTo>
                    <a:pt x="1014" y="1584"/>
                  </a:lnTo>
                  <a:lnTo>
                    <a:pt x="1008" y="1596"/>
                  </a:lnTo>
                  <a:lnTo>
                    <a:pt x="990" y="1584"/>
                  </a:lnTo>
                  <a:lnTo>
                    <a:pt x="984" y="1602"/>
                  </a:lnTo>
                  <a:lnTo>
                    <a:pt x="978" y="1608"/>
                  </a:lnTo>
                  <a:lnTo>
                    <a:pt x="966" y="1608"/>
                  </a:lnTo>
                  <a:lnTo>
                    <a:pt x="960" y="1614"/>
                  </a:lnTo>
                  <a:lnTo>
                    <a:pt x="954" y="1614"/>
                  </a:lnTo>
                  <a:lnTo>
                    <a:pt x="942" y="1620"/>
                  </a:lnTo>
                  <a:lnTo>
                    <a:pt x="936" y="1620"/>
                  </a:lnTo>
                  <a:lnTo>
                    <a:pt x="930" y="1620"/>
                  </a:lnTo>
                  <a:lnTo>
                    <a:pt x="930" y="1626"/>
                  </a:lnTo>
                  <a:lnTo>
                    <a:pt x="930" y="1632"/>
                  </a:lnTo>
                  <a:lnTo>
                    <a:pt x="918" y="1632"/>
                  </a:lnTo>
                  <a:lnTo>
                    <a:pt x="912" y="1632"/>
                  </a:lnTo>
                  <a:lnTo>
                    <a:pt x="906" y="1632"/>
                  </a:lnTo>
                  <a:lnTo>
                    <a:pt x="900" y="1632"/>
                  </a:lnTo>
                  <a:lnTo>
                    <a:pt x="894" y="1626"/>
                  </a:lnTo>
                  <a:lnTo>
                    <a:pt x="894" y="1614"/>
                  </a:lnTo>
                  <a:lnTo>
                    <a:pt x="840" y="1614"/>
                  </a:lnTo>
                  <a:lnTo>
                    <a:pt x="840" y="1626"/>
                  </a:lnTo>
                  <a:lnTo>
                    <a:pt x="834" y="1626"/>
                  </a:lnTo>
                  <a:lnTo>
                    <a:pt x="828" y="1632"/>
                  </a:lnTo>
                  <a:lnTo>
                    <a:pt x="822" y="1638"/>
                  </a:lnTo>
                  <a:lnTo>
                    <a:pt x="822" y="1644"/>
                  </a:lnTo>
                  <a:lnTo>
                    <a:pt x="834" y="1650"/>
                  </a:lnTo>
                  <a:lnTo>
                    <a:pt x="840" y="1662"/>
                  </a:lnTo>
                  <a:lnTo>
                    <a:pt x="840" y="1668"/>
                  </a:lnTo>
                  <a:lnTo>
                    <a:pt x="858" y="1680"/>
                  </a:lnTo>
                  <a:lnTo>
                    <a:pt x="858" y="1752"/>
                  </a:lnTo>
                  <a:lnTo>
                    <a:pt x="864" y="1782"/>
                  </a:lnTo>
                  <a:lnTo>
                    <a:pt x="876" y="1788"/>
                  </a:lnTo>
                  <a:lnTo>
                    <a:pt x="870" y="1854"/>
                  </a:lnTo>
                  <a:lnTo>
                    <a:pt x="870" y="1884"/>
                  </a:lnTo>
                  <a:lnTo>
                    <a:pt x="864" y="1884"/>
                  </a:lnTo>
                  <a:lnTo>
                    <a:pt x="846" y="1896"/>
                  </a:lnTo>
                  <a:lnTo>
                    <a:pt x="840" y="1896"/>
                  </a:lnTo>
                  <a:lnTo>
                    <a:pt x="834" y="1896"/>
                  </a:lnTo>
                  <a:lnTo>
                    <a:pt x="828" y="1890"/>
                  </a:lnTo>
                  <a:lnTo>
                    <a:pt x="822" y="1890"/>
                  </a:lnTo>
                  <a:lnTo>
                    <a:pt x="816" y="1896"/>
                  </a:lnTo>
                  <a:lnTo>
                    <a:pt x="804" y="1896"/>
                  </a:lnTo>
                  <a:lnTo>
                    <a:pt x="804" y="1890"/>
                  </a:lnTo>
                  <a:lnTo>
                    <a:pt x="780" y="1896"/>
                  </a:lnTo>
                  <a:lnTo>
                    <a:pt x="780" y="1902"/>
                  </a:lnTo>
                  <a:lnTo>
                    <a:pt x="774" y="1914"/>
                  </a:lnTo>
                  <a:lnTo>
                    <a:pt x="762" y="1926"/>
                  </a:lnTo>
                  <a:lnTo>
                    <a:pt x="762" y="1950"/>
                  </a:lnTo>
                  <a:lnTo>
                    <a:pt x="762" y="1962"/>
                  </a:lnTo>
                  <a:lnTo>
                    <a:pt x="780" y="1974"/>
                  </a:lnTo>
                  <a:lnTo>
                    <a:pt x="780" y="1986"/>
                  </a:lnTo>
                  <a:lnTo>
                    <a:pt x="780" y="1998"/>
                  </a:lnTo>
                  <a:lnTo>
                    <a:pt x="756" y="1998"/>
                  </a:lnTo>
                  <a:lnTo>
                    <a:pt x="720" y="1992"/>
                  </a:lnTo>
                  <a:lnTo>
                    <a:pt x="666" y="1998"/>
                  </a:lnTo>
                  <a:lnTo>
                    <a:pt x="654" y="1998"/>
                  </a:lnTo>
                  <a:lnTo>
                    <a:pt x="660" y="1974"/>
                  </a:lnTo>
                  <a:lnTo>
                    <a:pt x="666" y="1962"/>
                  </a:lnTo>
                  <a:lnTo>
                    <a:pt x="678" y="1950"/>
                  </a:lnTo>
                  <a:lnTo>
                    <a:pt x="696" y="1932"/>
                  </a:lnTo>
                  <a:lnTo>
                    <a:pt x="696" y="1920"/>
                  </a:lnTo>
                  <a:lnTo>
                    <a:pt x="696" y="1896"/>
                  </a:lnTo>
                  <a:lnTo>
                    <a:pt x="678" y="1896"/>
                  </a:lnTo>
                  <a:lnTo>
                    <a:pt x="672" y="1884"/>
                  </a:lnTo>
                  <a:lnTo>
                    <a:pt x="672" y="1776"/>
                  </a:lnTo>
                  <a:lnTo>
                    <a:pt x="678" y="1758"/>
                  </a:lnTo>
                  <a:lnTo>
                    <a:pt x="678" y="1740"/>
                  </a:lnTo>
                  <a:lnTo>
                    <a:pt x="684" y="1728"/>
                  </a:lnTo>
                  <a:lnTo>
                    <a:pt x="690" y="1722"/>
                  </a:lnTo>
                  <a:lnTo>
                    <a:pt x="702" y="1722"/>
                  </a:lnTo>
                  <a:lnTo>
                    <a:pt x="708" y="1716"/>
                  </a:lnTo>
                  <a:lnTo>
                    <a:pt x="714" y="1710"/>
                  </a:lnTo>
                  <a:lnTo>
                    <a:pt x="720" y="1698"/>
                  </a:lnTo>
                  <a:lnTo>
                    <a:pt x="732" y="1692"/>
                  </a:lnTo>
                  <a:lnTo>
                    <a:pt x="744" y="1686"/>
                  </a:lnTo>
                  <a:lnTo>
                    <a:pt x="756" y="1680"/>
                  </a:lnTo>
                  <a:lnTo>
                    <a:pt x="768" y="1668"/>
                  </a:lnTo>
                  <a:lnTo>
                    <a:pt x="768" y="1650"/>
                  </a:lnTo>
                  <a:lnTo>
                    <a:pt x="774" y="1632"/>
                  </a:lnTo>
                  <a:lnTo>
                    <a:pt x="768" y="1620"/>
                  </a:lnTo>
                  <a:lnTo>
                    <a:pt x="774" y="1608"/>
                  </a:lnTo>
                  <a:lnTo>
                    <a:pt x="774" y="1578"/>
                  </a:lnTo>
                  <a:lnTo>
                    <a:pt x="774" y="1572"/>
                  </a:lnTo>
                  <a:lnTo>
                    <a:pt x="780" y="1560"/>
                  </a:lnTo>
                  <a:lnTo>
                    <a:pt x="780" y="1554"/>
                  </a:lnTo>
                  <a:lnTo>
                    <a:pt x="786" y="1542"/>
                  </a:lnTo>
                  <a:lnTo>
                    <a:pt x="792" y="1530"/>
                  </a:lnTo>
                  <a:lnTo>
                    <a:pt x="792" y="1518"/>
                  </a:lnTo>
                  <a:lnTo>
                    <a:pt x="792" y="1506"/>
                  </a:lnTo>
                  <a:lnTo>
                    <a:pt x="786" y="1500"/>
                  </a:lnTo>
                  <a:lnTo>
                    <a:pt x="774" y="1488"/>
                  </a:lnTo>
                  <a:lnTo>
                    <a:pt x="774" y="1482"/>
                  </a:lnTo>
                  <a:lnTo>
                    <a:pt x="762" y="1488"/>
                  </a:lnTo>
                  <a:lnTo>
                    <a:pt x="756" y="1494"/>
                  </a:lnTo>
                  <a:lnTo>
                    <a:pt x="744" y="1500"/>
                  </a:lnTo>
                  <a:lnTo>
                    <a:pt x="732" y="1506"/>
                  </a:lnTo>
                  <a:lnTo>
                    <a:pt x="726" y="1506"/>
                  </a:lnTo>
                  <a:lnTo>
                    <a:pt x="720" y="1506"/>
                  </a:lnTo>
                  <a:lnTo>
                    <a:pt x="702" y="1506"/>
                  </a:lnTo>
                  <a:lnTo>
                    <a:pt x="690" y="1500"/>
                  </a:lnTo>
                  <a:lnTo>
                    <a:pt x="678" y="1500"/>
                  </a:lnTo>
                  <a:lnTo>
                    <a:pt x="672" y="1500"/>
                  </a:lnTo>
                  <a:lnTo>
                    <a:pt x="660" y="1506"/>
                  </a:lnTo>
                  <a:lnTo>
                    <a:pt x="654" y="1506"/>
                  </a:lnTo>
                  <a:lnTo>
                    <a:pt x="648" y="1512"/>
                  </a:lnTo>
                  <a:lnTo>
                    <a:pt x="648" y="1518"/>
                  </a:lnTo>
                  <a:lnTo>
                    <a:pt x="618" y="1518"/>
                  </a:lnTo>
                  <a:lnTo>
                    <a:pt x="534" y="1494"/>
                  </a:lnTo>
                  <a:lnTo>
                    <a:pt x="528" y="1458"/>
                  </a:lnTo>
                  <a:lnTo>
                    <a:pt x="510" y="1458"/>
                  </a:lnTo>
                  <a:lnTo>
                    <a:pt x="492" y="1440"/>
                  </a:lnTo>
                  <a:lnTo>
                    <a:pt x="462" y="1440"/>
                  </a:lnTo>
                  <a:lnTo>
                    <a:pt x="456" y="1428"/>
                  </a:lnTo>
                  <a:lnTo>
                    <a:pt x="420" y="1428"/>
                  </a:lnTo>
                  <a:lnTo>
                    <a:pt x="390" y="1446"/>
                  </a:lnTo>
                  <a:lnTo>
                    <a:pt x="312" y="1452"/>
                  </a:lnTo>
                  <a:lnTo>
                    <a:pt x="300" y="1446"/>
                  </a:lnTo>
                  <a:lnTo>
                    <a:pt x="294" y="1446"/>
                  </a:lnTo>
                  <a:lnTo>
                    <a:pt x="288" y="1446"/>
                  </a:lnTo>
                  <a:lnTo>
                    <a:pt x="282" y="1440"/>
                  </a:lnTo>
                  <a:lnTo>
                    <a:pt x="276" y="1440"/>
                  </a:lnTo>
                  <a:lnTo>
                    <a:pt x="270" y="1440"/>
                  </a:lnTo>
                  <a:lnTo>
                    <a:pt x="264" y="1440"/>
                  </a:lnTo>
                  <a:lnTo>
                    <a:pt x="258" y="1434"/>
                  </a:lnTo>
                  <a:lnTo>
                    <a:pt x="252" y="1434"/>
                  </a:lnTo>
                  <a:lnTo>
                    <a:pt x="246" y="1428"/>
                  </a:lnTo>
                  <a:lnTo>
                    <a:pt x="240" y="1416"/>
                  </a:lnTo>
                  <a:lnTo>
                    <a:pt x="234" y="1404"/>
                  </a:lnTo>
                  <a:lnTo>
                    <a:pt x="228" y="1398"/>
                  </a:lnTo>
                  <a:lnTo>
                    <a:pt x="222" y="1398"/>
                  </a:lnTo>
                  <a:lnTo>
                    <a:pt x="216" y="1404"/>
                  </a:lnTo>
                  <a:lnTo>
                    <a:pt x="210" y="1404"/>
                  </a:lnTo>
                  <a:lnTo>
                    <a:pt x="204" y="1404"/>
                  </a:lnTo>
                  <a:lnTo>
                    <a:pt x="204" y="1398"/>
                  </a:lnTo>
                  <a:lnTo>
                    <a:pt x="198" y="1392"/>
                  </a:lnTo>
                  <a:lnTo>
                    <a:pt x="192" y="1386"/>
                  </a:lnTo>
                  <a:lnTo>
                    <a:pt x="168" y="1374"/>
                  </a:lnTo>
                  <a:lnTo>
                    <a:pt x="144" y="13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0" name="Freeform 35">
              <a:extLst>
                <a:ext uri="{FF2B5EF4-FFF2-40B4-BE49-F238E27FC236}">
                  <a16:creationId xmlns:a16="http://schemas.microsoft.com/office/drawing/2014/main" id="{F64BF16E-9D62-438E-A1CC-CD4088AC7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2895" y="1706004"/>
              <a:ext cx="767013" cy="785011"/>
            </a:xfrm>
            <a:custGeom>
              <a:avLst/>
              <a:gdLst>
                <a:gd name="T0" fmla="*/ 102 w 1440"/>
                <a:gd name="T1" fmla="*/ 104 h 1476"/>
                <a:gd name="T2" fmla="*/ 99 w 1440"/>
                <a:gd name="T3" fmla="*/ 108 h 1476"/>
                <a:gd name="T4" fmla="*/ 98 w 1440"/>
                <a:gd name="T5" fmla="*/ 112 h 1476"/>
                <a:gd name="T6" fmla="*/ 96 w 1440"/>
                <a:gd name="T7" fmla="*/ 116 h 1476"/>
                <a:gd name="T8" fmla="*/ 91 w 1440"/>
                <a:gd name="T9" fmla="*/ 118 h 1476"/>
                <a:gd name="T10" fmla="*/ 87 w 1440"/>
                <a:gd name="T11" fmla="*/ 120 h 1476"/>
                <a:gd name="T12" fmla="*/ 75 w 1440"/>
                <a:gd name="T13" fmla="*/ 120 h 1476"/>
                <a:gd name="T14" fmla="*/ 72 w 1440"/>
                <a:gd name="T15" fmla="*/ 123 h 1476"/>
                <a:gd name="T16" fmla="*/ 69 w 1440"/>
                <a:gd name="T17" fmla="*/ 128 h 1476"/>
                <a:gd name="T18" fmla="*/ 67 w 1440"/>
                <a:gd name="T19" fmla="*/ 127 h 1476"/>
                <a:gd name="T20" fmla="*/ 66 w 1440"/>
                <a:gd name="T21" fmla="*/ 123 h 1476"/>
                <a:gd name="T22" fmla="*/ 63 w 1440"/>
                <a:gd name="T23" fmla="*/ 119 h 1476"/>
                <a:gd name="T24" fmla="*/ 54 w 1440"/>
                <a:gd name="T25" fmla="*/ 114 h 1476"/>
                <a:gd name="T26" fmla="*/ 55 w 1440"/>
                <a:gd name="T27" fmla="*/ 106 h 1476"/>
                <a:gd name="T28" fmla="*/ 60 w 1440"/>
                <a:gd name="T29" fmla="*/ 100 h 1476"/>
                <a:gd name="T30" fmla="*/ 55 w 1440"/>
                <a:gd name="T31" fmla="*/ 91 h 1476"/>
                <a:gd name="T32" fmla="*/ 51 w 1440"/>
                <a:gd name="T33" fmla="*/ 86 h 1476"/>
                <a:gd name="T34" fmla="*/ 47 w 1440"/>
                <a:gd name="T35" fmla="*/ 85 h 1476"/>
                <a:gd name="T36" fmla="*/ 44 w 1440"/>
                <a:gd name="T37" fmla="*/ 82 h 1476"/>
                <a:gd name="T38" fmla="*/ 41 w 1440"/>
                <a:gd name="T39" fmla="*/ 83 h 1476"/>
                <a:gd name="T40" fmla="*/ 36 w 1440"/>
                <a:gd name="T41" fmla="*/ 83 h 1476"/>
                <a:gd name="T42" fmla="*/ 33 w 1440"/>
                <a:gd name="T43" fmla="*/ 83 h 1476"/>
                <a:gd name="T44" fmla="*/ 30 w 1440"/>
                <a:gd name="T45" fmla="*/ 83 h 1476"/>
                <a:gd name="T46" fmla="*/ 27 w 1440"/>
                <a:gd name="T47" fmla="*/ 83 h 1476"/>
                <a:gd name="T48" fmla="*/ 24 w 1440"/>
                <a:gd name="T49" fmla="*/ 82 h 1476"/>
                <a:gd name="T50" fmla="*/ 21 w 1440"/>
                <a:gd name="T51" fmla="*/ 80 h 1476"/>
                <a:gd name="T52" fmla="*/ 18 w 1440"/>
                <a:gd name="T53" fmla="*/ 79 h 1476"/>
                <a:gd name="T54" fmla="*/ 17 w 1440"/>
                <a:gd name="T55" fmla="*/ 78 h 1476"/>
                <a:gd name="T56" fmla="*/ 12 w 1440"/>
                <a:gd name="T57" fmla="*/ 78 h 1476"/>
                <a:gd name="T58" fmla="*/ 12 w 1440"/>
                <a:gd name="T59" fmla="*/ 78 h 1476"/>
                <a:gd name="T60" fmla="*/ 7 w 1440"/>
                <a:gd name="T61" fmla="*/ 80 h 1476"/>
                <a:gd name="T62" fmla="*/ 3 w 1440"/>
                <a:gd name="T63" fmla="*/ 81 h 1476"/>
                <a:gd name="T64" fmla="*/ 0 w 1440"/>
                <a:gd name="T65" fmla="*/ 76 h 1476"/>
                <a:gd name="T66" fmla="*/ 1 w 1440"/>
                <a:gd name="T67" fmla="*/ 50 h 1476"/>
                <a:gd name="T68" fmla="*/ 8 w 1440"/>
                <a:gd name="T69" fmla="*/ 48 h 1476"/>
                <a:gd name="T70" fmla="*/ 20 w 1440"/>
                <a:gd name="T71" fmla="*/ 49 h 1476"/>
                <a:gd name="T72" fmla="*/ 26 w 1440"/>
                <a:gd name="T73" fmla="*/ 50 h 1476"/>
                <a:gd name="T74" fmla="*/ 44 w 1440"/>
                <a:gd name="T75" fmla="*/ 47 h 1476"/>
                <a:gd name="T76" fmla="*/ 41 w 1440"/>
                <a:gd name="T77" fmla="*/ 24 h 1476"/>
                <a:gd name="T78" fmla="*/ 44 w 1440"/>
                <a:gd name="T79" fmla="*/ 20 h 1476"/>
                <a:gd name="T80" fmla="*/ 47 w 1440"/>
                <a:gd name="T81" fmla="*/ 18 h 1476"/>
                <a:gd name="T82" fmla="*/ 54 w 1440"/>
                <a:gd name="T83" fmla="*/ 21 h 1476"/>
                <a:gd name="T84" fmla="*/ 61 w 1440"/>
                <a:gd name="T85" fmla="*/ 23 h 1476"/>
                <a:gd name="T86" fmla="*/ 59 w 1440"/>
                <a:gd name="T87" fmla="*/ 14 h 1476"/>
                <a:gd name="T88" fmla="*/ 61 w 1440"/>
                <a:gd name="T89" fmla="*/ 8 h 1476"/>
                <a:gd name="T90" fmla="*/ 71 w 1440"/>
                <a:gd name="T91" fmla="*/ 7 h 1476"/>
                <a:gd name="T92" fmla="*/ 75 w 1440"/>
                <a:gd name="T93" fmla="*/ 0 h 1476"/>
                <a:gd name="T94" fmla="*/ 82 w 1440"/>
                <a:gd name="T95" fmla="*/ 3 h 1476"/>
                <a:gd name="T96" fmla="*/ 93 w 1440"/>
                <a:gd name="T97" fmla="*/ 5 h 1476"/>
                <a:gd name="T98" fmla="*/ 100 w 1440"/>
                <a:gd name="T99" fmla="*/ 1 h 1476"/>
                <a:gd name="T100" fmla="*/ 104 w 1440"/>
                <a:gd name="T101" fmla="*/ 4 h 1476"/>
                <a:gd name="T102" fmla="*/ 110 w 1440"/>
                <a:gd name="T103" fmla="*/ 10 h 1476"/>
                <a:gd name="T104" fmla="*/ 115 w 1440"/>
                <a:gd name="T105" fmla="*/ 23 h 1476"/>
                <a:gd name="T106" fmla="*/ 117 w 1440"/>
                <a:gd name="T107" fmla="*/ 42 h 1476"/>
                <a:gd name="T108" fmla="*/ 121 w 1440"/>
                <a:gd name="T109" fmla="*/ 52 h 1476"/>
                <a:gd name="T110" fmla="*/ 118 w 1440"/>
                <a:gd name="T111" fmla="*/ 62 h 1476"/>
                <a:gd name="T112" fmla="*/ 124 w 1440"/>
                <a:gd name="T113" fmla="*/ 66 h 1476"/>
                <a:gd name="T114" fmla="*/ 121 w 1440"/>
                <a:gd name="T115" fmla="*/ 71 h 1476"/>
                <a:gd name="T116" fmla="*/ 115 w 1440"/>
                <a:gd name="T117" fmla="*/ 76 h 1476"/>
                <a:gd name="T118" fmla="*/ 109 w 1440"/>
                <a:gd name="T119" fmla="*/ 76 h 1476"/>
                <a:gd name="T120" fmla="*/ 105 w 1440"/>
                <a:gd name="T121" fmla="*/ 86 h 1476"/>
                <a:gd name="T122" fmla="*/ 107 w 1440"/>
                <a:gd name="T123" fmla="*/ 97 h 147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40"/>
                <a:gd name="T187" fmla="*/ 0 h 1476"/>
                <a:gd name="T188" fmla="*/ 1440 w 1440"/>
                <a:gd name="T189" fmla="*/ 1476 h 147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40" h="1476">
                  <a:moveTo>
                    <a:pt x="1212" y="1164"/>
                  </a:moveTo>
                  <a:lnTo>
                    <a:pt x="1206" y="1170"/>
                  </a:lnTo>
                  <a:lnTo>
                    <a:pt x="1200" y="1176"/>
                  </a:lnTo>
                  <a:lnTo>
                    <a:pt x="1194" y="1176"/>
                  </a:lnTo>
                  <a:lnTo>
                    <a:pt x="1188" y="1188"/>
                  </a:lnTo>
                  <a:lnTo>
                    <a:pt x="1182" y="1194"/>
                  </a:lnTo>
                  <a:lnTo>
                    <a:pt x="1176" y="1194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64" y="1206"/>
                  </a:lnTo>
                  <a:lnTo>
                    <a:pt x="1158" y="1206"/>
                  </a:lnTo>
                  <a:lnTo>
                    <a:pt x="1152" y="1212"/>
                  </a:lnTo>
                  <a:lnTo>
                    <a:pt x="1146" y="1212"/>
                  </a:lnTo>
                  <a:lnTo>
                    <a:pt x="1140" y="1224"/>
                  </a:lnTo>
                  <a:lnTo>
                    <a:pt x="1134" y="1230"/>
                  </a:lnTo>
                  <a:lnTo>
                    <a:pt x="1128" y="1236"/>
                  </a:lnTo>
                  <a:lnTo>
                    <a:pt x="1128" y="1242"/>
                  </a:lnTo>
                  <a:lnTo>
                    <a:pt x="1128" y="1254"/>
                  </a:lnTo>
                  <a:lnTo>
                    <a:pt x="1128" y="1260"/>
                  </a:lnTo>
                  <a:lnTo>
                    <a:pt x="1122" y="1260"/>
                  </a:lnTo>
                  <a:lnTo>
                    <a:pt x="1122" y="1266"/>
                  </a:lnTo>
                  <a:lnTo>
                    <a:pt x="1128" y="1278"/>
                  </a:lnTo>
                  <a:lnTo>
                    <a:pt x="1122" y="1278"/>
                  </a:lnTo>
                  <a:lnTo>
                    <a:pt x="1122" y="1284"/>
                  </a:lnTo>
                  <a:lnTo>
                    <a:pt x="1128" y="1290"/>
                  </a:lnTo>
                  <a:lnTo>
                    <a:pt x="1122" y="1296"/>
                  </a:lnTo>
                  <a:lnTo>
                    <a:pt x="1122" y="1302"/>
                  </a:lnTo>
                  <a:lnTo>
                    <a:pt x="1116" y="1302"/>
                  </a:lnTo>
                  <a:lnTo>
                    <a:pt x="1110" y="1314"/>
                  </a:lnTo>
                  <a:lnTo>
                    <a:pt x="1110" y="1320"/>
                  </a:lnTo>
                  <a:lnTo>
                    <a:pt x="1110" y="1326"/>
                  </a:lnTo>
                  <a:lnTo>
                    <a:pt x="1098" y="1332"/>
                  </a:lnTo>
                  <a:lnTo>
                    <a:pt x="1092" y="1338"/>
                  </a:lnTo>
                  <a:lnTo>
                    <a:pt x="1092" y="1344"/>
                  </a:lnTo>
                  <a:lnTo>
                    <a:pt x="1086" y="1350"/>
                  </a:lnTo>
                  <a:lnTo>
                    <a:pt x="1080" y="1350"/>
                  </a:lnTo>
                  <a:lnTo>
                    <a:pt x="1074" y="1350"/>
                  </a:lnTo>
                  <a:lnTo>
                    <a:pt x="1068" y="1356"/>
                  </a:lnTo>
                  <a:lnTo>
                    <a:pt x="1062" y="1356"/>
                  </a:lnTo>
                  <a:lnTo>
                    <a:pt x="1044" y="1356"/>
                  </a:lnTo>
                  <a:lnTo>
                    <a:pt x="1038" y="1362"/>
                  </a:lnTo>
                  <a:lnTo>
                    <a:pt x="1032" y="1368"/>
                  </a:lnTo>
                  <a:lnTo>
                    <a:pt x="1026" y="1368"/>
                  </a:lnTo>
                  <a:lnTo>
                    <a:pt x="1020" y="1374"/>
                  </a:lnTo>
                  <a:lnTo>
                    <a:pt x="1008" y="1374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74"/>
                  </a:lnTo>
                  <a:lnTo>
                    <a:pt x="978" y="1380"/>
                  </a:lnTo>
                  <a:lnTo>
                    <a:pt x="972" y="1380"/>
                  </a:lnTo>
                  <a:lnTo>
                    <a:pt x="954" y="1368"/>
                  </a:lnTo>
                  <a:lnTo>
                    <a:pt x="930" y="1368"/>
                  </a:lnTo>
                  <a:lnTo>
                    <a:pt x="918" y="1368"/>
                  </a:lnTo>
                  <a:lnTo>
                    <a:pt x="906" y="1368"/>
                  </a:lnTo>
                  <a:lnTo>
                    <a:pt x="894" y="1368"/>
                  </a:lnTo>
                  <a:lnTo>
                    <a:pt x="864" y="1374"/>
                  </a:lnTo>
                  <a:lnTo>
                    <a:pt x="852" y="1374"/>
                  </a:lnTo>
                  <a:lnTo>
                    <a:pt x="846" y="1386"/>
                  </a:lnTo>
                  <a:lnTo>
                    <a:pt x="846" y="1392"/>
                  </a:lnTo>
                  <a:lnTo>
                    <a:pt x="840" y="1398"/>
                  </a:lnTo>
                  <a:lnTo>
                    <a:pt x="840" y="1404"/>
                  </a:lnTo>
                  <a:lnTo>
                    <a:pt x="834" y="1416"/>
                  </a:lnTo>
                  <a:lnTo>
                    <a:pt x="828" y="1416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04" y="1428"/>
                  </a:lnTo>
                  <a:lnTo>
                    <a:pt x="804" y="1434"/>
                  </a:lnTo>
                  <a:lnTo>
                    <a:pt x="804" y="1440"/>
                  </a:lnTo>
                  <a:lnTo>
                    <a:pt x="798" y="1446"/>
                  </a:lnTo>
                  <a:lnTo>
                    <a:pt x="798" y="1458"/>
                  </a:lnTo>
                  <a:lnTo>
                    <a:pt x="792" y="1464"/>
                  </a:lnTo>
                  <a:lnTo>
                    <a:pt x="786" y="1476"/>
                  </a:lnTo>
                  <a:lnTo>
                    <a:pt x="780" y="1470"/>
                  </a:lnTo>
                  <a:lnTo>
                    <a:pt x="774" y="1470"/>
                  </a:lnTo>
                  <a:lnTo>
                    <a:pt x="768" y="1470"/>
                  </a:lnTo>
                  <a:lnTo>
                    <a:pt x="762" y="1476"/>
                  </a:lnTo>
                  <a:lnTo>
                    <a:pt x="762" y="1470"/>
                  </a:lnTo>
                  <a:lnTo>
                    <a:pt x="762" y="1464"/>
                  </a:lnTo>
                  <a:lnTo>
                    <a:pt x="762" y="1458"/>
                  </a:lnTo>
                  <a:lnTo>
                    <a:pt x="756" y="1458"/>
                  </a:lnTo>
                  <a:lnTo>
                    <a:pt x="756" y="1452"/>
                  </a:lnTo>
                  <a:lnTo>
                    <a:pt x="756" y="1446"/>
                  </a:lnTo>
                  <a:lnTo>
                    <a:pt x="756" y="1440"/>
                  </a:lnTo>
                  <a:lnTo>
                    <a:pt x="750" y="1434"/>
                  </a:lnTo>
                  <a:lnTo>
                    <a:pt x="750" y="1428"/>
                  </a:lnTo>
                  <a:lnTo>
                    <a:pt x="750" y="1422"/>
                  </a:lnTo>
                  <a:lnTo>
                    <a:pt x="750" y="1416"/>
                  </a:lnTo>
                  <a:lnTo>
                    <a:pt x="744" y="1416"/>
                  </a:lnTo>
                  <a:lnTo>
                    <a:pt x="744" y="1410"/>
                  </a:lnTo>
                  <a:lnTo>
                    <a:pt x="738" y="1404"/>
                  </a:lnTo>
                  <a:lnTo>
                    <a:pt x="732" y="1398"/>
                  </a:lnTo>
                  <a:lnTo>
                    <a:pt x="732" y="1392"/>
                  </a:lnTo>
                  <a:lnTo>
                    <a:pt x="726" y="1386"/>
                  </a:lnTo>
                  <a:lnTo>
                    <a:pt x="726" y="1380"/>
                  </a:lnTo>
                  <a:lnTo>
                    <a:pt x="714" y="1368"/>
                  </a:lnTo>
                  <a:lnTo>
                    <a:pt x="708" y="1368"/>
                  </a:lnTo>
                  <a:lnTo>
                    <a:pt x="684" y="1332"/>
                  </a:lnTo>
                  <a:lnTo>
                    <a:pt x="666" y="1320"/>
                  </a:lnTo>
                  <a:lnTo>
                    <a:pt x="648" y="1302"/>
                  </a:lnTo>
                  <a:lnTo>
                    <a:pt x="630" y="1314"/>
                  </a:lnTo>
                  <a:lnTo>
                    <a:pt x="624" y="1314"/>
                  </a:lnTo>
                  <a:lnTo>
                    <a:pt x="624" y="1308"/>
                  </a:lnTo>
                  <a:lnTo>
                    <a:pt x="618" y="1308"/>
                  </a:lnTo>
                  <a:lnTo>
                    <a:pt x="612" y="1284"/>
                  </a:lnTo>
                  <a:lnTo>
                    <a:pt x="606" y="1254"/>
                  </a:lnTo>
                  <a:lnTo>
                    <a:pt x="606" y="1248"/>
                  </a:lnTo>
                  <a:lnTo>
                    <a:pt x="606" y="1242"/>
                  </a:lnTo>
                  <a:lnTo>
                    <a:pt x="612" y="1242"/>
                  </a:lnTo>
                  <a:lnTo>
                    <a:pt x="618" y="1236"/>
                  </a:lnTo>
                  <a:lnTo>
                    <a:pt x="618" y="1230"/>
                  </a:lnTo>
                  <a:lnTo>
                    <a:pt x="624" y="1224"/>
                  </a:lnTo>
                  <a:lnTo>
                    <a:pt x="630" y="1224"/>
                  </a:lnTo>
                  <a:lnTo>
                    <a:pt x="636" y="1218"/>
                  </a:lnTo>
                  <a:lnTo>
                    <a:pt x="636" y="1212"/>
                  </a:lnTo>
                  <a:lnTo>
                    <a:pt x="612" y="1200"/>
                  </a:lnTo>
                  <a:lnTo>
                    <a:pt x="606" y="1182"/>
                  </a:lnTo>
                  <a:lnTo>
                    <a:pt x="672" y="1182"/>
                  </a:lnTo>
                  <a:lnTo>
                    <a:pt x="690" y="1170"/>
                  </a:lnTo>
                  <a:lnTo>
                    <a:pt x="690" y="1152"/>
                  </a:lnTo>
                  <a:lnTo>
                    <a:pt x="678" y="1110"/>
                  </a:lnTo>
                  <a:lnTo>
                    <a:pt x="672" y="1092"/>
                  </a:lnTo>
                  <a:lnTo>
                    <a:pt x="660" y="1074"/>
                  </a:lnTo>
                  <a:lnTo>
                    <a:pt x="648" y="1068"/>
                  </a:lnTo>
                  <a:lnTo>
                    <a:pt x="642" y="1068"/>
                  </a:lnTo>
                  <a:lnTo>
                    <a:pt x="636" y="1062"/>
                  </a:lnTo>
                  <a:lnTo>
                    <a:pt x="624" y="1056"/>
                  </a:lnTo>
                  <a:lnTo>
                    <a:pt x="624" y="1050"/>
                  </a:lnTo>
                  <a:lnTo>
                    <a:pt x="618" y="1038"/>
                  </a:lnTo>
                  <a:lnTo>
                    <a:pt x="612" y="1038"/>
                  </a:lnTo>
                  <a:lnTo>
                    <a:pt x="612" y="1032"/>
                  </a:lnTo>
                  <a:lnTo>
                    <a:pt x="612" y="1026"/>
                  </a:lnTo>
                  <a:lnTo>
                    <a:pt x="600" y="1014"/>
                  </a:lnTo>
                  <a:lnTo>
                    <a:pt x="582" y="1008"/>
                  </a:lnTo>
                  <a:lnTo>
                    <a:pt x="576" y="1002"/>
                  </a:lnTo>
                  <a:lnTo>
                    <a:pt x="576" y="996"/>
                  </a:lnTo>
                  <a:lnTo>
                    <a:pt x="570" y="996"/>
                  </a:lnTo>
                  <a:lnTo>
                    <a:pt x="570" y="990"/>
                  </a:lnTo>
                  <a:lnTo>
                    <a:pt x="570" y="984"/>
                  </a:lnTo>
                  <a:lnTo>
                    <a:pt x="564" y="984"/>
                  </a:lnTo>
                  <a:lnTo>
                    <a:pt x="558" y="978"/>
                  </a:lnTo>
                  <a:lnTo>
                    <a:pt x="552" y="972"/>
                  </a:lnTo>
                  <a:lnTo>
                    <a:pt x="552" y="966"/>
                  </a:lnTo>
                  <a:lnTo>
                    <a:pt x="546" y="972"/>
                  </a:lnTo>
                  <a:lnTo>
                    <a:pt x="540" y="972"/>
                  </a:lnTo>
                  <a:lnTo>
                    <a:pt x="534" y="960"/>
                  </a:lnTo>
                  <a:lnTo>
                    <a:pt x="528" y="960"/>
                  </a:lnTo>
                  <a:lnTo>
                    <a:pt x="528" y="966"/>
                  </a:lnTo>
                  <a:lnTo>
                    <a:pt x="516" y="954"/>
                  </a:lnTo>
                  <a:lnTo>
                    <a:pt x="516" y="948"/>
                  </a:lnTo>
                  <a:lnTo>
                    <a:pt x="510" y="948"/>
                  </a:lnTo>
                  <a:lnTo>
                    <a:pt x="504" y="948"/>
                  </a:lnTo>
                  <a:lnTo>
                    <a:pt x="498" y="948"/>
                  </a:lnTo>
                  <a:lnTo>
                    <a:pt x="504" y="954"/>
                  </a:lnTo>
                  <a:lnTo>
                    <a:pt x="498" y="954"/>
                  </a:lnTo>
                  <a:lnTo>
                    <a:pt x="492" y="954"/>
                  </a:lnTo>
                  <a:lnTo>
                    <a:pt x="480" y="942"/>
                  </a:lnTo>
                  <a:lnTo>
                    <a:pt x="480" y="948"/>
                  </a:lnTo>
                  <a:lnTo>
                    <a:pt x="480" y="954"/>
                  </a:lnTo>
                  <a:lnTo>
                    <a:pt x="474" y="954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56" y="966"/>
                  </a:lnTo>
                  <a:lnTo>
                    <a:pt x="456" y="960"/>
                  </a:lnTo>
                  <a:lnTo>
                    <a:pt x="450" y="966"/>
                  </a:lnTo>
                  <a:lnTo>
                    <a:pt x="444" y="966"/>
                  </a:lnTo>
                  <a:lnTo>
                    <a:pt x="414" y="966"/>
                  </a:lnTo>
                  <a:lnTo>
                    <a:pt x="408" y="960"/>
                  </a:lnTo>
                  <a:lnTo>
                    <a:pt x="408" y="966"/>
                  </a:lnTo>
                  <a:lnTo>
                    <a:pt x="402" y="960"/>
                  </a:lnTo>
                  <a:lnTo>
                    <a:pt x="396" y="960"/>
                  </a:lnTo>
                  <a:lnTo>
                    <a:pt x="390" y="960"/>
                  </a:lnTo>
                  <a:lnTo>
                    <a:pt x="390" y="966"/>
                  </a:lnTo>
                  <a:lnTo>
                    <a:pt x="384" y="966"/>
                  </a:lnTo>
                  <a:lnTo>
                    <a:pt x="378" y="966"/>
                  </a:lnTo>
                  <a:lnTo>
                    <a:pt x="384" y="960"/>
                  </a:lnTo>
                  <a:lnTo>
                    <a:pt x="384" y="954"/>
                  </a:lnTo>
                  <a:lnTo>
                    <a:pt x="372" y="948"/>
                  </a:lnTo>
                  <a:lnTo>
                    <a:pt x="372" y="954"/>
                  </a:lnTo>
                  <a:lnTo>
                    <a:pt x="372" y="960"/>
                  </a:lnTo>
                  <a:lnTo>
                    <a:pt x="366" y="960"/>
                  </a:lnTo>
                  <a:lnTo>
                    <a:pt x="360" y="966"/>
                  </a:lnTo>
                  <a:lnTo>
                    <a:pt x="354" y="966"/>
                  </a:lnTo>
                  <a:lnTo>
                    <a:pt x="348" y="960"/>
                  </a:lnTo>
                  <a:lnTo>
                    <a:pt x="342" y="960"/>
                  </a:lnTo>
                  <a:lnTo>
                    <a:pt x="342" y="966"/>
                  </a:lnTo>
                  <a:lnTo>
                    <a:pt x="336" y="972"/>
                  </a:lnTo>
                  <a:lnTo>
                    <a:pt x="330" y="972"/>
                  </a:lnTo>
                  <a:lnTo>
                    <a:pt x="324" y="966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6" y="954"/>
                  </a:lnTo>
                  <a:lnTo>
                    <a:pt x="306" y="948"/>
                  </a:lnTo>
                  <a:lnTo>
                    <a:pt x="306" y="942"/>
                  </a:lnTo>
                  <a:lnTo>
                    <a:pt x="300" y="942"/>
                  </a:lnTo>
                  <a:lnTo>
                    <a:pt x="294" y="936"/>
                  </a:lnTo>
                  <a:lnTo>
                    <a:pt x="288" y="936"/>
                  </a:lnTo>
                  <a:lnTo>
                    <a:pt x="282" y="942"/>
                  </a:lnTo>
                  <a:lnTo>
                    <a:pt x="276" y="936"/>
                  </a:lnTo>
                  <a:lnTo>
                    <a:pt x="276" y="942"/>
                  </a:lnTo>
                  <a:lnTo>
                    <a:pt x="270" y="942"/>
                  </a:lnTo>
                  <a:lnTo>
                    <a:pt x="264" y="936"/>
                  </a:lnTo>
                  <a:lnTo>
                    <a:pt x="252" y="936"/>
                  </a:lnTo>
                  <a:lnTo>
                    <a:pt x="246" y="936"/>
                  </a:lnTo>
                  <a:lnTo>
                    <a:pt x="240" y="936"/>
                  </a:lnTo>
                  <a:lnTo>
                    <a:pt x="234" y="936"/>
                  </a:lnTo>
                  <a:lnTo>
                    <a:pt x="240" y="924"/>
                  </a:lnTo>
                  <a:lnTo>
                    <a:pt x="234" y="924"/>
                  </a:lnTo>
                  <a:lnTo>
                    <a:pt x="228" y="918"/>
                  </a:lnTo>
                  <a:lnTo>
                    <a:pt x="228" y="906"/>
                  </a:lnTo>
                  <a:lnTo>
                    <a:pt x="222" y="900"/>
                  </a:lnTo>
                  <a:lnTo>
                    <a:pt x="216" y="900"/>
                  </a:lnTo>
                  <a:lnTo>
                    <a:pt x="210" y="900"/>
                  </a:lnTo>
                  <a:lnTo>
                    <a:pt x="210" y="906"/>
                  </a:lnTo>
                  <a:lnTo>
                    <a:pt x="204" y="906"/>
                  </a:lnTo>
                  <a:lnTo>
                    <a:pt x="198" y="906"/>
                  </a:lnTo>
                  <a:lnTo>
                    <a:pt x="210" y="900"/>
                  </a:lnTo>
                  <a:lnTo>
                    <a:pt x="210" y="894"/>
                  </a:lnTo>
                  <a:lnTo>
                    <a:pt x="216" y="888"/>
                  </a:lnTo>
                  <a:lnTo>
                    <a:pt x="204" y="882"/>
                  </a:lnTo>
                  <a:lnTo>
                    <a:pt x="204" y="894"/>
                  </a:lnTo>
                  <a:lnTo>
                    <a:pt x="198" y="894"/>
                  </a:lnTo>
                  <a:lnTo>
                    <a:pt x="192" y="900"/>
                  </a:lnTo>
                  <a:lnTo>
                    <a:pt x="186" y="894"/>
                  </a:lnTo>
                  <a:lnTo>
                    <a:pt x="180" y="894"/>
                  </a:lnTo>
                  <a:lnTo>
                    <a:pt x="174" y="894"/>
                  </a:lnTo>
                  <a:lnTo>
                    <a:pt x="168" y="900"/>
                  </a:lnTo>
                  <a:lnTo>
                    <a:pt x="162" y="906"/>
                  </a:lnTo>
                  <a:lnTo>
                    <a:pt x="156" y="906"/>
                  </a:lnTo>
                  <a:lnTo>
                    <a:pt x="150" y="900"/>
                  </a:lnTo>
                  <a:lnTo>
                    <a:pt x="144" y="894"/>
                  </a:lnTo>
                  <a:lnTo>
                    <a:pt x="138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0" y="888"/>
                  </a:lnTo>
                  <a:lnTo>
                    <a:pt x="114" y="894"/>
                  </a:lnTo>
                  <a:lnTo>
                    <a:pt x="120" y="900"/>
                  </a:lnTo>
                  <a:lnTo>
                    <a:pt x="126" y="900"/>
                  </a:lnTo>
                  <a:lnTo>
                    <a:pt x="132" y="900"/>
                  </a:lnTo>
                  <a:lnTo>
                    <a:pt x="132" y="906"/>
                  </a:lnTo>
                  <a:lnTo>
                    <a:pt x="126" y="912"/>
                  </a:lnTo>
                  <a:lnTo>
                    <a:pt x="126" y="918"/>
                  </a:lnTo>
                  <a:lnTo>
                    <a:pt x="114" y="918"/>
                  </a:lnTo>
                  <a:lnTo>
                    <a:pt x="108" y="924"/>
                  </a:lnTo>
                  <a:lnTo>
                    <a:pt x="102" y="924"/>
                  </a:lnTo>
                  <a:lnTo>
                    <a:pt x="90" y="924"/>
                  </a:lnTo>
                  <a:lnTo>
                    <a:pt x="84" y="924"/>
                  </a:lnTo>
                  <a:lnTo>
                    <a:pt x="78" y="924"/>
                  </a:lnTo>
                  <a:lnTo>
                    <a:pt x="60" y="924"/>
                  </a:lnTo>
                  <a:lnTo>
                    <a:pt x="54" y="942"/>
                  </a:lnTo>
                  <a:lnTo>
                    <a:pt x="48" y="936"/>
                  </a:lnTo>
                  <a:lnTo>
                    <a:pt x="42" y="930"/>
                  </a:lnTo>
                  <a:lnTo>
                    <a:pt x="36" y="930"/>
                  </a:lnTo>
                  <a:lnTo>
                    <a:pt x="30" y="936"/>
                  </a:lnTo>
                  <a:lnTo>
                    <a:pt x="30" y="930"/>
                  </a:lnTo>
                  <a:lnTo>
                    <a:pt x="30" y="924"/>
                  </a:lnTo>
                  <a:lnTo>
                    <a:pt x="18" y="918"/>
                  </a:lnTo>
                  <a:lnTo>
                    <a:pt x="18" y="912"/>
                  </a:lnTo>
                  <a:lnTo>
                    <a:pt x="12" y="912"/>
                  </a:lnTo>
                  <a:lnTo>
                    <a:pt x="6" y="912"/>
                  </a:lnTo>
                  <a:lnTo>
                    <a:pt x="6" y="900"/>
                  </a:lnTo>
                  <a:lnTo>
                    <a:pt x="6" y="894"/>
                  </a:lnTo>
                  <a:lnTo>
                    <a:pt x="0" y="870"/>
                  </a:lnTo>
                  <a:lnTo>
                    <a:pt x="6" y="846"/>
                  </a:lnTo>
                  <a:lnTo>
                    <a:pt x="6" y="810"/>
                  </a:lnTo>
                  <a:lnTo>
                    <a:pt x="12" y="774"/>
                  </a:lnTo>
                  <a:lnTo>
                    <a:pt x="12" y="756"/>
                  </a:lnTo>
                  <a:lnTo>
                    <a:pt x="18" y="744"/>
                  </a:lnTo>
                  <a:lnTo>
                    <a:pt x="18" y="732"/>
                  </a:lnTo>
                  <a:lnTo>
                    <a:pt x="12" y="576"/>
                  </a:lnTo>
                  <a:lnTo>
                    <a:pt x="12" y="570"/>
                  </a:lnTo>
                  <a:lnTo>
                    <a:pt x="18" y="564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42" y="552"/>
                  </a:lnTo>
                  <a:lnTo>
                    <a:pt x="66" y="552"/>
                  </a:lnTo>
                  <a:lnTo>
                    <a:pt x="78" y="558"/>
                  </a:lnTo>
                  <a:lnTo>
                    <a:pt x="90" y="558"/>
                  </a:lnTo>
                  <a:lnTo>
                    <a:pt x="108" y="558"/>
                  </a:lnTo>
                  <a:lnTo>
                    <a:pt x="144" y="558"/>
                  </a:lnTo>
                  <a:lnTo>
                    <a:pt x="204" y="552"/>
                  </a:lnTo>
                  <a:lnTo>
                    <a:pt x="210" y="558"/>
                  </a:lnTo>
                  <a:lnTo>
                    <a:pt x="216" y="558"/>
                  </a:lnTo>
                  <a:lnTo>
                    <a:pt x="210" y="564"/>
                  </a:lnTo>
                  <a:lnTo>
                    <a:pt x="216" y="564"/>
                  </a:lnTo>
                  <a:lnTo>
                    <a:pt x="222" y="564"/>
                  </a:lnTo>
                  <a:lnTo>
                    <a:pt x="240" y="564"/>
                  </a:lnTo>
                  <a:lnTo>
                    <a:pt x="258" y="564"/>
                  </a:lnTo>
                  <a:lnTo>
                    <a:pt x="264" y="570"/>
                  </a:lnTo>
                  <a:lnTo>
                    <a:pt x="276" y="570"/>
                  </a:lnTo>
                  <a:lnTo>
                    <a:pt x="282" y="564"/>
                  </a:lnTo>
                  <a:lnTo>
                    <a:pt x="294" y="564"/>
                  </a:lnTo>
                  <a:lnTo>
                    <a:pt x="294" y="570"/>
                  </a:lnTo>
                  <a:lnTo>
                    <a:pt x="300" y="570"/>
                  </a:lnTo>
                  <a:lnTo>
                    <a:pt x="378" y="564"/>
                  </a:lnTo>
                  <a:lnTo>
                    <a:pt x="408" y="558"/>
                  </a:lnTo>
                  <a:lnTo>
                    <a:pt x="432" y="552"/>
                  </a:lnTo>
                  <a:lnTo>
                    <a:pt x="450" y="546"/>
                  </a:lnTo>
                  <a:lnTo>
                    <a:pt x="468" y="546"/>
                  </a:lnTo>
                  <a:lnTo>
                    <a:pt x="468" y="552"/>
                  </a:lnTo>
                  <a:lnTo>
                    <a:pt x="504" y="552"/>
                  </a:lnTo>
                  <a:lnTo>
                    <a:pt x="510" y="534"/>
                  </a:lnTo>
                  <a:lnTo>
                    <a:pt x="516" y="510"/>
                  </a:lnTo>
                  <a:lnTo>
                    <a:pt x="522" y="510"/>
                  </a:lnTo>
                  <a:lnTo>
                    <a:pt x="528" y="420"/>
                  </a:lnTo>
                  <a:lnTo>
                    <a:pt x="522" y="414"/>
                  </a:lnTo>
                  <a:lnTo>
                    <a:pt x="516" y="396"/>
                  </a:lnTo>
                  <a:lnTo>
                    <a:pt x="510" y="372"/>
                  </a:lnTo>
                  <a:lnTo>
                    <a:pt x="498" y="348"/>
                  </a:lnTo>
                  <a:lnTo>
                    <a:pt x="474" y="282"/>
                  </a:lnTo>
                  <a:lnTo>
                    <a:pt x="474" y="270"/>
                  </a:lnTo>
                  <a:lnTo>
                    <a:pt x="480" y="258"/>
                  </a:lnTo>
                  <a:lnTo>
                    <a:pt x="486" y="258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92" y="246"/>
                  </a:lnTo>
                  <a:lnTo>
                    <a:pt x="504" y="234"/>
                  </a:lnTo>
                  <a:lnTo>
                    <a:pt x="510" y="228"/>
                  </a:lnTo>
                  <a:lnTo>
                    <a:pt x="516" y="228"/>
                  </a:lnTo>
                  <a:lnTo>
                    <a:pt x="516" y="222"/>
                  </a:lnTo>
                  <a:lnTo>
                    <a:pt x="516" y="216"/>
                  </a:lnTo>
                  <a:lnTo>
                    <a:pt x="522" y="216"/>
                  </a:lnTo>
                  <a:lnTo>
                    <a:pt x="528" y="210"/>
                  </a:lnTo>
                  <a:lnTo>
                    <a:pt x="534" y="210"/>
                  </a:lnTo>
                  <a:lnTo>
                    <a:pt x="540" y="210"/>
                  </a:lnTo>
                  <a:lnTo>
                    <a:pt x="546" y="210"/>
                  </a:lnTo>
                  <a:lnTo>
                    <a:pt x="552" y="210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16"/>
                  </a:lnTo>
                  <a:lnTo>
                    <a:pt x="588" y="228"/>
                  </a:lnTo>
                  <a:lnTo>
                    <a:pt x="594" y="234"/>
                  </a:lnTo>
                  <a:lnTo>
                    <a:pt x="600" y="240"/>
                  </a:lnTo>
                  <a:lnTo>
                    <a:pt x="618" y="246"/>
                  </a:lnTo>
                  <a:lnTo>
                    <a:pt x="624" y="246"/>
                  </a:lnTo>
                  <a:lnTo>
                    <a:pt x="636" y="252"/>
                  </a:lnTo>
                  <a:lnTo>
                    <a:pt x="654" y="252"/>
                  </a:lnTo>
                  <a:lnTo>
                    <a:pt x="654" y="258"/>
                  </a:lnTo>
                  <a:lnTo>
                    <a:pt x="666" y="264"/>
                  </a:lnTo>
                  <a:lnTo>
                    <a:pt x="672" y="264"/>
                  </a:lnTo>
                  <a:lnTo>
                    <a:pt x="678" y="264"/>
                  </a:lnTo>
                  <a:lnTo>
                    <a:pt x="696" y="258"/>
                  </a:lnTo>
                  <a:lnTo>
                    <a:pt x="696" y="252"/>
                  </a:lnTo>
                  <a:lnTo>
                    <a:pt x="696" y="246"/>
                  </a:lnTo>
                  <a:lnTo>
                    <a:pt x="690" y="234"/>
                  </a:lnTo>
                  <a:lnTo>
                    <a:pt x="684" y="210"/>
                  </a:lnTo>
                  <a:lnTo>
                    <a:pt x="678" y="192"/>
                  </a:lnTo>
                  <a:lnTo>
                    <a:pt x="672" y="174"/>
                  </a:lnTo>
                  <a:lnTo>
                    <a:pt x="672" y="168"/>
                  </a:lnTo>
                  <a:lnTo>
                    <a:pt x="672" y="162"/>
                  </a:lnTo>
                  <a:lnTo>
                    <a:pt x="672" y="156"/>
                  </a:lnTo>
                  <a:lnTo>
                    <a:pt x="684" y="132"/>
                  </a:lnTo>
                  <a:lnTo>
                    <a:pt x="684" y="120"/>
                  </a:lnTo>
                  <a:lnTo>
                    <a:pt x="684" y="108"/>
                  </a:lnTo>
                  <a:lnTo>
                    <a:pt x="678" y="102"/>
                  </a:lnTo>
                  <a:lnTo>
                    <a:pt x="678" y="96"/>
                  </a:lnTo>
                  <a:lnTo>
                    <a:pt x="684" y="96"/>
                  </a:lnTo>
                  <a:lnTo>
                    <a:pt x="696" y="90"/>
                  </a:lnTo>
                  <a:lnTo>
                    <a:pt x="702" y="84"/>
                  </a:lnTo>
                  <a:lnTo>
                    <a:pt x="720" y="72"/>
                  </a:lnTo>
                  <a:lnTo>
                    <a:pt x="738" y="66"/>
                  </a:lnTo>
                  <a:lnTo>
                    <a:pt x="756" y="60"/>
                  </a:lnTo>
                  <a:lnTo>
                    <a:pt x="768" y="60"/>
                  </a:lnTo>
                  <a:lnTo>
                    <a:pt x="798" y="72"/>
                  </a:lnTo>
                  <a:lnTo>
                    <a:pt x="804" y="78"/>
                  </a:lnTo>
                  <a:lnTo>
                    <a:pt x="816" y="84"/>
                  </a:lnTo>
                  <a:lnTo>
                    <a:pt x="822" y="84"/>
                  </a:lnTo>
                  <a:lnTo>
                    <a:pt x="828" y="72"/>
                  </a:lnTo>
                  <a:lnTo>
                    <a:pt x="828" y="60"/>
                  </a:lnTo>
                  <a:lnTo>
                    <a:pt x="828" y="36"/>
                  </a:lnTo>
                  <a:lnTo>
                    <a:pt x="828" y="24"/>
                  </a:lnTo>
                  <a:lnTo>
                    <a:pt x="828" y="12"/>
                  </a:lnTo>
                  <a:lnTo>
                    <a:pt x="834" y="12"/>
                  </a:lnTo>
                  <a:lnTo>
                    <a:pt x="852" y="6"/>
                  </a:lnTo>
                  <a:lnTo>
                    <a:pt x="876" y="6"/>
                  </a:lnTo>
                  <a:lnTo>
                    <a:pt x="894" y="6"/>
                  </a:lnTo>
                  <a:lnTo>
                    <a:pt x="906" y="12"/>
                  </a:lnTo>
                  <a:lnTo>
                    <a:pt x="912" y="24"/>
                  </a:lnTo>
                  <a:lnTo>
                    <a:pt x="924" y="24"/>
                  </a:lnTo>
                  <a:lnTo>
                    <a:pt x="930" y="30"/>
                  </a:lnTo>
                  <a:lnTo>
                    <a:pt x="936" y="30"/>
                  </a:lnTo>
                  <a:lnTo>
                    <a:pt x="936" y="36"/>
                  </a:lnTo>
                  <a:lnTo>
                    <a:pt x="942" y="36"/>
                  </a:lnTo>
                  <a:lnTo>
                    <a:pt x="948" y="42"/>
                  </a:lnTo>
                  <a:lnTo>
                    <a:pt x="960" y="48"/>
                  </a:lnTo>
                  <a:lnTo>
                    <a:pt x="966" y="48"/>
                  </a:lnTo>
                  <a:lnTo>
                    <a:pt x="1026" y="60"/>
                  </a:lnTo>
                  <a:lnTo>
                    <a:pt x="1050" y="60"/>
                  </a:lnTo>
                  <a:lnTo>
                    <a:pt x="1050" y="54"/>
                  </a:lnTo>
                  <a:lnTo>
                    <a:pt x="1062" y="54"/>
                  </a:lnTo>
                  <a:lnTo>
                    <a:pt x="1074" y="48"/>
                  </a:lnTo>
                  <a:lnTo>
                    <a:pt x="1086" y="42"/>
                  </a:lnTo>
                  <a:lnTo>
                    <a:pt x="1104" y="36"/>
                  </a:lnTo>
                  <a:lnTo>
                    <a:pt x="1116" y="30"/>
                  </a:lnTo>
                  <a:lnTo>
                    <a:pt x="1122" y="24"/>
                  </a:lnTo>
                  <a:lnTo>
                    <a:pt x="1128" y="18"/>
                  </a:lnTo>
                  <a:lnTo>
                    <a:pt x="1134" y="18"/>
                  </a:lnTo>
                  <a:lnTo>
                    <a:pt x="1140" y="12"/>
                  </a:lnTo>
                  <a:lnTo>
                    <a:pt x="1146" y="6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24"/>
                  </a:lnTo>
                  <a:lnTo>
                    <a:pt x="1176" y="36"/>
                  </a:lnTo>
                  <a:lnTo>
                    <a:pt x="1188" y="42"/>
                  </a:lnTo>
                  <a:lnTo>
                    <a:pt x="1200" y="54"/>
                  </a:lnTo>
                  <a:lnTo>
                    <a:pt x="1224" y="84"/>
                  </a:lnTo>
                  <a:lnTo>
                    <a:pt x="1224" y="90"/>
                  </a:lnTo>
                  <a:lnTo>
                    <a:pt x="1236" y="96"/>
                  </a:lnTo>
                  <a:lnTo>
                    <a:pt x="1236" y="108"/>
                  </a:lnTo>
                  <a:lnTo>
                    <a:pt x="1248" y="114"/>
                  </a:lnTo>
                  <a:lnTo>
                    <a:pt x="1254" y="114"/>
                  </a:lnTo>
                  <a:lnTo>
                    <a:pt x="1260" y="114"/>
                  </a:lnTo>
                  <a:lnTo>
                    <a:pt x="1296" y="114"/>
                  </a:lnTo>
                  <a:lnTo>
                    <a:pt x="1302" y="114"/>
                  </a:lnTo>
                  <a:lnTo>
                    <a:pt x="1320" y="108"/>
                  </a:lnTo>
                  <a:lnTo>
                    <a:pt x="1326" y="108"/>
                  </a:lnTo>
                  <a:lnTo>
                    <a:pt x="1326" y="138"/>
                  </a:lnTo>
                  <a:lnTo>
                    <a:pt x="1326" y="210"/>
                  </a:lnTo>
                  <a:lnTo>
                    <a:pt x="1320" y="252"/>
                  </a:lnTo>
                  <a:lnTo>
                    <a:pt x="1320" y="270"/>
                  </a:lnTo>
                  <a:lnTo>
                    <a:pt x="1320" y="288"/>
                  </a:lnTo>
                  <a:lnTo>
                    <a:pt x="1320" y="318"/>
                  </a:lnTo>
                  <a:lnTo>
                    <a:pt x="1326" y="354"/>
                  </a:lnTo>
                  <a:lnTo>
                    <a:pt x="1326" y="372"/>
                  </a:lnTo>
                  <a:lnTo>
                    <a:pt x="1332" y="420"/>
                  </a:lnTo>
                  <a:lnTo>
                    <a:pt x="1332" y="450"/>
                  </a:lnTo>
                  <a:lnTo>
                    <a:pt x="1338" y="480"/>
                  </a:lnTo>
                  <a:lnTo>
                    <a:pt x="1344" y="486"/>
                  </a:lnTo>
                  <a:lnTo>
                    <a:pt x="1338" y="492"/>
                  </a:lnTo>
                  <a:lnTo>
                    <a:pt x="1344" y="492"/>
                  </a:lnTo>
                  <a:lnTo>
                    <a:pt x="1344" y="498"/>
                  </a:lnTo>
                  <a:lnTo>
                    <a:pt x="1350" y="498"/>
                  </a:lnTo>
                  <a:lnTo>
                    <a:pt x="1350" y="522"/>
                  </a:lnTo>
                  <a:lnTo>
                    <a:pt x="1362" y="564"/>
                  </a:lnTo>
                  <a:lnTo>
                    <a:pt x="1368" y="582"/>
                  </a:lnTo>
                  <a:lnTo>
                    <a:pt x="1380" y="600"/>
                  </a:lnTo>
                  <a:lnTo>
                    <a:pt x="1386" y="636"/>
                  </a:lnTo>
                  <a:lnTo>
                    <a:pt x="1380" y="660"/>
                  </a:lnTo>
                  <a:lnTo>
                    <a:pt x="1380" y="678"/>
                  </a:lnTo>
                  <a:lnTo>
                    <a:pt x="1380" y="684"/>
                  </a:lnTo>
                  <a:lnTo>
                    <a:pt x="1374" y="684"/>
                  </a:lnTo>
                  <a:lnTo>
                    <a:pt x="1368" y="690"/>
                  </a:lnTo>
                  <a:lnTo>
                    <a:pt x="1356" y="702"/>
                  </a:lnTo>
                  <a:lnTo>
                    <a:pt x="1350" y="708"/>
                  </a:lnTo>
                  <a:lnTo>
                    <a:pt x="1356" y="714"/>
                  </a:lnTo>
                  <a:lnTo>
                    <a:pt x="1368" y="726"/>
                  </a:lnTo>
                  <a:lnTo>
                    <a:pt x="1380" y="738"/>
                  </a:lnTo>
                  <a:lnTo>
                    <a:pt x="1386" y="744"/>
                  </a:lnTo>
                  <a:lnTo>
                    <a:pt x="1392" y="744"/>
                  </a:lnTo>
                  <a:lnTo>
                    <a:pt x="1410" y="750"/>
                  </a:lnTo>
                  <a:lnTo>
                    <a:pt x="1416" y="756"/>
                  </a:lnTo>
                  <a:lnTo>
                    <a:pt x="1422" y="756"/>
                  </a:lnTo>
                  <a:lnTo>
                    <a:pt x="1422" y="762"/>
                  </a:lnTo>
                  <a:lnTo>
                    <a:pt x="1428" y="774"/>
                  </a:lnTo>
                  <a:lnTo>
                    <a:pt x="1428" y="780"/>
                  </a:lnTo>
                  <a:lnTo>
                    <a:pt x="1434" y="780"/>
                  </a:lnTo>
                  <a:lnTo>
                    <a:pt x="1440" y="798"/>
                  </a:lnTo>
                  <a:lnTo>
                    <a:pt x="1422" y="816"/>
                  </a:lnTo>
                  <a:lnTo>
                    <a:pt x="1386" y="810"/>
                  </a:lnTo>
                  <a:lnTo>
                    <a:pt x="1380" y="816"/>
                  </a:lnTo>
                  <a:lnTo>
                    <a:pt x="1374" y="840"/>
                  </a:lnTo>
                  <a:lnTo>
                    <a:pt x="1350" y="852"/>
                  </a:lnTo>
                  <a:lnTo>
                    <a:pt x="1350" y="858"/>
                  </a:lnTo>
                  <a:lnTo>
                    <a:pt x="1350" y="864"/>
                  </a:lnTo>
                  <a:lnTo>
                    <a:pt x="1344" y="864"/>
                  </a:lnTo>
                  <a:lnTo>
                    <a:pt x="1338" y="870"/>
                  </a:lnTo>
                  <a:lnTo>
                    <a:pt x="1332" y="876"/>
                  </a:lnTo>
                  <a:lnTo>
                    <a:pt x="1314" y="876"/>
                  </a:lnTo>
                  <a:lnTo>
                    <a:pt x="1314" y="870"/>
                  </a:lnTo>
                  <a:lnTo>
                    <a:pt x="1308" y="870"/>
                  </a:lnTo>
                  <a:lnTo>
                    <a:pt x="1302" y="864"/>
                  </a:lnTo>
                  <a:lnTo>
                    <a:pt x="1296" y="864"/>
                  </a:lnTo>
                  <a:lnTo>
                    <a:pt x="1284" y="870"/>
                  </a:lnTo>
                  <a:lnTo>
                    <a:pt x="1266" y="870"/>
                  </a:lnTo>
                  <a:lnTo>
                    <a:pt x="1260" y="870"/>
                  </a:lnTo>
                  <a:lnTo>
                    <a:pt x="1248" y="876"/>
                  </a:lnTo>
                  <a:lnTo>
                    <a:pt x="1236" y="876"/>
                  </a:lnTo>
                  <a:lnTo>
                    <a:pt x="1230" y="882"/>
                  </a:lnTo>
                  <a:lnTo>
                    <a:pt x="1224" y="894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18" y="942"/>
                  </a:lnTo>
                  <a:lnTo>
                    <a:pt x="1212" y="948"/>
                  </a:lnTo>
                  <a:lnTo>
                    <a:pt x="1200" y="984"/>
                  </a:lnTo>
                  <a:lnTo>
                    <a:pt x="1194" y="1008"/>
                  </a:lnTo>
                  <a:lnTo>
                    <a:pt x="1218" y="1038"/>
                  </a:lnTo>
                  <a:lnTo>
                    <a:pt x="1224" y="1044"/>
                  </a:lnTo>
                  <a:lnTo>
                    <a:pt x="1224" y="1062"/>
                  </a:lnTo>
                  <a:lnTo>
                    <a:pt x="1236" y="1080"/>
                  </a:lnTo>
                  <a:lnTo>
                    <a:pt x="1236" y="1086"/>
                  </a:lnTo>
                  <a:lnTo>
                    <a:pt x="1230" y="1092"/>
                  </a:lnTo>
                  <a:lnTo>
                    <a:pt x="1224" y="1110"/>
                  </a:lnTo>
                  <a:lnTo>
                    <a:pt x="1218" y="1122"/>
                  </a:lnTo>
                  <a:lnTo>
                    <a:pt x="1224" y="1140"/>
                  </a:lnTo>
                  <a:lnTo>
                    <a:pt x="1218" y="1146"/>
                  </a:lnTo>
                  <a:lnTo>
                    <a:pt x="1218" y="1152"/>
                  </a:lnTo>
                  <a:lnTo>
                    <a:pt x="1212" y="116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1" name="Freeform 36">
              <a:extLst>
                <a:ext uri="{FF2B5EF4-FFF2-40B4-BE49-F238E27FC236}">
                  <a16:creationId xmlns:a16="http://schemas.microsoft.com/office/drawing/2014/main" id="{B9C0D6BE-CB1C-4E69-B224-1ABF097AA8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90208" y="1647855"/>
              <a:ext cx="742415" cy="758173"/>
            </a:xfrm>
            <a:custGeom>
              <a:avLst/>
              <a:gdLst>
                <a:gd name="T0" fmla="*/ 75 w 1398"/>
                <a:gd name="T1" fmla="*/ 48 h 1428"/>
                <a:gd name="T2" fmla="*/ 68 w 1398"/>
                <a:gd name="T3" fmla="*/ 54 h 1428"/>
                <a:gd name="T4" fmla="*/ 57 w 1398"/>
                <a:gd name="T5" fmla="*/ 59 h 1428"/>
                <a:gd name="T6" fmla="*/ 55 w 1398"/>
                <a:gd name="T7" fmla="*/ 68 h 1428"/>
                <a:gd name="T8" fmla="*/ 55 w 1398"/>
                <a:gd name="T9" fmla="*/ 77 h 1428"/>
                <a:gd name="T10" fmla="*/ 57 w 1398"/>
                <a:gd name="T11" fmla="*/ 81 h 1428"/>
                <a:gd name="T12" fmla="*/ 56 w 1398"/>
                <a:gd name="T13" fmla="*/ 86 h 1428"/>
                <a:gd name="T14" fmla="*/ 57 w 1398"/>
                <a:gd name="T15" fmla="*/ 89 h 1428"/>
                <a:gd name="T16" fmla="*/ 58 w 1398"/>
                <a:gd name="T17" fmla="*/ 92 h 1428"/>
                <a:gd name="T18" fmla="*/ 58 w 1398"/>
                <a:gd name="T19" fmla="*/ 96 h 1428"/>
                <a:gd name="T20" fmla="*/ 49 w 1398"/>
                <a:gd name="T21" fmla="*/ 100 h 1428"/>
                <a:gd name="T22" fmla="*/ 47 w 1398"/>
                <a:gd name="T23" fmla="*/ 108 h 1428"/>
                <a:gd name="T24" fmla="*/ 48 w 1398"/>
                <a:gd name="T25" fmla="*/ 113 h 1428"/>
                <a:gd name="T26" fmla="*/ 43 w 1398"/>
                <a:gd name="T27" fmla="*/ 114 h 1428"/>
                <a:gd name="T28" fmla="*/ 39 w 1398"/>
                <a:gd name="T29" fmla="*/ 113 h 1428"/>
                <a:gd name="T30" fmla="*/ 33 w 1398"/>
                <a:gd name="T31" fmla="*/ 109 h 1428"/>
                <a:gd name="T32" fmla="*/ 29 w 1398"/>
                <a:gd name="T33" fmla="*/ 114 h 1428"/>
                <a:gd name="T34" fmla="*/ 22 w 1398"/>
                <a:gd name="T35" fmla="*/ 115 h 1428"/>
                <a:gd name="T36" fmla="*/ 21 w 1398"/>
                <a:gd name="T37" fmla="*/ 121 h 1428"/>
                <a:gd name="T38" fmla="*/ 12 w 1398"/>
                <a:gd name="T39" fmla="*/ 119 h 1428"/>
                <a:gd name="T40" fmla="*/ 9 w 1398"/>
                <a:gd name="T41" fmla="*/ 113 h 1428"/>
                <a:gd name="T42" fmla="*/ 2 w 1398"/>
                <a:gd name="T43" fmla="*/ 109 h 1428"/>
                <a:gd name="T44" fmla="*/ 4 w 1398"/>
                <a:gd name="T45" fmla="*/ 103 h 1428"/>
                <a:gd name="T46" fmla="*/ 2 w 1398"/>
                <a:gd name="T47" fmla="*/ 91 h 1428"/>
                <a:gd name="T48" fmla="*/ 6 w 1398"/>
                <a:gd name="T49" fmla="*/ 85 h 1428"/>
                <a:gd name="T50" fmla="*/ 10 w 1398"/>
                <a:gd name="T51" fmla="*/ 85 h 1428"/>
                <a:gd name="T52" fmla="*/ 15 w 1398"/>
                <a:gd name="T53" fmla="*/ 82 h 1428"/>
                <a:gd name="T54" fmla="*/ 20 w 1398"/>
                <a:gd name="T55" fmla="*/ 77 h 1428"/>
                <a:gd name="T56" fmla="*/ 16 w 1398"/>
                <a:gd name="T57" fmla="*/ 73 h 1428"/>
                <a:gd name="T58" fmla="*/ 16 w 1398"/>
                <a:gd name="T59" fmla="*/ 69 h 1428"/>
                <a:gd name="T60" fmla="*/ 14 w 1398"/>
                <a:gd name="T61" fmla="*/ 54 h 1428"/>
                <a:gd name="T62" fmla="*/ 12 w 1398"/>
                <a:gd name="T63" fmla="*/ 48 h 1428"/>
                <a:gd name="T64" fmla="*/ 11 w 1398"/>
                <a:gd name="T65" fmla="*/ 31 h 1428"/>
                <a:gd name="T66" fmla="*/ 14 w 1398"/>
                <a:gd name="T67" fmla="*/ 18 h 1428"/>
                <a:gd name="T68" fmla="*/ 19 w 1398"/>
                <a:gd name="T69" fmla="*/ 15 h 1428"/>
                <a:gd name="T70" fmla="*/ 26 w 1398"/>
                <a:gd name="T71" fmla="*/ 13 h 1428"/>
                <a:gd name="T72" fmla="*/ 34 w 1398"/>
                <a:gd name="T73" fmla="*/ 12 h 1428"/>
                <a:gd name="T74" fmla="*/ 39 w 1398"/>
                <a:gd name="T75" fmla="*/ 9 h 1428"/>
                <a:gd name="T76" fmla="*/ 43 w 1398"/>
                <a:gd name="T77" fmla="*/ 7 h 1428"/>
                <a:gd name="T78" fmla="*/ 48 w 1398"/>
                <a:gd name="T79" fmla="*/ 3 h 1428"/>
                <a:gd name="T80" fmla="*/ 54 w 1398"/>
                <a:gd name="T81" fmla="*/ 0 h 1428"/>
                <a:gd name="T82" fmla="*/ 58 w 1398"/>
                <a:gd name="T83" fmla="*/ 0 h 1428"/>
                <a:gd name="T84" fmla="*/ 66 w 1398"/>
                <a:gd name="T85" fmla="*/ 2 h 1428"/>
                <a:gd name="T86" fmla="*/ 70 w 1398"/>
                <a:gd name="T87" fmla="*/ 3 h 1428"/>
                <a:gd name="T88" fmla="*/ 75 w 1398"/>
                <a:gd name="T89" fmla="*/ 6 h 1428"/>
                <a:gd name="T90" fmla="*/ 80 w 1398"/>
                <a:gd name="T91" fmla="*/ 9 h 1428"/>
                <a:gd name="T92" fmla="*/ 83 w 1398"/>
                <a:gd name="T93" fmla="*/ 12 h 1428"/>
                <a:gd name="T94" fmla="*/ 87 w 1398"/>
                <a:gd name="T95" fmla="*/ 15 h 1428"/>
                <a:gd name="T96" fmla="*/ 94 w 1398"/>
                <a:gd name="T97" fmla="*/ 15 h 1428"/>
                <a:gd name="T98" fmla="*/ 99 w 1398"/>
                <a:gd name="T99" fmla="*/ 21 h 1428"/>
                <a:gd name="T100" fmla="*/ 103 w 1398"/>
                <a:gd name="T101" fmla="*/ 23 h 1428"/>
                <a:gd name="T102" fmla="*/ 110 w 1398"/>
                <a:gd name="T103" fmla="*/ 26 h 1428"/>
                <a:gd name="T104" fmla="*/ 116 w 1398"/>
                <a:gd name="T105" fmla="*/ 27 h 1428"/>
                <a:gd name="T106" fmla="*/ 120 w 1398"/>
                <a:gd name="T107" fmla="*/ 27 h 1428"/>
                <a:gd name="T108" fmla="*/ 116 w 1398"/>
                <a:gd name="T109" fmla="*/ 35 h 1428"/>
                <a:gd name="T110" fmla="*/ 104 w 1398"/>
                <a:gd name="T111" fmla="*/ 37 h 1428"/>
                <a:gd name="T112" fmla="*/ 97 w 1398"/>
                <a:gd name="T113" fmla="*/ 34 h 1428"/>
                <a:gd name="T114" fmla="*/ 91 w 1398"/>
                <a:gd name="T115" fmla="*/ 29 h 1428"/>
                <a:gd name="T116" fmla="*/ 75 w 1398"/>
                <a:gd name="T117" fmla="*/ 29 h 1428"/>
                <a:gd name="T118" fmla="*/ 72 w 1398"/>
                <a:gd name="T119" fmla="*/ 39 h 1428"/>
                <a:gd name="T120" fmla="*/ 80 w 1398"/>
                <a:gd name="T121" fmla="*/ 41 h 142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98"/>
                <a:gd name="T184" fmla="*/ 0 h 1428"/>
                <a:gd name="T185" fmla="*/ 1398 w 1398"/>
                <a:gd name="T186" fmla="*/ 1428 h 142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98" h="1428">
                  <a:moveTo>
                    <a:pt x="924" y="474"/>
                  </a:moveTo>
                  <a:lnTo>
                    <a:pt x="900" y="480"/>
                  </a:lnTo>
                  <a:lnTo>
                    <a:pt x="864" y="486"/>
                  </a:lnTo>
                  <a:lnTo>
                    <a:pt x="864" y="504"/>
                  </a:lnTo>
                  <a:lnTo>
                    <a:pt x="858" y="522"/>
                  </a:lnTo>
                  <a:lnTo>
                    <a:pt x="864" y="528"/>
                  </a:lnTo>
                  <a:lnTo>
                    <a:pt x="864" y="552"/>
                  </a:lnTo>
                  <a:lnTo>
                    <a:pt x="852" y="552"/>
                  </a:lnTo>
                  <a:lnTo>
                    <a:pt x="846" y="564"/>
                  </a:lnTo>
                  <a:lnTo>
                    <a:pt x="840" y="582"/>
                  </a:lnTo>
                  <a:lnTo>
                    <a:pt x="834" y="594"/>
                  </a:lnTo>
                  <a:lnTo>
                    <a:pt x="828" y="606"/>
                  </a:lnTo>
                  <a:lnTo>
                    <a:pt x="828" y="618"/>
                  </a:lnTo>
                  <a:lnTo>
                    <a:pt x="786" y="630"/>
                  </a:lnTo>
                  <a:lnTo>
                    <a:pt x="774" y="636"/>
                  </a:lnTo>
                  <a:lnTo>
                    <a:pt x="762" y="642"/>
                  </a:lnTo>
                  <a:lnTo>
                    <a:pt x="744" y="648"/>
                  </a:lnTo>
                  <a:lnTo>
                    <a:pt x="714" y="660"/>
                  </a:lnTo>
                  <a:lnTo>
                    <a:pt x="696" y="666"/>
                  </a:lnTo>
                  <a:lnTo>
                    <a:pt x="666" y="672"/>
                  </a:lnTo>
                  <a:lnTo>
                    <a:pt x="654" y="684"/>
                  </a:lnTo>
                  <a:lnTo>
                    <a:pt x="648" y="684"/>
                  </a:lnTo>
                  <a:lnTo>
                    <a:pt x="642" y="696"/>
                  </a:lnTo>
                  <a:lnTo>
                    <a:pt x="636" y="696"/>
                  </a:lnTo>
                  <a:lnTo>
                    <a:pt x="630" y="714"/>
                  </a:lnTo>
                  <a:lnTo>
                    <a:pt x="624" y="738"/>
                  </a:lnTo>
                  <a:lnTo>
                    <a:pt x="624" y="762"/>
                  </a:lnTo>
                  <a:lnTo>
                    <a:pt x="630" y="780"/>
                  </a:lnTo>
                  <a:lnTo>
                    <a:pt x="636" y="804"/>
                  </a:lnTo>
                  <a:lnTo>
                    <a:pt x="642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6" y="834"/>
                  </a:lnTo>
                  <a:lnTo>
                    <a:pt x="636" y="870"/>
                  </a:lnTo>
                  <a:lnTo>
                    <a:pt x="636" y="882"/>
                  </a:lnTo>
                  <a:lnTo>
                    <a:pt x="636" y="906"/>
                  </a:lnTo>
                  <a:lnTo>
                    <a:pt x="630" y="906"/>
                  </a:lnTo>
                  <a:lnTo>
                    <a:pt x="636" y="918"/>
                  </a:lnTo>
                  <a:lnTo>
                    <a:pt x="642" y="918"/>
                  </a:lnTo>
                  <a:lnTo>
                    <a:pt x="642" y="930"/>
                  </a:lnTo>
                  <a:lnTo>
                    <a:pt x="648" y="936"/>
                  </a:lnTo>
                  <a:lnTo>
                    <a:pt x="654" y="936"/>
                  </a:lnTo>
                  <a:lnTo>
                    <a:pt x="654" y="942"/>
                  </a:lnTo>
                  <a:lnTo>
                    <a:pt x="654" y="948"/>
                  </a:lnTo>
                  <a:lnTo>
                    <a:pt x="648" y="954"/>
                  </a:lnTo>
                  <a:lnTo>
                    <a:pt x="648" y="960"/>
                  </a:lnTo>
                  <a:lnTo>
                    <a:pt x="648" y="966"/>
                  </a:lnTo>
                  <a:lnTo>
                    <a:pt x="648" y="972"/>
                  </a:lnTo>
                  <a:lnTo>
                    <a:pt x="648" y="990"/>
                  </a:lnTo>
                  <a:lnTo>
                    <a:pt x="654" y="996"/>
                  </a:lnTo>
                  <a:lnTo>
                    <a:pt x="648" y="1002"/>
                  </a:lnTo>
                  <a:lnTo>
                    <a:pt x="648" y="1008"/>
                  </a:lnTo>
                  <a:lnTo>
                    <a:pt x="654" y="1014"/>
                  </a:lnTo>
                  <a:lnTo>
                    <a:pt x="654" y="1020"/>
                  </a:lnTo>
                  <a:lnTo>
                    <a:pt x="654" y="1026"/>
                  </a:lnTo>
                  <a:lnTo>
                    <a:pt x="660" y="1026"/>
                  </a:lnTo>
                  <a:lnTo>
                    <a:pt x="660" y="1032"/>
                  </a:lnTo>
                  <a:lnTo>
                    <a:pt x="660" y="1038"/>
                  </a:lnTo>
                  <a:lnTo>
                    <a:pt x="666" y="1044"/>
                  </a:lnTo>
                  <a:lnTo>
                    <a:pt x="672" y="1050"/>
                  </a:lnTo>
                  <a:lnTo>
                    <a:pt x="672" y="1056"/>
                  </a:lnTo>
                  <a:lnTo>
                    <a:pt x="672" y="1062"/>
                  </a:lnTo>
                  <a:lnTo>
                    <a:pt x="672" y="1068"/>
                  </a:lnTo>
                  <a:lnTo>
                    <a:pt x="672" y="1074"/>
                  </a:lnTo>
                  <a:lnTo>
                    <a:pt x="678" y="1074"/>
                  </a:lnTo>
                  <a:lnTo>
                    <a:pt x="678" y="1080"/>
                  </a:lnTo>
                  <a:lnTo>
                    <a:pt x="678" y="1086"/>
                  </a:lnTo>
                  <a:lnTo>
                    <a:pt x="672" y="1092"/>
                  </a:lnTo>
                  <a:lnTo>
                    <a:pt x="672" y="1098"/>
                  </a:lnTo>
                  <a:lnTo>
                    <a:pt x="672" y="1104"/>
                  </a:lnTo>
                  <a:lnTo>
                    <a:pt x="666" y="1116"/>
                  </a:lnTo>
                  <a:lnTo>
                    <a:pt x="624" y="1122"/>
                  </a:lnTo>
                  <a:lnTo>
                    <a:pt x="576" y="1134"/>
                  </a:lnTo>
                  <a:lnTo>
                    <a:pt x="570" y="1140"/>
                  </a:lnTo>
                  <a:lnTo>
                    <a:pt x="570" y="1146"/>
                  </a:lnTo>
                  <a:lnTo>
                    <a:pt x="564" y="1146"/>
                  </a:lnTo>
                  <a:lnTo>
                    <a:pt x="564" y="1152"/>
                  </a:lnTo>
                  <a:lnTo>
                    <a:pt x="564" y="1164"/>
                  </a:lnTo>
                  <a:lnTo>
                    <a:pt x="564" y="1170"/>
                  </a:lnTo>
                  <a:lnTo>
                    <a:pt x="564" y="1176"/>
                  </a:lnTo>
                  <a:lnTo>
                    <a:pt x="546" y="1176"/>
                  </a:lnTo>
                  <a:lnTo>
                    <a:pt x="540" y="1212"/>
                  </a:lnTo>
                  <a:lnTo>
                    <a:pt x="540" y="1230"/>
                  </a:lnTo>
                  <a:lnTo>
                    <a:pt x="546" y="1242"/>
                  </a:lnTo>
                  <a:lnTo>
                    <a:pt x="546" y="1254"/>
                  </a:lnTo>
                  <a:lnTo>
                    <a:pt x="558" y="1266"/>
                  </a:lnTo>
                  <a:lnTo>
                    <a:pt x="576" y="1272"/>
                  </a:lnTo>
                  <a:lnTo>
                    <a:pt x="570" y="1278"/>
                  </a:lnTo>
                  <a:lnTo>
                    <a:pt x="576" y="1284"/>
                  </a:lnTo>
                  <a:lnTo>
                    <a:pt x="570" y="1296"/>
                  </a:lnTo>
                  <a:lnTo>
                    <a:pt x="558" y="1302"/>
                  </a:lnTo>
                  <a:lnTo>
                    <a:pt x="540" y="1308"/>
                  </a:lnTo>
                  <a:lnTo>
                    <a:pt x="522" y="1314"/>
                  </a:lnTo>
                  <a:lnTo>
                    <a:pt x="516" y="1314"/>
                  </a:lnTo>
                  <a:lnTo>
                    <a:pt x="510" y="1314"/>
                  </a:lnTo>
                  <a:lnTo>
                    <a:pt x="504" y="1314"/>
                  </a:lnTo>
                  <a:lnTo>
                    <a:pt x="498" y="1320"/>
                  </a:lnTo>
                  <a:lnTo>
                    <a:pt x="492" y="1320"/>
                  </a:lnTo>
                  <a:lnTo>
                    <a:pt x="492" y="1326"/>
                  </a:lnTo>
                  <a:lnTo>
                    <a:pt x="486" y="1326"/>
                  </a:lnTo>
                  <a:lnTo>
                    <a:pt x="480" y="1326"/>
                  </a:lnTo>
                  <a:lnTo>
                    <a:pt x="480" y="1320"/>
                  </a:lnTo>
                  <a:lnTo>
                    <a:pt x="468" y="1314"/>
                  </a:lnTo>
                  <a:lnTo>
                    <a:pt x="462" y="1308"/>
                  </a:lnTo>
                  <a:lnTo>
                    <a:pt x="456" y="1302"/>
                  </a:lnTo>
                  <a:lnTo>
                    <a:pt x="444" y="1296"/>
                  </a:lnTo>
                  <a:lnTo>
                    <a:pt x="420" y="1290"/>
                  </a:lnTo>
                  <a:lnTo>
                    <a:pt x="414" y="1278"/>
                  </a:lnTo>
                  <a:lnTo>
                    <a:pt x="408" y="1278"/>
                  </a:lnTo>
                  <a:lnTo>
                    <a:pt x="408" y="1266"/>
                  </a:lnTo>
                  <a:lnTo>
                    <a:pt x="402" y="1260"/>
                  </a:lnTo>
                  <a:lnTo>
                    <a:pt x="384" y="1260"/>
                  </a:lnTo>
                  <a:lnTo>
                    <a:pt x="372" y="1266"/>
                  </a:lnTo>
                  <a:lnTo>
                    <a:pt x="360" y="1272"/>
                  </a:lnTo>
                  <a:lnTo>
                    <a:pt x="348" y="1272"/>
                  </a:lnTo>
                  <a:lnTo>
                    <a:pt x="342" y="1284"/>
                  </a:lnTo>
                  <a:lnTo>
                    <a:pt x="336" y="1290"/>
                  </a:lnTo>
                  <a:lnTo>
                    <a:pt x="336" y="1308"/>
                  </a:lnTo>
                  <a:lnTo>
                    <a:pt x="336" y="1314"/>
                  </a:lnTo>
                  <a:lnTo>
                    <a:pt x="336" y="1320"/>
                  </a:lnTo>
                  <a:lnTo>
                    <a:pt x="330" y="1326"/>
                  </a:lnTo>
                  <a:lnTo>
                    <a:pt x="330" y="1332"/>
                  </a:lnTo>
                  <a:lnTo>
                    <a:pt x="330" y="1338"/>
                  </a:lnTo>
                  <a:lnTo>
                    <a:pt x="300" y="1338"/>
                  </a:lnTo>
                  <a:lnTo>
                    <a:pt x="288" y="1338"/>
                  </a:lnTo>
                  <a:lnTo>
                    <a:pt x="258" y="1326"/>
                  </a:lnTo>
                  <a:lnTo>
                    <a:pt x="246" y="1332"/>
                  </a:lnTo>
                  <a:lnTo>
                    <a:pt x="240" y="1338"/>
                  </a:lnTo>
                  <a:lnTo>
                    <a:pt x="234" y="1338"/>
                  </a:lnTo>
                  <a:lnTo>
                    <a:pt x="228" y="1350"/>
                  </a:lnTo>
                  <a:lnTo>
                    <a:pt x="228" y="1374"/>
                  </a:lnTo>
                  <a:lnTo>
                    <a:pt x="234" y="1392"/>
                  </a:lnTo>
                  <a:lnTo>
                    <a:pt x="246" y="1398"/>
                  </a:lnTo>
                  <a:lnTo>
                    <a:pt x="246" y="1410"/>
                  </a:lnTo>
                  <a:lnTo>
                    <a:pt x="216" y="1428"/>
                  </a:lnTo>
                  <a:lnTo>
                    <a:pt x="198" y="1428"/>
                  </a:lnTo>
                  <a:lnTo>
                    <a:pt x="192" y="1422"/>
                  </a:lnTo>
                  <a:lnTo>
                    <a:pt x="174" y="1410"/>
                  </a:lnTo>
                  <a:lnTo>
                    <a:pt x="156" y="1386"/>
                  </a:lnTo>
                  <a:lnTo>
                    <a:pt x="132" y="1374"/>
                  </a:lnTo>
                  <a:lnTo>
                    <a:pt x="108" y="1368"/>
                  </a:lnTo>
                  <a:lnTo>
                    <a:pt x="84" y="1368"/>
                  </a:lnTo>
                  <a:lnTo>
                    <a:pt x="96" y="1356"/>
                  </a:lnTo>
                  <a:lnTo>
                    <a:pt x="102" y="1344"/>
                  </a:lnTo>
                  <a:lnTo>
                    <a:pt x="102" y="1332"/>
                  </a:lnTo>
                  <a:lnTo>
                    <a:pt x="108" y="1320"/>
                  </a:lnTo>
                  <a:lnTo>
                    <a:pt x="108" y="1302"/>
                  </a:lnTo>
                  <a:lnTo>
                    <a:pt x="96" y="1278"/>
                  </a:lnTo>
                  <a:lnTo>
                    <a:pt x="66" y="1284"/>
                  </a:lnTo>
                  <a:lnTo>
                    <a:pt x="54" y="1278"/>
                  </a:lnTo>
                  <a:lnTo>
                    <a:pt x="36" y="1278"/>
                  </a:lnTo>
                  <a:lnTo>
                    <a:pt x="18" y="1284"/>
                  </a:lnTo>
                  <a:lnTo>
                    <a:pt x="18" y="1272"/>
                  </a:lnTo>
                  <a:lnTo>
                    <a:pt x="24" y="1260"/>
                  </a:lnTo>
                  <a:lnTo>
                    <a:pt x="24" y="1254"/>
                  </a:lnTo>
                  <a:lnTo>
                    <a:pt x="30" y="1248"/>
                  </a:lnTo>
                  <a:lnTo>
                    <a:pt x="24" y="1230"/>
                  </a:lnTo>
                  <a:lnTo>
                    <a:pt x="30" y="1218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30" y="1170"/>
                  </a:lnTo>
                  <a:lnTo>
                    <a:pt x="30" y="1152"/>
                  </a:lnTo>
                  <a:lnTo>
                    <a:pt x="24" y="1146"/>
                  </a:lnTo>
                  <a:lnTo>
                    <a:pt x="0" y="1116"/>
                  </a:lnTo>
                  <a:lnTo>
                    <a:pt x="6" y="1092"/>
                  </a:lnTo>
                  <a:lnTo>
                    <a:pt x="18" y="1056"/>
                  </a:lnTo>
                  <a:lnTo>
                    <a:pt x="24" y="1050"/>
                  </a:lnTo>
                  <a:lnTo>
                    <a:pt x="24" y="1038"/>
                  </a:lnTo>
                  <a:lnTo>
                    <a:pt x="24" y="1026"/>
                  </a:lnTo>
                  <a:lnTo>
                    <a:pt x="30" y="1002"/>
                  </a:lnTo>
                  <a:lnTo>
                    <a:pt x="36" y="990"/>
                  </a:lnTo>
                  <a:lnTo>
                    <a:pt x="42" y="984"/>
                  </a:lnTo>
                  <a:lnTo>
                    <a:pt x="54" y="984"/>
                  </a:lnTo>
                  <a:lnTo>
                    <a:pt x="66" y="978"/>
                  </a:lnTo>
                  <a:lnTo>
                    <a:pt x="72" y="978"/>
                  </a:lnTo>
                  <a:lnTo>
                    <a:pt x="90" y="978"/>
                  </a:lnTo>
                  <a:lnTo>
                    <a:pt x="102" y="972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78"/>
                  </a:lnTo>
                  <a:lnTo>
                    <a:pt x="120" y="984"/>
                  </a:lnTo>
                  <a:lnTo>
                    <a:pt x="138" y="984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6" y="972"/>
                  </a:lnTo>
                  <a:lnTo>
                    <a:pt x="156" y="966"/>
                  </a:lnTo>
                  <a:lnTo>
                    <a:pt x="156" y="960"/>
                  </a:lnTo>
                  <a:lnTo>
                    <a:pt x="180" y="948"/>
                  </a:lnTo>
                  <a:lnTo>
                    <a:pt x="186" y="924"/>
                  </a:lnTo>
                  <a:lnTo>
                    <a:pt x="192" y="918"/>
                  </a:lnTo>
                  <a:lnTo>
                    <a:pt x="228" y="924"/>
                  </a:lnTo>
                  <a:lnTo>
                    <a:pt x="246" y="906"/>
                  </a:lnTo>
                  <a:lnTo>
                    <a:pt x="240" y="888"/>
                  </a:lnTo>
                  <a:lnTo>
                    <a:pt x="234" y="888"/>
                  </a:lnTo>
                  <a:lnTo>
                    <a:pt x="234" y="882"/>
                  </a:lnTo>
                  <a:lnTo>
                    <a:pt x="228" y="870"/>
                  </a:lnTo>
                  <a:lnTo>
                    <a:pt x="228" y="864"/>
                  </a:lnTo>
                  <a:lnTo>
                    <a:pt x="222" y="864"/>
                  </a:lnTo>
                  <a:lnTo>
                    <a:pt x="216" y="858"/>
                  </a:lnTo>
                  <a:lnTo>
                    <a:pt x="198" y="852"/>
                  </a:lnTo>
                  <a:lnTo>
                    <a:pt x="192" y="852"/>
                  </a:lnTo>
                  <a:lnTo>
                    <a:pt x="186" y="846"/>
                  </a:lnTo>
                  <a:lnTo>
                    <a:pt x="174" y="834"/>
                  </a:lnTo>
                  <a:lnTo>
                    <a:pt x="162" y="822"/>
                  </a:lnTo>
                  <a:lnTo>
                    <a:pt x="156" y="816"/>
                  </a:lnTo>
                  <a:lnTo>
                    <a:pt x="162" y="810"/>
                  </a:lnTo>
                  <a:lnTo>
                    <a:pt x="174" y="798"/>
                  </a:lnTo>
                  <a:lnTo>
                    <a:pt x="180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68"/>
                  </a:lnTo>
                  <a:lnTo>
                    <a:pt x="192" y="744"/>
                  </a:lnTo>
                  <a:lnTo>
                    <a:pt x="186" y="708"/>
                  </a:lnTo>
                  <a:lnTo>
                    <a:pt x="174" y="690"/>
                  </a:lnTo>
                  <a:lnTo>
                    <a:pt x="168" y="672"/>
                  </a:lnTo>
                  <a:lnTo>
                    <a:pt x="156" y="630"/>
                  </a:lnTo>
                  <a:lnTo>
                    <a:pt x="156" y="606"/>
                  </a:lnTo>
                  <a:lnTo>
                    <a:pt x="150" y="606"/>
                  </a:lnTo>
                  <a:lnTo>
                    <a:pt x="150" y="600"/>
                  </a:lnTo>
                  <a:lnTo>
                    <a:pt x="144" y="600"/>
                  </a:lnTo>
                  <a:lnTo>
                    <a:pt x="150" y="594"/>
                  </a:lnTo>
                  <a:lnTo>
                    <a:pt x="144" y="588"/>
                  </a:lnTo>
                  <a:lnTo>
                    <a:pt x="138" y="558"/>
                  </a:lnTo>
                  <a:lnTo>
                    <a:pt x="138" y="528"/>
                  </a:lnTo>
                  <a:lnTo>
                    <a:pt x="132" y="480"/>
                  </a:lnTo>
                  <a:lnTo>
                    <a:pt x="132" y="462"/>
                  </a:lnTo>
                  <a:lnTo>
                    <a:pt x="126" y="426"/>
                  </a:lnTo>
                  <a:lnTo>
                    <a:pt x="126" y="396"/>
                  </a:lnTo>
                  <a:lnTo>
                    <a:pt x="126" y="378"/>
                  </a:lnTo>
                  <a:lnTo>
                    <a:pt x="126" y="360"/>
                  </a:lnTo>
                  <a:lnTo>
                    <a:pt x="132" y="318"/>
                  </a:lnTo>
                  <a:lnTo>
                    <a:pt x="132" y="24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2" y="210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92" y="198"/>
                  </a:lnTo>
                  <a:lnTo>
                    <a:pt x="198" y="198"/>
                  </a:lnTo>
                  <a:lnTo>
                    <a:pt x="216" y="180"/>
                  </a:lnTo>
                  <a:lnTo>
                    <a:pt x="222" y="174"/>
                  </a:lnTo>
                  <a:lnTo>
                    <a:pt x="222" y="168"/>
                  </a:lnTo>
                  <a:lnTo>
                    <a:pt x="228" y="168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44"/>
                  </a:lnTo>
                  <a:lnTo>
                    <a:pt x="258" y="144"/>
                  </a:lnTo>
                  <a:lnTo>
                    <a:pt x="276" y="150"/>
                  </a:lnTo>
                  <a:lnTo>
                    <a:pt x="300" y="150"/>
                  </a:lnTo>
                  <a:lnTo>
                    <a:pt x="312" y="150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8" y="156"/>
                  </a:lnTo>
                  <a:lnTo>
                    <a:pt x="354" y="150"/>
                  </a:lnTo>
                  <a:lnTo>
                    <a:pt x="372" y="144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08" y="126"/>
                  </a:lnTo>
                  <a:lnTo>
                    <a:pt x="414" y="120"/>
                  </a:lnTo>
                  <a:lnTo>
                    <a:pt x="420" y="120"/>
                  </a:lnTo>
                  <a:lnTo>
                    <a:pt x="426" y="120"/>
                  </a:lnTo>
                  <a:lnTo>
                    <a:pt x="432" y="114"/>
                  </a:lnTo>
                  <a:lnTo>
                    <a:pt x="450" y="102"/>
                  </a:lnTo>
                  <a:lnTo>
                    <a:pt x="456" y="96"/>
                  </a:lnTo>
                  <a:lnTo>
                    <a:pt x="468" y="90"/>
                  </a:lnTo>
                  <a:lnTo>
                    <a:pt x="474" y="90"/>
                  </a:lnTo>
                  <a:lnTo>
                    <a:pt x="480" y="84"/>
                  </a:lnTo>
                  <a:lnTo>
                    <a:pt x="486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504" y="72"/>
                  </a:lnTo>
                  <a:lnTo>
                    <a:pt x="510" y="66"/>
                  </a:lnTo>
                  <a:lnTo>
                    <a:pt x="516" y="66"/>
                  </a:lnTo>
                  <a:lnTo>
                    <a:pt x="522" y="60"/>
                  </a:lnTo>
                  <a:lnTo>
                    <a:pt x="552" y="42"/>
                  </a:lnTo>
                  <a:lnTo>
                    <a:pt x="558" y="36"/>
                  </a:lnTo>
                  <a:lnTo>
                    <a:pt x="576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94" y="18"/>
                  </a:lnTo>
                  <a:lnTo>
                    <a:pt x="600" y="12"/>
                  </a:lnTo>
                  <a:lnTo>
                    <a:pt x="612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6"/>
                  </a:lnTo>
                  <a:lnTo>
                    <a:pt x="648" y="6"/>
                  </a:lnTo>
                  <a:lnTo>
                    <a:pt x="660" y="6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38" y="18"/>
                  </a:lnTo>
                  <a:lnTo>
                    <a:pt x="744" y="18"/>
                  </a:lnTo>
                  <a:lnTo>
                    <a:pt x="756" y="18"/>
                  </a:lnTo>
                  <a:lnTo>
                    <a:pt x="762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80" y="24"/>
                  </a:lnTo>
                  <a:lnTo>
                    <a:pt x="792" y="24"/>
                  </a:lnTo>
                  <a:lnTo>
                    <a:pt x="792" y="30"/>
                  </a:lnTo>
                  <a:lnTo>
                    <a:pt x="810" y="30"/>
                  </a:lnTo>
                  <a:lnTo>
                    <a:pt x="822" y="36"/>
                  </a:lnTo>
                  <a:lnTo>
                    <a:pt x="834" y="42"/>
                  </a:lnTo>
                  <a:lnTo>
                    <a:pt x="840" y="48"/>
                  </a:lnTo>
                  <a:lnTo>
                    <a:pt x="846" y="54"/>
                  </a:lnTo>
                  <a:lnTo>
                    <a:pt x="852" y="60"/>
                  </a:lnTo>
                  <a:lnTo>
                    <a:pt x="858" y="66"/>
                  </a:lnTo>
                  <a:lnTo>
                    <a:pt x="864" y="66"/>
                  </a:lnTo>
                  <a:lnTo>
                    <a:pt x="864" y="72"/>
                  </a:lnTo>
                  <a:lnTo>
                    <a:pt x="876" y="78"/>
                  </a:lnTo>
                  <a:lnTo>
                    <a:pt x="900" y="84"/>
                  </a:lnTo>
                  <a:lnTo>
                    <a:pt x="906" y="90"/>
                  </a:lnTo>
                  <a:lnTo>
                    <a:pt x="912" y="90"/>
                  </a:lnTo>
                  <a:lnTo>
                    <a:pt x="912" y="96"/>
                  </a:lnTo>
                  <a:lnTo>
                    <a:pt x="924" y="108"/>
                  </a:lnTo>
                  <a:lnTo>
                    <a:pt x="930" y="108"/>
                  </a:lnTo>
                  <a:lnTo>
                    <a:pt x="936" y="114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60" y="138"/>
                  </a:lnTo>
                  <a:lnTo>
                    <a:pt x="966" y="144"/>
                  </a:lnTo>
                  <a:lnTo>
                    <a:pt x="972" y="156"/>
                  </a:lnTo>
                  <a:lnTo>
                    <a:pt x="978" y="162"/>
                  </a:lnTo>
                  <a:lnTo>
                    <a:pt x="984" y="162"/>
                  </a:lnTo>
                  <a:lnTo>
                    <a:pt x="990" y="168"/>
                  </a:lnTo>
                  <a:lnTo>
                    <a:pt x="996" y="174"/>
                  </a:lnTo>
                  <a:lnTo>
                    <a:pt x="1002" y="180"/>
                  </a:lnTo>
                  <a:lnTo>
                    <a:pt x="1008" y="180"/>
                  </a:lnTo>
                  <a:lnTo>
                    <a:pt x="1020" y="180"/>
                  </a:lnTo>
                  <a:lnTo>
                    <a:pt x="1038" y="174"/>
                  </a:lnTo>
                  <a:lnTo>
                    <a:pt x="1050" y="174"/>
                  </a:lnTo>
                  <a:lnTo>
                    <a:pt x="1056" y="174"/>
                  </a:lnTo>
                  <a:lnTo>
                    <a:pt x="1068" y="180"/>
                  </a:lnTo>
                  <a:lnTo>
                    <a:pt x="1080" y="180"/>
                  </a:lnTo>
                  <a:lnTo>
                    <a:pt x="1086" y="186"/>
                  </a:lnTo>
                  <a:lnTo>
                    <a:pt x="1098" y="192"/>
                  </a:lnTo>
                  <a:lnTo>
                    <a:pt x="1116" y="204"/>
                  </a:lnTo>
                  <a:lnTo>
                    <a:pt x="1122" y="210"/>
                  </a:lnTo>
                  <a:lnTo>
                    <a:pt x="1134" y="222"/>
                  </a:lnTo>
                  <a:lnTo>
                    <a:pt x="1146" y="234"/>
                  </a:lnTo>
                  <a:lnTo>
                    <a:pt x="1146" y="240"/>
                  </a:lnTo>
                  <a:lnTo>
                    <a:pt x="1152" y="246"/>
                  </a:lnTo>
                  <a:lnTo>
                    <a:pt x="1152" y="252"/>
                  </a:lnTo>
                  <a:lnTo>
                    <a:pt x="1152" y="258"/>
                  </a:lnTo>
                  <a:lnTo>
                    <a:pt x="1164" y="258"/>
                  </a:lnTo>
                  <a:lnTo>
                    <a:pt x="1170" y="264"/>
                  </a:lnTo>
                  <a:lnTo>
                    <a:pt x="1182" y="270"/>
                  </a:lnTo>
                  <a:lnTo>
                    <a:pt x="1188" y="270"/>
                  </a:lnTo>
                  <a:lnTo>
                    <a:pt x="1194" y="270"/>
                  </a:lnTo>
                  <a:lnTo>
                    <a:pt x="1206" y="276"/>
                  </a:lnTo>
                  <a:lnTo>
                    <a:pt x="1224" y="282"/>
                  </a:lnTo>
                  <a:lnTo>
                    <a:pt x="1236" y="282"/>
                  </a:lnTo>
                  <a:lnTo>
                    <a:pt x="1242" y="288"/>
                  </a:lnTo>
                  <a:lnTo>
                    <a:pt x="1254" y="288"/>
                  </a:lnTo>
                  <a:lnTo>
                    <a:pt x="1266" y="294"/>
                  </a:lnTo>
                  <a:lnTo>
                    <a:pt x="1272" y="294"/>
                  </a:lnTo>
                  <a:lnTo>
                    <a:pt x="1284" y="300"/>
                  </a:lnTo>
                  <a:lnTo>
                    <a:pt x="1290" y="300"/>
                  </a:lnTo>
                  <a:lnTo>
                    <a:pt x="1296" y="300"/>
                  </a:lnTo>
                  <a:lnTo>
                    <a:pt x="1302" y="306"/>
                  </a:lnTo>
                  <a:lnTo>
                    <a:pt x="1326" y="312"/>
                  </a:lnTo>
                  <a:lnTo>
                    <a:pt x="1338" y="312"/>
                  </a:lnTo>
                  <a:lnTo>
                    <a:pt x="1338" y="318"/>
                  </a:lnTo>
                  <a:lnTo>
                    <a:pt x="1344" y="318"/>
                  </a:lnTo>
                  <a:lnTo>
                    <a:pt x="1350" y="318"/>
                  </a:lnTo>
                  <a:lnTo>
                    <a:pt x="1362" y="324"/>
                  </a:lnTo>
                  <a:lnTo>
                    <a:pt x="1368" y="318"/>
                  </a:lnTo>
                  <a:lnTo>
                    <a:pt x="1374" y="318"/>
                  </a:lnTo>
                  <a:lnTo>
                    <a:pt x="1386" y="318"/>
                  </a:lnTo>
                  <a:lnTo>
                    <a:pt x="1398" y="324"/>
                  </a:lnTo>
                  <a:lnTo>
                    <a:pt x="1398" y="342"/>
                  </a:lnTo>
                  <a:lnTo>
                    <a:pt x="1356" y="342"/>
                  </a:lnTo>
                  <a:lnTo>
                    <a:pt x="1350" y="348"/>
                  </a:lnTo>
                  <a:lnTo>
                    <a:pt x="1350" y="372"/>
                  </a:lnTo>
                  <a:lnTo>
                    <a:pt x="1338" y="384"/>
                  </a:lnTo>
                  <a:lnTo>
                    <a:pt x="1332" y="408"/>
                  </a:lnTo>
                  <a:lnTo>
                    <a:pt x="1320" y="420"/>
                  </a:lnTo>
                  <a:lnTo>
                    <a:pt x="1254" y="426"/>
                  </a:lnTo>
                  <a:lnTo>
                    <a:pt x="1248" y="432"/>
                  </a:lnTo>
                  <a:lnTo>
                    <a:pt x="1230" y="432"/>
                  </a:lnTo>
                  <a:lnTo>
                    <a:pt x="1212" y="432"/>
                  </a:lnTo>
                  <a:lnTo>
                    <a:pt x="1212" y="426"/>
                  </a:lnTo>
                  <a:lnTo>
                    <a:pt x="1200" y="426"/>
                  </a:lnTo>
                  <a:lnTo>
                    <a:pt x="1182" y="414"/>
                  </a:lnTo>
                  <a:lnTo>
                    <a:pt x="1182" y="420"/>
                  </a:lnTo>
                  <a:lnTo>
                    <a:pt x="1164" y="420"/>
                  </a:lnTo>
                  <a:lnTo>
                    <a:pt x="1158" y="414"/>
                  </a:lnTo>
                  <a:lnTo>
                    <a:pt x="1152" y="408"/>
                  </a:lnTo>
                  <a:lnTo>
                    <a:pt x="1146" y="402"/>
                  </a:lnTo>
                  <a:lnTo>
                    <a:pt x="1122" y="396"/>
                  </a:lnTo>
                  <a:lnTo>
                    <a:pt x="1116" y="366"/>
                  </a:lnTo>
                  <a:lnTo>
                    <a:pt x="1116" y="348"/>
                  </a:lnTo>
                  <a:lnTo>
                    <a:pt x="1110" y="342"/>
                  </a:lnTo>
                  <a:lnTo>
                    <a:pt x="1104" y="336"/>
                  </a:lnTo>
                  <a:lnTo>
                    <a:pt x="1092" y="330"/>
                  </a:lnTo>
                  <a:lnTo>
                    <a:pt x="1074" y="330"/>
                  </a:lnTo>
                  <a:lnTo>
                    <a:pt x="1044" y="330"/>
                  </a:lnTo>
                  <a:lnTo>
                    <a:pt x="1014" y="336"/>
                  </a:lnTo>
                  <a:lnTo>
                    <a:pt x="984" y="342"/>
                  </a:lnTo>
                  <a:lnTo>
                    <a:pt x="978" y="330"/>
                  </a:lnTo>
                  <a:lnTo>
                    <a:pt x="966" y="324"/>
                  </a:lnTo>
                  <a:lnTo>
                    <a:pt x="888" y="336"/>
                  </a:lnTo>
                  <a:lnTo>
                    <a:pt x="888" y="330"/>
                  </a:lnTo>
                  <a:lnTo>
                    <a:pt x="870" y="336"/>
                  </a:lnTo>
                  <a:lnTo>
                    <a:pt x="858" y="336"/>
                  </a:lnTo>
                  <a:lnTo>
                    <a:pt x="852" y="354"/>
                  </a:lnTo>
                  <a:lnTo>
                    <a:pt x="852" y="402"/>
                  </a:lnTo>
                  <a:lnTo>
                    <a:pt x="840" y="414"/>
                  </a:lnTo>
                  <a:lnTo>
                    <a:pt x="834" y="420"/>
                  </a:lnTo>
                  <a:lnTo>
                    <a:pt x="834" y="444"/>
                  </a:lnTo>
                  <a:lnTo>
                    <a:pt x="834" y="450"/>
                  </a:lnTo>
                  <a:lnTo>
                    <a:pt x="852" y="456"/>
                  </a:lnTo>
                  <a:lnTo>
                    <a:pt x="864" y="462"/>
                  </a:lnTo>
                  <a:lnTo>
                    <a:pt x="894" y="456"/>
                  </a:lnTo>
                  <a:lnTo>
                    <a:pt x="900" y="468"/>
                  </a:lnTo>
                  <a:lnTo>
                    <a:pt x="918" y="462"/>
                  </a:lnTo>
                  <a:lnTo>
                    <a:pt x="924" y="468"/>
                  </a:lnTo>
                  <a:lnTo>
                    <a:pt x="924" y="47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2" name="Freeform 37">
              <a:extLst>
                <a:ext uri="{FF2B5EF4-FFF2-40B4-BE49-F238E27FC236}">
                  <a16:creationId xmlns:a16="http://schemas.microsoft.com/office/drawing/2014/main" id="{DED8A1FF-B656-4D37-BD26-5B0A7B1A4A6D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441" y="1898343"/>
              <a:ext cx="567992" cy="686605"/>
            </a:xfrm>
            <a:custGeom>
              <a:avLst/>
              <a:gdLst>
                <a:gd name="T0" fmla="*/ 79 w 1068"/>
                <a:gd name="T1" fmla="*/ 72 h 1290"/>
                <a:gd name="T2" fmla="*/ 75 w 1068"/>
                <a:gd name="T3" fmla="*/ 73 h 1290"/>
                <a:gd name="T4" fmla="*/ 72 w 1068"/>
                <a:gd name="T5" fmla="*/ 76 h 1290"/>
                <a:gd name="T6" fmla="*/ 70 w 1068"/>
                <a:gd name="T7" fmla="*/ 78 h 1290"/>
                <a:gd name="T8" fmla="*/ 67 w 1068"/>
                <a:gd name="T9" fmla="*/ 82 h 1290"/>
                <a:gd name="T10" fmla="*/ 61 w 1068"/>
                <a:gd name="T11" fmla="*/ 86 h 1290"/>
                <a:gd name="T12" fmla="*/ 60 w 1068"/>
                <a:gd name="T13" fmla="*/ 93 h 1290"/>
                <a:gd name="T14" fmla="*/ 59 w 1068"/>
                <a:gd name="T15" fmla="*/ 97 h 1290"/>
                <a:gd name="T16" fmla="*/ 61 w 1068"/>
                <a:gd name="T17" fmla="*/ 101 h 1290"/>
                <a:gd name="T18" fmla="*/ 63 w 1068"/>
                <a:gd name="T19" fmla="*/ 104 h 1290"/>
                <a:gd name="T20" fmla="*/ 62 w 1068"/>
                <a:gd name="T21" fmla="*/ 108 h 1290"/>
                <a:gd name="T22" fmla="*/ 60 w 1068"/>
                <a:gd name="T23" fmla="*/ 111 h 1290"/>
                <a:gd name="T24" fmla="*/ 56 w 1068"/>
                <a:gd name="T25" fmla="*/ 111 h 1290"/>
                <a:gd name="T26" fmla="*/ 53 w 1068"/>
                <a:gd name="T27" fmla="*/ 110 h 1290"/>
                <a:gd name="T28" fmla="*/ 50 w 1068"/>
                <a:gd name="T29" fmla="*/ 109 h 1290"/>
                <a:gd name="T30" fmla="*/ 47 w 1068"/>
                <a:gd name="T31" fmla="*/ 110 h 1290"/>
                <a:gd name="T32" fmla="*/ 51 w 1068"/>
                <a:gd name="T33" fmla="*/ 104 h 1290"/>
                <a:gd name="T34" fmla="*/ 50 w 1068"/>
                <a:gd name="T35" fmla="*/ 95 h 1290"/>
                <a:gd name="T36" fmla="*/ 51 w 1068"/>
                <a:gd name="T37" fmla="*/ 90 h 1290"/>
                <a:gd name="T38" fmla="*/ 47 w 1068"/>
                <a:gd name="T39" fmla="*/ 84 h 1290"/>
                <a:gd name="T40" fmla="*/ 42 w 1068"/>
                <a:gd name="T41" fmla="*/ 78 h 1290"/>
                <a:gd name="T42" fmla="*/ 33 w 1068"/>
                <a:gd name="T43" fmla="*/ 73 h 1290"/>
                <a:gd name="T44" fmla="*/ 26 w 1068"/>
                <a:gd name="T45" fmla="*/ 68 h 1290"/>
                <a:gd name="T46" fmla="*/ 22 w 1068"/>
                <a:gd name="T47" fmla="*/ 63 h 1290"/>
                <a:gd name="T48" fmla="*/ 11 w 1068"/>
                <a:gd name="T49" fmla="*/ 67 h 1290"/>
                <a:gd name="T50" fmla="*/ 0 w 1068"/>
                <a:gd name="T51" fmla="*/ 68 h 1290"/>
                <a:gd name="T52" fmla="*/ 2 w 1068"/>
                <a:gd name="T53" fmla="*/ 59 h 1290"/>
                <a:gd name="T54" fmla="*/ 12 w 1068"/>
                <a:gd name="T55" fmla="*/ 55 h 1290"/>
                <a:gd name="T56" fmla="*/ 12 w 1068"/>
                <a:gd name="T57" fmla="*/ 51 h 1290"/>
                <a:gd name="T58" fmla="*/ 10 w 1068"/>
                <a:gd name="T59" fmla="*/ 47 h 1290"/>
                <a:gd name="T60" fmla="*/ 9 w 1068"/>
                <a:gd name="T61" fmla="*/ 42 h 1290"/>
                <a:gd name="T62" fmla="*/ 8 w 1068"/>
                <a:gd name="T63" fmla="*/ 38 h 1290"/>
                <a:gd name="T64" fmla="*/ 8 w 1068"/>
                <a:gd name="T65" fmla="*/ 29 h 1290"/>
                <a:gd name="T66" fmla="*/ 10 w 1068"/>
                <a:gd name="T67" fmla="*/ 18 h 1290"/>
                <a:gd name="T68" fmla="*/ 25 w 1068"/>
                <a:gd name="T69" fmla="*/ 12 h 1290"/>
                <a:gd name="T70" fmla="*/ 27 w 1068"/>
                <a:gd name="T71" fmla="*/ 4 h 1290"/>
                <a:gd name="T72" fmla="*/ 35 w 1068"/>
                <a:gd name="T73" fmla="*/ 6 h 1290"/>
                <a:gd name="T74" fmla="*/ 39 w 1068"/>
                <a:gd name="T75" fmla="*/ 8 h 1290"/>
                <a:gd name="T76" fmla="*/ 41 w 1068"/>
                <a:gd name="T77" fmla="*/ 3 h 1290"/>
                <a:gd name="T78" fmla="*/ 45 w 1068"/>
                <a:gd name="T79" fmla="*/ 0 h 1290"/>
                <a:gd name="T80" fmla="*/ 51 w 1068"/>
                <a:gd name="T81" fmla="*/ 0 h 1290"/>
                <a:gd name="T82" fmla="*/ 56 w 1068"/>
                <a:gd name="T83" fmla="*/ 4 h 1290"/>
                <a:gd name="T84" fmla="*/ 62 w 1068"/>
                <a:gd name="T85" fmla="*/ 12 h 1290"/>
                <a:gd name="T86" fmla="*/ 58 w 1068"/>
                <a:gd name="T87" fmla="*/ 17 h 1290"/>
                <a:gd name="T88" fmla="*/ 60 w 1068"/>
                <a:gd name="T89" fmla="*/ 18 h 1290"/>
                <a:gd name="T90" fmla="*/ 64 w 1068"/>
                <a:gd name="T91" fmla="*/ 16 h 1290"/>
                <a:gd name="T92" fmla="*/ 68 w 1068"/>
                <a:gd name="T93" fmla="*/ 18 h 1290"/>
                <a:gd name="T94" fmla="*/ 71 w 1068"/>
                <a:gd name="T95" fmla="*/ 27 h 1290"/>
                <a:gd name="T96" fmla="*/ 74 w 1068"/>
                <a:gd name="T97" fmla="*/ 30 h 1290"/>
                <a:gd name="T98" fmla="*/ 82 w 1068"/>
                <a:gd name="T99" fmla="*/ 30 h 1290"/>
                <a:gd name="T100" fmla="*/ 87 w 1068"/>
                <a:gd name="T101" fmla="*/ 35 h 1290"/>
                <a:gd name="T102" fmla="*/ 85 w 1068"/>
                <a:gd name="T103" fmla="*/ 42 h 1290"/>
                <a:gd name="T104" fmla="*/ 81 w 1068"/>
                <a:gd name="T105" fmla="*/ 46 h 1290"/>
                <a:gd name="T106" fmla="*/ 86 w 1068"/>
                <a:gd name="T107" fmla="*/ 50 h 1290"/>
                <a:gd name="T108" fmla="*/ 89 w 1068"/>
                <a:gd name="T109" fmla="*/ 58 h 1290"/>
                <a:gd name="T110" fmla="*/ 92 w 1068"/>
                <a:gd name="T111" fmla="*/ 61 h 1290"/>
                <a:gd name="T112" fmla="*/ 86 w 1068"/>
                <a:gd name="T113" fmla="*/ 66 h 1290"/>
                <a:gd name="T114" fmla="*/ 85 w 1068"/>
                <a:gd name="T115" fmla="*/ 70 h 129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68"/>
                <a:gd name="T175" fmla="*/ 0 h 1290"/>
                <a:gd name="T176" fmla="*/ 1068 w 1068"/>
                <a:gd name="T177" fmla="*/ 1290 h 129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68" h="1290">
                  <a:moveTo>
                    <a:pt x="978" y="804"/>
                  </a:moveTo>
                  <a:lnTo>
                    <a:pt x="972" y="810"/>
                  </a:lnTo>
                  <a:lnTo>
                    <a:pt x="966" y="810"/>
                  </a:lnTo>
                  <a:lnTo>
                    <a:pt x="966" y="816"/>
                  </a:lnTo>
                  <a:lnTo>
                    <a:pt x="936" y="828"/>
                  </a:lnTo>
                  <a:lnTo>
                    <a:pt x="924" y="822"/>
                  </a:lnTo>
                  <a:lnTo>
                    <a:pt x="912" y="822"/>
                  </a:lnTo>
                  <a:lnTo>
                    <a:pt x="906" y="828"/>
                  </a:lnTo>
                  <a:lnTo>
                    <a:pt x="900" y="828"/>
                  </a:lnTo>
                  <a:lnTo>
                    <a:pt x="900" y="822"/>
                  </a:lnTo>
                  <a:lnTo>
                    <a:pt x="894" y="822"/>
                  </a:lnTo>
                  <a:lnTo>
                    <a:pt x="888" y="828"/>
                  </a:lnTo>
                  <a:lnTo>
                    <a:pt x="882" y="834"/>
                  </a:lnTo>
                  <a:lnTo>
                    <a:pt x="876" y="834"/>
                  </a:lnTo>
                  <a:lnTo>
                    <a:pt x="870" y="840"/>
                  </a:lnTo>
                  <a:lnTo>
                    <a:pt x="864" y="840"/>
                  </a:lnTo>
                  <a:lnTo>
                    <a:pt x="864" y="846"/>
                  </a:lnTo>
                  <a:lnTo>
                    <a:pt x="858" y="846"/>
                  </a:lnTo>
                  <a:lnTo>
                    <a:pt x="852" y="846"/>
                  </a:lnTo>
                  <a:lnTo>
                    <a:pt x="852" y="858"/>
                  </a:lnTo>
                  <a:lnTo>
                    <a:pt x="846" y="864"/>
                  </a:lnTo>
                  <a:lnTo>
                    <a:pt x="840" y="870"/>
                  </a:lnTo>
                  <a:lnTo>
                    <a:pt x="834" y="870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34" y="876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10" y="894"/>
                  </a:lnTo>
                  <a:lnTo>
                    <a:pt x="810" y="900"/>
                  </a:lnTo>
                  <a:lnTo>
                    <a:pt x="804" y="900"/>
                  </a:lnTo>
                  <a:lnTo>
                    <a:pt x="798" y="900"/>
                  </a:lnTo>
                  <a:lnTo>
                    <a:pt x="798" y="906"/>
                  </a:lnTo>
                  <a:lnTo>
                    <a:pt x="792" y="906"/>
                  </a:lnTo>
                  <a:lnTo>
                    <a:pt x="792" y="912"/>
                  </a:lnTo>
                  <a:lnTo>
                    <a:pt x="792" y="924"/>
                  </a:lnTo>
                  <a:lnTo>
                    <a:pt x="786" y="930"/>
                  </a:lnTo>
                  <a:lnTo>
                    <a:pt x="774" y="942"/>
                  </a:lnTo>
                  <a:lnTo>
                    <a:pt x="774" y="948"/>
                  </a:lnTo>
                  <a:lnTo>
                    <a:pt x="768" y="954"/>
                  </a:lnTo>
                  <a:lnTo>
                    <a:pt x="762" y="954"/>
                  </a:lnTo>
                  <a:lnTo>
                    <a:pt x="750" y="972"/>
                  </a:lnTo>
                  <a:lnTo>
                    <a:pt x="720" y="978"/>
                  </a:lnTo>
                  <a:lnTo>
                    <a:pt x="714" y="978"/>
                  </a:lnTo>
                  <a:lnTo>
                    <a:pt x="708" y="978"/>
                  </a:lnTo>
                  <a:lnTo>
                    <a:pt x="702" y="990"/>
                  </a:lnTo>
                  <a:lnTo>
                    <a:pt x="696" y="990"/>
                  </a:lnTo>
                  <a:lnTo>
                    <a:pt x="696" y="1008"/>
                  </a:lnTo>
                  <a:lnTo>
                    <a:pt x="690" y="1008"/>
                  </a:lnTo>
                  <a:lnTo>
                    <a:pt x="690" y="1014"/>
                  </a:lnTo>
                  <a:lnTo>
                    <a:pt x="684" y="1032"/>
                  </a:lnTo>
                  <a:lnTo>
                    <a:pt x="690" y="1050"/>
                  </a:lnTo>
                  <a:lnTo>
                    <a:pt x="690" y="1062"/>
                  </a:lnTo>
                  <a:lnTo>
                    <a:pt x="690" y="1068"/>
                  </a:lnTo>
                  <a:lnTo>
                    <a:pt x="690" y="1074"/>
                  </a:lnTo>
                  <a:lnTo>
                    <a:pt x="684" y="1074"/>
                  </a:lnTo>
                  <a:lnTo>
                    <a:pt x="684" y="1080"/>
                  </a:lnTo>
                  <a:lnTo>
                    <a:pt x="678" y="1086"/>
                  </a:lnTo>
                  <a:lnTo>
                    <a:pt x="678" y="1104"/>
                  </a:lnTo>
                  <a:lnTo>
                    <a:pt x="678" y="1110"/>
                  </a:lnTo>
                  <a:lnTo>
                    <a:pt x="678" y="1116"/>
                  </a:lnTo>
                  <a:lnTo>
                    <a:pt x="684" y="1116"/>
                  </a:lnTo>
                  <a:lnTo>
                    <a:pt x="678" y="1128"/>
                  </a:lnTo>
                  <a:lnTo>
                    <a:pt x="684" y="1128"/>
                  </a:lnTo>
                  <a:lnTo>
                    <a:pt x="690" y="1134"/>
                  </a:lnTo>
                  <a:lnTo>
                    <a:pt x="690" y="1140"/>
                  </a:lnTo>
                  <a:lnTo>
                    <a:pt x="696" y="1140"/>
                  </a:lnTo>
                  <a:lnTo>
                    <a:pt x="696" y="1146"/>
                  </a:lnTo>
                  <a:lnTo>
                    <a:pt x="696" y="1152"/>
                  </a:lnTo>
                  <a:lnTo>
                    <a:pt x="702" y="1152"/>
                  </a:lnTo>
                  <a:lnTo>
                    <a:pt x="708" y="1152"/>
                  </a:lnTo>
                  <a:lnTo>
                    <a:pt x="714" y="1158"/>
                  </a:lnTo>
                  <a:lnTo>
                    <a:pt x="714" y="1164"/>
                  </a:lnTo>
                  <a:lnTo>
                    <a:pt x="720" y="1170"/>
                  </a:lnTo>
                  <a:lnTo>
                    <a:pt x="720" y="1176"/>
                  </a:lnTo>
                  <a:lnTo>
                    <a:pt x="720" y="1182"/>
                  </a:lnTo>
                  <a:lnTo>
                    <a:pt x="726" y="1188"/>
                  </a:lnTo>
                  <a:lnTo>
                    <a:pt x="726" y="1194"/>
                  </a:lnTo>
                  <a:lnTo>
                    <a:pt x="732" y="1194"/>
                  </a:lnTo>
                  <a:lnTo>
                    <a:pt x="732" y="1200"/>
                  </a:lnTo>
                  <a:lnTo>
                    <a:pt x="738" y="1212"/>
                  </a:lnTo>
                  <a:lnTo>
                    <a:pt x="732" y="1218"/>
                  </a:lnTo>
                  <a:lnTo>
                    <a:pt x="732" y="1224"/>
                  </a:lnTo>
                  <a:lnTo>
                    <a:pt x="726" y="1230"/>
                  </a:lnTo>
                  <a:lnTo>
                    <a:pt x="720" y="1230"/>
                  </a:lnTo>
                  <a:lnTo>
                    <a:pt x="720" y="1236"/>
                  </a:lnTo>
                  <a:lnTo>
                    <a:pt x="720" y="1242"/>
                  </a:lnTo>
                  <a:lnTo>
                    <a:pt x="720" y="1248"/>
                  </a:lnTo>
                  <a:lnTo>
                    <a:pt x="714" y="1248"/>
                  </a:lnTo>
                  <a:lnTo>
                    <a:pt x="714" y="1254"/>
                  </a:lnTo>
                  <a:lnTo>
                    <a:pt x="708" y="1260"/>
                  </a:lnTo>
                  <a:lnTo>
                    <a:pt x="702" y="1272"/>
                  </a:lnTo>
                  <a:lnTo>
                    <a:pt x="696" y="1272"/>
                  </a:lnTo>
                  <a:lnTo>
                    <a:pt x="696" y="1278"/>
                  </a:lnTo>
                  <a:lnTo>
                    <a:pt x="690" y="1284"/>
                  </a:lnTo>
                  <a:lnTo>
                    <a:pt x="690" y="1290"/>
                  </a:lnTo>
                  <a:lnTo>
                    <a:pt x="684" y="1290"/>
                  </a:lnTo>
                  <a:lnTo>
                    <a:pt x="660" y="1284"/>
                  </a:lnTo>
                  <a:lnTo>
                    <a:pt x="660" y="1278"/>
                  </a:lnTo>
                  <a:lnTo>
                    <a:pt x="654" y="1272"/>
                  </a:lnTo>
                  <a:lnTo>
                    <a:pt x="648" y="1272"/>
                  </a:lnTo>
                  <a:lnTo>
                    <a:pt x="642" y="1272"/>
                  </a:lnTo>
                  <a:lnTo>
                    <a:pt x="642" y="1266"/>
                  </a:lnTo>
                  <a:lnTo>
                    <a:pt x="636" y="1266"/>
                  </a:lnTo>
                  <a:lnTo>
                    <a:pt x="630" y="1266"/>
                  </a:lnTo>
                  <a:lnTo>
                    <a:pt x="624" y="1266"/>
                  </a:lnTo>
                  <a:lnTo>
                    <a:pt x="624" y="1260"/>
                  </a:lnTo>
                  <a:lnTo>
                    <a:pt x="618" y="1260"/>
                  </a:lnTo>
                  <a:lnTo>
                    <a:pt x="612" y="1260"/>
                  </a:lnTo>
                  <a:lnTo>
                    <a:pt x="606" y="1260"/>
                  </a:lnTo>
                  <a:lnTo>
                    <a:pt x="600" y="1260"/>
                  </a:lnTo>
                  <a:lnTo>
                    <a:pt x="600" y="1254"/>
                  </a:lnTo>
                  <a:lnTo>
                    <a:pt x="594" y="1254"/>
                  </a:lnTo>
                  <a:lnTo>
                    <a:pt x="588" y="1248"/>
                  </a:lnTo>
                  <a:lnTo>
                    <a:pt x="588" y="1254"/>
                  </a:lnTo>
                  <a:lnTo>
                    <a:pt x="582" y="1254"/>
                  </a:lnTo>
                  <a:lnTo>
                    <a:pt x="582" y="1248"/>
                  </a:lnTo>
                  <a:lnTo>
                    <a:pt x="576" y="1248"/>
                  </a:lnTo>
                  <a:lnTo>
                    <a:pt x="576" y="1254"/>
                  </a:lnTo>
                  <a:lnTo>
                    <a:pt x="570" y="1248"/>
                  </a:lnTo>
                  <a:lnTo>
                    <a:pt x="564" y="1248"/>
                  </a:lnTo>
                  <a:lnTo>
                    <a:pt x="564" y="1254"/>
                  </a:lnTo>
                  <a:lnTo>
                    <a:pt x="558" y="1254"/>
                  </a:lnTo>
                  <a:lnTo>
                    <a:pt x="552" y="1254"/>
                  </a:lnTo>
                  <a:lnTo>
                    <a:pt x="552" y="1260"/>
                  </a:lnTo>
                  <a:lnTo>
                    <a:pt x="546" y="1260"/>
                  </a:lnTo>
                  <a:lnTo>
                    <a:pt x="540" y="1260"/>
                  </a:lnTo>
                  <a:lnTo>
                    <a:pt x="540" y="1254"/>
                  </a:lnTo>
                  <a:lnTo>
                    <a:pt x="534" y="1254"/>
                  </a:lnTo>
                  <a:lnTo>
                    <a:pt x="528" y="1224"/>
                  </a:lnTo>
                  <a:lnTo>
                    <a:pt x="534" y="1212"/>
                  </a:lnTo>
                  <a:lnTo>
                    <a:pt x="546" y="1206"/>
                  </a:lnTo>
                  <a:lnTo>
                    <a:pt x="582" y="1206"/>
                  </a:lnTo>
                  <a:lnTo>
                    <a:pt x="588" y="1188"/>
                  </a:lnTo>
                  <a:lnTo>
                    <a:pt x="582" y="1188"/>
                  </a:lnTo>
                  <a:lnTo>
                    <a:pt x="582" y="1182"/>
                  </a:lnTo>
                  <a:lnTo>
                    <a:pt x="576" y="1176"/>
                  </a:lnTo>
                  <a:lnTo>
                    <a:pt x="558" y="1128"/>
                  </a:lnTo>
                  <a:lnTo>
                    <a:pt x="558" y="1122"/>
                  </a:lnTo>
                  <a:lnTo>
                    <a:pt x="576" y="1098"/>
                  </a:lnTo>
                  <a:lnTo>
                    <a:pt x="576" y="1092"/>
                  </a:lnTo>
                  <a:lnTo>
                    <a:pt x="582" y="1092"/>
                  </a:lnTo>
                  <a:lnTo>
                    <a:pt x="582" y="1086"/>
                  </a:lnTo>
                  <a:lnTo>
                    <a:pt x="582" y="1080"/>
                  </a:lnTo>
                  <a:lnTo>
                    <a:pt x="582" y="1074"/>
                  </a:lnTo>
                  <a:lnTo>
                    <a:pt x="588" y="1074"/>
                  </a:lnTo>
                  <a:lnTo>
                    <a:pt x="588" y="1062"/>
                  </a:lnTo>
                  <a:lnTo>
                    <a:pt x="588" y="1056"/>
                  </a:lnTo>
                  <a:lnTo>
                    <a:pt x="588" y="1044"/>
                  </a:lnTo>
                  <a:lnTo>
                    <a:pt x="588" y="1038"/>
                  </a:lnTo>
                  <a:lnTo>
                    <a:pt x="588" y="1032"/>
                  </a:lnTo>
                  <a:lnTo>
                    <a:pt x="582" y="1026"/>
                  </a:lnTo>
                  <a:lnTo>
                    <a:pt x="582" y="1020"/>
                  </a:lnTo>
                  <a:lnTo>
                    <a:pt x="582" y="1008"/>
                  </a:lnTo>
                  <a:lnTo>
                    <a:pt x="576" y="990"/>
                  </a:lnTo>
                  <a:lnTo>
                    <a:pt x="570" y="972"/>
                  </a:lnTo>
                  <a:lnTo>
                    <a:pt x="552" y="972"/>
                  </a:lnTo>
                  <a:lnTo>
                    <a:pt x="540" y="960"/>
                  </a:lnTo>
                  <a:lnTo>
                    <a:pt x="534" y="954"/>
                  </a:lnTo>
                  <a:lnTo>
                    <a:pt x="534" y="948"/>
                  </a:lnTo>
                  <a:lnTo>
                    <a:pt x="516" y="948"/>
                  </a:lnTo>
                  <a:lnTo>
                    <a:pt x="522" y="936"/>
                  </a:lnTo>
                  <a:lnTo>
                    <a:pt x="522" y="930"/>
                  </a:lnTo>
                  <a:lnTo>
                    <a:pt x="504" y="918"/>
                  </a:lnTo>
                  <a:lnTo>
                    <a:pt x="492" y="906"/>
                  </a:lnTo>
                  <a:lnTo>
                    <a:pt x="486" y="894"/>
                  </a:lnTo>
                  <a:lnTo>
                    <a:pt x="468" y="876"/>
                  </a:lnTo>
                  <a:lnTo>
                    <a:pt x="450" y="876"/>
                  </a:lnTo>
                  <a:lnTo>
                    <a:pt x="414" y="882"/>
                  </a:lnTo>
                  <a:lnTo>
                    <a:pt x="402" y="870"/>
                  </a:lnTo>
                  <a:lnTo>
                    <a:pt x="390" y="864"/>
                  </a:lnTo>
                  <a:lnTo>
                    <a:pt x="384" y="852"/>
                  </a:lnTo>
                  <a:lnTo>
                    <a:pt x="378" y="840"/>
                  </a:lnTo>
                  <a:lnTo>
                    <a:pt x="378" y="834"/>
                  </a:lnTo>
                  <a:lnTo>
                    <a:pt x="360" y="822"/>
                  </a:lnTo>
                  <a:lnTo>
                    <a:pt x="342" y="828"/>
                  </a:lnTo>
                  <a:lnTo>
                    <a:pt x="324" y="816"/>
                  </a:lnTo>
                  <a:lnTo>
                    <a:pt x="318" y="816"/>
                  </a:lnTo>
                  <a:lnTo>
                    <a:pt x="306" y="810"/>
                  </a:lnTo>
                  <a:lnTo>
                    <a:pt x="306" y="804"/>
                  </a:lnTo>
                  <a:lnTo>
                    <a:pt x="300" y="804"/>
                  </a:lnTo>
                  <a:lnTo>
                    <a:pt x="300" y="780"/>
                  </a:lnTo>
                  <a:lnTo>
                    <a:pt x="300" y="774"/>
                  </a:lnTo>
                  <a:lnTo>
                    <a:pt x="306" y="774"/>
                  </a:lnTo>
                  <a:lnTo>
                    <a:pt x="312" y="756"/>
                  </a:lnTo>
                  <a:lnTo>
                    <a:pt x="312" y="732"/>
                  </a:lnTo>
                  <a:lnTo>
                    <a:pt x="300" y="720"/>
                  </a:lnTo>
                  <a:lnTo>
                    <a:pt x="288" y="702"/>
                  </a:lnTo>
                  <a:lnTo>
                    <a:pt x="276" y="702"/>
                  </a:lnTo>
                  <a:lnTo>
                    <a:pt x="258" y="714"/>
                  </a:lnTo>
                  <a:lnTo>
                    <a:pt x="246" y="726"/>
                  </a:lnTo>
                  <a:lnTo>
                    <a:pt x="222" y="726"/>
                  </a:lnTo>
                  <a:lnTo>
                    <a:pt x="192" y="726"/>
                  </a:lnTo>
                  <a:lnTo>
                    <a:pt x="174" y="738"/>
                  </a:lnTo>
                  <a:lnTo>
                    <a:pt x="162" y="750"/>
                  </a:lnTo>
                  <a:lnTo>
                    <a:pt x="144" y="762"/>
                  </a:lnTo>
                  <a:lnTo>
                    <a:pt x="138" y="768"/>
                  </a:lnTo>
                  <a:lnTo>
                    <a:pt x="126" y="774"/>
                  </a:lnTo>
                  <a:lnTo>
                    <a:pt x="114" y="780"/>
                  </a:lnTo>
                  <a:lnTo>
                    <a:pt x="108" y="786"/>
                  </a:lnTo>
                  <a:lnTo>
                    <a:pt x="102" y="786"/>
                  </a:lnTo>
                  <a:lnTo>
                    <a:pt x="54" y="786"/>
                  </a:lnTo>
                  <a:lnTo>
                    <a:pt x="48" y="792"/>
                  </a:lnTo>
                  <a:lnTo>
                    <a:pt x="36" y="798"/>
                  </a:lnTo>
                  <a:lnTo>
                    <a:pt x="18" y="792"/>
                  </a:lnTo>
                  <a:lnTo>
                    <a:pt x="6" y="780"/>
                  </a:lnTo>
                  <a:lnTo>
                    <a:pt x="6" y="768"/>
                  </a:lnTo>
                  <a:lnTo>
                    <a:pt x="0" y="756"/>
                  </a:lnTo>
                  <a:lnTo>
                    <a:pt x="0" y="738"/>
                  </a:lnTo>
                  <a:lnTo>
                    <a:pt x="6" y="702"/>
                  </a:lnTo>
                  <a:lnTo>
                    <a:pt x="24" y="702"/>
                  </a:lnTo>
                  <a:lnTo>
                    <a:pt x="24" y="696"/>
                  </a:lnTo>
                  <a:lnTo>
                    <a:pt x="24" y="690"/>
                  </a:lnTo>
                  <a:lnTo>
                    <a:pt x="24" y="678"/>
                  </a:lnTo>
                  <a:lnTo>
                    <a:pt x="24" y="672"/>
                  </a:lnTo>
                  <a:lnTo>
                    <a:pt x="30" y="672"/>
                  </a:lnTo>
                  <a:lnTo>
                    <a:pt x="30" y="666"/>
                  </a:lnTo>
                  <a:lnTo>
                    <a:pt x="36" y="660"/>
                  </a:lnTo>
                  <a:lnTo>
                    <a:pt x="84" y="648"/>
                  </a:lnTo>
                  <a:lnTo>
                    <a:pt x="126" y="642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32" y="618"/>
                  </a:lnTo>
                  <a:lnTo>
                    <a:pt x="138" y="612"/>
                  </a:lnTo>
                  <a:lnTo>
                    <a:pt x="138" y="606"/>
                  </a:lnTo>
                  <a:lnTo>
                    <a:pt x="138" y="600"/>
                  </a:lnTo>
                  <a:lnTo>
                    <a:pt x="132" y="600"/>
                  </a:lnTo>
                  <a:lnTo>
                    <a:pt x="132" y="594"/>
                  </a:lnTo>
                  <a:lnTo>
                    <a:pt x="132" y="588"/>
                  </a:lnTo>
                  <a:lnTo>
                    <a:pt x="132" y="582"/>
                  </a:lnTo>
                  <a:lnTo>
                    <a:pt x="132" y="576"/>
                  </a:lnTo>
                  <a:lnTo>
                    <a:pt x="126" y="570"/>
                  </a:lnTo>
                  <a:lnTo>
                    <a:pt x="120" y="564"/>
                  </a:lnTo>
                  <a:lnTo>
                    <a:pt x="120" y="558"/>
                  </a:lnTo>
                  <a:lnTo>
                    <a:pt x="120" y="552"/>
                  </a:lnTo>
                  <a:lnTo>
                    <a:pt x="114" y="552"/>
                  </a:lnTo>
                  <a:lnTo>
                    <a:pt x="114" y="546"/>
                  </a:lnTo>
                  <a:lnTo>
                    <a:pt x="114" y="540"/>
                  </a:lnTo>
                  <a:lnTo>
                    <a:pt x="108" y="534"/>
                  </a:lnTo>
                  <a:lnTo>
                    <a:pt x="108" y="528"/>
                  </a:lnTo>
                  <a:lnTo>
                    <a:pt x="114" y="522"/>
                  </a:lnTo>
                  <a:lnTo>
                    <a:pt x="108" y="516"/>
                  </a:lnTo>
                  <a:lnTo>
                    <a:pt x="108" y="498"/>
                  </a:lnTo>
                  <a:lnTo>
                    <a:pt x="108" y="492"/>
                  </a:lnTo>
                  <a:lnTo>
                    <a:pt x="108" y="486"/>
                  </a:lnTo>
                  <a:lnTo>
                    <a:pt x="108" y="480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08" y="462"/>
                  </a:lnTo>
                  <a:lnTo>
                    <a:pt x="102" y="456"/>
                  </a:lnTo>
                  <a:lnTo>
                    <a:pt x="102" y="444"/>
                  </a:lnTo>
                  <a:lnTo>
                    <a:pt x="96" y="444"/>
                  </a:lnTo>
                  <a:lnTo>
                    <a:pt x="90" y="432"/>
                  </a:lnTo>
                  <a:lnTo>
                    <a:pt x="96" y="432"/>
                  </a:lnTo>
                  <a:lnTo>
                    <a:pt x="96" y="408"/>
                  </a:lnTo>
                  <a:lnTo>
                    <a:pt x="96" y="396"/>
                  </a:lnTo>
                  <a:lnTo>
                    <a:pt x="96" y="360"/>
                  </a:lnTo>
                  <a:lnTo>
                    <a:pt x="96" y="354"/>
                  </a:lnTo>
                  <a:lnTo>
                    <a:pt x="102" y="354"/>
                  </a:lnTo>
                  <a:lnTo>
                    <a:pt x="102" y="348"/>
                  </a:lnTo>
                  <a:lnTo>
                    <a:pt x="96" y="330"/>
                  </a:lnTo>
                  <a:lnTo>
                    <a:pt x="90" y="306"/>
                  </a:lnTo>
                  <a:lnTo>
                    <a:pt x="84" y="288"/>
                  </a:lnTo>
                  <a:lnTo>
                    <a:pt x="84" y="264"/>
                  </a:lnTo>
                  <a:lnTo>
                    <a:pt x="90" y="240"/>
                  </a:lnTo>
                  <a:lnTo>
                    <a:pt x="96" y="222"/>
                  </a:lnTo>
                  <a:lnTo>
                    <a:pt x="102" y="222"/>
                  </a:lnTo>
                  <a:lnTo>
                    <a:pt x="108" y="210"/>
                  </a:lnTo>
                  <a:lnTo>
                    <a:pt x="114" y="210"/>
                  </a:lnTo>
                  <a:lnTo>
                    <a:pt x="126" y="198"/>
                  </a:lnTo>
                  <a:lnTo>
                    <a:pt x="156" y="192"/>
                  </a:lnTo>
                  <a:lnTo>
                    <a:pt x="174" y="186"/>
                  </a:lnTo>
                  <a:lnTo>
                    <a:pt x="204" y="174"/>
                  </a:lnTo>
                  <a:lnTo>
                    <a:pt x="222" y="168"/>
                  </a:lnTo>
                  <a:lnTo>
                    <a:pt x="234" y="162"/>
                  </a:lnTo>
                  <a:lnTo>
                    <a:pt x="246" y="156"/>
                  </a:lnTo>
                  <a:lnTo>
                    <a:pt x="288" y="144"/>
                  </a:lnTo>
                  <a:lnTo>
                    <a:pt x="288" y="132"/>
                  </a:lnTo>
                  <a:lnTo>
                    <a:pt x="294" y="120"/>
                  </a:lnTo>
                  <a:lnTo>
                    <a:pt x="300" y="108"/>
                  </a:lnTo>
                  <a:lnTo>
                    <a:pt x="306" y="90"/>
                  </a:lnTo>
                  <a:lnTo>
                    <a:pt x="312" y="78"/>
                  </a:lnTo>
                  <a:lnTo>
                    <a:pt x="324" y="78"/>
                  </a:lnTo>
                  <a:lnTo>
                    <a:pt x="324" y="54"/>
                  </a:lnTo>
                  <a:lnTo>
                    <a:pt x="318" y="48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60" y="6"/>
                  </a:lnTo>
                  <a:lnTo>
                    <a:pt x="384" y="0"/>
                  </a:lnTo>
                  <a:lnTo>
                    <a:pt x="390" y="6"/>
                  </a:lnTo>
                  <a:lnTo>
                    <a:pt x="390" y="18"/>
                  </a:lnTo>
                  <a:lnTo>
                    <a:pt x="390" y="54"/>
                  </a:lnTo>
                  <a:lnTo>
                    <a:pt x="396" y="66"/>
                  </a:lnTo>
                  <a:lnTo>
                    <a:pt x="414" y="84"/>
                  </a:lnTo>
                  <a:lnTo>
                    <a:pt x="426" y="90"/>
                  </a:lnTo>
                  <a:lnTo>
                    <a:pt x="432" y="96"/>
                  </a:lnTo>
                  <a:lnTo>
                    <a:pt x="426" y="102"/>
                  </a:lnTo>
                  <a:lnTo>
                    <a:pt x="438" y="102"/>
                  </a:lnTo>
                  <a:lnTo>
                    <a:pt x="444" y="108"/>
                  </a:lnTo>
                  <a:lnTo>
                    <a:pt x="444" y="102"/>
                  </a:lnTo>
                  <a:lnTo>
                    <a:pt x="450" y="90"/>
                  </a:lnTo>
                  <a:lnTo>
                    <a:pt x="450" y="84"/>
                  </a:lnTo>
                  <a:lnTo>
                    <a:pt x="450" y="78"/>
                  </a:lnTo>
                  <a:lnTo>
                    <a:pt x="456" y="72"/>
                  </a:lnTo>
                  <a:lnTo>
                    <a:pt x="462" y="66"/>
                  </a:lnTo>
                  <a:lnTo>
                    <a:pt x="462" y="60"/>
                  </a:lnTo>
                  <a:lnTo>
                    <a:pt x="462" y="54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74" y="24"/>
                  </a:lnTo>
                  <a:lnTo>
                    <a:pt x="480" y="18"/>
                  </a:lnTo>
                  <a:lnTo>
                    <a:pt x="486" y="12"/>
                  </a:lnTo>
                  <a:lnTo>
                    <a:pt x="492" y="12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2" y="6"/>
                  </a:lnTo>
                  <a:lnTo>
                    <a:pt x="534" y="6"/>
                  </a:lnTo>
                  <a:lnTo>
                    <a:pt x="540" y="6"/>
                  </a:lnTo>
                  <a:lnTo>
                    <a:pt x="546" y="6"/>
                  </a:lnTo>
                  <a:lnTo>
                    <a:pt x="564" y="0"/>
                  </a:lnTo>
                  <a:lnTo>
                    <a:pt x="570" y="0"/>
                  </a:lnTo>
                  <a:lnTo>
                    <a:pt x="576" y="6"/>
                  </a:lnTo>
                  <a:lnTo>
                    <a:pt x="582" y="6"/>
                  </a:lnTo>
                  <a:lnTo>
                    <a:pt x="594" y="6"/>
                  </a:lnTo>
                  <a:lnTo>
                    <a:pt x="600" y="6"/>
                  </a:lnTo>
                  <a:lnTo>
                    <a:pt x="606" y="6"/>
                  </a:lnTo>
                  <a:lnTo>
                    <a:pt x="624" y="0"/>
                  </a:lnTo>
                  <a:lnTo>
                    <a:pt x="636" y="0"/>
                  </a:lnTo>
                  <a:lnTo>
                    <a:pt x="636" y="6"/>
                  </a:lnTo>
                  <a:lnTo>
                    <a:pt x="654" y="18"/>
                  </a:lnTo>
                  <a:lnTo>
                    <a:pt x="654" y="30"/>
                  </a:lnTo>
                  <a:lnTo>
                    <a:pt x="642" y="42"/>
                  </a:lnTo>
                  <a:lnTo>
                    <a:pt x="630" y="66"/>
                  </a:lnTo>
                  <a:lnTo>
                    <a:pt x="636" y="84"/>
                  </a:lnTo>
                  <a:lnTo>
                    <a:pt x="636" y="96"/>
                  </a:lnTo>
                  <a:lnTo>
                    <a:pt x="648" y="102"/>
                  </a:lnTo>
                  <a:lnTo>
                    <a:pt x="672" y="114"/>
                  </a:lnTo>
                  <a:lnTo>
                    <a:pt x="702" y="120"/>
                  </a:lnTo>
                  <a:lnTo>
                    <a:pt x="714" y="126"/>
                  </a:lnTo>
                  <a:lnTo>
                    <a:pt x="720" y="144"/>
                  </a:lnTo>
                  <a:lnTo>
                    <a:pt x="720" y="156"/>
                  </a:lnTo>
                  <a:lnTo>
                    <a:pt x="708" y="156"/>
                  </a:lnTo>
                  <a:lnTo>
                    <a:pt x="702" y="162"/>
                  </a:lnTo>
                  <a:lnTo>
                    <a:pt x="702" y="174"/>
                  </a:lnTo>
                  <a:lnTo>
                    <a:pt x="696" y="174"/>
                  </a:lnTo>
                  <a:lnTo>
                    <a:pt x="690" y="180"/>
                  </a:lnTo>
                  <a:lnTo>
                    <a:pt x="678" y="186"/>
                  </a:lnTo>
                  <a:lnTo>
                    <a:pt x="672" y="192"/>
                  </a:lnTo>
                  <a:lnTo>
                    <a:pt x="654" y="210"/>
                  </a:lnTo>
                  <a:lnTo>
                    <a:pt x="654" y="216"/>
                  </a:lnTo>
                  <a:lnTo>
                    <a:pt x="648" y="246"/>
                  </a:lnTo>
                  <a:lnTo>
                    <a:pt x="660" y="246"/>
                  </a:lnTo>
                  <a:lnTo>
                    <a:pt x="666" y="234"/>
                  </a:lnTo>
                  <a:lnTo>
                    <a:pt x="678" y="240"/>
                  </a:lnTo>
                  <a:lnTo>
                    <a:pt x="684" y="228"/>
                  </a:lnTo>
                  <a:lnTo>
                    <a:pt x="690" y="210"/>
                  </a:lnTo>
                  <a:lnTo>
                    <a:pt x="696" y="204"/>
                  </a:lnTo>
                  <a:lnTo>
                    <a:pt x="702" y="204"/>
                  </a:lnTo>
                  <a:lnTo>
                    <a:pt x="708" y="192"/>
                  </a:lnTo>
                  <a:lnTo>
                    <a:pt x="714" y="192"/>
                  </a:lnTo>
                  <a:lnTo>
                    <a:pt x="714" y="186"/>
                  </a:lnTo>
                  <a:lnTo>
                    <a:pt x="726" y="186"/>
                  </a:lnTo>
                  <a:lnTo>
                    <a:pt x="732" y="186"/>
                  </a:lnTo>
                  <a:lnTo>
                    <a:pt x="738" y="186"/>
                  </a:lnTo>
                  <a:lnTo>
                    <a:pt x="744" y="216"/>
                  </a:lnTo>
                  <a:lnTo>
                    <a:pt x="750" y="210"/>
                  </a:lnTo>
                  <a:lnTo>
                    <a:pt x="750" y="204"/>
                  </a:lnTo>
                  <a:lnTo>
                    <a:pt x="756" y="192"/>
                  </a:lnTo>
                  <a:lnTo>
                    <a:pt x="762" y="192"/>
                  </a:lnTo>
                  <a:lnTo>
                    <a:pt x="768" y="192"/>
                  </a:lnTo>
                  <a:lnTo>
                    <a:pt x="780" y="186"/>
                  </a:lnTo>
                  <a:lnTo>
                    <a:pt x="786" y="204"/>
                  </a:lnTo>
                  <a:lnTo>
                    <a:pt x="774" y="210"/>
                  </a:lnTo>
                  <a:lnTo>
                    <a:pt x="774" y="234"/>
                  </a:lnTo>
                  <a:lnTo>
                    <a:pt x="780" y="246"/>
                  </a:lnTo>
                  <a:lnTo>
                    <a:pt x="804" y="264"/>
                  </a:lnTo>
                  <a:lnTo>
                    <a:pt x="816" y="276"/>
                  </a:lnTo>
                  <a:lnTo>
                    <a:pt x="822" y="288"/>
                  </a:lnTo>
                  <a:lnTo>
                    <a:pt x="822" y="312"/>
                  </a:lnTo>
                  <a:lnTo>
                    <a:pt x="816" y="312"/>
                  </a:lnTo>
                  <a:lnTo>
                    <a:pt x="810" y="318"/>
                  </a:lnTo>
                  <a:lnTo>
                    <a:pt x="810" y="348"/>
                  </a:lnTo>
                  <a:lnTo>
                    <a:pt x="816" y="348"/>
                  </a:lnTo>
                  <a:lnTo>
                    <a:pt x="816" y="342"/>
                  </a:lnTo>
                  <a:lnTo>
                    <a:pt x="834" y="342"/>
                  </a:lnTo>
                  <a:lnTo>
                    <a:pt x="834" y="348"/>
                  </a:lnTo>
                  <a:lnTo>
                    <a:pt x="846" y="348"/>
                  </a:lnTo>
                  <a:lnTo>
                    <a:pt x="846" y="342"/>
                  </a:lnTo>
                  <a:lnTo>
                    <a:pt x="882" y="342"/>
                  </a:lnTo>
                  <a:lnTo>
                    <a:pt x="894" y="366"/>
                  </a:lnTo>
                  <a:lnTo>
                    <a:pt x="900" y="372"/>
                  </a:lnTo>
                  <a:lnTo>
                    <a:pt x="906" y="384"/>
                  </a:lnTo>
                  <a:lnTo>
                    <a:pt x="924" y="384"/>
                  </a:lnTo>
                  <a:lnTo>
                    <a:pt x="930" y="372"/>
                  </a:lnTo>
                  <a:lnTo>
                    <a:pt x="936" y="372"/>
                  </a:lnTo>
                  <a:lnTo>
                    <a:pt x="942" y="348"/>
                  </a:lnTo>
                  <a:lnTo>
                    <a:pt x="954" y="348"/>
                  </a:lnTo>
                  <a:lnTo>
                    <a:pt x="954" y="342"/>
                  </a:lnTo>
                  <a:lnTo>
                    <a:pt x="984" y="342"/>
                  </a:lnTo>
                  <a:lnTo>
                    <a:pt x="978" y="390"/>
                  </a:lnTo>
                  <a:lnTo>
                    <a:pt x="984" y="390"/>
                  </a:lnTo>
                  <a:lnTo>
                    <a:pt x="990" y="396"/>
                  </a:lnTo>
                  <a:lnTo>
                    <a:pt x="996" y="396"/>
                  </a:lnTo>
                  <a:lnTo>
                    <a:pt x="1002" y="396"/>
                  </a:lnTo>
                  <a:lnTo>
                    <a:pt x="1002" y="408"/>
                  </a:lnTo>
                  <a:lnTo>
                    <a:pt x="990" y="414"/>
                  </a:lnTo>
                  <a:lnTo>
                    <a:pt x="984" y="426"/>
                  </a:lnTo>
                  <a:lnTo>
                    <a:pt x="990" y="444"/>
                  </a:lnTo>
                  <a:lnTo>
                    <a:pt x="996" y="450"/>
                  </a:lnTo>
                  <a:lnTo>
                    <a:pt x="990" y="462"/>
                  </a:lnTo>
                  <a:lnTo>
                    <a:pt x="990" y="468"/>
                  </a:lnTo>
                  <a:lnTo>
                    <a:pt x="984" y="480"/>
                  </a:lnTo>
                  <a:lnTo>
                    <a:pt x="978" y="486"/>
                  </a:lnTo>
                  <a:lnTo>
                    <a:pt x="972" y="486"/>
                  </a:lnTo>
                  <a:lnTo>
                    <a:pt x="966" y="492"/>
                  </a:lnTo>
                  <a:lnTo>
                    <a:pt x="966" y="498"/>
                  </a:lnTo>
                  <a:lnTo>
                    <a:pt x="954" y="510"/>
                  </a:lnTo>
                  <a:lnTo>
                    <a:pt x="948" y="510"/>
                  </a:lnTo>
                  <a:lnTo>
                    <a:pt x="942" y="516"/>
                  </a:lnTo>
                  <a:lnTo>
                    <a:pt x="936" y="528"/>
                  </a:lnTo>
                  <a:lnTo>
                    <a:pt x="936" y="534"/>
                  </a:lnTo>
                  <a:lnTo>
                    <a:pt x="936" y="546"/>
                  </a:lnTo>
                  <a:lnTo>
                    <a:pt x="936" y="558"/>
                  </a:lnTo>
                  <a:lnTo>
                    <a:pt x="948" y="558"/>
                  </a:lnTo>
                  <a:lnTo>
                    <a:pt x="954" y="558"/>
                  </a:lnTo>
                  <a:lnTo>
                    <a:pt x="996" y="558"/>
                  </a:lnTo>
                  <a:lnTo>
                    <a:pt x="1002" y="570"/>
                  </a:lnTo>
                  <a:lnTo>
                    <a:pt x="996" y="576"/>
                  </a:lnTo>
                  <a:lnTo>
                    <a:pt x="996" y="588"/>
                  </a:lnTo>
                  <a:lnTo>
                    <a:pt x="984" y="588"/>
                  </a:lnTo>
                  <a:lnTo>
                    <a:pt x="990" y="612"/>
                  </a:lnTo>
                  <a:lnTo>
                    <a:pt x="1014" y="606"/>
                  </a:lnTo>
                  <a:lnTo>
                    <a:pt x="1014" y="636"/>
                  </a:lnTo>
                  <a:lnTo>
                    <a:pt x="1014" y="648"/>
                  </a:lnTo>
                  <a:lnTo>
                    <a:pt x="1020" y="648"/>
                  </a:lnTo>
                  <a:lnTo>
                    <a:pt x="1026" y="660"/>
                  </a:lnTo>
                  <a:lnTo>
                    <a:pt x="1038" y="654"/>
                  </a:lnTo>
                  <a:lnTo>
                    <a:pt x="1050" y="654"/>
                  </a:lnTo>
                  <a:lnTo>
                    <a:pt x="1062" y="654"/>
                  </a:lnTo>
                  <a:lnTo>
                    <a:pt x="1068" y="660"/>
                  </a:lnTo>
                  <a:lnTo>
                    <a:pt x="1068" y="678"/>
                  </a:lnTo>
                  <a:lnTo>
                    <a:pt x="1068" y="684"/>
                  </a:lnTo>
                  <a:lnTo>
                    <a:pt x="1062" y="690"/>
                  </a:lnTo>
                  <a:lnTo>
                    <a:pt x="1056" y="696"/>
                  </a:lnTo>
                  <a:lnTo>
                    <a:pt x="1056" y="702"/>
                  </a:lnTo>
                  <a:lnTo>
                    <a:pt x="1038" y="714"/>
                  </a:lnTo>
                  <a:lnTo>
                    <a:pt x="1026" y="720"/>
                  </a:lnTo>
                  <a:lnTo>
                    <a:pt x="1008" y="726"/>
                  </a:lnTo>
                  <a:lnTo>
                    <a:pt x="1008" y="732"/>
                  </a:lnTo>
                  <a:lnTo>
                    <a:pt x="990" y="732"/>
                  </a:lnTo>
                  <a:lnTo>
                    <a:pt x="984" y="744"/>
                  </a:lnTo>
                  <a:lnTo>
                    <a:pt x="990" y="750"/>
                  </a:lnTo>
                  <a:lnTo>
                    <a:pt x="984" y="762"/>
                  </a:lnTo>
                  <a:lnTo>
                    <a:pt x="984" y="768"/>
                  </a:lnTo>
                  <a:lnTo>
                    <a:pt x="984" y="774"/>
                  </a:lnTo>
                  <a:lnTo>
                    <a:pt x="984" y="780"/>
                  </a:lnTo>
                  <a:lnTo>
                    <a:pt x="984" y="786"/>
                  </a:lnTo>
                  <a:lnTo>
                    <a:pt x="984" y="792"/>
                  </a:lnTo>
                  <a:lnTo>
                    <a:pt x="978" y="798"/>
                  </a:lnTo>
                  <a:lnTo>
                    <a:pt x="978" y="80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3" name="Freeform 38">
              <a:extLst>
                <a:ext uri="{FF2B5EF4-FFF2-40B4-BE49-F238E27FC236}">
                  <a16:creationId xmlns:a16="http://schemas.microsoft.com/office/drawing/2014/main" id="{819B99CE-D972-4530-8964-A992C1EC87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2825" y="1634436"/>
              <a:ext cx="959326" cy="959458"/>
            </a:xfrm>
            <a:custGeom>
              <a:avLst/>
              <a:gdLst>
                <a:gd name="T0" fmla="*/ 105 w 1806"/>
                <a:gd name="T1" fmla="*/ 155 h 1806"/>
                <a:gd name="T2" fmla="*/ 103 w 1806"/>
                <a:gd name="T3" fmla="*/ 155 h 1806"/>
                <a:gd name="T4" fmla="*/ 103 w 1806"/>
                <a:gd name="T5" fmla="*/ 150 h 1806"/>
                <a:gd name="T6" fmla="*/ 104 w 1806"/>
                <a:gd name="T7" fmla="*/ 141 h 1806"/>
                <a:gd name="T8" fmla="*/ 104 w 1806"/>
                <a:gd name="T9" fmla="*/ 136 h 1806"/>
                <a:gd name="T10" fmla="*/ 100 w 1806"/>
                <a:gd name="T11" fmla="*/ 131 h 1806"/>
                <a:gd name="T12" fmla="*/ 96 w 1806"/>
                <a:gd name="T13" fmla="*/ 127 h 1806"/>
                <a:gd name="T14" fmla="*/ 91 w 1806"/>
                <a:gd name="T15" fmla="*/ 121 h 1806"/>
                <a:gd name="T16" fmla="*/ 87 w 1806"/>
                <a:gd name="T17" fmla="*/ 120 h 1806"/>
                <a:gd name="T18" fmla="*/ 81 w 1806"/>
                <a:gd name="T19" fmla="*/ 117 h 1806"/>
                <a:gd name="T20" fmla="*/ 65 w 1806"/>
                <a:gd name="T21" fmla="*/ 113 h 1806"/>
                <a:gd name="T22" fmla="*/ 69 w 1806"/>
                <a:gd name="T23" fmla="*/ 105 h 1806"/>
                <a:gd name="T24" fmla="*/ 66 w 1806"/>
                <a:gd name="T25" fmla="*/ 89 h 1806"/>
                <a:gd name="T26" fmla="*/ 63 w 1806"/>
                <a:gd name="T27" fmla="*/ 84 h 1806"/>
                <a:gd name="T28" fmla="*/ 62 w 1806"/>
                <a:gd name="T29" fmla="*/ 74 h 1806"/>
                <a:gd name="T30" fmla="*/ 58 w 1806"/>
                <a:gd name="T31" fmla="*/ 52 h 1806"/>
                <a:gd name="T32" fmla="*/ 53 w 1806"/>
                <a:gd name="T33" fmla="*/ 49 h 1806"/>
                <a:gd name="T34" fmla="*/ 51 w 1806"/>
                <a:gd name="T35" fmla="*/ 36 h 1806"/>
                <a:gd name="T36" fmla="*/ 43 w 1806"/>
                <a:gd name="T37" fmla="*/ 32 h 1806"/>
                <a:gd name="T38" fmla="*/ 33 w 1806"/>
                <a:gd name="T39" fmla="*/ 30 h 1806"/>
                <a:gd name="T40" fmla="*/ 30 w 1806"/>
                <a:gd name="T41" fmla="*/ 21 h 1806"/>
                <a:gd name="T42" fmla="*/ 17 w 1806"/>
                <a:gd name="T43" fmla="*/ 25 h 1806"/>
                <a:gd name="T44" fmla="*/ 4 w 1806"/>
                <a:gd name="T45" fmla="*/ 33 h 1806"/>
                <a:gd name="T46" fmla="*/ 7 w 1806"/>
                <a:gd name="T47" fmla="*/ 26 h 1806"/>
                <a:gd name="T48" fmla="*/ 11 w 1806"/>
                <a:gd name="T49" fmla="*/ 20 h 1806"/>
                <a:gd name="T50" fmla="*/ 18 w 1806"/>
                <a:gd name="T51" fmla="*/ 12 h 1806"/>
                <a:gd name="T52" fmla="*/ 26 w 1806"/>
                <a:gd name="T53" fmla="*/ 8 h 1806"/>
                <a:gd name="T54" fmla="*/ 35 w 1806"/>
                <a:gd name="T55" fmla="*/ 6 h 1806"/>
                <a:gd name="T56" fmla="*/ 44 w 1806"/>
                <a:gd name="T57" fmla="*/ 5 h 1806"/>
                <a:gd name="T58" fmla="*/ 54 w 1806"/>
                <a:gd name="T59" fmla="*/ 2 h 1806"/>
                <a:gd name="T60" fmla="*/ 65 w 1806"/>
                <a:gd name="T61" fmla="*/ 0 h 1806"/>
                <a:gd name="T62" fmla="*/ 76 w 1806"/>
                <a:gd name="T63" fmla="*/ 0 h 1806"/>
                <a:gd name="T64" fmla="*/ 85 w 1806"/>
                <a:gd name="T65" fmla="*/ 0 h 1806"/>
                <a:gd name="T66" fmla="*/ 97 w 1806"/>
                <a:gd name="T67" fmla="*/ 0 h 1806"/>
                <a:gd name="T68" fmla="*/ 108 w 1806"/>
                <a:gd name="T69" fmla="*/ 3 h 1806"/>
                <a:gd name="T70" fmla="*/ 115 w 1806"/>
                <a:gd name="T71" fmla="*/ 5 h 1806"/>
                <a:gd name="T72" fmla="*/ 123 w 1806"/>
                <a:gd name="T73" fmla="*/ 7 h 1806"/>
                <a:gd name="T74" fmla="*/ 133 w 1806"/>
                <a:gd name="T75" fmla="*/ 14 h 1806"/>
                <a:gd name="T76" fmla="*/ 138 w 1806"/>
                <a:gd name="T77" fmla="*/ 16 h 1806"/>
                <a:gd name="T78" fmla="*/ 140 w 1806"/>
                <a:gd name="T79" fmla="*/ 14 h 1806"/>
                <a:gd name="T80" fmla="*/ 145 w 1806"/>
                <a:gd name="T81" fmla="*/ 16 h 1806"/>
                <a:gd name="T82" fmla="*/ 147 w 1806"/>
                <a:gd name="T83" fmla="*/ 16 h 1806"/>
                <a:gd name="T84" fmla="*/ 150 w 1806"/>
                <a:gd name="T85" fmla="*/ 17 h 1806"/>
                <a:gd name="T86" fmla="*/ 152 w 1806"/>
                <a:gd name="T87" fmla="*/ 18 h 1806"/>
                <a:gd name="T88" fmla="*/ 155 w 1806"/>
                <a:gd name="T89" fmla="*/ 37 h 1806"/>
                <a:gd name="T90" fmla="*/ 146 w 1806"/>
                <a:gd name="T91" fmla="*/ 66 h 1806"/>
                <a:gd name="T92" fmla="*/ 143 w 1806"/>
                <a:gd name="T93" fmla="*/ 88 h 1806"/>
                <a:gd name="T94" fmla="*/ 144 w 1806"/>
                <a:gd name="T95" fmla="*/ 98 h 1806"/>
                <a:gd name="T96" fmla="*/ 137 w 1806"/>
                <a:gd name="T97" fmla="*/ 118 h 1806"/>
                <a:gd name="T98" fmla="*/ 132 w 1806"/>
                <a:gd name="T99" fmla="*/ 129 h 1806"/>
                <a:gd name="T100" fmla="*/ 124 w 1806"/>
                <a:gd name="T101" fmla="*/ 135 h 1806"/>
                <a:gd name="T102" fmla="*/ 119 w 1806"/>
                <a:gd name="T103" fmla="*/ 136 h 1806"/>
                <a:gd name="T104" fmla="*/ 116 w 1806"/>
                <a:gd name="T105" fmla="*/ 137 h 1806"/>
                <a:gd name="T106" fmla="*/ 112 w 1806"/>
                <a:gd name="T107" fmla="*/ 139 h 1806"/>
                <a:gd name="T108" fmla="*/ 112 w 1806"/>
                <a:gd name="T109" fmla="*/ 141 h 1806"/>
                <a:gd name="T110" fmla="*/ 116 w 1806"/>
                <a:gd name="T111" fmla="*/ 146 h 1806"/>
                <a:gd name="T112" fmla="*/ 116 w 1806"/>
                <a:gd name="T113" fmla="*/ 151 h 1806"/>
                <a:gd name="T114" fmla="*/ 113 w 1806"/>
                <a:gd name="T115" fmla="*/ 153 h 18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6"/>
                <a:gd name="T175" fmla="*/ 0 h 1806"/>
                <a:gd name="T176" fmla="*/ 1806 w 1806"/>
                <a:gd name="T177" fmla="*/ 1806 h 18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6" h="1806">
                  <a:moveTo>
                    <a:pt x="1260" y="1776"/>
                  </a:moveTo>
                  <a:lnTo>
                    <a:pt x="1254" y="1776"/>
                  </a:lnTo>
                  <a:lnTo>
                    <a:pt x="1248" y="1776"/>
                  </a:lnTo>
                  <a:lnTo>
                    <a:pt x="1242" y="1782"/>
                  </a:lnTo>
                  <a:lnTo>
                    <a:pt x="1236" y="1782"/>
                  </a:lnTo>
                  <a:lnTo>
                    <a:pt x="1230" y="1788"/>
                  </a:lnTo>
                  <a:lnTo>
                    <a:pt x="1224" y="1782"/>
                  </a:lnTo>
                  <a:lnTo>
                    <a:pt x="1218" y="1782"/>
                  </a:lnTo>
                  <a:lnTo>
                    <a:pt x="1218" y="1788"/>
                  </a:lnTo>
                  <a:lnTo>
                    <a:pt x="1212" y="1788"/>
                  </a:lnTo>
                  <a:lnTo>
                    <a:pt x="1206" y="1788"/>
                  </a:lnTo>
                  <a:lnTo>
                    <a:pt x="1206" y="1794"/>
                  </a:lnTo>
                  <a:lnTo>
                    <a:pt x="1200" y="1806"/>
                  </a:lnTo>
                  <a:lnTo>
                    <a:pt x="1194" y="1800"/>
                  </a:lnTo>
                  <a:lnTo>
                    <a:pt x="1194" y="1794"/>
                  </a:lnTo>
                  <a:lnTo>
                    <a:pt x="1194" y="1788"/>
                  </a:lnTo>
                  <a:lnTo>
                    <a:pt x="1188" y="1788"/>
                  </a:lnTo>
                  <a:lnTo>
                    <a:pt x="1188" y="1782"/>
                  </a:lnTo>
                  <a:lnTo>
                    <a:pt x="1188" y="1776"/>
                  </a:lnTo>
                  <a:lnTo>
                    <a:pt x="1194" y="1770"/>
                  </a:lnTo>
                  <a:lnTo>
                    <a:pt x="1194" y="1764"/>
                  </a:lnTo>
                  <a:lnTo>
                    <a:pt x="1194" y="1758"/>
                  </a:lnTo>
                  <a:lnTo>
                    <a:pt x="1194" y="1752"/>
                  </a:lnTo>
                  <a:lnTo>
                    <a:pt x="1200" y="1746"/>
                  </a:lnTo>
                  <a:lnTo>
                    <a:pt x="1200" y="1740"/>
                  </a:lnTo>
                  <a:lnTo>
                    <a:pt x="1200" y="1734"/>
                  </a:lnTo>
                  <a:lnTo>
                    <a:pt x="1188" y="1722"/>
                  </a:lnTo>
                  <a:lnTo>
                    <a:pt x="1188" y="1716"/>
                  </a:lnTo>
                  <a:lnTo>
                    <a:pt x="1194" y="1704"/>
                  </a:lnTo>
                  <a:lnTo>
                    <a:pt x="1194" y="1692"/>
                  </a:lnTo>
                  <a:lnTo>
                    <a:pt x="1200" y="1680"/>
                  </a:lnTo>
                  <a:lnTo>
                    <a:pt x="1200" y="1662"/>
                  </a:lnTo>
                  <a:lnTo>
                    <a:pt x="1200" y="1650"/>
                  </a:lnTo>
                  <a:lnTo>
                    <a:pt x="1206" y="1644"/>
                  </a:lnTo>
                  <a:lnTo>
                    <a:pt x="1206" y="1638"/>
                  </a:lnTo>
                  <a:lnTo>
                    <a:pt x="1206" y="1626"/>
                  </a:lnTo>
                  <a:lnTo>
                    <a:pt x="1206" y="1620"/>
                  </a:lnTo>
                  <a:lnTo>
                    <a:pt x="1206" y="1614"/>
                  </a:lnTo>
                  <a:lnTo>
                    <a:pt x="1200" y="1608"/>
                  </a:lnTo>
                  <a:lnTo>
                    <a:pt x="1200" y="1602"/>
                  </a:lnTo>
                  <a:lnTo>
                    <a:pt x="1200" y="1596"/>
                  </a:lnTo>
                  <a:lnTo>
                    <a:pt x="1200" y="1590"/>
                  </a:lnTo>
                  <a:lnTo>
                    <a:pt x="1200" y="1572"/>
                  </a:lnTo>
                  <a:lnTo>
                    <a:pt x="1200" y="1566"/>
                  </a:lnTo>
                  <a:lnTo>
                    <a:pt x="1200" y="1560"/>
                  </a:lnTo>
                  <a:lnTo>
                    <a:pt x="1194" y="1554"/>
                  </a:lnTo>
                  <a:lnTo>
                    <a:pt x="1188" y="1548"/>
                  </a:lnTo>
                  <a:lnTo>
                    <a:pt x="1188" y="1542"/>
                  </a:lnTo>
                  <a:lnTo>
                    <a:pt x="1176" y="1536"/>
                  </a:lnTo>
                  <a:lnTo>
                    <a:pt x="1176" y="1530"/>
                  </a:lnTo>
                  <a:lnTo>
                    <a:pt x="1170" y="1524"/>
                  </a:lnTo>
                  <a:lnTo>
                    <a:pt x="1170" y="1518"/>
                  </a:lnTo>
                  <a:lnTo>
                    <a:pt x="1164" y="1512"/>
                  </a:lnTo>
                  <a:lnTo>
                    <a:pt x="1158" y="1506"/>
                  </a:lnTo>
                  <a:lnTo>
                    <a:pt x="1152" y="1500"/>
                  </a:lnTo>
                  <a:lnTo>
                    <a:pt x="1146" y="1494"/>
                  </a:lnTo>
                  <a:lnTo>
                    <a:pt x="1140" y="1488"/>
                  </a:lnTo>
                  <a:lnTo>
                    <a:pt x="1134" y="1482"/>
                  </a:lnTo>
                  <a:lnTo>
                    <a:pt x="1128" y="1476"/>
                  </a:lnTo>
                  <a:lnTo>
                    <a:pt x="1122" y="1470"/>
                  </a:lnTo>
                  <a:lnTo>
                    <a:pt x="1116" y="1464"/>
                  </a:lnTo>
                  <a:lnTo>
                    <a:pt x="1110" y="1464"/>
                  </a:lnTo>
                  <a:lnTo>
                    <a:pt x="1104" y="1458"/>
                  </a:lnTo>
                  <a:lnTo>
                    <a:pt x="1098" y="1464"/>
                  </a:lnTo>
                  <a:lnTo>
                    <a:pt x="1092" y="1464"/>
                  </a:lnTo>
                  <a:lnTo>
                    <a:pt x="1086" y="1446"/>
                  </a:lnTo>
                  <a:lnTo>
                    <a:pt x="1086" y="1440"/>
                  </a:lnTo>
                  <a:lnTo>
                    <a:pt x="1080" y="1416"/>
                  </a:lnTo>
                  <a:lnTo>
                    <a:pt x="1068" y="1404"/>
                  </a:lnTo>
                  <a:lnTo>
                    <a:pt x="1062" y="1398"/>
                  </a:lnTo>
                  <a:lnTo>
                    <a:pt x="1056" y="1398"/>
                  </a:lnTo>
                  <a:lnTo>
                    <a:pt x="1050" y="1398"/>
                  </a:lnTo>
                  <a:lnTo>
                    <a:pt x="1044" y="1398"/>
                  </a:lnTo>
                  <a:lnTo>
                    <a:pt x="1044" y="1392"/>
                  </a:lnTo>
                  <a:lnTo>
                    <a:pt x="1038" y="1392"/>
                  </a:lnTo>
                  <a:lnTo>
                    <a:pt x="1032" y="1392"/>
                  </a:lnTo>
                  <a:lnTo>
                    <a:pt x="1020" y="1386"/>
                  </a:lnTo>
                  <a:lnTo>
                    <a:pt x="1014" y="1386"/>
                  </a:lnTo>
                  <a:lnTo>
                    <a:pt x="1014" y="1380"/>
                  </a:lnTo>
                  <a:lnTo>
                    <a:pt x="1008" y="1380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62"/>
                  </a:lnTo>
                  <a:lnTo>
                    <a:pt x="984" y="1356"/>
                  </a:lnTo>
                  <a:lnTo>
                    <a:pt x="978" y="1356"/>
                  </a:lnTo>
                  <a:lnTo>
                    <a:pt x="972" y="1356"/>
                  </a:lnTo>
                  <a:lnTo>
                    <a:pt x="966" y="1356"/>
                  </a:lnTo>
                  <a:lnTo>
                    <a:pt x="966" y="1350"/>
                  </a:lnTo>
                  <a:lnTo>
                    <a:pt x="948" y="1350"/>
                  </a:lnTo>
                  <a:lnTo>
                    <a:pt x="936" y="1344"/>
                  </a:lnTo>
                  <a:lnTo>
                    <a:pt x="930" y="1338"/>
                  </a:lnTo>
                  <a:lnTo>
                    <a:pt x="918" y="1332"/>
                  </a:lnTo>
                  <a:lnTo>
                    <a:pt x="900" y="1326"/>
                  </a:lnTo>
                  <a:lnTo>
                    <a:pt x="864" y="1332"/>
                  </a:lnTo>
                  <a:lnTo>
                    <a:pt x="828" y="1332"/>
                  </a:lnTo>
                  <a:lnTo>
                    <a:pt x="792" y="1314"/>
                  </a:lnTo>
                  <a:lnTo>
                    <a:pt x="780" y="1314"/>
                  </a:lnTo>
                  <a:lnTo>
                    <a:pt x="780" y="1308"/>
                  </a:lnTo>
                  <a:lnTo>
                    <a:pt x="756" y="1296"/>
                  </a:lnTo>
                  <a:lnTo>
                    <a:pt x="756" y="1278"/>
                  </a:lnTo>
                  <a:lnTo>
                    <a:pt x="768" y="1278"/>
                  </a:lnTo>
                  <a:lnTo>
                    <a:pt x="774" y="1272"/>
                  </a:lnTo>
                  <a:lnTo>
                    <a:pt x="780" y="1266"/>
                  </a:lnTo>
                  <a:lnTo>
                    <a:pt x="786" y="1260"/>
                  </a:lnTo>
                  <a:lnTo>
                    <a:pt x="792" y="1254"/>
                  </a:lnTo>
                  <a:lnTo>
                    <a:pt x="798" y="1242"/>
                  </a:lnTo>
                  <a:lnTo>
                    <a:pt x="804" y="1242"/>
                  </a:lnTo>
                  <a:lnTo>
                    <a:pt x="804" y="1206"/>
                  </a:lnTo>
                  <a:lnTo>
                    <a:pt x="804" y="1182"/>
                  </a:lnTo>
                  <a:lnTo>
                    <a:pt x="804" y="1158"/>
                  </a:lnTo>
                  <a:lnTo>
                    <a:pt x="804" y="1134"/>
                  </a:lnTo>
                  <a:lnTo>
                    <a:pt x="798" y="1116"/>
                  </a:lnTo>
                  <a:lnTo>
                    <a:pt x="792" y="1092"/>
                  </a:lnTo>
                  <a:lnTo>
                    <a:pt x="786" y="1062"/>
                  </a:lnTo>
                  <a:lnTo>
                    <a:pt x="768" y="1032"/>
                  </a:lnTo>
                  <a:lnTo>
                    <a:pt x="762" y="1032"/>
                  </a:lnTo>
                  <a:lnTo>
                    <a:pt x="762" y="1020"/>
                  </a:lnTo>
                  <a:lnTo>
                    <a:pt x="762" y="1014"/>
                  </a:lnTo>
                  <a:lnTo>
                    <a:pt x="756" y="1008"/>
                  </a:lnTo>
                  <a:lnTo>
                    <a:pt x="750" y="1002"/>
                  </a:lnTo>
                  <a:lnTo>
                    <a:pt x="738" y="1002"/>
                  </a:lnTo>
                  <a:lnTo>
                    <a:pt x="738" y="990"/>
                  </a:lnTo>
                  <a:lnTo>
                    <a:pt x="726" y="990"/>
                  </a:lnTo>
                  <a:lnTo>
                    <a:pt x="726" y="978"/>
                  </a:lnTo>
                  <a:lnTo>
                    <a:pt x="732" y="972"/>
                  </a:lnTo>
                  <a:lnTo>
                    <a:pt x="732" y="966"/>
                  </a:lnTo>
                  <a:lnTo>
                    <a:pt x="726" y="966"/>
                  </a:lnTo>
                  <a:lnTo>
                    <a:pt x="732" y="948"/>
                  </a:lnTo>
                  <a:lnTo>
                    <a:pt x="726" y="942"/>
                  </a:lnTo>
                  <a:lnTo>
                    <a:pt x="726" y="930"/>
                  </a:lnTo>
                  <a:lnTo>
                    <a:pt x="720" y="924"/>
                  </a:lnTo>
                  <a:lnTo>
                    <a:pt x="714" y="912"/>
                  </a:lnTo>
                  <a:lnTo>
                    <a:pt x="714" y="882"/>
                  </a:lnTo>
                  <a:lnTo>
                    <a:pt x="714" y="870"/>
                  </a:lnTo>
                  <a:lnTo>
                    <a:pt x="714" y="858"/>
                  </a:lnTo>
                  <a:lnTo>
                    <a:pt x="714" y="846"/>
                  </a:lnTo>
                  <a:lnTo>
                    <a:pt x="708" y="822"/>
                  </a:lnTo>
                  <a:lnTo>
                    <a:pt x="702" y="798"/>
                  </a:lnTo>
                  <a:lnTo>
                    <a:pt x="696" y="792"/>
                  </a:lnTo>
                  <a:lnTo>
                    <a:pt x="684" y="726"/>
                  </a:lnTo>
                  <a:lnTo>
                    <a:pt x="678" y="666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66" y="600"/>
                  </a:lnTo>
                  <a:lnTo>
                    <a:pt x="660" y="594"/>
                  </a:lnTo>
                  <a:lnTo>
                    <a:pt x="654" y="594"/>
                  </a:lnTo>
                  <a:lnTo>
                    <a:pt x="636" y="582"/>
                  </a:lnTo>
                  <a:lnTo>
                    <a:pt x="630" y="576"/>
                  </a:lnTo>
                  <a:lnTo>
                    <a:pt x="624" y="576"/>
                  </a:lnTo>
                  <a:lnTo>
                    <a:pt x="618" y="570"/>
                  </a:lnTo>
                  <a:lnTo>
                    <a:pt x="612" y="564"/>
                  </a:lnTo>
                  <a:lnTo>
                    <a:pt x="606" y="558"/>
                  </a:lnTo>
                  <a:lnTo>
                    <a:pt x="606" y="564"/>
                  </a:lnTo>
                  <a:lnTo>
                    <a:pt x="600" y="564"/>
                  </a:lnTo>
                  <a:lnTo>
                    <a:pt x="594" y="558"/>
                  </a:lnTo>
                  <a:lnTo>
                    <a:pt x="594" y="540"/>
                  </a:lnTo>
                  <a:lnTo>
                    <a:pt x="594" y="528"/>
                  </a:lnTo>
                  <a:lnTo>
                    <a:pt x="594" y="516"/>
                  </a:lnTo>
                  <a:lnTo>
                    <a:pt x="594" y="510"/>
                  </a:lnTo>
                  <a:lnTo>
                    <a:pt x="594" y="492"/>
                  </a:lnTo>
                  <a:lnTo>
                    <a:pt x="594" y="456"/>
                  </a:lnTo>
                  <a:lnTo>
                    <a:pt x="588" y="414"/>
                  </a:lnTo>
                  <a:lnTo>
                    <a:pt x="588" y="408"/>
                  </a:lnTo>
                  <a:lnTo>
                    <a:pt x="582" y="396"/>
                  </a:lnTo>
                  <a:lnTo>
                    <a:pt x="582" y="384"/>
                  </a:lnTo>
                  <a:lnTo>
                    <a:pt x="582" y="372"/>
                  </a:lnTo>
                  <a:lnTo>
                    <a:pt x="564" y="372"/>
                  </a:lnTo>
                  <a:lnTo>
                    <a:pt x="552" y="366"/>
                  </a:lnTo>
                  <a:lnTo>
                    <a:pt x="552" y="372"/>
                  </a:lnTo>
                  <a:lnTo>
                    <a:pt x="498" y="372"/>
                  </a:lnTo>
                  <a:lnTo>
                    <a:pt x="498" y="366"/>
                  </a:lnTo>
                  <a:lnTo>
                    <a:pt x="474" y="360"/>
                  </a:lnTo>
                  <a:lnTo>
                    <a:pt x="456" y="354"/>
                  </a:lnTo>
                  <a:lnTo>
                    <a:pt x="438" y="348"/>
                  </a:lnTo>
                  <a:lnTo>
                    <a:pt x="426" y="354"/>
                  </a:lnTo>
                  <a:lnTo>
                    <a:pt x="408" y="360"/>
                  </a:lnTo>
                  <a:lnTo>
                    <a:pt x="378" y="360"/>
                  </a:lnTo>
                  <a:lnTo>
                    <a:pt x="378" y="354"/>
                  </a:lnTo>
                  <a:lnTo>
                    <a:pt x="378" y="348"/>
                  </a:lnTo>
                  <a:lnTo>
                    <a:pt x="378" y="342"/>
                  </a:lnTo>
                  <a:lnTo>
                    <a:pt x="390" y="330"/>
                  </a:lnTo>
                  <a:lnTo>
                    <a:pt x="396" y="312"/>
                  </a:lnTo>
                  <a:lnTo>
                    <a:pt x="396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8"/>
                  </a:lnTo>
                  <a:lnTo>
                    <a:pt x="372" y="234"/>
                  </a:lnTo>
                  <a:lnTo>
                    <a:pt x="354" y="234"/>
                  </a:lnTo>
                  <a:lnTo>
                    <a:pt x="342" y="246"/>
                  </a:lnTo>
                  <a:lnTo>
                    <a:pt x="330" y="252"/>
                  </a:lnTo>
                  <a:lnTo>
                    <a:pt x="318" y="252"/>
                  </a:lnTo>
                  <a:lnTo>
                    <a:pt x="276" y="258"/>
                  </a:lnTo>
                  <a:lnTo>
                    <a:pt x="276" y="264"/>
                  </a:lnTo>
                  <a:lnTo>
                    <a:pt x="252" y="270"/>
                  </a:lnTo>
                  <a:lnTo>
                    <a:pt x="240" y="270"/>
                  </a:lnTo>
                  <a:lnTo>
                    <a:pt x="228" y="276"/>
                  </a:lnTo>
                  <a:lnTo>
                    <a:pt x="210" y="282"/>
                  </a:lnTo>
                  <a:lnTo>
                    <a:pt x="198" y="288"/>
                  </a:lnTo>
                  <a:lnTo>
                    <a:pt x="186" y="294"/>
                  </a:lnTo>
                  <a:lnTo>
                    <a:pt x="174" y="330"/>
                  </a:lnTo>
                  <a:lnTo>
                    <a:pt x="162" y="342"/>
                  </a:lnTo>
                  <a:lnTo>
                    <a:pt x="156" y="354"/>
                  </a:lnTo>
                  <a:lnTo>
                    <a:pt x="150" y="360"/>
                  </a:lnTo>
                  <a:lnTo>
                    <a:pt x="150" y="366"/>
                  </a:lnTo>
                  <a:lnTo>
                    <a:pt x="108" y="372"/>
                  </a:lnTo>
                  <a:lnTo>
                    <a:pt x="60" y="378"/>
                  </a:lnTo>
                  <a:lnTo>
                    <a:pt x="42" y="378"/>
                  </a:lnTo>
                  <a:lnTo>
                    <a:pt x="12" y="378"/>
                  </a:lnTo>
                  <a:lnTo>
                    <a:pt x="6" y="378"/>
                  </a:lnTo>
                  <a:lnTo>
                    <a:pt x="0" y="366"/>
                  </a:lnTo>
                  <a:lnTo>
                    <a:pt x="12" y="360"/>
                  </a:lnTo>
                  <a:lnTo>
                    <a:pt x="24" y="348"/>
                  </a:lnTo>
                  <a:lnTo>
                    <a:pt x="30" y="342"/>
                  </a:lnTo>
                  <a:lnTo>
                    <a:pt x="36" y="330"/>
                  </a:lnTo>
                  <a:lnTo>
                    <a:pt x="72" y="300"/>
                  </a:lnTo>
                  <a:lnTo>
                    <a:pt x="78" y="294"/>
                  </a:lnTo>
                  <a:lnTo>
                    <a:pt x="78" y="288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96" y="270"/>
                  </a:lnTo>
                  <a:lnTo>
                    <a:pt x="102" y="264"/>
                  </a:lnTo>
                  <a:lnTo>
                    <a:pt x="108" y="258"/>
                  </a:lnTo>
                  <a:lnTo>
                    <a:pt x="114" y="246"/>
                  </a:lnTo>
                  <a:lnTo>
                    <a:pt x="120" y="240"/>
                  </a:lnTo>
                  <a:lnTo>
                    <a:pt x="126" y="234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0" y="210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86" y="174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22" y="138"/>
                  </a:lnTo>
                  <a:lnTo>
                    <a:pt x="234" y="132"/>
                  </a:lnTo>
                  <a:lnTo>
                    <a:pt x="246" y="126"/>
                  </a:lnTo>
                  <a:lnTo>
                    <a:pt x="246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88" y="102"/>
                  </a:lnTo>
                  <a:lnTo>
                    <a:pt x="300" y="96"/>
                  </a:lnTo>
                  <a:lnTo>
                    <a:pt x="306" y="90"/>
                  </a:lnTo>
                  <a:lnTo>
                    <a:pt x="318" y="90"/>
                  </a:lnTo>
                  <a:lnTo>
                    <a:pt x="324" y="84"/>
                  </a:lnTo>
                  <a:lnTo>
                    <a:pt x="348" y="72"/>
                  </a:lnTo>
                  <a:lnTo>
                    <a:pt x="354" y="72"/>
                  </a:lnTo>
                  <a:lnTo>
                    <a:pt x="384" y="66"/>
                  </a:lnTo>
                  <a:lnTo>
                    <a:pt x="390" y="66"/>
                  </a:lnTo>
                  <a:lnTo>
                    <a:pt x="396" y="66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66"/>
                  </a:lnTo>
                  <a:lnTo>
                    <a:pt x="438" y="66"/>
                  </a:lnTo>
                  <a:lnTo>
                    <a:pt x="468" y="66"/>
                  </a:lnTo>
                  <a:lnTo>
                    <a:pt x="480" y="66"/>
                  </a:lnTo>
                  <a:lnTo>
                    <a:pt x="486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22" y="60"/>
                  </a:lnTo>
                  <a:lnTo>
                    <a:pt x="534" y="54"/>
                  </a:lnTo>
                  <a:lnTo>
                    <a:pt x="564" y="42"/>
                  </a:lnTo>
                  <a:lnTo>
                    <a:pt x="570" y="42"/>
                  </a:lnTo>
                  <a:lnTo>
                    <a:pt x="582" y="36"/>
                  </a:lnTo>
                  <a:lnTo>
                    <a:pt x="588" y="36"/>
                  </a:lnTo>
                  <a:lnTo>
                    <a:pt x="600" y="30"/>
                  </a:lnTo>
                  <a:lnTo>
                    <a:pt x="606" y="30"/>
                  </a:lnTo>
                  <a:lnTo>
                    <a:pt x="618" y="24"/>
                  </a:lnTo>
                  <a:lnTo>
                    <a:pt x="642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72" y="12"/>
                  </a:lnTo>
                  <a:lnTo>
                    <a:pt x="696" y="12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50" y="6"/>
                  </a:lnTo>
                  <a:lnTo>
                    <a:pt x="768" y="6"/>
                  </a:lnTo>
                  <a:lnTo>
                    <a:pt x="774" y="6"/>
                  </a:lnTo>
                  <a:lnTo>
                    <a:pt x="786" y="6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6" y="6"/>
                  </a:lnTo>
                  <a:lnTo>
                    <a:pt x="846" y="6"/>
                  </a:lnTo>
                  <a:lnTo>
                    <a:pt x="852" y="0"/>
                  </a:lnTo>
                  <a:lnTo>
                    <a:pt x="876" y="0"/>
                  </a:lnTo>
                  <a:lnTo>
                    <a:pt x="876" y="6"/>
                  </a:lnTo>
                  <a:lnTo>
                    <a:pt x="888" y="0"/>
                  </a:lnTo>
                  <a:lnTo>
                    <a:pt x="900" y="0"/>
                  </a:lnTo>
                  <a:lnTo>
                    <a:pt x="906" y="0"/>
                  </a:lnTo>
                  <a:lnTo>
                    <a:pt x="912" y="0"/>
                  </a:lnTo>
                  <a:lnTo>
                    <a:pt x="948" y="0"/>
                  </a:lnTo>
                  <a:lnTo>
                    <a:pt x="954" y="0"/>
                  </a:lnTo>
                  <a:lnTo>
                    <a:pt x="972" y="0"/>
                  </a:lnTo>
                  <a:lnTo>
                    <a:pt x="978" y="0"/>
                  </a:lnTo>
                  <a:lnTo>
                    <a:pt x="996" y="0"/>
                  </a:lnTo>
                  <a:lnTo>
                    <a:pt x="1032" y="0"/>
                  </a:lnTo>
                  <a:lnTo>
                    <a:pt x="1044" y="0"/>
                  </a:lnTo>
                  <a:lnTo>
                    <a:pt x="1050" y="0"/>
                  </a:lnTo>
                  <a:lnTo>
                    <a:pt x="1056" y="6"/>
                  </a:lnTo>
                  <a:lnTo>
                    <a:pt x="1056" y="0"/>
                  </a:lnTo>
                  <a:lnTo>
                    <a:pt x="1074" y="0"/>
                  </a:lnTo>
                  <a:lnTo>
                    <a:pt x="1098" y="6"/>
                  </a:lnTo>
                  <a:lnTo>
                    <a:pt x="1116" y="6"/>
                  </a:lnTo>
                  <a:lnTo>
                    <a:pt x="1140" y="12"/>
                  </a:lnTo>
                  <a:lnTo>
                    <a:pt x="1152" y="12"/>
                  </a:lnTo>
                  <a:lnTo>
                    <a:pt x="1158" y="12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6" y="12"/>
                  </a:lnTo>
                  <a:lnTo>
                    <a:pt x="1194" y="18"/>
                  </a:lnTo>
                  <a:lnTo>
                    <a:pt x="1206" y="18"/>
                  </a:lnTo>
                  <a:lnTo>
                    <a:pt x="1242" y="36"/>
                  </a:lnTo>
                  <a:lnTo>
                    <a:pt x="1248" y="36"/>
                  </a:lnTo>
                  <a:lnTo>
                    <a:pt x="1254" y="36"/>
                  </a:lnTo>
                  <a:lnTo>
                    <a:pt x="1260" y="42"/>
                  </a:lnTo>
                  <a:lnTo>
                    <a:pt x="1272" y="48"/>
                  </a:lnTo>
                  <a:lnTo>
                    <a:pt x="1278" y="48"/>
                  </a:lnTo>
                  <a:lnTo>
                    <a:pt x="1284" y="48"/>
                  </a:lnTo>
                  <a:lnTo>
                    <a:pt x="1290" y="54"/>
                  </a:lnTo>
                  <a:lnTo>
                    <a:pt x="1308" y="60"/>
                  </a:lnTo>
                  <a:lnTo>
                    <a:pt x="1326" y="60"/>
                  </a:lnTo>
                  <a:lnTo>
                    <a:pt x="1338" y="66"/>
                  </a:lnTo>
                  <a:lnTo>
                    <a:pt x="1344" y="66"/>
                  </a:lnTo>
                  <a:lnTo>
                    <a:pt x="1350" y="66"/>
                  </a:lnTo>
                  <a:lnTo>
                    <a:pt x="1356" y="66"/>
                  </a:lnTo>
                  <a:lnTo>
                    <a:pt x="1362" y="72"/>
                  </a:lnTo>
                  <a:lnTo>
                    <a:pt x="1368" y="72"/>
                  </a:lnTo>
                  <a:lnTo>
                    <a:pt x="1380" y="72"/>
                  </a:lnTo>
                  <a:lnTo>
                    <a:pt x="1386" y="72"/>
                  </a:lnTo>
                  <a:lnTo>
                    <a:pt x="1422" y="84"/>
                  </a:lnTo>
                  <a:lnTo>
                    <a:pt x="1428" y="84"/>
                  </a:lnTo>
                  <a:lnTo>
                    <a:pt x="1446" y="90"/>
                  </a:lnTo>
                  <a:lnTo>
                    <a:pt x="1458" y="102"/>
                  </a:lnTo>
                  <a:lnTo>
                    <a:pt x="1494" y="126"/>
                  </a:lnTo>
                  <a:lnTo>
                    <a:pt x="1500" y="132"/>
                  </a:lnTo>
                  <a:lnTo>
                    <a:pt x="1512" y="138"/>
                  </a:lnTo>
                  <a:lnTo>
                    <a:pt x="1512" y="144"/>
                  </a:lnTo>
                  <a:lnTo>
                    <a:pt x="1518" y="150"/>
                  </a:lnTo>
                  <a:lnTo>
                    <a:pt x="1530" y="156"/>
                  </a:lnTo>
                  <a:lnTo>
                    <a:pt x="1530" y="162"/>
                  </a:lnTo>
                  <a:lnTo>
                    <a:pt x="1548" y="168"/>
                  </a:lnTo>
                  <a:lnTo>
                    <a:pt x="1566" y="180"/>
                  </a:lnTo>
                  <a:lnTo>
                    <a:pt x="1578" y="186"/>
                  </a:lnTo>
                  <a:lnTo>
                    <a:pt x="1578" y="180"/>
                  </a:lnTo>
                  <a:lnTo>
                    <a:pt x="1584" y="186"/>
                  </a:lnTo>
                  <a:lnTo>
                    <a:pt x="1584" y="174"/>
                  </a:lnTo>
                  <a:lnTo>
                    <a:pt x="1590" y="174"/>
                  </a:lnTo>
                  <a:lnTo>
                    <a:pt x="1590" y="180"/>
                  </a:lnTo>
                  <a:lnTo>
                    <a:pt x="1596" y="180"/>
                  </a:lnTo>
                  <a:lnTo>
                    <a:pt x="1596" y="174"/>
                  </a:lnTo>
                  <a:lnTo>
                    <a:pt x="1602" y="174"/>
                  </a:lnTo>
                  <a:lnTo>
                    <a:pt x="1608" y="174"/>
                  </a:lnTo>
                  <a:lnTo>
                    <a:pt x="1614" y="180"/>
                  </a:lnTo>
                  <a:lnTo>
                    <a:pt x="1620" y="174"/>
                  </a:lnTo>
                  <a:lnTo>
                    <a:pt x="1614" y="168"/>
                  </a:lnTo>
                  <a:lnTo>
                    <a:pt x="1614" y="162"/>
                  </a:lnTo>
                  <a:lnTo>
                    <a:pt x="1620" y="162"/>
                  </a:lnTo>
                  <a:lnTo>
                    <a:pt x="1626" y="162"/>
                  </a:lnTo>
                  <a:lnTo>
                    <a:pt x="1632" y="162"/>
                  </a:lnTo>
                  <a:lnTo>
                    <a:pt x="1638" y="168"/>
                  </a:lnTo>
                  <a:lnTo>
                    <a:pt x="1644" y="168"/>
                  </a:lnTo>
                  <a:lnTo>
                    <a:pt x="1650" y="174"/>
                  </a:lnTo>
                  <a:lnTo>
                    <a:pt x="1656" y="168"/>
                  </a:lnTo>
                  <a:lnTo>
                    <a:pt x="1668" y="168"/>
                  </a:lnTo>
                  <a:lnTo>
                    <a:pt x="1674" y="174"/>
                  </a:lnTo>
                  <a:lnTo>
                    <a:pt x="1674" y="180"/>
                  </a:lnTo>
                  <a:lnTo>
                    <a:pt x="1674" y="186"/>
                  </a:lnTo>
                  <a:lnTo>
                    <a:pt x="1680" y="186"/>
                  </a:lnTo>
                  <a:lnTo>
                    <a:pt x="1680" y="192"/>
                  </a:lnTo>
                  <a:lnTo>
                    <a:pt x="1686" y="192"/>
                  </a:lnTo>
                  <a:lnTo>
                    <a:pt x="1686" y="186"/>
                  </a:lnTo>
                  <a:lnTo>
                    <a:pt x="1680" y="186"/>
                  </a:lnTo>
                  <a:lnTo>
                    <a:pt x="1686" y="180"/>
                  </a:lnTo>
                  <a:lnTo>
                    <a:pt x="1692" y="180"/>
                  </a:lnTo>
                  <a:lnTo>
                    <a:pt x="1698" y="180"/>
                  </a:lnTo>
                  <a:lnTo>
                    <a:pt x="1704" y="180"/>
                  </a:lnTo>
                  <a:lnTo>
                    <a:pt x="1704" y="186"/>
                  </a:lnTo>
                  <a:lnTo>
                    <a:pt x="1710" y="186"/>
                  </a:lnTo>
                  <a:lnTo>
                    <a:pt x="1716" y="186"/>
                  </a:lnTo>
                  <a:lnTo>
                    <a:pt x="1716" y="192"/>
                  </a:lnTo>
                  <a:lnTo>
                    <a:pt x="1716" y="198"/>
                  </a:lnTo>
                  <a:lnTo>
                    <a:pt x="1722" y="192"/>
                  </a:lnTo>
                  <a:lnTo>
                    <a:pt x="1722" y="186"/>
                  </a:lnTo>
                  <a:lnTo>
                    <a:pt x="1728" y="192"/>
                  </a:lnTo>
                  <a:lnTo>
                    <a:pt x="1734" y="192"/>
                  </a:lnTo>
                  <a:lnTo>
                    <a:pt x="1734" y="186"/>
                  </a:lnTo>
                  <a:lnTo>
                    <a:pt x="1740" y="186"/>
                  </a:lnTo>
                  <a:lnTo>
                    <a:pt x="1740" y="192"/>
                  </a:lnTo>
                  <a:lnTo>
                    <a:pt x="1746" y="192"/>
                  </a:lnTo>
                  <a:lnTo>
                    <a:pt x="1758" y="192"/>
                  </a:lnTo>
                  <a:lnTo>
                    <a:pt x="1764" y="192"/>
                  </a:lnTo>
                  <a:lnTo>
                    <a:pt x="1764" y="198"/>
                  </a:lnTo>
                  <a:lnTo>
                    <a:pt x="1758" y="204"/>
                  </a:lnTo>
                  <a:lnTo>
                    <a:pt x="1752" y="210"/>
                  </a:lnTo>
                  <a:lnTo>
                    <a:pt x="1746" y="216"/>
                  </a:lnTo>
                  <a:lnTo>
                    <a:pt x="1746" y="222"/>
                  </a:lnTo>
                  <a:lnTo>
                    <a:pt x="1734" y="228"/>
                  </a:lnTo>
                  <a:lnTo>
                    <a:pt x="1734" y="234"/>
                  </a:lnTo>
                  <a:lnTo>
                    <a:pt x="1734" y="258"/>
                  </a:lnTo>
                  <a:lnTo>
                    <a:pt x="1740" y="330"/>
                  </a:lnTo>
                  <a:lnTo>
                    <a:pt x="1746" y="372"/>
                  </a:lnTo>
                  <a:lnTo>
                    <a:pt x="1788" y="426"/>
                  </a:lnTo>
                  <a:lnTo>
                    <a:pt x="1806" y="438"/>
                  </a:lnTo>
                  <a:lnTo>
                    <a:pt x="1794" y="480"/>
                  </a:lnTo>
                  <a:lnTo>
                    <a:pt x="1770" y="516"/>
                  </a:lnTo>
                  <a:lnTo>
                    <a:pt x="1746" y="546"/>
                  </a:lnTo>
                  <a:lnTo>
                    <a:pt x="1716" y="570"/>
                  </a:lnTo>
                  <a:lnTo>
                    <a:pt x="1680" y="594"/>
                  </a:lnTo>
                  <a:lnTo>
                    <a:pt x="1668" y="630"/>
                  </a:lnTo>
                  <a:lnTo>
                    <a:pt x="1680" y="684"/>
                  </a:lnTo>
                  <a:lnTo>
                    <a:pt x="1686" y="756"/>
                  </a:lnTo>
                  <a:lnTo>
                    <a:pt x="1662" y="870"/>
                  </a:lnTo>
                  <a:lnTo>
                    <a:pt x="1656" y="888"/>
                  </a:lnTo>
                  <a:lnTo>
                    <a:pt x="1650" y="972"/>
                  </a:lnTo>
                  <a:lnTo>
                    <a:pt x="1656" y="978"/>
                  </a:lnTo>
                  <a:lnTo>
                    <a:pt x="1650" y="984"/>
                  </a:lnTo>
                  <a:lnTo>
                    <a:pt x="1650" y="990"/>
                  </a:lnTo>
                  <a:lnTo>
                    <a:pt x="1650" y="1002"/>
                  </a:lnTo>
                  <a:lnTo>
                    <a:pt x="1656" y="1008"/>
                  </a:lnTo>
                  <a:lnTo>
                    <a:pt x="1656" y="1014"/>
                  </a:lnTo>
                  <a:lnTo>
                    <a:pt x="1662" y="1026"/>
                  </a:lnTo>
                  <a:lnTo>
                    <a:pt x="1650" y="1032"/>
                  </a:lnTo>
                  <a:lnTo>
                    <a:pt x="1638" y="1044"/>
                  </a:lnTo>
                  <a:lnTo>
                    <a:pt x="1626" y="1080"/>
                  </a:lnTo>
                  <a:lnTo>
                    <a:pt x="1614" y="1116"/>
                  </a:lnTo>
                  <a:lnTo>
                    <a:pt x="1614" y="1128"/>
                  </a:lnTo>
                  <a:lnTo>
                    <a:pt x="1626" y="1134"/>
                  </a:lnTo>
                  <a:lnTo>
                    <a:pt x="1644" y="1134"/>
                  </a:lnTo>
                  <a:lnTo>
                    <a:pt x="1662" y="1134"/>
                  </a:lnTo>
                  <a:lnTo>
                    <a:pt x="1680" y="1140"/>
                  </a:lnTo>
                  <a:lnTo>
                    <a:pt x="1698" y="1170"/>
                  </a:lnTo>
                  <a:lnTo>
                    <a:pt x="1704" y="1194"/>
                  </a:lnTo>
                  <a:lnTo>
                    <a:pt x="1692" y="1206"/>
                  </a:lnTo>
                  <a:lnTo>
                    <a:pt x="1662" y="1242"/>
                  </a:lnTo>
                  <a:lnTo>
                    <a:pt x="1632" y="1266"/>
                  </a:lnTo>
                  <a:lnTo>
                    <a:pt x="1620" y="1314"/>
                  </a:lnTo>
                  <a:lnTo>
                    <a:pt x="1584" y="1356"/>
                  </a:lnTo>
                  <a:lnTo>
                    <a:pt x="1578" y="1356"/>
                  </a:lnTo>
                  <a:lnTo>
                    <a:pt x="1578" y="1362"/>
                  </a:lnTo>
                  <a:lnTo>
                    <a:pt x="1572" y="1410"/>
                  </a:lnTo>
                  <a:lnTo>
                    <a:pt x="1584" y="1452"/>
                  </a:lnTo>
                  <a:lnTo>
                    <a:pt x="1608" y="1476"/>
                  </a:lnTo>
                  <a:lnTo>
                    <a:pt x="1596" y="1476"/>
                  </a:lnTo>
                  <a:lnTo>
                    <a:pt x="1584" y="1482"/>
                  </a:lnTo>
                  <a:lnTo>
                    <a:pt x="1560" y="1482"/>
                  </a:lnTo>
                  <a:lnTo>
                    <a:pt x="1536" y="1482"/>
                  </a:lnTo>
                  <a:lnTo>
                    <a:pt x="1524" y="1482"/>
                  </a:lnTo>
                  <a:lnTo>
                    <a:pt x="1506" y="1500"/>
                  </a:lnTo>
                  <a:lnTo>
                    <a:pt x="1482" y="1530"/>
                  </a:lnTo>
                  <a:lnTo>
                    <a:pt x="1452" y="1542"/>
                  </a:lnTo>
                  <a:lnTo>
                    <a:pt x="1446" y="1542"/>
                  </a:lnTo>
                  <a:lnTo>
                    <a:pt x="1440" y="1542"/>
                  </a:lnTo>
                  <a:lnTo>
                    <a:pt x="1440" y="1548"/>
                  </a:lnTo>
                  <a:lnTo>
                    <a:pt x="1434" y="1548"/>
                  </a:lnTo>
                  <a:lnTo>
                    <a:pt x="1428" y="1548"/>
                  </a:lnTo>
                  <a:lnTo>
                    <a:pt x="1428" y="1554"/>
                  </a:lnTo>
                  <a:lnTo>
                    <a:pt x="1422" y="1560"/>
                  </a:lnTo>
                  <a:lnTo>
                    <a:pt x="1416" y="1560"/>
                  </a:lnTo>
                  <a:lnTo>
                    <a:pt x="1410" y="1566"/>
                  </a:lnTo>
                  <a:lnTo>
                    <a:pt x="1410" y="1560"/>
                  </a:lnTo>
                  <a:lnTo>
                    <a:pt x="1404" y="1560"/>
                  </a:lnTo>
                  <a:lnTo>
                    <a:pt x="1392" y="1560"/>
                  </a:lnTo>
                  <a:lnTo>
                    <a:pt x="1386" y="1560"/>
                  </a:lnTo>
                  <a:lnTo>
                    <a:pt x="1380" y="1566"/>
                  </a:lnTo>
                  <a:lnTo>
                    <a:pt x="1374" y="1560"/>
                  </a:lnTo>
                  <a:lnTo>
                    <a:pt x="1368" y="1566"/>
                  </a:lnTo>
                  <a:lnTo>
                    <a:pt x="1362" y="1566"/>
                  </a:lnTo>
                  <a:lnTo>
                    <a:pt x="1362" y="1572"/>
                  </a:lnTo>
                  <a:lnTo>
                    <a:pt x="1356" y="1572"/>
                  </a:lnTo>
                  <a:lnTo>
                    <a:pt x="1356" y="1578"/>
                  </a:lnTo>
                  <a:lnTo>
                    <a:pt x="1350" y="1578"/>
                  </a:lnTo>
                  <a:lnTo>
                    <a:pt x="1350" y="1572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32" y="1584"/>
                  </a:lnTo>
                  <a:lnTo>
                    <a:pt x="1326" y="1590"/>
                  </a:lnTo>
                  <a:lnTo>
                    <a:pt x="1320" y="1584"/>
                  </a:lnTo>
                  <a:lnTo>
                    <a:pt x="1314" y="1590"/>
                  </a:lnTo>
                  <a:lnTo>
                    <a:pt x="1308" y="1596"/>
                  </a:lnTo>
                  <a:lnTo>
                    <a:pt x="1302" y="1596"/>
                  </a:lnTo>
                  <a:lnTo>
                    <a:pt x="1296" y="1596"/>
                  </a:lnTo>
                  <a:lnTo>
                    <a:pt x="1290" y="1596"/>
                  </a:lnTo>
                  <a:lnTo>
                    <a:pt x="1284" y="1596"/>
                  </a:lnTo>
                  <a:lnTo>
                    <a:pt x="1278" y="1602"/>
                  </a:lnTo>
                  <a:lnTo>
                    <a:pt x="1266" y="1602"/>
                  </a:lnTo>
                  <a:lnTo>
                    <a:pt x="1272" y="1608"/>
                  </a:lnTo>
                  <a:lnTo>
                    <a:pt x="1278" y="1608"/>
                  </a:lnTo>
                  <a:lnTo>
                    <a:pt x="1284" y="1608"/>
                  </a:lnTo>
                  <a:lnTo>
                    <a:pt x="1290" y="1614"/>
                  </a:lnTo>
                  <a:lnTo>
                    <a:pt x="1296" y="1620"/>
                  </a:lnTo>
                  <a:lnTo>
                    <a:pt x="1302" y="1626"/>
                  </a:lnTo>
                  <a:lnTo>
                    <a:pt x="1308" y="1632"/>
                  </a:lnTo>
                  <a:lnTo>
                    <a:pt x="1314" y="1638"/>
                  </a:lnTo>
                  <a:lnTo>
                    <a:pt x="1314" y="1644"/>
                  </a:lnTo>
                  <a:lnTo>
                    <a:pt x="1320" y="1644"/>
                  </a:lnTo>
                  <a:lnTo>
                    <a:pt x="1320" y="1650"/>
                  </a:lnTo>
                  <a:lnTo>
                    <a:pt x="1326" y="1656"/>
                  </a:lnTo>
                  <a:lnTo>
                    <a:pt x="1332" y="1668"/>
                  </a:lnTo>
                  <a:lnTo>
                    <a:pt x="1338" y="1680"/>
                  </a:lnTo>
                  <a:lnTo>
                    <a:pt x="1338" y="1698"/>
                  </a:lnTo>
                  <a:lnTo>
                    <a:pt x="1350" y="1710"/>
                  </a:lnTo>
                  <a:lnTo>
                    <a:pt x="1350" y="1716"/>
                  </a:lnTo>
                  <a:lnTo>
                    <a:pt x="1350" y="1722"/>
                  </a:lnTo>
                  <a:lnTo>
                    <a:pt x="1350" y="1728"/>
                  </a:lnTo>
                  <a:lnTo>
                    <a:pt x="1356" y="1728"/>
                  </a:lnTo>
                  <a:lnTo>
                    <a:pt x="1356" y="1734"/>
                  </a:lnTo>
                  <a:lnTo>
                    <a:pt x="1350" y="1734"/>
                  </a:lnTo>
                  <a:lnTo>
                    <a:pt x="1344" y="1740"/>
                  </a:lnTo>
                  <a:lnTo>
                    <a:pt x="1338" y="1740"/>
                  </a:lnTo>
                  <a:lnTo>
                    <a:pt x="1332" y="1746"/>
                  </a:lnTo>
                  <a:lnTo>
                    <a:pt x="1326" y="1746"/>
                  </a:lnTo>
                  <a:lnTo>
                    <a:pt x="1326" y="1752"/>
                  </a:lnTo>
                  <a:lnTo>
                    <a:pt x="1320" y="1752"/>
                  </a:lnTo>
                  <a:lnTo>
                    <a:pt x="1320" y="1758"/>
                  </a:lnTo>
                  <a:lnTo>
                    <a:pt x="1314" y="1758"/>
                  </a:lnTo>
                  <a:lnTo>
                    <a:pt x="1308" y="1758"/>
                  </a:lnTo>
                  <a:lnTo>
                    <a:pt x="1302" y="1758"/>
                  </a:lnTo>
                  <a:lnTo>
                    <a:pt x="1296" y="1758"/>
                  </a:lnTo>
                  <a:lnTo>
                    <a:pt x="1290" y="1764"/>
                  </a:lnTo>
                  <a:lnTo>
                    <a:pt x="1284" y="1770"/>
                  </a:lnTo>
                  <a:lnTo>
                    <a:pt x="1278" y="1770"/>
                  </a:lnTo>
                  <a:lnTo>
                    <a:pt x="1272" y="1770"/>
                  </a:lnTo>
                  <a:lnTo>
                    <a:pt x="1266" y="1770"/>
                  </a:lnTo>
                  <a:lnTo>
                    <a:pt x="1266" y="1776"/>
                  </a:lnTo>
                  <a:lnTo>
                    <a:pt x="1260" y="1776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4" name="Freeform 39">
              <a:extLst>
                <a:ext uri="{FF2B5EF4-FFF2-40B4-BE49-F238E27FC236}">
                  <a16:creationId xmlns:a16="http://schemas.microsoft.com/office/drawing/2014/main" id="{E01CDA8B-32C7-421A-B23E-968CAC7F78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2974" y="1759680"/>
              <a:ext cx="825155" cy="700024"/>
            </a:xfrm>
            <a:custGeom>
              <a:avLst/>
              <a:gdLst>
                <a:gd name="T0" fmla="*/ 60 w 1554"/>
                <a:gd name="T1" fmla="*/ 86 h 1320"/>
                <a:gd name="T2" fmla="*/ 66 w 1554"/>
                <a:gd name="T3" fmla="*/ 80 h 1320"/>
                <a:gd name="T4" fmla="*/ 61 w 1554"/>
                <a:gd name="T5" fmla="*/ 73 h 1320"/>
                <a:gd name="T6" fmla="*/ 57 w 1554"/>
                <a:gd name="T7" fmla="*/ 67 h 1320"/>
                <a:gd name="T8" fmla="*/ 60 w 1554"/>
                <a:gd name="T9" fmla="*/ 59 h 1320"/>
                <a:gd name="T10" fmla="*/ 56 w 1554"/>
                <a:gd name="T11" fmla="*/ 55 h 1320"/>
                <a:gd name="T12" fmla="*/ 45 w 1554"/>
                <a:gd name="T13" fmla="*/ 53 h 1320"/>
                <a:gd name="T14" fmla="*/ 42 w 1554"/>
                <a:gd name="T15" fmla="*/ 41 h 1320"/>
                <a:gd name="T16" fmla="*/ 37 w 1554"/>
                <a:gd name="T17" fmla="*/ 39 h 1320"/>
                <a:gd name="T18" fmla="*/ 31 w 1554"/>
                <a:gd name="T19" fmla="*/ 44 h 1320"/>
                <a:gd name="T20" fmla="*/ 37 w 1554"/>
                <a:gd name="T21" fmla="*/ 35 h 1320"/>
                <a:gd name="T22" fmla="*/ 30 w 1554"/>
                <a:gd name="T23" fmla="*/ 23 h 1320"/>
                <a:gd name="T24" fmla="*/ 21 w 1554"/>
                <a:gd name="T25" fmla="*/ 23 h 1320"/>
                <a:gd name="T26" fmla="*/ 15 w 1554"/>
                <a:gd name="T27" fmla="*/ 27 h 1320"/>
                <a:gd name="T28" fmla="*/ 11 w 1554"/>
                <a:gd name="T29" fmla="*/ 32 h 1320"/>
                <a:gd name="T30" fmla="*/ 6 w 1554"/>
                <a:gd name="T31" fmla="*/ 22 h 1320"/>
                <a:gd name="T32" fmla="*/ 3 w 1554"/>
                <a:gd name="T33" fmla="*/ 11 h 1320"/>
                <a:gd name="T34" fmla="*/ 24 w 1554"/>
                <a:gd name="T35" fmla="*/ 12 h 1320"/>
                <a:gd name="T36" fmla="*/ 33 w 1554"/>
                <a:gd name="T37" fmla="*/ 19 h 1320"/>
                <a:gd name="T38" fmla="*/ 49 w 1554"/>
                <a:gd name="T39" fmla="*/ 12 h 1320"/>
                <a:gd name="T40" fmla="*/ 58 w 1554"/>
                <a:gd name="T41" fmla="*/ 10 h 1320"/>
                <a:gd name="T42" fmla="*/ 68 w 1554"/>
                <a:gd name="T43" fmla="*/ 11 h 1320"/>
                <a:gd name="T44" fmla="*/ 79 w 1554"/>
                <a:gd name="T45" fmla="*/ 12 h 1320"/>
                <a:gd name="T46" fmla="*/ 96 w 1554"/>
                <a:gd name="T47" fmla="*/ 11 h 1320"/>
                <a:gd name="T48" fmla="*/ 107 w 1554"/>
                <a:gd name="T49" fmla="*/ 2 h 1320"/>
                <a:gd name="T50" fmla="*/ 117 w 1554"/>
                <a:gd name="T51" fmla="*/ 8 h 1320"/>
                <a:gd name="T52" fmla="*/ 126 w 1554"/>
                <a:gd name="T53" fmla="*/ 12 h 1320"/>
                <a:gd name="T54" fmla="*/ 134 w 1554"/>
                <a:gd name="T55" fmla="*/ 24 h 1320"/>
                <a:gd name="T56" fmla="*/ 133 w 1554"/>
                <a:gd name="T57" fmla="*/ 29 h 1320"/>
                <a:gd name="T58" fmla="*/ 129 w 1554"/>
                <a:gd name="T59" fmla="*/ 31 h 1320"/>
                <a:gd name="T60" fmla="*/ 125 w 1554"/>
                <a:gd name="T61" fmla="*/ 32 h 1320"/>
                <a:gd name="T62" fmla="*/ 115 w 1554"/>
                <a:gd name="T63" fmla="*/ 34 h 1320"/>
                <a:gd name="T64" fmla="*/ 113 w 1554"/>
                <a:gd name="T65" fmla="*/ 44 h 1320"/>
                <a:gd name="T66" fmla="*/ 111 w 1554"/>
                <a:gd name="T67" fmla="*/ 54 h 1320"/>
                <a:gd name="T68" fmla="*/ 107 w 1554"/>
                <a:gd name="T69" fmla="*/ 56 h 1320"/>
                <a:gd name="T70" fmla="*/ 102 w 1554"/>
                <a:gd name="T71" fmla="*/ 58 h 1320"/>
                <a:gd name="T72" fmla="*/ 99 w 1554"/>
                <a:gd name="T73" fmla="*/ 60 h 1320"/>
                <a:gd name="T74" fmla="*/ 93 w 1554"/>
                <a:gd name="T75" fmla="*/ 62 h 1320"/>
                <a:gd name="T76" fmla="*/ 87 w 1554"/>
                <a:gd name="T77" fmla="*/ 64 h 1320"/>
                <a:gd name="T78" fmla="*/ 84 w 1554"/>
                <a:gd name="T79" fmla="*/ 65 h 1320"/>
                <a:gd name="T80" fmla="*/ 81 w 1554"/>
                <a:gd name="T81" fmla="*/ 69 h 1320"/>
                <a:gd name="T82" fmla="*/ 83 w 1554"/>
                <a:gd name="T83" fmla="*/ 72 h 1320"/>
                <a:gd name="T84" fmla="*/ 92 w 1554"/>
                <a:gd name="T85" fmla="*/ 73 h 1320"/>
                <a:gd name="T86" fmla="*/ 93 w 1554"/>
                <a:gd name="T87" fmla="*/ 87 h 1320"/>
                <a:gd name="T88" fmla="*/ 104 w 1554"/>
                <a:gd name="T89" fmla="*/ 98 h 1320"/>
                <a:gd name="T90" fmla="*/ 108 w 1554"/>
                <a:gd name="T91" fmla="*/ 98 h 1320"/>
                <a:gd name="T92" fmla="*/ 112 w 1554"/>
                <a:gd name="T93" fmla="*/ 100 h 1320"/>
                <a:gd name="T94" fmla="*/ 118 w 1554"/>
                <a:gd name="T95" fmla="*/ 100 h 1320"/>
                <a:gd name="T96" fmla="*/ 122 w 1554"/>
                <a:gd name="T97" fmla="*/ 102 h 1320"/>
                <a:gd name="T98" fmla="*/ 118 w 1554"/>
                <a:gd name="T99" fmla="*/ 105 h 1320"/>
                <a:gd name="T100" fmla="*/ 114 w 1554"/>
                <a:gd name="T101" fmla="*/ 107 h 1320"/>
                <a:gd name="T102" fmla="*/ 113 w 1554"/>
                <a:gd name="T103" fmla="*/ 113 h 1320"/>
                <a:gd name="T104" fmla="*/ 104 w 1554"/>
                <a:gd name="T105" fmla="*/ 113 h 1320"/>
                <a:gd name="T106" fmla="*/ 93 w 1554"/>
                <a:gd name="T107" fmla="*/ 109 h 1320"/>
                <a:gd name="T108" fmla="*/ 96 w 1554"/>
                <a:gd name="T109" fmla="*/ 103 h 1320"/>
                <a:gd name="T110" fmla="*/ 95 w 1554"/>
                <a:gd name="T111" fmla="*/ 97 h 1320"/>
                <a:gd name="T112" fmla="*/ 87 w 1554"/>
                <a:gd name="T113" fmla="*/ 98 h 1320"/>
                <a:gd name="T114" fmla="*/ 81 w 1554"/>
                <a:gd name="T115" fmla="*/ 98 h 1320"/>
                <a:gd name="T116" fmla="*/ 78 w 1554"/>
                <a:gd name="T117" fmla="*/ 93 h 1320"/>
                <a:gd name="T118" fmla="*/ 65 w 1554"/>
                <a:gd name="T119" fmla="*/ 92 h 1320"/>
                <a:gd name="T120" fmla="*/ 59 w 1554"/>
                <a:gd name="T121" fmla="*/ 92 h 13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54"/>
                <a:gd name="T184" fmla="*/ 0 h 1320"/>
                <a:gd name="T185" fmla="*/ 1554 w 1554"/>
                <a:gd name="T186" fmla="*/ 1320 h 132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54" h="1320">
                  <a:moveTo>
                    <a:pt x="684" y="1068"/>
                  </a:moveTo>
                  <a:lnTo>
                    <a:pt x="684" y="1062"/>
                  </a:lnTo>
                  <a:lnTo>
                    <a:pt x="690" y="1056"/>
                  </a:lnTo>
                  <a:lnTo>
                    <a:pt x="690" y="1050"/>
                  </a:lnTo>
                  <a:lnTo>
                    <a:pt x="690" y="1044"/>
                  </a:lnTo>
                  <a:lnTo>
                    <a:pt x="690" y="1038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14"/>
                  </a:lnTo>
                  <a:lnTo>
                    <a:pt x="690" y="1008"/>
                  </a:lnTo>
                  <a:lnTo>
                    <a:pt x="696" y="996"/>
                  </a:lnTo>
                  <a:lnTo>
                    <a:pt x="714" y="996"/>
                  </a:lnTo>
                  <a:lnTo>
                    <a:pt x="714" y="990"/>
                  </a:lnTo>
                  <a:lnTo>
                    <a:pt x="732" y="984"/>
                  </a:lnTo>
                  <a:lnTo>
                    <a:pt x="744" y="978"/>
                  </a:lnTo>
                  <a:lnTo>
                    <a:pt x="762" y="966"/>
                  </a:lnTo>
                  <a:lnTo>
                    <a:pt x="762" y="960"/>
                  </a:lnTo>
                  <a:lnTo>
                    <a:pt x="768" y="954"/>
                  </a:lnTo>
                  <a:lnTo>
                    <a:pt x="774" y="948"/>
                  </a:lnTo>
                  <a:lnTo>
                    <a:pt x="774" y="942"/>
                  </a:lnTo>
                  <a:lnTo>
                    <a:pt x="774" y="924"/>
                  </a:lnTo>
                  <a:lnTo>
                    <a:pt x="768" y="918"/>
                  </a:lnTo>
                  <a:lnTo>
                    <a:pt x="756" y="918"/>
                  </a:lnTo>
                  <a:lnTo>
                    <a:pt x="744" y="918"/>
                  </a:lnTo>
                  <a:lnTo>
                    <a:pt x="732" y="924"/>
                  </a:lnTo>
                  <a:lnTo>
                    <a:pt x="726" y="912"/>
                  </a:lnTo>
                  <a:lnTo>
                    <a:pt x="720" y="912"/>
                  </a:lnTo>
                  <a:lnTo>
                    <a:pt x="720" y="900"/>
                  </a:lnTo>
                  <a:lnTo>
                    <a:pt x="720" y="870"/>
                  </a:lnTo>
                  <a:lnTo>
                    <a:pt x="696" y="876"/>
                  </a:lnTo>
                  <a:lnTo>
                    <a:pt x="690" y="852"/>
                  </a:lnTo>
                  <a:lnTo>
                    <a:pt x="702" y="852"/>
                  </a:lnTo>
                  <a:lnTo>
                    <a:pt x="702" y="840"/>
                  </a:lnTo>
                  <a:lnTo>
                    <a:pt x="708" y="834"/>
                  </a:lnTo>
                  <a:lnTo>
                    <a:pt x="702" y="822"/>
                  </a:lnTo>
                  <a:lnTo>
                    <a:pt x="660" y="822"/>
                  </a:lnTo>
                  <a:lnTo>
                    <a:pt x="654" y="822"/>
                  </a:lnTo>
                  <a:lnTo>
                    <a:pt x="642" y="822"/>
                  </a:lnTo>
                  <a:lnTo>
                    <a:pt x="642" y="810"/>
                  </a:lnTo>
                  <a:lnTo>
                    <a:pt x="642" y="798"/>
                  </a:lnTo>
                  <a:lnTo>
                    <a:pt x="642" y="792"/>
                  </a:lnTo>
                  <a:lnTo>
                    <a:pt x="648" y="780"/>
                  </a:lnTo>
                  <a:lnTo>
                    <a:pt x="654" y="774"/>
                  </a:lnTo>
                  <a:lnTo>
                    <a:pt x="660" y="774"/>
                  </a:lnTo>
                  <a:lnTo>
                    <a:pt x="672" y="762"/>
                  </a:lnTo>
                  <a:lnTo>
                    <a:pt x="672" y="756"/>
                  </a:lnTo>
                  <a:lnTo>
                    <a:pt x="678" y="750"/>
                  </a:lnTo>
                  <a:lnTo>
                    <a:pt x="684" y="750"/>
                  </a:lnTo>
                  <a:lnTo>
                    <a:pt x="690" y="744"/>
                  </a:lnTo>
                  <a:lnTo>
                    <a:pt x="696" y="732"/>
                  </a:lnTo>
                  <a:lnTo>
                    <a:pt x="696" y="726"/>
                  </a:lnTo>
                  <a:lnTo>
                    <a:pt x="702" y="714"/>
                  </a:lnTo>
                  <a:lnTo>
                    <a:pt x="696" y="708"/>
                  </a:lnTo>
                  <a:lnTo>
                    <a:pt x="690" y="690"/>
                  </a:lnTo>
                  <a:lnTo>
                    <a:pt x="696" y="678"/>
                  </a:lnTo>
                  <a:lnTo>
                    <a:pt x="708" y="672"/>
                  </a:lnTo>
                  <a:lnTo>
                    <a:pt x="708" y="660"/>
                  </a:lnTo>
                  <a:lnTo>
                    <a:pt x="702" y="660"/>
                  </a:lnTo>
                  <a:lnTo>
                    <a:pt x="696" y="660"/>
                  </a:lnTo>
                  <a:lnTo>
                    <a:pt x="690" y="654"/>
                  </a:lnTo>
                  <a:lnTo>
                    <a:pt x="684" y="654"/>
                  </a:lnTo>
                  <a:lnTo>
                    <a:pt x="690" y="606"/>
                  </a:lnTo>
                  <a:lnTo>
                    <a:pt x="660" y="606"/>
                  </a:lnTo>
                  <a:lnTo>
                    <a:pt x="660" y="612"/>
                  </a:lnTo>
                  <a:lnTo>
                    <a:pt x="648" y="612"/>
                  </a:lnTo>
                  <a:lnTo>
                    <a:pt x="642" y="636"/>
                  </a:lnTo>
                  <a:lnTo>
                    <a:pt x="636" y="636"/>
                  </a:lnTo>
                  <a:lnTo>
                    <a:pt x="630" y="648"/>
                  </a:lnTo>
                  <a:lnTo>
                    <a:pt x="612" y="648"/>
                  </a:lnTo>
                  <a:lnTo>
                    <a:pt x="606" y="636"/>
                  </a:lnTo>
                  <a:lnTo>
                    <a:pt x="600" y="630"/>
                  </a:lnTo>
                  <a:lnTo>
                    <a:pt x="588" y="606"/>
                  </a:lnTo>
                  <a:lnTo>
                    <a:pt x="552" y="606"/>
                  </a:lnTo>
                  <a:lnTo>
                    <a:pt x="552" y="612"/>
                  </a:lnTo>
                  <a:lnTo>
                    <a:pt x="540" y="612"/>
                  </a:lnTo>
                  <a:lnTo>
                    <a:pt x="540" y="606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16" y="612"/>
                  </a:lnTo>
                  <a:lnTo>
                    <a:pt x="516" y="582"/>
                  </a:lnTo>
                  <a:lnTo>
                    <a:pt x="522" y="576"/>
                  </a:lnTo>
                  <a:lnTo>
                    <a:pt x="528" y="576"/>
                  </a:lnTo>
                  <a:lnTo>
                    <a:pt x="528" y="552"/>
                  </a:lnTo>
                  <a:lnTo>
                    <a:pt x="522" y="540"/>
                  </a:lnTo>
                  <a:lnTo>
                    <a:pt x="510" y="528"/>
                  </a:lnTo>
                  <a:lnTo>
                    <a:pt x="486" y="510"/>
                  </a:lnTo>
                  <a:lnTo>
                    <a:pt x="480" y="498"/>
                  </a:lnTo>
                  <a:lnTo>
                    <a:pt x="480" y="474"/>
                  </a:lnTo>
                  <a:lnTo>
                    <a:pt x="492" y="468"/>
                  </a:lnTo>
                  <a:lnTo>
                    <a:pt x="486" y="450"/>
                  </a:lnTo>
                  <a:lnTo>
                    <a:pt x="474" y="456"/>
                  </a:lnTo>
                  <a:lnTo>
                    <a:pt x="468" y="456"/>
                  </a:lnTo>
                  <a:lnTo>
                    <a:pt x="462" y="456"/>
                  </a:lnTo>
                  <a:lnTo>
                    <a:pt x="456" y="468"/>
                  </a:lnTo>
                  <a:lnTo>
                    <a:pt x="456" y="474"/>
                  </a:lnTo>
                  <a:lnTo>
                    <a:pt x="450" y="480"/>
                  </a:lnTo>
                  <a:lnTo>
                    <a:pt x="444" y="450"/>
                  </a:lnTo>
                  <a:lnTo>
                    <a:pt x="438" y="450"/>
                  </a:lnTo>
                  <a:lnTo>
                    <a:pt x="432" y="450"/>
                  </a:lnTo>
                  <a:lnTo>
                    <a:pt x="420" y="450"/>
                  </a:lnTo>
                  <a:lnTo>
                    <a:pt x="420" y="456"/>
                  </a:lnTo>
                  <a:lnTo>
                    <a:pt x="414" y="456"/>
                  </a:lnTo>
                  <a:lnTo>
                    <a:pt x="408" y="468"/>
                  </a:lnTo>
                  <a:lnTo>
                    <a:pt x="402" y="468"/>
                  </a:lnTo>
                  <a:lnTo>
                    <a:pt x="396" y="474"/>
                  </a:lnTo>
                  <a:lnTo>
                    <a:pt x="390" y="492"/>
                  </a:lnTo>
                  <a:lnTo>
                    <a:pt x="384" y="504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54" y="510"/>
                  </a:lnTo>
                  <a:lnTo>
                    <a:pt x="360" y="480"/>
                  </a:lnTo>
                  <a:lnTo>
                    <a:pt x="360" y="474"/>
                  </a:lnTo>
                  <a:lnTo>
                    <a:pt x="378" y="456"/>
                  </a:lnTo>
                  <a:lnTo>
                    <a:pt x="384" y="450"/>
                  </a:lnTo>
                  <a:lnTo>
                    <a:pt x="396" y="444"/>
                  </a:lnTo>
                  <a:lnTo>
                    <a:pt x="402" y="438"/>
                  </a:lnTo>
                  <a:lnTo>
                    <a:pt x="408" y="438"/>
                  </a:lnTo>
                  <a:lnTo>
                    <a:pt x="408" y="426"/>
                  </a:lnTo>
                  <a:lnTo>
                    <a:pt x="414" y="420"/>
                  </a:lnTo>
                  <a:lnTo>
                    <a:pt x="426" y="420"/>
                  </a:lnTo>
                  <a:lnTo>
                    <a:pt x="426" y="408"/>
                  </a:lnTo>
                  <a:lnTo>
                    <a:pt x="420" y="390"/>
                  </a:lnTo>
                  <a:lnTo>
                    <a:pt x="408" y="384"/>
                  </a:lnTo>
                  <a:lnTo>
                    <a:pt x="378" y="378"/>
                  </a:lnTo>
                  <a:lnTo>
                    <a:pt x="354" y="366"/>
                  </a:lnTo>
                  <a:lnTo>
                    <a:pt x="342" y="360"/>
                  </a:lnTo>
                  <a:lnTo>
                    <a:pt x="342" y="348"/>
                  </a:lnTo>
                  <a:lnTo>
                    <a:pt x="336" y="330"/>
                  </a:lnTo>
                  <a:lnTo>
                    <a:pt x="348" y="306"/>
                  </a:lnTo>
                  <a:lnTo>
                    <a:pt x="360" y="294"/>
                  </a:lnTo>
                  <a:lnTo>
                    <a:pt x="360" y="282"/>
                  </a:lnTo>
                  <a:lnTo>
                    <a:pt x="342" y="270"/>
                  </a:lnTo>
                  <a:lnTo>
                    <a:pt x="342" y="264"/>
                  </a:lnTo>
                  <a:lnTo>
                    <a:pt x="330" y="264"/>
                  </a:lnTo>
                  <a:lnTo>
                    <a:pt x="312" y="270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88" y="270"/>
                  </a:lnTo>
                  <a:lnTo>
                    <a:pt x="282" y="270"/>
                  </a:lnTo>
                  <a:lnTo>
                    <a:pt x="276" y="264"/>
                  </a:lnTo>
                  <a:lnTo>
                    <a:pt x="270" y="264"/>
                  </a:lnTo>
                  <a:lnTo>
                    <a:pt x="252" y="270"/>
                  </a:lnTo>
                  <a:lnTo>
                    <a:pt x="246" y="270"/>
                  </a:lnTo>
                  <a:lnTo>
                    <a:pt x="240" y="270"/>
                  </a:lnTo>
                  <a:lnTo>
                    <a:pt x="228" y="270"/>
                  </a:lnTo>
                  <a:lnTo>
                    <a:pt x="216" y="276"/>
                  </a:lnTo>
                  <a:lnTo>
                    <a:pt x="210" y="270"/>
                  </a:lnTo>
                  <a:lnTo>
                    <a:pt x="204" y="270"/>
                  </a:lnTo>
                  <a:lnTo>
                    <a:pt x="198" y="276"/>
                  </a:lnTo>
                  <a:lnTo>
                    <a:pt x="192" y="276"/>
                  </a:lnTo>
                  <a:lnTo>
                    <a:pt x="186" y="282"/>
                  </a:lnTo>
                  <a:lnTo>
                    <a:pt x="180" y="288"/>
                  </a:lnTo>
                  <a:lnTo>
                    <a:pt x="174" y="300"/>
                  </a:lnTo>
                  <a:lnTo>
                    <a:pt x="168" y="306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8" y="330"/>
                  </a:lnTo>
                  <a:lnTo>
                    <a:pt x="162" y="336"/>
                  </a:lnTo>
                  <a:lnTo>
                    <a:pt x="156" y="342"/>
                  </a:lnTo>
                  <a:lnTo>
                    <a:pt x="156" y="348"/>
                  </a:lnTo>
                  <a:lnTo>
                    <a:pt x="156" y="354"/>
                  </a:lnTo>
                  <a:lnTo>
                    <a:pt x="150" y="366"/>
                  </a:lnTo>
                  <a:lnTo>
                    <a:pt x="150" y="372"/>
                  </a:lnTo>
                  <a:lnTo>
                    <a:pt x="144" y="366"/>
                  </a:lnTo>
                  <a:lnTo>
                    <a:pt x="132" y="366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20" y="348"/>
                  </a:lnTo>
                  <a:lnTo>
                    <a:pt x="102" y="330"/>
                  </a:lnTo>
                  <a:lnTo>
                    <a:pt x="96" y="318"/>
                  </a:lnTo>
                  <a:lnTo>
                    <a:pt x="96" y="282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0" y="258"/>
                  </a:lnTo>
                  <a:lnTo>
                    <a:pt x="84" y="252"/>
                  </a:lnTo>
                  <a:lnTo>
                    <a:pt x="66" y="258"/>
                  </a:lnTo>
                  <a:lnTo>
                    <a:pt x="60" y="246"/>
                  </a:lnTo>
                  <a:lnTo>
                    <a:pt x="30" y="252"/>
                  </a:lnTo>
                  <a:lnTo>
                    <a:pt x="18" y="246"/>
                  </a:lnTo>
                  <a:lnTo>
                    <a:pt x="0" y="240"/>
                  </a:lnTo>
                  <a:lnTo>
                    <a:pt x="0" y="234"/>
                  </a:lnTo>
                  <a:lnTo>
                    <a:pt x="0" y="210"/>
                  </a:lnTo>
                  <a:lnTo>
                    <a:pt x="6" y="204"/>
                  </a:lnTo>
                  <a:lnTo>
                    <a:pt x="18" y="192"/>
                  </a:lnTo>
                  <a:lnTo>
                    <a:pt x="18" y="144"/>
                  </a:lnTo>
                  <a:lnTo>
                    <a:pt x="24" y="126"/>
                  </a:lnTo>
                  <a:lnTo>
                    <a:pt x="36" y="126"/>
                  </a:lnTo>
                  <a:lnTo>
                    <a:pt x="54" y="120"/>
                  </a:lnTo>
                  <a:lnTo>
                    <a:pt x="54" y="126"/>
                  </a:lnTo>
                  <a:lnTo>
                    <a:pt x="132" y="114"/>
                  </a:lnTo>
                  <a:lnTo>
                    <a:pt x="144" y="120"/>
                  </a:lnTo>
                  <a:lnTo>
                    <a:pt x="150" y="132"/>
                  </a:lnTo>
                  <a:lnTo>
                    <a:pt x="180" y="126"/>
                  </a:lnTo>
                  <a:lnTo>
                    <a:pt x="210" y="120"/>
                  </a:lnTo>
                  <a:lnTo>
                    <a:pt x="240" y="120"/>
                  </a:lnTo>
                  <a:lnTo>
                    <a:pt x="258" y="120"/>
                  </a:lnTo>
                  <a:lnTo>
                    <a:pt x="270" y="126"/>
                  </a:lnTo>
                  <a:lnTo>
                    <a:pt x="276" y="132"/>
                  </a:lnTo>
                  <a:lnTo>
                    <a:pt x="282" y="138"/>
                  </a:lnTo>
                  <a:lnTo>
                    <a:pt x="282" y="156"/>
                  </a:lnTo>
                  <a:lnTo>
                    <a:pt x="288" y="186"/>
                  </a:lnTo>
                  <a:lnTo>
                    <a:pt x="312" y="192"/>
                  </a:lnTo>
                  <a:lnTo>
                    <a:pt x="318" y="198"/>
                  </a:lnTo>
                  <a:lnTo>
                    <a:pt x="324" y="204"/>
                  </a:lnTo>
                  <a:lnTo>
                    <a:pt x="330" y="210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66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86" y="210"/>
                  </a:lnTo>
                  <a:lnTo>
                    <a:pt x="498" y="198"/>
                  </a:lnTo>
                  <a:lnTo>
                    <a:pt x="504" y="174"/>
                  </a:lnTo>
                  <a:lnTo>
                    <a:pt x="516" y="162"/>
                  </a:lnTo>
                  <a:lnTo>
                    <a:pt x="516" y="138"/>
                  </a:lnTo>
                  <a:lnTo>
                    <a:pt x="522" y="132"/>
                  </a:lnTo>
                  <a:lnTo>
                    <a:pt x="564" y="132"/>
                  </a:lnTo>
                  <a:lnTo>
                    <a:pt x="564" y="114"/>
                  </a:lnTo>
                  <a:lnTo>
                    <a:pt x="582" y="114"/>
                  </a:lnTo>
                  <a:lnTo>
                    <a:pt x="594" y="114"/>
                  </a:lnTo>
                  <a:lnTo>
                    <a:pt x="606" y="114"/>
                  </a:lnTo>
                  <a:lnTo>
                    <a:pt x="612" y="114"/>
                  </a:lnTo>
                  <a:lnTo>
                    <a:pt x="630" y="114"/>
                  </a:lnTo>
                  <a:lnTo>
                    <a:pt x="636" y="114"/>
                  </a:lnTo>
                  <a:lnTo>
                    <a:pt x="648" y="114"/>
                  </a:lnTo>
                  <a:lnTo>
                    <a:pt x="654" y="114"/>
                  </a:lnTo>
                  <a:lnTo>
                    <a:pt x="660" y="120"/>
                  </a:lnTo>
                  <a:lnTo>
                    <a:pt x="672" y="120"/>
                  </a:lnTo>
                  <a:lnTo>
                    <a:pt x="684" y="120"/>
                  </a:lnTo>
                  <a:lnTo>
                    <a:pt x="690" y="120"/>
                  </a:lnTo>
                  <a:lnTo>
                    <a:pt x="702" y="120"/>
                  </a:lnTo>
                  <a:lnTo>
                    <a:pt x="708" y="120"/>
                  </a:lnTo>
                  <a:lnTo>
                    <a:pt x="726" y="126"/>
                  </a:lnTo>
                  <a:lnTo>
                    <a:pt x="732" y="126"/>
                  </a:lnTo>
                  <a:lnTo>
                    <a:pt x="738" y="126"/>
                  </a:lnTo>
                  <a:lnTo>
                    <a:pt x="750" y="126"/>
                  </a:lnTo>
                  <a:lnTo>
                    <a:pt x="756" y="126"/>
                  </a:lnTo>
                  <a:lnTo>
                    <a:pt x="768" y="126"/>
                  </a:lnTo>
                  <a:lnTo>
                    <a:pt x="780" y="126"/>
                  </a:lnTo>
                  <a:lnTo>
                    <a:pt x="786" y="120"/>
                  </a:lnTo>
                  <a:lnTo>
                    <a:pt x="792" y="120"/>
                  </a:lnTo>
                  <a:lnTo>
                    <a:pt x="810" y="120"/>
                  </a:lnTo>
                  <a:lnTo>
                    <a:pt x="822" y="120"/>
                  </a:lnTo>
                  <a:lnTo>
                    <a:pt x="846" y="126"/>
                  </a:lnTo>
                  <a:lnTo>
                    <a:pt x="858" y="126"/>
                  </a:lnTo>
                  <a:lnTo>
                    <a:pt x="870" y="132"/>
                  </a:lnTo>
                  <a:lnTo>
                    <a:pt x="882" y="132"/>
                  </a:lnTo>
                  <a:lnTo>
                    <a:pt x="894" y="132"/>
                  </a:lnTo>
                  <a:lnTo>
                    <a:pt x="900" y="132"/>
                  </a:lnTo>
                  <a:lnTo>
                    <a:pt x="912" y="132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36" y="132"/>
                  </a:lnTo>
                  <a:lnTo>
                    <a:pt x="960" y="132"/>
                  </a:lnTo>
                  <a:lnTo>
                    <a:pt x="966" y="144"/>
                  </a:lnTo>
                  <a:lnTo>
                    <a:pt x="972" y="144"/>
                  </a:lnTo>
                  <a:lnTo>
                    <a:pt x="1002" y="144"/>
                  </a:lnTo>
                  <a:lnTo>
                    <a:pt x="1020" y="144"/>
                  </a:lnTo>
                  <a:lnTo>
                    <a:pt x="1068" y="138"/>
                  </a:lnTo>
                  <a:lnTo>
                    <a:pt x="1110" y="132"/>
                  </a:lnTo>
                  <a:lnTo>
                    <a:pt x="1110" y="126"/>
                  </a:lnTo>
                  <a:lnTo>
                    <a:pt x="1116" y="120"/>
                  </a:lnTo>
                  <a:lnTo>
                    <a:pt x="1122" y="108"/>
                  </a:lnTo>
                  <a:lnTo>
                    <a:pt x="1134" y="96"/>
                  </a:lnTo>
                  <a:lnTo>
                    <a:pt x="1146" y="60"/>
                  </a:lnTo>
                  <a:lnTo>
                    <a:pt x="1158" y="54"/>
                  </a:lnTo>
                  <a:lnTo>
                    <a:pt x="1170" y="48"/>
                  </a:lnTo>
                  <a:lnTo>
                    <a:pt x="1188" y="42"/>
                  </a:lnTo>
                  <a:lnTo>
                    <a:pt x="1200" y="36"/>
                  </a:lnTo>
                  <a:lnTo>
                    <a:pt x="1212" y="36"/>
                  </a:lnTo>
                  <a:lnTo>
                    <a:pt x="1236" y="30"/>
                  </a:lnTo>
                  <a:lnTo>
                    <a:pt x="1236" y="24"/>
                  </a:lnTo>
                  <a:lnTo>
                    <a:pt x="1278" y="18"/>
                  </a:lnTo>
                  <a:lnTo>
                    <a:pt x="1290" y="18"/>
                  </a:lnTo>
                  <a:lnTo>
                    <a:pt x="1302" y="12"/>
                  </a:lnTo>
                  <a:lnTo>
                    <a:pt x="1314" y="0"/>
                  </a:lnTo>
                  <a:lnTo>
                    <a:pt x="1332" y="0"/>
                  </a:lnTo>
                  <a:lnTo>
                    <a:pt x="1338" y="24"/>
                  </a:lnTo>
                  <a:lnTo>
                    <a:pt x="1344" y="30"/>
                  </a:lnTo>
                  <a:lnTo>
                    <a:pt x="1350" y="42"/>
                  </a:lnTo>
                  <a:lnTo>
                    <a:pt x="1356" y="48"/>
                  </a:lnTo>
                  <a:lnTo>
                    <a:pt x="1356" y="78"/>
                  </a:lnTo>
                  <a:lnTo>
                    <a:pt x="1350" y="96"/>
                  </a:lnTo>
                  <a:lnTo>
                    <a:pt x="1338" y="108"/>
                  </a:lnTo>
                  <a:lnTo>
                    <a:pt x="1338" y="114"/>
                  </a:lnTo>
                  <a:lnTo>
                    <a:pt x="1338" y="120"/>
                  </a:lnTo>
                  <a:lnTo>
                    <a:pt x="1338" y="126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398" y="114"/>
                  </a:lnTo>
                  <a:lnTo>
                    <a:pt x="1416" y="120"/>
                  </a:lnTo>
                  <a:lnTo>
                    <a:pt x="1434" y="126"/>
                  </a:lnTo>
                  <a:lnTo>
                    <a:pt x="1458" y="132"/>
                  </a:lnTo>
                  <a:lnTo>
                    <a:pt x="1458" y="138"/>
                  </a:lnTo>
                  <a:lnTo>
                    <a:pt x="1512" y="138"/>
                  </a:lnTo>
                  <a:lnTo>
                    <a:pt x="1512" y="132"/>
                  </a:lnTo>
                  <a:lnTo>
                    <a:pt x="1524" y="138"/>
                  </a:lnTo>
                  <a:lnTo>
                    <a:pt x="1542" y="138"/>
                  </a:lnTo>
                  <a:lnTo>
                    <a:pt x="1542" y="150"/>
                  </a:lnTo>
                  <a:lnTo>
                    <a:pt x="1542" y="162"/>
                  </a:lnTo>
                  <a:lnTo>
                    <a:pt x="1548" y="174"/>
                  </a:lnTo>
                  <a:lnTo>
                    <a:pt x="1548" y="180"/>
                  </a:lnTo>
                  <a:lnTo>
                    <a:pt x="1554" y="222"/>
                  </a:lnTo>
                  <a:lnTo>
                    <a:pt x="1554" y="258"/>
                  </a:lnTo>
                  <a:lnTo>
                    <a:pt x="1554" y="276"/>
                  </a:lnTo>
                  <a:lnTo>
                    <a:pt x="1554" y="282"/>
                  </a:lnTo>
                  <a:lnTo>
                    <a:pt x="1554" y="294"/>
                  </a:lnTo>
                  <a:lnTo>
                    <a:pt x="1554" y="306"/>
                  </a:lnTo>
                  <a:lnTo>
                    <a:pt x="1554" y="324"/>
                  </a:lnTo>
                  <a:lnTo>
                    <a:pt x="1554" y="330"/>
                  </a:lnTo>
                  <a:lnTo>
                    <a:pt x="1548" y="330"/>
                  </a:lnTo>
                  <a:lnTo>
                    <a:pt x="1548" y="336"/>
                  </a:lnTo>
                  <a:lnTo>
                    <a:pt x="1548" y="342"/>
                  </a:lnTo>
                  <a:lnTo>
                    <a:pt x="1542" y="336"/>
                  </a:lnTo>
                  <a:lnTo>
                    <a:pt x="1542" y="330"/>
                  </a:lnTo>
                  <a:lnTo>
                    <a:pt x="1536" y="330"/>
                  </a:lnTo>
                  <a:lnTo>
                    <a:pt x="1530" y="330"/>
                  </a:lnTo>
                  <a:lnTo>
                    <a:pt x="1530" y="336"/>
                  </a:lnTo>
                  <a:lnTo>
                    <a:pt x="1536" y="342"/>
                  </a:lnTo>
                  <a:lnTo>
                    <a:pt x="1530" y="342"/>
                  </a:lnTo>
                  <a:lnTo>
                    <a:pt x="1518" y="348"/>
                  </a:lnTo>
                  <a:lnTo>
                    <a:pt x="1512" y="354"/>
                  </a:lnTo>
                  <a:lnTo>
                    <a:pt x="1506" y="354"/>
                  </a:lnTo>
                  <a:lnTo>
                    <a:pt x="1500" y="354"/>
                  </a:lnTo>
                  <a:lnTo>
                    <a:pt x="1494" y="354"/>
                  </a:lnTo>
                  <a:lnTo>
                    <a:pt x="1494" y="360"/>
                  </a:lnTo>
                  <a:lnTo>
                    <a:pt x="1488" y="360"/>
                  </a:lnTo>
                  <a:lnTo>
                    <a:pt x="1488" y="366"/>
                  </a:lnTo>
                  <a:lnTo>
                    <a:pt x="1488" y="372"/>
                  </a:lnTo>
                  <a:lnTo>
                    <a:pt x="1482" y="372"/>
                  </a:lnTo>
                  <a:lnTo>
                    <a:pt x="1476" y="372"/>
                  </a:lnTo>
                  <a:lnTo>
                    <a:pt x="1470" y="372"/>
                  </a:lnTo>
                  <a:lnTo>
                    <a:pt x="1470" y="378"/>
                  </a:lnTo>
                  <a:lnTo>
                    <a:pt x="1470" y="384"/>
                  </a:lnTo>
                  <a:lnTo>
                    <a:pt x="1470" y="390"/>
                  </a:lnTo>
                  <a:lnTo>
                    <a:pt x="1464" y="402"/>
                  </a:lnTo>
                  <a:lnTo>
                    <a:pt x="1446" y="402"/>
                  </a:lnTo>
                  <a:lnTo>
                    <a:pt x="1440" y="372"/>
                  </a:lnTo>
                  <a:lnTo>
                    <a:pt x="1410" y="372"/>
                  </a:lnTo>
                  <a:lnTo>
                    <a:pt x="1380" y="372"/>
                  </a:lnTo>
                  <a:lnTo>
                    <a:pt x="1374" y="372"/>
                  </a:lnTo>
                  <a:lnTo>
                    <a:pt x="1368" y="378"/>
                  </a:lnTo>
                  <a:lnTo>
                    <a:pt x="1362" y="378"/>
                  </a:lnTo>
                  <a:lnTo>
                    <a:pt x="1356" y="378"/>
                  </a:lnTo>
                  <a:lnTo>
                    <a:pt x="1350" y="384"/>
                  </a:lnTo>
                  <a:lnTo>
                    <a:pt x="1350" y="390"/>
                  </a:lnTo>
                  <a:lnTo>
                    <a:pt x="1344" y="390"/>
                  </a:lnTo>
                  <a:lnTo>
                    <a:pt x="1338" y="390"/>
                  </a:lnTo>
                  <a:lnTo>
                    <a:pt x="1332" y="390"/>
                  </a:lnTo>
                  <a:lnTo>
                    <a:pt x="1332" y="396"/>
                  </a:lnTo>
                  <a:lnTo>
                    <a:pt x="1332" y="390"/>
                  </a:lnTo>
                  <a:lnTo>
                    <a:pt x="1326" y="402"/>
                  </a:lnTo>
                  <a:lnTo>
                    <a:pt x="1320" y="402"/>
                  </a:lnTo>
                  <a:lnTo>
                    <a:pt x="1302" y="474"/>
                  </a:lnTo>
                  <a:lnTo>
                    <a:pt x="1308" y="480"/>
                  </a:lnTo>
                  <a:lnTo>
                    <a:pt x="1314" y="480"/>
                  </a:lnTo>
                  <a:lnTo>
                    <a:pt x="1308" y="498"/>
                  </a:lnTo>
                  <a:lnTo>
                    <a:pt x="1308" y="504"/>
                  </a:lnTo>
                  <a:lnTo>
                    <a:pt x="1314" y="510"/>
                  </a:lnTo>
                  <a:lnTo>
                    <a:pt x="1308" y="510"/>
                  </a:lnTo>
                  <a:lnTo>
                    <a:pt x="1308" y="516"/>
                  </a:lnTo>
                  <a:lnTo>
                    <a:pt x="1302" y="516"/>
                  </a:lnTo>
                  <a:lnTo>
                    <a:pt x="1296" y="510"/>
                  </a:lnTo>
                  <a:lnTo>
                    <a:pt x="1296" y="516"/>
                  </a:lnTo>
                  <a:lnTo>
                    <a:pt x="1290" y="540"/>
                  </a:lnTo>
                  <a:lnTo>
                    <a:pt x="1290" y="552"/>
                  </a:lnTo>
                  <a:lnTo>
                    <a:pt x="1284" y="558"/>
                  </a:lnTo>
                  <a:lnTo>
                    <a:pt x="1290" y="576"/>
                  </a:lnTo>
                  <a:lnTo>
                    <a:pt x="1290" y="600"/>
                  </a:lnTo>
                  <a:lnTo>
                    <a:pt x="1284" y="618"/>
                  </a:lnTo>
                  <a:lnTo>
                    <a:pt x="1290" y="624"/>
                  </a:lnTo>
                  <a:lnTo>
                    <a:pt x="1284" y="630"/>
                  </a:lnTo>
                  <a:lnTo>
                    <a:pt x="1278" y="630"/>
                  </a:lnTo>
                  <a:lnTo>
                    <a:pt x="1272" y="630"/>
                  </a:lnTo>
                  <a:lnTo>
                    <a:pt x="1266" y="636"/>
                  </a:lnTo>
                  <a:lnTo>
                    <a:pt x="1260" y="642"/>
                  </a:lnTo>
                  <a:lnTo>
                    <a:pt x="1260" y="636"/>
                  </a:lnTo>
                  <a:lnTo>
                    <a:pt x="1254" y="636"/>
                  </a:lnTo>
                  <a:lnTo>
                    <a:pt x="1248" y="636"/>
                  </a:lnTo>
                  <a:lnTo>
                    <a:pt x="1248" y="642"/>
                  </a:lnTo>
                  <a:lnTo>
                    <a:pt x="1242" y="642"/>
                  </a:lnTo>
                  <a:lnTo>
                    <a:pt x="1242" y="648"/>
                  </a:lnTo>
                  <a:lnTo>
                    <a:pt x="1236" y="654"/>
                  </a:lnTo>
                  <a:lnTo>
                    <a:pt x="1230" y="654"/>
                  </a:lnTo>
                  <a:lnTo>
                    <a:pt x="1224" y="654"/>
                  </a:lnTo>
                  <a:lnTo>
                    <a:pt x="1218" y="660"/>
                  </a:lnTo>
                  <a:lnTo>
                    <a:pt x="1212" y="660"/>
                  </a:lnTo>
                  <a:lnTo>
                    <a:pt x="1206" y="660"/>
                  </a:lnTo>
                  <a:lnTo>
                    <a:pt x="1200" y="660"/>
                  </a:lnTo>
                  <a:lnTo>
                    <a:pt x="1200" y="666"/>
                  </a:lnTo>
                  <a:lnTo>
                    <a:pt x="1194" y="666"/>
                  </a:lnTo>
                  <a:lnTo>
                    <a:pt x="1188" y="666"/>
                  </a:lnTo>
                  <a:lnTo>
                    <a:pt x="1182" y="672"/>
                  </a:lnTo>
                  <a:lnTo>
                    <a:pt x="1176" y="672"/>
                  </a:lnTo>
                  <a:lnTo>
                    <a:pt x="1170" y="672"/>
                  </a:lnTo>
                  <a:lnTo>
                    <a:pt x="1164" y="678"/>
                  </a:lnTo>
                  <a:lnTo>
                    <a:pt x="1170" y="678"/>
                  </a:lnTo>
                  <a:lnTo>
                    <a:pt x="1164" y="684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52" y="684"/>
                  </a:lnTo>
                  <a:lnTo>
                    <a:pt x="1152" y="690"/>
                  </a:lnTo>
                  <a:lnTo>
                    <a:pt x="1146" y="690"/>
                  </a:lnTo>
                  <a:lnTo>
                    <a:pt x="1140" y="690"/>
                  </a:lnTo>
                  <a:lnTo>
                    <a:pt x="1134" y="696"/>
                  </a:lnTo>
                  <a:lnTo>
                    <a:pt x="1128" y="696"/>
                  </a:lnTo>
                  <a:lnTo>
                    <a:pt x="1122" y="702"/>
                  </a:lnTo>
                  <a:lnTo>
                    <a:pt x="1116" y="702"/>
                  </a:lnTo>
                  <a:lnTo>
                    <a:pt x="1110" y="708"/>
                  </a:lnTo>
                  <a:lnTo>
                    <a:pt x="1104" y="708"/>
                  </a:lnTo>
                  <a:lnTo>
                    <a:pt x="1098" y="708"/>
                  </a:lnTo>
                  <a:lnTo>
                    <a:pt x="1092" y="708"/>
                  </a:lnTo>
                  <a:lnTo>
                    <a:pt x="1092" y="714"/>
                  </a:lnTo>
                  <a:lnTo>
                    <a:pt x="1086" y="720"/>
                  </a:lnTo>
                  <a:lnTo>
                    <a:pt x="1080" y="720"/>
                  </a:lnTo>
                  <a:lnTo>
                    <a:pt x="1074" y="720"/>
                  </a:lnTo>
                  <a:lnTo>
                    <a:pt x="1068" y="720"/>
                  </a:lnTo>
                  <a:lnTo>
                    <a:pt x="1062" y="720"/>
                  </a:lnTo>
                  <a:lnTo>
                    <a:pt x="1050" y="726"/>
                  </a:lnTo>
                  <a:lnTo>
                    <a:pt x="1044" y="726"/>
                  </a:lnTo>
                  <a:lnTo>
                    <a:pt x="1038" y="732"/>
                  </a:lnTo>
                  <a:lnTo>
                    <a:pt x="1026" y="732"/>
                  </a:lnTo>
                  <a:lnTo>
                    <a:pt x="1020" y="732"/>
                  </a:lnTo>
                  <a:lnTo>
                    <a:pt x="1014" y="738"/>
                  </a:lnTo>
                  <a:lnTo>
                    <a:pt x="1008" y="738"/>
                  </a:lnTo>
                  <a:lnTo>
                    <a:pt x="1002" y="738"/>
                  </a:lnTo>
                  <a:lnTo>
                    <a:pt x="996" y="738"/>
                  </a:lnTo>
                  <a:lnTo>
                    <a:pt x="990" y="738"/>
                  </a:lnTo>
                  <a:lnTo>
                    <a:pt x="990" y="732"/>
                  </a:lnTo>
                  <a:lnTo>
                    <a:pt x="984" y="732"/>
                  </a:lnTo>
                  <a:lnTo>
                    <a:pt x="978" y="738"/>
                  </a:lnTo>
                  <a:lnTo>
                    <a:pt x="978" y="744"/>
                  </a:lnTo>
                  <a:lnTo>
                    <a:pt x="984" y="744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8" y="756"/>
                  </a:lnTo>
                  <a:lnTo>
                    <a:pt x="972" y="756"/>
                  </a:lnTo>
                  <a:lnTo>
                    <a:pt x="972" y="762"/>
                  </a:lnTo>
                  <a:lnTo>
                    <a:pt x="966" y="768"/>
                  </a:lnTo>
                  <a:lnTo>
                    <a:pt x="966" y="762"/>
                  </a:lnTo>
                  <a:lnTo>
                    <a:pt x="960" y="762"/>
                  </a:lnTo>
                  <a:lnTo>
                    <a:pt x="954" y="768"/>
                  </a:lnTo>
                  <a:lnTo>
                    <a:pt x="954" y="774"/>
                  </a:lnTo>
                  <a:lnTo>
                    <a:pt x="948" y="774"/>
                  </a:lnTo>
                  <a:lnTo>
                    <a:pt x="948" y="780"/>
                  </a:lnTo>
                  <a:lnTo>
                    <a:pt x="948" y="786"/>
                  </a:lnTo>
                  <a:lnTo>
                    <a:pt x="942" y="786"/>
                  </a:lnTo>
                  <a:lnTo>
                    <a:pt x="942" y="792"/>
                  </a:lnTo>
                  <a:lnTo>
                    <a:pt x="936" y="792"/>
                  </a:lnTo>
                  <a:lnTo>
                    <a:pt x="942" y="798"/>
                  </a:lnTo>
                  <a:lnTo>
                    <a:pt x="942" y="804"/>
                  </a:lnTo>
                  <a:lnTo>
                    <a:pt x="942" y="810"/>
                  </a:lnTo>
                  <a:lnTo>
                    <a:pt x="948" y="810"/>
                  </a:lnTo>
                  <a:lnTo>
                    <a:pt x="942" y="816"/>
                  </a:lnTo>
                  <a:lnTo>
                    <a:pt x="948" y="816"/>
                  </a:lnTo>
                  <a:lnTo>
                    <a:pt x="948" y="822"/>
                  </a:lnTo>
                  <a:lnTo>
                    <a:pt x="954" y="822"/>
                  </a:lnTo>
                  <a:lnTo>
                    <a:pt x="960" y="828"/>
                  </a:lnTo>
                  <a:lnTo>
                    <a:pt x="960" y="834"/>
                  </a:lnTo>
                  <a:lnTo>
                    <a:pt x="966" y="834"/>
                  </a:lnTo>
                  <a:lnTo>
                    <a:pt x="960" y="840"/>
                  </a:lnTo>
                  <a:lnTo>
                    <a:pt x="966" y="846"/>
                  </a:lnTo>
                  <a:lnTo>
                    <a:pt x="966" y="840"/>
                  </a:lnTo>
                  <a:lnTo>
                    <a:pt x="972" y="840"/>
                  </a:lnTo>
                  <a:lnTo>
                    <a:pt x="990" y="840"/>
                  </a:lnTo>
                  <a:lnTo>
                    <a:pt x="1002" y="834"/>
                  </a:lnTo>
                  <a:lnTo>
                    <a:pt x="1020" y="828"/>
                  </a:lnTo>
                  <a:lnTo>
                    <a:pt x="1032" y="828"/>
                  </a:lnTo>
                  <a:lnTo>
                    <a:pt x="1050" y="828"/>
                  </a:lnTo>
                  <a:lnTo>
                    <a:pt x="1062" y="846"/>
                  </a:lnTo>
                  <a:lnTo>
                    <a:pt x="1074" y="876"/>
                  </a:lnTo>
                  <a:lnTo>
                    <a:pt x="1068" y="900"/>
                  </a:lnTo>
                  <a:lnTo>
                    <a:pt x="1074" y="912"/>
                  </a:lnTo>
                  <a:lnTo>
                    <a:pt x="1074" y="936"/>
                  </a:lnTo>
                  <a:lnTo>
                    <a:pt x="1068" y="942"/>
                  </a:lnTo>
                  <a:lnTo>
                    <a:pt x="1062" y="954"/>
                  </a:lnTo>
                  <a:lnTo>
                    <a:pt x="1056" y="978"/>
                  </a:lnTo>
                  <a:lnTo>
                    <a:pt x="1056" y="996"/>
                  </a:lnTo>
                  <a:lnTo>
                    <a:pt x="1068" y="990"/>
                  </a:lnTo>
                  <a:lnTo>
                    <a:pt x="1074" y="990"/>
                  </a:lnTo>
                  <a:lnTo>
                    <a:pt x="1074" y="1008"/>
                  </a:lnTo>
                  <a:lnTo>
                    <a:pt x="1080" y="1008"/>
                  </a:lnTo>
                  <a:lnTo>
                    <a:pt x="1092" y="1014"/>
                  </a:lnTo>
                  <a:lnTo>
                    <a:pt x="1110" y="1044"/>
                  </a:lnTo>
                  <a:lnTo>
                    <a:pt x="1110" y="1062"/>
                  </a:lnTo>
                  <a:lnTo>
                    <a:pt x="1128" y="1068"/>
                  </a:lnTo>
                  <a:lnTo>
                    <a:pt x="1128" y="1092"/>
                  </a:lnTo>
                  <a:lnTo>
                    <a:pt x="1134" y="1098"/>
                  </a:lnTo>
                  <a:lnTo>
                    <a:pt x="1158" y="1122"/>
                  </a:lnTo>
                  <a:lnTo>
                    <a:pt x="1188" y="1122"/>
                  </a:lnTo>
                  <a:lnTo>
                    <a:pt x="1188" y="1128"/>
                  </a:lnTo>
                  <a:lnTo>
                    <a:pt x="1200" y="1134"/>
                  </a:lnTo>
                  <a:lnTo>
                    <a:pt x="1206" y="1134"/>
                  </a:lnTo>
                  <a:lnTo>
                    <a:pt x="1206" y="1128"/>
                  </a:lnTo>
                  <a:lnTo>
                    <a:pt x="1212" y="1128"/>
                  </a:lnTo>
                  <a:lnTo>
                    <a:pt x="1218" y="1128"/>
                  </a:lnTo>
                  <a:lnTo>
                    <a:pt x="1224" y="1122"/>
                  </a:lnTo>
                  <a:lnTo>
                    <a:pt x="1224" y="1128"/>
                  </a:lnTo>
                  <a:lnTo>
                    <a:pt x="1230" y="1128"/>
                  </a:lnTo>
                  <a:lnTo>
                    <a:pt x="1236" y="1128"/>
                  </a:lnTo>
                  <a:lnTo>
                    <a:pt x="1236" y="1122"/>
                  </a:lnTo>
                  <a:lnTo>
                    <a:pt x="1242" y="1122"/>
                  </a:lnTo>
                  <a:lnTo>
                    <a:pt x="1248" y="1128"/>
                  </a:lnTo>
                  <a:lnTo>
                    <a:pt x="1254" y="1128"/>
                  </a:lnTo>
                  <a:lnTo>
                    <a:pt x="1260" y="1134"/>
                  </a:lnTo>
                  <a:lnTo>
                    <a:pt x="1260" y="1140"/>
                  </a:lnTo>
                  <a:lnTo>
                    <a:pt x="1266" y="1140"/>
                  </a:lnTo>
                  <a:lnTo>
                    <a:pt x="1272" y="1140"/>
                  </a:lnTo>
                  <a:lnTo>
                    <a:pt x="1278" y="1140"/>
                  </a:lnTo>
                  <a:lnTo>
                    <a:pt x="1284" y="1140"/>
                  </a:lnTo>
                  <a:lnTo>
                    <a:pt x="1290" y="1146"/>
                  </a:lnTo>
                  <a:lnTo>
                    <a:pt x="1290" y="1152"/>
                  </a:lnTo>
                  <a:lnTo>
                    <a:pt x="1296" y="1146"/>
                  </a:lnTo>
                  <a:lnTo>
                    <a:pt x="1296" y="1152"/>
                  </a:lnTo>
                  <a:lnTo>
                    <a:pt x="1308" y="1152"/>
                  </a:lnTo>
                  <a:lnTo>
                    <a:pt x="1314" y="1152"/>
                  </a:lnTo>
                  <a:lnTo>
                    <a:pt x="1320" y="1152"/>
                  </a:lnTo>
                  <a:lnTo>
                    <a:pt x="1332" y="1152"/>
                  </a:lnTo>
                  <a:lnTo>
                    <a:pt x="1338" y="1152"/>
                  </a:lnTo>
                  <a:lnTo>
                    <a:pt x="1344" y="1152"/>
                  </a:lnTo>
                  <a:lnTo>
                    <a:pt x="1344" y="1158"/>
                  </a:lnTo>
                  <a:lnTo>
                    <a:pt x="1350" y="1158"/>
                  </a:lnTo>
                  <a:lnTo>
                    <a:pt x="1356" y="1158"/>
                  </a:lnTo>
                  <a:lnTo>
                    <a:pt x="1362" y="1158"/>
                  </a:lnTo>
                  <a:lnTo>
                    <a:pt x="1368" y="1158"/>
                  </a:lnTo>
                  <a:lnTo>
                    <a:pt x="1374" y="1164"/>
                  </a:lnTo>
                  <a:lnTo>
                    <a:pt x="1380" y="1164"/>
                  </a:lnTo>
                  <a:lnTo>
                    <a:pt x="1386" y="1170"/>
                  </a:lnTo>
                  <a:lnTo>
                    <a:pt x="1392" y="1170"/>
                  </a:lnTo>
                  <a:lnTo>
                    <a:pt x="1398" y="1164"/>
                  </a:lnTo>
                  <a:lnTo>
                    <a:pt x="1404" y="1164"/>
                  </a:lnTo>
                  <a:lnTo>
                    <a:pt x="1410" y="1164"/>
                  </a:lnTo>
                  <a:lnTo>
                    <a:pt x="1416" y="1164"/>
                  </a:lnTo>
                  <a:lnTo>
                    <a:pt x="1416" y="1170"/>
                  </a:lnTo>
                  <a:lnTo>
                    <a:pt x="1422" y="1176"/>
                  </a:lnTo>
                  <a:lnTo>
                    <a:pt x="1416" y="1176"/>
                  </a:lnTo>
                  <a:lnTo>
                    <a:pt x="1416" y="1182"/>
                  </a:lnTo>
                  <a:lnTo>
                    <a:pt x="1410" y="1188"/>
                  </a:lnTo>
                  <a:lnTo>
                    <a:pt x="1404" y="1194"/>
                  </a:lnTo>
                  <a:lnTo>
                    <a:pt x="1404" y="1200"/>
                  </a:lnTo>
                  <a:lnTo>
                    <a:pt x="1404" y="1206"/>
                  </a:lnTo>
                  <a:lnTo>
                    <a:pt x="1398" y="1212"/>
                  </a:lnTo>
                  <a:lnTo>
                    <a:pt x="1398" y="1206"/>
                  </a:lnTo>
                  <a:lnTo>
                    <a:pt x="1392" y="1206"/>
                  </a:lnTo>
                  <a:lnTo>
                    <a:pt x="1386" y="1206"/>
                  </a:lnTo>
                  <a:lnTo>
                    <a:pt x="1380" y="1212"/>
                  </a:lnTo>
                  <a:lnTo>
                    <a:pt x="1374" y="1212"/>
                  </a:lnTo>
                  <a:lnTo>
                    <a:pt x="1368" y="1218"/>
                  </a:lnTo>
                  <a:lnTo>
                    <a:pt x="1362" y="1218"/>
                  </a:lnTo>
                  <a:lnTo>
                    <a:pt x="1362" y="1224"/>
                  </a:lnTo>
                  <a:lnTo>
                    <a:pt x="1356" y="1230"/>
                  </a:lnTo>
                  <a:lnTo>
                    <a:pt x="1350" y="1230"/>
                  </a:lnTo>
                  <a:lnTo>
                    <a:pt x="1344" y="1236"/>
                  </a:lnTo>
                  <a:lnTo>
                    <a:pt x="1338" y="1230"/>
                  </a:lnTo>
                  <a:lnTo>
                    <a:pt x="1332" y="1230"/>
                  </a:lnTo>
                  <a:lnTo>
                    <a:pt x="1326" y="1230"/>
                  </a:lnTo>
                  <a:lnTo>
                    <a:pt x="1320" y="1230"/>
                  </a:lnTo>
                  <a:lnTo>
                    <a:pt x="1314" y="1230"/>
                  </a:lnTo>
                  <a:lnTo>
                    <a:pt x="1296" y="1242"/>
                  </a:lnTo>
                  <a:lnTo>
                    <a:pt x="1296" y="1248"/>
                  </a:lnTo>
                  <a:lnTo>
                    <a:pt x="1290" y="1248"/>
                  </a:lnTo>
                  <a:lnTo>
                    <a:pt x="1290" y="1260"/>
                  </a:lnTo>
                  <a:lnTo>
                    <a:pt x="1278" y="1272"/>
                  </a:lnTo>
                  <a:lnTo>
                    <a:pt x="1278" y="1278"/>
                  </a:lnTo>
                  <a:lnTo>
                    <a:pt x="1278" y="1284"/>
                  </a:lnTo>
                  <a:lnTo>
                    <a:pt x="1278" y="1290"/>
                  </a:lnTo>
                  <a:lnTo>
                    <a:pt x="1284" y="1296"/>
                  </a:lnTo>
                  <a:lnTo>
                    <a:pt x="1302" y="1302"/>
                  </a:lnTo>
                  <a:lnTo>
                    <a:pt x="1308" y="1308"/>
                  </a:lnTo>
                  <a:lnTo>
                    <a:pt x="1308" y="1314"/>
                  </a:lnTo>
                  <a:lnTo>
                    <a:pt x="1302" y="1320"/>
                  </a:lnTo>
                  <a:lnTo>
                    <a:pt x="1278" y="1314"/>
                  </a:lnTo>
                  <a:lnTo>
                    <a:pt x="1266" y="1308"/>
                  </a:lnTo>
                  <a:lnTo>
                    <a:pt x="1260" y="1296"/>
                  </a:lnTo>
                  <a:lnTo>
                    <a:pt x="1236" y="1296"/>
                  </a:lnTo>
                  <a:lnTo>
                    <a:pt x="1224" y="1308"/>
                  </a:lnTo>
                  <a:lnTo>
                    <a:pt x="1218" y="1308"/>
                  </a:lnTo>
                  <a:lnTo>
                    <a:pt x="1218" y="1302"/>
                  </a:lnTo>
                  <a:lnTo>
                    <a:pt x="1212" y="1302"/>
                  </a:lnTo>
                  <a:lnTo>
                    <a:pt x="1206" y="1302"/>
                  </a:lnTo>
                  <a:lnTo>
                    <a:pt x="1170" y="1314"/>
                  </a:lnTo>
                  <a:lnTo>
                    <a:pt x="1134" y="1296"/>
                  </a:lnTo>
                  <a:lnTo>
                    <a:pt x="1122" y="1290"/>
                  </a:lnTo>
                  <a:lnTo>
                    <a:pt x="1104" y="1290"/>
                  </a:lnTo>
                  <a:lnTo>
                    <a:pt x="1098" y="1278"/>
                  </a:lnTo>
                  <a:lnTo>
                    <a:pt x="1092" y="1242"/>
                  </a:lnTo>
                  <a:lnTo>
                    <a:pt x="1086" y="1242"/>
                  </a:lnTo>
                  <a:lnTo>
                    <a:pt x="1086" y="1248"/>
                  </a:lnTo>
                  <a:lnTo>
                    <a:pt x="1086" y="1254"/>
                  </a:lnTo>
                  <a:lnTo>
                    <a:pt x="1080" y="1254"/>
                  </a:lnTo>
                  <a:lnTo>
                    <a:pt x="1080" y="1260"/>
                  </a:lnTo>
                  <a:lnTo>
                    <a:pt x="1074" y="1260"/>
                  </a:lnTo>
                  <a:lnTo>
                    <a:pt x="1068" y="1236"/>
                  </a:lnTo>
                  <a:lnTo>
                    <a:pt x="1068" y="1206"/>
                  </a:lnTo>
                  <a:lnTo>
                    <a:pt x="1080" y="1194"/>
                  </a:lnTo>
                  <a:lnTo>
                    <a:pt x="1086" y="1194"/>
                  </a:lnTo>
                  <a:lnTo>
                    <a:pt x="1092" y="1200"/>
                  </a:lnTo>
                  <a:lnTo>
                    <a:pt x="1098" y="1206"/>
                  </a:lnTo>
                  <a:lnTo>
                    <a:pt x="1104" y="1200"/>
                  </a:lnTo>
                  <a:lnTo>
                    <a:pt x="1104" y="1194"/>
                  </a:lnTo>
                  <a:lnTo>
                    <a:pt x="1110" y="1194"/>
                  </a:lnTo>
                  <a:lnTo>
                    <a:pt x="1110" y="1188"/>
                  </a:lnTo>
                  <a:lnTo>
                    <a:pt x="1116" y="1182"/>
                  </a:lnTo>
                  <a:lnTo>
                    <a:pt x="1110" y="1182"/>
                  </a:lnTo>
                  <a:lnTo>
                    <a:pt x="1110" y="1170"/>
                  </a:lnTo>
                  <a:lnTo>
                    <a:pt x="1110" y="1158"/>
                  </a:lnTo>
                  <a:lnTo>
                    <a:pt x="1110" y="1152"/>
                  </a:lnTo>
                  <a:lnTo>
                    <a:pt x="1104" y="1146"/>
                  </a:lnTo>
                  <a:lnTo>
                    <a:pt x="1098" y="1140"/>
                  </a:lnTo>
                  <a:lnTo>
                    <a:pt x="1098" y="1134"/>
                  </a:lnTo>
                  <a:lnTo>
                    <a:pt x="1098" y="1128"/>
                  </a:lnTo>
                  <a:lnTo>
                    <a:pt x="1092" y="1128"/>
                  </a:lnTo>
                  <a:lnTo>
                    <a:pt x="1092" y="1122"/>
                  </a:lnTo>
                  <a:lnTo>
                    <a:pt x="1092" y="1116"/>
                  </a:lnTo>
                  <a:lnTo>
                    <a:pt x="1092" y="1110"/>
                  </a:lnTo>
                  <a:lnTo>
                    <a:pt x="1056" y="1122"/>
                  </a:lnTo>
                  <a:lnTo>
                    <a:pt x="1038" y="1128"/>
                  </a:lnTo>
                  <a:lnTo>
                    <a:pt x="1032" y="1128"/>
                  </a:lnTo>
                  <a:lnTo>
                    <a:pt x="1026" y="1128"/>
                  </a:lnTo>
                  <a:lnTo>
                    <a:pt x="1020" y="1128"/>
                  </a:lnTo>
                  <a:lnTo>
                    <a:pt x="1014" y="1128"/>
                  </a:lnTo>
                  <a:lnTo>
                    <a:pt x="1014" y="1122"/>
                  </a:lnTo>
                  <a:lnTo>
                    <a:pt x="1008" y="1122"/>
                  </a:lnTo>
                  <a:lnTo>
                    <a:pt x="1002" y="1128"/>
                  </a:lnTo>
                  <a:lnTo>
                    <a:pt x="1002" y="1134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84" y="1140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66" y="1140"/>
                  </a:lnTo>
                  <a:lnTo>
                    <a:pt x="954" y="1140"/>
                  </a:lnTo>
                  <a:lnTo>
                    <a:pt x="954" y="1134"/>
                  </a:lnTo>
                  <a:lnTo>
                    <a:pt x="948" y="1134"/>
                  </a:lnTo>
                  <a:lnTo>
                    <a:pt x="942" y="1134"/>
                  </a:lnTo>
                  <a:lnTo>
                    <a:pt x="936" y="1134"/>
                  </a:lnTo>
                  <a:lnTo>
                    <a:pt x="930" y="1134"/>
                  </a:lnTo>
                  <a:lnTo>
                    <a:pt x="924" y="1134"/>
                  </a:lnTo>
                  <a:lnTo>
                    <a:pt x="918" y="1134"/>
                  </a:lnTo>
                  <a:lnTo>
                    <a:pt x="918" y="1128"/>
                  </a:lnTo>
                  <a:lnTo>
                    <a:pt x="918" y="1104"/>
                  </a:lnTo>
                  <a:lnTo>
                    <a:pt x="906" y="1104"/>
                  </a:lnTo>
                  <a:lnTo>
                    <a:pt x="900" y="1098"/>
                  </a:lnTo>
                  <a:lnTo>
                    <a:pt x="900" y="1092"/>
                  </a:lnTo>
                  <a:lnTo>
                    <a:pt x="900" y="1086"/>
                  </a:lnTo>
                  <a:lnTo>
                    <a:pt x="900" y="1080"/>
                  </a:lnTo>
                  <a:lnTo>
                    <a:pt x="894" y="1080"/>
                  </a:lnTo>
                  <a:lnTo>
                    <a:pt x="858" y="1074"/>
                  </a:lnTo>
                  <a:lnTo>
                    <a:pt x="852" y="1080"/>
                  </a:lnTo>
                  <a:lnTo>
                    <a:pt x="846" y="1086"/>
                  </a:lnTo>
                  <a:lnTo>
                    <a:pt x="840" y="1086"/>
                  </a:lnTo>
                  <a:lnTo>
                    <a:pt x="840" y="1092"/>
                  </a:lnTo>
                  <a:lnTo>
                    <a:pt x="834" y="1092"/>
                  </a:lnTo>
                  <a:lnTo>
                    <a:pt x="828" y="1098"/>
                  </a:lnTo>
                  <a:lnTo>
                    <a:pt x="822" y="1098"/>
                  </a:lnTo>
                  <a:lnTo>
                    <a:pt x="762" y="1074"/>
                  </a:lnTo>
                  <a:lnTo>
                    <a:pt x="756" y="1068"/>
                  </a:lnTo>
                  <a:lnTo>
                    <a:pt x="750" y="1068"/>
                  </a:lnTo>
                  <a:lnTo>
                    <a:pt x="744" y="1062"/>
                  </a:lnTo>
                  <a:lnTo>
                    <a:pt x="744" y="1068"/>
                  </a:lnTo>
                  <a:lnTo>
                    <a:pt x="744" y="1074"/>
                  </a:lnTo>
                  <a:lnTo>
                    <a:pt x="738" y="1074"/>
                  </a:lnTo>
                  <a:lnTo>
                    <a:pt x="738" y="1068"/>
                  </a:lnTo>
                  <a:lnTo>
                    <a:pt x="732" y="1068"/>
                  </a:lnTo>
                  <a:lnTo>
                    <a:pt x="726" y="1068"/>
                  </a:lnTo>
                  <a:lnTo>
                    <a:pt x="726" y="1074"/>
                  </a:lnTo>
                  <a:lnTo>
                    <a:pt x="720" y="1074"/>
                  </a:lnTo>
                  <a:lnTo>
                    <a:pt x="684" y="106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5" name="Freeform 40">
              <a:extLst>
                <a:ext uri="{FF2B5EF4-FFF2-40B4-BE49-F238E27FC236}">
                  <a16:creationId xmlns:a16="http://schemas.microsoft.com/office/drawing/2014/main" id="{37EC2F22-BDB9-4162-8FA4-08493F6898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3558" y="1520374"/>
              <a:ext cx="1057717" cy="1252440"/>
            </a:xfrm>
            <a:custGeom>
              <a:avLst/>
              <a:gdLst>
                <a:gd name="T0" fmla="*/ 98 w 1992"/>
                <a:gd name="T1" fmla="*/ 162 h 2358"/>
                <a:gd name="T2" fmla="*/ 93 w 1992"/>
                <a:gd name="T3" fmla="*/ 172 h 2358"/>
                <a:gd name="T4" fmla="*/ 82 w 1992"/>
                <a:gd name="T5" fmla="*/ 179 h 2358"/>
                <a:gd name="T6" fmla="*/ 70 w 1992"/>
                <a:gd name="T7" fmla="*/ 174 h 2358"/>
                <a:gd name="T8" fmla="*/ 62 w 1992"/>
                <a:gd name="T9" fmla="*/ 182 h 2358"/>
                <a:gd name="T10" fmla="*/ 45 w 1992"/>
                <a:gd name="T11" fmla="*/ 189 h 2358"/>
                <a:gd name="T12" fmla="*/ 24 w 1992"/>
                <a:gd name="T13" fmla="*/ 205 h 2358"/>
                <a:gd name="T14" fmla="*/ 17 w 1992"/>
                <a:gd name="T15" fmla="*/ 204 h 2358"/>
                <a:gd name="T16" fmla="*/ 7 w 1992"/>
                <a:gd name="T17" fmla="*/ 197 h 2358"/>
                <a:gd name="T18" fmla="*/ 1 w 1992"/>
                <a:gd name="T19" fmla="*/ 191 h 2358"/>
                <a:gd name="T20" fmla="*/ 4 w 1992"/>
                <a:gd name="T21" fmla="*/ 175 h 2358"/>
                <a:gd name="T22" fmla="*/ 7 w 1992"/>
                <a:gd name="T23" fmla="*/ 172 h 2358"/>
                <a:gd name="T24" fmla="*/ 11 w 1992"/>
                <a:gd name="T25" fmla="*/ 168 h 2358"/>
                <a:gd name="T26" fmla="*/ 5 w 1992"/>
                <a:gd name="T27" fmla="*/ 159 h 2358"/>
                <a:gd name="T28" fmla="*/ 10 w 1992"/>
                <a:gd name="T29" fmla="*/ 156 h 2358"/>
                <a:gd name="T30" fmla="*/ 15 w 1992"/>
                <a:gd name="T31" fmla="*/ 155 h 2358"/>
                <a:gd name="T32" fmla="*/ 24 w 1992"/>
                <a:gd name="T33" fmla="*/ 149 h 2358"/>
                <a:gd name="T34" fmla="*/ 38 w 1992"/>
                <a:gd name="T35" fmla="*/ 127 h 2358"/>
                <a:gd name="T36" fmla="*/ 38 w 1992"/>
                <a:gd name="T37" fmla="*/ 107 h 2358"/>
                <a:gd name="T38" fmla="*/ 45 w 1992"/>
                <a:gd name="T39" fmla="*/ 66 h 2358"/>
                <a:gd name="T40" fmla="*/ 47 w 1992"/>
                <a:gd name="T41" fmla="*/ 36 h 2358"/>
                <a:gd name="T42" fmla="*/ 51 w 1992"/>
                <a:gd name="T43" fmla="*/ 35 h 2358"/>
                <a:gd name="T44" fmla="*/ 55 w 1992"/>
                <a:gd name="T45" fmla="*/ 30 h 2358"/>
                <a:gd name="T46" fmla="*/ 56 w 1992"/>
                <a:gd name="T47" fmla="*/ 27 h 2358"/>
                <a:gd name="T48" fmla="*/ 60 w 1992"/>
                <a:gd name="T49" fmla="*/ 23 h 2358"/>
                <a:gd name="T50" fmla="*/ 63 w 1992"/>
                <a:gd name="T51" fmla="*/ 23 h 2358"/>
                <a:gd name="T52" fmla="*/ 70 w 1992"/>
                <a:gd name="T53" fmla="*/ 18 h 2358"/>
                <a:gd name="T54" fmla="*/ 71 w 1992"/>
                <a:gd name="T55" fmla="*/ 15 h 2358"/>
                <a:gd name="T56" fmla="*/ 72 w 1992"/>
                <a:gd name="T57" fmla="*/ 13 h 2358"/>
                <a:gd name="T58" fmla="*/ 77 w 1992"/>
                <a:gd name="T59" fmla="*/ 12 h 2358"/>
                <a:gd name="T60" fmla="*/ 83 w 1992"/>
                <a:gd name="T61" fmla="*/ 10 h 2358"/>
                <a:gd name="T62" fmla="*/ 87 w 1992"/>
                <a:gd name="T63" fmla="*/ 10 h 2358"/>
                <a:gd name="T64" fmla="*/ 89 w 1992"/>
                <a:gd name="T65" fmla="*/ 10 h 2358"/>
                <a:gd name="T66" fmla="*/ 93 w 1992"/>
                <a:gd name="T67" fmla="*/ 8 h 2358"/>
                <a:gd name="T68" fmla="*/ 95 w 1992"/>
                <a:gd name="T69" fmla="*/ 4 h 2358"/>
                <a:gd name="T70" fmla="*/ 99 w 1992"/>
                <a:gd name="T71" fmla="*/ 0 h 2358"/>
                <a:gd name="T72" fmla="*/ 111 w 1992"/>
                <a:gd name="T73" fmla="*/ 0 h 2358"/>
                <a:gd name="T74" fmla="*/ 121 w 1992"/>
                <a:gd name="T75" fmla="*/ 9 h 2358"/>
                <a:gd name="T76" fmla="*/ 128 w 1992"/>
                <a:gd name="T77" fmla="*/ 19 h 2358"/>
                <a:gd name="T78" fmla="*/ 138 w 1992"/>
                <a:gd name="T79" fmla="*/ 33 h 2358"/>
                <a:gd name="T80" fmla="*/ 142 w 1992"/>
                <a:gd name="T81" fmla="*/ 47 h 2358"/>
                <a:gd name="T82" fmla="*/ 145 w 1992"/>
                <a:gd name="T83" fmla="*/ 62 h 2358"/>
                <a:gd name="T84" fmla="*/ 145 w 1992"/>
                <a:gd name="T85" fmla="*/ 70 h 2358"/>
                <a:gd name="T86" fmla="*/ 147 w 1992"/>
                <a:gd name="T87" fmla="*/ 75 h 2358"/>
                <a:gd name="T88" fmla="*/ 153 w 1992"/>
                <a:gd name="T89" fmla="*/ 75 h 2358"/>
                <a:gd name="T90" fmla="*/ 160 w 1992"/>
                <a:gd name="T91" fmla="*/ 76 h 2358"/>
                <a:gd name="T92" fmla="*/ 164 w 1992"/>
                <a:gd name="T93" fmla="*/ 79 h 2358"/>
                <a:gd name="T94" fmla="*/ 168 w 1992"/>
                <a:gd name="T95" fmla="*/ 83 h 2358"/>
                <a:gd name="T96" fmla="*/ 172 w 1992"/>
                <a:gd name="T97" fmla="*/ 86 h 2358"/>
                <a:gd name="T98" fmla="*/ 170 w 1992"/>
                <a:gd name="T99" fmla="*/ 93 h 2358"/>
                <a:gd name="T100" fmla="*/ 170 w 1992"/>
                <a:gd name="T101" fmla="*/ 99 h 2358"/>
                <a:gd name="T102" fmla="*/ 169 w 1992"/>
                <a:gd name="T103" fmla="*/ 106 h 2358"/>
                <a:gd name="T104" fmla="*/ 166 w 1992"/>
                <a:gd name="T105" fmla="*/ 113 h 2358"/>
                <a:gd name="T106" fmla="*/ 170 w 1992"/>
                <a:gd name="T107" fmla="*/ 122 h 2358"/>
                <a:gd name="T108" fmla="*/ 159 w 1992"/>
                <a:gd name="T109" fmla="*/ 128 h 2358"/>
                <a:gd name="T110" fmla="*/ 148 w 1992"/>
                <a:gd name="T111" fmla="*/ 134 h 2358"/>
                <a:gd name="T112" fmla="*/ 139 w 1992"/>
                <a:gd name="T113" fmla="*/ 136 h 2358"/>
                <a:gd name="T114" fmla="*/ 132 w 1992"/>
                <a:gd name="T115" fmla="*/ 138 h 2358"/>
                <a:gd name="T116" fmla="*/ 128 w 1992"/>
                <a:gd name="T117" fmla="*/ 145 h 2358"/>
                <a:gd name="T118" fmla="*/ 124 w 1992"/>
                <a:gd name="T119" fmla="*/ 150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92"/>
                <a:gd name="T181" fmla="*/ 0 h 2358"/>
                <a:gd name="T182" fmla="*/ 1992 w 1992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92" h="2358">
                  <a:moveTo>
                    <a:pt x="1356" y="1782"/>
                  </a:moveTo>
                  <a:lnTo>
                    <a:pt x="1350" y="1788"/>
                  </a:lnTo>
                  <a:lnTo>
                    <a:pt x="1266" y="1788"/>
                  </a:lnTo>
                  <a:lnTo>
                    <a:pt x="1260" y="1800"/>
                  </a:lnTo>
                  <a:lnTo>
                    <a:pt x="1242" y="1806"/>
                  </a:lnTo>
                  <a:lnTo>
                    <a:pt x="1218" y="1812"/>
                  </a:lnTo>
                  <a:lnTo>
                    <a:pt x="1182" y="1812"/>
                  </a:lnTo>
                  <a:lnTo>
                    <a:pt x="1158" y="1806"/>
                  </a:lnTo>
                  <a:lnTo>
                    <a:pt x="1134" y="1800"/>
                  </a:lnTo>
                  <a:lnTo>
                    <a:pt x="1134" y="1806"/>
                  </a:lnTo>
                  <a:lnTo>
                    <a:pt x="1134" y="1830"/>
                  </a:lnTo>
                  <a:lnTo>
                    <a:pt x="1128" y="1842"/>
                  </a:lnTo>
                  <a:lnTo>
                    <a:pt x="1128" y="1854"/>
                  </a:lnTo>
                  <a:lnTo>
                    <a:pt x="1128" y="1860"/>
                  </a:lnTo>
                  <a:lnTo>
                    <a:pt x="1128" y="1866"/>
                  </a:lnTo>
                  <a:lnTo>
                    <a:pt x="1128" y="1872"/>
                  </a:lnTo>
                  <a:lnTo>
                    <a:pt x="1128" y="1884"/>
                  </a:lnTo>
                  <a:lnTo>
                    <a:pt x="1128" y="1890"/>
                  </a:lnTo>
                  <a:lnTo>
                    <a:pt x="1128" y="1896"/>
                  </a:lnTo>
                  <a:lnTo>
                    <a:pt x="1122" y="1902"/>
                  </a:lnTo>
                  <a:lnTo>
                    <a:pt x="1122" y="1920"/>
                  </a:lnTo>
                  <a:lnTo>
                    <a:pt x="1116" y="1920"/>
                  </a:lnTo>
                  <a:lnTo>
                    <a:pt x="1110" y="1926"/>
                  </a:lnTo>
                  <a:lnTo>
                    <a:pt x="1110" y="1932"/>
                  </a:lnTo>
                  <a:lnTo>
                    <a:pt x="1104" y="1938"/>
                  </a:lnTo>
                  <a:lnTo>
                    <a:pt x="1086" y="1962"/>
                  </a:lnTo>
                  <a:lnTo>
                    <a:pt x="1074" y="1974"/>
                  </a:lnTo>
                  <a:lnTo>
                    <a:pt x="1074" y="1980"/>
                  </a:lnTo>
                  <a:lnTo>
                    <a:pt x="1068" y="1986"/>
                  </a:lnTo>
                  <a:lnTo>
                    <a:pt x="1062" y="1998"/>
                  </a:lnTo>
                  <a:lnTo>
                    <a:pt x="1062" y="2004"/>
                  </a:lnTo>
                  <a:lnTo>
                    <a:pt x="1068" y="2004"/>
                  </a:lnTo>
                  <a:lnTo>
                    <a:pt x="1056" y="2034"/>
                  </a:lnTo>
                  <a:lnTo>
                    <a:pt x="1050" y="2076"/>
                  </a:lnTo>
                  <a:lnTo>
                    <a:pt x="1056" y="2100"/>
                  </a:lnTo>
                  <a:lnTo>
                    <a:pt x="1038" y="2106"/>
                  </a:lnTo>
                  <a:lnTo>
                    <a:pt x="1002" y="2106"/>
                  </a:lnTo>
                  <a:lnTo>
                    <a:pt x="978" y="2094"/>
                  </a:lnTo>
                  <a:lnTo>
                    <a:pt x="972" y="2082"/>
                  </a:lnTo>
                  <a:lnTo>
                    <a:pt x="966" y="2070"/>
                  </a:lnTo>
                  <a:lnTo>
                    <a:pt x="954" y="2064"/>
                  </a:lnTo>
                  <a:lnTo>
                    <a:pt x="942" y="2058"/>
                  </a:lnTo>
                  <a:lnTo>
                    <a:pt x="936" y="2058"/>
                  </a:lnTo>
                  <a:lnTo>
                    <a:pt x="918" y="2046"/>
                  </a:lnTo>
                  <a:lnTo>
                    <a:pt x="906" y="2028"/>
                  </a:lnTo>
                  <a:lnTo>
                    <a:pt x="900" y="2022"/>
                  </a:lnTo>
                  <a:lnTo>
                    <a:pt x="894" y="2022"/>
                  </a:lnTo>
                  <a:lnTo>
                    <a:pt x="882" y="2022"/>
                  </a:lnTo>
                  <a:lnTo>
                    <a:pt x="870" y="2016"/>
                  </a:lnTo>
                  <a:lnTo>
                    <a:pt x="864" y="2016"/>
                  </a:lnTo>
                  <a:lnTo>
                    <a:pt x="852" y="2010"/>
                  </a:lnTo>
                  <a:lnTo>
                    <a:pt x="846" y="2004"/>
                  </a:lnTo>
                  <a:lnTo>
                    <a:pt x="840" y="2004"/>
                  </a:lnTo>
                  <a:lnTo>
                    <a:pt x="828" y="1998"/>
                  </a:lnTo>
                  <a:lnTo>
                    <a:pt x="816" y="1998"/>
                  </a:lnTo>
                  <a:lnTo>
                    <a:pt x="810" y="1998"/>
                  </a:lnTo>
                  <a:lnTo>
                    <a:pt x="804" y="1998"/>
                  </a:lnTo>
                  <a:lnTo>
                    <a:pt x="798" y="1998"/>
                  </a:lnTo>
                  <a:lnTo>
                    <a:pt x="792" y="2004"/>
                  </a:lnTo>
                  <a:lnTo>
                    <a:pt x="786" y="2010"/>
                  </a:lnTo>
                  <a:lnTo>
                    <a:pt x="762" y="2010"/>
                  </a:lnTo>
                  <a:lnTo>
                    <a:pt x="756" y="2010"/>
                  </a:lnTo>
                  <a:lnTo>
                    <a:pt x="744" y="2022"/>
                  </a:lnTo>
                  <a:lnTo>
                    <a:pt x="738" y="2034"/>
                  </a:lnTo>
                  <a:lnTo>
                    <a:pt x="732" y="2040"/>
                  </a:lnTo>
                  <a:lnTo>
                    <a:pt x="732" y="2046"/>
                  </a:lnTo>
                  <a:lnTo>
                    <a:pt x="726" y="2058"/>
                  </a:lnTo>
                  <a:lnTo>
                    <a:pt x="720" y="2064"/>
                  </a:lnTo>
                  <a:lnTo>
                    <a:pt x="714" y="2070"/>
                  </a:lnTo>
                  <a:lnTo>
                    <a:pt x="708" y="2088"/>
                  </a:lnTo>
                  <a:lnTo>
                    <a:pt x="702" y="2100"/>
                  </a:lnTo>
                  <a:lnTo>
                    <a:pt x="690" y="2100"/>
                  </a:lnTo>
                  <a:lnTo>
                    <a:pt x="684" y="2094"/>
                  </a:lnTo>
                  <a:lnTo>
                    <a:pt x="666" y="2100"/>
                  </a:lnTo>
                  <a:lnTo>
                    <a:pt x="636" y="2106"/>
                  </a:lnTo>
                  <a:lnTo>
                    <a:pt x="636" y="2112"/>
                  </a:lnTo>
                  <a:lnTo>
                    <a:pt x="636" y="2118"/>
                  </a:lnTo>
                  <a:lnTo>
                    <a:pt x="636" y="2124"/>
                  </a:lnTo>
                  <a:lnTo>
                    <a:pt x="630" y="2124"/>
                  </a:lnTo>
                  <a:lnTo>
                    <a:pt x="630" y="2148"/>
                  </a:lnTo>
                  <a:lnTo>
                    <a:pt x="612" y="2160"/>
                  </a:lnTo>
                  <a:lnTo>
                    <a:pt x="576" y="2172"/>
                  </a:lnTo>
                  <a:lnTo>
                    <a:pt x="546" y="2172"/>
                  </a:lnTo>
                  <a:lnTo>
                    <a:pt x="516" y="2172"/>
                  </a:lnTo>
                  <a:lnTo>
                    <a:pt x="486" y="2172"/>
                  </a:lnTo>
                  <a:lnTo>
                    <a:pt x="462" y="2172"/>
                  </a:lnTo>
                  <a:lnTo>
                    <a:pt x="444" y="2196"/>
                  </a:lnTo>
                  <a:lnTo>
                    <a:pt x="432" y="2232"/>
                  </a:lnTo>
                  <a:lnTo>
                    <a:pt x="408" y="2238"/>
                  </a:lnTo>
                  <a:lnTo>
                    <a:pt x="390" y="2256"/>
                  </a:lnTo>
                  <a:lnTo>
                    <a:pt x="372" y="2274"/>
                  </a:lnTo>
                  <a:lnTo>
                    <a:pt x="360" y="2274"/>
                  </a:lnTo>
                  <a:lnTo>
                    <a:pt x="336" y="2328"/>
                  </a:lnTo>
                  <a:lnTo>
                    <a:pt x="324" y="2340"/>
                  </a:lnTo>
                  <a:lnTo>
                    <a:pt x="300" y="2346"/>
                  </a:lnTo>
                  <a:lnTo>
                    <a:pt x="294" y="2352"/>
                  </a:lnTo>
                  <a:lnTo>
                    <a:pt x="288" y="2352"/>
                  </a:lnTo>
                  <a:lnTo>
                    <a:pt x="282" y="2352"/>
                  </a:lnTo>
                  <a:lnTo>
                    <a:pt x="276" y="2352"/>
                  </a:lnTo>
                  <a:lnTo>
                    <a:pt x="270" y="2352"/>
                  </a:lnTo>
                  <a:lnTo>
                    <a:pt x="270" y="2346"/>
                  </a:lnTo>
                  <a:lnTo>
                    <a:pt x="264" y="2346"/>
                  </a:lnTo>
                  <a:lnTo>
                    <a:pt x="258" y="2352"/>
                  </a:lnTo>
                  <a:lnTo>
                    <a:pt x="252" y="2352"/>
                  </a:lnTo>
                  <a:lnTo>
                    <a:pt x="240" y="2352"/>
                  </a:lnTo>
                  <a:lnTo>
                    <a:pt x="228" y="2352"/>
                  </a:lnTo>
                  <a:lnTo>
                    <a:pt x="222" y="2352"/>
                  </a:lnTo>
                  <a:lnTo>
                    <a:pt x="216" y="2358"/>
                  </a:lnTo>
                  <a:lnTo>
                    <a:pt x="216" y="2352"/>
                  </a:lnTo>
                  <a:lnTo>
                    <a:pt x="210" y="2346"/>
                  </a:lnTo>
                  <a:lnTo>
                    <a:pt x="204" y="2346"/>
                  </a:lnTo>
                  <a:lnTo>
                    <a:pt x="198" y="2340"/>
                  </a:lnTo>
                  <a:lnTo>
                    <a:pt x="192" y="2340"/>
                  </a:lnTo>
                  <a:lnTo>
                    <a:pt x="186" y="2340"/>
                  </a:lnTo>
                  <a:lnTo>
                    <a:pt x="180" y="2340"/>
                  </a:lnTo>
                  <a:lnTo>
                    <a:pt x="174" y="2340"/>
                  </a:lnTo>
                  <a:lnTo>
                    <a:pt x="162" y="2328"/>
                  </a:lnTo>
                  <a:lnTo>
                    <a:pt x="156" y="2322"/>
                  </a:lnTo>
                  <a:lnTo>
                    <a:pt x="156" y="2316"/>
                  </a:lnTo>
                  <a:lnTo>
                    <a:pt x="156" y="2310"/>
                  </a:lnTo>
                  <a:lnTo>
                    <a:pt x="132" y="2286"/>
                  </a:lnTo>
                  <a:lnTo>
                    <a:pt x="120" y="2280"/>
                  </a:lnTo>
                  <a:lnTo>
                    <a:pt x="96" y="2274"/>
                  </a:lnTo>
                  <a:lnTo>
                    <a:pt x="84" y="2268"/>
                  </a:lnTo>
                  <a:lnTo>
                    <a:pt x="78" y="2268"/>
                  </a:lnTo>
                  <a:lnTo>
                    <a:pt x="78" y="2262"/>
                  </a:lnTo>
                  <a:lnTo>
                    <a:pt x="78" y="2256"/>
                  </a:lnTo>
                  <a:lnTo>
                    <a:pt x="78" y="2250"/>
                  </a:lnTo>
                  <a:lnTo>
                    <a:pt x="72" y="2250"/>
                  </a:lnTo>
                  <a:lnTo>
                    <a:pt x="66" y="2250"/>
                  </a:lnTo>
                  <a:lnTo>
                    <a:pt x="60" y="2250"/>
                  </a:lnTo>
                  <a:lnTo>
                    <a:pt x="48" y="2244"/>
                  </a:lnTo>
                  <a:lnTo>
                    <a:pt x="36" y="2238"/>
                  </a:lnTo>
                  <a:lnTo>
                    <a:pt x="36" y="2226"/>
                  </a:lnTo>
                  <a:lnTo>
                    <a:pt x="30" y="2226"/>
                  </a:lnTo>
                  <a:lnTo>
                    <a:pt x="30" y="2220"/>
                  </a:lnTo>
                  <a:lnTo>
                    <a:pt x="24" y="2208"/>
                  </a:lnTo>
                  <a:lnTo>
                    <a:pt x="18" y="2202"/>
                  </a:lnTo>
                  <a:lnTo>
                    <a:pt x="18" y="2196"/>
                  </a:lnTo>
                  <a:lnTo>
                    <a:pt x="12" y="2190"/>
                  </a:lnTo>
                  <a:lnTo>
                    <a:pt x="0" y="2190"/>
                  </a:lnTo>
                  <a:lnTo>
                    <a:pt x="6" y="2184"/>
                  </a:lnTo>
                  <a:lnTo>
                    <a:pt x="12" y="2178"/>
                  </a:lnTo>
                  <a:lnTo>
                    <a:pt x="18" y="2172"/>
                  </a:lnTo>
                  <a:lnTo>
                    <a:pt x="24" y="2166"/>
                  </a:lnTo>
                  <a:lnTo>
                    <a:pt x="30" y="2166"/>
                  </a:lnTo>
                  <a:lnTo>
                    <a:pt x="24" y="2160"/>
                  </a:lnTo>
                  <a:lnTo>
                    <a:pt x="30" y="2160"/>
                  </a:lnTo>
                  <a:lnTo>
                    <a:pt x="36" y="2154"/>
                  </a:lnTo>
                  <a:lnTo>
                    <a:pt x="36" y="2136"/>
                  </a:lnTo>
                  <a:lnTo>
                    <a:pt x="36" y="2118"/>
                  </a:lnTo>
                  <a:lnTo>
                    <a:pt x="48" y="2058"/>
                  </a:lnTo>
                  <a:lnTo>
                    <a:pt x="48" y="2022"/>
                  </a:lnTo>
                  <a:lnTo>
                    <a:pt x="48" y="2016"/>
                  </a:lnTo>
                  <a:lnTo>
                    <a:pt x="48" y="2010"/>
                  </a:lnTo>
                  <a:lnTo>
                    <a:pt x="48" y="2004"/>
                  </a:lnTo>
                  <a:lnTo>
                    <a:pt x="42" y="2004"/>
                  </a:lnTo>
                  <a:lnTo>
                    <a:pt x="42" y="1998"/>
                  </a:lnTo>
                  <a:lnTo>
                    <a:pt x="36" y="1992"/>
                  </a:lnTo>
                  <a:lnTo>
                    <a:pt x="42" y="1992"/>
                  </a:lnTo>
                  <a:lnTo>
                    <a:pt x="42" y="1986"/>
                  </a:lnTo>
                  <a:lnTo>
                    <a:pt x="48" y="1986"/>
                  </a:lnTo>
                  <a:lnTo>
                    <a:pt x="54" y="1986"/>
                  </a:lnTo>
                  <a:lnTo>
                    <a:pt x="60" y="1986"/>
                  </a:lnTo>
                  <a:lnTo>
                    <a:pt x="66" y="1980"/>
                  </a:lnTo>
                  <a:lnTo>
                    <a:pt x="72" y="1974"/>
                  </a:lnTo>
                  <a:lnTo>
                    <a:pt x="78" y="1974"/>
                  </a:lnTo>
                  <a:lnTo>
                    <a:pt x="84" y="1974"/>
                  </a:lnTo>
                  <a:lnTo>
                    <a:pt x="90" y="1974"/>
                  </a:lnTo>
                  <a:lnTo>
                    <a:pt x="96" y="1974"/>
                  </a:lnTo>
                  <a:lnTo>
                    <a:pt x="96" y="1968"/>
                  </a:lnTo>
                  <a:lnTo>
                    <a:pt x="102" y="1968"/>
                  </a:lnTo>
                  <a:lnTo>
                    <a:pt x="102" y="1962"/>
                  </a:lnTo>
                  <a:lnTo>
                    <a:pt x="108" y="1962"/>
                  </a:lnTo>
                  <a:lnTo>
                    <a:pt x="114" y="1956"/>
                  </a:lnTo>
                  <a:lnTo>
                    <a:pt x="120" y="1956"/>
                  </a:lnTo>
                  <a:lnTo>
                    <a:pt x="126" y="1950"/>
                  </a:lnTo>
                  <a:lnTo>
                    <a:pt x="132" y="1950"/>
                  </a:lnTo>
                  <a:lnTo>
                    <a:pt x="132" y="1944"/>
                  </a:lnTo>
                  <a:lnTo>
                    <a:pt x="126" y="1944"/>
                  </a:lnTo>
                  <a:lnTo>
                    <a:pt x="126" y="1938"/>
                  </a:lnTo>
                  <a:lnTo>
                    <a:pt x="126" y="1932"/>
                  </a:lnTo>
                  <a:lnTo>
                    <a:pt x="126" y="1926"/>
                  </a:lnTo>
                  <a:lnTo>
                    <a:pt x="114" y="1914"/>
                  </a:lnTo>
                  <a:lnTo>
                    <a:pt x="114" y="1896"/>
                  </a:lnTo>
                  <a:lnTo>
                    <a:pt x="108" y="1884"/>
                  </a:lnTo>
                  <a:lnTo>
                    <a:pt x="102" y="1872"/>
                  </a:lnTo>
                  <a:lnTo>
                    <a:pt x="96" y="1866"/>
                  </a:lnTo>
                  <a:lnTo>
                    <a:pt x="96" y="1860"/>
                  </a:lnTo>
                  <a:lnTo>
                    <a:pt x="90" y="1860"/>
                  </a:lnTo>
                  <a:lnTo>
                    <a:pt x="90" y="1854"/>
                  </a:lnTo>
                  <a:lnTo>
                    <a:pt x="84" y="1848"/>
                  </a:lnTo>
                  <a:lnTo>
                    <a:pt x="78" y="1842"/>
                  </a:lnTo>
                  <a:lnTo>
                    <a:pt x="72" y="1836"/>
                  </a:lnTo>
                  <a:lnTo>
                    <a:pt x="66" y="1830"/>
                  </a:lnTo>
                  <a:lnTo>
                    <a:pt x="60" y="1824"/>
                  </a:lnTo>
                  <a:lnTo>
                    <a:pt x="54" y="1824"/>
                  </a:lnTo>
                  <a:lnTo>
                    <a:pt x="48" y="1824"/>
                  </a:lnTo>
                  <a:lnTo>
                    <a:pt x="42" y="1818"/>
                  </a:lnTo>
                  <a:lnTo>
                    <a:pt x="54" y="1818"/>
                  </a:lnTo>
                  <a:lnTo>
                    <a:pt x="60" y="1812"/>
                  </a:lnTo>
                  <a:lnTo>
                    <a:pt x="66" y="1812"/>
                  </a:lnTo>
                  <a:lnTo>
                    <a:pt x="72" y="1812"/>
                  </a:lnTo>
                  <a:lnTo>
                    <a:pt x="78" y="1812"/>
                  </a:lnTo>
                  <a:lnTo>
                    <a:pt x="84" y="1812"/>
                  </a:lnTo>
                  <a:lnTo>
                    <a:pt x="90" y="1806"/>
                  </a:lnTo>
                  <a:lnTo>
                    <a:pt x="96" y="1800"/>
                  </a:lnTo>
                  <a:lnTo>
                    <a:pt x="102" y="1806"/>
                  </a:lnTo>
                  <a:lnTo>
                    <a:pt x="108" y="1800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26" y="1788"/>
                  </a:lnTo>
                  <a:lnTo>
                    <a:pt x="126" y="1794"/>
                  </a:lnTo>
                  <a:lnTo>
                    <a:pt x="132" y="1794"/>
                  </a:lnTo>
                  <a:lnTo>
                    <a:pt x="132" y="1788"/>
                  </a:lnTo>
                  <a:lnTo>
                    <a:pt x="138" y="1788"/>
                  </a:lnTo>
                  <a:lnTo>
                    <a:pt x="138" y="1782"/>
                  </a:lnTo>
                  <a:lnTo>
                    <a:pt x="144" y="1782"/>
                  </a:lnTo>
                  <a:lnTo>
                    <a:pt x="150" y="1776"/>
                  </a:lnTo>
                  <a:lnTo>
                    <a:pt x="156" y="1782"/>
                  </a:lnTo>
                  <a:lnTo>
                    <a:pt x="162" y="1776"/>
                  </a:lnTo>
                  <a:lnTo>
                    <a:pt x="168" y="1776"/>
                  </a:lnTo>
                  <a:lnTo>
                    <a:pt x="180" y="1776"/>
                  </a:lnTo>
                  <a:lnTo>
                    <a:pt x="186" y="1776"/>
                  </a:lnTo>
                  <a:lnTo>
                    <a:pt x="186" y="1782"/>
                  </a:lnTo>
                  <a:lnTo>
                    <a:pt x="192" y="1776"/>
                  </a:lnTo>
                  <a:lnTo>
                    <a:pt x="198" y="1776"/>
                  </a:lnTo>
                  <a:lnTo>
                    <a:pt x="204" y="1770"/>
                  </a:lnTo>
                  <a:lnTo>
                    <a:pt x="204" y="1764"/>
                  </a:lnTo>
                  <a:lnTo>
                    <a:pt x="210" y="1764"/>
                  </a:lnTo>
                  <a:lnTo>
                    <a:pt x="216" y="1764"/>
                  </a:lnTo>
                  <a:lnTo>
                    <a:pt x="216" y="1758"/>
                  </a:lnTo>
                  <a:lnTo>
                    <a:pt x="222" y="1758"/>
                  </a:lnTo>
                  <a:lnTo>
                    <a:pt x="228" y="1758"/>
                  </a:lnTo>
                  <a:lnTo>
                    <a:pt x="258" y="1746"/>
                  </a:lnTo>
                  <a:lnTo>
                    <a:pt x="282" y="1716"/>
                  </a:lnTo>
                  <a:lnTo>
                    <a:pt x="300" y="1698"/>
                  </a:lnTo>
                  <a:lnTo>
                    <a:pt x="312" y="1698"/>
                  </a:lnTo>
                  <a:lnTo>
                    <a:pt x="336" y="1698"/>
                  </a:lnTo>
                  <a:lnTo>
                    <a:pt x="360" y="1698"/>
                  </a:lnTo>
                  <a:lnTo>
                    <a:pt x="372" y="1692"/>
                  </a:lnTo>
                  <a:lnTo>
                    <a:pt x="384" y="1692"/>
                  </a:lnTo>
                  <a:lnTo>
                    <a:pt x="360" y="1668"/>
                  </a:lnTo>
                  <a:lnTo>
                    <a:pt x="348" y="1626"/>
                  </a:lnTo>
                  <a:lnTo>
                    <a:pt x="354" y="1578"/>
                  </a:lnTo>
                  <a:lnTo>
                    <a:pt x="354" y="1572"/>
                  </a:lnTo>
                  <a:lnTo>
                    <a:pt x="360" y="1572"/>
                  </a:lnTo>
                  <a:lnTo>
                    <a:pt x="396" y="1530"/>
                  </a:lnTo>
                  <a:lnTo>
                    <a:pt x="408" y="1482"/>
                  </a:lnTo>
                  <a:lnTo>
                    <a:pt x="438" y="1458"/>
                  </a:lnTo>
                  <a:lnTo>
                    <a:pt x="468" y="1422"/>
                  </a:lnTo>
                  <a:lnTo>
                    <a:pt x="480" y="1410"/>
                  </a:lnTo>
                  <a:lnTo>
                    <a:pt x="474" y="1386"/>
                  </a:lnTo>
                  <a:lnTo>
                    <a:pt x="456" y="1356"/>
                  </a:lnTo>
                  <a:lnTo>
                    <a:pt x="438" y="1350"/>
                  </a:lnTo>
                  <a:lnTo>
                    <a:pt x="420" y="1350"/>
                  </a:lnTo>
                  <a:lnTo>
                    <a:pt x="402" y="1350"/>
                  </a:lnTo>
                  <a:lnTo>
                    <a:pt x="390" y="1344"/>
                  </a:lnTo>
                  <a:lnTo>
                    <a:pt x="390" y="1332"/>
                  </a:lnTo>
                  <a:lnTo>
                    <a:pt x="402" y="1296"/>
                  </a:lnTo>
                  <a:lnTo>
                    <a:pt x="414" y="1260"/>
                  </a:lnTo>
                  <a:lnTo>
                    <a:pt x="426" y="1248"/>
                  </a:lnTo>
                  <a:lnTo>
                    <a:pt x="438" y="1242"/>
                  </a:lnTo>
                  <a:lnTo>
                    <a:pt x="432" y="1230"/>
                  </a:lnTo>
                  <a:lnTo>
                    <a:pt x="432" y="1224"/>
                  </a:lnTo>
                  <a:lnTo>
                    <a:pt x="426" y="1218"/>
                  </a:lnTo>
                  <a:lnTo>
                    <a:pt x="426" y="1206"/>
                  </a:lnTo>
                  <a:lnTo>
                    <a:pt x="426" y="1200"/>
                  </a:lnTo>
                  <a:lnTo>
                    <a:pt x="432" y="1194"/>
                  </a:lnTo>
                  <a:lnTo>
                    <a:pt x="426" y="1188"/>
                  </a:lnTo>
                  <a:lnTo>
                    <a:pt x="432" y="1104"/>
                  </a:lnTo>
                  <a:lnTo>
                    <a:pt x="438" y="1086"/>
                  </a:lnTo>
                  <a:lnTo>
                    <a:pt x="462" y="972"/>
                  </a:lnTo>
                  <a:lnTo>
                    <a:pt x="456" y="900"/>
                  </a:lnTo>
                  <a:lnTo>
                    <a:pt x="444" y="846"/>
                  </a:lnTo>
                  <a:lnTo>
                    <a:pt x="456" y="810"/>
                  </a:lnTo>
                  <a:lnTo>
                    <a:pt x="492" y="786"/>
                  </a:lnTo>
                  <a:lnTo>
                    <a:pt x="522" y="762"/>
                  </a:lnTo>
                  <a:lnTo>
                    <a:pt x="546" y="732"/>
                  </a:lnTo>
                  <a:lnTo>
                    <a:pt x="570" y="696"/>
                  </a:lnTo>
                  <a:lnTo>
                    <a:pt x="582" y="654"/>
                  </a:lnTo>
                  <a:lnTo>
                    <a:pt x="564" y="642"/>
                  </a:lnTo>
                  <a:lnTo>
                    <a:pt x="522" y="588"/>
                  </a:lnTo>
                  <a:lnTo>
                    <a:pt x="516" y="546"/>
                  </a:lnTo>
                  <a:lnTo>
                    <a:pt x="510" y="474"/>
                  </a:lnTo>
                  <a:lnTo>
                    <a:pt x="510" y="450"/>
                  </a:lnTo>
                  <a:lnTo>
                    <a:pt x="510" y="444"/>
                  </a:lnTo>
                  <a:lnTo>
                    <a:pt x="522" y="438"/>
                  </a:lnTo>
                  <a:lnTo>
                    <a:pt x="522" y="432"/>
                  </a:lnTo>
                  <a:lnTo>
                    <a:pt x="528" y="426"/>
                  </a:lnTo>
                  <a:lnTo>
                    <a:pt x="534" y="420"/>
                  </a:lnTo>
                  <a:lnTo>
                    <a:pt x="540" y="414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08"/>
                  </a:lnTo>
                  <a:lnTo>
                    <a:pt x="546" y="408"/>
                  </a:lnTo>
                  <a:lnTo>
                    <a:pt x="558" y="414"/>
                  </a:lnTo>
                  <a:lnTo>
                    <a:pt x="564" y="414"/>
                  </a:lnTo>
                  <a:lnTo>
                    <a:pt x="570" y="414"/>
                  </a:lnTo>
                  <a:lnTo>
                    <a:pt x="582" y="414"/>
                  </a:lnTo>
                  <a:lnTo>
                    <a:pt x="582" y="420"/>
                  </a:lnTo>
                  <a:lnTo>
                    <a:pt x="588" y="414"/>
                  </a:lnTo>
                  <a:lnTo>
                    <a:pt x="582" y="408"/>
                  </a:lnTo>
                  <a:lnTo>
                    <a:pt x="588" y="402"/>
                  </a:lnTo>
                  <a:lnTo>
                    <a:pt x="594" y="402"/>
                  </a:lnTo>
                  <a:lnTo>
                    <a:pt x="594" y="396"/>
                  </a:lnTo>
                  <a:lnTo>
                    <a:pt x="594" y="390"/>
                  </a:lnTo>
                  <a:lnTo>
                    <a:pt x="594" y="384"/>
                  </a:lnTo>
                  <a:lnTo>
                    <a:pt x="594" y="378"/>
                  </a:lnTo>
                  <a:lnTo>
                    <a:pt x="600" y="366"/>
                  </a:lnTo>
                  <a:lnTo>
                    <a:pt x="606" y="366"/>
                  </a:lnTo>
                  <a:lnTo>
                    <a:pt x="612" y="360"/>
                  </a:lnTo>
                  <a:lnTo>
                    <a:pt x="612" y="366"/>
                  </a:lnTo>
                  <a:lnTo>
                    <a:pt x="618" y="366"/>
                  </a:lnTo>
                  <a:lnTo>
                    <a:pt x="624" y="366"/>
                  </a:lnTo>
                  <a:lnTo>
                    <a:pt x="630" y="360"/>
                  </a:lnTo>
                  <a:lnTo>
                    <a:pt x="636" y="354"/>
                  </a:lnTo>
                  <a:lnTo>
                    <a:pt x="630" y="354"/>
                  </a:lnTo>
                  <a:lnTo>
                    <a:pt x="630" y="348"/>
                  </a:lnTo>
                  <a:lnTo>
                    <a:pt x="630" y="342"/>
                  </a:lnTo>
                  <a:lnTo>
                    <a:pt x="636" y="342"/>
                  </a:lnTo>
                  <a:lnTo>
                    <a:pt x="642" y="336"/>
                  </a:lnTo>
                  <a:lnTo>
                    <a:pt x="636" y="330"/>
                  </a:lnTo>
                  <a:lnTo>
                    <a:pt x="630" y="336"/>
                  </a:lnTo>
                  <a:lnTo>
                    <a:pt x="624" y="336"/>
                  </a:lnTo>
                  <a:lnTo>
                    <a:pt x="624" y="330"/>
                  </a:lnTo>
                  <a:lnTo>
                    <a:pt x="624" y="324"/>
                  </a:lnTo>
                  <a:lnTo>
                    <a:pt x="618" y="324"/>
                  </a:lnTo>
                  <a:lnTo>
                    <a:pt x="624" y="324"/>
                  </a:lnTo>
                  <a:lnTo>
                    <a:pt x="630" y="330"/>
                  </a:lnTo>
                  <a:lnTo>
                    <a:pt x="630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2" y="306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8" y="288"/>
                  </a:lnTo>
                  <a:lnTo>
                    <a:pt x="648" y="282"/>
                  </a:lnTo>
                  <a:lnTo>
                    <a:pt x="654" y="288"/>
                  </a:lnTo>
                  <a:lnTo>
                    <a:pt x="654" y="282"/>
                  </a:lnTo>
                  <a:lnTo>
                    <a:pt x="660" y="282"/>
                  </a:lnTo>
                  <a:lnTo>
                    <a:pt x="666" y="282"/>
                  </a:lnTo>
                  <a:lnTo>
                    <a:pt x="672" y="282"/>
                  </a:lnTo>
                  <a:lnTo>
                    <a:pt x="678" y="282"/>
                  </a:lnTo>
                  <a:lnTo>
                    <a:pt x="684" y="276"/>
                  </a:lnTo>
                  <a:lnTo>
                    <a:pt x="690" y="270"/>
                  </a:lnTo>
                  <a:lnTo>
                    <a:pt x="690" y="264"/>
                  </a:lnTo>
                  <a:lnTo>
                    <a:pt x="690" y="270"/>
                  </a:lnTo>
                  <a:lnTo>
                    <a:pt x="690" y="276"/>
                  </a:lnTo>
                  <a:lnTo>
                    <a:pt x="696" y="276"/>
                  </a:lnTo>
                  <a:lnTo>
                    <a:pt x="702" y="276"/>
                  </a:lnTo>
                  <a:lnTo>
                    <a:pt x="702" y="282"/>
                  </a:lnTo>
                  <a:lnTo>
                    <a:pt x="708" y="282"/>
                  </a:lnTo>
                  <a:lnTo>
                    <a:pt x="720" y="270"/>
                  </a:lnTo>
                  <a:lnTo>
                    <a:pt x="720" y="264"/>
                  </a:lnTo>
                  <a:lnTo>
                    <a:pt x="720" y="258"/>
                  </a:lnTo>
                  <a:lnTo>
                    <a:pt x="726" y="258"/>
                  </a:lnTo>
                  <a:lnTo>
                    <a:pt x="732" y="258"/>
                  </a:lnTo>
                  <a:lnTo>
                    <a:pt x="732" y="264"/>
                  </a:lnTo>
                  <a:lnTo>
                    <a:pt x="738" y="264"/>
                  </a:lnTo>
                  <a:lnTo>
                    <a:pt x="738" y="258"/>
                  </a:lnTo>
                  <a:lnTo>
                    <a:pt x="732" y="258"/>
                  </a:lnTo>
                  <a:lnTo>
                    <a:pt x="732" y="252"/>
                  </a:lnTo>
                  <a:lnTo>
                    <a:pt x="744" y="252"/>
                  </a:lnTo>
                  <a:lnTo>
                    <a:pt x="750" y="252"/>
                  </a:lnTo>
                  <a:lnTo>
                    <a:pt x="750" y="246"/>
                  </a:lnTo>
                  <a:lnTo>
                    <a:pt x="750" y="240"/>
                  </a:lnTo>
                  <a:lnTo>
                    <a:pt x="762" y="234"/>
                  </a:lnTo>
                  <a:lnTo>
                    <a:pt x="768" y="234"/>
                  </a:lnTo>
                  <a:lnTo>
                    <a:pt x="774" y="234"/>
                  </a:lnTo>
                  <a:lnTo>
                    <a:pt x="780" y="228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16"/>
                  </a:lnTo>
                  <a:lnTo>
                    <a:pt x="792" y="210"/>
                  </a:lnTo>
                  <a:lnTo>
                    <a:pt x="804" y="204"/>
                  </a:lnTo>
                  <a:lnTo>
                    <a:pt x="804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0" y="192"/>
                  </a:lnTo>
                  <a:lnTo>
                    <a:pt x="798" y="186"/>
                  </a:lnTo>
                  <a:lnTo>
                    <a:pt x="810" y="186"/>
                  </a:lnTo>
                  <a:lnTo>
                    <a:pt x="810" y="180"/>
                  </a:lnTo>
                  <a:lnTo>
                    <a:pt x="810" y="186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0" y="180"/>
                  </a:lnTo>
                  <a:lnTo>
                    <a:pt x="816" y="174"/>
                  </a:lnTo>
                  <a:lnTo>
                    <a:pt x="822" y="174"/>
                  </a:lnTo>
                  <a:lnTo>
                    <a:pt x="822" y="180"/>
                  </a:lnTo>
                  <a:lnTo>
                    <a:pt x="828" y="180"/>
                  </a:lnTo>
                  <a:lnTo>
                    <a:pt x="828" y="174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62"/>
                  </a:lnTo>
                  <a:lnTo>
                    <a:pt x="828" y="156"/>
                  </a:lnTo>
                  <a:lnTo>
                    <a:pt x="822" y="156"/>
                  </a:lnTo>
                  <a:lnTo>
                    <a:pt x="828" y="156"/>
                  </a:lnTo>
                  <a:lnTo>
                    <a:pt x="828" y="150"/>
                  </a:lnTo>
                  <a:lnTo>
                    <a:pt x="834" y="150"/>
                  </a:lnTo>
                  <a:lnTo>
                    <a:pt x="840" y="156"/>
                  </a:lnTo>
                  <a:lnTo>
                    <a:pt x="840" y="150"/>
                  </a:lnTo>
                  <a:lnTo>
                    <a:pt x="834" y="150"/>
                  </a:lnTo>
                  <a:lnTo>
                    <a:pt x="834" y="144"/>
                  </a:lnTo>
                  <a:lnTo>
                    <a:pt x="840" y="138"/>
                  </a:lnTo>
                  <a:lnTo>
                    <a:pt x="846" y="144"/>
                  </a:lnTo>
                  <a:lnTo>
                    <a:pt x="846" y="150"/>
                  </a:lnTo>
                  <a:lnTo>
                    <a:pt x="852" y="150"/>
                  </a:lnTo>
                  <a:lnTo>
                    <a:pt x="858" y="150"/>
                  </a:lnTo>
                  <a:lnTo>
                    <a:pt x="870" y="150"/>
                  </a:lnTo>
                  <a:lnTo>
                    <a:pt x="870" y="144"/>
                  </a:lnTo>
                  <a:lnTo>
                    <a:pt x="876" y="138"/>
                  </a:lnTo>
                  <a:lnTo>
                    <a:pt x="882" y="138"/>
                  </a:lnTo>
                  <a:lnTo>
                    <a:pt x="888" y="132"/>
                  </a:lnTo>
                  <a:lnTo>
                    <a:pt x="888" y="138"/>
                  </a:lnTo>
                  <a:lnTo>
                    <a:pt x="894" y="138"/>
                  </a:lnTo>
                  <a:lnTo>
                    <a:pt x="894" y="132"/>
                  </a:lnTo>
                  <a:lnTo>
                    <a:pt x="900" y="126"/>
                  </a:lnTo>
                  <a:lnTo>
                    <a:pt x="900" y="132"/>
                  </a:lnTo>
                  <a:lnTo>
                    <a:pt x="906" y="132"/>
                  </a:lnTo>
                  <a:lnTo>
                    <a:pt x="912" y="132"/>
                  </a:lnTo>
                  <a:lnTo>
                    <a:pt x="918" y="126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24" y="126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8" y="120"/>
                  </a:lnTo>
                  <a:lnTo>
                    <a:pt x="948" y="114"/>
                  </a:lnTo>
                  <a:lnTo>
                    <a:pt x="948" y="108"/>
                  </a:lnTo>
                  <a:lnTo>
                    <a:pt x="954" y="114"/>
                  </a:lnTo>
                  <a:lnTo>
                    <a:pt x="960" y="108"/>
                  </a:lnTo>
                  <a:lnTo>
                    <a:pt x="966" y="108"/>
                  </a:lnTo>
                  <a:lnTo>
                    <a:pt x="972" y="108"/>
                  </a:lnTo>
                  <a:lnTo>
                    <a:pt x="966" y="114"/>
                  </a:lnTo>
                  <a:lnTo>
                    <a:pt x="960" y="114"/>
                  </a:lnTo>
                  <a:lnTo>
                    <a:pt x="960" y="120"/>
                  </a:lnTo>
                  <a:lnTo>
                    <a:pt x="966" y="126"/>
                  </a:lnTo>
                  <a:lnTo>
                    <a:pt x="972" y="126"/>
                  </a:lnTo>
                  <a:lnTo>
                    <a:pt x="978" y="126"/>
                  </a:lnTo>
                  <a:lnTo>
                    <a:pt x="984" y="120"/>
                  </a:lnTo>
                  <a:lnTo>
                    <a:pt x="984" y="114"/>
                  </a:lnTo>
                  <a:lnTo>
                    <a:pt x="996" y="126"/>
                  </a:lnTo>
                  <a:lnTo>
                    <a:pt x="996" y="120"/>
                  </a:lnTo>
                  <a:lnTo>
                    <a:pt x="1002" y="120"/>
                  </a:lnTo>
                  <a:lnTo>
                    <a:pt x="996" y="114"/>
                  </a:lnTo>
                  <a:lnTo>
                    <a:pt x="1002" y="114"/>
                  </a:lnTo>
                  <a:lnTo>
                    <a:pt x="1008" y="114"/>
                  </a:lnTo>
                  <a:lnTo>
                    <a:pt x="1008" y="108"/>
                  </a:lnTo>
                  <a:lnTo>
                    <a:pt x="1014" y="108"/>
                  </a:lnTo>
                  <a:lnTo>
                    <a:pt x="1008" y="114"/>
                  </a:lnTo>
                  <a:lnTo>
                    <a:pt x="1008" y="120"/>
                  </a:lnTo>
                  <a:lnTo>
                    <a:pt x="1008" y="126"/>
                  </a:lnTo>
                  <a:lnTo>
                    <a:pt x="1014" y="126"/>
                  </a:lnTo>
                  <a:lnTo>
                    <a:pt x="1014" y="132"/>
                  </a:lnTo>
                  <a:lnTo>
                    <a:pt x="1020" y="132"/>
                  </a:lnTo>
                  <a:lnTo>
                    <a:pt x="1020" y="126"/>
                  </a:lnTo>
                  <a:lnTo>
                    <a:pt x="1020" y="120"/>
                  </a:lnTo>
                  <a:lnTo>
                    <a:pt x="1032" y="120"/>
                  </a:lnTo>
                  <a:lnTo>
                    <a:pt x="1038" y="120"/>
                  </a:lnTo>
                  <a:lnTo>
                    <a:pt x="1038" y="126"/>
                  </a:lnTo>
                  <a:lnTo>
                    <a:pt x="1044" y="132"/>
                  </a:lnTo>
                  <a:lnTo>
                    <a:pt x="1044" y="126"/>
                  </a:lnTo>
                  <a:lnTo>
                    <a:pt x="1050" y="120"/>
                  </a:lnTo>
                  <a:lnTo>
                    <a:pt x="1050" y="114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68" y="102"/>
                  </a:lnTo>
                  <a:lnTo>
                    <a:pt x="1074" y="96"/>
                  </a:lnTo>
                  <a:lnTo>
                    <a:pt x="1074" y="90"/>
                  </a:lnTo>
                  <a:lnTo>
                    <a:pt x="1068" y="90"/>
                  </a:lnTo>
                  <a:lnTo>
                    <a:pt x="1068" y="84"/>
                  </a:lnTo>
                  <a:lnTo>
                    <a:pt x="1080" y="84"/>
                  </a:lnTo>
                  <a:lnTo>
                    <a:pt x="1086" y="78"/>
                  </a:lnTo>
                  <a:lnTo>
                    <a:pt x="1086" y="72"/>
                  </a:lnTo>
                  <a:lnTo>
                    <a:pt x="1080" y="78"/>
                  </a:lnTo>
                  <a:lnTo>
                    <a:pt x="1080" y="72"/>
                  </a:lnTo>
                  <a:lnTo>
                    <a:pt x="1080" y="66"/>
                  </a:lnTo>
                  <a:lnTo>
                    <a:pt x="1074" y="66"/>
                  </a:lnTo>
                  <a:lnTo>
                    <a:pt x="1080" y="66"/>
                  </a:lnTo>
                  <a:lnTo>
                    <a:pt x="1080" y="60"/>
                  </a:lnTo>
                  <a:lnTo>
                    <a:pt x="1086" y="60"/>
                  </a:lnTo>
                  <a:lnTo>
                    <a:pt x="1086" y="54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2" y="42"/>
                  </a:lnTo>
                  <a:lnTo>
                    <a:pt x="1098" y="42"/>
                  </a:lnTo>
                  <a:lnTo>
                    <a:pt x="1104" y="36"/>
                  </a:lnTo>
                  <a:lnTo>
                    <a:pt x="1110" y="36"/>
                  </a:lnTo>
                  <a:lnTo>
                    <a:pt x="1110" y="30"/>
                  </a:lnTo>
                  <a:lnTo>
                    <a:pt x="1110" y="24"/>
                  </a:lnTo>
                  <a:lnTo>
                    <a:pt x="1116" y="24"/>
                  </a:lnTo>
                  <a:lnTo>
                    <a:pt x="1116" y="18"/>
                  </a:lnTo>
                  <a:lnTo>
                    <a:pt x="1122" y="18"/>
                  </a:lnTo>
                  <a:lnTo>
                    <a:pt x="1128" y="18"/>
                  </a:lnTo>
                  <a:lnTo>
                    <a:pt x="1134" y="12"/>
                  </a:lnTo>
                  <a:lnTo>
                    <a:pt x="1134" y="6"/>
                  </a:lnTo>
                  <a:lnTo>
                    <a:pt x="1140" y="6"/>
                  </a:lnTo>
                  <a:lnTo>
                    <a:pt x="1146" y="0"/>
                  </a:lnTo>
                  <a:lnTo>
                    <a:pt x="1152" y="0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70" y="0"/>
                  </a:lnTo>
                  <a:lnTo>
                    <a:pt x="1176" y="6"/>
                  </a:lnTo>
                  <a:lnTo>
                    <a:pt x="1182" y="6"/>
                  </a:lnTo>
                  <a:lnTo>
                    <a:pt x="1194" y="6"/>
                  </a:lnTo>
                  <a:lnTo>
                    <a:pt x="1200" y="6"/>
                  </a:lnTo>
                  <a:lnTo>
                    <a:pt x="1212" y="0"/>
                  </a:lnTo>
                  <a:lnTo>
                    <a:pt x="1212" y="6"/>
                  </a:lnTo>
                  <a:lnTo>
                    <a:pt x="1218" y="6"/>
                  </a:lnTo>
                  <a:lnTo>
                    <a:pt x="1266" y="6"/>
                  </a:lnTo>
                  <a:lnTo>
                    <a:pt x="1272" y="0"/>
                  </a:lnTo>
                  <a:lnTo>
                    <a:pt x="1278" y="6"/>
                  </a:lnTo>
                  <a:lnTo>
                    <a:pt x="1290" y="6"/>
                  </a:lnTo>
                  <a:lnTo>
                    <a:pt x="1296" y="6"/>
                  </a:lnTo>
                  <a:lnTo>
                    <a:pt x="1308" y="6"/>
                  </a:lnTo>
                  <a:lnTo>
                    <a:pt x="1314" y="6"/>
                  </a:lnTo>
                  <a:lnTo>
                    <a:pt x="1320" y="6"/>
                  </a:lnTo>
                  <a:lnTo>
                    <a:pt x="1326" y="12"/>
                  </a:lnTo>
                  <a:lnTo>
                    <a:pt x="1338" y="30"/>
                  </a:lnTo>
                  <a:lnTo>
                    <a:pt x="1344" y="36"/>
                  </a:lnTo>
                  <a:lnTo>
                    <a:pt x="1356" y="48"/>
                  </a:lnTo>
                  <a:lnTo>
                    <a:pt x="1362" y="60"/>
                  </a:lnTo>
                  <a:lnTo>
                    <a:pt x="1368" y="66"/>
                  </a:lnTo>
                  <a:lnTo>
                    <a:pt x="1374" y="72"/>
                  </a:lnTo>
                  <a:lnTo>
                    <a:pt x="1374" y="78"/>
                  </a:lnTo>
                  <a:lnTo>
                    <a:pt x="1398" y="108"/>
                  </a:lnTo>
                  <a:lnTo>
                    <a:pt x="1398" y="114"/>
                  </a:lnTo>
                  <a:lnTo>
                    <a:pt x="1404" y="114"/>
                  </a:lnTo>
                  <a:lnTo>
                    <a:pt x="1404" y="120"/>
                  </a:lnTo>
                  <a:lnTo>
                    <a:pt x="1410" y="132"/>
                  </a:lnTo>
                  <a:lnTo>
                    <a:pt x="1416" y="132"/>
                  </a:lnTo>
                  <a:lnTo>
                    <a:pt x="1416" y="138"/>
                  </a:lnTo>
                  <a:lnTo>
                    <a:pt x="1422" y="144"/>
                  </a:lnTo>
                  <a:lnTo>
                    <a:pt x="1428" y="150"/>
                  </a:lnTo>
                  <a:lnTo>
                    <a:pt x="1428" y="156"/>
                  </a:lnTo>
                  <a:lnTo>
                    <a:pt x="1458" y="192"/>
                  </a:lnTo>
                  <a:lnTo>
                    <a:pt x="1458" y="198"/>
                  </a:lnTo>
                  <a:lnTo>
                    <a:pt x="1464" y="204"/>
                  </a:lnTo>
                  <a:lnTo>
                    <a:pt x="1470" y="210"/>
                  </a:lnTo>
                  <a:lnTo>
                    <a:pt x="1476" y="216"/>
                  </a:lnTo>
                  <a:lnTo>
                    <a:pt x="1482" y="228"/>
                  </a:lnTo>
                  <a:lnTo>
                    <a:pt x="1488" y="234"/>
                  </a:lnTo>
                  <a:lnTo>
                    <a:pt x="1512" y="270"/>
                  </a:lnTo>
                  <a:lnTo>
                    <a:pt x="1512" y="276"/>
                  </a:lnTo>
                  <a:lnTo>
                    <a:pt x="1530" y="300"/>
                  </a:lnTo>
                  <a:lnTo>
                    <a:pt x="1536" y="306"/>
                  </a:lnTo>
                  <a:lnTo>
                    <a:pt x="1542" y="312"/>
                  </a:lnTo>
                  <a:lnTo>
                    <a:pt x="1542" y="318"/>
                  </a:lnTo>
                  <a:lnTo>
                    <a:pt x="1560" y="336"/>
                  </a:lnTo>
                  <a:lnTo>
                    <a:pt x="1566" y="348"/>
                  </a:lnTo>
                  <a:lnTo>
                    <a:pt x="1572" y="354"/>
                  </a:lnTo>
                  <a:lnTo>
                    <a:pt x="1578" y="360"/>
                  </a:lnTo>
                  <a:lnTo>
                    <a:pt x="1584" y="378"/>
                  </a:lnTo>
                  <a:lnTo>
                    <a:pt x="1590" y="378"/>
                  </a:lnTo>
                  <a:lnTo>
                    <a:pt x="1596" y="390"/>
                  </a:lnTo>
                  <a:lnTo>
                    <a:pt x="1602" y="396"/>
                  </a:lnTo>
                  <a:lnTo>
                    <a:pt x="1608" y="408"/>
                  </a:lnTo>
                  <a:lnTo>
                    <a:pt x="1614" y="408"/>
                  </a:lnTo>
                  <a:lnTo>
                    <a:pt x="1614" y="432"/>
                  </a:lnTo>
                  <a:lnTo>
                    <a:pt x="1620" y="438"/>
                  </a:lnTo>
                  <a:lnTo>
                    <a:pt x="1620" y="450"/>
                  </a:lnTo>
                  <a:lnTo>
                    <a:pt x="1620" y="462"/>
                  </a:lnTo>
                  <a:lnTo>
                    <a:pt x="1626" y="474"/>
                  </a:lnTo>
                  <a:lnTo>
                    <a:pt x="1626" y="480"/>
                  </a:lnTo>
                  <a:lnTo>
                    <a:pt x="1626" y="486"/>
                  </a:lnTo>
                  <a:lnTo>
                    <a:pt x="1632" y="522"/>
                  </a:lnTo>
                  <a:lnTo>
                    <a:pt x="1632" y="528"/>
                  </a:lnTo>
                  <a:lnTo>
                    <a:pt x="1632" y="534"/>
                  </a:lnTo>
                  <a:lnTo>
                    <a:pt x="1638" y="540"/>
                  </a:lnTo>
                  <a:lnTo>
                    <a:pt x="1638" y="558"/>
                  </a:lnTo>
                  <a:lnTo>
                    <a:pt x="1638" y="570"/>
                  </a:lnTo>
                  <a:lnTo>
                    <a:pt x="1644" y="582"/>
                  </a:lnTo>
                  <a:lnTo>
                    <a:pt x="1650" y="618"/>
                  </a:lnTo>
                  <a:lnTo>
                    <a:pt x="1650" y="624"/>
                  </a:lnTo>
                  <a:lnTo>
                    <a:pt x="1650" y="636"/>
                  </a:lnTo>
                  <a:lnTo>
                    <a:pt x="1656" y="642"/>
                  </a:lnTo>
                  <a:lnTo>
                    <a:pt x="1656" y="648"/>
                  </a:lnTo>
                  <a:lnTo>
                    <a:pt x="1656" y="654"/>
                  </a:lnTo>
                  <a:lnTo>
                    <a:pt x="1656" y="660"/>
                  </a:lnTo>
                  <a:lnTo>
                    <a:pt x="1662" y="696"/>
                  </a:lnTo>
                  <a:lnTo>
                    <a:pt x="1668" y="708"/>
                  </a:lnTo>
                  <a:lnTo>
                    <a:pt x="1668" y="714"/>
                  </a:lnTo>
                  <a:lnTo>
                    <a:pt x="1668" y="732"/>
                  </a:lnTo>
                  <a:lnTo>
                    <a:pt x="1668" y="744"/>
                  </a:lnTo>
                  <a:lnTo>
                    <a:pt x="1674" y="756"/>
                  </a:lnTo>
                  <a:lnTo>
                    <a:pt x="1680" y="762"/>
                  </a:lnTo>
                  <a:lnTo>
                    <a:pt x="1680" y="768"/>
                  </a:lnTo>
                  <a:lnTo>
                    <a:pt x="1680" y="774"/>
                  </a:lnTo>
                  <a:lnTo>
                    <a:pt x="1680" y="780"/>
                  </a:lnTo>
                  <a:lnTo>
                    <a:pt x="1674" y="786"/>
                  </a:lnTo>
                  <a:lnTo>
                    <a:pt x="1668" y="792"/>
                  </a:lnTo>
                  <a:lnTo>
                    <a:pt x="1668" y="798"/>
                  </a:lnTo>
                  <a:lnTo>
                    <a:pt x="1668" y="804"/>
                  </a:lnTo>
                  <a:lnTo>
                    <a:pt x="1674" y="804"/>
                  </a:lnTo>
                  <a:lnTo>
                    <a:pt x="1668" y="810"/>
                  </a:lnTo>
                  <a:lnTo>
                    <a:pt x="1674" y="810"/>
                  </a:lnTo>
                  <a:lnTo>
                    <a:pt x="1680" y="810"/>
                  </a:lnTo>
                  <a:lnTo>
                    <a:pt x="1680" y="816"/>
                  </a:lnTo>
                  <a:lnTo>
                    <a:pt x="1680" y="822"/>
                  </a:lnTo>
                  <a:lnTo>
                    <a:pt x="1674" y="822"/>
                  </a:lnTo>
                  <a:lnTo>
                    <a:pt x="1674" y="828"/>
                  </a:lnTo>
                  <a:lnTo>
                    <a:pt x="1668" y="828"/>
                  </a:lnTo>
                  <a:lnTo>
                    <a:pt x="1674" y="834"/>
                  </a:lnTo>
                  <a:lnTo>
                    <a:pt x="1668" y="834"/>
                  </a:lnTo>
                  <a:lnTo>
                    <a:pt x="1668" y="840"/>
                  </a:lnTo>
                  <a:lnTo>
                    <a:pt x="1674" y="840"/>
                  </a:lnTo>
                  <a:lnTo>
                    <a:pt x="1686" y="852"/>
                  </a:lnTo>
                  <a:lnTo>
                    <a:pt x="1692" y="858"/>
                  </a:lnTo>
                  <a:lnTo>
                    <a:pt x="1698" y="858"/>
                  </a:lnTo>
                  <a:lnTo>
                    <a:pt x="1698" y="864"/>
                  </a:lnTo>
                  <a:lnTo>
                    <a:pt x="1698" y="870"/>
                  </a:lnTo>
                  <a:lnTo>
                    <a:pt x="1704" y="864"/>
                  </a:lnTo>
                  <a:lnTo>
                    <a:pt x="1716" y="864"/>
                  </a:lnTo>
                  <a:lnTo>
                    <a:pt x="1722" y="864"/>
                  </a:lnTo>
                  <a:lnTo>
                    <a:pt x="1728" y="864"/>
                  </a:lnTo>
                  <a:lnTo>
                    <a:pt x="1734" y="864"/>
                  </a:lnTo>
                  <a:lnTo>
                    <a:pt x="1740" y="864"/>
                  </a:lnTo>
                  <a:lnTo>
                    <a:pt x="1746" y="876"/>
                  </a:lnTo>
                  <a:lnTo>
                    <a:pt x="1746" y="870"/>
                  </a:lnTo>
                  <a:lnTo>
                    <a:pt x="1740" y="864"/>
                  </a:lnTo>
                  <a:lnTo>
                    <a:pt x="1746" y="864"/>
                  </a:lnTo>
                  <a:lnTo>
                    <a:pt x="1752" y="870"/>
                  </a:lnTo>
                  <a:lnTo>
                    <a:pt x="1758" y="864"/>
                  </a:lnTo>
                  <a:lnTo>
                    <a:pt x="1764" y="864"/>
                  </a:lnTo>
                  <a:lnTo>
                    <a:pt x="1770" y="858"/>
                  </a:lnTo>
                  <a:lnTo>
                    <a:pt x="1782" y="864"/>
                  </a:lnTo>
                  <a:lnTo>
                    <a:pt x="1782" y="870"/>
                  </a:lnTo>
                  <a:lnTo>
                    <a:pt x="1788" y="864"/>
                  </a:lnTo>
                  <a:lnTo>
                    <a:pt x="1794" y="864"/>
                  </a:lnTo>
                  <a:lnTo>
                    <a:pt x="1800" y="870"/>
                  </a:lnTo>
                  <a:lnTo>
                    <a:pt x="1818" y="864"/>
                  </a:lnTo>
                  <a:lnTo>
                    <a:pt x="1824" y="870"/>
                  </a:lnTo>
                  <a:lnTo>
                    <a:pt x="1830" y="864"/>
                  </a:lnTo>
                  <a:lnTo>
                    <a:pt x="1836" y="864"/>
                  </a:lnTo>
                  <a:lnTo>
                    <a:pt x="1842" y="870"/>
                  </a:lnTo>
                  <a:lnTo>
                    <a:pt x="1842" y="876"/>
                  </a:lnTo>
                  <a:lnTo>
                    <a:pt x="1848" y="876"/>
                  </a:lnTo>
                  <a:lnTo>
                    <a:pt x="1848" y="870"/>
                  </a:lnTo>
                  <a:lnTo>
                    <a:pt x="1854" y="870"/>
                  </a:lnTo>
                  <a:lnTo>
                    <a:pt x="1860" y="870"/>
                  </a:lnTo>
                  <a:lnTo>
                    <a:pt x="1860" y="876"/>
                  </a:lnTo>
                  <a:lnTo>
                    <a:pt x="1866" y="876"/>
                  </a:lnTo>
                  <a:lnTo>
                    <a:pt x="1866" y="882"/>
                  </a:lnTo>
                  <a:lnTo>
                    <a:pt x="1872" y="882"/>
                  </a:lnTo>
                  <a:lnTo>
                    <a:pt x="1878" y="888"/>
                  </a:lnTo>
                  <a:lnTo>
                    <a:pt x="1890" y="888"/>
                  </a:lnTo>
                  <a:lnTo>
                    <a:pt x="1890" y="894"/>
                  </a:lnTo>
                  <a:lnTo>
                    <a:pt x="1890" y="900"/>
                  </a:lnTo>
                  <a:lnTo>
                    <a:pt x="1884" y="900"/>
                  </a:lnTo>
                  <a:lnTo>
                    <a:pt x="1884" y="906"/>
                  </a:lnTo>
                  <a:lnTo>
                    <a:pt x="1884" y="912"/>
                  </a:lnTo>
                  <a:lnTo>
                    <a:pt x="1890" y="912"/>
                  </a:lnTo>
                  <a:lnTo>
                    <a:pt x="1896" y="912"/>
                  </a:lnTo>
                  <a:lnTo>
                    <a:pt x="1902" y="912"/>
                  </a:lnTo>
                  <a:lnTo>
                    <a:pt x="1908" y="918"/>
                  </a:lnTo>
                  <a:lnTo>
                    <a:pt x="1908" y="924"/>
                  </a:lnTo>
                  <a:lnTo>
                    <a:pt x="1908" y="930"/>
                  </a:lnTo>
                  <a:lnTo>
                    <a:pt x="1908" y="936"/>
                  </a:lnTo>
                  <a:lnTo>
                    <a:pt x="1914" y="936"/>
                  </a:lnTo>
                  <a:lnTo>
                    <a:pt x="1914" y="942"/>
                  </a:lnTo>
                  <a:lnTo>
                    <a:pt x="1908" y="948"/>
                  </a:lnTo>
                  <a:lnTo>
                    <a:pt x="1914" y="948"/>
                  </a:lnTo>
                  <a:lnTo>
                    <a:pt x="1920" y="954"/>
                  </a:lnTo>
                  <a:lnTo>
                    <a:pt x="1926" y="954"/>
                  </a:lnTo>
                  <a:lnTo>
                    <a:pt x="1932" y="954"/>
                  </a:lnTo>
                  <a:lnTo>
                    <a:pt x="1938" y="954"/>
                  </a:lnTo>
                  <a:lnTo>
                    <a:pt x="1938" y="960"/>
                  </a:lnTo>
                  <a:lnTo>
                    <a:pt x="1944" y="966"/>
                  </a:lnTo>
                  <a:lnTo>
                    <a:pt x="1944" y="972"/>
                  </a:lnTo>
                  <a:lnTo>
                    <a:pt x="1944" y="978"/>
                  </a:lnTo>
                  <a:lnTo>
                    <a:pt x="1950" y="978"/>
                  </a:lnTo>
                  <a:lnTo>
                    <a:pt x="1950" y="984"/>
                  </a:lnTo>
                  <a:lnTo>
                    <a:pt x="1956" y="984"/>
                  </a:lnTo>
                  <a:lnTo>
                    <a:pt x="1962" y="984"/>
                  </a:lnTo>
                  <a:lnTo>
                    <a:pt x="1962" y="978"/>
                  </a:lnTo>
                  <a:lnTo>
                    <a:pt x="1968" y="978"/>
                  </a:lnTo>
                  <a:lnTo>
                    <a:pt x="1974" y="978"/>
                  </a:lnTo>
                  <a:lnTo>
                    <a:pt x="1980" y="972"/>
                  </a:lnTo>
                  <a:lnTo>
                    <a:pt x="1980" y="978"/>
                  </a:lnTo>
                  <a:lnTo>
                    <a:pt x="1980" y="984"/>
                  </a:lnTo>
                  <a:lnTo>
                    <a:pt x="1986" y="984"/>
                  </a:lnTo>
                  <a:lnTo>
                    <a:pt x="1992" y="990"/>
                  </a:lnTo>
                  <a:lnTo>
                    <a:pt x="1992" y="996"/>
                  </a:lnTo>
                  <a:lnTo>
                    <a:pt x="1992" y="1002"/>
                  </a:lnTo>
                  <a:lnTo>
                    <a:pt x="1974" y="1008"/>
                  </a:lnTo>
                  <a:lnTo>
                    <a:pt x="1974" y="1014"/>
                  </a:lnTo>
                  <a:lnTo>
                    <a:pt x="1974" y="1020"/>
                  </a:lnTo>
                  <a:lnTo>
                    <a:pt x="1974" y="1026"/>
                  </a:lnTo>
                  <a:lnTo>
                    <a:pt x="1968" y="1038"/>
                  </a:lnTo>
                  <a:lnTo>
                    <a:pt x="1968" y="1044"/>
                  </a:lnTo>
                  <a:lnTo>
                    <a:pt x="1974" y="1056"/>
                  </a:lnTo>
                  <a:lnTo>
                    <a:pt x="1968" y="1062"/>
                  </a:lnTo>
                  <a:lnTo>
                    <a:pt x="1962" y="1062"/>
                  </a:lnTo>
                  <a:lnTo>
                    <a:pt x="1956" y="1068"/>
                  </a:lnTo>
                  <a:lnTo>
                    <a:pt x="1956" y="1074"/>
                  </a:lnTo>
                  <a:lnTo>
                    <a:pt x="1956" y="1080"/>
                  </a:lnTo>
                  <a:lnTo>
                    <a:pt x="1956" y="1086"/>
                  </a:lnTo>
                  <a:lnTo>
                    <a:pt x="1956" y="1092"/>
                  </a:lnTo>
                  <a:lnTo>
                    <a:pt x="1962" y="1092"/>
                  </a:lnTo>
                  <a:lnTo>
                    <a:pt x="1962" y="1104"/>
                  </a:lnTo>
                  <a:lnTo>
                    <a:pt x="1968" y="1110"/>
                  </a:lnTo>
                  <a:lnTo>
                    <a:pt x="1968" y="1116"/>
                  </a:lnTo>
                  <a:lnTo>
                    <a:pt x="1974" y="1116"/>
                  </a:lnTo>
                  <a:lnTo>
                    <a:pt x="1974" y="1122"/>
                  </a:lnTo>
                  <a:lnTo>
                    <a:pt x="1980" y="1122"/>
                  </a:lnTo>
                  <a:lnTo>
                    <a:pt x="1974" y="1128"/>
                  </a:lnTo>
                  <a:lnTo>
                    <a:pt x="1968" y="1134"/>
                  </a:lnTo>
                  <a:lnTo>
                    <a:pt x="1962" y="1140"/>
                  </a:lnTo>
                  <a:lnTo>
                    <a:pt x="1962" y="1146"/>
                  </a:lnTo>
                  <a:lnTo>
                    <a:pt x="1968" y="1152"/>
                  </a:lnTo>
                  <a:lnTo>
                    <a:pt x="1968" y="1158"/>
                  </a:lnTo>
                  <a:lnTo>
                    <a:pt x="1962" y="1158"/>
                  </a:lnTo>
                  <a:lnTo>
                    <a:pt x="1962" y="1164"/>
                  </a:lnTo>
                  <a:lnTo>
                    <a:pt x="1956" y="1164"/>
                  </a:lnTo>
                  <a:lnTo>
                    <a:pt x="1956" y="1170"/>
                  </a:lnTo>
                  <a:lnTo>
                    <a:pt x="1944" y="1182"/>
                  </a:lnTo>
                  <a:lnTo>
                    <a:pt x="1944" y="1188"/>
                  </a:lnTo>
                  <a:lnTo>
                    <a:pt x="1950" y="1188"/>
                  </a:lnTo>
                  <a:lnTo>
                    <a:pt x="1944" y="1200"/>
                  </a:lnTo>
                  <a:lnTo>
                    <a:pt x="1944" y="1206"/>
                  </a:lnTo>
                  <a:lnTo>
                    <a:pt x="1944" y="1212"/>
                  </a:lnTo>
                  <a:lnTo>
                    <a:pt x="1944" y="1218"/>
                  </a:lnTo>
                  <a:lnTo>
                    <a:pt x="1944" y="1230"/>
                  </a:lnTo>
                  <a:lnTo>
                    <a:pt x="1944" y="1236"/>
                  </a:lnTo>
                  <a:lnTo>
                    <a:pt x="1944" y="1242"/>
                  </a:lnTo>
                  <a:lnTo>
                    <a:pt x="1938" y="1248"/>
                  </a:lnTo>
                  <a:lnTo>
                    <a:pt x="1938" y="1254"/>
                  </a:lnTo>
                  <a:lnTo>
                    <a:pt x="1932" y="1254"/>
                  </a:lnTo>
                  <a:lnTo>
                    <a:pt x="1926" y="1260"/>
                  </a:lnTo>
                  <a:lnTo>
                    <a:pt x="1920" y="1266"/>
                  </a:lnTo>
                  <a:lnTo>
                    <a:pt x="1914" y="1272"/>
                  </a:lnTo>
                  <a:lnTo>
                    <a:pt x="1908" y="1272"/>
                  </a:lnTo>
                  <a:lnTo>
                    <a:pt x="1908" y="1278"/>
                  </a:lnTo>
                  <a:lnTo>
                    <a:pt x="1914" y="1278"/>
                  </a:lnTo>
                  <a:lnTo>
                    <a:pt x="1914" y="1290"/>
                  </a:lnTo>
                  <a:lnTo>
                    <a:pt x="1920" y="1296"/>
                  </a:lnTo>
                  <a:lnTo>
                    <a:pt x="1938" y="1302"/>
                  </a:lnTo>
                  <a:lnTo>
                    <a:pt x="1944" y="1308"/>
                  </a:lnTo>
                  <a:lnTo>
                    <a:pt x="1950" y="1314"/>
                  </a:lnTo>
                  <a:lnTo>
                    <a:pt x="1956" y="1314"/>
                  </a:lnTo>
                  <a:lnTo>
                    <a:pt x="1962" y="1320"/>
                  </a:lnTo>
                  <a:lnTo>
                    <a:pt x="1962" y="1326"/>
                  </a:lnTo>
                  <a:lnTo>
                    <a:pt x="1968" y="1326"/>
                  </a:lnTo>
                  <a:lnTo>
                    <a:pt x="1968" y="1332"/>
                  </a:lnTo>
                  <a:lnTo>
                    <a:pt x="1968" y="1344"/>
                  </a:lnTo>
                  <a:lnTo>
                    <a:pt x="1968" y="1350"/>
                  </a:lnTo>
                  <a:lnTo>
                    <a:pt x="1968" y="1368"/>
                  </a:lnTo>
                  <a:lnTo>
                    <a:pt x="1962" y="1380"/>
                  </a:lnTo>
                  <a:lnTo>
                    <a:pt x="1968" y="1392"/>
                  </a:lnTo>
                  <a:lnTo>
                    <a:pt x="1962" y="1398"/>
                  </a:lnTo>
                  <a:lnTo>
                    <a:pt x="1956" y="1404"/>
                  </a:lnTo>
                  <a:lnTo>
                    <a:pt x="1950" y="1410"/>
                  </a:lnTo>
                  <a:lnTo>
                    <a:pt x="1944" y="1410"/>
                  </a:lnTo>
                  <a:lnTo>
                    <a:pt x="1932" y="1416"/>
                  </a:lnTo>
                  <a:lnTo>
                    <a:pt x="1926" y="1416"/>
                  </a:lnTo>
                  <a:lnTo>
                    <a:pt x="1896" y="1428"/>
                  </a:lnTo>
                  <a:lnTo>
                    <a:pt x="1884" y="1434"/>
                  </a:lnTo>
                  <a:lnTo>
                    <a:pt x="1878" y="1434"/>
                  </a:lnTo>
                  <a:lnTo>
                    <a:pt x="1866" y="1434"/>
                  </a:lnTo>
                  <a:lnTo>
                    <a:pt x="1854" y="1440"/>
                  </a:lnTo>
                  <a:lnTo>
                    <a:pt x="1848" y="1440"/>
                  </a:lnTo>
                  <a:lnTo>
                    <a:pt x="1842" y="1446"/>
                  </a:lnTo>
                  <a:lnTo>
                    <a:pt x="1842" y="1458"/>
                  </a:lnTo>
                  <a:lnTo>
                    <a:pt x="1836" y="1470"/>
                  </a:lnTo>
                  <a:lnTo>
                    <a:pt x="1830" y="1476"/>
                  </a:lnTo>
                  <a:lnTo>
                    <a:pt x="1824" y="1476"/>
                  </a:lnTo>
                  <a:lnTo>
                    <a:pt x="1806" y="1482"/>
                  </a:lnTo>
                  <a:lnTo>
                    <a:pt x="1800" y="1488"/>
                  </a:lnTo>
                  <a:lnTo>
                    <a:pt x="1794" y="1488"/>
                  </a:lnTo>
                  <a:lnTo>
                    <a:pt x="1788" y="1488"/>
                  </a:lnTo>
                  <a:lnTo>
                    <a:pt x="1776" y="1494"/>
                  </a:lnTo>
                  <a:lnTo>
                    <a:pt x="1764" y="1494"/>
                  </a:lnTo>
                  <a:lnTo>
                    <a:pt x="1758" y="1500"/>
                  </a:lnTo>
                  <a:lnTo>
                    <a:pt x="1746" y="1506"/>
                  </a:lnTo>
                  <a:lnTo>
                    <a:pt x="1728" y="1518"/>
                  </a:lnTo>
                  <a:lnTo>
                    <a:pt x="1716" y="1524"/>
                  </a:lnTo>
                  <a:lnTo>
                    <a:pt x="1710" y="1530"/>
                  </a:lnTo>
                  <a:lnTo>
                    <a:pt x="1704" y="1536"/>
                  </a:lnTo>
                  <a:lnTo>
                    <a:pt x="1698" y="1542"/>
                  </a:lnTo>
                  <a:lnTo>
                    <a:pt x="1692" y="1554"/>
                  </a:lnTo>
                  <a:lnTo>
                    <a:pt x="1686" y="1560"/>
                  </a:lnTo>
                  <a:lnTo>
                    <a:pt x="1680" y="1560"/>
                  </a:lnTo>
                  <a:lnTo>
                    <a:pt x="1674" y="1560"/>
                  </a:lnTo>
                  <a:lnTo>
                    <a:pt x="1656" y="1572"/>
                  </a:lnTo>
                  <a:lnTo>
                    <a:pt x="1650" y="1572"/>
                  </a:lnTo>
                  <a:lnTo>
                    <a:pt x="1644" y="1572"/>
                  </a:lnTo>
                  <a:lnTo>
                    <a:pt x="1638" y="1578"/>
                  </a:lnTo>
                  <a:lnTo>
                    <a:pt x="1632" y="1578"/>
                  </a:lnTo>
                  <a:lnTo>
                    <a:pt x="1626" y="1578"/>
                  </a:lnTo>
                  <a:lnTo>
                    <a:pt x="1620" y="1572"/>
                  </a:lnTo>
                  <a:lnTo>
                    <a:pt x="1614" y="1572"/>
                  </a:lnTo>
                  <a:lnTo>
                    <a:pt x="1608" y="1566"/>
                  </a:lnTo>
                  <a:lnTo>
                    <a:pt x="1602" y="1560"/>
                  </a:lnTo>
                  <a:lnTo>
                    <a:pt x="1596" y="1554"/>
                  </a:lnTo>
                  <a:lnTo>
                    <a:pt x="1590" y="1548"/>
                  </a:lnTo>
                  <a:lnTo>
                    <a:pt x="1578" y="1548"/>
                  </a:lnTo>
                  <a:lnTo>
                    <a:pt x="1572" y="1548"/>
                  </a:lnTo>
                  <a:lnTo>
                    <a:pt x="1566" y="1548"/>
                  </a:lnTo>
                  <a:lnTo>
                    <a:pt x="1554" y="1536"/>
                  </a:lnTo>
                  <a:lnTo>
                    <a:pt x="1548" y="1536"/>
                  </a:lnTo>
                  <a:lnTo>
                    <a:pt x="1542" y="1542"/>
                  </a:lnTo>
                  <a:lnTo>
                    <a:pt x="1536" y="1548"/>
                  </a:lnTo>
                  <a:lnTo>
                    <a:pt x="1536" y="1566"/>
                  </a:lnTo>
                  <a:lnTo>
                    <a:pt x="1530" y="1572"/>
                  </a:lnTo>
                  <a:lnTo>
                    <a:pt x="1524" y="1578"/>
                  </a:lnTo>
                  <a:lnTo>
                    <a:pt x="1518" y="1584"/>
                  </a:lnTo>
                  <a:lnTo>
                    <a:pt x="1512" y="1596"/>
                  </a:lnTo>
                  <a:lnTo>
                    <a:pt x="1506" y="1602"/>
                  </a:lnTo>
                  <a:lnTo>
                    <a:pt x="1506" y="1608"/>
                  </a:lnTo>
                  <a:lnTo>
                    <a:pt x="1506" y="1614"/>
                  </a:lnTo>
                  <a:lnTo>
                    <a:pt x="1500" y="1614"/>
                  </a:lnTo>
                  <a:lnTo>
                    <a:pt x="1500" y="1620"/>
                  </a:lnTo>
                  <a:lnTo>
                    <a:pt x="1500" y="1626"/>
                  </a:lnTo>
                  <a:lnTo>
                    <a:pt x="1494" y="1632"/>
                  </a:lnTo>
                  <a:lnTo>
                    <a:pt x="1488" y="1638"/>
                  </a:lnTo>
                  <a:lnTo>
                    <a:pt x="1482" y="1638"/>
                  </a:lnTo>
                  <a:lnTo>
                    <a:pt x="1482" y="1644"/>
                  </a:lnTo>
                  <a:lnTo>
                    <a:pt x="1482" y="1650"/>
                  </a:lnTo>
                  <a:lnTo>
                    <a:pt x="1482" y="1656"/>
                  </a:lnTo>
                  <a:lnTo>
                    <a:pt x="1476" y="1662"/>
                  </a:lnTo>
                  <a:lnTo>
                    <a:pt x="1470" y="1668"/>
                  </a:lnTo>
                  <a:lnTo>
                    <a:pt x="1464" y="1674"/>
                  </a:lnTo>
                  <a:lnTo>
                    <a:pt x="1464" y="1680"/>
                  </a:lnTo>
                  <a:lnTo>
                    <a:pt x="1458" y="1680"/>
                  </a:lnTo>
                  <a:lnTo>
                    <a:pt x="1452" y="1686"/>
                  </a:lnTo>
                  <a:lnTo>
                    <a:pt x="1446" y="1686"/>
                  </a:lnTo>
                  <a:lnTo>
                    <a:pt x="1440" y="1698"/>
                  </a:lnTo>
                  <a:lnTo>
                    <a:pt x="1440" y="1704"/>
                  </a:lnTo>
                  <a:lnTo>
                    <a:pt x="1434" y="1710"/>
                  </a:lnTo>
                  <a:lnTo>
                    <a:pt x="1434" y="1716"/>
                  </a:lnTo>
                  <a:lnTo>
                    <a:pt x="1428" y="1716"/>
                  </a:lnTo>
                  <a:lnTo>
                    <a:pt x="1428" y="1722"/>
                  </a:lnTo>
                  <a:lnTo>
                    <a:pt x="1428" y="1728"/>
                  </a:lnTo>
                  <a:lnTo>
                    <a:pt x="1422" y="1728"/>
                  </a:lnTo>
                  <a:lnTo>
                    <a:pt x="1422" y="1734"/>
                  </a:lnTo>
                  <a:lnTo>
                    <a:pt x="1416" y="1734"/>
                  </a:lnTo>
                  <a:lnTo>
                    <a:pt x="1410" y="1734"/>
                  </a:lnTo>
                  <a:lnTo>
                    <a:pt x="1392" y="1746"/>
                  </a:lnTo>
                  <a:lnTo>
                    <a:pt x="1386" y="1746"/>
                  </a:lnTo>
                  <a:lnTo>
                    <a:pt x="1368" y="1752"/>
                  </a:lnTo>
                  <a:lnTo>
                    <a:pt x="1362" y="1758"/>
                  </a:lnTo>
                  <a:lnTo>
                    <a:pt x="1362" y="1770"/>
                  </a:lnTo>
                  <a:lnTo>
                    <a:pt x="1356" y="178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</p:grpSp>
      <p:graphicFrame>
        <p:nvGraphicFramePr>
          <p:cNvPr id="357" name="Group 76">
            <a:extLst>
              <a:ext uri="{FF2B5EF4-FFF2-40B4-BE49-F238E27FC236}">
                <a16:creationId xmlns:a16="http://schemas.microsoft.com/office/drawing/2014/main" id="{57830D68-CF73-4A3E-9D36-141B03AADB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0157616"/>
              </p:ext>
            </p:extLst>
          </p:nvPr>
        </p:nvGraphicFramePr>
        <p:xfrm>
          <a:off x="541338" y="3402013"/>
          <a:ext cx="3735387" cy="1827306"/>
        </p:xfrm>
        <a:graphic>
          <a:graphicData uri="http://schemas.openxmlformats.org/drawingml/2006/table">
            <a:tbl>
              <a:tblPr/>
              <a:tblGrid>
                <a:gridCol w="1316931">
                  <a:extLst>
                    <a:ext uri="{9D8B030D-6E8A-4147-A177-3AD203B41FA5}">
                      <a16:colId xmlns:a16="http://schemas.microsoft.com/office/drawing/2014/main" val="2027704273"/>
                    </a:ext>
                  </a:extLst>
                </a:gridCol>
                <a:gridCol w="603796">
                  <a:extLst>
                    <a:ext uri="{9D8B030D-6E8A-4147-A177-3AD203B41FA5}">
                      <a16:colId xmlns:a16="http://schemas.microsoft.com/office/drawing/2014/main" val="3432768286"/>
                    </a:ext>
                  </a:extLst>
                </a:gridCol>
                <a:gridCol w="744015">
                  <a:extLst>
                    <a:ext uri="{9D8B030D-6E8A-4147-A177-3AD203B41FA5}">
                      <a16:colId xmlns:a16="http://schemas.microsoft.com/office/drawing/2014/main" val="3730294207"/>
                    </a:ext>
                  </a:extLst>
                </a:gridCol>
                <a:gridCol w="1070645">
                  <a:extLst>
                    <a:ext uri="{9D8B030D-6E8A-4147-A177-3AD203B41FA5}">
                      <a16:colId xmlns:a16="http://schemas.microsoft.com/office/drawing/2014/main" val="2258321117"/>
                    </a:ext>
                  </a:extLst>
                </a:gridCol>
              </a:tblGrid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apital</a:t>
                      </a:r>
                      <a:endParaRPr kumimoji="0" lang="en-SG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292929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SG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Enugu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703009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nd Are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7,534 km</a:t>
                      </a:r>
                      <a:r>
                        <a:rPr kumimoji="0" lang="en-US" altLang="en-US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29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603614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Population (2017E)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4,391,700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23 of 37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505851"/>
                  </a:ext>
                </a:extLst>
              </a:tr>
              <a:tr h="203024">
                <a:tc row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Dem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0-14: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,563,128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7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130093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5-64: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,631,457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60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387564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65+: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   197,115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[3%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38801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bour force 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,365,690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13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797882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limate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ropical savann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3942226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op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Swampy and hill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32899"/>
                  </a:ext>
                </a:extLst>
              </a:tr>
            </a:tbl>
          </a:graphicData>
        </a:graphic>
      </p:graphicFrame>
      <p:pic>
        <p:nvPicPr>
          <p:cNvPr id="23609" name="Picture 13">
            <a:extLst>
              <a:ext uri="{FF2B5EF4-FFF2-40B4-BE49-F238E27FC236}">
                <a16:creationId xmlns:a16="http://schemas.microsoft.com/office/drawing/2014/main" id="{952964D5-F0ED-4CAE-B71C-DB4A723FA5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0" y="3006725"/>
            <a:ext cx="1116013" cy="155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9" name="TextBox 378">
            <a:extLst>
              <a:ext uri="{FF2B5EF4-FFF2-40B4-BE49-F238E27FC236}">
                <a16:creationId xmlns:a16="http://schemas.microsoft.com/office/drawing/2014/main" id="{1B3FD4BF-4685-4C74-821F-10048D6246BF}"/>
              </a:ext>
            </a:extLst>
          </p:cNvPr>
          <p:cNvSpPr txBox="1"/>
          <p:nvPr/>
        </p:nvSpPr>
        <p:spPr>
          <a:xfrm>
            <a:off x="6124575" y="957263"/>
            <a:ext cx="3475038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mpetitive Advantages</a:t>
            </a: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455FE7A1-ADE5-4F7B-A489-00196671A53E}"/>
              </a:ext>
            </a:extLst>
          </p:cNvPr>
          <p:cNvSpPr/>
          <p:nvPr/>
        </p:nvSpPr>
        <p:spPr>
          <a:xfrm>
            <a:off x="4267248" y="1187511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22bn/$72.2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EBB25788-D073-4A78-9D6C-DF3836CFFFBB}"/>
              </a:ext>
            </a:extLst>
          </p:cNvPr>
          <p:cNvSpPr txBox="1"/>
          <p:nvPr/>
        </p:nvSpPr>
        <p:spPr>
          <a:xfrm>
            <a:off x="4267200" y="955675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GR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6F07DF39-553B-44F0-8864-1F897C2BD79A}"/>
              </a:ext>
            </a:extLst>
          </p:cNvPr>
          <p:cNvSpPr/>
          <p:nvPr/>
        </p:nvSpPr>
        <p:spPr>
          <a:xfrm>
            <a:off x="4267252" y="1809750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103.5bn/$339.3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2508695A-2D2C-45A3-80FE-9C2CB18200C2}"/>
              </a:ext>
            </a:extLst>
          </p:cNvPr>
          <p:cNvSpPr txBox="1"/>
          <p:nvPr/>
        </p:nvSpPr>
        <p:spPr>
          <a:xfrm>
            <a:off x="4267200" y="1576388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Budget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8)</a:t>
            </a: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86A33ABE-3AE3-40A7-A6A6-1B757A6A9B0F}"/>
              </a:ext>
            </a:extLst>
          </p:cNvPr>
          <p:cNvSpPr/>
          <p:nvPr/>
        </p:nvSpPr>
        <p:spPr>
          <a:xfrm>
            <a:off x="4256076" y="2667155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1.2trn /$3.8bn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1E919764-A18B-4532-A533-A84A31D7FEFE}"/>
              </a:ext>
            </a:extLst>
          </p:cNvPr>
          <p:cNvSpPr txBox="1"/>
          <p:nvPr/>
        </p:nvSpPr>
        <p:spPr>
          <a:xfrm>
            <a:off x="4256088" y="2185988"/>
            <a:ext cx="1811337" cy="50641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Household </a:t>
            </a:r>
          </a:p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nsumption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96" name="Plaque 95">
            <a:extLst>
              <a:ext uri="{FF2B5EF4-FFF2-40B4-BE49-F238E27FC236}">
                <a16:creationId xmlns:a16="http://schemas.microsoft.com/office/drawing/2014/main" id="{E3BE1182-17B4-4194-8641-F1EA2CCBB757}"/>
              </a:ext>
            </a:extLst>
          </p:cNvPr>
          <p:cNvSpPr/>
          <p:nvPr/>
        </p:nvSpPr>
        <p:spPr>
          <a:xfrm>
            <a:off x="5638800" y="2805162"/>
            <a:ext cx="428625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3 of 36</a:t>
            </a:r>
          </a:p>
        </p:txBody>
      </p:sp>
      <p:sp>
        <p:nvSpPr>
          <p:cNvPr id="99" name="Plaque 98">
            <a:extLst>
              <a:ext uri="{FF2B5EF4-FFF2-40B4-BE49-F238E27FC236}">
                <a16:creationId xmlns:a16="http://schemas.microsoft.com/office/drawing/2014/main" id="{8620E393-1C52-4CE1-9888-20922FA6DFEA}"/>
              </a:ext>
            </a:extLst>
          </p:cNvPr>
          <p:cNvSpPr/>
          <p:nvPr/>
        </p:nvSpPr>
        <p:spPr>
          <a:xfrm>
            <a:off x="5638800" y="1960612"/>
            <a:ext cx="428625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34 of 36</a:t>
            </a:r>
          </a:p>
        </p:txBody>
      </p:sp>
      <p:sp>
        <p:nvSpPr>
          <p:cNvPr id="100" name="Plaque 99">
            <a:extLst>
              <a:ext uri="{FF2B5EF4-FFF2-40B4-BE49-F238E27FC236}">
                <a16:creationId xmlns:a16="http://schemas.microsoft.com/office/drawing/2014/main" id="{3BFA6D28-9A42-4459-8BF1-090CE1B45216}"/>
              </a:ext>
            </a:extLst>
          </p:cNvPr>
          <p:cNvSpPr/>
          <p:nvPr/>
        </p:nvSpPr>
        <p:spPr>
          <a:xfrm>
            <a:off x="5638800" y="1333500"/>
            <a:ext cx="430213" cy="1539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latin typeface="Calibri" panose="020F0502020204030204" pitchFamily="34" charset="0"/>
                <a:cs typeface="Calibri" panose="020F0502020204030204" pitchFamily="34" charset="0"/>
              </a:rPr>
              <a:t>9 of 36</a:t>
            </a:r>
          </a:p>
        </p:txBody>
      </p:sp>
      <p:sp>
        <p:nvSpPr>
          <p:cNvPr id="101" name="Pentagon 19">
            <a:extLst>
              <a:ext uri="{FF2B5EF4-FFF2-40B4-BE49-F238E27FC236}">
                <a16:creationId xmlns:a16="http://schemas.microsoft.com/office/drawing/2014/main" id="{CCD74FA4-19D0-4356-90C9-B3B49BCC3F54}"/>
              </a:ext>
            </a:extLst>
          </p:cNvPr>
          <p:cNvSpPr>
            <a:spLocks/>
          </p:cNvSpPr>
          <p:nvPr/>
        </p:nvSpPr>
        <p:spPr bwMode="auto">
          <a:xfrm>
            <a:off x="688340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3 of 37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12EE735-1E43-4799-A46A-5D0787F375CE}"/>
              </a:ext>
            </a:extLst>
          </p:cNvPr>
          <p:cNvSpPr/>
          <p:nvPr/>
        </p:nvSpPr>
        <p:spPr>
          <a:xfrm>
            <a:off x="6880225" y="5726113"/>
            <a:ext cx="642938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Starting a Business</a:t>
            </a:r>
          </a:p>
        </p:txBody>
      </p:sp>
      <p:pic>
        <p:nvPicPr>
          <p:cNvPr id="23622" name="Picture 3">
            <a:extLst>
              <a:ext uri="{FF2B5EF4-FFF2-40B4-BE49-F238E27FC236}">
                <a16:creationId xmlns:a16="http://schemas.microsoft.com/office/drawing/2014/main" id="{53FAD0C6-8FFE-437B-B7E4-F2A938D3BE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350" y="5249863"/>
            <a:ext cx="41910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23" name="Freeform 15">
            <a:extLst>
              <a:ext uri="{FF2B5EF4-FFF2-40B4-BE49-F238E27FC236}">
                <a16:creationId xmlns:a16="http://schemas.microsoft.com/office/drawing/2014/main" id="{183A3C8B-011E-4D99-9165-3FF03A2D3207}"/>
              </a:ext>
            </a:extLst>
          </p:cNvPr>
          <p:cNvSpPr>
            <a:spLocks noEditPoints="1"/>
          </p:cNvSpPr>
          <p:nvPr/>
        </p:nvSpPr>
        <p:spPr bwMode="auto">
          <a:xfrm>
            <a:off x="9093200" y="5257800"/>
            <a:ext cx="276225" cy="347663"/>
          </a:xfrm>
          <a:custGeom>
            <a:avLst/>
            <a:gdLst>
              <a:gd name="T0" fmla="*/ 2147483646 w 3556"/>
              <a:gd name="T1" fmla="*/ 2147483646 h 3950"/>
              <a:gd name="T2" fmla="*/ 2147483646 w 3556"/>
              <a:gd name="T3" fmla="*/ 2147483646 h 3950"/>
              <a:gd name="T4" fmla="*/ 2147483646 w 3556"/>
              <a:gd name="T5" fmla="*/ 2147483646 h 3950"/>
              <a:gd name="T6" fmla="*/ 2147483646 w 3556"/>
              <a:gd name="T7" fmla="*/ 2147483646 h 3950"/>
              <a:gd name="T8" fmla="*/ 2147483646 w 3556"/>
              <a:gd name="T9" fmla="*/ 2147483646 h 3950"/>
              <a:gd name="T10" fmla="*/ 2147483646 w 3556"/>
              <a:gd name="T11" fmla="*/ 2147483646 h 3950"/>
              <a:gd name="T12" fmla="*/ 2147483646 w 3556"/>
              <a:gd name="T13" fmla="*/ 2147483646 h 3950"/>
              <a:gd name="T14" fmla="*/ 2147483646 w 3556"/>
              <a:gd name="T15" fmla="*/ 2147483646 h 3950"/>
              <a:gd name="T16" fmla="*/ 2147483646 w 3556"/>
              <a:gd name="T17" fmla="*/ 2147483646 h 3950"/>
              <a:gd name="T18" fmla="*/ 2147483646 w 3556"/>
              <a:gd name="T19" fmla="*/ 2147483646 h 3950"/>
              <a:gd name="T20" fmla="*/ 2147483646 w 3556"/>
              <a:gd name="T21" fmla="*/ 2147483646 h 3950"/>
              <a:gd name="T22" fmla="*/ 0 w 3556"/>
              <a:gd name="T23" fmla="*/ 2147483646 h 3950"/>
              <a:gd name="T24" fmla="*/ 2147483646 w 3556"/>
              <a:gd name="T25" fmla="*/ 2147483646 h 3950"/>
              <a:gd name="T26" fmla="*/ 2147483646 w 3556"/>
              <a:gd name="T27" fmla="*/ 2147483646 h 3950"/>
              <a:gd name="T28" fmla="*/ 2147483646 w 3556"/>
              <a:gd name="T29" fmla="*/ 2147483646 h 3950"/>
              <a:gd name="T30" fmla="*/ 2147483646 w 3556"/>
              <a:gd name="T31" fmla="*/ 2147483646 h 3950"/>
              <a:gd name="T32" fmla="*/ 2147483646 w 3556"/>
              <a:gd name="T33" fmla="*/ 2147483646 h 3950"/>
              <a:gd name="T34" fmla="*/ 2147483646 w 3556"/>
              <a:gd name="T35" fmla="*/ 2147483646 h 3950"/>
              <a:gd name="T36" fmla="*/ 2147483646 w 3556"/>
              <a:gd name="T37" fmla="*/ 2147483646 h 3950"/>
              <a:gd name="T38" fmla="*/ 2147483646 w 3556"/>
              <a:gd name="T39" fmla="*/ 2147483646 h 3950"/>
              <a:gd name="T40" fmla="*/ 2147483646 w 3556"/>
              <a:gd name="T41" fmla="*/ 2147483646 h 3950"/>
              <a:gd name="T42" fmla="*/ 2147483646 w 3556"/>
              <a:gd name="T43" fmla="*/ 2147483646 h 3950"/>
              <a:gd name="T44" fmla="*/ 2147483646 w 3556"/>
              <a:gd name="T45" fmla="*/ 2147483646 h 3950"/>
              <a:gd name="T46" fmla="*/ 2147483646 w 3556"/>
              <a:gd name="T47" fmla="*/ 2147483646 h 3950"/>
              <a:gd name="T48" fmla="*/ 2147483646 w 3556"/>
              <a:gd name="T49" fmla="*/ 2147483646 h 3950"/>
              <a:gd name="T50" fmla="*/ 2147483646 w 3556"/>
              <a:gd name="T51" fmla="*/ 2147483646 h 3950"/>
              <a:gd name="T52" fmla="*/ 2147483646 w 3556"/>
              <a:gd name="T53" fmla="*/ 2147483646 h 3950"/>
              <a:gd name="T54" fmla="*/ 2147483646 w 3556"/>
              <a:gd name="T55" fmla="*/ 2147483646 h 3950"/>
              <a:gd name="T56" fmla="*/ 2147483646 w 3556"/>
              <a:gd name="T57" fmla="*/ 2147483646 h 3950"/>
              <a:gd name="T58" fmla="*/ 2147483646 w 3556"/>
              <a:gd name="T59" fmla="*/ 2147483646 h 3950"/>
              <a:gd name="T60" fmla="*/ 2147483646 w 3556"/>
              <a:gd name="T61" fmla="*/ 2147483646 h 3950"/>
              <a:gd name="T62" fmla="*/ 2147483646 w 3556"/>
              <a:gd name="T63" fmla="*/ 2147483646 h 3950"/>
              <a:gd name="T64" fmla="*/ 2147483646 w 3556"/>
              <a:gd name="T65" fmla="*/ 2147483646 h 3950"/>
              <a:gd name="T66" fmla="*/ 2147483646 w 3556"/>
              <a:gd name="T67" fmla="*/ 2147483646 h 3950"/>
              <a:gd name="T68" fmla="*/ 2147483646 w 3556"/>
              <a:gd name="T69" fmla="*/ 2147483646 h 3950"/>
              <a:gd name="T70" fmla="*/ 2147483646 w 3556"/>
              <a:gd name="T71" fmla="*/ 2147483646 h 3950"/>
              <a:gd name="T72" fmla="*/ 2147483646 w 3556"/>
              <a:gd name="T73" fmla="*/ 2147483646 h 3950"/>
              <a:gd name="T74" fmla="*/ 2147483646 w 3556"/>
              <a:gd name="T75" fmla="*/ 2147483646 h 3950"/>
              <a:gd name="T76" fmla="*/ 2147483646 w 3556"/>
              <a:gd name="T77" fmla="*/ 2147483646 h 3950"/>
              <a:gd name="T78" fmla="*/ 2147483646 w 3556"/>
              <a:gd name="T79" fmla="*/ 2147483646 h 3950"/>
              <a:gd name="T80" fmla="*/ 2147483646 w 3556"/>
              <a:gd name="T81" fmla="*/ 0 h 3950"/>
              <a:gd name="T82" fmla="*/ 2147483646 w 3556"/>
              <a:gd name="T83" fmla="*/ 2147483646 h 3950"/>
              <a:gd name="T84" fmla="*/ 2147483646 w 3556"/>
              <a:gd name="T85" fmla="*/ 2147483646 h 3950"/>
              <a:gd name="T86" fmla="*/ 2147483646 w 3556"/>
              <a:gd name="T87" fmla="*/ 2147483646 h 395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556"/>
              <a:gd name="T133" fmla="*/ 0 h 3950"/>
              <a:gd name="T134" fmla="*/ 3556 w 3556"/>
              <a:gd name="T135" fmla="*/ 3950 h 395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556" h="3950">
                <a:moveTo>
                  <a:pt x="909" y="3917"/>
                </a:moveTo>
                <a:cubicBezTo>
                  <a:pt x="824" y="3832"/>
                  <a:pt x="894" y="3725"/>
                  <a:pt x="1036" y="3725"/>
                </a:cubicBezTo>
                <a:cubicBezTo>
                  <a:pt x="1119" y="3725"/>
                  <a:pt x="1129" y="3717"/>
                  <a:pt x="1129" y="3645"/>
                </a:cubicBezTo>
                <a:cubicBezTo>
                  <a:pt x="1129" y="3472"/>
                  <a:pt x="1135" y="3471"/>
                  <a:pt x="2192" y="3471"/>
                </a:cubicBezTo>
                <a:cubicBezTo>
                  <a:pt x="3086" y="3471"/>
                  <a:pt x="3155" y="3475"/>
                  <a:pt x="3199" y="3523"/>
                </a:cubicBezTo>
                <a:cubicBezTo>
                  <a:pt x="3225" y="3551"/>
                  <a:pt x="3246" y="3608"/>
                  <a:pt x="3246" y="3648"/>
                </a:cubicBezTo>
                <a:cubicBezTo>
                  <a:pt x="3246" y="3712"/>
                  <a:pt x="3259" y="3723"/>
                  <a:pt x="3349" y="3730"/>
                </a:cubicBezTo>
                <a:cubicBezTo>
                  <a:pt x="3470" y="3741"/>
                  <a:pt x="3530" y="3811"/>
                  <a:pt x="3482" y="3887"/>
                </a:cubicBezTo>
                <a:cubicBezTo>
                  <a:pt x="3453" y="3933"/>
                  <a:pt x="3356" y="3937"/>
                  <a:pt x="2197" y="3944"/>
                </a:cubicBezTo>
                <a:cubicBezTo>
                  <a:pt x="1245" y="3950"/>
                  <a:pt x="935" y="3943"/>
                  <a:pt x="909" y="3917"/>
                </a:cubicBezTo>
                <a:close/>
                <a:moveTo>
                  <a:pt x="87" y="3370"/>
                </a:moveTo>
                <a:cubicBezTo>
                  <a:pt x="24" y="3317"/>
                  <a:pt x="0" y="3272"/>
                  <a:pt x="0" y="3209"/>
                </a:cubicBezTo>
                <a:cubicBezTo>
                  <a:pt x="0" y="3132"/>
                  <a:pt x="86" y="3035"/>
                  <a:pt x="705" y="2414"/>
                </a:cubicBezTo>
                <a:lnTo>
                  <a:pt x="1411" y="1706"/>
                </a:lnTo>
                <a:lnTo>
                  <a:pt x="1235" y="1530"/>
                </a:lnTo>
                <a:lnTo>
                  <a:pt x="1059" y="1355"/>
                </a:lnTo>
                <a:lnTo>
                  <a:pt x="1510" y="903"/>
                </a:lnTo>
                <a:lnTo>
                  <a:pt x="1960" y="452"/>
                </a:lnTo>
                <a:lnTo>
                  <a:pt x="2135" y="624"/>
                </a:lnTo>
                <a:cubicBezTo>
                  <a:pt x="2305" y="793"/>
                  <a:pt x="2310" y="796"/>
                  <a:pt x="2374" y="751"/>
                </a:cubicBezTo>
                <a:cubicBezTo>
                  <a:pt x="2469" y="685"/>
                  <a:pt x="2547" y="695"/>
                  <a:pt x="2633" y="785"/>
                </a:cubicBezTo>
                <a:cubicBezTo>
                  <a:pt x="2720" y="875"/>
                  <a:pt x="2731" y="974"/>
                  <a:pt x="2662" y="1050"/>
                </a:cubicBezTo>
                <a:cubicBezTo>
                  <a:pt x="2616" y="1100"/>
                  <a:pt x="2624" y="1112"/>
                  <a:pt x="2823" y="1313"/>
                </a:cubicBezTo>
                <a:lnTo>
                  <a:pt x="3033" y="1524"/>
                </a:lnTo>
                <a:lnTo>
                  <a:pt x="2582" y="1975"/>
                </a:lnTo>
                <a:lnTo>
                  <a:pt x="2132" y="2427"/>
                </a:lnTo>
                <a:lnTo>
                  <a:pt x="1933" y="2229"/>
                </a:lnTo>
                <a:cubicBezTo>
                  <a:pt x="1824" y="2121"/>
                  <a:pt x="1722" y="2032"/>
                  <a:pt x="1707" y="2032"/>
                </a:cubicBezTo>
                <a:cubicBezTo>
                  <a:pt x="1693" y="2032"/>
                  <a:pt x="1362" y="2349"/>
                  <a:pt x="973" y="2737"/>
                </a:cubicBezTo>
                <a:cubicBezTo>
                  <a:pt x="584" y="3125"/>
                  <a:pt x="245" y="3443"/>
                  <a:pt x="220" y="3443"/>
                </a:cubicBezTo>
                <a:cubicBezTo>
                  <a:pt x="194" y="3443"/>
                  <a:pt x="135" y="3410"/>
                  <a:pt x="87" y="3370"/>
                </a:cubicBezTo>
                <a:close/>
                <a:moveTo>
                  <a:pt x="2258" y="2887"/>
                </a:moveTo>
                <a:cubicBezTo>
                  <a:pt x="2196" y="2865"/>
                  <a:pt x="2145" y="2792"/>
                  <a:pt x="2145" y="2725"/>
                </a:cubicBezTo>
                <a:cubicBezTo>
                  <a:pt x="2145" y="2686"/>
                  <a:pt x="2337" y="2474"/>
                  <a:pt x="2703" y="2109"/>
                </a:cubicBezTo>
                <a:cubicBezTo>
                  <a:pt x="3289" y="1523"/>
                  <a:pt x="3346" y="1485"/>
                  <a:pt x="3453" y="1604"/>
                </a:cubicBezTo>
                <a:cubicBezTo>
                  <a:pt x="3556" y="1717"/>
                  <a:pt x="3522" y="1766"/>
                  <a:pt x="2956" y="2331"/>
                </a:cubicBezTo>
                <a:cubicBezTo>
                  <a:pt x="2657" y="2630"/>
                  <a:pt x="2388" y="2880"/>
                  <a:pt x="2357" y="2888"/>
                </a:cubicBezTo>
                <a:cubicBezTo>
                  <a:pt x="2326" y="2895"/>
                  <a:pt x="2281" y="2895"/>
                  <a:pt x="2258" y="2887"/>
                </a:cubicBezTo>
                <a:close/>
                <a:moveTo>
                  <a:pt x="637" y="1282"/>
                </a:moveTo>
                <a:cubicBezTo>
                  <a:pt x="528" y="1172"/>
                  <a:pt x="568" y="1113"/>
                  <a:pt x="1137" y="544"/>
                </a:cubicBezTo>
                <a:cubicBezTo>
                  <a:pt x="1607" y="74"/>
                  <a:pt x="1693" y="0"/>
                  <a:pt x="1767" y="0"/>
                </a:cubicBezTo>
                <a:cubicBezTo>
                  <a:pt x="1862" y="0"/>
                  <a:pt x="1947" y="73"/>
                  <a:pt x="1947" y="156"/>
                </a:cubicBezTo>
                <a:cubicBezTo>
                  <a:pt x="1947" y="186"/>
                  <a:pt x="1715" y="442"/>
                  <a:pt x="1391" y="767"/>
                </a:cubicBezTo>
                <a:cubicBezTo>
                  <a:pt x="808" y="1353"/>
                  <a:pt x="749" y="1393"/>
                  <a:pt x="637" y="12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4" name="Group 118">
            <a:extLst>
              <a:ext uri="{FF2B5EF4-FFF2-40B4-BE49-F238E27FC236}">
                <a16:creationId xmlns:a16="http://schemas.microsoft.com/office/drawing/2014/main" id="{FB3D6A90-C4FD-433A-A1C1-A4B3864804A5}"/>
              </a:ext>
            </a:extLst>
          </p:cNvPr>
          <p:cNvGrpSpPr/>
          <p:nvPr/>
        </p:nvGrpSpPr>
        <p:grpSpPr>
          <a:xfrm>
            <a:off x="8409631" y="5248358"/>
            <a:ext cx="346498" cy="347472"/>
            <a:chOff x="1468138" y="5997240"/>
            <a:chExt cx="283642" cy="307072"/>
          </a:xfrm>
          <a:solidFill>
            <a:schemeClr val="bg1"/>
          </a:solidFill>
        </p:grpSpPr>
        <p:sp>
          <p:nvSpPr>
            <p:cNvPr id="120" name="Freeform 16">
              <a:extLst>
                <a:ext uri="{FF2B5EF4-FFF2-40B4-BE49-F238E27FC236}">
                  <a16:creationId xmlns:a16="http://schemas.microsoft.com/office/drawing/2014/main" id="{D6134FC8-4249-4088-8AE8-003C8AAC7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6136" y="6255221"/>
              <a:ext cx="26428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1 w 349"/>
                <a:gd name="T25" fmla="*/ 226 h 350"/>
                <a:gd name="T26" fmla="*/ 225 w 349"/>
                <a:gd name="T27" fmla="*/ 213 h 350"/>
                <a:gd name="T28" fmla="*/ 234 w 349"/>
                <a:gd name="T29" fmla="*/ 194 h 350"/>
                <a:gd name="T30" fmla="*/ 237 w 349"/>
                <a:gd name="T31" fmla="*/ 175 h 350"/>
                <a:gd name="T32" fmla="*/ 235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5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4 w 349"/>
                <a:gd name="T47" fmla="*/ 3 h 350"/>
                <a:gd name="T48" fmla="*/ 234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8 w 349"/>
                <a:gd name="T55" fmla="*/ 63 h 350"/>
                <a:gd name="T56" fmla="*/ 325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5 w 349"/>
                <a:gd name="T65" fmla="*/ 210 h 350"/>
                <a:gd name="T66" fmla="*/ 335 w 349"/>
                <a:gd name="T67" fmla="*/ 243 h 350"/>
                <a:gd name="T68" fmla="*/ 319 w 349"/>
                <a:gd name="T69" fmla="*/ 273 h 350"/>
                <a:gd name="T70" fmla="*/ 297 w 349"/>
                <a:gd name="T71" fmla="*/ 299 h 350"/>
                <a:gd name="T72" fmla="*/ 272 w 349"/>
                <a:gd name="T73" fmla="*/ 319 h 350"/>
                <a:gd name="T74" fmla="*/ 242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39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29 w 349"/>
                <a:gd name="T89" fmla="*/ 273 h 350"/>
                <a:gd name="T90" fmla="*/ 14 w 349"/>
                <a:gd name="T91" fmla="*/ 243 h 350"/>
                <a:gd name="T92" fmla="*/ 3 w 349"/>
                <a:gd name="T93" fmla="*/ 210 h 350"/>
                <a:gd name="T94" fmla="*/ 0 w 349"/>
                <a:gd name="T95" fmla="*/ 175 h 350"/>
                <a:gd name="T96" fmla="*/ 3 w 349"/>
                <a:gd name="T97" fmla="*/ 140 h 350"/>
                <a:gd name="T98" fmla="*/ 14 w 349"/>
                <a:gd name="T99" fmla="*/ 107 h 350"/>
                <a:gd name="T100" fmla="*/ 29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39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1" y="226"/>
                  </a:lnTo>
                  <a:lnTo>
                    <a:pt x="225" y="213"/>
                  </a:lnTo>
                  <a:lnTo>
                    <a:pt x="234" y="194"/>
                  </a:lnTo>
                  <a:lnTo>
                    <a:pt x="237" y="175"/>
                  </a:lnTo>
                  <a:lnTo>
                    <a:pt x="235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5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4" y="3"/>
                  </a:lnTo>
                  <a:lnTo>
                    <a:pt x="234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8" y="63"/>
                  </a:lnTo>
                  <a:lnTo>
                    <a:pt x="325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5" y="210"/>
                  </a:lnTo>
                  <a:lnTo>
                    <a:pt x="335" y="243"/>
                  </a:lnTo>
                  <a:lnTo>
                    <a:pt x="319" y="273"/>
                  </a:lnTo>
                  <a:lnTo>
                    <a:pt x="297" y="299"/>
                  </a:lnTo>
                  <a:lnTo>
                    <a:pt x="272" y="319"/>
                  </a:lnTo>
                  <a:lnTo>
                    <a:pt x="242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39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29" y="273"/>
                  </a:lnTo>
                  <a:lnTo>
                    <a:pt x="14" y="243"/>
                  </a:lnTo>
                  <a:lnTo>
                    <a:pt x="3" y="210"/>
                  </a:lnTo>
                  <a:lnTo>
                    <a:pt x="0" y="175"/>
                  </a:lnTo>
                  <a:lnTo>
                    <a:pt x="3" y="140"/>
                  </a:lnTo>
                  <a:lnTo>
                    <a:pt x="14" y="107"/>
                  </a:lnTo>
                  <a:lnTo>
                    <a:pt x="29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39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1" name="Freeform 17">
              <a:extLst>
                <a:ext uri="{FF2B5EF4-FFF2-40B4-BE49-F238E27FC236}">
                  <a16:creationId xmlns:a16="http://schemas.microsoft.com/office/drawing/2014/main" id="{67A5F0B0-C078-4A85-9E32-409FF0B3D5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2133" y="6255221"/>
              <a:ext cx="26656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2 w 349"/>
                <a:gd name="T25" fmla="*/ 226 h 350"/>
                <a:gd name="T26" fmla="*/ 226 w 349"/>
                <a:gd name="T27" fmla="*/ 213 h 350"/>
                <a:gd name="T28" fmla="*/ 235 w 349"/>
                <a:gd name="T29" fmla="*/ 194 h 350"/>
                <a:gd name="T30" fmla="*/ 237 w 349"/>
                <a:gd name="T31" fmla="*/ 175 h 350"/>
                <a:gd name="T32" fmla="*/ 236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7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5 w 349"/>
                <a:gd name="T47" fmla="*/ 3 h 350"/>
                <a:gd name="T48" fmla="*/ 235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9 w 349"/>
                <a:gd name="T55" fmla="*/ 63 h 350"/>
                <a:gd name="T56" fmla="*/ 326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6 w 349"/>
                <a:gd name="T65" fmla="*/ 210 h 350"/>
                <a:gd name="T66" fmla="*/ 336 w 349"/>
                <a:gd name="T67" fmla="*/ 243 h 350"/>
                <a:gd name="T68" fmla="*/ 319 w 349"/>
                <a:gd name="T69" fmla="*/ 273 h 350"/>
                <a:gd name="T70" fmla="*/ 298 w 349"/>
                <a:gd name="T71" fmla="*/ 299 h 350"/>
                <a:gd name="T72" fmla="*/ 272 w 349"/>
                <a:gd name="T73" fmla="*/ 319 h 350"/>
                <a:gd name="T74" fmla="*/ 243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40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30 w 349"/>
                <a:gd name="T89" fmla="*/ 273 h 350"/>
                <a:gd name="T90" fmla="*/ 14 w 349"/>
                <a:gd name="T91" fmla="*/ 243 h 350"/>
                <a:gd name="T92" fmla="*/ 4 w 349"/>
                <a:gd name="T93" fmla="*/ 210 h 350"/>
                <a:gd name="T94" fmla="*/ 0 w 349"/>
                <a:gd name="T95" fmla="*/ 175 h 350"/>
                <a:gd name="T96" fmla="*/ 4 w 349"/>
                <a:gd name="T97" fmla="*/ 140 h 350"/>
                <a:gd name="T98" fmla="*/ 14 w 349"/>
                <a:gd name="T99" fmla="*/ 107 h 350"/>
                <a:gd name="T100" fmla="*/ 30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40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7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7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5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19" y="273"/>
                  </a:lnTo>
                  <a:lnTo>
                    <a:pt x="298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2" name="Freeform 18">
              <a:extLst>
                <a:ext uri="{FF2B5EF4-FFF2-40B4-BE49-F238E27FC236}">
                  <a16:creationId xmlns:a16="http://schemas.microsoft.com/office/drawing/2014/main" id="{BF1784DA-3E40-44FD-998D-DB1DD379C0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8357" y="6255221"/>
              <a:ext cx="26428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7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1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7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8 w 350"/>
                <a:gd name="T31" fmla="*/ 175 h 350"/>
                <a:gd name="T32" fmla="*/ 236 w 350"/>
                <a:gd name="T33" fmla="*/ 158 h 350"/>
                <a:gd name="T34" fmla="*/ 229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7 w 350"/>
                <a:gd name="T53" fmla="*/ 41 h 350"/>
                <a:gd name="T54" fmla="*/ 309 w 350"/>
                <a:gd name="T55" fmla="*/ 63 h 350"/>
                <a:gd name="T56" fmla="*/ 326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2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7 w 350"/>
                <a:gd name="T85" fmla="*/ 319 h 350"/>
                <a:gd name="T86" fmla="*/ 51 w 350"/>
                <a:gd name="T87" fmla="*/ 299 h 350"/>
                <a:gd name="T88" fmla="*/ 30 w 350"/>
                <a:gd name="T89" fmla="*/ 273 h 350"/>
                <a:gd name="T90" fmla="*/ 14 w 350"/>
                <a:gd name="T91" fmla="*/ 243 h 350"/>
                <a:gd name="T92" fmla="*/ 4 w 350"/>
                <a:gd name="T93" fmla="*/ 210 h 350"/>
                <a:gd name="T94" fmla="*/ 0 w 350"/>
                <a:gd name="T95" fmla="*/ 175 h 350"/>
                <a:gd name="T96" fmla="*/ 4 w 350"/>
                <a:gd name="T97" fmla="*/ 140 h 350"/>
                <a:gd name="T98" fmla="*/ 14 w 350"/>
                <a:gd name="T99" fmla="*/ 107 h 350"/>
                <a:gd name="T100" fmla="*/ 30 w 350"/>
                <a:gd name="T101" fmla="*/ 78 h 350"/>
                <a:gd name="T102" fmla="*/ 51 w 350"/>
                <a:gd name="T103" fmla="*/ 52 h 350"/>
                <a:gd name="T104" fmla="*/ 77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8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3" name="Freeform 19">
              <a:extLst>
                <a:ext uri="{FF2B5EF4-FFF2-40B4-BE49-F238E27FC236}">
                  <a16:creationId xmlns:a16="http://schemas.microsoft.com/office/drawing/2014/main" id="{FF26547B-24B3-4108-8095-A2794E966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4353" y="6255221"/>
              <a:ext cx="26656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8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3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8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9 w 350"/>
                <a:gd name="T31" fmla="*/ 175 h 350"/>
                <a:gd name="T32" fmla="*/ 236 w 350"/>
                <a:gd name="T33" fmla="*/ 158 h 350"/>
                <a:gd name="T34" fmla="*/ 231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8 w 350"/>
                <a:gd name="T53" fmla="*/ 41 h 350"/>
                <a:gd name="T54" fmla="*/ 309 w 350"/>
                <a:gd name="T55" fmla="*/ 63 h 350"/>
                <a:gd name="T56" fmla="*/ 327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3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8 w 350"/>
                <a:gd name="T85" fmla="*/ 319 h 350"/>
                <a:gd name="T86" fmla="*/ 53 w 350"/>
                <a:gd name="T87" fmla="*/ 299 h 350"/>
                <a:gd name="T88" fmla="*/ 31 w 350"/>
                <a:gd name="T89" fmla="*/ 273 h 350"/>
                <a:gd name="T90" fmla="*/ 15 w 350"/>
                <a:gd name="T91" fmla="*/ 243 h 350"/>
                <a:gd name="T92" fmla="*/ 5 w 350"/>
                <a:gd name="T93" fmla="*/ 210 h 350"/>
                <a:gd name="T94" fmla="*/ 0 w 350"/>
                <a:gd name="T95" fmla="*/ 175 h 350"/>
                <a:gd name="T96" fmla="*/ 5 w 350"/>
                <a:gd name="T97" fmla="*/ 140 h 350"/>
                <a:gd name="T98" fmla="*/ 15 w 350"/>
                <a:gd name="T99" fmla="*/ 107 h 350"/>
                <a:gd name="T100" fmla="*/ 31 w 350"/>
                <a:gd name="T101" fmla="*/ 78 h 350"/>
                <a:gd name="T102" fmla="*/ 53 w 350"/>
                <a:gd name="T103" fmla="*/ 52 h 350"/>
                <a:gd name="T104" fmla="*/ 78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8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3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8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9" y="175"/>
                  </a:lnTo>
                  <a:lnTo>
                    <a:pt x="236" y="158"/>
                  </a:lnTo>
                  <a:lnTo>
                    <a:pt x="231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8" y="41"/>
                  </a:lnTo>
                  <a:lnTo>
                    <a:pt x="309" y="63"/>
                  </a:lnTo>
                  <a:lnTo>
                    <a:pt x="327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3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8" y="319"/>
                  </a:lnTo>
                  <a:lnTo>
                    <a:pt x="53" y="299"/>
                  </a:lnTo>
                  <a:lnTo>
                    <a:pt x="31" y="273"/>
                  </a:lnTo>
                  <a:lnTo>
                    <a:pt x="15" y="243"/>
                  </a:lnTo>
                  <a:lnTo>
                    <a:pt x="5" y="210"/>
                  </a:lnTo>
                  <a:lnTo>
                    <a:pt x="0" y="175"/>
                  </a:lnTo>
                  <a:lnTo>
                    <a:pt x="5" y="140"/>
                  </a:lnTo>
                  <a:lnTo>
                    <a:pt x="15" y="107"/>
                  </a:lnTo>
                  <a:lnTo>
                    <a:pt x="31" y="78"/>
                  </a:lnTo>
                  <a:lnTo>
                    <a:pt x="53" y="52"/>
                  </a:lnTo>
                  <a:lnTo>
                    <a:pt x="78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4" name="Freeform 20">
              <a:extLst>
                <a:ext uri="{FF2B5EF4-FFF2-40B4-BE49-F238E27FC236}">
                  <a16:creationId xmlns:a16="http://schemas.microsoft.com/office/drawing/2014/main" id="{6F553FA1-4728-401A-8C20-F18E165CA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80832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2 h 111"/>
                <a:gd name="T10" fmla="*/ 168 w 171"/>
                <a:gd name="T11" fmla="*/ 37 h 111"/>
                <a:gd name="T12" fmla="*/ 171 w 171"/>
                <a:gd name="T13" fmla="*/ 55 h 111"/>
                <a:gd name="T14" fmla="*/ 168 w 171"/>
                <a:gd name="T15" fmla="*/ 72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8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8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2 h 111"/>
                <a:gd name="T34" fmla="*/ 0 w 171"/>
                <a:gd name="T35" fmla="*/ 55 h 111"/>
                <a:gd name="T36" fmla="*/ 2 w 171"/>
                <a:gd name="T37" fmla="*/ 37 h 111"/>
                <a:gd name="T38" fmla="*/ 10 w 171"/>
                <a:gd name="T39" fmla="*/ 22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2"/>
                  </a:lnTo>
                  <a:lnTo>
                    <a:pt x="168" y="37"/>
                  </a:lnTo>
                  <a:lnTo>
                    <a:pt x="171" y="55"/>
                  </a:lnTo>
                  <a:lnTo>
                    <a:pt x="168" y="72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8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8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2"/>
                  </a:lnTo>
                  <a:lnTo>
                    <a:pt x="0" y="55"/>
                  </a:lnTo>
                  <a:lnTo>
                    <a:pt x="2" y="37"/>
                  </a:lnTo>
                  <a:lnTo>
                    <a:pt x="10" y="22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5" name="Freeform 21">
              <a:extLst>
                <a:ext uri="{FF2B5EF4-FFF2-40B4-BE49-F238E27FC236}">
                  <a16:creationId xmlns:a16="http://schemas.microsoft.com/office/drawing/2014/main" id="{2A783787-5E9B-43C9-9BF4-073950C97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95860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3 h 111"/>
                <a:gd name="T10" fmla="*/ 168 w 171"/>
                <a:gd name="T11" fmla="*/ 38 h 111"/>
                <a:gd name="T12" fmla="*/ 171 w 171"/>
                <a:gd name="T13" fmla="*/ 55 h 111"/>
                <a:gd name="T14" fmla="*/ 168 w 171"/>
                <a:gd name="T15" fmla="*/ 74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9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9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4 h 111"/>
                <a:gd name="T34" fmla="*/ 0 w 171"/>
                <a:gd name="T35" fmla="*/ 55 h 111"/>
                <a:gd name="T36" fmla="*/ 2 w 171"/>
                <a:gd name="T37" fmla="*/ 38 h 111"/>
                <a:gd name="T38" fmla="*/ 10 w 171"/>
                <a:gd name="T39" fmla="*/ 23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3"/>
                  </a:lnTo>
                  <a:lnTo>
                    <a:pt x="168" y="38"/>
                  </a:lnTo>
                  <a:lnTo>
                    <a:pt x="171" y="55"/>
                  </a:lnTo>
                  <a:lnTo>
                    <a:pt x="168" y="74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9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9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4"/>
                  </a:lnTo>
                  <a:lnTo>
                    <a:pt x="0" y="55"/>
                  </a:lnTo>
                  <a:lnTo>
                    <a:pt x="2" y="38"/>
                  </a:lnTo>
                  <a:lnTo>
                    <a:pt x="10" y="23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6" name="Freeform 22">
              <a:extLst>
                <a:ext uri="{FF2B5EF4-FFF2-40B4-BE49-F238E27FC236}">
                  <a16:creationId xmlns:a16="http://schemas.microsoft.com/office/drawing/2014/main" id="{6465D05A-ED22-49B3-924E-6DFC4C8C8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8138" y="5997240"/>
              <a:ext cx="283642" cy="307072"/>
            </a:xfrm>
            <a:custGeom>
              <a:avLst/>
              <a:gdLst>
                <a:gd name="T0" fmla="*/ 185 w 3736"/>
                <a:gd name="T1" fmla="*/ 3069 h 3678"/>
                <a:gd name="T2" fmla="*/ 125 w 3736"/>
                <a:gd name="T3" fmla="*/ 3352 h 3678"/>
                <a:gd name="T4" fmla="*/ 325 w 3736"/>
                <a:gd name="T5" fmla="*/ 3554 h 3678"/>
                <a:gd name="T6" fmla="*/ 2002 w 3736"/>
                <a:gd name="T7" fmla="*/ 3518 h 3678"/>
                <a:gd name="T8" fmla="*/ 2140 w 3736"/>
                <a:gd name="T9" fmla="*/ 3266 h 3678"/>
                <a:gd name="T10" fmla="*/ 2002 w 3736"/>
                <a:gd name="T11" fmla="*/ 3013 h 3678"/>
                <a:gd name="T12" fmla="*/ 943 w 3736"/>
                <a:gd name="T13" fmla="*/ 2853 h 3678"/>
                <a:gd name="T14" fmla="*/ 2970 w 3736"/>
                <a:gd name="T15" fmla="*/ 2765 h 3678"/>
                <a:gd name="T16" fmla="*/ 3240 w 3736"/>
                <a:gd name="T17" fmla="*/ 2787 h 3678"/>
                <a:gd name="T18" fmla="*/ 3506 w 3736"/>
                <a:gd name="T19" fmla="*/ 2599 h 3678"/>
                <a:gd name="T20" fmla="*/ 302 w 3736"/>
                <a:gd name="T21" fmla="*/ 2099 h 3678"/>
                <a:gd name="T22" fmla="*/ 333 w 3736"/>
                <a:gd name="T23" fmla="*/ 2613 h 3678"/>
                <a:gd name="T24" fmla="*/ 3524 w 3736"/>
                <a:gd name="T25" fmla="*/ 1966 h 3678"/>
                <a:gd name="T26" fmla="*/ 3542 w 3736"/>
                <a:gd name="T27" fmla="*/ 2077 h 3678"/>
                <a:gd name="T28" fmla="*/ 3622 w 3736"/>
                <a:gd name="T29" fmla="*/ 1998 h 3678"/>
                <a:gd name="T30" fmla="*/ 893 w 3736"/>
                <a:gd name="T31" fmla="*/ 1458 h 3678"/>
                <a:gd name="T32" fmla="*/ 1843 w 3736"/>
                <a:gd name="T33" fmla="*/ 2616 h 3678"/>
                <a:gd name="T34" fmla="*/ 1132 w 3736"/>
                <a:gd name="T35" fmla="*/ 2414 h 3678"/>
                <a:gd name="T36" fmla="*/ 954 w 3736"/>
                <a:gd name="T37" fmla="*/ 2256 h 3678"/>
                <a:gd name="T38" fmla="*/ 1082 w 3736"/>
                <a:gd name="T39" fmla="*/ 2271 h 3678"/>
                <a:gd name="T40" fmla="*/ 1271 w 3736"/>
                <a:gd name="T41" fmla="*/ 1557 h 3678"/>
                <a:gd name="T42" fmla="*/ 1360 w 3736"/>
                <a:gd name="T43" fmla="*/ 1601 h 3678"/>
                <a:gd name="T44" fmla="*/ 1958 w 3736"/>
                <a:gd name="T45" fmla="*/ 2171 h 3678"/>
                <a:gd name="T46" fmla="*/ 1525 w 3736"/>
                <a:gd name="T47" fmla="*/ 1457 h 3678"/>
                <a:gd name="T48" fmla="*/ 2749 w 3736"/>
                <a:gd name="T49" fmla="*/ 361 h 3678"/>
                <a:gd name="T50" fmla="*/ 3541 w 3736"/>
                <a:gd name="T51" fmla="*/ 1844 h 3678"/>
                <a:gd name="T52" fmla="*/ 1658 w 3736"/>
                <a:gd name="T53" fmla="*/ 1439 h 3678"/>
                <a:gd name="T54" fmla="*/ 2419 w 3736"/>
                <a:gd name="T55" fmla="*/ 427 h 3678"/>
                <a:gd name="T56" fmla="*/ 2498 w 3736"/>
                <a:gd name="T57" fmla="*/ 124 h 3678"/>
                <a:gd name="T58" fmla="*/ 2441 w 3736"/>
                <a:gd name="T59" fmla="*/ 287 h 3678"/>
                <a:gd name="T60" fmla="*/ 2599 w 3736"/>
                <a:gd name="T61" fmla="*/ 347 h 3678"/>
                <a:gd name="T62" fmla="*/ 2672 w 3736"/>
                <a:gd name="T63" fmla="*/ 256 h 3678"/>
                <a:gd name="T64" fmla="*/ 2625 w 3736"/>
                <a:gd name="T65" fmla="*/ 136 h 3678"/>
                <a:gd name="T66" fmla="*/ 2665 w 3736"/>
                <a:gd name="T67" fmla="*/ 28 h 3678"/>
                <a:gd name="T68" fmla="*/ 3734 w 3736"/>
                <a:gd name="T69" fmla="*/ 1986 h 3678"/>
                <a:gd name="T70" fmla="*/ 3646 w 3736"/>
                <a:gd name="T71" fmla="*/ 2170 h 3678"/>
                <a:gd name="T72" fmla="*/ 3580 w 3736"/>
                <a:gd name="T73" fmla="*/ 2724 h 3678"/>
                <a:gd name="T74" fmla="*/ 3180 w 3736"/>
                <a:gd name="T75" fmla="*/ 2918 h 3678"/>
                <a:gd name="T76" fmla="*/ 2865 w 3736"/>
                <a:gd name="T77" fmla="*/ 2826 h 3678"/>
                <a:gd name="T78" fmla="*/ 2459 w 3736"/>
                <a:gd name="T79" fmla="*/ 2397 h 3678"/>
                <a:gd name="T80" fmla="*/ 3431 w 3736"/>
                <a:gd name="T81" fmla="*/ 2200 h 3678"/>
                <a:gd name="T82" fmla="*/ 3506 w 3736"/>
                <a:gd name="T83" fmla="*/ 2183 h 3678"/>
                <a:gd name="T84" fmla="*/ 1983 w 3736"/>
                <a:gd name="T85" fmla="*/ 1926 h 3678"/>
                <a:gd name="T86" fmla="*/ 2073 w 3736"/>
                <a:gd name="T87" fmla="*/ 2433 h 3678"/>
                <a:gd name="T88" fmla="*/ 2059 w 3736"/>
                <a:gd name="T89" fmla="*/ 2469 h 3678"/>
                <a:gd name="T90" fmla="*/ 2043 w 3736"/>
                <a:gd name="T91" fmla="*/ 2482 h 3678"/>
                <a:gd name="T92" fmla="*/ 2024 w 3736"/>
                <a:gd name="T93" fmla="*/ 2489 h 3678"/>
                <a:gd name="T94" fmla="*/ 1942 w 3736"/>
                <a:gd name="T95" fmla="*/ 2705 h 3678"/>
                <a:gd name="T96" fmla="*/ 1890 w 3736"/>
                <a:gd name="T97" fmla="*/ 2857 h 3678"/>
                <a:gd name="T98" fmla="*/ 2177 w 3736"/>
                <a:gd name="T99" fmla="*/ 3030 h 3678"/>
                <a:gd name="T100" fmla="*/ 2238 w 3736"/>
                <a:gd name="T101" fmla="*/ 3367 h 3678"/>
                <a:gd name="T102" fmla="*/ 2032 w 3736"/>
                <a:gd name="T103" fmla="*/ 3630 h 3678"/>
                <a:gd name="T104" fmla="*/ 311 w 3736"/>
                <a:gd name="T105" fmla="*/ 3666 h 3678"/>
                <a:gd name="T106" fmla="*/ 49 w 3736"/>
                <a:gd name="T107" fmla="*/ 3460 h 3678"/>
                <a:gd name="T108" fmla="*/ 28 w 3736"/>
                <a:gd name="T109" fmla="*/ 3116 h 3678"/>
                <a:gd name="T110" fmla="*/ 263 w 3736"/>
                <a:gd name="T111" fmla="*/ 2882 h 3678"/>
                <a:gd name="T112" fmla="*/ 317 w 3736"/>
                <a:gd name="T113" fmla="*/ 2724 h 3678"/>
                <a:gd name="T114" fmla="*/ 178 w 3736"/>
                <a:gd name="T115" fmla="*/ 2553 h 3678"/>
                <a:gd name="T116" fmla="*/ 284 w 3736"/>
                <a:gd name="T117" fmla="*/ 1975 h 3678"/>
                <a:gd name="T118" fmla="*/ 740 w 3736"/>
                <a:gd name="T119" fmla="*/ 1477 h 3678"/>
                <a:gd name="T120" fmla="*/ 963 w 3736"/>
                <a:gd name="T121" fmla="*/ 1310 h 3678"/>
                <a:gd name="T122" fmla="*/ 2410 w 3736"/>
                <a:gd name="T123" fmla="*/ 48 h 3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6" h="3678">
                  <a:moveTo>
                    <a:pt x="413" y="2964"/>
                  </a:moveTo>
                  <a:lnTo>
                    <a:pt x="367" y="2968"/>
                  </a:lnTo>
                  <a:lnTo>
                    <a:pt x="325" y="2978"/>
                  </a:lnTo>
                  <a:lnTo>
                    <a:pt x="286" y="2993"/>
                  </a:lnTo>
                  <a:lnTo>
                    <a:pt x="248" y="3013"/>
                  </a:lnTo>
                  <a:lnTo>
                    <a:pt x="215" y="3039"/>
                  </a:lnTo>
                  <a:lnTo>
                    <a:pt x="185" y="3069"/>
                  </a:lnTo>
                  <a:lnTo>
                    <a:pt x="160" y="3102"/>
                  </a:lnTo>
                  <a:lnTo>
                    <a:pt x="139" y="3139"/>
                  </a:lnTo>
                  <a:lnTo>
                    <a:pt x="125" y="3179"/>
                  </a:lnTo>
                  <a:lnTo>
                    <a:pt x="114" y="3222"/>
                  </a:lnTo>
                  <a:lnTo>
                    <a:pt x="111" y="3266"/>
                  </a:lnTo>
                  <a:lnTo>
                    <a:pt x="114" y="3310"/>
                  </a:lnTo>
                  <a:lnTo>
                    <a:pt x="125" y="3352"/>
                  </a:lnTo>
                  <a:lnTo>
                    <a:pt x="139" y="3393"/>
                  </a:lnTo>
                  <a:lnTo>
                    <a:pt x="160" y="3430"/>
                  </a:lnTo>
                  <a:lnTo>
                    <a:pt x="185" y="3464"/>
                  </a:lnTo>
                  <a:lnTo>
                    <a:pt x="215" y="3493"/>
                  </a:lnTo>
                  <a:lnTo>
                    <a:pt x="248" y="3518"/>
                  </a:lnTo>
                  <a:lnTo>
                    <a:pt x="286" y="3538"/>
                  </a:lnTo>
                  <a:lnTo>
                    <a:pt x="325" y="3554"/>
                  </a:lnTo>
                  <a:lnTo>
                    <a:pt x="367" y="3563"/>
                  </a:lnTo>
                  <a:lnTo>
                    <a:pt x="413" y="3567"/>
                  </a:lnTo>
                  <a:lnTo>
                    <a:pt x="1838" y="3567"/>
                  </a:lnTo>
                  <a:lnTo>
                    <a:pt x="1882" y="3563"/>
                  </a:lnTo>
                  <a:lnTo>
                    <a:pt x="1925" y="3554"/>
                  </a:lnTo>
                  <a:lnTo>
                    <a:pt x="1965" y="3538"/>
                  </a:lnTo>
                  <a:lnTo>
                    <a:pt x="2002" y="3518"/>
                  </a:lnTo>
                  <a:lnTo>
                    <a:pt x="2035" y="3493"/>
                  </a:lnTo>
                  <a:lnTo>
                    <a:pt x="2065" y="3464"/>
                  </a:lnTo>
                  <a:lnTo>
                    <a:pt x="2091" y="3430"/>
                  </a:lnTo>
                  <a:lnTo>
                    <a:pt x="2111" y="3393"/>
                  </a:lnTo>
                  <a:lnTo>
                    <a:pt x="2126" y="3352"/>
                  </a:lnTo>
                  <a:lnTo>
                    <a:pt x="2136" y="3310"/>
                  </a:lnTo>
                  <a:lnTo>
                    <a:pt x="2140" y="3266"/>
                  </a:lnTo>
                  <a:lnTo>
                    <a:pt x="2136" y="3222"/>
                  </a:lnTo>
                  <a:lnTo>
                    <a:pt x="2126" y="3179"/>
                  </a:lnTo>
                  <a:lnTo>
                    <a:pt x="2111" y="3139"/>
                  </a:lnTo>
                  <a:lnTo>
                    <a:pt x="2091" y="3102"/>
                  </a:lnTo>
                  <a:lnTo>
                    <a:pt x="2065" y="3069"/>
                  </a:lnTo>
                  <a:lnTo>
                    <a:pt x="2035" y="3039"/>
                  </a:lnTo>
                  <a:lnTo>
                    <a:pt x="2002" y="3013"/>
                  </a:lnTo>
                  <a:lnTo>
                    <a:pt x="1965" y="2993"/>
                  </a:lnTo>
                  <a:lnTo>
                    <a:pt x="1925" y="2978"/>
                  </a:lnTo>
                  <a:lnTo>
                    <a:pt x="1882" y="2968"/>
                  </a:lnTo>
                  <a:lnTo>
                    <a:pt x="1838" y="2964"/>
                  </a:lnTo>
                  <a:lnTo>
                    <a:pt x="413" y="2964"/>
                  </a:lnTo>
                  <a:close/>
                  <a:moveTo>
                    <a:pt x="943" y="2727"/>
                  </a:moveTo>
                  <a:lnTo>
                    <a:pt x="943" y="2853"/>
                  </a:lnTo>
                  <a:lnTo>
                    <a:pt x="1307" y="2853"/>
                  </a:lnTo>
                  <a:lnTo>
                    <a:pt x="1307" y="2727"/>
                  </a:lnTo>
                  <a:lnTo>
                    <a:pt x="943" y="2727"/>
                  </a:lnTo>
                  <a:close/>
                  <a:moveTo>
                    <a:pt x="3407" y="2328"/>
                  </a:moveTo>
                  <a:lnTo>
                    <a:pt x="2754" y="2590"/>
                  </a:lnTo>
                  <a:lnTo>
                    <a:pt x="2936" y="2741"/>
                  </a:lnTo>
                  <a:lnTo>
                    <a:pt x="2970" y="2765"/>
                  </a:lnTo>
                  <a:lnTo>
                    <a:pt x="3005" y="2783"/>
                  </a:lnTo>
                  <a:lnTo>
                    <a:pt x="3042" y="2797"/>
                  </a:lnTo>
                  <a:lnTo>
                    <a:pt x="3081" y="2806"/>
                  </a:lnTo>
                  <a:lnTo>
                    <a:pt x="3121" y="2809"/>
                  </a:lnTo>
                  <a:lnTo>
                    <a:pt x="3161" y="2808"/>
                  </a:lnTo>
                  <a:lnTo>
                    <a:pt x="3201" y="2800"/>
                  </a:lnTo>
                  <a:lnTo>
                    <a:pt x="3240" y="2787"/>
                  </a:lnTo>
                  <a:lnTo>
                    <a:pt x="3429" y="2711"/>
                  </a:lnTo>
                  <a:lnTo>
                    <a:pt x="3452" y="2700"/>
                  </a:lnTo>
                  <a:lnTo>
                    <a:pt x="3470" y="2684"/>
                  </a:lnTo>
                  <a:lnTo>
                    <a:pt x="3485" y="2666"/>
                  </a:lnTo>
                  <a:lnTo>
                    <a:pt x="3496" y="2646"/>
                  </a:lnTo>
                  <a:lnTo>
                    <a:pt x="3504" y="2623"/>
                  </a:lnTo>
                  <a:lnTo>
                    <a:pt x="3506" y="2599"/>
                  </a:lnTo>
                  <a:lnTo>
                    <a:pt x="3504" y="2575"/>
                  </a:lnTo>
                  <a:lnTo>
                    <a:pt x="3497" y="2551"/>
                  </a:lnTo>
                  <a:lnTo>
                    <a:pt x="3407" y="2328"/>
                  </a:lnTo>
                  <a:close/>
                  <a:moveTo>
                    <a:pt x="353" y="2073"/>
                  </a:moveTo>
                  <a:lnTo>
                    <a:pt x="333" y="2076"/>
                  </a:lnTo>
                  <a:lnTo>
                    <a:pt x="315" y="2085"/>
                  </a:lnTo>
                  <a:lnTo>
                    <a:pt x="302" y="2099"/>
                  </a:lnTo>
                  <a:lnTo>
                    <a:pt x="292" y="2116"/>
                  </a:lnTo>
                  <a:lnTo>
                    <a:pt x="289" y="2136"/>
                  </a:lnTo>
                  <a:lnTo>
                    <a:pt x="289" y="2553"/>
                  </a:lnTo>
                  <a:lnTo>
                    <a:pt x="292" y="2572"/>
                  </a:lnTo>
                  <a:lnTo>
                    <a:pt x="302" y="2590"/>
                  </a:lnTo>
                  <a:lnTo>
                    <a:pt x="315" y="2604"/>
                  </a:lnTo>
                  <a:lnTo>
                    <a:pt x="333" y="2613"/>
                  </a:lnTo>
                  <a:lnTo>
                    <a:pt x="353" y="2616"/>
                  </a:lnTo>
                  <a:lnTo>
                    <a:pt x="713" y="2616"/>
                  </a:lnTo>
                  <a:lnTo>
                    <a:pt x="713" y="2073"/>
                  </a:lnTo>
                  <a:lnTo>
                    <a:pt x="353" y="2073"/>
                  </a:lnTo>
                  <a:close/>
                  <a:moveTo>
                    <a:pt x="3562" y="1955"/>
                  </a:moveTo>
                  <a:lnTo>
                    <a:pt x="3542" y="1957"/>
                  </a:lnTo>
                  <a:lnTo>
                    <a:pt x="3524" y="1966"/>
                  </a:lnTo>
                  <a:lnTo>
                    <a:pt x="3511" y="1980"/>
                  </a:lnTo>
                  <a:lnTo>
                    <a:pt x="3502" y="1998"/>
                  </a:lnTo>
                  <a:lnTo>
                    <a:pt x="3498" y="2017"/>
                  </a:lnTo>
                  <a:lnTo>
                    <a:pt x="3502" y="2038"/>
                  </a:lnTo>
                  <a:lnTo>
                    <a:pt x="3511" y="2055"/>
                  </a:lnTo>
                  <a:lnTo>
                    <a:pt x="3524" y="2068"/>
                  </a:lnTo>
                  <a:lnTo>
                    <a:pt x="3542" y="2077"/>
                  </a:lnTo>
                  <a:lnTo>
                    <a:pt x="3562" y="2081"/>
                  </a:lnTo>
                  <a:lnTo>
                    <a:pt x="3582" y="2077"/>
                  </a:lnTo>
                  <a:lnTo>
                    <a:pt x="3599" y="2068"/>
                  </a:lnTo>
                  <a:lnTo>
                    <a:pt x="3613" y="2055"/>
                  </a:lnTo>
                  <a:lnTo>
                    <a:pt x="3622" y="2038"/>
                  </a:lnTo>
                  <a:lnTo>
                    <a:pt x="3625" y="2017"/>
                  </a:lnTo>
                  <a:lnTo>
                    <a:pt x="3622" y="1998"/>
                  </a:lnTo>
                  <a:lnTo>
                    <a:pt x="3613" y="1980"/>
                  </a:lnTo>
                  <a:lnTo>
                    <a:pt x="3599" y="1966"/>
                  </a:lnTo>
                  <a:lnTo>
                    <a:pt x="3582" y="1957"/>
                  </a:lnTo>
                  <a:lnTo>
                    <a:pt x="3562" y="1955"/>
                  </a:lnTo>
                  <a:close/>
                  <a:moveTo>
                    <a:pt x="950" y="1428"/>
                  </a:moveTo>
                  <a:lnTo>
                    <a:pt x="921" y="1441"/>
                  </a:lnTo>
                  <a:lnTo>
                    <a:pt x="893" y="1458"/>
                  </a:lnTo>
                  <a:lnTo>
                    <a:pt x="871" y="1481"/>
                  </a:lnTo>
                  <a:lnTo>
                    <a:pt x="851" y="1507"/>
                  </a:lnTo>
                  <a:lnTo>
                    <a:pt x="837" y="1536"/>
                  </a:lnTo>
                  <a:lnTo>
                    <a:pt x="828" y="1568"/>
                  </a:lnTo>
                  <a:lnTo>
                    <a:pt x="824" y="1601"/>
                  </a:lnTo>
                  <a:lnTo>
                    <a:pt x="824" y="2616"/>
                  </a:lnTo>
                  <a:lnTo>
                    <a:pt x="1843" y="2616"/>
                  </a:lnTo>
                  <a:lnTo>
                    <a:pt x="1843" y="2489"/>
                  </a:lnTo>
                  <a:lnTo>
                    <a:pt x="1556" y="2489"/>
                  </a:lnTo>
                  <a:lnTo>
                    <a:pt x="1468" y="2487"/>
                  </a:lnTo>
                  <a:lnTo>
                    <a:pt x="1382" y="2478"/>
                  </a:lnTo>
                  <a:lnTo>
                    <a:pt x="1297" y="2462"/>
                  </a:lnTo>
                  <a:lnTo>
                    <a:pt x="1213" y="2441"/>
                  </a:lnTo>
                  <a:lnTo>
                    <a:pt x="1132" y="2414"/>
                  </a:lnTo>
                  <a:lnTo>
                    <a:pt x="1050" y="2382"/>
                  </a:lnTo>
                  <a:lnTo>
                    <a:pt x="1026" y="2369"/>
                  </a:lnTo>
                  <a:lnTo>
                    <a:pt x="1005" y="2352"/>
                  </a:lnTo>
                  <a:lnTo>
                    <a:pt x="985" y="2331"/>
                  </a:lnTo>
                  <a:lnTo>
                    <a:pt x="971" y="2309"/>
                  </a:lnTo>
                  <a:lnTo>
                    <a:pt x="960" y="2284"/>
                  </a:lnTo>
                  <a:lnTo>
                    <a:pt x="954" y="2256"/>
                  </a:lnTo>
                  <a:lnTo>
                    <a:pt x="950" y="2228"/>
                  </a:lnTo>
                  <a:lnTo>
                    <a:pt x="950" y="1428"/>
                  </a:lnTo>
                  <a:close/>
                  <a:moveTo>
                    <a:pt x="1062" y="1419"/>
                  </a:moveTo>
                  <a:lnTo>
                    <a:pt x="1062" y="2228"/>
                  </a:lnTo>
                  <a:lnTo>
                    <a:pt x="1065" y="2245"/>
                  </a:lnTo>
                  <a:lnTo>
                    <a:pt x="1071" y="2259"/>
                  </a:lnTo>
                  <a:lnTo>
                    <a:pt x="1082" y="2271"/>
                  </a:lnTo>
                  <a:lnTo>
                    <a:pt x="1095" y="2280"/>
                  </a:lnTo>
                  <a:lnTo>
                    <a:pt x="1171" y="2311"/>
                  </a:lnTo>
                  <a:lnTo>
                    <a:pt x="1248" y="2335"/>
                  </a:lnTo>
                  <a:lnTo>
                    <a:pt x="1248" y="1601"/>
                  </a:lnTo>
                  <a:lnTo>
                    <a:pt x="1251" y="1584"/>
                  </a:lnTo>
                  <a:lnTo>
                    <a:pt x="1259" y="1568"/>
                  </a:lnTo>
                  <a:lnTo>
                    <a:pt x="1271" y="1557"/>
                  </a:lnTo>
                  <a:lnTo>
                    <a:pt x="1286" y="1549"/>
                  </a:lnTo>
                  <a:lnTo>
                    <a:pt x="1304" y="1545"/>
                  </a:lnTo>
                  <a:lnTo>
                    <a:pt x="1321" y="1549"/>
                  </a:lnTo>
                  <a:lnTo>
                    <a:pt x="1337" y="1557"/>
                  </a:lnTo>
                  <a:lnTo>
                    <a:pt x="1348" y="1568"/>
                  </a:lnTo>
                  <a:lnTo>
                    <a:pt x="1356" y="1584"/>
                  </a:lnTo>
                  <a:lnTo>
                    <a:pt x="1360" y="1601"/>
                  </a:lnTo>
                  <a:lnTo>
                    <a:pt x="1360" y="2361"/>
                  </a:lnTo>
                  <a:lnTo>
                    <a:pt x="1424" y="2370"/>
                  </a:lnTo>
                  <a:lnTo>
                    <a:pt x="1490" y="2376"/>
                  </a:lnTo>
                  <a:lnTo>
                    <a:pt x="1556" y="2378"/>
                  </a:lnTo>
                  <a:lnTo>
                    <a:pt x="1961" y="2378"/>
                  </a:lnTo>
                  <a:lnTo>
                    <a:pt x="1961" y="2221"/>
                  </a:lnTo>
                  <a:lnTo>
                    <a:pt x="1958" y="2171"/>
                  </a:lnTo>
                  <a:lnTo>
                    <a:pt x="1949" y="2123"/>
                  </a:lnTo>
                  <a:lnTo>
                    <a:pt x="1936" y="2076"/>
                  </a:lnTo>
                  <a:lnTo>
                    <a:pt x="1915" y="2031"/>
                  </a:lnTo>
                  <a:lnTo>
                    <a:pt x="1890" y="1988"/>
                  </a:lnTo>
                  <a:lnTo>
                    <a:pt x="1566" y="1500"/>
                  </a:lnTo>
                  <a:lnTo>
                    <a:pt x="1547" y="1477"/>
                  </a:lnTo>
                  <a:lnTo>
                    <a:pt x="1525" y="1457"/>
                  </a:lnTo>
                  <a:lnTo>
                    <a:pt x="1500" y="1441"/>
                  </a:lnTo>
                  <a:lnTo>
                    <a:pt x="1473" y="1428"/>
                  </a:lnTo>
                  <a:lnTo>
                    <a:pt x="1445" y="1422"/>
                  </a:lnTo>
                  <a:lnTo>
                    <a:pt x="1414" y="1419"/>
                  </a:lnTo>
                  <a:lnTo>
                    <a:pt x="1062" y="1419"/>
                  </a:lnTo>
                  <a:close/>
                  <a:moveTo>
                    <a:pt x="2753" y="353"/>
                  </a:moveTo>
                  <a:lnTo>
                    <a:pt x="2749" y="361"/>
                  </a:lnTo>
                  <a:lnTo>
                    <a:pt x="2571" y="659"/>
                  </a:lnTo>
                  <a:lnTo>
                    <a:pt x="3419" y="1917"/>
                  </a:lnTo>
                  <a:lnTo>
                    <a:pt x="3437" y="1895"/>
                  </a:lnTo>
                  <a:lnTo>
                    <a:pt x="3460" y="1876"/>
                  </a:lnTo>
                  <a:lnTo>
                    <a:pt x="3485" y="1861"/>
                  </a:lnTo>
                  <a:lnTo>
                    <a:pt x="3512" y="1850"/>
                  </a:lnTo>
                  <a:lnTo>
                    <a:pt x="3541" y="1844"/>
                  </a:lnTo>
                  <a:lnTo>
                    <a:pt x="2753" y="353"/>
                  </a:lnTo>
                  <a:close/>
                  <a:moveTo>
                    <a:pt x="2334" y="320"/>
                  </a:moveTo>
                  <a:lnTo>
                    <a:pt x="1562" y="1348"/>
                  </a:lnTo>
                  <a:lnTo>
                    <a:pt x="1590" y="1366"/>
                  </a:lnTo>
                  <a:lnTo>
                    <a:pt x="1616" y="1387"/>
                  </a:lnTo>
                  <a:lnTo>
                    <a:pt x="1638" y="1411"/>
                  </a:lnTo>
                  <a:lnTo>
                    <a:pt x="1658" y="1439"/>
                  </a:lnTo>
                  <a:lnTo>
                    <a:pt x="1827" y="1690"/>
                  </a:lnTo>
                  <a:lnTo>
                    <a:pt x="2555" y="467"/>
                  </a:lnTo>
                  <a:lnTo>
                    <a:pt x="2551" y="467"/>
                  </a:lnTo>
                  <a:lnTo>
                    <a:pt x="2515" y="465"/>
                  </a:lnTo>
                  <a:lnTo>
                    <a:pt x="2481" y="457"/>
                  </a:lnTo>
                  <a:lnTo>
                    <a:pt x="2448" y="444"/>
                  </a:lnTo>
                  <a:lnTo>
                    <a:pt x="2419" y="427"/>
                  </a:lnTo>
                  <a:lnTo>
                    <a:pt x="2391" y="405"/>
                  </a:lnTo>
                  <a:lnTo>
                    <a:pt x="2369" y="380"/>
                  </a:lnTo>
                  <a:lnTo>
                    <a:pt x="2349" y="351"/>
                  </a:lnTo>
                  <a:lnTo>
                    <a:pt x="2334" y="320"/>
                  </a:lnTo>
                  <a:close/>
                  <a:moveTo>
                    <a:pt x="2551" y="111"/>
                  </a:moveTo>
                  <a:lnTo>
                    <a:pt x="2523" y="115"/>
                  </a:lnTo>
                  <a:lnTo>
                    <a:pt x="2498" y="124"/>
                  </a:lnTo>
                  <a:lnTo>
                    <a:pt x="2475" y="138"/>
                  </a:lnTo>
                  <a:lnTo>
                    <a:pt x="2456" y="157"/>
                  </a:lnTo>
                  <a:lnTo>
                    <a:pt x="2441" y="180"/>
                  </a:lnTo>
                  <a:lnTo>
                    <a:pt x="2432" y="205"/>
                  </a:lnTo>
                  <a:lnTo>
                    <a:pt x="2429" y="234"/>
                  </a:lnTo>
                  <a:lnTo>
                    <a:pt x="2432" y="262"/>
                  </a:lnTo>
                  <a:lnTo>
                    <a:pt x="2441" y="287"/>
                  </a:lnTo>
                  <a:lnTo>
                    <a:pt x="2456" y="311"/>
                  </a:lnTo>
                  <a:lnTo>
                    <a:pt x="2475" y="329"/>
                  </a:lnTo>
                  <a:lnTo>
                    <a:pt x="2498" y="344"/>
                  </a:lnTo>
                  <a:lnTo>
                    <a:pt x="2523" y="353"/>
                  </a:lnTo>
                  <a:lnTo>
                    <a:pt x="2551" y="356"/>
                  </a:lnTo>
                  <a:lnTo>
                    <a:pt x="2576" y="354"/>
                  </a:lnTo>
                  <a:lnTo>
                    <a:pt x="2599" y="347"/>
                  </a:lnTo>
                  <a:lnTo>
                    <a:pt x="2619" y="336"/>
                  </a:lnTo>
                  <a:lnTo>
                    <a:pt x="2638" y="321"/>
                  </a:lnTo>
                  <a:lnTo>
                    <a:pt x="2653" y="303"/>
                  </a:lnTo>
                  <a:lnTo>
                    <a:pt x="2656" y="298"/>
                  </a:lnTo>
                  <a:lnTo>
                    <a:pt x="2657" y="297"/>
                  </a:lnTo>
                  <a:lnTo>
                    <a:pt x="2666" y="278"/>
                  </a:lnTo>
                  <a:lnTo>
                    <a:pt x="2672" y="256"/>
                  </a:lnTo>
                  <a:lnTo>
                    <a:pt x="2674" y="234"/>
                  </a:lnTo>
                  <a:lnTo>
                    <a:pt x="2672" y="210"/>
                  </a:lnTo>
                  <a:lnTo>
                    <a:pt x="2665" y="187"/>
                  </a:lnTo>
                  <a:lnTo>
                    <a:pt x="2661" y="180"/>
                  </a:lnTo>
                  <a:lnTo>
                    <a:pt x="2658" y="174"/>
                  </a:lnTo>
                  <a:lnTo>
                    <a:pt x="2643" y="153"/>
                  </a:lnTo>
                  <a:lnTo>
                    <a:pt x="2625" y="136"/>
                  </a:lnTo>
                  <a:lnTo>
                    <a:pt x="2603" y="123"/>
                  </a:lnTo>
                  <a:lnTo>
                    <a:pt x="2579" y="115"/>
                  </a:lnTo>
                  <a:lnTo>
                    <a:pt x="2551" y="111"/>
                  </a:lnTo>
                  <a:close/>
                  <a:moveTo>
                    <a:pt x="2551" y="0"/>
                  </a:moveTo>
                  <a:lnTo>
                    <a:pt x="2591" y="3"/>
                  </a:lnTo>
                  <a:lnTo>
                    <a:pt x="2630" y="12"/>
                  </a:lnTo>
                  <a:lnTo>
                    <a:pt x="2665" y="28"/>
                  </a:lnTo>
                  <a:lnTo>
                    <a:pt x="2696" y="50"/>
                  </a:lnTo>
                  <a:lnTo>
                    <a:pt x="2724" y="75"/>
                  </a:lnTo>
                  <a:lnTo>
                    <a:pt x="2747" y="106"/>
                  </a:lnTo>
                  <a:lnTo>
                    <a:pt x="2766" y="138"/>
                  </a:lnTo>
                  <a:lnTo>
                    <a:pt x="3713" y="1930"/>
                  </a:lnTo>
                  <a:lnTo>
                    <a:pt x="3726" y="1957"/>
                  </a:lnTo>
                  <a:lnTo>
                    <a:pt x="3734" y="1986"/>
                  </a:lnTo>
                  <a:lnTo>
                    <a:pt x="3736" y="2017"/>
                  </a:lnTo>
                  <a:lnTo>
                    <a:pt x="3733" y="2050"/>
                  </a:lnTo>
                  <a:lnTo>
                    <a:pt x="3725" y="2080"/>
                  </a:lnTo>
                  <a:lnTo>
                    <a:pt x="3711" y="2108"/>
                  </a:lnTo>
                  <a:lnTo>
                    <a:pt x="3693" y="2132"/>
                  </a:lnTo>
                  <a:lnTo>
                    <a:pt x="3672" y="2153"/>
                  </a:lnTo>
                  <a:lnTo>
                    <a:pt x="3646" y="2170"/>
                  </a:lnTo>
                  <a:lnTo>
                    <a:pt x="3617" y="2183"/>
                  </a:lnTo>
                  <a:lnTo>
                    <a:pt x="3617" y="2612"/>
                  </a:lnTo>
                  <a:lnTo>
                    <a:pt x="3617" y="2620"/>
                  </a:lnTo>
                  <a:lnTo>
                    <a:pt x="3616" y="2626"/>
                  </a:lnTo>
                  <a:lnTo>
                    <a:pt x="3609" y="2660"/>
                  </a:lnTo>
                  <a:lnTo>
                    <a:pt x="3597" y="2693"/>
                  </a:lnTo>
                  <a:lnTo>
                    <a:pt x="3580" y="2724"/>
                  </a:lnTo>
                  <a:lnTo>
                    <a:pt x="3559" y="2752"/>
                  </a:lnTo>
                  <a:lnTo>
                    <a:pt x="3533" y="2777"/>
                  </a:lnTo>
                  <a:lnTo>
                    <a:pt x="3504" y="2799"/>
                  </a:lnTo>
                  <a:lnTo>
                    <a:pt x="3471" y="2815"/>
                  </a:lnTo>
                  <a:lnTo>
                    <a:pt x="3282" y="2891"/>
                  </a:lnTo>
                  <a:lnTo>
                    <a:pt x="3231" y="2908"/>
                  </a:lnTo>
                  <a:lnTo>
                    <a:pt x="3180" y="2918"/>
                  </a:lnTo>
                  <a:lnTo>
                    <a:pt x="3127" y="2920"/>
                  </a:lnTo>
                  <a:lnTo>
                    <a:pt x="3081" y="2918"/>
                  </a:lnTo>
                  <a:lnTo>
                    <a:pt x="3034" y="2910"/>
                  </a:lnTo>
                  <a:lnTo>
                    <a:pt x="2989" y="2896"/>
                  </a:lnTo>
                  <a:lnTo>
                    <a:pt x="2946" y="2878"/>
                  </a:lnTo>
                  <a:lnTo>
                    <a:pt x="2904" y="2855"/>
                  </a:lnTo>
                  <a:lnTo>
                    <a:pt x="2865" y="2826"/>
                  </a:lnTo>
                  <a:lnTo>
                    <a:pt x="2454" y="2487"/>
                  </a:lnTo>
                  <a:lnTo>
                    <a:pt x="2442" y="2474"/>
                  </a:lnTo>
                  <a:lnTo>
                    <a:pt x="2436" y="2458"/>
                  </a:lnTo>
                  <a:lnTo>
                    <a:pt x="2433" y="2441"/>
                  </a:lnTo>
                  <a:lnTo>
                    <a:pt x="2438" y="2424"/>
                  </a:lnTo>
                  <a:lnTo>
                    <a:pt x="2447" y="2409"/>
                  </a:lnTo>
                  <a:lnTo>
                    <a:pt x="2459" y="2397"/>
                  </a:lnTo>
                  <a:lnTo>
                    <a:pt x="2475" y="2390"/>
                  </a:lnTo>
                  <a:lnTo>
                    <a:pt x="2492" y="2388"/>
                  </a:lnTo>
                  <a:lnTo>
                    <a:pt x="2509" y="2393"/>
                  </a:lnTo>
                  <a:lnTo>
                    <a:pt x="2525" y="2402"/>
                  </a:lnTo>
                  <a:lnTo>
                    <a:pt x="2656" y="2509"/>
                  </a:lnTo>
                  <a:lnTo>
                    <a:pt x="3418" y="2203"/>
                  </a:lnTo>
                  <a:lnTo>
                    <a:pt x="3431" y="2200"/>
                  </a:lnTo>
                  <a:lnTo>
                    <a:pt x="3446" y="2200"/>
                  </a:lnTo>
                  <a:lnTo>
                    <a:pt x="3460" y="2204"/>
                  </a:lnTo>
                  <a:lnTo>
                    <a:pt x="3472" y="2211"/>
                  </a:lnTo>
                  <a:lnTo>
                    <a:pt x="3482" y="2221"/>
                  </a:lnTo>
                  <a:lnTo>
                    <a:pt x="3490" y="2235"/>
                  </a:lnTo>
                  <a:lnTo>
                    <a:pt x="3506" y="2275"/>
                  </a:lnTo>
                  <a:lnTo>
                    <a:pt x="3506" y="2183"/>
                  </a:lnTo>
                  <a:lnTo>
                    <a:pt x="3478" y="2170"/>
                  </a:lnTo>
                  <a:lnTo>
                    <a:pt x="3452" y="2152"/>
                  </a:lnTo>
                  <a:lnTo>
                    <a:pt x="3429" y="2131"/>
                  </a:lnTo>
                  <a:lnTo>
                    <a:pt x="3411" y="2106"/>
                  </a:lnTo>
                  <a:lnTo>
                    <a:pt x="2507" y="766"/>
                  </a:lnTo>
                  <a:lnTo>
                    <a:pt x="1895" y="1794"/>
                  </a:lnTo>
                  <a:lnTo>
                    <a:pt x="1983" y="1926"/>
                  </a:lnTo>
                  <a:lnTo>
                    <a:pt x="2010" y="1971"/>
                  </a:lnTo>
                  <a:lnTo>
                    <a:pt x="2032" y="2018"/>
                  </a:lnTo>
                  <a:lnTo>
                    <a:pt x="2050" y="2067"/>
                  </a:lnTo>
                  <a:lnTo>
                    <a:pt x="2063" y="2117"/>
                  </a:lnTo>
                  <a:lnTo>
                    <a:pt x="2069" y="2168"/>
                  </a:lnTo>
                  <a:lnTo>
                    <a:pt x="2073" y="2221"/>
                  </a:lnTo>
                  <a:lnTo>
                    <a:pt x="2073" y="2433"/>
                  </a:lnTo>
                  <a:lnTo>
                    <a:pt x="2072" y="2441"/>
                  </a:lnTo>
                  <a:lnTo>
                    <a:pt x="2069" y="2452"/>
                  </a:lnTo>
                  <a:lnTo>
                    <a:pt x="2066" y="2460"/>
                  </a:lnTo>
                  <a:lnTo>
                    <a:pt x="2064" y="2463"/>
                  </a:lnTo>
                  <a:lnTo>
                    <a:pt x="2063" y="2465"/>
                  </a:lnTo>
                  <a:lnTo>
                    <a:pt x="2060" y="2469"/>
                  </a:lnTo>
                  <a:lnTo>
                    <a:pt x="2059" y="2469"/>
                  </a:lnTo>
                  <a:lnTo>
                    <a:pt x="2058" y="2471"/>
                  </a:lnTo>
                  <a:lnTo>
                    <a:pt x="2056" y="2473"/>
                  </a:lnTo>
                  <a:lnTo>
                    <a:pt x="2055" y="2474"/>
                  </a:lnTo>
                  <a:lnTo>
                    <a:pt x="2052" y="2477"/>
                  </a:lnTo>
                  <a:lnTo>
                    <a:pt x="2050" y="2478"/>
                  </a:lnTo>
                  <a:lnTo>
                    <a:pt x="2048" y="2480"/>
                  </a:lnTo>
                  <a:lnTo>
                    <a:pt x="2043" y="2482"/>
                  </a:lnTo>
                  <a:lnTo>
                    <a:pt x="2039" y="2485"/>
                  </a:lnTo>
                  <a:lnTo>
                    <a:pt x="2039" y="2485"/>
                  </a:lnTo>
                  <a:lnTo>
                    <a:pt x="2035" y="2486"/>
                  </a:lnTo>
                  <a:lnTo>
                    <a:pt x="2033" y="2487"/>
                  </a:lnTo>
                  <a:lnTo>
                    <a:pt x="2031" y="2488"/>
                  </a:lnTo>
                  <a:lnTo>
                    <a:pt x="2027" y="2488"/>
                  </a:lnTo>
                  <a:lnTo>
                    <a:pt x="2024" y="2489"/>
                  </a:lnTo>
                  <a:lnTo>
                    <a:pt x="2023" y="2489"/>
                  </a:lnTo>
                  <a:lnTo>
                    <a:pt x="2019" y="2489"/>
                  </a:lnTo>
                  <a:lnTo>
                    <a:pt x="2017" y="2489"/>
                  </a:lnTo>
                  <a:lnTo>
                    <a:pt x="1954" y="2489"/>
                  </a:lnTo>
                  <a:lnTo>
                    <a:pt x="1954" y="2672"/>
                  </a:lnTo>
                  <a:lnTo>
                    <a:pt x="1950" y="2689"/>
                  </a:lnTo>
                  <a:lnTo>
                    <a:pt x="1942" y="2705"/>
                  </a:lnTo>
                  <a:lnTo>
                    <a:pt x="1931" y="2716"/>
                  </a:lnTo>
                  <a:lnTo>
                    <a:pt x="1915" y="2724"/>
                  </a:lnTo>
                  <a:lnTo>
                    <a:pt x="1898" y="2727"/>
                  </a:lnTo>
                  <a:lnTo>
                    <a:pt x="1418" y="2727"/>
                  </a:lnTo>
                  <a:lnTo>
                    <a:pt x="1418" y="2853"/>
                  </a:lnTo>
                  <a:lnTo>
                    <a:pt x="1838" y="2853"/>
                  </a:lnTo>
                  <a:lnTo>
                    <a:pt x="1890" y="2857"/>
                  </a:lnTo>
                  <a:lnTo>
                    <a:pt x="1940" y="2866"/>
                  </a:lnTo>
                  <a:lnTo>
                    <a:pt x="1988" y="2882"/>
                  </a:lnTo>
                  <a:lnTo>
                    <a:pt x="2032" y="2902"/>
                  </a:lnTo>
                  <a:lnTo>
                    <a:pt x="2074" y="2927"/>
                  </a:lnTo>
                  <a:lnTo>
                    <a:pt x="2112" y="2958"/>
                  </a:lnTo>
                  <a:lnTo>
                    <a:pt x="2146" y="2992"/>
                  </a:lnTo>
                  <a:lnTo>
                    <a:pt x="2177" y="3030"/>
                  </a:lnTo>
                  <a:lnTo>
                    <a:pt x="2202" y="3072"/>
                  </a:lnTo>
                  <a:lnTo>
                    <a:pt x="2222" y="3116"/>
                  </a:lnTo>
                  <a:lnTo>
                    <a:pt x="2238" y="3164"/>
                  </a:lnTo>
                  <a:lnTo>
                    <a:pt x="2247" y="3214"/>
                  </a:lnTo>
                  <a:lnTo>
                    <a:pt x="2251" y="3266"/>
                  </a:lnTo>
                  <a:lnTo>
                    <a:pt x="2247" y="3317"/>
                  </a:lnTo>
                  <a:lnTo>
                    <a:pt x="2238" y="3367"/>
                  </a:lnTo>
                  <a:lnTo>
                    <a:pt x="2222" y="3415"/>
                  </a:lnTo>
                  <a:lnTo>
                    <a:pt x="2202" y="3460"/>
                  </a:lnTo>
                  <a:lnTo>
                    <a:pt x="2177" y="3501"/>
                  </a:lnTo>
                  <a:lnTo>
                    <a:pt x="2146" y="3540"/>
                  </a:lnTo>
                  <a:lnTo>
                    <a:pt x="2112" y="3574"/>
                  </a:lnTo>
                  <a:lnTo>
                    <a:pt x="2074" y="3604"/>
                  </a:lnTo>
                  <a:lnTo>
                    <a:pt x="2032" y="3630"/>
                  </a:lnTo>
                  <a:lnTo>
                    <a:pt x="1988" y="3651"/>
                  </a:lnTo>
                  <a:lnTo>
                    <a:pt x="1940" y="3666"/>
                  </a:lnTo>
                  <a:lnTo>
                    <a:pt x="1890" y="3676"/>
                  </a:lnTo>
                  <a:lnTo>
                    <a:pt x="1838" y="3678"/>
                  </a:lnTo>
                  <a:lnTo>
                    <a:pt x="413" y="3678"/>
                  </a:lnTo>
                  <a:lnTo>
                    <a:pt x="360" y="3676"/>
                  </a:lnTo>
                  <a:lnTo>
                    <a:pt x="311" y="3666"/>
                  </a:lnTo>
                  <a:lnTo>
                    <a:pt x="263" y="3651"/>
                  </a:lnTo>
                  <a:lnTo>
                    <a:pt x="219" y="3630"/>
                  </a:lnTo>
                  <a:lnTo>
                    <a:pt x="177" y="3604"/>
                  </a:lnTo>
                  <a:lnTo>
                    <a:pt x="138" y="3574"/>
                  </a:lnTo>
                  <a:lnTo>
                    <a:pt x="104" y="3540"/>
                  </a:lnTo>
                  <a:lnTo>
                    <a:pt x="74" y="3501"/>
                  </a:lnTo>
                  <a:lnTo>
                    <a:pt x="49" y="3460"/>
                  </a:lnTo>
                  <a:lnTo>
                    <a:pt x="28" y="3415"/>
                  </a:lnTo>
                  <a:lnTo>
                    <a:pt x="12" y="3367"/>
                  </a:lnTo>
                  <a:lnTo>
                    <a:pt x="3" y="3317"/>
                  </a:lnTo>
                  <a:lnTo>
                    <a:pt x="0" y="3266"/>
                  </a:lnTo>
                  <a:lnTo>
                    <a:pt x="3" y="3214"/>
                  </a:lnTo>
                  <a:lnTo>
                    <a:pt x="12" y="3164"/>
                  </a:lnTo>
                  <a:lnTo>
                    <a:pt x="28" y="3116"/>
                  </a:lnTo>
                  <a:lnTo>
                    <a:pt x="49" y="3072"/>
                  </a:lnTo>
                  <a:lnTo>
                    <a:pt x="74" y="3030"/>
                  </a:lnTo>
                  <a:lnTo>
                    <a:pt x="104" y="2992"/>
                  </a:lnTo>
                  <a:lnTo>
                    <a:pt x="138" y="2958"/>
                  </a:lnTo>
                  <a:lnTo>
                    <a:pt x="177" y="2927"/>
                  </a:lnTo>
                  <a:lnTo>
                    <a:pt x="219" y="2902"/>
                  </a:lnTo>
                  <a:lnTo>
                    <a:pt x="263" y="2882"/>
                  </a:lnTo>
                  <a:lnTo>
                    <a:pt x="311" y="2866"/>
                  </a:lnTo>
                  <a:lnTo>
                    <a:pt x="360" y="2857"/>
                  </a:lnTo>
                  <a:lnTo>
                    <a:pt x="413" y="2853"/>
                  </a:lnTo>
                  <a:lnTo>
                    <a:pt x="832" y="2853"/>
                  </a:lnTo>
                  <a:lnTo>
                    <a:pt x="832" y="2727"/>
                  </a:lnTo>
                  <a:lnTo>
                    <a:pt x="353" y="2727"/>
                  </a:lnTo>
                  <a:lnTo>
                    <a:pt x="317" y="2724"/>
                  </a:lnTo>
                  <a:lnTo>
                    <a:pt x="284" y="2714"/>
                  </a:lnTo>
                  <a:lnTo>
                    <a:pt x="255" y="2698"/>
                  </a:lnTo>
                  <a:lnTo>
                    <a:pt x="229" y="2676"/>
                  </a:lnTo>
                  <a:lnTo>
                    <a:pt x="209" y="2650"/>
                  </a:lnTo>
                  <a:lnTo>
                    <a:pt x="192" y="2621"/>
                  </a:lnTo>
                  <a:lnTo>
                    <a:pt x="181" y="2588"/>
                  </a:lnTo>
                  <a:lnTo>
                    <a:pt x="178" y="2553"/>
                  </a:lnTo>
                  <a:lnTo>
                    <a:pt x="178" y="2136"/>
                  </a:lnTo>
                  <a:lnTo>
                    <a:pt x="181" y="2101"/>
                  </a:lnTo>
                  <a:lnTo>
                    <a:pt x="192" y="2068"/>
                  </a:lnTo>
                  <a:lnTo>
                    <a:pt x="209" y="2039"/>
                  </a:lnTo>
                  <a:lnTo>
                    <a:pt x="229" y="2013"/>
                  </a:lnTo>
                  <a:lnTo>
                    <a:pt x="255" y="1991"/>
                  </a:lnTo>
                  <a:lnTo>
                    <a:pt x="284" y="1975"/>
                  </a:lnTo>
                  <a:lnTo>
                    <a:pt x="317" y="1965"/>
                  </a:lnTo>
                  <a:lnTo>
                    <a:pt x="353" y="1962"/>
                  </a:lnTo>
                  <a:lnTo>
                    <a:pt x="713" y="1962"/>
                  </a:lnTo>
                  <a:lnTo>
                    <a:pt x="713" y="1601"/>
                  </a:lnTo>
                  <a:lnTo>
                    <a:pt x="717" y="1558"/>
                  </a:lnTo>
                  <a:lnTo>
                    <a:pt x="726" y="1517"/>
                  </a:lnTo>
                  <a:lnTo>
                    <a:pt x="740" y="1477"/>
                  </a:lnTo>
                  <a:lnTo>
                    <a:pt x="761" y="1442"/>
                  </a:lnTo>
                  <a:lnTo>
                    <a:pt x="785" y="1409"/>
                  </a:lnTo>
                  <a:lnTo>
                    <a:pt x="814" y="1380"/>
                  </a:lnTo>
                  <a:lnTo>
                    <a:pt x="847" y="1355"/>
                  </a:lnTo>
                  <a:lnTo>
                    <a:pt x="883" y="1335"/>
                  </a:lnTo>
                  <a:lnTo>
                    <a:pt x="922" y="1321"/>
                  </a:lnTo>
                  <a:lnTo>
                    <a:pt x="963" y="1310"/>
                  </a:lnTo>
                  <a:lnTo>
                    <a:pt x="1007" y="1308"/>
                  </a:lnTo>
                  <a:lnTo>
                    <a:pt x="1414" y="1308"/>
                  </a:lnTo>
                  <a:lnTo>
                    <a:pt x="1452" y="1310"/>
                  </a:lnTo>
                  <a:lnTo>
                    <a:pt x="2359" y="101"/>
                  </a:lnTo>
                  <a:lnTo>
                    <a:pt x="2359" y="101"/>
                  </a:lnTo>
                  <a:lnTo>
                    <a:pt x="2382" y="73"/>
                  </a:lnTo>
                  <a:lnTo>
                    <a:pt x="2410" y="48"/>
                  </a:lnTo>
                  <a:lnTo>
                    <a:pt x="2441" y="27"/>
                  </a:lnTo>
                  <a:lnTo>
                    <a:pt x="2475" y="12"/>
                  </a:lnTo>
                  <a:lnTo>
                    <a:pt x="2513" y="3"/>
                  </a:lnTo>
                  <a:lnTo>
                    <a:pt x="2551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</p:grpSp>
      <p:sp>
        <p:nvSpPr>
          <p:cNvPr id="23625" name="TextBox 158">
            <a:extLst>
              <a:ext uri="{FF2B5EF4-FFF2-40B4-BE49-F238E27FC236}">
                <a16:creationId xmlns:a16="http://schemas.microsoft.com/office/drawing/2014/main" id="{E039C87F-72AD-4054-B63A-554ACFFB9E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4663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6" name="TextBox 159">
            <a:extLst>
              <a:ext uri="{FF2B5EF4-FFF2-40B4-BE49-F238E27FC236}">
                <a16:creationId xmlns:a16="http://schemas.microsoft.com/office/drawing/2014/main" id="{C89D28E8-6E73-4458-A352-42A749EC09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3488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7" name="TextBox 127">
            <a:extLst>
              <a:ext uri="{FF2B5EF4-FFF2-40B4-BE49-F238E27FC236}">
                <a16:creationId xmlns:a16="http://schemas.microsoft.com/office/drawing/2014/main" id="{D2C4F5E9-E854-4896-8355-45DEC69063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7813" y="6378575"/>
            <a:ext cx="426243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Sources: National Bureau of Statistics, World Bank Report on Doing Business in Nigeria 2018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climate-</a:t>
            </a:r>
            <a:r>
              <a:rPr lang="en-GB" altLang="en-US" sz="800" dirty="0" err="1">
                <a:latin typeface="Calibri" panose="020F0502020204030204" pitchFamily="34" charset="0"/>
              </a:rPr>
              <a:t>data.org</a:t>
            </a:r>
            <a:r>
              <a:rPr lang="en-GB" altLang="en-US" sz="800" dirty="0">
                <a:latin typeface="Calibri" panose="020F0502020204030204" pitchFamily="34" charset="0"/>
              </a:rPr>
              <a:t>, State Government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Exchange rate= $1/N305 (Central Bank of Nigeria)</a:t>
            </a:r>
          </a:p>
        </p:txBody>
      </p:sp>
      <p:sp>
        <p:nvSpPr>
          <p:cNvPr id="23628" name="TextBox 128">
            <a:extLst>
              <a:ext uri="{FF2B5EF4-FFF2-40B4-BE49-F238E27FC236}">
                <a16:creationId xmlns:a16="http://schemas.microsoft.com/office/drawing/2014/main" id="{409BCC6F-A5F0-4C79-BB4A-38A1ABC14F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37172" y="3649889"/>
            <a:ext cx="49564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Health</a:t>
            </a:r>
          </a:p>
        </p:txBody>
      </p:sp>
      <p:sp>
        <p:nvSpPr>
          <p:cNvPr id="23629" name="TextBox 129">
            <a:extLst>
              <a:ext uri="{FF2B5EF4-FFF2-40B4-BE49-F238E27FC236}">
                <a16:creationId xmlns:a16="http://schemas.microsoft.com/office/drawing/2014/main" id="{489E7B41-20C9-4493-8E7D-07238EB8FA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2892" y="3654980"/>
            <a:ext cx="57579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Palm Oil</a:t>
            </a:r>
          </a:p>
        </p:txBody>
      </p:sp>
      <p:sp>
        <p:nvSpPr>
          <p:cNvPr id="23630" name="TextBox 130">
            <a:extLst>
              <a:ext uri="{FF2B5EF4-FFF2-40B4-BE49-F238E27FC236}">
                <a16:creationId xmlns:a16="http://schemas.microsoft.com/office/drawing/2014/main" id="{048DE5D8-5309-42DA-9D97-2935A10CB7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31" name="TextBox 131">
            <a:extLst>
              <a:ext uri="{FF2B5EF4-FFF2-40B4-BE49-F238E27FC236}">
                <a16:creationId xmlns:a16="http://schemas.microsoft.com/office/drawing/2014/main" id="{FF8B6C80-43E2-43AF-A364-A31845F05C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5388" y="3656613"/>
            <a:ext cx="57740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Brewery</a:t>
            </a:r>
          </a:p>
        </p:txBody>
      </p:sp>
      <p:sp>
        <p:nvSpPr>
          <p:cNvPr id="23632" name="TextBox 132">
            <a:extLst>
              <a:ext uri="{FF2B5EF4-FFF2-40B4-BE49-F238E27FC236}">
                <a16:creationId xmlns:a16="http://schemas.microsoft.com/office/drawing/2014/main" id="{A1C640C1-61D1-4BA5-8A76-E684397E8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99089" y="3650683"/>
            <a:ext cx="388248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Coal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238751" y="3833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23638" name="TextBox 141">
            <a:extLst>
              <a:ext uri="{FF2B5EF4-FFF2-40B4-BE49-F238E27FC236}">
                <a16:creationId xmlns:a16="http://schemas.microsoft.com/office/drawing/2014/main" id="{EE481231-8673-4FD7-B5CC-900AEE7A9F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8233" y="3652271"/>
            <a:ext cx="49084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Melon</a:t>
            </a:r>
          </a:p>
        </p:txBody>
      </p:sp>
      <p:sp>
        <p:nvSpPr>
          <p:cNvPr id="23649" name="TextBox 165">
            <a:extLst>
              <a:ext uri="{FF2B5EF4-FFF2-40B4-BE49-F238E27FC236}">
                <a16:creationId xmlns:a16="http://schemas.microsoft.com/office/drawing/2014/main" id="{1242633E-9CB1-48ED-83F4-2223DFC7ED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81236" y="4459560"/>
            <a:ext cx="65274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Education</a:t>
            </a:r>
          </a:p>
        </p:txBody>
      </p:sp>
      <p:sp>
        <p:nvSpPr>
          <p:cNvPr id="23650" name="TextBox 166">
            <a:extLst>
              <a:ext uri="{FF2B5EF4-FFF2-40B4-BE49-F238E27FC236}">
                <a16:creationId xmlns:a16="http://schemas.microsoft.com/office/drawing/2014/main" id="{6B51369B-8FA6-464A-B908-12B0FFE6B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56591" y="4458812"/>
            <a:ext cx="78418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Wind Energy</a:t>
            </a:r>
          </a:p>
        </p:txBody>
      </p:sp>
      <p:sp>
        <p:nvSpPr>
          <p:cNvPr id="23651" name="TextBox 167">
            <a:extLst>
              <a:ext uri="{FF2B5EF4-FFF2-40B4-BE49-F238E27FC236}">
                <a16:creationId xmlns:a16="http://schemas.microsoft.com/office/drawing/2014/main" id="{4F9404E1-8339-401B-8B10-4C7D1A8CEC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11211" y="4457881"/>
            <a:ext cx="66717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Red Bricks</a:t>
            </a:r>
          </a:p>
        </p:txBody>
      </p:sp>
      <p:sp>
        <p:nvSpPr>
          <p:cNvPr id="23652" name="TextBox 168">
            <a:extLst>
              <a:ext uri="{FF2B5EF4-FFF2-40B4-BE49-F238E27FC236}">
                <a16:creationId xmlns:a16="http://schemas.microsoft.com/office/drawing/2014/main" id="{1C04917D-B2C3-4C21-8CC2-A45C349B4B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65456" y="4457133"/>
            <a:ext cx="55175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Cassava</a:t>
            </a:r>
          </a:p>
        </p:txBody>
      </p:sp>
      <p:sp>
        <p:nvSpPr>
          <p:cNvPr id="23653" name="TextBox 169">
            <a:extLst>
              <a:ext uri="{FF2B5EF4-FFF2-40B4-BE49-F238E27FC236}">
                <a16:creationId xmlns:a16="http://schemas.microsoft.com/office/drawing/2014/main" id="{4BADA327-4F2D-4897-B7C0-4647A1484B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3926" y="4457973"/>
            <a:ext cx="56778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Tourism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8A28B48-1841-45BB-BFBC-EADE77B37C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6305697"/>
              </p:ext>
            </p:extLst>
          </p:nvPr>
        </p:nvGraphicFramePr>
        <p:xfrm>
          <a:off x="2779712" y="2589213"/>
          <a:ext cx="1482725" cy="812800"/>
        </p:xfrm>
        <a:graphic>
          <a:graphicData uri="http://schemas.openxmlformats.org/drawingml/2006/table">
            <a:tbl>
              <a:tblPr/>
              <a:tblGrid>
                <a:gridCol w="11367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9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32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GB" sz="1000" b="1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Domestic</a:t>
                      </a:r>
                      <a:r>
                        <a:rPr lang="en-GB" sz="10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US" sz="1000" b="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International 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Yes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Railway</a:t>
                      </a:r>
                      <a:r>
                        <a:rPr lang="en-GB" sz="1000" b="1" kern="1200" baseline="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 Station</a:t>
                      </a:r>
                      <a:endParaRPr lang="en-GB" sz="1000" b="1" kern="1200" dirty="0">
                        <a:solidFill>
                          <a:srgbClr val="292929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32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Sea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7" name="TextBox 136">
            <a:extLst>
              <a:ext uri="{FF2B5EF4-FFF2-40B4-BE49-F238E27FC236}">
                <a16:creationId xmlns:a16="http://schemas.microsoft.com/office/drawing/2014/main" id="{2F4C4876-7073-4C13-A183-127A8909BDC0}"/>
              </a:ext>
            </a:extLst>
          </p:cNvPr>
          <p:cNvSpPr txBox="1"/>
          <p:nvPr/>
        </p:nvSpPr>
        <p:spPr>
          <a:xfrm>
            <a:off x="538163" y="5268913"/>
            <a:ext cx="373856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For further details</a:t>
            </a:r>
          </a:p>
        </p:txBody>
      </p:sp>
      <p:sp>
        <p:nvSpPr>
          <p:cNvPr id="23676" name="TextBox 156">
            <a:extLst>
              <a:ext uri="{FF2B5EF4-FFF2-40B4-BE49-F238E27FC236}">
                <a16:creationId xmlns:a16="http://schemas.microsoft.com/office/drawing/2014/main" id="{95D66AAF-6B48-4B9E-9E5B-F1BB063A89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6300" y="6342063"/>
            <a:ext cx="37306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Abbreviations: </a:t>
            </a:r>
            <a:r>
              <a:rPr lang="en-GB" altLang="en-US" sz="800" b="1" dirty="0">
                <a:latin typeface="Calibri" panose="020F0502020204030204" pitchFamily="34" charset="0"/>
              </a:rPr>
              <a:t>	NICPS</a:t>
            </a:r>
            <a:r>
              <a:rPr lang="en-GB" altLang="en-US" sz="800" dirty="0">
                <a:latin typeface="Calibri" panose="020F0502020204030204" pitchFamily="34" charset="0"/>
              </a:rPr>
              <a:t>: Nigerian Investment Certification Programme for States                  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	</a:t>
            </a:r>
            <a:r>
              <a:rPr lang="en-GB" altLang="en-US" sz="800" b="1" dirty="0">
                <a:latin typeface="Calibri" panose="020F0502020204030204" pitchFamily="34" charset="0"/>
              </a:rPr>
              <a:t>IGR</a:t>
            </a:r>
            <a:r>
              <a:rPr lang="en-GB" altLang="en-US" sz="800" dirty="0">
                <a:latin typeface="Calibri" panose="020F0502020204030204" pitchFamily="34" charset="0"/>
              </a:rPr>
              <a:t>:     Internal Generated Revenue</a:t>
            </a:r>
          </a:p>
        </p:txBody>
      </p:sp>
      <p:sp>
        <p:nvSpPr>
          <p:cNvPr id="23678" name="TextBox 152">
            <a:extLst>
              <a:ext uri="{FF2B5EF4-FFF2-40B4-BE49-F238E27FC236}">
                <a16:creationId xmlns:a16="http://schemas.microsoft.com/office/drawing/2014/main" id="{BFAF6896-F732-45FC-AC47-950DF99D9E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4575" y="1158147"/>
            <a:ext cx="3446463" cy="18928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15888" indent="-11588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Abundant clay and coal deposi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Producer of beverages (Nigerian Breweries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Large melon seed producing stat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Tourist attraction (</a:t>
            </a:r>
            <a:r>
              <a:rPr lang="en-GB" sz="1300" dirty="0" err="1">
                <a:latin typeface="Calibri" panose="020F0502020204030204" pitchFamily="34" charset="0"/>
              </a:rPr>
              <a:t>Opi</a:t>
            </a:r>
            <a:r>
              <a:rPr lang="en-GB" sz="1300" dirty="0">
                <a:latin typeface="Calibri" panose="020F0502020204030204" pitchFamily="34" charset="0"/>
              </a:rPr>
              <a:t> lake complex)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</a:rPr>
              <a:t>Wind energy potential for generation of electricity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</a:rPr>
              <a:t>One of the top ten best states for tourist attraction in Nigeria</a:t>
            </a:r>
          </a:p>
          <a:p>
            <a:pPr marL="0" indent="0"/>
            <a:endParaRPr lang="en-GB" sz="1300" dirty="0">
              <a:latin typeface="Calibri" panose="020F0502020204030204" pitchFamily="34" charset="0"/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D4E23C6-26A0-4545-B8F7-7007C8EEBFE4}"/>
              </a:ext>
            </a:extLst>
          </p:cNvPr>
          <p:cNvSpPr txBox="1"/>
          <p:nvPr/>
        </p:nvSpPr>
        <p:spPr>
          <a:xfrm>
            <a:off x="4338638" y="5265738"/>
            <a:ext cx="247491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id you know?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132" name="Text Placeholder 42">
            <a:extLst>
              <a:ext uri="{FF2B5EF4-FFF2-40B4-BE49-F238E27FC236}">
                <a16:creationId xmlns:a16="http://schemas.microsoft.com/office/drawing/2014/main" id="{D510D0DC-1548-4249-8DB1-9A1055126D07}"/>
              </a:ext>
            </a:extLst>
          </p:cNvPr>
          <p:cNvSpPr txBox="1">
            <a:spLocks/>
          </p:cNvSpPr>
          <p:nvPr/>
        </p:nvSpPr>
        <p:spPr>
          <a:xfrm>
            <a:off x="522288" y="5511800"/>
            <a:ext cx="3733800" cy="701675"/>
          </a:xfrm>
          <a:prstGeom prst="rect">
            <a:avLst/>
          </a:prstGeom>
        </p:spPr>
        <p:txBody>
          <a:bodyPr lIns="36576" tIns="0" rIns="36576" bIns="0"/>
          <a:lstStyle>
            <a:lvl1pPr marL="0" indent="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/>
              <a:buNone/>
              <a:defRPr sz="800" b="1" baseline="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6575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93763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 charset="0"/>
              <a:buChar char="►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50950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619250" indent="-188913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0764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25336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29908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34480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NIGERIAN INVESTMENT PROMOTION COMMISSION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>
                <a:solidFill>
                  <a:schemeClr val="tx1"/>
                </a:solidFill>
                <a:hlinkClick r:id="rId7"/>
              </a:rPr>
              <a:t>statesco@nipc.gov.ng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endParaRPr lang="en-US" sz="5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ENUGU STATE INVESTMENT DEVELOPMENT AUTHORITY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>
                <a:solidFill>
                  <a:schemeClr val="tx1"/>
                </a:solidFill>
                <a:hlinkClick r:id="rId8"/>
              </a:rPr>
              <a:t>chibuzorokafor@enugustate.gov.ng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FF015425-7997-4612-9D0E-1F6C433DFCC7}"/>
              </a:ext>
            </a:extLst>
          </p:cNvPr>
          <p:cNvSpPr/>
          <p:nvPr/>
        </p:nvSpPr>
        <p:spPr>
          <a:xfrm>
            <a:off x="6080877" y="3040856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4C0B7457-CABD-4AC8-8A1A-1FD468581E4D}"/>
              </a:ext>
            </a:extLst>
          </p:cNvPr>
          <p:cNvSpPr/>
          <p:nvPr/>
        </p:nvSpPr>
        <p:spPr>
          <a:xfrm>
            <a:off x="6784796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2D626A89-F50C-45A3-9271-5D3F2EEA9C83}"/>
              </a:ext>
            </a:extLst>
          </p:cNvPr>
          <p:cNvSpPr/>
          <p:nvPr/>
        </p:nvSpPr>
        <p:spPr>
          <a:xfrm>
            <a:off x="7518399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240713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A62E850A-D87D-46D0-9257-0071E677FCF0}"/>
              </a:ext>
            </a:extLst>
          </p:cNvPr>
          <p:cNvSpPr/>
          <p:nvPr/>
        </p:nvSpPr>
        <p:spPr>
          <a:xfrm>
            <a:off x="8947150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4D1FAA17-3EFF-404B-B4C4-B468BCE2E9A5}"/>
              </a:ext>
            </a:extLst>
          </p:cNvPr>
          <p:cNvSpPr/>
          <p:nvPr/>
        </p:nvSpPr>
        <p:spPr>
          <a:xfrm>
            <a:off x="6078265" y="3836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E861211D-5D09-4577-8A09-FD96D972A5D4}"/>
              </a:ext>
            </a:extLst>
          </p:cNvPr>
          <p:cNvSpPr/>
          <p:nvPr/>
        </p:nvSpPr>
        <p:spPr>
          <a:xfrm>
            <a:off x="6780509" y="3833831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D9F8790B-E97D-4D8F-AD51-26FAFBF8CA40}"/>
              </a:ext>
            </a:extLst>
          </p:cNvPr>
          <p:cNvSpPr/>
          <p:nvPr/>
        </p:nvSpPr>
        <p:spPr>
          <a:xfrm>
            <a:off x="8946402" y="3833630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3CBEFD1C-6360-47CD-AEDD-DFB49FC0E0C7}"/>
              </a:ext>
            </a:extLst>
          </p:cNvPr>
          <p:cNvSpPr/>
          <p:nvPr/>
        </p:nvSpPr>
        <p:spPr>
          <a:xfrm>
            <a:off x="7518603" y="3830834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pic>
        <p:nvPicPr>
          <p:cNvPr id="134" name="Picture 133">
            <a:extLst>
              <a:ext uri="{FF2B5EF4-FFF2-40B4-BE49-F238E27FC236}">
                <a16:creationId xmlns:a16="http://schemas.microsoft.com/office/drawing/2014/main" id="{7E1A14F9-9A91-4185-BA70-A0597667EA2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146877" y="3125148"/>
            <a:ext cx="422642" cy="422642"/>
          </a:xfrm>
          <a:prstGeom prst="rect">
            <a:avLst/>
          </a:prstGeom>
        </p:spPr>
      </p:pic>
      <p:pic>
        <p:nvPicPr>
          <p:cNvPr id="135" name="Picture 3">
            <a:extLst>
              <a:ext uri="{FF2B5EF4-FFF2-40B4-BE49-F238E27FC236}">
                <a16:creationId xmlns:a16="http://schemas.microsoft.com/office/drawing/2014/main" id="{7455F852-3745-4C44-B5DF-6603FE7CA6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452" y="3028451"/>
            <a:ext cx="591301" cy="6051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2" name="Picture 141">
            <a:extLst>
              <a:ext uri="{FF2B5EF4-FFF2-40B4-BE49-F238E27FC236}">
                <a16:creationId xmlns:a16="http://schemas.microsoft.com/office/drawing/2014/main" id="{F4F80081-F7EE-4DDD-A59C-2852BCF54BEA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24078" t="13448" r="22861" b="10494"/>
          <a:stretch/>
        </p:blipFill>
        <p:spPr>
          <a:xfrm>
            <a:off x="7658043" y="3141880"/>
            <a:ext cx="344431" cy="421575"/>
          </a:xfrm>
          <a:prstGeom prst="rect">
            <a:avLst/>
          </a:prstGeom>
        </p:spPr>
      </p:pic>
      <p:pic>
        <p:nvPicPr>
          <p:cNvPr id="149" name="Picture 148">
            <a:extLst>
              <a:ext uri="{FF2B5EF4-FFF2-40B4-BE49-F238E27FC236}">
                <a16:creationId xmlns:a16="http://schemas.microsoft.com/office/drawing/2014/main" id="{874EFB5B-B656-497C-B93E-45485747F1CD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b="63861"/>
          <a:stretch/>
        </p:blipFill>
        <p:spPr>
          <a:xfrm>
            <a:off x="8300316" y="3253574"/>
            <a:ext cx="492325" cy="150941"/>
          </a:xfrm>
          <a:prstGeom prst="rect">
            <a:avLst/>
          </a:prstGeom>
        </p:spPr>
      </p:pic>
      <p:pic>
        <p:nvPicPr>
          <p:cNvPr id="150" name="Picture 149">
            <a:extLst>
              <a:ext uri="{FF2B5EF4-FFF2-40B4-BE49-F238E27FC236}">
                <a16:creationId xmlns:a16="http://schemas.microsoft.com/office/drawing/2014/main" id="{82D88438-A3E5-45C8-974C-D47A23A17E3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243750" y="3903805"/>
            <a:ext cx="574384" cy="382923"/>
          </a:xfrm>
          <a:prstGeom prst="rect">
            <a:avLst/>
          </a:prstGeom>
        </p:spPr>
      </p:pic>
      <p:pic>
        <p:nvPicPr>
          <p:cNvPr id="151" name="Picture 150">
            <a:extLst>
              <a:ext uri="{FF2B5EF4-FFF2-40B4-BE49-F238E27FC236}">
                <a16:creationId xmlns:a16="http://schemas.microsoft.com/office/drawing/2014/main" id="{2FC01A9F-3C71-45C4-B8E6-1B63CE516150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21904" r="19049"/>
          <a:stretch/>
        </p:blipFill>
        <p:spPr>
          <a:xfrm>
            <a:off x="6957076" y="3902717"/>
            <a:ext cx="273968" cy="463991"/>
          </a:xfrm>
          <a:prstGeom prst="rect">
            <a:avLst/>
          </a:prstGeom>
        </p:spPr>
      </p:pic>
      <p:sp>
        <p:nvSpPr>
          <p:cNvPr id="144" name="TextBox 143">
            <a:extLst>
              <a:ext uri="{FF2B5EF4-FFF2-40B4-BE49-F238E27FC236}">
                <a16:creationId xmlns:a16="http://schemas.microsoft.com/office/drawing/2014/main" id="{D0A41506-8873-4C2F-B45B-4459F0229CA3}"/>
              </a:ext>
            </a:extLst>
          </p:cNvPr>
          <p:cNvSpPr txBox="1"/>
          <p:nvPr/>
        </p:nvSpPr>
        <p:spPr>
          <a:xfrm>
            <a:off x="4374578" y="4541674"/>
            <a:ext cx="17988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te Investment Certification Process Not Started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302006" y="5418965"/>
            <a:ext cx="2557059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The name Enugu is derived from the two Igbo words </a:t>
            </a:r>
            <a:r>
              <a:rPr lang="en-US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Énú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Ụ́gwụ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́ meaning "hill top" denoting the state's hilly geography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15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07" t="3855" r="23426" b="17912"/>
          <a:stretch/>
        </p:blipFill>
        <p:spPr>
          <a:xfrm>
            <a:off x="7625379" y="3876479"/>
            <a:ext cx="366756" cy="556418"/>
          </a:xfrm>
          <a:prstGeom prst="rect">
            <a:avLst/>
          </a:prstGeom>
        </p:spPr>
      </p:pic>
      <p:pic>
        <p:nvPicPr>
          <p:cNvPr id="148" name="Picture 147"/>
          <p:cNvPicPr>
            <a:picLocks noChangeAspect="1"/>
          </p:cNvPicPr>
          <p:nvPr/>
        </p:nvPicPr>
        <p:blipFill rotWithShape="1">
          <a:blip r:embed="rId1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95" t="6105" r="11379" b="20321"/>
          <a:stretch/>
        </p:blipFill>
        <p:spPr>
          <a:xfrm>
            <a:off x="9024522" y="3083485"/>
            <a:ext cx="454796" cy="436681"/>
          </a:xfrm>
          <a:prstGeom prst="rect">
            <a:avLst/>
          </a:prstGeom>
        </p:spPr>
      </p:pic>
      <p:pic>
        <p:nvPicPr>
          <p:cNvPr id="152" name="Picture 151"/>
          <p:cNvPicPr>
            <a:picLocks noChangeAspect="1"/>
          </p:cNvPicPr>
          <p:nvPr/>
        </p:nvPicPr>
        <p:blipFill rotWithShape="1">
          <a:blip r:embed="rId17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90" t="4016" r="6399" b="19197"/>
          <a:stretch/>
        </p:blipFill>
        <p:spPr>
          <a:xfrm>
            <a:off x="8963061" y="3909864"/>
            <a:ext cx="538291" cy="47125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197488" y="3889391"/>
            <a:ext cx="420660" cy="48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812615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Pentagon 19">
            <a:extLst>
              <a:ext uri="{FF2B5EF4-FFF2-40B4-BE49-F238E27FC236}">
                <a16:creationId xmlns:a16="http://schemas.microsoft.com/office/drawing/2014/main" id="{CAD93C59-72A9-4F6D-A654-02B9F8A5EFF9}"/>
              </a:ext>
            </a:extLst>
          </p:cNvPr>
          <p:cNvSpPr>
            <a:spLocks/>
          </p:cNvSpPr>
          <p:nvPr/>
        </p:nvSpPr>
        <p:spPr bwMode="auto">
          <a:xfrm>
            <a:off x="756602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4 of 37</a:t>
            </a:r>
          </a:p>
        </p:txBody>
      </p:sp>
      <p:sp>
        <p:nvSpPr>
          <p:cNvPr id="376" name="Pentagon 19">
            <a:extLst>
              <a:ext uri="{FF2B5EF4-FFF2-40B4-BE49-F238E27FC236}">
                <a16:creationId xmlns:a16="http://schemas.microsoft.com/office/drawing/2014/main" id="{1BDC5465-6022-4404-B4D8-ED55CF961B8A}"/>
              </a:ext>
            </a:extLst>
          </p:cNvPr>
          <p:cNvSpPr>
            <a:spLocks/>
          </p:cNvSpPr>
          <p:nvPr/>
        </p:nvSpPr>
        <p:spPr bwMode="auto">
          <a:xfrm>
            <a:off x="824865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7 of 3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57F1EBC-D01A-4083-B657-63AFB1490839}"/>
              </a:ext>
            </a:extLst>
          </p:cNvPr>
          <p:cNvSpPr txBox="1"/>
          <p:nvPr/>
        </p:nvSpPr>
        <p:spPr>
          <a:xfrm>
            <a:off x="6122988" y="2749550"/>
            <a:ext cx="3475037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nvestment Opportunit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D251BD-538A-4F4F-847E-620EEDA298A0}"/>
              </a:ext>
            </a:extLst>
          </p:cNvPr>
          <p:cNvSpPr txBox="1"/>
          <p:nvPr/>
        </p:nvSpPr>
        <p:spPr>
          <a:xfrm>
            <a:off x="6881813" y="4632911"/>
            <a:ext cx="2697162" cy="33855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oing Business Ranking(2018)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1B8F13C-F732-4DA1-9250-DB02936E7688}"/>
              </a:ext>
            </a:extLst>
          </p:cNvPr>
          <p:cNvSpPr/>
          <p:nvPr/>
        </p:nvSpPr>
        <p:spPr>
          <a:xfrm>
            <a:off x="756602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Registering Propert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6BA1818-32ED-44D1-975C-958200BDD124}"/>
              </a:ext>
            </a:extLst>
          </p:cNvPr>
          <p:cNvSpPr/>
          <p:nvPr/>
        </p:nvSpPr>
        <p:spPr>
          <a:xfrm>
            <a:off x="8248650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Dealing with Construction Permits</a:t>
            </a:r>
          </a:p>
        </p:txBody>
      </p:sp>
      <p:sp>
        <p:nvSpPr>
          <p:cNvPr id="23560" name="TextBox 174">
            <a:extLst>
              <a:ext uri="{FF2B5EF4-FFF2-40B4-BE49-F238E27FC236}">
                <a16:creationId xmlns:a16="http://schemas.microsoft.com/office/drawing/2014/main" id="{1573FD4E-62B9-45E8-8F28-CED990ED2D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0B63A6C-2A5E-4CA3-BC66-4CBC6008BC9A}"/>
              </a:ext>
            </a:extLst>
          </p:cNvPr>
          <p:cNvSpPr/>
          <p:nvPr/>
        </p:nvSpPr>
        <p:spPr>
          <a:xfrm>
            <a:off x="893127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Enforcing Contracts</a:t>
            </a:r>
          </a:p>
        </p:txBody>
      </p:sp>
      <p:pic>
        <p:nvPicPr>
          <p:cNvPr id="23562" name="Picture 4">
            <a:extLst>
              <a:ext uri="{FF2B5EF4-FFF2-40B4-BE49-F238E27FC236}">
                <a16:creationId xmlns:a16="http://schemas.microsoft.com/office/drawing/2014/main" id="{7C8EEAB2-0239-4BB5-94B3-23E319AF1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513" y="5249863"/>
            <a:ext cx="439737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6" name="Pentagon 19">
            <a:extLst>
              <a:ext uri="{FF2B5EF4-FFF2-40B4-BE49-F238E27FC236}">
                <a16:creationId xmlns:a16="http://schemas.microsoft.com/office/drawing/2014/main" id="{5F8E9670-D71A-4765-B6B5-D711BC9AD6E1}"/>
              </a:ext>
            </a:extLst>
          </p:cNvPr>
          <p:cNvSpPr>
            <a:spLocks/>
          </p:cNvSpPr>
          <p:nvPr/>
        </p:nvSpPr>
        <p:spPr bwMode="auto">
          <a:xfrm>
            <a:off x="893127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7</a:t>
            </a:r>
            <a:r>
              <a:rPr lang="en-GB" sz="1000" baseline="3000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of 37</a:t>
            </a:r>
          </a:p>
        </p:txBody>
      </p:sp>
      <p:sp>
        <p:nvSpPr>
          <p:cNvPr id="23564" name="Title 3">
            <a:extLst>
              <a:ext uri="{FF2B5EF4-FFF2-40B4-BE49-F238E27FC236}">
                <a16:creationId xmlns:a16="http://schemas.microsoft.com/office/drawing/2014/main" id="{C62A749B-CFC7-4224-A789-D20A772AC33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77813" y="222250"/>
            <a:ext cx="8543925" cy="5619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en-GB" alt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ederal Capital Territory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6882DF2C-9120-4A66-8487-575D9494F4D6}"/>
              </a:ext>
            </a:extLst>
          </p:cNvPr>
          <p:cNvSpPr txBox="1"/>
          <p:nvPr/>
        </p:nvSpPr>
        <p:spPr>
          <a:xfrm rot="16200000">
            <a:off x="-2290084" y="3478372"/>
            <a:ext cx="5303837" cy="2743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apital City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grpSp>
        <p:nvGrpSpPr>
          <p:cNvPr id="23566" name="Group 9">
            <a:extLst>
              <a:ext uri="{FF2B5EF4-FFF2-40B4-BE49-F238E27FC236}">
                <a16:creationId xmlns:a16="http://schemas.microsoft.com/office/drawing/2014/main" id="{5B6131BD-3CE3-4FC4-B13A-FA9B797C1EF5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41338" y="963613"/>
            <a:ext cx="2897187" cy="2319337"/>
            <a:chOff x="770228" y="1459989"/>
            <a:chExt cx="4081047" cy="3267527"/>
          </a:xfrm>
        </p:grpSpPr>
        <p:sp>
          <p:nvSpPr>
            <p:cNvPr id="299" name="Freeform 4">
              <a:extLst>
                <a:ext uri="{FF2B5EF4-FFF2-40B4-BE49-F238E27FC236}">
                  <a16:creationId xmlns:a16="http://schemas.microsoft.com/office/drawing/2014/main" id="{B6150C82-CBE5-48B4-B60C-C210BB7B26A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91538" y="4349548"/>
              <a:ext cx="418167" cy="377968"/>
            </a:xfrm>
            <a:custGeom>
              <a:avLst/>
              <a:gdLst>
                <a:gd name="T0" fmla="*/ 12 w 786"/>
                <a:gd name="T1" fmla="*/ 19 h 714"/>
                <a:gd name="T2" fmla="*/ 22 w 786"/>
                <a:gd name="T3" fmla="*/ 18 h 714"/>
                <a:gd name="T4" fmla="*/ 27 w 786"/>
                <a:gd name="T5" fmla="*/ 17 h 714"/>
                <a:gd name="T6" fmla="*/ 30 w 786"/>
                <a:gd name="T7" fmla="*/ 14 h 714"/>
                <a:gd name="T8" fmla="*/ 37 w 786"/>
                <a:gd name="T9" fmla="*/ 16 h 714"/>
                <a:gd name="T10" fmla="*/ 43 w 786"/>
                <a:gd name="T11" fmla="*/ 13 h 714"/>
                <a:gd name="T12" fmla="*/ 48 w 786"/>
                <a:gd name="T13" fmla="*/ 8 h 714"/>
                <a:gd name="T14" fmla="*/ 55 w 786"/>
                <a:gd name="T15" fmla="*/ 4 h 714"/>
                <a:gd name="T16" fmla="*/ 66 w 786"/>
                <a:gd name="T17" fmla="*/ 0 h 714"/>
                <a:gd name="T18" fmla="*/ 63 w 786"/>
                <a:gd name="T19" fmla="*/ 12 h 714"/>
                <a:gd name="T20" fmla="*/ 59 w 786"/>
                <a:gd name="T21" fmla="*/ 19 h 714"/>
                <a:gd name="T22" fmla="*/ 57 w 786"/>
                <a:gd name="T23" fmla="*/ 29 h 714"/>
                <a:gd name="T24" fmla="*/ 59 w 786"/>
                <a:gd name="T25" fmla="*/ 36 h 714"/>
                <a:gd name="T26" fmla="*/ 66 w 786"/>
                <a:gd name="T27" fmla="*/ 35 h 714"/>
                <a:gd name="T28" fmla="*/ 64 w 786"/>
                <a:gd name="T29" fmla="*/ 41 h 714"/>
                <a:gd name="T30" fmla="*/ 64 w 786"/>
                <a:gd name="T31" fmla="*/ 48 h 714"/>
                <a:gd name="T32" fmla="*/ 63 w 786"/>
                <a:gd name="T33" fmla="*/ 56 h 714"/>
                <a:gd name="T34" fmla="*/ 60 w 786"/>
                <a:gd name="T35" fmla="*/ 60 h 714"/>
                <a:gd name="T36" fmla="*/ 57 w 786"/>
                <a:gd name="T37" fmla="*/ 58 h 714"/>
                <a:gd name="T38" fmla="*/ 54 w 786"/>
                <a:gd name="T39" fmla="*/ 54 h 714"/>
                <a:gd name="T40" fmla="*/ 53 w 786"/>
                <a:gd name="T41" fmla="*/ 51 h 714"/>
                <a:gd name="T42" fmla="*/ 51 w 786"/>
                <a:gd name="T43" fmla="*/ 53 h 714"/>
                <a:gd name="T44" fmla="*/ 49 w 786"/>
                <a:gd name="T45" fmla="*/ 54 h 714"/>
                <a:gd name="T46" fmla="*/ 47 w 786"/>
                <a:gd name="T47" fmla="*/ 50 h 714"/>
                <a:gd name="T48" fmla="*/ 48 w 786"/>
                <a:gd name="T49" fmla="*/ 54 h 714"/>
                <a:gd name="T50" fmla="*/ 47 w 786"/>
                <a:gd name="T51" fmla="*/ 54 h 714"/>
                <a:gd name="T52" fmla="*/ 46 w 786"/>
                <a:gd name="T53" fmla="*/ 59 h 714"/>
                <a:gd name="T54" fmla="*/ 47 w 786"/>
                <a:gd name="T55" fmla="*/ 62 h 714"/>
                <a:gd name="T56" fmla="*/ 42 w 786"/>
                <a:gd name="T57" fmla="*/ 62 h 714"/>
                <a:gd name="T58" fmla="*/ 39 w 786"/>
                <a:gd name="T59" fmla="*/ 57 h 714"/>
                <a:gd name="T60" fmla="*/ 40 w 786"/>
                <a:gd name="T61" fmla="*/ 54 h 714"/>
                <a:gd name="T62" fmla="*/ 43 w 786"/>
                <a:gd name="T63" fmla="*/ 55 h 714"/>
                <a:gd name="T64" fmla="*/ 40 w 786"/>
                <a:gd name="T65" fmla="*/ 53 h 714"/>
                <a:gd name="T66" fmla="*/ 38 w 786"/>
                <a:gd name="T67" fmla="*/ 57 h 714"/>
                <a:gd name="T68" fmla="*/ 37 w 786"/>
                <a:gd name="T69" fmla="*/ 57 h 714"/>
                <a:gd name="T70" fmla="*/ 37 w 786"/>
                <a:gd name="T71" fmla="*/ 60 h 714"/>
                <a:gd name="T72" fmla="*/ 33 w 786"/>
                <a:gd name="T73" fmla="*/ 56 h 714"/>
                <a:gd name="T74" fmla="*/ 32 w 786"/>
                <a:gd name="T75" fmla="*/ 58 h 714"/>
                <a:gd name="T76" fmla="*/ 26 w 786"/>
                <a:gd name="T77" fmla="*/ 54 h 714"/>
                <a:gd name="T78" fmla="*/ 26 w 786"/>
                <a:gd name="T79" fmla="*/ 54 h 714"/>
                <a:gd name="T80" fmla="*/ 24 w 786"/>
                <a:gd name="T81" fmla="*/ 51 h 714"/>
                <a:gd name="T82" fmla="*/ 22 w 786"/>
                <a:gd name="T83" fmla="*/ 51 h 714"/>
                <a:gd name="T84" fmla="*/ 20 w 786"/>
                <a:gd name="T85" fmla="*/ 50 h 714"/>
                <a:gd name="T86" fmla="*/ 20 w 786"/>
                <a:gd name="T87" fmla="*/ 48 h 714"/>
                <a:gd name="T88" fmla="*/ 18 w 786"/>
                <a:gd name="T89" fmla="*/ 47 h 714"/>
                <a:gd name="T90" fmla="*/ 15 w 786"/>
                <a:gd name="T91" fmla="*/ 45 h 714"/>
                <a:gd name="T92" fmla="*/ 11 w 786"/>
                <a:gd name="T93" fmla="*/ 39 h 714"/>
                <a:gd name="T94" fmla="*/ 12 w 786"/>
                <a:gd name="T95" fmla="*/ 36 h 714"/>
                <a:gd name="T96" fmla="*/ 7 w 786"/>
                <a:gd name="T97" fmla="*/ 33 h 714"/>
                <a:gd name="T98" fmla="*/ 5 w 786"/>
                <a:gd name="T99" fmla="*/ 28 h 714"/>
                <a:gd name="T100" fmla="*/ 7 w 786"/>
                <a:gd name="T101" fmla="*/ 30 h 714"/>
                <a:gd name="T102" fmla="*/ 4 w 786"/>
                <a:gd name="T103" fmla="*/ 24 h 714"/>
                <a:gd name="T104" fmla="*/ 2 w 786"/>
                <a:gd name="T105" fmla="*/ 20 h 714"/>
                <a:gd name="T106" fmla="*/ 0 w 786"/>
                <a:gd name="T107" fmla="*/ 15 h 714"/>
                <a:gd name="T108" fmla="*/ 4 w 786"/>
                <a:gd name="T109" fmla="*/ 16 h 714"/>
                <a:gd name="T110" fmla="*/ 55 w 786"/>
                <a:gd name="T111" fmla="*/ 60 h 714"/>
                <a:gd name="T112" fmla="*/ 47 w 786"/>
                <a:gd name="T113" fmla="*/ 60 h 714"/>
                <a:gd name="T114" fmla="*/ 51 w 786"/>
                <a:gd name="T115" fmla="*/ 54 h 714"/>
                <a:gd name="T116" fmla="*/ 54 w 786"/>
                <a:gd name="T117" fmla="*/ 56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86"/>
                <a:gd name="T178" fmla="*/ 0 h 714"/>
                <a:gd name="T179" fmla="*/ 786 w 786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86" h="714">
                  <a:moveTo>
                    <a:pt x="54" y="186"/>
                  </a:moveTo>
                  <a:lnTo>
                    <a:pt x="54" y="192"/>
                  </a:lnTo>
                  <a:lnTo>
                    <a:pt x="72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204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20" y="210"/>
                  </a:lnTo>
                  <a:lnTo>
                    <a:pt x="126" y="210"/>
                  </a:lnTo>
                  <a:lnTo>
                    <a:pt x="132" y="210"/>
                  </a:lnTo>
                  <a:lnTo>
                    <a:pt x="132" y="216"/>
                  </a:lnTo>
                  <a:lnTo>
                    <a:pt x="138" y="222"/>
                  </a:lnTo>
                  <a:lnTo>
                    <a:pt x="150" y="222"/>
                  </a:lnTo>
                  <a:lnTo>
                    <a:pt x="162" y="234"/>
                  </a:lnTo>
                  <a:lnTo>
                    <a:pt x="168" y="240"/>
                  </a:lnTo>
                  <a:lnTo>
                    <a:pt x="180" y="240"/>
                  </a:lnTo>
                  <a:lnTo>
                    <a:pt x="186" y="228"/>
                  </a:lnTo>
                  <a:lnTo>
                    <a:pt x="210" y="234"/>
                  </a:lnTo>
                  <a:lnTo>
                    <a:pt x="222" y="228"/>
                  </a:lnTo>
                  <a:lnTo>
                    <a:pt x="228" y="216"/>
                  </a:lnTo>
                  <a:lnTo>
                    <a:pt x="234" y="210"/>
                  </a:lnTo>
                  <a:lnTo>
                    <a:pt x="240" y="216"/>
                  </a:lnTo>
                  <a:lnTo>
                    <a:pt x="246" y="210"/>
                  </a:lnTo>
                  <a:lnTo>
                    <a:pt x="252" y="210"/>
                  </a:lnTo>
                  <a:lnTo>
                    <a:pt x="258" y="210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192"/>
                  </a:lnTo>
                  <a:lnTo>
                    <a:pt x="270" y="192"/>
                  </a:lnTo>
                  <a:lnTo>
                    <a:pt x="276" y="192"/>
                  </a:lnTo>
                  <a:lnTo>
                    <a:pt x="282" y="192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192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198"/>
                  </a:lnTo>
                  <a:lnTo>
                    <a:pt x="312" y="198"/>
                  </a:lnTo>
                  <a:lnTo>
                    <a:pt x="312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24" y="186"/>
                  </a:lnTo>
                  <a:lnTo>
                    <a:pt x="318" y="180"/>
                  </a:lnTo>
                  <a:lnTo>
                    <a:pt x="324" y="180"/>
                  </a:lnTo>
                  <a:lnTo>
                    <a:pt x="330" y="186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74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54" y="144"/>
                  </a:lnTo>
                  <a:lnTo>
                    <a:pt x="360" y="144"/>
                  </a:lnTo>
                  <a:lnTo>
                    <a:pt x="372" y="156"/>
                  </a:lnTo>
                  <a:lnTo>
                    <a:pt x="372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96" y="168"/>
                  </a:lnTo>
                  <a:lnTo>
                    <a:pt x="396" y="174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26" y="186"/>
                  </a:lnTo>
                  <a:lnTo>
                    <a:pt x="432" y="186"/>
                  </a:lnTo>
                  <a:lnTo>
                    <a:pt x="438" y="180"/>
                  </a:lnTo>
                  <a:lnTo>
                    <a:pt x="438" y="168"/>
                  </a:lnTo>
                  <a:lnTo>
                    <a:pt x="438" y="162"/>
                  </a:lnTo>
                  <a:lnTo>
                    <a:pt x="444" y="156"/>
                  </a:lnTo>
                  <a:lnTo>
                    <a:pt x="450" y="156"/>
                  </a:lnTo>
                  <a:lnTo>
                    <a:pt x="456" y="150"/>
                  </a:lnTo>
                  <a:lnTo>
                    <a:pt x="462" y="156"/>
                  </a:lnTo>
                  <a:lnTo>
                    <a:pt x="468" y="162"/>
                  </a:lnTo>
                  <a:lnTo>
                    <a:pt x="474" y="162"/>
                  </a:lnTo>
                  <a:lnTo>
                    <a:pt x="486" y="162"/>
                  </a:lnTo>
                  <a:lnTo>
                    <a:pt x="492" y="156"/>
                  </a:lnTo>
                  <a:lnTo>
                    <a:pt x="498" y="150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28" y="126"/>
                  </a:lnTo>
                  <a:lnTo>
                    <a:pt x="522" y="120"/>
                  </a:lnTo>
                  <a:lnTo>
                    <a:pt x="522" y="114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28" y="102"/>
                  </a:lnTo>
                  <a:lnTo>
                    <a:pt x="534" y="96"/>
                  </a:lnTo>
                  <a:lnTo>
                    <a:pt x="552" y="96"/>
                  </a:lnTo>
                  <a:lnTo>
                    <a:pt x="570" y="102"/>
                  </a:lnTo>
                  <a:lnTo>
                    <a:pt x="582" y="96"/>
                  </a:lnTo>
                  <a:lnTo>
                    <a:pt x="582" y="90"/>
                  </a:lnTo>
                  <a:lnTo>
                    <a:pt x="582" y="78"/>
                  </a:lnTo>
                  <a:lnTo>
                    <a:pt x="582" y="72"/>
                  </a:lnTo>
                  <a:lnTo>
                    <a:pt x="582" y="66"/>
                  </a:lnTo>
                  <a:lnTo>
                    <a:pt x="594" y="60"/>
                  </a:lnTo>
                  <a:lnTo>
                    <a:pt x="600" y="60"/>
                  </a:lnTo>
                  <a:lnTo>
                    <a:pt x="606" y="54"/>
                  </a:lnTo>
                  <a:lnTo>
                    <a:pt x="618" y="48"/>
                  </a:lnTo>
                  <a:lnTo>
                    <a:pt x="618" y="42"/>
                  </a:lnTo>
                  <a:lnTo>
                    <a:pt x="624" y="42"/>
                  </a:lnTo>
                  <a:lnTo>
                    <a:pt x="636" y="48"/>
                  </a:lnTo>
                  <a:lnTo>
                    <a:pt x="648" y="54"/>
                  </a:lnTo>
                  <a:lnTo>
                    <a:pt x="660" y="54"/>
                  </a:lnTo>
                  <a:lnTo>
                    <a:pt x="666" y="60"/>
                  </a:lnTo>
                  <a:lnTo>
                    <a:pt x="672" y="54"/>
                  </a:lnTo>
                  <a:lnTo>
                    <a:pt x="684" y="48"/>
                  </a:lnTo>
                  <a:lnTo>
                    <a:pt x="708" y="42"/>
                  </a:lnTo>
                  <a:lnTo>
                    <a:pt x="714" y="42"/>
                  </a:lnTo>
                  <a:lnTo>
                    <a:pt x="720" y="36"/>
                  </a:lnTo>
                  <a:lnTo>
                    <a:pt x="720" y="30"/>
                  </a:lnTo>
                  <a:lnTo>
                    <a:pt x="714" y="12"/>
                  </a:lnTo>
                  <a:lnTo>
                    <a:pt x="708" y="0"/>
                  </a:lnTo>
                  <a:lnTo>
                    <a:pt x="738" y="6"/>
                  </a:lnTo>
                  <a:lnTo>
                    <a:pt x="756" y="6"/>
                  </a:lnTo>
                  <a:lnTo>
                    <a:pt x="762" y="42"/>
                  </a:lnTo>
                  <a:lnTo>
                    <a:pt x="738" y="72"/>
                  </a:lnTo>
                  <a:lnTo>
                    <a:pt x="750" y="90"/>
                  </a:lnTo>
                  <a:lnTo>
                    <a:pt x="762" y="96"/>
                  </a:lnTo>
                  <a:lnTo>
                    <a:pt x="756" y="102"/>
                  </a:lnTo>
                  <a:lnTo>
                    <a:pt x="750" y="108"/>
                  </a:lnTo>
                  <a:lnTo>
                    <a:pt x="750" y="114"/>
                  </a:lnTo>
                  <a:lnTo>
                    <a:pt x="750" y="120"/>
                  </a:lnTo>
                  <a:lnTo>
                    <a:pt x="750" y="126"/>
                  </a:lnTo>
                  <a:lnTo>
                    <a:pt x="750" y="132"/>
                  </a:lnTo>
                  <a:lnTo>
                    <a:pt x="738" y="132"/>
                  </a:lnTo>
                  <a:lnTo>
                    <a:pt x="732" y="138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14" y="144"/>
                  </a:lnTo>
                  <a:lnTo>
                    <a:pt x="714" y="150"/>
                  </a:lnTo>
                  <a:lnTo>
                    <a:pt x="720" y="156"/>
                  </a:lnTo>
                  <a:lnTo>
                    <a:pt x="720" y="162"/>
                  </a:lnTo>
                  <a:lnTo>
                    <a:pt x="714" y="162"/>
                  </a:lnTo>
                  <a:lnTo>
                    <a:pt x="708" y="168"/>
                  </a:lnTo>
                  <a:lnTo>
                    <a:pt x="708" y="180"/>
                  </a:lnTo>
                  <a:lnTo>
                    <a:pt x="708" y="192"/>
                  </a:lnTo>
                  <a:lnTo>
                    <a:pt x="696" y="198"/>
                  </a:lnTo>
                  <a:lnTo>
                    <a:pt x="696" y="204"/>
                  </a:lnTo>
                  <a:lnTo>
                    <a:pt x="684" y="210"/>
                  </a:lnTo>
                  <a:lnTo>
                    <a:pt x="684" y="216"/>
                  </a:lnTo>
                  <a:lnTo>
                    <a:pt x="684" y="222"/>
                  </a:lnTo>
                  <a:lnTo>
                    <a:pt x="678" y="228"/>
                  </a:lnTo>
                  <a:lnTo>
                    <a:pt x="678" y="234"/>
                  </a:lnTo>
                  <a:lnTo>
                    <a:pt x="672" y="240"/>
                  </a:lnTo>
                  <a:lnTo>
                    <a:pt x="672" y="252"/>
                  </a:lnTo>
                  <a:lnTo>
                    <a:pt x="672" y="258"/>
                  </a:lnTo>
                  <a:lnTo>
                    <a:pt x="666" y="264"/>
                  </a:lnTo>
                  <a:lnTo>
                    <a:pt x="678" y="264"/>
                  </a:lnTo>
                  <a:lnTo>
                    <a:pt x="684" y="276"/>
                  </a:lnTo>
                  <a:lnTo>
                    <a:pt x="684" y="288"/>
                  </a:lnTo>
                  <a:lnTo>
                    <a:pt x="672" y="300"/>
                  </a:lnTo>
                  <a:lnTo>
                    <a:pt x="660" y="318"/>
                  </a:lnTo>
                  <a:lnTo>
                    <a:pt x="660" y="336"/>
                  </a:lnTo>
                  <a:lnTo>
                    <a:pt x="654" y="342"/>
                  </a:lnTo>
                  <a:lnTo>
                    <a:pt x="660" y="354"/>
                  </a:lnTo>
                  <a:lnTo>
                    <a:pt x="660" y="366"/>
                  </a:lnTo>
                  <a:lnTo>
                    <a:pt x="666" y="378"/>
                  </a:lnTo>
                  <a:lnTo>
                    <a:pt x="672" y="390"/>
                  </a:lnTo>
                  <a:lnTo>
                    <a:pt x="678" y="396"/>
                  </a:lnTo>
                  <a:lnTo>
                    <a:pt x="684" y="390"/>
                  </a:lnTo>
                  <a:lnTo>
                    <a:pt x="690" y="390"/>
                  </a:lnTo>
                  <a:lnTo>
                    <a:pt x="690" y="396"/>
                  </a:lnTo>
                  <a:lnTo>
                    <a:pt x="684" y="396"/>
                  </a:lnTo>
                  <a:lnTo>
                    <a:pt x="684" y="402"/>
                  </a:lnTo>
                  <a:lnTo>
                    <a:pt x="684" y="408"/>
                  </a:lnTo>
                  <a:lnTo>
                    <a:pt x="678" y="414"/>
                  </a:lnTo>
                  <a:lnTo>
                    <a:pt x="684" y="414"/>
                  </a:lnTo>
                  <a:lnTo>
                    <a:pt x="684" y="420"/>
                  </a:lnTo>
                  <a:lnTo>
                    <a:pt x="684" y="426"/>
                  </a:lnTo>
                  <a:lnTo>
                    <a:pt x="690" y="420"/>
                  </a:lnTo>
                  <a:lnTo>
                    <a:pt x="696" y="420"/>
                  </a:lnTo>
                  <a:lnTo>
                    <a:pt x="696" y="426"/>
                  </a:lnTo>
                  <a:lnTo>
                    <a:pt x="690" y="426"/>
                  </a:lnTo>
                  <a:lnTo>
                    <a:pt x="696" y="426"/>
                  </a:lnTo>
                  <a:lnTo>
                    <a:pt x="708" y="426"/>
                  </a:lnTo>
                  <a:lnTo>
                    <a:pt x="726" y="414"/>
                  </a:lnTo>
                  <a:lnTo>
                    <a:pt x="732" y="408"/>
                  </a:lnTo>
                  <a:lnTo>
                    <a:pt x="744" y="402"/>
                  </a:lnTo>
                  <a:lnTo>
                    <a:pt x="756" y="402"/>
                  </a:lnTo>
                  <a:lnTo>
                    <a:pt x="768" y="402"/>
                  </a:lnTo>
                  <a:lnTo>
                    <a:pt x="786" y="408"/>
                  </a:lnTo>
                  <a:lnTo>
                    <a:pt x="786" y="414"/>
                  </a:lnTo>
                  <a:lnTo>
                    <a:pt x="774" y="420"/>
                  </a:lnTo>
                  <a:lnTo>
                    <a:pt x="774" y="426"/>
                  </a:lnTo>
                  <a:lnTo>
                    <a:pt x="768" y="432"/>
                  </a:lnTo>
                  <a:lnTo>
                    <a:pt x="762" y="438"/>
                  </a:lnTo>
                  <a:lnTo>
                    <a:pt x="756" y="438"/>
                  </a:lnTo>
                  <a:lnTo>
                    <a:pt x="756" y="444"/>
                  </a:lnTo>
                  <a:lnTo>
                    <a:pt x="756" y="450"/>
                  </a:lnTo>
                  <a:lnTo>
                    <a:pt x="762" y="450"/>
                  </a:lnTo>
                  <a:lnTo>
                    <a:pt x="750" y="456"/>
                  </a:lnTo>
                  <a:lnTo>
                    <a:pt x="738" y="468"/>
                  </a:lnTo>
                  <a:lnTo>
                    <a:pt x="726" y="480"/>
                  </a:lnTo>
                  <a:lnTo>
                    <a:pt x="726" y="486"/>
                  </a:lnTo>
                  <a:lnTo>
                    <a:pt x="732" y="486"/>
                  </a:lnTo>
                  <a:lnTo>
                    <a:pt x="732" y="492"/>
                  </a:lnTo>
                  <a:lnTo>
                    <a:pt x="732" y="504"/>
                  </a:lnTo>
                  <a:lnTo>
                    <a:pt x="738" y="504"/>
                  </a:lnTo>
                  <a:lnTo>
                    <a:pt x="744" y="510"/>
                  </a:lnTo>
                  <a:lnTo>
                    <a:pt x="738" y="522"/>
                  </a:lnTo>
                  <a:lnTo>
                    <a:pt x="744" y="528"/>
                  </a:lnTo>
                  <a:lnTo>
                    <a:pt x="756" y="534"/>
                  </a:lnTo>
                  <a:lnTo>
                    <a:pt x="756" y="540"/>
                  </a:lnTo>
                  <a:lnTo>
                    <a:pt x="744" y="552"/>
                  </a:lnTo>
                  <a:lnTo>
                    <a:pt x="738" y="552"/>
                  </a:lnTo>
                  <a:lnTo>
                    <a:pt x="738" y="558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64"/>
                  </a:lnTo>
                  <a:lnTo>
                    <a:pt x="744" y="576"/>
                  </a:lnTo>
                  <a:lnTo>
                    <a:pt x="738" y="588"/>
                  </a:lnTo>
                  <a:lnTo>
                    <a:pt x="738" y="594"/>
                  </a:lnTo>
                  <a:lnTo>
                    <a:pt x="738" y="600"/>
                  </a:lnTo>
                  <a:lnTo>
                    <a:pt x="738" y="606"/>
                  </a:lnTo>
                  <a:lnTo>
                    <a:pt x="732" y="612"/>
                  </a:lnTo>
                  <a:lnTo>
                    <a:pt x="726" y="624"/>
                  </a:lnTo>
                  <a:lnTo>
                    <a:pt x="726" y="636"/>
                  </a:lnTo>
                  <a:lnTo>
                    <a:pt x="726" y="648"/>
                  </a:lnTo>
                  <a:lnTo>
                    <a:pt x="738" y="654"/>
                  </a:lnTo>
                  <a:lnTo>
                    <a:pt x="750" y="660"/>
                  </a:lnTo>
                  <a:lnTo>
                    <a:pt x="750" y="666"/>
                  </a:lnTo>
                  <a:lnTo>
                    <a:pt x="750" y="678"/>
                  </a:lnTo>
                  <a:lnTo>
                    <a:pt x="744" y="678"/>
                  </a:lnTo>
                  <a:lnTo>
                    <a:pt x="738" y="684"/>
                  </a:lnTo>
                  <a:lnTo>
                    <a:pt x="732" y="684"/>
                  </a:lnTo>
                  <a:lnTo>
                    <a:pt x="720" y="678"/>
                  </a:lnTo>
                  <a:lnTo>
                    <a:pt x="714" y="684"/>
                  </a:lnTo>
                  <a:lnTo>
                    <a:pt x="708" y="684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0" y="690"/>
                  </a:lnTo>
                  <a:lnTo>
                    <a:pt x="690" y="684"/>
                  </a:lnTo>
                  <a:lnTo>
                    <a:pt x="690" y="690"/>
                  </a:lnTo>
                  <a:lnTo>
                    <a:pt x="684" y="690"/>
                  </a:lnTo>
                  <a:lnTo>
                    <a:pt x="684" y="684"/>
                  </a:lnTo>
                  <a:lnTo>
                    <a:pt x="678" y="684"/>
                  </a:lnTo>
                  <a:lnTo>
                    <a:pt x="672" y="678"/>
                  </a:lnTo>
                  <a:lnTo>
                    <a:pt x="672" y="672"/>
                  </a:lnTo>
                  <a:lnTo>
                    <a:pt x="678" y="672"/>
                  </a:lnTo>
                  <a:lnTo>
                    <a:pt x="672" y="672"/>
                  </a:lnTo>
                  <a:lnTo>
                    <a:pt x="666" y="672"/>
                  </a:lnTo>
                  <a:lnTo>
                    <a:pt x="660" y="672"/>
                  </a:lnTo>
                  <a:lnTo>
                    <a:pt x="654" y="672"/>
                  </a:lnTo>
                  <a:lnTo>
                    <a:pt x="654" y="666"/>
                  </a:lnTo>
                  <a:lnTo>
                    <a:pt x="648" y="666"/>
                  </a:lnTo>
                  <a:lnTo>
                    <a:pt x="642" y="660"/>
                  </a:lnTo>
                  <a:lnTo>
                    <a:pt x="642" y="654"/>
                  </a:lnTo>
                  <a:lnTo>
                    <a:pt x="642" y="648"/>
                  </a:lnTo>
                  <a:lnTo>
                    <a:pt x="636" y="648"/>
                  </a:lnTo>
                  <a:lnTo>
                    <a:pt x="630" y="648"/>
                  </a:lnTo>
                  <a:lnTo>
                    <a:pt x="624" y="648"/>
                  </a:lnTo>
                  <a:lnTo>
                    <a:pt x="624" y="642"/>
                  </a:lnTo>
                  <a:lnTo>
                    <a:pt x="618" y="636"/>
                  </a:lnTo>
                  <a:lnTo>
                    <a:pt x="624" y="636"/>
                  </a:lnTo>
                  <a:lnTo>
                    <a:pt x="624" y="630"/>
                  </a:lnTo>
                  <a:lnTo>
                    <a:pt x="618" y="630"/>
                  </a:lnTo>
                  <a:lnTo>
                    <a:pt x="618" y="624"/>
                  </a:lnTo>
                  <a:lnTo>
                    <a:pt x="618" y="618"/>
                  </a:lnTo>
                  <a:lnTo>
                    <a:pt x="618" y="612"/>
                  </a:lnTo>
                  <a:lnTo>
                    <a:pt x="618" y="606"/>
                  </a:lnTo>
                  <a:lnTo>
                    <a:pt x="624" y="606"/>
                  </a:lnTo>
                  <a:lnTo>
                    <a:pt x="624" y="600"/>
                  </a:lnTo>
                  <a:lnTo>
                    <a:pt x="618" y="600"/>
                  </a:lnTo>
                  <a:lnTo>
                    <a:pt x="618" y="594"/>
                  </a:lnTo>
                  <a:lnTo>
                    <a:pt x="618" y="588"/>
                  </a:lnTo>
                  <a:lnTo>
                    <a:pt x="618" y="582"/>
                  </a:lnTo>
                  <a:lnTo>
                    <a:pt x="612" y="582"/>
                  </a:lnTo>
                  <a:lnTo>
                    <a:pt x="606" y="582"/>
                  </a:lnTo>
                  <a:lnTo>
                    <a:pt x="612" y="582"/>
                  </a:lnTo>
                  <a:lnTo>
                    <a:pt x="612" y="588"/>
                  </a:lnTo>
                  <a:lnTo>
                    <a:pt x="612" y="594"/>
                  </a:lnTo>
                  <a:lnTo>
                    <a:pt x="618" y="594"/>
                  </a:lnTo>
                  <a:lnTo>
                    <a:pt x="618" y="600"/>
                  </a:lnTo>
                  <a:lnTo>
                    <a:pt x="618" y="606"/>
                  </a:lnTo>
                  <a:lnTo>
                    <a:pt x="618" y="612"/>
                  </a:lnTo>
                  <a:lnTo>
                    <a:pt x="612" y="612"/>
                  </a:lnTo>
                  <a:lnTo>
                    <a:pt x="612" y="618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94" y="612"/>
                  </a:lnTo>
                  <a:lnTo>
                    <a:pt x="588" y="606"/>
                  </a:lnTo>
                  <a:lnTo>
                    <a:pt x="588" y="612"/>
                  </a:lnTo>
                  <a:lnTo>
                    <a:pt x="594" y="612"/>
                  </a:lnTo>
                  <a:lnTo>
                    <a:pt x="594" y="618"/>
                  </a:lnTo>
                  <a:lnTo>
                    <a:pt x="588" y="618"/>
                  </a:lnTo>
                  <a:lnTo>
                    <a:pt x="588" y="624"/>
                  </a:lnTo>
                  <a:lnTo>
                    <a:pt x="582" y="624"/>
                  </a:lnTo>
                  <a:lnTo>
                    <a:pt x="582" y="630"/>
                  </a:lnTo>
                  <a:lnTo>
                    <a:pt x="576" y="630"/>
                  </a:lnTo>
                  <a:lnTo>
                    <a:pt x="576" y="636"/>
                  </a:lnTo>
                  <a:lnTo>
                    <a:pt x="570" y="636"/>
                  </a:lnTo>
                  <a:lnTo>
                    <a:pt x="570" y="642"/>
                  </a:lnTo>
                  <a:lnTo>
                    <a:pt x="564" y="642"/>
                  </a:lnTo>
                  <a:lnTo>
                    <a:pt x="564" y="636"/>
                  </a:lnTo>
                  <a:lnTo>
                    <a:pt x="564" y="630"/>
                  </a:lnTo>
                  <a:lnTo>
                    <a:pt x="564" y="624"/>
                  </a:lnTo>
                  <a:lnTo>
                    <a:pt x="564" y="618"/>
                  </a:lnTo>
                  <a:lnTo>
                    <a:pt x="570" y="612"/>
                  </a:lnTo>
                  <a:lnTo>
                    <a:pt x="564" y="606"/>
                  </a:lnTo>
                  <a:lnTo>
                    <a:pt x="564" y="600"/>
                  </a:lnTo>
                  <a:lnTo>
                    <a:pt x="564" y="594"/>
                  </a:lnTo>
                  <a:lnTo>
                    <a:pt x="558" y="594"/>
                  </a:lnTo>
                  <a:lnTo>
                    <a:pt x="558" y="588"/>
                  </a:lnTo>
                  <a:lnTo>
                    <a:pt x="552" y="582"/>
                  </a:lnTo>
                  <a:lnTo>
                    <a:pt x="552" y="576"/>
                  </a:lnTo>
                  <a:lnTo>
                    <a:pt x="552" y="570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6" y="582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58" y="588"/>
                  </a:lnTo>
                  <a:lnTo>
                    <a:pt x="558" y="594"/>
                  </a:lnTo>
                  <a:lnTo>
                    <a:pt x="558" y="600"/>
                  </a:lnTo>
                  <a:lnTo>
                    <a:pt x="558" y="606"/>
                  </a:lnTo>
                  <a:lnTo>
                    <a:pt x="552" y="612"/>
                  </a:lnTo>
                  <a:lnTo>
                    <a:pt x="558" y="612"/>
                  </a:lnTo>
                  <a:lnTo>
                    <a:pt x="558" y="618"/>
                  </a:lnTo>
                  <a:lnTo>
                    <a:pt x="558" y="624"/>
                  </a:lnTo>
                  <a:lnTo>
                    <a:pt x="558" y="630"/>
                  </a:lnTo>
                  <a:lnTo>
                    <a:pt x="552" y="630"/>
                  </a:lnTo>
                  <a:lnTo>
                    <a:pt x="552" y="624"/>
                  </a:lnTo>
                  <a:lnTo>
                    <a:pt x="546" y="624"/>
                  </a:lnTo>
                  <a:lnTo>
                    <a:pt x="546" y="618"/>
                  </a:lnTo>
                  <a:lnTo>
                    <a:pt x="546" y="612"/>
                  </a:lnTo>
                  <a:lnTo>
                    <a:pt x="540" y="612"/>
                  </a:lnTo>
                  <a:lnTo>
                    <a:pt x="534" y="612"/>
                  </a:lnTo>
                  <a:lnTo>
                    <a:pt x="528" y="612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28" y="618"/>
                  </a:lnTo>
                  <a:lnTo>
                    <a:pt x="534" y="618"/>
                  </a:lnTo>
                  <a:lnTo>
                    <a:pt x="540" y="618"/>
                  </a:lnTo>
                  <a:lnTo>
                    <a:pt x="540" y="624"/>
                  </a:lnTo>
                  <a:lnTo>
                    <a:pt x="546" y="624"/>
                  </a:lnTo>
                  <a:lnTo>
                    <a:pt x="546" y="630"/>
                  </a:lnTo>
                  <a:lnTo>
                    <a:pt x="552" y="630"/>
                  </a:lnTo>
                  <a:lnTo>
                    <a:pt x="552" y="636"/>
                  </a:lnTo>
                  <a:lnTo>
                    <a:pt x="546" y="642"/>
                  </a:lnTo>
                  <a:lnTo>
                    <a:pt x="546" y="648"/>
                  </a:lnTo>
                  <a:lnTo>
                    <a:pt x="540" y="648"/>
                  </a:lnTo>
                  <a:lnTo>
                    <a:pt x="540" y="654"/>
                  </a:lnTo>
                  <a:lnTo>
                    <a:pt x="540" y="660"/>
                  </a:lnTo>
                  <a:lnTo>
                    <a:pt x="534" y="666"/>
                  </a:lnTo>
                  <a:lnTo>
                    <a:pt x="534" y="672"/>
                  </a:lnTo>
                  <a:lnTo>
                    <a:pt x="534" y="678"/>
                  </a:lnTo>
                  <a:lnTo>
                    <a:pt x="534" y="684"/>
                  </a:lnTo>
                  <a:lnTo>
                    <a:pt x="534" y="678"/>
                  </a:lnTo>
                  <a:lnTo>
                    <a:pt x="528" y="678"/>
                  </a:lnTo>
                  <a:lnTo>
                    <a:pt x="528" y="684"/>
                  </a:lnTo>
                  <a:lnTo>
                    <a:pt x="522" y="690"/>
                  </a:lnTo>
                  <a:lnTo>
                    <a:pt x="528" y="690"/>
                  </a:lnTo>
                  <a:lnTo>
                    <a:pt x="528" y="684"/>
                  </a:lnTo>
                  <a:lnTo>
                    <a:pt x="534" y="684"/>
                  </a:lnTo>
                  <a:lnTo>
                    <a:pt x="534" y="690"/>
                  </a:lnTo>
                  <a:lnTo>
                    <a:pt x="534" y="696"/>
                  </a:lnTo>
                  <a:lnTo>
                    <a:pt x="540" y="696"/>
                  </a:lnTo>
                  <a:lnTo>
                    <a:pt x="540" y="702"/>
                  </a:lnTo>
                  <a:lnTo>
                    <a:pt x="540" y="708"/>
                  </a:lnTo>
                  <a:lnTo>
                    <a:pt x="534" y="708"/>
                  </a:lnTo>
                  <a:lnTo>
                    <a:pt x="528" y="708"/>
                  </a:lnTo>
                  <a:lnTo>
                    <a:pt x="522" y="708"/>
                  </a:lnTo>
                  <a:lnTo>
                    <a:pt x="516" y="708"/>
                  </a:lnTo>
                  <a:lnTo>
                    <a:pt x="510" y="708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2" y="708"/>
                  </a:lnTo>
                  <a:lnTo>
                    <a:pt x="486" y="714"/>
                  </a:lnTo>
                  <a:lnTo>
                    <a:pt x="480" y="708"/>
                  </a:lnTo>
                  <a:lnTo>
                    <a:pt x="474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68" y="714"/>
                  </a:lnTo>
                  <a:lnTo>
                    <a:pt x="456" y="714"/>
                  </a:lnTo>
                  <a:lnTo>
                    <a:pt x="450" y="714"/>
                  </a:lnTo>
                  <a:lnTo>
                    <a:pt x="450" y="708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50" y="690"/>
                  </a:lnTo>
                  <a:lnTo>
                    <a:pt x="450" y="684"/>
                  </a:lnTo>
                  <a:lnTo>
                    <a:pt x="450" y="678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56" y="660"/>
                  </a:lnTo>
                  <a:lnTo>
                    <a:pt x="462" y="660"/>
                  </a:lnTo>
                  <a:lnTo>
                    <a:pt x="462" y="654"/>
                  </a:lnTo>
                  <a:lnTo>
                    <a:pt x="456" y="654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48"/>
                  </a:lnTo>
                  <a:lnTo>
                    <a:pt x="444" y="648"/>
                  </a:lnTo>
                  <a:lnTo>
                    <a:pt x="444" y="642"/>
                  </a:lnTo>
                  <a:lnTo>
                    <a:pt x="444" y="636"/>
                  </a:lnTo>
                  <a:lnTo>
                    <a:pt x="450" y="636"/>
                  </a:lnTo>
                  <a:lnTo>
                    <a:pt x="450" y="630"/>
                  </a:lnTo>
                  <a:lnTo>
                    <a:pt x="456" y="630"/>
                  </a:lnTo>
                  <a:lnTo>
                    <a:pt x="462" y="630"/>
                  </a:lnTo>
                  <a:lnTo>
                    <a:pt x="462" y="624"/>
                  </a:lnTo>
                  <a:lnTo>
                    <a:pt x="468" y="624"/>
                  </a:lnTo>
                  <a:lnTo>
                    <a:pt x="474" y="624"/>
                  </a:lnTo>
                  <a:lnTo>
                    <a:pt x="474" y="618"/>
                  </a:lnTo>
                  <a:lnTo>
                    <a:pt x="480" y="618"/>
                  </a:lnTo>
                  <a:lnTo>
                    <a:pt x="486" y="618"/>
                  </a:lnTo>
                  <a:lnTo>
                    <a:pt x="486" y="624"/>
                  </a:lnTo>
                  <a:lnTo>
                    <a:pt x="486" y="636"/>
                  </a:lnTo>
                  <a:lnTo>
                    <a:pt x="486" y="642"/>
                  </a:lnTo>
                  <a:lnTo>
                    <a:pt x="486" y="648"/>
                  </a:lnTo>
                  <a:lnTo>
                    <a:pt x="492" y="648"/>
                  </a:lnTo>
                  <a:lnTo>
                    <a:pt x="492" y="642"/>
                  </a:lnTo>
                  <a:lnTo>
                    <a:pt x="498" y="636"/>
                  </a:lnTo>
                  <a:lnTo>
                    <a:pt x="492" y="636"/>
                  </a:lnTo>
                  <a:lnTo>
                    <a:pt x="492" y="630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6" y="618"/>
                  </a:lnTo>
                  <a:lnTo>
                    <a:pt x="486" y="612"/>
                  </a:lnTo>
                  <a:lnTo>
                    <a:pt x="486" y="606"/>
                  </a:lnTo>
                  <a:lnTo>
                    <a:pt x="480" y="606"/>
                  </a:lnTo>
                  <a:lnTo>
                    <a:pt x="480" y="612"/>
                  </a:lnTo>
                  <a:lnTo>
                    <a:pt x="474" y="618"/>
                  </a:lnTo>
                  <a:lnTo>
                    <a:pt x="468" y="618"/>
                  </a:lnTo>
                  <a:lnTo>
                    <a:pt x="462" y="618"/>
                  </a:lnTo>
                  <a:lnTo>
                    <a:pt x="462" y="612"/>
                  </a:lnTo>
                  <a:lnTo>
                    <a:pt x="456" y="612"/>
                  </a:lnTo>
                  <a:lnTo>
                    <a:pt x="456" y="618"/>
                  </a:lnTo>
                  <a:lnTo>
                    <a:pt x="462" y="618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30"/>
                  </a:lnTo>
                  <a:lnTo>
                    <a:pt x="444" y="630"/>
                  </a:lnTo>
                  <a:lnTo>
                    <a:pt x="444" y="636"/>
                  </a:lnTo>
                  <a:lnTo>
                    <a:pt x="444" y="642"/>
                  </a:lnTo>
                  <a:lnTo>
                    <a:pt x="444" y="654"/>
                  </a:lnTo>
                  <a:lnTo>
                    <a:pt x="444" y="660"/>
                  </a:lnTo>
                  <a:lnTo>
                    <a:pt x="438" y="660"/>
                  </a:lnTo>
                  <a:lnTo>
                    <a:pt x="432" y="660"/>
                  </a:lnTo>
                  <a:lnTo>
                    <a:pt x="432" y="654"/>
                  </a:lnTo>
                  <a:lnTo>
                    <a:pt x="438" y="654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48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26" y="660"/>
                  </a:lnTo>
                  <a:lnTo>
                    <a:pt x="432" y="666"/>
                  </a:lnTo>
                  <a:lnTo>
                    <a:pt x="432" y="672"/>
                  </a:lnTo>
                  <a:lnTo>
                    <a:pt x="438" y="672"/>
                  </a:lnTo>
                  <a:lnTo>
                    <a:pt x="438" y="678"/>
                  </a:lnTo>
                  <a:lnTo>
                    <a:pt x="444" y="678"/>
                  </a:lnTo>
                  <a:lnTo>
                    <a:pt x="444" y="684"/>
                  </a:lnTo>
                  <a:lnTo>
                    <a:pt x="438" y="690"/>
                  </a:lnTo>
                  <a:lnTo>
                    <a:pt x="438" y="696"/>
                  </a:lnTo>
                  <a:lnTo>
                    <a:pt x="438" y="702"/>
                  </a:lnTo>
                  <a:lnTo>
                    <a:pt x="432" y="702"/>
                  </a:lnTo>
                  <a:lnTo>
                    <a:pt x="426" y="702"/>
                  </a:lnTo>
                  <a:lnTo>
                    <a:pt x="426" y="696"/>
                  </a:lnTo>
                  <a:lnTo>
                    <a:pt x="414" y="696"/>
                  </a:lnTo>
                  <a:lnTo>
                    <a:pt x="402" y="696"/>
                  </a:lnTo>
                  <a:lnTo>
                    <a:pt x="402" y="690"/>
                  </a:lnTo>
                  <a:lnTo>
                    <a:pt x="396" y="690"/>
                  </a:lnTo>
                  <a:lnTo>
                    <a:pt x="390" y="690"/>
                  </a:lnTo>
                  <a:lnTo>
                    <a:pt x="384" y="690"/>
                  </a:lnTo>
                  <a:lnTo>
                    <a:pt x="384" y="684"/>
                  </a:lnTo>
                  <a:lnTo>
                    <a:pt x="384" y="678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390" y="660"/>
                  </a:lnTo>
                  <a:lnTo>
                    <a:pt x="390" y="654"/>
                  </a:lnTo>
                  <a:lnTo>
                    <a:pt x="384" y="648"/>
                  </a:lnTo>
                  <a:lnTo>
                    <a:pt x="384" y="642"/>
                  </a:lnTo>
                  <a:lnTo>
                    <a:pt x="378" y="636"/>
                  </a:lnTo>
                  <a:lnTo>
                    <a:pt x="378" y="642"/>
                  </a:lnTo>
                  <a:lnTo>
                    <a:pt x="378" y="648"/>
                  </a:lnTo>
                  <a:lnTo>
                    <a:pt x="372" y="648"/>
                  </a:lnTo>
                  <a:lnTo>
                    <a:pt x="378" y="654"/>
                  </a:lnTo>
                  <a:lnTo>
                    <a:pt x="378" y="660"/>
                  </a:lnTo>
                  <a:lnTo>
                    <a:pt x="378" y="666"/>
                  </a:lnTo>
                  <a:lnTo>
                    <a:pt x="372" y="672"/>
                  </a:lnTo>
                  <a:lnTo>
                    <a:pt x="378" y="672"/>
                  </a:lnTo>
                  <a:lnTo>
                    <a:pt x="378" y="678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54" y="666"/>
                  </a:lnTo>
                  <a:lnTo>
                    <a:pt x="354" y="660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0" y="654"/>
                  </a:lnTo>
                  <a:lnTo>
                    <a:pt x="324" y="648"/>
                  </a:lnTo>
                  <a:lnTo>
                    <a:pt x="318" y="648"/>
                  </a:lnTo>
                  <a:lnTo>
                    <a:pt x="318" y="642"/>
                  </a:lnTo>
                  <a:lnTo>
                    <a:pt x="312" y="642"/>
                  </a:lnTo>
                  <a:lnTo>
                    <a:pt x="306" y="636"/>
                  </a:lnTo>
                  <a:lnTo>
                    <a:pt x="300" y="636"/>
                  </a:lnTo>
                  <a:lnTo>
                    <a:pt x="300" y="630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0" y="618"/>
                  </a:lnTo>
                  <a:lnTo>
                    <a:pt x="306" y="612"/>
                  </a:lnTo>
                  <a:lnTo>
                    <a:pt x="300" y="612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294" y="612"/>
                  </a:lnTo>
                  <a:lnTo>
                    <a:pt x="288" y="618"/>
                  </a:lnTo>
                  <a:lnTo>
                    <a:pt x="288" y="612"/>
                  </a:lnTo>
                  <a:lnTo>
                    <a:pt x="288" y="618"/>
                  </a:lnTo>
                  <a:lnTo>
                    <a:pt x="294" y="618"/>
                  </a:lnTo>
                  <a:lnTo>
                    <a:pt x="300" y="624"/>
                  </a:lnTo>
                  <a:lnTo>
                    <a:pt x="294" y="624"/>
                  </a:lnTo>
                  <a:lnTo>
                    <a:pt x="288" y="624"/>
                  </a:lnTo>
                  <a:lnTo>
                    <a:pt x="282" y="61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70" y="600"/>
                  </a:lnTo>
                  <a:lnTo>
                    <a:pt x="270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82" y="588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594"/>
                  </a:lnTo>
                  <a:lnTo>
                    <a:pt x="264" y="600"/>
                  </a:lnTo>
                  <a:lnTo>
                    <a:pt x="264" y="594"/>
                  </a:lnTo>
                  <a:lnTo>
                    <a:pt x="270" y="594"/>
                  </a:lnTo>
                  <a:lnTo>
                    <a:pt x="270" y="588"/>
                  </a:lnTo>
                  <a:lnTo>
                    <a:pt x="264" y="594"/>
                  </a:lnTo>
                  <a:lnTo>
                    <a:pt x="258" y="594"/>
                  </a:lnTo>
                  <a:lnTo>
                    <a:pt x="258" y="588"/>
                  </a:lnTo>
                  <a:lnTo>
                    <a:pt x="252" y="588"/>
                  </a:lnTo>
                  <a:lnTo>
                    <a:pt x="246" y="588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52" y="588"/>
                  </a:lnTo>
                  <a:lnTo>
                    <a:pt x="252" y="594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46" y="594"/>
                  </a:lnTo>
                  <a:lnTo>
                    <a:pt x="246" y="588"/>
                  </a:lnTo>
                  <a:lnTo>
                    <a:pt x="240" y="588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2" y="570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64"/>
                  </a:lnTo>
                  <a:lnTo>
                    <a:pt x="234" y="564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34" y="558"/>
                  </a:lnTo>
                  <a:lnTo>
                    <a:pt x="228" y="558"/>
                  </a:lnTo>
                  <a:lnTo>
                    <a:pt x="222" y="558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2" y="564"/>
                  </a:lnTo>
                  <a:lnTo>
                    <a:pt x="222" y="558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04" y="546"/>
                  </a:lnTo>
                  <a:lnTo>
                    <a:pt x="204" y="540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10" y="540"/>
                  </a:lnTo>
                  <a:lnTo>
                    <a:pt x="210" y="534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8"/>
                  </a:lnTo>
                  <a:lnTo>
                    <a:pt x="174" y="516"/>
                  </a:lnTo>
                  <a:lnTo>
                    <a:pt x="168" y="510"/>
                  </a:lnTo>
                  <a:lnTo>
                    <a:pt x="162" y="504"/>
                  </a:lnTo>
                  <a:lnTo>
                    <a:pt x="156" y="498"/>
                  </a:lnTo>
                  <a:lnTo>
                    <a:pt x="156" y="492"/>
                  </a:lnTo>
                  <a:lnTo>
                    <a:pt x="150" y="486"/>
                  </a:lnTo>
                  <a:lnTo>
                    <a:pt x="144" y="480"/>
                  </a:lnTo>
                  <a:lnTo>
                    <a:pt x="144" y="474"/>
                  </a:lnTo>
                  <a:lnTo>
                    <a:pt x="138" y="474"/>
                  </a:lnTo>
                  <a:lnTo>
                    <a:pt x="138" y="468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26" y="450"/>
                  </a:lnTo>
                  <a:lnTo>
                    <a:pt x="126" y="444"/>
                  </a:lnTo>
                  <a:lnTo>
                    <a:pt x="114" y="438"/>
                  </a:lnTo>
                  <a:lnTo>
                    <a:pt x="114" y="432"/>
                  </a:lnTo>
                  <a:lnTo>
                    <a:pt x="114" y="426"/>
                  </a:lnTo>
                  <a:lnTo>
                    <a:pt x="114" y="432"/>
                  </a:lnTo>
                  <a:lnTo>
                    <a:pt x="120" y="432"/>
                  </a:lnTo>
                  <a:lnTo>
                    <a:pt x="120" y="438"/>
                  </a:lnTo>
                  <a:lnTo>
                    <a:pt x="120" y="444"/>
                  </a:lnTo>
                  <a:lnTo>
                    <a:pt x="126" y="444"/>
                  </a:lnTo>
                  <a:lnTo>
                    <a:pt x="126" y="438"/>
                  </a:lnTo>
                  <a:lnTo>
                    <a:pt x="120" y="438"/>
                  </a:lnTo>
                  <a:lnTo>
                    <a:pt x="126" y="432"/>
                  </a:lnTo>
                  <a:lnTo>
                    <a:pt x="126" y="426"/>
                  </a:lnTo>
                  <a:lnTo>
                    <a:pt x="132" y="420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08" y="414"/>
                  </a:lnTo>
                  <a:lnTo>
                    <a:pt x="102" y="414"/>
                  </a:lnTo>
                  <a:lnTo>
                    <a:pt x="102" y="408"/>
                  </a:lnTo>
                  <a:lnTo>
                    <a:pt x="96" y="402"/>
                  </a:lnTo>
                  <a:lnTo>
                    <a:pt x="96" y="396"/>
                  </a:lnTo>
                  <a:lnTo>
                    <a:pt x="96" y="390"/>
                  </a:lnTo>
                  <a:lnTo>
                    <a:pt x="90" y="390"/>
                  </a:lnTo>
                  <a:lnTo>
                    <a:pt x="90" y="384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78" y="372"/>
                  </a:lnTo>
                  <a:lnTo>
                    <a:pt x="78" y="366"/>
                  </a:lnTo>
                  <a:lnTo>
                    <a:pt x="78" y="360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6" y="348"/>
                  </a:lnTo>
                  <a:lnTo>
                    <a:pt x="66" y="342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6" y="336"/>
                  </a:lnTo>
                  <a:lnTo>
                    <a:pt x="66" y="342"/>
                  </a:lnTo>
                  <a:lnTo>
                    <a:pt x="72" y="348"/>
                  </a:lnTo>
                  <a:lnTo>
                    <a:pt x="78" y="354"/>
                  </a:lnTo>
                  <a:lnTo>
                    <a:pt x="84" y="360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0" y="360"/>
                  </a:lnTo>
                  <a:lnTo>
                    <a:pt x="84" y="360"/>
                  </a:lnTo>
                  <a:lnTo>
                    <a:pt x="84" y="354"/>
                  </a:lnTo>
                  <a:lnTo>
                    <a:pt x="78" y="348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66" y="330"/>
                  </a:lnTo>
                  <a:lnTo>
                    <a:pt x="66" y="324"/>
                  </a:lnTo>
                  <a:lnTo>
                    <a:pt x="60" y="318"/>
                  </a:lnTo>
                  <a:lnTo>
                    <a:pt x="60" y="312"/>
                  </a:lnTo>
                  <a:lnTo>
                    <a:pt x="54" y="306"/>
                  </a:lnTo>
                  <a:lnTo>
                    <a:pt x="54" y="300"/>
                  </a:lnTo>
                  <a:lnTo>
                    <a:pt x="54" y="294"/>
                  </a:lnTo>
                  <a:lnTo>
                    <a:pt x="48" y="288"/>
                  </a:lnTo>
                  <a:lnTo>
                    <a:pt x="48" y="294"/>
                  </a:lnTo>
                  <a:lnTo>
                    <a:pt x="48" y="288"/>
                  </a:lnTo>
                  <a:lnTo>
                    <a:pt x="48" y="282"/>
                  </a:lnTo>
                  <a:lnTo>
                    <a:pt x="48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18" y="216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62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68"/>
                  </a:lnTo>
                  <a:lnTo>
                    <a:pt x="42" y="168"/>
                  </a:lnTo>
                  <a:lnTo>
                    <a:pt x="42" y="174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86"/>
                  </a:lnTo>
                  <a:close/>
                  <a:moveTo>
                    <a:pt x="642" y="660"/>
                  </a:moveTo>
                  <a:lnTo>
                    <a:pt x="642" y="666"/>
                  </a:lnTo>
                  <a:lnTo>
                    <a:pt x="648" y="666"/>
                  </a:lnTo>
                  <a:lnTo>
                    <a:pt x="648" y="672"/>
                  </a:lnTo>
                  <a:lnTo>
                    <a:pt x="648" y="678"/>
                  </a:lnTo>
                  <a:lnTo>
                    <a:pt x="654" y="678"/>
                  </a:lnTo>
                  <a:lnTo>
                    <a:pt x="654" y="684"/>
                  </a:lnTo>
                  <a:lnTo>
                    <a:pt x="660" y="684"/>
                  </a:lnTo>
                  <a:lnTo>
                    <a:pt x="660" y="690"/>
                  </a:lnTo>
                  <a:lnTo>
                    <a:pt x="654" y="690"/>
                  </a:lnTo>
                  <a:lnTo>
                    <a:pt x="648" y="690"/>
                  </a:lnTo>
                  <a:lnTo>
                    <a:pt x="636" y="696"/>
                  </a:lnTo>
                  <a:lnTo>
                    <a:pt x="630" y="696"/>
                  </a:lnTo>
                  <a:lnTo>
                    <a:pt x="624" y="696"/>
                  </a:lnTo>
                  <a:lnTo>
                    <a:pt x="618" y="696"/>
                  </a:lnTo>
                  <a:lnTo>
                    <a:pt x="612" y="696"/>
                  </a:lnTo>
                  <a:lnTo>
                    <a:pt x="594" y="696"/>
                  </a:lnTo>
                  <a:lnTo>
                    <a:pt x="588" y="696"/>
                  </a:lnTo>
                  <a:lnTo>
                    <a:pt x="582" y="696"/>
                  </a:lnTo>
                  <a:lnTo>
                    <a:pt x="570" y="702"/>
                  </a:lnTo>
                  <a:lnTo>
                    <a:pt x="564" y="702"/>
                  </a:lnTo>
                  <a:lnTo>
                    <a:pt x="558" y="702"/>
                  </a:lnTo>
                  <a:lnTo>
                    <a:pt x="552" y="702"/>
                  </a:lnTo>
                  <a:lnTo>
                    <a:pt x="552" y="696"/>
                  </a:lnTo>
                  <a:lnTo>
                    <a:pt x="546" y="696"/>
                  </a:lnTo>
                  <a:lnTo>
                    <a:pt x="546" y="690"/>
                  </a:lnTo>
                  <a:lnTo>
                    <a:pt x="552" y="684"/>
                  </a:lnTo>
                  <a:lnTo>
                    <a:pt x="552" y="678"/>
                  </a:lnTo>
                  <a:lnTo>
                    <a:pt x="558" y="672"/>
                  </a:lnTo>
                  <a:lnTo>
                    <a:pt x="558" y="666"/>
                  </a:lnTo>
                  <a:lnTo>
                    <a:pt x="564" y="666"/>
                  </a:lnTo>
                  <a:lnTo>
                    <a:pt x="570" y="666"/>
                  </a:lnTo>
                  <a:lnTo>
                    <a:pt x="570" y="654"/>
                  </a:lnTo>
                  <a:lnTo>
                    <a:pt x="570" y="648"/>
                  </a:lnTo>
                  <a:lnTo>
                    <a:pt x="582" y="642"/>
                  </a:lnTo>
                  <a:lnTo>
                    <a:pt x="582" y="636"/>
                  </a:lnTo>
                  <a:lnTo>
                    <a:pt x="588" y="636"/>
                  </a:lnTo>
                  <a:lnTo>
                    <a:pt x="588" y="630"/>
                  </a:lnTo>
                  <a:lnTo>
                    <a:pt x="594" y="624"/>
                  </a:lnTo>
                  <a:lnTo>
                    <a:pt x="594" y="618"/>
                  </a:lnTo>
                  <a:lnTo>
                    <a:pt x="600" y="618"/>
                  </a:lnTo>
                  <a:lnTo>
                    <a:pt x="600" y="612"/>
                  </a:lnTo>
                  <a:lnTo>
                    <a:pt x="606" y="612"/>
                  </a:lnTo>
                  <a:lnTo>
                    <a:pt x="606" y="618"/>
                  </a:lnTo>
                  <a:lnTo>
                    <a:pt x="612" y="618"/>
                  </a:lnTo>
                  <a:lnTo>
                    <a:pt x="618" y="618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18" y="636"/>
                  </a:lnTo>
                  <a:lnTo>
                    <a:pt x="618" y="642"/>
                  </a:lnTo>
                  <a:lnTo>
                    <a:pt x="618" y="648"/>
                  </a:lnTo>
                  <a:lnTo>
                    <a:pt x="624" y="648"/>
                  </a:lnTo>
                  <a:lnTo>
                    <a:pt x="630" y="648"/>
                  </a:lnTo>
                  <a:lnTo>
                    <a:pt x="636" y="654"/>
                  </a:lnTo>
                  <a:lnTo>
                    <a:pt x="642" y="654"/>
                  </a:lnTo>
                  <a:lnTo>
                    <a:pt x="642" y="66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0" name="Freeform 5">
              <a:extLst>
                <a:ext uri="{FF2B5EF4-FFF2-40B4-BE49-F238E27FC236}">
                  <a16:creationId xmlns:a16="http://schemas.microsoft.com/office/drawing/2014/main" id="{5577BDCA-F2C7-42E0-A391-018D79AA29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0384" y="4231013"/>
              <a:ext cx="404750" cy="480848"/>
            </a:xfrm>
            <a:custGeom>
              <a:avLst/>
              <a:gdLst>
                <a:gd name="T0" fmla="*/ 9 w 762"/>
                <a:gd name="T1" fmla="*/ 58 h 900"/>
                <a:gd name="T2" fmla="*/ 4 w 762"/>
                <a:gd name="T3" fmla="*/ 56 h 900"/>
                <a:gd name="T4" fmla="*/ 0 w 762"/>
                <a:gd name="T5" fmla="*/ 49 h 900"/>
                <a:gd name="T6" fmla="*/ 4 w 762"/>
                <a:gd name="T7" fmla="*/ 36 h 900"/>
                <a:gd name="T8" fmla="*/ 8 w 762"/>
                <a:gd name="T9" fmla="*/ 28 h 900"/>
                <a:gd name="T10" fmla="*/ 7 w 762"/>
                <a:gd name="T11" fmla="*/ 13 h 900"/>
                <a:gd name="T12" fmla="*/ 15 w 762"/>
                <a:gd name="T13" fmla="*/ 0 h 900"/>
                <a:gd name="T14" fmla="*/ 16 w 762"/>
                <a:gd name="T15" fmla="*/ 13 h 900"/>
                <a:gd name="T16" fmla="*/ 31 w 762"/>
                <a:gd name="T17" fmla="*/ 28 h 900"/>
                <a:gd name="T18" fmla="*/ 49 w 762"/>
                <a:gd name="T19" fmla="*/ 33 h 900"/>
                <a:gd name="T20" fmla="*/ 42 w 762"/>
                <a:gd name="T21" fmla="*/ 48 h 900"/>
                <a:gd name="T22" fmla="*/ 51 w 762"/>
                <a:gd name="T23" fmla="*/ 48 h 900"/>
                <a:gd name="T24" fmla="*/ 61 w 762"/>
                <a:gd name="T25" fmla="*/ 51 h 900"/>
                <a:gd name="T26" fmla="*/ 63 w 762"/>
                <a:gd name="T27" fmla="*/ 60 h 900"/>
                <a:gd name="T28" fmla="*/ 63 w 762"/>
                <a:gd name="T29" fmla="*/ 66 h 900"/>
                <a:gd name="T30" fmla="*/ 65 w 762"/>
                <a:gd name="T31" fmla="*/ 69 h 900"/>
                <a:gd name="T32" fmla="*/ 66 w 762"/>
                <a:gd name="T33" fmla="*/ 72 h 900"/>
                <a:gd name="T34" fmla="*/ 56 w 762"/>
                <a:gd name="T35" fmla="*/ 73 h 900"/>
                <a:gd name="T36" fmla="*/ 55 w 762"/>
                <a:gd name="T37" fmla="*/ 69 h 900"/>
                <a:gd name="T38" fmla="*/ 57 w 762"/>
                <a:gd name="T39" fmla="*/ 67 h 900"/>
                <a:gd name="T40" fmla="*/ 55 w 762"/>
                <a:gd name="T41" fmla="*/ 65 h 900"/>
                <a:gd name="T42" fmla="*/ 53 w 762"/>
                <a:gd name="T43" fmla="*/ 68 h 900"/>
                <a:gd name="T44" fmla="*/ 49 w 762"/>
                <a:gd name="T45" fmla="*/ 68 h 900"/>
                <a:gd name="T46" fmla="*/ 44 w 762"/>
                <a:gd name="T47" fmla="*/ 63 h 900"/>
                <a:gd name="T48" fmla="*/ 40 w 762"/>
                <a:gd name="T49" fmla="*/ 59 h 900"/>
                <a:gd name="T50" fmla="*/ 38 w 762"/>
                <a:gd name="T51" fmla="*/ 57 h 900"/>
                <a:gd name="T52" fmla="*/ 43 w 762"/>
                <a:gd name="T53" fmla="*/ 62 h 900"/>
                <a:gd name="T54" fmla="*/ 43 w 762"/>
                <a:gd name="T55" fmla="*/ 66 h 900"/>
                <a:gd name="T56" fmla="*/ 41 w 762"/>
                <a:gd name="T57" fmla="*/ 71 h 900"/>
                <a:gd name="T58" fmla="*/ 37 w 762"/>
                <a:gd name="T59" fmla="*/ 69 h 900"/>
                <a:gd name="T60" fmla="*/ 35 w 762"/>
                <a:gd name="T61" fmla="*/ 64 h 900"/>
                <a:gd name="T62" fmla="*/ 31 w 762"/>
                <a:gd name="T63" fmla="*/ 57 h 900"/>
                <a:gd name="T64" fmla="*/ 30 w 762"/>
                <a:gd name="T65" fmla="*/ 62 h 900"/>
                <a:gd name="T66" fmla="*/ 29 w 762"/>
                <a:gd name="T67" fmla="*/ 61 h 900"/>
                <a:gd name="T68" fmla="*/ 31 w 762"/>
                <a:gd name="T69" fmla="*/ 66 h 900"/>
                <a:gd name="T70" fmla="*/ 33 w 762"/>
                <a:gd name="T71" fmla="*/ 72 h 900"/>
                <a:gd name="T72" fmla="*/ 32 w 762"/>
                <a:gd name="T73" fmla="*/ 76 h 900"/>
                <a:gd name="T74" fmla="*/ 28 w 762"/>
                <a:gd name="T75" fmla="*/ 75 h 900"/>
                <a:gd name="T76" fmla="*/ 24 w 762"/>
                <a:gd name="T77" fmla="*/ 69 h 900"/>
                <a:gd name="T78" fmla="*/ 24 w 762"/>
                <a:gd name="T79" fmla="*/ 62 h 900"/>
                <a:gd name="T80" fmla="*/ 23 w 762"/>
                <a:gd name="T81" fmla="*/ 62 h 900"/>
                <a:gd name="T82" fmla="*/ 23 w 762"/>
                <a:gd name="T83" fmla="*/ 68 h 900"/>
                <a:gd name="T84" fmla="*/ 25 w 762"/>
                <a:gd name="T85" fmla="*/ 77 h 900"/>
                <a:gd name="T86" fmla="*/ 17 w 762"/>
                <a:gd name="T87" fmla="*/ 74 h 900"/>
                <a:gd name="T88" fmla="*/ 17 w 762"/>
                <a:gd name="T89" fmla="*/ 67 h 900"/>
                <a:gd name="T90" fmla="*/ 16 w 762"/>
                <a:gd name="T91" fmla="*/ 67 h 900"/>
                <a:gd name="T92" fmla="*/ 15 w 762"/>
                <a:gd name="T93" fmla="*/ 71 h 900"/>
                <a:gd name="T94" fmla="*/ 12 w 762"/>
                <a:gd name="T95" fmla="*/ 68 h 900"/>
                <a:gd name="T96" fmla="*/ 15 w 762"/>
                <a:gd name="T97" fmla="*/ 72 h 900"/>
                <a:gd name="T98" fmla="*/ 17 w 762"/>
                <a:gd name="T99" fmla="*/ 77 h 900"/>
                <a:gd name="T100" fmla="*/ 11 w 762"/>
                <a:gd name="T101" fmla="*/ 77 h 900"/>
                <a:gd name="T102" fmla="*/ 10 w 762"/>
                <a:gd name="T103" fmla="*/ 69 h 900"/>
                <a:gd name="T104" fmla="*/ 11 w 762"/>
                <a:gd name="T105" fmla="*/ 72 h 900"/>
                <a:gd name="T106" fmla="*/ 9 w 762"/>
                <a:gd name="T107" fmla="*/ 78 h 900"/>
                <a:gd name="T108" fmla="*/ 43 w 762"/>
                <a:gd name="T109" fmla="*/ 71 h 900"/>
                <a:gd name="T110" fmla="*/ 51 w 762"/>
                <a:gd name="T111" fmla="*/ 69 h 900"/>
                <a:gd name="T112" fmla="*/ 43 w 762"/>
                <a:gd name="T113" fmla="*/ 76 h 900"/>
                <a:gd name="T114" fmla="*/ 36 w 762"/>
                <a:gd name="T115" fmla="*/ 65 h 900"/>
                <a:gd name="T116" fmla="*/ 38 w 762"/>
                <a:gd name="T117" fmla="*/ 72 h 900"/>
                <a:gd name="T118" fmla="*/ 34 w 762"/>
                <a:gd name="T119" fmla="*/ 69 h 900"/>
                <a:gd name="T120" fmla="*/ 29 w 762"/>
                <a:gd name="T121" fmla="*/ 64 h 900"/>
                <a:gd name="T122" fmla="*/ 32 w 762"/>
                <a:gd name="T123" fmla="*/ 66 h 9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900"/>
                <a:gd name="T188" fmla="*/ 762 w 762"/>
                <a:gd name="T189" fmla="*/ 900 h 90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900">
                  <a:moveTo>
                    <a:pt x="90" y="768"/>
                  </a:moveTo>
                  <a:lnTo>
                    <a:pt x="102" y="756"/>
                  </a:lnTo>
                  <a:lnTo>
                    <a:pt x="102" y="750"/>
                  </a:lnTo>
                  <a:lnTo>
                    <a:pt x="90" y="744"/>
                  </a:lnTo>
                  <a:lnTo>
                    <a:pt x="84" y="738"/>
                  </a:lnTo>
                  <a:lnTo>
                    <a:pt x="90" y="726"/>
                  </a:lnTo>
                  <a:lnTo>
                    <a:pt x="84" y="720"/>
                  </a:lnTo>
                  <a:lnTo>
                    <a:pt x="78" y="720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72" y="702"/>
                  </a:lnTo>
                  <a:lnTo>
                    <a:pt x="72" y="696"/>
                  </a:lnTo>
                  <a:lnTo>
                    <a:pt x="84" y="684"/>
                  </a:lnTo>
                  <a:lnTo>
                    <a:pt x="96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102" y="654"/>
                  </a:lnTo>
                  <a:lnTo>
                    <a:pt x="108" y="654"/>
                  </a:lnTo>
                  <a:lnTo>
                    <a:pt x="114" y="648"/>
                  </a:lnTo>
                  <a:lnTo>
                    <a:pt x="120" y="642"/>
                  </a:lnTo>
                  <a:lnTo>
                    <a:pt x="120" y="636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14" y="618"/>
                  </a:lnTo>
                  <a:lnTo>
                    <a:pt x="102" y="618"/>
                  </a:lnTo>
                  <a:lnTo>
                    <a:pt x="90" y="618"/>
                  </a:lnTo>
                  <a:lnTo>
                    <a:pt x="78" y="624"/>
                  </a:lnTo>
                  <a:lnTo>
                    <a:pt x="72" y="630"/>
                  </a:lnTo>
                  <a:lnTo>
                    <a:pt x="54" y="642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42" y="642"/>
                  </a:lnTo>
                  <a:lnTo>
                    <a:pt x="42" y="636"/>
                  </a:lnTo>
                  <a:lnTo>
                    <a:pt x="36" y="636"/>
                  </a:lnTo>
                  <a:lnTo>
                    <a:pt x="30" y="642"/>
                  </a:lnTo>
                  <a:lnTo>
                    <a:pt x="30" y="636"/>
                  </a:lnTo>
                  <a:lnTo>
                    <a:pt x="30" y="630"/>
                  </a:lnTo>
                  <a:lnTo>
                    <a:pt x="24" y="630"/>
                  </a:lnTo>
                  <a:lnTo>
                    <a:pt x="30" y="624"/>
                  </a:lnTo>
                  <a:lnTo>
                    <a:pt x="30" y="618"/>
                  </a:lnTo>
                  <a:lnTo>
                    <a:pt x="30" y="612"/>
                  </a:lnTo>
                  <a:lnTo>
                    <a:pt x="36" y="612"/>
                  </a:lnTo>
                  <a:lnTo>
                    <a:pt x="36" y="606"/>
                  </a:lnTo>
                  <a:lnTo>
                    <a:pt x="30" y="606"/>
                  </a:lnTo>
                  <a:lnTo>
                    <a:pt x="24" y="612"/>
                  </a:lnTo>
                  <a:lnTo>
                    <a:pt x="18" y="606"/>
                  </a:lnTo>
                  <a:lnTo>
                    <a:pt x="12" y="594"/>
                  </a:lnTo>
                  <a:lnTo>
                    <a:pt x="6" y="582"/>
                  </a:lnTo>
                  <a:lnTo>
                    <a:pt x="6" y="570"/>
                  </a:lnTo>
                  <a:lnTo>
                    <a:pt x="0" y="558"/>
                  </a:lnTo>
                  <a:lnTo>
                    <a:pt x="6" y="552"/>
                  </a:lnTo>
                  <a:lnTo>
                    <a:pt x="6" y="534"/>
                  </a:lnTo>
                  <a:lnTo>
                    <a:pt x="18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12" y="480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54" y="408"/>
                  </a:lnTo>
                  <a:lnTo>
                    <a:pt x="54" y="396"/>
                  </a:lnTo>
                  <a:lnTo>
                    <a:pt x="54" y="384"/>
                  </a:lnTo>
                  <a:lnTo>
                    <a:pt x="60" y="378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66"/>
                  </a:lnTo>
                  <a:lnTo>
                    <a:pt x="60" y="360"/>
                  </a:lnTo>
                  <a:lnTo>
                    <a:pt x="66" y="360"/>
                  </a:lnTo>
                  <a:lnTo>
                    <a:pt x="72" y="354"/>
                  </a:lnTo>
                  <a:lnTo>
                    <a:pt x="78" y="354"/>
                  </a:lnTo>
                  <a:lnTo>
                    <a:pt x="84" y="348"/>
                  </a:lnTo>
                  <a:lnTo>
                    <a:pt x="96" y="348"/>
                  </a:lnTo>
                  <a:lnTo>
                    <a:pt x="96" y="342"/>
                  </a:lnTo>
                  <a:lnTo>
                    <a:pt x="96" y="336"/>
                  </a:lnTo>
                  <a:lnTo>
                    <a:pt x="96" y="330"/>
                  </a:lnTo>
                  <a:lnTo>
                    <a:pt x="96" y="324"/>
                  </a:lnTo>
                  <a:lnTo>
                    <a:pt x="102" y="318"/>
                  </a:lnTo>
                  <a:lnTo>
                    <a:pt x="108" y="312"/>
                  </a:lnTo>
                  <a:lnTo>
                    <a:pt x="96" y="306"/>
                  </a:lnTo>
                  <a:lnTo>
                    <a:pt x="84" y="288"/>
                  </a:lnTo>
                  <a:lnTo>
                    <a:pt x="108" y="258"/>
                  </a:lnTo>
                  <a:lnTo>
                    <a:pt x="102" y="222"/>
                  </a:lnTo>
                  <a:lnTo>
                    <a:pt x="84" y="222"/>
                  </a:lnTo>
                  <a:lnTo>
                    <a:pt x="54" y="216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2"/>
                  </a:lnTo>
                  <a:lnTo>
                    <a:pt x="72" y="192"/>
                  </a:lnTo>
                  <a:lnTo>
                    <a:pt x="84" y="186"/>
                  </a:lnTo>
                  <a:lnTo>
                    <a:pt x="90" y="186"/>
                  </a:lnTo>
                  <a:lnTo>
                    <a:pt x="90" y="174"/>
                  </a:lnTo>
                  <a:lnTo>
                    <a:pt x="84" y="162"/>
                  </a:lnTo>
                  <a:lnTo>
                    <a:pt x="84" y="150"/>
                  </a:lnTo>
                  <a:lnTo>
                    <a:pt x="84" y="126"/>
                  </a:lnTo>
                  <a:lnTo>
                    <a:pt x="84" y="114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8" y="96"/>
                  </a:lnTo>
                  <a:lnTo>
                    <a:pt x="120" y="90"/>
                  </a:lnTo>
                  <a:lnTo>
                    <a:pt x="126" y="78"/>
                  </a:lnTo>
                  <a:lnTo>
                    <a:pt x="138" y="66"/>
                  </a:lnTo>
                  <a:lnTo>
                    <a:pt x="138" y="48"/>
                  </a:lnTo>
                  <a:lnTo>
                    <a:pt x="138" y="42"/>
                  </a:lnTo>
                  <a:lnTo>
                    <a:pt x="126" y="30"/>
                  </a:lnTo>
                  <a:lnTo>
                    <a:pt x="120" y="18"/>
                  </a:lnTo>
                  <a:lnTo>
                    <a:pt x="132" y="12"/>
                  </a:lnTo>
                  <a:lnTo>
                    <a:pt x="144" y="0"/>
                  </a:lnTo>
                  <a:lnTo>
                    <a:pt x="150" y="6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6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74" y="66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68" y="72"/>
                  </a:lnTo>
                  <a:lnTo>
                    <a:pt x="156" y="150"/>
                  </a:lnTo>
                  <a:lnTo>
                    <a:pt x="168" y="144"/>
                  </a:lnTo>
                  <a:lnTo>
                    <a:pt x="180" y="150"/>
                  </a:lnTo>
                  <a:lnTo>
                    <a:pt x="186" y="150"/>
                  </a:lnTo>
                  <a:lnTo>
                    <a:pt x="186" y="144"/>
                  </a:lnTo>
                  <a:lnTo>
                    <a:pt x="192" y="150"/>
                  </a:lnTo>
                  <a:lnTo>
                    <a:pt x="222" y="150"/>
                  </a:lnTo>
                  <a:lnTo>
                    <a:pt x="222" y="168"/>
                  </a:lnTo>
                  <a:lnTo>
                    <a:pt x="222" y="186"/>
                  </a:lnTo>
                  <a:lnTo>
                    <a:pt x="234" y="198"/>
                  </a:lnTo>
                  <a:lnTo>
                    <a:pt x="234" y="234"/>
                  </a:lnTo>
                  <a:lnTo>
                    <a:pt x="228" y="270"/>
                  </a:lnTo>
                  <a:lnTo>
                    <a:pt x="246" y="282"/>
                  </a:lnTo>
                  <a:lnTo>
                    <a:pt x="258" y="294"/>
                  </a:lnTo>
                  <a:lnTo>
                    <a:pt x="270" y="300"/>
                  </a:lnTo>
                  <a:lnTo>
                    <a:pt x="294" y="300"/>
                  </a:lnTo>
                  <a:lnTo>
                    <a:pt x="288" y="306"/>
                  </a:lnTo>
                  <a:lnTo>
                    <a:pt x="300" y="312"/>
                  </a:lnTo>
                  <a:lnTo>
                    <a:pt x="306" y="318"/>
                  </a:lnTo>
                  <a:lnTo>
                    <a:pt x="324" y="324"/>
                  </a:lnTo>
                  <a:lnTo>
                    <a:pt x="354" y="318"/>
                  </a:lnTo>
                  <a:lnTo>
                    <a:pt x="354" y="312"/>
                  </a:lnTo>
                  <a:lnTo>
                    <a:pt x="366" y="312"/>
                  </a:lnTo>
                  <a:lnTo>
                    <a:pt x="384" y="312"/>
                  </a:lnTo>
                  <a:lnTo>
                    <a:pt x="390" y="306"/>
                  </a:lnTo>
                  <a:lnTo>
                    <a:pt x="396" y="306"/>
                  </a:lnTo>
                  <a:lnTo>
                    <a:pt x="408" y="306"/>
                  </a:lnTo>
                  <a:lnTo>
                    <a:pt x="426" y="312"/>
                  </a:lnTo>
                  <a:lnTo>
                    <a:pt x="456" y="324"/>
                  </a:lnTo>
                  <a:lnTo>
                    <a:pt x="504" y="330"/>
                  </a:lnTo>
                  <a:lnTo>
                    <a:pt x="510" y="336"/>
                  </a:lnTo>
                  <a:lnTo>
                    <a:pt x="534" y="336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58" y="330"/>
                  </a:lnTo>
                  <a:lnTo>
                    <a:pt x="564" y="330"/>
                  </a:lnTo>
                  <a:lnTo>
                    <a:pt x="570" y="354"/>
                  </a:lnTo>
                  <a:lnTo>
                    <a:pt x="564" y="378"/>
                  </a:lnTo>
                  <a:lnTo>
                    <a:pt x="558" y="396"/>
                  </a:lnTo>
                  <a:lnTo>
                    <a:pt x="546" y="414"/>
                  </a:lnTo>
                  <a:lnTo>
                    <a:pt x="546" y="438"/>
                  </a:lnTo>
                  <a:lnTo>
                    <a:pt x="540" y="456"/>
                  </a:lnTo>
                  <a:lnTo>
                    <a:pt x="540" y="474"/>
                  </a:lnTo>
                  <a:lnTo>
                    <a:pt x="528" y="480"/>
                  </a:lnTo>
                  <a:lnTo>
                    <a:pt x="522" y="492"/>
                  </a:lnTo>
                  <a:lnTo>
                    <a:pt x="504" y="498"/>
                  </a:lnTo>
                  <a:lnTo>
                    <a:pt x="498" y="498"/>
                  </a:lnTo>
                  <a:lnTo>
                    <a:pt x="492" y="504"/>
                  </a:lnTo>
                  <a:lnTo>
                    <a:pt x="486" y="510"/>
                  </a:lnTo>
                  <a:lnTo>
                    <a:pt x="480" y="510"/>
                  </a:lnTo>
                  <a:lnTo>
                    <a:pt x="480" y="516"/>
                  </a:lnTo>
                  <a:lnTo>
                    <a:pt x="474" y="522"/>
                  </a:lnTo>
                  <a:lnTo>
                    <a:pt x="474" y="528"/>
                  </a:lnTo>
                  <a:lnTo>
                    <a:pt x="474" y="534"/>
                  </a:lnTo>
                  <a:lnTo>
                    <a:pt x="480" y="540"/>
                  </a:lnTo>
                  <a:lnTo>
                    <a:pt x="492" y="540"/>
                  </a:lnTo>
                  <a:lnTo>
                    <a:pt x="498" y="546"/>
                  </a:lnTo>
                  <a:lnTo>
                    <a:pt x="504" y="552"/>
                  </a:lnTo>
                  <a:lnTo>
                    <a:pt x="510" y="552"/>
                  </a:lnTo>
                  <a:lnTo>
                    <a:pt x="516" y="558"/>
                  </a:lnTo>
                  <a:lnTo>
                    <a:pt x="528" y="558"/>
                  </a:lnTo>
                  <a:lnTo>
                    <a:pt x="534" y="552"/>
                  </a:lnTo>
                  <a:lnTo>
                    <a:pt x="540" y="552"/>
                  </a:lnTo>
                  <a:lnTo>
                    <a:pt x="546" y="552"/>
                  </a:lnTo>
                  <a:lnTo>
                    <a:pt x="558" y="546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70" y="546"/>
                  </a:lnTo>
                  <a:lnTo>
                    <a:pt x="570" y="540"/>
                  </a:lnTo>
                  <a:lnTo>
                    <a:pt x="570" y="546"/>
                  </a:lnTo>
                  <a:lnTo>
                    <a:pt x="576" y="546"/>
                  </a:lnTo>
                  <a:lnTo>
                    <a:pt x="582" y="546"/>
                  </a:lnTo>
                  <a:lnTo>
                    <a:pt x="588" y="540"/>
                  </a:lnTo>
                  <a:lnTo>
                    <a:pt x="594" y="546"/>
                  </a:lnTo>
                  <a:lnTo>
                    <a:pt x="606" y="546"/>
                  </a:lnTo>
                  <a:lnTo>
                    <a:pt x="612" y="546"/>
                  </a:lnTo>
                  <a:lnTo>
                    <a:pt x="612" y="552"/>
                  </a:lnTo>
                  <a:lnTo>
                    <a:pt x="618" y="552"/>
                  </a:lnTo>
                  <a:lnTo>
                    <a:pt x="624" y="552"/>
                  </a:lnTo>
                  <a:lnTo>
                    <a:pt x="630" y="552"/>
                  </a:lnTo>
                  <a:lnTo>
                    <a:pt x="648" y="546"/>
                  </a:lnTo>
                  <a:lnTo>
                    <a:pt x="654" y="546"/>
                  </a:lnTo>
                  <a:lnTo>
                    <a:pt x="654" y="552"/>
                  </a:lnTo>
                  <a:lnTo>
                    <a:pt x="660" y="558"/>
                  </a:lnTo>
                  <a:lnTo>
                    <a:pt x="666" y="564"/>
                  </a:lnTo>
                  <a:lnTo>
                    <a:pt x="672" y="564"/>
                  </a:lnTo>
                  <a:lnTo>
                    <a:pt x="678" y="564"/>
                  </a:lnTo>
                  <a:lnTo>
                    <a:pt x="696" y="576"/>
                  </a:lnTo>
                  <a:lnTo>
                    <a:pt x="696" y="582"/>
                  </a:lnTo>
                  <a:lnTo>
                    <a:pt x="708" y="588"/>
                  </a:lnTo>
                  <a:lnTo>
                    <a:pt x="708" y="594"/>
                  </a:lnTo>
                  <a:lnTo>
                    <a:pt x="720" y="606"/>
                  </a:lnTo>
                  <a:lnTo>
                    <a:pt x="720" y="618"/>
                  </a:lnTo>
                  <a:lnTo>
                    <a:pt x="720" y="624"/>
                  </a:lnTo>
                  <a:lnTo>
                    <a:pt x="726" y="630"/>
                  </a:lnTo>
                  <a:lnTo>
                    <a:pt x="732" y="636"/>
                  </a:lnTo>
                  <a:lnTo>
                    <a:pt x="732" y="642"/>
                  </a:lnTo>
                  <a:lnTo>
                    <a:pt x="732" y="648"/>
                  </a:lnTo>
                  <a:lnTo>
                    <a:pt x="726" y="654"/>
                  </a:lnTo>
                  <a:lnTo>
                    <a:pt x="720" y="660"/>
                  </a:lnTo>
                  <a:lnTo>
                    <a:pt x="714" y="666"/>
                  </a:lnTo>
                  <a:lnTo>
                    <a:pt x="714" y="672"/>
                  </a:lnTo>
                  <a:lnTo>
                    <a:pt x="714" y="678"/>
                  </a:lnTo>
                  <a:lnTo>
                    <a:pt x="720" y="678"/>
                  </a:lnTo>
                  <a:lnTo>
                    <a:pt x="720" y="684"/>
                  </a:lnTo>
                  <a:lnTo>
                    <a:pt x="714" y="690"/>
                  </a:lnTo>
                  <a:lnTo>
                    <a:pt x="714" y="696"/>
                  </a:lnTo>
                  <a:lnTo>
                    <a:pt x="714" y="702"/>
                  </a:lnTo>
                  <a:lnTo>
                    <a:pt x="714" y="708"/>
                  </a:lnTo>
                  <a:lnTo>
                    <a:pt x="720" y="708"/>
                  </a:lnTo>
                  <a:lnTo>
                    <a:pt x="720" y="720"/>
                  </a:lnTo>
                  <a:lnTo>
                    <a:pt x="720" y="726"/>
                  </a:lnTo>
                  <a:lnTo>
                    <a:pt x="726" y="726"/>
                  </a:lnTo>
                  <a:lnTo>
                    <a:pt x="726" y="732"/>
                  </a:lnTo>
                  <a:lnTo>
                    <a:pt x="732" y="732"/>
                  </a:lnTo>
                  <a:lnTo>
                    <a:pt x="732" y="738"/>
                  </a:lnTo>
                  <a:lnTo>
                    <a:pt x="726" y="738"/>
                  </a:lnTo>
                  <a:lnTo>
                    <a:pt x="720" y="738"/>
                  </a:lnTo>
                  <a:lnTo>
                    <a:pt x="720" y="744"/>
                  </a:lnTo>
                  <a:lnTo>
                    <a:pt x="720" y="750"/>
                  </a:lnTo>
                  <a:lnTo>
                    <a:pt x="714" y="750"/>
                  </a:lnTo>
                  <a:lnTo>
                    <a:pt x="714" y="756"/>
                  </a:lnTo>
                  <a:lnTo>
                    <a:pt x="720" y="756"/>
                  </a:lnTo>
                  <a:lnTo>
                    <a:pt x="714" y="762"/>
                  </a:lnTo>
                  <a:lnTo>
                    <a:pt x="720" y="762"/>
                  </a:lnTo>
                  <a:lnTo>
                    <a:pt x="726" y="768"/>
                  </a:lnTo>
                  <a:lnTo>
                    <a:pt x="726" y="774"/>
                  </a:lnTo>
                  <a:lnTo>
                    <a:pt x="732" y="774"/>
                  </a:lnTo>
                  <a:lnTo>
                    <a:pt x="732" y="780"/>
                  </a:lnTo>
                  <a:lnTo>
                    <a:pt x="726" y="780"/>
                  </a:lnTo>
                  <a:lnTo>
                    <a:pt x="726" y="786"/>
                  </a:lnTo>
                  <a:lnTo>
                    <a:pt x="720" y="786"/>
                  </a:lnTo>
                  <a:lnTo>
                    <a:pt x="726" y="786"/>
                  </a:lnTo>
                  <a:lnTo>
                    <a:pt x="732" y="780"/>
                  </a:lnTo>
                  <a:lnTo>
                    <a:pt x="738" y="780"/>
                  </a:lnTo>
                  <a:lnTo>
                    <a:pt x="744" y="780"/>
                  </a:lnTo>
                  <a:lnTo>
                    <a:pt x="744" y="786"/>
                  </a:lnTo>
                  <a:lnTo>
                    <a:pt x="750" y="786"/>
                  </a:lnTo>
                  <a:lnTo>
                    <a:pt x="744" y="786"/>
                  </a:lnTo>
                  <a:lnTo>
                    <a:pt x="744" y="792"/>
                  </a:lnTo>
                  <a:lnTo>
                    <a:pt x="744" y="786"/>
                  </a:lnTo>
                  <a:lnTo>
                    <a:pt x="738" y="792"/>
                  </a:lnTo>
                  <a:lnTo>
                    <a:pt x="744" y="792"/>
                  </a:lnTo>
                  <a:lnTo>
                    <a:pt x="750" y="792"/>
                  </a:lnTo>
                  <a:lnTo>
                    <a:pt x="750" y="786"/>
                  </a:lnTo>
                  <a:lnTo>
                    <a:pt x="756" y="786"/>
                  </a:lnTo>
                  <a:lnTo>
                    <a:pt x="756" y="792"/>
                  </a:lnTo>
                  <a:lnTo>
                    <a:pt x="762" y="792"/>
                  </a:lnTo>
                  <a:lnTo>
                    <a:pt x="756" y="798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0" y="810"/>
                  </a:lnTo>
                  <a:lnTo>
                    <a:pt x="756" y="810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6" y="816"/>
                  </a:lnTo>
                  <a:lnTo>
                    <a:pt x="750" y="816"/>
                  </a:lnTo>
                  <a:lnTo>
                    <a:pt x="738" y="810"/>
                  </a:lnTo>
                  <a:lnTo>
                    <a:pt x="732" y="810"/>
                  </a:lnTo>
                  <a:lnTo>
                    <a:pt x="732" y="816"/>
                  </a:lnTo>
                  <a:lnTo>
                    <a:pt x="726" y="810"/>
                  </a:lnTo>
                  <a:lnTo>
                    <a:pt x="714" y="816"/>
                  </a:lnTo>
                  <a:lnTo>
                    <a:pt x="708" y="816"/>
                  </a:lnTo>
                  <a:lnTo>
                    <a:pt x="702" y="816"/>
                  </a:lnTo>
                  <a:lnTo>
                    <a:pt x="696" y="816"/>
                  </a:lnTo>
                  <a:lnTo>
                    <a:pt x="690" y="822"/>
                  </a:lnTo>
                  <a:lnTo>
                    <a:pt x="684" y="822"/>
                  </a:lnTo>
                  <a:lnTo>
                    <a:pt x="678" y="822"/>
                  </a:lnTo>
                  <a:lnTo>
                    <a:pt x="672" y="822"/>
                  </a:lnTo>
                  <a:lnTo>
                    <a:pt x="666" y="822"/>
                  </a:lnTo>
                  <a:lnTo>
                    <a:pt x="666" y="828"/>
                  </a:lnTo>
                  <a:lnTo>
                    <a:pt x="654" y="828"/>
                  </a:lnTo>
                  <a:lnTo>
                    <a:pt x="648" y="828"/>
                  </a:lnTo>
                  <a:lnTo>
                    <a:pt x="642" y="828"/>
                  </a:lnTo>
                  <a:lnTo>
                    <a:pt x="630" y="828"/>
                  </a:lnTo>
                  <a:lnTo>
                    <a:pt x="624" y="822"/>
                  </a:lnTo>
                  <a:lnTo>
                    <a:pt x="618" y="822"/>
                  </a:lnTo>
                  <a:lnTo>
                    <a:pt x="612" y="822"/>
                  </a:lnTo>
                  <a:lnTo>
                    <a:pt x="606" y="822"/>
                  </a:lnTo>
                  <a:lnTo>
                    <a:pt x="600" y="822"/>
                  </a:lnTo>
                  <a:lnTo>
                    <a:pt x="594" y="822"/>
                  </a:lnTo>
                  <a:lnTo>
                    <a:pt x="594" y="816"/>
                  </a:lnTo>
                  <a:lnTo>
                    <a:pt x="594" y="810"/>
                  </a:lnTo>
                  <a:lnTo>
                    <a:pt x="600" y="804"/>
                  </a:lnTo>
                  <a:lnTo>
                    <a:pt x="600" y="798"/>
                  </a:lnTo>
                  <a:lnTo>
                    <a:pt x="600" y="792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2" y="786"/>
                  </a:lnTo>
                  <a:lnTo>
                    <a:pt x="618" y="786"/>
                  </a:lnTo>
                  <a:lnTo>
                    <a:pt x="624" y="786"/>
                  </a:lnTo>
                  <a:lnTo>
                    <a:pt x="624" y="780"/>
                  </a:lnTo>
                  <a:lnTo>
                    <a:pt x="630" y="780"/>
                  </a:lnTo>
                  <a:lnTo>
                    <a:pt x="630" y="774"/>
                  </a:lnTo>
                  <a:lnTo>
                    <a:pt x="636" y="774"/>
                  </a:lnTo>
                  <a:lnTo>
                    <a:pt x="642" y="780"/>
                  </a:lnTo>
                  <a:lnTo>
                    <a:pt x="642" y="786"/>
                  </a:lnTo>
                  <a:lnTo>
                    <a:pt x="642" y="792"/>
                  </a:lnTo>
                  <a:lnTo>
                    <a:pt x="648" y="792"/>
                  </a:lnTo>
                  <a:lnTo>
                    <a:pt x="648" y="786"/>
                  </a:lnTo>
                  <a:lnTo>
                    <a:pt x="642" y="786"/>
                  </a:lnTo>
                  <a:lnTo>
                    <a:pt x="642" y="780"/>
                  </a:lnTo>
                  <a:lnTo>
                    <a:pt x="642" y="774"/>
                  </a:lnTo>
                  <a:lnTo>
                    <a:pt x="648" y="768"/>
                  </a:lnTo>
                  <a:lnTo>
                    <a:pt x="642" y="768"/>
                  </a:lnTo>
                  <a:lnTo>
                    <a:pt x="648" y="768"/>
                  </a:lnTo>
                  <a:lnTo>
                    <a:pt x="648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66" y="762"/>
                  </a:lnTo>
                  <a:lnTo>
                    <a:pt x="672" y="756"/>
                  </a:lnTo>
                  <a:lnTo>
                    <a:pt x="666" y="756"/>
                  </a:lnTo>
                  <a:lnTo>
                    <a:pt x="660" y="756"/>
                  </a:lnTo>
                  <a:lnTo>
                    <a:pt x="660" y="750"/>
                  </a:lnTo>
                  <a:lnTo>
                    <a:pt x="654" y="750"/>
                  </a:lnTo>
                  <a:lnTo>
                    <a:pt x="648" y="750"/>
                  </a:lnTo>
                  <a:lnTo>
                    <a:pt x="648" y="756"/>
                  </a:lnTo>
                  <a:lnTo>
                    <a:pt x="642" y="756"/>
                  </a:lnTo>
                  <a:lnTo>
                    <a:pt x="642" y="750"/>
                  </a:lnTo>
                  <a:lnTo>
                    <a:pt x="642" y="744"/>
                  </a:lnTo>
                  <a:lnTo>
                    <a:pt x="642" y="750"/>
                  </a:lnTo>
                  <a:lnTo>
                    <a:pt x="636" y="750"/>
                  </a:lnTo>
                  <a:lnTo>
                    <a:pt x="636" y="744"/>
                  </a:lnTo>
                  <a:lnTo>
                    <a:pt x="630" y="744"/>
                  </a:lnTo>
                  <a:lnTo>
                    <a:pt x="630" y="738"/>
                  </a:lnTo>
                  <a:lnTo>
                    <a:pt x="630" y="744"/>
                  </a:lnTo>
                  <a:lnTo>
                    <a:pt x="630" y="750"/>
                  </a:lnTo>
                  <a:lnTo>
                    <a:pt x="636" y="750"/>
                  </a:lnTo>
                  <a:lnTo>
                    <a:pt x="636" y="756"/>
                  </a:lnTo>
                  <a:lnTo>
                    <a:pt x="630" y="756"/>
                  </a:lnTo>
                  <a:lnTo>
                    <a:pt x="636" y="762"/>
                  </a:lnTo>
                  <a:lnTo>
                    <a:pt x="630" y="762"/>
                  </a:lnTo>
                  <a:lnTo>
                    <a:pt x="624" y="762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24" y="786"/>
                  </a:lnTo>
                  <a:lnTo>
                    <a:pt x="618" y="786"/>
                  </a:lnTo>
                  <a:lnTo>
                    <a:pt x="618" y="78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12" y="774"/>
                  </a:lnTo>
                  <a:lnTo>
                    <a:pt x="612" y="780"/>
                  </a:lnTo>
                  <a:lnTo>
                    <a:pt x="606" y="780"/>
                  </a:lnTo>
                  <a:lnTo>
                    <a:pt x="600" y="780"/>
                  </a:lnTo>
                  <a:lnTo>
                    <a:pt x="600" y="774"/>
                  </a:lnTo>
                  <a:lnTo>
                    <a:pt x="594" y="768"/>
                  </a:lnTo>
                  <a:lnTo>
                    <a:pt x="594" y="762"/>
                  </a:lnTo>
                  <a:lnTo>
                    <a:pt x="594" y="756"/>
                  </a:lnTo>
                  <a:lnTo>
                    <a:pt x="594" y="762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594" y="780"/>
                  </a:lnTo>
                  <a:lnTo>
                    <a:pt x="588" y="780"/>
                  </a:lnTo>
                  <a:lnTo>
                    <a:pt x="582" y="780"/>
                  </a:lnTo>
                  <a:lnTo>
                    <a:pt x="576" y="780"/>
                  </a:lnTo>
                  <a:lnTo>
                    <a:pt x="570" y="780"/>
                  </a:lnTo>
                  <a:lnTo>
                    <a:pt x="564" y="780"/>
                  </a:lnTo>
                  <a:lnTo>
                    <a:pt x="564" y="786"/>
                  </a:lnTo>
                  <a:lnTo>
                    <a:pt x="558" y="786"/>
                  </a:lnTo>
                  <a:lnTo>
                    <a:pt x="552" y="786"/>
                  </a:lnTo>
                  <a:lnTo>
                    <a:pt x="552" y="780"/>
                  </a:lnTo>
                  <a:lnTo>
                    <a:pt x="552" y="774"/>
                  </a:lnTo>
                  <a:lnTo>
                    <a:pt x="552" y="768"/>
                  </a:lnTo>
                  <a:lnTo>
                    <a:pt x="546" y="768"/>
                  </a:lnTo>
                  <a:lnTo>
                    <a:pt x="540" y="762"/>
                  </a:lnTo>
                  <a:lnTo>
                    <a:pt x="540" y="756"/>
                  </a:lnTo>
                  <a:lnTo>
                    <a:pt x="534" y="756"/>
                  </a:lnTo>
                  <a:lnTo>
                    <a:pt x="534" y="750"/>
                  </a:lnTo>
                  <a:lnTo>
                    <a:pt x="534" y="744"/>
                  </a:lnTo>
                  <a:lnTo>
                    <a:pt x="528" y="738"/>
                  </a:lnTo>
                  <a:lnTo>
                    <a:pt x="522" y="738"/>
                  </a:lnTo>
                  <a:lnTo>
                    <a:pt x="522" y="732"/>
                  </a:lnTo>
                  <a:lnTo>
                    <a:pt x="510" y="726"/>
                  </a:lnTo>
                  <a:lnTo>
                    <a:pt x="510" y="720"/>
                  </a:lnTo>
                  <a:lnTo>
                    <a:pt x="504" y="720"/>
                  </a:lnTo>
                  <a:lnTo>
                    <a:pt x="504" y="714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8" y="702"/>
                  </a:lnTo>
                  <a:lnTo>
                    <a:pt x="498" y="696"/>
                  </a:lnTo>
                  <a:lnTo>
                    <a:pt x="492" y="690"/>
                  </a:lnTo>
                  <a:lnTo>
                    <a:pt x="492" y="684"/>
                  </a:lnTo>
                  <a:lnTo>
                    <a:pt x="486" y="684"/>
                  </a:lnTo>
                  <a:lnTo>
                    <a:pt x="486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74" y="678"/>
                  </a:lnTo>
                  <a:lnTo>
                    <a:pt x="468" y="678"/>
                  </a:lnTo>
                  <a:lnTo>
                    <a:pt x="462" y="678"/>
                  </a:lnTo>
                  <a:lnTo>
                    <a:pt x="462" y="672"/>
                  </a:lnTo>
                  <a:lnTo>
                    <a:pt x="456" y="672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44" y="666"/>
                  </a:lnTo>
                  <a:lnTo>
                    <a:pt x="438" y="660"/>
                  </a:lnTo>
                  <a:lnTo>
                    <a:pt x="438" y="648"/>
                  </a:lnTo>
                  <a:lnTo>
                    <a:pt x="438" y="642"/>
                  </a:lnTo>
                  <a:lnTo>
                    <a:pt x="438" y="636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36"/>
                  </a:lnTo>
                  <a:lnTo>
                    <a:pt x="420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60"/>
                  </a:lnTo>
                  <a:lnTo>
                    <a:pt x="432" y="666"/>
                  </a:lnTo>
                  <a:lnTo>
                    <a:pt x="438" y="666"/>
                  </a:lnTo>
                  <a:lnTo>
                    <a:pt x="438" y="672"/>
                  </a:lnTo>
                  <a:lnTo>
                    <a:pt x="444" y="672"/>
                  </a:lnTo>
                  <a:lnTo>
                    <a:pt x="444" y="678"/>
                  </a:lnTo>
                  <a:lnTo>
                    <a:pt x="450" y="678"/>
                  </a:lnTo>
                  <a:lnTo>
                    <a:pt x="456" y="678"/>
                  </a:lnTo>
                  <a:lnTo>
                    <a:pt x="456" y="684"/>
                  </a:lnTo>
                  <a:lnTo>
                    <a:pt x="462" y="684"/>
                  </a:lnTo>
                  <a:lnTo>
                    <a:pt x="468" y="684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80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86" y="708"/>
                  </a:lnTo>
                  <a:lnTo>
                    <a:pt x="492" y="714"/>
                  </a:lnTo>
                  <a:lnTo>
                    <a:pt x="492" y="720"/>
                  </a:lnTo>
                  <a:lnTo>
                    <a:pt x="492" y="726"/>
                  </a:lnTo>
                  <a:lnTo>
                    <a:pt x="498" y="732"/>
                  </a:lnTo>
                  <a:lnTo>
                    <a:pt x="492" y="738"/>
                  </a:lnTo>
                  <a:lnTo>
                    <a:pt x="492" y="744"/>
                  </a:lnTo>
                  <a:lnTo>
                    <a:pt x="492" y="750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68" y="738"/>
                  </a:lnTo>
                  <a:lnTo>
                    <a:pt x="468" y="744"/>
                  </a:lnTo>
                  <a:lnTo>
                    <a:pt x="474" y="750"/>
                  </a:lnTo>
                  <a:lnTo>
                    <a:pt x="480" y="756"/>
                  </a:lnTo>
                  <a:lnTo>
                    <a:pt x="486" y="756"/>
                  </a:lnTo>
                  <a:lnTo>
                    <a:pt x="492" y="762"/>
                  </a:lnTo>
                  <a:lnTo>
                    <a:pt x="498" y="768"/>
                  </a:lnTo>
                  <a:lnTo>
                    <a:pt x="492" y="774"/>
                  </a:lnTo>
                  <a:lnTo>
                    <a:pt x="492" y="780"/>
                  </a:lnTo>
                  <a:lnTo>
                    <a:pt x="498" y="780"/>
                  </a:lnTo>
                  <a:lnTo>
                    <a:pt x="492" y="786"/>
                  </a:lnTo>
                  <a:lnTo>
                    <a:pt x="492" y="792"/>
                  </a:lnTo>
                  <a:lnTo>
                    <a:pt x="492" y="79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0" y="810"/>
                  </a:lnTo>
                  <a:lnTo>
                    <a:pt x="480" y="804"/>
                  </a:lnTo>
                  <a:lnTo>
                    <a:pt x="474" y="804"/>
                  </a:lnTo>
                  <a:lnTo>
                    <a:pt x="474" y="798"/>
                  </a:lnTo>
                  <a:lnTo>
                    <a:pt x="474" y="804"/>
                  </a:lnTo>
                  <a:lnTo>
                    <a:pt x="468" y="804"/>
                  </a:lnTo>
                  <a:lnTo>
                    <a:pt x="468" y="810"/>
                  </a:lnTo>
                  <a:lnTo>
                    <a:pt x="462" y="810"/>
                  </a:lnTo>
                  <a:lnTo>
                    <a:pt x="456" y="810"/>
                  </a:lnTo>
                  <a:lnTo>
                    <a:pt x="450" y="810"/>
                  </a:lnTo>
                  <a:lnTo>
                    <a:pt x="450" y="816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50" y="822"/>
                  </a:lnTo>
                  <a:lnTo>
                    <a:pt x="450" y="816"/>
                  </a:lnTo>
                  <a:lnTo>
                    <a:pt x="444" y="816"/>
                  </a:lnTo>
                  <a:lnTo>
                    <a:pt x="438" y="810"/>
                  </a:lnTo>
                  <a:lnTo>
                    <a:pt x="432" y="810"/>
                  </a:lnTo>
                  <a:lnTo>
                    <a:pt x="426" y="804"/>
                  </a:lnTo>
                  <a:lnTo>
                    <a:pt x="426" y="798"/>
                  </a:lnTo>
                  <a:lnTo>
                    <a:pt x="420" y="798"/>
                  </a:lnTo>
                  <a:lnTo>
                    <a:pt x="426" y="798"/>
                  </a:lnTo>
                  <a:lnTo>
                    <a:pt x="426" y="792"/>
                  </a:lnTo>
                  <a:lnTo>
                    <a:pt x="426" y="786"/>
                  </a:lnTo>
                  <a:lnTo>
                    <a:pt x="432" y="786"/>
                  </a:lnTo>
                  <a:lnTo>
                    <a:pt x="432" y="780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0" y="756"/>
                  </a:lnTo>
                  <a:lnTo>
                    <a:pt x="420" y="750"/>
                  </a:lnTo>
                  <a:lnTo>
                    <a:pt x="414" y="750"/>
                  </a:lnTo>
                  <a:lnTo>
                    <a:pt x="420" y="750"/>
                  </a:lnTo>
                  <a:lnTo>
                    <a:pt x="420" y="744"/>
                  </a:lnTo>
                  <a:lnTo>
                    <a:pt x="414" y="744"/>
                  </a:lnTo>
                  <a:lnTo>
                    <a:pt x="414" y="738"/>
                  </a:lnTo>
                  <a:lnTo>
                    <a:pt x="414" y="732"/>
                  </a:lnTo>
                  <a:lnTo>
                    <a:pt x="408" y="732"/>
                  </a:lnTo>
                  <a:lnTo>
                    <a:pt x="408" y="726"/>
                  </a:lnTo>
                  <a:lnTo>
                    <a:pt x="402" y="726"/>
                  </a:lnTo>
                  <a:lnTo>
                    <a:pt x="396" y="726"/>
                  </a:lnTo>
                  <a:lnTo>
                    <a:pt x="390" y="726"/>
                  </a:lnTo>
                  <a:lnTo>
                    <a:pt x="390" y="720"/>
                  </a:lnTo>
                  <a:lnTo>
                    <a:pt x="390" y="714"/>
                  </a:lnTo>
                  <a:lnTo>
                    <a:pt x="384" y="708"/>
                  </a:lnTo>
                  <a:lnTo>
                    <a:pt x="384" y="702"/>
                  </a:lnTo>
                  <a:lnTo>
                    <a:pt x="378" y="702"/>
                  </a:lnTo>
                  <a:lnTo>
                    <a:pt x="378" y="696"/>
                  </a:lnTo>
                  <a:lnTo>
                    <a:pt x="378" y="690"/>
                  </a:lnTo>
                  <a:lnTo>
                    <a:pt x="372" y="684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66" y="666"/>
                  </a:lnTo>
                  <a:lnTo>
                    <a:pt x="366" y="660"/>
                  </a:lnTo>
                  <a:lnTo>
                    <a:pt x="366" y="654"/>
                  </a:lnTo>
                  <a:lnTo>
                    <a:pt x="360" y="648"/>
                  </a:lnTo>
                  <a:lnTo>
                    <a:pt x="360" y="654"/>
                  </a:lnTo>
                  <a:lnTo>
                    <a:pt x="360" y="660"/>
                  </a:lnTo>
                  <a:lnTo>
                    <a:pt x="360" y="666"/>
                  </a:lnTo>
                  <a:lnTo>
                    <a:pt x="360" y="672"/>
                  </a:lnTo>
                  <a:lnTo>
                    <a:pt x="360" y="678"/>
                  </a:lnTo>
                  <a:lnTo>
                    <a:pt x="366" y="678"/>
                  </a:lnTo>
                  <a:lnTo>
                    <a:pt x="366" y="684"/>
                  </a:lnTo>
                  <a:lnTo>
                    <a:pt x="366" y="690"/>
                  </a:lnTo>
                  <a:lnTo>
                    <a:pt x="372" y="696"/>
                  </a:lnTo>
                  <a:lnTo>
                    <a:pt x="372" y="702"/>
                  </a:lnTo>
                  <a:lnTo>
                    <a:pt x="372" y="708"/>
                  </a:lnTo>
                  <a:lnTo>
                    <a:pt x="372" y="714"/>
                  </a:lnTo>
                  <a:lnTo>
                    <a:pt x="366" y="714"/>
                  </a:lnTo>
                  <a:lnTo>
                    <a:pt x="360" y="714"/>
                  </a:lnTo>
                  <a:lnTo>
                    <a:pt x="354" y="714"/>
                  </a:lnTo>
                  <a:lnTo>
                    <a:pt x="348" y="714"/>
                  </a:lnTo>
                  <a:lnTo>
                    <a:pt x="348" y="708"/>
                  </a:lnTo>
                  <a:lnTo>
                    <a:pt x="342" y="708"/>
                  </a:lnTo>
                  <a:lnTo>
                    <a:pt x="342" y="702"/>
                  </a:lnTo>
                  <a:lnTo>
                    <a:pt x="342" y="696"/>
                  </a:lnTo>
                  <a:lnTo>
                    <a:pt x="336" y="696"/>
                  </a:lnTo>
                  <a:lnTo>
                    <a:pt x="336" y="690"/>
                  </a:lnTo>
                  <a:lnTo>
                    <a:pt x="336" y="684"/>
                  </a:lnTo>
                  <a:lnTo>
                    <a:pt x="330" y="684"/>
                  </a:lnTo>
                  <a:lnTo>
                    <a:pt x="330" y="678"/>
                  </a:lnTo>
                  <a:lnTo>
                    <a:pt x="324" y="672"/>
                  </a:lnTo>
                  <a:lnTo>
                    <a:pt x="324" y="666"/>
                  </a:lnTo>
                  <a:lnTo>
                    <a:pt x="318" y="666"/>
                  </a:lnTo>
                  <a:lnTo>
                    <a:pt x="318" y="672"/>
                  </a:lnTo>
                  <a:lnTo>
                    <a:pt x="324" y="672"/>
                  </a:lnTo>
                  <a:lnTo>
                    <a:pt x="324" y="678"/>
                  </a:lnTo>
                  <a:lnTo>
                    <a:pt x="324" y="684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30" y="696"/>
                  </a:lnTo>
                  <a:lnTo>
                    <a:pt x="336" y="702"/>
                  </a:lnTo>
                  <a:lnTo>
                    <a:pt x="342" y="708"/>
                  </a:lnTo>
                  <a:lnTo>
                    <a:pt x="342" y="714"/>
                  </a:lnTo>
                  <a:lnTo>
                    <a:pt x="348" y="720"/>
                  </a:lnTo>
                  <a:lnTo>
                    <a:pt x="342" y="720"/>
                  </a:lnTo>
                  <a:lnTo>
                    <a:pt x="336" y="720"/>
                  </a:lnTo>
                  <a:lnTo>
                    <a:pt x="330" y="720"/>
                  </a:lnTo>
                  <a:lnTo>
                    <a:pt x="330" y="726"/>
                  </a:lnTo>
                  <a:lnTo>
                    <a:pt x="336" y="726"/>
                  </a:lnTo>
                  <a:lnTo>
                    <a:pt x="330" y="732"/>
                  </a:lnTo>
                  <a:lnTo>
                    <a:pt x="330" y="738"/>
                  </a:lnTo>
                  <a:lnTo>
                    <a:pt x="330" y="744"/>
                  </a:lnTo>
                  <a:lnTo>
                    <a:pt x="336" y="744"/>
                  </a:lnTo>
                  <a:lnTo>
                    <a:pt x="342" y="744"/>
                  </a:lnTo>
                  <a:lnTo>
                    <a:pt x="348" y="744"/>
                  </a:lnTo>
                  <a:lnTo>
                    <a:pt x="348" y="750"/>
                  </a:lnTo>
                  <a:lnTo>
                    <a:pt x="354" y="750"/>
                  </a:lnTo>
                  <a:lnTo>
                    <a:pt x="360" y="756"/>
                  </a:lnTo>
                  <a:lnTo>
                    <a:pt x="360" y="762"/>
                  </a:lnTo>
                  <a:lnTo>
                    <a:pt x="366" y="762"/>
                  </a:lnTo>
                  <a:lnTo>
                    <a:pt x="366" y="768"/>
                  </a:lnTo>
                  <a:lnTo>
                    <a:pt x="366" y="774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72" y="792"/>
                  </a:lnTo>
                  <a:lnTo>
                    <a:pt x="372" y="798"/>
                  </a:lnTo>
                  <a:lnTo>
                    <a:pt x="372" y="804"/>
                  </a:lnTo>
                  <a:lnTo>
                    <a:pt x="378" y="804"/>
                  </a:lnTo>
                  <a:lnTo>
                    <a:pt x="378" y="810"/>
                  </a:lnTo>
                  <a:lnTo>
                    <a:pt x="378" y="816"/>
                  </a:lnTo>
                  <a:lnTo>
                    <a:pt x="372" y="816"/>
                  </a:lnTo>
                  <a:lnTo>
                    <a:pt x="378" y="816"/>
                  </a:lnTo>
                  <a:lnTo>
                    <a:pt x="378" y="822"/>
                  </a:lnTo>
                  <a:lnTo>
                    <a:pt x="378" y="828"/>
                  </a:lnTo>
                  <a:lnTo>
                    <a:pt x="378" y="834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0" y="864"/>
                  </a:lnTo>
                  <a:lnTo>
                    <a:pt x="384" y="864"/>
                  </a:lnTo>
                  <a:lnTo>
                    <a:pt x="384" y="870"/>
                  </a:lnTo>
                  <a:lnTo>
                    <a:pt x="378" y="864"/>
                  </a:lnTo>
                  <a:lnTo>
                    <a:pt x="372" y="864"/>
                  </a:lnTo>
                  <a:lnTo>
                    <a:pt x="366" y="858"/>
                  </a:lnTo>
                  <a:lnTo>
                    <a:pt x="366" y="852"/>
                  </a:lnTo>
                  <a:lnTo>
                    <a:pt x="360" y="852"/>
                  </a:lnTo>
                  <a:lnTo>
                    <a:pt x="360" y="858"/>
                  </a:lnTo>
                  <a:lnTo>
                    <a:pt x="366" y="858"/>
                  </a:lnTo>
                  <a:lnTo>
                    <a:pt x="366" y="864"/>
                  </a:lnTo>
                  <a:lnTo>
                    <a:pt x="360" y="864"/>
                  </a:lnTo>
                  <a:lnTo>
                    <a:pt x="354" y="864"/>
                  </a:lnTo>
                  <a:lnTo>
                    <a:pt x="354" y="870"/>
                  </a:lnTo>
                  <a:lnTo>
                    <a:pt x="354" y="864"/>
                  </a:lnTo>
                  <a:lnTo>
                    <a:pt x="348" y="864"/>
                  </a:lnTo>
                  <a:lnTo>
                    <a:pt x="342" y="864"/>
                  </a:lnTo>
                  <a:lnTo>
                    <a:pt x="342" y="858"/>
                  </a:lnTo>
                  <a:lnTo>
                    <a:pt x="336" y="858"/>
                  </a:lnTo>
                  <a:lnTo>
                    <a:pt x="330" y="858"/>
                  </a:lnTo>
                  <a:lnTo>
                    <a:pt x="324" y="858"/>
                  </a:lnTo>
                  <a:lnTo>
                    <a:pt x="318" y="858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0" y="852"/>
                  </a:lnTo>
                  <a:lnTo>
                    <a:pt x="294" y="852"/>
                  </a:lnTo>
                  <a:lnTo>
                    <a:pt x="294" y="846"/>
                  </a:lnTo>
                  <a:lnTo>
                    <a:pt x="288" y="840"/>
                  </a:lnTo>
                  <a:lnTo>
                    <a:pt x="288" y="828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2" y="816"/>
                  </a:lnTo>
                  <a:lnTo>
                    <a:pt x="282" y="810"/>
                  </a:lnTo>
                  <a:lnTo>
                    <a:pt x="276" y="810"/>
                  </a:lnTo>
                  <a:lnTo>
                    <a:pt x="276" y="804"/>
                  </a:lnTo>
                  <a:lnTo>
                    <a:pt x="276" y="798"/>
                  </a:lnTo>
                  <a:lnTo>
                    <a:pt x="276" y="792"/>
                  </a:lnTo>
                  <a:lnTo>
                    <a:pt x="270" y="786"/>
                  </a:lnTo>
                  <a:lnTo>
                    <a:pt x="270" y="780"/>
                  </a:lnTo>
                  <a:lnTo>
                    <a:pt x="270" y="774"/>
                  </a:lnTo>
                  <a:lnTo>
                    <a:pt x="264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64" y="750"/>
                  </a:lnTo>
                  <a:lnTo>
                    <a:pt x="264" y="744"/>
                  </a:lnTo>
                  <a:lnTo>
                    <a:pt x="264" y="738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26"/>
                  </a:lnTo>
                  <a:lnTo>
                    <a:pt x="276" y="720"/>
                  </a:lnTo>
                  <a:lnTo>
                    <a:pt x="282" y="720"/>
                  </a:lnTo>
                  <a:lnTo>
                    <a:pt x="282" y="714"/>
                  </a:lnTo>
                  <a:lnTo>
                    <a:pt x="282" y="708"/>
                  </a:lnTo>
                  <a:lnTo>
                    <a:pt x="276" y="708"/>
                  </a:lnTo>
                  <a:lnTo>
                    <a:pt x="276" y="702"/>
                  </a:lnTo>
                  <a:lnTo>
                    <a:pt x="270" y="702"/>
                  </a:lnTo>
                  <a:lnTo>
                    <a:pt x="270" y="696"/>
                  </a:lnTo>
                  <a:lnTo>
                    <a:pt x="264" y="690"/>
                  </a:lnTo>
                  <a:lnTo>
                    <a:pt x="258" y="690"/>
                  </a:lnTo>
                  <a:lnTo>
                    <a:pt x="258" y="684"/>
                  </a:lnTo>
                  <a:lnTo>
                    <a:pt x="252" y="684"/>
                  </a:lnTo>
                  <a:lnTo>
                    <a:pt x="252" y="678"/>
                  </a:lnTo>
                  <a:lnTo>
                    <a:pt x="246" y="678"/>
                  </a:lnTo>
                  <a:lnTo>
                    <a:pt x="240" y="678"/>
                  </a:lnTo>
                  <a:lnTo>
                    <a:pt x="240" y="684"/>
                  </a:lnTo>
                  <a:lnTo>
                    <a:pt x="246" y="684"/>
                  </a:lnTo>
                  <a:lnTo>
                    <a:pt x="252" y="690"/>
                  </a:lnTo>
                  <a:lnTo>
                    <a:pt x="258" y="690"/>
                  </a:lnTo>
                  <a:lnTo>
                    <a:pt x="258" y="696"/>
                  </a:lnTo>
                  <a:lnTo>
                    <a:pt x="258" y="702"/>
                  </a:lnTo>
                  <a:lnTo>
                    <a:pt x="264" y="702"/>
                  </a:lnTo>
                  <a:lnTo>
                    <a:pt x="270" y="708"/>
                  </a:lnTo>
                  <a:lnTo>
                    <a:pt x="270" y="714"/>
                  </a:lnTo>
                  <a:lnTo>
                    <a:pt x="270" y="720"/>
                  </a:lnTo>
                  <a:lnTo>
                    <a:pt x="276" y="720"/>
                  </a:lnTo>
                  <a:lnTo>
                    <a:pt x="270" y="720"/>
                  </a:lnTo>
                  <a:lnTo>
                    <a:pt x="270" y="726"/>
                  </a:lnTo>
                  <a:lnTo>
                    <a:pt x="264" y="726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52" y="738"/>
                  </a:lnTo>
                  <a:lnTo>
                    <a:pt x="252" y="744"/>
                  </a:lnTo>
                  <a:lnTo>
                    <a:pt x="252" y="750"/>
                  </a:lnTo>
                  <a:lnTo>
                    <a:pt x="252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58" y="774"/>
                  </a:lnTo>
                  <a:lnTo>
                    <a:pt x="258" y="780"/>
                  </a:lnTo>
                  <a:lnTo>
                    <a:pt x="264" y="786"/>
                  </a:lnTo>
                  <a:lnTo>
                    <a:pt x="264" y="792"/>
                  </a:lnTo>
                  <a:lnTo>
                    <a:pt x="264" y="798"/>
                  </a:lnTo>
                  <a:lnTo>
                    <a:pt x="270" y="810"/>
                  </a:lnTo>
                  <a:lnTo>
                    <a:pt x="270" y="816"/>
                  </a:lnTo>
                  <a:lnTo>
                    <a:pt x="270" y="822"/>
                  </a:lnTo>
                  <a:lnTo>
                    <a:pt x="276" y="822"/>
                  </a:lnTo>
                  <a:lnTo>
                    <a:pt x="276" y="828"/>
                  </a:lnTo>
                  <a:lnTo>
                    <a:pt x="276" y="834"/>
                  </a:lnTo>
                  <a:lnTo>
                    <a:pt x="276" y="840"/>
                  </a:lnTo>
                  <a:lnTo>
                    <a:pt x="276" y="846"/>
                  </a:lnTo>
                  <a:lnTo>
                    <a:pt x="282" y="852"/>
                  </a:lnTo>
                  <a:lnTo>
                    <a:pt x="282" y="858"/>
                  </a:lnTo>
                  <a:lnTo>
                    <a:pt x="294" y="864"/>
                  </a:lnTo>
                  <a:lnTo>
                    <a:pt x="300" y="870"/>
                  </a:lnTo>
                  <a:lnTo>
                    <a:pt x="300" y="876"/>
                  </a:lnTo>
                  <a:lnTo>
                    <a:pt x="288" y="876"/>
                  </a:lnTo>
                  <a:lnTo>
                    <a:pt x="282" y="876"/>
                  </a:lnTo>
                  <a:lnTo>
                    <a:pt x="276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2" y="882"/>
                  </a:lnTo>
                  <a:lnTo>
                    <a:pt x="246" y="882"/>
                  </a:lnTo>
                  <a:lnTo>
                    <a:pt x="240" y="882"/>
                  </a:lnTo>
                  <a:lnTo>
                    <a:pt x="234" y="882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204" y="876"/>
                  </a:lnTo>
                  <a:lnTo>
                    <a:pt x="198" y="876"/>
                  </a:lnTo>
                  <a:lnTo>
                    <a:pt x="198" y="870"/>
                  </a:lnTo>
                  <a:lnTo>
                    <a:pt x="198" y="852"/>
                  </a:lnTo>
                  <a:lnTo>
                    <a:pt x="198" y="846"/>
                  </a:lnTo>
                  <a:lnTo>
                    <a:pt x="204" y="846"/>
                  </a:lnTo>
                  <a:lnTo>
                    <a:pt x="198" y="840"/>
                  </a:lnTo>
                  <a:lnTo>
                    <a:pt x="198" y="834"/>
                  </a:lnTo>
                  <a:lnTo>
                    <a:pt x="198" y="828"/>
                  </a:lnTo>
                  <a:lnTo>
                    <a:pt x="198" y="822"/>
                  </a:lnTo>
                  <a:lnTo>
                    <a:pt x="198" y="816"/>
                  </a:lnTo>
                  <a:lnTo>
                    <a:pt x="198" y="810"/>
                  </a:lnTo>
                  <a:lnTo>
                    <a:pt x="192" y="810"/>
                  </a:lnTo>
                  <a:lnTo>
                    <a:pt x="192" y="804"/>
                  </a:lnTo>
                  <a:lnTo>
                    <a:pt x="192" y="798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2" y="774"/>
                  </a:lnTo>
                  <a:lnTo>
                    <a:pt x="192" y="768"/>
                  </a:lnTo>
                  <a:lnTo>
                    <a:pt x="198" y="768"/>
                  </a:lnTo>
                  <a:lnTo>
                    <a:pt x="198" y="762"/>
                  </a:lnTo>
                  <a:lnTo>
                    <a:pt x="198" y="756"/>
                  </a:lnTo>
                  <a:lnTo>
                    <a:pt x="204" y="756"/>
                  </a:lnTo>
                  <a:lnTo>
                    <a:pt x="204" y="750"/>
                  </a:lnTo>
                  <a:lnTo>
                    <a:pt x="210" y="744"/>
                  </a:lnTo>
                  <a:lnTo>
                    <a:pt x="210" y="738"/>
                  </a:lnTo>
                  <a:lnTo>
                    <a:pt x="210" y="732"/>
                  </a:lnTo>
                  <a:lnTo>
                    <a:pt x="210" y="726"/>
                  </a:lnTo>
                  <a:lnTo>
                    <a:pt x="210" y="720"/>
                  </a:lnTo>
                  <a:lnTo>
                    <a:pt x="204" y="714"/>
                  </a:lnTo>
                  <a:lnTo>
                    <a:pt x="204" y="720"/>
                  </a:lnTo>
                  <a:lnTo>
                    <a:pt x="204" y="732"/>
                  </a:lnTo>
                  <a:lnTo>
                    <a:pt x="204" y="738"/>
                  </a:lnTo>
                  <a:lnTo>
                    <a:pt x="198" y="738"/>
                  </a:lnTo>
                  <a:lnTo>
                    <a:pt x="198" y="744"/>
                  </a:lnTo>
                  <a:lnTo>
                    <a:pt x="198" y="750"/>
                  </a:lnTo>
                  <a:lnTo>
                    <a:pt x="192" y="756"/>
                  </a:lnTo>
                  <a:lnTo>
                    <a:pt x="186" y="762"/>
                  </a:lnTo>
                  <a:lnTo>
                    <a:pt x="186" y="768"/>
                  </a:lnTo>
                  <a:lnTo>
                    <a:pt x="186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98"/>
                  </a:lnTo>
                  <a:lnTo>
                    <a:pt x="186" y="804"/>
                  </a:lnTo>
                  <a:lnTo>
                    <a:pt x="186" y="810"/>
                  </a:lnTo>
                  <a:lnTo>
                    <a:pt x="192" y="816"/>
                  </a:lnTo>
                  <a:lnTo>
                    <a:pt x="192" y="828"/>
                  </a:lnTo>
                  <a:lnTo>
                    <a:pt x="192" y="834"/>
                  </a:lnTo>
                  <a:lnTo>
                    <a:pt x="186" y="834"/>
                  </a:lnTo>
                  <a:lnTo>
                    <a:pt x="186" y="828"/>
                  </a:lnTo>
                  <a:lnTo>
                    <a:pt x="180" y="822"/>
                  </a:lnTo>
                  <a:lnTo>
                    <a:pt x="180" y="816"/>
                  </a:lnTo>
                  <a:lnTo>
                    <a:pt x="180" y="810"/>
                  </a:lnTo>
                  <a:lnTo>
                    <a:pt x="174" y="810"/>
                  </a:lnTo>
                  <a:lnTo>
                    <a:pt x="174" y="804"/>
                  </a:lnTo>
                  <a:lnTo>
                    <a:pt x="174" y="798"/>
                  </a:lnTo>
                  <a:lnTo>
                    <a:pt x="174" y="792"/>
                  </a:lnTo>
                  <a:lnTo>
                    <a:pt x="168" y="786"/>
                  </a:lnTo>
                  <a:lnTo>
                    <a:pt x="168" y="780"/>
                  </a:lnTo>
                  <a:lnTo>
                    <a:pt x="162" y="780"/>
                  </a:lnTo>
                  <a:lnTo>
                    <a:pt x="168" y="774"/>
                  </a:lnTo>
                  <a:lnTo>
                    <a:pt x="168" y="768"/>
                  </a:lnTo>
                  <a:lnTo>
                    <a:pt x="174" y="768"/>
                  </a:lnTo>
                  <a:lnTo>
                    <a:pt x="168" y="768"/>
                  </a:lnTo>
                  <a:lnTo>
                    <a:pt x="162" y="774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50" y="774"/>
                  </a:lnTo>
                  <a:lnTo>
                    <a:pt x="144" y="774"/>
                  </a:lnTo>
                  <a:lnTo>
                    <a:pt x="144" y="768"/>
                  </a:lnTo>
                  <a:lnTo>
                    <a:pt x="144" y="762"/>
                  </a:lnTo>
                  <a:lnTo>
                    <a:pt x="138" y="756"/>
                  </a:lnTo>
                  <a:lnTo>
                    <a:pt x="132" y="756"/>
                  </a:lnTo>
                  <a:lnTo>
                    <a:pt x="138" y="756"/>
                  </a:lnTo>
                  <a:lnTo>
                    <a:pt x="138" y="762"/>
                  </a:lnTo>
                  <a:lnTo>
                    <a:pt x="138" y="768"/>
                  </a:lnTo>
                  <a:lnTo>
                    <a:pt x="144" y="768"/>
                  </a:lnTo>
                  <a:lnTo>
                    <a:pt x="144" y="774"/>
                  </a:lnTo>
                  <a:lnTo>
                    <a:pt x="150" y="780"/>
                  </a:lnTo>
                  <a:lnTo>
                    <a:pt x="156" y="780"/>
                  </a:lnTo>
                  <a:lnTo>
                    <a:pt x="156" y="786"/>
                  </a:lnTo>
                  <a:lnTo>
                    <a:pt x="162" y="786"/>
                  </a:lnTo>
                  <a:lnTo>
                    <a:pt x="168" y="792"/>
                  </a:lnTo>
                  <a:lnTo>
                    <a:pt x="168" y="798"/>
                  </a:lnTo>
                  <a:lnTo>
                    <a:pt x="168" y="804"/>
                  </a:lnTo>
                  <a:lnTo>
                    <a:pt x="174" y="810"/>
                  </a:lnTo>
                  <a:lnTo>
                    <a:pt x="174" y="816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68" y="828"/>
                  </a:lnTo>
                  <a:lnTo>
                    <a:pt x="168" y="834"/>
                  </a:lnTo>
                  <a:lnTo>
                    <a:pt x="174" y="840"/>
                  </a:lnTo>
                  <a:lnTo>
                    <a:pt x="180" y="840"/>
                  </a:lnTo>
                  <a:lnTo>
                    <a:pt x="180" y="846"/>
                  </a:lnTo>
                  <a:lnTo>
                    <a:pt x="186" y="846"/>
                  </a:lnTo>
                  <a:lnTo>
                    <a:pt x="186" y="852"/>
                  </a:lnTo>
                  <a:lnTo>
                    <a:pt x="186" y="858"/>
                  </a:lnTo>
                  <a:lnTo>
                    <a:pt x="186" y="864"/>
                  </a:lnTo>
                  <a:lnTo>
                    <a:pt x="192" y="864"/>
                  </a:lnTo>
                  <a:lnTo>
                    <a:pt x="192" y="870"/>
                  </a:lnTo>
                  <a:lnTo>
                    <a:pt x="192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6" y="888"/>
                  </a:lnTo>
                  <a:lnTo>
                    <a:pt x="180" y="888"/>
                  </a:lnTo>
                  <a:lnTo>
                    <a:pt x="174" y="888"/>
                  </a:lnTo>
                  <a:lnTo>
                    <a:pt x="168" y="894"/>
                  </a:lnTo>
                  <a:lnTo>
                    <a:pt x="162" y="894"/>
                  </a:lnTo>
                  <a:lnTo>
                    <a:pt x="156" y="894"/>
                  </a:lnTo>
                  <a:lnTo>
                    <a:pt x="150" y="894"/>
                  </a:lnTo>
                  <a:lnTo>
                    <a:pt x="144" y="894"/>
                  </a:lnTo>
                  <a:lnTo>
                    <a:pt x="144" y="900"/>
                  </a:lnTo>
                  <a:lnTo>
                    <a:pt x="138" y="894"/>
                  </a:lnTo>
                  <a:lnTo>
                    <a:pt x="138" y="900"/>
                  </a:lnTo>
                  <a:lnTo>
                    <a:pt x="132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6" y="882"/>
                  </a:lnTo>
                  <a:lnTo>
                    <a:pt x="126" y="876"/>
                  </a:lnTo>
                  <a:lnTo>
                    <a:pt x="120" y="876"/>
                  </a:lnTo>
                  <a:lnTo>
                    <a:pt x="126" y="870"/>
                  </a:lnTo>
                  <a:lnTo>
                    <a:pt x="126" y="864"/>
                  </a:lnTo>
                  <a:lnTo>
                    <a:pt x="126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26" y="828"/>
                  </a:lnTo>
                  <a:lnTo>
                    <a:pt x="126" y="822"/>
                  </a:lnTo>
                  <a:lnTo>
                    <a:pt x="126" y="816"/>
                  </a:lnTo>
                  <a:lnTo>
                    <a:pt x="126" y="810"/>
                  </a:lnTo>
                  <a:lnTo>
                    <a:pt x="126" y="804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20" y="792"/>
                  </a:lnTo>
                  <a:lnTo>
                    <a:pt x="114" y="792"/>
                  </a:lnTo>
                  <a:lnTo>
                    <a:pt x="114" y="786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96" y="780"/>
                  </a:lnTo>
                  <a:lnTo>
                    <a:pt x="96" y="774"/>
                  </a:lnTo>
                  <a:lnTo>
                    <a:pt x="90" y="774"/>
                  </a:lnTo>
                  <a:lnTo>
                    <a:pt x="90" y="768"/>
                  </a:lnTo>
                  <a:close/>
                  <a:moveTo>
                    <a:pt x="96" y="780"/>
                  </a:moveTo>
                  <a:lnTo>
                    <a:pt x="102" y="780"/>
                  </a:lnTo>
                  <a:lnTo>
                    <a:pt x="102" y="786"/>
                  </a:lnTo>
                  <a:lnTo>
                    <a:pt x="108" y="786"/>
                  </a:lnTo>
                  <a:lnTo>
                    <a:pt x="114" y="792"/>
                  </a:lnTo>
                  <a:lnTo>
                    <a:pt x="120" y="798"/>
                  </a:lnTo>
                  <a:lnTo>
                    <a:pt x="120" y="804"/>
                  </a:lnTo>
                  <a:lnTo>
                    <a:pt x="126" y="810"/>
                  </a:lnTo>
                  <a:lnTo>
                    <a:pt x="126" y="816"/>
                  </a:lnTo>
                  <a:lnTo>
                    <a:pt x="126" y="822"/>
                  </a:lnTo>
                  <a:lnTo>
                    <a:pt x="120" y="828"/>
                  </a:lnTo>
                  <a:lnTo>
                    <a:pt x="120" y="840"/>
                  </a:lnTo>
                  <a:lnTo>
                    <a:pt x="120" y="852"/>
                  </a:lnTo>
                  <a:lnTo>
                    <a:pt x="120" y="858"/>
                  </a:lnTo>
                  <a:lnTo>
                    <a:pt x="120" y="864"/>
                  </a:lnTo>
                  <a:lnTo>
                    <a:pt x="120" y="870"/>
                  </a:lnTo>
                  <a:lnTo>
                    <a:pt x="114" y="870"/>
                  </a:lnTo>
                  <a:lnTo>
                    <a:pt x="108" y="870"/>
                  </a:lnTo>
                  <a:lnTo>
                    <a:pt x="108" y="876"/>
                  </a:lnTo>
                  <a:lnTo>
                    <a:pt x="114" y="876"/>
                  </a:lnTo>
                  <a:lnTo>
                    <a:pt x="120" y="876"/>
                  </a:lnTo>
                  <a:lnTo>
                    <a:pt x="120" y="882"/>
                  </a:lnTo>
                  <a:lnTo>
                    <a:pt x="114" y="888"/>
                  </a:lnTo>
                  <a:lnTo>
                    <a:pt x="120" y="888"/>
                  </a:lnTo>
                  <a:lnTo>
                    <a:pt x="120" y="894"/>
                  </a:lnTo>
                  <a:lnTo>
                    <a:pt x="114" y="894"/>
                  </a:lnTo>
                  <a:lnTo>
                    <a:pt x="108" y="894"/>
                  </a:lnTo>
                  <a:lnTo>
                    <a:pt x="96" y="894"/>
                  </a:lnTo>
                  <a:lnTo>
                    <a:pt x="96" y="882"/>
                  </a:lnTo>
                  <a:lnTo>
                    <a:pt x="96" y="876"/>
                  </a:lnTo>
                  <a:lnTo>
                    <a:pt x="84" y="870"/>
                  </a:lnTo>
                  <a:lnTo>
                    <a:pt x="72" y="864"/>
                  </a:lnTo>
                  <a:lnTo>
                    <a:pt x="72" y="852"/>
                  </a:lnTo>
                  <a:lnTo>
                    <a:pt x="72" y="840"/>
                  </a:lnTo>
                  <a:lnTo>
                    <a:pt x="78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90" y="792"/>
                  </a:lnTo>
                  <a:lnTo>
                    <a:pt x="96" y="780"/>
                  </a:lnTo>
                  <a:close/>
                  <a:moveTo>
                    <a:pt x="492" y="810"/>
                  </a:moveTo>
                  <a:lnTo>
                    <a:pt x="498" y="810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510" y="792"/>
                  </a:lnTo>
                  <a:lnTo>
                    <a:pt x="516" y="786"/>
                  </a:lnTo>
                  <a:lnTo>
                    <a:pt x="522" y="780"/>
                  </a:lnTo>
                  <a:lnTo>
                    <a:pt x="522" y="774"/>
                  </a:lnTo>
                  <a:lnTo>
                    <a:pt x="528" y="768"/>
                  </a:lnTo>
                  <a:lnTo>
                    <a:pt x="528" y="762"/>
                  </a:lnTo>
                  <a:lnTo>
                    <a:pt x="534" y="762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46" y="780"/>
                  </a:lnTo>
                  <a:lnTo>
                    <a:pt x="552" y="786"/>
                  </a:lnTo>
                  <a:lnTo>
                    <a:pt x="558" y="786"/>
                  </a:lnTo>
                  <a:lnTo>
                    <a:pt x="564" y="786"/>
                  </a:lnTo>
                  <a:lnTo>
                    <a:pt x="576" y="786"/>
                  </a:lnTo>
                  <a:lnTo>
                    <a:pt x="582" y="786"/>
                  </a:lnTo>
                  <a:lnTo>
                    <a:pt x="588" y="786"/>
                  </a:lnTo>
                  <a:lnTo>
                    <a:pt x="594" y="786"/>
                  </a:lnTo>
                  <a:lnTo>
                    <a:pt x="588" y="792"/>
                  </a:lnTo>
                  <a:lnTo>
                    <a:pt x="588" y="798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82" y="822"/>
                  </a:lnTo>
                  <a:lnTo>
                    <a:pt x="588" y="828"/>
                  </a:lnTo>
                  <a:lnTo>
                    <a:pt x="588" y="834"/>
                  </a:lnTo>
                  <a:lnTo>
                    <a:pt x="582" y="840"/>
                  </a:lnTo>
                  <a:lnTo>
                    <a:pt x="570" y="840"/>
                  </a:lnTo>
                  <a:lnTo>
                    <a:pt x="558" y="846"/>
                  </a:lnTo>
                  <a:lnTo>
                    <a:pt x="552" y="846"/>
                  </a:lnTo>
                  <a:lnTo>
                    <a:pt x="534" y="852"/>
                  </a:lnTo>
                  <a:lnTo>
                    <a:pt x="522" y="858"/>
                  </a:lnTo>
                  <a:lnTo>
                    <a:pt x="510" y="858"/>
                  </a:lnTo>
                  <a:lnTo>
                    <a:pt x="498" y="864"/>
                  </a:lnTo>
                  <a:lnTo>
                    <a:pt x="474" y="864"/>
                  </a:lnTo>
                  <a:lnTo>
                    <a:pt x="468" y="858"/>
                  </a:lnTo>
                  <a:lnTo>
                    <a:pt x="468" y="852"/>
                  </a:lnTo>
                  <a:lnTo>
                    <a:pt x="468" y="846"/>
                  </a:lnTo>
                  <a:lnTo>
                    <a:pt x="474" y="840"/>
                  </a:lnTo>
                  <a:lnTo>
                    <a:pt x="474" y="834"/>
                  </a:lnTo>
                  <a:lnTo>
                    <a:pt x="480" y="828"/>
                  </a:lnTo>
                  <a:lnTo>
                    <a:pt x="492" y="822"/>
                  </a:lnTo>
                  <a:lnTo>
                    <a:pt x="492" y="810"/>
                  </a:lnTo>
                  <a:close/>
                  <a:moveTo>
                    <a:pt x="384" y="720"/>
                  </a:moveTo>
                  <a:lnTo>
                    <a:pt x="384" y="726"/>
                  </a:lnTo>
                  <a:lnTo>
                    <a:pt x="390" y="726"/>
                  </a:lnTo>
                  <a:lnTo>
                    <a:pt x="396" y="726"/>
                  </a:lnTo>
                  <a:lnTo>
                    <a:pt x="402" y="732"/>
                  </a:lnTo>
                  <a:lnTo>
                    <a:pt x="408" y="732"/>
                  </a:lnTo>
                  <a:lnTo>
                    <a:pt x="414" y="732"/>
                  </a:lnTo>
                  <a:lnTo>
                    <a:pt x="414" y="738"/>
                  </a:lnTo>
                  <a:lnTo>
                    <a:pt x="414" y="744"/>
                  </a:lnTo>
                  <a:lnTo>
                    <a:pt x="414" y="750"/>
                  </a:lnTo>
                  <a:lnTo>
                    <a:pt x="414" y="756"/>
                  </a:lnTo>
                  <a:lnTo>
                    <a:pt x="414" y="762"/>
                  </a:lnTo>
                  <a:lnTo>
                    <a:pt x="420" y="768"/>
                  </a:lnTo>
                  <a:lnTo>
                    <a:pt x="420" y="774"/>
                  </a:lnTo>
                  <a:lnTo>
                    <a:pt x="426" y="780"/>
                  </a:lnTo>
                  <a:lnTo>
                    <a:pt x="426" y="786"/>
                  </a:lnTo>
                  <a:lnTo>
                    <a:pt x="420" y="786"/>
                  </a:lnTo>
                  <a:lnTo>
                    <a:pt x="420" y="792"/>
                  </a:lnTo>
                  <a:lnTo>
                    <a:pt x="420" y="798"/>
                  </a:lnTo>
                  <a:lnTo>
                    <a:pt x="420" y="804"/>
                  </a:lnTo>
                  <a:lnTo>
                    <a:pt x="426" y="804"/>
                  </a:lnTo>
                  <a:lnTo>
                    <a:pt x="426" y="810"/>
                  </a:lnTo>
                  <a:lnTo>
                    <a:pt x="426" y="816"/>
                  </a:lnTo>
                  <a:lnTo>
                    <a:pt x="432" y="816"/>
                  </a:lnTo>
                  <a:lnTo>
                    <a:pt x="438" y="816"/>
                  </a:lnTo>
                  <a:lnTo>
                    <a:pt x="438" y="822"/>
                  </a:lnTo>
                  <a:lnTo>
                    <a:pt x="432" y="822"/>
                  </a:lnTo>
                  <a:lnTo>
                    <a:pt x="426" y="828"/>
                  </a:lnTo>
                  <a:lnTo>
                    <a:pt x="420" y="828"/>
                  </a:lnTo>
                  <a:lnTo>
                    <a:pt x="414" y="828"/>
                  </a:lnTo>
                  <a:lnTo>
                    <a:pt x="408" y="828"/>
                  </a:lnTo>
                  <a:lnTo>
                    <a:pt x="402" y="828"/>
                  </a:lnTo>
                  <a:lnTo>
                    <a:pt x="402" y="822"/>
                  </a:lnTo>
                  <a:lnTo>
                    <a:pt x="396" y="822"/>
                  </a:lnTo>
                  <a:lnTo>
                    <a:pt x="402" y="822"/>
                  </a:lnTo>
                  <a:lnTo>
                    <a:pt x="402" y="816"/>
                  </a:lnTo>
                  <a:lnTo>
                    <a:pt x="396" y="816"/>
                  </a:lnTo>
                  <a:lnTo>
                    <a:pt x="396" y="810"/>
                  </a:lnTo>
                  <a:lnTo>
                    <a:pt x="396" y="804"/>
                  </a:lnTo>
                  <a:lnTo>
                    <a:pt x="390" y="798"/>
                  </a:lnTo>
                  <a:lnTo>
                    <a:pt x="390" y="792"/>
                  </a:lnTo>
                  <a:lnTo>
                    <a:pt x="390" y="786"/>
                  </a:lnTo>
                  <a:lnTo>
                    <a:pt x="390" y="780"/>
                  </a:lnTo>
                  <a:lnTo>
                    <a:pt x="390" y="774"/>
                  </a:lnTo>
                  <a:lnTo>
                    <a:pt x="390" y="768"/>
                  </a:lnTo>
                  <a:lnTo>
                    <a:pt x="390" y="762"/>
                  </a:lnTo>
                  <a:lnTo>
                    <a:pt x="384" y="756"/>
                  </a:lnTo>
                  <a:lnTo>
                    <a:pt x="384" y="750"/>
                  </a:lnTo>
                  <a:lnTo>
                    <a:pt x="384" y="744"/>
                  </a:lnTo>
                  <a:lnTo>
                    <a:pt x="378" y="744"/>
                  </a:lnTo>
                  <a:lnTo>
                    <a:pt x="384" y="744"/>
                  </a:lnTo>
                  <a:lnTo>
                    <a:pt x="384" y="738"/>
                  </a:lnTo>
                  <a:lnTo>
                    <a:pt x="378" y="738"/>
                  </a:lnTo>
                  <a:lnTo>
                    <a:pt x="378" y="732"/>
                  </a:lnTo>
                  <a:lnTo>
                    <a:pt x="378" y="726"/>
                  </a:lnTo>
                  <a:lnTo>
                    <a:pt x="378" y="720"/>
                  </a:lnTo>
                  <a:lnTo>
                    <a:pt x="384" y="720"/>
                  </a:lnTo>
                  <a:close/>
                  <a:moveTo>
                    <a:pt x="330" y="738"/>
                  </a:moveTo>
                  <a:lnTo>
                    <a:pt x="336" y="732"/>
                  </a:lnTo>
                  <a:lnTo>
                    <a:pt x="336" y="726"/>
                  </a:lnTo>
                  <a:lnTo>
                    <a:pt x="342" y="720"/>
                  </a:lnTo>
                  <a:lnTo>
                    <a:pt x="348" y="720"/>
                  </a:lnTo>
                  <a:lnTo>
                    <a:pt x="360" y="720"/>
                  </a:lnTo>
                  <a:lnTo>
                    <a:pt x="366" y="726"/>
                  </a:lnTo>
                  <a:lnTo>
                    <a:pt x="372" y="732"/>
                  </a:lnTo>
                  <a:lnTo>
                    <a:pt x="372" y="738"/>
                  </a:lnTo>
                  <a:lnTo>
                    <a:pt x="366" y="750"/>
                  </a:lnTo>
                  <a:lnTo>
                    <a:pt x="372" y="756"/>
                  </a:lnTo>
                  <a:lnTo>
                    <a:pt x="372" y="762"/>
                  </a:lnTo>
                  <a:lnTo>
                    <a:pt x="372" y="768"/>
                  </a:lnTo>
                  <a:lnTo>
                    <a:pt x="372" y="774"/>
                  </a:lnTo>
                  <a:lnTo>
                    <a:pt x="372" y="780"/>
                  </a:lnTo>
                  <a:lnTo>
                    <a:pt x="372" y="774"/>
                  </a:lnTo>
                  <a:lnTo>
                    <a:pt x="366" y="768"/>
                  </a:lnTo>
                  <a:lnTo>
                    <a:pt x="366" y="762"/>
                  </a:lnTo>
                  <a:lnTo>
                    <a:pt x="366" y="756"/>
                  </a:lnTo>
                  <a:lnTo>
                    <a:pt x="360" y="756"/>
                  </a:lnTo>
                  <a:lnTo>
                    <a:pt x="360" y="750"/>
                  </a:lnTo>
                  <a:lnTo>
                    <a:pt x="354" y="750"/>
                  </a:lnTo>
                  <a:lnTo>
                    <a:pt x="348" y="744"/>
                  </a:lnTo>
                  <a:lnTo>
                    <a:pt x="342" y="744"/>
                  </a:lnTo>
                  <a:lnTo>
                    <a:pt x="336" y="744"/>
                  </a:lnTo>
                  <a:lnTo>
                    <a:pt x="330" y="73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1" name="Freeform 6">
              <a:extLst>
                <a:ext uri="{FF2B5EF4-FFF2-40B4-BE49-F238E27FC236}">
                  <a16:creationId xmlns:a16="http://schemas.microsoft.com/office/drawing/2014/main" id="{0656C385-F30A-4AC8-AE9F-B1F66208B38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3123" y="4163918"/>
              <a:ext cx="266107" cy="248252"/>
            </a:xfrm>
            <a:custGeom>
              <a:avLst/>
              <a:gdLst>
                <a:gd name="T0" fmla="*/ 33 w 504"/>
                <a:gd name="T1" fmla="*/ 41 h 468"/>
                <a:gd name="T2" fmla="*/ 26 w 504"/>
                <a:gd name="T3" fmla="*/ 39 h 468"/>
                <a:gd name="T4" fmla="*/ 21 w 504"/>
                <a:gd name="T5" fmla="*/ 38 h 468"/>
                <a:gd name="T6" fmla="*/ 18 w 504"/>
                <a:gd name="T7" fmla="*/ 38 h 468"/>
                <a:gd name="T8" fmla="*/ 15 w 504"/>
                <a:gd name="T9" fmla="*/ 39 h 468"/>
                <a:gd name="T10" fmla="*/ 12 w 504"/>
                <a:gd name="T11" fmla="*/ 38 h 468"/>
                <a:gd name="T12" fmla="*/ 9 w 504"/>
                <a:gd name="T13" fmla="*/ 37 h 468"/>
                <a:gd name="T14" fmla="*/ 7 w 504"/>
                <a:gd name="T15" fmla="*/ 32 h 468"/>
                <a:gd name="T16" fmla="*/ 6 w 504"/>
                <a:gd name="T17" fmla="*/ 26 h 468"/>
                <a:gd name="T18" fmla="*/ 3 w 504"/>
                <a:gd name="T19" fmla="*/ 24 h 468"/>
                <a:gd name="T20" fmla="*/ 1 w 504"/>
                <a:gd name="T21" fmla="*/ 24 h 468"/>
                <a:gd name="T22" fmla="*/ 2 w 504"/>
                <a:gd name="T23" fmla="*/ 18 h 468"/>
                <a:gd name="T24" fmla="*/ 1 w 504"/>
                <a:gd name="T25" fmla="*/ 17 h 468"/>
                <a:gd name="T26" fmla="*/ 0 w 504"/>
                <a:gd name="T27" fmla="*/ 17 h 468"/>
                <a:gd name="T28" fmla="*/ 0 w 504"/>
                <a:gd name="T29" fmla="*/ 15 h 468"/>
                <a:gd name="T30" fmla="*/ 2 w 504"/>
                <a:gd name="T31" fmla="*/ 12 h 468"/>
                <a:gd name="T32" fmla="*/ 4 w 504"/>
                <a:gd name="T33" fmla="*/ 10 h 468"/>
                <a:gd name="T34" fmla="*/ 6 w 504"/>
                <a:gd name="T35" fmla="*/ 8 h 468"/>
                <a:gd name="T36" fmla="*/ 8 w 504"/>
                <a:gd name="T37" fmla="*/ 8 h 468"/>
                <a:gd name="T38" fmla="*/ 10 w 504"/>
                <a:gd name="T39" fmla="*/ 9 h 468"/>
                <a:gd name="T40" fmla="*/ 12 w 504"/>
                <a:gd name="T41" fmla="*/ 10 h 468"/>
                <a:gd name="T42" fmla="*/ 12 w 504"/>
                <a:gd name="T43" fmla="*/ 11 h 468"/>
                <a:gd name="T44" fmla="*/ 14 w 504"/>
                <a:gd name="T45" fmla="*/ 8 h 468"/>
                <a:gd name="T46" fmla="*/ 15 w 504"/>
                <a:gd name="T47" fmla="*/ 7 h 468"/>
                <a:gd name="T48" fmla="*/ 17 w 504"/>
                <a:gd name="T49" fmla="*/ 6 h 468"/>
                <a:gd name="T50" fmla="*/ 19 w 504"/>
                <a:gd name="T51" fmla="*/ 3 h 468"/>
                <a:gd name="T52" fmla="*/ 20 w 504"/>
                <a:gd name="T53" fmla="*/ 2 h 468"/>
                <a:gd name="T54" fmla="*/ 22 w 504"/>
                <a:gd name="T55" fmla="*/ 1 h 468"/>
                <a:gd name="T56" fmla="*/ 27 w 504"/>
                <a:gd name="T57" fmla="*/ 1 h 468"/>
                <a:gd name="T58" fmla="*/ 30 w 504"/>
                <a:gd name="T59" fmla="*/ 2 h 468"/>
                <a:gd name="T60" fmla="*/ 31 w 504"/>
                <a:gd name="T61" fmla="*/ 2 h 468"/>
                <a:gd name="T62" fmla="*/ 34 w 504"/>
                <a:gd name="T63" fmla="*/ 0 h 468"/>
                <a:gd name="T64" fmla="*/ 37 w 504"/>
                <a:gd name="T65" fmla="*/ 1 h 468"/>
                <a:gd name="T66" fmla="*/ 41 w 504"/>
                <a:gd name="T67" fmla="*/ 2 h 468"/>
                <a:gd name="T68" fmla="*/ 42 w 504"/>
                <a:gd name="T69" fmla="*/ 4 h 468"/>
                <a:gd name="T70" fmla="*/ 42 w 504"/>
                <a:gd name="T71" fmla="*/ 10 h 468"/>
                <a:gd name="T72" fmla="*/ 41 w 504"/>
                <a:gd name="T73" fmla="*/ 14 h 468"/>
                <a:gd name="T74" fmla="*/ 42 w 504"/>
                <a:gd name="T75" fmla="*/ 15 h 468"/>
                <a:gd name="T76" fmla="*/ 44 w 504"/>
                <a:gd name="T77" fmla="*/ 18 h 468"/>
                <a:gd name="T78" fmla="*/ 43 w 504"/>
                <a:gd name="T79" fmla="*/ 19 h 468"/>
                <a:gd name="T80" fmla="*/ 42 w 504"/>
                <a:gd name="T81" fmla="*/ 21 h 468"/>
                <a:gd name="T82" fmla="*/ 42 w 504"/>
                <a:gd name="T83" fmla="*/ 23 h 468"/>
                <a:gd name="T84" fmla="*/ 39 w 504"/>
                <a:gd name="T85" fmla="*/ 27 h 468"/>
                <a:gd name="T86" fmla="*/ 38 w 504"/>
                <a:gd name="T87" fmla="*/ 29 h 468"/>
                <a:gd name="T88" fmla="*/ 38 w 504"/>
                <a:gd name="T89" fmla="*/ 31 h 468"/>
                <a:gd name="T90" fmla="*/ 36 w 504"/>
                <a:gd name="T91" fmla="*/ 32 h 468"/>
                <a:gd name="T92" fmla="*/ 35 w 504"/>
                <a:gd name="T93" fmla="*/ 34 h 468"/>
                <a:gd name="T94" fmla="*/ 34 w 504"/>
                <a:gd name="T95" fmla="*/ 38 h 46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04"/>
                <a:gd name="T145" fmla="*/ 0 h 468"/>
                <a:gd name="T146" fmla="*/ 504 w 504"/>
                <a:gd name="T147" fmla="*/ 468 h 46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04" h="468">
                  <a:moveTo>
                    <a:pt x="390" y="456"/>
                  </a:moveTo>
                  <a:lnTo>
                    <a:pt x="384" y="468"/>
                  </a:lnTo>
                  <a:lnTo>
                    <a:pt x="378" y="468"/>
                  </a:lnTo>
                  <a:lnTo>
                    <a:pt x="354" y="468"/>
                  </a:lnTo>
                  <a:lnTo>
                    <a:pt x="348" y="462"/>
                  </a:lnTo>
                  <a:lnTo>
                    <a:pt x="300" y="456"/>
                  </a:lnTo>
                  <a:lnTo>
                    <a:pt x="270" y="444"/>
                  </a:lnTo>
                  <a:lnTo>
                    <a:pt x="252" y="438"/>
                  </a:lnTo>
                  <a:lnTo>
                    <a:pt x="240" y="438"/>
                  </a:lnTo>
                  <a:lnTo>
                    <a:pt x="234" y="438"/>
                  </a:lnTo>
                  <a:lnTo>
                    <a:pt x="228" y="444"/>
                  </a:lnTo>
                  <a:lnTo>
                    <a:pt x="210" y="444"/>
                  </a:lnTo>
                  <a:lnTo>
                    <a:pt x="198" y="444"/>
                  </a:lnTo>
                  <a:lnTo>
                    <a:pt x="198" y="450"/>
                  </a:lnTo>
                  <a:lnTo>
                    <a:pt x="168" y="456"/>
                  </a:lnTo>
                  <a:lnTo>
                    <a:pt x="150" y="450"/>
                  </a:lnTo>
                  <a:lnTo>
                    <a:pt x="144" y="444"/>
                  </a:lnTo>
                  <a:lnTo>
                    <a:pt x="132" y="438"/>
                  </a:lnTo>
                  <a:lnTo>
                    <a:pt x="138" y="432"/>
                  </a:lnTo>
                  <a:lnTo>
                    <a:pt x="114" y="432"/>
                  </a:lnTo>
                  <a:lnTo>
                    <a:pt x="102" y="426"/>
                  </a:lnTo>
                  <a:lnTo>
                    <a:pt x="90" y="414"/>
                  </a:lnTo>
                  <a:lnTo>
                    <a:pt x="72" y="402"/>
                  </a:lnTo>
                  <a:lnTo>
                    <a:pt x="78" y="366"/>
                  </a:lnTo>
                  <a:lnTo>
                    <a:pt x="78" y="330"/>
                  </a:lnTo>
                  <a:lnTo>
                    <a:pt x="66" y="318"/>
                  </a:lnTo>
                  <a:lnTo>
                    <a:pt x="66" y="300"/>
                  </a:lnTo>
                  <a:lnTo>
                    <a:pt x="66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30" y="282"/>
                  </a:lnTo>
                  <a:lnTo>
                    <a:pt x="24" y="282"/>
                  </a:lnTo>
                  <a:lnTo>
                    <a:pt x="12" y="276"/>
                  </a:lnTo>
                  <a:lnTo>
                    <a:pt x="0" y="282"/>
                  </a:lnTo>
                  <a:lnTo>
                    <a:pt x="12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2" y="198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6" y="180"/>
                  </a:lnTo>
                  <a:lnTo>
                    <a:pt x="12" y="186"/>
                  </a:lnTo>
                  <a:lnTo>
                    <a:pt x="18" y="138"/>
                  </a:lnTo>
                  <a:lnTo>
                    <a:pt x="24" y="126"/>
                  </a:lnTo>
                  <a:lnTo>
                    <a:pt x="30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20" y="102"/>
                  </a:lnTo>
                  <a:lnTo>
                    <a:pt x="126" y="108"/>
                  </a:lnTo>
                  <a:lnTo>
                    <a:pt x="126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0"/>
                  </a:lnTo>
                  <a:lnTo>
                    <a:pt x="156" y="96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16" y="42"/>
                  </a:lnTo>
                  <a:lnTo>
                    <a:pt x="222" y="36"/>
                  </a:lnTo>
                  <a:lnTo>
                    <a:pt x="228" y="36"/>
                  </a:lnTo>
                  <a:lnTo>
                    <a:pt x="228" y="30"/>
                  </a:lnTo>
                  <a:lnTo>
                    <a:pt x="228" y="24"/>
                  </a:lnTo>
                  <a:lnTo>
                    <a:pt x="246" y="18"/>
                  </a:lnTo>
                  <a:lnTo>
                    <a:pt x="252" y="18"/>
                  </a:lnTo>
                  <a:lnTo>
                    <a:pt x="258" y="12"/>
                  </a:lnTo>
                  <a:lnTo>
                    <a:pt x="270" y="6"/>
                  </a:lnTo>
                  <a:lnTo>
                    <a:pt x="288" y="6"/>
                  </a:lnTo>
                  <a:lnTo>
                    <a:pt x="312" y="12"/>
                  </a:lnTo>
                  <a:lnTo>
                    <a:pt x="324" y="12"/>
                  </a:lnTo>
                  <a:lnTo>
                    <a:pt x="336" y="18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14" y="12"/>
                  </a:lnTo>
                  <a:lnTo>
                    <a:pt x="426" y="12"/>
                  </a:lnTo>
                  <a:lnTo>
                    <a:pt x="444" y="18"/>
                  </a:lnTo>
                  <a:lnTo>
                    <a:pt x="462" y="18"/>
                  </a:lnTo>
                  <a:lnTo>
                    <a:pt x="474" y="18"/>
                  </a:lnTo>
                  <a:lnTo>
                    <a:pt x="480" y="18"/>
                  </a:lnTo>
                  <a:lnTo>
                    <a:pt x="486" y="36"/>
                  </a:lnTo>
                  <a:lnTo>
                    <a:pt x="480" y="42"/>
                  </a:lnTo>
                  <a:lnTo>
                    <a:pt x="480" y="54"/>
                  </a:lnTo>
                  <a:lnTo>
                    <a:pt x="486" y="78"/>
                  </a:lnTo>
                  <a:lnTo>
                    <a:pt x="486" y="114"/>
                  </a:lnTo>
                  <a:lnTo>
                    <a:pt x="486" y="150"/>
                  </a:lnTo>
                  <a:lnTo>
                    <a:pt x="468" y="150"/>
                  </a:lnTo>
                  <a:lnTo>
                    <a:pt x="474" y="162"/>
                  </a:lnTo>
                  <a:lnTo>
                    <a:pt x="480" y="162"/>
                  </a:lnTo>
                  <a:lnTo>
                    <a:pt x="486" y="174"/>
                  </a:lnTo>
                  <a:lnTo>
                    <a:pt x="492" y="174"/>
                  </a:lnTo>
                  <a:lnTo>
                    <a:pt x="492" y="192"/>
                  </a:lnTo>
                  <a:lnTo>
                    <a:pt x="498" y="198"/>
                  </a:lnTo>
                  <a:lnTo>
                    <a:pt x="504" y="204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8" y="222"/>
                  </a:lnTo>
                  <a:lnTo>
                    <a:pt x="492" y="228"/>
                  </a:lnTo>
                  <a:lnTo>
                    <a:pt x="492" y="234"/>
                  </a:lnTo>
                  <a:lnTo>
                    <a:pt x="492" y="240"/>
                  </a:lnTo>
                  <a:lnTo>
                    <a:pt x="486" y="246"/>
                  </a:lnTo>
                  <a:lnTo>
                    <a:pt x="486" y="258"/>
                  </a:lnTo>
                  <a:lnTo>
                    <a:pt x="480" y="264"/>
                  </a:lnTo>
                  <a:lnTo>
                    <a:pt x="474" y="276"/>
                  </a:lnTo>
                  <a:lnTo>
                    <a:pt x="468" y="288"/>
                  </a:lnTo>
                  <a:lnTo>
                    <a:pt x="456" y="306"/>
                  </a:lnTo>
                  <a:lnTo>
                    <a:pt x="456" y="312"/>
                  </a:lnTo>
                  <a:lnTo>
                    <a:pt x="444" y="318"/>
                  </a:lnTo>
                  <a:lnTo>
                    <a:pt x="432" y="336"/>
                  </a:lnTo>
                  <a:lnTo>
                    <a:pt x="432" y="342"/>
                  </a:lnTo>
                  <a:lnTo>
                    <a:pt x="432" y="348"/>
                  </a:lnTo>
                  <a:lnTo>
                    <a:pt x="432" y="354"/>
                  </a:lnTo>
                  <a:lnTo>
                    <a:pt x="426" y="366"/>
                  </a:lnTo>
                  <a:lnTo>
                    <a:pt x="420" y="366"/>
                  </a:lnTo>
                  <a:lnTo>
                    <a:pt x="420" y="372"/>
                  </a:lnTo>
                  <a:lnTo>
                    <a:pt x="414" y="378"/>
                  </a:lnTo>
                  <a:lnTo>
                    <a:pt x="414" y="390"/>
                  </a:lnTo>
                  <a:lnTo>
                    <a:pt x="408" y="390"/>
                  </a:lnTo>
                  <a:lnTo>
                    <a:pt x="408" y="402"/>
                  </a:lnTo>
                  <a:lnTo>
                    <a:pt x="402" y="414"/>
                  </a:lnTo>
                  <a:lnTo>
                    <a:pt x="396" y="438"/>
                  </a:lnTo>
                  <a:lnTo>
                    <a:pt x="396" y="444"/>
                  </a:lnTo>
                  <a:lnTo>
                    <a:pt x="390" y="45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11" name="Freeform 7">
              <a:extLst>
                <a:ext uri="{FF2B5EF4-FFF2-40B4-BE49-F238E27FC236}">
                  <a16:creationId xmlns:a16="http://schemas.microsoft.com/office/drawing/2014/main" id="{0D8DE62D-4554-4314-9F3A-7208D89B4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90838" y="4128134"/>
              <a:ext cx="283995" cy="411516"/>
            </a:xfrm>
            <a:custGeom>
              <a:avLst/>
              <a:gdLst>
                <a:gd name="T0" fmla="*/ 39 w 534"/>
                <a:gd name="T1" fmla="*/ 35 h 774"/>
                <a:gd name="T2" fmla="*/ 35 w 534"/>
                <a:gd name="T3" fmla="*/ 31 h 774"/>
                <a:gd name="T4" fmla="*/ 32 w 534"/>
                <a:gd name="T5" fmla="*/ 29 h 774"/>
                <a:gd name="T6" fmla="*/ 32 w 534"/>
                <a:gd name="T7" fmla="*/ 31 h 774"/>
                <a:gd name="T8" fmla="*/ 29 w 534"/>
                <a:gd name="T9" fmla="*/ 33 h 774"/>
                <a:gd name="T10" fmla="*/ 27 w 534"/>
                <a:gd name="T11" fmla="*/ 36 h 774"/>
                <a:gd name="T12" fmla="*/ 30 w 534"/>
                <a:gd name="T13" fmla="*/ 38 h 774"/>
                <a:gd name="T14" fmla="*/ 29 w 534"/>
                <a:gd name="T15" fmla="*/ 40 h 774"/>
                <a:gd name="T16" fmla="*/ 25 w 534"/>
                <a:gd name="T17" fmla="*/ 40 h 774"/>
                <a:gd name="T18" fmla="*/ 23 w 534"/>
                <a:gd name="T19" fmla="*/ 42 h 774"/>
                <a:gd name="T20" fmla="*/ 22 w 534"/>
                <a:gd name="T21" fmla="*/ 47 h 774"/>
                <a:gd name="T22" fmla="*/ 22 w 534"/>
                <a:gd name="T23" fmla="*/ 51 h 774"/>
                <a:gd name="T24" fmla="*/ 22 w 534"/>
                <a:gd name="T25" fmla="*/ 54 h 774"/>
                <a:gd name="T26" fmla="*/ 21 w 534"/>
                <a:gd name="T27" fmla="*/ 56 h 774"/>
                <a:gd name="T28" fmla="*/ 19 w 534"/>
                <a:gd name="T29" fmla="*/ 58 h 774"/>
                <a:gd name="T30" fmla="*/ 20 w 534"/>
                <a:gd name="T31" fmla="*/ 59 h 774"/>
                <a:gd name="T32" fmla="*/ 19 w 534"/>
                <a:gd name="T33" fmla="*/ 62 h 774"/>
                <a:gd name="T34" fmla="*/ 19 w 534"/>
                <a:gd name="T35" fmla="*/ 64 h 774"/>
                <a:gd name="T36" fmla="*/ 20 w 534"/>
                <a:gd name="T37" fmla="*/ 66 h 774"/>
                <a:gd name="T38" fmla="*/ 17 w 534"/>
                <a:gd name="T39" fmla="*/ 66 h 774"/>
                <a:gd name="T40" fmla="*/ 16 w 534"/>
                <a:gd name="T41" fmla="*/ 65 h 774"/>
                <a:gd name="T42" fmla="*/ 13 w 534"/>
                <a:gd name="T43" fmla="*/ 65 h 774"/>
                <a:gd name="T44" fmla="*/ 11 w 534"/>
                <a:gd name="T45" fmla="*/ 65 h 774"/>
                <a:gd name="T46" fmla="*/ 8 w 534"/>
                <a:gd name="T47" fmla="*/ 65 h 774"/>
                <a:gd name="T48" fmla="*/ 8 w 534"/>
                <a:gd name="T49" fmla="*/ 64 h 774"/>
                <a:gd name="T50" fmla="*/ 5 w 534"/>
                <a:gd name="T51" fmla="*/ 65 h 774"/>
                <a:gd name="T52" fmla="*/ 3 w 534"/>
                <a:gd name="T53" fmla="*/ 65 h 774"/>
                <a:gd name="T54" fmla="*/ 0 w 534"/>
                <a:gd name="T55" fmla="*/ 64 h 774"/>
                <a:gd name="T56" fmla="*/ 0 w 534"/>
                <a:gd name="T57" fmla="*/ 62 h 774"/>
                <a:gd name="T58" fmla="*/ 3 w 534"/>
                <a:gd name="T59" fmla="*/ 60 h 774"/>
                <a:gd name="T60" fmla="*/ 6 w 534"/>
                <a:gd name="T61" fmla="*/ 57 h 774"/>
                <a:gd name="T62" fmla="*/ 8 w 534"/>
                <a:gd name="T63" fmla="*/ 50 h 774"/>
                <a:gd name="T64" fmla="*/ 6 w 534"/>
                <a:gd name="T65" fmla="*/ 45 h 774"/>
                <a:gd name="T66" fmla="*/ 8 w 534"/>
                <a:gd name="T67" fmla="*/ 41 h 774"/>
                <a:gd name="T68" fmla="*/ 9 w 534"/>
                <a:gd name="T69" fmla="*/ 38 h 774"/>
                <a:gd name="T70" fmla="*/ 10 w 534"/>
                <a:gd name="T71" fmla="*/ 36 h 774"/>
                <a:gd name="T72" fmla="*/ 12 w 534"/>
                <a:gd name="T73" fmla="*/ 33 h 774"/>
                <a:gd name="T74" fmla="*/ 14 w 534"/>
                <a:gd name="T75" fmla="*/ 29 h 774"/>
                <a:gd name="T76" fmla="*/ 16 w 534"/>
                <a:gd name="T77" fmla="*/ 26 h 774"/>
                <a:gd name="T78" fmla="*/ 16 w 534"/>
                <a:gd name="T79" fmla="*/ 24 h 774"/>
                <a:gd name="T80" fmla="*/ 16 w 534"/>
                <a:gd name="T81" fmla="*/ 21 h 774"/>
                <a:gd name="T82" fmla="*/ 13 w 534"/>
                <a:gd name="T83" fmla="*/ 19 h 774"/>
                <a:gd name="T84" fmla="*/ 14 w 534"/>
                <a:gd name="T85" fmla="*/ 10 h 774"/>
                <a:gd name="T86" fmla="*/ 14 w 534"/>
                <a:gd name="T87" fmla="*/ 7 h 774"/>
                <a:gd name="T88" fmla="*/ 8 w 534"/>
                <a:gd name="T89" fmla="*/ 7 h 774"/>
                <a:gd name="T90" fmla="*/ 7 w 534"/>
                <a:gd name="T91" fmla="*/ 3 h 774"/>
                <a:gd name="T92" fmla="*/ 11 w 534"/>
                <a:gd name="T93" fmla="*/ 1 h 774"/>
                <a:gd name="T94" fmla="*/ 12 w 534"/>
                <a:gd name="T95" fmla="*/ 0 h 774"/>
                <a:gd name="T96" fmla="*/ 16 w 534"/>
                <a:gd name="T97" fmla="*/ 2 h 774"/>
                <a:gd name="T98" fmla="*/ 20 w 534"/>
                <a:gd name="T99" fmla="*/ 2 h 774"/>
                <a:gd name="T100" fmla="*/ 23 w 534"/>
                <a:gd name="T101" fmla="*/ 3 h 774"/>
                <a:gd name="T102" fmla="*/ 23 w 534"/>
                <a:gd name="T103" fmla="*/ 10 h 774"/>
                <a:gd name="T104" fmla="*/ 29 w 534"/>
                <a:gd name="T105" fmla="*/ 12 h 774"/>
                <a:gd name="T106" fmla="*/ 35 w 534"/>
                <a:gd name="T107" fmla="*/ 12 h 774"/>
                <a:gd name="T108" fmla="*/ 38 w 534"/>
                <a:gd name="T109" fmla="*/ 17 h 774"/>
                <a:gd name="T110" fmla="*/ 40 w 534"/>
                <a:gd name="T111" fmla="*/ 19 h 774"/>
                <a:gd name="T112" fmla="*/ 44 w 534"/>
                <a:gd name="T113" fmla="*/ 23 h 774"/>
                <a:gd name="T114" fmla="*/ 44 w 534"/>
                <a:gd name="T115" fmla="*/ 30 h 774"/>
                <a:gd name="T116" fmla="*/ 46 w 534"/>
                <a:gd name="T117" fmla="*/ 36 h 774"/>
                <a:gd name="T118" fmla="*/ 41 w 534"/>
                <a:gd name="T119" fmla="*/ 37 h 77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34"/>
                <a:gd name="T181" fmla="*/ 0 h 774"/>
                <a:gd name="T182" fmla="*/ 534 w 534"/>
                <a:gd name="T183" fmla="*/ 774 h 77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34" h="774">
                  <a:moveTo>
                    <a:pt x="462" y="426"/>
                  </a:moveTo>
                  <a:lnTo>
                    <a:pt x="462" y="414"/>
                  </a:lnTo>
                  <a:lnTo>
                    <a:pt x="450" y="402"/>
                  </a:lnTo>
                  <a:lnTo>
                    <a:pt x="444" y="396"/>
                  </a:lnTo>
                  <a:lnTo>
                    <a:pt x="420" y="396"/>
                  </a:lnTo>
                  <a:lnTo>
                    <a:pt x="408" y="390"/>
                  </a:lnTo>
                  <a:lnTo>
                    <a:pt x="402" y="366"/>
                  </a:lnTo>
                  <a:lnTo>
                    <a:pt x="390" y="354"/>
                  </a:lnTo>
                  <a:lnTo>
                    <a:pt x="384" y="336"/>
                  </a:lnTo>
                  <a:lnTo>
                    <a:pt x="378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8" y="348"/>
                  </a:lnTo>
                  <a:lnTo>
                    <a:pt x="360" y="354"/>
                  </a:lnTo>
                  <a:lnTo>
                    <a:pt x="360" y="390"/>
                  </a:lnTo>
                  <a:lnTo>
                    <a:pt x="348" y="390"/>
                  </a:lnTo>
                  <a:lnTo>
                    <a:pt x="342" y="384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90"/>
                  </a:lnTo>
                  <a:lnTo>
                    <a:pt x="312" y="402"/>
                  </a:lnTo>
                  <a:lnTo>
                    <a:pt x="306" y="420"/>
                  </a:lnTo>
                  <a:lnTo>
                    <a:pt x="324" y="414"/>
                  </a:lnTo>
                  <a:lnTo>
                    <a:pt x="330" y="414"/>
                  </a:lnTo>
                  <a:lnTo>
                    <a:pt x="336" y="420"/>
                  </a:lnTo>
                  <a:lnTo>
                    <a:pt x="336" y="432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6"/>
                  </a:lnTo>
                  <a:lnTo>
                    <a:pt x="318" y="456"/>
                  </a:lnTo>
                  <a:lnTo>
                    <a:pt x="300" y="456"/>
                  </a:lnTo>
                  <a:lnTo>
                    <a:pt x="288" y="462"/>
                  </a:lnTo>
                  <a:lnTo>
                    <a:pt x="276" y="462"/>
                  </a:lnTo>
                  <a:lnTo>
                    <a:pt x="270" y="462"/>
                  </a:lnTo>
                  <a:lnTo>
                    <a:pt x="270" y="468"/>
                  </a:lnTo>
                  <a:lnTo>
                    <a:pt x="252" y="468"/>
                  </a:lnTo>
                  <a:lnTo>
                    <a:pt x="258" y="480"/>
                  </a:lnTo>
                  <a:lnTo>
                    <a:pt x="258" y="492"/>
                  </a:lnTo>
                  <a:lnTo>
                    <a:pt x="258" y="498"/>
                  </a:lnTo>
                  <a:lnTo>
                    <a:pt x="258" y="510"/>
                  </a:lnTo>
                  <a:lnTo>
                    <a:pt x="252" y="540"/>
                  </a:lnTo>
                  <a:lnTo>
                    <a:pt x="246" y="564"/>
                  </a:lnTo>
                  <a:lnTo>
                    <a:pt x="246" y="570"/>
                  </a:lnTo>
                  <a:lnTo>
                    <a:pt x="252" y="576"/>
                  </a:lnTo>
                  <a:lnTo>
                    <a:pt x="246" y="582"/>
                  </a:lnTo>
                  <a:lnTo>
                    <a:pt x="252" y="600"/>
                  </a:lnTo>
                  <a:lnTo>
                    <a:pt x="258" y="606"/>
                  </a:lnTo>
                  <a:lnTo>
                    <a:pt x="258" y="612"/>
                  </a:lnTo>
                  <a:lnTo>
                    <a:pt x="252" y="618"/>
                  </a:lnTo>
                  <a:lnTo>
                    <a:pt x="246" y="624"/>
                  </a:lnTo>
                  <a:lnTo>
                    <a:pt x="246" y="630"/>
                  </a:lnTo>
                  <a:lnTo>
                    <a:pt x="246" y="636"/>
                  </a:lnTo>
                  <a:lnTo>
                    <a:pt x="240" y="642"/>
                  </a:lnTo>
                  <a:lnTo>
                    <a:pt x="234" y="654"/>
                  </a:lnTo>
                  <a:lnTo>
                    <a:pt x="228" y="654"/>
                  </a:lnTo>
                  <a:lnTo>
                    <a:pt x="222" y="660"/>
                  </a:lnTo>
                  <a:lnTo>
                    <a:pt x="216" y="666"/>
                  </a:lnTo>
                  <a:lnTo>
                    <a:pt x="210" y="666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22" y="684"/>
                  </a:lnTo>
                  <a:lnTo>
                    <a:pt x="222" y="690"/>
                  </a:lnTo>
                  <a:lnTo>
                    <a:pt x="222" y="696"/>
                  </a:lnTo>
                  <a:lnTo>
                    <a:pt x="222" y="702"/>
                  </a:lnTo>
                  <a:lnTo>
                    <a:pt x="216" y="708"/>
                  </a:lnTo>
                  <a:lnTo>
                    <a:pt x="210" y="720"/>
                  </a:lnTo>
                  <a:lnTo>
                    <a:pt x="216" y="732"/>
                  </a:lnTo>
                  <a:lnTo>
                    <a:pt x="210" y="732"/>
                  </a:lnTo>
                  <a:lnTo>
                    <a:pt x="216" y="738"/>
                  </a:lnTo>
                  <a:lnTo>
                    <a:pt x="216" y="744"/>
                  </a:lnTo>
                  <a:lnTo>
                    <a:pt x="222" y="750"/>
                  </a:lnTo>
                  <a:lnTo>
                    <a:pt x="228" y="756"/>
                  </a:lnTo>
                  <a:lnTo>
                    <a:pt x="222" y="762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04" y="762"/>
                  </a:lnTo>
                  <a:lnTo>
                    <a:pt x="198" y="762"/>
                  </a:lnTo>
                  <a:lnTo>
                    <a:pt x="192" y="762"/>
                  </a:lnTo>
                  <a:lnTo>
                    <a:pt x="186" y="756"/>
                  </a:lnTo>
                  <a:lnTo>
                    <a:pt x="180" y="750"/>
                  </a:lnTo>
                  <a:lnTo>
                    <a:pt x="180" y="744"/>
                  </a:lnTo>
                  <a:lnTo>
                    <a:pt x="174" y="744"/>
                  </a:lnTo>
                  <a:lnTo>
                    <a:pt x="156" y="750"/>
                  </a:lnTo>
                  <a:lnTo>
                    <a:pt x="150" y="750"/>
                  </a:lnTo>
                  <a:lnTo>
                    <a:pt x="144" y="750"/>
                  </a:lnTo>
                  <a:lnTo>
                    <a:pt x="138" y="750"/>
                  </a:lnTo>
                  <a:lnTo>
                    <a:pt x="138" y="744"/>
                  </a:lnTo>
                  <a:lnTo>
                    <a:pt x="132" y="744"/>
                  </a:lnTo>
                  <a:lnTo>
                    <a:pt x="120" y="744"/>
                  </a:lnTo>
                  <a:lnTo>
                    <a:pt x="114" y="738"/>
                  </a:lnTo>
                  <a:lnTo>
                    <a:pt x="108" y="744"/>
                  </a:lnTo>
                  <a:lnTo>
                    <a:pt x="102" y="744"/>
                  </a:lnTo>
                  <a:lnTo>
                    <a:pt x="96" y="744"/>
                  </a:lnTo>
                  <a:lnTo>
                    <a:pt x="96" y="738"/>
                  </a:lnTo>
                  <a:lnTo>
                    <a:pt x="96" y="744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44"/>
                  </a:lnTo>
                  <a:lnTo>
                    <a:pt x="72" y="750"/>
                  </a:lnTo>
                  <a:lnTo>
                    <a:pt x="66" y="750"/>
                  </a:lnTo>
                  <a:lnTo>
                    <a:pt x="60" y="750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0"/>
                  </a:lnTo>
                  <a:lnTo>
                    <a:pt x="30" y="750"/>
                  </a:lnTo>
                  <a:lnTo>
                    <a:pt x="24" y="744"/>
                  </a:lnTo>
                  <a:lnTo>
                    <a:pt x="18" y="738"/>
                  </a:lnTo>
                  <a:lnTo>
                    <a:pt x="6" y="738"/>
                  </a:lnTo>
                  <a:lnTo>
                    <a:pt x="0" y="732"/>
                  </a:lnTo>
                  <a:lnTo>
                    <a:pt x="0" y="726"/>
                  </a:lnTo>
                  <a:lnTo>
                    <a:pt x="0" y="720"/>
                  </a:lnTo>
                  <a:lnTo>
                    <a:pt x="6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8" y="702"/>
                  </a:lnTo>
                  <a:lnTo>
                    <a:pt x="24" y="696"/>
                  </a:lnTo>
                  <a:lnTo>
                    <a:pt x="30" y="696"/>
                  </a:lnTo>
                  <a:lnTo>
                    <a:pt x="48" y="690"/>
                  </a:lnTo>
                  <a:lnTo>
                    <a:pt x="54" y="678"/>
                  </a:lnTo>
                  <a:lnTo>
                    <a:pt x="66" y="672"/>
                  </a:lnTo>
                  <a:lnTo>
                    <a:pt x="66" y="654"/>
                  </a:lnTo>
                  <a:lnTo>
                    <a:pt x="72" y="636"/>
                  </a:lnTo>
                  <a:lnTo>
                    <a:pt x="72" y="612"/>
                  </a:lnTo>
                  <a:lnTo>
                    <a:pt x="84" y="594"/>
                  </a:lnTo>
                  <a:lnTo>
                    <a:pt x="90" y="576"/>
                  </a:lnTo>
                  <a:lnTo>
                    <a:pt x="96" y="552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72" y="522"/>
                  </a:lnTo>
                  <a:lnTo>
                    <a:pt x="78" y="510"/>
                  </a:lnTo>
                  <a:lnTo>
                    <a:pt x="78" y="504"/>
                  </a:lnTo>
                  <a:lnTo>
                    <a:pt x="84" y="480"/>
                  </a:lnTo>
                  <a:lnTo>
                    <a:pt x="90" y="468"/>
                  </a:lnTo>
                  <a:lnTo>
                    <a:pt x="90" y="456"/>
                  </a:lnTo>
                  <a:lnTo>
                    <a:pt x="96" y="456"/>
                  </a:lnTo>
                  <a:lnTo>
                    <a:pt x="96" y="444"/>
                  </a:lnTo>
                  <a:lnTo>
                    <a:pt x="102" y="438"/>
                  </a:lnTo>
                  <a:lnTo>
                    <a:pt x="102" y="432"/>
                  </a:lnTo>
                  <a:lnTo>
                    <a:pt x="108" y="432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14" y="408"/>
                  </a:lnTo>
                  <a:lnTo>
                    <a:pt x="114" y="402"/>
                  </a:lnTo>
                  <a:lnTo>
                    <a:pt x="126" y="384"/>
                  </a:lnTo>
                  <a:lnTo>
                    <a:pt x="138" y="378"/>
                  </a:lnTo>
                  <a:lnTo>
                    <a:pt x="138" y="372"/>
                  </a:lnTo>
                  <a:lnTo>
                    <a:pt x="150" y="354"/>
                  </a:lnTo>
                  <a:lnTo>
                    <a:pt x="156" y="342"/>
                  </a:lnTo>
                  <a:lnTo>
                    <a:pt x="162" y="330"/>
                  </a:lnTo>
                  <a:lnTo>
                    <a:pt x="168" y="324"/>
                  </a:lnTo>
                  <a:lnTo>
                    <a:pt x="168" y="312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74" y="294"/>
                  </a:lnTo>
                  <a:lnTo>
                    <a:pt x="180" y="288"/>
                  </a:lnTo>
                  <a:lnTo>
                    <a:pt x="180" y="276"/>
                  </a:lnTo>
                  <a:lnTo>
                    <a:pt x="186" y="276"/>
                  </a:lnTo>
                  <a:lnTo>
                    <a:pt x="186" y="270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40"/>
                  </a:lnTo>
                  <a:lnTo>
                    <a:pt x="168" y="240"/>
                  </a:lnTo>
                  <a:lnTo>
                    <a:pt x="162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68" y="216"/>
                  </a:lnTo>
                  <a:lnTo>
                    <a:pt x="168" y="180"/>
                  </a:lnTo>
                  <a:lnTo>
                    <a:pt x="168" y="144"/>
                  </a:lnTo>
                  <a:lnTo>
                    <a:pt x="162" y="120"/>
                  </a:lnTo>
                  <a:lnTo>
                    <a:pt x="162" y="108"/>
                  </a:lnTo>
                  <a:lnTo>
                    <a:pt x="168" y="102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44" y="84"/>
                  </a:lnTo>
                  <a:lnTo>
                    <a:pt x="126" y="84"/>
                  </a:lnTo>
                  <a:lnTo>
                    <a:pt x="108" y="78"/>
                  </a:lnTo>
                  <a:lnTo>
                    <a:pt x="96" y="78"/>
                  </a:lnTo>
                  <a:lnTo>
                    <a:pt x="78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8" y="36"/>
                  </a:lnTo>
                  <a:lnTo>
                    <a:pt x="96" y="24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56" y="0"/>
                  </a:lnTo>
                  <a:lnTo>
                    <a:pt x="156" y="6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18"/>
                  </a:lnTo>
                  <a:lnTo>
                    <a:pt x="198" y="18"/>
                  </a:lnTo>
                  <a:lnTo>
                    <a:pt x="210" y="18"/>
                  </a:lnTo>
                  <a:lnTo>
                    <a:pt x="222" y="18"/>
                  </a:lnTo>
                  <a:lnTo>
                    <a:pt x="234" y="12"/>
                  </a:lnTo>
                  <a:lnTo>
                    <a:pt x="252" y="18"/>
                  </a:lnTo>
                  <a:lnTo>
                    <a:pt x="252" y="24"/>
                  </a:lnTo>
                  <a:lnTo>
                    <a:pt x="258" y="36"/>
                  </a:lnTo>
                  <a:lnTo>
                    <a:pt x="258" y="66"/>
                  </a:lnTo>
                  <a:lnTo>
                    <a:pt x="252" y="84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82" y="126"/>
                  </a:lnTo>
                  <a:lnTo>
                    <a:pt x="294" y="132"/>
                  </a:lnTo>
                  <a:lnTo>
                    <a:pt x="306" y="138"/>
                  </a:lnTo>
                  <a:lnTo>
                    <a:pt x="324" y="138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60" y="144"/>
                  </a:lnTo>
                  <a:lnTo>
                    <a:pt x="396" y="144"/>
                  </a:lnTo>
                  <a:lnTo>
                    <a:pt x="408" y="150"/>
                  </a:lnTo>
                  <a:lnTo>
                    <a:pt x="414" y="180"/>
                  </a:lnTo>
                  <a:lnTo>
                    <a:pt x="420" y="186"/>
                  </a:lnTo>
                  <a:lnTo>
                    <a:pt x="426" y="192"/>
                  </a:lnTo>
                  <a:lnTo>
                    <a:pt x="426" y="198"/>
                  </a:lnTo>
                  <a:lnTo>
                    <a:pt x="432" y="198"/>
                  </a:lnTo>
                  <a:lnTo>
                    <a:pt x="438" y="210"/>
                  </a:lnTo>
                  <a:lnTo>
                    <a:pt x="450" y="216"/>
                  </a:lnTo>
                  <a:lnTo>
                    <a:pt x="468" y="228"/>
                  </a:lnTo>
                  <a:lnTo>
                    <a:pt x="492" y="234"/>
                  </a:lnTo>
                  <a:lnTo>
                    <a:pt x="492" y="246"/>
                  </a:lnTo>
                  <a:lnTo>
                    <a:pt x="492" y="270"/>
                  </a:lnTo>
                  <a:lnTo>
                    <a:pt x="486" y="294"/>
                  </a:lnTo>
                  <a:lnTo>
                    <a:pt x="486" y="312"/>
                  </a:lnTo>
                  <a:lnTo>
                    <a:pt x="486" y="330"/>
                  </a:lnTo>
                  <a:lnTo>
                    <a:pt x="492" y="348"/>
                  </a:lnTo>
                  <a:lnTo>
                    <a:pt x="498" y="360"/>
                  </a:lnTo>
                  <a:lnTo>
                    <a:pt x="510" y="366"/>
                  </a:lnTo>
                  <a:lnTo>
                    <a:pt x="516" y="384"/>
                  </a:lnTo>
                  <a:lnTo>
                    <a:pt x="522" y="414"/>
                  </a:lnTo>
                  <a:lnTo>
                    <a:pt x="528" y="414"/>
                  </a:lnTo>
                  <a:lnTo>
                    <a:pt x="534" y="426"/>
                  </a:lnTo>
                  <a:lnTo>
                    <a:pt x="528" y="432"/>
                  </a:lnTo>
                  <a:lnTo>
                    <a:pt x="468" y="426"/>
                  </a:lnTo>
                  <a:lnTo>
                    <a:pt x="462" y="4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3" name="Freeform 8">
              <a:extLst>
                <a:ext uri="{FF2B5EF4-FFF2-40B4-BE49-F238E27FC236}">
                  <a16:creationId xmlns:a16="http://schemas.microsoft.com/office/drawing/2014/main" id="{D473457C-872E-4E31-888A-D60FD52063A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98175" y="4307054"/>
              <a:ext cx="295177" cy="348894"/>
            </a:xfrm>
            <a:custGeom>
              <a:avLst/>
              <a:gdLst>
                <a:gd name="T0" fmla="*/ 3 w 552"/>
                <a:gd name="T1" fmla="*/ 46 h 660"/>
                <a:gd name="T2" fmla="*/ 4 w 552"/>
                <a:gd name="T3" fmla="*/ 42 h 660"/>
                <a:gd name="T4" fmla="*/ 2 w 552"/>
                <a:gd name="T5" fmla="*/ 38 h 660"/>
                <a:gd name="T6" fmla="*/ 0 w 552"/>
                <a:gd name="T7" fmla="*/ 34 h 660"/>
                <a:gd name="T8" fmla="*/ 2 w 552"/>
                <a:gd name="T9" fmla="*/ 30 h 660"/>
                <a:gd name="T10" fmla="*/ 3 w 552"/>
                <a:gd name="T11" fmla="*/ 27 h 660"/>
                <a:gd name="T12" fmla="*/ 5 w 552"/>
                <a:gd name="T13" fmla="*/ 23 h 660"/>
                <a:gd name="T14" fmla="*/ 5 w 552"/>
                <a:gd name="T15" fmla="*/ 15 h 660"/>
                <a:gd name="T16" fmla="*/ 6 w 552"/>
                <a:gd name="T17" fmla="*/ 11 h 660"/>
                <a:gd name="T18" fmla="*/ 11 w 552"/>
                <a:gd name="T19" fmla="*/ 9 h 660"/>
                <a:gd name="T20" fmla="*/ 10 w 552"/>
                <a:gd name="T21" fmla="*/ 5 h 660"/>
                <a:gd name="T22" fmla="*/ 12 w 552"/>
                <a:gd name="T23" fmla="*/ 1 h 660"/>
                <a:gd name="T24" fmla="*/ 16 w 552"/>
                <a:gd name="T25" fmla="*/ 2 h 660"/>
                <a:gd name="T26" fmla="*/ 23 w 552"/>
                <a:gd name="T27" fmla="*/ 8 h 660"/>
                <a:gd name="T28" fmla="*/ 23 w 552"/>
                <a:gd name="T29" fmla="*/ 11 h 660"/>
                <a:gd name="T30" fmla="*/ 27 w 552"/>
                <a:gd name="T31" fmla="*/ 12 h 660"/>
                <a:gd name="T32" fmla="*/ 29 w 552"/>
                <a:gd name="T33" fmla="*/ 17 h 660"/>
                <a:gd name="T34" fmla="*/ 31 w 552"/>
                <a:gd name="T35" fmla="*/ 15 h 660"/>
                <a:gd name="T36" fmla="*/ 33 w 552"/>
                <a:gd name="T37" fmla="*/ 17 h 660"/>
                <a:gd name="T38" fmla="*/ 36 w 552"/>
                <a:gd name="T39" fmla="*/ 23 h 660"/>
                <a:gd name="T40" fmla="*/ 41 w 552"/>
                <a:gd name="T41" fmla="*/ 33 h 660"/>
                <a:gd name="T42" fmla="*/ 43 w 552"/>
                <a:gd name="T43" fmla="*/ 36 h 660"/>
                <a:gd name="T44" fmla="*/ 43 w 552"/>
                <a:gd name="T45" fmla="*/ 37 h 660"/>
                <a:gd name="T46" fmla="*/ 41 w 552"/>
                <a:gd name="T47" fmla="*/ 35 h 660"/>
                <a:gd name="T48" fmla="*/ 43 w 552"/>
                <a:gd name="T49" fmla="*/ 37 h 660"/>
                <a:gd name="T50" fmla="*/ 44 w 552"/>
                <a:gd name="T51" fmla="*/ 39 h 660"/>
                <a:gd name="T52" fmla="*/ 47 w 552"/>
                <a:gd name="T53" fmla="*/ 41 h 660"/>
                <a:gd name="T54" fmla="*/ 47 w 552"/>
                <a:gd name="T55" fmla="*/ 44 h 660"/>
                <a:gd name="T56" fmla="*/ 48 w 552"/>
                <a:gd name="T57" fmla="*/ 46 h 660"/>
                <a:gd name="T58" fmla="*/ 47 w 552"/>
                <a:gd name="T59" fmla="*/ 46 h 660"/>
                <a:gd name="T60" fmla="*/ 44 w 552"/>
                <a:gd name="T61" fmla="*/ 46 h 660"/>
                <a:gd name="T62" fmla="*/ 47 w 552"/>
                <a:gd name="T63" fmla="*/ 47 h 660"/>
                <a:gd name="T64" fmla="*/ 47 w 552"/>
                <a:gd name="T65" fmla="*/ 49 h 660"/>
                <a:gd name="T66" fmla="*/ 47 w 552"/>
                <a:gd name="T67" fmla="*/ 52 h 660"/>
                <a:gd name="T68" fmla="*/ 46 w 552"/>
                <a:gd name="T69" fmla="*/ 53 h 660"/>
                <a:gd name="T70" fmla="*/ 43 w 552"/>
                <a:gd name="T71" fmla="*/ 54 h 660"/>
                <a:gd name="T72" fmla="*/ 37 w 552"/>
                <a:gd name="T73" fmla="*/ 54 h 660"/>
                <a:gd name="T74" fmla="*/ 30 w 552"/>
                <a:gd name="T75" fmla="*/ 54 h 660"/>
                <a:gd name="T76" fmla="*/ 29 w 552"/>
                <a:gd name="T77" fmla="*/ 53 h 660"/>
                <a:gd name="T78" fmla="*/ 27 w 552"/>
                <a:gd name="T79" fmla="*/ 53 h 660"/>
                <a:gd name="T80" fmla="*/ 29 w 552"/>
                <a:gd name="T81" fmla="*/ 53 h 660"/>
                <a:gd name="T82" fmla="*/ 28 w 552"/>
                <a:gd name="T83" fmla="*/ 54 h 660"/>
                <a:gd name="T84" fmla="*/ 24 w 552"/>
                <a:gd name="T85" fmla="*/ 54 h 660"/>
                <a:gd name="T86" fmla="*/ 20 w 552"/>
                <a:gd name="T87" fmla="*/ 55 h 660"/>
                <a:gd name="T88" fmla="*/ 15 w 552"/>
                <a:gd name="T89" fmla="*/ 56 h 660"/>
                <a:gd name="T90" fmla="*/ 12 w 552"/>
                <a:gd name="T91" fmla="*/ 56 h 660"/>
                <a:gd name="T92" fmla="*/ 11 w 552"/>
                <a:gd name="T93" fmla="*/ 57 h 660"/>
                <a:gd name="T94" fmla="*/ 9 w 552"/>
                <a:gd name="T95" fmla="*/ 57 h 660"/>
                <a:gd name="T96" fmla="*/ 7 w 552"/>
                <a:gd name="T97" fmla="*/ 56 h 660"/>
                <a:gd name="T98" fmla="*/ 5 w 552"/>
                <a:gd name="T99" fmla="*/ 55 h 660"/>
                <a:gd name="T100" fmla="*/ 7 w 552"/>
                <a:gd name="T101" fmla="*/ 54 h 660"/>
                <a:gd name="T102" fmla="*/ 5 w 552"/>
                <a:gd name="T103" fmla="*/ 54 h 660"/>
                <a:gd name="T104" fmla="*/ 5 w 552"/>
                <a:gd name="T105" fmla="*/ 53 h 660"/>
                <a:gd name="T106" fmla="*/ 4 w 552"/>
                <a:gd name="T107" fmla="*/ 49 h 660"/>
                <a:gd name="T108" fmla="*/ 45 w 552"/>
                <a:gd name="T109" fmla="*/ 38 h 66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52"/>
                <a:gd name="T166" fmla="*/ 0 h 660"/>
                <a:gd name="T167" fmla="*/ 552 w 552"/>
                <a:gd name="T168" fmla="*/ 660 h 66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52" h="660">
                  <a:moveTo>
                    <a:pt x="36" y="564"/>
                  </a:moveTo>
                  <a:lnTo>
                    <a:pt x="36" y="558"/>
                  </a:lnTo>
                  <a:lnTo>
                    <a:pt x="36" y="552"/>
                  </a:lnTo>
                  <a:lnTo>
                    <a:pt x="42" y="546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34"/>
                  </a:lnTo>
                  <a:lnTo>
                    <a:pt x="36" y="528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54" y="510"/>
                  </a:lnTo>
                  <a:lnTo>
                    <a:pt x="54" y="504"/>
                  </a:lnTo>
                  <a:lnTo>
                    <a:pt x="54" y="498"/>
                  </a:lnTo>
                  <a:lnTo>
                    <a:pt x="48" y="492"/>
                  </a:lnTo>
                  <a:lnTo>
                    <a:pt x="42" y="486"/>
                  </a:lnTo>
                  <a:lnTo>
                    <a:pt x="42" y="480"/>
                  </a:lnTo>
                  <a:lnTo>
                    <a:pt x="42" y="468"/>
                  </a:lnTo>
                  <a:lnTo>
                    <a:pt x="30" y="456"/>
                  </a:lnTo>
                  <a:lnTo>
                    <a:pt x="30" y="450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2"/>
                  </a:lnTo>
                  <a:lnTo>
                    <a:pt x="18" y="426"/>
                  </a:lnTo>
                  <a:lnTo>
                    <a:pt x="24" y="420"/>
                  </a:lnTo>
                  <a:lnTo>
                    <a:pt x="18" y="414"/>
                  </a:lnTo>
                  <a:lnTo>
                    <a:pt x="12" y="408"/>
                  </a:lnTo>
                  <a:lnTo>
                    <a:pt x="12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6" y="384"/>
                  </a:lnTo>
                  <a:lnTo>
                    <a:pt x="12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8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36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54" y="270"/>
                  </a:lnTo>
                  <a:lnTo>
                    <a:pt x="48" y="264"/>
                  </a:lnTo>
                  <a:lnTo>
                    <a:pt x="42" y="246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8" y="204"/>
                  </a:lnTo>
                  <a:lnTo>
                    <a:pt x="54" y="174"/>
                  </a:lnTo>
                  <a:lnTo>
                    <a:pt x="54" y="162"/>
                  </a:lnTo>
                  <a:lnTo>
                    <a:pt x="54" y="156"/>
                  </a:lnTo>
                  <a:lnTo>
                    <a:pt x="54" y="144"/>
                  </a:lnTo>
                  <a:lnTo>
                    <a:pt x="48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72" y="126"/>
                  </a:lnTo>
                  <a:lnTo>
                    <a:pt x="84" y="126"/>
                  </a:lnTo>
                  <a:lnTo>
                    <a:pt x="96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2" y="84"/>
                  </a:lnTo>
                  <a:lnTo>
                    <a:pt x="126" y="78"/>
                  </a:lnTo>
                  <a:lnTo>
                    <a:pt x="120" y="78"/>
                  </a:lnTo>
                  <a:lnTo>
                    <a:pt x="102" y="84"/>
                  </a:lnTo>
                  <a:lnTo>
                    <a:pt x="108" y="66"/>
                  </a:lnTo>
                  <a:lnTo>
                    <a:pt x="114" y="54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8" y="4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6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74" y="0"/>
                  </a:lnTo>
                  <a:lnTo>
                    <a:pt x="180" y="0"/>
                  </a:lnTo>
                  <a:lnTo>
                    <a:pt x="186" y="18"/>
                  </a:lnTo>
                  <a:lnTo>
                    <a:pt x="198" y="30"/>
                  </a:lnTo>
                  <a:lnTo>
                    <a:pt x="204" y="54"/>
                  </a:lnTo>
                  <a:lnTo>
                    <a:pt x="216" y="60"/>
                  </a:lnTo>
                  <a:lnTo>
                    <a:pt x="240" y="60"/>
                  </a:lnTo>
                  <a:lnTo>
                    <a:pt x="246" y="66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2" y="120"/>
                  </a:lnTo>
                  <a:lnTo>
                    <a:pt x="25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6" y="126"/>
                  </a:lnTo>
                  <a:lnTo>
                    <a:pt x="282" y="120"/>
                  </a:lnTo>
                  <a:lnTo>
                    <a:pt x="282" y="126"/>
                  </a:lnTo>
                  <a:lnTo>
                    <a:pt x="294" y="126"/>
                  </a:lnTo>
                  <a:lnTo>
                    <a:pt x="300" y="132"/>
                  </a:lnTo>
                  <a:lnTo>
                    <a:pt x="306" y="144"/>
                  </a:lnTo>
                  <a:lnTo>
                    <a:pt x="312" y="144"/>
                  </a:lnTo>
                  <a:lnTo>
                    <a:pt x="312" y="150"/>
                  </a:lnTo>
                  <a:lnTo>
                    <a:pt x="312" y="162"/>
                  </a:lnTo>
                  <a:lnTo>
                    <a:pt x="312" y="174"/>
                  </a:lnTo>
                  <a:lnTo>
                    <a:pt x="324" y="180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30" y="192"/>
                  </a:lnTo>
                  <a:lnTo>
                    <a:pt x="336" y="198"/>
                  </a:lnTo>
                  <a:lnTo>
                    <a:pt x="342" y="192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54" y="180"/>
                  </a:lnTo>
                  <a:lnTo>
                    <a:pt x="354" y="174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84" y="192"/>
                  </a:lnTo>
                  <a:lnTo>
                    <a:pt x="390" y="204"/>
                  </a:lnTo>
                  <a:lnTo>
                    <a:pt x="390" y="210"/>
                  </a:lnTo>
                  <a:lnTo>
                    <a:pt x="390" y="216"/>
                  </a:lnTo>
                  <a:lnTo>
                    <a:pt x="384" y="234"/>
                  </a:lnTo>
                  <a:lnTo>
                    <a:pt x="390" y="240"/>
                  </a:lnTo>
                  <a:lnTo>
                    <a:pt x="408" y="252"/>
                  </a:lnTo>
                  <a:lnTo>
                    <a:pt x="414" y="264"/>
                  </a:lnTo>
                  <a:lnTo>
                    <a:pt x="408" y="300"/>
                  </a:lnTo>
                  <a:lnTo>
                    <a:pt x="414" y="312"/>
                  </a:lnTo>
                  <a:lnTo>
                    <a:pt x="426" y="336"/>
                  </a:lnTo>
                  <a:lnTo>
                    <a:pt x="438" y="354"/>
                  </a:lnTo>
                  <a:lnTo>
                    <a:pt x="444" y="366"/>
                  </a:lnTo>
                  <a:lnTo>
                    <a:pt x="456" y="366"/>
                  </a:lnTo>
                  <a:lnTo>
                    <a:pt x="474" y="378"/>
                  </a:lnTo>
                  <a:lnTo>
                    <a:pt x="474" y="384"/>
                  </a:lnTo>
                  <a:lnTo>
                    <a:pt x="480" y="390"/>
                  </a:lnTo>
                  <a:lnTo>
                    <a:pt x="486" y="396"/>
                  </a:lnTo>
                  <a:lnTo>
                    <a:pt x="486" y="402"/>
                  </a:lnTo>
                  <a:lnTo>
                    <a:pt x="480" y="408"/>
                  </a:lnTo>
                  <a:lnTo>
                    <a:pt x="486" y="408"/>
                  </a:lnTo>
                  <a:lnTo>
                    <a:pt x="486" y="414"/>
                  </a:lnTo>
                  <a:lnTo>
                    <a:pt x="492" y="414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32"/>
                  </a:lnTo>
                  <a:lnTo>
                    <a:pt x="498" y="438"/>
                  </a:lnTo>
                  <a:lnTo>
                    <a:pt x="492" y="432"/>
                  </a:lnTo>
                  <a:lnTo>
                    <a:pt x="486" y="426"/>
                  </a:lnTo>
                  <a:lnTo>
                    <a:pt x="486" y="420"/>
                  </a:lnTo>
                  <a:lnTo>
                    <a:pt x="486" y="414"/>
                  </a:lnTo>
                  <a:lnTo>
                    <a:pt x="480" y="414"/>
                  </a:lnTo>
                  <a:lnTo>
                    <a:pt x="480" y="408"/>
                  </a:lnTo>
                  <a:lnTo>
                    <a:pt x="474" y="408"/>
                  </a:lnTo>
                  <a:lnTo>
                    <a:pt x="468" y="408"/>
                  </a:lnTo>
                  <a:lnTo>
                    <a:pt x="468" y="402"/>
                  </a:lnTo>
                  <a:lnTo>
                    <a:pt x="462" y="402"/>
                  </a:lnTo>
                  <a:lnTo>
                    <a:pt x="462" y="408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80" y="426"/>
                  </a:lnTo>
                  <a:lnTo>
                    <a:pt x="486" y="426"/>
                  </a:lnTo>
                  <a:lnTo>
                    <a:pt x="486" y="432"/>
                  </a:lnTo>
                  <a:lnTo>
                    <a:pt x="492" y="438"/>
                  </a:lnTo>
                  <a:lnTo>
                    <a:pt x="498" y="438"/>
                  </a:lnTo>
                  <a:lnTo>
                    <a:pt x="504" y="444"/>
                  </a:lnTo>
                  <a:lnTo>
                    <a:pt x="510" y="444"/>
                  </a:lnTo>
                  <a:lnTo>
                    <a:pt x="510" y="450"/>
                  </a:lnTo>
                  <a:lnTo>
                    <a:pt x="510" y="456"/>
                  </a:lnTo>
                  <a:lnTo>
                    <a:pt x="516" y="456"/>
                  </a:lnTo>
                  <a:lnTo>
                    <a:pt x="516" y="462"/>
                  </a:lnTo>
                  <a:lnTo>
                    <a:pt x="522" y="462"/>
                  </a:lnTo>
                  <a:lnTo>
                    <a:pt x="522" y="468"/>
                  </a:lnTo>
                  <a:lnTo>
                    <a:pt x="528" y="468"/>
                  </a:lnTo>
                  <a:lnTo>
                    <a:pt x="534" y="468"/>
                  </a:lnTo>
                  <a:lnTo>
                    <a:pt x="534" y="474"/>
                  </a:lnTo>
                  <a:lnTo>
                    <a:pt x="540" y="474"/>
                  </a:lnTo>
                  <a:lnTo>
                    <a:pt x="540" y="480"/>
                  </a:lnTo>
                  <a:lnTo>
                    <a:pt x="546" y="486"/>
                  </a:lnTo>
                  <a:lnTo>
                    <a:pt x="546" y="492"/>
                  </a:lnTo>
                  <a:lnTo>
                    <a:pt x="546" y="498"/>
                  </a:lnTo>
                  <a:lnTo>
                    <a:pt x="546" y="504"/>
                  </a:lnTo>
                  <a:lnTo>
                    <a:pt x="540" y="504"/>
                  </a:lnTo>
                  <a:lnTo>
                    <a:pt x="546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10"/>
                  </a:lnTo>
                  <a:lnTo>
                    <a:pt x="552" y="516"/>
                  </a:lnTo>
                  <a:lnTo>
                    <a:pt x="552" y="522"/>
                  </a:lnTo>
                  <a:lnTo>
                    <a:pt x="552" y="528"/>
                  </a:lnTo>
                  <a:lnTo>
                    <a:pt x="552" y="534"/>
                  </a:lnTo>
                  <a:lnTo>
                    <a:pt x="552" y="540"/>
                  </a:lnTo>
                  <a:lnTo>
                    <a:pt x="546" y="540"/>
                  </a:lnTo>
                  <a:lnTo>
                    <a:pt x="546" y="546"/>
                  </a:lnTo>
                  <a:lnTo>
                    <a:pt x="546" y="540"/>
                  </a:lnTo>
                  <a:lnTo>
                    <a:pt x="546" y="534"/>
                  </a:lnTo>
                  <a:lnTo>
                    <a:pt x="540" y="534"/>
                  </a:lnTo>
                  <a:lnTo>
                    <a:pt x="540" y="528"/>
                  </a:lnTo>
                  <a:lnTo>
                    <a:pt x="534" y="528"/>
                  </a:lnTo>
                  <a:lnTo>
                    <a:pt x="528" y="528"/>
                  </a:lnTo>
                  <a:lnTo>
                    <a:pt x="522" y="528"/>
                  </a:lnTo>
                  <a:lnTo>
                    <a:pt x="516" y="528"/>
                  </a:lnTo>
                  <a:lnTo>
                    <a:pt x="510" y="528"/>
                  </a:lnTo>
                  <a:lnTo>
                    <a:pt x="510" y="534"/>
                  </a:lnTo>
                  <a:lnTo>
                    <a:pt x="510" y="528"/>
                  </a:lnTo>
                  <a:lnTo>
                    <a:pt x="516" y="528"/>
                  </a:lnTo>
                  <a:lnTo>
                    <a:pt x="522" y="528"/>
                  </a:lnTo>
                  <a:lnTo>
                    <a:pt x="528" y="528"/>
                  </a:lnTo>
                  <a:lnTo>
                    <a:pt x="534" y="534"/>
                  </a:lnTo>
                  <a:lnTo>
                    <a:pt x="540" y="534"/>
                  </a:lnTo>
                  <a:lnTo>
                    <a:pt x="540" y="540"/>
                  </a:lnTo>
                  <a:lnTo>
                    <a:pt x="540" y="546"/>
                  </a:lnTo>
                  <a:lnTo>
                    <a:pt x="546" y="546"/>
                  </a:lnTo>
                  <a:lnTo>
                    <a:pt x="546" y="552"/>
                  </a:lnTo>
                  <a:lnTo>
                    <a:pt x="552" y="552"/>
                  </a:lnTo>
                  <a:lnTo>
                    <a:pt x="552" y="558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0" y="576"/>
                  </a:lnTo>
                  <a:lnTo>
                    <a:pt x="540" y="582"/>
                  </a:lnTo>
                  <a:lnTo>
                    <a:pt x="540" y="588"/>
                  </a:lnTo>
                  <a:lnTo>
                    <a:pt x="534" y="594"/>
                  </a:lnTo>
                  <a:lnTo>
                    <a:pt x="534" y="600"/>
                  </a:lnTo>
                  <a:lnTo>
                    <a:pt x="528" y="600"/>
                  </a:lnTo>
                  <a:lnTo>
                    <a:pt x="522" y="594"/>
                  </a:lnTo>
                  <a:lnTo>
                    <a:pt x="528" y="600"/>
                  </a:lnTo>
                  <a:lnTo>
                    <a:pt x="534" y="600"/>
                  </a:lnTo>
                  <a:lnTo>
                    <a:pt x="534" y="606"/>
                  </a:lnTo>
                  <a:lnTo>
                    <a:pt x="528" y="606"/>
                  </a:lnTo>
                  <a:lnTo>
                    <a:pt x="528" y="612"/>
                  </a:lnTo>
                  <a:lnTo>
                    <a:pt x="522" y="612"/>
                  </a:lnTo>
                  <a:lnTo>
                    <a:pt x="522" y="618"/>
                  </a:lnTo>
                  <a:lnTo>
                    <a:pt x="522" y="624"/>
                  </a:lnTo>
                  <a:lnTo>
                    <a:pt x="510" y="624"/>
                  </a:lnTo>
                  <a:lnTo>
                    <a:pt x="498" y="624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0" y="624"/>
                  </a:lnTo>
                  <a:lnTo>
                    <a:pt x="474" y="624"/>
                  </a:lnTo>
                  <a:lnTo>
                    <a:pt x="468" y="618"/>
                  </a:lnTo>
                  <a:lnTo>
                    <a:pt x="456" y="618"/>
                  </a:lnTo>
                  <a:lnTo>
                    <a:pt x="450" y="618"/>
                  </a:lnTo>
                  <a:lnTo>
                    <a:pt x="426" y="618"/>
                  </a:lnTo>
                  <a:lnTo>
                    <a:pt x="420" y="618"/>
                  </a:lnTo>
                  <a:lnTo>
                    <a:pt x="414" y="618"/>
                  </a:lnTo>
                  <a:lnTo>
                    <a:pt x="408" y="618"/>
                  </a:lnTo>
                  <a:lnTo>
                    <a:pt x="396" y="618"/>
                  </a:lnTo>
                  <a:lnTo>
                    <a:pt x="366" y="618"/>
                  </a:lnTo>
                  <a:lnTo>
                    <a:pt x="348" y="624"/>
                  </a:lnTo>
                  <a:lnTo>
                    <a:pt x="342" y="624"/>
                  </a:lnTo>
                  <a:lnTo>
                    <a:pt x="342" y="618"/>
                  </a:lnTo>
                  <a:lnTo>
                    <a:pt x="336" y="618"/>
                  </a:lnTo>
                  <a:lnTo>
                    <a:pt x="336" y="612"/>
                  </a:lnTo>
                  <a:lnTo>
                    <a:pt x="342" y="612"/>
                  </a:lnTo>
                  <a:lnTo>
                    <a:pt x="348" y="612"/>
                  </a:lnTo>
                  <a:lnTo>
                    <a:pt x="342" y="612"/>
                  </a:lnTo>
                  <a:lnTo>
                    <a:pt x="336" y="612"/>
                  </a:lnTo>
                  <a:lnTo>
                    <a:pt x="336" y="606"/>
                  </a:lnTo>
                  <a:lnTo>
                    <a:pt x="330" y="606"/>
                  </a:lnTo>
                  <a:lnTo>
                    <a:pt x="330" y="600"/>
                  </a:lnTo>
                  <a:lnTo>
                    <a:pt x="324" y="600"/>
                  </a:lnTo>
                  <a:lnTo>
                    <a:pt x="324" y="606"/>
                  </a:lnTo>
                  <a:lnTo>
                    <a:pt x="318" y="606"/>
                  </a:lnTo>
                  <a:lnTo>
                    <a:pt x="318" y="612"/>
                  </a:lnTo>
                  <a:lnTo>
                    <a:pt x="312" y="612"/>
                  </a:lnTo>
                  <a:lnTo>
                    <a:pt x="306" y="606"/>
                  </a:lnTo>
                  <a:lnTo>
                    <a:pt x="306" y="612"/>
                  </a:lnTo>
                  <a:lnTo>
                    <a:pt x="312" y="612"/>
                  </a:lnTo>
                  <a:lnTo>
                    <a:pt x="318" y="612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30" y="606"/>
                  </a:lnTo>
                  <a:lnTo>
                    <a:pt x="336" y="612"/>
                  </a:lnTo>
                  <a:lnTo>
                    <a:pt x="336" y="618"/>
                  </a:lnTo>
                  <a:lnTo>
                    <a:pt x="330" y="618"/>
                  </a:lnTo>
                  <a:lnTo>
                    <a:pt x="336" y="618"/>
                  </a:lnTo>
                  <a:lnTo>
                    <a:pt x="336" y="624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288" y="624"/>
                  </a:lnTo>
                  <a:lnTo>
                    <a:pt x="282" y="624"/>
                  </a:lnTo>
                  <a:lnTo>
                    <a:pt x="270" y="630"/>
                  </a:lnTo>
                  <a:lnTo>
                    <a:pt x="264" y="630"/>
                  </a:lnTo>
                  <a:lnTo>
                    <a:pt x="258" y="630"/>
                  </a:lnTo>
                  <a:lnTo>
                    <a:pt x="252" y="630"/>
                  </a:lnTo>
                  <a:lnTo>
                    <a:pt x="246" y="630"/>
                  </a:lnTo>
                  <a:lnTo>
                    <a:pt x="240" y="630"/>
                  </a:lnTo>
                  <a:lnTo>
                    <a:pt x="228" y="636"/>
                  </a:lnTo>
                  <a:lnTo>
                    <a:pt x="222" y="636"/>
                  </a:lnTo>
                  <a:lnTo>
                    <a:pt x="210" y="636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42"/>
                  </a:lnTo>
                  <a:lnTo>
                    <a:pt x="186" y="642"/>
                  </a:lnTo>
                  <a:lnTo>
                    <a:pt x="180" y="642"/>
                  </a:lnTo>
                  <a:lnTo>
                    <a:pt x="168" y="642"/>
                  </a:lnTo>
                  <a:lnTo>
                    <a:pt x="162" y="642"/>
                  </a:lnTo>
                  <a:lnTo>
                    <a:pt x="162" y="648"/>
                  </a:lnTo>
                  <a:lnTo>
                    <a:pt x="156" y="648"/>
                  </a:lnTo>
                  <a:lnTo>
                    <a:pt x="150" y="648"/>
                  </a:lnTo>
                  <a:lnTo>
                    <a:pt x="144" y="648"/>
                  </a:lnTo>
                  <a:lnTo>
                    <a:pt x="138" y="648"/>
                  </a:lnTo>
                  <a:lnTo>
                    <a:pt x="132" y="648"/>
                  </a:lnTo>
                  <a:lnTo>
                    <a:pt x="126" y="642"/>
                  </a:lnTo>
                  <a:lnTo>
                    <a:pt x="126" y="636"/>
                  </a:lnTo>
                  <a:lnTo>
                    <a:pt x="120" y="636"/>
                  </a:lnTo>
                  <a:lnTo>
                    <a:pt x="126" y="642"/>
                  </a:lnTo>
                  <a:lnTo>
                    <a:pt x="126" y="648"/>
                  </a:lnTo>
                  <a:lnTo>
                    <a:pt x="132" y="648"/>
                  </a:lnTo>
                  <a:lnTo>
                    <a:pt x="126" y="654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54"/>
                  </a:lnTo>
                  <a:lnTo>
                    <a:pt x="108" y="660"/>
                  </a:lnTo>
                  <a:lnTo>
                    <a:pt x="108" y="654"/>
                  </a:lnTo>
                  <a:lnTo>
                    <a:pt x="102" y="654"/>
                  </a:lnTo>
                  <a:lnTo>
                    <a:pt x="102" y="660"/>
                  </a:lnTo>
                  <a:lnTo>
                    <a:pt x="108" y="660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0" y="660"/>
                  </a:lnTo>
                  <a:lnTo>
                    <a:pt x="90" y="654"/>
                  </a:lnTo>
                  <a:lnTo>
                    <a:pt x="84" y="648"/>
                  </a:lnTo>
                  <a:lnTo>
                    <a:pt x="84" y="642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72" y="636"/>
                  </a:lnTo>
                  <a:lnTo>
                    <a:pt x="78" y="636"/>
                  </a:lnTo>
                  <a:lnTo>
                    <a:pt x="72" y="636"/>
                  </a:lnTo>
                  <a:lnTo>
                    <a:pt x="66" y="636"/>
                  </a:lnTo>
                  <a:lnTo>
                    <a:pt x="60" y="636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60" y="618"/>
                  </a:lnTo>
                  <a:lnTo>
                    <a:pt x="66" y="618"/>
                  </a:lnTo>
                  <a:lnTo>
                    <a:pt x="72" y="618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2" y="612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12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54" y="618"/>
                  </a:lnTo>
                  <a:lnTo>
                    <a:pt x="54" y="624"/>
                  </a:lnTo>
                  <a:lnTo>
                    <a:pt x="48" y="618"/>
                  </a:lnTo>
                  <a:lnTo>
                    <a:pt x="42" y="618"/>
                  </a:lnTo>
                  <a:lnTo>
                    <a:pt x="42" y="612"/>
                  </a:lnTo>
                  <a:lnTo>
                    <a:pt x="48" y="606"/>
                  </a:lnTo>
                  <a:lnTo>
                    <a:pt x="54" y="606"/>
                  </a:lnTo>
                  <a:lnTo>
                    <a:pt x="54" y="600"/>
                  </a:lnTo>
                  <a:lnTo>
                    <a:pt x="54" y="594"/>
                  </a:lnTo>
                  <a:lnTo>
                    <a:pt x="54" y="588"/>
                  </a:lnTo>
                  <a:lnTo>
                    <a:pt x="48" y="588"/>
                  </a:lnTo>
                  <a:lnTo>
                    <a:pt x="48" y="582"/>
                  </a:lnTo>
                  <a:lnTo>
                    <a:pt x="42" y="582"/>
                  </a:lnTo>
                  <a:lnTo>
                    <a:pt x="42" y="570"/>
                  </a:lnTo>
                  <a:lnTo>
                    <a:pt x="42" y="564"/>
                  </a:lnTo>
                  <a:lnTo>
                    <a:pt x="36" y="564"/>
                  </a:lnTo>
                  <a:close/>
                  <a:moveTo>
                    <a:pt x="498" y="420"/>
                  </a:moveTo>
                  <a:lnTo>
                    <a:pt x="504" y="426"/>
                  </a:lnTo>
                  <a:lnTo>
                    <a:pt x="510" y="432"/>
                  </a:lnTo>
                  <a:lnTo>
                    <a:pt x="516" y="432"/>
                  </a:lnTo>
                  <a:lnTo>
                    <a:pt x="516" y="438"/>
                  </a:lnTo>
                  <a:lnTo>
                    <a:pt x="510" y="438"/>
                  </a:lnTo>
                  <a:lnTo>
                    <a:pt x="504" y="438"/>
                  </a:lnTo>
                  <a:lnTo>
                    <a:pt x="504" y="432"/>
                  </a:lnTo>
                  <a:lnTo>
                    <a:pt x="498" y="432"/>
                  </a:lnTo>
                  <a:lnTo>
                    <a:pt x="498" y="426"/>
                  </a:lnTo>
                  <a:lnTo>
                    <a:pt x="498" y="4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4" name="Freeform 9">
              <a:extLst>
                <a:ext uri="{FF2B5EF4-FFF2-40B4-BE49-F238E27FC236}">
                  <a16:creationId xmlns:a16="http://schemas.microsoft.com/office/drawing/2014/main" id="{E0116D32-BD2E-45EA-B818-A3082585D5F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3055" y="2468650"/>
              <a:ext cx="800556" cy="1207710"/>
            </a:xfrm>
            <a:custGeom>
              <a:avLst/>
              <a:gdLst>
                <a:gd name="T0" fmla="*/ 24 w 1506"/>
                <a:gd name="T1" fmla="*/ 190 h 2274"/>
                <a:gd name="T2" fmla="*/ 25 w 1506"/>
                <a:gd name="T3" fmla="*/ 180 h 2274"/>
                <a:gd name="T4" fmla="*/ 21 w 1506"/>
                <a:gd name="T5" fmla="*/ 174 h 2274"/>
                <a:gd name="T6" fmla="*/ 17 w 1506"/>
                <a:gd name="T7" fmla="*/ 170 h 2274"/>
                <a:gd name="T8" fmla="*/ 12 w 1506"/>
                <a:gd name="T9" fmla="*/ 168 h 2274"/>
                <a:gd name="T10" fmla="*/ 10 w 1506"/>
                <a:gd name="T11" fmla="*/ 173 h 2274"/>
                <a:gd name="T12" fmla="*/ 7 w 1506"/>
                <a:gd name="T13" fmla="*/ 174 h 2274"/>
                <a:gd name="T14" fmla="*/ 0 w 1506"/>
                <a:gd name="T15" fmla="*/ 163 h 2274"/>
                <a:gd name="T16" fmla="*/ 16 w 1506"/>
                <a:gd name="T17" fmla="*/ 140 h 2274"/>
                <a:gd name="T18" fmla="*/ 19 w 1506"/>
                <a:gd name="T19" fmla="*/ 137 h 2274"/>
                <a:gd name="T20" fmla="*/ 24 w 1506"/>
                <a:gd name="T21" fmla="*/ 126 h 2274"/>
                <a:gd name="T22" fmla="*/ 23 w 1506"/>
                <a:gd name="T23" fmla="*/ 105 h 2274"/>
                <a:gd name="T24" fmla="*/ 14 w 1506"/>
                <a:gd name="T25" fmla="*/ 86 h 2274"/>
                <a:gd name="T26" fmla="*/ 8 w 1506"/>
                <a:gd name="T27" fmla="*/ 84 h 2274"/>
                <a:gd name="T28" fmla="*/ 5 w 1506"/>
                <a:gd name="T29" fmla="*/ 79 h 2274"/>
                <a:gd name="T30" fmla="*/ 16 w 1506"/>
                <a:gd name="T31" fmla="*/ 71 h 2274"/>
                <a:gd name="T32" fmla="*/ 28 w 1506"/>
                <a:gd name="T33" fmla="*/ 55 h 2274"/>
                <a:gd name="T34" fmla="*/ 29 w 1506"/>
                <a:gd name="T35" fmla="*/ 48 h 2274"/>
                <a:gd name="T36" fmla="*/ 35 w 1506"/>
                <a:gd name="T37" fmla="*/ 50 h 2274"/>
                <a:gd name="T38" fmla="*/ 42 w 1506"/>
                <a:gd name="T39" fmla="*/ 47 h 2274"/>
                <a:gd name="T40" fmla="*/ 63 w 1506"/>
                <a:gd name="T41" fmla="*/ 34 h 2274"/>
                <a:gd name="T42" fmla="*/ 74 w 1506"/>
                <a:gd name="T43" fmla="*/ 27 h 2274"/>
                <a:gd name="T44" fmla="*/ 81 w 1506"/>
                <a:gd name="T45" fmla="*/ 20 h 2274"/>
                <a:gd name="T46" fmla="*/ 89 w 1506"/>
                <a:gd name="T47" fmla="*/ 20 h 2274"/>
                <a:gd name="T48" fmla="*/ 98 w 1506"/>
                <a:gd name="T49" fmla="*/ 27 h 2274"/>
                <a:gd name="T50" fmla="*/ 106 w 1506"/>
                <a:gd name="T51" fmla="*/ 17 h 2274"/>
                <a:gd name="T52" fmla="*/ 111 w 1506"/>
                <a:gd name="T53" fmla="*/ 8 h 2274"/>
                <a:gd name="T54" fmla="*/ 121 w 1506"/>
                <a:gd name="T55" fmla="*/ 2 h 2274"/>
                <a:gd name="T56" fmla="*/ 129 w 1506"/>
                <a:gd name="T57" fmla="*/ 5 h 2274"/>
                <a:gd name="T58" fmla="*/ 125 w 1506"/>
                <a:gd name="T59" fmla="*/ 12 h 2274"/>
                <a:gd name="T60" fmla="*/ 122 w 1506"/>
                <a:gd name="T61" fmla="*/ 20 h 2274"/>
                <a:gd name="T62" fmla="*/ 122 w 1506"/>
                <a:gd name="T63" fmla="*/ 27 h 2274"/>
                <a:gd name="T64" fmla="*/ 120 w 1506"/>
                <a:gd name="T65" fmla="*/ 36 h 2274"/>
                <a:gd name="T66" fmla="*/ 116 w 1506"/>
                <a:gd name="T67" fmla="*/ 43 h 2274"/>
                <a:gd name="T68" fmla="*/ 109 w 1506"/>
                <a:gd name="T69" fmla="*/ 47 h 2274"/>
                <a:gd name="T70" fmla="*/ 108 w 1506"/>
                <a:gd name="T71" fmla="*/ 54 h 2274"/>
                <a:gd name="T72" fmla="*/ 106 w 1506"/>
                <a:gd name="T73" fmla="*/ 59 h 2274"/>
                <a:gd name="T74" fmla="*/ 109 w 1506"/>
                <a:gd name="T75" fmla="*/ 64 h 2274"/>
                <a:gd name="T76" fmla="*/ 106 w 1506"/>
                <a:gd name="T77" fmla="*/ 70 h 2274"/>
                <a:gd name="T78" fmla="*/ 105 w 1506"/>
                <a:gd name="T79" fmla="*/ 75 h 2274"/>
                <a:gd name="T80" fmla="*/ 101 w 1506"/>
                <a:gd name="T81" fmla="*/ 78 h 2274"/>
                <a:gd name="T82" fmla="*/ 92 w 1506"/>
                <a:gd name="T83" fmla="*/ 81 h 2274"/>
                <a:gd name="T84" fmla="*/ 85 w 1506"/>
                <a:gd name="T85" fmla="*/ 85 h 2274"/>
                <a:gd name="T86" fmla="*/ 87 w 1506"/>
                <a:gd name="T87" fmla="*/ 91 h 2274"/>
                <a:gd name="T88" fmla="*/ 86 w 1506"/>
                <a:gd name="T89" fmla="*/ 98 h 2274"/>
                <a:gd name="T90" fmla="*/ 86 w 1506"/>
                <a:gd name="T91" fmla="*/ 103 h 2274"/>
                <a:gd name="T92" fmla="*/ 82 w 1506"/>
                <a:gd name="T93" fmla="*/ 111 h 2274"/>
                <a:gd name="T94" fmla="*/ 81 w 1506"/>
                <a:gd name="T95" fmla="*/ 116 h 2274"/>
                <a:gd name="T96" fmla="*/ 78 w 1506"/>
                <a:gd name="T97" fmla="*/ 120 h 2274"/>
                <a:gd name="T98" fmla="*/ 76 w 1506"/>
                <a:gd name="T99" fmla="*/ 126 h 2274"/>
                <a:gd name="T100" fmla="*/ 68 w 1506"/>
                <a:gd name="T101" fmla="*/ 129 h 2274"/>
                <a:gd name="T102" fmla="*/ 62 w 1506"/>
                <a:gd name="T103" fmla="*/ 131 h 2274"/>
                <a:gd name="T104" fmla="*/ 58 w 1506"/>
                <a:gd name="T105" fmla="*/ 136 h 2274"/>
                <a:gd name="T106" fmla="*/ 51 w 1506"/>
                <a:gd name="T107" fmla="*/ 138 h 2274"/>
                <a:gd name="T108" fmla="*/ 51 w 1506"/>
                <a:gd name="T109" fmla="*/ 147 h 2274"/>
                <a:gd name="T110" fmla="*/ 49 w 1506"/>
                <a:gd name="T111" fmla="*/ 159 h 2274"/>
                <a:gd name="T112" fmla="*/ 48 w 1506"/>
                <a:gd name="T113" fmla="*/ 166 h 2274"/>
                <a:gd name="T114" fmla="*/ 41 w 1506"/>
                <a:gd name="T115" fmla="*/ 174 h 2274"/>
                <a:gd name="T116" fmla="*/ 39 w 1506"/>
                <a:gd name="T117" fmla="*/ 181 h 2274"/>
                <a:gd name="T118" fmla="*/ 37 w 1506"/>
                <a:gd name="T119" fmla="*/ 190 h 2274"/>
                <a:gd name="T120" fmla="*/ 29 w 1506"/>
                <a:gd name="T121" fmla="*/ 198 h 22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06"/>
                <a:gd name="T184" fmla="*/ 0 h 2274"/>
                <a:gd name="T185" fmla="*/ 1506 w 1506"/>
                <a:gd name="T186" fmla="*/ 2274 h 227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06" h="2274">
                  <a:moveTo>
                    <a:pt x="330" y="2274"/>
                  </a:moveTo>
                  <a:lnTo>
                    <a:pt x="318" y="2262"/>
                  </a:lnTo>
                  <a:lnTo>
                    <a:pt x="312" y="2238"/>
                  </a:lnTo>
                  <a:lnTo>
                    <a:pt x="312" y="2232"/>
                  </a:lnTo>
                  <a:lnTo>
                    <a:pt x="294" y="2214"/>
                  </a:lnTo>
                  <a:lnTo>
                    <a:pt x="288" y="2208"/>
                  </a:lnTo>
                  <a:lnTo>
                    <a:pt x="288" y="2202"/>
                  </a:lnTo>
                  <a:lnTo>
                    <a:pt x="276" y="2196"/>
                  </a:lnTo>
                  <a:lnTo>
                    <a:pt x="276" y="2190"/>
                  </a:lnTo>
                  <a:lnTo>
                    <a:pt x="282" y="2190"/>
                  </a:lnTo>
                  <a:lnTo>
                    <a:pt x="282" y="2184"/>
                  </a:lnTo>
                  <a:lnTo>
                    <a:pt x="276" y="2172"/>
                  </a:lnTo>
                  <a:lnTo>
                    <a:pt x="276" y="2166"/>
                  </a:lnTo>
                  <a:lnTo>
                    <a:pt x="282" y="2166"/>
                  </a:lnTo>
                  <a:lnTo>
                    <a:pt x="282" y="2154"/>
                  </a:lnTo>
                  <a:lnTo>
                    <a:pt x="276" y="2136"/>
                  </a:lnTo>
                  <a:lnTo>
                    <a:pt x="276" y="2112"/>
                  </a:lnTo>
                  <a:lnTo>
                    <a:pt x="282" y="2088"/>
                  </a:lnTo>
                  <a:lnTo>
                    <a:pt x="282" y="2082"/>
                  </a:lnTo>
                  <a:lnTo>
                    <a:pt x="282" y="2076"/>
                  </a:lnTo>
                  <a:lnTo>
                    <a:pt x="282" y="2070"/>
                  </a:lnTo>
                  <a:lnTo>
                    <a:pt x="288" y="2070"/>
                  </a:lnTo>
                  <a:lnTo>
                    <a:pt x="288" y="2064"/>
                  </a:lnTo>
                  <a:lnTo>
                    <a:pt x="282" y="2052"/>
                  </a:lnTo>
                  <a:lnTo>
                    <a:pt x="282" y="2046"/>
                  </a:lnTo>
                  <a:lnTo>
                    <a:pt x="276" y="2040"/>
                  </a:lnTo>
                  <a:lnTo>
                    <a:pt x="270" y="2034"/>
                  </a:lnTo>
                  <a:lnTo>
                    <a:pt x="264" y="2022"/>
                  </a:lnTo>
                  <a:lnTo>
                    <a:pt x="258" y="2022"/>
                  </a:lnTo>
                  <a:lnTo>
                    <a:pt x="258" y="2016"/>
                  </a:lnTo>
                  <a:lnTo>
                    <a:pt x="252" y="2016"/>
                  </a:lnTo>
                  <a:lnTo>
                    <a:pt x="246" y="2016"/>
                  </a:lnTo>
                  <a:lnTo>
                    <a:pt x="240" y="2010"/>
                  </a:lnTo>
                  <a:lnTo>
                    <a:pt x="234" y="2004"/>
                  </a:lnTo>
                  <a:lnTo>
                    <a:pt x="228" y="2004"/>
                  </a:lnTo>
                  <a:lnTo>
                    <a:pt x="228" y="1998"/>
                  </a:lnTo>
                  <a:lnTo>
                    <a:pt x="228" y="1992"/>
                  </a:lnTo>
                  <a:lnTo>
                    <a:pt x="222" y="1992"/>
                  </a:lnTo>
                  <a:lnTo>
                    <a:pt x="222" y="1986"/>
                  </a:lnTo>
                  <a:lnTo>
                    <a:pt x="216" y="1986"/>
                  </a:lnTo>
                  <a:lnTo>
                    <a:pt x="210" y="1980"/>
                  </a:lnTo>
                  <a:lnTo>
                    <a:pt x="216" y="1974"/>
                  </a:lnTo>
                  <a:lnTo>
                    <a:pt x="210" y="1968"/>
                  </a:lnTo>
                  <a:lnTo>
                    <a:pt x="198" y="1956"/>
                  </a:lnTo>
                  <a:lnTo>
                    <a:pt x="192" y="1956"/>
                  </a:lnTo>
                  <a:lnTo>
                    <a:pt x="186" y="1956"/>
                  </a:lnTo>
                  <a:lnTo>
                    <a:pt x="180" y="1944"/>
                  </a:lnTo>
                  <a:lnTo>
                    <a:pt x="180" y="1938"/>
                  </a:lnTo>
                  <a:lnTo>
                    <a:pt x="174" y="1932"/>
                  </a:lnTo>
                  <a:lnTo>
                    <a:pt x="168" y="1932"/>
                  </a:lnTo>
                  <a:lnTo>
                    <a:pt x="162" y="1932"/>
                  </a:lnTo>
                  <a:lnTo>
                    <a:pt x="150" y="1932"/>
                  </a:lnTo>
                  <a:lnTo>
                    <a:pt x="150" y="1926"/>
                  </a:lnTo>
                  <a:lnTo>
                    <a:pt x="150" y="1932"/>
                  </a:lnTo>
                  <a:lnTo>
                    <a:pt x="144" y="1932"/>
                  </a:lnTo>
                  <a:lnTo>
                    <a:pt x="138" y="1932"/>
                  </a:lnTo>
                  <a:lnTo>
                    <a:pt x="132" y="1932"/>
                  </a:lnTo>
                  <a:lnTo>
                    <a:pt x="132" y="1938"/>
                  </a:lnTo>
                  <a:lnTo>
                    <a:pt x="126" y="1944"/>
                  </a:lnTo>
                  <a:lnTo>
                    <a:pt x="126" y="1956"/>
                  </a:lnTo>
                  <a:lnTo>
                    <a:pt x="120" y="1968"/>
                  </a:lnTo>
                  <a:lnTo>
                    <a:pt x="120" y="1974"/>
                  </a:lnTo>
                  <a:lnTo>
                    <a:pt x="120" y="1980"/>
                  </a:lnTo>
                  <a:lnTo>
                    <a:pt x="126" y="1980"/>
                  </a:lnTo>
                  <a:lnTo>
                    <a:pt x="120" y="1986"/>
                  </a:lnTo>
                  <a:lnTo>
                    <a:pt x="120" y="1992"/>
                  </a:lnTo>
                  <a:lnTo>
                    <a:pt x="114" y="1992"/>
                  </a:lnTo>
                  <a:lnTo>
                    <a:pt x="114" y="1986"/>
                  </a:lnTo>
                  <a:lnTo>
                    <a:pt x="108" y="1992"/>
                  </a:lnTo>
                  <a:lnTo>
                    <a:pt x="108" y="1998"/>
                  </a:lnTo>
                  <a:lnTo>
                    <a:pt x="114" y="2004"/>
                  </a:lnTo>
                  <a:lnTo>
                    <a:pt x="108" y="2004"/>
                  </a:lnTo>
                  <a:lnTo>
                    <a:pt x="102" y="2010"/>
                  </a:lnTo>
                  <a:lnTo>
                    <a:pt x="102" y="2004"/>
                  </a:lnTo>
                  <a:lnTo>
                    <a:pt x="90" y="2004"/>
                  </a:lnTo>
                  <a:lnTo>
                    <a:pt x="84" y="2004"/>
                  </a:lnTo>
                  <a:lnTo>
                    <a:pt x="78" y="1998"/>
                  </a:lnTo>
                  <a:lnTo>
                    <a:pt x="78" y="1992"/>
                  </a:lnTo>
                  <a:lnTo>
                    <a:pt x="78" y="1986"/>
                  </a:lnTo>
                  <a:lnTo>
                    <a:pt x="72" y="1986"/>
                  </a:lnTo>
                  <a:lnTo>
                    <a:pt x="66" y="1980"/>
                  </a:lnTo>
                  <a:lnTo>
                    <a:pt x="66" y="1968"/>
                  </a:lnTo>
                  <a:lnTo>
                    <a:pt x="60" y="1956"/>
                  </a:lnTo>
                  <a:lnTo>
                    <a:pt x="60" y="1950"/>
                  </a:lnTo>
                  <a:lnTo>
                    <a:pt x="48" y="1944"/>
                  </a:lnTo>
                  <a:lnTo>
                    <a:pt x="30" y="1926"/>
                  </a:lnTo>
                  <a:lnTo>
                    <a:pt x="12" y="1890"/>
                  </a:lnTo>
                  <a:lnTo>
                    <a:pt x="6" y="1872"/>
                  </a:lnTo>
                  <a:lnTo>
                    <a:pt x="0" y="1854"/>
                  </a:lnTo>
                  <a:lnTo>
                    <a:pt x="6" y="1824"/>
                  </a:lnTo>
                  <a:lnTo>
                    <a:pt x="30" y="1794"/>
                  </a:lnTo>
                  <a:lnTo>
                    <a:pt x="66" y="1752"/>
                  </a:lnTo>
                  <a:lnTo>
                    <a:pt x="72" y="1752"/>
                  </a:lnTo>
                  <a:lnTo>
                    <a:pt x="78" y="1746"/>
                  </a:lnTo>
                  <a:lnTo>
                    <a:pt x="84" y="1746"/>
                  </a:lnTo>
                  <a:lnTo>
                    <a:pt x="90" y="1746"/>
                  </a:lnTo>
                  <a:lnTo>
                    <a:pt x="138" y="1674"/>
                  </a:lnTo>
                  <a:lnTo>
                    <a:pt x="186" y="1620"/>
                  </a:lnTo>
                  <a:lnTo>
                    <a:pt x="186" y="1614"/>
                  </a:lnTo>
                  <a:lnTo>
                    <a:pt x="186" y="1608"/>
                  </a:lnTo>
                  <a:lnTo>
                    <a:pt x="192" y="1608"/>
                  </a:lnTo>
                  <a:lnTo>
                    <a:pt x="192" y="1614"/>
                  </a:lnTo>
                  <a:lnTo>
                    <a:pt x="198" y="1614"/>
                  </a:lnTo>
                  <a:lnTo>
                    <a:pt x="198" y="1608"/>
                  </a:lnTo>
                  <a:lnTo>
                    <a:pt x="198" y="1602"/>
                  </a:lnTo>
                  <a:lnTo>
                    <a:pt x="204" y="1602"/>
                  </a:lnTo>
                  <a:lnTo>
                    <a:pt x="204" y="1596"/>
                  </a:lnTo>
                  <a:lnTo>
                    <a:pt x="210" y="1590"/>
                  </a:lnTo>
                  <a:lnTo>
                    <a:pt x="216" y="1590"/>
                  </a:lnTo>
                  <a:lnTo>
                    <a:pt x="216" y="1584"/>
                  </a:lnTo>
                  <a:lnTo>
                    <a:pt x="222" y="1584"/>
                  </a:lnTo>
                  <a:lnTo>
                    <a:pt x="228" y="1572"/>
                  </a:lnTo>
                  <a:lnTo>
                    <a:pt x="222" y="1572"/>
                  </a:lnTo>
                  <a:lnTo>
                    <a:pt x="228" y="1566"/>
                  </a:lnTo>
                  <a:lnTo>
                    <a:pt x="228" y="1560"/>
                  </a:lnTo>
                  <a:lnTo>
                    <a:pt x="252" y="1548"/>
                  </a:lnTo>
                  <a:lnTo>
                    <a:pt x="276" y="1530"/>
                  </a:lnTo>
                  <a:lnTo>
                    <a:pt x="282" y="1512"/>
                  </a:lnTo>
                  <a:lnTo>
                    <a:pt x="282" y="1506"/>
                  </a:lnTo>
                  <a:lnTo>
                    <a:pt x="282" y="1494"/>
                  </a:lnTo>
                  <a:lnTo>
                    <a:pt x="282" y="1452"/>
                  </a:lnTo>
                  <a:lnTo>
                    <a:pt x="288" y="1440"/>
                  </a:lnTo>
                  <a:lnTo>
                    <a:pt x="294" y="1440"/>
                  </a:lnTo>
                  <a:lnTo>
                    <a:pt x="294" y="1428"/>
                  </a:lnTo>
                  <a:lnTo>
                    <a:pt x="324" y="1368"/>
                  </a:lnTo>
                  <a:lnTo>
                    <a:pt x="330" y="1362"/>
                  </a:lnTo>
                  <a:lnTo>
                    <a:pt x="330" y="1356"/>
                  </a:lnTo>
                  <a:lnTo>
                    <a:pt x="360" y="1338"/>
                  </a:lnTo>
                  <a:lnTo>
                    <a:pt x="366" y="1296"/>
                  </a:lnTo>
                  <a:lnTo>
                    <a:pt x="354" y="1278"/>
                  </a:lnTo>
                  <a:lnTo>
                    <a:pt x="336" y="1230"/>
                  </a:lnTo>
                  <a:lnTo>
                    <a:pt x="270" y="1212"/>
                  </a:lnTo>
                  <a:lnTo>
                    <a:pt x="264" y="1212"/>
                  </a:lnTo>
                  <a:lnTo>
                    <a:pt x="252" y="1200"/>
                  </a:lnTo>
                  <a:lnTo>
                    <a:pt x="234" y="1188"/>
                  </a:lnTo>
                  <a:lnTo>
                    <a:pt x="222" y="1182"/>
                  </a:lnTo>
                  <a:lnTo>
                    <a:pt x="228" y="1104"/>
                  </a:lnTo>
                  <a:lnTo>
                    <a:pt x="228" y="1098"/>
                  </a:lnTo>
                  <a:lnTo>
                    <a:pt x="198" y="1038"/>
                  </a:lnTo>
                  <a:lnTo>
                    <a:pt x="192" y="1032"/>
                  </a:lnTo>
                  <a:lnTo>
                    <a:pt x="180" y="1020"/>
                  </a:lnTo>
                  <a:lnTo>
                    <a:pt x="168" y="996"/>
                  </a:lnTo>
                  <a:lnTo>
                    <a:pt x="162" y="990"/>
                  </a:lnTo>
                  <a:lnTo>
                    <a:pt x="156" y="990"/>
                  </a:lnTo>
                  <a:lnTo>
                    <a:pt x="150" y="990"/>
                  </a:lnTo>
                  <a:lnTo>
                    <a:pt x="132" y="990"/>
                  </a:lnTo>
                  <a:lnTo>
                    <a:pt x="120" y="984"/>
                  </a:lnTo>
                  <a:lnTo>
                    <a:pt x="120" y="990"/>
                  </a:lnTo>
                  <a:lnTo>
                    <a:pt x="114" y="990"/>
                  </a:lnTo>
                  <a:lnTo>
                    <a:pt x="102" y="984"/>
                  </a:lnTo>
                  <a:lnTo>
                    <a:pt x="96" y="984"/>
                  </a:lnTo>
                  <a:lnTo>
                    <a:pt x="96" y="978"/>
                  </a:lnTo>
                  <a:lnTo>
                    <a:pt x="90" y="978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84" y="960"/>
                  </a:lnTo>
                  <a:lnTo>
                    <a:pt x="84" y="954"/>
                  </a:lnTo>
                  <a:lnTo>
                    <a:pt x="78" y="948"/>
                  </a:lnTo>
                  <a:lnTo>
                    <a:pt x="72" y="948"/>
                  </a:lnTo>
                  <a:lnTo>
                    <a:pt x="72" y="942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06"/>
                  </a:lnTo>
                  <a:lnTo>
                    <a:pt x="60" y="888"/>
                  </a:lnTo>
                  <a:lnTo>
                    <a:pt x="54" y="882"/>
                  </a:lnTo>
                  <a:lnTo>
                    <a:pt x="60" y="882"/>
                  </a:lnTo>
                  <a:lnTo>
                    <a:pt x="72" y="876"/>
                  </a:lnTo>
                  <a:lnTo>
                    <a:pt x="78" y="876"/>
                  </a:lnTo>
                  <a:lnTo>
                    <a:pt x="90" y="870"/>
                  </a:lnTo>
                  <a:lnTo>
                    <a:pt x="90" y="864"/>
                  </a:lnTo>
                  <a:lnTo>
                    <a:pt x="96" y="840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80" y="822"/>
                  </a:lnTo>
                  <a:lnTo>
                    <a:pt x="204" y="798"/>
                  </a:lnTo>
                  <a:lnTo>
                    <a:pt x="222" y="786"/>
                  </a:lnTo>
                  <a:lnTo>
                    <a:pt x="252" y="780"/>
                  </a:lnTo>
                  <a:lnTo>
                    <a:pt x="264" y="762"/>
                  </a:lnTo>
                  <a:lnTo>
                    <a:pt x="276" y="762"/>
                  </a:lnTo>
                  <a:lnTo>
                    <a:pt x="288" y="744"/>
                  </a:lnTo>
                  <a:lnTo>
                    <a:pt x="306" y="738"/>
                  </a:lnTo>
                  <a:lnTo>
                    <a:pt x="318" y="732"/>
                  </a:lnTo>
                  <a:lnTo>
                    <a:pt x="324" y="648"/>
                  </a:lnTo>
                  <a:lnTo>
                    <a:pt x="324" y="636"/>
                  </a:lnTo>
                  <a:lnTo>
                    <a:pt x="324" y="630"/>
                  </a:lnTo>
                  <a:lnTo>
                    <a:pt x="330" y="624"/>
                  </a:lnTo>
                  <a:lnTo>
                    <a:pt x="324" y="618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24" y="588"/>
                  </a:lnTo>
                  <a:lnTo>
                    <a:pt x="318" y="576"/>
                  </a:lnTo>
                  <a:lnTo>
                    <a:pt x="318" y="570"/>
                  </a:lnTo>
                  <a:lnTo>
                    <a:pt x="324" y="570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30" y="558"/>
                  </a:lnTo>
                  <a:lnTo>
                    <a:pt x="336" y="558"/>
                  </a:lnTo>
                  <a:lnTo>
                    <a:pt x="342" y="558"/>
                  </a:lnTo>
                  <a:lnTo>
                    <a:pt x="348" y="558"/>
                  </a:lnTo>
                  <a:lnTo>
                    <a:pt x="354" y="564"/>
                  </a:lnTo>
                  <a:lnTo>
                    <a:pt x="360" y="564"/>
                  </a:lnTo>
                  <a:lnTo>
                    <a:pt x="366" y="570"/>
                  </a:lnTo>
                  <a:lnTo>
                    <a:pt x="366" y="576"/>
                  </a:lnTo>
                  <a:lnTo>
                    <a:pt x="372" y="570"/>
                  </a:lnTo>
                  <a:lnTo>
                    <a:pt x="378" y="570"/>
                  </a:lnTo>
                  <a:lnTo>
                    <a:pt x="390" y="570"/>
                  </a:lnTo>
                  <a:lnTo>
                    <a:pt x="402" y="570"/>
                  </a:lnTo>
                  <a:lnTo>
                    <a:pt x="408" y="570"/>
                  </a:lnTo>
                  <a:lnTo>
                    <a:pt x="414" y="564"/>
                  </a:lnTo>
                  <a:lnTo>
                    <a:pt x="420" y="564"/>
                  </a:lnTo>
                  <a:lnTo>
                    <a:pt x="420" y="570"/>
                  </a:lnTo>
                  <a:lnTo>
                    <a:pt x="426" y="570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44" y="570"/>
                  </a:lnTo>
                  <a:lnTo>
                    <a:pt x="450" y="564"/>
                  </a:lnTo>
                  <a:lnTo>
                    <a:pt x="474" y="558"/>
                  </a:lnTo>
                  <a:lnTo>
                    <a:pt x="486" y="54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40" y="474"/>
                  </a:lnTo>
                  <a:lnTo>
                    <a:pt x="558" y="456"/>
                  </a:lnTo>
                  <a:lnTo>
                    <a:pt x="582" y="450"/>
                  </a:lnTo>
                  <a:lnTo>
                    <a:pt x="594" y="414"/>
                  </a:lnTo>
                  <a:lnTo>
                    <a:pt x="612" y="390"/>
                  </a:lnTo>
                  <a:lnTo>
                    <a:pt x="636" y="390"/>
                  </a:lnTo>
                  <a:lnTo>
                    <a:pt x="666" y="390"/>
                  </a:lnTo>
                  <a:lnTo>
                    <a:pt x="696" y="390"/>
                  </a:lnTo>
                  <a:lnTo>
                    <a:pt x="726" y="390"/>
                  </a:lnTo>
                  <a:lnTo>
                    <a:pt x="762" y="378"/>
                  </a:lnTo>
                  <a:lnTo>
                    <a:pt x="780" y="366"/>
                  </a:lnTo>
                  <a:lnTo>
                    <a:pt x="780" y="342"/>
                  </a:lnTo>
                  <a:lnTo>
                    <a:pt x="786" y="342"/>
                  </a:lnTo>
                  <a:lnTo>
                    <a:pt x="786" y="336"/>
                  </a:lnTo>
                  <a:lnTo>
                    <a:pt x="786" y="330"/>
                  </a:lnTo>
                  <a:lnTo>
                    <a:pt x="786" y="324"/>
                  </a:lnTo>
                  <a:lnTo>
                    <a:pt x="816" y="318"/>
                  </a:lnTo>
                  <a:lnTo>
                    <a:pt x="834" y="312"/>
                  </a:lnTo>
                  <a:lnTo>
                    <a:pt x="840" y="318"/>
                  </a:lnTo>
                  <a:lnTo>
                    <a:pt x="852" y="318"/>
                  </a:lnTo>
                  <a:lnTo>
                    <a:pt x="858" y="306"/>
                  </a:lnTo>
                  <a:lnTo>
                    <a:pt x="864" y="288"/>
                  </a:lnTo>
                  <a:lnTo>
                    <a:pt x="870" y="282"/>
                  </a:lnTo>
                  <a:lnTo>
                    <a:pt x="876" y="276"/>
                  </a:lnTo>
                  <a:lnTo>
                    <a:pt x="882" y="264"/>
                  </a:lnTo>
                  <a:lnTo>
                    <a:pt x="882" y="258"/>
                  </a:lnTo>
                  <a:lnTo>
                    <a:pt x="888" y="252"/>
                  </a:lnTo>
                  <a:lnTo>
                    <a:pt x="894" y="240"/>
                  </a:lnTo>
                  <a:lnTo>
                    <a:pt x="906" y="228"/>
                  </a:lnTo>
                  <a:lnTo>
                    <a:pt x="912" y="228"/>
                  </a:lnTo>
                  <a:lnTo>
                    <a:pt x="936" y="228"/>
                  </a:lnTo>
                  <a:lnTo>
                    <a:pt x="942" y="222"/>
                  </a:lnTo>
                  <a:lnTo>
                    <a:pt x="948" y="216"/>
                  </a:lnTo>
                  <a:lnTo>
                    <a:pt x="954" y="216"/>
                  </a:lnTo>
                  <a:lnTo>
                    <a:pt x="960" y="216"/>
                  </a:lnTo>
                  <a:lnTo>
                    <a:pt x="966" y="216"/>
                  </a:lnTo>
                  <a:lnTo>
                    <a:pt x="978" y="216"/>
                  </a:lnTo>
                  <a:lnTo>
                    <a:pt x="990" y="222"/>
                  </a:lnTo>
                  <a:lnTo>
                    <a:pt x="996" y="222"/>
                  </a:lnTo>
                  <a:lnTo>
                    <a:pt x="1002" y="228"/>
                  </a:lnTo>
                  <a:lnTo>
                    <a:pt x="1014" y="234"/>
                  </a:lnTo>
                  <a:lnTo>
                    <a:pt x="1020" y="234"/>
                  </a:lnTo>
                  <a:lnTo>
                    <a:pt x="1032" y="240"/>
                  </a:lnTo>
                  <a:lnTo>
                    <a:pt x="1044" y="240"/>
                  </a:lnTo>
                  <a:lnTo>
                    <a:pt x="1050" y="240"/>
                  </a:lnTo>
                  <a:lnTo>
                    <a:pt x="1056" y="246"/>
                  </a:lnTo>
                  <a:lnTo>
                    <a:pt x="1068" y="264"/>
                  </a:lnTo>
                  <a:lnTo>
                    <a:pt x="1086" y="276"/>
                  </a:lnTo>
                  <a:lnTo>
                    <a:pt x="1092" y="276"/>
                  </a:lnTo>
                  <a:lnTo>
                    <a:pt x="1104" y="282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8" y="312"/>
                  </a:lnTo>
                  <a:lnTo>
                    <a:pt x="1152" y="324"/>
                  </a:lnTo>
                  <a:lnTo>
                    <a:pt x="1188" y="324"/>
                  </a:lnTo>
                  <a:lnTo>
                    <a:pt x="1206" y="318"/>
                  </a:lnTo>
                  <a:lnTo>
                    <a:pt x="1200" y="294"/>
                  </a:lnTo>
                  <a:lnTo>
                    <a:pt x="1206" y="252"/>
                  </a:lnTo>
                  <a:lnTo>
                    <a:pt x="1218" y="222"/>
                  </a:lnTo>
                  <a:lnTo>
                    <a:pt x="1212" y="222"/>
                  </a:lnTo>
                  <a:lnTo>
                    <a:pt x="1212" y="216"/>
                  </a:lnTo>
                  <a:lnTo>
                    <a:pt x="1218" y="204"/>
                  </a:lnTo>
                  <a:lnTo>
                    <a:pt x="1224" y="198"/>
                  </a:lnTo>
                  <a:lnTo>
                    <a:pt x="1224" y="192"/>
                  </a:lnTo>
                  <a:lnTo>
                    <a:pt x="1236" y="180"/>
                  </a:lnTo>
                  <a:lnTo>
                    <a:pt x="1254" y="156"/>
                  </a:lnTo>
                  <a:lnTo>
                    <a:pt x="1260" y="150"/>
                  </a:lnTo>
                  <a:lnTo>
                    <a:pt x="1260" y="144"/>
                  </a:lnTo>
                  <a:lnTo>
                    <a:pt x="1266" y="138"/>
                  </a:lnTo>
                  <a:lnTo>
                    <a:pt x="1272" y="138"/>
                  </a:lnTo>
                  <a:lnTo>
                    <a:pt x="1272" y="120"/>
                  </a:lnTo>
                  <a:lnTo>
                    <a:pt x="1278" y="114"/>
                  </a:lnTo>
                  <a:lnTo>
                    <a:pt x="1278" y="108"/>
                  </a:lnTo>
                  <a:lnTo>
                    <a:pt x="1278" y="102"/>
                  </a:lnTo>
                  <a:lnTo>
                    <a:pt x="1278" y="90"/>
                  </a:lnTo>
                  <a:lnTo>
                    <a:pt x="1278" y="84"/>
                  </a:lnTo>
                  <a:lnTo>
                    <a:pt x="1278" y="78"/>
                  </a:lnTo>
                  <a:lnTo>
                    <a:pt x="1278" y="72"/>
                  </a:lnTo>
                  <a:lnTo>
                    <a:pt x="1278" y="60"/>
                  </a:lnTo>
                  <a:lnTo>
                    <a:pt x="1284" y="48"/>
                  </a:lnTo>
                  <a:lnTo>
                    <a:pt x="1284" y="24"/>
                  </a:lnTo>
                  <a:lnTo>
                    <a:pt x="1284" y="18"/>
                  </a:lnTo>
                  <a:lnTo>
                    <a:pt x="1308" y="24"/>
                  </a:lnTo>
                  <a:lnTo>
                    <a:pt x="1332" y="30"/>
                  </a:lnTo>
                  <a:lnTo>
                    <a:pt x="1368" y="30"/>
                  </a:lnTo>
                  <a:lnTo>
                    <a:pt x="1392" y="24"/>
                  </a:lnTo>
                  <a:lnTo>
                    <a:pt x="1410" y="18"/>
                  </a:lnTo>
                  <a:lnTo>
                    <a:pt x="1416" y="6"/>
                  </a:lnTo>
                  <a:lnTo>
                    <a:pt x="1500" y="6"/>
                  </a:lnTo>
                  <a:lnTo>
                    <a:pt x="1506" y="0"/>
                  </a:lnTo>
                  <a:lnTo>
                    <a:pt x="1506" y="6"/>
                  </a:lnTo>
                  <a:lnTo>
                    <a:pt x="1506" y="18"/>
                  </a:lnTo>
                  <a:lnTo>
                    <a:pt x="1506" y="24"/>
                  </a:lnTo>
                  <a:lnTo>
                    <a:pt x="1500" y="30"/>
                  </a:lnTo>
                  <a:lnTo>
                    <a:pt x="1500" y="42"/>
                  </a:lnTo>
                  <a:lnTo>
                    <a:pt x="1494" y="54"/>
                  </a:lnTo>
                  <a:lnTo>
                    <a:pt x="1488" y="60"/>
                  </a:lnTo>
                  <a:lnTo>
                    <a:pt x="1482" y="60"/>
                  </a:lnTo>
                  <a:lnTo>
                    <a:pt x="1476" y="66"/>
                  </a:lnTo>
                  <a:lnTo>
                    <a:pt x="1476" y="72"/>
                  </a:lnTo>
                  <a:lnTo>
                    <a:pt x="1476" y="78"/>
                  </a:lnTo>
                  <a:lnTo>
                    <a:pt x="1470" y="78"/>
                  </a:lnTo>
                  <a:lnTo>
                    <a:pt x="1464" y="90"/>
                  </a:lnTo>
                  <a:lnTo>
                    <a:pt x="1458" y="96"/>
                  </a:lnTo>
                  <a:lnTo>
                    <a:pt x="1458" y="102"/>
                  </a:lnTo>
                  <a:lnTo>
                    <a:pt x="1452" y="120"/>
                  </a:lnTo>
                  <a:lnTo>
                    <a:pt x="1452" y="132"/>
                  </a:lnTo>
                  <a:lnTo>
                    <a:pt x="1446" y="144"/>
                  </a:lnTo>
                  <a:lnTo>
                    <a:pt x="1446" y="150"/>
                  </a:lnTo>
                  <a:lnTo>
                    <a:pt x="1440" y="150"/>
                  </a:lnTo>
                  <a:lnTo>
                    <a:pt x="1434" y="156"/>
                  </a:lnTo>
                  <a:lnTo>
                    <a:pt x="1428" y="168"/>
                  </a:lnTo>
                  <a:lnTo>
                    <a:pt x="1422" y="168"/>
                  </a:lnTo>
                  <a:lnTo>
                    <a:pt x="1416" y="174"/>
                  </a:lnTo>
                  <a:lnTo>
                    <a:pt x="1410" y="186"/>
                  </a:lnTo>
                  <a:lnTo>
                    <a:pt x="1410" y="204"/>
                  </a:lnTo>
                  <a:lnTo>
                    <a:pt x="1404" y="210"/>
                  </a:lnTo>
                  <a:lnTo>
                    <a:pt x="1404" y="216"/>
                  </a:lnTo>
                  <a:lnTo>
                    <a:pt x="1410" y="228"/>
                  </a:lnTo>
                  <a:lnTo>
                    <a:pt x="1410" y="234"/>
                  </a:lnTo>
                  <a:lnTo>
                    <a:pt x="1410" y="240"/>
                  </a:lnTo>
                  <a:lnTo>
                    <a:pt x="1416" y="252"/>
                  </a:lnTo>
                  <a:lnTo>
                    <a:pt x="1416" y="258"/>
                  </a:lnTo>
                  <a:lnTo>
                    <a:pt x="1422" y="264"/>
                  </a:lnTo>
                  <a:lnTo>
                    <a:pt x="1422" y="270"/>
                  </a:lnTo>
                  <a:lnTo>
                    <a:pt x="1422" y="282"/>
                  </a:lnTo>
                  <a:lnTo>
                    <a:pt x="1416" y="288"/>
                  </a:lnTo>
                  <a:lnTo>
                    <a:pt x="1410" y="294"/>
                  </a:lnTo>
                  <a:lnTo>
                    <a:pt x="1404" y="300"/>
                  </a:lnTo>
                  <a:lnTo>
                    <a:pt x="1404" y="306"/>
                  </a:lnTo>
                  <a:lnTo>
                    <a:pt x="1398" y="324"/>
                  </a:lnTo>
                  <a:lnTo>
                    <a:pt x="1404" y="330"/>
                  </a:lnTo>
                  <a:lnTo>
                    <a:pt x="1404" y="342"/>
                  </a:lnTo>
                  <a:lnTo>
                    <a:pt x="1392" y="354"/>
                  </a:lnTo>
                  <a:lnTo>
                    <a:pt x="1392" y="360"/>
                  </a:lnTo>
                  <a:lnTo>
                    <a:pt x="1392" y="372"/>
                  </a:lnTo>
                  <a:lnTo>
                    <a:pt x="1392" y="384"/>
                  </a:lnTo>
                  <a:lnTo>
                    <a:pt x="1392" y="396"/>
                  </a:lnTo>
                  <a:lnTo>
                    <a:pt x="1392" y="408"/>
                  </a:lnTo>
                  <a:lnTo>
                    <a:pt x="1386" y="414"/>
                  </a:lnTo>
                  <a:lnTo>
                    <a:pt x="1380" y="420"/>
                  </a:lnTo>
                  <a:lnTo>
                    <a:pt x="1380" y="426"/>
                  </a:lnTo>
                  <a:lnTo>
                    <a:pt x="1368" y="432"/>
                  </a:lnTo>
                  <a:lnTo>
                    <a:pt x="1362" y="444"/>
                  </a:lnTo>
                  <a:lnTo>
                    <a:pt x="1362" y="450"/>
                  </a:lnTo>
                  <a:lnTo>
                    <a:pt x="1362" y="462"/>
                  </a:lnTo>
                  <a:lnTo>
                    <a:pt x="1362" y="468"/>
                  </a:lnTo>
                  <a:lnTo>
                    <a:pt x="1362" y="474"/>
                  </a:lnTo>
                  <a:lnTo>
                    <a:pt x="1356" y="474"/>
                  </a:lnTo>
                  <a:lnTo>
                    <a:pt x="1350" y="480"/>
                  </a:lnTo>
                  <a:lnTo>
                    <a:pt x="1344" y="486"/>
                  </a:lnTo>
                  <a:lnTo>
                    <a:pt x="1338" y="498"/>
                  </a:lnTo>
                  <a:lnTo>
                    <a:pt x="1332" y="510"/>
                  </a:lnTo>
                  <a:lnTo>
                    <a:pt x="1320" y="510"/>
                  </a:lnTo>
                  <a:lnTo>
                    <a:pt x="1314" y="516"/>
                  </a:lnTo>
                  <a:lnTo>
                    <a:pt x="1302" y="522"/>
                  </a:lnTo>
                  <a:lnTo>
                    <a:pt x="1296" y="522"/>
                  </a:lnTo>
                  <a:lnTo>
                    <a:pt x="1284" y="516"/>
                  </a:lnTo>
                  <a:lnTo>
                    <a:pt x="1278" y="516"/>
                  </a:lnTo>
                  <a:lnTo>
                    <a:pt x="1272" y="522"/>
                  </a:lnTo>
                  <a:lnTo>
                    <a:pt x="1266" y="522"/>
                  </a:lnTo>
                  <a:lnTo>
                    <a:pt x="1266" y="528"/>
                  </a:lnTo>
                  <a:lnTo>
                    <a:pt x="1254" y="540"/>
                  </a:lnTo>
                  <a:lnTo>
                    <a:pt x="1248" y="546"/>
                  </a:lnTo>
                  <a:lnTo>
                    <a:pt x="1242" y="558"/>
                  </a:lnTo>
                  <a:lnTo>
                    <a:pt x="1230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30" y="594"/>
                  </a:lnTo>
                  <a:lnTo>
                    <a:pt x="1230" y="600"/>
                  </a:lnTo>
                  <a:lnTo>
                    <a:pt x="1236" y="606"/>
                  </a:lnTo>
                  <a:lnTo>
                    <a:pt x="1242" y="606"/>
                  </a:lnTo>
                  <a:lnTo>
                    <a:pt x="1242" y="612"/>
                  </a:lnTo>
                  <a:lnTo>
                    <a:pt x="1242" y="618"/>
                  </a:lnTo>
                  <a:lnTo>
                    <a:pt x="1242" y="624"/>
                  </a:lnTo>
                  <a:lnTo>
                    <a:pt x="1236" y="630"/>
                  </a:lnTo>
                  <a:lnTo>
                    <a:pt x="1230" y="642"/>
                  </a:lnTo>
                  <a:lnTo>
                    <a:pt x="1230" y="648"/>
                  </a:lnTo>
                  <a:lnTo>
                    <a:pt x="1218" y="654"/>
                  </a:lnTo>
                  <a:lnTo>
                    <a:pt x="1212" y="654"/>
                  </a:lnTo>
                  <a:lnTo>
                    <a:pt x="1212" y="660"/>
                  </a:lnTo>
                  <a:lnTo>
                    <a:pt x="1212" y="666"/>
                  </a:lnTo>
                  <a:lnTo>
                    <a:pt x="1212" y="672"/>
                  </a:lnTo>
                  <a:lnTo>
                    <a:pt x="1212" y="678"/>
                  </a:lnTo>
                  <a:lnTo>
                    <a:pt x="1218" y="684"/>
                  </a:lnTo>
                  <a:lnTo>
                    <a:pt x="1218" y="690"/>
                  </a:lnTo>
                  <a:lnTo>
                    <a:pt x="1224" y="696"/>
                  </a:lnTo>
                  <a:lnTo>
                    <a:pt x="1230" y="702"/>
                  </a:lnTo>
                  <a:lnTo>
                    <a:pt x="1236" y="696"/>
                  </a:lnTo>
                  <a:lnTo>
                    <a:pt x="1242" y="702"/>
                  </a:lnTo>
                  <a:lnTo>
                    <a:pt x="1248" y="708"/>
                  </a:lnTo>
                  <a:lnTo>
                    <a:pt x="1254" y="714"/>
                  </a:lnTo>
                  <a:lnTo>
                    <a:pt x="1254" y="720"/>
                  </a:lnTo>
                  <a:lnTo>
                    <a:pt x="1260" y="720"/>
                  </a:lnTo>
                  <a:lnTo>
                    <a:pt x="1254" y="732"/>
                  </a:lnTo>
                  <a:lnTo>
                    <a:pt x="1248" y="738"/>
                  </a:lnTo>
                  <a:lnTo>
                    <a:pt x="1242" y="744"/>
                  </a:lnTo>
                  <a:lnTo>
                    <a:pt x="1236" y="750"/>
                  </a:lnTo>
                  <a:lnTo>
                    <a:pt x="1236" y="756"/>
                  </a:lnTo>
                  <a:lnTo>
                    <a:pt x="1236" y="762"/>
                  </a:lnTo>
                  <a:lnTo>
                    <a:pt x="1236" y="768"/>
                  </a:lnTo>
                  <a:lnTo>
                    <a:pt x="1236" y="780"/>
                  </a:lnTo>
                  <a:lnTo>
                    <a:pt x="1230" y="780"/>
                  </a:lnTo>
                  <a:lnTo>
                    <a:pt x="1230" y="786"/>
                  </a:lnTo>
                  <a:lnTo>
                    <a:pt x="1230" y="792"/>
                  </a:lnTo>
                  <a:lnTo>
                    <a:pt x="1230" y="804"/>
                  </a:lnTo>
                  <a:lnTo>
                    <a:pt x="1224" y="810"/>
                  </a:lnTo>
                  <a:lnTo>
                    <a:pt x="1218" y="816"/>
                  </a:lnTo>
                  <a:lnTo>
                    <a:pt x="1224" y="822"/>
                  </a:lnTo>
                  <a:lnTo>
                    <a:pt x="1224" y="828"/>
                  </a:lnTo>
                  <a:lnTo>
                    <a:pt x="1218" y="834"/>
                  </a:lnTo>
                  <a:lnTo>
                    <a:pt x="1224" y="834"/>
                  </a:lnTo>
                  <a:lnTo>
                    <a:pt x="1224" y="840"/>
                  </a:lnTo>
                  <a:lnTo>
                    <a:pt x="1224" y="846"/>
                  </a:lnTo>
                  <a:lnTo>
                    <a:pt x="1224" y="852"/>
                  </a:lnTo>
                  <a:lnTo>
                    <a:pt x="1218" y="858"/>
                  </a:lnTo>
                  <a:lnTo>
                    <a:pt x="1218" y="870"/>
                  </a:lnTo>
                  <a:lnTo>
                    <a:pt x="1212" y="870"/>
                  </a:lnTo>
                  <a:lnTo>
                    <a:pt x="1212" y="876"/>
                  </a:lnTo>
                  <a:lnTo>
                    <a:pt x="1206" y="888"/>
                  </a:lnTo>
                  <a:lnTo>
                    <a:pt x="1200" y="882"/>
                  </a:lnTo>
                  <a:lnTo>
                    <a:pt x="1194" y="888"/>
                  </a:lnTo>
                  <a:lnTo>
                    <a:pt x="1188" y="894"/>
                  </a:lnTo>
                  <a:lnTo>
                    <a:pt x="1182" y="894"/>
                  </a:lnTo>
                  <a:lnTo>
                    <a:pt x="1182" y="900"/>
                  </a:lnTo>
                  <a:lnTo>
                    <a:pt x="1176" y="900"/>
                  </a:lnTo>
                  <a:lnTo>
                    <a:pt x="1170" y="894"/>
                  </a:lnTo>
                  <a:lnTo>
                    <a:pt x="1164" y="900"/>
                  </a:lnTo>
                  <a:lnTo>
                    <a:pt x="1158" y="900"/>
                  </a:lnTo>
                  <a:lnTo>
                    <a:pt x="1152" y="900"/>
                  </a:lnTo>
                  <a:lnTo>
                    <a:pt x="1140" y="900"/>
                  </a:lnTo>
                  <a:lnTo>
                    <a:pt x="1134" y="900"/>
                  </a:lnTo>
                  <a:lnTo>
                    <a:pt x="1128" y="906"/>
                  </a:lnTo>
                  <a:lnTo>
                    <a:pt x="1110" y="906"/>
                  </a:lnTo>
                  <a:lnTo>
                    <a:pt x="1104" y="906"/>
                  </a:lnTo>
                  <a:lnTo>
                    <a:pt x="1098" y="906"/>
                  </a:lnTo>
                  <a:lnTo>
                    <a:pt x="1092" y="912"/>
                  </a:lnTo>
                  <a:lnTo>
                    <a:pt x="1080" y="918"/>
                  </a:lnTo>
                  <a:lnTo>
                    <a:pt x="1068" y="930"/>
                  </a:lnTo>
                  <a:lnTo>
                    <a:pt x="1062" y="930"/>
                  </a:lnTo>
                  <a:lnTo>
                    <a:pt x="1056" y="930"/>
                  </a:lnTo>
                  <a:lnTo>
                    <a:pt x="1050" y="930"/>
                  </a:lnTo>
                  <a:lnTo>
                    <a:pt x="1050" y="936"/>
                  </a:lnTo>
                  <a:lnTo>
                    <a:pt x="1038" y="942"/>
                  </a:lnTo>
                  <a:lnTo>
                    <a:pt x="1032" y="948"/>
                  </a:lnTo>
                  <a:lnTo>
                    <a:pt x="1026" y="954"/>
                  </a:lnTo>
                  <a:lnTo>
                    <a:pt x="1020" y="960"/>
                  </a:lnTo>
                  <a:lnTo>
                    <a:pt x="1014" y="966"/>
                  </a:lnTo>
                  <a:lnTo>
                    <a:pt x="1002" y="966"/>
                  </a:lnTo>
                  <a:lnTo>
                    <a:pt x="990" y="978"/>
                  </a:lnTo>
                  <a:lnTo>
                    <a:pt x="984" y="978"/>
                  </a:lnTo>
                  <a:lnTo>
                    <a:pt x="978" y="984"/>
                  </a:lnTo>
                  <a:lnTo>
                    <a:pt x="972" y="984"/>
                  </a:lnTo>
                  <a:lnTo>
                    <a:pt x="978" y="990"/>
                  </a:lnTo>
                  <a:lnTo>
                    <a:pt x="972" y="996"/>
                  </a:lnTo>
                  <a:lnTo>
                    <a:pt x="978" y="1002"/>
                  </a:lnTo>
                  <a:lnTo>
                    <a:pt x="1002" y="1002"/>
                  </a:lnTo>
                  <a:lnTo>
                    <a:pt x="1002" y="1008"/>
                  </a:lnTo>
                  <a:lnTo>
                    <a:pt x="1008" y="1020"/>
                  </a:lnTo>
                  <a:lnTo>
                    <a:pt x="1002" y="1026"/>
                  </a:lnTo>
                  <a:lnTo>
                    <a:pt x="1002" y="1032"/>
                  </a:lnTo>
                  <a:lnTo>
                    <a:pt x="1002" y="1050"/>
                  </a:lnTo>
                  <a:lnTo>
                    <a:pt x="1002" y="1056"/>
                  </a:lnTo>
                  <a:lnTo>
                    <a:pt x="1008" y="1062"/>
                  </a:lnTo>
                  <a:lnTo>
                    <a:pt x="1008" y="1074"/>
                  </a:lnTo>
                  <a:lnTo>
                    <a:pt x="1008" y="1086"/>
                  </a:lnTo>
                  <a:lnTo>
                    <a:pt x="996" y="1092"/>
                  </a:lnTo>
                  <a:lnTo>
                    <a:pt x="996" y="1098"/>
                  </a:lnTo>
                  <a:lnTo>
                    <a:pt x="996" y="1104"/>
                  </a:lnTo>
                  <a:lnTo>
                    <a:pt x="990" y="1110"/>
                  </a:lnTo>
                  <a:lnTo>
                    <a:pt x="990" y="1116"/>
                  </a:lnTo>
                  <a:lnTo>
                    <a:pt x="996" y="1122"/>
                  </a:lnTo>
                  <a:lnTo>
                    <a:pt x="990" y="1128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96" y="1140"/>
                  </a:lnTo>
                  <a:lnTo>
                    <a:pt x="996" y="1146"/>
                  </a:lnTo>
                  <a:lnTo>
                    <a:pt x="996" y="1152"/>
                  </a:lnTo>
                  <a:lnTo>
                    <a:pt x="996" y="1158"/>
                  </a:lnTo>
                  <a:lnTo>
                    <a:pt x="996" y="1164"/>
                  </a:lnTo>
                  <a:lnTo>
                    <a:pt x="996" y="1170"/>
                  </a:lnTo>
                  <a:lnTo>
                    <a:pt x="996" y="1176"/>
                  </a:lnTo>
                  <a:lnTo>
                    <a:pt x="990" y="1182"/>
                  </a:lnTo>
                  <a:lnTo>
                    <a:pt x="990" y="1188"/>
                  </a:lnTo>
                  <a:lnTo>
                    <a:pt x="984" y="1200"/>
                  </a:lnTo>
                  <a:lnTo>
                    <a:pt x="990" y="1206"/>
                  </a:lnTo>
                  <a:lnTo>
                    <a:pt x="990" y="1212"/>
                  </a:lnTo>
                  <a:lnTo>
                    <a:pt x="990" y="1218"/>
                  </a:lnTo>
                  <a:lnTo>
                    <a:pt x="978" y="1230"/>
                  </a:lnTo>
                  <a:lnTo>
                    <a:pt x="972" y="1236"/>
                  </a:lnTo>
                  <a:lnTo>
                    <a:pt x="972" y="1242"/>
                  </a:lnTo>
                  <a:lnTo>
                    <a:pt x="966" y="1248"/>
                  </a:lnTo>
                  <a:lnTo>
                    <a:pt x="960" y="1260"/>
                  </a:lnTo>
                  <a:lnTo>
                    <a:pt x="954" y="1266"/>
                  </a:lnTo>
                  <a:lnTo>
                    <a:pt x="942" y="1278"/>
                  </a:lnTo>
                  <a:lnTo>
                    <a:pt x="936" y="1278"/>
                  </a:lnTo>
                  <a:lnTo>
                    <a:pt x="936" y="1284"/>
                  </a:lnTo>
                  <a:lnTo>
                    <a:pt x="936" y="1296"/>
                  </a:lnTo>
                  <a:lnTo>
                    <a:pt x="936" y="1302"/>
                  </a:lnTo>
                  <a:lnTo>
                    <a:pt x="942" y="1302"/>
                  </a:lnTo>
                  <a:lnTo>
                    <a:pt x="942" y="1308"/>
                  </a:lnTo>
                  <a:lnTo>
                    <a:pt x="936" y="1314"/>
                  </a:lnTo>
                  <a:lnTo>
                    <a:pt x="930" y="1320"/>
                  </a:lnTo>
                  <a:lnTo>
                    <a:pt x="930" y="1326"/>
                  </a:lnTo>
                  <a:lnTo>
                    <a:pt x="930" y="1332"/>
                  </a:lnTo>
                  <a:lnTo>
                    <a:pt x="936" y="1338"/>
                  </a:lnTo>
                  <a:lnTo>
                    <a:pt x="936" y="1344"/>
                  </a:lnTo>
                  <a:lnTo>
                    <a:pt x="942" y="1356"/>
                  </a:lnTo>
                  <a:lnTo>
                    <a:pt x="948" y="1368"/>
                  </a:lnTo>
                  <a:lnTo>
                    <a:pt x="942" y="1380"/>
                  </a:lnTo>
                  <a:lnTo>
                    <a:pt x="936" y="1386"/>
                  </a:lnTo>
                  <a:lnTo>
                    <a:pt x="930" y="1392"/>
                  </a:lnTo>
                  <a:lnTo>
                    <a:pt x="924" y="1392"/>
                  </a:lnTo>
                  <a:lnTo>
                    <a:pt x="918" y="1386"/>
                  </a:lnTo>
                  <a:lnTo>
                    <a:pt x="912" y="1386"/>
                  </a:lnTo>
                  <a:lnTo>
                    <a:pt x="906" y="1386"/>
                  </a:lnTo>
                  <a:lnTo>
                    <a:pt x="900" y="1386"/>
                  </a:lnTo>
                  <a:lnTo>
                    <a:pt x="900" y="1392"/>
                  </a:lnTo>
                  <a:lnTo>
                    <a:pt x="894" y="1392"/>
                  </a:lnTo>
                  <a:lnTo>
                    <a:pt x="888" y="1392"/>
                  </a:lnTo>
                  <a:lnTo>
                    <a:pt x="888" y="1398"/>
                  </a:lnTo>
                  <a:lnTo>
                    <a:pt x="882" y="1404"/>
                  </a:lnTo>
                  <a:lnTo>
                    <a:pt x="882" y="1416"/>
                  </a:lnTo>
                  <a:lnTo>
                    <a:pt x="882" y="1428"/>
                  </a:lnTo>
                  <a:lnTo>
                    <a:pt x="882" y="1434"/>
                  </a:lnTo>
                  <a:lnTo>
                    <a:pt x="870" y="1440"/>
                  </a:lnTo>
                  <a:lnTo>
                    <a:pt x="864" y="1452"/>
                  </a:lnTo>
                  <a:lnTo>
                    <a:pt x="870" y="1452"/>
                  </a:lnTo>
                  <a:lnTo>
                    <a:pt x="864" y="1458"/>
                  </a:lnTo>
                  <a:lnTo>
                    <a:pt x="858" y="1464"/>
                  </a:lnTo>
                  <a:lnTo>
                    <a:pt x="852" y="1464"/>
                  </a:lnTo>
                  <a:lnTo>
                    <a:pt x="846" y="1458"/>
                  </a:lnTo>
                  <a:lnTo>
                    <a:pt x="840" y="1458"/>
                  </a:lnTo>
                  <a:lnTo>
                    <a:pt x="828" y="1470"/>
                  </a:lnTo>
                  <a:lnTo>
                    <a:pt x="810" y="1482"/>
                  </a:lnTo>
                  <a:lnTo>
                    <a:pt x="804" y="1488"/>
                  </a:lnTo>
                  <a:lnTo>
                    <a:pt x="798" y="1488"/>
                  </a:lnTo>
                  <a:lnTo>
                    <a:pt x="792" y="1488"/>
                  </a:lnTo>
                  <a:lnTo>
                    <a:pt x="786" y="1488"/>
                  </a:lnTo>
                  <a:lnTo>
                    <a:pt x="768" y="1482"/>
                  </a:lnTo>
                  <a:lnTo>
                    <a:pt x="762" y="1476"/>
                  </a:lnTo>
                  <a:lnTo>
                    <a:pt x="744" y="1476"/>
                  </a:lnTo>
                  <a:lnTo>
                    <a:pt x="738" y="1476"/>
                  </a:lnTo>
                  <a:lnTo>
                    <a:pt x="732" y="1476"/>
                  </a:lnTo>
                  <a:lnTo>
                    <a:pt x="726" y="1482"/>
                  </a:lnTo>
                  <a:lnTo>
                    <a:pt x="726" y="1488"/>
                  </a:lnTo>
                  <a:lnTo>
                    <a:pt x="726" y="1494"/>
                  </a:lnTo>
                  <a:lnTo>
                    <a:pt x="726" y="1500"/>
                  </a:lnTo>
                  <a:lnTo>
                    <a:pt x="720" y="1500"/>
                  </a:lnTo>
                  <a:lnTo>
                    <a:pt x="720" y="1506"/>
                  </a:lnTo>
                  <a:lnTo>
                    <a:pt x="714" y="1512"/>
                  </a:lnTo>
                  <a:lnTo>
                    <a:pt x="714" y="1518"/>
                  </a:lnTo>
                  <a:lnTo>
                    <a:pt x="708" y="1518"/>
                  </a:lnTo>
                  <a:lnTo>
                    <a:pt x="708" y="1530"/>
                  </a:lnTo>
                  <a:lnTo>
                    <a:pt x="708" y="1536"/>
                  </a:lnTo>
                  <a:lnTo>
                    <a:pt x="708" y="1542"/>
                  </a:lnTo>
                  <a:lnTo>
                    <a:pt x="696" y="1554"/>
                  </a:lnTo>
                  <a:lnTo>
                    <a:pt x="690" y="1560"/>
                  </a:lnTo>
                  <a:lnTo>
                    <a:pt x="684" y="1566"/>
                  </a:lnTo>
                  <a:lnTo>
                    <a:pt x="672" y="1566"/>
                  </a:lnTo>
                  <a:lnTo>
                    <a:pt x="666" y="1566"/>
                  </a:lnTo>
                  <a:lnTo>
                    <a:pt x="660" y="1566"/>
                  </a:lnTo>
                  <a:lnTo>
                    <a:pt x="654" y="1572"/>
                  </a:lnTo>
                  <a:lnTo>
                    <a:pt x="654" y="1578"/>
                  </a:lnTo>
                  <a:lnTo>
                    <a:pt x="642" y="1578"/>
                  </a:lnTo>
                  <a:lnTo>
                    <a:pt x="630" y="1572"/>
                  </a:lnTo>
                  <a:lnTo>
                    <a:pt x="624" y="1572"/>
                  </a:lnTo>
                  <a:lnTo>
                    <a:pt x="618" y="1578"/>
                  </a:lnTo>
                  <a:lnTo>
                    <a:pt x="612" y="1584"/>
                  </a:lnTo>
                  <a:lnTo>
                    <a:pt x="606" y="1584"/>
                  </a:lnTo>
                  <a:lnTo>
                    <a:pt x="600" y="1590"/>
                  </a:lnTo>
                  <a:lnTo>
                    <a:pt x="594" y="1590"/>
                  </a:lnTo>
                  <a:lnTo>
                    <a:pt x="588" y="1590"/>
                  </a:lnTo>
                  <a:lnTo>
                    <a:pt x="582" y="1590"/>
                  </a:lnTo>
                  <a:lnTo>
                    <a:pt x="582" y="1596"/>
                  </a:lnTo>
                  <a:lnTo>
                    <a:pt x="576" y="1614"/>
                  </a:lnTo>
                  <a:lnTo>
                    <a:pt x="570" y="1632"/>
                  </a:lnTo>
                  <a:lnTo>
                    <a:pt x="570" y="1638"/>
                  </a:lnTo>
                  <a:lnTo>
                    <a:pt x="576" y="1644"/>
                  </a:lnTo>
                  <a:lnTo>
                    <a:pt x="576" y="1650"/>
                  </a:lnTo>
                  <a:lnTo>
                    <a:pt x="582" y="1662"/>
                  </a:lnTo>
                  <a:lnTo>
                    <a:pt x="582" y="1668"/>
                  </a:lnTo>
                  <a:lnTo>
                    <a:pt x="588" y="1692"/>
                  </a:lnTo>
                  <a:lnTo>
                    <a:pt x="594" y="1728"/>
                  </a:lnTo>
                  <a:lnTo>
                    <a:pt x="594" y="1752"/>
                  </a:lnTo>
                  <a:lnTo>
                    <a:pt x="594" y="1764"/>
                  </a:lnTo>
                  <a:lnTo>
                    <a:pt x="582" y="1770"/>
                  </a:lnTo>
                  <a:lnTo>
                    <a:pt x="582" y="1782"/>
                  </a:lnTo>
                  <a:lnTo>
                    <a:pt x="576" y="1788"/>
                  </a:lnTo>
                  <a:lnTo>
                    <a:pt x="570" y="1794"/>
                  </a:lnTo>
                  <a:lnTo>
                    <a:pt x="564" y="1806"/>
                  </a:lnTo>
                  <a:lnTo>
                    <a:pt x="564" y="1812"/>
                  </a:lnTo>
                  <a:lnTo>
                    <a:pt x="558" y="1812"/>
                  </a:lnTo>
                  <a:lnTo>
                    <a:pt x="564" y="1824"/>
                  </a:lnTo>
                  <a:lnTo>
                    <a:pt x="564" y="1830"/>
                  </a:lnTo>
                  <a:lnTo>
                    <a:pt x="564" y="1842"/>
                  </a:lnTo>
                  <a:lnTo>
                    <a:pt x="564" y="1848"/>
                  </a:lnTo>
                  <a:lnTo>
                    <a:pt x="564" y="1854"/>
                  </a:lnTo>
                  <a:lnTo>
                    <a:pt x="570" y="1860"/>
                  </a:lnTo>
                  <a:lnTo>
                    <a:pt x="570" y="1866"/>
                  </a:lnTo>
                  <a:lnTo>
                    <a:pt x="570" y="1872"/>
                  </a:lnTo>
                  <a:lnTo>
                    <a:pt x="570" y="1878"/>
                  </a:lnTo>
                  <a:lnTo>
                    <a:pt x="564" y="1890"/>
                  </a:lnTo>
                  <a:lnTo>
                    <a:pt x="558" y="1896"/>
                  </a:lnTo>
                  <a:lnTo>
                    <a:pt x="552" y="1908"/>
                  </a:lnTo>
                  <a:lnTo>
                    <a:pt x="546" y="1914"/>
                  </a:lnTo>
                  <a:lnTo>
                    <a:pt x="540" y="1920"/>
                  </a:lnTo>
                  <a:lnTo>
                    <a:pt x="534" y="1932"/>
                  </a:lnTo>
                  <a:lnTo>
                    <a:pt x="528" y="1944"/>
                  </a:lnTo>
                  <a:lnTo>
                    <a:pt x="516" y="1950"/>
                  </a:lnTo>
                  <a:lnTo>
                    <a:pt x="510" y="1956"/>
                  </a:lnTo>
                  <a:lnTo>
                    <a:pt x="498" y="1962"/>
                  </a:lnTo>
                  <a:lnTo>
                    <a:pt x="492" y="1974"/>
                  </a:lnTo>
                  <a:lnTo>
                    <a:pt x="486" y="1980"/>
                  </a:lnTo>
                  <a:lnTo>
                    <a:pt x="480" y="1998"/>
                  </a:lnTo>
                  <a:lnTo>
                    <a:pt x="474" y="2004"/>
                  </a:lnTo>
                  <a:lnTo>
                    <a:pt x="474" y="2010"/>
                  </a:lnTo>
                  <a:lnTo>
                    <a:pt x="474" y="2016"/>
                  </a:lnTo>
                  <a:lnTo>
                    <a:pt x="468" y="2016"/>
                  </a:lnTo>
                  <a:lnTo>
                    <a:pt x="468" y="2028"/>
                  </a:lnTo>
                  <a:lnTo>
                    <a:pt x="462" y="2034"/>
                  </a:lnTo>
                  <a:lnTo>
                    <a:pt x="456" y="2040"/>
                  </a:lnTo>
                  <a:lnTo>
                    <a:pt x="456" y="2052"/>
                  </a:lnTo>
                  <a:lnTo>
                    <a:pt x="450" y="2058"/>
                  </a:lnTo>
                  <a:lnTo>
                    <a:pt x="450" y="2070"/>
                  </a:lnTo>
                  <a:lnTo>
                    <a:pt x="450" y="2076"/>
                  </a:lnTo>
                  <a:lnTo>
                    <a:pt x="450" y="2082"/>
                  </a:lnTo>
                  <a:lnTo>
                    <a:pt x="444" y="2088"/>
                  </a:lnTo>
                  <a:lnTo>
                    <a:pt x="438" y="2094"/>
                  </a:lnTo>
                  <a:lnTo>
                    <a:pt x="444" y="2100"/>
                  </a:lnTo>
                  <a:lnTo>
                    <a:pt x="444" y="2124"/>
                  </a:lnTo>
                  <a:lnTo>
                    <a:pt x="444" y="2142"/>
                  </a:lnTo>
                  <a:lnTo>
                    <a:pt x="444" y="2160"/>
                  </a:lnTo>
                  <a:lnTo>
                    <a:pt x="450" y="2166"/>
                  </a:lnTo>
                  <a:lnTo>
                    <a:pt x="456" y="2178"/>
                  </a:lnTo>
                  <a:lnTo>
                    <a:pt x="438" y="2184"/>
                  </a:lnTo>
                  <a:lnTo>
                    <a:pt x="432" y="2184"/>
                  </a:lnTo>
                  <a:lnTo>
                    <a:pt x="426" y="2190"/>
                  </a:lnTo>
                  <a:lnTo>
                    <a:pt x="408" y="2190"/>
                  </a:lnTo>
                  <a:lnTo>
                    <a:pt x="402" y="2196"/>
                  </a:lnTo>
                  <a:lnTo>
                    <a:pt x="396" y="2196"/>
                  </a:lnTo>
                  <a:lnTo>
                    <a:pt x="384" y="2208"/>
                  </a:lnTo>
                  <a:lnTo>
                    <a:pt x="378" y="2220"/>
                  </a:lnTo>
                  <a:lnTo>
                    <a:pt x="366" y="2232"/>
                  </a:lnTo>
                  <a:lnTo>
                    <a:pt x="366" y="2238"/>
                  </a:lnTo>
                  <a:lnTo>
                    <a:pt x="360" y="2238"/>
                  </a:lnTo>
                  <a:lnTo>
                    <a:pt x="360" y="2244"/>
                  </a:lnTo>
                  <a:lnTo>
                    <a:pt x="354" y="2244"/>
                  </a:lnTo>
                  <a:lnTo>
                    <a:pt x="330" y="227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5" name="Freeform 10">
              <a:extLst>
                <a:ext uri="{FF2B5EF4-FFF2-40B4-BE49-F238E27FC236}">
                  <a16:creationId xmlns:a16="http://schemas.microsoft.com/office/drawing/2014/main" id="{3AD2FC58-3490-4B7F-A8BE-621F3CDD69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1996" y="1931890"/>
              <a:ext cx="805029" cy="1037736"/>
            </a:xfrm>
            <a:custGeom>
              <a:avLst/>
              <a:gdLst>
                <a:gd name="T0" fmla="*/ 124 w 1512"/>
                <a:gd name="T1" fmla="*/ 76 h 1956"/>
                <a:gd name="T2" fmla="*/ 120 w 1512"/>
                <a:gd name="T3" fmla="*/ 80 h 1956"/>
                <a:gd name="T4" fmla="*/ 106 w 1512"/>
                <a:gd name="T5" fmla="*/ 84 h 1956"/>
                <a:gd name="T6" fmla="*/ 105 w 1512"/>
                <a:gd name="T7" fmla="*/ 91 h 1956"/>
                <a:gd name="T8" fmla="*/ 101 w 1512"/>
                <a:gd name="T9" fmla="*/ 99 h 1956"/>
                <a:gd name="T10" fmla="*/ 105 w 1512"/>
                <a:gd name="T11" fmla="*/ 107 h 1956"/>
                <a:gd name="T12" fmla="*/ 119 w 1512"/>
                <a:gd name="T13" fmla="*/ 116 h 1956"/>
                <a:gd name="T14" fmla="*/ 121 w 1512"/>
                <a:gd name="T15" fmla="*/ 128 h 1956"/>
                <a:gd name="T16" fmla="*/ 112 w 1512"/>
                <a:gd name="T17" fmla="*/ 136 h 1956"/>
                <a:gd name="T18" fmla="*/ 119 w 1512"/>
                <a:gd name="T19" fmla="*/ 143 h 1956"/>
                <a:gd name="T20" fmla="*/ 126 w 1512"/>
                <a:gd name="T21" fmla="*/ 148 h 1956"/>
                <a:gd name="T22" fmla="*/ 126 w 1512"/>
                <a:gd name="T23" fmla="*/ 160 h 1956"/>
                <a:gd name="T24" fmla="*/ 104 w 1512"/>
                <a:gd name="T25" fmla="*/ 170 h 1956"/>
                <a:gd name="T26" fmla="*/ 99 w 1512"/>
                <a:gd name="T27" fmla="*/ 164 h 1956"/>
                <a:gd name="T28" fmla="*/ 73 w 1512"/>
                <a:gd name="T29" fmla="*/ 152 h 1956"/>
                <a:gd name="T30" fmla="*/ 56 w 1512"/>
                <a:gd name="T31" fmla="*/ 165 h 1956"/>
                <a:gd name="T32" fmla="*/ 33 w 1512"/>
                <a:gd name="T33" fmla="*/ 162 h 1956"/>
                <a:gd name="T34" fmla="*/ 25 w 1512"/>
                <a:gd name="T35" fmla="*/ 155 h 1956"/>
                <a:gd name="T36" fmla="*/ 31 w 1512"/>
                <a:gd name="T37" fmla="*/ 142 h 1956"/>
                <a:gd name="T38" fmla="*/ 24 w 1512"/>
                <a:gd name="T39" fmla="*/ 137 h 1956"/>
                <a:gd name="T40" fmla="*/ 14 w 1512"/>
                <a:gd name="T41" fmla="*/ 136 h 1956"/>
                <a:gd name="T42" fmla="*/ 11 w 1512"/>
                <a:gd name="T43" fmla="*/ 125 h 1956"/>
                <a:gd name="T44" fmla="*/ 3 w 1512"/>
                <a:gd name="T45" fmla="*/ 116 h 1956"/>
                <a:gd name="T46" fmla="*/ 2 w 1512"/>
                <a:gd name="T47" fmla="*/ 106 h 1956"/>
                <a:gd name="T48" fmla="*/ 5 w 1512"/>
                <a:gd name="T49" fmla="*/ 101 h 1956"/>
                <a:gd name="T50" fmla="*/ 2 w 1512"/>
                <a:gd name="T51" fmla="*/ 95 h 1956"/>
                <a:gd name="T52" fmla="*/ 1 w 1512"/>
                <a:gd name="T53" fmla="*/ 88 h 1956"/>
                <a:gd name="T54" fmla="*/ 4 w 1512"/>
                <a:gd name="T55" fmla="*/ 80 h 1956"/>
                <a:gd name="T56" fmla="*/ 12 w 1512"/>
                <a:gd name="T57" fmla="*/ 73 h 1956"/>
                <a:gd name="T58" fmla="*/ 16 w 1512"/>
                <a:gd name="T59" fmla="*/ 68 h 1956"/>
                <a:gd name="T60" fmla="*/ 22 w 1512"/>
                <a:gd name="T61" fmla="*/ 66 h 1956"/>
                <a:gd name="T62" fmla="*/ 32 w 1512"/>
                <a:gd name="T63" fmla="*/ 65 h 1956"/>
                <a:gd name="T64" fmla="*/ 45 w 1512"/>
                <a:gd name="T65" fmla="*/ 66 h 1956"/>
                <a:gd name="T66" fmla="*/ 50 w 1512"/>
                <a:gd name="T67" fmla="*/ 70 h 1956"/>
                <a:gd name="T68" fmla="*/ 55 w 1512"/>
                <a:gd name="T69" fmla="*/ 70 h 1956"/>
                <a:gd name="T70" fmla="*/ 63 w 1512"/>
                <a:gd name="T71" fmla="*/ 71 h 1956"/>
                <a:gd name="T72" fmla="*/ 61 w 1512"/>
                <a:gd name="T73" fmla="*/ 75 h 1956"/>
                <a:gd name="T74" fmla="*/ 66 w 1512"/>
                <a:gd name="T75" fmla="*/ 84 h 1956"/>
                <a:gd name="T76" fmla="*/ 81 w 1512"/>
                <a:gd name="T77" fmla="*/ 85 h 1956"/>
                <a:gd name="T78" fmla="*/ 83 w 1512"/>
                <a:gd name="T79" fmla="*/ 79 h 1956"/>
                <a:gd name="T80" fmla="*/ 89 w 1512"/>
                <a:gd name="T81" fmla="*/ 77 h 1956"/>
                <a:gd name="T82" fmla="*/ 89 w 1512"/>
                <a:gd name="T83" fmla="*/ 73 h 1956"/>
                <a:gd name="T84" fmla="*/ 83 w 1512"/>
                <a:gd name="T85" fmla="*/ 72 h 1956"/>
                <a:gd name="T86" fmla="*/ 77 w 1512"/>
                <a:gd name="T87" fmla="*/ 70 h 1956"/>
                <a:gd name="T88" fmla="*/ 71 w 1512"/>
                <a:gd name="T89" fmla="*/ 70 h 1956"/>
                <a:gd name="T90" fmla="*/ 59 w 1512"/>
                <a:gd name="T91" fmla="*/ 58 h 1956"/>
                <a:gd name="T92" fmla="*/ 54 w 1512"/>
                <a:gd name="T93" fmla="*/ 45 h 1956"/>
                <a:gd name="T94" fmla="*/ 49 w 1512"/>
                <a:gd name="T95" fmla="*/ 42 h 1956"/>
                <a:gd name="T96" fmla="*/ 51 w 1512"/>
                <a:gd name="T97" fmla="*/ 39 h 1956"/>
                <a:gd name="T98" fmla="*/ 55 w 1512"/>
                <a:gd name="T99" fmla="*/ 36 h 1956"/>
                <a:gd name="T100" fmla="*/ 63 w 1512"/>
                <a:gd name="T101" fmla="*/ 34 h 1956"/>
                <a:gd name="T102" fmla="*/ 68 w 1512"/>
                <a:gd name="T103" fmla="*/ 32 h 1956"/>
                <a:gd name="T104" fmla="*/ 73 w 1512"/>
                <a:gd name="T105" fmla="*/ 29 h 1956"/>
                <a:gd name="T106" fmla="*/ 78 w 1512"/>
                <a:gd name="T107" fmla="*/ 27 h 1956"/>
                <a:gd name="T108" fmla="*/ 81 w 1512"/>
                <a:gd name="T109" fmla="*/ 17 h 1956"/>
                <a:gd name="T110" fmla="*/ 84 w 1512"/>
                <a:gd name="T111" fmla="*/ 6 h 1956"/>
                <a:gd name="T112" fmla="*/ 95 w 1512"/>
                <a:gd name="T113" fmla="*/ 6 h 1956"/>
                <a:gd name="T114" fmla="*/ 99 w 1512"/>
                <a:gd name="T115" fmla="*/ 3 h 1956"/>
                <a:gd name="T116" fmla="*/ 103 w 1512"/>
                <a:gd name="T117" fmla="*/ 0 h 1956"/>
                <a:gd name="T118" fmla="*/ 110 w 1512"/>
                <a:gd name="T119" fmla="*/ 4 h 1956"/>
                <a:gd name="T120" fmla="*/ 114 w 1512"/>
                <a:gd name="T121" fmla="*/ 33 h 1956"/>
                <a:gd name="T122" fmla="*/ 117 w 1512"/>
                <a:gd name="T123" fmla="*/ 41 h 1956"/>
                <a:gd name="T124" fmla="*/ 119 w 1512"/>
                <a:gd name="T125" fmla="*/ 62 h 195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12"/>
                <a:gd name="T190" fmla="*/ 0 h 1956"/>
                <a:gd name="T191" fmla="*/ 1512 w 1512"/>
                <a:gd name="T192" fmla="*/ 1956 h 195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12" h="1956">
                  <a:moveTo>
                    <a:pt x="1512" y="780"/>
                  </a:moveTo>
                  <a:lnTo>
                    <a:pt x="1482" y="786"/>
                  </a:lnTo>
                  <a:lnTo>
                    <a:pt x="1476" y="792"/>
                  </a:lnTo>
                  <a:lnTo>
                    <a:pt x="1476" y="798"/>
                  </a:lnTo>
                  <a:lnTo>
                    <a:pt x="1476" y="804"/>
                  </a:lnTo>
                  <a:lnTo>
                    <a:pt x="1476" y="816"/>
                  </a:lnTo>
                  <a:lnTo>
                    <a:pt x="1470" y="834"/>
                  </a:lnTo>
                  <a:lnTo>
                    <a:pt x="1464" y="840"/>
                  </a:lnTo>
                  <a:lnTo>
                    <a:pt x="1452" y="852"/>
                  </a:lnTo>
                  <a:lnTo>
                    <a:pt x="1440" y="864"/>
                  </a:lnTo>
                  <a:lnTo>
                    <a:pt x="1434" y="864"/>
                  </a:lnTo>
                  <a:lnTo>
                    <a:pt x="1434" y="870"/>
                  </a:lnTo>
                  <a:lnTo>
                    <a:pt x="1422" y="876"/>
                  </a:lnTo>
                  <a:lnTo>
                    <a:pt x="1410" y="894"/>
                  </a:lnTo>
                  <a:lnTo>
                    <a:pt x="1404" y="894"/>
                  </a:lnTo>
                  <a:lnTo>
                    <a:pt x="1404" y="900"/>
                  </a:lnTo>
                  <a:lnTo>
                    <a:pt x="1404" y="906"/>
                  </a:lnTo>
                  <a:lnTo>
                    <a:pt x="1410" y="918"/>
                  </a:lnTo>
                  <a:lnTo>
                    <a:pt x="1404" y="918"/>
                  </a:lnTo>
                  <a:lnTo>
                    <a:pt x="1392" y="924"/>
                  </a:lnTo>
                  <a:lnTo>
                    <a:pt x="1386" y="924"/>
                  </a:lnTo>
                  <a:lnTo>
                    <a:pt x="1380" y="924"/>
                  </a:lnTo>
                  <a:lnTo>
                    <a:pt x="1380" y="930"/>
                  </a:lnTo>
                  <a:lnTo>
                    <a:pt x="1374" y="930"/>
                  </a:lnTo>
                  <a:lnTo>
                    <a:pt x="1374" y="924"/>
                  </a:lnTo>
                  <a:lnTo>
                    <a:pt x="1374" y="918"/>
                  </a:lnTo>
                  <a:lnTo>
                    <a:pt x="1368" y="912"/>
                  </a:lnTo>
                  <a:lnTo>
                    <a:pt x="1368" y="906"/>
                  </a:lnTo>
                  <a:lnTo>
                    <a:pt x="1368" y="900"/>
                  </a:lnTo>
                  <a:lnTo>
                    <a:pt x="1368" y="894"/>
                  </a:lnTo>
                  <a:lnTo>
                    <a:pt x="1362" y="894"/>
                  </a:lnTo>
                  <a:lnTo>
                    <a:pt x="1326" y="894"/>
                  </a:lnTo>
                  <a:lnTo>
                    <a:pt x="1302" y="906"/>
                  </a:lnTo>
                  <a:lnTo>
                    <a:pt x="1284" y="918"/>
                  </a:lnTo>
                  <a:lnTo>
                    <a:pt x="1284" y="924"/>
                  </a:lnTo>
                  <a:lnTo>
                    <a:pt x="1278" y="930"/>
                  </a:lnTo>
                  <a:lnTo>
                    <a:pt x="1266" y="930"/>
                  </a:lnTo>
                  <a:lnTo>
                    <a:pt x="1236" y="954"/>
                  </a:lnTo>
                  <a:lnTo>
                    <a:pt x="1212" y="972"/>
                  </a:lnTo>
                  <a:lnTo>
                    <a:pt x="1218" y="996"/>
                  </a:lnTo>
                  <a:lnTo>
                    <a:pt x="1224" y="1008"/>
                  </a:lnTo>
                  <a:lnTo>
                    <a:pt x="1236" y="1014"/>
                  </a:lnTo>
                  <a:lnTo>
                    <a:pt x="1242" y="1026"/>
                  </a:lnTo>
                  <a:lnTo>
                    <a:pt x="1248" y="1038"/>
                  </a:lnTo>
                  <a:lnTo>
                    <a:pt x="1260" y="1050"/>
                  </a:lnTo>
                  <a:lnTo>
                    <a:pt x="1260" y="1056"/>
                  </a:lnTo>
                  <a:lnTo>
                    <a:pt x="1260" y="1074"/>
                  </a:lnTo>
                  <a:lnTo>
                    <a:pt x="1254" y="1074"/>
                  </a:lnTo>
                  <a:lnTo>
                    <a:pt x="1236" y="1056"/>
                  </a:lnTo>
                  <a:lnTo>
                    <a:pt x="1224" y="1050"/>
                  </a:lnTo>
                  <a:lnTo>
                    <a:pt x="1212" y="1050"/>
                  </a:lnTo>
                  <a:lnTo>
                    <a:pt x="1206" y="1050"/>
                  </a:lnTo>
                  <a:lnTo>
                    <a:pt x="1200" y="1056"/>
                  </a:lnTo>
                  <a:lnTo>
                    <a:pt x="1194" y="1062"/>
                  </a:lnTo>
                  <a:lnTo>
                    <a:pt x="1188" y="1068"/>
                  </a:lnTo>
                  <a:lnTo>
                    <a:pt x="1188" y="1074"/>
                  </a:lnTo>
                  <a:lnTo>
                    <a:pt x="1176" y="1086"/>
                  </a:lnTo>
                  <a:lnTo>
                    <a:pt x="1170" y="1086"/>
                  </a:lnTo>
                  <a:lnTo>
                    <a:pt x="1170" y="1092"/>
                  </a:lnTo>
                  <a:lnTo>
                    <a:pt x="1164" y="1098"/>
                  </a:lnTo>
                  <a:lnTo>
                    <a:pt x="1158" y="1110"/>
                  </a:lnTo>
                  <a:lnTo>
                    <a:pt x="1152" y="1116"/>
                  </a:lnTo>
                  <a:lnTo>
                    <a:pt x="1152" y="1122"/>
                  </a:lnTo>
                  <a:lnTo>
                    <a:pt x="1146" y="1128"/>
                  </a:lnTo>
                  <a:lnTo>
                    <a:pt x="1152" y="1140"/>
                  </a:lnTo>
                  <a:lnTo>
                    <a:pt x="1158" y="1140"/>
                  </a:lnTo>
                  <a:lnTo>
                    <a:pt x="1164" y="1146"/>
                  </a:lnTo>
                  <a:lnTo>
                    <a:pt x="1164" y="1152"/>
                  </a:lnTo>
                  <a:lnTo>
                    <a:pt x="1170" y="1164"/>
                  </a:lnTo>
                  <a:lnTo>
                    <a:pt x="1164" y="1176"/>
                  </a:lnTo>
                  <a:lnTo>
                    <a:pt x="1170" y="1182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82" y="1218"/>
                  </a:lnTo>
                  <a:lnTo>
                    <a:pt x="1188" y="1218"/>
                  </a:lnTo>
                  <a:lnTo>
                    <a:pt x="1194" y="1218"/>
                  </a:lnTo>
                  <a:lnTo>
                    <a:pt x="1194" y="1224"/>
                  </a:lnTo>
                  <a:lnTo>
                    <a:pt x="1200" y="1230"/>
                  </a:lnTo>
                  <a:lnTo>
                    <a:pt x="1200" y="1248"/>
                  </a:lnTo>
                  <a:lnTo>
                    <a:pt x="1212" y="1266"/>
                  </a:lnTo>
                  <a:lnTo>
                    <a:pt x="1218" y="1278"/>
                  </a:lnTo>
                  <a:lnTo>
                    <a:pt x="1224" y="1284"/>
                  </a:lnTo>
                  <a:lnTo>
                    <a:pt x="1236" y="1296"/>
                  </a:lnTo>
                  <a:lnTo>
                    <a:pt x="1242" y="1302"/>
                  </a:lnTo>
                  <a:lnTo>
                    <a:pt x="1242" y="1308"/>
                  </a:lnTo>
                  <a:lnTo>
                    <a:pt x="1272" y="1308"/>
                  </a:lnTo>
                  <a:lnTo>
                    <a:pt x="1296" y="1314"/>
                  </a:lnTo>
                  <a:lnTo>
                    <a:pt x="1320" y="1320"/>
                  </a:lnTo>
                  <a:lnTo>
                    <a:pt x="1338" y="1320"/>
                  </a:lnTo>
                  <a:lnTo>
                    <a:pt x="1356" y="1332"/>
                  </a:lnTo>
                  <a:lnTo>
                    <a:pt x="1368" y="1344"/>
                  </a:lnTo>
                  <a:lnTo>
                    <a:pt x="1374" y="1362"/>
                  </a:lnTo>
                  <a:lnTo>
                    <a:pt x="1368" y="1362"/>
                  </a:lnTo>
                  <a:lnTo>
                    <a:pt x="1368" y="1398"/>
                  </a:lnTo>
                  <a:lnTo>
                    <a:pt x="1368" y="1410"/>
                  </a:lnTo>
                  <a:lnTo>
                    <a:pt x="1368" y="1428"/>
                  </a:lnTo>
                  <a:lnTo>
                    <a:pt x="1368" y="1434"/>
                  </a:lnTo>
                  <a:lnTo>
                    <a:pt x="1368" y="1440"/>
                  </a:lnTo>
                  <a:lnTo>
                    <a:pt x="1374" y="1446"/>
                  </a:lnTo>
                  <a:lnTo>
                    <a:pt x="1374" y="1452"/>
                  </a:lnTo>
                  <a:lnTo>
                    <a:pt x="1380" y="1458"/>
                  </a:lnTo>
                  <a:lnTo>
                    <a:pt x="1386" y="1464"/>
                  </a:lnTo>
                  <a:lnTo>
                    <a:pt x="1386" y="1470"/>
                  </a:lnTo>
                  <a:lnTo>
                    <a:pt x="1380" y="1476"/>
                  </a:lnTo>
                  <a:lnTo>
                    <a:pt x="1374" y="1482"/>
                  </a:lnTo>
                  <a:lnTo>
                    <a:pt x="1362" y="1500"/>
                  </a:lnTo>
                  <a:lnTo>
                    <a:pt x="1362" y="1506"/>
                  </a:lnTo>
                  <a:lnTo>
                    <a:pt x="1362" y="1512"/>
                  </a:lnTo>
                  <a:lnTo>
                    <a:pt x="1362" y="1518"/>
                  </a:lnTo>
                  <a:lnTo>
                    <a:pt x="1362" y="1524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38" y="1548"/>
                  </a:lnTo>
                  <a:lnTo>
                    <a:pt x="1296" y="1548"/>
                  </a:lnTo>
                  <a:lnTo>
                    <a:pt x="1290" y="1554"/>
                  </a:lnTo>
                  <a:lnTo>
                    <a:pt x="1284" y="1560"/>
                  </a:lnTo>
                  <a:lnTo>
                    <a:pt x="1284" y="1566"/>
                  </a:lnTo>
                  <a:lnTo>
                    <a:pt x="1290" y="1578"/>
                  </a:lnTo>
                  <a:lnTo>
                    <a:pt x="1296" y="1590"/>
                  </a:lnTo>
                  <a:lnTo>
                    <a:pt x="1302" y="1590"/>
                  </a:lnTo>
                  <a:lnTo>
                    <a:pt x="1308" y="1596"/>
                  </a:lnTo>
                  <a:lnTo>
                    <a:pt x="1320" y="1602"/>
                  </a:lnTo>
                  <a:lnTo>
                    <a:pt x="1326" y="1602"/>
                  </a:lnTo>
                  <a:lnTo>
                    <a:pt x="1326" y="1608"/>
                  </a:lnTo>
                  <a:lnTo>
                    <a:pt x="1332" y="1614"/>
                  </a:lnTo>
                  <a:lnTo>
                    <a:pt x="1344" y="1620"/>
                  </a:lnTo>
                  <a:lnTo>
                    <a:pt x="1356" y="1626"/>
                  </a:lnTo>
                  <a:lnTo>
                    <a:pt x="1356" y="1632"/>
                  </a:lnTo>
                  <a:lnTo>
                    <a:pt x="1356" y="1638"/>
                  </a:lnTo>
                  <a:lnTo>
                    <a:pt x="1362" y="1644"/>
                  </a:lnTo>
                  <a:lnTo>
                    <a:pt x="1368" y="1644"/>
                  </a:lnTo>
                  <a:lnTo>
                    <a:pt x="1380" y="1650"/>
                  </a:lnTo>
                  <a:lnTo>
                    <a:pt x="1386" y="1650"/>
                  </a:lnTo>
                  <a:lnTo>
                    <a:pt x="1386" y="1656"/>
                  </a:lnTo>
                  <a:lnTo>
                    <a:pt x="1392" y="1656"/>
                  </a:lnTo>
                  <a:lnTo>
                    <a:pt x="1398" y="1662"/>
                  </a:lnTo>
                  <a:lnTo>
                    <a:pt x="1410" y="1674"/>
                  </a:lnTo>
                  <a:lnTo>
                    <a:pt x="1428" y="1680"/>
                  </a:lnTo>
                  <a:lnTo>
                    <a:pt x="1428" y="1686"/>
                  </a:lnTo>
                  <a:lnTo>
                    <a:pt x="1428" y="1698"/>
                  </a:lnTo>
                  <a:lnTo>
                    <a:pt x="1434" y="1704"/>
                  </a:lnTo>
                  <a:lnTo>
                    <a:pt x="1434" y="1710"/>
                  </a:lnTo>
                  <a:lnTo>
                    <a:pt x="1440" y="1710"/>
                  </a:lnTo>
                  <a:lnTo>
                    <a:pt x="1446" y="1710"/>
                  </a:lnTo>
                  <a:lnTo>
                    <a:pt x="1446" y="1716"/>
                  </a:lnTo>
                  <a:lnTo>
                    <a:pt x="1440" y="1722"/>
                  </a:lnTo>
                  <a:lnTo>
                    <a:pt x="1440" y="1728"/>
                  </a:lnTo>
                  <a:lnTo>
                    <a:pt x="1440" y="1734"/>
                  </a:lnTo>
                  <a:lnTo>
                    <a:pt x="1440" y="1740"/>
                  </a:lnTo>
                  <a:lnTo>
                    <a:pt x="1440" y="1746"/>
                  </a:lnTo>
                  <a:lnTo>
                    <a:pt x="1440" y="1788"/>
                  </a:lnTo>
                  <a:lnTo>
                    <a:pt x="1440" y="1800"/>
                  </a:lnTo>
                  <a:lnTo>
                    <a:pt x="1440" y="1806"/>
                  </a:lnTo>
                  <a:lnTo>
                    <a:pt x="1440" y="1836"/>
                  </a:lnTo>
                  <a:lnTo>
                    <a:pt x="1440" y="1848"/>
                  </a:lnTo>
                  <a:lnTo>
                    <a:pt x="1446" y="1848"/>
                  </a:lnTo>
                  <a:lnTo>
                    <a:pt x="1446" y="1854"/>
                  </a:lnTo>
                  <a:lnTo>
                    <a:pt x="1452" y="1848"/>
                  </a:lnTo>
                  <a:lnTo>
                    <a:pt x="1458" y="1854"/>
                  </a:lnTo>
                  <a:lnTo>
                    <a:pt x="1452" y="1860"/>
                  </a:lnTo>
                  <a:lnTo>
                    <a:pt x="1452" y="1866"/>
                  </a:lnTo>
                  <a:lnTo>
                    <a:pt x="1458" y="1872"/>
                  </a:lnTo>
                  <a:lnTo>
                    <a:pt x="1464" y="1884"/>
                  </a:lnTo>
                  <a:lnTo>
                    <a:pt x="1428" y="1878"/>
                  </a:lnTo>
                  <a:lnTo>
                    <a:pt x="1356" y="1890"/>
                  </a:lnTo>
                  <a:lnTo>
                    <a:pt x="1296" y="1926"/>
                  </a:lnTo>
                  <a:lnTo>
                    <a:pt x="1266" y="1944"/>
                  </a:lnTo>
                  <a:lnTo>
                    <a:pt x="1224" y="1944"/>
                  </a:lnTo>
                  <a:lnTo>
                    <a:pt x="1188" y="1956"/>
                  </a:lnTo>
                  <a:lnTo>
                    <a:pt x="1188" y="1950"/>
                  </a:lnTo>
                  <a:lnTo>
                    <a:pt x="1176" y="1944"/>
                  </a:lnTo>
                  <a:lnTo>
                    <a:pt x="1176" y="1938"/>
                  </a:lnTo>
                  <a:lnTo>
                    <a:pt x="1170" y="1938"/>
                  </a:lnTo>
                  <a:lnTo>
                    <a:pt x="1164" y="1932"/>
                  </a:lnTo>
                  <a:lnTo>
                    <a:pt x="1158" y="1926"/>
                  </a:lnTo>
                  <a:lnTo>
                    <a:pt x="1158" y="1920"/>
                  </a:lnTo>
                  <a:lnTo>
                    <a:pt x="1152" y="1920"/>
                  </a:lnTo>
                  <a:lnTo>
                    <a:pt x="1146" y="1914"/>
                  </a:lnTo>
                  <a:lnTo>
                    <a:pt x="1146" y="1908"/>
                  </a:lnTo>
                  <a:lnTo>
                    <a:pt x="1140" y="1908"/>
                  </a:lnTo>
                  <a:lnTo>
                    <a:pt x="1134" y="1902"/>
                  </a:lnTo>
                  <a:lnTo>
                    <a:pt x="1134" y="1896"/>
                  </a:lnTo>
                  <a:lnTo>
                    <a:pt x="1116" y="1896"/>
                  </a:lnTo>
                  <a:lnTo>
                    <a:pt x="1104" y="1884"/>
                  </a:lnTo>
                  <a:lnTo>
                    <a:pt x="1092" y="1860"/>
                  </a:lnTo>
                  <a:lnTo>
                    <a:pt x="1068" y="1854"/>
                  </a:lnTo>
                  <a:lnTo>
                    <a:pt x="1032" y="1842"/>
                  </a:lnTo>
                  <a:lnTo>
                    <a:pt x="1008" y="1836"/>
                  </a:lnTo>
                  <a:lnTo>
                    <a:pt x="978" y="1824"/>
                  </a:lnTo>
                  <a:lnTo>
                    <a:pt x="942" y="1818"/>
                  </a:lnTo>
                  <a:lnTo>
                    <a:pt x="924" y="1806"/>
                  </a:lnTo>
                  <a:lnTo>
                    <a:pt x="906" y="1788"/>
                  </a:lnTo>
                  <a:lnTo>
                    <a:pt x="894" y="1776"/>
                  </a:lnTo>
                  <a:lnTo>
                    <a:pt x="864" y="1758"/>
                  </a:lnTo>
                  <a:lnTo>
                    <a:pt x="834" y="1752"/>
                  </a:lnTo>
                  <a:lnTo>
                    <a:pt x="798" y="1746"/>
                  </a:lnTo>
                  <a:lnTo>
                    <a:pt x="792" y="1806"/>
                  </a:lnTo>
                  <a:lnTo>
                    <a:pt x="798" y="1812"/>
                  </a:lnTo>
                  <a:lnTo>
                    <a:pt x="810" y="1830"/>
                  </a:lnTo>
                  <a:lnTo>
                    <a:pt x="792" y="1842"/>
                  </a:lnTo>
                  <a:lnTo>
                    <a:pt x="768" y="1842"/>
                  </a:lnTo>
                  <a:lnTo>
                    <a:pt x="708" y="1848"/>
                  </a:lnTo>
                  <a:lnTo>
                    <a:pt x="690" y="1860"/>
                  </a:lnTo>
                  <a:lnTo>
                    <a:pt x="690" y="1866"/>
                  </a:lnTo>
                  <a:lnTo>
                    <a:pt x="678" y="1878"/>
                  </a:lnTo>
                  <a:lnTo>
                    <a:pt x="660" y="1884"/>
                  </a:lnTo>
                  <a:lnTo>
                    <a:pt x="660" y="1902"/>
                  </a:lnTo>
                  <a:lnTo>
                    <a:pt x="642" y="1902"/>
                  </a:lnTo>
                  <a:lnTo>
                    <a:pt x="582" y="1914"/>
                  </a:lnTo>
                  <a:lnTo>
                    <a:pt x="534" y="1908"/>
                  </a:lnTo>
                  <a:lnTo>
                    <a:pt x="510" y="1908"/>
                  </a:lnTo>
                  <a:lnTo>
                    <a:pt x="510" y="1896"/>
                  </a:lnTo>
                  <a:lnTo>
                    <a:pt x="492" y="1896"/>
                  </a:lnTo>
                  <a:lnTo>
                    <a:pt x="486" y="1902"/>
                  </a:lnTo>
                  <a:lnTo>
                    <a:pt x="474" y="1908"/>
                  </a:lnTo>
                  <a:lnTo>
                    <a:pt x="450" y="1908"/>
                  </a:lnTo>
                  <a:lnTo>
                    <a:pt x="432" y="1902"/>
                  </a:lnTo>
                  <a:lnTo>
                    <a:pt x="426" y="1896"/>
                  </a:lnTo>
                  <a:lnTo>
                    <a:pt x="402" y="1884"/>
                  </a:lnTo>
                  <a:lnTo>
                    <a:pt x="390" y="1872"/>
                  </a:lnTo>
                  <a:lnTo>
                    <a:pt x="384" y="1872"/>
                  </a:lnTo>
                  <a:lnTo>
                    <a:pt x="378" y="1872"/>
                  </a:lnTo>
                  <a:lnTo>
                    <a:pt x="378" y="1866"/>
                  </a:lnTo>
                  <a:lnTo>
                    <a:pt x="372" y="1860"/>
                  </a:lnTo>
                  <a:lnTo>
                    <a:pt x="372" y="1854"/>
                  </a:lnTo>
                  <a:lnTo>
                    <a:pt x="366" y="1842"/>
                  </a:lnTo>
                  <a:lnTo>
                    <a:pt x="366" y="1836"/>
                  </a:lnTo>
                  <a:lnTo>
                    <a:pt x="348" y="1830"/>
                  </a:lnTo>
                  <a:lnTo>
                    <a:pt x="348" y="1806"/>
                  </a:lnTo>
                  <a:lnTo>
                    <a:pt x="348" y="1800"/>
                  </a:lnTo>
                  <a:lnTo>
                    <a:pt x="348" y="1782"/>
                  </a:lnTo>
                  <a:lnTo>
                    <a:pt x="336" y="1788"/>
                  </a:lnTo>
                  <a:lnTo>
                    <a:pt x="312" y="1794"/>
                  </a:lnTo>
                  <a:lnTo>
                    <a:pt x="288" y="1788"/>
                  </a:lnTo>
                  <a:lnTo>
                    <a:pt x="264" y="1758"/>
                  </a:lnTo>
                  <a:lnTo>
                    <a:pt x="270" y="1758"/>
                  </a:lnTo>
                  <a:lnTo>
                    <a:pt x="270" y="1752"/>
                  </a:lnTo>
                  <a:lnTo>
                    <a:pt x="276" y="1752"/>
                  </a:lnTo>
                  <a:lnTo>
                    <a:pt x="282" y="1746"/>
                  </a:lnTo>
                  <a:lnTo>
                    <a:pt x="300" y="1746"/>
                  </a:lnTo>
                  <a:lnTo>
                    <a:pt x="312" y="1746"/>
                  </a:lnTo>
                  <a:lnTo>
                    <a:pt x="336" y="1710"/>
                  </a:lnTo>
                  <a:lnTo>
                    <a:pt x="342" y="1692"/>
                  </a:lnTo>
                  <a:lnTo>
                    <a:pt x="348" y="1680"/>
                  </a:lnTo>
                  <a:lnTo>
                    <a:pt x="342" y="1650"/>
                  </a:lnTo>
                  <a:lnTo>
                    <a:pt x="354" y="1644"/>
                  </a:lnTo>
                  <a:lnTo>
                    <a:pt x="354" y="1638"/>
                  </a:lnTo>
                  <a:lnTo>
                    <a:pt x="360" y="1632"/>
                  </a:lnTo>
                  <a:lnTo>
                    <a:pt x="354" y="1626"/>
                  </a:lnTo>
                  <a:lnTo>
                    <a:pt x="348" y="1626"/>
                  </a:lnTo>
                  <a:lnTo>
                    <a:pt x="348" y="1620"/>
                  </a:lnTo>
                  <a:lnTo>
                    <a:pt x="342" y="1620"/>
                  </a:lnTo>
                  <a:lnTo>
                    <a:pt x="348" y="1614"/>
                  </a:lnTo>
                  <a:lnTo>
                    <a:pt x="324" y="1566"/>
                  </a:lnTo>
                  <a:lnTo>
                    <a:pt x="318" y="1566"/>
                  </a:lnTo>
                  <a:lnTo>
                    <a:pt x="306" y="1572"/>
                  </a:lnTo>
                  <a:lnTo>
                    <a:pt x="300" y="1572"/>
                  </a:lnTo>
                  <a:lnTo>
                    <a:pt x="294" y="1578"/>
                  </a:lnTo>
                  <a:lnTo>
                    <a:pt x="288" y="1584"/>
                  </a:lnTo>
                  <a:lnTo>
                    <a:pt x="282" y="1584"/>
                  </a:lnTo>
                  <a:lnTo>
                    <a:pt x="282" y="1578"/>
                  </a:lnTo>
                  <a:lnTo>
                    <a:pt x="276" y="1578"/>
                  </a:lnTo>
                  <a:lnTo>
                    <a:pt x="270" y="1578"/>
                  </a:lnTo>
                  <a:lnTo>
                    <a:pt x="264" y="1578"/>
                  </a:lnTo>
                  <a:lnTo>
                    <a:pt x="258" y="1578"/>
                  </a:lnTo>
                  <a:lnTo>
                    <a:pt x="252" y="1578"/>
                  </a:lnTo>
                  <a:lnTo>
                    <a:pt x="252" y="1584"/>
                  </a:lnTo>
                  <a:lnTo>
                    <a:pt x="246" y="1584"/>
                  </a:lnTo>
                  <a:lnTo>
                    <a:pt x="210" y="1584"/>
                  </a:lnTo>
                  <a:lnTo>
                    <a:pt x="204" y="1584"/>
                  </a:lnTo>
                  <a:lnTo>
                    <a:pt x="192" y="1584"/>
                  </a:lnTo>
                  <a:lnTo>
                    <a:pt x="168" y="1596"/>
                  </a:lnTo>
                  <a:lnTo>
                    <a:pt x="156" y="1572"/>
                  </a:lnTo>
                  <a:lnTo>
                    <a:pt x="156" y="1566"/>
                  </a:lnTo>
                  <a:lnTo>
                    <a:pt x="156" y="1560"/>
                  </a:lnTo>
                  <a:lnTo>
                    <a:pt x="162" y="1548"/>
                  </a:lnTo>
                  <a:lnTo>
                    <a:pt x="162" y="1542"/>
                  </a:lnTo>
                  <a:lnTo>
                    <a:pt x="162" y="1536"/>
                  </a:lnTo>
                  <a:lnTo>
                    <a:pt x="168" y="1530"/>
                  </a:lnTo>
                  <a:lnTo>
                    <a:pt x="168" y="1524"/>
                  </a:lnTo>
                  <a:lnTo>
                    <a:pt x="168" y="1518"/>
                  </a:lnTo>
                  <a:lnTo>
                    <a:pt x="174" y="1518"/>
                  </a:lnTo>
                  <a:lnTo>
                    <a:pt x="174" y="1506"/>
                  </a:lnTo>
                  <a:lnTo>
                    <a:pt x="156" y="1470"/>
                  </a:lnTo>
                  <a:lnTo>
                    <a:pt x="138" y="1464"/>
                  </a:lnTo>
                  <a:lnTo>
                    <a:pt x="126" y="1446"/>
                  </a:lnTo>
                  <a:lnTo>
                    <a:pt x="126" y="1440"/>
                  </a:lnTo>
                  <a:lnTo>
                    <a:pt x="126" y="1434"/>
                  </a:lnTo>
                  <a:lnTo>
                    <a:pt x="120" y="1428"/>
                  </a:lnTo>
                  <a:lnTo>
                    <a:pt x="126" y="1398"/>
                  </a:lnTo>
                  <a:lnTo>
                    <a:pt x="120" y="1374"/>
                  </a:lnTo>
                  <a:lnTo>
                    <a:pt x="60" y="1374"/>
                  </a:lnTo>
                  <a:lnTo>
                    <a:pt x="60" y="1368"/>
                  </a:lnTo>
                  <a:lnTo>
                    <a:pt x="54" y="1362"/>
                  </a:lnTo>
                  <a:lnTo>
                    <a:pt x="48" y="1356"/>
                  </a:lnTo>
                  <a:lnTo>
                    <a:pt x="42" y="1356"/>
                  </a:lnTo>
                  <a:lnTo>
                    <a:pt x="42" y="1350"/>
                  </a:lnTo>
                  <a:lnTo>
                    <a:pt x="36" y="1344"/>
                  </a:lnTo>
                  <a:lnTo>
                    <a:pt x="36" y="1338"/>
                  </a:lnTo>
                  <a:lnTo>
                    <a:pt x="30" y="1332"/>
                  </a:lnTo>
                  <a:lnTo>
                    <a:pt x="30" y="1326"/>
                  </a:lnTo>
                  <a:lnTo>
                    <a:pt x="18" y="1326"/>
                  </a:lnTo>
                  <a:lnTo>
                    <a:pt x="18" y="1320"/>
                  </a:lnTo>
                  <a:lnTo>
                    <a:pt x="18" y="1326"/>
                  </a:lnTo>
                  <a:lnTo>
                    <a:pt x="6" y="1320"/>
                  </a:lnTo>
                  <a:lnTo>
                    <a:pt x="0" y="1314"/>
                  </a:lnTo>
                  <a:lnTo>
                    <a:pt x="12" y="1266"/>
                  </a:lnTo>
                  <a:lnTo>
                    <a:pt x="6" y="1242"/>
                  </a:lnTo>
                  <a:lnTo>
                    <a:pt x="12" y="1236"/>
                  </a:lnTo>
                  <a:lnTo>
                    <a:pt x="12" y="1230"/>
                  </a:lnTo>
                  <a:lnTo>
                    <a:pt x="18" y="1230"/>
                  </a:lnTo>
                  <a:lnTo>
                    <a:pt x="18" y="1224"/>
                  </a:lnTo>
                  <a:lnTo>
                    <a:pt x="24" y="1218"/>
                  </a:lnTo>
                  <a:lnTo>
                    <a:pt x="24" y="1212"/>
                  </a:lnTo>
                  <a:lnTo>
                    <a:pt x="30" y="1212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48" y="1188"/>
                  </a:lnTo>
                  <a:lnTo>
                    <a:pt x="48" y="1182"/>
                  </a:lnTo>
                  <a:lnTo>
                    <a:pt x="48" y="1176"/>
                  </a:lnTo>
                  <a:lnTo>
                    <a:pt x="48" y="1170"/>
                  </a:lnTo>
                  <a:lnTo>
                    <a:pt x="54" y="1170"/>
                  </a:lnTo>
                  <a:lnTo>
                    <a:pt x="60" y="1164"/>
                  </a:lnTo>
                  <a:lnTo>
                    <a:pt x="60" y="1158"/>
                  </a:lnTo>
                  <a:lnTo>
                    <a:pt x="66" y="1152"/>
                  </a:lnTo>
                  <a:lnTo>
                    <a:pt x="60" y="1140"/>
                  </a:lnTo>
                  <a:lnTo>
                    <a:pt x="60" y="1134"/>
                  </a:lnTo>
                  <a:lnTo>
                    <a:pt x="54" y="1134"/>
                  </a:lnTo>
                  <a:lnTo>
                    <a:pt x="54" y="1128"/>
                  </a:lnTo>
                  <a:lnTo>
                    <a:pt x="48" y="1122"/>
                  </a:lnTo>
                  <a:lnTo>
                    <a:pt x="48" y="1116"/>
                  </a:lnTo>
                  <a:lnTo>
                    <a:pt x="48" y="1110"/>
                  </a:lnTo>
                  <a:lnTo>
                    <a:pt x="42" y="1104"/>
                  </a:lnTo>
                  <a:lnTo>
                    <a:pt x="42" y="1098"/>
                  </a:lnTo>
                  <a:lnTo>
                    <a:pt x="36" y="1092"/>
                  </a:lnTo>
                  <a:lnTo>
                    <a:pt x="30" y="1092"/>
                  </a:lnTo>
                  <a:lnTo>
                    <a:pt x="24" y="1092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18" y="1080"/>
                  </a:lnTo>
                  <a:lnTo>
                    <a:pt x="18" y="1074"/>
                  </a:lnTo>
                  <a:lnTo>
                    <a:pt x="12" y="1068"/>
                  </a:lnTo>
                  <a:lnTo>
                    <a:pt x="6" y="1068"/>
                  </a:lnTo>
                  <a:lnTo>
                    <a:pt x="12" y="1056"/>
                  </a:lnTo>
                  <a:lnTo>
                    <a:pt x="6" y="1056"/>
                  </a:lnTo>
                  <a:lnTo>
                    <a:pt x="6" y="1050"/>
                  </a:lnTo>
                  <a:lnTo>
                    <a:pt x="6" y="1044"/>
                  </a:lnTo>
                  <a:lnTo>
                    <a:pt x="6" y="1026"/>
                  </a:lnTo>
                  <a:lnTo>
                    <a:pt x="12" y="1020"/>
                  </a:lnTo>
                  <a:lnTo>
                    <a:pt x="12" y="1014"/>
                  </a:lnTo>
                  <a:lnTo>
                    <a:pt x="18" y="1014"/>
                  </a:lnTo>
                  <a:lnTo>
                    <a:pt x="18" y="1008"/>
                  </a:lnTo>
                  <a:lnTo>
                    <a:pt x="18" y="1002"/>
                  </a:lnTo>
                  <a:lnTo>
                    <a:pt x="18" y="990"/>
                  </a:lnTo>
                  <a:lnTo>
                    <a:pt x="12" y="972"/>
                  </a:lnTo>
                  <a:lnTo>
                    <a:pt x="18" y="954"/>
                  </a:lnTo>
                  <a:lnTo>
                    <a:pt x="18" y="948"/>
                  </a:lnTo>
                  <a:lnTo>
                    <a:pt x="24" y="948"/>
                  </a:lnTo>
                  <a:lnTo>
                    <a:pt x="24" y="930"/>
                  </a:lnTo>
                  <a:lnTo>
                    <a:pt x="30" y="930"/>
                  </a:lnTo>
                  <a:lnTo>
                    <a:pt x="36" y="918"/>
                  </a:lnTo>
                  <a:lnTo>
                    <a:pt x="42" y="918"/>
                  </a:lnTo>
                  <a:lnTo>
                    <a:pt x="48" y="918"/>
                  </a:lnTo>
                  <a:lnTo>
                    <a:pt x="78" y="912"/>
                  </a:lnTo>
                  <a:lnTo>
                    <a:pt x="90" y="894"/>
                  </a:lnTo>
                  <a:lnTo>
                    <a:pt x="96" y="894"/>
                  </a:lnTo>
                  <a:lnTo>
                    <a:pt x="102" y="888"/>
                  </a:lnTo>
                  <a:lnTo>
                    <a:pt x="102" y="882"/>
                  </a:lnTo>
                  <a:lnTo>
                    <a:pt x="114" y="870"/>
                  </a:lnTo>
                  <a:lnTo>
                    <a:pt x="120" y="864"/>
                  </a:lnTo>
                  <a:lnTo>
                    <a:pt x="120" y="852"/>
                  </a:lnTo>
                  <a:lnTo>
                    <a:pt x="120" y="846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32" y="840"/>
                  </a:lnTo>
                  <a:lnTo>
                    <a:pt x="138" y="840"/>
                  </a:lnTo>
                  <a:lnTo>
                    <a:pt x="138" y="834"/>
                  </a:lnTo>
                  <a:lnTo>
                    <a:pt x="144" y="834"/>
                  </a:lnTo>
                  <a:lnTo>
                    <a:pt x="144" y="828"/>
                  </a:lnTo>
                  <a:lnTo>
                    <a:pt x="150" y="828"/>
                  </a:lnTo>
                  <a:lnTo>
                    <a:pt x="156" y="822"/>
                  </a:lnTo>
                  <a:lnTo>
                    <a:pt x="162" y="816"/>
                  </a:lnTo>
                  <a:lnTo>
                    <a:pt x="162" y="822"/>
                  </a:lnTo>
                  <a:lnTo>
                    <a:pt x="162" y="816"/>
                  </a:lnTo>
                  <a:lnTo>
                    <a:pt x="162" y="810"/>
                  </a:lnTo>
                  <a:lnTo>
                    <a:pt x="168" y="810"/>
                  </a:lnTo>
                  <a:lnTo>
                    <a:pt x="174" y="804"/>
                  </a:lnTo>
                  <a:lnTo>
                    <a:pt x="180" y="798"/>
                  </a:lnTo>
                  <a:lnTo>
                    <a:pt x="180" y="786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8" y="780"/>
                  </a:lnTo>
                  <a:lnTo>
                    <a:pt x="204" y="774"/>
                  </a:lnTo>
                  <a:lnTo>
                    <a:pt x="210" y="774"/>
                  </a:lnTo>
                  <a:lnTo>
                    <a:pt x="216" y="768"/>
                  </a:lnTo>
                  <a:lnTo>
                    <a:pt x="222" y="762"/>
                  </a:lnTo>
                  <a:lnTo>
                    <a:pt x="228" y="762"/>
                  </a:lnTo>
                  <a:lnTo>
                    <a:pt x="228" y="768"/>
                  </a:lnTo>
                  <a:lnTo>
                    <a:pt x="234" y="768"/>
                  </a:lnTo>
                  <a:lnTo>
                    <a:pt x="240" y="762"/>
                  </a:lnTo>
                  <a:lnTo>
                    <a:pt x="252" y="762"/>
                  </a:lnTo>
                  <a:lnTo>
                    <a:pt x="264" y="768"/>
                  </a:lnTo>
                  <a:lnTo>
                    <a:pt x="294" y="756"/>
                  </a:lnTo>
                  <a:lnTo>
                    <a:pt x="294" y="750"/>
                  </a:lnTo>
                  <a:lnTo>
                    <a:pt x="300" y="750"/>
                  </a:lnTo>
                  <a:lnTo>
                    <a:pt x="306" y="744"/>
                  </a:lnTo>
                  <a:lnTo>
                    <a:pt x="342" y="750"/>
                  </a:lnTo>
                  <a:lnTo>
                    <a:pt x="348" y="750"/>
                  </a:lnTo>
                  <a:lnTo>
                    <a:pt x="348" y="744"/>
                  </a:lnTo>
                  <a:lnTo>
                    <a:pt x="354" y="744"/>
                  </a:lnTo>
                  <a:lnTo>
                    <a:pt x="360" y="744"/>
                  </a:lnTo>
                  <a:lnTo>
                    <a:pt x="360" y="750"/>
                  </a:lnTo>
                  <a:lnTo>
                    <a:pt x="366" y="750"/>
                  </a:lnTo>
                  <a:lnTo>
                    <a:pt x="366" y="744"/>
                  </a:lnTo>
                  <a:lnTo>
                    <a:pt x="366" y="738"/>
                  </a:lnTo>
                  <a:lnTo>
                    <a:pt x="372" y="744"/>
                  </a:lnTo>
                  <a:lnTo>
                    <a:pt x="378" y="744"/>
                  </a:lnTo>
                  <a:lnTo>
                    <a:pt x="384" y="750"/>
                  </a:lnTo>
                  <a:lnTo>
                    <a:pt x="444" y="774"/>
                  </a:lnTo>
                  <a:lnTo>
                    <a:pt x="450" y="774"/>
                  </a:lnTo>
                  <a:lnTo>
                    <a:pt x="456" y="768"/>
                  </a:lnTo>
                  <a:lnTo>
                    <a:pt x="462" y="768"/>
                  </a:lnTo>
                  <a:lnTo>
                    <a:pt x="462" y="762"/>
                  </a:lnTo>
                  <a:lnTo>
                    <a:pt x="468" y="762"/>
                  </a:lnTo>
                  <a:lnTo>
                    <a:pt x="474" y="756"/>
                  </a:lnTo>
                  <a:lnTo>
                    <a:pt x="480" y="750"/>
                  </a:lnTo>
                  <a:lnTo>
                    <a:pt x="516" y="756"/>
                  </a:lnTo>
                  <a:lnTo>
                    <a:pt x="522" y="756"/>
                  </a:lnTo>
                  <a:lnTo>
                    <a:pt x="522" y="762"/>
                  </a:lnTo>
                  <a:lnTo>
                    <a:pt x="522" y="768"/>
                  </a:lnTo>
                  <a:lnTo>
                    <a:pt x="522" y="774"/>
                  </a:lnTo>
                  <a:lnTo>
                    <a:pt x="528" y="780"/>
                  </a:lnTo>
                  <a:lnTo>
                    <a:pt x="540" y="780"/>
                  </a:lnTo>
                  <a:lnTo>
                    <a:pt x="540" y="804"/>
                  </a:lnTo>
                  <a:lnTo>
                    <a:pt x="540" y="810"/>
                  </a:lnTo>
                  <a:lnTo>
                    <a:pt x="546" y="810"/>
                  </a:lnTo>
                  <a:lnTo>
                    <a:pt x="552" y="810"/>
                  </a:lnTo>
                  <a:lnTo>
                    <a:pt x="558" y="810"/>
                  </a:lnTo>
                  <a:lnTo>
                    <a:pt x="564" y="810"/>
                  </a:lnTo>
                  <a:lnTo>
                    <a:pt x="570" y="810"/>
                  </a:lnTo>
                  <a:lnTo>
                    <a:pt x="576" y="810"/>
                  </a:lnTo>
                  <a:lnTo>
                    <a:pt x="576" y="816"/>
                  </a:lnTo>
                  <a:lnTo>
                    <a:pt x="588" y="816"/>
                  </a:lnTo>
                  <a:lnTo>
                    <a:pt x="594" y="816"/>
                  </a:lnTo>
                  <a:lnTo>
                    <a:pt x="600" y="822"/>
                  </a:lnTo>
                  <a:lnTo>
                    <a:pt x="606" y="816"/>
                  </a:lnTo>
                  <a:lnTo>
                    <a:pt x="612" y="816"/>
                  </a:lnTo>
                  <a:lnTo>
                    <a:pt x="612" y="810"/>
                  </a:lnTo>
                  <a:lnTo>
                    <a:pt x="624" y="810"/>
                  </a:lnTo>
                  <a:lnTo>
                    <a:pt x="624" y="804"/>
                  </a:lnTo>
                  <a:lnTo>
                    <a:pt x="630" y="798"/>
                  </a:lnTo>
                  <a:lnTo>
                    <a:pt x="636" y="798"/>
                  </a:lnTo>
                  <a:lnTo>
                    <a:pt x="636" y="804"/>
                  </a:lnTo>
                  <a:lnTo>
                    <a:pt x="642" y="804"/>
                  </a:lnTo>
                  <a:lnTo>
                    <a:pt x="648" y="804"/>
                  </a:lnTo>
                  <a:lnTo>
                    <a:pt x="654" y="804"/>
                  </a:lnTo>
                  <a:lnTo>
                    <a:pt x="660" y="804"/>
                  </a:lnTo>
                  <a:lnTo>
                    <a:pt x="678" y="798"/>
                  </a:lnTo>
                  <a:lnTo>
                    <a:pt x="714" y="786"/>
                  </a:lnTo>
                  <a:lnTo>
                    <a:pt x="714" y="792"/>
                  </a:lnTo>
                  <a:lnTo>
                    <a:pt x="714" y="798"/>
                  </a:lnTo>
                  <a:lnTo>
                    <a:pt x="714" y="804"/>
                  </a:lnTo>
                  <a:lnTo>
                    <a:pt x="720" y="804"/>
                  </a:lnTo>
                  <a:lnTo>
                    <a:pt x="720" y="810"/>
                  </a:lnTo>
                  <a:lnTo>
                    <a:pt x="720" y="816"/>
                  </a:lnTo>
                  <a:lnTo>
                    <a:pt x="726" y="822"/>
                  </a:lnTo>
                  <a:lnTo>
                    <a:pt x="732" y="828"/>
                  </a:lnTo>
                  <a:lnTo>
                    <a:pt x="732" y="834"/>
                  </a:lnTo>
                  <a:lnTo>
                    <a:pt x="732" y="846"/>
                  </a:lnTo>
                  <a:lnTo>
                    <a:pt x="732" y="858"/>
                  </a:lnTo>
                  <a:lnTo>
                    <a:pt x="738" y="858"/>
                  </a:lnTo>
                  <a:lnTo>
                    <a:pt x="732" y="864"/>
                  </a:lnTo>
                  <a:lnTo>
                    <a:pt x="732" y="870"/>
                  </a:lnTo>
                  <a:lnTo>
                    <a:pt x="726" y="870"/>
                  </a:lnTo>
                  <a:lnTo>
                    <a:pt x="726" y="876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0" y="882"/>
                  </a:lnTo>
                  <a:lnTo>
                    <a:pt x="690" y="912"/>
                  </a:lnTo>
                  <a:lnTo>
                    <a:pt x="696" y="936"/>
                  </a:lnTo>
                  <a:lnTo>
                    <a:pt x="702" y="936"/>
                  </a:lnTo>
                  <a:lnTo>
                    <a:pt x="702" y="930"/>
                  </a:lnTo>
                  <a:lnTo>
                    <a:pt x="708" y="930"/>
                  </a:lnTo>
                  <a:lnTo>
                    <a:pt x="708" y="924"/>
                  </a:lnTo>
                  <a:lnTo>
                    <a:pt x="708" y="918"/>
                  </a:lnTo>
                  <a:lnTo>
                    <a:pt x="714" y="918"/>
                  </a:lnTo>
                  <a:lnTo>
                    <a:pt x="720" y="954"/>
                  </a:lnTo>
                  <a:lnTo>
                    <a:pt x="726" y="966"/>
                  </a:lnTo>
                  <a:lnTo>
                    <a:pt x="744" y="966"/>
                  </a:lnTo>
                  <a:lnTo>
                    <a:pt x="756" y="972"/>
                  </a:lnTo>
                  <a:lnTo>
                    <a:pt x="792" y="990"/>
                  </a:lnTo>
                  <a:lnTo>
                    <a:pt x="828" y="978"/>
                  </a:lnTo>
                  <a:lnTo>
                    <a:pt x="834" y="978"/>
                  </a:lnTo>
                  <a:lnTo>
                    <a:pt x="840" y="978"/>
                  </a:lnTo>
                  <a:lnTo>
                    <a:pt x="840" y="984"/>
                  </a:lnTo>
                  <a:lnTo>
                    <a:pt x="846" y="984"/>
                  </a:lnTo>
                  <a:lnTo>
                    <a:pt x="858" y="972"/>
                  </a:lnTo>
                  <a:lnTo>
                    <a:pt x="882" y="972"/>
                  </a:lnTo>
                  <a:lnTo>
                    <a:pt x="888" y="984"/>
                  </a:lnTo>
                  <a:lnTo>
                    <a:pt x="900" y="990"/>
                  </a:lnTo>
                  <a:lnTo>
                    <a:pt x="924" y="996"/>
                  </a:lnTo>
                  <a:lnTo>
                    <a:pt x="930" y="990"/>
                  </a:lnTo>
                  <a:lnTo>
                    <a:pt x="930" y="984"/>
                  </a:lnTo>
                  <a:lnTo>
                    <a:pt x="924" y="978"/>
                  </a:lnTo>
                  <a:lnTo>
                    <a:pt x="906" y="972"/>
                  </a:lnTo>
                  <a:lnTo>
                    <a:pt x="900" y="966"/>
                  </a:lnTo>
                  <a:lnTo>
                    <a:pt x="900" y="960"/>
                  </a:lnTo>
                  <a:lnTo>
                    <a:pt x="900" y="954"/>
                  </a:lnTo>
                  <a:lnTo>
                    <a:pt x="900" y="948"/>
                  </a:lnTo>
                  <a:lnTo>
                    <a:pt x="912" y="936"/>
                  </a:lnTo>
                  <a:lnTo>
                    <a:pt x="912" y="924"/>
                  </a:lnTo>
                  <a:lnTo>
                    <a:pt x="918" y="924"/>
                  </a:lnTo>
                  <a:lnTo>
                    <a:pt x="918" y="918"/>
                  </a:lnTo>
                  <a:lnTo>
                    <a:pt x="936" y="906"/>
                  </a:lnTo>
                  <a:lnTo>
                    <a:pt x="942" y="906"/>
                  </a:lnTo>
                  <a:lnTo>
                    <a:pt x="948" y="906"/>
                  </a:lnTo>
                  <a:lnTo>
                    <a:pt x="954" y="906"/>
                  </a:lnTo>
                  <a:lnTo>
                    <a:pt x="960" y="906"/>
                  </a:lnTo>
                  <a:lnTo>
                    <a:pt x="966" y="912"/>
                  </a:lnTo>
                  <a:lnTo>
                    <a:pt x="972" y="906"/>
                  </a:lnTo>
                  <a:lnTo>
                    <a:pt x="978" y="906"/>
                  </a:lnTo>
                  <a:lnTo>
                    <a:pt x="984" y="900"/>
                  </a:lnTo>
                  <a:lnTo>
                    <a:pt x="984" y="894"/>
                  </a:lnTo>
                  <a:lnTo>
                    <a:pt x="990" y="894"/>
                  </a:lnTo>
                  <a:lnTo>
                    <a:pt x="996" y="888"/>
                  </a:lnTo>
                  <a:lnTo>
                    <a:pt x="1002" y="888"/>
                  </a:lnTo>
                  <a:lnTo>
                    <a:pt x="1008" y="882"/>
                  </a:lnTo>
                  <a:lnTo>
                    <a:pt x="1014" y="882"/>
                  </a:lnTo>
                  <a:lnTo>
                    <a:pt x="1020" y="882"/>
                  </a:lnTo>
                  <a:lnTo>
                    <a:pt x="1020" y="888"/>
                  </a:lnTo>
                  <a:lnTo>
                    <a:pt x="1026" y="882"/>
                  </a:lnTo>
                  <a:lnTo>
                    <a:pt x="1026" y="876"/>
                  </a:lnTo>
                  <a:lnTo>
                    <a:pt x="1026" y="870"/>
                  </a:lnTo>
                  <a:lnTo>
                    <a:pt x="1032" y="864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44" y="852"/>
                  </a:lnTo>
                  <a:lnTo>
                    <a:pt x="1038" y="846"/>
                  </a:lnTo>
                  <a:lnTo>
                    <a:pt x="1038" y="840"/>
                  </a:lnTo>
                  <a:lnTo>
                    <a:pt x="1032" y="840"/>
                  </a:lnTo>
                  <a:lnTo>
                    <a:pt x="1026" y="840"/>
                  </a:lnTo>
                  <a:lnTo>
                    <a:pt x="1020" y="840"/>
                  </a:lnTo>
                  <a:lnTo>
                    <a:pt x="1014" y="846"/>
                  </a:lnTo>
                  <a:lnTo>
                    <a:pt x="1008" y="846"/>
                  </a:lnTo>
                  <a:lnTo>
                    <a:pt x="1002" y="840"/>
                  </a:lnTo>
                  <a:lnTo>
                    <a:pt x="996" y="840"/>
                  </a:lnTo>
                  <a:lnTo>
                    <a:pt x="990" y="834"/>
                  </a:lnTo>
                  <a:lnTo>
                    <a:pt x="984" y="834"/>
                  </a:lnTo>
                  <a:lnTo>
                    <a:pt x="978" y="834"/>
                  </a:lnTo>
                  <a:lnTo>
                    <a:pt x="972" y="834"/>
                  </a:lnTo>
                  <a:lnTo>
                    <a:pt x="966" y="834"/>
                  </a:lnTo>
                  <a:lnTo>
                    <a:pt x="966" y="828"/>
                  </a:lnTo>
                  <a:lnTo>
                    <a:pt x="960" y="828"/>
                  </a:lnTo>
                  <a:lnTo>
                    <a:pt x="954" y="828"/>
                  </a:lnTo>
                  <a:lnTo>
                    <a:pt x="942" y="828"/>
                  </a:lnTo>
                  <a:lnTo>
                    <a:pt x="936" y="828"/>
                  </a:lnTo>
                  <a:lnTo>
                    <a:pt x="930" y="828"/>
                  </a:lnTo>
                  <a:lnTo>
                    <a:pt x="918" y="828"/>
                  </a:lnTo>
                  <a:lnTo>
                    <a:pt x="918" y="822"/>
                  </a:lnTo>
                  <a:lnTo>
                    <a:pt x="912" y="828"/>
                  </a:lnTo>
                  <a:lnTo>
                    <a:pt x="912" y="822"/>
                  </a:lnTo>
                  <a:lnTo>
                    <a:pt x="906" y="816"/>
                  </a:lnTo>
                  <a:lnTo>
                    <a:pt x="900" y="816"/>
                  </a:lnTo>
                  <a:lnTo>
                    <a:pt x="894" y="816"/>
                  </a:lnTo>
                  <a:lnTo>
                    <a:pt x="888" y="816"/>
                  </a:lnTo>
                  <a:lnTo>
                    <a:pt x="882" y="816"/>
                  </a:lnTo>
                  <a:lnTo>
                    <a:pt x="882" y="810"/>
                  </a:lnTo>
                  <a:lnTo>
                    <a:pt x="876" y="804"/>
                  </a:lnTo>
                  <a:lnTo>
                    <a:pt x="870" y="804"/>
                  </a:lnTo>
                  <a:lnTo>
                    <a:pt x="864" y="798"/>
                  </a:lnTo>
                  <a:lnTo>
                    <a:pt x="858" y="798"/>
                  </a:lnTo>
                  <a:lnTo>
                    <a:pt x="858" y="804"/>
                  </a:lnTo>
                  <a:lnTo>
                    <a:pt x="852" y="804"/>
                  </a:lnTo>
                  <a:lnTo>
                    <a:pt x="846" y="804"/>
                  </a:lnTo>
                  <a:lnTo>
                    <a:pt x="846" y="798"/>
                  </a:lnTo>
                  <a:lnTo>
                    <a:pt x="840" y="804"/>
                  </a:lnTo>
                  <a:lnTo>
                    <a:pt x="834" y="804"/>
                  </a:lnTo>
                  <a:lnTo>
                    <a:pt x="828" y="804"/>
                  </a:lnTo>
                  <a:lnTo>
                    <a:pt x="828" y="810"/>
                  </a:lnTo>
                  <a:lnTo>
                    <a:pt x="822" y="810"/>
                  </a:lnTo>
                  <a:lnTo>
                    <a:pt x="810" y="804"/>
                  </a:lnTo>
                  <a:lnTo>
                    <a:pt x="810" y="798"/>
                  </a:lnTo>
                  <a:lnTo>
                    <a:pt x="780" y="798"/>
                  </a:lnTo>
                  <a:lnTo>
                    <a:pt x="756" y="774"/>
                  </a:lnTo>
                  <a:lnTo>
                    <a:pt x="750" y="768"/>
                  </a:lnTo>
                  <a:lnTo>
                    <a:pt x="750" y="744"/>
                  </a:lnTo>
                  <a:lnTo>
                    <a:pt x="732" y="738"/>
                  </a:lnTo>
                  <a:lnTo>
                    <a:pt x="732" y="720"/>
                  </a:lnTo>
                  <a:lnTo>
                    <a:pt x="714" y="690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6" y="666"/>
                  </a:lnTo>
                  <a:lnTo>
                    <a:pt x="690" y="666"/>
                  </a:lnTo>
                  <a:lnTo>
                    <a:pt x="678" y="672"/>
                  </a:lnTo>
                  <a:lnTo>
                    <a:pt x="678" y="654"/>
                  </a:lnTo>
                  <a:lnTo>
                    <a:pt x="684" y="630"/>
                  </a:lnTo>
                  <a:lnTo>
                    <a:pt x="690" y="618"/>
                  </a:lnTo>
                  <a:lnTo>
                    <a:pt x="696" y="612"/>
                  </a:lnTo>
                  <a:lnTo>
                    <a:pt x="696" y="588"/>
                  </a:lnTo>
                  <a:lnTo>
                    <a:pt x="690" y="576"/>
                  </a:lnTo>
                  <a:lnTo>
                    <a:pt x="696" y="552"/>
                  </a:lnTo>
                  <a:lnTo>
                    <a:pt x="684" y="522"/>
                  </a:lnTo>
                  <a:lnTo>
                    <a:pt x="672" y="504"/>
                  </a:lnTo>
                  <a:lnTo>
                    <a:pt x="654" y="504"/>
                  </a:lnTo>
                  <a:lnTo>
                    <a:pt x="642" y="504"/>
                  </a:lnTo>
                  <a:lnTo>
                    <a:pt x="624" y="510"/>
                  </a:lnTo>
                  <a:lnTo>
                    <a:pt x="612" y="516"/>
                  </a:lnTo>
                  <a:lnTo>
                    <a:pt x="594" y="516"/>
                  </a:lnTo>
                  <a:lnTo>
                    <a:pt x="588" y="516"/>
                  </a:lnTo>
                  <a:lnTo>
                    <a:pt x="588" y="522"/>
                  </a:lnTo>
                  <a:lnTo>
                    <a:pt x="582" y="516"/>
                  </a:lnTo>
                  <a:lnTo>
                    <a:pt x="588" y="510"/>
                  </a:lnTo>
                  <a:lnTo>
                    <a:pt x="582" y="510"/>
                  </a:lnTo>
                  <a:lnTo>
                    <a:pt x="582" y="504"/>
                  </a:lnTo>
                  <a:lnTo>
                    <a:pt x="576" y="498"/>
                  </a:lnTo>
                  <a:lnTo>
                    <a:pt x="570" y="498"/>
                  </a:lnTo>
                  <a:lnTo>
                    <a:pt x="570" y="492"/>
                  </a:lnTo>
                  <a:lnTo>
                    <a:pt x="564" y="492"/>
                  </a:lnTo>
                  <a:lnTo>
                    <a:pt x="570" y="486"/>
                  </a:lnTo>
                  <a:lnTo>
                    <a:pt x="564" y="486"/>
                  </a:lnTo>
                  <a:lnTo>
                    <a:pt x="564" y="480"/>
                  </a:lnTo>
                  <a:lnTo>
                    <a:pt x="564" y="474"/>
                  </a:lnTo>
                  <a:lnTo>
                    <a:pt x="558" y="468"/>
                  </a:lnTo>
                  <a:lnTo>
                    <a:pt x="564" y="468"/>
                  </a:lnTo>
                  <a:lnTo>
                    <a:pt x="564" y="462"/>
                  </a:lnTo>
                  <a:lnTo>
                    <a:pt x="570" y="462"/>
                  </a:lnTo>
                  <a:lnTo>
                    <a:pt x="570" y="456"/>
                  </a:lnTo>
                  <a:lnTo>
                    <a:pt x="570" y="450"/>
                  </a:lnTo>
                  <a:lnTo>
                    <a:pt x="576" y="450"/>
                  </a:lnTo>
                  <a:lnTo>
                    <a:pt x="576" y="444"/>
                  </a:lnTo>
                  <a:lnTo>
                    <a:pt x="582" y="438"/>
                  </a:lnTo>
                  <a:lnTo>
                    <a:pt x="588" y="438"/>
                  </a:lnTo>
                  <a:lnTo>
                    <a:pt x="588" y="444"/>
                  </a:lnTo>
                  <a:lnTo>
                    <a:pt x="594" y="438"/>
                  </a:lnTo>
                  <a:lnTo>
                    <a:pt x="594" y="432"/>
                  </a:lnTo>
                  <a:lnTo>
                    <a:pt x="600" y="432"/>
                  </a:lnTo>
                  <a:lnTo>
                    <a:pt x="600" y="426"/>
                  </a:lnTo>
                  <a:lnTo>
                    <a:pt x="600" y="420"/>
                  </a:lnTo>
                  <a:lnTo>
                    <a:pt x="606" y="420"/>
                  </a:lnTo>
                  <a:lnTo>
                    <a:pt x="600" y="420"/>
                  </a:lnTo>
                  <a:lnTo>
                    <a:pt x="600" y="414"/>
                  </a:lnTo>
                  <a:lnTo>
                    <a:pt x="606" y="408"/>
                  </a:lnTo>
                  <a:lnTo>
                    <a:pt x="612" y="408"/>
                  </a:lnTo>
                  <a:lnTo>
                    <a:pt x="612" y="414"/>
                  </a:lnTo>
                  <a:lnTo>
                    <a:pt x="618" y="414"/>
                  </a:lnTo>
                  <a:lnTo>
                    <a:pt x="624" y="414"/>
                  </a:lnTo>
                  <a:lnTo>
                    <a:pt x="630" y="414"/>
                  </a:lnTo>
                  <a:lnTo>
                    <a:pt x="636" y="414"/>
                  </a:lnTo>
                  <a:lnTo>
                    <a:pt x="642" y="408"/>
                  </a:lnTo>
                  <a:lnTo>
                    <a:pt x="648" y="408"/>
                  </a:lnTo>
                  <a:lnTo>
                    <a:pt x="660" y="408"/>
                  </a:lnTo>
                  <a:lnTo>
                    <a:pt x="666" y="402"/>
                  </a:lnTo>
                  <a:lnTo>
                    <a:pt x="672" y="402"/>
                  </a:lnTo>
                  <a:lnTo>
                    <a:pt x="684" y="396"/>
                  </a:lnTo>
                  <a:lnTo>
                    <a:pt x="690" y="396"/>
                  </a:lnTo>
                  <a:lnTo>
                    <a:pt x="696" y="396"/>
                  </a:lnTo>
                  <a:lnTo>
                    <a:pt x="702" y="396"/>
                  </a:lnTo>
                  <a:lnTo>
                    <a:pt x="708" y="396"/>
                  </a:lnTo>
                  <a:lnTo>
                    <a:pt x="714" y="390"/>
                  </a:lnTo>
                  <a:lnTo>
                    <a:pt x="714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32" y="384"/>
                  </a:lnTo>
                  <a:lnTo>
                    <a:pt x="738" y="378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56" y="372"/>
                  </a:lnTo>
                  <a:lnTo>
                    <a:pt x="762" y="366"/>
                  </a:lnTo>
                  <a:lnTo>
                    <a:pt x="768" y="366"/>
                  </a:lnTo>
                  <a:lnTo>
                    <a:pt x="774" y="366"/>
                  </a:lnTo>
                  <a:lnTo>
                    <a:pt x="774" y="360"/>
                  </a:lnTo>
                  <a:lnTo>
                    <a:pt x="780" y="366"/>
                  </a:lnTo>
                  <a:lnTo>
                    <a:pt x="786" y="366"/>
                  </a:lnTo>
                  <a:lnTo>
                    <a:pt x="786" y="360"/>
                  </a:lnTo>
                  <a:lnTo>
                    <a:pt x="792" y="354"/>
                  </a:lnTo>
                  <a:lnTo>
                    <a:pt x="786" y="354"/>
                  </a:lnTo>
                  <a:lnTo>
                    <a:pt x="792" y="348"/>
                  </a:lnTo>
                  <a:lnTo>
                    <a:pt x="798" y="348"/>
                  </a:lnTo>
                  <a:lnTo>
                    <a:pt x="804" y="348"/>
                  </a:lnTo>
                  <a:lnTo>
                    <a:pt x="810" y="342"/>
                  </a:lnTo>
                  <a:lnTo>
                    <a:pt x="816" y="342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28" y="336"/>
                  </a:lnTo>
                  <a:lnTo>
                    <a:pt x="834" y="336"/>
                  </a:lnTo>
                  <a:lnTo>
                    <a:pt x="840" y="336"/>
                  </a:lnTo>
                  <a:lnTo>
                    <a:pt x="846" y="330"/>
                  </a:lnTo>
                  <a:lnTo>
                    <a:pt x="852" y="330"/>
                  </a:lnTo>
                  <a:lnTo>
                    <a:pt x="858" y="330"/>
                  </a:lnTo>
                  <a:lnTo>
                    <a:pt x="864" y="324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0" y="312"/>
                  </a:lnTo>
                  <a:lnTo>
                    <a:pt x="876" y="312"/>
                  </a:lnTo>
                  <a:lnTo>
                    <a:pt x="882" y="312"/>
                  </a:lnTo>
                  <a:lnTo>
                    <a:pt x="882" y="318"/>
                  </a:lnTo>
                  <a:lnTo>
                    <a:pt x="888" y="312"/>
                  </a:lnTo>
                  <a:lnTo>
                    <a:pt x="894" y="306"/>
                  </a:lnTo>
                  <a:lnTo>
                    <a:pt x="900" y="306"/>
                  </a:lnTo>
                  <a:lnTo>
                    <a:pt x="906" y="306"/>
                  </a:lnTo>
                  <a:lnTo>
                    <a:pt x="912" y="300"/>
                  </a:lnTo>
                  <a:lnTo>
                    <a:pt x="906" y="294"/>
                  </a:lnTo>
                  <a:lnTo>
                    <a:pt x="912" y="276"/>
                  </a:lnTo>
                  <a:lnTo>
                    <a:pt x="912" y="252"/>
                  </a:lnTo>
                  <a:lnTo>
                    <a:pt x="906" y="234"/>
                  </a:lnTo>
                  <a:lnTo>
                    <a:pt x="912" y="228"/>
                  </a:lnTo>
                  <a:lnTo>
                    <a:pt x="912" y="216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24" y="192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36" y="186"/>
                  </a:lnTo>
                  <a:lnTo>
                    <a:pt x="930" y="180"/>
                  </a:lnTo>
                  <a:lnTo>
                    <a:pt x="930" y="174"/>
                  </a:lnTo>
                  <a:lnTo>
                    <a:pt x="936" y="156"/>
                  </a:lnTo>
                  <a:lnTo>
                    <a:pt x="930" y="156"/>
                  </a:lnTo>
                  <a:lnTo>
                    <a:pt x="924" y="150"/>
                  </a:lnTo>
                  <a:lnTo>
                    <a:pt x="942" y="78"/>
                  </a:lnTo>
                  <a:lnTo>
                    <a:pt x="948" y="78"/>
                  </a:lnTo>
                  <a:lnTo>
                    <a:pt x="954" y="66"/>
                  </a:lnTo>
                  <a:lnTo>
                    <a:pt x="954" y="72"/>
                  </a:lnTo>
                  <a:lnTo>
                    <a:pt x="954" y="66"/>
                  </a:lnTo>
                  <a:lnTo>
                    <a:pt x="960" y="66"/>
                  </a:lnTo>
                  <a:lnTo>
                    <a:pt x="966" y="66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54"/>
                  </a:lnTo>
                  <a:lnTo>
                    <a:pt x="990" y="54"/>
                  </a:lnTo>
                  <a:lnTo>
                    <a:pt x="996" y="48"/>
                  </a:lnTo>
                  <a:lnTo>
                    <a:pt x="1002" y="48"/>
                  </a:lnTo>
                  <a:lnTo>
                    <a:pt x="1032" y="48"/>
                  </a:lnTo>
                  <a:lnTo>
                    <a:pt x="1062" y="48"/>
                  </a:lnTo>
                  <a:lnTo>
                    <a:pt x="1068" y="78"/>
                  </a:lnTo>
                  <a:lnTo>
                    <a:pt x="1086" y="78"/>
                  </a:lnTo>
                  <a:lnTo>
                    <a:pt x="1092" y="66"/>
                  </a:lnTo>
                  <a:lnTo>
                    <a:pt x="1092" y="60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8" y="48"/>
                  </a:lnTo>
                  <a:lnTo>
                    <a:pt x="1104" y="48"/>
                  </a:lnTo>
                  <a:lnTo>
                    <a:pt x="1110" y="48"/>
                  </a:lnTo>
                  <a:lnTo>
                    <a:pt x="1110" y="42"/>
                  </a:lnTo>
                  <a:lnTo>
                    <a:pt x="1110" y="36"/>
                  </a:lnTo>
                  <a:lnTo>
                    <a:pt x="1116" y="36"/>
                  </a:lnTo>
                  <a:lnTo>
                    <a:pt x="1116" y="30"/>
                  </a:lnTo>
                  <a:lnTo>
                    <a:pt x="1122" y="30"/>
                  </a:lnTo>
                  <a:lnTo>
                    <a:pt x="1128" y="30"/>
                  </a:lnTo>
                  <a:lnTo>
                    <a:pt x="1134" y="30"/>
                  </a:lnTo>
                  <a:lnTo>
                    <a:pt x="1140" y="24"/>
                  </a:lnTo>
                  <a:lnTo>
                    <a:pt x="1152" y="18"/>
                  </a:lnTo>
                  <a:lnTo>
                    <a:pt x="1158" y="18"/>
                  </a:lnTo>
                  <a:lnTo>
                    <a:pt x="1152" y="12"/>
                  </a:lnTo>
                  <a:lnTo>
                    <a:pt x="1152" y="6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8"/>
                  </a:lnTo>
                  <a:lnTo>
                    <a:pt x="1170" y="12"/>
                  </a:lnTo>
                  <a:lnTo>
                    <a:pt x="1170" y="6"/>
                  </a:lnTo>
                  <a:lnTo>
                    <a:pt x="1176" y="6"/>
                  </a:lnTo>
                  <a:lnTo>
                    <a:pt x="1176" y="0"/>
                  </a:lnTo>
                  <a:lnTo>
                    <a:pt x="1182" y="6"/>
                  </a:lnTo>
                  <a:lnTo>
                    <a:pt x="1188" y="6"/>
                  </a:lnTo>
                  <a:lnTo>
                    <a:pt x="1188" y="0"/>
                  </a:lnTo>
                  <a:lnTo>
                    <a:pt x="1194" y="6"/>
                  </a:lnTo>
                  <a:lnTo>
                    <a:pt x="1200" y="12"/>
                  </a:lnTo>
                  <a:lnTo>
                    <a:pt x="1206" y="18"/>
                  </a:lnTo>
                  <a:lnTo>
                    <a:pt x="1212" y="18"/>
                  </a:lnTo>
                  <a:lnTo>
                    <a:pt x="1218" y="24"/>
                  </a:lnTo>
                  <a:lnTo>
                    <a:pt x="1236" y="36"/>
                  </a:lnTo>
                  <a:lnTo>
                    <a:pt x="1242" y="36"/>
                  </a:lnTo>
                  <a:lnTo>
                    <a:pt x="1248" y="42"/>
                  </a:lnTo>
                  <a:lnTo>
                    <a:pt x="1248" y="48"/>
                  </a:lnTo>
                  <a:lnTo>
                    <a:pt x="1260" y="48"/>
                  </a:lnTo>
                  <a:lnTo>
                    <a:pt x="1260" y="108"/>
                  </a:lnTo>
                  <a:lnTo>
                    <a:pt x="1266" y="168"/>
                  </a:lnTo>
                  <a:lnTo>
                    <a:pt x="1278" y="234"/>
                  </a:lnTo>
                  <a:lnTo>
                    <a:pt x="1284" y="240"/>
                  </a:lnTo>
                  <a:lnTo>
                    <a:pt x="1290" y="264"/>
                  </a:lnTo>
                  <a:lnTo>
                    <a:pt x="1296" y="288"/>
                  </a:lnTo>
                  <a:lnTo>
                    <a:pt x="1296" y="300"/>
                  </a:lnTo>
                  <a:lnTo>
                    <a:pt x="1296" y="312"/>
                  </a:lnTo>
                  <a:lnTo>
                    <a:pt x="1296" y="324"/>
                  </a:lnTo>
                  <a:lnTo>
                    <a:pt x="1296" y="354"/>
                  </a:lnTo>
                  <a:lnTo>
                    <a:pt x="1302" y="366"/>
                  </a:lnTo>
                  <a:lnTo>
                    <a:pt x="1308" y="372"/>
                  </a:lnTo>
                  <a:lnTo>
                    <a:pt x="1308" y="384"/>
                  </a:lnTo>
                  <a:lnTo>
                    <a:pt x="1314" y="390"/>
                  </a:lnTo>
                  <a:lnTo>
                    <a:pt x="1308" y="408"/>
                  </a:lnTo>
                  <a:lnTo>
                    <a:pt x="1314" y="408"/>
                  </a:lnTo>
                  <a:lnTo>
                    <a:pt x="1314" y="414"/>
                  </a:lnTo>
                  <a:lnTo>
                    <a:pt x="1308" y="420"/>
                  </a:lnTo>
                  <a:lnTo>
                    <a:pt x="1308" y="432"/>
                  </a:lnTo>
                  <a:lnTo>
                    <a:pt x="1320" y="432"/>
                  </a:lnTo>
                  <a:lnTo>
                    <a:pt x="1320" y="444"/>
                  </a:lnTo>
                  <a:lnTo>
                    <a:pt x="1332" y="444"/>
                  </a:lnTo>
                  <a:lnTo>
                    <a:pt x="1338" y="450"/>
                  </a:lnTo>
                  <a:lnTo>
                    <a:pt x="1344" y="456"/>
                  </a:lnTo>
                  <a:lnTo>
                    <a:pt x="1344" y="462"/>
                  </a:lnTo>
                  <a:lnTo>
                    <a:pt x="1344" y="474"/>
                  </a:lnTo>
                  <a:lnTo>
                    <a:pt x="1350" y="474"/>
                  </a:lnTo>
                  <a:lnTo>
                    <a:pt x="1368" y="504"/>
                  </a:lnTo>
                  <a:lnTo>
                    <a:pt x="1374" y="534"/>
                  </a:lnTo>
                  <a:lnTo>
                    <a:pt x="1380" y="558"/>
                  </a:lnTo>
                  <a:lnTo>
                    <a:pt x="1386" y="576"/>
                  </a:lnTo>
                  <a:lnTo>
                    <a:pt x="1386" y="600"/>
                  </a:lnTo>
                  <a:lnTo>
                    <a:pt x="1386" y="624"/>
                  </a:lnTo>
                  <a:lnTo>
                    <a:pt x="1386" y="648"/>
                  </a:lnTo>
                  <a:lnTo>
                    <a:pt x="1386" y="684"/>
                  </a:lnTo>
                  <a:lnTo>
                    <a:pt x="1380" y="684"/>
                  </a:lnTo>
                  <a:lnTo>
                    <a:pt x="1374" y="696"/>
                  </a:lnTo>
                  <a:lnTo>
                    <a:pt x="1368" y="702"/>
                  </a:lnTo>
                  <a:lnTo>
                    <a:pt x="1362" y="708"/>
                  </a:lnTo>
                  <a:lnTo>
                    <a:pt x="1356" y="714"/>
                  </a:lnTo>
                  <a:lnTo>
                    <a:pt x="1350" y="720"/>
                  </a:lnTo>
                  <a:lnTo>
                    <a:pt x="1338" y="720"/>
                  </a:lnTo>
                  <a:lnTo>
                    <a:pt x="1338" y="738"/>
                  </a:lnTo>
                  <a:lnTo>
                    <a:pt x="1362" y="750"/>
                  </a:lnTo>
                  <a:lnTo>
                    <a:pt x="1362" y="756"/>
                  </a:lnTo>
                  <a:lnTo>
                    <a:pt x="1374" y="756"/>
                  </a:lnTo>
                  <a:lnTo>
                    <a:pt x="1410" y="774"/>
                  </a:lnTo>
                  <a:lnTo>
                    <a:pt x="1446" y="774"/>
                  </a:lnTo>
                  <a:lnTo>
                    <a:pt x="1482" y="768"/>
                  </a:lnTo>
                  <a:lnTo>
                    <a:pt x="1500" y="774"/>
                  </a:lnTo>
                  <a:lnTo>
                    <a:pt x="1512" y="78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6" name="Freeform 11">
              <a:extLst>
                <a:ext uri="{FF2B5EF4-FFF2-40B4-BE49-F238E27FC236}">
                  <a16:creationId xmlns:a16="http://schemas.microsoft.com/office/drawing/2014/main" id="{1FF8E66F-B850-456A-B132-C45FEEDE95C6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2475" y="2345643"/>
              <a:ext cx="445003" cy="603855"/>
            </a:xfrm>
            <a:custGeom>
              <a:avLst/>
              <a:gdLst>
                <a:gd name="T0" fmla="*/ 47 w 840"/>
                <a:gd name="T1" fmla="*/ 98 h 1134"/>
                <a:gd name="T2" fmla="*/ 41 w 840"/>
                <a:gd name="T3" fmla="*/ 98 h 1134"/>
                <a:gd name="T4" fmla="*/ 37 w 840"/>
                <a:gd name="T5" fmla="*/ 98 h 1134"/>
                <a:gd name="T6" fmla="*/ 29 w 840"/>
                <a:gd name="T7" fmla="*/ 97 h 1134"/>
                <a:gd name="T8" fmla="*/ 27 w 840"/>
                <a:gd name="T9" fmla="*/ 94 h 1134"/>
                <a:gd name="T10" fmla="*/ 26 w 840"/>
                <a:gd name="T11" fmla="*/ 93 h 1134"/>
                <a:gd name="T12" fmla="*/ 26 w 840"/>
                <a:gd name="T13" fmla="*/ 83 h 1134"/>
                <a:gd name="T14" fmla="*/ 26 w 840"/>
                <a:gd name="T15" fmla="*/ 81 h 1134"/>
                <a:gd name="T16" fmla="*/ 23 w 840"/>
                <a:gd name="T17" fmla="*/ 77 h 1134"/>
                <a:gd name="T18" fmla="*/ 19 w 840"/>
                <a:gd name="T19" fmla="*/ 75 h 1134"/>
                <a:gd name="T20" fmla="*/ 16 w 840"/>
                <a:gd name="T21" fmla="*/ 72 h 1134"/>
                <a:gd name="T22" fmla="*/ 13 w 840"/>
                <a:gd name="T23" fmla="*/ 70 h 1134"/>
                <a:gd name="T24" fmla="*/ 17 w 840"/>
                <a:gd name="T25" fmla="*/ 67 h 1134"/>
                <a:gd name="T26" fmla="*/ 19 w 840"/>
                <a:gd name="T27" fmla="*/ 63 h 1134"/>
                <a:gd name="T28" fmla="*/ 20 w 840"/>
                <a:gd name="T29" fmla="*/ 59 h 1134"/>
                <a:gd name="T30" fmla="*/ 19 w 840"/>
                <a:gd name="T31" fmla="*/ 55 h 1134"/>
                <a:gd name="T32" fmla="*/ 17 w 840"/>
                <a:gd name="T33" fmla="*/ 47 h 1134"/>
                <a:gd name="T34" fmla="*/ 8 w 840"/>
                <a:gd name="T35" fmla="*/ 45 h 1134"/>
                <a:gd name="T36" fmla="*/ 4 w 840"/>
                <a:gd name="T37" fmla="*/ 39 h 1134"/>
                <a:gd name="T38" fmla="*/ 2 w 840"/>
                <a:gd name="T39" fmla="*/ 35 h 1134"/>
                <a:gd name="T40" fmla="*/ 0 w 840"/>
                <a:gd name="T41" fmla="*/ 31 h 1134"/>
                <a:gd name="T42" fmla="*/ 2 w 840"/>
                <a:gd name="T43" fmla="*/ 27 h 1134"/>
                <a:gd name="T44" fmla="*/ 5 w 840"/>
                <a:gd name="T45" fmla="*/ 24 h 1134"/>
                <a:gd name="T46" fmla="*/ 10 w 840"/>
                <a:gd name="T47" fmla="*/ 26 h 1134"/>
                <a:gd name="T48" fmla="*/ 7 w 840"/>
                <a:gd name="T49" fmla="*/ 20 h 1134"/>
                <a:gd name="T50" fmla="*/ 12 w 840"/>
                <a:gd name="T51" fmla="*/ 12 h 1134"/>
                <a:gd name="T52" fmla="*/ 19 w 840"/>
                <a:gd name="T53" fmla="*/ 10 h 1134"/>
                <a:gd name="T54" fmla="*/ 20 w 840"/>
                <a:gd name="T55" fmla="*/ 13 h 1134"/>
                <a:gd name="T56" fmla="*/ 22 w 840"/>
                <a:gd name="T57" fmla="*/ 11 h 1134"/>
                <a:gd name="T58" fmla="*/ 25 w 840"/>
                <a:gd name="T59" fmla="*/ 7 h 1134"/>
                <a:gd name="T60" fmla="*/ 29 w 840"/>
                <a:gd name="T61" fmla="*/ 2 h 1134"/>
                <a:gd name="T62" fmla="*/ 33 w 840"/>
                <a:gd name="T63" fmla="*/ 1 h 1134"/>
                <a:gd name="T64" fmla="*/ 37 w 840"/>
                <a:gd name="T65" fmla="*/ 2 h 1134"/>
                <a:gd name="T66" fmla="*/ 39 w 840"/>
                <a:gd name="T67" fmla="*/ 4 h 1134"/>
                <a:gd name="T68" fmla="*/ 43 w 840"/>
                <a:gd name="T69" fmla="*/ 5 h 1134"/>
                <a:gd name="T70" fmla="*/ 46 w 840"/>
                <a:gd name="T71" fmla="*/ 11 h 1134"/>
                <a:gd name="T72" fmla="*/ 49 w 840"/>
                <a:gd name="T73" fmla="*/ 12 h 1134"/>
                <a:gd name="T74" fmla="*/ 52 w 840"/>
                <a:gd name="T75" fmla="*/ 15 h 1134"/>
                <a:gd name="T76" fmla="*/ 54 w 840"/>
                <a:gd name="T77" fmla="*/ 18 h 1134"/>
                <a:gd name="T78" fmla="*/ 55 w 840"/>
                <a:gd name="T79" fmla="*/ 22 h 1134"/>
                <a:gd name="T80" fmla="*/ 56 w 840"/>
                <a:gd name="T81" fmla="*/ 26 h 1134"/>
                <a:gd name="T82" fmla="*/ 55 w 840"/>
                <a:gd name="T83" fmla="*/ 32 h 1134"/>
                <a:gd name="T84" fmla="*/ 55 w 840"/>
                <a:gd name="T85" fmla="*/ 36 h 1134"/>
                <a:gd name="T86" fmla="*/ 54 w 840"/>
                <a:gd name="T87" fmla="*/ 39 h 1134"/>
                <a:gd name="T88" fmla="*/ 56 w 840"/>
                <a:gd name="T89" fmla="*/ 39 h 1134"/>
                <a:gd name="T90" fmla="*/ 58 w 840"/>
                <a:gd name="T91" fmla="*/ 39 h 1134"/>
                <a:gd name="T92" fmla="*/ 61 w 840"/>
                <a:gd name="T93" fmla="*/ 39 h 1134"/>
                <a:gd name="T94" fmla="*/ 60 w 840"/>
                <a:gd name="T95" fmla="*/ 49 h 1134"/>
                <a:gd name="T96" fmla="*/ 59 w 840"/>
                <a:gd name="T97" fmla="*/ 53 h 1134"/>
                <a:gd name="T98" fmla="*/ 59 w 840"/>
                <a:gd name="T99" fmla="*/ 56 h 1134"/>
                <a:gd name="T100" fmla="*/ 60 w 840"/>
                <a:gd name="T101" fmla="*/ 59 h 1134"/>
                <a:gd name="T102" fmla="*/ 64 w 840"/>
                <a:gd name="T103" fmla="*/ 61 h 1134"/>
                <a:gd name="T104" fmla="*/ 69 w 840"/>
                <a:gd name="T105" fmla="*/ 63 h 1134"/>
                <a:gd name="T106" fmla="*/ 72 w 840"/>
                <a:gd name="T107" fmla="*/ 69 h 1134"/>
                <a:gd name="T108" fmla="*/ 72 w 840"/>
                <a:gd name="T109" fmla="*/ 73 h 1134"/>
                <a:gd name="T110" fmla="*/ 72 w 840"/>
                <a:gd name="T111" fmla="*/ 83 h 1134"/>
                <a:gd name="T112" fmla="*/ 63 w 840"/>
                <a:gd name="T113" fmla="*/ 88 h 1134"/>
                <a:gd name="T114" fmla="*/ 52 w 840"/>
                <a:gd name="T115" fmla="*/ 95 h 11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40"/>
                <a:gd name="T175" fmla="*/ 0 h 1134"/>
                <a:gd name="T176" fmla="*/ 840 w 840"/>
                <a:gd name="T177" fmla="*/ 1134 h 11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40" h="1134">
                  <a:moveTo>
                    <a:pt x="564" y="1110"/>
                  </a:moveTo>
                  <a:lnTo>
                    <a:pt x="564" y="1104"/>
                  </a:lnTo>
                  <a:lnTo>
                    <a:pt x="558" y="1104"/>
                  </a:lnTo>
                  <a:lnTo>
                    <a:pt x="552" y="1110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28" y="1128"/>
                  </a:lnTo>
                  <a:lnTo>
                    <a:pt x="498" y="1128"/>
                  </a:lnTo>
                  <a:lnTo>
                    <a:pt x="492" y="1128"/>
                  </a:lnTo>
                  <a:lnTo>
                    <a:pt x="486" y="1128"/>
                  </a:lnTo>
                  <a:lnTo>
                    <a:pt x="480" y="1128"/>
                  </a:lnTo>
                  <a:lnTo>
                    <a:pt x="474" y="1134"/>
                  </a:lnTo>
                  <a:lnTo>
                    <a:pt x="468" y="1134"/>
                  </a:lnTo>
                  <a:lnTo>
                    <a:pt x="462" y="1134"/>
                  </a:lnTo>
                  <a:lnTo>
                    <a:pt x="456" y="1134"/>
                  </a:lnTo>
                  <a:lnTo>
                    <a:pt x="456" y="1128"/>
                  </a:lnTo>
                  <a:lnTo>
                    <a:pt x="450" y="1122"/>
                  </a:lnTo>
                  <a:lnTo>
                    <a:pt x="426" y="1128"/>
                  </a:lnTo>
                  <a:lnTo>
                    <a:pt x="414" y="1128"/>
                  </a:lnTo>
                  <a:lnTo>
                    <a:pt x="348" y="1134"/>
                  </a:lnTo>
                  <a:lnTo>
                    <a:pt x="348" y="1128"/>
                  </a:lnTo>
                  <a:lnTo>
                    <a:pt x="342" y="1128"/>
                  </a:lnTo>
                  <a:lnTo>
                    <a:pt x="336" y="1122"/>
                  </a:lnTo>
                  <a:lnTo>
                    <a:pt x="330" y="1122"/>
                  </a:lnTo>
                  <a:lnTo>
                    <a:pt x="324" y="1116"/>
                  </a:lnTo>
                  <a:lnTo>
                    <a:pt x="324" y="1110"/>
                  </a:lnTo>
                  <a:lnTo>
                    <a:pt x="318" y="1110"/>
                  </a:lnTo>
                  <a:lnTo>
                    <a:pt x="318" y="1104"/>
                  </a:lnTo>
                  <a:lnTo>
                    <a:pt x="312" y="1092"/>
                  </a:lnTo>
                  <a:lnTo>
                    <a:pt x="306" y="1086"/>
                  </a:lnTo>
                  <a:lnTo>
                    <a:pt x="306" y="1080"/>
                  </a:lnTo>
                  <a:lnTo>
                    <a:pt x="312" y="1074"/>
                  </a:lnTo>
                  <a:lnTo>
                    <a:pt x="306" y="1068"/>
                  </a:lnTo>
                  <a:lnTo>
                    <a:pt x="300" y="1074"/>
                  </a:lnTo>
                  <a:lnTo>
                    <a:pt x="300" y="1068"/>
                  </a:lnTo>
                  <a:lnTo>
                    <a:pt x="294" y="1068"/>
                  </a:lnTo>
                  <a:lnTo>
                    <a:pt x="294" y="1056"/>
                  </a:lnTo>
                  <a:lnTo>
                    <a:pt x="294" y="1026"/>
                  </a:lnTo>
                  <a:lnTo>
                    <a:pt x="294" y="1020"/>
                  </a:lnTo>
                  <a:lnTo>
                    <a:pt x="294" y="1008"/>
                  </a:lnTo>
                  <a:lnTo>
                    <a:pt x="294" y="966"/>
                  </a:lnTo>
                  <a:lnTo>
                    <a:pt x="294" y="960"/>
                  </a:lnTo>
                  <a:lnTo>
                    <a:pt x="294" y="954"/>
                  </a:lnTo>
                  <a:lnTo>
                    <a:pt x="294" y="948"/>
                  </a:lnTo>
                  <a:lnTo>
                    <a:pt x="294" y="942"/>
                  </a:lnTo>
                  <a:lnTo>
                    <a:pt x="300" y="936"/>
                  </a:lnTo>
                  <a:lnTo>
                    <a:pt x="300" y="930"/>
                  </a:lnTo>
                  <a:lnTo>
                    <a:pt x="294" y="930"/>
                  </a:lnTo>
                  <a:lnTo>
                    <a:pt x="288" y="930"/>
                  </a:lnTo>
                  <a:lnTo>
                    <a:pt x="288" y="924"/>
                  </a:lnTo>
                  <a:lnTo>
                    <a:pt x="282" y="918"/>
                  </a:lnTo>
                  <a:lnTo>
                    <a:pt x="282" y="906"/>
                  </a:lnTo>
                  <a:lnTo>
                    <a:pt x="282" y="900"/>
                  </a:lnTo>
                  <a:lnTo>
                    <a:pt x="264" y="894"/>
                  </a:lnTo>
                  <a:lnTo>
                    <a:pt x="252" y="882"/>
                  </a:lnTo>
                  <a:lnTo>
                    <a:pt x="246" y="876"/>
                  </a:lnTo>
                  <a:lnTo>
                    <a:pt x="240" y="876"/>
                  </a:lnTo>
                  <a:lnTo>
                    <a:pt x="240" y="870"/>
                  </a:lnTo>
                  <a:lnTo>
                    <a:pt x="234" y="870"/>
                  </a:lnTo>
                  <a:lnTo>
                    <a:pt x="222" y="864"/>
                  </a:lnTo>
                  <a:lnTo>
                    <a:pt x="216" y="864"/>
                  </a:lnTo>
                  <a:lnTo>
                    <a:pt x="210" y="858"/>
                  </a:lnTo>
                  <a:lnTo>
                    <a:pt x="210" y="852"/>
                  </a:lnTo>
                  <a:lnTo>
                    <a:pt x="210" y="846"/>
                  </a:lnTo>
                  <a:lnTo>
                    <a:pt x="198" y="840"/>
                  </a:lnTo>
                  <a:lnTo>
                    <a:pt x="186" y="834"/>
                  </a:lnTo>
                  <a:lnTo>
                    <a:pt x="180" y="828"/>
                  </a:lnTo>
                  <a:lnTo>
                    <a:pt x="180" y="822"/>
                  </a:lnTo>
                  <a:lnTo>
                    <a:pt x="174" y="822"/>
                  </a:lnTo>
                  <a:lnTo>
                    <a:pt x="162" y="816"/>
                  </a:lnTo>
                  <a:lnTo>
                    <a:pt x="156" y="810"/>
                  </a:lnTo>
                  <a:lnTo>
                    <a:pt x="150" y="810"/>
                  </a:lnTo>
                  <a:lnTo>
                    <a:pt x="144" y="798"/>
                  </a:lnTo>
                  <a:lnTo>
                    <a:pt x="138" y="786"/>
                  </a:lnTo>
                  <a:lnTo>
                    <a:pt x="138" y="780"/>
                  </a:lnTo>
                  <a:lnTo>
                    <a:pt x="144" y="774"/>
                  </a:lnTo>
                  <a:lnTo>
                    <a:pt x="150" y="768"/>
                  </a:lnTo>
                  <a:lnTo>
                    <a:pt x="192" y="768"/>
                  </a:lnTo>
                  <a:lnTo>
                    <a:pt x="210" y="762"/>
                  </a:lnTo>
                  <a:lnTo>
                    <a:pt x="216" y="756"/>
                  </a:lnTo>
                  <a:lnTo>
                    <a:pt x="216" y="744"/>
                  </a:lnTo>
                  <a:lnTo>
                    <a:pt x="216" y="738"/>
                  </a:lnTo>
                  <a:lnTo>
                    <a:pt x="216" y="732"/>
                  </a:lnTo>
                  <a:lnTo>
                    <a:pt x="216" y="726"/>
                  </a:lnTo>
                  <a:lnTo>
                    <a:pt x="216" y="720"/>
                  </a:lnTo>
                  <a:lnTo>
                    <a:pt x="228" y="702"/>
                  </a:lnTo>
                  <a:lnTo>
                    <a:pt x="234" y="696"/>
                  </a:lnTo>
                  <a:lnTo>
                    <a:pt x="240" y="690"/>
                  </a:lnTo>
                  <a:lnTo>
                    <a:pt x="240" y="684"/>
                  </a:lnTo>
                  <a:lnTo>
                    <a:pt x="234" y="678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0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22" y="630"/>
                  </a:lnTo>
                  <a:lnTo>
                    <a:pt x="222" y="618"/>
                  </a:lnTo>
                  <a:lnTo>
                    <a:pt x="222" y="582"/>
                  </a:lnTo>
                  <a:lnTo>
                    <a:pt x="228" y="582"/>
                  </a:lnTo>
                  <a:lnTo>
                    <a:pt x="222" y="564"/>
                  </a:lnTo>
                  <a:lnTo>
                    <a:pt x="210" y="552"/>
                  </a:lnTo>
                  <a:lnTo>
                    <a:pt x="192" y="540"/>
                  </a:lnTo>
                  <a:lnTo>
                    <a:pt x="174" y="540"/>
                  </a:lnTo>
                  <a:lnTo>
                    <a:pt x="150" y="534"/>
                  </a:lnTo>
                  <a:lnTo>
                    <a:pt x="126" y="528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90" y="516"/>
                  </a:lnTo>
                  <a:lnTo>
                    <a:pt x="78" y="504"/>
                  </a:lnTo>
                  <a:lnTo>
                    <a:pt x="72" y="498"/>
                  </a:lnTo>
                  <a:lnTo>
                    <a:pt x="66" y="486"/>
                  </a:lnTo>
                  <a:lnTo>
                    <a:pt x="54" y="468"/>
                  </a:lnTo>
                  <a:lnTo>
                    <a:pt x="54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42" y="438"/>
                  </a:lnTo>
                  <a:lnTo>
                    <a:pt x="36" y="438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24" y="384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2" y="360"/>
                  </a:lnTo>
                  <a:lnTo>
                    <a:pt x="6" y="360"/>
                  </a:lnTo>
                  <a:lnTo>
                    <a:pt x="0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0"/>
                  </a:lnTo>
                  <a:lnTo>
                    <a:pt x="18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8" y="270"/>
                  </a:lnTo>
                  <a:lnTo>
                    <a:pt x="90" y="276"/>
                  </a:lnTo>
                  <a:lnTo>
                    <a:pt x="108" y="294"/>
                  </a:lnTo>
                  <a:lnTo>
                    <a:pt x="114" y="294"/>
                  </a:lnTo>
                  <a:lnTo>
                    <a:pt x="114" y="276"/>
                  </a:lnTo>
                  <a:lnTo>
                    <a:pt x="114" y="270"/>
                  </a:lnTo>
                  <a:lnTo>
                    <a:pt x="102" y="258"/>
                  </a:lnTo>
                  <a:lnTo>
                    <a:pt x="96" y="246"/>
                  </a:lnTo>
                  <a:lnTo>
                    <a:pt x="90" y="234"/>
                  </a:lnTo>
                  <a:lnTo>
                    <a:pt x="78" y="228"/>
                  </a:lnTo>
                  <a:lnTo>
                    <a:pt x="72" y="216"/>
                  </a:lnTo>
                  <a:lnTo>
                    <a:pt x="66" y="192"/>
                  </a:lnTo>
                  <a:lnTo>
                    <a:pt x="90" y="174"/>
                  </a:lnTo>
                  <a:lnTo>
                    <a:pt x="120" y="150"/>
                  </a:lnTo>
                  <a:lnTo>
                    <a:pt x="132" y="150"/>
                  </a:lnTo>
                  <a:lnTo>
                    <a:pt x="138" y="144"/>
                  </a:lnTo>
                  <a:lnTo>
                    <a:pt x="138" y="138"/>
                  </a:lnTo>
                  <a:lnTo>
                    <a:pt x="156" y="126"/>
                  </a:lnTo>
                  <a:lnTo>
                    <a:pt x="180" y="114"/>
                  </a:lnTo>
                  <a:lnTo>
                    <a:pt x="216" y="114"/>
                  </a:lnTo>
                  <a:lnTo>
                    <a:pt x="222" y="114"/>
                  </a:lnTo>
                  <a:lnTo>
                    <a:pt x="222" y="120"/>
                  </a:lnTo>
                  <a:lnTo>
                    <a:pt x="222" y="126"/>
                  </a:lnTo>
                  <a:lnTo>
                    <a:pt x="222" y="132"/>
                  </a:lnTo>
                  <a:lnTo>
                    <a:pt x="228" y="138"/>
                  </a:lnTo>
                  <a:lnTo>
                    <a:pt x="228" y="144"/>
                  </a:lnTo>
                  <a:lnTo>
                    <a:pt x="228" y="150"/>
                  </a:lnTo>
                  <a:lnTo>
                    <a:pt x="234" y="150"/>
                  </a:lnTo>
                  <a:lnTo>
                    <a:pt x="234" y="144"/>
                  </a:lnTo>
                  <a:lnTo>
                    <a:pt x="240" y="144"/>
                  </a:lnTo>
                  <a:lnTo>
                    <a:pt x="246" y="144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58" y="126"/>
                  </a:lnTo>
                  <a:lnTo>
                    <a:pt x="258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76" y="96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6" y="72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36"/>
                  </a:lnTo>
                  <a:lnTo>
                    <a:pt x="330" y="24"/>
                  </a:lnTo>
                  <a:lnTo>
                    <a:pt x="330" y="18"/>
                  </a:lnTo>
                  <a:lnTo>
                    <a:pt x="330" y="12"/>
                  </a:lnTo>
                  <a:lnTo>
                    <a:pt x="336" y="6"/>
                  </a:lnTo>
                  <a:lnTo>
                    <a:pt x="366" y="0"/>
                  </a:lnTo>
                  <a:lnTo>
                    <a:pt x="372" y="6"/>
                  </a:lnTo>
                  <a:lnTo>
                    <a:pt x="384" y="12"/>
                  </a:lnTo>
                  <a:lnTo>
                    <a:pt x="402" y="12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18"/>
                  </a:lnTo>
                  <a:lnTo>
                    <a:pt x="420" y="18"/>
                  </a:lnTo>
                  <a:lnTo>
                    <a:pt x="426" y="24"/>
                  </a:lnTo>
                  <a:lnTo>
                    <a:pt x="432" y="30"/>
                  </a:lnTo>
                  <a:lnTo>
                    <a:pt x="438" y="36"/>
                  </a:lnTo>
                  <a:lnTo>
                    <a:pt x="444" y="42"/>
                  </a:lnTo>
                  <a:lnTo>
                    <a:pt x="450" y="42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16" y="78"/>
                  </a:lnTo>
                  <a:lnTo>
                    <a:pt x="522" y="102"/>
                  </a:lnTo>
                  <a:lnTo>
                    <a:pt x="522" y="108"/>
                  </a:lnTo>
                  <a:lnTo>
                    <a:pt x="528" y="126"/>
                  </a:lnTo>
                  <a:lnTo>
                    <a:pt x="534" y="126"/>
                  </a:lnTo>
                  <a:lnTo>
                    <a:pt x="540" y="120"/>
                  </a:lnTo>
                  <a:lnTo>
                    <a:pt x="546" y="126"/>
                  </a:lnTo>
                  <a:lnTo>
                    <a:pt x="552" y="126"/>
                  </a:lnTo>
                  <a:lnTo>
                    <a:pt x="558" y="132"/>
                  </a:lnTo>
                  <a:lnTo>
                    <a:pt x="564" y="138"/>
                  </a:lnTo>
                  <a:lnTo>
                    <a:pt x="570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594" y="168"/>
                  </a:lnTo>
                  <a:lnTo>
                    <a:pt x="600" y="174"/>
                  </a:lnTo>
                  <a:lnTo>
                    <a:pt x="606" y="180"/>
                  </a:lnTo>
                  <a:lnTo>
                    <a:pt x="606" y="186"/>
                  </a:lnTo>
                  <a:lnTo>
                    <a:pt x="612" y="192"/>
                  </a:lnTo>
                  <a:lnTo>
                    <a:pt x="612" y="198"/>
                  </a:lnTo>
                  <a:lnTo>
                    <a:pt x="624" y="204"/>
                  </a:lnTo>
                  <a:lnTo>
                    <a:pt x="624" y="210"/>
                  </a:lnTo>
                  <a:lnTo>
                    <a:pt x="630" y="216"/>
                  </a:lnTo>
                  <a:lnTo>
                    <a:pt x="636" y="222"/>
                  </a:lnTo>
                  <a:lnTo>
                    <a:pt x="636" y="228"/>
                  </a:lnTo>
                  <a:lnTo>
                    <a:pt x="636" y="234"/>
                  </a:lnTo>
                  <a:lnTo>
                    <a:pt x="636" y="252"/>
                  </a:lnTo>
                  <a:lnTo>
                    <a:pt x="636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42" y="276"/>
                  </a:lnTo>
                  <a:lnTo>
                    <a:pt x="642" y="282"/>
                  </a:lnTo>
                  <a:lnTo>
                    <a:pt x="642" y="288"/>
                  </a:lnTo>
                  <a:lnTo>
                    <a:pt x="642" y="300"/>
                  </a:lnTo>
                  <a:lnTo>
                    <a:pt x="642" y="306"/>
                  </a:lnTo>
                  <a:lnTo>
                    <a:pt x="636" y="312"/>
                  </a:lnTo>
                  <a:lnTo>
                    <a:pt x="636" y="324"/>
                  </a:lnTo>
                  <a:lnTo>
                    <a:pt x="636" y="342"/>
                  </a:lnTo>
                  <a:lnTo>
                    <a:pt x="630" y="354"/>
                  </a:lnTo>
                  <a:lnTo>
                    <a:pt x="630" y="366"/>
                  </a:lnTo>
                  <a:lnTo>
                    <a:pt x="624" y="378"/>
                  </a:lnTo>
                  <a:lnTo>
                    <a:pt x="624" y="384"/>
                  </a:lnTo>
                  <a:lnTo>
                    <a:pt x="636" y="396"/>
                  </a:lnTo>
                  <a:lnTo>
                    <a:pt x="636" y="402"/>
                  </a:lnTo>
                  <a:lnTo>
                    <a:pt x="636" y="408"/>
                  </a:lnTo>
                  <a:lnTo>
                    <a:pt x="630" y="414"/>
                  </a:lnTo>
                  <a:lnTo>
                    <a:pt x="630" y="420"/>
                  </a:lnTo>
                  <a:lnTo>
                    <a:pt x="630" y="426"/>
                  </a:lnTo>
                  <a:lnTo>
                    <a:pt x="630" y="432"/>
                  </a:lnTo>
                  <a:lnTo>
                    <a:pt x="624" y="438"/>
                  </a:lnTo>
                  <a:lnTo>
                    <a:pt x="624" y="444"/>
                  </a:lnTo>
                  <a:lnTo>
                    <a:pt x="624" y="450"/>
                  </a:lnTo>
                  <a:lnTo>
                    <a:pt x="630" y="450"/>
                  </a:lnTo>
                  <a:lnTo>
                    <a:pt x="630" y="456"/>
                  </a:lnTo>
                  <a:lnTo>
                    <a:pt x="630" y="462"/>
                  </a:lnTo>
                  <a:lnTo>
                    <a:pt x="636" y="468"/>
                  </a:lnTo>
                  <a:lnTo>
                    <a:pt x="642" y="456"/>
                  </a:lnTo>
                  <a:lnTo>
                    <a:pt x="642" y="450"/>
                  </a:lnTo>
                  <a:lnTo>
                    <a:pt x="648" y="450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60" y="444"/>
                  </a:lnTo>
                  <a:lnTo>
                    <a:pt x="666" y="450"/>
                  </a:lnTo>
                  <a:lnTo>
                    <a:pt x="672" y="444"/>
                  </a:lnTo>
                  <a:lnTo>
                    <a:pt x="678" y="444"/>
                  </a:lnTo>
                  <a:lnTo>
                    <a:pt x="684" y="438"/>
                  </a:lnTo>
                  <a:lnTo>
                    <a:pt x="690" y="438"/>
                  </a:lnTo>
                  <a:lnTo>
                    <a:pt x="696" y="438"/>
                  </a:lnTo>
                  <a:lnTo>
                    <a:pt x="702" y="444"/>
                  </a:lnTo>
                  <a:lnTo>
                    <a:pt x="702" y="450"/>
                  </a:lnTo>
                  <a:lnTo>
                    <a:pt x="708" y="450"/>
                  </a:lnTo>
                  <a:lnTo>
                    <a:pt x="708" y="456"/>
                  </a:lnTo>
                  <a:lnTo>
                    <a:pt x="708" y="462"/>
                  </a:lnTo>
                  <a:lnTo>
                    <a:pt x="708" y="468"/>
                  </a:lnTo>
                  <a:lnTo>
                    <a:pt x="708" y="504"/>
                  </a:lnTo>
                  <a:lnTo>
                    <a:pt x="696" y="564"/>
                  </a:lnTo>
                  <a:lnTo>
                    <a:pt x="696" y="582"/>
                  </a:lnTo>
                  <a:lnTo>
                    <a:pt x="696" y="600"/>
                  </a:lnTo>
                  <a:lnTo>
                    <a:pt x="690" y="606"/>
                  </a:lnTo>
                  <a:lnTo>
                    <a:pt x="684" y="606"/>
                  </a:lnTo>
                  <a:lnTo>
                    <a:pt x="690" y="612"/>
                  </a:lnTo>
                  <a:lnTo>
                    <a:pt x="684" y="612"/>
                  </a:lnTo>
                  <a:lnTo>
                    <a:pt x="678" y="618"/>
                  </a:lnTo>
                  <a:lnTo>
                    <a:pt x="672" y="624"/>
                  </a:lnTo>
                  <a:lnTo>
                    <a:pt x="666" y="630"/>
                  </a:lnTo>
                  <a:lnTo>
                    <a:pt x="660" y="636"/>
                  </a:lnTo>
                  <a:lnTo>
                    <a:pt x="672" y="636"/>
                  </a:lnTo>
                  <a:lnTo>
                    <a:pt x="678" y="642"/>
                  </a:lnTo>
                  <a:lnTo>
                    <a:pt x="678" y="648"/>
                  </a:lnTo>
                  <a:lnTo>
                    <a:pt x="684" y="654"/>
                  </a:lnTo>
                  <a:lnTo>
                    <a:pt x="690" y="666"/>
                  </a:lnTo>
                  <a:lnTo>
                    <a:pt x="690" y="672"/>
                  </a:lnTo>
                  <a:lnTo>
                    <a:pt x="696" y="672"/>
                  </a:lnTo>
                  <a:lnTo>
                    <a:pt x="696" y="684"/>
                  </a:lnTo>
                  <a:lnTo>
                    <a:pt x="708" y="690"/>
                  </a:lnTo>
                  <a:lnTo>
                    <a:pt x="720" y="696"/>
                  </a:lnTo>
                  <a:lnTo>
                    <a:pt x="726" y="696"/>
                  </a:lnTo>
                  <a:lnTo>
                    <a:pt x="732" y="696"/>
                  </a:lnTo>
                  <a:lnTo>
                    <a:pt x="738" y="696"/>
                  </a:lnTo>
                  <a:lnTo>
                    <a:pt x="738" y="702"/>
                  </a:lnTo>
                  <a:lnTo>
                    <a:pt x="738" y="708"/>
                  </a:lnTo>
                  <a:lnTo>
                    <a:pt x="738" y="714"/>
                  </a:lnTo>
                  <a:lnTo>
                    <a:pt x="744" y="714"/>
                  </a:lnTo>
                  <a:lnTo>
                    <a:pt x="756" y="720"/>
                  </a:lnTo>
                  <a:lnTo>
                    <a:pt x="780" y="726"/>
                  </a:lnTo>
                  <a:lnTo>
                    <a:pt x="792" y="732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22" y="774"/>
                  </a:lnTo>
                  <a:lnTo>
                    <a:pt x="834" y="786"/>
                  </a:lnTo>
                  <a:lnTo>
                    <a:pt x="834" y="792"/>
                  </a:lnTo>
                  <a:lnTo>
                    <a:pt x="834" y="798"/>
                  </a:lnTo>
                  <a:lnTo>
                    <a:pt x="828" y="798"/>
                  </a:lnTo>
                  <a:lnTo>
                    <a:pt x="828" y="804"/>
                  </a:lnTo>
                  <a:lnTo>
                    <a:pt x="834" y="816"/>
                  </a:lnTo>
                  <a:lnTo>
                    <a:pt x="834" y="834"/>
                  </a:lnTo>
                  <a:lnTo>
                    <a:pt x="834" y="840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34" y="858"/>
                  </a:lnTo>
                  <a:lnTo>
                    <a:pt x="834" y="864"/>
                  </a:lnTo>
                  <a:lnTo>
                    <a:pt x="834" y="876"/>
                  </a:lnTo>
                  <a:lnTo>
                    <a:pt x="828" y="960"/>
                  </a:lnTo>
                  <a:lnTo>
                    <a:pt x="816" y="966"/>
                  </a:lnTo>
                  <a:lnTo>
                    <a:pt x="798" y="972"/>
                  </a:lnTo>
                  <a:lnTo>
                    <a:pt x="786" y="990"/>
                  </a:lnTo>
                  <a:lnTo>
                    <a:pt x="774" y="990"/>
                  </a:lnTo>
                  <a:lnTo>
                    <a:pt x="762" y="1008"/>
                  </a:lnTo>
                  <a:lnTo>
                    <a:pt x="732" y="1014"/>
                  </a:lnTo>
                  <a:lnTo>
                    <a:pt x="714" y="1026"/>
                  </a:lnTo>
                  <a:lnTo>
                    <a:pt x="690" y="1050"/>
                  </a:lnTo>
                  <a:lnTo>
                    <a:pt x="654" y="1056"/>
                  </a:lnTo>
                  <a:lnTo>
                    <a:pt x="630" y="1056"/>
                  </a:lnTo>
                  <a:lnTo>
                    <a:pt x="606" y="1068"/>
                  </a:lnTo>
                  <a:lnTo>
                    <a:pt x="600" y="1092"/>
                  </a:lnTo>
                  <a:lnTo>
                    <a:pt x="600" y="1098"/>
                  </a:lnTo>
                  <a:lnTo>
                    <a:pt x="588" y="1104"/>
                  </a:lnTo>
                  <a:lnTo>
                    <a:pt x="582" y="1104"/>
                  </a:lnTo>
                  <a:lnTo>
                    <a:pt x="570" y="1110"/>
                  </a:lnTo>
                  <a:lnTo>
                    <a:pt x="564" y="111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7" name="Freeform 12">
              <a:extLst>
                <a:ext uri="{FF2B5EF4-FFF2-40B4-BE49-F238E27FC236}">
                  <a16:creationId xmlns:a16="http://schemas.microsoft.com/office/drawing/2014/main" id="{6C93C114-E5D0-49BB-A44C-A127CE01CFE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810" y="2271838"/>
              <a:ext cx="923547" cy="845397"/>
            </a:xfrm>
            <a:custGeom>
              <a:avLst/>
              <a:gdLst>
                <a:gd name="T0" fmla="*/ 138 w 1740"/>
                <a:gd name="T1" fmla="*/ 134 h 1590"/>
                <a:gd name="T2" fmla="*/ 128 w 1740"/>
                <a:gd name="T3" fmla="*/ 131 h 1590"/>
                <a:gd name="T4" fmla="*/ 121 w 1740"/>
                <a:gd name="T5" fmla="*/ 130 h 1590"/>
                <a:gd name="T6" fmla="*/ 119 w 1740"/>
                <a:gd name="T7" fmla="*/ 134 h 1590"/>
                <a:gd name="T8" fmla="*/ 110 w 1740"/>
                <a:gd name="T9" fmla="*/ 132 h 1590"/>
                <a:gd name="T10" fmla="*/ 111 w 1740"/>
                <a:gd name="T11" fmla="*/ 127 h 1590"/>
                <a:gd name="T12" fmla="*/ 103 w 1740"/>
                <a:gd name="T13" fmla="*/ 117 h 1590"/>
                <a:gd name="T14" fmla="*/ 93 w 1740"/>
                <a:gd name="T15" fmla="*/ 123 h 1590"/>
                <a:gd name="T16" fmla="*/ 80 w 1740"/>
                <a:gd name="T17" fmla="*/ 118 h 1590"/>
                <a:gd name="T18" fmla="*/ 66 w 1740"/>
                <a:gd name="T19" fmla="*/ 117 h 1590"/>
                <a:gd name="T20" fmla="*/ 66 w 1740"/>
                <a:gd name="T21" fmla="*/ 110 h 1590"/>
                <a:gd name="T22" fmla="*/ 69 w 1740"/>
                <a:gd name="T23" fmla="*/ 107 h 1590"/>
                <a:gd name="T24" fmla="*/ 68 w 1740"/>
                <a:gd name="T25" fmla="*/ 102 h 1590"/>
                <a:gd name="T26" fmla="*/ 68 w 1740"/>
                <a:gd name="T27" fmla="*/ 96 h 1590"/>
                <a:gd name="T28" fmla="*/ 67 w 1740"/>
                <a:gd name="T29" fmla="*/ 82 h 1590"/>
                <a:gd name="T30" fmla="*/ 58 w 1740"/>
                <a:gd name="T31" fmla="*/ 82 h 1590"/>
                <a:gd name="T32" fmla="*/ 52 w 1740"/>
                <a:gd name="T33" fmla="*/ 82 h 1590"/>
                <a:gd name="T34" fmla="*/ 46 w 1740"/>
                <a:gd name="T35" fmla="*/ 80 h 1590"/>
                <a:gd name="T36" fmla="*/ 45 w 1740"/>
                <a:gd name="T37" fmla="*/ 74 h 1590"/>
                <a:gd name="T38" fmla="*/ 52 w 1740"/>
                <a:gd name="T39" fmla="*/ 70 h 1590"/>
                <a:gd name="T40" fmla="*/ 52 w 1740"/>
                <a:gd name="T41" fmla="*/ 64 h 1590"/>
                <a:gd name="T42" fmla="*/ 42 w 1740"/>
                <a:gd name="T43" fmla="*/ 53 h 1590"/>
                <a:gd name="T44" fmla="*/ 35 w 1740"/>
                <a:gd name="T45" fmla="*/ 52 h 1590"/>
                <a:gd name="T46" fmla="*/ 20 w 1740"/>
                <a:gd name="T47" fmla="*/ 51 h 1590"/>
                <a:gd name="T48" fmla="*/ 17 w 1740"/>
                <a:gd name="T49" fmla="*/ 56 h 1590"/>
                <a:gd name="T50" fmla="*/ 11 w 1740"/>
                <a:gd name="T51" fmla="*/ 61 h 1590"/>
                <a:gd name="T52" fmla="*/ 7 w 1740"/>
                <a:gd name="T53" fmla="*/ 63 h 1590"/>
                <a:gd name="T54" fmla="*/ 0 w 1740"/>
                <a:gd name="T55" fmla="*/ 55 h 1590"/>
                <a:gd name="T56" fmla="*/ 2 w 1740"/>
                <a:gd name="T57" fmla="*/ 50 h 1590"/>
                <a:gd name="T58" fmla="*/ 0 w 1740"/>
                <a:gd name="T59" fmla="*/ 44 h 1590"/>
                <a:gd name="T60" fmla="*/ 2 w 1740"/>
                <a:gd name="T61" fmla="*/ 38 h 1590"/>
                <a:gd name="T62" fmla="*/ 7 w 1740"/>
                <a:gd name="T63" fmla="*/ 35 h 1590"/>
                <a:gd name="T64" fmla="*/ 11 w 1740"/>
                <a:gd name="T65" fmla="*/ 30 h 1590"/>
                <a:gd name="T66" fmla="*/ 21 w 1740"/>
                <a:gd name="T67" fmla="*/ 26 h 1590"/>
                <a:gd name="T68" fmla="*/ 29 w 1740"/>
                <a:gd name="T69" fmla="*/ 25 h 1590"/>
                <a:gd name="T70" fmla="*/ 35 w 1740"/>
                <a:gd name="T71" fmla="*/ 21 h 1590"/>
                <a:gd name="T72" fmla="*/ 36 w 1740"/>
                <a:gd name="T73" fmla="*/ 16 h 1590"/>
                <a:gd name="T74" fmla="*/ 41 w 1740"/>
                <a:gd name="T75" fmla="*/ 11 h 1590"/>
                <a:gd name="T76" fmla="*/ 51 w 1740"/>
                <a:gd name="T77" fmla="*/ 9 h 1590"/>
                <a:gd name="T78" fmla="*/ 59 w 1740"/>
                <a:gd name="T79" fmla="*/ 21 h 1590"/>
                <a:gd name="T80" fmla="*/ 65 w 1740"/>
                <a:gd name="T81" fmla="*/ 13 h 1590"/>
                <a:gd name="T82" fmla="*/ 73 w 1740"/>
                <a:gd name="T83" fmla="*/ 8 h 1590"/>
                <a:gd name="T84" fmla="*/ 82 w 1740"/>
                <a:gd name="T85" fmla="*/ 12 h 1590"/>
                <a:gd name="T86" fmla="*/ 88 w 1740"/>
                <a:gd name="T87" fmla="*/ 12 h 1590"/>
                <a:gd name="T88" fmla="*/ 99 w 1740"/>
                <a:gd name="T89" fmla="*/ 7 h 1590"/>
                <a:gd name="T90" fmla="*/ 114 w 1740"/>
                <a:gd name="T91" fmla="*/ 0 h 1590"/>
                <a:gd name="T92" fmla="*/ 117 w 1740"/>
                <a:gd name="T93" fmla="*/ 10 h 1590"/>
                <a:gd name="T94" fmla="*/ 132 w 1740"/>
                <a:gd name="T95" fmla="*/ 17 h 1590"/>
                <a:gd name="T96" fmla="*/ 140 w 1740"/>
                <a:gd name="T97" fmla="*/ 25 h 1590"/>
                <a:gd name="T98" fmla="*/ 140 w 1740"/>
                <a:gd name="T99" fmla="*/ 33 h 1590"/>
                <a:gd name="T100" fmla="*/ 140 w 1740"/>
                <a:gd name="T101" fmla="*/ 44 h 1590"/>
                <a:gd name="T102" fmla="*/ 138 w 1740"/>
                <a:gd name="T103" fmla="*/ 48 h 1590"/>
                <a:gd name="T104" fmla="*/ 141 w 1740"/>
                <a:gd name="T105" fmla="*/ 49 h 1590"/>
                <a:gd name="T106" fmla="*/ 146 w 1740"/>
                <a:gd name="T107" fmla="*/ 50 h 1590"/>
                <a:gd name="T108" fmla="*/ 149 w 1740"/>
                <a:gd name="T109" fmla="*/ 59 h 1590"/>
                <a:gd name="T110" fmla="*/ 148 w 1740"/>
                <a:gd name="T111" fmla="*/ 67 h 1590"/>
                <a:gd name="T112" fmla="*/ 141 w 1740"/>
                <a:gd name="T113" fmla="*/ 78 h 1590"/>
                <a:gd name="T114" fmla="*/ 141 w 1740"/>
                <a:gd name="T115" fmla="*/ 91 h 1590"/>
                <a:gd name="T116" fmla="*/ 138 w 1740"/>
                <a:gd name="T117" fmla="*/ 102 h 1590"/>
                <a:gd name="T118" fmla="*/ 138 w 1740"/>
                <a:gd name="T119" fmla="*/ 110 h 1590"/>
                <a:gd name="T120" fmla="*/ 144 w 1740"/>
                <a:gd name="T121" fmla="*/ 118 h 1590"/>
                <a:gd name="T122" fmla="*/ 143 w 1740"/>
                <a:gd name="T123" fmla="*/ 125 h 159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740"/>
                <a:gd name="T187" fmla="*/ 0 h 1590"/>
                <a:gd name="T188" fmla="*/ 1740 w 1740"/>
                <a:gd name="T189" fmla="*/ 1590 h 159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740" h="1590">
                  <a:moveTo>
                    <a:pt x="1638" y="1458"/>
                  </a:moveTo>
                  <a:lnTo>
                    <a:pt x="1638" y="1482"/>
                  </a:lnTo>
                  <a:lnTo>
                    <a:pt x="1638" y="1500"/>
                  </a:lnTo>
                  <a:lnTo>
                    <a:pt x="1626" y="1500"/>
                  </a:lnTo>
                  <a:lnTo>
                    <a:pt x="1620" y="1500"/>
                  </a:lnTo>
                  <a:lnTo>
                    <a:pt x="1614" y="1500"/>
                  </a:lnTo>
                  <a:lnTo>
                    <a:pt x="1614" y="1506"/>
                  </a:lnTo>
                  <a:lnTo>
                    <a:pt x="1614" y="1512"/>
                  </a:lnTo>
                  <a:lnTo>
                    <a:pt x="1620" y="1518"/>
                  </a:lnTo>
                  <a:lnTo>
                    <a:pt x="1614" y="1524"/>
                  </a:lnTo>
                  <a:lnTo>
                    <a:pt x="1590" y="1536"/>
                  </a:lnTo>
                  <a:lnTo>
                    <a:pt x="1584" y="1566"/>
                  </a:lnTo>
                  <a:lnTo>
                    <a:pt x="1578" y="1590"/>
                  </a:lnTo>
                  <a:lnTo>
                    <a:pt x="1548" y="1590"/>
                  </a:lnTo>
                  <a:lnTo>
                    <a:pt x="1542" y="1584"/>
                  </a:lnTo>
                  <a:lnTo>
                    <a:pt x="1542" y="1572"/>
                  </a:lnTo>
                  <a:lnTo>
                    <a:pt x="1536" y="1566"/>
                  </a:lnTo>
                  <a:lnTo>
                    <a:pt x="1536" y="1554"/>
                  </a:lnTo>
                  <a:lnTo>
                    <a:pt x="1536" y="1548"/>
                  </a:lnTo>
                  <a:lnTo>
                    <a:pt x="1506" y="1530"/>
                  </a:lnTo>
                  <a:lnTo>
                    <a:pt x="1488" y="1506"/>
                  </a:lnTo>
                  <a:lnTo>
                    <a:pt x="1464" y="1500"/>
                  </a:lnTo>
                  <a:lnTo>
                    <a:pt x="1470" y="1494"/>
                  </a:lnTo>
                  <a:lnTo>
                    <a:pt x="1470" y="1488"/>
                  </a:lnTo>
                  <a:lnTo>
                    <a:pt x="1470" y="1482"/>
                  </a:lnTo>
                  <a:lnTo>
                    <a:pt x="1428" y="1464"/>
                  </a:lnTo>
                  <a:lnTo>
                    <a:pt x="1404" y="1470"/>
                  </a:lnTo>
                  <a:lnTo>
                    <a:pt x="1398" y="1470"/>
                  </a:lnTo>
                  <a:lnTo>
                    <a:pt x="1392" y="1476"/>
                  </a:lnTo>
                  <a:lnTo>
                    <a:pt x="1386" y="1476"/>
                  </a:lnTo>
                  <a:lnTo>
                    <a:pt x="1386" y="1482"/>
                  </a:lnTo>
                  <a:lnTo>
                    <a:pt x="1392" y="1482"/>
                  </a:lnTo>
                  <a:lnTo>
                    <a:pt x="1386" y="1488"/>
                  </a:lnTo>
                  <a:lnTo>
                    <a:pt x="1386" y="1494"/>
                  </a:lnTo>
                  <a:lnTo>
                    <a:pt x="1380" y="1494"/>
                  </a:lnTo>
                  <a:lnTo>
                    <a:pt x="1380" y="1500"/>
                  </a:lnTo>
                  <a:lnTo>
                    <a:pt x="1380" y="1512"/>
                  </a:lnTo>
                  <a:lnTo>
                    <a:pt x="1380" y="1518"/>
                  </a:lnTo>
                  <a:lnTo>
                    <a:pt x="1380" y="1524"/>
                  </a:lnTo>
                  <a:lnTo>
                    <a:pt x="1380" y="1530"/>
                  </a:lnTo>
                  <a:lnTo>
                    <a:pt x="1374" y="1536"/>
                  </a:lnTo>
                  <a:lnTo>
                    <a:pt x="1374" y="1542"/>
                  </a:lnTo>
                  <a:lnTo>
                    <a:pt x="1368" y="1542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44" y="1554"/>
                  </a:lnTo>
                  <a:lnTo>
                    <a:pt x="1332" y="1560"/>
                  </a:lnTo>
                  <a:lnTo>
                    <a:pt x="1302" y="1554"/>
                  </a:lnTo>
                  <a:lnTo>
                    <a:pt x="1290" y="1554"/>
                  </a:lnTo>
                  <a:lnTo>
                    <a:pt x="1278" y="1542"/>
                  </a:lnTo>
                  <a:lnTo>
                    <a:pt x="1272" y="1530"/>
                  </a:lnTo>
                  <a:lnTo>
                    <a:pt x="1272" y="1524"/>
                  </a:lnTo>
                  <a:lnTo>
                    <a:pt x="1272" y="1518"/>
                  </a:lnTo>
                  <a:lnTo>
                    <a:pt x="1266" y="1518"/>
                  </a:lnTo>
                  <a:lnTo>
                    <a:pt x="1266" y="1512"/>
                  </a:lnTo>
                  <a:lnTo>
                    <a:pt x="1266" y="1506"/>
                  </a:lnTo>
                  <a:lnTo>
                    <a:pt x="1272" y="1506"/>
                  </a:lnTo>
                  <a:lnTo>
                    <a:pt x="1272" y="1500"/>
                  </a:lnTo>
                  <a:lnTo>
                    <a:pt x="1278" y="1500"/>
                  </a:lnTo>
                  <a:lnTo>
                    <a:pt x="1278" y="1494"/>
                  </a:lnTo>
                  <a:lnTo>
                    <a:pt x="1278" y="1488"/>
                  </a:lnTo>
                  <a:lnTo>
                    <a:pt x="1284" y="1488"/>
                  </a:lnTo>
                  <a:lnTo>
                    <a:pt x="1284" y="1482"/>
                  </a:lnTo>
                  <a:lnTo>
                    <a:pt x="1290" y="1476"/>
                  </a:lnTo>
                  <a:lnTo>
                    <a:pt x="1284" y="1470"/>
                  </a:lnTo>
                  <a:lnTo>
                    <a:pt x="1278" y="1458"/>
                  </a:lnTo>
                  <a:lnTo>
                    <a:pt x="1278" y="1452"/>
                  </a:lnTo>
                  <a:lnTo>
                    <a:pt x="1260" y="1428"/>
                  </a:lnTo>
                  <a:lnTo>
                    <a:pt x="1254" y="1416"/>
                  </a:lnTo>
                  <a:lnTo>
                    <a:pt x="1254" y="1410"/>
                  </a:lnTo>
                  <a:lnTo>
                    <a:pt x="1248" y="1398"/>
                  </a:lnTo>
                  <a:lnTo>
                    <a:pt x="1242" y="1398"/>
                  </a:lnTo>
                  <a:lnTo>
                    <a:pt x="1236" y="1398"/>
                  </a:lnTo>
                  <a:lnTo>
                    <a:pt x="1218" y="1386"/>
                  </a:lnTo>
                  <a:lnTo>
                    <a:pt x="1212" y="1362"/>
                  </a:lnTo>
                  <a:lnTo>
                    <a:pt x="1200" y="1344"/>
                  </a:lnTo>
                  <a:lnTo>
                    <a:pt x="1188" y="1338"/>
                  </a:lnTo>
                  <a:lnTo>
                    <a:pt x="1164" y="1338"/>
                  </a:lnTo>
                  <a:lnTo>
                    <a:pt x="1158" y="1344"/>
                  </a:lnTo>
                  <a:lnTo>
                    <a:pt x="1152" y="1350"/>
                  </a:lnTo>
                  <a:lnTo>
                    <a:pt x="1152" y="1356"/>
                  </a:lnTo>
                  <a:lnTo>
                    <a:pt x="1140" y="1362"/>
                  </a:lnTo>
                  <a:lnTo>
                    <a:pt x="1134" y="1380"/>
                  </a:lnTo>
                  <a:lnTo>
                    <a:pt x="1116" y="1398"/>
                  </a:lnTo>
                  <a:lnTo>
                    <a:pt x="1110" y="1416"/>
                  </a:lnTo>
                  <a:lnTo>
                    <a:pt x="1086" y="1416"/>
                  </a:lnTo>
                  <a:lnTo>
                    <a:pt x="1080" y="1410"/>
                  </a:lnTo>
                  <a:lnTo>
                    <a:pt x="1074" y="1410"/>
                  </a:lnTo>
                  <a:lnTo>
                    <a:pt x="1074" y="1404"/>
                  </a:lnTo>
                  <a:lnTo>
                    <a:pt x="1062" y="1404"/>
                  </a:lnTo>
                  <a:lnTo>
                    <a:pt x="1062" y="1380"/>
                  </a:lnTo>
                  <a:lnTo>
                    <a:pt x="1038" y="1380"/>
                  </a:lnTo>
                  <a:lnTo>
                    <a:pt x="1026" y="1350"/>
                  </a:lnTo>
                  <a:lnTo>
                    <a:pt x="996" y="1326"/>
                  </a:lnTo>
                  <a:lnTo>
                    <a:pt x="966" y="1314"/>
                  </a:lnTo>
                  <a:lnTo>
                    <a:pt x="954" y="1320"/>
                  </a:lnTo>
                  <a:lnTo>
                    <a:pt x="942" y="1338"/>
                  </a:lnTo>
                  <a:lnTo>
                    <a:pt x="930" y="1338"/>
                  </a:lnTo>
                  <a:lnTo>
                    <a:pt x="924" y="1350"/>
                  </a:lnTo>
                  <a:lnTo>
                    <a:pt x="906" y="1356"/>
                  </a:lnTo>
                  <a:lnTo>
                    <a:pt x="846" y="1356"/>
                  </a:lnTo>
                  <a:lnTo>
                    <a:pt x="834" y="1368"/>
                  </a:lnTo>
                  <a:lnTo>
                    <a:pt x="810" y="1362"/>
                  </a:lnTo>
                  <a:lnTo>
                    <a:pt x="792" y="1362"/>
                  </a:lnTo>
                  <a:lnTo>
                    <a:pt x="780" y="1368"/>
                  </a:lnTo>
                  <a:lnTo>
                    <a:pt x="762" y="1368"/>
                  </a:lnTo>
                  <a:lnTo>
                    <a:pt x="762" y="1362"/>
                  </a:lnTo>
                  <a:lnTo>
                    <a:pt x="750" y="1362"/>
                  </a:lnTo>
                  <a:lnTo>
                    <a:pt x="750" y="1338"/>
                  </a:lnTo>
                  <a:lnTo>
                    <a:pt x="762" y="1338"/>
                  </a:lnTo>
                  <a:lnTo>
                    <a:pt x="762" y="1326"/>
                  </a:lnTo>
                  <a:lnTo>
                    <a:pt x="762" y="1314"/>
                  </a:lnTo>
                  <a:lnTo>
                    <a:pt x="732" y="1314"/>
                  </a:lnTo>
                  <a:lnTo>
                    <a:pt x="726" y="1308"/>
                  </a:lnTo>
                  <a:lnTo>
                    <a:pt x="732" y="1284"/>
                  </a:lnTo>
                  <a:lnTo>
                    <a:pt x="732" y="1278"/>
                  </a:lnTo>
                  <a:lnTo>
                    <a:pt x="738" y="1272"/>
                  </a:lnTo>
                  <a:lnTo>
                    <a:pt x="738" y="1266"/>
                  </a:lnTo>
                  <a:lnTo>
                    <a:pt x="744" y="1266"/>
                  </a:lnTo>
                  <a:lnTo>
                    <a:pt x="750" y="1272"/>
                  </a:lnTo>
                  <a:lnTo>
                    <a:pt x="756" y="1266"/>
                  </a:lnTo>
                  <a:lnTo>
                    <a:pt x="762" y="1266"/>
                  </a:lnTo>
                  <a:lnTo>
                    <a:pt x="768" y="1260"/>
                  </a:lnTo>
                  <a:lnTo>
                    <a:pt x="774" y="1260"/>
                  </a:lnTo>
                  <a:lnTo>
                    <a:pt x="780" y="1254"/>
                  </a:lnTo>
                  <a:lnTo>
                    <a:pt x="774" y="1254"/>
                  </a:lnTo>
                  <a:lnTo>
                    <a:pt x="768" y="1254"/>
                  </a:lnTo>
                  <a:lnTo>
                    <a:pt x="774" y="1248"/>
                  </a:lnTo>
                  <a:lnTo>
                    <a:pt x="774" y="1242"/>
                  </a:lnTo>
                  <a:lnTo>
                    <a:pt x="780" y="1236"/>
                  </a:lnTo>
                  <a:lnTo>
                    <a:pt x="786" y="1236"/>
                  </a:lnTo>
                  <a:lnTo>
                    <a:pt x="792" y="1230"/>
                  </a:lnTo>
                  <a:lnTo>
                    <a:pt x="792" y="1236"/>
                  </a:lnTo>
                  <a:lnTo>
                    <a:pt x="798" y="1236"/>
                  </a:lnTo>
                  <a:lnTo>
                    <a:pt x="798" y="1230"/>
                  </a:lnTo>
                  <a:lnTo>
                    <a:pt x="804" y="1230"/>
                  </a:lnTo>
                  <a:lnTo>
                    <a:pt x="804" y="1218"/>
                  </a:lnTo>
                  <a:lnTo>
                    <a:pt x="804" y="1206"/>
                  </a:lnTo>
                  <a:lnTo>
                    <a:pt x="792" y="1188"/>
                  </a:lnTo>
                  <a:lnTo>
                    <a:pt x="768" y="1182"/>
                  </a:lnTo>
                  <a:lnTo>
                    <a:pt x="768" y="1170"/>
                  </a:lnTo>
                  <a:lnTo>
                    <a:pt x="774" y="1170"/>
                  </a:lnTo>
                  <a:lnTo>
                    <a:pt x="780" y="1170"/>
                  </a:lnTo>
                  <a:lnTo>
                    <a:pt x="786" y="1170"/>
                  </a:lnTo>
                  <a:lnTo>
                    <a:pt x="780" y="1152"/>
                  </a:lnTo>
                  <a:lnTo>
                    <a:pt x="780" y="1146"/>
                  </a:lnTo>
                  <a:lnTo>
                    <a:pt x="744" y="1140"/>
                  </a:lnTo>
                  <a:lnTo>
                    <a:pt x="732" y="1128"/>
                  </a:lnTo>
                  <a:lnTo>
                    <a:pt x="720" y="1122"/>
                  </a:lnTo>
                  <a:lnTo>
                    <a:pt x="732" y="1116"/>
                  </a:lnTo>
                  <a:lnTo>
                    <a:pt x="750" y="1104"/>
                  </a:lnTo>
                  <a:lnTo>
                    <a:pt x="756" y="1116"/>
                  </a:lnTo>
                  <a:lnTo>
                    <a:pt x="774" y="1116"/>
                  </a:lnTo>
                  <a:lnTo>
                    <a:pt x="780" y="1104"/>
                  </a:lnTo>
                  <a:lnTo>
                    <a:pt x="780" y="1080"/>
                  </a:lnTo>
                  <a:lnTo>
                    <a:pt x="786" y="1080"/>
                  </a:lnTo>
                  <a:lnTo>
                    <a:pt x="786" y="1074"/>
                  </a:lnTo>
                  <a:lnTo>
                    <a:pt x="792" y="1074"/>
                  </a:lnTo>
                  <a:lnTo>
                    <a:pt x="786" y="1068"/>
                  </a:lnTo>
                  <a:lnTo>
                    <a:pt x="786" y="1062"/>
                  </a:lnTo>
                  <a:lnTo>
                    <a:pt x="786" y="1056"/>
                  </a:lnTo>
                  <a:lnTo>
                    <a:pt x="792" y="1050"/>
                  </a:lnTo>
                  <a:lnTo>
                    <a:pt x="786" y="1020"/>
                  </a:lnTo>
                  <a:lnTo>
                    <a:pt x="780" y="960"/>
                  </a:lnTo>
                  <a:lnTo>
                    <a:pt x="768" y="942"/>
                  </a:lnTo>
                  <a:lnTo>
                    <a:pt x="732" y="936"/>
                  </a:lnTo>
                  <a:lnTo>
                    <a:pt x="732" y="942"/>
                  </a:lnTo>
                  <a:lnTo>
                    <a:pt x="726" y="942"/>
                  </a:lnTo>
                  <a:lnTo>
                    <a:pt x="720" y="936"/>
                  </a:lnTo>
                  <a:lnTo>
                    <a:pt x="714" y="942"/>
                  </a:lnTo>
                  <a:lnTo>
                    <a:pt x="708" y="942"/>
                  </a:lnTo>
                  <a:lnTo>
                    <a:pt x="702" y="942"/>
                  </a:lnTo>
                  <a:lnTo>
                    <a:pt x="690" y="936"/>
                  </a:lnTo>
                  <a:lnTo>
                    <a:pt x="684" y="936"/>
                  </a:lnTo>
                  <a:lnTo>
                    <a:pt x="678" y="936"/>
                  </a:lnTo>
                  <a:lnTo>
                    <a:pt x="672" y="936"/>
                  </a:lnTo>
                  <a:lnTo>
                    <a:pt x="666" y="942"/>
                  </a:lnTo>
                  <a:lnTo>
                    <a:pt x="660" y="942"/>
                  </a:lnTo>
                  <a:lnTo>
                    <a:pt x="654" y="942"/>
                  </a:lnTo>
                  <a:lnTo>
                    <a:pt x="648" y="942"/>
                  </a:lnTo>
                  <a:lnTo>
                    <a:pt x="642" y="936"/>
                  </a:lnTo>
                  <a:lnTo>
                    <a:pt x="636" y="936"/>
                  </a:lnTo>
                  <a:lnTo>
                    <a:pt x="630" y="930"/>
                  </a:lnTo>
                  <a:lnTo>
                    <a:pt x="618" y="930"/>
                  </a:lnTo>
                  <a:lnTo>
                    <a:pt x="612" y="930"/>
                  </a:lnTo>
                  <a:lnTo>
                    <a:pt x="606" y="936"/>
                  </a:lnTo>
                  <a:lnTo>
                    <a:pt x="600" y="942"/>
                  </a:lnTo>
                  <a:lnTo>
                    <a:pt x="600" y="936"/>
                  </a:lnTo>
                  <a:lnTo>
                    <a:pt x="594" y="930"/>
                  </a:lnTo>
                  <a:lnTo>
                    <a:pt x="588" y="930"/>
                  </a:lnTo>
                  <a:lnTo>
                    <a:pt x="582" y="930"/>
                  </a:lnTo>
                  <a:lnTo>
                    <a:pt x="576" y="930"/>
                  </a:lnTo>
                  <a:lnTo>
                    <a:pt x="564" y="936"/>
                  </a:lnTo>
                  <a:lnTo>
                    <a:pt x="558" y="936"/>
                  </a:lnTo>
                  <a:lnTo>
                    <a:pt x="546" y="924"/>
                  </a:lnTo>
                  <a:lnTo>
                    <a:pt x="540" y="924"/>
                  </a:lnTo>
                  <a:lnTo>
                    <a:pt x="534" y="918"/>
                  </a:lnTo>
                  <a:lnTo>
                    <a:pt x="528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6" y="918"/>
                  </a:lnTo>
                  <a:lnTo>
                    <a:pt x="516" y="912"/>
                  </a:lnTo>
                  <a:lnTo>
                    <a:pt x="510" y="894"/>
                  </a:lnTo>
                  <a:lnTo>
                    <a:pt x="510" y="882"/>
                  </a:lnTo>
                  <a:lnTo>
                    <a:pt x="510" y="876"/>
                  </a:lnTo>
                  <a:lnTo>
                    <a:pt x="516" y="870"/>
                  </a:lnTo>
                  <a:lnTo>
                    <a:pt x="510" y="864"/>
                  </a:lnTo>
                  <a:lnTo>
                    <a:pt x="516" y="858"/>
                  </a:lnTo>
                  <a:lnTo>
                    <a:pt x="522" y="858"/>
                  </a:lnTo>
                  <a:lnTo>
                    <a:pt x="528" y="858"/>
                  </a:lnTo>
                  <a:lnTo>
                    <a:pt x="522" y="852"/>
                  </a:lnTo>
                  <a:lnTo>
                    <a:pt x="528" y="852"/>
                  </a:lnTo>
                  <a:lnTo>
                    <a:pt x="528" y="846"/>
                  </a:lnTo>
                  <a:lnTo>
                    <a:pt x="552" y="846"/>
                  </a:lnTo>
                  <a:lnTo>
                    <a:pt x="558" y="840"/>
                  </a:lnTo>
                  <a:lnTo>
                    <a:pt x="564" y="828"/>
                  </a:lnTo>
                  <a:lnTo>
                    <a:pt x="570" y="816"/>
                  </a:lnTo>
                  <a:lnTo>
                    <a:pt x="582" y="810"/>
                  </a:lnTo>
                  <a:lnTo>
                    <a:pt x="588" y="804"/>
                  </a:lnTo>
                  <a:lnTo>
                    <a:pt x="594" y="804"/>
                  </a:lnTo>
                  <a:lnTo>
                    <a:pt x="594" y="792"/>
                  </a:lnTo>
                  <a:lnTo>
                    <a:pt x="600" y="786"/>
                  </a:lnTo>
                  <a:lnTo>
                    <a:pt x="606" y="780"/>
                  </a:lnTo>
                  <a:lnTo>
                    <a:pt x="612" y="774"/>
                  </a:lnTo>
                  <a:lnTo>
                    <a:pt x="618" y="774"/>
                  </a:lnTo>
                  <a:lnTo>
                    <a:pt x="618" y="768"/>
                  </a:lnTo>
                  <a:lnTo>
                    <a:pt x="618" y="762"/>
                  </a:lnTo>
                  <a:lnTo>
                    <a:pt x="624" y="756"/>
                  </a:lnTo>
                  <a:lnTo>
                    <a:pt x="618" y="750"/>
                  </a:lnTo>
                  <a:lnTo>
                    <a:pt x="618" y="744"/>
                  </a:lnTo>
                  <a:lnTo>
                    <a:pt x="600" y="738"/>
                  </a:lnTo>
                  <a:lnTo>
                    <a:pt x="558" y="744"/>
                  </a:lnTo>
                  <a:lnTo>
                    <a:pt x="552" y="732"/>
                  </a:lnTo>
                  <a:lnTo>
                    <a:pt x="546" y="720"/>
                  </a:lnTo>
                  <a:lnTo>
                    <a:pt x="564" y="702"/>
                  </a:lnTo>
                  <a:lnTo>
                    <a:pt x="570" y="684"/>
                  </a:lnTo>
                  <a:lnTo>
                    <a:pt x="564" y="648"/>
                  </a:lnTo>
                  <a:lnTo>
                    <a:pt x="534" y="624"/>
                  </a:lnTo>
                  <a:lnTo>
                    <a:pt x="504" y="612"/>
                  </a:lnTo>
                  <a:lnTo>
                    <a:pt x="498" y="606"/>
                  </a:lnTo>
                  <a:lnTo>
                    <a:pt x="492" y="600"/>
                  </a:lnTo>
                  <a:lnTo>
                    <a:pt x="486" y="606"/>
                  </a:lnTo>
                  <a:lnTo>
                    <a:pt x="480" y="558"/>
                  </a:lnTo>
                  <a:lnTo>
                    <a:pt x="462" y="546"/>
                  </a:lnTo>
                  <a:lnTo>
                    <a:pt x="408" y="540"/>
                  </a:lnTo>
                  <a:lnTo>
                    <a:pt x="408" y="546"/>
                  </a:lnTo>
                  <a:lnTo>
                    <a:pt x="408" y="558"/>
                  </a:lnTo>
                  <a:lnTo>
                    <a:pt x="408" y="564"/>
                  </a:lnTo>
                  <a:lnTo>
                    <a:pt x="408" y="570"/>
                  </a:lnTo>
                  <a:lnTo>
                    <a:pt x="414" y="582"/>
                  </a:lnTo>
                  <a:lnTo>
                    <a:pt x="408" y="594"/>
                  </a:lnTo>
                  <a:lnTo>
                    <a:pt x="414" y="594"/>
                  </a:lnTo>
                  <a:lnTo>
                    <a:pt x="408" y="600"/>
                  </a:lnTo>
                  <a:lnTo>
                    <a:pt x="348" y="600"/>
                  </a:lnTo>
                  <a:lnTo>
                    <a:pt x="324" y="600"/>
                  </a:lnTo>
                  <a:lnTo>
                    <a:pt x="324" y="612"/>
                  </a:lnTo>
                  <a:lnTo>
                    <a:pt x="306" y="618"/>
                  </a:lnTo>
                  <a:lnTo>
                    <a:pt x="312" y="618"/>
                  </a:lnTo>
                  <a:lnTo>
                    <a:pt x="294" y="588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76"/>
                  </a:lnTo>
                  <a:lnTo>
                    <a:pt x="240" y="582"/>
                  </a:lnTo>
                  <a:lnTo>
                    <a:pt x="234" y="582"/>
                  </a:lnTo>
                  <a:lnTo>
                    <a:pt x="228" y="588"/>
                  </a:lnTo>
                  <a:lnTo>
                    <a:pt x="222" y="588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8" y="600"/>
                  </a:lnTo>
                  <a:lnTo>
                    <a:pt x="192" y="612"/>
                  </a:lnTo>
                  <a:lnTo>
                    <a:pt x="192" y="618"/>
                  </a:lnTo>
                  <a:lnTo>
                    <a:pt x="198" y="624"/>
                  </a:lnTo>
                  <a:lnTo>
                    <a:pt x="192" y="624"/>
                  </a:lnTo>
                  <a:lnTo>
                    <a:pt x="192" y="630"/>
                  </a:lnTo>
                  <a:lnTo>
                    <a:pt x="192" y="642"/>
                  </a:lnTo>
                  <a:lnTo>
                    <a:pt x="180" y="648"/>
                  </a:lnTo>
                  <a:lnTo>
                    <a:pt x="174" y="654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6"/>
                  </a:lnTo>
                  <a:lnTo>
                    <a:pt x="156" y="672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90"/>
                  </a:lnTo>
                  <a:lnTo>
                    <a:pt x="132" y="690"/>
                  </a:lnTo>
                  <a:lnTo>
                    <a:pt x="126" y="702"/>
                  </a:lnTo>
                  <a:lnTo>
                    <a:pt x="132" y="708"/>
                  </a:lnTo>
                  <a:lnTo>
                    <a:pt x="126" y="708"/>
                  </a:lnTo>
                  <a:lnTo>
                    <a:pt x="120" y="708"/>
                  </a:lnTo>
                  <a:lnTo>
                    <a:pt x="114" y="708"/>
                  </a:lnTo>
                  <a:lnTo>
                    <a:pt x="108" y="708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78" y="720"/>
                  </a:lnTo>
                  <a:lnTo>
                    <a:pt x="72" y="720"/>
                  </a:lnTo>
                  <a:lnTo>
                    <a:pt x="66" y="720"/>
                  </a:lnTo>
                  <a:lnTo>
                    <a:pt x="54" y="732"/>
                  </a:lnTo>
                  <a:lnTo>
                    <a:pt x="48" y="702"/>
                  </a:lnTo>
                  <a:lnTo>
                    <a:pt x="36" y="666"/>
                  </a:lnTo>
                  <a:lnTo>
                    <a:pt x="0" y="660"/>
                  </a:lnTo>
                  <a:lnTo>
                    <a:pt x="6" y="660"/>
                  </a:lnTo>
                  <a:lnTo>
                    <a:pt x="6" y="654"/>
                  </a:lnTo>
                  <a:lnTo>
                    <a:pt x="6" y="648"/>
                  </a:lnTo>
                  <a:lnTo>
                    <a:pt x="6" y="642"/>
                  </a:lnTo>
                  <a:lnTo>
                    <a:pt x="6" y="624"/>
                  </a:lnTo>
                  <a:lnTo>
                    <a:pt x="6" y="612"/>
                  </a:lnTo>
                  <a:lnTo>
                    <a:pt x="6" y="606"/>
                  </a:lnTo>
                  <a:lnTo>
                    <a:pt x="12" y="612"/>
                  </a:lnTo>
                  <a:lnTo>
                    <a:pt x="18" y="606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30" y="594"/>
                  </a:lnTo>
                  <a:lnTo>
                    <a:pt x="30" y="588"/>
                  </a:lnTo>
                  <a:lnTo>
                    <a:pt x="30" y="582"/>
                  </a:lnTo>
                  <a:lnTo>
                    <a:pt x="24" y="576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18" y="558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36" y="528"/>
                  </a:lnTo>
                  <a:lnTo>
                    <a:pt x="30" y="522"/>
                  </a:lnTo>
                  <a:lnTo>
                    <a:pt x="24" y="522"/>
                  </a:lnTo>
                  <a:lnTo>
                    <a:pt x="18" y="510"/>
                  </a:lnTo>
                  <a:lnTo>
                    <a:pt x="12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8" y="474"/>
                  </a:lnTo>
                  <a:lnTo>
                    <a:pt x="12" y="468"/>
                  </a:lnTo>
                  <a:lnTo>
                    <a:pt x="12" y="462"/>
                  </a:lnTo>
                  <a:lnTo>
                    <a:pt x="18" y="456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0" y="420"/>
                  </a:lnTo>
                  <a:lnTo>
                    <a:pt x="30" y="414"/>
                  </a:lnTo>
                  <a:lnTo>
                    <a:pt x="48" y="414"/>
                  </a:lnTo>
                  <a:lnTo>
                    <a:pt x="54" y="408"/>
                  </a:lnTo>
                  <a:lnTo>
                    <a:pt x="60" y="402"/>
                  </a:lnTo>
                  <a:lnTo>
                    <a:pt x="66" y="402"/>
                  </a:lnTo>
                  <a:lnTo>
                    <a:pt x="72" y="402"/>
                  </a:lnTo>
                  <a:lnTo>
                    <a:pt x="78" y="408"/>
                  </a:lnTo>
                  <a:lnTo>
                    <a:pt x="84" y="396"/>
                  </a:lnTo>
                  <a:lnTo>
                    <a:pt x="90" y="390"/>
                  </a:lnTo>
                  <a:lnTo>
                    <a:pt x="90" y="378"/>
                  </a:lnTo>
                  <a:lnTo>
                    <a:pt x="96" y="372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8" y="354"/>
                  </a:lnTo>
                  <a:lnTo>
                    <a:pt x="114" y="348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32" y="336"/>
                  </a:lnTo>
                  <a:lnTo>
                    <a:pt x="132" y="330"/>
                  </a:lnTo>
                  <a:lnTo>
                    <a:pt x="138" y="324"/>
                  </a:lnTo>
                  <a:lnTo>
                    <a:pt x="138" y="318"/>
                  </a:lnTo>
                  <a:lnTo>
                    <a:pt x="144" y="306"/>
                  </a:lnTo>
                  <a:lnTo>
                    <a:pt x="156" y="306"/>
                  </a:lnTo>
                  <a:lnTo>
                    <a:pt x="186" y="300"/>
                  </a:lnTo>
                  <a:lnTo>
                    <a:pt x="198" y="300"/>
                  </a:lnTo>
                  <a:lnTo>
                    <a:pt x="210" y="300"/>
                  </a:lnTo>
                  <a:lnTo>
                    <a:pt x="222" y="300"/>
                  </a:lnTo>
                  <a:lnTo>
                    <a:pt x="246" y="300"/>
                  </a:lnTo>
                  <a:lnTo>
                    <a:pt x="264" y="312"/>
                  </a:lnTo>
                  <a:lnTo>
                    <a:pt x="270" y="312"/>
                  </a:lnTo>
                  <a:lnTo>
                    <a:pt x="282" y="306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300" y="306"/>
                  </a:lnTo>
                  <a:lnTo>
                    <a:pt x="312" y="306"/>
                  </a:lnTo>
                  <a:lnTo>
                    <a:pt x="318" y="300"/>
                  </a:lnTo>
                  <a:lnTo>
                    <a:pt x="324" y="300"/>
                  </a:lnTo>
                  <a:lnTo>
                    <a:pt x="330" y="294"/>
                  </a:lnTo>
                  <a:lnTo>
                    <a:pt x="336" y="288"/>
                  </a:lnTo>
                  <a:lnTo>
                    <a:pt x="354" y="288"/>
                  </a:lnTo>
                  <a:lnTo>
                    <a:pt x="360" y="288"/>
                  </a:lnTo>
                  <a:lnTo>
                    <a:pt x="366" y="282"/>
                  </a:lnTo>
                  <a:lnTo>
                    <a:pt x="372" y="282"/>
                  </a:lnTo>
                  <a:lnTo>
                    <a:pt x="378" y="282"/>
                  </a:lnTo>
                  <a:lnTo>
                    <a:pt x="384" y="276"/>
                  </a:lnTo>
                  <a:lnTo>
                    <a:pt x="384" y="270"/>
                  </a:lnTo>
                  <a:lnTo>
                    <a:pt x="390" y="264"/>
                  </a:lnTo>
                  <a:lnTo>
                    <a:pt x="402" y="258"/>
                  </a:lnTo>
                  <a:lnTo>
                    <a:pt x="402" y="252"/>
                  </a:lnTo>
                  <a:lnTo>
                    <a:pt x="402" y="246"/>
                  </a:lnTo>
                  <a:lnTo>
                    <a:pt x="408" y="234"/>
                  </a:lnTo>
                  <a:lnTo>
                    <a:pt x="414" y="234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14" y="216"/>
                  </a:lnTo>
                  <a:lnTo>
                    <a:pt x="414" y="210"/>
                  </a:lnTo>
                  <a:lnTo>
                    <a:pt x="420" y="210"/>
                  </a:lnTo>
                  <a:lnTo>
                    <a:pt x="414" y="198"/>
                  </a:lnTo>
                  <a:lnTo>
                    <a:pt x="414" y="192"/>
                  </a:lnTo>
                  <a:lnTo>
                    <a:pt x="420" y="192"/>
                  </a:lnTo>
                  <a:lnTo>
                    <a:pt x="420" y="186"/>
                  </a:lnTo>
                  <a:lnTo>
                    <a:pt x="420" y="174"/>
                  </a:lnTo>
                  <a:lnTo>
                    <a:pt x="420" y="168"/>
                  </a:lnTo>
                  <a:lnTo>
                    <a:pt x="426" y="162"/>
                  </a:lnTo>
                  <a:lnTo>
                    <a:pt x="432" y="156"/>
                  </a:lnTo>
                  <a:lnTo>
                    <a:pt x="438" y="144"/>
                  </a:lnTo>
                  <a:lnTo>
                    <a:pt x="444" y="144"/>
                  </a:lnTo>
                  <a:lnTo>
                    <a:pt x="450" y="138"/>
                  </a:lnTo>
                  <a:lnTo>
                    <a:pt x="456" y="138"/>
                  </a:lnTo>
                  <a:lnTo>
                    <a:pt x="462" y="132"/>
                  </a:lnTo>
                  <a:lnTo>
                    <a:pt x="462" y="126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0"/>
                  </a:lnTo>
                  <a:lnTo>
                    <a:pt x="486" y="108"/>
                  </a:lnTo>
                  <a:lnTo>
                    <a:pt x="492" y="108"/>
                  </a:lnTo>
                  <a:lnTo>
                    <a:pt x="498" y="102"/>
                  </a:lnTo>
                  <a:lnTo>
                    <a:pt x="504" y="96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40" y="102"/>
                  </a:lnTo>
                  <a:lnTo>
                    <a:pt x="552" y="108"/>
                  </a:lnTo>
                  <a:lnTo>
                    <a:pt x="582" y="102"/>
                  </a:lnTo>
                  <a:lnTo>
                    <a:pt x="594" y="126"/>
                  </a:lnTo>
                  <a:lnTo>
                    <a:pt x="594" y="144"/>
                  </a:lnTo>
                  <a:lnTo>
                    <a:pt x="588" y="156"/>
                  </a:lnTo>
                  <a:lnTo>
                    <a:pt x="588" y="168"/>
                  </a:lnTo>
                  <a:lnTo>
                    <a:pt x="582" y="180"/>
                  </a:lnTo>
                  <a:lnTo>
                    <a:pt x="570" y="192"/>
                  </a:lnTo>
                  <a:lnTo>
                    <a:pt x="594" y="192"/>
                  </a:lnTo>
                  <a:lnTo>
                    <a:pt x="618" y="198"/>
                  </a:lnTo>
                  <a:lnTo>
                    <a:pt x="642" y="210"/>
                  </a:lnTo>
                  <a:lnTo>
                    <a:pt x="660" y="234"/>
                  </a:lnTo>
                  <a:lnTo>
                    <a:pt x="678" y="246"/>
                  </a:lnTo>
                  <a:lnTo>
                    <a:pt x="684" y="252"/>
                  </a:lnTo>
                  <a:lnTo>
                    <a:pt x="702" y="252"/>
                  </a:lnTo>
                  <a:lnTo>
                    <a:pt x="732" y="234"/>
                  </a:lnTo>
                  <a:lnTo>
                    <a:pt x="732" y="222"/>
                  </a:lnTo>
                  <a:lnTo>
                    <a:pt x="720" y="216"/>
                  </a:lnTo>
                  <a:lnTo>
                    <a:pt x="714" y="198"/>
                  </a:lnTo>
                  <a:lnTo>
                    <a:pt x="714" y="174"/>
                  </a:lnTo>
                  <a:lnTo>
                    <a:pt x="720" y="162"/>
                  </a:lnTo>
                  <a:lnTo>
                    <a:pt x="726" y="162"/>
                  </a:lnTo>
                  <a:lnTo>
                    <a:pt x="732" y="156"/>
                  </a:lnTo>
                  <a:lnTo>
                    <a:pt x="744" y="150"/>
                  </a:lnTo>
                  <a:lnTo>
                    <a:pt x="774" y="162"/>
                  </a:lnTo>
                  <a:lnTo>
                    <a:pt x="786" y="162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16" y="150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2" y="132"/>
                  </a:lnTo>
                  <a:lnTo>
                    <a:pt x="822" y="114"/>
                  </a:lnTo>
                  <a:lnTo>
                    <a:pt x="828" y="108"/>
                  </a:lnTo>
                  <a:lnTo>
                    <a:pt x="834" y="96"/>
                  </a:lnTo>
                  <a:lnTo>
                    <a:pt x="846" y="96"/>
                  </a:lnTo>
                  <a:lnTo>
                    <a:pt x="858" y="90"/>
                  </a:lnTo>
                  <a:lnTo>
                    <a:pt x="870" y="84"/>
                  </a:lnTo>
                  <a:lnTo>
                    <a:pt x="888" y="84"/>
                  </a:lnTo>
                  <a:lnTo>
                    <a:pt x="894" y="90"/>
                  </a:lnTo>
                  <a:lnTo>
                    <a:pt x="894" y="102"/>
                  </a:lnTo>
                  <a:lnTo>
                    <a:pt x="900" y="102"/>
                  </a:lnTo>
                  <a:lnTo>
                    <a:pt x="906" y="114"/>
                  </a:lnTo>
                  <a:lnTo>
                    <a:pt x="930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54" y="138"/>
                  </a:lnTo>
                  <a:lnTo>
                    <a:pt x="966" y="144"/>
                  </a:lnTo>
                  <a:lnTo>
                    <a:pt x="966" y="150"/>
                  </a:lnTo>
                  <a:lnTo>
                    <a:pt x="972" y="150"/>
                  </a:lnTo>
                  <a:lnTo>
                    <a:pt x="978" y="150"/>
                  </a:lnTo>
                  <a:lnTo>
                    <a:pt x="978" y="144"/>
                  </a:lnTo>
                  <a:lnTo>
                    <a:pt x="984" y="144"/>
                  </a:lnTo>
                  <a:lnTo>
                    <a:pt x="990" y="138"/>
                  </a:lnTo>
                  <a:lnTo>
                    <a:pt x="996" y="138"/>
                  </a:lnTo>
                  <a:lnTo>
                    <a:pt x="1002" y="138"/>
                  </a:lnTo>
                  <a:lnTo>
                    <a:pt x="1008" y="138"/>
                  </a:lnTo>
                  <a:lnTo>
                    <a:pt x="1026" y="132"/>
                  </a:lnTo>
                  <a:lnTo>
                    <a:pt x="1044" y="126"/>
                  </a:lnTo>
                  <a:lnTo>
                    <a:pt x="1056" y="120"/>
                  </a:lnTo>
                  <a:lnTo>
                    <a:pt x="1062" y="108"/>
                  </a:lnTo>
                  <a:lnTo>
                    <a:pt x="1056" y="102"/>
                  </a:lnTo>
                  <a:lnTo>
                    <a:pt x="1062" y="96"/>
                  </a:lnTo>
                  <a:lnTo>
                    <a:pt x="1074" y="90"/>
                  </a:lnTo>
                  <a:lnTo>
                    <a:pt x="1080" y="84"/>
                  </a:lnTo>
                  <a:lnTo>
                    <a:pt x="1128" y="84"/>
                  </a:lnTo>
                  <a:lnTo>
                    <a:pt x="1134" y="84"/>
                  </a:lnTo>
                  <a:lnTo>
                    <a:pt x="1140" y="78"/>
                  </a:lnTo>
                  <a:lnTo>
                    <a:pt x="1152" y="72"/>
                  </a:lnTo>
                  <a:lnTo>
                    <a:pt x="1164" y="66"/>
                  </a:lnTo>
                  <a:lnTo>
                    <a:pt x="1170" y="60"/>
                  </a:lnTo>
                  <a:lnTo>
                    <a:pt x="1188" y="48"/>
                  </a:lnTo>
                  <a:lnTo>
                    <a:pt x="1200" y="36"/>
                  </a:lnTo>
                  <a:lnTo>
                    <a:pt x="1218" y="24"/>
                  </a:lnTo>
                  <a:lnTo>
                    <a:pt x="1248" y="24"/>
                  </a:lnTo>
                  <a:lnTo>
                    <a:pt x="1272" y="24"/>
                  </a:lnTo>
                  <a:lnTo>
                    <a:pt x="1284" y="12"/>
                  </a:lnTo>
                  <a:lnTo>
                    <a:pt x="1302" y="0"/>
                  </a:lnTo>
                  <a:lnTo>
                    <a:pt x="1314" y="0"/>
                  </a:lnTo>
                  <a:lnTo>
                    <a:pt x="1326" y="18"/>
                  </a:lnTo>
                  <a:lnTo>
                    <a:pt x="1338" y="30"/>
                  </a:lnTo>
                  <a:lnTo>
                    <a:pt x="1338" y="54"/>
                  </a:lnTo>
                  <a:lnTo>
                    <a:pt x="1332" y="72"/>
                  </a:lnTo>
                  <a:lnTo>
                    <a:pt x="1326" y="72"/>
                  </a:lnTo>
                  <a:lnTo>
                    <a:pt x="1326" y="78"/>
                  </a:lnTo>
                  <a:lnTo>
                    <a:pt x="1326" y="102"/>
                  </a:lnTo>
                  <a:lnTo>
                    <a:pt x="1332" y="102"/>
                  </a:lnTo>
                  <a:lnTo>
                    <a:pt x="1332" y="108"/>
                  </a:lnTo>
                  <a:lnTo>
                    <a:pt x="1344" y="114"/>
                  </a:lnTo>
                  <a:lnTo>
                    <a:pt x="1350" y="114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404" y="132"/>
                  </a:lnTo>
                  <a:lnTo>
                    <a:pt x="1404" y="138"/>
                  </a:lnTo>
                  <a:lnTo>
                    <a:pt x="1410" y="150"/>
                  </a:lnTo>
                  <a:lnTo>
                    <a:pt x="1416" y="162"/>
                  </a:lnTo>
                  <a:lnTo>
                    <a:pt x="1428" y="168"/>
                  </a:lnTo>
                  <a:lnTo>
                    <a:pt x="1440" y="180"/>
                  </a:lnTo>
                  <a:lnTo>
                    <a:pt x="1476" y="174"/>
                  </a:lnTo>
                  <a:lnTo>
                    <a:pt x="1494" y="174"/>
                  </a:lnTo>
                  <a:lnTo>
                    <a:pt x="1512" y="192"/>
                  </a:lnTo>
                  <a:lnTo>
                    <a:pt x="1518" y="204"/>
                  </a:lnTo>
                  <a:lnTo>
                    <a:pt x="1530" y="216"/>
                  </a:lnTo>
                  <a:lnTo>
                    <a:pt x="1548" y="228"/>
                  </a:lnTo>
                  <a:lnTo>
                    <a:pt x="1548" y="234"/>
                  </a:lnTo>
                  <a:lnTo>
                    <a:pt x="1542" y="246"/>
                  </a:lnTo>
                  <a:lnTo>
                    <a:pt x="1560" y="246"/>
                  </a:lnTo>
                  <a:lnTo>
                    <a:pt x="1560" y="252"/>
                  </a:lnTo>
                  <a:lnTo>
                    <a:pt x="1566" y="258"/>
                  </a:lnTo>
                  <a:lnTo>
                    <a:pt x="1578" y="270"/>
                  </a:lnTo>
                  <a:lnTo>
                    <a:pt x="1596" y="270"/>
                  </a:lnTo>
                  <a:lnTo>
                    <a:pt x="1602" y="288"/>
                  </a:lnTo>
                  <a:lnTo>
                    <a:pt x="1608" y="306"/>
                  </a:lnTo>
                  <a:lnTo>
                    <a:pt x="1608" y="318"/>
                  </a:lnTo>
                  <a:lnTo>
                    <a:pt x="1608" y="324"/>
                  </a:lnTo>
                  <a:lnTo>
                    <a:pt x="1614" y="330"/>
                  </a:lnTo>
                  <a:lnTo>
                    <a:pt x="1614" y="336"/>
                  </a:lnTo>
                  <a:lnTo>
                    <a:pt x="1614" y="342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08" y="390"/>
                  </a:lnTo>
                  <a:lnTo>
                    <a:pt x="1602" y="390"/>
                  </a:lnTo>
                  <a:lnTo>
                    <a:pt x="1602" y="396"/>
                  </a:lnTo>
                  <a:lnTo>
                    <a:pt x="1584" y="420"/>
                  </a:lnTo>
                  <a:lnTo>
                    <a:pt x="1584" y="426"/>
                  </a:lnTo>
                  <a:lnTo>
                    <a:pt x="1602" y="474"/>
                  </a:lnTo>
                  <a:lnTo>
                    <a:pt x="1608" y="480"/>
                  </a:lnTo>
                  <a:lnTo>
                    <a:pt x="1608" y="486"/>
                  </a:lnTo>
                  <a:lnTo>
                    <a:pt x="1614" y="486"/>
                  </a:lnTo>
                  <a:lnTo>
                    <a:pt x="1608" y="504"/>
                  </a:lnTo>
                  <a:lnTo>
                    <a:pt x="1572" y="504"/>
                  </a:lnTo>
                  <a:lnTo>
                    <a:pt x="1560" y="510"/>
                  </a:lnTo>
                  <a:lnTo>
                    <a:pt x="1554" y="522"/>
                  </a:lnTo>
                  <a:lnTo>
                    <a:pt x="1560" y="552"/>
                  </a:lnTo>
                  <a:lnTo>
                    <a:pt x="1566" y="552"/>
                  </a:lnTo>
                  <a:lnTo>
                    <a:pt x="1566" y="558"/>
                  </a:lnTo>
                  <a:lnTo>
                    <a:pt x="1572" y="558"/>
                  </a:lnTo>
                  <a:lnTo>
                    <a:pt x="1578" y="558"/>
                  </a:lnTo>
                  <a:lnTo>
                    <a:pt x="1578" y="552"/>
                  </a:lnTo>
                  <a:lnTo>
                    <a:pt x="1584" y="552"/>
                  </a:lnTo>
                  <a:lnTo>
                    <a:pt x="1590" y="552"/>
                  </a:lnTo>
                  <a:lnTo>
                    <a:pt x="1590" y="546"/>
                  </a:lnTo>
                  <a:lnTo>
                    <a:pt x="1596" y="546"/>
                  </a:lnTo>
                  <a:lnTo>
                    <a:pt x="1602" y="552"/>
                  </a:lnTo>
                  <a:lnTo>
                    <a:pt x="1602" y="546"/>
                  </a:lnTo>
                  <a:lnTo>
                    <a:pt x="1608" y="546"/>
                  </a:lnTo>
                  <a:lnTo>
                    <a:pt x="1608" y="552"/>
                  </a:lnTo>
                  <a:lnTo>
                    <a:pt x="1614" y="552"/>
                  </a:lnTo>
                  <a:lnTo>
                    <a:pt x="1614" y="546"/>
                  </a:lnTo>
                  <a:lnTo>
                    <a:pt x="1620" y="552"/>
                  </a:lnTo>
                  <a:lnTo>
                    <a:pt x="1626" y="552"/>
                  </a:lnTo>
                  <a:lnTo>
                    <a:pt x="1626" y="558"/>
                  </a:lnTo>
                  <a:lnTo>
                    <a:pt x="1632" y="558"/>
                  </a:lnTo>
                  <a:lnTo>
                    <a:pt x="1638" y="558"/>
                  </a:lnTo>
                  <a:lnTo>
                    <a:pt x="1644" y="558"/>
                  </a:lnTo>
                  <a:lnTo>
                    <a:pt x="1650" y="558"/>
                  </a:lnTo>
                  <a:lnTo>
                    <a:pt x="1650" y="564"/>
                  </a:lnTo>
                  <a:lnTo>
                    <a:pt x="1656" y="564"/>
                  </a:lnTo>
                  <a:lnTo>
                    <a:pt x="1662" y="564"/>
                  </a:lnTo>
                  <a:lnTo>
                    <a:pt x="1668" y="564"/>
                  </a:lnTo>
                  <a:lnTo>
                    <a:pt x="1668" y="570"/>
                  </a:lnTo>
                  <a:lnTo>
                    <a:pt x="1674" y="570"/>
                  </a:lnTo>
                  <a:lnTo>
                    <a:pt x="1680" y="570"/>
                  </a:lnTo>
                  <a:lnTo>
                    <a:pt x="1686" y="576"/>
                  </a:lnTo>
                  <a:lnTo>
                    <a:pt x="1686" y="582"/>
                  </a:lnTo>
                  <a:lnTo>
                    <a:pt x="1710" y="588"/>
                  </a:lnTo>
                  <a:lnTo>
                    <a:pt x="1710" y="594"/>
                  </a:lnTo>
                  <a:lnTo>
                    <a:pt x="1704" y="600"/>
                  </a:lnTo>
                  <a:lnTo>
                    <a:pt x="1710" y="624"/>
                  </a:lnTo>
                  <a:lnTo>
                    <a:pt x="1698" y="672"/>
                  </a:lnTo>
                  <a:lnTo>
                    <a:pt x="1704" y="678"/>
                  </a:lnTo>
                  <a:lnTo>
                    <a:pt x="1716" y="684"/>
                  </a:lnTo>
                  <a:lnTo>
                    <a:pt x="1716" y="678"/>
                  </a:lnTo>
                  <a:lnTo>
                    <a:pt x="1716" y="684"/>
                  </a:lnTo>
                  <a:lnTo>
                    <a:pt x="1728" y="684"/>
                  </a:lnTo>
                  <a:lnTo>
                    <a:pt x="1728" y="690"/>
                  </a:lnTo>
                  <a:lnTo>
                    <a:pt x="1734" y="696"/>
                  </a:lnTo>
                  <a:lnTo>
                    <a:pt x="1734" y="702"/>
                  </a:lnTo>
                  <a:lnTo>
                    <a:pt x="1740" y="708"/>
                  </a:lnTo>
                  <a:lnTo>
                    <a:pt x="1740" y="714"/>
                  </a:lnTo>
                  <a:lnTo>
                    <a:pt x="1710" y="714"/>
                  </a:lnTo>
                  <a:lnTo>
                    <a:pt x="1710" y="756"/>
                  </a:lnTo>
                  <a:lnTo>
                    <a:pt x="1704" y="762"/>
                  </a:lnTo>
                  <a:lnTo>
                    <a:pt x="1698" y="762"/>
                  </a:lnTo>
                  <a:lnTo>
                    <a:pt x="1698" y="768"/>
                  </a:lnTo>
                  <a:lnTo>
                    <a:pt x="1698" y="774"/>
                  </a:lnTo>
                  <a:lnTo>
                    <a:pt x="1692" y="780"/>
                  </a:lnTo>
                  <a:lnTo>
                    <a:pt x="1692" y="786"/>
                  </a:lnTo>
                  <a:lnTo>
                    <a:pt x="1686" y="786"/>
                  </a:lnTo>
                  <a:lnTo>
                    <a:pt x="1668" y="798"/>
                  </a:lnTo>
                  <a:lnTo>
                    <a:pt x="1662" y="810"/>
                  </a:lnTo>
                  <a:lnTo>
                    <a:pt x="1650" y="810"/>
                  </a:lnTo>
                  <a:lnTo>
                    <a:pt x="1644" y="816"/>
                  </a:lnTo>
                  <a:lnTo>
                    <a:pt x="1638" y="816"/>
                  </a:lnTo>
                  <a:lnTo>
                    <a:pt x="1626" y="852"/>
                  </a:lnTo>
                  <a:lnTo>
                    <a:pt x="1620" y="888"/>
                  </a:lnTo>
                  <a:lnTo>
                    <a:pt x="1626" y="888"/>
                  </a:lnTo>
                  <a:lnTo>
                    <a:pt x="1638" y="912"/>
                  </a:lnTo>
                  <a:lnTo>
                    <a:pt x="1644" y="918"/>
                  </a:lnTo>
                  <a:lnTo>
                    <a:pt x="1650" y="966"/>
                  </a:lnTo>
                  <a:lnTo>
                    <a:pt x="1626" y="972"/>
                  </a:lnTo>
                  <a:lnTo>
                    <a:pt x="1608" y="978"/>
                  </a:lnTo>
                  <a:lnTo>
                    <a:pt x="1614" y="984"/>
                  </a:lnTo>
                  <a:lnTo>
                    <a:pt x="1620" y="984"/>
                  </a:lnTo>
                  <a:lnTo>
                    <a:pt x="1620" y="1020"/>
                  </a:lnTo>
                  <a:lnTo>
                    <a:pt x="1614" y="1038"/>
                  </a:lnTo>
                  <a:lnTo>
                    <a:pt x="1620" y="1044"/>
                  </a:lnTo>
                  <a:lnTo>
                    <a:pt x="1626" y="1056"/>
                  </a:lnTo>
                  <a:lnTo>
                    <a:pt x="1626" y="1074"/>
                  </a:lnTo>
                  <a:lnTo>
                    <a:pt x="1620" y="1080"/>
                  </a:lnTo>
                  <a:lnTo>
                    <a:pt x="1620" y="1104"/>
                  </a:lnTo>
                  <a:lnTo>
                    <a:pt x="1620" y="1110"/>
                  </a:lnTo>
                  <a:lnTo>
                    <a:pt x="1614" y="1116"/>
                  </a:lnTo>
                  <a:lnTo>
                    <a:pt x="1608" y="1140"/>
                  </a:lnTo>
                  <a:lnTo>
                    <a:pt x="1602" y="1146"/>
                  </a:lnTo>
                  <a:lnTo>
                    <a:pt x="1602" y="1164"/>
                  </a:lnTo>
                  <a:lnTo>
                    <a:pt x="1596" y="1170"/>
                  </a:lnTo>
                  <a:lnTo>
                    <a:pt x="1590" y="1164"/>
                  </a:lnTo>
                  <a:lnTo>
                    <a:pt x="1584" y="1164"/>
                  </a:lnTo>
                  <a:lnTo>
                    <a:pt x="1578" y="1164"/>
                  </a:lnTo>
                  <a:lnTo>
                    <a:pt x="1578" y="1188"/>
                  </a:lnTo>
                  <a:lnTo>
                    <a:pt x="1584" y="1194"/>
                  </a:lnTo>
                  <a:lnTo>
                    <a:pt x="1590" y="1194"/>
                  </a:lnTo>
                  <a:lnTo>
                    <a:pt x="1590" y="1212"/>
                  </a:lnTo>
                  <a:lnTo>
                    <a:pt x="1584" y="1212"/>
                  </a:lnTo>
                  <a:lnTo>
                    <a:pt x="1584" y="1224"/>
                  </a:lnTo>
                  <a:lnTo>
                    <a:pt x="1578" y="1224"/>
                  </a:lnTo>
                  <a:lnTo>
                    <a:pt x="1578" y="1236"/>
                  </a:lnTo>
                  <a:lnTo>
                    <a:pt x="1584" y="1254"/>
                  </a:lnTo>
                  <a:lnTo>
                    <a:pt x="1584" y="1260"/>
                  </a:lnTo>
                  <a:lnTo>
                    <a:pt x="1590" y="1260"/>
                  </a:lnTo>
                  <a:lnTo>
                    <a:pt x="1590" y="1266"/>
                  </a:lnTo>
                  <a:lnTo>
                    <a:pt x="1596" y="1284"/>
                  </a:lnTo>
                  <a:lnTo>
                    <a:pt x="1602" y="1278"/>
                  </a:lnTo>
                  <a:lnTo>
                    <a:pt x="1608" y="1284"/>
                  </a:lnTo>
                  <a:lnTo>
                    <a:pt x="1632" y="1350"/>
                  </a:lnTo>
                  <a:lnTo>
                    <a:pt x="1638" y="1356"/>
                  </a:lnTo>
                  <a:lnTo>
                    <a:pt x="1644" y="1356"/>
                  </a:lnTo>
                  <a:lnTo>
                    <a:pt x="1650" y="1356"/>
                  </a:lnTo>
                  <a:lnTo>
                    <a:pt x="1656" y="1356"/>
                  </a:lnTo>
                  <a:lnTo>
                    <a:pt x="1662" y="1362"/>
                  </a:lnTo>
                  <a:lnTo>
                    <a:pt x="1668" y="1356"/>
                  </a:lnTo>
                  <a:lnTo>
                    <a:pt x="1668" y="1380"/>
                  </a:lnTo>
                  <a:lnTo>
                    <a:pt x="1662" y="1392"/>
                  </a:lnTo>
                  <a:lnTo>
                    <a:pt x="1656" y="1404"/>
                  </a:lnTo>
                  <a:lnTo>
                    <a:pt x="1656" y="1410"/>
                  </a:lnTo>
                  <a:lnTo>
                    <a:pt x="1656" y="1416"/>
                  </a:lnTo>
                  <a:lnTo>
                    <a:pt x="1650" y="1422"/>
                  </a:lnTo>
                  <a:lnTo>
                    <a:pt x="1650" y="1428"/>
                  </a:lnTo>
                  <a:lnTo>
                    <a:pt x="1644" y="1428"/>
                  </a:lnTo>
                  <a:lnTo>
                    <a:pt x="1644" y="1434"/>
                  </a:lnTo>
                  <a:lnTo>
                    <a:pt x="1638" y="1434"/>
                  </a:lnTo>
                  <a:lnTo>
                    <a:pt x="1638" y="1440"/>
                  </a:lnTo>
                  <a:lnTo>
                    <a:pt x="1632" y="1440"/>
                  </a:lnTo>
                  <a:lnTo>
                    <a:pt x="1638" y="145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8" name="Freeform 13">
              <a:extLst>
                <a:ext uri="{FF2B5EF4-FFF2-40B4-BE49-F238E27FC236}">
                  <a16:creationId xmlns:a16="http://schemas.microsoft.com/office/drawing/2014/main" id="{66308D9B-1739-4227-AAC3-BB866CD1F5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63374" y="2969626"/>
              <a:ext cx="330956" cy="357840"/>
            </a:xfrm>
            <a:custGeom>
              <a:avLst/>
              <a:gdLst>
                <a:gd name="T0" fmla="*/ 11 w 624"/>
                <a:gd name="T1" fmla="*/ 59 h 672"/>
                <a:gd name="T2" fmla="*/ 4 w 624"/>
                <a:gd name="T3" fmla="*/ 58 h 672"/>
                <a:gd name="T4" fmla="*/ 3 w 624"/>
                <a:gd name="T5" fmla="*/ 58 h 672"/>
                <a:gd name="T6" fmla="*/ 2 w 624"/>
                <a:gd name="T7" fmla="*/ 11 h 672"/>
                <a:gd name="T8" fmla="*/ 13 w 624"/>
                <a:gd name="T9" fmla="*/ 11 h 672"/>
                <a:gd name="T10" fmla="*/ 14 w 624"/>
                <a:gd name="T11" fmla="*/ 11 h 672"/>
                <a:gd name="T12" fmla="*/ 15 w 624"/>
                <a:gd name="T13" fmla="*/ 12 h 672"/>
                <a:gd name="T14" fmla="*/ 18 w 624"/>
                <a:gd name="T15" fmla="*/ 14 h 672"/>
                <a:gd name="T16" fmla="*/ 21 w 624"/>
                <a:gd name="T17" fmla="*/ 16 h 672"/>
                <a:gd name="T18" fmla="*/ 22 w 624"/>
                <a:gd name="T19" fmla="*/ 18 h 672"/>
                <a:gd name="T20" fmla="*/ 23 w 624"/>
                <a:gd name="T21" fmla="*/ 19 h 672"/>
                <a:gd name="T22" fmla="*/ 24 w 624"/>
                <a:gd name="T23" fmla="*/ 19 h 672"/>
                <a:gd name="T24" fmla="*/ 26 w 624"/>
                <a:gd name="T25" fmla="*/ 19 h 672"/>
                <a:gd name="T26" fmla="*/ 27 w 624"/>
                <a:gd name="T27" fmla="*/ 18 h 672"/>
                <a:gd name="T28" fmla="*/ 29 w 624"/>
                <a:gd name="T29" fmla="*/ 15 h 672"/>
                <a:gd name="T30" fmla="*/ 30 w 624"/>
                <a:gd name="T31" fmla="*/ 14 h 672"/>
                <a:gd name="T32" fmla="*/ 31 w 624"/>
                <a:gd name="T33" fmla="*/ 12 h 672"/>
                <a:gd name="T34" fmla="*/ 32 w 624"/>
                <a:gd name="T35" fmla="*/ 12 h 672"/>
                <a:gd name="T36" fmla="*/ 33 w 624"/>
                <a:gd name="T37" fmla="*/ 10 h 672"/>
                <a:gd name="T38" fmla="*/ 34 w 624"/>
                <a:gd name="T39" fmla="*/ 8 h 672"/>
                <a:gd name="T40" fmla="*/ 34 w 624"/>
                <a:gd name="T41" fmla="*/ 6 h 672"/>
                <a:gd name="T42" fmla="*/ 35 w 624"/>
                <a:gd name="T43" fmla="*/ 4 h 672"/>
                <a:gd name="T44" fmla="*/ 42 w 624"/>
                <a:gd name="T45" fmla="*/ 3 h 672"/>
                <a:gd name="T46" fmla="*/ 44 w 624"/>
                <a:gd name="T47" fmla="*/ 2 h 672"/>
                <a:gd name="T48" fmla="*/ 46 w 624"/>
                <a:gd name="T49" fmla="*/ 0 h 672"/>
                <a:gd name="T50" fmla="*/ 51 w 624"/>
                <a:gd name="T51" fmla="*/ 3 h 672"/>
                <a:gd name="T52" fmla="*/ 54 w 624"/>
                <a:gd name="T53" fmla="*/ 6 h 672"/>
                <a:gd name="T54" fmla="*/ 54 w 624"/>
                <a:gd name="T55" fmla="*/ 8 h 672"/>
                <a:gd name="T56" fmla="*/ 52 w 624"/>
                <a:gd name="T57" fmla="*/ 9 h 672"/>
                <a:gd name="T58" fmla="*/ 49 w 624"/>
                <a:gd name="T59" fmla="*/ 11 h 672"/>
                <a:gd name="T60" fmla="*/ 48 w 624"/>
                <a:gd name="T61" fmla="*/ 14 h 672"/>
                <a:gd name="T62" fmla="*/ 46 w 624"/>
                <a:gd name="T63" fmla="*/ 22 h 672"/>
                <a:gd name="T64" fmla="*/ 45 w 624"/>
                <a:gd name="T65" fmla="*/ 39 h 672"/>
                <a:gd name="T66" fmla="*/ 43 w 624"/>
                <a:gd name="T67" fmla="*/ 43 h 672"/>
                <a:gd name="T68" fmla="*/ 39 w 624"/>
                <a:gd name="T69" fmla="*/ 50 h 672"/>
                <a:gd name="T70" fmla="*/ 36 w 624"/>
                <a:gd name="T71" fmla="*/ 53 h 672"/>
                <a:gd name="T72" fmla="*/ 32 w 624"/>
                <a:gd name="T73" fmla="*/ 56 h 672"/>
                <a:gd name="T74" fmla="*/ 30 w 624"/>
                <a:gd name="T75" fmla="*/ 58 h 672"/>
                <a:gd name="T76" fmla="*/ 20 w 624"/>
                <a:gd name="T77" fmla="*/ 59 h 672"/>
                <a:gd name="T78" fmla="*/ 15 w 624"/>
                <a:gd name="T79" fmla="*/ 59 h 67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24"/>
                <a:gd name="T121" fmla="*/ 0 h 672"/>
                <a:gd name="T122" fmla="*/ 624 w 624"/>
                <a:gd name="T123" fmla="*/ 672 h 67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24" h="672">
                  <a:moveTo>
                    <a:pt x="168" y="672"/>
                  </a:moveTo>
                  <a:lnTo>
                    <a:pt x="132" y="672"/>
                  </a:lnTo>
                  <a:lnTo>
                    <a:pt x="72" y="666"/>
                  </a:lnTo>
                  <a:lnTo>
                    <a:pt x="42" y="666"/>
                  </a:lnTo>
                  <a:lnTo>
                    <a:pt x="36" y="666"/>
                  </a:lnTo>
                  <a:lnTo>
                    <a:pt x="30" y="660"/>
                  </a:lnTo>
                  <a:lnTo>
                    <a:pt x="0" y="660"/>
                  </a:lnTo>
                  <a:lnTo>
                    <a:pt x="24" y="120"/>
                  </a:lnTo>
                  <a:lnTo>
                    <a:pt x="60" y="120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62" y="120"/>
                  </a:lnTo>
                  <a:lnTo>
                    <a:pt x="168" y="120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10" y="156"/>
                  </a:lnTo>
                  <a:lnTo>
                    <a:pt x="222" y="174"/>
                  </a:lnTo>
                  <a:lnTo>
                    <a:pt x="240" y="186"/>
                  </a:lnTo>
                  <a:lnTo>
                    <a:pt x="252" y="198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216"/>
                  </a:lnTo>
                  <a:lnTo>
                    <a:pt x="270" y="216"/>
                  </a:lnTo>
                  <a:lnTo>
                    <a:pt x="282" y="222"/>
                  </a:lnTo>
                  <a:lnTo>
                    <a:pt x="288" y="222"/>
                  </a:lnTo>
                  <a:lnTo>
                    <a:pt x="294" y="216"/>
                  </a:lnTo>
                  <a:lnTo>
                    <a:pt x="294" y="210"/>
                  </a:lnTo>
                  <a:lnTo>
                    <a:pt x="312" y="204"/>
                  </a:lnTo>
                  <a:lnTo>
                    <a:pt x="330" y="186"/>
                  </a:lnTo>
                  <a:lnTo>
                    <a:pt x="336" y="174"/>
                  </a:lnTo>
                  <a:lnTo>
                    <a:pt x="342" y="162"/>
                  </a:lnTo>
                  <a:lnTo>
                    <a:pt x="342" y="156"/>
                  </a:lnTo>
                  <a:lnTo>
                    <a:pt x="348" y="150"/>
                  </a:lnTo>
                  <a:lnTo>
                    <a:pt x="354" y="144"/>
                  </a:lnTo>
                  <a:lnTo>
                    <a:pt x="360" y="138"/>
                  </a:lnTo>
                  <a:lnTo>
                    <a:pt x="366" y="132"/>
                  </a:lnTo>
                  <a:lnTo>
                    <a:pt x="372" y="114"/>
                  </a:lnTo>
                  <a:lnTo>
                    <a:pt x="378" y="114"/>
                  </a:lnTo>
                  <a:lnTo>
                    <a:pt x="378" y="96"/>
                  </a:lnTo>
                  <a:lnTo>
                    <a:pt x="390" y="96"/>
                  </a:lnTo>
                  <a:lnTo>
                    <a:pt x="396" y="84"/>
                  </a:lnTo>
                  <a:lnTo>
                    <a:pt x="396" y="72"/>
                  </a:lnTo>
                  <a:lnTo>
                    <a:pt x="396" y="54"/>
                  </a:lnTo>
                  <a:lnTo>
                    <a:pt x="408" y="42"/>
                  </a:lnTo>
                  <a:lnTo>
                    <a:pt x="468" y="42"/>
                  </a:lnTo>
                  <a:lnTo>
                    <a:pt x="486" y="36"/>
                  </a:lnTo>
                  <a:lnTo>
                    <a:pt x="492" y="24"/>
                  </a:lnTo>
                  <a:lnTo>
                    <a:pt x="504" y="24"/>
                  </a:lnTo>
                  <a:lnTo>
                    <a:pt x="516" y="6"/>
                  </a:lnTo>
                  <a:lnTo>
                    <a:pt x="528" y="0"/>
                  </a:lnTo>
                  <a:lnTo>
                    <a:pt x="558" y="12"/>
                  </a:lnTo>
                  <a:lnTo>
                    <a:pt x="588" y="36"/>
                  </a:lnTo>
                  <a:lnTo>
                    <a:pt x="600" y="66"/>
                  </a:lnTo>
                  <a:lnTo>
                    <a:pt x="624" y="66"/>
                  </a:lnTo>
                  <a:lnTo>
                    <a:pt x="624" y="90"/>
                  </a:lnTo>
                  <a:lnTo>
                    <a:pt x="618" y="90"/>
                  </a:lnTo>
                  <a:lnTo>
                    <a:pt x="618" y="96"/>
                  </a:lnTo>
                  <a:lnTo>
                    <a:pt x="600" y="102"/>
                  </a:lnTo>
                  <a:lnTo>
                    <a:pt x="588" y="108"/>
                  </a:lnTo>
                  <a:lnTo>
                    <a:pt x="570" y="120"/>
                  </a:lnTo>
                  <a:lnTo>
                    <a:pt x="564" y="138"/>
                  </a:lnTo>
                  <a:lnTo>
                    <a:pt x="558" y="162"/>
                  </a:lnTo>
                  <a:lnTo>
                    <a:pt x="540" y="210"/>
                  </a:lnTo>
                  <a:lnTo>
                    <a:pt x="528" y="252"/>
                  </a:lnTo>
                  <a:lnTo>
                    <a:pt x="528" y="402"/>
                  </a:lnTo>
                  <a:lnTo>
                    <a:pt x="522" y="444"/>
                  </a:lnTo>
                  <a:lnTo>
                    <a:pt x="510" y="468"/>
                  </a:lnTo>
                  <a:lnTo>
                    <a:pt x="498" y="498"/>
                  </a:lnTo>
                  <a:lnTo>
                    <a:pt x="474" y="534"/>
                  </a:lnTo>
                  <a:lnTo>
                    <a:pt x="456" y="570"/>
                  </a:lnTo>
                  <a:lnTo>
                    <a:pt x="444" y="576"/>
                  </a:lnTo>
                  <a:lnTo>
                    <a:pt x="420" y="606"/>
                  </a:lnTo>
                  <a:lnTo>
                    <a:pt x="390" y="624"/>
                  </a:lnTo>
                  <a:lnTo>
                    <a:pt x="372" y="642"/>
                  </a:lnTo>
                  <a:lnTo>
                    <a:pt x="366" y="654"/>
                  </a:lnTo>
                  <a:lnTo>
                    <a:pt x="342" y="660"/>
                  </a:lnTo>
                  <a:lnTo>
                    <a:pt x="300" y="666"/>
                  </a:lnTo>
                  <a:lnTo>
                    <a:pt x="234" y="672"/>
                  </a:lnTo>
                  <a:lnTo>
                    <a:pt x="192" y="672"/>
                  </a:lnTo>
                  <a:lnTo>
                    <a:pt x="168" y="672"/>
                  </a:lnTo>
                  <a:close/>
                </a:path>
              </a:pathLst>
            </a:custGeom>
            <a:solidFill>
              <a:srgbClr val="2A4F1D"/>
            </a:solidFill>
            <a:ln w="952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9" name="Freeform 14">
              <a:extLst>
                <a:ext uri="{FF2B5EF4-FFF2-40B4-BE49-F238E27FC236}">
                  <a16:creationId xmlns:a16="http://schemas.microsoft.com/office/drawing/2014/main" id="{2EA1E999-9CDF-4391-8BC9-7DE71AF9C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0460" y="2983045"/>
              <a:ext cx="905658" cy="561362"/>
            </a:xfrm>
            <a:custGeom>
              <a:avLst/>
              <a:gdLst>
                <a:gd name="T0" fmla="*/ 31 w 1704"/>
                <a:gd name="T1" fmla="*/ 78 h 1056"/>
                <a:gd name="T2" fmla="*/ 23 w 1704"/>
                <a:gd name="T3" fmla="*/ 78 h 1056"/>
                <a:gd name="T4" fmla="*/ 11 w 1704"/>
                <a:gd name="T5" fmla="*/ 79 h 1056"/>
                <a:gd name="T6" fmla="*/ 1 w 1704"/>
                <a:gd name="T7" fmla="*/ 81 h 1056"/>
                <a:gd name="T8" fmla="*/ 0 w 1704"/>
                <a:gd name="T9" fmla="*/ 62 h 1056"/>
                <a:gd name="T10" fmla="*/ 9 w 1704"/>
                <a:gd name="T11" fmla="*/ 56 h 1056"/>
                <a:gd name="T12" fmla="*/ 27 w 1704"/>
                <a:gd name="T13" fmla="*/ 48 h 1056"/>
                <a:gd name="T14" fmla="*/ 35 w 1704"/>
                <a:gd name="T15" fmla="*/ 20 h 1056"/>
                <a:gd name="T16" fmla="*/ 43 w 1704"/>
                <a:gd name="T17" fmla="*/ 6 h 1056"/>
                <a:gd name="T18" fmla="*/ 47 w 1704"/>
                <a:gd name="T19" fmla="*/ 7 h 1056"/>
                <a:gd name="T20" fmla="*/ 52 w 1704"/>
                <a:gd name="T21" fmla="*/ 0 h 1056"/>
                <a:gd name="T22" fmla="*/ 59 w 1704"/>
                <a:gd name="T23" fmla="*/ 5 h 1056"/>
                <a:gd name="T24" fmla="*/ 63 w 1704"/>
                <a:gd name="T25" fmla="*/ 12 h 1056"/>
                <a:gd name="T26" fmla="*/ 62 w 1704"/>
                <a:gd name="T27" fmla="*/ 15 h 1056"/>
                <a:gd name="T28" fmla="*/ 62 w 1704"/>
                <a:gd name="T29" fmla="*/ 18 h 1056"/>
                <a:gd name="T30" fmla="*/ 70 w 1704"/>
                <a:gd name="T31" fmla="*/ 18 h 1056"/>
                <a:gd name="T32" fmla="*/ 71 w 1704"/>
                <a:gd name="T33" fmla="*/ 14 h 1056"/>
                <a:gd name="T34" fmla="*/ 72 w 1704"/>
                <a:gd name="T35" fmla="*/ 12 h 1056"/>
                <a:gd name="T36" fmla="*/ 78 w 1704"/>
                <a:gd name="T37" fmla="*/ 14 h 1056"/>
                <a:gd name="T38" fmla="*/ 85 w 1704"/>
                <a:gd name="T39" fmla="*/ 21 h 1056"/>
                <a:gd name="T40" fmla="*/ 91 w 1704"/>
                <a:gd name="T41" fmla="*/ 15 h 1056"/>
                <a:gd name="T42" fmla="*/ 93 w 1704"/>
                <a:gd name="T43" fmla="*/ 10 h 1056"/>
                <a:gd name="T44" fmla="*/ 101 w 1704"/>
                <a:gd name="T45" fmla="*/ 14 h 1056"/>
                <a:gd name="T46" fmla="*/ 103 w 1704"/>
                <a:gd name="T47" fmla="*/ 19 h 1056"/>
                <a:gd name="T48" fmla="*/ 115 w 1704"/>
                <a:gd name="T49" fmla="*/ 20 h 1056"/>
                <a:gd name="T50" fmla="*/ 118 w 1704"/>
                <a:gd name="T51" fmla="*/ 23 h 1056"/>
                <a:gd name="T52" fmla="*/ 117 w 1704"/>
                <a:gd name="T53" fmla="*/ 27 h 1056"/>
                <a:gd name="T54" fmla="*/ 111 w 1704"/>
                <a:gd name="T55" fmla="*/ 33 h 1056"/>
                <a:gd name="T56" fmla="*/ 108 w 1704"/>
                <a:gd name="T57" fmla="*/ 36 h 1056"/>
                <a:gd name="T58" fmla="*/ 109 w 1704"/>
                <a:gd name="T59" fmla="*/ 40 h 1056"/>
                <a:gd name="T60" fmla="*/ 111 w 1704"/>
                <a:gd name="T61" fmla="*/ 43 h 1056"/>
                <a:gd name="T62" fmla="*/ 113 w 1704"/>
                <a:gd name="T63" fmla="*/ 50 h 1056"/>
                <a:gd name="T64" fmla="*/ 121 w 1704"/>
                <a:gd name="T65" fmla="*/ 55 h 1056"/>
                <a:gd name="T66" fmla="*/ 132 w 1704"/>
                <a:gd name="T67" fmla="*/ 52 h 1056"/>
                <a:gd name="T68" fmla="*/ 148 w 1704"/>
                <a:gd name="T69" fmla="*/ 58 h 1056"/>
                <a:gd name="T70" fmla="*/ 148 w 1704"/>
                <a:gd name="T71" fmla="*/ 61 h 1056"/>
                <a:gd name="T72" fmla="*/ 148 w 1704"/>
                <a:gd name="T73" fmla="*/ 64 h 1056"/>
                <a:gd name="T74" fmla="*/ 135 w 1704"/>
                <a:gd name="T75" fmla="*/ 61 h 1056"/>
                <a:gd name="T76" fmla="*/ 135 w 1704"/>
                <a:gd name="T77" fmla="*/ 66 h 1056"/>
                <a:gd name="T78" fmla="*/ 137 w 1704"/>
                <a:gd name="T79" fmla="*/ 71 h 1056"/>
                <a:gd name="T80" fmla="*/ 136 w 1704"/>
                <a:gd name="T81" fmla="*/ 79 h 1056"/>
                <a:gd name="T82" fmla="*/ 126 w 1704"/>
                <a:gd name="T83" fmla="*/ 84 h 1056"/>
                <a:gd name="T84" fmla="*/ 121 w 1704"/>
                <a:gd name="T85" fmla="*/ 79 h 1056"/>
                <a:gd name="T86" fmla="*/ 117 w 1704"/>
                <a:gd name="T87" fmla="*/ 75 h 1056"/>
                <a:gd name="T88" fmla="*/ 98 w 1704"/>
                <a:gd name="T89" fmla="*/ 74 h 1056"/>
                <a:gd name="T90" fmla="*/ 81 w 1704"/>
                <a:gd name="T91" fmla="*/ 75 h 1056"/>
                <a:gd name="T92" fmla="*/ 83 w 1704"/>
                <a:gd name="T93" fmla="*/ 88 h 1056"/>
                <a:gd name="T94" fmla="*/ 82 w 1704"/>
                <a:gd name="T95" fmla="*/ 91 h 1056"/>
                <a:gd name="T96" fmla="*/ 77 w 1704"/>
                <a:gd name="T97" fmla="*/ 90 h 1056"/>
                <a:gd name="T98" fmla="*/ 73 w 1704"/>
                <a:gd name="T99" fmla="*/ 86 h 1056"/>
                <a:gd name="T100" fmla="*/ 68 w 1704"/>
                <a:gd name="T101" fmla="*/ 85 h 1056"/>
                <a:gd name="T102" fmla="*/ 64 w 1704"/>
                <a:gd name="T103" fmla="*/ 83 h 1056"/>
                <a:gd name="T104" fmla="*/ 57 w 1704"/>
                <a:gd name="T105" fmla="*/ 81 h 1056"/>
                <a:gd name="T106" fmla="*/ 52 w 1704"/>
                <a:gd name="T107" fmla="*/ 80 h 1056"/>
                <a:gd name="T108" fmla="*/ 50 w 1704"/>
                <a:gd name="T109" fmla="*/ 80 h 1056"/>
                <a:gd name="T110" fmla="*/ 46 w 1704"/>
                <a:gd name="T111" fmla="*/ 79 h 1056"/>
                <a:gd name="T112" fmla="*/ 41 w 1704"/>
                <a:gd name="T113" fmla="*/ 78 h 10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04"/>
                <a:gd name="T172" fmla="*/ 0 h 1056"/>
                <a:gd name="T173" fmla="*/ 1704 w 1704"/>
                <a:gd name="T174" fmla="*/ 1056 h 10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04" h="1056">
                  <a:moveTo>
                    <a:pt x="450" y="888"/>
                  </a:moveTo>
                  <a:lnTo>
                    <a:pt x="420" y="888"/>
                  </a:lnTo>
                  <a:lnTo>
                    <a:pt x="414" y="888"/>
                  </a:lnTo>
                  <a:lnTo>
                    <a:pt x="396" y="888"/>
                  </a:lnTo>
                  <a:lnTo>
                    <a:pt x="372" y="888"/>
                  </a:lnTo>
                  <a:lnTo>
                    <a:pt x="366" y="888"/>
                  </a:lnTo>
                  <a:lnTo>
                    <a:pt x="360" y="888"/>
                  </a:lnTo>
                  <a:lnTo>
                    <a:pt x="348" y="888"/>
                  </a:lnTo>
                  <a:lnTo>
                    <a:pt x="330" y="894"/>
                  </a:lnTo>
                  <a:lnTo>
                    <a:pt x="324" y="894"/>
                  </a:lnTo>
                  <a:lnTo>
                    <a:pt x="312" y="888"/>
                  </a:lnTo>
                  <a:lnTo>
                    <a:pt x="300" y="888"/>
                  </a:lnTo>
                  <a:lnTo>
                    <a:pt x="282" y="888"/>
                  </a:lnTo>
                  <a:lnTo>
                    <a:pt x="270" y="888"/>
                  </a:lnTo>
                  <a:lnTo>
                    <a:pt x="240" y="882"/>
                  </a:lnTo>
                  <a:lnTo>
                    <a:pt x="222" y="882"/>
                  </a:lnTo>
                  <a:lnTo>
                    <a:pt x="198" y="882"/>
                  </a:lnTo>
                  <a:lnTo>
                    <a:pt x="174" y="894"/>
                  </a:lnTo>
                  <a:lnTo>
                    <a:pt x="162" y="900"/>
                  </a:lnTo>
                  <a:lnTo>
                    <a:pt x="144" y="906"/>
                  </a:lnTo>
                  <a:lnTo>
                    <a:pt x="126" y="912"/>
                  </a:lnTo>
                  <a:lnTo>
                    <a:pt x="102" y="924"/>
                  </a:lnTo>
                  <a:lnTo>
                    <a:pt x="78" y="930"/>
                  </a:lnTo>
                  <a:lnTo>
                    <a:pt x="72" y="936"/>
                  </a:lnTo>
                  <a:lnTo>
                    <a:pt x="30" y="954"/>
                  </a:lnTo>
                  <a:lnTo>
                    <a:pt x="12" y="966"/>
                  </a:lnTo>
                  <a:lnTo>
                    <a:pt x="12" y="954"/>
                  </a:lnTo>
                  <a:lnTo>
                    <a:pt x="12" y="930"/>
                  </a:lnTo>
                  <a:lnTo>
                    <a:pt x="12" y="894"/>
                  </a:lnTo>
                  <a:lnTo>
                    <a:pt x="30" y="828"/>
                  </a:lnTo>
                  <a:lnTo>
                    <a:pt x="36" y="798"/>
                  </a:lnTo>
                  <a:lnTo>
                    <a:pt x="18" y="774"/>
                  </a:lnTo>
                  <a:lnTo>
                    <a:pt x="18" y="756"/>
                  </a:lnTo>
                  <a:lnTo>
                    <a:pt x="6" y="738"/>
                  </a:lnTo>
                  <a:lnTo>
                    <a:pt x="0" y="714"/>
                  </a:lnTo>
                  <a:lnTo>
                    <a:pt x="12" y="678"/>
                  </a:lnTo>
                  <a:lnTo>
                    <a:pt x="18" y="678"/>
                  </a:lnTo>
                  <a:lnTo>
                    <a:pt x="24" y="672"/>
                  </a:lnTo>
                  <a:lnTo>
                    <a:pt x="30" y="666"/>
                  </a:lnTo>
                  <a:lnTo>
                    <a:pt x="42" y="648"/>
                  </a:lnTo>
                  <a:lnTo>
                    <a:pt x="66" y="648"/>
                  </a:lnTo>
                  <a:lnTo>
                    <a:pt x="108" y="648"/>
                  </a:lnTo>
                  <a:lnTo>
                    <a:pt x="174" y="642"/>
                  </a:lnTo>
                  <a:lnTo>
                    <a:pt x="216" y="636"/>
                  </a:lnTo>
                  <a:lnTo>
                    <a:pt x="240" y="630"/>
                  </a:lnTo>
                  <a:lnTo>
                    <a:pt x="246" y="618"/>
                  </a:lnTo>
                  <a:lnTo>
                    <a:pt x="264" y="600"/>
                  </a:lnTo>
                  <a:lnTo>
                    <a:pt x="294" y="582"/>
                  </a:lnTo>
                  <a:lnTo>
                    <a:pt x="318" y="552"/>
                  </a:lnTo>
                  <a:lnTo>
                    <a:pt x="330" y="546"/>
                  </a:lnTo>
                  <a:lnTo>
                    <a:pt x="348" y="510"/>
                  </a:lnTo>
                  <a:lnTo>
                    <a:pt x="372" y="474"/>
                  </a:lnTo>
                  <a:lnTo>
                    <a:pt x="384" y="444"/>
                  </a:lnTo>
                  <a:lnTo>
                    <a:pt x="396" y="420"/>
                  </a:lnTo>
                  <a:lnTo>
                    <a:pt x="402" y="378"/>
                  </a:lnTo>
                  <a:lnTo>
                    <a:pt x="402" y="228"/>
                  </a:lnTo>
                  <a:lnTo>
                    <a:pt x="414" y="186"/>
                  </a:lnTo>
                  <a:lnTo>
                    <a:pt x="432" y="138"/>
                  </a:lnTo>
                  <a:lnTo>
                    <a:pt x="438" y="114"/>
                  </a:lnTo>
                  <a:lnTo>
                    <a:pt x="444" y="96"/>
                  </a:lnTo>
                  <a:lnTo>
                    <a:pt x="462" y="84"/>
                  </a:lnTo>
                  <a:lnTo>
                    <a:pt x="474" y="78"/>
                  </a:lnTo>
                  <a:lnTo>
                    <a:pt x="492" y="72"/>
                  </a:lnTo>
                  <a:lnTo>
                    <a:pt x="492" y="66"/>
                  </a:lnTo>
                  <a:lnTo>
                    <a:pt x="498" y="66"/>
                  </a:lnTo>
                  <a:lnTo>
                    <a:pt x="510" y="66"/>
                  </a:lnTo>
                  <a:lnTo>
                    <a:pt x="510" y="72"/>
                  </a:lnTo>
                  <a:lnTo>
                    <a:pt x="516" y="72"/>
                  </a:lnTo>
                  <a:lnTo>
                    <a:pt x="522" y="78"/>
                  </a:lnTo>
                  <a:lnTo>
                    <a:pt x="546" y="78"/>
                  </a:lnTo>
                  <a:lnTo>
                    <a:pt x="552" y="60"/>
                  </a:lnTo>
                  <a:lnTo>
                    <a:pt x="570" y="42"/>
                  </a:lnTo>
                  <a:lnTo>
                    <a:pt x="576" y="24"/>
                  </a:lnTo>
                  <a:lnTo>
                    <a:pt x="588" y="18"/>
                  </a:lnTo>
                  <a:lnTo>
                    <a:pt x="588" y="12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624" y="0"/>
                  </a:lnTo>
                  <a:lnTo>
                    <a:pt x="636" y="6"/>
                  </a:lnTo>
                  <a:lnTo>
                    <a:pt x="648" y="24"/>
                  </a:lnTo>
                  <a:lnTo>
                    <a:pt x="654" y="48"/>
                  </a:lnTo>
                  <a:lnTo>
                    <a:pt x="672" y="60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0" y="72"/>
                  </a:lnTo>
                  <a:lnTo>
                    <a:pt x="690" y="78"/>
                  </a:lnTo>
                  <a:lnTo>
                    <a:pt x="696" y="90"/>
                  </a:lnTo>
                  <a:lnTo>
                    <a:pt x="714" y="114"/>
                  </a:lnTo>
                  <a:lnTo>
                    <a:pt x="714" y="120"/>
                  </a:lnTo>
                  <a:lnTo>
                    <a:pt x="720" y="132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20" y="150"/>
                  </a:lnTo>
                  <a:lnTo>
                    <a:pt x="714" y="150"/>
                  </a:lnTo>
                  <a:lnTo>
                    <a:pt x="714" y="156"/>
                  </a:lnTo>
                  <a:lnTo>
                    <a:pt x="714" y="162"/>
                  </a:lnTo>
                  <a:lnTo>
                    <a:pt x="708" y="162"/>
                  </a:lnTo>
                  <a:lnTo>
                    <a:pt x="708" y="168"/>
                  </a:lnTo>
                  <a:lnTo>
                    <a:pt x="702" y="168"/>
                  </a:lnTo>
                  <a:lnTo>
                    <a:pt x="702" y="174"/>
                  </a:lnTo>
                  <a:lnTo>
                    <a:pt x="702" y="180"/>
                  </a:lnTo>
                  <a:lnTo>
                    <a:pt x="708" y="180"/>
                  </a:lnTo>
                  <a:lnTo>
                    <a:pt x="708" y="186"/>
                  </a:lnTo>
                  <a:lnTo>
                    <a:pt x="708" y="192"/>
                  </a:lnTo>
                  <a:lnTo>
                    <a:pt x="714" y="204"/>
                  </a:lnTo>
                  <a:lnTo>
                    <a:pt x="726" y="216"/>
                  </a:lnTo>
                  <a:lnTo>
                    <a:pt x="738" y="216"/>
                  </a:lnTo>
                  <a:lnTo>
                    <a:pt x="768" y="222"/>
                  </a:lnTo>
                  <a:lnTo>
                    <a:pt x="780" y="216"/>
                  </a:lnTo>
                  <a:lnTo>
                    <a:pt x="792" y="204"/>
                  </a:lnTo>
                  <a:lnTo>
                    <a:pt x="798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6" y="192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6" y="174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22" y="156"/>
                  </a:lnTo>
                  <a:lnTo>
                    <a:pt x="822" y="150"/>
                  </a:lnTo>
                  <a:lnTo>
                    <a:pt x="828" y="144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8" y="138"/>
                  </a:lnTo>
                  <a:lnTo>
                    <a:pt x="834" y="132"/>
                  </a:lnTo>
                  <a:lnTo>
                    <a:pt x="840" y="132"/>
                  </a:lnTo>
                  <a:lnTo>
                    <a:pt x="864" y="126"/>
                  </a:lnTo>
                  <a:lnTo>
                    <a:pt x="906" y="144"/>
                  </a:lnTo>
                  <a:lnTo>
                    <a:pt x="906" y="150"/>
                  </a:lnTo>
                  <a:lnTo>
                    <a:pt x="906" y="156"/>
                  </a:lnTo>
                  <a:lnTo>
                    <a:pt x="900" y="162"/>
                  </a:lnTo>
                  <a:lnTo>
                    <a:pt x="924" y="168"/>
                  </a:lnTo>
                  <a:lnTo>
                    <a:pt x="942" y="192"/>
                  </a:lnTo>
                  <a:lnTo>
                    <a:pt x="972" y="210"/>
                  </a:lnTo>
                  <a:lnTo>
                    <a:pt x="972" y="216"/>
                  </a:lnTo>
                  <a:lnTo>
                    <a:pt x="972" y="228"/>
                  </a:lnTo>
                  <a:lnTo>
                    <a:pt x="978" y="234"/>
                  </a:lnTo>
                  <a:lnTo>
                    <a:pt x="978" y="246"/>
                  </a:lnTo>
                  <a:lnTo>
                    <a:pt x="984" y="252"/>
                  </a:lnTo>
                  <a:lnTo>
                    <a:pt x="1014" y="252"/>
                  </a:lnTo>
                  <a:lnTo>
                    <a:pt x="1020" y="228"/>
                  </a:lnTo>
                  <a:lnTo>
                    <a:pt x="1026" y="198"/>
                  </a:lnTo>
                  <a:lnTo>
                    <a:pt x="1050" y="186"/>
                  </a:lnTo>
                  <a:lnTo>
                    <a:pt x="1056" y="180"/>
                  </a:lnTo>
                  <a:lnTo>
                    <a:pt x="1050" y="174"/>
                  </a:lnTo>
                  <a:lnTo>
                    <a:pt x="1050" y="168"/>
                  </a:lnTo>
                  <a:lnTo>
                    <a:pt x="1050" y="162"/>
                  </a:lnTo>
                  <a:lnTo>
                    <a:pt x="1056" y="162"/>
                  </a:lnTo>
                  <a:lnTo>
                    <a:pt x="1062" y="162"/>
                  </a:lnTo>
                  <a:lnTo>
                    <a:pt x="1074" y="162"/>
                  </a:lnTo>
                  <a:lnTo>
                    <a:pt x="1074" y="144"/>
                  </a:lnTo>
                  <a:lnTo>
                    <a:pt x="1074" y="120"/>
                  </a:lnTo>
                  <a:lnTo>
                    <a:pt x="1092" y="120"/>
                  </a:lnTo>
                  <a:lnTo>
                    <a:pt x="1098" y="126"/>
                  </a:lnTo>
                  <a:lnTo>
                    <a:pt x="1134" y="132"/>
                  </a:lnTo>
                  <a:lnTo>
                    <a:pt x="1146" y="132"/>
                  </a:lnTo>
                  <a:lnTo>
                    <a:pt x="1158" y="150"/>
                  </a:lnTo>
                  <a:lnTo>
                    <a:pt x="1158" y="156"/>
                  </a:lnTo>
                  <a:lnTo>
                    <a:pt x="1158" y="162"/>
                  </a:lnTo>
                  <a:lnTo>
                    <a:pt x="1158" y="180"/>
                  </a:lnTo>
                  <a:lnTo>
                    <a:pt x="1158" y="186"/>
                  </a:lnTo>
                  <a:lnTo>
                    <a:pt x="1164" y="192"/>
                  </a:lnTo>
                  <a:lnTo>
                    <a:pt x="1176" y="198"/>
                  </a:lnTo>
                  <a:lnTo>
                    <a:pt x="1182" y="198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8"/>
                  </a:lnTo>
                  <a:lnTo>
                    <a:pt x="1188" y="234"/>
                  </a:lnTo>
                  <a:lnTo>
                    <a:pt x="1212" y="234"/>
                  </a:lnTo>
                  <a:lnTo>
                    <a:pt x="1242" y="234"/>
                  </a:lnTo>
                  <a:lnTo>
                    <a:pt x="1248" y="234"/>
                  </a:lnTo>
                  <a:lnTo>
                    <a:pt x="1278" y="240"/>
                  </a:lnTo>
                  <a:lnTo>
                    <a:pt x="1320" y="234"/>
                  </a:lnTo>
                  <a:lnTo>
                    <a:pt x="1332" y="228"/>
                  </a:lnTo>
                  <a:lnTo>
                    <a:pt x="1344" y="228"/>
                  </a:lnTo>
                  <a:lnTo>
                    <a:pt x="1350" y="234"/>
                  </a:lnTo>
                  <a:lnTo>
                    <a:pt x="1350" y="240"/>
                  </a:lnTo>
                  <a:lnTo>
                    <a:pt x="1356" y="246"/>
                  </a:lnTo>
                  <a:lnTo>
                    <a:pt x="1350" y="252"/>
                  </a:lnTo>
                  <a:lnTo>
                    <a:pt x="1356" y="264"/>
                  </a:lnTo>
                  <a:lnTo>
                    <a:pt x="1356" y="270"/>
                  </a:lnTo>
                  <a:lnTo>
                    <a:pt x="1356" y="276"/>
                  </a:lnTo>
                  <a:lnTo>
                    <a:pt x="1356" y="282"/>
                  </a:lnTo>
                  <a:lnTo>
                    <a:pt x="1356" y="288"/>
                  </a:lnTo>
                  <a:lnTo>
                    <a:pt x="1350" y="294"/>
                  </a:lnTo>
                  <a:lnTo>
                    <a:pt x="1344" y="300"/>
                  </a:lnTo>
                  <a:lnTo>
                    <a:pt x="1344" y="306"/>
                  </a:lnTo>
                  <a:lnTo>
                    <a:pt x="1338" y="312"/>
                  </a:lnTo>
                  <a:lnTo>
                    <a:pt x="1326" y="342"/>
                  </a:lnTo>
                  <a:lnTo>
                    <a:pt x="1320" y="348"/>
                  </a:lnTo>
                  <a:lnTo>
                    <a:pt x="1314" y="354"/>
                  </a:lnTo>
                  <a:lnTo>
                    <a:pt x="1290" y="354"/>
                  </a:lnTo>
                  <a:lnTo>
                    <a:pt x="1284" y="360"/>
                  </a:lnTo>
                  <a:lnTo>
                    <a:pt x="1278" y="378"/>
                  </a:lnTo>
                  <a:lnTo>
                    <a:pt x="1278" y="384"/>
                  </a:lnTo>
                  <a:lnTo>
                    <a:pt x="1272" y="390"/>
                  </a:lnTo>
                  <a:lnTo>
                    <a:pt x="1266" y="396"/>
                  </a:lnTo>
                  <a:lnTo>
                    <a:pt x="1260" y="396"/>
                  </a:lnTo>
                  <a:lnTo>
                    <a:pt x="1248" y="402"/>
                  </a:lnTo>
                  <a:lnTo>
                    <a:pt x="1242" y="408"/>
                  </a:lnTo>
                  <a:lnTo>
                    <a:pt x="1242" y="414"/>
                  </a:lnTo>
                  <a:lnTo>
                    <a:pt x="1242" y="420"/>
                  </a:lnTo>
                  <a:lnTo>
                    <a:pt x="1236" y="432"/>
                  </a:lnTo>
                  <a:lnTo>
                    <a:pt x="1242" y="432"/>
                  </a:lnTo>
                  <a:lnTo>
                    <a:pt x="1242" y="444"/>
                  </a:lnTo>
                  <a:lnTo>
                    <a:pt x="1242" y="456"/>
                  </a:lnTo>
                  <a:lnTo>
                    <a:pt x="1248" y="456"/>
                  </a:lnTo>
                  <a:lnTo>
                    <a:pt x="1254" y="462"/>
                  </a:lnTo>
                  <a:lnTo>
                    <a:pt x="1248" y="468"/>
                  </a:lnTo>
                  <a:lnTo>
                    <a:pt x="1254" y="468"/>
                  </a:lnTo>
                  <a:lnTo>
                    <a:pt x="1266" y="474"/>
                  </a:lnTo>
                  <a:lnTo>
                    <a:pt x="1266" y="480"/>
                  </a:lnTo>
                  <a:lnTo>
                    <a:pt x="1266" y="486"/>
                  </a:lnTo>
                  <a:lnTo>
                    <a:pt x="1272" y="486"/>
                  </a:lnTo>
                  <a:lnTo>
                    <a:pt x="1272" y="492"/>
                  </a:lnTo>
                  <a:lnTo>
                    <a:pt x="1290" y="510"/>
                  </a:lnTo>
                  <a:lnTo>
                    <a:pt x="1296" y="516"/>
                  </a:lnTo>
                  <a:lnTo>
                    <a:pt x="1302" y="540"/>
                  </a:lnTo>
                  <a:lnTo>
                    <a:pt x="1302" y="546"/>
                  </a:lnTo>
                  <a:lnTo>
                    <a:pt x="1302" y="558"/>
                  </a:lnTo>
                  <a:lnTo>
                    <a:pt x="1302" y="570"/>
                  </a:lnTo>
                  <a:lnTo>
                    <a:pt x="1302" y="576"/>
                  </a:lnTo>
                  <a:lnTo>
                    <a:pt x="1344" y="570"/>
                  </a:lnTo>
                  <a:lnTo>
                    <a:pt x="1350" y="582"/>
                  </a:lnTo>
                  <a:lnTo>
                    <a:pt x="1368" y="594"/>
                  </a:lnTo>
                  <a:lnTo>
                    <a:pt x="1374" y="600"/>
                  </a:lnTo>
                  <a:lnTo>
                    <a:pt x="1380" y="600"/>
                  </a:lnTo>
                  <a:lnTo>
                    <a:pt x="1380" y="618"/>
                  </a:lnTo>
                  <a:lnTo>
                    <a:pt x="1386" y="624"/>
                  </a:lnTo>
                  <a:lnTo>
                    <a:pt x="1404" y="624"/>
                  </a:lnTo>
                  <a:lnTo>
                    <a:pt x="1410" y="612"/>
                  </a:lnTo>
                  <a:lnTo>
                    <a:pt x="1428" y="606"/>
                  </a:lnTo>
                  <a:lnTo>
                    <a:pt x="1488" y="606"/>
                  </a:lnTo>
                  <a:lnTo>
                    <a:pt x="1506" y="606"/>
                  </a:lnTo>
                  <a:lnTo>
                    <a:pt x="1512" y="600"/>
                  </a:lnTo>
                  <a:lnTo>
                    <a:pt x="1524" y="594"/>
                  </a:lnTo>
                  <a:lnTo>
                    <a:pt x="1554" y="594"/>
                  </a:lnTo>
                  <a:lnTo>
                    <a:pt x="1578" y="606"/>
                  </a:lnTo>
                  <a:lnTo>
                    <a:pt x="1596" y="624"/>
                  </a:lnTo>
                  <a:lnTo>
                    <a:pt x="1650" y="642"/>
                  </a:lnTo>
                  <a:lnTo>
                    <a:pt x="1686" y="648"/>
                  </a:lnTo>
                  <a:lnTo>
                    <a:pt x="1698" y="654"/>
                  </a:lnTo>
                  <a:lnTo>
                    <a:pt x="1698" y="660"/>
                  </a:lnTo>
                  <a:lnTo>
                    <a:pt x="1692" y="666"/>
                  </a:lnTo>
                  <a:lnTo>
                    <a:pt x="1692" y="672"/>
                  </a:lnTo>
                  <a:lnTo>
                    <a:pt x="1698" y="678"/>
                  </a:lnTo>
                  <a:lnTo>
                    <a:pt x="1698" y="684"/>
                  </a:lnTo>
                  <a:lnTo>
                    <a:pt x="1692" y="684"/>
                  </a:lnTo>
                  <a:lnTo>
                    <a:pt x="1692" y="690"/>
                  </a:lnTo>
                  <a:lnTo>
                    <a:pt x="1698" y="696"/>
                  </a:lnTo>
                  <a:lnTo>
                    <a:pt x="1698" y="702"/>
                  </a:lnTo>
                  <a:lnTo>
                    <a:pt x="1698" y="708"/>
                  </a:lnTo>
                  <a:lnTo>
                    <a:pt x="1704" y="714"/>
                  </a:lnTo>
                  <a:lnTo>
                    <a:pt x="1704" y="720"/>
                  </a:lnTo>
                  <a:lnTo>
                    <a:pt x="1704" y="726"/>
                  </a:lnTo>
                  <a:lnTo>
                    <a:pt x="1704" y="732"/>
                  </a:lnTo>
                  <a:lnTo>
                    <a:pt x="1704" y="738"/>
                  </a:lnTo>
                  <a:lnTo>
                    <a:pt x="1698" y="726"/>
                  </a:lnTo>
                  <a:lnTo>
                    <a:pt x="1668" y="720"/>
                  </a:lnTo>
                  <a:lnTo>
                    <a:pt x="1626" y="714"/>
                  </a:lnTo>
                  <a:lnTo>
                    <a:pt x="1614" y="708"/>
                  </a:lnTo>
                  <a:lnTo>
                    <a:pt x="1578" y="696"/>
                  </a:lnTo>
                  <a:lnTo>
                    <a:pt x="1566" y="696"/>
                  </a:lnTo>
                  <a:lnTo>
                    <a:pt x="1548" y="702"/>
                  </a:lnTo>
                  <a:lnTo>
                    <a:pt x="1542" y="714"/>
                  </a:lnTo>
                  <a:lnTo>
                    <a:pt x="1536" y="732"/>
                  </a:lnTo>
                  <a:lnTo>
                    <a:pt x="1530" y="750"/>
                  </a:lnTo>
                  <a:lnTo>
                    <a:pt x="1536" y="750"/>
                  </a:lnTo>
                  <a:lnTo>
                    <a:pt x="1542" y="756"/>
                  </a:lnTo>
                  <a:lnTo>
                    <a:pt x="1542" y="762"/>
                  </a:lnTo>
                  <a:lnTo>
                    <a:pt x="1548" y="762"/>
                  </a:lnTo>
                  <a:lnTo>
                    <a:pt x="1554" y="762"/>
                  </a:lnTo>
                  <a:lnTo>
                    <a:pt x="1554" y="768"/>
                  </a:lnTo>
                  <a:lnTo>
                    <a:pt x="1560" y="774"/>
                  </a:lnTo>
                  <a:lnTo>
                    <a:pt x="1566" y="774"/>
                  </a:lnTo>
                  <a:lnTo>
                    <a:pt x="1584" y="792"/>
                  </a:lnTo>
                  <a:lnTo>
                    <a:pt x="1584" y="810"/>
                  </a:lnTo>
                  <a:lnTo>
                    <a:pt x="1572" y="816"/>
                  </a:lnTo>
                  <a:lnTo>
                    <a:pt x="1578" y="834"/>
                  </a:lnTo>
                  <a:lnTo>
                    <a:pt x="1578" y="846"/>
                  </a:lnTo>
                  <a:lnTo>
                    <a:pt x="1584" y="858"/>
                  </a:lnTo>
                  <a:lnTo>
                    <a:pt x="1590" y="864"/>
                  </a:lnTo>
                  <a:lnTo>
                    <a:pt x="1590" y="876"/>
                  </a:lnTo>
                  <a:lnTo>
                    <a:pt x="1578" y="888"/>
                  </a:lnTo>
                  <a:lnTo>
                    <a:pt x="1560" y="906"/>
                  </a:lnTo>
                  <a:lnTo>
                    <a:pt x="1536" y="930"/>
                  </a:lnTo>
                  <a:lnTo>
                    <a:pt x="1530" y="930"/>
                  </a:lnTo>
                  <a:lnTo>
                    <a:pt x="1506" y="942"/>
                  </a:lnTo>
                  <a:lnTo>
                    <a:pt x="1488" y="948"/>
                  </a:lnTo>
                  <a:lnTo>
                    <a:pt x="1476" y="954"/>
                  </a:lnTo>
                  <a:lnTo>
                    <a:pt x="1458" y="960"/>
                  </a:lnTo>
                  <a:lnTo>
                    <a:pt x="1452" y="966"/>
                  </a:lnTo>
                  <a:lnTo>
                    <a:pt x="1446" y="966"/>
                  </a:lnTo>
                  <a:lnTo>
                    <a:pt x="1434" y="972"/>
                  </a:lnTo>
                  <a:lnTo>
                    <a:pt x="1434" y="954"/>
                  </a:lnTo>
                  <a:lnTo>
                    <a:pt x="1422" y="942"/>
                  </a:lnTo>
                  <a:lnTo>
                    <a:pt x="1398" y="924"/>
                  </a:lnTo>
                  <a:lnTo>
                    <a:pt x="1398" y="912"/>
                  </a:lnTo>
                  <a:lnTo>
                    <a:pt x="1398" y="906"/>
                  </a:lnTo>
                  <a:lnTo>
                    <a:pt x="1398" y="900"/>
                  </a:lnTo>
                  <a:lnTo>
                    <a:pt x="1380" y="900"/>
                  </a:lnTo>
                  <a:lnTo>
                    <a:pt x="1380" y="894"/>
                  </a:lnTo>
                  <a:lnTo>
                    <a:pt x="1368" y="888"/>
                  </a:lnTo>
                  <a:lnTo>
                    <a:pt x="1362" y="882"/>
                  </a:lnTo>
                  <a:lnTo>
                    <a:pt x="1356" y="876"/>
                  </a:lnTo>
                  <a:lnTo>
                    <a:pt x="1350" y="864"/>
                  </a:lnTo>
                  <a:lnTo>
                    <a:pt x="1344" y="858"/>
                  </a:lnTo>
                  <a:lnTo>
                    <a:pt x="1314" y="870"/>
                  </a:lnTo>
                  <a:lnTo>
                    <a:pt x="1272" y="876"/>
                  </a:lnTo>
                  <a:lnTo>
                    <a:pt x="1218" y="870"/>
                  </a:lnTo>
                  <a:lnTo>
                    <a:pt x="1200" y="864"/>
                  </a:lnTo>
                  <a:lnTo>
                    <a:pt x="1182" y="864"/>
                  </a:lnTo>
                  <a:lnTo>
                    <a:pt x="1134" y="858"/>
                  </a:lnTo>
                  <a:lnTo>
                    <a:pt x="1110" y="840"/>
                  </a:lnTo>
                  <a:lnTo>
                    <a:pt x="1086" y="828"/>
                  </a:lnTo>
                  <a:lnTo>
                    <a:pt x="1044" y="816"/>
                  </a:lnTo>
                  <a:lnTo>
                    <a:pt x="1014" y="816"/>
                  </a:lnTo>
                  <a:lnTo>
                    <a:pt x="990" y="822"/>
                  </a:lnTo>
                  <a:lnTo>
                    <a:pt x="948" y="858"/>
                  </a:lnTo>
                  <a:lnTo>
                    <a:pt x="930" y="864"/>
                  </a:lnTo>
                  <a:lnTo>
                    <a:pt x="924" y="876"/>
                  </a:lnTo>
                  <a:lnTo>
                    <a:pt x="918" y="906"/>
                  </a:lnTo>
                  <a:lnTo>
                    <a:pt x="924" y="930"/>
                  </a:lnTo>
                  <a:lnTo>
                    <a:pt x="948" y="984"/>
                  </a:lnTo>
                  <a:lnTo>
                    <a:pt x="954" y="1008"/>
                  </a:lnTo>
                  <a:lnTo>
                    <a:pt x="948" y="1014"/>
                  </a:lnTo>
                  <a:lnTo>
                    <a:pt x="954" y="1014"/>
                  </a:lnTo>
                  <a:lnTo>
                    <a:pt x="954" y="1032"/>
                  </a:lnTo>
                  <a:lnTo>
                    <a:pt x="966" y="1044"/>
                  </a:lnTo>
                  <a:lnTo>
                    <a:pt x="960" y="1056"/>
                  </a:lnTo>
                  <a:lnTo>
                    <a:pt x="954" y="1056"/>
                  </a:lnTo>
                  <a:lnTo>
                    <a:pt x="948" y="1056"/>
                  </a:lnTo>
                  <a:lnTo>
                    <a:pt x="942" y="1056"/>
                  </a:lnTo>
                  <a:lnTo>
                    <a:pt x="936" y="1050"/>
                  </a:lnTo>
                  <a:lnTo>
                    <a:pt x="930" y="1044"/>
                  </a:lnTo>
                  <a:lnTo>
                    <a:pt x="924" y="1044"/>
                  </a:lnTo>
                  <a:lnTo>
                    <a:pt x="918" y="1038"/>
                  </a:lnTo>
                  <a:lnTo>
                    <a:pt x="912" y="1038"/>
                  </a:lnTo>
                  <a:lnTo>
                    <a:pt x="906" y="1032"/>
                  </a:lnTo>
                  <a:lnTo>
                    <a:pt x="900" y="1032"/>
                  </a:lnTo>
                  <a:lnTo>
                    <a:pt x="888" y="1026"/>
                  </a:lnTo>
                  <a:lnTo>
                    <a:pt x="882" y="1026"/>
                  </a:lnTo>
                  <a:lnTo>
                    <a:pt x="876" y="1026"/>
                  </a:lnTo>
                  <a:lnTo>
                    <a:pt x="864" y="1014"/>
                  </a:lnTo>
                  <a:lnTo>
                    <a:pt x="846" y="1008"/>
                  </a:lnTo>
                  <a:lnTo>
                    <a:pt x="840" y="996"/>
                  </a:lnTo>
                  <a:lnTo>
                    <a:pt x="840" y="990"/>
                  </a:lnTo>
                  <a:lnTo>
                    <a:pt x="834" y="990"/>
                  </a:lnTo>
                  <a:lnTo>
                    <a:pt x="828" y="990"/>
                  </a:lnTo>
                  <a:lnTo>
                    <a:pt x="816" y="990"/>
                  </a:lnTo>
                  <a:lnTo>
                    <a:pt x="810" y="990"/>
                  </a:lnTo>
                  <a:lnTo>
                    <a:pt x="804" y="984"/>
                  </a:lnTo>
                  <a:lnTo>
                    <a:pt x="792" y="978"/>
                  </a:lnTo>
                  <a:lnTo>
                    <a:pt x="786" y="972"/>
                  </a:lnTo>
                  <a:lnTo>
                    <a:pt x="780" y="972"/>
                  </a:lnTo>
                  <a:lnTo>
                    <a:pt x="768" y="966"/>
                  </a:lnTo>
                  <a:lnTo>
                    <a:pt x="762" y="966"/>
                  </a:lnTo>
                  <a:lnTo>
                    <a:pt x="756" y="966"/>
                  </a:lnTo>
                  <a:lnTo>
                    <a:pt x="750" y="966"/>
                  </a:lnTo>
                  <a:lnTo>
                    <a:pt x="744" y="966"/>
                  </a:lnTo>
                  <a:lnTo>
                    <a:pt x="738" y="960"/>
                  </a:lnTo>
                  <a:lnTo>
                    <a:pt x="732" y="954"/>
                  </a:lnTo>
                  <a:lnTo>
                    <a:pt x="720" y="954"/>
                  </a:lnTo>
                  <a:lnTo>
                    <a:pt x="714" y="948"/>
                  </a:lnTo>
                  <a:lnTo>
                    <a:pt x="708" y="948"/>
                  </a:lnTo>
                  <a:lnTo>
                    <a:pt x="696" y="948"/>
                  </a:lnTo>
                  <a:lnTo>
                    <a:pt x="684" y="942"/>
                  </a:lnTo>
                  <a:lnTo>
                    <a:pt x="678" y="936"/>
                  </a:lnTo>
                  <a:lnTo>
                    <a:pt x="660" y="930"/>
                  </a:lnTo>
                  <a:lnTo>
                    <a:pt x="642" y="924"/>
                  </a:lnTo>
                  <a:lnTo>
                    <a:pt x="636" y="924"/>
                  </a:lnTo>
                  <a:lnTo>
                    <a:pt x="630" y="924"/>
                  </a:lnTo>
                  <a:lnTo>
                    <a:pt x="618" y="924"/>
                  </a:lnTo>
                  <a:lnTo>
                    <a:pt x="618" y="918"/>
                  </a:lnTo>
                  <a:lnTo>
                    <a:pt x="606" y="918"/>
                  </a:lnTo>
                  <a:lnTo>
                    <a:pt x="600" y="918"/>
                  </a:lnTo>
                  <a:lnTo>
                    <a:pt x="594" y="918"/>
                  </a:lnTo>
                  <a:lnTo>
                    <a:pt x="594" y="912"/>
                  </a:lnTo>
                  <a:lnTo>
                    <a:pt x="588" y="912"/>
                  </a:lnTo>
                  <a:lnTo>
                    <a:pt x="582" y="912"/>
                  </a:lnTo>
                  <a:lnTo>
                    <a:pt x="582" y="918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58" y="918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12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00"/>
                  </a:lnTo>
                  <a:lnTo>
                    <a:pt x="516" y="900"/>
                  </a:lnTo>
                  <a:lnTo>
                    <a:pt x="510" y="900"/>
                  </a:lnTo>
                  <a:lnTo>
                    <a:pt x="486" y="894"/>
                  </a:lnTo>
                  <a:lnTo>
                    <a:pt x="474" y="888"/>
                  </a:lnTo>
                  <a:lnTo>
                    <a:pt x="468" y="888"/>
                  </a:lnTo>
                  <a:lnTo>
                    <a:pt x="450" y="88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0" name="Freeform 15">
              <a:extLst>
                <a:ext uri="{FF2B5EF4-FFF2-40B4-BE49-F238E27FC236}">
                  <a16:creationId xmlns:a16="http://schemas.microsoft.com/office/drawing/2014/main" id="{8B991D7A-45C6-40F6-A035-24DFC733305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382" y="2652043"/>
              <a:ext cx="724526" cy="695552"/>
            </a:xfrm>
            <a:custGeom>
              <a:avLst/>
              <a:gdLst>
                <a:gd name="T0" fmla="*/ 44 w 1362"/>
                <a:gd name="T1" fmla="*/ 106 h 1308"/>
                <a:gd name="T2" fmla="*/ 32 w 1362"/>
                <a:gd name="T3" fmla="*/ 109 h 1308"/>
                <a:gd name="T4" fmla="*/ 25 w 1362"/>
                <a:gd name="T5" fmla="*/ 105 h 1308"/>
                <a:gd name="T6" fmla="*/ 22 w 1362"/>
                <a:gd name="T7" fmla="*/ 97 h 1308"/>
                <a:gd name="T8" fmla="*/ 21 w 1362"/>
                <a:gd name="T9" fmla="*/ 95 h 1308"/>
                <a:gd name="T10" fmla="*/ 20 w 1362"/>
                <a:gd name="T11" fmla="*/ 90 h 1308"/>
                <a:gd name="T12" fmla="*/ 23 w 1362"/>
                <a:gd name="T13" fmla="*/ 87 h 1308"/>
                <a:gd name="T14" fmla="*/ 29 w 1362"/>
                <a:gd name="T15" fmla="*/ 81 h 1308"/>
                <a:gd name="T16" fmla="*/ 30 w 1362"/>
                <a:gd name="T17" fmla="*/ 78 h 1308"/>
                <a:gd name="T18" fmla="*/ 27 w 1362"/>
                <a:gd name="T19" fmla="*/ 75 h 1308"/>
                <a:gd name="T20" fmla="*/ 15 w 1362"/>
                <a:gd name="T21" fmla="*/ 73 h 1308"/>
                <a:gd name="T22" fmla="*/ 12 w 1362"/>
                <a:gd name="T23" fmla="*/ 69 h 1308"/>
                <a:gd name="T24" fmla="*/ 5 w 1362"/>
                <a:gd name="T25" fmla="*/ 65 h 1308"/>
                <a:gd name="T26" fmla="*/ 6 w 1362"/>
                <a:gd name="T27" fmla="*/ 62 h 1308"/>
                <a:gd name="T28" fmla="*/ 7 w 1362"/>
                <a:gd name="T29" fmla="*/ 56 h 1308"/>
                <a:gd name="T30" fmla="*/ 2 w 1362"/>
                <a:gd name="T31" fmla="*/ 49 h 1308"/>
                <a:gd name="T32" fmla="*/ 0 w 1362"/>
                <a:gd name="T33" fmla="*/ 44 h 1308"/>
                <a:gd name="T34" fmla="*/ 0 w 1362"/>
                <a:gd name="T35" fmla="*/ 39 h 1308"/>
                <a:gd name="T36" fmla="*/ 3 w 1362"/>
                <a:gd name="T37" fmla="*/ 35 h 1308"/>
                <a:gd name="T38" fmla="*/ 3 w 1362"/>
                <a:gd name="T39" fmla="*/ 28 h 1308"/>
                <a:gd name="T40" fmla="*/ 6 w 1362"/>
                <a:gd name="T41" fmla="*/ 18 h 1308"/>
                <a:gd name="T42" fmla="*/ 6 w 1362"/>
                <a:gd name="T43" fmla="*/ 8 h 1308"/>
                <a:gd name="T44" fmla="*/ 10 w 1362"/>
                <a:gd name="T45" fmla="*/ 5 h 1308"/>
                <a:gd name="T46" fmla="*/ 15 w 1362"/>
                <a:gd name="T47" fmla="*/ 0 h 1308"/>
                <a:gd name="T48" fmla="*/ 21 w 1362"/>
                <a:gd name="T49" fmla="*/ 7 h 1308"/>
                <a:gd name="T50" fmla="*/ 25 w 1362"/>
                <a:gd name="T51" fmla="*/ 15 h 1308"/>
                <a:gd name="T52" fmla="*/ 24 w 1362"/>
                <a:gd name="T53" fmla="*/ 19 h 1308"/>
                <a:gd name="T54" fmla="*/ 32 w 1362"/>
                <a:gd name="T55" fmla="*/ 19 h 1308"/>
                <a:gd name="T56" fmla="*/ 35 w 1362"/>
                <a:gd name="T57" fmla="*/ 20 h 1308"/>
                <a:gd name="T58" fmla="*/ 40 w 1362"/>
                <a:gd name="T59" fmla="*/ 23 h 1308"/>
                <a:gd name="T60" fmla="*/ 40 w 1362"/>
                <a:gd name="T61" fmla="*/ 26 h 1308"/>
                <a:gd name="T62" fmla="*/ 34 w 1362"/>
                <a:gd name="T63" fmla="*/ 35 h 1308"/>
                <a:gd name="T64" fmla="*/ 41 w 1362"/>
                <a:gd name="T65" fmla="*/ 37 h 1308"/>
                <a:gd name="T66" fmla="*/ 43 w 1362"/>
                <a:gd name="T67" fmla="*/ 44 h 1308"/>
                <a:gd name="T68" fmla="*/ 48 w 1362"/>
                <a:gd name="T69" fmla="*/ 47 h 1308"/>
                <a:gd name="T70" fmla="*/ 57 w 1362"/>
                <a:gd name="T71" fmla="*/ 48 h 1308"/>
                <a:gd name="T72" fmla="*/ 70 w 1362"/>
                <a:gd name="T73" fmla="*/ 44 h 1308"/>
                <a:gd name="T74" fmla="*/ 80 w 1362"/>
                <a:gd name="T75" fmla="*/ 34 h 1308"/>
                <a:gd name="T76" fmla="*/ 95 w 1362"/>
                <a:gd name="T77" fmla="*/ 41 h 1308"/>
                <a:gd name="T78" fmla="*/ 109 w 1362"/>
                <a:gd name="T79" fmla="*/ 47 h 1308"/>
                <a:gd name="T80" fmla="*/ 111 w 1362"/>
                <a:gd name="T81" fmla="*/ 50 h 1308"/>
                <a:gd name="T82" fmla="*/ 113 w 1362"/>
                <a:gd name="T83" fmla="*/ 53 h 1308"/>
                <a:gd name="T84" fmla="*/ 113 w 1362"/>
                <a:gd name="T85" fmla="*/ 55 h 1308"/>
                <a:gd name="T86" fmla="*/ 113 w 1362"/>
                <a:gd name="T87" fmla="*/ 59 h 1308"/>
                <a:gd name="T88" fmla="*/ 113 w 1362"/>
                <a:gd name="T89" fmla="*/ 62 h 1308"/>
                <a:gd name="T90" fmla="*/ 115 w 1362"/>
                <a:gd name="T91" fmla="*/ 65 h 1308"/>
                <a:gd name="T92" fmla="*/ 115 w 1362"/>
                <a:gd name="T93" fmla="*/ 67 h 1308"/>
                <a:gd name="T94" fmla="*/ 116 w 1362"/>
                <a:gd name="T95" fmla="*/ 69 h 1308"/>
                <a:gd name="T96" fmla="*/ 116 w 1362"/>
                <a:gd name="T97" fmla="*/ 71 h 1308"/>
                <a:gd name="T98" fmla="*/ 118 w 1362"/>
                <a:gd name="T99" fmla="*/ 75 h 1308"/>
                <a:gd name="T100" fmla="*/ 116 w 1362"/>
                <a:gd name="T101" fmla="*/ 77 h 1308"/>
                <a:gd name="T102" fmla="*/ 116 w 1362"/>
                <a:gd name="T103" fmla="*/ 79 h 1308"/>
                <a:gd name="T104" fmla="*/ 101 w 1362"/>
                <a:gd name="T105" fmla="*/ 87 h 1308"/>
                <a:gd name="T106" fmla="*/ 85 w 1362"/>
                <a:gd name="T107" fmla="*/ 103 h 1308"/>
                <a:gd name="T108" fmla="*/ 67 w 1362"/>
                <a:gd name="T109" fmla="*/ 114 h 130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62"/>
                <a:gd name="T166" fmla="*/ 0 h 1308"/>
                <a:gd name="T167" fmla="*/ 1362 w 1362"/>
                <a:gd name="T168" fmla="*/ 1308 h 130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62" h="1308">
                  <a:moveTo>
                    <a:pt x="684" y="1278"/>
                  </a:moveTo>
                  <a:lnTo>
                    <a:pt x="672" y="1272"/>
                  </a:lnTo>
                  <a:lnTo>
                    <a:pt x="636" y="1266"/>
                  </a:lnTo>
                  <a:lnTo>
                    <a:pt x="582" y="1248"/>
                  </a:lnTo>
                  <a:lnTo>
                    <a:pt x="564" y="1230"/>
                  </a:lnTo>
                  <a:lnTo>
                    <a:pt x="540" y="1218"/>
                  </a:lnTo>
                  <a:lnTo>
                    <a:pt x="510" y="1218"/>
                  </a:lnTo>
                  <a:lnTo>
                    <a:pt x="498" y="1224"/>
                  </a:lnTo>
                  <a:lnTo>
                    <a:pt x="492" y="1230"/>
                  </a:lnTo>
                  <a:lnTo>
                    <a:pt x="474" y="1230"/>
                  </a:lnTo>
                  <a:lnTo>
                    <a:pt x="414" y="1230"/>
                  </a:lnTo>
                  <a:lnTo>
                    <a:pt x="396" y="1236"/>
                  </a:lnTo>
                  <a:lnTo>
                    <a:pt x="390" y="1248"/>
                  </a:lnTo>
                  <a:lnTo>
                    <a:pt x="372" y="1248"/>
                  </a:lnTo>
                  <a:lnTo>
                    <a:pt x="366" y="1242"/>
                  </a:lnTo>
                  <a:lnTo>
                    <a:pt x="366" y="1224"/>
                  </a:lnTo>
                  <a:lnTo>
                    <a:pt x="360" y="1224"/>
                  </a:lnTo>
                  <a:lnTo>
                    <a:pt x="354" y="1218"/>
                  </a:lnTo>
                  <a:lnTo>
                    <a:pt x="336" y="1206"/>
                  </a:lnTo>
                  <a:lnTo>
                    <a:pt x="330" y="1194"/>
                  </a:lnTo>
                  <a:lnTo>
                    <a:pt x="288" y="1200"/>
                  </a:lnTo>
                  <a:lnTo>
                    <a:pt x="288" y="1194"/>
                  </a:lnTo>
                  <a:lnTo>
                    <a:pt x="288" y="1182"/>
                  </a:lnTo>
                  <a:lnTo>
                    <a:pt x="288" y="1170"/>
                  </a:lnTo>
                  <a:lnTo>
                    <a:pt x="288" y="1164"/>
                  </a:lnTo>
                  <a:lnTo>
                    <a:pt x="282" y="1140"/>
                  </a:lnTo>
                  <a:lnTo>
                    <a:pt x="276" y="1134"/>
                  </a:lnTo>
                  <a:lnTo>
                    <a:pt x="258" y="1116"/>
                  </a:lnTo>
                  <a:lnTo>
                    <a:pt x="258" y="1110"/>
                  </a:lnTo>
                  <a:lnTo>
                    <a:pt x="252" y="1110"/>
                  </a:lnTo>
                  <a:lnTo>
                    <a:pt x="252" y="1104"/>
                  </a:lnTo>
                  <a:lnTo>
                    <a:pt x="252" y="1098"/>
                  </a:lnTo>
                  <a:lnTo>
                    <a:pt x="240" y="1092"/>
                  </a:lnTo>
                  <a:lnTo>
                    <a:pt x="234" y="1092"/>
                  </a:lnTo>
                  <a:lnTo>
                    <a:pt x="240" y="1086"/>
                  </a:lnTo>
                  <a:lnTo>
                    <a:pt x="234" y="1080"/>
                  </a:lnTo>
                  <a:lnTo>
                    <a:pt x="228" y="1080"/>
                  </a:lnTo>
                  <a:lnTo>
                    <a:pt x="228" y="1068"/>
                  </a:lnTo>
                  <a:lnTo>
                    <a:pt x="228" y="1056"/>
                  </a:lnTo>
                  <a:lnTo>
                    <a:pt x="222" y="1056"/>
                  </a:lnTo>
                  <a:lnTo>
                    <a:pt x="228" y="1044"/>
                  </a:lnTo>
                  <a:lnTo>
                    <a:pt x="228" y="1038"/>
                  </a:lnTo>
                  <a:lnTo>
                    <a:pt x="228" y="1032"/>
                  </a:lnTo>
                  <a:lnTo>
                    <a:pt x="234" y="1026"/>
                  </a:lnTo>
                  <a:lnTo>
                    <a:pt x="246" y="1020"/>
                  </a:lnTo>
                  <a:lnTo>
                    <a:pt x="252" y="1020"/>
                  </a:lnTo>
                  <a:lnTo>
                    <a:pt x="258" y="1014"/>
                  </a:lnTo>
                  <a:lnTo>
                    <a:pt x="264" y="1008"/>
                  </a:lnTo>
                  <a:lnTo>
                    <a:pt x="264" y="1002"/>
                  </a:lnTo>
                  <a:lnTo>
                    <a:pt x="270" y="984"/>
                  </a:lnTo>
                  <a:lnTo>
                    <a:pt x="276" y="978"/>
                  </a:lnTo>
                  <a:lnTo>
                    <a:pt x="300" y="978"/>
                  </a:lnTo>
                  <a:lnTo>
                    <a:pt x="306" y="972"/>
                  </a:lnTo>
                  <a:lnTo>
                    <a:pt x="312" y="966"/>
                  </a:lnTo>
                  <a:lnTo>
                    <a:pt x="324" y="936"/>
                  </a:lnTo>
                  <a:lnTo>
                    <a:pt x="330" y="930"/>
                  </a:lnTo>
                  <a:lnTo>
                    <a:pt x="330" y="924"/>
                  </a:lnTo>
                  <a:lnTo>
                    <a:pt x="336" y="918"/>
                  </a:lnTo>
                  <a:lnTo>
                    <a:pt x="342" y="912"/>
                  </a:lnTo>
                  <a:lnTo>
                    <a:pt x="342" y="906"/>
                  </a:lnTo>
                  <a:lnTo>
                    <a:pt x="342" y="900"/>
                  </a:lnTo>
                  <a:lnTo>
                    <a:pt x="342" y="894"/>
                  </a:lnTo>
                  <a:lnTo>
                    <a:pt x="342" y="888"/>
                  </a:lnTo>
                  <a:lnTo>
                    <a:pt x="336" y="876"/>
                  </a:lnTo>
                  <a:lnTo>
                    <a:pt x="342" y="870"/>
                  </a:lnTo>
                  <a:lnTo>
                    <a:pt x="336" y="864"/>
                  </a:lnTo>
                  <a:lnTo>
                    <a:pt x="336" y="858"/>
                  </a:lnTo>
                  <a:lnTo>
                    <a:pt x="330" y="852"/>
                  </a:lnTo>
                  <a:lnTo>
                    <a:pt x="318" y="852"/>
                  </a:lnTo>
                  <a:lnTo>
                    <a:pt x="306" y="858"/>
                  </a:lnTo>
                  <a:lnTo>
                    <a:pt x="264" y="864"/>
                  </a:lnTo>
                  <a:lnTo>
                    <a:pt x="234" y="858"/>
                  </a:lnTo>
                  <a:lnTo>
                    <a:pt x="228" y="858"/>
                  </a:lnTo>
                  <a:lnTo>
                    <a:pt x="198" y="858"/>
                  </a:lnTo>
                  <a:lnTo>
                    <a:pt x="174" y="858"/>
                  </a:lnTo>
                  <a:lnTo>
                    <a:pt x="168" y="852"/>
                  </a:lnTo>
                  <a:lnTo>
                    <a:pt x="168" y="840"/>
                  </a:lnTo>
                  <a:lnTo>
                    <a:pt x="168" y="834"/>
                  </a:lnTo>
                  <a:lnTo>
                    <a:pt x="168" y="822"/>
                  </a:lnTo>
                  <a:lnTo>
                    <a:pt x="162" y="822"/>
                  </a:lnTo>
                  <a:lnTo>
                    <a:pt x="150" y="816"/>
                  </a:lnTo>
                  <a:lnTo>
                    <a:pt x="144" y="810"/>
                  </a:lnTo>
                  <a:lnTo>
                    <a:pt x="144" y="804"/>
                  </a:lnTo>
                  <a:lnTo>
                    <a:pt x="144" y="786"/>
                  </a:lnTo>
                  <a:lnTo>
                    <a:pt x="144" y="780"/>
                  </a:lnTo>
                  <a:lnTo>
                    <a:pt x="144" y="774"/>
                  </a:lnTo>
                  <a:lnTo>
                    <a:pt x="132" y="756"/>
                  </a:lnTo>
                  <a:lnTo>
                    <a:pt x="120" y="756"/>
                  </a:lnTo>
                  <a:lnTo>
                    <a:pt x="84" y="750"/>
                  </a:lnTo>
                  <a:lnTo>
                    <a:pt x="78" y="744"/>
                  </a:lnTo>
                  <a:lnTo>
                    <a:pt x="60" y="744"/>
                  </a:lnTo>
                  <a:lnTo>
                    <a:pt x="54" y="726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66" y="720"/>
                  </a:lnTo>
                  <a:lnTo>
                    <a:pt x="66" y="714"/>
                  </a:lnTo>
                  <a:lnTo>
                    <a:pt x="72" y="714"/>
                  </a:lnTo>
                  <a:lnTo>
                    <a:pt x="72" y="708"/>
                  </a:lnTo>
                  <a:lnTo>
                    <a:pt x="78" y="702"/>
                  </a:lnTo>
                  <a:lnTo>
                    <a:pt x="78" y="696"/>
                  </a:lnTo>
                  <a:lnTo>
                    <a:pt x="78" y="690"/>
                  </a:lnTo>
                  <a:lnTo>
                    <a:pt x="84" y="678"/>
                  </a:lnTo>
                  <a:lnTo>
                    <a:pt x="90" y="666"/>
                  </a:lnTo>
                  <a:lnTo>
                    <a:pt x="90" y="642"/>
                  </a:lnTo>
                  <a:lnTo>
                    <a:pt x="84" y="648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66" y="642"/>
                  </a:lnTo>
                  <a:lnTo>
                    <a:pt x="60" y="642"/>
                  </a:lnTo>
                  <a:lnTo>
                    <a:pt x="54" y="636"/>
                  </a:lnTo>
                  <a:lnTo>
                    <a:pt x="30" y="570"/>
                  </a:lnTo>
                  <a:lnTo>
                    <a:pt x="24" y="564"/>
                  </a:lnTo>
                  <a:lnTo>
                    <a:pt x="18" y="570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6"/>
                  </a:lnTo>
                  <a:lnTo>
                    <a:pt x="6" y="540"/>
                  </a:lnTo>
                  <a:lnTo>
                    <a:pt x="0" y="522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2" y="480"/>
                  </a:lnTo>
                  <a:lnTo>
                    <a:pt x="6" y="480"/>
                  </a:lnTo>
                  <a:lnTo>
                    <a:pt x="0" y="474"/>
                  </a:lnTo>
                  <a:lnTo>
                    <a:pt x="0" y="450"/>
                  </a:lnTo>
                  <a:lnTo>
                    <a:pt x="6" y="450"/>
                  </a:lnTo>
                  <a:lnTo>
                    <a:pt x="12" y="450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32"/>
                  </a:lnTo>
                  <a:lnTo>
                    <a:pt x="30" y="426"/>
                  </a:lnTo>
                  <a:lnTo>
                    <a:pt x="36" y="402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2" y="366"/>
                  </a:lnTo>
                  <a:lnTo>
                    <a:pt x="48" y="360"/>
                  </a:lnTo>
                  <a:lnTo>
                    <a:pt x="48" y="342"/>
                  </a:lnTo>
                  <a:lnTo>
                    <a:pt x="42" y="330"/>
                  </a:lnTo>
                  <a:lnTo>
                    <a:pt x="36" y="324"/>
                  </a:lnTo>
                  <a:lnTo>
                    <a:pt x="42" y="306"/>
                  </a:lnTo>
                  <a:lnTo>
                    <a:pt x="42" y="270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48" y="258"/>
                  </a:lnTo>
                  <a:lnTo>
                    <a:pt x="72" y="252"/>
                  </a:lnTo>
                  <a:lnTo>
                    <a:pt x="66" y="204"/>
                  </a:lnTo>
                  <a:lnTo>
                    <a:pt x="60" y="198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8" y="13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84" y="96"/>
                  </a:lnTo>
                  <a:lnTo>
                    <a:pt x="90" y="84"/>
                  </a:lnTo>
                  <a:lnTo>
                    <a:pt x="108" y="72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20" y="60"/>
                  </a:lnTo>
                  <a:lnTo>
                    <a:pt x="120" y="54"/>
                  </a:lnTo>
                  <a:lnTo>
                    <a:pt x="120" y="48"/>
                  </a:lnTo>
                  <a:lnTo>
                    <a:pt x="126" y="48"/>
                  </a:lnTo>
                  <a:lnTo>
                    <a:pt x="132" y="42"/>
                  </a:lnTo>
                  <a:lnTo>
                    <a:pt x="132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240" y="18"/>
                  </a:lnTo>
                  <a:lnTo>
                    <a:pt x="246" y="42"/>
                  </a:lnTo>
                  <a:lnTo>
                    <a:pt x="240" y="72"/>
                  </a:lnTo>
                  <a:lnTo>
                    <a:pt x="246" y="78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8" y="108"/>
                  </a:lnTo>
                  <a:lnTo>
                    <a:pt x="276" y="114"/>
                  </a:lnTo>
                  <a:lnTo>
                    <a:pt x="294" y="150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82" y="186"/>
                  </a:lnTo>
                  <a:lnTo>
                    <a:pt x="282" y="192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76" y="216"/>
                  </a:lnTo>
                  <a:lnTo>
                    <a:pt x="288" y="240"/>
                  </a:lnTo>
                  <a:lnTo>
                    <a:pt x="312" y="228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66" y="228"/>
                  </a:lnTo>
                  <a:lnTo>
                    <a:pt x="372" y="228"/>
                  </a:lnTo>
                  <a:lnTo>
                    <a:pt x="372" y="222"/>
                  </a:lnTo>
                  <a:lnTo>
                    <a:pt x="378" y="222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6" y="222"/>
                  </a:lnTo>
                  <a:lnTo>
                    <a:pt x="402" y="222"/>
                  </a:lnTo>
                  <a:lnTo>
                    <a:pt x="402" y="228"/>
                  </a:lnTo>
                  <a:lnTo>
                    <a:pt x="408" y="228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26" y="216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68" y="258"/>
                  </a:lnTo>
                  <a:lnTo>
                    <a:pt x="462" y="264"/>
                  </a:lnTo>
                  <a:lnTo>
                    <a:pt x="468" y="264"/>
                  </a:lnTo>
                  <a:lnTo>
                    <a:pt x="468" y="270"/>
                  </a:lnTo>
                  <a:lnTo>
                    <a:pt x="474" y="270"/>
                  </a:lnTo>
                  <a:lnTo>
                    <a:pt x="480" y="276"/>
                  </a:lnTo>
                  <a:lnTo>
                    <a:pt x="474" y="282"/>
                  </a:lnTo>
                  <a:lnTo>
                    <a:pt x="474" y="288"/>
                  </a:lnTo>
                  <a:lnTo>
                    <a:pt x="462" y="294"/>
                  </a:lnTo>
                  <a:lnTo>
                    <a:pt x="468" y="324"/>
                  </a:lnTo>
                  <a:lnTo>
                    <a:pt x="462" y="336"/>
                  </a:lnTo>
                  <a:lnTo>
                    <a:pt x="456" y="354"/>
                  </a:lnTo>
                  <a:lnTo>
                    <a:pt x="432" y="390"/>
                  </a:lnTo>
                  <a:lnTo>
                    <a:pt x="420" y="390"/>
                  </a:lnTo>
                  <a:lnTo>
                    <a:pt x="402" y="390"/>
                  </a:lnTo>
                  <a:lnTo>
                    <a:pt x="396" y="396"/>
                  </a:lnTo>
                  <a:lnTo>
                    <a:pt x="390" y="396"/>
                  </a:lnTo>
                  <a:lnTo>
                    <a:pt x="390" y="402"/>
                  </a:lnTo>
                  <a:lnTo>
                    <a:pt x="384" y="402"/>
                  </a:lnTo>
                  <a:lnTo>
                    <a:pt x="408" y="432"/>
                  </a:lnTo>
                  <a:lnTo>
                    <a:pt x="432" y="438"/>
                  </a:lnTo>
                  <a:lnTo>
                    <a:pt x="456" y="432"/>
                  </a:lnTo>
                  <a:lnTo>
                    <a:pt x="468" y="426"/>
                  </a:lnTo>
                  <a:lnTo>
                    <a:pt x="468" y="444"/>
                  </a:lnTo>
                  <a:lnTo>
                    <a:pt x="468" y="450"/>
                  </a:lnTo>
                  <a:lnTo>
                    <a:pt x="468" y="474"/>
                  </a:lnTo>
                  <a:lnTo>
                    <a:pt x="486" y="480"/>
                  </a:lnTo>
                  <a:lnTo>
                    <a:pt x="486" y="486"/>
                  </a:lnTo>
                  <a:lnTo>
                    <a:pt x="492" y="498"/>
                  </a:lnTo>
                  <a:lnTo>
                    <a:pt x="492" y="504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504" y="516"/>
                  </a:lnTo>
                  <a:lnTo>
                    <a:pt x="510" y="516"/>
                  </a:lnTo>
                  <a:lnTo>
                    <a:pt x="522" y="528"/>
                  </a:lnTo>
                  <a:lnTo>
                    <a:pt x="546" y="540"/>
                  </a:lnTo>
                  <a:lnTo>
                    <a:pt x="552" y="546"/>
                  </a:lnTo>
                  <a:lnTo>
                    <a:pt x="570" y="552"/>
                  </a:lnTo>
                  <a:lnTo>
                    <a:pt x="594" y="552"/>
                  </a:lnTo>
                  <a:lnTo>
                    <a:pt x="606" y="546"/>
                  </a:lnTo>
                  <a:lnTo>
                    <a:pt x="612" y="540"/>
                  </a:lnTo>
                  <a:lnTo>
                    <a:pt x="630" y="540"/>
                  </a:lnTo>
                  <a:lnTo>
                    <a:pt x="630" y="552"/>
                  </a:lnTo>
                  <a:lnTo>
                    <a:pt x="654" y="552"/>
                  </a:lnTo>
                  <a:lnTo>
                    <a:pt x="702" y="558"/>
                  </a:lnTo>
                  <a:lnTo>
                    <a:pt x="762" y="546"/>
                  </a:lnTo>
                  <a:lnTo>
                    <a:pt x="780" y="546"/>
                  </a:lnTo>
                  <a:lnTo>
                    <a:pt x="780" y="528"/>
                  </a:lnTo>
                  <a:lnTo>
                    <a:pt x="798" y="522"/>
                  </a:lnTo>
                  <a:lnTo>
                    <a:pt x="810" y="510"/>
                  </a:lnTo>
                  <a:lnTo>
                    <a:pt x="810" y="504"/>
                  </a:lnTo>
                  <a:lnTo>
                    <a:pt x="828" y="492"/>
                  </a:lnTo>
                  <a:lnTo>
                    <a:pt x="888" y="486"/>
                  </a:lnTo>
                  <a:lnTo>
                    <a:pt x="912" y="486"/>
                  </a:lnTo>
                  <a:lnTo>
                    <a:pt x="930" y="474"/>
                  </a:lnTo>
                  <a:lnTo>
                    <a:pt x="918" y="456"/>
                  </a:lnTo>
                  <a:lnTo>
                    <a:pt x="912" y="450"/>
                  </a:lnTo>
                  <a:lnTo>
                    <a:pt x="918" y="390"/>
                  </a:lnTo>
                  <a:lnTo>
                    <a:pt x="954" y="396"/>
                  </a:lnTo>
                  <a:lnTo>
                    <a:pt x="984" y="402"/>
                  </a:lnTo>
                  <a:lnTo>
                    <a:pt x="1014" y="420"/>
                  </a:lnTo>
                  <a:lnTo>
                    <a:pt x="1026" y="432"/>
                  </a:lnTo>
                  <a:lnTo>
                    <a:pt x="1044" y="450"/>
                  </a:lnTo>
                  <a:lnTo>
                    <a:pt x="1062" y="462"/>
                  </a:lnTo>
                  <a:lnTo>
                    <a:pt x="1098" y="468"/>
                  </a:lnTo>
                  <a:lnTo>
                    <a:pt x="1128" y="480"/>
                  </a:lnTo>
                  <a:lnTo>
                    <a:pt x="1152" y="486"/>
                  </a:lnTo>
                  <a:lnTo>
                    <a:pt x="1188" y="498"/>
                  </a:lnTo>
                  <a:lnTo>
                    <a:pt x="1212" y="504"/>
                  </a:lnTo>
                  <a:lnTo>
                    <a:pt x="1224" y="528"/>
                  </a:lnTo>
                  <a:lnTo>
                    <a:pt x="1236" y="540"/>
                  </a:lnTo>
                  <a:lnTo>
                    <a:pt x="1254" y="540"/>
                  </a:lnTo>
                  <a:lnTo>
                    <a:pt x="1254" y="546"/>
                  </a:lnTo>
                  <a:lnTo>
                    <a:pt x="1260" y="552"/>
                  </a:lnTo>
                  <a:lnTo>
                    <a:pt x="1266" y="552"/>
                  </a:lnTo>
                  <a:lnTo>
                    <a:pt x="1266" y="558"/>
                  </a:lnTo>
                  <a:lnTo>
                    <a:pt x="1272" y="564"/>
                  </a:lnTo>
                  <a:lnTo>
                    <a:pt x="1278" y="564"/>
                  </a:lnTo>
                  <a:lnTo>
                    <a:pt x="1278" y="570"/>
                  </a:lnTo>
                  <a:lnTo>
                    <a:pt x="1284" y="576"/>
                  </a:lnTo>
                  <a:lnTo>
                    <a:pt x="1290" y="582"/>
                  </a:lnTo>
                  <a:lnTo>
                    <a:pt x="1296" y="582"/>
                  </a:lnTo>
                  <a:lnTo>
                    <a:pt x="1296" y="588"/>
                  </a:lnTo>
                  <a:lnTo>
                    <a:pt x="1308" y="594"/>
                  </a:lnTo>
                  <a:lnTo>
                    <a:pt x="1308" y="600"/>
                  </a:lnTo>
                  <a:lnTo>
                    <a:pt x="1308" y="606"/>
                  </a:lnTo>
                  <a:lnTo>
                    <a:pt x="1314" y="612"/>
                  </a:lnTo>
                  <a:lnTo>
                    <a:pt x="1308" y="618"/>
                  </a:lnTo>
                  <a:lnTo>
                    <a:pt x="1314" y="618"/>
                  </a:lnTo>
                  <a:lnTo>
                    <a:pt x="1314" y="624"/>
                  </a:lnTo>
                  <a:lnTo>
                    <a:pt x="1308" y="624"/>
                  </a:lnTo>
                  <a:lnTo>
                    <a:pt x="1302" y="630"/>
                  </a:lnTo>
                  <a:lnTo>
                    <a:pt x="1302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296" y="654"/>
                  </a:lnTo>
                  <a:lnTo>
                    <a:pt x="1302" y="660"/>
                  </a:lnTo>
                  <a:lnTo>
                    <a:pt x="1302" y="666"/>
                  </a:lnTo>
                  <a:lnTo>
                    <a:pt x="1308" y="666"/>
                  </a:lnTo>
                  <a:lnTo>
                    <a:pt x="1308" y="672"/>
                  </a:lnTo>
                  <a:lnTo>
                    <a:pt x="1308" y="678"/>
                  </a:lnTo>
                  <a:lnTo>
                    <a:pt x="1308" y="684"/>
                  </a:lnTo>
                  <a:lnTo>
                    <a:pt x="1308" y="690"/>
                  </a:lnTo>
                  <a:lnTo>
                    <a:pt x="1302" y="696"/>
                  </a:lnTo>
                  <a:lnTo>
                    <a:pt x="1302" y="702"/>
                  </a:lnTo>
                  <a:lnTo>
                    <a:pt x="1308" y="702"/>
                  </a:lnTo>
                  <a:lnTo>
                    <a:pt x="1302" y="708"/>
                  </a:lnTo>
                  <a:lnTo>
                    <a:pt x="1308" y="714"/>
                  </a:lnTo>
                  <a:lnTo>
                    <a:pt x="1308" y="720"/>
                  </a:lnTo>
                  <a:lnTo>
                    <a:pt x="1308" y="726"/>
                  </a:lnTo>
                  <a:lnTo>
                    <a:pt x="1308" y="732"/>
                  </a:lnTo>
                  <a:lnTo>
                    <a:pt x="1314" y="732"/>
                  </a:lnTo>
                  <a:lnTo>
                    <a:pt x="1314" y="738"/>
                  </a:lnTo>
                  <a:lnTo>
                    <a:pt x="1320" y="744"/>
                  </a:lnTo>
                  <a:lnTo>
                    <a:pt x="1326" y="750"/>
                  </a:lnTo>
                  <a:lnTo>
                    <a:pt x="1320" y="750"/>
                  </a:lnTo>
                  <a:lnTo>
                    <a:pt x="1320" y="756"/>
                  </a:lnTo>
                  <a:lnTo>
                    <a:pt x="1314" y="756"/>
                  </a:lnTo>
                  <a:lnTo>
                    <a:pt x="1314" y="762"/>
                  </a:lnTo>
                  <a:lnTo>
                    <a:pt x="1314" y="768"/>
                  </a:lnTo>
                  <a:lnTo>
                    <a:pt x="1320" y="768"/>
                  </a:lnTo>
                  <a:lnTo>
                    <a:pt x="1320" y="762"/>
                  </a:lnTo>
                  <a:lnTo>
                    <a:pt x="1320" y="768"/>
                  </a:lnTo>
                  <a:lnTo>
                    <a:pt x="1326" y="774"/>
                  </a:lnTo>
                  <a:lnTo>
                    <a:pt x="1332" y="774"/>
                  </a:lnTo>
                  <a:lnTo>
                    <a:pt x="1332" y="780"/>
                  </a:lnTo>
                  <a:lnTo>
                    <a:pt x="1332" y="786"/>
                  </a:lnTo>
                  <a:lnTo>
                    <a:pt x="1332" y="792"/>
                  </a:lnTo>
                  <a:lnTo>
                    <a:pt x="1338" y="786"/>
                  </a:lnTo>
                  <a:lnTo>
                    <a:pt x="1338" y="792"/>
                  </a:lnTo>
                  <a:lnTo>
                    <a:pt x="1344" y="798"/>
                  </a:lnTo>
                  <a:lnTo>
                    <a:pt x="1344" y="804"/>
                  </a:lnTo>
                  <a:lnTo>
                    <a:pt x="1344" y="810"/>
                  </a:lnTo>
                  <a:lnTo>
                    <a:pt x="1344" y="816"/>
                  </a:lnTo>
                  <a:lnTo>
                    <a:pt x="1344" y="822"/>
                  </a:lnTo>
                  <a:lnTo>
                    <a:pt x="1338" y="828"/>
                  </a:lnTo>
                  <a:lnTo>
                    <a:pt x="1332" y="828"/>
                  </a:lnTo>
                  <a:lnTo>
                    <a:pt x="1338" y="840"/>
                  </a:lnTo>
                  <a:lnTo>
                    <a:pt x="1344" y="846"/>
                  </a:lnTo>
                  <a:lnTo>
                    <a:pt x="1344" y="852"/>
                  </a:lnTo>
                  <a:lnTo>
                    <a:pt x="1350" y="852"/>
                  </a:lnTo>
                  <a:lnTo>
                    <a:pt x="1356" y="858"/>
                  </a:lnTo>
                  <a:lnTo>
                    <a:pt x="1362" y="858"/>
                  </a:lnTo>
                  <a:lnTo>
                    <a:pt x="1362" y="870"/>
                  </a:lnTo>
                  <a:lnTo>
                    <a:pt x="1356" y="870"/>
                  </a:lnTo>
                  <a:lnTo>
                    <a:pt x="1356" y="876"/>
                  </a:lnTo>
                  <a:lnTo>
                    <a:pt x="1350" y="876"/>
                  </a:lnTo>
                  <a:lnTo>
                    <a:pt x="1344" y="876"/>
                  </a:lnTo>
                  <a:lnTo>
                    <a:pt x="1344" y="882"/>
                  </a:lnTo>
                  <a:lnTo>
                    <a:pt x="1338" y="882"/>
                  </a:lnTo>
                  <a:lnTo>
                    <a:pt x="1338" y="888"/>
                  </a:lnTo>
                  <a:lnTo>
                    <a:pt x="1338" y="894"/>
                  </a:lnTo>
                  <a:lnTo>
                    <a:pt x="1344" y="900"/>
                  </a:lnTo>
                  <a:lnTo>
                    <a:pt x="1344" y="906"/>
                  </a:lnTo>
                  <a:lnTo>
                    <a:pt x="1338" y="906"/>
                  </a:lnTo>
                  <a:lnTo>
                    <a:pt x="1332" y="912"/>
                  </a:lnTo>
                  <a:lnTo>
                    <a:pt x="1332" y="918"/>
                  </a:lnTo>
                  <a:lnTo>
                    <a:pt x="1326" y="918"/>
                  </a:lnTo>
                  <a:lnTo>
                    <a:pt x="1332" y="924"/>
                  </a:lnTo>
                  <a:lnTo>
                    <a:pt x="1284" y="942"/>
                  </a:lnTo>
                  <a:lnTo>
                    <a:pt x="1236" y="948"/>
                  </a:lnTo>
                  <a:lnTo>
                    <a:pt x="1194" y="966"/>
                  </a:lnTo>
                  <a:lnTo>
                    <a:pt x="1170" y="1002"/>
                  </a:lnTo>
                  <a:lnTo>
                    <a:pt x="1134" y="1020"/>
                  </a:lnTo>
                  <a:lnTo>
                    <a:pt x="1116" y="1032"/>
                  </a:lnTo>
                  <a:lnTo>
                    <a:pt x="1098" y="1050"/>
                  </a:lnTo>
                  <a:lnTo>
                    <a:pt x="1074" y="1074"/>
                  </a:lnTo>
                  <a:lnTo>
                    <a:pt x="1008" y="1134"/>
                  </a:lnTo>
                  <a:lnTo>
                    <a:pt x="990" y="1158"/>
                  </a:lnTo>
                  <a:lnTo>
                    <a:pt x="978" y="1182"/>
                  </a:lnTo>
                  <a:lnTo>
                    <a:pt x="960" y="1194"/>
                  </a:lnTo>
                  <a:lnTo>
                    <a:pt x="942" y="1212"/>
                  </a:lnTo>
                  <a:lnTo>
                    <a:pt x="912" y="1242"/>
                  </a:lnTo>
                  <a:lnTo>
                    <a:pt x="888" y="1254"/>
                  </a:lnTo>
                  <a:lnTo>
                    <a:pt x="864" y="1278"/>
                  </a:lnTo>
                  <a:lnTo>
                    <a:pt x="828" y="1296"/>
                  </a:lnTo>
                  <a:lnTo>
                    <a:pt x="774" y="1308"/>
                  </a:lnTo>
                  <a:lnTo>
                    <a:pt x="732" y="1302"/>
                  </a:lnTo>
                  <a:lnTo>
                    <a:pt x="702" y="1284"/>
                  </a:lnTo>
                  <a:lnTo>
                    <a:pt x="684" y="127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1" name="Freeform 16">
              <a:extLst>
                <a:ext uri="{FF2B5EF4-FFF2-40B4-BE49-F238E27FC236}">
                  <a16:creationId xmlns:a16="http://schemas.microsoft.com/office/drawing/2014/main" id="{D8D8591A-D9DB-4301-BEBD-D8F5A26DA9E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3001" y="2929369"/>
              <a:ext cx="914601" cy="1037736"/>
            </a:xfrm>
            <a:custGeom>
              <a:avLst/>
              <a:gdLst>
                <a:gd name="T0" fmla="*/ 144 w 1722"/>
                <a:gd name="T1" fmla="*/ 131 h 1956"/>
                <a:gd name="T2" fmla="*/ 142 w 1722"/>
                <a:gd name="T3" fmla="*/ 139 h 1956"/>
                <a:gd name="T4" fmla="*/ 137 w 1722"/>
                <a:gd name="T5" fmla="*/ 143 h 1956"/>
                <a:gd name="T6" fmla="*/ 133 w 1722"/>
                <a:gd name="T7" fmla="*/ 147 h 1956"/>
                <a:gd name="T8" fmla="*/ 132 w 1722"/>
                <a:gd name="T9" fmla="*/ 152 h 1956"/>
                <a:gd name="T10" fmla="*/ 130 w 1722"/>
                <a:gd name="T11" fmla="*/ 159 h 1956"/>
                <a:gd name="T12" fmla="*/ 127 w 1722"/>
                <a:gd name="T13" fmla="*/ 164 h 1956"/>
                <a:gd name="T14" fmla="*/ 123 w 1722"/>
                <a:gd name="T15" fmla="*/ 168 h 1956"/>
                <a:gd name="T16" fmla="*/ 117 w 1722"/>
                <a:gd name="T17" fmla="*/ 169 h 1956"/>
                <a:gd name="T18" fmla="*/ 110 w 1722"/>
                <a:gd name="T19" fmla="*/ 168 h 1956"/>
                <a:gd name="T20" fmla="*/ 104 w 1722"/>
                <a:gd name="T21" fmla="*/ 166 h 1956"/>
                <a:gd name="T22" fmla="*/ 101 w 1722"/>
                <a:gd name="T23" fmla="*/ 159 h 1956"/>
                <a:gd name="T24" fmla="*/ 95 w 1722"/>
                <a:gd name="T25" fmla="*/ 156 h 1956"/>
                <a:gd name="T26" fmla="*/ 89 w 1722"/>
                <a:gd name="T27" fmla="*/ 151 h 1956"/>
                <a:gd name="T28" fmla="*/ 87 w 1722"/>
                <a:gd name="T29" fmla="*/ 144 h 1956"/>
                <a:gd name="T30" fmla="*/ 82 w 1722"/>
                <a:gd name="T31" fmla="*/ 141 h 1956"/>
                <a:gd name="T32" fmla="*/ 76 w 1722"/>
                <a:gd name="T33" fmla="*/ 134 h 1956"/>
                <a:gd name="T34" fmla="*/ 74 w 1722"/>
                <a:gd name="T35" fmla="*/ 143 h 1956"/>
                <a:gd name="T36" fmla="*/ 68 w 1722"/>
                <a:gd name="T37" fmla="*/ 147 h 1956"/>
                <a:gd name="T38" fmla="*/ 54 w 1722"/>
                <a:gd name="T39" fmla="*/ 144 h 1956"/>
                <a:gd name="T40" fmla="*/ 51 w 1722"/>
                <a:gd name="T41" fmla="*/ 142 h 1956"/>
                <a:gd name="T42" fmla="*/ 42 w 1722"/>
                <a:gd name="T43" fmla="*/ 151 h 1956"/>
                <a:gd name="T44" fmla="*/ 33 w 1722"/>
                <a:gd name="T45" fmla="*/ 154 h 1956"/>
                <a:gd name="T46" fmla="*/ 31 w 1722"/>
                <a:gd name="T47" fmla="*/ 159 h 1956"/>
                <a:gd name="T48" fmla="*/ 29 w 1722"/>
                <a:gd name="T49" fmla="*/ 166 h 1956"/>
                <a:gd name="T50" fmla="*/ 25 w 1722"/>
                <a:gd name="T51" fmla="*/ 169 h 1956"/>
                <a:gd name="T52" fmla="*/ 27 w 1722"/>
                <a:gd name="T53" fmla="*/ 154 h 1956"/>
                <a:gd name="T54" fmla="*/ 37 w 1722"/>
                <a:gd name="T55" fmla="*/ 133 h 1956"/>
                <a:gd name="T56" fmla="*/ 36 w 1722"/>
                <a:gd name="T57" fmla="*/ 109 h 1956"/>
                <a:gd name="T58" fmla="*/ 27 w 1722"/>
                <a:gd name="T59" fmla="*/ 101 h 1956"/>
                <a:gd name="T60" fmla="*/ 5 w 1722"/>
                <a:gd name="T61" fmla="*/ 98 h 1956"/>
                <a:gd name="T62" fmla="*/ 2 w 1722"/>
                <a:gd name="T63" fmla="*/ 93 h 1956"/>
                <a:gd name="T64" fmla="*/ 12 w 1722"/>
                <a:gd name="T65" fmla="*/ 82 h 1956"/>
                <a:gd name="T66" fmla="*/ 9 w 1722"/>
                <a:gd name="T67" fmla="*/ 74 h 1956"/>
                <a:gd name="T68" fmla="*/ 23 w 1722"/>
                <a:gd name="T69" fmla="*/ 72 h 1956"/>
                <a:gd name="T70" fmla="*/ 22 w 1722"/>
                <a:gd name="T71" fmla="*/ 67 h 1956"/>
                <a:gd name="T72" fmla="*/ 48 w 1722"/>
                <a:gd name="T73" fmla="*/ 57 h 1956"/>
                <a:gd name="T74" fmla="*/ 78 w 1722"/>
                <a:gd name="T75" fmla="*/ 34 h 1956"/>
                <a:gd name="T76" fmla="*/ 81 w 1722"/>
                <a:gd name="T77" fmla="*/ 31 h 1956"/>
                <a:gd name="T78" fmla="*/ 80 w 1722"/>
                <a:gd name="T79" fmla="*/ 26 h 1956"/>
                <a:gd name="T80" fmla="*/ 78 w 1722"/>
                <a:gd name="T81" fmla="*/ 21 h 1956"/>
                <a:gd name="T82" fmla="*/ 77 w 1722"/>
                <a:gd name="T83" fmla="*/ 18 h 1956"/>
                <a:gd name="T84" fmla="*/ 77 w 1722"/>
                <a:gd name="T85" fmla="*/ 12 h 1956"/>
                <a:gd name="T86" fmla="*/ 77 w 1722"/>
                <a:gd name="T87" fmla="*/ 7 h 1956"/>
                <a:gd name="T88" fmla="*/ 102 w 1722"/>
                <a:gd name="T89" fmla="*/ 2 h 1956"/>
                <a:gd name="T90" fmla="*/ 115 w 1722"/>
                <a:gd name="T91" fmla="*/ 3 h 1956"/>
                <a:gd name="T92" fmla="*/ 123 w 1722"/>
                <a:gd name="T93" fmla="*/ 3 h 1956"/>
                <a:gd name="T94" fmla="*/ 125 w 1722"/>
                <a:gd name="T95" fmla="*/ 9 h 1956"/>
                <a:gd name="T96" fmla="*/ 133 w 1722"/>
                <a:gd name="T97" fmla="*/ 13 h 1956"/>
                <a:gd name="T98" fmla="*/ 149 w 1722"/>
                <a:gd name="T99" fmla="*/ 37 h 1956"/>
                <a:gd name="T100" fmla="*/ 141 w 1722"/>
                <a:gd name="T101" fmla="*/ 57 h 1956"/>
                <a:gd name="T102" fmla="*/ 135 w 1722"/>
                <a:gd name="T103" fmla="*/ 63 h 1956"/>
                <a:gd name="T104" fmla="*/ 124 w 1722"/>
                <a:gd name="T105" fmla="*/ 77 h 1956"/>
                <a:gd name="T106" fmla="*/ 123 w 1722"/>
                <a:gd name="T107" fmla="*/ 96 h 1956"/>
                <a:gd name="T108" fmla="*/ 127 w 1722"/>
                <a:gd name="T109" fmla="*/ 97 h 1956"/>
                <a:gd name="T110" fmla="*/ 129 w 1722"/>
                <a:gd name="T111" fmla="*/ 92 h 1956"/>
                <a:gd name="T112" fmla="*/ 134 w 1722"/>
                <a:gd name="T113" fmla="*/ 94 h 1956"/>
                <a:gd name="T114" fmla="*/ 138 w 1722"/>
                <a:gd name="T115" fmla="*/ 99 h 1956"/>
                <a:gd name="T116" fmla="*/ 142 w 1722"/>
                <a:gd name="T117" fmla="*/ 104 h 1956"/>
                <a:gd name="T118" fmla="*/ 141 w 1722"/>
                <a:gd name="T119" fmla="*/ 115 h 19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722"/>
                <a:gd name="T181" fmla="*/ 0 h 1956"/>
                <a:gd name="T182" fmla="*/ 1722 w 1722"/>
                <a:gd name="T183" fmla="*/ 1956 h 19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722" h="1956">
                  <a:moveTo>
                    <a:pt x="1686" y="1404"/>
                  </a:moveTo>
                  <a:lnTo>
                    <a:pt x="1680" y="1416"/>
                  </a:lnTo>
                  <a:lnTo>
                    <a:pt x="1674" y="1422"/>
                  </a:lnTo>
                  <a:lnTo>
                    <a:pt x="1674" y="1428"/>
                  </a:lnTo>
                  <a:lnTo>
                    <a:pt x="1668" y="1428"/>
                  </a:lnTo>
                  <a:lnTo>
                    <a:pt x="1668" y="1434"/>
                  </a:lnTo>
                  <a:lnTo>
                    <a:pt x="1662" y="1446"/>
                  </a:lnTo>
                  <a:lnTo>
                    <a:pt x="1656" y="1464"/>
                  </a:lnTo>
                  <a:lnTo>
                    <a:pt x="1656" y="1476"/>
                  </a:lnTo>
                  <a:lnTo>
                    <a:pt x="1656" y="1488"/>
                  </a:lnTo>
                  <a:lnTo>
                    <a:pt x="1662" y="1500"/>
                  </a:lnTo>
                  <a:lnTo>
                    <a:pt x="1662" y="1506"/>
                  </a:lnTo>
                  <a:lnTo>
                    <a:pt x="1662" y="1524"/>
                  </a:lnTo>
                  <a:lnTo>
                    <a:pt x="1668" y="1542"/>
                  </a:lnTo>
                  <a:lnTo>
                    <a:pt x="1674" y="1560"/>
                  </a:lnTo>
                  <a:lnTo>
                    <a:pt x="1680" y="1578"/>
                  </a:lnTo>
                  <a:lnTo>
                    <a:pt x="1686" y="1578"/>
                  </a:lnTo>
                  <a:lnTo>
                    <a:pt x="1686" y="1584"/>
                  </a:lnTo>
                  <a:lnTo>
                    <a:pt x="1686" y="1590"/>
                  </a:lnTo>
                  <a:lnTo>
                    <a:pt x="1686" y="1596"/>
                  </a:lnTo>
                  <a:lnTo>
                    <a:pt x="1680" y="1596"/>
                  </a:lnTo>
                  <a:lnTo>
                    <a:pt x="1674" y="1602"/>
                  </a:lnTo>
                  <a:lnTo>
                    <a:pt x="1662" y="1602"/>
                  </a:lnTo>
                  <a:lnTo>
                    <a:pt x="1638" y="1596"/>
                  </a:lnTo>
                  <a:lnTo>
                    <a:pt x="1632" y="1596"/>
                  </a:lnTo>
                  <a:lnTo>
                    <a:pt x="1626" y="1602"/>
                  </a:lnTo>
                  <a:lnTo>
                    <a:pt x="1620" y="1602"/>
                  </a:lnTo>
                  <a:lnTo>
                    <a:pt x="1614" y="1602"/>
                  </a:lnTo>
                  <a:lnTo>
                    <a:pt x="1602" y="1602"/>
                  </a:lnTo>
                  <a:lnTo>
                    <a:pt x="1602" y="1608"/>
                  </a:lnTo>
                  <a:lnTo>
                    <a:pt x="1602" y="1620"/>
                  </a:lnTo>
                  <a:lnTo>
                    <a:pt x="1596" y="1620"/>
                  </a:lnTo>
                  <a:lnTo>
                    <a:pt x="1590" y="1620"/>
                  </a:lnTo>
                  <a:lnTo>
                    <a:pt x="1584" y="1626"/>
                  </a:lnTo>
                  <a:lnTo>
                    <a:pt x="1584" y="1632"/>
                  </a:lnTo>
                  <a:lnTo>
                    <a:pt x="1578" y="1644"/>
                  </a:lnTo>
                  <a:lnTo>
                    <a:pt x="1572" y="1644"/>
                  </a:lnTo>
                  <a:lnTo>
                    <a:pt x="1566" y="1644"/>
                  </a:lnTo>
                  <a:lnTo>
                    <a:pt x="1566" y="1650"/>
                  </a:lnTo>
                  <a:lnTo>
                    <a:pt x="1560" y="1650"/>
                  </a:lnTo>
                  <a:lnTo>
                    <a:pt x="1554" y="1650"/>
                  </a:lnTo>
                  <a:lnTo>
                    <a:pt x="1548" y="1650"/>
                  </a:lnTo>
                  <a:lnTo>
                    <a:pt x="1548" y="1656"/>
                  </a:lnTo>
                  <a:lnTo>
                    <a:pt x="1542" y="1668"/>
                  </a:lnTo>
                  <a:lnTo>
                    <a:pt x="1542" y="1674"/>
                  </a:lnTo>
                  <a:lnTo>
                    <a:pt x="1542" y="1692"/>
                  </a:lnTo>
                  <a:lnTo>
                    <a:pt x="1536" y="1698"/>
                  </a:lnTo>
                  <a:lnTo>
                    <a:pt x="1530" y="1698"/>
                  </a:lnTo>
                  <a:lnTo>
                    <a:pt x="1524" y="1698"/>
                  </a:lnTo>
                  <a:lnTo>
                    <a:pt x="1518" y="1704"/>
                  </a:lnTo>
                  <a:lnTo>
                    <a:pt x="1512" y="1710"/>
                  </a:lnTo>
                  <a:lnTo>
                    <a:pt x="1506" y="1722"/>
                  </a:lnTo>
                  <a:lnTo>
                    <a:pt x="1500" y="1728"/>
                  </a:lnTo>
                  <a:lnTo>
                    <a:pt x="1500" y="1734"/>
                  </a:lnTo>
                  <a:lnTo>
                    <a:pt x="1512" y="1734"/>
                  </a:lnTo>
                  <a:lnTo>
                    <a:pt x="1518" y="1740"/>
                  </a:lnTo>
                  <a:lnTo>
                    <a:pt x="1518" y="1746"/>
                  </a:lnTo>
                  <a:lnTo>
                    <a:pt x="1518" y="1752"/>
                  </a:lnTo>
                  <a:lnTo>
                    <a:pt x="1518" y="1758"/>
                  </a:lnTo>
                  <a:lnTo>
                    <a:pt x="1524" y="1758"/>
                  </a:lnTo>
                  <a:lnTo>
                    <a:pt x="1524" y="1764"/>
                  </a:lnTo>
                  <a:lnTo>
                    <a:pt x="1530" y="1770"/>
                  </a:lnTo>
                  <a:lnTo>
                    <a:pt x="1518" y="1770"/>
                  </a:lnTo>
                  <a:lnTo>
                    <a:pt x="1512" y="1782"/>
                  </a:lnTo>
                  <a:lnTo>
                    <a:pt x="1512" y="1788"/>
                  </a:lnTo>
                  <a:lnTo>
                    <a:pt x="1518" y="1788"/>
                  </a:lnTo>
                  <a:lnTo>
                    <a:pt x="1524" y="1800"/>
                  </a:lnTo>
                  <a:lnTo>
                    <a:pt x="1524" y="1806"/>
                  </a:lnTo>
                  <a:lnTo>
                    <a:pt x="1518" y="1812"/>
                  </a:lnTo>
                  <a:lnTo>
                    <a:pt x="1512" y="1818"/>
                  </a:lnTo>
                  <a:lnTo>
                    <a:pt x="1506" y="1818"/>
                  </a:lnTo>
                  <a:lnTo>
                    <a:pt x="1500" y="1824"/>
                  </a:lnTo>
                  <a:lnTo>
                    <a:pt x="1500" y="1836"/>
                  </a:lnTo>
                  <a:lnTo>
                    <a:pt x="1500" y="1842"/>
                  </a:lnTo>
                  <a:lnTo>
                    <a:pt x="1500" y="1848"/>
                  </a:lnTo>
                  <a:lnTo>
                    <a:pt x="1500" y="1854"/>
                  </a:lnTo>
                  <a:lnTo>
                    <a:pt x="1494" y="1860"/>
                  </a:lnTo>
                  <a:lnTo>
                    <a:pt x="1488" y="1860"/>
                  </a:lnTo>
                  <a:lnTo>
                    <a:pt x="1488" y="1866"/>
                  </a:lnTo>
                  <a:lnTo>
                    <a:pt x="1482" y="1872"/>
                  </a:lnTo>
                  <a:lnTo>
                    <a:pt x="1482" y="1878"/>
                  </a:lnTo>
                  <a:lnTo>
                    <a:pt x="1482" y="1884"/>
                  </a:lnTo>
                  <a:lnTo>
                    <a:pt x="1476" y="1890"/>
                  </a:lnTo>
                  <a:lnTo>
                    <a:pt x="1470" y="1890"/>
                  </a:lnTo>
                  <a:lnTo>
                    <a:pt x="1470" y="1896"/>
                  </a:lnTo>
                  <a:lnTo>
                    <a:pt x="1464" y="1896"/>
                  </a:lnTo>
                  <a:lnTo>
                    <a:pt x="1458" y="1896"/>
                  </a:lnTo>
                  <a:lnTo>
                    <a:pt x="1452" y="1896"/>
                  </a:lnTo>
                  <a:lnTo>
                    <a:pt x="1440" y="1890"/>
                  </a:lnTo>
                  <a:lnTo>
                    <a:pt x="1434" y="1896"/>
                  </a:lnTo>
                  <a:lnTo>
                    <a:pt x="1428" y="1896"/>
                  </a:lnTo>
                  <a:lnTo>
                    <a:pt x="1422" y="1896"/>
                  </a:lnTo>
                  <a:lnTo>
                    <a:pt x="1422" y="1902"/>
                  </a:lnTo>
                  <a:lnTo>
                    <a:pt x="1416" y="1902"/>
                  </a:lnTo>
                  <a:lnTo>
                    <a:pt x="1422" y="1914"/>
                  </a:lnTo>
                  <a:lnTo>
                    <a:pt x="1422" y="1932"/>
                  </a:lnTo>
                  <a:lnTo>
                    <a:pt x="1416" y="1938"/>
                  </a:lnTo>
                  <a:lnTo>
                    <a:pt x="1422" y="1938"/>
                  </a:lnTo>
                  <a:lnTo>
                    <a:pt x="1404" y="1938"/>
                  </a:lnTo>
                  <a:lnTo>
                    <a:pt x="1392" y="1944"/>
                  </a:lnTo>
                  <a:lnTo>
                    <a:pt x="1386" y="1944"/>
                  </a:lnTo>
                  <a:lnTo>
                    <a:pt x="1374" y="1944"/>
                  </a:lnTo>
                  <a:lnTo>
                    <a:pt x="1368" y="1950"/>
                  </a:lnTo>
                  <a:lnTo>
                    <a:pt x="1374" y="1956"/>
                  </a:lnTo>
                  <a:lnTo>
                    <a:pt x="1368" y="1956"/>
                  </a:lnTo>
                  <a:lnTo>
                    <a:pt x="1356" y="1956"/>
                  </a:lnTo>
                  <a:lnTo>
                    <a:pt x="1350" y="1956"/>
                  </a:lnTo>
                  <a:lnTo>
                    <a:pt x="1350" y="1950"/>
                  </a:lnTo>
                  <a:lnTo>
                    <a:pt x="1344" y="1944"/>
                  </a:lnTo>
                  <a:lnTo>
                    <a:pt x="1332" y="1938"/>
                  </a:lnTo>
                  <a:lnTo>
                    <a:pt x="1326" y="1938"/>
                  </a:lnTo>
                  <a:lnTo>
                    <a:pt x="1320" y="1938"/>
                  </a:lnTo>
                  <a:lnTo>
                    <a:pt x="1314" y="1944"/>
                  </a:lnTo>
                  <a:lnTo>
                    <a:pt x="1308" y="1944"/>
                  </a:lnTo>
                  <a:lnTo>
                    <a:pt x="1302" y="1944"/>
                  </a:lnTo>
                  <a:lnTo>
                    <a:pt x="1296" y="1938"/>
                  </a:lnTo>
                  <a:lnTo>
                    <a:pt x="1284" y="1938"/>
                  </a:lnTo>
                  <a:lnTo>
                    <a:pt x="1278" y="1938"/>
                  </a:lnTo>
                  <a:lnTo>
                    <a:pt x="1272" y="1938"/>
                  </a:lnTo>
                  <a:lnTo>
                    <a:pt x="1266" y="1932"/>
                  </a:lnTo>
                  <a:lnTo>
                    <a:pt x="1260" y="1932"/>
                  </a:lnTo>
                  <a:lnTo>
                    <a:pt x="1254" y="1920"/>
                  </a:lnTo>
                  <a:lnTo>
                    <a:pt x="1248" y="1920"/>
                  </a:lnTo>
                  <a:lnTo>
                    <a:pt x="1242" y="1920"/>
                  </a:lnTo>
                  <a:lnTo>
                    <a:pt x="1236" y="1926"/>
                  </a:lnTo>
                  <a:lnTo>
                    <a:pt x="1236" y="1932"/>
                  </a:lnTo>
                  <a:lnTo>
                    <a:pt x="1230" y="1932"/>
                  </a:lnTo>
                  <a:lnTo>
                    <a:pt x="1224" y="1932"/>
                  </a:lnTo>
                  <a:lnTo>
                    <a:pt x="1218" y="1938"/>
                  </a:lnTo>
                  <a:lnTo>
                    <a:pt x="1212" y="1932"/>
                  </a:lnTo>
                  <a:lnTo>
                    <a:pt x="1206" y="1926"/>
                  </a:lnTo>
                  <a:lnTo>
                    <a:pt x="1206" y="1908"/>
                  </a:lnTo>
                  <a:lnTo>
                    <a:pt x="1206" y="1884"/>
                  </a:lnTo>
                  <a:lnTo>
                    <a:pt x="1206" y="1866"/>
                  </a:lnTo>
                  <a:lnTo>
                    <a:pt x="1212" y="1848"/>
                  </a:lnTo>
                  <a:lnTo>
                    <a:pt x="1212" y="1842"/>
                  </a:lnTo>
                  <a:lnTo>
                    <a:pt x="1206" y="1836"/>
                  </a:lnTo>
                  <a:lnTo>
                    <a:pt x="1200" y="1830"/>
                  </a:lnTo>
                  <a:lnTo>
                    <a:pt x="1194" y="1824"/>
                  </a:lnTo>
                  <a:lnTo>
                    <a:pt x="1188" y="1824"/>
                  </a:lnTo>
                  <a:lnTo>
                    <a:pt x="1182" y="1824"/>
                  </a:lnTo>
                  <a:lnTo>
                    <a:pt x="1176" y="1824"/>
                  </a:lnTo>
                  <a:lnTo>
                    <a:pt x="1170" y="1818"/>
                  </a:lnTo>
                  <a:lnTo>
                    <a:pt x="1164" y="1830"/>
                  </a:lnTo>
                  <a:lnTo>
                    <a:pt x="1152" y="1836"/>
                  </a:lnTo>
                  <a:lnTo>
                    <a:pt x="1146" y="1842"/>
                  </a:lnTo>
                  <a:lnTo>
                    <a:pt x="1140" y="1842"/>
                  </a:lnTo>
                  <a:lnTo>
                    <a:pt x="1134" y="1842"/>
                  </a:lnTo>
                  <a:lnTo>
                    <a:pt x="1128" y="1842"/>
                  </a:lnTo>
                  <a:lnTo>
                    <a:pt x="1116" y="1836"/>
                  </a:lnTo>
                  <a:lnTo>
                    <a:pt x="1110" y="1842"/>
                  </a:lnTo>
                  <a:lnTo>
                    <a:pt x="1092" y="1830"/>
                  </a:lnTo>
                  <a:lnTo>
                    <a:pt x="1092" y="1824"/>
                  </a:lnTo>
                  <a:lnTo>
                    <a:pt x="1092" y="1806"/>
                  </a:lnTo>
                  <a:lnTo>
                    <a:pt x="1092" y="1800"/>
                  </a:lnTo>
                  <a:lnTo>
                    <a:pt x="1092" y="1794"/>
                  </a:lnTo>
                  <a:lnTo>
                    <a:pt x="1086" y="1788"/>
                  </a:lnTo>
                  <a:lnTo>
                    <a:pt x="1080" y="1794"/>
                  </a:lnTo>
                  <a:lnTo>
                    <a:pt x="1074" y="1788"/>
                  </a:lnTo>
                  <a:lnTo>
                    <a:pt x="1068" y="1770"/>
                  </a:lnTo>
                  <a:lnTo>
                    <a:pt x="1056" y="1764"/>
                  </a:lnTo>
                  <a:lnTo>
                    <a:pt x="1050" y="1764"/>
                  </a:lnTo>
                  <a:lnTo>
                    <a:pt x="1044" y="1764"/>
                  </a:lnTo>
                  <a:lnTo>
                    <a:pt x="1038" y="1758"/>
                  </a:lnTo>
                  <a:lnTo>
                    <a:pt x="1032" y="1752"/>
                  </a:lnTo>
                  <a:lnTo>
                    <a:pt x="1032" y="1746"/>
                  </a:lnTo>
                  <a:lnTo>
                    <a:pt x="1032" y="1740"/>
                  </a:lnTo>
                  <a:lnTo>
                    <a:pt x="1032" y="1734"/>
                  </a:lnTo>
                  <a:lnTo>
                    <a:pt x="1026" y="1734"/>
                  </a:lnTo>
                  <a:lnTo>
                    <a:pt x="1032" y="1728"/>
                  </a:lnTo>
                  <a:lnTo>
                    <a:pt x="1032" y="1722"/>
                  </a:lnTo>
                  <a:lnTo>
                    <a:pt x="1044" y="1686"/>
                  </a:lnTo>
                  <a:lnTo>
                    <a:pt x="1044" y="1680"/>
                  </a:lnTo>
                  <a:lnTo>
                    <a:pt x="1032" y="1674"/>
                  </a:lnTo>
                  <a:lnTo>
                    <a:pt x="1026" y="1674"/>
                  </a:lnTo>
                  <a:lnTo>
                    <a:pt x="1026" y="1668"/>
                  </a:lnTo>
                  <a:lnTo>
                    <a:pt x="1020" y="1662"/>
                  </a:lnTo>
                  <a:lnTo>
                    <a:pt x="1014" y="1668"/>
                  </a:lnTo>
                  <a:lnTo>
                    <a:pt x="1008" y="1662"/>
                  </a:lnTo>
                  <a:lnTo>
                    <a:pt x="1002" y="1662"/>
                  </a:lnTo>
                  <a:lnTo>
                    <a:pt x="1002" y="1668"/>
                  </a:lnTo>
                  <a:lnTo>
                    <a:pt x="996" y="1668"/>
                  </a:lnTo>
                  <a:lnTo>
                    <a:pt x="996" y="1662"/>
                  </a:lnTo>
                  <a:lnTo>
                    <a:pt x="984" y="1662"/>
                  </a:lnTo>
                  <a:lnTo>
                    <a:pt x="984" y="1656"/>
                  </a:lnTo>
                  <a:lnTo>
                    <a:pt x="978" y="1650"/>
                  </a:lnTo>
                  <a:lnTo>
                    <a:pt x="978" y="1644"/>
                  </a:lnTo>
                  <a:lnTo>
                    <a:pt x="966" y="1650"/>
                  </a:lnTo>
                  <a:lnTo>
                    <a:pt x="960" y="1638"/>
                  </a:lnTo>
                  <a:lnTo>
                    <a:pt x="954" y="1632"/>
                  </a:lnTo>
                  <a:lnTo>
                    <a:pt x="948" y="1632"/>
                  </a:lnTo>
                  <a:lnTo>
                    <a:pt x="942" y="1626"/>
                  </a:lnTo>
                  <a:lnTo>
                    <a:pt x="942" y="1614"/>
                  </a:lnTo>
                  <a:lnTo>
                    <a:pt x="930" y="1608"/>
                  </a:lnTo>
                  <a:lnTo>
                    <a:pt x="924" y="1614"/>
                  </a:lnTo>
                  <a:lnTo>
                    <a:pt x="912" y="1608"/>
                  </a:lnTo>
                  <a:lnTo>
                    <a:pt x="888" y="1590"/>
                  </a:lnTo>
                  <a:lnTo>
                    <a:pt x="894" y="1578"/>
                  </a:lnTo>
                  <a:lnTo>
                    <a:pt x="894" y="1572"/>
                  </a:lnTo>
                  <a:lnTo>
                    <a:pt x="894" y="1566"/>
                  </a:lnTo>
                  <a:lnTo>
                    <a:pt x="894" y="1548"/>
                  </a:lnTo>
                  <a:lnTo>
                    <a:pt x="888" y="1548"/>
                  </a:lnTo>
                  <a:lnTo>
                    <a:pt x="882" y="1542"/>
                  </a:lnTo>
                  <a:lnTo>
                    <a:pt x="876" y="1542"/>
                  </a:lnTo>
                  <a:lnTo>
                    <a:pt x="876" y="1536"/>
                  </a:lnTo>
                  <a:lnTo>
                    <a:pt x="870" y="1542"/>
                  </a:lnTo>
                  <a:lnTo>
                    <a:pt x="870" y="1554"/>
                  </a:lnTo>
                  <a:lnTo>
                    <a:pt x="870" y="1566"/>
                  </a:lnTo>
                  <a:lnTo>
                    <a:pt x="870" y="1578"/>
                  </a:lnTo>
                  <a:lnTo>
                    <a:pt x="870" y="1584"/>
                  </a:lnTo>
                  <a:lnTo>
                    <a:pt x="864" y="1584"/>
                  </a:lnTo>
                  <a:lnTo>
                    <a:pt x="870" y="1602"/>
                  </a:lnTo>
                  <a:lnTo>
                    <a:pt x="864" y="1608"/>
                  </a:lnTo>
                  <a:lnTo>
                    <a:pt x="870" y="1614"/>
                  </a:lnTo>
                  <a:lnTo>
                    <a:pt x="864" y="1644"/>
                  </a:lnTo>
                  <a:lnTo>
                    <a:pt x="858" y="1650"/>
                  </a:lnTo>
                  <a:lnTo>
                    <a:pt x="858" y="1656"/>
                  </a:lnTo>
                  <a:lnTo>
                    <a:pt x="852" y="1662"/>
                  </a:lnTo>
                  <a:lnTo>
                    <a:pt x="852" y="1680"/>
                  </a:lnTo>
                  <a:lnTo>
                    <a:pt x="846" y="1686"/>
                  </a:lnTo>
                  <a:lnTo>
                    <a:pt x="834" y="1692"/>
                  </a:lnTo>
                  <a:lnTo>
                    <a:pt x="828" y="1692"/>
                  </a:lnTo>
                  <a:lnTo>
                    <a:pt x="822" y="1698"/>
                  </a:lnTo>
                  <a:lnTo>
                    <a:pt x="822" y="1704"/>
                  </a:lnTo>
                  <a:lnTo>
                    <a:pt x="816" y="1704"/>
                  </a:lnTo>
                  <a:lnTo>
                    <a:pt x="804" y="1692"/>
                  </a:lnTo>
                  <a:lnTo>
                    <a:pt x="786" y="1698"/>
                  </a:lnTo>
                  <a:lnTo>
                    <a:pt x="780" y="1698"/>
                  </a:lnTo>
                  <a:lnTo>
                    <a:pt x="756" y="1698"/>
                  </a:lnTo>
                  <a:lnTo>
                    <a:pt x="744" y="1698"/>
                  </a:lnTo>
                  <a:lnTo>
                    <a:pt x="738" y="1698"/>
                  </a:lnTo>
                  <a:lnTo>
                    <a:pt x="732" y="1704"/>
                  </a:lnTo>
                  <a:lnTo>
                    <a:pt x="726" y="1704"/>
                  </a:lnTo>
                  <a:lnTo>
                    <a:pt x="678" y="1710"/>
                  </a:lnTo>
                  <a:lnTo>
                    <a:pt x="642" y="1710"/>
                  </a:lnTo>
                  <a:lnTo>
                    <a:pt x="618" y="1680"/>
                  </a:lnTo>
                  <a:lnTo>
                    <a:pt x="618" y="1674"/>
                  </a:lnTo>
                  <a:lnTo>
                    <a:pt x="618" y="1668"/>
                  </a:lnTo>
                  <a:lnTo>
                    <a:pt x="624" y="1662"/>
                  </a:lnTo>
                  <a:lnTo>
                    <a:pt x="624" y="1656"/>
                  </a:lnTo>
                  <a:lnTo>
                    <a:pt x="624" y="1650"/>
                  </a:lnTo>
                  <a:lnTo>
                    <a:pt x="618" y="1650"/>
                  </a:lnTo>
                  <a:lnTo>
                    <a:pt x="618" y="1644"/>
                  </a:lnTo>
                  <a:lnTo>
                    <a:pt x="618" y="1638"/>
                  </a:lnTo>
                  <a:lnTo>
                    <a:pt x="618" y="1632"/>
                  </a:lnTo>
                  <a:lnTo>
                    <a:pt x="618" y="1626"/>
                  </a:lnTo>
                  <a:lnTo>
                    <a:pt x="612" y="1626"/>
                  </a:lnTo>
                  <a:lnTo>
                    <a:pt x="612" y="1620"/>
                  </a:lnTo>
                  <a:lnTo>
                    <a:pt x="606" y="1614"/>
                  </a:lnTo>
                  <a:lnTo>
                    <a:pt x="594" y="1626"/>
                  </a:lnTo>
                  <a:lnTo>
                    <a:pt x="594" y="1632"/>
                  </a:lnTo>
                  <a:lnTo>
                    <a:pt x="588" y="1638"/>
                  </a:lnTo>
                  <a:lnTo>
                    <a:pt x="582" y="1638"/>
                  </a:lnTo>
                  <a:lnTo>
                    <a:pt x="564" y="1656"/>
                  </a:lnTo>
                  <a:lnTo>
                    <a:pt x="558" y="1662"/>
                  </a:lnTo>
                  <a:lnTo>
                    <a:pt x="552" y="1662"/>
                  </a:lnTo>
                  <a:lnTo>
                    <a:pt x="540" y="1674"/>
                  </a:lnTo>
                  <a:lnTo>
                    <a:pt x="534" y="1680"/>
                  </a:lnTo>
                  <a:lnTo>
                    <a:pt x="522" y="1692"/>
                  </a:lnTo>
                  <a:lnTo>
                    <a:pt x="516" y="1704"/>
                  </a:lnTo>
                  <a:lnTo>
                    <a:pt x="510" y="1704"/>
                  </a:lnTo>
                  <a:lnTo>
                    <a:pt x="504" y="1704"/>
                  </a:lnTo>
                  <a:lnTo>
                    <a:pt x="486" y="1722"/>
                  </a:lnTo>
                  <a:lnTo>
                    <a:pt x="480" y="1740"/>
                  </a:lnTo>
                  <a:lnTo>
                    <a:pt x="474" y="1740"/>
                  </a:lnTo>
                  <a:lnTo>
                    <a:pt x="468" y="1746"/>
                  </a:lnTo>
                  <a:lnTo>
                    <a:pt x="456" y="1758"/>
                  </a:lnTo>
                  <a:lnTo>
                    <a:pt x="444" y="1770"/>
                  </a:lnTo>
                  <a:lnTo>
                    <a:pt x="438" y="1782"/>
                  </a:lnTo>
                  <a:lnTo>
                    <a:pt x="426" y="1788"/>
                  </a:lnTo>
                  <a:lnTo>
                    <a:pt x="420" y="1788"/>
                  </a:lnTo>
                  <a:lnTo>
                    <a:pt x="420" y="1782"/>
                  </a:lnTo>
                  <a:lnTo>
                    <a:pt x="414" y="1782"/>
                  </a:lnTo>
                  <a:lnTo>
                    <a:pt x="390" y="1782"/>
                  </a:lnTo>
                  <a:lnTo>
                    <a:pt x="390" y="1776"/>
                  </a:lnTo>
                  <a:lnTo>
                    <a:pt x="384" y="1776"/>
                  </a:lnTo>
                  <a:lnTo>
                    <a:pt x="378" y="1776"/>
                  </a:lnTo>
                  <a:lnTo>
                    <a:pt x="372" y="1776"/>
                  </a:lnTo>
                  <a:lnTo>
                    <a:pt x="366" y="1770"/>
                  </a:lnTo>
                  <a:lnTo>
                    <a:pt x="366" y="1776"/>
                  </a:lnTo>
                  <a:lnTo>
                    <a:pt x="360" y="1788"/>
                  </a:lnTo>
                  <a:lnTo>
                    <a:pt x="360" y="1794"/>
                  </a:lnTo>
                  <a:lnTo>
                    <a:pt x="360" y="1800"/>
                  </a:lnTo>
                  <a:lnTo>
                    <a:pt x="354" y="1806"/>
                  </a:lnTo>
                  <a:lnTo>
                    <a:pt x="354" y="1812"/>
                  </a:lnTo>
                  <a:lnTo>
                    <a:pt x="354" y="1824"/>
                  </a:lnTo>
                  <a:lnTo>
                    <a:pt x="348" y="1830"/>
                  </a:lnTo>
                  <a:lnTo>
                    <a:pt x="354" y="1836"/>
                  </a:lnTo>
                  <a:lnTo>
                    <a:pt x="348" y="1842"/>
                  </a:lnTo>
                  <a:lnTo>
                    <a:pt x="354" y="1848"/>
                  </a:lnTo>
                  <a:lnTo>
                    <a:pt x="348" y="1854"/>
                  </a:lnTo>
                  <a:lnTo>
                    <a:pt x="354" y="1854"/>
                  </a:lnTo>
                  <a:lnTo>
                    <a:pt x="348" y="1860"/>
                  </a:lnTo>
                  <a:lnTo>
                    <a:pt x="348" y="1866"/>
                  </a:lnTo>
                  <a:lnTo>
                    <a:pt x="342" y="1866"/>
                  </a:lnTo>
                  <a:lnTo>
                    <a:pt x="342" y="1872"/>
                  </a:lnTo>
                  <a:lnTo>
                    <a:pt x="342" y="1878"/>
                  </a:lnTo>
                  <a:lnTo>
                    <a:pt x="342" y="1884"/>
                  </a:lnTo>
                  <a:lnTo>
                    <a:pt x="336" y="1896"/>
                  </a:lnTo>
                  <a:lnTo>
                    <a:pt x="330" y="1914"/>
                  </a:lnTo>
                  <a:lnTo>
                    <a:pt x="324" y="1920"/>
                  </a:lnTo>
                  <a:lnTo>
                    <a:pt x="324" y="1926"/>
                  </a:lnTo>
                  <a:lnTo>
                    <a:pt x="318" y="1944"/>
                  </a:lnTo>
                  <a:lnTo>
                    <a:pt x="318" y="1950"/>
                  </a:lnTo>
                  <a:lnTo>
                    <a:pt x="312" y="1956"/>
                  </a:lnTo>
                  <a:lnTo>
                    <a:pt x="312" y="1950"/>
                  </a:lnTo>
                  <a:lnTo>
                    <a:pt x="306" y="1950"/>
                  </a:lnTo>
                  <a:lnTo>
                    <a:pt x="306" y="1956"/>
                  </a:lnTo>
                  <a:lnTo>
                    <a:pt x="300" y="1950"/>
                  </a:lnTo>
                  <a:lnTo>
                    <a:pt x="294" y="1956"/>
                  </a:lnTo>
                  <a:lnTo>
                    <a:pt x="288" y="1950"/>
                  </a:lnTo>
                  <a:lnTo>
                    <a:pt x="288" y="1944"/>
                  </a:lnTo>
                  <a:lnTo>
                    <a:pt x="282" y="1938"/>
                  </a:lnTo>
                  <a:lnTo>
                    <a:pt x="282" y="1932"/>
                  </a:lnTo>
                  <a:lnTo>
                    <a:pt x="282" y="1890"/>
                  </a:lnTo>
                  <a:lnTo>
                    <a:pt x="288" y="1860"/>
                  </a:lnTo>
                  <a:lnTo>
                    <a:pt x="294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300" y="1818"/>
                  </a:lnTo>
                  <a:lnTo>
                    <a:pt x="306" y="1794"/>
                  </a:lnTo>
                  <a:lnTo>
                    <a:pt x="306" y="1788"/>
                  </a:lnTo>
                  <a:lnTo>
                    <a:pt x="306" y="1782"/>
                  </a:lnTo>
                  <a:lnTo>
                    <a:pt x="312" y="1776"/>
                  </a:lnTo>
                  <a:lnTo>
                    <a:pt x="306" y="1776"/>
                  </a:lnTo>
                  <a:lnTo>
                    <a:pt x="312" y="1770"/>
                  </a:lnTo>
                  <a:lnTo>
                    <a:pt x="312" y="1740"/>
                  </a:lnTo>
                  <a:lnTo>
                    <a:pt x="318" y="1722"/>
                  </a:lnTo>
                  <a:lnTo>
                    <a:pt x="312" y="1722"/>
                  </a:lnTo>
                  <a:lnTo>
                    <a:pt x="300" y="1716"/>
                  </a:lnTo>
                  <a:lnTo>
                    <a:pt x="306" y="1716"/>
                  </a:lnTo>
                  <a:lnTo>
                    <a:pt x="312" y="1710"/>
                  </a:lnTo>
                  <a:lnTo>
                    <a:pt x="324" y="1674"/>
                  </a:lnTo>
                  <a:lnTo>
                    <a:pt x="366" y="1590"/>
                  </a:lnTo>
                  <a:lnTo>
                    <a:pt x="408" y="1548"/>
                  </a:lnTo>
                  <a:lnTo>
                    <a:pt x="426" y="1530"/>
                  </a:lnTo>
                  <a:lnTo>
                    <a:pt x="432" y="1500"/>
                  </a:lnTo>
                  <a:lnTo>
                    <a:pt x="426" y="1494"/>
                  </a:lnTo>
                  <a:lnTo>
                    <a:pt x="426" y="1482"/>
                  </a:lnTo>
                  <a:lnTo>
                    <a:pt x="432" y="1464"/>
                  </a:lnTo>
                  <a:lnTo>
                    <a:pt x="438" y="1428"/>
                  </a:lnTo>
                  <a:lnTo>
                    <a:pt x="462" y="1398"/>
                  </a:lnTo>
                  <a:lnTo>
                    <a:pt x="468" y="1362"/>
                  </a:lnTo>
                  <a:lnTo>
                    <a:pt x="462" y="1314"/>
                  </a:lnTo>
                  <a:lnTo>
                    <a:pt x="444" y="1284"/>
                  </a:lnTo>
                  <a:lnTo>
                    <a:pt x="432" y="1260"/>
                  </a:lnTo>
                  <a:lnTo>
                    <a:pt x="426" y="1260"/>
                  </a:lnTo>
                  <a:lnTo>
                    <a:pt x="420" y="1254"/>
                  </a:lnTo>
                  <a:lnTo>
                    <a:pt x="408" y="1260"/>
                  </a:lnTo>
                  <a:lnTo>
                    <a:pt x="402" y="1260"/>
                  </a:lnTo>
                  <a:lnTo>
                    <a:pt x="402" y="1254"/>
                  </a:lnTo>
                  <a:lnTo>
                    <a:pt x="396" y="1254"/>
                  </a:lnTo>
                  <a:lnTo>
                    <a:pt x="396" y="1248"/>
                  </a:lnTo>
                  <a:lnTo>
                    <a:pt x="384" y="1248"/>
                  </a:lnTo>
                  <a:lnTo>
                    <a:pt x="372" y="1230"/>
                  </a:lnTo>
                  <a:lnTo>
                    <a:pt x="360" y="1212"/>
                  </a:lnTo>
                  <a:lnTo>
                    <a:pt x="348" y="1188"/>
                  </a:lnTo>
                  <a:lnTo>
                    <a:pt x="324" y="1170"/>
                  </a:lnTo>
                  <a:lnTo>
                    <a:pt x="318" y="1170"/>
                  </a:lnTo>
                  <a:lnTo>
                    <a:pt x="312" y="1158"/>
                  </a:lnTo>
                  <a:lnTo>
                    <a:pt x="312" y="1152"/>
                  </a:lnTo>
                  <a:lnTo>
                    <a:pt x="306" y="1146"/>
                  </a:lnTo>
                  <a:lnTo>
                    <a:pt x="270" y="1122"/>
                  </a:lnTo>
                  <a:lnTo>
                    <a:pt x="240" y="1122"/>
                  </a:lnTo>
                  <a:lnTo>
                    <a:pt x="180" y="1116"/>
                  </a:lnTo>
                  <a:lnTo>
                    <a:pt x="174" y="1122"/>
                  </a:lnTo>
                  <a:lnTo>
                    <a:pt x="174" y="1128"/>
                  </a:lnTo>
                  <a:lnTo>
                    <a:pt x="168" y="1122"/>
                  </a:lnTo>
                  <a:lnTo>
                    <a:pt x="162" y="1116"/>
                  </a:lnTo>
                  <a:lnTo>
                    <a:pt x="144" y="1122"/>
                  </a:lnTo>
                  <a:lnTo>
                    <a:pt x="120" y="1122"/>
                  </a:lnTo>
                  <a:lnTo>
                    <a:pt x="54" y="1134"/>
                  </a:lnTo>
                  <a:lnTo>
                    <a:pt x="24" y="1152"/>
                  </a:lnTo>
                  <a:lnTo>
                    <a:pt x="6" y="1146"/>
                  </a:lnTo>
                  <a:lnTo>
                    <a:pt x="0" y="1134"/>
                  </a:lnTo>
                  <a:lnTo>
                    <a:pt x="0" y="1128"/>
                  </a:lnTo>
                  <a:lnTo>
                    <a:pt x="18" y="1110"/>
                  </a:lnTo>
                  <a:lnTo>
                    <a:pt x="24" y="1104"/>
                  </a:lnTo>
                  <a:lnTo>
                    <a:pt x="24" y="1098"/>
                  </a:lnTo>
                  <a:lnTo>
                    <a:pt x="30" y="1086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24" y="1074"/>
                  </a:lnTo>
                  <a:lnTo>
                    <a:pt x="18" y="1068"/>
                  </a:lnTo>
                  <a:lnTo>
                    <a:pt x="24" y="1062"/>
                  </a:lnTo>
                  <a:lnTo>
                    <a:pt x="42" y="1056"/>
                  </a:lnTo>
                  <a:lnTo>
                    <a:pt x="54" y="1050"/>
                  </a:lnTo>
                  <a:lnTo>
                    <a:pt x="72" y="1044"/>
                  </a:lnTo>
                  <a:lnTo>
                    <a:pt x="96" y="1032"/>
                  </a:lnTo>
                  <a:lnTo>
                    <a:pt x="102" y="1032"/>
                  </a:lnTo>
                  <a:lnTo>
                    <a:pt x="126" y="1008"/>
                  </a:lnTo>
                  <a:lnTo>
                    <a:pt x="144" y="990"/>
                  </a:lnTo>
                  <a:lnTo>
                    <a:pt x="156" y="978"/>
                  </a:lnTo>
                  <a:lnTo>
                    <a:pt x="156" y="966"/>
                  </a:lnTo>
                  <a:lnTo>
                    <a:pt x="150" y="960"/>
                  </a:lnTo>
                  <a:lnTo>
                    <a:pt x="144" y="948"/>
                  </a:lnTo>
                  <a:lnTo>
                    <a:pt x="144" y="936"/>
                  </a:lnTo>
                  <a:lnTo>
                    <a:pt x="138" y="918"/>
                  </a:lnTo>
                  <a:lnTo>
                    <a:pt x="150" y="912"/>
                  </a:lnTo>
                  <a:lnTo>
                    <a:pt x="150" y="894"/>
                  </a:lnTo>
                  <a:lnTo>
                    <a:pt x="132" y="876"/>
                  </a:lnTo>
                  <a:lnTo>
                    <a:pt x="126" y="876"/>
                  </a:lnTo>
                  <a:lnTo>
                    <a:pt x="120" y="870"/>
                  </a:lnTo>
                  <a:lnTo>
                    <a:pt x="120" y="864"/>
                  </a:lnTo>
                  <a:lnTo>
                    <a:pt x="114" y="864"/>
                  </a:lnTo>
                  <a:lnTo>
                    <a:pt x="108" y="864"/>
                  </a:lnTo>
                  <a:lnTo>
                    <a:pt x="108" y="858"/>
                  </a:lnTo>
                  <a:lnTo>
                    <a:pt x="102" y="852"/>
                  </a:lnTo>
                  <a:lnTo>
                    <a:pt x="96" y="852"/>
                  </a:lnTo>
                  <a:lnTo>
                    <a:pt x="102" y="834"/>
                  </a:lnTo>
                  <a:lnTo>
                    <a:pt x="108" y="816"/>
                  </a:lnTo>
                  <a:lnTo>
                    <a:pt x="114" y="804"/>
                  </a:lnTo>
                  <a:lnTo>
                    <a:pt x="132" y="798"/>
                  </a:lnTo>
                  <a:lnTo>
                    <a:pt x="144" y="798"/>
                  </a:lnTo>
                  <a:lnTo>
                    <a:pt x="180" y="810"/>
                  </a:lnTo>
                  <a:lnTo>
                    <a:pt x="192" y="816"/>
                  </a:lnTo>
                  <a:lnTo>
                    <a:pt x="234" y="822"/>
                  </a:lnTo>
                  <a:lnTo>
                    <a:pt x="264" y="828"/>
                  </a:lnTo>
                  <a:lnTo>
                    <a:pt x="270" y="840"/>
                  </a:lnTo>
                  <a:lnTo>
                    <a:pt x="270" y="834"/>
                  </a:lnTo>
                  <a:lnTo>
                    <a:pt x="270" y="828"/>
                  </a:lnTo>
                  <a:lnTo>
                    <a:pt x="270" y="822"/>
                  </a:lnTo>
                  <a:lnTo>
                    <a:pt x="270" y="816"/>
                  </a:lnTo>
                  <a:lnTo>
                    <a:pt x="264" y="810"/>
                  </a:lnTo>
                  <a:lnTo>
                    <a:pt x="264" y="804"/>
                  </a:lnTo>
                  <a:lnTo>
                    <a:pt x="264" y="798"/>
                  </a:lnTo>
                  <a:lnTo>
                    <a:pt x="258" y="792"/>
                  </a:lnTo>
                  <a:lnTo>
                    <a:pt x="258" y="786"/>
                  </a:lnTo>
                  <a:lnTo>
                    <a:pt x="264" y="786"/>
                  </a:lnTo>
                  <a:lnTo>
                    <a:pt x="264" y="780"/>
                  </a:lnTo>
                  <a:lnTo>
                    <a:pt x="258" y="774"/>
                  </a:lnTo>
                  <a:lnTo>
                    <a:pt x="258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82" y="762"/>
                  </a:lnTo>
                  <a:lnTo>
                    <a:pt x="312" y="780"/>
                  </a:lnTo>
                  <a:lnTo>
                    <a:pt x="354" y="786"/>
                  </a:lnTo>
                  <a:lnTo>
                    <a:pt x="408" y="774"/>
                  </a:lnTo>
                  <a:lnTo>
                    <a:pt x="444" y="756"/>
                  </a:lnTo>
                  <a:lnTo>
                    <a:pt x="468" y="732"/>
                  </a:lnTo>
                  <a:lnTo>
                    <a:pt x="492" y="720"/>
                  </a:lnTo>
                  <a:lnTo>
                    <a:pt x="522" y="690"/>
                  </a:lnTo>
                  <a:lnTo>
                    <a:pt x="540" y="672"/>
                  </a:lnTo>
                  <a:lnTo>
                    <a:pt x="558" y="660"/>
                  </a:lnTo>
                  <a:lnTo>
                    <a:pt x="570" y="636"/>
                  </a:lnTo>
                  <a:lnTo>
                    <a:pt x="588" y="612"/>
                  </a:lnTo>
                  <a:lnTo>
                    <a:pt x="654" y="552"/>
                  </a:lnTo>
                  <a:lnTo>
                    <a:pt x="678" y="528"/>
                  </a:lnTo>
                  <a:lnTo>
                    <a:pt x="696" y="510"/>
                  </a:lnTo>
                  <a:lnTo>
                    <a:pt x="714" y="498"/>
                  </a:lnTo>
                  <a:lnTo>
                    <a:pt x="750" y="480"/>
                  </a:lnTo>
                  <a:lnTo>
                    <a:pt x="774" y="444"/>
                  </a:lnTo>
                  <a:lnTo>
                    <a:pt x="816" y="426"/>
                  </a:lnTo>
                  <a:lnTo>
                    <a:pt x="864" y="420"/>
                  </a:lnTo>
                  <a:lnTo>
                    <a:pt x="912" y="402"/>
                  </a:lnTo>
                  <a:lnTo>
                    <a:pt x="906" y="396"/>
                  </a:lnTo>
                  <a:lnTo>
                    <a:pt x="912" y="396"/>
                  </a:lnTo>
                  <a:lnTo>
                    <a:pt x="912" y="390"/>
                  </a:lnTo>
                  <a:lnTo>
                    <a:pt x="918" y="384"/>
                  </a:lnTo>
                  <a:lnTo>
                    <a:pt x="924" y="384"/>
                  </a:lnTo>
                  <a:lnTo>
                    <a:pt x="924" y="378"/>
                  </a:lnTo>
                  <a:lnTo>
                    <a:pt x="918" y="372"/>
                  </a:lnTo>
                  <a:lnTo>
                    <a:pt x="918" y="366"/>
                  </a:lnTo>
                  <a:lnTo>
                    <a:pt x="918" y="360"/>
                  </a:lnTo>
                  <a:lnTo>
                    <a:pt x="924" y="360"/>
                  </a:lnTo>
                  <a:lnTo>
                    <a:pt x="924" y="354"/>
                  </a:lnTo>
                  <a:lnTo>
                    <a:pt x="930" y="354"/>
                  </a:lnTo>
                  <a:lnTo>
                    <a:pt x="936" y="354"/>
                  </a:lnTo>
                  <a:lnTo>
                    <a:pt x="936" y="348"/>
                  </a:lnTo>
                  <a:lnTo>
                    <a:pt x="942" y="348"/>
                  </a:lnTo>
                  <a:lnTo>
                    <a:pt x="942" y="336"/>
                  </a:lnTo>
                  <a:lnTo>
                    <a:pt x="936" y="336"/>
                  </a:lnTo>
                  <a:lnTo>
                    <a:pt x="930" y="330"/>
                  </a:lnTo>
                  <a:lnTo>
                    <a:pt x="924" y="330"/>
                  </a:lnTo>
                  <a:lnTo>
                    <a:pt x="924" y="324"/>
                  </a:lnTo>
                  <a:lnTo>
                    <a:pt x="918" y="318"/>
                  </a:lnTo>
                  <a:lnTo>
                    <a:pt x="912" y="306"/>
                  </a:lnTo>
                  <a:lnTo>
                    <a:pt x="918" y="306"/>
                  </a:lnTo>
                  <a:lnTo>
                    <a:pt x="924" y="300"/>
                  </a:lnTo>
                  <a:lnTo>
                    <a:pt x="924" y="294"/>
                  </a:lnTo>
                  <a:lnTo>
                    <a:pt x="924" y="288"/>
                  </a:lnTo>
                  <a:lnTo>
                    <a:pt x="924" y="282"/>
                  </a:lnTo>
                  <a:lnTo>
                    <a:pt x="924" y="276"/>
                  </a:lnTo>
                  <a:lnTo>
                    <a:pt x="918" y="270"/>
                  </a:lnTo>
                  <a:lnTo>
                    <a:pt x="918" y="264"/>
                  </a:lnTo>
                  <a:lnTo>
                    <a:pt x="912" y="270"/>
                  </a:lnTo>
                  <a:lnTo>
                    <a:pt x="912" y="264"/>
                  </a:lnTo>
                  <a:lnTo>
                    <a:pt x="912" y="258"/>
                  </a:lnTo>
                  <a:lnTo>
                    <a:pt x="912" y="252"/>
                  </a:lnTo>
                  <a:lnTo>
                    <a:pt x="906" y="252"/>
                  </a:lnTo>
                  <a:lnTo>
                    <a:pt x="900" y="246"/>
                  </a:lnTo>
                  <a:lnTo>
                    <a:pt x="900" y="240"/>
                  </a:lnTo>
                  <a:lnTo>
                    <a:pt x="900" y="246"/>
                  </a:lnTo>
                  <a:lnTo>
                    <a:pt x="894" y="246"/>
                  </a:lnTo>
                  <a:lnTo>
                    <a:pt x="894" y="240"/>
                  </a:lnTo>
                  <a:lnTo>
                    <a:pt x="894" y="234"/>
                  </a:lnTo>
                  <a:lnTo>
                    <a:pt x="900" y="234"/>
                  </a:lnTo>
                  <a:lnTo>
                    <a:pt x="900" y="228"/>
                  </a:lnTo>
                  <a:lnTo>
                    <a:pt x="906" y="228"/>
                  </a:lnTo>
                  <a:lnTo>
                    <a:pt x="900" y="222"/>
                  </a:lnTo>
                  <a:lnTo>
                    <a:pt x="894" y="216"/>
                  </a:lnTo>
                  <a:lnTo>
                    <a:pt x="894" y="210"/>
                  </a:lnTo>
                  <a:lnTo>
                    <a:pt x="888" y="210"/>
                  </a:lnTo>
                  <a:lnTo>
                    <a:pt x="888" y="204"/>
                  </a:lnTo>
                  <a:lnTo>
                    <a:pt x="888" y="198"/>
                  </a:lnTo>
                  <a:lnTo>
                    <a:pt x="888" y="192"/>
                  </a:lnTo>
                  <a:lnTo>
                    <a:pt x="882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82" y="174"/>
                  </a:lnTo>
                  <a:lnTo>
                    <a:pt x="888" y="168"/>
                  </a:lnTo>
                  <a:lnTo>
                    <a:pt x="888" y="162"/>
                  </a:lnTo>
                  <a:lnTo>
                    <a:pt x="888" y="156"/>
                  </a:lnTo>
                  <a:lnTo>
                    <a:pt x="888" y="150"/>
                  </a:lnTo>
                  <a:lnTo>
                    <a:pt x="888" y="144"/>
                  </a:lnTo>
                  <a:lnTo>
                    <a:pt x="882" y="144"/>
                  </a:lnTo>
                  <a:lnTo>
                    <a:pt x="882" y="138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76" y="120"/>
                  </a:lnTo>
                  <a:lnTo>
                    <a:pt x="882" y="114"/>
                  </a:lnTo>
                  <a:lnTo>
                    <a:pt x="882" y="108"/>
                  </a:lnTo>
                  <a:lnTo>
                    <a:pt x="888" y="102"/>
                  </a:lnTo>
                  <a:lnTo>
                    <a:pt x="894" y="102"/>
                  </a:lnTo>
                  <a:lnTo>
                    <a:pt x="894" y="96"/>
                  </a:lnTo>
                  <a:lnTo>
                    <a:pt x="888" y="96"/>
                  </a:lnTo>
                  <a:lnTo>
                    <a:pt x="894" y="90"/>
                  </a:lnTo>
                  <a:lnTo>
                    <a:pt x="888" y="84"/>
                  </a:lnTo>
                  <a:lnTo>
                    <a:pt x="888" y="78"/>
                  </a:lnTo>
                  <a:lnTo>
                    <a:pt x="924" y="66"/>
                  </a:lnTo>
                  <a:lnTo>
                    <a:pt x="966" y="66"/>
                  </a:lnTo>
                  <a:lnTo>
                    <a:pt x="996" y="48"/>
                  </a:lnTo>
                  <a:lnTo>
                    <a:pt x="1056" y="12"/>
                  </a:lnTo>
                  <a:lnTo>
                    <a:pt x="1128" y="0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0" y="18"/>
                  </a:lnTo>
                  <a:lnTo>
                    <a:pt x="1176" y="24"/>
                  </a:lnTo>
                  <a:lnTo>
                    <a:pt x="1182" y="24"/>
                  </a:lnTo>
                  <a:lnTo>
                    <a:pt x="1188" y="30"/>
                  </a:lnTo>
                  <a:lnTo>
                    <a:pt x="1194" y="30"/>
                  </a:lnTo>
                  <a:lnTo>
                    <a:pt x="1194" y="36"/>
                  </a:lnTo>
                  <a:lnTo>
                    <a:pt x="1260" y="30"/>
                  </a:lnTo>
                  <a:lnTo>
                    <a:pt x="1272" y="30"/>
                  </a:lnTo>
                  <a:lnTo>
                    <a:pt x="1296" y="24"/>
                  </a:lnTo>
                  <a:lnTo>
                    <a:pt x="1302" y="30"/>
                  </a:lnTo>
                  <a:lnTo>
                    <a:pt x="1302" y="36"/>
                  </a:lnTo>
                  <a:lnTo>
                    <a:pt x="1308" y="36"/>
                  </a:lnTo>
                  <a:lnTo>
                    <a:pt x="1314" y="36"/>
                  </a:lnTo>
                  <a:lnTo>
                    <a:pt x="1320" y="36"/>
                  </a:lnTo>
                  <a:lnTo>
                    <a:pt x="1326" y="30"/>
                  </a:lnTo>
                  <a:lnTo>
                    <a:pt x="1332" y="30"/>
                  </a:lnTo>
                  <a:lnTo>
                    <a:pt x="1338" y="30"/>
                  </a:lnTo>
                  <a:lnTo>
                    <a:pt x="1344" y="30"/>
                  </a:lnTo>
                  <a:lnTo>
                    <a:pt x="1374" y="30"/>
                  </a:lnTo>
                  <a:lnTo>
                    <a:pt x="1386" y="30"/>
                  </a:lnTo>
                  <a:lnTo>
                    <a:pt x="1392" y="24"/>
                  </a:lnTo>
                  <a:lnTo>
                    <a:pt x="1398" y="12"/>
                  </a:lnTo>
                  <a:lnTo>
                    <a:pt x="1404" y="6"/>
                  </a:lnTo>
                  <a:lnTo>
                    <a:pt x="1410" y="6"/>
                  </a:lnTo>
                  <a:lnTo>
                    <a:pt x="1410" y="12"/>
                  </a:lnTo>
                  <a:lnTo>
                    <a:pt x="1416" y="18"/>
                  </a:lnTo>
                  <a:lnTo>
                    <a:pt x="1416" y="36"/>
                  </a:lnTo>
                  <a:lnTo>
                    <a:pt x="1434" y="54"/>
                  </a:lnTo>
                  <a:lnTo>
                    <a:pt x="1434" y="60"/>
                  </a:lnTo>
                  <a:lnTo>
                    <a:pt x="1434" y="66"/>
                  </a:lnTo>
                  <a:lnTo>
                    <a:pt x="1434" y="72"/>
                  </a:lnTo>
                  <a:lnTo>
                    <a:pt x="1428" y="72"/>
                  </a:lnTo>
                  <a:lnTo>
                    <a:pt x="1428" y="78"/>
                  </a:lnTo>
                  <a:lnTo>
                    <a:pt x="1434" y="78"/>
                  </a:lnTo>
                  <a:lnTo>
                    <a:pt x="1440" y="84"/>
                  </a:lnTo>
                  <a:lnTo>
                    <a:pt x="1440" y="90"/>
                  </a:lnTo>
                  <a:lnTo>
                    <a:pt x="1440" y="96"/>
                  </a:lnTo>
                  <a:lnTo>
                    <a:pt x="1446" y="96"/>
                  </a:lnTo>
                  <a:lnTo>
                    <a:pt x="1446" y="108"/>
                  </a:lnTo>
                  <a:lnTo>
                    <a:pt x="1452" y="108"/>
                  </a:lnTo>
                  <a:lnTo>
                    <a:pt x="1452" y="114"/>
                  </a:lnTo>
                  <a:lnTo>
                    <a:pt x="1458" y="114"/>
                  </a:lnTo>
                  <a:lnTo>
                    <a:pt x="1470" y="120"/>
                  </a:lnTo>
                  <a:lnTo>
                    <a:pt x="1476" y="120"/>
                  </a:lnTo>
                  <a:lnTo>
                    <a:pt x="1476" y="114"/>
                  </a:lnTo>
                  <a:lnTo>
                    <a:pt x="1488" y="120"/>
                  </a:lnTo>
                  <a:lnTo>
                    <a:pt x="1506" y="120"/>
                  </a:lnTo>
                  <a:lnTo>
                    <a:pt x="1512" y="120"/>
                  </a:lnTo>
                  <a:lnTo>
                    <a:pt x="1518" y="120"/>
                  </a:lnTo>
                  <a:lnTo>
                    <a:pt x="1524" y="126"/>
                  </a:lnTo>
                  <a:lnTo>
                    <a:pt x="1536" y="150"/>
                  </a:lnTo>
                  <a:lnTo>
                    <a:pt x="1548" y="162"/>
                  </a:lnTo>
                  <a:lnTo>
                    <a:pt x="1554" y="168"/>
                  </a:lnTo>
                  <a:lnTo>
                    <a:pt x="1584" y="228"/>
                  </a:lnTo>
                  <a:lnTo>
                    <a:pt x="1584" y="234"/>
                  </a:lnTo>
                  <a:lnTo>
                    <a:pt x="1578" y="312"/>
                  </a:lnTo>
                  <a:lnTo>
                    <a:pt x="1590" y="318"/>
                  </a:lnTo>
                  <a:lnTo>
                    <a:pt x="1608" y="330"/>
                  </a:lnTo>
                  <a:lnTo>
                    <a:pt x="1620" y="342"/>
                  </a:lnTo>
                  <a:lnTo>
                    <a:pt x="1626" y="342"/>
                  </a:lnTo>
                  <a:lnTo>
                    <a:pt x="1692" y="360"/>
                  </a:lnTo>
                  <a:lnTo>
                    <a:pt x="1710" y="408"/>
                  </a:lnTo>
                  <a:lnTo>
                    <a:pt x="1722" y="426"/>
                  </a:lnTo>
                  <a:lnTo>
                    <a:pt x="1716" y="468"/>
                  </a:lnTo>
                  <a:lnTo>
                    <a:pt x="1686" y="486"/>
                  </a:lnTo>
                  <a:lnTo>
                    <a:pt x="1686" y="492"/>
                  </a:lnTo>
                  <a:lnTo>
                    <a:pt x="1680" y="498"/>
                  </a:lnTo>
                  <a:lnTo>
                    <a:pt x="1650" y="558"/>
                  </a:lnTo>
                  <a:lnTo>
                    <a:pt x="1650" y="570"/>
                  </a:lnTo>
                  <a:lnTo>
                    <a:pt x="1644" y="570"/>
                  </a:lnTo>
                  <a:lnTo>
                    <a:pt x="1638" y="582"/>
                  </a:lnTo>
                  <a:lnTo>
                    <a:pt x="1638" y="624"/>
                  </a:lnTo>
                  <a:lnTo>
                    <a:pt x="1638" y="636"/>
                  </a:lnTo>
                  <a:lnTo>
                    <a:pt x="1638" y="642"/>
                  </a:lnTo>
                  <a:lnTo>
                    <a:pt x="1632" y="660"/>
                  </a:lnTo>
                  <a:lnTo>
                    <a:pt x="1608" y="678"/>
                  </a:lnTo>
                  <a:lnTo>
                    <a:pt x="1584" y="690"/>
                  </a:lnTo>
                  <a:lnTo>
                    <a:pt x="1584" y="696"/>
                  </a:lnTo>
                  <a:lnTo>
                    <a:pt x="1578" y="702"/>
                  </a:lnTo>
                  <a:lnTo>
                    <a:pt x="1584" y="702"/>
                  </a:lnTo>
                  <a:lnTo>
                    <a:pt x="1578" y="714"/>
                  </a:lnTo>
                  <a:lnTo>
                    <a:pt x="1572" y="714"/>
                  </a:lnTo>
                  <a:lnTo>
                    <a:pt x="1572" y="720"/>
                  </a:lnTo>
                  <a:lnTo>
                    <a:pt x="1566" y="720"/>
                  </a:lnTo>
                  <a:lnTo>
                    <a:pt x="1560" y="726"/>
                  </a:lnTo>
                  <a:lnTo>
                    <a:pt x="1560" y="732"/>
                  </a:lnTo>
                  <a:lnTo>
                    <a:pt x="1554" y="732"/>
                  </a:lnTo>
                  <a:lnTo>
                    <a:pt x="1554" y="738"/>
                  </a:lnTo>
                  <a:lnTo>
                    <a:pt x="1554" y="744"/>
                  </a:lnTo>
                  <a:lnTo>
                    <a:pt x="1548" y="744"/>
                  </a:lnTo>
                  <a:lnTo>
                    <a:pt x="1548" y="738"/>
                  </a:lnTo>
                  <a:lnTo>
                    <a:pt x="1542" y="738"/>
                  </a:lnTo>
                  <a:lnTo>
                    <a:pt x="1542" y="744"/>
                  </a:lnTo>
                  <a:lnTo>
                    <a:pt x="1542" y="750"/>
                  </a:lnTo>
                  <a:lnTo>
                    <a:pt x="1494" y="804"/>
                  </a:lnTo>
                  <a:lnTo>
                    <a:pt x="1446" y="876"/>
                  </a:lnTo>
                  <a:lnTo>
                    <a:pt x="1440" y="876"/>
                  </a:lnTo>
                  <a:lnTo>
                    <a:pt x="1434" y="876"/>
                  </a:lnTo>
                  <a:lnTo>
                    <a:pt x="1428" y="882"/>
                  </a:lnTo>
                  <a:lnTo>
                    <a:pt x="1422" y="882"/>
                  </a:lnTo>
                  <a:lnTo>
                    <a:pt x="1386" y="924"/>
                  </a:lnTo>
                  <a:lnTo>
                    <a:pt x="1362" y="954"/>
                  </a:lnTo>
                  <a:lnTo>
                    <a:pt x="1356" y="984"/>
                  </a:lnTo>
                  <a:lnTo>
                    <a:pt x="1362" y="1002"/>
                  </a:lnTo>
                  <a:lnTo>
                    <a:pt x="1368" y="1020"/>
                  </a:lnTo>
                  <a:lnTo>
                    <a:pt x="1386" y="1056"/>
                  </a:lnTo>
                  <a:lnTo>
                    <a:pt x="1404" y="1074"/>
                  </a:lnTo>
                  <a:lnTo>
                    <a:pt x="1416" y="1080"/>
                  </a:lnTo>
                  <a:lnTo>
                    <a:pt x="1416" y="1086"/>
                  </a:lnTo>
                  <a:lnTo>
                    <a:pt x="1422" y="1098"/>
                  </a:lnTo>
                  <a:lnTo>
                    <a:pt x="1422" y="1110"/>
                  </a:lnTo>
                  <a:lnTo>
                    <a:pt x="1428" y="1116"/>
                  </a:lnTo>
                  <a:lnTo>
                    <a:pt x="1434" y="1116"/>
                  </a:lnTo>
                  <a:lnTo>
                    <a:pt x="1434" y="1122"/>
                  </a:lnTo>
                  <a:lnTo>
                    <a:pt x="1434" y="1128"/>
                  </a:lnTo>
                  <a:lnTo>
                    <a:pt x="1440" y="1134"/>
                  </a:lnTo>
                  <a:lnTo>
                    <a:pt x="1446" y="1134"/>
                  </a:lnTo>
                  <a:lnTo>
                    <a:pt x="1458" y="1134"/>
                  </a:lnTo>
                  <a:lnTo>
                    <a:pt x="1458" y="1140"/>
                  </a:lnTo>
                  <a:lnTo>
                    <a:pt x="1464" y="1134"/>
                  </a:lnTo>
                  <a:lnTo>
                    <a:pt x="1470" y="1134"/>
                  </a:lnTo>
                  <a:lnTo>
                    <a:pt x="1464" y="1128"/>
                  </a:lnTo>
                  <a:lnTo>
                    <a:pt x="1464" y="1122"/>
                  </a:lnTo>
                  <a:lnTo>
                    <a:pt x="1470" y="1116"/>
                  </a:lnTo>
                  <a:lnTo>
                    <a:pt x="1470" y="1122"/>
                  </a:lnTo>
                  <a:lnTo>
                    <a:pt x="1476" y="1122"/>
                  </a:lnTo>
                  <a:lnTo>
                    <a:pt x="1476" y="1116"/>
                  </a:lnTo>
                  <a:lnTo>
                    <a:pt x="1482" y="1110"/>
                  </a:lnTo>
                  <a:lnTo>
                    <a:pt x="1476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82" y="1086"/>
                  </a:lnTo>
                  <a:lnTo>
                    <a:pt x="1482" y="1074"/>
                  </a:lnTo>
                  <a:lnTo>
                    <a:pt x="1488" y="1068"/>
                  </a:lnTo>
                  <a:lnTo>
                    <a:pt x="1488" y="1062"/>
                  </a:lnTo>
                  <a:lnTo>
                    <a:pt x="1494" y="1062"/>
                  </a:lnTo>
                  <a:lnTo>
                    <a:pt x="1500" y="1062"/>
                  </a:lnTo>
                  <a:lnTo>
                    <a:pt x="1506" y="1062"/>
                  </a:lnTo>
                  <a:lnTo>
                    <a:pt x="1506" y="1056"/>
                  </a:lnTo>
                  <a:lnTo>
                    <a:pt x="1506" y="1062"/>
                  </a:lnTo>
                  <a:lnTo>
                    <a:pt x="1518" y="1062"/>
                  </a:lnTo>
                  <a:lnTo>
                    <a:pt x="1524" y="1062"/>
                  </a:lnTo>
                  <a:lnTo>
                    <a:pt x="1530" y="1062"/>
                  </a:lnTo>
                  <a:lnTo>
                    <a:pt x="1536" y="1068"/>
                  </a:lnTo>
                  <a:lnTo>
                    <a:pt x="1536" y="1074"/>
                  </a:lnTo>
                  <a:lnTo>
                    <a:pt x="1542" y="1086"/>
                  </a:lnTo>
                  <a:lnTo>
                    <a:pt x="1548" y="1086"/>
                  </a:lnTo>
                  <a:lnTo>
                    <a:pt x="1554" y="1086"/>
                  </a:lnTo>
                  <a:lnTo>
                    <a:pt x="1566" y="1098"/>
                  </a:lnTo>
                  <a:lnTo>
                    <a:pt x="1572" y="1104"/>
                  </a:lnTo>
                  <a:lnTo>
                    <a:pt x="1566" y="1110"/>
                  </a:lnTo>
                  <a:lnTo>
                    <a:pt x="1572" y="1116"/>
                  </a:lnTo>
                  <a:lnTo>
                    <a:pt x="1578" y="1116"/>
                  </a:lnTo>
                  <a:lnTo>
                    <a:pt x="1578" y="1122"/>
                  </a:lnTo>
                  <a:lnTo>
                    <a:pt x="1584" y="1122"/>
                  </a:lnTo>
                  <a:lnTo>
                    <a:pt x="1584" y="1128"/>
                  </a:lnTo>
                  <a:lnTo>
                    <a:pt x="1584" y="1134"/>
                  </a:lnTo>
                  <a:lnTo>
                    <a:pt x="1590" y="1134"/>
                  </a:lnTo>
                  <a:lnTo>
                    <a:pt x="1596" y="1140"/>
                  </a:lnTo>
                  <a:lnTo>
                    <a:pt x="1602" y="1146"/>
                  </a:lnTo>
                  <a:lnTo>
                    <a:pt x="1608" y="1146"/>
                  </a:lnTo>
                  <a:lnTo>
                    <a:pt x="1614" y="1146"/>
                  </a:lnTo>
                  <a:lnTo>
                    <a:pt x="1614" y="1152"/>
                  </a:lnTo>
                  <a:lnTo>
                    <a:pt x="1620" y="1152"/>
                  </a:lnTo>
                  <a:lnTo>
                    <a:pt x="1626" y="1164"/>
                  </a:lnTo>
                  <a:lnTo>
                    <a:pt x="1632" y="1170"/>
                  </a:lnTo>
                  <a:lnTo>
                    <a:pt x="1638" y="1176"/>
                  </a:lnTo>
                  <a:lnTo>
                    <a:pt x="1638" y="1182"/>
                  </a:lnTo>
                  <a:lnTo>
                    <a:pt x="1644" y="1194"/>
                  </a:lnTo>
                  <a:lnTo>
                    <a:pt x="1644" y="1200"/>
                  </a:lnTo>
                  <a:lnTo>
                    <a:pt x="1638" y="1200"/>
                  </a:lnTo>
                  <a:lnTo>
                    <a:pt x="1638" y="1206"/>
                  </a:lnTo>
                  <a:lnTo>
                    <a:pt x="1638" y="1212"/>
                  </a:lnTo>
                  <a:lnTo>
                    <a:pt x="1638" y="1218"/>
                  </a:lnTo>
                  <a:lnTo>
                    <a:pt x="1632" y="1242"/>
                  </a:lnTo>
                  <a:lnTo>
                    <a:pt x="1632" y="1266"/>
                  </a:lnTo>
                  <a:lnTo>
                    <a:pt x="1638" y="1284"/>
                  </a:lnTo>
                  <a:lnTo>
                    <a:pt x="1638" y="1296"/>
                  </a:lnTo>
                  <a:lnTo>
                    <a:pt x="1632" y="1296"/>
                  </a:lnTo>
                  <a:lnTo>
                    <a:pt x="1632" y="1302"/>
                  </a:lnTo>
                  <a:lnTo>
                    <a:pt x="1638" y="1314"/>
                  </a:lnTo>
                  <a:lnTo>
                    <a:pt x="1638" y="1320"/>
                  </a:lnTo>
                  <a:lnTo>
                    <a:pt x="1632" y="1320"/>
                  </a:lnTo>
                  <a:lnTo>
                    <a:pt x="1632" y="1326"/>
                  </a:lnTo>
                  <a:lnTo>
                    <a:pt x="1644" y="1332"/>
                  </a:lnTo>
                  <a:lnTo>
                    <a:pt x="1644" y="1338"/>
                  </a:lnTo>
                  <a:lnTo>
                    <a:pt x="1650" y="1344"/>
                  </a:lnTo>
                  <a:lnTo>
                    <a:pt x="1668" y="1362"/>
                  </a:lnTo>
                  <a:lnTo>
                    <a:pt x="1668" y="1368"/>
                  </a:lnTo>
                  <a:lnTo>
                    <a:pt x="1674" y="1392"/>
                  </a:lnTo>
                  <a:lnTo>
                    <a:pt x="1686" y="140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2" name="Freeform 17">
              <a:extLst>
                <a:ext uri="{FF2B5EF4-FFF2-40B4-BE49-F238E27FC236}">
                  <a16:creationId xmlns:a16="http://schemas.microsoft.com/office/drawing/2014/main" id="{9F9DF7AF-2203-4CCB-AF1B-32CDAF87CC5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416927"/>
              <a:ext cx="816209" cy="574781"/>
            </a:xfrm>
            <a:custGeom>
              <a:avLst/>
              <a:gdLst>
                <a:gd name="T0" fmla="*/ 115 w 1536"/>
                <a:gd name="T1" fmla="*/ 89 h 1080"/>
                <a:gd name="T2" fmla="*/ 113 w 1536"/>
                <a:gd name="T3" fmla="*/ 92 h 1080"/>
                <a:gd name="T4" fmla="*/ 107 w 1536"/>
                <a:gd name="T5" fmla="*/ 93 h 1080"/>
                <a:gd name="T6" fmla="*/ 108 w 1536"/>
                <a:gd name="T7" fmla="*/ 90 h 1080"/>
                <a:gd name="T8" fmla="*/ 105 w 1536"/>
                <a:gd name="T9" fmla="*/ 87 h 1080"/>
                <a:gd name="T10" fmla="*/ 102 w 1536"/>
                <a:gd name="T11" fmla="*/ 85 h 1080"/>
                <a:gd name="T12" fmla="*/ 89 w 1536"/>
                <a:gd name="T13" fmla="*/ 80 h 1080"/>
                <a:gd name="T14" fmla="*/ 85 w 1536"/>
                <a:gd name="T15" fmla="*/ 82 h 1080"/>
                <a:gd name="T16" fmla="*/ 82 w 1536"/>
                <a:gd name="T17" fmla="*/ 80 h 1080"/>
                <a:gd name="T18" fmla="*/ 80 w 1536"/>
                <a:gd name="T19" fmla="*/ 75 h 1080"/>
                <a:gd name="T20" fmla="*/ 75 w 1536"/>
                <a:gd name="T21" fmla="*/ 72 h 1080"/>
                <a:gd name="T22" fmla="*/ 61 w 1536"/>
                <a:gd name="T23" fmla="*/ 70 h 1080"/>
                <a:gd name="T24" fmla="*/ 62 w 1536"/>
                <a:gd name="T25" fmla="*/ 72 h 1080"/>
                <a:gd name="T26" fmla="*/ 58 w 1536"/>
                <a:gd name="T27" fmla="*/ 75 h 1080"/>
                <a:gd name="T28" fmla="*/ 49 w 1536"/>
                <a:gd name="T29" fmla="*/ 76 h 1080"/>
                <a:gd name="T30" fmla="*/ 41 w 1536"/>
                <a:gd name="T31" fmla="*/ 79 h 1080"/>
                <a:gd name="T32" fmla="*/ 41 w 1536"/>
                <a:gd name="T33" fmla="*/ 77 h 1080"/>
                <a:gd name="T34" fmla="*/ 39 w 1536"/>
                <a:gd name="T35" fmla="*/ 74 h 1080"/>
                <a:gd name="T36" fmla="*/ 28 w 1536"/>
                <a:gd name="T37" fmla="*/ 78 h 1080"/>
                <a:gd name="T38" fmla="*/ 18 w 1536"/>
                <a:gd name="T39" fmla="*/ 85 h 1080"/>
                <a:gd name="T40" fmla="*/ 18 w 1536"/>
                <a:gd name="T41" fmla="*/ 77 h 1080"/>
                <a:gd name="T42" fmla="*/ 19 w 1536"/>
                <a:gd name="T43" fmla="*/ 69 h 1080"/>
                <a:gd name="T44" fmla="*/ 16 w 1536"/>
                <a:gd name="T45" fmla="*/ 69 h 1080"/>
                <a:gd name="T46" fmla="*/ 11 w 1536"/>
                <a:gd name="T47" fmla="*/ 69 h 1080"/>
                <a:gd name="T48" fmla="*/ 5 w 1536"/>
                <a:gd name="T49" fmla="*/ 68 h 1080"/>
                <a:gd name="T50" fmla="*/ 1 w 1536"/>
                <a:gd name="T51" fmla="*/ 63 h 1080"/>
                <a:gd name="T52" fmla="*/ 3 w 1536"/>
                <a:gd name="T53" fmla="*/ 59 h 1080"/>
                <a:gd name="T54" fmla="*/ 9 w 1536"/>
                <a:gd name="T55" fmla="*/ 54 h 1080"/>
                <a:gd name="T56" fmla="*/ 15 w 1536"/>
                <a:gd name="T57" fmla="*/ 47 h 1080"/>
                <a:gd name="T58" fmla="*/ 17 w 1536"/>
                <a:gd name="T59" fmla="*/ 40 h 1080"/>
                <a:gd name="T60" fmla="*/ 12 w 1536"/>
                <a:gd name="T61" fmla="*/ 33 h 1080"/>
                <a:gd name="T62" fmla="*/ 10 w 1536"/>
                <a:gd name="T63" fmla="*/ 21 h 1080"/>
                <a:gd name="T64" fmla="*/ 6 w 1536"/>
                <a:gd name="T65" fmla="*/ 14 h 1080"/>
                <a:gd name="T66" fmla="*/ 7 w 1536"/>
                <a:gd name="T67" fmla="*/ 9 h 1080"/>
                <a:gd name="T68" fmla="*/ 12 w 1536"/>
                <a:gd name="T69" fmla="*/ 7 h 1080"/>
                <a:gd name="T70" fmla="*/ 16 w 1536"/>
                <a:gd name="T71" fmla="*/ 8 h 1080"/>
                <a:gd name="T72" fmla="*/ 19 w 1536"/>
                <a:gd name="T73" fmla="*/ 8 h 1080"/>
                <a:gd name="T74" fmla="*/ 22 w 1536"/>
                <a:gd name="T75" fmla="*/ 9 h 1080"/>
                <a:gd name="T76" fmla="*/ 29 w 1536"/>
                <a:gd name="T77" fmla="*/ 12 h 1080"/>
                <a:gd name="T78" fmla="*/ 33 w 1536"/>
                <a:gd name="T79" fmla="*/ 13 h 1080"/>
                <a:gd name="T80" fmla="*/ 38 w 1536"/>
                <a:gd name="T81" fmla="*/ 15 h 1080"/>
                <a:gd name="T82" fmla="*/ 42 w 1536"/>
                <a:gd name="T83" fmla="*/ 17 h 1080"/>
                <a:gd name="T84" fmla="*/ 47 w 1536"/>
                <a:gd name="T85" fmla="*/ 19 h 1080"/>
                <a:gd name="T86" fmla="*/ 51 w 1536"/>
                <a:gd name="T87" fmla="*/ 21 h 1080"/>
                <a:gd name="T88" fmla="*/ 50 w 1536"/>
                <a:gd name="T89" fmla="*/ 15 h 1080"/>
                <a:gd name="T90" fmla="*/ 56 w 1536"/>
                <a:gd name="T91" fmla="*/ 0 h 1080"/>
                <a:gd name="T92" fmla="*/ 74 w 1536"/>
                <a:gd name="T93" fmla="*/ 5 h 1080"/>
                <a:gd name="T94" fmla="*/ 87 w 1536"/>
                <a:gd name="T95" fmla="*/ 6 h 1080"/>
                <a:gd name="T96" fmla="*/ 92 w 1536"/>
                <a:gd name="T97" fmla="*/ 11 h 1080"/>
                <a:gd name="T98" fmla="*/ 95 w 1536"/>
                <a:gd name="T99" fmla="*/ 15 h 1080"/>
                <a:gd name="T100" fmla="*/ 93 w 1536"/>
                <a:gd name="T101" fmla="*/ 20 h 1080"/>
                <a:gd name="T102" fmla="*/ 108 w 1536"/>
                <a:gd name="T103" fmla="*/ 18 h 1080"/>
                <a:gd name="T104" fmla="*/ 120 w 1536"/>
                <a:gd name="T105" fmla="*/ 21 h 1080"/>
                <a:gd name="T106" fmla="*/ 127 w 1536"/>
                <a:gd name="T107" fmla="*/ 29 h 1080"/>
                <a:gd name="T108" fmla="*/ 130 w 1536"/>
                <a:gd name="T109" fmla="*/ 30 h 1080"/>
                <a:gd name="T110" fmla="*/ 130 w 1536"/>
                <a:gd name="T111" fmla="*/ 49 h 1080"/>
                <a:gd name="T112" fmla="*/ 120 w 1536"/>
                <a:gd name="T113" fmla="*/ 69 h 1080"/>
                <a:gd name="T114" fmla="*/ 119 w 1536"/>
                <a:gd name="T115" fmla="*/ 74 h 1080"/>
                <a:gd name="T116" fmla="*/ 118 w 1536"/>
                <a:gd name="T117" fmla="*/ 80 h 108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536"/>
                <a:gd name="T178" fmla="*/ 0 h 1080"/>
                <a:gd name="T179" fmla="*/ 1536 w 1536"/>
                <a:gd name="T180" fmla="*/ 1080 h 108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536" h="1080">
                  <a:moveTo>
                    <a:pt x="1350" y="1020"/>
                  </a:moveTo>
                  <a:lnTo>
                    <a:pt x="1350" y="1026"/>
                  </a:lnTo>
                  <a:lnTo>
                    <a:pt x="1344" y="1026"/>
                  </a:lnTo>
                  <a:lnTo>
                    <a:pt x="1338" y="1032"/>
                  </a:lnTo>
                  <a:lnTo>
                    <a:pt x="1332" y="1026"/>
                  </a:lnTo>
                  <a:lnTo>
                    <a:pt x="1326" y="1026"/>
                  </a:lnTo>
                  <a:lnTo>
                    <a:pt x="1320" y="1020"/>
                  </a:lnTo>
                  <a:lnTo>
                    <a:pt x="1314" y="1026"/>
                  </a:lnTo>
                  <a:lnTo>
                    <a:pt x="1314" y="1032"/>
                  </a:lnTo>
                  <a:lnTo>
                    <a:pt x="1308" y="1038"/>
                  </a:lnTo>
                  <a:lnTo>
                    <a:pt x="1308" y="1044"/>
                  </a:lnTo>
                  <a:lnTo>
                    <a:pt x="1308" y="1050"/>
                  </a:lnTo>
                  <a:lnTo>
                    <a:pt x="1308" y="1056"/>
                  </a:lnTo>
                  <a:lnTo>
                    <a:pt x="1308" y="1062"/>
                  </a:lnTo>
                  <a:lnTo>
                    <a:pt x="1296" y="1068"/>
                  </a:lnTo>
                  <a:lnTo>
                    <a:pt x="1284" y="1074"/>
                  </a:lnTo>
                  <a:lnTo>
                    <a:pt x="1272" y="1080"/>
                  </a:lnTo>
                  <a:lnTo>
                    <a:pt x="1260" y="1080"/>
                  </a:lnTo>
                  <a:lnTo>
                    <a:pt x="1254" y="1074"/>
                  </a:lnTo>
                  <a:lnTo>
                    <a:pt x="1236" y="1074"/>
                  </a:lnTo>
                  <a:lnTo>
                    <a:pt x="1230" y="1074"/>
                  </a:lnTo>
                  <a:lnTo>
                    <a:pt x="1236" y="1074"/>
                  </a:lnTo>
                  <a:lnTo>
                    <a:pt x="1236" y="1068"/>
                  </a:lnTo>
                  <a:lnTo>
                    <a:pt x="1236" y="1062"/>
                  </a:lnTo>
                  <a:lnTo>
                    <a:pt x="1236" y="1056"/>
                  </a:lnTo>
                  <a:lnTo>
                    <a:pt x="1242" y="1050"/>
                  </a:lnTo>
                  <a:lnTo>
                    <a:pt x="1242" y="1044"/>
                  </a:lnTo>
                  <a:lnTo>
                    <a:pt x="1242" y="1038"/>
                  </a:lnTo>
                  <a:lnTo>
                    <a:pt x="1248" y="1032"/>
                  </a:lnTo>
                  <a:lnTo>
                    <a:pt x="1236" y="1026"/>
                  </a:lnTo>
                  <a:lnTo>
                    <a:pt x="1218" y="1020"/>
                  </a:lnTo>
                  <a:lnTo>
                    <a:pt x="1224" y="1014"/>
                  </a:lnTo>
                  <a:lnTo>
                    <a:pt x="1218" y="1008"/>
                  </a:lnTo>
                  <a:lnTo>
                    <a:pt x="1218" y="1002"/>
                  </a:lnTo>
                  <a:lnTo>
                    <a:pt x="1212" y="1008"/>
                  </a:lnTo>
                  <a:lnTo>
                    <a:pt x="1206" y="1002"/>
                  </a:lnTo>
                  <a:lnTo>
                    <a:pt x="1212" y="1002"/>
                  </a:lnTo>
                  <a:lnTo>
                    <a:pt x="1212" y="996"/>
                  </a:lnTo>
                  <a:lnTo>
                    <a:pt x="1200" y="990"/>
                  </a:lnTo>
                  <a:lnTo>
                    <a:pt x="1200" y="984"/>
                  </a:lnTo>
                  <a:lnTo>
                    <a:pt x="1188" y="984"/>
                  </a:lnTo>
                  <a:lnTo>
                    <a:pt x="1176" y="978"/>
                  </a:lnTo>
                  <a:lnTo>
                    <a:pt x="1164" y="960"/>
                  </a:lnTo>
                  <a:lnTo>
                    <a:pt x="1152" y="936"/>
                  </a:lnTo>
                  <a:lnTo>
                    <a:pt x="1146" y="936"/>
                  </a:lnTo>
                  <a:lnTo>
                    <a:pt x="1128" y="900"/>
                  </a:lnTo>
                  <a:lnTo>
                    <a:pt x="1038" y="912"/>
                  </a:lnTo>
                  <a:lnTo>
                    <a:pt x="1038" y="918"/>
                  </a:lnTo>
                  <a:lnTo>
                    <a:pt x="1032" y="924"/>
                  </a:lnTo>
                  <a:lnTo>
                    <a:pt x="1026" y="918"/>
                  </a:lnTo>
                  <a:lnTo>
                    <a:pt x="1020" y="924"/>
                  </a:lnTo>
                  <a:lnTo>
                    <a:pt x="1008" y="936"/>
                  </a:lnTo>
                  <a:lnTo>
                    <a:pt x="990" y="936"/>
                  </a:lnTo>
                  <a:lnTo>
                    <a:pt x="990" y="942"/>
                  </a:lnTo>
                  <a:lnTo>
                    <a:pt x="996" y="942"/>
                  </a:lnTo>
                  <a:lnTo>
                    <a:pt x="984" y="948"/>
                  </a:lnTo>
                  <a:lnTo>
                    <a:pt x="972" y="948"/>
                  </a:lnTo>
                  <a:lnTo>
                    <a:pt x="960" y="948"/>
                  </a:lnTo>
                  <a:lnTo>
                    <a:pt x="948" y="942"/>
                  </a:lnTo>
                  <a:lnTo>
                    <a:pt x="948" y="936"/>
                  </a:lnTo>
                  <a:lnTo>
                    <a:pt x="942" y="936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30" y="924"/>
                  </a:lnTo>
                  <a:lnTo>
                    <a:pt x="936" y="918"/>
                  </a:lnTo>
                  <a:lnTo>
                    <a:pt x="918" y="918"/>
                  </a:lnTo>
                  <a:lnTo>
                    <a:pt x="918" y="900"/>
                  </a:lnTo>
                  <a:lnTo>
                    <a:pt x="924" y="900"/>
                  </a:lnTo>
                  <a:lnTo>
                    <a:pt x="924" y="894"/>
                  </a:lnTo>
                  <a:lnTo>
                    <a:pt x="924" y="870"/>
                  </a:lnTo>
                  <a:lnTo>
                    <a:pt x="924" y="864"/>
                  </a:lnTo>
                  <a:lnTo>
                    <a:pt x="918" y="858"/>
                  </a:lnTo>
                  <a:lnTo>
                    <a:pt x="918" y="852"/>
                  </a:lnTo>
                  <a:lnTo>
                    <a:pt x="906" y="840"/>
                  </a:lnTo>
                  <a:lnTo>
                    <a:pt x="894" y="834"/>
                  </a:lnTo>
                  <a:lnTo>
                    <a:pt x="876" y="822"/>
                  </a:lnTo>
                  <a:lnTo>
                    <a:pt x="870" y="828"/>
                  </a:lnTo>
                  <a:lnTo>
                    <a:pt x="858" y="816"/>
                  </a:lnTo>
                  <a:lnTo>
                    <a:pt x="810" y="798"/>
                  </a:lnTo>
                  <a:lnTo>
                    <a:pt x="774" y="792"/>
                  </a:lnTo>
                  <a:lnTo>
                    <a:pt x="732" y="798"/>
                  </a:lnTo>
                  <a:lnTo>
                    <a:pt x="726" y="804"/>
                  </a:lnTo>
                  <a:lnTo>
                    <a:pt x="714" y="810"/>
                  </a:lnTo>
                  <a:lnTo>
                    <a:pt x="702" y="810"/>
                  </a:lnTo>
                  <a:lnTo>
                    <a:pt x="690" y="810"/>
                  </a:lnTo>
                  <a:lnTo>
                    <a:pt x="696" y="816"/>
                  </a:lnTo>
                  <a:lnTo>
                    <a:pt x="696" y="822"/>
                  </a:lnTo>
                  <a:lnTo>
                    <a:pt x="702" y="822"/>
                  </a:lnTo>
                  <a:lnTo>
                    <a:pt x="708" y="822"/>
                  </a:lnTo>
                  <a:lnTo>
                    <a:pt x="708" y="828"/>
                  </a:lnTo>
                  <a:lnTo>
                    <a:pt x="708" y="834"/>
                  </a:lnTo>
                  <a:lnTo>
                    <a:pt x="714" y="834"/>
                  </a:lnTo>
                  <a:lnTo>
                    <a:pt x="708" y="846"/>
                  </a:lnTo>
                  <a:lnTo>
                    <a:pt x="708" y="852"/>
                  </a:lnTo>
                  <a:lnTo>
                    <a:pt x="702" y="852"/>
                  </a:lnTo>
                  <a:lnTo>
                    <a:pt x="696" y="858"/>
                  </a:lnTo>
                  <a:lnTo>
                    <a:pt x="690" y="864"/>
                  </a:lnTo>
                  <a:lnTo>
                    <a:pt x="666" y="870"/>
                  </a:lnTo>
                  <a:lnTo>
                    <a:pt x="660" y="876"/>
                  </a:lnTo>
                  <a:lnTo>
                    <a:pt x="642" y="876"/>
                  </a:lnTo>
                  <a:lnTo>
                    <a:pt x="606" y="882"/>
                  </a:lnTo>
                  <a:lnTo>
                    <a:pt x="588" y="882"/>
                  </a:lnTo>
                  <a:lnTo>
                    <a:pt x="582" y="876"/>
                  </a:lnTo>
                  <a:lnTo>
                    <a:pt x="576" y="876"/>
                  </a:lnTo>
                  <a:lnTo>
                    <a:pt x="564" y="876"/>
                  </a:lnTo>
                  <a:lnTo>
                    <a:pt x="552" y="882"/>
                  </a:lnTo>
                  <a:lnTo>
                    <a:pt x="540" y="894"/>
                  </a:lnTo>
                  <a:lnTo>
                    <a:pt x="534" y="906"/>
                  </a:lnTo>
                  <a:lnTo>
                    <a:pt x="528" y="912"/>
                  </a:lnTo>
                  <a:lnTo>
                    <a:pt x="516" y="924"/>
                  </a:lnTo>
                  <a:lnTo>
                    <a:pt x="486" y="930"/>
                  </a:lnTo>
                  <a:lnTo>
                    <a:pt x="474" y="912"/>
                  </a:lnTo>
                  <a:lnTo>
                    <a:pt x="474" y="906"/>
                  </a:lnTo>
                  <a:lnTo>
                    <a:pt x="468" y="906"/>
                  </a:lnTo>
                  <a:lnTo>
                    <a:pt x="468" y="900"/>
                  </a:lnTo>
                  <a:lnTo>
                    <a:pt x="462" y="894"/>
                  </a:lnTo>
                  <a:lnTo>
                    <a:pt x="456" y="894"/>
                  </a:lnTo>
                  <a:lnTo>
                    <a:pt x="462" y="888"/>
                  </a:lnTo>
                  <a:lnTo>
                    <a:pt x="468" y="888"/>
                  </a:lnTo>
                  <a:lnTo>
                    <a:pt x="462" y="882"/>
                  </a:lnTo>
                  <a:lnTo>
                    <a:pt x="462" y="876"/>
                  </a:lnTo>
                  <a:lnTo>
                    <a:pt x="456" y="870"/>
                  </a:lnTo>
                  <a:lnTo>
                    <a:pt x="456" y="864"/>
                  </a:lnTo>
                  <a:lnTo>
                    <a:pt x="450" y="858"/>
                  </a:lnTo>
                  <a:lnTo>
                    <a:pt x="444" y="858"/>
                  </a:lnTo>
                  <a:lnTo>
                    <a:pt x="444" y="852"/>
                  </a:lnTo>
                  <a:lnTo>
                    <a:pt x="438" y="852"/>
                  </a:lnTo>
                  <a:lnTo>
                    <a:pt x="438" y="858"/>
                  </a:lnTo>
                  <a:lnTo>
                    <a:pt x="402" y="870"/>
                  </a:lnTo>
                  <a:lnTo>
                    <a:pt x="390" y="882"/>
                  </a:lnTo>
                  <a:lnTo>
                    <a:pt x="384" y="900"/>
                  </a:lnTo>
                  <a:lnTo>
                    <a:pt x="342" y="900"/>
                  </a:lnTo>
                  <a:lnTo>
                    <a:pt x="324" y="900"/>
                  </a:lnTo>
                  <a:lnTo>
                    <a:pt x="294" y="906"/>
                  </a:lnTo>
                  <a:lnTo>
                    <a:pt x="282" y="948"/>
                  </a:lnTo>
                  <a:lnTo>
                    <a:pt x="282" y="978"/>
                  </a:lnTo>
                  <a:lnTo>
                    <a:pt x="270" y="1008"/>
                  </a:lnTo>
                  <a:lnTo>
                    <a:pt x="240" y="1014"/>
                  </a:lnTo>
                  <a:lnTo>
                    <a:pt x="216" y="996"/>
                  </a:lnTo>
                  <a:lnTo>
                    <a:pt x="204" y="984"/>
                  </a:lnTo>
                  <a:lnTo>
                    <a:pt x="192" y="966"/>
                  </a:lnTo>
                  <a:lnTo>
                    <a:pt x="186" y="948"/>
                  </a:lnTo>
                  <a:lnTo>
                    <a:pt x="174" y="948"/>
                  </a:lnTo>
                  <a:lnTo>
                    <a:pt x="174" y="936"/>
                  </a:lnTo>
                  <a:lnTo>
                    <a:pt x="186" y="924"/>
                  </a:lnTo>
                  <a:lnTo>
                    <a:pt x="198" y="906"/>
                  </a:lnTo>
                  <a:lnTo>
                    <a:pt x="204" y="888"/>
                  </a:lnTo>
                  <a:lnTo>
                    <a:pt x="222" y="870"/>
                  </a:lnTo>
                  <a:lnTo>
                    <a:pt x="234" y="858"/>
                  </a:lnTo>
                  <a:lnTo>
                    <a:pt x="234" y="852"/>
                  </a:lnTo>
                  <a:lnTo>
                    <a:pt x="222" y="852"/>
                  </a:lnTo>
                  <a:lnTo>
                    <a:pt x="228" y="810"/>
                  </a:lnTo>
                  <a:lnTo>
                    <a:pt x="222" y="798"/>
                  </a:lnTo>
                  <a:lnTo>
                    <a:pt x="216" y="798"/>
                  </a:lnTo>
                  <a:lnTo>
                    <a:pt x="216" y="792"/>
                  </a:lnTo>
                  <a:lnTo>
                    <a:pt x="210" y="792"/>
                  </a:lnTo>
                  <a:lnTo>
                    <a:pt x="204" y="798"/>
                  </a:lnTo>
                  <a:lnTo>
                    <a:pt x="204" y="792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0" y="786"/>
                  </a:lnTo>
                  <a:lnTo>
                    <a:pt x="174" y="792"/>
                  </a:lnTo>
                  <a:lnTo>
                    <a:pt x="162" y="792"/>
                  </a:lnTo>
                  <a:lnTo>
                    <a:pt x="156" y="792"/>
                  </a:lnTo>
                  <a:lnTo>
                    <a:pt x="156" y="798"/>
                  </a:lnTo>
                  <a:lnTo>
                    <a:pt x="138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6" y="804"/>
                  </a:lnTo>
                  <a:lnTo>
                    <a:pt x="102" y="810"/>
                  </a:lnTo>
                  <a:lnTo>
                    <a:pt x="90" y="810"/>
                  </a:lnTo>
                  <a:lnTo>
                    <a:pt x="72" y="798"/>
                  </a:lnTo>
                  <a:lnTo>
                    <a:pt x="66" y="780"/>
                  </a:lnTo>
                  <a:lnTo>
                    <a:pt x="60" y="780"/>
                  </a:lnTo>
                  <a:lnTo>
                    <a:pt x="60" y="768"/>
                  </a:lnTo>
                  <a:lnTo>
                    <a:pt x="54" y="768"/>
                  </a:lnTo>
                  <a:lnTo>
                    <a:pt x="24" y="756"/>
                  </a:lnTo>
                  <a:lnTo>
                    <a:pt x="18" y="744"/>
                  </a:lnTo>
                  <a:lnTo>
                    <a:pt x="12" y="738"/>
                  </a:lnTo>
                  <a:lnTo>
                    <a:pt x="18" y="732"/>
                  </a:lnTo>
                  <a:lnTo>
                    <a:pt x="12" y="726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8" y="696"/>
                  </a:lnTo>
                  <a:lnTo>
                    <a:pt x="24" y="708"/>
                  </a:lnTo>
                  <a:lnTo>
                    <a:pt x="36" y="702"/>
                  </a:lnTo>
                  <a:lnTo>
                    <a:pt x="36" y="678"/>
                  </a:lnTo>
                  <a:lnTo>
                    <a:pt x="36" y="660"/>
                  </a:lnTo>
                  <a:lnTo>
                    <a:pt x="42" y="654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72" y="624"/>
                  </a:lnTo>
                  <a:lnTo>
                    <a:pt x="90" y="618"/>
                  </a:lnTo>
                  <a:lnTo>
                    <a:pt x="102" y="618"/>
                  </a:lnTo>
                  <a:lnTo>
                    <a:pt x="114" y="612"/>
                  </a:lnTo>
                  <a:lnTo>
                    <a:pt x="138" y="606"/>
                  </a:lnTo>
                  <a:lnTo>
                    <a:pt x="144" y="606"/>
                  </a:lnTo>
                  <a:lnTo>
                    <a:pt x="150" y="594"/>
                  </a:lnTo>
                  <a:lnTo>
                    <a:pt x="156" y="576"/>
                  </a:lnTo>
                  <a:lnTo>
                    <a:pt x="168" y="552"/>
                  </a:lnTo>
                  <a:lnTo>
                    <a:pt x="168" y="540"/>
                  </a:lnTo>
                  <a:lnTo>
                    <a:pt x="180" y="522"/>
                  </a:lnTo>
                  <a:lnTo>
                    <a:pt x="186" y="498"/>
                  </a:lnTo>
                  <a:lnTo>
                    <a:pt x="198" y="480"/>
                  </a:lnTo>
                  <a:lnTo>
                    <a:pt x="204" y="486"/>
                  </a:lnTo>
                  <a:lnTo>
                    <a:pt x="210" y="480"/>
                  </a:lnTo>
                  <a:lnTo>
                    <a:pt x="204" y="474"/>
                  </a:lnTo>
                  <a:lnTo>
                    <a:pt x="198" y="462"/>
                  </a:lnTo>
                  <a:lnTo>
                    <a:pt x="192" y="456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50"/>
                  </a:lnTo>
                  <a:lnTo>
                    <a:pt x="132" y="426"/>
                  </a:lnTo>
                  <a:lnTo>
                    <a:pt x="132" y="396"/>
                  </a:lnTo>
                  <a:lnTo>
                    <a:pt x="132" y="378"/>
                  </a:lnTo>
                  <a:lnTo>
                    <a:pt x="126" y="348"/>
                  </a:lnTo>
                  <a:lnTo>
                    <a:pt x="132" y="312"/>
                  </a:lnTo>
                  <a:lnTo>
                    <a:pt x="126" y="288"/>
                  </a:lnTo>
                  <a:lnTo>
                    <a:pt x="138" y="282"/>
                  </a:lnTo>
                  <a:lnTo>
                    <a:pt x="126" y="264"/>
                  </a:lnTo>
                  <a:lnTo>
                    <a:pt x="126" y="258"/>
                  </a:lnTo>
                  <a:lnTo>
                    <a:pt x="120" y="246"/>
                  </a:lnTo>
                  <a:lnTo>
                    <a:pt x="126" y="234"/>
                  </a:lnTo>
                  <a:lnTo>
                    <a:pt x="114" y="228"/>
                  </a:lnTo>
                  <a:lnTo>
                    <a:pt x="114" y="222"/>
                  </a:lnTo>
                  <a:lnTo>
                    <a:pt x="96" y="204"/>
                  </a:lnTo>
                  <a:lnTo>
                    <a:pt x="84" y="180"/>
                  </a:lnTo>
                  <a:lnTo>
                    <a:pt x="78" y="168"/>
                  </a:lnTo>
                  <a:lnTo>
                    <a:pt x="72" y="162"/>
                  </a:lnTo>
                  <a:lnTo>
                    <a:pt x="66" y="144"/>
                  </a:lnTo>
                  <a:lnTo>
                    <a:pt x="60" y="138"/>
                  </a:lnTo>
                  <a:lnTo>
                    <a:pt x="66" y="126"/>
                  </a:lnTo>
                  <a:lnTo>
                    <a:pt x="66" y="114"/>
                  </a:lnTo>
                  <a:lnTo>
                    <a:pt x="72" y="114"/>
                  </a:lnTo>
                  <a:lnTo>
                    <a:pt x="72" y="108"/>
                  </a:lnTo>
                  <a:lnTo>
                    <a:pt x="78" y="102"/>
                  </a:lnTo>
                  <a:lnTo>
                    <a:pt x="78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120" y="78"/>
                  </a:lnTo>
                  <a:lnTo>
                    <a:pt x="144" y="84"/>
                  </a:lnTo>
                  <a:lnTo>
                    <a:pt x="150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74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92" y="102"/>
                  </a:lnTo>
                  <a:lnTo>
                    <a:pt x="198" y="96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16" y="96"/>
                  </a:lnTo>
                  <a:lnTo>
                    <a:pt x="222" y="96"/>
                  </a:lnTo>
                  <a:lnTo>
                    <a:pt x="228" y="96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94" y="114"/>
                  </a:lnTo>
                  <a:lnTo>
                    <a:pt x="312" y="120"/>
                  </a:lnTo>
                  <a:lnTo>
                    <a:pt x="318" y="126"/>
                  </a:lnTo>
                  <a:lnTo>
                    <a:pt x="330" y="132"/>
                  </a:lnTo>
                  <a:lnTo>
                    <a:pt x="342" y="132"/>
                  </a:lnTo>
                  <a:lnTo>
                    <a:pt x="348" y="132"/>
                  </a:lnTo>
                  <a:lnTo>
                    <a:pt x="354" y="138"/>
                  </a:lnTo>
                  <a:lnTo>
                    <a:pt x="366" y="138"/>
                  </a:lnTo>
                  <a:lnTo>
                    <a:pt x="372" y="144"/>
                  </a:lnTo>
                  <a:lnTo>
                    <a:pt x="378" y="150"/>
                  </a:lnTo>
                  <a:lnTo>
                    <a:pt x="384" y="150"/>
                  </a:lnTo>
                  <a:lnTo>
                    <a:pt x="390" y="150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14" y="156"/>
                  </a:lnTo>
                  <a:lnTo>
                    <a:pt x="420" y="156"/>
                  </a:lnTo>
                  <a:lnTo>
                    <a:pt x="426" y="162"/>
                  </a:lnTo>
                  <a:lnTo>
                    <a:pt x="438" y="168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62" y="174"/>
                  </a:lnTo>
                  <a:lnTo>
                    <a:pt x="468" y="174"/>
                  </a:lnTo>
                  <a:lnTo>
                    <a:pt x="474" y="174"/>
                  </a:lnTo>
                  <a:lnTo>
                    <a:pt x="474" y="180"/>
                  </a:lnTo>
                  <a:lnTo>
                    <a:pt x="480" y="192"/>
                  </a:lnTo>
                  <a:lnTo>
                    <a:pt x="498" y="198"/>
                  </a:lnTo>
                  <a:lnTo>
                    <a:pt x="510" y="210"/>
                  </a:lnTo>
                  <a:lnTo>
                    <a:pt x="516" y="210"/>
                  </a:lnTo>
                  <a:lnTo>
                    <a:pt x="522" y="210"/>
                  </a:lnTo>
                  <a:lnTo>
                    <a:pt x="534" y="216"/>
                  </a:lnTo>
                  <a:lnTo>
                    <a:pt x="540" y="216"/>
                  </a:lnTo>
                  <a:lnTo>
                    <a:pt x="546" y="222"/>
                  </a:lnTo>
                  <a:lnTo>
                    <a:pt x="552" y="222"/>
                  </a:lnTo>
                  <a:lnTo>
                    <a:pt x="558" y="228"/>
                  </a:lnTo>
                  <a:lnTo>
                    <a:pt x="564" y="228"/>
                  </a:lnTo>
                  <a:lnTo>
                    <a:pt x="570" y="234"/>
                  </a:lnTo>
                  <a:lnTo>
                    <a:pt x="576" y="240"/>
                  </a:lnTo>
                  <a:lnTo>
                    <a:pt x="582" y="240"/>
                  </a:lnTo>
                  <a:lnTo>
                    <a:pt x="588" y="240"/>
                  </a:lnTo>
                  <a:lnTo>
                    <a:pt x="594" y="240"/>
                  </a:lnTo>
                  <a:lnTo>
                    <a:pt x="600" y="228"/>
                  </a:lnTo>
                  <a:lnTo>
                    <a:pt x="588" y="216"/>
                  </a:lnTo>
                  <a:lnTo>
                    <a:pt x="588" y="198"/>
                  </a:lnTo>
                  <a:lnTo>
                    <a:pt x="582" y="198"/>
                  </a:lnTo>
                  <a:lnTo>
                    <a:pt x="588" y="192"/>
                  </a:lnTo>
                  <a:lnTo>
                    <a:pt x="582" y="168"/>
                  </a:lnTo>
                  <a:lnTo>
                    <a:pt x="558" y="114"/>
                  </a:lnTo>
                  <a:lnTo>
                    <a:pt x="552" y="90"/>
                  </a:lnTo>
                  <a:lnTo>
                    <a:pt x="558" y="60"/>
                  </a:lnTo>
                  <a:lnTo>
                    <a:pt x="564" y="48"/>
                  </a:lnTo>
                  <a:lnTo>
                    <a:pt x="582" y="42"/>
                  </a:lnTo>
                  <a:lnTo>
                    <a:pt x="624" y="6"/>
                  </a:lnTo>
                  <a:lnTo>
                    <a:pt x="648" y="0"/>
                  </a:lnTo>
                  <a:lnTo>
                    <a:pt x="678" y="0"/>
                  </a:lnTo>
                  <a:lnTo>
                    <a:pt x="720" y="12"/>
                  </a:lnTo>
                  <a:lnTo>
                    <a:pt x="744" y="24"/>
                  </a:lnTo>
                  <a:lnTo>
                    <a:pt x="768" y="42"/>
                  </a:lnTo>
                  <a:lnTo>
                    <a:pt x="816" y="48"/>
                  </a:lnTo>
                  <a:lnTo>
                    <a:pt x="834" y="48"/>
                  </a:lnTo>
                  <a:lnTo>
                    <a:pt x="852" y="54"/>
                  </a:lnTo>
                  <a:lnTo>
                    <a:pt x="906" y="60"/>
                  </a:lnTo>
                  <a:lnTo>
                    <a:pt x="948" y="54"/>
                  </a:lnTo>
                  <a:lnTo>
                    <a:pt x="978" y="42"/>
                  </a:lnTo>
                  <a:lnTo>
                    <a:pt x="984" y="48"/>
                  </a:lnTo>
                  <a:lnTo>
                    <a:pt x="990" y="60"/>
                  </a:lnTo>
                  <a:lnTo>
                    <a:pt x="996" y="66"/>
                  </a:lnTo>
                  <a:lnTo>
                    <a:pt x="1002" y="72"/>
                  </a:lnTo>
                  <a:lnTo>
                    <a:pt x="1014" y="78"/>
                  </a:lnTo>
                  <a:lnTo>
                    <a:pt x="1014" y="84"/>
                  </a:lnTo>
                  <a:lnTo>
                    <a:pt x="1032" y="84"/>
                  </a:lnTo>
                  <a:lnTo>
                    <a:pt x="1032" y="90"/>
                  </a:lnTo>
                  <a:lnTo>
                    <a:pt x="1032" y="96"/>
                  </a:lnTo>
                  <a:lnTo>
                    <a:pt x="1032" y="108"/>
                  </a:lnTo>
                  <a:lnTo>
                    <a:pt x="1056" y="126"/>
                  </a:lnTo>
                  <a:lnTo>
                    <a:pt x="1068" y="138"/>
                  </a:lnTo>
                  <a:lnTo>
                    <a:pt x="1068" y="156"/>
                  </a:lnTo>
                  <a:lnTo>
                    <a:pt x="1080" y="150"/>
                  </a:lnTo>
                  <a:lnTo>
                    <a:pt x="1086" y="150"/>
                  </a:lnTo>
                  <a:lnTo>
                    <a:pt x="1092" y="156"/>
                  </a:lnTo>
                  <a:lnTo>
                    <a:pt x="1092" y="162"/>
                  </a:lnTo>
                  <a:lnTo>
                    <a:pt x="1092" y="168"/>
                  </a:lnTo>
                  <a:lnTo>
                    <a:pt x="1098" y="168"/>
                  </a:lnTo>
                  <a:lnTo>
                    <a:pt x="1092" y="180"/>
                  </a:lnTo>
                  <a:lnTo>
                    <a:pt x="1092" y="186"/>
                  </a:lnTo>
                  <a:lnTo>
                    <a:pt x="1086" y="192"/>
                  </a:lnTo>
                  <a:lnTo>
                    <a:pt x="1068" y="210"/>
                  </a:lnTo>
                  <a:lnTo>
                    <a:pt x="1068" y="216"/>
                  </a:lnTo>
                  <a:lnTo>
                    <a:pt x="1074" y="228"/>
                  </a:lnTo>
                  <a:lnTo>
                    <a:pt x="1092" y="234"/>
                  </a:lnTo>
                  <a:lnTo>
                    <a:pt x="1122" y="216"/>
                  </a:lnTo>
                  <a:lnTo>
                    <a:pt x="1188" y="204"/>
                  </a:lnTo>
                  <a:lnTo>
                    <a:pt x="1212" y="204"/>
                  </a:lnTo>
                  <a:lnTo>
                    <a:pt x="1230" y="198"/>
                  </a:lnTo>
                  <a:lnTo>
                    <a:pt x="1236" y="204"/>
                  </a:lnTo>
                  <a:lnTo>
                    <a:pt x="1242" y="210"/>
                  </a:lnTo>
                  <a:lnTo>
                    <a:pt x="1242" y="204"/>
                  </a:lnTo>
                  <a:lnTo>
                    <a:pt x="1248" y="198"/>
                  </a:lnTo>
                  <a:lnTo>
                    <a:pt x="1308" y="204"/>
                  </a:lnTo>
                  <a:lnTo>
                    <a:pt x="1338" y="204"/>
                  </a:lnTo>
                  <a:lnTo>
                    <a:pt x="1374" y="228"/>
                  </a:lnTo>
                  <a:lnTo>
                    <a:pt x="1380" y="234"/>
                  </a:lnTo>
                  <a:lnTo>
                    <a:pt x="1380" y="240"/>
                  </a:lnTo>
                  <a:lnTo>
                    <a:pt x="1386" y="252"/>
                  </a:lnTo>
                  <a:lnTo>
                    <a:pt x="1392" y="252"/>
                  </a:lnTo>
                  <a:lnTo>
                    <a:pt x="1416" y="270"/>
                  </a:lnTo>
                  <a:lnTo>
                    <a:pt x="1428" y="294"/>
                  </a:lnTo>
                  <a:lnTo>
                    <a:pt x="1440" y="312"/>
                  </a:lnTo>
                  <a:lnTo>
                    <a:pt x="1452" y="330"/>
                  </a:lnTo>
                  <a:lnTo>
                    <a:pt x="1464" y="330"/>
                  </a:lnTo>
                  <a:lnTo>
                    <a:pt x="1464" y="336"/>
                  </a:lnTo>
                  <a:lnTo>
                    <a:pt x="1470" y="336"/>
                  </a:lnTo>
                  <a:lnTo>
                    <a:pt x="1470" y="342"/>
                  </a:lnTo>
                  <a:lnTo>
                    <a:pt x="1476" y="342"/>
                  </a:lnTo>
                  <a:lnTo>
                    <a:pt x="1488" y="336"/>
                  </a:lnTo>
                  <a:lnTo>
                    <a:pt x="1494" y="342"/>
                  </a:lnTo>
                  <a:lnTo>
                    <a:pt x="1500" y="342"/>
                  </a:lnTo>
                  <a:lnTo>
                    <a:pt x="1512" y="366"/>
                  </a:lnTo>
                  <a:lnTo>
                    <a:pt x="1530" y="396"/>
                  </a:lnTo>
                  <a:lnTo>
                    <a:pt x="1536" y="444"/>
                  </a:lnTo>
                  <a:lnTo>
                    <a:pt x="1530" y="480"/>
                  </a:lnTo>
                  <a:lnTo>
                    <a:pt x="1506" y="510"/>
                  </a:lnTo>
                  <a:lnTo>
                    <a:pt x="1500" y="546"/>
                  </a:lnTo>
                  <a:lnTo>
                    <a:pt x="1494" y="564"/>
                  </a:lnTo>
                  <a:lnTo>
                    <a:pt x="1494" y="576"/>
                  </a:lnTo>
                  <a:lnTo>
                    <a:pt x="1500" y="582"/>
                  </a:lnTo>
                  <a:lnTo>
                    <a:pt x="1494" y="612"/>
                  </a:lnTo>
                  <a:lnTo>
                    <a:pt x="1476" y="630"/>
                  </a:lnTo>
                  <a:lnTo>
                    <a:pt x="1434" y="672"/>
                  </a:lnTo>
                  <a:lnTo>
                    <a:pt x="1392" y="756"/>
                  </a:lnTo>
                  <a:lnTo>
                    <a:pt x="1380" y="792"/>
                  </a:lnTo>
                  <a:lnTo>
                    <a:pt x="1374" y="798"/>
                  </a:lnTo>
                  <a:lnTo>
                    <a:pt x="1368" y="798"/>
                  </a:lnTo>
                  <a:lnTo>
                    <a:pt x="1380" y="804"/>
                  </a:lnTo>
                  <a:lnTo>
                    <a:pt x="1386" y="804"/>
                  </a:lnTo>
                  <a:lnTo>
                    <a:pt x="1380" y="822"/>
                  </a:lnTo>
                  <a:lnTo>
                    <a:pt x="1380" y="852"/>
                  </a:lnTo>
                  <a:lnTo>
                    <a:pt x="1374" y="858"/>
                  </a:lnTo>
                  <a:lnTo>
                    <a:pt x="1380" y="858"/>
                  </a:lnTo>
                  <a:lnTo>
                    <a:pt x="1374" y="864"/>
                  </a:lnTo>
                  <a:lnTo>
                    <a:pt x="1374" y="870"/>
                  </a:lnTo>
                  <a:lnTo>
                    <a:pt x="1374" y="876"/>
                  </a:lnTo>
                  <a:lnTo>
                    <a:pt x="1368" y="900"/>
                  </a:lnTo>
                  <a:lnTo>
                    <a:pt x="1362" y="906"/>
                  </a:lnTo>
                  <a:lnTo>
                    <a:pt x="1362" y="918"/>
                  </a:lnTo>
                  <a:lnTo>
                    <a:pt x="1362" y="924"/>
                  </a:lnTo>
                  <a:lnTo>
                    <a:pt x="1356" y="942"/>
                  </a:lnTo>
                  <a:lnTo>
                    <a:pt x="1350" y="972"/>
                  </a:lnTo>
                  <a:lnTo>
                    <a:pt x="1350" y="1014"/>
                  </a:lnTo>
                  <a:lnTo>
                    <a:pt x="1350" y="10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3" name="Freeform 18">
              <a:extLst>
                <a:ext uri="{FF2B5EF4-FFF2-40B4-BE49-F238E27FC236}">
                  <a16:creationId xmlns:a16="http://schemas.microsoft.com/office/drawing/2014/main" id="{EC11F2E0-3C06-46E2-8AD2-66EBE00FFE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32346" y="3837389"/>
              <a:ext cx="556811" cy="818559"/>
            </a:xfrm>
            <a:custGeom>
              <a:avLst/>
              <a:gdLst>
                <a:gd name="T0" fmla="*/ 12 w 1044"/>
                <a:gd name="T1" fmla="*/ 95 h 1542"/>
                <a:gd name="T2" fmla="*/ 7 w 1044"/>
                <a:gd name="T3" fmla="*/ 93 h 1542"/>
                <a:gd name="T4" fmla="*/ 0 w 1044"/>
                <a:gd name="T5" fmla="*/ 88 h 1542"/>
                <a:gd name="T6" fmla="*/ 3 w 1044"/>
                <a:gd name="T7" fmla="*/ 74 h 1542"/>
                <a:gd name="T8" fmla="*/ 4 w 1044"/>
                <a:gd name="T9" fmla="*/ 59 h 1542"/>
                <a:gd name="T10" fmla="*/ 7 w 1044"/>
                <a:gd name="T11" fmla="*/ 52 h 1542"/>
                <a:gd name="T12" fmla="*/ 20 w 1044"/>
                <a:gd name="T13" fmla="*/ 50 h 1542"/>
                <a:gd name="T14" fmla="*/ 24 w 1044"/>
                <a:gd name="T15" fmla="*/ 46 h 1542"/>
                <a:gd name="T16" fmla="*/ 29 w 1044"/>
                <a:gd name="T17" fmla="*/ 33 h 1542"/>
                <a:gd name="T18" fmla="*/ 32 w 1044"/>
                <a:gd name="T19" fmla="*/ 26 h 1542"/>
                <a:gd name="T20" fmla="*/ 30 w 1044"/>
                <a:gd name="T21" fmla="*/ 20 h 1542"/>
                <a:gd name="T22" fmla="*/ 26 w 1044"/>
                <a:gd name="T23" fmla="*/ 17 h 1542"/>
                <a:gd name="T24" fmla="*/ 28 w 1044"/>
                <a:gd name="T25" fmla="*/ 12 h 1542"/>
                <a:gd name="T26" fmla="*/ 44 w 1044"/>
                <a:gd name="T27" fmla="*/ 5 h 1542"/>
                <a:gd name="T28" fmla="*/ 57 w 1044"/>
                <a:gd name="T29" fmla="*/ 2 h 1542"/>
                <a:gd name="T30" fmla="*/ 65 w 1044"/>
                <a:gd name="T31" fmla="*/ 12 h 1542"/>
                <a:gd name="T32" fmla="*/ 81 w 1044"/>
                <a:gd name="T33" fmla="*/ 9 h 1542"/>
                <a:gd name="T34" fmla="*/ 91 w 1044"/>
                <a:gd name="T35" fmla="*/ 20 h 1542"/>
                <a:gd name="T36" fmla="*/ 89 w 1044"/>
                <a:gd name="T37" fmla="*/ 28 h 1542"/>
                <a:gd name="T38" fmla="*/ 83 w 1044"/>
                <a:gd name="T39" fmla="*/ 33 h 1542"/>
                <a:gd name="T40" fmla="*/ 74 w 1044"/>
                <a:gd name="T41" fmla="*/ 42 h 1542"/>
                <a:gd name="T42" fmla="*/ 58 w 1044"/>
                <a:gd name="T43" fmla="*/ 57 h 1542"/>
                <a:gd name="T44" fmla="*/ 54 w 1044"/>
                <a:gd name="T45" fmla="*/ 65 h 1542"/>
                <a:gd name="T46" fmla="*/ 59 w 1044"/>
                <a:gd name="T47" fmla="*/ 74 h 1542"/>
                <a:gd name="T48" fmla="*/ 55 w 1044"/>
                <a:gd name="T49" fmla="*/ 84 h 1542"/>
                <a:gd name="T50" fmla="*/ 52 w 1044"/>
                <a:gd name="T51" fmla="*/ 98 h 1542"/>
                <a:gd name="T52" fmla="*/ 47 w 1044"/>
                <a:gd name="T53" fmla="*/ 105 h 1542"/>
                <a:gd name="T54" fmla="*/ 42 w 1044"/>
                <a:gd name="T55" fmla="*/ 111 h 1542"/>
                <a:gd name="T56" fmla="*/ 43 w 1044"/>
                <a:gd name="T57" fmla="*/ 120 h 1542"/>
                <a:gd name="T58" fmla="*/ 45 w 1044"/>
                <a:gd name="T59" fmla="*/ 125 h 1542"/>
                <a:gd name="T60" fmla="*/ 44 w 1044"/>
                <a:gd name="T61" fmla="*/ 130 h 1542"/>
                <a:gd name="T62" fmla="*/ 45 w 1044"/>
                <a:gd name="T63" fmla="*/ 131 h 1542"/>
                <a:gd name="T64" fmla="*/ 48 w 1044"/>
                <a:gd name="T65" fmla="*/ 133 h 1542"/>
                <a:gd name="T66" fmla="*/ 39 w 1044"/>
                <a:gd name="T67" fmla="*/ 133 h 1542"/>
                <a:gd name="T68" fmla="*/ 42 w 1044"/>
                <a:gd name="T69" fmla="*/ 132 h 1542"/>
                <a:gd name="T70" fmla="*/ 38 w 1044"/>
                <a:gd name="T71" fmla="*/ 133 h 1542"/>
                <a:gd name="T72" fmla="*/ 37 w 1044"/>
                <a:gd name="T73" fmla="*/ 129 h 1542"/>
                <a:gd name="T74" fmla="*/ 40 w 1044"/>
                <a:gd name="T75" fmla="*/ 125 h 1542"/>
                <a:gd name="T76" fmla="*/ 40 w 1044"/>
                <a:gd name="T77" fmla="*/ 120 h 1542"/>
                <a:gd name="T78" fmla="*/ 40 w 1044"/>
                <a:gd name="T79" fmla="*/ 117 h 1542"/>
                <a:gd name="T80" fmla="*/ 37 w 1044"/>
                <a:gd name="T81" fmla="*/ 120 h 1542"/>
                <a:gd name="T82" fmla="*/ 34 w 1044"/>
                <a:gd name="T83" fmla="*/ 122 h 1542"/>
                <a:gd name="T84" fmla="*/ 36 w 1044"/>
                <a:gd name="T85" fmla="*/ 120 h 1542"/>
                <a:gd name="T86" fmla="*/ 30 w 1044"/>
                <a:gd name="T87" fmla="*/ 120 h 1542"/>
                <a:gd name="T88" fmla="*/ 31 w 1044"/>
                <a:gd name="T89" fmla="*/ 113 h 1542"/>
                <a:gd name="T90" fmla="*/ 29 w 1044"/>
                <a:gd name="T91" fmla="*/ 112 h 1542"/>
                <a:gd name="T92" fmla="*/ 31 w 1044"/>
                <a:gd name="T93" fmla="*/ 117 h 1542"/>
                <a:gd name="T94" fmla="*/ 27 w 1044"/>
                <a:gd name="T95" fmla="*/ 116 h 1542"/>
                <a:gd name="T96" fmla="*/ 25 w 1044"/>
                <a:gd name="T97" fmla="*/ 112 h 1542"/>
                <a:gd name="T98" fmla="*/ 21 w 1044"/>
                <a:gd name="T99" fmla="*/ 109 h 1542"/>
                <a:gd name="T100" fmla="*/ 21 w 1044"/>
                <a:gd name="T101" fmla="*/ 113 h 1542"/>
                <a:gd name="T102" fmla="*/ 40 w 1044"/>
                <a:gd name="T103" fmla="*/ 120 h 1542"/>
                <a:gd name="T104" fmla="*/ 40 w 1044"/>
                <a:gd name="T105" fmla="*/ 121 h 1542"/>
                <a:gd name="T106" fmla="*/ 40 w 1044"/>
                <a:gd name="T107" fmla="*/ 116 h 1542"/>
                <a:gd name="T108" fmla="*/ 38 w 1044"/>
                <a:gd name="T109" fmla="*/ 120 h 1542"/>
                <a:gd name="T110" fmla="*/ 23 w 1044"/>
                <a:gd name="T111" fmla="*/ 110 h 1542"/>
                <a:gd name="T112" fmla="*/ 37 w 1044"/>
                <a:gd name="T113" fmla="*/ 124 h 1542"/>
                <a:gd name="T114" fmla="*/ 40 w 1044"/>
                <a:gd name="T115" fmla="*/ 125 h 1542"/>
                <a:gd name="T116" fmla="*/ 38 w 1044"/>
                <a:gd name="T117" fmla="*/ 128 h 1542"/>
                <a:gd name="T118" fmla="*/ 25 w 1044"/>
                <a:gd name="T119" fmla="*/ 117 h 1542"/>
                <a:gd name="T120" fmla="*/ 27 w 1044"/>
                <a:gd name="T121" fmla="*/ 127 h 1542"/>
                <a:gd name="T122" fmla="*/ 24 w 1044"/>
                <a:gd name="T123" fmla="*/ 113 h 15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4"/>
                <a:gd name="T187" fmla="*/ 0 h 1542"/>
                <a:gd name="T188" fmla="*/ 1044 w 1044"/>
                <a:gd name="T189" fmla="*/ 1542 h 154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4" h="1542">
                  <a:moveTo>
                    <a:pt x="234" y="1278"/>
                  </a:moveTo>
                  <a:lnTo>
                    <a:pt x="228" y="1272"/>
                  </a:lnTo>
                  <a:lnTo>
                    <a:pt x="222" y="1266"/>
                  </a:lnTo>
                  <a:lnTo>
                    <a:pt x="222" y="1260"/>
                  </a:lnTo>
                  <a:lnTo>
                    <a:pt x="204" y="1248"/>
                  </a:lnTo>
                  <a:lnTo>
                    <a:pt x="192" y="1248"/>
                  </a:lnTo>
                  <a:lnTo>
                    <a:pt x="186" y="1236"/>
                  </a:lnTo>
                  <a:lnTo>
                    <a:pt x="174" y="1218"/>
                  </a:lnTo>
                  <a:lnTo>
                    <a:pt x="162" y="1194"/>
                  </a:lnTo>
                  <a:lnTo>
                    <a:pt x="156" y="1182"/>
                  </a:lnTo>
                  <a:lnTo>
                    <a:pt x="162" y="1146"/>
                  </a:lnTo>
                  <a:lnTo>
                    <a:pt x="156" y="1134"/>
                  </a:lnTo>
                  <a:lnTo>
                    <a:pt x="138" y="1122"/>
                  </a:lnTo>
                  <a:lnTo>
                    <a:pt x="132" y="1116"/>
                  </a:lnTo>
                  <a:lnTo>
                    <a:pt x="138" y="1098"/>
                  </a:lnTo>
                  <a:lnTo>
                    <a:pt x="138" y="1092"/>
                  </a:lnTo>
                  <a:lnTo>
                    <a:pt x="138" y="1086"/>
                  </a:lnTo>
                  <a:lnTo>
                    <a:pt x="132" y="1074"/>
                  </a:lnTo>
                  <a:lnTo>
                    <a:pt x="126" y="1074"/>
                  </a:lnTo>
                  <a:lnTo>
                    <a:pt x="126" y="1068"/>
                  </a:lnTo>
                  <a:lnTo>
                    <a:pt x="120" y="1062"/>
                  </a:lnTo>
                  <a:lnTo>
                    <a:pt x="120" y="1056"/>
                  </a:lnTo>
                  <a:lnTo>
                    <a:pt x="114" y="1050"/>
                  </a:lnTo>
                  <a:lnTo>
                    <a:pt x="108" y="1050"/>
                  </a:lnTo>
                  <a:lnTo>
                    <a:pt x="102" y="1056"/>
                  </a:lnTo>
                  <a:lnTo>
                    <a:pt x="102" y="1062"/>
                  </a:lnTo>
                  <a:lnTo>
                    <a:pt x="96" y="1062"/>
                  </a:lnTo>
                  <a:lnTo>
                    <a:pt x="96" y="1068"/>
                  </a:lnTo>
                  <a:lnTo>
                    <a:pt x="96" y="1074"/>
                  </a:lnTo>
                  <a:lnTo>
                    <a:pt x="90" y="1074"/>
                  </a:lnTo>
                  <a:lnTo>
                    <a:pt x="84" y="1080"/>
                  </a:lnTo>
                  <a:lnTo>
                    <a:pt x="78" y="1074"/>
                  </a:lnTo>
                  <a:lnTo>
                    <a:pt x="72" y="1074"/>
                  </a:lnTo>
                  <a:lnTo>
                    <a:pt x="72" y="1068"/>
                  </a:lnTo>
                  <a:lnTo>
                    <a:pt x="72" y="1062"/>
                  </a:lnTo>
                  <a:lnTo>
                    <a:pt x="60" y="1056"/>
                  </a:lnTo>
                  <a:lnTo>
                    <a:pt x="60" y="1044"/>
                  </a:lnTo>
                  <a:lnTo>
                    <a:pt x="60" y="1032"/>
                  </a:lnTo>
                  <a:lnTo>
                    <a:pt x="60" y="1026"/>
                  </a:lnTo>
                  <a:lnTo>
                    <a:pt x="54" y="1026"/>
                  </a:lnTo>
                  <a:lnTo>
                    <a:pt x="48" y="1014"/>
                  </a:lnTo>
                  <a:lnTo>
                    <a:pt x="42" y="1008"/>
                  </a:lnTo>
                  <a:lnTo>
                    <a:pt x="30" y="1008"/>
                  </a:lnTo>
                  <a:lnTo>
                    <a:pt x="30" y="1002"/>
                  </a:lnTo>
                  <a:lnTo>
                    <a:pt x="24" y="1008"/>
                  </a:lnTo>
                  <a:lnTo>
                    <a:pt x="12" y="1008"/>
                  </a:lnTo>
                  <a:lnTo>
                    <a:pt x="6" y="1008"/>
                  </a:lnTo>
                  <a:lnTo>
                    <a:pt x="0" y="1008"/>
                  </a:lnTo>
                  <a:lnTo>
                    <a:pt x="0" y="1002"/>
                  </a:lnTo>
                  <a:lnTo>
                    <a:pt x="6" y="990"/>
                  </a:lnTo>
                  <a:lnTo>
                    <a:pt x="6" y="984"/>
                  </a:lnTo>
                  <a:lnTo>
                    <a:pt x="0" y="978"/>
                  </a:lnTo>
                  <a:lnTo>
                    <a:pt x="6" y="972"/>
                  </a:lnTo>
                  <a:lnTo>
                    <a:pt x="12" y="972"/>
                  </a:lnTo>
                  <a:lnTo>
                    <a:pt x="72" y="978"/>
                  </a:lnTo>
                  <a:lnTo>
                    <a:pt x="78" y="972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30"/>
                  </a:lnTo>
                  <a:lnTo>
                    <a:pt x="54" y="912"/>
                  </a:lnTo>
                  <a:lnTo>
                    <a:pt x="42" y="906"/>
                  </a:lnTo>
                  <a:lnTo>
                    <a:pt x="36" y="894"/>
                  </a:lnTo>
                  <a:lnTo>
                    <a:pt x="30" y="876"/>
                  </a:lnTo>
                  <a:lnTo>
                    <a:pt x="30" y="858"/>
                  </a:lnTo>
                  <a:lnTo>
                    <a:pt x="30" y="840"/>
                  </a:lnTo>
                  <a:lnTo>
                    <a:pt x="36" y="816"/>
                  </a:lnTo>
                  <a:lnTo>
                    <a:pt x="36" y="792"/>
                  </a:lnTo>
                  <a:lnTo>
                    <a:pt x="36" y="780"/>
                  </a:lnTo>
                  <a:lnTo>
                    <a:pt x="12" y="774"/>
                  </a:lnTo>
                  <a:lnTo>
                    <a:pt x="24" y="756"/>
                  </a:lnTo>
                  <a:lnTo>
                    <a:pt x="24" y="744"/>
                  </a:lnTo>
                  <a:lnTo>
                    <a:pt x="30" y="738"/>
                  </a:lnTo>
                  <a:lnTo>
                    <a:pt x="30" y="732"/>
                  </a:lnTo>
                  <a:lnTo>
                    <a:pt x="36" y="720"/>
                  </a:lnTo>
                  <a:lnTo>
                    <a:pt x="42" y="714"/>
                  </a:lnTo>
                  <a:lnTo>
                    <a:pt x="54" y="708"/>
                  </a:lnTo>
                  <a:lnTo>
                    <a:pt x="60" y="702"/>
                  </a:lnTo>
                  <a:lnTo>
                    <a:pt x="48" y="690"/>
                  </a:lnTo>
                  <a:lnTo>
                    <a:pt x="48" y="684"/>
                  </a:lnTo>
                  <a:lnTo>
                    <a:pt x="48" y="678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66"/>
                  </a:lnTo>
                  <a:lnTo>
                    <a:pt x="72" y="654"/>
                  </a:lnTo>
                  <a:lnTo>
                    <a:pt x="72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84" y="630"/>
                  </a:lnTo>
                  <a:lnTo>
                    <a:pt x="90" y="630"/>
                  </a:lnTo>
                  <a:lnTo>
                    <a:pt x="96" y="630"/>
                  </a:lnTo>
                  <a:lnTo>
                    <a:pt x="96" y="624"/>
                  </a:lnTo>
                  <a:lnTo>
                    <a:pt x="90" y="624"/>
                  </a:lnTo>
                  <a:lnTo>
                    <a:pt x="84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90" y="600"/>
                  </a:lnTo>
                  <a:lnTo>
                    <a:pt x="84" y="600"/>
                  </a:lnTo>
                  <a:lnTo>
                    <a:pt x="78" y="594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126" y="564"/>
                  </a:lnTo>
                  <a:lnTo>
                    <a:pt x="144" y="564"/>
                  </a:lnTo>
                  <a:lnTo>
                    <a:pt x="156" y="582"/>
                  </a:lnTo>
                  <a:lnTo>
                    <a:pt x="162" y="600"/>
                  </a:lnTo>
                  <a:lnTo>
                    <a:pt x="180" y="588"/>
                  </a:lnTo>
                  <a:lnTo>
                    <a:pt x="192" y="588"/>
                  </a:lnTo>
                  <a:lnTo>
                    <a:pt x="198" y="588"/>
                  </a:lnTo>
                  <a:lnTo>
                    <a:pt x="210" y="582"/>
                  </a:lnTo>
                  <a:lnTo>
                    <a:pt x="216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58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46" y="558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58" y="570"/>
                  </a:lnTo>
                  <a:lnTo>
                    <a:pt x="264" y="570"/>
                  </a:lnTo>
                  <a:lnTo>
                    <a:pt x="270" y="564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46"/>
                  </a:lnTo>
                  <a:lnTo>
                    <a:pt x="276" y="540"/>
                  </a:lnTo>
                  <a:lnTo>
                    <a:pt x="276" y="534"/>
                  </a:lnTo>
                  <a:lnTo>
                    <a:pt x="276" y="528"/>
                  </a:lnTo>
                  <a:lnTo>
                    <a:pt x="282" y="528"/>
                  </a:lnTo>
                  <a:lnTo>
                    <a:pt x="282" y="522"/>
                  </a:lnTo>
                  <a:lnTo>
                    <a:pt x="282" y="516"/>
                  </a:lnTo>
                  <a:lnTo>
                    <a:pt x="282" y="510"/>
                  </a:lnTo>
                  <a:lnTo>
                    <a:pt x="282" y="504"/>
                  </a:lnTo>
                  <a:lnTo>
                    <a:pt x="282" y="492"/>
                  </a:lnTo>
                  <a:lnTo>
                    <a:pt x="288" y="486"/>
                  </a:lnTo>
                  <a:lnTo>
                    <a:pt x="300" y="480"/>
                  </a:lnTo>
                  <a:lnTo>
                    <a:pt x="306" y="462"/>
                  </a:lnTo>
                  <a:lnTo>
                    <a:pt x="318" y="444"/>
                  </a:lnTo>
                  <a:lnTo>
                    <a:pt x="330" y="444"/>
                  </a:lnTo>
                  <a:lnTo>
                    <a:pt x="330" y="432"/>
                  </a:lnTo>
                  <a:lnTo>
                    <a:pt x="342" y="432"/>
                  </a:lnTo>
                  <a:lnTo>
                    <a:pt x="354" y="402"/>
                  </a:lnTo>
                  <a:lnTo>
                    <a:pt x="348" y="390"/>
                  </a:lnTo>
                  <a:lnTo>
                    <a:pt x="336" y="384"/>
                  </a:lnTo>
                  <a:lnTo>
                    <a:pt x="336" y="360"/>
                  </a:lnTo>
                  <a:lnTo>
                    <a:pt x="336" y="354"/>
                  </a:lnTo>
                  <a:lnTo>
                    <a:pt x="336" y="342"/>
                  </a:lnTo>
                  <a:lnTo>
                    <a:pt x="342" y="336"/>
                  </a:lnTo>
                  <a:lnTo>
                    <a:pt x="342" y="324"/>
                  </a:lnTo>
                  <a:lnTo>
                    <a:pt x="372" y="324"/>
                  </a:lnTo>
                  <a:lnTo>
                    <a:pt x="378" y="324"/>
                  </a:lnTo>
                  <a:lnTo>
                    <a:pt x="378" y="318"/>
                  </a:lnTo>
                  <a:lnTo>
                    <a:pt x="372" y="312"/>
                  </a:lnTo>
                  <a:lnTo>
                    <a:pt x="378" y="312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84" y="300"/>
                  </a:lnTo>
                  <a:lnTo>
                    <a:pt x="384" y="294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66" y="294"/>
                  </a:lnTo>
                  <a:lnTo>
                    <a:pt x="366" y="288"/>
                  </a:lnTo>
                  <a:lnTo>
                    <a:pt x="372" y="288"/>
                  </a:lnTo>
                  <a:lnTo>
                    <a:pt x="372" y="282"/>
                  </a:lnTo>
                  <a:lnTo>
                    <a:pt x="366" y="276"/>
                  </a:lnTo>
                  <a:lnTo>
                    <a:pt x="360" y="270"/>
                  </a:lnTo>
                  <a:lnTo>
                    <a:pt x="360" y="264"/>
                  </a:lnTo>
                  <a:lnTo>
                    <a:pt x="354" y="264"/>
                  </a:lnTo>
                  <a:lnTo>
                    <a:pt x="348" y="258"/>
                  </a:lnTo>
                  <a:lnTo>
                    <a:pt x="354" y="258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40"/>
                  </a:lnTo>
                  <a:lnTo>
                    <a:pt x="354" y="240"/>
                  </a:lnTo>
                  <a:lnTo>
                    <a:pt x="342" y="234"/>
                  </a:lnTo>
                  <a:lnTo>
                    <a:pt x="342" y="228"/>
                  </a:lnTo>
                  <a:lnTo>
                    <a:pt x="348" y="228"/>
                  </a:lnTo>
                  <a:lnTo>
                    <a:pt x="342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6" y="216"/>
                  </a:lnTo>
                  <a:lnTo>
                    <a:pt x="330" y="222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24" y="210"/>
                  </a:lnTo>
                  <a:lnTo>
                    <a:pt x="318" y="210"/>
                  </a:lnTo>
                  <a:lnTo>
                    <a:pt x="318" y="204"/>
                  </a:lnTo>
                  <a:lnTo>
                    <a:pt x="312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294" y="192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300" y="174"/>
                  </a:lnTo>
                  <a:lnTo>
                    <a:pt x="300" y="168"/>
                  </a:lnTo>
                  <a:lnTo>
                    <a:pt x="300" y="162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88" y="150"/>
                  </a:lnTo>
                  <a:lnTo>
                    <a:pt x="288" y="144"/>
                  </a:lnTo>
                  <a:lnTo>
                    <a:pt x="282" y="144"/>
                  </a:lnTo>
                  <a:lnTo>
                    <a:pt x="282" y="138"/>
                  </a:lnTo>
                  <a:lnTo>
                    <a:pt x="312" y="132"/>
                  </a:lnTo>
                  <a:lnTo>
                    <a:pt x="324" y="120"/>
                  </a:lnTo>
                  <a:lnTo>
                    <a:pt x="330" y="114"/>
                  </a:lnTo>
                  <a:lnTo>
                    <a:pt x="336" y="102"/>
                  </a:lnTo>
                  <a:lnTo>
                    <a:pt x="348" y="90"/>
                  </a:lnTo>
                  <a:lnTo>
                    <a:pt x="360" y="84"/>
                  </a:lnTo>
                  <a:lnTo>
                    <a:pt x="372" y="84"/>
                  </a:lnTo>
                  <a:lnTo>
                    <a:pt x="378" y="84"/>
                  </a:lnTo>
                  <a:lnTo>
                    <a:pt x="384" y="90"/>
                  </a:lnTo>
                  <a:lnTo>
                    <a:pt x="402" y="90"/>
                  </a:lnTo>
                  <a:lnTo>
                    <a:pt x="438" y="84"/>
                  </a:lnTo>
                  <a:lnTo>
                    <a:pt x="456" y="84"/>
                  </a:lnTo>
                  <a:lnTo>
                    <a:pt x="462" y="78"/>
                  </a:lnTo>
                  <a:lnTo>
                    <a:pt x="486" y="72"/>
                  </a:lnTo>
                  <a:lnTo>
                    <a:pt x="492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04" y="54"/>
                  </a:lnTo>
                  <a:lnTo>
                    <a:pt x="510" y="42"/>
                  </a:lnTo>
                  <a:lnTo>
                    <a:pt x="504" y="42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498" y="30"/>
                  </a:lnTo>
                  <a:lnTo>
                    <a:pt x="492" y="30"/>
                  </a:lnTo>
                  <a:lnTo>
                    <a:pt x="492" y="24"/>
                  </a:lnTo>
                  <a:lnTo>
                    <a:pt x="486" y="18"/>
                  </a:lnTo>
                  <a:lnTo>
                    <a:pt x="498" y="18"/>
                  </a:lnTo>
                  <a:lnTo>
                    <a:pt x="510" y="18"/>
                  </a:lnTo>
                  <a:lnTo>
                    <a:pt x="522" y="12"/>
                  </a:lnTo>
                  <a:lnTo>
                    <a:pt x="528" y="6"/>
                  </a:lnTo>
                  <a:lnTo>
                    <a:pt x="570" y="0"/>
                  </a:lnTo>
                  <a:lnTo>
                    <a:pt x="606" y="6"/>
                  </a:lnTo>
                  <a:lnTo>
                    <a:pt x="654" y="24"/>
                  </a:lnTo>
                  <a:lnTo>
                    <a:pt x="666" y="36"/>
                  </a:lnTo>
                  <a:lnTo>
                    <a:pt x="672" y="30"/>
                  </a:lnTo>
                  <a:lnTo>
                    <a:pt x="690" y="42"/>
                  </a:lnTo>
                  <a:lnTo>
                    <a:pt x="702" y="48"/>
                  </a:lnTo>
                  <a:lnTo>
                    <a:pt x="714" y="60"/>
                  </a:lnTo>
                  <a:lnTo>
                    <a:pt x="714" y="66"/>
                  </a:lnTo>
                  <a:lnTo>
                    <a:pt x="720" y="72"/>
                  </a:lnTo>
                  <a:lnTo>
                    <a:pt x="720" y="78"/>
                  </a:lnTo>
                  <a:lnTo>
                    <a:pt x="720" y="102"/>
                  </a:lnTo>
                  <a:lnTo>
                    <a:pt x="720" y="108"/>
                  </a:lnTo>
                  <a:lnTo>
                    <a:pt x="714" y="108"/>
                  </a:lnTo>
                  <a:lnTo>
                    <a:pt x="714" y="126"/>
                  </a:lnTo>
                  <a:lnTo>
                    <a:pt x="732" y="126"/>
                  </a:lnTo>
                  <a:lnTo>
                    <a:pt x="726" y="132"/>
                  </a:lnTo>
                  <a:lnTo>
                    <a:pt x="738" y="132"/>
                  </a:lnTo>
                  <a:lnTo>
                    <a:pt x="738" y="138"/>
                  </a:lnTo>
                  <a:lnTo>
                    <a:pt x="738" y="144"/>
                  </a:lnTo>
                  <a:lnTo>
                    <a:pt x="744" y="144"/>
                  </a:lnTo>
                  <a:lnTo>
                    <a:pt x="744" y="150"/>
                  </a:lnTo>
                  <a:lnTo>
                    <a:pt x="756" y="156"/>
                  </a:lnTo>
                  <a:lnTo>
                    <a:pt x="768" y="156"/>
                  </a:lnTo>
                  <a:lnTo>
                    <a:pt x="780" y="156"/>
                  </a:lnTo>
                  <a:lnTo>
                    <a:pt x="792" y="150"/>
                  </a:lnTo>
                  <a:lnTo>
                    <a:pt x="786" y="150"/>
                  </a:lnTo>
                  <a:lnTo>
                    <a:pt x="786" y="144"/>
                  </a:lnTo>
                  <a:lnTo>
                    <a:pt x="804" y="144"/>
                  </a:lnTo>
                  <a:lnTo>
                    <a:pt x="816" y="132"/>
                  </a:lnTo>
                  <a:lnTo>
                    <a:pt x="822" y="126"/>
                  </a:lnTo>
                  <a:lnTo>
                    <a:pt x="828" y="132"/>
                  </a:lnTo>
                  <a:lnTo>
                    <a:pt x="834" y="126"/>
                  </a:lnTo>
                  <a:lnTo>
                    <a:pt x="834" y="120"/>
                  </a:lnTo>
                  <a:lnTo>
                    <a:pt x="924" y="108"/>
                  </a:lnTo>
                  <a:lnTo>
                    <a:pt x="942" y="144"/>
                  </a:lnTo>
                  <a:lnTo>
                    <a:pt x="948" y="144"/>
                  </a:lnTo>
                  <a:lnTo>
                    <a:pt x="960" y="168"/>
                  </a:lnTo>
                  <a:lnTo>
                    <a:pt x="972" y="186"/>
                  </a:lnTo>
                  <a:lnTo>
                    <a:pt x="984" y="192"/>
                  </a:lnTo>
                  <a:lnTo>
                    <a:pt x="996" y="192"/>
                  </a:lnTo>
                  <a:lnTo>
                    <a:pt x="996" y="198"/>
                  </a:lnTo>
                  <a:lnTo>
                    <a:pt x="1008" y="204"/>
                  </a:lnTo>
                  <a:lnTo>
                    <a:pt x="1008" y="210"/>
                  </a:lnTo>
                  <a:lnTo>
                    <a:pt x="1002" y="210"/>
                  </a:lnTo>
                  <a:lnTo>
                    <a:pt x="1008" y="216"/>
                  </a:lnTo>
                  <a:lnTo>
                    <a:pt x="1014" y="210"/>
                  </a:lnTo>
                  <a:lnTo>
                    <a:pt x="1014" y="216"/>
                  </a:lnTo>
                  <a:lnTo>
                    <a:pt x="1020" y="222"/>
                  </a:lnTo>
                  <a:lnTo>
                    <a:pt x="1014" y="228"/>
                  </a:lnTo>
                  <a:lnTo>
                    <a:pt x="1032" y="234"/>
                  </a:lnTo>
                  <a:lnTo>
                    <a:pt x="1044" y="240"/>
                  </a:lnTo>
                  <a:lnTo>
                    <a:pt x="1038" y="246"/>
                  </a:lnTo>
                  <a:lnTo>
                    <a:pt x="1038" y="252"/>
                  </a:lnTo>
                  <a:lnTo>
                    <a:pt x="1038" y="258"/>
                  </a:lnTo>
                  <a:lnTo>
                    <a:pt x="1032" y="264"/>
                  </a:lnTo>
                  <a:lnTo>
                    <a:pt x="1032" y="270"/>
                  </a:lnTo>
                  <a:lnTo>
                    <a:pt x="1032" y="276"/>
                  </a:lnTo>
                  <a:lnTo>
                    <a:pt x="1032" y="282"/>
                  </a:lnTo>
                  <a:lnTo>
                    <a:pt x="1026" y="282"/>
                  </a:lnTo>
                  <a:lnTo>
                    <a:pt x="1026" y="288"/>
                  </a:lnTo>
                  <a:lnTo>
                    <a:pt x="1026" y="294"/>
                  </a:lnTo>
                  <a:lnTo>
                    <a:pt x="1026" y="300"/>
                  </a:lnTo>
                  <a:lnTo>
                    <a:pt x="1026" y="306"/>
                  </a:lnTo>
                  <a:lnTo>
                    <a:pt x="1020" y="318"/>
                  </a:lnTo>
                  <a:lnTo>
                    <a:pt x="1020" y="324"/>
                  </a:lnTo>
                  <a:lnTo>
                    <a:pt x="1014" y="324"/>
                  </a:lnTo>
                  <a:lnTo>
                    <a:pt x="1014" y="330"/>
                  </a:lnTo>
                  <a:lnTo>
                    <a:pt x="1014" y="336"/>
                  </a:lnTo>
                  <a:lnTo>
                    <a:pt x="1008" y="366"/>
                  </a:lnTo>
                  <a:lnTo>
                    <a:pt x="1002" y="366"/>
                  </a:lnTo>
                  <a:lnTo>
                    <a:pt x="984" y="354"/>
                  </a:lnTo>
                  <a:lnTo>
                    <a:pt x="978" y="354"/>
                  </a:lnTo>
                  <a:lnTo>
                    <a:pt x="972" y="354"/>
                  </a:lnTo>
                  <a:lnTo>
                    <a:pt x="966" y="348"/>
                  </a:lnTo>
                  <a:lnTo>
                    <a:pt x="954" y="348"/>
                  </a:lnTo>
                  <a:lnTo>
                    <a:pt x="948" y="348"/>
                  </a:lnTo>
                  <a:lnTo>
                    <a:pt x="948" y="360"/>
                  </a:lnTo>
                  <a:lnTo>
                    <a:pt x="948" y="366"/>
                  </a:lnTo>
                  <a:lnTo>
                    <a:pt x="948" y="372"/>
                  </a:lnTo>
                  <a:lnTo>
                    <a:pt x="948" y="378"/>
                  </a:lnTo>
                  <a:lnTo>
                    <a:pt x="948" y="384"/>
                  </a:lnTo>
                  <a:lnTo>
                    <a:pt x="942" y="384"/>
                  </a:lnTo>
                  <a:lnTo>
                    <a:pt x="942" y="390"/>
                  </a:lnTo>
                  <a:lnTo>
                    <a:pt x="936" y="390"/>
                  </a:lnTo>
                  <a:lnTo>
                    <a:pt x="942" y="390"/>
                  </a:lnTo>
                  <a:lnTo>
                    <a:pt x="936" y="396"/>
                  </a:lnTo>
                  <a:lnTo>
                    <a:pt x="930" y="402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2" y="432"/>
                  </a:lnTo>
                  <a:lnTo>
                    <a:pt x="900" y="450"/>
                  </a:lnTo>
                  <a:lnTo>
                    <a:pt x="894" y="456"/>
                  </a:lnTo>
                  <a:lnTo>
                    <a:pt x="888" y="456"/>
                  </a:lnTo>
                  <a:lnTo>
                    <a:pt x="882" y="456"/>
                  </a:lnTo>
                  <a:lnTo>
                    <a:pt x="876" y="456"/>
                  </a:lnTo>
                  <a:lnTo>
                    <a:pt x="864" y="462"/>
                  </a:lnTo>
                  <a:lnTo>
                    <a:pt x="852" y="474"/>
                  </a:lnTo>
                  <a:lnTo>
                    <a:pt x="846" y="480"/>
                  </a:lnTo>
                  <a:lnTo>
                    <a:pt x="840" y="486"/>
                  </a:lnTo>
                  <a:lnTo>
                    <a:pt x="834" y="498"/>
                  </a:lnTo>
                  <a:lnTo>
                    <a:pt x="828" y="510"/>
                  </a:lnTo>
                  <a:lnTo>
                    <a:pt x="816" y="522"/>
                  </a:lnTo>
                  <a:lnTo>
                    <a:pt x="798" y="540"/>
                  </a:lnTo>
                  <a:lnTo>
                    <a:pt x="780" y="558"/>
                  </a:lnTo>
                  <a:lnTo>
                    <a:pt x="774" y="558"/>
                  </a:lnTo>
                  <a:lnTo>
                    <a:pt x="756" y="576"/>
                  </a:lnTo>
                  <a:lnTo>
                    <a:pt x="732" y="600"/>
                  </a:lnTo>
                  <a:lnTo>
                    <a:pt x="726" y="600"/>
                  </a:lnTo>
                  <a:lnTo>
                    <a:pt x="720" y="606"/>
                  </a:lnTo>
                  <a:lnTo>
                    <a:pt x="714" y="612"/>
                  </a:lnTo>
                  <a:lnTo>
                    <a:pt x="690" y="630"/>
                  </a:lnTo>
                  <a:lnTo>
                    <a:pt x="678" y="636"/>
                  </a:lnTo>
                  <a:lnTo>
                    <a:pt x="672" y="642"/>
                  </a:lnTo>
                  <a:lnTo>
                    <a:pt x="660" y="660"/>
                  </a:lnTo>
                  <a:lnTo>
                    <a:pt x="642" y="666"/>
                  </a:lnTo>
                  <a:lnTo>
                    <a:pt x="636" y="678"/>
                  </a:lnTo>
                  <a:lnTo>
                    <a:pt x="630" y="678"/>
                  </a:lnTo>
                  <a:lnTo>
                    <a:pt x="630" y="684"/>
                  </a:lnTo>
                  <a:lnTo>
                    <a:pt x="630" y="690"/>
                  </a:lnTo>
                  <a:lnTo>
                    <a:pt x="636" y="696"/>
                  </a:lnTo>
                  <a:lnTo>
                    <a:pt x="642" y="696"/>
                  </a:lnTo>
                  <a:lnTo>
                    <a:pt x="648" y="702"/>
                  </a:lnTo>
                  <a:lnTo>
                    <a:pt x="648" y="708"/>
                  </a:lnTo>
                  <a:lnTo>
                    <a:pt x="642" y="708"/>
                  </a:lnTo>
                  <a:lnTo>
                    <a:pt x="636" y="714"/>
                  </a:lnTo>
                  <a:lnTo>
                    <a:pt x="636" y="720"/>
                  </a:lnTo>
                  <a:lnTo>
                    <a:pt x="642" y="726"/>
                  </a:lnTo>
                  <a:lnTo>
                    <a:pt x="636" y="738"/>
                  </a:lnTo>
                  <a:lnTo>
                    <a:pt x="618" y="756"/>
                  </a:lnTo>
                  <a:lnTo>
                    <a:pt x="612" y="750"/>
                  </a:lnTo>
                  <a:lnTo>
                    <a:pt x="612" y="756"/>
                  </a:lnTo>
                  <a:lnTo>
                    <a:pt x="618" y="762"/>
                  </a:lnTo>
                  <a:lnTo>
                    <a:pt x="618" y="768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36" y="786"/>
                  </a:lnTo>
                  <a:lnTo>
                    <a:pt x="642" y="792"/>
                  </a:lnTo>
                  <a:lnTo>
                    <a:pt x="642" y="798"/>
                  </a:lnTo>
                  <a:lnTo>
                    <a:pt x="648" y="804"/>
                  </a:lnTo>
                  <a:lnTo>
                    <a:pt x="654" y="810"/>
                  </a:lnTo>
                  <a:lnTo>
                    <a:pt x="660" y="816"/>
                  </a:lnTo>
                  <a:lnTo>
                    <a:pt x="666" y="816"/>
                  </a:lnTo>
                  <a:lnTo>
                    <a:pt x="666" y="822"/>
                  </a:lnTo>
                  <a:lnTo>
                    <a:pt x="672" y="828"/>
                  </a:lnTo>
                  <a:lnTo>
                    <a:pt x="672" y="840"/>
                  </a:lnTo>
                  <a:lnTo>
                    <a:pt x="672" y="846"/>
                  </a:lnTo>
                  <a:lnTo>
                    <a:pt x="666" y="852"/>
                  </a:lnTo>
                  <a:lnTo>
                    <a:pt x="660" y="864"/>
                  </a:lnTo>
                  <a:lnTo>
                    <a:pt x="654" y="876"/>
                  </a:lnTo>
                  <a:lnTo>
                    <a:pt x="648" y="882"/>
                  </a:lnTo>
                  <a:lnTo>
                    <a:pt x="642" y="888"/>
                  </a:lnTo>
                  <a:lnTo>
                    <a:pt x="642" y="894"/>
                  </a:lnTo>
                  <a:lnTo>
                    <a:pt x="642" y="906"/>
                  </a:lnTo>
                  <a:lnTo>
                    <a:pt x="630" y="918"/>
                  </a:lnTo>
                  <a:lnTo>
                    <a:pt x="630" y="924"/>
                  </a:lnTo>
                  <a:lnTo>
                    <a:pt x="624" y="930"/>
                  </a:lnTo>
                  <a:lnTo>
                    <a:pt x="630" y="936"/>
                  </a:lnTo>
                  <a:lnTo>
                    <a:pt x="630" y="942"/>
                  </a:lnTo>
                  <a:lnTo>
                    <a:pt x="630" y="948"/>
                  </a:lnTo>
                  <a:lnTo>
                    <a:pt x="630" y="954"/>
                  </a:lnTo>
                  <a:lnTo>
                    <a:pt x="630" y="960"/>
                  </a:lnTo>
                  <a:lnTo>
                    <a:pt x="624" y="966"/>
                  </a:lnTo>
                  <a:lnTo>
                    <a:pt x="618" y="990"/>
                  </a:lnTo>
                  <a:lnTo>
                    <a:pt x="618" y="1008"/>
                  </a:lnTo>
                  <a:lnTo>
                    <a:pt x="612" y="1026"/>
                  </a:lnTo>
                  <a:lnTo>
                    <a:pt x="612" y="1038"/>
                  </a:lnTo>
                  <a:lnTo>
                    <a:pt x="612" y="1050"/>
                  </a:lnTo>
                  <a:lnTo>
                    <a:pt x="612" y="1056"/>
                  </a:lnTo>
                  <a:lnTo>
                    <a:pt x="612" y="1062"/>
                  </a:lnTo>
                  <a:lnTo>
                    <a:pt x="612" y="1068"/>
                  </a:lnTo>
                  <a:lnTo>
                    <a:pt x="612" y="1086"/>
                  </a:lnTo>
                  <a:lnTo>
                    <a:pt x="612" y="1092"/>
                  </a:lnTo>
                  <a:lnTo>
                    <a:pt x="606" y="1098"/>
                  </a:lnTo>
                  <a:lnTo>
                    <a:pt x="600" y="1110"/>
                  </a:lnTo>
                  <a:lnTo>
                    <a:pt x="600" y="1116"/>
                  </a:lnTo>
                  <a:lnTo>
                    <a:pt x="594" y="1122"/>
                  </a:lnTo>
                  <a:lnTo>
                    <a:pt x="594" y="1128"/>
                  </a:lnTo>
                  <a:lnTo>
                    <a:pt x="588" y="1134"/>
                  </a:lnTo>
                  <a:lnTo>
                    <a:pt x="582" y="1140"/>
                  </a:lnTo>
                  <a:lnTo>
                    <a:pt x="570" y="1140"/>
                  </a:lnTo>
                  <a:lnTo>
                    <a:pt x="564" y="1146"/>
                  </a:lnTo>
                  <a:lnTo>
                    <a:pt x="570" y="1146"/>
                  </a:lnTo>
                  <a:lnTo>
                    <a:pt x="564" y="1152"/>
                  </a:lnTo>
                  <a:lnTo>
                    <a:pt x="558" y="1158"/>
                  </a:lnTo>
                  <a:lnTo>
                    <a:pt x="552" y="1164"/>
                  </a:lnTo>
                  <a:lnTo>
                    <a:pt x="552" y="1170"/>
                  </a:lnTo>
                  <a:lnTo>
                    <a:pt x="546" y="1176"/>
                  </a:lnTo>
                  <a:lnTo>
                    <a:pt x="546" y="1182"/>
                  </a:lnTo>
                  <a:lnTo>
                    <a:pt x="546" y="1188"/>
                  </a:lnTo>
                  <a:lnTo>
                    <a:pt x="540" y="1188"/>
                  </a:lnTo>
                  <a:lnTo>
                    <a:pt x="540" y="1194"/>
                  </a:lnTo>
                  <a:lnTo>
                    <a:pt x="528" y="1206"/>
                  </a:lnTo>
                  <a:lnTo>
                    <a:pt x="528" y="1212"/>
                  </a:lnTo>
                  <a:lnTo>
                    <a:pt x="534" y="1212"/>
                  </a:lnTo>
                  <a:lnTo>
                    <a:pt x="540" y="1218"/>
                  </a:lnTo>
                  <a:lnTo>
                    <a:pt x="534" y="1218"/>
                  </a:lnTo>
                  <a:lnTo>
                    <a:pt x="528" y="1218"/>
                  </a:lnTo>
                  <a:lnTo>
                    <a:pt x="528" y="1224"/>
                  </a:lnTo>
                  <a:lnTo>
                    <a:pt x="522" y="1230"/>
                  </a:lnTo>
                  <a:lnTo>
                    <a:pt x="516" y="1236"/>
                  </a:lnTo>
                  <a:lnTo>
                    <a:pt x="522" y="1236"/>
                  </a:lnTo>
                  <a:lnTo>
                    <a:pt x="516" y="1242"/>
                  </a:lnTo>
                  <a:lnTo>
                    <a:pt x="510" y="1242"/>
                  </a:lnTo>
                  <a:lnTo>
                    <a:pt x="504" y="1248"/>
                  </a:lnTo>
                  <a:lnTo>
                    <a:pt x="510" y="1260"/>
                  </a:lnTo>
                  <a:lnTo>
                    <a:pt x="504" y="1266"/>
                  </a:lnTo>
                  <a:lnTo>
                    <a:pt x="492" y="1266"/>
                  </a:lnTo>
                  <a:lnTo>
                    <a:pt x="486" y="1272"/>
                  </a:lnTo>
                  <a:lnTo>
                    <a:pt x="486" y="1278"/>
                  </a:lnTo>
                  <a:lnTo>
                    <a:pt x="480" y="1278"/>
                  </a:lnTo>
                  <a:lnTo>
                    <a:pt x="480" y="1284"/>
                  </a:lnTo>
                  <a:lnTo>
                    <a:pt x="480" y="1290"/>
                  </a:lnTo>
                  <a:lnTo>
                    <a:pt x="480" y="1296"/>
                  </a:lnTo>
                  <a:lnTo>
                    <a:pt x="492" y="1302"/>
                  </a:lnTo>
                  <a:lnTo>
                    <a:pt x="492" y="1308"/>
                  </a:lnTo>
                  <a:lnTo>
                    <a:pt x="492" y="1320"/>
                  </a:lnTo>
                  <a:lnTo>
                    <a:pt x="492" y="1332"/>
                  </a:lnTo>
                  <a:lnTo>
                    <a:pt x="498" y="1344"/>
                  </a:lnTo>
                  <a:lnTo>
                    <a:pt x="498" y="1350"/>
                  </a:lnTo>
                  <a:lnTo>
                    <a:pt x="498" y="1356"/>
                  </a:lnTo>
                  <a:lnTo>
                    <a:pt x="504" y="1362"/>
                  </a:lnTo>
                  <a:lnTo>
                    <a:pt x="498" y="1362"/>
                  </a:lnTo>
                  <a:lnTo>
                    <a:pt x="498" y="1368"/>
                  </a:lnTo>
                  <a:lnTo>
                    <a:pt x="492" y="1368"/>
                  </a:lnTo>
                  <a:lnTo>
                    <a:pt x="492" y="1374"/>
                  </a:lnTo>
                  <a:lnTo>
                    <a:pt x="492" y="1380"/>
                  </a:lnTo>
                  <a:lnTo>
                    <a:pt x="498" y="1380"/>
                  </a:lnTo>
                  <a:lnTo>
                    <a:pt x="504" y="1380"/>
                  </a:lnTo>
                  <a:lnTo>
                    <a:pt x="498" y="1386"/>
                  </a:lnTo>
                  <a:lnTo>
                    <a:pt x="498" y="1392"/>
                  </a:lnTo>
                  <a:lnTo>
                    <a:pt x="498" y="1398"/>
                  </a:lnTo>
                  <a:lnTo>
                    <a:pt x="498" y="1404"/>
                  </a:lnTo>
                  <a:lnTo>
                    <a:pt x="498" y="1410"/>
                  </a:lnTo>
                  <a:lnTo>
                    <a:pt x="498" y="1416"/>
                  </a:lnTo>
                  <a:lnTo>
                    <a:pt x="492" y="1416"/>
                  </a:lnTo>
                  <a:lnTo>
                    <a:pt x="498" y="1416"/>
                  </a:lnTo>
                  <a:lnTo>
                    <a:pt x="504" y="1416"/>
                  </a:lnTo>
                  <a:lnTo>
                    <a:pt x="504" y="1422"/>
                  </a:lnTo>
                  <a:lnTo>
                    <a:pt x="510" y="1428"/>
                  </a:lnTo>
                  <a:lnTo>
                    <a:pt x="510" y="1434"/>
                  </a:lnTo>
                  <a:lnTo>
                    <a:pt x="510" y="1440"/>
                  </a:lnTo>
                  <a:lnTo>
                    <a:pt x="516" y="1446"/>
                  </a:lnTo>
                  <a:lnTo>
                    <a:pt x="516" y="1452"/>
                  </a:lnTo>
                  <a:lnTo>
                    <a:pt x="516" y="1458"/>
                  </a:lnTo>
                  <a:lnTo>
                    <a:pt x="516" y="1464"/>
                  </a:lnTo>
                  <a:lnTo>
                    <a:pt x="516" y="1482"/>
                  </a:lnTo>
                  <a:lnTo>
                    <a:pt x="516" y="1488"/>
                  </a:lnTo>
                  <a:lnTo>
                    <a:pt x="522" y="1488"/>
                  </a:lnTo>
                  <a:lnTo>
                    <a:pt x="522" y="1494"/>
                  </a:lnTo>
                  <a:lnTo>
                    <a:pt x="522" y="1500"/>
                  </a:lnTo>
                  <a:lnTo>
                    <a:pt x="516" y="1506"/>
                  </a:lnTo>
                  <a:lnTo>
                    <a:pt x="510" y="1500"/>
                  </a:lnTo>
                  <a:lnTo>
                    <a:pt x="504" y="1500"/>
                  </a:lnTo>
                  <a:lnTo>
                    <a:pt x="504" y="1494"/>
                  </a:lnTo>
                  <a:lnTo>
                    <a:pt x="504" y="1488"/>
                  </a:lnTo>
                  <a:lnTo>
                    <a:pt x="504" y="1482"/>
                  </a:lnTo>
                  <a:lnTo>
                    <a:pt x="504" y="1488"/>
                  </a:lnTo>
                  <a:lnTo>
                    <a:pt x="504" y="1494"/>
                  </a:lnTo>
                  <a:lnTo>
                    <a:pt x="504" y="1500"/>
                  </a:lnTo>
                  <a:lnTo>
                    <a:pt x="498" y="1500"/>
                  </a:lnTo>
                  <a:lnTo>
                    <a:pt x="492" y="1500"/>
                  </a:lnTo>
                  <a:lnTo>
                    <a:pt x="492" y="1494"/>
                  </a:lnTo>
                  <a:lnTo>
                    <a:pt x="492" y="1488"/>
                  </a:lnTo>
                  <a:lnTo>
                    <a:pt x="492" y="1494"/>
                  </a:lnTo>
                  <a:lnTo>
                    <a:pt x="492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00"/>
                  </a:lnTo>
                  <a:lnTo>
                    <a:pt x="510" y="1500"/>
                  </a:lnTo>
                  <a:lnTo>
                    <a:pt x="510" y="1506"/>
                  </a:lnTo>
                  <a:lnTo>
                    <a:pt x="516" y="1506"/>
                  </a:lnTo>
                  <a:lnTo>
                    <a:pt x="510" y="1506"/>
                  </a:lnTo>
                  <a:lnTo>
                    <a:pt x="510" y="1512"/>
                  </a:lnTo>
                  <a:lnTo>
                    <a:pt x="516" y="1506"/>
                  </a:lnTo>
                  <a:lnTo>
                    <a:pt x="522" y="1506"/>
                  </a:lnTo>
                  <a:lnTo>
                    <a:pt x="528" y="1506"/>
                  </a:lnTo>
                  <a:lnTo>
                    <a:pt x="528" y="1500"/>
                  </a:lnTo>
                  <a:lnTo>
                    <a:pt x="534" y="1500"/>
                  </a:lnTo>
                  <a:lnTo>
                    <a:pt x="534" y="1506"/>
                  </a:lnTo>
                  <a:lnTo>
                    <a:pt x="540" y="1512"/>
                  </a:lnTo>
                  <a:lnTo>
                    <a:pt x="540" y="1518"/>
                  </a:lnTo>
                  <a:lnTo>
                    <a:pt x="546" y="1518"/>
                  </a:lnTo>
                  <a:lnTo>
                    <a:pt x="540" y="1518"/>
                  </a:lnTo>
                  <a:lnTo>
                    <a:pt x="540" y="1524"/>
                  </a:lnTo>
                  <a:lnTo>
                    <a:pt x="534" y="1524"/>
                  </a:lnTo>
                  <a:lnTo>
                    <a:pt x="540" y="1524"/>
                  </a:lnTo>
                  <a:lnTo>
                    <a:pt x="546" y="1524"/>
                  </a:lnTo>
                  <a:lnTo>
                    <a:pt x="546" y="1530"/>
                  </a:lnTo>
                  <a:lnTo>
                    <a:pt x="540" y="1530"/>
                  </a:lnTo>
                  <a:lnTo>
                    <a:pt x="540" y="1536"/>
                  </a:lnTo>
                  <a:lnTo>
                    <a:pt x="534" y="1542"/>
                  </a:lnTo>
                  <a:lnTo>
                    <a:pt x="528" y="1542"/>
                  </a:lnTo>
                  <a:lnTo>
                    <a:pt x="522" y="1542"/>
                  </a:lnTo>
                  <a:lnTo>
                    <a:pt x="516" y="1542"/>
                  </a:lnTo>
                  <a:lnTo>
                    <a:pt x="510" y="1542"/>
                  </a:lnTo>
                  <a:lnTo>
                    <a:pt x="504" y="1542"/>
                  </a:lnTo>
                  <a:lnTo>
                    <a:pt x="492" y="1542"/>
                  </a:lnTo>
                  <a:lnTo>
                    <a:pt x="486" y="1536"/>
                  </a:lnTo>
                  <a:lnTo>
                    <a:pt x="480" y="1536"/>
                  </a:lnTo>
                  <a:lnTo>
                    <a:pt x="468" y="1536"/>
                  </a:lnTo>
                  <a:lnTo>
                    <a:pt x="468" y="1542"/>
                  </a:lnTo>
                  <a:lnTo>
                    <a:pt x="462" y="1542"/>
                  </a:lnTo>
                  <a:lnTo>
                    <a:pt x="456" y="1542"/>
                  </a:lnTo>
                  <a:lnTo>
                    <a:pt x="450" y="1542"/>
                  </a:lnTo>
                  <a:lnTo>
                    <a:pt x="444" y="1542"/>
                  </a:lnTo>
                  <a:lnTo>
                    <a:pt x="444" y="1536"/>
                  </a:lnTo>
                  <a:lnTo>
                    <a:pt x="450" y="1536"/>
                  </a:lnTo>
                  <a:lnTo>
                    <a:pt x="456" y="1536"/>
                  </a:lnTo>
                  <a:lnTo>
                    <a:pt x="450" y="1536"/>
                  </a:lnTo>
                  <a:lnTo>
                    <a:pt x="444" y="1536"/>
                  </a:lnTo>
                  <a:lnTo>
                    <a:pt x="444" y="1530"/>
                  </a:lnTo>
                  <a:lnTo>
                    <a:pt x="450" y="1530"/>
                  </a:lnTo>
                  <a:lnTo>
                    <a:pt x="456" y="1524"/>
                  </a:lnTo>
                  <a:lnTo>
                    <a:pt x="456" y="1518"/>
                  </a:lnTo>
                  <a:lnTo>
                    <a:pt x="462" y="1518"/>
                  </a:lnTo>
                  <a:lnTo>
                    <a:pt x="462" y="1524"/>
                  </a:lnTo>
                  <a:lnTo>
                    <a:pt x="468" y="1524"/>
                  </a:lnTo>
                  <a:lnTo>
                    <a:pt x="474" y="1524"/>
                  </a:lnTo>
                  <a:lnTo>
                    <a:pt x="474" y="1518"/>
                  </a:lnTo>
                  <a:lnTo>
                    <a:pt x="480" y="1518"/>
                  </a:lnTo>
                  <a:lnTo>
                    <a:pt x="474" y="1518"/>
                  </a:lnTo>
                  <a:lnTo>
                    <a:pt x="474" y="1524"/>
                  </a:lnTo>
                  <a:lnTo>
                    <a:pt x="468" y="1524"/>
                  </a:lnTo>
                  <a:lnTo>
                    <a:pt x="462" y="1518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62" y="1512"/>
                  </a:lnTo>
                  <a:lnTo>
                    <a:pt x="462" y="1506"/>
                  </a:lnTo>
                  <a:lnTo>
                    <a:pt x="456" y="1506"/>
                  </a:lnTo>
                  <a:lnTo>
                    <a:pt x="456" y="1512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50" y="1518"/>
                  </a:lnTo>
                  <a:lnTo>
                    <a:pt x="444" y="1518"/>
                  </a:lnTo>
                  <a:lnTo>
                    <a:pt x="444" y="1524"/>
                  </a:lnTo>
                  <a:lnTo>
                    <a:pt x="438" y="1524"/>
                  </a:lnTo>
                  <a:lnTo>
                    <a:pt x="438" y="1530"/>
                  </a:lnTo>
                  <a:lnTo>
                    <a:pt x="432" y="1530"/>
                  </a:lnTo>
                  <a:lnTo>
                    <a:pt x="432" y="1536"/>
                  </a:lnTo>
                  <a:lnTo>
                    <a:pt x="426" y="1530"/>
                  </a:lnTo>
                  <a:lnTo>
                    <a:pt x="420" y="1530"/>
                  </a:lnTo>
                  <a:lnTo>
                    <a:pt x="414" y="1530"/>
                  </a:lnTo>
                  <a:lnTo>
                    <a:pt x="414" y="1524"/>
                  </a:lnTo>
                  <a:lnTo>
                    <a:pt x="408" y="1518"/>
                  </a:lnTo>
                  <a:lnTo>
                    <a:pt x="414" y="1512"/>
                  </a:lnTo>
                  <a:lnTo>
                    <a:pt x="408" y="1512"/>
                  </a:lnTo>
                  <a:lnTo>
                    <a:pt x="408" y="1506"/>
                  </a:lnTo>
                  <a:lnTo>
                    <a:pt x="408" y="1500"/>
                  </a:lnTo>
                  <a:lnTo>
                    <a:pt x="408" y="1494"/>
                  </a:lnTo>
                  <a:lnTo>
                    <a:pt x="408" y="1488"/>
                  </a:lnTo>
                  <a:lnTo>
                    <a:pt x="408" y="1494"/>
                  </a:lnTo>
                  <a:lnTo>
                    <a:pt x="414" y="1494"/>
                  </a:lnTo>
                  <a:lnTo>
                    <a:pt x="420" y="1494"/>
                  </a:lnTo>
                  <a:lnTo>
                    <a:pt x="420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82"/>
                  </a:lnTo>
                  <a:lnTo>
                    <a:pt x="426" y="1476"/>
                  </a:lnTo>
                  <a:lnTo>
                    <a:pt x="432" y="1476"/>
                  </a:lnTo>
                  <a:lnTo>
                    <a:pt x="432" y="1470"/>
                  </a:lnTo>
                  <a:lnTo>
                    <a:pt x="438" y="1470"/>
                  </a:lnTo>
                  <a:lnTo>
                    <a:pt x="444" y="1464"/>
                  </a:lnTo>
                  <a:lnTo>
                    <a:pt x="450" y="1458"/>
                  </a:lnTo>
                  <a:lnTo>
                    <a:pt x="456" y="1458"/>
                  </a:lnTo>
                  <a:lnTo>
                    <a:pt x="462" y="1452"/>
                  </a:lnTo>
                  <a:lnTo>
                    <a:pt x="468" y="1452"/>
                  </a:lnTo>
                  <a:lnTo>
                    <a:pt x="468" y="1446"/>
                  </a:lnTo>
                  <a:lnTo>
                    <a:pt x="462" y="1440"/>
                  </a:lnTo>
                  <a:lnTo>
                    <a:pt x="456" y="1434"/>
                  </a:lnTo>
                  <a:lnTo>
                    <a:pt x="456" y="1428"/>
                  </a:lnTo>
                  <a:lnTo>
                    <a:pt x="456" y="1422"/>
                  </a:lnTo>
                  <a:lnTo>
                    <a:pt x="456" y="1416"/>
                  </a:lnTo>
                  <a:lnTo>
                    <a:pt x="450" y="1410"/>
                  </a:lnTo>
                  <a:lnTo>
                    <a:pt x="444" y="1410"/>
                  </a:lnTo>
                  <a:lnTo>
                    <a:pt x="450" y="1410"/>
                  </a:lnTo>
                  <a:lnTo>
                    <a:pt x="450" y="1404"/>
                  </a:lnTo>
                  <a:lnTo>
                    <a:pt x="456" y="1404"/>
                  </a:lnTo>
                  <a:lnTo>
                    <a:pt x="462" y="1404"/>
                  </a:lnTo>
                  <a:lnTo>
                    <a:pt x="468" y="1398"/>
                  </a:lnTo>
                  <a:lnTo>
                    <a:pt x="462" y="1398"/>
                  </a:lnTo>
                  <a:lnTo>
                    <a:pt x="462" y="1392"/>
                  </a:lnTo>
                  <a:lnTo>
                    <a:pt x="456" y="1392"/>
                  </a:lnTo>
                  <a:lnTo>
                    <a:pt x="456" y="1386"/>
                  </a:lnTo>
                  <a:lnTo>
                    <a:pt x="462" y="1386"/>
                  </a:lnTo>
                  <a:lnTo>
                    <a:pt x="468" y="1386"/>
                  </a:lnTo>
                  <a:lnTo>
                    <a:pt x="474" y="1386"/>
                  </a:lnTo>
                  <a:lnTo>
                    <a:pt x="468" y="1386"/>
                  </a:lnTo>
                  <a:lnTo>
                    <a:pt x="462" y="1386"/>
                  </a:lnTo>
                  <a:lnTo>
                    <a:pt x="456" y="1380"/>
                  </a:lnTo>
                  <a:lnTo>
                    <a:pt x="456" y="1374"/>
                  </a:lnTo>
                  <a:lnTo>
                    <a:pt x="462" y="1374"/>
                  </a:lnTo>
                  <a:lnTo>
                    <a:pt x="462" y="1368"/>
                  </a:lnTo>
                  <a:lnTo>
                    <a:pt x="456" y="1374"/>
                  </a:lnTo>
                  <a:lnTo>
                    <a:pt x="456" y="1368"/>
                  </a:lnTo>
                  <a:lnTo>
                    <a:pt x="456" y="1362"/>
                  </a:lnTo>
                  <a:lnTo>
                    <a:pt x="450" y="1362"/>
                  </a:lnTo>
                  <a:lnTo>
                    <a:pt x="450" y="1356"/>
                  </a:lnTo>
                  <a:lnTo>
                    <a:pt x="450" y="1350"/>
                  </a:lnTo>
                  <a:lnTo>
                    <a:pt x="450" y="1344"/>
                  </a:lnTo>
                  <a:lnTo>
                    <a:pt x="456" y="1344"/>
                  </a:lnTo>
                  <a:lnTo>
                    <a:pt x="456" y="1338"/>
                  </a:lnTo>
                  <a:lnTo>
                    <a:pt x="462" y="1338"/>
                  </a:lnTo>
                  <a:lnTo>
                    <a:pt x="462" y="1332"/>
                  </a:lnTo>
                  <a:lnTo>
                    <a:pt x="456" y="1332"/>
                  </a:lnTo>
                  <a:lnTo>
                    <a:pt x="456" y="1326"/>
                  </a:lnTo>
                  <a:lnTo>
                    <a:pt x="450" y="1326"/>
                  </a:lnTo>
                  <a:lnTo>
                    <a:pt x="444" y="1326"/>
                  </a:lnTo>
                  <a:lnTo>
                    <a:pt x="444" y="1332"/>
                  </a:lnTo>
                  <a:lnTo>
                    <a:pt x="438" y="1332"/>
                  </a:lnTo>
                  <a:lnTo>
                    <a:pt x="438" y="1338"/>
                  </a:lnTo>
                  <a:lnTo>
                    <a:pt x="432" y="1338"/>
                  </a:lnTo>
                  <a:lnTo>
                    <a:pt x="432" y="1344"/>
                  </a:lnTo>
                  <a:lnTo>
                    <a:pt x="432" y="1350"/>
                  </a:lnTo>
                  <a:lnTo>
                    <a:pt x="426" y="1356"/>
                  </a:lnTo>
                  <a:lnTo>
                    <a:pt x="426" y="1368"/>
                  </a:lnTo>
                  <a:lnTo>
                    <a:pt x="426" y="1374"/>
                  </a:lnTo>
                  <a:lnTo>
                    <a:pt x="426" y="1380"/>
                  </a:lnTo>
                  <a:lnTo>
                    <a:pt x="432" y="1386"/>
                  </a:lnTo>
                  <a:lnTo>
                    <a:pt x="432" y="1392"/>
                  </a:lnTo>
                  <a:lnTo>
                    <a:pt x="432" y="1398"/>
                  </a:lnTo>
                  <a:lnTo>
                    <a:pt x="426" y="1398"/>
                  </a:lnTo>
                  <a:lnTo>
                    <a:pt x="420" y="1398"/>
                  </a:lnTo>
                  <a:lnTo>
                    <a:pt x="414" y="1398"/>
                  </a:lnTo>
                  <a:lnTo>
                    <a:pt x="420" y="1398"/>
                  </a:lnTo>
                  <a:lnTo>
                    <a:pt x="414" y="1404"/>
                  </a:lnTo>
                  <a:lnTo>
                    <a:pt x="420" y="1404"/>
                  </a:lnTo>
                  <a:lnTo>
                    <a:pt x="414" y="1404"/>
                  </a:lnTo>
                  <a:lnTo>
                    <a:pt x="408" y="1404"/>
                  </a:lnTo>
                  <a:lnTo>
                    <a:pt x="402" y="1410"/>
                  </a:lnTo>
                  <a:lnTo>
                    <a:pt x="402" y="1404"/>
                  </a:lnTo>
                  <a:lnTo>
                    <a:pt x="396" y="1404"/>
                  </a:lnTo>
                  <a:lnTo>
                    <a:pt x="390" y="1404"/>
                  </a:lnTo>
                  <a:lnTo>
                    <a:pt x="384" y="1404"/>
                  </a:lnTo>
                  <a:lnTo>
                    <a:pt x="384" y="1398"/>
                  </a:lnTo>
                  <a:lnTo>
                    <a:pt x="384" y="1392"/>
                  </a:lnTo>
                  <a:lnTo>
                    <a:pt x="390" y="1392"/>
                  </a:lnTo>
                  <a:lnTo>
                    <a:pt x="390" y="1386"/>
                  </a:lnTo>
                  <a:lnTo>
                    <a:pt x="390" y="1380"/>
                  </a:lnTo>
                  <a:lnTo>
                    <a:pt x="396" y="1380"/>
                  </a:lnTo>
                  <a:lnTo>
                    <a:pt x="402" y="1380"/>
                  </a:lnTo>
                  <a:lnTo>
                    <a:pt x="408" y="1380"/>
                  </a:lnTo>
                  <a:lnTo>
                    <a:pt x="408" y="1374"/>
                  </a:lnTo>
                  <a:lnTo>
                    <a:pt x="414" y="1374"/>
                  </a:lnTo>
                  <a:lnTo>
                    <a:pt x="414" y="1368"/>
                  </a:lnTo>
                  <a:lnTo>
                    <a:pt x="414" y="1362"/>
                  </a:lnTo>
                  <a:lnTo>
                    <a:pt x="414" y="1368"/>
                  </a:lnTo>
                  <a:lnTo>
                    <a:pt x="414" y="1374"/>
                  </a:lnTo>
                  <a:lnTo>
                    <a:pt x="408" y="1374"/>
                  </a:lnTo>
                  <a:lnTo>
                    <a:pt x="402" y="1380"/>
                  </a:lnTo>
                  <a:lnTo>
                    <a:pt x="396" y="1380"/>
                  </a:lnTo>
                  <a:lnTo>
                    <a:pt x="396" y="1374"/>
                  </a:lnTo>
                  <a:lnTo>
                    <a:pt x="390" y="1374"/>
                  </a:lnTo>
                  <a:lnTo>
                    <a:pt x="390" y="1368"/>
                  </a:lnTo>
                  <a:lnTo>
                    <a:pt x="384" y="1368"/>
                  </a:lnTo>
                  <a:lnTo>
                    <a:pt x="384" y="1374"/>
                  </a:lnTo>
                  <a:lnTo>
                    <a:pt x="378" y="1374"/>
                  </a:lnTo>
                  <a:lnTo>
                    <a:pt x="378" y="1380"/>
                  </a:lnTo>
                  <a:lnTo>
                    <a:pt x="372" y="1380"/>
                  </a:lnTo>
                  <a:lnTo>
                    <a:pt x="366" y="1386"/>
                  </a:lnTo>
                  <a:lnTo>
                    <a:pt x="360" y="1386"/>
                  </a:lnTo>
                  <a:lnTo>
                    <a:pt x="354" y="1386"/>
                  </a:lnTo>
                  <a:lnTo>
                    <a:pt x="354" y="1380"/>
                  </a:lnTo>
                  <a:lnTo>
                    <a:pt x="348" y="1380"/>
                  </a:lnTo>
                  <a:lnTo>
                    <a:pt x="342" y="1380"/>
                  </a:lnTo>
                  <a:lnTo>
                    <a:pt x="342" y="1374"/>
                  </a:lnTo>
                  <a:lnTo>
                    <a:pt x="336" y="1368"/>
                  </a:lnTo>
                  <a:lnTo>
                    <a:pt x="342" y="1368"/>
                  </a:lnTo>
                  <a:lnTo>
                    <a:pt x="342" y="1362"/>
                  </a:lnTo>
                  <a:lnTo>
                    <a:pt x="348" y="1362"/>
                  </a:lnTo>
                  <a:lnTo>
                    <a:pt x="354" y="1362"/>
                  </a:lnTo>
                  <a:lnTo>
                    <a:pt x="354" y="1356"/>
                  </a:lnTo>
                  <a:lnTo>
                    <a:pt x="348" y="1356"/>
                  </a:lnTo>
                  <a:lnTo>
                    <a:pt x="348" y="1350"/>
                  </a:lnTo>
                  <a:lnTo>
                    <a:pt x="348" y="1344"/>
                  </a:lnTo>
                  <a:lnTo>
                    <a:pt x="354" y="1338"/>
                  </a:lnTo>
                  <a:lnTo>
                    <a:pt x="354" y="1332"/>
                  </a:lnTo>
                  <a:lnTo>
                    <a:pt x="354" y="1326"/>
                  </a:lnTo>
                  <a:lnTo>
                    <a:pt x="354" y="1320"/>
                  </a:lnTo>
                  <a:lnTo>
                    <a:pt x="354" y="1314"/>
                  </a:lnTo>
                  <a:lnTo>
                    <a:pt x="354" y="1308"/>
                  </a:lnTo>
                  <a:lnTo>
                    <a:pt x="348" y="1308"/>
                  </a:lnTo>
                  <a:lnTo>
                    <a:pt x="348" y="1302"/>
                  </a:lnTo>
                  <a:lnTo>
                    <a:pt x="342" y="1296"/>
                  </a:lnTo>
                  <a:lnTo>
                    <a:pt x="336" y="1296"/>
                  </a:lnTo>
                  <a:lnTo>
                    <a:pt x="336" y="1290"/>
                  </a:lnTo>
                  <a:lnTo>
                    <a:pt x="330" y="1290"/>
                  </a:lnTo>
                  <a:lnTo>
                    <a:pt x="324" y="1290"/>
                  </a:lnTo>
                  <a:lnTo>
                    <a:pt x="324" y="1284"/>
                  </a:lnTo>
                  <a:lnTo>
                    <a:pt x="318" y="1284"/>
                  </a:lnTo>
                  <a:lnTo>
                    <a:pt x="318" y="1278"/>
                  </a:lnTo>
                  <a:lnTo>
                    <a:pt x="312" y="1278"/>
                  </a:lnTo>
                  <a:lnTo>
                    <a:pt x="312" y="1272"/>
                  </a:lnTo>
                  <a:lnTo>
                    <a:pt x="312" y="1278"/>
                  </a:lnTo>
                  <a:lnTo>
                    <a:pt x="318" y="1284"/>
                  </a:lnTo>
                  <a:lnTo>
                    <a:pt x="324" y="1290"/>
                  </a:lnTo>
                  <a:lnTo>
                    <a:pt x="330" y="1290"/>
                  </a:lnTo>
                  <a:lnTo>
                    <a:pt x="330" y="1296"/>
                  </a:lnTo>
                  <a:lnTo>
                    <a:pt x="336" y="1296"/>
                  </a:lnTo>
                  <a:lnTo>
                    <a:pt x="336" y="1302"/>
                  </a:lnTo>
                  <a:lnTo>
                    <a:pt x="342" y="1302"/>
                  </a:lnTo>
                  <a:lnTo>
                    <a:pt x="348" y="1302"/>
                  </a:lnTo>
                  <a:lnTo>
                    <a:pt x="348" y="1308"/>
                  </a:lnTo>
                  <a:lnTo>
                    <a:pt x="348" y="1314"/>
                  </a:lnTo>
                  <a:lnTo>
                    <a:pt x="354" y="1314"/>
                  </a:lnTo>
                  <a:lnTo>
                    <a:pt x="354" y="1320"/>
                  </a:lnTo>
                  <a:lnTo>
                    <a:pt x="354" y="1326"/>
                  </a:lnTo>
                  <a:lnTo>
                    <a:pt x="348" y="1326"/>
                  </a:lnTo>
                  <a:lnTo>
                    <a:pt x="348" y="1332"/>
                  </a:lnTo>
                  <a:lnTo>
                    <a:pt x="348" y="1338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2" y="1350"/>
                  </a:lnTo>
                  <a:lnTo>
                    <a:pt x="336" y="1350"/>
                  </a:lnTo>
                  <a:lnTo>
                    <a:pt x="330" y="1350"/>
                  </a:lnTo>
                  <a:lnTo>
                    <a:pt x="330" y="1356"/>
                  </a:lnTo>
                  <a:lnTo>
                    <a:pt x="330" y="1350"/>
                  </a:lnTo>
                  <a:lnTo>
                    <a:pt x="324" y="1350"/>
                  </a:lnTo>
                  <a:lnTo>
                    <a:pt x="318" y="1344"/>
                  </a:lnTo>
                  <a:lnTo>
                    <a:pt x="318" y="1350"/>
                  </a:lnTo>
                  <a:lnTo>
                    <a:pt x="312" y="1344"/>
                  </a:lnTo>
                  <a:lnTo>
                    <a:pt x="312" y="1338"/>
                  </a:lnTo>
                  <a:lnTo>
                    <a:pt x="306" y="1338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6" y="1326"/>
                  </a:lnTo>
                  <a:lnTo>
                    <a:pt x="306" y="1320"/>
                  </a:lnTo>
                  <a:lnTo>
                    <a:pt x="306" y="1326"/>
                  </a:lnTo>
                  <a:lnTo>
                    <a:pt x="312" y="1326"/>
                  </a:lnTo>
                  <a:lnTo>
                    <a:pt x="312" y="1320"/>
                  </a:lnTo>
                  <a:lnTo>
                    <a:pt x="306" y="1320"/>
                  </a:lnTo>
                  <a:lnTo>
                    <a:pt x="300" y="1320"/>
                  </a:lnTo>
                  <a:lnTo>
                    <a:pt x="294" y="1320"/>
                  </a:lnTo>
                  <a:lnTo>
                    <a:pt x="294" y="1314"/>
                  </a:lnTo>
                  <a:lnTo>
                    <a:pt x="288" y="1314"/>
                  </a:lnTo>
                  <a:lnTo>
                    <a:pt x="288" y="1308"/>
                  </a:lnTo>
                  <a:lnTo>
                    <a:pt x="288" y="1302"/>
                  </a:lnTo>
                  <a:lnTo>
                    <a:pt x="294" y="1302"/>
                  </a:lnTo>
                  <a:lnTo>
                    <a:pt x="294" y="1296"/>
                  </a:lnTo>
                  <a:lnTo>
                    <a:pt x="288" y="1296"/>
                  </a:lnTo>
                  <a:lnTo>
                    <a:pt x="288" y="1290"/>
                  </a:lnTo>
                  <a:lnTo>
                    <a:pt x="288" y="1296"/>
                  </a:lnTo>
                  <a:lnTo>
                    <a:pt x="294" y="1302"/>
                  </a:lnTo>
                  <a:lnTo>
                    <a:pt x="288" y="1302"/>
                  </a:lnTo>
                  <a:lnTo>
                    <a:pt x="282" y="1296"/>
                  </a:lnTo>
                  <a:lnTo>
                    <a:pt x="276" y="1296"/>
                  </a:lnTo>
                  <a:lnTo>
                    <a:pt x="276" y="1290"/>
                  </a:lnTo>
                  <a:lnTo>
                    <a:pt x="270" y="1290"/>
                  </a:lnTo>
                  <a:lnTo>
                    <a:pt x="264" y="1284"/>
                  </a:lnTo>
                  <a:lnTo>
                    <a:pt x="264" y="1278"/>
                  </a:lnTo>
                  <a:lnTo>
                    <a:pt x="264" y="1272"/>
                  </a:lnTo>
                  <a:lnTo>
                    <a:pt x="264" y="1266"/>
                  </a:lnTo>
                  <a:lnTo>
                    <a:pt x="258" y="1266"/>
                  </a:lnTo>
                  <a:lnTo>
                    <a:pt x="252" y="1266"/>
                  </a:lnTo>
                  <a:lnTo>
                    <a:pt x="246" y="1260"/>
                  </a:lnTo>
                  <a:lnTo>
                    <a:pt x="240" y="1254"/>
                  </a:lnTo>
                  <a:lnTo>
                    <a:pt x="240" y="1260"/>
                  </a:lnTo>
                  <a:lnTo>
                    <a:pt x="240" y="1266"/>
                  </a:lnTo>
                  <a:lnTo>
                    <a:pt x="240" y="1272"/>
                  </a:lnTo>
                  <a:lnTo>
                    <a:pt x="246" y="1272"/>
                  </a:lnTo>
                  <a:lnTo>
                    <a:pt x="246" y="1278"/>
                  </a:lnTo>
                  <a:lnTo>
                    <a:pt x="246" y="1284"/>
                  </a:lnTo>
                  <a:lnTo>
                    <a:pt x="252" y="1284"/>
                  </a:lnTo>
                  <a:lnTo>
                    <a:pt x="252" y="1290"/>
                  </a:lnTo>
                  <a:lnTo>
                    <a:pt x="258" y="1296"/>
                  </a:lnTo>
                  <a:lnTo>
                    <a:pt x="264" y="1302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58" y="1314"/>
                  </a:lnTo>
                  <a:lnTo>
                    <a:pt x="258" y="1308"/>
                  </a:lnTo>
                  <a:lnTo>
                    <a:pt x="252" y="1308"/>
                  </a:lnTo>
                  <a:lnTo>
                    <a:pt x="252" y="1302"/>
                  </a:lnTo>
                  <a:lnTo>
                    <a:pt x="246" y="1302"/>
                  </a:lnTo>
                  <a:lnTo>
                    <a:pt x="246" y="1296"/>
                  </a:lnTo>
                  <a:lnTo>
                    <a:pt x="240" y="1296"/>
                  </a:lnTo>
                  <a:lnTo>
                    <a:pt x="240" y="1290"/>
                  </a:lnTo>
                  <a:lnTo>
                    <a:pt x="234" y="1284"/>
                  </a:lnTo>
                  <a:lnTo>
                    <a:pt x="234" y="1278"/>
                  </a:lnTo>
                  <a:close/>
                  <a:moveTo>
                    <a:pt x="444" y="1332"/>
                  </a:moveTo>
                  <a:lnTo>
                    <a:pt x="450" y="1326"/>
                  </a:lnTo>
                  <a:lnTo>
                    <a:pt x="456" y="1326"/>
                  </a:lnTo>
                  <a:lnTo>
                    <a:pt x="456" y="1332"/>
                  </a:lnTo>
                  <a:lnTo>
                    <a:pt x="456" y="1338"/>
                  </a:lnTo>
                  <a:lnTo>
                    <a:pt x="450" y="1338"/>
                  </a:lnTo>
                  <a:lnTo>
                    <a:pt x="444" y="1338"/>
                  </a:lnTo>
                  <a:lnTo>
                    <a:pt x="444" y="1332"/>
                  </a:lnTo>
                  <a:close/>
                  <a:moveTo>
                    <a:pt x="444" y="1368"/>
                  </a:moveTo>
                  <a:lnTo>
                    <a:pt x="456" y="1368"/>
                  </a:lnTo>
                  <a:lnTo>
                    <a:pt x="456" y="1374"/>
                  </a:lnTo>
                  <a:lnTo>
                    <a:pt x="444" y="1374"/>
                  </a:lnTo>
                  <a:lnTo>
                    <a:pt x="444" y="1368"/>
                  </a:lnTo>
                  <a:close/>
                  <a:moveTo>
                    <a:pt x="444" y="1386"/>
                  </a:moveTo>
                  <a:lnTo>
                    <a:pt x="444" y="1380"/>
                  </a:lnTo>
                  <a:lnTo>
                    <a:pt x="444" y="1374"/>
                  </a:lnTo>
                  <a:lnTo>
                    <a:pt x="444" y="1380"/>
                  </a:lnTo>
                  <a:lnTo>
                    <a:pt x="450" y="1380"/>
                  </a:lnTo>
                  <a:lnTo>
                    <a:pt x="456" y="1380"/>
                  </a:lnTo>
                  <a:lnTo>
                    <a:pt x="456" y="1386"/>
                  </a:lnTo>
                  <a:lnTo>
                    <a:pt x="456" y="1392"/>
                  </a:lnTo>
                  <a:lnTo>
                    <a:pt x="462" y="1392"/>
                  </a:lnTo>
                  <a:lnTo>
                    <a:pt x="462" y="1398"/>
                  </a:lnTo>
                  <a:lnTo>
                    <a:pt x="462" y="1404"/>
                  </a:lnTo>
                  <a:lnTo>
                    <a:pt x="456" y="1404"/>
                  </a:lnTo>
                  <a:lnTo>
                    <a:pt x="450" y="1404"/>
                  </a:lnTo>
                  <a:lnTo>
                    <a:pt x="450" y="1398"/>
                  </a:lnTo>
                  <a:lnTo>
                    <a:pt x="444" y="1398"/>
                  </a:lnTo>
                  <a:lnTo>
                    <a:pt x="444" y="1392"/>
                  </a:lnTo>
                  <a:lnTo>
                    <a:pt x="444" y="1386"/>
                  </a:lnTo>
                  <a:close/>
                  <a:moveTo>
                    <a:pt x="438" y="1362"/>
                  </a:moveTo>
                  <a:lnTo>
                    <a:pt x="444" y="1356"/>
                  </a:lnTo>
                  <a:lnTo>
                    <a:pt x="450" y="1356"/>
                  </a:lnTo>
                  <a:lnTo>
                    <a:pt x="450" y="1362"/>
                  </a:lnTo>
                  <a:lnTo>
                    <a:pt x="450" y="1368"/>
                  </a:lnTo>
                  <a:lnTo>
                    <a:pt x="444" y="1368"/>
                  </a:lnTo>
                  <a:lnTo>
                    <a:pt x="444" y="1362"/>
                  </a:lnTo>
                  <a:lnTo>
                    <a:pt x="438" y="1362"/>
                  </a:lnTo>
                  <a:close/>
                  <a:moveTo>
                    <a:pt x="438" y="1350"/>
                  </a:moveTo>
                  <a:lnTo>
                    <a:pt x="438" y="1344"/>
                  </a:lnTo>
                  <a:lnTo>
                    <a:pt x="438" y="1338"/>
                  </a:lnTo>
                  <a:lnTo>
                    <a:pt x="444" y="1338"/>
                  </a:lnTo>
                  <a:lnTo>
                    <a:pt x="450" y="1338"/>
                  </a:lnTo>
                  <a:lnTo>
                    <a:pt x="456" y="1338"/>
                  </a:lnTo>
                  <a:lnTo>
                    <a:pt x="450" y="1344"/>
                  </a:lnTo>
                  <a:lnTo>
                    <a:pt x="444" y="1350"/>
                  </a:lnTo>
                  <a:lnTo>
                    <a:pt x="438" y="1350"/>
                  </a:lnTo>
                  <a:close/>
                  <a:moveTo>
                    <a:pt x="432" y="1380"/>
                  </a:moveTo>
                  <a:lnTo>
                    <a:pt x="432" y="1368"/>
                  </a:lnTo>
                  <a:lnTo>
                    <a:pt x="432" y="1362"/>
                  </a:lnTo>
                  <a:lnTo>
                    <a:pt x="432" y="1356"/>
                  </a:lnTo>
                  <a:lnTo>
                    <a:pt x="438" y="1356"/>
                  </a:lnTo>
                  <a:lnTo>
                    <a:pt x="438" y="1362"/>
                  </a:lnTo>
                  <a:lnTo>
                    <a:pt x="438" y="1368"/>
                  </a:lnTo>
                  <a:lnTo>
                    <a:pt x="438" y="1374"/>
                  </a:lnTo>
                  <a:lnTo>
                    <a:pt x="438" y="1380"/>
                  </a:lnTo>
                  <a:lnTo>
                    <a:pt x="438" y="1386"/>
                  </a:lnTo>
                  <a:lnTo>
                    <a:pt x="438" y="1380"/>
                  </a:lnTo>
                  <a:lnTo>
                    <a:pt x="432" y="1380"/>
                  </a:lnTo>
                  <a:close/>
                  <a:moveTo>
                    <a:pt x="246" y="1272"/>
                  </a:moveTo>
                  <a:lnTo>
                    <a:pt x="252" y="1272"/>
                  </a:lnTo>
                  <a:lnTo>
                    <a:pt x="252" y="1278"/>
                  </a:lnTo>
                  <a:lnTo>
                    <a:pt x="246" y="1278"/>
                  </a:lnTo>
                  <a:lnTo>
                    <a:pt x="246" y="1272"/>
                  </a:lnTo>
                  <a:close/>
                  <a:moveTo>
                    <a:pt x="426" y="1416"/>
                  </a:moveTo>
                  <a:lnTo>
                    <a:pt x="432" y="1410"/>
                  </a:lnTo>
                  <a:lnTo>
                    <a:pt x="438" y="1410"/>
                  </a:lnTo>
                  <a:lnTo>
                    <a:pt x="438" y="1416"/>
                  </a:lnTo>
                  <a:lnTo>
                    <a:pt x="438" y="1422"/>
                  </a:lnTo>
                  <a:lnTo>
                    <a:pt x="432" y="1422"/>
                  </a:lnTo>
                  <a:lnTo>
                    <a:pt x="426" y="1422"/>
                  </a:lnTo>
                  <a:lnTo>
                    <a:pt x="426" y="1416"/>
                  </a:lnTo>
                  <a:close/>
                  <a:moveTo>
                    <a:pt x="246" y="1266"/>
                  </a:moveTo>
                  <a:lnTo>
                    <a:pt x="252" y="1266"/>
                  </a:lnTo>
                  <a:lnTo>
                    <a:pt x="258" y="1272"/>
                  </a:lnTo>
                  <a:lnTo>
                    <a:pt x="258" y="1278"/>
                  </a:lnTo>
                  <a:lnTo>
                    <a:pt x="258" y="1284"/>
                  </a:lnTo>
                  <a:lnTo>
                    <a:pt x="252" y="1284"/>
                  </a:lnTo>
                  <a:lnTo>
                    <a:pt x="252" y="1278"/>
                  </a:lnTo>
                  <a:lnTo>
                    <a:pt x="252" y="1272"/>
                  </a:lnTo>
                  <a:lnTo>
                    <a:pt x="252" y="1266"/>
                  </a:lnTo>
                  <a:lnTo>
                    <a:pt x="246" y="1266"/>
                  </a:lnTo>
                  <a:close/>
                  <a:moveTo>
                    <a:pt x="408" y="1458"/>
                  </a:moveTo>
                  <a:lnTo>
                    <a:pt x="408" y="1452"/>
                  </a:lnTo>
                  <a:lnTo>
                    <a:pt x="414" y="1452"/>
                  </a:lnTo>
                  <a:lnTo>
                    <a:pt x="414" y="1446"/>
                  </a:lnTo>
                  <a:lnTo>
                    <a:pt x="414" y="1440"/>
                  </a:lnTo>
                  <a:lnTo>
                    <a:pt x="420" y="1440"/>
                  </a:lnTo>
                  <a:lnTo>
                    <a:pt x="420" y="1434"/>
                  </a:lnTo>
                  <a:lnTo>
                    <a:pt x="420" y="1428"/>
                  </a:lnTo>
                  <a:lnTo>
                    <a:pt x="420" y="1422"/>
                  </a:lnTo>
                  <a:lnTo>
                    <a:pt x="426" y="1422"/>
                  </a:lnTo>
                  <a:lnTo>
                    <a:pt x="432" y="1428"/>
                  </a:lnTo>
                  <a:lnTo>
                    <a:pt x="438" y="1428"/>
                  </a:lnTo>
                  <a:lnTo>
                    <a:pt x="438" y="1434"/>
                  </a:lnTo>
                  <a:lnTo>
                    <a:pt x="438" y="1428"/>
                  </a:lnTo>
                  <a:lnTo>
                    <a:pt x="438" y="1422"/>
                  </a:lnTo>
                  <a:lnTo>
                    <a:pt x="444" y="1416"/>
                  </a:lnTo>
                  <a:lnTo>
                    <a:pt x="444" y="1410"/>
                  </a:lnTo>
                  <a:lnTo>
                    <a:pt x="450" y="1416"/>
                  </a:lnTo>
                  <a:lnTo>
                    <a:pt x="456" y="1416"/>
                  </a:lnTo>
                  <a:lnTo>
                    <a:pt x="456" y="1422"/>
                  </a:lnTo>
                  <a:lnTo>
                    <a:pt x="456" y="1428"/>
                  </a:lnTo>
                  <a:lnTo>
                    <a:pt x="456" y="1434"/>
                  </a:lnTo>
                  <a:lnTo>
                    <a:pt x="456" y="1440"/>
                  </a:lnTo>
                  <a:lnTo>
                    <a:pt x="462" y="1440"/>
                  </a:lnTo>
                  <a:lnTo>
                    <a:pt x="462" y="1446"/>
                  </a:lnTo>
                  <a:lnTo>
                    <a:pt x="462" y="1452"/>
                  </a:lnTo>
                  <a:lnTo>
                    <a:pt x="456" y="1452"/>
                  </a:lnTo>
                  <a:lnTo>
                    <a:pt x="450" y="1452"/>
                  </a:lnTo>
                  <a:lnTo>
                    <a:pt x="444" y="1446"/>
                  </a:lnTo>
                  <a:lnTo>
                    <a:pt x="444" y="1452"/>
                  </a:lnTo>
                  <a:lnTo>
                    <a:pt x="450" y="1452"/>
                  </a:lnTo>
                  <a:lnTo>
                    <a:pt x="450" y="1458"/>
                  </a:lnTo>
                  <a:lnTo>
                    <a:pt x="444" y="1458"/>
                  </a:lnTo>
                  <a:lnTo>
                    <a:pt x="438" y="1464"/>
                  </a:lnTo>
                  <a:lnTo>
                    <a:pt x="438" y="1458"/>
                  </a:lnTo>
                  <a:lnTo>
                    <a:pt x="432" y="1458"/>
                  </a:lnTo>
                  <a:lnTo>
                    <a:pt x="426" y="1458"/>
                  </a:lnTo>
                  <a:lnTo>
                    <a:pt x="432" y="1458"/>
                  </a:lnTo>
                  <a:lnTo>
                    <a:pt x="438" y="1464"/>
                  </a:lnTo>
                  <a:lnTo>
                    <a:pt x="432" y="1464"/>
                  </a:lnTo>
                  <a:lnTo>
                    <a:pt x="432" y="1470"/>
                  </a:lnTo>
                  <a:lnTo>
                    <a:pt x="426" y="1470"/>
                  </a:lnTo>
                  <a:lnTo>
                    <a:pt x="420" y="1476"/>
                  </a:lnTo>
                  <a:lnTo>
                    <a:pt x="420" y="1470"/>
                  </a:lnTo>
                  <a:lnTo>
                    <a:pt x="414" y="1470"/>
                  </a:lnTo>
                  <a:lnTo>
                    <a:pt x="414" y="1464"/>
                  </a:lnTo>
                  <a:lnTo>
                    <a:pt x="414" y="1458"/>
                  </a:lnTo>
                  <a:lnTo>
                    <a:pt x="408" y="1458"/>
                  </a:lnTo>
                  <a:close/>
                  <a:moveTo>
                    <a:pt x="270" y="1326"/>
                  </a:moveTo>
                  <a:lnTo>
                    <a:pt x="270" y="1320"/>
                  </a:lnTo>
                  <a:lnTo>
                    <a:pt x="276" y="1320"/>
                  </a:lnTo>
                  <a:lnTo>
                    <a:pt x="282" y="1326"/>
                  </a:lnTo>
                  <a:lnTo>
                    <a:pt x="288" y="1326"/>
                  </a:lnTo>
                  <a:lnTo>
                    <a:pt x="288" y="1332"/>
                  </a:lnTo>
                  <a:lnTo>
                    <a:pt x="288" y="1338"/>
                  </a:lnTo>
                  <a:lnTo>
                    <a:pt x="288" y="1344"/>
                  </a:lnTo>
                  <a:lnTo>
                    <a:pt x="282" y="1344"/>
                  </a:lnTo>
                  <a:lnTo>
                    <a:pt x="282" y="1338"/>
                  </a:lnTo>
                  <a:lnTo>
                    <a:pt x="276" y="1338"/>
                  </a:lnTo>
                  <a:lnTo>
                    <a:pt x="276" y="1332"/>
                  </a:lnTo>
                  <a:lnTo>
                    <a:pt x="270" y="1332"/>
                  </a:lnTo>
                  <a:lnTo>
                    <a:pt x="270" y="1326"/>
                  </a:lnTo>
                  <a:close/>
                  <a:moveTo>
                    <a:pt x="288" y="1458"/>
                  </a:moveTo>
                  <a:lnTo>
                    <a:pt x="294" y="1458"/>
                  </a:lnTo>
                  <a:lnTo>
                    <a:pt x="294" y="1452"/>
                  </a:lnTo>
                  <a:lnTo>
                    <a:pt x="294" y="1446"/>
                  </a:lnTo>
                  <a:lnTo>
                    <a:pt x="300" y="1446"/>
                  </a:lnTo>
                  <a:lnTo>
                    <a:pt x="300" y="1440"/>
                  </a:lnTo>
                  <a:lnTo>
                    <a:pt x="306" y="1440"/>
                  </a:lnTo>
                  <a:lnTo>
                    <a:pt x="306" y="1446"/>
                  </a:lnTo>
                  <a:lnTo>
                    <a:pt x="312" y="1452"/>
                  </a:lnTo>
                  <a:lnTo>
                    <a:pt x="306" y="1452"/>
                  </a:lnTo>
                  <a:lnTo>
                    <a:pt x="306" y="1458"/>
                  </a:lnTo>
                  <a:lnTo>
                    <a:pt x="312" y="1464"/>
                  </a:lnTo>
                  <a:lnTo>
                    <a:pt x="306" y="1464"/>
                  </a:lnTo>
                  <a:lnTo>
                    <a:pt x="306" y="1470"/>
                  </a:lnTo>
                  <a:lnTo>
                    <a:pt x="300" y="1476"/>
                  </a:lnTo>
                  <a:lnTo>
                    <a:pt x="294" y="1476"/>
                  </a:lnTo>
                  <a:lnTo>
                    <a:pt x="294" y="1470"/>
                  </a:lnTo>
                  <a:lnTo>
                    <a:pt x="288" y="1470"/>
                  </a:lnTo>
                  <a:lnTo>
                    <a:pt x="288" y="1464"/>
                  </a:lnTo>
                  <a:lnTo>
                    <a:pt x="288" y="1458"/>
                  </a:lnTo>
                  <a:close/>
                  <a:moveTo>
                    <a:pt x="270" y="1296"/>
                  </a:moveTo>
                  <a:lnTo>
                    <a:pt x="276" y="1296"/>
                  </a:lnTo>
                  <a:lnTo>
                    <a:pt x="282" y="1296"/>
                  </a:lnTo>
                  <a:lnTo>
                    <a:pt x="288" y="1296"/>
                  </a:lnTo>
                  <a:lnTo>
                    <a:pt x="288" y="1302"/>
                  </a:lnTo>
                  <a:lnTo>
                    <a:pt x="282" y="1308"/>
                  </a:lnTo>
                  <a:lnTo>
                    <a:pt x="276" y="1308"/>
                  </a:lnTo>
                  <a:lnTo>
                    <a:pt x="276" y="1302"/>
                  </a:lnTo>
                  <a:lnTo>
                    <a:pt x="270" y="12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4" name="Freeform 19">
              <a:extLst>
                <a:ext uri="{FF2B5EF4-FFF2-40B4-BE49-F238E27FC236}">
                  <a16:creationId xmlns:a16="http://schemas.microsoft.com/office/drawing/2014/main" id="{5B9020B8-E1C1-4611-A248-9642BBD69C9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7043" y="3765821"/>
              <a:ext cx="333193" cy="398097"/>
            </a:xfrm>
            <a:custGeom>
              <a:avLst/>
              <a:gdLst>
                <a:gd name="T0" fmla="*/ 30 w 624"/>
                <a:gd name="T1" fmla="*/ 61 h 750"/>
                <a:gd name="T2" fmla="*/ 27 w 624"/>
                <a:gd name="T3" fmla="*/ 62 h 750"/>
                <a:gd name="T4" fmla="*/ 23 w 624"/>
                <a:gd name="T5" fmla="*/ 59 h 750"/>
                <a:gd name="T6" fmla="*/ 20 w 624"/>
                <a:gd name="T7" fmla="*/ 58 h 750"/>
                <a:gd name="T8" fmla="*/ 19 w 624"/>
                <a:gd name="T9" fmla="*/ 56 h 750"/>
                <a:gd name="T10" fmla="*/ 17 w 624"/>
                <a:gd name="T11" fmla="*/ 55 h 750"/>
                <a:gd name="T12" fmla="*/ 16 w 624"/>
                <a:gd name="T13" fmla="*/ 51 h 750"/>
                <a:gd name="T14" fmla="*/ 14 w 624"/>
                <a:gd name="T15" fmla="*/ 48 h 750"/>
                <a:gd name="T16" fmla="*/ 12 w 624"/>
                <a:gd name="T17" fmla="*/ 46 h 750"/>
                <a:gd name="T18" fmla="*/ 12 w 624"/>
                <a:gd name="T19" fmla="*/ 44 h 750"/>
                <a:gd name="T20" fmla="*/ 11 w 624"/>
                <a:gd name="T21" fmla="*/ 41 h 750"/>
                <a:gd name="T22" fmla="*/ 8 w 624"/>
                <a:gd name="T23" fmla="*/ 38 h 750"/>
                <a:gd name="T24" fmla="*/ 6 w 624"/>
                <a:gd name="T25" fmla="*/ 38 h 750"/>
                <a:gd name="T26" fmla="*/ 6 w 624"/>
                <a:gd name="T27" fmla="*/ 35 h 750"/>
                <a:gd name="T28" fmla="*/ 7 w 624"/>
                <a:gd name="T29" fmla="*/ 31 h 750"/>
                <a:gd name="T30" fmla="*/ 10 w 624"/>
                <a:gd name="T31" fmla="*/ 27 h 750"/>
                <a:gd name="T32" fmla="*/ 8 w 624"/>
                <a:gd name="T33" fmla="*/ 23 h 750"/>
                <a:gd name="T34" fmla="*/ 6 w 624"/>
                <a:gd name="T35" fmla="*/ 23 h 750"/>
                <a:gd name="T36" fmla="*/ 3 w 624"/>
                <a:gd name="T37" fmla="*/ 22 h 750"/>
                <a:gd name="T38" fmla="*/ 0 w 624"/>
                <a:gd name="T39" fmla="*/ 22 h 750"/>
                <a:gd name="T40" fmla="*/ 0 w 624"/>
                <a:gd name="T41" fmla="*/ 19 h 750"/>
                <a:gd name="T42" fmla="*/ 1 w 624"/>
                <a:gd name="T43" fmla="*/ 18 h 750"/>
                <a:gd name="T44" fmla="*/ 2 w 624"/>
                <a:gd name="T45" fmla="*/ 14 h 750"/>
                <a:gd name="T46" fmla="*/ 4 w 624"/>
                <a:gd name="T47" fmla="*/ 17 h 750"/>
                <a:gd name="T48" fmla="*/ 6 w 624"/>
                <a:gd name="T49" fmla="*/ 17 h 750"/>
                <a:gd name="T50" fmla="*/ 7 w 624"/>
                <a:gd name="T51" fmla="*/ 17 h 750"/>
                <a:gd name="T52" fmla="*/ 9 w 624"/>
                <a:gd name="T53" fmla="*/ 15 h 750"/>
                <a:gd name="T54" fmla="*/ 10 w 624"/>
                <a:gd name="T55" fmla="*/ 14 h 750"/>
                <a:gd name="T56" fmla="*/ 11 w 624"/>
                <a:gd name="T57" fmla="*/ 12 h 750"/>
                <a:gd name="T58" fmla="*/ 13 w 624"/>
                <a:gd name="T59" fmla="*/ 12 h 750"/>
                <a:gd name="T60" fmla="*/ 18 w 624"/>
                <a:gd name="T61" fmla="*/ 10 h 750"/>
                <a:gd name="T62" fmla="*/ 22 w 624"/>
                <a:gd name="T63" fmla="*/ 4 h 750"/>
                <a:gd name="T64" fmla="*/ 24 w 624"/>
                <a:gd name="T65" fmla="*/ 4 h 750"/>
                <a:gd name="T66" fmla="*/ 26 w 624"/>
                <a:gd name="T67" fmla="*/ 2 h 750"/>
                <a:gd name="T68" fmla="*/ 29 w 624"/>
                <a:gd name="T69" fmla="*/ 0 h 750"/>
                <a:gd name="T70" fmla="*/ 32 w 624"/>
                <a:gd name="T71" fmla="*/ 2 h 750"/>
                <a:gd name="T72" fmla="*/ 34 w 624"/>
                <a:gd name="T73" fmla="*/ 5 h 750"/>
                <a:gd name="T74" fmla="*/ 35 w 624"/>
                <a:gd name="T75" fmla="*/ 8 h 750"/>
                <a:gd name="T76" fmla="*/ 39 w 624"/>
                <a:gd name="T77" fmla="*/ 11 h 750"/>
                <a:gd name="T78" fmla="*/ 42 w 624"/>
                <a:gd name="T79" fmla="*/ 14 h 750"/>
                <a:gd name="T80" fmla="*/ 46 w 624"/>
                <a:gd name="T81" fmla="*/ 12 h 750"/>
                <a:gd name="T82" fmla="*/ 49 w 624"/>
                <a:gd name="T83" fmla="*/ 12 h 750"/>
                <a:gd name="T84" fmla="*/ 51 w 624"/>
                <a:gd name="T85" fmla="*/ 12 h 750"/>
                <a:gd name="T86" fmla="*/ 53 w 624"/>
                <a:gd name="T87" fmla="*/ 12 h 750"/>
                <a:gd name="T88" fmla="*/ 53 w 624"/>
                <a:gd name="T89" fmla="*/ 17 h 750"/>
                <a:gd name="T90" fmla="*/ 51 w 624"/>
                <a:gd name="T91" fmla="*/ 20 h 750"/>
                <a:gd name="T92" fmla="*/ 49 w 624"/>
                <a:gd name="T93" fmla="*/ 26 h 750"/>
                <a:gd name="T94" fmla="*/ 47 w 624"/>
                <a:gd name="T95" fmla="*/ 26 h 750"/>
                <a:gd name="T96" fmla="*/ 44 w 624"/>
                <a:gd name="T97" fmla="*/ 26 h 750"/>
                <a:gd name="T98" fmla="*/ 43 w 624"/>
                <a:gd name="T99" fmla="*/ 27 h 750"/>
                <a:gd name="T100" fmla="*/ 45 w 624"/>
                <a:gd name="T101" fmla="*/ 32 h 750"/>
                <a:gd name="T102" fmla="*/ 44 w 624"/>
                <a:gd name="T103" fmla="*/ 43 h 750"/>
                <a:gd name="T104" fmla="*/ 44 w 624"/>
                <a:gd name="T105" fmla="*/ 47 h 750"/>
                <a:gd name="T106" fmla="*/ 44 w 624"/>
                <a:gd name="T107" fmla="*/ 54 h 750"/>
                <a:gd name="T108" fmla="*/ 41 w 624"/>
                <a:gd name="T109" fmla="*/ 60 h 750"/>
                <a:gd name="T110" fmla="*/ 42 w 624"/>
                <a:gd name="T111" fmla="*/ 62 h 750"/>
                <a:gd name="T112" fmla="*/ 43 w 624"/>
                <a:gd name="T113" fmla="*/ 65 h 750"/>
                <a:gd name="T114" fmla="*/ 39 w 624"/>
                <a:gd name="T115" fmla="*/ 63 h 750"/>
                <a:gd name="T116" fmla="*/ 35 w 624"/>
                <a:gd name="T117" fmla="*/ 62 h 75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24"/>
                <a:gd name="T178" fmla="*/ 0 h 750"/>
                <a:gd name="T179" fmla="*/ 624 w 624"/>
                <a:gd name="T180" fmla="*/ 750 h 75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24" h="750">
                  <a:moveTo>
                    <a:pt x="390" y="702"/>
                  </a:moveTo>
                  <a:lnTo>
                    <a:pt x="372" y="696"/>
                  </a:lnTo>
                  <a:lnTo>
                    <a:pt x="360" y="702"/>
                  </a:lnTo>
                  <a:lnTo>
                    <a:pt x="348" y="702"/>
                  </a:lnTo>
                  <a:lnTo>
                    <a:pt x="336" y="702"/>
                  </a:lnTo>
                  <a:lnTo>
                    <a:pt x="330" y="702"/>
                  </a:lnTo>
                  <a:lnTo>
                    <a:pt x="318" y="708"/>
                  </a:lnTo>
                  <a:lnTo>
                    <a:pt x="306" y="708"/>
                  </a:lnTo>
                  <a:lnTo>
                    <a:pt x="294" y="690"/>
                  </a:lnTo>
                  <a:lnTo>
                    <a:pt x="294" y="684"/>
                  </a:lnTo>
                  <a:lnTo>
                    <a:pt x="276" y="684"/>
                  </a:lnTo>
                  <a:lnTo>
                    <a:pt x="270" y="678"/>
                  </a:lnTo>
                  <a:lnTo>
                    <a:pt x="240" y="672"/>
                  </a:lnTo>
                  <a:lnTo>
                    <a:pt x="234" y="672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6"/>
                  </a:lnTo>
                  <a:lnTo>
                    <a:pt x="216" y="660"/>
                  </a:lnTo>
                  <a:lnTo>
                    <a:pt x="216" y="654"/>
                  </a:lnTo>
                  <a:lnTo>
                    <a:pt x="216" y="642"/>
                  </a:lnTo>
                  <a:lnTo>
                    <a:pt x="210" y="642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36"/>
                  </a:lnTo>
                  <a:lnTo>
                    <a:pt x="192" y="624"/>
                  </a:lnTo>
                  <a:lnTo>
                    <a:pt x="186" y="612"/>
                  </a:lnTo>
                  <a:lnTo>
                    <a:pt x="186" y="600"/>
                  </a:lnTo>
                  <a:lnTo>
                    <a:pt x="186" y="588"/>
                  </a:lnTo>
                  <a:lnTo>
                    <a:pt x="180" y="582"/>
                  </a:lnTo>
                  <a:lnTo>
                    <a:pt x="180" y="570"/>
                  </a:lnTo>
                  <a:lnTo>
                    <a:pt x="174" y="558"/>
                  </a:lnTo>
                  <a:lnTo>
                    <a:pt x="162" y="558"/>
                  </a:lnTo>
                  <a:lnTo>
                    <a:pt x="144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38" y="534"/>
                  </a:lnTo>
                  <a:lnTo>
                    <a:pt x="138" y="528"/>
                  </a:lnTo>
                  <a:lnTo>
                    <a:pt x="132" y="522"/>
                  </a:lnTo>
                  <a:lnTo>
                    <a:pt x="144" y="522"/>
                  </a:lnTo>
                  <a:lnTo>
                    <a:pt x="144" y="510"/>
                  </a:lnTo>
                  <a:lnTo>
                    <a:pt x="144" y="504"/>
                  </a:lnTo>
                  <a:lnTo>
                    <a:pt x="138" y="492"/>
                  </a:lnTo>
                  <a:lnTo>
                    <a:pt x="138" y="474"/>
                  </a:lnTo>
                  <a:lnTo>
                    <a:pt x="126" y="468"/>
                  </a:lnTo>
                  <a:lnTo>
                    <a:pt x="120" y="456"/>
                  </a:lnTo>
                  <a:lnTo>
                    <a:pt x="114" y="450"/>
                  </a:lnTo>
                  <a:lnTo>
                    <a:pt x="108" y="438"/>
                  </a:lnTo>
                  <a:lnTo>
                    <a:pt x="96" y="432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60" y="426"/>
                  </a:lnTo>
                  <a:lnTo>
                    <a:pt x="66" y="420"/>
                  </a:lnTo>
                  <a:lnTo>
                    <a:pt x="66" y="408"/>
                  </a:lnTo>
                  <a:lnTo>
                    <a:pt x="72" y="408"/>
                  </a:lnTo>
                  <a:lnTo>
                    <a:pt x="72" y="384"/>
                  </a:lnTo>
                  <a:lnTo>
                    <a:pt x="72" y="366"/>
                  </a:lnTo>
                  <a:lnTo>
                    <a:pt x="78" y="354"/>
                  </a:lnTo>
                  <a:lnTo>
                    <a:pt x="84" y="354"/>
                  </a:lnTo>
                  <a:lnTo>
                    <a:pt x="90" y="348"/>
                  </a:lnTo>
                  <a:lnTo>
                    <a:pt x="102" y="336"/>
                  </a:lnTo>
                  <a:lnTo>
                    <a:pt x="114" y="324"/>
                  </a:lnTo>
                  <a:lnTo>
                    <a:pt x="120" y="312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20" y="276"/>
                  </a:lnTo>
                  <a:lnTo>
                    <a:pt x="96" y="270"/>
                  </a:lnTo>
                  <a:lnTo>
                    <a:pt x="84" y="270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72" y="264"/>
                  </a:lnTo>
                  <a:lnTo>
                    <a:pt x="60" y="252"/>
                  </a:lnTo>
                  <a:lnTo>
                    <a:pt x="42" y="252"/>
                  </a:lnTo>
                  <a:lnTo>
                    <a:pt x="42" y="258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18" y="252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42" y="156"/>
                  </a:lnTo>
                  <a:lnTo>
                    <a:pt x="48" y="198"/>
                  </a:lnTo>
                  <a:lnTo>
                    <a:pt x="48" y="204"/>
                  </a:lnTo>
                  <a:lnTo>
                    <a:pt x="54" y="198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204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192"/>
                  </a:lnTo>
                  <a:lnTo>
                    <a:pt x="96" y="186"/>
                  </a:lnTo>
                  <a:lnTo>
                    <a:pt x="102" y="180"/>
                  </a:lnTo>
                  <a:lnTo>
                    <a:pt x="102" y="174"/>
                  </a:lnTo>
                  <a:lnTo>
                    <a:pt x="108" y="168"/>
                  </a:lnTo>
                  <a:lnTo>
                    <a:pt x="108" y="162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0"/>
                  </a:lnTo>
                  <a:lnTo>
                    <a:pt x="132" y="144"/>
                  </a:lnTo>
                  <a:lnTo>
                    <a:pt x="138" y="138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0" y="132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74" y="126"/>
                  </a:lnTo>
                  <a:lnTo>
                    <a:pt x="204" y="120"/>
                  </a:lnTo>
                  <a:lnTo>
                    <a:pt x="210" y="78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54"/>
                  </a:lnTo>
                  <a:lnTo>
                    <a:pt x="276" y="54"/>
                  </a:lnTo>
                  <a:lnTo>
                    <a:pt x="276" y="48"/>
                  </a:lnTo>
                  <a:lnTo>
                    <a:pt x="282" y="48"/>
                  </a:lnTo>
                  <a:lnTo>
                    <a:pt x="288" y="42"/>
                  </a:lnTo>
                  <a:lnTo>
                    <a:pt x="294" y="42"/>
                  </a:lnTo>
                  <a:lnTo>
                    <a:pt x="294" y="18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0"/>
                  </a:lnTo>
                  <a:lnTo>
                    <a:pt x="336" y="0"/>
                  </a:lnTo>
                  <a:lnTo>
                    <a:pt x="342" y="0"/>
                  </a:lnTo>
                  <a:lnTo>
                    <a:pt x="354" y="6"/>
                  </a:lnTo>
                  <a:lnTo>
                    <a:pt x="366" y="18"/>
                  </a:lnTo>
                  <a:lnTo>
                    <a:pt x="378" y="36"/>
                  </a:lnTo>
                  <a:lnTo>
                    <a:pt x="390" y="42"/>
                  </a:lnTo>
                  <a:lnTo>
                    <a:pt x="390" y="48"/>
                  </a:lnTo>
                  <a:lnTo>
                    <a:pt x="396" y="60"/>
                  </a:lnTo>
                  <a:lnTo>
                    <a:pt x="402" y="72"/>
                  </a:lnTo>
                  <a:lnTo>
                    <a:pt x="408" y="78"/>
                  </a:lnTo>
                  <a:lnTo>
                    <a:pt x="402" y="84"/>
                  </a:lnTo>
                  <a:lnTo>
                    <a:pt x="408" y="90"/>
                  </a:lnTo>
                  <a:lnTo>
                    <a:pt x="414" y="102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50" y="126"/>
                  </a:lnTo>
                  <a:lnTo>
                    <a:pt x="456" y="126"/>
                  </a:lnTo>
                  <a:lnTo>
                    <a:pt x="462" y="144"/>
                  </a:lnTo>
                  <a:lnTo>
                    <a:pt x="480" y="156"/>
                  </a:lnTo>
                  <a:lnTo>
                    <a:pt x="492" y="156"/>
                  </a:lnTo>
                  <a:lnTo>
                    <a:pt x="516" y="150"/>
                  </a:lnTo>
                  <a:lnTo>
                    <a:pt x="516" y="144"/>
                  </a:lnTo>
                  <a:lnTo>
                    <a:pt x="516" y="138"/>
                  </a:lnTo>
                  <a:lnTo>
                    <a:pt x="528" y="138"/>
                  </a:lnTo>
                  <a:lnTo>
                    <a:pt x="546" y="144"/>
                  </a:lnTo>
                  <a:lnTo>
                    <a:pt x="546" y="138"/>
                  </a:lnTo>
                  <a:lnTo>
                    <a:pt x="552" y="138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76" y="138"/>
                  </a:lnTo>
                  <a:lnTo>
                    <a:pt x="582" y="138"/>
                  </a:lnTo>
                  <a:lnTo>
                    <a:pt x="588" y="138"/>
                  </a:lnTo>
                  <a:lnTo>
                    <a:pt x="594" y="138"/>
                  </a:lnTo>
                  <a:lnTo>
                    <a:pt x="594" y="144"/>
                  </a:lnTo>
                  <a:lnTo>
                    <a:pt x="600" y="138"/>
                  </a:lnTo>
                  <a:lnTo>
                    <a:pt x="606" y="138"/>
                  </a:lnTo>
                  <a:lnTo>
                    <a:pt x="606" y="144"/>
                  </a:lnTo>
                  <a:lnTo>
                    <a:pt x="612" y="144"/>
                  </a:lnTo>
                  <a:lnTo>
                    <a:pt x="618" y="156"/>
                  </a:lnTo>
                  <a:lnTo>
                    <a:pt x="612" y="198"/>
                  </a:lnTo>
                  <a:lnTo>
                    <a:pt x="624" y="198"/>
                  </a:lnTo>
                  <a:lnTo>
                    <a:pt x="624" y="204"/>
                  </a:lnTo>
                  <a:lnTo>
                    <a:pt x="612" y="216"/>
                  </a:lnTo>
                  <a:lnTo>
                    <a:pt x="594" y="234"/>
                  </a:lnTo>
                  <a:lnTo>
                    <a:pt x="588" y="252"/>
                  </a:lnTo>
                  <a:lnTo>
                    <a:pt x="576" y="270"/>
                  </a:lnTo>
                  <a:lnTo>
                    <a:pt x="564" y="282"/>
                  </a:lnTo>
                  <a:lnTo>
                    <a:pt x="564" y="294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8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34" y="294"/>
                  </a:lnTo>
                  <a:lnTo>
                    <a:pt x="522" y="300"/>
                  </a:lnTo>
                  <a:lnTo>
                    <a:pt x="510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498" y="324"/>
                  </a:lnTo>
                  <a:lnTo>
                    <a:pt x="504" y="336"/>
                  </a:lnTo>
                  <a:lnTo>
                    <a:pt x="510" y="348"/>
                  </a:lnTo>
                  <a:lnTo>
                    <a:pt x="516" y="366"/>
                  </a:lnTo>
                  <a:lnTo>
                    <a:pt x="522" y="432"/>
                  </a:lnTo>
                  <a:lnTo>
                    <a:pt x="522" y="456"/>
                  </a:lnTo>
                  <a:lnTo>
                    <a:pt x="504" y="492"/>
                  </a:lnTo>
                  <a:lnTo>
                    <a:pt x="504" y="498"/>
                  </a:lnTo>
                  <a:lnTo>
                    <a:pt x="498" y="504"/>
                  </a:lnTo>
                  <a:lnTo>
                    <a:pt x="498" y="522"/>
                  </a:lnTo>
                  <a:lnTo>
                    <a:pt x="504" y="534"/>
                  </a:lnTo>
                  <a:lnTo>
                    <a:pt x="510" y="546"/>
                  </a:lnTo>
                  <a:lnTo>
                    <a:pt x="516" y="558"/>
                  </a:lnTo>
                  <a:lnTo>
                    <a:pt x="516" y="588"/>
                  </a:lnTo>
                  <a:lnTo>
                    <a:pt x="516" y="600"/>
                  </a:lnTo>
                  <a:lnTo>
                    <a:pt x="510" y="618"/>
                  </a:lnTo>
                  <a:lnTo>
                    <a:pt x="504" y="636"/>
                  </a:lnTo>
                  <a:lnTo>
                    <a:pt x="504" y="642"/>
                  </a:lnTo>
                  <a:lnTo>
                    <a:pt x="474" y="654"/>
                  </a:lnTo>
                  <a:lnTo>
                    <a:pt x="474" y="690"/>
                  </a:lnTo>
                  <a:lnTo>
                    <a:pt x="474" y="696"/>
                  </a:lnTo>
                  <a:lnTo>
                    <a:pt x="480" y="702"/>
                  </a:lnTo>
                  <a:lnTo>
                    <a:pt x="486" y="708"/>
                  </a:lnTo>
                  <a:lnTo>
                    <a:pt x="492" y="708"/>
                  </a:lnTo>
                  <a:lnTo>
                    <a:pt x="498" y="726"/>
                  </a:lnTo>
                  <a:lnTo>
                    <a:pt x="504" y="726"/>
                  </a:lnTo>
                  <a:lnTo>
                    <a:pt x="504" y="738"/>
                  </a:lnTo>
                  <a:lnTo>
                    <a:pt x="498" y="744"/>
                  </a:lnTo>
                  <a:lnTo>
                    <a:pt x="486" y="750"/>
                  </a:lnTo>
                  <a:lnTo>
                    <a:pt x="474" y="744"/>
                  </a:lnTo>
                  <a:lnTo>
                    <a:pt x="462" y="744"/>
                  </a:lnTo>
                  <a:lnTo>
                    <a:pt x="456" y="732"/>
                  </a:lnTo>
                  <a:lnTo>
                    <a:pt x="444" y="732"/>
                  </a:lnTo>
                  <a:lnTo>
                    <a:pt x="432" y="726"/>
                  </a:lnTo>
                  <a:lnTo>
                    <a:pt x="420" y="720"/>
                  </a:lnTo>
                  <a:lnTo>
                    <a:pt x="408" y="708"/>
                  </a:lnTo>
                  <a:lnTo>
                    <a:pt x="402" y="708"/>
                  </a:lnTo>
                  <a:lnTo>
                    <a:pt x="390" y="70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5" name="Freeform 20">
              <a:extLst>
                <a:ext uri="{FF2B5EF4-FFF2-40B4-BE49-F238E27FC236}">
                  <a16:creationId xmlns:a16="http://schemas.microsoft.com/office/drawing/2014/main" id="{B8342C3B-ECEC-465F-AAFF-4815B8AC392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870937"/>
              <a:ext cx="313067" cy="377968"/>
            </a:xfrm>
            <a:custGeom>
              <a:avLst/>
              <a:gdLst>
                <a:gd name="T0" fmla="*/ 15 w 588"/>
                <a:gd name="T1" fmla="*/ 59 h 714"/>
                <a:gd name="T2" fmla="*/ 14 w 588"/>
                <a:gd name="T3" fmla="*/ 58 h 714"/>
                <a:gd name="T4" fmla="*/ 9 w 588"/>
                <a:gd name="T5" fmla="*/ 54 h 714"/>
                <a:gd name="T6" fmla="*/ 4 w 588"/>
                <a:gd name="T7" fmla="*/ 54 h 714"/>
                <a:gd name="T8" fmla="*/ 0 w 588"/>
                <a:gd name="T9" fmla="*/ 50 h 714"/>
                <a:gd name="T10" fmla="*/ 0 w 588"/>
                <a:gd name="T11" fmla="*/ 44 h 714"/>
                <a:gd name="T12" fmla="*/ 4 w 588"/>
                <a:gd name="T13" fmla="*/ 46 h 714"/>
                <a:gd name="T14" fmla="*/ 7 w 588"/>
                <a:gd name="T15" fmla="*/ 47 h 714"/>
                <a:gd name="T16" fmla="*/ 10 w 588"/>
                <a:gd name="T17" fmla="*/ 46 h 714"/>
                <a:gd name="T18" fmla="*/ 8 w 588"/>
                <a:gd name="T19" fmla="*/ 44 h 714"/>
                <a:gd name="T20" fmla="*/ 10 w 588"/>
                <a:gd name="T21" fmla="*/ 39 h 714"/>
                <a:gd name="T22" fmla="*/ 11 w 588"/>
                <a:gd name="T23" fmla="*/ 34 h 714"/>
                <a:gd name="T24" fmla="*/ 9 w 588"/>
                <a:gd name="T25" fmla="*/ 28 h 714"/>
                <a:gd name="T26" fmla="*/ 11 w 588"/>
                <a:gd name="T27" fmla="*/ 22 h 714"/>
                <a:gd name="T28" fmla="*/ 10 w 588"/>
                <a:gd name="T29" fmla="*/ 12 h 714"/>
                <a:gd name="T30" fmla="*/ 9 w 588"/>
                <a:gd name="T31" fmla="*/ 9 h 714"/>
                <a:gd name="T32" fmla="*/ 12 w 588"/>
                <a:gd name="T33" fmla="*/ 8 h 714"/>
                <a:gd name="T34" fmla="*/ 14 w 588"/>
                <a:gd name="T35" fmla="*/ 7 h 714"/>
                <a:gd name="T36" fmla="*/ 17 w 588"/>
                <a:gd name="T37" fmla="*/ 10 h 714"/>
                <a:gd name="T38" fmla="*/ 23 w 588"/>
                <a:gd name="T39" fmla="*/ 14 h 714"/>
                <a:gd name="T40" fmla="*/ 28 w 588"/>
                <a:gd name="T41" fmla="*/ 4 h 714"/>
                <a:gd name="T42" fmla="*/ 35 w 588"/>
                <a:gd name="T43" fmla="*/ 2 h 714"/>
                <a:gd name="T44" fmla="*/ 38 w 588"/>
                <a:gd name="T45" fmla="*/ 0 h 714"/>
                <a:gd name="T46" fmla="*/ 40 w 588"/>
                <a:gd name="T47" fmla="*/ 2 h 714"/>
                <a:gd name="T48" fmla="*/ 39 w 588"/>
                <a:gd name="T49" fmla="*/ 4 h 714"/>
                <a:gd name="T50" fmla="*/ 41 w 588"/>
                <a:gd name="T51" fmla="*/ 5 h 714"/>
                <a:gd name="T52" fmla="*/ 42 w 588"/>
                <a:gd name="T53" fmla="*/ 7 h 714"/>
                <a:gd name="T54" fmla="*/ 43 w 588"/>
                <a:gd name="T55" fmla="*/ 9 h 714"/>
                <a:gd name="T56" fmla="*/ 43 w 588"/>
                <a:gd name="T57" fmla="*/ 10 h 714"/>
                <a:gd name="T58" fmla="*/ 43 w 588"/>
                <a:gd name="T59" fmla="*/ 12 h 714"/>
                <a:gd name="T60" fmla="*/ 44 w 588"/>
                <a:gd name="T61" fmla="*/ 12 h 714"/>
                <a:gd name="T62" fmla="*/ 46 w 588"/>
                <a:gd name="T63" fmla="*/ 13 h 714"/>
                <a:gd name="T64" fmla="*/ 47 w 588"/>
                <a:gd name="T65" fmla="*/ 14 h 714"/>
                <a:gd name="T66" fmla="*/ 48 w 588"/>
                <a:gd name="T67" fmla="*/ 15 h 714"/>
                <a:gd name="T68" fmla="*/ 49 w 588"/>
                <a:gd name="T69" fmla="*/ 15 h 714"/>
                <a:gd name="T70" fmla="*/ 48 w 588"/>
                <a:gd name="T71" fmla="*/ 17 h 714"/>
                <a:gd name="T72" fmla="*/ 49 w 588"/>
                <a:gd name="T73" fmla="*/ 19 h 714"/>
                <a:gd name="T74" fmla="*/ 49 w 588"/>
                <a:gd name="T75" fmla="*/ 20 h 714"/>
                <a:gd name="T76" fmla="*/ 51 w 588"/>
                <a:gd name="T77" fmla="*/ 21 h 714"/>
                <a:gd name="T78" fmla="*/ 50 w 588"/>
                <a:gd name="T79" fmla="*/ 22 h 714"/>
                <a:gd name="T80" fmla="*/ 47 w 588"/>
                <a:gd name="T81" fmla="*/ 23 h 714"/>
                <a:gd name="T82" fmla="*/ 47 w 588"/>
                <a:gd name="T83" fmla="*/ 26 h 714"/>
                <a:gd name="T84" fmla="*/ 47 w 588"/>
                <a:gd name="T85" fmla="*/ 32 h 714"/>
                <a:gd name="T86" fmla="*/ 44 w 588"/>
                <a:gd name="T87" fmla="*/ 35 h 714"/>
                <a:gd name="T88" fmla="*/ 42 w 588"/>
                <a:gd name="T89" fmla="*/ 39 h 714"/>
                <a:gd name="T90" fmla="*/ 42 w 588"/>
                <a:gd name="T91" fmla="*/ 41 h 714"/>
                <a:gd name="T92" fmla="*/ 42 w 588"/>
                <a:gd name="T93" fmla="*/ 42 h 714"/>
                <a:gd name="T94" fmla="*/ 41 w 588"/>
                <a:gd name="T95" fmla="*/ 44 h 714"/>
                <a:gd name="T96" fmla="*/ 39 w 588"/>
                <a:gd name="T97" fmla="*/ 43 h 714"/>
                <a:gd name="T98" fmla="*/ 37 w 588"/>
                <a:gd name="T99" fmla="*/ 44 h 714"/>
                <a:gd name="T100" fmla="*/ 35 w 588"/>
                <a:gd name="T101" fmla="*/ 46 h 714"/>
                <a:gd name="T102" fmla="*/ 31 w 588"/>
                <a:gd name="T103" fmla="*/ 45 h 714"/>
                <a:gd name="T104" fmla="*/ 24 w 588"/>
                <a:gd name="T105" fmla="*/ 45 h 714"/>
                <a:gd name="T106" fmla="*/ 25 w 588"/>
                <a:gd name="T107" fmla="*/ 47 h 714"/>
                <a:gd name="T108" fmla="*/ 25 w 588"/>
                <a:gd name="T109" fmla="*/ 49 h 714"/>
                <a:gd name="T110" fmla="*/ 25 w 588"/>
                <a:gd name="T111" fmla="*/ 50 h 714"/>
                <a:gd name="T112" fmla="*/ 24 w 588"/>
                <a:gd name="T113" fmla="*/ 51 h 714"/>
                <a:gd name="T114" fmla="*/ 22 w 588"/>
                <a:gd name="T115" fmla="*/ 53 h 714"/>
                <a:gd name="T116" fmla="*/ 23 w 588"/>
                <a:gd name="T117" fmla="*/ 56 h 714"/>
                <a:gd name="T118" fmla="*/ 20 w 588"/>
                <a:gd name="T119" fmla="*/ 58 h 714"/>
                <a:gd name="T120" fmla="*/ 19 w 588"/>
                <a:gd name="T121" fmla="*/ 62 h 7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8"/>
                <a:gd name="T184" fmla="*/ 0 h 714"/>
                <a:gd name="T185" fmla="*/ 588 w 588"/>
                <a:gd name="T186" fmla="*/ 714 h 7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8" h="714">
                  <a:moveTo>
                    <a:pt x="216" y="714"/>
                  </a:moveTo>
                  <a:lnTo>
                    <a:pt x="198" y="702"/>
                  </a:lnTo>
                  <a:lnTo>
                    <a:pt x="186" y="696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74" y="678"/>
                  </a:lnTo>
                  <a:lnTo>
                    <a:pt x="168" y="672"/>
                  </a:lnTo>
                  <a:lnTo>
                    <a:pt x="162" y="666"/>
                  </a:lnTo>
                  <a:lnTo>
                    <a:pt x="156" y="636"/>
                  </a:lnTo>
                  <a:lnTo>
                    <a:pt x="144" y="630"/>
                  </a:lnTo>
                  <a:lnTo>
                    <a:pt x="108" y="630"/>
                  </a:lnTo>
                  <a:lnTo>
                    <a:pt x="102" y="624"/>
                  </a:lnTo>
                  <a:lnTo>
                    <a:pt x="96" y="624"/>
                  </a:lnTo>
                  <a:lnTo>
                    <a:pt x="72" y="624"/>
                  </a:lnTo>
                  <a:lnTo>
                    <a:pt x="54" y="624"/>
                  </a:lnTo>
                  <a:lnTo>
                    <a:pt x="42" y="618"/>
                  </a:lnTo>
                  <a:lnTo>
                    <a:pt x="30" y="612"/>
                  </a:lnTo>
                  <a:lnTo>
                    <a:pt x="6" y="606"/>
                  </a:lnTo>
                  <a:lnTo>
                    <a:pt x="0" y="606"/>
                  </a:lnTo>
                  <a:lnTo>
                    <a:pt x="0" y="570"/>
                  </a:lnTo>
                  <a:lnTo>
                    <a:pt x="6" y="552"/>
                  </a:lnTo>
                  <a:lnTo>
                    <a:pt x="6" y="522"/>
                  </a:lnTo>
                  <a:lnTo>
                    <a:pt x="0" y="510"/>
                  </a:lnTo>
                  <a:lnTo>
                    <a:pt x="0" y="504"/>
                  </a:lnTo>
                  <a:lnTo>
                    <a:pt x="12" y="510"/>
                  </a:lnTo>
                  <a:lnTo>
                    <a:pt x="18" y="510"/>
                  </a:lnTo>
                  <a:lnTo>
                    <a:pt x="30" y="522"/>
                  </a:lnTo>
                  <a:lnTo>
                    <a:pt x="42" y="528"/>
                  </a:lnTo>
                  <a:lnTo>
                    <a:pt x="54" y="534"/>
                  </a:lnTo>
                  <a:lnTo>
                    <a:pt x="66" y="534"/>
                  </a:lnTo>
                  <a:lnTo>
                    <a:pt x="72" y="546"/>
                  </a:lnTo>
                  <a:lnTo>
                    <a:pt x="84" y="546"/>
                  </a:lnTo>
                  <a:lnTo>
                    <a:pt x="96" y="552"/>
                  </a:lnTo>
                  <a:lnTo>
                    <a:pt x="108" y="546"/>
                  </a:lnTo>
                  <a:lnTo>
                    <a:pt x="114" y="540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90" y="504"/>
                  </a:lnTo>
                  <a:lnTo>
                    <a:pt x="84" y="498"/>
                  </a:lnTo>
                  <a:lnTo>
                    <a:pt x="84" y="492"/>
                  </a:lnTo>
                  <a:lnTo>
                    <a:pt x="84" y="456"/>
                  </a:lnTo>
                  <a:lnTo>
                    <a:pt x="114" y="444"/>
                  </a:lnTo>
                  <a:lnTo>
                    <a:pt x="114" y="438"/>
                  </a:lnTo>
                  <a:lnTo>
                    <a:pt x="120" y="420"/>
                  </a:lnTo>
                  <a:lnTo>
                    <a:pt x="126" y="402"/>
                  </a:lnTo>
                  <a:lnTo>
                    <a:pt x="126" y="390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14" y="336"/>
                  </a:lnTo>
                  <a:lnTo>
                    <a:pt x="108" y="324"/>
                  </a:lnTo>
                  <a:lnTo>
                    <a:pt x="108" y="306"/>
                  </a:lnTo>
                  <a:lnTo>
                    <a:pt x="114" y="300"/>
                  </a:lnTo>
                  <a:lnTo>
                    <a:pt x="114" y="294"/>
                  </a:lnTo>
                  <a:lnTo>
                    <a:pt x="132" y="258"/>
                  </a:lnTo>
                  <a:lnTo>
                    <a:pt x="132" y="234"/>
                  </a:lnTo>
                  <a:lnTo>
                    <a:pt x="126" y="168"/>
                  </a:lnTo>
                  <a:lnTo>
                    <a:pt x="120" y="150"/>
                  </a:lnTo>
                  <a:lnTo>
                    <a:pt x="114" y="138"/>
                  </a:lnTo>
                  <a:lnTo>
                    <a:pt x="108" y="126"/>
                  </a:lnTo>
                  <a:lnTo>
                    <a:pt x="108" y="120"/>
                  </a:lnTo>
                  <a:lnTo>
                    <a:pt x="108" y="114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20" y="96"/>
                  </a:lnTo>
                  <a:lnTo>
                    <a:pt x="132" y="102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56" y="90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96"/>
                  </a:lnTo>
                  <a:lnTo>
                    <a:pt x="186" y="96"/>
                  </a:lnTo>
                  <a:lnTo>
                    <a:pt x="192" y="114"/>
                  </a:lnTo>
                  <a:lnTo>
                    <a:pt x="204" y="132"/>
                  </a:lnTo>
                  <a:lnTo>
                    <a:pt x="216" y="144"/>
                  </a:lnTo>
                  <a:lnTo>
                    <a:pt x="240" y="162"/>
                  </a:lnTo>
                  <a:lnTo>
                    <a:pt x="270" y="156"/>
                  </a:lnTo>
                  <a:lnTo>
                    <a:pt x="282" y="126"/>
                  </a:lnTo>
                  <a:lnTo>
                    <a:pt x="282" y="96"/>
                  </a:lnTo>
                  <a:lnTo>
                    <a:pt x="294" y="54"/>
                  </a:lnTo>
                  <a:lnTo>
                    <a:pt x="324" y="48"/>
                  </a:lnTo>
                  <a:lnTo>
                    <a:pt x="342" y="48"/>
                  </a:lnTo>
                  <a:lnTo>
                    <a:pt x="384" y="48"/>
                  </a:lnTo>
                  <a:lnTo>
                    <a:pt x="390" y="30"/>
                  </a:lnTo>
                  <a:lnTo>
                    <a:pt x="402" y="18"/>
                  </a:lnTo>
                  <a:lnTo>
                    <a:pt x="438" y="6"/>
                  </a:lnTo>
                  <a:lnTo>
                    <a:pt x="438" y="0"/>
                  </a:lnTo>
                  <a:lnTo>
                    <a:pt x="444" y="0"/>
                  </a:lnTo>
                  <a:lnTo>
                    <a:pt x="444" y="6"/>
                  </a:lnTo>
                  <a:lnTo>
                    <a:pt x="450" y="6"/>
                  </a:lnTo>
                  <a:lnTo>
                    <a:pt x="456" y="12"/>
                  </a:lnTo>
                  <a:lnTo>
                    <a:pt x="456" y="18"/>
                  </a:lnTo>
                  <a:lnTo>
                    <a:pt x="462" y="24"/>
                  </a:lnTo>
                  <a:lnTo>
                    <a:pt x="462" y="30"/>
                  </a:lnTo>
                  <a:lnTo>
                    <a:pt x="468" y="36"/>
                  </a:lnTo>
                  <a:lnTo>
                    <a:pt x="462" y="36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74" y="60"/>
                  </a:lnTo>
                  <a:lnTo>
                    <a:pt x="486" y="78"/>
                  </a:lnTo>
                  <a:lnTo>
                    <a:pt x="486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8" y="102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498" y="114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504" y="126"/>
                  </a:lnTo>
                  <a:lnTo>
                    <a:pt x="498" y="132"/>
                  </a:lnTo>
                  <a:lnTo>
                    <a:pt x="504" y="138"/>
                  </a:lnTo>
                  <a:lnTo>
                    <a:pt x="504" y="132"/>
                  </a:lnTo>
                  <a:lnTo>
                    <a:pt x="510" y="132"/>
                  </a:lnTo>
                  <a:lnTo>
                    <a:pt x="510" y="138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56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6" y="168"/>
                  </a:lnTo>
                  <a:lnTo>
                    <a:pt x="552" y="168"/>
                  </a:lnTo>
                  <a:lnTo>
                    <a:pt x="546" y="168"/>
                  </a:lnTo>
                  <a:lnTo>
                    <a:pt x="546" y="174"/>
                  </a:lnTo>
                  <a:lnTo>
                    <a:pt x="558" y="180"/>
                  </a:lnTo>
                  <a:lnTo>
                    <a:pt x="564" y="180"/>
                  </a:lnTo>
                  <a:lnTo>
                    <a:pt x="564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52" y="198"/>
                  </a:lnTo>
                  <a:lnTo>
                    <a:pt x="558" y="204"/>
                  </a:lnTo>
                  <a:lnTo>
                    <a:pt x="564" y="204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22"/>
                  </a:lnTo>
                  <a:lnTo>
                    <a:pt x="576" y="228"/>
                  </a:lnTo>
                  <a:lnTo>
                    <a:pt x="570" y="228"/>
                  </a:lnTo>
                  <a:lnTo>
                    <a:pt x="570" y="234"/>
                  </a:lnTo>
                  <a:lnTo>
                    <a:pt x="576" y="234"/>
                  </a:lnTo>
                  <a:lnTo>
                    <a:pt x="582" y="234"/>
                  </a:lnTo>
                  <a:lnTo>
                    <a:pt x="588" y="234"/>
                  </a:lnTo>
                  <a:lnTo>
                    <a:pt x="588" y="240"/>
                  </a:lnTo>
                  <a:lnTo>
                    <a:pt x="588" y="246"/>
                  </a:lnTo>
                  <a:lnTo>
                    <a:pt x="588" y="252"/>
                  </a:lnTo>
                  <a:lnTo>
                    <a:pt x="582" y="252"/>
                  </a:lnTo>
                  <a:lnTo>
                    <a:pt x="576" y="252"/>
                  </a:lnTo>
                  <a:lnTo>
                    <a:pt x="582" y="258"/>
                  </a:lnTo>
                  <a:lnTo>
                    <a:pt x="582" y="264"/>
                  </a:lnTo>
                  <a:lnTo>
                    <a:pt x="576" y="264"/>
                  </a:lnTo>
                  <a:lnTo>
                    <a:pt x="546" y="264"/>
                  </a:lnTo>
                  <a:lnTo>
                    <a:pt x="546" y="276"/>
                  </a:lnTo>
                  <a:lnTo>
                    <a:pt x="540" y="282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40" y="324"/>
                  </a:lnTo>
                  <a:lnTo>
                    <a:pt x="552" y="330"/>
                  </a:lnTo>
                  <a:lnTo>
                    <a:pt x="558" y="342"/>
                  </a:lnTo>
                  <a:lnTo>
                    <a:pt x="546" y="372"/>
                  </a:lnTo>
                  <a:lnTo>
                    <a:pt x="534" y="372"/>
                  </a:lnTo>
                  <a:lnTo>
                    <a:pt x="534" y="384"/>
                  </a:lnTo>
                  <a:lnTo>
                    <a:pt x="522" y="384"/>
                  </a:lnTo>
                  <a:lnTo>
                    <a:pt x="510" y="402"/>
                  </a:lnTo>
                  <a:lnTo>
                    <a:pt x="504" y="420"/>
                  </a:lnTo>
                  <a:lnTo>
                    <a:pt x="492" y="426"/>
                  </a:lnTo>
                  <a:lnTo>
                    <a:pt x="486" y="432"/>
                  </a:lnTo>
                  <a:lnTo>
                    <a:pt x="486" y="444"/>
                  </a:lnTo>
                  <a:lnTo>
                    <a:pt x="486" y="450"/>
                  </a:lnTo>
                  <a:lnTo>
                    <a:pt x="486" y="456"/>
                  </a:lnTo>
                  <a:lnTo>
                    <a:pt x="486" y="462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80" y="474"/>
                  </a:lnTo>
                  <a:lnTo>
                    <a:pt x="480" y="480"/>
                  </a:lnTo>
                  <a:lnTo>
                    <a:pt x="480" y="486"/>
                  </a:lnTo>
                  <a:lnTo>
                    <a:pt x="480" y="492"/>
                  </a:lnTo>
                  <a:lnTo>
                    <a:pt x="480" y="498"/>
                  </a:lnTo>
                  <a:lnTo>
                    <a:pt x="474" y="504"/>
                  </a:lnTo>
                  <a:lnTo>
                    <a:pt x="468" y="510"/>
                  </a:lnTo>
                  <a:lnTo>
                    <a:pt x="462" y="510"/>
                  </a:lnTo>
                  <a:lnTo>
                    <a:pt x="456" y="504"/>
                  </a:lnTo>
                  <a:lnTo>
                    <a:pt x="456" y="498"/>
                  </a:lnTo>
                  <a:lnTo>
                    <a:pt x="450" y="498"/>
                  </a:lnTo>
                  <a:lnTo>
                    <a:pt x="444" y="498"/>
                  </a:lnTo>
                  <a:lnTo>
                    <a:pt x="438" y="498"/>
                  </a:lnTo>
                  <a:lnTo>
                    <a:pt x="432" y="498"/>
                  </a:lnTo>
                  <a:lnTo>
                    <a:pt x="426" y="504"/>
                  </a:lnTo>
                  <a:lnTo>
                    <a:pt x="426" y="510"/>
                  </a:lnTo>
                  <a:lnTo>
                    <a:pt x="420" y="516"/>
                  </a:lnTo>
                  <a:lnTo>
                    <a:pt x="414" y="522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84" y="528"/>
                  </a:lnTo>
                  <a:lnTo>
                    <a:pt x="366" y="540"/>
                  </a:lnTo>
                  <a:lnTo>
                    <a:pt x="360" y="522"/>
                  </a:lnTo>
                  <a:lnTo>
                    <a:pt x="348" y="504"/>
                  </a:lnTo>
                  <a:lnTo>
                    <a:pt x="330" y="504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34"/>
                  </a:lnTo>
                  <a:lnTo>
                    <a:pt x="288" y="540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2" y="540"/>
                  </a:lnTo>
                  <a:lnTo>
                    <a:pt x="282" y="546"/>
                  </a:lnTo>
                  <a:lnTo>
                    <a:pt x="288" y="552"/>
                  </a:lnTo>
                  <a:lnTo>
                    <a:pt x="294" y="564"/>
                  </a:lnTo>
                  <a:lnTo>
                    <a:pt x="300" y="564"/>
                  </a:lnTo>
                  <a:lnTo>
                    <a:pt x="300" y="570"/>
                  </a:lnTo>
                  <a:lnTo>
                    <a:pt x="294" y="570"/>
                  </a:lnTo>
                  <a:lnTo>
                    <a:pt x="288" y="570"/>
                  </a:lnTo>
                  <a:lnTo>
                    <a:pt x="288" y="576"/>
                  </a:lnTo>
                  <a:lnTo>
                    <a:pt x="288" y="582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606"/>
                  </a:lnTo>
                  <a:lnTo>
                    <a:pt x="264" y="612"/>
                  </a:lnTo>
                  <a:lnTo>
                    <a:pt x="258" y="612"/>
                  </a:lnTo>
                  <a:lnTo>
                    <a:pt x="252" y="612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52" y="630"/>
                  </a:lnTo>
                  <a:lnTo>
                    <a:pt x="264" y="642"/>
                  </a:lnTo>
                  <a:lnTo>
                    <a:pt x="258" y="648"/>
                  </a:lnTo>
                  <a:lnTo>
                    <a:pt x="246" y="654"/>
                  </a:lnTo>
                  <a:lnTo>
                    <a:pt x="240" y="660"/>
                  </a:lnTo>
                  <a:lnTo>
                    <a:pt x="234" y="672"/>
                  </a:lnTo>
                  <a:lnTo>
                    <a:pt x="234" y="678"/>
                  </a:lnTo>
                  <a:lnTo>
                    <a:pt x="228" y="684"/>
                  </a:lnTo>
                  <a:lnTo>
                    <a:pt x="228" y="696"/>
                  </a:lnTo>
                  <a:lnTo>
                    <a:pt x="216" y="71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6" name="Freeform 21">
              <a:extLst>
                <a:ext uri="{FF2B5EF4-FFF2-40B4-BE49-F238E27FC236}">
                  <a16:creationId xmlns:a16="http://schemas.microsoft.com/office/drawing/2014/main" id="{DCB1E808-522D-4C19-B741-CC5DD56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4178" y="3866464"/>
              <a:ext cx="250453" cy="371259"/>
            </a:xfrm>
            <a:custGeom>
              <a:avLst/>
              <a:gdLst>
                <a:gd name="T0" fmla="*/ 0 w 468"/>
                <a:gd name="T1" fmla="*/ 61 h 696"/>
                <a:gd name="T2" fmla="*/ 1 w 468"/>
                <a:gd name="T3" fmla="*/ 58 h 696"/>
                <a:gd name="T4" fmla="*/ 2 w 468"/>
                <a:gd name="T5" fmla="*/ 54 h 696"/>
                <a:gd name="T6" fmla="*/ 3 w 468"/>
                <a:gd name="T7" fmla="*/ 51 h 696"/>
                <a:gd name="T8" fmla="*/ 4 w 468"/>
                <a:gd name="T9" fmla="*/ 48 h 696"/>
                <a:gd name="T10" fmla="*/ 6 w 468"/>
                <a:gd name="T11" fmla="*/ 44 h 696"/>
                <a:gd name="T12" fmla="*/ 5 w 468"/>
                <a:gd name="T13" fmla="*/ 41 h 696"/>
                <a:gd name="T14" fmla="*/ 7 w 468"/>
                <a:gd name="T15" fmla="*/ 38 h 696"/>
                <a:gd name="T16" fmla="*/ 8 w 468"/>
                <a:gd name="T17" fmla="*/ 36 h 696"/>
                <a:gd name="T18" fmla="*/ 7 w 468"/>
                <a:gd name="T19" fmla="*/ 33 h 696"/>
                <a:gd name="T20" fmla="*/ 6 w 468"/>
                <a:gd name="T21" fmla="*/ 29 h 696"/>
                <a:gd name="T22" fmla="*/ 4 w 468"/>
                <a:gd name="T23" fmla="*/ 22 h 696"/>
                <a:gd name="T24" fmla="*/ 2 w 468"/>
                <a:gd name="T25" fmla="*/ 14 h 696"/>
                <a:gd name="T26" fmla="*/ 12 w 468"/>
                <a:gd name="T27" fmla="*/ 11 h 696"/>
                <a:gd name="T28" fmla="*/ 14 w 468"/>
                <a:gd name="T29" fmla="*/ 2 h 696"/>
                <a:gd name="T30" fmla="*/ 16 w 468"/>
                <a:gd name="T31" fmla="*/ 0 h 696"/>
                <a:gd name="T32" fmla="*/ 17 w 468"/>
                <a:gd name="T33" fmla="*/ 0 h 696"/>
                <a:gd name="T34" fmla="*/ 18 w 468"/>
                <a:gd name="T35" fmla="*/ 1 h 696"/>
                <a:gd name="T36" fmla="*/ 17 w 468"/>
                <a:gd name="T37" fmla="*/ 2 h 696"/>
                <a:gd name="T38" fmla="*/ 17 w 468"/>
                <a:gd name="T39" fmla="*/ 4 h 696"/>
                <a:gd name="T40" fmla="*/ 17 w 468"/>
                <a:gd name="T41" fmla="*/ 6 h 696"/>
                <a:gd name="T42" fmla="*/ 20 w 468"/>
                <a:gd name="T43" fmla="*/ 6 h 696"/>
                <a:gd name="T44" fmla="*/ 22 w 468"/>
                <a:gd name="T45" fmla="*/ 5 h 696"/>
                <a:gd name="T46" fmla="*/ 24 w 468"/>
                <a:gd name="T47" fmla="*/ 7 h 696"/>
                <a:gd name="T48" fmla="*/ 28 w 468"/>
                <a:gd name="T49" fmla="*/ 7 h 696"/>
                <a:gd name="T50" fmla="*/ 28 w 468"/>
                <a:gd name="T51" fmla="*/ 11 h 696"/>
                <a:gd name="T52" fmla="*/ 25 w 468"/>
                <a:gd name="T53" fmla="*/ 14 h 696"/>
                <a:gd name="T54" fmla="*/ 23 w 468"/>
                <a:gd name="T55" fmla="*/ 15 h 696"/>
                <a:gd name="T56" fmla="*/ 23 w 468"/>
                <a:gd name="T57" fmla="*/ 19 h 696"/>
                <a:gd name="T58" fmla="*/ 23 w 468"/>
                <a:gd name="T59" fmla="*/ 21 h 696"/>
                <a:gd name="T60" fmla="*/ 24 w 468"/>
                <a:gd name="T61" fmla="*/ 21 h 696"/>
                <a:gd name="T62" fmla="*/ 27 w 468"/>
                <a:gd name="T63" fmla="*/ 23 h 696"/>
                <a:gd name="T64" fmla="*/ 29 w 468"/>
                <a:gd name="T65" fmla="*/ 24 h 696"/>
                <a:gd name="T66" fmla="*/ 29 w 468"/>
                <a:gd name="T67" fmla="*/ 28 h 696"/>
                <a:gd name="T68" fmla="*/ 29 w 468"/>
                <a:gd name="T69" fmla="*/ 29 h 696"/>
                <a:gd name="T70" fmla="*/ 29 w 468"/>
                <a:gd name="T71" fmla="*/ 32 h 696"/>
                <a:gd name="T72" fmla="*/ 32 w 468"/>
                <a:gd name="T73" fmla="*/ 32 h 696"/>
                <a:gd name="T74" fmla="*/ 33 w 468"/>
                <a:gd name="T75" fmla="*/ 35 h 696"/>
                <a:gd name="T76" fmla="*/ 34 w 468"/>
                <a:gd name="T77" fmla="*/ 38 h 696"/>
                <a:gd name="T78" fmla="*/ 35 w 468"/>
                <a:gd name="T79" fmla="*/ 39 h 696"/>
                <a:gd name="T80" fmla="*/ 36 w 468"/>
                <a:gd name="T81" fmla="*/ 40 h 696"/>
                <a:gd name="T82" fmla="*/ 37 w 468"/>
                <a:gd name="T83" fmla="*/ 41 h 696"/>
                <a:gd name="T84" fmla="*/ 38 w 468"/>
                <a:gd name="T85" fmla="*/ 42 h 696"/>
                <a:gd name="T86" fmla="*/ 41 w 468"/>
                <a:gd name="T87" fmla="*/ 44 h 696"/>
                <a:gd name="T88" fmla="*/ 40 w 468"/>
                <a:gd name="T89" fmla="*/ 44 h 696"/>
                <a:gd name="T90" fmla="*/ 37 w 468"/>
                <a:gd name="T91" fmla="*/ 45 h 696"/>
                <a:gd name="T92" fmla="*/ 36 w 468"/>
                <a:gd name="T93" fmla="*/ 48 h 696"/>
                <a:gd name="T94" fmla="*/ 34 w 468"/>
                <a:gd name="T95" fmla="*/ 49 h 696"/>
                <a:gd name="T96" fmla="*/ 32 w 468"/>
                <a:gd name="T97" fmla="*/ 51 h 696"/>
                <a:gd name="T98" fmla="*/ 31 w 468"/>
                <a:gd name="T99" fmla="*/ 51 h 696"/>
                <a:gd name="T100" fmla="*/ 26 w 468"/>
                <a:gd name="T101" fmla="*/ 49 h 696"/>
                <a:gd name="T102" fmla="*/ 23 w 468"/>
                <a:gd name="T103" fmla="*/ 51 h 696"/>
                <a:gd name="T104" fmla="*/ 21 w 468"/>
                <a:gd name="T105" fmla="*/ 51 h 696"/>
                <a:gd name="T106" fmla="*/ 20 w 468"/>
                <a:gd name="T107" fmla="*/ 52 h 696"/>
                <a:gd name="T108" fmla="*/ 17 w 468"/>
                <a:gd name="T109" fmla="*/ 55 h 696"/>
                <a:gd name="T110" fmla="*/ 15 w 468"/>
                <a:gd name="T111" fmla="*/ 56 h 696"/>
                <a:gd name="T112" fmla="*/ 15 w 468"/>
                <a:gd name="T113" fmla="*/ 59 h 696"/>
                <a:gd name="T114" fmla="*/ 14 w 468"/>
                <a:gd name="T115" fmla="*/ 59 h 696"/>
                <a:gd name="T116" fmla="*/ 12 w 468"/>
                <a:gd name="T117" fmla="*/ 59 h 696"/>
                <a:gd name="T118" fmla="*/ 11 w 468"/>
                <a:gd name="T119" fmla="*/ 57 h 696"/>
                <a:gd name="T120" fmla="*/ 9 w 468"/>
                <a:gd name="T121" fmla="*/ 57 h 696"/>
                <a:gd name="T122" fmla="*/ 6 w 468"/>
                <a:gd name="T123" fmla="*/ 58 h 696"/>
                <a:gd name="T124" fmla="*/ 4 w 468"/>
                <a:gd name="T125" fmla="*/ 60 h 69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8"/>
                <a:gd name="T190" fmla="*/ 0 h 696"/>
                <a:gd name="T191" fmla="*/ 468 w 468"/>
                <a:gd name="T192" fmla="*/ 696 h 69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8" h="696">
                  <a:moveTo>
                    <a:pt x="30" y="696"/>
                  </a:moveTo>
                  <a:lnTo>
                    <a:pt x="18" y="696"/>
                  </a:lnTo>
                  <a:lnTo>
                    <a:pt x="6" y="696"/>
                  </a:lnTo>
                  <a:lnTo>
                    <a:pt x="0" y="690"/>
                  </a:lnTo>
                  <a:lnTo>
                    <a:pt x="6" y="678"/>
                  </a:lnTo>
                  <a:lnTo>
                    <a:pt x="12" y="666"/>
                  </a:lnTo>
                  <a:lnTo>
                    <a:pt x="18" y="654"/>
                  </a:lnTo>
                  <a:lnTo>
                    <a:pt x="18" y="642"/>
                  </a:lnTo>
                  <a:lnTo>
                    <a:pt x="18" y="618"/>
                  </a:lnTo>
                  <a:lnTo>
                    <a:pt x="24" y="606"/>
                  </a:lnTo>
                  <a:lnTo>
                    <a:pt x="30" y="594"/>
                  </a:lnTo>
                  <a:lnTo>
                    <a:pt x="30" y="582"/>
                  </a:lnTo>
                  <a:lnTo>
                    <a:pt x="36" y="576"/>
                  </a:lnTo>
                  <a:lnTo>
                    <a:pt x="42" y="564"/>
                  </a:lnTo>
                  <a:lnTo>
                    <a:pt x="48" y="546"/>
                  </a:lnTo>
                  <a:lnTo>
                    <a:pt x="48" y="528"/>
                  </a:lnTo>
                  <a:lnTo>
                    <a:pt x="60" y="516"/>
                  </a:lnTo>
                  <a:lnTo>
                    <a:pt x="66" y="504"/>
                  </a:lnTo>
                  <a:lnTo>
                    <a:pt x="66" y="492"/>
                  </a:lnTo>
                  <a:lnTo>
                    <a:pt x="60" y="480"/>
                  </a:lnTo>
                  <a:lnTo>
                    <a:pt x="54" y="468"/>
                  </a:lnTo>
                  <a:lnTo>
                    <a:pt x="60" y="456"/>
                  </a:lnTo>
                  <a:lnTo>
                    <a:pt x="72" y="450"/>
                  </a:lnTo>
                  <a:lnTo>
                    <a:pt x="84" y="438"/>
                  </a:lnTo>
                  <a:lnTo>
                    <a:pt x="90" y="426"/>
                  </a:lnTo>
                  <a:lnTo>
                    <a:pt x="90" y="420"/>
                  </a:lnTo>
                  <a:lnTo>
                    <a:pt x="90" y="408"/>
                  </a:lnTo>
                  <a:lnTo>
                    <a:pt x="90" y="402"/>
                  </a:lnTo>
                  <a:lnTo>
                    <a:pt x="84" y="396"/>
                  </a:lnTo>
                  <a:lnTo>
                    <a:pt x="78" y="378"/>
                  </a:lnTo>
                  <a:lnTo>
                    <a:pt x="72" y="360"/>
                  </a:lnTo>
                  <a:lnTo>
                    <a:pt x="66" y="348"/>
                  </a:lnTo>
                  <a:lnTo>
                    <a:pt x="72" y="336"/>
                  </a:lnTo>
                  <a:lnTo>
                    <a:pt x="66" y="306"/>
                  </a:lnTo>
                  <a:lnTo>
                    <a:pt x="54" y="276"/>
                  </a:lnTo>
                  <a:lnTo>
                    <a:pt x="42" y="252"/>
                  </a:lnTo>
                  <a:lnTo>
                    <a:pt x="36" y="222"/>
                  </a:lnTo>
                  <a:lnTo>
                    <a:pt x="30" y="192"/>
                  </a:lnTo>
                  <a:lnTo>
                    <a:pt x="24" y="162"/>
                  </a:lnTo>
                  <a:lnTo>
                    <a:pt x="42" y="174"/>
                  </a:lnTo>
                  <a:lnTo>
                    <a:pt x="120" y="138"/>
                  </a:lnTo>
                  <a:lnTo>
                    <a:pt x="132" y="126"/>
                  </a:lnTo>
                  <a:lnTo>
                    <a:pt x="120" y="54"/>
                  </a:lnTo>
                  <a:lnTo>
                    <a:pt x="156" y="30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0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8" y="18"/>
                  </a:lnTo>
                  <a:lnTo>
                    <a:pt x="198" y="24"/>
                  </a:lnTo>
                  <a:lnTo>
                    <a:pt x="198" y="30"/>
                  </a:lnTo>
                  <a:lnTo>
                    <a:pt x="198" y="42"/>
                  </a:lnTo>
                  <a:lnTo>
                    <a:pt x="198" y="48"/>
                  </a:lnTo>
                  <a:lnTo>
                    <a:pt x="192" y="60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28" y="60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34" y="60"/>
                  </a:lnTo>
                  <a:lnTo>
                    <a:pt x="252" y="60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312" y="84"/>
                  </a:lnTo>
                  <a:lnTo>
                    <a:pt x="318" y="96"/>
                  </a:lnTo>
                  <a:lnTo>
                    <a:pt x="318" y="102"/>
                  </a:lnTo>
                  <a:lnTo>
                    <a:pt x="312" y="120"/>
                  </a:lnTo>
                  <a:lnTo>
                    <a:pt x="306" y="132"/>
                  </a:lnTo>
                  <a:lnTo>
                    <a:pt x="294" y="144"/>
                  </a:lnTo>
                  <a:lnTo>
                    <a:pt x="282" y="156"/>
                  </a:lnTo>
                  <a:lnTo>
                    <a:pt x="276" y="162"/>
                  </a:lnTo>
                  <a:lnTo>
                    <a:pt x="270" y="162"/>
                  </a:lnTo>
                  <a:lnTo>
                    <a:pt x="264" y="174"/>
                  </a:lnTo>
                  <a:lnTo>
                    <a:pt x="264" y="192"/>
                  </a:lnTo>
                  <a:lnTo>
                    <a:pt x="264" y="216"/>
                  </a:lnTo>
                  <a:lnTo>
                    <a:pt x="258" y="216"/>
                  </a:lnTo>
                  <a:lnTo>
                    <a:pt x="258" y="228"/>
                  </a:lnTo>
                  <a:lnTo>
                    <a:pt x="252" y="234"/>
                  </a:lnTo>
                  <a:lnTo>
                    <a:pt x="258" y="240"/>
                  </a:lnTo>
                  <a:lnTo>
                    <a:pt x="264" y="240"/>
                  </a:lnTo>
                  <a:lnTo>
                    <a:pt x="270" y="240"/>
                  </a:lnTo>
                  <a:lnTo>
                    <a:pt x="276" y="240"/>
                  </a:lnTo>
                  <a:lnTo>
                    <a:pt x="288" y="240"/>
                  </a:lnTo>
                  <a:lnTo>
                    <a:pt x="300" y="246"/>
                  </a:lnTo>
                  <a:lnTo>
                    <a:pt x="306" y="258"/>
                  </a:lnTo>
                  <a:lnTo>
                    <a:pt x="312" y="264"/>
                  </a:lnTo>
                  <a:lnTo>
                    <a:pt x="318" y="276"/>
                  </a:lnTo>
                  <a:lnTo>
                    <a:pt x="330" y="282"/>
                  </a:lnTo>
                  <a:lnTo>
                    <a:pt x="330" y="300"/>
                  </a:lnTo>
                  <a:lnTo>
                    <a:pt x="336" y="312"/>
                  </a:lnTo>
                  <a:lnTo>
                    <a:pt x="336" y="318"/>
                  </a:lnTo>
                  <a:lnTo>
                    <a:pt x="336" y="330"/>
                  </a:lnTo>
                  <a:lnTo>
                    <a:pt x="324" y="330"/>
                  </a:lnTo>
                  <a:lnTo>
                    <a:pt x="330" y="336"/>
                  </a:lnTo>
                  <a:lnTo>
                    <a:pt x="330" y="342"/>
                  </a:lnTo>
                  <a:lnTo>
                    <a:pt x="336" y="348"/>
                  </a:lnTo>
                  <a:lnTo>
                    <a:pt x="330" y="360"/>
                  </a:lnTo>
                  <a:lnTo>
                    <a:pt x="336" y="372"/>
                  </a:lnTo>
                  <a:lnTo>
                    <a:pt x="354" y="366"/>
                  </a:lnTo>
                  <a:lnTo>
                    <a:pt x="366" y="366"/>
                  </a:lnTo>
                  <a:lnTo>
                    <a:pt x="372" y="378"/>
                  </a:lnTo>
                  <a:lnTo>
                    <a:pt x="372" y="390"/>
                  </a:lnTo>
                  <a:lnTo>
                    <a:pt x="378" y="396"/>
                  </a:lnTo>
                  <a:lnTo>
                    <a:pt x="378" y="408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44"/>
                  </a:lnTo>
                  <a:lnTo>
                    <a:pt x="390" y="444"/>
                  </a:lnTo>
                  <a:lnTo>
                    <a:pt x="396" y="444"/>
                  </a:lnTo>
                  <a:lnTo>
                    <a:pt x="402" y="450"/>
                  </a:lnTo>
                  <a:lnTo>
                    <a:pt x="408" y="450"/>
                  </a:lnTo>
                  <a:lnTo>
                    <a:pt x="408" y="462"/>
                  </a:lnTo>
                  <a:lnTo>
                    <a:pt x="408" y="468"/>
                  </a:lnTo>
                  <a:lnTo>
                    <a:pt x="414" y="474"/>
                  </a:lnTo>
                  <a:lnTo>
                    <a:pt x="420" y="474"/>
                  </a:lnTo>
                  <a:lnTo>
                    <a:pt x="420" y="480"/>
                  </a:lnTo>
                  <a:lnTo>
                    <a:pt x="426" y="480"/>
                  </a:lnTo>
                  <a:lnTo>
                    <a:pt x="432" y="480"/>
                  </a:lnTo>
                  <a:lnTo>
                    <a:pt x="462" y="486"/>
                  </a:lnTo>
                  <a:lnTo>
                    <a:pt x="468" y="492"/>
                  </a:lnTo>
                  <a:lnTo>
                    <a:pt x="468" y="498"/>
                  </a:lnTo>
                  <a:lnTo>
                    <a:pt x="462" y="498"/>
                  </a:lnTo>
                  <a:lnTo>
                    <a:pt x="456" y="498"/>
                  </a:lnTo>
                  <a:lnTo>
                    <a:pt x="456" y="504"/>
                  </a:lnTo>
                  <a:lnTo>
                    <a:pt x="456" y="510"/>
                  </a:lnTo>
                  <a:lnTo>
                    <a:pt x="450" y="516"/>
                  </a:lnTo>
                  <a:lnTo>
                    <a:pt x="426" y="516"/>
                  </a:lnTo>
                  <a:lnTo>
                    <a:pt x="408" y="528"/>
                  </a:lnTo>
                  <a:lnTo>
                    <a:pt x="408" y="546"/>
                  </a:lnTo>
                  <a:lnTo>
                    <a:pt x="414" y="552"/>
                  </a:lnTo>
                  <a:lnTo>
                    <a:pt x="408" y="558"/>
                  </a:lnTo>
                  <a:lnTo>
                    <a:pt x="402" y="564"/>
                  </a:lnTo>
                  <a:lnTo>
                    <a:pt x="384" y="564"/>
                  </a:lnTo>
                  <a:lnTo>
                    <a:pt x="372" y="564"/>
                  </a:lnTo>
                  <a:lnTo>
                    <a:pt x="372" y="576"/>
                  </a:lnTo>
                  <a:lnTo>
                    <a:pt x="366" y="576"/>
                  </a:lnTo>
                  <a:lnTo>
                    <a:pt x="366" y="582"/>
                  </a:lnTo>
                  <a:lnTo>
                    <a:pt x="360" y="582"/>
                  </a:lnTo>
                  <a:lnTo>
                    <a:pt x="348" y="576"/>
                  </a:lnTo>
                  <a:lnTo>
                    <a:pt x="336" y="570"/>
                  </a:lnTo>
                  <a:lnTo>
                    <a:pt x="324" y="570"/>
                  </a:lnTo>
                  <a:lnTo>
                    <a:pt x="300" y="564"/>
                  </a:lnTo>
                  <a:lnTo>
                    <a:pt x="282" y="564"/>
                  </a:lnTo>
                  <a:lnTo>
                    <a:pt x="270" y="570"/>
                  </a:lnTo>
                  <a:lnTo>
                    <a:pt x="264" y="576"/>
                  </a:lnTo>
                  <a:lnTo>
                    <a:pt x="258" y="576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34" y="594"/>
                  </a:lnTo>
                  <a:lnTo>
                    <a:pt x="228" y="600"/>
                  </a:lnTo>
                  <a:lnTo>
                    <a:pt x="210" y="618"/>
                  </a:lnTo>
                  <a:lnTo>
                    <a:pt x="210" y="624"/>
                  </a:lnTo>
                  <a:lnTo>
                    <a:pt x="192" y="630"/>
                  </a:lnTo>
                  <a:lnTo>
                    <a:pt x="186" y="630"/>
                  </a:lnTo>
                  <a:lnTo>
                    <a:pt x="180" y="636"/>
                  </a:lnTo>
                  <a:lnTo>
                    <a:pt x="174" y="642"/>
                  </a:lnTo>
                  <a:lnTo>
                    <a:pt x="168" y="642"/>
                  </a:lnTo>
                  <a:lnTo>
                    <a:pt x="168" y="654"/>
                  </a:lnTo>
                  <a:lnTo>
                    <a:pt x="168" y="678"/>
                  </a:lnTo>
                  <a:lnTo>
                    <a:pt x="162" y="684"/>
                  </a:lnTo>
                  <a:lnTo>
                    <a:pt x="156" y="684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72"/>
                  </a:lnTo>
                  <a:lnTo>
                    <a:pt x="138" y="672"/>
                  </a:lnTo>
                  <a:lnTo>
                    <a:pt x="138" y="666"/>
                  </a:lnTo>
                  <a:lnTo>
                    <a:pt x="132" y="660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48"/>
                  </a:lnTo>
                  <a:lnTo>
                    <a:pt x="102" y="654"/>
                  </a:lnTo>
                  <a:lnTo>
                    <a:pt x="90" y="654"/>
                  </a:lnTo>
                  <a:lnTo>
                    <a:pt x="84" y="654"/>
                  </a:lnTo>
                  <a:lnTo>
                    <a:pt x="72" y="660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36" y="684"/>
                  </a:lnTo>
                  <a:lnTo>
                    <a:pt x="30" y="6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7" name="Freeform 22">
              <a:extLst>
                <a:ext uri="{FF2B5EF4-FFF2-40B4-BE49-F238E27FC236}">
                  <a16:creationId xmlns:a16="http://schemas.microsoft.com/office/drawing/2014/main" id="{2F7A477D-6CF8-44B3-8B32-64EE03DC4D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2895" y="3967106"/>
              <a:ext cx="610479" cy="507686"/>
            </a:xfrm>
            <a:custGeom>
              <a:avLst/>
              <a:gdLst>
                <a:gd name="T0" fmla="*/ 87 w 1146"/>
                <a:gd name="T1" fmla="*/ 56 h 954"/>
                <a:gd name="T2" fmla="*/ 83 w 1146"/>
                <a:gd name="T3" fmla="*/ 66 h 954"/>
                <a:gd name="T4" fmla="*/ 74 w 1146"/>
                <a:gd name="T5" fmla="*/ 69 h 954"/>
                <a:gd name="T6" fmla="*/ 67 w 1146"/>
                <a:gd name="T7" fmla="*/ 75 h 954"/>
                <a:gd name="T8" fmla="*/ 59 w 1146"/>
                <a:gd name="T9" fmla="*/ 78 h 954"/>
                <a:gd name="T10" fmla="*/ 52 w 1146"/>
                <a:gd name="T11" fmla="*/ 77 h 954"/>
                <a:gd name="T12" fmla="*/ 48 w 1146"/>
                <a:gd name="T13" fmla="*/ 79 h 954"/>
                <a:gd name="T14" fmla="*/ 41 w 1146"/>
                <a:gd name="T15" fmla="*/ 82 h 954"/>
                <a:gd name="T16" fmla="*/ 29 w 1146"/>
                <a:gd name="T17" fmla="*/ 78 h 954"/>
                <a:gd name="T18" fmla="*/ 28 w 1146"/>
                <a:gd name="T19" fmla="*/ 76 h 954"/>
                <a:gd name="T20" fmla="*/ 28 w 1146"/>
                <a:gd name="T21" fmla="*/ 72 h 954"/>
                <a:gd name="T22" fmla="*/ 28 w 1146"/>
                <a:gd name="T23" fmla="*/ 74 h 954"/>
                <a:gd name="T24" fmla="*/ 21 w 1146"/>
                <a:gd name="T25" fmla="*/ 74 h 954"/>
                <a:gd name="T26" fmla="*/ 20 w 1146"/>
                <a:gd name="T27" fmla="*/ 67 h 954"/>
                <a:gd name="T28" fmla="*/ 23 w 1146"/>
                <a:gd name="T29" fmla="*/ 64 h 954"/>
                <a:gd name="T30" fmla="*/ 28 w 1146"/>
                <a:gd name="T31" fmla="*/ 65 h 954"/>
                <a:gd name="T32" fmla="*/ 32 w 1146"/>
                <a:gd name="T33" fmla="*/ 62 h 954"/>
                <a:gd name="T34" fmla="*/ 31 w 1146"/>
                <a:gd name="T35" fmla="*/ 56 h 954"/>
                <a:gd name="T36" fmla="*/ 36 w 1146"/>
                <a:gd name="T37" fmla="*/ 54 h 954"/>
                <a:gd name="T38" fmla="*/ 38 w 1146"/>
                <a:gd name="T39" fmla="*/ 54 h 954"/>
                <a:gd name="T40" fmla="*/ 32 w 1146"/>
                <a:gd name="T41" fmla="*/ 54 h 954"/>
                <a:gd name="T42" fmla="*/ 29 w 1146"/>
                <a:gd name="T43" fmla="*/ 59 h 954"/>
                <a:gd name="T44" fmla="*/ 26 w 1146"/>
                <a:gd name="T45" fmla="*/ 59 h 954"/>
                <a:gd name="T46" fmla="*/ 25 w 1146"/>
                <a:gd name="T47" fmla="*/ 61 h 954"/>
                <a:gd name="T48" fmla="*/ 20 w 1146"/>
                <a:gd name="T49" fmla="*/ 61 h 954"/>
                <a:gd name="T50" fmla="*/ 11 w 1146"/>
                <a:gd name="T51" fmla="*/ 54 h 954"/>
                <a:gd name="T52" fmla="*/ 14 w 1146"/>
                <a:gd name="T53" fmla="*/ 50 h 954"/>
                <a:gd name="T54" fmla="*/ 21 w 1146"/>
                <a:gd name="T55" fmla="*/ 51 h 954"/>
                <a:gd name="T56" fmla="*/ 24 w 1146"/>
                <a:gd name="T57" fmla="*/ 50 h 954"/>
                <a:gd name="T58" fmla="*/ 28 w 1146"/>
                <a:gd name="T59" fmla="*/ 48 h 954"/>
                <a:gd name="T60" fmla="*/ 30 w 1146"/>
                <a:gd name="T61" fmla="*/ 49 h 954"/>
                <a:gd name="T62" fmla="*/ 26 w 1146"/>
                <a:gd name="T63" fmla="*/ 47 h 954"/>
                <a:gd name="T64" fmla="*/ 20 w 1146"/>
                <a:gd name="T65" fmla="*/ 50 h 954"/>
                <a:gd name="T66" fmla="*/ 20 w 1146"/>
                <a:gd name="T67" fmla="*/ 44 h 954"/>
                <a:gd name="T68" fmla="*/ 19 w 1146"/>
                <a:gd name="T69" fmla="*/ 46 h 954"/>
                <a:gd name="T70" fmla="*/ 15 w 1146"/>
                <a:gd name="T71" fmla="*/ 49 h 954"/>
                <a:gd name="T72" fmla="*/ 8 w 1146"/>
                <a:gd name="T73" fmla="*/ 48 h 954"/>
                <a:gd name="T74" fmla="*/ 6 w 1146"/>
                <a:gd name="T75" fmla="*/ 41 h 954"/>
                <a:gd name="T76" fmla="*/ 10 w 1146"/>
                <a:gd name="T77" fmla="*/ 41 h 954"/>
                <a:gd name="T78" fmla="*/ 9 w 1146"/>
                <a:gd name="T79" fmla="*/ 39 h 954"/>
                <a:gd name="T80" fmla="*/ 14 w 1146"/>
                <a:gd name="T81" fmla="*/ 35 h 954"/>
                <a:gd name="T82" fmla="*/ 19 w 1146"/>
                <a:gd name="T83" fmla="*/ 32 h 954"/>
                <a:gd name="T84" fmla="*/ 20 w 1146"/>
                <a:gd name="T85" fmla="*/ 29 h 954"/>
                <a:gd name="T86" fmla="*/ 27 w 1146"/>
                <a:gd name="T87" fmla="*/ 27 h 954"/>
                <a:gd name="T88" fmla="*/ 33 w 1146"/>
                <a:gd name="T89" fmla="*/ 28 h 954"/>
                <a:gd name="T90" fmla="*/ 44 w 1146"/>
                <a:gd name="T91" fmla="*/ 27 h 954"/>
                <a:gd name="T92" fmla="*/ 52 w 1146"/>
                <a:gd name="T93" fmla="*/ 41 h 954"/>
                <a:gd name="T94" fmla="*/ 61 w 1146"/>
                <a:gd name="T95" fmla="*/ 40 h 954"/>
                <a:gd name="T96" fmla="*/ 69 w 1146"/>
                <a:gd name="T97" fmla="*/ 34 h 954"/>
                <a:gd name="T98" fmla="*/ 62 w 1146"/>
                <a:gd name="T99" fmla="*/ 12 h 954"/>
                <a:gd name="T100" fmla="*/ 74 w 1146"/>
                <a:gd name="T101" fmla="*/ 8 h 954"/>
                <a:gd name="T102" fmla="*/ 87 w 1146"/>
                <a:gd name="T103" fmla="*/ 1 h 954"/>
                <a:gd name="T104" fmla="*/ 99 w 1146"/>
                <a:gd name="T105" fmla="*/ 12 h 954"/>
                <a:gd name="T106" fmla="*/ 98 w 1146"/>
                <a:gd name="T107" fmla="*/ 27 h 954"/>
                <a:gd name="T108" fmla="*/ 16 w 1146"/>
                <a:gd name="T109" fmla="*/ 33 h 954"/>
                <a:gd name="T110" fmla="*/ 11 w 1146"/>
                <a:gd name="T111" fmla="*/ 36 h 954"/>
                <a:gd name="T112" fmla="*/ 5 w 1146"/>
                <a:gd name="T113" fmla="*/ 41 h 954"/>
                <a:gd name="T114" fmla="*/ 2 w 1146"/>
                <a:gd name="T115" fmla="*/ 36 h 954"/>
                <a:gd name="T116" fmla="*/ 5 w 1146"/>
                <a:gd name="T117" fmla="*/ 26 h 954"/>
                <a:gd name="T118" fmla="*/ 10 w 1146"/>
                <a:gd name="T119" fmla="*/ 20 h 954"/>
                <a:gd name="T120" fmla="*/ 13 w 1146"/>
                <a:gd name="T121" fmla="*/ 20 h 954"/>
                <a:gd name="T122" fmla="*/ 15 w 1146"/>
                <a:gd name="T123" fmla="*/ 27 h 95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46"/>
                <a:gd name="T187" fmla="*/ 0 h 954"/>
                <a:gd name="T188" fmla="*/ 1146 w 1146"/>
                <a:gd name="T189" fmla="*/ 954 h 95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46" h="954">
                  <a:moveTo>
                    <a:pt x="1056" y="498"/>
                  </a:moveTo>
                  <a:lnTo>
                    <a:pt x="1044" y="510"/>
                  </a:lnTo>
                  <a:lnTo>
                    <a:pt x="1032" y="516"/>
                  </a:lnTo>
                  <a:lnTo>
                    <a:pt x="1038" y="528"/>
                  </a:lnTo>
                  <a:lnTo>
                    <a:pt x="1050" y="540"/>
                  </a:lnTo>
                  <a:lnTo>
                    <a:pt x="1050" y="546"/>
                  </a:lnTo>
                  <a:lnTo>
                    <a:pt x="1050" y="564"/>
                  </a:lnTo>
                  <a:lnTo>
                    <a:pt x="1038" y="576"/>
                  </a:lnTo>
                  <a:lnTo>
                    <a:pt x="1032" y="588"/>
                  </a:lnTo>
                  <a:lnTo>
                    <a:pt x="1020" y="594"/>
                  </a:lnTo>
                  <a:lnTo>
                    <a:pt x="1008" y="594"/>
                  </a:lnTo>
                  <a:lnTo>
                    <a:pt x="1002" y="600"/>
                  </a:lnTo>
                  <a:lnTo>
                    <a:pt x="996" y="612"/>
                  </a:lnTo>
                  <a:lnTo>
                    <a:pt x="996" y="624"/>
                  </a:lnTo>
                  <a:lnTo>
                    <a:pt x="996" y="648"/>
                  </a:lnTo>
                  <a:lnTo>
                    <a:pt x="996" y="660"/>
                  </a:lnTo>
                  <a:lnTo>
                    <a:pt x="1002" y="672"/>
                  </a:lnTo>
                  <a:lnTo>
                    <a:pt x="1002" y="684"/>
                  </a:lnTo>
                  <a:lnTo>
                    <a:pt x="996" y="684"/>
                  </a:lnTo>
                  <a:lnTo>
                    <a:pt x="984" y="690"/>
                  </a:lnTo>
                  <a:lnTo>
                    <a:pt x="972" y="690"/>
                  </a:lnTo>
                  <a:lnTo>
                    <a:pt x="966" y="696"/>
                  </a:lnTo>
                  <a:lnTo>
                    <a:pt x="966" y="702"/>
                  </a:lnTo>
                  <a:lnTo>
                    <a:pt x="966" y="714"/>
                  </a:lnTo>
                  <a:lnTo>
                    <a:pt x="972" y="726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2" y="756"/>
                  </a:lnTo>
                  <a:lnTo>
                    <a:pt x="966" y="756"/>
                  </a:lnTo>
                  <a:lnTo>
                    <a:pt x="942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18" y="768"/>
                  </a:lnTo>
                  <a:lnTo>
                    <a:pt x="906" y="768"/>
                  </a:lnTo>
                  <a:lnTo>
                    <a:pt x="894" y="762"/>
                  </a:lnTo>
                  <a:lnTo>
                    <a:pt x="882" y="756"/>
                  </a:lnTo>
                  <a:lnTo>
                    <a:pt x="876" y="756"/>
                  </a:lnTo>
                  <a:lnTo>
                    <a:pt x="876" y="762"/>
                  </a:lnTo>
                  <a:lnTo>
                    <a:pt x="864" y="768"/>
                  </a:lnTo>
                  <a:lnTo>
                    <a:pt x="858" y="774"/>
                  </a:lnTo>
                  <a:lnTo>
                    <a:pt x="852" y="774"/>
                  </a:lnTo>
                  <a:lnTo>
                    <a:pt x="840" y="780"/>
                  </a:lnTo>
                  <a:lnTo>
                    <a:pt x="840" y="786"/>
                  </a:lnTo>
                  <a:lnTo>
                    <a:pt x="840" y="792"/>
                  </a:lnTo>
                  <a:lnTo>
                    <a:pt x="840" y="804"/>
                  </a:lnTo>
                  <a:lnTo>
                    <a:pt x="840" y="810"/>
                  </a:lnTo>
                  <a:lnTo>
                    <a:pt x="828" y="816"/>
                  </a:lnTo>
                  <a:lnTo>
                    <a:pt x="810" y="810"/>
                  </a:lnTo>
                  <a:lnTo>
                    <a:pt x="792" y="810"/>
                  </a:lnTo>
                  <a:lnTo>
                    <a:pt x="786" y="816"/>
                  </a:lnTo>
                  <a:lnTo>
                    <a:pt x="780" y="816"/>
                  </a:lnTo>
                  <a:lnTo>
                    <a:pt x="780" y="822"/>
                  </a:lnTo>
                  <a:lnTo>
                    <a:pt x="780" y="828"/>
                  </a:lnTo>
                  <a:lnTo>
                    <a:pt x="780" y="834"/>
                  </a:lnTo>
                  <a:lnTo>
                    <a:pt x="786" y="840"/>
                  </a:lnTo>
                  <a:lnTo>
                    <a:pt x="786" y="846"/>
                  </a:lnTo>
                  <a:lnTo>
                    <a:pt x="786" y="852"/>
                  </a:lnTo>
                  <a:lnTo>
                    <a:pt x="780" y="858"/>
                  </a:lnTo>
                  <a:lnTo>
                    <a:pt x="768" y="858"/>
                  </a:lnTo>
                  <a:lnTo>
                    <a:pt x="762" y="864"/>
                  </a:lnTo>
                  <a:lnTo>
                    <a:pt x="756" y="864"/>
                  </a:lnTo>
                  <a:lnTo>
                    <a:pt x="750" y="870"/>
                  </a:lnTo>
                  <a:lnTo>
                    <a:pt x="744" y="876"/>
                  </a:lnTo>
                  <a:lnTo>
                    <a:pt x="732" y="876"/>
                  </a:lnTo>
                  <a:lnTo>
                    <a:pt x="726" y="876"/>
                  </a:lnTo>
                  <a:lnTo>
                    <a:pt x="720" y="870"/>
                  </a:lnTo>
                  <a:lnTo>
                    <a:pt x="714" y="864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6" y="876"/>
                  </a:lnTo>
                  <a:lnTo>
                    <a:pt x="696" y="882"/>
                  </a:lnTo>
                  <a:lnTo>
                    <a:pt x="696" y="894"/>
                  </a:lnTo>
                  <a:lnTo>
                    <a:pt x="690" y="900"/>
                  </a:lnTo>
                  <a:lnTo>
                    <a:pt x="684" y="900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54" y="888"/>
                  </a:lnTo>
                  <a:lnTo>
                    <a:pt x="654" y="882"/>
                  </a:lnTo>
                  <a:lnTo>
                    <a:pt x="642" y="876"/>
                  </a:lnTo>
                  <a:lnTo>
                    <a:pt x="636" y="876"/>
                  </a:lnTo>
                  <a:lnTo>
                    <a:pt x="630" y="876"/>
                  </a:lnTo>
                  <a:lnTo>
                    <a:pt x="630" y="870"/>
                  </a:lnTo>
                  <a:lnTo>
                    <a:pt x="618" y="858"/>
                  </a:lnTo>
                  <a:lnTo>
                    <a:pt x="612" y="858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06" y="876"/>
                  </a:lnTo>
                  <a:lnTo>
                    <a:pt x="606" y="882"/>
                  </a:lnTo>
                  <a:lnTo>
                    <a:pt x="606" y="888"/>
                  </a:lnTo>
                  <a:lnTo>
                    <a:pt x="600" y="894"/>
                  </a:lnTo>
                  <a:lnTo>
                    <a:pt x="594" y="894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76" y="894"/>
                  </a:lnTo>
                  <a:lnTo>
                    <a:pt x="582" y="900"/>
                  </a:lnTo>
                  <a:lnTo>
                    <a:pt x="576" y="906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64" y="918"/>
                  </a:lnTo>
                  <a:lnTo>
                    <a:pt x="558" y="918"/>
                  </a:lnTo>
                  <a:lnTo>
                    <a:pt x="558" y="912"/>
                  </a:lnTo>
                  <a:lnTo>
                    <a:pt x="552" y="906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06"/>
                  </a:lnTo>
                  <a:lnTo>
                    <a:pt x="534" y="906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0" y="924"/>
                  </a:lnTo>
                  <a:lnTo>
                    <a:pt x="504" y="924"/>
                  </a:lnTo>
                  <a:lnTo>
                    <a:pt x="498" y="930"/>
                  </a:lnTo>
                  <a:lnTo>
                    <a:pt x="492" y="924"/>
                  </a:lnTo>
                  <a:lnTo>
                    <a:pt x="486" y="930"/>
                  </a:lnTo>
                  <a:lnTo>
                    <a:pt x="480" y="942"/>
                  </a:lnTo>
                  <a:lnTo>
                    <a:pt x="468" y="948"/>
                  </a:lnTo>
                  <a:lnTo>
                    <a:pt x="444" y="942"/>
                  </a:lnTo>
                  <a:lnTo>
                    <a:pt x="438" y="954"/>
                  </a:lnTo>
                  <a:lnTo>
                    <a:pt x="426" y="954"/>
                  </a:lnTo>
                  <a:lnTo>
                    <a:pt x="420" y="948"/>
                  </a:lnTo>
                  <a:lnTo>
                    <a:pt x="408" y="936"/>
                  </a:lnTo>
                  <a:lnTo>
                    <a:pt x="396" y="936"/>
                  </a:lnTo>
                  <a:lnTo>
                    <a:pt x="390" y="930"/>
                  </a:lnTo>
                  <a:lnTo>
                    <a:pt x="390" y="924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66" y="924"/>
                  </a:lnTo>
                  <a:lnTo>
                    <a:pt x="360" y="924"/>
                  </a:lnTo>
                  <a:lnTo>
                    <a:pt x="348" y="918"/>
                  </a:lnTo>
                  <a:lnTo>
                    <a:pt x="342" y="906"/>
                  </a:lnTo>
                  <a:lnTo>
                    <a:pt x="336" y="906"/>
                  </a:lnTo>
                  <a:lnTo>
                    <a:pt x="330" y="906"/>
                  </a:lnTo>
                  <a:lnTo>
                    <a:pt x="312" y="906"/>
                  </a:lnTo>
                  <a:lnTo>
                    <a:pt x="312" y="900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888"/>
                  </a:lnTo>
                  <a:lnTo>
                    <a:pt x="312" y="882"/>
                  </a:lnTo>
                  <a:lnTo>
                    <a:pt x="306" y="876"/>
                  </a:lnTo>
                  <a:lnTo>
                    <a:pt x="312" y="876"/>
                  </a:lnTo>
                  <a:lnTo>
                    <a:pt x="312" y="870"/>
                  </a:lnTo>
                  <a:lnTo>
                    <a:pt x="318" y="876"/>
                  </a:lnTo>
                  <a:lnTo>
                    <a:pt x="318" y="870"/>
                  </a:lnTo>
                  <a:lnTo>
                    <a:pt x="324" y="876"/>
                  </a:lnTo>
                  <a:lnTo>
                    <a:pt x="330" y="876"/>
                  </a:lnTo>
                  <a:lnTo>
                    <a:pt x="336" y="876"/>
                  </a:lnTo>
                  <a:lnTo>
                    <a:pt x="342" y="876"/>
                  </a:lnTo>
                  <a:lnTo>
                    <a:pt x="336" y="876"/>
                  </a:lnTo>
                  <a:lnTo>
                    <a:pt x="330" y="870"/>
                  </a:lnTo>
                  <a:lnTo>
                    <a:pt x="324" y="870"/>
                  </a:lnTo>
                  <a:lnTo>
                    <a:pt x="318" y="870"/>
                  </a:lnTo>
                  <a:lnTo>
                    <a:pt x="312" y="870"/>
                  </a:lnTo>
                  <a:lnTo>
                    <a:pt x="318" y="864"/>
                  </a:lnTo>
                  <a:lnTo>
                    <a:pt x="318" y="858"/>
                  </a:lnTo>
                  <a:lnTo>
                    <a:pt x="318" y="852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6" y="846"/>
                  </a:lnTo>
                  <a:lnTo>
                    <a:pt x="312" y="828"/>
                  </a:lnTo>
                  <a:lnTo>
                    <a:pt x="312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06" y="816"/>
                  </a:lnTo>
                  <a:lnTo>
                    <a:pt x="306" y="810"/>
                  </a:lnTo>
                  <a:lnTo>
                    <a:pt x="306" y="816"/>
                  </a:lnTo>
                  <a:lnTo>
                    <a:pt x="312" y="822"/>
                  </a:lnTo>
                  <a:lnTo>
                    <a:pt x="306" y="822"/>
                  </a:lnTo>
                  <a:lnTo>
                    <a:pt x="306" y="828"/>
                  </a:lnTo>
                  <a:lnTo>
                    <a:pt x="306" y="834"/>
                  </a:lnTo>
                  <a:lnTo>
                    <a:pt x="300" y="840"/>
                  </a:lnTo>
                  <a:lnTo>
                    <a:pt x="300" y="846"/>
                  </a:lnTo>
                  <a:lnTo>
                    <a:pt x="306" y="852"/>
                  </a:lnTo>
                  <a:lnTo>
                    <a:pt x="306" y="858"/>
                  </a:lnTo>
                  <a:lnTo>
                    <a:pt x="312" y="858"/>
                  </a:lnTo>
                  <a:lnTo>
                    <a:pt x="312" y="864"/>
                  </a:lnTo>
                  <a:lnTo>
                    <a:pt x="306" y="864"/>
                  </a:lnTo>
                  <a:lnTo>
                    <a:pt x="300" y="864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82" y="870"/>
                  </a:lnTo>
                  <a:lnTo>
                    <a:pt x="276" y="870"/>
                  </a:lnTo>
                  <a:lnTo>
                    <a:pt x="270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8" y="870"/>
                  </a:lnTo>
                  <a:lnTo>
                    <a:pt x="252" y="870"/>
                  </a:lnTo>
                  <a:lnTo>
                    <a:pt x="252" y="864"/>
                  </a:lnTo>
                  <a:lnTo>
                    <a:pt x="246" y="858"/>
                  </a:lnTo>
                  <a:lnTo>
                    <a:pt x="246" y="852"/>
                  </a:lnTo>
                  <a:lnTo>
                    <a:pt x="246" y="846"/>
                  </a:lnTo>
                  <a:lnTo>
                    <a:pt x="246" y="840"/>
                  </a:lnTo>
                  <a:lnTo>
                    <a:pt x="246" y="834"/>
                  </a:lnTo>
                  <a:lnTo>
                    <a:pt x="246" y="828"/>
                  </a:lnTo>
                  <a:lnTo>
                    <a:pt x="246" y="822"/>
                  </a:lnTo>
                  <a:lnTo>
                    <a:pt x="240" y="816"/>
                  </a:lnTo>
                  <a:lnTo>
                    <a:pt x="240" y="810"/>
                  </a:lnTo>
                  <a:lnTo>
                    <a:pt x="240" y="804"/>
                  </a:lnTo>
                  <a:lnTo>
                    <a:pt x="240" y="798"/>
                  </a:lnTo>
                  <a:lnTo>
                    <a:pt x="234" y="798"/>
                  </a:lnTo>
                  <a:lnTo>
                    <a:pt x="234" y="792"/>
                  </a:lnTo>
                  <a:lnTo>
                    <a:pt x="234" y="786"/>
                  </a:lnTo>
                  <a:lnTo>
                    <a:pt x="234" y="780"/>
                  </a:lnTo>
                  <a:lnTo>
                    <a:pt x="228" y="780"/>
                  </a:lnTo>
                  <a:lnTo>
                    <a:pt x="228" y="774"/>
                  </a:lnTo>
                  <a:lnTo>
                    <a:pt x="228" y="768"/>
                  </a:lnTo>
                  <a:lnTo>
                    <a:pt x="222" y="762"/>
                  </a:lnTo>
                  <a:lnTo>
                    <a:pt x="222" y="756"/>
                  </a:lnTo>
                  <a:lnTo>
                    <a:pt x="222" y="750"/>
                  </a:lnTo>
                  <a:lnTo>
                    <a:pt x="222" y="744"/>
                  </a:lnTo>
                  <a:lnTo>
                    <a:pt x="222" y="738"/>
                  </a:lnTo>
                  <a:lnTo>
                    <a:pt x="216" y="732"/>
                  </a:lnTo>
                  <a:lnTo>
                    <a:pt x="222" y="732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32"/>
                  </a:lnTo>
                  <a:lnTo>
                    <a:pt x="246" y="732"/>
                  </a:lnTo>
                  <a:lnTo>
                    <a:pt x="246" y="738"/>
                  </a:lnTo>
                  <a:lnTo>
                    <a:pt x="252" y="738"/>
                  </a:lnTo>
                  <a:lnTo>
                    <a:pt x="258" y="738"/>
                  </a:lnTo>
                  <a:lnTo>
                    <a:pt x="258" y="732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8" y="732"/>
                  </a:lnTo>
                  <a:lnTo>
                    <a:pt x="294" y="732"/>
                  </a:lnTo>
                  <a:lnTo>
                    <a:pt x="300" y="732"/>
                  </a:lnTo>
                  <a:lnTo>
                    <a:pt x="300" y="738"/>
                  </a:lnTo>
                  <a:lnTo>
                    <a:pt x="306" y="738"/>
                  </a:lnTo>
                  <a:lnTo>
                    <a:pt x="306" y="744"/>
                  </a:lnTo>
                  <a:lnTo>
                    <a:pt x="306" y="750"/>
                  </a:lnTo>
                  <a:lnTo>
                    <a:pt x="312" y="750"/>
                  </a:lnTo>
                  <a:lnTo>
                    <a:pt x="312" y="756"/>
                  </a:lnTo>
                  <a:lnTo>
                    <a:pt x="318" y="756"/>
                  </a:lnTo>
                  <a:lnTo>
                    <a:pt x="318" y="750"/>
                  </a:lnTo>
                  <a:lnTo>
                    <a:pt x="312" y="750"/>
                  </a:lnTo>
                  <a:lnTo>
                    <a:pt x="312" y="744"/>
                  </a:lnTo>
                  <a:lnTo>
                    <a:pt x="318" y="738"/>
                  </a:lnTo>
                  <a:lnTo>
                    <a:pt x="324" y="738"/>
                  </a:lnTo>
                  <a:lnTo>
                    <a:pt x="330" y="738"/>
                  </a:lnTo>
                  <a:lnTo>
                    <a:pt x="336" y="738"/>
                  </a:lnTo>
                  <a:lnTo>
                    <a:pt x="342" y="738"/>
                  </a:lnTo>
                  <a:lnTo>
                    <a:pt x="348" y="732"/>
                  </a:lnTo>
                  <a:lnTo>
                    <a:pt x="354" y="732"/>
                  </a:lnTo>
                  <a:lnTo>
                    <a:pt x="360" y="732"/>
                  </a:lnTo>
                  <a:lnTo>
                    <a:pt x="360" y="726"/>
                  </a:lnTo>
                  <a:lnTo>
                    <a:pt x="366" y="726"/>
                  </a:lnTo>
                  <a:lnTo>
                    <a:pt x="366" y="720"/>
                  </a:lnTo>
                  <a:lnTo>
                    <a:pt x="366" y="714"/>
                  </a:lnTo>
                  <a:lnTo>
                    <a:pt x="360" y="708"/>
                  </a:lnTo>
                  <a:lnTo>
                    <a:pt x="354" y="708"/>
                  </a:lnTo>
                  <a:lnTo>
                    <a:pt x="348" y="702"/>
                  </a:lnTo>
                  <a:lnTo>
                    <a:pt x="354" y="702"/>
                  </a:lnTo>
                  <a:lnTo>
                    <a:pt x="354" y="696"/>
                  </a:lnTo>
                  <a:lnTo>
                    <a:pt x="348" y="696"/>
                  </a:lnTo>
                  <a:lnTo>
                    <a:pt x="348" y="690"/>
                  </a:lnTo>
                  <a:lnTo>
                    <a:pt x="342" y="690"/>
                  </a:lnTo>
                  <a:lnTo>
                    <a:pt x="342" y="684"/>
                  </a:lnTo>
                  <a:lnTo>
                    <a:pt x="342" y="678"/>
                  </a:lnTo>
                  <a:lnTo>
                    <a:pt x="342" y="666"/>
                  </a:lnTo>
                  <a:lnTo>
                    <a:pt x="342" y="660"/>
                  </a:lnTo>
                  <a:lnTo>
                    <a:pt x="348" y="654"/>
                  </a:lnTo>
                  <a:lnTo>
                    <a:pt x="348" y="642"/>
                  </a:lnTo>
                  <a:lnTo>
                    <a:pt x="354" y="642"/>
                  </a:lnTo>
                  <a:lnTo>
                    <a:pt x="360" y="642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66" y="642"/>
                  </a:lnTo>
                  <a:lnTo>
                    <a:pt x="372" y="642"/>
                  </a:lnTo>
                  <a:lnTo>
                    <a:pt x="378" y="642"/>
                  </a:lnTo>
                  <a:lnTo>
                    <a:pt x="384" y="642"/>
                  </a:lnTo>
                  <a:lnTo>
                    <a:pt x="390" y="642"/>
                  </a:lnTo>
                  <a:lnTo>
                    <a:pt x="396" y="642"/>
                  </a:lnTo>
                  <a:lnTo>
                    <a:pt x="396" y="636"/>
                  </a:lnTo>
                  <a:lnTo>
                    <a:pt x="402" y="636"/>
                  </a:lnTo>
                  <a:lnTo>
                    <a:pt x="408" y="636"/>
                  </a:lnTo>
                  <a:lnTo>
                    <a:pt x="402" y="636"/>
                  </a:lnTo>
                  <a:lnTo>
                    <a:pt x="402" y="630"/>
                  </a:lnTo>
                  <a:lnTo>
                    <a:pt x="408" y="630"/>
                  </a:lnTo>
                  <a:lnTo>
                    <a:pt x="408" y="624"/>
                  </a:lnTo>
                  <a:lnTo>
                    <a:pt x="408" y="618"/>
                  </a:lnTo>
                  <a:lnTo>
                    <a:pt x="414" y="618"/>
                  </a:lnTo>
                  <a:lnTo>
                    <a:pt x="420" y="618"/>
                  </a:lnTo>
                  <a:lnTo>
                    <a:pt x="426" y="624"/>
                  </a:lnTo>
                  <a:lnTo>
                    <a:pt x="432" y="624"/>
                  </a:lnTo>
                  <a:lnTo>
                    <a:pt x="438" y="624"/>
                  </a:lnTo>
                  <a:lnTo>
                    <a:pt x="438" y="618"/>
                  </a:lnTo>
                  <a:lnTo>
                    <a:pt x="444" y="618"/>
                  </a:lnTo>
                  <a:lnTo>
                    <a:pt x="450" y="618"/>
                  </a:lnTo>
                  <a:lnTo>
                    <a:pt x="444" y="618"/>
                  </a:lnTo>
                  <a:lnTo>
                    <a:pt x="438" y="618"/>
                  </a:lnTo>
                  <a:lnTo>
                    <a:pt x="438" y="612"/>
                  </a:lnTo>
                  <a:lnTo>
                    <a:pt x="438" y="618"/>
                  </a:lnTo>
                  <a:lnTo>
                    <a:pt x="432" y="624"/>
                  </a:lnTo>
                  <a:lnTo>
                    <a:pt x="426" y="618"/>
                  </a:lnTo>
                  <a:lnTo>
                    <a:pt x="420" y="612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402" y="624"/>
                  </a:lnTo>
                  <a:lnTo>
                    <a:pt x="396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78" y="630"/>
                  </a:lnTo>
                  <a:lnTo>
                    <a:pt x="378" y="636"/>
                  </a:lnTo>
                  <a:lnTo>
                    <a:pt x="372" y="630"/>
                  </a:lnTo>
                  <a:lnTo>
                    <a:pt x="366" y="630"/>
                  </a:lnTo>
                  <a:lnTo>
                    <a:pt x="360" y="630"/>
                  </a:lnTo>
                  <a:lnTo>
                    <a:pt x="354" y="630"/>
                  </a:lnTo>
                  <a:lnTo>
                    <a:pt x="354" y="636"/>
                  </a:lnTo>
                  <a:lnTo>
                    <a:pt x="348" y="636"/>
                  </a:lnTo>
                  <a:lnTo>
                    <a:pt x="348" y="642"/>
                  </a:lnTo>
                  <a:lnTo>
                    <a:pt x="342" y="642"/>
                  </a:lnTo>
                  <a:lnTo>
                    <a:pt x="342" y="648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6" y="660"/>
                  </a:lnTo>
                  <a:lnTo>
                    <a:pt x="336" y="666"/>
                  </a:lnTo>
                  <a:lnTo>
                    <a:pt x="330" y="672"/>
                  </a:lnTo>
                  <a:lnTo>
                    <a:pt x="330" y="678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24" y="696"/>
                  </a:lnTo>
                  <a:lnTo>
                    <a:pt x="324" y="702"/>
                  </a:lnTo>
                  <a:lnTo>
                    <a:pt x="318" y="702"/>
                  </a:lnTo>
                  <a:lnTo>
                    <a:pt x="318" y="708"/>
                  </a:lnTo>
                  <a:lnTo>
                    <a:pt x="312" y="708"/>
                  </a:lnTo>
                  <a:lnTo>
                    <a:pt x="312" y="702"/>
                  </a:lnTo>
                  <a:lnTo>
                    <a:pt x="306" y="702"/>
                  </a:lnTo>
                  <a:lnTo>
                    <a:pt x="300" y="702"/>
                  </a:lnTo>
                  <a:lnTo>
                    <a:pt x="294" y="696"/>
                  </a:lnTo>
                  <a:lnTo>
                    <a:pt x="288" y="696"/>
                  </a:lnTo>
                  <a:lnTo>
                    <a:pt x="282" y="690"/>
                  </a:lnTo>
                  <a:lnTo>
                    <a:pt x="288" y="684"/>
                  </a:lnTo>
                  <a:lnTo>
                    <a:pt x="294" y="684"/>
                  </a:lnTo>
                  <a:lnTo>
                    <a:pt x="294" y="678"/>
                  </a:lnTo>
                  <a:lnTo>
                    <a:pt x="300" y="678"/>
                  </a:lnTo>
                  <a:lnTo>
                    <a:pt x="294" y="678"/>
                  </a:lnTo>
                  <a:lnTo>
                    <a:pt x="294" y="672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94" y="672"/>
                  </a:lnTo>
                  <a:lnTo>
                    <a:pt x="288" y="678"/>
                  </a:lnTo>
                  <a:lnTo>
                    <a:pt x="282" y="684"/>
                  </a:lnTo>
                  <a:lnTo>
                    <a:pt x="282" y="678"/>
                  </a:lnTo>
                  <a:lnTo>
                    <a:pt x="276" y="678"/>
                  </a:lnTo>
                  <a:lnTo>
                    <a:pt x="282" y="684"/>
                  </a:lnTo>
                  <a:lnTo>
                    <a:pt x="282" y="690"/>
                  </a:lnTo>
                  <a:lnTo>
                    <a:pt x="282" y="696"/>
                  </a:lnTo>
                  <a:lnTo>
                    <a:pt x="288" y="702"/>
                  </a:lnTo>
                  <a:lnTo>
                    <a:pt x="294" y="708"/>
                  </a:lnTo>
                  <a:lnTo>
                    <a:pt x="294" y="714"/>
                  </a:lnTo>
                  <a:lnTo>
                    <a:pt x="288" y="714"/>
                  </a:lnTo>
                  <a:lnTo>
                    <a:pt x="282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64" y="714"/>
                  </a:lnTo>
                  <a:lnTo>
                    <a:pt x="258" y="714"/>
                  </a:lnTo>
                  <a:lnTo>
                    <a:pt x="252" y="714"/>
                  </a:lnTo>
                  <a:lnTo>
                    <a:pt x="246" y="714"/>
                  </a:lnTo>
                  <a:lnTo>
                    <a:pt x="240" y="714"/>
                  </a:lnTo>
                  <a:lnTo>
                    <a:pt x="240" y="708"/>
                  </a:lnTo>
                  <a:lnTo>
                    <a:pt x="234" y="708"/>
                  </a:lnTo>
                  <a:lnTo>
                    <a:pt x="228" y="708"/>
                  </a:lnTo>
                  <a:lnTo>
                    <a:pt x="222" y="702"/>
                  </a:lnTo>
                  <a:lnTo>
                    <a:pt x="216" y="702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2" y="690"/>
                  </a:lnTo>
                  <a:lnTo>
                    <a:pt x="186" y="690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68" y="684"/>
                  </a:lnTo>
                  <a:lnTo>
                    <a:pt x="168" y="678"/>
                  </a:lnTo>
                  <a:lnTo>
                    <a:pt x="156" y="672"/>
                  </a:lnTo>
                  <a:lnTo>
                    <a:pt x="150" y="660"/>
                  </a:lnTo>
                  <a:lnTo>
                    <a:pt x="126" y="630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12"/>
                  </a:lnTo>
                  <a:lnTo>
                    <a:pt x="126" y="606"/>
                  </a:lnTo>
                  <a:lnTo>
                    <a:pt x="126" y="600"/>
                  </a:lnTo>
                  <a:lnTo>
                    <a:pt x="132" y="594"/>
                  </a:lnTo>
                  <a:lnTo>
                    <a:pt x="138" y="594"/>
                  </a:lnTo>
                  <a:lnTo>
                    <a:pt x="144" y="588"/>
                  </a:lnTo>
                  <a:lnTo>
                    <a:pt x="144" y="582"/>
                  </a:lnTo>
                  <a:lnTo>
                    <a:pt x="150" y="582"/>
                  </a:lnTo>
                  <a:lnTo>
                    <a:pt x="150" y="576"/>
                  </a:lnTo>
                  <a:lnTo>
                    <a:pt x="156" y="576"/>
                  </a:lnTo>
                  <a:lnTo>
                    <a:pt x="156" y="582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8" y="576"/>
                  </a:lnTo>
                  <a:lnTo>
                    <a:pt x="174" y="576"/>
                  </a:lnTo>
                  <a:lnTo>
                    <a:pt x="180" y="582"/>
                  </a:lnTo>
                  <a:lnTo>
                    <a:pt x="192" y="582"/>
                  </a:lnTo>
                  <a:lnTo>
                    <a:pt x="198" y="582"/>
                  </a:lnTo>
                  <a:lnTo>
                    <a:pt x="204" y="582"/>
                  </a:lnTo>
                  <a:lnTo>
                    <a:pt x="210" y="582"/>
                  </a:lnTo>
                  <a:lnTo>
                    <a:pt x="216" y="588"/>
                  </a:lnTo>
                  <a:lnTo>
                    <a:pt x="222" y="588"/>
                  </a:lnTo>
                  <a:lnTo>
                    <a:pt x="234" y="588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46" y="594"/>
                  </a:lnTo>
                  <a:lnTo>
                    <a:pt x="252" y="588"/>
                  </a:lnTo>
                  <a:lnTo>
                    <a:pt x="258" y="588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52" y="600"/>
                  </a:lnTo>
                  <a:lnTo>
                    <a:pt x="246" y="600"/>
                  </a:lnTo>
                  <a:lnTo>
                    <a:pt x="246" y="606"/>
                  </a:lnTo>
                  <a:lnTo>
                    <a:pt x="246" y="600"/>
                  </a:lnTo>
                  <a:lnTo>
                    <a:pt x="252" y="600"/>
                  </a:lnTo>
                  <a:lnTo>
                    <a:pt x="258" y="594"/>
                  </a:lnTo>
                  <a:lnTo>
                    <a:pt x="264" y="594"/>
                  </a:lnTo>
                  <a:lnTo>
                    <a:pt x="264" y="588"/>
                  </a:lnTo>
                  <a:lnTo>
                    <a:pt x="270" y="588"/>
                  </a:lnTo>
                  <a:lnTo>
                    <a:pt x="270" y="582"/>
                  </a:lnTo>
                  <a:lnTo>
                    <a:pt x="270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76" y="564"/>
                  </a:lnTo>
                  <a:lnTo>
                    <a:pt x="270" y="558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58"/>
                  </a:lnTo>
                  <a:lnTo>
                    <a:pt x="282" y="558"/>
                  </a:lnTo>
                  <a:lnTo>
                    <a:pt x="288" y="558"/>
                  </a:lnTo>
                  <a:lnTo>
                    <a:pt x="294" y="558"/>
                  </a:lnTo>
                  <a:lnTo>
                    <a:pt x="300" y="558"/>
                  </a:lnTo>
                  <a:lnTo>
                    <a:pt x="306" y="558"/>
                  </a:lnTo>
                  <a:lnTo>
                    <a:pt x="312" y="558"/>
                  </a:lnTo>
                  <a:lnTo>
                    <a:pt x="318" y="558"/>
                  </a:lnTo>
                  <a:lnTo>
                    <a:pt x="318" y="564"/>
                  </a:lnTo>
                  <a:lnTo>
                    <a:pt x="324" y="564"/>
                  </a:lnTo>
                  <a:lnTo>
                    <a:pt x="324" y="570"/>
                  </a:lnTo>
                  <a:lnTo>
                    <a:pt x="330" y="570"/>
                  </a:lnTo>
                  <a:lnTo>
                    <a:pt x="336" y="570"/>
                  </a:lnTo>
                  <a:lnTo>
                    <a:pt x="342" y="570"/>
                  </a:lnTo>
                  <a:lnTo>
                    <a:pt x="348" y="570"/>
                  </a:lnTo>
                  <a:lnTo>
                    <a:pt x="354" y="570"/>
                  </a:lnTo>
                  <a:lnTo>
                    <a:pt x="360" y="570"/>
                  </a:lnTo>
                  <a:lnTo>
                    <a:pt x="366" y="570"/>
                  </a:lnTo>
                  <a:lnTo>
                    <a:pt x="360" y="570"/>
                  </a:lnTo>
                  <a:lnTo>
                    <a:pt x="360" y="564"/>
                  </a:lnTo>
                  <a:lnTo>
                    <a:pt x="354" y="564"/>
                  </a:lnTo>
                  <a:lnTo>
                    <a:pt x="348" y="564"/>
                  </a:lnTo>
                  <a:lnTo>
                    <a:pt x="342" y="564"/>
                  </a:lnTo>
                  <a:lnTo>
                    <a:pt x="342" y="570"/>
                  </a:lnTo>
                  <a:lnTo>
                    <a:pt x="336" y="564"/>
                  </a:lnTo>
                  <a:lnTo>
                    <a:pt x="336" y="570"/>
                  </a:lnTo>
                  <a:lnTo>
                    <a:pt x="336" y="564"/>
                  </a:lnTo>
                  <a:lnTo>
                    <a:pt x="330" y="564"/>
                  </a:lnTo>
                  <a:lnTo>
                    <a:pt x="324" y="558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18" y="558"/>
                  </a:lnTo>
                  <a:lnTo>
                    <a:pt x="312" y="552"/>
                  </a:lnTo>
                  <a:lnTo>
                    <a:pt x="312" y="558"/>
                  </a:lnTo>
                  <a:lnTo>
                    <a:pt x="312" y="552"/>
                  </a:lnTo>
                  <a:lnTo>
                    <a:pt x="306" y="552"/>
                  </a:lnTo>
                  <a:lnTo>
                    <a:pt x="300" y="546"/>
                  </a:lnTo>
                  <a:lnTo>
                    <a:pt x="294" y="546"/>
                  </a:lnTo>
                  <a:lnTo>
                    <a:pt x="288" y="546"/>
                  </a:lnTo>
                  <a:lnTo>
                    <a:pt x="282" y="546"/>
                  </a:lnTo>
                  <a:lnTo>
                    <a:pt x="276" y="546"/>
                  </a:lnTo>
                  <a:lnTo>
                    <a:pt x="276" y="552"/>
                  </a:lnTo>
                  <a:lnTo>
                    <a:pt x="270" y="552"/>
                  </a:lnTo>
                  <a:lnTo>
                    <a:pt x="270" y="558"/>
                  </a:lnTo>
                  <a:lnTo>
                    <a:pt x="270" y="564"/>
                  </a:lnTo>
                  <a:lnTo>
                    <a:pt x="264" y="570"/>
                  </a:lnTo>
                  <a:lnTo>
                    <a:pt x="258" y="576"/>
                  </a:lnTo>
                  <a:lnTo>
                    <a:pt x="258" y="582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34" y="576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16" y="552"/>
                  </a:lnTo>
                  <a:lnTo>
                    <a:pt x="216" y="546"/>
                  </a:lnTo>
                  <a:lnTo>
                    <a:pt x="216" y="540"/>
                  </a:lnTo>
                  <a:lnTo>
                    <a:pt x="222" y="534"/>
                  </a:lnTo>
                  <a:lnTo>
                    <a:pt x="222" y="528"/>
                  </a:lnTo>
                  <a:lnTo>
                    <a:pt x="228" y="522"/>
                  </a:lnTo>
                  <a:lnTo>
                    <a:pt x="228" y="516"/>
                  </a:lnTo>
                  <a:lnTo>
                    <a:pt x="228" y="510"/>
                  </a:lnTo>
                  <a:lnTo>
                    <a:pt x="234" y="510"/>
                  </a:lnTo>
                  <a:lnTo>
                    <a:pt x="240" y="516"/>
                  </a:lnTo>
                  <a:lnTo>
                    <a:pt x="246" y="522"/>
                  </a:lnTo>
                  <a:lnTo>
                    <a:pt x="246" y="516"/>
                  </a:lnTo>
                  <a:lnTo>
                    <a:pt x="240" y="516"/>
                  </a:lnTo>
                  <a:lnTo>
                    <a:pt x="240" y="510"/>
                  </a:lnTo>
                  <a:lnTo>
                    <a:pt x="234" y="510"/>
                  </a:lnTo>
                  <a:lnTo>
                    <a:pt x="234" y="504"/>
                  </a:lnTo>
                  <a:lnTo>
                    <a:pt x="228" y="504"/>
                  </a:lnTo>
                  <a:lnTo>
                    <a:pt x="222" y="504"/>
                  </a:lnTo>
                  <a:lnTo>
                    <a:pt x="222" y="498"/>
                  </a:lnTo>
                  <a:lnTo>
                    <a:pt x="222" y="504"/>
                  </a:lnTo>
                  <a:lnTo>
                    <a:pt x="222" y="510"/>
                  </a:lnTo>
                  <a:lnTo>
                    <a:pt x="222" y="516"/>
                  </a:lnTo>
                  <a:lnTo>
                    <a:pt x="216" y="522"/>
                  </a:lnTo>
                  <a:lnTo>
                    <a:pt x="216" y="528"/>
                  </a:lnTo>
                  <a:lnTo>
                    <a:pt x="210" y="528"/>
                  </a:lnTo>
                  <a:lnTo>
                    <a:pt x="216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04" y="546"/>
                  </a:lnTo>
                  <a:lnTo>
                    <a:pt x="204" y="552"/>
                  </a:lnTo>
                  <a:lnTo>
                    <a:pt x="204" y="558"/>
                  </a:lnTo>
                  <a:lnTo>
                    <a:pt x="204" y="564"/>
                  </a:lnTo>
                  <a:lnTo>
                    <a:pt x="198" y="570"/>
                  </a:lnTo>
                  <a:lnTo>
                    <a:pt x="192" y="564"/>
                  </a:lnTo>
                  <a:lnTo>
                    <a:pt x="186" y="564"/>
                  </a:lnTo>
                  <a:lnTo>
                    <a:pt x="180" y="564"/>
                  </a:lnTo>
                  <a:lnTo>
                    <a:pt x="174" y="564"/>
                  </a:lnTo>
                  <a:lnTo>
                    <a:pt x="168" y="564"/>
                  </a:lnTo>
                  <a:lnTo>
                    <a:pt x="162" y="564"/>
                  </a:lnTo>
                  <a:lnTo>
                    <a:pt x="156" y="570"/>
                  </a:lnTo>
                  <a:lnTo>
                    <a:pt x="150" y="570"/>
                  </a:lnTo>
                  <a:lnTo>
                    <a:pt x="150" y="564"/>
                  </a:lnTo>
                  <a:lnTo>
                    <a:pt x="150" y="570"/>
                  </a:lnTo>
                  <a:lnTo>
                    <a:pt x="150" y="576"/>
                  </a:lnTo>
                  <a:lnTo>
                    <a:pt x="144" y="576"/>
                  </a:lnTo>
                  <a:lnTo>
                    <a:pt x="138" y="576"/>
                  </a:lnTo>
                  <a:lnTo>
                    <a:pt x="132" y="582"/>
                  </a:lnTo>
                  <a:lnTo>
                    <a:pt x="126" y="582"/>
                  </a:lnTo>
                  <a:lnTo>
                    <a:pt x="120" y="582"/>
                  </a:lnTo>
                  <a:lnTo>
                    <a:pt x="114" y="576"/>
                  </a:lnTo>
                  <a:lnTo>
                    <a:pt x="108" y="564"/>
                  </a:lnTo>
                  <a:lnTo>
                    <a:pt x="102" y="558"/>
                  </a:lnTo>
                  <a:lnTo>
                    <a:pt x="96" y="552"/>
                  </a:lnTo>
                  <a:lnTo>
                    <a:pt x="90" y="546"/>
                  </a:lnTo>
                  <a:lnTo>
                    <a:pt x="90" y="540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2"/>
                  </a:lnTo>
                  <a:lnTo>
                    <a:pt x="78" y="516"/>
                  </a:lnTo>
                  <a:lnTo>
                    <a:pt x="72" y="510"/>
                  </a:lnTo>
                  <a:lnTo>
                    <a:pt x="66" y="504"/>
                  </a:lnTo>
                  <a:lnTo>
                    <a:pt x="66" y="498"/>
                  </a:lnTo>
                  <a:lnTo>
                    <a:pt x="66" y="492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6" y="474"/>
                  </a:lnTo>
                  <a:lnTo>
                    <a:pt x="72" y="474"/>
                  </a:lnTo>
                  <a:lnTo>
                    <a:pt x="72" y="468"/>
                  </a:lnTo>
                  <a:lnTo>
                    <a:pt x="78" y="462"/>
                  </a:lnTo>
                  <a:lnTo>
                    <a:pt x="78" y="456"/>
                  </a:lnTo>
                  <a:lnTo>
                    <a:pt x="84" y="456"/>
                  </a:lnTo>
                  <a:lnTo>
                    <a:pt x="84" y="450"/>
                  </a:lnTo>
                  <a:lnTo>
                    <a:pt x="84" y="444"/>
                  </a:lnTo>
                  <a:lnTo>
                    <a:pt x="90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02" y="450"/>
                  </a:lnTo>
                  <a:lnTo>
                    <a:pt x="108" y="450"/>
                  </a:lnTo>
                  <a:lnTo>
                    <a:pt x="108" y="456"/>
                  </a:lnTo>
                  <a:lnTo>
                    <a:pt x="108" y="462"/>
                  </a:lnTo>
                  <a:lnTo>
                    <a:pt x="114" y="462"/>
                  </a:lnTo>
                  <a:lnTo>
                    <a:pt x="114" y="468"/>
                  </a:lnTo>
                  <a:lnTo>
                    <a:pt x="114" y="474"/>
                  </a:lnTo>
                  <a:lnTo>
                    <a:pt x="114" y="480"/>
                  </a:lnTo>
                  <a:lnTo>
                    <a:pt x="114" y="486"/>
                  </a:lnTo>
                  <a:lnTo>
                    <a:pt x="120" y="486"/>
                  </a:lnTo>
                  <a:lnTo>
                    <a:pt x="126" y="486"/>
                  </a:lnTo>
                  <a:lnTo>
                    <a:pt x="132" y="486"/>
                  </a:lnTo>
                  <a:lnTo>
                    <a:pt x="126" y="480"/>
                  </a:lnTo>
                  <a:lnTo>
                    <a:pt x="120" y="480"/>
                  </a:lnTo>
                  <a:lnTo>
                    <a:pt x="114" y="480"/>
                  </a:lnTo>
                  <a:lnTo>
                    <a:pt x="120" y="480"/>
                  </a:lnTo>
                  <a:lnTo>
                    <a:pt x="120" y="474"/>
                  </a:lnTo>
                  <a:lnTo>
                    <a:pt x="120" y="468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108" y="450"/>
                  </a:lnTo>
                  <a:lnTo>
                    <a:pt x="108" y="444"/>
                  </a:lnTo>
                  <a:lnTo>
                    <a:pt x="114" y="438"/>
                  </a:lnTo>
                  <a:lnTo>
                    <a:pt x="120" y="438"/>
                  </a:lnTo>
                  <a:lnTo>
                    <a:pt x="120" y="432"/>
                  </a:lnTo>
                  <a:lnTo>
                    <a:pt x="132" y="426"/>
                  </a:lnTo>
                  <a:lnTo>
                    <a:pt x="138" y="420"/>
                  </a:lnTo>
                  <a:lnTo>
                    <a:pt x="144" y="420"/>
                  </a:lnTo>
                  <a:lnTo>
                    <a:pt x="144" y="414"/>
                  </a:lnTo>
                  <a:lnTo>
                    <a:pt x="144" y="420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6" y="414"/>
                  </a:lnTo>
                  <a:lnTo>
                    <a:pt x="162" y="414"/>
                  </a:lnTo>
                  <a:lnTo>
                    <a:pt x="162" y="408"/>
                  </a:lnTo>
                  <a:lnTo>
                    <a:pt x="168" y="408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86" y="396"/>
                  </a:lnTo>
                  <a:lnTo>
                    <a:pt x="186" y="390"/>
                  </a:lnTo>
                  <a:lnTo>
                    <a:pt x="192" y="390"/>
                  </a:lnTo>
                  <a:lnTo>
                    <a:pt x="198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210" y="378"/>
                  </a:lnTo>
                  <a:lnTo>
                    <a:pt x="210" y="372"/>
                  </a:lnTo>
                  <a:lnTo>
                    <a:pt x="216" y="372"/>
                  </a:lnTo>
                  <a:lnTo>
                    <a:pt x="222" y="366"/>
                  </a:lnTo>
                  <a:lnTo>
                    <a:pt x="228" y="360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6" y="348"/>
                  </a:lnTo>
                  <a:lnTo>
                    <a:pt x="252" y="348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0" y="342"/>
                  </a:lnTo>
                  <a:lnTo>
                    <a:pt x="234" y="342"/>
                  </a:lnTo>
                  <a:lnTo>
                    <a:pt x="228" y="336"/>
                  </a:lnTo>
                  <a:lnTo>
                    <a:pt x="222" y="336"/>
                  </a:lnTo>
                  <a:lnTo>
                    <a:pt x="216" y="336"/>
                  </a:lnTo>
                  <a:lnTo>
                    <a:pt x="222" y="324"/>
                  </a:lnTo>
                  <a:lnTo>
                    <a:pt x="222" y="318"/>
                  </a:lnTo>
                  <a:lnTo>
                    <a:pt x="222" y="312"/>
                  </a:lnTo>
                  <a:lnTo>
                    <a:pt x="234" y="318"/>
                  </a:lnTo>
                  <a:lnTo>
                    <a:pt x="246" y="318"/>
                  </a:lnTo>
                  <a:lnTo>
                    <a:pt x="258" y="318"/>
                  </a:lnTo>
                  <a:lnTo>
                    <a:pt x="270" y="312"/>
                  </a:lnTo>
                  <a:lnTo>
                    <a:pt x="276" y="312"/>
                  </a:lnTo>
                  <a:lnTo>
                    <a:pt x="288" y="324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94" y="306"/>
                  </a:lnTo>
                  <a:lnTo>
                    <a:pt x="300" y="300"/>
                  </a:lnTo>
                  <a:lnTo>
                    <a:pt x="306" y="306"/>
                  </a:lnTo>
                  <a:lnTo>
                    <a:pt x="312" y="318"/>
                  </a:lnTo>
                  <a:lnTo>
                    <a:pt x="318" y="312"/>
                  </a:lnTo>
                  <a:lnTo>
                    <a:pt x="324" y="312"/>
                  </a:lnTo>
                  <a:lnTo>
                    <a:pt x="330" y="312"/>
                  </a:lnTo>
                  <a:lnTo>
                    <a:pt x="342" y="306"/>
                  </a:lnTo>
                  <a:lnTo>
                    <a:pt x="348" y="306"/>
                  </a:lnTo>
                  <a:lnTo>
                    <a:pt x="348" y="312"/>
                  </a:lnTo>
                  <a:lnTo>
                    <a:pt x="348" y="318"/>
                  </a:lnTo>
                  <a:lnTo>
                    <a:pt x="354" y="318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60" y="336"/>
                  </a:lnTo>
                  <a:lnTo>
                    <a:pt x="366" y="330"/>
                  </a:lnTo>
                  <a:lnTo>
                    <a:pt x="378" y="324"/>
                  </a:lnTo>
                  <a:lnTo>
                    <a:pt x="384" y="324"/>
                  </a:lnTo>
                  <a:lnTo>
                    <a:pt x="384" y="318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6"/>
                  </a:lnTo>
                  <a:lnTo>
                    <a:pt x="402" y="306"/>
                  </a:lnTo>
                  <a:lnTo>
                    <a:pt x="408" y="306"/>
                  </a:lnTo>
                  <a:lnTo>
                    <a:pt x="414" y="300"/>
                  </a:lnTo>
                  <a:lnTo>
                    <a:pt x="420" y="300"/>
                  </a:lnTo>
                  <a:lnTo>
                    <a:pt x="426" y="300"/>
                  </a:lnTo>
                  <a:lnTo>
                    <a:pt x="432" y="300"/>
                  </a:lnTo>
                  <a:lnTo>
                    <a:pt x="444" y="288"/>
                  </a:lnTo>
                  <a:lnTo>
                    <a:pt x="450" y="294"/>
                  </a:lnTo>
                  <a:lnTo>
                    <a:pt x="468" y="300"/>
                  </a:lnTo>
                  <a:lnTo>
                    <a:pt x="498" y="312"/>
                  </a:lnTo>
                  <a:lnTo>
                    <a:pt x="504" y="324"/>
                  </a:lnTo>
                  <a:lnTo>
                    <a:pt x="516" y="330"/>
                  </a:lnTo>
                  <a:lnTo>
                    <a:pt x="516" y="336"/>
                  </a:lnTo>
                  <a:lnTo>
                    <a:pt x="540" y="342"/>
                  </a:lnTo>
                  <a:lnTo>
                    <a:pt x="558" y="372"/>
                  </a:lnTo>
                  <a:lnTo>
                    <a:pt x="594" y="384"/>
                  </a:lnTo>
                  <a:lnTo>
                    <a:pt x="606" y="402"/>
                  </a:lnTo>
                  <a:lnTo>
                    <a:pt x="600" y="420"/>
                  </a:lnTo>
                  <a:lnTo>
                    <a:pt x="588" y="444"/>
                  </a:lnTo>
                  <a:lnTo>
                    <a:pt x="588" y="450"/>
                  </a:lnTo>
                  <a:lnTo>
                    <a:pt x="588" y="456"/>
                  </a:lnTo>
                  <a:lnTo>
                    <a:pt x="594" y="456"/>
                  </a:lnTo>
                  <a:lnTo>
                    <a:pt x="594" y="462"/>
                  </a:lnTo>
                  <a:lnTo>
                    <a:pt x="594" y="468"/>
                  </a:lnTo>
                  <a:lnTo>
                    <a:pt x="594" y="474"/>
                  </a:lnTo>
                  <a:lnTo>
                    <a:pt x="600" y="474"/>
                  </a:lnTo>
                  <a:lnTo>
                    <a:pt x="606" y="480"/>
                  </a:lnTo>
                  <a:lnTo>
                    <a:pt x="606" y="486"/>
                  </a:lnTo>
                  <a:lnTo>
                    <a:pt x="612" y="486"/>
                  </a:lnTo>
                  <a:lnTo>
                    <a:pt x="618" y="486"/>
                  </a:lnTo>
                  <a:lnTo>
                    <a:pt x="624" y="486"/>
                  </a:lnTo>
                  <a:lnTo>
                    <a:pt x="636" y="486"/>
                  </a:lnTo>
                  <a:lnTo>
                    <a:pt x="642" y="486"/>
                  </a:lnTo>
                  <a:lnTo>
                    <a:pt x="648" y="480"/>
                  </a:lnTo>
                  <a:lnTo>
                    <a:pt x="654" y="474"/>
                  </a:lnTo>
                  <a:lnTo>
                    <a:pt x="660" y="468"/>
                  </a:lnTo>
                  <a:lnTo>
                    <a:pt x="666" y="468"/>
                  </a:lnTo>
                  <a:lnTo>
                    <a:pt x="684" y="468"/>
                  </a:lnTo>
                  <a:lnTo>
                    <a:pt x="696" y="468"/>
                  </a:lnTo>
                  <a:lnTo>
                    <a:pt x="696" y="462"/>
                  </a:lnTo>
                  <a:lnTo>
                    <a:pt x="702" y="456"/>
                  </a:lnTo>
                  <a:lnTo>
                    <a:pt x="708" y="450"/>
                  </a:lnTo>
                  <a:lnTo>
                    <a:pt x="714" y="450"/>
                  </a:lnTo>
                  <a:lnTo>
                    <a:pt x="720" y="450"/>
                  </a:lnTo>
                  <a:lnTo>
                    <a:pt x="720" y="438"/>
                  </a:lnTo>
                  <a:lnTo>
                    <a:pt x="726" y="432"/>
                  </a:lnTo>
                  <a:lnTo>
                    <a:pt x="738" y="420"/>
                  </a:lnTo>
                  <a:lnTo>
                    <a:pt x="744" y="420"/>
                  </a:lnTo>
                  <a:lnTo>
                    <a:pt x="750" y="414"/>
                  </a:lnTo>
                  <a:lnTo>
                    <a:pt x="762" y="408"/>
                  </a:lnTo>
                  <a:lnTo>
                    <a:pt x="768" y="408"/>
                  </a:lnTo>
                  <a:lnTo>
                    <a:pt x="768" y="402"/>
                  </a:lnTo>
                  <a:lnTo>
                    <a:pt x="780" y="396"/>
                  </a:lnTo>
                  <a:lnTo>
                    <a:pt x="786" y="396"/>
                  </a:lnTo>
                  <a:lnTo>
                    <a:pt x="786" y="390"/>
                  </a:lnTo>
                  <a:lnTo>
                    <a:pt x="792" y="384"/>
                  </a:lnTo>
                  <a:lnTo>
                    <a:pt x="792" y="378"/>
                  </a:lnTo>
                  <a:lnTo>
                    <a:pt x="798" y="366"/>
                  </a:lnTo>
                  <a:lnTo>
                    <a:pt x="804" y="360"/>
                  </a:lnTo>
                  <a:lnTo>
                    <a:pt x="816" y="342"/>
                  </a:lnTo>
                  <a:lnTo>
                    <a:pt x="816" y="312"/>
                  </a:lnTo>
                  <a:lnTo>
                    <a:pt x="804" y="300"/>
                  </a:lnTo>
                  <a:lnTo>
                    <a:pt x="798" y="288"/>
                  </a:lnTo>
                  <a:lnTo>
                    <a:pt x="762" y="264"/>
                  </a:lnTo>
                  <a:lnTo>
                    <a:pt x="738" y="234"/>
                  </a:lnTo>
                  <a:lnTo>
                    <a:pt x="738" y="222"/>
                  </a:lnTo>
                  <a:lnTo>
                    <a:pt x="744" y="210"/>
                  </a:lnTo>
                  <a:lnTo>
                    <a:pt x="732" y="174"/>
                  </a:lnTo>
                  <a:lnTo>
                    <a:pt x="714" y="156"/>
                  </a:lnTo>
                  <a:lnTo>
                    <a:pt x="708" y="144"/>
                  </a:lnTo>
                  <a:lnTo>
                    <a:pt x="714" y="126"/>
                  </a:lnTo>
                  <a:lnTo>
                    <a:pt x="720" y="114"/>
                  </a:lnTo>
                  <a:lnTo>
                    <a:pt x="732" y="102"/>
                  </a:lnTo>
                  <a:lnTo>
                    <a:pt x="744" y="102"/>
                  </a:lnTo>
                  <a:lnTo>
                    <a:pt x="762" y="108"/>
                  </a:lnTo>
                  <a:lnTo>
                    <a:pt x="774" y="114"/>
                  </a:lnTo>
                  <a:lnTo>
                    <a:pt x="780" y="138"/>
                  </a:lnTo>
                  <a:lnTo>
                    <a:pt x="786" y="144"/>
                  </a:lnTo>
                  <a:lnTo>
                    <a:pt x="798" y="138"/>
                  </a:lnTo>
                  <a:lnTo>
                    <a:pt x="804" y="132"/>
                  </a:lnTo>
                  <a:lnTo>
                    <a:pt x="816" y="120"/>
                  </a:lnTo>
                  <a:lnTo>
                    <a:pt x="816" y="108"/>
                  </a:lnTo>
                  <a:lnTo>
                    <a:pt x="828" y="102"/>
                  </a:lnTo>
                  <a:lnTo>
                    <a:pt x="828" y="96"/>
                  </a:lnTo>
                  <a:lnTo>
                    <a:pt x="840" y="96"/>
                  </a:lnTo>
                  <a:lnTo>
                    <a:pt x="840" y="84"/>
                  </a:lnTo>
                  <a:lnTo>
                    <a:pt x="852" y="90"/>
                  </a:lnTo>
                  <a:lnTo>
                    <a:pt x="852" y="96"/>
                  </a:lnTo>
                  <a:lnTo>
                    <a:pt x="870" y="90"/>
                  </a:lnTo>
                  <a:lnTo>
                    <a:pt x="894" y="78"/>
                  </a:lnTo>
                  <a:lnTo>
                    <a:pt x="912" y="78"/>
                  </a:lnTo>
                  <a:lnTo>
                    <a:pt x="942" y="66"/>
                  </a:lnTo>
                  <a:lnTo>
                    <a:pt x="942" y="60"/>
                  </a:lnTo>
                  <a:lnTo>
                    <a:pt x="954" y="48"/>
                  </a:lnTo>
                  <a:lnTo>
                    <a:pt x="966" y="30"/>
                  </a:lnTo>
                  <a:lnTo>
                    <a:pt x="978" y="30"/>
                  </a:lnTo>
                  <a:lnTo>
                    <a:pt x="978" y="24"/>
                  </a:lnTo>
                  <a:lnTo>
                    <a:pt x="984" y="12"/>
                  </a:lnTo>
                  <a:lnTo>
                    <a:pt x="990" y="12"/>
                  </a:lnTo>
                  <a:lnTo>
                    <a:pt x="996" y="12"/>
                  </a:lnTo>
                  <a:lnTo>
                    <a:pt x="1014" y="6"/>
                  </a:lnTo>
                  <a:lnTo>
                    <a:pt x="1026" y="6"/>
                  </a:lnTo>
                  <a:lnTo>
                    <a:pt x="1044" y="6"/>
                  </a:lnTo>
                  <a:lnTo>
                    <a:pt x="1050" y="6"/>
                  </a:lnTo>
                  <a:lnTo>
                    <a:pt x="1056" y="6"/>
                  </a:lnTo>
                  <a:lnTo>
                    <a:pt x="1062" y="6"/>
                  </a:lnTo>
                  <a:lnTo>
                    <a:pt x="1068" y="6"/>
                  </a:lnTo>
                  <a:lnTo>
                    <a:pt x="1074" y="6"/>
                  </a:lnTo>
                  <a:lnTo>
                    <a:pt x="1080" y="6"/>
                  </a:lnTo>
                  <a:lnTo>
                    <a:pt x="1086" y="0"/>
                  </a:lnTo>
                  <a:lnTo>
                    <a:pt x="1092" y="30"/>
                  </a:lnTo>
                  <a:lnTo>
                    <a:pt x="1098" y="60"/>
                  </a:lnTo>
                  <a:lnTo>
                    <a:pt x="1110" y="84"/>
                  </a:lnTo>
                  <a:lnTo>
                    <a:pt x="1122" y="114"/>
                  </a:lnTo>
                  <a:lnTo>
                    <a:pt x="1128" y="144"/>
                  </a:lnTo>
                  <a:lnTo>
                    <a:pt x="1122" y="156"/>
                  </a:lnTo>
                  <a:lnTo>
                    <a:pt x="1128" y="168"/>
                  </a:lnTo>
                  <a:lnTo>
                    <a:pt x="1134" y="186"/>
                  </a:lnTo>
                  <a:lnTo>
                    <a:pt x="1140" y="204"/>
                  </a:lnTo>
                  <a:lnTo>
                    <a:pt x="1146" y="210"/>
                  </a:lnTo>
                  <a:lnTo>
                    <a:pt x="1146" y="216"/>
                  </a:lnTo>
                  <a:lnTo>
                    <a:pt x="1146" y="228"/>
                  </a:lnTo>
                  <a:lnTo>
                    <a:pt x="1146" y="234"/>
                  </a:lnTo>
                  <a:lnTo>
                    <a:pt x="1140" y="246"/>
                  </a:lnTo>
                  <a:lnTo>
                    <a:pt x="1128" y="258"/>
                  </a:lnTo>
                  <a:lnTo>
                    <a:pt x="1116" y="264"/>
                  </a:lnTo>
                  <a:lnTo>
                    <a:pt x="1110" y="276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2" y="312"/>
                  </a:lnTo>
                  <a:lnTo>
                    <a:pt x="1116" y="324"/>
                  </a:lnTo>
                  <a:lnTo>
                    <a:pt x="1104" y="336"/>
                  </a:lnTo>
                  <a:lnTo>
                    <a:pt x="1104" y="354"/>
                  </a:lnTo>
                  <a:lnTo>
                    <a:pt x="1098" y="372"/>
                  </a:lnTo>
                  <a:lnTo>
                    <a:pt x="1092" y="384"/>
                  </a:lnTo>
                  <a:lnTo>
                    <a:pt x="1086" y="390"/>
                  </a:lnTo>
                  <a:lnTo>
                    <a:pt x="1086" y="402"/>
                  </a:lnTo>
                  <a:lnTo>
                    <a:pt x="1080" y="414"/>
                  </a:lnTo>
                  <a:lnTo>
                    <a:pt x="1074" y="426"/>
                  </a:lnTo>
                  <a:lnTo>
                    <a:pt x="1074" y="450"/>
                  </a:lnTo>
                  <a:lnTo>
                    <a:pt x="1074" y="462"/>
                  </a:lnTo>
                  <a:lnTo>
                    <a:pt x="1068" y="474"/>
                  </a:lnTo>
                  <a:lnTo>
                    <a:pt x="1062" y="486"/>
                  </a:lnTo>
                  <a:lnTo>
                    <a:pt x="1056" y="498"/>
                  </a:lnTo>
                  <a:close/>
                  <a:moveTo>
                    <a:pt x="186" y="378"/>
                  </a:moveTo>
                  <a:lnTo>
                    <a:pt x="186" y="384"/>
                  </a:lnTo>
                  <a:lnTo>
                    <a:pt x="180" y="390"/>
                  </a:lnTo>
                  <a:lnTo>
                    <a:pt x="174" y="396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14"/>
                  </a:lnTo>
                  <a:lnTo>
                    <a:pt x="126" y="414"/>
                  </a:lnTo>
                  <a:lnTo>
                    <a:pt x="120" y="414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2" y="426"/>
                  </a:lnTo>
                  <a:lnTo>
                    <a:pt x="102" y="432"/>
                  </a:lnTo>
                  <a:lnTo>
                    <a:pt x="96" y="432"/>
                  </a:lnTo>
                  <a:lnTo>
                    <a:pt x="90" y="432"/>
                  </a:lnTo>
                  <a:lnTo>
                    <a:pt x="84" y="438"/>
                  </a:lnTo>
                  <a:lnTo>
                    <a:pt x="78" y="438"/>
                  </a:lnTo>
                  <a:lnTo>
                    <a:pt x="78" y="444"/>
                  </a:lnTo>
                  <a:lnTo>
                    <a:pt x="72" y="444"/>
                  </a:lnTo>
                  <a:lnTo>
                    <a:pt x="72" y="450"/>
                  </a:lnTo>
                  <a:lnTo>
                    <a:pt x="66" y="456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48" y="468"/>
                  </a:lnTo>
                  <a:lnTo>
                    <a:pt x="42" y="468"/>
                  </a:lnTo>
                  <a:lnTo>
                    <a:pt x="42" y="462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8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0" y="396"/>
                  </a:lnTo>
                  <a:lnTo>
                    <a:pt x="6" y="384"/>
                  </a:lnTo>
                  <a:lnTo>
                    <a:pt x="18" y="372"/>
                  </a:lnTo>
                  <a:lnTo>
                    <a:pt x="30" y="348"/>
                  </a:lnTo>
                  <a:lnTo>
                    <a:pt x="30" y="342"/>
                  </a:lnTo>
                  <a:lnTo>
                    <a:pt x="42" y="330"/>
                  </a:lnTo>
                  <a:lnTo>
                    <a:pt x="42" y="324"/>
                  </a:lnTo>
                  <a:lnTo>
                    <a:pt x="48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60" y="282"/>
                  </a:lnTo>
                  <a:lnTo>
                    <a:pt x="60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2" y="258"/>
                  </a:lnTo>
                  <a:lnTo>
                    <a:pt x="84" y="246"/>
                  </a:lnTo>
                  <a:lnTo>
                    <a:pt x="90" y="234"/>
                  </a:lnTo>
                  <a:lnTo>
                    <a:pt x="96" y="234"/>
                  </a:lnTo>
                  <a:lnTo>
                    <a:pt x="96" y="228"/>
                  </a:lnTo>
                  <a:lnTo>
                    <a:pt x="102" y="222"/>
                  </a:lnTo>
                  <a:lnTo>
                    <a:pt x="102" y="228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14" y="228"/>
                  </a:lnTo>
                  <a:lnTo>
                    <a:pt x="114" y="234"/>
                  </a:lnTo>
                  <a:lnTo>
                    <a:pt x="120" y="228"/>
                  </a:lnTo>
                  <a:lnTo>
                    <a:pt x="120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26" y="228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8" y="234"/>
                  </a:lnTo>
                  <a:lnTo>
                    <a:pt x="144" y="234"/>
                  </a:lnTo>
                  <a:lnTo>
                    <a:pt x="144" y="228"/>
                  </a:lnTo>
                  <a:lnTo>
                    <a:pt x="150" y="228"/>
                  </a:lnTo>
                  <a:lnTo>
                    <a:pt x="156" y="228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46"/>
                  </a:lnTo>
                  <a:lnTo>
                    <a:pt x="162" y="240"/>
                  </a:lnTo>
                  <a:lnTo>
                    <a:pt x="162" y="246"/>
                  </a:lnTo>
                  <a:lnTo>
                    <a:pt x="162" y="258"/>
                  </a:lnTo>
                  <a:lnTo>
                    <a:pt x="162" y="264"/>
                  </a:lnTo>
                  <a:lnTo>
                    <a:pt x="156" y="270"/>
                  </a:lnTo>
                  <a:lnTo>
                    <a:pt x="162" y="270"/>
                  </a:lnTo>
                  <a:lnTo>
                    <a:pt x="162" y="282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86" y="288"/>
                  </a:lnTo>
                  <a:lnTo>
                    <a:pt x="186" y="294"/>
                  </a:lnTo>
                  <a:lnTo>
                    <a:pt x="180" y="300"/>
                  </a:lnTo>
                  <a:lnTo>
                    <a:pt x="174" y="318"/>
                  </a:lnTo>
                  <a:lnTo>
                    <a:pt x="174" y="324"/>
                  </a:lnTo>
                  <a:lnTo>
                    <a:pt x="168" y="330"/>
                  </a:lnTo>
                  <a:lnTo>
                    <a:pt x="168" y="342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74" y="360"/>
                  </a:lnTo>
                  <a:lnTo>
                    <a:pt x="180" y="366"/>
                  </a:lnTo>
                  <a:lnTo>
                    <a:pt x="186" y="3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8" name="Freeform 23">
              <a:extLst>
                <a:ext uri="{FF2B5EF4-FFF2-40B4-BE49-F238E27FC236}">
                  <a16:creationId xmlns:a16="http://schemas.microsoft.com/office/drawing/2014/main" id="{A539A33E-3F6E-4AF7-BD88-1853165307F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6312" y="3604793"/>
              <a:ext cx="581410" cy="621747"/>
            </a:xfrm>
            <a:custGeom>
              <a:avLst/>
              <a:gdLst>
                <a:gd name="T0" fmla="*/ 90 w 1092"/>
                <a:gd name="T1" fmla="*/ 60 h 1170"/>
                <a:gd name="T2" fmla="*/ 83 w 1092"/>
                <a:gd name="T3" fmla="*/ 62 h 1170"/>
                <a:gd name="T4" fmla="*/ 72 w 1092"/>
                <a:gd name="T5" fmla="*/ 68 h 1170"/>
                <a:gd name="T6" fmla="*/ 68 w 1092"/>
                <a:gd name="T7" fmla="*/ 71 h 1170"/>
                <a:gd name="T8" fmla="*/ 61 w 1092"/>
                <a:gd name="T9" fmla="*/ 69 h 1170"/>
                <a:gd name="T10" fmla="*/ 64 w 1092"/>
                <a:gd name="T11" fmla="*/ 82 h 1170"/>
                <a:gd name="T12" fmla="*/ 67 w 1092"/>
                <a:gd name="T13" fmla="*/ 93 h 1170"/>
                <a:gd name="T14" fmla="*/ 62 w 1092"/>
                <a:gd name="T15" fmla="*/ 96 h 1170"/>
                <a:gd name="T16" fmla="*/ 59 w 1092"/>
                <a:gd name="T17" fmla="*/ 99 h 1170"/>
                <a:gd name="T18" fmla="*/ 53 w 1092"/>
                <a:gd name="T19" fmla="*/ 101 h 1170"/>
                <a:gd name="T20" fmla="*/ 50 w 1092"/>
                <a:gd name="T21" fmla="*/ 100 h 1170"/>
                <a:gd name="T22" fmla="*/ 50 w 1092"/>
                <a:gd name="T23" fmla="*/ 93 h 1170"/>
                <a:gd name="T24" fmla="*/ 37 w 1092"/>
                <a:gd name="T25" fmla="*/ 85 h 1170"/>
                <a:gd name="T26" fmla="*/ 32 w 1092"/>
                <a:gd name="T27" fmla="*/ 86 h 1170"/>
                <a:gd name="T28" fmla="*/ 29 w 1092"/>
                <a:gd name="T29" fmla="*/ 88 h 1170"/>
                <a:gd name="T30" fmla="*/ 27 w 1092"/>
                <a:gd name="T31" fmla="*/ 86 h 1170"/>
                <a:gd name="T32" fmla="*/ 23 w 1092"/>
                <a:gd name="T33" fmla="*/ 87 h 1170"/>
                <a:gd name="T34" fmla="*/ 17 w 1092"/>
                <a:gd name="T35" fmla="*/ 87 h 1170"/>
                <a:gd name="T36" fmla="*/ 18 w 1092"/>
                <a:gd name="T37" fmla="*/ 89 h 1170"/>
                <a:gd name="T38" fmla="*/ 16 w 1092"/>
                <a:gd name="T39" fmla="*/ 92 h 1170"/>
                <a:gd name="T40" fmla="*/ 12 w 1092"/>
                <a:gd name="T41" fmla="*/ 89 h 1170"/>
                <a:gd name="T42" fmla="*/ 13 w 1092"/>
                <a:gd name="T43" fmla="*/ 84 h 1170"/>
                <a:gd name="T44" fmla="*/ 12 w 1092"/>
                <a:gd name="T45" fmla="*/ 80 h 1170"/>
                <a:gd name="T46" fmla="*/ 10 w 1092"/>
                <a:gd name="T47" fmla="*/ 80 h 1170"/>
                <a:gd name="T48" fmla="*/ 8 w 1092"/>
                <a:gd name="T49" fmla="*/ 79 h 1170"/>
                <a:gd name="T50" fmla="*/ 6 w 1092"/>
                <a:gd name="T51" fmla="*/ 78 h 1170"/>
                <a:gd name="T52" fmla="*/ 6 w 1092"/>
                <a:gd name="T53" fmla="*/ 77 h 1170"/>
                <a:gd name="T54" fmla="*/ 4 w 1092"/>
                <a:gd name="T55" fmla="*/ 75 h 1170"/>
                <a:gd name="T56" fmla="*/ 0 w 1092"/>
                <a:gd name="T57" fmla="*/ 72 h 1170"/>
                <a:gd name="T58" fmla="*/ 0 w 1092"/>
                <a:gd name="T59" fmla="*/ 69 h 1170"/>
                <a:gd name="T60" fmla="*/ 3 w 1092"/>
                <a:gd name="T61" fmla="*/ 67 h 1170"/>
                <a:gd name="T62" fmla="*/ 6 w 1092"/>
                <a:gd name="T63" fmla="*/ 62 h 1170"/>
                <a:gd name="T64" fmla="*/ 8 w 1092"/>
                <a:gd name="T65" fmla="*/ 58 h 1170"/>
                <a:gd name="T66" fmla="*/ 5 w 1092"/>
                <a:gd name="T67" fmla="*/ 54 h 1170"/>
                <a:gd name="T68" fmla="*/ 6 w 1092"/>
                <a:gd name="T69" fmla="*/ 50 h 1170"/>
                <a:gd name="T70" fmla="*/ 8 w 1092"/>
                <a:gd name="T71" fmla="*/ 46 h 1170"/>
                <a:gd name="T72" fmla="*/ 10 w 1092"/>
                <a:gd name="T73" fmla="*/ 43 h 1170"/>
                <a:gd name="T74" fmla="*/ 14 w 1092"/>
                <a:gd name="T75" fmla="*/ 38 h 1170"/>
                <a:gd name="T76" fmla="*/ 31 w 1092"/>
                <a:gd name="T77" fmla="*/ 40 h 1170"/>
                <a:gd name="T78" fmla="*/ 30 w 1092"/>
                <a:gd name="T79" fmla="*/ 46 h 1170"/>
                <a:gd name="T80" fmla="*/ 36 w 1092"/>
                <a:gd name="T81" fmla="*/ 47 h 1170"/>
                <a:gd name="T82" fmla="*/ 41 w 1092"/>
                <a:gd name="T83" fmla="*/ 44 h 1170"/>
                <a:gd name="T84" fmla="*/ 43 w 1092"/>
                <a:gd name="T85" fmla="*/ 39 h 1170"/>
                <a:gd name="T86" fmla="*/ 44 w 1092"/>
                <a:gd name="T87" fmla="*/ 35 h 1170"/>
                <a:gd name="T88" fmla="*/ 44 w 1092"/>
                <a:gd name="T89" fmla="*/ 29 h 1170"/>
                <a:gd name="T90" fmla="*/ 48 w 1092"/>
                <a:gd name="T91" fmla="*/ 24 h 1170"/>
                <a:gd name="T92" fmla="*/ 49 w 1092"/>
                <a:gd name="T93" fmla="*/ 19 h 1170"/>
                <a:gd name="T94" fmla="*/ 51 w 1092"/>
                <a:gd name="T95" fmla="*/ 14 h 1170"/>
                <a:gd name="T96" fmla="*/ 54 w 1092"/>
                <a:gd name="T97" fmla="*/ 10 h 1170"/>
                <a:gd name="T98" fmla="*/ 53 w 1092"/>
                <a:gd name="T99" fmla="*/ 7 h 1170"/>
                <a:gd name="T100" fmla="*/ 55 w 1092"/>
                <a:gd name="T101" fmla="*/ 3 h 1170"/>
                <a:gd name="T102" fmla="*/ 58 w 1092"/>
                <a:gd name="T103" fmla="*/ 0 h 1170"/>
                <a:gd name="T104" fmla="*/ 65 w 1092"/>
                <a:gd name="T105" fmla="*/ 2 h 1170"/>
                <a:gd name="T106" fmla="*/ 61 w 1092"/>
                <a:gd name="T107" fmla="*/ 6 h 1170"/>
                <a:gd name="T108" fmla="*/ 67 w 1092"/>
                <a:gd name="T109" fmla="*/ 7 h 1170"/>
                <a:gd name="T110" fmla="*/ 71 w 1092"/>
                <a:gd name="T111" fmla="*/ 6 h 1170"/>
                <a:gd name="T112" fmla="*/ 75 w 1092"/>
                <a:gd name="T113" fmla="*/ 9 h 1170"/>
                <a:gd name="T114" fmla="*/ 82 w 1092"/>
                <a:gd name="T115" fmla="*/ 12 h 1170"/>
                <a:gd name="T116" fmla="*/ 84 w 1092"/>
                <a:gd name="T117" fmla="*/ 17 h 1170"/>
                <a:gd name="T118" fmla="*/ 94 w 1092"/>
                <a:gd name="T119" fmla="*/ 23 h 1170"/>
                <a:gd name="T120" fmla="*/ 94 w 1092"/>
                <a:gd name="T121" fmla="*/ 34 h 1170"/>
                <a:gd name="T122" fmla="*/ 90 w 1092"/>
                <a:gd name="T123" fmla="*/ 41 h 1170"/>
                <a:gd name="T124" fmla="*/ 91 w 1092"/>
                <a:gd name="T125" fmla="*/ 51 h 11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92"/>
                <a:gd name="T190" fmla="*/ 0 h 1170"/>
                <a:gd name="T191" fmla="*/ 1092 w 1092"/>
                <a:gd name="T192" fmla="*/ 1170 h 117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92" h="1170">
                  <a:moveTo>
                    <a:pt x="1056" y="654"/>
                  </a:moveTo>
                  <a:lnTo>
                    <a:pt x="1062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0"/>
                  </a:lnTo>
                  <a:lnTo>
                    <a:pt x="1038" y="690"/>
                  </a:lnTo>
                  <a:lnTo>
                    <a:pt x="1032" y="690"/>
                  </a:lnTo>
                  <a:lnTo>
                    <a:pt x="1026" y="690"/>
                  </a:lnTo>
                  <a:lnTo>
                    <a:pt x="1020" y="690"/>
                  </a:lnTo>
                  <a:lnTo>
                    <a:pt x="1002" y="690"/>
                  </a:lnTo>
                  <a:lnTo>
                    <a:pt x="990" y="690"/>
                  </a:lnTo>
                  <a:lnTo>
                    <a:pt x="972" y="696"/>
                  </a:lnTo>
                  <a:lnTo>
                    <a:pt x="966" y="696"/>
                  </a:lnTo>
                  <a:lnTo>
                    <a:pt x="960" y="696"/>
                  </a:lnTo>
                  <a:lnTo>
                    <a:pt x="954" y="708"/>
                  </a:lnTo>
                  <a:lnTo>
                    <a:pt x="954" y="714"/>
                  </a:lnTo>
                  <a:lnTo>
                    <a:pt x="942" y="714"/>
                  </a:lnTo>
                  <a:lnTo>
                    <a:pt x="930" y="732"/>
                  </a:lnTo>
                  <a:lnTo>
                    <a:pt x="918" y="744"/>
                  </a:lnTo>
                  <a:lnTo>
                    <a:pt x="918" y="750"/>
                  </a:lnTo>
                  <a:lnTo>
                    <a:pt x="888" y="762"/>
                  </a:lnTo>
                  <a:lnTo>
                    <a:pt x="870" y="762"/>
                  </a:lnTo>
                  <a:lnTo>
                    <a:pt x="846" y="774"/>
                  </a:lnTo>
                  <a:lnTo>
                    <a:pt x="828" y="780"/>
                  </a:lnTo>
                  <a:lnTo>
                    <a:pt x="828" y="774"/>
                  </a:lnTo>
                  <a:lnTo>
                    <a:pt x="816" y="768"/>
                  </a:lnTo>
                  <a:lnTo>
                    <a:pt x="816" y="780"/>
                  </a:lnTo>
                  <a:lnTo>
                    <a:pt x="804" y="780"/>
                  </a:lnTo>
                  <a:lnTo>
                    <a:pt x="804" y="786"/>
                  </a:lnTo>
                  <a:lnTo>
                    <a:pt x="792" y="792"/>
                  </a:lnTo>
                  <a:lnTo>
                    <a:pt x="792" y="804"/>
                  </a:lnTo>
                  <a:lnTo>
                    <a:pt x="780" y="816"/>
                  </a:lnTo>
                  <a:lnTo>
                    <a:pt x="774" y="822"/>
                  </a:lnTo>
                  <a:lnTo>
                    <a:pt x="762" y="828"/>
                  </a:lnTo>
                  <a:lnTo>
                    <a:pt x="756" y="822"/>
                  </a:lnTo>
                  <a:lnTo>
                    <a:pt x="750" y="798"/>
                  </a:lnTo>
                  <a:lnTo>
                    <a:pt x="738" y="792"/>
                  </a:lnTo>
                  <a:lnTo>
                    <a:pt x="720" y="786"/>
                  </a:lnTo>
                  <a:lnTo>
                    <a:pt x="708" y="786"/>
                  </a:lnTo>
                  <a:lnTo>
                    <a:pt x="696" y="798"/>
                  </a:lnTo>
                  <a:lnTo>
                    <a:pt x="690" y="810"/>
                  </a:lnTo>
                  <a:lnTo>
                    <a:pt x="684" y="828"/>
                  </a:lnTo>
                  <a:lnTo>
                    <a:pt x="690" y="840"/>
                  </a:lnTo>
                  <a:lnTo>
                    <a:pt x="708" y="858"/>
                  </a:lnTo>
                  <a:lnTo>
                    <a:pt x="720" y="894"/>
                  </a:lnTo>
                  <a:lnTo>
                    <a:pt x="714" y="906"/>
                  </a:lnTo>
                  <a:lnTo>
                    <a:pt x="714" y="918"/>
                  </a:lnTo>
                  <a:lnTo>
                    <a:pt x="738" y="948"/>
                  </a:lnTo>
                  <a:lnTo>
                    <a:pt x="774" y="972"/>
                  </a:lnTo>
                  <a:lnTo>
                    <a:pt x="780" y="984"/>
                  </a:lnTo>
                  <a:lnTo>
                    <a:pt x="792" y="996"/>
                  </a:lnTo>
                  <a:lnTo>
                    <a:pt x="792" y="1026"/>
                  </a:lnTo>
                  <a:lnTo>
                    <a:pt x="780" y="1044"/>
                  </a:lnTo>
                  <a:lnTo>
                    <a:pt x="774" y="1050"/>
                  </a:lnTo>
                  <a:lnTo>
                    <a:pt x="768" y="1062"/>
                  </a:lnTo>
                  <a:lnTo>
                    <a:pt x="768" y="1068"/>
                  </a:lnTo>
                  <a:lnTo>
                    <a:pt x="762" y="1074"/>
                  </a:lnTo>
                  <a:lnTo>
                    <a:pt x="762" y="1080"/>
                  </a:lnTo>
                  <a:lnTo>
                    <a:pt x="756" y="1080"/>
                  </a:lnTo>
                  <a:lnTo>
                    <a:pt x="744" y="1086"/>
                  </a:lnTo>
                  <a:lnTo>
                    <a:pt x="744" y="1092"/>
                  </a:lnTo>
                  <a:lnTo>
                    <a:pt x="738" y="1092"/>
                  </a:lnTo>
                  <a:lnTo>
                    <a:pt x="726" y="1098"/>
                  </a:lnTo>
                  <a:lnTo>
                    <a:pt x="720" y="1104"/>
                  </a:lnTo>
                  <a:lnTo>
                    <a:pt x="714" y="1104"/>
                  </a:lnTo>
                  <a:lnTo>
                    <a:pt x="702" y="1116"/>
                  </a:lnTo>
                  <a:lnTo>
                    <a:pt x="696" y="1122"/>
                  </a:lnTo>
                  <a:lnTo>
                    <a:pt x="696" y="1134"/>
                  </a:lnTo>
                  <a:lnTo>
                    <a:pt x="690" y="1134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72" y="1146"/>
                  </a:lnTo>
                  <a:lnTo>
                    <a:pt x="672" y="1152"/>
                  </a:lnTo>
                  <a:lnTo>
                    <a:pt x="660" y="1152"/>
                  </a:lnTo>
                  <a:lnTo>
                    <a:pt x="642" y="1152"/>
                  </a:lnTo>
                  <a:lnTo>
                    <a:pt x="636" y="1152"/>
                  </a:lnTo>
                  <a:lnTo>
                    <a:pt x="630" y="1158"/>
                  </a:lnTo>
                  <a:lnTo>
                    <a:pt x="624" y="1164"/>
                  </a:lnTo>
                  <a:lnTo>
                    <a:pt x="618" y="1170"/>
                  </a:lnTo>
                  <a:lnTo>
                    <a:pt x="612" y="1170"/>
                  </a:lnTo>
                  <a:lnTo>
                    <a:pt x="600" y="1170"/>
                  </a:lnTo>
                  <a:lnTo>
                    <a:pt x="594" y="1170"/>
                  </a:lnTo>
                  <a:lnTo>
                    <a:pt x="588" y="1170"/>
                  </a:lnTo>
                  <a:lnTo>
                    <a:pt x="582" y="1170"/>
                  </a:lnTo>
                  <a:lnTo>
                    <a:pt x="582" y="1164"/>
                  </a:lnTo>
                  <a:lnTo>
                    <a:pt x="576" y="1158"/>
                  </a:lnTo>
                  <a:lnTo>
                    <a:pt x="570" y="1158"/>
                  </a:lnTo>
                  <a:lnTo>
                    <a:pt x="570" y="1152"/>
                  </a:lnTo>
                  <a:lnTo>
                    <a:pt x="570" y="1146"/>
                  </a:lnTo>
                  <a:lnTo>
                    <a:pt x="570" y="1140"/>
                  </a:lnTo>
                  <a:lnTo>
                    <a:pt x="564" y="1140"/>
                  </a:lnTo>
                  <a:lnTo>
                    <a:pt x="564" y="1134"/>
                  </a:lnTo>
                  <a:lnTo>
                    <a:pt x="564" y="1128"/>
                  </a:lnTo>
                  <a:lnTo>
                    <a:pt x="576" y="1104"/>
                  </a:lnTo>
                  <a:lnTo>
                    <a:pt x="582" y="1086"/>
                  </a:lnTo>
                  <a:lnTo>
                    <a:pt x="570" y="1068"/>
                  </a:lnTo>
                  <a:lnTo>
                    <a:pt x="534" y="1056"/>
                  </a:lnTo>
                  <a:lnTo>
                    <a:pt x="516" y="1026"/>
                  </a:lnTo>
                  <a:lnTo>
                    <a:pt x="492" y="1020"/>
                  </a:lnTo>
                  <a:lnTo>
                    <a:pt x="492" y="1014"/>
                  </a:lnTo>
                  <a:lnTo>
                    <a:pt x="480" y="1008"/>
                  </a:lnTo>
                  <a:lnTo>
                    <a:pt x="474" y="996"/>
                  </a:lnTo>
                  <a:lnTo>
                    <a:pt x="444" y="984"/>
                  </a:lnTo>
                  <a:lnTo>
                    <a:pt x="426" y="978"/>
                  </a:lnTo>
                  <a:lnTo>
                    <a:pt x="420" y="972"/>
                  </a:lnTo>
                  <a:lnTo>
                    <a:pt x="408" y="984"/>
                  </a:lnTo>
                  <a:lnTo>
                    <a:pt x="402" y="984"/>
                  </a:lnTo>
                  <a:lnTo>
                    <a:pt x="396" y="984"/>
                  </a:lnTo>
                  <a:lnTo>
                    <a:pt x="390" y="984"/>
                  </a:lnTo>
                  <a:lnTo>
                    <a:pt x="384" y="990"/>
                  </a:lnTo>
                  <a:lnTo>
                    <a:pt x="378" y="990"/>
                  </a:lnTo>
                  <a:lnTo>
                    <a:pt x="372" y="990"/>
                  </a:lnTo>
                  <a:lnTo>
                    <a:pt x="372" y="996"/>
                  </a:lnTo>
                  <a:lnTo>
                    <a:pt x="366" y="996"/>
                  </a:lnTo>
                  <a:lnTo>
                    <a:pt x="360" y="1002"/>
                  </a:lnTo>
                  <a:lnTo>
                    <a:pt x="360" y="1008"/>
                  </a:lnTo>
                  <a:lnTo>
                    <a:pt x="354" y="1008"/>
                  </a:lnTo>
                  <a:lnTo>
                    <a:pt x="342" y="1014"/>
                  </a:lnTo>
                  <a:lnTo>
                    <a:pt x="336" y="1020"/>
                  </a:lnTo>
                  <a:lnTo>
                    <a:pt x="336" y="1014"/>
                  </a:lnTo>
                  <a:lnTo>
                    <a:pt x="330" y="1014"/>
                  </a:lnTo>
                  <a:lnTo>
                    <a:pt x="330" y="1008"/>
                  </a:lnTo>
                  <a:lnTo>
                    <a:pt x="330" y="1002"/>
                  </a:lnTo>
                  <a:lnTo>
                    <a:pt x="324" y="1002"/>
                  </a:lnTo>
                  <a:lnTo>
                    <a:pt x="324" y="996"/>
                  </a:lnTo>
                  <a:lnTo>
                    <a:pt x="324" y="990"/>
                  </a:lnTo>
                  <a:lnTo>
                    <a:pt x="318" y="990"/>
                  </a:lnTo>
                  <a:lnTo>
                    <a:pt x="306" y="996"/>
                  </a:lnTo>
                  <a:lnTo>
                    <a:pt x="300" y="996"/>
                  </a:lnTo>
                  <a:lnTo>
                    <a:pt x="294" y="996"/>
                  </a:lnTo>
                  <a:lnTo>
                    <a:pt x="288" y="1002"/>
                  </a:lnTo>
                  <a:lnTo>
                    <a:pt x="282" y="990"/>
                  </a:lnTo>
                  <a:lnTo>
                    <a:pt x="276" y="984"/>
                  </a:lnTo>
                  <a:lnTo>
                    <a:pt x="270" y="990"/>
                  </a:lnTo>
                  <a:lnTo>
                    <a:pt x="270" y="996"/>
                  </a:lnTo>
                  <a:lnTo>
                    <a:pt x="270" y="1002"/>
                  </a:lnTo>
                  <a:lnTo>
                    <a:pt x="264" y="1008"/>
                  </a:lnTo>
                  <a:lnTo>
                    <a:pt x="252" y="996"/>
                  </a:lnTo>
                  <a:lnTo>
                    <a:pt x="246" y="996"/>
                  </a:lnTo>
                  <a:lnTo>
                    <a:pt x="234" y="1002"/>
                  </a:lnTo>
                  <a:lnTo>
                    <a:pt x="222" y="1002"/>
                  </a:lnTo>
                  <a:lnTo>
                    <a:pt x="210" y="1002"/>
                  </a:lnTo>
                  <a:lnTo>
                    <a:pt x="198" y="996"/>
                  </a:lnTo>
                  <a:lnTo>
                    <a:pt x="198" y="1002"/>
                  </a:lnTo>
                  <a:lnTo>
                    <a:pt x="198" y="1008"/>
                  </a:lnTo>
                  <a:lnTo>
                    <a:pt x="192" y="1020"/>
                  </a:lnTo>
                  <a:lnTo>
                    <a:pt x="198" y="1020"/>
                  </a:lnTo>
                  <a:lnTo>
                    <a:pt x="204" y="1020"/>
                  </a:lnTo>
                  <a:lnTo>
                    <a:pt x="210" y="1026"/>
                  </a:lnTo>
                  <a:lnTo>
                    <a:pt x="216" y="1026"/>
                  </a:lnTo>
                  <a:lnTo>
                    <a:pt x="216" y="1032"/>
                  </a:lnTo>
                  <a:lnTo>
                    <a:pt x="210" y="1032"/>
                  </a:lnTo>
                  <a:lnTo>
                    <a:pt x="210" y="1038"/>
                  </a:lnTo>
                  <a:lnTo>
                    <a:pt x="204" y="1038"/>
                  </a:lnTo>
                  <a:lnTo>
                    <a:pt x="204" y="1044"/>
                  </a:lnTo>
                  <a:lnTo>
                    <a:pt x="198" y="1044"/>
                  </a:lnTo>
                  <a:lnTo>
                    <a:pt x="192" y="1044"/>
                  </a:lnTo>
                  <a:lnTo>
                    <a:pt x="186" y="1050"/>
                  </a:lnTo>
                  <a:lnTo>
                    <a:pt x="186" y="1056"/>
                  </a:lnTo>
                  <a:lnTo>
                    <a:pt x="180" y="1056"/>
                  </a:lnTo>
                  <a:lnTo>
                    <a:pt x="180" y="1062"/>
                  </a:lnTo>
                  <a:lnTo>
                    <a:pt x="174" y="1062"/>
                  </a:lnTo>
                  <a:lnTo>
                    <a:pt x="168" y="1062"/>
                  </a:lnTo>
                  <a:lnTo>
                    <a:pt x="162" y="1062"/>
                  </a:lnTo>
                  <a:lnTo>
                    <a:pt x="156" y="1050"/>
                  </a:lnTo>
                  <a:lnTo>
                    <a:pt x="150" y="1044"/>
                  </a:lnTo>
                  <a:lnTo>
                    <a:pt x="150" y="1038"/>
                  </a:lnTo>
                  <a:lnTo>
                    <a:pt x="144" y="1032"/>
                  </a:lnTo>
                  <a:lnTo>
                    <a:pt x="144" y="1026"/>
                  </a:lnTo>
                  <a:lnTo>
                    <a:pt x="144" y="1014"/>
                  </a:lnTo>
                  <a:lnTo>
                    <a:pt x="150" y="1008"/>
                  </a:lnTo>
                  <a:lnTo>
                    <a:pt x="150" y="1002"/>
                  </a:lnTo>
                  <a:lnTo>
                    <a:pt x="156" y="984"/>
                  </a:lnTo>
                  <a:lnTo>
                    <a:pt x="162" y="978"/>
                  </a:lnTo>
                  <a:lnTo>
                    <a:pt x="162" y="972"/>
                  </a:lnTo>
                  <a:lnTo>
                    <a:pt x="150" y="966"/>
                  </a:lnTo>
                  <a:lnTo>
                    <a:pt x="144" y="966"/>
                  </a:lnTo>
                  <a:lnTo>
                    <a:pt x="138" y="966"/>
                  </a:lnTo>
                  <a:lnTo>
                    <a:pt x="138" y="954"/>
                  </a:lnTo>
                  <a:lnTo>
                    <a:pt x="132" y="954"/>
                  </a:lnTo>
                  <a:lnTo>
                    <a:pt x="138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8" y="924"/>
                  </a:lnTo>
                  <a:lnTo>
                    <a:pt x="132" y="930"/>
                  </a:lnTo>
                  <a:lnTo>
                    <a:pt x="132" y="924"/>
                  </a:lnTo>
                  <a:lnTo>
                    <a:pt x="126" y="918"/>
                  </a:lnTo>
                  <a:lnTo>
                    <a:pt x="132" y="918"/>
                  </a:lnTo>
                  <a:lnTo>
                    <a:pt x="132" y="912"/>
                  </a:lnTo>
                  <a:lnTo>
                    <a:pt x="126" y="912"/>
                  </a:lnTo>
                  <a:lnTo>
                    <a:pt x="120" y="912"/>
                  </a:lnTo>
                  <a:lnTo>
                    <a:pt x="120" y="918"/>
                  </a:lnTo>
                  <a:lnTo>
                    <a:pt x="114" y="918"/>
                  </a:lnTo>
                  <a:lnTo>
                    <a:pt x="114" y="912"/>
                  </a:lnTo>
                  <a:lnTo>
                    <a:pt x="108" y="912"/>
                  </a:lnTo>
                  <a:lnTo>
                    <a:pt x="102" y="912"/>
                  </a:lnTo>
                  <a:lnTo>
                    <a:pt x="108" y="906"/>
                  </a:lnTo>
                  <a:lnTo>
                    <a:pt x="102" y="906"/>
                  </a:lnTo>
                  <a:lnTo>
                    <a:pt x="96" y="906"/>
                  </a:lnTo>
                  <a:lnTo>
                    <a:pt x="96" y="912"/>
                  </a:lnTo>
                  <a:lnTo>
                    <a:pt x="90" y="918"/>
                  </a:lnTo>
                  <a:lnTo>
                    <a:pt x="90" y="912"/>
                  </a:lnTo>
                  <a:lnTo>
                    <a:pt x="84" y="912"/>
                  </a:lnTo>
                  <a:lnTo>
                    <a:pt x="84" y="918"/>
                  </a:lnTo>
                  <a:lnTo>
                    <a:pt x="78" y="918"/>
                  </a:lnTo>
                  <a:lnTo>
                    <a:pt x="78" y="912"/>
                  </a:lnTo>
                  <a:lnTo>
                    <a:pt x="78" y="906"/>
                  </a:lnTo>
                  <a:lnTo>
                    <a:pt x="72" y="900"/>
                  </a:lnTo>
                  <a:lnTo>
                    <a:pt x="78" y="900"/>
                  </a:lnTo>
                  <a:lnTo>
                    <a:pt x="72" y="900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8" y="888"/>
                  </a:lnTo>
                  <a:lnTo>
                    <a:pt x="72" y="888"/>
                  </a:lnTo>
                  <a:lnTo>
                    <a:pt x="72" y="882"/>
                  </a:lnTo>
                  <a:lnTo>
                    <a:pt x="66" y="876"/>
                  </a:lnTo>
                  <a:lnTo>
                    <a:pt x="60" y="882"/>
                  </a:lnTo>
                  <a:lnTo>
                    <a:pt x="54" y="876"/>
                  </a:lnTo>
                  <a:lnTo>
                    <a:pt x="54" y="882"/>
                  </a:lnTo>
                  <a:lnTo>
                    <a:pt x="48" y="882"/>
                  </a:lnTo>
                  <a:lnTo>
                    <a:pt x="42" y="870"/>
                  </a:lnTo>
                  <a:lnTo>
                    <a:pt x="42" y="864"/>
                  </a:lnTo>
                  <a:lnTo>
                    <a:pt x="36" y="858"/>
                  </a:lnTo>
                  <a:lnTo>
                    <a:pt x="36" y="852"/>
                  </a:lnTo>
                  <a:lnTo>
                    <a:pt x="30" y="852"/>
                  </a:lnTo>
                  <a:lnTo>
                    <a:pt x="30" y="846"/>
                  </a:lnTo>
                  <a:lnTo>
                    <a:pt x="24" y="846"/>
                  </a:lnTo>
                  <a:lnTo>
                    <a:pt x="18" y="840"/>
                  </a:lnTo>
                  <a:lnTo>
                    <a:pt x="12" y="834"/>
                  </a:lnTo>
                  <a:lnTo>
                    <a:pt x="0" y="828"/>
                  </a:lnTo>
                  <a:lnTo>
                    <a:pt x="0" y="822"/>
                  </a:lnTo>
                  <a:lnTo>
                    <a:pt x="0" y="816"/>
                  </a:lnTo>
                  <a:lnTo>
                    <a:pt x="0" y="810"/>
                  </a:lnTo>
                  <a:lnTo>
                    <a:pt x="6" y="804"/>
                  </a:lnTo>
                  <a:lnTo>
                    <a:pt x="12" y="804"/>
                  </a:lnTo>
                  <a:lnTo>
                    <a:pt x="12" y="798"/>
                  </a:lnTo>
                  <a:lnTo>
                    <a:pt x="12" y="792"/>
                  </a:lnTo>
                  <a:lnTo>
                    <a:pt x="6" y="792"/>
                  </a:lnTo>
                  <a:lnTo>
                    <a:pt x="6" y="786"/>
                  </a:lnTo>
                  <a:lnTo>
                    <a:pt x="6" y="780"/>
                  </a:lnTo>
                  <a:lnTo>
                    <a:pt x="18" y="780"/>
                  </a:lnTo>
                  <a:lnTo>
                    <a:pt x="18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0" y="774"/>
                  </a:lnTo>
                  <a:lnTo>
                    <a:pt x="36" y="768"/>
                  </a:lnTo>
                  <a:lnTo>
                    <a:pt x="42" y="768"/>
                  </a:lnTo>
                  <a:lnTo>
                    <a:pt x="60" y="750"/>
                  </a:lnTo>
                  <a:lnTo>
                    <a:pt x="60" y="744"/>
                  </a:lnTo>
                  <a:lnTo>
                    <a:pt x="54" y="738"/>
                  </a:lnTo>
                  <a:lnTo>
                    <a:pt x="60" y="732"/>
                  </a:lnTo>
                  <a:lnTo>
                    <a:pt x="54" y="732"/>
                  </a:lnTo>
                  <a:lnTo>
                    <a:pt x="60" y="726"/>
                  </a:lnTo>
                  <a:lnTo>
                    <a:pt x="66" y="720"/>
                  </a:lnTo>
                  <a:lnTo>
                    <a:pt x="72" y="714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84" y="696"/>
                  </a:lnTo>
                  <a:lnTo>
                    <a:pt x="90" y="684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66"/>
                  </a:lnTo>
                  <a:lnTo>
                    <a:pt x="90" y="660"/>
                  </a:lnTo>
                  <a:lnTo>
                    <a:pt x="84" y="654"/>
                  </a:lnTo>
                  <a:lnTo>
                    <a:pt x="84" y="648"/>
                  </a:lnTo>
                  <a:lnTo>
                    <a:pt x="78" y="636"/>
                  </a:lnTo>
                  <a:lnTo>
                    <a:pt x="66" y="630"/>
                  </a:lnTo>
                  <a:lnTo>
                    <a:pt x="66" y="624"/>
                  </a:lnTo>
                  <a:lnTo>
                    <a:pt x="60" y="624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60" y="600"/>
                  </a:lnTo>
                  <a:lnTo>
                    <a:pt x="66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6" y="588"/>
                  </a:lnTo>
                  <a:lnTo>
                    <a:pt x="66" y="582"/>
                  </a:lnTo>
                  <a:lnTo>
                    <a:pt x="72" y="582"/>
                  </a:lnTo>
                  <a:lnTo>
                    <a:pt x="78" y="576"/>
                  </a:lnTo>
                  <a:lnTo>
                    <a:pt x="72" y="576"/>
                  </a:lnTo>
                  <a:lnTo>
                    <a:pt x="66" y="570"/>
                  </a:lnTo>
                  <a:lnTo>
                    <a:pt x="72" y="564"/>
                  </a:lnTo>
                  <a:lnTo>
                    <a:pt x="78" y="558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90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102" y="516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0" y="504"/>
                  </a:lnTo>
                  <a:lnTo>
                    <a:pt x="120" y="498"/>
                  </a:lnTo>
                  <a:lnTo>
                    <a:pt x="120" y="492"/>
                  </a:lnTo>
                  <a:lnTo>
                    <a:pt x="126" y="480"/>
                  </a:lnTo>
                  <a:lnTo>
                    <a:pt x="132" y="474"/>
                  </a:lnTo>
                  <a:lnTo>
                    <a:pt x="132" y="468"/>
                  </a:lnTo>
                  <a:lnTo>
                    <a:pt x="138" y="462"/>
                  </a:lnTo>
                  <a:lnTo>
                    <a:pt x="138" y="456"/>
                  </a:lnTo>
                  <a:lnTo>
                    <a:pt x="138" y="450"/>
                  </a:lnTo>
                  <a:lnTo>
                    <a:pt x="144" y="444"/>
                  </a:lnTo>
                  <a:lnTo>
                    <a:pt x="162" y="438"/>
                  </a:lnTo>
                  <a:lnTo>
                    <a:pt x="186" y="438"/>
                  </a:lnTo>
                  <a:lnTo>
                    <a:pt x="210" y="444"/>
                  </a:lnTo>
                  <a:lnTo>
                    <a:pt x="276" y="450"/>
                  </a:lnTo>
                  <a:lnTo>
                    <a:pt x="342" y="450"/>
                  </a:lnTo>
                  <a:lnTo>
                    <a:pt x="348" y="450"/>
                  </a:lnTo>
                  <a:lnTo>
                    <a:pt x="354" y="450"/>
                  </a:lnTo>
                  <a:lnTo>
                    <a:pt x="360" y="456"/>
                  </a:lnTo>
                  <a:lnTo>
                    <a:pt x="354" y="462"/>
                  </a:lnTo>
                  <a:lnTo>
                    <a:pt x="354" y="468"/>
                  </a:lnTo>
                  <a:lnTo>
                    <a:pt x="354" y="474"/>
                  </a:lnTo>
                  <a:lnTo>
                    <a:pt x="348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48" y="498"/>
                  </a:lnTo>
                  <a:lnTo>
                    <a:pt x="342" y="510"/>
                  </a:lnTo>
                  <a:lnTo>
                    <a:pt x="348" y="528"/>
                  </a:lnTo>
                  <a:lnTo>
                    <a:pt x="348" y="534"/>
                  </a:lnTo>
                  <a:lnTo>
                    <a:pt x="354" y="552"/>
                  </a:lnTo>
                  <a:lnTo>
                    <a:pt x="366" y="546"/>
                  </a:lnTo>
                  <a:lnTo>
                    <a:pt x="372" y="540"/>
                  </a:lnTo>
                  <a:lnTo>
                    <a:pt x="384" y="540"/>
                  </a:lnTo>
                  <a:lnTo>
                    <a:pt x="396" y="534"/>
                  </a:lnTo>
                  <a:lnTo>
                    <a:pt x="402" y="534"/>
                  </a:lnTo>
                  <a:lnTo>
                    <a:pt x="414" y="546"/>
                  </a:lnTo>
                  <a:lnTo>
                    <a:pt x="432" y="540"/>
                  </a:lnTo>
                  <a:lnTo>
                    <a:pt x="450" y="534"/>
                  </a:lnTo>
                  <a:lnTo>
                    <a:pt x="450" y="528"/>
                  </a:lnTo>
                  <a:lnTo>
                    <a:pt x="456" y="528"/>
                  </a:lnTo>
                  <a:lnTo>
                    <a:pt x="456" y="522"/>
                  </a:lnTo>
                  <a:lnTo>
                    <a:pt x="456" y="516"/>
                  </a:lnTo>
                  <a:lnTo>
                    <a:pt x="462" y="516"/>
                  </a:lnTo>
                  <a:lnTo>
                    <a:pt x="468" y="510"/>
                  </a:lnTo>
                  <a:lnTo>
                    <a:pt x="468" y="504"/>
                  </a:lnTo>
                  <a:lnTo>
                    <a:pt x="474" y="504"/>
                  </a:lnTo>
                  <a:lnTo>
                    <a:pt x="480" y="504"/>
                  </a:lnTo>
                  <a:lnTo>
                    <a:pt x="486" y="498"/>
                  </a:lnTo>
                  <a:lnTo>
                    <a:pt x="492" y="498"/>
                  </a:lnTo>
                  <a:lnTo>
                    <a:pt x="486" y="480"/>
                  </a:lnTo>
                  <a:lnTo>
                    <a:pt x="492" y="462"/>
                  </a:lnTo>
                  <a:lnTo>
                    <a:pt x="498" y="444"/>
                  </a:lnTo>
                  <a:lnTo>
                    <a:pt x="498" y="426"/>
                  </a:lnTo>
                  <a:lnTo>
                    <a:pt x="498" y="420"/>
                  </a:lnTo>
                  <a:lnTo>
                    <a:pt x="504" y="426"/>
                  </a:lnTo>
                  <a:lnTo>
                    <a:pt x="504" y="420"/>
                  </a:lnTo>
                  <a:lnTo>
                    <a:pt x="510" y="420"/>
                  </a:lnTo>
                  <a:lnTo>
                    <a:pt x="510" y="414"/>
                  </a:lnTo>
                  <a:lnTo>
                    <a:pt x="510" y="408"/>
                  </a:lnTo>
                  <a:lnTo>
                    <a:pt x="504" y="402"/>
                  </a:lnTo>
                  <a:lnTo>
                    <a:pt x="504" y="396"/>
                  </a:lnTo>
                  <a:lnTo>
                    <a:pt x="504" y="384"/>
                  </a:lnTo>
                  <a:lnTo>
                    <a:pt x="504" y="378"/>
                  </a:lnTo>
                  <a:lnTo>
                    <a:pt x="504" y="360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510" y="348"/>
                  </a:lnTo>
                  <a:lnTo>
                    <a:pt x="510" y="336"/>
                  </a:lnTo>
                  <a:lnTo>
                    <a:pt x="516" y="330"/>
                  </a:lnTo>
                  <a:lnTo>
                    <a:pt x="522" y="324"/>
                  </a:lnTo>
                  <a:lnTo>
                    <a:pt x="528" y="318"/>
                  </a:lnTo>
                  <a:lnTo>
                    <a:pt x="534" y="312"/>
                  </a:lnTo>
                  <a:lnTo>
                    <a:pt x="534" y="300"/>
                  </a:lnTo>
                  <a:lnTo>
                    <a:pt x="540" y="294"/>
                  </a:lnTo>
                  <a:lnTo>
                    <a:pt x="546" y="288"/>
                  </a:lnTo>
                  <a:lnTo>
                    <a:pt x="552" y="276"/>
                  </a:lnTo>
                  <a:lnTo>
                    <a:pt x="558" y="264"/>
                  </a:lnTo>
                  <a:lnTo>
                    <a:pt x="558" y="258"/>
                  </a:lnTo>
                  <a:lnTo>
                    <a:pt x="558" y="252"/>
                  </a:lnTo>
                  <a:lnTo>
                    <a:pt x="558" y="246"/>
                  </a:lnTo>
                  <a:lnTo>
                    <a:pt x="564" y="246"/>
                  </a:lnTo>
                  <a:lnTo>
                    <a:pt x="564" y="240"/>
                  </a:lnTo>
                  <a:lnTo>
                    <a:pt x="570" y="234"/>
                  </a:lnTo>
                  <a:lnTo>
                    <a:pt x="564" y="216"/>
                  </a:lnTo>
                  <a:lnTo>
                    <a:pt x="564" y="210"/>
                  </a:lnTo>
                  <a:lnTo>
                    <a:pt x="570" y="210"/>
                  </a:lnTo>
                  <a:lnTo>
                    <a:pt x="570" y="204"/>
                  </a:lnTo>
                  <a:lnTo>
                    <a:pt x="570" y="198"/>
                  </a:lnTo>
                  <a:lnTo>
                    <a:pt x="582" y="180"/>
                  </a:lnTo>
                  <a:lnTo>
                    <a:pt x="582" y="174"/>
                  </a:lnTo>
                  <a:lnTo>
                    <a:pt x="582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606" y="150"/>
                  </a:lnTo>
                  <a:lnTo>
                    <a:pt x="612" y="150"/>
                  </a:lnTo>
                  <a:lnTo>
                    <a:pt x="618" y="150"/>
                  </a:lnTo>
                  <a:lnTo>
                    <a:pt x="624" y="138"/>
                  </a:lnTo>
                  <a:lnTo>
                    <a:pt x="618" y="132"/>
                  </a:lnTo>
                  <a:lnTo>
                    <a:pt x="618" y="126"/>
                  </a:lnTo>
                  <a:lnTo>
                    <a:pt x="618" y="120"/>
                  </a:lnTo>
                  <a:lnTo>
                    <a:pt x="618" y="114"/>
                  </a:lnTo>
                  <a:lnTo>
                    <a:pt x="612" y="108"/>
                  </a:lnTo>
                  <a:lnTo>
                    <a:pt x="612" y="102"/>
                  </a:lnTo>
                  <a:lnTo>
                    <a:pt x="618" y="90"/>
                  </a:lnTo>
                  <a:lnTo>
                    <a:pt x="624" y="84"/>
                  </a:lnTo>
                  <a:lnTo>
                    <a:pt x="618" y="84"/>
                  </a:lnTo>
                  <a:lnTo>
                    <a:pt x="618" y="78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0" y="72"/>
                  </a:lnTo>
                  <a:lnTo>
                    <a:pt x="600" y="66"/>
                  </a:lnTo>
                  <a:lnTo>
                    <a:pt x="600" y="60"/>
                  </a:lnTo>
                  <a:lnTo>
                    <a:pt x="600" y="48"/>
                  </a:lnTo>
                  <a:lnTo>
                    <a:pt x="612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36"/>
                  </a:lnTo>
                  <a:lnTo>
                    <a:pt x="630" y="30"/>
                  </a:lnTo>
                  <a:lnTo>
                    <a:pt x="636" y="24"/>
                  </a:lnTo>
                  <a:lnTo>
                    <a:pt x="642" y="24"/>
                  </a:lnTo>
                  <a:lnTo>
                    <a:pt x="648" y="24"/>
                  </a:lnTo>
                  <a:lnTo>
                    <a:pt x="648" y="18"/>
                  </a:lnTo>
                  <a:lnTo>
                    <a:pt x="654" y="12"/>
                  </a:lnTo>
                  <a:lnTo>
                    <a:pt x="660" y="0"/>
                  </a:lnTo>
                  <a:lnTo>
                    <a:pt x="678" y="0"/>
                  </a:lnTo>
                  <a:lnTo>
                    <a:pt x="696" y="0"/>
                  </a:lnTo>
                  <a:lnTo>
                    <a:pt x="702" y="0"/>
                  </a:lnTo>
                  <a:lnTo>
                    <a:pt x="714" y="0"/>
                  </a:lnTo>
                  <a:lnTo>
                    <a:pt x="720" y="6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44" y="24"/>
                  </a:lnTo>
                  <a:lnTo>
                    <a:pt x="744" y="30"/>
                  </a:lnTo>
                  <a:lnTo>
                    <a:pt x="732" y="42"/>
                  </a:lnTo>
                  <a:lnTo>
                    <a:pt x="726" y="42"/>
                  </a:lnTo>
                  <a:lnTo>
                    <a:pt x="720" y="42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54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90"/>
                  </a:lnTo>
                  <a:lnTo>
                    <a:pt x="726" y="84"/>
                  </a:lnTo>
                  <a:lnTo>
                    <a:pt x="738" y="84"/>
                  </a:lnTo>
                  <a:lnTo>
                    <a:pt x="750" y="96"/>
                  </a:lnTo>
                  <a:lnTo>
                    <a:pt x="768" y="96"/>
                  </a:lnTo>
                  <a:lnTo>
                    <a:pt x="768" y="90"/>
                  </a:lnTo>
                  <a:lnTo>
                    <a:pt x="774" y="84"/>
                  </a:lnTo>
                  <a:lnTo>
                    <a:pt x="780" y="78"/>
                  </a:lnTo>
                  <a:lnTo>
                    <a:pt x="786" y="78"/>
                  </a:lnTo>
                  <a:lnTo>
                    <a:pt x="792" y="72"/>
                  </a:lnTo>
                  <a:lnTo>
                    <a:pt x="804" y="72"/>
                  </a:lnTo>
                  <a:lnTo>
                    <a:pt x="804" y="66"/>
                  </a:lnTo>
                  <a:lnTo>
                    <a:pt x="810" y="66"/>
                  </a:lnTo>
                  <a:lnTo>
                    <a:pt x="810" y="72"/>
                  </a:lnTo>
                  <a:lnTo>
                    <a:pt x="816" y="66"/>
                  </a:lnTo>
                  <a:lnTo>
                    <a:pt x="828" y="66"/>
                  </a:lnTo>
                  <a:lnTo>
                    <a:pt x="834" y="72"/>
                  </a:lnTo>
                  <a:lnTo>
                    <a:pt x="840" y="72"/>
                  </a:lnTo>
                  <a:lnTo>
                    <a:pt x="840" y="78"/>
                  </a:lnTo>
                  <a:lnTo>
                    <a:pt x="840" y="84"/>
                  </a:lnTo>
                  <a:lnTo>
                    <a:pt x="852" y="84"/>
                  </a:lnTo>
                  <a:lnTo>
                    <a:pt x="858" y="96"/>
                  </a:lnTo>
                  <a:lnTo>
                    <a:pt x="864" y="108"/>
                  </a:lnTo>
                  <a:lnTo>
                    <a:pt x="876" y="114"/>
                  </a:lnTo>
                  <a:lnTo>
                    <a:pt x="894" y="114"/>
                  </a:lnTo>
                  <a:lnTo>
                    <a:pt x="906" y="114"/>
                  </a:lnTo>
                  <a:lnTo>
                    <a:pt x="906" y="126"/>
                  </a:lnTo>
                  <a:lnTo>
                    <a:pt x="912" y="144"/>
                  </a:lnTo>
                  <a:lnTo>
                    <a:pt x="930" y="138"/>
                  </a:lnTo>
                  <a:lnTo>
                    <a:pt x="936" y="138"/>
                  </a:lnTo>
                  <a:lnTo>
                    <a:pt x="942" y="144"/>
                  </a:lnTo>
                  <a:lnTo>
                    <a:pt x="948" y="150"/>
                  </a:lnTo>
                  <a:lnTo>
                    <a:pt x="954" y="156"/>
                  </a:lnTo>
                  <a:lnTo>
                    <a:pt x="954" y="168"/>
                  </a:lnTo>
                  <a:lnTo>
                    <a:pt x="954" y="174"/>
                  </a:lnTo>
                  <a:lnTo>
                    <a:pt x="960" y="180"/>
                  </a:lnTo>
                  <a:lnTo>
                    <a:pt x="966" y="186"/>
                  </a:lnTo>
                  <a:lnTo>
                    <a:pt x="960" y="186"/>
                  </a:lnTo>
                  <a:lnTo>
                    <a:pt x="966" y="192"/>
                  </a:lnTo>
                  <a:lnTo>
                    <a:pt x="966" y="198"/>
                  </a:lnTo>
                  <a:lnTo>
                    <a:pt x="978" y="204"/>
                  </a:lnTo>
                  <a:lnTo>
                    <a:pt x="1050" y="186"/>
                  </a:lnTo>
                  <a:lnTo>
                    <a:pt x="1056" y="198"/>
                  </a:lnTo>
                  <a:lnTo>
                    <a:pt x="1068" y="210"/>
                  </a:lnTo>
                  <a:lnTo>
                    <a:pt x="1074" y="216"/>
                  </a:lnTo>
                  <a:lnTo>
                    <a:pt x="1080" y="252"/>
                  </a:lnTo>
                  <a:lnTo>
                    <a:pt x="1086" y="270"/>
                  </a:lnTo>
                  <a:lnTo>
                    <a:pt x="1092" y="282"/>
                  </a:lnTo>
                  <a:lnTo>
                    <a:pt x="1086" y="300"/>
                  </a:lnTo>
                  <a:lnTo>
                    <a:pt x="1074" y="330"/>
                  </a:lnTo>
                  <a:lnTo>
                    <a:pt x="1068" y="336"/>
                  </a:lnTo>
                  <a:lnTo>
                    <a:pt x="1062" y="348"/>
                  </a:lnTo>
                  <a:lnTo>
                    <a:pt x="1062" y="360"/>
                  </a:lnTo>
                  <a:lnTo>
                    <a:pt x="1068" y="378"/>
                  </a:lnTo>
                  <a:lnTo>
                    <a:pt x="1074" y="390"/>
                  </a:lnTo>
                  <a:lnTo>
                    <a:pt x="1068" y="396"/>
                  </a:lnTo>
                  <a:lnTo>
                    <a:pt x="1068" y="408"/>
                  </a:lnTo>
                  <a:lnTo>
                    <a:pt x="1062" y="414"/>
                  </a:lnTo>
                  <a:lnTo>
                    <a:pt x="1050" y="432"/>
                  </a:lnTo>
                  <a:lnTo>
                    <a:pt x="1044" y="450"/>
                  </a:lnTo>
                  <a:lnTo>
                    <a:pt x="1038" y="456"/>
                  </a:lnTo>
                  <a:lnTo>
                    <a:pt x="1026" y="468"/>
                  </a:lnTo>
                  <a:lnTo>
                    <a:pt x="1026" y="474"/>
                  </a:lnTo>
                  <a:lnTo>
                    <a:pt x="1026" y="480"/>
                  </a:lnTo>
                  <a:lnTo>
                    <a:pt x="1032" y="492"/>
                  </a:lnTo>
                  <a:lnTo>
                    <a:pt x="1044" y="504"/>
                  </a:lnTo>
                  <a:lnTo>
                    <a:pt x="1044" y="516"/>
                  </a:lnTo>
                  <a:lnTo>
                    <a:pt x="1038" y="528"/>
                  </a:lnTo>
                  <a:lnTo>
                    <a:pt x="1032" y="546"/>
                  </a:lnTo>
                  <a:lnTo>
                    <a:pt x="1032" y="570"/>
                  </a:lnTo>
                  <a:lnTo>
                    <a:pt x="1050" y="594"/>
                  </a:lnTo>
                  <a:lnTo>
                    <a:pt x="1056" y="624"/>
                  </a:lnTo>
                  <a:lnTo>
                    <a:pt x="1056" y="65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9" name="Freeform 24">
              <a:extLst>
                <a:ext uri="{FF2B5EF4-FFF2-40B4-BE49-F238E27FC236}">
                  <a16:creationId xmlns:a16="http://schemas.microsoft.com/office/drawing/2014/main" id="{CAE689DA-332A-4F73-BDE6-8865C9170AA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84829" y="3213406"/>
              <a:ext cx="851989" cy="744754"/>
            </a:xfrm>
            <a:custGeom>
              <a:avLst/>
              <a:gdLst>
                <a:gd name="T0" fmla="*/ 116 w 1602"/>
                <a:gd name="T1" fmla="*/ 91 h 1404"/>
                <a:gd name="T2" fmla="*/ 111 w 1602"/>
                <a:gd name="T3" fmla="*/ 95 h 1404"/>
                <a:gd name="T4" fmla="*/ 102 w 1602"/>
                <a:gd name="T5" fmla="*/ 101 h 1404"/>
                <a:gd name="T6" fmla="*/ 99 w 1602"/>
                <a:gd name="T7" fmla="*/ 103 h 1404"/>
                <a:gd name="T8" fmla="*/ 96 w 1602"/>
                <a:gd name="T9" fmla="*/ 106 h 1404"/>
                <a:gd name="T10" fmla="*/ 93 w 1602"/>
                <a:gd name="T11" fmla="*/ 108 h 1404"/>
                <a:gd name="T12" fmla="*/ 88 w 1602"/>
                <a:gd name="T13" fmla="*/ 106 h 1404"/>
                <a:gd name="T14" fmla="*/ 86 w 1602"/>
                <a:gd name="T15" fmla="*/ 108 h 1404"/>
                <a:gd name="T16" fmla="*/ 81 w 1602"/>
                <a:gd name="T17" fmla="*/ 119 h 1404"/>
                <a:gd name="T18" fmla="*/ 71 w 1602"/>
                <a:gd name="T19" fmla="*/ 109 h 1404"/>
                <a:gd name="T20" fmla="*/ 72 w 1602"/>
                <a:gd name="T21" fmla="*/ 101 h 1404"/>
                <a:gd name="T22" fmla="*/ 74 w 1602"/>
                <a:gd name="T23" fmla="*/ 93 h 1404"/>
                <a:gd name="T24" fmla="*/ 73 w 1602"/>
                <a:gd name="T25" fmla="*/ 82 h 1404"/>
                <a:gd name="T26" fmla="*/ 64 w 1602"/>
                <a:gd name="T27" fmla="*/ 79 h 1404"/>
                <a:gd name="T28" fmla="*/ 59 w 1602"/>
                <a:gd name="T29" fmla="*/ 75 h 1404"/>
                <a:gd name="T30" fmla="*/ 54 w 1602"/>
                <a:gd name="T31" fmla="*/ 71 h 1404"/>
                <a:gd name="T32" fmla="*/ 51 w 1602"/>
                <a:gd name="T33" fmla="*/ 70 h 1404"/>
                <a:gd name="T34" fmla="*/ 45 w 1602"/>
                <a:gd name="T35" fmla="*/ 71 h 1404"/>
                <a:gd name="T36" fmla="*/ 43 w 1602"/>
                <a:gd name="T37" fmla="*/ 68 h 1404"/>
                <a:gd name="T38" fmla="*/ 43 w 1602"/>
                <a:gd name="T39" fmla="*/ 64 h 1404"/>
                <a:gd name="T40" fmla="*/ 36 w 1602"/>
                <a:gd name="T41" fmla="*/ 66 h 1404"/>
                <a:gd name="T42" fmla="*/ 31 w 1602"/>
                <a:gd name="T43" fmla="*/ 55 h 1404"/>
                <a:gd name="T44" fmla="*/ 25 w 1602"/>
                <a:gd name="T45" fmla="*/ 53 h 1404"/>
                <a:gd name="T46" fmla="*/ 19 w 1602"/>
                <a:gd name="T47" fmla="*/ 51 h 1404"/>
                <a:gd name="T48" fmla="*/ 17 w 1602"/>
                <a:gd name="T49" fmla="*/ 43 h 1404"/>
                <a:gd name="T50" fmla="*/ 17 w 1602"/>
                <a:gd name="T51" fmla="*/ 39 h 1404"/>
                <a:gd name="T52" fmla="*/ 12 w 1602"/>
                <a:gd name="T53" fmla="*/ 39 h 1404"/>
                <a:gd name="T54" fmla="*/ 10 w 1602"/>
                <a:gd name="T55" fmla="*/ 35 h 1404"/>
                <a:gd name="T56" fmla="*/ 5 w 1602"/>
                <a:gd name="T57" fmla="*/ 30 h 1404"/>
                <a:gd name="T58" fmla="*/ 3 w 1602"/>
                <a:gd name="T59" fmla="*/ 27 h 1404"/>
                <a:gd name="T60" fmla="*/ 2 w 1602"/>
                <a:gd name="T61" fmla="*/ 25 h 1404"/>
                <a:gd name="T62" fmla="*/ 0 w 1602"/>
                <a:gd name="T63" fmla="*/ 22 h 1404"/>
                <a:gd name="T64" fmla="*/ 8 w 1602"/>
                <a:gd name="T65" fmla="*/ 14 h 1404"/>
                <a:gd name="T66" fmla="*/ 16 w 1602"/>
                <a:gd name="T67" fmla="*/ 16 h 1404"/>
                <a:gd name="T68" fmla="*/ 31 w 1602"/>
                <a:gd name="T69" fmla="*/ 18 h 1404"/>
                <a:gd name="T70" fmla="*/ 43 w 1602"/>
                <a:gd name="T71" fmla="*/ 17 h 1404"/>
                <a:gd name="T72" fmla="*/ 47 w 1602"/>
                <a:gd name="T73" fmla="*/ 6 h 1404"/>
                <a:gd name="T74" fmla="*/ 52 w 1602"/>
                <a:gd name="T75" fmla="*/ 0 h 1404"/>
                <a:gd name="T76" fmla="*/ 55 w 1602"/>
                <a:gd name="T77" fmla="*/ 3 h 1404"/>
                <a:gd name="T78" fmla="*/ 59 w 1602"/>
                <a:gd name="T79" fmla="*/ 9 h 1404"/>
                <a:gd name="T80" fmla="*/ 62 w 1602"/>
                <a:gd name="T81" fmla="*/ 16 h 1404"/>
                <a:gd name="T82" fmla="*/ 66 w 1602"/>
                <a:gd name="T83" fmla="*/ 20 h 1404"/>
                <a:gd name="T84" fmla="*/ 70 w 1602"/>
                <a:gd name="T85" fmla="*/ 25 h 1404"/>
                <a:gd name="T86" fmla="*/ 74 w 1602"/>
                <a:gd name="T87" fmla="*/ 30 h 1404"/>
                <a:gd name="T88" fmla="*/ 76 w 1602"/>
                <a:gd name="T89" fmla="*/ 27 h 1404"/>
                <a:gd name="T90" fmla="*/ 78 w 1602"/>
                <a:gd name="T91" fmla="*/ 27 h 1404"/>
                <a:gd name="T92" fmla="*/ 78 w 1602"/>
                <a:gd name="T93" fmla="*/ 23 h 1404"/>
                <a:gd name="T94" fmla="*/ 82 w 1602"/>
                <a:gd name="T95" fmla="*/ 20 h 1404"/>
                <a:gd name="T96" fmla="*/ 82 w 1602"/>
                <a:gd name="T97" fmla="*/ 18 h 1404"/>
                <a:gd name="T98" fmla="*/ 90 w 1602"/>
                <a:gd name="T99" fmla="*/ 24 h 1404"/>
                <a:gd name="T100" fmla="*/ 90 w 1602"/>
                <a:gd name="T101" fmla="*/ 45 h 1404"/>
                <a:gd name="T102" fmla="*/ 104 w 1602"/>
                <a:gd name="T103" fmla="*/ 41 h 1404"/>
                <a:gd name="T104" fmla="*/ 117 w 1602"/>
                <a:gd name="T105" fmla="*/ 39 h 1404"/>
                <a:gd name="T106" fmla="*/ 125 w 1602"/>
                <a:gd name="T107" fmla="*/ 39 h 1404"/>
                <a:gd name="T108" fmla="*/ 127 w 1602"/>
                <a:gd name="T109" fmla="*/ 43 h 1404"/>
                <a:gd name="T110" fmla="*/ 131 w 1602"/>
                <a:gd name="T111" fmla="*/ 53 h 1404"/>
                <a:gd name="T112" fmla="*/ 133 w 1602"/>
                <a:gd name="T113" fmla="*/ 60 h 1404"/>
                <a:gd name="T114" fmla="*/ 138 w 1602"/>
                <a:gd name="T115" fmla="*/ 73 h 1404"/>
                <a:gd name="T116" fmla="*/ 136 w 1602"/>
                <a:gd name="T117" fmla="*/ 80 h 1404"/>
                <a:gd name="T118" fmla="*/ 129 w 1602"/>
                <a:gd name="T119" fmla="*/ 87 h 1404"/>
                <a:gd name="T120" fmla="*/ 123 w 1602"/>
                <a:gd name="T121" fmla="*/ 95 h 14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02"/>
                <a:gd name="T184" fmla="*/ 0 h 1404"/>
                <a:gd name="T185" fmla="*/ 1602 w 1602"/>
                <a:gd name="T186" fmla="*/ 1404 h 14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02" h="1404">
                  <a:moveTo>
                    <a:pt x="1392" y="1080"/>
                  </a:moveTo>
                  <a:lnTo>
                    <a:pt x="1380" y="1074"/>
                  </a:lnTo>
                  <a:lnTo>
                    <a:pt x="1368" y="1056"/>
                  </a:lnTo>
                  <a:lnTo>
                    <a:pt x="1356" y="1044"/>
                  </a:lnTo>
                  <a:lnTo>
                    <a:pt x="1344" y="1038"/>
                  </a:lnTo>
                  <a:lnTo>
                    <a:pt x="1338" y="1038"/>
                  </a:lnTo>
                  <a:lnTo>
                    <a:pt x="1332" y="1038"/>
                  </a:lnTo>
                  <a:lnTo>
                    <a:pt x="1326" y="1044"/>
                  </a:lnTo>
                  <a:lnTo>
                    <a:pt x="1320" y="1044"/>
                  </a:lnTo>
                  <a:lnTo>
                    <a:pt x="1314" y="1044"/>
                  </a:lnTo>
                  <a:lnTo>
                    <a:pt x="1296" y="1056"/>
                  </a:lnTo>
                  <a:lnTo>
                    <a:pt x="1296" y="1080"/>
                  </a:lnTo>
                  <a:lnTo>
                    <a:pt x="1290" y="1080"/>
                  </a:lnTo>
                  <a:lnTo>
                    <a:pt x="1284" y="1086"/>
                  </a:lnTo>
                  <a:lnTo>
                    <a:pt x="1278" y="1086"/>
                  </a:lnTo>
                  <a:lnTo>
                    <a:pt x="1278" y="1092"/>
                  </a:lnTo>
                  <a:lnTo>
                    <a:pt x="1272" y="1092"/>
                  </a:lnTo>
                  <a:lnTo>
                    <a:pt x="1266" y="1086"/>
                  </a:lnTo>
                  <a:lnTo>
                    <a:pt x="1260" y="1086"/>
                  </a:lnTo>
                  <a:lnTo>
                    <a:pt x="1260" y="1098"/>
                  </a:lnTo>
                  <a:lnTo>
                    <a:pt x="1248" y="1098"/>
                  </a:lnTo>
                  <a:lnTo>
                    <a:pt x="1212" y="1116"/>
                  </a:lnTo>
                  <a:lnTo>
                    <a:pt x="1206" y="1158"/>
                  </a:lnTo>
                  <a:lnTo>
                    <a:pt x="1176" y="1164"/>
                  </a:lnTo>
                  <a:lnTo>
                    <a:pt x="1158" y="1164"/>
                  </a:lnTo>
                  <a:lnTo>
                    <a:pt x="1152" y="1164"/>
                  </a:lnTo>
                  <a:lnTo>
                    <a:pt x="1152" y="1170"/>
                  </a:lnTo>
                  <a:lnTo>
                    <a:pt x="1152" y="1176"/>
                  </a:lnTo>
                  <a:lnTo>
                    <a:pt x="1146" y="1176"/>
                  </a:lnTo>
                  <a:lnTo>
                    <a:pt x="1140" y="1176"/>
                  </a:lnTo>
                  <a:lnTo>
                    <a:pt x="1134" y="1182"/>
                  </a:lnTo>
                  <a:lnTo>
                    <a:pt x="1134" y="1188"/>
                  </a:lnTo>
                  <a:lnTo>
                    <a:pt x="1128" y="1194"/>
                  </a:lnTo>
                  <a:lnTo>
                    <a:pt x="1122" y="1194"/>
                  </a:lnTo>
                  <a:lnTo>
                    <a:pt x="1116" y="1194"/>
                  </a:lnTo>
                  <a:lnTo>
                    <a:pt x="1110" y="1200"/>
                  </a:lnTo>
                  <a:lnTo>
                    <a:pt x="1110" y="1206"/>
                  </a:lnTo>
                  <a:lnTo>
                    <a:pt x="1104" y="1212"/>
                  </a:lnTo>
                  <a:lnTo>
                    <a:pt x="1104" y="1218"/>
                  </a:lnTo>
                  <a:lnTo>
                    <a:pt x="1098" y="1224"/>
                  </a:lnTo>
                  <a:lnTo>
                    <a:pt x="1092" y="1230"/>
                  </a:lnTo>
                  <a:lnTo>
                    <a:pt x="1086" y="1230"/>
                  </a:lnTo>
                  <a:lnTo>
                    <a:pt x="1080" y="1230"/>
                  </a:lnTo>
                  <a:lnTo>
                    <a:pt x="1080" y="1242"/>
                  </a:lnTo>
                  <a:lnTo>
                    <a:pt x="1074" y="1242"/>
                  </a:lnTo>
                  <a:lnTo>
                    <a:pt x="1068" y="1242"/>
                  </a:lnTo>
                  <a:lnTo>
                    <a:pt x="1068" y="1236"/>
                  </a:lnTo>
                  <a:lnTo>
                    <a:pt x="1062" y="1242"/>
                  </a:lnTo>
                  <a:lnTo>
                    <a:pt x="1056" y="1236"/>
                  </a:lnTo>
                  <a:lnTo>
                    <a:pt x="1050" y="1242"/>
                  </a:lnTo>
                  <a:lnTo>
                    <a:pt x="1050" y="1236"/>
                  </a:lnTo>
                  <a:lnTo>
                    <a:pt x="1044" y="1194"/>
                  </a:lnTo>
                  <a:lnTo>
                    <a:pt x="1032" y="1194"/>
                  </a:lnTo>
                  <a:lnTo>
                    <a:pt x="1032" y="1200"/>
                  </a:lnTo>
                  <a:lnTo>
                    <a:pt x="1026" y="1200"/>
                  </a:lnTo>
                  <a:lnTo>
                    <a:pt x="1014" y="1218"/>
                  </a:lnTo>
                  <a:lnTo>
                    <a:pt x="1014" y="1224"/>
                  </a:lnTo>
                  <a:lnTo>
                    <a:pt x="1014" y="1236"/>
                  </a:lnTo>
                  <a:lnTo>
                    <a:pt x="1014" y="1242"/>
                  </a:lnTo>
                  <a:lnTo>
                    <a:pt x="1008" y="1242"/>
                  </a:lnTo>
                  <a:lnTo>
                    <a:pt x="1002" y="1236"/>
                  </a:lnTo>
                  <a:lnTo>
                    <a:pt x="1002" y="1230"/>
                  </a:lnTo>
                  <a:lnTo>
                    <a:pt x="996" y="1236"/>
                  </a:lnTo>
                  <a:lnTo>
                    <a:pt x="990" y="1236"/>
                  </a:lnTo>
                  <a:lnTo>
                    <a:pt x="990" y="1230"/>
                  </a:lnTo>
                  <a:lnTo>
                    <a:pt x="984" y="1236"/>
                  </a:lnTo>
                  <a:lnTo>
                    <a:pt x="978" y="1248"/>
                  </a:lnTo>
                  <a:lnTo>
                    <a:pt x="972" y="1254"/>
                  </a:lnTo>
                  <a:lnTo>
                    <a:pt x="966" y="1260"/>
                  </a:lnTo>
                  <a:lnTo>
                    <a:pt x="930" y="1284"/>
                  </a:lnTo>
                  <a:lnTo>
                    <a:pt x="942" y="1356"/>
                  </a:lnTo>
                  <a:lnTo>
                    <a:pt x="930" y="1368"/>
                  </a:lnTo>
                  <a:lnTo>
                    <a:pt x="852" y="1404"/>
                  </a:lnTo>
                  <a:lnTo>
                    <a:pt x="834" y="1392"/>
                  </a:lnTo>
                  <a:lnTo>
                    <a:pt x="834" y="1362"/>
                  </a:lnTo>
                  <a:lnTo>
                    <a:pt x="828" y="1332"/>
                  </a:lnTo>
                  <a:lnTo>
                    <a:pt x="810" y="1308"/>
                  </a:lnTo>
                  <a:lnTo>
                    <a:pt x="810" y="1284"/>
                  </a:lnTo>
                  <a:lnTo>
                    <a:pt x="816" y="1266"/>
                  </a:lnTo>
                  <a:lnTo>
                    <a:pt x="822" y="1254"/>
                  </a:lnTo>
                  <a:lnTo>
                    <a:pt x="822" y="1242"/>
                  </a:lnTo>
                  <a:lnTo>
                    <a:pt x="810" y="1230"/>
                  </a:lnTo>
                  <a:lnTo>
                    <a:pt x="804" y="1218"/>
                  </a:lnTo>
                  <a:lnTo>
                    <a:pt x="804" y="1212"/>
                  </a:lnTo>
                  <a:lnTo>
                    <a:pt x="804" y="1206"/>
                  </a:lnTo>
                  <a:lnTo>
                    <a:pt x="816" y="1194"/>
                  </a:lnTo>
                  <a:lnTo>
                    <a:pt x="822" y="1188"/>
                  </a:lnTo>
                  <a:lnTo>
                    <a:pt x="828" y="1170"/>
                  </a:lnTo>
                  <a:lnTo>
                    <a:pt x="840" y="1152"/>
                  </a:lnTo>
                  <a:lnTo>
                    <a:pt x="846" y="1146"/>
                  </a:lnTo>
                  <a:lnTo>
                    <a:pt x="846" y="1134"/>
                  </a:lnTo>
                  <a:lnTo>
                    <a:pt x="852" y="1128"/>
                  </a:lnTo>
                  <a:lnTo>
                    <a:pt x="846" y="1116"/>
                  </a:lnTo>
                  <a:lnTo>
                    <a:pt x="840" y="1098"/>
                  </a:lnTo>
                  <a:lnTo>
                    <a:pt x="840" y="1086"/>
                  </a:lnTo>
                  <a:lnTo>
                    <a:pt x="846" y="1074"/>
                  </a:lnTo>
                  <a:lnTo>
                    <a:pt x="852" y="1068"/>
                  </a:lnTo>
                  <a:lnTo>
                    <a:pt x="864" y="1038"/>
                  </a:lnTo>
                  <a:lnTo>
                    <a:pt x="870" y="1020"/>
                  </a:lnTo>
                  <a:lnTo>
                    <a:pt x="864" y="1008"/>
                  </a:lnTo>
                  <a:lnTo>
                    <a:pt x="858" y="990"/>
                  </a:lnTo>
                  <a:lnTo>
                    <a:pt x="852" y="954"/>
                  </a:lnTo>
                  <a:lnTo>
                    <a:pt x="846" y="948"/>
                  </a:lnTo>
                  <a:lnTo>
                    <a:pt x="834" y="936"/>
                  </a:lnTo>
                  <a:lnTo>
                    <a:pt x="828" y="924"/>
                  </a:lnTo>
                  <a:lnTo>
                    <a:pt x="756" y="942"/>
                  </a:lnTo>
                  <a:lnTo>
                    <a:pt x="744" y="936"/>
                  </a:lnTo>
                  <a:lnTo>
                    <a:pt x="744" y="930"/>
                  </a:lnTo>
                  <a:lnTo>
                    <a:pt x="738" y="924"/>
                  </a:lnTo>
                  <a:lnTo>
                    <a:pt x="744" y="924"/>
                  </a:lnTo>
                  <a:lnTo>
                    <a:pt x="738" y="918"/>
                  </a:lnTo>
                  <a:lnTo>
                    <a:pt x="732" y="912"/>
                  </a:lnTo>
                  <a:lnTo>
                    <a:pt x="732" y="906"/>
                  </a:lnTo>
                  <a:lnTo>
                    <a:pt x="732" y="894"/>
                  </a:lnTo>
                  <a:lnTo>
                    <a:pt x="726" y="888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6"/>
                  </a:lnTo>
                  <a:lnTo>
                    <a:pt x="690" y="882"/>
                  </a:lnTo>
                  <a:lnTo>
                    <a:pt x="684" y="864"/>
                  </a:lnTo>
                  <a:lnTo>
                    <a:pt x="684" y="852"/>
                  </a:lnTo>
                  <a:lnTo>
                    <a:pt x="672" y="852"/>
                  </a:lnTo>
                  <a:lnTo>
                    <a:pt x="654" y="852"/>
                  </a:lnTo>
                  <a:lnTo>
                    <a:pt x="642" y="846"/>
                  </a:lnTo>
                  <a:lnTo>
                    <a:pt x="636" y="834"/>
                  </a:lnTo>
                  <a:lnTo>
                    <a:pt x="630" y="822"/>
                  </a:lnTo>
                  <a:lnTo>
                    <a:pt x="618" y="822"/>
                  </a:lnTo>
                  <a:lnTo>
                    <a:pt x="618" y="816"/>
                  </a:lnTo>
                  <a:lnTo>
                    <a:pt x="618" y="810"/>
                  </a:lnTo>
                  <a:lnTo>
                    <a:pt x="612" y="810"/>
                  </a:lnTo>
                  <a:lnTo>
                    <a:pt x="606" y="804"/>
                  </a:lnTo>
                  <a:lnTo>
                    <a:pt x="594" y="804"/>
                  </a:lnTo>
                  <a:lnTo>
                    <a:pt x="588" y="810"/>
                  </a:lnTo>
                  <a:lnTo>
                    <a:pt x="588" y="804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70" y="810"/>
                  </a:lnTo>
                  <a:lnTo>
                    <a:pt x="564" y="816"/>
                  </a:lnTo>
                  <a:lnTo>
                    <a:pt x="558" y="816"/>
                  </a:lnTo>
                  <a:lnTo>
                    <a:pt x="552" y="822"/>
                  </a:lnTo>
                  <a:lnTo>
                    <a:pt x="546" y="828"/>
                  </a:lnTo>
                  <a:lnTo>
                    <a:pt x="546" y="834"/>
                  </a:lnTo>
                  <a:lnTo>
                    <a:pt x="528" y="834"/>
                  </a:lnTo>
                  <a:lnTo>
                    <a:pt x="516" y="822"/>
                  </a:lnTo>
                  <a:lnTo>
                    <a:pt x="504" y="822"/>
                  </a:lnTo>
                  <a:lnTo>
                    <a:pt x="492" y="82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6" y="792"/>
                  </a:lnTo>
                  <a:lnTo>
                    <a:pt x="492" y="786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504" y="780"/>
                  </a:lnTo>
                  <a:lnTo>
                    <a:pt x="510" y="780"/>
                  </a:lnTo>
                  <a:lnTo>
                    <a:pt x="522" y="768"/>
                  </a:lnTo>
                  <a:lnTo>
                    <a:pt x="522" y="762"/>
                  </a:lnTo>
                  <a:lnTo>
                    <a:pt x="504" y="756"/>
                  </a:lnTo>
                  <a:lnTo>
                    <a:pt x="498" y="756"/>
                  </a:lnTo>
                  <a:lnTo>
                    <a:pt x="498" y="744"/>
                  </a:lnTo>
                  <a:lnTo>
                    <a:pt x="492" y="738"/>
                  </a:lnTo>
                  <a:lnTo>
                    <a:pt x="480" y="738"/>
                  </a:lnTo>
                  <a:lnTo>
                    <a:pt x="474" y="738"/>
                  </a:lnTo>
                  <a:lnTo>
                    <a:pt x="456" y="738"/>
                  </a:lnTo>
                  <a:lnTo>
                    <a:pt x="438" y="738"/>
                  </a:lnTo>
                  <a:lnTo>
                    <a:pt x="432" y="750"/>
                  </a:lnTo>
                  <a:lnTo>
                    <a:pt x="426" y="756"/>
                  </a:lnTo>
                  <a:lnTo>
                    <a:pt x="426" y="762"/>
                  </a:lnTo>
                  <a:lnTo>
                    <a:pt x="420" y="762"/>
                  </a:lnTo>
                  <a:lnTo>
                    <a:pt x="408" y="744"/>
                  </a:lnTo>
                  <a:lnTo>
                    <a:pt x="408" y="732"/>
                  </a:lnTo>
                  <a:lnTo>
                    <a:pt x="390" y="714"/>
                  </a:lnTo>
                  <a:lnTo>
                    <a:pt x="384" y="702"/>
                  </a:lnTo>
                  <a:lnTo>
                    <a:pt x="384" y="690"/>
                  </a:lnTo>
                  <a:lnTo>
                    <a:pt x="372" y="690"/>
                  </a:lnTo>
                  <a:lnTo>
                    <a:pt x="366" y="660"/>
                  </a:lnTo>
                  <a:lnTo>
                    <a:pt x="354" y="630"/>
                  </a:lnTo>
                  <a:lnTo>
                    <a:pt x="348" y="630"/>
                  </a:lnTo>
                  <a:lnTo>
                    <a:pt x="336" y="630"/>
                  </a:lnTo>
                  <a:lnTo>
                    <a:pt x="330" y="630"/>
                  </a:lnTo>
                  <a:lnTo>
                    <a:pt x="318" y="630"/>
                  </a:lnTo>
                  <a:lnTo>
                    <a:pt x="312" y="624"/>
                  </a:lnTo>
                  <a:lnTo>
                    <a:pt x="306" y="624"/>
                  </a:lnTo>
                  <a:lnTo>
                    <a:pt x="294" y="618"/>
                  </a:lnTo>
                  <a:lnTo>
                    <a:pt x="288" y="612"/>
                  </a:lnTo>
                  <a:lnTo>
                    <a:pt x="276" y="600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58" y="588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8"/>
                  </a:lnTo>
                  <a:lnTo>
                    <a:pt x="216" y="582"/>
                  </a:lnTo>
                  <a:lnTo>
                    <a:pt x="210" y="588"/>
                  </a:lnTo>
                  <a:lnTo>
                    <a:pt x="198" y="582"/>
                  </a:lnTo>
                  <a:lnTo>
                    <a:pt x="180" y="582"/>
                  </a:lnTo>
                  <a:lnTo>
                    <a:pt x="174" y="552"/>
                  </a:lnTo>
                  <a:lnTo>
                    <a:pt x="168" y="504"/>
                  </a:lnTo>
                  <a:lnTo>
                    <a:pt x="186" y="504"/>
                  </a:lnTo>
                  <a:lnTo>
                    <a:pt x="192" y="504"/>
                  </a:lnTo>
                  <a:lnTo>
                    <a:pt x="192" y="498"/>
                  </a:lnTo>
                  <a:lnTo>
                    <a:pt x="192" y="492"/>
                  </a:lnTo>
                  <a:lnTo>
                    <a:pt x="192" y="486"/>
                  </a:lnTo>
                  <a:lnTo>
                    <a:pt x="198" y="486"/>
                  </a:lnTo>
                  <a:lnTo>
                    <a:pt x="198" y="480"/>
                  </a:lnTo>
                  <a:lnTo>
                    <a:pt x="204" y="474"/>
                  </a:lnTo>
                  <a:lnTo>
                    <a:pt x="210" y="468"/>
                  </a:lnTo>
                  <a:lnTo>
                    <a:pt x="198" y="462"/>
                  </a:lnTo>
                  <a:lnTo>
                    <a:pt x="192" y="444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32"/>
                  </a:lnTo>
                  <a:lnTo>
                    <a:pt x="168" y="438"/>
                  </a:lnTo>
                  <a:lnTo>
                    <a:pt x="150" y="450"/>
                  </a:lnTo>
                  <a:lnTo>
                    <a:pt x="144" y="456"/>
                  </a:lnTo>
                  <a:lnTo>
                    <a:pt x="132" y="456"/>
                  </a:lnTo>
                  <a:lnTo>
                    <a:pt x="126" y="468"/>
                  </a:lnTo>
                  <a:lnTo>
                    <a:pt x="114" y="468"/>
                  </a:lnTo>
                  <a:lnTo>
                    <a:pt x="108" y="468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14"/>
                  </a:lnTo>
                  <a:lnTo>
                    <a:pt x="108" y="396"/>
                  </a:lnTo>
                  <a:lnTo>
                    <a:pt x="120" y="396"/>
                  </a:lnTo>
                  <a:lnTo>
                    <a:pt x="126" y="384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84" y="354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0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60" y="318"/>
                  </a:lnTo>
                  <a:lnTo>
                    <a:pt x="42" y="324"/>
                  </a:lnTo>
                  <a:lnTo>
                    <a:pt x="36" y="318"/>
                  </a:lnTo>
                  <a:lnTo>
                    <a:pt x="36" y="312"/>
                  </a:lnTo>
                  <a:lnTo>
                    <a:pt x="36" y="306"/>
                  </a:lnTo>
                  <a:lnTo>
                    <a:pt x="36" y="300"/>
                  </a:lnTo>
                  <a:lnTo>
                    <a:pt x="30" y="300"/>
                  </a:lnTo>
                  <a:lnTo>
                    <a:pt x="30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24" y="276"/>
                  </a:lnTo>
                  <a:lnTo>
                    <a:pt x="18" y="276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18" y="234"/>
                  </a:lnTo>
                  <a:lnTo>
                    <a:pt x="30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42" y="192"/>
                  </a:lnTo>
                  <a:lnTo>
                    <a:pt x="66" y="186"/>
                  </a:lnTo>
                  <a:lnTo>
                    <a:pt x="90" y="156"/>
                  </a:lnTo>
                  <a:lnTo>
                    <a:pt x="102" y="144"/>
                  </a:lnTo>
                  <a:lnTo>
                    <a:pt x="138" y="150"/>
                  </a:lnTo>
                  <a:lnTo>
                    <a:pt x="162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0" y="180"/>
                  </a:lnTo>
                  <a:lnTo>
                    <a:pt x="174" y="180"/>
                  </a:lnTo>
                  <a:lnTo>
                    <a:pt x="180" y="186"/>
                  </a:lnTo>
                  <a:lnTo>
                    <a:pt x="186" y="186"/>
                  </a:lnTo>
                  <a:lnTo>
                    <a:pt x="198" y="192"/>
                  </a:lnTo>
                  <a:lnTo>
                    <a:pt x="216" y="198"/>
                  </a:lnTo>
                  <a:lnTo>
                    <a:pt x="252" y="204"/>
                  </a:lnTo>
                  <a:lnTo>
                    <a:pt x="258" y="210"/>
                  </a:lnTo>
                  <a:lnTo>
                    <a:pt x="306" y="216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84" y="210"/>
                  </a:lnTo>
                  <a:lnTo>
                    <a:pt x="408" y="222"/>
                  </a:lnTo>
                  <a:lnTo>
                    <a:pt x="438" y="228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86" y="222"/>
                  </a:lnTo>
                  <a:lnTo>
                    <a:pt x="492" y="210"/>
                  </a:lnTo>
                  <a:lnTo>
                    <a:pt x="492" y="198"/>
                  </a:lnTo>
                  <a:lnTo>
                    <a:pt x="486" y="180"/>
                  </a:lnTo>
                  <a:lnTo>
                    <a:pt x="492" y="162"/>
                  </a:lnTo>
                  <a:lnTo>
                    <a:pt x="510" y="96"/>
                  </a:lnTo>
                  <a:lnTo>
                    <a:pt x="516" y="84"/>
                  </a:lnTo>
                  <a:lnTo>
                    <a:pt x="522" y="84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34" y="72"/>
                  </a:lnTo>
                  <a:lnTo>
                    <a:pt x="534" y="60"/>
                  </a:lnTo>
                  <a:lnTo>
                    <a:pt x="540" y="36"/>
                  </a:lnTo>
                  <a:lnTo>
                    <a:pt x="546" y="6"/>
                  </a:lnTo>
                  <a:lnTo>
                    <a:pt x="558" y="6"/>
                  </a:lnTo>
                  <a:lnTo>
                    <a:pt x="564" y="0"/>
                  </a:lnTo>
                  <a:lnTo>
                    <a:pt x="582" y="0"/>
                  </a:lnTo>
                  <a:lnTo>
                    <a:pt x="588" y="0"/>
                  </a:lnTo>
                  <a:lnTo>
                    <a:pt x="594" y="6"/>
                  </a:lnTo>
                  <a:lnTo>
                    <a:pt x="600" y="12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24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36" y="36"/>
                  </a:lnTo>
                  <a:lnTo>
                    <a:pt x="642" y="36"/>
                  </a:lnTo>
                  <a:lnTo>
                    <a:pt x="642" y="42"/>
                  </a:lnTo>
                  <a:lnTo>
                    <a:pt x="648" y="54"/>
                  </a:lnTo>
                  <a:lnTo>
                    <a:pt x="660" y="72"/>
                  </a:lnTo>
                  <a:lnTo>
                    <a:pt x="666" y="78"/>
                  </a:lnTo>
                  <a:lnTo>
                    <a:pt x="672" y="90"/>
                  </a:lnTo>
                  <a:lnTo>
                    <a:pt x="678" y="102"/>
                  </a:lnTo>
                  <a:lnTo>
                    <a:pt x="678" y="114"/>
                  </a:lnTo>
                  <a:lnTo>
                    <a:pt x="684" y="132"/>
                  </a:lnTo>
                  <a:lnTo>
                    <a:pt x="684" y="144"/>
                  </a:lnTo>
                  <a:lnTo>
                    <a:pt x="690" y="162"/>
                  </a:lnTo>
                  <a:lnTo>
                    <a:pt x="696" y="168"/>
                  </a:lnTo>
                  <a:lnTo>
                    <a:pt x="696" y="180"/>
                  </a:lnTo>
                  <a:lnTo>
                    <a:pt x="702" y="186"/>
                  </a:lnTo>
                  <a:lnTo>
                    <a:pt x="708" y="186"/>
                  </a:lnTo>
                  <a:lnTo>
                    <a:pt x="714" y="198"/>
                  </a:lnTo>
                  <a:lnTo>
                    <a:pt x="720" y="198"/>
                  </a:lnTo>
                  <a:lnTo>
                    <a:pt x="732" y="204"/>
                  </a:lnTo>
                  <a:lnTo>
                    <a:pt x="738" y="210"/>
                  </a:lnTo>
                  <a:lnTo>
                    <a:pt x="738" y="216"/>
                  </a:lnTo>
                  <a:lnTo>
                    <a:pt x="744" y="222"/>
                  </a:lnTo>
                  <a:lnTo>
                    <a:pt x="750" y="228"/>
                  </a:lnTo>
                  <a:lnTo>
                    <a:pt x="756" y="228"/>
                  </a:lnTo>
                  <a:lnTo>
                    <a:pt x="768" y="240"/>
                  </a:lnTo>
                  <a:lnTo>
                    <a:pt x="774" y="252"/>
                  </a:lnTo>
                  <a:lnTo>
                    <a:pt x="780" y="258"/>
                  </a:lnTo>
                  <a:lnTo>
                    <a:pt x="786" y="258"/>
                  </a:lnTo>
                  <a:lnTo>
                    <a:pt x="798" y="264"/>
                  </a:lnTo>
                  <a:lnTo>
                    <a:pt x="798" y="270"/>
                  </a:lnTo>
                  <a:lnTo>
                    <a:pt x="798" y="276"/>
                  </a:lnTo>
                  <a:lnTo>
                    <a:pt x="810" y="288"/>
                  </a:lnTo>
                  <a:lnTo>
                    <a:pt x="816" y="288"/>
                  </a:lnTo>
                  <a:lnTo>
                    <a:pt x="816" y="300"/>
                  </a:lnTo>
                  <a:lnTo>
                    <a:pt x="816" y="306"/>
                  </a:lnTo>
                  <a:lnTo>
                    <a:pt x="822" y="318"/>
                  </a:lnTo>
                  <a:lnTo>
                    <a:pt x="828" y="324"/>
                  </a:lnTo>
                  <a:lnTo>
                    <a:pt x="834" y="330"/>
                  </a:lnTo>
                  <a:lnTo>
                    <a:pt x="846" y="336"/>
                  </a:lnTo>
                  <a:lnTo>
                    <a:pt x="846" y="342"/>
                  </a:lnTo>
                  <a:lnTo>
                    <a:pt x="852" y="348"/>
                  </a:lnTo>
                  <a:lnTo>
                    <a:pt x="852" y="354"/>
                  </a:lnTo>
                  <a:lnTo>
                    <a:pt x="858" y="354"/>
                  </a:lnTo>
                  <a:lnTo>
                    <a:pt x="858" y="348"/>
                  </a:lnTo>
                  <a:lnTo>
                    <a:pt x="864" y="342"/>
                  </a:lnTo>
                  <a:lnTo>
                    <a:pt x="864" y="336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76" y="306"/>
                  </a:lnTo>
                  <a:lnTo>
                    <a:pt x="870" y="300"/>
                  </a:lnTo>
                  <a:lnTo>
                    <a:pt x="870" y="294"/>
                  </a:lnTo>
                  <a:lnTo>
                    <a:pt x="876" y="294"/>
                  </a:lnTo>
                  <a:lnTo>
                    <a:pt x="882" y="300"/>
                  </a:lnTo>
                  <a:lnTo>
                    <a:pt x="888" y="300"/>
                  </a:lnTo>
                  <a:lnTo>
                    <a:pt x="888" y="306"/>
                  </a:lnTo>
                  <a:lnTo>
                    <a:pt x="894" y="300"/>
                  </a:lnTo>
                  <a:lnTo>
                    <a:pt x="900" y="294"/>
                  </a:lnTo>
                  <a:lnTo>
                    <a:pt x="894" y="288"/>
                  </a:lnTo>
                  <a:lnTo>
                    <a:pt x="888" y="282"/>
                  </a:lnTo>
                  <a:lnTo>
                    <a:pt x="888" y="276"/>
                  </a:lnTo>
                  <a:lnTo>
                    <a:pt x="894" y="276"/>
                  </a:lnTo>
                  <a:lnTo>
                    <a:pt x="900" y="276"/>
                  </a:lnTo>
                  <a:lnTo>
                    <a:pt x="900" y="270"/>
                  </a:lnTo>
                  <a:lnTo>
                    <a:pt x="906" y="264"/>
                  </a:lnTo>
                  <a:lnTo>
                    <a:pt x="906" y="258"/>
                  </a:lnTo>
                  <a:lnTo>
                    <a:pt x="918" y="264"/>
                  </a:lnTo>
                  <a:lnTo>
                    <a:pt x="918" y="258"/>
                  </a:lnTo>
                  <a:lnTo>
                    <a:pt x="924" y="252"/>
                  </a:lnTo>
                  <a:lnTo>
                    <a:pt x="930" y="252"/>
                  </a:lnTo>
                  <a:lnTo>
                    <a:pt x="930" y="246"/>
                  </a:lnTo>
                  <a:lnTo>
                    <a:pt x="936" y="234"/>
                  </a:lnTo>
                  <a:lnTo>
                    <a:pt x="942" y="228"/>
                  </a:lnTo>
                  <a:lnTo>
                    <a:pt x="942" y="222"/>
                  </a:lnTo>
                  <a:lnTo>
                    <a:pt x="948" y="222"/>
                  </a:lnTo>
                  <a:lnTo>
                    <a:pt x="948" y="216"/>
                  </a:lnTo>
                  <a:lnTo>
                    <a:pt x="942" y="216"/>
                  </a:lnTo>
                  <a:lnTo>
                    <a:pt x="936" y="216"/>
                  </a:lnTo>
                  <a:lnTo>
                    <a:pt x="936" y="210"/>
                  </a:lnTo>
                  <a:lnTo>
                    <a:pt x="942" y="210"/>
                  </a:lnTo>
                  <a:lnTo>
                    <a:pt x="972" y="210"/>
                  </a:lnTo>
                  <a:lnTo>
                    <a:pt x="1032" y="216"/>
                  </a:lnTo>
                  <a:lnTo>
                    <a:pt x="1068" y="216"/>
                  </a:lnTo>
                  <a:lnTo>
                    <a:pt x="1056" y="234"/>
                  </a:lnTo>
                  <a:lnTo>
                    <a:pt x="1050" y="240"/>
                  </a:lnTo>
                  <a:lnTo>
                    <a:pt x="1044" y="246"/>
                  </a:lnTo>
                  <a:lnTo>
                    <a:pt x="1038" y="246"/>
                  </a:lnTo>
                  <a:lnTo>
                    <a:pt x="1026" y="282"/>
                  </a:lnTo>
                  <a:lnTo>
                    <a:pt x="1032" y="306"/>
                  </a:lnTo>
                  <a:lnTo>
                    <a:pt x="1044" y="324"/>
                  </a:lnTo>
                  <a:lnTo>
                    <a:pt x="1044" y="342"/>
                  </a:lnTo>
                  <a:lnTo>
                    <a:pt x="1062" y="366"/>
                  </a:lnTo>
                  <a:lnTo>
                    <a:pt x="1056" y="396"/>
                  </a:lnTo>
                  <a:lnTo>
                    <a:pt x="1038" y="462"/>
                  </a:lnTo>
                  <a:lnTo>
                    <a:pt x="1038" y="498"/>
                  </a:lnTo>
                  <a:lnTo>
                    <a:pt x="1038" y="522"/>
                  </a:lnTo>
                  <a:lnTo>
                    <a:pt x="1038" y="534"/>
                  </a:lnTo>
                  <a:lnTo>
                    <a:pt x="1056" y="522"/>
                  </a:lnTo>
                  <a:lnTo>
                    <a:pt x="1098" y="504"/>
                  </a:lnTo>
                  <a:lnTo>
                    <a:pt x="1104" y="498"/>
                  </a:lnTo>
                  <a:lnTo>
                    <a:pt x="1128" y="492"/>
                  </a:lnTo>
                  <a:lnTo>
                    <a:pt x="1152" y="480"/>
                  </a:lnTo>
                  <a:lnTo>
                    <a:pt x="1170" y="474"/>
                  </a:lnTo>
                  <a:lnTo>
                    <a:pt x="1188" y="468"/>
                  </a:lnTo>
                  <a:lnTo>
                    <a:pt x="1200" y="462"/>
                  </a:lnTo>
                  <a:lnTo>
                    <a:pt x="1224" y="450"/>
                  </a:lnTo>
                  <a:lnTo>
                    <a:pt x="1248" y="450"/>
                  </a:lnTo>
                  <a:lnTo>
                    <a:pt x="1266" y="450"/>
                  </a:lnTo>
                  <a:lnTo>
                    <a:pt x="1296" y="456"/>
                  </a:lnTo>
                  <a:lnTo>
                    <a:pt x="1308" y="456"/>
                  </a:lnTo>
                  <a:lnTo>
                    <a:pt x="1326" y="456"/>
                  </a:lnTo>
                  <a:lnTo>
                    <a:pt x="1338" y="456"/>
                  </a:lnTo>
                  <a:lnTo>
                    <a:pt x="1350" y="462"/>
                  </a:lnTo>
                  <a:lnTo>
                    <a:pt x="1356" y="462"/>
                  </a:lnTo>
                  <a:lnTo>
                    <a:pt x="1374" y="456"/>
                  </a:lnTo>
                  <a:lnTo>
                    <a:pt x="1386" y="456"/>
                  </a:lnTo>
                  <a:lnTo>
                    <a:pt x="1392" y="456"/>
                  </a:lnTo>
                  <a:lnTo>
                    <a:pt x="1398" y="456"/>
                  </a:lnTo>
                  <a:lnTo>
                    <a:pt x="1422" y="456"/>
                  </a:lnTo>
                  <a:lnTo>
                    <a:pt x="1440" y="456"/>
                  </a:lnTo>
                  <a:lnTo>
                    <a:pt x="1446" y="456"/>
                  </a:lnTo>
                  <a:lnTo>
                    <a:pt x="1476" y="456"/>
                  </a:lnTo>
                  <a:lnTo>
                    <a:pt x="1470" y="468"/>
                  </a:lnTo>
                  <a:lnTo>
                    <a:pt x="1470" y="474"/>
                  </a:lnTo>
                  <a:lnTo>
                    <a:pt x="1470" y="486"/>
                  </a:lnTo>
                  <a:lnTo>
                    <a:pt x="1464" y="492"/>
                  </a:lnTo>
                  <a:lnTo>
                    <a:pt x="1464" y="498"/>
                  </a:lnTo>
                  <a:lnTo>
                    <a:pt x="1458" y="498"/>
                  </a:lnTo>
                  <a:lnTo>
                    <a:pt x="1458" y="510"/>
                  </a:lnTo>
                  <a:lnTo>
                    <a:pt x="1452" y="522"/>
                  </a:lnTo>
                  <a:lnTo>
                    <a:pt x="1458" y="528"/>
                  </a:lnTo>
                  <a:lnTo>
                    <a:pt x="1464" y="546"/>
                  </a:lnTo>
                  <a:lnTo>
                    <a:pt x="1470" y="552"/>
                  </a:lnTo>
                  <a:lnTo>
                    <a:pt x="1476" y="564"/>
                  </a:lnTo>
                  <a:lnTo>
                    <a:pt x="1488" y="588"/>
                  </a:lnTo>
                  <a:lnTo>
                    <a:pt x="1506" y="606"/>
                  </a:lnTo>
                  <a:lnTo>
                    <a:pt x="1506" y="612"/>
                  </a:lnTo>
                  <a:lnTo>
                    <a:pt x="1518" y="618"/>
                  </a:lnTo>
                  <a:lnTo>
                    <a:pt x="1512" y="630"/>
                  </a:lnTo>
                  <a:lnTo>
                    <a:pt x="1518" y="642"/>
                  </a:lnTo>
                  <a:lnTo>
                    <a:pt x="1518" y="648"/>
                  </a:lnTo>
                  <a:lnTo>
                    <a:pt x="1530" y="666"/>
                  </a:lnTo>
                  <a:lnTo>
                    <a:pt x="1518" y="672"/>
                  </a:lnTo>
                  <a:lnTo>
                    <a:pt x="1524" y="696"/>
                  </a:lnTo>
                  <a:lnTo>
                    <a:pt x="1518" y="732"/>
                  </a:lnTo>
                  <a:lnTo>
                    <a:pt x="1524" y="762"/>
                  </a:lnTo>
                  <a:lnTo>
                    <a:pt x="1524" y="780"/>
                  </a:lnTo>
                  <a:lnTo>
                    <a:pt x="1524" y="810"/>
                  </a:lnTo>
                  <a:lnTo>
                    <a:pt x="1530" y="834"/>
                  </a:lnTo>
                  <a:lnTo>
                    <a:pt x="1536" y="846"/>
                  </a:lnTo>
                  <a:lnTo>
                    <a:pt x="1542" y="846"/>
                  </a:lnTo>
                  <a:lnTo>
                    <a:pt x="1584" y="840"/>
                  </a:lnTo>
                  <a:lnTo>
                    <a:pt x="1590" y="846"/>
                  </a:lnTo>
                  <a:lnTo>
                    <a:pt x="1596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90" y="864"/>
                  </a:lnTo>
                  <a:lnTo>
                    <a:pt x="1578" y="882"/>
                  </a:lnTo>
                  <a:lnTo>
                    <a:pt x="1572" y="906"/>
                  </a:lnTo>
                  <a:lnTo>
                    <a:pt x="1560" y="924"/>
                  </a:lnTo>
                  <a:lnTo>
                    <a:pt x="1560" y="936"/>
                  </a:lnTo>
                  <a:lnTo>
                    <a:pt x="1548" y="960"/>
                  </a:lnTo>
                  <a:lnTo>
                    <a:pt x="1542" y="978"/>
                  </a:lnTo>
                  <a:lnTo>
                    <a:pt x="1536" y="990"/>
                  </a:lnTo>
                  <a:lnTo>
                    <a:pt x="1530" y="990"/>
                  </a:lnTo>
                  <a:lnTo>
                    <a:pt x="1506" y="996"/>
                  </a:lnTo>
                  <a:lnTo>
                    <a:pt x="1494" y="1002"/>
                  </a:lnTo>
                  <a:lnTo>
                    <a:pt x="1482" y="1002"/>
                  </a:lnTo>
                  <a:lnTo>
                    <a:pt x="1464" y="1008"/>
                  </a:lnTo>
                  <a:lnTo>
                    <a:pt x="1446" y="1026"/>
                  </a:lnTo>
                  <a:lnTo>
                    <a:pt x="1440" y="1026"/>
                  </a:lnTo>
                  <a:lnTo>
                    <a:pt x="1434" y="1038"/>
                  </a:lnTo>
                  <a:lnTo>
                    <a:pt x="1428" y="1044"/>
                  </a:lnTo>
                  <a:lnTo>
                    <a:pt x="1428" y="1062"/>
                  </a:lnTo>
                  <a:lnTo>
                    <a:pt x="1428" y="1086"/>
                  </a:lnTo>
                  <a:lnTo>
                    <a:pt x="1416" y="1092"/>
                  </a:lnTo>
                  <a:lnTo>
                    <a:pt x="1410" y="1080"/>
                  </a:lnTo>
                  <a:lnTo>
                    <a:pt x="1392" y="108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0" name="Freeform 25">
              <a:extLst>
                <a:ext uri="{FF2B5EF4-FFF2-40B4-BE49-F238E27FC236}">
                  <a16:creationId xmlns:a16="http://schemas.microsoft.com/office/drawing/2014/main" id="{39FDFF90-5ACF-4D65-81AD-C44D2CBE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70228" y="3063559"/>
              <a:ext cx="644023" cy="704498"/>
            </a:xfrm>
            <a:custGeom>
              <a:avLst/>
              <a:gdLst>
                <a:gd name="T0" fmla="*/ 74 w 1212"/>
                <a:gd name="T1" fmla="*/ 113 h 1326"/>
                <a:gd name="T2" fmla="*/ 60 w 1212"/>
                <a:gd name="T3" fmla="*/ 116 h 1326"/>
                <a:gd name="T4" fmla="*/ 62 w 1212"/>
                <a:gd name="T5" fmla="*/ 110 h 1326"/>
                <a:gd name="T6" fmla="*/ 60 w 1212"/>
                <a:gd name="T7" fmla="*/ 105 h 1326"/>
                <a:gd name="T8" fmla="*/ 52 w 1212"/>
                <a:gd name="T9" fmla="*/ 96 h 1326"/>
                <a:gd name="T10" fmla="*/ 47 w 1212"/>
                <a:gd name="T11" fmla="*/ 98 h 1326"/>
                <a:gd name="T12" fmla="*/ 44 w 1212"/>
                <a:gd name="T13" fmla="*/ 93 h 1326"/>
                <a:gd name="T14" fmla="*/ 40 w 1212"/>
                <a:gd name="T15" fmla="*/ 96 h 1326"/>
                <a:gd name="T16" fmla="*/ 35 w 1212"/>
                <a:gd name="T17" fmla="*/ 102 h 1326"/>
                <a:gd name="T18" fmla="*/ 27 w 1212"/>
                <a:gd name="T19" fmla="*/ 100 h 1326"/>
                <a:gd name="T20" fmla="*/ 23 w 1212"/>
                <a:gd name="T21" fmla="*/ 96 h 1326"/>
                <a:gd name="T22" fmla="*/ 20 w 1212"/>
                <a:gd name="T23" fmla="*/ 90 h 1326"/>
                <a:gd name="T24" fmla="*/ 18 w 1212"/>
                <a:gd name="T25" fmla="*/ 89 h 1326"/>
                <a:gd name="T26" fmla="*/ 18 w 1212"/>
                <a:gd name="T27" fmla="*/ 85 h 1326"/>
                <a:gd name="T28" fmla="*/ 19 w 1212"/>
                <a:gd name="T29" fmla="*/ 83 h 1326"/>
                <a:gd name="T30" fmla="*/ 19 w 1212"/>
                <a:gd name="T31" fmla="*/ 82 h 1326"/>
                <a:gd name="T32" fmla="*/ 20 w 1212"/>
                <a:gd name="T33" fmla="*/ 79 h 1326"/>
                <a:gd name="T34" fmla="*/ 19 w 1212"/>
                <a:gd name="T35" fmla="*/ 75 h 1326"/>
                <a:gd name="T36" fmla="*/ 17 w 1212"/>
                <a:gd name="T37" fmla="*/ 77 h 1326"/>
                <a:gd name="T38" fmla="*/ 14 w 1212"/>
                <a:gd name="T39" fmla="*/ 76 h 1326"/>
                <a:gd name="T40" fmla="*/ 12 w 1212"/>
                <a:gd name="T41" fmla="*/ 71 h 1326"/>
                <a:gd name="T42" fmla="*/ 8 w 1212"/>
                <a:gd name="T43" fmla="*/ 69 h 1326"/>
                <a:gd name="T44" fmla="*/ 0 w 1212"/>
                <a:gd name="T45" fmla="*/ 72 h 1326"/>
                <a:gd name="T46" fmla="*/ 2 w 1212"/>
                <a:gd name="T47" fmla="*/ 67 h 1326"/>
                <a:gd name="T48" fmla="*/ 3 w 1212"/>
                <a:gd name="T49" fmla="*/ 61 h 1326"/>
                <a:gd name="T50" fmla="*/ 4 w 1212"/>
                <a:gd name="T51" fmla="*/ 56 h 1326"/>
                <a:gd name="T52" fmla="*/ 4 w 1212"/>
                <a:gd name="T53" fmla="*/ 52 h 1326"/>
                <a:gd name="T54" fmla="*/ 2 w 1212"/>
                <a:gd name="T55" fmla="*/ 47 h 1326"/>
                <a:gd name="T56" fmla="*/ 2 w 1212"/>
                <a:gd name="T57" fmla="*/ 42 h 1326"/>
                <a:gd name="T58" fmla="*/ 5 w 1212"/>
                <a:gd name="T59" fmla="*/ 39 h 1326"/>
                <a:gd name="T60" fmla="*/ 5 w 1212"/>
                <a:gd name="T61" fmla="*/ 35 h 1326"/>
                <a:gd name="T62" fmla="*/ 7 w 1212"/>
                <a:gd name="T63" fmla="*/ 31 h 1326"/>
                <a:gd name="T64" fmla="*/ 14 w 1212"/>
                <a:gd name="T65" fmla="*/ 31 h 1326"/>
                <a:gd name="T66" fmla="*/ 18 w 1212"/>
                <a:gd name="T67" fmla="*/ 27 h 1326"/>
                <a:gd name="T68" fmla="*/ 22 w 1212"/>
                <a:gd name="T69" fmla="*/ 24 h 1326"/>
                <a:gd name="T70" fmla="*/ 27 w 1212"/>
                <a:gd name="T71" fmla="*/ 20 h 1326"/>
                <a:gd name="T72" fmla="*/ 35 w 1212"/>
                <a:gd name="T73" fmla="*/ 21 h 1326"/>
                <a:gd name="T74" fmla="*/ 61 w 1212"/>
                <a:gd name="T75" fmla="*/ 8 h 1326"/>
                <a:gd name="T76" fmla="*/ 73 w 1212"/>
                <a:gd name="T77" fmla="*/ 4 h 1326"/>
                <a:gd name="T78" fmla="*/ 86 w 1212"/>
                <a:gd name="T79" fmla="*/ 12 h 1326"/>
                <a:gd name="T80" fmla="*/ 92 w 1212"/>
                <a:gd name="T81" fmla="*/ 13 h 1326"/>
                <a:gd name="T82" fmla="*/ 86 w 1212"/>
                <a:gd name="T83" fmla="*/ 18 h 1326"/>
                <a:gd name="T84" fmla="*/ 88 w 1212"/>
                <a:gd name="T85" fmla="*/ 33 h 1326"/>
                <a:gd name="T86" fmla="*/ 97 w 1212"/>
                <a:gd name="T87" fmla="*/ 49 h 1326"/>
                <a:gd name="T88" fmla="*/ 102 w 1212"/>
                <a:gd name="T89" fmla="*/ 57 h 1326"/>
                <a:gd name="T90" fmla="*/ 104 w 1212"/>
                <a:gd name="T91" fmla="*/ 67 h 1326"/>
                <a:gd name="T92" fmla="*/ 101 w 1212"/>
                <a:gd name="T93" fmla="*/ 69 h 1326"/>
                <a:gd name="T94" fmla="*/ 97 w 1212"/>
                <a:gd name="T95" fmla="*/ 69 h 1326"/>
                <a:gd name="T96" fmla="*/ 96 w 1212"/>
                <a:gd name="T97" fmla="*/ 71 h 1326"/>
                <a:gd name="T98" fmla="*/ 93 w 1212"/>
                <a:gd name="T99" fmla="*/ 70 h 1326"/>
                <a:gd name="T100" fmla="*/ 86 w 1212"/>
                <a:gd name="T101" fmla="*/ 69 h 1326"/>
                <a:gd name="T102" fmla="*/ 82 w 1212"/>
                <a:gd name="T103" fmla="*/ 73 h 1326"/>
                <a:gd name="T104" fmla="*/ 79 w 1212"/>
                <a:gd name="T105" fmla="*/ 74 h 1326"/>
                <a:gd name="T106" fmla="*/ 78 w 1212"/>
                <a:gd name="T107" fmla="*/ 79 h 1326"/>
                <a:gd name="T108" fmla="*/ 78 w 1212"/>
                <a:gd name="T109" fmla="*/ 83 h 1326"/>
                <a:gd name="T110" fmla="*/ 82 w 1212"/>
                <a:gd name="T111" fmla="*/ 87 h 1326"/>
                <a:gd name="T112" fmla="*/ 83 w 1212"/>
                <a:gd name="T113" fmla="*/ 90 h 1326"/>
                <a:gd name="T114" fmla="*/ 82 w 1212"/>
                <a:gd name="T115" fmla="*/ 94 h 1326"/>
                <a:gd name="T116" fmla="*/ 82 w 1212"/>
                <a:gd name="T117" fmla="*/ 98 h 1326"/>
                <a:gd name="T118" fmla="*/ 82 w 1212"/>
                <a:gd name="T119" fmla="*/ 104 h 1326"/>
                <a:gd name="T120" fmla="*/ 78 w 1212"/>
                <a:gd name="T121" fmla="*/ 110 h 132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12"/>
                <a:gd name="T184" fmla="*/ 0 h 1326"/>
                <a:gd name="T185" fmla="*/ 1212 w 1212"/>
                <a:gd name="T186" fmla="*/ 1326 h 132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12" h="1326">
                  <a:moveTo>
                    <a:pt x="906" y="1290"/>
                  </a:moveTo>
                  <a:lnTo>
                    <a:pt x="906" y="1296"/>
                  </a:lnTo>
                  <a:lnTo>
                    <a:pt x="900" y="1296"/>
                  </a:lnTo>
                  <a:lnTo>
                    <a:pt x="876" y="1290"/>
                  </a:lnTo>
                  <a:lnTo>
                    <a:pt x="870" y="1290"/>
                  </a:lnTo>
                  <a:lnTo>
                    <a:pt x="864" y="1296"/>
                  </a:lnTo>
                  <a:lnTo>
                    <a:pt x="852" y="1296"/>
                  </a:lnTo>
                  <a:lnTo>
                    <a:pt x="840" y="1302"/>
                  </a:lnTo>
                  <a:lnTo>
                    <a:pt x="834" y="1308"/>
                  </a:lnTo>
                  <a:lnTo>
                    <a:pt x="822" y="1320"/>
                  </a:lnTo>
                  <a:lnTo>
                    <a:pt x="816" y="1320"/>
                  </a:lnTo>
                  <a:lnTo>
                    <a:pt x="732" y="1320"/>
                  </a:lnTo>
                  <a:lnTo>
                    <a:pt x="696" y="1320"/>
                  </a:lnTo>
                  <a:lnTo>
                    <a:pt x="690" y="1326"/>
                  </a:lnTo>
                  <a:lnTo>
                    <a:pt x="678" y="1326"/>
                  </a:lnTo>
                  <a:lnTo>
                    <a:pt x="672" y="1308"/>
                  </a:lnTo>
                  <a:lnTo>
                    <a:pt x="696" y="1302"/>
                  </a:lnTo>
                  <a:lnTo>
                    <a:pt x="708" y="1296"/>
                  </a:lnTo>
                  <a:lnTo>
                    <a:pt x="720" y="1284"/>
                  </a:lnTo>
                  <a:lnTo>
                    <a:pt x="714" y="1278"/>
                  </a:lnTo>
                  <a:lnTo>
                    <a:pt x="714" y="1266"/>
                  </a:lnTo>
                  <a:lnTo>
                    <a:pt x="708" y="1260"/>
                  </a:lnTo>
                  <a:lnTo>
                    <a:pt x="708" y="1254"/>
                  </a:lnTo>
                  <a:lnTo>
                    <a:pt x="708" y="1248"/>
                  </a:lnTo>
                  <a:lnTo>
                    <a:pt x="702" y="1236"/>
                  </a:lnTo>
                  <a:lnTo>
                    <a:pt x="702" y="1230"/>
                  </a:lnTo>
                  <a:lnTo>
                    <a:pt x="702" y="1218"/>
                  </a:lnTo>
                  <a:lnTo>
                    <a:pt x="696" y="1200"/>
                  </a:lnTo>
                  <a:lnTo>
                    <a:pt x="696" y="1182"/>
                  </a:lnTo>
                  <a:lnTo>
                    <a:pt x="666" y="1182"/>
                  </a:lnTo>
                  <a:lnTo>
                    <a:pt x="672" y="1134"/>
                  </a:lnTo>
                  <a:lnTo>
                    <a:pt x="666" y="1128"/>
                  </a:lnTo>
                  <a:lnTo>
                    <a:pt x="660" y="1092"/>
                  </a:lnTo>
                  <a:lnTo>
                    <a:pt x="654" y="1098"/>
                  </a:lnTo>
                  <a:lnTo>
                    <a:pt x="594" y="1098"/>
                  </a:lnTo>
                  <a:lnTo>
                    <a:pt x="576" y="1098"/>
                  </a:lnTo>
                  <a:lnTo>
                    <a:pt x="570" y="1104"/>
                  </a:lnTo>
                  <a:lnTo>
                    <a:pt x="564" y="1110"/>
                  </a:lnTo>
                  <a:lnTo>
                    <a:pt x="558" y="1110"/>
                  </a:lnTo>
                  <a:lnTo>
                    <a:pt x="552" y="1110"/>
                  </a:lnTo>
                  <a:lnTo>
                    <a:pt x="546" y="1110"/>
                  </a:lnTo>
                  <a:lnTo>
                    <a:pt x="546" y="1116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10" y="1128"/>
                  </a:lnTo>
                  <a:lnTo>
                    <a:pt x="522" y="1104"/>
                  </a:lnTo>
                  <a:lnTo>
                    <a:pt x="510" y="1098"/>
                  </a:lnTo>
                  <a:lnTo>
                    <a:pt x="510" y="1074"/>
                  </a:lnTo>
                  <a:lnTo>
                    <a:pt x="504" y="1068"/>
                  </a:lnTo>
                  <a:lnTo>
                    <a:pt x="498" y="1068"/>
                  </a:lnTo>
                  <a:lnTo>
                    <a:pt x="492" y="1068"/>
                  </a:lnTo>
                  <a:lnTo>
                    <a:pt x="474" y="1080"/>
                  </a:lnTo>
                  <a:lnTo>
                    <a:pt x="474" y="1086"/>
                  </a:lnTo>
                  <a:lnTo>
                    <a:pt x="474" y="1092"/>
                  </a:lnTo>
                  <a:lnTo>
                    <a:pt x="468" y="1098"/>
                  </a:lnTo>
                  <a:lnTo>
                    <a:pt x="462" y="1104"/>
                  </a:lnTo>
                  <a:lnTo>
                    <a:pt x="456" y="1110"/>
                  </a:lnTo>
                  <a:lnTo>
                    <a:pt x="456" y="1122"/>
                  </a:lnTo>
                  <a:lnTo>
                    <a:pt x="456" y="1128"/>
                  </a:lnTo>
                  <a:lnTo>
                    <a:pt x="450" y="1140"/>
                  </a:lnTo>
                  <a:lnTo>
                    <a:pt x="444" y="1146"/>
                  </a:lnTo>
                  <a:lnTo>
                    <a:pt x="426" y="1170"/>
                  </a:lnTo>
                  <a:lnTo>
                    <a:pt x="408" y="1176"/>
                  </a:lnTo>
                  <a:lnTo>
                    <a:pt x="402" y="1170"/>
                  </a:lnTo>
                  <a:lnTo>
                    <a:pt x="396" y="1170"/>
                  </a:lnTo>
                  <a:lnTo>
                    <a:pt x="396" y="1158"/>
                  </a:lnTo>
                  <a:lnTo>
                    <a:pt x="384" y="1152"/>
                  </a:lnTo>
                  <a:lnTo>
                    <a:pt x="372" y="1140"/>
                  </a:lnTo>
                  <a:lnTo>
                    <a:pt x="354" y="1140"/>
                  </a:lnTo>
                  <a:lnTo>
                    <a:pt x="306" y="1146"/>
                  </a:lnTo>
                  <a:lnTo>
                    <a:pt x="294" y="1134"/>
                  </a:lnTo>
                  <a:lnTo>
                    <a:pt x="294" y="1128"/>
                  </a:lnTo>
                  <a:lnTo>
                    <a:pt x="288" y="1122"/>
                  </a:lnTo>
                  <a:lnTo>
                    <a:pt x="276" y="1122"/>
                  </a:lnTo>
                  <a:lnTo>
                    <a:pt x="276" y="1110"/>
                  </a:lnTo>
                  <a:lnTo>
                    <a:pt x="276" y="1104"/>
                  </a:lnTo>
                  <a:lnTo>
                    <a:pt x="270" y="1098"/>
                  </a:lnTo>
                  <a:lnTo>
                    <a:pt x="264" y="1086"/>
                  </a:lnTo>
                  <a:lnTo>
                    <a:pt x="264" y="1074"/>
                  </a:lnTo>
                  <a:lnTo>
                    <a:pt x="258" y="1068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34" y="1038"/>
                  </a:lnTo>
                  <a:lnTo>
                    <a:pt x="228" y="1038"/>
                  </a:lnTo>
                  <a:lnTo>
                    <a:pt x="222" y="1038"/>
                  </a:lnTo>
                  <a:lnTo>
                    <a:pt x="216" y="1038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0"/>
                  </a:lnTo>
                  <a:lnTo>
                    <a:pt x="204" y="1014"/>
                  </a:lnTo>
                  <a:lnTo>
                    <a:pt x="204" y="1008"/>
                  </a:lnTo>
                  <a:lnTo>
                    <a:pt x="198" y="1002"/>
                  </a:lnTo>
                  <a:lnTo>
                    <a:pt x="198" y="996"/>
                  </a:lnTo>
                  <a:lnTo>
                    <a:pt x="198" y="990"/>
                  </a:lnTo>
                  <a:lnTo>
                    <a:pt x="204" y="990"/>
                  </a:lnTo>
                  <a:lnTo>
                    <a:pt x="204" y="984"/>
                  </a:lnTo>
                  <a:lnTo>
                    <a:pt x="210" y="978"/>
                  </a:lnTo>
                  <a:lnTo>
                    <a:pt x="210" y="972"/>
                  </a:lnTo>
                  <a:lnTo>
                    <a:pt x="210" y="966"/>
                  </a:lnTo>
                  <a:lnTo>
                    <a:pt x="216" y="960"/>
                  </a:lnTo>
                  <a:lnTo>
                    <a:pt x="216" y="954"/>
                  </a:lnTo>
                  <a:lnTo>
                    <a:pt x="210" y="954"/>
                  </a:lnTo>
                  <a:lnTo>
                    <a:pt x="204" y="954"/>
                  </a:lnTo>
                  <a:lnTo>
                    <a:pt x="216" y="954"/>
                  </a:lnTo>
                  <a:lnTo>
                    <a:pt x="216" y="948"/>
                  </a:lnTo>
                  <a:lnTo>
                    <a:pt x="210" y="948"/>
                  </a:lnTo>
                  <a:lnTo>
                    <a:pt x="210" y="942"/>
                  </a:lnTo>
                  <a:lnTo>
                    <a:pt x="216" y="942"/>
                  </a:lnTo>
                  <a:lnTo>
                    <a:pt x="222" y="942"/>
                  </a:lnTo>
                  <a:lnTo>
                    <a:pt x="222" y="936"/>
                  </a:lnTo>
                  <a:lnTo>
                    <a:pt x="216" y="936"/>
                  </a:lnTo>
                  <a:lnTo>
                    <a:pt x="210" y="936"/>
                  </a:lnTo>
                  <a:lnTo>
                    <a:pt x="210" y="930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22" y="918"/>
                  </a:lnTo>
                  <a:lnTo>
                    <a:pt x="228" y="912"/>
                  </a:lnTo>
                  <a:lnTo>
                    <a:pt x="228" y="906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2" y="888"/>
                  </a:lnTo>
                  <a:lnTo>
                    <a:pt x="222" y="882"/>
                  </a:lnTo>
                  <a:lnTo>
                    <a:pt x="222" y="876"/>
                  </a:lnTo>
                  <a:lnTo>
                    <a:pt x="222" y="858"/>
                  </a:lnTo>
                  <a:lnTo>
                    <a:pt x="216" y="858"/>
                  </a:lnTo>
                  <a:lnTo>
                    <a:pt x="216" y="852"/>
                  </a:lnTo>
                  <a:lnTo>
                    <a:pt x="210" y="852"/>
                  </a:lnTo>
                  <a:lnTo>
                    <a:pt x="210" y="840"/>
                  </a:lnTo>
                  <a:lnTo>
                    <a:pt x="198" y="840"/>
                  </a:lnTo>
                  <a:lnTo>
                    <a:pt x="198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0" y="894"/>
                  </a:lnTo>
                  <a:lnTo>
                    <a:pt x="180" y="906"/>
                  </a:lnTo>
                  <a:lnTo>
                    <a:pt x="156" y="912"/>
                  </a:lnTo>
                  <a:lnTo>
                    <a:pt x="156" y="894"/>
                  </a:lnTo>
                  <a:lnTo>
                    <a:pt x="156" y="882"/>
                  </a:lnTo>
                  <a:lnTo>
                    <a:pt x="156" y="876"/>
                  </a:lnTo>
                  <a:lnTo>
                    <a:pt x="150" y="876"/>
                  </a:lnTo>
                  <a:lnTo>
                    <a:pt x="144" y="876"/>
                  </a:lnTo>
                  <a:lnTo>
                    <a:pt x="138" y="870"/>
                  </a:lnTo>
                  <a:lnTo>
                    <a:pt x="132" y="864"/>
                  </a:lnTo>
                  <a:lnTo>
                    <a:pt x="138" y="840"/>
                  </a:lnTo>
                  <a:lnTo>
                    <a:pt x="132" y="840"/>
                  </a:lnTo>
                  <a:lnTo>
                    <a:pt x="138" y="810"/>
                  </a:lnTo>
                  <a:lnTo>
                    <a:pt x="144" y="804"/>
                  </a:lnTo>
                  <a:lnTo>
                    <a:pt x="144" y="798"/>
                  </a:lnTo>
                  <a:lnTo>
                    <a:pt x="156" y="798"/>
                  </a:lnTo>
                  <a:lnTo>
                    <a:pt x="156" y="792"/>
                  </a:lnTo>
                  <a:lnTo>
                    <a:pt x="120" y="792"/>
                  </a:lnTo>
                  <a:lnTo>
                    <a:pt x="108" y="786"/>
                  </a:lnTo>
                  <a:lnTo>
                    <a:pt x="96" y="786"/>
                  </a:lnTo>
                  <a:lnTo>
                    <a:pt x="96" y="780"/>
                  </a:lnTo>
                  <a:lnTo>
                    <a:pt x="78" y="780"/>
                  </a:lnTo>
                  <a:lnTo>
                    <a:pt x="72" y="804"/>
                  </a:lnTo>
                  <a:lnTo>
                    <a:pt x="60" y="816"/>
                  </a:lnTo>
                  <a:lnTo>
                    <a:pt x="36" y="828"/>
                  </a:lnTo>
                  <a:lnTo>
                    <a:pt x="18" y="840"/>
                  </a:lnTo>
                  <a:lnTo>
                    <a:pt x="0" y="822"/>
                  </a:lnTo>
                  <a:lnTo>
                    <a:pt x="6" y="816"/>
                  </a:lnTo>
                  <a:lnTo>
                    <a:pt x="12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18" y="786"/>
                  </a:lnTo>
                  <a:lnTo>
                    <a:pt x="24" y="780"/>
                  </a:lnTo>
                  <a:lnTo>
                    <a:pt x="24" y="768"/>
                  </a:lnTo>
                  <a:lnTo>
                    <a:pt x="24" y="762"/>
                  </a:lnTo>
                  <a:lnTo>
                    <a:pt x="24" y="750"/>
                  </a:lnTo>
                  <a:lnTo>
                    <a:pt x="36" y="714"/>
                  </a:lnTo>
                  <a:lnTo>
                    <a:pt x="36" y="708"/>
                  </a:lnTo>
                  <a:lnTo>
                    <a:pt x="42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6" y="690"/>
                  </a:lnTo>
                  <a:lnTo>
                    <a:pt x="42" y="684"/>
                  </a:lnTo>
                  <a:lnTo>
                    <a:pt x="42" y="672"/>
                  </a:lnTo>
                  <a:lnTo>
                    <a:pt x="42" y="666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48" y="648"/>
                  </a:lnTo>
                  <a:lnTo>
                    <a:pt x="54" y="642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54" y="612"/>
                  </a:lnTo>
                  <a:lnTo>
                    <a:pt x="48" y="606"/>
                  </a:lnTo>
                  <a:lnTo>
                    <a:pt x="48" y="600"/>
                  </a:lnTo>
                  <a:lnTo>
                    <a:pt x="42" y="600"/>
                  </a:lnTo>
                  <a:lnTo>
                    <a:pt x="36" y="594"/>
                  </a:lnTo>
                  <a:lnTo>
                    <a:pt x="36" y="588"/>
                  </a:lnTo>
                  <a:lnTo>
                    <a:pt x="30" y="582"/>
                  </a:lnTo>
                  <a:lnTo>
                    <a:pt x="30" y="570"/>
                  </a:lnTo>
                  <a:lnTo>
                    <a:pt x="18" y="552"/>
                  </a:lnTo>
                  <a:lnTo>
                    <a:pt x="18" y="546"/>
                  </a:lnTo>
                  <a:lnTo>
                    <a:pt x="18" y="540"/>
                  </a:lnTo>
                  <a:lnTo>
                    <a:pt x="18" y="528"/>
                  </a:lnTo>
                  <a:lnTo>
                    <a:pt x="18" y="522"/>
                  </a:lnTo>
                  <a:lnTo>
                    <a:pt x="24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30" y="474"/>
                  </a:lnTo>
                  <a:lnTo>
                    <a:pt x="36" y="474"/>
                  </a:lnTo>
                  <a:lnTo>
                    <a:pt x="42" y="468"/>
                  </a:lnTo>
                  <a:lnTo>
                    <a:pt x="48" y="468"/>
                  </a:lnTo>
                  <a:lnTo>
                    <a:pt x="48" y="462"/>
                  </a:lnTo>
                  <a:lnTo>
                    <a:pt x="48" y="456"/>
                  </a:lnTo>
                  <a:lnTo>
                    <a:pt x="54" y="450"/>
                  </a:lnTo>
                  <a:lnTo>
                    <a:pt x="60" y="438"/>
                  </a:lnTo>
                  <a:lnTo>
                    <a:pt x="54" y="438"/>
                  </a:lnTo>
                  <a:lnTo>
                    <a:pt x="54" y="432"/>
                  </a:ln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54" y="402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6" y="384"/>
                  </a:lnTo>
                  <a:lnTo>
                    <a:pt x="72" y="372"/>
                  </a:lnTo>
                  <a:lnTo>
                    <a:pt x="78" y="366"/>
                  </a:lnTo>
                  <a:lnTo>
                    <a:pt x="84" y="360"/>
                  </a:lnTo>
                  <a:lnTo>
                    <a:pt x="102" y="360"/>
                  </a:lnTo>
                  <a:lnTo>
                    <a:pt x="114" y="36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8" y="360"/>
                  </a:lnTo>
                  <a:lnTo>
                    <a:pt x="156" y="360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74" y="342"/>
                  </a:lnTo>
                  <a:lnTo>
                    <a:pt x="180" y="342"/>
                  </a:lnTo>
                  <a:lnTo>
                    <a:pt x="186" y="336"/>
                  </a:lnTo>
                  <a:lnTo>
                    <a:pt x="192" y="330"/>
                  </a:lnTo>
                  <a:lnTo>
                    <a:pt x="204" y="312"/>
                  </a:lnTo>
                  <a:lnTo>
                    <a:pt x="210" y="312"/>
                  </a:lnTo>
                  <a:lnTo>
                    <a:pt x="216" y="306"/>
                  </a:lnTo>
                  <a:lnTo>
                    <a:pt x="216" y="300"/>
                  </a:lnTo>
                  <a:lnTo>
                    <a:pt x="222" y="288"/>
                  </a:lnTo>
                  <a:lnTo>
                    <a:pt x="234" y="288"/>
                  </a:lnTo>
                  <a:lnTo>
                    <a:pt x="240" y="282"/>
                  </a:lnTo>
                  <a:lnTo>
                    <a:pt x="246" y="282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70" y="270"/>
                  </a:lnTo>
                  <a:lnTo>
                    <a:pt x="276" y="264"/>
                  </a:lnTo>
                  <a:lnTo>
                    <a:pt x="282" y="26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8" y="234"/>
                  </a:lnTo>
                  <a:lnTo>
                    <a:pt x="330" y="234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72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14" y="240"/>
                  </a:lnTo>
                  <a:lnTo>
                    <a:pt x="444" y="216"/>
                  </a:lnTo>
                  <a:lnTo>
                    <a:pt x="480" y="204"/>
                  </a:lnTo>
                  <a:lnTo>
                    <a:pt x="600" y="150"/>
                  </a:lnTo>
                  <a:lnTo>
                    <a:pt x="648" y="126"/>
                  </a:lnTo>
                  <a:lnTo>
                    <a:pt x="702" y="96"/>
                  </a:lnTo>
                  <a:lnTo>
                    <a:pt x="708" y="54"/>
                  </a:lnTo>
                  <a:lnTo>
                    <a:pt x="720" y="24"/>
                  </a:lnTo>
                  <a:lnTo>
                    <a:pt x="738" y="12"/>
                  </a:lnTo>
                  <a:lnTo>
                    <a:pt x="768" y="0"/>
                  </a:lnTo>
                  <a:lnTo>
                    <a:pt x="792" y="6"/>
                  </a:lnTo>
                  <a:lnTo>
                    <a:pt x="804" y="12"/>
                  </a:lnTo>
                  <a:lnTo>
                    <a:pt x="834" y="48"/>
                  </a:lnTo>
                  <a:lnTo>
                    <a:pt x="834" y="60"/>
                  </a:lnTo>
                  <a:lnTo>
                    <a:pt x="852" y="84"/>
                  </a:lnTo>
                  <a:lnTo>
                    <a:pt x="864" y="96"/>
                  </a:lnTo>
                  <a:lnTo>
                    <a:pt x="888" y="102"/>
                  </a:lnTo>
                  <a:lnTo>
                    <a:pt x="978" y="120"/>
                  </a:lnTo>
                  <a:lnTo>
                    <a:pt x="984" y="126"/>
                  </a:lnTo>
                  <a:lnTo>
                    <a:pt x="984" y="132"/>
                  </a:lnTo>
                  <a:lnTo>
                    <a:pt x="996" y="138"/>
                  </a:lnTo>
                  <a:lnTo>
                    <a:pt x="1038" y="126"/>
                  </a:lnTo>
                  <a:lnTo>
                    <a:pt x="1056" y="114"/>
                  </a:lnTo>
                  <a:lnTo>
                    <a:pt x="1068" y="126"/>
                  </a:lnTo>
                  <a:lnTo>
                    <a:pt x="1074" y="132"/>
                  </a:lnTo>
                  <a:lnTo>
                    <a:pt x="1068" y="138"/>
                  </a:lnTo>
                  <a:lnTo>
                    <a:pt x="1056" y="150"/>
                  </a:lnTo>
                  <a:lnTo>
                    <a:pt x="1038" y="162"/>
                  </a:lnTo>
                  <a:lnTo>
                    <a:pt x="1038" y="168"/>
                  </a:lnTo>
                  <a:lnTo>
                    <a:pt x="1020" y="174"/>
                  </a:lnTo>
                  <a:lnTo>
                    <a:pt x="1014" y="180"/>
                  </a:lnTo>
                  <a:lnTo>
                    <a:pt x="1008" y="186"/>
                  </a:lnTo>
                  <a:lnTo>
                    <a:pt x="1002" y="198"/>
                  </a:lnTo>
                  <a:lnTo>
                    <a:pt x="984" y="204"/>
                  </a:lnTo>
                  <a:lnTo>
                    <a:pt x="984" y="246"/>
                  </a:lnTo>
                  <a:lnTo>
                    <a:pt x="978" y="270"/>
                  </a:lnTo>
                  <a:lnTo>
                    <a:pt x="990" y="306"/>
                  </a:lnTo>
                  <a:lnTo>
                    <a:pt x="990" y="324"/>
                  </a:lnTo>
                  <a:lnTo>
                    <a:pt x="1002" y="336"/>
                  </a:lnTo>
                  <a:lnTo>
                    <a:pt x="1020" y="372"/>
                  </a:lnTo>
                  <a:lnTo>
                    <a:pt x="1014" y="378"/>
                  </a:lnTo>
                  <a:lnTo>
                    <a:pt x="1014" y="384"/>
                  </a:lnTo>
                  <a:lnTo>
                    <a:pt x="1020" y="384"/>
                  </a:lnTo>
                  <a:lnTo>
                    <a:pt x="1020" y="396"/>
                  </a:lnTo>
                  <a:lnTo>
                    <a:pt x="1062" y="468"/>
                  </a:lnTo>
                  <a:lnTo>
                    <a:pt x="1092" y="522"/>
                  </a:lnTo>
                  <a:lnTo>
                    <a:pt x="1110" y="546"/>
                  </a:lnTo>
                  <a:lnTo>
                    <a:pt x="1122" y="564"/>
                  </a:lnTo>
                  <a:lnTo>
                    <a:pt x="1134" y="576"/>
                  </a:lnTo>
                  <a:lnTo>
                    <a:pt x="1146" y="582"/>
                  </a:lnTo>
                  <a:lnTo>
                    <a:pt x="1146" y="588"/>
                  </a:lnTo>
                  <a:lnTo>
                    <a:pt x="1164" y="600"/>
                  </a:lnTo>
                  <a:lnTo>
                    <a:pt x="1170" y="612"/>
                  </a:lnTo>
                  <a:lnTo>
                    <a:pt x="1170" y="624"/>
                  </a:lnTo>
                  <a:lnTo>
                    <a:pt x="1176" y="654"/>
                  </a:lnTo>
                  <a:lnTo>
                    <a:pt x="1176" y="666"/>
                  </a:lnTo>
                  <a:lnTo>
                    <a:pt x="1182" y="684"/>
                  </a:lnTo>
                  <a:lnTo>
                    <a:pt x="1194" y="696"/>
                  </a:lnTo>
                  <a:lnTo>
                    <a:pt x="1212" y="696"/>
                  </a:lnTo>
                  <a:lnTo>
                    <a:pt x="1206" y="762"/>
                  </a:lnTo>
                  <a:lnTo>
                    <a:pt x="1200" y="768"/>
                  </a:lnTo>
                  <a:lnTo>
                    <a:pt x="1194" y="768"/>
                  </a:lnTo>
                  <a:lnTo>
                    <a:pt x="1194" y="774"/>
                  </a:lnTo>
                  <a:lnTo>
                    <a:pt x="1188" y="774"/>
                  </a:lnTo>
                  <a:lnTo>
                    <a:pt x="1182" y="780"/>
                  </a:lnTo>
                  <a:lnTo>
                    <a:pt x="1176" y="780"/>
                  </a:lnTo>
                  <a:lnTo>
                    <a:pt x="1170" y="780"/>
                  </a:lnTo>
                  <a:lnTo>
                    <a:pt x="1164" y="786"/>
                  </a:lnTo>
                  <a:lnTo>
                    <a:pt x="1158" y="786"/>
                  </a:lnTo>
                  <a:lnTo>
                    <a:pt x="1152" y="786"/>
                  </a:lnTo>
                  <a:lnTo>
                    <a:pt x="1140" y="786"/>
                  </a:lnTo>
                  <a:lnTo>
                    <a:pt x="1134" y="786"/>
                  </a:lnTo>
                  <a:lnTo>
                    <a:pt x="1134" y="780"/>
                  </a:lnTo>
                  <a:lnTo>
                    <a:pt x="1122" y="780"/>
                  </a:lnTo>
                  <a:lnTo>
                    <a:pt x="1116" y="786"/>
                  </a:lnTo>
                  <a:lnTo>
                    <a:pt x="1116" y="792"/>
                  </a:lnTo>
                  <a:lnTo>
                    <a:pt x="1122" y="804"/>
                  </a:lnTo>
                  <a:lnTo>
                    <a:pt x="1128" y="804"/>
                  </a:lnTo>
                  <a:lnTo>
                    <a:pt x="1128" y="816"/>
                  </a:lnTo>
                  <a:lnTo>
                    <a:pt x="1122" y="822"/>
                  </a:lnTo>
                  <a:lnTo>
                    <a:pt x="1116" y="816"/>
                  </a:lnTo>
                  <a:lnTo>
                    <a:pt x="1110" y="816"/>
                  </a:lnTo>
                  <a:lnTo>
                    <a:pt x="1104" y="816"/>
                  </a:lnTo>
                  <a:lnTo>
                    <a:pt x="1098" y="816"/>
                  </a:lnTo>
                  <a:lnTo>
                    <a:pt x="1098" y="822"/>
                  </a:lnTo>
                  <a:lnTo>
                    <a:pt x="1092" y="834"/>
                  </a:lnTo>
                  <a:lnTo>
                    <a:pt x="1092" y="840"/>
                  </a:lnTo>
                  <a:lnTo>
                    <a:pt x="1074" y="840"/>
                  </a:lnTo>
                  <a:lnTo>
                    <a:pt x="1074" y="828"/>
                  </a:lnTo>
                  <a:lnTo>
                    <a:pt x="1062" y="804"/>
                  </a:lnTo>
                  <a:lnTo>
                    <a:pt x="1056" y="792"/>
                  </a:lnTo>
                  <a:lnTo>
                    <a:pt x="1056" y="786"/>
                  </a:lnTo>
                  <a:lnTo>
                    <a:pt x="1026" y="780"/>
                  </a:lnTo>
                  <a:lnTo>
                    <a:pt x="1026" y="768"/>
                  </a:lnTo>
                  <a:lnTo>
                    <a:pt x="1008" y="768"/>
                  </a:lnTo>
                  <a:lnTo>
                    <a:pt x="1002" y="780"/>
                  </a:lnTo>
                  <a:lnTo>
                    <a:pt x="996" y="792"/>
                  </a:lnTo>
                  <a:lnTo>
                    <a:pt x="978" y="798"/>
                  </a:lnTo>
                  <a:lnTo>
                    <a:pt x="972" y="810"/>
                  </a:lnTo>
                  <a:lnTo>
                    <a:pt x="972" y="822"/>
                  </a:lnTo>
                  <a:lnTo>
                    <a:pt x="978" y="828"/>
                  </a:lnTo>
                  <a:lnTo>
                    <a:pt x="978" y="834"/>
                  </a:lnTo>
                  <a:lnTo>
                    <a:pt x="960" y="840"/>
                  </a:lnTo>
                  <a:lnTo>
                    <a:pt x="936" y="840"/>
                  </a:lnTo>
                  <a:lnTo>
                    <a:pt x="918" y="846"/>
                  </a:lnTo>
                  <a:lnTo>
                    <a:pt x="912" y="840"/>
                  </a:lnTo>
                  <a:lnTo>
                    <a:pt x="912" y="834"/>
                  </a:lnTo>
                  <a:lnTo>
                    <a:pt x="906" y="834"/>
                  </a:lnTo>
                  <a:lnTo>
                    <a:pt x="906" y="840"/>
                  </a:lnTo>
                  <a:lnTo>
                    <a:pt x="900" y="846"/>
                  </a:lnTo>
                  <a:lnTo>
                    <a:pt x="906" y="852"/>
                  </a:lnTo>
                  <a:lnTo>
                    <a:pt x="900" y="864"/>
                  </a:lnTo>
                  <a:lnTo>
                    <a:pt x="900" y="876"/>
                  </a:lnTo>
                  <a:lnTo>
                    <a:pt x="900" y="882"/>
                  </a:lnTo>
                  <a:lnTo>
                    <a:pt x="894" y="888"/>
                  </a:lnTo>
                  <a:lnTo>
                    <a:pt x="900" y="900"/>
                  </a:lnTo>
                  <a:lnTo>
                    <a:pt x="900" y="906"/>
                  </a:lnTo>
                  <a:lnTo>
                    <a:pt x="894" y="906"/>
                  </a:lnTo>
                  <a:lnTo>
                    <a:pt x="894" y="912"/>
                  </a:lnTo>
                  <a:lnTo>
                    <a:pt x="900" y="918"/>
                  </a:lnTo>
                  <a:lnTo>
                    <a:pt x="900" y="924"/>
                  </a:lnTo>
                  <a:lnTo>
                    <a:pt x="900" y="948"/>
                  </a:lnTo>
                  <a:lnTo>
                    <a:pt x="888" y="948"/>
                  </a:lnTo>
                  <a:lnTo>
                    <a:pt x="888" y="954"/>
                  </a:lnTo>
                  <a:lnTo>
                    <a:pt x="894" y="954"/>
                  </a:lnTo>
                  <a:lnTo>
                    <a:pt x="900" y="960"/>
                  </a:lnTo>
                  <a:lnTo>
                    <a:pt x="900" y="972"/>
                  </a:lnTo>
                  <a:lnTo>
                    <a:pt x="906" y="984"/>
                  </a:lnTo>
                  <a:lnTo>
                    <a:pt x="912" y="984"/>
                  </a:lnTo>
                  <a:lnTo>
                    <a:pt x="918" y="990"/>
                  </a:lnTo>
                  <a:lnTo>
                    <a:pt x="936" y="990"/>
                  </a:lnTo>
                  <a:lnTo>
                    <a:pt x="936" y="996"/>
                  </a:lnTo>
                  <a:lnTo>
                    <a:pt x="942" y="996"/>
                  </a:lnTo>
                  <a:lnTo>
                    <a:pt x="942" y="1002"/>
                  </a:lnTo>
                  <a:lnTo>
                    <a:pt x="942" y="1008"/>
                  </a:lnTo>
                  <a:lnTo>
                    <a:pt x="948" y="1008"/>
                  </a:lnTo>
                  <a:lnTo>
                    <a:pt x="948" y="1014"/>
                  </a:lnTo>
                  <a:lnTo>
                    <a:pt x="948" y="1020"/>
                  </a:lnTo>
                  <a:lnTo>
                    <a:pt x="954" y="1032"/>
                  </a:lnTo>
                  <a:lnTo>
                    <a:pt x="948" y="1038"/>
                  </a:lnTo>
                  <a:lnTo>
                    <a:pt x="954" y="1044"/>
                  </a:lnTo>
                  <a:lnTo>
                    <a:pt x="954" y="1056"/>
                  </a:lnTo>
                  <a:lnTo>
                    <a:pt x="960" y="1056"/>
                  </a:lnTo>
                  <a:lnTo>
                    <a:pt x="960" y="1062"/>
                  </a:lnTo>
                  <a:lnTo>
                    <a:pt x="954" y="1068"/>
                  </a:lnTo>
                  <a:lnTo>
                    <a:pt x="948" y="1074"/>
                  </a:lnTo>
                  <a:lnTo>
                    <a:pt x="948" y="1080"/>
                  </a:lnTo>
                  <a:lnTo>
                    <a:pt x="948" y="1086"/>
                  </a:lnTo>
                  <a:lnTo>
                    <a:pt x="942" y="1092"/>
                  </a:lnTo>
                  <a:lnTo>
                    <a:pt x="942" y="1098"/>
                  </a:lnTo>
                  <a:lnTo>
                    <a:pt x="942" y="1104"/>
                  </a:lnTo>
                  <a:lnTo>
                    <a:pt x="942" y="1110"/>
                  </a:lnTo>
                  <a:lnTo>
                    <a:pt x="936" y="1116"/>
                  </a:lnTo>
                  <a:lnTo>
                    <a:pt x="936" y="1122"/>
                  </a:lnTo>
                  <a:lnTo>
                    <a:pt x="936" y="1128"/>
                  </a:lnTo>
                  <a:lnTo>
                    <a:pt x="936" y="1134"/>
                  </a:lnTo>
                  <a:lnTo>
                    <a:pt x="942" y="1146"/>
                  </a:lnTo>
                  <a:lnTo>
                    <a:pt x="936" y="1158"/>
                  </a:lnTo>
                  <a:lnTo>
                    <a:pt x="936" y="1170"/>
                  </a:lnTo>
                  <a:lnTo>
                    <a:pt x="936" y="1194"/>
                  </a:lnTo>
                  <a:lnTo>
                    <a:pt x="930" y="1200"/>
                  </a:lnTo>
                  <a:lnTo>
                    <a:pt x="930" y="1212"/>
                  </a:lnTo>
                  <a:lnTo>
                    <a:pt x="918" y="1218"/>
                  </a:lnTo>
                  <a:lnTo>
                    <a:pt x="918" y="1230"/>
                  </a:lnTo>
                  <a:lnTo>
                    <a:pt x="906" y="1230"/>
                  </a:lnTo>
                  <a:lnTo>
                    <a:pt x="900" y="1254"/>
                  </a:lnTo>
                  <a:lnTo>
                    <a:pt x="900" y="1260"/>
                  </a:lnTo>
                  <a:lnTo>
                    <a:pt x="900" y="1266"/>
                  </a:lnTo>
                  <a:lnTo>
                    <a:pt x="900" y="1272"/>
                  </a:lnTo>
                  <a:lnTo>
                    <a:pt x="900" y="1278"/>
                  </a:lnTo>
                  <a:lnTo>
                    <a:pt x="900" y="1284"/>
                  </a:lnTo>
                  <a:lnTo>
                    <a:pt x="906" y="129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1" name="Freeform 26">
              <a:extLst>
                <a:ext uri="{FF2B5EF4-FFF2-40B4-BE49-F238E27FC236}">
                  <a16:creationId xmlns:a16="http://schemas.microsoft.com/office/drawing/2014/main" id="{25725EFE-FE00-49A8-A87A-6752B785C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79173" y="3477313"/>
              <a:ext cx="650731" cy="559125"/>
            </a:xfrm>
            <a:custGeom>
              <a:avLst/>
              <a:gdLst>
                <a:gd name="T0" fmla="*/ 95 w 1224"/>
                <a:gd name="T1" fmla="*/ 89 h 1050"/>
                <a:gd name="T2" fmla="*/ 90 w 1224"/>
                <a:gd name="T3" fmla="*/ 84 h 1050"/>
                <a:gd name="T4" fmla="*/ 84 w 1224"/>
                <a:gd name="T5" fmla="*/ 83 h 1050"/>
                <a:gd name="T6" fmla="*/ 82 w 1224"/>
                <a:gd name="T7" fmla="*/ 80 h 1050"/>
                <a:gd name="T8" fmla="*/ 85 w 1224"/>
                <a:gd name="T9" fmla="*/ 77 h 1050"/>
                <a:gd name="T10" fmla="*/ 81 w 1224"/>
                <a:gd name="T11" fmla="*/ 76 h 1050"/>
                <a:gd name="T12" fmla="*/ 77 w 1224"/>
                <a:gd name="T13" fmla="*/ 77 h 1050"/>
                <a:gd name="T14" fmla="*/ 78 w 1224"/>
                <a:gd name="T15" fmla="*/ 73 h 1050"/>
                <a:gd name="T16" fmla="*/ 59 w 1224"/>
                <a:gd name="T17" fmla="*/ 71 h 1050"/>
                <a:gd name="T18" fmla="*/ 41 w 1224"/>
                <a:gd name="T19" fmla="*/ 73 h 1050"/>
                <a:gd name="T20" fmla="*/ 33 w 1224"/>
                <a:gd name="T21" fmla="*/ 71 h 1050"/>
                <a:gd name="T22" fmla="*/ 30 w 1224"/>
                <a:gd name="T23" fmla="*/ 75 h 1050"/>
                <a:gd name="T24" fmla="*/ 27 w 1224"/>
                <a:gd name="T25" fmla="*/ 80 h 1050"/>
                <a:gd name="T26" fmla="*/ 12 w 1224"/>
                <a:gd name="T27" fmla="*/ 81 h 1050"/>
                <a:gd name="T28" fmla="*/ 9 w 1224"/>
                <a:gd name="T29" fmla="*/ 84 h 1050"/>
                <a:gd name="T30" fmla="*/ 6 w 1224"/>
                <a:gd name="T31" fmla="*/ 83 h 1050"/>
                <a:gd name="T32" fmla="*/ 1 w 1224"/>
                <a:gd name="T33" fmla="*/ 83 h 1050"/>
                <a:gd name="T34" fmla="*/ 3 w 1224"/>
                <a:gd name="T35" fmla="*/ 77 h 1050"/>
                <a:gd name="T36" fmla="*/ 5 w 1224"/>
                <a:gd name="T37" fmla="*/ 70 h 1050"/>
                <a:gd name="T38" fmla="*/ 2 w 1224"/>
                <a:gd name="T39" fmla="*/ 65 h 1050"/>
                <a:gd name="T40" fmla="*/ 3 w 1224"/>
                <a:gd name="T41" fmla="*/ 58 h 1050"/>
                <a:gd name="T42" fmla="*/ 4 w 1224"/>
                <a:gd name="T43" fmla="*/ 51 h 1050"/>
                <a:gd name="T44" fmla="*/ 3 w 1224"/>
                <a:gd name="T45" fmla="*/ 47 h 1050"/>
                <a:gd name="T46" fmla="*/ 4 w 1224"/>
                <a:gd name="T47" fmla="*/ 39 h 1050"/>
                <a:gd name="T48" fmla="*/ 6 w 1224"/>
                <a:gd name="T49" fmla="*/ 29 h 1050"/>
                <a:gd name="T50" fmla="*/ 3 w 1224"/>
                <a:gd name="T51" fmla="*/ 22 h 1050"/>
                <a:gd name="T52" fmla="*/ 2 w 1224"/>
                <a:gd name="T53" fmla="*/ 14 h 1050"/>
                <a:gd name="T54" fmla="*/ 0 w 1224"/>
                <a:gd name="T55" fmla="*/ 6 h 1050"/>
                <a:gd name="T56" fmla="*/ 9 w 1224"/>
                <a:gd name="T57" fmla="*/ 1 h 1050"/>
                <a:gd name="T58" fmla="*/ 11 w 1224"/>
                <a:gd name="T59" fmla="*/ 8 h 1050"/>
                <a:gd name="T60" fmla="*/ 15 w 1224"/>
                <a:gd name="T61" fmla="*/ 9 h 1050"/>
                <a:gd name="T62" fmla="*/ 18 w 1224"/>
                <a:gd name="T63" fmla="*/ 8 h 1050"/>
                <a:gd name="T64" fmla="*/ 18 w 1224"/>
                <a:gd name="T65" fmla="*/ 13 h 1050"/>
                <a:gd name="T66" fmla="*/ 17 w 1224"/>
                <a:gd name="T67" fmla="*/ 15 h 1050"/>
                <a:gd name="T68" fmla="*/ 17 w 1224"/>
                <a:gd name="T69" fmla="*/ 17 h 1050"/>
                <a:gd name="T70" fmla="*/ 17 w 1224"/>
                <a:gd name="T71" fmla="*/ 21 h 1050"/>
                <a:gd name="T72" fmla="*/ 21 w 1224"/>
                <a:gd name="T73" fmla="*/ 25 h 1050"/>
                <a:gd name="T74" fmla="*/ 24 w 1224"/>
                <a:gd name="T75" fmla="*/ 31 h 1050"/>
                <a:gd name="T76" fmla="*/ 35 w 1224"/>
                <a:gd name="T77" fmla="*/ 34 h 1050"/>
                <a:gd name="T78" fmla="*/ 40 w 1224"/>
                <a:gd name="T79" fmla="*/ 27 h 1050"/>
                <a:gd name="T80" fmla="*/ 46 w 1224"/>
                <a:gd name="T81" fmla="*/ 30 h 1050"/>
                <a:gd name="T82" fmla="*/ 51 w 1224"/>
                <a:gd name="T83" fmla="*/ 27 h 1050"/>
                <a:gd name="T84" fmla="*/ 59 w 1224"/>
                <a:gd name="T85" fmla="*/ 39 h 1050"/>
                <a:gd name="T86" fmla="*/ 59 w 1224"/>
                <a:gd name="T87" fmla="*/ 45 h 1050"/>
                <a:gd name="T88" fmla="*/ 72 w 1224"/>
                <a:gd name="T89" fmla="*/ 45 h 1050"/>
                <a:gd name="T90" fmla="*/ 79 w 1224"/>
                <a:gd name="T91" fmla="*/ 44 h 1050"/>
                <a:gd name="T92" fmla="*/ 87 w 1224"/>
                <a:gd name="T93" fmla="*/ 48 h 1050"/>
                <a:gd name="T94" fmla="*/ 93 w 1224"/>
                <a:gd name="T95" fmla="*/ 50 h 1050"/>
                <a:gd name="T96" fmla="*/ 98 w 1224"/>
                <a:gd name="T97" fmla="*/ 51 h 1050"/>
                <a:gd name="T98" fmla="*/ 106 w 1224"/>
                <a:gd name="T99" fmla="*/ 50 h 1050"/>
                <a:gd name="T100" fmla="*/ 104 w 1224"/>
                <a:gd name="T101" fmla="*/ 54 h 1050"/>
                <a:gd name="T102" fmla="*/ 104 w 1224"/>
                <a:gd name="T103" fmla="*/ 60 h 1050"/>
                <a:gd name="T104" fmla="*/ 101 w 1224"/>
                <a:gd name="T105" fmla="*/ 63 h 1050"/>
                <a:gd name="T106" fmla="*/ 98 w 1224"/>
                <a:gd name="T107" fmla="*/ 66 h 1050"/>
                <a:gd name="T108" fmla="*/ 95 w 1224"/>
                <a:gd name="T109" fmla="*/ 68 h 1050"/>
                <a:gd name="T110" fmla="*/ 93 w 1224"/>
                <a:gd name="T111" fmla="*/ 72 h 1050"/>
                <a:gd name="T112" fmla="*/ 98 w 1224"/>
                <a:gd name="T113" fmla="*/ 75 h 1050"/>
                <a:gd name="T114" fmla="*/ 102 w 1224"/>
                <a:gd name="T115" fmla="*/ 77 h 1050"/>
                <a:gd name="T116" fmla="*/ 107 w 1224"/>
                <a:gd name="T117" fmla="*/ 76 h 1050"/>
                <a:gd name="T118" fmla="*/ 104 w 1224"/>
                <a:gd name="T119" fmla="*/ 84 h 1050"/>
                <a:gd name="T120" fmla="*/ 103 w 1224"/>
                <a:gd name="T121" fmla="*/ 87 h 1050"/>
                <a:gd name="T122" fmla="*/ 104 w 1224"/>
                <a:gd name="T123" fmla="*/ 91 h 105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24"/>
                <a:gd name="T187" fmla="*/ 0 h 1050"/>
                <a:gd name="T188" fmla="*/ 1224 w 1224"/>
                <a:gd name="T189" fmla="*/ 1050 h 105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24" h="1050">
                  <a:moveTo>
                    <a:pt x="1128" y="1032"/>
                  </a:moveTo>
                  <a:lnTo>
                    <a:pt x="1122" y="1026"/>
                  </a:lnTo>
                  <a:lnTo>
                    <a:pt x="1116" y="1026"/>
                  </a:lnTo>
                  <a:lnTo>
                    <a:pt x="1110" y="1026"/>
                  </a:lnTo>
                  <a:lnTo>
                    <a:pt x="1104" y="1026"/>
                  </a:lnTo>
                  <a:lnTo>
                    <a:pt x="1104" y="1020"/>
                  </a:lnTo>
                  <a:lnTo>
                    <a:pt x="1098" y="1020"/>
                  </a:lnTo>
                  <a:lnTo>
                    <a:pt x="1092" y="1020"/>
                  </a:lnTo>
                  <a:lnTo>
                    <a:pt x="1086" y="1020"/>
                  </a:lnTo>
                  <a:lnTo>
                    <a:pt x="1080" y="1014"/>
                  </a:lnTo>
                  <a:lnTo>
                    <a:pt x="1068" y="1014"/>
                  </a:lnTo>
                  <a:lnTo>
                    <a:pt x="1062" y="1014"/>
                  </a:lnTo>
                  <a:lnTo>
                    <a:pt x="1062" y="1008"/>
                  </a:lnTo>
                  <a:lnTo>
                    <a:pt x="1062" y="990"/>
                  </a:lnTo>
                  <a:lnTo>
                    <a:pt x="1062" y="984"/>
                  </a:lnTo>
                  <a:lnTo>
                    <a:pt x="1062" y="972"/>
                  </a:lnTo>
                  <a:lnTo>
                    <a:pt x="1044" y="966"/>
                  </a:lnTo>
                  <a:lnTo>
                    <a:pt x="1026" y="966"/>
                  </a:lnTo>
                  <a:lnTo>
                    <a:pt x="1014" y="966"/>
                  </a:lnTo>
                  <a:lnTo>
                    <a:pt x="996" y="966"/>
                  </a:lnTo>
                  <a:lnTo>
                    <a:pt x="996" y="972"/>
                  </a:lnTo>
                  <a:lnTo>
                    <a:pt x="990" y="972"/>
                  </a:lnTo>
                  <a:lnTo>
                    <a:pt x="984" y="966"/>
                  </a:lnTo>
                  <a:lnTo>
                    <a:pt x="978" y="966"/>
                  </a:lnTo>
                  <a:lnTo>
                    <a:pt x="978" y="960"/>
                  </a:lnTo>
                  <a:lnTo>
                    <a:pt x="972" y="954"/>
                  </a:lnTo>
                  <a:lnTo>
                    <a:pt x="966" y="954"/>
                  </a:lnTo>
                  <a:lnTo>
                    <a:pt x="960" y="954"/>
                  </a:lnTo>
                  <a:lnTo>
                    <a:pt x="954" y="954"/>
                  </a:lnTo>
                  <a:lnTo>
                    <a:pt x="954" y="948"/>
                  </a:lnTo>
                  <a:lnTo>
                    <a:pt x="942" y="942"/>
                  </a:lnTo>
                  <a:lnTo>
                    <a:pt x="936" y="942"/>
                  </a:lnTo>
                  <a:lnTo>
                    <a:pt x="936" y="936"/>
                  </a:lnTo>
                  <a:lnTo>
                    <a:pt x="936" y="930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42" y="918"/>
                  </a:lnTo>
                  <a:lnTo>
                    <a:pt x="948" y="918"/>
                  </a:lnTo>
                  <a:lnTo>
                    <a:pt x="960" y="918"/>
                  </a:lnTo>
                  <a:lnTo>
                    <a:pt x="966" y="912"/>
                  </a:lnTo>
                  <a:lnTo>
                    <a:pt x="978" y="906"/>
                  </a:lnTo>
                  <a:lnTo>
                    <a:pt x="978" y="900"/>
                  </a:lnTo>
                  <a:lnTo>
                    <a:pt x="978" y="894"/>
                  </a:lnTo>
                  <a:lnTo>
                    <a:pt x="978" y="888"/>
                  </a:lnTo>
                  <a:lnTo>
                    <a:pt x="972" y="888"/>
                  </a:lnTo>
                  <a:lnTo>
                    <a:pt x="978" y="888"/>
                  </a:lnTo>
                  <a:lnTo>
                    <a:pt x="978" y="882"/>
                  </a:lnTo>
                  <a:lnTo>
                    <a:pt x="972" y="876"/>
                  </a:lnTo>
                  <a:lnTo>
                    <a:pt x="966" y="870"/>
                  </a:lnTo>
                  <a:lnTo>
                    <a:pt x="954" y="876"/>
                  </a:lnTo>
                  <a:lnTo>
                    <a:pt x="948" y="876"/>
                  </a:lnTo>
                  <a:lnTo>
                    <a:pt x="942" y="870"/>
                  </a:lnTo>
                  <a:lnTo>
                    <a:pt x="936" y="876"/>
                  </a:lnTo>
                  <a:lnTo>
                    <a:pt x="930" y="876"/>
                  </a:lnTo>
                  <a:lnTo>
                    <a:pt x="924" y="882"/>
                  </a:lnTo>
                  <a:lnTo>
                    <a:pt x="912" y="888"/>
                  </a:lnTo>
                  <a:lnTo>
                    <a:pt x="906" y="894"/>
                  </a:lnTo>
                  <a:lnTo>
                    <a:pt x="900" y="900"/>
                  </a:lnTo>
                  <a:lnTo>
                    <a:pt x="894" y="888"/>
                  </a:lnTo>
                  <a:lnTo>
                    <a:pt x="888" y="894"/>
                  </a:lnTo>
                  <a:lnTo>
                    <a:pt x="882" y="888"/>
                  </a:lnTo>
                  <a:lnTo>
                    <a:pt x="876" y="894"/>
                  </a:lnTo>
                  <a:lnTo>
                    <a:pt x="876" y="888"/>
                  </a:lnTo>
                  <a:lnTo>
                    <a:pt x="876" y="882"/>
                  </a:lnTo>
                  <a:lnTo>
                    <a:pt x="876" y="876"/>
                  </a:lnTo>
                  <a:lnTo>
                    <a:pt x="870" y="858"/>
                  </a:lnTo>
                  <a:lnTo>
                    <a:pt x="864" y="858"/>
                  </a:lnTo>
                  <a:lnTo>
                    <a:pt x="870" y="852"/>
                  </a:lnTo>
                  <a:lnTo>
                    <a:pt x="870" y="846"/>
                  </a:lnTo>
                  <a:lnTo>
                    <a:pt x="876" y="846"/>
                  </a:lnTo>
                  <a:lnTo>
                    <a:pt x="882" y="846"/>
                  </a:lnTo>
                  <a:lnTo>
                    <a:pt x="888" y="840"/>
                  </a:lnTo>
                  <a:lnTo>
                    <a:pt x="894" y="834"/>
                  </a:lnTo>
                  <a:lnTo>
                    <a:pt x="894" y="828"/>
                  </a:lnTo>
                  <a:lnTo>
                    <a:pt x="894" y="816"/>
                  </a:lnTo>
                  <a:lnTo>
                    <a:pt x="858" y="810"/>
                  </a:lnTo>
                  <a:lnTo>
                    <a:pt x="858" y="816"/>
                  </a:lnTo>
                  <a:lnTo>
                    <a:pt x="852" y="816"/>
                  </a:lnTo>
                  <a:lnTo>
                    <a:pt x="780" y="816"/>
                  </a:lnTo>
                  <a:lnTo>
                    <a:pt x="750" y="816"/>
                  </a:lnTo>
                  <a:lnTo>
                    <a:pt x="684" y="816"/>
                  </a:lnTo>
                  <a:lnTo>
                    <a:pt x="636" y="816"/>
                  </a:lnTo>
                  <a:lnTo>
                    <a:pt x="612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0" y="816"/>
                  </a:lnTo>
                  <a:lnTo>
                    <a:pt x="480" y="822"/>
                  </a:lnTo>
                  <a:lnTo>
                    <a:pt x="480" y="834"/>
                  </a:lnTo>
                  <a:lnTo>
                    <a:pt x="474" y="840"/>
                  </a:lnTo>
                  <a:lnTo>
                    <a:pt x="468" y="840"/>
                  </a:lnTo>
                  <a:lnTo>
                    <a:pt x="432" y="840"/>
                  </a:lnTo>
                  <a:lnTo>
                    <a:pt x="426" y="834"/>
                  </a:lnTo>
                  <a:lnTo>
                    <a:pt x="420" y="834"/>
                  </a:lnTo>
                  <a:lnTo>
                    <a:pt x="420" y="828"/>
                  </a:lnTo>
                  <a:lnTo>
                    <a:pt x="414" y="822"/>
                  </a:lnTo>
                  <a:lnTo>
                    <a:pt x="408" y="822"/>
                  </a:lnTo>
                  <a:lnTo>
                    <a:pt x="396" y="822"/>
                  </a:lnTo>
                  <a:lnTo>
                    <a:pt x="396" y="816"/>
                  </a:lnTo>
                  <a:lnTo>
                    <a:pt x="384" y="816"/>
                  </a:lnTo>
                  <a:lnTo>
                    <a:pt x="372" y="810"/>
                  </a:lnTo>
                  <a:lnTo>
                    <a:pt x="372" y="804"/>
                  </a:lnTo>
                  <a:lnTo>
                    <a:pt x="366" y="804"/>
                  </a:lnTo>
                  <a:lnTo>
                    <a:pt x="360" y="804"/>
                  </a:lnTo>
                  <a:lnTo>
                    <a:pt x="348" y="828"/>
                  </a:lnTo>
                  <a:lnTo>
                    <a:pt x="348" y="834"/>
                  </a:lnTo>
                  <a:lnTo>
                    <a:pt x="348" y="852"/>
                  </a:lnTo>
                  <a:lnTo>
                    <a:pt x="348" y="858"/>
                  </a:lnTo>
                  <a:lnTo>
                    <a:pt x="342" y="864"/>
                  </a:lnTo>
                  <a:lnTo>
                    <a:pt x="342" y="870"/>
                  </a:lnTo>
                  <a:lnTo>
                    <a:pt x="330" y="876"/>
                  </a:lnTo>
                  <a:lnTo>
                    <a:pt x="324" y="888"/>
                  </a:lnTo>
                  <a:lnTo>
                    <a:pt x="324" y="894"/>
                  </a:lnTo>
                  <a:lnTo>
                    <a:pt x="330" y="900"/>
                  </a:lnTo>
                  <a:lnTo>
                    <a:pt x="330" y="906"/>
                  </a:lnTo>
                  <a:lnTo>
                    <a:pt x="324" y="906"/>
                  </a:lnTo>
                  <a:lnTo>
                    <a:pt x="318" y="912"/>
                  </a:lnTo>
                  <a:lnTo>
                    <a:pt x="312" y="918"/>
                  </a:lnTo>
                  <a:lnTo>
                    <a:pt x="306" y="924"/>
                  </a:lnTo>
                  <a:lnTo>
                    <a:pt x="288" y="924"/>
                  </a:lnTo>
                  <a:lnTo>
                    <a:pt x="282" y="924"/>
                  </a:lnTo>
                  <a:lnTo>
                    <a:pt x="276" y="930"/>
                  </a:lnTo>
                  <a:lnTo>
                    <a:pt x="270" y="930"/>
                  </a:lnTo>
                  <a:lnTo>
                    <a:pt x="264" y="930"/>
                  </a:lnTo>
                  <a:lnTo>
                    <a:pt x="198" y="930"/>
                  </a:lnTo>
                  <a:lnTo>
                    <a:pt x="132" y="930"/>
                  </a:lnTo>
                  <a:lnTo>
                    <a:pt x="132" y="936"/>
                  </a:lnTo>
                  <a:lnTo>
                    <a:pt x="132" y="942"/>
                  </a:lnTo>
                  <a:lnTo>
                    <a:pt x="132" y="948"/>
                  </a:lnTo>
                  <a:lnTo>
                    <a:pt x="126" y="948"/>
                  </a:lnTo>
                  <a:lnTo>
                    <a:pt x="120" y="948"/>
                  </a:lnTo>
                  <a:lnTo>
                    <a:pt x="120" y="954"/>
                  </a:lnTo>
                  <a:lnTo>
                    <a:pt x="114" y="954"/>
                  </a:lnTo>
                  <a:lnTo>
                    <a:pt x="114" y="960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02" y="966"/>
                  </a:lnTo>
                  <a:lnTo>
                    <a:pt x="102" y="972"/>
                  </a:lnTo>
                  <a:lnTo>
                    <a:pt x="96" y="972"/>
                  </a:lnTo>
                  <a:lnTo>
                    <a:pt x="96" y="966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78" y="960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60"/>
                  </a:lnTo>
                  <a:lnTo>
                    <a:pt x="54" y="966"/>
                  </a:lnTo>
                  <a:lnTo>
                    <a:pt x="48" y="966"/>
                  </a:lnTo>
                  <a:lnTo>
                    <a:pt x="42" y="966"/>
                  </a:lnTo>
                  <a:lnTo>
                    <a:pt x="36" y="966"/>
                  </a:lnTo>
                  <a:lnTo>
                    <a:pt x="30" y="966"/>
                  </a:lnTo>
                  <a:lnTo>
                    <a:pt x="24" y="960"/>
                  </a:lnTo>
                  <a:lnTo>
                    <a:pt x="18" y="960"/>
                  </a:lnTo>
                  <a:lnTo>
                    <a:pt x="12" y="960"/>
                  </a:lnTo>
                  <a:lnTo>
                    <a:pt x="12" y="948"/>
                  </a:lnTo>
                  <a:lnTo>
                    <a:pt x="18" y="942"/>
                  </a:lnTo>
                  <a:lnTo>
                    <a:pt x="18" y="936"/>
                  </a:lnTo>
                  <a:lnTo>
                    <a:pt x="18" y="930"/>
                  </a:lnTo>
                  <a:lnTo>
                    <a:pt x="18" y="924"/>
                  </a:lnTo>
                  <a:lnTo>
                    <a:pt x="18" y="912"/>
                  </a:lnTo>
                  <a:lnTo>
                    <a:pt x="24" y="906"/>
                  </a:lnTo>
                  <a:lnTo>
                    <a:pt x="30" y="900"/>
                  </a:lnTo>
                  <a:lnTo>
                    <a:pt x="36" y="894"/>
                  </a:lnTo>
                  <a:lnTo>
                    <a:pt x="36" y="882"/>
                  </a:lnTo>
                  <a:lnTo>
                    <a:pt x="30" y="876"/>
                  </a:lnTo>
                  <a:lnTo>
                    <a:pt x="30" y="870"/>
                  </a:lnTo>
                  <a:lnTo>
                    <a:pt x="24" y="858"/>
                  </a:lnTo>
                  <a:lnTo>
                    <a:pt x="24" y="846"/>
                  </a:lnTo>
                  <a:lnTo>
                    <a:pt x="36" y="822"/>
                  </a:lnTo>
                  <a:lnTo>
                    <a:pt x="42" y="816"/>
                  </a:lnTo>
                  <a:lnTo>
                    <a:pt x="48" y="816"/>
                  </a:lnTo>
                  <a:lnTo>
                    <a:pt x="60" y="804"/>
                  </a:lnTo>
                  <a:lnTo>
                    <a:pt x="60" y="786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54" y="762"/>
                  </a:lnTo>
                  <a:lnTo>
                    <a:pt x="42" y="762"/>
                  </a:lnTo>
                  <a:lnTo>
                    <a:pt x="36" y="762"/>
                  </a:lnTo>
                  <a:lnTo>
                    <a:pt x="30" y="762"/>
                  </a:lnTo>
                  <a:lnTo>
                    <a:pt x="30" y="756"/>
                  </a:lnTo>
                  <a:lnTo>
                    <a:pt x="24" y="750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702"/>
                  </a:lnTo>
                  <a:lnTo>
                    <a:pt x="36" y="684"/>
                  </a:lnTo>
                  <a:lnTo>
                    <a:pt x="36" y="678"/>
                  </a:lnTo>
                  <a:lnTo>
                    <a:pt x="36" y="666"/>
                  </a:lnTo>
                  <a:lnTo>
                    <a:pt x="36" y="654"/>
                  </a:lnTo>
                  <a:lnTo>
                    <a:pt x="18" y="654"/>
                  </a:lnTo>
                  <a:lnTo>
                    <a:pt x="18" y="648"/>
                  </a:lnTo>
                  <a:lnTo>
                    <a:pt x="18" y="618"/>
                  </a:lnTo>
                  <a:lnTo>
                    <a:pt x="18" y="612"/>
                  </a:lnTo>
                  <a:lnTo>
                    <a:pt x="24" y="612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54" y="588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76"/>
                  </a:lnTo>
                  <a:lnTo>
                    <a:pt x="48" y="564"/>
                  </a:lnTo>
                  <a:lnTo>
                    <a:pt x="42" y="564"/>
                  </a:lnTo>
                  <a:lnTo>
                    <a:pt x="36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6" y="540"/>
                  </a:lnTo>
                  <a:lnTo>
                    <a:pt x="48" y="534"/>
                  </a:lnTo>
                  <a:lnTo>
                    <a:pt x="54" y="528"/>
                  </a:lnTo>
                  <a:lnTo>
                    <a:pt x="60" y="504"/>
                  </a:lnTo>
                  <a:lnTo>
                    <a:pt x="60" y="492"/>
                  </a:lnTo>
                  <a:lnTo>
                    <a:pt x="54" y="492"/>
                  </a:lnTo>
                  <a:lnTo>
                    <a:pt x="54" y="480"/>
                  </a:lnTo>
                  <a:lnTo>
                    <a:pt x="48" y="456"/>
                  </a:lnTo>
                  <a:lnTo>
                    <a:pt x="42" y="450"/>
                  </a:lnTo>
                  <a:lnTo>
                    <a:pt x="36" y="444"/>
                  </a:lnTo>
                  <a:lnTo>
                    <a:pt x="36" y="420"/>
                  </a:lnTo>
                  <a:lnTo>
                    <a:pt x="36" y="408"/>
                  </a:lnTo>
                  <a:lnTo>
                    <a:pt x="36" y="37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60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6" y="300"/>
                  </a:lnTo>
                  <a:lnTo>
                    <a:pt x="60" y="294"/>
                  </a:lnTo>
                  <a:lnTo>
                    <a:pt x="60" y="288"/>
                  </a:lnTo>
                  <a:lnTo>
                    <a:pt x="54" y="282"/>
                  </a:lnTo>
                  <a:lnTo>
                    <a:pt x="42" y="276"/>
                  </a:lnTo>
                  <a:lnTo>
                    <a:pt x="36" y="276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0" y="252"/>
                  </a:lnTo>
                  <a:lnTo>
                    <a:pt x="24" y="246"/>
                  </a:lnTo>
                  <a:lnTo>
                    <a:pt x="24" y="240"/>
                  </a:lnTo>
                  <a:lnTo>
                    <a:pt x="24" y="228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62"/>
                  </a:lnTo>
                  <a:lnTo>
                    <a:pt x="24" y="144"/>
                  </a:lnTo>
                  <a:lnTo>
                    <a:pt x="24" y="132"/>
                  </a:lnTo>
                  <a:lnTo>
                    <a:pt x="24" y="114"/>
                  </a:lnTo>
                  <a:lnTo>
                    <a:pt x="24" y="102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18" y="48"/>
                  </a:lnTo>
                  <a:lnTo>
                    <a:pt x="42" y="36"/>
                  </a:lnTo>
                  <a:lnTo>
                    <a:pt x="54" y="24"/>
                  </a:lnTo>
                  <a:lnTo>
                    <a:pt x="60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10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14" y="60"/>
                  </a:lnTo>
                  <a:lnTo>
                    <a:pt x="120" y="60"/>
                  </a:lnTo>
                  <a:lnTo>
                    <a:pt x="114" y="84"/>
                  </a:lnTo>
                  <a:lnTo>
                    <a:pt x="120" y="90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38" y="114"/>
                  </a:lnTo>
                  <a:lnTo>
                    <a:pt x="138" y="132"/>
                  </a:lnTo>
                  <a:lnTo>
                    <a:pt x="162" y="126"/>
                  </a:lnTo>
                  <a:lnTo>
                    <a:pt x="162" y="114"/>
                  </a:lnTo>
                  <a:lnTo>
                    <a:pt x="174" y="108"/>
                  </a:lnTo>
                  <a:lnTo>
                    <a:pt x="174" y="102"/>
                  </a:lnTo>
                  <a:lnTo>
                    <a:pt x="180" y="96"/>
                  </a:lnTo>
                  <a:lnTo>
                    <a:pt x="180" y="60"/>
                  </a:lnTo>
                  <a:lnTo>
                    <a:pt x="192" y="60"/>
                  </a:lnTo>
                  <a:lnTo>
                    <a:pt x="192" y="72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04" y="108"/>
                  </a:lnTo>
                  <a:lnTo>
                    <a:pt x="204" y="114"/>
                  </a:lnTo>
                  <a:lnTo>
                    <a:pt x="204" y="120"/>
                  </a:lnTo>
                  <a:lnTo>
                    <a:pt x="204" y="126"/>
                  </a:lnTo>
                  <a:lnTo>
                    <a:pt x="210" y="126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8" y="174"/>
                  </a:lnTo>
                  <a:lnTo>
                    <a:pt x="198" y="180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86" y="204"/>
                  </a:lnTo>
                  <a:lnTo>
                    <a:pt x="186" y="210"/>
                  </a:lnTo>
                  <a:lnTo>
                    <a:pt x="180" y="210"/>
                  </a:lnTo>
                  <a:lnTo>
                    <a:pt x="180" y="216"/>
                  </a:lnTo>
                  <a:lnTo>
                    <a:pt x="180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92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8" y="258"/>
                  </a:lnTo>
                  <a:lnTo>
                    <a:pt x="204" y="258"/>
                  </a:lnTo>
                  <a:lnTo>
                    <a:pt x="210" y="258"/>
                  </a:lnTo>
                  <a:lnTo>
                    <a:pt x="216" y="258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34" y="276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46" y="306"/>
                  </a:lnTo>
                  <a:lnTo>
                    <a:pt x="252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42"/>
                  </a:lnTo>
                  <a:lnTo>
                    <a:pt x="270" y="342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88" y="366"/>
                  </a:lnTo>
                  <a:lnTo>
                    <a:pt x="336" y="360"/>
                  </a:lnTo>
                  <a:lnTo>
                    <a:pt x="354" y="360"/>
                  </a:lnTo>
                  <a:lnTo>
                    <a:pt x="366" y="372"/>
                  </a:lnTo>
                  <a:lnTo>
                    <a:pt x="378" y="378"/>
                  </a:lnTo>
                  <a:lnTo>
                    <a:pt x="378" y="390"/>
                  </a:lnTo>
                  <a:lnTo>
                    <a:pt x="384" y="390"/>
                  </a:lnTo>
                  <a:lnTo>
                    <a:pt x="390" y="396"/>
                  </a:lnTo>
                  <a:lnTo>
                    <a:pt x="408" y="390"/>
                  </a:lnTo>
                  <a:lnTo>
                    <a:pt x="426" y="366"/>
                  </a:lnTo>
                  <a:lnTo>
                    <a:pt x="432" y="360"/>
                  </a:lnTo>
                  <a:lnTo>
                    <a:pt x="438" y="348"/>
                  </a:lnTo>
                  <a:lnTo>
                    <a:pt x="438" y="342"/>
                  </a:lnTo>
                  <a:lnTo>
                    <a:pt x="438" y="330"/>
                  </a:lnTo>
                  <a:lnTo>
                    <a:pt x="444" y="324"/>
                  </a:lnTo>
                  <a:lnTo>
                    <a:pt x="450" y="318"/>
                  </a:lnTo>
                  <a:lnTo>
                    <a:pt x="456" y="312"/>
                  </a:lnTo>
                  <a:lnTo>
                    <a:pt x="456" y="306"/>
                  </a:lnTo>
                  <a:lnTo>
                    <a:pt x="456" y="300"/>
                  </a:lnTo>
                  <a:lnTo>
                    <a:pt x="474" y="288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92" y="294"/>
                  </a:lnTo>
                  <a:lnTo>
                    <a:pt x="492" y="318"/>
                  </a:lnTo>
                  <a:lnTo>
                    <a:pt x="504" y="324"/>
                  </a:lnTo>
                  <a:lnTo>
                    <a:pt x="492" y="348"/>
                  </a:lnTo>
                  <a:lnTo>
                    <a:pt x="522" y="348"/>
                  </a:lnTo>
                  <a:lnTo>
                    <a:pt x="528" y="342"/>
                  </a:lnTo>
                  <a:lnTo>
                    <a:pt x="528" y="336"/>
                  </a:lnTo>
                  <a:lnTo>
                    <a:pt x="528" y="330"/>
                  </a:lnTo>
                  <a:lnTo>
                    <a:pt x="534" y="330"/>
                  </a:lnTo>
                  <a:lnTo>
                    <a:pt x="540" y="330"/>
                  </a:lnTo>
                  <a:lnTo>
                    <a:pt x="546" y="330"/>
                  </a:lnTo>
                  <a:lnTo>
                    <a:pt x="552" y="324"/>
                  </a:lnTo>
                  <a:lnTo>
                    <a:pt x="558" y="318"/>
                  </a:lnTo>
                  <a:lnTo>
                    <a:pt x="576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8" y="348"/>
                  </a:lnTo>
                  <a:lnTo>
                    <a:pt x="654" y="354"/>
                  </a:lnTo>
                  <a:lnTo>
                    <a:pt x="648" y="402"/>
                  </a:lnTo>
                  <a:lnTo>
                    <a:pt x="678" y="402"/>
                  </a:lnTo>
                  <a:lnTo>
                    <a:pt x="678" y="420"/>
                  </a:lnTo>
                  <a:lnTo>
                    <a:pt x="684" y="438"/>
                  </a:lnTo>
                  <a:lnTo>
                    <a:pt x="684" y="450"/>
                  </a:lnTo>
                  <a:lnTo>
                    <a:pt x="684" y="456"/>
                  </a:lnTo>
                  <a:lnTo>
                    <a:pt x="690" y="468"/>
                  </a:lnTo>
                  <a:lnTo>
                    <a:pt x="690" y="474"/>
                  </a:lnTo>
                  <a:lnTo>
                    <a:pt x="690" y="480"/>
                  </a:lnTo>
                  <a:lnTo>
                    <a:pt x="696" y="486"/>
                  </a:lnTo>
                  <a:lnTo>
                    <a:pt x="696" y="498"/>
                  </a:lnTo>
                  <a:lnTo>
                    <a:pt x="702" y="504"/>
                  </a:lnTo>
                  <a:lnTo>
                    <a:pt x="690" y="516"/>
                  </a:lnTo>
                  <a:lnTo>
                    <a:pt x="678" y="522"/>
                  </a:lnTo>
                  <a:lnTo>
                    <a:pt x="654" y="528"/>
                  </a:lnTo>
                  <a:lnTo>
                    <a:pt x="660" y="546"/>
                  </a:lnTo>
                  <a:lnTo>
                    <a:pt x="672" y="546"/>
                  </a:lnTo>
                  <a:lnTo>
                    <a:pt x="678" y="540"/>
                  </a:lnTo>
                  <a:lnTo>
                    <a:pt x="714" y="540"/>
                  </a:lnTo>
                  <a:lnTo>
                    <a:pt x="798" y="540"/>
                  </a:lnTo>
                  <a:lnTo>
                    <a:pt x="804" y="540"/>
                  </a:lnTo>
                  <a:lnTo>
                    <a:pt x="816" y="528"/>
                  </a:lnTo>
                  <a:lnTo>
                    <a:pt x="822" y="522"/>
                  </a:lnTo>
                  <a:lnTo>
                    <a:pt x="834" y="516"/>
                  </a:lnTo>
                  <a:lnTo>
                    <a:pt x="846" y="516"/>
                  </a:lnTo>
                  <a:lnTo>
                    <a:pt x="852" y="510"/>
                  </a:lnTo>
                  <a:lnTo>
                    <a:pt x="858" y="510"/>
                  </a:lnTo>
                  <a:lnTo>
                    <a:pt x="882" y="516"/>
                  </a:lnTo>
                  <a:lnTo>
                    <a:pt x="888" y="516"/>
                  </a:lnTo>
                  <a:lnTo>
                    <a:pt x="888" y="510"/>
                  </a:lnTo>
                  <a:lnTo>
                    <a:pt x="894" y="510"/>
                  </a:lnTo>
                  <a:lnTo>
                    <a:pt x="906" y="504"/>
                  </a:lnTo>
                  <a:lnTo>
                    <a:pt x="918" y="498"/>
                  </a:lnTo>
                  <a:lnTo>
                    <a:pt x="930" y="492"/>
                  </a:lnTo>
                  <a:lnTo>
                    <a:pt x="936" y="492"/>
                  </a:lnTo>
                  <a:lnTo>
                    <a:pt x="948" y="492"/>
                  </a:lnTo>
                  <a:lnTo>
                    <a:pt x="954" y="528"/>
                  </a:lnTo>
                  <a:lnTo>
                    <a:pt x="954" y="564"/>
                  </a:lnTo>
                  <a:lnTo>
                    <a:pt x="972" y="564"/>
                  </a:lnTo>
                  <a:lnTo>
                    <a:pt x="978" y="558"/>
                  </a:lnTo>
                  <a:lnTo>
                    <a:pt x="990" y="552"/>
                  </a:lnTo>
                  <a:lnTo>
                    <a:pt x="1002" y="540"/>
                  </a:lnTo>
                  <a:lnTo>
                    <a:pt x="1026" y="534"/>
                  </a:lnTo>
                  <a:lnTo>
                    <a:pt x="1032" y="540"/>
                  </a:lnTo>
                  <a:lnTo>
                    <a:pt x="1044" y="546"/>
                  </a:lnTo>
                  <a:lnTo>
                    <a:pt x="1062" y="552"/>
                  </a:lnTo>
                  <a:lnTo>
                    <a:pt x="1068" y="552"/>
                  </a:lnTo>
                  <a:lnTo>
                    <a:pt x="1068" y="570"/>
                  </a:lnTo>
                  <a:lnTo>
                    <a:pt x="1068" y="576"/>
                  </a:lnTo>
                  <a:lnTo>
                    <a:pt x="1068" y="582"/>
                  </a:lnTo>
                  <a:lnTo>
                    <a:pt x="1068" y="588"/>
                  </a:lnTo>
                  <a:lnTo>
                    <a:pt x="1068" y="594"/>
                  </a:lnTo>
                  <a:lnTo>
                    <a:pt x="1080" y="600"/>
                  </a:lnTo>
                  <a:lnTo>
                    <a:pt x="1086" y="606"/>
                  </a:lnTo>
                  <a:lnTo>
                    <a:pt x="1092" y="594"/>
                  </a:lnTo>
                  <a:lnTo>
                    <a:pt x="1104" y="588"/>
                  </a:lnTo>
                  <a:lnTo>
                    <a:pt x="1116" y="588"/>
                  </a:lnTo>
                  <a:lnTo>
                    <a:pt x="1122" y="588"/>
                  </a:lnTo>
                  <a:lnTo>
                    <a:pt x="1122" y="594"/>
                  </a:lnTo>
                  <a:lnTo>
                    <a:pt x="1128" y="594"/>
                  </a:lnTo>
                  <a:lnTo>
                    <a:pt x="1134" y="594"/>
                  </a:lnTo>
                  <a:lnTo>
                    <a:pt x="1140" y="594"/>
                  </a:lnTo>
                  <a:lnTo>
                    <a:pt x="1146" y="588"/>
                  </a:lnTo>
                  <a:lnTo>
                    <a:pt x="1158" y="582"/>
                  </a:lnTo>
                  <a:lnTo>
                    <a:pt x="1164" y="576"/>
                  </a:lnTo>
                  <a:lnTo>
                    <a:pt x="1176" y="576"/>
                  </a:lnTo>
                  <a:lnTo>
                    <a:pt x="1194" y="576"/>
                  </a:lnTo>
                  <a:lnTo>
                    <a:pt x="1218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24" y="594"/>
                  </a:lnTo>
                  <a:lnTo>
                    <a:pt x="1212" y="600"/>
                  </a:lnTo>
                  <a:lnTo>
                    <a:pt x="1206" y="606"/>
                  </a:lnTo>
                  <a:lnTo>
                    <a:pt x="1200" y="606"/>
                  </a:lnTo>
                  <a:lnTo>
                    <a:pt x="1200" y="612"/>
                  </a:lnTo>
                  <a:lnTo>
                    <a:pt x="1194" y="612"/>
                  </a:lnTo>
                  <a:lnTo>
                    <a:pt x="1194" y="618"/>
                  </a:lnTo>
                  <a:lnTo>
                    <a:pt x="1194" y="624"/>
                  </a:lnTo>
                  <a:lnTo>
                    <a:pt x="1194" y="630"/>
                  </a:lnTo>
                  <a:lnTo>
                    <a:pt x="1194" y="648"/>
                  </a:lnTo>
                  <a:lnTo>
                    <a:pt x="1194" y="660"/>
                  </a:lnTo>
                  <a:lnTo>
                    <a:pt x="1194" y="666"/>
                  </a:lnTo>
                  <a:lnTo>
                    <a:pt x="1194" y="672"/>
                  </a:lnTo>
                  <a:lnTo>
                    <a:pt x="1194" y="678"/>
                  </a:lnTo>
                  <a:lnTo>
                    <a:pt x="1188" y="684"/>
                  </a:lnTo>
                  <a:lnTo>
                    <a:pt x="1188" y="690"/>
                  </a:lnTo>
                  <a:lnTo>
                    <a:pt x="1188" y="696"/>
                  </a:lnTo>
                  <a:lnTo>
                    <a:pt x="1188" y="702"/>
                  </a:lnTo>
                  <a:lnTo>
                    <a:pt x="1188" y="708"/>
                  </a:lnTo>
                  <a:lnTo>
                    <a:pt x="1188" y="714"/>
                  </a:lnTo>
                  <a:lnTo>
                    <a:pt x="1182" y="720"/>
                  </a:lnTo>
                  <a:lnTo>
                    <a:pt x="1170" y="720"/>
                  </a:lnTo>
                  <a:lnTo>
                    <a:pt x="1158" y="726"/>
                  </a:lnTo>
                  <a:lnTo>
                    <a:pt x="1152" y="726"/>
                  </a:lnTo>
                  <a:lnTo>
                    <a:pt x="1152" y="732"/>
                  </a:lnTo>
                  <a:lnTo>
                    <a:pt x="1146" y="738"/>
                  </a:lnTo>
                  <a:lnTo>
                    <a:pt x="1140" y="738"/>
                  </a:lnTo>
                  <a:lnTo>
                    <a:pt x="1140" y="744"/>
                  </a:lnTo>
                  <a:lnTo>
                    <a:pt x="1134" y="744"/>
                  </a:lnTo>
                  <a:lnTo>
                    <a:pt x="1128" y="744"/>
                  </a:lnTo>
                  <a:lnTo>
                    <a:pt x="1122" y="750"/>
                  </a:lnTo>
                  <a:lnTo>
                    <a:pt x="1128" y="750"/>
                  </a:lnTo>
                  <a:lnTo>
                    <a:pt x="1122" y="756"/>
                  </a:lnTo>
                  <a:lnTo>
                    <a:pt x="1116" y="756"/>
                  </a:lnTo>
                  <a:lnTo>
                    <a:pt x="1110" y="762"/>
                  </a:lnTo>
                  <a:lnTo>
                    <a:pt x="1104" y="762"/>
                  </a:lnTo>
                  <a:lnTo>
                    <a:pt x="1104" y="768"/>
                  </a:lnTo>
                  <a:lnTo>
                    <a:pt x="1098" y="768"/>
                  </a:lnTo>
                  <a:lnTo>
                    <a:pt x="1098" y="774"/>
                  </a:lnTo>
                  <a:lnTo>
                    <a:pt x="1092" y="774"/>
                  </a:lnTo>
                  <a:lnTo>
                    <a:pt x="1092" y="780"/>
                  </a:lnTo>
                  <a:lnTo>
                    <a:pt x="1086" y="780"/>
                  </a:lnTo>
                  <a:lnTo>
                    <a:pt x="1086" y="786"/>
                  </a:lnTo>
                  <a:lnTo>
                    <a:pt x="1080" y="786"/>
                  </a:lnTo>
                  <a:lnTo>
                    <a:pt x="1080" y="792"/>
                  </a:lnTo>
                  <a:lnTo>
                    <a:pt x="1080" y="798"/>
                  </a:lnTo>
                  <a:lnTo>
                    <a:pt x="1080" y="804"/>
                  </a:lnTo>
                  <a:lnTo>
                    <a:pt x="1086" y="810"/>
                  </a:lnTo>
                  <a:lnTo>
                    <a:pt x="1080" y="816"/>
                  </a:lnTo>
                  <a:lnTo>
                    <a:pt x="1080" y="822"/>
                  </a:lnTo>
                  <a:lnTo>
                    <a:pt x="1074" y="822"/>
                  </a:lnTo>
                  <a:lnTo>
                    <a:pt x="1068" y="828"/>
                  </a:lnTo>
                  <a:lnTo>
                    <a:pt x="1074" y="828"/>
                  </a:lnTo>
                  <a:lnTo>
                    <a:pt x="1074" y="834"/>
                  </a:lnTo>
                  <a:lnTo>
                    <a:pt x="1080" y="846"/>
                  </a:lnTo>
                  <a:lnTo>
                    <a:pt x="1086" y="846"/>
                  </a:lnTo>
                  <a:lnTo>
                    <a:pt x="1092" y="852"/>
                  </a:lnTo>
                  <a:lnTo>
                    <a:pt x="1092" y="858"/>
                  </a:lnTo>
                  <a:lnTo>
                    <a:pt x="1098" y="858"/>
                  </a:lnTo>
                  <a:lnTo>
                    <a:pt x="1110" y="864"/>
                  </a:lnTo>
                  <a:lnTo>
                    <a:pt x="1116" y="864"/>
                  </a:lnTo>
                  <a:lnTo>
                    <a:pt x="1122" y="864"/>
                  </a:lnTo>
                  <a:lnTo>
                    <a:pt x="1128" y="864"/>
                  </a:lnTo>
                  <a:lnTo>
                    <a:pt x="1134" y="876"/>
                  </a:lnTo>
                  <a:lnTo>
                    <a:pt x="1140" y="882"/>
                  </a:lnTo>
                  <a:lnTo>
                    <a:pt x="1140" y="888"/>
                  </a:lnTo>
                  <a:lnTo>
                    <a:pt x="1152" y="918"/>
                  </a:lnTo>
                  <a:lnTo>
                    <a:pt x="1158" y="894"/>
                  </a:lnTo>
                  <a:lnTo>
                    <a:pt x="1164" y="888"/>
                  </a:lnTo>
                  <a:lnTo>
                    <a:pt x="1164" y="882"/>
                  </a:lnTo>
                  <a:lnTo>
                    <a:pt x="1176" y="864"/>
                  </a:lnTo>
                  <a:lnTo>
                    <a:pt x="1182" y="858"/>
                  </a:lnTo>
                  <a:lnTo>
                    <a:pt x="1188" y="846"/>
                  </a:lnTo>
                  <a:lnTo>
                    <a:pt x="1200" y="840"/>
                  </a:lnTo>
                  <a:lnTo>
                    <a:pt x="1212" y="840"/>
                  </a:lnTo>
                  <a:lnTo>
                    <a:pt x="1218" y="846"/>
                  </a:lnTo>
                  <a:lnTo>
                    <a:pt x="1224" y="858"/>
                  </a:lnTo>
                  <a:lnTo>
                    <a:pt x="1224" y="864"/>
                  </a:lnTo>
                  <a:lnTo>
                    <a:pt x="1224" y="876"/>
                  </a:lnTo>
                  <a:lnTo>
                    <a:pt x="1212" y="912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00" y="930"/>
                  </a:lnTo>
                  <a:lnTo>
                    <a:pt x="1200" y="942"/>
                  </a:lnTo>
                  <a:lnTo>
                    <a:pt x="1194" y="948"/>
                  </a:lnTo>
                  <a:lnTo>
                    <a:pt x="1194" y="960"/>
                  </a:lnTo>
                  <a:lnTo>
                    <a:pt x="1194" y="966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70" y="984"/>
                  </a:lnTo>
                  <a:lnTo>
                    <a:pt x="1164" y="984"/>
                  </a:lnTo>
                  <a:lnTo>
                    <a:pt x="1158" y="984"/>
                  </a:lnTo>
                  <a:lnTo>
                    <a:pt x="1146" y="984"/>
                  </a:lnTo>
                  <a:lnTo>
                    <a:pt x="1140" y="990"/>
                  </a:lnTo>
                  <a:lnTo>
                    <a:pt x="1140" y="996"/>
                  </a:lnTo>
                  <a:lnTo>
                    <a:pt x="1152" y="996"/>
                  </a:lnTo>
                  <a:lnTo>
                    <a:pt x="1176" y="1002"/>
                  </a:lnTo>
                  <a:lnTo>
                    <a:pt x="1194" y="1008"/>
                  </a:lnTo>
                  <a:lnTo>
                    <a:pt x="1206" y="1008"/>
                  </a:lnTo>
                  <a:lnTo>
                    <a:pt x="1218" y="1014"/>
                  </a:lnTo>
                  <a:lnTo>
                    <a:pt x="1212" y="1038"/>
                  </a:lnTo>
                  <a:lnTo>
                    <a:pt x="1212" y="1044"/>
                  </a:lnTo>
                  <a:lnTo>
                    <a:pt x="1206" y="1044"/>
                  </a:lnTo>
                  <a:lnTo>
                    <a:pt x="1206" y="1050"/>
                  </a:lnTo>
                  <a:lnTo>
                    <a:pt x="1194" y="1050"/>
                  </a:lnTo>
                  <a:lnTo>
                    <a:pt x="1188" y="1044"/>
                  </a:lnTo>
                  <a:lnTo>
                    <a:pt x="1158" y="1020"/>
                  </a:lnTo>
                  <a:lnTo>
                    <a:pt x="1152" y="1020"/>
                  </a:lnTo>
                  <a:lnTo>
                    <a:pt x="1140" y="1020"/>
                  </a:lnTo>
                  <a:lnTo>
                    <a:pt x="1134" y="1020"/>
                  </a:lnTo>
                  <a:lnTo>
                    <a:pt x="1134" y="1026"/>
                  </a:lnTo>
                  <a:lnTo>
                    <a:pt x="1134" y="1032"/>
                  </a:lnTo>
                  <a:lnTo>
                    <a:pt x="1128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2" name="Freeform 27">
              <a:extLst>
                <a:ext uri="{FF2B5EF4-FFF2-40B4-BE49-F238E27FC236}">
                  <a16:creationId xmlns:a16="http://schemas.microsoft.com/office/drawing/2014/main" id="{CE95C9DF-B651-4085-946F-65424BC51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2063" y="3421400"/>
              <a:ext cx="342138" cy="377969"/>
            </a:xfrm>
            <a:custGeom>
              <a:avLst/>
              <a:gdLst>
                <a:gd name="T0" fmla="*/ 43 w 642"/>
                <a:gd name="T1" fmla="*/ 41 h 708"/>
                <a:gd name="T2" fmla="*/ 39 w 642"/>
                <a:gd name="T3" fmla="*/ 41 h 708"/>
                <a:gd name="T4" fmla="*/ 38 w 642"/>
                <a:gd name="T5" fmla="*/ 47 h 708"/>
                <a:gd name="T6" fmla="*/ 38 w 642"/>
                <a:gd name="T7" fmla="*/ 49 h 708"/>
                <a:gd name="T8" fmla="*/ 38 w 642"/>
                <a:gd name="T9" fmla="*/ 50 h 708"/>
                <a:gd name="T10" fmla="*/ 36 w 642"/>
                <a:gd name="T11" fmla="*/ 52 h 708"/>
                <a:gd name="T12" fmla="*/ 35 w 642"/>
                <a:gd name="T13" fmla="*/ 53 h 708"/>
                <a:gd name="T14" fmla="*/ 33 w 642"/>
                <a:gd name="T15" fmla="*/ 55 h 708"/>
                <a:gd name="T16" fmla="*/ 32 w 642"/>
                <a:gd name="T17" fmla="*/ 56 h 708"/>
                <a:gd name="T18" fmla="*/ 31 w 642"/>
                <a:gd name="T19" fmla="*/ 59 h 708"/>
                <a:gd name="T20" fmla="*/ 26 w 642"/>
                <a:gd name="T21" fmla="*/ 59 h 708"/>
                <a:gd name="T22" fmla="*/ 23 w 642"/>
                <a:gd name="T23" fmla="*/ 61 h 708"/>
                <a:gd name="T24" fmla="*/ 20 w 642"/>
                <a:gd name="T25" fmla="*/ 61 h 708"/>
                <a:gd name="T26" fmla="*/ 17 w 642"/>
                <a:gd name="T27" fmla="*/ 59 h 708"/>
                <a:gd name="T28" fmla="*/ 15 w 642"/>
                <a:gd name="T29" fmla="*/ 56 h 708"/>
                <a:gd name="T30" fmla="*/ 9 w 642"/>
                <a:gd name="T31" fmla="*/ 58 h 708"/>
                <a:gd name="T32" fmla="*/ 6 w 642"/>
                <a:gd name="T33" fmla="*/ 52 h 708"/>
                <a:gd name="T34" fmla="*/ 2 w 642"/>
                <a:gd name="T35" fmla="*/ 53 h 708"/>
                <a:gd name="T36" fmla="*/ 1 w 642"/>
                <a:gd name="T37" fmla="*/ 51 h 708"/>
                <a:gd name="T38" fmla="*/ 4 w 642"/>
                <a:gd name="T39" fmla="*/ 47 h 708"/>
                <a:gd name="T40" fmla="*/ 5 w 642"/>
                <a:gd name="T41" fmla="*/ 41 h 708"/>
                <a:gd name="T42" fmla="*/ 5 w 642"/>
                <a:gd name="T43" fmla="*/ 38 h 708"/>
                <a:gd name="T44" fmla="*/ 5 w 642"/>
                <a:gd name="T45" fmla="*/ 35 h 708"/>
                <a:gd name="T46" fmla="*/ 6 w 642"/>
                <a:gd name="T47" fmla="*/ 33 h 708"/>
                <a:gd name="T48" fmla="*/ 5 w 642"/>
                <a:gd name="T49" fmla="*/ 29 h 708"/>
                <a:gd name="T50" fmla="*/ 4 w 642"/>
                <a:gd name="T51" fmla="*/ 28 h 708"/>
                <a:gd name="T52" fmla="*/ 1 w 642"/>
                <a:gd name="T53" fmla="*/ 26 h 708"/>
                <a:gd name="T54" fmla="*/ 1 w 642"/>
                <a:gd name="T55" fmla="*/ 24 h 708"/>
                <a:gd name="T56" fmla="*/ 1 w 642"/>
                <a:gd name="T57" fmla="*/ 20 h 708"/>
                <a:gd name="T58" fmla="*/ 1 w 642"/>
                <a:gd name="T59" fmla="*/ 16 h 708"/>
                <a:gd name="T60" fmla="*/ 2 w 642"/>
                <a:gd name="T61" fmla="*/ 14 h 708"/>
                <a:gd name="T62" fmla="*/ 8 w 642"/>
                <a:gd name="T63" fmla="*/ 14 h 708"/>
                <a:gd name="T64" fmla="*/ 9 w 642"/>
                <a:gd name="T65" fmla="*/ 10 h 708"/>
                <a:gd name="T66" fmla="*/ 15 w 642"/>
                <a:gd name="T67" fmla="*/ 9 h 708"/>
                <a:gd name="T68" fmla="*/ 18 w 642"/>
                <a:gd name="T69" fmla="*/ 14 h 708"/>
                <a:gd name="T70" fmla="*/ 20 w 642"/>
                <a:gd name="T71" fmla="*/ 12 h 708"/>
                <a:gd name="T72" fmla="*/ 20 w 642"/>
                <a:gd name="T73" fmla="*/ 11 h 708"/>
                <a:gd name="T74" fmla="*/ 21 w 642"/>
                <a:gd name="T75" fmla="*/ 9 h 708"/>
                <a:gd name="T76" fmla="*/ 24 w 642"/>
                <a:gd name="T77" fmla="*/ 9 h 708"/>
                <a:gd name="T78" fmla="*/ 27 w 642"/>
                <a:gd name="T79" fmla="*/ 8 h 708"/>
                <a:gd name="T80" fmla="*/ 33 w 642"/>
                <a:gd name="T81" fmla="*/ 2 h 708"/>
                <a:gd name="T82" fmla="*/ 42 w 642"/>
                <a:gd name="T83" fmla="*/ 2 h 708"/>
                <a:gd name="T84" fmla="*/ 49 w 642"/>
                <a:gd name="T85" fmla="*/ 1 h 708"/>
                <a:gd name="T86" fmla="*/ 53 w 642"/>
                <a:gd name="T87" fmla="*/ 4 h 708"/>
                <a:gd name="T88" fmla="*/ 55 w 642"/>
                <a:gd name="T89" fmla="*/ 4 h 708"/>
                <a:gd name="T90" fmla="*/ 55 w 642"/>
                <a:gd name="T91" fmla="*/ 7 h 708"/>
                <a:gd name="T92" fmla="*/ 52 w 642"/>
                <a:gd name="T93" fmla="*/ 9 h 708"/>
                <a:gd name="T94" fmla="*/ 49 w 642"/>
                <a:gd name="T95" fmla="*/ 12 h 708"/>
                <a:gd name="T96" fmla="*/ 47 w 642"/>
                <a:gd name="T97" fmla="*/ 14 h 708"/>
                <a:gd name="T98" fmla="*/ 47 w 642"/>
                <a:gd name="T99" fmla="*/ 17 h 708"/>
                <a:gd name="T100" fmla="*/ 45 w 642"/>
                <a:gd name="T101" fmla="*/ 26 h 708"/>
                <a:gd name="T102" fmla="*/ 50 w 642"/>
                <a:gd name="T103" fmla="*/ 37 h 70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42"/>
                <a:gd name="T157" fmla="*/ 0 h 708"/>
                <a:gd name="T158" fmla="*/ 642 w 642"/>
                <a:gd name="T159" fmla="*/ 708 h 70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42" h="708">
                  <a:moveTo>
                    <a:pt x="576" y="468"/>
                  </a:moveTo>
                  <a:lnTo>
                    <a:pt x="564" y="468"/>
                  </a:lnTo>
                  <a:lnTo>
                    <a:pt x="516" y="468"/>
                  </a:lnTo>
                  <a:lnTo>
                    <a:pt x="498" y="474"/>
                  </a:lnTo>
                  <a:lnTo>
                    <a:pt x="492" y="468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68" y="474"/>
                  </a:lnTo>
                  <a:lnTo>
                    <a:pt x="456" y="468"/>
                  </a:lnTo>
                  <a:lnTo>
                    <a:pt x="444" y="474"/>
                  </a:lnTo>
                  <a:lnTo>
                    <a:pt x="438" y="492"/>
                  </a:lnTo>
                  <a:lnTo>
                    <a:pt x="438" y="504"/>
                  </a:lnTo>
                  <a:lnTo>
                    <a:pt x="432" y="516"/>
                  </a:lnTo>
                  <a:lnTo>
                    <a:pt x="432" y="528"/>
                  </a:lnTo>
                  <a:lnTo>
                    <a:pt x="432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52"/>
                  </a:lnTo>
                  <a:lnTo>
                    <a:pt x="432" y="558"/>
                  </a:lnTo>
                  <a:lnTo>
                    <a:pt x="438" y="564"/>
                  </a:lnTo>
                  <a:lnTo>
                    <a:pt x="444" y="564"/>
                  </a:lnTo>
                  <a:lnTo>
                    <a:pt x="438" y="564"/>
                  </a:lnTo>
                  <a:lnTo>
                    <a:pt x="438" y="570"/>
                  </a:lnTo>
                  <a:lnTo>
                    <a:pt x="432" y="570"/>
                  </a:lnTo>
                  <a:lnTo>
                    <a:pt x="432" y="576"/>
                  </a:lnTo>
                  <a:lnTo>
                    <a:pt x="426" y="588"/>
                  </a:lnTo>
                  <a:lnTo>
                    <a:pt x="420" y="594"/>
                  </a:lnTo>
                  <a:lnTo>
                    <a:pt x="420" y="600"/>
                  </a:lnTo>
                  <a:lnTo>
                    <a:pt x="414" y="600"/>
                  </a:lnTo>
                  <a:lnTo>
                    <a:pt x="414" y="606"/>
                  </a:lnTo>
                  <a:lnTo>
                    <a:pt x="408" y="606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396" y="612"/>
                  </a:lnTo>
                  <a:lnTo>
                    <a:pt x="390" y="612"/>
                  </a:lnTo>
                  <a:lnTo>
                    <a:pt x="390" y="618"/>
                  </a:lnTo>
                  <a:lnTo>
                    <a:pt x="384" y="618"/>
                  </a:lnTo>
                  <a:lnTo>
                    <a:pt x="378" y="618"/>
                  </a:lnTo>
                  <a:lnTo>
                    <a:pt x="378" y="624"/>
                  </a:lnTo>
                  <a:lnTo>
                    <a:pt x="384" y="630"/>
                  </a:lnTo>
                  <a:lnTo>
                    <a:pt x="384" y="636"/>
                  </a:lnTo>
                  <a:lnTo>
                    <a:pt x="378" y="630"/>
                  </a:lnTo>
                  <a:lnTo>
                    <a:pt x="372" y="636"/>
                  </a:lnTo>
                  <a:lnTo>
                    <a:pt x="372" y="642"/>
                  </a:lnTo>
                  <a:lnTo>
                    <a:pt x="366" y="642"/>
                  </a:lnTo>
                  <a:lnTo>
                    <a:pt x="360" y="654"/>
                  </a:lnTo>
                  <a:lnTo>
                    <a:pt x="354" y="666"/>
                  </a:lnTo>
                  <a:lnTo>
                    <a:pt x="354" y="672"/>
                  </a:lnTo>
                  <a:lnTo>
                    <a:pt x="354" y="678"/>
                  </a:lnTo>
                  <a:lnTo>
                    <a:pt x="354" y="684"/>
                  </a:lnTo>
                  <a:lnTo>
                    <a:pt x="348" y="678"/>
                  </a:lnTo>
                  <a:lnTo>
                    <a:pt x="324" y="678"/>
                  </a:lnTo>
                  <a:lnTo>
                    <a:pt x="306" y="678"/>
                  </a:lnTo>
                  <a:lnTo>
                    <a:pt x="294" y="678"/>
                  </a:lnTo>
                  <a:lnTo>
                    <a:pt x="288" y="684"/>
                  </a:lnTo>
                  <a:lnTo>
                    <a:pt x="276" y="690"/>
                  </a:lnTo>
                  <a:lnTo>
                    <a:pt x="270" y="696"/>
                  </a:lnTo>
                  <a:lnTo>
                    <a:pt x="264" y="696"/>
                  </a:lnTo>
                  <a:lnTo>
                    <a:pt x="258" y="696"/>
                  </a:lnTo>
                  <a:lnTo>
                    <a:pt x="252" y="696"/>
                  </a:lnTo>
                  <a:lnTo>
                    <a:pt x="252" y="690"/>
                  </a:lnTo>
                  <a:lnTo>
                    <a:pt x="246" y="690"/>
                  </a:lnTo>
                  <a:lnTo>
                    <a:pt x="234" y="690"/>
                  </a:lnTo>
                  <a:lnTo>
                    <a:pt x="222" y="696"/>
                  </a:lnTo>
                  <a:lnTo>
                    <a:pt x="216" y="708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8" y="690"/>
                  </a:lnTo>
                  <a:lnTo>
                    <a:pt x="198" y="684"/>
                  </a:lnTo>
                  <a:lnTo>
                    <a:pt x="198" y="678"/>
                  </a:lnTo>
                  <a:lnTo>
                    <a:pt x="198" y="672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74" y="648"/>
                  </a:lnTo>
                  <a:lnTo>
                    <a:pt x="162" y="642"/>
                  </a:lnTo>
                  <a:lnTo>
                    <a:pt x="156" y="636"/>
                  </a:lnTo>
                  <a:lnTo>
                    <a:pt x="132" y="642"/>
                  </a:lnTo>
                  <a:lnTo>
                    <a:pt x="120" y="654"/>
                  </a:lnTo>
                  <a:lnTo>
                    <a:pt x="108" y="660"/>
                  </a:lnTo>
                  <a:lnTo>
                    <a:pt x="102" y="666"/>
                  </a:lnTo>
                  <a:lnTo>
                    <a:pt x="84" y="666"/>
                  </a:lnTo>
                  <a:lnTo>
                    <a:pt x="84" y="630"/>
                  </a:lnTo>
                  <a:lnTo>
                    <a:pt x="78" y="594"/>
                  </a:lnTo>
                  <a:lnTo>
                    <a:pt x="66" y="594"/>
                  </a:lnTo>
                  <a:lnTo>
                    <a:pt x="60" y="594"/>
                  </a:lnTo>
                  <a:lnTo>
                    <a:pt x="48" y="600"/>
                  </a:lnTo>
                  <a:lnTo>
                    <a:pt x="36" y="606"/>
                  </a:lnTo>
                  <a:lnTo>
                    <a:pt x="24" y="612"/>
                  </a:lnTo>
                  <a:lnTo>
                    <a:pt x="18" y="612"/>
                  </a:lnTo>
                  <a:lnTo>
                    <a:pt x="12" y="606"/>
                  </a:lnTo>
                  <a:lnTo>
                    <a:pt x="12" y="600"/>
                  </a:lnTo>
                  <a:lnTo>
                    <a:pt x="12" y="594"/>
                  </a:lnTo>
                  <a:lnTo>
                    <a:pt x="12" y="588"/>
                  </a:lnTo>
                  <a:lnTo>
                    <a:pt x="12" y="582"/>
                  </a:lnTo>
                  <a:lnTo>
                    <a:pt x="12" y="576"/>
                  </a:lnTo>
                  <a:lnTo>
                    <a:pt x="18" y="552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42" y="534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48" y="492"/>
                  </a:lnTo>
                  <a:lnTo>
                    <a:pt x="48" y="480"/>
                  </a:lnTo>
                  <a:lnTo>
                    <a:pt x="54" y="468"/>
                  </a:lnTo>
                  <a:lnTo>
                    <a:pt x="48" y="456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66" y="390"/>
                  </a:lnTo>
                  <a:lnTo>
                    <a:pt x="72" y="384"/>
                  </a:lnTo>
                  <a:lnTo>
                    <a:pt x="72" y="378"/>
                  </a:lnTo>
                  <a:lnTo>
                    <a:pt x="66" y="378"/>
                  </a:lnTo>
                  <a:lnTo>
                    <a:pt x="66" y="366"/>
                  </a:lnTo>
                  <a:lnTo>
                    <a:pt x="60" y="360"/>
                  </a:lnTo>
                  <a:lnTo>
                    <a:pt x="66" y="354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48" y="312"/>
                  </a:lnTo>
                  <a:lnTo>
                    <a:pt x="30" y="312"/>
                  </a:lnTo>
                  <a:lnTo>
                    <a:pt x="24" y="306"/>
                  </a:lnTo>
                  <a:lnTo>
                    <a:pt x="18" y="306"/>
                  </a:lnTo>
                  <a:lnTo>
                    <a:pt x="12" y="294"/>
                  </a:lnTo>
                  <a:lnTo>
                    <a:pt x="12" y="282"/>
                  </a:lnTo>
                  <a:lnTo>
                    <a:pt x="6" y="276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12" y="270"/>
                  </a:lnTo>
                  <a:lnTo>
                    <a:pt x="12" y="246"/>
                  </a:lnTo>
                  <a:lnTo>
                    <a:pt x="12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8" y="174"/>
                  </a:lnTo>
                  <a:lnTo>
                    <a:pt x="12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48" y="162"/>
                  </a:lnTo>
                  <a:lnTo>
                    <a:pt x="72" y="162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84" y="132"/>
                  </a:lnTo>
                  <a:lnTo>
                    <a:pt x="90" y="120"/>
                  </a:lnTo>
                  <a:lnTo>
                    <a:pt x="108" y="114"/>
                  </a:lnTo>
                  <a:lnTo>
                    <a:pt x="114" y="102"/>
                  </a:lnTo>
                  <a:lnTo>
                    <a:pt x="120" y="90"/>
                  </a:lnTo>
                  <a:lnTo>
                    <a:pt x="138" y="90"/>
                  </a:lnTo>
                  <a:lnTo>
                    <a:pt x="138" y="102"/>
                  </a:lnTo>
                  <a:lnTo>
                    <a:pt x="168" y="108"/>
                  </a:lnTo>
                  <a:lnTo>
                    <a:pt x="168" y="114"/>
                  </a:lnTo>
                  <a:lnTo>
                    <a:pt x="174" y="126"/>
                  </a:lnTo>
                  <a:lnTo>
                    <a:pt x="186" y="150"/>
                  </a:lnTo>
                  <a:lnTo>
                    <a:pt x="186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34" y="144"/>
                  </a:lnTo>
                  <a:lnTo>
                    <a:pt x="240" y="138"/>
                  </a:lnTo>
                  <a:lnTo>
                    <a:pt x="240" y="126"/>
                  </a:lnTo>
                  <a:lnTo>
                    <a:pt x="234" y="126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34" y="102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82" y="102"/>
                  </a:lnTo>
                  <a:lnTo>
                    <a:pt x="288" y="102"/>
                  </a:lnTo>
                  <a:lnTo>
                    <a:pt x="294" y="102"/>
                  </a:lnTo>
                  <a:lnTo>
                    <a:pt x="300" y="96"/>
                  </a:lnTo>
                  <a:lnTo>
                    <a:pt x="306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84"/>
                  </a:lnTo>
                  <a:lnTo>
                    <a:pt x="324" y="18"/>
                  </a:lnTo>
                  <a:lnTo>
                    <a:pt x="360" y="18"/>
                  </a:lnTo>
                  <a:lnTo>
                    <a:pt x="378" y="18"/>
                  </a:lnTo>
                  <a:lnTo>
                    <a:pt x="378" y="30"/>
                  </a:lnTo>
                  <a:lnTo>
                    <a:pt x="390" y="30"/>
                  </a:lnTo>
                  <a:lnTo>
                    <a:pt x="432" y="30"/>
                  </a:lnTo>
                  <a:lnTo>
                    <a:pt x="456" y="24"/>
                  </a:lnTo>
                  <a:lnTo>
                    <a:pt x="480" y="24"/>
                  </a:lnTo>
                  <a:lnTo>
                    <a:pt x="498" y="30"/>
                  </a:lnTo>
                  <a:lnTo>
                    <a:pt x="522" y="18"/>
                  </a:lnTo>
                  <a:lnTo>
                    <a:pt x="528" y="0"/>
                  </a:lnTo>
                  <a:lnTo>
                    <a:pt x="558" y="6"/>
                  </a:lnTo>
                  <a:lnTo>
                    <a:pt x="558" y="12"/>
                  </a:lnTo>
                  <a:lnTo>
                    <a:pt x="570" y="18"/>
                  </a:lnTo>
                  <a:lnTo>
                    <a:pt x="576" y="24"/>
                  </a:lnTo>
                  <a:lnTo>
                    <a:pt x="588" y="36"/>
                  </a:lnTo>
                  <a:lnTo>
                    <a:pt x="594" y="48"/>
                  </a:lnTo>
                  <a:lnTo>
                    <a:pt x="606" y="48"/>
                  </a:lnTo>
                  <a:lnTo>
                    <a:pt x="606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42"/>
                  </a:lnTo>
                  <a:lnTo>
                    <a:pt x="636" y="42"/>
                  </a:lnTo>
                  <a:lnTo>
                    <a:pt x="636" y="48"/>
                  </a:lnTo>
                  <a:lnTo>
                    <a:pt x="642" y="54"/>
                  </a:lnTo>
                  <a:lnTo>
                    <a:pt x="636" y="60"/>
                  </a:lnTo>
                  <a:lnTo>
                    <a:pt x="636" y="66"/>
                  </a:lnTo>
                  <a:lnTo>
                    <a:pt x="636" y="78"/>
                  </a:lnTo>
                  <a:lnTo>
                    <a:pt x="624" y="84"/>
                  </a:lnTo>
                  <a:lnTo>
                    <a:pt x="618" y="90"/>
                  </a:lnTo>
                  <a:lnTo>
                    <a:pt x="612" y="90"/>
                  </a:lnTo>
                  <a:lnTo>
                    <a:pt x="600" y="102"/>
                  </a:lnTo>
                  <a:lnTo>
                    <a:pt x="594" y="108"/>
                  </a:lnTo>
                  <a:lnTo>
                    <a:pt x="582" y="114"/>
                  </a:lnTo>
                  <a:lnTo>
                    <a:pt x="570" y="132"/>
                  </a:lnTo>
                  <a:lnTo>
                    <a:pt x="564" y="132"/>
                  </a:lnTo>
                  <a:lnTo>
                    <a:pt x="564" y="138"/>
                  </a:lnTo>
                  <a:lnTo>
                    <a:pt x="558" y="144"/>
                  </a:lnTo>
                  <a:lnTo>
                    <a:pt x="558" y="150"/>
                  </a:lnTo>
                  <a:lnTo>
                    <a:pt x="552" y="150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0" y="162"/>
                  </a:lnTo>
                  <a:lnTo>
                    <a:pt x="534" y="168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6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28" y="234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16" y="294"/>
                  </a:lnTo>
                  <a:lnTo>
                    <a:pt x="516" y="312"/>
                  </a:lnTo>
                  <a:lnTo>
                    <a:pt x="528" y="318"/>
                  </a:lnTo>
                  <a:lnTo>
                    <a:pt x="540" y="360"/>
                  </a:lnTo>
                  <a:lnTo>
                    <a:pt x="558" y="408"/>
                  </a:lnTo>
                  <a:lnTo>
                    <a:pt x="570" y="426"/>
                  </a:lnTo>
                  <a:lnTo>
                    <a:pt x="576" y="432"/>
                  </a:lnTo>
                  <a:lnTo>
                    <a:pt x="576" y="438"/>
                  </a:lnTo>
                  <a:lnTo>
                    <a:pt x="576" y="444"/>
                  </a:lnTo>
                  <a:lnTo>
                    <a:pt x="576" y="46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3" name="Freeform 28">
              <a:extLst>
                <a:ext uri="{FF2B5EF4-FFF2-40B4-BE49-F238E27FC236}">
                  <a16:creationId xmlns:a16="http://schemas.microsoft.com/office/drawing/2014/main" id="{CF9B4F31-BF73-448E-83AA-188F6CF1BDC5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4879" y="3432583"/>
              <a:ext cx="324248" cy="270616"/>
            </a:xfrm>
            <a:custGeom>
              <a:avLst/>
              <a:gdLst>
                <a:gd name="T0" fmla="*/ 5 w 606"/>
                <a:gd name="T1" fmla="*/ 36 h 510"/>
                <a:gd name="T2" fmla="*/ 4 w 606"/>
                <a:gd name="T3" fmla="*/ 34 h 510"/>
                <a:gd name="T4" fmla="*/ 0 w 606"/>
                <a:gd name="T5" fmla="*/ 25 h 510"/>
                <a:gd name="T6" fmla="*/ 1 w 606"/>
                <a:gd name="T7" fmla="*/ 20 h 510"/>
                <a:gd name="T8" fmla="*/ 2 w 606"/>
                <a:gd name="T9" fmla="*/ 15 h 510"/>
                <a:gd name="T10" fmla="*/ 2 w 606"/>
                <a:gd name="T11" fmla="*/ 13 h 510"/>
                <a:gd name="T12" fmla="*/ 3 w 606"/>
                <a:gd name="T13" fmla="*/ 12 h 510"/>
                <a:gd name="T14" fmla="*/ 4 w 606"/>
                <a:gd name="T15" fmla="*/ 11 h 510"/>
                <a:gd name="T16" fmla="*/ 4 w 606"/>
                <a:gd name="T17" fmla="*/ 10 h 510"/>
                <a:gd name="T18" fmla="*/ 7 w 606"/>
                <a:gd name="T19" fmla="*/ 8 h 510"/>
                <a:gd name="T20" fmla="*/ 9 w 606"/>
                <a:gd name="T21" fmla="*/ 6 h 510"/>
                <a:gd name="T22" fmla="*/ 11 w 606"/>
                <a:gd name="T23" fmla="*/ 4 h 510"/>
                <a:gd name="T24" fmla="*/ 12 w 606"/>
                <a:gd name="T25" fmla="*/ 3 h 510"/>
                <a:gd name="T26" fmla="*/ 13 w 606"/>
                <a:gd name="T27" fmla="*/ 4 h 510"/>
                <a:gd name="T28" fmla="*/ 15 w 606"/>
                <a:gd name="T29" fmla="*/ 2 h 510"/>
                <a:gd name="T30" fmla="*/ 17 w 606"/>
                <a:gd name="T31" fmla="*/ 2 h 510"/>
                <a:gd name="T32" fmla="*/ 19 w 606"/>
                <a:gd name="T33" fmla="*/ 5 h 510"/>
                <a:gd name="T34" fmla="*/ 22 w 606"/>
                <a:gd name="T35" fmla="*/ 5 h 510"/>
                <a:gd name="T36" fmla="*/ 25 w 606"/>
                <a:gd name="T37" fmla="*/ 6 h 510"/>
                <a:gd name="T38" fmla="*/ 29 w 606"/>
                <a:gd name="T39" fmla="*/ 1 h 510"/>
                <a:gd name="T40" fmla="*/ 38 w 606"/>
                <a:gd name="T41" fmla="*/ 0 h 510"/>
                <a:gd name="T42" fmla="*/ 38 w 606"/>
                <a:gd name="T43" fmla="*/ 5 h 510"/>
                <a:gd name="T44" fmla="*/ 41 w 606"/>
                <a:gd name="T45" fmla="*/ 4 h 510"/>
                <a:gd name="T46" fmla="*/ 45 w 606"/>
                <a:gd name="T47" fmla="*/ 2 h 510"/>
                <a:gd name="T48" fmla="*/ 46 w 606"/>
                <a:gd name="T49" fmla="*/ 2 h 510"/>
                <a:gd name="T50" fmla="*/ 47 w 606"/>
                <a:gd name="T51" fmla="*/ 5 h 510"/>
                <a:gd name="T52" fmla="*/ 45 w 606"/>
                <a:gd name="T53" fmla="*/ 6 h 510"/>
                <a:gd name="T54" fmla="*/ 45 w 606"/>
                <a:gd name="T55" fmla="*/ 7 h 510"/>
                <a:gd name="T56" fmla="*/ 43 w 606"/>
                <a:gd name="T57" fmla="*/ 8 h 510"/>
                <a:gd name="T58" fmla="*/ 45 w 606"/>
                <a:gd name="T59" fmla="*/ 15 h 510"/>
                <a:gd name="T60" fmla="*/ 49 w 606"/>
                <a:gd name="T61" fmla="*/ 15 h 510"/>
                <a:gd name="T62" fmla="*/ 51 w 606"/>
                <a:gd name="T63" fmla="*/ 15 h 510"/>
                <a:gd name="T64" fmla="*/ 53 w 606"/>
                <a:gd name="T65" fmla="*/ 16 h 510"/>
                <a:gd name="T66" fmla="*/ 52 w 606"/>
                <a:gd name="T67" fmla="*/ 20 h 510"/>
                <a:gd name="T68" fmla="*/ 48 w 606"/>
                <a:gd name="T69" fmla="*/ 23 h 510"/>
                <a:gd name="T70" fmla="*/ 45 w 606"/>
                <a:gd name="T71" fmla="*/ 25 h 510"/>
                <a:gd name="T72" fmla="*/ 44 w 606"/>
                <a:gd name="T73" fmla="*/ 28 h 510"/>
                <a:gd name="T74" fmla="*/ 43 w 606"/>
                <a:gd name="T75" fmla="*/ 33 h 510"/>
                <a:gd name="T76" fmla="*/ 39 w 606"/>
                <a:gd name="T77" fmla="*/ 38 h 510"/>
                <a:gd name="T78" fmla="*/ 37 w 606"/>
                <a:gd name="T79" fmla="*/ 41 h 510"/>
                <a:gd name="T80" fmla="*/ 31 w 606"/>
                <a:gd name="T81" fmla="*/ 44 h 510"/>
                <a:gd name="T82" fmla="*/ 28 w 606"/>
                <a:gd name="T83" fmla="*/ 43 h 510"/>
                <a:gd name="T84" fmla="*/ 28 w 606"/>
                <a:gd name="T85" fmla="*/ 41 h 510"/>
                <a:gd name="T86" fmla="*/ 28 w 606"/>
                <a:gd name="T87" fmla="*/ 40 h 510"/>
                <a:gd name="T88" fmla="*/ 27 w 606"/>
                <a:gd name="T89" fmla="*/ 38 h 510"/>
                <a:gd name="T90" fmla="*/ 27 w 606"/>
                <a:gd name="T91" fmla="*/ 36 h 510"/>
                <a:gd name="T92" fmla="*/ 24 w 606"/>
                <a:gd name="T93" fmla="*/ 35 h 510"/>
                <a:gd name="T94" fmla="*/ 16 w 606"/>
                <a:gd name="T95" fmla="*/ 34 h 510"/>
                <a:gd name="T96" fmla="*/ 13 w 606"/>
                <a:gd name="T97" fmla="*/ 34 h 510"/>
                <a:gd name="T98" fmla="*/ 9 w 606"/>
                <a:gd name="T99" fmla="*/ 36 h 510"/>
                <a:gd name="T100" fmla="*/ 8 w 606"/>
                <a:gd name="T101" fmla="*/ 38 h 510"/>
                <a:gd name="T102" fmla="*/ 7 w 606"/>
                <a:gd name="T103" fmla="*/ 39 h 51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06"/>
                <a:gd name="T157" fmla="*/ 0 h 510"/>
                <a:gd name="T158" fmla="*/ 606 w 606"/>
                <a:gd name="T159" fmla="*/ 510 h 51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06" h="510">
                  <a:moveTo>
                    <a:pt x="60" y="450"/>
                  </a:move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42" y="390"/>
                  </a:lnTo>
                  <a:lnTo>
                    <a:pt x="24" y="342"/>
                  </a:lnTo>
                  <a:lnTo>
                    <a:pt x="12" y="300"/>
                  </a:lnTo>
                  <a:lnTo>
                    <a:pt x="0" y="294"/>
                  </a:lnTo>
                  <a:lnTo>
                    <a:pt x="0" y="276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24" y="192"/>
                  </a:lnTo>
                  <a:lnTo>
                    <a:pt x="24" y="180"/>
                  </a:lnTo>
                  <a:lnTo>
                    <a:pt x="24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6" y="96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108" y="66"/>
                  </a:lnTo>
                  <a:lnTo>
                    <a:pt x="120" y="60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36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62" y="36"/>
                  </a:lnTo>
                  <a:lnTo>
                    <a:pt x="162" y="30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0" y="54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46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76" y="66"/>
                  </a:lnTo>
                  <a:lnTo>
                    <a:pt x="312" y="66"/>
                  </a:lnTo>
                  <a:lnTo>
                    <a:pt x="318" y="60"/>
                  </a:lnTo>
                  <a:lnTo>
                    <a:pt x="330" y="12"/>
                  </a:lnTo>
                  <a:lnTo>
                    <a:pt x="414" y="6"/>
                  </a:lnTo>
                  <a:lnTo>
                    <a:pt x="420" y="0"/>
                  </a:lnTo>
                  <a:lnTo>
                    <a:pt x="426" y="6"/>
                  </a:lnTo>
                  <a:lnTo>
                    <a:pt x="426" y="12"/>
                  </a:lnTo>
                  <a:lnTo>
                    <a:pt x="426" y="54"/>
                  </a:lnTo>
                  <a:lnTo>
                    <a:pt x="432" y="54"/>
                  </a:lnTo>
                  <a:lnTo>
                    <a:pt x="444" y="54"/>
                  </a:lnTo>
                  <a:lnTo>
                    <a:pt x="450" y="42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86" y="24"/>
                  </a:lnTo>
                  <a:lnTo>
                    <a:pt x="504" y="18"/>
                  </a:lnTo>
                  <a:lnTo>
                    <a:pt x="510" y="12"/>
                  </a:lnTo>
                  <a:lnTo>
                    <a:pt x="516" y="18"/>
                  </a:lnTo>
                  <a:lnTo>
                    <a:pt x="522" y="24"/>
                  </a:lnTo>
                  <a:lnTo>
                    <a:pt x="510" y="30"/>
                  </a:lnTo>
                  <a:lnTo>
                    <a:pt x="516" y="48"/>
                  </a:lnTo>
                  <a:lnTo>
                    <a:pt x="528" y="54"/>
                  </a:lnTo>
                  <a:lnTo>
                    <a:pt x="522" y="60"/>
                  </a:lnTo>
                  <a:lnTo>
                    <a:pt x="516" y="66"/>
                  </a:lnTo>
                  <a:lnTo>
                    <a:pt x="516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0" y="84"/>
                  </a:lnTo>
                  <a:lnTo>
                    <a:pt x="510" y="90"/>
                  </a:lnTo>
                  <a:lnTo>
                    <a:pt x="504" y="90"/>
                  </a:lnTo>
                  <a:lnTo>
                    <a:pt x="486" y="90"/>
                  </a:lnTo>
                  <a:lnTo>
                    <a:pt x="492" y="138"/>
                  </a:lnTo>
                  <a:lnTo>
                    <a:pt x="498" y="168"/>
                  </a:lnTo>
                  <a:lnTo>
                    <a:pt x="516" y="168"/>
                  </a:lnTo>
                  <a:lnTo>
                    <a:pt x="528" y="174"/>
                  </a:lnTo>
                  <a:lnTo>
                    <a:pt x="534" y="168"/>
                  </a:lnTo>
                  <a:lnTo>
                    <a:pt x="558" y="174"/>
                  </a:lnTo>
                  <a:lnTo>
                    <a:pt x="564" y="168"/>
                  </a:lnTo>
                  <a:lnTo>
                    <a:pt x="570" y="168"/>
                  </a:lnTo>
                  <a:lnTo>
                    <a:pt x="576" y="174"/>
                  </a:lnTo>
                  <a:lnTo>
                    <a:pt x="588" y="168"/>
                  </a:lnTo>
                  <a:lnTo>
                    <a:pt x="594" y="168"/>
                  </a:lnTo>
                  <a:lnTo>
                    <a:pt x="594" y="186"/>
                  </a:lnTo>
                  <a:lnTo>
                    <a:pt x="606" y="198"/>
                  </a:lnTo>
                  <a:lnTo>
                    <a:pt x="600" y="210"/>
                  </a:lnTo>
                  <a:lnTo>
                    <a:pt x="588" y="234"/>
                  </a:lnTo>
                  <a:lnTo>
                    <a:pt x="564" y="246"/>
                  </a:lnTo>
                  <a:lnTo>
                    <a:pt x="546" y="258"/>
                  </a:lnTo>
                  <a:lnTo>
                    <a:pt x="540" y="270"/>
                  </a:lnTo>
                  <a:lnTo>
                    <a:pt x="534" y="294"/>
                  </a:lnTo>
                  <a:lnTo>
                    <a:pt x="528" y="300"/>
                  </a:lnTo>
                  <a:lnTo>
                    <a:pt x="516" y="294"/>
                  </a:lnTo>
                  <a:lnTo>
                    <a:pt x="510" y="300"/>
                  </a:lnTo>
                  <a:lnTo>
                    <a:pt x="498" y="318"/>
                  </a:lnTo>
                  <a:lnTo>
                    <a:pt x="492" y="324"/>
                  </a:lnTo>
                  <a:lnTo>
                    <a:pt x="486" y="336"/>
                  </a:lnTo>
                  <a:lnTo>
                    <a:pt x="486" y="354"/>
                  </a:lnTo>
                  <a:lnTo>
                    <a:pt x="486" y="384"/>
                  </a:lnTo>
                  <a:lnTo>
                    <a:pt x="474" y="408"/>
                  </a:lnTo>
                  <a:lnTo>
                    <a:pt x="450" y="426"/>
                  </a:lnTo>
                  <a:lnTo>
                    <a:pt x="444" y="444"/>
                  </a:lnTo>
                  <a:lnTo>
                    <a:pt x="426" y="474"/>
                  </a:lnTo>
                  <a:lnTo>
                    <a:pt x="420" y="486"/>
                  </a:lnTo>
                  <a:lnTo>
                    <a:pt x="414" y="486"/>
                  </a:lnTo>
                  <a:lnTo>
                    <a:pt x="414" y="498"/>
                  </a:lnTo>
                  <a:lnTo>
                    <a:pt x="378" y="504"/>
                  </a:lnTo>
                  <a:lnTo>
                    <a:pt x="348" y="510"/>
                  </a:lnTo>
                  <a:lnTo>
                    <a:pt x="330" y="510"/>
                  </a:lnTo>
                  <a:lnTo>
                    <a:pt x="324" y="504"/>
                  </a:lnTo>
                  <a:lnTo>
                    <a:pt x="318" y="504"/>
                  </a:lnTo>
                  <a:lnTo>
                    <a:pt x="312" y="504"/>
                  </a:lnTo>
                  <a:lnTo>
                    <a:pt x="312" y="498"/>
                  </a:lnTo>
                  <a:lnTo>
                    <a:pt x="312" y="486"/>
                  </a:lnTo>
                  <a:lnTo>
                    <a:pt x="312" y="480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56"/>
                  </a:lnTo>
                  <a:lnTo>
                    <a:pt x="312" y="450"/>
                  </a:lnTo>
                  <a:lnTo>
                    <a:pt x="306" y="444"/>
                  </a:lnTo>
                  <a:lnTo>
                    <a:pt x="306" y="438"/>
                  </a:lnTo>
                  <a:lnTo>
                    <a:pt x="300" y="426"/>
                  </a:lnTo>
                  <a:lnTo>
                    <a:pt x="300" y="420"/>
                  </a:lnTo>
                  <a:lnTo>
                    <a:pt x="294" y="414"/>
                  </a:lnTo>
                  <a:lnTo>
                    <a:pt x="294" y="408"/>
                  </a:lnTo>
                  <a:lnTo>
                    <a:pt x="270" y="408"/>
                  </a:lnTo>
                  <a:lnTo>
                    <a:pt x="246" y="408"/>
                  </a:lnTo>
                  <a:lnTo>
                    <a:pt x="222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56" y="402"/>
                  </a:lnTo>
                  <a:lnTo>
                    <a:pt x="144" y="396"/>
                  </a:lnTo>
                  <a:lnTo>
                    <a:pt x="126" y="396"/>
                  </a:lnTo>
                  <a:lnTo>
                    <a:pt x="108" y="408"/>
                  </a:lnTo>
                  <a:lnTo>
                    <a:pt x="102" y="414"/>
                  </a:lnTo>
                  <a:lnTo>
                    <a:pt x="102" y="420"/>
                  </a:lnTo>
                  <a:lnTo>
                    <a:pt x="96" y="426"/>
                  </a:lnTo>
                  <a:lnTo>
                    <a:pt x="96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78" y="450"/>
                  </a:lnTo>
                  <a:lnTo>
                    <a:pt x="60" y="45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4" name="Freeform 29">
              <a:extLst>
                <a:ext uri="{FF2B5EF4-FFF2-40B4-BE49-F238E27FC236}">
                  <a16:creationId xmlns:a16="http://schemas.microsoft.com/office/drawing/2014/main" id="{B6AC2B96-1504-4082-8778-17130FDA021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401" y="3537698"/>
              <a:ext cx="559048" cy="641876"/>
            </a:xfrm>
            <a:custGeom>
              <a:avLst/>
              <a:gdLst>
                <a:gd name="T0" fmla="*/ 39 w 1056"/>
                <a:gd name="T1" fmla="*/ 94 h 1206"/>
                <a:gd name="T2" fmla="*/ 35 w 1056"/>
                <a:gd name="T3" fmla="*/ 103 h 1206"/>
                <a:gd name="T4" fmla="*/ 29 w 1056"/>
                <a:gd name="T5" fmla="*/ 99 h 1206"/>
                <a:gd name="T6" fmla="*/ 23 w 1056"/>
                <a:gd name="T7" fmla="*/ 94 h 1206"/>
                <a:gd name="T8" fmla="*/ 21 w 1056"/>
                <a:gd name="T9" fmla="*/ 91 h 1206"/>
                <a:gd name="T10" fmla="*/ 18 w 1056"/>
                <a:gd name="T11" fmla="*/ 89 h 1206"/>
                <a:gd name="T12" fmla="*/ 15 w 1056"/>
                <a:gd name="T13" fmla="*/ 86 h 1206"/>
                <a:gd name="T14" fmla="*/ 11 w 1056"/>
                <a:gd name="T15" fmla="*/ 83 h 1206"/>
                <a:gd name="T16" fmla="*/ 8 w 1056"/>
                <a:gd name="T17" fmla="*/ 81 h 1206"/>
                <a:gd name="T18" fmla="*/ 6 w 1056"/>
                <a:gd name="T19" fmla="*/ 79 h 1206"/>
                <a:gd name="T20" fmla="*/ 13 w 1056"/>
                <a:gd name="T21" fmla="*/ 78 h 1206"/>
                <a:gd name="T22" fmla="*/ 8 w 1056"/>
                <a:gd name="T23" fmla="*/ 75 h 1206"/>
                <a:gd name="T24" fmla="*/ 13 w 1056"/>
                <a:gd name="T25" fmla="*/ 71 h 1206"/>
                <a:gd name="T26" fmla="*/ 10 w 1056"/>
                <a:gd name="T27" fmla="*/ 63 h 1206"/>
                <a:gd name="T28" fmla="*/ 6 w 1056"/>
                <a:gd name="T29" fmla="*/ 66 h 1206"/>
                <a:gd name="T30" fmla="*/ 1 w 1056"/>
                <a:gd name="T31" fmla="*/ 63 h 1206"/>
                <a:gd name="T32" fmla="*/ 1 w 1056"/>
                <a:gd name="T33" fmla="*/ 59 h 1206"/>
                <a:gd name="T34" fmla="*/ 3 w 1056"/>
                <a:gd name="T35" fmla="*/ 57 h 1206"/>
                <a:gd name="T36" fmla="*/ 6 w 1056"/>
                <a:gd name="T37" fmla="*/ 55 h 1206"/>
                <a:gd name="T38" fmla="*/ 10 w 1056"/>
                <a:gd name="T39" fmla="*/ 51 h 1206"/>
                <a:gd name="T40" fmla="*/ 11 w 1056"/>
                <a:gd name="T41" fmla="*/ 46 h 1206"/>
                <a:gd name="T42" fmla="*/ 14 w 1056"/>
                <a:gd name="T43" fmla="*/ 42 h 1206"/>
                <a:gd name="T44" fmla="*/ 15 w 1056"/>
                <a:gd name="T45" fmla="*/ 36 h 1206"/>
                <a:gd name="T46" fmla="*/ 17 w 1056"/>
                <a:gd name="T47" fmla="*/ 34 h 1206"/>
                <a:gd name="T48" fmla="*/ 20 w 1056"/>
                <a:gd name="T49" fmla="*/ 31 h 1206"/>
                <a:gd name="T50" fmla="*/ 21 w 1056"/>
                <a:gd name="T51" fmla="*/ 29 h 1206"/>
                <a:gd name="T52" fmla="*/ 23 w 1056"/>
                <a:gd name="T53" fmla="*/ 22 h 1206"/>
                <a:gd name="T54" fmla="*/ 35 w 1056"/>
                <a:gd name="T55" fmla="*/ 22 h 1206"/>
                <a:gd name="T56" fmla="*/ 41 w 1056"/>
                <a:gd name="T57" fmla="*/ 18 h 1206"/>
                <a:gd name="T58" fmla="*/ 54 w 1056"/>
                <a:gd name="T59" fmla="*/ 20 h 1206"/>
                <a:gd name="T60" fmla="*/ 54 w 1056"/>
                <a:gd name="T61" fmla="*/ 26 h 1206"/>
                <a:gd name="T62" fmla="*/ 64 w 1056"/>
                <a:gd name="T63" fmla="*/ 25 h 1206"/>
                <a:gd name="T64" fmla="*/ 71 w 1056"/>
                <a:gd name="T65" fmla="*/ 10 h 1206"/>
                <a:gd name="T66" fmla="*/ 80 w 1056"/>
                <a:gd name="T67" fmla="*/ 1 h 1206"/>
                <a:gd name="T68" fmla="*/ 86 w 1056"/>
                <a:gd name="T69" fmla="*/ 2 h 1206"/>
                <a:gd name="T70" fmla="*/ 91 w 1056"/>
                <a:gd name="T71" fmla="*/ 13 h 1206"/>
                <a:gd name="T72" fmla="*/ 88 w 1056"/>
                <a:gd name="T73" fmla="*/ 17 h 1206"/>
                <a:gd name="T74" fmla="*/ 89 w 1056"/>
                <a:gd name="T75" fmla="*/ 21 h 1206"/>
                <a:gd name="T76" fmla="*/ 86 w 1056"/>
                <a:gd name="T77" fmla="*/ 25 h 1206"/>
                <a:gd name="T78" fmla="*/ 85 w 1056"/>
                <a:gd name="T79" fmla="*/ 31 h 1206"/>
                <a:gd name="T80" fmla="*/ 83 w 1056"/>
                <a:gd name="T81" fmla="*/ 36 h 1206"/>
                <a:gd name="T82" fmla="*/ 80 w 1056"/>
                <a:gd name="T83" fmla="*/ 42 h 1206"/>
                <a:gd name="T84" fmla="*/ 80 w 1056"/>
                <a:gd name="T85" fmla="*/ 47 h 1206"/>
                <a:gd name="T86" fmla="*/ 77 w 1056"/>
                <a:gd name="T87" fmla="*/ 55 h 1206"/>
                <a:gd name="T88" fmla="*/ 75 w 1056"/>
                <a:gd name="T89" fmla="*/ 57 h 1206"/>
                <a:gd name="T90" fmla="*/ 66 w 1056"/>
                <a:gd name="T91" fmla="*/ 57 h 1206"/>
                <a:gd name="T92" fmla="*/ 66 w 1056"/>
                <a:gd name="T93" fmla="*/ 51 h 1206"/>
                <a:gd name="T94" fmla="*/ 48 w 1056"/>
                <a:gd name="T95" fmla="*/ 50 h 1206"/>
                <a:gd name="T96" fmla="*/ 46 w 1056"/>
                <a:gd name="T97" fmla="*/ 55 h 1206"/>
                <a:gd name="T98" fmla="*/ 42 w 1056"/>
                <a:gd name="T99" fmla="*/ 59 h 1206"/>
                <a:gd name="T100" fmla="*/ 41 w 1056"/>
                <a:gd name="T101" fmla="*/ 62 h 1206"/>
                <a:gd name="T102" fmla="*/ 43 w 1056"/>
                <a:gd name="T103" fmla="*/ 67 h 1206"/>
                <a:gd name="T104" fmla="*/ 42 w 1056"/>
                <a:gd name="T105" fmla="*/ 72 h 1206"/>
                <a:gd name="T106" fmla="*/ 39 w 1056"/>
                <a:gd name="T107" fmla="*/ 77 h 1206"/>
                <a:gd name="T108" fmla="*/ 36 w 1056"/>
                <a:gd name="T109" fmla="*/ 80 h 1206"/>
                <a:gd name="T110" fmla="*/ 37 w 1056"/>
                <a:gd name="T111" fmla="*/ 83 h 1206"/>
                <a:gd name="T112" fmla="*/ 40 w 1056"/>
                <a:gd name="T113" fmla="*/ 87 h 1206"/>
                <a:gd name="T114" fmla="*/ 42 w 1056"/>
                <a:gd name="T115" fmla="*/ 89 h 12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56"/>
                <a:gd name="T175" fmla="*/ 0 h 1206"/>
                <a:gd name="T176" fmla="*/ 1056 w 1056"/>
                <a:gd name="T177" fmla="*/ 1206 h 12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56" h="1206">
                  <a:moveTo>
                    <a:pt x="492" y="1032"/>
                  </a:moveTo>
                  <a:lnTo>
                    <a:pt x="486" y="1038"/>
                  </a:lnTo>
                  <a:lnTo>
                    <a:pt x="486" y="1044"/>
                  </a:lnTo>
                  <a:lnTo>
                    <a:pt x="480" y="1044"/>
                  </a:lnTo>
                  <a:lnTo>
                    <a:pt x="474" y="1056"/>
                  </a:lnTo>
                  <a:lnTo>
                    <a:pt x="462" y="1068"/>
                  </a:lnTo>
                  <a:lnTo>
                    <a:pt x="456" y="1080"/>
                  </a:lnTo>
                  <a:lnTo>
                    <a:pt x="450" y="1080"/>
                  </a:lnTo>
                  <a:lnTo>
                    <a:pt x="450" y="1086"/>
                  </a:lnTo>
                  <a:lnTo>
                    <a:pt x="450" y="1092"/>
                  </a:lnTo>
                  <a:lnTo>
                    <a:pt x="444" y="1104"/>
                  </a:lnTo>
                  <a:lnTo>
                    <a:pt x="444" y="1116"/>
                  </a:lnTo>
                  <a:lnTo>
                    <a:pt x="438" y="1128"/>
                  </a:lnTo>
                  <a:lnTo>
                    <a:pt x="432" y="1134"/>
                  </a:lnTo>
                  <a:lnTo>
                    <a:pt x="432" y="1140"/>
                  </a:lnTo>
                  <a:lnTo>
                    <a:pt x="420" y="1152"/>
                  </a:lnTo>
                  <a:lnTo>
                    <a:pt x="420" y="1158"/>
                  </a:lnTo>
                  <a:lnTo>
                    <a:pt x="408" y="1182"/>
                  </a:lnTo>
                  <a:lnTo>
                    <a:pt x="396" y="1194"/>
                  </a:lnTo>
                  <a:lnTo>
                    <a:pt x="390" y="1206"/>
                  </a:lnTo>
                  <a:lnTo>
                    <a:pt x="390" y="1200"/>
                  </a:lnTo>
                  <a:lnTo>
                    <a:pt x="384" y="1194"/>
                  </a:lnTo>
                  <a:lnTo>
                    <a:pt x="378" y="1188"/>
                  </a:lnTo>
                  <a:lnTo>
                    <a:pt x="366" y="1176"/>
                  </a:lnTo>
                  <a:lnTo>
                    <a:pt x="366" y="1170"/>
                  </a:lnTo>
                  <a:lnTo>
                    <a:pt x="348" y="1152"/>
                  </a:lnTo>
                  <a:lnTo>
                    <a:pt x="336" y="1140"/>
                  </a:lnTo>
                  <a:lnTo>
                    <a:pt x="330" y="1134"/>
                  </a:lnTo>
                  <a:lnTo>
                    <a:pt x="324" y="1128"/>
                  </a:lnTo>
                  <a:lnTo>
                    <a:pt x="318" y="1122"/>
                  </a:lnTo>
                  <a:lnTo>
                    <a:pt x="312" y="1116"/>
                  </a:lnTo>
                  <a:lnTo>
                    <a:pt x="306" y="1110"/>
                  </a:lnTo>
                  <a:lnTo>
                    <a:pt x="300" y="1104"/>
                  </a:lnTo>
                  <a:lnTo>
                    <a:pt x="294" y="1098"/>
                  </a:lnTo>
                  <a:lnTo>
                    <a:pt x="276" y="1080"/>
                  </a:lnTo>
                  <a:lnTo>
                    <a:pt x="270" y="1080"/>
                  </a:lnTo>
                  <a:lnTo>
                    <a:pt x="270" y="1074"/>
                  </a:lnTo>
                  <a:lnTo>
                    <a:pt x="264" y="1068"/>
                  </a:lnTo>
                  <a:lnTo>
                    <a:pt x="258" y="1062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40" y="1050"/>
                  </a:lnTo>
                  <a:lnTo>
                    <a:pt x="234" y="1044"/>
                  </a:lnTo>
                  <a:lnTo>
                    <a:pt x="228" y="1044"/>
                  </a:lnTo>
                  <a:lnTo>
                    <a:pt x="222" y="1038"/>
                  </a:lnTo>
                  <a:lnTo>
                    <a:pt x="222" y="1032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6"/>
                  </a:lnTo>
                  <a:lnTo>
                    <a:pt x="204" y="1020"/>
                  </a:lnTo>
                  <a:lnTo>
                    <a:pt x="204" y="1014"/>
                  </a:lnTo>
                  <a:lnTo>
                    <a:pt x="198" y="1014"/>
                  </a:lnTo>
                  <a:lnTo>
                    <a:pt x="192" y="1014"/>
                  </a:lnTo>
                  <a:lnTo>
                    <a:pt x="192" y="1008"/>
                  </a:lnTo>
                  <a:lnTo>
                    <a:pt x="186" y="1008"/>
                  </a:lnTo>
                  <a:lnTo>
                    <a:pt x="186" y="1002"/>
                  </a:lnTo>
                  <a:lnTo>
                    <a:pt x="180" y="1002"/>
                  </a:lnTo>
                  <a:lnTo>
                    <a:pt x="174" y="996"/>
                  </a:lnTo>
                  <a:lnTo>
                    <a:pt x="168" y="996"/>
                  </a:lnTo>
                  <a:lnTo>
                    <a:pt x="168" y="990"/>
                  </a:lnTo>
                  <a:lnTo>
                    <a:pt x="162" y="990"/>
                  </a:lnTo>
                  <a:lnTo>
                    <a:pt x="162" y="984"/>
                  </a:lnTo>
                  <a:lnTo>
                    <a:pt x="150" y="978"/>
                  </a:lnTo>
                  <a:lnTo>
                    <a:pt x="144" y="972"/>
                  </a:lnTo>
                  <a:lnTo>
                    <a:pt x="138" y="972"/>
                  </a:lnTo>
                  <a:lnTo>
                    <a:pt x="138" y="966"/>
                  </a:lnTo>
                  <a:lnTo>
                    <a:pt x="132" y="966"/>
                  </a:lnTo>
                  <a:lnTo>
                    <a:pt x="126" y="960"/>
                  </a:lnTo>
                  <a:lnTo>
                    <a:pt x="126" y="954"/>
                  </a:lnTo>
                  <a:lnTo>
                    <a:pt x="120" y="954"/>
                  </a:lnTo>
                  <a:lnTo>
                    <a:pt x="114" y="948"/>
                  </a:lnTo>
                  <a:lnTo>
                    <a:pt x="108" y="948"/>
                  </a:lnTo>
                  <a:lnTo>
                    <a:pt x="108" y="942"/>
                  </a:lnTo>
                  <a:lnTo>
                    <a:pt x="102" y="942"/>
                  </a:lnTo>
                  <a:lnTo>
                    <a:pt x="96" y="942"/>
                  </a:lnTo>
                  <a:lnTo>
                    <a:pt x="96" y="936"/>
                  </a:lnTo>
                  <a:lnTo>
                    <a:pt x="90" y="936"/>
                  </a:lnTo>
                  <a:lnTo>
                    <a:pt x="90" y="930"/>
                  </a:lnTo>
                  <a:lnTo>
                    <a:pt x="84" y="930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18"/>
                  </a:lnTo>
                  <a:lnTo>
                    <a:pt x="66" y="918"/>
                  </a:lnTo>
                  <a:lnTo>
                    <a:pt x="66" y="912"/>
                  </a:lnTo>
                  <a:lnTo>
                    <a:pt x="66" y="906"/>
                  </a:lnTo>
                  <a:lnTo>
                    <a:pt x="72" y="906"/>
                  </a:lnTo>
                  <a:lnTo>
                    <a:pt x="84" y="906"/>
                  </a:lnTo>
                  <a:lnTo>
                    <a:pt x="90" y="906"/>
                  </a:lnTo>
                  <a:lnTo>
                    <a:pt x="120" y="930"/>
                  </a:lnTo>
                  <a:lnTo>
                    <a:pt x="126" y="936"/>
                  </a:lnTo>
                  <a:lnTo>
                    <a:pt x="138" y="936"/>
                  </a:lnTo>
                  <a:lnTo>
                    <a:pt x="138" y="930"/>
                  </a:lnTo>
                  <a:lnTo>
                    <a:pt x="144" y="930"/>
                  </a:lnTo>
                  <a:lnTo>
                    <a:pt x="144" y="924"/>
                  </a:lnTo>
                  <a:lnTo>
                    <a:pt x="150" y="900"/>
                  </a:lnTo>
                  <a:lnTo>
                    <a:pt x="138" y="894"/>
                  </a:lnTo>
                  <a:lnTo>
                    <a:pt x="126" y="894"/>
                  </a:lnTo>
                  <a:lnTo>
                    <a:pt x="108" y="888"/>
                  </a:lnTo>
                  <a:lnTo>
                    <a:pt x="84" y="882"/>
                  </a:lnTo>
                  <a:lnTo>
                    <a:pt x="72" y="882"/>
                  </a:lnTo>
                  <a:lnTo>
                    <a:pt x="72" y="876"/>
                  </a:lnTo>
                  <a:lnTo>
                    <a:pt x="78" y="870"/>
                  </a:lnTo>
                  <a:lnTo>
                    <a:pt x="90" y="870"/>
                  </a:lnTo>
                  <a:lnTo>
                    <a:pt x="96" y="870"/>
                  </a:lnTo>
                  <a:lnTo>
                    <a:pt x="102" y="870"/>
                  </a:lnTo>
                  <a:lnTo>
                    <a:pt x="114" y="870"/>
                  </a:lnTo>
                  <a:lnTo>
                    <a:pt x="120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34"/>
                  </a:lnTo>
                  <a:lnTo>
                    <a:pt x="132" y="828"/>
                  </a:lnTo>
                  <a:lnTo>
                    <a:pt x="132" y="816"/>
                  </a:lnTo>
                  <a:lnTo>
                    <a:pt x="150" y="816"/>
                  </a:lnTo>
                  <a:lnTo>
                    <a:pt x="150" y="804"/>
                  </a:lnTo>
                  <a:lnTo>
                    <a:pt x="144" y="798"/>
                  </a:lnTo>
                  <a:lnTo>
                    <a:pt x="156" y="762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32"/>
                  </a:lnTo>
                  <a:lnTo>
                    <a:pt x="144" y="726"/>
                  </a:lnTo>
                  <a:lnTo>
                    <a:pt x="132" y="726"/>
                  </a:lnTo>
                  <a:lnTo>
                    <a:pt x="120" y="732"/>
                  </a:lnTo>
                  <a:lnTo>
                    <a:pt x="114" y="744"/>
                  </a:lnTo>
                  <a:lnTo>
                    <a:pt x="108" y="750"/>
                  </a:lnTo>
                  <a:lnTo>
                    <a:pt x="96" y="768"/>
                  </a:lnTo>
                  <a:lnTo>
                    <a:pt x="96" y="774"/>
                  </a:lnTo>
                  <a:lnTo>
                    <a:pt x="90" y="780"/>
                  </a:lnTo>
                  <a:lnTo>
                    <a:pt x="84" y="804"/>
                  </a:lnTo>
                  <a:lnTo>
                    <a:pt x="72" y="774"/>
                  </a:lnTo>
                  <a:lnTo>
                    <a:pt x="72" y="768"/>
                  </a:lnTo>
                  <a:lnTo>
                    <a:pt x="66" y="762"/>
                  </a:lnTo>
                  <a:lnTo>
                    <a:pt x="60" y="750"/>
                  </a:lnTo>
                  <a:lnTo>
                    <a:pt x="54" y="750"/>
                  </a:lnTo>
                  <a:lnTo>
                    <a:pt x="48" y="750"/>
                  </a:lnTo>
                  <a:lnTo>
                    <a:pt x="42" y="750"/>
                  </a:lnTo>
                  <a:lnTo>
                    <a:pt x="30" y="744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12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2" y="702"/>
                  </a:lnTo>
                  <a:lnTo>
                    <a:pt x="18" y="696"/>
                  </a:lnTo>
                  <a:lnTo>
                    <a:pt x="12" y="690"/>
                  </a:lnTo>
                  <a:lnTo>
                    <a:pt x="12" y="684"/>
                  </a:lnTo>
                  <a:lnTo>
                    <a:pt x="12" y="678"/>
                  </a:lnTo>
                  <a:lnTo>
                    <a:pt x="12" y="672"/>
                  </a:lnTo>
                  <a:lnTo>
                    <a:pt x="18" y="672"/>
                  </a:lnTo>
                  <a:lnTo>
                    <a:pt x="18" y="666"/>
                  </a:lnTo>
                  <a:lnTo>
                    <a:pt x="24" y="666"/>
                  </a:lnTo>
                  <a:lnTo>
                    <a:pt x="24" y="660"/>
                  </a:lnTo>
                  <a:lnTo>
                    <a:pt x="30" y="660"/>
                  </a:lnTo>
                  <a:lnTo>
                    <a:pt x="30" y="654"/>
                  </a:lnTo>
                  <a:lnTo>
                    <a:pt x="36" y="654"/>
                  </a:lnTo>
                  <a:lnTo>
                    <a:pt x="36" y="648"/>
                  </a:lnTo>
                  <a:lnTo>
                    <a:pt x="42" y="648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60" y="630"/>
                  </a:lnTo>
                  <a:lnTo>
                    <a:pt x="66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78" y="624"/>
                  </a:lnTo>
                  <a:lnTo>
                    <a:pt x="84" y="618"/>
                  </a:lnTo>
                  <a:lnTo>
                    <a:pt x="84" y="612"/>
                  </a:lnTo>
                  <a:lnTo>
                    <a:pt x="90" y="612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20" y="588"/>
                  </a:lnTo>
                  <a:lnTo>
                    <a:pt x="120" y="582"/>
                  </a:lnTo>
                  <a:lnTo>
                    <a:pt x="120" y="576"/>
                  </a:lnTo>
                  <a:lnTo>
                    <a:pt x="120" y="570"/>
                  </a:lnTo>
                  <a:lnTo>
                    <a:pt x="126" y="564"/>
                  </a:lnTo>
                  <a:lnTo>
                    <a:pt x="126" y="558"/>
                  </a:lnTo>
                  <a:lnTo>
                    <a:pt x="126" y="552"/>
                  </a:lnTo>
                  <a:lnTo>
                    <a:pt x="126" y="546"/>
                  </a:lnTo>
                  <a:lnTo>
                    <a:pt x="126" y="534"/>
                  </a:lnTo>
                  <a:lnTo>
                    <a:pt x="126" y="516"/>
                  </a:lnTo>
                  <a:lnTo>
                    <a:pt x="126" y="510"/>
                  </a:lnTo>
                  <a:lnTo>
                    <a:pt x="126" y="504"/>
                  </a:lnTo>
                  <a:lnTo>
                    <a:pt x="126" y="498"/>
                  </a:lnTo>
                  <a:lnTo>
                    <a:pt x="132" y="498"/>
                  </a:lnTo>
                  <a:lnTo>
                    <a:pt x="132" y="492"/>
                  </a:lnTo>
                  <a:lnTo>
                    <a:pt x="138" y="492"/>
                  </a:lnTo>
                  <a:lnTo>
                    <a:pt x="144" y="486"/>
                  </a:lnTo>
                  <a:lnTo>
                    <a:pt x="156" y="480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6" y="462"/>
                  </a:lnTo>
                  <a:lnTo>
                    <a:pt x="156" y="456"/>
                  </a:lnTo>
                  <a:lnTo>
                    <a:pt x="156" y="450"/>
                  </a:lnTo>
                  <a:lnTo>
                    <a:pt x="162" y="438"/>
                  </a:lnTo>
                  <a:lnTo>
                    <a:pt x="168" y="426"/>
                  </a:lnTo>
                  <a:lnTo>
                    <a:pt x="174" y="426"/>
                  </a:lnTo>
                  <a:lnTo>
                    <a:pt x="174" y="420"/>
                  </a:lnTo>
                  <a:lnTo>
                    <a:pt x="180" y="414"/>
                  </a:lnTo>
                  <a:lnTo>
                    <a:pt x="186" y="420"/>
                  </a:lnTo>
                  <a:lnTo>
                    <a:pt x="186" y="414"/>
                  </a:lnTo>
                  <a:lnTo>
                    <a:pt x="180" y="408"/>
                  </a:lnTo>
                  <a:lnTo>
                    <a:pt x="180" y="402"/>
                  </a:lnTo>
                  <a:lnTo>
                    <a:pt x="186" y="402"/>
                  </a:lnTo>
                  <a:lnTo>
                    <a:pt x="192" y="402"/>
                  </a:lnTo>
                  <a:lnTo>
                    <a:pt x="192" y="396"/>
                  </a:lnTo>
                  <a:lnTo>
                    <a:pt x="198" y="396"/>
                  </a:lnTo>
                  <a:lnTo>
                    <a:pt x="204" y="396"/>
                  </a:lnTo>
                  <a:lnTo>
                    <a:pt x="210" y="396"/>
                  </a:lnTo>
                  <a:lnTo>
                    <a:pt x="210" y="390"/>
                  </a:lnTo>
                  <a:lnTo>
                    <a:pt x="216" y="390"/>
                  </a:lnTo>
                  <a:lnTo>
                    <a:pt x="216" y="384"/>
                  </a:lnTo>
                  <a:lnTo>
                    <a:pt x="222" y="384"/>
                  </a:lnTo>
                  <a:lnTo>
                    <a:pt x="222" y="378"/>
                  </a:lnTo>
                  <a:lnTo>
                    <a:pt x="228" y="372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0" y="348"/>
                  </a:lnTo>
                  <a:lnTo>
                    <a:pt x="234" y="342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46" y="330"/>
                  </a:lnTo>
                  <a:lnTo>
                    <a:pt x="246" y="324"/>
                  </a:lnTo>
                  <a:lnTo>
                    <a:pt x="234" y="318"/>
                  </a:lnTo>
                  <a:lnTo>
                    <a:pt x="234" y="312"/>
                  </a:lnTo>
                  <a:lnTo>
                    <a:pt x="234" y="300"/>
                  </a:lnTo>
                  <a:lnTo>
                    <a:pt x="240" y="288"/>
                  </a:lnTo>
                  <a:lnTo>
                    <a:pt x="240" y="276"/>
                  </a:lnTo>
                  <a:lnTo>
                    <a:pt x="246" y="258"/>
                  </a:lnTo>
                  <a:lnTo>
                    <a:pt x="258" y="252"/>
                  </a:lnTo>
                  <a:lnTo>
                    <a:pt x="270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294" y="252"/>
                  </a:lnTo>
                  <a:lnTo>
                    <a:pt x="300" y="258"/>
                  </a:lnTo>
                  <a:lnTo>
                    <a:pt x="318" y="252"/>
                  </a:lnTo>
                  <a:lnTo>
                    <a:pt x="366" y="252"/>
                  </a:lnTo>
                  <a:lnTo>
                    <a:pt x="378" y="252"/>
                  </a:lnTo>
                  <a:lnTo>
                    <a:pt x="396" y="252"/>
                  </a:lnTo>
                  <a:lnTo>
                    <a:pt x="408" y="252"/>
                  </a:lnTo>
                  <a:lnTo>
                    <a:pt x="408" y="246"/>
                  </a:lnTo>
                  <a:lnTo>
                    <a:pt x="414" y="240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20" y="216"/>
                  </a:lnTo>
                  <a:lnTo>
                    <a:pt x="426" y="210"/>
                  </a:lnTo>
                  <a:lnTo>
                    <a:pt x="444" y="198"/>
                  </a:lnTo>
                  <a:lnTo>
                    <a:pt x="462" y="198"/>
                  </a:lnTo>
                  <a:lnTo>
                    <a:pt x="474" y="204"/>
                  </a:lnTo>
                  <a:lnTo>
                    <a:pt x="498" y="198"/>
                  </a:lnTo>
                  <a:lnTo>
                    <a:pt x="498" y="204"/>
                  </a:lnTo>
                  <a:lnTo>
                    <a:pt x="540" y="210"/>
                  </a:lnTo>
                  <a:lnTo>
                    <a:pt x="564" y="210"/>
                  </a:lnTo>
                  <a:lnTo>
                    <a:pt x="588" y="210"/>
                  </a:lnTo>
                  <a:lnTo>
                    <a:pt x="612" y="210"/>
                  </a:lnTo>
                  <a:lnTo>
                    <a:pt x="612" y="216"/>
                  </a:lnTo>
                  <a:lnTo>
                    <a:pt x="618" y="222"/>
                  </a:lnTo>
                  <a:lnTo>
                    <a:pt x="618" y="228"/>
                  </a:lnTo>
                  <a:lnTo>
                    <a:pt x="624" y="240"/>
                  </a:lnTo>
                  <a:lnTo>
                    <a:pt x="624" y="246"/>
                  </a:lnTo>
                  <a:lnTo>
                    <a:pt x="630" y="252"/>
                  </a:lnTo>
                  <a:lnTo>
                    <a:pt x="630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0" y="282"/>
                  </a:lnTo>
                  <a:lnTo>
                    <a:pt x="630" y="288"/>
                  </a:lnTo>
                  <a:lnTo>
                    <a:pt x="630" y="300"/>
                  </a:lnTo>
                  <a:lnTo>
                    <a:pt x="630" y="306"/>
                  </a:lnTo>
                  <a:lnTo>
                    <a:pt x="636" y="306"/>
                  </a:lnTo>
                  <a:lnTo>
                    <a:pt x="642" y="306"/>
                  </a:lnTo>
                  <a:lnTo>
                    <a:pt x="648" y="312"/>
                  </a:lnTo>
                  <a:lnTo>
                    <a:pt x="666" y="312"/>
                  </a:lnTo>
                  <a:lnTo>
                    <a:pt x="696" y="306"/>
                  </a:lnTo>
                  <a:lnTo>
                    <a:pt x="732" y="300"/>
                  </a:lnTo>
                  <a:lnTo>
                    <a:pt x="732" y="288"/>
                  </a:lnTo>
                  <a:lnTo>
                    <a:pt x="738" y="288"/>
                  </a:lnTo>
                  <a:lnTo>
                    <a:pt x="744" y="276"/>
                  </a:lnTo>
                  <a:lnTo>
                    <a:pt x="762" y="246"/>
                  </a:lnTo>
                  <a:lnTo>
                    <a:pt x="768" y="228"/>
                  </a:lnTo>
                  <a:lnTo>
                    <a:pt x="792" y="210"/>
                  </a:lnTo>
                  <a:lnTo>
                    <a:pt x="804" y="186"/>
                  </a:lnTo>
                  <a:lnTo>
                    <a:pt x="804" y="156"/>
                  </a:lnTo>
                  <a:lnTo>
                    <a:pt x="804" y="138"/>
                  </a:lnTo>
                  <a:lnTo>
                    <a:pt x="810" y="126"/>
                  </a:lnTo>
                  <a:lnTo>
                    <a:pt x="816" y="120"/>
                  </a:lnTo>
                  <a:lnTo>
                    <a:pt x="828" y="102"/>
                  </a:lnTo>
                  <a:lnTo>
                    <a:pt x="834" y="96"/>
                  </a:lnTo>
                  <a:lnTo>
                    <a:pt x="846" y="102"/>
                  </a:lnTo>
                  <a:lnTo>
                    <a:pt x="852" y="96"/>
                  </a:lnTo>
                  <a:lnTo>
                    <a:pt x="858" y="72"/>
                  </a:lnTo>
                  <a:lnTo>
                    <a:pt x="864" y="60"/>
                  </a:lnTo>
                  <a:lnTo>
                    <a:pt x="882" y="48"/>
                  </a:lnTo>
                  <a:lnTo>
                    <a:pt x="906" y="36"/>
                  </a:lnTo>
                  <a:lnTo>
                    <a:pt x="918" y="12"/>
                  </a:lnTo>
                  <a:lnTo>
                    <a:pt x="924" y="0"/>
                  </a:lnTo>
                  <a:lnTo>
                    <a:pt x="930" y="6"/>
                  </a:lnTo>
                  <a:lnTo>
                    <a:pt x="942" y="12"/>
                  </a:lnTo>
                  <a:lnTo>
                    <a:pt x="948" y="12"/>
                  </a:lnTo>
                  <a:lnTo>
                    <a:pt x="954" y="18"/>
                  </a:lnTo>
                  <a:lnTo>
                    <a:pt x="966" y="18"/>
                  </a:lnTo>
                  <a:lnTo>
                    <a:pt x="972" y="18"/>
                  </a:lnTo>
                  <a:lnTo>
                    <a:pt x="984" y="18"/>
                  </a:lnTo>
                  <a:lnTo>
                    <a:pt x="990" y="18"/>
                  </a:lnTo>
                  <a:lnTo>
                    <a:pt x="1002" y="48"/>
                  </a:lnTo>
                  <a:lnTo>
                    <a:pt x="1008" y="78"/>
                  </a:lnTo>
                  <a:lnTo>
                    <a:pt x="1020" y="78"/>
                  </a:lnTo>
                  <a:lnTo>
                    <a:pt x="1020" y="90"/>
                  </a:lnTo>
                  <a:lnTo>
                    <a:pt x="1026" y="102"/>
                  </a:lnTo>
                  <a:lnTo>
                    <a:pt x="1044" y="120"/>
                  </a:lnTo>
                  <a:lnTo>
                    <a:pt x="1044" y="132"/>
                  </a:lnTo>
                  <a:lnTo>
                    <a:pt x="1056" y="150"/>
                  </a:lnTo>
                  <a:lnTo>
                    <a:pt x="1050" y="150"/>
                  </a:lnTo>
                  <a:lnTo>
                    <a:pt x="1044" y="156"/>
                  </a:lnTo>
                  <a:lnTo>
                    <a:pt x="1044" y="162"/>
                  </a:lnTo>
                  <a:lnTo>
                    <a:pt x="1038" y="162"/>
                  </a:lnTo>
                  <a:lnTo>
                    <a:pt x="1032" y="162"/>
                  </a:lnTo>
                  <a:lnTo>
                    <a:pt x="1026" y="168"/>
                  </a:lnTo>
                  <a:lnTo>
                    <a:pt x="1014" y="174"/>
                  </a:lnTo>
                  <a:lnTo>
                    <a:pt x="1014" y="186"/>
                  </a:lnTo>
                  <a:lnTo>
                    <a:pt x="1014" y="192"/>
                  </a:lnTo>
                  <a:lnTo>
                    <a:pt x="1014" y="198"/>
                  </a:lnTo>
                  <a:lnTo>
                    <a:pt x="1020" y="204"/>
                  </a:lnTo>
                  <a:lnTo>
                    <a:pt x="1026" y="204"/>
                  </a:lnTo>
                  <a:lnTo>
                    <a:pt x="1032" y="204"/>
                  </a:lnTo>
                  <a:lnTo>
                    <a:pt x="1032" y="210"/>
                  </a:lnTo>
                  <a:lnTo>
                    <a:pt x="1038" y="210"/>
                  </a:lnTo>
                  <a:lnTo>
                    <a:pt x="1032" y="216"/>
                  </a:lnTo>
                  <a:lnTo>
                    <a:pt x="1026" y="228"/>
                  </a:lnTo>
                  <a:lnTo>
                    <a:pt x="1026" y="234"/>
                  </a:lnTo>
                  <a:lnTo>
                    <a:pt x="1032" y="240"/>
                  </a:lnTo>
                  <a:lnTo>
                    <a:pt x="1032" y="246"/>
                  </a:lnTo>
                  <a:lnTo>
                    <a:pt x="1032" y="252"/>
                  </a:lnTo>
                  <a:lnTo>
                    <a:pt x="1032" y="258"/>
                  </a:lnTo>
                  <a:lnTo>
                    <a:pt x="1038" y="264"/>
                  </a:lnTo>
                  <a:lnTo>
                    <a:pt x="1032" y="276"/>
                  </a:lnTo>
                  <a:lnTo>
                    <a:pt x="1026" y="276"/>
                  </a:lnTo>
                  <a:lnTo>
                    <a:pt x="1020" y="276"/>
                  </a:lnTo>
                  <a:lnTo>
                    <a:pt x="996" y="282"/>
                  </a:lnTo>
                  <a:lnTo>
                    <a:pt x="996" y="288"/>
                  </a:lnTo>
                  <a:lnTo>
                    <a:pt x="996" y="294"/>
                  </a:lnTo>
                  <a:lnTo>
                    <a:pt x="996" y="300"/>
                  </a:lnTo>
                  <a:lnTo>
                    <a:pt x="996" y="306"/>
                  </a:lnTo>
                  <a:lnTo>
                    <a:pt x="984" y="324"/>
                  </a:lnTo>
                  <a:lnTo>
                    <a:pt x="984" y="330"/>
                  </a:lnTo>
                  <a:lnTo>
                    <a:pt x="984" y="336"/>
                  </a:lnTo>
                  <a:lnTo>
                    <a:pt x="978" y="336"/>
                  </a:lnTo>
                  <a:lnTo>
                    <a:pt x="978" y="342"/>
                  </a:lnTo>
                  <a:lnTo>
                    <a:pt x="984" y="360"/>
                  </a:lnTo>
                  <a:lnTo>
                    <a:pt x="978" y="366"/>
                  </a:lnTo>
                  <a:lnTo>
                    <a:pt x="978" y="372"/>
                  </a:lnTo>
                  <a:lnTo>
                    <a:pt x="972" y="372"/>
                  </a:lnTo>
                  <a:lnTo>
                    <a:pt x="972" y="378"/>
                  </a:lnTo>
                  <a:lnTo>
                    <a:pt x="972" y="384"/>
                  </a:lnTo>
                  <a:lnTo>
                    <a:pt x="972" y="390"/>
                  </a:lnTo>
                  <a:lnTo>
                    <a:pt x="966" y="402"/>
                  </a:lnTo>
                  <a:lnTo>
                    <a:pt x="960" y="414"/>
                  </a:lnTo>
                  <a:lnTo>
                    <a:pt x="954" y="420"/>
                  </a:lnTo>
                  <a:lnTo>
                    <a:pt x="948" y="426"/>
                  </a:lnTo>
                  <a:lnTo>
                    <a:pt x="948" y="438"/>
                  </a:lnTo>
                  <a:lnTo>
                    <a:pt x="942" y="444"/>
                  </a:lnTo>
                  <a:lnTo>
                    <a:pt x="936" y="450"/>
                  </a:lnTo>
                  <a:lnTo>
                    <a:pt x="930" y="456"/>
                  </a:lnTo>
                  <a:lnTo>
                    <a:pt x="924" y="462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18" y="522"/>
                  </a:lnTo>
                  <a:lnTo>
                    <a:pt x="918" y="528"/>
                  </a:lnTo>
                  <a:lnTo>
                    <a:pt x="924" y="534"/>
                  </a:lnTo>
                  <a:lnTo>
                    <a:pt x="924" y="540"/>
                  </a:lnTo>
                  <a:lnTo>
                    <a:pt x="924" y="546"/>
                  </a:lnTo>
                  <a:lnTo>
                    <a:pt x="918" y="546"/>
                  </a:lnTo>
                  <a:lnTo>
                    <a:pt x="918" y="552"/>
                  </a:lnTo>
                  <a:lnTo>
                    <a:pt x="912" y="546"/>
                  </a:lnTo>
                  <a:lnTo>
                    <a:pt x="912" y="552"/>
                  </a:lnTo>
                  <a:lnTo>
                    <a:pt x="912" y="570"/>
                  </a:lnTo>
                  <a:lnTo>
                    <a:pt x="906" y="588"/>
                  </a:lnTo>
                  <a:lnTo>
                    <a:pt x="900" y="606"/>
                  </a:lnTo>
                  <a:lnTo>
                    <a:pt x="906" y="624"/>
                  </a:lnTo>
                  <a:lnTo>
                    <a:pt x="900" y="624"/>
                  </a:lnTo>
                  <a:lnTo>
                    <a:pt x="894" y="630"/>
                  </a:lnTo>
                  <a:lnTo>
                    <a:pt x="888" y="630"/>
                  </a:lnTo>
                  <a:lnTo>
                    <a:pt x="882" y="630"/>
                  </a:lnTo>
                  <a:lnTo>
                    <a:pt x="882" y="636"/>
                  </a:lnTo>
                  <a:lnTo>
                    <a:pt x="876" y="642"/>
                  </a:lnTo>
                  <a:lnTo>
                    <a:pt x="870" y="642"/>
                  </a:lnTo>
                  <a:lnTo>
                    <a:pt x="870" y="648"/>
                  </a:lnTo>
                  <a:lnTo>
                    <a:pt x="870" y="654"/>
                  </a:lnTo>
                  <a:lnTo>
                    <a:pt x="864" y="654"/>
                  </a:lnTo>
                  <a:lnTo>
                    <a:pt x="864" y="660"/>
                  </a:lnTo>
                  <a:lnTo>
                    <a:pt x="846" y="666"/>
                  </a:lnTo>
                  <a:lnTo>
                    <a:pt x="828" y="672"/>
                  </a:lnTo>
                  <a:lnTo>
                    <a:pt x="816" y="660"/>
                  </a:lnTo>
                  <a:lnTo>
                    <a:pt x="810" y="660"/>
                  </a:lnTo>
                  <a:lnTo>
                    <a:pt x="798" y="666"/>
                  </a:lnTo>
                  <a:lnTo>
                    <a:pt x="786" y="666"/>
                  </a:lnTo>
                  <a:lnTo>
                    <a:pt x="780" y="672"/>
                  </a:lnTo>
                  <a:lnTo>
                    <a:pt x="768" y="678"/>
                  </a:lnTo>
                  <a:lnTo>
                    <a:pt x="762" y="660"/>
                  </a:lnTo>
                  <a:lnTo>
                    <a:pt x="762" y="654"/>
                  </a:lnTo>
                  <a:lnTo>
                    <a:pt x="756" y="636"/>
                  </a:lnTo>
                  <a:lnTo>
                    <a:pt x="762" y="624"/>
                  </a:lnTo>
                  <a:lnTo>
                    <a:pt x="756" y="606"/>
                  </a:lnTo>
                  <a:lnTo>
                    <a:pt x="756" y="600"/>
                  </a:lnTo>
                  <a:lnTo>
                    <a:pt x="762" y="594"/>
                  </a:lnTo>
                  <a:lnTo>
                    <a:pt x="768" y="600"/>
                  </a:lnTo>
                  <a:lnTo>
                    <a:pt x="768" y="594"/>
                  </a:lnTo>
                  <a:lnTo>
                    <a:pt x="768" y="588"/>
                  </a:lnTo>
                  <a:lnTo>
                    <a:pt x="774" y="582"/>
                  </a:lnTo>
                  <a:lnTo>
                    <a:pt x="768" y="576"/>
                  </a:lnTo>
                  <a:lnTo>
                    <a:pt x="762" y="576"/>
                  </a:lnTo>
                  <a:lnTo>
                    <a:pt x="756" y="576"/>
                  </a:lnTo>
                  <a:lnTo>
                    <a:pt x="690" y="576"/>
                  </a:lnTo>
                  <a:lnTo>
                    <a:pt x="624" y="570"/>
                  </a:lnTo>
                  <a:lnTo>
                    <a:pt x="600" y="564"/>
                  </a:lnTo>
                  <a:lnTo>
                    <a:pt x="576" y="564"/>
                  </a:lnTo>
                  <a:lnTo>
                    <a:pt x="558" y="570"/>
                  </a:lnTo>
                  <a:lnTo>
                    <a:pt x="552" y="576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46" y="594"/>
                  </a:lnTo>
                  <a:lnTo>
                    <a:pt x="546" y="600"/>
                  </a:lnTo>
                  <a:lnTo>
                    <a:pt x="540" y="606"/>
                  </a:lnTo>
                  <a:lnTo>
                    <a:pt x="534" y="618"/>
                  </a:lnTo>
                  <a:lnTo>
                    <a:pt x="534" y="624"/>
                  </a:lnTo>
                  <a:lnTo>
                    <a:pt x="534" y="630"/>
                  </a:lnTo>
                  <a:lnTo>
                    <a:pt x="534" y="636"/>
                  </a:lnTo>
                  <a:lnTo>
                    <a:pt x="528" y="636"/>
                  </a:lnTo>
                  <a:lnTo>
                    <a:pt x="516" y="642"/>
                  </a:lnTo>
                  <a:lnTo>
                    <a:pt x="516" y="648"/>
                  </a:lnTo>
                  <a:lnTo>
                    <a:pt x="510" y="648"/>
                  </a:lnTo>
                  <a:lnTo>
                    <a:pt x="504" y="654"/>
                  </a:lnTo>
                  <a:lnTo>
                    <a:pt x="492" y="666"/>
                  </a:lnTo>
                  <a:lnTo>
                    <a:pt x="492" y="672"/>
                  </a:lnTo>
                  <a:lnTo>
                    <a:pt x="492" y="684"/>
                  </a:lnTo>
                  <a:lnTo>
                    <a:pt x="486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92" y="702"/>
                  </a:lnTo>
                  <a:lnTo>
                    <a:pt x="486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74" y="720"/>
                  </a:lnTo>
                  <a:lnTo>
                    <a:pt x="480" y="726"/>
                  </a:lnTo>
                  <a:lnTo>
                    <a:pt x="474" y="726"/>
                  </a:lnTo>
                  <a:lnTo>
                    <a:pt x="474" y="738"/>
                  </a:lnTo>
                  <a:lnTo>
                    <a:pt x="474" y="744"/>
                  </a:lnTo>
                  <a:lnTo>
                    <a:pt x="474" y="750"/>
                  </a:lnTo>
                  <a:lnTo>
                    <a:pt x="480" y="750"/>
                  </a:lnTo>
                  <a:lnTo>
                    <a:pt x="480" y="756"/>
                  </a:lnTo>
                  <a:lnTo>
                    <a:pt x="492" y="762"/>
                  </a:lnTo>
                  <a:lnTo>
                    <a:pt x="498" y="774"/>
                  </a:lnTo>
                  <a:lnTo>
                    <a:pt x="498" y="780"/>
                  </a:lnTo>
                  <a:lnTo>
                    <a:pt x="504" y="786"/>
                  </a:lnTo>
                  <a:lnTo>
                    <a:pt x="510" y="792"/>
                  </a:lnTo>
                  <a:lnTo>
                    <a:pt x="504" y="798"/>
                  </a:lnTo>
                  <a:lnTo>
                    <a:pt x="504" y="804"/>
                  </a:lnTo>
                  <a:lnTo>
                    <a:pt x="504" y="810"/>
                  </a:lnTo>
                  <a:lnTo>
                    <a:pt x="498" y="822"/>
                  </a:lnTo>
                  <a:lnTo>
                    <a:pt x="492" y="828"/>
                  </a:lnTo>
                  <a:lnTo>
                    <a:pt x="492" y="834"/>
                  </a:lnTo>
                  <a:lnTo>
                    <a:pt x="486" y="840"/>
                  </a:lnTo>
                  <a:lnTo>
                    <a:pt x="480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74" y="858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876"/>
                  </a:lnTo>
                  <a:lnTo>
                    <a:pt x="456" y="894"/>
                  </a:lnTo>
                  <a:lnTo>
                    <a:pt x="450" y="894"/>
                  </a:lnTo>
                  <a:lnTo>
                    <a:pt x="444" y="900"/>
                  </a:lnTo>
                  <a:lnTo>
                    <a:pt x="444" y="894"/>
                  </a:lnTo>
                  <a:lnTo>
                    <a:pt x="438" y="894"/>
                  </a:lnTo>
                  <a:lnTo>
                    <a:pt x="432" y="900"/>
                  </a:lnTo>
                  <a:lnTo>
                    <a:pt x="432" y="906"/>
                  </a:lnTo>
                  <a:lnTo>
                    <a:pt x="420" y="906"/>
                  </a:lnTo>
                  <a:lnTo>
                    <a:pt x="420" y="912"/>
                  </a:lnTo>
                  <a:lnTo>
                    <a:pt x="420" y="918"/>
                  </a:lnTo>
                  <a:lnTo>
                    <a:pt x="426" y="918"/>
                  </a:lnTo>
                  <a:lnTo>
                    <a:pt x="426" y="924"/>
                  </a:lnTo>
                  <a:lnTo>
                    <a:pt x="426" y="930"/>
                  </a:lnTo>
                  <a:lnTo>
                    <a:pt x="420" y="930"/>
                  </a:lnTo>
                  <a:lnTo>
                    <a:pt x="414" y="936"/>
                  </a:lnTo>
                  <a:lnTo>
                    <a:pt x="414" y="942"/>
                  </a:lnTo>
                  <a:lnTo>
                    <a:pt x="414" y="948"/>
                  </a:lnTo>
                  <a:lnTo>
                    <a:pt x="414" y="954"/>
                  </a:lnTo>
                  <a:lnTo>
                    <a:pt x="426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44" y="972"/>
                  </a:lnTo>
                  <a:lnTo>
                    <a:pt x="444" y="978"/>
                  </a:lnTo>
                  <a:lnTo>
                    <a:pt x="450" y="978"/>
                  </a:lnTo>
                  <a:lnTo>
                    <a:pt x="450" y="984"/>
                  </a:lnTo>
                  <a:lnTo>
                    <a:pt x="456" y="990"/>
                  </a:lnTo>
                  <a:lnTo>
                    <a:pt x="456" y="996"/>
                  </a:lnTo>
                  <a:lnTo>
                    <a:pt x="462" y="1008"/>
                  </a:lnTo>
                  <a:lnTo>
                    <a:pt x="468" y="1008"/>
                  </a:lnTo>
                  <a:lnTo>
                    <a:pt x="468" y="1002"/>
                  </a:lnTo>
                  <a:lnTo>
                    <a:pt x="474" y="1008"/>
                  </a:lnTo>
                  <a:lnTo>
                    <a:pt x="480" y="1002"/>
                  </a:lnTo>
                  <a:lnTo>
                    <a:pt x="486" y="1008"/>
                  </a:lnTo>
                  <a:lnTo>
                    <a:pt x="486" y="1014"/>
                  </a:lnTo>
                  <a:lnTo>
                    <a:pt x="492" y="1014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86" y="1026"/>
                  </a:lnTo>
                  <a:lnTo>
                    <a:pt x="492" y="1026"/>
                  </a:lnTo>
                  <a:lnTo>
                    <a:pt x="486" y="1026"/>
                  </a:lnTo>
                  <a:lnTo>
                    <a:pt x="492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5" name="Freeform 30">
              <a:extLst>
                <a:ext uri="{FF2B5EF4-FFF2-40B4-BE49-F238E27FC236}">
                  <a16:creationId xmlns:a16="http://schemas.microsoft.com/office/drawing/2014/main" id="{85C7B827-0C1A-4D72-AEBD-F01CFE7EC12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3645" y="3904484"/>
              <a:ext cx="559048" cy="111825"/>
            </a:xfrm>
            <a:custGeom>
              <a:avLst/>
              <a:gdLst>
                <a:gd name="T0" fmla="*/ 69 w 1056"/>
                <a:gd name="T1" fmla="*/ 7 h 210"/>
                <a:gd name="T2" fmla="*/ 63 w 1056"/>
                <a:gd name="T3" fmla="*/ 5 h 210"/>
                <a:gd name="T4" fmla="*/ 57 w 1056"/>
                <a:gd name="T5" fmla="*/ 5 h 210"/>
                <a:gd name="T6" fmla="*/ 54 w 1056"/>
                <a:gd name="T7" fmla="*/ 6 h 210"/>
                <a:gd name="T8" fmla="*/ 51 w 1056"/>
                <a:gd name="T9" fmla="*/ 7 h 210"/>
                <a:gd name="T10" fmla="*/ 46 w 1056"/>
                <a:gd name="T11" fmla="*/ 9 h 210"/>
                <a:gd name="T12" fmla="*/ 42 w 1056"/>
                <a:gd name="T13" fmla="*/ 8 h 210"/>
                <a:gd name="T14" fmla="*/ 42 w 1056"/>
                <a:gd name="T15" fmla="*/ 5 h 210"/>
                <a:gd name="T16" fmla="*/ 41 w 1056"/>
                <a:gd name="T17" fmla="*/ 7 h 210"/>
                <a:gd name="T18" fmla="*/ 38 w 1056"/>
                <a:gd name="T19" fmla="*/ 10 h 210"/>
                <a:gd name="T20" fmla="*/ 37 w 1056"/>
                <a:gd name="T21" fmla="*/ 12 h 210"/>
                <a:gd name="T22" fmla="*/ 37 w 1056"/>
                <a:gd name="T23" fmla="*/ 15 h 210"/>
                <a:gd name="T24" fmla="*/ 37 w 1056"/>
                <a:gd name="T25" fmla="*/ 16 h 210"/>
                <a:gd name="T26" fmla="*/ 38 w 1056"/>
                <a:gd name="T27" fmla="*/ 16 h 210"/>
                <a:gd name="T28" fmla="*/ 34 w 1056"/>
                <a:gd name="T29" fmla="*/ 16 h 210"/>
                <a:gd name="T30" fmla="*/ 26 w 1056"/>
                <a:gd name="T31" fmla="*/ 16 h 210"/>
                <a:gd name="T32" fmla="*/ 20 w 1056"/>
                <a:gd name="T33" fmla="*/ 17 h 210"/>
                <a:gd name="T34" fmla="*/ 13 w 1056"/>
                <a:gd name="T35" fmla="*/ 17 h 210"/>
                <a:gd name="T36" fmla="*/ 6 w 1056"/>
                <a:gd name="T37" fmla="*/ 17 h 210"/>
                <a:gd name="T38" fmla="*/ 1 w 1056"/>
                <a:gd name="T39" fmla="*/ 18 h 210"/>
                <a:gd name="T40" fmla="*/ 3 w 1056"/>
                <a:gd name="T41" fmla="*/ 14 h 210"/>
                <a:gd name="T42" fmla="*/ 8 w 1056"/>
                <a:gd name="T43" fmla="*/ 15 h 210"/>
                <a:gd name="T44" fmla="*/ 11 w 1056"/>
                <a:gd name="T45" fmla="*/ 12 h 210"/>
                <a:gd name="T46" fmla="*/ 26 w 1056"/>
                <a:gd name="T47" fmla="*/ 10 h 210"/>
                <a:gd name="T48" fmla="*/ 29 w 1056"/>
                <a:gd name="T49" fmla="*/ 5 h 210"/>
                <a:gd name="T50" fmla="*/ 34 w 1056"/>
                <a:gd name="T51" fmla="*/ 1 h 210"/>
                <a:gd name="T52" fmla="*/ 41 w 1056"/>
                <a:gd name="T53" fmla="*/ 3 h 210"/>
                <a:gd name="T54" fmla="*/ 73 w 1056"/>
                <a:gd name="T55" fmla="*/ 1 h 210"/>
                <a:gd name="T56" fmla="*/ 75 w 1056"/>
                <a:gd name="T57" fmla="*/ 4 h 210"/>
                <a:gd name="T58" fmla="*/ 85 w 1056"/>
                <a:gd name="T59" fmla="*/ 15 h 210"/>
                <a:gd name="T60" fmla="*/ 91 w 1056"/>
                <a:gd name="T61" fmla="*/ 18 h 210"/>
                <a:gd name="T62" fmla="*/ 85 w 1056"/>
                <a:gd name="T63" fmla="*/ 18 h 210"/>
                <a:gd name="T64" fmla="*/ 79 w 1056"/>
                <a:gd name="T65" fmla="*/ 16 h 210"/>
                <a:gd name="T66" fmla="*/ 74 w 1056"/>
                <a:gd name="T67" fmla="*/ 16 h 210"/>
                <a:gd name="T68" fmla="*/ 69 w 1056"/>
                <a:gd name="T69" fmla="*/ 15 h 210"/>
                <a:gd name="T70" fmla="*/ 65 w 1056"/>
                <a:gd name="T71" fmla="*/ 14 h 210"/>
                <a:gd name="T72" fmla="*/ 59 w 1056"/>
                <a:gd name="T73" fmla="*/ 15 h 210"/>
                <a:gd name="T74" fmla="*/ 54 w 1056"/>
                <a:gd name="T75" fmla="*/ 15 h 210"/>
                <a:gd name="T76" fmla="*/ 49 w 1056"/>
                <a:gd name="T77" fmla="*/ 15 h 210"/>
                <a:gd name="T78" fmla="*/ 42 w 1056"/>
                <a:gd name="T79" fmla="*/ 15 h 210"/>
                <a:gd name="T80" fmla="*/ 38 w 1056"/>
                <a:gd name="T81" fmla="*/ 16 h 210"/>
                <a:gd name="T82" fmla="*/ 41 w 1056"/>
                <a:gd name="T83" fmla="*/ 14 h 210"/>
                <a:gd name="T84" fmla="*/ 42 w 1056"/>
                <a:gd name="T85" fmla="*/ 13 h 210"/>
                <a:gd name="T86" fmla="*/ 45 w 1056"/>
                <a:gd name="T87" fmla="*/ 13 h 210"/>
                <a:gd name="T88" fmla="*/ 48 w 1056"/>
                <a:gd name="T89" fmla="*/ 12 h 210"/>
                <a:gd name="T90" fmla="*/ 51 w 1056"/>
                <a:gd name="T91" fmla="*/ 11 h 210"/>
                <a:gd name="T92" fmla="*/ 54 w 1056"/>
                <a:gd name="T93" fmla="*/ 9 h 210"/>
                <a:gd name="T94" fmla="*/ 57 w 1056"/>
                <a:gd name="T95" fmla="*/ 8 h 210"/>
                <a:gd name="T96" fmla="*/ 60 w 1056"/>
                <a:gd name="T97" fmla="*/ 5 h 210"/>
                <a:gd name="T98" fmla="*/ 65 w 1056"/>
                <a:gd name="T99" fmla="*/ 5 h 210"/>
                <a:gd name="T100" fmla="*/ 72 w 1056"/>
                <a:gd name="T101" fmla="*/ 7 h 210"/>
                <a:gd name="T102" fmla="*/ 77 w 1056"/>
                <a:gd name="T103" fmla="*/ 11 h 210"/>
                <a:gd name="T104" fmla="*/ 69 w 1056"/>
                <a:gd name="T105" fmla="*/ 10 h 210"/>
                <a:gd name="T106" fmla="*/ 72 w 1056"/>
                <a:gd name="T107" fmla="*/ 12 h 210"/>
                <a:gd name="T108" fmla="*/ 78 w 1056"/>
                <a:gd name="T109" fmla="*/ 15 h 210"/>
                <a:gd name="T110" fmla="*/ 84 w 1056"/>
                <a:gd name="T111" fmla="*/ 14 h 210"/>
                <a:gd name="T112" fmla="*/ 84 w 1056"/>
                <a:gd name="T113" fmla="*/ 14 h 210"/>
                <a:gd name="T114" fmla="*/ 78 w 1056"/>
                <a:gd name="T115" fmla="*/ 13 h 210"/>
                <a:gd name="T116" fmla="*/ 76 w 1056"/>
                <a:gd name="T117" fmla="*/ 14 h 210"/>
                <a:gd name="T118" fmla="*/ 38 w 1056"/>
                <a:gd name="T119" fmla="*/ 12 h 210"/>
                <a:gd name="T120" fmla="*/ 41 w 1056"/>
                <a:gd name="T121" fmla="*/ 12 h 210"/>
                <a:gd name="T122" fmla="*/ 40 w 1056"/>
                <a:gd name="T123" fmla="*/ 14 h 2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6"/>
                <a:gd name="T187" fmla="*/ 0 h 210"/>
                <a:gd name="T188" fmla="*/ 1056 w 1056"/>
                <a:gd name="T189" fmla="*/ 210 h 21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6" h="210">
                  <a:moveTo>
                    <a:pt x="870" y="90"/>
                  </a:moveTo>
                  <a:lnTo>
                    <a:pt x="864" y="90"/>
                  </a:lnTo>
                  <a:lnTo>
                    <a:pt x="852" y="84"/>
                  </a:lnTo>
                  <a:lnTo>
                    <a:pt x="846" y="84"/>
                  </a:lnTo>
                  <a:lnTo>
                    <a:pt x="846" y="78"/>
                  </a:lnTo>
                  <a:lnTo>
                    <a:pt x="840" y="78"/>
                  </a:lnTo>
                  <a:lnTo>
                    <a:pt x="834" y="78"/>
                  </a:lnTo>
                  <a:lnTo>
                    <a:pt x="834" y="72"/>
                  </a:lnTo>
                  <a:lnTo>
                    <a:pt x="804" y="78"/>
                  </a:lnTo>
                  <a:lnTo>
                    <a:pt x="798" y="78"/>
                  </a:lnTo>
                  <a:lnTo>
                    <a:pt x="792" y="72"/>
                  </a:lnTo>
                  <a:lnTo>
                    <a:pt x="780" y="60"/>
                  </a:lnTo>
                  <a:lnTo>
                    <a:pt x="768" y="54"/>
                  </a:lnTo>
                  <a:lnTo>
                    <a:pt x="756" y="54"/>
                  </a:lnTo>
                  <a:lnTo>
                    <a:pt x="750" y="54"/>
                  </a:lnTo>
                  <a:lnTo>
                    <a:pt x="750" y="48"/>
                  </a:lnTo>
                  <a:lnTo>
                    <a:pt x="744" y="48"/>
                  </a:lnTo>
                  <a:lnTo>
                    <a:pt x="738" y="48"/>
                  </a:lnTo>
                  <a:lnTo>
                    <a:pt x="732" y="48"/>
                  </a:lnTo>
                  <a:lnTo>
                    <a:pt x="732" y="54"/>
                  </a:lnTo>
                  <a:lnTo>
                    <a:pt x="726" y="48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48"/>
                  </a:lnTo>
                  <a:lnTo>
                    <a:pt x="702" y="48"/>
                  </a:lnTo>
                  <a:lnTo>
                    <a:pt x="696" y="48"/>
                  </a:lnTo>
                  <a:lnTo>
                    <a:pt x="684" y="48"/>
                  </a:lnTo>
                  <a:lnTo>
                    <a:pt x="678" y="48"/>
                  </a:lnTo>
                  <a:lnTo>
                    <a:pt x="672" y="48"/>
                  </a:lnTo>
                  <a:lnTo>
                    <a:pt x="666" y="54"/>
                  </a:lnTo>
                  <a:lnTo>
                    <a:pt x="660" y="54"/>
                  </a:lnTo>
                  <a:lnTo>
                    <a:pt x="660" y="48"/>
                  </a:lnTo>
                  <a:lnTo>
                    <a:pt x="654" y="48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42" y="54"/>
                  </a:lnTo>
                  <a:lnTo>
                    <a:pt x="63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30" y="66"/>
                  </a:lnTo>
                  <a:lnTo>
                    <a:pt x="624" y="66"/>
                  </a:lnTo>
                  <a:lnTo>
                    <a:pt x="618" y="66"/>
                  </a:lnTo>
                  <a:lnTo>
                    <a:pt x="618" y="72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6" y="84"/>
                  </a:lnTo>
                  <a:lnTo>
                    <a:pt x="600" y="84"/>
                  </a:lnTo>
                  <a:lnTo>
                    <a:pt x="594" y="90"/>
                  </a:lnTo>
                  <a:lnTo>
                    <a:pt x="588" y="90"/>
                  </a:lnTo>
                  <a:lnTo>
                    <a:pt x="588" y="84"/>
                  </a:lnTo>
                  <a:lnTo>
                    <a:pt x="582" y="84"/>
                  </a:lnTo>
                  <a:lnTo>
                    <a:pt x="576" y="84"/>
                  </a:lnTo>
                  <a:lnTo>
                    <a:pt x="570" y="84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58" y="96"/>
                  </a:lnTo>
                  <a:lnTo>
                    <a:pt x="552" y="96"/>
                  </a:lnTo>
                  <a:lnTo>
                    <a:pt x="546" y="102"/>
                  </a:lnTo>
                  <a:lnTo>
                    <a:pt x="540" y="102"/>
                  </a:lnTo>
                  <a:lnTo>
                    <a:pt x="534" y="102"/>
                  </a:lnTo>
                  <a:lnTo>
                    <a:pt x="528" y="102"/>
                  </a:lnTo>
                  <a:lnTo>
                    <a:pt x="528" y="108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16" y="102"/>
                  </a:lnTo>
                  <a:lnTo>
                    <a:pt x="510" y="102"/>
                  </a:lnTo>
                  <a:lnTo>
                    <a:pt x="504" y="102"/>
                  </a:lnTo>
                  <a:lnTo>
                    <a:pt x="498" y="102"/>
                  </a:lnTo>
                  <a:lnTo>
                    <a:pt x="498" y="96"/>
                  </a:lnTo>
                  <a:lnTo>
                    <a:pt x="492" y="96"/>
                  </a:lnTo>
                  <a:lnTo>
                    <a:pt x="492" y="90"/>
                  </a:lnTo>
                  <a:lnTo>
                    <a:pt x="492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498" y="66"/>
                  </a:lnTo>
                  <a:lnTo>
                    <a:pt x="504" y="60"/>
                  </a:lnTo>
                  <a:lnTo>
                    <a:pt x="498" y="60"/>
                  </a:lnTo>
                  <a:lnTo>
                    <a:pt x="498" y="54"/>
                  </a:lnTo>
                  <a:lnTo>
                    <a:pt x="492" y="54"/>
                  </a:lnTo>
                  <a:lnTo>
                    <a:pt x="492" y="60"/>
                  </a:lnTo>
                  <a:lnTo>
                    <a:pt x="486" y="60"/>
                  </a:lnTo>
                  <a:lnTo>
                    <a:pt x="486" y="66"/>
                  </a:lnTo>
                  <a:lnTo>
                    <a:pt x="480" y="66"/>
                  </a:lnTo>
                  <a:lnTo>
                    <a:pt x="474" y="72"/>
                  </a:lnTo>
                  <a:lnTo>
                    <a:pt x="474" y="66"/>
                  </a:lnTo>
                  <a:lnTo>
                    <a:pt x="474" y="72"/>
                  </a:lnTo>
                  <a:lnTo>
                    <a:pt x="468" y="72"/>
                  </a:lnTo>
                  <a:lnTo>
                    <a:pt x="468" y="78"/>
                  </a:lnTo>
                  <a:lnTo>
                    <a:pt x="468" y="84"/>
                  </a:lnTo>
                  <a:lnTo>
                    <a:pt x="462" y="90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0" y="84"/>
                  </a:lnTo>
                  <a:lnTo>
                    <a:pt x="450" y="90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44" y="102"/>
                  </a:lnTo>
                  <a:lnTo>
                    <a:pt x="444" y="108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38" y="126"/>
                  </a:lnTo>
                  <a:lnTo>
                    <a:pt x="438" y="132"/>
                  </a:lnTo>
                  <a:lnTo>
                    <a:pt x="438" y="138"/>
                  </a:lnTo>
                  <a:lnTo>
                    <a:pt x="438" y="144"/>
                  </a:lnTo>
                  <a:lnTo>
                    <a:pt x="432" y="144"/>
                  </a:lnTo>
                  <a:lnTo>
                    <a:pt x="432" y="150"/>
                  </a:lnTo>
                  <a:lnTo>
                    <a:pt x="432" y="144"/>
                  </a:lnTo>
                  <a:lnTo>
                    <a:pt x="426" y="144"/>
                  </a:lnTo>
                  <a:lnTo>
                    <a:pt x="426" y="150"/>
                  </a:lnTo>
                  <a:lnTo>
                    <a:pt x="426" y="156"/>
                  </a:lnTo>
                  <a:lnTo>
                    <a:pt x="432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2"/>
                  </a:lnTo>
                  <a:lnTo>
                    <a:pt x="432" y="168"/>
                  </a:lnTo>
                  <a:lnTo>
                    <a:pt x="426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44" y="168"/>
                  </a:lnTo>
                  <a:lnTo>
                    <a:pt x="444" y="174"/>
                  </a:lnTo>
                  <a:lnTo>
                    <a:pt x="444" y="180"/>
                  </a:lnTo>
                  <a:lnTo>
                    <a:pt x="444" y="186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2" y="192"/>
                  </a:lnTo>
                  <a:lnTo>
                    <a:pt x="426" y="192"/>
                  </a:lnTo>
                  <a:lnTo>
                    <a:pt x="420" y="186"/>
                  </a:lnTo>
                  <a:lnTo>
                    <a:pt x="414" y="186"/>
                  </a:lnTo>
                  <a:lnTo>
                    <a:pt x="408" y="186"/>
                  </a:lnTo>
                  <a:lnTo>
                    <a:pt x="402" y="186"/>
                  </a:lnTo>
                  <a:lnTo>
                    <a:pt x="396" y="186"/>
                  </a:lnTo>
                  <a:lnTo>
                    <a:pt x="390" y="186"/>
                  </a:lnTo>
                  <a:lnTo>
                    <a:pt x="384" y="186"/>
                  </a:lnTo>
                  <a:lnTo>
                    <a:pt x="378" y="186"/>
                  </a:lnTo>
                  <a:lnTo>
                    <a:pt x="372" y="186"/>
                  </a:lnTo>
                  <a:lnTo>
                    <a:pt x="354" y="186"/>
                  </a:lnTo>
                  <a:lnTo>
                    <a:pt x="342" y="186"/>
                  </a:lnTo>
                  <a:lnTo>
                    <a:pt x="324" y="186"/>
                  </a:lnTo>
                  <a:lnTo>
                    <a:pt x="312" y="186"/>
                  </a:lnTo>
                  <a:lnTo>
                    <a:pt x="306" y="186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82" y="186"/>
                  </a:lnTo>
                  <a:lnTo>
                    <a:pt x="270" y="186"/>
                  </a:lnTo>
                  <a:lnTo>
                    <a:pt x="264" y="186"/>
                  </a:lnTo>
                  <a:lnTo>
                    <a:pt x="258" y="192"/>
                  </a:lnTo>
                  <a:lnTo>
                    <a:pt x="258" y="186"/>
                  </a:lnTo>
                  <a:lnTo>
                    <a:pt x="246" y="186"/>
                  </a:lnTo>
                  <a:lnTo>
                    <a:pt x="240" y="186"/>
                  </a:lnTo>
                  <a:lnTo>
                    <a:pt x="234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2"/>
                  </a:lnTo>
                  <a:lnTo>
                    <a:pt x="204" y="192"/>
                  </a:lnTo>
                  <a:lnTo>
                    <a:pt x="198" y="192"/>
                  </a:lnTo>
                  <a:lnTo>
                    <a:pt x="192" y="192"/>
                  </a:lnTo>
                  <a:lnTo>
                    <a:pt x="180" y="192"/>
                  </a:lnTo>
                  <a:lnTo>
                    <a:pt x="168" y="192"/>
                  </a:lnTo>
                  <a:lnTo>
                    <a:pt x="162" y="192"/>
                  </a:lnTo>
                  <a:lnTo>
                    <a:pt x="150" y="192"/>
                  </a:lnTo>
                  <a:lnTo>
                    <a:pt x="138" y="192"/>
                  </a:lnTo>
                  <a:lnTo>
                    <a:pt x="132" y="192"/>
                  </a:lnTo>
                  <a:lnTo>
                    <a:pt x="120" y="192"/>
                  </a:lnTo>
                  <a:lnTo>
                    <a:pt x="114" y="192"/>
                  </a:lnTo>
                  <a:lnTo>
                    <a:pt x="108" y="192"/>
                  </a:lnTo>
                  <a:lnTo>
                    <a:pt x="102" y="192"/>
                  </a:lnTo>
                  <a:lnTo>
                    <a:pt x="90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2" y="198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36" y="198"/>
                  </a:lnTo>
                  <a:lnTo>
                    <a:pt x="30" y="204"/>
                  </a:lnTo>
                  <a:lnTo>
                    <a:pt x="24" y="204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6" y="210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54" y="156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56"/>
                  </a:lnTo>
                  <a:lnTo>
                    <a:pt x="78" y="162"/>
                  </a:lnTo>
                  <a:lnTo>
                    <a:pt x="84" y="162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9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0" y="126"/>
                  </a:lnTo>
                  <a:lnTo>
                    <a:pt x="276" y="120"/>
                  </a:lnTo>
                  <a:lnTo>
                    <a:pt x="282" y="120"/>
                  </a:lnTo>
                  <a:lnTo>
                    <a:pt x="300" y="120"/>
                  </a:lnTo>
                  <a:lnTo>
                    <a:pt x="306" y="114"/>
                  </a:lnTo>
                  <a:lnTo>
                    <a:pt x="312" y="108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8"/>
                  </a:lnTo>
                  <a:lnTo>
                    <a:pt x="342" y="30"/>
                  </a:lnTo>
                  <a:lnTo>
                    <a:pt x="342" y="24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8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24"/>
                  </a:lnTo>
                  <a:lnTo>
                    <a:pt x="414" y="30"/>
                  </a:lnTo>
                  <a:lnTo>
                    <a:pt x="420" y="30"/>
                  </a:lnTo>
                  <a:lnTo>
                    <a:pt x="42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74" y="30"/>
                  </a:lnTo>
                  <a:lnTo>
                    <a:pt x="474" y="18"/>
                  </a:lnTo>
                  <a:lnTo>
                    <a:pt x="474" y="12"/>
                  </a:lnTo>
                  <a:lnTo>
                    <a:pt x="480" y="12"/>
                  </a:lnTo>
                  <a:lnTo>
                    <a:pt x="486" y="12"/>
                  </a:lnTo>
                  <a:lnTo>
                    <a:pt x="606" y="12"/>
                  </a:lnTo>
                  <a:lnTo>
                    <a:pt x="630" y="12"/>
                  </a:lnTo>
                  <a:lnTo>
                    <a:pt x="678" y="12"/>
                  </a:lnTo>
                  <a:lnTo>
                    <a:pt x="744" y="12"/>
                  </a:lnTo>
                  <a:lnTo>
                    <a:pt x="774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2" y="6"/>
                  </a:lnTo>
                  <a:lnTo>
                    <a:pt x="888" y="12"/>
                  </a:lnTo>
                  <a:lnTo>
                    <a:pt x="888" y="24"/>
                  </a:lnTo>
                  <a:lnTo>
                    <a:pt x="888" y="30"/>
                  </a:lnTo>
                  <a:lnTo>
                    <a:pt x="882" y="36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64" y="42"/>
                  </a:lnTo>
                  <a:lnTo>
                    <a:pt x="864" y="48"/>
                  </a:lnTo>
                  <a:lnTo>
                    <a:pt x="858" y="54"/>
                  </a:lnTo>
                  <a:lnTo>
                    <a:pt x="864" y="54"/>
                  </a:lnTo>
                  <a:lnTo>
                    <a:pt x="870" y="72"/>
                  </a:lnTo>
                  <a:lnTo>
                    <a:pt x="870" y="78"/>
                  </a:lnTo>
                  <a:lnTo>
                    <a:pt x="870" y="84"/>
                  </a:lnTo>
                  <a:lnTo>
                    <a:pt x="870" y="90"/>
                  </a:lnTo>
                  <a:close/>
                  <a:moveTo>
                    <a:pt x="972" y="156"/>
                  </a:moveTo>
                  <a:lnTo>
                    <a:pt x="972" y="162"/>
                  </a:lnTo>
                  <a:lnTo>
                    <a:pt x="978" y="162"/>
                  </a:lnTo>
                  <a:lnTo>
                    <a:pt x="984" y="168"/>
                  </a:lnTo>
                  <a:lnTo>
                    <a:pt x="990" y="168"/>
                  </a:lnTo>
                  <a:lnTo>
                    <a:pt x="990" y="162"/>
                  </a:lnTo>
                  <a:lnTo>
                    <a:pt x="1008" y="162"/>
                  </a:lnTo>
                  <a:lnTo>
                    <a:pt x="1020" y="162"/>
                  </a:lnTo>
                  <a:lnTo>
                    <a:pt x="1038" y="162"/>
                  </a:lnTo>
                  <a:lnTo>
                    <a:pt x="1056" y="168"/>
                  </a:lnTo>
                  <a:lnTo>
                    <a:pt x="1056" y="180"/>
                  </a:lnTo>
                  <a:lnTo>
                    <a:pt x="1056" y="186"/>
                  </a:lnTo>
                  <a:lnTo>
                    <a:pt x="1056" y="204"/>
                  </a:lnTo>
                  <a:lnTo>
                    <a:pt x="1050" y="204"/>
                  </a:lnTo>
                  <a:lnTo>
                    <a:pt x="1044" y="204"/>
                  </a:lnTo>
                  <a:lnTo>
                    <a:pt x="1038" y="204"/>
                  </a:lnTo>
                  <a:lnTo>
                    <a:pt x="1032" y="204"/>
                  </a:lnTo>
                  <a:lnTo>
                    <a:pt x="1026" y="204"/>
                  </a:lnTo>
                  <a:lnTo>
                    <a:pt x="1020" y="204"/>
                  </a:lnTo>
                  <a:lnTo>
                    <a:pt x="1014" y="204"/>
                  </a:lnTo>
                  <a:lnTo>
                    <a:pt x="1008" y="204"/>
                  </a:lnTo>
                  <a:lnTo>
                    <a:pt x="1002" y="204"/>
                  </a:lnTo>
                  <a:lnTo>
                    <a:pt x="996" y="204"/>
                  </a:lnTo>
                  <a:lnTo>
                    <a:pt x="984" y="204"/>
                  </a:lnTo>
                  <a:lnTo>
                    <a:pt x="984" y="198"/>
                  </a:lnTo>
                  <a:lnTo>
                    <a:pt x="978" y="198"/>
                  </a:lnTo>
                  <a:lnTo>
                    <a:pt x="966" y="198"/>
                  </a:lnTo>
                  <a:lnTo>
                    <a:pt x="948" y="192"/>
                  </a:lnTo>
                  <a:lnTo>
                    <a:pt x="942" y="192"/>
                  </a:lnTo>
                  <a:lnTo>
                    <a:pt x="936" y="192"/>
                  </a:lnTo>
                  <a:lnTo>
                    <a:pt x="924" y="192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12" y="186"/>
                  </a:lnTo>
                  <a:lnTo>
                    <a:pt x="906" y="186"/>
                  </a:lnTo>
                  <a:lnTo>
                    <a:pt x="900" y="186"/>
                  </a:lnTo>
                  <a:lnTo>
                    <a:pt x="894" y="186"/>
                  </a:lnTo>
                  <a:lnTo>
                    <a:pt x="888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76" y="180"/>
                  </a:lnTo>
                  <a:lnTo>
                    <a:pt x="870" y="180"/>
                  </a:lnTo>
                  <a:lnTo>
                    <a:pt x="864" y="180"/>
                  </a:lnTo>
                  <a:lnTo>
                    <a:pt x="858" y="180"/>
                  </a:lnTo>
                  <a:lnTo>
                    <a:pt x="852" y="180"/>
                  </a:lnTo>
                  <a:lnTo>
                    <a:pt x="852" y="174"/>
                  </a:lnTo>
                  <a:lnTo>
                    <a:pt x="846" y="174"/>
                  </a:lnTo>
                  <a:lnTo>
                    <a:pt x="840" y="174"/>
                  </a:lnTo>
                  <a:lnTo>
                    <a:pt x="834" y="174"/>
                  </a:lnTo>
                  <a:lnTo>
                    <a:pt x="828" y="174"/>
                  </a:lnTo>
                  <a:lnTo>
                    <a:pt x="822" y="174"/>
                  </a:lnTo>
                  <a:lnTo>
                    <a:pt x="816" y="174"/>
                  </a:lnTo>
                  <a:lnTo>
                    <a:pt x="810" y="168"/>
                  </a:lnTo>
                  <a:lnTo>
                    <a:pt x="804" y="168"/>
                  </a:lnTo>
                  <a:lnTo>
                    <a:pt x="798" y="168"/>
                  </a:lnTo>
                  <a:lnTo>
                    <a:pt x="792" y="168"/>
                  </a:lnTo>
                  <a:lnTo>
                    <a:pt x="786" y="168"/>
                  </a:lnTo>
                  <a:lnTo>
                    <a:pt x="780" y="168"/>
                  </a:lnTo>
                  <a:lnTo>
                    <a:pt x="774" y="168"/>
                  </a:lnTo>
                  <a:lnTo>
                    <a:pt x="768" y="168"/>
                  </a:lnTo>
                  <a:lnTo>
                    <a:pt x="762" y="168"/>
                  </a:lnTo>
                  <a:lnTo>
                    <a:pt x="756" y="168"/>
                  </a:lnTo>
                  <a:lnTo>
                    <a:pt x="750" y="168"/>
                  </a:lnTo>
                  <a:lnTo>
                    <a:pt x="750" y="162"/>
                  </a:lnTo>
                  <a:lnTo>
                    <a:pt x="744" y="168"/>
                  </a:lnTo>
                  <a:lnTo>
                    <a:pt x="738" y="162"/>
                  </a:lnTo>
                  <a:lnTo>
                    <a:pt x="732" y="162"/>
                  </a:lnTo>
                  <a:lnTo>
                    <a:pt x="726" y="162"/>
                  </a:lnTo>
                  <a:lnTo>
                    <a:pt x="714" y="162"/>
                  </a:lnTo>
                  <a:lnTo>
                    <a:pt x="702" y="162"/>
                  </a:lnTo>
                  <a:lnTo>
                    <a:pt x="696" y="168"/>
                  </a:lnTo>
                  <a:lnTo>
                    <a:pt x="690" y="168"/>
                  </a:lnTo>
                  <a:lnTo>
                    <a:pt x="684" y="168"/>
                  </a:lnTo>
                  <a:lnTo>
                    <a:pt x="678" y="168"/>
                  </a:lnTo>
                  <a:lnTo>
                    <a:pt x="672" y="168"/>
                  </a:lnTo>
                  <a:lnTo>
                    <a:pt x="666" y="168"/>
                  </a:lnTo>
                  <a:lnTo>
                    <a:pt x="660" y="168"/>
                  </a:lnTo>
                  <a:lnTo>
                    <a:pt x="654" y="168"/>
                  </a:lnTo>
                  <a:lnTo>
                    <a:pt x="648" y="174"/>
                  </a:lnTo>
                  <a:lnTo>
                    <a:pt x="648" y="168"/>
                  </a:lnTo>
                  <a:lnTo>
                    <a:pt x="642" y="174"/>
                  </a:lnTo>
                  <a:lnTo>
                    <a:pt x="636" y="174"/>
                  </a:lnTo>
                  <a:lnTo>
                    <a:pt x="630" y="174"/>
                  </a:lnTo>
                  <a:lnTo>
                    <a:pt x="624" y="174"/>
                  </a:lnTo>
                  <a:lnTo>
                    <a:pt x="618" y="174"/>
                  </a:lnTo>
                  <a:lnTo>
                    <a:pt x="612" y="174"/>
                  </a:lnTo>
                  <a:lnTo>
                    <a:pt x="606" y="174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74"/>
                  </a:lnTo>
                  <a:lnTo>
                    <a:pt x="582" y="174"/>
                  </a:lnTo>
                  <a:lnTo>
                    <a:pt x="576" y="174"/>
                  </a:lnTo>
                  <a:lnTo>
                    <a:pt x="570" y="174"/>
                  </a:lnTo>
                  <a:lnTo>
                    <a:pt x="564" y="174"/>
                  </a:lnTo>
                  <a:lnTo>
                    <a:pt x="558" y="174"/>
                  </a:lnTo>
                  <a:lnTo>
                    <a:pt x="552" y="174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0" y="174"/>
                  </a:lnTo>
                  <a:lnTo>
                    <a:pt x="504" y="174"/>
                  </a:lnTo>
                  <a:lnTo>
                    <a:pt x="498" y="174"/>
                  </a:lnTo>
                  <a:lnTo>
                    <a:pt x="492" y="174"/>
                  </a:lnTo>
                  <a:lnTo>
                    <a:pt x="486" y="174"/>
                  </a:lnTo>
                  <a:lnTo>
                    <a:pt x="480" y="174"/>
                  </a:lnTo>
                  <a:lnTo>
                    <a:pt x="474" y="174"/>
                  </a:lnTo>
                  <a:lnTo>
                    <a:pt x="468" y="174"/>
                  </a:lnTo>
                  <a:lnTo>
                    <a:pt x="462" y="174"/>
                  </a:lnTo>
                  <a:lnTo>
                    <a:pt x="456" y="174"/>
                  </a:lnTo>
                  <a:lnTo>
                    <a:pt x="450" y="180"/>
                  </a:lnTo>
                  <a:lnTo>
                    <a:pt x="450" y="186"/>
                  </a:lnTo>
                  <a:lnTo>
                    <a:pt x="450" y="192"/>
                  </a:lnTo>
                  <a:lnTo>
                    <a:pt x="444" y="192"/>
                  </a:lnTo>
                  <a:lnTo>
                    <a:pt x="444" y="186"/>
                  </a:lnTo>
                  <a:lnTo>
                    <a:pt x="444" y="180"/>
                  </a:lnTo>
                  <a:lnTo>
                    <a:pt x="450" y="180"/>
                  </a:lnTo>
                  <a:lnTo>
                    <a:pt x="450" y="174"/>
                  </a:lnTo>
                  <a:lnTo>
                    <a:pt x="450" y="168"/>
                  </a:lnTo>
                  <a:lnTo>
                    <a:pt x="450" y="162"/>
                  </a:lnTo>
                  <a:lnTo>
                    <a:pt x="456" y="162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62" y="162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74" y="168"/>
                  </a:lnTo>
                  <a:lnTo>
                    <a:pt x="480" y="168"/>
                  </a:lnTo>
                  <a:lnTo>
                    <a:pt x="480" y="162"/>
                  </a:lnTo>
                  <a:lnTo>
                    <a:pt x="480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56"/>
                  </a:lnTo>
                  <a:lnTo>
                    <a:pt x="492" y="156"/>
                  </a:lnTo>
                  <a:lnTo>
                    <a:pt x="486" y="150"/>
                  </a:lnTo>
                  <a:lnTo>
                    <a:pt x="492" y="150"/>
                  </a:lnTo>
                  <a:lnTo>
                    <a:pt x="498" y="150"/>
                  </a:lnTo>
                  <a:lnTo>
                    <a:pt x="498" y="156"/>
                  </a:lnTo>
                  <a:lnTo>
                    <a:pt x="504" y="156"/>
                  </a:lnTo>
                  <a:lnTo>
                    <a:pt x="504" y="162"/>
                  </a:lnTo>
                  <a:lnTo>
                    <a:pt x="504" y="156"/>
                  </a:lnTo>
                  <a:lnTo>
                    <a:pt x="510" y="156"/>
                  </a:lnTo>
                  <a:lnTo>
                    <a:pt x="510" y="150"/>
                  </a:lnTo>
                  <a:lnTo>
                    <a:pt x="516" y="150"/>
                  </a:lnTo>
                  <a:lnTo>
                    <a:pt x="522" y="150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28" y="150"/>
                  </a:lnTo>
                  <a:lnTo>
                    <a:pt x="528" y="144"/>
                  </a:lnTo>
                  <a:lnTo>
                    <a:pt x="540" y="144"/>
                  </a:lnTo>
                  <a:lnTo>
                    <a:pt x="546" y="144"/>
                  </a:lnTo>
                  <a:lnTo>
                    <a:pt x="552" y="138"/>
                  </a:lnTo>
                  <a:lnTo>
                    <a:pt x="552" y="132"/>
                  </a:lnTo>
                  <a:lnTo>
                    <a:pt x="558" y="132"/>
                  </a:lnTo>
                  <a:lnTo>
                    <a:pt x="558" y="126"/>
                  </a:lnTo>
                  <a:lnTo>
                    <a:pt x="558" y="120"/>
                  </a:lnTo>
                  <a:lnTo>
                    <a:pt x="558" y="114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6" y="114"/>
                  </a:lnTo>
                  <a:lnTo>
                    <a:pt x="582" y="120"/>
                  </a:lnTo>
                  <a:lnTo>
                    <a:pt x="588" y="120"/>
                  </a:lnTo>
                  <a:lnTo>
                    <a:pt x="588" y="126"/>
                  </a:lnTo>
                  <a:lnTo>
                    <a:pt x="588" y="120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600" y="114"/>
                  </a:lnTo>
                  <a:lnTo>
                    <a:pt x="606" y="114"/>
                  </a:lnTo>
                  <a:lnTo>
                    <a:pt x="618" y="114"/>
                  </a:lnTo>
                  <a:lnTo>
                    <a:pt x="618" y="108"/>
                  </a:lnTo>
                  <a:lnTo>
                    <a:pt x="624" y="108"/>
                  </a:lnTo>
                  <a:lnTo>
                    <a:pt x="624" y="102"/>
                  </a:lnTo>
                  <a:lnTo>
                    <a:pt x="630" y="102"/>
                  </a:lnTo>
                  <a:lnTo>
                    <a:pt x="636" y="102"/>
                  </a:lnTo>
                  <a:lnTo>
                    <a:pt x="636" y="108"/>
                  </a:lnTo>
                  <a:lnTo>
                    <a:pt x="642" y="108"/>
                  </a:lnTo>
                  <a:lnTo>
                    <a:pt x="648" y="108"/>
                  </a:lnTo>
                  <a:lnTo>
                    <a:pt x="648" y="102"/>
                  </a:lnTo>
                  <a:lnTo>
                    <a:pt x="654" y="102"/>
                  </a:lnTo>
                  <a:lnTo>
                    <a:pt x="660" y="102"/>
                  </a:lnTo>
                  <a:lnTo>
                    <a:pt x="660" y="96"/>
                  </a:lnTo>
                  <a:lnTo>
                    <a:pt x="660" y="90"/>
                  </a:lnTo>
                  <a:lnTo>
                    <a:pt x="666" y="90"/>
                  </a:lnTo>
                  <a:lnTo>
                    <a:pt x="666" y="84"/>
                  </a:lnTo>
                  <a:lnTo>
                    <a:pt x="672" y="78"/>
                  </a:lnTo>
                  <a:lnTo>
                    <a:pt x="672" y="72"/>
                  </a:lnTo>
                  <a:lnTo>
                    <a:pt x="678" y="66"/>
                  </a:lnTo>
                  <a:lnTo>
                    <a:pt x="684" y="66"/>
                  </a:lnTo>
                  <a:lnTo>
                    <a:pt x="684" y="60"/>
                  </a:lnTo>
                  <a:lnTo>
                    <a:pt x="690" y="60"/>
                  </a:lnTo>
                  <a:lnTo>
                    <a:pt x="696" y="60"/>
                  </a:lnTo>
                  <a:lnTo>
                    <a:pt x="702" y="60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66"/>
                  </a:lnTo>
                  <a:lnTo>
                    <a:pt x="720" y="66"/>
                  </a:lnTo>
                  <a:lnTo>
                    <a:pt x="720" y="60"/>
                  </a:lnTo>
                  <a:lnTo>
                    <a:pt x="726" y="60"/>
                  </a:lnTo>
                  <a:lnTo>
                    <a:pt x="732" y="60"/>
                  </a:lnTo>
                  <a:lnTo>
                    <a:pt x="744" y="60"/>
                  </a:lnTo>
                  <a:lnTo>
                    <a:pt x="750" y="54"/>
                  </a:lnTo>
                  <a:lnTo>
                    <a:pt x="762" y="60"/>
                  </a:lnTo>
                  <a:lnTo>
                    <a:pt x="774" y="60"/>
                  </a:lnTo>
                  <a:lnTo>
                    <a:pt x="774" y="66"/>
                  </a:lnTo>
                  <a:lnTo>
                    <a:pt x="780" y="72"/>
                  </a:lnTo>
                  <a:lnTo>
                    <a:pt x="786" y="78"/>
                  </a:lnTo>
                  <a:lnTo>
                    <a:pt x="792" y="78"/>
                  </a:lnTo>
                  <a:lnTo>
                    <a:pt x="810" y="84"/>
                  </a:lnTo>
                  <a:lnTo>
                    <a:pt x="822" y="84"/>
                  </a:lnTo>
                  <a:lnTo>
                    <a:pt x="828" y="84"/>
                  </a:lnTo>
                  <a:lnTo>
                    <a:pt x="834" y="84"/>
                  </a:lnTo>
                  <a:lnTo>
                    <a:pt x="840" y="96"/>
                  </a:lnTo>
                  <a:lnTo>
                    <a:pt x="846" y="102"/>
                  </a:lnTo>
                  <a:lnTo>
                    <a:pt x="858" y="102"/>
                  </a:lnTo>
                  <a:lnTo>
                    <a:pt x="864" y="102"/>
                  </a:lnTo>
                  <a:lnTo>
                    <a:pt x="876" y="96"/>
                  </a:lnTo>
                  <a:lnTo>
                    <a:pt x="882" y="102"/>
                  </a:lnTo>
                  <a:lnTo>
                    <a:pt x="888" y="108"/>
                  </a:lnTo>
                  <a:lnTo>
                    <a:pt x="888" y="114"/>
                  </a:lnTo>
                  <a:lnTo>
                    <a:pt x="888" y="120"/>
                  </a:lnTo>
                  <a:lnTo>
                    <a:pt x="888" y="126"/>
                  </a:lnTo>
                  <a:lnTo>
                    <a:pt x="888" y="132"/>
                  </a:lnTo>
                  <a:lnTo>
                    <a:pt x="882" y="132"/>
                  </a:lnTo>
                  <a:lnTo>
                    <a:pt x="864" y="126"/>
                  </a:lnTo>
                  <a:lnTo>
                    <a:pt x="852" y="120"/>
                  </a:lnTo>
                  <a:lnTo>
                    <a:pt x="840" y="126"/>
                  </a:lnTo>
                  <a:lnTo>
                    <a:pt x="834" y="120"/>
                  </a:lnTo>
                  <a:lnTo>
                    <a:pt x="828" y="120"/>
                  </a:lnTo>
                  <a:lnTo>
                    <a:pt x="822" y="120"/>
                  </a:lnTo>
                  <a:lnTo>
                    <a:pt x="810" y="114"/>
                  </a:lnTo>
                  <a:lnTo>
                    <a:pt x="804" y="114"/>
                  </a:lnTo>
                  <a:lnTo>
                    <a:pt x="798" y="114"/>
                  </a:lnTo>
                  <a:lnTo>
                    <a:pt x="792" y="114"/>
                  </a:lnTo>
                  <a:lnTo>
                    <a:pt x="786" y="114"/>
                  </a:lnTo>
                  <a:lnTo>
                    <a:pt x="780" y="114"/>
                  </a:lnTo>
                  <a:lnTo>
                    <a:pt x="780" y="126"/>
                  </a:lnTo>
                  <a:lnTo>
                    <a:pt x="786" y="126"/>
                  </a:lnTo>
                  <a:lnTo>
                    <a:pt x="798" y="126"/>
                  </a:lnTo>
                  <a:lnTo>
                    <a:pt x="804" y="126"/>
                  </a:lnTo>
                  <a:lnTo>
                    <a:pt x="822" y="132"/>
                  </a:lnTo>
                  <a:lnTo>
                    <a:pt x="828" y="132"/>
                  </a:lnTo>
                  <a:lnTo>
                    <a:pt x="834" y="132"/>
                  </a:lnTo>
                  <a:lnTo>
                    <a:pt x="840" y="144"/>
                  </a:lnTo>
                  <a:lnTo>
                    <a:pt x="846" y="150"/>
                  </a:lnTo>
                  <a:lnTo>
                    <a:pt x="858" y="150"/>
                  </a:lnTo>
                  <a:lnTo>
                    <a:pt x="864" y="162"/>
                  </a:lnTo>
                  <a:lnTo>
                    <a:pt x="870" y="162"/>
                  </a:lnTo>
                  <a:lnTo>
                    <a:pt x="876" y="168"/>
                  </a:lnTo>
                  <a:lnTo>
                    <a:pt x="888" y="168"/>
                  </a:lnTo>
                  <a:lnTo>
                    <a:pt x="894" y="174"/>
                  </a:lnTo>
                  <a:lnTo>
                    <a:pt x="900" y="174"/>
                  </a:lnTo>
                  <a:lnTo>
                    <a:pt x="918" y="174"/>
                  </a:lnTo>
                  <a:lnTo>
                    <a:pt x="924" y="174"/>
                  </a:lnTo>
                  <a:lnTo>
                    <a:pt x="930" y="174"/>
                  </a:lnTo>
                  <a:lnTo>
                    <a:pt x="942" y="174"/>
                  </a:lnTo>
                  <a:lnTo>
                    <a:pt x="954" y="174"/>
                  </a:lnTo>
                  <a:lnTo>
                    <a:pt x="960" y="174"/>
                  </a:lnTo>
                  <a:lnTo>
                    <a:pt x="966" y="174"/>
                  </a:lnTo>
                  <a:lnTo>
                    <a:pt x="966" y="168"/>
                  </a:lnTo>
                  <a:lnTo>
                    <a:pt x="972" y="162"/>
                  </a:lnTo>
                  <a:lnTo>
                    <a:pt x="972" y="156"/>
                  </a:lnTo>
                  <a:close/>
                  <a:moveTo>
                    <a:pt x="942" y="174"/>
                  </a:moveTo>
                  <a:lnTo>
                    <a:pt x="936" y="174"/>
                  </a:lnTo>
                  <a:lnTo>
                    <a:pt x="936" y="168"/>
                  </a:lnTo>
                  <a:lnTo>
                    <a:pt x="936" y="162"/>
                  </a:lnTo>
                  <a:lnTo>
                    <a:pt x="948" y="162"/>
                  </a:lnTo>
                  <a:lnTo>
                    <a:pt x="948" y="156"/>
                  </a:lnTo>
                  <a:lnTo>
                    <a:pt x="954" y="156"/>
                  </a:lnTo>
                  <a:lnTo>
                    <a:pt x="960" y="156"/>
                  </a:lnTo>
                  <a:lnTo>
                    <a:pt x="966" y="156"/>
                  </a:lnTo>
                  <a:lnTo>
                    <a:pt x="966" y="162"/>
                  </a:lnTo>
                  <a:lnTo>
                    <a:pt x="960" y="168"/>
                  </a:lnTo>
                  <a:lnTo>
                    <a:pt x="942" y="174"/>
                  </a:lnTo>
                  <a:close/>
                  <a:moveTo>
                    <a:pt x="900" y="168"/>
                  </a:moveTo>
                  <a:lnTo>
                    <a:pt x="894" y="168"/>
                  </a:lnTo>
                  <a:lnTo>
                    <a:pt x="882" y="156"/>
                  </a:lnTo>
                  <a:lnTo>
                    <a:pt x="882" y="150"/>
                  </a:lnTo>
                  <a:lnTo>
                    <a:pt x="888" y="156"/>
                  </a:lnTo>
                  <a:lnTo>
                    <a:pt x="894" y="150"/>
                  </a:lnTo>
                  <a:lnTo>
                    <a:pt x="900" y="150"/>
                  </a:lnTo>
                  <a:lnTo>
                    <a:pt x="906" y="150"/>
                  </a:lnTo>
                  <a:lnTo>
                    <a:pt x="912" y="150"/>
                  </a:lnTo>
                  <a:lnTo>
                    <a:pt x="924" y="150"/>
                  </a:lnTo>
                  <a:lnTo>
                    <a:pt x="924" y="156"/>
                  </a:lnTo>
                  <a:lnTo>
                    <a:pt x="924" y="162"/>
                  </a:lnTo>
                  <a:lnTo>
                    <a:pt x="924" y="168"/>
                  </a:lnTo>
                  <a:lnTo>
                    <a:pt x="918" y="168"/>
                  </a:lnTo>
                  <a:lnTo>
                    <a:pt x="906" y="168"/>
                  </a:lnTo>
                  <a:lnTo>
                    <a:pt x="900" y="168"/>
                  </a:lnTo>
                  <a:close/>
                  <a:moveTo>
                    <a:pt x="870" y="162"/>
                  </a:moveTo>
                  <a:lnTo>
                    <a:pt x="876" y="162"/>
                  </a:lnTo>
                  <a:lnTo>
                    <a:pt x="876" y="168"/>
                  </a:lnTo>
                  <a:lnTo>
                    <a:pt x="870" y="168"/>
                  </a:lnTo>
                  <a:lnTo>
                    <a:pt x="870" y="162"/>
                  </a:lnTo>
                  <a:close/>
                  <a:moveTo>
                    <a:pt x="450" y="162"/>
                  </a:moveTo>
                  <a:lnTo>
                    <a:pt x="444" y="162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2" y="150"/>
                  </a:lnTo>
                  <a:lnTo>
                    <a:pt x="438" y="150"/>
                  </a:lnTo>
                  <a:lnTo>
                    <a:pt x="438" y="144"/>
                  </a:lnTo>
                  <a:lnTo>
                    <a:pt x="438" y="150"/>
                  </a:lnTo>
                  <a:lnTo>
                    <a:pt x="444" y="150"/>
                  </a:lnTo>
                  <a:lnTo>
                    <a:pt x="450" y="150"/>
                  </a:lnTo>
                  <a:lnTo>
                    <a:pt x="450" y="156"/>
                  </a:lnTo>
                  <a:lnTo>
                    <a:pt x="456" y="156"/>
                  </a:lnTo>
                  <a:lnTo>
                    <a:pt x="456" y="150"/>
                  </a:lnTo>
                  <a:lnTo>
                    <a:pt x="456" y="156"/>
                  </a:lnTo>
                  <a:lnTo>
                    <a:pt x="462" y="150"/>
                  </a:lnTo>
                  <a:lnTo>
                    <a:pt x="462" y="144"/>
                  </a:lnTo>
                  <a:lnTo>
                    <a:pt x="468" y="144"/>
                  </a:lnTo>
                  <a:lnTo>
                    <a:pt x="468" y="150"/>
                  </a:lnTo>
                  <a:lnTo>
                    <a:pt x="474" y="150"/>
                  </a:lnTo>
                  <a:lnTo>
                    <a:pt x="480" y="150"/>
                  </a:lnTo>
                  <a:lnTo>
                    <a:pt x="480" y="156"/>
                  </a:lnTo>
                  <a:lnTo>
                    <a:pt x="480" y="162"/>
                  </a:lnTo>
                  <a:lnTo>
                    <a:pt x="474" y="162"/>
                  </a:lnTo>
                  <a:lnTo>
                    <a:pt x="474" y="168"/>
                  </a:lnTo>
                  <a:lnTo>
                    <a:pt x="474" y="162"/>
                  </a:lnTo>
                  <a:lnTo>
                    <a:pt x="468" y="162"/>
                  </a:lnTo>
                  <a:lnTo>
                    <a:pt x="462" y="162"/>
                  </a:lnTo>
                  <a:lnTo>
                    <a:pt x="456" y="162"/>
                  </a:lnTo>
                  <a:lnTo>
                    <a:pt x="450" y="16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6" name="Freeform 31">
              <a:extLst>
                <a:ext uri="{FF2B5EF4-FFF2-40B4-BE49-F238E27FC236}">
                  <a16:creationId xmlns:a16="http://schemas.microsoft.com/office/drawing/2014/main" id="{0989F057-38E8-4AA5-8B73-27F6355E235C}"/>
                </a:ext>
              </a:extLst>
            </p:cNvPr>
            <p:cNvSpPr>
              <a:spLocks/>
            </p:cNvSpPr>
            <p:nvPr/>
          </p:nvSpPr>
          <p:spPr bwMode="gray">
            <a:xfrm>
              <a:off x="792590" y="2728084"/>
              <a:ext cx="1182944" cy="740282"/>
            </a:xfrm>
            <a:custGeom>
              <a:avLst/>
              <a:gdLst>
                <a:gd name="T0" fmla="*/ 138 w 2226"/>
                <a:gd name="T1" fmla="*/ 121 h 1392"/>
                <a:gd name="T2" fmla="*/ 133 w 2226"/>
                <a:gd name="T3" fmla="*/ 119 h 1392"/>
                <a:gd name="T4" fmla="*/ 128 w 2226"/>
                <a:gd name="T5" fmla="*/ 117 h 1392"/>
                <a:gd name="T6" fmla="*/ 119 w 2226"/>
                <a:gd name="T7" fmla="*/ 116 h 1392"/>
                <a:gd name="T8" fmla="*/ 101 w 2226"/>
                <a:gd name="T9" fmla="*/ 116 h 1392"/>
                <a:gd name="T10" fmla="*/ 94 w 2226"/>
                <a:gd name="T11" fmla="*/ 104 h 1392"/>
                <a:gd name="T12" fmla="*/ 82 w 2226"/>
                <a:gd name="T13" fmla="*/ 83 h 1392"/>
                <a:gd name="T14" fmla="*/ 87 w 2226"/>
                <a:gd name="T15" fmla="*/ 69 h 1392"/>
                <a:gd name="T16" fmla="*/ 82 w 2226"/>
                <a:gd name="T17" fmla="*/ 65 h 1392"/>
                <a:gd name="T18" fmla="*/ 59 w 2226"/>
                <a:gd name="T19" fmla="*/ 57 h 1392"/>
                <a:gd name="T20" fmla="*/ 29 w 2226"/>
                <a:gd name="T21" fmla="*/ 77 h 1392"/>
                <a:gd name="T22" fmla="*/ 20 w 2226"/>
                <a:gd name="T23" fmla="*/ 78 h 1392"/>
                <a:gd name="T24" fmla="*/ 15 w 2226"/>
                <a:gd name="T25" fmla="*/ 82 h 1392"/>
                <a:gd name="T26" fmla="*/ 8 w 2226"/>
                <a:gd name="T27" fmla="*/ 86 h 1392"/>
                <a:gd name="T28" fmla="*/ 1 w 2226"/>
                <a:gd name="T29" fmla="*/ 88 h 1392"/>
                <a:gd name="T30" fmla="*/ 0 w 2226"/>
                <a:gd name="T31" fmla="*/ 82 h 1392"/>
                <a:gd name="T32" fmla="*/ 0 w 2226"/>
                <a:gd name="T33" fmla="*/ 76 h 1392"/>
                <a:gd name="T34" fmla="*/ 2 w 2226"/>
                <a:gd name="T35" fmla="*/ 70 h 1392"/>
                <a:gd name="T36" fmla="*/ 3 w 2226"/>
                <a:gd name="T37" fmla="*/ 65 h 1392"/>
                <a:gd name="T38" fmla="*/ 2 w 2226"/>
                <a:gd name="T39" fmla="*/ 63 h 1392"/>
                <a:gd name="T40" fmla="*/ 9 w 2226"/>
                <a:gd name="T41" fmla="*/ 60 h 1392"/>
                <a:gd name="T42" fmla="*/ 17 w 2226"/>
                <a:gd name="T43" fmla="*/ 59 h 1392"/>
                <a:gd name="T44" fmla="*/ 22 w 2226"/>
                <a:gd name="T45" fmla="*/ 51 h 1392"/>
                <a:gd name="T46" fmla="*/ 23 w 2226"/>
                <a:gd name="T47" fmla="*/ 43 h 1392"/>
                <a:gd name="T48" fmla="*/ 27 w 2226"/>
                <a:gd name="T49" fmla="*/ 34 h 1392"/>
                <a:gd name="T50" fmla="*/ 30 w 2226"/>
                <a:gd name="T51" fmla="*/ 27 h 1392"/>
                <a:gd name="T52" fmla="*/ 33 w 2226"/>
                <a:gd name="T53" fmla="*/ 22 h 1392"/>
                <a:gd name="T54" fmla="*/ 42 w 2226"/>
                <a:gd name="T55" fmla="*/ 17 h 1392"/>
                <a:gd name="T56" fmla="*/ 47 w 2226"/>
                <a:gd name="T57" fmla="*/ 14 h 1392"/>
                <a:gd name="T58" fmla="*/ 49 w 2226"/>
                <a:gd name="T59" fmla="*/ 5 h 1392"/>
                <a:gd name="T60" fmla="*/ 53 w 2226"/>
                <a:gd name="T61" fmla="*/ 0 h 1392"/>
                <a:gd name="T62" fmla="*/ 55 w 2226"/>
                <a:gd name="T63" fmla="*/ 4 h 1392"/>
                <a:gd name="T64" fmla="*/ 59 w 2226"/>
                <a:gd name="T65" fmla="*/ 7 h 1392"/>
                <a:gd name="T66" fmla="*/ 63 w 2226"/>
                <a:gd name="T67" fmla="*/ 7 h 1392"/>
                <a:gd name="T68" fmla="*/ 66 w 2226"/>
                <a:gd name="T69" fmla="*/ 9 h 1392"/>
                <a:gd name="T70" fmla="*/ 67 w 2226"/>
                <a:gd name="T71" fmla="*/ 12 h 1392"/>
                <a:gd name="T72" fmla="*/ 67 w 2226"/>
                <a:gd name="T73" fmla="*/ 13 h 1392"/>
                <a:gd name="T74" fmla="*/ 70 w 2226"/>
                <a:gd name="T75" fmla="*/ 15 h 1392"/>
                <a:gd name="T76" fmla="*/ 74 w 2226"/>
                <a:gd name="T77" fmla="*/ 17 h 1392"/>
                <a:gd name="T78" fmla="*/ 78 w 2226"/>
                <a:gd name="T79" fmla="*/ 18 h 1392"/>
                <a:gd name="T80" fmla="*/ 97 w 2226"/>
                <a:gd name="T81" fmla="*/ 40 h 1392"/>
                <a:gd name="T82" fmla="*/ 102 w 2226"/>
                <a:gd name="T83" fmla="*/ 44 h 1392"/>
                <a:gd name="T84" fmla="*/ 110 w 2226"/>
                <a:gd name="T85" fmla="*/ 49 h 1392"/>
                <a:gd name="T86" fmla="*/ 113 w 2226"/>
                <a:gd name="T87" fmla="*/ 53 h 1392"/>
                <a:gd name="T88" fmla="*/ 118 w 2226"/>
                <a:gd name="T89" fmla="*/ 57 h 1392"/>
                <a:gd name="T90" fmla="*/ 124 w 2226"/>
                <a:gd name="T91" fmla="*/ 54 h 1392"/>
                <a:gd name="T92" fmla="*/ 133 w 2226"/>
                <a:gd name="T93" fmla="*/ 58 h 1392"/>
                <a:gd name="T94" fmla="*/ 137 w 2226"/>
                <a:gd name="T95" fmla="*/ 64 h 1392"/>
                <a:gd name="T96" fmla="*/ 145 w 2226"/>
                <a:gd name="T97" fmla="*/ 65 h 1392"/>
                <a:gd name="T98" fmla="*/ 152 w 2226"/>
                <a:gd name="T99" fmla="*/ 67 h 1392"/>
                <a:gd name="T100" fmla="*/ 161 w 2226"/>
                <a:gd name="T101" fmla="*/ 72 h 1392"/>
                <a:gd name="T102" fmla="*/ 168 w 2226"/>
                <a:gd name="T103" fmla="*/ 76 h 1392"/>
                <a:gd name="T104" fmla="*/ 177 w 2226"/>
                <a:gd name="T105" fmla="*/ 78 h 1392"/>
                <a:gd name="T106" fmla="*/ 184 w 2226"/>
                <a:gd name="T107" fmla="*/ 78 h 1392"/>
                <a:gd name="T108" fmla="*/ 190 w 2226"/>
                <a:gd name="T109" fmla="*/ 81 h 1392"/>
                <a:gd name="T110" fmla="*/ 192 w 2226"/>
                <a:gd name="T111" fmla="*/ 86 h 1392"/>
                <a:gd name="T112" fmla="*/ 187 w 2226"/>
                <a:gd name="T113" fmla="*/ 99 h 1392"/>
                <a:gd name="T114" fmla="*/ 165 w 2226"/>
                <a:gd name="T115" fmla="*/ 97 h 1392"/>
                <a:gd name="T116" fmla="*/ 155 w 2226"/>
                <a:gd name="T117" fmla="*/ 92 h 1392"/>
                <a:gd name="T118" fmla="*/ 146 w 2226"/>
                <a:gd name="T119" fmla="*/ 102 h 1392"/>
                <a:gd name="T120" fmla="*/ 149 w 2226"/>
                <a:gd name="T121" fmla="*/ 106 h 1392"/>
                <a:gd name="T122" fmla="*/ 151 w 2226"/>
                <a:gd name="T123" fmla="*/ 108 h 1392"/>
                <a:gd name="T124" fmla="*/ 157 w 2226"/>
                <a:gd name="T125" fmla="*/ 113 h 13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1392"/>
                <a:gd name="T191" fmla="*/ 2226 w 2226"/>
                <a:gd name="T192" fmla="*/ 1392 h 13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1392">
                  <a:moveTo>
                    <a:pt x="1782" y="1326"/>
                  </a:moveTo>
                  <a:lnTo>
                    <a:pt x="1776" y="1332"/>
                  </a:lnTo>
                  <a:lnTo>
                    <a:pt x="1692" y="1338"/>
                  </a:lnTo>
                  <a:lnTo>
                    <a:pt x="1680" y="1386"/>
                  </a:lnTo>
                  <a:lnTo>
                    <a:pt x="1674" y="1392"/>
                  </a:lnTo>
                  <a:lnTo>
                    <a:pt x="1638" y="1392"/>
                  </a:lnTo>
                  <a:lnTo>
                    <a:pt x="1620" y="1392"/>
                  </a:lnTo>
                  <a:lnTo>
                    <a:pt x="1614" y="1392"/>
                  </a:lnTo>
                  <a:lnTo>
                    <a:pt x="1608" y="1386"/>
                  </a:lnTo>
                  <a:lnTo>
                    <a:pt x="1584" y="1386"/>
                  </a:lnTo>
                  <a:lnTo>
                    <a:pt x="1578" y="1386"/>
                  </a:lnTo>
                  <a:lnTo>
                    <a:pt x="1572" y="1380"/>
                  </a:lnTo>
                  <a:lnTo>
                    <a:pt x="1578" y="1356"/>
                  </a:lnTo>
                  <a:lnTo>
                    <a:pt x="1572" y="1356"/>
                  </a:lnTo>
                  <a:lnTo>
                    <a:pt x="1560" y="1350"/>
                  </a:lnTo>
                  <a:lnTo>
                    <a:pt x="1554" y="1350"/>
                  </a:lnTo>
                  <a:lnTo>
                    <a:pt x="1542" y="1350"/>
                  </a:lnTo>
                  <a:lnTo>
                    <a:pt x="1530" y="1350"/>
                  </a:lnTo>
                  <a:lnTo>
                    <a:pt x="1524" y="1356"/>
                  </a:lnTo>
                  <a:lnTo>
                    <a:pt x="1524" y="1362"/>
                  </a:lnTo>
                  <a:lnTo>
                    <a:pt x="1512" y="1374"/>
                  </a:lnTo>
                  <a:lnTo>
                    <a:pt x="1506" y="1374"/>
                  </a:lnTo>
                  <a:lnTo>
                    <a:pt x="1500" y="1368"/>
                  </a:lnTo>
                  <a:lnTo>
                    <a:pt x="1500" y="1362"/>
                  </a:lnTo>
                  <a:lnTo>
                    <a:pt x="1488" y="1362"/>
                  </a:lnTo>
                  <a:lnTo>
                    <a:pt x="1482" y="1356"/>
                  </a:lnTo>
                  <a:lnTo>
                    <a:pt x="1482" y="1350"/>
                  </a:lnTo>
                  <a:lnTo>
                    <a:pt x="1476" y="1350"/>
                  </a:lnTo>
                  <a:lnTo>
                    <a:pt x="1470" y="1344"/>
                  </a:lnTo>
                  <a:lnTo>
                    <a:pt x="1464" y="1344"/>
                  </a:lnTo>
                  <a:lnTo>
                    <a:pt x="1452" y="1350"/>
                  </a:lnTo>
                  <a:lnTo>
                    <a:pt x="1452" y="1356"/>
                  </a:lnTo>
                  <a:lnTo>
                    <a:pt x="1440" y="1356"/>
                  </a:lnTo>
                  <a:lnTo>
                    <a:pt x="1434" y="1344"/>
                  </a:lnTo>
                  <a:lnTo>
                    <a:pt x="1422" y="1332"/>
                  </a:lnTo>
                  <a:lnTo>
                    <a:pt x="1416" y="1326"/>
                  </a:lnTo>
                  <a:lnTo>
                    <a:pt x="1404" y="1320"/>
                  </a:lnTo>
                  <a:lnTo>
                    <a:pt x="1404" y="1314"/>
                  </a:lnTo>
                  <a:lnTo>
                    <a:pt x="1374" y="1308"/>
                  </a:lnTo>
                  <a:lnTo>
                    <a:pt x="1368" y="1326"/>
                  </a:lnTo>
                  <a:lnTo>
                    <a:pt x="1344" y="1338"/>
                  </a:lnTo>
                  <a:lnTo>
                    <a:pt x="1326" y="1332"/>
                  </a:lnTo>
                  <a:lnTo>
                    <a:pt x="1302" y="1332"/>
                  </a:lnTo>
                  <a:lnTo>
                    <a:pt x="1278" y="1338"/>
                  </a:lnTo>
                  <a:lnTo>
                    <a:pt x="1236" y="1338"/>
                  </a:lnTo>
                  <a:lnTo>
                    <a:pt x="1224" y="1338"/>
                  </a:lnTo>
                  <a:lnTo>
                    <a:pt x="1224" y="1326"/>
                  </a:lnTo>
                  <a:lnTo>
                    <a:pt x="1206" y="1326"/>
                  </a:lnTo>
                  <a:lnTo>
                    <a:pt x="1170" y="1326"/>
                  </a:lnTo>
                  <a:lnTo>
                    <a:pt x="1152" y="1326"/>
                  </a:lnTo>
                  <a:lnTo>
                    <a:pt x="1140" y="1314"/>
                  </a:lnTo>
                  <a:lnTo>
                    <a:pt x="1134" y="1296"/>
                  </a:lnTo>
                  <a:lnTo>
                    <a:pt x="1134" y="1284"/>
                  </a:lnTo>
                  <a:lnTo>
                    <a:pt x="1128" y="1254"/>
                  </a:lnTo>
                  <a:lnTo>
                    <a:pt x="1128" y="1242"/>
                  </a:lnTo>
                  <a:lnTo>
                    <a:pt x="1122" y="1230"/>
                  </a:lnTo>
                  <a:lnTo>
                    <a:pt x="1104" y="1218"/>
                  </a:lnTo>
                  <a:lnTo>
                    <a:pt x="1104" y="1212"/>
                  </a:lnTo>
                  <a:lnTo>
                    <a:pt x="1092" y="1206"/>
                  </a:lnTo>
                  <a:lnTo>
                    <a:pt x="1080" y="1194"/>
                  </a:lnTo>
                  <a:lnTo>
                    <a:pt x="1068" y="1176"/>
                  </a:lnTo>
                  <a:lnTo>
                    <a:pt x="1050" y="1152"/>
                  </a:lnTo>
                  <a:lnTo>
                    <a:pt x="1020" y="1098"/>
                  </a:lnTo>
                  <a:lnTo>
                    <a:pt x="978" y="1026"/>
                  </a:lnTo>
                  <a:lnTo>
                    <a:pt x="978" y="1014"/>
                  </a:lnTo>
                  <a:lnTo>
                    <a:pt x="972" y="1014"/>
                  </a:lnTo>
                  <a:lnTo>
                    <a:pt x="972" y="1008"/>
                  </a:lnTo>
                  <a:lnTo>
                    <a:pt x="978" y="1002"/>
                  </a:lnTo>
                  <a:lnTo>
                    <a:pt x="960" y="966"/>
                  </a:lnTo>
                  <a:lnTo>
                    <a:pt x="948" y="954"/>
                  </a:lnTo>
                  <a:lnTo>
                    <a:pt x="948" y="936"/>
                  </a:lnTo>
                  <a:lnTo>
                    <a:pt x="936" y="900"/>
                  </a:lnTo>
                  <a:lnTo>
                    <a:pt x="942" y="876"/>
                  </a:lnTo>
                  <a:lnTo>
                    <a:pt x="942" y="834"/>
                  </a:lnTo>
                  <a:lnTo>
                    <a:pt x="960" y="828"/>
                  </a:lnTo>
                  <a:lnTo>
                    <a:pt x="966" y="816"/>
                  </a:lnTo>
                  <a:lnTo>
                    <a:pt x="972" y="810"/>
                  </a:lnTo>
                  <a:lnTo>
                    <a:pt x="978" y="804"/>
                  </a:lnTo>
                  <a:lnTo>
                    <a:pt x="996" y="798"/>
                  </a:lnTo>
                  <a:lnTo>
                    <a:pt x="996" y="792"/>
                  </a:lnTo>
                  <a:lnTo>
                    <a:pt x="1014" y="780"/>
                  </a:lnTo>
                  <a:lnTo>
                    <a:pt x="1026" y="768"/>
                  </a:lnTo>
                  <a:lnTo>
                    <a:pt x="1032" y="762"/>
                  </a:lnTo>
                  <a:lnTo>
                    <a:pt x="1026" y="756"/>
                  </a:lnTo>
                  <a:lnTo>
                    <a:pt x="1014" y="744"/>
                  </a:lnTo>
                  <a:lnTo>
                    <a:pt x="996" y="756"/>
                  </a:lnTo>
                  <a:lnTo>
                    <a:pt x="954" y="768"/>
                  </a:lnTo>
                  <a:lnTo>
                    <a:pt x="942" y="762"/>
                  </a:lnTo>
                  <a:lnTo>
                    <a:pt x="942" y="756"/>
                  </a:lnTo>
                  <a:lnTo>
                    <a:pt x="936" y="750"/>
                  </a:lnTo>
                  <a:lnTo>
                    <a:pt x="846" y="732"/>
                  </a:lnTo>
                  <a:lnTo>
                    <a:pt x="822" y="726"/>
                  </a:lnTo>
                  <a:lnTo>
                    <a:pt x="810" y="714"/>
                  </a:lnTo>
                  <a:lnTo>
                    <a:pt x="792" y="690"/>
                  </a:lnTo>
                  <a:lnTo>
                    <a:pt x="792" y="678"/>
                  </a:lnTo>
                  <a:lnTo>
                    <a:pt x="762" y="642"/>
                  </a:lnTo>
                  <a:lnTo>
                    <a:pt x="750" y="636"/>
                  </a:lnTo>
                  <a:lnTo>
                    <a:pt x="726" y="630"/>
                  </a:lnTo>
                  <a:lnTo>
                    <a:pt x="696" y="642"/>
                  </a:lnTo>
                  <a:lnTo>
                    <a:pt x="678" y="654"/>
                  </a:lnTo>
                  <a:lnTo>
                    <a:pt x="666" y="684"/>
                  </a:lnTo>
                  <a:lnTo>
                    <a:pt x="660" y="726"/>
                  </a:lnTo>
                  <a:lnTo>
                    <a:pt x="606" y="756"/>
                  </a:lnTo>
                  <a:lnTo>
                    <a:pt x="558" y="780"/>
                  </a:lnTo>
                  <a:lnTo>
                    <a:pt x="438" y="834"/>
                  </a:lnTo>
                  <a:lnTo>
                    <a:pt x="402" y="846"/>
                  </a:lnTo>
                  <a:lnTo>
                    <a:pt x="372" y="870"/>
                  </a:lnTo>
                  <a:lnTo>
                    <a:pt x="360" y="876"/>
                  </a:lnTo>
                  <a:lnTo>
                    <a:pt x="354" y="876"/>
                  </a:lnTo>
                  <a:lnTo>
                    <a:pt x="330" y="882"/>
                  </a:lnTo>
                  <a:lnTo>
                    <a:pt x="306" y="882"/>
                  </a:lnTo>
                  <a:lnTo>
                    <a:pt x="300" y="876"/>
                  </a:lnTo>
                  <a:lnTo>
                    <a:pt x="294" y="876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76" y="864"/>
                  </a:lnTo>
                  <a:lnTo>
                    <a:pt x="270" y="870"/>
                  </a:lnTo>
                  <a:lnTo>
                    <a:pt x="264" y="870"/>
                  </a:lnTo>
                  <a:lnTo>
                    <a:pt x="240" y="894"/>
                  </a:lnTo>
                  <a:lnTo>
                    <a:pt x="234" y="894"/>
                  </a:lnTo>
                  <a:lnTo>
                    <a:pt x="228" y="900"/>
                  </a:lnTo>
                  <a:lnTo>
                    <a:pt x="222" y="906"/>
                  </a:lnTo>
                  <a:lnTo>
                    <a:pt x="210" y="912"/>
                  </a:lnTo>
                  <a:lnTo>
                    <a:pt x="204" y="912"/>
                  </a:lnTo>
                  <a:lnTo>
                    <a:pt x="198" y="912"/>
                  </a:lnTo>
                  <a:lnTo>
                    <a:pt x="192" y="918"/>
                  </a:lnTo>
                  <a:lnTo>
                    <a:pt x="180" y="918"/>
                  </a:lnTo>
                  <a:lnTo>
                    <a:pt x="174" y="930"/>
                  </a:lnTo>
                  <a:lnTo>
                    <a:pt x="174" y="936"/>
                  </a:lnTo>
                  <a:lnTo>
                    <a:pt x="168" y="942"/>
                  </a:lnTo>
                  <a:lnTo>
                    <a:pt x="162" y="942"/>
                  </a:lnTo>
                  <a:lnTo>
                    <a:pt x="150" y="960"/>
                  </a:lnTo>
                  <a:lnTo>
                    <a:pt x="144" y="966"/>
                  </a:lnTo>
                  <a:lnTo>
                    <a:pt x="138" y="972"/>
                  </a:lnTo>
                  <a:lnTo>
                    <a:pt x="132" y="972"/>
                  </a:lnTo>
                  <a:lnTo>
                    <a:pt x="126" y="984"/>
                  </a:lnTo>
                  <a:lnTo>
                    <a:pt x="120" y="984"/>
                  </a:lnTo>
                  <a:lnTo>
                    <a:pt x="114" y="990"/>
                  </a:lnTo>
                  <a:lnTo>
                    <a:pt x="96" y="990"/>
                  </a:lnTo>
                  <a:lnTo>
                    <a:pt x="90" y="990"/>
                  </a:lnTo>
                  <a:lnTo>
                    <a:pt x="78" y="990"/>
                  </a:lnTo>
                  <a:lnTo>
                    <a:pt x="72" y="990"/>
                  </a:lnTo>
                  <a:lnTo>
                    <a:pt x="60" y="990"/>
                  </a:lnTo>
                  <a:lnTo>
                    <a:pt x="42" y="990"/>
                  </a:lnTo>
                  <a:lnTo>
                    <a:pt x="36" y="996"/>
                  </a:lnTo>
                  <a:lnTo>
                    <a:pt x="30" y="1002"/>
                  </a:lnTo>
                  <a:lnTo>
                    <a:pt x="24" y="1014"/>
                  </a:lnTo>
                  <a:lnTo>
                    <a:pt x="24" y="1020"/>
                  </a:lnTo>
                  <a:lnTo>
                    <a:pt x="18" y="1020"/>
                  </a:lnTo>
                  <a:lnTo>
                    <a:pt x="12" y="1014"/>
                  </a:lnTo>
                  <a:lnTo>
                    <a:pt x="12" y="1008"/>
                  </a:lnTo>
                  <a:lnTo>
                    <a:pt x="12" y="990"/>
                  </a:lnTo>
                  <a:lnTo>
                    <a:pt x="12" y="984"/>
                  </a:lnTo>
                  <a:lnTo>
                    <a:pt x="12" y="972"/>
                  </a:lnTo>
                  <a:lnTo>
                    <a:pt x="12" y="966"/>
                  </a:lnTo>
                  <a:lnTo>
                    <a:pt x="6" y="966"/>
                  </a:lnTo>
                  <a:lnTo>
                    <a:pt x="6" y="960"/>
                  </a:lnTo>
                  <a:lnTo>
                    <a:pt x="6" y="954"/>
                  </a:lnTo>
                  <a:lnTo>
                    <a:pt x="6" y="948"/>
                  </a:lnTo>
                  <a:lnTo>
                    <a:pt x="6" y="942"/>
                  </a:lnTo>
                  <a:lnTo>
                    <a:pt x="12" y="930"/>
                  </a:lnTo>
                  <a:lnTo>
                    <a:pt x="6" y="924"/>
                  </a:lnTo>
                  <a:lnTo>
                    <a:pt x="6" y="918"/>
                  </a:lnTo>
                  <a:lnTo>
                    <a:pt x="6" y="912"/>
                  </a:lnTo>
                  <a:lnTo>
                    <a:pt x="6" y="906"/>
                  </a:lnTo>
                  <a:lnTo>
                    <a:pt x="6" y="900"/>
                  </a:lnTo>
                  <a:lnTo>
                    <a:pt x="0" y="894"/>
                  </a:lnTo>
                  <a:lnTo>
                    <a:pt x="0" y="888"/>
                  </a:lnTo>
                  <a:lnTo>
                    <a:pt x="0" y="882"/>
                  </a:lnTo>
                  <a:lnTo>
                    <a:pt x="6" y="876"/>
                  </a:lnTo>
                  <a:lnTo>
                    <a:pt x="6" y="870"/>
                  </a:lnTo>
                  <a:lnTo>
                    <a:pt x="18" y="864"/>
                  </a:lnTo>
                  <a:lnTo>
                    <a:pt x="18" y="858"/>
                  </a:lnTo>
                  <a:lnTo>
                    <a:pt x="18" y="846"/>
                  </a:lnTo>
                  <a:lnTo>
                    <a:pt x="18" y="834"/>
                  </a:lnTo>
                  <a:lnTo>
                    <a:pt x="18" y="828"/>
                  </a:lnTo>
                  <a:lnTo>
                    <a:pt x="24" y="828"/>
                  </a:lnTo>
                  <a:lnTo>
                    <a:pt x="24" y="810"/>
                  </a:lnTo>
                  <a:lnTo>
                    <a:pt x="24" y="804"/>
                  </a:lnTo>
                  <a:lnTo>
                    <a:pt x="18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24" y="792"/>
                  </a:lnTo>
                  <a:lnTo>
                    <a:pt x="30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6" y="762"/>
                  </a:lnTo>
                  <a:lnTo>
                    <a:pt x="36" y="756"/>
                  </a:lnTo>
                  <a:lnTo>
                    <a:pt x="30" y="756"/>
                  </a:lnTo>
                  <a:lnTo>
                    <a:pt x="30" y="750"/>
                  </a:lnTo>
                  <a:lnTo>
                    <a:pt x="36" y="750"/>
                  </a:lnTo>
                  <a:lnTo>
                    <a:pt x="36" y="744"/>
                  </a:lnTo>
                  <a:lnTo>
                    <a:pt x="30" y="744"/>
                  </a:lnTo>
                  <a:lnTo>
                    <a:pt x="30" y="738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0" y="732"/>
                  </a:lnTo>
                  <a:lnTo>
                    <a:pt x="36" y="726"/>
                  </a:lnTo>
                  <a:lnTo>
                    <a:pt x="30" y="726"/>
                  </a:lnTo>
                  <a:lnTo>
                    <a:pt x="24" y="726"/>
                  </a:lnTo>
                  <a:lnTo>
                    <a:pt x="30" y="720"/>
                  </a:lnTo>
                  <a:lnTo>
                    <a:pt x="30" y="714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696"/>
                  </a:lnTo>
                  <a:lnTo>
                    <a:pt x="66" y="702"/>
                  </a:lnTo>
                  <a:lnTo>
                    <a:pt x="78" y="702"/>
                  </a:lnTo>
                  <a:lnTo>
                    <a:pt x="84" y="702"/>
                  </a:lnTo>
                  <a:lnTo>
                    <a:pt x="96" y="696"/>
                  </a:lnTo>
                  <a:lnTo>
                    <a:pt x="102" y="690"/>
                  </a:lnTo>
                  <a:lnTo>
                    <a:pt x="102" y="684"/>
                  </a:lnTo>
                  <a:lnTo>
                    <a:pt x="114" y="684"/>
                  </a:lnTo>
                  <a:lnTo>
                    <a:pt x="144" y="684"/>
                  </a:lnTo>
                  <a:lnTo>
                    <a:pt x="150" y="690"/>
                  </a:lnTo>
                  <a:lnTo>
                    <a:pt x="162" y="696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6" y="690"/>
                  </a:lnTo>
                  <a:lnTo>
                    <a:pt x="192" y="690"/>
                  </a:lnTo>
                  <a:lnTo>
                    <a:pt x="198" y="684"/>
                  </a:lnTo>
                  <a:lnTo>
                    <a:pt x="204" y="684"/>
                  </a:lnTo>
                  <a:lnTo>
                    <a:pt x="210" y="684"/>
                  </a:lnTo>
                  <a:lnTo>
                    <a:pt x="222" y="678"/>
                  </a:lnTo>
                  <a:lnTo>
                    <a:pt x="228" y="678"/>
                  </a:lnTo>
                  <a:lnTo>
                    <a:pt x="228" y="660"/>
                  </a:lnTo>
                  <a:lnTo>
                    <a:pt x="234" y="642"/>
                  </a:lnTo>
                  <a:lnTo>
                    <a:pt x="246" y="618"/>
                  </a:lnTo>
                  <a:lnTo>
                    <a:pt x="252" y="618"/>
                  </a:lnTo>
                  <a:lnTo>
                    <a:pt x="252" y="600"/>
                  </a:lnTo>
                  <a:lnTo>
                    <a:pt x="252" y="588"/>
                  </a:lnTo>
                  <a:lnTo>
                    <a:pt x="252" y="582"/>
                  </a:lnTo>
                  <a:lnTo>
                    <a:pt x="258" y="576"/>
                  </a:lnTo>
                  <a:lnTo>
                    <a:pt x="270" y="564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70" y="522"/>
                  </a:lnTo>
                  <a:lnTo>
                    <a:pt x="270" y="510"/>
                  </a:lnTo>
                  <a:lnTo>
                    <a:pt x="270" y="498"/>
                  </a:lnTo>
                  <a:lnTo>
                    <a:pt x="258" y="468"/>
                  </a:lnTo>
                  <a:lnTo>
                    <a:pt x="252" y="456"/>
                  </a:lnTo>
                  <a:lnTo>
                    <a:pt x="258" y="444"/>
                  </a:lnTo>
                  <a:lnTo>
                    <a:pt x="264" y="432"/>
                  </a:lnTo>
                  <a:lnTo>
                    <a:pt x="270" y="426"/>
                  </a:lnTo>
                  <a:lnTo>
                    <a:pt x="276" y="420"/>
                  </a:lnTo>
                  <a:lnTo>
                    <a:pt x="288" y="420"/>
                  </a:lnTo>
                  <a:lnTo>
                    <a:pt x="288" y="414"/>
                  </a:lnTo>
                  <a:lnTo>
                    <a:pt x="294" y="414"/>
                  </a:lnTo>
                  <a:lnTo>
                    <a:pt x="306" y="390"/>
                  </a:lnTo>
                  <a:lnTo>
                    <a:pt x="312" y="384"/>
                  </a:lnTo>
                  <a:lnTo>
                    <a:pt x="318" y="378"/>
                  </a:lnTo>
                  <a:lnTo>
                    <a:pt x="318" y="372"/>
                  </a:lnTo>
                  <a:lnTo>
                    <a:pt x="324" y="366"/>
                  </a:lnTo>
                  <a:lnTo>
                    <a:pt x="330" y="354"/>
                  </a:lnTo>
                  <a:lnTo>
                    <a:pt x="336" y="348"/>
                  </a:lnTo>
                  <a:lnTo>
                    <a:pt x="336" y="330"/>
                  </a:lnTo>
                  <a:lnTo>
                    <a:pt x="342" y="324"/>
                  </a:lnTo>
                  <a:lnTo>
                    <a:pt x="342" y="318"/>
                  </a:lnTo>
                  <a:lnTo>
                    <a:pt x="348" y="318"/>
                  </a:lnTo>
                  <a:lnTo>
                    <a:pt x="360" y="318"/>
                  </a:lnTo>
                  <a:lnTo>
                    <a:pt x="372" y="318"/>
                  </a:lnTo>
                  <a:lnTo>
                    <a:pt x="384" y="306"/>
                  </a:lnTo>
                  <a:lnTo>
                    <a:pt x="396" y="300"/>
                  </a:lnTo>
                  <a:lnTo>
                    <a:pt x="396" y="294"/>
                  </a:lnTo>
                  <a:lnTo>
                    <a:pt x="396" y="288"/>
                  </a:lnTo>
                  <a:lnTo>
                    <a:pt x="390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2"/>
                  </a:lnTo>
                  <a:lnTo>
                    <a:pt x="378" y="246"/>
                  </a:lnTo>
                  <a:lnTo>
                    <a:pt x="384" y="228"/>
                  </a:lnTo>
                  <a:lnTo>
                    <a:pt x="390" y="216"/>
                  </a:lnTo>
                  <a:lnTo>
                    <a:pt x="402" y="210"/>
                  </a:lnTo>
                  <a:lnTo>
                    <a:pt x="408" y="210"/>
                  </a:lnTo>
                  <a:lnTo>
                    <a:pt x="420" y="204"/>
                  </a:lnTo>
                  <a:lnTo>
                    <a:pt x="444" y="198"/>
                  </a:lnTo>
                  <a:lnTo>
                    <a:pt x="462" y="192"/>
                  </a:lnTo>
                  <a:lnTo>
                    <a:pt x="474" y="186"/>
                  </a:lnTo>
                  <a:lnTo>
                    <a:pt x="480" y="192"/>
                  </a:lnTo>
                  <a:lnTo>
                    <a:pt x="492" y="192"/>
                  </a:lnTo>
                  <a:lnTo>
                    <a:pt x="498" y="192"/>
                  </a:lnTo>
                  <a:lnTo>
                    <a:pt x="504" y="192"/>
                  </a:lnTo>
                  <a:lnTo>
                    <a:pt x="510" y="192"/>
                  </a:lnTo>
                  <a:lnTo>
                    <a:pt x="516" y="186"/>
                  </a:lnTo>
                  <a:lnTo>
                    <a:pt x="522" y="180"/>
                  </a:lnTo>
                  <a:lnTo>
                    <a:pt x="522" y="174"/>
                  </a:lnTo>
                  <a:lnTo>
                    <a:pt x="528" y="168"/>
                  </a:lnTo>
                  <a:lnTo>
                    <a:pt x="534" y="168"/>
                  </a:lnTo>
                  <a:lnTo>
                    <a:pt x="534" y="156"/>
                  </a:lnTo>
                  <a:lnTo>
                    <a:pt x="534" y="150"/>
                  </a:lnTo>
                  <a:lnTo>
                    <a:pt x="552" y="138"/>
                  </a:lnTo>
                  <a:lnTo>
                    <a:pt x="558" y="126"/>
                  </a:lnTo>
                  <a:lnTo>
                    <a:pt x="558" y="114"/>
                  </a:lnTo>
                  <a:lnTo>
                    <a:pt x="564" y="102"/>
                  </a:lnTo>
                  <a:lnTo>
                    <a:pt x="564" y="96"/>
                  </a:lnTo>
                  <a:lnTo>
                    <a:pt x="564" y="90"/>
                  </a:lnTo>
                  <a:lnTo>
                    <a:pt x="564" y="72"/>
                  </a:lnTo>
                  <a:lnTo>
                    <a:pt x="564" y="60"/>
                  </a:lnTo>
                  <a:lnTo>
                    <a:pt x="564" y="54"/>
                  </a:lnTo>
                  <a:lnTo>
                    <a:pt x="570" y="42"/>
                  </a:lnTo>
                  <a:lnTo>
                    <a:pt x="576" y="42"/>
                  </a:lnTo>
                  <a:lnTo>
                    <a:pt x="582" y="36"/>
                  </a:lnTo>
                  <a:lnTo>
                    <a:pt x="594" y="36"/>
                  </a:lnTo>
                  <a:lnTo>
                    <a:pt x="594" y="30"/>
                  </a:lnTo>
                  <a:lnTo>
                    <a:pt x="600" y="24"/>
                  </a:lnTo>
                  <a:lnTo>
                    <a:pt x="600" y="12"/>
                  </a:lnTo>
                  <a:lnTo>
                    <a:pt x="606" y="6"/>
                  </a:lnTo>
                  <a:lnTo>
                    <a:pt x="606" y="0"/>
                  </a:lnTo>
                  <a:lnTo>
                    <a:pt x="612" y="0"/>
                  </a:lnTo>
                  <a:lnTo>
                    <a:pt x="618" y="0"/>
                  </a:lnTo>
                  <a:lnTo>
                    <a:pt x="624" y="6"/>
                  </a:lnTo>
                  <a:lnTo>
                    <a:pt x="624" y="12"/>
                  </a:lnTo>
                  <a:lnTo>
                    <a:pt x="624" y="18"/>
                  </a:lnTo>
                  <a:lnTo>
                    <a:pt x="624" y="24"/>
                  </a:lnTo>
                  <a:lnTo>
                    <a:pt x="624" y="30"/>
                  </a:lnTo>
                  <a:lnTo>
                    <a:pt x="630" y="30"/>
                  </a:lnTo>
                  <a:lnTo>
                    <a:pt x="630" y="36"/>
                  </a:lnTo>
                  <a:lnTo>
                    <a:pt x="630" y="42"/>
                  </a:lnTo>
                  <a:lnTo>
                    <a:pt x="630" y="48"/>
                  </a:lnTo>
                  <a:lnTo>
                    <a:pt x="636" y="54"/>
                  </a:lnTo>
                  <a:lnTo>
                    <a:pt x="642" y="48"/>
                  </a:lnTo>
                  <a:lnTo>
                    <a:pt x="648" y="48"/>
                  </a:lnTo>
                  <a:lnTo>
                    <a:pt x="648" y="60"/>
                  </a:lnTo>
                  <a:lnTo>
                    <a:pt x="654" y="66"/>
                  </a:lnTo>
                  <a:lnTo>
                    <a:pt x="660" y="72"/>
                  </a:lnTo>
                  <a:lnTo>
                    <a:pt x="666" y="72"/>
                  </a:lnTo>
                  <a:lnTo>
                    <a:pt x="666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72" y="66"/>
                  </a:lnTo>
                  <a:lnTo>
                    <a:pt x="678" y="66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6" y="66"/>
                  </a:lnTo>
                  <a:lnTo>
                    <a:pt x="696" y="72"/>
                  </a:lnTo>
                  <a:lnTo>
                    <a:pt x="702" y="72"/>
                  </a:lnTo>
                  <a:lnTo>
                    <a:pt x="708" y="72"/>
                  </a:lnTo>
                  <a:lnTo>
                    <a:pt x="720" y="66"/>
                  </a:lnTo>
                  <a:lnTo>
                    <a:pt x="726" y="78"/>
                  </a:lnTo>
                  <a:lnTo>
                    <a:pt x="744" y="84"/>
                  </a:lnTo>
                  <a:lnTo>
                    <a:pt x="744" y="90"/>
                  </a:lnTo>
                  <a:lnTo>
                    <a:pt x="744" y="96"/>
                  </a:lnTo>
                  <a:lnTo>
                    <a:pt x="738" y="96"/>
                  </a:lnTo>
                  <a:lnTo>
                    <a:pt x="738" y="102"/>
                  </a:lnTo>
                  <a:lnTo>
                    <a:pt x="732" y="102"/>
                  </a:lnTo>
                  <a:lnTo>
                    <a:pt x="732" y="108"/>
                  </a:lnTo>
                  <a:lnTo>
                    <a:pt x="738" y="108"/>
                  </a:lnTo>
                  <a:lnTo>
                    <a:pt x="744" y="114"/>
                  </a:lnTo>
                  <a:lnTo>
                    <a:pt x="750" y="108"/>
                  </a:lnTo>
                  <a:lnTo>
                    <a:pt x="756" y="108"/>
                  </a:lnTo>
                  <a:lnTo>
                    <a:pt x="762" y="108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80" y="120"/>
                  </a:lnTo>
                  <a:lnTo>
                    <a:pt x="774" y="120"/>
                  </a:lnTo>
                  <a:lnTo>
                    <a:pt x="768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74" y="138"/>
                  </a:lnTo>
                  <a:lnTo>
                    <a:pt x="774" y="132"/>
                  </a:lnTo>
                  <a:lnTo>
                    <a:pt x="780" y="132"/>
                  </a:lnTo>
                  <a:lnTo>
                    <a:pt x="786" y="132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44"/>
                  </a:lnTo>
                  <a:lnTo>
                    <a:pt x="786" y="150"/>
                  </a:lnTo>
                  <a:lnTo>
                    <a:pt x="780" y="150"/>
                  </a:lnTo>
                  <a:lnTo>
                    <a:pt x="774" y="150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74" y="162"/>
                  </a:lnTo>
                  <a:lnTo>
                    <a:pt x="780" y="162"/>
                  </a:lnTo>
                  <a:lnTo>
                    <a:pt x="786" y="168"/>
                  </a:lnTo>
                  <a:lnTo>
                    <a:pt x="792" y="162"/>
                  </a:lnTo>
                  <a:lnTo>
                    <a:pt x="798" y="168"/>
                  </a:lnTo>
                  <a:lnTo>
                    <a:pt x="798" y="174"/>
                  </a:lnTo>
                  <a:lnTo>
                    <a:pt x="804" y="168"/>
                  </a:lnTo>
                  <a:lnTo>
                    <a:pt x="810" y="168"/>
                  </a:lnTo>
                  <a:lnTo>
                    <a:pt x="810" y="174"/>
                  </a:lnTo>
                  <a:lnTo>
                    <a:pt x="816" y="168"/>
                  </a:lnTo>
                  <a:lnTo>
                    <a:pt x="822" y="162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74"/>
                  </a:lnTo>
                  <a:lnTo>
                    <a:pt x="834" y="192"/>
                  </a:lnTo>
                  <a:lnTo>
                    <a:pt x="834" y="198"/>
                  </a:lnTo>
                  <a:lnTo>
                    <a:pt x="840" y="192"/>
                  </a:lnTo>
                  <a:lnTo>
                    <a:pt x="846" y="192"/>
                  </a:lnTo>
                  <a:lnTo>
                    <a:pt x="852" y="186"/>
                  </a:lnTo>
                  <a:lnTo>
                    <a:pt x="858" y="192"/>
                  </a:lnTo>
                  <a:lnTo>
                    <a:pt x="864" y="192"/>
                  </a:lnTo>
                  <a:lnTo>
                    <a:pt x="870" y="198"/>
                  </a:lnTo>
                  <a:lnTo>
                    <a:pt x="876" y="180"/>
                  </a:lnTo>
                  <a:lnTo>
                    <a:pt x="882" y="180"/>
                  </a:lnTo>
                  <a:lnTo>
                    <a:pt x="888" y="180"/>
                  </a:lnTo>
                  <a:lnTo>
                    <a:pt x="894" y="186"/>
                  </a:lnTo>
                  <a:lnTo>
                    <a:pt x="888" y="198"/>
                  </a:lnTo>
                  <a:lnTo>
                    <a:pt x="894" y="204"/>
                  </a:lnTo>
                  <a:lnTo>
                    <a:pt x="906" y="210"/>
                  </a:lnTo>
                  <a:lnTo>
                    <a:pt x="918" y="246"/>
                  </a:lnTo>
                  <a:lnTo>
                    <a:pt x="930" y="258"/>
                  </a:lnTo>
                  <a:lnTo>
                    <a:pt x="942" y="282"/>
                  </a:lnTo>
                  <a:lnTo>
                    <a:pt x="966" y="288"/>
                  </a:lnTo>
                  <a:lnTo>
                    <a:pt x="972" y="300"/>
                  </a:lnTo>
                  <a:lnTo>
                    <a:pt x="972" y="318"/>
                  </a:lnTo>
                  <a:lnTo>
                    <a:pt x="996" y="336"/>
                  </a:lnTo>
                  <a:lnTo>
                    <a:pt x="1050" y="390"/>
                  </a:lnTo>
                  <a:lnTo>
                    <a:pt x="1116" y="462"/>
                  </a:lnTo>
                  <a:lnTo>
                    <a:pt x="1122" y="468"/>
                  </a:lnTo>
                  <a:lnTo>
                    <a:pt x="1128" y="474"/>
                  </a:lnTo>
                  <a:lnTo>
                    <a:pt x="1140" y="474"/>
                  </a:lnTo>
                  <a:lnTo>
                    <a:pt x="1152" y="486"/>
                  </a:lnTo>
                  <a:lnTo>
                    <a:pt x="1152" y="492"/>
                  </a:lnTo>
                  <a:lnTo>
                    <a:pt x="1158" y="492"/>
                  </a:lnTo>
                  <a:lnTo>
                    <a:pt x="1164" y="492"/>
                  </a:lnTo>
                  <a:lnTo>
                    <a:pt x="1170" y="504"/>
                  </a:lnTo>
                  <a:lnTo>
                    <a:pt x="1176" y="504"/>
                  </a:lnTo>
                  <a:lnTo>
                    <a:pt x="1176" y="510"/>
                  </a:lnTo>
                  <a:lnTo>
                    <a:pt x="1200" y="516"/>
                  </a:lnTo>
                  <a:lnTo>
                    <a:pt x="1200" y="522"/>
                  </a:lnTo>
                  <a:lnTo>
                    <a:pt x="1212" y="534"/>
                  </a:lnTo>
                  <a:lnTo>
                    <a:pt x="1218" y="540"/>
                  </a:lnTo>
                  <a:lnTo>
                    <a:pt x="1224" y="552"/>
                  </a:lnTo>
                  <a:lnTo>
                    <a:pt x="1230" y="552"/>
                  </a:lnTo>
                  <a:lnTo>
                    <a:pt x="1242" y="552"/>
                  </a:lnTo>
                  <a:lnTo>
                    <a:pt x="1248" y="558"/>
                  </a:lnTo>
                  <a:lnTo>
                    <a:pt x="1254" y="558"/>
                  </a:lnTo>
                  <a:lnTo>
                    <a:pt x="1260" y="564"/>
                  </a:lnTo>
                  <a:lnTo>
                    <a:pt x="1266" y="564"/>
                  </a:lnTo>
                  <a:lnTo>
                    <a:pt x="1272" y="564"/>
                  </a:lnTo>
                  <a:lnTo>
                    <a:pt x="1284" y="564"/>
                  </a:lnTo>
                  <a:lnTo>
                    <a:pt x="1290" y="570"/>
                  </a:lnTo>
                  <a:lnTo>
                    <a:pt x="1296" y="576"/>
                  </a:lnTo>
                  <a:lnTo>
                    <a:pt x="1302" y="588"/>
                  </a:lnTo>
                  <a:lnTo>
                    <a:pt x="1296" y="594"/>
                  </a:lnTo>
                  <a:lnTo>
                    <a:pt x="1296" y="600"/>
                  </a:lnTo>
                  <a:lnTo>
                    <a:pt x="1296" y="606"/>
                  </a:lnTo>
                  <a:lnTo>
                    <a:pt x="1290" y="612"/>
                  </a:lnTo>
                  <a:lnTo>
                    <a:pt x="1290" y="624"/>
                  </a:lnTo>
                  <a:lnTo>
                    <a:pt x="1290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308" y="654"/>
                  </a:lnTo>
                  <a:lnTo>
                    <a:pt x="1320" y="654"/>
                  </a:lnTo>
                  <a:lnTo>
                    <a:pt x="1326" y="660"/>
                  </a:lnTo>
                  <a:lnTo>
                    <a:pt x="1338" y="654"/>
                  </a:lnTo>
                  <a:lnTo>
                    <a:pt x="1344" y="654"/>
                  </a:lnTo>
                  <a:lnTo>
                    <a:pt x="1356" y="654"/>
                  </a:lnTo>
                  <a:lnTo>
                    <a:pt x="1362" y="648"/>
                  </a:lnTo>
                  <a:lnTo>
                    <a:pt x="1368" y="642"/>
                  </a:lnTo>
                  <a:lnTo>
                    <a:pt x="1374" y="636"/>
                  </a:lnTo>
                  <a:lnTo>
                    <a:pt x="1380" y="636"/>
                  </a:lnTo>
                  <a:lnTo>
                    <a:pt x="1392" y="636"/>
                  </a:lnTo>
                  <a:lnTo>
                    <a:pt x="1398" y="636"/>
                  </a:lnTo>
                  <a:lnTo>
                    <a:pt x="1404" y="636"/>
                  </a:lnTo>
                  <a:lnTo>
                    <a:pt x="1410" y="630"/>
                  </a:lnTo>
                  <a:lnTo>
                    <a:pt x="1410" y="624"/>
                  </a:lnTo>
                  <a:lnTo>
                    <a:pt x="1422" y="618"/>
                  </a:lnTo>
                  <a:lnTo>
                    <a:pt x="1428" y="618"/>
                  </a:lnTo>
                  <a:lnTo>
                    <a:pt x="1440" y="612"/>
                  </a:lnTo>
                  <a:lnTo>
                    <a:pt x="1446" y="612"/>
                  </a:lnTo>
                  <a:lnTo>
                    <a:pt x="1458" y="612"/>
                  </a:lnTo>
                  <a:lnTo>
                    <a:pt x="1470" y="624"/>
                  </a:lnTo>
                  <a:lnTo>
                    <a:pt x="1488" y="642"/>
                  </a:lnTo>
                  <a:lnTo>
                    <a:pt x="1500" y="648"/>
                  </a:lnTo>
                  <a:lnTo>
                    <a:pt x="1512" y="654"/>
                  </a:lnTo>
                  <a:lnTo>
                    <a:pt x="1518" y="660"/>
                  </a:lnTo>
                  <a:lnTo>
                    <a:pt x="1524" y="660"/>
                  </a:lnTo>
                  <a:lnTo>
                    <a:pt x="1530" y="660"/>
                  </a:lnTo>
                  <a:lnTo>
                    <a:pt x="1536" y="666"/>
                  </a:lnTo>
                  <a:lnTo>
                    <a:pt x="1542" y="672"/>
                  </a:lnTo>
                  <a:lnTo>
                    <a:pt x="1548" y="672"/>
                  </a:lnTo>
                  <a:lnTo>
                    <a:pt x="1554" y="684"/>
                  </a:lnTo>
                  <a:lnTo>
                    <a:pt x="1554" y="690"/>
                  </a:lnTo>
                  <a:lnTo>
                    <a:pt x="1566" y="702"/>
                  </a:lnTo>
                  <a:lnTo>
                    <a:pt x="1572" y="720"/>
                  </a:lnTo>
                  <a:lnTo>
                    <a:pt x="1572" y="726"/>
                  </a:lnTo>
                  <a:lnTo>
                    <a:pt x="1578" y="732"/>
                  </a:lnTo>
                  <a:lnTo>
                    <a:pt x="1584" y="738"/>
                  </a:lnTo>
                  <a:lnTo>
                    <a:pt x="1590" y="738"/>
                  </a:lnTo>
                  <a:lnTo>
                    <a:pt x="1596" y="738"/>
                  </a:lnTo>
                  <a:lnTo>
                    <a:pt x="1602" y="744"/>
                  </a:lnTo>
                  <a:lnTo>
                    <a:pt x="1608" y="744"/>
                  </a:lnTo>
                  <a:lnTo>
                    <a:pt x="1614" y="744"/>
                  </a:lnTo>
                  <a:lnTo>
                    <a:pt x="1626" y="744"/>
                  </a:lnTo>
                  <a:lnTo>
                    <a:pt x="1638" y="744"/>
                  </a:lnTo>
                  <a:lnTo>
                    <a:pt x="1650" y="744"/>
                  </a:lnTo>
                  <a:lnTo>
                    <a:pt x="1662" y="744"/>
                  </a:lnTo>
                  <a:lnTo>
                    <a:pt x="1668" y="744"/>
                  </a:lnTo>
                  <a:lnTo>
                    <a:pt x="1674" y="744"/>
                  </a:lnTo>
                  <a:lnTo>
                    <a:pt x="1686" y="744"/>
                  </a:lnTo>
                  <a:lnTo>
                    <a:pt x="1698" y="750"/>
                  </a:lnTo>
                  <a:lnTo>
                    <a:pt x="1704" y="750"/>
                  </a:lnTo>
                  <a:lnTo>
                    <a:pt x="1716" y="756"/>
                  </a:lnTo>
                  <a:lnTo>
                    <a:pt x="1722" y="756"/>
                  </a:lnTo>
                  <a:lnTo>
                    <a:pt x="1728" y="756"/>
                  </a:lnTo>
                  <a:lnTo>
                    <a:pt x="1734" y="762"/>
                  </a:lnTo>
                  <a:lnTo>
                    <a:pt x="1740" y="768"/>
                  </a:lnTo>
                  <a:lnTo>
                    <a:pt x="1758" y="780"/>
                  </a:lnTo>
                  <a:lnTo>
                    <a:pt x="1770" y="780"/>
                  </a:lnTo>
                  <a:lnTo>
                    <a:pt x="1776" y="780"/>
                  </a:lnTo>
                  <a:lnTo>
                    <a:pt x="1782" y="780"/>
                  </a:lnTo>
                  <a:lnTo>
                    <a:pt x="1800" y="798"/>
                  </a:lnTo>
                  <a:lnTo>
                    <a:pt x="1818" y="810"/>
                  </a:lnTo>
                  <a:lnTo>
                    <a:pt x="1830" y="816"/>
                  </a:lnTo>
                  <a:lnTo>
                    <a:pt x="1836" y="822"/>
                  </a:lnTo>
                  <a:lnTo>
                    <a:pt x="1836" y="828"/>
                  </a:lnTo>
                  <a:lnTo>
                    <a:pt x="1842" y="828"/>
                  </a:lnTo>
                  <a:lnTo>
                    <a:pt x="1848" y="834"/>
                  </a:lnTo>
                  <a:lnTo>
                    <a:pt x="1854" y="840"/>
                  </a:lnTo>
                  <a:lnTo>
                    <a:pt x="1860" y="846"/>
                  </a:lnTo>
                  <a:lnTo>
                    <a:pt x="1872" y="852"/>
                  </a:lnTo>
                  <a:lnTo>
                    <a:pt x="1884" y="852"/>
                  </a:lnTo>
                  <a:lnTo>
                    <a:pt x="1896" y="852"/>
                  </a:lnTo>
                  <a:lnTo>
                    <a:pt x="1902" y="846"/>
                  </a:lnTo>
                  <a:lnTo>
                    <a:pt x="1908" y="852"/>
                  </a:lnTo>
                  <a:lnTo>
                    <a:pt x="1920" y="858"/>
                  </a:lnTo>
                  <a:lnTo>
                    <a:pt x="1926" y="870"/>
                  </a:lnTo>
                  <a:lnTo>
                    <a:pt x="1938" y="888"/>
                  </a:lnTo>
                  <a:lnTo>
                    <a:pt x="1944" y="900"/>
                  </a:lnTo>
                  <a:lnTo>
                    <a:pt x="1950" y="900"/>
                  </a:lnTo>
                  <a:lnTo>
                    <a:pt x="1962" y="906"/>
                  </a:lnTo>
                  <a:lnTo>
                    <a:pt x="1968" y="906"/>
                  </a:lnTo>
                  <a:lnTo>
                    <a:pt x="1980" y="906"/>
                  </a:lnTo>
                  <a:lnTo>
                    <a:pt x="1998" y="906"/>
                  </a:lnTo>
                  <a:lnTo>
                    <a:pt x="2010" y="900"/>
                  </a:lnTo>
                  <a:lnTo>
                    <a:pt x="2022" y="900"/>
                  </a:lnTo>
                  <a:lnTo>
                    <a:pt x="2028" y="900"/>
                  </a:lnTo>
                  <a:lnTo>
                    <a:pt x="2034" y="906"/>
                  </a:lnTo>
                  <a:lnTo>
                    <a:pt x="2046" y="906"/>
                  </a:lnTo>
                  <a:lnTo>
                    <a:pt x="2052" y="900"/>
                  </a:lnTo>
                  <a:lnTo>
                    <a:pt x="2058" y="900"/>
                  </a:lnTo>
                  <a:lnTo>
                    <a:pt x="2064" y="900"/>
                  </a:lnTo>
                  <a:lnTo>
                    <a:pt x="2070" y="900"/>
                  </a:lnTo>
                  <a:lnTo>
                    <a:pt x="2076" y="900"/>
                  </a:lnTo>
                  <a:lnTo>
                    <a:pt x="2076" y="906"/>
                  </a:lnTo>
                  <a:lnTo>
                    <a:pt x="2088" y="906"/>
                  </a:lnTo>
                  <a:lnTo>
                    <a:pt x="2106" y="900"/>
                  </a:lnTo>
                  <a:lnTo>
                    <a:pt x="2118" y="900"/>
                  </a:lnTo>
                  <a:lnTo>
                    <a:pt x="2130" y="900"/>
                  </a:lnTo>
                  <a:lnTo>
                    <a:pt x="2142" y="900"/>
                  </a:lnTo>
                  <a:lnTo>
                    <a:pt x="2148" y="906"/>
                  </a:lnTo>
                  <a:lnTo>
                    <a:pt x="2154" y="906"/>
                  </a:lnTo>
                  <a:lnTo>
                    <a:pt x="2160" y="906"/>
                  </a:lnTo>
                  <a:lnTo>
                    <a:pt x="2166" y="906"/>
                  </a:lnTo>
                  <a:lnTo>
                    <a:pt x="2178" y="918"/>
                  </a:lnTo>
                  <a:lnTo>
                    <a:pt x="2178" y="924"/>
                  </a:lnTo>
                  <a:lnTo>
                    <a:pt x="2184" y="924"/>
                  </a:lnTo>
                  <a:lnTo>
                    <a:pt x="2190" y="924"/>
                  </a:lnTo>
                  <a:lnTo>
                    <a:pt x="2196" y="924"/>
                  </a:lnTo>
                  <a:lnTo>
                    <a:pt x="2202" y="918"/>
                  </a:lnTo>
                  <a:lnTo>
                    <a:pt x="2208" y="918"/>
                  </a:lnTo>
                  <a:lnTo>
                    <a:pt x="2214" y="918"/>
                  </a:lnTo>
                  <a:lnTo>
                    <a:pt x="2226" y="918"/>
                  </a:lnTo>
                  <a:lnTo>
                    <a:pt x="2220" y="948"/>
                  </a:lnTo>
                  <a:lnTo>
                    <a:pt x="2214" y="972"/>
                  </a:lnTo>
                  <a:lnTo>
                    <a:pt x="2214" y="984"/>
                  </a:lnTo>
                  <a:lnTo>
                    <a:pt x="2208" y="990"/>
                  </a:lnTo>
                  <a:lnTo>
                    <a:pt x="2208" y="996"/>
                  </a:lnTo>
                  <a:lnTo>
                    <a:pt x="2202" y="996"/>
                  </a:lnTo>
                  <a:lnTo>
                    <a:pt x="2196" y="996"/>
                  </a:lnTo>
                  <a:lnTo>
                    <a:pt x="2190" y="1008"/>
                  </a:lnTo>
                  <a:lnTo>
                    <a:pt x="2172" y="1074"/>
                  </a:lnTo>
                  <a:lnTo>
                    <a:pt x="2166" y="1092"/>
                  </a:lnTo>
                  <a:lnTo>
                    <a:pt x="2172" y="1110"/>
                  </a:lnTo>
                  <a:lnTo>
                    <a:pt x="2172" y="1122"/>
                  </a:lnTo>
                  <a:lnTo>
                    <a:pt x="2166" y="1134"/>
                  </a:lnTo>
                  <a:lnTo>
                    <a:pt x="2148" y="1140"/>
                  </a:lnTo>
                  <a:lnTo>
                    <a:pt x="2148" y="1134"/>
                  </a:lnTo>
                  <a:lnTo>
                    <a:pt x="2118" y="1140"/>
                  </a:lnTo>
                  <a:lnTo>
                    <a:pt x="2088" y="1134"/>
                  </a:lnTo>
                  <a:lnTo>
                    <a:pt x="2064" y="1122"/>
                  </a:lnTo>
                  <a:lnTo>
                    <a:pt x="2034" y="1122"/>
                  </a:lnTo>
                  <a:lnTo>
                    <a:pt x="2022" y="1128"/>
                  </a:lnTo>
                  <a:lnTo>
                    <a:pt x="1986" y="1128"/>
                  </a:lnTo>
                  <a:lnTo>
                    <a:pt x="1938" y="1122"/>
                  </a:lnTo>
                  <a:lnTo>
                    <a:pt x="1932" y="1116"/>
                  </a:lnTo>
                  <a:lnTo>
                    <a:pt x="1896" y="1110"/>
                  </a:lnTo>
                  <a:lnTo>
                    <a:pt x="1878" y="1104"/>
                  </a:lnTo>
                  <a:lnTo>
                    <a:pt x="1866" y="1098"/>
                  </a:lnTo>
                  <a:lnTo>
                    <a:pt x="1860" y="1098"/>
                  </a:lnTo>
                  <a:lnTo>
                    <a:pt x="1854" y="1092"/>
                  </a:lnTo>
                  <a:lnTo>
                    <a:pt x="1860" y="1092"/>
                  </a:lnTo>
                  <a:lnTo>
                    <a:pt x="1860" y="1086"/>
                  </a:lnTo>
                  <a:lnTo>
                    <a:pt x="1854" y="1086"/>
                  </a:lnTo>
                  <a:lnTo>
                    <a:pt x="1842" y="1080"/>
                  </a:lnTo>
                  <a:lnTo>
                    <a:pt x="1818" y="1062"/>
                  </a:lnTo>
                  <a:lnTo>
                    <a:pt x="1782" y="1056"/>
                  </a:lnTo>
                  <a:lnTo>
                    <a:pt x="1770" y="1068"/>
                  </a:lnTo>
                  <a:lnTo>
                    <a:pt x="1746" y="1098"/>
                  </a:lnTo>
                  <a:lnTo>
                    <a:pt x="1722" y="1104"/>
                  </a:lnTo>
                  <a:lnTo>
                    <a:pt x="1710" y="1122"/>
                  </a:lnTo>
                  <a:lnTo>
                    <a:pt x="1710" y="1128"/>
                  </a:lnTo>
                  <a:lnTo>
                    <a:pt x="1710" y="1140"/>
                  </a:lnTo>
                  <a:lnTo>
                    <a:pt x="1698" y="1146"/>
                  </a:lnTo>
                  <a:lnTo>
                    <a:pt x="1686" y="1152"/>
                  </a:lnTo>
                  <a:lnTo>
                    <a:pt x="1680" y="1164"/>
                  </a:lnTo>
                  <a:lnTo>
                    <a:pt x="1680" y="1170"/>
                  </a:lnTo>
                  <a:lnTo>
                    <a:pt x="1686" y="1170"/>
                  </a:lnTo>
                  <a:lnTo>
                    <a:pt x="1686" y="1176"/>
                  </a:lnTo>
                  <a:lnTo>
                    <a:pt x="1698" y="1188"/>
                  </a:lnTo>
                  <a:lnTo>
                    <a:pt x="1704" y="1188"/>
                  </a:lnTo>
                  <a:lnTo>
                    <a:pt x="1698" y="1194"/>
                  </a:lnTo>
                  <a:lnTo>
                    <a:pt x="1704" y="1194"/>
                  </a:lnTo>
                  <a:lnTo>
                    <a:pt x="1704" y="1200"/>
                  </a:lnTo>
                  <a:lnTo>
                    <a:pt x="1704" y="1206"/>
                  </a:lnTo>
                  <a:lnTo>
                    <a:pt x="1704" y="1212"/>
                  </a:lnTo>
                  <a:lnTo>
                    <a:pt x="1704" y="1218"/>
                  </a:lnTo>
                  <a:lnTo>
                    <a:pt x="1710" y="1218"/>
                  </a:lnTo>
                  <a:lnTo>
                    <a:pt x="1710" y="1212"/>
                  </a:lnTo>
                  <a:lnTo>
                    <a:pt x="1716" y="1212"/>
                  </a:lnTo>
                  <a:lnTo>
                    <a:pt x="1716" y="1218"/>
                  </a:lnTo>
                  <a:lnTo>
                    <a:pt x="1716" y="1224"/>
                  </a:lnTo>
                  <a:lnTo>
                    <a:pt x="1716" y="1230"/>
                  </a:lnTo>
                  <a:lnTo>
                    <a:pt x="1722" y="1236"/>
                  </a:lnTo>
                  <a:lnTo>
                    <a:pt x="1740" y="1230"/>
                  </a:lnTo>
                  <a:lnTo>
                    <a:pt x="1734" y="1236"/>
                  </a:lnTo>
                  <a:lnTo>
                    <a:pt x="1734" y="1242"/>
                  </a:lnTo>
                  <a:lnTo>
                    <a:pt x="1734" y="1248"/>
                  </a:lnTo>
                  <a:lnTo>
                    <a:pt x="1734" y="1254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52" y="1266"/>
                  </a:lnTo>
                  <a:lnTo>
                    <a:pt x="1764" y="1266"/>
                  </a:lnTo>
                  <a:lnTo>
                    <a:pt x="1788" y="1260"/>
                  </a:lnTo>
                  <a:lnTo>
                    <a:pt x="1800" y="1260"/>
                  </a:lnTo>
                  <a:lnTo>
                    <a:pt x="1806" y="1272"/>
                  </a:lnTo>
                  <a:lnTo>
                    <a:pt x="1806" y="1296"/>
                  </a:lnTo>
                  <a:lnTo>
                    <a:pt x="1800" y="1308"/>
                  </a:lnTo>
                  <a:lnTo>
                    <a:pt x="1788" y="1308"/>
                  </a:lnTo>
                  <a:lnTo>
                    <a:pt x="1782" y="132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7" name="Freeform 32">
              <a:extLst>
                <a:ext uri="{FF2B5EF4-FFF2-40B4-BE49-F238E27FC236}">
                  <a16:creationId xmlns:a16="http://schemas.microsoft.com/office/drawing/2014/main" id="{1EF84438-BF7A-47D2-9156-E231EA2A279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3295" y="2316568"/>
              <a:ext cx="1290281" cy="1084704"/>
            </a:xfrm>
            <a:custGeom>
              <a:avLst/>
              <a:gdLst>
                <a:gd name="T0" fmla="*/ 177 w 2430"/>
                <a:gd name="T1" fmla="*/ 169 h 2040"/>
                <a:gd name="T2" fmla="*/ 174 w 2430"/>
                <a:gd name="T3" fmla="*/ 173 h 2040"/>
                <a:gd name="T4" fmla="*/ 169 w 2430"/>
                <a:gd name="T5" fmla="*/ 171 h 2040"/>
                <a:gd name="T6" fmla="*/ 160 w 2430"/>
                <a:gd name="T7" fmla="*/ 163 h 2040"/>
                <a:gd name="T8" fmla="*/ 154 w 2430"/>
                <a:gd name="T9" fmla="*/ 149 h 2040"/>
                <a:gd name="T10" fmla="*/ 144 w 2430"/>
                <a:gd name="T11" fmla="*/ 147 h 2040"/>
                <a:gd name="T12" fmla="*/ 133 w 2430"/>
                <a:gd name="T13" fmla="*/ 146 h 2040"/>
                <a:gd name="T14" fmla="*/ 121 w 2430"/>
                <a:gd name="T15" fmla="*/ 145 h 2040"/>
                <a:gd name="T16" fmla="*/ 110 w 2430"/>
                <a:gd name="T17" fmla="*/ 137 h 2040"/>
                <a:gd name="T18" fmla="*/ 97 w 2430"/>
                <a:gd name="T19" fmla="*/ 131 h 2040"/>
                <a:gd name="T20" fmla="*/ 87 w 2430"/>
                <a:gd name="T21" fmla="*/ 125 h 2040"/>
                <a:gd name="T22" fmla="*/ 75 w 2430"/>
                <a:gd name="T23" fmla="*/ 122 h 2040"/>
                <a:gd name="T24" fmla="*/ 65 w 2430"/>
                <a:gd name="T25" fmla="*/ 122 h 2040"/>
                <a:gd name="T26" fmla="*/ 59 w 2430"/>
                <a:gd name="T27" fmla="*/ 115 h 2040"/>
                <a:gd name="T28" fmla="*/ 50 w 2430"/>
                <a:gd name="T29" fmla="*/ 107 h 2040"/>
                <a:gd name="T30" fmla="*/ 28 w 2430"/>
                <a:gd name="T31" fmla="*/ 84 h 2040"/>
                <a:gd name="T32" fmla="*/ 22 w 2430"/>
                <a:gd name="T33" fmla="*/ 82 h 2040"/>
                <a:gd name="T34" fmla="*/ 20 w 2430"/>
                <a:gd name="T35" fmla="*/ 79 h 2040"/>
                <a:gd name="T36" fmla="*/ 16 w 2430"/>
                <a:gd name="T37" fmla="*/ 76 h 2040"/>
                <a:gd name="T38" fmla="*/ 11 w 2430"/>
                <a:gd name="T39" fmla="*/ 74 h 2040"/>
                <a:gd name="T40" fmla="*/ 7 w 2430"/>
                <a:gd name="T41" fmla="*/ 69 h 2040"/>
                <a:gd name="T42" fmla="*/ 0 w 2430"/>
                <a:gd name="T43" fmla="*/ 60 h 2040"/>
                <a:gd name="T44" fmla="*/ 10 w 2430"/>
                <a:gd name="T45" fmla="*/ 53 h 2040"/>
                <a:gd name="T46" fmla="*/ 15 w 2430"/>
                <a:gd name="T47" fmla="*/ 40 h 2040"/>
                <a:gd name="T48" fmla="*/ 9 w 2430"/>
                <a:gd name="T49" fmla="*/ 29 h 2040"/>
                <a:gd name="T50" fmla="*/ 7 w 2430"/>
                <a:gd name="T51" fmla="*/ 16 h 2040"/>
                <a:gd name="T52" fmla="*/ 18 w 2430"/>
                <a:gd name="T53" fmla="*/ 21 h 2040"/>
                <a:gd name="T54" fmla="*/ 48 w 2430"/>
                <a:gd name="T55" fmla="*/ 27 h 2040"/>
                <a:gd name="T56" fmla="*/ 62 w 2430"/>
                <a:gd name="T57" fmla="*/ 25 h 2040"/>
                <a:gd name="T58" fmla="*/ 59 w 2430"/>
                <a:gd name="T59" fmla="*/ 42 h 2040"/>
                <a:gd name="T60" fmla="*/ 54 w 2430"/>
                <a:gd name="T61" fmla="*/ 65 h 2040"/>
                <a:gd name="T62" fmla="*/ 65 w 2430"/>
                <a:gd name="T63" fmla="*/ 60 h 2040"/>
                <a:gd name="T64" fmla="*/ 68 w 2430"/>
                <a:gd name="T65" fmla="*/ 40 h 2040"/>
                <a:gd name="T66" fmla="*/ 75 w 2430"/>
                <a:gd name="T67" fmla="*/ 36 h 2040"/>
                <a:gd name="T68" fmla="*/ 83 w 2430"/>
                <a:gd name="T69" fmla="*/ 29 h 2040"/>
                <a:gd name="T70" fmla="*/ 81 w 2430"/>
                <a:gd name="T71" fmla="*/ 17 h 2040"/>
                <a:gd name="T72" fmla="*/ 66 w 2430"/>
                <a:gd name="T73" fmla="*/ 7 h 2040"/>
                <a:gd name="T74" fmla="*/ 80 w 2430"/>
                <a:gd name="T75" fmla="*/ 5 h 2040"/>
                <a:gd name="T76" fmla="*/ 89 w 2430"/>
                <a:gd name="T77" fmla="*/ 1 h 2040"/>
                <a:gd name="T78" fmla="*/ 101 w 2430"/>
                <a:gd name="T79" fmla="*/ 10 h 2040"/>
                <a:gd name="T80" fmla="*/ 103 w 2430"/>
                <a:gd name="T81" fmla="*/ 18 h 2040"/>
                <a:gd name="T82" fmla="*/ 110 w 2430"/>
                <a:gd name="T83" fmla="*/ 23 h 2040"/>
                <a:gd name="T84" fmla="*/ 121 w 2430"/>
                <a:gd name="T85" fmla="*/ 20 h 2040"/>
                <a:gd name="T86" fmla="*/ 129 w 2430"/>
                <a:gd name="T87" fmla="*/ 15 h 2040"/>
                <a:gd name="T88" fmla="*/ 142 w 2430"/>
                <a:gd name="T89" fmla="*/ 23 h 2040"/>
                <a:gd name="T90" fmla="*/ 141 w 2430"/>
                <a:gd name="T91" fmla="*/ 30 h 2040"/>
                <a:gd name="T92" fmla="*/ 140 w 2430"/>
                <a:gd name="T93" fmla="*/ 38 h 2040"/>
                <a:gd name="T94" fmla="*/ 139 w 2430"/>
                <a:gd name="T95" fmla="*/ 46 h 2040"/>
                <a:gd name="T96" fmla="*/ 147 w 2430"/>
                <a:gd name="T97" fmla="*/ 54 h 2040"/>
                <a:gd name="T98" fmla="*/ 152 w 2430"/>
                <a:gd name="T99" fmla="*/ 50 h 2040"/>
                <a:gd name="T100" fmla="*/ 159 w 2430"/>
                <a:gd name="T101" fmla="*/ 43 h 2040"/>
                <a:gd name="T102" fmla="*/ 174 w 2430"/>
                <a:gd name="T103" fmla="*/ 41 h 2040"/>
                <a:gd name="T104" fmla="*/ 190 w 2430"/>
                <a:gd name="T105" fmla="*/ 57 h 2040"/>
                <a:gd name="T106" fmla="*/ 187 w 2430"/>
                <a:gd name="T107" fmla="*/ 66 h 2040"/>
                <a:gd name="T108" fmla="*/ 183 w 2430"/>
                <a:gd name="T109" fmla="*/ 72 h 2040"/>
                <a:gd name="T110" fmla="*/ 194 w 2430"/>
                <a:gd name="T111" fmla="*/ 73 h 2040"/>
                <a:gd name="T112" fmla="*/ 202 w 2430"/>
                <a:gd name="T113" fmla="*/ 74 h 2040"/>
                <a:gd name="T114" fmla="*/ 204 w 2430"/>
                <a:gd name="T115" fmla="*/ 89 h 2040"/>
                <a:gd name="T116" fmla="*/ 208 w 2430"/>
                <a:gd name="T117" fmla="*/ 99 h 2040"/>
                <a:gd name="T118" fmla="*/ 203 w 2430"/>
                <a:gd name="T119" fmla="*/ 103 h 2040"/>
                <a:gd name="T120" fmla="*/ 209 w 2430"/>
                <a:gd name="T121" fmla="*/ 111 h 2040"/>
                <a:gd name="T122" fmla="*/ 204 w 2430"/>
                <a:gd name="T123" fmla="*/ 124 h 2040"/>
                <a:gd name="T124" fmla="*/ 190 w 2430"/>
                <a:gd name="T125" fmla="*/ 117 h 20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30"/>
                <a:gd name="T190" fmla="*/ 0 h 2040"/>
                <a:gd name="T191" fmla="*/ 2430 w 2430"/>
                <a:gd name="T192" fmla="*/ 2040 h 20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30" h="2040">
                  <a:moveTo>
                    <a:pt x="2076" y="1896"/>
                  </a:moveTo>
                  <a:lnTo>
                    <a:pt x="2070" y="1896"/>
                  </a:lnTo>
                  <a:lnTo>
                    <a:pt x="2070" y="1902"/>
                  </a:lnTo>
                  <a:lnTo>
                    <a:pt x="2076" y="1902"/>
                  </a:lnTo>
                  <a:lnTo>
                    <a:pt x="2082" y="1902"/>
                  </a:lnTo>
                  <a:lnTo>
                    <a:pt x="2082" y="1908"/>
                  </a:lnTo>
                  <a:lnTo>
                    <a:pt x="2076" y="1908"/>
                  </a:lnTo>
                  <a:lnTo>
                    <a:pt x="2076" y="1914"/>
                  </a:lnTo>
                  <a:lnTo>
                    <a:pt x="2070" y="1920"/>
                  </a:lnTo>
                  <a:lnTo>
                    <a:pt x="2064" y="1932"/>
                  </a:lnTo>
                  <a:lnTo>
                    <a:pt x="2064" y="1938"/>
                  </a:lnTo>
                  <a:lnTo>
                    <a:pt x="2058" y="1938"/>
                  </a:lnTo>
                  <a:lnTo>
                    <a:pt x="2052" y="1944"/>
                  </a:lnTo>
                  <a:lnTo>
                    <a:pt x="2052" y="1950"/>
                  </a:lnTo>
                  <a:lnTo>
                    <a:pt x="2040" y="1944"/>
                  </a:lnTo>
                  <a:lnTo>
                    <a:pt x="2040" y="1950"/>
                  </a:lnTo>
                  <a:lnTo>
                    <a:pt x="2034" y="1956"/>
                  </a:lnTo>
                  <a:lnTo>
                    <a:pt x="2034" y="1962"/>
                  </a:lnTo>
                  <a:lnTo>
                    <a:pt x="2028" y="1962"/>
                  </a:lnTo>
                  <a:lnTo>
                    <a:pt x="2022" y="1962"/>
                  </a:lnTo>
                  <a:lnTo>
                    <a:pt x="2022" y="1968"/>
                  </a:lnTo>
                  <a:lnTo>
                    <a:pt x="2028" y="1974"/>
                  </a:lnTo>
                  <a:lnTo>
                    <a:pt x="2034" y="1980"/>
                  </a:lnTo>
                  <a:lnTo>
                    <a:pt x="2028" y="1986"/>
                  </a:lnTo>
                  <a:lnTo>
                    <a:pt x="2022" y="1992"/>
                  </a:lnTo>
                  <a:lnTo>
                    <a:pt x="2022" y="1986"/>
                  </a:lnTo>
                  <a:lnTo>
                    <a:pt x="2016" y="1986"/>
                  </a:lnTo>
                  <a:lnTo>
                    <a:pt x="2010" y="1980"/>
                  </a:lnTo>
                  <a:lnTo>
                    <a:pt x="2004" y="1980"/>
                  </a:lnTo>
                  <a:lnTo>
                    <a:pt x="2004" y="1986"/>
                  </a:lnTo>
                  <a:lnTo>
                    <a:pt x="2010" y="1992"/>
                  </a:lnTo>
                  <a:lnTo>
                    <a:pt x="2010" y="1998"/>
                  </a:lnTo>
                  <a:lnTo>
                    <a:pt x="2004" y="2004"/>
                  </a:lnTo>
                  <a:lnTo>
                    <a:pt x="1998" y="2004"/>
                  </a:lnTo>
                  <a:lnTo>
                    <a:pt x="1998" y="2022"/>
                  </a:lnTo>
                  <a:lnTo>
                    <a:pt x="1998" y="2028"/>
                  </a:lnTo>
                  <a:lnTo>
                    <a:pt x="1992" y="2034"/>
                  </a:lnTo>
                  <a:lnTo>
                    <a:pt x="1992" y="2040"/>
                  </a:lnTo>
                  <a:lnTo>
                    <a:pt x="1986" y="2040"/>
                  </a:lnTo>
                  <a:lnTo>
                    <a:pt x="1986" y="2034"/>
                  </a:lnTo>
                  <a:lnTo>
                    <a:pt x="1980" y="2028"/>
                  </a:lnTo>
                  <a:lnTo>
                    <a:pt x="1980" y="2022"/>
                  </a:lnTo>
                  <a:lnTo>
                    <a:pt x="1968" y="2016"/>
                  </a:lnTo>
                  <a:lnTo>
                    <a:pt x="1962" y="2010"/>
                  </a:lnTo>
                  <a:lnTo>
                    <a:pt x="1956" y="2004"/>
                  </a:lnTo>
                  <a:lnTo>
                    <a:pt x="1950" y="1992"/>
                  </a:lnTo>
                  <a:lnTo>
                    <a:pt x="1950" y="1986"/>
                  </a:lnTo>
                  <a:lnTo>
                    <a:pt x="1950" y="1974"/>
                  </a:lnTo>
                  <a:lnTo>
                    <a:pt x="1944" y="1974"/>
                  </a:lnTo>
                  <a:lnTo>
                    <a:pt x="1932" y="1962"/>
                  </a:lnTo>
                  <a:lnTo>
                    <a:pt x="1932" y="1956"/>
                  </a:lnTo>
                  <a:lnTo>
                    <a:pt x="1932" y="1950"/>
                  </a:lnTo>
                  <a:lnTo>
                    <a:pt x="1920" y="1944"/>
                  </a:lnTo>
                  <a:lnTo>
                    <a:pt x="1914" y="1944"/>
                  </a:lnTo>
                  <a:lnTo>
                    <a:pt x="1908" y="1938"/>
                  </a:lnTo>
                  <a:lnTo>
                    <a:pt x="1902" y="1926"/>
                  </a:lnTo>
                  <a:lnTo>
                    <a:pt x="1890" y="1914"/>
                  </a:lnTo>
                  <a:lnTo>
                    <a:pt x="1884" y="1914"/>
                  </a:lnTo>
                  <a:lnTo>
                    <a:pt x="1878" y="1908"/>
                  </a:lnTo>
                  <a:lnTo>
                    <a:pt x="1872" y="1902"/>
                  </a:lnTo>
                  <a:lnTo>
                    <a:pt x="1872" y="1896"/>
                  </a:lnTo>
                  <a:lnTo>
                    <a:pt x="1866" y="1890"/>
                  </a:lnTo>
                  <a:lnTo>
                    <a:pt x="1854" y="1884"/>
                  </a:lnTo>
                  <a:lnTo>
                    <a:pt x="1848" y="1884"/>
                  </a:lnTo>
                  <a:lnTo>
                    <a:pt x="1842" y="1872"/>
                  </a:lnTo>
                  <a:lnTo>
                    <a:pt x="1836" y="1872"/>
                  </a:lnTo>
                  <a:lnTo>
                    <a:pt x="1830" y="1866"/>
                  </a:lnTo>
                  <a:lnTo>
                    <a:pt x="1830" y="1854"/>
                  </a:lnTo>
                  <a:lnTo>
                    <a:pt x="1824" y="1848"/>
                  </a:lnTo>
                  <a:lnTo>
                    <a:pt x="1818" y="1830"/>
                  </a:lnTo>
                  <a:lnTo>
                    <a:pt x="1818" y="1818"/>
                  </a:lnTo>
                  <a:lnTo>
                    <a:pt x="1812" y="1800"/>
                  </a:lnTo>
                  <a:lnTo>
                    <a:pt x="1812" y="1788"/>
                  </a:lnTo>
                  <a:lnTo>
                    <a:pt x="1806" y="1776"/>
                  </a:lnTo>
                  <a:lnTo>
                    <a:pt x="1800" y="1764"/>
                  </a:lnTo>
                  <a:lnTo>
                    <a:pt x="1794" y="1758"/>
                  </a:lnTo>
                  <a:lnTo>
                    <a:pt x="1782" y="1740"/>
                  </a:lnTo>
                  <a:lnTo>
                    <a:pt x="1776" y="1728"/>
                  </a:lnTo>
                  <a:lnTo>
                    <a:pt x="1776" y="1722"/>
                  </a:lnTo>
                  <a:lnTo>
                    <a:pt x="1770" y="1722"/>
                  </a:lnTo>
                  <a:lnTo>
                    <a:pt x="1770" y="1716"/>
                  </a:lnTo>
                  <a:lnTo>
                    <a:pt x="1764" y="1716"/>
                  </a:lnTo>
                  <a:lnTo>
                    <a:pt x="1758" y="1710"/>
                  </a:lnTo>
                  <a:lnTo>
                    <a:pt x="1752" y="1704"/>
                  </a:lnTo>
                  <a:lnTo>
                    <a:pt x="1746" y="1704"/>
                  </a:lnTo>
                  <a:lnTo>
                    <a:pt x="1740" y="1704"/>
                  </a:lnTo>
                  <a:lnTo>
                    <a:pt x="1734" y="1704"/>
                  </a:lnTo>
                  <a:lnTo>
                    <a:pt x="1734" y="1698"/>
                  </a:lnTo>
                  <a:lnTo>
                    <a:pt x="1728" y="1692"/>
                  </a:lnTo>
                  <a:lnTo>
                    <a:pt x="1722" y="1686"/>
                  </a:lnTo>
                  <a:lnTo>
                    <a:pt x="1716" y="1686"/>
                  </a:lnTo>
                  <a:lnTo>
                    <a:pt x="1698" y="1686"/>
                  </a:lnTo>
                  <a:lnTo>
                    <a:pt x="1692" y="1692"/>
                  </a:lnTo>
                  <a:lnTo>
                    <a:pt x="1680" y="1692"/>
                  </a:lnTo>
                  <a:lnTo>
                    <a:pt x="1668" y="1692"/>
                  </a:lnTo>
                  <a:lnTo>
                    <a:pt x="1662" y="1692"/>
                  </a:lnTo>
                  <a:lnTo>
                    <a:pt x="1656" y="1692"/>
                  </a:lnTo>
                  <a:lnTo>
                    <a:pt x="1650" y="1698"/>
                  </a:lnTo>
                  <a:lnTo>
                    <a:pt x="1644" y="1698"/>
                  </a:lnTo>
                  <a:lnTo>
                    <a:pt x="1638" y="1698"/>
                  </a:lnTo>
                  <a:lnTo>
                    <a:pt x="1632" y="1698"/>
                  </a:lnTo>
                  <a:lnTo>
                    <a:pt x="1632" y="1692"/>
                  </a:lnTo>
                  <a:lnTo>
                    <a:pt x="1620" y="1680"/>
                  </a:lnTo>
                  <a:lnTo>
                    <a:pt x="1614" y="1680"/>
                  </a:lnTo>
                  <a:lnTo>
                    <a:pt x="1608" y="1680"/>
                  </a:lnTo>
                  <a:lnTo>
                    <a:pt x="1602" y="1680"/>
                  </a:lnTo>
                  <a:lnTo>
                    <a:pt x="1596" y="1674"/>
                  </a:lnTo>
                  <a:lnTo>
                    <a:pt x="1584" y="1674"/>
                  </a:lnTo>
                  <a:lnTo>
                    <a:pt x="1572" y="1674"/>
                  </a:lnTo>
                  <a:lnTo>
                    <a:pt x="1560" y="1674"/>
                  </a:lnTo>
                  <a:lnTo>
                    <a:pt x="1542" y="1680"/>
                  </a:lnTo>
                  <a:lnTo>
                    <a:pt x="1530" y="1680"/>
                  </a:lnTo>
                  <a:lnTo>
                    <a:pt x="1530" y="1674"/>
                  </a:lnTo>
                  <a:lnTo>
                    <a:pt x="1524" y="1674"/>
                  </a:lnTo>
                  <a:lnTo>
                    <a:pt x="1518" y="1674"/>
                  </a:lnTo>
                  <a:lnTo>
                    <a:pt x="1512" y="1674"/>
                  </a:lnTo>
                  <a:lnTo>
                    <a:pt x="1506" y="1674"/>
                  </a:lnTo>
                  <a:lnTo>
                    <a:pt x="1500" y="1680"/>
                  </a:lnTo>
                  <a:lnTo>
                    <a:pt x="1488" y="1680"/>
                  </a:lnTo>
                  <a:lnTo>
                    <a:pt x="1482" y="1674"/>
                  </a:lnTo>
                  <a:lnTo>
                    <a:pt x="1476" y="1674"/>
                  </a:lnTo>
                  <a:lnTo>
                    <a:pt x="1464" y="1674"/>
                  </a:lnTo>
                  <a:lnTo>
                    <a:pt x="1452" y="1680"/>
                  </a:lnTo>
                  <a:lnTo>
                    <a:pt x="1434" y="1680"/>
                  </a:lnTo>
                  <a:lnTo>
                    <a:pt x="1422" y="1680"/>
                  </a:lnTo>
                  <a:lnTo>
                    <a:pt x="1416" y="1680"/>
                  </a:lnTo>
                  <a:lnTo>
                    <a:pt x="1404" y="1674"/>
                  </a:lnTo>
                  <a:lnTo>
                    <a:pt x="1398" y="1674"/>
                  </a:lnTo>
                  <a:lnTo>
                    <a:pt x="1392" y="1662"/>
                  </a:lnTo>
                  <a:lnTo>
                    <a:pt x="1380" y="1644"/>
                  </a:lnTo>
                  <a:lnTo>
                    <a:pt x="1374" y="1632"/>
                  </a:lnTo>
                  <a:lnTo>
                    <a:pt x="1362" y="1626"/>
                  </a:lnTo>
                  <a:lnTo>
                    <a:pt x="1356" y="1620"/>
                  </a:lnTo>
                  <a:lnTo>
                    <a:pt x="1350" y="1626"/>
                  </a:lnTo>
                  <a:lnTo>
                    <a:pt x="1338" y="1626"/>
                  </a:lnTo>
                  <a:lnTo>
                    <a:pt x="1326" y="1626"/>
                  </a:lnTo>
                  <a:lnTo>
                    <a:pt x="1314" y="1620"/>
                  </a:lnTo>
                  <a:lnTo>
                    <a:pt x="1308" y="1614"/>
                  </a:lnTo>
                  <a:lnTo>
                    <a:pt x="1302" y="1608"/>
                  </a:lnTo>
                  <a:lnTo>
                    <a:pt x="1296" y="1602"/>
                  </a:lnTo>
                  <a:lnTo>
                    <a:pt x="1290" y="1602"/>
                  </a:lnTo>
                  <a:lnTo>
                    <a:pt x="1290" y="1596"/>
                  </a:lnTo>
                  <a:lnTo>
                    <a:pt x="1284" y="1590"/>
                  </a:lnTo>
                  <a:lnTo>
                    <a:pt x="1272" y="1584"/>
                  </a:lnTo>
                  <a:lnTo>
                    <a:pt x="1254" y="1572"/>
                  </a:lnTo>
                  <a:lnTo>
                    <a:pt x="1236" y="1554"/>
                  </a:lnTo>
                  <a:lnTo>
                    <a:pt x="1230" y="1554"/>
                  </a:lnTo>
                  <a:lnTo>
                    <a:pt x="1224" y="1554"/>
                  </a:lnTo>
                  <a:lnTo>
                    <a:pt x="1212" y="1554"/>
                  </a:lnTo>
                  <a:lnTo>
                    <a:pt x="1194" y="1542"/>
                  </a:lnTo>
                  <a:lnTo>
                    <a:pt x="1188" y="1536"/>
                  </a:lnTo>
                  <a:lnTo>
                    <a:pt x="1182" y="1530"/>
                  </a:lnTo>
                  <a:lnTo>
                    <a:pt x="1176" y="1530"/>
                  </a:lnTo>
                  <a:lnTo>
                    <a:pt x="1170" y="1530"/>
                  </a:lnTo>
                  <a:lnTo>
                    <a:pt x="1158" y="1524"/>
                  </a:lnTo>
                  <a:lnTo>
                    <a:pt x="1152" y="1524"/>
                  </a:lnTo>
                  <a:lnTo>
                    <a:pt x="1140" y="1518"/>
                  </a:lnTo>
                  <a:lnTo>
                    <a:pt x="1128" y="1518"/>
                  </a:lnTo>
                  <a:lnTo>
                    <a:pt x="1122" y="1518"/>
                  </a:lnTo>
                  <a:lnTo>
                    <a:pt x="1116" y="1518"/>
                  </a:lnTo>
                  <a:lnTo>
                    <a:pt x="1104" y="1518"/>
                  </a:lnTo>
                  <a:lnTo>
                    <a:pt x="1092" y="1518"/>
                  </a:lnTo>
                  <a:lnTo>
                    <a:pt x="1080" y="1518"/>
                  </a:lnTo>
                  <a:lnTo>
                    <a:pt x="1068" y="1518"/>
                  </a:lnTo>
                  <a:lnTo>
                    <a:pt x="1062" y="1518"/>
                  </a:lnTo>
                  <a:lnTo>
                    <a:pt x="1056" y="1518"/>
                  </a:lnTo>
                  <a:lnTo>
                    <a:pt x="1050" y="1512"/>
                  </a:lnTo>
                  <a:lnTo>
                    <a:pt x="1044" y="1512"/>
                  </a:lnTo>
                  <a:lnTo>
                    <a:pt x="1038" y="1512"/>
                  </a:lnTo>
                  <a:lnTo>
                    <a:pt x="1032" y="1506"/>
                  </a:lnTo>
                  <a:lnTo>
                    <a:pt x="1026" y="1500"/>
                  </a:lnTo>
                  <a:lnTo>
                    <a:pt x="1026" y="1494"/>
                  </a:lnTo>
                  <a:lnTo>
                    <a:pt x="1020" y="1476"/>
                  </a:lnTo>
                  <a:lnTo>
                    <a:pt x="1008" y="1464"/>
                  </a:lnTo>
                  <a:lnTo>
                    <a:pt x="1008" y="1458"/>
                  </a:lnTo>
                  <a:lnTo>
                    <a:pt x="1002" y="1446"/>
                  </a:lnTo>
                  <a:lnTo>
                    <a:pt x="996" y="1446"/>
                  </a:lnTo>
                  <a:lnTo>
                    <a:pt x="990" y="1440"/>
                  </a:lnTo>
                  <a:lnTo>
                    <a:pt x="984" y="1434"/>
                  </a:lnTo>
                  <a:lnTo>
                    <a:pt x="978" y="1434"/>
                  </a:lnTo>
                  <a:lnTo>
                    <a:pt x="972" y="1434"/>
                  </a:lnTo>
                  <a:lnTo>
                    <a:pt x="966" y="1428"/>
                  </a:lnTo>
                  <a:lnTo>
                    <a:pt x="954" y="1422"/>
                  </a:lnTo>
                  <a:lnTo>
                    <a:pt x="942" y="1416"/>
                  </a:lnTo>
                  <a:lnTo>
                    <a:pt x="924" y="1398"/>
                  </a:lnTo>
                  <a:lnTo>
                    <a:pt x="912" y="1386"/>
                  </a:lnTo>
                  <a:lnTo>
                    <a:pt x="900" y="1386"/>
                  </a:lnTo>
                  <a:lnTo>
                    <a:pt x="894" y="1386"/>
                  </a:lnTo>
                  <a:lnTo>
                    <a:pt x="882" y="1392"/>
                  </a:lnTo>
                  <a:lnTo>
                    <a:pt x="876" y="1392"/>
                  </a:lnTo>
                  <a:lnTo>
                    <a:pt x="864" y="1398"/>
                  </a:lnTo>
                  <a:lnTo>
                    <a:pt x="864" y="1404"/>
                  </a:lnTo>
                  <a:lnTo>
                    <a:pt x="858" y="1410"/>
                  </a:lnTo>
                  <a:lnTo>
                    <a:pt x="852" y="1410"/>
                  </a:lnTo>
                  <a:lnTo>
                    <a:pt x="846" y="1410"/>
                  </a:lnTo>
                  <a:lnTo>
                    <a:pt x="834" y="1410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10" y="1428"/>
                  </a:lnTo>
                  <a:lnTo>
                    <a:pt x="798" y="1428"/>
                  </a:lnTo>
                  <a:lnTo>
                    <a:pt x="792" y="1428"/>
                  </a:lnTo>
                  <a:lnTo>
                    <a:pt x="780" y="1434"/>
                  </a:lnTo>
                  <a:lnTo>
                    <a:pt x="774" y="1428"/>
                  </a:lnTo>
                  <a:lnTo>
                    <a:pt x="762" y="1428"/>
                  </a:lnTo>
                  <a:lnTo>
                    <a:pt x="756" y="1422"/>
                  </a:lnTo>
                  <a:lnTo>
                    <a:pt x="750" y="1416"/>
                  </a:lnTo>
                  <a:lnTo>
                    <a:pt x="744" y="1410"/>
                  </a:lnTo>
                  <a:lnTo>
                    <a:pt x="744" y="1398"/>
                  </a:lnTo>
                  <a:lnTo>
                    <a:pt x="744" y="1386"/>
                  </a:lnTo>
                  <a:lnTo>
                    <a:pt x="750" y="1380"/>
                  </a:lnTo>
                  <a:lnTo>
                    <a:pt x="750" y="1374"/>
                  </a:lnTo>
                  <a:lnTo>
                    <a:pt x="750" y="1368"/>
                  </a:lnTo>
                  <a:lnTo>
                    <a:pt x="756" y="1362"/>
                  </a:lnTo>
                  <a:lnTo>
                    <a:pt x="750" y="1350"/>
                  </a:lnTo>
                  <a:lnTo>
                    <a:pt x="744" y="1344"/>
                  </a:lnTo>
                  <a:lnTo>
                    <a:pt x="738" y="1338"/>
                  </a:lnTo>
                  <a:lnTo>
                    <a:pt x="726" y="1338"/>
                  </a:lnTo>
                  <a:lnTo>
                    <a:pt x="720" y="1338"/>
                  </a:lnTo>
                  <a:lnTo>
                    <a:pt x="714" y="1338"/>
                  </a:lnTo>
                  <a:lnTo>
                    <a:pt x="708" y="1332"/>
                  </a:lnTo>
                  <a:lnTo>
                    <a:pt x="702" y="1332"/>
                  </a:lnTo>
                  <a:lnTo>
                    <a:pt x="696" y="1326"/>
                  </a:lnTo>
                  <a:lnTo>
                    <a:pt x="684" y="1326"/>
                  </a:lnTo>
                  <a:lnTo>
                    <a:pt x="678" y="1326"/>
                  </a:lnTo>
                  <a:lnTo>
                    <a:pt x="672" y="1314"/>
                  </a:lnTo>
                  <a:lnTo>
                    <a:pt x="666" y="1308"/>
                  </a:lnTo>
                  <a:lnTo>
                    <a:pt x="654" y="1296"/>
                  </a:lnTo>
                  <a:lnTo>
                    <a:pt x="654" y="1290"/>
                  </a:lnTo>
                  <a:lnTo>
                    <a:pt x="630" y="1284"/>
                  </a:lnTo>
                  <a:lnTo>
                    <a:pt x="630" y="1278"/>
                  </a:lnTo>
                  <a:lnTo>
                    <a:pt x="624" y="1278"/>
                  </a:lnTo>
                  <a:lnTo>
                    <a:pt x="618" y="1266"/>
                  </a:lnTo>
                  <a:lnTo>
                    <a:pt x="612" y="1266"/>
                  </a:lnTo>
                  <a:lnTo>
                    <a:pt x="606" y="1266"/>
                  </a:lnTo>
                  <a:lnTo>
                    <a:pt x="606" y="1260"/>
                  </a:lnTo>
                  <a:lnTo>
                    <a:pt x="594" y="1248"/>
                  </a:lnTo>
                  <a:lnTo>
                    <a:pt x="582" y="1248"/>
                  </a:lnTo>
                  <a:lnTo>
                    <a:pt x="576" y="1242"/>
                  </a:lnTo>
                  <a:lnTo>
                    <a:pt x="570" y="1236"/>
                  </a:lnTo>
                  <a:lnTo>
                    <a:pt x="504" y="1164"/>
                  </a:lnTo>
                  <a:lnTo>
                    <a:pt x="450" y="1110"/>
                  </a:lnTo>
                  <a:lnTo>
                    <a:pt x="426" y="1092"/>
                  </a:lnTo>
                  <a:lnTo>
                    <a:pt x="426" y="1074"/>
                  </a:lnTo>
                  <a:lnTo>
                    <a:pt x="420" y="1062"/>
                  </a:lnTo>
                  <a:lnTo>
                    <a:pt x="396" y="1056"/>
                  </a:lnTo>
                  <a:lnTo>
                    <a:pt x="384" y="1032"/>
                  </a:lnTo>
                  <a:lnTo>
                    <a:pt x="372" y="1020"/>
                  </a:lnTo>
                  <a:lnTo>
                    <a:pt x="360" y="984"/>
                  </a:lnTo>
                  <a:lnTo>
                    <a:pt x="348" y="978"/>
                  </a:lnTo>
                  <a:lnTo>
                    <a:pt x="342" y="972"/>
                  </a:lnTo>
                  <a:lnTo>
                    <a:pt x="348" y="960"/>
                  </a:lnTo>
                  <a:lnTo>
                    <a:pt x="342" y="954"/>
                  </a:lnTo>
                  <a:lnTo>
                    <a:pt x="336" y="954"/>
                  </a:lnTo>
                  <a:lnTo>
                    <a:pt x="330" y="954"/>
                  </a:lnTo>
                  <a:lnTo>
                    <a:pt x="324" y="972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0" y="966"/>
                  </a:lnTo>
                  <a:lnTo>
                    <a:pt x="294" y="966"/>
                  </a:lnTo>
                  <a:lnTo>
                    <a:pt x="288" y="972"/>
                  </a:lnTo>
                  <a:lnTo>
                    <a:pt x="288" y="966"/>
                  </a:lnTo>
                  <a:lnTo>
                    <a:pt x="282" y="948"/>
                  </a:lnTo>
                  <a:lnTo>
                    <a:pt x="282" y="942"/>
                  </a:lnTo>
                  <a:lnTo>
                    <a:pt x="276" y="942"/>
                  </a:lnTo>
                  <a:lnTo>
                    <a:pt x="276" y="936"/>
                  </a:lnTo>
                  <a:lnTo>
                    <a:pt x="270" y="942"/>
                  </a:lnTo>
                  <a:lnTo>
                    <a:pt x="264" y="948"/>
                  </a:lnTo>
                  <a:lnTo>
                    <a:pt x="264" y="942"/>
                  </a:lnTo>
                  <a:lnTo>
                    <a:pt x="258" y="942"/>
                  </a:lnTo>
                  <a:lnTo>
                    <a:pt x="252" y="948"/>
                  </a:lnTo>
                  <a:lnTo>
                    <a:pt x="252" y="942"/>
                  </a:lnTo>
                  <a:lnTo>
                    <a:pt x="246" y="936"/>
                  </a:lnTo>
                  <a:lnTo>
                    <a:pt x="240" y="942"/>
                  </a:lnTo>
                  <a:lnTo>
                    <a:pt x="234" y="936"/>
                  </a:lnTo>
                  <a:lnTo>
                    <a:pt x="228" y="936"/>
                  </a:lnTo>
                  <a:lnTo>
                    <a:pt x="222" y="936"/>
                  </a:lnTo>
                  <a:lnTo>
                    <a:pt x="222" y="930"/>
                  </a:lnTo>
                  <a:lnTo>
                    <a:pt x="222" y="924"/>
                  </a:lnTo>
                  <a:lnTo>
                    <a:pt x="228" y="924"/>
                  </a:lnTo>
                  <a:lnTo>
                    <a:pt x="234" y="924"/>
                  </a:lnTo>
                  <a:lnTo>
                    <a:pt x="240" y="924"/>
                  </a:lnTo>
                  <a:lnTo>
                    <a:pt x="240" y="918"/>
                  </a:lnTo>
                  <a:lnTo>
                    <a:pt x="246" y="918"/>
                  </a:lnTo>
                  <a:lnTo>
                    <a:pt x="246" y="912"/>
                  </a:lnTo>
                  <a:lnTo>
                    <a:pt x="240" y="906"/>
                  </a:lnTo>
                  <a:lnTo>
                    <a:pt x="234" y="906"/>
                  </a:lnTo>
                  <a:lnTo>
                    <a:pt x="228" y="906"/>
                  </a:lnTo>
                  <a:lnTo>
                    <a:pt x="228" y="912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8" y="894"/>
                  </a:lnTo>
                  <a:lnTo>
                    <a:pt x="234" y="894"/>
                  </a:lnTo>
                  <a:lnTo>
                    <a:pt x="228" y="888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198" y="888"/>
                  </a:lnTo>
                  <a:lnTo>
                    <a:pt x="192" y="882"/>
                  </a:lnTo>
                  <a:lnTo>
                    <a:pt x="186" y="882"/>
                  </a:lnTo>
                  <a:lnTo>
                    <a:pt x="186" y="876"/>
                  </a:lnTo>
                  <a:lnTo>
                    <a:pt x="192" y="876"/>
                  </a:lnTo>
                  <a:lnTo>
                    <a:pt x="192" y="870"/>
                  </a:lnTo>
                  <a:lnTo>
                    <a:pt x="198" y="870"/>
                  </a:lnTo>
                  <a:lnTo>
                    <a:pt x="198" y="864"/>
                  </a:lnTo>
                  <a:lnTo>
                    <a:pt x="198" y="858"/>
                  </a:lnTo>
                  <a:lnTo>
                    <a:pt x="180" y="852"/>
                  </a:lnTo>
                  <a:lnTo>
                    <a:pt x="174" y="840"/>
                  </a:lnTo>
                  <a:lnTo>
                    <a:pt x="162" y="846"/>
                  </a:lnTo>
                  <a:lnTo>
                    <a:pt x="156" y="846"/>
                  </a:lnTo>
                  <a:lnTo>
                    <a:pt x="150" y="846"/>
                  </a:lnTo>
                  <a:lnTo>
                    <a:pt x="150" y="840"/>
                  </a:lnTo>
                  <a:lnTo>
                    <a:pt x="138" y="834"/>
                  </a:lnTo>
                  <a:lnTo>
                    <a:pt x="132" y="834"/>
                  </a:lnTo>
                  <a:lnTo>
                    <a:pt x="132" y="840"/>
                  </a:lnTo>
                  <a:lnTo>
                    <a:pt x="126" y="840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58"/>
                  </a:lnTo>
                  <a:lnTo>
                    <a:pt x="120" y="846"/>
                  </a:lnTo>
                  <a:lnTo>
                    <a:pt x="114" y="846"/>
                  </a:lnTo>
                  <a:lnTo>
                    <a:pt x="108" y="840"/>
                  </a:lnTo>
                  <a:lnTo>
                    <a:pt x="102" y="834"/>
                  </a:lnTo>
                  <a:lnTo>
                    <a:pt x="102" y="822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78" y="804"/>
                  </a:lnTo>
                  <a:lnTo>
                    <a:pt x="78" y="798"/>
                  </a:lnTo>
                  <a:lnTo>
                    <a:pt x="78" y="792"/>
                  </a:lnTo>
                  <a:lnTo>
                    <a:pt x="78" y="786"/>
                  </a:lnTo>
                  <a:lnTo>
                    <a:pt x="78" y="780"/>
                  </a:lnTo>
                  <a:lnTo>
                    <a:pt x="72" y="774"/>
                  </a:lnTo>
                  <a:lnTo>
                    <a:pt x="66" y="774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60" y="762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6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2" y="666"/>
                  </a:lnTo>
                  <a:lnTo>
                    <a:pt x="18" y="648"/>
                  </a:lnTo>
                  <a:lnTo>
                    <a:pt x="24" y="636"/>
                  </a:lnTo>
                  <a:lnTo>
                    <a:pt x="30" y="630"/>
                  </a:lnTo>
                  <a:lnTo>
                    <a:pt x="30" y="624"/>
                  </a:lnTo>
                  <a:lnTo>
                    <a:pt x="30" y="612"/>
                  </a:lnTo>
                  <a:lnTo>
                    <a:pt x="30" y="606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66" y="582"/>
                  </a:lnTo>
                  <a:lnTo>
                    <a:pt x="72" y="588"/>
                  </a:lnTo>
                  <a:lnTo>
                    <a:pt x="84" y="594"/>
                  </a:lnTo>
                  <a:lnTo>
                    <a:pt x="90" y="600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14" y="612"/>
                  </a:lnTo>
                  <a:lnTo>
                    <a:pt x="120" y="612"/>
                  </a:lnTo>
                  <a:lnTo>
                    <a:pt x="126" y="618"/>
                  </a:lnTo>
                  <a:lnTo>
                    <a:pt x="138" y="594"/>
                  </a:lnTo>
                  <a:lnTo>
                    <a:pt x="138" y="582"/>
                  </a:lnTo>
                  <a:lnTo>
                    <a:pt x="138" y="570"/>
                  </a:lnTo>
                  <a:lnTo>
                    <a:pt x="138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50" y="528"/>
                  </a:lnTo>
                  <a:lnTo>
                    <a:pt x="156" y="510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62"/>
                  </a:lnTo>
                  <a:lnTo>
                    <a:pt x="168" y="450"/>
                  </a:lnTo>
                  <a:lnTo>
                    <a:pt x="168" y="444"/>
                  </a:lnTo>
                  <a:lnTo>
                    <a:pt x="162" y="432"/>
                  </a:lnTo>
                  <a:lnTo>
                    <a:pt x="162" y="426"/>
                  </a:lnTo>
                  <a:lnTo>
                    <a:pt x="156" y="420"/>
                  </a:lnTo>
                  <a:lnTo>
                    <a:pt x="144" y="414"/>
                  </a:lnTo>
                  <a:lnTo>
                    <a:pt x="132" y="402"/>
                  </a:lnTo>
                  <a:lnTo>
                    <a:pt x="126" y="390"/>
                  </a:lnTo>
                  <a:lnTo>
                    <a:pt x="120" y="384"/>
                  </a:lnTo>
                  <a:lnTo>
                    <a:pt x="120" y="372"/>
                  </a:lnTo>
                  <a:lnTo>
                    <a:pt x="114" y="360"/>
                  </a:lnTo>
                  <a:lnTo>
                    <a:pt x="108" y="360"/>
                  </a:lnTo>
                  <a:lnTo>
                    <a:pt x="108" y="354"/>
                  </a:lnTo>
                  <a:lnTo>
                    <a:pt x="102" y="348"/>
                  </a:lnTo>
                  <a:lnTo>
                    <a:pt x="102" y="342"/>
                  </a:lnTo>
                  <a:lnTo>
                    <a:pt x="108" y="330"/>
                  </a:lnTo>
                  <a:lnTo>
                    <a:pt x="114" y="312"/>
                  </a:lnTo>
                  <a:lnTo>
                    <a:pt x="114" y="300"/>
                  </a:lnTo>
                  <a:lnTo>
                    <a:pt x="120" y="288"/>
                  </a:lnTo>
                  <a:lnTo>
                    <a:pt x="120" y="282"/>
                  </a:lnTo>
                  <a:lnTo>
                    <a:pt x="114" y="270"/>
                  </a:lnTo>
                  <a:lnTo>
                    <a:pt x="114" y="258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84" y="222"/>
                  </a:lnTo>
                  <a:lnTo>
                    <a:pt x="84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84" y="186"/>
                  </a:lnTo>
                  <a:lnTo>
                    <a:pt x="84" y="180"/>
                  </a:lnTo>
                  <a:lnTo>
                    <a:pt x="108" y="174"/>
                  </a:lnTo>
                  <a:lnTo>
                    <a:pt x="132" y="186"/>
                  </a:lnTo>
                  <a:lnTo>
                    <a:pt x="138" y="192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56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74" y="204"/>
                  </a:lnTo>
                  <a:lnTo>
                    <a:pt x="180" y="216"/>
                  </a:lnTo>
                  <a:lnTo>
                    <a:pt x="186" y="228"/>
                  </a:lnTo>
                  <a:lnTo>
                    <a:pt x="192" y="234"/>
                  </a:lnTo>
                  <a:lnTo>
                    <a:pt x="198" y="234"/>
                  </a:lnTo>
                  <a:lnTo>
                    <a:pt x="204" y="240"/>
                  </a:lnTo>
                  <a:lnTo>
                    <a:pt x="210" y="240"/>
                  </a:lnTo>
                  <a:lnTo>
                    <a:pt x="216" y="240"/>
                  </a:lnTo>
                  <a:lnTo>
                    <a:pt x="222" y="240"/>
                  </a:lnTo>
                  <a:lnTo>
                    <a:pt x="228" y="246"/>
                  </a:lnTo>
                  <a:lnTo>
                    <a:pt x="234" y="246"/>
                  </a:lnTo>
                  <a:lnTo>
                    <a:pt x="240" y="246"/>
                  </a:lnTo>
                  <a:lnTo>
                    <a:pt x="252" y="252"/>
                  </a:lnTo>
                  <a:lnTo>
                    <a:pt x="330" y="246"/>
                  </a:lnTo>
                  <a:lnTo>
                    <a:pt x="360" y="228"/>
                  </a:lnTo>
                  <a:lnTo>
                    <a:pt x="396" y="228"/>
                  </a:lnTo>
                  <a:lnTo>
                    <a:pt x="402" y="240"/>
                  </a:lnTo>
                  <a:lnTo>
                    <a:pt x="432" y="240"/>
                  </a:lnTo>
                  <a:lnTo>
                    <a:pt x="450" y="258"/>
                  </a:lnTo>
                  <a:lnTo>
                    <a:pt x="468" y="258"/>
                  </a:lnTo>
                  <a:lnTo>
                    <a:pt x="474" y="294"/>
                  </a:lnTo>
                  <a:lnTo>
                    <a:pt x="558" y="318"/>
                  </a:lnTo>
                  <a:lnTo>
                    <a:pt x="588" y="318"/>
                  </a:lnTo>
                  <a:lnTo>
                    <a:pt x="588" y="312"/>
                  </a:lnTo>
                  <a:lnTo>
                    <a:pt x="594" y="306"/>
                  </a:lnTo>
                  <a:lnTo>
                    <a:pt x="600" y="306"/>
                  </a:lnTo>
                  <a:lnTo>
                    <a:pt x="612" y="300"/>
                  </a:lnTo>
                  <a:lnTo>
                    <a:pt x="618" y="300"/>
                  </a:lnTo>
                  <a:lnTo>
                    <a:pt x="630" y="300"/>
                  </a:lnTo>
                  <a:lnTo>
                    <a:pt x="642" y="306"/>
                  </a:lnTo>
                  <a:lnTo>
                    <a:pt x="660" y="306"/>
                  </a:lnTo>
                  <a:lnTo>
                    <a:pt x="666" y="306"/>
                  </a:lnTo>
                  <a:lnTo>
                    <a:pt x="672" y="306"/>
                  </a:lnTo>
                  <a:lnTo>
                    <a:pt x="684" y="300"/>
                  </a:lnTo>
                  <a:lnTo>
                    <a:pt x="696" y="294"/>
                  </a:lnTo>
                  <a:lnTo>
                    <a:pt x="702" y="288"/>
                  </a:lnTo>
                  <a:lnTo>
                    <a:pt x="714" y="282"/>
                  </a:lnTo>
                  <a:lnTo>
                    <a:pt x="714" y="288"/>
                  </a:lnTo>
                  <a:lnTo>
                    <a:pt x="726" y="300"/>
                  </a:lnTo>
                  <a:lnTo>
                    <a:pt x="732" y="306"/>
                  </a:lnTo>
                  <a:lnTo>
                    <a:pt x="732" y="318"/>
                  </a:lnTo>
                  <a:lnTo>
                    <a:pt x="732" y="330"/>
                  </a:lnTo>
                  <a:lnTo>
                    <a:pt x="726" y="342"/>
                  </a:lnTo>
                  <a:lnTo>
                    <a:pt x="720" y="354"/>
                  </a:lnTo>
                  <a:lnTo>
                    <a:pt x="720" y="360"/>
                  </a:lnTo>
                  <a:lnTo>
                    <a:pt x="714" y="372"/>
                  </a:lnTo>
                  <a:lnTo>
                    <a:pt x="714" y="378"/>
                  </a:lnTo>
                  <a:lnTo>
                    <a:pt x="714" y="408"/>
                  </a:lnTo>
                  <a:lnTo>
                    <a:pt x="708" y="420"/>
                  </a:lnTo>
                  <a:lnTo>
                    <a:pt x="714" y="432"/>
                  </a:lnTo>
                  <a:lnTo>
                    <a:pt x="708" y="450"/>
                  </a:lnTo>
                  <a:lnTo>
                    <a:pt x="708" y="468"/>
                  </a:lnTo>
                  <a:lnTo>
                    <a:pt x="696" y="480"/>
                  </a:lnTo>
                  <a:lnTo>
                    <a:pt x="684" y="486"/>
                  </a:lnTo>
                  <a:lnTo>
                    <a:pt x="672" y="492"/>
                  </a:lnTo>
                  <a:lnTo>
                    <a:pt x="660" y="498"/>
                  </a:lnTo>
                  <a:lnTo>
                    <a:pt x="654" y="510"/>
                  </a:lnTo>
                  <a:lnTo>
                    <a:pt x="648" y="516"/>
                  </a:lnTo>
                  <a:lnTo>
                    <a:pt x="642" y="522"/>
                  </a:lnTo>
                  <a:lnTo>
                    <a:pt x="630" y="522"/>
                  </a:lnTo>
                  <a:lnTo>
                    <a:pt x="624" y="528"/>
                  </a:lnTo>
                  <a:lnTo>
                    <a:pt x="618" y="540"/>
                  </a:lnTo>
                  <a:lnTo>
                    <a:pt x="618" y="558"/>
                  </a:lnTo>
                  <a:lnTo>
                    <a:pt x="612" y="576"/>
                  </a:lnTo>
                  <a:lnTo>
                    <a:pt x="612" y="684"/>
                  </a:lnTo>
                  <a:lnTo>
                    <a:pt x="618" y="696"/>
                  </a:lnTo>
                  <a:lnTo>
                    <a:pt x="636" y="696"/>
                  </a:lnTo>
                  <a:lnTo>
                    <a:pt x="636" y="720"/>
                  </a:lnTo>
                  <a:lnTo>
                    <a:pt x="636" y="732"/>
                  </a:lnTo>
                  <a:lnTo>
                    <a:pt x="618" y="750"/>
                  </a:lnTo>
                  <a:lnTo>
                    <a:pt x="606" y="762"/>
                  </a:lnTo>
                  <a:lnTo>
                    <a:pt x="600" y="774"/>
                  </a:lnTo>
                  <a:lnTo>
                    <a:pt x="594" y="798"/>
                  </a:lnTo>
                  <a:lnTo>
                    <a:pt x="606" y="798"/>
                  </a:lnTo>
                  <a:lnTo>
                    <a:pt x="660" y="792"/>
                  </a:lnTo>
                  <a:lnTo>
                    <a:pt x="696" y="798"/>
                  </a:lnTo>
                  <a:lnTo>
                    <a:pt x="720" y="798"/>
                  </a:lnTo>
                  <a:lnTo>
                    <a:pt x="720" y="786"/>
                  </a:lnTo>
                  <a:lnTo>
                    <a:pt x="720" y="774"/>
                  </a:lnTo>
                  <a:lnTo>
                    <a:pt x="702" y="762"/>
                  </a:lnTo>
                  <a:lnTo>
                    <a:pt x="702" y="750"/>
                  </a:lnTo>
                  <a:lnTo>
                    <a:pt x="702" y="726"/>
                  </a:lnTo>
                  <a:lnTo>
                    <a:pt x="714" y="714"/>
                  </a:lnTo>
                  <a:lnTo>
                    <a:pt x="720" y="702"/>
                  </a:lnTo>
                  <a:lnTo>
                    <a:pt x="720" y="696"/>
                  </a:lnTo>
                  <a:lnTo>
                    <a:pt x="744" y="690"/>
                  </a:lnTo>
                  <a:lnTo>
                    <a:pt x="744" y="696"/>
                  </a:lnTo>
                  <a:lnTo>
                    <a:pt x="756" y="696"/>
                  </a:lnTo>
                  <a:lnTo>
                    <a:pt x="762" y="690"/>
                  </a:lnTo>
                  <a:lnTo>
                    <a:pt x="768" y="690"/>
                  </a:lnTo>
                  <a:lnTo>
                    <a:pt x="774" y="696"/>
                  </a:lnTo>
                  <a:lnTo>
                    <a:pt x="780" y="696"/>
                  </a:lnTo>
                  <a:lnTo>
                    <a:pt x="786" y="696"/>
                  </a:lnTo>
                  <a:lnTo>
                    <a:pt x="804" y="684"/>
                  </a:lnTo>
                  <a:lnTo>
                    <a:pt x="810" y="684"/>
                  </a:lnTo>
                  <a:lnTo>
                    <a:pt x="810" y="654"/>
                  </a:lnTo>
                  <a:lnTo>
                    <a:pt x="816" y="588"/>
                  </a:lnTo>
                  <a:lnTo>
                    <a:pt x="804" y="582"/>
                  </a:lnTo>
                  <a:lnTo>
                    <a:pt x="798" y="552"/>
                  </a:lnTo>
                  <a:lnTo>
                    <a:pt x="798" y="480"/>
                  </a:lnTo>
                  <a:lnTo>
                    <a:pt x="780" y="468"/>
                  </a:lnTo>
                  <a:lnTo>
                    <a:pt x="780" y="462"/>
                  </a:lnTo>
                  <a:lnTo>
                    <a:pt x="774" y="450"/>
                  </a:lnTo>
                  <a:lnTo>
                    <a:pt x="762" y="444"/>
                  </a:lnTo>
                  <a:lnTo>
                    <a:pt x="762" y="438"/>
                  </a:lnTo>
                  <a:lnTo>
                    <a:pt x="768" y="432"/>
                  </a:lnTo>
                  <a:lnTo>
                    <a:pt x="774" y="426"/>
                  </a:lnTo>
                  <a:lnTo>
                    <a:pt x="780" y="426"/>
                  </a:lnTo>
                  <a:lnTo>
                    <a:pt x="780" y="414"/>
                  </a:lnTo>
                  <a:lnTo>
                    <a:pt x="834" y="414"/>
                  </a:lnTo>
                  <a:lnTo>
                    <a:pt x="834" y="426"/>
                  </a:lnTo>
                  <a:lnTo>
                    <a:pt x="840" y="432"/>
                  </a:lnTo>
                  <a:lnTo>
                    <a:pt x="846" y="432"/>
                  </a:lnTo>
                  <a:lnTo>
                    <a:pt x="852" y="432"/>
                  </a:lnTo>
                  <a:lnTo>
                    <a:pt x="858" y="432"/>
                  </a:lnTo>
                  <a:lnTo>
                    <a:pt x="870" y="432"/>
                  </a:lnTo>
                  <a:lnTo>
                    <a:pt x="870" y="426"/>
                  </a:lnTo>
                  <a:lnTo>
                    <a:pt x="870" y="420"/>
                  </a:lnTo>
                  <a:lnTo>
                    <a:pt x="876" y="420"/>
                  </a:lnTo>
                  <a:lnTo>
                    <a:pt x="882" y="420"/>
                  </a:lnTo>
                  <a:lnTo>
                    <a:pt x="894" y="414"/>
                  </a:lnTo>
                  <a:lnTo>
                    <a:pt x="900" y="414"/>
                  </a:lnTo>
                  <a:lnTo>
                    <a:pt x="906" y="408"/>
                  </a:lnTo>
                  <a:lnTo>
                    <a:pt x="918" y="408"/>
                  </a:lnTo>
                  <a:lnTo>
                    <a:pt x="924" y="402"/>
                  </a:lnTo>
                  <a:lnTo>
                    <a:pt x="930" y="384"/>
                  </a:lnTo>
                  <a:lnTo>
                    <a:pt x="948" y="396"/>
                  </a:lnTo>
                  <a:lnTo>
                    <a:pt x="954" y="384"/>
                  </a:lnTo>
                  <a:lnTo>
                    <a:pt x="960" y="384"/>
                  </a:lnTo>
                  <a:lnTo>
                    <a:pt x="972" y="384"/>
                  </a:lnTo>
                  <a:lnTo>
                    <a:pt x="978" y="378"/>
                  </a:lnTo>
                  <a:lnTo>
                    <a:pt x="972" y="366"/>
                  </a:lnTo>
                  <a:lnTo>
                    <a:pt x="966" y="342"/>
                  </a:lnTo>
                  <a:lnTo>
                    <a:pt x="960" y="330"/>
                  </a:lnTo>
                  <a:lnTo>
                    <a:pt x="942" y="324"/>
                  </a:lnTo>
                  <a:lnTo>
                    <a:pt x="936" y="318"/>
                  </a:lnTo>
                  <a:lnTo>
                    <a:pt x="936" y="294"/>
                  </a:lnTo>
                  <a:lnTo>
                    <a:pt x="942" y="294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282"/>
                  </a:lnTo>
                  <a:lnTo>
                    <a:pt x="954" y="276"/>
                  </a:lnTo>
                  <a:lnTo>
                    <a:pt x="960" y="276"/>
                  </a:lnTo>
                  <a:lnTo>
                    <a:pt x="966" y="276"/>
                  </a:lnTo>
                  <a:lnTo>
                    <a:pt x="960" y="258"/>
                  </a:lnTo>
                  <a:lnTo>
                    <a:pt x="954" y="240"/>
                  </a:lnTo>
                  <a:lnTo>
                    <a:pt x="948" y="204"/>
                  </a:lnTo>
                  <a:lnTo>
                    <a:pt x="954" y="204"/>
                  </a:lnTo>
                  <a:lnTo>
                    <a:pt x="960" y="198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00" y="186"/>
                  </a:lnTo>
                  <a:lnTo>
                    <a:pt x="876" y="180"/>
                  </a:lnTo>
                  <a:lnTo>
                    <a:pt x="858" y="180"/>
                  </a:lnTo>
                  <a:lnTo>
                    <a:pt x="852" y="168"/>
                  </a:lnTo>
                  <a:lnTo>
                    <a:pt x="834" y="156"/>
                  </a:lnTo>
                  <a:lnTo>
                    <a:pt x="822" y="156"/>
                  </a:lnTo>
                  <a:lnTo>
                    <a:pt x="804" y="156"/>
                  </a:lnTo>
                  <a:lnTo>
                    <a:pt x="804" y="150"/>
                  </a:lnTo>
                  <a:lnTo>
                    <a:pt x="792" y="144"/>
                  </a:lnTo>
                  <a:lnTo>
                    <a:pt x="762" y="138"/>
                  </a:lnTo>
                  <a:lnTo>
                    <a:pt x="768" y="120"/>
                  </a:lnTo>
                  <a:lnTo>
                    <a:pt x="756" y="120"/>
                  </a:lnTo>
                  <a:lnTo>
                    <a:pt x="744" y="108"/>
                  </a:lnTo>
                  <a:lnTo>
                    <a:pt x="744" y="96"/>
                  </a:lnTo>
                  <a:lnTo>
                    <a:pt x="762" y="84"/>
                  </a:lnTo>
                  <a:lnTo>
                    <a:pt x="768" y="84"/>
                  </a:lnTo>
                  <a:lnTo>
                    <a:pt x="768" y="72"/>
                  </a:lnTo>
                  <a:lnTo>
                    <a:pt x="780" y="66"/>
                  </a:lnTo>
                  <a:lnTo>
                    <a:pt x="798" y="54"/>
                  </a:lnTo>
                  <a:lnTo>
                    <a:pt x="792" y="54"/>
                  </a:lnTo>
                  <a:lnTo>
                    <a:pt x="798" y="36"/>
                  </a:lnTo>
                  <a:lnTo>
                    <a:pt x="804" y="36"/>
                  </a:lnTo>
                  <a:lnTo>
                    <a:pt x="816" y="30"/>
                  </a:lnTo>
                  <a:lnTo>
                    <a:pt x="828" y="30"/>
                  </a:lnTo>
                  <a:lnTo>
                    <a:pt x="846" y="12"/>
                  </a:lnTo>
                  <a:lnTo>
                    <a:pt x="876" y="0"/>
                  </a:lnTo>
                  <a:lnTo>
                    <a:pt x="882" y="6"/>
                  </a:lnTo>
                  <a:lnTo>
                    <a:pt x="900" y="6"/>
                  </a:lnTo>
                  <a:lnTo>
                    <a:pt x="912" y="36"/>
                  </a:lnTo>
                  <a:lnTo>
                    <a:pt x="918" y="42"/>
                  </a:lnTo>
                  <a:lnTo>
                    <a:pt x="924" y="54"/>
                  </a:lnTo>
                  <a:lnTo>
                    <a:pt x="930" y="54"/>
                  </a:lnTo>
                  <a:lnTo>
                    <a:pt x="930" y="78"/>
                  </a:lnTo>
                  <a:lnTo>
                    <a:pt x="954" y="72"/>
                  </a:lnTo>
                  <a:lnTo>
                    <a:pt x="954" y="60"/>
                  </a:lnTo>
                  <a:lnTo>
                    <a:pt x="966" y="66"/>
                  </a:lnTo>
                  <a:lnTo>
                    <a:pt x="966" y="78"/>
                  </a:lnTo>
                  <a:lnTo>
                    <a:pt x="960" y="84"/>
                  </a:lnTo>
                  <a:lnTo>
                    <a:pt x="954" y="102"/>
                  </a:lnTo>
                  <a:lnTo>
                    <a:pt x="972" y="102"/>
                  </a:lnTo>
                  <a:lnTo>
                    <a:pt x="978" y="84"/>
                  </a:lnTo>
                  <a:lnTo>
                    <a:pt x="984" y="72"/>
                  </a:lnTo>
                  <a:lnTo>
                    <a:pt x="990" y="72"/>
                  </a:lnTo>
                  <a:lnTo>
                    <a:pt x="996" y="18"/>
                  </a:lnTo>
                  <a:lnTo>
                    <a:pt x="990" y="12"/>
                  </a:lnTo>
                  <a:lnTo>
                    <a:pt x="1014" y="12"/>
                  </a:lnTo>
                  <a:lnTo>
                    <a:pt x="1026" y="12"/>
                  </a:lnTo>
                  <a:lnTo>
                    <a:pt x="1026" y="24"/>
                  </a:lnTo>
                  <a:lnTo>
                    <a:pt x="1050" y="24"/>
                  </a:lnTo>
                  <a:lnTo>
                    <a:pt x="1050" y="36"/>
                  </a:lnTo>
                  <a:lnTo>
                    <a:pt x="1062" y="66"/>
                  </a:lnTo>
                  <a:lnTo>
                    <a:pt x="1074" y="66"/>
                  </a:lnTo>
                  <a:lnTo>
                    <a:pt x="1080" y="60"/>
                  </a:lnTo>
                  <a:lnTo>
                    <a:pt x="1074" y="24"/>
                  </a:lnTo>
                  <a:lnTo>
                    <a:pt x="1086" y="18"/>
                  </a:lnTo>
                  <a:lnTo>
                    <a:pt x="1086" y="12"/>
                  </a:lnTo>
                  <a:lnTo>
                    <a:pt x="1104" y="6"/>
                  </a:lnTo>
                  <a:lnTo>
                    <a:pt x="1122" y="0"/>
                  </a:lnTo>
                  <a:lnTo>
                    <a:pt x="1134" y="6"/>
                  </a:lnTo>
                  <a:lnTo>
                    <a:pt x="1134" y="42"/>
                  </a:lnTo>
                  <a:lnTo>
                    <a:pt x="1140" y="72"/>
                  </a:lnTo>
                  <a:lnTo>
                    <a:pt x="1158" y="114"/>
                  </a:lnTo>
                  <a:lnTo>
                    <a:pt x="1170" y="114"/>
                  </a:lnTo>
                  <a:lnTo>
                    <a:pt x="1170" y="126"/>
                  </a:lnTo>
                  <a:lnTo>
                    <a:pt x="1182" y="126"/>
                  </a:lnTo>
                  <a:lnTo>
                    <a:pt x="1182" y="138"/>
                  </a:lnTo>
                  <a:lnTo>
                    <a:pt x="1194" y="144"/>
                  </a:lnTo>
                  <a:lnTo>
                    <a:pt x="1194" y="156"/>
                  </a:lnTo>
                  <a:lnTo>
                    <a:pt x="1188" y="156"/>
                  </a:lnTo>
                  <a:lnTo>
                    <a:pt x="1194" y="162"/>
                  </a:lnTo>
                  <a:lnTo>
                    <a:pt x="1194" y="168"/>
                  </a:lnTo>
                  <a:lnTo>
                    <a:pt x="1188" y="168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82" y="180"/>
                  </a:lnTo>
                  <a:lnTo>
                    <a:pt x="1188" y="186"/>
                  </a:lnTo>
                  <a:lnTo>
                    <a:pt x="1188" y="192"/>
                  </a:lnTo>
                  <a:lnTo>
                    <a:pt x="1182" y="198"/>
                  </a:lnTo>
                  <a:lnTo>
                    <a:pt x="1182" y="204"/>
                  </a:lnTo>
                  <a:lnTo>
                    <a:pt x="1182" y="210"/>
                  </a:lnTo>
                  <a:lnTo>
                    <a:pt x="1188" y="210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2"/>
                  </a:lnTo>
                  <a:lnTo>
                    <a:pt x="1194" y="264"/>
                  </a:lnTo>
                  <a:lnTo>
                    <a:pt x="1200" y="264"/>
                  </a:lnTo>
                  <a:lnTo>
                    <a:pt x="1212" y="264"/>
                  </a:lnTo>
                  <a:lnTo>
                    <a:pt x="1212" y="258"/>
                  </a:lnTo>
                  <a:lnTo>
                    <a:pt x="1224" y="258"/>
                  </a:lnTo>
                  <a:lnTo>
                    <a:pt x="1248" y="252"/>
                  </a:lnTo>
                  <a:lnTo>
                    <a:pt x="1248" y="264"/>
                  </a:lnTo>
                  <a:lnTo>
                    <a:pt x="1254" y="264"/>
                  </a:lnTo>
                  <a:lnTo>
                    <a:pt x="1254" y="270"/>
                  </a:lnTo>
                  <a:lnTo>
                    <a:pt x="1260" y="270"/>
                  </a:lnTo>
                  <a:lnTo>
                    <a:pt x="1266" y="270"/>
                  </a:lnTo>
                  <a:lnTo>
                    <a:pt x="1272" y="270"/>
                  </a:lnTo>
                  <a:lnTo>
                    <a:pt x="1272" y="264"/>
                  </a:lnTo>
                  <a:lnTo>
                    <a:pt x="1272" y="258"/>
                  </a:lnTo>
                  <a:lnTo>
                    <a:pt x="1278" y="258"/>
                  </a:lnTo>
                  <a:lnTo>
                    <a:pt x="1278" y="252"/>
                  </a:lnTo>
                  <a:lnTo>
                    <a:pt x="1290" y="252"/>
                  </a:lnTo>
                  <a:lnTo>
                    <a:pt x="1296" y="246"/>
                  </a:lnTo>
                  <a:lnTo>
                    <a:pt x="1308" y="246"/>
                  </a:lnTo>
                  <a:lnTo>
                    <a:pt x="1308" y="240"/>
                  </a:lnTo>
                  <a:lnTo>
                    <a:pt x="1320" y="240"/>
                  </a:lnTo>
                  <a:lnTo>
                    <a:pt x="1326" y="246"/>
                  </a:lnTo>
                  <a:lnTo>
                    <a:pt x="1338" y="246"/>
                  </a:lnTo>
                  <a:lnTo>
                    <a:pt x="1338" y="240"/>
                  </a:lnTo>
                  <a:lnTo>
                    <a:pt x="1350" y="240"/>
                  </a:lnTo>
                  <a:lnTo>
                    <a:pt x="1386" y="234"/>
                  </a:lnTo>
                  <a:lnTo>
                    <a:pt x="1398" y="228"/>
                  </a:lnTo>
                  <a:lnTo>
                    <a:pt x="1404" y="216"/>
                  </a:lnTo>
                  <a:lnTo>
                    <a:pt x="1416" y="204"/>
                  </a:lnTo>
                  <a:lnTo>
                    <a:pt x="1434" y="192"/>
                  </a:lnTo>
                  <a:lnTo>
                    <a:pt x="1446" y="198"/>
                  </a:lnTo>
                  <a:lnTo>
                    <a:pt x="1446" y="204"/>
                  </a:lnTo>
                  <a:lnTo>
                    <a:pt x="1452" y="210"/>
                  </a:lnTo>
                  <a:lnTo>
                    <a:pt x="1464" y="222"/>
                  </a:lnTo>
                  <a:lnTo>
                    <a:pt x="1464" y="228"/>
                  </a:lnTo>
                  <a:lnTo>
                    <a:pt x="1464" y="234"/>
                  </a:lnTo>
                  <a:lnTo>
                    <a:pt x="1470" y="240"/>
                  </a:lnTo>
                  <a:lnTo>
                    <a:pt x="1476" y="228"/>
                  </a:lnTo>
                  <a:lnTo>
                    <a:pt x="1476" y="222"/>
                  </a:lnTo>
                  <a:lnTo>
                    <a:pt x="1482" y="210"/>
                  </a:lnTo>
                  <a:lnTo>
                    <a:pt x="1488" y="192"/>
                  </a:lnTo>
                  <a:lnTo>
                    <a:pt x="1488" y="186"/>
                  </a:lnTo>
                  <a:lnTo>
                    <a:pt x="1488" y="180"/>
                  </a:lnTo>
                  <a:lnTo>
                    <a:pt x="1500" y="180"/>
                  </a:lnTo>
                  <a:lnTo>
                    <a:pt x="1500" y="174"/>
                  </a:lnTo>
                  <a:lnTo>
                    <a:pt x="1518" y="162"/>
                  </a:lnTo>
                  <a:lnTo>
                    <a:pt x="1536" y="150"/>
                  </a:lnTo>
                  <a:lnTo>
                    <a:pt x="1554" y="168"/>
                  </a:lnTo>
                  <a:lnTo>
                    <a:pt x="1572" y="180"/>
                  </a:lnTo>
                  <a:lnTo>
                    <a:pt x="1596" y="216"/>
                  </a:lnTo>
                  <a:lnTo>
                    <a:pt x="1602" y="216"/>
                  </a:lnTo>
                  <a:lnTo>
                    <a:pt x="1614" y="228"/>
                  </a:lnTo>
                  <a:lnTo>
                    <a:pt x="1614" y="234"/>
                  </a:lnTo>
                  <a:lnTo>
                    <a:pt x="1620" y="240"/>
                  </a:lnTo>
                  <a:lnTo>
                    <a:pt x="1620" y="246"/>
                  </a:lnTo>
                  <a:lnTo>
                    <a:pt x="1626" y="252"/>
                  </a:lnTo>
                  <a:lnTo>
                    <a:pt x="1632" y="258"/>
                  </a:lnTo>
                  <a:lnTo>
                    <a:pt x="1632" y="264"/>
                  </a:lnTo>
                  <a:lnTo>
                    <a:pt x="1638" y="264"/>
                  </a:lnTo>
                  <a:lnTo>
                    <a:pt x="1638" y="270"/>
                  </a:lnTo>
                  <a:lnTo>
                    <a:pt x="1638" y="276"/>
                  </a:lnTo>
                  <a:lnTo>
                    <a:pt x="1638" y="282"/>
                  </a:lnTo>
                  <a:lnTo>
                    <a:pt x="1644" y="288"/>
                  </a:lnTo>
                  <a:lnTo>
                    <a:pt x="1644" y="294"/>
                  </a:lnTo>
                  <a:lnTo>
                    <a:pt x="1644" y="300"/>
                  </a:lnTo>
                  <a:lnTo>
                    <a:pt x="1644" y="306"/>
                  </a:lnTo>
                  <a:lnTo>
                    <a:pt x="1650" y="306"/>
                  </a:lnTo>
                  <a:lnTo>
                    <a:pt x="1650" y="312"/>
                  </a:lnTo>
                  <a:lnTo>
                    <a:pt x="1650" y="318"/>
                  </a:lnTo>
                  <a:lnTo>
                    <a:pt x="1650" y="324"/>
                  </a:lnTo>
                  <a:lnTo>
                    <a:pt x="1644" y="330"/>
                  </a:lnTo>
                  <a:lnTo>
                    <a:pt x="1626" y="330"/>
                  </a:lnTo>
                  <a:lnTo>
                    <a:pt x="1626" y="336"/>
                  </a:lnTo>
                  <a:lnTo>
                    <a:pt x="1626" y="342"/>
                  </a:lnTo>
                  <a:lnTo>
                    <a:pt x="1626" y="348"/>
                  </a:lnTo>
                  <a:lnTo>
                    <a:pt x="1620" y="354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14" y="390"/>
                  </a:lnTo>
                  <a:lnTo>
                    <a:pt x="1614" y="396"/>
                  </a:lnTo>
                  <a:lnTo>
                    <a:pt x="1614" y="402"/>
                  </a:lnTo>
                  <a:lnTo>
                    <a:pt x="1614" y="408"/>
                  </a:lnTo>
                  <a:lnTo>
                    <a:pt x="1614" y="414"/>
                  </a:lnTo>
                  <a:lnTo>
                    <a:pt x="1602" y="420"/>
                  </a:lnTo>
                  <a:lnTo>
                    <a:pt x="1602" y="426"/>
                  </a:lnTo>
                  <a:lnTo>
                    <a:pt x="1608" y="432"/>
                  </a:lnTo>
                  <a:lnTo>
                    <a:pt x="1614" y="426"/>
                  </a:lnTo>
                  <a:lnTo>
                    <a:pt x="1620" y="438"/>
                  </a:lnTo>
                  <a:lnTo>
                    <a:pt x="1626" y="438"/>
                  </a:lnTo>
                  <a:lnTo>
                    <a:pt x="1632" y="444"/>
                  </a:lnTo>
                  <a:lnTo>
                    <a:pt x="1626" y="456"/>
                  </a:lnTo>
                  <a:lnTo>
                    <a:pt x="1626" y="468"/>
                  </a:lnTo>
                  <a:lnTo>
                    <a:pt x="1620" y="474"/>
                  </a:lnTo>
                  <a:lnTo>
                    <a:pt x="1614" y="474"/>
                  </a:lnTo>
                  <a:lnTo>
                    <a:pt x="1614" y="486"/>
                  </a:lnTo>
                  <a:lnTo>
                    <a:pt x="1614" y="492"/>
                  </a:lnTo>
                  <a:lnTo>
                    <a:pt x="1620" y="492"/>
                  </a:lnTo>
                  <a:lnTo>
                    <a:pt x="1626" y="498"/>
                  </a:lnTo>
                  <a:lnTo>
                    <a:pt x="1626" y="504"/>
                  </a:lnTo>
                  <a:lnTo>
                    <a:pt x="1626" y="510"/>
                  </a:lnTo>
                  <a:lnTo>
                    <a:pt x="1620" y="516"/>
                  </a:lnTo>
                  <a:lnTo>
                    <a:pt x="1620" y="522"/>
                  </a:lnTo>
                  <a:lnTo>
                    <a:pt x="1614" y="522"/>
                  </a:lnTo>
                  <a:lnTo>
                    <a:pt x="1608" y="528"/>
                  </a:lnTo>
                  <a:lnTo>
                    <a:pt x="1602" y="522"/>
                  </a:lnTo>
                  <a:lnTo>
                    <a:pt x="1602" y="528"/>
                  </a:lnTo>
                  <a:lnTo>
                    <a:pt x="1602" y="540"/>
                  </a:lnTo>
                  <a:lnTo>
                    <a:pt x="1602" y="558"/>
                  </a:lnTo>
                  <a:lnTo>
                    <a:pt x="1602" y="564"/>
                  </a:lnTo>
                  <a:lnTo>
                    <a:pt x="1602" y="570"/>
                  </a:lnTo>
                  <a:lnTo>
                    <a:pt x="1602" y="576"/>
                  </a:lnTo>
                  <a:lnTo>
                    <a:pt x="1596" y="576"/>
                  </a:lnTo>
                  <a:lnTo>
                    <a:pt x="1632" y="582"/>
                  </a:lnTo>
                  <a:lnTo>
                    <a:pt x="1644" y="618"/>
                  </a:lnTo>
                  <a:lnTo>
                    <a:pt x="1650" y="648"/>
                  </a:lnTo>
                  <a:lnTo>
                    <a:pt x="1662" y="636"/>
                  </a:lnTo>
                  <a:lnTo>
                    <a:pt x="1668" y="636"/>
                  </a:lnTo>
                  <a:lnTo>
                    <a:pt x="1674" y="636"/>
                  </a:lnTo>
                  <a:lnTo>
                    <a:pt x="1680" y="630"/>
                  </a:lnTo>
                  <a:lnTo>
                    <a:pt x="1686" y="630"/>
                  </a:lnTo>
                  <a:lnTo>
                    <a:pt x="1692" y="630"/>
                  </a:lnTo>
                  <a:lnTo>
                    <a:pt x="1698" y="630"/>
                  </a:lnTo>
                  <a:lnTo>
                    <a:pt x="1704" y="630"/>
                  </a:lnTo>
                  <a:lnTo>
                    <a:pt x="1704" y="624"/>
                  </a:lnTo>
                  <a:lnTo>
                    <a:pt x="1710" y="624"/>
                  </a:lnTo>
                  <a:lnTo>
                    <a:pt x="1716" y="624"/>
                  </a:lnTo>
                  <a:lnTo>
                    <a:pt x="1722" y="624"/>
                  </a:lnTo>
                  <a:lnTo>
                    <a:pt x="1728" y="624"/>
                  </a:lnTo>
                  <a:lnTo>
                    <a:pt x="1722" y="618"/>
                  </a:lnTo>
                  <a:lnTo>
                    <a:pt x="1728" y="606"/>
                  </a:lnTo>
                  <a:lnTo>
                    <a:pt x="1734" y="606"/>
                  </a:lnTo>
                  <a:lnTo>
                    <a:pt x="1740" y="600"/>
                  </a:lnTo>
                  <a:lnTo>
                    <a:pt x="1746" y="594"/>
                  </a:lnTo>
                  <a:lnTo>
                    <a:pt x="1752" y="588"/>
                  </a:lnTo>
                  <a:lnTo>
                    <a:pt x="1752" y="582"/>
                  </a:lnTo>
                  <a:lnTo>
                    <a:pt x="1758" y="576"/>
                  </a:lnTo>
                  <a:lnTo>
                    <a:pt x="1764" y="576"/>
                  </a:lnTo>
                  <a:lnTo>
                    <a:pt x="1770" y="570"/>
                  </a:lnTo>
                  <a:lnTo>
                    <a:pt x="1776" y="564"/>
                  </a:lnTo>
                  <a:lnTo>
                    <a:pt x="1788" y="558"/>
                  </a:lnTo>
                  <a:lnTo>
                    <a:pt x="1788" y="546"/>
                  </a:lnTo>
                  <a:lnTo>
                    <a:pt x="1788" y="540"/>
                  </a:lnTo>
                  <a:lnTo>
                    <a:pt x="1794" y="540"/>
                  </a:lnTo>
                  <a:lnTo>
                    <a:pt x="1788" y="534"/>
                  </a:lnTo>
                  <a:lnTo>
                    <a:pt x="1788" y="528"/>
                  </a:lnTo>
                  <a:lnTo>
                    <a:pt x="1794" y="516"/>
                  </a:lnTo>
                  <a:lnTo>
                    <a:pt x="1800" y="510"/>
                  </a:lnTo>
                  <a:lnTo>
                    <a:pt x="1812" y="510"/>
                  </a:lnTo>
                  <a:lnTo>
                    <a:pt x="1818" y="504"/>
                  </a:lnTo>
                  <a:lnTo>
                    <a:pt x="1824" y="504"/>
                  </a:lnTo>
                  <a:lnTo>
                    <a:pt x="1830" y="498"/>
                  </a:lnTo>
                  <a:lnTo>
                    <a:pt x="1836" y="498"/>
                  </a:lnTo>
                  <a:lnTo>
                    <a:pt x="1848" y="492"/>
                  </a:lnTo>
                  <a:lnTo>
                    <a:pt x="1848" y="480"/>
                  </a:lnTo>
                  <a:lnTo>
                    <a:pt x="1854" y="480"/>
                  </a:lnTo>
                  <a:lnTo>
                    <a:pt x="1890" y="504"/>
                  </a:lnTo>
                  <a:lnTo>
                    <a:pt x="1908" y="534"/>
                  </a:lnTo>
                  <a:lnTo>
                    <a:pt x="1902" y="534"/>
                  </a:lnTo>
                  <a:lnTo>
                    <a:pt x="1920" y="528"/>
                  </a:lnTo>
                  <a:lnTo>
                    <a:pt x="1920" y="516"/>
                  </a:lnTo>
                  <a:lnTo>
                    <a:pt x="1944" y="516"/>
                  </a:lnTo>
                  <a:lnTo>
                    <a:pt x="2004" y="516"/>
                  </a:lnTo>
                  <a:lnTo>
                    <a:pt x="2010" y="510"/>
                  </a:lnTo>
                  <a:lnTo>
                    <a:pt x="2004" y="510"/>
                  </a:lnTo>
                  <a:lnTo>
                    <a:pt x="2010" y="498"/>
                  </a:lnTo>
                  <a:lnTo>
                    <a:pt x="2004" y="486"/>
                  </a:lnTo>
                  <a:lnTo>
                    <a:pt x="2004" y="480"/>
                  </a:lnTo>
                  <a:lnTo>
                    <a:pt x="2004" y="474"/>
                  </a:lnTo>
                  <a:lnTo>
                    <a:pt x="2004" y="462"/>
                  </a:lnTo>
                  <a:lnTo>
                    <a:pt x="2004" y="456"/>
                  </a:lnTo>
                  <a:lnTo>
                    <a:pt x="2058" y="462"/>
                  </a:lnTo>
                  <a:lnTo>
                    <a:pt x="2076" y="474"/>
                  </a:lnTo>
                  <a:lnTo>
                    <a:pt x="2082" y="522"/>
                  </a:lnTo>
                  <a:lnTo>
                    <a:pt x="2088" y="516"/>
                  </a:lnTo>
                  <a:lnTo>
                    <a:pt x="2094" y="522"/>
                  </a:lnTo>
                  <a:lnTo>
                    <a:pt x="2100" y="528"/>
                  </a:lnTo>
                  <a:lnTo>
                    <a:pt x="2130" y="540"/>
                  </a:lnTo>
                  <a:lnTo>
                    <a:pt x="2160" y="564"/>
                  </a:lnTo>
                  <a:lnTo>
                    <a:pt x="2166" y="600"/>
                  </a:lnTo>
                  <a:lnTo>
                    <a:pt x="2160" y="618"/>
                  </a:lnTo>
                  <a:lnTo>
                    <a:pt x="2142" y="636"/>
                  </a:lnTo>
                  <a:lnTo>
                    <a:pt x="2148" y="648"/>
                  </a:lnTo>
                  <a:lnTo>
                    <a:pt x="2154" y="660"/>
                  </a:lnTo>
                  <a:lnTo>
                    <a:pt x="2196" y="654"/>
                  </a:lnTo>
                  <a:lnTo>
                    <a:pt x="2214" y="660"/>
                  </a:lnTo>
                  <a:lnTo>
                    <a:pt x="2214" y="666"/>
                  </a:lnTo>
                  <a:lnTo>
                    <a:pt x="2220" y="672"/>
                  </a:lnTo>
                  <a:lnTo>
                    <a:pt x="2214" y="678"/>
                  </a:lnTo>
                  <a:lnTo>
                    <a:pt x="2214" y="684"/>
                  </a:lnTo>
                  <a:lnTo>
                    <a:pt x="2214" y="690"/>
                  </a:lnTo>
                  <a:lnTo>
                    <a:pt x="2208" y="690"/>
                  </a:lnTo>
                  <a:lnTo>
                    <a:pt x="2202" y="696"/>
                  </a:lnTo>
                  <a:lnTo>
                    <a:pt x="2196" y="702"/>
                  </a:lnTo>
                  <a:lnTo>
                    <a:pt x="2190" y="708"/>
                  </a:lnTo>
                  <a:lnTo>
                    <a:pt x="2190" y="720"/>
                  </a:lnTo>
                  <a:lnTo>
                    <a:pt x="2184" y="720"/>
                  </a:lnTo>
                  <a:lnTo>
                    <a:pt x="2178" y="726"/>
                  </a:lnTo>
                  <a:lnTo>
                    <a:pt x="2166" y="732"/>
                  </a:lnTo>
                  <a:lnTo>
                    <a:pt x="2160" y="744"/>
                  </a:lnTo>
                  <a:lnTo>
                    <a:pt x="2154" y="756"/>
                  </a:lnTo>
                  <a:lnTo>
                    <a:pt x="2148" y="762"/>
                  </a:lnTo>
                  <a:lnTo>
                    <a:pt x="2124" y="762"/>
                  </a:lnTo>
                  <a:lnTo>
                    <a:pt x="2124" y="768"/>
                  </a:lnTo>
                  <a:lnTo>
                    <a:pt x="2118" y="768"/>
                  </a:lnTo>
                  <a:lnTo>
                    <a:pt x="2124" y="774"/>
                  </a:lnTo>
                  <a:lnTo>
                    <a:pt x="2118" y="774"/>
                  </a:lnTo>
                  <a:lnTo>
                    <a:pt x="2112" y="774"/>
                  </a:lnTo>
                  <a:lnTo>
                    <a:pt x="2106" y="780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06" y="798"/>
                  </a:lnTo>
                  <a:lnTo>
                    <a:pt x="2106" y="810"/>
                  </a:lnTo>
                  <a:lnTo>
                    <a:pt x="2112" y="828"/>
                  </a:lnTo>
                  <a:lnTo>
                    <a:pt x="2112" y="834"/>
                  </a:lnTo>
                  <a:lnTo>
                    <a:pt x="2112" y="840"/>
                  </a:lnTo>
                  <a:lnTo>
                    <a:pt x="2112" y="834"/>
                  </a:lnTo>
                  <a:lnTo>
                    <a:pt x="2124" y="834"/>
                  </a:lnTo>
                  <a:lnTo>
                    <a:pt x="2130" y="834"/>
                  </a:lnTo>
                  <a:lnTo>
                    <a:pt x="2136" y="840"/>
                  </a:lnTo>
                  <a:lnTo>
                    <a:pt x="2142" y="840"/>
                  </a:lnTo>
                  <a:lnTo>
                    <a:pt x="2154" y="852"/>
                  </a:lnTo>
                  <a:lnTo>
                    <a:pt x="2160" y="852"/>
                  </a:lnTo>
                  <a:lnTo>
                    <a:pt x="2172" y="846"/>
                  </a:lnTo>
                  <a:lnTo>
                    <a:pt x="2178" y="846"/>
                  </a:lnTo>
                  <a:lnTo>
                    <a:pt x="2184" y="846"/>
                  </a:lnTo>
                  <a:lnTo>
                    <a:pt x="2190" y="846"/>
                  </a:lnTo>
                  <a:lnTo>
                    <a:pt x="2196" y="852"/>
                  </a:lnTo>
                  <a:lnTo>
                    <a:pt x="2196" y="858"/>
                  </a:lnTo>
                  <a:lnTo>
                    <a:pt x="2202" y="852"/>
                  </a:lnTo>
                  <a:lnTo>
                    <a:pt x="2208" y="846"/>
                  </a:lnTo>
                  <a:lnTo>
                    <a:pt x="2214" y="846"/>
                  </a:lnTo>
                  <a:lnTo>
                    <a:pt x="2226" y="846"/>
                  </a:lnTo>
                  <a:lnTo>
                    <a:pt x="2232" y="852"/>
                  </a:lnTo>
                  <a:lnTo>
                    <a:pt x="2238" y="852"/>
                  </a:lnTo>
                  <a:lnTo>
                    <a:pt x="2244" y="858"/>
                  </a:lnTo>
                  <a:lnTo>
                    <a:pt x="2250" y="858"/>
                  </a:lnTo>
                  <a:lnTo>
                    <a:pt x="2256" y="858"/>
                  </a:lnTo>
                  <a:lnTo>
                    <a:pt x="2262" y="858"/>
                  </a:lnTo>
                  <a:lnTo>
                    <a:pt x="2268" y="852"/>
                  </a:lnTo>
                  <a:lnTo>
                    <a:pt x="2274" y="852"/>
                  </a:lnTo>
                  <a:lnTo>
                    <a:pt x="2280" y="852"/>
                  </a:lnTo>
                  <a:lnTo>
                    <a:pt x="2286" y="852"/>
                  </a:lnTo>
                  <a:lnTo>
                    <a:pt x="2298" y="858"/>
                  </a:lnTo>
                  <a:lnTo>
                    <a:pt x="2304" y="858"/>
                  </a:lnTo>
                  <a:lnTo>
                    <a:pt x="2310" y="858"/>
                  </a:lnTo>
                  <a:lnTo>
                    <a:pt x="2316" y="852"/>
                  </a:lnTo>
                  <a:lnTo>
                    <a:pt x="2322" y="858"/>
                  </a:lnTo>
                  <a:lnTo>
                    <a:pt x="2328" y="858"/>
                  </a:lnTo>
                  <a:lnTo>
                    <a:pt x="2328" y="852"/>
                  </a:lnTo>
                  <a:lnTo>
                    <a:pt x="2364" y="858"/>
                  </a:lnTo>
                  <a:lnTo>
                    <a:pt x="2376" y="876"/>
                  </a:lnTo>
                  <a:lnTo>
                    <a:pt x="2382" y="936"/>
                  </a:lnTo>
                  <a:lnTo>
                    <a:pt x="2388" y="966"/>
                  </a:lnTo>
                  <a:lnTo>
                    <a:pt x="2382" y="972"/>
                  </a:lnTo>
                  <a:lnTo>
                    <a:pt x="2382" y="978"/>
                  </a:lnTo>
                  <a:lnTo>
                    <a:pt x="2382" y="984"/>
                  </a:lnTo>
                  <a:lnTo>
                    <a:pt x="2388" y="990"/>
                  </a:lnTo>
                  <a:lnTo>
                    <a:pt x="2382" y="990"/>
                  </a:lnTo>
                  <a:lnTo>
                    <a:pt x="2382" y="996"/>
                  </a:lnTo>
                  <a:lnTo>
                    <a:pt x="2376" y="996"/>
                  </a:lnTo>
                  <a:lnTo>
                    <a:pt x="2376" y="1020"/>
                  </a:lnTo>
                  <a:lnTo>
                    <a:pt x="2370" y="1032"/>
                  </a:lnTo>
                  <a:lnTo>
                    <a:pt x="2352" y="1032"/>
                  </a:lnTo>
                  <a:lnTo>
                    <a:pt x="2346" y="1020"/>
                  </a:lnTo>
                  <a:lnTo>
                    <a:pt x="2328" y="1032"/>
                  </a:lnTo>
                  <a:lnTo>
                    <a:pt x="2316" y="1038"/>
                  </a:lnTo>
                  <a:lnTo>
                    <a:pt x="2328" y="1044"/>
                  </a:lnTo>
                  <a:lnTo>
                    <a:pt x="2340" y="1056"/>
                  </a:lnTo>
                  <a:lnTo>
                    <a:pt x="2376" y="1062"/>
                  </a:lnTo>
                  <a:lnTo>
                    <a:pt x="2376" y="1068"/>
                  </a:lnTo>
                  <a:lnTo>
                    <a:pt x="2382" y="1086"/>
                  </a:lnTo>
                  <a:lnTo>
                    <a:pt x="2376" y="1086"/>
                  </a:lnTo>
                  <a:lnTo>
                    <a:pt x="2370" y="1086"/>
                  </a:lnTo>
                  <a:lnTo>
                    <a:pt x="2364" y="1086"/>
                  </a:lnTo>
                  <a:lnTo>
                    <a:pt x="2364" y="1098"/>
                  </a:lnTo>
                  <a:lnTo>
                    <a:pt x="2388" y="1104"/>
                  </a:lnTo>
                  <a:lnTo>
                    <a:pt x="2400" y="1122"/>
                  </a:lnTo>
                  <a:lnTo>
                    <a:pt x="2400" y="1134"/>
                  </a:lnTo>
                  <a:lnTo>
                    <a:pt x="2400" y="1146"/>
                  </a:lnTo>
                  <a:lnTo>
                    <a:pt x="2394" y="1146"/>
                  </a:lnTo>
                  <a:lnTo>
                    <a:pt x="2394" y="1152"/>
                  </a:lnTo>
                  <a:lnTo>
                    <a:pt x="2388" y="1152"/>
                  </a:lnTo>
                  <a:lnTo>
                    <a:pt x="2388" y="1146"/>
                  </a:lnTo>
                  <a:lnTo>
                    <a:pt x="2382" y="1152"/>
                  </a:lnTo>
                  <a:lnTo>
                    <a:pt x="2376" y="1152"/>
                  </a:lnTo>
                  <a:lnTo>
                    <a:pt x="2370" y="1158"/>
                  </a:lnTo>
                  <a:lnTo>
                    <a:pt x="2370" y="1164"/>
                  </a:lnTo>
                  <a:lnTo>
                    <a:pt x="2364" y="1170"/>
                  </a:lnTo>
                  <a:lnTo>
                    <a:pt x="2370" y="1170"/>
                  </a:lnTo>
                  <a:lnTo>
                    <a:pt x="2376" y="1170"/>
                  </a:lnTo>
                  <a:lnTo>
                    <a:pt x="2370" y="1176"/>
                  </a:lnTo>
                  <a:lnTo>
                    <a:pt x="2364" y="1176"/>
                  </a:lnTo>
                  <a:lnTo>
                    <a:pt x="2358" y="1182"/>
                  </a:lnTo>
                  <a:lnTo>
                    <a:pt x="2352" y="1182"/>
                  </a:lnTo>
                  <a:lnTo>
                    <a:pt x="2346" y="1188"/>
                  </a:lnTo>
                  <a:lnTo>
                    <a:pt x="2340" y="1182"/>
                  </a:lnTo>
                  <a:lnTo>
                    <a:pt x="2334" y="1182"/>
                  </a:lnTo>
                  <a:lnTo>
                    <a:pt x="2334" y="1188"/>
                  </a:lnTo>
                  <a:lnTo>
                    <a:pt x="2328" y="1194"/>
                  </a:lnTo>
                  <a:lnTo>
                    <a:pt x="2328" y="1200"/>
                  </a:lnTo>
                  <a:lnTo>
                    <a:pt x="2322" y="1224"/>
                  </a:lnTo>
                  <a:lnTo>
                    <a:pt x="2328" y="1230"/>
                  </a:lnTo>
                  <a:lnTo>
                    <a:pt x="2358" y="1230"/>
                  </a:lnTo>
                  <a:lnTo>
                    <a:pt x="2358" y="1242"/>
                  </a:lnTo>
                  <a:lnTo>
                    <a:pt x="2358" y="1254"/>
                  </a:lnTo>
                  <a:lnTo>
                    <a:pt x="2346" y="1254"/>
                  </a:lnTo>
                  <a:lnTo>
                    <a:pt x="2346" y="1278"/>
                  </a:lnTo>
                  <a:lnTo>
                    <a:pt x="2358" y="1278"/>
                  </a:lnTo>
                  <a:lnTo>
                    <a:pt x="2358" y="1284"/>
                  </a:lnTo>
                  <a:lnTo>
                    <a:pt x="2376" y="1284"/>
                  </a:lnTo>
                  <a:lnTo>
                    <a:pt x="2388" y="1278"/>
                  </a:lnTo>
                  <a:lnTo>
                    <a:pt x="2406" y="1278"/>
                  </a:lnTo>
                  <a:lnTo>
                    <a:pt x="2430" y="1284"/>
                  </a:lnTo>
                  <a:lnTo>
                    <a:pt x="2430" y="1302"/>
                  </a:lnTo>
                  <a:lnTo>
                    <a:pt x="2430" y="1314"/>
                  </a:lnTo>
                  <a:lnTo>
                    <a:pt x="2424" y="1326"/>
                  </a:lnTo>
                  <a:lnTo>
                    <a:pt x="2412" y="1326"/>
                  </a:lnTo>
                  <a:lnTo>
                    <a:pt x="2412" y="1344"/>
                  </a:lnTo>
                  <a:lnTo>
                    <a:pt x="2406" y="1344"/>
                  </a:lnTo>
                  <a:lnTo>
                    <a:pt x="2400" y="1362"/>
                  </a:lnTo>
                  <a:lnTo>
                    <a:pt x="2394" y="1368"/>
                  </a:lnTo>
                  <a:lnTo>
                    <a:pt x="2388" y="1374"/>
                  </a:lnTo>
                  <a:lnTo>
                    <a:pt x="2382" y="1380"/>
                  </a:lnTo>
                  <a:lnTo>
                    <a:pt x="2376" y="1386"/>
                  </a:lnTo>
                  <a:lnTo>
                    <a:pt x="2376" y="1392"/>
                  </a:lnTo>
                  <a:lnTo>
                    <a:pt x="2370" y="1404"/>
                  </a:lnTo>
                  <a:lnTo>
                    <a:pt x="2364" y="1416"/>
                  </a:lnTo>
                  <a:lnTo>
                    <a:pt x="2346" y="1434"/>
                  </a:lnTo>
                  <a:lnTo>
                    <a:pt x="2328" y="1440"/>
                  </a:lnTo>
                  <a:lnTo>
                    <a:pt x="2328" y="1446"/>
                  </a:lnTo>
                  <a:lnTo>
                    <a:pt x="2322" y="1452"/>
                  </a:lnTo>
                  <a:lnTo>
                    <a:pt x="2316" y="1452"/>
                  </a:lnTo>
                  <a:lnTo>
                    <a:pt x="2304" y="1446"/>
                  </a:lnTo>
                  <a:lnTo>
                    <a:pt x="2298" y="1446"/>
                  </a:lnTo>
                  <a:lnTo>
                    <a:pt x="2298" y="1434"/>
                  </a:lnTo>
                  <a:lnTo>
                    <a:pt x="2292" y="1434"/>
                  </a:lnTo>
                  <a:lnTo>
                    <a:pt x="2286" y="1428"/>
                  </a:lnTo>
                  <a:lnTo>
                    <a:pt x="2274" y="1416"/>
                  </a:lnTo>
                  <a:lnTo>
                    <a:pt x="2256" y="1404"/>
                  </a:lnTo>
                  <a:lnTo>
                    <a:pt x="2244" y="1386"/>
                  </a:lnTo>
                  <a:lnTo>
                    <a:pt x="2220" y="1368"/>
                  </a:lnTo>
                  <a:lnTo>
                    <a:pt x="2208" y="1362"/>
                  </a:lnTo>
                  <a:lnTo>
                    <a:pt x="2202" y="1350"/>
                  </a:lnTo>
                  <a:lnTo>
                    <a:pt x="2196" y="1350"/>
                  </a:lnTo>
                  <a:lnTo>
                    <a:pt x="2190" y="1356"/>
                  </a:lnTo>
                  <a:lnTo>
                    <a:pt x="2184" y="1356"/>
                  </a:lnTo>
                  <a:lnTo>
                    <a:pt x="2094" y="1350"/>
                  </a:lnTo>
                  <a:lnTo>
                    <a:pt x="2058" y="1350"/>
                  </a:lnTo>
                  <a:lnTo>
                    <a:pt x="2034" y="1890"/>
                  </a:lnTo>
                  <a:lnTo>
                    <a:pt x="2064" y="1890"/>
                  </a:lnTo>
                  <a:lnTo>
                    <a:pt x="2070" y="1896"/>
                  </a:lnTo>
                  <a:lnTo>
                    <a:pt x="2076" y="189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8" name="Freeform 33">
              <a:extLst>
                <a:ext uri="{FF2B5EF4-FFF2-40B4-BE49-F238E27FC236}">
                  <a16:creationId xmlns:a16="http://schemas.microsoft.com/office/drawing/2014/main" id="{0E96F118-1F4D-4E52-AF27-149259451CD6}"/>
                </a:ext>
              </a:extLst>
            </p:cNvPr>
            <p:cNvSpPr>
              <a:spLocks/>
            </p:cNvSpPr>
            <p:nvPr/>
          </p:nvSpPr>
          <p:spPr bwMode="gray">
            <a:xfrm>
              <a:off x="1266662" y="1459989"/>
              <a:ext cx="903421" cy="778302"/>
            </a:xfrm>
            <a:custGeom>
              <a:avLst/>
              <a:gdLst>
                <a:gd name="T0" fmla="*/ 143 w 1698"/>
                <a:gd name="T1" fmla="*/ 43 h 1464"/>
                <a:gd name="T2" fmla="*/ 131 w 1698"/>
                <a:gd name="T3" fmla="*/ 44 h 1464"/>
                <a:gd name="T4" fmla="*/ 126 w 1698"/>
                <a:gd name="T5" fmla="*/ 41 h 1464"/>
                <a:gd name="T6" fmla="*/ 119 w 1698"/>
                <a:gd name="T7" fmla="*/ 45 h 1464"/>
                <a:gd name="T8" fmla="*/ 111 w 1698"/>
                <a:gd name="T9" fmla="*/ 46 h 1464"/>
                <a:gd name="T10" fmla="*/ 107 w 1698"/>
                <a:gd name="T11" fmla="*/ 50 h 1464"/>
                <a:gd name="T12" fmla="*/ 107 w 1698"/>
                <a:gd name="T13" fmla="*/ 60 h 1464"/>
                <a:gd name="T14" fmla="*/ 104 w 1698"/>
                <a:gd name="T15" fmla="*/ 62 h 1464"/>
                <a:gd name="T16" fmla="*/ 97 w 1698"/>
                <a:gd name="T17" fmla="*/ 59 h 1464"/>
                <a:gd name="T18" fmla="*/ 92 w 1698"/>
                <a:gd name="T19" fmla="*/ 59 h 1464"/>
                <a:gd name="T20" fmla="*/ 90 w 1698"/>
                <a:gd name="T21" fmla="*/ 62 h 1464"/>
                <a:gd name="T22" fmla="*/ 93 w 1698"/>
                <a:gd name="T23" fmla="*/ 77 h 1464"/>
                <a:gd name="T24" fmla="*/ 85 w 1698"/>
                <a:gd name="T25" fmla="*/ 88 h 1464"/>
                <a:gd name="T26" fmla="*/ 70 w 1698"/>
                <a:gd name="T27" fmla="*/ 89 h 1464"/>
                <a:gd name="T28" fmla="*/ 65 w 1698"/>
                <a:gd name="T29" fmla="*/ 88 h 1464"/>
                <a:gd name="T30" fmla="*/ 50 w 1698"/>
                <a:gd name="T31" fmla="*/ 88 h 1464"/>
                <a:gd name="T32" fmla="*/ 48 w 1698"/>
                <a:gd name="T33" fmla="*/ 107 h 1464"/>
                <a:gd name="T34" fmla="*/ 47 w 1698"/>
                <a:gd name="T35" fmla="*/ 120 h 1464"/>
                <a:gd name="T36" fmla="*/ 43 w 1698"/>
                <a:gd name="T37" fmla="*/ 121 h 1464"/>
                <a:gd name="T38" fmla="*/ 40 w 1698"/>
                <a:gd name="T39" fmla="*/ 120 h 1464"/>
                <a:gd name="T40" fmla="*/ 35 w 1698"/>
                <a:gd name="T41" fmla="*/ 122 h 1464"/>
                <a:gd name="T42" fmla="*/ 29 w 1698"/>
                <a:gd name="T43" fmla="*/ 123 h 1464"/>
                <a:gd name="T44" fmla="*/ 24 w 1698"/>
                <a:gd name="T45" fmla="*/ 125 h 1464"/>
                <a:gd name="T46" fmla="*/ 20 w 1698"/>
                <a:gd name="T47" fmla="*/ 125 h 1464"/>
                <a:gd name="T48" fmla="*/ 18 w 1698"/>
                <a:gd name="T49" fmla="*/ 122 h 1464"/>
                <a:gd name="T50" fmla="*/ 26 w 1698"/>
                <a:gd name="T51" fmla="*/ 108 h 1464"/>
                <a:gd name="T52" fmla="*/ 24 w 1698"/>
                <a:gd name="T53" fmla="*/ 89 h 1464"/>
                <a:gd name="T54" fmla="*/ 28 w 1698"/>
                <a:gd name="T55" fmla="*/ 85 h 1464"/>
                <a:gd name="T56" fmla="*/ 32 w 1698"/>
                <a:gd name="T57" fmla="*/ 80 h 1464"/>
                <a:gd name="T58" fmla="*/ 36 w 1698"/>
                <a:gd name="T59" fmla="*/ 86 h 1464"/>
                <a:gd name="T60" fmla="*/ 39 w 1698"/>
                <a:gd name="T61" fmla="*/ 80 h 1464"/>
                <a:gd name="T62" fmla="*/ 41 w 1698"/>
                <a:gd name="T63" fmla="*/ 73 h 1464"/>
                <a:gd name="T64" fmla="*/ 38 w 1698"/>
                <a:gd name="T65" fmla="*/ 64 h 1464"/>
                <a:gd name="T66" fmla="*/ 39 w 1698"/>
                <a:gd name="T67" fmla="*/ 59 h 1464"/>
                <a:gd name="T68" fmla="*/ 32 w 1698"/>
                <a:gd name="T69" fmla="*/ 54 h 1464"/>
                <a:gd name="T70" fmla="*/ 32 w 1698"/>
                <a:gd name="T71" fmla="*/ 45 h 1464"/>
                <a:gd name="T72" fmla="*/ 31 w 1698"/>
                <a:gd name="T73" fmla="*/ 41 h 1464"/>
                <a:gd name="T74" fmla="*/ 24 w 1698"/>
                <a:gd name="T75" fmla="*/ 43 h 1464"/>
                <a:gd name="T76" fmla="*/ 17 w 1698"/>
                <a:gd name="T77" fmla="*/ 40 h 1464"/>
                <a:gd name="T78" fmla="*/ 11 w 1698"/>
                <a:gd name="T79" fmla="*/ 38 h 1464"/>
                <a:gd name="T80" fmla="*/ 2 w 1698"/>
                <a:gd name="T81" fmla="*/ 36 h 1464"/>
                <a:gd name="T82" fmla="*/ 0 w 1698"/>
                <a:gd name="T83" fmla="*/ 24 h 1464"/>
                <a:gd name="T84" fmla="*/ 11 w 1698"/>
                <a:gd name="T85" fmla="*/ 18 h 1464"/>
                <a:gd name="T86" fmla="*/ 19 w 1698"/>
                <a:gd name="T87" fmla="*/ 10 h 1464"/>
                <a:gd name="T88" fmla="*/ 28 w 1698"/>
                <a:gd name="T89" fmla="*/ 9 h 1464"/>
                <a:gd name="T90" fmla="*/ 40 w 1698"/>
                <a:gd name="T91" fmla="*/ 6 h 1464"/>
                <a:gd name="T92" fmla="*/ 49 w 1698"/>
                <a:gd name="T93" fmla="*/ 8 h 1464"/>
                <a:gd name="T94" fmla="*/ 56 w 1698"/>
                <a:gd name="T95" fmla="*/ 8 h 1464"/>
                <a:gd name="T96" fmla="*/ 64 w 1698"/>
                <a:gd name="T97" fmla="*/ 7 h 1464"/>
                <a:gd name="T98" fmla="*/ 74 w 1698"/>
                <a:gd name="T99" fmla="*/ 1 h 1464"/>
                <a:gd name="T100" fmla="*/ 83 w 1698"/>
                <a:gd name="T101" fmla="*/ 3 h 1464"/>
                <a:gd name="T102" fmla="*/ 99 w 1698"/>
                <a:gd name="T103" fmla="*/ 9 h 1464"/>
                <a:gd name="T104" fmla="*/ 112 w 1698"/>
                <a:gd name="T105" fmla="*/ 14 h 1464"/>
                <a:gd name="T106" fmla="*/ 119 w 1698"/>
                <a:gd name="T107" fmla="*/ 12 h 1464"/>
                <a:gd name="T108" fmla="*/ 128 w 1698"/>
                <a:gd name="T109" fmla="*/ 17 h 1464"/>
                <a:gd name="T110" fmla="*/ 141 w 1698"/>
                <a:gd name="T111" fmla="*/ 29 h 1464"/>
                <a:gd name="T112" fmla="*/ 145 w 1698"/>
                <a:gd name="T113" fmla="*/ 35 h 14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98"/>
                <a:gd name="T172" fmla="*/ 0 h 1464"/>
                <a:gd name="T173" fmla="*/ 1698 w 1698"/>
                <a:gd name="T174" fmla="*/ 1464 h 14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98" h="1464">
                  <a:moveTo>
                    <a:pt x="1698" y="462"/>
                  </a:moveTo>
                  <a:lnTo>
                    <a:pt x="1686" y="468"/>
                  </a:lnTo>
                  <a:lnTo>
                    <a:pt x="1680" y="474"/>
                  </a:lnTo>
                  <a:lnTo>
                    <a:pt x="1674" y="480"/>
                  </a:lnTo>
                  <a:lnTo>
                    <a:pt x="1668" y="480"/>
                  </a:lnTo>
                  <a:lnTo>
                    <a:pt x="1662" y="486"/>
                  </a:lnTo>
                  <a:lnTo>
                    <a:pt x="1656" y="492"/>
                  </a:lnTo>
                  <a:lnTo>
                    <a:pt x="1644" y="498"/>
                  </a:lnTo>
                  <a:lnTo>
                    <a:pt x="1626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0" y="516"/>
                  </a:lnTo>
                  <a:lnTo>
                    <a:pt x="1590" y="522"/>
                  </a:lnTo>
                  <a:lnTo>
                    <a:pt x="1566" y="522"/>
                  </a:lnTo>
                  <a:lnTo>
                    <a:pt x="1506" y="510"/>
                  </a:lnTo>
                  <a:lnTo>
                    <a:pt x="1500" y="510"/>
                  </a:lnTo>
                  <a:lnTo>
                    <a:pt x="1488" y="504"/>
                  </a:lnTo>
                  <a:lnTo>
                    <a:pt x="1482" y="498"/>
                  </a:lnTo>
                  <a:lnTo>
                    <a:pt x="1476" y="498"/>
                  </a:lnTo>
                  <a:lnTo>
                    <a:pt x="1476" y="492"/>
                  </a:lnTo>
                  <a:lnTo>
                    <a:pt x="1470" y="492"/>
                  </a:lnTo>
                  <a:lnTo>
                    <a:pt x="1464" y="486"/>
                  </a:lnTo>
                  <a:lnTo>
                    <a:pt x="1452" y="486"/>
                  </a:lnTo>
                  <a:lnTo>
                    <a:pt x="1446" y="474"/>
                  </a:lnTo>
                  <a:lnTo>
                    <a:pt x="1434" y="468"/>
                  </a:lnTo>
                  <a:lnTo>
                    <a:pt x="1416" y="468"/>
                  </a:lnTo>
                  <a:lnTo>
                    <a:pt x="1392" y="468"/>
                  </a:lnTo>
                  <a:lnTo>
                    <a:pt x="1374" y="474"/>
                  </a:lnTo>
                  <a:lnTo>
                    <a:pt x="1368" y="474"/>
                  </a:lnTo>
                  <a:lnTo>
                    <a:pt x="1368" y="486"/>
                  </a:lnTo>
                  <a:lnTo>
                    <a:pt x="1368" y="498"/>
                  </a:lnTo>
                  <a:lnTo>
                    <a:pt x="1368" y="522"/>
                  </a:lnTo>
                  <a:lnTo>
                    <a:pt x="1368" y="534"/>
                  </a:lnTo>
                  <a:lnTo>
                    <a:pt x="1362" y="546"/>
                  </a:lnTo>
                  <a:lnTo>
                    <a:pt x="1356" y="546"/>
                  </a:lnTo>
                  <a:lnTo>
                    <a:pt x="1344" y="540"/>
                  </a:lnTo>
                  <a:lnTo>
                    <a:pt x="1338" y="534"/>
                  </a:lnTo>
                  <a:lnTo>
                    <a:pt x="1308" y="522"/>
                  </a:lnTo>
                  <a:lnTo>
                    <a:pt x="1296" y="522"/>
                  </a:lnTo>
                  <a:lnTo>
                    <a:pt x="1278" y="528"/>
                  </a:lnTo>
                  <a:lnTo>
                    <a:pt x="1260" y="534"/>
                  </a:lnTo>
                  <a:lnTo>
                    <a:pt x="1242" y="546"/>
                  </a:lnTo>
                  <a:lnTo>
                    <a:pt x="1236" y="552"/>
                  </a:lnTo>
                  <a:lnTo>
                    <a:pt x="1224" y="558"/>
                  </a:lnTo>
                  <a:lnTo>
                    <a:pt x="1218" y="558"/>
                  </a:lnTo>
                  <a:lnTo>
                    <a:pt x="1218" y="564"/>
                  </a:lnTo>
                  <a:lnTo>
                    <a:pt x="1224" y="570"/>
                  </a:lnTo>
                  <a:lnTo>
                    <a:pt x="1224" y="582"/>
                  </a:lnTo>
                  <a:lnTo>
                    <a:pt x="1224" y="594"/>
                  </a:lnTo>
                  <a:lnTo>
                    <a:pt x="1212" y="618"/>
                  </a:lnTo>
                  <a:lnTo>
                    <a:pt x="1212" y="624"/>
                  </a:lnTo>
                  <a:lnTo>
                    <a:pt x="1212" y="630"/>
                  </a:lnTo>
                  <a:lnTo>
                    <a:pt x="1212" y="636"/>
                  </a:lnTo>
                  <a:lnTo>
                    <a:pt x="1218" y="654"/>
                  </a:lnTo>
                  <a:lnTo>
                    <a:pt x="1224" y="672"/>
                  </a:lnTo>
                  <a:lnTo>
                    <a:pt x="1230" y="696"/>
                  </a:lnTo>
                  <a:lnTo>
                    <a:pt x="1236" y="708"/>
                  </a:lnTo>
                  <a:lnTo>
                    <a:pt x="1236" y="714"/>
                  </a:lnTo>
                  <a:lnTo>
                    <a:pt x="1236" y="720"/>
                  </a:lnTo>
                  <a:lnTo>
                    <a:pt x="1218" y="726"/>
                  </a:lnTo>
                  <a:lnTo>
                    <a:pt x="1212" y="726"/>
                  </a:lnTo>
                  <a:lnTo>
                    <a:pt x="1206" y="726"/>
                  </a:lnTo>
                  <a:lnTo>
                    <a:pt x="1194" y="720"/>
                  </a:lnTo>
                  <a:lnTo>
                    <a:pt x="1194" y="714"/>
                  </a:lnTo>
                  <a:lnTo>
                    <a:pt x="1176" y="714"/>
                  </a:lnTo>
                  <a:lnTo>
                    <a:pt x="1164" y="708"/>
                  </a:lnTo>
                  <a:lnTo>
                    <a:pt x="1158" y="708"/>
                  </a:lnTo>
                  <a:lnTo>
                    <a:pt x="1140" y="702"/>
                  </a:lnTo>
                  <a:lnTo>
                    <a:pt x="1134" y="696"/>
                  </a:lnTo>
                  <a:lnTo>
                    <a:pt x="1128" y="690"/>
                  </a:lnTo>
                  <a:lnTo>
                    <a:pt x="1116" y="678"/>
                  </a:lnTo>
                  <a:lnTo>
                    <a:pt x="1110" y="678"/>
                  </a:lnTo>
                  <a:lnTo>
                    <a:pt x="1104" y="672"/>
                  </a:lnTo>
                  <a:lnTo>
                    <a:pt x="1092" y="672"/>
                  </a:lnTo>
                  <a:lnTo>
                    <a:pt x="1086" y="672"/>
                  </a:lnTo>
                  <a:lnTo>
                    <a:pt x="1080" y="672"/>
                  </a:lnTo>
                  <a:lnTo>
                    <a:pt x="1074" y="672"/>
                  </a:lnTo>
                  <a:lnTo>
                    <a:pt x="1068" y="672"/>
                  </a:lnTo>
                  <a:lnTo>
                    <a:pt x="1062" y="678"/>
                  </a:lnTo>
                  <a:lnTo>
                    <a:pt x="1056" y="678"/>
                  </a:lnTo>
                  <a:lnTo>
                    <a:pt x="1056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6"/>
                  </a:lnTo>
                  <a:lnTo>
                    <a:pt x="1032" y="708"/>
                  </a:lnTo>
                  <a:lnTo>
                    <a:pt x="1026" y="708"/>
                  </a:lnTo>
                  <a:lnTo>
                    <a:pt x="1032" y="714"/>
                  </a:lnTo>
                  <a:lnTo>
                    <a:pt x="1026" y="720"/>
                  </a:lnTo>
                  <a:lnTo>
                    <a:pt x="1020" y="720"/>
                  </a:lnTo>
                  <a:lnTo>
                    <a:pt x="1014" y="732"/>
                  </a:lnTo>
                  <a:lnTo>
                    <a:pt x="1014" y="744"/>
                  </a:lnTo>
                  <a:lnTo>
                    <a:pt x="1038" y="810"/>
                  </a:lnTo>
                  <a:lnTo>
                    <a:pt x="1050" y="834"/>
                  </a:lnTo>
                  <a:lnTo>
                    <a:pt x="1056" y="858"/>
                  </a:lnTo>
                  <a:lnTo>
                    <a:pt x="1062" y="876"/>
                  </a:lnTo>
                  <a:lnTo>
                    <a:pt x="1068" y="882"/>
                  </a:lnTo>
                  <a:lnTo>
                    <a:pt x="1062" y="972"/>
                  </a:lnTo>
                  <a:lnTo>
                    <a:pt x="1056" y="972"/>
                  </a:lnTo>
                  <a:lnTo>
                    <a:pt x="1050" y="996"/>
                  </a:lnTo>
                  <a:lnTo>
                    <a:pt x="1044" y="1014"/>
                  </a:lnTo>
                  <a:lnTo>
                    <a:pt x="1008" y="1014"/>
                  </a:lnTo>
                  <a:lnTo>
                    <a:pt x="1008" y="1008"/>
                  </a:lnTo>
                  <a:lnTo>
                    <a:pt x="990" y="1008"/>
                  </a:lnTo>
                  <a:lnTo>
                    <a:pt x="972" y="1014"/>
                  </a:lnTo>
                  <a:lnTo>
                    <a:pt x="948" y="1020"/>
                  </a:lnTo>
                  <a:lnTo>
                    <a:pt x="918" y="1026"/>
                  </a:lnTo>
                  <a:lnTo>
                    <a:pt x="840" y="1032"/>
                  </a:lnTo>
                  <a:lnTo>
                    <a:pt x="834" y="1032"/>
                  </a:lnTo>
                  <a:lnTo>
                    <a:pt x="834" y="1026"/>
                  </a:lnTo>
                  <a:lnTo>
                    <a:pt x="822" y="1026"/>
                  </a:lnTo>
                  <a:lnTo>
                    <a:pt x="816" y="1032"/>
                  </a:lnTo>
                  <a:lnTo>
                    <a:pt x="804" y="1032"/>
                  </a:lnTo>
                  <a:lnTo>
                    <a:pt x="798" y="1026"/>
                  </a:lnTo>
                  <a:lnTo>
                    <a:pt x="780" y="1026"/>
                  </a:lnTo>
                  <a:lnTo>
                    <a:pt x="762" y="1026"/>
                  </a:lnTo>
                  <a:lnTo>
                    <a:pt x="756" y="1026"/>
                  </a:lnTo>
                  <a:lnTo>
                    <a:pt x="750" y="1026"/>
                  </a:lnTo>
                  <a:lnTo>
                    <a:pt x="756" y="1020"/>
                  </a:lnTo>
                  <a:lnTo>
                    <a:pt x="750" y="1020"/>
                  </a:lnTo>
                  <a:lnTo>
                    <a:pt x="744" y="1014"/>
                  </a:lnTo>
                  <a:lnTo>
                    <a:pt x="684" y="1020"/>
                  </a:lnTo>
                  <a:lnTo>
                    <a:pt x="648" y="1020"/>
                  </a:lnTo>
                  <a:lnTo>
                    <a:pt x="630" y="1020"/>
                  </a:lnTo>
                  <a:lnTo>
                    <a:pt x="618" y="1020"/>
                  </a:lnTo>
                  <a:lnTo>
                    <a:pt x="606" y="1014"/>
                  </a:lnTo>
                  <a:lnTo>
                    <a:pt x="582" y="1014"/>
                  </a:lnTo>
                  <a:lnTo>
                    <a:pt x="576" y="1014"/>
                  </a:lnTo>
                  <a:lnTo>
                    <a:pt x="570" y="1014"/>
                  </a:lnTo>
                  <a:lnTo>
                    <a:pt x="564" y="1020"/>
                  </a:lnTo>
                  <a:lnTo>
                    <a:pt x="558" y="1026"/>
                  </a:lnTo>
                  <a:lnTo>
                    <a:pt x="552" y="1032"/>
                  </a:lnTo>
                  <a:lnTo>
                    <a:pt x="552" y="1038"/>
                  </a:lnTo>
                  <a:lnTo>
                    <a:pt x="558" y="1194"/>
                  </a:lnTo>
                  <a:lnTo>
                    <a:pt x="558" y="1206"/>
                  </a:lnTo>
                  <a:lnTo>
                    <a:pt x="552" y="1218"/>
                  </a:lnTo>
                  <a:lnTo>
                    <a:pt x="552" y="1236"/>
                  </a:lnTo>
                  <a:lnTo>
                    <a:pt x="546" y="1272"/>
                  </a:lnTo>
                  <a:lnTo>
                    <a:pt x="546" y="1308"/>
                  </a:lnTo>
                  <a:lnTo>
                    <a:pt x="540" y="1332"/>
                  </a:lnTo>
                  <a:lnTo>
                    <a:pt x="546" y="1356"/>
                  </a:lnTo>
                  <a:lnTo>
                    <a:pt x="546" y="1362"/>
                  </a:lnTo>
                  <a:lnTo>
                    <a:pt x="546" y="1374"/>
                  </a:lnTo>
                  <a:lnTo>
                    <a:pt x="546" y="1380"/>
                  </a:lnTo>
                  <a:lnTo>
                    <a:pt x="540" y="1380"/>
                  </a:lnTo>
                  <a:lnTo>
                    <a:pt x="522" y="1380"/>
                  </a:lnTo>
                  <a:lnTo>
                    <a:pt x="516" y="1380"/>
                  </a:lnTo>
                  <a:lnTo>
                    <a:pt x="516" y="1386"/>
                  </a:lnTo>
                  <a:lnTo>
                    <a:pt x="516" y="1392"/>
                  </a:lnTo>
                  <a:lnTo>
                    <a:pt x="510" y="1392"/>
                  </a:lnTo>
                  <a:lnTo>
                    <a:pt x="504" y="1386"/>
                  </a:lnTo>
                  <a:lnTo>
                    <a:pt x="498" y="1392"/>
                  </a:lnTo>
                  <a:lnTo>
                    <a:pt x="492" y="1398"/>
                  </a:lnTo>
                  <a:lnTo>
                    <a:pt x="486" y="1398"/>
                  </a:lnTo>
                  <a:lnTo>
                    <a:pt x="486" y="1392"/>
                  </a:lnTo>
                  <a:lnTo>
                    <a:pt x="486" y="1380"/>
                  </a:lnTo>
                  <a:lnTo>
                    <a:pt x="486" y="1374"/>
                  </a:lnTo>
                  <a:lnTo>
                    <a:pt x="480" y="1374"/>
                  </a:lnTo>
                  <a:lnTo>
                    <a:pt x="474" y="1374"/>
                  </a:lnTo>
                  <a:lnTo>
                    <a:pt x="468" y="1380"/>
                  </a:lnTo>
                  <a:lnTo>
                    <a:pt x="462" y="1380"/>
                  </a:lnTo>
                  <a:lnTo>
                    <a:pt x="456" y="1380"/>
                  </a:lnTo>
                  <a:lnTo>
                    <a:pt x="450" y="1386"/>
                  </a:lnTo>
                  <a:lnTo>
                    <a:pt x="444" y="1386"/>
                  </a:lnTo>
                  <a:lnTo>
                    <a:pt x="444" y="1392"/>
                  </a:lnTo>
                  <a:lnTo>
                    <a:pt x="432" y="1398"/>
                  </a:lnTo>
                  <a:lnTo>
                    <a:pt x="426" y="1404"/>
                  </a:lnTo>
                  <a:lnTo>
                    <a:pt x="420" y="1404"/>
                  </a:lnTo>
                  <a:lnTo>
                    <a:pt x="408" y="1404"/>
                  </a:lnTo>
                  <a:lnTo>
                    <a:pt x="378" y="1410"/>
                  </a:lnTo>
                  <a:lnTo>
                    <a:pt x="372" y="1410"/>
                  </a:lnTo>
                  <a:lnTo>
                    <a:pt x="360" y="1410"/>
                  </a:lnTo>
                  <a:lnTo>
                    <a:pt x="354" y="1416"/>
                  </a:lnTo>
                  <a:lnTo>
                    <a:pt x="348" y="1416"/>
                  </a:lnTo>
                  <a:lnTo>
                    <a:pt x="342" y="1410"/>
                  </a:lnTo>
                  <a:lnTo>
                    <a:pt x="336" y="1410"/>
                  </a:lnTo>
                  <a:lnTo>
                    <a:pt x="336" y="1416"/>
                  </a:lnTo>
                  <a:lnTo>
                    <a:pt x="330" y="1422"/>
                  </a:lnTo>
                  <a:lnTo>
                    <a:pt x="324" y="1422"/>
                  </a:lnTo>
                  <a:lnTo>
                    <a:pt x="318" y="1422"/>
                  </a:lnTo>
                  <a:lnTo>
                    <a:pt x="312" y="1428"/>
                  </a:lnTo>
                  <a:lnTo>
                    <a:pt x="312" y="1434"/>
                  </a:lnTo>
                  <a:lnTo>
                    <a:pt x="300" y="1428"/>
                  </a:lnTo>
                  <a:lnTo>
                    <a:pt x="288" y="1434"/>
                  </a:lnTo>
                  <a:lnTo>
                    <a:pt x="282" y="1440"/>
                  </a:lnTo>
                  <a:lnTo>
                    <a:pt x="282" y="1446"/>
                  </a:lnTo>
                  <a:lnTo>
                    <a:pt x="276" y="1446"/>
                  </a:lnTo>
                  <a:lnTo>
                    <a:pt x="276" y="1452"/>
                  </a:lnTo>
                  <a:lnTo>
                    <a:pt x="270" y="1452"/>
                  </a:lnTo>
                  <a:lnTo>
                    <a:pt x="258" y="1464"/>
                  </a:lnTo>
                  <a:lnTo>
                    <a:pt x="240" y="1458"/>
                  </a:lnTo>
                  <a:lnTo>
                    <a:pt x="234" y="1452"/>
                  </a:lnTo>
                  <a:lnTo>
                    <a:pt x="234" y="1446"/>
                  </a:lnTo>
                  <a:lnTo>
                    <a:pt x="228" y="1446"/>
                  </a:lnTo>
                  <a:lnTo>
                    <a:pt x="222" y="1440"/>
                  </a:lnTo>
                  <a:lnTo>
                    <a:pt x="216" y="1440"/>
                  </a:lnTo>
                  <a:lnTo>
                    <a:pt x="210" y="1428"/>
                  </a:lnTo>
                  <a:lnTo>
                    <a:pt x="210" y="1422"/>
                  </a:lnTo>
                  <a:lnTo>
                    <a:pt x="198" y="1416"/>
                  </a:lnTo>
                  <a:lnTo>
                    <a:pt x="204" y="1410"/>
                  </a:lnTo>
                  <a:lnTo>
                    <a:pt x="210" y="1404"/>
                  </a:lnTo>
                  <a:lnTo>
                    <a:pt x="210" y="1398"/>
                  </a:lnTo>
                  <a:lnTo>
                    <a:pt x="252" y="1368"/>
                  </a:lnTo>
                  <a:lnTo>
                    <a:pt x="276" y="1350"/>
                  </a:lnTo>
                  <a:lnTo>
                    <a:pt x="300" y="1338"/>
                  </a:lnTo>
                  <a:lnTo>
                    <a:pt x="294" y="1314"/>
                  </a:lnTo>
                  <a:lnTo>
                    <a:pt x="288" y="1308"/>
                  </a:lnTo>
                  <a:lnTo>
                    <a:pt x="300" y="1266"/>
                  </a:lnTo>
                  <a:lnTo>
                    <a:pt x="300" y="1242"/>
                  </a:lnTo>
                  <a:lnTo>
                    <a:pt x="300" y="1206"/>
                  </a:lnTo>
                  <a:lnTo>
                    <a:pt x="300" y="1164"/>
                  </a:lnTo>
                  <a:lnTo>
                    <a:pt x="294" y="1134"/>
                  </a:lnTo>
                  <a:lnTo>
                    <a:pt x="282" y="1086"/>
                  </a:lnTo>
                  <a:lnTo>
                    <a:pt x="276" y="1074"/>
                  </a:lnTo>
                  <a:lnTo>
                    <a:pt x="276" y="1056"/>
                  </a:lnTo>
                  <a:lnTo>
                    <a:pt x="270" y="1038"/>
                  </a:lnTo>
                  <a:lnTo>
                    <a:pt x="270" y="1020"/>
                  </a:lnTo>
                  <a:lnTo>
                    <a:pt x="282" y="1020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94" y="1002"/>
                  </a:lnTo>
                  <a:lnTo>
                    <a:pt x="306" y="996"/>
                  </a:lnTo>
                  <a:lnTo>
                    <a:pt x="312" y="990"/>
                  </a:lnTo>
                  <a:lnTo>
                    <a:pt x="318" y="990"/>
                  </a:lnTo>
                  <a:lnTo>
                    <a:pt x="324" y="984"/>
                  </a:lnTo>
                  <a:lnTo>
                    <a:pt x="324" y="978"/>
                  </a:lnTo>
                  <a:lnTo>
                    <a:pt x="324" y="972"/>
                  </a:lnTo>
                  <a:lnTo>
                    <a:pt x="324" y="954"/>
                  </a:lnTo>
                  <a:lnTo>
                    <a:pt x="336" y="948"/>
                  </a:lnTo>
                  <a:lnTo>
                    <a:pt x="342" y="936"/>
                  </a:lnTo>
                  <a:lnTo>
                    <a:pt x="348" y="924"/>
                  </a:lnTo>
                  <a:lnTo>
                    <a:pt x="354" y="924"/>
                  </a:lnTo>
                  <a:lnTo>
                    <a:pt x="372" y="924"/>
                  </a:lnTo>
                  <a:lnTo>
                    <a:pt x="372" y="930"/>
                  </a:lnTo>
                  <a:lnTo>
                    <a:pt x="378" y="930"/>
                  </a:lnTo>
                  <a:lnTo>
                    <a:pt x="378" y="936"/>
                  </a:lnTo>
                  <a:lnTo>
                    <a:pt x="384" y="936"/>
                  </a:lnTo>
                  <a:lnTo>
                    <a:pt x="384" y="942"/>
                  </a:lnTo>
                  <a:lnTo>
                    <a:pt x="402" y="942"/>
                  </a:lnTo>
                  <a:lnTo>
                    <a:pt x="402" y="996"/>
                  </a:lnTo>
                  <a:lnTo>
                    <a:pt x="414" y="996"/>
                  </a:lnTo>
                  <a:lnTo>
                    <a:pt x="420" y="996"/>
                  </a:lnTo>
                  <a:lnTo>
                    <a:pt x="426" y="996"/>
                  </a:lnTo>
                  <a:lnTo>
                    <a:pt x="432" y="996"/>
                  </a:lnTo>
                  <a:lnTo>
                    <a:pt x="438" y="996"/>
                  </a:lnTo>
                  <a:lnTo>
                    <a:pt x="438" y="942"/>
                  </a:lnTo>
                  <a:lnTo>
                    <a:pt x="444" y="930"/>
                  </a:lnTo>
                  <a:lnTo>
                    <a:pt x="444" y="924"/>
                  </a:lnTo>
                  <a:lnTo>
                    <a:pt x="444" y="918"/>
                  </a:lnTo>
                  <a:lnTo>
                    <a:pt x="462" y="918"/>
                  </a:lnTo>
                  <a:lnTo>
                    <a:pt x="474" y="906"/>
                  </a:lnTo>
                  <a:lnTo>
                    <a:pt x="480" y="900"/>
                  </a:lnTo>
                  <a:lnTo>
                    <a:pt x="486" y="888"/>
                  </a:lnTo>
                  <a:lnTo>
                    <a:pt x="492" y="876"/>
                  </a:lnTo>
                  <a:lnTo>
                    <a:pt x="492" y="858"/>
                  </a:lnTo>
                  <a:lnTo>
                    <a:pt x="480" y="858"/>
                  </a:lnTo>
                  <a:lnTo>
                    <a:pt x="474" y="840"/>
                  </a:lnTo>
                  <a:lnTo>
                    <a:pt x="450" y="834"/>
                  </a:lnTo>
                  <a:lnTo>
                    <a:pt x="438" y="816"/>
                  </a:lnTo>
                  <a:lnTo>
                    <a:pt x="432" y="792"/>
                  </a:lnTo>
                  <a:lnTo>
                    <a:pt x="432" y="786"/>
                  </a:lnTo>
                  <a:lnTo>
                    <a:pt x="432" y="774"/>
                  </a:lnTo>
                  <a:lnTo>
                    <a:pt x="432" y="762"/>
                  </a:lnTo>
                  <a:lnTo>
                    <a:pt x="438" y="750"/>
                  </a:lnTo>
                  <a:lnTo>
                    <a:pt x="438" y="738"/>
                  </a:lnTo>
                  <a:lnTo>
                    <a:pt x="444" y="732"/>
                  </a:lnTo>
                  <a:lnTo>
                    <a:pt x="450" y="732"/>
                  </a:lnTo>
                  <a:lnTo>
                    <a:pt x="456" y="732"/>
                  </a:lnTo>
                  <a:lnTo>
                    <a:pt x="456" y="726"/>
                  </a:lnTo>
                  <a:lnTo>
                    <a:pt x="456" y="714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44" y="684"/>
                  </a:lnTo>
                  <a:lnTo>
                    <a:pt x="438" y="666"/>
                  </a:lnTo>
                  <a:lnTo>
                    <a:pt x="426" y="666"/>
                  </a:lnTo>
                  <a:lnTo>
                    <a:pt x="432" y="666"/>
                  </a:lnTo>
                  <a:lnTo>
                    <a:pt x="420" y="666"/>
                  </a:lnTo>
                  <a:lnTo>
                    <a:pt x="414" y="660"/>
                  </a:lnTo>
                  <a:lnTo>
                    <a:pt x="396" y="654"/>
                  </a:lnTo>
                  <a:lnTo>
                    <a:pt x="384" y="642"/>
                  </a:lnTo>
                  <a:lnTo>
                    <a:pt x="366" y="624"/>
                  </a:lnTo>
                  <a:lnTo>
                    <a:pt x="354" y="606"/>
                  </a:lnTo>
                  <a:lnTo>
                    <a:pt x="342" y="588"/>
                  </a:lnTo>
                  <a:lnTo>
                    <a:pt x="342" y="582"/>
                  </a:lnTo>
                  <a:lnTo>
                    <a:pt x="360" y="564"/>
                  </a:lnTo>
                  <a:lnTo>
                    <a:pt x="372" y="540"/>
                  </a:lnTo>
                  <a:lnTo>
                    <a:pt x="366" y="528"/>
                  </a:lnTo>
                  <a:lnTo>
                    <a:pt x="366" y="522"/>
                  </a:lnTo>
                  <a:lnTo>
                    <a:pt x="372" y="516"/>
                  </a:lnTo>
                  <a:lnTo>
                    <a:pt x="384" y="504"/>
                  </a:lnTo>
                  <a:lnTo>
                    <a:pt x="378" y="492"/>
                  </a:lnTo>
                  <a:lnTo>
                    <a:pt x="378" y="486"/>
                  </a:lnTo>
                  <a:lnTo>
                    <a:pt x="378" y="480"/>
                  </a:lnTo>
                  <a:lnTo>
                    <a:pt x="378" y="474"/>
                  </a:lnTo>
                  <a:lnTo>
                    <a:pt x="378" y="468"/>
                  </a:lnTo>
                  <a:lnTo>
                    <a:pt x="366" y="468"/>
                  </a:lnTo>
                  <a:lnTo>
                    <a:pt x="360" y="474"/>
                  </a:lnTo>
                  <a:lnTo>
                    <a:pt x="354" y="480"/>
                  </a:lnTo>
                  <a:lnTo>
                    <a:pt x="348" y="486"/>
                  </a:lnTo>
                  <a:lnTo>
                    <a:pt x="348" y="492"/>
                  </a:lnTo>
                  <a:lnTo>
                    <a:pt x="336" y="510"/>
                  </a:lnTo>
                  <a:lnTo>
                    <a:pt x="300" y="516"/>
                  </a:lnTo>
                  <a:lnTo>
                    <a:pt x="300" y="510"/>
                  </a:lnTo>
                  <a:lnTo>
                    <a:pt x="282" y="504"/>
                  </a:lnTo>
                  <a:lnTo>
                    <a:pt x="282" y="498"/>
                  </a:lnTo>
                  <a:lnTo>
                    <a:pt x="264" y="486"/>
                  </a:lnTo>
                  <a:lnTo>
                    <a:pt x="258" y="492"/>
                  </a:lnTo>
                  <a:lnTo>
                    <a:pt x="234" y="492"/>
                  </a:lnTo>
                  <a:lnTo>
                    <a:pt x="222" y="486"/>
                  </a:lnTo>
                  <a:lnTo>
                    <a:pt x="204" y="480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92" y="462"/>
                  </a:lnTo>
                  <a:lnTo>
                    <a:pt x="186" y="462"/>
                  </a:lnTo>
                  <a:lnTo>
                    <a:pt x="180" y="468"/>
                  </a:lnTo>
                  <a:lnTo>
                    <a:pt x="150" y="450"/>
                  </a:lnTo>
                  <a:lnTo>
                    <a:pt x="144" y="438"/>
                  </a:lnTo>
                  <a:lnTo>
                    <a:pt x="138" y="438"/>
                  </a:lnTo>
                  <a:lnTo>
                    <a:pt x="132" y="432"/>
                  </a:lnTo>
                  <a:lnTo>
                    <a:pt x="126" y="432"/>
                  </a:lnTo>
                  <a:lnTo>
                    <a:pt x="120" y="432"/>
                  </a:lnTo>
                  <a:lnTo>
                    <a:pt x="102" y="426"/>
                  </a:lnTo>
                  <a:lnTo>
                    <a:pt x="96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2" y="414"/>
                  </a:lnTo>
                  <a:lnTo>
                    <a:pt x="60" y="414"/>
                  </a:lnTo>
                  <a:lnTo>
                    <a:pt x="30" y="414"/>
                  </a:lnTo>
                  <a:lnTo>
                    <a:pt x="24" y="414"/>
                  </a:lnTo>
                  <a:lnTo>
                    <a:pt x="12" y="414"/>
                  </a:lnTo>
                  <a:lnTo>
                    <a:pt x="0" y="420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0" y="336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30" y="270"/>
                  </a:lnTo>
                  <a:lnTo>
                    <a:pt x="42" y="270"/>
                  </a:lnTo>
                  <a:lnTo>
                    <a:pt x="54" y="264"/>
                  </a:lnTo>
                  <a:lnTo>
                    <a:pt x="78" y="240"/>
                  </a:lnTo>
                  <a:lnTo>
                    <a:pt x="102" y="216"/>
                  </a:lnTo>
                  <a:lnTo>
                    <a:pt x="114" y="210"/>
                  </a:lnTo>
                  <a:lnTo>
                    <a:pt x="120" y="204"/>
                  </a:lnTo>
                  <a:lnTo>
                    <a:pt x="126" y="198"/>
                  </a:lnTo>
                  <a:lnTo>
                    <a:pt x="138" y="18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38"/>
                  </a:lnTo>
                  <a:lnTo>
                    <a:pt x="210" y="126"/>
                  </a:lnTo>
                  <a:lnTo>
                    <a:pt x="216" y="120"/>
                  </a:lnTo>
                  <a:lnTo>
                    <a:pt x="222" y="120"/>
                  </a:lnTo>
                  <a:lnTo>
                    <a:pt x="258" y="114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300" y="102"/>
                  </a:lnTo>
                  <a:lnTo>
                    <a:pt x="312" y="102"/>
                  </a:lnTo>
                  <a:lnTo>
                    <a:pt x="318" y="102"/>
                  </a:lnTo>
                  <a:lnTo>
                    <a:pt x="348" y="96"/>
                  </a:lnTo>
                  <a:lnTo>
                    <a:pt x="366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408" y="84"/>
                  </a:lnTo>
                  <a:lnTo>
                    <a:pt x="420" y="84"/>
                  </a:lnTo>
                  <a:lnTo>
                    <a:pt x="462" y="72"/>
                  </a:lnTo>
                  <a:lnTo>
                    <a:pt x="474" y="72"/>
                  </a:lnTo>
                  <a:lnTo>
                    <a:pt x="474" y="78"/>
                  </a:lnTo>
                  <a:lnTo>
                    <a:pt x="492" y="90"/>
                  </a:lnTo>
                  <a:lnTo>
                    <a:pt x="498" y="90"/>
                  </a:lnTo>
                  <a:lnTo>
                    <a:pt x="522" y="96"/>
                  </a:lnTo>
                  <a:lnTo>
                    <a:pt x="540" y="96"/>
                  </a:lnTo>
                  <a:lnTo>
                    <a:pt x="546" y="96"/>
                  </a:lnTo>
                  <a:lnTo>
                    <a:pt x="558" y="96"/>
                  </a:lnTo>
                  <a:lnTo>
                    <a:pt x="564" y="96"/>
                  </a:lnTo>
                  <a:lnTo>
                    <a:pt x="576" y="96"/>
                  </a:lnTo>
                  <a:lnTo>
                    <a:pt x="588" y="96"/>
                  </a:lnTo>
                  <a:lnTo>
                    <a:pt x="612" y="90"/>
                  </a:lnTo>
                  <a:lnTo>
                    <a:pt x="624" y="90"/>
                  </a:lnTo>
                  <a:lnTo>
                    <a:pt x="636" y="90"/>
                  </a:lnTo>
                  <a:lnTo>
                    <a:pt x="642" y="90"/>
                  </a:lnTo>
                  <a:lnTo>
                    <a:pt x="648" y="96"/>
                  </a:lnTo>
                  <a:lnTo>
                    <a:pt x="660" y="96"/>
                  </a:lnTo>
                  <a:lnTo>
                    <a:pt x="666" y="96"/>
                  </a:lnTo>
                  <a:lnTo>
                    <a:pt x="672" y="96"/>
                  </a:lnTo>
                  <a:lnTo>
                    <a:pt x="684" y="96"/>
                  </a:lnTo>
                  <a:lnTo>
                    <a:pt x="708" y="96"/>
                  </a:lnTo>
                  <a:lnTo>
                    <a:pt x="714" y="96"/>
                  </a:lnTo>
                  <a:lnTo>
                    <a:pt x="726" y="96"/>
                  </a:lnTo>
                  <a:lnTo>
                    <a:pt x="738" y="84"/>
                  </a:lnTo>
                  <a:lnTo>
                    <a:pt x="744" y="78"/>
                  </a:lnTo>
                  <a:lnTo>
                    <a:pt x="756" y="66"/>
                  </a:lnTo>
                  <a:lnTo>
                    <a:pt x="774" y="42"/>
                  </a:lnTo>
                  <a:lnTo>
                    <a:pt x="780" y="30"/>
                  </a:lnTo>
                  <a:lnTo>
                    <a:pt x="816" y="24"/>
                  </a:lnTo>
                  <a:lnTo>
                    <a:pt x="840" y="18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64" y="6"/>
                  </a:lnTo>
                  <a:lnTo>
                    <a:pt x="870" y="6"/>
                  </a:lnTo>
                  <a:lnTo>
                    <a:pt x="894" y="0"/>
                  </a:lnTo>
                  <a:lnTo>
                    <a:pt x="900" y="6"/>
                  </a:lnTo>
                  <a:lnTo>
                    <a:pt x="930" y="18"/>
                  </a:lnTo>
                  <a:lnTo>
                    <a:pt x="942" y="24"/>
                  </a:lnTo>
                  <a:lnTo>
                    <a:pt x="954" y="30"/>
                  </a:lnTo>
                  <a:lnTo>
                    <a:pt x="1026" y="60"/>
                  </a:lnTo>
                  <a:lnTo>
                    <a:pt x="1032" y="60"/>
                  </a:lnTo>
                  <a:lnTo>
                    <a:pt x="1038" y="66"/>
                  </a:lnTo>
                  <a:lnTo>
                    <a:pt x="1068" y="72"/>
                  </a:lnTo>
                  <a:lnTo>
                    <a:pt x="1098" y="84"/>
                  </a:lnTo>
                  <a:lnTo>
                    <a:pt x="1122" y="90"/>
                  </a:lnTo>
                  <a:lnTo>
                    <a:pt x="1122" y="96"/>
                  </a:lnTo>
                  <a:lnTo>
                    <a:pt x="1140" y="102"/>
                  </a:lnTo>
                  <a:lnTo>
                    <a:pt x="1182" y="114"/>
                  </a:lnTo>
                  <a:lnTo>
                    <a:pt x="1188" y="114"/>
                  </a:lnTo>
                  <a:lnTo>
                    <a:pt x="1200" y="120"/>
                  </a:lnTo>
                  <a:lnTo>
                    <a:pt x="1212" y="126"/>
                  </a:lnTo>
                  <a:lnTo>
                    <a:pt x="1224" y="126"/>
                  </a:lnTo>
                  <a:lnTo>
                    <a:pt x="1248" y="138"/>
                  </a:lnTo>
                  <a:lnTo>
                    <a:pt x="1272" y="150"/>
                  </a:lnTo>
                  <a:lnTo>
                    <a:pt x="1284" y="156"/>
                  </a:lnTo>
                  <a:lnTo>
                    <a:pt x="1290" y="162"/>
                  </a:lnTo>
                  <a:lnTo>
                    <a:pt x="1296" y="162"/>
                  </a:lnTo>
                  <a:lnTo>
                    <a:pt x="1308" y="156"/>
                  </a:lnTo>
                  <a:lnTo>
                    <a:pt x="1320" y="150"/>
                  </a:lnTo>
                  <a:lnTo>
                    <a:pt x="1326" y="150"/>
                  </a:lnTo>
                  <a:lnTo>
                    <a:pt x="1338" y="144"/>
                  </a:lnTo>
                  <a:lnTo>
                    <a:pt x="1362" y="144"/>
                  </a:lnTo>
                  <a:lnTo>
                    <a:pt x="1368" y="144"/>
                  </a:lnTo>
                  <a:lnTo>
                    <a:pt x="1374" y="144"/>
                  </a:lnTo>
                  <a:lnTo>
                    <a:pt x="1386" y="150"/>
                  </a:lnTo>
                  <a:lnTo>
                    <a:pt x="1392" y="150"/>
                  </a:lnTo>
                  <a:lnTo>
                    <a:pt x="1398" y="150"/>
                  </a:lnTo>
                  <a:lnTo>
                    <a:pt x="1416" y="162"/>
                  </a:lnTo>
                  <a:lnTo>
                    <a:pt x="1458" y="186"/>
                  </a:lnTo>
                  <a:lnTo>
                    <a:pt x="1464" y="186"/>
                  </a:lnTo>
                  <a:lnTo>
                    <a:pt x="1470" y="192"/>
                  </a:lnTo>
                  <a:lnTo>
                    <a:pt x="1482" y="204"/>
                  </a:lnTo>
                  <a:lnTo>
                    <a:pt x="1512" y="234"/>
                  </a:lnTo>
                  <a:lnTo>
                    <a:pt x="1554" y="276"/>
                  </a:lnTo>
                  <a:lnTo>
                    <a:pt x="1560" y="276"/>
                  </a:lnTo>
                  <a:lnTo>
                    <a:pt x="1566" y="282"/>
                  </a:lnTo>
                  <a:lnTo>
                    <a:pt x="1578" y="294"/>
                  </a:lnTo>
                  <a:lnTo>
                    <a:pt x="1602" y="318"/>
                  </a:lnTo>
                  <a:lnTo>
                    <a:pt x="1614" y="330"/>
                  </a:lnTo>
                  <a:lnTo>
                    <a:pt x="1620" y="336"/>
                  </a:lnTo>
                  <a:lnTo>
                    <a:pt x="1626" y="342"/>
                  </a:lnTo>
                  <a:lnTo>
                    <a:pt x="1632" y="354"/>
                  </a:lnTo>
                  <a:lnTo>
                    <a:pt x="1644" y="366"/>
                  </a:lnTo>
                  <a:lnTo>
                    <a:pt x="1650" y="378"/>
                  </a:lnTo>
                  <a:lnTo>
                    <a:pt x="1650" y="384"/>
                  </a:lnTo>
                  <a:lnTo>
                    <a:pt x="1656" y="384"/>
                  </a:lnTo>
                  <a:lnTo>
                    <a:pt x="1662" y="402"/>
                  </a:lnTo>
                  <a:lnTo>
                    <a:pt x="1668" y="408"/>
                  </a:lnTo>
                  <a:lnTo>
                    <a:pt x="1674" y="426"/>
                  </a:lnTo>
                  <a:lnTo>
                    <a:pt x="1686" y="438"/>
                  </a:lnTo>
                  <a:lnTo>
                    <a:pt x="1698" y="46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9" name="Freeform 34">
              <a:extLst>
                <a:ext uri="{FF2B5EF4-FFF2-40B4-BE49-F238E27FC236}">
                  <a16:creationId xmlns:a16="http://schemas.microsoft.com/office/drawing/2014/main" id="{94603F24-8CF7-4226-A433-00D18CA7D9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1988" y="1681402"/>
              <a:ext cx="869877" cy="1060101"/>
            </a:xfrm>
            <a:custGeom>
              <a:avLst/>
              <a:gdLst>
                <a:gd name="T0" fmla="*/ 4 w 1638"/>
                <a:gd name="T1" fmla="*/ 111 h 1998"/>
                <a:gd name="T2" fmla="*/ 6 w 1638"/>
                <a:gd name="T3" fmla="*/ 87 h 1998"/>
                <a:gd name="T4" fmla="*/ 10 w 1638"/>
                <a:gd name="T5" fmla="*/ 80 h 1998"/>
                <a:gd name="T6" fmla="*/ 10 w 1638"/>
                <a:gd name="T7" fmla="*/ 71 h 1998"/>
                <a:gd name="T8" fmla="*/ 9 w 1638"/>
                <a:gd name="T9" fmla="*/ 56 h 1998"/>
                <a:gd name="T10" fmla="*/ 8 w 1638"/>
                <a:gd name="T11" fmla="*/ 40 h 1998"/>
                <a:gd name="T12" fmla="*/ 20 w 1638"/>
                <a:gd name="T13" fmla="*/ 30 h 1998"/>
                <a:gd name="T14" fmla="*/ 30 w 1638"/>
                <a:gd name="T15" fmla="*/ 19 h 1998"/>
                <a:gd name="T16" fmla="*/ 35 w 1638"/>
                <a:gd name="T17" fmla="*/ 2 h 1998"/>
                <a:gd name="T18" fmla="*/ 47 w 1638"/>
                <a:gd name="T19" fmla="*/ 2 h 1998"/>
                <a:gd name="T20" fmla="*/ 56 w 1638"/>
                <a:gd name="T21" fmla="*/ 7 h 1998"/>
                <a:gd name="T22" fmla="*/ 67 w 1638"/>
                <a:gd name="T23" fmla="*/ 5 h 1998"/>
                <a:gd name="T24" fmla="*/ 65 w 1638"/>
                <a:gd name="T25" fmla="*/ 15 h 1998"/>
                <a:gd name="T26" fmla="*/ 74 w 1638"/>
                <a:gd name="T27" fmla="*/ 24 h 1998"/>
                <a:gd name="T28" fmla="*/ 73 w 1638"/>
                <a:gd name="T29" fmla="*/ 33 h 1998"/>
                <a:gd name="T30" fmla="*/ 74 w 1638"/>
                <a:gd name="T31" fmla="*/ 44 h 1998"/>
                <a:gd name="T32" fmla="*/ 68 w 1638"/>
                <a:gd name="T33" fmla="*/ 45 h 1998"/>
                <a:gd name="T34" fmla="*/ 63 w 1638"/>
                <a:gd name="T35" fmla="*/ 50 h 1998"/>
                <a:gd name="T36" fmla="*/ 61 w 1638"/>
                <a:gd name="T37" fmla="*/ 62 h 1998"/>
                <a:gd name="T38" fmla="*/ 53 w 1638"/>
                <a:gd name="T39" fmla="*/ 86 h 1998"/>
                <a:gd name="T40" fmla="*/ 59 w 1638"/>
                <a:gd name="T41" fmla="*/ 90 h 1998"/>
                <a:gd name="T42" fmla="*/ 65 w 1638"/>
                <a:gd name="T43" fmla="*/ 86 h 1998"/>
                <a:gd name="T44" fmla="*/ 74 w 1638"/>
                <a:gd name="T45" fmla="*/ 84 h 1998"/>
                <a:gd name="T46" fmla="*/ 79 w 1638"/>
                <a:gd name="T47" fmla="*/ 85 h 1998"/>
                <a:gd name="T48" fmla="*/ 84 w 1638"/>
                <a:gd name="T49" fmla="*/ 84 h 1998"/>
                <a:gd name="T50" fmla="*/ 91 w 1638"/>
                <a:gd name="T51" fmla="*/ 84 h 1998"/>
                <a:gd name="T52" fmla="*/ 94 w 1638"/>
                <a:gd name="T53" fmla="*/ 81 h 1998"/>
                <a:gd name="T54" fmla="*/ 100 w 1638"/>
                <a:gd name="T55" fmla="*/ 81 h 1998"/>
                <a:gd name="T56" fmla="*/ 102 w 1638"/>
                <a:gd name="T57" fmla="*/ 84 h 1998"/>
                <a:gd name="T58" fmla="*/ 108 w 1638"/>
                <a:gd name="T59" fmla="*/ 85 h 1998"/>
                <a:gd name="T60" fmla="*/ 113 w 1638"/>
                <a:gd name="T61" fmla="*/ 88 h 1998"/>
                <a:gd name="T62" fmla="*/ 116 w 1638"/>
                <a:gd name="T63" fmla="*/ 88 h 1998"/>
                <a:gd name="T64" fmla="*/ 123 w 1638"/>
                <a:gd name="T65" fmla="*/ 87 h 1998"/>
                <a:gd name="T66" fmla="*/ 128 w 1638"/>
                <a:gd name="T67" fmla="*/ 86 h 1998"/>
                <a:gd name="T68" fmla="*/ 132 w 1638"/>
                <a:gd name="T69" fmla="*/ 90 h 1998"/>
                <a:gd name="T70" fmla="*/ 138 w 1638"/>
                <a:gd name="T71" fmla="*/ 96 h 1998"/>
                <a:gd name="T72" fmla="*/ 138 w 1638"/>
                <a:gd name="T73" fmla="*/ 110 h 1998"/>
                <a:gd name="T74" fmla="*/ 137 w 1638"/>
                <a:gd name="T75" fmla="*/ 118 h 1998"/>
                <a:gd name="T76" fmla="*/ 133 w 1638"/>
                <a:gd name="T77" fmla="*/ 124 h 1998"/>
                <a:gd name="T78" fmla="*/ 122 w 1638"/>
                <a:gd name="T79" fmla="*/ 125 h 1998"/>
                <a:gd name="T80" fmla="*/ 116 w 1638"/>
                <a:gd name="T81" fmla="*/ 127 h 1998"/>
                <a:gd name="T82" fmla="*/ 108 w 1638"/>
                <a:gd name="T83" fmla="*/ 123 h 1998"/>
                <a:gd name="T84" fmla="*/ 109 w 1638"/>
                <a:gd name="T85" fmla="*/ 119 h 1998"/>
                <a:gd name="T86" fmla="*/ 104 w 1638"/>
                <a:gd name="T87" fmla="*/ 104 h 1998"/>
                <a:gd name="T88" fmla="*/ 94 w 1638"/>
                <a:gd name="T89" fmla="*/ 105 h 1998"/>
                <a:gd name="T90" fmla="*/ 88 w 1638"/>
                <a:gd name="T91" fmla="*/ 109 h 1998"/>
                <a:gd name="T92" fmla="*/ 76 w 1638"/>
                <a:gd name="T93" fmla="*/ 107 h 1998"/>
                <a:gd name="T94" fmla="*/ 72 w 1638"/>
                <a:gd name="T95" fmla="*/ 114 h 1998"/>
                <a:gd name="T96" fmla="*/ 86 w 1638"/>
                <a:gd name="T97" fmla="*/ 121 h 1998"/>
                <a:gd name="T98" fmla="*/ 87 w 1638"/>
                <a:gd name="T99" fmla="*/ 129 h 1998"/>
                <a:gd name="T100" fmla="*/ 86 w 1638"/>
                <a:gd name="T101" fmla="*/ 137 h 1998"/>
                <a:gd name="T102" fmla="*/ 79 w 1638"/>
                <a:gd name="T103" fmla="*/ 141 h 1998"/>
                <a:gd name="T104" fmla="*/ 73 w 1638"/>
                <a:gd name="T105" fmla="*/ 144 h 1998"/>
                <a:gd name="T106" fmla="*/ 72 w 1638"/>
                <a:gd name="T107" fmla="*/ 164 h 1998"/>
                <a:gd name="T108" fmla="*/ 68 w 1638"/>
                <a:gd name="T109" fmla="*/ 172 h 1998"/>
                <a:gd name="T110" fmla="*/ 59 w 1638"/>
                <a:gd name="T111" fmla="*/ 164 h 1998"/>
                <a:gd name="T112" fmla="*/ 65 w 1638"/>
                <a:gd name="T113" fmla="*/ 146 h 1998"/>
                <a:gd name="T114" fmla="*/ 69 w 1638"/>
                <a:gd name="T115" fmla="*/ 133 h 1998"/>
                <a:gd name="T116" fmla="*/ 61 w 1638"/>
                <a:gd name="T117" fmla="*/ 131 h 1998"/>
                <a:gd name="T118" fmla="*/ 43 w 1638"/>
                <a:gd name="T119" fmla="*/ 125 h 1998"/>
                <a:gd name="T120" fmla="*/ 23 w 1638"/>
                <a:gd name="T121" fmla="*/ 125 h 1998"/>
                <a:gd name="T122" fmla="*/ 17 w 1638"/>
                <a:gd name="T123" fmla="*/ 121 h 19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638"/>
                <a:gd name="T187" fmla="*/ 0 h 1998"/>
                <a:gd name="T188" fmla="*/ 1638 w 1638"/>
                <a:gd name="T189" fmla="*/ 1998 h 19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638" h="1998">
                  <a:moveTo>
                    <a:pt x="144" y="1380"/>
                  </a:moveTo>
                  <a:lnTo>
                    <a:pt x="150" y="1368"/>
                  </a:lnTo>
                  <a:lnTo>
                    <a:pt x="150" y="1362"/>
                  </a:lnTo>
                  <a:lnTo>
                    <a:pt x="150" y="1356"/>
                  </a:lnTo>
                  <a:lnTo>
                    <a:pt x="144" y="1356"/>
                  </a:lnTo>
                  <a:lnTo>
                    <a:pt x="138" y="1356"/>
                  </a:lnTo>
                  <a:lnTo>
                    <a:pt x="126" y="1356"/>
                  </a:lnTo>
                  <a:lnTo>
                    <a:pt x="114" y="1344"/>
                  </a:lnTo>
                  <a:lnTo>
                    <a:pt x="84" y="1320"/>
                  </a:lnTo>
                  <a:lnTo>
                    <a:pt x="54" y="1296"/>
                  </a:lnTo>
                  <a:lnTo>
                    <a:pt x="48" y="1290"/>
                  </a:lnTo>
                  <a:lnTo>
                    <a:pt x="42" y="1278"/>
                  </a:lnTo>
                  <a:lnTo>
                    <a:pt x="30" y="1272"/>
                  </a:lnTo>
                  <a:lnTo>
                    <a:pt x="0" y="1248"/>
                  </a:lnTo>
                  <a:lnTo>
                    <a:pt x="6" y="1230"/>
                  </a:lnTo>
                  <a:lnTo>
                    <a:pt x="12" y="1194"/>
                  </a:lnTo>
                  <a:lnTo>
                    <a:pt x="18" y="1170"/>
                  </a:lnTo>
                  <a:lnTo>
                    <a:pt x="30" y="1134"/>
                  </a:lnTo>
                  <a:lnTo>
                    <a:pt x="36" y="1086"/>
                  </a:lnTo>
                  <a:lnTo>
                    <a:pt x="42" y="1050"/>
                  </a:lnTo>
                  <a:lnTo>
                    <a:pt x="48" y="1044"/>
                  </a:lnTo>
                  <a:lnTo>
                    <a:pt x="54" y="1026"/>
                  </a:lnTo>
                  <a:lnTo>
                    <a:pt x="60" y="1014"/>
                  </a:lnTo>
                  <a:lnTo>
                    <a:pt x="66" y="1002"/>
                  </a:lnTo>
                  <a:lnTo>
                    <a:pt x="66" y="996"/>
                  </a:lnTo>
                  <a:lnTo>
                    <a:pt x="72" y="996"/>
                  </a:lnTo>
                  <a:lnTo>
                    <a:pt x="72" y="990"/>
                  </a:lnTo>
                  <a:lnTo>
                    <a:pt x="78" y="990"/>
                  </a:lnTo>
                  <a:lnTo>
                    <a:pt x="90" y="978"/>
                  </a:lnTo>
                  <a:lnTo>
                    <a:pt x="96" y="966"/>
                  </a:lnTo>
                  <a:lnTo>
                    <a:pt x="102" y="966"/>
                  </a:lnTo>
                  <a:lnTo>
                    <a:pt x="114" y="954"/>
                  </a:lnTo>
                  <a:lnTo>
                    <a:pt x="120" y="954"/>
                  </a:lnTo>
                  <a:lnTo>
                    <a:pt x="120" y="948"/>
                  </a:lnTo>
                  <a:lnTo>
                    <a:pt x="114" y="930"/>
                  </a:lnTo>
                  <a:lnTo>
                    <a:pt x="114" y="924"/>
                  </a:lnTo>
                  <a:lnTo>
                    <a:pt x="108" y="918"/>
                  </a:lnTo>
                  <a:lnTo>
                    <a:pt x="102" y="912"/>
                  </a:lnTo>
                  <a:lnTo>
                    <a:pt x="90" y="906"/>
                  </a:lnTo>
                  <a:lnTo>
                    <a:pt x="84" y="900"/>
                  </a:lnTo>
                  <a:lnTo>
                    <a:pt x="84" y="888"/>
                  </a:lnTo>
                  <a:lnTo>
                    <a:pt x="84" y="882"/>
                  </a:lnTo>
                  <a:lnTo>
                    <a:pt x="78" y="858"/>
                  </a:lnTo>
                  <a:lnTo>
                    <a:pt x="78" y="852"/>
                  </a:lnTo>
                  <a:lnTo>
                    <a:pt x="84" y="846"/>
                  </a:lnTo>
                  <a:lnTo>
                    <a:pt x="84" y="840"/>
                  </a:lnTo>
                  <a:lnTo>
                    <a:pt x="96" y="828"/>
                  </a:lnTo>
                  <a:lnTo>
                    <a:pt x="114" y="816"/>
                  </a:lnTo>
                  <a:lnTo>
                    <a:pt x="114" y="810"/>
                  </a:lnTo>
                  <a:lnTo>
                    <a:pt x="114" y="804"/>
                  </a:lnTo>
                  <a:lnTo>
                    <a:pt x="108" y="780"/>
                  </a:lnTo>
                  <a:lnTo>
                    <a:pt x="96" y="756"/>
                  </a:lnTo>
                  <a:lnTo>
                    <a:pt x="96" y="750"/>
                  </a:lnTo>
                  <a:lnTo>
                    <a:pt x="90" y="720"/>
                  </a:lnTo>
                  <a:lnTo>
                    <a:pt x="90" y="708"/>
                  </a:lnTo>
                  <a:lnTo>
                    <a:pt x="90" y="690"/>
                  </a:lnTo>
                  <a:lnTo>
                    <a:pt x="96" y="672"/>
                  </a:lnTo>
                  <a:lnTo>
                    <a:pt x="90" y="666"/>
                  </a:lnTo>
                  <a:lnTo>
                    <a:pt x="96" y="666"/>
                  </a:lnTo>
                  <a:lnTo>
                    <a:pt x="102" y="642"/>
                  </a:lnTo>
                  <a:lnTo>
                    <a:pt x="108" y="624"/>
                  </a:lnTo>
                  <a:lnTo>
                    <a:pt x="102" y="618"/>
                  </a:lnTo>
                  <a:lnTo>
                    <a:pt x="102" y="588"/>
                  </a:lnTo>
                  <a:lnTo>
                    <a:pt x="102" y="564"/>
                  </a:lnTo>
                  <a:lnTo>
                    <a:pt x="102" y="546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0"/>
                  </a:lnTo>
                  <a:lnTo>
                    <a:pt x="96" y="498"/>
                  </a:lnTo>
                  <a:lnTo>
                    <a:pt x="96" y="486"/>
                  </a:lnTo>
                  <a:lnTo>
                    <a:pt x="96" y="474"/>
                  </a:lnTo>
                  <a:lnTo>
                    <a:pt x="96" y="462"/>
                  </a:lnTo>
                  <a:lnTo>
                    <a:pt x="114" y="450"/>
                  </a:lnTo>
                  <a:lnTo>
                    <a:pt x="126" y="438"/>
                  </a:lnTo>
                  <a:lnTo>
                    <a:pt x="132" y="432"/>
                  </a:lnTo>
                  <a:lnTo>
                    <a:pt x="144" y="426"/>
                  </a:lnTo>
                  <a:lnTo>
                    <a:pt x="144" y="420"/>
                  </a:lnTo>
                  <a:lnTo>
                    <a:pt x="156" y="414"/>
                  </a:lnTo>
                  <a:lnTo>
                    <a:pt x="162" y="408"/>
                  </a:lnTo>
                  <a:lnTo>
                    <a:pt x="180" y="396"/>
                  </a:lnTo>
                  <a:lnTo>
                    <a:pt x="210" y="372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34" y="348"/>
                  </a:lnTo>
                  <a:lnTo>
                    <a:pt x="240" y="348"/>
                  </a:lnTo>
                  <a:lnTo>
                    <a:pt x="246" y="342"/>
                  </a:lnTo>
                  <a:lnTo>
                    <a:pt x="276" y="318"/>
                  </a:lnTo>
                  <a:lnTo>
                    <a:pt x="282" y="312"/>
                  </a:lnTo>
                  <a:lnTo>
                    <a:pt x="288" y="306"/>
                  </a:lnTo>
                  <a:lnTo>
                    <a:pt x="300" y="288"/>
                  </a:lnTo>
                  <a:lnTo>
                    <a:pt x="306" y="276"/>
                  </a:lnTo>
                  <a:lnTo>
                    <a:pt x="324" y="246"/>
                  </a:lnTo>
                  <a:lnTo>
                    <a:pt x="330" y="240"/>
                  </a:lnTo>
                  <a:lnTo>
                    <a:pt x="336" y="234"/>
                  </a:lnTo>
                  <a:lnTo>
                    <a:pt x="342" y="228"/>
                  </a:lnTo>
                  <a:lnTo>
                    <a:pt x="342" y="216"/>
                  </a:lnTo>
                  <a:lnTo>
                    <a:pt x="354" y="204"/>
                  </a:lnTo>
                  <a:lnTo>
                    <a:pt x="360" y="204"/>
                  </a:lnTo>
                  <a:lnTo>
                    <a:pt x="366" y="186"/>
                  </a:lnTo>
                  <a:lnTo>
                    <a:pt x="384" y="162"/>
                  </a:lnTo>
                  <a:lnTo>
                    <a:pt x="390" y="144"/>
                  </a:lnTo>
                  <a:lnTo>
                    <a:pt x="396" y="114"/>
                  </a:lnTo>
                  <a:lnTo>
                    <a:pt x="396" y="102"/>
                  </a:lnTo>
                  <a:lnTo>
                    <a:pt x="402" y="90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08" y="36"/>
                  </a:lnTo>
                  <a:lnTo>
                    <a:pt x="408" y="24"/>
                  </a:lnTo>
                  <a:lnTo>
                    <a:pt x="408" y="6"/>
                  </a:lnTo>
                  <a:lnTo>
                    <a:pt x="420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68" y="0"/>
                  </a:lnTo>
                  <a:lnTo>
                    <a:pt x="480" y="0"/>
                  </a:lnTo>
                  <a:lnTo>
                    <a:pt x="492" y="0"/>
                  </a:lnTo>
                  <a:lnTo>
                    <a:pt x="498" y="0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8" y="18"/>
                  </a:lnTo>
                  <a:lnTo>
                    <a:pt x="534" y="18"/>
                  </a:lnTo>
                  <a:lnTo>
                    <a:pt x="540" y="18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8" y="36"/>
                  </a:lnTo>
                  <a:lnTo>
                    <a:pt x="588" y="54"/>
                  </a:lnTo>
                  <a:lnTo>
                    <a:pt x="594" y="48"/>
                  </a:lnTo>
                  <a:lnTo>
                    <a:pt x="600" y="48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12" y="66"/>
                  </a:lnTo>
                  <a:lnTo>
                    <a:pt x="630" y="72"/>
                  </a:lnTo>
                  <a:lnTo>
                    <a:pt x="642" y="78"/>
                  </a:lnTo>
                  <a:lnTo>
                    <a:pt x="666" y="78"/>
                  </a:lnTo>
                  <a:lnTo>
                    <a:pt x="672" y="72"/>
                  </a:lnTo>
                  <a:lnTo>
                    <a:pt x="690" y="84"/>
                  </a:lnTo>
                  <a:lnTo>
                    <a:pt x="690" y="90"/>
                  </a:lnTo>
                  <a:lnTo>
                    <a:pt x="708" y="96"/>
                  </a:lnTo>
                  <a:lnTo>
                    <a:pt x="708" y="102"/>
                  </a:lnTo>
                  <a:lnTo>
                    <a:pt x="744" y="96"/>
                  </a:lnTo>
                  <a:lnTo>
                    <a:pt x="756" y="78"/>
                  </a:lnTo>
                  <a:lnTo>
                    <a:pt x="756" y="72"/>
                  </a:lnTo>
                  <a:lnTo>
                    <a:pt x="762" y="66"/>
                  </a:lnTo>
                  <a:lnTo>
                    <a:pt x="768" y="60"/>
                  </a:lnTo>
                  <a:lnTo>
                    <a:pt x="774" y="54"/>
                  </a:lnTo>
                  <a:lnTo>
                    <a:pt x="786" y="54"/>
                  </a:lnTo>
                  <a:lnTo>
                    <a:pt x="786" y="60"/>
                  </a:lnTo>
                  <a:lnTo>
                    <a:pt x="786" y="66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92" y="90"/>
                  </a:lnTo>
                  <a:lnTo>
                    <a:pt x="780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26"/>
                  </a:lnTo>
                  <a:lnTo>
                    <a:pt x="768" y="150"/>
                  </a:lnTo>
                  <a:lnTo>
                    <a:pt x="750" y="168"/>
                  </a:lnTo>
                  <a:lnTo>
                    <a:pt x="750" y="174"/>
                  </a:lnTo>
                  <a:lnTo>
                    <a:pt x="762" y="192"/>
                  </a:lnTo>
                  <a:lnTo>
                    <a:pt x="774" y="210"/>
                  </a:lnTo>
                  <a:lnTo>
                    <a:pt x="792" y="228"/>
                  </a:lnTo>
                  <a:lnTo>
                    <a:pt x="804" y="240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40" y="252"/>
                  </a:lnTo>
                  <a:lnTo>
                    <a:pt x="834" y="252"/>
                  </a:lnTo>
                  <a:lnTo>
                    <a:pt x="846" y="252"/>
                  </a:lnTo>
                  <a:lnTo>
                    <a:pt x="852" y="270"/>
                  </a:lnTo>
                  <a:lnTo>
                    <a:pt x="858" y="282"/>
                  </a:lnTo>
                  <a:lnTo>
                    <a:pt x="858" y="288"/>
                  </a:lnTo>
                  <a:lnTo>
                    <a:pt x="864" y="300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58" y="318"/>
                  </a:lnTo>
                  <a:lnTo>
                    <a:pt x="852" y="318"/>
                  </a:lnTo>
                  <a:lnTo>
                    <a:pt x="846" y="324"/>
                  </a:lnTo>
                  <a:lnTo>
                    <a:pt x="846" y="336"/>
                  </a:lnTo>
                  <a:lnTo>
                    <a:pt x="840" y="348"/>
                  </a:lnTo>
                  <a:lnTo>
                    <a:pt x="840" y="360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46" y="402"/>
                  </a:lnTo>
                  <a:lnTo>
                    <a:pt x="858" y="420"/>
                  </a:lnTo>
                  <a:lnTo>
                    <a:pt x="882" y="426"/>
                  </a:lnTo>
                  <a:lnTo>
                    <a:pt x="888" y="444"/>
                  </a:lnTo>
                  <a:lnTo>
                    <a:pt x="900" y="444"/>
                  </a:lnTo>
                  <a:lnTo>
                    <a:pt x="900" y="462"/>
                  </a:lnTo>
                  <a:lnTo>
                    <a:pt x="894" y="474"/>
                  </a:lnTo>
                  <a:lnTo>
                    <a:pt x="888" y="486"/>
                  </a:lnTo>
                  <a:lnTo>
                    <a:pt x="882" y="492"/>
                  </a:lnTo>
                  <a:lnTo>
                    <a:pt x="870" y="504"/>
                  </a:lnTo>
                  <a:lnTo>
                    <a:pt x="852" y="504"/>
                  </a:lnTo>
                  <a:lnTo>
                    <a:pt x="852" y="510"/>
                  </a:lnTo>
                  <a:lnTo>
                    <a:pt x="852" y="516"/>
                  </a:lnTo>
                  <a:lnTo>
                    <a:pt x="846" y="528"/>
                  </a:lnTo>
                  <a:lnTo>
                    <a:pt x="846" y="582"/>
                  </a:lnTo>
                  <a:lnTo>
                    <a:pt x="840" y="582"/>
                  </a:lnTo>
                  <a:lnTo>
                    <a:pt x="834" y="582"/>
                  </a:lnTo>
                  <a:lnTo>
                    <a:pt x="828" y="582"/>
                  </a:lnTo>
                  <a:lnTo>
                    <a:pt x="822" y="582"/>
                  </a:lnTo>
                  <a:lnTo>
                    <a:pt x="810" y="582"/>
                  </a:lnTo>
                  <a:lnTo>
                    <a:pt x="810" y="528"/>
                  </a:lnTo>
                  <a:lnTo>
                    <a:pt x="792" y="528"/>
                  </a:lnTo>
                  <a:lnTo>
                    <a:pt x="792" y="522"/>
                  </a:lnTo>
                  <a:lnTo>
                    <a:pt x="786" y="522"/>
                  </a:lnTo>
                  <a:lnTo>
                    <a:pt x="786" y="516"/>
                  </a:lnTo>
                  <a:lnTo>
                    <a:pt x="780" y="516"/>
                  </a:lnTo>
                  <a:lnTo>
                    <a:pt x="780" y="510"/>
                  </a:lnTo>
                  <a:lnTo>
                    <a:pt x="762" y="510"/>
                  </a:lnTo>
                  <a:lnTo>
                    <a:pt x="756" y="510"/>
                  </a:lnTo>
                  <a:lnTo>
                    <a:pt x="750" y="522"/>
                  </a:lnTo>
                  <a:lnTo>
                    <a:pt x="744" y="534"/>
                  </a:lnTo>
                  <a:lnTo>
                    <a:pt x="732" y="540"/>
                  </a:lnTo>
                  <a:lnTo>
                    <a:pt x="732" y="558"/>
                  </a:lnTo>
                  <a:lnTo>
                    <a:pt x="732" y="564"/>
                  </a:lnTo>
                  <a:lnTo>
                    <a:pt x="732" y="570"/>
                  </a:lnTo>
                  <a:lnTo>
                    <a:pt x="726" y="576"/>
                  </a:lnTo>
                  <a:lnTo>
                    <a:pt x="720" y="576"/>
                  </a:lnTo>
                  <a:lnTo>
                    <a:pt x="714" y="582"/>
                  </a:lnTo>
                  <a:lnTo>
                    <a:pt x="702" y="588"/>
                  </a:lnTo>
                  <a:lnTo>
                    <a:pt x="696" y="594"/>
                  </a:lnTo>
                  <a:lnTo>
                    <a:pt x="690" y="600"/>
                  </a:lnTo>
                  <a:lnTo>
                    <a:pt x="690" y="606"/>
                  </a:lnTo>
                  <a:lnTo>
                    <a:pt x="678" y="606"/>
                  </a:lnTo>
                  <a:lnTo>
                    <a:pt x="678" y="624"/>
                  </a:lnTo>
                  <a:lnTo>
                    <a:pt x="684" y="642"/>
                  </a:lnTo>
                  <a:lnTo>
                    <a:pt x="684" y="660"/>
                  </a:lnTo>
                  <a:lnTo>
                    <a:pt x="690" y="672"/>
                  </a:lnTo>
                  <a:lnTo>
                    <a:pt x="702" y="720"/>
                  </a:lnTo>
                  <a:lnTo>
                    <a:pt x="708" y="750"/>
                  </a:lnTo>
                  <a:lnTo>
                    <a:pt x="708" y="792"/>
                  </a:lnTo>
                  <a:lnTo>
                    <a:pt x="708" y="828"/>
                  </a:lnTo>
                  <a:lnTo>
                    <a:pt x="708" y="852"/>
                  </a:lnTo>
                  <a:lnTo>
                    <a:pt x="696" y="894"/>
                  </a:lnTo>
                  <a:lnTo>
                    <a:pt x="702" y="900"/>
                  </a:lnTo>
                  <a:lnTo>
                    <a:pt x="708" y="924"/>
                  </a:lnTo>
                  <a:lnTo>
                    <a:pt x="684" y="936"/>
                  </a:lnTo>
                  <a:lnTo>
                    <a:pt x="660" y="954"/>
                  </a:lnTo>
                  <a:lnTo>
                    <a:pt x="618" y="984"/>
                  </a:lnTo>
                  <a:lnTo>
                    <a:pt x="618" y="990"/>
                  </a:lnTo>
                  <a:lnTo>
                    <a:pt x="612" y="996"/>
                  </a:lnTo>
                  <a:lnTo>
                    <a:pt x="606" y="1002"/>
                  </a:lnTo>
                  <a:lnTo>
                    <a:pt x="618" y="1008"/>
                  </a:lnTo>
                  <a:lnTo>
                    <a:pt x="618" y="1014"/>
                  </a:lnTo>
                  <a:lnTo>
                    <a:pt x="624" y="1026"/>
                  </a:lnTo>
                  <a:lnTo>
                    <a:pt x="630" y="1026"/>
                  </a:lnTo>
                  <a:lnTo>
                    <a:pt x="636" y="1032"/>
                  </a:lnTo>
                  <a:lnTo>
                    <a:pt x="642" y="1032"/>
                  </a:lnTo>
                  <a:lnTo>
                    <a:pt x="642" y="1038"/>
                  </a:lnTo>
                  <a:lnTo>
                    <a:pt x="648" y="1044"/>
                  </a:lnTo>
                  <a:lnTo>
                    <a:pt x="666" y="1050"/>
                  </a:lnTo>
                  <a:lnTo>
                    <a:pt x="678" y="1038"/>
                  </a:lnTo>
                  <a:lnTo>
                    <a:pt x="684" y="1038"/>
                  </a:lnTo>
                  <a:lnTo>
                    <a:pt x="684" y="1032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20"/>
                  </a:lnTo>
                  <a:lnTo>
                    <a:pt x="708" y="1014"/>
                  </a:lnTo>
                  <a:lnTo>
                    <a:pt x="720" y="1020"/>
                  </a:lnTo>
                  <a:lnTo>
                    <a:pt x="720" y="1014"/>
                  </a:lnTo>
                  <a:lnTo>
                    <a:pt x="726" y="1008"/>
                  </a:lnTo>
                  <a:lnTo>
                    <a:pt x="732" y="1008"/>
                  </a:lnTo>
                  <a:lnTo>
                    <a:pt x="738" y="1008"/>
                  </a:lnTo>
                  <a:lnTo>
                    <a:pt x="744" y="1002"/>
                  </a:lnTo>
                  <a:lnTo>
                    <a:pt x="744" y="996"/>
                  </a:lnTo>
                  <a:lnTo>
                    <a:pt x="750" y="996"/>
                  </a:lnTo>
                  <a:lnTo>
                    <a:pt x="756" y="1002"/>
                  </a:lnTo>
                  <a:lnTo>
                    <a:pt x="762" y="1002"/>
                  </a:lnTo>
                  <a:lnTo>
                    <a:pt x="768" y="996"/>
                  </a:lnTo>
                  <a:lnTo>
                    <a:pt x="780" y="996"/>
                  </a:lnTo>
                  <a:lnTo>
                    <a:pt x="786" y="996"/>
                  </a:lnTo>
                  <a:lnTo>
                    <a:pt x="816" y="990"/>
                  </a:lnTo>
                  <a:lnTo>
                    <a:pt x="828" y="990"/>
                  </a:lnTo>
                  <a:lnTo>
                    <a:pt x="834" y="990"/>
                  </a:lnTo>
                  <a:lnTo>
                    <a:pt x="840" y="984"/>
                  </a:lnTo>
                  <a:lnTo>
                    <a:pt x="852" y="978"/>
                  </a:lnTo>
                  <a:lnTo>
                    <a:pt x="852" y="972"/>
                  </a:lnTo>
                  <a:lnTo>
                    <a:pt x="858" y="972"/>
                  </a:lnTo>
                  <a:lnTo>
                    <a:pt x="864" y="966"/>
                  </a:lnTo>
                  <a:lnTo>
                    <a:pt x="870" y="966"/>
                  </a:lnTo>
                  <a:lnTo>
                    <a:pt x="876" y="966"/>
                  </a:lnTo>
                  <a:lnTo>
                    <a:pt x="882" y="960"/>
                  </a:lnTo>
                  <a:lnTo>
                    <a:pt x="888" y="960"/>
                  </a:lnTo>
                  <a:lnTo>
                    <a:pt x="894" y="960"/>
                  </a:lnTo>
                  <a:lnTo>
                    <a:pt x="894" y="966"/>
                  </a:lnTo>
                  <a:lnTo>
                    <a:pt x="894" y="978"/>
                  </a:lnTo>
                  <a:lnTo>
                    <a:pt x="894" y="984"/>
                  </a:lnTo>
                  <a:lnTo>
                    <a:pt x="900" y="984"/>
                  </a:lnTo>
                  <a:lnTo>
                    <a:pt x="906" y="978"/>
                  </a:lnTo>
                  <a:lnTo>
                    <a:pt x="912" y="972"/>
                  </a:lnTo>
                  <a:lnTo>
                    <a:pt x="918" y="978"/>
                  </a:lnTo>
                  <a:lnTo>
                    <a:pt x="924" y="978"/>
                  </a:lnTo>
                  <a:lnTo>
                    <a:pt x="924" y="972"/>
                  </a:lnTo>
                  <a:lnTo>
                    <a:pt x="924" y="966"/>
                  </a:lnTo>
                  <a:lnTo>
                    <a:pt x="930" y="966"/>
                  </a:lnTo>
                  <a:lnTo>
                    <a:pt x="948" y="966"/>
                  </a:lnTo>
                  <a:lnTo>
                    <a:pt x="954" y="966"/>
                  </a:lnTo>
                  <a:lnTo>
                    <a:pt x="954" y="960"/>
                  </a:lnTo>
                  <a:lnTo>
                    <a:pt x="960" y="960"/>
                  </a:lnTo>
                  <a:lnTo>
                    <a:pt x="966" y="960"/>
                  </a:lnTo>
                  <a:lnTo>
                    <a:pt x="966" y="966"/>
                  </a:lnTo>
                  <a:lnTo>
                    <a:pt x="978" y="972"/>
                  </a:lnTo>
                  <a:lnTo>
                    <a:pt x="978" y="978"/>
                  </a:lnTo>
                  <a:lnTo>
                    <a:pt x="978" y="984"/>
                  </a:lnTo>
                  <a:lnTo>
                    <a:pt x="984" y="978"/>
                  </a:lnTo>
                  <a:lnTo>
                    <a:pt x="990" y="978"/>
                  </a:lnTo>
                  <a:lnTo>
                    <a:pt x="996" y="984"/>
                  </a:lnTo>
                  <a:lnTo>
                    <a:pt x="1002" y="990"/>
                  </a:lnTo>
                  <a:lnTo>
                    <a:pt x="1008" y="972"/>
                  </a:lnTo>
                  <a:lnTo>
                    <a:pt x="1026" y="972"/>
                  </a:lnTo>
                  <a:lnTo>
                    <a:pt x="1032" y="972"/>
                  </a:lnTo>
                  <a:lnTo>
                    <a:pt x="1038" y="972"/>
                  </a:lnTo>
                  <a:lnTo>
                    <a:pt x="1050" y="972"/>
                  </a:lnTo>
                  <a:lnTo>
                    <a:pt x="1056" y="972"/>
                  </a:lnTo>
                  <a:lnTo>
                    <a:pt x="1062" y="966"/>
                  </a:lnTo>
                  <a:lnTo>
                    <a:pt x="1074" y="966"/>
                  </a:lnTo>
                  <a:lnTo>
                    <a:pt x="1074" y="960"/>
                  </a:lnTo>
                  <a:lnTo>
                    <a:pt x="1080" y="954"/>
                  </a:lnTo>
                  <a:lnTo>
                    <a:pt x="1080" y="948"/>
                  </a:lnTo>
                  <a:lnTo>
                    <a:pt x="1074" y="948"/>
                  </a:lnTo>
                  <a:lnTo>
                    <a:pt x="1068" y="948"/>
                  </a:lnTo>
                  <a:lnTo>
                    <a:pt x="1062" y="942"/>
                  </a:lnTo>
                  <a:lnTo>
                    <a:pt x="1068" y="936"/>
                  </a:lnTo>
                  <a:lnTo>
                    <a:pt x="1074" y="936"/>
                  </a:lnTo>
                  <a:lnTo>
                    <a:pt x="1080" y="936"/>
                  </a:lnTo>
                  <a:lnTo>
                    <a:pt x="1086" y="942"/>
                  </a:lnTo>
                  <a:lnTo>
                    <a:pt x="1092" y="942"/>
                  </a:lnTo>
                  <a:lnTo>
                    <a:pt x="1098" y="948"/>
                  </a:lnTo>
                  <a:lnTo>
                    <a:pt x="1104" y="954"/>
                  </a:lnTo>
                  <a:lnTo>
                    <a:pt x="1110" y="954"/>
                  </a:lnTo>
                  <a:lnTo>
                    <a:pt x="1116" y="948"/>
                  </a:lnTo>
                  <a:lnTo>
                    <a:pt x="1122" y="942"/>
                  </a:lnTo>
                  <a:lnTo>
                    <a:pt x="1128" y="942"/>
                  </a:lnTo>
                  <a:lnTo>
                    <a:pt x="1134" y="942"/>
                  </a:lnTo>
                  <a:lnTo>
                    <a:pt x="1140" y="948"/>
                  </a:lnTo>
                  <a:lnTo>
                    <a:pt x="1146" y="942"/>
                  </a:lnTo>
                  <a:lnTo>
                    <a:pt x="1152" y="942"/>
                  </a:lnTo>
                  <a:lnTo>
                    <a:pt x="1152" y="930"/>
                  </a:lnTo>
                  <a:lnTo>
                    <a:pt x="1164" y="936"/>
                  </a:lnTo>
                  <a:lnTo>
                    <a:pt x="1158" y="942"/>
                  </a:lnTo>
                  <a:lnTo>
                    <a:pt x="1158" y="948"/>
                  </a:lnTo>
                  <a:lnTo>
                    <a:pt x="1146" y="954"/>
                  </a:lnTo>
                  <a:lnTo>
                    <a:pt x="1152" y="954"/>
                  </a:lnTo>
                  <a:lnTo>
                    <a:pt x="1158" y="954"/>
                  </a:lnTo>
                  <a:lnTo>
                    <a:pt x="1158" y="948"/>
                  </a:lnTo>
                  <a:lnTo>
                    <a:pt x="1164" y="948"/>
                  </a:lnTo>
                  <a:lnTo>
                    <a:pt x="1170" y="948"/>
                  </a:lnTo>
                  <a:lnTo>
                    <a:pt x="1176" y="954"/>
                  </a:lnTo>
                  <a:lnTo>
                    <a:pt x="1176" y="966"/>
                  </a:lnTo>
                  <a:lnTo>
                    <a:pt x="1182" y="972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88" y="984"/>
                  </a:lnTo>
                  <a:lnTo>
                    <a:pt x="1194" y="984"/>
                  </a:lnTo>
                  <a:lnTo>
                    <a:pt x="1200" y="984"/>
                  </a:lnTo>
                  <a:lnTo>
                    <a:pt x="1212" y="984"/>
                  </a:lnTo>
                  <a:lnTo>
                    <a:pt x="1218" y="990"/>
                  </a:lnTo>
                  <a:lnTo>
                    <a:pt x="1224" y="990"/>
                  </a:lnTo>
                  <a:lnTo>
                    <a:pt x="1224" y="984"/>
                  </a:lnTo>
                  <a:lnTo>
                    <a:pt x="1230" y="990"/>
                  </a:lnTo>
                  <a:lnTo>
                    <a:pt x="1236" y="984"/>
                  </a:lnTo>
                  <a:lnTo>
                    <a:pt x="1242" y="984"/>
                  </a:lnTo>
                  <a:lnTo>
                    <a:pt x="1248" y="990"/>
                  </a:lnTo>
                  <a:lnTo>
                    <a:pt x="1254" y="990"/>
                  </a:lnTo>
                  <a:lnTo>
                    <a:pt x="1254" y="996"/>
                  </a:lnTo>
                  <a:lnTo>
                    <a:pt x="1254" y="1002"/>
                  </a:lnTo>
                  <a:lnTo>
                    <a:pt x="1254" y="1008"/>
                  </a:lnTo>
                  <a:lnTo>
                    <a:pt x="1260" y="1014"/>
                  </a:lnTo>
                  <a:lnTo>
                    <a:pt x="1266" y="1014"/>
                  </a:lnTo>
                  <a:lnTo>
                    <a:pt x="1272" y="1014"/>
                  </a:lnTo>
                  <a:lnTo>
                    <a:pt x="1278" y="1020"/>
                  </a:lnTo>
                  <a:lnTo>
                    <a:pt x="1284" y="1020"/>
                  </a:lnTo>
                  <a:lnTo>
                    <a:pt x="1290" y="1014"/>
                  </a:lnTo>
                  <a:lnTo>
                    <a:pt x="1290" y="1008"/>
                  </a:lnTo>
                  <a:lnTo>
                    <a:pt x="1296" y="1008"/>
                  </a:lnTo>
                  <a:lnTo>
                    <a:pt x="1302" y="1014"/>
                  </a:lnTo>
                  <a:lnTo>
                    <a:pt x="1308" y="1014"/>
                  </a:lnTo>
                  <a:lnTo>
                    <a:pt x="1314" y="1008"/>
                  </a:lnTo>
                  <a:lnTo>
                    <a:pt x="1320" y="1008"/>
                  </a:lnTo>
                  <a:lnTo>
                    <a:pt x="1320" y="1002"/>
                  </a:lnTo>
                  <a:lnTo>
                    <a:pt x="1320" y="996"/>
                  </a:lnTo>
                  <a:lnTo>
                    <a:pt x="1332" y="1002"/>
                  </a:lnTo>
                  <a:lnTo>
                    <a:pt x="1332" y="1008"/>
                  </a:lnTo>
                  <a:lnTo>
                    <a:pt x="1326" y="1014"/>
                  </a:lnTo>
                  <a:lnTo>
                    <a:pt x="1332" y="1014"/>
                  </a:lnTo>
                  <a:lnTo>
                    <a:pt x="1338" y="1014"/>
                  </a:lnTo>
                  <a:lnTo>
                    <a:pt x="1338" y="1008"/>
                  </a:lnTo>
                  <a:lnTo>
                    <a:pt x="1344" y="1008"/>
                  </a:lnTo>
                  <a:lnTo>
                    <a:pt x="1350" y="1008"/>
                  </a:lnTo>
                  <a:lnTo>
                    <a:pt x="1356" y="1014"/>
                  </a:lnTo>
                  <a:lnTo>
                    <a:pt x="1356" y="1008"/>
                  </a:lnTo>
                  <a:lnTo>
                    <a:pt x="1362" y="1014"/>
                  </a:lnTo>
                  <a:lnTo>
                    <a:pt x="1392" y="1014"/>
                  </a:lnTo>
                  <a:lnTo>
                    <a:pt x="1398" y="1014"/>
                  </a:lnTo>
                  <a:lnTo>
                    <a:pt x="1404" y="1008"/>
                  </a:lnTo>
                  <a:lnTo>
                    <a:pt x="1404" y="1014"/>
                  </a:lnTo>
                  <a:lnTo>
                    <a:pt x="1410" y="1008"/>
                  </a:lnTo>
                  <a:lnTo>
                    <a:pt x="1416" y="1008"/>
                  </a:lnTo>
                  <a:lnTo>
                    <a:pt x="1422" y="1002"/>
                  </a:lnTo>
                  <a:lnTo>
                    <a:pt x="1428" y="1002"/>
                  </a:lnTo>
                  <a:lnTo>
                    <a:pt x="1428" y="996"/>
                  </a:lnTo>
                  <a:lnTo>
                    <a:pt x="1428" y="990"/>
                  </a:lnTo>
                  <a:lnTo>
                    <a:pt x="1440" y="1002"/>
                  </a:lnTo>
                  <a:lnTo>
                    <a:pt x="1446" y="1002"/>
                  </a:lnTo>
                  <a:lnTo>
                    <a:pt x="1452" y="1002"/>
                  </a:lnTo>
                  <a:lnTo>
                    <a:pt x="1446" y="996"/>
                  </a:lnTo>
                  <a:lnTo>
                    <a:pt x="1452" y="996"/>
                  </a:lnTo>
                  <a:lnTo>
                    <a:pt x="1458" y="996"/>
                  </a:lnTo>
                  <a:lnTo>
                    <a:pt x="1464" y="996"/>
                  </a:lnTo>
                  <a:lnTo>
                    <a:pt x="1464" y="1002"/>
                  </a:lnTo>
                  <a:lnTo>
                    <a:pt x="1476" y="1014"/>
                  </a:lnTo>
                  <a:lnTo>
                    <a:pt x="1476" y="1008"/>
                  </a:lnTo>
                  <a:lnTo>
                    <a:pt x="1482" y="1008"/>
                  </a:lnTo>
                  <a:lnTo>
                    <a:pt x="1488" y="1020"/>
                  </a:lnTo>
                  <a:lnTo>
                    <a:pt x="1494" y="1020"/>
                  </a:lnTo>
                  <a:lnTo>
                    <a:pt x="1500" y="1014"/>
                  </a:lnTo>
                  <a:lnTo>
                    <a:pt x="1500" y="1020"/>
                  </a:lnTo>
                  <a:lnTo>
                    <a:pt x="1506" y="1026"/>
                  </a:lnTo>
                  <a:lnTo>
                    <a:pt x="1512" y="1032"/>
                  </a:lnTo>
                  <a:lnTo>
                    <a:pt x="1518" y="1032"/>
                  </a:lnTo>
                  <a:lnTo>
                    <a:pt x="1518" y="1038"/>
                  </a:lnTo>
                  <a:lnTo>
                    <a:pt x="1518" y="1044"/>
                  </a:lnTo>
                  <a:lnTo>
                    <a:pt x="1524" y="1044"/>
                  </a:lnTo>
                  <a:lnTo>
                    <a:pt x="1524" y="1050"/>
                  </a:lnTo>
                  <a:lnTo>
                    <a:pt x="1530" y="1056"/>
                  </a:lnTo>
                  <a:lnTo>
                    <a:pt x="1548" y="1062"/>
                  </a:lnTo>
                  <a:lnTo>
                    <a:pt x="1560" y="1074"/>
                  </a:lnTo>
                  <a:lnTo>
                    <a:pt x="1560" y="1080"/>
                  </a:lnTo>
                  <a:lnTo>
                    <a:pt x="1560" y="1086"/>
                  </a:lnTo>
                  <a:lnTo>
                    <a:pt x="1566" y="1086"/>
                  </a:lnTo>
                  <a:lnTo>
                    <a:pt x="1572" y="1098"/>
                  </a:lnTo>
                  <a:lnTo>
                    <a:pt x="1572" y="1104"/>
                  </a:lnTo>
                  <a:lnTo>
                    <a:pt x="1584" y="1110"/>
                  </a:lnTo>
                  <a:lnTo>
                    <a:pt x="1590" y="1116"/>
                  </a:lnTo>
                  <a:lnTo>
                    <a:pt x="1596" y="1116"/>
                  </a:lnTo>
                  <a:lnTo>
                    <a:pt x="1608" y="1122"/>
                  </a:lnTo>
                  <a:lnTo>
                    <a:pt x="1620" y="1140"/>
                  </a:lnTo>
                  <a:lnTo>
                    <a:pt x="1626" y="1158"/>
                  </a:lnTo>
                  <a:lnTo>
                    <a:pt x="1638" y="1200"/>
                  </a:lnTo>
                  <a:lnTo>
                    <a:pt x="1638" y="1218"/>
                  </a:lnTo>
                  <a:lnTo>
                    <a:pt x="1620" y="1230"/>
                  </a:lnTo>
                  <a:lnTo>
                    <a:pt x="1554" y="1230"/>
                  </a:lnTo>
                  <a:lnTo>
                    <a:pt x="1560" y="1248"/>
                  </a:lnTo>
                  <a:lnTo>
                    <a:pt x="1584" y="1260"/>
                  </a:lnTo>
                  <a:lnTo>
                    <a:pt x="1584" y="1266"/>
                  </a:lnTo>
                  <a:lnTo>
                    <a:pt x="1578" y="1272"/>
                  </a:lnTo>
                  <a:lnTo>
                    <a:pt x="1572" y="1272"/>
                  </a:lnTo>
                  <a:lnTo>
                    <a:pt x="1566" y="1278"/>
                  </a:lnTo>
                  <a:lnTo>
                    <a:pt x="1566" y="1284"/>
                  </a:lnTo>
                  <a:lnTo>
                    <a:pt x="1560" y="1290"/>
                  </a:lnTo>
                  <a:lnTo>
                    <a:pt x="1554" y="1290"/>
                  </a:lnTo>
                  <a:lnTo>
                    <a:pt x="1554" y="1296"/>
                  </a:lnTo>
                  <a:lnTo>
                    <a:pt x="1554" y="1302"/>
                  </a:lnTo>
                  <a:lnTo>
                    <a:pt x="1560" y="1332"/>
                  </a:lnTo>
                  <a:lnTo>
                    <a:pt x="1566" y="1356"/>
                  </a:lnTo>
                  <a:lnTo>
                    <a:pt x="1572" y="1356"/>
                  </a:lnTo>
                  <a:lnTo>
                    <a:pt x="1572" y="1362"/>
                  </a:lnTo>
                  <a:lnTo>
                    <a:pt x="1578" y="1362"/>
                  </a:lnTo>
                  <a:lnTo>
                    <a:pt x="1560" y="1374"/>
                  </a:lnTo>
                  <a:lnTo>
                    <a:pt x="1560" y="1380"/>
                  </a:lnTo>
                  <a:lnTo>
                    <a:pt x="1548" y="1380"/>
                  </a:lnTo>
                  <a:lnTo>
                    <a:pt x="1548" y="1386"/>
                  </a:lnTo>
                  <a:lnTo>
                    <a:pt x="1548" y="1392"/>
                  </a:lnTo>
                  <a:lnTo>
                    <a:pt x="1542" y="1410"/>
                  </a:lnTo>
                  <a:lnTo>
                    <a:pt x="1536" y="1422"/>
                  </a:lnTo>
                  <a:lnTo>
                    <a:pt x="1536" y="1428"/>
                  </a:lnTo>
                  <a:lnTo>
                    <a:pt x="1530" y="1440"/>
                  </a:lnTo>
                  <a:lnTo>
                    <a:pt x="1524" y="1434"/>
                  </a:lnTo>
                  <a:lnTo>
                    <a:pt x="1524" y="1428"/>
                  </a:lnTo>
                  <a:lnTo>
                    <a:pt x="1524" y="1422"/>
                  </a:lnTo>
                  <a:lnTo>
                    <a:pt x="1512" y="1410"/>
                  </a:lnTo>
                  <a:lnTo>
                    <a:pt x="1506" y="1404"/>
                  </a:lnTo>
                  <a:lnTo>
                    <a:pt x="1506" y="1398"/>
                  </a:lnTo>
                  <a:lnTo>
                    <a:pt x="1494" y="1392"/>
                  </a:lnTo>
                  <a:lnTo>
                    <a:pt x="1476" y="1404"/>
                  </a:lnTo>
                  <a:lnTo>
                    <a:pt x="1464" y="1416"/>
                  </a:lnTo>
                  <a:lnTo>
                    <a:pt x="1458" y="1428"/>
                  </a:lnTo>
                  <a:lnTo>
                    <a:pt x="1446" y="1434"/>
                  </a:lnTo>
                  <a:lnTo>
                    <a:pt x="1410" y="1440"/>
                  </a:lnTo>
                  <a:lnTo>
                    <a:pt x="1398" y="1440"/>
                  </a:lnTo>
                  <a:lnTo>
                    <a:pt x="1398" y="1446"/>
                  </a:lnTo>
                  <a:lnTo>
                    <a:pt x="1386" y="1446"/>
                  </a:lnTo>
                  <a:lnTo>
                    <a:pt x="1380" y="1440"/>
                  </a:lnTo>
                  <a:lnTo>
                    <a:pt x="1368" y="1440"/>
                  </a:lnTo>
                  <a:lnTo>
                    <a:pt x="1368" y="1446"/>
                  </a:lnTo>
                  <a:lnTo>
                    <a:pt x="1356" y="1446"/>
                  </a:lnTo>
                  <a:lnTo>
                    <a:pt x="1350" y="1452"/>
                  </a:lnTo>
                  <a:lnTo>
                    <a:pt x="1338" y="1452"/>
                  </a:lnTo>
                  <a:lnTo>
                    <a:pt x="1338" y="1458"/>
                  </a:lnTo>
                  <a:lnTo>
                    <a:pt x="1332" y="1458"/>
                  </a:lnTo>
                  <a:lnTo>
                    <a:pt x="1332" y="1464"/>
                  </a:lnTo>
                  <a:lnTo>
                    <a:pt x="1332" y="1470"/>
                  </a:lnTo>
                  <a:lnTo>
                    <a:pt x="1326" y="1470"/>
                  </a:lnTo>
                  <a:lnTo>
                    <a:pt x="1320" y="1470"/>
                  </a:lnTo>
                  <a:lnTo>
                    <a:pt x="1314" y="1470"/>
                  </a:lnTo>
                  <a:lnTo>
                    <a:pt x="1314" y="1464"/>
                  </a:lnTo>
                  <a:lnTo>
                    <a:pt x="1308" y="1464"/>
                  </a:lnTo>
                  <a:lnTo>
                    <a:pt x="1308" y="1452"/>
                  </a:lnTo>
                  <a:lnTo>
                    <a:pt x="1284" y="1458"/>
                  </a:lnTo>
                  <a:lnTo>
                    <a:pt x="1272" y="1458"/>
                  </a:lnTo>
                  <a:lnTo>
                    <a:pt x="1272" y="1464"/>
                  </a:lnTo>
                  <a:lnTo>
                    <a:pt x="1260" y="1464"/>
                  </a:lnTo>
                  <a:lnTo>
                    <a:pt x="1254" y="1464"/>
                  </a:lnTo>
                  <a:lnTo>
                    <a:pt x="1242" y="1422"/>
                  </a:lnTo>
                  <a:lnTo>
                    <a:pt x="1242" y="1416"/>
                  </a:lnTo>
                  <a:lnTo>
                    <a:pt x="1242" y="1410"/>
                  </a:lnTo>
                  <a:lnTo>
                    <a:pt x="1248" y="1410"/>
                  </a:lnTo>
                  <a:lnTo>
                    <a:pt x="1242" y="1410"/>
                  </a:lnTo>
                  <a:lnTo>
                    <a:pt x="1242" y="1404"/>
                  </a:lnTo>
                  <a:lnTo>
                    <a:pt x="1242" y="1398"/>
                  </a:lnTo>
                  <a:lnTo>
                    <a:pt x="1248" y="1392"/>
                  </a:lnTo>
                  <a:lnTo>
                    <a:pt x="1248" y="1386"/>
                  </a:lnTo>
                  <a:lnTo>
                    <a:pt x="1242" y="1380"/>
                  </a:lnTo>
                  <a:lnTo>
                    <a:pt x="1248" y="1380"/>
                  </a:lnTo>
                  <a:lnTo>
                    <a:pt x="1248" y="1374"/>
                  </a:lnTo>
                  <a:lnTo>
                    <a:pt x="1248" y="1368"/>
                  </a:lnTo>
                  <a:lnTo>
                    <a:pt x="1254" y="1368"/>
                  </a:lnTo>
                  <a:lnTo>
                    <a:pt x="1254" y="1362"/>
                  </a:lnTo>
                  <a:lnTo>
                    <a:pt x="1248" y="1356"/>
                  </a:lnTo>
                  <a:lnTo>
                    <a:pt x="1254" y="1356"/>
                  </a:lnTo>
                  <a:lnTo>
                    <a:pt x="1254" y="1344"/>
                  </a:lnTo>
                  <a:lnTo>
                    <a:pt x="1242" y="1338"/>
                  </a:lnTo>
                  <a:lnTo>
                    <a:pt x="1242" y="1326"/>
                  </a:lnTo>
                  <a:lnTo>
                    <a:pt x="1230" y="1326"/>
                  </a:lnTo>
                  <a:lnTo>
                    <a:pt x="1230" y="1314"/>
                  </a:lnTo>
                  <a:lnTo>
                    <a:pt x="1218" y="1314"/>
                  </a:lnTo>
                  <a:lnTo>
                    <a:pt x="1200" y="1272"/>
                  </a:lnTo>
                  <a:lnTo>
                    <a:pt x="1194" y="1242"/>
                  </a:lnTo>
                  <a:lnTo>
                    <a:pt x="1194" y="1206"/>
                  </a:lnTo>
                  <a:lnTo>
                    <a:pt x="1182" y="1200"/>
                  </a:lnTo>
                  <a:lnTo>
                    <a:pt x="1164" y="1206"/>
                  </a:lnTo>
                  <a:lnTo>
                    <a:pt x="1146" y="1212"/>
                  </a:lnTo>
                  <a:lnTo>
                    <a:pt x="1146" y="1218"/>
                  </a:lnTo>
                  <a:lnTo>
                    <a:pt x="1134" y="1224"/>
                  </a:lnTo>
                  <a:lnTo>
                    <a:pt x="1140" y="1260"/>
                  </a:lnTo>
                  <a:lnTo>
                    <a:pt x="1134" y="1266"/>
                  </a:lnTo>
                  <a:lnTo>
                    <a:pt x="1122" y="1266"/>
                  </a:lnTo>
                  <a:lnTo>
                    <a:pt x="1110" y="1236"/>
                  </a:lnTo>
                  <a:lnTo>
                    <a:pt x="1110" y="1224"/>
                  </a:lnTo>
                  <a:lnTo>
                    <a:pt x="1086" y="1224"/>
                  </a:lnTo>
                  <a:lnTo>
                    <a:pt x="1086" y="1212"/>
                  </a:lnTo>
                  <a:lnTo>
                    <a:pt x="1074" y="1212"/>
                  </a:lnTo>
                  <a:lnTo>
                    <a:pt x="1050" y="1212"/>
                  </a:lnTo>
                  <a:lnTo>
                    <a:pt x="1056" y="1218"/>
                  </a:lnTo>
                  <a:lnTo>
                    <a:pt x="1050" y="1272"/>
                  </a:lnTo>
                  <a:lnTo>
                    <a:pt x="1044" y="1272"/>
                  </a:lnTo>
                  <a:lnTo>
                    <a:pt x="1038" y="1284"/>
                  </a:lnTo>
                  <a:lnTo>
                    <a:pt x="1032" y="1302"/>
                  </a:lnTo>
                  <a:lnTo>
                    <a:pt x="1014" y="1302"/>
                  </a:lnTo>
                  <a:lnTo>
                    <a:pt x="1020" y="1284"/>
                  </a:lnTo>
                  <a:lnTo>
                    <a:pt x="1026" y="1278"/>
                  </a:lnTo>
                  <a:lnTo>
                    <a:pt x="1026" y="1266"/>
                  </a:lnTo>
                  <a:lnTo>
                    <a:pt x="1014" y="1260"/>
                  </a:lnTo>
                  <a:lnTo>
                    <a:pt x="1014" y="1272"/>
                  </a:lnTo>
                  <a:lnTo>
                    <a:pt x="990" y="1278"/>
                  </a:lnTo>
                  <a:lnTo>
                    <a:pt x="990" y="1254"/>
                  </a:lnTo>
                  <a:lnTo>
                    <a:pt x="984" y="1254"/>
                  </a:lnTo>
                  <a:lnTo>
                    <a:pt x="978" y="1242"/>
                  </a:lnTo>
                  <a:lnTo>
                    <a:pt x="972" y="1236"/>
                  </a:lnTo>
                  <a:lnTo>
                    <a:pt x="960" y="1206"/>
                  </a:lnTo>
                  <a:lnTo>
                    <a:pt x="942" y="1206"/>
                  </a:lnTo>
                  <a:lnTo>
                    <a:pt x="936" y="1200"/>
                  </a:lnTo>
                  <a:lnTo>
                    <a:pt x="906" y="1212"/>
                  </a:lnTo>
                  <a:lnTo>
                    <a:pt x="888" y="1230"/>
                  </a:lnTo>
                  <a:lnTo>
                    <a:pt x="876" y="1230"/>
                  </a:lnTo>
                  <a:lnTo>
                    <a:pt x="864" y="1236"/>
                  </a:lnTo>
                  <a:lnTo>
                    <a:pt x="858" y="1236"/>
                  </a:lnTo>
                  <a:lnTo>
                    <a:pt x="852" y="1254"/>
                  </a:lnTo>
                  <a:lnTo>
                    <a:pt x="858" y="1254"/>
                  </a:lnTo>
                  <a:lnTo>
                    <a:pt x="840" y="1266"/>
                  </a:lnTo>
                  <a:lnTo>
                    <a:pt x="828" y="1272"/>
                  </a:lnTo>
                  <a:lnTo>
                    <a:pt x="828" y="1284"/>
                  </a:lnTo>
                  <a:lnTo>
                    <a:pt x="822" y="1284"/>
                  </a:lnTo>
                  <a:lnTo>
                    <a:pt x="804" y="1296"/>
                  </a:lnTo>
                  <a:lnTo>
                    <a:pt x="804" y="1308"/>
                  </a:lnTo>
                  <a:lnTo>
                    <a:pt x="816" y="1320"/>
                  </a:lnTo>
                  <a:lnTo>
                    <a:pt x="828" y="1320"/>
                  </a:lnTo>
                  <a:lnTo>
                    <a:pt x="822" y="1338"/>
                  </a:lnTo>
                  <a:lnTo>
                    <a:pt x="852" y="1344"/>
                  </a:lnTo>
                  <a:lnTo>
                    <a:pt x="864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94" y="1356"/>
                  </a:lnTo>
                  <a:lnTo>
                    <a:pt x="912" y="1368"/>
                  </a:lnTo>
                  <a:lnTo>
                    <a:pt x="918" y="1380"/>
                  </a:lnTo>
                  <a:lnTo>
                    <a:pt x="936" y="1380"/>
                  </a:lnTo>
                  <a:lnTo>
                    <a:pt x="960" y="1386"/>
                  </a:lnTo>
                  <a:lnTo>
                    <a:pt x="990" y="1386"/>
                  </a:lnTo>
                  <a:lnTo>
                    <a:pt x="990" y="1392"/>
                  </a:lnTo>
                  <a:lnTo>
                    <a:pt x="1020" y="1398"/>
                  </a:lnTo>
                  <a:lnTo>
                    <a:pt x="1014" y="1404"/>
                  </a:lnTo>
                  <a:lnTo>
                    <a:pt x="1008" y="1404"/>
                  </a:lnTo>
                  <a:lnTo>
                    <a:pt x="1014" y="1440"/>
                  </a:lnTo>
                  <a:lnTo>
                    <a:pt x="1020" y="1458"/>
                  </a:lnTo>
                  <a:lnTo>
                    <a:pt x="1026" y="1476"/>
                  </a:lnTo>
                  <a:lnTo>
                    <a:pt x="1020" y="1476"/>
                  </a:lnTo>
                  <a:lnTo>
                    <a:pt x="1014" y="1476"/>
                  </a:lnTo>
                  <a:lnTo>
                    <a:pt x="1014" y="1482"/>
                  </a:lnTo>
                  <a:lnTo>
                    <a:pt x="1014" y="1488"/>
                  </a:lnTo>
                  <a:lnTo>
                    <a:pt x="1002" y="1488"/>
                  </a:lnTo>
                  <a:lnTo>
                    <a:pt x="1002" y="1494"/>
                  </a:lnTo>
                  <a:lnTo>
                    <a:pt x="996" y="1494"/>
                  </a:lnTo>
                  <a:lnTo>
                    <a:pt x="996" y="1518"/>
                  </a:lnTo>
                  <a:lnTo>
                    <a:pt x="1002" y="1524"/>
                  </a:lnTo>
                  <a:lnTo>
                    <a:pt x="1020" y="1530"/>
                  </a:lnTo>
                  <a:lnTo>
                    <a:pt x="1026" y="1542"/>
                  </a:lnTo>
                  <a:lnTo>
                    <a:pt x="1032" y="1566"/>
                  </a:lnTo>
                  <a:lnTo>
                    <a:pt x="1038" y="1578"/>
                  </a:lnTo>
                  <a:lnTo>
                    <a:pt x="1032" y="1584"/>
                  </a:lnTo>
                  <a:lnTo>
                    <a:pt x="1020" y="1584"/>
                  </a:lnTo>
                  <a:lnTo>
                    <a:pt x="1014" y="1584"/>
                  </a:lnTo>
                  <a:lnTo>
                    <a:pt x="1008" y="1596"/>
                  </a:lnTo>
                  <a:lnTo>
                    <a:pt x="990" y="1584"/>
                  </a:lnTo>
                  <a:lnTo>
                    <a:pt x="984" y="1602"/>
                  </a:lnTo>
                  <a:lnTo>
                    <a:pt x="978" y="1608"/>
                  </a:lnTo>
                  <a:lnTo>
                    <a:pt x="966" y="1608"/>
                  </a:lnTo>
                  <a:lnTo>
                    <a:pt x="960" y="1614"/>
                  </a:lnTo>
                  <a:lnTo>
                    <a:pt x="954" y="1614"/>
                  </a:lnTo>
                  <a:lnTo>
                    <a:pt x="942" y="1620"/>
                  </a:lnTo>
                  <a:lnTo>
                    <a:pt x="936" y="1620"/>
                  </a:lnTo>
                  <a:lnTo>
                    <a:pt x="930" y="1620"/>
                  </a:lnTo>
                  <a:lnTo>
                    <a:pt x="930" y="1626"/>
                  </a:lnTo>
                  <a:lnTo>
                    <a:pt x="930" y="1632"/>
                  </a:lnTo>
                  <a:lnTo>
                    <a:pt x="918" y="1632"/>
                  </a:lnTo>
                  <a:lnTo>
                    <a:pt x="912" y="1632"/>
                  </a:lnTo>
                  <a:lnTo>
                    <a:pt x="906" y="1632"/>
                  </a:lnTo>
                  <a:lnTo>
                    <a:pt x="900" y="1632"/>
                  </a:lnTo>
                  <a:lnTo>
                    <a:pt x="894" y="1626"/>
                  </a:lnTo>
                  <a:lnTo>
                    <a:pt x="894" y="1614"/>
                  </a:lnTo>
                  <a:lnTo>
                    <a:pt x="840" y="1614"/>
                  </a:lnTo>
                  <a:lnTo>
                    <a:pt x="840" y="1626"/>
                  </a:lnTo>
                  <a:lnTo>
                    <a:pt x="834" y="1626"/>
                  </a:lnTo>
                  <a:lnTo>
                    <a:pt x="828" y="1632"/>
                  </a:lnTo>
                  <a:lnTo>
                    <a:pt x="822" y="1638"/>
                  </a:lnTo>
                  <a:lnTo>
                    <a:pt x="822" y="1644"/>
                  </a:lnTo>
                  <a:lnTo>
                    <a:pt x="834" y="1650"/>
                  </a:lnTo>
                  <a:lnTo>
                    <a:pt x="840" y="1662"/>
                  </a:lnTo>
                  <a:lnTo>
                    <a:pt x="840" y="1668"/>
                  </a:lnTo>
                  <a:lnTo>
                    <a:pt x="858" y="1680"/>
                  </a:lnTo>
                  <a:lnTo>
                    <a:pt x="858" y="1752"/>
                  </a:lnTo>
                  <a:lnTo>
                    <a:pt x="864" y="1782"/>
                  </a:lnTo>
                  <a:lnTo>
                    <a:pt x="876" y="1788"/>
                  </a:lnTo>
                  <a:lnTo>
                    <a:pt x="870" y="1854"/>
                  </a:lnTo>
                  <a:lnTo>
                    <a:pt x="870" y="1884"/>
                  </a:lnTo>
                  <a:lnTo>
                    <a:pt x="864" y="1884"/>
                  </a:lnTo>
                  <a:lnTo>
                    <a:pt x="846" y="1896"/>
                  </a:lnTo>
                  <a:lnTo>
                    <a:pt x="840" y="1896"/>
                  </a:lnTo>
                  <a:lnTo>
                    <a:pt x="834" y="1896"/>
                  </a:lnTo>
                  <a:lnTo>
                    <a:pt x="828" y="1890"/>
                  </a:lnTo>
                  <a:lnTo>
                    <a:pt x="822" y="1890"/>
                  </a:lnTo>
                  <a:lnTo>
                    <a:pt x="816" y="1896"/>
                  </a:lnTo>
                  <a:lnTo>
                    <a:pt x="804" y="1896"/>
                  </a:lnTo>
                  <a:lnTo>
                    <a:pt x="804" y="1890"/>
                  </a:lnTo>
                  <a:lnTo>
                    <a:pt x="780" y="1896"/>
                  </a:lnTo>
                  <a:lnTo>
                    <a:pt x="780" y="1902"/>
                  </a:lnTo>
                  <a:lnTo>
                    <a:pt x="774" y="1914"/>
                  </a:lnTo>
                  <a:lnTo>
                    <a:pt x="762" y="1926"/>
                  </a:lnTo>
                  <a:lnTo>
                    <a:pt x="762" y="1950"/>
                  </a:lnTo>
                  <a:lnTo>
                    <a:pt x="762" y="1962"/>
                  </a:lnTo>
                  <a:lnTo>
                    <a:pt x="780" y="1974"/>
                  </a:lnTo>
                  <a:lnTo>
                    <a:pt x="780" y="1986"/>
                  </a:lnTo>
                  <a:lnTo>
                    <a:pt x="780" y="1998"/>
                  </a:lnTo>
                  <a:lnTo>
                    <a:pt x="756" y="1998"/>
                  </a:lnTo>
                  <a:lnTo>
                    <a:pt x="720" y="1992"/>
                  </a:lnTo>
                  <a:lnTo>
                    <a:pt x="666" y="1998"/>
                  </a:lnTo>
                  <a:lnTo>
                    <a:pt x="654" y="1998"/>
                  </a:lnTo>
                  <a:lnTo>
                    <a:pt x="660" y="1974"/>
                  </a:lnTo>
                  <a:lnTo>
                    <a:pt x="666" y="1962"/>
                  </a:lnTo>
                  <a:lnTo>
                    <a:pt x="678" y="1950"/>
                  </a:lnTo>
                  <a:lnTo>
                    <a:pt x="696" y="1932"/>
                  </a:lnTo>
                  <a:lnTo>
                    <a:pt x="696" y="1920"/>
                  </a:lnTo>
                  <a:lnTo>
                    <a:pt x="696" y="1896"/>
                  </a:lnTo>
                  <a:lnTo>
                    <a:pt x="678" y="1896"/>
                  </a:lnTo>
                  <a:lnTo>
                    <a:pt x="672" y="1884"/>
                  </a:lnTo>
                  <a:lnTo>
                    <a:pt x="672" y="1776"/>
                  </a:lnTo>
                  <a:lnTo>
                    <a:pt x="678" y="1758"/>
                  </a:lnTo>
                  <a:lnTo>
                    <a:pt x="678" y="1740"/>
                  </a:lnTo>
                  <a:lnTo>
                    <a:pt x="684" y="1728"/>
                  </a:lnTo>
                  <a:lnTo>
                    <a:pt x="690" y="1722"/>
                  </a:lnTo>
                  <a:lnTo>
                    <a:pt x="702" y="1722"/>
                  </a:lnTo>
                  <a:lnTo>
                    <a:pt x="708" y="1716"/>
                  </a:lnTo>
                  <a:lnTo>
                    <a:pt x="714" y="1710"/>
                  </a:lnTo>
                  <a:lnTo>
                    <a:pt x="720" y="1698"/>
                  </a:lnTo>
                  <a:lnTo>
                    <a:pt x="732" y="1692"/>
                  </a:lnTo>
                  <a:lnTo>
                    <a:pt x="744" y="1686"/>
                  </a:lnTo>
                  <a:lnTo>
                    <a:pt x="756" y="1680"/>
                  </a:lnTo>
                  <a:lnTo>
                    <a:pt x="768" y="1668"/>
                  </a:lnTo>
                  <a:lnTo>
                    <a:pt x="768" y="1650"/>
                  </a:lnTo>
                  <a:lnTo>
                    <a:pt x="774" y="1632"/>
                  </a:lnTo>
                  <a:lnTo>
                    <a:pt x="768" y="1620"/>
                  </a:lnTo>
                  <a:lnTo>
                    <a:pt x="774" y="1608"/>
                  </a:lnTo>
                  <a:lnTo>
                    <a:pt x="774" y="1578"/>
                  </a:lnTo>
                  <a:lnTo>
                    <a:pt x="774" y="1572"/>
                  </a:lnTo>
                  <a:lnTo>
                    <a:pt x="780" y="1560"/>
                  </a:lnTo>
                  <a:lnTo>
                    <a:pt x="780" y="1554"/>
                  </a:lnTo>
                  <a:lnTo>
                    <a:pt x="786" y="1542"/>
                  </a:lnTo>
                  <a:lnTo>
                    <a:pt x="792" y="1530"/>
                  </a:lnTo>
                  <a:lnTo>
                    <a:pt x="792" y="1518"/>
                  </a:lnTo>
                  <a:lnTo>
                    <a:pt x="792" y="1506"/>
                  </a:lnTo>
                  <a:lnTo>
                    <a:pt x="786" y="1500"/>
                  </a:lnTo>
                  <a:lnTo>
                    <a:pt x="774" y="1488"/>
                  </a:lnTo>
                  <a:lnTo>
                    <a:pt x="774" y="1482"/>
                  </a:lnTo>
                  <a:lnTo>
                    <a:pt x="762" y="1488"/>
                  </a:lnTo>
                  <a:lnTo>
                    <a:pt x="756" y="1494"/>
                  </a:lnTo>
                  <a:lnTo>
                    <a:pt x="744" y="1500"/>
                  </a:lnTo>
                  <a:lnTo>
                    <a:pt x="732" y="1506"/>
                  </a:lnTo>
                  <a:lnTo>
                    <a:pt x="726" y="1506"/>
                  </a:lnTo>
                  <a:lnTo>
                    <a:pt x="720" y="1506"/>
                  </a:lnTo>
                  <a:lnTo>
                    <a:pt x="702" y="1506"/>
                  </a:lnTo>
                  <a:lnTo>
                    <a:pt x="690" y="1500"/>
                  </a:lnTo>
                  <a:lnTo>
                    <a:pt x="678" y="1500"/>
                  </a:lnTo>
                  <a:lnTo>
                    <a:pt x="672" y="1500"/>
                  </a:lnTo>
                  <a:lnTo>
                    <a:pt x="660" y="1506"/>
                  </a:lnTo>
                  <a:lnTo>
                    <a:pt x="654" y="1506"/>
                  </a:lnTo>
                  <a:lnTo>
                    <a:pt x="648" y="1512"/>
                  </a:lnTo>
                  <a:lnTo>
                    <a:pt x="648" y="1518"/>
                  </a:lnTo>
                  <a:lnTo>
                    <a:pt x="618" y="1518"/>
                  </a:lnTo>
                  <a:lnTo>
                    <a:pt x="534" y="1494"/>
                  </a:lnTo>
                  <a:lnTo>
                    <a:pt x="528" y="1458"/>
                  </a:lnTo>
                  <a:lnTo>
                    <a:pt x="510" y="1458"/>
                  </a:lnTo>
                  <a:lnTo>
                    <a:pt x="492" y="1440"/>
                  </a:lnTo>
                  <a:lnTo>
                    <a:pt x="462" y="1440"/>
                  </a:lnTo>
                  <a:lnTo>
                    <a:pt x="456" y="1428"/>
                  </a:lnTo>
                  <a:lnTo>
                    <a:pt x="420" y="1428"/>
                  </a:lnTo>
                  <a:lnTo>
                    <a:pt x="390" y="1446"/>
                  </a:lnTo>
                  <a:lnTo>
                    <a:pt x="312" y="1452"/>
                  </a:lnTo>
                  <a:lnTo>
                    <a:pt x="300" y="1446"/>
                  </a:lnTo>
                  <a:lnTo>
                    <a:pt x="294" y="1446"/>
                  </a:lnTo>
                  <a:lnTo>
                    <a:pt x="288" y="1446"/>
                  </a:lnTo>
                  <a:lnTo>
                    <a:pt x="282" y="1440"/>
                  </a:lnTo>
                  <a:lnTo>
                    <a:pt x="276" y="1440"/>
                  </a:lnTo>
                  <a:lnTo>
                    <a:pt x="270" y="1440"/>
                  </a:lnTo>
                  <a:lnTo>
                    <a:pt x="264" y="1440"/>
                  </a:lnTo>
                  <a:lnTo>
                    <a:pt x="258" y="1434"/>
                  </a:lnTo>
                  <a:lnTo>
                    <a:pt x="252" y="1434"/>
                  </a:lnTo>
                  <a:lnTo>
                    <a:pt x="246" y="1428"/>
                  </a:lnTo>
                  <a:lnTo>
                    <a:pt x="240" y="1416"/>
                  </a:lnTo>
                  <a:lnTo>
                    <a:pt x="234" y="1404"/>
                  </a:lnTo>
                  <a:lnTo>
                    <a:pt x="228" y="1398"/>
                  </a:lnTo>
                  <a:lnTo>
                    <a:pt x="222" y="1398"/>
                  </a:lnTo>
                  <a:lnTo>
                    <a:pt x="216" y="1404"/>
                  </a:lnTo>
                  <a:lnTo>
                    <a:pt x="210" y="1404"/>
                  </a:lnTo>
                  <a:lnTo>
                    <a:pt x="204" y="1404"/>
                  </a:lnTo>
                  <a:lnTo>
                    <a:pt x="204" y="1398"/>
                  </a:lnTo>
                  <a:lnTo>
                    <a:pt x="198" y="1392"/>
                  </a:lnTo>
                  <a:lnTo>
                    <a:pt x="192" y="1386"/>
                  </a:lnTo>
                  <a:lnTo>
                    <a:pt x="168" y="1374"/>
                  </a:lnTo>
                  <a:lnTo>
                    <a:pt x="144" y="13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0" name="Freeform 35">
              <a:extLst>
                <a:ext uri="{FF2B5EF4-FFF2-40B4-BE49-F238E27FC236}">
                  <a16:creationId xmlns:a16="http://schemas.microsoft.com/office/drawing/2014/main" id="{F64BF16E-9D62-438E-A1CC-CD4088AC7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2895" y="1706004"/>
              <a:ext cx="767013" cy="785011"/>
            </a:xfrm>
            <a:custGeom>
              <a:avLst/>
              <a:gdLst>
                <a:gd name="T0" fmla="*/ 102 w 1440"/>
                <a:gd name="T1" fmla="*/ 104 h 1476"/>
                <a:gd name="T2" fmla="*/ 99 w 1440"/>
                <a:gd name="T3" fmla="*/ 108 h 1476"/>
                <a:gd name="T4" fmla="*/ 98 w 1440"/>
                <a:gd name="T5" fmla="*/ 112 h 1476"/>
                <a:gd name="T6" fmla="*/ 96 w 1440"/>
                <a:gd name="T7" fmla="*/ 116 h 1476"/>
                <a:gd name="T8" fmla="*/ 91 w 1440"/>
                <a:gd name="T9" fmla="*/ 118 h 1476"/>
                <a:gd name="T10" fmla="*/ 87 w 1440"/>
                <a:gd name="T11" fmla="*/ 120 h 1476"/>
                <a:gd name="T12" fmla="*/ 75 w 1440"/>
                <a:gd name="T13" fmla="*/ 120 h 1476"/>
                <a:gd name="T14" fmla="*/ 72 w 1440"/>
                <a:gd name="T15" fmla="*/ 123 h 1476"/>
                <a:gd name="T16" fmla="*/ 69 w 1440"/>
                <a:gd name="T17" fmla="*/ 128 h 1476"/>
                <a:gd name="T18" fmla="*/ 67 w 1440"/>
                <a:gd name="T19" fmla="*/ 127 h 1476"/>
                <a:gd name="T20" fmla="*/ 66 w 1440"/>
                <a:gd name="T21" fmla="*/ 123 h 1476"/>
                <a:gd name="T22" fmla="*/ 63 w 1440"/>
                <a:gd name="T23" fmla="*/ 119 h 1476"/>
                <a:gd name="T24" fmla="*/ 54 w 1440"/>
                <a:gd name="T25" fmla="*/ 114 h 1476"/>
                <a:gd name="T26" fmla="*/ 55 w 1440"/>
                <a:gd name="T27" fmla="*/ 106 h 1476"/>
                <a:gd name="T28" fmla="*/ 60 w 1440"/>
                <a:gd name="T29" fmla="*/ 100 h 1476"/>
                <a:gd name="T30" fmla="*/ 55 w 1440"/>
                <a:gd name="T31" fmla="*/ 91 h 1476"/>
                <a:gd name="T32" fmla="*/ 51 w 1440"/>
                <a:gd name="T33" fmla="*/ 86 h 1476"/>
                <a:gd name="T34" fmla="*/ 47 w 1440"/>
                <a:gd name="T35" fmla="*/ 85 h 1476"/>
                <a:gd name="T36" fmla="*/ 44 w 1440"/>
                <a:gd name="T37" fmla="*/ 82 h 1476"/>
                <a:gd name="T38" fmla="*/ 41 w 1440"/>
                <a:gd name="T39" fmla="*/ 83 h 1476"/>
                <a:gd name="T40" fmla="*/ 36 w 1440"/>
                <a:gd name="T41" fmla="*/ 83 h 1476"/>
                <a:gd name="T42" fmla="*/ 33 w 1440"/>
                <a:gd name="T43" fmla="*/ 83 h 1476"/>
                <a:gd name="T44" fmla="*/ 30 w 1440"/>
                <a:gd name="T45" fmla="*/ 83 h 1476"/>
                <a:gd name="T46" fmla="*/ 27 w 1440"/>
                <a:gd name="T47" fmla="*/ 83 h 1476"/>
                <a:gd name="T48" fmla="*/ 24 w 1440"/>
                <a:gd name="T49" fmla="*/ 82 h 1476"/>
                <a:gd name="T50" fmla="*/ 21 w 1440"/>
                <a:gd name="T51" fmla="*/ 80 h 1476"/>
                <a:gd name="T52" fmla="*/ 18 w 1440"/>
                <a:gd name="T53" fmla="*/ 79 h 1476"/>
                <a:gd name="T54" fmla="*/ 17 w 1440"/>
                <a:gd name="T55" fmla="*/ 78 h 1476"/>
                <a:gd name="T56" fmla="*/ 12 w 1440"/>
                <a:gd name="T57" fmla="*/ 78 h 1476"/>
                <a:gd name="T58" fmla="*/ 12 w 1440"/>
                <a:gd name="T59" fmla="*/ 78 h 1476"/>
                <a:gd name="T60" fmla="*/ 7 w 1440"/>
                <a:gd name="T61" fmla="*/ 80 h 1476"/>
                <a:gd name="T62" fmla="*/ 3 w 1440"/>
                <a:gd name="T63" fmla="*/ 81 h 1476"/>
                <a:gd name="T64" fmla="*/ 0 w 1440"/>
                <a:gd name="T65" fmla="*/ 76 h 1476"/>
                <a:gd name="T66" fmla="*/ 1 w 1440"/>
                <a:gd name="T67" fmla="*/ 50 h 1476"/>
                <a:gd name="T68" fmla="*/ 8 w 1440"/>
                <a:gd name="T69" fmla="*/ 48 h 1476"/>
                <a:gd name="T70" fmla="*/ 20 w 1440"/>
                <a:gd name="T71" fmla="*/ 49 h 1476"/>
                <a:gd name="T72" fmla="*/ 26 w 1440"/>
                <a:gd name="T73" fmla="*/ 50 h 1476"/>
                <a:gd name="T74" fmla="*/ 44 w 1440"/>
                <a:gd name="T75" fmla="*/ 47 h 1476"/>
                <a:gd name="T76" fmla="*/ 41 w 1440"/>
                <a:gd name="T77" fmla="*/ 24 h 1476"/>
                <a:gd name="T78" fmla="*/ 44 w 1440"/>
                <a:gd name="T79" fmla="*/ 20 h 1476"/>
                <a:gd name="T80" fmla="*/ 47 w 1440"/>
                <a:gd name="T81" fmla="*/ 18 h 1476"/>
                <a:gd name="T82" fmla="*/ 54 w 1440"/>
                <a:gd name="T83" fmla="*/ 21 h 1476"/>
                <a:gd name="T84" fmla="*/ 61 w 1440"/>
                <a:gd name="T85" fmla="*/ 23 h 1476"/>
                <a:gd name="T86" fmla="*/ 59 w 1440"/>
                <a:gd name="T87" fmla="*/ 14 h 1476"/>
                <a:gd name="T88" fmla="*/ 61 w 1440"/>
                <a:gd name="T89" fmla="*/ 8 h 1476"/>
                <a:gd name="T90" fmla="*/ 71 w 1440"/>
                <a:gd name="T91" fmla="*/ 7 h 1476"/>
                <a:gd name="T92" fmla="*/ 75 w 1440"/>
                <a:gd name="T93" fmla="*/ 0 h 1476"/>
                <a:gd name="T94" fmla="*/ 82 w 1440"/>
                <a:gd name="T95" fmla="*/ 3 h 1476"/>
                <a:gd name="T96" fmla="*/ 93 w 1440"/>
                <a:gd name="T97" fmla="*/ 5 h 1476"/>
                <a:gd name="T98" fmla="*/ 100 w 1440"/>
                <a:gd name="T99" fmla="*/ 1 h 1476"/>
                <a:gd name="T100" fmla="*/ 104 w 1440"/>
                <a:gd name="T101" fmla="*/ 4 h 1476"/>
                <a:gd name="T102" fmla="*/ 110 w 1440"/>
                <a:gd name="T103" fmla="*/ 10 h 1476"/>
                <a:gd name="T104" fmla="*/ 115 w 1440"/>
                <a:gd name="T105" fmla="*/ 23 h 1476"/>
                <a:gd name="T106" fmla="*/ 117 w 1440"/>
                <a:gd name="T107" fmla="*/ 42 h 1476"/>
                <a:gd name="T108" fmla="*/ 121 w 1440"/>
                <a:gd name="T109" fmla="*/ 52 h 1476"/>
                <a:gd name="T110" fmla="*/ 118 w 1440"/>
                <a:gd name="T111" fmla="*/ 62 h 1476"/>
                <a:gd name="T112" fmla="*/ 124 w 1440"/>
                <a:gd name="T113" fmla="*/ 66 h 1476"/>
                <a:gd name="T114" fmla="*/ 121 w 1440"/>
                <a:gd name="T115" fmla="*/ 71 h 1476"/>
                <a:gd name="T116" fmla="*/ 115 w 1440"/>
                <a:gd name="T117" fmla="*/ 76 h 1476"/>
                <a:gd name="T118" fmla="*/ 109 w 1440"/>
                <a:gd name="T119" fmla="*/ 76 h 1476"/>
                <a:gd name="T120" fmla="*/ 105 w 1440"/>
                <a:gd name="T121" fmla="*/ 86 h 1476"/>
                <a:gd name="T122" fmla="*/ 107 w 1440"/>
                <a:gd name="T123" fmla="*/ 97 h 147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40"/>
                <a:gd name="T187" fmla="*/ 0 h 1476"/>
                <a:gd name="T188" fmla="*/ 1440 w 1440"/>
                <a:gd name="T189" fmla="*/ 1476 h 147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40" h="1476">
                  <a:moveTo>
                    <a:pt x="1212" y="1164"/>
                  </a:moveTo>
                  <a:lnTo>
                    <a:pt x="1206" y="1170"/>
                  </a:lnTo>
                  <a:lnTo>
                    <a:pt x="1200" y="1176"/>
                  </a:lnTo>
                  <a:lnTo>
                    <a:pt x="1194" y="1176"/>
                  </a:lnTo>
                  <a:lnTo>
                    <a:pt x="1188" y="1188"/>
                  </a:lnTo>
                  <a:lnTo>
                    <a:pt x="1182" y="1194"/>
                  </a:lnTo>
                  <a:lnTo>
                    <a:pt x="1176" y="1194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64" y="1206"/>
                  </a:lnTo>
                  <a:lnTo>
                    <a:pt x="1158" y="1206"/>
                  </a:lnTo>
                  <a:lnTo>
                    <a:pt x="1152" y="1212"/>
                  </a:lnTo>
                  <a:lnTo>
                    <a:pt x="1146" y="1212"/>
                  </a:lnTo>
                  <a:lnTo>
                    <a:pt x="1140" y="1224"/>
                  </a:lnTo>
                  <a:lnTo>
                    <a:pt x="1134" y="1230"/>
                  </a:lnTo>
                  <a:lnTo>
                    <a:pt x="1128" y="1236"/>
                  </a:lnTo>
                  <a:lnTo>
                    <a:pt x="1128" y="1242"/>
                  </a:lnTo>
                  <a:lnTo>
                    <a:pt x="1128" y="1254"/>
                  </a:lnTo>
                  <a:lnTo>
                    <a:pt x="1128" y="1260"/>
                  </a:lnTo>
                  <a:lnTo>
                    <a:pt x="1122" y="1260"/>
                  </a:lnTo>
                  <a:lnTo>
                    <a:pt x="1122" y="1266"/>
                  </a:lnTo>
                  <a:lnTo>
                    <a:pt x="1128" y="1278"/>
                  </a:lnTo>
                  <a:lnTo>
                    <a:pt x="1122" y="1278"/>
                  </a:lnTo>
                  <a:lnTo>
                    <a:pt x="1122" y="1284"/>
                  </a:lnTo>
                  <a:lnTo>
                    <a:pt x="1128" y="1290"/>
                  </a:lnTo>
                  <a:lnTo>
                    <a:pt x="1122" y="1296"/>
                  </a:lnTo>
                  <a:lnTo>
                    <a:pt x="1122" y="1302"/>
                  </a:lnTo>
                  <a:lnTo>
                    <a:pt x="1116" y="1302"/>
                  </a:lnTo>
                  <a:lnTo>
                    <a:pt x="1110" y="1314"/>
                  </a:lnTo>
                  <a:lnTo>
                    <a:pt x="1110" y="1320"/>
                  </a:lnTo>
                  <a:lnTo>
                    <a:pt x="1110" y="1326"/>
                  </a:lnTo>
                  <a:lnTo>
                    <a:pt x="1098" y="1332"/>
                  </a:lnTo>
                  <a:lnTo>
                    <a:pt x="1092" y="1338"/>
                  </a:lnTo>
                  <a:lnTo>
                    <a:pt x="1092" y="1344"/>
                  </a:lnTo>
                  <a:lnTo>
                    <a:pt x="1086" y="1350"/>
                  </a:lnTo>
                  <a:lnTo>
                    <a:pt x="1080" y="1350"/>
                  </a:lnTo>
                  <a:lnTo>
                    <a:pt x="1074" y="1350"/>
                  </a:lnTo>
                  <a:lnTo>
                    <a:pt x="1068" y="1356"/>
                  </a:lnTo>
                  <a:lnTo>
                    <a:pt x="1062" y="1356"/>
                  </a:lnTo>
                  <a:lnTo>
                    <a:pt x="1044" y="1356"/>
                  </a:lnTo>
                  <a:lnTo>
                    <a:pt x="1038" y="1362"/>
                  </a:lnTo>
                  <a:lnTo>
                    <a:pt x="1032" y="1368"/>
                  </a:lnTo>
                  <a:lnTo>
                    <a:pt x="1026" y="1368"/>
                  </a:lnTo>
                  <a:lnTo>
                    <a:pt x="1020" y="1374"/>
                  </a:lnTo>
                  <a:lnTo>
                    <a:pt x="1008" y="1374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74"/>
                  </a:lnTo>
                  <a:lnTo>
                    <a:pt x="978" y="1380"/>
                  </a:lnTo>
                  <a:lnTo>
                    <a:pt x="972" y="1380"/>
                  </a:lnTo>
                  <a:lnTo>
                    <a:pt x="954" y="1368"/>
                  </a:lnTo>
                  <a:lnTo>
                    <a:pt x="930" y="1368"/>
                  </a:lnTo>
                  <a:lnTo>
                    <a:pt x="918" y="1368"/>
                  </a:lnTo>
                  <a:lnTo>
                    <a:pt x="906" y="1368"/>
                  </a:lnTo>
                  <a:lnTo>
                    <a:pt x="894" y="1368"/>
                  </a:lnTo>
                  <a:lnTo>
                    <a:pt x="864" y="1374"/>
                  </a:lnTo>
                  <a:lnTo>
                    <a:pt x="852" y="1374"/>
                  </a:lnTo>
                  <a:lnTo>
                    <a:pt x="846" y="1386"/>
                  </a:lnTo>
                  <a:lnTo>
                    <a:pt x="846" y="1392"/>
                  </a:lnTo>
                  <a:lnTo>
                    <a:pt x="840" y="1398"/>
                  </a:lnTo>
                  <a:lnTo>
                    <a:pt x="840" y="1404"/>
                  </a:lnTo>
                  <a:lnTo>
                    <a:pt x="834" y="1416"/>
                  </a:lnTo>
                  <a:lnTo>
                    <a:pt x="828" y="1416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04" y="1428"/>
                  </a:lnTo>
                  <a:lnTo>
                    <a:pt x="804" y="1434"/>
                  </a:lnTo>
                  <a:lnTo>
                    <a:pt x="804" y="1440"/>
                  </a:lnTo>
                  <a:lnTo>
                    <a:pt x="798" y="1446"/>
                  </a:lnTo>
                  <a:lnTo>
                    <a:pt x="798" y="1458"/>
                  </a:lnTo>
                  <a:lnTo>
                    <a:pt x="792" y="1464"/>
                  </a:lnTo>
                  <a:lnTo>
                    <a:pt x="786" y="1476"/>
                  </a:lnTo>
                  <a:lnTo>
                    <a:pt x="780" y="1470"/>
                  </a:lnTo>
                  <a:lnTo>
                    <a:pt x="774" y="1470"/>
                  </a:lnTo>
                  <a:lnTo>
                    <a:pt x="768" y="1470"/>
                  </a:lnTo>
                  <a:lnTo>
                    <a:pt x="762" y="1476"/>
                  </a:lnTo>
                  <a:lnTo>
                    <a:pt x="762" y="1470"/>
                  </a:lnTo>
                  <a:lnTo>
                    <a:pt x="762" y="1464"/>
                  </a:lnTo>
                  <a:lnTo>
                    <a:pt x="762" y="1458"/>
                  </a:lnTo>
                  <a:lnTo>
                    <a:pt x="756" y="1458"/>
                  </a:lnTo>
                  <a:lnTo>
                    <a:pt x="756" y="1452"/>
                  </a:lnTo>
                  <a:lnTo>
                    <a:pt x="756" y="1446"/>
                  </a:lnTo>
                  <a:lnTo>
                    <a:pt x="756" y="1440"/>
                  </a:lnTo>
                  <a:lnTo>
                    <a:pt x="750" y="1434"/>
                  </a:lnTo>
                  <a:lnTo>
                    <a:pt x="750" y="1428"/>
                  </a:lnTo>
                  <a:lnTo>
                    <a:pt x="750" y="1422"/>
                  </a:lnTo>
                  <a:lnTo>
                    <a:pt x="750" y="1416"/>
                  </a:lnTo>
                  <a:lnTo>
                    <a:pt x="744" y="1416"/>
                  </a:lnTo>
                  <a:lnTo>
                    <a:pt x="744" y="1410"/>
                  </a:lnTo>
                  <a:lnTo>
                    <a:pt x="738" y="1404"/>
                  </a:lnTo>
                  <a:lnTo>
                    <a:pt x="732" y="1398"/>
                  </a:lnTo>
                  <a:lnTo>
                    <a:pt x="732" y="1392"/>
                  </a:lnTo>
                  <a:lnTo>
                    <a:pt x="726" y="1386"/>
                  </a:lnTo>
                  <a:lnTo>
                    <a:pt x="726" y="1380"/>
                  </a:lnTo>
                  <a:lnTo>
                    <a:pt x="714" y="1368"/>
                  </a:lnTo>
                  <a:lnTo>
                    <a:pt x="708" y="1368"/>
                  </a:lnTo>
                  <a:lnTo>
                    <a:pt x="684" y="1332"/>
                  </a:lnTo>
                  <a:lnTo>
                    <a:pt x="666" y="1320"/>
                  </a:lnTo>
                  <a:lnTo>
                    <a:pt x="648" y="1302"/>
                  </a:lnTo>
                  <a:lnTo>
                    <a:pt x="630" y="1314"/>
                  </a:lnTo>
                  <a:lnTo>
                    <a:pt x="624" y="1314"/>
                  </a:lnTo>
                  <a:lnTo>
                    <a:pt x="624" y="1308"/>
                  </a:lnTo>
                  <a:lnTo>
                    <a:pt x="618" y="1308"/>
                  </a:lnTo>
                  <a:lnTo>
                    <a:pt x="612" y="1284"/>
                  </a:lnTo>
                  <a:lnTo>
                    <a:pt x="606" y="1254"/>
                  </a:lnTo>
                  <a:lnTo>
                    <a:pt x="606" y="1248"/>
                  </a:lnTo>
                  <a:lnTo>
                    <a:pt x="606" y="1242"/>
                  </a:lnTo>
                  <a:lnTo>
                    <a:pt x="612" y="1242"/>
                  </a:lnTo>
                  <a:lnTo>
                    <a:pt x="618" y="1236"/>
                  </a:lnTo>
                  <a:lnTo>
                    <a:pt x="618" y="1230"/>
                  </a:lnTo>
                  <a:lnTo>
                    <a:pt x="624" y="1224"/>
                  </a:lnTo>
                  <a:lnTo>
                    <a:pt x="630" y="1224"/>
                  </a:lnTo>
                  <a:lnTo>
                    <a:pt x="636" y="1218"/>
                  </a:lnTo>
                  <a:lnTo>
                    <a:pt x="636" y="1212"/>
                  </a:lnTo>
                  <a:lnTo>
                    <a:pt x="612" y="1200"/>
                  </a:lnTo>
                  <a:lnTo>
                    <a:pt x="606" y="1182"/>
                  </a:lnTo>
                  <a:lnTo>
                    <a:pt x="672" y="1182"/>
                  </a:lnTo>
                  <a:lnTo>
                    <a:pt x="690" y="1170"/>
                  </a:lnTo>
                  <a:lnTo>
                    <a:pt x="690" y="1152"/>
                  </a:lnTo>
                  <a:lnTo>
                    <a:pt x="678" y="1110"/>
                  </a:lnTo>
                  <a:lnTo>
                    <a:pt x="672" y="1092"/>
                  </a:lnTo>
                  <a:lnTo>
                    <a:pt x="660" y="1074"/>
                  </a:lnTo>
                  <a:lnTo>
                    <a:pt x="648" y="1068"/>
                  </a:lnTo>
                  <a:lnTo>
                    <a:pt x="642" y="1068"/>
                  </a:lnTo>
                  <a:lnTo>
                    <a:pt x="636" y="1062"/>
                  </a:lnTo>
                  <a:lnTo>
                    <a:pt x="624" y="1056"/>
                  </a:lnTo>
                  <a:lnTo>
                    <a:pt x="624" y="1050"/>
                  </a:lnTo>
                  <a:lnTo>
                    <a:pt x="618" y="1038"/>
                  </a:lnTo>
                  <a:lnTo>
                    <a:pt x="612" y="1038"/>
                  </a:lnTo>
                  <a:lnTo>
                    <a:pt x="612" y="1032"/>
                  </a:lnTo>
                  <a:lnTo>
                    <a:pt x="612" y="1026"/>
                  </a:lnTo>
                  <a:lnTo>
                    <a:pt x="600" y="1014"/>
                  </a:lnTo>
                  <a:lnTo>
                    <a:pt x="582" y="1008"/>
                  </a:lnTo>
                  <a:lnTo>
                    <a:pt x="576" y="1002"/>
                  </a:lnTo>
                  <a:lnTo>
                    <a:pt x="576" y="996"/>
                  </a:lnTo>
                  <a:lnTo>
                    <a:pt x="570" y="996"/>
                  </a:lnTo>
                  <a:lnTo>
                    <a:pt x="570" y="990"/>
                  </a:lnTo>
                  <a:lnTo>
                    <a:pt x="570" y="984"/>
                  </a:lnTo>
                  <a:lnTo>
                    <a:pt x="564" y="984"/>
                  </a:lnTo>
                  <a:lnTo>
                    <a:pt x="558" y="978"/>
                  </a:lnTo>
                  <a:lnTo>
                    <a:pt x="552" y="972"/>
                  </a:lnTo>
                  <a:lnTo>
                    <a:pt x="552" y="966"/>
                  </a:lnTo>
                  <a:lnTo>
                    <a:pt x="546" y="972"/>
                  </a:lnTo>
                  <a:lnTo>
                    <a:pt x="540" y="972"/>
                  </a:lnTo>
                  <a:lnTo>
                    <a:pt x="534" y="960"/>
                  </a:lnTo>
                  <a:lnTo>
                    <a:pt x="528" y="960"/>
                  </a:lnTo>
                  <a:lnTo>
                    <a:pt x="528" y="966"/>
                  </a:lnTo>
                  <a:lnTo>
                    <a:pt x="516" y="954"/>
                  </a:lnTo>
                  <a:lnTo>
                    <a:pt x="516" y="948"/>
                  </a:lnTo>
                  <a:lnTo>
                    <a:pt x="510" y="948"/>
                  </a:lnTo>
                  <a:lnTo>
                    <a:pt x="504" y="948"/>
                  </a:lnTo>
                  <a:lnTo>
                    <a:pt x="498" y="948"/>
                  </a:lnTo>
                  <a:lnTo>
                    <a:pt x="504" y="954"/>
                  </a:lnTo>
                  <a:lnTo>
                    <a:pt x="498" y="954"/>
                  </a:lnTo>
                  <a:lnTo>
                    <a:pt x="492" y="954"/>
                  </a:lnTo>
                  <a:lnTo>
                    <a:pt x="480" y="942"/>
                  </a:lnTo>
                  <a:lnTo>
                    <a:pt x="480" y="948"/>
                  </a:lnTo>
                  <a:lnTo>
                    <a:pt x="480" y="954"/>
                  </a:lnTo>
                  <a:lnTo>
                    <a:pt x="474" y="954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56" y="966"/>
                  </a:lnTo>
                  <a:lnTo>
                    <a:pt x="456" y="960"/>
                  </a:lnTo>
                  <a:lnTo>
                    <a:pt x="450" y="966"/>
                  </a:lnTo>
                  <a:lnTo>
                    <a:pt x="444" y="966"/>
                  </a:lnTo>
                  <a:lnTo>
                    <a:pt x="414" y="966"/>
                  </a:lnTo>
                  <a:lnTo>
                    <a:pt x="408" y="960"/>
                  </a:lnTo>
                  <a:lnTo>
                    <a:pt x="408" y="966"/>
                  </a:lnTo>
                  <a:lnTo>
                    <a:pt x="402" y="960"/>
                  </a:lnTo>
                  <a:lnTo>
                    <a:pt x="396" y="960"/>
                  </a:lnTo>
                  <a:lnTo>
                    <a:pt x="390" y="960"/>
                  </a:lnTo>
                  <a:lnTo>
                    <a:pt x="390" y="966"/>
                  </a:lnTo>
                  <a:lnTo>
                    <a:pt x="384" y="966"/>
                  </a:lnTo>
                  <a:lnTo>
                    <a:pt x="378" y="966"/>
                  </a:lnTo>
                  <a:lnTo>
                    <a:pt x="384" y="960"/>
                  </a:lnTo>
                  <a:lnTo>
                    <a:pt x="384" y="954"/>
                  </a:lnTo>
                  <a:lnTo>
                    <a:pt x="372" y="948"/>
                  </a:lnTo>
                  <a:lnTo>
                    <a:pt x="372" y="954"/>
                  </a:lnTo>
                  <a:lnTo>
                    <a:pt x="372" y="960"/>
                  </a:lnTo>
                  <a:lnTo>
                    <a:pt x="366" y="960"/>
                  </a:lnTo>
                  <a:lnTo>
                    <a:pt x="360" y="966"/>
                  </a:lnTo>
                  <a:lnTo>
                    <a:pt x="354" y="966"/>
                  </a:lnTo>
                  <a:lnTo>
                    <a:pt x="348" y="960"/>
                  </a:lnTo>
                  <a:lnTo>
                    <a:pt x="342" y="960"/>
                  </a:lnTo>
                  <a:lnTo>
                    <a:pt x="342" y="966"/>
                  </a:lnTo>
                  <a:lnTo>
                    <a:pt x="336" y="972"/>
                  </a:lnTo>
                  <a:lnTo>
                    <a:pt x="330" y="972"/>
                  </a:lnTo>
                  <a:lnTo>
                    <a:pt x="324" y="966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6" y="954"/>
                  </a:lnTo>
                  <a:lnTo>
                    <a:pt x="306" y="948"/>
                  </a:lnTo>
                  <a:lnTo>
                    <a:pt x="306" y="942"/>
                  </a:lnTo>
                  <a:lnTo>
                    <a:pt x="300" y="942"/>
                  </a:lnTo>
                  <a:lnTo>
                    <a:pt x="294" y="936"/>
                  </a:lnTo>
                  <a:lnTo>
                    <a:pt x="288" y="936"/>
                  </a:lnTo>
                  <a:lnTo>
                    <a:pt x="282" y="942"/>
                  </a:lnTo>
                  <a:lnTo>
                    <a:pt x="276" y="936"/>
                  </a:lnTo>
                  <a:lnTo>
                    <a:pt x="276" y="942"/>
                  </a:lnTo>
                  <a:lnTo>
                    <a:pt x="270" y="942"/>
                  </a:lnTo>
                  <a:lnTo>
                    <a:pt x="264" y="936"/>
                  </a:lnTo>
                  <a:lnTo>
                    <a:pt x="252" y="936"/>
                  </a:lnTo>
                  <a:lnTo>
                    <a:pt x="246" y="936"/>
                  </a:lnTo>
                  <a:lnTo>
                    <a:pt x="240" y="936"/>
                  </a:lnTo>
                  <a:lnTo>
                    <a:pt x="234" y="936"/>
                  </a:lnTo>
                  <a:lnTo>
                    <a:pt x="240" y="924"/>
                  </a:lnTo>
                  <a:lnTo>
                    <a:pt x="234" y="924"/>
                  </a:lnTo>
                  <a:lnTo>
                    <a:pt x="228" y="918"/>
                  </a:lnTo>
                  <a:lnTo>
                    <a:pt x="228" y="906"/>
                  </a:lnTo>
                  <a:lnTo>
                    <a:pt x="222" y="900"/>
                  </a:lnTo>
                  <a:lnTo>
                    <a:pt x="216" y="900"/>
                  </a:lnTo>
                  <a:lnTo>
                    <a:pt x="210" y="900"/>
                  </a:lnTo>
                  <a:lnTo>
                    <a:pt x="210" y="906"/>
                  </a:lnTo>
                  <a:lnTo>
                    <a:pt x="204" y="906"/>
                  </a:lnTo>
                  <a:lnTo>
                    <a:pt x="198" y="906"/>
                  </a:lnTo>
                  <a:lnTo>
                    <a:pt x="210" y="900"/>
                  </a:lnTo>
                  <a:lnTo>
                    <a:pt x="210" y="894"/>
                  </a:lnTo>
                  <a:lnTo>
                    <a:pt x="216" y="888"/>
                  </a:lnTo>
                  <a:lnTo>
                    <a:pt x="204" y="882"/>
                  </a:lnTo>
                  <a:lnTo>
                    <a:pt x="204" y="894"/>
                  </a:lnTo>
                  <a:lnTo>
                    <a:pt x="198" y="894"/>
                  </a:lnTo>
                  <a:lnTo>
                    <a:pt x="192" y="900"/>
                  </a:lnTo>
                  <a:lnTo>
                    <a:pt x="186" y="894"/>
                  </a:lnTo>
                  <a:lnTo>
                    <a:pt x="180" y="894"/>
                  </a:lnTo>
                  <a:lnTo>
                    <a:pt x="174" y="894"/>
                  </a:lnTo>
                  <a:lnTo>
                    <a:pt x="168" y="900"/>
                  </a:lnTo>
                  <a:lnTo>
                    <a:pt x="162" y="906"/>
                  </a:lnTo>
                  <a:lnTo>
                    <a:pt x="156" y="906"/>
                  </a:lnTo>
                  <a:lnTo>
                    <a:pt x="150" y="900"/>
                  </a:lnTo>
                  <a:lnTo>
                    <a:pt x="144" y="894"/>
                  </a:lnTo>
                  <a:lnTo>
                    <a:pt x="138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0" y="888"/>
                  </a:lnTo>
                  <a:lnTo>
                    <a:pt x="114" y="894"/>
                  </a:lnTo>
                  <a:lnTo>
                    <a:pt x="120" y="900"/>
                  </a:lnTo>
                  <a:lnTo>
                    <a:pt x="126" y="900"/>
                  </a:lnTo>
                  <a:lnTo>
                    <a:pt x="132" y="900"/>
                  </a:lnTo>
                  <a:lnTo>
                    <a:pt x="132" y="906"/>
                  </a:lnTo>
                  <a:lnTo>
                    <a:pt x="126" y="912"/>
                  </a:lnTo>
                  <a:lnTo>
                    <a:pt x="126" y="918"/>
                  </a:lnTo>
                  <a:lnTo>
                    <a:pt x="114" y="918"/>
                  </a:lnTo>
                  <a:lnTo>
                    <a:pt x="108" y="924"/>
                  </a:lnTo>
                  <a:lnTo>
                    <a:pt x="102" y="924"/>
                  </a:lnTo>
                  <a:lnTo>
                    <a:pt x="90" y="924"/>
                  </a:lnTo>
                  <a:lnTo>
                    <a:pt x="84" y="924"/>
                  </a:lnTo>
                  <a:lnTo>
                    <a:pt x="78" y="924"/>
                  </a:lnTo>
                  <a:lnTo>
                    <a:pt x="60" y="924"/>
                  </a:lnTo>
                  <a:lnTo>
                    <a:pt x="54" y="942"/>
                  </a:lnTo>
                  <a:lnTo>
                    <a:pt x="48" y="936"/>
                  </a:lnTo>
                  <a:lnTo>
                    <a:pt x="42" y="930"/>
                  </a:lnTo>
                  <a:lnTo>
                    <a:pt x="36" y="930"/>
                  </a:lnTo>
                  <a:lnTo>
                    <a:pt x="30" y="936"/>
                  </a:lnTo>
                  <a:lnTo>
                    <a:pt x="30" y="930"/>
                  </a:lnTo>
                  <a:lnTo>
                    <a:pt x="30" y="924"/>
                  </a:lnTo>
                  <a:lnTo>
                    <a:pt x="18" y="918"/>
                  </a:lnTo>
                  <a:lnTo>
                    <a:pt x="18" y="912"/>
                  </a:lnTo>
                  <a:lnTo>
                    <a:pt x="12" y="912"/>
                  </a:lnTo>
                  <a:lnTo>
                    <a:pt x="6" y="912"/>
                  </a:lnTo>
                  <a:lnTo>
                    <a:pt x="6" y="900"/>
                  </a:lnTo>
                  <a:lnTo>
                    <a:pt x="6" y="894"/>
                  </a:lnTo>
                  <a:lnTo>
                    <a:pt x="0" y="870"/>
                  </a:lnTo>
                  <a:lnTo>
                    <a:pt x="6" y="846"/>
                  </a:lnTo>
                  <a:lnTo>
                    <a:pt x="6" y="810"/>
                  </a:lnTo>
                  <a:lnTo>
                    <a:pt x="12" y="774"/>
                  </a:lnTo>
                  <a:lnTo>
                    <a:pt x="12" y="756"/>
                  </a:lnTo>
                  <a:lnTo>
                    <a:pt x="18" y="744"/>
                  </a:lnTo>
                  <a:lnTo>
                    <a:pt x="18" y="732"/>
                  </a:lnTo>
                  <a:lnTo>
                    <a:pt x="12" y="576"/>
                  </a:lnTo>
                  <a:lnTo>
                    <a:pt x="12" y="570"/>
                  </a:lnTo>
                  <a:lnTo>
                    <a:pt x="18" y="564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42" y="552"/>
                  </a:lnTo>
                  <a:lnTo>
                    <a:pt x="66" y="552"/>
                  </a:lnTo>
                  <a:lnTo>
                    <a:pt x="78" y="558"/>
                  </a:lnTo>
                  <a:lnTo>
                    <a:pt x="90" y="558"/>
                  </a:lnTo>
                  <a:lnTo>
                    <a:pt x="108" y="558"/>
                  </a:lnTo>
                  <a:lnTo>
                    <a:pt x="144" y="558"/>
                  </a:lnTo>
                  <a:lnTo>
                    <a:pt x="204" y="552"/>
                  </a:lnTo>
                  <a:lnTo>
                    <a:pt x="210" y="558"/>
                  </a:lnTo>
                  <a:lnTo>
                    <a:pt x="216" y="558"/>
                  </a:lnTo>
                  <a:lnTo>
                    <a:pt x="210" y="564"/>
                  </a:lnTo>
                  <a:lnTo>
                    <a:pt x="216" y="564"/>
                  </a:lnTo>
                  <a:lnTo>
                    <a:pt x="222" y="564"/>
                  </a:lnTo>
                  <a:lnTo>
                    <a:pt x="240" y="564"/>
                  </a:lnTo>
                  <a:lnTo>
                    <a:pt x="258" y="564"/>
                  </a:lnTo>
                  <a:lnTo>
                    <a:pt x="264" y="570"/>
                  </a:lnTo>
                  <a:lnTo>
                    <a:pt x="276" y="570"/>
                  </a:lnTo>
                  <a:lnTo>
                    <a:pt x="282" y="564"/>
                  </a:lnTo>
                  <a:lnTo>
                    <a:pt x="294" y="564"/>
                  </a:lnTo>
                  <a:lnTo>
                    <a:pt x="294" y="570"/>
                  </a:lnTo>
                  <a:lnTo>
                    <a:pt x="300" y="570"/>
                  </a:lnTo>
                  <a:lnTo>
                    <a:pt x="378" y="564"/>
                  </a:lnTo>
                  <a:lnTo>
                    <a:pt x="408" y="558"/>
                  </a:lnTo>
                  <a:lnTo>
                    <a:pt x="432" y="552"/>
                  </a:lnTo>
                  <a:lnTo>
                    <a:pt x="450" y="546"/>
                  </a:lnTo>
                  <a:lnTo>
                    <a:pt x="468" y="546"/>
                  </a:lnTo>
                  <a:lnTo>
                    <a:pt x="468" y="552"/>
                  </a:lnTo>
                  <a:lnTo>
                    <a:pt x="504" y="552"/>
                  </a:lnTo>
                  <a:lnTo>
                    <a:pt x="510" y="534"/>
                  </a:lnTo>
                  <a:lnTo>
                    <a:pt x="516" y="510"/>
                  </a:lnTo>
                  <a:lnTo>
                    <a:pt x="522" y="510"/>
                  </a:lnTo>
                  <a:lnTo>
                    <a:pt x="528" y="420"/>
                  </a:lnTo>
                  <a:lnTo>
                    <a:pt x="522" y="414"/>
                  </a:lnTo>
                  <a:lnTo>
                    <a:pt x="516" y="396"/>
                  </a:lnTo>
                  <a:lnTo>
                    <a:pt x="510" y="372"/>
                  </a:lnTo>
                  <a:lnTo>
                    <a:pt x="498" y="348"/>
                  </a:lnTo>
                  <a:lnTo>
                    <a:pt x="474" y="282"/>
                  </a:lnTo>
                  <a:lnTo>
                    <a:pt x="474" y="270"/>
                  </a:lnTo>
                  <a:lnTo>
                    <a:pt x="480" y="258"/>
                  </a:lnTo>
                  <a:lnTo>
                    <a:pt x="486" y="258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92" y="246"/>
                  </a:lnTo>
                  <a:lnTo>
                    <a:pt x="504" y="234"/>
                  </a:lnTo>
                  <a:lnTo>
                    <a:pt x="510" y="228"/>
                  </a:lnTo>
                  <a:lnTo>
                    <a:pt x="516" y="228"/>
                  </a:lnTo>
                  <a:lnTo>
                    <a:pt x="516" y="222"/>
                  </a:lnTo>
                  <a:lnTo>
                    <a:pt x="516" y="216"/>
                  </a:lnTo>
                  <a:lnTo>
                    <a:pt x="522" y="216"/>
                  </a:lnTo>
                  <a:lnTo>
                    <a:pt x="528" y="210"/>
                  </a:lnTo>
                  <a:lnTo>
                    <a:pt x="534" y="210"/>
                  </a:lnTo>
                  <a:lnTo>
                    <a:pt x="540" y="210"/>
                  </a:lnTo>
                  <a:lnTo>
                    <a:pt x="546" y="210"/>
                  </a:lnTo>
                  <a:lnTo>
                    <a:pt x="552" y="210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16"/>
                  </a:lnTo>
                  <a:lnTo>
                    <a:pt x="588" y="228"/>
                  </a:lnTo>
                  <a:lnTo>
                    <a:pt x="594" y="234"/>
                  </a:lnTo>
                  <a:lnTo>
                    <a:pt x="600" y="240"/>
                  </a:lnTo>
                  <a:lnTo>
                    <a:pt x="618" y="246"/>
                  </a:lnTo>
                  <a:lnTo>
                    <a:pt x="624" y="246"/>
                  </a:lnTo>
                  <a:lnTo>
                    <a:pt x="636" y="252"/>
                  </a:lnTo>
                  <a:lnTo>
                    <a:pt x="654" y="252"/>
                  </a:lnTo>
                  <a:lnTo>
                    <a:pt x="654" y="258"/>
                  </a:lnTo>
                  <a:lnTo>
                    <a:pt x="666" y="264"/>
                  </a:lnTo>
                  <a:lnTo>
                    <a:pt x="672" y="264"/>
                  </a:lnTo>
                  <a:lnTo>
                    <a:pt x="678" y="264"/>
                  </a:lnTo>
                  <a:lnTo>
                    <a:pt x="696" y="258"/>
                  </a:lnTo>
                  <a:lnTo>
                    <a:pt x="696" y="252"/>
                  </a:lnTo>
                  <a:lnTo>
                    <a:pt x="696" y="246"/>
                  </a:lnTo>
                  <a:lnTo>
                    <a:pt x="690" y="234"/>
                  </a:lnTo>
                  <a:lnTo>
                    <a:pt x="684" y="210"/>
                  </a:lnTo>
                  <a:lnTo>
                    <a:pt x="678" y="192"/>
                  </a:lnTo>
                  <a:lnTo>
                    <a:pt x="672" y="174"/>
                  </a:lnTo>
                  <a:lnTo>
                    <a:pt x="672" y="168"/>
                  </a:lnTo>
                  <a:lnTo>
                    <a:pt x="672" y="162"/>
                  </a:lnTo>
                  <a:lnTo>
                    <a:pt x="672" y="156"/>
                  </a:lnTo>
                  <a:lnTo>
                    <a:pt x="684" y="132"/>
                  </a:lnTo>
                  <a:lnTo>
                    <a:pt x="684" y="120"/>
                  </a:lnTo>
                  <a:lnTo>
                    <a:pt x="684" y="108"/>
                  </a:lnTo>
                  <a:lnTo>
                    <a:pt x="678" y="102"/>
                  </a:lnTo>
                  <a:lnTo>
                    <a:pt x="678" y="96"/>
                  </a:lnTo>
                  <a:lnTo>
                    <a:pt x="684" y="96"/>
                  </a:lnTo>
                  <a:lnTo>
                    <a:pt x="696" y="90"/>
                  </a:lnTo>
                  <a:lnTo>
                    <a:pt x="702" y="84"/>
                  </a:lnTo>
                  <a:lnTo>
                    <a:pt x="720" y="72"/>
                  </a:lnTo>
                  <a:lnTo>
                    <a:pt x="738" y="66"/>
                  </a:lnTo>
                  <a:lnTo>
                    <a:pt x="756" y="60"/>
                  </a:lnTo>
                  <a:lnTo>
                    <a:pt x="768" y="60"/>
                  </a:lnTo>
                  <a:lnTo>
                    <a:pt x="798" y="72"/>
                  </a:lnTo>
                  <a:lnTo>
                    <a:pt x="804" y="78"/>
                  </a:lnTo>
                  <a:lnTo>
                    <a:pt x="816" y="84"/>
                  </a:lnTo>
                  <a:lnTo>
                    <a:pt x="822" y="84"/>
                  </a:lnTo>
                  <a:lnTo>
                    <a:pt x="828" y="72"/>
                  </a:lnTo>
                  <a:lnTo>
                    <a:pt x="828" y="60"/>
                  </a:lnTo>
                  <a:lnTo>
                    <a:pt x="828" y="36"/>
                  </a:lnTo>
                  <a:lnTo>
                    <a:pt x="828" y="24"/>
                  </a:lnTo>
                  <a:lnTo>
                    <a:pt x="828" y="12"/>
                  </a:lnTo>
                  <a:lnTo>
                    <a:pt x="834" y="12"/>
                  </a:lnTo>
                  <a:lnTo>
                    <a:pt x="852" y="6"/>
                  </a:lnTo>
                  <a:lnTo>
                    <a:pt x="876" y="6"/>
                  </a:lnTo>
                  <a:lnTo>
                    <a:pt x="894" y="6"/>
                  </a:lnTo>
                  <a:lnTo>
                    <a:pt x="906" y="12"/>
                  </a:lnTo>
                  <a:lnTo>
                    <a:pt x="912" y="24"/>
                  </a:lnTo>
                  <a:lnTo>
                    <a:pt x="924" y="24"/>
                  </a:lnTo>
                  <a:lnTo>
                    <a:pt x="930" y="30"/>
                  </a:lnTo>
                  <a:lnTo>
                    <a:pt x="936" y="30"/>
                  </a:lnTo>
                  <a:lnTo>
                    <a:pt x="936" y="36"/>
                  </a:lnTo>
                  <a:lnTo>
                    <a:pt x="942" y="36"/>
                  </a:lnTo>
                  <a:lnTo>
                    <a:pt x="948" y="42"/>
                  </a:lnTo>
                  <a:lnTo>
                    <a:pt x="960" y="48"/>
                  </a:lnTo>
                  <a:lnTo>
                    <a:pt x="966" y="48"/>
                  </a:lnTo>
                  <a:lnTo>
                    <a:pt x="1026" y="60"/>
                  </a:lnTo>
                  <a:lnTo>
                    <a:pt x="1050" y="60"/>
                  </a:lnTo>
                  <a:lnTo>
                    <a:pt x="1050" y="54"/>
                  </a:lnTo>
                  <a:lnTo>
                    <a:pt x="1062" y="54"/>
                  </a:lnTo>
                  <a:lnTo>
                    <a:pt x="1074" y="48"/>
                  </a:lnTo>
                  <a:lnTo>
                    <a:pt x="1086" y="42"/>
                  </a:lnTo>
                  <a:lnTo>
                    <a:pt x="1104" y="36"/>
                  </a:lnTo>
                  <a:lnTo>
                    <a:pt x="1116" y="30"/>
                  </a:lnTo>
                  <a:lnTo>
                    <a:pt x="1122" y="24"/>
                  </a:lnTo>
                  <a:lnTo>
                    <a:pt x="1128" y="18"/>
                  </a:lnTo>
                  <a:lnTo>
                    <a:pt x="1134" y="18"/>
                  </a:lnTo>
                  <a:lnTo>
                    <a:pt x="1140" y="12"/>
                  </a:lnTo>
                  <a:lnTo>
                    <a:pt x="1146" y="6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24"/>
                  </a:lnTo>
                  <a:lnTo>
                    <a:pt x="1176" y="36"/>
                  </a:lnTo>
                  <a:lnTo>
                    <a:pt x="1188" y="42"/>
                  </a:lnTo>
                  <a:lnTo>
                    <a:pt x="1200" y="54"/>
                  </a:lnTo>
                  <a:lnTo>
                    <a:pt x="1224" y="84"/>
                  </a:lnTo>
                  <a:lnTo>
                    <a:pt x="1224" y="90"/>
                  </a:lnTo>
                  <a:lnTo>
                    <a:pt x="1236" y="96"/>
                  </a:lnTo>
                  <a:lnTo>
                    <a:pt x="1236" y="108"/>
                  </a:lnTo>
                  <a:lnTo>
                    <a:pt x="1248" y="114"/>
                  </a:lnTo>
                  <a:lnTo>
                    <a:pt x="1254" y="114"/>
                  </a:lnTo>
                  <a:lnTo>
                    <a:pt x="1260" y="114"/>
                  </a:lnTo>
                  <a:lnTo>
                    <a:pt x="1296" y="114"/>
                  </a:lnTo>
                  <a:lnTo>
                    <a:pt x="1302" y="114"/>
                  </a:lnTo>
                  <a:lnTo>
                    <a:pt x="1320" y="108"/>
                  </a:lnTo>
                  <a:lnTo>
                    <a:pt x="1326" y="108"/>
                  </a:lnTo>
                  <a:lnTo>
                    <a:pt x="1326" y="138"/>
                  </a:lnTo>
                  <a:lnTo>
                    <a:pt x="1326" y="210"/>
                  </a:lnTo>
                  <a:lnTo>
                    <a:pt x="1320" y="252"/>
                  </a:lnTo>
                  <a:lnTo>
                    <a:pt x="1320" y="270"/>
                  </a:lnTo>
                  <a:lnTo>
                    <a:pt x="1320" y="288"/>
                  </a:lnTo>
                  <a:lnTo>
                    <a:pt x="1320" y="318"/>
                  </a:lnTo>
                  <a:lnTo>
                    <a:pt x="1326" y="354"/>
                  </a:lnTo>
                  <a:lnTo>
                    <a:pt x="1326" y="372"/>
                  </a:lnTo>
                  <a:lnTo>
                    <a:pt x="1332" y="420"/>
                  </a:lnTo>
                  <a:lnTo>
                    <a:pt x="1332" y="450"/>
                  </a:lnTo>
                  <a:lnTo>
                    <a:pt x="1338" y="480"/>
                  </a:lnTo>
                  <a:lnTo>
                    <a:pt x="1344" y="486"/>
                  </a:lnTo>
                  <a:lnTo>
                    <a:pt x="1338" y="492"/>
                  </a:lnTo>
                  <a:lnTo>
                    <a:pt x="1344" y="492"/>
                  </a:lnTo>
                  <a:lnTo>
                    <a:pt x="1344" y="498"/>
                  </a:lnTo>
                  <a:lnTo>
                    <a:pt x="1350" y="498"/>
                  </a:lnTo>
                  <a:lnTo>
                    <a:pt x="1350" y="522"/>
                  </a:lnTo>
                  <a:lnTo>
                    <a:pt x="1362" y="564"/>
                  </a:lnTo>
                  <a:lnTo>
                    <a:pt x="1368" y="582"/>
                  </a:lnTo>
                  <a:lnTo>
                    <a:pt x="1380" y="600"/>
                  </a:lnTo>
                  <a:lnTo>
                    <a:pt x="1386" y="636"/>
                  </a:lnTo>
                  <a:lnTo>
                    <a:pt x="1380" y="660"/>
                  </a:lnTo>
                  <a:lnTo>
                    <a:pt x="1380" y="678"/>
                  </a:lnTo>
                  <a:lnTo>
                    <a:pt x="1380" y="684"/>
                  </a:lnTo>
                  <a:lnTo>
                    <a:pt x="1374" y="684"/>
                  </a:lnTo>
                  <a:lnTo>
                    <a:pt x="1368" y="690"/>
                  </a:lnTo>
                  <a:lnTo>
                    <a:pt x="1356" y="702"/>
                  </a:lnTo>
                  <a:lnTo>
                    <a:pt x="1350" y="708"/>
                  </a:lnTo>
                  <a:lnTo>
                    <a:pt x="1356" y="714"/>
                  </a:lnTo>
                  <a:lnTo>
                    <a:pt x="1368" y="726"/>
                  </a:lnTo>
                  <a:lnTo>
                    <a:pt x="1380" y="738"/>
                  </a:lnTo>
                  <a:lnTo>
                    <a:pt x="1386" y="744"/>
                  </a:lnTo>
                  <a:lnTo>
                    <a:pt x="1392" y="744"/>
                  </a:lnTo>
                  <a:lnTo>
                    <a:pt x="1410" y="750"/>
                  </a:lnTo>
                  <a:lnTo>
                    <a:pt x="1416" y="756"/>
                  </a:lnTo>
                  <a:lnTo>
                    <a:pt x="1422" y="756"/>
                  </a:lnTo>
                  <a:lnTo>
                    <a:pt x="1422" y="762"/>
                  </a:lnTo>
                  <a:lnTo>
                    <a:pt x="1428" y="774"/>
                  </a:lnTo>
                  <a:lnTo>
                    <a:pt x="1428" y="780"/>
                  </a:lnTo>
                  <a:lnTo>
                    <a:pt x="1434" y="780"/>
                  </a:lnTo>
                  <a:lnTo>
                    <a:pt x="1440" y="798"/>
                  </a:lnTo>
                  <a:lnTo>
                    <a:pt x="1422" y="816"/>
                  </a:lnTo>
                  <a:lnTo>
                    <a:pt x="1386" y="810"/>
                  </a:lnTo>
                  <a:lnTo>
                    <a:pt x="1380" y="816"/>
                  </a:lnTo>
                  <a:lnTo>
                    <a:pt x="1374" y="840"/>
                  </a:lnTo>
                  <a:lnTo>
                    <a:pt x="1350" y="852"/>
                  </a:lnTo>
                  <a:lnTo>
                    <a:pt x="1350" y="858"/>
                  </a:lnTo>
                  <a:lnTo>
                    <a:pt x="1350" y="864"/>
                  </a:lnTo>
                  <a:lnTo>
                    <a:pt x="1344" y="864"/>
                  </a:lnTo>
                  <a:lnTo>
                    <a:pt x="1338" y="870"/>
                  </a:lnTo>
                  <a:lnTo>
                    <a:pt x="1332" y="876"/>
                  </a:lnTo>
                  <a:lnTo>
                    <a:pt x="1314" y="876"/>
                  </a:lnTo>
                  <a:lnTo>
                    <a:pt x="1314" y="870"/>
                  </a:lnTo>
                  <a:lnTo>
                    <a:pt x="1308" y="870"/>
                  </a:lnTo>
                  <a:lnTo>
                    <a:pt x="1302" y="864"/>
                  </a:lnTo>
                  <a:lnTo>
                    <a:pt x="1296" y="864"/>
                  </a:lnTo>
                  <a:lnTo>
                    <a:pt x="1284" y="870"/>
                  </a:lnTo>
                  <a:lnTo>
                    <a:pt x="1266" y="870"/>
                  </a:lnTo>
                  <a:lnTo>
                    <a:pt x="1260" y="870"/>
                  </a:lnTo>
                  <a:lnTo>
                    <a:pt x="1248" y="876"/>
                  </a:lnTo>
                  <a:lnTo>
                    <a:pt x="1236" y="876"/>
                  </a:lnTo>
                  <a:lnTo>
                    <a:pt x="1230" y="882"/>
                  </a:lnTo>
                  <a:lnTo>
                    <a:pt x="1224" y="894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18" y="942"/>
                  </a:lnTo>
                  <a:lnTo>
                    <a:pt x="1212" y="948"/>
                  </a:lnTo>
                  <a:lnTo>
                    <a:pt x="1200" y="984"/>
                  </a:lnTo>
                  <a:lnTo>
                    <a:pt x="1194" y="1008"/>
                  </a:lnTo>
                  <a:lnTo>
                    <a:pt x="1218" y="1038"/>
                  </a:lnTo>
                  <a:lnTo>
                    <a:pt x="1224" y="1044"/>
                  </a:lnTo>
                  <a:lnTo>
                    <a:pt x="1224" y="1062"/>
                  </a:lnTo>
                  <a:lnTo>
                    <a:pt x="1236" y="1080"/>
                  </a:lnTo>
                  <a:lnTo>
                    <a:pt x="1236" y="1086"/>
                  </a:lnTo>
                  <a:lnTo>
                    <a:pt x="1230" y="1092"/>
                  </a:lnTo>
                  <a:lnTo>
                    <a:pt x="1224" y="1110"/>
                  </a:lnTo>
                  <a:lnTo>
                    <a:pt x="1218" y="1122"/>
                  </a:lnTo>
                  <a:lnTo>
                    <a:pt x="1224" y="1140"/>
                  </a:lnTo>
                  <a:lnTo>
                    <a:pt x="1218" y="1146"/>
                  </a:lnTo>
                  <a:lnTo>
                    <a:pt x="1218" y="1152"/>
                  </a:lnTo>
                  <a:lnTo>
                    <a:pt x="1212" y="116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1" name="Freeform 36">
              <a:extLst>
                <a:ext uri="{FF2B5EF4-FFF2-40B4-BE49-F238E27FC236}">
                  <a16:creationId xmlns:a16="http://schemas.microsoft.com/office/drawing/2014/main" id="{B9C0D6BE-CB1C-4E69-B224-1ABF097AA8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90208" y="1647855"/>
              <a:ext cx="742415" cy="758173"/>
            </a:xfrm>
            <a:custGeom>
              <a:avLst/>
              <a:gdLst>
                <a:gd name="T0" fmla="*/ 75 w 1398"/>
                <a:gd name="T1" fmla="*/ 48 h 1428"/>
                <a:gd name="T2" fmla="*/ 68 w 1398"/>
                <a:gd name="T3" fmla="*/ 54 h 1428"/>
                <a:gd name="T4" fmla="*/ 57 w 1398"/>
                <a:gd name="T5" fmla="*/ 59 h 1428"/>
                <a:gd name="T6" fmla="*/ 55 w 1398"/>
                <a:gd name="T7" fmla="*/ 68 h 1428"/>
                <a:gd name="T8" fmla="*/ 55 w 1398"/>
                <a:gd name="T9" fmla="*/ 77 h 1428"/>
                <a:gd name="T10" fmla="*/ 57 w 1398"/>
                <a:gd name="T11" fmla="*/ 81 h 1428"/>
                <a:gd name="T12" fmla="*/ 56 w 1398"/>
                <a:gd name="T13" fmla="*/ 86 h 1428"/>
                <a:gd name="T14" fmla="*/ 57 w 1398"/>
                <a:gd name="T15" fmla="*/ 89 h 1428"/>
                <a:gd name="T16" fmla="*/ 58 w 1398"/>
                <a:gd name="T17" fmla="*/ 92 h 1428"/>
                <a:gd name="T18" fmla="*/ 58 w 1398"/>
                <a:gd name="T19" fmla="*/ 96 h 1428"/>
                <a:gd name="T20" fmla="*/ 49 w 1398"/>
                <a:gd name="T21" fmla="*/ 100 h 1428"/>
                <a:gd name="T22" fmla="*/ 47 w 1398"/>
                <a:gd name="T23" fmla="*/ 108 h 1428"/>
                <a:gd name="T24" fmla="*/ 48 w 1398"/>
                <a:gd name="T25" fmla="*/ 113 h 1428"/>
                <a:gd name="T26" fmla="*/ 43 w 1398"/>
                <a:gd name="T27" fmla="*/ 114 h 1428"/>
                <a:gd name="T28" fmla="*/ 39 w 1398"/>
                <a:gd name="T29" fmla="*/ 113 h 1428"/>
                <a:gd name="T30" fmla="*/ 33 w 1398"/>
                <a:gd name="T31" fmla="*/ 109 h 1428"/>
                <a:gd name="T32" fmla="*/ 29 w 1398"/>
                <a:gd name="T33" fmla="*/ 114 h 1428"/>
                <a:gd name="T34" fmla="*/ 22 w 1398"/>
                <a:gd name="T35" fmla="*/ 115 h 1428"/>
                <a:gd name="T36" fmla="*/ 21 w 1398"/>
                <a:gd name="T37" fmla="*/ 121 h 1428"/>
                <a:gd name="T38" fmla="*/ 12 w 1398"/>
                <a:gd name="T39" fmla="*/ 119 h 1428"/>
                <a:gd name="T40" fmla="*/ 9 w 1398"/>
                <a:gd name="T41" fmla="*/ 113 h 1428"/>
                <a:gd name="T42" fmla="*/ 2 w 1398"/>
                <a:gd name="T43" fmla="*/ 109 h 1428"/>
                <a:gd name="T44" fmla="*/ 4 w 1398"/>
                <a:gd name="T45" fmla="*/ 103 h 1428"/>
                <a:gd name="T46" fmla="*/ 2 w 1398"/>
                <a:gd name="T47" fmla="*/ 91 h 1428"/>
                <a:gd name="T48" fmla="*/ 6 w 1398"/>
                <a:gd name="T49" fmla="*/ 85 h 1428"/>
                <a:gd name="T50" fmla="*/ 10 w 1398"/>
                <a:gd name="T51" fmla="*/ 85 h 1428"/>
                <a:gd name="T52" fmla="*/ 15 w 1398"/>
                <a:gd name="T53" fmla="*/ 82 h 1428"/>
                <a:gd name="T54" fmla="*/ 20 w 1398"/>
                <a:gd name="T55" fmla="*/ 77 h 1428"/>
                <a:gd name="T56" fmla="*/ 16 w 1398"/>
                <a:gd name="T57" fmla="*/ 73 h 1428"/>
                <a:gd name="T58" fmla="*/ 16 w 1398"/>
                <a:gd name="T59" fmla="*/ 69 h 1428"/>
                <a:gd name="T60" fmla="*/ 14 w 1398"/>
                <a:gd name="T61" fmla="*/ 54 h 1428"/>
                <a:gd name="T62" fmla="*/ 12 w 1398"/>
                <a:gd name="T63" fmla="*/ 48 h 1428"/>
                <a:gd name="T64" fmla="*/ 11 w 1398"/>
                <a:gd name="T65" fmla="*/ 31 h 1428"/>
                <a:gd name="T66" fmla="*/ 14 w 1398"/>
                <a:gd name="T67" fmla="*/ 18 h 1428"/>
                <a:gd name="T68" fmla="*/ 19 w 1398"/>
                <a:gd name="T69" fmla="*/ 15 h 1428"/>
                <a:gd name="T70" fmla="*/ 26 w 1398"/>
                <a:gd name="T71" fmla="*/ 13 h 1428"/>
                <a:gd name="T72" fmla="*/ 34 w 1398"/>
                <a:gd name="T73" fmla="*/ 12 h 1428"/>
                <a:gd name="T74" fmla="*/ 39 w 1398"/>
                <a:gd name="T75" fmla="*/ 9 h 1428"/>
                <a:gd name="T76" fmla="*/ 43 w 1398"/>
                <a:gd name="T77" fmla="*/ 7 h 1428"/>
                <a:gd name="T78" fmla="*/ 48 w 1398"/>
                <a:gd name="T79" fmla="*/ 3 h 1428"/>
                <a:gd name="T80" fmla="*/ 54 w 1398"/>
                <a:gd name="T81" fmla="*/ 0 h 1428"/>
                <a:gd name="T82" fmla="*/ 58 w 1398"/>
                <a:gd name="T83" fmla="*/ 0 h 1428"/>
                <a:gd name="T84" fmla="*/ 66 w 1398"/>
                <a:gd name="T85" fmla="*/ 2 h 1428"/>
                <a:gd name="T86" fmla="*/ 70 w 1398"/>
                <a:gd name="T87" fmla="*/ 3 h 1428"/>
                <a:gd name="T88" fmla="*/ 75 w 1398"/>
                <a:gd name="T89" fmla="*/ 6 h 1428"/>
                <a:gd name="T90" fmla="*/ 80 w 1398"/>
                <a:gd name="T91" fmla="*/ 9 h 1428"/>
                <a:gd name="T92" fmla="*/ 83 w 1398"/>
                <a:gd name="T93" fmla="*/ 12 h 1428"/>
                <a:gd name="T94" fmla="*/ 87 w 1398"/>
                <a:gd name="T95" fmla="*/ 15 h 1428"/>
                <a:gd name="T96" fmla="*/ 94 w 1398"/>
                <a:gd name="T97" fmla="*/ 15 h 1428"/>
                <a:gd name="T98" fmla="*/ 99 w 1398"/>
                <a:gd name="T99" fmla="*/ 21 h 1428"/>
                <a:gd name="T100" fmla="*/ 103 w 1398"/>
                <a:gd name="T101" fmla="*/ 23 h 1428"/>
                <a:gd name="T102" fmla="*/ 110 w 1398"/>
                <a:gd name="T103" fmla="*/ 26 h 1428"/>
                <a:gd name="T104" fmla="*/ 116 w 1398"/>
                <a:gd name="T105" fmla="*/ 27 h 1428"/>
                <a:gd name="T106" fmla="*/ 120 w 1398"/>
                <a:gd name="T107" fmla="*/ 27 h 1428"/>
                <a:gd name="T108" fmla="*/ 116 w 1398"/>
                <a:gd name="T109" fmla="*/ 35 h 1428"/>
                <a:gd name="T110" fmla="*/ 104 w 1398"/>
                <a:gd name="T111" fmla="*/ 37 h 1428"/>
                <a:gd name="T112" fmla="*/ 97 w 1398"/>
                <a:gd name="T113" fmla="*/ 34 h 1428"/>
                <a:gd name="T114" fmla="*/ 91 w 1398"/>
                <a:gd name="T115" fmla="*/ 29 h 1428"/>
                <a:gd name="T116" fmla="*/ 75 w 1398"/>
                <a:gd name="T117" fmla="*/ 29 h 1428"/>
                <a:gd name="T118" fmla="*/ 72 w 1398"/>
                <a:gd name="T119" fmla="*/ 39 h 1428"/>
                <a:gd name="T120" fmla="*/ 80 w 1398"/>
                <a:gd name="T121" fmla="*/ 41 h 142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98"/>
                <a:gd name="T184" fmla="*/ 0 h 1428"/>
                <a:gd name="T185" fmla="*/ 1398 w 1398"/>
                <a:gd name="T186" fmla="*/ 1428 h 142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98" h="1428">
                  <a:moveTo>
                    <a:pt x="924" y="474"/>
                  </a:moveTo>
                  <a:lnTo>
                    <a:pt x="900" y="480"/>
                  </a:lnTo>
                  <a:lnTo>
                    <a:pt x="864" y="486"/>
                  </a:lnTo>
                  <a:lnTo>
                    <a:pt x="864" y="504"/>
                  </a:lnTo>
                  <a:lnTo>
                    <a:pt x="858" y="522"/>
                  </a:lnTo>
                  <a:lnTo>
                    <a:pt x="864" y="528"/>
                  </a:lnTo>
                  <a:lnTo>
                    <a:pt x="864" y="552"/>
                  </a:lnTo>
                  <a:lnTo>
                    <a:pt x="852" y="552"/>
                  </a:lnTo>
                  <a:lnTo>
                    <a:pt x="846" y="564"/>
                  </a:lnTo>
                  <a:lnTo>
                    <a:pt x="840" y="582"/>
                  </a:lnTo>
                  <a:lnTo>
                    <a:pt x="834" y="594"/>
                  </a:lnTo>
                  <a:lnTo>
                    <a:pt x="828" y="606"/>
                  </a:lnTo>
                  <a:lnTo>
                    <a:pt x="828" y="618"/>
                  </a:lnTo>
                  <a:lnTo>
                    <a:pt x="786" y="630"/>
                  </a:lnTo>
                  <a:lnTo>
                    <a:pt x="774" y="636"/>
                  </a:lnTo>
                  <a:lnTo>
                    <a:pt x="762" y="642"/>
                  </a:lnTo>
                  <a:lnTo>
                    <a:pt x="744" y="648"/>
                  </a:lnTo>
                  <a:lnTo>
                    <a:pt x="714" y="660"/>
                  </a:lnTo>
                  <a:lnTo>
                    <a:pt x="696" y="666"/>
                  </a:lnTo>
                  <a:lnTo>
                    <a:pt x="666" y="672"/>
                  </a:lnTo>
                  <a:lnTo>
                    <a:pt x="654" y="684"/>
                  </a:lnTo>
                  <a:lnTo>
                    <a:pt x="648" y="684"/>
                  </a:lnTo>
                  <a:lnTo>
                    <a:pt x="642" y="696"/>
                  </a:lnTo>
                  <a:lnTo>
                    <a:pt x="636" y="696"/>
                  </a:lnTo>
                  <a:lnTo>
                    <a:pt x="630" y="714"/>
                  </a:lnTo>
                  <a:lnTo>
                    <a:pt x="624" y="738"/>
                  </a:lnTo>
                  <a:lnTo>
                    <a:pt x="624" y="762"/>
                  </a:lnTo>
                  <a:lnTo>
                    <a:pt x="630" y="780"/>
                  </a:lnTo>
                  <a:lnTo>
                    <a:pt x="636" y="804"/>
                  </a:lnTo>
                  <a:lnTo>
                    <a:pt x="642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6" y="834"/>
                  </a:lnTo>
                  <a:lnTo>
                    <a:pt x="636" y="870"/>
                  </a:lnTo>
                  <a:lnTo>
                    <a:pt x="636" y="882"/>
                  </a:lnTo>
                  <a:lnTo>
                    <a:pt x="636" y="906"/>
                  </a:lnTo>
                  <a:lnTo>
                    <a:pt x="630" y="906"/>
                  </a:lnTo>
                  <a:lnTo>
                    <a:pt x="636" y="918"/>
                  </a:lnTo>
                  <a:lnTo>
                    <a:pt x="642" y="918"/>
                  </a:lnTo>
                  <a:lnTo>
                    <a:pt x="642" y="930"/>
                  </a:lnTo>
                  <a:lnTo>
                    <a:pt x="648" y="936"/>
                  </a:lnTo>
                  <a:lnTo>
                    <a:pt x="654" y="936"/>
                  </a:lnTo>
                  <a:lnTo>
                    <a:pt x="654" y="942"/>
                  </a:lnTo>
                  <a:lnTo>
                    <a:pt x="654" y="948"/>
                  </a:lnTo>
                  <a:lnTo>
                    <a:pt x="648" y="954"/>
                  </a:lnTo>
                  <a:lnTo>
                    <a:pt x="648" y="960"/>
                  </a:lnTo>
                  <a:lnTo>
                    <a:pt x="648" y="966"/>
                  </a:lnTo>
                  <a:lnTo>
                    <a:pt x="648" y="972"/>
                  </a:lnTo>
                  <a:lnTo>
                    <a:pt x="648" y="990"/>
                  </a:lnTo>
                  <a:lnTo>
                    <a:pt x="654" y="996"/>
                  </a:lnTo>
                  <a:lnTo>
                    <a:pt x="648" y="1002"/>
                  </a:lnTo>
                  <a:lnTo>
                    <a:pt x="648" y="1008"/>
                  </a:lnTo>
                  <a:lnTo>
                    <a:pt x="654" y="1014"/>
                  </a:lnTo>
                  <a:lnTo>
                    <a:pt x="654" y="1020"/>
                  </a:lnTo>
                  <a:lnTo>
                    <a:pt x="654" y="1026"/>
                  </a:lnTo>
                  <a:lnTo>
                    <a:pt x="660" y="1026"/>
                  </a:lnTo>
                  <a:lnTo>
                    <a:pt x="660" y="1032"/>
                  </a:lnTo>
                  <a:lnTo>
                    <a:pt x="660" y="1038"/>
                  </a:lnTo>
                  <a:lnTo>
                    <a:pt x="666" y="1044"/>
                  </a:lnTo>
                  <a:lnTo>
                    <a:pt x="672" y="1050"/>
                  </a:lnTo>
                  <a:lnTo>
                    <a:pt x="672" y="1056"/>
                  </a:lnTo>
                  <a:lnTo>
                    <a:pt x="672" y="1062"/>
                  </a:lnTo>
                  <a:lnTo>
                    <a:pt x="672" y="1068"/>
                  </a:lnTo>
                  <a:lnTo>
                    <a:pt x="672" y="1074"/>
                  </a:lnTo>
                  <a:lnTo>
                    <a:pt x="678" y="1074"/>
                  </a:lnTo>
                  <a:lnTo>
                    <a:pt x="678" y="1080"/>
                  </a:lnTo>
                  <a:lnTo>
                    <a:pt x="678" y="1086"/>
                  </a:lnTo>
                  <a:lnTo>
                    <a:pt x="672" y="1092"/>
                  </a:lnTo>
                  <a:lnTo>
                    <a:pt x="672" y="1098"/>
                  </a:lnTo>
                  <a:lnTo>
                    <a:pt x="672" y="1104"/>
                  </a:lnTo>
                  <a:lnTo>
                    <a:pt x="666" y="1116"/>
                  </a:lnTo>
                  <a:lnTo>
                    <a:pt x="624" y="1122"/>
                  </a:lnTo>
                  <a:lnTo>
                    <a:pt x="576" y="1134"/>
                  </a:lnTo>
                  <a:lnTo>
                    <a:pt x="570" y="1140"/>
                  </a:lnTo>
                  <a:lnTo>
                    <a:pt x="570" y="1146"/>
                  </a:lnTo>
                  <a:lnTo>
                    <a:pt x="564" y="1146"/>
                  </a:lnTo>
                  <a:lnTo>
                    <a:pt x="564" y="1152"/>
                  </a:lnTo>
                  <a:lnTo>
                    <a:pt x="564" y="1164"/>
                  </a:lnTo>
                  <a:lnTo>
                    <a:pt x="564" y="1170"/>
                  </a:lnTo>
                  <a:lnTo>
                    <a:pt x="564" y="1176"/>
                  </a:lnTo>
                  <a:lnTo>
                    <a:pt x="546" y="1176"/>
                  </a:lnTo>
                  <a:lnTo>
                    <a:pt x="540" y="1212"/>
                  </a:lnTo>
                  <a:lnTo>
                    <a:pt x="540" y="1230"/>
                  </a:lnTo>
                  <a:lnTo>
                    <a:pt x="546" y="1242"/>
                  </a:lnTo>
                  <a:lnTo>
                    <a:pt x="546" y="1254"/>
                  </a:lnTo>
                  <a:lnTo>
                    <a:pt x="558" y="1266"/>
                  </a:lnTo>
                  <a:lnTo>
                    <a:pt x="576" y="1272"/>
                  </a:lnTo>
                  <a:lnTo>
                    <a:pt x="570" y="1278"/>
                  </a:lnTo>
                  <a:lnTo>
                    <a:pt x="576" y="1284"/>
                  </a:lnTo>
                  <a:lnTo>
                    <a:pt x="570" y="1296"/>
                  </a:lnTo>
                  <a:lnTo>
                    <a:pt x="558" y="1302"/>
                  </a:lnTo>
                  <a:lnTo>
                    <a:pt x="540" y="1308"/>
                  </a:lnTo>
                  <a:lnTo>
                    <a:pt x="522" y="1314"/>
                  </a:lnTo>
                  <a:lnTo>
                    <a:pt x="516" y="1314"/>
                  </a:lnTo>
                  <a:lnTo>
                    <a:pt x="510" y="1314"/>
                  </a:lnTo>
                  <a:lnTo>
                    <a:pt x="504" y="1314"/>
                  </a:lnTo>
                  <a:lnTo>
                    <a:pt x="498" y="1320"/>
                  </a:lnTo>
                  <a:lnTo>
                    <a:pt x="492" y="1320"/>
                  </a:lnTo>
                  <a:lnTo>
                    <a:pt x="492" y="1326"/>
                  </a:lnTo>
                  <a:lnTo>
                    <a:pt x="486" y="1326"/>
                  </a:lnTo>
                  <a:lnTo>
                    <a:pt x="480" y="1326"/>
                  </a:lnTo>
                  <a:lnTo>
                    <a:pt x="480" y="1320"/>
                  </a:lnTo>
                  <a:lnTo>
                    <a:pt x="468" y="1314"/>
                  </a:lnTo>
                  <a:lnTo>
                    <a:pt x="462" y="1308"/>
                  </a:lnTo>
                  <a:lnTo>
                    <a:pt x="456" y="1302"/>
                  </a:lnTo>
                  <a:lnTo>
                    <a:pt x="444" y="1296"/>
                  </a:lnTo>
                  <a:lnTo>
                    <a:pt x="420" y="1290"/>
                  </a:lnTo>
                  <a:lnTo>
                    <a:pt x="414" y="1278"/>
                  </a:lnTo>
                  <a:lnTo>
                    <a:pt x="408" y="1278"/>
                  </a:lnTo>
                  <a:lnTo>
                    <a:pt x="408" y="1266"/>
                  </a:lnTo>
                  <a:lnTo>
                    <a:pt x="402" y="1260"/>
                  </a:lnTo>
                  <a:lnTo>
                    <a:pt x="384" y="1260"/>
                  </a:lnTo>
                  <a:lnTo>
                    <a:pt x="372" y="1266"/>
                  </a:lnTo>
                  <a:lnTo>
                    <a:pt x="360" y="1272"/>
                  </a:lnTo>
                  <a:lnTo>
                    <a:pt x="348" y="1272"/>
                  </a:lnTo>
                  <a:lnTo>
                    <a:pt x="342" y="1284"/>
                  </a:lnTo>
                  <a:lnTo>
                    <a:pt x="336" y="1290"/>
                  </a:lnTo>
                  <a:lnTo>
                    <a:pt x="336" y="1308"/>
                  </a:lnTo>
                  <a:lnTo>
                    <a:pt x="336" y="1314"/>
                  </a:lnTo>
                  <a:lnTo>
                    <a:pt x="336" y="1320"/>
                  </a:lnTo>
                  <a:lnTo>
                    <a:pt x="330" y="1326"/>
                  </a:lnTo>
                  <a:lnTo>
                    <a:pt x="330" y="1332"/>
                  </a:lnTo>
                  <a:lnTo>
                    <a:pt x="330" y="1338"/>
                  </a:lnTo>
                  <a:lnTo>
                    <a:pt x="300" y="1338"/>
                  </a:lnTo>
                  <a:lnTo>
                    <a:pt x="288" y="1338"/>
                  </a:lnTo>
                  <a:lnTo>
                    <a:pt x="258" y="1326"/>
                  </a:lnTo>
                  <a:lnTo>
                    <a:pt x="246" y="1332"/>
                  </a:lnTo>
                  <a:lnTo>
                    <a:pt x="240" y="1338"/>
                  </a:lnTo>
                  <a:lnTo>
                    <a:pt x="234" y="1338"/>
                  </a:lnTo>
                  <a:lnTo>
                    <a:pt x="228" y="1350"/>
                  </a:lnTo>
                  <a:lnTo>
                    <a:pt x="228" y="1374"/>
                  </a:lnTo>
                  <a:lnTo>
                    <a:pt x="234" y="1392"/>
                  </a:lnTo>
                  <a:lnTo>
                    <a:pt x="246" y="1398"/>
                  </a:lnTo>
                  <a:lnTo>
                    <a:pt x="246" y="1410"/>
                  </a:lnTo>
                  <a:lnTo>
                    <a:pt x="216" y="1428"/>
                  </a:lnTo>
                  <a:lnTo>
                    <a:pt x="198" y="1428"/>
                  </a:lnTo>
                  <a:lnTo>
                    <a:pt x="192" y="1422"/>
                  </a:lnTo>
                  <a:lnTo>
                    <a:pt x="174" y="1410"/>
                  </a:lnTo>
                  <a:lnTo>
                    <a:pt x="156" y="1386"/>
                  </a:lnTo>
                  <a:lnTo>
                    <a:pt x="132" y="1374"/>
                  </a:lnTo>
                  <a:lnTo>
                    <a:pt x="108" y="1368"/>
                  </a:lnTo>
                  <a:lnTo>
                    <a:pt x="84" y="1368"/>
                  </a:lnTo>
                  <a:lnTo>
                    <a:pt x="96" y="1356"/>
                  </a:lnTo>
                  <a:lnTo>
                    <a:pt x="102" y="1344"/>
                  </a:lnTo>
                  <a:lnTo>
                    <a:pt x="102" y="1332"/>
                  </a:lnTo>
                  <a:lnTo>
                    <a:pt x="108" y="1320"/>
                  </a:lnTo>
                  <a:lnTo>
                    <a:pt x="108" y="1302"/>
                  </a:lnTo>
                  <a:lnTo>
                    <a:pt x="96" y="1278"/>
                  </a:lnTo>
                  <a:lnTo>
                    <a:pt x="66" y="1284"/>
                  </a:lnTo>
                  <a:lnTo>
                    <a:pt x="54" y="1278"/>
                  </a:lnTo>
                  <a:lnTo>
                    <a:pt x="36" y="1278"/>
                  </a:lnTo>
                  <a:lnTo>
                    <a:pt x="18" y="1284"/>
                  </a:lnTo>
                  <a:lnTo>
                    <a:pt x="18" y="1272"/>
                  </a:lnTo>
                  <a:lnTo>
                    <a:pt x="24" y="1260"/>
                  </a:lnTo>
                  <a:lnTo>
                    <a:pt x="24" y="1254"/>
                  </a:lnTo>
                  <a:lnTo>
                    <a:pt x="30" y="1248"/>
                  </a:lnTo>
                  <a:lnTo>
                    <a:pt x="24" y="1230"/>
                  </a:lnTo>
                  <a:lnTo>
                    <a:pt x="30" y="1218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30" y="1170"/>
                  </a:lnTo>
                  <a:lnTo>
                    <a:pt x="30" y="1152"/>
                  </a:lnTo>
                  <a:lnTo>
                    <a:pt x="24" y="1146"/>
                  </a:lnTo>
                  <a:lnTo>
                    <a:pt x="0" y="1116"/>
                  </a:lnTo>
                  <a:lnTo>
                    <a:pt x="6" y="1092"/>
                  </a:lnTo>
                  <a:lnTo>
                    <a:pt x="18" y="1056"/>
                  </a:lnTo>
                  <a:lnTo>
                    <a:pt x="24" y="1050"/>
                  </a:lnTo>
                  <a:lnTo>
                    <a:pt x="24" y="1038"/>
                  </a:lnTo>
                  <a:lnTo>
                    <a:pt x="24" y="1026"/>
                  </a:lnTo>
                  <a:lnTo>
                    <a:pt x="30" y="1002"/>
                  </a:lnTo>
                  <a:lnTo>
                    <a:pt x="36" y="990"/>
                  </a:lnTo>
                  <a:lnTo>
                    <a:pt x="42" y="984"/>
                  </a:lnTo>
                  <a:lnTo>
                    <a:pt x="54" y="984"/>
                  </a:lnTo>
                  <a:lnTo>
                    <a:pt x="66" y="978"/>
                  </a:lnTo>
                  <a:lnTo>
                    <a:pt x="72" y="978"/>
                  </a:lnTo>
                  <a:lnTo>
                    <a:pt x="90" y="978"/>
                  </a:lnTo>
                  <a:lnTo>
                    <a:pt x="102" y="972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78"/>
                  </a:lnTo>
                  <a:lnTo>
                    <a:pt x="120" y="984"/>
                  </a:lnTo>
                  <a:lnTo>
                    <a:pt x="138" y="984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6" y="972"/>
                  </a:lnTo>
                  <a:lnTo>
                    <a:pt x="156" y="966"/>
                  </a:lnTo>
                  <a:lnTo>
                    <a:pt x="156" y="960"/>
                  </a:lnTo>
                  <a:lnTo>
                    <a:pt x="180" y="948"/>
                  </a:lnTo>
                  <a:lnTo>
                    <a:pt x="186" y="924"/>
                  </a:lnTo>
                  <a:lnTo>
                    <a:pt x="192" y="918"/>
                  </a:lnTo>
                  <a:lnTo>
                    <a:pt x="228" y="924"/>
                  </a:lnTo>
                  <a:lnTo>
                    <a:pt x="246" y="906"/>
                  </a:lnTo>
                  <a:lnTo>
                    <a:pt x="240" y="888"/>
                  </a:lnTo>
                  <a:lnTo>
                    <a:pt x="234" y="888"/>
                  </a:lnTo>
                  <a:lnTo>
                    <a:pt x="234" y="882"/>
                  </a:lnTo>
                  <a:lnTo>
                    <a:pt x="228" y="870"/>
                  </a:lnTo>
                  <a:lnTo>
                    <a:pt x="228" y="864"/>
                  </a:lnTo>
                  <a:lnTo>
                    <a:pt x="222" y="864"/>
                  </a:lnTo>
                  <a:lnTo>
                    <a:pt x="216" y="858"/>
                  </a:lnTo>
                  <a:lnTo>
                    <a:pt x="198" y="852"/>
                  </a:lnTo>
                  <a:lnTo>
                    <a:pt x="192" y="852"/>
                  </a:lnTo>
                  <a:lnTo>
                    <a:pt x="186" y="846"/>
                  </a:lnTo>
                  <a:lnTo>
                    <a:pt x="174" y="834"/>
                  </a:lnTo>
                  <a:lnTo>
                    <a:pt x="162" y="822"/>
                  </a:lnTo>
                  <a:lnTo>
                    <a:pt x="156" y="816"/>
                  </a:lnTo>
                  <a:lnTo>
                    <a:pt x="162" y="810"/>
                  </a:lnTo>
                  <a:lnTo>
                    <a:pt x="174" y="798"/>
                  </a:lnTo>
                  <a:lnTo>
                    <a:pt x="180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68"/>
                  </a:lnTo>
                  <a:lnTo>
                    <a:pt x="192" y="744"/>
                  </a:lnTo>
                  <a:lnTo>
                    <a:pt x="186" y="708"/>
                  </a:lnTo>
                  <a:lnTo>
                    <a:pt x="174" y="690"/>
                  </a:lnTo>
                  <a:lnTo>
                    <a:pt x="168" y="672"/>
                  </a:lnTo>
                  <a:lnTo>
                    <a:pt x="156" y="630"/>
                  </a:lnTo>
                  <a:lnTo>
                    <a:pt x="156" y="606"/>
                  </a:lnTo>
                  <a:lnTo>
                    <a:pt x="150" y="606"/>
                  </a:lnTo>
                  <a:lnTo>
                    <a:pt x="150" y="600"/>
                  </a:lnTo>
                  <a:lnTo>
                    <a:pt x="144" y="600"/>
                  </a:lnTo>
                  <a:lnTo>
                    <a:pt x="150" y="594"/>
                  </a:lnTo>
                  <a:lnTo>
                    <a:pt x="144" y="588"/>
                  </a:lnTo>
                  <a:lnTo>
                    <a:pt x="138" y="558"/>
                  </a:lnTo>
                  <a:lnTo>
                    <a:pt x="138" y="528"/>
                  </a:lnTo>
                  <a:lnTo>
                    <a:pt x="132" y="480"/>
                  </a:lnTo>
                  <a:lnTo>
                    <a:pt x="132" y="462"/>
                  </a:lnTo>
                  <a:lnTo>
                    <a:pt x="126" y="426"/>
                  </a:lnTo>
                  <a:lnTo>
                    <a:pt x="126" y="396"/>
                  </a:lnTo>
                  <a:lnTo>
                    <a:pt x="126" y="378"/>
                  </a:lnTo>
                  <a:lnTo>
                    <a:pt x="126" y="360"/>
                  </a:lnTo>
                  <a:lnTo>
                    <a:pt x="132" y="318"/>
                  </a:lnTo>
                  <a:lnTo>
                    <a:pt x="132" y="24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2" y="210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92" y="198"/>
                  </a:lnTo>
                  <a:lnTo>
                    <a:pt x="198" y="198"/>
                  </a:lnTo>
                  <a:lnTo>
                    <a:pt x="216" y="180"/>
                  </a:lnTo>
                  <a:lnTo>
                    <a:pt x="222" y="174"/>
                  </a:lnTo>
                  <a:lnTo>
                    <a:pt x="222" y="168"/>
                  </a:lnTo>
                  <a:lnTo>
                    <a:pt x="228" y="168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44"/>
                  </a:lnTo>
                  <a:lnTo>
                    <a:pt x="258" y="144"/>
                  </a:lnTo>
                  <a:lnTo>
                    <a:pt x="276" y="150"/>
                  </a:lnTo>
                  <a:lnTo>
                    <a:pt x="300" y="150"/>
                  </a:lnTo>
                  <a:lnTo>
                    <a:pt x="312" y="150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8" y="156"/>
                  </a:lnTo>
                  <a:lnTo>
                    <a:pt x="354" y="150"/>
                  </a:lnTo>
                  <a:lnTo>
                    <a:pt x="372" y="144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08" y="126"/>
                  </a:lnTo>
                  <a:lnTo>
                    <a:pt x="414" y="120"/>
                  </a:lnTo>
                  <a:lnTo>
                    <a:pt x="420" y="120"/>
                  </a:lnTo>
                  <a:lnTo>
                    <a:pt x="426" y="120"/>
                  </a:lnTo>
                  <a:lnTo>
                    <a:pt x="432" y="114"/>
                  </a:lnTo>
                  <a:lnTo>
                    <a:pt x="450" y="102"/>
                  </a:lnTo>
                  <a:lnTo>
                    <a:pt x="456" y="96"/>
                  </a:lnTo>
                  <a:lnTo>
                    <a:pt x="468" y="90"/>
                  </a:lnTo>
                  <a:lnTo>
                    <a:pt x="474" y="90"/>
                  </a:lnTo>
                  <a:lnTo>
                    <a:pt x="480" y="84"/>
                  </a:lnTo>
                  <a:lnTo>
                    <a:pt x="486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504" y="72"/>
                  </a:lnTo>
                  <a:lnTo>
                    <a:pt x="510" y="66"/>
                  </a:lnTo>
                  <a:lnTo>
                    <a:pt x="516" y="66"/>
                  </a:lnTo>
                  <a:lnTo>
                    <a:pt x="522" y="60"/>
                  </a:lnTo>
                  <a:lnTo>
                    <a:pt x="552" y="42"/>
                  </a:lnTo>
                  <a:lnTo>
                    <a:pt x="558" y="36"/>
                  </a:lnTo>
                  <a:lnTo>
                    <a:pt x="576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94" y="18"/>
                  </a:lnTo>
                  <a:lnTo>
                    <a:pt x="600" y="12"/>
                  </a:lnTo>
                  <a:lnTo>
                    <a:pt x="612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6"/>
                  </a:lnTo>
                  <a:lnTo>
                    <a:pt x="648" y="6"/>
                  </a:lnTo>
                  <a:lnTo>
                    <a:pt x="660" y="6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38" y="18"/>
                  </a:lnTo>
                  <a:lnTo>
                    <a:pt x="744" y="18"/>
                  </a:lnTo>
                  <a:lnTo>
                    <a:pt x="756" y="18"/>
                  </a:lnTo>
                  <a:lnTo>
                    <a:pt x="762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80" y="24"/>
                  </a:lnTo>
                  <a:lnTo>
                    <a:pt x="792" y="24"/>
                  </a:lnTo>
                  <a:lnTo>
                    <a:pt x="792" y="30"/>
                  </a:lnTo>
                  <a:lnTo>
                    <a:pt x="810" y="30"/>
                  </a:lnTo>
                  <a:lnTo>
                    <a:pt x="822" y="36"/>
                  </a:lnTo>
                  <a:lnTo>
                    <a:pt x="834" y="42"/>
                  </a:lnTo>
                  <a:lnTo>
                    <a:pt x="840" y="48"/>
                  </a:lnTo>
                  <a:lnTo>
                    <a:pt x="846" y="54"/>
                  </a:lnTo>
                  <a:lnTo>
                    <a:pt x="852" y="60"/>
                  </a:lnTo>
                  <a:lnTo>
                    <a:pt x="858" y="66"/>
                  </a:lnTo>
                  <a:lnTo>
                    <a:pt x="864" y="66"/>
                  </a:lnTo>
                  <a:lnTo>
                    <a:pt x="864" y="72"/>
                  </a:lnTo>
                  <a:lnTo>
                    <a:pt x="876" y="78"/>
                  </a:lnTo>
                  <a:lnTo>
                    <a:pt x="900" y="84"/>
                  </a:lnTo>
                  <a:lnTo>
                    <a:pt x="906" y="90"/>
                  </a:lnTo>
                  <a:lnTo>
                    <a:pt x="912" y="90"/>
                  </a:lnTo>
                  <a:lnTo>
                    <a:pt x="912" y="96"/>
                  </a:lnTo>
                  <a:lnTo>
                    <a:pt x="924" y="108"/>
                  </a:lnTo>
                  <a:lnTo>
                    <a:pt x="930" y="108"/>
                  </a:lnTo>
                  <a:lnTo>
                    <a:pt x="936" y="114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60" y="138"/>
                  </a:lnTo>
                  <a:lnTo>
                    <a:pt x="966" y="144"/>
                  </a:lnTo>
                  <a:lnTo>
                    <a:pt x="972" y="156"/>
                  </a:lnTo>
                  <a:lnTo>
                    <a:pt x="978" y="162"/>
                  </a:lnTo>
                  <a:lnTo>
                    <a:pt x="984" y="162"/>
                  </a:lnTo>
                  <a:lnTo>
                    <a:pt x="990" y="168"/>
                  </a:lnTo>
                  <a:lnTo>
                    <a:pt x="996" y="174"/>
                  </a:lnTo>
                  <a:lnTo>
                    <a:pt x="1002" y="180"/>
                  </a:lnTo>
                  <a:lnTo>
                    <a:pt x="1008" y="180"/>
                  </a:lnTo>
                  <a:lnTo>
                    <a:pt x="1020" y="180"/>
                  </a:lnTo>
                  <a:lnTo>
                    <a:pt x="1038" y="174"/>
                  </a:lnTo>
                  <a:lnTo>
                    <a:pt x="1050" y="174"/>
                  </a:lnTo>
                  <a:lnTo>
                    <a:pt x="1056" y="174"/>
                  </a:lnTo>
                  <a:lnTo>
                    <a:pt x="1068" y="180"/>
                  </a:lnTo>
                  <a:lnTo>
                    <a:pt x="1080" y="180"/>
                  </a:lnTo>
                  <a:lnTo>
                    <a:pt x="1086" y="186"/>
                  </a:lnTo>
                  <a:lnTo>
                    <a:pt x="1098" y="192"/>
                  </a:lnTo>
                  <a:lnTo>
                    <a:pt x="1116" y="204"/>
                  </a:lnTo>
                  <a:lnTo>
                    <a:pt x="1122" y="210"/>
                  </a:lnTo>
                  <a:lnTo>
                    <a:pt x="1134" y="222"/>
                  </a:lnTo>
                  <a:lnTo>
                    <a:pt x="1146" y="234"/>
                  </a:lnTo>
                  <a:lnTo>
                    <a:pt x="1146" y="240"/>
                  </a:lnTo>
                  <a:lnTo>
                    <a:pt x="1152" y="246"/>
                  </a:lnTo>
                  <a:lnTo>
                    <a:pt x="1152" y="252"/>
                  </a:lnTo>
                  <a:lnTo>
                    <a:pt x="1152" y="258"/>
                  </a:lnTo>
                  <a:lnTo>
                    <a:pt x="1164" y="258"/>
                  </a:lnTo>
                  <a:lnTo>
                    <a:pt x="1170" y="264"/>
                  </a:lnTo>
                  <a:lnTo>
                    <a:pt x="1182" y="270"/>
                  </a:lnTo>
                  <a:lnTo>
                    <a:pt x="1188" y="270"/>
                  </a:lnTo>
                  <a:lnTo>
                    <a:pt x="1194" y="270"/>
                  </a:lnTo>
                  <a:lnTo>
                    <a:pt x="1206" y="276"/>
                  </a:lnTo>
                  <a:lnTo>
                    <a:pt x="1224" y="282"/>
                  </a:lnTo>
                  <a:lnTo>
                    <a:pt x="1236" y="282"/>
                  </a:lnTo>
                  <a:lnTo>
                    <a:pt x="1242" y="288"/>
                  </a:lnTo>
                  <a:lnTo>
                    <a:pt x="1254" y="288"/>
                  </a:lnTo>
                  <a:lnTo>
                    <a:pt x="1266" y="294"/>
                  </a:lnTo>
                  <a:lnTo>
                    <a:pt x="1272" y="294"/>
                  </a:lnTo>
                  <a:lnTo>
                    <a:pt x="1284" y="300"/>
                  </a:lnTo>
                  <a:lnTo>
                    <a:pt x="1290" y="300"/>
                  </a:lnTo>
                  <a:lnTo>
                    <a:pt x="1296" y="300"/>
                  </a:lnTo>
                  <a:lnTo>
                    <a:pt x="1302" y="306"/>
                  </a:lnTo>
                  <a:lnTo>
                    <a:pt x="1326" y="312"/>
                  </a:lnTo>
                  <a:lnTo>
                    <a:pt x="1338" y="312"/>
                  </a:lnTo>
                  <a:lnTo>
                    <a:pt x="1338" y="318"/>
                  </a:lnTo>
                  <a:lnTo>
                    <a:pt x="1344" y="318"/>
                  </a:lnTo>
                  <a:lnTo>
                    <a:pt x="1350" y="318"/>
                  </a:lnTo>
                  <a:lnTo>
                    <a:pt x="1362" y="324"/>
                  </a:lnTo>
                  <a:lnTo>
                    <a:pt x="1368" y="318"/>
                  </a:lnTo>
                  <a:lnTo>
                    <a:pt x="1374" y="318"/>
                  </a:lnTo>
                  <a:lnTo>
                    <a:pt x="1386" y="318"/>
                  </a:lnTo>
                  <a:lnTo>
                    <a:pt x="1398" y="324"/>
                  </a:lnTo>
                  <a:lnTo>
                    <a:pt x="1398" y="342"/>
                  </a:lnTo>
                  <a:lnTo>
                    <a:pt x="1356" y="342"/>
                  </a:lnTo>
                  <a:lnTo>
                    <a:pt x="1350" y="348"/>
                  </a:lnTo>
                  <a:lnTo>
                    <a:pt x="1350" y="372"/>
                  </a:lnTo>
                  <a:lnTo>
                    <a:pt x="1338" y="384"/>
                  </a:lnTo>
                  <a:lnTo>
                    <a:pt x="1332" y="408"/>
                  </a:lnTo>
                  <a:lnTo>
                    <a:pt x="1320" y="420"/>
                  </a:lnTo>
                  <a:lnTo>
                    <a:pt x="1254" y="426"/>
                  </a:lnTo>
                  <a:lnTo>
                    <a:pt x="1248" y="432"/>
                  </a:lnTo>
                  <a:lnTo>
                    <a:pt x="1230" y="432"/>
                  </a:lnTo>
                  <a:lnTo>
                    <a:pt x="1212" y="432"/>
                  </a:lnTo>
                  <a:lnTo>
                    <a:pt x="1212" y="426"/>
                  </a:lnTo>
                  <a:lnTo>
                    <a:pt x="1200" y="426"/>
                  </a:lnTo>
                  <a:lnTo>
                    <a:pt x="1182" y="414"/>
                  </a:lnTo>
                  <a:lnTo>
                    <a:pt x="1182" y="420"/>
                  </a:lnTo>
                  <a:lnTo>
                    <a:pt x="1164" y="420"/>
                  </a:lnTo>
                  <a:lnTo>
                    <a:pt x="1158" y="414"/>
                  </a:lnTo>
                  <a:lnTo>
                    <a:pt x="1152" y="408"/>
                  </a:lnTo>
                  <a:lnTo>
                    <a:pt x="1146" y="402"/>
                  </a:lnTo>
                  <a:lnTo>
                    <a:pt x="1122" y="396"/>
                  </a:lnTo>
                  <a:lnTo>
                    <a:pt x="1116" y="366"/>
                  </a:lnTo>
                  <a:lnTo>
                    <a:pt x="1116" y="348"/>
                  </a:lnTo>
                  <a:lnTo>
                    <a:pt x="1110" y="342"/>
                  </a:lnTo>
                  <a:lnTo>
                    <a:pt x="1104" y="336"/>
                  </a:lnTo>
                  <a:lnTo>
                    <a:pt x="1092" y="330"/>
                  </a:lnTo>
                  <a:lnTo>
                    <a:pt x="1074" y="330"/>
                  </a:lnTo>
                  <a:lnTo>
                    <a:pt x="1044" y="330"/>
                  </a:lnTo>
                  <a:lnTo>
                    <a:pt x="1014" y="336"/>
                  </a:lnTo>
                  <a:lnTo>
                    <a:pt x="984" y="342"/>
                  </a:lnTo>
                  <a:lnTo>
                    <a:pt x="978" y="330"/>
                  </a:lnTo>
                  <a:lnTo>
                    <a:pt x="966" y="324"/>
                  </a:lnTo>
                  <a:lnTo>
                    <a:pt x="888" y="336"/>
                  </a:lnTo>
                  <a:lnTo>
                    <a:pt x="888" y="330"/>
                  </a:lnTo>
                  <a:lnTo>
                    <a:pt x="870" y="336"/>
                  </a:lnTo>
                  <a:lnTo>
                    <a:pt x="858" y="336"/>
                  </a:lnTo>
                  <a:lnTo>
                    <a:pt x="852" y="354"/>
                  </a:lnTo>
                  <a:lnTo>
                    <a:pt x="852" y="402"/>
                  </a:lnTo>
                  <a:lnTo>
                    <a:pt x="840" y="414"/>
                  </a:lnTo>
                  <a:lnTo>
                    <a:pt x="834" y="420"/>
                  </a:lnTo>
                  <a:lnTo>
                    <a:pt x="834" y="444"/>
                  </a:lnTo>
                  <a:lnTo>
                    <a:pt x="834" y="450"/>
                  </a:lnTo>
                  <a:lnTo>
                    <a:pt x="852" y="456"/>
                  </a:lnTo>
                  <a:lnTo>
                    <a:pt x="864" y="462"/>
                  </a:lnTo>
                  <a:lnTo>
                    <a:pt x="894" y="456"/>
                  </a:lnTo>
                  <a:lnTo>
                    <a:pt x="900" y="468"/>
                  </a:lnTo>
                  <a:lnTo>
                    <a:pt x="918" y="462"/>
                  </a:lnTo>
                  <a:lnTo>
                    <a:pt x="924" y="468"/>
                  </a:lnTo>
                  <a:lnTo>
                    <a:pt x="924" y="47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2" name="Freeform 37">
              <a:extLst>
                <a:ext uri="{FF2B5EF4-FFF2-40B4-BE49-F238E27FC236}">
                  <a16:creationId xmlns:a16="http://schemas.microsoft.com/office/drawing/2014/main" id="{DED8A1FF-B656-4D37-BD26-5B0A7B1A4A6D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441" y="1898343"/>
              <a:ext cx="567992" cy="686605"/>
            </a:xfrm>
            <a:custGeom>
              <a:avLst/>
              <a:gdLst>
                <a:gd name="T0" fmla="*/ 79 w 1068"/>
                <a:gd name="T1" fmla="*/ 72 h 1290"/>
                <a:gd name="T2" fmla="*/ 75 w 1068"/>
                <a:gd name="T3" fmla="*/ 73 h 1290"/>
                <a:gd name="T4" fmla="*/ 72 w 1068"/>
                <a:gd name="T5" fmla="*/ 76 h 1290"/>
                <a:gd name="T6" fmla="*/ 70 w 1068"/>
                <a:gd name="T7" fmla="*/ 78 h 1290"/>
                <a:gd name="T8" fmla="*/ 67 w 1068"/>
                <a:gd name="T9" fmla="*/ 82 h 1290"/>
                <a:gd name="T10" fmla="*/ 61 w 1068"/>
                <a:gd name="T11" fmla="*/ 86 h 1290"/>
                <a:gd name="T12" fmla="*/ 60 w 1068"/>
                <a:gd name="T13" fmla="*/ 93 h 1290"/>
                <a:gd name="T14" fmla="*/ 59 w 1068"/>
                <a:gd name="T15" fmla="*/ 97 h 1290"/>
                <a:gd name="T16" fmla="*/ 61 w 1068"/>
                <a:gd name="T17" fmla="*/ 101 h 1290"/>
                <a:gd name="T18" fmla="*/ 63 w 1068"/>
                <a:gd name="T19" fmla="*/ 104 h 1290"/>
                <a:gd name="T20" fmla="*/ 62 w 1068"/>
                <a:gd name="T21" fmla="*/ 108 h 1290"/>
                <a:gd name="T22" fmla="*/ 60 w 1068"/>
                <a:gd name="T23" fmla="*/ 111 h 1290"/>
                <a:gd name="T24" fmla="*/ 56 w 1068"/>
                <a:gd name="T25" fmla="*/ 111 h 1290"/>
                <a:gd name="T26" fmla="*/ 53 w 1068"/>
                <a:gd name="T27" fmla="*/ 110 h 1290"/>
                <a:gd name="T28" fmla="*/ 50 w 1068"/>
                <a:gd name="T29" fmla="*/ 109 h 1290"/>
                <a:gd name="T30" fmla="*/ 47 w 1068"/>
                <a:gd name="T31" fmla="*/ 110 h 1290"/>
                <a:gd name="T32" fmla="*/ 51 w 1068"/>
                <a:gd name="T33" fmla="*/ 104 h 1290"/>
                <a:gd name="T34" fmla="*/ 50 w 1068"/>
                <a:gd name="T35" fmla="*/ 95 h 1290"/>
                <a:gd name="T36" fmla="*/ 51 w 1068"/>
                <a:gd name="T37" fmla="*/ 90 h 1290"/>
                <a:gd name="T38" fmla="*/ 47 w 1068"/>
                <a:gd name="T39" fmla="*/ 84 h 1290"/>
                <a:gd name="T40" fmla="*/ 42 w 1068"/>
                <a:gd name="T41" fmla="*/ 78 h 1290"/>
                <a:gd name="T42" fmla="*/ 33 w 1068"/>
                <a:gd name="T43" fmla="*/ 73 h 1290"/>
                <a:gd name="T44" fmla="*/ 26 w 1068"/>
                <a:gd name="T45" fmla="*/ 68 h 1290"/>
                <a:gd name="T46" fmla="*/ 22 w 1068"/>
                <a:gd name="T47" fmla="*/ 63 h 1290"/>
                <a:gd name="T48" fmla="*/ 11 w 1068"/>
                <a:gd name="T49" fmla="*/ 67 h 1290"/>
                <a:gd name="T50" fmla="*/ 0 w 1068"/>
                <a:gd name="T51" fmla="*/ 68 h 1290"/>
                <a:gd name="T52" fmla="*/ 2 w 1068"/>
                <a:gd name="T53" fmla="*/ 59 h 1290"/>
                <a:gd name="T54" fmla="*/ 12 w 1068"/>
                <a:gd name="T55" fmla="*/ 55 h 1290"/>
                <a:gd name="T56" fmla="*/ 12 w 1068"/>
                <a:gd name="T57" fmla="*/ 51 h 1290"/>
                <a:gd name="T58" fmla="*/ 10 w 1068"/>
                <a:gd name="T59" fmla="*/ 47 h 1290"/>
                <a:gd name="T60" fmla="*/ 9 w 1068"/>
                <a:gd name="T61" fmla="*/ 42 h 1290"/>
                <a:gd name="T62" fmla="*/ 8 w 1068"/>
                <a:gd name="T63" fmla="*/ 38 h 1290"/>
                <a:gd name="T64" fmla="*/ 8 w 1068"/>
                <a:gd name="T65" fmla="*/ 29 h 1290"/>
                <a:gd name="T66" fmla="*/ 10 w 1068"/>
                <a:gd name="T67" fmla="*/ 18 h 1290"/>
                <a:gd name="T68" fmla="*/ 25 w 1068"/>
                <a:gd name="T69" fmla="*/ 12 h 1290"/>
                <a:gd name="T70" fmla="*/ 27 w 1068"/>
                <a:gd name="T71" fmla="*/ 4 h 1290"/>
                <a:gd name="T72" fmla="*/ 35 w 1068"/>
                <a:gd name="T73" fmla="*/ 6 h 1290"/>
                <a:gd name="T74" fmla="*/ 39 w 1068"/>
                <a:gd name="T75" fmla="*/ 8 h 1290"/>
                <a:gd name="T76" fmla="*/ 41 w 1068"/>
                <a:gd name="T77" fmla="*/ 3 h 1290"/>
                <a:gd name="T78" fmla="*/ 45 w 1068"/>
                <a:gd name="T79" fmla="*/ 0 h 1290"/>
                <a:gd name="T80" fmla="*/ 51 w 1068"/>
                <a:gd name="T81" fmla="*/ 0 h 1290"/>
                <a:gd name="T82" fmla="*/ 56 w 1068"/>
                <a:gd name="T83" fmla="*/ 4 h 1290"/>
                <a:gd name="T84" fmla="*/ 62 w 1068"/>
                <a:gd name="T85" fmla="*/ 12 h 1290"/>
                <a:gd name="T86" fmla="*/ 58 w 1068"/>
                <a:gd name="T87" fmla="*/ 17 h 1290"/>
                <a:gd name="T88" fmla="*/ 60 w 1068"/>
                <a:gd name="T89" fmla="*/ 18 h 1290"/>
                <a:gd name="T90" fmla="*/ 64 w 1068"/>
                <a:gd name="T91" fmla="*/ 16 h 1290"/>
                <a:gd name="T92" fmla="*/ 68 w 1068"/>
                <a:gd name="T93" fmla="*/ 18 h 1290"/>
                <a:gd name="T94" fmla="*/ 71 w 1068"/>
                <a:gd name="T95" fmla="*/ 27 h 1290"/>
                <a:gd name="T96" fmla="*/ 74 w 1068"/>
                <a:gd name="T97" fmla="*/ 30 h 1290"/>
                <a:gd name="T98" fmla="*/ 82 w 1068"/>
                <a:gd name="T99" fmla="*/ 30 h 1290"/>
                <a:gd name="T100" fmla="*/ 87 w 1068"/>
                <a:gd name="T101" fmla="*/ 35 h 1290"/>
                <a:gd name="T102" fmla="*/ 85 w 1068"/>
                <a:gd name="T103" fmla="*/ 42 h 1290"/>
                <a:gd name="T104" fmla="*/ 81 w 1068"/>
                <a:gd name="T105" fmla="*/ 46 h 1290"/>
                <a:gd name="T106" fmla="*/ 86 w 1068"/>
                <a:gd name="T107" fmla="*/ 50 h 1290"/>
                <a:gd name="T108" fmla="*/ 89 w 1068"/>
                <a:gd name="T109" fmla="*/ 58 h 1290"/>
                <a:gd name="T110" fmla="*/ 92 w 1068"/>
                <a:gd name="T111" fmla="*/ 61 h 1290"/>
                <a:gd name="T112" fmla="*/ 86 w 1068"/>
                <a:gd name="T113" fmla="*/ 66 h 1290"/>
                <a:gd name="T114" fmla="*/ 85 w 1068"/>
                <a:gd name="T115" fmla="*/ 70 h 129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68"/>
                <a:gd name="T175" fmla="*/ 0 h 1290"/>
                <a:gd name="T176" fmla="*/ 1068 w 1068"/>
                <a:gd name="T177" fmla="*/ 1290 h 129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68" h="1290">
                  <a:moveTo>
                    <a:pt x="978" y="804"/>
                  </a:moveTo>
                  <a:lnTo>
                    <a:pt x="972" y="810"/>
                  </a:lnTo>
                  <a:lnTo>
                    <a:pt x="966" y="810"/>
                  </a:lnTo>
                  <a:lnTo>
                    <a:pt x="966" y="816"/>
                  </a:lnTo>
                  <a:lnTo>
                    <a:pt x="936" y="828"/>
                  </a:lnTo>
                  <a:lnTo>
                    <a:pt x="924" y="822"/>
                  </a:lnTo>
                  <a:lnTo>
                    <a:pt x="912" y="822"/>
                  </a:lnTo>
                  <a:lnTo>
                    <a:pt x="906" y="828"/>
                  </a:lnTo>
                  <a:lnTo>
                    <a:pt x="900" y="828"/>
                  </a:lnTo>
                  <a:lnTo>
                    <a:pt x="900" y="822"/>
                  </a:lnTo>
                  <a:lnTo>
                    <a:pt x="894" y="822"/>
                  </a:lnTo>
                  <a:lnTo>
                    <a:pt x="888" y="828"/>
                  </a:lnTo>
                  <a:lnTo>
                    <a:pt x="882" y="834"/>
                  </a:lnTo>
                  <a:lnTo>
                    <a:pt x="876" y="834"/>
                  </a:lnTo>
                  <a:lnTo>
                    <a:pt x="870" y="840"/>
                  </a:lnTo>
                  <a:lnTo>
                    <a:pt x="864" y="840"/>
                  </a:lnTo>
                  <a:lnTo>
                    <a:pt x="864" y="846"/>
                  </a:lnTo>
                  <a:lnTo>
                    <a:pt x="858" y="846"/>
                  </a:lnTo>
                  <a:lnTo>
                    <a:pt x="852" y="846"/>
                  </a:lnTo>
                  <a:lnTo>
                    <a:pt x="852" y="858"/>
                  </a:lnTo>
                  <a:lnTo>
                    <a:pt x="846" y="864"/>
                  </a:lnTo>
                  <a:lnTo>
                    <a:pt x="840" y="870"/>
                  </a:lnTo>
                  <a:lnTo>
                    <a:pt x="834" y="870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34" y="876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10" y="894"/>
                  </a:lnTo>
                  <a:lnTo>
                    <a:pt x="810" y="900"/>
                  </a:lnTo>
                  <a:lnTo>
                    <a:pt x="804" y="900"/>
                  </a:lnTo>
                  <a:lnTo>
                    <a:pt x="798" y="900"/>
                  </a:lnTo>
                  <a:lnTo>
                    <a:pt x="798" y="906"/>
                  </a:lnTo>
                  <a:lnTo>
                    <a:pt x="792" y="906"/>
                  </a:lnTo>
                  <a:lnTo>
                    <a:pt x="792" y="912"/>
                  </a:lnTo>
                  <a:lnTo>
                    <a:pt x="792" y="924"/>
                  </a:lnTo>
                  <a:lnTo>
                    <a:pt x="786" y="930"/>
                  </a:lnTo>
                  <a:lnTo>
                    <a:pt x="774" y="942"/>
                  </a:lnTo>
                  <a:lnTo>
                    <a:pt x="774" y="948"/>
                  </a:lnTo>
                  <a:lnTo>
                    <a:pt x="768" y="954"/>
                  </a:lnTo>
                  <a:lnTo>
                    <a:pt x="762" y="954"/>
                  </a:lnTo>
                  <a:lnTo>
                    <a:pt x="750" y="972"/>
                  </a:lnTo>
                  <a:lnTo>
                    <a:pt x="720" y="978"/>
                  </a:lnTo>
                  <a:lnTo>
                    <a:pt x="714" y="978"/>
                  </a:lnTo>
                  <a:lnTo>
                    <a:pt x="708" y="978"/>
                  </a:lnTo>
                  <a:lnTo>
                    <a:pt x="702" y="990"/>
                  </a:lnTo>
                  <a:lnTo>
                    <a:pt x="696" y="990"/>
                  </a:lnTo>
                  <a:lnTo>
                    <a:pt x="696" y="1008"/>
                  </a:lnTo>
                  <a:lnTo>
                    <a:pt x="690" y="1008"/>
                  </a:lnTo>
                  <a:lnTo>
                    <a:pt x="690" y="1014"/>
                  </a:lnTo>
                  <a:lnTo>
                    <a:pt x="684" y="1032"/>
                  </a:lnTo>
                  <a:lnTo>
                    <a:pt x="690" y="1050"/>
                  </a:lnTo>
                  <a:lnTo>
                    <a:pt x="690" y="1062"/>
                  </a:lnTo>
                  <a:lnTo>
                    <a:pt x="690" y="1068"/>
                  </a:lnTo>
                  <a:lnTo>
                    <a:pt x="690" y="1074"/>
                  </a:lnTo>
                  <a:lnTo>
                    <a:pt x="684" y="1074"/>
                  </a:lnTo>
                  <a:lnTo>
                    <a:pt x="684" y="1080"/>
                  </a:lnTo>
                  <a:lnTo>
                    <a:pt x="678" y="1086"/>
                  </a:lnTo>
                  <a:lnTo>
                    <a:pt x="678" y="1104"/>
                  </a:lnTo>
                  <a:lnTo>
                    <a:pt x="678" y="1110"/>
                  </a:lnTo>
                  <a:lnTo>
                    <a:pt x="678" y="1116"/>
                  </a:lnTo>
                  <a:lnTo>
                    <a:pt x="684" y="1116"/>
                  </a:lnTo>
                  <a:lnTo>
                    <a:pt x="678" y="1128"/>
                  </a:lnTo>
                  <a:lnTo>
                    <a:pt x="684" y="1128"/>
                  </a:lnTo>
                  <a:lnTo>
                    <a:pt x="690" y="1134"/>
                  </a:lnTo>
                  <a:lnTo>
                    <a:pt x="690" y="1140"/>
                  </a:lnTo>
                  <a:lnTo>
                    <a:pt x="696" y="1140"/>
                  </a:lnTo>
                  <a:lnTo>
                    <a:pt x="696" y="1146"/>
                  </a:lnTo>
                  <a:lnTo>
                    <a:pt x="696" y="1152"/>
                  </a:lnTo>
                  <a:lnTo>
                    <a:pt x="702" y="1152"/>
                  </a:lnTo>
                  <a:lnTo>
                    <a:pt x="708" y="1152"/>
                  </a:lnTo>
                  <a:lnTo>
                    <a:pt x="714" y="1158"/>
                  </a:lnTo>
                  <a:lnTo>
                    <a:pt x="714" y="1164"/>
                  </a:lnTo>
                  <a:lnTo>
                    <a:pt x="720" y="1170"/>
                  </a:lnTo>
                  <a:lnTo>
                    <a:pt x="720" y="1176"/>
                  </a:lnTo>
                  <a:lnTo>
                    <a:pt x="720" y="1182"/>
                  </a:lnTo>
                  <a:lnTo>
                    <a:pt x="726" y="1188"/>
                  </a:lnTo>
                  <a:lnTo>
                    <a:pt x="726" y="1194"/>
                  </a:lnTo>
                  <a:lnTo>
                    <a:pt x="732" y="1194"/>
                  </a:lnTo>
                  <a:lnTo>
                    <a:pt x="732" y="1200"/>
                  </a:lnTo>
                  <a:lnTo>
                    <a:pt x="738" y="1212"/>
                  </a:lnTo>
                  <a:lnTo>
                    <a:pt x="732" y="1218"/>
                  </a:lnTo>
                  <a:lnTo>
                    <a:pt x="732" y="1224"/>
                  </a:lnTo>
                  <a:lnTo>
                    <a:pt x="726" y="1230"/>
                  </a:lnTo>
                  <a:lnTo>
                    <a:pt x="720" y="1230"/>
                  </a:lnTo>
                  <a:lnTo>
                    <a:pt x="720" y="1236"/>
                  </a:lnTo>
                  <a:lnTo>
                    <a:pt x="720" y="1242"/>
                  </a:lnTo>
                  <a:lnTo>
                    <a:pt x="720" y="1248"/>
                  </a:lnTo>
                  <a:lnTo>
                    <a:pt x="714" y="1248"/>
                  </a:lnTo>
                  <a:lnTo>
                    <a:pt x="714" y="1254"/>
                  </a:lnTo>
                  <a:lnTo>
                    <a:pt x="708" y="1260"/>
                  </a:lnTo>
                  <a:lnTo>
                    <a:pt x="702" y="1272"/>
                  </a:lnTo>
                  <a:lnTo>
                    <a:pt x="696" y="1272"/>
                  </a:lnTo>
                  <a:lnTo>
                    <a:pt x="696" y="1278"/>
                  </a:lnTo>
                  <a:lnTo>
                    <a:pt x="690" y="1284"/>
                  </a:lnTo>
                  <a:lnTo>
                    <a:pt x="690" y="1290"/>
                  </a:lnTo>
                  <a:lnTo>
                    <a:pt x="684" y="1290"/>
                  </a:lnTo>
                  <a:lnTo>
                    <a:pt x="660" y="1284"/>
                  </a:lnTo>
                  <a:lnTo>
                    <a:pt x="660" y="1278"/>
                  </a:lnTo>
                  <a:lnTo>
                    <a:pt x="654" y="1272"/>
                  </a:lnTo>
                  <a:lnTo>
                    <a:pt x="648" y="1272"/>
                  </a:lnTo>
                  <a:lnTo>
                    <a:pt x="642" y="1272"/>
                  </a:lnTo>
                  <a:lnTo>
                    <a:pt x="642" y="1266"/>
                  </a:lnTo>
                  <a:lnTo>
                    <a:pt x="636" y="1266"/>
                  </a:lnTo>
                  <a:lnTo>
                    <a:pt x="630" y="1266"/>
                  </a:lnTo>
                  <a:lnTo>
                    <a:pt x="624" y="1266"/>
                  </a:lnTo>
                  <a:lnTo>
                    <a:pt x="624" y="1260"/>
                  </a:lnTo>
                  <a:lnTo>
                    <a:pt x="618" y="1260"/>
                  </a:lnTo>
                  <a:lnTo>
                    <a:pt x="612" y="1260"/>
                  </a:lnTo>
                  <a:lnTo>
                    <a:pt x="606" y="1260"/>
                  </a:lnTo>
                  <a:lnTo>
                    <a:pt x="600" y="1260"/>
                  </a:lnTo>
                  <a:lnTo>
                    <a:pt x="600" y="1254"/>
                  </a:lnTo>
                  <a:lnTo>
                    <a:pt x="594" y="1254"/>
                  </a:lnTo>
                  <a:lnTo>
                    <a:pt x="588" y="1248"/>
                  </a:lnTo>
                  <a:lnTo>
                    <a:pt x="588" y="1254"/>
                  </a:lnTo>
                  <a:lnTo>
                    <a:pt x="582" y="1254"/>
                  </a:lnTo>
                  <a:lnTo>
                    <a:pt x="582" y="1248"/>
                  </a:lnTo>
                  <a:lnTo>
                    <a:pt x="576" y="1248"/>
                  </a:lnTo>
                  <a:lnTo>
                    <a:pt x="576" y="1254"/>
                  </a:lnTo>
                  <a:lnTo>
                    <a:pt x="570" y="1248"/>
                  </a:lnTo>
                  <a:lnTo>
                    <a:pt x="564" y="1248"/>
                  </a:lnTo>
                  <a:lnTo>
                    <a:pt x="564" y="1254"/>
                  </a:lnTo>
                  <a:lnTo>
                    <a:pt x="558" y="1254"/>
                  </a:lnTo>
                  <a:lnTo>
                    <a:pt x="552" y="1254"/>
                  </a:lnTo>
                  <a:lnTo>
                    <a:pt x="552" y="1260"/>
                  </a:lnTo>
                  <a:lnTo>
                    <a:pt x="546" y="1260"/>
                  </a:lnTo>
                  <a:lnTo>
                    <a:pt x="540" y="1260"/>
                  </a:lnTo>
                  <a:lnTo>
                    <a:pt x="540" y="1254"/>
                  </a:lnTo>
                  <a:lnTo>
                    <a:pt x="534" y="1254"/>
                  </a:lnTo>
                  <a:lnTo>
                    <a:pt x="528" y="1224"/>
                  </a:lnTo>
                  <a:lnTo>
                    <a:pt x="534" y="1212"/>
                  </a:lnTo>
                  <a:lnTo>
                    <a:pt x="546" y="1206"/>
                  </a:lnTo>
                  <a:lnTo>
                    <a:pt x="582" y="1206"/>
                  </a:lnTo>
                  <a:lnTo>
                    <a:pt x="588" y="1188"/>
                  </a:lnTo>
                  <a:lnTo>
                    <a:pt x="582" y="1188"/>
                  </a:lnTo>
                  <a:lnTo>
                    <a:pt x="582" y="1182"/>
                  </a:lnTo>
                  <a:lnTo>
                    <a:pt x="576" y="1176"/>
                  </a:lnTo>
                  <a:lnTo>
                    <a:pt x="558" y="1128"/>
                  </a:lnTo>
                  <a:lnTo>
                    <a:pt x="558" y="1122"/>
                  </a:lnTo>
                  <a:lnTo>
                    <a:pt x="576" y="1098"/>
                  </a:lnTo>
                  <a:lnTo>
                    <a:pt x="576" y="1092"/>
                  </a:lnTo>
                  <a:lnTo>
                    <a:pt x="582" y="1092"/>
                  </a:lnTo>
                  <a:lnTo>
                    <a:pt x="582" y="1086"/>
                  </a:lnTo>
                  <a:lnTo>
                    <a:pt x="582" y="1080"/>
                  </a:lnTo>
                  <a:lnTo>
                    <a:pt x="582" y="1074"/>
                  </a:lnTo>
                  <a:lnTo>
                    <a:pt x="588" y="1074"/>
                  </a:lnTo>
                  <a:lnTo>
                    <a:pt x="588" y="1062"/>
                  </a:lnTo>
                  <a:lnTo>
                    <a:pt x="588" y="1056"/>
                  </a:lnTo>
                  <a:lnTo>
                    <a:pt x="588" y="1044"/>
                  </a:lnTo>
                  <a:lnTo>
                    <a:pt x="588" y="1038"/>
                  </a:lnTo>
                  <a:lnTo>
                    <a:pt x="588" y="1032"/>
                  </a:lnTo>
                  <a:lnTo>
                    <a:pt x="582" y="1026"/>
                  </a:lnTo>
                  <a:lnTo>
                    <a:pt x="582" y="1020"/>
                  </a:lnTo>
                  <a:lnTo>
                    <a:pt x="582" y="1008"/>
                  </a:lnTo>
                  <a:lnTo>
                    <a:pt x="576" y="990"/>
                  </a:lnTo>
                  <a:lnTo>
                    <a:pt x="570" y="972"/>
                  </a:lnTo>
                  <a:lnTo>
                    <a:pt x="552" y="972"/>
                  </a:lnTo>
                  <a:lnTo>
                    <a:pt x="540" y="960"/>
                  </a:lnTo>
                  <a:lnTo>
                    <a:pt x="534" y="954"/>
                  </a:lnTo>
                  <a:lnTo>
                    <a:pt x="534" y="948"/>
                  </a:lnTo>
                  <a:lnTo>
                    <a:pt x="516" y="948"/>
                  </a:lnTo>
                  <a:lnTo>
                    <a:pt x="522" y="936"/>
                  </a:lnTo>
                  <a:lnTo>
                    <a:pt x="522" y="930"/>
                  </a:lnTo>
                  <a:lnTo>
                    <a:pt x="504" y="918"/>
                  </a:lnTo>
                  <a:lnTo>
                    <a:pt x="492" y="906"/>
                  </a:lnTo>
                  <a:lnTo>
                    <a:pt x="486" y="894"/>
                  </a:lnTo>
                  <a:lnTo>
                    <a:pt x="468" y="876"/>
                  </a:lnTo>
                  <a:lnTo>
                    <a:pt x="450" y="876"/>
                  </a:lnTo>
                  <a:lnTo>
                    <a:pt x="414" y="882"/>
                  </a:lnTo>
                  <a:lnTo>
                    <a:pt x="402" y="870"/>
                  </a:lnTo>
                  <a:lnTo>
                    <a:pt x="390" y="864"/>
                  </a:lnTo>
                  <a:lnTo>
                    <a:pt x="384" y="852"/>
                  </a:lnTo>
                  <a:lnTo>
                    <a:pt x="378" y="840"/>
                  </a:lnTo>
                  <a:lnTo>
                    <a:pt x="378" y="834"/>
                  </a:lnTo>
                  <a:lnTo>
                    <a:pt x="360" y="822"/>
                  </a:lnTo>
                  <a:lnTo>
                    <a:pt x="342" y="828"/>
                  </a:lnTo>
                  <a:lnTo>
                    <a:pt x="324" y="816"/>
                  </a:lnTo>
                  <a:lnTo>
                    <a:pt x="318" y="816"/>
                  </a:lnTo>
                  <a:lnTo>
                    <a:pt x="306" y="810"/>
                  </a:lnTo>
                  <a:lnTo>
                    <a:pt x="306" y="804"/>
                  </a:lnTo>
                  <a:lnTo>
                    <a:pt x="300" y="804"/>
                  </a:lnTo>
                  <a:lnTo>
                    <a:pt x="300" y="780"/>
                  </a:lnTo>
                  <a:lnTo>
                    <a:pt x="300" y="774"/>
                  </a:lnTo>
                  <a:lnTo>
                    <a:pt x="306" y="774"/>
                  </a:lnTo>
                  <a:lnTo>
                    <a:pt x="312" y="756"/>
                  </a:lnTo>
                  <a:lnTo>
                    <a:pt x="312" y="732"/>
                  </a:lnTo>
                  <a:lnTo>
                    <a:pt x="300" y="720"/>
                  </a:lnTo>
                  <a:lnTo>
                    <a:pt x="288" y="702"/>
                  </a:lnTo>
                  <a:lnTo>
                    <a:pt x="276" y="702"/>
                  </a:lnTo>
                  <a:lnTo>
                    <a:pt x="258" y="714"/>
                  </a:lnTo>
                  <a:lnTo>
                    <a:pt x="246" y="726"/>
                  </a:lnTo>
                  <a:lnTo>
                    <a:pt x="222" y="726"/>
                  </a:lnTo>
                  <a:lnTo>
                    <a:pt x="192" y="726"/>
                  </a:lnTo>
                  <a:lnTo>
                    <a:pt x="174" y="738"/>
                  </a:lnTo>
                  <a:lnTo>
                    <a:pt x="162" y="750"/>
                  </a:lnTo>
                  <a:lnTo>
                    <a:pt x="144" y="762"/>
                  </a:lnTo>
                  <a:lnTo>
                    <a:pt x="138" y="768"/>
                  </a:lnTo>
                  <a:lnTo>
                    <a:pt x="126" y="774"/>
                  </a:lnTo>
                  <a:lnTo>
                    <a:pt x="114" y="780"/>
                  </a:lnTo>
                  <a:lnTo>
                    <a:pt x="108" y="786"/>
                  </a:lnTo>
                  <a:lnTo>
                    <a:pt x="102" y="786"/>
                  </a:lnTo>
                  <a:lnTo>
                    <a:pt x="54" y="786"/>
                  </a:lnTo>
                  <a:lnTo>
                    <a:pt x="48" y="792"/>
                  </a:lnTo>
                  <a:lnTo>
                    <a:pt x="36" y="798"/>
                  </a:lnTo>
                  <a:lnTo>
                    <a:pt x="18" y="792"/>
                  </a:lnTo>
                  <a:lnTo>
                    <a:pt x="6" y="780"/>
                  </a:lnTo>
                  <a:lnTo>
                    <a:pt x="6" y="768"/>
                  </a:lnTo>
                  <a:lnTo>
                    <a:pt x="0" y="756"/>
                  </a:lnTo>
                  <a:lnTo>
                    <a:pt x="0" y="738"/>
                  </a:lnTo>
                  <a:lnTo>
                    <a:pt x="6" y="702"/>
                  </a:lnTo>
                  <a:lnTo>
                    <a:pt x="24" y="702"/>
                  </a:lnTo>
                  <a:lnTo>
                    <a:pt x="24" y="696"/>
                  </a:lnTo>
                  <a:lnTo>
                    <a:pt x="24" y="690"/>
                  </a:lnTo>
                  <a:lnTo>
                    <a:pt x="24" y="678"/>
                  </a:lnTo>
                  <a:lnTo>
                    <a:pt x="24" y="672"/>
                  </a:lnTo>
                  <a:lnTo>
                    <a:pt x="30" y="672"/>
                  </a:lnTo>
                  <a:lnTo>
                    <a:pt x="30" y="666"/>
                  </a:lnTo>
                  <a:lnTo>
                    <a:pt x="36" y="660"/>
                  </a:lnTo>
                  <a:lnTo>
                    <a:pt x="84" y="648"/>
                  </a:lnTo>
                  <a:lnTo>
                    <a:pt x="126" y="642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32" y="618"/>
                  </a:lnTo>
                  <a:lnTo>
                    <a:pt x="138" y="612"/>
                  </a:lnTo>
                  <a:lnTo>
                    <a:pt x="138" y="606"/>
                  </a:lnTo>
                  <a:lnTo>
                    <a:pt x="138" y="600"/>
                  </a:lnTo>
                  <a:lnTo>
                    <a:pt x="132" y="600"/>
                  </a:lnTo>
                  <a:lnTo>
                    <a:pt x="132" y="594"/>
                  </a:lnTo>
                  <a:lnTo>
                    <a:pt x="132" y="588"/>
                  </a:lnTo>
                  <a:lnTo>
                    <a:pt x="132" y="582"/>
                  </a:lnTo>
                  <a:lnTo>
                    <a:pt x="132" y="576"/>
                  </a:lnTo>
                  <a:lnTo>
                    <a:pt x="126" y="570"/>
                  </a:lnTo>
                  <a:lnTo>
                    <a:pt x="120" y="564"/>
                  </a:lnTo>
                  <a:lnTo>
                    <a:pt x="120" y="558"/>
                  </a:lnTo>
                  <a:lnTo>
                    <a:pt x="120" y="552"/>
                  </a:lnTo>
                  <a:lnTo>
                    <a:pt x="114" y="552"/>
                  </a:lnTo>
                  <a:lnTo>
                    <a:pt x="114" y="546"/>
                  </a:lnTo>
                  <a:lnTo>
                    <a:pt x="114" y="540"/>
                  </a:lnTo>
                  <a:lnTo>
                    <a:pt x="108" y="534"/>
                  </a:lnTo>
                  <a:lnTo>
                    <a:pt x="108" y="528"/>
                  </a:lnTo>
                  <a:lnTo>
                    <a:pt x="114" y="522"/>
                  </a:lnTo>
                  <a:lnTo>
                    <a:pt x="108" y="516"/>
                  </a:lnTo>
                  <a:lnTo>
                    <a:pt x="108" y="498"/>
                  </a:lnTo>
                  <a:lnTo>
                    <a:pt x="108" y="492"/>
                  </a:lnTo>
                  <a:lnTo>
                    <a:pt x="108" y="486"/>
                  </a:lnTo>
                  <a:lnTo>
                    <a:pt x="108" y="480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08" y="462"/>
                  </a:lnTo>
                  <a:lnTo>
                    <a:pt x="102" y="456"/>
                  </a:lnTo>
                  <a:lnTo>
                    <a:pt x="102" y="444"/>
                  </a:lnTo>
                  <a:lnTo>
                    <a:pt x="96" y="444"/>
                  </a:lnTo>
                  <a:lnTo>
                    <a:pt x="90" y="432"/>
                  </a:lnTo>
                  <a:lnTo>
                    <a:pt x="96" y="432"/>
                  </a:lnTo>
                  <a:lnTo>
                    <a:pt x="96" y="408"/>
                  </a:lnTo>
                  <a:lnTo>
                    <a:pt x="96" y="396"/>
                  </a:lnTo>
                  <a:lnTo>
                    <a:pt x="96" y="360"/>
                  </a:lnTo>
                  <a:lnTo>
                    <a:pt x="96" y="354"/>
                  </a:lnTo>
                  <a:lnTo>
                    <a:pt x="102" y="354"/>
                  </a:lnTo>
                  <a:lnTo>
                    <a:pt x="102" y="348"/>
                  </a:lnTo>
                  <a:lnTo>
                    <a:pt x="96" y="330"/>
                  </a:lnTo>
                  <a:lnTo>
                    <a:pt x="90" y="306"/>
                  </a:lnTo>
                  <a:lnTo>
                    <a:pt x="84" y="288"/>
                  </a:lnTo>
                  <a:lnTo>
                    <a:pt x="84" y="264"/>
                  </a:lnTo>
                  <a:lnTo>
                    <a:pt x="90" y="240"/>
                  </a:lnTo>
                  <a:lnTo>
                    <a:pt x="96" y="222"/>
                  </a:lnTo>
                  <a:lnTo>
                    <a:pt x="102" y="222"/>
                  </a:lnTo>
                  <a:lnTo>
                    <a:pt x="108" y="210"/>
                  </a:lnTo>
                  <a:lnTo>
                    <a:pt x="114" y="210"/>
                  </a:lnTo>
                  <a:lnTo>
                    <a:pt x="126" y="198"/>
                  </a:lnTo>
                  <a:lnTo>
                    <a:pt x="156" y="192"/>
                  </a:lnTo>
                  <a:lnTo>
                    <a:pt x="174" y="186"/>
                  </a:lnTo>
                  <a:lnTo>
                    <a:pt x="204" y="174"/>
                  </a:lnTo>
                  <a:lnTo>
                    <a:pt x="222" y="168"/>
                  </a:lnTo>
                  <a:lnTo>
                    <a:pt x="234" y="162"/>
                  </a:lnTo>
                  <a:lnTo>
                    <a:pt x="246" y="156"/>
                  </a:lnTo>
                  <a:lnTo>
                    <a:pt x="288" y="144"/>
                  </a:lnTo>
                  <a:lnTo>
                    <a:pt x="288" y="132"/>
                  </a:lnTo>
                  <a:lnTo>
                    <a:pt x="294" y="120"/>
                  </a:lnTo>
                  <a:lnTo>
                    <a:pt x="300" y="108"/>
                  </a:lnTo>
                  <a:lnTo>
                    <a:pt x="306" y="90"/>
                  </a:lnTo>
                  <a:lnTo>
                    <a:pt x="312" y="78"/>
                  </a:lnTo>
                  <a:lnTo>
                    <a:pt x="324" y="78"/>
                  </a:lnTo>
                  <a:lnTo>
                    <a:pt x="324" y="54"/>
                  </a:lnTo>
                  <a:lnTo>
                    <a:pt x="318" y="48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60" y="6"/>
                  </a:lnTo>
                  <a:lnTo>
                    <a:pt x="384" y="0"/>
                  </a:lnTo>
                  <a:lnTo>
                    <a:pt x="390" y="6"/>
                  </a:lnTo>
                  <a:lnTo>
                    <a:pt x="390" y="18"/>
                  </a:lnTo>
                  <a:lnTo>
                    <a:pt x="390" y="54"/>
                  </a:lnTo>
                  <a:lnTo>
                    <a:pt x="396" y="66"/>
                  </a:lnTo>
                  <a:lnTo>
                    <a:pt x="414" y="84"/>
                  </a:lnTo>
                  <a:lnTo>
                    <a:pt x="426" y="90"/>
                  </a:lnTo>
                  <a:lnTo>
                    <a:pt x="432" y="96"/>
                  </a:lnTo>
                  <a:lnTo>
                    <a:pt x="426" y="102"/>
                  </a:lnTo>
                  <a:lnTo>
                    <a:pt x="438" y="102"/>
                  </a:lnTo>
                  <a:lnTo>
                    <a:pt x="444" y="108"/>
                  </a:lnTo>
                  <a:lnTo>
                    <a:pt x="444" y="102"/>
                  </a:lnTo>
                  <a:lnTo>
                    <a:pt x="450" y="90"/>
                  </a:lnTo>
                  <a:lnTo>
                    <a:pt x="450" y="84"/>
                  </a:lnTo>
                  <a:lnTo>
                    <a:pt x="450" y="78"/>
                  </a:lnTo>
                  <a:lnTo>
                    <a:pt x="456" y="72"/>
                  </a:lnTo>
                  <a:lnTo>
                    <a:pt x="462" y="66"/>
                  </a:lnTo>
                  <a:lnTo>
                    <a:pt x="462" y="60"/>
                  </a:lnTo>
                  <a:lnTo>
                    <a:pt x="462" y="54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74" y="24"/>
                  </a:lnTo>
                  <a:lnTo>
                    <a:pt x="480" y="18"/>
                  </a:lnTo>
                  <a:lnTo>
                    <a:pt x="486" y="12"/>
                  </a:lnTo>
                  <a:lnTo>
                    <a:pt x="492" y="12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2" y="6"/>
                  </a:lnTo>
                  <a:lnTo>
                    <a:pt x="534" y="6"/>
                  </a:lnTo>
                  <a:lnTo>
                    <a:pt x="540" y="6"/>
                  </a:lnTo>
                  <a:lnTo>
                    <a:pt x="546" y="6"/>
                  </a:lnTo>
                  <a:lnTo>
                    <a:pt x="564" y="0"/>
                  </a:lnTo>
                  <a:lnTo>
                    <a:pt x="570" y="0"/>
                  </a:lnTo>
                  <a:lnTo>
                    <a:pt x="576" y="6"/>
                  </a:lnTo>
                  <a:lnTo>
                    <a:pt x="582" y="6"/>
                  </a:lnTo>
                  <a:lnTo>
                    <a:pt x="594" y="6"/>
                  </a:lnTo>
                  <a:lnTo>
                    <a:pt x="600" y="6"/>
                  </a:lnTo>
                  <a:lnTo>
                    <a:pt x="606" y="6"/>
                  </a:lnTo>
                  <a:lnTo>
                    <a:pt x="624" y="0"/>
                  </a:lnTo>
                  <a:lnTo>
                    <a:pt x="636" y="0"/>
                  </a:lnTo>
                  <a:lnTo>
                    <a:pt x="636" y="6"/>
                  </a:lnTo>
                  <a:lnTo>
                    <a:pt x="654" y="18"/>
                  </a:lnTo>
                  <a:lnTo>
                    <a:pt x="654" y="30"/>
                  </a:lnTo>
                  <a:lnTo>
                    <a:pt x="642" y="42"/>
                  </a:lnTo>
                  <a:lnTo>
                    <a:pt x="630" y="66"/>
                  </a:lnTo>
                  <a:lnTo>
                    <a:pt x="636" y="84"/>
                  </a:lnTo>
                  <a:lnTo>
                    <a:pt x="636" y="96"/>
                  </a:lnTo>
                  <a:lnTo>
                    <a:pt x="648" y="102"/>
                  </a:lnTo>
                  <a:lnTo>
                    <a:pt x="672" y="114"/>
                  </a:lnTo>
                  <a:lnTo>
                    <a:pt x="702" y="120"/>
                  </a:lnTo>
                  <a:lnTo>
                    <a:pt x="714" y="126"/>
                  </a:lnTo>
                  <a:lnTo>
                    <a:pt x="720" y="144"/>
                  </a:lnTo>
                  <a:lnTo>
                    <a:pt x="720" y="156"/>
                  </a:lnTo>
                  <a:lnTo>
                    <a:pt x="708" y="156"/>
                  </a:lnTo>
                  <a:lnTo>
                    <a:pt x="702" y="162"/>
                  </a:lnTo>
                  <a:lnTo>
                    <a:pt x="702" y="174"/>
                  </a:lnTo>
                  <a:lnTo>
                    <a:pt x="696" y="174"/>
                  </a:lnTo>
                  <a:lnTo>
                    <a:pt x="690" y="180"/>
                  </a:lnTo>
                  <a:lnTo>
                    <a:pt x="678" y="186"/>
                  </a:lnTo>
                  <a:lnTo>
                    <a:pt x="672" y="192"/>
                  </a:lnTo>
                  <a:lnTo>
                    <a:pt x="654" y="210"/>
                  </a:lnTo>
                  <a:lnTo>
                    <a:pt x="654" y="216"/>
                  </a:lnTo>
                  <a:lnTo>
                    <a:pt x="648" y="246"/>
                  </a:lnTo>
                  <a:lnTo>
                    <a:pt x="660" y="246"/>
                  </a:lnTo>
                  <a:lnTo>
                    <a:pt x="666" y="234"/>
                  </a:lnTo>
                  <a:lnTo>
                    <a:pt x="678" y="240"/>
                  </a:lnTo>
                  <a:lnTo>
                    <a:pt x="684" y="228"/>
                  </a:lnTo>
                  <a:lnTo>
                    <a:pt x="690" y="210"/>
                  </a:lnTo>
                  <a:lnTo>
                    <a:pt x="696" y="204"/>
                  </a:lnTo>
                  <a:lnTo>
                    <a:pt x="702" y="204"/>
                  </a:lnTo>
                  <a:lnTo>
                    <a:pt x="708" y="192"/>
                  </a:lnTo>
                  <a:lnTo>
                    <a:pt x="714" y="192"/>
                  </a:lnTo>
                  <a:lnTo>
                    <a:pt x="714" y="186"/>
                  </a:lnTo>
                  <a:lnTo>
                    <a:pt x="726" y="186"/>
                  </a:lnTo>
                  <a:lnTo>
                    <a:pt x="732" y="186"/>
                  </a:lnTo>
                  <a:lnTo>
                    <a:pt x="738" y="186"/>
                  </a:lnTo>
                  <a:lnTo>
                    <a:pt x="744" y="216"/>
                  </a:lnTo>
                  <a:lnTo>
                    <a:pt x="750" y="210"/>
                  </a:lnTo>
                  <a:lnTo>
                    <a:pt x="750" y="204"/>
                  </a:lnTo>
                  <a:lnTo>
                    <a:pt x="756" y="192"/>
                  </a:lnTo>
                  <a:lnTo>
                    <a:pt x="762" y="192"/>
                  </a:lnTo>
                  <a:lnTo>
                    <a:pt x="768" y="192"/>
                  </a:lnTo>
                  <a:lnTo>
                    <a:pt x="780" y="186"/>
                  </a:lnTo>
                  <a:lnTo>
                    <a:pt x="786" y="204"/>
                  </a:lnTo>
                  <a:lnTo>
                    <a:pt x="774" y="210"/>
                  </a:lnTo>
                  <a:lnTo>
                    <a:pt x="774" y="234"/>
                  </a:lnTo>
                  <a:lnTo>
                    <a:pt x="780" y="246"/>
                  </a:lnTo>
                  <a:lnTo>
                    <a:pt x="804" y="264"/>
                  </a:lnTo>
                  <a:lnTo>
                    <a:pt x="816" y="276"/>
                  </a:lnTo>
                  <a:lnTo>
                    <a:pt x="822" y="288"/>
                  </a:lnTo>
                  <a:lnTo>
                    <a:pt x="822" y="312"/>
                  </a:lnTo>
                  <a:lnTo>
                    <a:pt x="816" y="312"/>
                  </a:lnTo>
                  <a:lnTo>
                    <a:pt x="810" y="318"/>
                  </a:lnTo>
                  <a:lnTo>
                    <a:pt x="810" y="348"/>
                  </a:lnTo>
                  <a:lnTo>
                    <a:pt x="816" y="348"/>
                  </a:lnTo>
                  <a:lnTo>
                    <a:pt x="816" y="342"/>
                  </a:lnTo>
                  <a:lnTo>
                    <a:pt x="834" y="342"/>
                  </a:lnTo>
                  <a:lnTo>
                    <a:pt x="834" y="348"/>
                  </a:lnTo>
                  <a:lnTo>
                    <a:pt x="846" y="348"/>
                  </a:lnTo>
                  <a:lnTo>
                    <a:pt x="846" y="342"/>
                  </a:lnTo>
                  <a:lnTo>
                    <a:pt x="882" y="342"/>
                  </a:lnTo>
                  <a:lnTo>
                    <a:pt x="894" y="366"/>
                  </a:lnTo>
                  <a:lnTo>
                    <a:pt x="900" y="372"/>
                  </a:lnTo>
                  <a:lnTo>
                    <a:pt x="906" y="384"/>
                  </a:lnTo>
                  <a:lnTo>
                    <a:pt x="924" y="384"/>
                  </a:lnTo>
                  <a:lnTo>
                    <a:pt x="930" y="372"/>
                  </a:lnTo>
                  <a:lnTo>
                    <a:pt x="936" y="372"/>
                  </a:lnTo>
                  <a:lnTo>
                    <a:pt x="942" y="348"/>
                  </a:lnTo>
                  <a:lnTo>
                    <a:pt x="954" y="348"/>
                  </a:lnTo>
                  <a:lnTo>
                    <a:pt x="954" y="342"/>
                  </a:lnTo>
                  <a:lnTo>
                    <a:pt x="984" y="342"/>
                  </a:lnTo>
                  <a:lnTo>
                    <a:pt x="978" y="390"/>
                  </a:lnTo>
                  <a:lnTo>
                    <a:pt x="984" y="390"/>
                  </a:lnTo>
                  <a:lnTo>
                    <a:pt x="990" y="396"/>
                  </a:lnTo>
                  <a:lnTo>
                    <a:pt x="996" y="396"/>
                  </a:lnTo>
                  <a:lnTo>
                    <a:pt x="1002" y="396"/>
                  </a:lnTo>
                  <a:lnTo>
                    <a:pt x="1002" y="408"/>
                  </a:lnTo>
                  <a:lnTo>
                    <a:pt x="990" y="414"/>
                  </a:lnTo>
                  <a:lnTo>
                    <a:pt x="984" y="426"/>
                  </a:lnTo>
                  <a:lnTo>
                    <a:pt x="990" y="444"/>
                  </a:lnTo>
                  <a:lnTo>
                    <a:pt x="996" y="450"/>
                  </a:lnTo>
                  <a:lnTo>
                    <a:pt x="990" y="462"/>
                  </a:lnTo>
                  <a:lnTo>
                    <a:pt x="990" y="468"/>
                  </a:lnTo>
                  <a:lnTo>
                    <a:pt x="984" y="480"/>
                  </a:lnTo>
                  <a:lnTo>
                    <a:pt x="978" y="486"/>
                  </a:lnTo>
                  <a:lnTo>
                    <a:pt x="972" y="486"/>
                  </a:lnTo>
                  <a:lnTo>
                    <a:pt x="966" y="492"/>
                  </a:lnTo>
                  <a:lnTo>
                    <a:pt x="966" y="498"/>
                  </a:lnTo>
                  <a:lnTo>
                    <a:pt x="954" y="510"/>
                  </a:lnTo>
                  <a:lnTo>
                    <a:pt x="948" y="510"/>
                  </a:lnTo>
                  <a:lnTo>
                    <a:pt x="942" y="516"/>
                  </a:lnTo>
                  <a:lnTo>
                    <a:pt x="936" y="528"/>
                  </a:lnTo>
                  <a:lnTo>
                    <a:pt x="936" y="534"/>
                  </a:lnTo>
                  <a:lnTo>
                    <a:pt x="936" y="546"/>
                  </a:lnTo>
                  <a:lnTo>
                    <a:pt x="936" y="558"/>
                  </a:lnTo>
                  <a:lnTo>
                    <a:pt x="948" y="558"/>
                  </a:lnTo>
                  <a:lnTo>
                    <a:pt x="954" y="558"/>
                  </a:lnTo>
                  <a:lnTo>
                    <a:pt x="996" y="558"/>
                  </a:lnTo>
                  <a:lnTo>
                    <a:pt x="1002" y="570"/>
                  </a:lnTo>
                  <a:lnTo>
                    <a:pt x="996" y="576"/>
                  </a:lnTo>
                  <a:lnTo>
                    <a:pt x="996" y="588"/>
                  </a:lnTo>
                  <a:lnTo>
                    <a:pt x="984" y="588"/>
                  </a:lnTo>
                  <a:lnTo>
                    <a:pt x="990" y="612"/>
                  </a:lnTo>
                  <a:lnTo>
                    <a:pt x="1014" y="606"/>
                  </a:lnTo>
                  <a:lnTo>
                    <a:pt x="1014" y="636"/>
                  </a:lnTo>
                  <a:lnTo>
                    <a:pt x="1014" y="648"/>
                  </a:lnTo>
                  <a:lnTo>
                    <a:pt x="1020" y="648"/>
                  </a:lnTo>
                  <a:lnTo>
                    <a:pt x="1026" y="660"/>
                  </a:lnTo>
                  <a:lnTo>
                    <a:pt x="1038" y="654"/>
                  </a:lnTo>
                  <a:lnTo>
                    <a:pt x="1050" y="654"/>
                  </a:lnTo>
                  <a:lnTo>
                    <a:pt x="1062" y="654"/>
                  </a:lnTo>
                  <a:lnTo>
                    <a:pt x="1068" y="660"/>
                  </a:lnTo>
                  <a:lnTo>
                    <a:pt x="1068" y="678"/>
                  </a:lnTo>
                  <a:lnTo>
                    <a:pt x="1068" y="684"/>
                  </a:lnTo>
                  <a:lnTo>
                    <a:pt x="1062" y="690"/>
                  </a:lnTo>
                  <a:lnTo>
                    <a:pt x="1056" y="696"/>
                  </a:lnTo>
                  <a:lnTo>
                    <a:pt x="1056" y="702"/>
                  </a:lnTo>
                  <a:lnTo>
                    <a:pt x="1038" y="714"/>
                  </a:lnTo>
                  <a:lnTo>
                    <a:pt x="1026" y="720"/>
                  </a:lnTo>
                  <a:lnTo>
                    <a:pt x="1008" y="726"/>
                  </a:lnTo>
                  <a:lnTo>
                    <a:pt x="1008" y="732"/>
                  </a:lnTo>
                  <a:lnTo>
                    <a:pt x="990" y="732"/>
                  </a:lnTo>
                  <a:lnTo>
                    <a:pt x="984" y="744"/>
                  </a:lnTo>
                  <a:lnTo>
                    <a:pt x="990" y="750"/>
                  </a:lnTo>
                  <a:lnTo>
                    <a:pt x="984" y="762"/>
                  </a:lnTo>
                  <a:lnTo>
                    <a:pt x="984" y="768"/>
                  </a:lnTo>
                  <a:lnTo>
                    <a:pt x="984" y="774"/>
                  </a:lnTo>
                  <a:lnTo>
                    <a:pt x="984" y="780"/>
                  </a:lnTo>
                  <a:lnTo>
                    <a:pt x="984" y="786"/>
                  </a:lnTo>
                  <a:lnTo>
                    <a:pt x="984" y="792"/>
                  </a:lnTo>
                  <a:lnTo>
                    <a:pt x="978" y="798"/>
                  </a:lnTo>
                  <a:lnTo>
                    <a:pt x="978" y="80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3" name="Freeform 38">
              <a:extLst>
                <a:ext uri="{FF2B5EF4-FFF2-40B4-BE49-F238E27FC236}">
                  <a16:creationId xmlns:a16="http://schemas.microsoft.com/office/drawing/2014/main" id="{819B99CE-D972-4530-8964-A992C1EC87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2825" y="1634436"/>
              <a:ext cx="959326" cy="959458"/>
            </a:xfrm>
            <a:custGeom>
              <a:avLst/>
              <a:gdLst>
                <a:gd name="T0" fmla="*/ 105 w 1806"/>
                <a:gd name="T1" fmla="*/ 155 h 1806"/>
                <a:gd name="T2" fmla="*/ 103 w 1806"/>
                <a:gd name="T3" fmla="*/ 155 h 1806"/>
                <a:gd name="T4" fmla="*/ 103 w 1806"/>
                <a:gd name="T5" fmla="*/ 150 h 1806"/>
                <a:gd name="T6" fmla="*/ 104 w 1806"/>
                <a:gd name="T7" fmla="*/ 141 h 1806"/>
                <a:gd name="T8" fmla="*/ 104 w 1806"/>
                <a:gd name="T9" fmla="*/ 136 h 1806"/>
                <a:gd name="T10" fmla="*/ 100 w 1806"/>
                <a:gd name="T11" fmla="*/ 131 h 1806"/>
                <a:gd name="T12" fmla="*/ 96 w 1806"/>
                <a:gd name="T13" fmla="*/ 127 h 1806"/>
                <a:gd name="T14" fmla="*/ 91 w 1806"/>
                <a:gd name="T15" fmla="*/ 121 h 1806"/>
                <a:gd name="T16" fmla="*/ 87 w 1806"/>
                <a:gd name="T17" fmla="*/ 120 h 1806"/>
                <a:gd name="T18" fmla="*/ 81 w 1806"/>
                <a:gd name="T19" fmla="*/ 117 h 1806"/>
                <a:gd name="T20" fmla="*/ 65 w 1806"/>
                <a:gd name="T21" fmla="*/ 113 h 1806"/>
                <a:gd name="T22" fmla="*/ 69 w 1806"/>
                <a:gd name="T23" fmla="*/ 105 h 1806"/>
                <a:gd name="T24" fmla="*/ 66 w 1806"/>
                <a:gd name="T25" fmla="*/ 89 h 1806"/>
                <a:gd name="T26" fmla="*/ 63 w 1806"/>
                <a:gd name="T27" fmla="*/ 84 h 1806"/>
                <a:gd name="T28" fmla="*/ 62 w 1806"/>
                <a:gd name="T29" fmla="*/ 74 h 1806"/>
                <a:gd name="T30" fmla="*/ 58 w 1806"/>
                <a:gd name="T31" fmla="*/ 52 h 1806"/>
                <a:gd name="T32" fmla="*/ 53 w 1806"/>
                <a:gd name="T33" fmla="*/ 49 h 1806"/>
                <a:gd name="T34" fmla="*/ 51 w 1806"/>
                <a:gd name="T35" fmla="*/ 36 h 1806"/>
                <a:gd name="T36" fmla="*/ 43 w 1806"/>
                <a:gd name="T37" fmla="*/ 32 h 1806"/>
                <a:gd name="T38" fmla="*/ 33 w 1806"/>
                <a:gd name="T39" fmla="*/ 30 h 1806"/>
                <a:gd name="T40" fmla="*/ 30 w 1806"/>
                <a:gd name="T41" fmla="*/ 21 h 1806"/>
                <a:gd name="T42" fmla="*/ 17 w 1806"/>
                <a:gd name="T43" fmla="*/ 25 h 1806"/>
                <a:gd name="T44" fmla="*/ 4 w 1806"/>
                <a:gd name="T45" fmla="*/ 33 h 1806"/>
                <a:gd name="T46" fmla="*/ 7 w 1806"/>
                <a:gd name="T47" fmla="*/ 26 h 1806"/>
                <a:gd name="T48" fmla="*/ 11 w 1806"/>
                <a:gd name="T49" fmla="*/ 20 h 1806"/>
                <a:gd name="T50" fmla="*/ 18 w 1806"/>
                <a:gd name="T51" fmla="*/ 12 h 1806"/>
                <a:gd name="T52" fmla="*/ 26 w 1806"/>
                <a:gd name="T53" fmla="*/ 8 h 1806"/>
                <a:gd name="T54" fmla="*/ 35 w 1806"/>
                <a:gd name="T55" fmla="*/ 6 h 1806"/>
                <a:gd name="T56" fmla="*/ 44 w 1806"/>
                <a:gd name="T57" fmla="*/ 5 h 1806"/>
                <a:gd name="T58" fmla="*/ 54 w 1806"/>
                <a:gd name="T59" fmla="*/ 2 h 1806"/>
                <a:gd name="T60" fmla="*/ 65 w 1806"/>
                <a:gd name="T61" fmla="*/ 0 h 1806"/>
                <a:gd name="T62" fmla="*/ 76 w 1806"/>
                <a:gd name="T63" fmla="*/ 0 h 1806"/>
                <a:gd name="T64" fmla="*/ 85 w 1806"/>
                <a:gd name="T65" fmla="*/ 0 h 1806"/>
                <a:gd name="T66" fmla="*/ 97 w 1806"/>
                <a:gd name="T67" fmla="*/ 0 h 1806"/>
                <a:gd name="T68" fmla="*/ 108 w 1806"/>
                <a:gd name="T69" fmla="*/ 3 h 1806"/>
                <a:gd name="T70" fmla="*/ 115 w 1806"/>
                <a:gd name="T71" fmla="*/ 5 h 1806"/>
                <a:gd name="T72" fmla="*/ 123 w 1806"/>
                <a:gd name="T73" fmla="*/ 7 h 1806"/>
                <a:gd name="T74" fmla="*/ 133 w 1806"/>
                <a:gd name="T75" fmla="*/ 14 h 1806"/>
                <a:gd name="T76" fmla="*/ 138 w 1806"/>
                <a:gd name="T77" fmla="*/ 16 h 1806"/>
                <a:gd name="T78" fmla="*/ 140 w 1806"/>
                <a:gd name="T79" fmla="*/ 14 h 1806"/>
                <a:gd name="T80" fmla="*/ 145 w 1806"/>
                <a:gd name="T81" fmla="*/ 16 h 1806"/>
                <a:gd name="T82" fmla="*/ 147 w 1806"/>
                <a:gd name="T83" fmla="*/ 16 h 1806"/>
                <a:gd name="T84" fmla="*/ 150 w 1806"/>
                <a:gd name="T85" fmla="*/ 17 h 1806"/>
                <a:gd name="T86" fmla="*/ 152 w 1806"/>
                <a:gd name="T87" fmla="*/ 18 h 1806"/>
                <a:gd name="T88" fmla="*/ 155 w 1806"/>
                <a:gd name="T89" fmla="*/ 37 h 1806"/>
                <a:gd name="T90" fmla="*/ 146 w 1806"/>
                <a:gd name="T91" fmla="*/ 66 h 1806"/>
                <a:gd name="T92" fmla="*/ 143 w 1806"/>
                <a:gd name="T93" fmla="*/ 88 h 1806"/>
                <a:gd name="T94" fmla="*/ 144 w 1806"/>
                <a:gd name="T95" fmla="*/ 98 h 1806"/>
                <a:gd name="T96" fmla="*/ 137 w 1806"/>
                <a:gd name="T97" fmla="*/ 118 h 1806"/>
                <a:gd name="T98" fmla="*/ 132 w 1806"/>
                <a:gd name="T99" fmla="*/ 129 h 1806"/>
                <a:gd name="T100" fmla="*/ 124 w 1806"/>
                <a:gd name="T101" fmla="*/ 135 h 1806"/>
                <a:gd name="T102" fmla="*/ 119 w 1806"/>
                <a:gd name="T103" fmla="*/ 136 h 1806"/>
                <a:gd name="T104" fmla="*/ 116 w 1806"/>
                <a:gd name="T105" fmla="*/ 137 h 1806"/>
                <a:gd name="T106" fmla="*/ 112 w 1806"/>
                <a:gd name="T107" fmla="*/ 139 h 1806"/>
                <a:gd name="T108" fmla="*/ 112 w 1806"/>
                <a:gd name="T109" fmla="*/ 141 h 1806"/>
                <a:gd name="T110" fmla="*/ 116 w 1806"/>
                <a:gd name="T111" fmla="*/ 146 h 1806"/>
                <a:gd name="T112" fmla="*/ 116 w 1806"/>
                <a:gd name="T113" fmla="*/ 151 h 1806"/>
                <a:gd name="T114" fmla="*/ 113 w 1806"/>
                <a:gd name="T115" fmla="*/ 153 h 18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6"/>
                <a:gd name="T175" fmla="*/ 0 h 1806"/>
                <a:gd name="T176" fmla="*/ 1806 w 1806"/>
                <a:gd name="T177" fmla="*/ 1806 h 18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6" h="1806">
                  <a:moveTo>
                    <a:pt x="1260" y="1776"/>
                  </a:moveTo>
                  <a:lnTo>
                    <a:pt x="1254" y="1776"/>
                  </a:lnTo>
                  <a:lnTo>
                    <a:pt x="1248" y="1776"/>
                  </a:lnTo>
                  <a:lnTo>
                    <a:pt x="1242" y="1782"/>
                  </a:lnTo>
                  <a:lnTo>
                    <a:pt x="1236" y="1782"/>
                  </a:lnTo>
                  <a:lnTo>
                    <a:pt x="1230" y="1788"/>
                  </a:lnTo>
                  <a:lnTo>
                    <a:pt x="1224" y="1782"/>
                  </a:lnTo>
                  <a:lnTo>
                    <a:pt x="1218" y="1782"/>
                  </a:lnTo>
                  <a:lnTo>
                    <a:pt x="1218" y="1788"/>
                  </a:lnTo>
                  <a:lnTo>
                    <a:pt x="1212" y="1788"/>
                  </a:lnTo>
                  <a:lnTo>
                    <a:pt x="1206" y="1788"/>
                  </a:lnTo>
                  <a:lnTo>
                    <a:pt x="1206" y="1794"/>
                  </a:lnTo>
                  <a:lnTo>
                    <a:pt x="1200" y="1806"/>
                  </a:lnTo>
                  <a:lnTo>
                    <a:pt x="1194" y="1800"/>
                  </a:lnTo>
                  <a:lnTo>
                    <a:pt x="1194" y="1794"/>
                  </a:lnTo>
                  <a:lnTo>
                    <a:pt x="1194" y="1788"/>
                  </a:lnTo>
                  <a:lnTo>
                    <a:pt x="1188" y="1788"/>
                  </a:lnTo>
                  <a:lnTo>
                    <a:pt x="1188" y="1782"/>
                  </a:lnTo>
                  <a:lnTo>
                    <a:pt x="1188" y="1776"/>
                  </a:lnTo>
                  <a:lnTo>
                    <a:pt x="1194" y="1770"/>
                  </a:lnTo>
                  <a:lnTo>
                    <a:pt x="1194" y="1764"/>
                  </a:lnTo>
                  <a:lnTo>
                    <a:pt x="1194" y="1758"/>
                  </a:lnTo>
                  <a:lnTo>
                    <a:pt x="1194" y="1752"/>
                  </a:lnTo>
                  <a:lnTo>
                    <a:pt x="1200" y="1746"/>
                  </a:lnTo>
                  <a:lnTo>
                    <a:pt x="1200" y="1740"/>
                  </a:lnTo>
                  <a:lnTo>
                    <a:pt x="1200" y="1734"/>
                  </a:lnTo>
                  <a:lnTo>
                    <a:pt x="1188" y="1722"/>
                  </a:lnTo>
                  <a:lnTo>
                    <a:pt x="1188" y="1716"/>
                  </a:lnTo>
                  <a:lnTo>
                    <a:pt x="1194" y="1704"/>
                  </a:lnTo>
                  <a:lnTo>
                    <a:pt x="1194" y="1692"/>
                  </a:lnTo>
                  <a:lnTo>
                    <a:pt x="1200" y="1680"/>
                  </a:lnTo>
                  <a:lnTo>
                    <a:pt x="1200" y="1662"/>
                  </a:lnTo>
                  <a:lnTo>
                    <a:pt x="1200" y="1650"/>
                  </a:lnTo>
                  <a:lnTo>
                    <a:pt x="1206" y="1644"/>
                  </a:lnTo>
                  <a:lnTo>
                    <a:pt x="1206" y="1638"/>
                  </a:lnTo>
                  <a:lnTo>
                    <a:pt x="1206" y="1626"/>
                  </a:lnTo>
                  <a:lnTo>
                    <a:pt x="1206" y="1620"/>
                  </a:lnTo>
                  <a:lnTo>
                    <a:pt x="1206" y="1614"/>
                  </a:lnTo>
                  <a:lnTo>
                    <a:pt x="1200" y="1608"/>
                  </a:lnTo>
                  <a:lnTo>
                    <a:pt x="1200" y="1602"/>
                  </a:lnTo>
                  <a:lnTo>
                    <a:pt x="1200" y="1596"/>
                  </a:lnTo>
                  <a:lnTo>
                    <a:pt x="1200" y="1590"/>
                  </a:lnTo>
                  <a:lnTo>
                    <a:pt x="1200" y="1572"/>
                  </a:lnTo>
                  <a:lnTo>
                    <a:pt x="1200" y="1566"/>
                  </a:lnTo>
                  <a:lnTo>
                    <a:pt x="1200" y="1560"/>
                  </a:lnTo>
                  <a:lnTo>
                    <a:pt x="1194" y="1554"/>
                  </a:lnTo>
                  <a:lnTo>
                    <a:pt x="1188" y="1548"/>
                  </a:lnTo>
                  <a:lnTo>
                    <a:pt x="1188" y="1542"/>
                  </a:lnTo>
                  <a:lnTo>
                    <a:pt x="1176" y="1536"/>
                  </a:lnTo>
                  <a:lnTo>
                    <a:pt x="1176" y="1530"/>
                  </a:lnTo>
                  <a:lnTo>
                    <a:pt x="1170" y="1524"/>
                  </a:lnTo>
                  <a:lnTo>
                    <a:pt x="1170" y="1518"/>
                  </a:lnTo>
                  <a:lnTo>
                    <a:pt x="1164" y="1512"/>
                  </a:lnTo>
                  <a:lnTo>
                    <a:pt x="1158" y="1506"/>
                  </a:lnTo>
                  <a:lnTo>
                    <a:pt x="1152" y="1500"/>
                  </a:lnTo>
                  <a:lnTo>
                    <a:pt x="1146" y="1494"/>
                  </a:lnTo>
                  <a:lnTo>
                    <a:pt x="1140" y="1488"/>
                  </a:lnTo>
                  <a:lnTo>
                    <a:pt x="1134" y="1482"/>
                  </a:lnTo>
                  <a:lnTo>
                    <a:pt x="1128" y="1476"/>
                  </a:lnTo>
                  <a:lnTo>
                    <a:pt x="1122" y="1470"/>
                  </a:lnTo>
                  <a:lnTo>
                    <a:pt x="1116" y="1464"/>
                  </a:lnTo>
                  <a:lnTo>
                    <a:pt x="1110" y="1464"/>
                  </a:lnTo>
                  <a:lnTo>
                    <a:pt x="1104" y="1458"/>
                  </a:lnTo>
                  <a:lnTo>
                    <a:pt x="1098" y="1464"/>
                  </a:lnTo>
                  <a:lnTo>
                    <a:pt x="1092" y="1464"/>
                  </a:lnTo>
                  <a:lnTo>
                    <a:pt x="1086" y="1446"/>
                  </a:lnTo>
                  <a:lnTo>
                    <a:pt x="1086" y="1440"/>
                  </a:lnTo>
                  <a:lnTo>
                    <a:pt x="1080" y="1416"/>
                  </a:lnTo>
                  <a:lnTo>
                    <a:pt x="1068" y="1404"/>
                  </a:lnTo>
                  <a:lnTo>
                    <a:pt x="1062" y="1398"/>
                  </a:lnTo>
                  <a:lnTo>
                    <a:pt x="1056" y="1398"/>
                  </a:lnTo>
                  <a:lnTo>
                    <a:pt x="1050" y="1398"/>
                  </a:lnTo>
                  <a:lnTo>
                    <a:pt x="1044" y="1398"/>
                  </a:lnTo>
                  <a:lnTo>
                    <a:pt x="1044" y="1392"/>
                  </a:lnTo>
                  <a:lnTo>
                    <a:pt x="1038" y="1392"/>
                  </a:lnTo>
                  <a:lnTo>
                    <a:pt x="1032" y="1392"/>
                  </a:lnTo>
                  <a:lnTo>
                    <a:pt x="1020" y="1386"/>
                  </a:lnTo>
                  <a:lnTo>
                    <a:pt x="1014" y="1386"/>
                  </a:lnTo>
                  <a:lnTo>
                    <a:pt x="1014" y="1380"/>
                  </a:lnTo>
                  <a:lnTo>
                    <a:pt x="1008" y="1380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62"/>
                  </a:lnTo>
                  <a:lnTo>
                    <a:pt x="984" y="1356"/>
                  </a:lnTo>
                  <a:lnTo>
                    <a:pt x="978" y="1356"/>
                  </a:lnTo>
                  <a:lnTo>
                    <a:pt x="972" y="1356"/>
                  </a:lnTo>
                  <a:lnTo>
                    <a:pt x="966" y="1356"/>
                  </a:lnTo>
                  <a:lnTo>
                    <a:pt x="966" y="1350"/>
                  </a:lnTo>
                  <a:lnTo>
                    <a:pt x="948" y="1350"/>
                  </a:lnTo>
                  <a:lnTo>
                    <a:pt x="936" y="1344"/>
                  </a:lnTo>
                  <a:lnTo>
                    <a:pt x="930" y="1338"/>
                  </a:lnTo>
                  <a:lnTo>
                    <a:pt x="918" y="1332"/>
                  </a:lnTo>
                  <a:lnTo>
                    <a:pt x="900" y="1326"/>
                  </a:lnTo>
                  <a:lnTo>
                    <a:pt x="864" y="1332"/>
                  </a:lnTo>
                  <a:lnTo>
                    <a:pt x="828" y="1332"/>
                  </a:lnTo>
                  <a:lnTo>
                    <a:pt x="792" y="1314"/>
                  </a:lnTo>
                  <a:lnTo>
                    <a:pt x="780" y="1314"/>
                  </a:lnTo>
                  <a:lnTo>
                    <a:pt x="780" y="1308"/>
                  </a:lnTo>
                  <a:lnTo>
                    <a:pt x="756" y="1296"/>
                  </a:lnTo>
                  <a:lnTo>
                    <a:pt x="756" y="1278"/>
                  </a:lnTo>
                  <a:lnTo>
                    <a:pt x="768" y="1278"/>
                  </a:lnTo>
                  <a:lnTo>
                    <a:pt x="774" y="1272"/>
                  </a:lnTo>
                  <a:lnTo>
                    <a:pt x="780" y="1266"/>
                  </a:lnTo>
                  <a:lnTo>
                    <a:pt x="786" y="1260"/>
                  </a:lnTo>
                  <a:lnTo>
                    <a:pt x="792" y="1254"/>
                  </a:lnTo>
                  <a:lnTo>
                    <a:pt x="798" y="1242"/>
                  </a:lnTo>
                  <a:lnTo>
                    <a:pt x="804" y="1242"/>
                  </a:lnTo>
                  <a:lnTo>
                    <a:pt x="804" y="1206"/>
                  </a:lnTo>
                  <a:lnTo>
                    <a:pt x="804" y="1182"/>
                  </a:lnTo>
                  <a:lnTo>
                    <a:pt x="804" y="1158"/>
                  </a:lnTo>
                  <a:lnTo>
                    <a:pt x="804" y="1134"/>
                  </a:lnTo>
                  <a:lnTo>
                    <a:pt x="798" y="1116"/>
                  </a:lnTo>
                  <a:lnTo>
                    <a:pt x="792" y="1092"/>
                  </a:lnTo>
                  <a:lnTo>
                    <a:pt x="786" y="1062"/>
                  </a:lnTo>
                  <a:lnTo>
                    <a:pt x="768" y="1032"/>
                  </a:lnTo>
                  <a:lnTo>
                    <a:pt x="762" y="1032"/>
                  </a:lnTo>
                  <a:lnTo>
                    <a:pt x="762" y="1020"/>
                  </a:lnTo>
                  <a:lnTo>
                    <a:pt x="762" y="1014"/>
                  </a:lnTo>
                  <a:lnTo>
                    <a:pt x="756" y="1008"/>
                  </a:lnTo>
                  <a:lnTo>
                    <a:pt x="750" y="1002"/>
                  </a:lnTo>
                  <a:lnTo>
                    <a:pt x="738" y="1002"/>
                  </a:lnTo>
                  <a:lnTo>
                    <a:pt x="738" y="990"/>
                  </a:lnTo>
                  <a:lnTo>
                    <a:pt x="726" y="990"/>
                  </a:lnTo>
                  <a:lnTo>
                    <a:pt x="726" y="978"/>
                  </a:lnTo>
                  <a:lnTo>
                    <a:pt x="732" y="972"/>
                  </a:lnTo>
                  <a:lnTo>
                    <a:pt x="732" y="966"/>
                  </a:lnTo>
                  <a:lnTo>
                    <a:pt x="726" y="966"/>
                  </a:lnTo>
                  <a:lnTo>
                    <a:pt x="732" y="948"/>
                  </a:lnTo>
                  <a:lnTo>
                    <a:pt x="726" y="942"/>
                  </a:lnTo>
                  <a:lnTo>
                    <a:pt x="726" y="930"/>
                  </a:lnTo>
                  <a:lnTo>
                    <a:pt x="720" y="924"/>
                  </a:lnTo>
                  <a:lnTo>
                    <a:pt x="714" y="912"/>
                  </a:lnTo>
                  <a:lnTo>
                    <a:pt x="714" y="882"/>
                  </a:lnTo>
                  <a:lnTo>
                    <a:pt x="714" y="870"/>
                  </a:lnTo>
                  <a:lnTo>
                    <a:pt x="714" y="858"/>
                  </a:lnTo>
                  <a:lnTo>
                    <a:pt x="714" y="846"/>
                  </a:lnTo>
                  <a:lnTo>
                    <a:pt x="708" y="822"/>
                  </a:lnTo>
                  <a:lnTo>
                    <a:pt x="702" y="798"/>
                  </a:lnTo>
                  <a:lnTo>
                    <a:pt x="696" y="792"/>
                  </a:lnTo>
                  <a:lnTo>
                    <a:pt x="684" y="726"/>
                  </a:lnTo>
                  <a:lnTo>
                    <a:pt x="678" y="666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66" y="600"/>
                  </a:lnTo>
                  <a:lnTo>
                    <a:pt x="660" y="594"/>
                  </a:lnTo>
                  <a:lnTo>
                    <a:pt x="654" y="594"/>
                  </a:lnTo>
                  <a:lnTo>
                    <a:pt x="636" y="582"/>
                  </a:lnTo>
                  <a:lnTo>
                    <a:pt x="630" y="576"/>
                  </a:lnTo>
                  <a:lnTo>
                    <a:pt x="624" y="576"/>
                  </a:lnTo>
                  <a:lnTo>
                    <a:pt x="618" y="570"/>
                  </a:lnTo>
                  <a:lnTo>
                    <a:pt x="612" y="564"/>
                  </a:lnTo>
                  <a:lnTo>
                    <a:pt x="606" y="558"/>
                  </a:lnTo>
                  <a:lnTo>
                    <a:pt x="606" y="564"/>
                  </a:lnTo>
                  <a:lnTo>
                    <a:pt x="600" y="564"/>
                  </a:lnTo>
                  <a:lnTo>
                    <a:pt x="594" y="558"/>
                  </a:lnTo>
                  <a:lnTo>
                    <a:pt x="594" y="540"/>
                  </a:lnTo>
                  <a:lnTo>
                    <a:pt x="594" y="528"/>
                  </a:lnTo>
                  <a:lnTo>
                    <a:pt x="594" y="516"/>
                  </a:lnTo>
                  <a:lnTo>
                    <a:pt x="594" y="510"/>
                  </a:lnTo>
                  <a:lnTo>
                    <a:pt x="594" y="492"/>
                  </a:lnTo>
                  <a:lnTo>
                    <a:pt x="594" y="456"/>
                  </a:lnTo>
                  <a:lnTo>
                    <a:pt x="588" y="414"/>
                  </a:lnTo>
                  <a:lnTo>
                    <a:pt x="588" y="408"/>
                  </a:lnTo>
                  <a:lnTo>
                    <a:pt x="582" y="396"/>
                  </a:lnTo>
                  <a:lnTo>
                    <a:pt x="582" y="384"/>
                  </a:lnTo>
                  <a:lnTo>
                    <a:pt x="582" y="372"/>
                  </a:lnTo>
                  <a:lnTo>
                    <a:pt x="564" y="372"/>
                  </a:lnTo>
                  <a:lnTo>
                    <a:pt x="552" y="366"/>
                  </a:lnTo>
                  <a:lnTo>
                    <a:pt x="552" y="372"/>
                  </a:lnTo>
                  <a:lnTo>
                    <a:pt x="498" y="372"/>
                  </a:lnTo>
                  <a:lnTo>
                    <a:pt x="498" y="366"/>
                  </a:lnTo>
                  <a:lnTo>
                    <a:pt x="474" y="360"/>
                  </a:lnTo>
                  <a:lnTo>
                    <a:pt x="456" y="354"/>
                  </a:lnTo>
                  <a:lnTo>
                    <a:pt x="438" y="348"/>
                  </a:lnTo>
                  <a:lnTo>
                    <a:pt x="426" y="354"/>
                  </a:lnTo>
                  <a:lnTo>
                    <a:pt x="408" y="360"/>
                  </a:lnTo>
                  <a:lnTo>
                    <a:pt x="378" y="360"/>
                  </a:lnTo>
                  <a:lnTo>
                    <a:pt x="378" y="354"/>
                  </a:lnTo>
                  <a:lnTo>
                    <a:pt x="378" y="348"/>
                  </a:lnTo>
                  <a:lnTo>
                    <a:pt x="378" y="342"/>
                  </a:lnTo>
                  <a:lnTo>
                    <a:pt x="390" y="330"/>
                  </a:lnTo>
                  <a:lnTo>
                    <a:pt x="396" y="312"/>
                  </a:lnTo>
                  <a:lnTo>
                    <a:pt x="396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8"/>
                  </a:lnTo>
                  <a:lnTo>
                    <a:pt x="372" y="234"/>
                  </a:lnTo>
                  <a:lnTo>
                    <a:pt x="354" y="234"/>
                  </a:lnTo>
                  <a:lnTo>
                    <a:pt x="342" y="246"/>
                  </a:lnTo>
                  <a:lnTo>
                    <a:pt x="330" y="252"/>
                  </a:lnTo>
                  <a:lnTo>
                    <a:pt x="318" y="252"/>
                  </a:lnTo>
                  <a:lnTo>
                    <a:pt x="276" y="258"/>
                  </a:lnTo>
                  <a:lnTo>
                    <a:pt x="276" y="264"/>
                  </a:lnTo>
                  <a:lnTo>
                    <a:pt x="252" y="270"/>
                  </a:lnTo>
                  <a:lnTo>
                    <a:pt x="240" y="270"/>
                  </a:lnTo>
                  <a:lnTo>
                    <a:pt x="228" y="276"/>
                  </a:lnTo>
                  <a:lnTo>
                    <a:pt x="210" y="282"/>
                  </a:lnTo>
                  <a:lnTo>
                    <a:pt x="198" y="288"/>
                  </a:lnTo>
                  <a:lnTo>
                    <a:pt x="186" y="294"/>
                  </a:lnTo>
                  <a:lnTo>
                    <a:pt x="174" y="330"/>
                  </a:lnTo>
                  <a:lnTo>
                    <a:pt x="162" y="342"/>
                  </a:lnTo>
                  <a:lnTo>
                    <a:pt x="156" y="354"/>
                  </a:lnTo>
                  <a:lnTo>
                    <a:pt x="150" y="360"/>
                  </a:lnTo>
                  <a:lnTo>
                    <a:pt x="150" y="366"/>
                  </a:lnTo>
                  <a:lnTo>
                    <a:pt x="108" y="372"/>
                  </a:lnTo>
                  <a:lnTo>
                    <a:pt x="60" y="378"/>
                  </a:lnTo>
                  <a:lnTo>
                    <a:pt x="42" y="378"/>
                  </a:lnTo>
                  <a:lnTo>
                    <a:pt x="12" y="378"/>
                  </a:lnTo>
                  <a:lnTo>
                    <a:pt x="6" y="378"/>
                  </a:lnTo>
                  <a:lnTo>
                    <a:pt x="0" y="366"/>
                  </a:lnTo>
                  <a:lnTo>
                    <a:pt x="12" y="360"/>
                  </a:lnTo>
                  <a:lnTo>
                    <a:pt x="24" y="348"/>
                  </a:lnTo>
                  <a:lnTo>
                    <a:pt x="30" y="342"/>
                  </a:lnTo>
                  <a:lnTo>
                    <a:pt x="36" y="330"/>
                  </a:lnTo>
                  <a:lnTo>
                    <a:pt x="72" y="300"/>
                  </a:lnTo>
                  <a:lnTo>
                    <a:pt x="78" y="294"/>
                  </a:lnTo>
                  <a:lnTo>
                    <a:pt x="78" y="288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96" y="270"/>
                  </a:lnTo>
                  <a:lnTo>
                    <a:pt x="102" y="264"/>
                  </a:lnTo>
                  <a:lnTo>
                    <a:pt x="108" y="258"/>
                  </a:lnTo>
                  <a:lnTo>
                    <a:pt x="114" y="246"/>
                  </a:lnTo>
                  <a:lnTo>
                    <a:pt x="120" y="240"/>
                  </a:lnTo>
                  <a:lnTo>
                    <a:pt x="126" y="234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0" y="210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86" y="174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22" y="138"/>
                  </a:lnTo>
                  <a:lnTo>
                    <a:pt x="234" y="132"/>
                  </a:lnTo>
                  <a:lnTo>
                    <a:pt x="246" y="126"/>
                  </a:lnTo>
                  <a:lnTo>
                    <a:pt x="246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88" y="102"/>
                  </a:lnTo>
                  <a:lnTo>
                    <a:pt x="300" y="96"/>
                  </a:lnTo>
                  <a:lnTo>
                    <a:pt x="306" y="90"/>
                  </a:lnTo>
                  <a:lnTo>
                    <a:pt x="318" y="90"/>
                  </a:lnTo>
                  <a:lnTo>
                    <a:pt x="324" y="84"/>
                  </a:lnTo>
                  <a:lnTo>
                    <a:pt x="348" y="72"/>
                  </a:lnTo>
                  <a:lnTo>
                    <a:pt x="354" y="72"/>
                  </a:lnTo>
                  <a:lnTo>
                    <a:pt x="384" y="66"/>
                  </a:lnTo>
                  <a:lnTo>
                    <a:pt x="390" y="66"/>
                  </a:lnTo>
                  <a:lnTo>
                    <a:pt x="396" y="66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66"/>
                  </a:lnTo>
                  <a:lnTo>
                    <a:pt x="438" y="66"/>
                  </a:lnTo>
                  <a:lnTo>
                    <a:pt x="468" y="66"/>
                  </a:lnTo>
                  <a:lnTo>
                    <a:pt x="480" y="66"/>
                  </a:lnTo>
                  <a:lnTo>
                    <a:pt x="486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22" y="60"/>
                  </a:lnTo>
                  <a:lnTo>
                    <a:pt x="534" y="54"/>
                  </a:lnTo>
                  <a:lnTo>
                    <a:pt x="564" y="42"/>
                  </a:lnTo>
                  <a:lnTo>
                    <a:pt x="570" y="42"/>
                  </a:lnTo>
                  <a:lnTo>
                    <a:pt x="582" y="36"/>
                  </a:lnTo>
                  <a:lnTo>
                    <a:pt x="588" y="36"/>
                  </a:lnTo>
                  <a:lnTo>
                    <a:pt x="600" y="30"/>
                  </a:lnTo>
                  <a:lnTo>
                    <a:pt x="606" y="30"/>
                  </a:lnTo>
                  <a:lnTo>
                    <a:pt x="618" y="24"/>
                  </a:lnTo>
                  <a:lnTo>
                    <a:pt x="642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72" y="12"/>
                  </a:lnTo>
                  <a:lnTo>
                    <a:pt x="696" y="12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50" y="6"/>
                  </a:lnTo>
                  <a:lnTo>
                    <a:pt x="768" y="6"/>
                  </a:lnTo>
                  <a:lnTo>
                    <a:pt x="774" y="6"/>
                  </a:lnTo>
                  <a:lnTo>
                    <a:pt x="786" y="6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6" y="6"/>
                  </a:lnTo>
                  <a:lnTo>
                    <a:pt x="846" y="6"/>
                  </a:lnTo>
                  <a:lnTo>
                    <a:pt x="852" y="0"/>
                  </a:lnTo>
                  <a:lnTo>
                    <a:pt x="876" y="0"/>
                  </a:lnTo>
                  <a:lnTo>
                    <a:pt x="876" y="6"/>
                  </a:lnTo>
                  <a:lnTo>
                    <a:pt x="888" y="0"/>
                  </a:lnTo>
                  <a:lnTo>
                    <a:pt x="900" y="0"/>
                  </a:lnTo>
                  <a:lnTo>
                    <a:pt x="906" y="0"/>
                  </a:lnTo>
                  <a:lnTo>
                    <a:pt x="912" y="0"/>
                  </a:lnTo>
                  <a:lnTo>
                    <a:pt x="948" y="0"/>
                  </a:lnTo>
                  <a:lnTo>
                    <a:pt x="954" y="0"/>
                  </a:lnTo>
                  <a:lnTo>
                    <a:pt x="972" y="0"/>
                  </a:lnTo>
                  <a:lnTo>
                    <a:pt x="978" y="0"/>
                  </a:lnTo>
                  <a:lnTo>
                    <a:pt x="996" y="0"/>
                  </a:lnTo>
                  <a:lnTo>
                    <a:pt x="1032" y="0"/>
                  </a:lnTo>
                  <a:lnTo>
                    <a:pt x="1044" y="0"/>
                  </a:lnTo>
                  <a:lnTo>
                    <a:pt x="1050" y="0"/>
                  </a:lnTo>
                  <a:lnTo>
                    <a:pt x="1056" y="6"/>
                  </a:lnTo>
                  <a:lnTo>
                    <a:pt x="1056" y="0"/>
                  </a:lnTo>
                  <a:lnTo>
                    <a:pt x="1074" y="0"/>
                  </a:lnTo>
                  <a:lnTo>
                    <a:pt x="1098" y="6"/>
                  </a:lnTo>
                  <a:lnTo>
                    <a:pt x="1116" y="6"/>
                  </a:lnTo>
                  <a:lnTo>
                    <a:pt x="1140" y="12"/>
                  </a:lnTo>
                  <a:lnTo>
                    <a:pt x="1152" y="12"/>
                  </a:lnTo>
                  <a:lnTo>
                    <a:pt x="1158" y="12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6" y="12"/>
                  </a:lnTo>
                  <a:lnTo>
                    <a:pt x="1194" y="18"/>
                  </a:lnTo>
                  <a:lnTo>
                    <a:pt x="1206" y="18"/>
                  </a:lnTo>
                  <a:lnTo>
                    <a:pt x="1242" y="36"/>
                  </a:lnTo>
                  <a:lnTo>
                    <a:pt x="1248" y="36"/>
                  </a:lnTo>
                  <a:lnTo>
                    <a:pt x="1254" y="36"/>
                  </a:lnTo>
                  <a:lnTo>
                    <a:pt x="1260" y="42"/>
                  </a:lnTo>
                  <a:lnTo>
                    <a:pt x="1272" y="48"/>
                  </a:lnTo>
                  <a:lnTo>
                    <a:pt x="1278" y="48"/>
                  </a:lnTo>
                  <a:lnTo>
                    <a:pt x="1284" y="48"/>
                  </a:lnTo>
                  <a:lnTo>
                    <a:pt x="1290" y="54"/>
                  </a:lnTo>
                  <a:lnTo>
                    <a:pt x="1308" y="60"/>
                  </a:lnTo>
                  <a:lnTo>
                    <a:pt x="1326" y="60"/>
                  </a:lnTo>
                  <a:lnTo>
                    <a:pt x="1338" y="66"/>
                  </a:lnTo>
                  <a:lnTo>
                    <a:pt x="1344" y="66"/>
                  </a:lnTo>
                  <a:lnTo>
                    <a:pt x="1350" y="66"/>
                  </a:lnTo>
                  <a:lnTo>
                    <a:pt x="1356" y="66"/>
                  </a:lnTo>
                  <a:lnTo>
                    <a:pt x="1362" y="72"/>
                  </a:lnTo>
                  <a:lnTo>
                    <a:pt x="1368" y="72"/>
                  </a:lnTo>
                  <a:lnTo>
                    <a:pt x="1380" y="72"/>
                  </a:lnTo>
                  <a:lnTo>
                    <a:pt x="1386" y="72"/>
                  </a:lnTo>
                  <a:lnTo>
                    <a:pt x="1422" y="84"/>
                  </a:lnTo>
                  <a:lnTo>
                    <a:pt x="1428" y="84"/>
                  </a:lnTo>
                  <a:lnTo>
                    <a:pt x="1446" y="90"/>
                  </a:lnTo>
                  <a:lnTo>
                    <a:pt x="1458" y="102"/>
                  </a:lnTo>
                  <a:lnTo>
                    <a:pt x="1494" y="126"/>
                  </a:lnTo>
                  <a:lnTo>
                    <a:pt x="1500" y="132"/>
                  </a:lnTo>
                  <a:lnTo>
                    <a:pt x="1512" y="138"/>
                  </a:lnTo>
                  <a:lnTo>
                    <a:pt x="1512" y="144"/>
                  </a:lnTo>
                  <a:lnTo>
                    <a:pt x="1518" y="150"/>
                  </a:lnTo>
                  <a:lnTo>
                    <a:pt x="1530" y="156"/>
                  </a:lnTo>
                  <a:lnTo>
                    <a:pt x="1530" y="162"/>
                  </a:lnTo>
                  <a:lnTo>
                    <a:pt x="1548" y="168"/>
                  </a:lnTo>
                  <a:lnTo>
                    <a:pt x="1566" y="180"/>
                  </a:lnTo>
                  <a:lnTo>
                    <a:pt x="1578" y="186"/>
                  </a:lnTo>
                  <a:lnTo>
                    <a:pt x="1578" y="180"/>
                  </a:lnTo>
                  <a:lnTo>
                    <a:pt x="1584" y="186"/>
                  </a:lnTo>
                  <a:lnTo>
                    <a:pt x="1584" y="174"/>
                  </a:lnTo>
                  <a:lnTo>
                    <a:pt x="1590" y="174"/>
                  </a:lnTo>
                  <a:lnTo>
                    <a:pt x="1590" y="180"/>
                  </a:lnTo>
                  <a:lnTo>
                    <a:pt x="1596" y="180"/>
                  </a:lnTo>
                  <a:lnTo>
                    <a:pt x="1596" y="174"/>
                  </a:lnTo>
                  <a:lnTo>
                    <a:pt x="1602" y="174"/>
                  </a:lnTo>
                  <a:lnTo>
                    <a:pt x="1608" y="174"/>
                  </a:lnTo>
                  <a:lnTo>
                    <a:pt x="1614" y="180"/>
                  </a:lnTo>
                  <a:lnTo>
                    <a:pt x="1620" y="174"/>
                  </a:lnTo>
                  <a:lnTo>
                    <a:pt x="1614" y="168"/>
                  </a:lnTo>
                  <a:lnTo>
                    <a:pt x="1614" y="162"/>
                  </a:lnTo>
                  <a:lnTo>
                    <a:pt x="1620" y="162"/>
                  </a:lnTo>
                  <a:lnTo>
                    <a:pt x="1626" y="162"/>
                  </a:lnTo>
                  <a:lnTo>
                    <a:pt x="1632" y="162"/>
                  </a:lnTo>
                  <a:lnTo>
                    <a:pt x="1638" y="168"/>
                  </a:lnTo>
                  <a:lnTo>
                    <a:pt x="1644" y="168"/>
                  </a:lnTo>
                  <a:lnTo>
                    <a:pt x="1650" y="174"/>
                  </a:lnTo>
                  <a:lnTo>
                    <a:pt x="1656" y="168"/>
                  </a:lnTo>
                  <a:lnTo>
                    <a:pt x="1668" y="168"/>
                  </a:lnTo>
                  <a:lnTo>
                    <a:pt x="1674" y="174"/>
                  </a:lnTo>
                  <a:lnTo>
                    <a:pt x="1674" y="180"/>
                  </a:lnTo>
                  <a:lnTo>
                    <a:pt x="1674" y="186"/>
                  </a:lnTo>
                  <a:lnTo>
                    <a:pt x="1680" y="186"/>
                  </a:lnTo>
                  <a:lnTo>
                    <a:pt x="1680" y="192"/>
                  </a:lnTo>
                  <a:lnTo>
                    <a:pt x="1686" y="192"/>
                  </a:lnTo>
                  <a:lnTo>
                    <a:pt x="1686" y="186"/>
                  </a:lnTo>
                  <a:lnTo>
                    <a:pt x="1680" y="186"/>
                  </a:lnTo>
                  <a:lnTo>
                    <a:pt x="1686" y="180"/>
                  </a:lnTo>
                  <a:lnTo>
                    <a:pt x="1692" y="180"/>
                  </a:lnTo>
                  <a:lnTo>
                    <a:pt x="1698" y="180"/>
                  </a:lnTo>
                  <a:lnTo>
                    <a:pt x="1704" y="180"/>
                  </a:lnTo>
                  <a:lnTo>
                    <a:pt x="1704" y="186"/>
                  </a:lnTo>
                  <a:lnTo>
                    <a:pt x="1710" y="186"/>
                  </a:lnTo>
                  <a:lnTo>
                    <a:pt x="1716" y="186"/>
                  </a:lnTo>
                  <a:lnTo>
                    <a:pt x="1716" y="192"/>
                  </a:lnTo>
                  <a:lnTo>
                    <a:pt x="1716" y="198"/>
                  </a:lnTo>
                  <a:lnTo>
                    <a:pt x="1722" y="192"/>
                  </a:lnTo>
                  <a:lnTo>
                    <a:pt x="1722" y="186"/>
                  </a:lnTo>
                  <a:lnTo>
                    <a:pt x="1728" y="192"/>
                  </a:lnTo>
                  <a:lnTo>
                    <a:pt x="1734" y="192"/>
                  </a:lnTo>
                  <a:lnTo>
                    <a:pt x="1734" y="186"/>
                  </a:lnTo>
                  <a:lnTo>
                    <a:pt x="1740" y="186"/>
                  </a:lnTo>
                  <a:lnTo>
                    <a:pt x="1740" y="192"/>
                  </a:lnTo>
                  <a:lnTo>
                    <a:pt x="1746" y="192"/>
                  </a:lnTo>
                  <a:lnTo>
                    <a:pt x="1758" y="192"/>
                  </a:lnTo>
                  <a:lnTo>
                    <a:pt x="1764" y="192"/>
                  </a:lnTo>
                  <a:lnTo>
                    <a:pt x="1764" y="198"/>
                  </a:lnTo>
                  <a:lnTo>
                    <a:pt x="1758" y="204"/>
                  </a:lnTo>
                  <a:lnTo>
                    <a:pt x="1752" y="210"/>
                  </a:lnTo>
                  <a:lnTo>
                    <a:pt x="1746" y="216"/>
                  </a:lnTo>
                  <a:lnTo>
                    <a:pt x="1746" y="222"/>
                  </a:lnTo>
                  <a:lnTo>
                    <a:pt x="1734" y="228"/>
                  </a:lnTo>
                  <a:lnTo>
                    <a:pt x="1734" y="234"/>
                  </a:lnTo>
                  <a:lnTo>
                    <a:pt x="1734" y="258"/>
                  </a:lnTo>
                  <a:lnTo>
                    <a:pt x="1740" y="330"/>
                  </a:lnTo>
                  <a:lnTo>
                    <a:pt x="1746" y="372"/>
                  </a:lnTo>
                  <a:lnTo>
                    <a:pt x="1788" y="426"/>
                  </a:lnTo>
                  <a:lnTo>
                    <a:pt x="1806" y="438"/>
                  </a:lnTo>
                  <a:lnTo>
                    <a:pt x="1794" y="480"/>
                  </a:lnTo>
                  <a:lnTo>
                    <a:pt x="1770" y="516"/>
                  </a:lnTo>
                  <a:lnTo>
                    <a:pt x="1746" y="546"/>
                  </a:lnTo>
                  <a:lnTo>
                    <a:pt x="1716" y="570"/>
                  </a:lnTo>
                  <a:lnTo>
                    <a:pt x="1680" y="594"/>
                  </a:lnTo>
                  <a:lnTo>
                    <a:pt x="1668" y="630"/>
                  </a:lnTo>
                  <a:lnTo>
                    <a:pt x="1680" y="684"/>
                  </a:lnTo>
                  <a:lnTo>
                    <a:pt x="1686" y="756"/>
                  </a:lnTo>
                  <a:lnTo>
                    <a:pt x="1662" y="870"/>
                  </a:lnTo>
                  <a:lnTo>
                    <a:pt x="1656" y="888"/>
                  </a:lnTo>
                  <a:lnTo>
                    <a:pt x="1650" y="972"/>
                  </a:lnTo>
                  <a:lnTo>
                    <a:pt x="1656" y="978"/>
                  </a:lnTo>
                  <a:lnTo>
                    <a:pt x="1650" y="984"/>
                  </a:lnTo>
                  <a:lnTo>
                    <a:pt x="1650" y="990"/>
                  </a:lnTo>
                  <a:lnTo>
                    <a:pt x="1650" y="1002"/>
                  </a:lnTo>
                  <a:lnTo>
                    <a:pt x="1656" y="1008"/>
                  </a:lnTo>
                  <a:lnTo>
                    <a:pt x="1656" y="1014"/>
                  </a:lnTo>
                  <a:lnTo>
                    <a:pt x="1662" y="1026"/>
                  </a:lnTo>
                  <a:lnTo>
                    <a:pt x="1650" y="1032"/>
                  </a:lnTo>
                  <a:lnTo>
                    <a:pt x="1638" y="1044"/>
                  </a:lnTo>
                  <a:lnTo>
                    <a:pt x="1626" y="1080"/>
                  </a:lnTo>
                  <a:lnTo>
                    <a:pt x="1614" y="1116"/>
                  </a:lnTo>
                  <a:lnTo>
                    <a:pt x="1614" y="1128"/>
                  </a:lnTo>
                  <a:lnTo>
                    <a:pt x="1626" y="1134"/>
                  </a:lnTo>
                  <a:lnTo>
                    <a:pt x="1644" y="1134"/>
                  </a:lnTo>
                  <a:lnTo>
                    <a:pt x="1662" y="1134"/>
                  </a:lnTo>
                  <a:lnTo>
                    <a:pt x="1680" y="1140"/>
                  </a:lnTo>
                  <a:lnTo>
                    <a:pt x="1698" y="1170"/>
                  </a:lnTo>
                  <a:lnTo>
                    <a:pt x="1704" y="1194"/>
                  </a:lnTo>
                  <a:lnTo>
                    <a:pt x="1692" y="1206"/>
                  </a:lnTo>
                  <a:lnTo>
                    <a:pt x="1662" y="1242"/>
                  </a:lnTo>
                  <a:lnTo>
                    <a:pt x="1632" y="1266"/>
                  </a:lnTo>
                  <a:lnTo>
                    <a:pt x="1620" y="1314"/>
                  </a:lnTo>
                  <a:lnTo>
                    <a:pt x="1584" y="1356"/>
                  </a:lnTo>
                  <a:lnTo>
                    <a:pt x="1578" y="1356"/>
                  </a:lnTo>
                  <a:lnTo>
                    <a:pt x="1578" y="1362"/>
                  </a:lnTo>
                  <a:lnTo>
                    <a:pt x="1572" y="1410"/>
                  </a:lnTo>
                  <a:lnTo>
                    <a:pt x="1584" y="1452"/>
                  </a:lnTo>
                  <a:lnTo>
                    <a:pt x="1608" y="1476"/>
                  </a:lnTo>
                  <a:lnTo>
                    <a:pt x="1596" y="1476"/>
                  </a:lnTo>
                  <a:lnTo>
                    <a:pt x="1584" y="1482"/>
                  </a:lnTo>
                  <a:lnTo>
                    <a:pt x="1560" y="1482"/>
                  </a:lnTo>
                  <a:lnTo>
                    <a:pt x="1536" y="1482"/>
                  </a:lnTo>
                  <a:lnTo>
                    <a:pt x="1524" y="1482"/>
                  </a:lnTo>
                  <a:lnTo>
                    <a:pt x="1506" y="1500"/>
                  </a:lnTo>
                  <a:lnTo>
                    <a:pt x="1482" y="1530"/>
                  </a:lnTo>
                  <a:lnTo>
                    <a:pt x="1452" y="1542"/>
                  </a:lnTo>
                  <a:lnTo>
                    <a:pt x="1446" y="1542"/>
                  </a:lnTo>
                  <a:lnTo>
                    <a:pt x="1440" y="1542"/>
                  </a:lnTo>
                  <a:lnTo>
                    <a:pt x="1440" y="1548"/>
                  </a:lnTo>
                  <a:lnTo>
                    <a:pt x="1434" y="1548"/>
                  </a:lnTo>
                  <a:lnTo>
                    <a:pt x="1428" y="1548"/>
                  </a:lnTo>
                  <a:lnTo>
                    <a:pt x="1428" y="1554"/>
                  </a:lnTo>
                  <a:lnTo>
                    <a:pt x="1422" y="1560"/>
                  </a:lnTo>
                  <a:lnTo>
                    <a:pt x="1416" y="1560"/>
                  </a:lnTo>
                  <a:lnTo>
                    <a:pt x="1410" y="1566"/>
                  </a:lnTo>
                  <a:lnTo>
                    <a:pt x="1410" y="1560"/>
                  </a:lnTo>
                  <a:lnTo>
                    <a:pt x="1404" y="1560"/>
                  </a:lnTo>
                  <a:lnTo>
                    <a:pt x="1392" y="1560"/>
                  </a:lnTo>
                  <a:lnTo>
                    <a:pt x="1386" y="1560"/>
                  </a:lnTo>
                  <a:lnTo>
                    <a:pt x="1380" y="1566"/>
                  </a:lnTo>
                  <a:lnTo>
                    <a:pt x="1374" y="1560"/>
                  </a:lnTo>
                  <a:lnTo>
                    <a:pt x="1368" y="1566"/>
                  </a:lnTo>
                  <a:lnTo>
                    <a:pt x="1362" y="1566"/>
                  </a:lnTo>
                  <a:lnTo>
                    <a:pt x="1362" y="1572"/>
                  </a:lnTo>
                  <a:lnTo>
                    <a:pt x="1356" y="1572"/>
                  </a:lnTo>
                  <a:lnTo>
                    <a:pt x="1356" y="1578"/>
                  </a:lnTo>
                  <a:lnTo>
                    <a:pt x="1350" y="1578"/>
                  </a:lnTo>
                  <a:lnTo>
                    <a:pt x="1350" y="1572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32" y="1584"/>
                  </a:lnTo>
                  <a:lnTo>
                    <a:pt x="1326" y="1590"/>
                  </a:lnTo>
                  <a:lnTo>
                    <a:pt x="1320" y="1584"/>
                  </a:lnTo>
                  <a:lnTo>
                    <a:pt x="1314" y="1590"/>
                  </a:lnTo>
                  <a:lnTo>
                    <a:pt x="1308" y="1596"/>
                  </a:lnTo>
                  <a:lnTo>
                    <a:pt x="1302" y="1596"/>
                  </a:lnTo>
                  <a:lnTo>
                    <a:pt x="1296" y="1596"/>
                  </a:lnTo>
                  <a:lnTo>
                    <a:pt x="1290" y="1596"/>
                  </a:lnTo>
                  <a:lnTo>
                    <a:pt x="1284" y="1596"/>
                  </a:lnTo>
                  <a:lnTo>
                    <a:pt x="1278" y="1602"/>
                  </a:lnTo>
                  <a:lnTo>
                    <a:pt x="1266" y="1602"/>
                  </a:lnTo>
                  <a:lnTo>
                    <a:pt x="1272" y="1608"/>
                  </a:lnTo>
                  <a:lnTo>
                    <a:pt x="1278" y="1608"/>
                  </a:lnTo>
                  <a:lnTo>
                    <a:pt x="1284" y="1608"/>
                  </a:lnTo>
                  <a:lnTo>
                    <a:pt x="1290" y="1614"/>
                  </a:lnTo>
                  <a:lnTo>
                    <a:pt x="1296" y="1620"/>
                  </a:lnTo>
                  <a:lnTo>
                    <a:pt x="1302" y="1626"/>
                  </a:lnTo>
                  <a:lnTo>
                    <a:pt x="1308" y="1632"/>
                  </a:lnTo>
                  <a:lnTo>
                    <a:pt x="1314" y="1638"/>
                  </a:lnTo>
                  <a:lnTo>
                    <a:pt x="1314" y="1644"/>
                  </a:lnTo>
                  <a:lnTo>
                    <a:pt x="1320" y="1644"/>
                  </a:lnTo>
                  <a:lnTo>
                    <a:pt x="1320" y="1650"/>
                  </a:lnTo>
                  <a:lnTo>
                    <a:pt x="1326" y="1656"/>
                  </a:lnTo>
                  <a:lnTo>
                    <a:pt x="1332" y="1668"/>
                  </a:lnTo>
                  <a:lnTo>
                    <a:pt x="1338" y="1680"/>
                  </a:lnTo>
                  <a:lnTo>
                    <a:pt x="1338" y="1698"/>
                  </a:lnTo>
                  <a:lnTo>
                    <a:pt x="1350" y="1710"/>
                  </a:lnTo>
                  <a:lnTo>
                    <a:pt x="1350" y="1716"/>
                  </a:lnTo>
                  <a:lnTo>
                    <a:pt x="1350" y="1722"/>
                  </a:lnTo>
                  <a:lnTo>
                    <a:pt x="1350" y="1728"/>
                  </a:lnTo>
                  <a:lnTo>
                    <a:pt x="1356" y="1728"/>
                  </a:lnTo>
                  <a:lnTo>
                    <a:pt x="1356" y="1734"/>
                  </a:lnTo>
                  <a:lnTo>
                    <a:pt x="1350" y="1734"/>
                  </a:lnTo>
                  <a:lnTo>
                    <a:pt x="1344" y="1740"/>
                  </a:lnTo>
                  <a:lnTo>
                    <a:pt x="1338" y="1740"/>
                  </a:lnTo>
                  <a:lnTo>
                    <a:pt x="1332" y="1746"/>
                  </a:lnTo>
                  <a:lnTo>
                    <a:pt x="1326" y="1746"/>
                  </a:lnTo>
                  <a:lnTo>
                    <a:pt x="1326" y="1752"/>
                  </a:lnTo>
                  <a:lnTo>
                    <a:pt x="1320" y="1752"/>
                  </a:lnTo>
                  <a:lnTo>
                    <a:pt x="1320" y="1758"/>
                  </a:lnTo>
                  <a:lnTo>
                    <a:pt x="1314" y="1758"/>
                  </a:lnTo>
                  <a:lnTo>
                    <a:pt x="1308" y="1758"/>
                  </a:lnTo>
                  <a:lnTo>
                    <a:pt x="1302" y="1758"/>
                  </a:lnTo>
                  <a:lnTo>
                    <a:pt x="1296" y="1758"/>
                  </a:lnTo>
                  <a:lnTo>
                    <a:pt x="1290" y="1764"/>
                  </a:lnTo>
                  <a:lnTo>
                    <a:pt x="1284" y="1770"/>
                  </a:lnTo>
                  <a:lnTo>
                    <a:pt x="1278" y="1770"/>
                  </a:lnTo>
                  <a:lnTo>
                    <a:pt x="1272" y="1770"/>
                  </a:lnTo>
                  <a:lnTo>
                    <a:pt x="1266" y="1770"/>
                  </a:lnTo>
                  <a:lnTo>
                    <a:pt x="1266" y="1776"/>
                  </a:lnTo>
                  <a:lnTo>
                    <a:pt x="1260" y="1776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4" name="Freeform 39">
              <a:extLst>
                <a:ext uri="{FF2B5EF4-FFF2-40B4-BE49-F238E27FC236}">
                  <a16:creationId xmlns:a16="http://schemas.microsoft.com/office/drawing/2014/main" id="{E01CDA8B-32C7-421A-B23E-968CAC7F78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2974" y="1759680"/>
              <a:ext cx="825155" cy="700024"/>
            </a:xfrm>
            <a:custGeom>
              <a:avLst/>
              <a:gdLst>
                <a:gd name="T0" fmla="*/ 60 w 1554"/>
                <a:gd name="T1" fmla="*/ 86 h 1320"/>
                <a:gd name="T2" fmla="*/ 66 w 1554"/>
                <a:gd name="T3" fmla="*/ 80 h 1320"/>
                <a:gd name="T4" fmla="*/ 61 w 1554"/>
                <a:gd name="T5" fmla="*/ 73 h 1320"/>
                <a:gd name="T6" fmla="*/ 57 w 1554"/>
                <a:gd name="T7" fmla="*/ 67 h 1320"/>
                <a:gd name="T8" fmla="*/ 60 w 1554"/>
                <a:gd name="T9" fmla="*/ 59 h 1320"/>
                <a:gd name="T10" fmla="*/ 56 w 1554"/>
                <a:gd name="T11" fmla="*/ 55 h 1320"/>
                <a:gd name="T12" fmla="*/ 45 w 1554"/>
                <a:gd name="T13" fmla="*/ 53 h 1320"/>
                <a:gd name="T14" fmla="*/ 42 w 1554"/>
                <a:gd name="T15" fmla="*/ 41 h 1320"/>
                <a:gd name="T16" fmla="*/ 37 w 1554"/>
                <a:gd name="T17" fmla="*/ 39 h 1320"/>
                <a:gd name="T18" fmla="*/ 31 w 1554"/>
                <a:gd name="T19" fmla="*/ 44 h 1320"/>
                <a:gd name="T20" fmla="*/ 37 w 1554"/>
                <a:gd name="T21" fmla="*/ 35 h 1320"/>
                <a:gd name="T22" fmla="*/ 30 w 1554"/>
                <a:gd name="T23" fmla="*/ 23 h 1320"/>
                <a:gd name="T24" fmla="*/ 21 w 1554"/>
                <a:gd name="T25" fmla="*/ 23 h 1320"/>
                <a:gd name="T26" fmla="*/ 15 w 1554"/>
                <a:gd name="T27" fmla="*/ 27 h 1320"/>
                <a:gd name="T28" fmla="*/ 11 w 1554"/>
                <a:gd name="T29" fmla="*/ 32 h 1320"/>
                <a:gd name="T30" fmla="*/ 6 w 1554"/>
                <a:gd name="T31" fmla="*/ 22 h 1320"/>
                <a:gd name="T32" fmla="*/ 3 w 1554"/>
                <a:gd name="T33" fmla="*/ 11 h 1320"/>
                <a:gd name="T34" fmla="*/ 24 w 1554"/>
                <a:gd name="T35" fmla="*/ 12 h 1320"/>
                <a:gd name="T36" fmla="*/ 33 w 1554"/>
                <a:gd name="T37" fmla="*/ 19 h 1320"/>
                <a:gd name="T38" fmla="*/ 49 w 1554"/>
                <a:gd name="T39" fmla="*/ 12 h 1320"/>
                <a:gd name="T40" fmla="*/ 58 w 1554"/>
                <a:gd name="T41" fmla="*/ 10 h 1320"/>
                <a:gd name="T42" fmla="*/ 68 w 1554"/>
                <a:gd name="T43" fmla="*/ 11 h 1320"/>
                <a:gd name="T44" fmla="*/ 79 w 1554"/>
                <a:gd name="T45" fmla="*/ 12 h 1320"/>
                <a:gd name="T46" fmla="*/ 96 w 1554"/>
                <a:gd name="T47" fmla="*/ 11 h 1320"/>
                <a:gd name="T48" fmla="*/ 107 w 1554"/>
                <a:gd name="T49" fmla="*/ 2 h 1320"/>
                <a:gd name="T50" fmla="*/ 117 w 1554"/>
                <a:gd name="T51" fmla="*/ 8 h 1320"/>
                <a:gd name="T52" fmla="*/ 126 w 1554"/>
                <a:gd name="T53" fmla="*/ 12 h 1320"/>
                <a:gd name="T54" fmla="*/ 134 w 1554"/>
                <a:gd name="T55" fmla="*/ 24 h 1320"/>
                <a:gd name="T56" fmla="*/ 133 w 1554"/>
                <a:gd name="T57" fmla="*/ 29 h 1320"/>
                <a:gd name="T58" fmla="*/ 129 w 1554"/>
                <a:gd name="T59" fmla="*/ 31 h 1320"/>
                <a:gd name="T60" fmla="*/ 125 w 1554"/>
                <a:gd name="T61" fmla="*/ 32 h 1320"/>
                <a:gd name="T62" fmla="*/ 115 w 1554"/>
                <a:gd name="T63" fmla="*/ 34 h 1320"/>
                <a:gd name="T64" fmla="*/ 113 w 1554"/>
                <a:gd name="T65" fmla="*/ 44 h 1320"/>
                <a:gd name="T66" fmla="*/ 111 w 1554"/>
                <a:gd name="T67" fmla="*/ 54 h 1320"/>
                <a:gd name="T68" fmla="*/ 107 w 1554"/>
                <a:gd name="T69" fmla="*/ 56 h 1320"/>
                <a:gd name="T70" fmla="*/ 102 w 1554"/>
                <a:gd name="T71" fmla="*/ 58 h 1320"/>
                <a:gd name="T72" fmla="*/ 99 w 1554"/>
                <a:gd name="T73" fmla="*/ 60 h 1320"/>
                <a:gd name="T74" fmla="*/ 93 w 1554"/>
                <a:gd name="T75" fmla="*/ 62 h 1320"/>
                <a:gd name="T76" fmla="*/ 87 w 1554"/>
                <a:gd name="T77" fmla="*/ 64 h 1320"/>
                <a:gd name="T78" fmla="*/ 84 w 1554"/>
                <a:gd name="T79" fmla="*/ 65 h 1320"/>
                <a:gd name="T80" fmla="*/ 81 w 1554"/>
                <a:gd name="T81" fmla="*/ 69 h 1320"/>
                <a:gd name="T82" fmla="*/ 83 w 1554"/>
                <a:gd name="T83" fmla="*/ 72 h 1320"/>
                <a:gd name="T84" fmla="*/ 92 w 1554"/>
                <a:gd name="T85" fmla="*/ 73 h 1320"/>
                <a:gd name="T86" fmla="*/ 93 w 1554"/>
                <a:gd name="T87" fmla="*/ 87 h 1320"/>
                <a:gd name="T88" fmla="*/ 104 w 1554"/>
                <a:gd name="T89" fmla="*/ 98 h 1320"/>
                <a:gd name="T90" fmla="*/ 108 w 1554"/>
                <a:gd name="T91" fmla="*/ 98 h 1320"/>
                <a:gd name="T92" fmla="*/ 112 w 1554"/>
                <a:gd name="T93" fmla="*/ 100 h 1320"/>
                <a:gd name="T94" fmla="*/ 118 w 1554"/>
                <a:gd name="T95" fmla="*/ 100 h 1320"/>
                <a:gd name="T96" fmla="*/ 122 w 1554"/>
                <a:gd name="T97" fmla="*/ 102 h 1320"/>
                <a:gd name="T98" fmla="*/ 118 w 1554"/>
                <a:gd name="T99" fmla="*/ 105 h 1320"/>
                <a:gd name="T100" fmla="*/ 114 w 1554"/>
                <a:gd name="T101" fmla="*/ 107 h 1320"/>
                <a:gd name="T102" fmla="*/ 113 w 1554"/>
                <a:gd name="T103" fmla="*/ 113 h 1320"/>
                <a:gd name="T104" fmla="*/ 104 w 1554"/>
                <a:gd name="T105" fmla="*/ 113 h 1320"/>
                <a:gd name="T106" fmla="*/ 93 w 1554"/>
                <a:gd name="T107" fmla="*/ 109 h 1320"/>
                <a:gd name="T108" fmla="*/ 96 w 1554"/>
                <a:gd name="T109" fmla="*/ 103 h 1320"/>
                <a:gd name="T110" fmla="*/ 95 w 1554"/>
                <a:gd name="T111" fmla="*/ 97 h 1320"/>
                <a:gd name="T112" fmla="*/ 87 w 1554"/>
                <a:gd name="T113" fmla="*/ 98 h 1320"/>
                <a:gd name="T114" fmla="*/ 81 w 1554"/>
                <a:gd name="T115" fmla="*/ 98 h 1320"/>
                <a:gd name="T116" fmla="*/ 78 w 1554"/>
                <a:gd name="T117" fmla="*/ 93 h 1320"/>
                <a:gd name="T118" fmla="*/ 65 w 1554"/>
                <a:gd name="T119" fmla="*/ 92 h 1320"/>
                <a:gd name="T120" fmla="*/ 59 w 1554"/>
                <a:gd name="T121" fmla="*/ 92 h 13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54"/>
                <a:gd name="T184" fmla="*/ 0 h 1320"/>
                <a:gd name="T185" fmla="*/ 1554 w 1554"/>
                <a:gd name="T186" fmla="*/ 1320 h 132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54" h="1320">
                  <a:moveTo>
                    <a:pt x="684" y="1068"/>
                  </a:moveTo>
                  <a:lnTo>
                    <a:pt x="684" y="1062"/>
                  </a:lnTo>
                  <a:lnTo>
                    <a:pt x="690" y="1056"/>
                  </a:lnTo>
                  <a:lnTo>
                    <a:pt x="690" y="1050"/>
                  </a:lnTo>
                  <a:lnTo>
                    <a:pt x="690" y="1044"/>
                  </a:lnTo>
                  <a:lnTo>
                    <a:pt x="690" y="1038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14"/>
                  </a:lnTo>
                  <a:lnTo>
                    <a:pt x="690" y="1008"/>
                  </a:lnTo>
                  <a:lnTo>
                    <a:pt x="696" y="996"/>
                  </a:lnTo>
                  <a:lnTo>
                    <a:pt x="714" y="996"/>
                  </a:lnTo>
                  <a:lnTo>
                    <a:pt x="714" y="990"/>
                  </a:lnTo>
                  <a:lnTo>
                    <a:pt x="732" y="984"/>
                  </a:lnTo>
                  <a:lnTo>
                    <a:pt x="744" y="978"/>
                  </a:lnTo>
                  <a:lnTo>
                    <a:pt x="762" y="966"/>
                  </a:lnTo>
                  <a:lnTo>
                    <a:pt x="762" y="960"/>
                  </a:lnTo>
                  <a:lnTo>
                    <a:pt x="768" y="954"/>
                  </a:lnTo>
                  <a:lnTo>
                    <a:pt x="774" y="948"/>
                  </a:lnTo>
                  <a:lnTo>
                    <a:pt x="774" y="942"/>
                  </a:lnTo>
                  <a:lnTo>
                    <a:pt x="774" y="924"/>
                  </a:lnTo>
                  <a:lnTo>
                    <a:pt x="768" y="918"/>
                  </a:lnTo>
                  <a:lnTo>
                    <a:pt x="756" y="918"/>
                  </a:lnTo>
                  <a:lnTo>
                    <a:pt x="744" y="918"/>
                  </a:lnTo>
                  <a:lnTo>
                    <a:pt x="732" y="924"/>
                  </a:lnTo>
                  <a:lnTo>
                    <a:pt x="726" y="912"/>
                  </a:lnTo>
                  <a:lnTo>
                    <a:pt x="720" y="912"/>
                  </a:lnTo>
                  <a:lnTo>
                    <a:pt x="720" y="900"/>
                  </a:lnTo>
                  <a:lnTo>
                    <a:pt x="720" y="870"/>
                  </a:lnTo>
                  <a:lnTo>
                    <a:pt x="696" y="876"/>
                  </a:lnTo>
                  <a:lnTo>
                    <a:pt x="690" y="852"/>
                  </a:lnTo>
                  <a:lnTo>
                    <a:pt x="702" y="852"/>
                  </a:lnTo>
                  <a:lnTo>
                    <a:pt x="702" y="840"/>
                  </a:lnTo>
                  <a:lnTo>
                    <a:pt x="708" y="834"/>
                  </a:lnTo>
                  <a:lnTo>
                    <a:pt x="702" y="822"/>
                  </a:lnTo>
                  <a:lnTo>
                    <a:pt x="660" y="822"/>
                  </a:lnTo>
                  <a:lnTo>
                    <a:pt x="654" y="822"/>
                  </a:lnTo>
                  <a:lnTo>
                    <a:pt x="642" y="822"/>
                  </a:lnTo>
                  <a:lnTo>
                    <a:pt x="642" y="810"/>
                  </a:lnTo>
                  <a:lnTo>
                    <a:pt x="642" y="798"/>
                  </a:lnTo>
                  <a:lnTo>
                    <a:pt x="642" y="792"/>
                  </a:lnTo>
                  <a:lnTo>
                    <a:pt x="648" y="780"/>
                  </a:lnTo>
                  <a:lnTo>
                    <a:pt x="654" y="774"/>
                  </a:lnTo>
                  <a:lnTo>
                    <a:pt x="660" y="774"/>
                  </a:lnTo>
                  <a:lnTo>
                    <a:pt x="672" y="762"/>
                  </a:lnTo>
                  <a:lnTo>
                    <a:pt x="672" y="756"/>
                  </a:lnTo>
                  <a:lnTo>
                    <a:pt x="678" y="750"/>
                  </a:lnTo>
                  <a:lnTo>
                    <a:pt x="684" y="750"/>
                  </a:lnTo>
                  <a:lnTo>
                    <a:pt x="690" y="744"/>
                  </a:lnTo>
                  <a:lnTo>
                    <a:pt x="696" y="732"/>
                  </a:lnTo>
                  <a:lnTo>
                    <a:pt x="696" y="726"/>
                  </a:lnTo>
                  <a:lnTo>
                    <a:pt x="702" y="714"/>
                  </a:lnTo>
                  <a:lnTo>
                    <a:pt x="696" y="708"/>
                  </a:lnTo>
                  <a:lnTo>
                    <a:pt x="690" y="690"/>
                  </a:lnTo>
                  <a:lnTo>
                    <a:pt x="696" y="678"/>
                  </a:lnTo>
                  <a:lnTo>
                    <a:pt x="708" y="672"/>
                  </a:lnTo>
                  <a:lnTo>
                    <a:pt x="708" y="660"/>
                  </a:lnTo>
                  <a:lnTo>
                    <a:pt x="702" y="660"/>
                  </a:lnTo>
                  <a:lnTo>
                    <a:pt x="696" y="660"/>
                  </a:lnTo>
                  <a:lnTo>
                    <a:pt x="690" y="654"/>
                  </a:lnTo>
                  <a:lnTo>
                    <a:pt x="684" y="654"/>
                  </a:lnTo>
                  <a:lnTo>
                    <a:pt x="690" y="606"/>
                  </a:lnTo>
                  <a:lnTo>
                    <a:pt x="660" y="606"/>
                  </a:lnTo>
                  <a:lnTo>
                    <a:pt x="660" y="612"/>
                  </a:lnTo>
                  <a:lnTo>
                    <a:pt x="648" y="612"/>
                  </a:lnTo>
                  <a:lnTo>
                    <a:pt x="642" y="636"/>
                  </a:lnTo>
                  <a:lnTo>
                    <a:pt x="636" y="636"/>
                  </a:lnTo>
                  <a:lnTo>
                    <a:pt x="630" y="648"/>
                  </a:lnTo>
                  <a:lnTo>
                    <a:pt x="612" y="648"/>
                  </a:lnTo>
                  <a:lnTo>
                    <a:pt x="606" y="636"/>
                  </a:lnTo>
                  <a:lnTo>
                    <a:pt x="600" y="630"/>
                  </a:lnTo>
                  <a:lnTo>
                    <a:pt x="588" y="606"/>
                  </a:lnTo>
                  <a:lnTo>
                    <a:pt x="552" y="606"/>
                  </a:lnTo>
                  <a:lnTo>
                    <a:pt x="552" y="612"/>
                  </a:lnTo>
                  <a:lnTo>
                    <a:pt x="540" y="612"/>
                  </a:lnTo>
                  <a:lnTo>
                    <a:pt x="540" y="606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16" y="612"/>
                  </a:lnTo>
                  <a:lnTo>
                    <a:pt x="516" y="582"/>
                  </a:lnTo>
                  <a:lnTo>
                    <a:pt x="522" y="576"/>
                  </a:lnTo>
                  <a:lnTo>
                    <a:pt x="528" y="576"/>
                  </a:lnTo>
                  <a:lnTo>
                    <a:pt x="528" y="552"/>
                  </a:lnTo>
                  <a:lnTo>
                    <a:pt x="522" y="540"/>
                  </a:lnTo>
                  <a:lnTo>
                    <a:pt x="510" y="528"/>
                  </a:lnTo>
                  <a:lnTo>
                    <a:pt x="486" y="510"/>
                  </a:lnTo>
                  <a:lnTo>
                    <a:pt x="480" y="498"/>
                  </a:lnTo>
                  <a:lnTo>
                    <a:pt x="480" y="474"/>
                  </a:lnTo>
                  <a:lnTo>
                    <a:pt x="492" y="468"/>
                  </a:lnTo>
                  <a:lnTo>
                    <a:pt x="486" y="450"/>
                  </a:lnTo>
                  <a:lnTo>
                    <a:pt x="474" y="456"/>
                  </a:lnTo>
                  <a:lnTo>
                    <a:pt x="468" y="456"/>
                  </a:lnTo>
                  <a:lnTo>
                    <a:pt x="462" y="456"/>
                  </a:lnTo>
                  <a:lnTo>
                    <a:pt x="456" y="468"/>
                  </a:lnTo>
                  <a:lnTo>
                    <a:pt x="456" y="474"/>
                  </a:lnTo>
                  <a:lnTo>
                    <a:pt x="450" y="480"/>
                  </a:lnTo>
                  <a:lnTo>
                    <a:pt x="444" y="450"/>
                  </a:lnTo>
                  <a:lnTo>
                    <a:pt x="438" y="450"/>
                  </a:lnTo>
                  <a:lnTo>
                    <a:pt x="432" y="450"/>
                  </a:lnTo>
                  <a:lnTo>
                    <a:pt x="420" y="450"/>
                  </a:lnTo>
                  <a:lnTo>
                    <a:pt x="420" y="456"/>
                  </a:lnTo>
                  <a:lnTo>
                    <a:pt x="414" y="456"/>
                  </a:lnTo>
                  <a:lnTo>
                    <a:pt x="408" y="468"/>
                  </a:lnTo>
                  <a:lnTo>
                    <a:pt x="402" y="468"/>
                  </a:lnTo>
                  <a:lnTo>
                    <a:pt x="396" y="474"/>
                  </a:lnTo>
                  <a:lnTo>
                    <a:pt x="390" y="492"/>
                  </a:lnTo>
                  <a:lnTo>
                    <a:pt x="384" y="504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54" y="510"/>
                  </a:lnTo>
                  <a:lnTo>
                    <a:pt x="360" y="480"/>
                  </a:lnTo>
                  <a:lnTo>
                    <a:pt x="360" y="474"/>
                  </a:lnTo>
                  <a:lnTo>
                    <a:pt x="378" y="456"/>
                  </a:lnTo>
                  <a:lnTo>
                    <a:pt x="384" y="450"/>
                  </a:lnTo>
                  <a:lnTo>
                    <a:pt x="396" y="444"/>
                  </a:lnTo>
                  <a:lnTo>
                    <a:pt x="402" y="438"/>
                  </a:lnTo>
                  <a:lnTo>
                    <a:pt x="408" y="438"/>
                  </a:lnTo>
                  <a:lnTo>
                    <a:pt x="408" y="426"/>
                  </a:lnTo>
                  <a:lnTo>
                    <a:pt x="414" y="420"/>
                  </a:lnTo>
                  <a:lnTo>
                    <a:pt x="426" y="420"/>
                  </a:lnTo>
                  <a:lnTo>
                    <a:pt x="426" y="408"/>
                  </a:lnTo>
                  <a:lnTo>
                    <a:pt x="420" y="390"/>
                  </a:lnTo>
                  <a:lnTo>
                    <a:pt x="408" y="384"/>
                  </a:lnTo>
                  <a:lnTo>
                    <a:pt x="378" y="378"/>
                  </a:lnTo>
                  <a:lnTo>
                    <a:pt x="354" y="366"/>
                  </a:lnTo>
                  <a:lnTo>
                    <a:pt x="342" y="360"/>
                  </a:lnTo>
                  <a:lnTo>
                    <a:pt x="342" y="348"/>
                  </a:lnTo>
                  <a:lnTo>
                    <a:pt x="336" y="330"/>
                  </a:lnTo>
                  <a:lnTo>
                    <a:pt x="348" y="306"/>
                  </a:lnTo>
                  <a:lnTo>
                    <a:pt x="360" y="294"/>
                  </a:lnTo>
                  <a:lnTo>
                    <a:pt x="360" y="282"/>
                  </a:lnTo>
                  <a:lnTo>
                    <a:pt x="342" y="270"/>
                  </a:lnTo>
                  <a:lnTo>
                    <a:pt x="342" y="264"/>
                  </a:lnTo>
                  <a:lnTo>
                    <a:pt x="330" y="264"/>
                  </a:lnTo>
                  <a:lnTo>
                    <a:pt x="312" y="270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88" y="270"/>
                  </a:lnTo>
                  <a:lnTo>
                    <a:pt x="282" y="270"/>
                  </a:lnTo>
                  <a:lnTo>
                    <a:pt x="276" y="264"/>
                  </a:lnTo>
                  <a:lnTo>
                    <a:pt x="270" y="264"/>
                  </a:lnTo>
                  <a:lnTo>
                    <a:pt x="252" y="270"/>
                  </a:lnTo>
                  <a:lnTo>
                    <a:pt x="246" y="270"/>
                  </a:lnTo>
                  <a:lnTo>
                    <a:pt x="240" y="270"/>
                  </a:lnTo>
                  <a:lnTo>
                    <a:pt x="228" y="270"/>
                  </a:lnTo>
                  <a:lnTo>
                    <a:pt x="216" y="276"/>
                  </a:lnTo>
                  <a:lnTo>
                    <a:pt x="210" y="270"/>
                  </a:lnTo>
                  <a:lnTo>
                    <a:pt x="204" y="270"/>
                  </a:lnTo>
                  <a:lnTo>
                    <a:pt x="198" y="276"/>
                  </a:lnTo>
                  <a:lnTo>
                    <a:pt x="192" y="276"/>
                  </a:lnTo>
                  <a:lnTo>
                    <a:pt x="186" y="282"/>
                  </a:lnTo>
                  <a:lnTo>
                    <a:pt x="180" y="288"/>
                  </a:lnTo>
                  <a:lnTo>
                    <a:pt x="174" y="300"/>
                  </a:lnTo>
                  <a:lnTo>
                    <a:pt x="168" y="306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8" y="330"/>
                  </a:lnTo>
                  <a:lnTo>
                    <a:pt x="162" y="336"/>
                  </a:lnTo>
                  <a:lnTo>
                    <a:pt x="156" y="342"/>
                  </a:lnTo>
                  <a:lnTo>
                    <a:pt x="156" y="348"/>
                  </a:lnTo>
                  <a:lnTo>
                    <a:pt x="156" y="354"/>
                  </a:lnTo>
                  <a:lnTo>
                    <a:pt x="150" y="366"/>
                  </a:lnTo>
                  <a:lnTo>
                    <a:pt x="150" y="372"/>
                  </a:lnTo>
                  <a:lnTo>
                    <a:pt x="144" y="366"/>
                  </a:lnTo>
                  <a:lnTo>
                    <a:pt x="132" y="366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20" y="348"/>
                  </a:lnTo>
                  <a:lnTo>
                    <a:pt x="102" y="330"/>
                  </a:lnTo>
                  <a:lnTo>
                    <a:pt x="96" y="318"/>
                  </a:lnTo>
                  <a:lnTo>
                    <a:pt x="96" y="282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0" y="258"/>
                  </a:lnTo>
                  <a:lnTo>
                    <a:pt x="84" y="252"/>
                  </a:lnTo>
                  <a:lnTo>
                    <a:pt x="66" y="258"/>
                  </a:lnTo>
                  <a:lnTo>
                    <a:pt x="60" y="246"/>
                  </a:lnTo>
                  <a:lnTo>
                    <a:pt x="30" y="252"/>
                  </a:lnTo>
                  <a:lnTo>
                    <a:pt x="18" y="246"/>
                  </a:lnTo>
                  <a:lnTo>
                    <a:pt x="0" y="240"/>
                  </a:lnTo>
                  <a:lnTo>
                    <a:pt x="0" y="234"/>
                  </a:lnTo>
                  <a:lnTo>
                    <a:pt x="0" y="210"/>
                  </a:lnTo>
                  <a:lnTo>
                    <a:pt x="6" y="204"/>
                  </a:lnTo>
                  <a:lnTo>
                    <a:pt x="18" y="192"/>
                  </a:lnTo>
                  <a:lnTo>
                    <a:pt x="18" y="144"/>
                  </a:lnTo>
                  <a:lnTo>
                    <a:pt x="24" y="126"/>
                  </a:lnTo>
                  <a:lnTo>
                    <a:pt x="36" y="126"/>
                  </a:lnTo>
                  <a:lnTo>
                    <a:pt x="54" y="120"/>
                  </a:lnTo>
                  <a:lnTo>
                    <a:pt x="54" y="126"/>
                  </a:lnTo>
                  <a:lnTo>
                    <a:pt x="132" y="114"/>
                  </a:lnTo>
                  <a:lnTo>
                    <a:pt x="144" y="120"/>
                  </a:lnTo>
                  <a:lnTo>
                    <a:pt x="150" y="132"/>
                  </a:lnTo>
                  <a:lnTo>
                    <a:pt x="180" y="126"/>
                  </a:lnTo>
                  <a:lnTo>
                    <a:pt x="210" y="120"/>
                  </a:lnTo>
                  <a:lnTo>
                    <a:pt x="240" y="120"/>
                  </a:lnTo>
                  <a:lnTo>
                    <a:pt x="258" y="120"/>
                  </a:lnTo>
                  <a:lnTo>
                    <a:pt x="270" y="126"/>
                  </a:lnTo>
                  <a:lnTo>
                    <a:pt x="276" y="132"/>
                  </a:lnTo>
                  <a:lnTo>
                    <a:pt x="282" y="138"/>
                  </a:lnTo>
                  <a:lnTo>
                    <a:pt x="282" y="156"/>
                  </a:lnTo>
                  <a:lnTo>
                    <a:pt x="288" y="186"/>
                  </a:lnTo>
                  <a:lnTo>
                    <a:pt x="312" y="192"/>
                  </a:lnTo>
                  <a:lnTo>
                    <a:pt x="318" y="198"/>
                  </a:lnTo>
                  <a:lnTo>
                    <a:pt x="324" y="204"/>
                  </a:lnTo>
                  <a:lnTo>
                    <a:pt x="330" y="210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66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86" y="210"/>
                  </a:lnTo>
                  <a:lnTo>
                    <a:pt x="498" y="198"/>
                  </a:lnTo>
                  <a:lnTo>
                    <a:pt x="504" y="174"/>
                  </a:lnTo>
                  <a:lnTo>
                    <a:pt x="516" y="162"/>
                  </a:lnTo>
                  <a:lnTo>
                    <a:pt x="516" y="138"/>
                  </a:lnTo>
                  <a:lnTo>
                    <a:pt x="522" y="132"/>
                  </a:lnTo>
                  <a:lnTo>
                    <a:pt x="564" y="132"/>
                  </a:lnTo>
                  <a:lnTo>
                    <a:pt x="564" y="114"/>
                  </a:lnTo>
                  <a:lnTo>
                    <a:pt x="582" y="114"/>
                  </a:lnTo>
                  <a:lnTo>
                    <a:pt x="594" y="114"/>
                  </a:lnTo>
                  <a:lnTo>
                    <a:pt x="606" y="114"/>
                  </a:lnTo>
                  <a:lnTo>
                    <a:pt x="612" y="114"/>
                  </a:lnTo>
                  <a:lnTo>
                    <a:pt x="630" y="114"/>
                  </a:lnTo>
                  <a:lnTo>
                    <a:pt x="636" y="114"/>
                  </a:lnTo>
                  <a:lnTo>
                    <a:pt x="648" y="114"/>
                  </a:lnTo>
                  <a:lnTo>
                    <a:pt x="654" y="114"/>
                  </a:lnTo>
                  <a:lnTo>
                    <a:pt x="660" y="120"/>
                  </a:lnTo>
                  <a:lnTo>
                    <a:pt x="672" y="120"/>
                  </a:lnTo>
                  <a:lnTo>
                    <a:pt x="684" y="120"/>
                  </a:lnTo>
                  <a:lnTo>
                    <a:pt x="690" y="120"/>
                  </a:lnTo>
                  <a:lnTo>
                    <a:pt x="702" y="120"/>
                  </a:lnTo>
                  <a:lnTo>
                    <a:pt x="708" y="120"/>
                  </a:lnTo>
                  <a:lnTo>
                    <a:pt x="726" y="126"/>
                  </a:lnTo>
                  <a:lnTo>
                    <a:pt x="732" y="126"/>
                  </a:lnTo>
                  <a:lnTo>
                    <a:pt x="738" y="126"/>
                  </a:lnTo>
                  <a:lnTo>
                    <a:pt x="750" y="126"/>
                  </a:lnTo>
                  <a:lnTo>
                    <a:pt x="756" y="126"/>
                  </a:lnTo>
                  <a:lnTo>
                    <a:pt x="768" y="126"/>
                  </a:lnTo>
                  <a:lnTo>
                    <a:pt x="780" y="126"/>
                  </a:lnTo>
                  <a:lnTo>
                    <a:pt x="786" y="120"/>
                  </a:lnTo>
                  <a:lnTo>
                    <a:pt x="792" y="120"/>
                  </a:lnTo>
                  <a:lnTo>
                    <a:pt x="810" y="120"/>
                  </a:lnTo>
                  <a:lnTo>
                    <a:pt x="822" y="120"/>
                  </a:lnTo>
                  <a:lnTo>
                    <a:pt x="846" y="126"/>
                  </a:lnTo>
                  <a:lnTo>
                    <a:pt x="858" y="126"/>
                  </a:lnTo>
                  <a:lnTo>
                    <a:pt x="870" y="132"/>
                  </a:lnTo>
                  <a:lnTo>
                    <a:pt x="882" y="132"/>
                  </a:lnTo>
                  <a:lnTo>
                    <a:pt x="894" y="132"/>
                  </a:lnTo>
                  <a:lnTo>
                    <a:pt x="900" y="132"/>
                  </a:lnTo>
                  <a:lnTo>
                    <a:pt x="912" y="132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36" y="132"/>
                  </a:lnTo>
                  <a:lnTo>
                    <a:pt x="960" y="132"/>
                  </a:lnTo>
                  <a:lnTo>
                    <a:pt x="966" y="144"/>
                  </a:lnTo>
                  <a:lnTo>
                    <a:pt x="972" y="144"/>
                  </a:lnTo>
                  <a:lnTo>
                    <a:pt x="1002" y="144"/>
                  </a:lnTo>
                  <a:lnTo>
                    <a:pt x="1020" y="144"/>
                  </a:lnTo>
                  <a:lnTo>
                    <a:pt x="1068" y="138"/>
                  </a:lnTo>
                  <a:lnTo>
                    <a:pt x="1110" y="132"/>
                  </a:lnTo>
                  <a:lnTo>
                    <a:pt x="1110" y="126"/>
                  </a:lnTo>
                  <a:lnTo>
                    <a:pt x="1116" y="120"/>
                  </a:lnTo>
                  <a:lnTo>
                    <a:pt x="1122" y="108"/>
                  </a:lnTo>
                  <a:lnTo>
                    <a:pt x="1134" y="96"/>
                  </a:lnTo>
                  <a:lnTo>
                    <a:pt x="1146" y="60"/>
                  </a:lnTo>
                  <a:lnTo>
                    <a:pt x="1158" y="54"/>
                  </a:lnTo>
                  <a:lnTo>
                    <a:pt x="1170" y="48"/>
                  </a:lnTo>
                  <a:lnTo>
                    <a:pt x="1188" y="42"/>
                  </a:lnTo>
                  <a:lnTo>
                    <a:pt x="1200" y="36"/>
                  </a:lnTo>
                  <a:lnTo>
                    <a:pt x="1212" y="36"/>
                  </a:lnTo>
                  <a:lnTo>
                    <a:pt x="1236" y="30"/>
                  </a:lnTo>
                  <a:lnTo>
                    <a:pt x="1236" y="24"/>
                  </a:lnTo>
                  <a:lnTo>
                    <a:pt x="1278" y="18"/>
                  </a:lnTo>
                  <a:lnTo>
                    <a:pt x="1290" y="18"/>
                  </a:lnTo>
                  <a:lnTo>
                    <a:pt x="1302" y="12"/>
                  </a:lnTo>
                  <a:lnTo>
                    <a:pt x="1314" y="0"/>
                  </a:lnTo>
                  <a:lnTo>
                    <a:pt x="1332" y="0"/>
                  </a:lnTo>
                  <a:lnTo>
                    <a:pt x="1338" y="24"/>
                  </a:lnTo>
                  <a:lnTo>
                    <a:pt x="1344" y="30"/>
                  </a:lnTo>
                  <a:lnTo>
                    <a:pt x="1350" y="42"/>
                  </a:lnTo>
                  <a:lnTo>
                    <a:pt x="1356" y="48"/>
                  </a:lnTo>
                  <a:lnTo>
                    <a:pt x="1356" y="78"/>
                  </a:lnTo>
                  <a:lnTo>
                    <a:pt x="1350" y="96"/>
                  </a:lnTo>
                  <a:lnTo>
                    <a:pt x="1338" y="108"/>
                  </a:lnTo>
                  <a:lnTo>
                    <a:pt x="1338" y="114"/>
                  </a:lnTo>
                  <a:lnTo>
                    <a:pt x="1338" y="120"/>
                  </a:lnTo>
                  <a:lnTo>
                    <a:pt x="1338" y="126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398" y="114"/>
                  </a:lnTo>
                  <a:lnTo>
                    <a:pt x="1416" y="120"/>
                  </a:lnTo>
                  <a:lnTo>
                    <a:pt x="1434" y="126"/>
                  </a:lnTo>
                  <a:lnTo>
                    <a:pt x="1458" y="132"/>
                  </a:lnTo>
                  <a:lnTo>
                    <a:pt x="1458" y="138"/>
                  </a:lnTo>
                  <a:lnTo>
                    <a:pt x="1512" y="138"/>
                  </a:lnTo>
                  <a:lnTo>
                    <a:pt x="1512" y="132"/>
                  </a:lnTo>
                  <a:lnTo>
                    <a:pt x="1524" y="138"/>
                  </a:lnTo>
                  <a:lnTo>
                    <a:pt x="1542" y="138"/>
                  </a:lnTo>
                  <a:lnTo>
                    <a:pt x="1542" y="150"/>
                  </a:lnTo>
                  <a:lnTo>
                    <a:pt x="1542" y="162"/>
                  </a:lnTo>
                  <a:lnTo>
                    <a:pt x="1548" y="174"/>
                  </a:lnTo>
                  <a:lnTo>
                    <a:pt x="1548" y="180"/>
                  </a:lnTo>
                  <a:lnTo>
                    <a:pt x="1554" y="222"/>
                  </a:lnTo>
                  <a:lnTo>
                    <a:pt x="1554" y="258"/>
                  </a:lnTo>
                  <a:lnTo>
                    <a:pt x="1554" y="276"/>
                  </a:lnTo>
                  <a:lnTo>
                    <a:pt x="1554" y="282"/>
                  </a:lnTo>
                  <a:lnTo>
                    <a:pt x="1554" y="294"/>
                  </a:lnTo>
                  <a:lnTo>
                    <a:pt x="1554" y="306"/>
                  </a:lnTo>
                  <a:lnTo>
                    <a:pt x="1554" y="324"/>
                  </a:lnTo>
                  <a:lnTo>
                    <a:pt x="1554" y="330"/>
                  </a:lnTo>
                  <a:lnTo>
                    <a:pt x="1548" y="330"/>
                  </a:lnTo>
                  <a:lnTo>
                    <a:pt x="1548" y="336"/>
                  </a:lnTo>
                  <a:lnTo>
                    <a:pt x="1548" y="342"/>
                  </a:lnTo>
                  <a:lnTo>
                    <a:pt x="1542" y="336"/>
                  </a:lnTo>
                  <a:lnTo>
                    <a:pt x="1542" y="330"/>
                  </a:lnTo>
                  <a:lnTo>
                    <a:pt x="1536" y="330"/>
                  </a:lnTo>
                  <a:lnTo>
                    <a:pt x="1530" y="330"/>
                  </a:lnTo>
                  <a:lnTo>
                    <a:pt x="1530" y="336"/>
                  </a:lnTo>
                  <a:lnTo>
                    <a:pt x="1536" y="342"/>
                  </a:lnTo>
                  <a:lnTo>
                    <a:pt x="1530" y="342"/>
                  </a:lnTo>
                  <a:lnTo>
                    <a:pt x="1518" y="348"/>
                  </a:lnTo>
                  <a:lnTo>
                    <a:pt x="1512" y="354"/>
                  </a:lnTo>
                  <a:lnTo>
                    <a:pt x="1506" y="354"/>
                  </a:lnTo>
                  <a:lnTo>
                    <a:pt x="1500" y="354"/>
                  </a:lnTo>
                  <a:lnTo>
                    <a:pt x="1494" y="354"/>
                  </a:lnTo>
                  <a:lnTo>
                    <a:pt x="1494" y="360"/>
                  </a:lnTo>
                  <a:lnTo>
                    <a:pt x="1488" y="360"/>
                  </a:lnTo>
                  <a:lnTo>
                    <a:pt x="1488" y="366"/>
                  </a:lnTo>
                  <a:lnTo>
                    <a:pt x="1488" y="372"/>
                  </a:lnTo>
                  <a:lnTo>
                    <a:pt x="1482" y="372"/>
                  </a:lnTo>
                  <a:lnTo>
                    <a:pt x="1476" y="372"/>
                  </a:lnTo>
                  <a:lnTo>
                    <a:pt x="1470" y="372"/>
                  </a:lnTo>
                  <a:lnTo>
                    <a:pt x="1470" y="378"/>
                  </a:lnTo>
                  <a:lnTo>
                    <a:pt x="1470" y="384"/>
                  </a:lnTo>
                  <a:lnTo>
                    <a:pt x="1470" y="390"/>
                  </a:lnTo>
                  <a:lnTo>
                    <a:pt x="1464" y="402"/>
                  </a:lnTo>
                  <a:lnTo>
                    <a:pt x="1446" y="402"/>
                  </a:lnTo>
                  <a:lnTo>
                    <a:pt x="1440" y="372"/>
                  </a:lnTo>
                  <a:lnTo>
                    <a:pt x="1410" y="372"/>
                  </a:lnTo>
                  <a:lnTo>
                    <a:pt x="1380" y="372"/>
                  </a:lnTo>
                  <a:lnTo>
                    <a:pt x="1374" y="372"/>
                  </a:lnTo>
                  <a:lnTo>
                    <a:pt x="1368" y="378"/>
                  </a:lnTo>
                  <a:lnTo>
                    <a:pt x="1362" y="378"/>
                  </a:lnTo>
                  <a:lnTo>
                    <a:pt x="1356" y="378"/>
                  </a:lnTo>
                  <a:lnTo>
                    <a:pt x="1350" y="384"/>
                  </a:lnTo>
                  <a:lnTo>
                    <a:pt x="1350" y="390"/>
                  </a:lnTo>
                  <a:lnTo>
                    <a:pt x="1344" y="390"/>
                  </a:lnTo>
                  <a:lnTo>
                    <a:pt x="1338" y="390"/>
                  </a:lnTo>
                  <a:lnTo>
                    <a:pt x="1332" y="390"/>
                  </a:lnTo>
                  <a:lnTo>
                    <a:pt x="1332" y="396"/>
                  </a:lnTo>
                  <a:lnTo>
                    <a:pt x="1332" y="390"/>
                  </a:lnTo>
                  <a:lnTo>
                    <a:pt x="1326" y="402"/>
                  </a:lnTo>
                  <a:lnTo>
                    <a:pt x="1320" y="402"/>
                  </a:lnTo>
                  <a:lnTo>
                    <a:pt x="1302" y="474"/>
                  </a:lnTo>
                  <a:lnTo>
                    <a:pt x="1308" y="480"/>
                  </a:lnTo>
                  <a:lnTo>
                    <a:pt x="1314" y="480"/>
                  </a:lnTo>
                  <a:lnTo>
                    <a:pt x="1308" y="498"/>
                  </a:lnTo>
                  <a:lnTo>
                    <a:pt x="1308" y="504"/>
                  </a:lnTo>
                  <a:lnTo>
                    <a:pt x="1314" y="510"/>
                  </a:lnTo>
                  <a:lnTo>
                    <a:pt x="1308" y="510"/>
                  </a:lnTo>
                  <a:lnTo>
                    <a:pt x="1308" y="516"/>
                  </a:lnTo>
                  <a:lnTo>
                    <a:pt x="1302" y="516"/>
                  </a:lnTo>
                  <a:lnTo>
                    <a:pt x="1296" y="510"/>
                  </a:lnTo>
                  <a:lnTo>
                    <a:pt x="1296" y="516"/>
                  </a:lnTo>
                  <a:lnTo>
                    <a:pt x="1290" y="540"/>
                  </a:lnTo>
                  <a:lnTo>
                    <a:pt x="1290" y="552"/>
                  </a:lnTo>
                  <a:lnTo>
                    <a:pt x="1284" y="558"/>
                  </a:lnTo>
                  <a:lnTo>
                    <a:pt x="1290" y="576"/>
                  </a:lnTo>
                  <a:lnTo>
                    <a:pt x="1290" y="600"/>
                  </a:lnTo>
                  <a:lnTo>
                    <a:pt x="1284" y="618"/>
                  </a:lnTo>
                  <a:lnTo>
                    <a:pt x="1290" y="624"/>
                  </a:lnTo>
                  <a:lnTo>
                    <a:pt x="1284" y="630"/>
                  </a:lnTo>
                  <a:lnTo>
                    <a:pt x="1278" y="630"/>
                  </a:lnTo>
                  <a:lnTo>
                    <a:pt x="1272" y="630"/>
                  </a:lnTo>
                  <a:lnTo>
                    <a:pt x="1266" y="636"/>
                  </a:lnTo>
                  <a:lnTo>
                    <a:pt x="1260" y="642"/>
                  </a:lnTo>
                  <a:lnTo>
                    <a:pt x="1260" y="636"/>
                  </a:lnTo>
                  <a:lnTo>
                    <a:pt x="1254" y="636"/>
                  </a:lnTo>
                  <a:lnTo>
                    <a:pt x="1248" y="636"/>
                  </a:lnTo>
                  <a:lnTo>
                    <a:pt x="1248" y="642"/>
                  </a:lnTo>
                  <a:lnTo>
                    <a:pt x="1242" y="642"/>
                  </a:lnTo>
                  <a:lnTo>
                    <a:pt x="1242" y="648"/>
                  </a:lnTo>
                  <a:lnTo>
                    <a:pt x="1236" y="654"/>
                  </a:lnTo>
                  <a:lnTo>
                    <a:pt x="1230" y="654"/>
                  </a:lnTo>
                  <a:lnTo>
                    <a:pt x="1224" y="654"/>
                  </a:lnTo>
                  <a:lnTo>
                    <a:pt x="1218" y="660"/>
                  </a:lnTo>
                  <a:lnTo>
                    <a:pt x="1212" y="660"/>
                  </a:lnTo>
                  <a:lnTo>
                    <a:pt x="1206" y="660"/>
                  </a:lnTo>
                  <a:lnTo>
                    <a:pt x="1200" y="660"/>
                  </a:lnTo>
                  <a:lnTo>
                    <a:pt x="1200" y="666"/>
                  </a:lnTo>
                  <a:lnTo>
                    <a:pt x="1194" y="666"/>
                  </a:lnTo>
                  <a:lnTo>
                    <a:pt x="1188" y="666"/>
                  </a:lnTo>
                  <a:lnTo>
                    <a:pt x="1182" y="672"/>
                  </a:lnTo>
                  <a:lnTo>
                    <a:pt x="1176" y="672"/>
                  </a:lnTo>
                  <a:lnTo>
                    <a:pt x="1170" y="672"/>
                  </a:lnTo>
                  <a:lnTo>
                    <a:pt x="1164" y="678"/>
                  </a:lnTo>
                  <a:lnTo>
                    <a:pt x="1170" y="678"/>
                  </a:lnTo>
                  <a:lnTo>
                    <a:pt x="1164" y="684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52" y="684"/>
                  </a:lnTo>
                  <a:lnTo>
                    <a:pt x="1152" y="690"/>
                  </a:lnTo>
                  <a:lnTo>
                    <a:pt x="1146" y="690"/>
                  </a:lnTo>
                  <a:lnTo>
                    <a:pt x="1140" y="690"/>
                  </a:lnTo>
                  <a:lnTo>
                    <a:pt x="1134" y="696"/>
                  </a:lnTo>
                  <a:lnTo>
                    <a:pt x="1128" y="696"/>
                  </a:lnTo>
                  <a:lnTo>
                    <a:pt x="1122" y="702"/>
                  </a:lnTo>
                  <a:lnTo>
                    <a:pt x="1116" y="702"/>
                  </a:lnTo>
                  <a:lnTo>
                    <a:pt x="1110" y="708"/>
                  </a:lnTo>
                  <a:lnTo>
                    <a:pt x="1104" y="708"/>
                  </a:lnTo>
                  <a:lnTo>
                    <a:pt x="1098" y="708"/>
                  </a:lnTo>
                  <a:lnTo>
                    <a:pt x="1092" y="708"/>
                  </a:lnTo>
                  <a:lnTo>
                    <a:pt x="1092" y="714"/>
                  </a:lnTo>
                  <a:lnTo>
                    <a:pt x="1086" y="720"/>
                  </a:lnTo>
                  <a:lnTo>
                    <a:pt x="1080" y="720"/>
                  </a:lnTo>
                  <a:lnTo>
                    <a:pt x="1074" y="720"/>
                  </a:lnTo>
                  <a:lnTo>
                    <a:pt x="1068" y="720"/>
                  </a:lnTo>
                  <a:lnTo>
                    <a:pt x="1062" y="720"/>
                  </a:lnTo>
                  <a:lnTo>
                    <a:pt x="1050" y="726"/>
                  </a:lnTo>
                  <a:lnTo>
                    <a:pt x="1044" y="726"/>
                  </a:lnTo>
                  <a:lnTo>
                    <a:pt x="1038" y="732"/>
                  </a:lnTo>
                  <a:lnTo>
                    <a:pt x="1026" y="732"/>
                  </a:lnTo>
                  <a:lnTo>
                    <a:pt x="1020" y="732"/>
                  </a:lnTo>
                  <a:lnTo>
                    <a:pt x="1014" y="738"/>
                  </a:lnTo>
                  <a:lnTo>
                    <a:pt x="1008" y="738"/>
                  </a:lnTo>
                  <a:lnTo>
                    <a:pt x="1002" y="738"/>
                  </a:lnTo>
                  <a:lnTo>
                    <a:pt x="996" y="738"/>
                  </a:lnTo>
                  <a:lnTo>
                    <a:pt x="990" y="738"/>
                  </a:lnTo>
                  <a:lnTo>
                    <a:pt x="990" y="732"/>
                  </a:lnTo>
                  <a:lnTo>
                    <a:pt x="984" y="732"/>
                  </a:lnTo>
                  <a:lnTo>
                    <a:pt x="978" y="738"/>
                  </a:lnTo>
                  <a:lnTo>
                    <a:pt x="978" y="744"/>
                  </a:lnTo>
                  <a:lnTo>
                    <a:pt x="984" y="744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8" y="756"/>
                  </a:lnTo>
                  <a:lnTo>
                    <a:pt x="972" y="756"/>
                  </a:lnTo>
                  <a:lnTo>
                    <a:pt x="972" y="762"/>
                  </a:lnTo>
                  <a:lnTo>
                    <a:pt x="966" y="768"/>
                  </a:lnTo>
                  <a:lnTo>
                    <a:pt x="966" y="762"/>
                  </a:lnTo>
                  <a:lnTo>
                    <a:pt x="960" y="762"/>
                  </a:lnTo>
                  <a:lnTo>
                    <a:pt x="954" y="768"/>
                  </a:lnTo>
                  <a:lnTo>
                    <a:pt x="954" y="774"/>
                  </a:lnTo>
                  <a:lnTo>
                    <a:pt x="948" y="774"/>
                  </a:lnTo>
                  <a:lnTo>
                    <a:pt x="948" y="780"/>
                  </a:lnTo>
                  <a:lnTo>
                    <a:pt x="948" y="786"/>
                  </a:lnTo>
                  <a:lnTo>
                    <a:pt x="942" y="786"/>
                  </a:lnTo>
                  <a:lnTo>
                    <a:pt x="942" y="792"/>
                  </a:lnTo>
                  <a:lnTo>
                    <a:pt x="936" y="792"/>
                  </a:lnTo>
                  <a:lnTo>
                    <a:pt x="942" y="798"/>
                  </a:lnTo>
                  <a:lnTo>
                    <a:pt x="942" y="804"/>
                  </a:lnTo>
                  <a:lnTo>
                    <a:pt x="942" y="810"/>
                  </a:lnTo>
                  <a:lnTo>
                    <a:pt x="948" y="810"/>
                  </a:lnTo>
                  <a:lnTo>
                    <a:pt x="942" y="816"/>
                  </a:lnTo>
                  <a:lnTo>
                    <a:pt x="948" y="816"/>
                  </a:lnTo>
                  <a:lnTo>
                    <a:pt x="948" y="822"/>
                  </a:lnTo>
                  <a:lnTo>
                    <a:pt x="954" y="822"/>
                  </a:lnTo>
                  <a:lnTo>
                    <a:pt x="960" y="828"/>
                  </a:lnTo>
                  <a:lnTo>
                    <a:pt x="960" y="834"/>
                  </a:lnTo>
                  <a:lnTo>
                    <a:pt x="966" y="834"/>
                  </a:lnTo>
                  <a:lnTo>
                    <a:pt x="960" y="840"/>
                  </a:lnTo>
                  <a:lnTo>
                    <a:pt x="966" y="846"/>
                  </a:lnTo>
                  <a:lnTo>
                    <a:pt x="966" y="840"/>
                  </a:lnTo>
                  <a:lnTo>
                    <a:pt x="972" y="840"/>
                  </a:lnTo>
                  <a:lnTo>
                    <a:pt x="990" y="840"/>
                  </a:lnTo>
                  <a:lnTo>
                    <a:pt x="1002" y="834"/>
                  </a:lnTo>
                  <a:lnTo>
                    <a:pt x="1020" y="828"/>
                  </a:lnTo>
                  <a:lnTo>
                    <a:pt x="1032" y="828"/>
                  </a:lnTo>
                  <a:lnTo>
                    <a:pt x="1050" y="828"/>
                  </a:lnTo>
                  <a:lnTo>
                    <a:pt x="1062" y="846"/>
                  </a:lnTo>
                  <a:lnTo>
                    <a:pt x="1074" y="876"/>
                  </a:lnTo>
                  <a:lnTo>
                    <a:pt x="1068" y="900"/>
                  </a:lnTo>
                  <a:lnTo>
                    <a:pt x="1074" y="912"/>
                  </a:lnTo>
                  <a:lnTo>
                    <a:pt x="1074" y="936"/>
                  </a:lnTo>
                  <a:lnTo>
                    <a:pt x="1068" y="942"/>
                  </a:lnTo>
                  <a:lnTo>
                    <a:pt x="1062" y="954"/>
                  </a:lnTo>
                  <a:lnTo>
                    <a:pt x="1056" y="978"/>
                  </a:lnTo>
                  <a:lnTo>
                    <a:pt x="1056" y="996"/>
                  </a:lnTo>
                  <a:lnTo>
                    <a:pt x="1068" y="990"/>
                  </a:lnTo>
                  <a:lnTo>
                    <a:pt x="1074" y="990"/>
                  </a:lnTo>
                  <a:lnTo>
                    <a:pt x="1074" y="1008"/>
                  </a:lnTo>
                  <a:lnTo>
                    <a:pt x="1080" y="1008"/>
                  </a:lnTo>
                  <a:lnTo>
                    <a:pt x="1092" y="1014"/>
                  </a:lnTo>
                  <a:lnTo>
                    <a:pt x="1110" y="1044"/>
                  </a:lnTo>
                  <a:lnTo>
                    <a:pt x="1110" y="1062"/>
                  </a:lnTo>
                  <a:lnTo>
                    <a:pt x="1128" y="1068"/>
                  </a:lnTo>
                  <a:lnTo>
                    <a:pt x="1128" y="1092"/>
                  </a:lnTo>
                  <a:lnTo>
                    <a:pt x="1134" y="1098"/>
                  </a:lnTo>
                  <a:lnTo>
                    <a:pt x="1158" y="1122"/>
                  </a:lnTo>
                  <a:lnTo>
                    <a:pt x="1188" y="1122"/>
                  </a:lnTo>
                  <a:lnTo>
                    <a:pt x="1188" y="1128"/>
                  </a:lnTo>
                  <a:lnTo>
                    <a:pt x="1200" y="1134"/>
                  </a:lnTo>
                  <a:lnTo>
                    <a:pt x="1206" y="1134"/>
                  </a:lnTo>
                  <a:lnTo>
                    <a:pt x="1206" y="1128"/>
                  </a:lnTo>
                  <a:lnTo>
                    <a:pt x="1212" y="1128"/>
                  </a:lnTo>
                  <a:lnTo>
                    <a:pt x="1218" y="1128"/>
                  </a:lnTo>
                  <a:lnTo>
                    <a:pt x="1224" y="1122"/>
                  </a:lnTo>
                  <a:lnTo>
                    <a:pt x="1224" y="1128"/>
                  </a:lnTo>
                  <a:lnTo>
                    <a:pt x="1230" y="1128"/>
                  </a:lnTo>
                  <a:lnTo>
                    <a:pt x="1236" y="1128"/>
                  </a:lnTo>
                  <a:lnTo>
                    <a:pt x="1236" y="1122"/>
                  </a:lnTo>
                  <a:lnTo>
                    <a:pt x="1242" y="1122"/>
                  </a:lnTo>
                  <a:lnTo>
                    <a:pt x="1248" y="1128"/>
                  </a:lnTo>
                  <a:lnTo>
                    <a:pt x="1254" y="1128"/>
                  </a:lnTo>
                  <a:lnTo>
                    <a:pt x="1260" y="1134"/>
                  </a:lnTo>
                  <a:lnTo>
                    <a:pt x="1260" y="1140"/>
                  </a:lnTo>
                  <a:lnTo>
                    <a:pt x="1266" y="1140"/>
                  </a:lnTo>
                  <a:lnTo>
                    <a:pt x="1272" y="1140"/>
                  </a:lnTo>
                  <a:lnTo>
                    <a:pt x="1278" y="1140"/>
                  </a:lnTo>
                  <a:lnTo>
                    <a:pt x="1284" y="1140"/>
                  </a:lnTo>
                  <a:lnTo>
                    <a:pt x="1290" y="1146"/>
                  </a:lnTo>
                  <a:lnTo>
                    <a:pt x="1290" y="1152"/>
                  </a:lnTo>
                  <a:lnTo>
                    <a:pt x="1296" y="1146"/>
                  </a:lnTo>
                  <a:lnTo>
                    <a:pt x="1296" y="1152"/>
                  </a:lnTo>
                  <a:lnTo>
                    <a:pt x="1308" y="1152"/>
                  </a:lnTo>
                  <a:lnTo>
                    <a:pt x="1314" y="1152"/>
                  </a:lnTo>
                  <a:lnTo>
                    <a:pt x="1320" y="1152"/>
                  </a:lnTo>
                  <a:lnTo>
                    <a:pt x="1332" y="1152"/>
                  </a:lnTo>
                  <a:lnTo>
                    <a:pt x="1338" y="1152"/>
                  </a:lnTo>
                  <a:lnTo>
                    <a:pt x="1344" y="1152"/>
                  </a:lnTo>
                  <a:lnTo>
                    <a:pt x="1344" y="1158"/>
                  </a:lnTo>
                  <a:lnTo>
                    <a:pt x="1350" y="1158"/>
                  </a:lnTo>
                  <a:lnTo>
                    <a:pt x="1356" y="1158"/>
                  </a:lnTo>
                  <a:lnTo>
                    <a:pt x="1362" y="1158"/>
                  </a:lnTo>
                  <a:lnTo>
                    <a:pt x="1368" y="1158"/>
                  </a:lnTo>
                  <a:lnTo>
                    <a:pt x="1374" y="1164"/>
                  </a:lnTo>
                  <a:lnTo>
                    <a:pt x="1380" y="1164"/>
                  </a:lnTo>
                  <a:lnTo>
                    <a:pt x="1386" y="1170"/>
                  </a:lnTo>
                  <a:lnTo>
                    <a:pt x="1392" y="1170"/>
                  </a:lnTo>
                  <a:lnTo>
                    <a:pt x="1398" y="1164"/>
                  </a:lnTo>
                  <a:lnTo>
                    <a:pt x="1404" y="1164"/>
                  </a:lnTo>
                  <a:lnTo>
                    <a:pt x="1410" y="1164"/>
                  </a:lnTo>
                  <a:lnTo>
                    <a:pt x="1416" y="1164"/>
                  </a:lnTo>
                  <a:lnTo>
                    <a:pt x="1416" y="1170"/>
                  </a:lnTo>
                  <a:lnTo>
                    <a:pt x="1422" y="1176"/>
                  </a:lnTo>
                  <a:lnTo>
                    <a:pt x="1416" y="1176"/>
                  </a:lnTo>
                  <a:lnTo>
                    <a:pt x="1416" y="1182"/>
                  </a:lnTo>
                  <a:lnTo>
                    <a:pt x="1410" y="1188"/>
                  </a:lnTo>
                  <a:lnTo>
                    <a:pt x="1404" y="1194"/>
                  </a:lnTo>
                  <a:lnTo>
                    <a:pt x="1404" y="1200"/>
                  </a:lnTo>
                  <a:lnTo>
                    <a:pt x="1404" y="1206"/>
                  </a:lnTo>
                  <a:lnTo>
                    <a:pt x="1398" y="1212"/>
                  </a:lnTo>
                  <a:lnTo>
                    <a:pt x="1398" y="1206"/>
                  </a:lnTo>
                  <a:lnTo>
                    <a:pt x="1392" y="1206"/>
                  </a:lnTo>
                  <a:lnTo>
                    <a:pt x="1386" y="1206"/>
                  </a:lnTo>
                  <a:lnTo>
                    <a:pt x="1380" y="1212"/>
                  </a:lnTo>
                  <a:lnTo>
                    <a:pt x="1374" y="1212"/>
                  </a:lnTo>
                  <a:lnTo>
                    <a:pt x="1368" y="1218"/>
                  </a:lnTo>
                  <a:lnTo>
                    <a:pt x="1362" y="1218"/>
                  </a:lnTo>
                  <a:lnTo>
                    <a:pt x="1362" y="1224"/>
                  </a:lnTo>
                  <a:lnTo>
                    <a:pt x="1356" y="1230"/>
                  </a:lnTo>
                  <a:lnTo>
                    <a:pt x="1350" y="1230"/>
                  </a:lnTo>
                  <a:lnTo>
                    <a:pt x="1344" y="1236"/>
                  </a:lnTo>
                  <a:lnTo>
                    <a:pt x="1338" y="1230"/>
                  </a:lnTo>
                  <a:lnTo>
                    <a:pt x="1332" y="1230"/>
                  </a:lnTo>
                  <a:lnTo>
                    <a:pt x="1326" y="1230"/>
                  </a:lnTo>
                  <a:lnTo>
                    <a:pt x="1320" y="1230"/>
                  </a:lnTo>
                  <a:lnTo>
                    <a:pt x="1314" y="1230"/>
                  </a:lnTo>
                  <a:lnTo>
                    <a:pt x="1296" y="1242"/>
                  </a:lnTo>
                  <a:lnTo>
                    <a:pt x="1296" y="1248"/>
                  </a:lnTo>
                  <a:lnTo>
                    <a:pt x="1290" y="1248"/>
                  </a:lnTo>
                  <a:lnTo>
                    <a:pt x="1290" y="1260"/>
                  </a:lnTo>
                  <a:lnTo>
                    <a:pt x="1278" y="1272"/>
                  </a:lnTo>
                  <a:lnTo>
                    <a:pt x="1278" y="1278"/>
                  </a:lnTo>
                  <a:lnTo>
                    <a:pt x="1278" y="1284"/>
                  </a:lnTo>
                  <a:lnTo>
                    <a:pt x="1278" y="1290"/>
                  </a:lnTo>
                  <a:lnTo>
                    <a:pt x="1284" y="1296"/>
                  </a:lnTo>
                  <a:lnTo>
                    <a:pt x="1302" y="1302"/>
                  </a:lnTo>
                  <a:lnTo>
                    <a:pt x="1308" y="1308"/>
                  </a:lnTo>
                  <a:lnTo>
                    <a:pt x="1308" y="1314"/>
                  </a:lnTo>
                  <a:lnTo>
                    <a:pt x="1302" y="1320"/>
                  </a:lnTo>
                  <a:lnTo>
                    <a:pt x="1278" y="1314"/>
                  </a:lnTo>
                  <a:lnTo>
                    <a:pt x="1266" y="1308"/>
                  </a:lnTo>
                  <a:lnTo>
                    <a:pt x="1260" y="1296"/>
                  </a:lnTo>
                  <a:lnTo>
                    <a:pt x="1236" y="1296"/>
                  </a:lnTo>
                  <a:lnTo>
                    <a:pt x="1224" y="1308"/>
                  </a:lnTo>
                  <a:lnTo>
                    <a:pt x="1218" y="1308"/>
                  </a:lnTo>
                  <a:lnTo>
                    <a:pt x="1218" y="1302"/>
                  </a:lnTo>
                  <a:lnTo>
                    <a:pt x="1212" y="1302"/>
                  </a:lnTo>
                  <a:lnTo>
                    <a:pt x="1206" y="1302"/>
                  </a:lnTo>
                  <a:lnTo>
                    <a:pt x="1170" y="1314"/>
                  </a:lnTo>
                  <a:lnTo>
                    <a:pt x="1134" y="1296"/>
                  </a:lnTo>
                  <a:lnTo>
                    <a:pt x="1122" y="1290"/>
                  </a:lnTo>
                  <a:lnTo>
                    <a:pt x="1104" y="1290"/>
                  </a:lnTo>
                  <a:lnTo>
                    <a:pt x="1098" y="1278"/>
                  </a:lnTo>
                  <a:lnTo>
                    <a:pt x="1092" y="1242"/>
                  </a:lnTo>
                  <a:lnTo>
                    <a:pt x="1086" y="1242"/>
                  </a:lnTo>
                  <a:lnTo>
                    <a:pt x="1086" y="1248"/>
                  </a:lnTo>
                  <a:lnTo>
                    <a:pt x="1086" y="1254"/>
                  </a:lnTo>
                  <a:lnTo>
                    <a:pt x="1080" y="1254"/>
                  </a:lnTo>
                  <a:lnTo>
                    <a:pt x="1080" y="1260"/>
                  </a:lnTo>
                  <a:lnTo>
                    <a:pt x="1074" y="1260"/>
                  </a:lnTo>
                  <a:lnTo>
                    <a:pt x="1068" y="1236"/>
                  </a:lnTo>
                  <a:lnTo>
                    <a:pt x="1068" y="1206"/>
                  </a:lnTo>
                  <a:lnTo>
                    <a:pt x="1080" y="1194"/>
                  </a:lnTo>
                  <a:lnTo>
                    <a:pt x="1086" y="1194"/>
                  </a:lnTo>
                  <a:lnTo>
                    <a:pt x="1092" y="1200"/>
                  </a:lnTo>
                  <a:lnTo>
                    <a:pt x="1098" y="1206"/>
                  </a:lnTo>
                  <a:lnTo>
                    <a:pt x="1104" y="1200"/>
                  </a:lnTo>
                  <a:lnTo>
                    <a:pt x="1104" y="1194"/>
                  </a:lnTo>
                  <a:lnTo>
                    <a:pt x="1110" y="1194"/>
                  </a:lnTo>
                  <a:lnTo>
                    <a:pt x="1110" y="1188"/>
                  </a:lnTo>
                  <a:lnTo>
                    <a:pt x="1116" y="1182"/>
                  </a:lnTo>
                  <a:lnTo>
                    <a:pt x="1110" y="1182"/>
                  </a:lnTo>
                  <a:lnTo>
                    <a:pt x="1110" y="1170"/>
                  </a:lnTo>
                  <a:lnTo>
                    <a:pt x="1110" y="1158"/>
                  </a:lnTo>
                  <a:lnTo>
                    <a:pt x="1110" y="1152"/>
                  </a:lnTo>
                  <a:lnTo>
                    <a:pt x="1104" y="1146"/>
                  </a:lnTo>
                  <a:lnTo>
                    <a:pt x="1098" y="1140"/>
                  </a:lnTo>
                  <a:lnTo>
                    <a:pt x="1098" y="1134"/>
                  </a:lnTo>
                  <a:lnTo>
                    <a:pt x="1098" y="1128"/>
                  </a:lnTo>
                  <a:lnTo>
                    <a:pt x="1092" y="1128"/>
                  </a:lnTo>
                  <a:lnTo>
                    <a:pt x="1092" y="1122"/>
                  </a:lnTo>
                  <a:lnTo>
                    <a:pt x="1092" y="1116"/>
                  </a:lnTo>
                  <a:lnTo>
                    <a:pt x="1092" y="1110"/>
                  </a:lnTo>
                  <a:lnTo>
                    <a:pt x="1056" y="1122"/>
                  </a:lnTo>
                  <a:lnTo>
                    <a:pt x="1038" y="1128"/>
                  </a:lnTo>
                  <a:lnTo>
                    <a:pt x="1032" y="1128"/>
                  </a:lnTo>
                  <a:lnTo>
                    <a:pt x="1026" y="1128"/>
                  </a:lnTo>
                  <a:lnTo>
                    <a:pt x="1020" y="1128"/>
                  </a:lnTo>
                  <a:lnTo>
                    <a:pt x="1014" y="1128"/>
                  </a:lnTo>
                  <a:lnTo>
                    <a:pt x="1014" y="1122"/>
                  </a:lnTo>
                  <a:lnTo>
                    <a:pt x="1008" y="1122"/>
                  </a:lnTo>
                  <a:lnTo>
                    <a:pt x="1002" y="1128"/>
                  </a:lnTo>
                  <a:lnTo>
                    <a:pt x="1002" y="1134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84" y="1140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66" y="1140"/>
                  </a:lnTo>
                  <a:lnTo>
                    <a:pt x="954" y="1140"/>
                  </a:lnTo>
                  <a:lnTo>
                    <a:pt x="954" y="1134"/>
                  </a:lnTo>
                  <a:lnTo>
                    <a:pt x="948" y="1134"/>
                  </a:lnTo>
                  <a:lnTo>
                    <a:pt x="942" y="1134"/>
                  </a:lnTo>
                  <a:lnTo>
                    <a:pt x="936" y="1134"/>
                  </a:lnTo>
                  <a:lnTo>
                    <a:pt x="930" y="1134"/>
                  </a:lnTo>
                  <a:lnTo>
                    <a:pt x="924" y="1134"/>
                  </a:lnTo>
                  <a:lnTo>
                    <a:pt x="918" y="1134"/>
                  </a:lnTo>
                  <a:lnTo>
                    <a:pt x="918" y="1128"/>
                  </a:lnTo>
                  <a:lnTo>
                    <a:pt x="918" y="1104"/>
                  </a:lnTo>
                  <a:lnTo>
                    <a:pt x="906" y="1104"/>
                  </a:lnTo>
                  <a:lnTo>
                    <a:pt x="900" y="1098"/>
                  </a:lnTo>
                  <a:lnTo>
                    <a:pt x="900" y="1092"/>
                  </a:lnTo>
                  <a:lnTo>
                    <a:pt x="900" y="1086"/>
                  </a:lnTo>
                  <a:lnTo>
                    <a:pt x="900" y="1080"/>
                  </a:lnTo>
                  <a:lnTo>
                    <a:pt x="894" y="1080"/>
                  </a:lnTo>
                  <a:lnTo>
                    <a:pt x="858" y="1074"/>
                  </a:lnTo>
                  <a:lnTo>
                    <a:pt x="852" y="1080"/>
                  </a:lnTo>
                  <a:lnTo>
                    <a:pt x="846" y="1086"/>
                  </a:lnTo>
                  <a:lnTo>
                    <a:pt x="840" y="1086"/>
                  </a:lnTo>
                  <a:lnTo>
                    <a:pt x="840" y="1092"/>
                  </a:lnTo>
                  <a:lnTo>
                    <a:pt x="834" y="1092"/>
                  </a:lnTo>
                  <a:lnTo>
                    <a:pt x="828" y="1098"/>
                  </a:lnTo>
                  <a:lnTo>
                    <a:pt x="822" y="1098"/>
                  </a:lnTo>
                  <a:lnTo>
                    <a:pt x="762" y="1074"/>
                  </a:lnTo>
                  <a:lnTo>
                    <a:pt x="756" y="1068"/>
                  </a:lnTo>
                  <a:lnTo>
                    <a:pt x="750" y="1068"/>
                  </a:lnTo>
                  <a:lnTo>
                    <a:pt x="744" y="1062"/>
                  </a:lnTo>
                  <a:lnTo>
                    <a:pt x="744" y="1068"/>
                  </a:lnTo>
                  <a:lnTo>
                    <a:pt x="744" y="1074"/>
                  </a:lnTo>
                  <a:lnTo>
                    <a:pt x="738" y="1074"/>
                  </a:lnTo>
                  <a:lnTo>
                    <a:pt x="738" y="1068"/>
                  </a:lnTo>
                  <a:lnTo>
                    <a:pt x="732" y="1068"/>
                  </a:lnTo>
                  <a:lnTo>
                    <a:pt x="726" y="1068"/>
                  </a:lnTo>
                  <a:lnTo>
                    <a:pt x="726" y="1074"/>
                  </a:lnTo>
                  <a:lnTo>
                    <a:pt x="720" y="1074"/>
                  </a:lnTo>
                  <a:lnTo>
                    <a:pt x="684" y="106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5" name="Freeform 40">
              <a:extLst>
                <a:ext uri="{FF2B5EF4-FFF2-40B4-BE49-F238E27FC236}">
                  <a16:creationId xmlns:a16="http://schemas.microsoft.com/office/drawing/2014/main" id="{37EC2F22-BDB9-4162-8FA4-08493F6898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3558" y="1520374"/>
              <a:ext cx="1057717" cy="1252440"/>
            </a:xfrm>
            <a:custGeom>
              <a:avLst/>
              <a:gdLst>
                <a:gd name="T0" fmla="*/ 98 w 1992"/>
                <a:gd name="T1" fmla="*/ 162 h 2358"/>
                <a:gd name="T2" fmla="*/ 93 w 1992"/>
                <a:gd name="T3" fmla="*/ 172 h 2358"/>
                <a:gd name="T4" fmla="*/ 82 w 1992"/>
                <a:gd name="T5" fmla="*/ 179 h 2358"/>
                <a:gd name="T6" fmla="*/ 70 w 1992"/>
                <a:gd name="T7" fmla="*/ 174 h 2358"/>
                <a:gd name="T8" fmla="*/ 62 w 1992"/>
                <a:gd name="T9" fmla="*/ 182 h 2358"/>
                <a:gd name="T10" fmla="*/ 45 w 1992"/>
                <a:gd name="T11" fmla="*/ 189 h 2358"/>
                <a:gd name="T12" fmla="*/ 24 w 1992"/>
                <a:gd name="T13" fmla="*/ 205 h 2358"/>
                <a:gd name="T14" fmla="*/ 17 w 1992"/>
                <a:gd name="T15" fmla="*/ 204 h 2358"/>
                <a:gd name="T16" fmla="*/ 7 w 1992"/>
                <a:gd name="T17" fmla="*/ 197 h 2358"/>
                <a:gd name="T18" fmla="*/ 1 w 1992"/>
                <a:gd name="T19" fmla="*/ 191 h 2358"/>
                <a:gd name="T20" fmla="*/ 4 w 1992"/>
                <a:gd name="T21" fmla="*/ 175 h 2358"/>
                <a:gd name="T22" fmla="*/ 7 w 1992"/>
                <a:gd name="T23" fmla="*/ 172 h 2358"/>
                <a:gd name="T24" fmla="*/ 11 w 1992"/>
                <a:gd name="T25" fmla="*/ 168 h 2358"/>
                <a:gd name="T26" fmla="*/ 5 w 1992"/>
                <a:gd name="T27" fmla="*/ 159 h 2358"/>
                <a:gd name="T28" fmla="*/ 10 w 1992"/>
                <a:gd name="T29" fmla="*/ 156 h 2358"/>
                <a:gd name="T30" fmla="*/ 15 w 1992"/>
                <a:gd name="T31" fmla="*/ 155 h 2358"/>
                <a:gd name="T32" fmla="*/ 24 w 1992"/>
                <a:gd name="T33" fmla="*/ 149 h 2358"/>
                <a:gd name="T34" fmla="*/ 38 w 1992"/>
                <a:gd name="T35" fmla="*/ 127 h 2358"/>
                <a:gd name="T36" fmla="*/ 38 w 1992"/>
                <a:gd name="T37" fmla="*/ 107 h 2358"/>
                <a:gd name="T38" fmla="*/ 45 w 1992"/>
                <a:gd name="T39" fmla="*/ 66 h 2358"/>
                <a:gd name="T40" fmla="*/ 47 w 1992"/>
                <a:gd name="T41" fmla="*/ 36 h 2358"/>
                <a:gd name="T42" fmla="*/ 51 w 1992"/>
                <a:gd name="T43" fmla="*/ 35 h 2358"/>
                <a:gd name="T44" fmla="*/ 55 w 1992"/>
                <a:gd name="T45" fmla="*/ 30 h 2358"/>
                <a:gd name="T46" fmla="*/ 56 w 1992"/>
                <a:gd name="T47" fmla="*/ 27 h 2358"/>
                <a:gd name="T48" fmla="*/ 60 w 1992"/>
                <a:gd name="T49" fmla="*/ 23 h 2358"/>
                <a:gd name="T50" fmla="*/ 63 w 1992"/>
                <a:gd name="T51" fmla="*/ 23 h 2358"/>
                <a:gd name="T52" fmla="*/ 70 w 1992"/>
                <a:gd name="T53" fmla="*/ 18 h 2358"/>
                <a:gd name="T54" fmla="*/ 71 w 1992"/>
                <a:gd name="T55" fmla="*/ 15 h 2358"/>
                <a:gd name="T56" fmla="*/ 72 w 1992"/>
                <a:gd name="T57" fmla="*/ 13 h 2358"/>
                <a:gd name="T58" fmla="*/ 77 w 1992"/>
                <a:gd name="T59" fmla="*/ 12 h 2358"/>
                <a:gd name="T60" fmla="*/ 83 w 1992"/>
                <a:gd name="T61" fmla="*/ 10 h 2358"/>
                <a:gd name="T62" fmla="*/ 87 w 1992"/>
                <a:gd name="T63" fmla="*/ 10 h 2358"/>
                <a:gd name="T64" fmla="*/ 89 w 1992"/>
                <a:gd name="T65" fmla="*/ 10 h 2358"/>
                <a:gd name="T66" fmla="*/ 93 w 1992"/>
                <a:gd name="T67" fmla="*/ 8 h 2358"/>
                <a:gd name="T68" fmla="*/ 95 w 1992"/>
                <a:gd name="T69" fmla="*/ 4 h 2358"/>
                <a:gd name="T70" fmla="*/ 99 w 1992"/>
                <a:gd name="T71" fmla="*/ 0 h 2358"/>
                <a:gd name="T72" fmla="*/ 111 w 1992"/>
                <a:gd name="T73" fmla="*/ 0 h 2358"/>
                <a:gd name="T74" fmla="*/ 121 w 1992"/>
                <a:gd name="T75" fmla="*/ 9 h 2358"/>
                <a:gd name="T76" fmla="*/ 128 w 1992"/>
                <a:gd name="T77" fmla="*/ 19 h 2358"/>
                <a:gd name="T78" fmla="*/ 138 w 1992"/>
                <a:gd name="T79" fmla="*/ 33 h 2358"/>
                <a:gd name="T80" fmla="*/ 142 w 1992"/>
                <a:gd name="T81" fmla="*/ 47 h 2358"/>
                <a:gd name="T82" fmla="*/ 145 w 1992"/>
                <a:gd name="T83" fmla="*/ 62 h 2358"/>
                <a:gd name="T84" fmla="*/ 145 w 1992"/>
                <a:gd name="T85" fmla="*/ 70 h 2358"/>
                <a:gd name="T86" fmla="*/ 147 w 1992"/>
                <a:gd name="T87" fmla="*/ 75 h 2358"/>
                <a:gd name="T88" fmla="*/ 153 w 1992"/>
                <a:gd name="T89" fmla="*/ 75 h 2358"/>
                <a:gd name="T90" fmla="*/ 160 w 1992"/>
                <a:gd name="T91" fmla="*/ 76 h 2358"/>
                <a:gd name="T92" fmla="*/ 164 w 1992"/>
                <a:gd name="T93" fmla="*/ 79 h 2358"/>
                <a:gd name="T94" fmla="*/ 168 w 1992"/>
                <a:gd name="T95" fmla="*/ 83 h 2358"/>
                <a:gd name="T96" fmla="*/ 172 w 1992"/>
                <a:gd name="T97" fmla="*/ 86 h 2358"/>
                <a:gd name="T98" fmla="*/ 170 w 1992"/>
                <a:gd name="T99" fmla="*/ 93 h 2358"/>
                <a:gd name="T100" fmla="*/ 170 w 1992"/>
                <a:gd name="T101" fmla="*/ 99 h 2358"/>
                <a:gd name="T102" fmla="*/ 169 w 1992"/>
                <a:gd name="T103" fmla="*/ 106 h 2358"/>
                <a:gd name="T104" fmla="*/ 166 w 1992"/>
                <a:gd name="T105" fmla="*/ 113 h 2358"/>
                <a:gd name="T106" fmla="*/ 170 w 1992"/>
                <a:gd name="T107" fmla="*/ 122 h 2358"/>
                <a:gd name="T108" fmla="*/ 159 w 1992"/>
                <a:gd name="T109" fmla="*/ 128 h 2358"/>
                <a:gd name="T110" fmla="*/ 148 w 1992"/>
                <a:gd name="T111" fmla="*/ 134 h 2358"/>
                <a:gd name="T112" fmla="*/ 139 w 1992"/>
                <a:gd name="T113" fmla="*/ 136 h 2358"/>
                <a:gd name="T114" fmla="*/ 132 w 1992"/>
                <a:gd name="T115" fmla="*/ 138 h 2358"/>
                <a:gd name="T116" fmla="*/ 128 w 1992"/>
                <a:gd name="T117" fmla="*/ 145 h 2358"/>
                <a:gd name="T118" fmla="*/ 124 w 1992"/>
                <a:gd name="T119" fmla="*/ 150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92"/>
                <a:gd name="T181" fmla="*/ 0 h 2358"/>
                <a:gd name="T182" fmla="*/ 1992 w 1992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92" h="2358">
                  <a:moveTo>
                    <a:pt x="1356" y="1782"/>
                  </a:moveTo>
                  <a:lnTo>
                    <a:pt x="1350" y="1788"/>
                  </a:lnTo>
                  <a:lnTo>
                    <a:pt x="1266" y="1788"/>
                  </a:lnTo>
                  <a:lnTo>
                    <a:pt x="1260" y="1800"/>
                  </a:lnTo>
                  <a:lnTo>
                    <a:pt x="1242" y="1806"/>
                  </a:lnTo>
                  <a:lnTo>
                    <a:pt x="1218" y="1812"/>
                  </a:lnTo>
                  <a:lnTo>
                    <a:pt x="1182" y="1812"/>
                  </a:lnTo>
                  <a:lnTo>
                    <a:pt x="1158" y="1806"/>
                  </a:lnTo>
                  <a:lnTo>
                    <a:pt x="1134" y="1800"/>
                  </a:lnTo>
                  <a:lnTo>
                    <a:pt x="1134" y="1806"/>
                  </a:lnTo>
                  <a:lnTo>
                    <a:pt x="1134" y="1830"/>
                  </a:lnTo>
                  <a:lnTo>
                    <a:pt x="1128" y="1842"/>
                  </a:lnTo>
                  <a:lnTo>
                    <a:pt x="1128" y="1854"/>
                  </a:lnTo>
                  <a:lnTo>
                    <a:pt x="1128" y="1860"/>
                  </a:lnTo>
                  <a:lnTo>
                    <a:pt x="1128" y="1866"/>
                  </a:lnTo>
                  <a:lnTo>
                    <a:pt x="1128" y="1872"/>
                  </a:lnTo>
                  <a:lnTo>
                    <a:pt x="1128" y="1884"/>
                  </a:lnTo>
                  <a:lnTo>
                    <a:pt x="1128" y="1890"/>
                  </a:lnTo>
                  <a:lnTo>
                    <a:pt x="1128" y="1896"/>
                  </a:lnTo>
                  <a:lnTo>
                    <a:pt x="1122" y="1902"/>
                  </a:lnTo>
                  <a:lnTo>
                    <a:pt x="1122" y="1920"/>
                  </a:lnTo>
                  <a:lnTo>
                    <a:pt x="1116" y="1920"/>
                  </a:lnTo>
                  <a:lnTo>
                    <a:pt x="1110" y="1926"/>
                  </a:lnTo>
                  <a:lnTo>
                    <a:pt x="1110" y="1932"/>
                  </a:lnTo>
                  <a:lnTo>
                    <a:pt x="1104" y="1938"/>
                  </a:lnTo>
                  <a:lnTo>
                    <a:pt x="1086" y="1962"/>
                  </a:lnTo>
                  <a:lnTo>
                    <a:pt x="1074" y="1974"/>
                  </a:lnTo>
                  <a:lnTo>
                    <a:pt x="1074" y="1980"/>
                  </a:lnTo>
                  <a:lnTo>
                    <a:pt x="1068" y="1986"/>
                  </a:lnTo>
                  <a:lnTo>
                    <a:pt x="1062" y="1998"/>
                  </a:lnTo>
                  <a:lnTo>
                    <a:pt x="1062" y="2004"/>
                  </a:lnTo>
                  <a:lnTo>
                    <a:pt x="1068" y="2004"/>
                  </a:lnTo>
                  <a:lnTo>
                    <a:pt x="1056" y="2034"/>
                  </a:lnTo>
                  <a:lnTo>
                    <a:pt x="1050" y="2076"/>
                  </a:lnTo>
                  <a:lnTo>
                    <a:pt x="1056" y="2100"/>
                  </a:lnTo>
                  <a:lnTo>
                    <a:pt x="1038" y="2106"/>
                  </a:lnTo>
                  <a:lnTo>
                    <a:pt x="1002" y="2106"/>
                  </a:lnTo>
                  <a:lnTo>
                    <a:pt x="978" y="2094"/>
                  </a:lnTo>
                  <a:lnTo>
                    <a:pt x="972" y="2082"/>
                  </a:lnTo>
                  <a:lnTo>
                    <a:pt x="966" y="2070"/>
                  </a:lnTo>
                  <a:lnTo>
                    <a:pt x="954" y="2064"/>
                  </a:lnTo>
                  <a:lnTo>
                    <a:pt x="942" y="2058"/>
                  </a:lnTo>
                  <a:lnTo>
                    <a:pt x="936" y="2058"/>
                  </a:lnTo>
                  <a:lnTo>
                    <a:pt x="918" y="2046"/>
                  </a:lnTo>
                  <a:lnTo>
                    <a:pt x="906" y="2028"/>
                  </a:lnTo>
                  <a:lnTo>
                    <a:pt x="900" y="2022"/>
                  </a:lnTo>
                  <a:lnTo>
                    <a:pt x="894" y="2022"/>
                  </a:lnTo>
                  <a:lnTo>
                    <a:pt x="882" y="2022"/>
                  </a:lnTo>
                  <a:lnTo>
                    <a:pt x="870" y="2016"/>
                  </a:lnTo>
                  <a:lnTo>
                    <a:pt x="864" y="2016"/>
                  </a:lnTo>
                  <a:lnTo>
                    <a:pt x="852" y="2010"/>
                  </a:lnTo>
                  <a:lnTo>
                    <a:pt x="846" y="2004"/>
                  </a:lnTo>
                  <a:lnTo>
                    <a:pt x="840" y="2004"/>
                  </a:lnTo>
                  <a:lnTo>
                    <a:pt x="828" y="1998"/>
                  </a:lnTo>
                  <a:lnTo>
                    <a:pt x="816" y="1998"/>
                  </a:lnTo>
                  <a:lnTo>
                    <a:pt x="810" y="1998"/>
                  </a:lnTo>
                  <a:lnTo>
                    <a:pt x="804" y="1998"/>
                  </a:lnTo>
                  <a:lnTo>
                    <a:pt x="798" y="1998"/>
                  </a:lnTo>
                  <a:lnTo>
                    <a:pt x="792" y="2004"/>
                  </a:lnTo>
                  <a:lnTo>
                    <a:pt x="786" y="2010"/>
                  </a:lnTo>
                  <a:lnTo>
                    <a:pt x="762" y="2010"/>
                  </a:lnTo>
                  <a:lnTo>
                    <a:pt x="756" y="2010"/>
                  </a:lnTo>
                  <a:lnTo>
                    <a:pt x="744" y="2022"/>
                  </a:lnTo>
                  <a:lnTo>
                    <a:pt x="738" y="2034"/>
                  </a:lnTo>
                  <a:lnTo>
                    <a:pt x="732" y="2040"/>
                  </a:lnTo>
                  <a:lnTo>
                    <a:pt x="732" y="2046"/>
                  </a:lnTo>
                  <a:lnTo>
                    <a:pt x="726" y="2058"/>
                  </a:lnTo>
                  <a:lnTo>
                    <a:pt x="720" y="2064"/>
                  </a:lnTo>
                  <a:lnTo>
                    <a:pt x="714" y="2070"/>
                  </a:lnTo>
                  <a:lnTo>
                    <a:pt x="708" y="2088"/>
                  </a:lnTo>
                  <a:lnTo>
                    <a:pt x="702" y="2100"/>
                  </a:lnTo>
                  <a:lnTo>
                    <a:pt x="690" y="2100"/>
                  </a:lnTo>
                  <a:lnTo>
                    <a:pt x="684" y="2094"/>
                  </a:lnTo>
                  <a:lnTo>
                    <a:pt x="666" y="2100"/>
                  </a:lnTo>
                  <a:lnTo>
                    <a:pt x="636" y="2106"/>
                  </a:lnTo>
                  <a:lnTo>
                    <a:pt x="636" y="2112"/>
                  </a:lnTo>
                  <a:lnTo>
                    <a:pt x="636" y="2118"/>
                  </a:lnTo>
                  <a:lnTo>
                    <a:pt x="636" y="2124"/>
                  </a:lnTo>
                  <a:lnTo>
                    <a:pt x="630" y="2124"/>
                  </a:lnTo>
                  <a:lnTo>
                    <a:pt x="630" y="2148"/>
                  </a:lnTo>
                  <a:lnTo>
                    <a:pt x="612" y="2160"/>
                  </a:lnTo>
                  <a:lnTo>
                    <a:pt x="576" y="2172"/>
                  </a:lnTo>
                  <a:lnTo>
                    <a:pt x="546" y="2172"/>
                  </a:lnTo>
                  <a:lnTo>
                    <a:pt x="516" y="2172"/>
                  </a:lnTo>
                  <a:lnTo>
                    <a:pt x="486" y="2172"/>
                  </a:lnTo>
                  <a:lnTo>
                    <a:pt x="462" y="2172"/>
                  </a:lnTo>
                  <a:lnTo>
                    <a:pt x="444" y="2196"/>
                  </a:lnTo>
                  <a:lnTo>
                    <a:pt x="432" y="2232"/>
                  </a:lnTo>
                  <a:lnTo>
                    <a:pt x="408" y="2238"/>
                  </a:lnTo>
                  <a:lnTo>
                    <a:pt x="390" y="2256"/>
                  </a:lnTo>
                  <a:lnTo>
                    <a:pt x="372" y="2274"/>
                  </a:lnTo>
                  <a:lnTo>
                    <a:pt x="360" y="2274"/>
                  </a:lnTo>
                  <a:lnTo>
                    <a:pt x="336" y="2328"/>
                  </a:lnTo>
                  <a:lnTo>
                    <a:pt x="324" y="2340"/>
                  </a:lnTo>
                  <a:lnTo>
                    <a:pt x="300" y="2346"/>
                  </a:lnTo>
                  <a:lnTo>
                    <a:pt x="294" y="2352"/>
                  </a:lnTo>
                  <a:lnTo>
                    <a:pt x="288" y="2352"/>
                  </a:lnTo>
                  <a:lnTo>
                    <a:pt x="282" y="2352"/>
                  </a:lnTo>
                  <a:lnTo>
                    <a:pt x="276" y="2352"/>
                  </a:lnTo>
                  <a:lnTo>
                    <a:pt x="270" y="2352"/>
                  </a:lnTo>
                  <a:lnTo>
                    <a:pt x="270" y="2346"/>
                  </a:lnTo>
                  <a:lnTo>
                    <a:pt x="264" y="2346"/>
                  </a:lnTo>
                  <a:lnTo>
                    <a:pt x="258" y="2352"/>
                  </a:lnTo>
                  <a:lnTo>
                    <a:pt x="252" y="2352"/>
                  </a:lnTo>
                  <a:lnTo>
                    <a:pt x="240" y="2352"/>
                  </a:lnTo>
                  <a:lnTo>
                    <a:pt x="228" y="2352"/>
                  </a:lnTo>
                  <a:lnTo>
                    <a:pt x="222" y="2352"/>
                  </a:lnTo>
                  <a:lnTo>
                    <a:pt x="216" y="2358"/>
                  </a:lnTo>
                  <a:lnTo>
                    <a:pt x="216" y="2352"/>
                  </a:lnTo>
                  <a:lnTo>
                    <a:pt x="210" y="2346"/>
                  </a:lnTo>
                  <a:lnTo>
                    <a:pt x="204" y="2346"/>
                  </a:lnTo>
                  <a:lnTo>
                    <a:pt x="198" y="2340"/>
                  </a:lnTo>
                  <a:lnTo>
                    <a:pt x="192" y="2340"/>
                  </a:lnTo>
                  <a:lnTo>
                    <a:pt x="186" y="2340"/>
                  </a:lnTo>
                  <a:lnTo>
                    <a:pt x="180" y="2340"/>
                  </a:lnTo>
                  <a:lnTo>
                    <a:pt x="174" y="2340"/>
                  </a:lnTo>
                  <a:lnTo>
                    <a:pt x="162" y="2328"/>
                  </a:lnTo>
                  <a:lnTo>
                    <a:pt x="156" y="2322"/>
                  </a:lnTo>
                  <a:lnTo>
                    <a:pt x="156" y="2316"/>
                  </a:lnTo>
                  <a:lnTo>
                    <a:pt x="156" y="2310"/>
                  </a:lnTo>
                  <a:lnTo>
                    <a:pt x="132" y="2286"/>
                  </a:lnTo>
                  <a:lnTo>
                    <a:pt x="120" y="2280"/>
                  </a:lnTo>
                  <a:lnTo>
                    <a:pt x="96" y="2274"/>
                  </a:lnTo>
                  <a:lnTo>
                    <a:pt x="84" y="2268"/>
                  </a:lnTo>
                  <a:lnTo>
                    <a:pt x="78" y="2268"/>
                  </a:lnTo>
                  <a:lnTo>
                    <a:pt x="78" y="2262"/>
                  </a:lnTo>
                  <a:lnTo>
                    <a:pt x="78" y="2256"/>
                  </a:lnTo>
                  <a:lnTo>
                    <a:pt x="78" y="2250"/>
                  </a:lnTo>
                  <a:lnTo>
                    <a:pt x="72" y="2250"/>
                  </a:lnTo>
                  <a:lnTo>
                    <a:pt x="66" y="2250"/>
                  </a:lnTo>
                  <a:lnTo>
                    <a:pt x="60" y="2250"/>
                  </a:lnTo>
                  <a:lnTo>
                    <a:pt x="48" y="2244"/>
                  </a:lnTo>
                  <a:lnTo>
                    <a:pt x="36" y="2238"/>
                  </a:lnTo>
                  <a:lnTo>
                    <a:pt x="36" y="2226"/>
                  </a:lnTo>
                  <a:lnTo>
                    <a:pt x="30" y="2226"/>
                  </a:lnTo>
                  <a:lnTo>
                    <a:pt x="30" y="2220"/>
                  </a:lnTo>
                  <a:lnTo>
                    <a:pt x="24" y="2208"/>
                  </a:lnTo>
                  <a:lnTo>
                    <a:pt x="18" y="2202"/>
                  </a:lnTo>
                  <a:lnTo>
                    <a:pt x="18" y="2196"/>
                  </a:lnTo>
                  <a:lnTo>
                    <a:pt x="12" y="2190"/>
                  </a:lnTo>
                  <a:lnTo>
                    <a:pt x="0" y="2190"/>
                  </a:lnTo>
                  <a:lnTo>
                    <a:pt x="6" y="2184"/>
                  </a:lnTo>
                  <a:lnTo>
                    <a:pt x="12" y="2178"/>
                  </a:lnTo>
                  <a:lnTo>
                    <a:pt x="18" y="2172"/>
                  </a:lnTo>
                  <a:lnTo>
                    <a:pt x="24" y="2166"/>
                  </a:lnTo>
                  <a:lnTo>
                    <a:pt x="30" y="2166"/>
                  </a:lnTo>
                  <a:lnTo>
                    <a:pt x="24" y="2160"/>
                  </a:lnTo>
                  <a:lnTo>
                    <a:pt x="30" y="2160"/>
                  </a:lnTo>
                  <a:lnTo>
                    <a:pt x="36" y="2154"/>
                  </a:lnTo>
                  <a:lnTo>
                    <a:pt x="36" y="2136"/>
                  </a:lnTo>
                  <a:lnTo>
                    <a:pt x="36" y="2118"/>
                  </a:lnTo>
                  <a:lnTo>
                    <a:pt x="48" y="2058"/>
                  </a:lnTo>
                  <a:lnTo>
                    <a:pt x="48" y="2022"/>
                  </a:lnTo>
                  <a:lnTo>
                    <a:pt x="48" y="2016"/>
                  </a:lnTo>
                  <a:lnTo>
                    <a:pt x="48" y="2010"/>
                  </a:lnTo>
                  <a:lnTo>
                    <a:pt x="48" y="2004"/>
                  </a:lnTo>
                  <a:lnTo>
                    <a:pt x="42" y="2004"/>
                  </a:lnTo>
                  <a:lnTo>
                    <a:pt x="42" y="1998"/>
                  </a:lnTo>
                  <a:lnTo>
                    <a:pt x="36" y="1992"/>
                  </a:lnTo>
                  <a:lnTo>
                    <a:pt x="42" y="1992"/>
                  </a:lnTo>
                  <a:lnTo>
                    <a:pt x="42" y="1986"/>
                  </a:lnTo>
                  <a:lnTo>
                    <a:pt x="48" y="1986"/>
                  </a:lnTo>
                  <a:lnTo>
                    <a:pt x="54" y="1986"/>
                  </a:lnTo>
                  <a:lnTo>
                    <a:pt x="60" y="1986"/>
                  </a:lnTo>
                  <a:lnTo>
                    <a:pt x="66" y="1980"/>
                  </a:lnTo>
                  <a:lnTo>
                    <a:pt x="72" y="1974"/>
                  </a:lnTo>
                  <a:lnTo>
                    <a:pt x="78" y="1974"/>
                  </a:lnTo>
                  <a:lnTo>
                    <a:pt x="84" y="1974"/>
                  </a:lnTo>
                  <a:lnTo>
                    <a:pt x="90" y="1974"/>
                  </a:lnTo>
                  <a:lnTo>
                    <a:pt x="96" y="1974"/>
                  </a:lnTo>
                  <a:lnTo>
                    <a:pt x="96" y="1968"/>
                  </a:lnTo>
                  <a:lnTo>
                    <a:pt x="102" y="1968"/>
                  </a:lnTo>
                  <a:lnTo>
                    <a:pt x="102" y="1962"/>
                  </a:lnTo>
                  <a:lnTo>
                    <a:pt x="108" y="1962"/>
                  </a:lnTo>
                  <a:lnTo>
                    <a:pt x="114" y="1956"/>
                  </a:lnTo>
                  <a:lnTo>
                    <a:pt x="120" y="1956"/>
                  </a:lnTo>
                  <a:lnTo>
                    <a:pt x="126" y="1950"/>
                  </a:lnTo>
                  <a:lnTo>
                    <a:pt x="132" y="1950"/>
                  </a:lnTo>
                  <a:lnTo>
                    <a:pt x="132" y="1944"/>
                  </a:lnTo>
                  <a:lnTo>
                    <a:pt x="126" y="1944"/>
                  </a:lnTo>
                  <a:lnTo>
                    <a:pt x="126" y="1938"/>
                  </a:lnTo>
                  <a:lnTo>
                    <a:pt x="126" y="1932"/>
                  </a:lnTo>
                  <a:lnTo>
                    <a:pt x="126" y="1926"/>
                  </a:lnTo>
                  <a:lnTo>
                    <a:pt x="114" y="1914"/>
                  </a:lnTo>
                  <a:lnTo>
                    <a:pt x="114" y="1896"/>
                  </a:lnTo>
                  <a:lnTo>
                    <a:pt x="108" y="1884"/>
                  </a:lnTo>
                  <a:lnTo>
                    <a:pt x="102" y="1872"/>
                  </a:lnTo>
                  <a:lnTo>
                    <a:pt x="96" y="1866"/>
                  </a:lnTo>
                  <a:lnTo>
                    <a:pt x="96" y="1860"/>
                  </a:lnTo>
                  <a:lnTo>
                    <a:pt x="90" y="1860"/>
                  </a:lnTo>
                  <a:lnTo>
                    <a:pt x="90" y="1854"/>
                  </a:lnTo>
                  <a:lnTo>
                    <a:pt x="84" y="1848"/>
                  </a:lnTo>
                  <a:lnTo>
                    <a:pt x="78" y="1842"/>
                  </a:lnTo>
                  <a:lnTo>
                    <a:pt x="72" y="1836"/>
                  </a:lnTo>
                  <a:lnTo>
                    <a:pt x="66" y="1830"/>
                  </a:lnTo>
                  <a:lnTo>
                    <a:pt x="60" y="1824"/>
                  </a:lnTo>
                  <a:lnTo>
                    <a:pt x="54" y="1824"/>
                  </a:lnTo>
                  <a:lnTo>
                    <a:pt x="48" y="1824"/>
                  </a:lnTo>
                  <a:lnTo>
                    <a:pt x="42" y="1818"/>
                  </a:lnTo>
                  <a:lnTo>
                    <a:pt x="54" y="1818"/>
                  </a:lnTo>
                  <a:lnTo>
                    <a:pt x="60" y="1812"/>
                  </a:lnTo>
                  <a:lnTo>
                    <a:pt x="66" y="1812"/>
                  </a:lnTo>
                  <a:lnTo>
                    <a:pt x="72" y="1812"/>
                  </a:lnTo>
                  <a:lnTo>
                    <a:pt x="78" y="1812"/>
                  </a:lnTo>
                  <a:lnTo>
                    <a:pt x="84" y="1812"/>
                  </a:lnTo>
                  <a:lnTo>
                    <a:pt x="90" y="1806"/>
                  </a:lnTo>
                  <a:lnTo>
                    <a:pt x="96" y="1800"/>
                  </a:lnTo>
                  <a:lnTo>
                    <a:pt x="102" y="1806"/>
                  </a:lnTo>
                  <a:lnTo>
                    <a:pt x="108" y="1800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26" y="1788"/>
                  </a:lnTo>
                  <a:lnTo>
                    <a:pt x="126" y="1794"/>
                  </a:lnTo>
                  <a:lnTo>
                    <a:pt x="132" y="1794"/>
                  </a:lnTo>
                  <a:lnTo>
                    <a:pt x="132" y="1788"/>
                  </a:lnTo>
                  <a:lnTo>
                    <a:pt x="138" y="1788"/>
                  </a:lnTo>
                  <a:lnTo>
                    <a:pt x="138" y="1782"/>
                  </a:lnTo>
                  <a:lnTo>
                    <a:pt x="144" y="1782"/>
                  </a:lnTo>
                  <a:lnTo>
                    <a:pt x="150" y="1776"/>
                  </a:lnTo>
                  <a:lnTo>
                    <a:pt x="156" y="1782"/>
                  </a:lnTo>
                  <a:lnTo>
                    <a:pt x="162" y="1776"/>
                  </a:lnTo>
                  <a:lnTo>
                    <a:pt x="168" y="1776"/>
                  </a:lnTo>
                  <a:lnTo>
                    <a:pt x="180" y="1776"/>
                  </a:lnTo>
                  <a:lnTo>
                    <a:pt x="186" y="1776"/>
                  </a:lnTo>
                  <a:lnTo>
                    <a:pt x="186" y="1782"/>
                  </a:lnTo>
                  <a:lnTo>
                    <a:pt x="192" y="1776"/>
                  </a:lnTo>
                  <a:lnTo>
                    <a:pt x="198" y="1776"/>
                  </a:lnTo>
                  <a:lnTo>
                    <a:pt x="204" y="1770"/>
                  </a:lnTo>
                  <a:lnTo>
                    <a:pt x="204" y="1764"/>
                  </a:lnTo>
                  <a:lnTo>
                    <a:pt x="210" y="1764"/>
                  </a:lnTo>
                  <a:lnTo>
                    <a:pt x="216" y="1764"/>
                  </a:lnTo>
                  <a:lnTo>
                    <a:pt x="216" y="1758"/>
                  </a:lnTo>
                  <a:lnTo>
                    <a:pt x="222" y="1758"/>
                  </a:lnTo>
                  <a:lnTo>
                    <a:pt x="228" y="1758"/>
                  </a:lnTo>
                  <a:lnTo>
                    <a:pt x="258" y="1746"/>
                  </a:lnTo>
                  <a:lnTo>
                    <a:pt x="282" y="1716"/>
                  </a:lnTo>
                  <a:lnTo>
                    <a:pt x="300" y="1698"/>
                  </a:lnTo>
                  <a:lnTo>
                    <a:pt x="312" y="1698"/>
                  </a:lnTo>
                  <a:lnTo>
                    <a:pt x="336" y="1698"/>
                  </a:lnTo>
                  <a:lnTo>
                    <a:pt x="360" y="1698"/>
                  </a:lnTo>
                  <a:lnTo>
                    <a:pt x="372" y="1692"/>
                  </a:lnTo>
                  <a:lnTo>
                    <a:pt x="384" y="1692"/>
                  </a:lnTo>
                  <a:lnTo>
                    <a:pt x="360" y="1668"/>
                  </a:lnTo>
                  <a:lnTo>
                    <a:pt x="348" y="1626"/>
                  </a:lnTo>
                  <a:lnTo>
                    <a:pt x="354" y="1578"/>
                  </a:lnTo>
                  <a:lnTo>
                    <a:pt x="354" y="1572"/>
                  </a:lnTo>
                  <a:lnTo>
                    <a:pt x="360" y="1572"/>
                  </a:lnTo>
                  <a:lnTo>
                    <a:pt x="396" y="1530"/>
                  </a:lnTo>
                  <a:lnTo>
                    <a:pt x="408" y="1482"/>
                  </a:lnTo>
                  <a:lnTo>
                    <a:pt x="438" y="1458"/>
                  </a:lnTo>
                  <a:lnTo>
                    <a:pt x="468" y="1422"/>
                  </a:lnTo>
                  <a:lnTo>
                    <a:pt x="480" y="1410"/>
                  </a:lnTo>
                  <a:lnTo>
                    <a:pt x="474" y="1386"/>
                  </a:lnTo>
                  <a:lnTo>
                    <a:pt x="456" y="1356"/>
                  </a:lnTo>
                  <a:lnTo>
                    <a:pt x="438" y="1350"/>
                  </a:lnTo>
                  <a:lnTo>
                    <a:pt x="420" y="1350"/>
                  </a:lnTo>
                  <a:lnTo>
                    <a:pt x="402" y="1350"/>
                  </a:lnTo>
                  <a:lnTo>
                    <a:pt x="390" y="1344"/>
                  </a:lnTo>
                  <a:lnTo>
                    <a:pt x="390" y="1332"/>
                  </a:lnTo>
                  <a:lnTo>
                    <a:pt x="402" y="1296"/>
                  </a:lnTo>
                  <a:lnTo>
                    <a:pt x="414" y="1260"/>
                  </a:lnTo>
                  <a:lnTo>
                    <a:pt x="426" y="1248"/>
                  </a:lnTo>
                  <a:lnTo>
                    <a:pt x="438" y="1242"/>
                  </a:lnTo>
                  <a:lnTo>
                    <a:pt x="432" y="1230"/>
                  </a:lnTo>
                  <a:lnTo>
                    <a:pt x="432" y="1224"/>
                  </a:lnTo>
                  <a:lnTo>
                    <a:pt x="426" y="1218"/>
                  </a:lnTo>
                  <a:lnTo>
                    <a:pt x="426" y="1206"/>
                  </a:lnTo>
                  <a:lnTo>
                    <a:pt x="426" y="1200"/>
                  </a:lnTo>
                  <a:lnTo>
                    <a:pt x="432" y="1194"/>
                  </a:lnTo>
                  <a:lnTo>
                    <a:pt x="426" y="1188"/>
                  </a:lnTo>
                  <a:lnTo>
                    <a:pt x="432" y="1104"/>
                  </a:lnTo>
                  <a:lnTo>
                    <a:pt x="438" y="1086"/>
                  </a:lnTo>
                  <a:lnTo>
                    <a:pt x="462" y="972"/>
                  </a:lnTo>
                  <a:lnTo>
                    <a:pt x="456" y="900"/>
                  </a:lnTo>
                  <a:lnTo>
                    <a:pt x="444" y="846"/>
                  </a:lnTo>
                  <a:lnTo>
                    <a:pt x="456" y="810"/>
                  </a:lnTo>
                  <a:lnTo>
                    <a:pt x="492" y="786"/>
                  </a:lnTo>
                  <a:lnTo>
                    <a:pt x="522" y="762"/>
                  </a:lnTo>
                  <a:lnTo>
                    <a:pt x="546" y="732"/>
                  </a:lnTo>
                  <a:lnTo>
                    <a:pt x="570" y="696"/>
                  </a:lnTo>
                  <a:lnTo>
                    <a:pt x="582" y="654"/>
                  </a:lnTo>
                  <a:lnTo>
                    <a:pt x="564" y="642"/>
                  </a:lnTo>
                  <a:lnTo>
                    <a:pt x="522" y="588"/>
                  </a:lnTo>
                  <a:lnTo>
                    <a:pt x="516" y="546"/>
                  </a:lnTo>
                  <a:lnTo>
                    <a:pt x="510" y="474"/>
                  </a:lnTo>
                  <a:lnTo>
                    <a:pt x="510" y="450"/>
                  </a:lnTo>
                  <a:lnTo>
                    <a:pt x="510" y="444"/>
                  </a:lnTo>
                  <a:lnTo>
                    <a:pt x="522" y="438"/>
                  </a:lnTo>
                  <a:lnTo>
                    <a:pt x="522" y="432"/>
                  </a:lnTo>
                  <a:lnTo>
                    <a:pt x="528" y="426"/>
                  </a:lnTo>
                  <a:lnTo>
                    <a:pt x="534" y="420"/>
                  </a:lnTo>
                  <a:lnTo>
                    <a:pt x="540" y="414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08"/>
                  </a:lnTo>
                  <a:lnTo>
                    <a:pt x="546" y="408"/>
                  </a:lnTo>
                  <a:lnTo>
                    <a:pt x="558" y="414"/>
                  </a:lnTo>
                  <a:lnTo>
                    <a:pt x="564" y="414"/>
                  </a:lnTo>
                  <a:lnTo>
                    <a:pt x="570" y="414"/>
                  </a:lnTo>
                  <a:lnTo>
                    <a:pt x="582" y="414"/>
                  </a:lnTo>
                  <a:lnTo>
                    <a:pt x="582" y="420"/>
                  </a:lnTo>
                  <a:lnTo>
                    <a:pt x="588" y="414"/>
                  </a:lnTo>
                  <a:lnTo>
                    <a:pt x="582" y="408"/>
                  </a:lnTo>
                  <a:lnTo>
                    <a:pt x="588" y="402"/>
                  </a:lnTo>
                  <a:lnTo>
                    <a:pt x="594" y="402"/>
                  </a:lnTo>
                  <a:lnTo>
                    <a:pt x="594" y="396"/>
                  </a:lnTo>
                  <a:lnTo>
                    <a:pt x="594" y="390"/>
                  </a:lnTo>
                  <a:lnTo>
                    <a:pt x="594" y="384"/>
                  </a:lnTo>
                  <a:lnTo>
                    <a:pt x="594" y="378"/>
                  </a:lnTo>
                  <a:lnTo>
                    <a:pt x="600" y="366"/>
                  </a:lnTo>
                  <a:lnTo>
                    <a:pt x="606" y="366"/>
                  </a:lnTo>
                  <a:lnTo>
                    <a:pt x="612" y="360"/>
                  </a:lnTo>
                  <a:lnTo>
                    <a:pt x="612" y="366"/>
                  </a:lnTo>
                  <a:lnTo>
                    <a:pt x="618" y="366"/>
                  </a:lnTo>
                  <a:lnTo>
                    <a:pt x="624" y="366"/>
                  </a:lnTo>
                  <a:lnTo>
                    <a:pt x="630" y="360"/>
                  </a:lnTo>
                  <a:lnTo>
                    <a:pt x="636" y="354"/>
                  </a:lnTo>
                  <a:lnTo>
                    <a:pt x="630" y="354"/>
                  </a:lnTo>
                  <a:lnTo>
                    <a:pt x="630" y="348"/>
                  </a:lnTo>
                  <a:lnTo>
                    <a:pt x="630" y="342"/>
                  </a:lnTo>
                  <a:lnTo>
                    <a:pt x="636" y="342"/>
                  </a:lnTo>
                  <a:lnTo>
                    <a:pt x="642" y="336"/>
                  </a:lnTo>
                  <a:lnTo>
                    <a:pt x="636" y="330"/>
                  </a:lnTo>
                  <a:lnTo>
                    <a:pt x="630" y="336"/>
                  </a:lnTo>
                  <a:lnTo>
                    <a:pt x="624" y="336"/>
                  </a:lnTo>
                  <a:lnTo>
                    <a:pt x="624" y="330"/>
                  </a:lnTo>
                  <a:lnTo>
                    <a:pt x="624" y="324"/>
                  </a:lnTo>
                  <a:lnTo>
                    <a:pt x="618" y="324"/>
                  </a:lnTo>
                  <a:lnTo>
                    <a:pt x="624" y="324"/>
                  </a:lnTo>
                  <a:lnTo>
                    <a:pt x="630" y="330"/>
                  </a:lnTo>
                  <a:lnTo>
                    <a:pt x="630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2" y="306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8" y="288"/>
                  </a:lnTo>
                  <a:lnTo>
                    <a:pt x="648" y="282"/>
                  </a:lnTo>
                  <a:lnTo>
                    <a:pt x="654" y="288"/>
                  </a:lnTo>
                  <a:lnTo>
                    <a:pt x="654" y="282"/>
                  </a:lnTo>
                  <a:lnTo>
                    <a:pt x="660" y="282"/>
                  </a:lnTo>
                  <a:lnTo>
                    <a:pt x="666" y="282"/>
                  </a:lnTo>
                  <a:lnTo>
                    <a:pt x="672" y="282"/>
                  </a:lnTo>
                  <a:lnTo>
                    <a:pt x="678" y="282"/>
                  </a:lnTo>
                  <a:lnTo>
                    <a:pt x="684" y="276"/>
                  </a:lnTo>
                  <a:lnTo>
                    <a:pt x="690" y="270"/>
                  </a:lnTo>
                  <a:lnTo>
                    <a:pt x="690" y="264"/>
                  </a:lnTo>
                  <a:lnTo>
                    <a:pt x="690" y="270"/>
                  </a:lnTo>
                  <a:lnTo>
                    <a:pt x="690" y="276"/>
                  </a:lnTo>
                  <a:lnTo>
                    <a:pt x="696" y="276"/>
                  </a:lnTo>
                  <a:lnTo>
                    <a:pt x="702" y="276"/>
                  </a:lnTo>
                  <a:lnTo>
                    <a:pt x="702" y="282"/>
                  </a:lnTo>
                  <a:lnTo>
                    <a:pt x="708" y="282"/>
                  </a:lnTo>
                  <a:lnTo>
                    <a:pt x="720" y="270"/>
                  </a:lnTo>
                  <a:lnTo>
                    <a:pt x="720" y="264"/>
                  </a:lnTo>
                  <a:lnTo>
                    <a:pt x="720" y="258"/>
                  </a:lnTo>
                  <a:lnTo>
                    <a:pt x="726" y="258"/>
                  </a:lnTo>
                  <a:lnTo>
                    <a:pt x="732" y="258"/>
                  </a:lnTo>
                  <a:lnTo>
                    <a:pt x="732" y="264"/>
                  </a:lnTo>
                  <a:lnTo>
                    <a:pt x="738" y="264"/>
                  </a:lnTo>
                  <a:lnTo>
                    <a:pt x="738" y="258"/>
                  </a:lnTo>
                  <a:lnTo>
                    <a:pt x="732" y="258"/>
                  </a:lnTo>
                  <a:lnTo>
                    <a:pt x="732" y="252"/>
                  </a:lnTo>
                  <a:lnTo>
                    <a:pt x="744" y="252"/>
                  </a:lnTo>
                  <a:lnTo>
                    <a:pt x="750" y="252"/>
                  </a:lnTo>
                  <a:lnTo>
                    <a:pt x="750" y="246"/>
                  </a:lnTo>
                  <a:lnTo>
                    <a:pt x="750" y="240"/>
                  </a:lnTo>
                  <a:lnTo>
                    <a:pt x="762" y="234"/>
                  </a:lnTo>
                  <a:lnTo>
                    <a:pt x="768" y="234"/>
                  </a:lnTo>
                  <a:lnTo>
                    <a:pt x="774" y="234"/>
                  </a:lnTo>
                  <a:lnTo>
                    <a:pt x="780" y="228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16"/>
                  </a:lnTo>
                  <a:lnTo>
                    <a:pt x="792" y="210"/>
                  </a:lnTo>
                  <a:lnTo>
                    <a:pt x="804" y="204"/>
                  </a:lnTo>
                  <a:lnTo>
                    <a:pt x="804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0" y="192"/>
                  </a:lnTo>
                  <a:lnTo>
                    <a:pt x="798" y="186"/>
                  </a:lnTo>
                  <a:lnTo>
                    <a:pt x="810" y="186"/>
                  </a:lnTo>
                  <a:lnTo>
                    <a:pt x="810" y="180"/>
                  </a:lnTo>
                  <a:lnTo>
                    <a:pt x="810" y="186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0" y="180"/>
                  </a:lnTo>
                  <a:lnTo>
                    <a:pt x="816" y="174"/>
                  </a:lnTo>
                  <a:lnTo>
                    <a:pt x="822" y="174"/>
                  </a:lnTo>
                  <a:lnTo>
                    <a:pt x="822" y="180"/>
                  </a:lnTo>
                  <a:lnTo>
                    <a:pt x="828" y="180"/>
                  </a:lnTo>
                  <a:lnTo>
                    <a:pt x="828" y="174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62"/>
                  </a:lnTo>
                  <a:lnTo>
                    <a:pt x="828" y="156"/>
                  </a:lnTo>
                  <a:lnTo>
                    <a:pt x="822" y="156"/>
                  </a:lnTo>
                  <a:lnTo>
                    <a:pt x="828" y="156"/>
                  </a:lnTo>
                  <a:lnTo>
                    <a:pt x="828" y="150"/>
                  </a:lnTo>
                  <a:lnTo>
                    <a:pt x="834" y="150"/>
                  </a:lnTo>
                  <a:lnTo>
                    <a:pt x="840" y="156"/>
                  </a:lnTo>
                  <a:lnTo>
                    <a:pt x="840" y="150"/>
                  </a:lnTo>
                  <a:lnTo>
                    <a:pt x="834" y="150"/>
                  </a:lnTo>
                  <a:lnTo>
                    <a:pt x="834" y="144"/>
                  </a:lnTo>
                  <a:lnTo>
                    <a:pt x="840" y="138"/>
                  </a:lnTo>
                  <a:lnTo>
                    <a:pt x="846" y="144"/>
                  </a:lnTo>
                  <a:lnTo>
                    <a:pt x="846" y="150"/>
                  </a:lnTo>
                  <a:lnTo>
                    <a:pt x="852" y="150"/>
                  </a:lnTo>
                  <a:lnTo>
                    <a:pt x="858" y="150"/>
                  </a:lnTo>
                  <a:lnTo>
                    <a:pt x="870" y="150"/>
                  </a:lnTo>
                  <a:lnTo>
                    <a:pt x="870" y="144"/>
                  </a:lnTo>
                  <a:lnTo>
                    <a:pt x="876" y="138"/>
                  </a:lnTo>
                  <a:lnTo>
                    <a:pt x="882" y="138"/>
                  </a:lnTo>
                  <a:lnTo>
                    <a:pt x="888" y="132"/>
                  </a:lnTo>
                  <a:lnTo>
                    <a:pt x="888" y="138"/>
                  </a:lnTo>
                  <a:lnTo>
                    <a:pt x="894" y="138"/>
                  </a:lnTo>
                  <a:lnTo>
                    <a:pt x="894" y="132"/>
                  </a:lnTo>
                  <a:lnTo>
                    <a:pt x="900" y="126"/>
                  </a:lnTo>
                  <a:lnTo>
                    <a:pt x="900" y="132"/>
                  </a:lnTo>
                  <a:lnTo>
                    <a:pt x="906" y="132"/>
                  </a:lnTo>
                  <a:lnTo>
                    <a:pt x="912" y="132"/>
                  </a:lnTo>
                  <a:lnTo>
                    <a:pt x="918" y="126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24" y="126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8" y="120"/>
                  </a:lnTo>
                  <a:lnTo>
                    <a:pt x="948" y="114"/>
                  </a:lnTo>
                  <a:lnTo>
                    <a:pt x="948" y="108"/>
                  </a:lnTo>
                  <a:lnTo>
                    <a:pt x="954" y="114"/>
                  </a:lnTo>
                  <a:lnTo>
                    <a:pt x="960" y="108"/>
                  </a:lnTo>
                  <a:lnTo>
                    <a:pt x="966" y="108"/>
                  </a:lnTo>
                  <a:lnTo>
                    <a:pt x="972" y="108"/>
                  </a:lnTo>
                  <a:lnTo>
                    <a:pt x="966" y="114"/>
                  </a:lnTo>
                  <a:lnTo>
                    <a:pt x="960" y="114"/>
                  </a:lnTo>
                  <a:lnTo>
                    <a:pt x="960" y="120"/>
                  </a:lnTo>
                  <a:lnTo>
                    <a:pt x="966" y="126"/>
                  </a:lnTo>
                  <a:lnTo>
                    <a:pt x="972" y="126"/>
                  </a:lnTo>
                  <a:lnTo>
                    <a:pt x="978" y="126"/>
                  </a:lnTo>
                  <a:lnTo>
                    <a:pt x="984" y="120"/>
                  </a:lnTo>
                  <a:lnTo>
                    <a:pt x="984" y="114"/>
                  </a:lnTo>
                  <a:lnTo>
                    <a:pt x="996" y="126"/>
                  </a:lnTo>
                  <a:lnTo>
                    <a:pt x="996" y="120"/>
                  </a:lnTo>
                  <a:lnTo>
                    <a:pt x="1002" y="120"/>
                  </a:lnTo>
                  <a:lnTo>
                    <a:pt x="996" y="114"/>
                  </a:lnTo>
                  <a:lnTo>
                    <a:pt x="1002" y="114"/>
                  </a:lnTo>
                  <a:lnTo>
                    <a:pt x="1008" y="114"/>
                  </a:lnTo>
                  <a:lnTo>
                    <a:pt x="1008" y="108"/>
                  </a:lnTo>
                  <a:lnTo>
                    <a:pt x="1014" y="108"/>
                  </a:lnTo>
                  <a:lnTo>
                    <a:pt x="1008" y="114"/>
                  </a:lnTo>
                  <a:lnTo>
                    <a:pt x="1008" y="120"/>
                  </a:lnTo>
                  <a:lnTo>
                    <a:pt x="1008" y="126"/>
                  </a:lnTo>
                  <a:lnTo>
                    <a:pt x="1014" y="126"/>
                  </a:lnTo>
                  <a:lnTo>
                    <a:pt x="1014" y="132"/>
                  </a:lnTo>
                  <a:lnTo>
                    <a:pt x="1020" y="132"/>
                  </a:lnTo>
                  <a:lnTo>
                    <a:pt x="1020" y="126"/>
                  </a:lnTo>
                  <a:lnTo>
                    <a:pt x="1020" y="120"/>
                  </a:lnTo>
                  <a:lnTo>
                    <a:pt x="1032" y="120"/>
                  </a:lnTo>
                  <a:lnTo>
                    <a:pt x="1038" y="120"/>
                  </a:lnTo>
                  <a:lnTo>
                    <a:pt x="1038" y="126"/>
                  </a:lnTo>
                  <a:lnTo>
                    <a:pt x="1044" y="132"/>
                  </a:lnTo>
                  <a:lnTo>
                    <a:pt x="1044" y="126"/>
                  </a:lnTo>
                  <a:lnTo>
                    <a:pt x="1050" y="120"/>
                  </a:lnTo>
                  <a:lnTo>
                    <a:pt x="1050" y="114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68" y="102"/>
                  </a:lnTo>
                  <a:lnTo>
                    <a:pt x="1074" y="96"/>
                  </a:lnTo>
                  <a:lnTo>
                    <a:pt x="1074" y="90"/>
                  </a:lnTo>
                  <a:lnTo>
                    <a:pt x="1068" y="90"/>
                  </a:lnTo>
                  <a:lnTo>
                    <a:pt x="1068" y="84"/>
                  </a:lnTo>
                  <a:lnTo>
                    <a:pt x="1080" y="84"/>
                  </a:lnTo>
                  <a:lnTo>
                    <a:pt x="1086" y="78"/>
                  </a:lnTo>
                  <a:lnTo>
                    <a:pt x="1086" y="72"/>
                  </a:lnTo>
                  <a:lnTo>
                    <a:pt x="1080" y="78"/>
                  </a:lnTo>
                  <a:lnTo>
                    <a:pt x="1080" y="72"/>
                  </a:lnTo>
                  <a:lnTo>
                    <a:pt x="1080" y="66"/>
                  </a:lnTo>
                  <a:lnTo>
                    <a:pt x="1074" y="66"/>
                  </a:lnTo>
                  <a:lnTo>
                    <a:pt x="1080" y="66"/>
                  </a:lnTo>
                  <a:lnTo>
                    <a:pt x="1080" y="60"/>
                  </a:lnTo>
                  <a:lnTo>
                    <a:pt x="1086" y="60"/>
                  </a:lnTo>
                  <a:lnTo>
                    <a:pt x="1086" y="54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2" y="42"/>
                  </a:lnTo>
                  <a:lnTo>
                    <a:pt x="1098" y="42"/>
                  </a:lnTo>
                  <a:lnTo>
                    <a:pt x="1104" y="36"/>
                  </a:lnTo>
                  <a:lnTo>
                    <a:pt x="1110" y="36"/>
                  </a:lnTo>
                  <a:lnTo>
                    <a:pt x="1110" y="30"/>
                  </a:lnTo>
                  <a:lnTo>
                    <a:pt x="1110" y="24"/>
                  </a:lnTo>
                  <a:lnTo>
                    <a:pt x="1116" y="24"/>
                  </a:lnTo>
                  <a:lnTo>
                    <a:pt x="1116" y="18"/>
                  </a:lnTo>
                  <a:lnTo>
                    <a:pt x="1122" y="18"/>
                  </a:lnTo>
                  <a:lnTo>
                    <a:pt x="1128" y="18"/>
                  </a:lnTo>
                  <a:lnTo>
                    <a:pt x="1134" y="12"/>
                  </a:lnTo>
                  <a:lnTo>
                    <a:pt x="1134" y="6"/>
                  </a:lnTo>
                  <a:lnTo>
                    <a:pt x="1140" y="6"/>
                  </a:lnTo>
                  <a:lnTo>
                    <a:pt x="1146" y="0"/>
                  </a:lnTo>
                  <a:lnTo>
                    <a:pt x="1152" y="0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70" y="0"/>
                  </a:lnTo>
                  <a:lnTo>
                    <a:pt x="1176" y="6"/>
                  </a:lnTo>
                  <a:lnTo>
                    <a:pt x="1182" y="6"/>
                  </a:lnTo>
                  <a:lnTo>
                    <a:pt x="1194" y="6"/>
                  </a:lnTo>
                  <a:lnTo>
                    <a:pt x="1200" y="6"/>
                  </a:lnTo>
                  <a:lnTo>
                    <a:pt x="1212" y="0"/>
                  </a:lnTo>
                  <a:lnTo>
                    <a:pt x="1212" y="6"/>
                  </a:lnTo>
                  <a:lnTo>
                    <a:pt x="1218" y="6"/>
                  </a:lnTo>
                  <a:lnTo>
                    <a:pt x="1266" y="6"/>
                  </a:lnTo>
                  <a:lnTo>
                    <a:pt x="1272" y="0"/>
                  </a:lnTo>
                  <a:lnTo>
                    <a:pt x="1278" y="6"/>
                  </a:lnTo>
                  <a:lnTo>
                    <a:pt x="1290" y="6"/>
                  </a:lnTo>
                  <a:lnTo>
                    <a:pt x="1296" y="6"/>
                  </a:lnTo>
                  <a:lnTo>
                    <a:pt x="1308" y="6"/>
                  </a:lnTo>
                  <a:lnTo>
                    <a:pt x="1314" y="6"/>
                  </a:lnTo>
                  <a:lnTo>
                    <a:pt x="1320" y="6"/>
                  </a:lnTo>
                  <a:lnTo>
                    <a:pt x="1326" y="12"/>
                  </a:lnTo>
                  <a:lnTo>
                    <a:pt x="1338" y="30"/>
                  </a:lnTo>
                  <a:lnTo>
                    <a:pt x="1344" y="36"/>
                  </a:lnTo>
                  <a:lnTo>
                    <a:pt x="1356" y="48"/>
                  </a:lnTo>
                  <a:lnTo>
                    <a:pt x="1362" y="60"/>
                  </a:lnTo>
                  <a:lnTo>
                    <a:pt x="1368" y="66"/>
                  </a:lnTo>
                  <a:lnTo>
                    <a:pt x="1374" y="72"/>
                  </a:lnTo>
                  <a:lnTo>
                    <a:pt x="1374" y="78"/>
                  </a:lnTo>
                  <a:lnTo>
                    <a:pt x="1398" y="108"/>
                  </a:lnTo>
                  <a:lnTo>
                    <a:pt x="1398" y="114"/>
                  </a:lnTo>
                  <a:lnTo>
                    <a:pt x="1404" y="114"/>
                  </a:lnTo>
                  <a:lnTo>
                    <a:pt x="1404" y="120"/>
                  </a:lnTo>
                  <a:lnTo>
                    <a:pt x="1410" y="132"/>
                  </a:lnTo>
                  <a:lnTo>
                    <a:pt x="1416" y="132"/>
                  </a:lnTo>
                  <a:lnTo>
                    <a:pt x="1416" y="138"/>
                  </a:lnTo>
                  <a:lnTo>
                    <a:pt x="1422" y="144"/>
                  </a:lnTo>
                  <a:lnTo>
                    <a:pt x="1428" y="150"/>
                  </a:lnTo>
                  <a:lnTo>
                    <a:pt x="1428" y="156"/>
                  </a:lnTo>
                  <a:lnTo>
                    <a:pt x="1458" y="192"/>
                  </a:lnTo>
                  <a:lnTo>
                    <a:pt x="1458" y="198"/>
                  </a:lnTo>
                  <a:lnTo>
                    <a:pt x="1464" y="204"/>
                  </a:lnTo>
                  <a:lnTo>
                    <a:pt x="1470" y="210"/>
                  </a:lnTo>
                  <a:lnTo>
                    <a:pt x="1476" y="216"/>
                  </a:lnTo>
                  <a:lnTo>
                    <a:pt x="1482" y="228"/>
                  </a:lnTo>
                  <a:lnTo>
                    <a:pt x="1488" y="234"/>
                  </a:lnTo>
                  <a:lnTo>
                    <a:pt x="1512" y="270"/>
                  </a:lnTo>
                  <a:lnTo>
                    <a:pt x="1512" y="276"/>
                  </a:lnTo>
                  <a:lnTo>
                    <a:pt x="1530" y="300"/>
                  </a:lnTo>
                  <a:lnTo>
                    <a:pt x="1536" y="306"/>
                  </a:lnTo>
                  <a:lnTo>
                    <a:pt x="1542" y="312"/>
                  </a:lnTo>
                  <a:lnTo>
                    <a:pt x="1542" y="318"/>
                  </a:lnTo>
                  <a:lnTo>
                    <a:pt x="1560" y="336"/>
                  </a:lnTo>
                  <a:lnTo>
                    <a:pt x="1566" y="348"/>
                  </a:lnTo>
                  <a:lnTo>
                    <a:pt x="1572" y="354"/>
                  </a:lnTo>
                  <a:lnTo>
                    <a:pt x="1578" y="360"/>
                  </a:lnTo>
                  <a:lnTo>
                    <a:pt x="1584" y="378"/>
                  </a:lnTo>
                  <a:lnTo>
                    <a:pt x="1590" y="378"/>
                  </a:lnTo>
                  <a:lnTo>
                    <a:pt x="1596" y="390"/>
                  </a:lnTo>
                  <a:lnTo>
                    <a:pt x="1602" y="396"/>
                  </a:lnTo>
                  <a:lnTo>
                    <a:pt x="1608" y="408"/>
                  </a:lnTo>
                  <a:lnTo>
                    <a:pt x="1614" y="408"/>
                  </a:lnTo>
                  <a:lnTo>
                    <a:pt x="1614" y="432"/>
                  </a:lnTo>
                  <a:lnTo>
                    <a:pt x="1620" y="438"/>
                  </a:lnTo>
                  <a:lnTo>
                    <a:pt x="1620" y="450"/>
                  </a:lnTo>
                  <a:lnTo>
                    <a:pt x="1620" y="462"/>
                  </a:lnTo>
                  <a:lnTo>
                    <a:pt x="1626" y="474"/>
                  </a:lnTo>
                  <a:lnTo>
                    <a:pt x="1626" y="480"/>
                  </a:lnTo>
                  <a:lnTo>
                    <a:pt x="1626" y="486"/>
                  </a:lnTo>
                  <a:lnTo>
                    <a:pt x="1632" y="522"/>
                  </a:lnTo>
                  <a:lnTo>
                    <a:pt x="1632" y="528"/>
                  </a:lnTo>
                  <a:lnTo>
                    <a:pt x="1632" y="534"/>
                  </a:lnTo>
                  <a:lnTo>
                    <a:pt x="1638" y="540"/>
                  </a:lnTo>
                  <a:lnTo>
                    <a:pt x="1638" y="558"/>
                  </a:lnTo>
                  <a:lnTo>
                    <a:pt x="1638" y="570"/>
                  </a:lnTo>
                  <a:lnTo>
                    <a:pt x="1644" y="582"/>
                  </a:lnTo>
                  <a:lnTo>
                    <a:pt x="1650" y="618"/>
                  </a:lnTo>
                  <a:lnTo>
                    <a:pt x="1650" y="624"/>
                  </a:lnTo>
                  <a:lnTo>
                    <a:pt x="1650" y="636"/>
                  </a:lnTo>
                  <a:lnTo>
                    <a:pt x="1656" y="642"/>
                  </a:lnTo>
                  <a:lnTo>
                    <a:pt x="1656" y="648"/>
                  </a:lnTo>
                  <a:lnTo>
                    <a:pt x="1656" y="654"/>
                  </a:lnTo>
                  <a:lnTo>
                    <a:pt x="1656" y="660"/>
                  </a:lnTo>
                  <a:lnTo>
                    <a:pt x="1662" y="696"/>
                  </a:lnTo>
                  <a:lnTo>
                    <a:pt x="1668" y="708"/>
                  </a:lnTo>
                  <a:lnTo>
                    <a:pt x="1668" y="714"/>
                  </a:lnTo>
                  <a:lnTo>
                    <a:pt x="1668" y="732"/>
                  </a:lnTo>
                  <a:lnTo>
                    <a:pt x="1668" y="744"/>
                  </a:lnTo>
                  <a:lnTo>
                    <a:pt x="1674" y="756"/>
                  </a:lnTo>
                  <a:lnTo>
                    <a:pt x="1680" y="762"/>
                  </a:lnTo>
                  <a:lnTo>
                    <a:pt x="1680" y="768"/>
                  </a:lnTo>
                  <a:lnTo>
                    <a:pt x="1680" y="774"/>
                  </a:lnTo>
                  <a:lnTo>
                    <a:pt x="1680" y="780"/>
                  </a:lnTo>
                  <a:lnTo>
                    <a:pt x="1674" y="786"/>
                  </a:lnTo>
                  <a:lnTo>
                    <a:pt x="1668" y="792"/>
                  </a:lnTo>
                  <a:lnTo>
                    <a:pt x="1668" y="798"/>
                  </a:lnTo>
                  <a:lnTo>
                    <a:pt x="1668" y="804"/>
                  </a:lnTo>
                  <a:lnTo>
                    <a:pt x="1674" y="804"/>
                  </a:lnTo>
                  <a:lnTo>
                    <a:pt x="1668" y="810"/>
                  </a:lnTo>
                  <a:lnTo>
                    <a:pt x="1674" y="810"/>
                  </a:lnTo>
                  <a:lnTo>
                    <a:pt x="1680" y="810"/>
                  </a:lnTo>
                  <a:lnTo>
                    <a:pt x="1680" y="816"/>
                  </a:lnTo>
                  <a:lnTo>
                    <a:pt x="1680" y="822"/>
                  </a:lnTo>
                  <a:lnTo>
                    <a:pt x="1674" y="822"/>
                  </a:lnTo>
                  <a:lnTo>
                    <a:pt x="1674" y="828"/>
                  </a:lnTo>
                  <a:lnTo>
                    <a:pt x="1668" y="828"/>
                  </a:lnTo>
                  <a:lnTo>
                    <a:pt x="1674" y="834"/>
                  </a:lnTo>
                  <a:lnTo>
                    <a:pt x="1668" y="834"/>
                  </a:lnTo>
                  <a:lnTo>
                    <a:pt x="1668" y="840"/>
                  </a:lnTo>
                  <a:lnTo>
                    <a:pt x="1674" y="840"/>
                  </a:lnTo>
                  <a:lnTo>
                    <a:pt x="1686" y="852"/>
                  </a:lnTo>
                  <a:lnTo>
                    <a:pt x="1692" y="858"/>
                  </a:lnTo>
                  <a:lnTo>
                    <a:pt x="1698" y="858"/>
                  </a:lnTo>
                  <a:lnTo>
                    <a:pt x="1698" y="864"/>
                  </a:lnTo>
                  <a:lnTo>
                    <a:pt x="1698" y="870"/>
                  </a:lnTo>
                  <a:lnTo>
                    <a:pt x="1704" y="864"/>
                  </a:lnTo>
                  <a:lnTo>
                    <a:pt x="1716" y="864"/>
                  </a:lnTo>
                  <a:lnTo>
                    <a:pt x="1722" y="864"/>
                  </a:lnTo>
                  <a:lnTo>
                    <a:pt x="1728" y="864"/>
                  </a:lnTo>
                  <a:lnTo>
                    <a:pt x="1734" y="864"/>
                  </a:lnTo>
                  <a:lnTo>
                    <a:pt x="1740" y="864"/>
                  </a:lnTo>
                  <a:lnTo>
                    <a:pt x="1746" y="876"/>
                  </a:lnTo>
                  <a:lnTo>
                    <a:pt x="1746" y="870"/>
                  </a:lnTo>
                  <a:lnTo>
                    <a:pt x="1740" y="864"/>
                  </a:lnTo>
                  <a:lnTo>
                    <a:pt x="1746" y="864"/>
                  </a:lnTo>
                  <a:lnTo>
                    <a:pt x="1752" y="870"/>
                  </a:lnTo>
                  <a:lnTo>
                    <a:pt x="1758" y="864"/>
                  </a:lnTo>
                  <a:lnTo>
                    <a:pt x="1764" y="864"/>
                  </a:lnTo>
                  <a:lnTo>
                    <a:pt x="1770" y="858"/>
                  </a:lnTo>
                  <a:lnTo>
                    <a:pt x="1782" y="864"/>
                  </a:lnTo>
                  <a:lnTo>
                    <a:pt x="1782" y="870"/>
                  </a:lnTo>
                  <a:lnTo>
                    <a:pt x="1788" y="864"/>
                  </a:lnTo>
                  <a:lnTo>
                    <a:pt x="1794" y="864"/>
                  </a:lnTo>
                  <a:lnTo>
                    <a:pt x="1800" y="870"/>
                  </a:lnTo>
                  <a:lnTo>
                    <a:pt x="1818" y="864"/>
                  </a:lnTo>
                  <a:lnTo>
                    <a:pt x="1824" y="870"/>
                  </a:lnTo>
                  <a:lnTo>
                    <a:pt x="1830" y="864"/>
                  </a:lnTo>
                  <a:lnTo>
                    <a:pt x="1836" y="864"/>
                  </a:lnTo>
                  <a:lnTo>
                    <a:pt x="1842" y="870"/>
                  </a:lnTo>
                  <a:lnTo>
                    <a:pt x="1842" y="876"/>
                  </a:lnTo>
                  <a:lnTo>
                    <a:pt x="1848" y="876"/>
                  </a:lnTo>
                  <a:lnTo>
                    <a:pt x="1848" y="870"/>
                  </a:lnTo>
                  <a:lnTo>
                    <a:pt x="1854" y="870"/>
                  </a:lnTo>
                  <a:lnTo>
                    <a:pt x="1860" y="870"/>
                  </a:lnTo>
                  <a:lnTo>
                    <a:pt x="1860" y="876"/>
                  </a:lnTo>
                  <a:lnTo>
                    <a:pt x="1866" y="876"/>
                  </a:lnTo>
                  <a:lnTo>
                    <a:pt x="1866" y="882"/>
                  </a:lnTo>
                  <a:lnTo>
                    <a:pt x="1872" y="882"/>
                  </a:lnTo>
                  <a:lnTo>
                    <a:pt x="1878" y="888"/>
                  </a:lnTo>
                  <a:lnTo>
                    <a:pt x="1890" y="888"/>
                  </a:lnTo>
                  <a:lnTo>
                    <a:pt x="1890" y="894"/>
                  </a:lnTo>
                  <a:lnTo>
                    <a:pt x="1890" y="900"/>
                  </a:lnTo>
                  <a:lnTo>
                    <a:pt x="1884" y="900"/>
                  </a:lnTo>
                  <a:lnTo>
                    <a:pt x="1884" y="906"/>
                  </a:lnTo>
                  <a:lnTo>
                    <a:pt x="1884" y="912"/>
                  </a:lnTo>
                  <a:lnTo>
                    <a:pt x="1890" y="912"/>
                  </a:lnTo>
                  <a:lnTo>
                    <a:pt x="1896" y="912"/>
                  </a:lnTo>
                  <a:lnTo>
                    <a:pt x="1902" y="912"/>
                  </a:lnTo>
                  <a:lnTo>
                    <a:pt x="1908" y="918"/>
                  </a:lnTo>
                  <a:lnTo>
                    <a:pt x="1908" y="924"/>
                  </a:lnTo>
                  <a:lnTo>
                    <a:pt x="1908" y="930"/>
                  </a:lnTo>
                  <a:lnTo>
                    <a:pt x="1908" y="936"/>
                  </a:lnTo>
                  <a:lnTo>
                    <a:pt x="1914" y="936"/>
                  </a:lnTo>
                  <a:lnTo>
                    <a:pt x="1914" y="942"/>
                  </a:lnTo>
                  <a:lnTo>
                    <a:pt x="1908" y="948"/>
                  </a:lnTo>
                  <a:lnTo>
                    <a:pt x="1914" y="948"/>
                  </a:lnTo>
                  <a:lnTo>
                    <a:pt x="1920" y="954"/>
                  </a:lnTo>
                  <a:lnTo>
                    <a:pt x="1926" y="954"/>
                  </a:lnTo>
                  <a:lnTo>
                    <a:pt x="1932" y="954"/>
                  </a:lnTo>
                  <a:lnTo>
                    <a:pt x="1938" y="954"/>
                  </a:lnTo>
                  <a:lnTo>
                    <a:pt x="1938" y="960"/>
                  </a:lnTo>
                  <a:lnTo>
                    <a:pt x="1944" y="966"/>
                  </a:lnTo>
                  <a:lnTo>
                    <a:pt x="1944" y="972"/>
                  </a:lnTo>
                  <a:lnTo>
                    <a:pt x="1944" y="978"/>
                  </a:lnTo>
                  <a:lnTo>
                    <a:pt x="1950" y="978"/>
                  </a:lnTo>
                  <a:lnTo>
                    <a:pt x="1950" y="984"/>
                  </a:lnTo>
                  <a:lnTo>
                    <a:pt x="1956" y="984"/>
                  </a:lnTo>
                  <a:lnTo>
                    <a:pt x="1962" y="984"/>
                  </a:lnTo>
                  <a:lnTo>
                    <a:pt x="1962" y="978"/>
                  </a:lnTo>
                  <a:lnTo>
                    <a:pt x="1968" y="978"/>
                  </a:lnTo>
                  <a:lnTo>
                    <a:pt x="1974" y="978"/>
                  </a:lnTo>
                  <a:lnTo>
                    <a:pt x="1980" y="972"/>
                  </a:lnTo>
                  <a:lnTo>
                    <a:pt x="1980" y="978"/>
                  </a:lnTo>
                  <a:lnTo>
                    <a:pt x="1980" y="984"/>
                  </a:lnTo>
                  <a:lnTo>
                    <a:pt x="1986" y="984"/>
                  </a:lnTo>
                  <a:lnTo>
                    <a:pt x="1992" y="990"/>
                  </a:lnTo>
                  <a:lnTo>
                    <a:pt x="1992" y="996"/>
                  </a:lnTo>
                  <a:lnTo>
                    <a:pt x="1992" y="1002"/>
                  </a:lnTo>
                  <a:lnTo>
                    <a:pt x="1974" y="1008"/>
                  </a:lnTo>
                  <a:lnTo>
                    <a:pt x="1974" y="1014"/>
                  </a:lnTo>
                  <a:lnTo>
                    <a:pt x="1974" y="1020"/>
                  </a:lnTo>
                  <a:lnTo>
                    <a:pt x="1974" y="1026"/>
                  </a:lnTo>
                  <a:lnTo>
                    <a:pt x="1968" y="1038"/>
                  </a:lnTo>
                  <a:lnTo>
                    <a:pt x="1968" y="1044"/>
                  </a:lnTo>
                  <a:lnTo>
                    <a:pt x="1974" y="1056"/>
                  </a:lnTo>
                  <a:lnTo>
                    <a:pt x="1968" y="1062"/>
                  </a:lnTo>
                  <a:lnTo>
                    <a:pt x="1962" y="1062"/>
                  </a:lnTo>
                  <a:lnTo>
                    <a:pt x="1956" y="1068"/>
                  </a:lnTo>
                  <a:lnTo>
                    <a:pt x="1956" y="1074"/>
                  </a:lnTo>
                  <a:lnTo>
                    <a:pt x="1956" y="1080"/>
                  </a:lnTo>
                  <a:lnTo>
                    <a:pt x="1956" y="1086"/>
                  </a:lnTo>
                  <a:lnTo>
                    <a:pt x="1956" y="1092"/>
                  </a:lnTo>
                  <a:lnTo>
                    <a:pt x="1962" y="1092"/>
                  </a:lnTo>
                  <a:lnTo>
                    <a:pt x="1962" y="1104"/>
                  </a:lnTo>
                  <a:lnTo>
                    <a:pt x="1968" y="1110"/>
                  </a:lnTo>
                  <a:lnTo>
                    <a:pt x="1968" y="1116"/>
                  </a:lnTo>
                  <a:lnTo>
                    <a:pt x="1974" y="1116"/>
                  </a:lnTo>
                  <a:lnTo>
                    <a:pt x="1974" y="1122"/>
                  </a:lnTo>
                  <a:lnTo>
                    <a:pt x="1980" y="1122"/>
                  </a:lnTo>
                  <a:lnTo>
                    <a:pt x="1974" y="1128"/>
                  </a:lnTo>
                  <a:lnTo>
                    <a:pt x="1968" y="1134"/>
                  </a:lnTo>
                  <a:lnTo>
                    <a:pt x="1962" y="1140"/>
                  </a:lnTo>
                  <a:lnTo>
                    <a:pt x="1962" y="1146"/>
                  </a:lnTo>
                  <a:lnTo>
                    <a:pt x="1968" y="1152"/>
                  </a:lnTo>
                  <a:lnTo>
                    <a:pt x="1968" y="1158"/>
                  </a:lnTo>
                  <a:lnTo>
                    <a:pt x="1962" y="1158"/>
                  </a:lnTo>
                  <a:lnTo>
                    <a:pt x="1962" y="1164"/>
                  </a:lnTo>
                  <a:lnTo>
                    <a:pt x="1956" y="1164"/>
                  </a:lnTo>
                  <a:lnTo>
                    <a:pt x="1956" y="1170"/>
                  </a:lnTo>
                  <a:lnTo>
                    <a:pt x="1944" y="1182"/>
                  </a:lnTo>
                  <a:lnTo>
                    <a:pt x="1944" y="1188"/>
                  </a:lnTo>
                  <a:lnTo>
                    <a:pt x="1950" y="1188"/>
                  </a:lnTo>
                  <a:lnTo>
                    <a:pt x="1944" y="1200"/>
                  </a:lnTo>
                  <a:lnTo>
                    <a:pt x="1944" y="1206"/>
                  </a:lnTo>
                  <a:lnTo>
                    <a:pt x="1944" y="1212"/>
                  </a:lnTo>
                  <a:lnTo>
                    <a:pt x="1944" y="1218"/>
                  </a:lnTo>
                  <a:lnTo>
                    <a:pt x="1944" y="1230"/>
                  </a:lnTo>
                  <a:lnTo>
                    <a:pt x="1944" y="1236"/>
                  </a:lnTo>
                  <a:lnTo>
                    <a:pt x="1944" y="1242"/>
                  </a:lnTo>
                  <a:lnTo>
                    <a:pt x="1938" y="1248"/>
                  </a:lnTo>
                  <a:lnTo>
                    <a:pt x="1938" y="1254"/>
                  </a:lnTo>
                  <a:lnTo>
                    <a:pt x="1932" y="1254"/>
                  </a:lnTo>
                  <a:lnTo>
                    <a:pt x="1926" y="1260"/>
                  </a:lnTo>
                  <a:lnTo>
                    <a:pt x="1920" y="1266"/>
                  </a:lnTo>
                  <a:lnTo>
                    <a:pt x="1914" y="1272"/>
                  </a:lnTo>
                  <a:lnTo>
                    <a:pt x="1908" y="1272"/>
                  </a:lnTo>
                  <a:lnTo>
                    <a:pt x="1908" y="1278"/>
                  </a:lnTo>
                  <a:lnTo>
                    <a:pt x="1914" y="1278"/>
                  </a:lnTo>
                  <a:lnTo>
                    <a:pt x="1914" y="1290"/>
                  </a:lnTo>
                  <a:lnTo>
                    <a:pt x="1920" y="1296"/>
                  </a:lnTo>
                  <a:lnTo>
                    <a:pt x="1938" y="1302"/>
                  </a:lnTo>
                  <a:lnTo>
                    <a:pt x="1944" y="1308"/>
                  </a:lnTo>
                  <a:lnTo>
                    <a:pt x="1950" y="1314"/>
                  </a:lnTo>
                  <a:lnTo>
                    <a:pt x="1956" y="1314"/>
                  </a:lnTo>
                  <a:lnTo>
                    <a:pt x="1962" y="1320"/>
                  </a:lnTo>
                  <a:lnTo>
                    <a:pt x="1962" y="1326"/>
                  </a:lnTo>
                  <a:lnTo>
                    <a:pt x="1968" y="1326"/>
                  </a:lnTo>
                  <a:lnTo>
                    <a:pt x="1968" y="1332"/>
                  </a:lnTo>
                  <a:lnTo>
                    <a:pt x="1968" y="1344"/>
                  </a:lnTo>
                  <a:lnTo>
                    <a:pt x="1968" y="1350"/>
                  </a:lnTo>
                  <a:lnTo>
                    <a:pt x="1968" y="1368"/>
                  </a:lnTo>
                  <a:lnTo>
                    <a:pt x="1962" y="1380"/>
                  </a:lnTo>
                  <a:lnTo>
                    <a:pt x="1968" y="1392"/>
                  </a:lnTo>
                  <a:lnTo>
                    <a:pt x="1962" y="1398"/>
                  </a:lnTo>
                  <a:lnTo>
                    <a:pt x="1956" y="1404"/>
                  </a:lnTo>
                  <a:lnTo>
                    <a:pt x="1950" y="1410"/>
                  </a:lnTo>
                  <a:lnTo>
                    <a:pt x="1944" y="1410"/>
                  </a:lnTo>
                  <a:lnTo>
                    <a:pt x="1932" y="1416"/>
                  </a:lnTo>
                  <a:lnTo>
                    <a:pt x="1926" y="1416"/>
                  </a:lnTo>
                  <a:lnTo>
                    <a:pt x="1896" y="1428"/>
                  </a:lnTo>
                  <a:lnTo>
                    <a:pt x="1884" y="1434"/>
                  </a:lnTo>
                  <a:lnTo>
                    <a:pt x="1878" y="1434"/>
                  </a:lnTo>
                  <a:lnTo>
                    <a:pt x="1866" y="1434"/>
                  </a:lnTo>
                  <a:lnTo>
                    <a:pt x="1854" y="1440"/>
                  </a:lnTo>
                  <a:lnTo>
                    <a:pt x="1848" y="1440"/>
                  </a:lnTo>
                  <a:lnTo>
                    <a:pt x="1842" y="1446"/>
                  </a:lnTo>
                  <a:lnTo>
                    <a:pt x="1842" y="1458"/>
                  </a:lnTo>
                  <a:lnTo>
                    <a:pt x="1836" y="1470"/>
                  </a:lnTo>
                  <a:lnTo>
                    <a:pt x="1830" y="1476"/>
                  </a:lnTo>
                  <a:lnTo>
                    <a:pt x="1824" y="1476"/>
                  </a:lnTo>
                  <a:lnTo>
                    <a:pt x="1806" y="1482"/>
                  </a:lnTo>
                  <a:lnTo>
                    <a:pt x="1800" y="1488"/>
                  </a:lnTo>
                  <a:lnTo>
                    <a:pt x="1794" y="1488"/>
                  </a:lnTo>
                  <a:lnTo>
                    <a:pt x="1788" y="1488"/>
                  </a:lnTo>
                  <a:lnTo>
                    <a:pt x="1776" y="1494"/>
                  </a:lnTo>
                  <a:lnTo>
                    <a:pt x="1764" y="1494"/>
                  </a:lnTo>
                  <a:lnTo>
                    <a:pt x="1758" y="1500"/>
                  </a:lnTo>
                  <a:lnTo>
                    <a:pt x="1746" y="1506"/>
                  </a:lnTo>
                  <a:lnTo>
                    <a:pt x="1728" y="1518"/>
                  </a:lnTo>
                  <a:lnTo>
                    <a:pt x="1716" y="1524"/>
                  </a:lnTo>
                  <a:lnTo>
                    <a:pt x="1710" y="1530"/>
                  </a:lnTo>
                  <a:lnTo>
                    <a:pt x="1704" y="1536"/>
                  </a:lnTo>
                  <a:lnTo>
                    <a:pt x="1698" y="1542"/>
                  </a:lnTo>
                  <a:lnTo>
                    <a:pt x="1692" y="1554"/>
                  </a:lnTo>
                  <a:lnTo>
                    <a:pt x="1686" y="1560"/>
                  </a:lnTo>
                  <a:lnTo>
                    <a:pt x="1680" y="1560"/>
                  </a:lnTo>
                  <a:lnTo>
                    <a:pt x="1674" y="1560"/>
                  </a:lnTo>
                  <a:lnTo>
                    <a:pt x="1656" y="1572"/>
                  </a:lnTo>
                  <a:lnTo>
                    <a:pt x="1650" y="1572"/>
                  </a:lnTo>
                  <a:lnTo>
                    <a:pt x="1644" y="1572"/>
                  </a:lnTo>
                  <a:lnTo>
                    <a:pt x="1638" y="1578"/>
                  </a:lnTo>
                  <a:lnTo>
                    <a:pt x="1632" y="1578"/>
                  </a:lnTo>
                  <a:lnTo>
                    <a:pt x="1626" y="1578"/>
                  </a:lnTo>
                  <a:lnTo>
                    <a:pt x="1620" y="1572"/>
                  </a:lnTo>
                  <a:lnTo>
                    <a:pt x="1614" y="1572"/>
                  </a:lnTo>
                  <a:lnTo>
                    <a:pt x="1608" y="1566"/>
                  </a:lnTo>
                  <a:lnTo>
                    <a:pt x="1602" y="1560"/>
                  </a:lnTo>
                  <a:lnTo>
                    <a:pt x="1596" y="1554"/>
                  </a:lnTo>
                  <a:lnTo>
                    <a:pt x="1590" y="1548"/>
                  </a:lnTo>
                  <a:lnTo>
                    <a:pt x="1578" y="1548"/>
                  </a:lnTo>
                  <a:lnTo>
                    <a:pt x="1572" y="1548"/>
                  </a:lnTo>
                  <a:lnTo>
                    <a:pt x="1566" y="1548"/>
                  </a:lnTo>
                  <a:lnTo>
                    <a:pt x="1554" y="1536"/>
                  </a:lnTo>
                  <a:lnTo>
                    <a:pt x="1548" y="1536"/>
                  </a:lnTo>
                  <a:lnTo>
                    <a:pt x="1542" y="1542"/>
                  </a:lnTo>
                  <a:lnTo>
                    <a:pt x="1536" y="1548"/>
                  </a:lnTo>
                  <a:lnTo>
                    <a:pt x="1536" y="1566"/>
                  </a:lnTo>
                  <a:lnTo>
                    <a:pt x="1530" y="1572"/>
                  </a:lnTo>
                  <a:lnTo>
                    <a:pt x="1524" y="1578"/>
                  </a:lnTo>
                  <a:lnTo>
                    <a:pt x="1518" y="1584"/>
                  </a:lnTo>
                  <a:lnTo>
                    <a:pt x="1512" y="1596"/>
                  </a:lnTo>
                  <a:lnTo>
                    <a:pt x="1506" y="1602"/>
                  </a:lnTo>
                  <a:lnTo>
                    <a:pt x="1506" y="1608"/>
                  </a:lnTo>
                  <a:lnTo>
                    <a:pt x="1506" y="1614"/>
                  </a:lnTo>
                  <a:lnTo>
                    <a:pt x="1500" y="1614"/>
                  </a:lnTo>
                  <a:lnTo>
                    <a:pt x="1500" y="1620"/>
                  </a:lnTo>
                  <a:lnTo>
                    <a:pt x="1500" y="1626"/>
                  </a:lnTo>
                  <a:lnTo>
                    <a:pt x="1494" y="1632"/>
                  </a:lnTo>
                  <a:lnTo>
                    <a:pt x="1488" y="1638"/>
                  </a:lnTo>
                  <a:lnTo>
                    <a:pt x="1482" y="1638"/>
                  </a:lnTo>
                  <a:lnTo>
                    <a:pt x="1482" y="1644"/>
                  </a:lnTo>
                  <a:lnTo>
                    <a:pt x="1482" y="1650"/>
                  </a:lnTo>
                  <a:lnTo>
                    <a:pt x="1482" y="1656"/>
                  </a:lnTo>
                  <a:lnTo>
                    <a:pt x="1476" y="1662"/>
                  </a:lnTo>
                  <a:lnTo>
                    <a:pt x="1470" y="1668"/>
                  </a:lnTo>
                  <a:lnTo>
                    <a:pt x="1464" y="1674"/>
                  </a:lnTo>
                  <a:lnTo>
                    <a:pt x="1464" y="1680"/>
                  </a:lnTo>
                  <a:lnTo>
                    <a:pt x="1458" y="1680"/>
                  </a:lnTo>
                  <a:lnTo>
                    <a:pt x="1452" y="1686"/>
                  </a:lnTo>
                  <a:lnTo>
                    <a:pt x="1446" y="1686"/>
                  </a:lnTo>
                  <a:lnTo>
                    <a:pt x="1440" y="1698"/>
                  </a:lnTo>
                  <a:lnTo>
                    <a:pt x="1440" y="1704"/>
                  </a:lnTo>
                  <a:lnTo>
                    <a:pt x="1434" y="1710"/>
                  </a:lnTo>
                  <a:lnTo>
                    <a:pt x="1434" y="1716"/>
                  </a:lnTo>
                  <a:lnTo>
                    <a:pt x="1428" y="1716"/>
                  </a:lnTo>
                  <a:lnTo>
                    <a:pt x="1428" y="1722"/>
                  </a:lnTo>
                  <a:lnTo>
                    <a:pt x="1428" y="1728"/>
                  </a:lnTo>
                  <a:lnTo>
                    <a:pt x="1422" y="1728"/>
                  </a:lnTo>
                  <a:lnTo>
                    <a:pt x="1422" y="1734"/>
                  </a:lnTo>
                  <a:lnTo>
                    <a:pt x="1416" y="1734"/>
                  </a:lnTo>
                  <a:lnTo>
                    <a:pt x="1410" y="1734"/>
                  </a:lnTo>
                  <a:lnTo>
                    <a:pt x="1392" y="1746"/>
                  </a:lnTo>
                  <a:lnTo>
                    <a:pt x="1386" y="1746"/>
                  </a:lnTo>
                  <a:lnTo>
                    <a:pt x="1368" y="1752"/>
                  </a:lnTo>
                  <a:lnTo>
                    <a:pt x="1362" y="1758"/>
                  </a:lnTo>
                  <a:lnTo>
                    <a:pt x="1362" y="1770"/>
                  </a:lnTo>
                  <a:lnTo>
                    <a:pt x="1356" y="178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</p:grpSp>
      <p:graphicFrame>
        <p:nvGraphicFramePr>
          <p:cNvPr id="357" name="Group 76">
            <a:extLst>
              <a:ext uri="{FF2B5EF4-FFF2-40B4-BE49-F238E27FC236}">
                <a16:creationId xmlns:a16="http://schemas.microsoft.com/office/drawing/2014/main" id="{57830D68-CF73-4A3E-9D36-141B03AADBF7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41338" y="3402013"/>
          <a:ext cx="3735387" cy="1827306"/>
        </p:xfrm>
        <a:graphic>
          <a:graphicData uri="http://schemas.openxmlformats.org/drawingml/2006/table">
            <a:tbl>
              <a:tblPr/>
              <a:tblGrid>
                <a:gridCol w="1316931">
                  <a:extLst>
                    <a:ext uri="{9D8B030D-6E8A-4147-A177-3AD203B41FA5}">
                      <a16:colId xmlns:a16="http://schemas.microsoft.com/office/drawing/2014/main" val="2027704273"/>
                    </a:ext>
                  </a:extLst>
                </a:gridCol>
                <a:gridCol w="603796">
                  <a:extLst>
                    <a:ext uri="{9D8B030D-6E8A-4147-A177-3AD203B41FA5}">
                      <a16:colId xmlns:a16="http://schemas.microsoft.com/office/drawing/2014/main" val="3432768286"/>
                    </a:ext>
                  </a:extLst>
                </a:gridCol>
                <a:gridCol w="744015">
                  <a:extLst>
                    <a:ext uri="{9D8B030D-6E8A-4147-A177-3AD203B41FA5}">
                      <a16:colId xmlns:a16="http://schemas.microsoft.com/office/drawing/2014/main" val="3730294207"/>
                    </a:ext>
                  </a:extLst>
                </a:gridCol>
                <a:gridCol w="1070645">
                  <a:extLst>
                    <a:ext uri="{9D8B030D-6E8A-4147-A177-3AD203B41FA5}">
                      <a16:colId xmlns:a16="http://schemas.microsoft.com/office/drawing/2014/main" val="2258321117"/>
                    </a:ext>
                  </a:extLst>
                </a:gridCol>
              </a:tblGrid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apital</a:t>
                      </a:r>
                      <a:endParaRPr kumimoji="0" lang="en-SG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292929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SG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Abuj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703009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nd Are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7, 607 km</a:t>
                      </a:r>
                      <a:r>
                        <a:rPr kumimoji="0" lang="en-US" altLang="en-US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29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603614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Population (2017E)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3,421,848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29 of 37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505851"/>
                  </a:ext>
                </a:extLst>
              </a:tr>
              <a:tr h="203024">
                <a:tc row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Dem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0-14: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,303,113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8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130093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5-64: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,065,309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60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387564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65+: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+mn-cs"/>
                        </a:rPr>
                        <a:t>     53,426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[2%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38801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bour force 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,627,110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26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797882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limate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ropical savann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3942226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op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Rocky mountainous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32899"/>
                  </a:ext>
                </a:extLst>
              </a:tr>
            </a:tbl>
          </a:graphicData>
        </a:graphic>
      </p:graphicFrame>
      <p:pic>
        <p:nvPicPr>
          <p:cNvPr id="23609" name="Picture 13">
            <a:extLst>
              <a:ext uri="{FF2B5EF4-FFF2-40B4-BE49-F238E27FC236}">
                <a16:creationId xmlns:a16="http://schemas.microsoft.com/office/drawing/2014/main" id="{952964D5-F0ED-4CAE-B71C-DB4A723FA5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0" y="3006725"/>
            <a:ext cx="1116013" cy="155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9" name="TextBox 378">
            <a:extLst>
              <a:ext uri="{FF2B5EF4-FFF2-40B4-BE49-F238E27FC236}">
                <a16:creationId xmlns:a16="http://schemas.microsoft.com/office/drawing/2014/main" id="{1B3FD4BF-4685-4C74-821F-10048D6246BF}"/>
              </a:ext>
            </a:extLst>
          </p:cNvPr>
          <p:cNvSpPr txBox="1"/>
          <p:nvPr/>
        </p:nvSpPr>
        <p:spPr>
          <a:xfrm>
            <a:off x="6124575" y="957263"/>
            <a:ext cx="3475038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mpetitive Advantages</a:t>
            </a: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455FE7A1-ADE5-4F7B-A489-00196671A53E}"/>
              </a:ext>
            </a:extLst>
          </p:cNvPr>
          <p:cNvSpPr/>
          <p:nvPr/>
        </p:nvSpPr>
        <p:spPr>
          <a:xfrm>
            <a:off x="4267248" y="1187511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19.2bn/$63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EBB25788-D073-4A78-9D6C-DF3836CFFFBB}"/>
              </a:ext>
            </a:extLst>
          </p:cNvPr>
          <p:cNvSpPr txBox="1"/>
          <p:nvPr/>
        </p:nvSpPr>
        <p:spPr>
          <a:xfrm>
            <a:off x="4267200" y="955675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GR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6F07DF39-553B-44F0-8864-1F897C2BD79A}"/>
              </a:ext>
            </a:extLst>
          </p:cNvPr>
          <p:cNvSpPr/>
          <p:nvPr/>
        </p:nvSpPr>
        <p:spPr>
          <a:xfrm>
            <a:off x="4267252" y="1809750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222bn/$727.9bn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2508695A-2D2C-45A3-80FE-9C2CB18200C2}"/>
              </a:ext>
            </a:extLst>
          </p:cNvPr>
          <p:cNvSpPr txBox="1"/>
          <p:nvPr/>
        </p:nvSpPr>
        <p:spPr>
          <a:xfrm>
            <a:off x="4267200" y="1576388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Budget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8)</a:t>
            </a: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86A33ABE-3AE3-40A7-A6A6-1B757A6A9B0F}"/>
              </a:ext>
            </a:extLst>
          </p:cNvPr>
          <p:cNvSpPr/>
          <p:nvPr/>
        </p:nvSpPr>
        <p:spPr>
          <a:xfrm>
            <a:off x="4256076" y="2667155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1.9trn /$8.6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1E919764-A18B-4532-A533-A84A31D7FEFE}"/>
              </a:ext>
            </a:extLst>
          </p:cNvPr>
          <p:cNvSpPr txBox="1"/>
          <p:nvPr/>
        </p:nvSpPr>
        <p:spPr>
          <a:xfrm>
            <a:off x="4256088" y="2185988"/>
            <a:ext cx="1811337" cy="50641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Household </a:t>
            </a:r>
          </a:p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nsumption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96" name="Plaque 95">
            <a:extLst>
              <a:ext uri="{FF2B5EF4-FFF2-40B4-BE49-F238E27FC236}">
                <a16:creationId xmlns:a16="http://schemas.microsoft.com/office/drawing/2014/main" id="{E3BE1182-17B4-4194-8641-F1EA2CCBB757}"/>
              </a:ext>
            </a:extLst>
          </p:cNvPr>
          <p:cNvSpPr/>
          <p:nvPr/>
        </p:nvSpPr>
        <p:spPr>
          <a:xfrm>
            <a:off x="5612195" y="2805162"/>
            <a:ext cx="468312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7 of 37</a:t>
            </a:r>
          </a:p>
        </p:txBody>
      </p:sp>
      <p:sp>
        <p:nvSpPr>
          <p:cNvPr id="99" name="Plaque 98">
            <a:extLst>
              <a:ext uri="{FF2B5EF4-FFF2-40B4-BE49-F238E27FC236}">
                <a16:creationId xmlns:a16="http://schemas.microsoft.com/office/drawing/2014/main" id="{8620E393-1C52-4CE1-9888-20922FA6DFEA}"/>
              </a:ext>
            </a:extLst>
          </p:cNvPr>
          <p:cNvSpPr/>
          <p:nvPr/>
        </p:nvSpPr>
        <p:spPr>
          <a:xfrm>
            <a:off x="5689600" y="1951038"/>
            <a:ext cx="377825" cy="153987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X of 36</a:t>
            </a:r>
          </a:p>
        </p:txBody>
      </p:sp>
      <p:sp>
        <p:nvSpPr>
          <p:cNvPr id="100" name="Plaque 99">
            <a:extLst>
              <a:ext uri="{FF2B5EF4-FFF2-40B4-BE49-F238E27FC236}">
                <a16:creationId xmlns:a16="http://schemas.microsoft.com/office/drawing/2014/main" id="{3BFA6D28-9A42-4459-8BF1-090CE1B45216}"/>
              </a:ext>
            </a:extLst>
          </p:cNvPr>
          <p:cNvSpPr/>
          <p:nvPr/>
        </p:nvSpPr>
        <p:spPr>
          <a:xfrm>
            <a:off x="5638800" y="1333500"/>
            <a:ext cx="430213" cy="1539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latin typeface="Calibri" panose="020F0502020204030204" pitchFamily="34" charset="0"/>
                <a:cs typeface="Calibri" panose="020F0502020204030204" pitchFamily="34" charset="0"/>
              </a:rPr>
              <a:t>X of 36</a:t>
            </a:r>
          </a:p>
        </p:txBody>
      </p:sp>
      <p:sp>
        <p:nvSpPr>
          <p:cNvPr id="101" name="Pentagon 19">
            <a:extLst>
              <a:ext uri="{FF2B5EF4-FFF2-40B4-BE49-F238E27FC236}">
                <a16:creationId xmlns:a16="http://schemas.microsoft.com/office/drawing/2014/main" id="{CCD74FA4-19D0-4356-90C9-B3B49BCC3F54}"/>
              </a:ext>
            </a:extLst>
          </p:cNvPr>
          <p:cNvSpPr>
            <a:spLocks/>
          </p:cNvSpPr>
          <p:nvPr/>
        </p:nvSpPr>
        <p:spPr bwMode="auto">
          <a:xfrm>
            <a:off x="688340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 of 37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12EE735-1E43-4799-A46A-5D0787F375CE}"/>
              </a:ext>
            </a:extLst>
          </p:cNvPr>
          <p:cNvSpPr/>
          <p:nvPr/>
        </p:nvSpPr>
        <p:spPr>
          <a:xfrm>
            <a:off x="6880225" y="5726113"/>
            <a:ext cx="642938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Starting a Business</a:t>
            </a:r>
          </a:p>
        </p:txBody>
      </p:sp>
      <p:pic>
        <p:nvPicPr>
          <p:cNvPr id="23622" name="Picture 3">
            <a:extLst>
              <a:ext uri="{FF2B5EF4-FFF2-40B4-BE49-F238E27FC236}">
                <a16:creationId xmlns:a16="http://schemas.microsoft.com/office/drawing/2014/main" id="{53FAD0C6-8FFE-437B-B7E4-F2A938D3BE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350" y="5249863"/>
            <a:ext cx="41910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23" name="Freeform 15">
            <a:extLst>
              <a:ext uri="{FF2B5EF4-FFF2-40B4-BE49-F238E27FC236}">
                <a16:creationId xmlns:a16="http://schemas.microsoft.com/office/drawing/2014/main" id="{183A3C8B-011E-4D99-9165-3FF03A2D3207}"/>
              </a:ext>
            </a:extLst>
          </p:cNvPr>
          <p:cNvSpPr>
            <a:spLocks noEditPoints="1"/>
          </p:cNvSpPr>
          <p:nvPr/>
        </p:nvSpPr>
        <p:spPr bwMode="auto">
          <a:xfrm>
            <a:off x="9093200" y="5257800"/>
            <a:ext cx="276225" cy="347663"/>
          </a:xfrm>
          <a:custGeom>
            <a:avLst/>
            <a:gdLst>
              <a:gd name="T0" fmla="*/ 2147483646 w 3556"/>
              <a:gd name="T1" fmla="*/ 2147483646 h 3950"/>
              <a:gd name="T2" fmla="*/ 2147483646 w 3556"/>
              <a:gd name="T3" fmla="*/ 2147483646 h 3950"/>
              <a:gd name="T4" fmla="*/ 2147483646 w 3556"/>
              <a:gd name="T5" fmla="*/ 2147483646 h 3950"/>
              <a:gd name="T6" fmla="*/ 2147483646 w 3556"/>
              <a:gd name="T7" fmla="*/ 2147483646 h 3950"/>
              <a:gd name="T8" fmla="*/ 2147483646 w 3556"/>
              <a:gd name="T9" fmla="*/ 2147483646 h 3950"/>
              <a:gd name="T10" fmla="*/ 2147483646 w 3556"/>
              <a:gd name="T11" fmla="*/ 2147483646 h 3950"/>
              <a:gd name="T12" fmla="*/ 2147483646 w 3556"/>
              <a:gd name="T13" fmla="*/ 2147483646 h 3950"/>
              <a:gd name="T14" fmla="*/ 2147483646 w 3556"/>
              <a:gd name="T15" fmla="*/ 2147483646 h 3950"/>
              <a:gd name="T16" fmla="*/ 2147483646 w 3556"/>
              <a:gd name="T17" fmla="*/ 2147483646 h 3950"/>
              <a:gd name="T18" fmla="*/ 2147483646 w 3556"/>
              <a:gd name="T19" fmla="*/ 2147483646 h 3950"/>
              <a:gd name="T20" fmla="*/ 2147483646 w 3556"/>
              <a:gd name="T21" fmla="*/ 2147483646 h 3950"/>
              <a:gd name="T22" fmla="*/ 0 w 3556"/>
              <a:gd name="T23" fmla="*/ 2147483646 h 3950"/>
              <a:gd name="T24" fmla="*/ 2147483646 w 3556"/>
              <a:gd name="T25" fmla="*/ 2147483646 h 3950"/>
              <a:gd name="T26" fmla="*/ 2147483646 w 3556"/>
              <a:gd name="T27" fmla="*/ 2147483646 h 3950"/>
              <a:gd name="T28" fmla="*/ 2147483646 w 3556"/>
              <a:gd name="T29" fmla="*/ 2147483646 h 3950"/>
              <a:gd name="T30" fmla="*/ 2147483646 w 3556"/>
              <a:gd name="T31" fmla="*/ 2147483646 h 3950"/>
              <a:gd name="T32" fmla="*/ 2147483646 w 3556"/>
              <a:gd name="T33" fmla="*/ 2147483646 h 3950"/>
              <a:gd name="T34" fmla="*/ 2147483646 w 3556"/>
              <a:gd name="T35" fmla="*/ 2147483646 h 3950"/>
              <a:gd name="T36" fmla="*/ 2147483646 w 3556"/>
              <a:gd name="T37" fmla="*/ 2147483646 h 3950"/>
              <a:gd name="T38" fmla="*/ 2147483646 w 3556"/>
              <a:gd name="T39" fmla="*/ 2147483646 h 3950"/>
              <a:gd name="T40" fmla="*/ 2147483646 w 3556"/>
              <a:gd name="T41" fmla="*/ 2147483646 h 3950"/>
              <a:gd name="T42" fmla="*/ 2147483646 w 3556"/>
              <a:gd name="T43" fmla="*/ 2147483646 h 3950"/>
              <a:gd name="T44" fmla="*/ 2147483646 w 3556"/>
              <a:gd name="T45" fmla="*/ 2147483646 h 3950"/>
              <a:gd name="T46" fmla="*/ 2147483646 w 3556"/>
              <a:gd name="T47" fmla="*/ 2147483646 h 3950"/>
              <a:gd name="T48" fmla="*/ 2147483646 w 3556"/>
              <a:gd name="T49" fmla="*/ 2147483646 h 3950"/>
              <a:gd name="T50" fmla="*/ 2147483646 w 3556"/>
              <a:gd name="T51" fmla="*/ 2147483646 h 3950"/>
              <a:gd name="T52" fmla="*/ 2147483646 w 3556"/>
              <a:gd name="T53" fmla="*/ 2147483646 h 3950"/>
              <a:gd name="T54" fmla="*/ 2147483646 w 3556"/>
              <a:gd name="T55" fmla="*/ 2147483646 h 3950"/>
              <a:gd name="T56" fmla="*/ 2147483646 w 3556"/>
              <a:gd name="T57" fmla="*/ 2147483646 h 3950"/>
              <a:gd name="T58" fmla="*/ 2147483646 w 3556"/>
              <a:gd name="T59" fmla="*/ 2147483646 h 3950"/>
              <a:gd name="T60" fmla="*/ 2147483646 w 3556"/>
              <a:gd name="T61" fmla="*/ 2147483646 h 3950"/>
              <a:gd name="T62" fmla="*/ 2147483646 w 3556"/>
              <a:gd name="T63" fmla="*/ 2147483646 h 3950"/>
              <a:gd name="T64" fmla="*/ 2147483646 w 3556"/>
              <a:gd name="T65" fmla="*/ 2147483646 h 3950"/>
              <a:gd name="T66" fmla="*/ 2147483646 w 3556"/>
              <a:gd name="T67" fmla="*/ 2147483646 h 3950"/>
              <a:gd name="T68" fmla="*/ 2147483646 w 3556"/>
              <a:gd name="T69" fmla="*/ 2147483646 h 3950"/>
              <a:gd name="T70" fmla="*/ 2147483646 w 3556"/>
              <a:gd name="T71" fmla="*/ 2147483646 h 3950"/>
              <a:gd name="T72" fmla="*/ 2147483646 w 3556"/>
              <a:gd name="T73" fmla="*/ 2147483646 h 3950"/>
              <a:gd name="T74" fmla="*/ 2147483646 w 3556"/>
              <a:gd name="T75" fmla="*/ 2147483646 h 3950"/>
              <a:gd name="T76" fmla="*/ 2147483646 w 3556"/>
              <a:gd name="T77" fmla="*/ 2147483646 h 3950"/>
              <a:gd name="T78" fmla="*/ 2147483646 w 3556"/>
              <a:gd name="T79" fmla="*/ 2147483646 h 3950"/>
              <a:gd name="T80" fmla="*/ 2147483646 w 3556"/>
              <a:gd name="T81" fmla="*/ 0 h 3950"/>
              <a:gd name="T82" fmla="*/ 2147483646 w 3556"/>
              <a:gd name="T83" fmla="*/ 2147483646 h 3950"/>
              <a:gd name="T84" fmla="*/ 2147483646 w 3556"/>
              <a:gd name="T85" fmla="*/ 2147483646 h 3950"/>
              <a:gd name="T86" fmla="*/ 2147483646 w 3556"/>
              <a:gd name="T87" fmla="*/ 2147483646 h 395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556"/>
              <a:gd name="T133" fmla="*/ 0 h 3950"/>
              <a:gd name="T134" fmla="*/ 3556 w 3556"/>
              <a:gd name="T135" fmla="*/ 3950 h 395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556" h="3950">
                <a:moveTo>
                  <a:pt x="909" y="3917"/>
                </a:moveTo>
                <a:cubicBezTo>
                  <a:pt x="824" y="3832"/>
                  <a:pt x="894" y="3725"/>
                  <a:pt x="1036" y="3725"/>
                </a:cubicBezTo>
                <a:cubicBezTo>
                  <a:pt x="1119" y="3725"/>
                  <a:pt x="1129" y="3717"/>
                  <a:pt x="1129" y="3645"/>
                </a:cubicBezTo>
                <a:cubicBezTo>
                  <a:pt x="1129" y="3472"/>
                  <a:pt x="1135" y="3471"/>
                  <a:pt x="2192" y="3471"/>
                </a:cubicBezTo>
                <a:cubicBezTo>
                  <a:pt x="3086" y="3471"/>
                  <a:pt x="3155" y="3475"/>
                  <a:pt x="3199" y="3523"/>
                </a:cubicBezTo>
                <a:cubicBezTo>
                  <a:pt x="3225" y="3551"/>
                  <a:pt x="3246" y="3608"/>
                  <a:pt x="3246" y="3648"/>
                </a:cubicBezTo>
                <a:cubicBezTo>
                  <a:pt x="3246" y="3712"/>
                  <a:pt x="3259" y="3723"/>
                  <a:pt x="3349" y="3730"/>
                </a:cubicBezTo>
                <a:cubicBezTo>
                  <a:pt x="3470" y="3741"/>
                  <a:pt x="3530" y="3811"/>
                  <a:pt x="3482" y="3887"/>
                </a:cubicBezTo>
                <a:cubicBezTo>
                  <a:pt x="3453" y="3933"/>
                  <a:pt x="3356" y="3937"/>
                  <a:pt x="2197" y="3944"/>
                </a:cubicBezTo>
                <a:cubicBezTo>
                  <a:pt x="1245" y="3950"/>
                  <a:pt x="935" y="3943"/>
                  <a:pt x="909" y="3917"/>
                </a:cubicBezTo>
                <a:close/>
                <a:moveTo>
                  <a:pt x="87" y="3370"/>
                </a:moveTo>
                <a:cubicBezTo>
                  <a:pt x="24" y="3317"/>
                  <a:pt x="0" y="3272"/>
                  <a:pt x="0" y="3209"/>
                </a:cubicBezTo>
                <a:cubicBezTo>
                  <a:pt x="0" y="3132"/>
                  <a:pt x="86" y="3035"/>
                  <a:pt x="705" y="2414"/>
                </a:cubicBezTo>
                <a:lnTo>
                  <a:pt x="1411" y="1706"/>
                </a:lnTo>
                <a:lnTo>
                  <a:pt x="1235" y="1530"/>
                </a:lnTo>
                <a:lnTo>
                  <a:pt x="1059" y="1355"/>
                </a:lnTo>
                <a:lnTo>
                  <a:pt x="1510" y="903"/>
                </a:lnTo>
                <a:lnTo>
                  <a:pt x="1960" y="452"/>
                </a:lnTo>
                <a:lnTo>
                  <a:pt x="2135" y="624"/>
                </a:lnTo>
                <a:cubicBezTo>
                  <a:pt x="2305" y="793"/>
                  <a:pt x="2310" y="796"/>
                  <a:pt x="2374" y="751"/>
                </a:cubicBezTo>
                <a:cubicBezTo>
                  <a:pt x="2469" y="685"/>
                  <a:pt x="2547" y="695"/>
                  <a:pt x="2633" y="785"/>
                </a:cubicBezTo>
                <a:cubicBezTo>
                  <a:pt x="2720" y="875"/>
                  <a:pt x="2731" y="974"/>
                  <a:pt x="2662" y="1050"/>
                </a:cubicBezTo>
                <a:cubicBezTo>
                  <a:pt x="2616" y="1100"/>
                  <a:pt x="2624" y="1112"/>
                  <a:pt x="2823" y="1313"/>
                </a:cubicBezTo>
                <a:lnTo>
                  <a:pt x="3033" y="1524"/>
                </a:lnTo>
                <a:lnTo>
                  <a:pt x="2582" y="1975"/>
                </a:lnTo>
                <a:lnTo>
                  <a:pt x="2132" y="2427"/>
                </a:lnTo>
                <a:lnTo>
                  <a:pt x="1933" y="2229"/>
                </a:lnTo>
                <a:cubicBezTo>
                  <a:pt x="1824" y="2121"/>
                  <a:pt x="1722" y="2032"/>
                  <a:pt x="1707" y="2032"/>
                </a:cubicBezTo>
                <a:cubicBezTo>
                  <a:pt x="1693" y="2032"/>
                  <a:pt x="1362" y="2349"/>
                  <a:pt x="973" y="2737"/>
                </a:cubicBezTo>
                <a:cubicBezTo>
                  <a:pt x="584" y="3125"/>
                  <a:pt x="245" y="3443"/>
                  <a:pt x="220" y="3443"/>
                </a:cubicBezTo>
                <a:cubicBezTo>
                  <a:pt x="194" y="3443"/>
                  <a:pt x="135" y="3410"/>
                  <a:pt x="87" y="3370"/>
                </a:cubicBezTo>
                <a:close/>
                <a:moveTo>
                  <a:pt x="2258" y="2887"/>
                </a:moveTo>
                <a:cubicBezTo>
                  <a:pt x="2196" y="2865"/>
                  <a:pt x="2145" y="2792"/>
                  <a:pt x="2145" y="2725"/>
                </a:cubicBezTo>
                <a:cubicBezTo>
                  <a:pt x="2145" y="2686"/>
                  <a:pt x="2337" y="2474"/>
                  <a:pt x="2703" y="2109"/>
                </a:cubicBezTo>
                <a:cubicBezTo>
                  <a:pt x="3289" y="1523"/>
                  <a:pt x="3346" y="1485"/>
                  <a:pt x="3453" y="1604"/>
                </a:cubicBezTo>
                <a:cubicBezTo>
                  <a:pt x="3556" y="1717"/>
                  <a:pt x="3522" y="1766"/>
                  <a:pt x="2956" y="2331"/>
                </a:cubicBezTo>
                <a:cubicBezTo>
                  <a:pt x="2657" y="2630"/>
                  <a:pt x="2388" y="2880"/>
                  <a:pt x="2357" y="2888"/>
                </a:cubicBezTo>
                <a:cubicBezTo>
                  <a:pt x="2326" y="2895"/>
                  <a:pt x="2281" y="2895"/>
                  <a:pt x="2258" y="2887"/>
                </a:cubicBezTo>
                <a:close/>
                <a:moveTo>
                  <a:pt x="637" y="1282"/>
                </a:moveTo>
                <a:cubicBezTo>
                  <a:pt x="528" y="1172"/>
                  <a:pt x="568" y="1113"/>
                  <a:pt x="1137" y="544"/>
                </a:cubicBezTo>
                <a:cubicBezTo>
                  <a:pt x="1607" y="74"/>
                  <a:pt x="1693" y="0"/>
                  <a:pt x="1767" y="0"/>
                </a:cubicBezTo>
                <a:cubicBezTo>
                  <a:pt x="1862" y="0"/>
                  <a:pt x="1947" y="73"/>
                  <a:pt x="1947" y="156"/>
                </a:cubicBezTo>
                <a:cubicBezTo>
                  <a:pt x="1947" y="186"/>
                  <a:pt x="1715" y="442"/>
                  <a:pt x="1391" y="767"/>
                </a:cubicBezTo>
                <a:cubicBezTo>
                  <a:pt x="808" y="1353"/>
                  <a:pt x="749" y="1393"/>
                  <a:pt x="637" y="12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4" name="Group 118">
            <a:extLst>
              <a:ext uri="{FF2B5EF4-FFF2-40B4-BE49-F238E27FC236}">
                <a16:creationId xmlns:a16="http://schemas.microsoft.com/office/drawing/2014/main" id="{FB3D6A90-C4FD-433A-A1C1-A4B3864804A5}"/>
              </a:ext>
            </a:extLst>
          </p:cNvPr>
          <p:cNvGrpSpPr/>
          <p:nvPr/>
        </p:nvGrpSpPr>
        <p:grpSpPr>
          <a:xfrm>
            <a:off x="8409631" y="5248358"/>
            <a:ext cx="346498" cy="347472"/>
            <a:chOff x="1468138" y="5997240"/>
            <a:chExt cx="283642" cy="307072"/>
          </a:xfrm>
          <a:solidFill>
            <a:schemeClr val="bg1"/>
          </a:solidFill>
        </p:grpSpPr>
        <p:sp>
          <p:nvSpPr>
            <p:cNvPr id="120" name="Freeform 16">
              <a:extLst>
                <a:ext uri="{FF2B5EF4-FFF2-40B4-BE49-F238E27FC236}">
                  <a16:creationId xmlns:a16="http://schemas.microsoft.com/office/drawing/2014/main" id="{D6134FC8-4249-4088-8AE8-003C8AAC7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6136" y="6255221"/>
              <a:ext cx="26428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1 w 349"/>
                <a:gd name="T25" fmla="*/ 226 h 350"/>
                <a:gd name="T26" fmla="*/ 225 w 349"/>
                <a:gd name="T27" fmla="*/ 213 h 350"/>
                <a:gd name="T28" fmla="*/ 234 w 349"/>
                <a:gd name="T29" fmla="*/ 194 h 350"/>
                <a:gd name="T30" fmla="*/ 237 w 349"/>
                <a:gd name="T31" fmla="*/ 175 h 350"/>
                <a:gd name="T32" fmla="*/ 235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5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4 w 349"/>
                <a:gd name="T47" fmla="*/ 3 h 350"/>
                <a:gd name="T48" fmla="*/ 234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8 w 349"/>
                <a:gd name="T55" fmla="*/ 63 h 350"/>
                <a:gd name="T56" fmla="*/ 325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5 w 349"/>
                <a:gd name="T65" fmla="*/ 210 h 350"/>
                <a:gd name="T66" fmla="*/ 335 w 349"/>
                <a:gd name="T67" fmla="*/ 243 h 350"/>
                <a:gd name="T68" fmla="*/ 319 w 349"/>
                <a:gd name="T69" fmla="*/ 273 h 350"/>
                <a:gd name="T70" fmla="*/ 297 w 349"/>
                <a:gd name="T71" fmla="*/ 299 h 350"/>
                <a:gd name="T72" fmla="*/ 272 w 349"/>
                <a:gd name="T73" fmla="*/ 319 h 350"/>
                <a:gd name="T74" fmla="*/ 242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39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29 w 349"/>
                <a:gd name="T89" fmla="*/ 273 h 350"/>
                <a:gd name="T90" fmla="*/ 14 w 349"/>
                <a:gd name="T91" fmla="*/ 243 h 350"/>
                <a:gd name="T92" fmla="*/ 3 w 349"/>
                <a:gd name="T93" fmla="*/ 210 h 350"/>
                <a:gd name="T94" fmla="*/ 0 w 349"/>
                <a:gd name="T95" fmla="*/ 175 h 350"/>
                <a:gd name="T96" fmla="*/ 3 w 349"/>
                <a:gd name="T97" fmla="*/ 140 h 350"/>
                <a:gd name="T98" fmla="*/ 14 w 349"/>
                <a:gd name="T99" fmla="*/ 107 h 350"/>
                <a:gd name="T100" fmla="*/ 29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39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1" y="226"/>
                  </a:lnTo>
                  <a:lnTo>
                    <a:pt x="225" y="213"/>
                  </a:lnTo>
                  <a:lnTo>
                    <a:pt x="234" y="194"/>
                  </a:lnTo>
                  <a:lnTo>
                    <a:pt x="237" y="175"/>
                  </a:lnTo>
                  <a:lnTo>
                    <a:pt x="235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5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4" y="3"/>
                  </a:lnTo>
                  <a:lnTo>
                    <a:pt x="234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8" y="63"/>
                  </a:lnTo>
                  <a:lnTo>
                    <a:pt x="325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5" y="210"/>
                  </a:lnTo>
                  <a:lnTo>
                    <a:pt x="335" y="243"/>
                  </a:lnTo>
                  <a:lnTo>
                    <a:pt x="319" y="273"/>
                  </a:lnTo>
                  <a:lnTo>
                    <a:pt x="297" y="299"/>
                  </a:lnTo>
                  <a:lnTo>
                    <a:pt x="272" y="319"/>
                  </a:lnTo>
                  <a:lnTo>
                    <a:pt x="242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39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29" y="273"/>
                  </a:lnTo>
                  <a:lnTo>
                    <a:pt x="14" y="243"/>
                  </a:lnTo>
                  <a:lnTo>
                    <a:pt x="3" y="210"/>
                  </a:lnTo>
                  <a:lnTo>
                    <a:pt x="0" y="175"/>
                  </a:lnTo>
                  <a:lnTo>
                    <a:pt x="3" y="140"/>
                  </a:lnTo>
                  <a:lnTo>
                    <a:pt x="14" y="107"/>
                  </a:lnTo>
                  <a:lnTo>
                    <a:pt x="29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39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1" name="Freeform 17">
              <a:extLst>
                <a:ext uri="{FF2B5EF4-FFF2-40B4-BE49-F238E27FC236}">
                  <a16:creationId xmlns:a16="http://schemas.microsoft.com/office/drawing/2014/main" id="{67A5F0B0-C078-4A85-9E32-409FF0B3D5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2133" y="6255221"/>
              <a:ext cx="26656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2 w 349"/>
                <a:gd name="T25" fmla="*/ 226 h 350"/>
                <a:gd name="T26" fmla="*/ 226 w 349"/>
                <a:gd name="T27" fmla="*/ 213 h 350"/>
                <a:gd name="T28" fmla="*/ 235 w 349"/>
                <a:gd name="T29" fmla="*/ 194 h 350"/>
                <a:gd name="T30" fmla="*/ 237 w 349"/>
                <a:gd name="T31" fmla="*/ 175 h 350"/>
                <a:gd name="T32" fmla="*/ 236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7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5 w 349"/>
                <a:gd name="T47" fmla="*/ 3 h 350"/>
                <a:gd name="T48" fmla="*/ 235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9 w 349"/>
                <a:gd name="T55" fmla="*/ 63 h 350"/>
                <a:gd name="T56" fmla="*/ 326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6 w 349"/>
                <a:gd name="T65" fmla="*/ 210 h 350"/>
                <a:gd name="T66" fmla="*/ 336 w 349"/>
                <a:gd name="T67" fmla="*/ 243 h 350"/>
                <a:gd name="T68" fmla="*/ 319 w 349"/>
                <a:gd name="T69" fmla="*/ 273 h 350"/>
                <a:gd name="T70" fmla="*/ 298 w 349"/>
                <a:gd name="T71" fmla="*/ 299 h 350"/>
                <a:gd name="T72" fmla="*/ 272 w 349"/>
                <a:gd name="T73" fmla="*/ 319 h 350"/>
                <a:gd name="T74" fmla="*/ 243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40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30 w 349"/>
                <a:gd name="T89" fmla="*/ 273 h 350"/>
                <a:gd name="T90" fmla="*/ 14 w 349"/>
                <a:gd name="T91" fmla="*/ 243 h 350"/>
                <a:gd name="T92" fmla="*/ 4 w 349"/>
                <a:gd name="T93" fmla="*/ 210 h 350"/>
                <a:gd name="T94" fmla="*/ 0 w 349"/>
                <a:gd name="T95" fmla="*/ 175 h 350"/>
                <a:gd name="T96" fmla="*/ 4 w 349"/>
                <a:gd name="T97" fmla="*/ 140 h 350"/>
                <a:gd name="T98" fmla="*/ 14 w 349"/>
                <a:gd name="T99" fmla="*/ 107 h 350"/>
                <a:gd name="T100" fmla="*/ 30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40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7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7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5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19" y="273"/>
                  </a:lnTo>
                  <a:lnTo>
                    <a:pt x="298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2" name="Freeform 18">
              <a:extLst>
                <a:ext uri="{FF2B5EF4-FFF2-40B4-BE49-F238E27FC236}">
                  <a16:creationId xmlns:a16="http://schemas.microsoft.com/office/drawing/2014/main" id="{BF1784DA-3E40-44FD-998D-DB1DD379C0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8357" y="6255221"/>
              <a:ext cx="26428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7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1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7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8 w 350"/>
                <a:gd name="T31" fmla="*/ 175 h 350"/>
                <a:gd name="T32" fmla="*/ 236 w 350"/>
                <a:gd name="T33" fmla="*/ 158 h 350"/>
                <a:gd name="T34" fmla="*/ 229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7 w 350"/>
                <a:gd name="T53" fmla="*/ 41 h 350"/>
                <a:gd name="T54" fmla="*/ 309 w 350"/>
                <a:gd name="T55" fmla="*/ 63 h 350"/>
                <a:gd name="T56" fmla="*/ 326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2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7 w 350"/>
                <a:gd name="T85" fmla="*/ 319 h 350"/>
                <a:gd name="T86" fmla="*/ 51 w 350"/>
                <a:gd name="T87" fmla="*/ 299 h 350"/>
                <a:gd name="T88" fmla="*/ 30 w 350"/>
                <a:gd name="T89" fmla="*/ 273 h 350"/>
                <a:gd name="T90" fmla="*/ 14 w 350"/>
                <a:gd name="T91" fmla="*/ 243 h 350"/>
                <a:gd name="T92" fmla="*/ 4 w 350"/>
                <a:gd name="T93" fmla="*/ 210 h 350"/>
                <a:gd name="T94" fmla="*/ 0 w 350"/>
                <a:gd name="T95" fmla="*/ 175 h 350"/>
                <a:gd name="T96" fmla="*/ 4 w 350"/>
                <a:gd name="T97" fmla="*/ 140 h 350"/>
                <a:gd name="T98" fmla="*/ 14 w 350"/>
                <a:gd name="T99" fmla="*/ 107 h 350"/>
                <a:gd name="T100" fmla="*/ 30 w 350"/>
                <a:gd name="T101" fmla="*/ 78 h 350"/>
                <a:gd name="T102" fmla="*/ 51 w 350"/>
                <a:gd name="T103" fmla="*/ 52 h 350"/>
                <a:gd name="T104" fmla="*/ 77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8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3" name="Freeform 19">
              <a:extLst>
                <a:ext uri="{FF2B5EF4-FFF2-40B4-BE49-F238E27FC236}">
                  <a16:creationId xmlns:a16="http://schemas.microsoft.com/office/drawing/2014/main" id="{FF26547B-24B3-4108-8095-A2794E966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4353" y="6255221"/>
              <a:ext cx="26656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8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3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8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9 w 350"/>
                <a:gd name="T31" fmla="*/ 175 h 350"/>
                <a:gd name="T32" fmla="*/ 236 w 350"/>
                <a:gd name="T33" fmla="*/ 158 h 350"/>
                <a:gd name="T34" fmla="*/ 231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8 w 350"/>
                <a:gd name="T53" fmla="*/ 41 h 350"/>
                <a:gd name="T54" fmla="*/ 309 w 350"/>
                <a:gd name="T55" fmla="*/ 63 h 350"/>
                <a:gd name="T56" fmla="*/ 327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3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8 w 350"/>
                <a:gd name="T85" fmla="*/ 319 h 350"/>
                <a:gd name="T86" fmla="*/ 53 w 350"/>
                <a:gd name="T87" fmla="*/ 299 h 350"/>
                <a:gd name="T88" fmla="*/ 31 w 350"/>
                <a:gd name="T89" fmla="*/ 273 h 350"/>
                <a:gd name="T90" fmla="*/ 15 w 350"/>
                <a:gd name="T91" fmla="*/ 243 h 350"/>
                <a:gd name="T92" fmla="*/ 5 w 350"/>
                <a:gd name="T93" fmla="*/ 210 h 350"/>
                <a:gd name="T94" fmla="*/ 0 w 350"/>
                <a:gd name="T95" fmla="*/ 175 h 350"/>
                <a:gd name="T96" fmla="*/ 5 w 350"/>
                <a:gd name="T97" fmla="*/ 140 h 350"/>
                <a:gd name="T98" fmla="*/ 15 w 350"/>
                <a:gd name="T99" fmla="*/ 107 h 350"/>
                <a:gd name="T100" fmla="*/ 31 w 350"/>
                <a:gd name="T101" fmla="*/ 78 h 350"/>
                <a:gd name="T102" fmla="*/ 53 w 350"/>
                <a:gd name="T103" fmla="*/ 52 h 350"/>
                <a:gd name="T104" fmla="*/ 78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8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3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8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9" y="175"/>
                  </a:lnTo>
                  <a:lnTo>
                    <a:pt x="236" y="158"/>
                  </a:lnTo>
                  <a:lnTo>
                    <a:pt x="231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8" y="41"/>
                  </a:lnTo>
                  <a:lnTo>
                    <a:pt x="309" y="63"/>
                  </a:lnTo>
                  <a:lnTo>
                    <a:pt x="327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3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8" y="319"/>
                  </a:lnTo>
                  <a:lnTo>
                    <a:pt x="53" y="299"/>
                  </a:lnTo>
                  <a:lnTo>
                    <a:pt x="31" y="273"/>
                  </a:lnTo>
                  <a:lnTo>
                    <a:pt x="15" y="243"/>
                  </a:lnTo>
                  <a:lnTo>
                    <a:pt x="5" y="210"/>
                  </a:lnTo>
                  <a:lnTo>
                    <a:pt x="0" y="175"/>
                  </a:lnTo>
                  <a:lnTo>
                    <a:pt x="5" y="140"/>
                  </a:lnTo>
                  <a:lnTo>
                    <a:pt x="15" y="107"/>
                  </a:lnTo>
                  <a:lnTo>
                    <a:pt x="31" y="78"/>
                  </a:lnTo>
                  <a:lnTo>
                    <a:pt x="53" y="52"/>
                  </a:lnTo>
                  <a:lnTo>
                    <a:pt x="78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4" name="Freeform 20">
              <a:extLst>
                <a:ext uri="{FF2B5EF4-FFF2-40B4-BE49-F238E27FC236}">
                  <a16:creationId xmlns:a16="http://schemas.microsoft.com/office/drawing/2014/main" id="{6F553FA1-4728-401A-8C20-F18E165CA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80832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2 h 111"/>
                <a:gd name="T10" fmla="*/ 168 w 171"/>
                <a:gd name="T11" fmla="*/ 37 h 111"/>
                <a:gd name="T12" fmla="*/ 171 w 171"/>
                <a:gd name="T13" fmla="*/ 55 h 111"/>
                <a:gd name="T14" fmla="*/ 168 w 171"/>
                <a:gd name="T15" fmla="*/ 72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8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8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2 h 111"/>
                <a:gd name="T34" fmla="*/ 0 w 171"/>
                <a:gd name="T35" fmla="*/ 55 h 111"/>
                <a:gd name="T36" fmla="*/ 2 w 171"/>
                <a:gd name="T37" fmla="*/ 37 h 111"/>
                <a:gd name="T38" fmla="*/ 10 w 171"/>
                <a:gd name="T39" fmla="*/ 22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2"/>
                  </a:lnTo>
                  <a:lnTo>
                    <a:pt x="168" y="37"/>
                  </a:lnTo>
                  <a:lnTo>
                    <a:pt x="171" y="55"/>
                  </a:lnTo>
                  <a:lnTo>
                    <a:pt x="168" y="72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8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8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2"/>
                  </a:lnTo>
                  <a:lnTo>
                    <a:pt x="0" y="55"/>
                  </a:lnTo>
                  <a:lnTo>
                    <a:pt x="2" y="37"/>
                  </a:lnTo>
                  <a:lnTo>
                    <a:pt x="10" y="22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5" name="Freeform 21">
              <a:extLst>
                <a:ext uri="{FF2B5EF4-FFF2-40B4-BE49-F238E27FC236}">
                  <a16:creationId xmlns:a16="http://schemas.microsoft.com/office/drawing/2014/main" id="{2A783787-5E9B-43C9-9BF4-073950C97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95860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3 h 111"/>
                <a:gd name="T10" fmla="*/ 168 w 171"/>
                <a:gd name="T11" fmla="*/ 38 h 111"/>
                <a:gd name="T12" fmla="*/ 171 w 171"/>
                <a:gd name="T13" fmla="*/ 55 h 111"/>
                <a:gd name="T14" fmla="*/ 168 w 171"/>
                <a:gd name="T15" fmla="*/ 74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9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9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4 h 111"/>
                <a:gd name="T34" fmla="*/ 0 w 171"/>
                <a:gd name="T35" fmla="*/ 55 h 111"/>
                <a:gd name="T36" fmla="*/ 2 w 171"/>
                <a:gd name="T37" fmla="*/ 38 h 111"/>
                <a:gd name="T38" fmla="*/ 10 w 171"/>
                <a:gd name="T39" fmla="*/ 23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3"/>
                  </a:lnTo>
                  <a:lnTo>
                    <a:pt x="168" y="38"/>
                  </a:lnTo>
                  <a:lnTo>
                    <a:pt x="171" y="55"/>
                  </a:lnTo>
                  <a:lnTo>
                    <a:pt x="168" y="74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9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9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4"/>
                  </a:lnTo>
                  <a:lnTo>
                    <a:pt x="0" y="55"/>
                  </a:lnTo>
                  <a:lnTo>
                    <a:pt x="2" y="38"/>
                  </a:lnTo>
                  <a:lnTo>
                    <a:pt x="10" y="23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6" name="Freeform 22">
              <a:extLst>
                <a:ext uri="{FF2B5EF4-FFF2-40B4-BE49-F238E27FC236}">
                  <a16:creationId xmlns:a16="http://schemas.microsoft.com/office/drawing/2014/main" id="{6465D05A-ED22-49B3-924E-6DFC4C8C8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8138" y="5997240"/>
              <a:ext cx="283642" cy="307072"/>
            </a:xfrm>
            <a:custGeom>
              <a:avLst/>
              <a:gdLst>
                <a:gd name="T0" fmla="*/ 185 w 3736"/>
                <a:gd name="T1" fmla="*/ 3069 h 3678"/>
                <a:gd name="T2" fmla="*/ 125 w 3736"/>
                <a:gd name="T3" fmla="*/ 3352 h 3678"/>
                <a:gd name="T4" fmla="*/ 325 w 3736"/>
                <a:gd name="T5" fmla="*/ 3554 h 3678"/>
                <a:gd name="T6" fmla="*/ 2002 w 3736"/>
                <a:gd name="T7" fmla="*/ 3518 h 3678"/>
                <a:gd name="T8" fmla="*/ 2140 w 3736"/>
                <a:gd name="T9" fmla="*/ 3266 h 3678"/>
                <a:gd name="T10" fmla="*/ 2002 w 3736"/>
                <a:gd name="T11" fmla="*/ 3013 h 3678"/>
                <a:gd name="T12" fmla="*/ 943 w 3736"/>
                <a:gd name="T13" fmla="*/ 2853 h 3678"/>
                <a:gd name="T14" fmla="*/ 2970 w 3736"/>
                <a:gd name="T15" fmla="*/ 2765 h 3678"/>
                <a:gd name="T16" fmla="*/ 3240 w 3736"/>
                <a:gd name="T17" fmla="*/ 2787 h 3678"/>
                <a:gd name="T18" fmla="*/ 3506 w 3736"/>
                <a:gd name="T19" fmla="*/ 2599 h 3678"/>
                <a:gd name="T20" fmla="*/ 302 w 3736"/>
                <a:gd name="T21" fmla="*/ 2099 h 3678"/>
                <a:gd name="T22" fmla="*/ 333 w 3736"/>
                <a:gd name="T23" fmla="*/ 2613 h 3678"/>
                <a:gd name="T24" fmla="*/ 3524 w 3736"/>
                <a:gd name="T25" fmla="*/ 1966 h 3678"/>
                <a:gd name="T26" fmla="*/ 3542 w 3736"/>
                <a:gd name="T27" fmla="*/ 2077 h 3678"/>
                <a:gd name="T28" fmla="*/ 3622 w 3736"/>
                <a:gd name="T29" fmla="*/ 1998 h 3678"/>
                <a:gd name="T30" fmla="*/ 893 w 3736"/>
                <a:gd name="T31" fmla="*/ 1458 h 3678"/>
                <a:gd name="T32" fmla="*/ 1843 w 3736"/>
                <a:gd name="T33" fmla="*/ 2616 h 3678"/>
                <a:gd name="T34" fmla="*/ 1132 w 3736"/>
                <a:gd name="T35" fmla="*/ 2414 h 3678"/>
                <a:gd name="T36" fmla="*/ 954 w 3736"/>
                <a:gd name="T37" fmla="*/ 2256 h 3678"/>
                <a:gd name="T38" fmla="*/ 1082 w 3736"/>
                <a:gd name="T39" fmla="*/ 2271 h 3678"/>
                <a:gd name="T40" fmla="*/ 1271 w 3736"/>
                <a:gd name="T41" fmla="*/ 1557 h 3678"/>
                <a:gd name="T42" fmla="*/ 1360 w 3736"/>
                <a:gd name="T43" fmla="*/ 1601 h 3678"/>
                <a:gd name="T44" fmla="*/ 1958 w 3736"/>
                <a:gd name="T45" fmla="*/ 2171 h 3678"/>
                <a:gd name="T46" fmla="*/ 1525 w 3736"/>
                <a:gd name="T47" fmla="*/ 1457 h 3678"/>
                <a:gd name="T48" fmla="*/ 2749 w 3736"/>
                <a:gd name="T49" fmla="*/ 361 h 3678"/>
                <a:gd name="T50" fmla="*/ 3541 w 3736"/>
                <a:gd name="T51" fmla="*/ 1844 h 3678"/>
                <a:gd name="T52" fmla="*/ 1658 w 3736"/>
                <a:gd name="T53" fmla="*/ 1439 h 3678"/>
                <a:gd name="T54" fmla="*/ 2419 w 3736"/>
                <a:gd name="T55" fmla="*/ 427 h 3678"/>
                <a:gd name="T56" fmla="*/ 2498 w 3736"/>
                <a:gd name="T57" fmla="*/ 124 h 3678"/>
                <a:gd name="T58" fmla="*/ 2441 w 3736"/>
                <a:gd name="T59" fmla="*/ 287 h 3678"/>
                <a:gd name="T60" fmla="*/ 2599 w 3736"/>
                <a:gd name="T61" fmla="*/ 347 h 3678"/>
                <a:gd name="T62" fmla="*/ 2672 w 3736"/>
                <a:gd name="T63" fmla="*/ 256 h 3678"/>
                <a:gd name="T64" fmla="*/ 2625 w 3736"/>
                <a:gd name="T65" fmla="*/ 136 h 3678"/>
                <a:gd name="T66" fmla="*/ 2665 w 3736"/>
                <a:gd name="T67" fmla="*/ 28 h 3678"/>
                <a:gd name="T68" fmla="*/ 3734 w 3736"/>
                <a:gd name="T69" fmla="*/ 1986 h 3678"/>
                <a:gd name="T70" fmla="*/ 3646 w 3736"/>
                <a:gd name="T71" fmla="*/ 2170 h 3678"/>
                <a:gd name="T72" fmla="*/ 3580 w 3736"/>
                <a:gd name="T73" fmla="*/ 2724 h 3678"/>
                <a:gd name="T74" fmla="*/ 3180 w 3736"/>
                <a:gd name="T75" fmla="*/ 2918 h 3678"/>
                <a:gd name="T76" fmla="*/ 2865 w 3736"/>
                <a:gd name="T77" fmla="*/ 2826 h 3678"/>
                <a:gd name="T78" fmla="*/ 2459 w 3736"/>
                <a:gd name="T79" fmla="*/ 2397 h 3678"/>
                <a:gd name="T80" fmla="*/ 3431 w 3736"/>
                <a:gd name="T81" fmla="*/ 2200 h 3678"/>
                <a:gd name="T82" fmla="*/ 3506 w 3736"/>
                <a:gd name="T83" fmla="*/ 2183 h 3678"/>
                <a:gd name="T84" fmla="*/ 1983 w 3736"/>
                <a:gd name="T85" fmla="*/ 1926 h 3678"/>
                <a:gd name="T86" fmla="*/ 2073 w 3736"/>
                <a:gd name="T87" fmla="*/ 2433 h 3678"/>
                <a:gd name="T88" fmla="*/ 2059 w 3736"/>
                <a:gd name="T89" fmla="*/ 2469 h 3678"/>
                <a:gd name="T90" fmla="*/ 2043 w 3736"/>
                <a:gd name="T91" fmla="*/ 2482 h 3678"/>
                <a:gd name="T92" fmla="*/ 2024 w 3736"/>
                <a:gd name="T93" fmla="*/ 2489 h 3678"/>
                <a:gd name="T94" fmla="*/ 1942 w 3736"/>
                <a:gd name="T95" fmla="*/ 2705 h 3678"/>
                <a:gd name="T96" fmla="*/ 1890 w 3736"/>
                <a:gd name="T97" fmla="*/ 2857 h 3678"/>
                <a:gd name="T98" fmla="*/ 2177 w 3736"/>
                <a:gd name="T99" fmla="*/ 3030 h 3678"/>
                <a:gd name="T100" fmla="*/ 2238 w 3736"/>
                <a:gd name="T101" fmla="*/ 3367 h 3678"/>
                <a:gd name="T102" fmla="*/ 2032 w 3736"/>
                <a:gd name="T103" fmla="*/ 3630 h 3678"/>
                <a:gd name="T104" fmla="*/ 311 w 3736"/>
                <a:gd name="T105" fmla="*/ 3666 h 3678"/>
                <a:gd name="T106" fmla="*/ 49 w 3736"/>
                <a:gd name="T107" fmla="*/ 3460 h 3678"/>
                <a:gd name="T108" fmla="*/ 28 w 3736"/>
                <a:gd name="T109" fmla="*/ 3116 h 3678"/>
                <a:gd name="T110" fmla="*/ 263 w 3736"/>
                <a:gd name="T111" fmla="*/ 2882 h 3678"/>
                <a:gd name="T112" fmla="*/ 317 w 3736"/>
                <a:gd name="T113" fmla="*/ 2724 h 3678"/>
                <a:gd name="T114" fmla="*/ 178 w 3736"/>
                <a:gd name="T115" fmla="*/ 2553 h 3678"/>
                <a:gd name="T116" fmla="*/ 284 w 3736"/>
                <a:gd name="T117" fmla="*/ 1975 h 3678"/>
                <a:gd name="T118" fmla="*/ 740 w 3736"/>
                <a:gd name="T119" fmla="*/ 1477 h 3678"/>
                <a:gd name="T120" fmla="*/ 963 w 3736"/>
                <a:gd name="T121" fmla="*/ 1310 h 3678"/>
                <a:gd name="T122" fmla="*/ 2410 w 3736"/>
                <a:gd name="T123" fmla="*/ 48 h 3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6" h="3678">
                  <a:moveTo>
                    <a:pt x="413" y="2964"/>
                  </a:moveTo>
                  <a:lnTo>
                    <a:pt x="367" y="2968"/>
                  </a:lnTo>
                  <a:lnTo>
                    <a:pt x="325" y="2978"/>
                  </a:lnTo>
                  <a:lnTo>
                    <a:pt x="286" y="2993"/>
                  </a:lnTo>
                  <a:lnTo>
                    <a:pt x="248" y="3013"/>
                  </a:lnTo>
                  <a:lnTo>
                    <a:pt x="215" y="3039"/>
                  </a:lnTo>
                  <a:lnTo>
                    <a:pt x="185" y="3069"/>
                  </a:lnTo>
                  <a:lnTo>
                    <a:pt x="160" y="3102"/>
                  </a:lnTo>
                  <a:lnTo>
                    <a:pt x="139" y="3139"/>
                  </a:lnTo>
                  <a:lnTo>
                    <a:pt x="125" y="3179"/>
                  </a:lnTo>
                  <a:lnTo>
                    <a:pt x="114" y="3222"/>
                  </a:lnTo>
                  <a:lnTo>
                    <a:pt x="111" y="3266"/>
                  </a:lnTo>
                  <a:lnTo>
                    <a:pt x="114" y="3310"/>
                  </a:lnTo>
                  <a:lnTo>
                    <a:pt x="125" y="3352"/>
                  </a:lnTo>
                  <a:lnTo>
                    <a:pt x="139" y="3393"/>
                  </a:lnTo>
                  <a:lnTo>
                    <a:pt x="160" y="3430"/>
                  </a:lnTo>
                  <a:lnTo>
                    <a:pt x="185" y="3464"/>
                  </a:lnTo>
                  <a:lnTo>
                    <a:pt x="215" y="3493"/>
                  </a:lnTo>
                  <a:lnTo>
                    <a:pt x="248" y="3518"/>
                  </a:lnTo>
                  <a:lnTo>
                    <a:pt x="286" y="3538"/>
                  </a:lnTo>
                  <a:lnTo>
                    <a:pt x="325" y="3554"/>
                  </a:lnTo>
                  <a:lnTo>
                    <a:pt x="367" y="3563"/>
                  </a:lnTo>
                  <a:lnTo>
                    <a:pt x="413" y="3567"/>
                  </a:lnTo>
                  <a:lnTo>
                    <a:pt x="1838" y="3567"/>
                  </a:lnTo>
                  <a:lnTo>
                    <a:pt x="1882" y="3563"/>
                  </a:lnTo>
                  <a:lnTo>
                    <a:pt x="1925" y="3554"/>
                  </a:lnTo>
                  <a:lnTo>
                    <a:pt x="1965" y="3538"/>
                  </a:lnTo>
                  <a:lnTo>
                    <a:pt x="2002" y="3518"/>
                  </a:lnTo>
                  <a:lnTo>
                    <a:pt x="2035" y="3493"/>
                  </a:lnTo>
                  <a:lnTo>
                    <a:pt x="2065" y="3464"/>
                  </a:lnTo>
                  <a:lnTo>
                    <a:pt x="2091" y="3430"/>
                  </a:lnTo>
                  <a:lnTo>
                    <a:pt x="2111" y="3393"/>
                  </a:lnTo>
                  <a:lnTo>
                    <a:pt x="2126" y="3352"/>
                  </a:lnTo>
                  <a:lnTo>
                    <a:pt x="2136" y="3310"/>
                  </a:lnTo>
                  <a:lnTo>
                    <a:pt x="2140" y="3266"/>
                  </a:lnTo>
                  <a:lnTo>
                    <a:pt x="2136" y="3222"/>
                  </a:lnTo>
                  <a:lnTo>
                    <a:pt x="2126" y="3179"/>
                  </a:lnTo>
                  <a:lnTo>
                    <a:pt x="2111" y="3139"/>
                  </a:lnTo>
                  <a:lnTo>
                    <a:pt x="2091" y="3102"/>
                  </a:lnTo>
                  <a:lnTo>
                    <a:pt x="2065" y="3069"/>
                  </a:lnTo>
                  <a:lnTo>
                    <a:pt x="2035" y="3039"/>
                  </a:lnTo>
                  <a:lnTo>
                    <a:pt x="2002" y="3013"/>
                  </a:lnTo>
                  <a:lnTo>
                    <a:pt x="1965" y="2993"/>
                  </a:lnTo>
                  <a:lnTo>
                    <a:pt x="1925" y="2978"/>
                  </a:lnTo>
                  <a:lnTo>
                    <a:pt x="1882" y="2968"/>
                  </a:lnTo>
                  <a:lnTo>
                    <a:pt x="1838" y="2964"/>
                  </a:lnTo>
                  <a:lnTo>
                    <a:pt x="413" y="2964"/>
                  </a:lnTo>
                  <a:close/>
                  <a:moveTo>
                    <a:pt x="943" y="2727"/>
                  </a:moveTo>
                  <a:lnTo>
                    <a:pt x="943" y="2853"/>
                  </a:lnTo>
                  <a:lnTo>
                    <a:pt x="1307" y="2853"/>
                  </a:lnTo>
                  <a:lnTo>
                    <a:pt x="1307" y="2727"/>
                  </a:lnTo>
                  <a:lnTo>
                    <a:pt x="943" y="2727"/>
                  </a:lnTo>
                  <a:close/>
                  <a:moveTo>
                    <a:pt x="3407" y="2328"/>
                  </a:moveTo>
                  <a:lnTo>
                    <a:pt x="2754" y="2590"/>
                  </a:lnTo>
                  <a:lnTo>
                    <a:pt x="2936" y="2741"/>
                  </a:lnTo>
                  <a:lnTo>
                    <a:pt x="2970" y="2765"/>
                  </a:lnTo>
                  <a:lnTo>
                    <a:pt x="3005" y="2783"/>
                  </a:lnTo>
                  <a:lnTo>
                    <a:pt x="3042" y="2797"/>
                  </a:lnTo>
                  <a:lnTo>
                    <a:pt x="3081" y="2806"/>
                  </a:lnTo>
                  <a:lnTo>
                    <a:pt x="3121" y="2809"/>
                  </a:lnTo>
                  <a:lnTo>
                    <a:pt x="3161" y="2808"/>
                  </a:lnTo>
                  <a:lnTo>
                    <a:pt x="3201" y="2800"/>
                  </a:lnTo>
                  <a:lnTo>
                    <a:pt x="3240" y="2787"/>
                  </a:lnTo>
                  <a:lnTo>
                    <a:pt x="3429" y="2711"/>
                  </a:lnTo>
                  <a:lnTo>
                    <a:pt x="3452" y="2700"/>
                  </a:lnTo>
                  <a:lnTo>
                    <a:pt x="3470" y="2684"/>
                  </a:lnTo>
                  <a:lnTo>
                    <a:pt x="3485" y="2666"/>
                  </a:lnTo>
                  <a:lnTo>
                    <a:pt x="3496" y="2646"/>
                  </a:lnTo>
                  <a:lnTo>
                    <a:pt x="3504" y="2623"/>
                  </a:lnTo>
                  <a:lnTo>
                    <a:pt x="3506" y="2599"/>
                  </a:lnTo>
                  <a:lnTo>
                    <a:pt x="3504" y="2575"/>
                  </a:lnTo>
                  <a:lnTo>
                    <a:pt x="3497" y="2551"/>
                  </a:lnTo>
                  <a:lnTo>
                    <a:pt x="3407" y="2328"/>
                  </a:lnTo>
                  <a:close/>
                  <a:moveTo>
                    <a:pt x="353" y="2073"/>
                  </a:moveTo>
                  <a:lnTo>
                    <a:pt x="333" y="2076"/>
                  </a:lnTo>
                  <a:lnTo>
                    <a:pt x="315" y="2085"/>
                  </a:lnTo>
                  <a:lnTo>
                    <a:pt x="302" y="2099"/>
                  </a:lnTo>
                  <a:lnTo>
                    <a:pt x="292" y="2116"/>
                  </a:lnTo>
                  <a:lnTo>
                    <a:pt x="289" y="2136"/>
                  </a:lnTo>
                  <a:lnTo>
                    <a:pt x="289" y="2553"/>
                  </a:lnTo>
                  <a:lnTo>
                    <a:pt x="292" y="2572"/>
                  </a:lnTo>
                  <a:lnTo>
                    <a:pt x="302" y="2590"/>
                  </a:lnTo>
                  <a:lnTo>
                    <a:pt x="315" y="2604"/>
                  </a:lnTo>
                  <a:lnTo>
                    <a:pt x="333" y="2613"/>
                  </a:lnTo>
                  <a:lnTo>
                    <a:pt x="353" y="2616"/>
                  </a:lnTo>
                  <a:lnTo>
                    <a:pt x="713" y="2616"/>
                  </a:lnTo>
                  <a:lnTo>
                    <a:pt x="713" y="2073"/>
                  </a:lnTo>
                  <a:lnTo>
                    <a:pt x="353" y="2073"/>
                  </a:lnTo>
                  <a:close/>
                  <a:moveTo>
                    <a:pt x="3562" y="1955"/>
                  </a:moveTo>
                  <a:lnTo>
                    <a:pt x="3542" y="1957"/>
                  </a:lnTo>
                  <a:lnTo>
                    <a:pt x="3524" y="1966"/>
                  </a:lnTo>
                  <a:lnTo>
                    <a:pt x="3511" y="1980"/>
                  </a:lnTo>
                  <a:lnTo>
                    <a:pt x="3502" y="1998"/>
                  </a:lnTo>
                  <a:lnTo>
                    <a:pt x="3498" y="2017"/>
                  </a:lnTo>
                  <a:lnTo>
                    <a:pt x="3502" y="2038"/>
                  </a:lnTo>
                  <a:lnTo>
                    <a:pt x="3511" y="2055"/>
                  </a:lnTo>
                  <a:lnTo>
                    <a:pt x="3524" y="2068"/>
                  </a:lnTo>
                  <a:lnTo>
                    <a:pt x="3542" y="2077"/>
                  </a:lnTo>
                  <a:lnTo>
                    <a:pt x="3562" y="2081"/>
                  </a:lnTo>
                  <a:lnTo>
                    <a:pt x="3582" y="2077"/>
                  </a:lnTo>
                  <a:lnTo>
                    <a:pt x="3599" y="2068"/>
                  </a:lnTo>
                  <a:lnTo>
                    <a:pt x="3613" y="2055"/>
                  </a:lnTo>
                  <a:lnTo>
                    <a:pt x="3622" y="2038"/>
                  </a:lnTo>
                  <a:lnTo>
                    <a:pt x="3625" y="2017"/>
                  </a:lnTo>
                  <a:lnTo>
                    <a:pt x="3622" y="1998"/>
                  </a:lnTo>
                  <a:lnTo>
                    <a:pt x="3613" y="1980"/>
                  </a:lnTo>
                  <a:lnTo>
                    <a:pt x="3599" y="1966"/>
                  </a:lnTo>
                  <a:lnTo>
                    <a:pt x="3582" y="1957"/>
                  </a:lnTo>
                  <a:lnTo>
                    <a:pt x="3562" y="1955"/>
                  </a:lnTo>
                  <a:close/>
                  <a:moveTo>
                    <a:pt x="950" y="1428"/>
                  </a:moveTo>
                  <a:lnTo>
                    <a:pt x="921" y="1441"/>
                  </a:lnTo>
                  <a:lnTo>
                    <a:pt x="893" y="1458"/>
                  </a:lnTo>
                  <a:lnTo>
                    <a:pt x="871" y="1481"/>
                  </a:lnTo>
                  <a:lnTo>
                    <a:pt x="851" y="1507"/>
                  </a:lnTo>
                  <a:lnTo>
                    <a:pt x="837" y="1536"/>
                  </a:lnTo>
                  <a:lnTo>
                    <a:pt x="828" y="1568"/>
                  </a:lnTo>
                  <a:lnTo>
                    <a:pt x="824" y="1601"/>
                  </a:lnTo>
                  <a:lnTo>
                    <a:pt x="824" y="2616"/>
                  </a:lnTo>
                  <a:lnTo>
                    <a:pt x="1843" y="2616"/>
                  </a:lnTo>
                  <a:lnTo>
                    <a:pt x="1843" y="2489"/>
                  </a:lnTo>
                  <a:lnTo>
                    <a:pt x="1556" y="2489"/>
                  </a:lnTo>
                  <a:lnTo>
                    <a:pt x="1468" y="2487"/>
                  </a:lnTo>
                  <a:lnTo>
                    <a:pt x="1382" y="2478"/>
                  </a:lnTo>
                  <a:lnTo>
                    <a:pt x="1297" y="2462"/>
                  </a:lnTo>
                  <a:lnTo>
                    <a:pt x="1213" y="2441"/>
                  </a:lnTo>
                  <a:lnTo>
                    <a:pt x="1132" y="2414"/>
                  </a:lnTo>
                  <a:lnTo>
                    <a:pt x="1050" y="2382"/>
                  </a:lnTo>
                  <a:lnTo>
                    <a:pt x="1026" y="2369"/>
                  </a:lnTo>
                  <a:lnTo>
                    <a:pt x="1005" y="2352"/>
                  </a:lnTo>
                  <a:lnTo>
                    <a:pt x="985" y="2331"/>
                  </a:lnTo>
                  <a:lnTo>
                    <a:pt x="971" y="2309"/>
                  </a:lnTo>
                  <a:lnTo>
                    <a:pt x="960" y="2284"/>
                  </a:lnTo>
                  <a:lnTo>
                    <a:pt x="954" y="2256"/>
                  </a:lnTo>
                  <a:lnTo>
                    <a:pt x="950" y="2228"/>
                  </a:lnTo>
                  <a:lnTo>
                    <a:pt x="950" y="1428"/>
                  </a:lnTo>
                  <a:close/>
                  <a:moveTo>
                    <a:pt x="1062" y="1419"/>
                  </a:moveTo>
                  <a:lnTo>
                    <a:pt x="1062" y="2228"/>
                  </a:lnTo>
                  <a:lnTo>
                    <a:pt x="1065" y="2245"/>
                  </a:lnTo>
                  <a:lnTo>
                    <a:pt x="1071" y="2259"/>
                  </a:lnTo>
                  <a:lnTo>
                    <a:pt x="1082" y="2271"/>
                  </a:lnTo>
                  <a:lnTo>
                    <a:pt x="1095" y="2280"/>
                  </a:lnTo>
                  <a:lnTo>
                    <a:pt x="1171" y="2311"/>
                  </a:lnTo>
                  <a:lnTo>
                    <a:pt x="1248" y="2335"/>
                  </a:lnTo>
                  <a:lnTo>
                    <a:pt x="1248" y="1601"/>
                  </a:lnTo>
                  <a:lnTo>
                    <a:pt x="1251" y="1584"/>
                  </a:lnTo>
                  <a:lnTo>
                    <a:pt x="1259" y="1568"/>
                  </a:lnTo>
                  <a:lnTo>
                    <a:pt x="1271" y="1557"/>
                  </a:lnTo>
                  <a:lnTo>
                    <a:pt x="1286" y="1549"/>
                  </a:lnTo>
                  <a:lnTo>
                    <a:pt x="1304" y="1545"/>
                  </a:lnTo>
                  <a:lnTo>
                    <a:pt x="1321" y="1549"/>
                  </a:lnTo>
                  <a:lnTo>
                    <a:pt x="1337" y="1557"/>
                  </a:lnTo>
                  <a:lnTo>
                    <a:pt x="1348" y="1568"/>
                  </a:lnTo>
                  <a:lnTo>
                    <a:pt x="1356" y="1584"/>
                  </a:lnTo>
                  <a:lnTo>
                    <a:pt x="1360" y="1601"/>
                  </a:lnTo>
                  <a:lnTo>
                    <a:pt x="1360" y="2361"/>
                  </a:lnTo>
                  <a:lnTo>
                    <a:pt x="1424" y="2370"/>
                  </a:lnTo>
                  <a:lnTo>
                    <a:pt x="1490" y="2376"/>
                  </a:lnTo>
                  <a:lnTo>
                    <a:pt x="1556" y="2378"/>
                  </a:lnTo>
                  <a:lnTo>
                    <a:pt x="1961" y="2378"/>
                  </a:lnTo>
                  <a:lnTo>
                    <a:pt x="1961" y="2221"/>
                  </a:lnTo>
                  <a:lnTo>
                    <a:pt x="1958" y="2171"/>
                  </a:lnTo>
                  <a:lnTo>
                    <a:pt x="1949" y="2123"/>
                  </a:lnTo>
                  <a:lnTo>
                    <a:pt x="1936" y="2076"/>
                  </a:lnTo>
                  <a:lnTo>
                    <a:pt x="1915" y="2031"/>
                  </a:lnTo>
                  <a:lnTo>
                    <a:pt x="1890" y="1988"/>
                  </a:lnTo>
                  <a:lnTo>
                    <a:pt x="1566" y="1500"/>
                  </a:lnTo>
                  <a:lnTo>
                    <a:pt x="1547" y="1477"/>
                  </a:lnTo>
                  <a:lnTo>
                    <a:pt x="1525" y="1457"/>
                  </a:lnTo>
                  <a:lnTo>
                    <a:pt x="1500" y="1441"/>
                  </a:lnTo>
                  <a:lnTo>
                    <a:pt x="1473" y="1428"/>
                  </a:lnTo>
                  <a:lnTo>
                    <a:pt x="1445" y="1422"/>
                  </a:lnTo>
                  <a:lnTo>
                    <a:pt x="1414" y="1419"/>
                  </a:lnTo>
                  <a:lnTo>
                    <a:pt x="1062" y="1419"/>
                  </a:lnTo>
                  <a:close/>
                  <a:moveTo>
                    <a:pt x="2753" y="353"/>
                  </a:moveTo>
                  <a:lnTo>
                    <a:pt x="2749" y="361"/>
                  </a:lnTo>
                  <a:lnTo>
                    <a:pt x="2571" y="659"/>
                  </a:lnTo>
                  <a:lnTo>
                    <a:pt x="3419" y="1917"/>
                  </a:lnTo>
                  <a:lnTo>
                    <a:pt x="3437" y="1895"/>
                  </a:lnTo>
                  <a:lnTo>
                    <a:pt x="3460" y="1876"/>
                  </a:lnTo>
                  <a:lnTo>
                    <a:pt x="3485" y="1861"/>
                  </a:lnTo>
                  <a:lnTo>
                    <a:pt x="3512" y="1850"/>
                  </a:lnTo>
                  <a:lnTo>
                    <a:pt x="3541" y="1844"/>
                  </a:lnTo>
                  <a:lnTo>
                    <a:pt x="2753" y="353"/>
                  </a:lnTo>
                  <a:close/>
                  <a:moveTo>
                    <a:pt x="2334" y="320"/>
                  </a:moveTo>
                  <a:lnTo>
                    <a:pt x="1562" y="1348"/>
                  </a:lnTo>
                  <a:lnTo>
                    <a:pt x="1590" y="1366"/>
                  </a:lnTo>
                  <a:lnTo>
                    <a:pt x="1616" y="1387"/>
                  </a:lnTo>
                  <a:lnTo>
                    <a:pt x="1638" y="1411"/>
                  </a:lnTo>
                  <a:lnTo>
                    <a:pt x="1658" y="1439"/>
                  </a:lnTo>
                  <a:lnTo>
                    <a:pt x="1827" y="1690"/>
                  </a:lnTo>
                  <a:lnTo>
                    <a:pt x="2555" y="467"/>
                  </a:lnTo>
                  <a:lnTo>
                    <a:pt x="2551" y="467"/>
                  </a:lnTo>
                  <a:lnTo>
                    <a:pt x="2515" y="465"/>
                  </a:lnTo>
                  <a:lnTo>
                    <a:pt x="2481" y="457"/>
                  </a:lnTo>
                  <a:lnTo>
                    <a:pt x="2448" y="444"/>
                  </a:lnTo>
                  <a:lnTo>
                    <a:pt x="2419" y="427"/>
                  </a:lnTo>
                  <a:lnTo>
                    <a:pt x="2391" y="405"/>
                  </a:lnTo>
                  <a:lnTo>
                    <a:pt x="2369" y="380"/>
                  </a:lnTo>
                  <a:lnTo>
                    <a:pt x="2349" y="351"/>
                  </a:lnTo>
                  <a:lnTo>
                    <a:pt x="2334" y="320"/>
                  </a:lnTo>
                  <a:close/>
                  <a:moveTo>
                    <a:pt x="2551" y="111"/>
                  </a:moveTo>
                  <a:lnTo>
                    <a:pt x="2523" y="115"/>
                  </a:lnTo>
                  <a:lnTo>
                    <a:pt x="2498" y="124"/>
                  </a:lnTo>
                  <a:lnTo>
                    <a:pt x="2475" y="138"/>
                  </a:lnTo>
                  <a:lnTo>
                    <a:pt x="2456" y="157"/>
                  </a:lnTo>
                  <a:lnTo>
                    <a:pt x="2441" y="180"/>
                  </a:lnTo>
                  <a:lnTo>
                    <a:pt x="2432" y="205"/>
                  </a:lnTo>
                  <a:lnTo>
                    <a:pt x="2429" y="234"/>
                  </a:lnTo>
                  <a:lnTo>
                    <a:pt x="2432" y="262"/>
                  </a:lnTo>
                  <a:lnTo>
                    <a:pt x="2441" y="287"/>
                  </a:lnTo>
                  <a:lnTo>
                    <a:pt x="2456" y="311"/>
                  </a:lnTo>
                  <a:lnTo>
                    <a:pt x="2475" y="329"/>
                  </a:lnTo>
                  <a:lnTo>
                    <a:pt x="2498" y="344"/>
                  </a:lnTo>
                  <a:lnTo>
                    <a:pt x="2523" y="353"/>
                  </a:lnTo>
                  <a:lnTo>
                    <a:pt x="2551" y="356"/>
                  </a:lnTo>
                  <a:lnTo>
                    <a:pt x="2576" y="354"/>
                  </a:lnTo>
                  <a:lnTo>
                    <a:pt x="2599" y="347"/>
                  </a:lnTo>
                  <a:lnTo>
                    <a:pt x="2619" y="336"/>
                  </a:lnTo>
                  <a:lnTo>
                    <a:pt x="2638" y="321"/>
                  </a:lnTo>
                  <a:lnTo>
                    <a:pt x="2653" y="303"/>
                  </a:lnTo>
                  <a:lnTo>
                    <a:pt x="2656" y="298"/>
                  </a:lnTo>
                  <a:lnTo>
                    <a:pt x="2657" y="297"/>
                  </a:lnTo>
                  <a:lnTo>
                    <a:pt x="2666" y="278"/>
                  </a:lnTo>
                  <a:lnTo>
                    <a:pt x="2672" y="256"/>
                  </a:lnTo>
                  <a:lnTo>
                    <a:pt x="2674" y="234"/>
                  </a:lnTo>
                  <a:lnTo>
                    <a:pt x="2672" y="210"/>
                  </a:lnTo>
                  <a:lnTo>
                    <a:pt x="2665" y="187"/>
                  </a:lnTo>
                  <a:lnTo>
                    <a:pt x="2661" y="180"/>
                  </a:lnTo>
                  <a:lnTo>
                    <a:pt x="2658" y="174"/>
                  </a:lnTo>
                  <a:lnTo>
                    <a:pt x="2643" y="153"/>
                  </a:lnTo>
                  <a:lnTo>
                    <a:pt x="2625" y="136"/>
                  </a:lnTo>
                  <a:lnTo>
                    <a:pt x="2603" y="123"/>
                  </a:lnTo>
                  <a:lnTo>
                    <a:pt x="2579" y="115"/>
                  </a:lnTo>
                  <a:lnTo>
                    <a:pt x="2551" y="111"/>
                  </a:lnTo>
                  <a:close/>
                  <a:moveTo>
                    <a:pt x="2551" y="0"/>
                  </a:moveTo>
                  <a:lnTo>
                    <a:pt x="2591" y="3"/>
                  </a:lnTo>
                  <a:lnTo>
                    <a:pt x="2630" y="12"/>
                  </a:lnTo>
                  <a:lnTo>
                    <a:pt x="2665" y="28"/>
                  </a:lnTo>
                  <a:lnTo>
                    <a:pt x="2696" y="50"/>
                  </a:lnTo>
                  <a:lnTo>
                    <a:pt x="2724" y="75"/>
                  </a:lnTo>
                  <a:lnTo>
                    <a:pt x="2747" y="106"/>
                  </a:lnTo>
                  <a:lnTo>
                    <a:pt x="2766" y="138"/>
                  </a:lnTo>
                  <a:lnTo>
                    <a:pt x="3713" y="1930"/>
                  </a:lnTo>
                  <a:lnTo>
                    <a:pt x="3726" y="1957"/>
                  </a:lnTo>
                  <a:lnTo>
                    <a:pt x="3734" y="1986"/>
                  </a:lnTo>
                  <a:lnTo>
                    <a:pt x="3736" y="2017"/>
                  </a:lnTo>
                  <a:lnTo>
                    <a:pt x="3733" y="2050"/>
                  </a:lnTo>
                  <a:lnTo>
                    <a:pt x="3725" y="2080"/>
                  </a:lnTo>
                  <a:lnTo>
                    <a:pt x="3711" y="2108"/>
                  </a:lnTo>
                  <a:lnTo>
                    <a:pt x="3693" y="2132"/>
                  </a:lnTo>
                  <a:lnTo>
                    <a:pt x="3672" y="2153"/>
                  </a:lnTo>
                  <a:lnTo>
                    <a:pt x="3646" y="2170"/>
                  </a:lnTo>
                  <a:lnTo>
                    <a:pt x="3617" y="2183"/>
                  </a:lnTo>
                  <a:lnTo>
                    <a:pt x="3617" y="2612"/>
                  </a:lnTo>
                  <a:lnTo>
                    <a:pt x="3617" y="2620"/>
                  </a:lnTo>
                  <a:lnTo>
                    <a:pt x="3616" y="2626"/>
                  </a:lnTo>
                  <a:lnTo>
                    <a:pt x="3609" y="2660"/>
                  </a:lnTo>
                  <a:lnTo>
                    <a:pt x="3597" y="2693"/>
                  </a:lnTo>
                  <a:lnTo>
                    <a:pt x="3580" y="2724"/>
                  </a:lnTo>
                  <a:lnTo>
                    <a:pt x="3559" y="2752"/>
                  </a:lnTo>
                  <a:lnTo>
                    <a:pt x="3533" y="2777"/>
                  </a:lnTo>
                  <a:lnTo>
                    <a:pt x="3504" y="2799"/>
                  </a:lnTo>
                  <a:lnTo>
                    <a:pt x="3471" y="2815"/>
                  </a:lnTo>
                  <a:lnTo>
                    <a:pt x="3282" y="2891"/>
                  </a:lnTo>
                  <a:lnTo>
                    <a:pt x="3231" y="2908"/>
                  </a:lnTo>
                  <a:lnTo>
                    <a:pt x="3180" y="2918"/>
                  </a:lnTo>
                  <a:lnTo>
                    <a:pt x="3127" y="2920"/>
                  </a:lnTo>
                  <a:lnTo>
                    <a:pt x="3081" y="2918"/>
                  </a:lnTo>
                  <a:lnTo>
                    <a:pt x="3034" y="2910"/>
                  </a:lnTo>
                  <a:lnTo>
                    <a:pt x="2989" y="2896"/>
                  </a:lnTo>
                  <a:lnTo>
                    <a:pt x="2946" y="2878"/>
                  </a:lnTo>
                  <a:lnTo>
                    <a:pt x="2904" y="2855"/>
                  </a:lnTo>
                  <a:lnTo>
                    <a:pt x="2865" y="2826"/>
                  </a:lnTo>
                  <a:lnTo>
                    <a:pt x="2454" y="2487"/>
                  </a:lnTo>
                  <a:lnTo>
                    <a:pt x="2442" y="2474"/>
                  </a:lnTo>
                  <a:lnTo>
                    <a:pt x="2436" y="2458"/>
                  </a:lnTo>
                  <a:lnTo>
                    <a:pt x="2433" y="2441"/>
                  </a:lnTo>
                  <a:lnTo>
                    <a:pt x="2438" y="2424"/>
                  </a:lnTo>
                  <a:lnTo>
                    <a:pt x="2447" y="2409"/>
                  </a:lnTo>
                  <a:lnTo>
                    <a:pt x="2459" y="2397"/>
                  </a:lnTo>
                  <a:lnTo>
                    <a:pt x="2475" y="2390"/>
                  </a:lnTo>
                  <a:lnTo>
                    <a:pt x="2492" y="2388"/>
                  </a:lnTo>
                  <a:lnTo>
                    <a:pt x="2509" y="2393"/>
                  </a:lnTo>
                  <a:lnTo>
                    <a:pt x="2525" y="2402"/>
                  </a:lnTo>
                  <a:lnTo>
                    <a:pt x="2656" y="2509"/>
                  </a:lnTo>
                  <a:lnTo>
                    <a:pt x="3418" y="2203"/>
                  </a:lnTo>
                  <a:lnTo>
                    <a:pt x="3431" y="2200"/>
                  </a:lnTo>
                  <a:lnTo>
                    <a:pt x="3446" y="2200"/>
                  </a:lnTo>
                  <a:lnTo>
                    <a:pt x="3460" y="2204"/>
                  </a:lnTo>
                  <a:lnTo>
                    <a:pt x="3472" y="2211"/>
                  </a:lnTo>
                  <a:lnTo>
                    <a:pt x="3482" y="2221"/>
                  </a:lnTo>
                  <a:lnTo>
                    <a:pt x="3490" y="2235"/>
                  </a:lnTo>
                  <a:lnTo>
                    <a:pt x="3506" y="2275"/>
                  </a:lnTo>
                  <a:lnTo>
                    <a:pt x="3506" y="2183"/>
                  </a:lnTo>
                  <a:lnTo>
                    <a:pt x="3478" y="2170"/>
                  </a:lnTo>
                  <a:lnTo>
                    <a:pt x="3452" y="2152"/>
                  </a:lnTo>
                  <a:lnTo>
                    <a:pt x="3429" y="2131"/>
                  </a:lnTo>
                  <a:lnTo>
                    <a:pt x="3411" y="2106"/>
                  </a:lnTo>
                  <a:lnTo>
                    <a:pt x="2507" y="766"/>
                  </a:lnTo>
                  <a:lnTo>
                    <a:pt x="1895" y="1794"/>
                  </a:lnTo>
                  <a:lnTo>
                    <a:pt x="1983" y="1926"/>
                  </a:lnTo>
                  <a:lnTo>
                    <a:pt x="2010" y="1971"/>
                  </a:lnTo>
                  <a:lnTo>
                    <a:pt x="2032" y="2018"/>
                  </a:lnTo>
                  <a:lnTo>
                    <a:pt x="2050" y="2067"/>
                  </a:lnTo>
                  <a:lnTo>
                    <a:pt x="2063" y="2117"/>
                  </a:lnTo>
                  <a:lnTo>
                    <a:pt x="2069" y="2168"/>
                  </a:lnTo>
                  <a:lnTo>
                    <a:pt x="2073" y="2221"/>
                  </a:lnTo>
                  <a:lnTo>
                    <a:pt x="2073" y="2433"/>
                  </a:lnTo>
                  <a:lnTo>
                    <a:pt x="2072" y="2441"/>
                  </a:lnTo>
                  <a:lnTo>
                    <a:pt x="2069" y="2452"/>
                  </a:lnTo>
                  <a:lnTo>
                    <a:pt x="2066" y="2460"/>
                  </a:lnTo>
                  <a:lnTo>
                    <a:pt x="2064" y="2463"/>
                  </a:lnTo>
                  <a:lnTo>
                    <a:pt x="2063" y="2465"/>
                  </a:lnTo>
                  <a:lnTo>
                    <a:pt x="2060" y="2469"/>
                  </a:lnTo>
                  <a:lnTo>
                    <a:pt x="2059" y="2469"/>
                  </a:lnTo>
                  <a:lnTo>
                    <a:pt x="2058" y="2471"/>
                  </a:lnTo>
                  <a:lnTo>
                    <a:pt x="2056" y="2473"/>
                  </a:lnTo>
                  <a:lnTo>
                    <a:pt x="2055" y="2474"/>
                  </a:lnTo>
                  <a:lnTo>
                    <a:pt x="2052" y="2477"/>
                  </a:lnTo>
                  <a:lnTo>
                    <a:pt x="2050" y="2478"/>
                  </a:lnTo>
                  <a:lnTo>
                    <a:pt x="2048" y="2480"/>
                  </a:lnTo>
                  <a:lnTo>
                    <a:pt x="2043" y="2482"/>
                  </a:lnTo>
                  <a:lnTo>
                    <a:pt x="2039" y="2485"/>
                  </a:lnTo>
                  <a:lnTo>
                    <a:pt x="2039" y="2485"/>
                  </a:lnTo>
                  <a:lnTo>
                    <a:pt x="2035" y="2486"/>
                  </a:lnTo>
                  <a:lnTo>
                    <a:pt x="2033" y="2487"/>
                  </a:lnTo>
                  <a:lnTo>
                    <a:pt x="2031" y="2488"/>
                  </a:lnTo>
                  <a:lnTo>
                    <a:pt x="2027" y="2488"/>
                  </a:lnTo>
                  <a:lnTo>
                    <a:pt x="2024" y="2489"/>
                  </a:lnTo>
                  <a:lnTo>
                    <a:pt x="2023" y="2489"/>
                  </a:lnTo>
                  <a:lnTo>
                    <a:pt x="2019" y="2489"/>
                  </a:lnTo>
                  <a:lnTo>
                    <a:pt x="2017" y="2489"/>
                  </a:lnTo>
                  <a:lnTo>
                    <a:pt x="1954" y="2489"/>
                  </a:lnTo>
                  <a:lnTo>
                    <a:pt x="1954" y="2672"/>
                  </a:lnTo>
                  <a:lnTo>
                    <a:pt x="1950" y="2689"/>
                  </a:lnTo>
                  <a:lnTo>
                    <a:pt x="1942" y="2705"/>
                  </a:lnTo>
                  <a:lnTo>
                    <a:pt x="1931" y="2716"/>
                  </a:lnTo>
                  <a:lnTo>
                    <a:pt x="1915" y="2724"/>
                  </a:lnTo>
                  <a:lnTo>
                    <a:pt x="1898" y="2727"/>
                  </a:lnTo>
                  <a:lnTo>
                    <a:pt x="1418" y="2727"/>
                  </a:lnTo>
                  <a:lnTo>
                    <a:pt x="1418" y="2853"/>
                  </a:lnTo>
                  <a:lnTo>
                    <a:pt x="1838" y="2853"/>
                  </a:lnTo>
                  <a:lnTo>
                    <a:pt x="1890" y="2857"/>
                  </a:lnTo>
                  <a:lnTo>
                    <a:pt x="1940" y="2866"/>
                  </a:lnTo>
                  <a:lnTo>
                    <a:pt x="1988" y="2882"/>
                  </a:lnTo>
                  <a:lnTo>
                    <a:pt x="2032" y="2902"/>
                  </a:lnTo>
                  <a:lnTo>
                    <a:pt x="2074" y="2927"/>
                  </a:lnTo>
                  <a:lnTo>
                    <a:pt x="2112" y="2958"/>
                  </a:lnTo>
                  <a:lnTo>
                    <a:pt x="2146" y="2992"/>
                  </a:lnTo>
                  <a:lnTo>
                    <a:pt x="2177" y="3030"/>
                  </a:lnTo>
                  <a:lnTo>
                    <a:pt x="2202" y="3072"/>
                  </a:lnTo>
                  <a:lnTo>
                    <a:pt x="2222" y="3116"/>
                  </a:lnTo>
                  <a:lnTo>
                    <a:pt x="2238" y="3164"/>
                  </a:lnTo>
                  <a:lnTo>
                    <a:pt x="2247" y="3214"/>
                  </a:lnTo>
                  <a:lnTo>
                    <a:pt x="2251" y="3266"/>
                  </a:lnTo>
                  <a:lnTo>
                    <a:pt x="2247" y="3317"/>
                  </a:lnTo>
                  <a:lnTo>
                    <a:pt x="2238" y="3367"/>
                  </a:lnTo>
                  <a:lnTo>
                    <a:pt x="2222" y="3415"/>
                  </a:lnTo>
                  <a:lnTo>
                    <a:pt x="2202" y="3460"/>
                  </a:lnTo>
                  <a:lnTo>
                    <a:pt x="2177" y="3501"/>
                  </a:lnTo>
                  <a:lnTo>
                    <a:pt x="2146" y="3540"/>
                  </a:lnTo>
                  <a:lnTo>
                    <a:pt x="2112" y="3574"/>
                  </a:lnTo>
                  <a:lnTo>
                    <a:pt x="2074" y="3604"/>
                  </a:lnTo>
                  <a:lnTo>
                    <a:pt x="2032" y="3630"/>
                  </a:lnTo>
                  <a:lnTo>
                    <a:pt x="1988" y="3651"/>
                  </a:lnTo>
                  <a:lnTo>
                    <a:pt x="1940" y="3666"/>
                  </a:lnTo>
                  <a:lnTo>
                    <a:pt x="1890" y="3676"/>
                  </a:lnTo>
                  <a:lnTo>
                    <a:pt x="1838" y="3678"/>
                  </a:lnTo>
                  <a:lnTo>
                    <a:pt x="413" y="3678"/>
                  </a:lnTo>
                  <a:lnTo>
                    <a:pt x="360" y="3676"/>
                  </a:lnTo>
                  <a:lnTo>
                    <a:pt x="311" y="3666"/>
                  </a:lnTo>
                  <a:lnTo>
                    <a:pt x="263" y="3651"/>
                  </a:lnTo>
                  <a:lnTo>
                    <a:pt x="219" y="3630"/>
                  </a:lnTo>
                  <a:lnTo>
                    <a:pt x="177" y="3604"/>
                  </a:lnTo>
                  <a:lnTo>
                    <a:pt x="138" y="3574"/>
                  </a:lnTo>
                  <a:lnTo>
                    <a:pt x="104" y="3540"/>
                  </a:lnTo>
                  <a:lnTo>
                    <a:pt x="74" y="3501"/>
                  </a:lnTo>
                  <a:lnTo>
                    <a:pt x="49" y="3460"/>
                  </a:lnTo>
                  <a:lnTo>
                    <a:pt x="28" y="3415"/>
                  </a:lnTo>
                  <a:lnTo>
                    <a:pt x="12" y="3367"/>
                  </a:lnTo>
                  <a:lnTo>
                    <a:pt x="3" y="3317"/>
                  </a:lnTo>
                  <a:lnTo>
                    <a:pt x="0" y="3266"/>
                  </a:lnTo>
                  <a:lnTo>
                    <a:pt x="3" y="3214"/>
                  </a:lnTo>
                  <a:lnTo>
                    <a:pt x="12" y="3164"/>
                  </a:lnTo>
                  <a:lnTo>
                    <a:pt x="28" y="3116"/>
                  </a:lnTo>
                  <a:lnTo>
                    <a:pt x="49" y="3072"/>
                  </a:lnTo>
                  <a:lnTo>
                    <a:pt x="74" y="3030"/>
                  </a:lnTo>
                  <a:lnTo>
                    <a:pt x="104" y="2992"/>
                  </a:lnTo>
                  <a:lnTo>
                    <a:pt x="138" y="2958"/>
                  </a:lnTo>
                  <a:lnTo>
                    <a:pt x="177" y="2927"/>
                  </a:lnTo>
                  <a:lnTo>
                    <a:pt x="219" y="2902"/>
                  </a:lnTo>
                  <a:lnTo>
                    <a:pt x="263" y="2882"/>
                  </a:lnTo>
                  <a:lnTo>
                    <a:pt x="311" y="2866"/>
                  </a:lnTo>
                  <a:lnTo>
                    <a:pt x="360" y="2857"/>
                  </a:lnTo>
                  <a:lnTo>
                    <a:pt x="413" y="2853"/>
                  </a:lnTo>
                  <a:lnTo>
                    <a:pt x="832" y="2853"/>
                  </a:lnTo>
                  <a:lnTo>
                    <a:pt x="832" y="2727"/>
                  </a:lnTo>
                  <a:lnTo>
                    <a:pt x="353" y="2727"/>
                  </a:lnTo>
                  <a:lnTo>
                    <a:pt x="317" y="2724"/>
                  </a:lnTo>
                  <a:lnTo>
                    <a:pt x="284" y="2714"/>
                  </a:lnTo>
                  <a:lnTo>
                    <a:pt x="255" y="2698"/>
                  </a:lnTo>
                  <a:lnTo>
                    <a:pt x="229" y="2676"/>
                  </a:lnTo>
                  <a:lnTo>
                    <a:pt x="209" y="2650"/>
                  </a:lnTo>
                  <a:lnTo>
                    <a:pt x="192" y="2621"/>
                  </a:lnTo>
                  <a:lnTo>
                    <a:pt x="181" y="2588"/>
                  </a:lnTo>
                  <a:lnTo>
                    <a:pt x="178" y="2553"/>
                  </a:lnTo>
                  <a:lnTo>
                    <a:pt x="178" y="2136"/>
                  </a:lnTo>
                  <a:lnTo>
                    <a:pt x="181" y="2101"/>
                  </a:lnTo>
                  <a:lnTo>
                    <a:pt x="192" y="2068"/>
                  </a:lnTo>
                  <a:lnTo>
                    <a:pt x="209" y="2039"/>
                  </a:lnTo>
                  <a:lnTo>
                    <a:pt x="229" y="2013"/>
                  </a:lnTo>
                  <a:lnTo>
                    <a:pt x="255" y="1991"/>
                  </a:lnTo>
                  <a:lnTo>
                    <a:pt x="284" y="1975"/>
                  </a:lnTo>
                  <a:lnTo>
                    <a:pt x="317" y="1965"/>
                  </a:lnTo>
                  <a:lnTo>
                    <a:pt x="353" y="1962"/>
                  </a:lnTo>
                  <a:lnTo>
                    <a:pt x="713" y="1962"/>
                  </a:lnTo>
                  <a:lnTo>
                    <a:pt x="713" y="1601"/>
                  </a:lnTo>
                  <a:lnTo>
                    <a:pt x="717" y="1558"/>
                  </a:lnTo>
                  <a:lnTo>
                    <a:pt x="726" y="1517"/>
                  </a:lnTo>
                  <a:lnTo>
                    <a:pt x="740" y="1477"/>
                  </a:lnTo>
                  <a:lnTo>
                    <a:pt x="761" y="1442"/>
                  </a:lnTo>
                  <a:lnTo>
                    <a:pt x="785" y="1409"/>
                  </a:lnTo>
                  <a:lnTo>
                    <a:pt x="814" y="1380"/>
                  </a:lnTo>
                  <a:lnTo>
                    <a:pt x="847" y="1355"/>
                  </a:lnTo>
                  <a:lnTo>
                    <a:pt x="883" y="1335"/>
                  </a:lnTo>
                  <a:lnTo>
                    <a:pt x="922" y="1321"/>
                  </a:lnTo>
                  <a:lnTo>
                    <a:pt x="963" y="1310"/>
                  </a:lnTo>
                  <a:lnTo>
                    <a:pt x="1007" y="1308"/>
                  </a:lnTo>
                  <a:lnTo>
                    <a:pt x="1414" y="1308"/>
                  </a:lnTo>
                  <a:lnTo>
                    <a:pt x="1452" y="1310"/>
                  </a:lnTo>
                  <a:lnTo>
                    <a:pt x="2359" y="101"/>
                  </a:lnTo>
                  <a:lnTo>
                    <a:pt x="2359" y="101"/>
                  </a:lnTo>
                  <a:lnTo>
                    <a:pt x="2382" y="73"/>
                  </a:lnTo>
                  <a:lnTo>
                    <a:pt x="2410" y="48"/>
                  </a:lnTo>
                  <a:lnTo>
                    <a:pt x="2441" y="27"/>
                  </a:lnTo>
                  <a:lnTo>
                    <a:pt x="2475" y="12"/>
                  </a:lnTo>
                  <a:lnTo>
                    <a:pt x="2513" y="3"/>
                  </a:lnTo>
                  <a:lnTo>
                    <a:pt x="2551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</p:grpSp>
      <p:sp>
        <p:nvSpPr>
          <p:cNvPr id="23625" name="TextBox 158">
            <a:extLst>
              <a:ext uri="{FF2B5EF4-FFF2-40B4-BE49-F238E27FC236}">
                <a16:creationId xmlns:a16="http://schemas.microsoft.com/office/drawing/2014/main" id="{E039C87F-72AD-4054-B63A-554ACFFB9E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4663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6" name="TextBox 159">
            <a:extLst>
              <a:ext uri="{FF2B5EF4-FFF2-40B4-BE49-F238E27FC236}">
                <a16:creationId xmlns:a16="http://schemas.microsoft.com/office/drawing/2014/main" id="{C89D28E8-6E73-4458-A352-42A749EC09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3488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7" name="TextBox 127">
            <a:extLst>
              <a:ext uri="{FF2B5EF4-FFF2-40B4-BE49-F238E27FC236}">
                <a16:creationId xmlns:a16="http://schemas.microsoft.com/office/drawing/2014/main" id="{D2C4F5E9-E854-4896-8355-45DEC69063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7813" y="6378575"/>
            <a:ext cx="426243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Sources: National Bureau of Statistics, World Bank Report on Doing Business in Nigeria 2018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climate-data.org, State Government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Exchange rate= $1/N305 (Central Bank of Nigeria)</a:t>
            </a:r>
          </a:p>
        </p:txBody>
      </p:sp>
      <p:sp>
        <p:nvSpPr>
          <p:cNvPr id="23628" name="TextBox 128">
            <a:extLst>
              <a:ext uri="{FF2B5EF4-FFF2-40B4-BE49-F238E27FC236}">
                <a16:creationId xmlns:a16="http://schemas.microsoft.com/office/drawing/2014/main" id="{409BCC6F-A5F0-4C79-BB4A-38A1ABC14F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99047" y="3649889"/>
            <a:ext cx="883575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Transportation</a:t>
            </a:r>
          </a:p>
        </p:txBody>
      </p:sp>
      <p:sp>
        <p:nvSpPr>
          <p:cNvPr id="23629" name="TextBox 129">
            <a:extLst>
              <a:ext uri="{FF2B5EF4-FFF2-40B4-BE49-F238E27FC236}">
                <a16:creationId xmlns:a16="http://schemas.microsoft.com/office/drawing/2014/main" id="{489E7B41-20C9-4493-8E7D-07238EB8FA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2892" y="3654980"/>
            <a:ext cx="58541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Telecom</a:t>
            </a:r>
          </a:p>
        </p:txBody>
      </p:sp>
      <p:sp>
        <p:nvSpPr>
          <p:cNvPr id="23630" name="TextBox 130">
            <a:extLst>
              <a:ext uri="{FF2B5EF4-FFF2-40B4-BE49-F238E27FC236}">
                <a16:creationId xmlns:a16="http://schemas.microsoft.com/office/drawing/2014/main" id="{048DE5D8-5309-42DA-9D97-2935A10CB7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31" name="TextBox 131">
            <a:extLst>
              <a:ext uri="{FF2B5EF4-FFF2-40B4-BE49-F238E27FC236}">
                <a16:creationId xmlns:a16="http://schemas.microsoft.com/office/drawing/2014/main" id="{FF8B6C80-43E2-43AF-A364-A31845F05C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5388" y="3656613"/>
            <a:ext cx="56778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Tourism</a:t>
            </a:r>
          </a:p>
        </p:txBody>
      </p:sp>
      <p:sp>
        <p:nvSpPr>
          <p:cNvPr id="23632" name="TextBox 132">
            <a:extLst>
              <a:ext uri="{FF2B5EF4-FFF2-40B4-BE49-F238E27FC236}">
                <a16:creationId xmlns:a16="http://schemas.microsoft.com/office/drawing/2014/main" id="{A1C640C1-61D1-4BA5-8A76-E684397E8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70489" y="3650683"/>
            <a:ext cx="70243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Real Estate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238751" y="3833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23638" name="TextBox 141">
            <a:extLst>
              <a:ext uri="{FF2B5EF4-FFF2-40B4-BE49-F238E27FC236}">
                <a16:creationId xmlns:a16="http://schemas.microsoft.com/office/drawing/2014/main" id="{EE481231-8673-4FD7-B5CC-900AEE7A9F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8233" y="3652271"/>
            <a:ext cx="566181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dirty="0">
                <a:latin typeface="Calibri" panose="020F0502020204030204" pitchFamily="34" charset="0"/>
              </a:rPr>
              <a:t>Services</a:t>
            </a:r>
            <a:endParaRPr lang="en-GB" altLang="en-US" sz="900" dirty="0">
              <a:latin typeface="Calibri" panose="020F0502020204030204" pitchFamily="34" charset="0"/>
            </a:endParaRPr>
          </a:p>
        </p:txBody>
      </p:sp>
      <p:sp>
        <p:nvSpPr>
          <p:cNvPr id="23649" name="TextBox 165">
            <a:extLst>
              <a:ext uri="{FF2B5EF4-FFF2-40B4-BE49-F238E27FC236}">
                <a16:creationId xmlns:a16="http://schemas.microsoft.com/office/drawing/2014/main" id="{1242633E-9CB1-48ED-83F4-2223DFC7ED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10896" y="4459560"/>
            <a:ext cx="795411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Power Plants</a:t>
            </a:r>
          </a:p>
        </p:txBody>
      </p:sp>
      <p:sp>
        <p:nvSpPr>
          <p:cNvPr id="23650" name="TextBox 166">
            <a:extLst>
              <a:ext uri="{FF2B5EF4-FFF2-40B4-BE49-F238E27FC236}">
                <a16:creationId xmlns:a16="http://schemas.microsoft.com/office/drawing/2014/main" id="{6B51369B-8FA6-464A-B908-12B0FFE6B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51841" y="4458812"/>
            <a:ext cx="59182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dirty="0">
                <a:latin typeface="Calibri" panose="020F0502020204030204" pitchFamily="34" charset="0"/>
              </a:rPr>
              <a:t>Art work</a:t>
            </a:r>
            <a:endParaRPr lang="en-GB" altLang="en-US" sz="900" dirty="0">
              <a:latin typeface="Calibri" panose="020F0502020204030204" pitchFamily="34" charset="0"/>
            </a:endParaRPr>
          </a:p>
        </p:txBody>
      </p:sp>
      <p:sp>
        <p:nvSpPr>
          <p:cNvPr id="23651" name="TextBox 167">
            <a:extLst>
              <a:ext uri="{FF2B5EF4-FFF2-40B4-BE49-F238E27FC236}">
                <a16:creationId xmlns:a16="http://schemas.microsoft.com/office/drawing/2014/main" id="{4F9404E1-8339-401B-8B10-4C7D1A8CEC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58836" y="4457881"/>
            <a:ext cx="65274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dirty="0">
                <a:latin typeface="Calibri" panose="020F0502020204030204" pitchFamily="34" charset="0"/>
              </a:rPr>
              <a:t>Education</a:t>
            </a:r>
            <a:endParaRPr lang="en-GB" altLang="en-US" sz="900" dirty="0">
              <a:latin typeface="Calibri" panose="020F0502020204030204" pitchFamily="34" charset="0"/>
            </a:endParaRPr>
          </a:p>
        </p:txBody>
      </p:sp>
      <p:sp>
        <p:nvSpPr>
          <p:cNvPr id="23652" name="TextBox 168">
            <a:extLst>
              <a:ext uri="{FF2B5EF4-FFF2-40B4-BE49-F238E27FC236}">
                <a16:creationId xmlns:a16="http://schemas.microsoft.com/office/drawing/2014/main" id="{1C04917D-B2C3-4C21-8CC2-A45C349B4B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65456" y="4457133"/>
            <a:ext cx="49564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dirty="0">
                <a:latin typeface="Calibri" panose="020F0502020204030204" pitchFamily="34" charset="0"/>
              </a:rPr>
              <a:t>Health</a:t>
            </a:r>
            <a:endParaRPr lang="en-GB" altLang="en-US" sz="900" dirty="0">
              <a:latin typeface="Calibri" panose="020F0502020204030204" pitchFamily="34" charset="0"/>
            </a:endParaRPr>
          </a:p>
        </p:txBody>
      </p:sp>
      <p:sp>
        <p:nvSpPr>
          <p:cNvPr id="23653" name="TextBox 169">
            <a:extLst>
              <a:ext uri="{FF2B5EF4-FFF2-40B4-BE49-F238E27FC236}">
                <a16:creationId xmlns:a16="http://schemas.microsoft.com/office/drawing/2014/main" id="{4BADA327-4F2D-4897-B7C0-4647A1484B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7591" y="4457973"/>
            <a:ext cx="54373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Sewage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8A28B48-1841-45BB-BFBC-EADE77B37C6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779712" y="2589213"/>
          <a:ext cx="1482725" cy="812800"/>
        </p:xfrm>
        <a:graphic>
          <a:graphicData uri="http://schemas.openxmlformats.org/drawingml/2006/table">
            <a:tbl>
              <a:tblPr/>
              <a:tblGrid>
                <a:gridCol w="11367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9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32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GB" sz="1000" b="1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Domestic</a:t>
                      </a:r>
                      <a:r>
                        <a:rPr lang="en-GB" sz="10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US" sz="1000" b="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International 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Yes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Railway</a:t>
                      </a:r>
                      <a:r>
                        <a:rPr lang="en-GB" sz="1000" b="1" kern="1200" baseline="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 Station</a:t>
                      </a:r>
                      <a:endParaRPr lang="en-GB" sz="1000" b="1" kern="1200" dirty="0">
                        <a:solidFill>
                          <a:srgbClr val="292929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32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Sea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7" name="TextBox 136">
            <a:extLst>
              <a:ext uri="{FF2B5EF4-FFF2-40B4-BE49-F238E27FC236}">
                <a16:creationId xmlns:a16="http://schemas.microsoft.com/office/drawing/2014/main" id="{2F4C4876-7073-4C13-A183-127A8909BDC0}"/>
              </a:ext>
            </a:extLst>
          </p:cNvPr>
          <p:cNvSpPr txBox="1"/>
          <p:nvPr/>
        </p:nvSpPr>
        <p:spPr>
          <a:xfrm>
            <a:off x="538163" y="5268913"/>
            <a:ext cx="373856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For further details</a:t>
            </a:r>
          </a:p>
        </p:txBody>
      </p:sp>
      <p:sp>
        <p:nvSpPr>
          <p:cNvPr id="23676" name="TextBox 156">
            <a:extLst>
              <a:ext uri="{FF2B5EF4-FFF2-40B4-BE49-F238E27FC236}">
                <a16:creationId xmlns:a16="http://schemas.microsoft.com/office/drawing/2014/main" id="{95D66AAF-6B48-4B9E-9E5B-F1BB063A89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6300" y="6342063"/>
            <a:ext cx="37306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Abbreviations: </a:t>
            </a:r>
            <a:r>
              <a:rPr lang="en-GB" altLang="en-US" sz="800" b="1" dirty="0">
                <a:latin typeface="Calibri" panose="020F0502020204030204" pitchFamily="34" charset="0"/>
              </a:rPr>
              <a:t>	NICPS</a:t>
            </a:r>
            <a:r>
              <a:rPr lang="en-GB" altLang="en-US" sz="800" dirty="0">
                <a:latin typeface="Calibri" panose="020F0502020204030204" pitchFamily="34" charset="0"/>
              </a:rPr>
              <a:t>: Nigerian Investment Certification Programme for States                  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	</a:t>
            </a:r>
            <a:r>
              <a:rPr lang="en-GB" altLang="en-US" sz="800" b="1" dirty="0">
                <a:latin typeface="Calibri" panose="020F0502020204030204" pitchFamily="34" charset="0"/>
              </a:rPr>
              <a:t>IGR</a:t>
            </a:r>
            <a:r>
              <a:rPr lang="en-GB" altLang="en-US" sz="800" dirty="0">
                <a:latin typeface="Calibri" panose="020F0502020204030204" pitchFamily="34" charset="0"/>
              </a:rPr>
              <a:t>:     Internal Generated Revenue</a:t>
            </a:r>
          </a:p>
        </p:txBody>
      </p:sp>
      <p:sp>
        <p:nvSpPr>
          <p:cNvPr id="23678" name="TextBox 152">
            <a:extLst>
              <a:ext uri="{FF2B5EF4-FFF2-40B4-BE49-F238E27FC236}">
                <a16:creationId xmlns:a16="http://schemas.microsoft.com/office/drawing/2014/main" id="{BFAF6896-F732-45FC-AC47-950DF99D9E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4575" y="926187"/>
            <a:ext cx="3558047" cy="1831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15888" indent="-11588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indent="0"/>
            <a:endParaRPr lang="en-GB" sz="1300" dirty="0">
              <a:latin typeface="Calibri" panose="020F050202020403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GB" sz="1250" dirty="0">
                <a:latin typeface="Calibri" panose="020F0502020204030204" pitchFamily="34" charset="0"/>
              </a:rPr>
              <a:t>Central and strategic locati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250" dirty="0">
                <a:latin typeface="Calibri" panose="020F0502020204030204" pitchFamily="34" charset="0"/>
              </a:rPr>
              <a:t>Availability of infrastructure (good roads and estates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250" dirty="0">
                <a:latin typeface="Calibri" panose="020F0502020204030204" pitchFamily="34" charset="0"/>
              </a:rPr>
              <a:t>High quality marble, granite, and tantalite deposi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250" dirty="0">
                <a:latin typeface="Calibri" panose="020F0502020204030204" pitchFamily="34" charset="0"/>
              </a:rPr>
              <a:t>Key Capital on the African Continen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250" dirty="0">
                <a:latin typeface="Calibri" panose="020F0502020204030204" pitchFamily="34" charset="0"/>
              </a:rPr>
              <a:t>One of the top ten most beautiful cities in Nigeria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250" dirty="0">
                <a:latin typeface="Calibri" panose="020F0502020204030204" pitchFamily="34" charset="0"/>
              </a:rPr>
              <a:t>Largest stadium in Nigeria with a capacity of 60,491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D4E23C6-26A0-4545-B8F7-7007C8EEBFE4}"/>
              </a:ext>
            </a:extLst>
          </p:cNvPr>
          <p:cNvSpPr txBox="1"/>
          <p:nvPr/>
        </p:nvSpPr>
        <p:spPr>
          <a:xfrm>
            <a:off x="4338638" y="5265738"/>
            <a:ext cx="247491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id you know?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132" name="Text Placeholder 42">
            <a:extLst>
              <a:ext uri="{FF2B5EF4-FFF2-40B4-BE49-F238E27FC236}">
                <a16:creationId xmlns:a16="http://schemas.microsoft.com/office/drawing/2014/main" id="{D510D0DC-1548-4249-8DB1-9A1055126D07}"/>
              </a:ext>
            </a:extLst>
          </p:cNvPr>
          <p:cNvSpPr txBox="1">
            <a:spLocks/>
          </p:cNvSpPr>
          <p:nvPr/>
        </p:nvSpPr>
        <p:spPr>
          <a:xfrm>
            <a:off x="522288" y="5511800"/>
            <a:ext cx="3733800" cy="801687"/>
          </a:xfrm>
          <a:prstGeom prst="rect">
            <a:avLst/>
          </a:prstGeom>
        </p:spPr>
        <p:txBody>
          <a:bodyPr lIns="36576" tIns="0" rIns="36576" bIns="0"/>
          <a:lstStyle>
            <a:lvl1pPr marL="0" indent="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/>
              <a:buNone/>
              <a:defRPr sz="800" b="1" baseline="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6575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93763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 charset="0"/>
              <a:buChar char="►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50950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619250" indent="-188913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0764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25336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29908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34480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NIGERIAN INVESTMENT PROMOTION COMMISSION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>
                <a:solidFill>
                  <a:schemeClr val="tx1"/>
                </a:solidFill>
                <a:hlinkClick r:id="rId7"/>
              </a:rPr>
              <a:t>statesco@nipc.gov.ng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ABUJA INFRASTRUCTURE INVESTMENT CENTRE</a:t>
            </a: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 err="1">
                <a:solidFill>
                  <a:schemeClr val="tx1"/>
                </a:solidFill>
                <a:hlinkClick r:id="rId8"/>
              </a:rPr>
              <a:t>m.kubau@aiic.fcta.gov.ng</a:t>
            </a:r>
            <a:r>
              <a:rPr lang="en-US" sz="1000" b="0" kern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FF015425-7997-4612-9D0E-1F6C433DFCC7}"/>
              </a:ext>
            </a:extLst>
          </p:cNvPr>
          <p:cNvSpPr/>
          <p:nvPr/>
        </p:nvSpPr>
        <p:spPr>
          <a:xfrm>
            <a:off x="6080877" y="3040856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4C0B7457-CABD-4AC8-8A1A-1FD468581E4D}"/>
              </a:ext>
            </a:extLst>
          </p:cNvPr>
          <p:cNvSpPr/>
          <p:nvPr/>
        </p:nvSpPr>
        <p:spPr>
          <a:xfrm>
            <a:off x="6784796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2D626A89-F50C-45A3-9271-5D3F2EEA9C83}"/>
              </a:ext>
            </a:extLst>
          </p:cNvPr>
          <p:cNvSpPr/>
          <p:nvPr/>
        </p:nvSpPr>
        <p:spPr>
          <a:xfrm>
            <a:off x="7518399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240713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A62E850A-D87D-46D0-9257-0071E677FCF0}"/>
              </a:ext>
            </a:extLst>
          </p:cNvPr>
          <p:cNvSpPr/>
          <p:nvPr/>
        </p:nvSpPr>
        <p:spPr>
          <a:xfrm>
            <a:off x="8947150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4D1FAA17-3EFF-404B-B4C4-B468BCE2E9A5}"/>
              </a:ext>
            </a:extLst>
          </p:cNvPr>
          <p:cNvSpPr/>
          <p:nvPr/>
        </p:nvSpPr>
        <p:spPr>
          <a:xfrm>
            <a:off x="6078265" y="3836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E861211D-5D09-4577-8A09-FD96D972A5D4}"/>
              </a:ext>
            </a:extLst>
          </p:cNvPr>
          <p:cNvSpPr/>
          <p:nvPr/>
        </p:nvSpPr>
        <p:spPr>
          <a:xfrm>
            <a:off x="6780509" y="3833831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D9F8790B-E97D-4D8F-AD51-26FAFBF8CA40}"/>
              </a:ext>
            </a:extLst>
          </p:cNvPr>
          <p:cNvSpPr/>
          <p:nvPr/>
        </p:nvSpPr>
        <p:spPr>
          <a:xfrm>
            <a:off x="8946402" y="3833630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3CBEFD1C-6360-47CD-AEDD-DFB49FC0E0C7}"/>
              </a:ext>
            </a:extLst>
          </p:cNvPr>
          <p:cNvSpPr/>
          <p:nvPr/>
        </p:nvSpPr>
        <p:spPr>
          <a:xfrm>
            <a:off x="7518603" y="3830834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pic>
        <p:nvPicPr>
          <p:cNvPr id="134" name="Picture 133">
            <a:extLst>
              <a:ext uri="{FF2B5EF4-FFF2-40B4-BE49-F238E27FC236}">
                <a16:creationId xmlns:a16="http://schemas.microsoft.com/office/drawing/2014/main" id="{79945570-7F46-4D27-B777-642E4F1FE514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b="12099"/>
          <a:stretch/>
        </p:blipFill>
        <p:spPr>
          <a:xfrm flipH="1">
            <a:off x="6818431" y="3053453"/>
            <a:ext cx="552003" cy="525652"/>
          </a:xfrm>
          <a:prstGeom prst="rect">
            <a:avLst/>
          </a:prstGeom>
        </p:spPr>
      </p:pic>
      <p:pic>
        <p:nvPicPr>
          <p:cNvPr id="141" name="Picture 140" descr="Services.png">
            <a:extLst>
              <a:ext uri="{FF2B5EF4-FFF2-40B4-BE49-F238E27FC236}">
                <a16:creationId xmlns:a16="http://schemas.microsoft.com/office/drawing/2014/main" id="{9DAF4489-6B5B-4E85-97DA-F1682E466873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117821" y="3092508"/>
            <a:ext cx="512618" cy="471055"/>
          </a:xfrm>
          <a:prstGeom prst="rect">
            <a:avLst/>
          </a:prstGeom>
        </p:spPr>
      </p:pic>
      <p:sp>
        <p:nvSpPr>
          <p:cNvPr id="153" name="TextBox 152">
            <a:extLst>
              <a:ext uri="{FF2B5EF4-FFF2-40B4-BE49-F238E27FC236}">
                <a16:creationId xmlns:a16="http://schemas.microsoft.com/office/drawing/2014/main" id="{D0A41506-8873-4C2F-B45B-4459F0229CA3}"/>
              </a:ext>
            </a:extLst>
          </p:cNvPr>
          <p:cNvSpPr txBox="1"/>
          <p:nvPr/>
        </p:nvSpPr>
        <p:spPr>
          <a:xfrm>
            <a:off x="4374578" y="4541674"/>
            <a:ext cx="17988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te Investment Certification Process Not Started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265350" y="5418583"/>
            <a:ext cx="2603185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By law, Abuja does not belong to any region and no group or ethnicity can lay claim to it.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11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94" r="5918" b="13574"/>
          <a:stretch/>
        </p:blipFill>
        <p:spPr>
          <a:xfrm>
            <a:off x="6161920" y="3898309"/>
            <a:ext cx="435679" cy="43087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12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94" r="6720" b="15823"/>
          <a:stretch/>
        </p:blipFill>
        <p:spPr>
          <a:xfrm>
            <a:off x="6851842" y="3942207"/>
            <a:ext cx="442682" cy="44423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3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49" t="2088" r="10415" b="17912"/>
          <a:stretch/>
        </p:blipFill>
        <p:spPr>
          <a:xfrm>
            <a:off x="9056252" y="3910534"/>
            <a:ext cx="429488" cy="434726"/>
          </a:xfrm>
          <a:prstGeom prst="rect">
            <a:avLst/>
          </a:prstGeom>
        </p:spPr>
      </p:pic>
      <p:pic>
        <p:nvPicPr>
          <p:cNvPr id="119" name="Picture 118"/>
          <p:cNvPicPr>
            <a:picLocks noChangeAspect="1"/>
          </p:cNvPicPr>
          <p:nvPr/>
        </p:nvPicPr>
        <p:blipFill rotWithShape="1">
          <a:blip r:embed="rId14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51" t="18152" r="5435" b="30442"/>
          <a:stretch/>
        </p:blipFill>
        <p:spPr>
          <a:xfrm>
            <a:off x="7524887" y="3160391"/>
            <a:ext cx="573566" cy="333106"/>
          </a:xfrm>
          <a:prstGeom prst="rect">
            <a:avLst/>
          </a:prstGeom>
        </p:spPr>
      </p:pic>
      <p:pic>
        <p:nvPicPr>
          <p:cNvPr id="135" name="Picture 134"/>
          <p:cNvPicPr>
            <a:picLocks noChangeAspect="1"/>
          </p:cNvPicPr>
          <p:nvPr/>
        </p:nvPicPr>
        <p:blipFill rotWithShape="1">
          <a:blip r:embed="rId15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95" t="6105" r="11379" b="20321"/>
          <a:stretch/>
        </p:blipFill>
        <p:spPr>
          <a:xfrm>
            <a:off x="8308587" y="3898633"/>
            <a:ext cx="454796" cy="436681"/>
          </a:xfrm>
          <a:prstGeom prst="rect">
            <a:avLst/>
          </a:prstGeom>
        </p:spPr>
      </p:pic>
      <p:pic>
        <p:nvPicPr>
          <p:cNvPr id="144" name="Picture 143"/>
          <p:cNvPicPr>
            <a:picLocks noChangeAspect="1"/>
          </p:cNvPicPr>
          <p:nvPr/>
        </p:nvPicPr>
        <p:blipFill rotWithShape="1">
          <a:blip r:embed="rId1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90" t="4016" r="6399" b="19197"/>
          <a:stretch/>
        </p:blipFill>
        <p:spPr>
          <a:xfrm>
            <a:off x="7544479" y="3898309"/>
            <a:ext cx="538291" cy="47125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17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43" r="8326" b="16626"/>
          <a:stretch/>
        </p:blipFill>
        <p:spPr>
          <a:xfrm>
            <a:off x="9056251" y="3094494"/>
            <a:ext cx="423269" cy="43205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1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24" t="4337" r="9291" b="18394"/>
          <a:stretch/>
        </p:blipFill>
        <p:spPr>
          <a:xfrm>
            <a:off x="8308886" y="3119794"/>
            <a:ext cx="467987" cy="444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30584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Pentagon 19">
            <a:extLst>
              <a:ext uri="{FF2B5EF4-FFF2-40B4-BE49-F238E27FC236}">
                <a16:creationId xmlns:a16="http://schemas.microsoft.com/office/drawing/2014/main" id="{CAD93C59-72A9-4F6D-A654-02B9F8A5EFF9}"/>
              </a:ext>
            </a:extLst>
          </p:cNvPr>
          <p:cNvSpPr>
            <a:spLocks/>
          </p:cNvSpPr>
          <p:nvPr/>
        </p:nvSpPr>
        <p:spPr bwMode="auto">
          <a:xfrm>
            <a:off x="756602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6 of 37</a:t>
            </a:r>
          </a:p>
        </p:txBody>
      </p:sp>
      <p:sp>
        <p:nvSpPr>
          <p:cNvPr id="376" name="Pentagon 19">
            <a:extLst>
              <a:ext uri="{FF2B5EF4-FFF2-40B4-BE49-F238E27FC236}">
                <a16:creationId xmlns:a16="http://schemas.microsoft.com/office/drawing/2014/main" id="{1BDC5465-6022-4404-B4D8-ED55CF961B8A}"/>
              </a:ext>
            </a:extLst>
          </p:cNvPr>
          <p:cNvSpPr>
            <a:spLocks/>
          </p:cNvSpPr>
          <p:nvPr/>
        </p:nvSpPr>
        <p:spPr bwMode="auto">
          <a:xfrm>
            <a:off x="824865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5 of 3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57F1EBC-D01A-4083-B657-63AFB1490839}"/>
              </a:ext>
            </a:extLst>
          </p:cNvPr>
          <p:cNvSpPr txBox="1"/>
          <p:nvPr/>
        </p:nvSpPr>
        <p:spPr>
          <a:xfrm>
            <a:off x="6122988" y="2749550"/>
            <a:ext cx="3475037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nvestment Opportunit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D251BD-538A-4F4F-847E-620EEDA298A0}"/>
              </a:ext>
            </a:extLst>
          </p:cNvPr>
          <p:cNvSpPr txBox="1"/>
          <p:nvPr/>
        </p:nvSpPr>
        <p:spPr>
          <a:xfrm>
            <a:off x="6881813" y="4632911"/>
            <a:ext cx="2697162" cy="33855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oing Business Ranking(2018)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1B8F13C-F732-4DA1-9250-DB02936E7688}"/>
              </a:ext>
            </a:extLst>
          </p:cNvPr>
          <p:cNvSpPr/>
          <p:nvPr/>
        </p:nvSpPr>
        <p:spPr>
          <a:xfrm>
            <a:off x="756602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Registering Propert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6BA1818-32ED-44D1-975C-958200BDD124}"/>
              </a:ext>
            </a:extLst>
          </p:cNvPr>
          <p:cNvSpPr/>
          <p:nvPr/>
        </p:nvSpPr>
        <p:spPr>
          <a:xfrm>
            <a:off x="8248650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Dealing with Construction Permits</a:t>
            </a:r>
          </a:p>
        </p:txBody>
      </p:sp>
      <p:sp>
        <p:nvSpPr>
          <p:cNvPr id="23560" name="TextBox 174">
            <a:extLst>
              <a:ext uri="{FF2B5EF4-FFF2-40B4-BE49-F238E27FC236}">
                <a16:creationId xmlns:a16="http://schemas.microsoft.com/office/drawing/2014/main" id="{1573FD4E-62B9-45E8-8F28-CED990ED2D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0B63A6C-2A5E-4CA3-BC66-4CBC6008BC9A}"/>
              </a:ext>
            </a:extLst>
          </p:cNvPr>
          <p:cNvSpPr/>
          <p:nvPr/>
        </p:nvSpPr>
        <p:spPr>
          <a:xfrm>
            <a:off x="893127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Enforcing Contracts</a:t>
            </a:r>
          </a:p>
        </p:txBody>
      </p:sp>
      <p:pic>
        <p:nvPicPr>
          <p:cNvPr id="23562" name="Picture 4">
            <a:extLst>
              <a:ext uri="{FF2B5EF4-FFF2-40B4-BE49-F238E27FC236}">
                <a16:creationId xmlns:a16="http://schemas.microsoft.com/office/drawing/2014/main" id="{7C8EEAB2-0239-4BB5-94B3-23E319AF1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513" y="5249863"/>
            <a:ext cx="439737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6" name="Pentagon 19">
            <a:extLst>
              <a:ext uri="{FF2B5EF4-FFF2-40B4-BE49-F238E27FC236}">
                <a16:creationId xmlns:a16="http://schemas.microsoft.com/office/drawing/2014/main" id="{5F8E9670-D71A-4765-B6B5-D711BC9AD6E1}"/>
              </a:ext>
            </a:extLst>
          </p:cNvPr>
          <p:cNvSpPr>
            <a:spLocks/>
          </p:cNvSpPr>
          <p:nvPr/>
        </p:nvSpPr>
        <p:spPr bwMode="auto">
          <a:xfrm>
            <a:off x="893127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7</a:t>
            </a:r>
            <a:r>
              <a:rPr lang="en-GB" sz="1000" baseline="3000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of 37</a:t>
            </a:r>
          </a:p>
        </p:txBody>
      </p:sp>
      <p:sp>
        <p:nvSpPr>
          <p:cNvPr id="23564" name="Title 3">
            <a:extLst>
              <a:ext uri="{FF2B5EF4-FFF2-40B4-BE49-F238E27FC236}">
                <a16:creationId xmlns:a16="http://schemas.microsoft.com/office/drawing/2014/main" id="{C62A749B-CFC7-4224-A789-D20A772AC33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77813" y="222250"/>
            <a:ext cx="8543925" cy="5619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en-GB" altLang="en-US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ombe</a:t>
            </a:r>
            <a:r>
              <a:rPr lang="en-GB" alt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State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6882DF2C-9120-4A66-8487-575D9494F4D6}"/>
              </a:ext>
            </a:extLst>
          </p:cNvPr>
          <p:cNvSpPr txBox="1"/>
          <p:nvPr/>
        </p:nvSpPr>
        <p:spPr>
          <a:xfrm rot="16200000">
            <a:off x="-2290084" y="3478372"/>
            <a:ext cx="5303837" cy="2743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Jewel in the Savannah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grpSp>
        <p:nvGrpSpPr>
          <p:cNvPr id="23566" name="Group 9">
            <a:extLst>
              <a:ext uri="{FF2B5EF4-FFF2-40B4-BE49-F238E27FC236}">
                <a16:creationId xmlns:a16="http://schemas.microsoft.com/office/drawing/2014/main" id="{5B6131BD-3CE3-4FC4-B13A-FA9B797C1EF5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41338" y="963613"/>
            <a:ext cx="2897187" cy="2319337"/>
            <a:chOff x="770228" y="1459989"/>
            <a:chExt cx="4081047" cy="3267527"/>
          </a:xfrm>
        </p:grpSpPr>
        <p:sp>
          <p:nvSpPr>
            <p:cNvPr id="299" name="Freeform 4">
              <a:extLst>
                <a:ext uri="{FF2B5EF4-FFF2-40B4-BE49-F238E27FC236}">
                  <a16:creationId xmlns:a16="http://schemas.microsoft.com/office/drawing/2014/main" id="{B6150C82-CBE5-48B4-B60C-C210BB7B26A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91538" y="4349548"/>
              <a:ext cx="418167" cy="377968"/>
            </a:xfrm>
            <a:custGeom>
              <a:avLst/>
              <a:gdLst>
                <a:gd name="T0" fmla="*/ 12 w 786"/>
                <a:gd name="T1" fmla="*/ 19 h 714"/>
                <a:gd name="T2" fmla="*/ 22 w 786"/>
                <a:gd name="T3" fmla="*/ 18 h 714"/>
                <a:gd name="T4" fmla="*/ 27 w 786"/>
                <a:gd name="T5" fmla="*/ 17 h 714"/>
                <a:gd name="T6" fmla="*/ 30 w 786"/>
                <a:gd name="T7" fmla="*/ 14 h 714"/>
                <a:gd name="T8" fmla="*/ 37 w 786"/>
                <a:gd name="T9" fmla="*/ 16 h 714"/>
                <a:gd name="T10" fmla="*/ 43 w 786"/>
                <a:gd name="T11" fmla="*/ 13 h 714"/>
                <a:gd name="T12" fmla="*/ 48 w 786"/>
                <a:gd name="T13" fmla="*/ 8 h 714"/>
                <a:gd name="T14" fmla="*/ 55 w 786"/>
                <a:gd name="T15" fmla="*/ 4 h 714"/>
                <a:gd name="T16" fmla="*/ 66 w 786"/>
                <a:gd name="T17" fmla="*/ 0 h 714"/>
                <a:gd name="T18" fmla="*/ 63 w 786"/>
                <a:gd name="T19" fmla="*/ 12 h 714"/>
                <a:gd name="T20" fmla="*/ 59 w 786"/>
                <a:gd name="T21" fmla="*/ 19 h 714"/>
                <a:gd name="T22" fmla="*/ 57 w 786"/>
                <a:gd name="T23" fmla="*/ 29 h 714"/>
                <a:gd name="T24" fmla="*/ 59 w 786"/>
                <a:gd name="T25" fmla="*/ 36 h 714"/>
                <a:gd name="T26" fmla="*/ 66 w 786"/>
                <a:gd name="T27" fmla="*/ 35 h 714"/>
                <a:gd name="T28" fmla="*/ 64 w 786"/>
                <a:gd name="T29" fmla="*/ 41 h 714"/>
                <a:gd name="T30" fmla="*/ 64 w 786"/>
                <a:gd name="T31" fmla="*/ 48 h 714"/>
                <a:gd name="T32" fmla="*/ 63 w 786"/>
                <a:gd name="T33" fmla="*/ 56 h 714"/>
                <a:gd name="T34" fmla="*/ 60 w 786"/>
                <a:gd name="T35" fmla="*/ 60 h 714"/>
                <a:gd name="T36" fmla="*/ 57 w 786"/>
                <a:gd name="T37" fmla="*/ 58 h 714"/>
                <a:gd name="T38" fmla="*/ 54 w 786"/>
                <a:gd name="T39" fmla="*/ 54 h 714"/>
                <a:gd name="T40" fmla="*/ 53 w 786"/>
                <a:gd name="T41" fmla="*/ 51 h 714"/>
                <a:gd name="T42" fmla="*/ 51 w 786"/>
                <a:gd name="T43" fmla="*/ 53 h 714"/>
                <a:gd name="T44" fmla="*/ 49 w 786"/>
                <a:gd name="T45" fmla="*/ 54 h 714"/>
                <a:gd name="T46" fmla="*/ 47 w 786"/>
                <a:gd name="T47" fmla="*/ 50 h 714"/>
                <a:gd name="T48" fmla="*/ 48 w 786"/>
                <a:gd name="T49" fmla="*/ 54 h 714"/>
                <a:gd name="T50" fmla="*/ 47 w 786"/>
                <a:gd name="T51" fmla="*/ 54 h 714"/>
                <a:gd name="T52" fmla="*/ 46 w 786"/>
                <a:gd name="T53" fmla="*/ 59 h 714"/>
                <a:gd name="T54" fmla="*/ 47 w 786"/>
                <a:gd name="T55" fmla="*/ 62 h 714"/>
                <a:gd name="T56" fmla="*/ 42 w 786"/>
                <a:gd name="T57" fmla="*/ 62 h 714"/>
                <a:gd name="T58" fmla="*/ 39 w 786"/>
                <a:gd name="T59" fmla="*/ 57 h 714"/>
                <a:gd name="T60" fmla="*/ 40 w 786"/>
                <a:gd name="T61" fmla="*/ 54 h 714"/>
                <a:gd name="T62" fmla="*/ 43 w 786"/>
                <a:gd name="T63" fmla="*/ 55 h 714"/>
                <a:gd name="T64" fmla="*/ 40 w 786"/>
                <a:gd name="T65" fmla="*/ 53 h 714"/>
                <a:gd name="T66" fmla="*/ 38 w 786"/>
                <a:gd name="T67" fmla="*/ 57 h 714"/>
                <a:gd name="T68" fmla="*/ 37 w 786"/>
                <a:gd name="T69" fmla="*/ 57 h 714"/>
                <a:gd name="T70" fmla="*/ 37 w 786"/>
                <a:gd name="T71" fmla="*/ 60 h 714"/>
                <a:gd name="T72" fmla="*/ 33 w 786"/>
                <a:gd name="T73" fmla="*/ 56 h 714"/>
                <a:gd name="T74" fmla="*/ 32 w 786"/>
                <a:gd name="T75" fmla="*/ 58 h 714"/>
                <a:gd name="T76" fmla="*/ 26 w 786"/>
                <a:gd name="T77" fmla="*/ 54 h 714"/>
                <a:gd name="T78" fmla="*/ 26 w 786"/>
                <a:gd name="T79" fmla="*/ 54 h 714"/>
                <a:gd name="T80" fmla="*/ 24 w 786"/>
                <a:gd name="T81" fmla="*/ 51 h 714"/>
                <a:gd name="T82" fmla="*/ 22 w 786"/>
                <a:gd name="T83" fmla="*/ 51 h 714"/>
                <a:gd name="T84" fmla="*/ 20 w 786"/>
                <a:gd name="T85" fmla="*/ 50 h 714"/>
                <a:gd name="T86" fmla="*/ 20 w 786"/>
                <a:gd name="T87" fmla="*/ 48 h 714"/>
                <a:gd name="T88" fmla="*/ 18 w 786"/>
                <a:gd name="T89" fmla="*/ 47 h 714"/>
                <a:gd name="T90" fmla="*/ 15 w 786"/>
                <a:gd name="T91" fmla="*/ 45 h 714"/>
                <a:gd name="T92" fmla="*/ 11 w 786"/>
                <a:gd name="T93" fmla="*/ 39 h 714"/>
                <a:gd name="T94" fmla="*/ 12 w 786"/>
                <a:gd name="T95" fmla="*/ 36 h 714"/>
                <a:gd name="T96" fmla="*/ 7 w 786"/>
                <a:gd name="T97" fmla="*/ 33 h 714"/>
                <a:gd name="T98" fmla="*/ 5 w 786"/>
                <a:gd name="T99" fmla="*/ 28 h 714"/>
                <a:gd name="T100" fmla="*/ 7 w 786"/>
                <a:gd name="T101" fmla="*/ 30 h 714"/>
                <a:gd name="T102" fmla="*/ 4 w 786"/>
                <a:gd name="T103" fmla="*/ 24 h 714"/>
                <a:gd name="T104" fmla="*/ 2 w 786"/>
                <a:gd name="T105" fmla="*/ 20 h 714"/>
                <a:gd name="T106" fmla="*/ 0 w 786"/>
                <a:gd name="T107" fmla="*/ 15 h 714"/>
                <a:gd name="T108" fmla="*/ 4 w 786"/>
                <a:gd name="T109" fmla="*/ 16 h 714"/>
                <a:gd name="T110" fmla="*/ 55 w 786"/>
                <a:gd name="T111" fmla="*/ 60 h 714"/>
                <a:gd name="T112" fmla="*/ 47 w 786"/>
                <a:gd name="T113" fmla="*/ 60 h 714"/>
                <a:gd name="T114" fmla="*/ 51 w 786"/>
                <a:gd name="T115" fmla="*/ 54 h 714"/>
                <a:gd name="T116" fmla="*/ 54 w 786"/>
                <a:gd name="T117" fmla="*/ 56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86"/>
                <a:gd name="T178" fmla="*/ 0 h 714"/>
                <a:gd name="T179" fmla="*/ 786 w 786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86" h="714">
                  <a:moveTo>
                    <a:pt x="54" y="186"/>
                  </a:moveTo>
                  <a:lnTo>
                    <a:pt x="54" y="192"/>
                  </a:lnTo>
                  <a:lnTo>
                    <a:pt x="72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204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20" y="210"/>
                  </a:lnTo>
                  <a:lnTo>
                    <a:pt x="126" y="210"/>
                  </a:lnTo>
                  <a:lnTo>
                    <a:pt x="132" y="210"/>
                  </a:lnTo>
                  <a:lnTo>
                    <a:pt x="132" y="216"/>
                  </a:lnTo>
                  <a:lnTo>
                    <a:pt x="138" y="222"/>
                  </a:lnTo>
                  <a:lnTo>
                    <a:pt x="150" y="222"/>
                  </a:lnTo>
                  <a:lnTo>
                    <a:pt x="162" y="234"/>
                  </a:lnTo>
                  <a:lnTo>
                    <a:pt x="168" y="240"/>
                  </a:lnTo>
                  <a:lnTo>
                    <a:pt x="180" y="240"/>
                  </a:lnTo>
                  <a:lnTo>
                    <a:pt x="186" y="228"/>
                  </a:lnTo>
                  <a:lnTo>
                    <a:pt x="210" y="234"/>
                  </a:lnTo>
                  <a:lnTo>
                    <a:pt x="222" y="228"/>
                  </a:lnTo>
                  <a:lnTo>
                    <a:pt x="228" y="216"/>
                  </a:lnTo>
                  <a:lnTo>
                    <a:pt x="234" y="210"/>
                  </a:lnTo>
                  <a:lnTo>
                    <a:pt x="240" y="216"/>
                  </a:lnTo>
                  <a:lnTo>
                    <a:pt x="246" y="210"/>
                  </a:lnTo>
                  <a:lnTo>
                    <a:pt x="252" y="210"/>
                  </a:lnTo>
                  <a:lnTo>
                    <a:pt x="258" y="210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192"/>
                  </a:lnTo>
                  <a:lnTo>
                    <a:pt x="270" y="192"/>
                  </a:lnTo>
                  <a:lnTo>
                    <a:pt x="276" y="192"/>
                  </a:lnTo>
                  <a:lnTo>
                    <a:pt x="282" y="192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192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198"/>
                  </a:lnTo>
                  <a:lnTo>
                    <a:pt x="312" y="198"/>
                  </a:lnTo>
                  <a:lnTo>
                    <a:pt x="312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24" y="186"/>
                  </a:lnTo>
                  <a:lnTo>
                    <a:pt x="318" y="180"/>
                  </a:lnTo>
                  <a:lnTo>
                    <a:pt x="324" y="180"/>
                  </a:lnTo>
                  <a:lnTo>
                    <a:pt x="330" y="186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74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54" y="144"/>
                  </a:lnTo>
                  <a:lnTo>
                    <a:pt x="360" y="144"/>
                  </a:lnTo>
                  <a:lnTo>
                    <a:pt x="372" y="156"/>
                  </a:lnTo>
                  <a:lnTo>
                    <a:pt x="372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96" y="168"/>
                  </a:lnTo>
                  <a:lnTo>
                    <a:pt x="396" y="174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26" y="186"/>
                  </a:lnTo>
                  <a:lnTo>
                    <a:pt x="432" y="186"/>
                  </a:lnTo>
                  <a:lnTo>
                    <a:pt x="438" y="180"/>
                  </a:lnTo>
                  <a:lnTo>
                    <a:pt x="438" y="168"/>
                  </a:lnTo>
                  <a:lnTo>
                    <a:pt x="438" y="162"/>
                  </a:lnTo>
                  <a:lnTo>
                    <a:pt x="444" y="156"/>
                  </a:lnTo>
                  <a:lnTo>
                    <a:pt x="450" y="156"/>
                  </a:lnTo>
                  <a:lnTo>
                    <a:pt x="456" y="150"/>
                  </a:lnTo>
                  <a:lnTo>
                    <a:pt x="462" y="156"/>
                  </a:lnTo>
                  <a:lnTo>
                    <a:pt x="468" y="162"/>
                  </a:lnTo>
                  <a:lnTo>
                    <a:pt x="474" y="162"/>
                  </a:lnTo>
                  <a:lnTo>
                    <a:pt x="486" y="162"/>
                  </a:lnTo>
                  <a:lnTo>
                    <a:pt x="492" y="156"/>
                  </a:lnTo>
                  <a:lnTo>
                    <a:pt x="498" y="150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28" y="126"/>
                  </a:lnTo>
                  <a:lnTo>
                    <a:pt x="522" y="120"/>
                  </a:lnTo>
                  <a:lnTo>
                    <a:pt x="522" y="114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28" y="102"/>
                  </a:lnTo>
                  <a:lnTo>
                    <a:pt x="534" y="96"/>
                  </a:lnTo>
                  <a:lnTo>
                    <a:pt x="552" y="96"/>
                  </a:lnTo>
                  <a:lnTo>
                    <a:pt x="570" y="102"/>
                  </a:lnTo>
                  <a:lnTo>
                    <a:pt x="582" y="96"/>
                  </a:lnTo>
                  <a:lnTo>
                    <a:pt x="582" y="90"/>
                  </a:lnTo>
                  <a:lnTo>
                    <a:pt x="582" y="78"/>
                  </a:lnTo>
                  <a:lnTo>
                    <a:pt x="582" y="72"/>
                  </a:lnTo>
                  <a:lnTo>
                    <a:pt x="582" y="66"/>
                  </a:lnTo>
                  <a:lnTo>
                    <a:pt x="594" y="60"/>
                  </a:lnTo>
                  <a:lnTo>
                    <a:pt x="600" y="60"/>
                  </a:lnTo>
                  <a:lnTo>
                    <a:pt x="606" y="54"/>
                  </a:lnTo>
                  <a:lnTo>
                    <a:pt x="618" y="48"/>
                  </a:lnTo>
                  <a:lnTo>
                    <a:pt x="618" y="42"/>
                  </a:lnTo>
                  <a:lnTo>
                    <a:pt x="624" y="42"/>
                  </a:lnTo>
                  <a:lnTo>
                    <a:pt x="636" y="48"/>
                  </a:lnTo>
                  <a:lnTo>
                    <a:pt x="648" y="54"/>
                  </a:lnTo>
                  <a:lnTo>
                    <a:pt x="660" y="54"/>
                  </a:lnTo>
                  <a:lnTo>
                    <a:pt x="666" y="60"/>
                  </a:lnTo>
                  <a:lnTo>
                    <a:pt x="672" y="54"/>
                  </a:lnTo>
                  <a:lnTo>
                    <a:pt x="684" y="48"/>
                  </a:lnTo>
                  <a:lnTo>
                    <a:pt x="708" y="42"/>
                  </a:lnTo>
                  <a:lnTo>
                    <a:pt x="714" y="42"/>
                  </a:lnTo>
                  <a:lnTo>
                    <a:pt x="720" y="36"/>
                  </a:lnTo>
                  <a:lnTo>
                    <a:pt x="720" y="30"/>
                  </a:lnTo>
                  <a:lnTo>
                    <a:pt x="714" y="12"/>
                  </a:lnTo>
                  <a:lnTo>
                    <a:pt x="708" y="0"/>
                  </a:lnTo>
                  <a:lnTo>
                    <a:pt x="738" y="6"/>
                  </a:lnTo>
                  <a:lnTo>
                    <a:pt x="756" y="6"/>
                  </a:lnTo>
                  <a:lnTo>
                    <a:pt x="762" y="42"/>
                  </a:lnTo>
                  <a:lnTo>
                    <a:pt x="738" y="72"/>
                  </a:lnTo>
                  <a:lnTo>
                    <a:pt x="750" y="90"/>
                  </a:lnTo>
                  <a:lnTo>
                    <a:pt x="762" y="96"/>
                  </a:lnTo>
                  <a:lnTo>
                    <a:pt x="756" y="102"/>
                  </a:lnTo>
                  <a:lnTo>
                    <a:pt x="750" y="108"/>
                  </a:lnTo>
                  <a:lnTo>
                    <a:pt x="750" y="114"/>
                  </a:lnTo>
                  <a:lnTo>
                    <a:pt x="750" y="120"/>
                  </a:lnTo>
                  <a:lnTo>
                    <a:pt x="750" y="126"/>
                  </a:lnTo>
                  <a:lnTo>
                    <a:pt x="750" y="132"/>
                  </a:lnTo>
                  <a:lnTo>
                    <a:pt x="738" y="132"/>
                  </a:lnTo>
                  <a:lnTo>
                    <a:pt x="732" y="138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14" y="144"/>
                  </a:lnTo>
                  <a:lnTo>
                    <a:pt x="714" y="150"/>
                  </a:lnTo>
                  <a:lnTo>
                    <a:pt x="720" y="156"/>
                  </a:lnTo>
                  <a:lnTo>
                    <a:pt x="720" y="162"/>
                  </a:lnTo>
                  <a:lnTo>
                    <a:pt x="714" y="162"/>
                  </a:lnTo>
                  <a:lnTo>
                    <a:pt x="708" y="168"/>
                  </a:lnTo>
                  <a:lnTo>
                    <a:pt x="708" y="180"/>
                  </a:lnTo>
                  <a:lnTo>
                    <a:pt x="708" y="192"/>
                  </a:lnTo>
                  <a:lnTo>
                    <a:pt x="696" y="198"/>
                  </a:lnTo>
                  <a:lnTo>
                    <a:pt x="696" y="204"/>
                  </a:lnTo>
                  <a:lnTo>
                    <a:pt x="684" y="210"/>
                  </a:lnTo>
                  <a:lnTo>
                    <a:pt x="684" y="216"/>
                  </a:lnTo>
                  <a:lnTo>
                    <a:pt x="684" y="222"/>
                  </a:lnTo>
                  <a:lnTo>
                    <a:pt x="678" y="228"/>
                  </a:lnTo>
                  <a:lnTo>
                    <a:pt x="678" y="234"/>
                  </a:lnTo>
                  <a:lnTo>
                    <a:pt x="672" y="240"/>
                  </a:lnTo>
                  <a:lnTo>
                    <a:pt x="672" y="252"/>
                  </a:lnTo>
                  <a:lnTo>
                    <a:pt x="672" y="258"/>
                  </a:lnTo>
                  <a:lnTo>
                    <a:pt x="666" y="264"/>
                  </a:lnTo>
                  <a:lnTo>
                    <a:pt x="678" y="264"/>
                  </a:lnTo>
                  <a:lnTo>
                    <a:pt x="684" y="276"/>
                  </a:lnTo>
                  <a:lnTo>
                    <a:pt x="684" y="288"/>
                  </a:lnTo>
                  <a:lnTo>
                    <a:pt x="672" y="300"/>
                  </a:lnTo>
                  <a:lnTo>
                    <a:pt x="660" y="318"/>
                  </a:lnTo>
                  <a:lnTo>
                    <a:pt x="660" y="336"/>
                  </a:lnTo>
                  <a:lnTo>
                    <a:pt x="654" y="342"/>
                  </a:lnTo>
                  <a:lnTo>
                    <a:pt x="660" y="354"/>
                  </a:lnTo>
                  <a:lnTo>
                    <a:pt x="660" y="366"/>
                  </a:lnTo>
                  <a:lnTo>
                    <a:pt x="666" y="378"/>
                  </a:lnTo>
                  <a:lnTo>
                    <a:pt x="672" y="390"/>
                  </a:lnTo>
                  <a:lnTo>
                    <a:pt x="678" y="396"/>
                  </a:lnTo>
                  <a:lnTo>
                    <a:pt x="684" y="390"/>
                  </a:lnTo>
                  <a:lnTo>
                    <a:pt x="690" y="390"/>
                  </a:lnTo>
                  <a:lnTo>
                    <a:pt x="690" y="396"/>
                  </a:lnTo>
                  <a:lnTo>
                    <a:pt x="684" y="396"/>
                  </a:lnTo>
                  <a:lnTo>
                    <a:pt x="684" y="402"/>
                  </a:lnTo>
                  <a:lnTo>
                    <a:pt x="684" y="408"/>
                  </a:lnTo>
                  <a:lnTo>
                    <a:pt x="678" y="414"/>
                  </a:lnTo>
                  <a:lnTo>
                    <a:pt x="684" y="414"/>
                  </a:lnTo>
                  <a:lnTo>
                    <a:pt x="684" y="420"/>
                  </a:lnTo>
                  <a:lnTo>
                    <a:pt x="684" y="426"/>
                  </a:lnTo>
                  <a:lnTo>
                    <a:pt x="690" y="420"/>
                  </a:lnTo>
                  <a:lnTo>
                    <a:pt x="696" y="420"/>
                  </a:lnTo>
                  <a:lnTo>
                    <a:pt x="696" y="426"/>
                  </a:lnTo>
                  <a:lnTo>
                    <a:pt x="690" y="426"/>
                  </a:lnTo>
                  <a:lnTo>
                    <a:pt x="696" y="426"/>
                  </a:lnTo>
                  <a:lnTo>
                    <a:pt x="708" y="426"/>
                  </a:lnTo>
                  <a:lnTo>
                    <a:pt x="726" y="414"/>
                  </a:lnTo>
                  <a:lnTo>
                    <a:pt x="732" y="408"/>
                  </a:lnTo>
                  <a:lnTo>
                    <a:pt x="744" y="402"/>
                  </a:lnTo>
                  <a:lnTo>
                    <a:pt x="756" y="402"/>
                  </a:lnTo>
                  <a:lnTo>
                    <a:pt x="768" y="402"/>
                  </a:lnTo>
                  <a:lnTo>
                    <a:pt x="786" y="408"/>
                  </a:lnTo>
                  <a:lnTo>
                    <a:pt x="786" y="414"/>
                  </a:lnTo>
                  <a:lnTo>
                    <a:pt x="774" y="420"/>
                  </a:lnTo>
                  <a:lnTo>
                    <a:pt x="774" y="426"/>
                  </a:lnTo>
                  <a:lnTo>
                    <a:pt x="768" y="432"/>
                  </a:lnTo>
                  <a:lnTo>
                    <a:pt x="762" y="438"/>
                  </a:lnTo>
                  <a:lnTo>
                    <a:pt x="756" y="438"/>
                  </a:lnTo>
                  <a:lnTo>
                    <a:pt x="756" y="444"/>
                  </a:lnTo>
                  <a:lnTo>
                    <a:pt x="756" y="450"/>
                  </a:lnTo>
                  <a:lnTo>
                    <a:pt x="762" y="450"/>
                  </a:lnTo>
                  <a:lnTo>
                    <a:pt x="750" y="456"/>
                  </a:lnTo>
                  <a:lnTo>
                    <a:pt x="738" y="468"/>
                  </a:lnTo>
                  <a:lnTo>
                    <a:pt x="726" y="480"/>
                  </a:lnTo>
                  <a:lnTo>
                    <a:pt x="726" y="486"/>
                  </a:lnTo>
                  <a:lnTo>
                    <a:pt x="732" y="486"/>
                  </a:lnTo>
                  <a:lnTo>
                    <a:pt x="732" y="492"/>
                  </a:lnTo>
                  <a:lnTo>
                    <a:pt x="732" y="504"/>
                  </a:lnTo>
                  <a:lnTo>
                    <a:pt x="738" y="504"/>
                  </a:lnTo>
                  <a:lnTo>
                    <a:pt x="744" y="510"/>
                  </a:lnTo>
                  <a:lnTo>
                    <a:pt x="738" y="522"/>
                  </a:lnTo>
                  <a:lnTo>
                    <a:pt x="744" y="528"/>
                  </a:lnTo>
                  <a:lnTo>
                    <a:pt x="756" y="534"/>
                  </a:lnTo>
                  <a:lnTo>
                    <a:pt x="756" y="540"/>
                  </a:lnTo>
                  <a:lnTo>
                    <a:pt x="744" y="552"/>
                  </a:lnTo>
                  <a:lnTo>
                    <a:pt x="738" y="552"/>
                  </a:lnTo>
                  <a:lnTo>
                    <a:pt x="738" y="558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64"/>
                  </a:lnTo>
                  <a:lnTo>
                    <a:pt x="744" y="576"/>
                  </a:lnTo>
                  <a:lnTo>
                    <a:pt x="738" y="588"/>
                  </a:lnTo>
                  <a:lnTo>
                    <a:pt x="738" y="594"/>
                  </a:lnTo>
                  <a:lnTo>
                    <a:pt x="738" y="600"/>
                  </a:lnTo>
                  <a:lnTo>
                    <a:pt x="738" y="606"/>
                  </a:lnTo>
                  <a:lnTo>
                    <a:pt x="732" y="612"/>
                  </a:lnTo>
                  <a:lnTo>
                    <a:pt x="726" y="624"/>
                  </a:lnTo>
                  <a:lnTo>
                    <a:pt x="726" y="636"/>
                  </a:lnTo>
                  <a:lnTo>
                    <a:pt x="726" y="648"/>
                  </a:lnTo>
                  <a:lnTo>
                    <a:pt x="738" y="654"/>
                  </a:lnTo>
                  <a:lnTo>
                    <a:pt x="750" y="660"/>
                  </a:lnTo>
                  <a:lnTo>
                    <a:pt x="750" y="666"/>
                  </a:lnTo>
                  <a:lnTo>
                    <a:pt x="750" y="678"/>
                  </a:lnTo>
                  <a:lnTo>
                    <a:pt x="744" y="678"/>
                  </a:lnTo>
                  <a:lnTo>
                    <a:pt x="738" y="684"/>
                  </a:lnTo>
                  <a:lnTo>
                    <a:pt x="732" y="684"/>
                  </a:lnTo>
                  <a:lnTo>
                    <a:pt x="720" y="678"/>
                  </a:lnTo>
                  <a:lnTo>
                    <a:pt x="714" y="684"/>
                  </a:lnTo>
                  <a:lnTo>
                    <a:pt x="708" y="684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0" y="690"/>
                  </a:lnTo>
                  <a:lnTo>
                    <a:pt x="690" y="684"/>
                  </a:lnTo>
                  <a:lnTo>
                    <a:pt x="690" y="690"/>
                  </a:lnTo>
                  <a:lnTo>
                    <a:pt x="684" y="690"/>
                  </a:lnTo>
                  <a:lnTo>
                    <a:pt x="684" y="684"/>
                  </a:lnTo>
                  <a:lnTo>
                    <a:pt x="678" y="684"/>
                  </a:lnTo>
                  <a:lnTo>
                    <a:pt x="672" y="678"/>
                  </a:lnTo>
                  <a:lnTo>
                    <a:pt x="672" y="672"/>
                  </a:lnTo>
                  <a:lnTo>
                    <a:pt x="678" y="672"/>
                  </a:lnTo>
                  <a:lnTo>
                    <a:pt x="672" y="672"/>
                  </a:lnTo>
                  <a:lnTo>
                    <a:pt x="666" y="672"/>
                  </a:lnTo>
                  <a:lnTo>
                    <a:pt x="660" y="672"/>
                  </a:lnTo>
                  <a:lnTo>
                    <a:pt x="654" y="672"/>
                  </a:lnTo>
                  <a:lnTo>
                    <a:pt x="654" y="666"/>
                  </a:lnTo>
                  <a:lnTo>
                    <a:pt x="648" y="666"/>
                  </a:lnTo>
                  <a:lnTo>
                    <a:pt x="642" y="660"/>
                  </a:lnTo>
                  <a:lnTo>
                    <a:pt x="642" y="654"/>
                  </a:lnTo>
                  <a:lnTo>
                    <a:pt x="642" y="648"/>
                  </a:lnTo>
                  <a:lnTo>
                    <a:pt x="636" y="648"/>
                  </a:lnTo>
                  <a:lnTo>
                    <a:pt x="630" y="648"/>
                  </a:lnTo>
                  <a:lnTo>
                    <a:pt x="624" y="648"/>
                  </a:lnTo>
                  <a:lnTo>
                    <a:pt x="624" y="642"/>
                  </a:lnTo>
                  <a:lnTo>
                    <a:pt x="618" y="636"/>
                  </a:lnTo>
                  <a:lnTo>
                    <a:pt x="624" y="636"/>
                  </a:lnTo>
                  <a:lnTo>
                    <a:pt x="624" y="630"/>
                  </a:lnTo>
                  <a:lnTo>
                    <a:pt x="618" y="630"/>
                  </a:lnTo>
                  <a:lnTo>
                    <a:pt x="618" y="624"/>
                  </a:lnTo>
                  <a:lnTo>
                    <a:pt x="618" y="618"/>
                  </a:lnTo>
                  <a:lnTo>
                    <a:pt x="618" y="612"/>
                  </a:lnTo>
                  <a:lnTo>
                    <a:pt x="618" y="606"/>
                  </a:lnTo>
                  <a:lnTo>
                    <a:pt x="624" y="606"/>
                  </a:lnTo>
                  <a:lnTo>
                    <a:pt x="624" y="600"/>
                  </a:lnTo>
                  <a:lnTo>
                    <a:pt x="618" y="600"/>
                  </a:lnTo>
                  <a:lnTo>
                    <a:pt x="618" y="594"/>
                  </a:lnTo>
                  <a:lnTo>
                    <a:pt x="618" y="588"/>
                  </a:lnTo>
                  <a:lnTo>
                    <a:pt x="618" y="582"/>
                  </a:lnTo>
                  <a:lnTo>
                    <a:pt x="612" y="582"/>
                  </a:lnTo>
                  <a:lnTo>
                    <a:pt x="606" y="582"/>
                  </a:lnTo>
                  <a:lnTo>
                    <a:pt x="612" y="582"/>
                  </a:lnTo>
                  <a:lnTo>
                    <a:pt x="612" y="588"/>
                  </a:lnTo>
                  <a:lnTo>
                    <a:pt x="612" y="594"/>
                  </a:lnTo>
                  <a:lnTo>
                    <a:pt x="618" y="594"/>
                  </a:lnTo>
                  <a:lnTo>
                    <a:pt x="618" y="600"/>
                  </a:lnTo>
                  <a:lnTo>
                    <a:pt x="618" y="606"/>
                  </a:lnTo>
                  <a:lnTo>
                    <a:pt x="618" y="612"/>
                  </a:lnTo>
                  <a:lnTo>
                    <a:pt x="612" y="612"/>
                  </a:lnTo>
                  <a:lnTo>
                    <a:pt x="612" y="618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94" y="612"/>
                  </a:lnTo>
                  <a:lnTo>
                    <a:pt x="588" y="606"/>
                  </a:lnTo>
                  <a:lnTo>
                    <a:pt x="588" y="612"/>
                  </a:lnTo>
                  <a:lnTo>
                    <a:pt x="594" y="612"/>
                  </a:lnTo>
                  <a:lnTo>
                    <a:pt x="594" y="618"/>
                  </a:lnTo>
                  <a:lnTo>
                    <a:pt x="588" y="618"/>
                  </a:lnTo>
                  <a:lnTo>
                    <a:pt x="588" y="624"/>
                  </a:lnTo>
                  <a:lnTo>
                    <a:pt x="582" y="624"/>
                  </a:lnTo>
                  <a:lnTo>
                    <a:pt x="582" y="630"/>
                  </a:lnTo>
                  <a:lnTo>
                    <a:pt x="576" y="630"/>
                  </a:lnTo>
                  <a:lnTo>
                    <a:pt x="576" y="636"/>
                  </a:lnTo>
                  <a:lnTo>
                    <a:pt x="570" y="636"/>
                  </a:lnTo>
                  <a:lnTo>
                    <a:pt x="570" y="642"/>
                  </a:lnTo>
                  <a:lnTo>
                    <a:pt x="564" y="642"/>
                  </a:lnTo>
                  <a:lnTo>
                    <a:pt x="564" y="636"/>
                  </a:lnTo>
                  <a:lnTo>
                    <a:pt x="564" y="630"/>
                  </a:lnTo>
                  <a:lnTo>
                    <a:pt x="564" y="624"/>
                  </a:lnTo>
                  <a:lnTo>
                    <a:pt x="564" y="618"/>
                  </a:lnTo>
                  <a:lnTo>
                    <a:pt x="570" y="612"/>
                  </a:lnTo>
                  <a:lnTo>
                    <a:pt x="564" y="606"/>
                  </a:lnTo>
                  <a:lnTo>
                    <a:pt x="564" y="600"/>
                  </a:lnTo>
                  <a:lnTo>
                    <a:pt x="564" y="594"/>
                  </a:lnTo>
                  <a:lnTo>
                    <a:pt x="558" y="594"/>
                  </a:lnTo>
                  <a:lnTo>
                    <a:pt x="558" y="588"/>
                  </a:lnTo>
                  <a:lnTo>
                    <a:pt x="552" y="582"/>
                  </a:lnTo>
                  <a:lnTo>
                    <a:pt x="552" y="576"/>
                  </a:lnTo>
                  <a:lnTo>
                    <a:pt x="552" y="570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6" y="582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58" y="588"/>
                  </a:lnTo>
                  <a:lnTo>
                    <a:pt x="558" y="594"/>
                  </a:lnTo>
                  <a:lnTo>
                    <a:pt x="558" y="600"/>
                  </a:lnTo>
                  <a:lnTo>
                    <a:pt x="558" y="606"/>
                  </a:lnTo>
                  <a:lnTo>
                    <a:pt x="552" y="612"/>
                  </a:lnTo>
                  <a:lnTo>
                    <a:pt x="558" y="612"/>
                  </a:lnTo>
                  <a:lnTo>
                    <a:pt x="558" y="618"/>
                  </a:lnTo>
                  <a:lnTo>
                    <a:pt x="558" y="624"/>
                  </a:lnTo>
                  <a:lnTo>
                    <a:pt x="558" y="630"/>
                  </a:lnTo>
                  <a:lnTo>
                    <a:pt x="552" y="630"/>
                  </a:lnTo>
                  <a:lnTo>
                    <a:pt x="552" y="624"/>
                  </a:lnTo>
                  <a:lnTo>
                    <a:pt x="546" y="624"/>
                  </a:lnTo>
                  <a:lnTo>
                    <a:pt x="546" y="618"/>
                  </a:lnTo>
                  <a:lnTo>
                    <a:pt x="546" y="612"/>
                  </a:lnTo>
                  <a:lnTo>
                    <a:pt x="540" y="612"/>
                  </a:lnTo>
                  <a:lnTo>
                    <a:pt x="534" y="612"/>
                  </a:lnTo>
                  <a:lnTo>
                    <a:pt x="528" y="612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28" y="618"/>
                  </a:lnTo>
                  <a:lnTo>
                    <a:pt x="534" y="618"/>
                  </a:lnTo>
                  <a:lnTo>
                    <a:pt x="540" y="618"/>
                  </a:lnTo>
                  <a:lnTo>
                    <a:pt x="540" y="624"/>
                  </a:lnTo>
                  <a:lnTo>
                    <a:pt x="546" y="624"/>
                  </a:lnTo>
                  <a:lnTo>
                    <a:pt x="546" y="630"/>
                  </a:lnTo>
                  <a:lnTo>
                    <a:pt x="552" y="630"/>
                  </a:lnTo>
                  <a:lnTo>
                    <a:pt x="552" y="636"/>
                  </a:lnTo>
                  <a:lnTo>
                    <a:pt x="546" y="642"/>
                  </a:lnTo>
                  <a:lnTo>
                    <a:pt x="546" y="648"/>
                  </a:lnTo>
                  <a:lnTo>
                    <a:pt x="540" y="648"/>
                  </a:lnTo>
                  <a:lnTo>
                    <a:pt x="540" y="654"/>
                  </a:lnTo>
                  <a:lnTo>
                    <a:pt x="540" y="660"/>
                  </a:lnTo>
                  <a:lnTo>
                    <a:pt x="534" y="666"/>
                  </a:lnTo>
                  <a:lnTo>
                    <a:pt x="534" y="672"/>
                  </a:lnTo>
                  <a:lnTo>
                    <a:pt x="534" y="678"/>
                  </a:lnTo>
                  <a:lnTo>
                    <a:pt x="534" y="684"/>
                  </a:lnTo>
                  <a:lnTo>
                    <a:pt x="534" y="678"/>
                  </a:lnTo>
                  <a:lnTo>
                    <a:pt x="528" y="678"/>
                  </a:lnTo>
                  <a:lnTo>
                    <a:pt x="528" y="684"/>
                  </a:lnTo>
                  <a:lnTo>
                    <a:pt x="522" y="690"/>
                  </a:lnTo>
                  <a:lnTo>
                    <a:pt x="528" y="690"/>
                  </a:lnTo>
                  <a:lnTo>
                    <a:pt x="528" y="684"/>
                  </a:lnTo>
                  <a:lnTo>
                    <a:pt x="534" y="684"/>
                  </a:lnTo>
                  <a:lnTo>
                    <a:pt x="534" y="690"/>
                  </a:lnTo>
                  <a:lnTo>
                    <a:pt x="534" y="696"/>
                  </a:lnTo>
                  <a:lnTo>
                    <a:pt x="540" y="696"/>
                  </a:lnTo>
                  <a:lnTo>
                    <a:pt x="540" y="702"/>
                  </a:lnTo>
                  <a:lnTo>
                    <a:pt x="540" y="708"/>
                  </a:lnTo>
                  <a:lnTo>
                    <a:pt x="534" y="708"/>
                  </a:lnTo>
                  <a:lnTo>
                    <a:pt x="528" y="708"/>
                  </a:lnTo>
                  <a:lnTo>
                    <a:pt x="522" y="708"/>
                  </a:lnTo>
                  <a:lnTo>
                    <a:pt x="516" y="708"/>
                  </a:lnTo>
                  <a:lnTo>
                    <a:pt x="510" y="708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2" y="708"/>
                  </a:lnTo>
                  <a:lnTo>
                    <a:pt x="486" y="714"/>
                  </a:lnTo>
                  <a:lnTo>
                    <a:pt x="480" y="708"/>
                  </a:lnTo>
                  <a:lnTo>
                    <a:pt x="474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68" y="714"/>
                  </a:lnTo>
                  <a:lnTo>
                    <a:pt x="456" y="714"/>
                  </a:lnTo>
                  <a:lnTo>
                    <a:pt x="450" y="714"/>
                  </a:lnTo>
                  <a:lnTo>
                    <a:pt x="450" y="708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50" y="690"/>
                  </a:lnTo>
                  <a:lnTo>
                    <a:pt x="450" y="684"/>
                  </a:lnTo>
                  <a:lnTo>
                    <a:pt x="450" y="678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56" y="660"/>
                  </a:lnTo>
                  <a:lnTo>
                    <a:pt x="462" y="660"/>
                  </a:lnTo>
                  <a:lnTo>
                    <a:pt x="462" y="654"/>
                  </a:lnTo>
                  <a:lnTo>
                    <a:pt x="456" y="654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48"/>
                  </a:lnTo>
                  <a:lnTo>
                    <a:pt x="444" y="648"/>
                  </a:lnTo>
                  <a:lnTo>
                    <a:pt x="444" y="642"/>
                  </a:lnTo>
                  <a:lnTo>
                    <a:pt x="444" y="636"/>
                  </a:lnTo>
                  <a:lnTo>
                    <a:pt x="450" y="636"/>
                  </a:lnTo>
                  <a:lnTo>
                    <a:pt x="450" y="630"/>
                  </a:lnTo>
                  <a:lnTo>
                    <a:pt x="456" y="630"/>
                  </a:lnTo>
                  <a:lnTo>
                    <a:pt x="462" y="630"/>
                  </a:lnTo>
                  <a:lnTo>
                    <a:pt x="462" y="624"/>
                  </a:lnTo>
                  <a:lnTo>
                    <a:pt x="468" y="624"/>
                  </a:lnTo>
                  <a:lnTo>
                    <a:pt x="474" y="624"/>
                  </a:lnTo>
                  <a:lnTo>
                    <a:pt x="474" y="618"/>
                  </a:lnTo>
                  <a:lnTo>
                    <a:pt x="480" y="618"/>
                  </a:lnTo>
                  <a:lnTo>
                    <a:pt x="486" y="618"/>
                  </a:lnTo>
                  <a:lnTo>
                    <a:pt x="486" y="624"/>
                  </a:lnTo>
                  <a:lnTo>
                    <a:pt x="486" y="636"/>
                  </a:lnTo>
                  <a:lnTo>
                    <a:pt x="486" y="642"/>
                  </a:lnTo>
                  <a:lnTo>
                    <a:pt x="486" y="648"/>
                  </a:lnTo>
                  <a:lnTo>
                    <a:pt x="492" y="648"/>
                  </a:lnTo>
                  <a:lnTo>
                    <a:pt x="492" y="642"/>
                  </a:lnTo>
                  <a:lnTo>
                    <a:pt x="498" y="636"/>
                  </a:lnTo>
                  <a:lnTo>
                    <a:pt x="492" y="636"/>
                  </a:lnTo>
                  <a:lnTo>
                    <a:pt x="492" y="630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6" y="618"/>
                  </a:lnTo>
                  <a:lnTo>
                    <a:pt x="486" y="612"/>
                  </a:lnTo>
                  <a:lnTo>
                    <a:pt x="486" y="606"/>
                  </a:lnTo>
                  <a:lnTo>
                    <a:pt x="480" y="606"/>
                  </a:lnTo>
                  <a:lnTo>
                    <a:pt x="480" y="612"/>
                  </a:lnTo>
                  <a:lnTo>
                    <a:pt x="474" y="618"/>
                  </a:lnTo>
                  <a:lnTo>
                    <a:pt x="468" y="618"/>
                  </a:lnTo>
                  <a:lnTo>
                    <a:pt x="462" y="618"/>
                  </a:lnTo>
                  <a:lnTo>
                    <a:pt x="462" y="612"/>
                  </a:lnTo>
                  <a:lnTo>
                    <a:pt x="456" y="612"/>
                  </a:lnTo>
                  <a:lnTo>
                    <a:pt x="456" y="618"/>
                  </a:lnTo>
                  <a:lnTo>
                    <a:pt x="462" y="618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30"/>
                  </a:lnTo>
                  <a:lnTo>
                    <a:pt x="444" y="630"/>
                  </a:lnTo>
                  <a:lnTo>
                    <a:pt x="444" y="636"/>
                  </a:lnTo>
                  <a:lnTo>
                    <a:pt x="444" y="642"/>
                  </a:lnTo>
                  <a:lnTo>
                    <a:pt x="444" y="654"/>
                  </a:lnTo>
                  <a:lnTo>
                    <a:pt x="444" y="660"/>
                  </a:lnTo>
                  <a:lnTo>
                    <a:pt x="438" y="660"/>
                  </a:lnTo>
                  <a:lnTo>
                    <a:pt x="432" y="660"/>
                  </a:lnTo>
                  <a:lnTo>
                    <a:pt x="432" y="654"/>
                  </a:lnTo>
                  <a:lnTo>
                    <a:pt x="438" y="654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48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26" y="660"/>
                  </a:lnTo>
                  <a:lnTo>
                    <a:pt x="432" y="666"/>
                  </a:lnTo>
                  <a:lnTo>
                    <a:pt x="432" y="672"/>
                  </a:lnTo>
                  <a:lnTo>
                    <a:pt x="438" y="672"/>
                  </a:lnTo>
                  <a:lnTo>
                    <a:pt x="438" y="678"/>
                  </a:lnTo>
                  <a:lnTo>
                    <a:pt x="444" y="678"/>
                  </a:lnTo>
                  <a:lnTo>
                    <a:pt x="444" y="684"/>
                  </a:lnTo>
                  <a:lnTo>
                    <a:pt x="438" y="690"/>
                  </a:lnTo>
                  <a:lnTo>
                    <a:pt x="438" y="696"/>
                  </a:lnTo>
                  <a:lnTo>
                    <a:pt x="438" y="702"/>
                  </a:lnTo>
                  <a:lnTo>
                    <a:pt x="432" y="702"/>
                  </a:lnTo>
                  <a:lnTo>
                    <a:pt x="426" y="702"/>
                  </a:lnTo>
                  <a:lnTo>
                    <a:pt x="426" y="696"/>
                  </a:lnTo>
                  <a:lnTo>
                    <a:pt x="414" y="696"/>
                  </a:lnTo>
                  <a:lnTo>
                    <a:pt x="402" y="696"/>
                  </a:lnTo>
                  <a:lnTo>
                    <a:pt x="402" y="690"/>
                  </a:lnTo>
                  <a:lnTo>
                    <a:pt x="396" y="690"/>
                  </a:lnTo>
                  <a:lnTo>
                    <a:pt x="390" y="690"/>
                  </a:lnTo>
                  <a:lnTo>
                    <a:pt x="384" y="690"/>
                  </a:lnTo>
                  <a:lnTo>
                    <a:pt x="384" y="684"/>
                  </a:lnTo>
                  <a:lnTo>
                    <a:pt x="384" y="678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390" y="660"/>
                  </a:lnTo>
                  <a:lnTo>
                    <a:pt x="390" y="654"/>
                  </a:lnTo>
                  <a:lnTo>
                    <a:pt x="384" y="648"/>
                  </a:lnTo>
                  <a:lnTo>
                    <a:pt x="384" y="642"/>
                  </a:lnTo>
                  <a:lnTo>
                    <a:pt x="378" y="636"/>
                  </a:lnTo>
                  <a:lnTo>
                    <a:pt x="378" y="642"/>
                  </a:lnTo>
                  <a:lnTo>
                    <a:pt x="378" y="648"/>
                  </a:lnTo>
                  <a:lnTo>
                    <a:pt x="372" y="648"/>
                  </a:lnTo>
                  <a:lnTo>
                    <a:pt x="378" y="654"/>
                  </a:lnTo>
                  <a:lnTo>
                    <a:pt x="378" y="660"/>
                  </a:lnTo>
                  <a:lnTo>
                    <a:pt x="378" y="666"/>
                  </a:lnTo>
                  <a:lnTo>
                    <a:pt x="372" y="672"/>
                  </a:lnTo>
                  <a:lnTo>
                    <a:pt x="378" y="672"/>
                  </a:lnTo>
                  <a:lnTo>
                    <a:pt x="378" y="678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54" y="666"/>
                  </a:lnTo>
                  <a:lnTo>
                    <a:pt x="354" y="660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0" y="654"/>
                  </a:lnTo>
                  <a:lnTo>
                    <a:pt x="324" y="648"/>
                  </a:lnTo>
                  <a:lnTo>
                    <a:pt x="318" y="648"/>
                  </a:lnTo>
                  <a:lnTo>
                    <a:pt x="318" y="642"/>
                  </a:lnTo>
                  <a:lnTo>
                    <a:pt x="312" y="642"/>
                  </a:lnTo>
                  <a:lnTo>
                    <a:pt x="306" y="636"/>
                  </a:lnTo>
                  <a:lnTo>
                    <a:pt x="300" y="636"/>
                  </a:lnTo>
                  <a:lnTo>
                    <a:pt x="300" y="630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0" y="618"/>
                  </a:lnTo>
                  <a:lnTo>
                    <a:pt x="306" y="612"/>
                  </a:lnTo>
                  <a:lnTo>
                    <a:pt x="300" y="612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294" y="612"/>
                  </a:lnTo>
                  <a:lnTo>
                    <a:pt x="288" y="618"/>
                  </a:lnTo>
                  <a:lnTo>
                    <a:pt x="288" y="612"/>
                  </a:lnTo>
                  <a:lnTo>
                    <a:pt x="288" y="618"/>
                  </a:lnTo>
                  <a:lnTo>
                    <a:pt x="294" y="618"/>
                  </a:lnTo>
                  <a:lnTo>
                    <a:pt x="300" y="624"/>
                  </a:lnTo>
                  <a:lnTo>
                    <a:pt x="294" y="624"/>
                  </a:lnTo>
                  <a:lnTo>
                    <a:pt x="288" y="624"/>
                  </a:lnTo>
                  <a:lnTo>
                    <a:pt x="282" y="61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70" y="600"/>
                  </a:lnTo>
                  <a:lnTo>
                    <a:pt x="270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82" y="588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594"/>
                  </a:lnTo>
                  <a:lnTo>
                    <a:pt x="264" y="600"/>
                  </a:lnTo>
                  <a:lnTo>
                    <a:pt x="264" y="594"/>
                  </a:lnTo>
                  <a:lnTo>
                    <a:pt x="270" y="594"/>
                  </a:lnTo>
                  <a:lnTo>
                    <a:pt x="270" y="588"/>
                  </a:lnTo>
                  <a:lnTo>
                    <a:pt x="264" y="594"/>
                  </a:lnTo>
                  <a:lnTo>
                    <a:pt x="258" y="594"/>
                  </a:lnTo>
                  <a:lnTo>
                    <a:pt x="258" y="588"/>
                  </a:lnTo>
                  <a:lnTo>
                    <a:pt x="252" y="588"/>
                  </a:lnTo>
                  <a:lnTo>
                    <a:pt x="246" y="588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52" y="588"/>
                  </a:lnTo>
                  <a:lnTo>
                    <a:pt x="252" y="594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46" y="594"/>
                  </a:lnTo>
                  <a:lnTo>
                    <a:pt x="246" y="588"/>
                  </a:lnTo>
                  <a:lnTo>
                    <a:pt x="240" y="588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2" y="570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64"/>
                  </a:lnTo>
                  <a:lnTo>
                    <a:pt x="234" y="564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34" y="558"/>
                  </a:lnTo>
                  <a:lnTo>
                    <a:pt x="228" y="558"/>
                  </a:lnTo>
                  <a:lnTo>
                    <a:pt x="222" y="558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2" y="564"/>
                  </a:lnTo>
                  <a:lnTo>
                    <a:pt x="222" y="558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04" y="546"/>
                  </a:lnTo>
                  <a:lnTo>
                    <a:pt x="204" y="540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10" y="540"/>
                  </a:lnTo>
                  <a:lnTo>
                    <a:pt x="210" y="534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8"/>
                  </a:lnTo>
                  <a:lnTo>
                    <a:pt x="174" y="516"/>
                  </a:lnTo>
                  <a:lnTo>
                    <a:pt x="168" y="510"/>
                  </a:lnTo>
                  <a:lnTo>
                    <a:pt x="162" y="504"/>
                  </a:lnTo>
                  <a:lnTo>
                    <a:pt x="156" y="498"/>
                  </a:lnTo>
                  <a:lnTo>
                    <a:pt x="156" y="492"/>
                  </a:lnTo>
                  <a:lnTo>
                    <a:pt x="150" y="486"/>
                  </a:lnTo>
                  <a:lnTo>
                    <a:pt x="144" y="480"/>
                  </a:lnTo>
                  <a:lnTo>
                    <a:pt x="144" y="474"/>
                  </a:lnTo>
                  <a:lnTo>
                    <a:pt x="138" y="474"/>
                  </a:lnTo>
                  <a:lnTo>
                    <a:pt x="138" y="468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26" y="450"/>
                  </a:lnTo>
                  <a:lnTo>
                    <a:pt x="126" y="444"/>
                  </a:lnTo>
                  <a:lnTo>
                    <a:pt x="114" y="438"/>
                  </a:lnTo>
                  <a:lnTo>
                    <a:pt x="114" y="432"/>
                  </a:lnTo>
                  <a:lnTo>
                    <a:pt x="114" y="426"/>
                  </a:lnTo>
                  <a:lnTo>
                    <a:pt x="114" y="432"/>
                  </a:lnTo>
                  <a:lnTo>
                    <a:pt x="120" y="432"/>
                  </a:lnTo>
                  <a:lnTo>
                    <a:pt x="120" y="438"/>
                  </a:lnTo>
                  <a:lnTo>
                    <a:pt x="120" y="444"/>
                  </a:lnTo>
                  <a:lnTo>
                    <a:pt x="126" y="444"/>
                  </a:lnTo>
                  <a:lnTo>
                    <a:pt x="126" y="438"/>
                  </a:lnTo>
                  <a:lnTo>
                    <a:pt x="120" y="438"/>
                  </a:lnTo>
                  <a:lnTo>
                    <a:pt x="126" y="432"/>
                  </a:lnTo>
                  <a:lnTo>
                    <a:pt x="126" y="426"/>
                  </a:lnTo>
                  <a:lnTo>
                    <a:pt x="132" y="420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08" y="414"/>
                  </a:lnTo>
                  <a:lnTo>
                    <a:pt x="102" y="414"/>
                  </a:lnTo>
                  <a:lnTo>
                    <a:pt x="102" y="408"/>
                  </a:lnTo>
                  <a:lnTo>
                    <a:pt x="96" y="402"/>
                  </a:lnTo>
                  <a:lnTo>
                    <a:pt x="96" y="396"/>
                  </a:lnTo>
                  <a:lnTo>
                    <a:pt x="96" y="390"/>
                  </a:lnTo>
                  <a:lnTo>
                    <a:pt x="90" y="390"/>
                  </a:lnTo>
                  <a:lnTo>
                    <a:pt x="90" y="384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78" y="372"/>
                  </a:lnTo>
                  <a:lnTo>
                    <a:pt x="78" y="366"/>
                  </a:lnTo>
                  <a:lnTo>
                    <a:pt x="78" y="360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6" y="348"/>
                  </a:lnTo>
                  <a:lnTo>
                    <a:pt x="66" y="342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6" y="336"/>
                  </a:lnTo>
                  <a:lnTo>
                    <a:pt x="66" y="342"/>
                  </a:lnTo>
                  <a:lnTo>
                    <a:pt x="72" y="348"/>
                  </a:lnTo>
                  <a:lnTo>
                    <a:pt x="78" y="354"/>
                  </a:lnTo>
                  <a:lnTo>
                    <a:pt x="84" y="360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0" y="360"/>
                  </a:lnTo>
                  <a:lnTo>
                    <a:pt x="84" y="360"/>
                  </a:lnTo>
                  <a:lnTo>
                    <a:pt x="84" y="354"/>
                  </a:lnTo>
                  <a:lnTo>
                    <a:pt x="78" y="348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66" y="330"/>
                  </a:lnTo>
                  <a:lnTo>
                    <a:pt x="66" y="324"/>
                  </a:lnTo>
                  <a:lnTo>
                    <a:pt x="60" y="318"/>
                  </a:lnTo>
                  <a:lnTo>
                    <a:pt x="60" y="312"/>
                  </a:lnTo>
                  <a:lnTo>
                    <a:pt x="54" y="306"/>
                  </a:lnTo>
                  <a:lnTo>
                    <a:pt x="54" y="300"/>
                  </a:lnTo>
                  <a:lnTo>
                    <a:pt x="54" y="294"/>
                  </a:lnTo>
                  <a:lnTo>
                    <a:pt x="48" y="288"/>
                  </a:lnTo>
                  <a:lnTo>
                    <a:pt x="48" y="294"/>
                  </a:lnTo>
                  <a:lnTo>
                    <a:pt x="48" y="288"/>
                  </a:lnTo>
                  <a:lnTo>
                    <a:pt x="48" y="282"/>
                  </a:lnTo>
                  <a:lnTo>
                    <a:pt x="48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18" y="216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62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68"/>
                  </a:lnTo>
                  <a:lnTo>
                    <a:pt x="42" y="168"/>
                  </a:lnTo>
                  <a:lnTo>
                    <a:pt x="42" y="174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86"/>
                  </a:lnTo>
                  <a:close/>
                  <a:moveTo>
                    <a:pt x="642" y="660"/>
                  </a:moveTo>
                  <a:lnTo>
                    <a:pt x="642" y="666"/>
                  </a:lnTo>
                  <a:lnTo>
                    <a:pt x="648" y="666"/>
                  </a:lnTo>
                  <a:lnTo>
                    <a:pt x="648" y="672"/>
                  </a:lnTo>
                  <a:lnTo>
                    <a:pt x="648" y="678"/>
                  </a:lnTo>
                  <a:lnTo>
                    <a:pt x="654" y="678"/>
                  </a:lnTo>
                  <a:lnTo>
                    <a:pt x="654" y="684"/>
                  </a:lnTo>
                  <a:lnTo>
                    <a:pt x="660" y="684"/>
                  </a:lnTo>
                  <a:lnTo>
                    <a:pt x="660" y="690"/>
                  </a:lnTo>
                  <a:lnTo>
                    <a:pt x="654" y="690"/>
                  </a:lnTo>
                  <a:lnTo>
                    <a:pt x="648" y="690"/>
                  </a:lnTo>
                  <a:lnTo>
                    <a:pt x="636" y="696"/>
                  </a:lnTo>
                  <a:lnTo>
                    <a:pt x="630" y="696"/>
                  </a:lnTo>
                  <a:lnTo>
                    <a:pt x="624" y="696"/>
                  </a:lnTo>
                  <a:lnTo>
                    <a:pt x="618" y="696"/>
                  </a:lnTo>
                  <a:lnTo>
                    <a:pt x="612" y="696"/>
                  </a:lnTo>
                  <a:lnTo>
                    <a:pt x="594" y="696"/>
                  </a:lnTo>
                  <a:lnTo>
                    <a:pt x="588" y="696"/>
                  </a:lnTo>
                  <a:lnTo>
                    <a:pt x="582" y="696"/>
                  </a:lnTo>
                  <a:lnTo>
                    <a:pt x="570" y="702"/>
                  </a:lnTo>
                  <a:lnTo>
                    <a:pt x="564" y="702"/>
                  </a:lnTo>
                  <a:lnTo>
                    <a:pt x="558" y="702"/>
                  </a:lnTo>
                  <a:lnTo>
                    <a:pt x="552" y="702"/>
                  </a:lnTo>
                  <a:lnTo>
                    <a:pt x="552" y="696"/>
                  </a:lnTo>
                  <a:lnTo>
                    <a:pt x="546" y="696"/>
                  </a:lnTo>
                  <a:lnTo>
                    <a:pt x="546" y="690"/>
                  </a:lnTo>
                  <a:lnTo>
                    <a:pt x="552" y="684"/>
                  </a:lnTo>
                  <a:lnTo>
                    <a:pt x="552" y="678"/>
                  </a:lnTo>
                  <a:lnTo>
                    <a:pt x="558" y="672"/>
                  </a:lnTo>
                  <a:lnTo>
                    <a:pt x="558" y="666"/>
                  </a:lnTo>
                  <a:lnTo>
                    <a:pt x="564" y="666"/>
                  </a:lnTo>
                  <a:lnTo>
                    <a:pt x="570" y="666"/>
                  </a:lnTo>
                  <a:lnTo>
                    <a:pt x="570" y="654"/>
                  </a:lnTo>
                  <a:lnTo>
                    <a:pt x="570" y="648"/>
                  </a:lnTo>
                  <a:lnTo>
                    <a:pt x="582" y="642"/>
                  </a:lnTo>
                  <a:lnTo>
                    <a:pt x="582" y="636"/>
                  </a:lnTo>
                  <a:lnTo>
                    <a:pt x="588" y="636"/>
                  </a:lnTo>
                  <a:lnTo>
                    <a:pt x="588" y="630"/>
                  </a:lnTo>
                  <a:lnTo>
                    <a:pt x="594" y="624"/>
                  </a:lnTo>
                  <a:lnTo>
                    <a:pt x="594" y="618"/>
                  </a:lnTo>
                  <a:lnTo>
                    <a:pt x="600" y="618"/>
                  </a:lnTo>
                  <a:lnTo>
                    <a:pt x="600" y="612"/>
                  </a:lnTo>
                  <a:lnTo>
                    <a:pt x="606" y="612"/>
                  </a:lnTo>
                  <a:lnTo>
                    <a:pt x="606" y="618"/>
                  </a:lnTo>
                  <a:lnTo>
                    <a:pt x="612" y="618"/>
                  </a:lnTo>
                  <a:lnTo>
                    <a:pt x="618" y="618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18" y="636"/>
                  </a:lnTo>
                  <a:lnTo>
                    <a:pt x="618" y="642"/>
                  </a:lnTo>
                  <a:lnTo>
                    <a:pt x="618" y="648"/>
                  </a:lnTo>
                  <a:lnTo>
                    <a:pt x="624" y="648"/>
                  </a:lnTo>
                  <a:lnTo>
                    <a:pt x="630" y="648"/>
                  </a:lnTo>
                  <a:lnTo>
                    <a:pt x="636" y="654"/>
                  </a:lnTo>
                  <a:lnTo>
                    <a:pt x="642" y="654"/>
                  </a:lnTo>
                  <a:lnTo>
                    <a:pt x="642" y="66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0" name="Freeform 5">
              <a:extLst>
                <a:ext uri="{FF2B5EF4-FFF2-40B4-BE49-F238E27FC236}">
                  <a16:creationId xmlns:a16="http://schemas.microsoft.com/office/drawing/2014/main" id="{5577BDCA-F2C7-42E0-A391-018D79AA29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0384" y="4231013"/>
              <a:ext cx="404750" cy="480848"/>
            </a:xfrm>
            <a:custGeom>
              <a:avLst/>
              <a:gdLst>
                <a:gd name="T0" fmla="*/ 9 w 762"/>
                <a:gd name="T1" fmla="*/ 58 h 900"/>
                <a:gd name="T2" fmla="*/ 4 w 762"/>
                <a:gd name="T3" fmla="*/ 56 h 900"/>
                <a:gd name="T4" fmla="*/ 0 w 762"/>
                <a:gd name="T5" fmla="*/ 49 h 900"/>
                <a:gd name="T6" fmla="*/ 4 w 762"/>
                <a:gd name="T7" fmla="*/ 36 h 900"/>
                <a:gd name="T8" fmla="*/ 8 w 762"/>
                <a:gd name="T9" fmla="*/ 28 h 900"/>
                <a:gd name="T10" fmla="*/ 7 w 762"/>
                <a:gd name="T11" fmla="*/ 13 h 900"/>
                <a:gd name="T12" fmla="*/ 15 w 762"/>
                <a:gd name="T13" fmla="*/ 0 h 900"/>
                <a:gd name="T14" fmla="*/ 16 w 762"/>
                <a:gd name="T15" fmla="*/ 13 h 900"/>
                <a:gd name="T16" fmla="*/ 31 w 762"/>
                <a:gd name="T17" fmla="*/ 28 h 900"/>
                <a:gd name="T18" fmla="*/ 49 w 762"/>
                <a:gd name="T19" fmla="*/ 33 h 900"/>
                <a:gd name="T20" fmla="*/ 42 w 762"/>
                <a:gd name="T21" fmla="*/ 48 h 900"/>
                <a:gd name="T22" fmla="*/ 51 w 762"/>
                <a:gd name="T23" fmla="*/ 48 h 900"/>
                <a:gd name="T24" fmla="*/ 61 w 762"/>
                <a:gd name="T25" fmla="*/ 51 h 900"/>
                <a:gd name="T26" fmla="*/ 63 w 762"/>
                <a:gd name="T27" fmla="*/ 60 h 900"/>
                <a:gd name="T28" fmla="*/ 63 w 762"/>
                <a:gd name="T29" fmla="*/ 66 h 900"/>
                <a:gd name="T30" fmla="*/ 65 w 762"/>
                <a:gd name="T31" fmla="*/ 69 h 900"/>
                <a:gd name="T32" fmla="*/ 66 w 762"/>
                <a:gd name="T33" fmla="*/ 72 h 900"/>
                <a:gd name="T34" fmla="*/ 56 w 762"/>
                <a:gd name="T35" fmla="*/ 73 h 900"/>
                <a:gd name="T36" fmla="*/ 55 w 762"/>
                <a:gd name="T37" fmla="*/ 69 h 900"/>
                <a:gd name="T38" fmla="*/ 57 w 762"/>
                <a:gd name="T39" fmla="*/ 67 h 900"/>
                <a:gd name="T40" fmla="*/ 55 w 762"/>
                <a:gd name="T41" fmla="*/ 65 h 900"/>
                <a:gd name="T42" fmla="*/ 53 w 762"/>
                <a:gd name="T43" fmla="*/ 68 h 900"/>
                <a:gd name="T44" fmla="*/ 49 w 762"/>
                <a:gd name="T45" fmla="*/ 68 h 900"/>
                <a:gd name="T46" fmla="*/ 44 w 762"/>
                <a:gd name="T47" fmla="*/ 63 h 900"/>
                <a:gd name="T48" fmla="*/ 40 w 762"/>
                <a:gd name="T49" fmla="*/ 59 h 900"/>
                <a:gd name="T50" fmla="*/ 38 w 762"/>
                <a:gd name="T51" fmla="*/ 57 h 900"/>
                <a:gd name="T52" fmla="*/ 43 w 762"/>
                <a:gd name="T53" fmla="*/ 62 h 900"/>
                <a:gd name="T54" fmla="*/ 43 w 762"/>
                <a:gd name="T55" fmla="*/ 66 h 900"/>
                <a:gd name="T56" fmla="*/ 41 w 762"/>
                <a:gd name="T57" fmla="*/ 71 h 900"/>
                <a:gd name="T58" fmla="*/ 37 w 762"/>
                <a:gd name="T59" fmla="*/ 69 h 900"/>
                <a:gd name="T60" fmla="*/ 35 w 762"/>
                <a:gd name="T61" fmla="*/ 64 h 900"/>
                <a:gd name="T62" fmla="*/ 31 w 762"/>
                <a:gd name="T63" fmla="*/ 57 h 900"/>
                <a:gd name="T64" fmla="*/ 30 w 762"/>
                <a:gd name="T65" fmla="*/ 62 h 900"/>
                <a:gd name="T66" fmla="*/ 29 w 762"/>
                <a:gd name="T67" fmla="*/ 61 h 900"/>
                <a:gd name="T68" fmla="*/ 31 w 762"/>
                <a:gd name="T69" fmla="*/ 66 h 900"/>
                <a:gd name="T70" fmla="*/ 33 w 762"/>
                <a:gd name="T71" fmla="*/ 72 h 900"/>
                <a:gd name="T72" fmla="*/ 32 w 762"/>
                <a:gd name="T73" fmla="*/ 76 h 900"/>
                <a:gd name="T74" fmla="*/ 28 w 762"/>
                <a:gd name="T75" fmla="*/ 75 h 900"/>
                <a:gd name="T76" fmla="*/ 24 w 762"/>
                <a:gd name="T77" fmla="*/ 69 h 900"/>
                <a:gd name="T78" fmla="*/ 24 w 762"/>
                <a:gd name="T79" fmla="*/ 62 h 900"/>
                <a:gd name="T80" fmla="*/ 23 w 762"/>
                <a:gd name="T81" fmla="*/ 62 h 900"/>
                <a:gd name="T82" fmla="*/ 23 w 762"/>
                <a:gd name="T83" fmla="*/ 68 h 900"/>
                <a:gd name="T84" fmla="*/ 25 w 762"/>
                <a:gd name="T85" fmla="*/ 77 h 900"/>
                <a:gd name="T86" fmla="*/ 17 w 762"/>
                <a:gd name="T87" fmla="*/ 74 h 900"/>
                <a:gd name="T88" fmla="*/ 17 w 762"/>
                <a:gd name="T89" fmla="*/ 67 h 900"/>
                <a:gd name="T90" fmla="*/ 16 w 762"/>
                <a:gd name="T91" fmla="*/ 67 h 900"/>
                <a:gd name="T92" fmla="*/ 15 w 762"/>
                <a:gd name="T93" fmla="*/ 71 h 900"/>
                <a:gd name="T94" fmla="*/ 12 w 762"/>
                <a:gd name="T95" fmla="*/ 68 h 900"/>
                <a:gd name="T96" fmla="*/ 15 w 762"/>
                <a:gd name="T97" fmla="*/ 72 h 900"/>
                <a:gd name="T98" fmla="*/ 17 w 762"/>
                <a:gd name="T99" fmla="*/ 77 h 900"/>
                <a:gd name="T100" fmla="*/ 11 w 762"/>
                <a:gd name="T101" fmla="*/ 77 h 900"/>
                <a:gd name="T102" fmla="*/ 10 w 762"/>
                <a:gd name="T103" fmla="*/ 69 h 900"/>
                <a:gd name="T104" fmla="*/ 11 w 762"/>
                <a:gd name="T105" fmla="*/ 72 h 900"/>
                <a:gd name="T106" fmla="*/ 9 w 762"/>
                <a:gd name="T107" fmla="*/ 78 h 900"/>
                <a:gd name="T108" fmla="*/ 43 w 762"/>
                <a:gd name="T109" fmla="*/ 71 h 900"/>
                <a:gd name="T110" fmla="*/ 51 w 762"/>
                <a:gd name="T111" fmla="*/ 69 h 900"/>
                <a:gd name="T112" fmla="*/ 43 w 762"/>
                <a:gd name="T113" fmla="*/ 76 h 900"/>
                <a:gd name="T114" fmla="*/ 36 w 762"/>
                <a:gd name="T115" fmla="*/ 65 h 900"/>
                <a:gd name="T116" fmla="*/ 38 w 762"/>
                <a:gd name="T117" fmla="*/ 72 h 900"/>
                <a:gd name="T118" fmla="*/ 34 w 762"/>
                <a:gd name="T119" fmla="*/ 69 h 900"/>
                <a:gd name="T120" fmla="*/ 29 w 762"/>
                <a:gd name="T121" fmla="*/ 64 h 900"/>
                <a:gd name="T122" fmla="*/ 32 w 762"/>
                <a:gd name="T123" fmla="*/ 66 h 9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900"/>
                <a:gd name="T188" fmla="*/ 762 w 762"/>
                <a:gd name="T189" fmla="*/ 900 h 90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900">
                  <a:moveTo>
                    <a:pt x="90" y="768"/>
                  </a:moveTo>
                  <a:lnTo>
                    <a:pt x="102" y="756"/>
                  </a:lnTo>
                  <a:lnTo>
                    <a:pt x="102" y="750"/>
                  </a:lnTo>
                  <a:lnTo>
                    <a:pt x="90" y="744"/>
                  </a:lnTo>
                  <a:lnTo>
                    <a:pt x="84" y="738"/>
                  </a:lnTo>
                  <a:lnTo>
                    <a:pt x="90" y="726"/>
                  </a:lnTo>
                  <a:lnTo>
                    <a:pt x="84" y="720"/>
                  </a:lnTo>
                  <a:lnTo>
                    <a:pt x="78" y="720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72" y="702"/>
                  </a:lnTo>
                  <a:lnTo>
                    <a:pt x="72" y="696"/>
                  </a:lnTo>
                  <a:lnTo>
                    <a:pt x="84" y="684"/>
                  </a:lnTo>
                  <a:lnTo>
                    <a:pt x="96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102" y="654"/>
                  </a:lnTo>
                  <a:lnTo>
                    <a:pt x="108" y="654"/>
                  </a:lnTo>
                  <a:lnTo>
                    <a:pt x="114" y="648"/>
                  </a:lnTo>
                  <a:lnTo>
                    <a:pt x="120" y="642"/>
                  </a:lnTo>
                  <a:lnTo>
                    <a:pt x="120" y="636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14" y="618"/>
                  </a:lnTo>
                  <a:lnTo>
                    <a:pt x="102" y="618"/>
                  </a:lnTo>
                  <a:lnTo>
                    <a:pt x="90" y="618"/>
                  </a:lnTo>
                  <a:lnTo>
                    <a:pt x="78" y="624"/>
                  </a:lnTo>
                  <a:lnTo>
                    <a:pt x="72" y="630"/>
                  </a:lnTo>
                  <a:lnTo>
                    <a:pt x="54" y="642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42" y="642"/>
                  </a:lnTo>
                  <a:lnTo>
                    <a:pt x="42" y="636"/>
                  </a:lnTo>
                  <a:lnTo>
                    <a:pt x="36" y="636"/>
                  </a:lnTo>
                  <a:lnTo>
                    <a:pt x="30" y="642"/>
                  </a:lnTo>
                  <a:lnTo>
                    <a:pt x="30" y="636"/>
                  </a:lnTo>
                  <a:lnTo>
                    <a:pt x="30" y="630"/>
                  </a:lnTo>
                  <a:lnTo>
                    <a:pt x="24" y="630"/>
                  </a:lnTo>
                  <a:lnTo>
                    <a:pt x="30" y="624"/>
                  </a:lnTo>
                  <a:lnTo>
                    <a:pt x="30" y="618"/>
                  </a:lnTo>
                  <a:lnTo>
                    <a:pt x="30" y="612"/>
                  </a:lnTo>
                  <a:lnTo>
                    <a:pt x="36" y="612"/>
                  </a:lnTo>
                  <a:lnTo>
                    <a:pt x="36" y="606"/>
                  </a:lnTo>
                  <a:lnTo>
                    <a:pt x="30" y="606"/>
                  </a:lnTo>
                  <a:lnTo>
                    <a:pt x="24" y="612"/>
                  </a:lnTo>
                  <a:lnTo>
                    <a:pt x="18" y="606"/>
                  </a:lnTo>
                  <a:lnTo>
                    <a:pt x="12" y="594"/>
                  </a:lnTo>
                  <a:lnTo>
                    <a:pt x="6" y="582"/>
                  </a:lnTo>
                  <a:lnTo>
                    <a:pt x="6" y="570"/>
                  </a:lnTo>
                  <a:lnTo>
                    <a:pt x="0" y="558"/>
                  </a:lnTo>
                  <a:lnTo>
                    <a:pt x="6" y="552"/>
                  </a:lnTo>
                  <a:lnTo>
                    <a:pt x="6" y="534"/>
                  </a:lnTo>
                  <a:lnTo>
                    <a:pt x="18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12" y="480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54" y="408"/>
                  </a:lnTo>
                  <a:lnTo>
                    <a:pt x="54" y="396"/>
                  </a:lnTo>
                  <a:lnTo>
                    <a:pt x="54" y="384"/>
                  </a:lnTo>
                  <a:lnTo>
                    <a:pt x="60" y="378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66"/>
                  </a:lnTo>
                  <a:lnTo>
                    <a:pt x="60" y="360"/>
                  </a:lnTo>
                  <a:lnTo>
                    <a:pt x="66" y="360"/>
                  </a:lnTo>
                  <a:lnTo>
                    <a:pt x="72" y="354"/>
                  </a:lnTo>
                  <a:lnTo>
                    <a:pt x="78" y="354"/>
                  </a:lnTo>
                  <a:lnTo>
                    <a:pt x="84" y="348"/>
                  </a:lnTo>
                  <a:lnTo>
                    <a:pt x="96" y="348"/>
                  </a:lnTo>
                  <a:lnTo>
                    <a:pt x="96" y="342"/>
                  </a:lnTo>
                  <a:lnTo>
                    <a:pt x="96" y="336"/>
                  </a:lnTo>
                  <a:lnTo>
                    <a:pt x="96" y="330"/>
                  </a:lnTo>
                  <a:lnTo>
                    <a:pt x="96" y="324"/>
                  </a:lnTo>
                  <a:lnTo>
                    <a:pt x="102" y="318"/>
                  </a:lnTo>
                  <a:lnTo>
                    <a:pt x="108" y="312"/>
                  </a:lnTo>
                  <a:lnTo>
                    <a:pt x="96" y="306"/>
                  </a:lnTo>
                  <a:lnTo>
                    <a:pt x="84" y="288"/>
                  </a:lnTo>
                  <a:lnTo>
                    <a:pt x="108" y="258"/>
                  </a:lnTo>
                  <a:lnTo>
                    <a:pt x="102" y="222"/>
                  </a:lnTo>
                  <a:lnTo>
                    <a:pt x="84" y="222"/>
                  </a:lnTo>
                  <a:lnTo>
                    <a:pt x="54" y="216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2"/>
                  </a:lnTo>
                  <a:lnTo>
                    <a:pt x="72" y="192"/>
                  </a:lnTo>
                  <a:lnTo>
                    <a:pt x="84" y="186"/>
                  </a:lnTo>
                  <a:lnTo>
                    <a:pt x="90" y="186"/>
                  </a:lnTo>
                  <a:lnTo>
                    <a:pt x="90" y="174"/>
                  </a:lnTo>
                  <a:lnTo>
                    <a:pt x="84" y="162"/>
                  </a:lnTo>
                  <a:lnTo>
                    <a:pt x="84" y="150"/>
                  </a:lnTo>
                  <a:lnTo>
                    <a:pt x="84" y="126"/>
                  </a:lnTo>
                  <a:lnTo>
                    <a:pt x="84" y="114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8" y="96"/>
                  </a:lnTo>
                  <a:lnTo>
                    <a:pt x="120" y="90"/>
                  </a:lnTo>
                  <a:lnTo>
                    <a:pt x="126" y="78"/>
                  </a:lnTo>
                  <a:lnTo>
                    <a:pt x="138" y="66"/>
                  </a:lnTo>
                  <a:lnTo>
                    <a:pt x="138" y="48"/>
                  </a:lnTo>
                  <a:lnTo>
                    <a:pt x="138" y="42"/>
                  </a:lnTo>
                  <a:lnTo>
                    <a:pt x="126" y="30"/>
                  </a:lnTo>
                  <a:lnTo>
                    <a:pt x="120" y="18"/>
                  </a:lnTo>
                  <a:lnTo>
                    <a:pt x="132" y="12"/>
                  </a:lnTo>
                  <a:lnTo>
                    <a:pt x="144" y="0"/>
                  </a:lnTo>
                  <a:lnTo>
                    <a:pt x="150" y="6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6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74" y="66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68" y="72"/>
                  </a:lnTo>
                  <a:lnTo>
                    <a:pt x="156" y="150"/>
                  </a:lnTo>
                  <a:lnTo>
                    <a:pt x="168" y="144"/>
                  </a:lnTo>
                  <a:lnTo>
                    <a:pt x="180" y="150"/>
                  </a:lnTo>
                  <a:lnTo>
                    <a:pt x="186" y="150"/>
                  </a:lnTo>
                  <a:lnTo>
                    <a:pt x="186" y="144"/>
                  </a:lnTo>
                  <a:lnTo>
                    <a:pt x="192" y="150"/>
                  </a:lnTo>
                  <a:lnTo>
                    <a:pt x="222" y="150"/>
                  </a:lnTo>
                  <a:lnTo>
                    <a:pt x="222" y="168"/>
                  </a:lnTo>
                  <a:lnTo>
                    <a:pt x="222" y="186"/>
                  </a:lnTo>
                  <a:lnTo>
                    <a:pt x="234" y="198"/>
                  </a:lnTo>
                  <a:lnTo>
                    <a:pt x="234" y="234"/>
                  </a:lnTo>
                  <a:lnTo>
                    <a:pt x="228" y="270"/>
                  </a:lnTo>
                  <a:lnTo>
                    <a:pt x="246" y="282"/>
                  </a:lnTo>
                  <a:lnTo>
                    <a:pt x="258" y="294"/>
                  </a:lnTo>
                  <a:lnTo>
                    <a:pt x="270" y="300"/>
                  </a:lnTo>
                  <a:lnTo>
                    <a:pt x="294" y="300"/>
                  </a:lnTo>
                  <a:lnTo>
                    <a:pt x="288" y="306"/>
                  </a:lnTo>
                  <a:lnTo>
                    <a:pt x="300" y="312"/>
                  </a:lnTo>
                  <a:lnTo>
                    <a:pt x="306" y="318"/>
                  </a:lnTo>
                  <a:lnTo>
                    <a:pt x="324" y="324"/>
                  </a:lnTo>
                  <a:lnTo>
                    <a:pt x="354" y="318"/>
                  </a:lnTo>
                  <a:lnTo>
                    <a:pt x="354" y="312"/>
                  </a:lnTo>
                  <a:lnTo>
                    <a:pt x="366" y="312"/>
                  </a:lnTo>
                  <a:lnTo>
                    <a:pt x="384" y="312"/>
                  </a:lnTo>
                  <a:lnTo>
                    <a:pt x="390" y="306"/>
                  </a:lnTo>
                  <a:lnTo>
                    <a:pt x="396" y="306"/>
                  </a:lnTo>
                  <a:lnTo>
                    <a:pt x="408" y="306"/>
                  </a:lnTo>
                  <a:lnTo>
                    <a:pt x="426" y="312"/>
                  </a:lnTo>
                  <a:lnTo>
                    <a:pt x="456" y="324"/>
                  </a:lnTo>
                  <a:lnTo>
                    <a:pt x="504" y="330"/>
                  </a:lnTo>
                  <a:lnTo>
                    <a:pt x="510" y="336"/>
                  </a:lnTo>
                  <a:lnTo>
                    <a:pt x="534" y="336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58" y="330"/>
                  </a:lnTo>
                  <a:lnTo>
                    <a:pt x="564" y="330"/>
                  </a:lnTo>
                  <a:lnTo>
                    <a:pt x="570" y="354"/>
                  </a:lnTo>
                  <a:lnTo>
                    <a:pt x="564" y="378"/>
                  </a:lnTo>
                  <a:lnTo>
                    <a:pt x="558" y="396"/>
                  </a:lnTo>
                  <a:lnTo>
                    <a:pt x="546" y="414"/>
                  </a:lnTo>
                  <a:lnTo>
                    <a:pt x="546" y="438"/>
                  </a:lnTo>
                  <a:lnTo>
                    <a:pt x="540" y="456"/>
                  </a:lnTo>
                  <a:lnTo>
                    <a:pt x="540" y="474"/>
                  </a:lnTo>
                  <a:lnTo>
                    <a:pt x="528" y="480"/>
                  </a:lnTo>
                  <a:lnTo>
                    <a:pt x="522" y="492"/>
                  </a:lnTo>
                  <a:lnTo>
                    <a:pt x="504" y="498"/>
                  </a:lnTo>
                  <a:lnTo>
                    <a:pt x="498" y="498"/>
                  </a:lnTo>
                  <a:lnTo>
                    <a:pt x="492" y="504"/>
                  </a:lnTo>
                  <a:lnTo>
                    <a:pt x="486" y="510"/>
                  </a:lnTo>
                  <a:lnTo>
                    <a:pt x="480" y="510"/>
                  </a:lnTo>
                  <a:lnTo>
                    <a:pt x="480" y="516"/>
                  </a:lnTo>
                  <a:lnTo>
                    <a:pt x="474" y="522"/>
                  </a:lnTo>
                  <a:lnTo>
                    <a:pt x="474" y="528"/>
                  </a:lnTo>
                  <a:lnTo>
                    <a:pt x="474" y="534"/>
                  </a:lnTo>
                  <a:lnTo>
                    <a:pt x="480" y="540"/>
                  </a:lnTo>
                  <a:lnTo>
                    <a:pt x="492" y="540"/>
                  </a:lnTo>
                  <a:lnTo>
                    <a:pt x="498" y="546"/>
                  </a:lnTo>
                  <a:lnTo>
                    <a:pt x="504" y="552"/>
                  </a:lnTo>
                  <a:lnTo>
                    <a:pt x="510" y="552"/>
                  </a:lnTo>
                  <a:lnTo>
                    <a:pt x="516" y="558"/>
                  </a:lnTo>
                  <a:lnTo>
                    <a:pt x="528" y="558"/>
                  </a:lnTo>
                  <a:lnTo>
                    <a:pt x="534" y="552"/>
                  </a:lnTo>
                  <a:lnTo>
                    <a:pt x="540" y="552"/>
                  </a:lnTo>
                  <a:lnTo>
                    <a:pt x="546" y="552"/>
                  </a:lnTo>
                  <a:lnTo>
                    <a:pt x="558" y="546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70" y="546"/>
                  </a:lnTo>
                  <a:lnTo>
                    <a:pt x="570" y="540"/>
                  </a:lnTo>
                  <a:lnTo>
                    <a:pt x="570" y="546"/>
                  </a:lnTo>
                  <a:lnTo>
                    <a:pt x="576" y="546"/>
                  </a:lnTo>
                  <a:lnTo>
                    <a:pt x="582" y="546"/>
                  </a:lnTo>
                  <a:lnTo>
                    <a:pt x="588" y="540"/>
                  </a:lnTo>
                  <a:lnTo>
                    <a:pt x="594" y="546"/>
                  </a:lnTo>
                  <a:lnTo>
                    <a:pt x="606" y="546"/>
                  </a:lnTo>
                  <a:lnTo>
                    <a:pt x="612" y="546"/>
                  </a:lnTo>
                  <a:lnTo>
                    <a:pt x="612" y="552"/>
                  </a:lnTo>
                  <a:lnTo>
                    <a:pt x="618" y="552"/>
                  </a:lnTo>
                  <a:lnTo>
                    <a:pt x="624" y="552"/>
                  </a:lnTo>
                  <a:lnTo>
                    <a:pt x="630" y="552"/>
                  </a:lnTo>
                  <a:lnTo>
                    <a:pt x="648" y="546"/>
                  </a:lnTo>
                  <a:lnTo>
                    <a:pt x="654" y="546"/>
                  </a:lnTo>
                  <a:lnTo>
                    <a:pt x="654" y="552"/>
                  </a:lnTo>
                  <a:lnTo>
                    <a:pt x="660" y="558"/>
                  </a:lnTo>
                  <a:lnTo>
                    <a:pt x="666" y="564"/>
                  </a:lnTo>
                  <a:lnTo>
                    <a:pt x="672" y="564"/>
                  </a:lnTo>
                  <a:lnTo>
                    <a:pt x="678" y="564"/>
                  </a:lnTo>
                  <a:lnTo>
                    <a:pt x="696" y="576"/>
                  </a:lnTo>
                  <a:lnTo>
                    <a:pt x="696" y="582"/>
                  </a:lnTo>
                  <a:lnTo>
                    <a:pt x="708" y="588"/>
                  </a:lnTo>
                  <a:lnTo>
                    <a:pt x="708" y="594"/>
                  </a:lnTo>
                  <a:lnTo>
                    <a:pt x="720" y="606"/>
                  </a:lnTo>
                  <a:lnTo>
                    <a:pt x="720" y="618"/>
                  </a:lnTo>
                  <a:lnTo>
                    <a:pt x="720" y="624"/>
                  </a:lnTo>
                  <a:lnTo>
                    <a:pt x="726" y="630"/>
                  </a:lnTo>
                  <a:lnTo>
                    <a:pt x="732" y="636"/>
                  </a:lnTo>
                  <a:lnTo>
                    <a:pt x="732" y="642"/>
                  </a:lnTo>
                  <a:lnTo>
                    <a:pt x="732" y="648"/>
                  </a:lnTo>
                  <a:lnTo>
                    <a:pt x="726" y="654"/>
                  </a:lnTo>
                  <a:lnTo>
                    <a:pt x="720" y="660"/>
                  </a:lnTo>
                  <a:lnTo>
                    <a:pt x="714" y="666"/>
                  </a:lnTo>
                  <a:lnTo>
                    <a:pt x="714" y="672"/>
                  </a:lnTo>
                  <a:lnTo>
                    <a:pt x="714" y="678"/>
                  </a:lnTo>
                  <a:lnTo>
                    <a:pt x="720" y="678"/>
                  </a:lnTo>
                  <a:lnTo>
                    <a:pt x="720" y="684"/>
                  </a:lnTo>
                  <a:lnTo>
                    <a:pt x="714" y="690"/>
                  </a:lnTo>
                  <a:lnTo>
                    <a:pt x="714" y="696"/>
                  </a:lnTo>
                  <a:lnTo>
                    <a:pt x="714" y="702"/>
                  </a:lnTo>
                  <a:lnTo>
                    <a:pt x="714" y="708"/>
                  </a:lnTo>
                  <a:lnTo>
                    <a:pt x="720" y="708"/>
                  </a:lnTo>
                  <a:lnTo>
                    <a:pt x="720" y="720"/>
                  </a:lnTo>
                  <a:lnTo>
                    <a:pt x="720" y="726"/>
                  </a:lnTo>
                  <a:lnTo>
                    <a:pt x="726" y="726"/>
                  </a:lnTo>
                  <a:lnTo>
                    <a:pt x="726" y="732"/>
                  </a:lnTo>
                  <a:lnTo>
                    <a:pt x="732" y="732"/>
                  </a:lnTo>
                  <a:lnTo>
                    <a:pt x="732" y="738"/>
                  </a:lnTo>
                  <a:lnTo>
                    <a:pt x="726" y="738"/>
                  </a:lnTo>
                  <a:lnTo>
                    <a:pt x="720" y="738"/>
                  </a:lnTo>
                  <a:lnTo>
                    <a:pt x="720" y="744"/>
                  </a:lnTo>
                  <a:lnTo>
                    <a:pt x="720" y="750"/>
                  </a:lnTo>
                  <a:lnTo>
                    <a:pt x="714" y="750"/>
                  </a:lnTo>
                  <a:lnTo>
                    <a:pt x="714" y="756"/>
                  </a:lnTo>
                  <a:lnTo>
                    <a:pt x="720" y="756"/>
                  </a:lnTo>
                  <a:lnTo>
                    <a:pt x="714" y="762"/>
                  </a:lnTo>
                  <a:lnTo>
                    <a:pt x="720" y="762"/>
                  </a:lnTo>
                  <a:lnTo>
                    <a:pt x="726" y="768"/>
                  </a:lnTo>
                  <a:lnTo>
                    <a:pt x="726" y="774"/>
                  </a:lnTo>
                  <a:lnTo>
                    <a:pt x="732" y="774"/>
                  </a:lnTo>
                  <a:lnTo>
                    <a:pt x="732" y="780"/>
                  </a:lnTo>
                  <a:lnTo>
                    <a:pt x="726" y="780"/>
                  </a:lnTo>
                  <a:lnTo>
                    <a:pt x="726" y="786"/>
                  </a:lnTo>
                  <a:lnTo>
                    <a:pt x="720" y="786"/>
                  </a:lnTo>
                  <a:lnTo>
                    <a:pt x="726" y="786"/>
                  </a:lnTo>
                  <a:lnTo>
                    <a:pt x="732" y="780"/>
                  </a:lnTo>
                  <a:lnTo>
                    <a:pt x="738" y="780"/>
                  </a:lnTo>
                  <a:lnTo>
                    <a:pt x="744" y="780"/>
                  </a:lnTo>
                  <a:lnTo>
                    <a:pt x="744" y="786"/>
                  </a:lnTo>
                  <a:lnTo>
                    <a:pt x="750" y="786"/>
                  </a:lnTo>
                  <a:lnTo>
                    <a:pt x="744" y="786"/>
                  </a:lnTo>
                  <a:lnTo>
                    <a:pt x="744" y="792"/>
                  </a:lnTo>
                  <a:lnTo>
                    <a:pt x="744" y="786"/>
                  </a:lnTo>
                  <a:lnTo>
                    <a:pt x="738" y="792"/>
                  </a:lnTo>
                  <a:lnTo>
                    <a:pt x="744" y="792"/>
                  </a:lnTo>
                  <a:lnTo>
                    <a:pt x="750" y="792"/>
                  </a:lnTo>
                  <a:lnTo>
                    <a:pt x="750" y="786"/>
                  </a:lnTo>
                  <a:lnTo>
                    <a:pt x="756" y="786"/>
                  </a:lnTo>
                  <a:lnTo>
                    <a:pt x="756" y="792"/>
                  </a:lnTo>
                  <a:lnTo>
                    <a:pt x="762" y="792"/>
                  </a:lnTo>
                  <a:lnTo>
                    <a:pt x="756" y="798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0" y="810"/>
                  </a:lnTo>
                  <a:lnTo>
                    <a:pt x="756" y="810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6" y="816"/>
                  </a:lnTo>
                  <a:lnTo>
                    <a:pt x="750" y="816"/>
                  </a:lnTo>
                  <a:lnTo>
                    <a:pt x="738" y="810"/>
                  </a:lnTo>
                  <a:lnTo>
                    <a:pt x="732" y="810"/>
                  </a:lnTo>
                  <a:lnTo>
                    <a:pt x="732" y="816"/>
                  </a:lnTo>
                  <a:lnTo>
                    <a:pt x="726" y="810"/>
                  </a:lnTo>
                  <a:lnTo>
                    <a:pt x="714" y="816"/>
                  </a:lnTo>
                  <a:lnTo>
                    <a:pt x="708" y="816"/>
                  </a:lnTo>
                  <a:lnTo>
                    <a:pt x="702" y="816"/>
                  </a:lnTo>
                  <a:lnTo>
                    <a:pt x="696" y="816"/>
                  </a:lnTo>
                  <a:lnTo>
                    <a:pt x="690" y="822"/>
                  </a:lnTo>
                  <a:lnTo>
                    <a:pt x="684" y="822"/>
                  </a:lnTo>
                  <a:lnTo>
                    <a:pt x="678" y="822"/>
                  </a:lnTo>
                  <a:lnTo>
                    <a:pt x="672" y="822"/>
                  </a:lnTo>
                  <a:lnTo>
                    <a:pt x="666" y="822"/>
                  </a:lnTo>
                  <a:lnTo>
                    <a:pt x="666" y="828"/>
                  </a:lnTo>
                  <a:lnTo>
                    <a:pt x="654" y="828"/>
                  </a:lnTo>
                  <a:lnTo>
                    <a:pt x="648" y="828"/>
                  </a:lnTo>
                  <a:lnTo>
                    <a:pt x="642" y="828"/>
                  </a:lnTo>
                  <a:lnTo>
                    <a:pt x="630" y="828"/>
                  </a:lnTo>
                  <a:lnTo>
                    <a:pt x="624" y="822"/>
                  </a:lnTo>
                  <a:lnTo>
                    <a:pt x="618" y="822"/>
                  </a:lnTo>
                  <a:lnTo>
                    <a:pt x="612" y="822"/>
                  </a:lnTo>
                  <a:lnTo>
                    <a:pt x="606" y="822"/>
                  </a:lnTo>
                  <a:lnTo>
                    <a:pt x="600" y="822"/>
                  </a:lnTo>
                  <a:lnTo>
                    <a:pt x="594" y="822"/>
                  </a:lnTo>
                  <a:lnTo>
                    <a:pt x="594" y="816"/>
                  </a:lnTo>
                  <a:lnTo>
                    <a:pt x="594" y="810"/>
                  </a:lnTo>
                  <a:lnTo>
                    <a:pt x="600" y="804"/>
                  </a:lnTo>
                  <a:lnTo>
                    <a:pt x="600" y="798"/>
                  </a:lnTo>
                  <a:lnTo>
                    <a:pt x="600" y="792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2" y="786"/>
                  </a:lnTo>
                  <a:lnTo>
                    <a:pt x="618" y="786"/>
                  </a:lnTo>
                  <a:lnTo>
                    <a:pt x="624" y="786"/>
                  </a:lnTo>
                  <a:lnTo>
                    <a:pt x="624" y="780"/>
                  </a:lnTo>
                  <a:lnTo>
                    <a:pt x="630" y="780"/>
                  </a:lnTo>
                  <a:lnTo>
                    <a:pt x="630" y="774"/>
                  </a:lnTo>
                  <a:lnTo>
                    <a:pt x="636" y="774"/>
                  </a:lnTo>
                  <a:lnTo>
                    <a:pt x="642" y="780"/>
                  </a:lnTo>
                  <a:lnTo>
                    <a:pt x="642" y="786"/>
                  </a:lnTo>
                  <a:lnTo>
                    <a:pt x="642" y="792"/>
                  </a:lnTo>
                  <a:lnTo>
                    <a:pt x="648" y="792"/>
                  </a:lnTo>
                  <a:lnTo>
                    <a:pt x="648" y="786"/>
                  </a:lnTo>
                  <a:lnTo>
                    <a:pt x="642" y="786"/>
                  </a:lnTo>
                  <a:lnTo>
                    <a:pt x="642" y="780"/>
                  </a:lnTo>
                  <a:lnTo>
                    <a:pt x="642" y="774"/>
                  </a:lnTo>
                  <a:lnTo>
                    <a:pt x="648" y="768"/>
                  </a:lnTo>
                  <a:lnTo>
                    <a:pt x="642" y="768"/>
                  </a:lnTo>
                  <a:lnTo>
                    <a:pt x="648" y="768"/>
                  </a:lnTo>
                  <a:lnTo>
                    <a:pt x="648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66" y="762"/>
                  </a:lnTo>
                  <a:lnTo>
                    <a:pt x="672" y="756"/>
                  </a:lnTo>
                  <a:lnTo>
                    <a:pt x="666" y="756"/>
                  </a:lnTo>
                  <a:lnTo>
                    <a:pt x="660" y="756"/>
                  </a:lnTo>
                  <a:lnTo>
                    <a:pt x="660" y="750"/>
                  </a:lnTo>
                  <a:lnTo>
                    <a:pt x="654" y="750"/>
                  </a:lnTo>
                  <a:lnTo>
                    <a:pt x="648" y="750"/>
                  </a:lnTo>
                  <a:lnTo>
                    <a:pt x="648" y="756"/>
                  </a:lnTo>
                  <a:lnTo>
                    <a:pt x="642" y="756"/>
                  </a:lnTo>
                  <a:lnTo>
                    <a:pt x="642" y="750"/>
                  </a:lnTo>
                  <a:lnTo>
                    <a:pt x="642" y="744"/>
                  </a:lnTo>
                  <a:lnTo>
                    <a:pt x="642" y="750"/>
                  </a:lnTo>
                  <a:lnTo>
                    <a:pt x="636" y="750"/>
                  </a:lnTo>
                  <a:lnTo>
                    <a:pt x="636" y="744"/>
                  </a:lnTo>
                  <a:lnTo>
                    <a:pt x="630" y="744"/>
                  </a:lnTo>
                  <a:lnTo>
                    <a:pt x="630" y="738"/>
                  </a:lnTo>
                  <a:lnTo>
                    <a:pt x="630" y="744"/>
                  </a:lnTo>
                  <a:lnTo>
                    <a:pt x="630" y="750"/>
                  </a:lnTo>
                  <a:lnTo>
                    <a:pt x="636" y="750"/>
                  </a:lnTo>
                  <a:lnTo>
                    <a:pt x="636" y="756"/>
                  </a:lnTo>
                  <a:lnTo>
                    <a:pt x="630" y="756"/>
                  </a:lnTo>
                  <a:lnTo>
                    <a:pt x="636" y="762"/>
                  </a:lnTo>
                  <a:lnTo>
                    <a:pt x="630" y="762"/>
                  </a:lnTo>
                  <a:lnTo>
                    <a:pt x="624" y="762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24" y="786"/>
                  </a:lnTo>
                  <a:lnTo>
                    <a:pt x="618" y="786"/>
                  </a:lnTo>
                  <a:lnTo>
                    <a:pt x="618" y="78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12" y="774"/>
                  </a:lnTo>
                  <a:lnTo>
                    <a:pt x="612" y="780"/>
                  </a:lnTo>
                  <a:lnTo>
                    <a:pt x="606" y="780"/>
                  </a:lnTo>
                  <a:lnTo>
                    <a:pt x="600" y="780"/>
                  </a:lnTo>
                  <a:lnTo>
                    <a:pt x="600" y="774"/>
                  </a:lnTo>
                  <a:lnTo>
                    <a:pt x="594" y="768"/>
                  </a:lnTo>
                  <a:lnTo>
                    <a:pt x="594" y="762"/>
                  </a:lnTo>
                  <a:lnTo>
                    <a:pt x="594" y="756"/>
                  </a:lnTo>
                  <a:lnTo>
                    <a:pt x="594" y="762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594" y="780"/>
                  </a:lnTo>
                  <a:lnTo>
                    <a:pt x="588" y="780"/>
                  </a:lnTo>
                  <a:lnTo>
                    <a:pt x="582" y="780"/>
                  </a:lnTo>
                  <a:lnTo>
                    <a:pt x="576" y="780"/>
                  </a:lnTo>
                  <a:lnTo>
                    <a:pt x="570" y="780"/>
                  </a:lnTo>
                  <a:lnTo>
                    <a:pt x="564" y="780"/>
                  </a:lnTo>
                  <a:lnTo>
                    <a:pt x="564" y="786"/>
                  </a:lnTo>
                  <a:lnTo>
                    <a:pt x="558" y="786"/>
                  </a:lnTo>
                  <a:lnTo>
                    <a:pt x="552" y="786"/>
                  </a:lnTo>
                  <a:lnTo>
                    <a:pt x="552" y="780"/>
                  </a:lnTo>
                  <a:lnTo>
                    <a:pt x="552" y="774"/>
                  </a:lnTo>
                  <a:lnTo>
                    <a:pt x="552" y="768"/>
                  </a:lnTo>
                  <a:lnTo>
                    <a:pt x="546" y="768"/>
                  </a:lnTo>
                  <a:lnTo>
                    <a:pt x="540" y="762"/>
                  </a:lnTo>
                  <a:lnTo>
                    <a:pt x="540" y="756"/>
                  </a:lnTo>
                  <a:lnTo>
                    <a:pt x="534" y="756"/>
                  </a:lnTo>
                  <a:lnTo>
                    <a:pt x="534" y="750"/>
                  </a:lnTo>
                  <a:lnTo>
                    <a:pt x="534" y="744"/>
                  </a:lnTo>
                  <a:lnTo>
                    <a:pt x="528" y="738"/>
                  </a:lnTo>
                  <a:lnTo>
                    <a:pt x="522" y="738"/>
                  </a:lnTo>
                  <a:lnTo>
                    <a:pt x="522" y="732"/>
                  </a:lnTo>
                  <a:lnTo>
                    <a:pt x="510" y="726"/>
                  </a:lnTo>
                  <a:lnTo>
                    <a:pt x="510" y="720"/>
                  </a:lnTo>
                  <a:lnTo>
                    <a:pt x="504" y="720"/>
                  </a:lnTo>
                  <a:lnTo>
                    <a:pt x="504" y="714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8" y="702"/>
                  </a:lnTo>
                  <a:lnTo>
                    <a:pt x="498" y="696"/>
                  </a:lnTo>
                  <a:lnTo>
                    <a:pt x="492" y="690"/>
                  </a:lnTo>
                  <a:lnTo>
                    <a:pt x="492" y="684"/>
                  </a:lnTo>
                  <a:lnTo>
                    <a:pt x="486" y="684"/>
                  </a:lnTo>
                  <a:lnTo>
                    <a:pt x="486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74" y="678"/>
                  </a:lnTo>
                  <a:lnTo>
                    <a:pt x="468" y="678"/>
                  </a:lnTo>
                  <a:lnTo>
                    <a:pt x="462" y="678"/>
                  </a:lnTo>
                  <a:lnTo>
                    <a:pt x="462" y="672"/>
                  </a:lnTo>
                  <a:lnTo>
                    <a:pt x="456" y="672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44" y="666"/>
                  </a:lnTo>
                  <a:lnTo>
                    <a:pt x="438" y="660"/>
                  </a:lnTo>
                  <a:lnTo>
                    <a:pt x="438" y="648"/>
                  </a:lnTo>
                  <a:lnTo>
                    <a:pt x="438" y="642"/>
                  </a:lnTo>
                  <a:lnTo>
                    <a:pt x="438" y="636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36"/>
                  </a:lnTo>
                  <a:lnTo>
                    <a:pt x="420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60"/>
                  </a:lnTo>
                  <a:lnTo>
                    <a:pt x="432" y="666"/>
                  </a:lnTo>
                  <a:lnTo>
                    <a:pt x="438" y="666"/>
                  </a:lnTo>
                  <a:lnTo>
                    <a:pt x="438" y="672"/>
                  </a:lnTo>
                  <a:lnTo>
                    <a:pt x="444" y="672"/>
                  </a:lnTo>
                  <a:lnTo>
                    <a:pt x="444" y="678"/>
                  </a:lnTo>
                  <a:lnTo>
                    <a:pt x="450" y="678"/>
                  </a:lnTo>
                  <a:lnTo>
                    <a:pt x="456" y="678"/>
                  </a:lnTo>
                  <a:lnTo>
                    <a:pt x="456" y="684"/>
                  </a:lnTo>
                  <a:lnTo>
                    <a:pt x="462" y="684"/>
                  </a:lnTo>
                  <a:lnTo>
                    <a:pt x="468" y="684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80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86" y="708"/>
                  </a:lnTo>
                  <a:lnTo>
                    <a:pt x="492" y="714"/>
                  </a:lnTo>
                  <a:lnTo>
                    <a:pt x="492" y="720"/>
                  </a:lnTo>
                  <a:lnTo>
                    <a:pt x="492" y="726"/>
                  </a:lnTo>
                  <a:lnTo>
                    <a:pt x="498" y="732"/>
                  </a:lnTo>
                  <a:lnTo>
                    <a:pt x="492" y="738"/>
                  </a:lnTo>
                  <a:lnTo>
                    <a:pt x="492" y="744"/>
                  </a:lnTo>
                  <a:lnTo>
                    <a:pt x="492" y="750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68" y="738"/>
                  </a:lnTo>
                  <a:lnTo>
                    <a:pt x="468" y="744"/>
                  </a:lnTo>
                  <a:lnTo>
                    <a:pt x="474" y="750"/>
                  </a:lnTo>
                  <a:lnTo>
                    <a:pt x="480" y="756"/>
                  </a:lnTo>
                  <a:lnTo>
                    <a:pt x="486" y="756"/>
                  </a:lnTo>
                  <a:lnTo>
                    <a:pt x="492" y="762"/>
                  </a:lnTo>
                  <a:lnTo>
                    <a:pt x="498" y="768"/>
                  </a:lnTo>
                  <a:lnTo>
                    <a:pt x="492" y="774"/>
                  </a:lnTo>
                  <a:lnTo>
                    <a:pt x="492" y="780"/>
                  </a:lnTo>
                  <a:lnTo>
                    <a:pt x="498" y="780"/>
                  </a:lnTo>
                  <a:lnTo>
                    <a:pt x="492" y="786"/>
                  </a:lnTo>
                  <a:lnTo>
                    <a:pt x="492" y="792"/>
                  </a:lnTo>
                  <a:lnTo>
                    <a:pt x="492" y="79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0" y="810"/>
                  </a:lnTo>
                  <a:lnTo>
                    <a:pt x="480" y="804"/>
                  </a:lnTo>
                  <a:lnTo>
                    <a:pt x="474" y="804"/>
                  </a:lnTo>
                  <a:lnTo>
                    <a:pt x="474" y="798"/>
                  </a:lnTo>
                  <a:lnTo>
                    <a:pt x="474" y="804"/>
                  </a:lnTo>
                  <a:lnTo>
                    <a:pt x="468" y="804"/>
                  </a:lnTo>
                  <a:lnTo>
                    <a:pt x="468" y="810"/>
                  </a:lnTo>
                  <a:lnTo>
                    <a:pt x="462" y="810"/>
                  </a:lnTo>
                  <a:lnTo>
                    <a:pt x="456" y="810"/>
                  </a:lnTo>
                  <a:lnTo>
                    <a:pt x="450" y="810"/>
                  </a:lnTo>
                  <a:lnTo>
                    <a:pt x="450" y="816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50" y="822"/>
                  </a:lnTo>
                  <a:lnTo>
                    <a:pt x="450" y="816"/>
                  </a:lnTo>
                  <a:lnTo>
                    <a:pt x="444" y="816"/>
                  </a:lnTo>
                  <a:lnTo>
                    <a:pt x="438" y="810"/>
                  </a:lnTo>
                  <a:lnTo>
                    <a:pt x="432" y="810"/>
                  </a:lnTo>
                  <a:lnTo>
                    <a:pt x="426" y="804"/>
                  </a:lnTo>
                  <a:lnTo>
                    <a:pt x="426" y="798"/>
                  </a:lnTo>
                  <a:lnTo>
                    <a:pt x="420" y="798"/>
                  </a:lnTo>
                  <a:lnTo>
                    <a:pt x="426" y="798"/>
                  </a:lnTo>
                  <a:lnTo>
                    <a:pt x="426" y="792"/>
                  </a:lnTo>
                  <a:lnTo>
                    <a:pt x="426" y="786"/>
                  </a:lnTo>
                  <a:lnTo>
                    <a:pt x="432" y="786"/>
                  </a:lnTo>
                  <a:lnTo>
                    <a:pt x="432" y="780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0" y="756"/>
                  </a:lnTo>
                  <a:lnTo>
                    <a:pt x="420" y="750"/>
                  </a:lnTo>
                  <a:lnTo>
                    <a:pt x="414" y="750"/>
                  </a:lnTo>
                  <a:lnTo>
                    <a:pt x="420" y="750"/>
                  </a:lnTo>
                  <a:lnTo>
                    <a:pt x="420" y="744"/>
                  </a:lnTo>
                  <a:lnTo>
                    <a:pt x="414" y="744"/>
                  </a:lnTo>
                  <a:lnTo>
                    <a:pt x="414" y="738"/>
                  </a:lnTo>
                  <a:lnTo>
                    <a:pt x="414" y="732"/>
                  </a:lnTo>
                  <a:lnTo>
                    <a:pt x="408" y="732"/>
                  </a:lnTo>
                  <a:lnTo>
                    <a:pt x="408" y="726"/>
                  </a:lnTo>
                  <a:lnTo>
                    <a:pt x="402" y="726"/>
                  </a:lnTo>
                  <a:lnTo>
                    <a:pt x="396" y="726"/>
                  </a:lnTo>
                  <a:lnTo>
                    <a:pt x="390" y="726"/>
                  </a:lnTo>
                  <a:lnTo>
                    <a:pt x="390" y="720"/>
                  </a:lnTo>
                  <a:lnTo>
                    <a:pt x="390" y="714"/>
                  </a:lnTo>
                  <a:lnTo>
                    <a:pt x="384" y="708"/>
                  </a:lnTo>
                  <a:lnTo>
                    <a:pt x="384" y="702"/>
                  </a:lnTo>
                  <a:lnTo>
                    <a:pt x="378" y="702"/>
                  </a:lnTo>
                  <a:lnTo>
                    <a:pt x="378" y="696"/>
                  </a:lnTo>
                  <a:lnTo>
                    <a:pt x="378" y="690"/>
                  </a:lnTo>
                  <a:lnTo>
                    <a:pt x="372" y="684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66" y="666"/>
                  </a:lnTo>
                  <a:lnTo>
                    <a:pt x="366" y="660"/>
                  </a:lnTo>
                  <a:lnTo>
                    <a:pt x="366" y="654"/>
                  </a:lnTo>
                  <a:lnTo>
                    <a:pt x="360" y="648"/>
                  </a:lnTo>
                  <a:lnTo>
                    <a:pt x="360" y="654"/>
                  </a:lnTo>
                  <a:lnTo>
                    <a:pt x="360" y="660"/>
                  </a:lnTo>
                  <a:lnTo>
                    <a:pt x="360" y="666"/>
                  </a:lnTo>
                  <a:lnTo>
                    <a:pt x="360" y="672"/>
                  </a:lnTo>
                  <a:lnTo>
                    <a:pt x="360" y="678"/>
                  </a:lnTo>
                  <a:lnTo>
                    <a:pt x="366" y="678"/>
                  </a:lnTo>
                  <a:lnTo>
                    <a:pt x="366" y="684"/>
                  </a:lnTo>
                  <a:lnTo>
                    <a:pt x="366" y="690"/>
                  </a:lnTo>
                  <a:lnTo>
                    <a:pt x="372" y="696"/>
                  </a:lnTo>
                  <a:lnTo>
                    <a:pt x="372" y="702"/>
                  </a:lnTo>
                  <a:lnTo>
                    <a:pt x="372" y="708"/>
                  </a:lnTo>
                  <a:lnTo>
                    <a:pt x="372" y="714"/>
                  </a:lnTo>
                  <a:lnTo>
                    <a:pt x="366" y="714"/>
                  </a:lnTo>
                  <a:lnTo>
                    <a:pt x="360" y="714"/>
                  </a:lnTo>
                  <a:lnTo>
                    <a:pt x="354" y="714"/>
                  </a:lnTo>
                  <a:lnTo>
                    <a:pt x="348" y="714"/>
                  </a:lnTo>
                  <a:lnTo>
                    <a:pt x="348" y="708"/>
                  </a:lnTo>
                  <a:lnTo>
                    <a:pt x="342" y="708"/>
                  </a:lnTo>
                  <a:lnTo>
                    <a:pt x="342" y="702"/>
                  </a:lnTo>
                  <a:lnTo>
                    <a:pt x="342" y="696"/>
                  </a:lnTo>
                  <a:lnTo>
                    <a:pt x="336" y="696"/>
                  </a:lnTo>
                  <a:lnTo>
                    <a:pt x="336" y="690"/>
                  </a:lnTo>
                  <a:lnTo>
                    <a:pt x="336" y="684"/>
                  </a:lnTo>
                  <a:lnTo>
                    <a:pt x="330" y="684"/>
                  </a:lnTo>
                  <a:lnTo>
                    <a:pt x="330" y="678"/>
                  </a:lnTo>
                  <a:lnTo>
                    <a:pt x="324" y="672"/>
                  </a:lnTo>
                  <a:lnTo>
                    <a:pt x="324" y="666"/>
                  </a:lnTo>
                  <a:lnTo>
                    <a:pt x="318" y="666"/>
                  </a:lnTo>
                  <a:lnTo>
                    <a:pt x="318" y="672"/>
                  </a:lnTo>
                  <a:lnTo>
                    <a:pt x="324" y="672"/>
                  </a:lnTo>
                  <a:lnTo>
                    <a:pt x="324" y="678"/>
                  </a:lnTo>
                  <a:lnTo>
                    <a:pt x="324" y="684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30" y="696"/>
                  </a:lnTo>
                  <a:lnTo>
                    <a:pt x="336" y="702"/>
                  </a:lnTo>
                  <a:lnTo>
                    <a:pt x="342" y="708"/>
                  </a:lnTo>
                  <a:lnTo>
                    <a:pt x="342" y="714"/>
                  </a:lnTo>
                  <a:lnTo>
                    <a:pt x="348" y="720"/>
                  </a:lnTo>
                  <a:lnTo>
                    <a:pt x="342" y="720"/>
                  </a:lnTo>
                  <a:lnTo>
                    <a:pt x="336" y="720"/>
                  </a:lnTo>
                  <a:lnTo>
                    <a:pt x="330" y="720"/>
                  </a:lnTo>
                  <a:lnTo>
                    <a:pt x="330" y="726"/>
                  </a:lnTo>
                  <a:lnTo>
                    <a:pt x="336" y="726"/>
                  </a:lnTo>
                  <a:lnTo>
                    <a:pt x="330" y="732"/>
                  </a:lnTo>
                  <a:lnTo>
                    <a:pt x="330" y="738"/>
                  </a:lnTo>
                  <a:lnTo>
                    <a:pt x="330" y="744"/>
                  </a:lnTo>
                  <a:lnTo>
                    <a:pt x="336" y="744"/>
                  </a:lnTo>
                  <a:lnTo>
                    <a:pt x="342" y="744"/>
                  </a:lnTo>
                  <a:lnTo>
                    <a:pt x="348" y="744"/>
                  </a:lnTo>
                  <a:lnTo>
                    <a:pt x="348" y="750"/>
                  </a:lnTo>
                  <a:lnTo>
                    <a:pt x="354" y="750"/>
                  </a:lnTo>
                  <a:lnTo>
                    <a:pt x="360" y="756"/>
                  </a:lnTo>
                  <a:lnTo>
                    <a:pt x="360" y="762"/>
                  </a:lnTo>
                  <a:lnTo>
                    <a:pt x="366" y="762"/>
                  </a:lnTo>
                  <a:lnTo>
                    <a:pt x="366" y="768"/>
                  </a:lnTo>
                  <a:lnTo>
                    <a:pt x="366" y="774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72" y="792"/>
                  </a:lnTo>
                  <a:lnTo>
                    <a:pt x="372" y="798"/>
                  </a:lnTo>
                  <a:lnTo>
                    <a:pt x="372" y="804"/>
                  </a:lnTo>
                  <a:lnTo>
                    <a:pt x="378" y="804"/>
                  </a:lnTo>
                  <a:lnTo>
                    <a:pt x="378" y="810"/>
                  </a:lnTo>
                  <a:lnTo>
                    <a:pt x="378" y="816"/>
                  </a:lnTo>
                  <a:lnTo>
                    <a:pt x="372" y="816"/>
                  </a:lnTo>
                  <a:lnTo>
                    <a:pt x="378" y="816"/>
                  </a:lnTo>
                  <a:lnTo>
                    <a:pt x="378" y="822"/>
                  </a:lnTo>
                  <a:lnTo>
                    <a:pt x="378" y="828"/>
                  </a:lnTo>
                  <a:lnTo>
                    <a:pt x="378" y="834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0" y="864"/>
                  </a:lnTo>
                  <a:lnTo>
                    <a:pt x="384" y="864"/>
                  </a:lnTo>
                  <a:lnTo>
                    <a:pt x="384" y="870"/>
                  </a:lnTo>
                  <a:lnTo>
                    <a:pt x="378" y="864"/>
                  </a:lnTo>
                  <a:lnTo>
                    <a:pt x="372" y="864"/>
                  </a:lnTo>
                  <a:lnTo>
                    <a:pt x="366" y="858"/>
                  </a:lnTo>
                  <a:lnTo>
                    <a:pt x="366" y="852"/>
                  </a:lnTo>
                  <a:lnTo>
                    <a:pt x="360" y="852"/>
                  </a:lnTo>
                  <a:lnTo>
                    <a:pt x="360" y="858"/>
                  </a:lnTo>
                  <a:lnTo>
                    <a:pt x="366" y="858"/>
                  </a:lnTo>
                  <a:lnTo>
                    <a:pt x="366" y="864"/>
                  </a:lnTo>
                  <a:lnTo>
                    <a:pt x="360" y="864"/>
                  </a:lnTo>
                  <a:lnTo>
                    <a:pt x="354" y="864"/>
                  </a:lnTo>
                  <a:lnTo>
                    <a:pt x="354" y="870"/>
                  </a:lnTo>
                  <a:lnTo>
                    <a:pt x="354" y="864"/>
                  </a:lnTo>
                  <a:lnTo>
                    <a:pt x="348" y="864"/>
                  </a:lnTo>
                  <a:lnTo>
                    <a:pt x="342" y="864"/>
                  </a:lnTo>
                  <a:lnTo>
                    <a:pt x="342" y="858"/>
                  </a:lnTo>
                  <a:lnTo>
                    <a:pt x="336" y="858"/>
                  </a:lnTo>
                  <a:lnTo>
                    <a:pt x="330" y="858"/>
                  </a:lnTo>
                  <a:lnTo>
                    <a:pt x="324" y="858"/>
                  </a:lnTo>
                  <a:lnTo>
                    <a:pt x="318" y="858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0" y="852"/>
                  </a:lnTo>
                  <a:lnTo>
                    <a:pt x="294" y="852"/>
                  </a:lnTo>
                  <a:lnTo>
                    <a:pt x="294" y="846"/>
                  </a:lnTo>
                  <a:lnTo>
                    <a:pt x="288" y="840"/>
                  </a:lnTo>
                  <a:lnTo>
                    <a:pt x="288" y="828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2" y="816"/>
                  </a:lnTo>
                  <a:lnTo>
                    <a:pt x="282" y="810"/>
                  </a:lnTo>
                  <a:lnTo>
                    <a:pt x="276" y="810"/>
                  </a:lnTo>
                  <a:lnTo>
                    <a:pt x="276" y="804"/>
                  </a:lnTo>
                  <a:lnTo>
                    <a:pt x="276" y="798"/>
                  </a:lnTo>
                  <a:lnTo>
                    <a:pt x="276" y="792"/>
                  </a:lnTo>
                  <a:lnTo>
                    <a:pt x="270" y="786"/>
                  </a:lnTo>
                  <a:lnTo>
                    <a:pt x="270" y="780"/>
                  </a:lnTo>
                  <a:lnTo>
                    <a:pt x="270" y="774"/>
                  </a:lnTo>
                  <a:lnTo>
                    <a:pt x="264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64" y="750"/>
                  </a:lnTo>
                  <a:lnTo>
                    <a:pt x="264" y="744"/>
                  </a:lnTo>
                  <a:lnTo>
                    <a:pt x="264" y="738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26"/>
                  </a:lnTo>
                  <a:lnTo>
                    <a:pt x="276" y="720"/>
                  </a:lnTo>
                  <a:lnTo>
                    <a:pt x="282" y="720"/>
                  </a:lnTo>
                  <a:lnTo>
                    <a:pt x="282" y="714"/>
                  </a:lnTo>
                  <a:lnTo>
                    <a:pt x="282" y="708"/>
                  </a:lnTo>
                  <a:lnTo>
                    <a:pt x="276" y="708"/>
                  </a:lnTo>
                  <a:lnTo>
                    <a:pt x="276" y="702"/>
                  </a:lnTo>
                  <a:lnTo>
                    <a:pt x="270" y="702"/>
                  </a:lnTo>
                  <a:lnTo>
                    <a:pt x="270" y="696"/>
                  </a:lnTo>
                  <a:lnTo>
                    <a:pt x="264" y="690"/>
                  </a:lnTo>
                  <a:lnTo>
                    <a:pt x="258" y="690"/>
                  </a:lnTo>
                  <a:lnTo>
                    <a:pt x="258" y="684"/>
                  </a:lnTo>
                  <a:lnTo>
                    <a:pt x="252" y="684"/>
                  </a:lnTo>
                  <a:lnTo>
                    <a:pt x="252" y="678"/>
                  </a:lnTo>
                  <a:lnTo>
                    <a:pt x="246" y="678"/>
                  </a:lnTo>
                  <a:lnTo>
                    <a:pt x="240" y="678"/>
                  </a:lnTo>
                  <a:lnTo>
                    <a:pt x="240" y="684"/>
                  </a:lnTo>
                  <a:lnTo>
                    <a:pt x="246" y="684"/>
                  </a:lnTo>
                  <a:lnTo>
                    <a:pt x="252" y="690"/>
                  </a:lnTo>
                  <a:lnTo>
                    <a:pt x="258" y="690"/>
                  </a:lnTo>
                  <a:lnTo>
                    <a:pt x="258" y="696"/>
                  </a:lnTo>
                  <a:lnTo>
                    <a:pt x="258" y="702"/>
                  </a:lnTo>
                  <a:lnTo>
                    <a:pt x="264" y="702"/>
                  </a:lnTo>
                  <a:lnTo>
                    <a:pt x="270" y="708"/>
                  </a:lnTo>
                  <a:lnTo>
                    <a:pt x="270" y="714"/>
                  </a:lnTo>
                  <a:lnTo>
                    <a:pt x="270" y="720"/>
                  </a:lnTo>
                  <a:lnTo>
                    <a:pt x="276" y="720"/>
                  </a:lnTo>
                  <a:lnTo>
                    <a:pt x="270" y="720"/>
                  </a:lnTo>
                  <a:lnTo>
                    <a:pt x="270" y="726"/>
                  </a:lnTo>
                  <a:lnTo>
                    <a:pt x="264" y="726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52" y="738"/>
                  </a:lnTo>
                  <a:lnTo>
                    <a:pt x="252" y="744"/>
                  </a:lnTo>
                  <a:lnTo>
                    <a:pt x="252" y="750"/>
                  </a:lnTo>
                  <a:lnTo>
                    <a:pt x="252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58" y="774"/>
                  </a:lnTo>
                  <a:lnTo>
                    <a:pt x="258" y="780"/>
                  </a:lnTo>
                  <a:lnTo>
                    <a:pt x="264" y="786"/>
                  </a:lnTo>
                  <a:lnTo>
                    <a:pt x="264" y="792"/>
                  </a:lnTo>
                  <a:lnTo>
                    <a:pt x="264" y="798"/>
                  </a:lnTo>
                  <a:lnTo>
                    <a:pt x="270" y="810"/>
                  </a:lnTo>
                  <a:lnTo>
                    <a:pt x="270" y="816"/>
                  </a:lnTo>
                  <a:lnTo>
                    <a:pt x="270" y="822"/>
                  </a:lnTo>
                  <a:lnTo>
                    <a:pt x="276" y="822"/>
                  </a:lnTo>
                  <a:lnTo>
                    <a:pt x="276" y="828"/>
                  </a:lnTo>
                  <a:lnTo>
                    <a:pt x="276" y="834"/>
                  </a:lnTo>
                  <a:lnTo>
                    <a:pt x="276" y="840"/>
                  </a:lnTo>
                  <a:lnTo>
                    <a:pt x="276" y="846"/>
                  </a:lnTo>
                  <a:lnTo>
                    <a:pt x="282" y="852"/>
                  </a:lnTo>
                  <a:lnTo>
                    <a:pt x="282" y="858"/>
                  </a:lnTo>
                  <a:lnTo>
                    <a:pt x="294" y="864"/>
                  </a:lnTo>
                  <a:lnTo>
                    <a:pt x="300" y="870"/>
                  </a:lnTo>
                  <a:lnTo>
                    <a:pt x="300" y="876"/>
                  </a:lnTo>
                  <a:lnTo>
                    <a:pt x="288" y="876"/>
                  </a:lnTo>
                  <a:lnTo>
                    <a:pt x="282" y="876"/>
                  </a:lnTo>
                  <a:lnTo>
                    <a:pt x="276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2" y="882"/>
                  </a:lnTo>
                  <a:lnTo>
                    <a:pt x="246" y="882"/>
                  </a:lnTo>
                  <a:lnTo>
                    <a:pt x="240" y="882"/>
                  </a:lnTo>
                  <a:lnTo>
                    <a:pt x="234" y="882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204" y="876"/>
                  </a:lnTo>
                  <a:lnTo>
                    <a:pt x="198" y="876"/>
                  </a:lnTo>
                  <a:lnTo>
                    <a:pt x="198" y="870"/>
                  </a:lnTo>
                  <a:lnTo>
                    <a:pt x="198" y="852"/>
                  </a:lnTo>
                  <a:lnTo>
                    <a:pt x="198" y="846"/>
                  </a:lnTo>
                  <a:lnTo>
                    <a:pt x="204" y="846"/>
                  </a:lnTo>
                  <a:lnTo>
                    <a:pt x="198" y="840"/>
                  </a:lnTo>
                  <a:lnTo>
                    <a:pt x="198" y="834"/>
                  </a:lnTo>
                  <a:lnTo>
                    <a:pt x="198" y="828"/>
                  </a:lnTo>
                  <a:lnTo>
                    <a:pt x="198" y="822"/>
                  </a:lnTo>
                  <a:lnTo>
                    <a:pt x="198" y="816"/>
                  </a:lnTo>
                  <a:lnTo>
                    <a:pt x="198" y="810"/>
                  </a:lnTo>
                  <a:lnTo>
                    <a:pt x="192" y="810"/>
                  </a:lnTo>
                  <a:lnTo>
                    <a:pt x="192" y="804"/>
                  </a:lnTo>
                  <a:lnTo>
                    <a:pt x="192" y="798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2" y="774"/>
                  </a:lnTo>
                  <a:lnTo>
                    <a:pt x="192" y="768"/>
                  </a:lnTo>
                  <a:lnTo>
                    <a:pt x="198" y="768"/>
                  </a:lnTo>
                  <a:lnTo>
                    <a:pt x="198" y="762"/>
                  </a:lnTo>
                  <a:lnTo>
                    <a:pt x="198" y="756"/>
                  </a:lnTo>
                  <a:lnTo>
                    <a:pt x="204" y="756"/>
                  </a:lnTo>
                  <a:lnTo>
                    <a:pt x="204" y="750"/>
                  </a:lnTo>
                  <a:lnTo>
                    <a:pt x="210" y="744"/>
                  </a:lnTo>
                  <a:lnTo>
                    <a:pt x="210" y="738"/>
                  </a:lnTo>
                  <a:lnTo>
                    <a:pt x="210" y="732"/>
                  </a:lnTo>
                  <a:lnTo>
                    <a:pt x="210" y="726"/>
                  </a:lnTo>
                  <a:lnTo>
                    <a:pt x="210" y="720"/>
                  </a:lnTo>
                  <a:lnTo>
                    <a:pt x="204" y="714"/>
                  </a:lnTo>
                  <a:lnTo>
                    <a:pt x="204" y="720"/>
                  </a:lnTo>
                  <a:lnTo>
                    <a:pt x="204" y="732"/>
                  </a:lnTo>
                  <a:lnTo>
                    <a:pt x="204" y="738"/>
                  </a:lnTo>
                  <a:lnTo>
                    <a:pt x="198" y="738"/>
                  </a:lnTo>
                  <a:lnTo>
                    <a:pt x="198" y="744"/>
                  </a:lnTo>
                  <a:lnTo>
                    <a:pt x="198" y="750"/>
                  </a:lnTo>
                  <a:lnTo>
                    <a:pt x="192" y="756"/>
                  </a:lnTo>
                  <a:lnTo>
                    <a:pt x="186" y="762"/>
                  </a:lnTo>
                  <a:lnTo>
                    <a:pt x="186" y="768"/>
                  </a:lnTo>
                  <a:lnTo>
                    <a:pt x="186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98"/>
                  </a:lnTo>
                  <a:lnTo>
                    <a:pt x="186" y="804"/>
                  </a:lnTo>
                  <a:lnTo>
                    <a:pt x="186" y="810"/>
                  </a:lnTo>
                  <a:lnTo>
                    <a:pt x="192" y="816"/>
                  </a:lnTo>
                  <a:lnTo>
                    <a:pt x="192" y="828"/>
                  </a:lnTo>
                  <a:lnTo>
                    <a:pt x="192" y="834"/>
                  </a:lnTo>
                  <a:lnTo>
                    <a:pt x="186" y="834"/>
                  </a:lnTo>
                  <a:lnTo>
                    <a:pt x="186" y="828"/>
                  </a:lnTo>
                  <a:lnTo>
                    <a:pt x="180" y="822"/>
                  </a:lnTo>
                  <a:lnTo>
                    <a:pt x="180" y="816"/>
                  </a:lnTo>
                  <a:lnTo>
                    <a:pt x="180" y="810"/>
                  </a:lnTo>
                  <a:lnTo>
                    <a:pt x="174" y="810"/>
                  </a:lnTo>
                  <a:lnTo>
                    <a:pt x="174" y="804"/>
                  </a:lnTo>
                  <a:lnTo>
                    <a:pt x="174" y="798"/>
                  </a:lnTo>
                  <a:lnTo>
                    <a:pt x="174" y="792"/>
                  </a:lnTo>
                  <a:lnTo>
                    <a:pt x="168" y="786"/>
                  </a:lnTo>
                  <a:lnTo>
                    <a:pt x="168" y="780"/>
                  </a:lnTo>
                  <a:lnTo>
                    <a:pt x="162" y="780"/>
                  </a:lnTo>
                  <a:lnTo>
                    <a:pt x="168" y="774"/>
                  </a:lnTo>
                  <a:lnTo>
                    <a:pt x="168" y="768"/>
                  </a:lnTo>
                  <a:lnTo>
                    <a:pt x="174" y="768"/>
                  </a:lnTo>
                  <a:lnTo>
                    <a:pt x="168" y="768"/>
                  </a:lnTo>
                  <a:lnTo>
                    <a:pt x="162" y="774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50" y="774"/>
                  </a:lnTo>
                  <a:lnTo>
                    <a:pt x="144" y="774"/>
                  </a:lnTo>
                  <a:lnTo>
                    <a:pt x="144" y="768"/>
                  </a:lnTo>
                  <a:lnTo>
                    <a:pt x="144" y="762"/>
                  </a:lnTo>
                  <a:lnTo>
                    <a:pt x="138" y="756"/>
                  </a:lnTo>
                  <a:lnTo>
                    <a:pt x="132" y="756"/>
                  </a:lnTo>
                  <a:lnTo>
                    <a:pt x="138" y="756"/>
                  </a:lnTo>
                  <a:lnTo>
                    <a:pt x="138" y="762"/>
                  </a:lnTo>
                  <a:lnTo>
                    <a:pt x="138" y="768"/>
                  </a:lnTo>
                  <a:lnTo>
                    <a:pt x="144" y="768"/>
                  </a:lnTo>
                  <a:lnTo>
                    <a:pt x="144" y="774"/>
                  </a:lnTo>
                  <a:lnTo>
                    <a:pt x="150" y="780"/>
                  </a:lnTo>
                  <a:lnTo>
                    <a:pt x="156" y="780"/>
                  </a:lnTo>
                  <a:lnTo>
                    <a:pt x="156" y="786"/>
                  </a:lnTo>
                  <a:lnTo>
                    <a:pt x="162" y="786"/>
                  </a:lnTo>
                  <a:lnTo>
                    <a:pt x="168" y="792"/>
                  </a:lnTo>
                  <a:lnTo>
                    <a:pt x="168" y="798"/>
                  </a:lnTo>
                  <a:lnTo>
                    <a:pt x="168" y="804"/>
                  </a:lnTo>
                  <a:lnTo>
                    <a:pt x="174" y="810"/>
                  </a:lnTo>
                  <a:lnTo>
                    <a:pt x="174" y="816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68" y="828"/>
                  </a:lnTo>
                  <a:lnTo>
                    <a:pt x="168" y="834"/>
                  </a:lnTo>
                  <a:lnTo>
                    <a:pt x="174" y="840"/>
                  </a:lnTo>
                  <a:lnTo>
                    <a:pt x="180" y="840"/>
                  </a:lnTo>
                  <a:lnTo>
                    <a:pt x="180" y="846"/>
                  </a:lnTo>
                  <a:lnTo>
                    <a:pt x="186" y="846"/>
                  </a:lnTo>
                  <a:lnTo>
                    <a:pt x="186" y="852"/>
                  </a:lnTo>
                  <a:lnTo>
                    <a:pt x="186" y="858"/>
                  </a:lnTo>
                  <a:lnTo>
                    <a:pt x="186" y="864"/>
                  </a:lnTo>
                  <a:lnTo>
                    <a:pt x="192" y="864"/>
                  </a:lnTo>
                  <a:lnTo>
                    <a:pt x="192" y="870"/>
                  </a:lnTo>
                  <a:lnTo>
                    <a:pt x="192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6" y="888"/>
                  </a:lnTo>
                  <a:lnTo>
                    <a:pt x="180" y="888"/>
                  </a:lnTo>
                  <a:lnTo>
                    <a:pt x="174" y="888"/>
                  </a:lnTo>
                  <a:lnTo>
                    <a:pt x="168" y="894"/>
                  </a:lnTo>
                  <a:lnTo>
                    <a:pt x="162" y="894"/>
                  </a:lnTo>
                  <a:lnTo>
                    <a:pt x="156" y="894"/>
                  </a:lnTo>
                  <a:lnTo>
                    <a:pt x="150" y="894"/>
                  </a:lnTo>
                  <a:lnTo>
                    <a:pt x="144" y="894"/>
                  </a:lnTo>
                  <a:lnTo>
                    <a:pt x="144" y="900"/>
                  </a:lnTo>
                  <a:lnTo>
                    <a:pt x="138" y="894"/>
                  </a:lnTo>
                  <a:lnTo>
                    <a:pt x="138" y="900"/>
                  </a:lnTo>
                  <a:lnTo>
                    <a:pt x="132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6" y="882"/>
                  </a:lnTo>
                  <a:lnTo>
                    <a:pt x="126" y="876"/>
                  </a:lnTo>
                  <a:lnTo>
                    <a:pt x="120" y="876"/>
                  </a:lnTo>
                  <a:lnTo>
                    <a:pt x="126" y="870"/>
                  </a:lnTo>
                  <a:lnTo>
                    <a:pt x="126" y="864"/>
                  </a:lnTo>
                  <a:lnTo>
                    <a:pt x="126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26" y="828"/>
                  </a:lnTo>
                  <a:lnTo>
                    <a:pt x="126" y="822"/>
                  </a:lnTo>
                  <a:lnTo>
                    <a:pt x="126" y="816"/>
                  </a:lnTo>
                  <a:lnTo>
                    <a:pt x="126" y="810"/>
                  </a:lnTo>
                  <a:lnTo>
                    <a:pt x="126" y="804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20" y="792"/>
                  </a:lnTo>
                  <a:lnTo>
                    <a:pt x="114" y="792"/>
                  </a:lnTo>
                  <a:lnTo>
                    <a:pt x="114" y="786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96" y="780"/>
                  </a:lnTo>
                  <a:lnTo>
                    <a:pt x="96" y="774"/>
                  </a:lnTo>
                  <a:lnTo>
                    <a:pt x="90" y="774"/>
                  </a:lnTo>
                  <a:lnTo>
                    <a:pt x="90" y="768"/>
                  </a:lnTo>
                  <a:close/>
                  <a:moveTo>
                    <a:pt x="96" y="780"/>
                  </a:moveTo>
                  <a:lnTo>
                    <a:pt x="102" y="780"/>
                  </a:lnTo>
                  <a:lnTo>
                    <a:pt x="102" y="786"/>
                  </a:lnTo>
                  <a:lnTo>
                    <a:pt x="108" y="786"/>
                  </a:lnTo>
                  <a:lnTo>
                    <a:pt x="114" y="792"/>
                  </a:lnTo>
                  <a:lnTo>
                    <a:pt x="120" y="798"/>
                  </a:lnTo>
                  <a:lnTo>
                    <a:pt x="120" y="804"/>
                  </a:lnTo>
                  <a:lnTo>
                    <a:pt x="126" y="810"/>
                  </a:lnTo>
                  <a:lnTo>
                    <a:pt x="126" y="816"/>
                  </a:lnTo>
                  <a:lnTo>
                    <a:pt x="126" y="822"/>
                  </a:lnTo>
                  <a:lnTo>
                    <a:pt x="120" y="828"/>
                  </a:lnTo>
                  <a:lnTo>
                    <a:pt x="120" y="840"/>
                  </a:lnTo>
                  <a:lnTo>
                    <a:pt x="120" y="852"/>
                  </a:lnTo>
                  <a:lnTo>
                    <a:pt x="120" y="858"/>
                  </a:lnTo>
                  <a:lnTo>
                    <a:pt x="120" y="864"/>
                  </a:lnTo>
                  <a:lnTo>
                    <a:pt x="120" y="870"/>
                  </a:lnTo>
                  <a:lnTo>
                    <a:pt x="114" y="870"/>
                  </a:lnTo>
                  <a:lnTo>
                    <a:pt x="108" y="870"/>
                  </a:lnTo>
                  <a:lnTo>
                    <a:pt x="108" y="876"/>
                  </a:lnTo>
                  <a:lnTo>
                    <a:pt x="114" y="876"/>
                  </a:lnTo>
                  <a:lnTo>
                    <a:pt x="120" y="876"/>
                  </a:lnTo>
                  <a:lnTo>
                    <a:pt x="120" y="882"/>
                  </a:lnTo>
                  <a:lnTo>
                    <a:pt x="114" y="888"/>
                  </a:lnTo>
                  <a:lnTo>
                    <a:pt x="120" y="888"/>
                  </a:lnTo>
                  <a:lnTo>
                    <a:pt x="120" y="894"/>
                  </a:lnTo>
                  <a:lnTo>
                    <a:pt x="114" y="894"/>
                  </a:lnTo>
                  <a:lnTo>
                    <a:pt x="108" y="894"/>
                  </a:lnTo>
                  <a:lnTo>
                    <a:pt x="96" y="894"/>
                  </a:lnTo>
                  <a:lnTo>
                    <a:pt x="96" y="882"/>
                  </a:lnTo>
                  <a:lnTo>
                    <a:pt x="96" y="876"/>
                  </a:lnTo>
                  <a:lnTo>
                    <a:pt x="84" y="870"/>
                  </a:lnTo>
                  <a:lnTo>
                    <a:pt x="72" y="864"/>
                  </a:lnTo>
                  <a:lnTo>
                    <a:pt x="72" y="852"/>
                  </a:lnTo>
                  <a:lnTo>
                    <a:pt x="72" y="840"/>
                  </a:lnTo>
                  <a:lnTo>
                    <a:pt x="78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90" y="792"/>
                  </a:lnTo>
                  <a:lnTo>
                    <a:pt x="96" y="780"/>
                  </a:lnTo>
                  <a:close/>
                  <a:moveTo>
                    <a:pt x="492" y="810"/>
                  </a:moveTo>
                  <a:lnTo>
                    <a:pt x="498" y="810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510" y="792"/>
                  </a:lnTo>
                  <a:lnTo>
                    <a:pt x="516" y="786"/>
                  </a:lnTo>
                  <a:lnTo>
                    <a:pt x="522" y="780"/>
                  </a:lnTo>
                  <a:lnTo>
                    <a:pt x="522" y="774"/>
                  </a:lnTo>
                  <a:lnTo>
                    <a:pt x="528" y="768"/>
                  </a:lnTo>
                  <a:lnTo>
                    <a:pt x="528" y="762"/>
                  </a:lnTo>
                  <a:lnTo>
                    <a:pt x="534" y="762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46" y="780"/>
                  </a:lnTo>
                  <a:lnTo>
                    <a:pt x="552" y="786"/>
                  </a:lnTo>
                  <a:lnTo>
                    <a:pt x="558" y="786"/>
                  </a:lnTo>
                  <a:lnTo>
                    <a:pt x="564" y="786"/>
                  </a:lnTo>
                  <a:lnTo>
                    <a:pt x="576" y="786"/>
                  </a:lnTo>
                  <a:lnTo>
                    <a:pt x="582" y="786"/>
                  </a:lnTo>
                  <a:lnTo>
                    <a:pt x="588" y="786"/>
                  </a:lnTo>
                  <a:lnTo>
                    <a:pt x="594" y="786"/>
                  </a:lnTo>
                  <a:lnTo>
                    <a:pt x="588" y="792"/>
                  </a:lnTo>
                  <a:lnTo>
                    <a:pt x="588" y="798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82" y="822"/>
                  </a:lnTo>
                  <a:lnTo>
                    <a:pt x="588" y="828"/>
                  </a:lnTo>
                  <a:lnTo>
                    <a:pt x="588" y="834"/>
                  </a:lnTo>
                  <a:lnTo>
                    <a:pt x="582" y="840"/>
                  </a:lnTo>
                  <a:lnTo>
                    <a:pt x="570" y="840"/>
                  </a:lnTo>
                  <a:lnTo>
                    <a:pt x="558" y="846"/>
                  </a:lnTo>
                  <a:lnTo>
                    <a:pt x="552" y="846"/>
                  </a:lnTo>
                  <a:lnTo>
                    <a:pt x="534" y="852"/>
                  </a:lnTo>
                  <a:lnTo>
                    <a:pt x="522" y="858"/>
                  </a:lnTo>
                  <a:lnTo>
                    <a:pt x="510" y="858"/>
                  </a:lnTo>
                  <a:lnTo>
                    <a:pt x="498" y="864"/>
                  </a:lnTo>
                  <a:lnTo>
                    <a:pt x="474" y="864"/>
                  </a:lnTo>
                  <a:lnTo>
                    <a:pt x="468" y="858"/>
                  </a:lnTo>
                  <a:lnTo>
                    <a:pt x="468" y="852"/>
                  </a:lnTo>
                  <a:lnTo>
                    <a:pt x="468" y="846"/>
                  </a:lnTo>
                  <a:lnTo>
                    <a:pt x="474" y="840"/>
                  </a:lnTo>
                  <a:lnTo>
                    <a:pt x="474" y="834"/>
                  </a:lnTo>
                  <a:lnTo>
                    <a:pt x="480" y="828"/>
                  </a:lnTo>
                  <a:lnTo>
                    <a:pt x="492" y="822"/>
                  </a:lnTo>
                  <a:lnTo>
                    <a:pt x="492" y="810"/>
                  </a:lnTo>
                  <a:close/>
                  <a:moveTo>
                    <a:pt x="384" y="720"/>
                  </a:moveTo>
                  <a:lnTo>
                    <a:pt x="384" y="726"/>
                  </a:lnTo>
                  <a:lnTo>
                    <a:pt x="390" y="726"/>
                  </a:lnTo>
                  <a:lnTo>
                    <a:pt x="396" y="726"/>
                  </a:lnTo>
                  <a:lnTo>
                    <a:pt x="402" y="732"/>
                  </a:lnTo>
                  <a:lnTo>
                    <a:pt x="408" y="732"/>
                  </a:lnTo>
                  <a:lnTo>
                    <a:pt x="414" y="732"/>
                  </a:lnTo>
                  <a:lnTo>
                    <a:pt x="414" y="738"/>
                  </a:lnTo>
                  <a:lnTo>
                    <a:pt x="414" y="744"/>
                  </a:lnTo>
                  <a:lnTo>
                    <a:pt x="414" y="750"/>
                  </a:lnTo>
                  <a:lnTo>
                    <a:pt x="414" y="756"/>
                  </a:lnTo>
                  <a:lnTo>
                    <a:pt x="414" y="762"/>
                  </a:lnTo>
                  <a:lnTo>
                    <a:pt x="420" y="768"/>
                  </a:lnTo>
                  <a:lnTo>
                    <a:pt x="420" y="774"/>
                  </a:lnTo>
                  <a:lnTo>
                    <a:pt x="426" y="780"/>
                  </a:lnTo>
                  <a:lnTo>
                    <a:pt x="426" y="786"/>
                  </a:lnTo>
                  <a:lnTo>
                    <a:pt x="420" y="786"/>
                  </a:lnTo>
                  <a:lnTo>
                    <a:pt x="420" y="792"/>
                  </a:lnTo>
                  <a:lnTo>
                    <a:pt x="420" y="798"/>
                  </a:lnTo>
                  <a:lnTo>
                    <a:pt x="420" y="804"/>
                  </a:lnTo>
                  <a:lnTo>
                    <a:pt x="426" y="804"/>
                  </a:lnTo>
                  <a:lnTo>
                    <a:pt x="426" y="810"/>
                  </a:lnTo>
                  <a:lnTo>
                    <a:pt x="426" y="816"/>
                  </a:lnTo>
                  <a:lnTo>
                    <a:pt x="432" y="816"/>
                  </a:lnTo>
                  <a:lnTo>
                    <a:pt x="438" y="816"/>
                  </a:lnTo>
                  <a:lnTo>
                    <a:pt x="438" y="822"/>
                  </a:lnTo>
                  <a:lnTo>
                    <a:pt x="432" y="822"/>
                  </a:lnTo>
                  <a:lnTo>
                    <a:pt x="426" y="828"/>
                  </a:lnTo>
                  <a:lnTo>
                    <a:pt x="420" y="828"/>
                  </a:lnTo>
                  <a:lnTo>
                    <a:pt x="414" y="828"/>
                  </a:lnTo>
                  <a:lnTo>
                    <a:pt x="408" y="828"/>
                  </a:lnTo>
                  <a:lnTo>
                    <a:pt x="402" y="828"/>
                  </a:lnTo>
                  <a:lnTo>
                    <a:pt x="402" y="822"/>
                  </a:lnTo>
                  <a:lnTo>
                    <a:pt x="396" y="822"/>
                  </a:lnTo>
                  <a:lnTo>
                    <a:pt x="402" y="822"/>
                  </a:lnTo>
                  <a:lnTo>
                    <a:pt x="402" y="816"/>
                  </a:lnTo>
                  <a:lnTo>
                    <a:pt x="396" y="816"/>
                  </a:lnTo>
                  <a:lnTo>
                    <a:pt x="396" y="810"/>
                  </a:lnTo>
                  <a:lnTo>
                    <a:pt x="396" y="804"/>
                  </a:lnTo>
                  <a:lnTo>
                    <a:pt x="390" y="798"/>
                  </a:lnTo>
                  <a:lnTo>
                    <a:pt x="390" y="792"/>
                  </a:lnTo>
                  <a:lnTo>
                    <a:pt x="390" y="786"/>
                  </a:lnTo>
                  <a:lnTo>
                    <a:pt x="390" y="780"/>
                  </a:lnTo>
                  <a:lnTo>
                    <a:pt x="390" y="774"/>
                  </a:lnTo>
                  <a:lnTo>
                    <a:pt x="390" y="768"/>
                  </a:lnTo>
                  <a:lnTo>
                    <a:pt x="390" y="762"/>
                  </a:lnTo>
                  <a:lnTo>
                    <a:pt x="384" y="756"/>
                  </a:lnTo>
                  <a:lnTo>
                    <a:pt x="384" y="750"/>
                  </a:lnTo>
                  <a:lnTo>
                    <a:pt x="384" y="744"/>
                  </a:lnTo>
                  <a:lnTo>
                    <a:pt x="378" y="744"/>
                  </a:lnTo>
                  <a:lnTo>
                    <a:pt x="384" y="744"/>
                  </a:lnTo>
                  <a:lnTo>
                    <a:pt x="384" y="738"/>
                  </a:lnTo>
                  <a:lnTo>
                    <a:pt x="378" y="738"/>
                  </a:lnTo>
                  <a:lnTo>
                    <a:pt x="378" y="732"/>
                  </a:lnTo>
                  <a:lnTo>
                    <a:pt x="378" y="726"/>
                  </a:lnTo>
                  <a:lnTo>
                    <a:pt x="378" y="720"/>
                  </a:lnTo>
                  <a:lnTo>
                    <a:pt x="384" y="720"/>
                  </a:lnTo>
                  <a:close/>
                  <a:moveTo>
                    <a:pt x="330" y="738"/>
                  </a:moveTo>
                  <a:lnTo>
                    <a:pt x="336" y="732"/>
                  </a:lnTo>
                  <a:lnTo>
                    <a:pt x="336" y="726"/>
                  </a:lnTo>
                  <a:lnTo>
                    <a:pt x="342" y="720"/>
                  </a:lnTo>
                  <a:lnTo>
                    <a:pt x="348" y="720"/>
                  </a:lnTo>
                  <a:lnTo>
                    <a:pt x="360" y="720"/>
                  </a:lnTo>
                  <a:lnTo>
                    <a:pt x="366" y="726"/>
                  </a:lnTo>
                  <a:lnTo>
                    <a:pt x="372" y="732"/>
                  </a:lnTo>
                  <a:lnTo>
                    <a:pt x="372" y="738"/>
                  </a:lnTo>
                  <a:lnTo>
                    <a:pt x="366" y="750"/>
                  </a:lnTo>
                  <a:lnTo>
                    <a:pt x="372" y="756"/>
                  </a:lnTo>
                  <a:lnTo>
                    <a:pt x="372" y="762"/>
                  </a:lnTo>
                  <a:lnTo>
                    <a:pt x="372" y="768"/>
                  </a:lnTo>
                  <a:lnTo>
                    <a:pt x="372" y="774"/>
                  </a:lnTo>
                  <a:lnTo>
                    <a:pt x="372" y="780"/>
                  </a:lnTo>
                  <a:lnTo>
                    <a:pt x="372" y="774"/>
                  </a:lnTo>
                  <a:lnTo>
                    <a:pt x="366" y="768"/>
                  </a:lnTo>
                  <a:lnTo>
                    <a:pt x="366" y="762"/>
                  </a:lnTo>
                  <a:lnTo>
                    <a:pt x="366" y="756"/>
                  </a:lnTo>
                  <a:lnTo>
                    <a:pt x="360" y="756"/>
                  </a:lnTo>
                  <a:lnTo>
                    <a:pt x="360" y="750"/>
                  </a:lnTo>
                  <a:lnTo>
                    <a:pt x="354" y="750"/>
                  </a:lnTo>
                  <a:lnTo>
                    <a:pt x="348" y="744"/>
                  </a:lnTo>
                  <a:lnTo>
                    <a:pt x="342" y="744"/>
                  </a:lnTo>
                  <a:lnTo>
                    <a:pt x="336" y="744"/>
                  </a:lnTo>
                  <a:lnTo>
                    <a:pt x="330" y="73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1" name="Freeform 6">
              <a:extLst>
                <a:ext uri="{FF2B5EF4-FFF2-40B4-BE49-F238E27FC236}">
                  <a16:creationId xmlns:a16="http://schemas.microsoft.com/office/drawing/2014/main" id="{0656C385-F30A-4AC8-AE9F-B1F66208B38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3123" y="4163918"/>
              <a:ext cx="266107" cy="248252"/>
            </a:xfrm>
            <a:custGeom>
              <a:avLst/>
              <a:gdLst>
                <a:gd name="T0" fmla="*/ 33 w 504"/>
                <a:gd name="T1" fmla="*/ 41 h 468"/>
                <a:gd name="T2" fmla="*/ 26 w 504"/>
                <a:gd name="T3" fmla="*/ 39 h 468"/>
                <a:gd name="T4" fmla="*/ 21 w 504"/>
                <a:gd name="T5" fmla="*/ 38 h 468"/>
                <a:gd name="T6" fmla="*/ 18 w 504"/>
                <a:gd name="T7" fmla="*/ 38 h 468"/>
                <a:gd name="T8" fmla="*/ 15 w 504"/>
                <a:gd name="T9" fmla="*/ 39 h 468"/>
                <a:gd name="T10" fmla="*/ 12 w 504"/>
                <a:gd name="T11" fmla="*/ 38 h 468"/>
                <a:gd name="T12" fmla="*/ 9 w 504"/>
                <a:gd name="T13" fmla="*/ 37 h 468"/>
                <a:gd name="T14" fmla="*/ 7 w 504"/>
                <a:gd name="T15" fmla="*/ 32 h 468"/>
                <a:gd name="T16" fmla="*/ 6 w 504"/>
                <a:gd name="T17" fmla="*/ 26 h 468"/>
                <a:gd name="T18" fmla="*/ 3 w 504"/>
                <a:gd name="T19" fmla="*/ 24 h 468"/>
                <a:gd name="T20" fmla="*/ 1 w 504"/>
                <a:gd name="T21" fmla="*/ 24 h 468"/>
                <a:gd name="T22" fmla="*/ 2 w 504"/>
                <a:gd name="T23" fmla="*/ 18 h 468"/>
                <a:gd name="T24" fmla="*/ 1 w 504"/>
                <a:gd name="T25" fmla="*/ 17 h 468"/>
                <a:gd name="T26" fmla="*/ 0 w 504"/>
                <a:gd name="T27" fmla="*/ 17 h 468"/>
                <a:gd name="T28" fmla="*/ 0 w 504"/>
                <a:gd name="T29" fmla="*/ 15 h 468"/>
                <a:gd name="T30" fmla="*/ 2 w 504"/>
                <a:gd name="T31" fmla="*/ 12 h 468"/>
                <a:gd name="T32" fmla="*/ 4 w 504"/>
                <a:gd name="T33" fmla="*/ 10 h 468"/>
                <a:gd name="T34" fmla="*/ 6 w 504"/>
                <a:gd name="T35" fmla="*/ 8 h 468"/>
                <a:gd name="T36" fmla="*/ 8 w 504"/>
                <a:gd name="T37" fmla="*/ 8 h 468"/>
                <a:gd name="T38" fmla="*/ 10 w 504"/>
                <a:gd name="T39" fmla="*/ 9 h 468"/>
                <a:gd name="T40" fmla="*/ 12 w 504"/>
                <a:gd name="T41" fmla="*/ 10 h 468"/>
                <a:gd name="T42" fmla="*/ 12 w 504"/>
                <a:gd name="T43" fmla="*/ 11 h 468"/>
                <a:gd name="T44" fmla="*/ 14 w 504"/>
                <a:gd name="T45" fmla="*/ 8 h 468"/>
                <a:gd name="T46" fmla="*/ 15 w 504"/>
                <a:gd name="T47" fmla="*/ 7 h 468"/>
                <a:gd name="T48" fmla="*/ 17 w 504"/>
                <a:gd name="T49" fmla="*/ 6 h 468"/>
                <a:gd name="T50" fmla="*/ 19 w 504"/>
                <a:gd name="T51" fmla="*/ 3 h 468"/>
                <a:gd name="T52" fmla="*/ 20 w 504"/>
                <a:gd name="T53" fmla="*/ 2 h 468"/>
                <a:gd name="T54" fmla="*/ 22 w 504"/>
                <a:gd name="T55" fmla="*/ 1 h 468"/>
                <a:gd name="T56" fmla="*/ 27 w 504"/>
                <a:gd name="T57" fmla="*/ 1 h 468"/>
                <a:gd name="T58" fmla="*/ 30 w 504"/>
                <a:gd name="T59" fmla="*/ 2 h 468"/>
                <a:gd name="T60" fmla="*/ 31 w 504"/>
                <a:gd name="T61" fmla="*/ 2 h 468"/>
                <a:gd name="T62" fmla="*/ 34 w 504"/>
                <a:gd name="T63" fmla="*/ 0 h 468"/>
                <a:gd name="T64" fmla="*/ 37 w 504"/>
                <a:gd name="T65" fmla="*/ 1 h 468"/>
                <a:gd name="T66" fmla="*/ 41 w 504"/>
                <a:gd name="T67" fmla="*/ 2 h 468"/>
                <a:gd name="T68" fmla="*/ 42 w 504"/>
                <a:gd name="T69" fmla="*/ 4 h 468"/>
                <a:gd name="T70" fmla="*/ 42 w 504"/>
                <a:gd name="T71" fmla="*/ 10 h 468"/>
                <a:gd name="T72" fmla="*/ 41 w 504"/>
                <a:gd name="T73" fmla="*/ 14 h 468"/>
                <a:gd name="T74" fmla="*/ 42 w 504"/>
                <a:gd name="T75" fmla="*/ 15 h 468"/>
                <a:gd name="T76" fmla="*/ 44 w 504"/>
                <a:gd name="T77" fmla="*/ 18 h 468"/>
                <a:gd name="T78" fmla="*/ 43 w 504"/>
                <a:gd name="T79" fmla="*/ 19 h 468"/>
                <a:gd name="T80" fmla="*/ 42 w 504"/>
                <a:gd name="T81" fmla="*/ 21 h 468"/>
                <a:gd name="T82" fmla="*/ 42 w 504"/>
                <a:gd name="T83" fmla="*/ 23 h 468"/>
                <a:gd name="T84" fmla="*/ 39 w 504"/>
                <a:gd name="T85" fmla="*/ 27 h 468"/>
                <a:gd name="T86" fmla="*/ 38 w 504"/>
                <a:gd name="T87" fmla="*/ 29 h 468"/>
                <a:gd name="T88" fmla="*/ 38 w 504"/>
                <a:gd name="T89" fmla="*/ 31 h 468"/>
                <a:gd name="T90" fmla="*/ 36 w 504"/>
                <a:gd name="T91" fmla="*/ 32 h 468"/>
                <a:gd name="T92" fmla="*/ 35 w 504"/>
                <a:gd name="T93" fmla="*/ 34 h 468"/>
                <a:gd name="T94" fmla="*/ 34 w 504"/>
                <a:gd name="T95" fmla="*/ 38 h 46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04"/>
                <a:gd name="T145" fmla="*/ 0 h 468"/>
                <a:gd name="T146" fmla="*/ 504 w 504"/>
                <a:gd name="T147" fmla="*/ 468 h 46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04" h="468">
                  <a:moveTo>
                    <a:pt x="390" y="456"/>
                  </a:moveTo>
                  <a:lnTo>
                    <a:pt x="384" y="468"/>
                  </a:lnTo>
                  <a:lnTo>
                    <a:pt x="378" y="468"/>
                  </a:lnTo>
                  <a:lnTo>
                    <a:pt x="354" y="468"/>
                  </a:lnTo>
                  <a:lnTo>
                    <a:pt x="348" y="462"/>
                  </a:lnTo>
                  <a:lnTo>
                    <a:pt x="300" y="456"/>
                  </a:lnTo>
                  <a:lnTo>
                    <a:pt x="270" y="444"/>
                  </a:lnTo>
                  <a:lnTo>
                    <a:pt x="252" y="438"/>
                  </a:lnTo>
                  <a:lnTo>
                    <a:pt x="240" y="438"/>
                  </a:lnTo>
                  <a:lnTo>
                    <a:pt x="234" y="438"/>
                  </a:lnTo>
                  <a:lnTo>
                    <a:pt x="228" y="444"/>
                  </a:lnTo>
                  <a:lnTo>
                    <a:pt x="210" y="444"/>
                  </a:lnTo>
                  <a:lnTo>
                    <a:pt x="198" y="444"/>
                  </a:lnTo>
                  <a:lnTo>
                    <a:pt x="198" y="450"/>
                  </a:lnTo>
                  <a:lnTo>
                    <a:pt x="168" y="456"/>
                  </a:lnTo>
                  <a:lnTo>
                    <a:pt x="150" y="450"/>
                  </a:lnTo>
                  <a:lnTo>
                    <a:pt x="144" y="444"/>
                  </a:lnTo>
                  <a:lnTo>
                    <a:pt x="132" y="438"/>
                  </a:lnTo>
                  <a:lnTo>
                    <a:pt x="138" y="432"/>
                  </a:lnTo>
                  <a:lnTo>
                    <a:pt x="114" y="432"/>
                  </a:lnTo>
                  <a:lnTo>
                    <a:pt x="102" y="426"/>
                  </a:lnTo>
                  <a:lnTo>
                    <a:pt x="90" y="414"/>
                  </a:lnTo>
                  <a:lnTo>
                    <a:pt x="72" y="402"/>
                  </a:lnTo>
                  <a:lnTo>
                    <a:pt x="78" y="366"/>
                  </a:lnTo>
                  <a:lnTo>
                    <a:pt x="78" y="330"/>
                  </a:lnTo>
                  <a:lnTo>
                    <a:pt x="66" y="318"/>
                  </a:lnTo>
                  <a:lnTo>
                    <a:pt x="66" y="300"/>
                  </a:lnTo>
                  <a:lnTo>
                    <a:pt x="66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30" y="282"/>
                  </a:lnTo>
                  <a:lnTo>
                    <a:pt x="24" y="282"/>
                  </a:lnTo>
                  <a:lnTo>
                    <a:pt x="12" y="276"/>
                  </a:lnTo>
                  <a:lnTo>
                    <a:pt x="0" y="282"/>
                  </a:lnTo>
                  <a:lnTo>
                    <a:pt x="12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2" y="198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6" y="180"/>
                  </a:lnTo>
                  <a:lnTo>
                    <a:pt x="12" y="186"/>
                  </a:lnTo>
                  <a:lnTo>
                    <a:pt x="18" y="138"/>
                  </a:lnTo>
                  <a:lnTo>
                    <a:pt x="24" y="126"/>
                  </a:lnTo>
                  <a:lnTo>
                    <a:pt x="30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20" y="102"/>
                  </a:lnTo>
                  <a:lnTo>
                    <a:pt x="126" y="108"/>
                  </a:lnTo>
                  <a:lnTo>
                    <a:pt x="126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0"/>
                  </a:lnTo>
                  <a:lnTo>
                    <a:pt x="156" y="96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16" y="42"/>
                  </a:lnTo>
                  <a:lnTo>
                    <a:pt x="222" y="36"/>
                  </a:lnTo>
                  <a:lnTo>
                    <a:pt x="228" y="36"/>
                  </a:lnTo>
                  <a:lnTo>
                    <a:pt x="228" y="30"/>
                  </a:lnTo>
                  <a:lnTo>
                    <a:pt x="228" y="24"/>
                  </a:lnTo>
                  <a:lnTo>
                    <a:pt x="246" y="18"/>
                  </a:lnTo>
                  <a:lnTo>
                    <a:pt x="252" y="18"/>
                  </a:lnTo>
                  <a:lnTo>
                    <a:pt x="258" y="12"/>
                  </a:lnTo>
                  <a:lnTo>
                    <a:pt x="270" y="6"/>
                  </a:lnTo>
                  <a:lnTo>
                    <a:pt x="288" y="6"/>
                  </a:lnTo>
                  <a:lnTo>
                    <a:pt x="312" y="12"/>
                  </a:lnTo>
                  <a:lnTo>
                    <a:pt x="324" y="12"/>
                  </a:lnTo>
                  <a:lnTo>
                    <a:pt x="336" y="18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14" y="12"/>
                  </a:lnTo>
                  <a:lnTo>
                    <a:pt x="426" y="12"/>
                  </a:lnTo>
                  <a:lnTo>
                    <a:pt x="444" y="18"/>
                  </a:lnTo>
                  <a:lnTo>
                    <a:pt x="462" y="18"/>
                  </a:lnTo>
                  <a:lnTo>
                    <a:pt x="474" y="18"/>
                  </a:lnTo>
                  <a:lnTo>
                    <a:pt x="480" y="18"/>
                  </a:lnTo>
                  <a:lnTo>
                    <a:pt x="486" y="36"/>
                  </a:lnTo>
                  <a:lnTo>
                    <a:pt x="480" y="42"/>
                  </a:lnTo>
                  <a:lnTo>
                    <a:pt x="480" y="54"/>
                  </a:lnTo>
                  <a:lnTo>
                    <a:pt x="486" y="78"/>
                  </a:lnTo>
                  <a:lnTo>
                    <a:pt x="486" y="114"/>
                  </a:lnTo>
                  <a:lnTo>
                    <a:pt x="486" y="150"/>
                  </a:lnTo>
                  <a:lnTo>
                    <a:pt x="468" y="150"/>
                  </a:lnTo>
                  <a:lnTo>
                    <a:pt x="474" y="162"/>
                  </a:lnTo>
                  <a:lnTo>
                    <a:pt x="480" y="162"/>
                  </a:lnTo>
                  <a:lnTo>
                    <a:pt x="486" y="174"/>
                  </a:lnTo>
                  <a:lnTo>
                    <a:pt x="492" y="174"/>
                  </a:lnTo>
                  <a:lnTo>
                    <a:pt x="492" y="192"/>
                  </a:lnTo>
                  <a:lnTo>
                    <a:pt x="498" y="198"/>
                  </a:lnTo>
                  <a:lnTo>
                    <a:pt x="504" y="204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8" y="222"/>
                  </a:lnTo>
                  <a:lnTo>
                    <a:pt x="492" y="228"/>
                  </a:lnTo>
                  <a:lnTo>
                    <a:pt x="492" y="234"/>
                  </a:lnTo>
                  <a:lnTo>
                    <a:pt x="492" y="240"/>
                  </a:lnTo>
                  <a:lnTo>
                    <a:pt x="486" y="246"/>
                  </a:lnTo>
                  <a:lnTo>
                    <a:pt x="486" y="258"/>
                  </a:lnTo>
                  <a:lnTo>
                    <a:pt x="480" y="264"/>
                  </a:lnTo>
                  <a:lnTo>
                    <a:pt x="474" y="276"/>
                  </a:lnTo>
                  <a:lnTo>
                    <a:pt x="468" y="288"/>
                  </a:lnTo>
                  <a:lnTo>
                    <a:pt x="456" y="306"/>
                  </a:lnTo>
                  <a:lnTo>
                    <a:pt x="456" y="312"/>
                  </a:lnTo>
                  <a:lnTo>
                    <a:pt x="444" y="318"/>
                  </a:lnTo>
                  <a:lnTo>
                    <a:pt x="432" y="336"/>
                  </a:lnTo>
                  <a:lnTo>
                    <a:pt x="432" y="342"/>
                  </a:lnTo>
                  <a:lnTo>
                    <a:pt x="432" y="348"/>
                  </a:lnTo>
                  <a:lnTo>
                    <a:pt x="432" y="354"/>
                  </a:lnTo>
                  <a:lnTo>
                    <a:pt x="426" y="366"/>
                  </a:lnTo>
                  <a:lnTo>
                    <a:pt x="420" y="366"/>
                  </a:lnTo>
                  <a:lnTo>
                    <a:pt x="420" y="372"/>
                  </a:lnTo>
                  <a:lnTo>
                    <a:pt x="414" y="378"/>
                  </a:lnTo>
                  <a:lnTo>
                    <a:pt x="414" y="390"/>
                  </a:lnTo>
                  <a:lnTo>
                    <a:pt x="408" y="390"/>
                  </a:lnTo>
                  <a:lnTo>
                    <a:pt x="408" y="402"/>
                  </a:lnTo>
                  <a:lnTo>
                    <a:pt x="402" y="414"/>
                  </a:lnTo>
                  <a:lnTo>
                    <a:pt x="396" y="438"/>
                  </a:lnTo>
                  <a:lnTo>
                    <a:pt x="396" y="444"/>
                  </a:lnTo>
                  <a:lnTo>
                    <a:pt x="390" y="45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11" name="Freeform 7">
              <a:extLst>
                <a:ext uri="{FF2B5EF4-FFF2-40B4-BE49-F238E27FC236}">
                  <a16:creationId xmlns:a16="http://schemas.microsoft.com/office/drawing/2014/main" id="{0D8DE62D-4554-4314-9F3A-7208D89B4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90838" y="4128134"/>
              <a:ext cx="283995" cy="411516"/>
            </a:xfrm>
            <a:custGeom>
              <a:avLst/>
              <a:gdLst>
                <a:gd name="T0" fmla="*/ 39 w 534"/>
                <a:gd name="T1" fmla="*/ 35 h 774"/>
                <a:gd name="T2" fmla="*/ 35 w 534"/>
                <a:gd name="T3" fmla="*/ 31 h 774"/>
                <a:gd name="T4" fmla="*/ 32 w 534"/>
                <a:gd name="T5" fmla="*/ 29 h 774"/>
                <a:gd name="T6" fmla="*/ 32 w 534"/>
                <a:gd name="T7" fmla="*/ 31 h 774"/>
                <a:gd name="T8" fmla="*/ 29 w 534"/>
                <a:gd name="T9" fmla="*/ 33 h 774"/>
                <a:gd name="T10" fmla="*/ 27 w 534"/>
                <a:gd name="T11" fmla="*/ 36 h 774"/>
                <a:gd name="T12" fmla="*/ 30 w 534"/>
                <a:gd name="T13" fmla="*/ 38 h 774"/>
                <a:gd name="T14" fmla="*/ 29 w 534"/>
                <a:gd name="T15" fmla="*/ 40 h 774"/>
                <a:gd name="T16" fmla="*/ 25 w 534"/>
                <a:gd name="T17" fmla="*/ 40 h 774"/>
                <a:gd name="T18" fmla="*/ 23 w 534"/>
                <a:gd name="T19" fmla="*/ 42 h 774"/>
                <a:gd name="T20" fmla="*/ 22 w 534"/>
                <a:gd name="T21" fmla="*/ 47 h 774"/>
                <a:gd name="T22" fmla="*/ 22 w 534"/>
                <a:gd name="T23" fmla="*/ 51 h 774"/>
                <a:gd name="T24" fmla="*/ 22 w 534"/>
                <a:gd name="T25" fmla="*/ 54 h 774"/>
                <a:gd name="T26" fmla="*/ 21 w 534"/>
                <a:gd name="T27" fmla="*/ 56 h 774"/>
                <a:gd name="T28" fmla="*/ 19 w 534"/>
                <a:gd name="T29" fmla="*/ 58 h 774"/>
                <a:gd name="T30" fmla="*/ 20 w 534"/>
                <a:gd name="T31" fmla="*/ 59 h 774"/>
                <a:gd name="T32" fmla="*/ 19 w 534"/>
                <a:gd name="T33" fmla="*/ 62 h 774"/>
                <a:gd name="T34" fmla="*/ 19 w 534"/>
                <a:gd name="T35" fmla="*/ 64 h 774"/>
                <a:gd name="T36" fmla="*/ 20 w 534"/>
                <a:gd name="T37" fmla="*/ 66 h 774"/>
                <a:gd name="T38" fmla="*/ 17 w 534"/>
                <a:gd name="T39" fmla="*/ 66 h 774"/>
                <a:gd name="T40" fmla="*/ 16 w 534"/>
                <a:gd name="T41" fmla="*/ 65 h 774"/>
                <a:gd name="T42" fmla="*/ 13 w 534"/>
                <a:gd name="T43" fmla="*/ 65 h 774"/>
                <a:gd name="T44" fmla="*/ 11 w 534"/>
                <a:gd name="T45" fmla="*/ 65 h 774"/>
                <a:gd name="T46" fmla="*/ 8 w 534"/>
                <a:gd name="T47" fmla="*/ 65 h 774"/>
                <a:gd name="T48" fmla="*/ 8 w 534"/>
                <a:gd name="T49" fmla="*/ 64 h 774"/>
                <a:gd name="T50" fmla="*/ 5 w 534"/>
                <a:gd name="T51" fmla="*/ 65 h 774"/>
                <a:gd name="T52" fmla="*/ 3 w 534"/>
                <a:gd name="T53" fmla="*/ 65 h 774"/>
                <a:gd name="T54" fmla="*/ 0 w 534"/>
                <a:gd name="T55" fmla="*/ 64 h 774"/>
                <a:gd name="T56" fmla="*/ 0 w 534"/>
                <a:gd name="T57" fmla="*/ 62 h 774"/>
                <a:gd name="T58" fmla="*/ 3 w 534"/>
                <a:gd name="T59" fmla="*/ 60 h 774"/>
                <a:gd name="T60" fmla="*/ 6 w 534"/>
                <a:gd name="T61" fmla="*/ 57 h 774"/>
                <a:gd name="T62" fmla="*/ 8 w 534"/>
                <a:gd name="T63" fmla="*/ 50 h 774"/>
                <a:gd name="T64" fmla="*/ 6 w 534"/>
                <a:gd name="T65" fmla="*/ 45 h 774"/>
                <a:gd name="T66" fmla="*/ 8 w 534"/>
                <a:gd name="T67" fmla="*/ 41 h 774"/>
                <a:gd name="T68" fmla="*/ 9 w 534"/>
                <a:gd name="T69" fmla="*/ 38 h 774"/>
                <a:gd name="T70" fmla="*/ 10 w 534"/>
                <a:gd name="T71" fmla="*/ 36 h 774"/>
                <a:gd name="T72" fmla="*/ 12 w 534"/>
                <a:gd name="T73" fmla="*/ 33 h 774"/>
                <a:gd name="T74" fmla="*/ 14 w 534"/>
                <a:gd name="T75" fmla="*/ 29 h 774"/>
                <a:gd name="T76" fmla="*/ 16 w 534"/>
                <a:gd name="T77" fmla="*/ 26 h 774"/>
                <a:gd name="T78" fmla="*/ 16 w 534"/>
                <a:gd name="T79" fmla="*/ 24 h 774"/>
                <a:gd name="T80" fmla="*/ 16 w 534"/>
                <a:gd name="T81" fmla="*/ 21 h 774"/>
                <a:gd name="T82" fmla="*/ 13 w 534"/>
                <a:gd name="T83" fmla="*/ 19 h 774"/>
                <a:gd name="T84" fmla="*/ 14 w 534"/>
                <a:gd name="T85" fmla="*/ 10 h 774"/>
                <a:gd name="T86" fmla="*/ 14 w 534"/>
                <a:gd name="T87" fmla="*/ 7 h 774"/>
                <a:gd name="T88" fmla="*/ 8 w 534"/>
                <a:gd name="T89" fmla="*/ 7 h 774"/>
                <a:gd name="T90" fmla="*/ 7 w 534"/>
                <a:gd name="T91" fmla="*/ 3 h 774"/>
                <a:gd name="T92" fmla="*/ 11 w 534"/>
                <a:gd name="T93" fmla="*/ 1 h 774"/>
                <a:gd name="T94" fmla="*/ 12 w 534"/>
                <a:gd name="T95" fmla="*/ 0 h 774"/>
                <a:gd name="T96" fmla="*/ 16 w 534"/>
                <a:gd name="T97" fmla="*/ 2 h 774"/>
                <a:gd name="T98" fmla="*/ 20 w 534"/>
                <a:gd name="T99" fmla="*/ 2 h 774"/>
                <a:gd name="T100" fmla="*/ 23 w 534"/>
                <a:gd name="T101" fmla="*/ 3 h 774"/>
                <a:gd name="T102" fmla="*/ 23 w 534"/>
                <a:gd name="T103" fmla="*/ 10 h 774"/>
                <a:gd name="T104" fmla="*/ 29 w 534"/>
                <a:gd name="T105" fmla="*/ 12 h 774"/>
                <a:gd name="T106" fmla="*/ 35 w 534"/>
                <a:gd name="T107" fmla="*/ 12 h 774"/>
                <a:gd name="T108" fmla="*/ 38 w 534"/>
                <a:gd name="T109" fmla="*/ 17 h 774"/>
                <a:gd name="T110" fmla="*/ 40 w 534"/>
                <a:gd name="T111" fmla="*/ 19 h 774"/>
                <a:gd name="T112" fmla="*/ 44 w 534"/>
                <a:gd name="T113" fmla="*/ 23 h 774"/>
                <a:gd name="T114" fmla="*/ 44 w 534"/>
                <a:gd name="T115" fmla="*/ 30 h 774"/>
                <a:gd name="T116" fmla="*/ 46 w 534"/>
                <a:gd name="T117" fmla="*/ 36 h 774"/>
                <a:gd name="T118" fmla="*/ 41 w 534"/>
                <a:gd name="T119" fmla="*/ 37 h 77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34"/>
                <a:gd name="T181" fmla="*/ 0 h 774"/>
                <a:gd name="T182" fmla="*/ 534 w 534"/>
                <a:gd name="T183" fmla="*/ 774 h 77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34" h="774">
                  <a:moveTo>
                    <a:pt x="462" y="426"/>
                  </a:moveTo>
                  <a:lnTo>
                    <a:pt x="462" y="414"/>
                  </a:lnTo>
                  <a:lnTo>
                    <a:pt x="450" y="402"/>
                  </a:lnTo>
                  <a:lnTo>
                    <a:pt x="444" y="396"/>
                  </a:lnTo>
                  <a:lnTo>
                    <a:pt x="420" y="396"/>
                  </a:lnTo>
                  <a:lnTo>
                    <a:pt x="408" y="390"/>
                  </a:lnTo>
                  <a:lnTo>
                    <a:pt x="402" y="366"/>
                  </a:lnTo>
                  <a:lnTo>
                    <a:pt x="390" y="354"/>
                  </a:lnTo>
                  <a:lnTo>
                    <a:pt x="384" y="336"/>
                  </a:lnTo>
                  <a:lnTo>
                    <a:pt x="378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8" y="348"/>
                  </a:lnTo>
                  <a:lnTo>
                    <a:pt x="360" y="354"/>
                  </a:lnTo>
                  <a:lnTo>
                    <a:pt x="360" y="390"/>
                  </a:lnTo>
                  <a:lnTo>
                    <a:pt x="348" y="390"/>
                  </a:lnTo>
                  <a:lnTo>
                    <a:pt x="342" y="384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90"/>
                  </a:lnTo>
                  <a:lnTo>
                    <a:pt x="312" y="402"/>
                  </a:lnTo>
                  <a:lnTo>
                    <a:pt x="306" y="420"/>
                  </a:lnTo>
                  <a:lnTo>
                    <a:pt x="324" y="414"/>
                  </a:lnTo>
                  <a:lnTo>
                    <a:pt x="330" y="414"/>
                  </a:lnTo>
                  <a:lnTo>
                    <a:pt x="336" y="420"/>
                  </a:lnTo>
                  <a:lnTo>
                    <a:pt x="336" y="432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6"/>
                  </a:lnTo>
                  <a:lnTo>
                    <a:pt x="318" y="456"/>
                  </a:lnTo>
                  <a:lnTo>
                    <a:pt x="300" y="456"/>
                  </a:lnTo>
                  <a:lnTo>
                    <a:pt x="288" y="462"/>
                  </a:lnTo>
                  <a:lnTo>
                    <a:pt x="276" y="462"/>
                  </a:lnTo>
                  <a:lnTo>
                    <a:pt x="270" y="462"/>
                  </a:lnTo>
                  <a:lnTo>
                    <a:pt x="270" y="468"/>
                  </a:lnTo>
                  <a:lnTo>
                    <a:pt x="252" y="468"/>
                  </a:lnTo>
                  <a:lnTo>
                    <a:pt x="258" y="480"/>
                  </a:lnTo>
                  <a:lnTo>
                    <a:pt x="258" y="492"/>
                  </a:lnTo>
                  <a:lnTo>
                    <a:pt x="258" y="498"/>
                  </a:lnTo>
                  <a:lnTo>
                    <a:pt x="258" y="510"/>
                  </a:lnTo>
                  <a:lnTo>
                    <a:pt x="252" y="540"/>
                  </a:lnTo>
                  <a:lnTo>
                    <a:pt x="246" y="564"/>
                  </a:lnTo>
                  <a:lnTo>
                    <a:pt x="246" y="570"/>
                  </a:lnTo>
                  <a:lnTo>
                    <a:pt x="252" y="576"/>
                  </a:lnTo>
                  <a:lnTo>
                    <a:pt x="246" y="582"/>
                  </a:lnTo>
                  <a:lnTo>
                    <a:pt x="252" y="600"/>
                  </a:lnTo>
                  <a:lnTo>
                    <a:pt x="258" y="606"/>
                  </a:lnTo>
                  <a:lnTo>
                    <a:pt x="258" y="612"/>
                  </a:lnTo>
                  <a:lnTo>
                    <a:pt x="252" y="618"/>
                  </a:lnTo>
                  <a:lnTo>
                    <a:pt x="246" y="624"/>
                  </a:lnTo>
                  <a:lnTo>
                    <a:pt x="246" y="630"/>
                  </a:lnTo>
                  <a:lnTo>
                    <a:pt x="246" y="636"/>
                  </a:lnTo>
                  <a:lnTo>
                    <a:pt x="240" y="642"/>
                  </a:lnTo>
                  <a:lnTo>
                    <a:pt x="234" y="654"/>
                  </a:lnTo>
                  <a:lnTo>
                    <a:pt x="228" y="654"/>
                  </a:lnTo>
                  <a:lnTo>
                    <a:pt x="222" y="660"/>
                  </a:lnTo>
                  <a:lnTo>
                    <a:pt x="216" y="666"/>
                  </a:lnTo>
                  <a:lnTo>
                    <a:pt x="210" y="666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22" y="684"/>
                  </a:lnTo>
                  <a:lnTo>
                    <a:pt x="222" y="690"/>
                  </a:lnTo>
                  <a:lnTo>
                    <a:pt x="222" y="696"/>
                  </a:lnTo>
                  <a:lnTo>
                    <a:pt x="222" y="702"/>
                  </a:lnTo>
                  <a:lnTo>
                    <a:pt x="216" y="708"/>
                  </a:lnTo>
                  <a:lnTo>
                    <a:pt x="210" y="720"/>
                  </a:lnTo>
                  <a:lnTo>
                    <a:pt x="216" y="732"/>
                  </a:lnTo>
                  <a:lnTo>
                    <a:pt x="210" y="732"/>
                  </a:lnTo>
                  <a:lnTo>
                    <a:pt x="216" y="738"/>
                  </a:lnTo>
                  <a:lnTo>
                    <a:pt x="216" y="744"/>
                  </a:lnTo>
                  <a:lnTo>
                    <a:pt x="222" y="750"/>
                  </a:lnTo>
                  <a:lnTo>
                    <a:pt x="228" y="756"/>
                  </a:lnTo>
                  <a:lnTo>
                    <a:pt x="222" y="762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04" y="762"/>
                  </a:lnTo>
                  <a:lnTo>
                    <a:pt x="198" y="762"/>
                  </a:lnTo>
                  <a:lnTo>
                    <a:pt x="192" y="762"/>
                  </a:lnTo>
                  <a:lnTo>
                    <a:pt x="186" y="756"/>
                  </a:lnTo>
                  <a:lnTo>
                    <a:pt x="180" y="750"/>
                  </a:lnTo>
                  <a:lnTo>
                    <a:pt x="180" y="744"/>
                  </a:lnTo>
                  <a:lnTo>
                    <a:pt x="174" y="744"/>
                  </a:lnTo>
                  <a:lnTo>
                    <a:pt x="156" y="750"/>
                  </a:lnTo>
                  <a:lnTo>
                    <a:pt x="150" y="750"/>
                  </a:lnTo>
                  <a:lnTo>
                    <a:pt x="144" y="750"/>
                  </a:lnTo>
                  <a:lnTo>
                    <a:pt x="138" y="750"/>
                  </a:lnTo>
                  <a:lnTo>
                    <a:pt x="138" y="744"/>
                  </a:lnTo>
                  <a:lnTo>
                    <a:pt x="132" y="744"/>
                  </a:lnTo>
                  <a:lnTo>
                    <a:pt x="120" y="744"/>
                  </a:lnTo>
                  <a:lnTo>
                    <a:pt x="114" y="738"/>
                  </a:lnTo>
                  <a:lnTo>
                    <a:pt x="108" y="744"/>
                  </a:lnTo>
                  <a:lnTo>
                    <a:pt x="102" y="744"/>
                  </a:lnTo>
                  <a:lnTo>
                    <a:pt x="96" y="744"/>
                  </a:lnTo>
                  <a:lnTo>
                    <a:pt x="96" y="738"/>
                  </a:lnTo>
                  <a:lnTo>
                    <a:pt x="96" y="744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44"/>
                  </a:lnTo>
                  <a:lnTo>
                    <a:pt x="72" y="750"/>
                  </a:lnTo>
                  <a:lnTo>
                    <a:pt x="66" y="750"/>
                  </a:lnTo>
                  <a:lnTo>
                    <a:pt x="60" y="750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0"/>
                  </a:lnTo>
                  <a:lnTo>
                    <a:pt x="30" y="750"/>
                  </a:lnTo>
                  <a:lnTo>
                    <a:pt x="24" y="744"/>
                  </a:lnTo>
                  <a:lnTo>
                    <a:pt x="18" y="738"/>
                  </a:lnTo>
                  <a:lnTo>
                    <a:pt x="6" y="738"/>
                  </a:lnTo>
                  <a:lnTo>
                    <a:pt x="0" y="732"/>
                  </a:lnTo>
                  <a:lnTo>
                    <a:pt x="0" y="726"/>
                  </a:lnTo>
                  <a:lnTo>
                    <a:pt x="0" y="720"/>
                  </a:lnTo>
                  <a:lnTo>
                    <a:pt x="6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8" y="702"/>
                  </a:lnTo>
                  <a:lnTo>
                    <a:pt x="24" y="696"/>
                  </a:lnTo>
                  <a:lnTo>
                    <a:pt x="30" y="696"/>
                  </a:lnTo>
                  <a:lnTo>
                    <a:pt x="48" y="690"/>
                  </a:lnTo>
                  <a:lnTo>
                    <a:pt x="54" y="678"/>
                  </a:lnTo>
                  <a:lnTo>
                    <a:pt x="66" y="672"/>
                  </a:lnTo>
                  <a:lnTo>
                    <a:pt x="66" y="654"/>
                  </a:lnTo>
                  <a:lnTo>
                    <a:pt x="72" y="636"/>
                  </a:lnTo>
                  <a:lnTo>
                    <a:pt x="72" y="612"/>
                  </a:lnTo>
                  <a:lnTo>
                    <a:pt x="84" y="594"/>
                  </a:lnTo>
                  <a:lnTo>
                    <a:pt x="90" y="576"/>
                  </a:lnTo>
                  <a:lnTo>
                    <a:pt x="96" y="552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72" y="522"/>
                  </a:lnTo>
                  <a:lnTo>
                    <a:pt x="78" y="510"/>
                  </a:lnTo>
                  <a:lnTo>
                    <a:pt x="78" y="504"/>
                  </a:lnTo>
                  <a:lnTo>
                    <a:pt x="84" y="480"/>
                  </a:lnTo>
                  <a:lnTo>
                    <a:pt x="90" y="468"/>
                  </a:lnTo>
                  <a:lnTo>
                    <a:pt x="90" y="456"/>
                  </a:lnTo>
                  <a:lnTo>
                    <a:pt x="96" y="456"/>
                  </a:lnTo>
                  <a:lnTo>
                    <a:pt x="96" y="444"/>
                  </a:lnTo>
                  <a:lnTo>
                    <a:pt x="102" y="438"/>
                  </a:lnTo>
                  <a:lnTo>
                    <a:pt x="102" y="432"/>
                  </a:lnTo>
                  <a:lnTo>
                    <a:pt x="108" y="432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14" y="408"/>
                  </a:lnTo>
                  <a:lnTo>
                    <a:pt x="114" y="402"/>
                  </a:lnTo>
                  <a:lnTo>
                    <a:pt x="126" y="384"/>
                  </a:lnTo>
                  <a:lnTo>
                    <a:pt x="138" y="378"/>
                  </a:lnTo>
                  <a:lnTo>
                    <a:pt x="138" y="372"/>
                  </a:lnTo>
                  <a:lnTo>
                    <a:pt x="150" y="354"/>
                  </a:lnTo>
                  <a:lnTo>
                    <a:pt x="156" y="342"/>
                  </a:lnTo>
                  <a:lnTo>
                    <a:pt x="162" y="330"/>
                  </a:lnTo>
                  <a:lnTo>
                    <a:pt x="168" y="324"/>
                  </a:lnTo>
                  <a:lnTo>
                    <a:pt x="168" y="312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74" y="294"/>
                  </a:lnTo>
                  <a:lnTo>
                    <a:pt x="180" y="288"/>
                  </a:lnTo>
                  <a:lnTo>
                    <a:pt x="180" y="276"/>
                  </a:lnTo>
                  <a:lnTo>
                    <a:pt x="186" y="276"/>
                  </a:lnTo>
                  <a:lnTo>
                    <a:pt x="186" y="270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40"/>
                  </a:lnTo>
                  <a:lnTo>
                    <a:pt x="168" y="240"/>
                  </a:lnTo>
                  <a:lnTo>
                    <a:pt x="162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68" y="216"/>
                  </a:lnTo>
                  <a:lnTo>
                    <a:pt x="168" y="180"/>
                  </a:lnTo>
                  <a:lnTo>
                    <a:pt x="168" y="144"/>
                  </a:lnTo>
                  <a:lnTo>
                    <a:pt x="162" y="120"/>
                  </a:lnTo>
                  <a:lnTo>
                    <a:pt x="162" y="108"/>
                  </a:lnTo>
                  <a:lnTo>
                    <a:pt x="168" y="102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44" y="84"/>
                  </a:lnTo>
                  <a:lnTo>
                    <a:pt x="126" y="84"/>
                  </a:lnTo>
                  <a:lnTo>
                    <a:pt x="108" y="78"/>
                  </a:lnTo>
                  <a:lnTo>
                    <a:pt x="96" y="78"/>
                  </a:lnTo>
                  <a:lnTo>
                    <a:pt x="78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8" y="36"/>
                  </a:lnTo>
                  <a:lnTo>
                    <a:pt x="96" y="24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56" y="0"/>
                  </a:lnTo>
                  <a:lnTo>
                    <a:pt x="156" y="6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18"/>
                  </a:lnTo>
                  <a:lnTo>
                    <a:pt x="198" y="18"/>
                  </a:lnTo>
                  <a:lnTo>
                    <a:pt x="210" y="18"/>
                  </a:lnTo>
                  <a:lnTo>
                    <a:pt x="222" y="18"/>
                  </a:lnTo>
                  <a:lnTo>
                    <a:pt x="234" y="12"/>
                  </a:lnTo>
                  <a:lnTo>
                    <a:pt x="252" y="18"/>
                  </a:lnTo>
                  <a:lnTo>
                    <a:pt x="252" y="24"/>
                  </a:lnTo>
                  <a:lnTo>
                    <a:pt x="258" y="36"/>
                  </a:lnTo>
                  <a:lnTo>
                    <a:pt x="258" y="66"/>
                  </a:lnTo>
                  <a:lnTo>
                    <a:pt x="252" y="84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82" y="126"/>
                  </a:lnTo>
                  <a:lnTo>
                    <a:pt x="294" y="132"/>
                  </a:lnTo>
                  <a:lnTo>
                    <a:pt x="306" y="138"/>
                  </a:lnTo>
                  <a:lnTo>
                    <a:pt x="324" y="138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60" y="144"/>
                  </a:lnTo>
                  <a:lnTo>
                    <a:pt x="396" y="144"/>
                  </a:lnTo>
                  <a:lnTo>
                    <a:pt x="408" y="150"/>
                  </a:lnTo>
                  <a:lnTo>
                    <a:pt x="414" y="180"/>
                  </a:lnTo>
                  <a:lnTo>
                    <a:pt x="420" y="186"/>
                  </a:lnTo>
                  <a:lnTo>
                    <a:pt x="426" y="192"/>
                  </a:lnTo>
                  <a:lnTo>
                    <a:pt x="426" y="198"/>
                  </a:lnTo>
                  <a:lnTo>
                    <a:pt x="432" y="198"/>
                  </a:lnTo>
                  <a:lnTo>
                    <a:pt x="438" y="210"/>
                  </a:lnTo>
                  <a:lnTo>
                    <a:pt x="450" y="216"/>
                  </a:lnTo>
                  <a:lnTo>
                    <a:pt x="468" y="228"/>
                  </a:lnTo>
                  <a:lnTo>
                    <a:pt x="492" y="234"/>
                  </a:lnTo>
                  <a:lnTo>
                    <a:pt x="492" y="246"/>
                  </a:lnTo>
                  <a:lnTo>
                    <a:pt x="492" y="270"/>
                  </a:lnTo>
                  <a:lnTo>
                    <a:pt x="486" y="294"/>
                  </a:lnTo>
                  <a:lnTo>
                    <a:pt x="486" y="312"/>
                  </a:lnTo>
                  <a:lnTo>
                    <a:pt x="486" y="330"/>
                  </a:lnTo>
                  <a:lnTo>
                    <a:pt x="492" y="348"/>
                  </a:lnTo>
                  <a:lnTo>
                    <a:pt x="498" y="360"/>
                  </a:lnTo>
                  <a:lnTo>
                    <a:pt x="510" y="366"/>
                  </a:lnTo>
                  <a:lnTo>
                    <a:pt x="516" y="384"/>
                  </a:lnTo>
                  <a:lnTo>
                    <a:pt x="522" y="414"/>
                  </a:lnTo>
                  <a:lnTo>
                    <a:pt x="528" y="414"/>
                  </a:lnTo>
                  <a:lnTo>
                    <a:pt x="534" y="426"/>
                  </a:lnTo>
                  <a:lnTo>
                    <a:pt x="528" y="432"/>
                  </a:lnTo>
                  <a:lnTo>
                    <a:pt x="468" y="426"/>
                  </a:lnTo>
                  <a:lnTo>
                    <a:pt x="462" y="4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3" name="Freeform 8">
              <a:extLst>
                <a:ext uri="{FF2B5EF4-FFF2-40B4-BE49-F238E27FC236}">
                  <a16:creationId xmlns:a16="http://schemas.microsoft.com/office/drawing/2014/main" id="{D473457C-872E-4E31-888A-D60FD52063A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98175" y="4307054"/>
              <a:ext cx="295177" cy="348894"/>
            </a:xfrm>
            <a:custGeom>
              <a:avLst/>
              <a:gdLst>
                <a:gd name="T0" fmla="*/ 3 w 552"/>
                <a:gd name="T1" fmla="*/ 46 h 660"/>
                <a:gd name="T2" fmla="*/ 4 w 552"/>
                <a:gd name="T3" fmla="*/ 42 h 660"/>
                <a:gd name="T4" fmla="*/ 2 w 552"/>
                <a:gd name="T5" fmla="*/ 38 h 660"/>
                <a:gd name="T6" fmla="*/ 0 w 552"/>
                <a:gd name="T7" fmla="*/ 34 h 660"/>
                <a:gd name="T8" fmla="*/ 2 w 552"/>
                <a:gd name="T9" fmla="*/ 30 h 660"/>
                <a:gd name="T10" fmla="*/ 3 w 552"/>
                <a:gd name="T11" fmla="*/ 27 h 660"/>
                <a:gd name="T12" fmla="*/ 5 w 552"/>
                <a:gd name="T13" fmla="*/ 23 h 660"/>
                <a:gd name="T14" fmla="*/ 5 w 552"/>
                <a:gd name="T15" fmla="*/ 15 h 660"/>
                <a:gd name="T16" fmla="*/ 6 w 552"/>
                <a:gd name="T17" fmla="*/ 11 h 660"/>
                <a:gd name="T18" fmla="*/ 11 w 552"/>
                <a:gd name="T19" fmla="*/ 9 h 660"/>
                <a:gd name="T20" fmla="*/ 10 w 552"/>
                <a:gd name="T21" fmla="*/ 5 h 660"/>
                <a:gd name="T22" fmla="*/ 12 w 552"/>
                <a:gd name="T23" fmla="*/ 1 h 660"/>
                <a:gd name="T24" fmla="*/ 16 w 552"/>
                <a:gd name="T25" fmla="*/ 2 h 660"/>
                <a:gd name="T26" fmla="*/ 23 w 552"/>
                <a:gd name="T27" fmla="*/ 8 h 660"/>
                <a:gd name="T28" fmla="*/ 23 w 552"/>
                <a:gd name="T29" fmla="*/ 11 h 660"/>
                <a:gd name="T30" fmla="*/ 27 w 552"/>
                <a:gd name="T31" fmla="*/ 12 h 660"/>
                <a:gd name="T32" fmla="*/ 29 w 552"/>
                <a:gd name="T33" fmla="*/ 17 h 660"/>
                <a:gd name="T34" fmla="*/ 31 w 552"/>
                <a:gd name="T35" fmla="*/ 15 h 660"/>
                <a:gd name="T36" fmla="*/ 33 w 552"/>
                <a:gd name="T37" fmla="*/ 17 h 660"/>
                <a:gd name="T38" fmla="*/ 36 w 552"/>
                <a:gd name="T39" fmla="*/ 23 h 660"/>
                <a:gd name="T40" fmla="*/ 41 w 552"/>
                <a:gd name="T41" fmla="*/ 33 h 660"/>
                <a:gd name="T42" fmla="*/ 43 w 552"/>
                <a:gd name="T43" fmla="*/ 36 h 660"/>
                <a:gd name="T44" fmla="*/ 43 w 552"/>
                <a:gd name="T45" fmla="*/ 37 h 660"/>
                <a:gd name="T46" fmla="*/ 41 w 552"/>
                <a:gd name="T47" fmla="*/ 35 h 660"/>
                <a:gd name="T48" fmla="*/ 43 w 552"/>
                <a:gd name="T49" fmla="*/ 37 h 660"/>
                <a:gd name="T50" fmla="*/ 44 w 552"/>
                <a:gd name="T51" fmla="*/ 39 h 660"/>
                <a:gd name="T52" fmla="*/ 47 w 552"/>
                <a:gd name="T53" fmla="*/ 41 h 660"/>
                <a:gd name="T54" fmla="*/ 47 w 552"/>
                <a:gd name="T55" fmla="*/ 44 h 660"/>
                <a:gd name="T56" fmla="*/ 48 w 552"/>
                <a:gd name="T57" fmla="*/ 46 h 660"/>
                <a:gd name="T58" fmla="*/ 47 w 552"/>
                <a:gd name="T59" fmla="*/ 46 h 660"/>
                <a:gd name="T60" fmla="*/ 44 w 552"/>
                <a:gd name="T61" fmla="*/ 46 h 660"/>
                <a:gd name="T62" fmla="*/ 47 w 552"/>
                <a:gd name="T63" fmla="*/ 47 h 660"/>
                <a:gd name="T64" fmla="*/ 47 w 552"/>
                <a:gd name="T65" fmla="*/ 49 h 660"/>
                <a:gd name="T66" fmla="*/ 47 w 552"/>
                <a:gd name="T67" fmla="*/ 52 h 660"/>
                <a:gd name="T68" fmla="*/ 46 w 552"/>
                <a:gd name="T69" fmla="*/ 53 h 660"/>
                <a:gd name="T70" fmla="*/ 43 w 552"/>
                <a:gd name="T71" fmla="*/ 54 h 660"/>
                <a:gd name="T72" fmla="*/ 37 w 552"/>
                <a:gd name="T73" fmla="*/ 54 h 660"/>
                <a:gd name="T74" fmla="*/ 30 w 552"/>
                <a:gd name="T75" fmla="*/ 54 h 660"/>
                <a:gd name="T76" fmla="*/ 29 w 552"/>
                <a:gd name="T77" fmla="*/ 53 h 660"/>
                <a:gd name="T78" fmla="*/ 27 w 552"/>
                <a:gd name="T79" fmla="*/ 53 h 660"/>
                <a:gd name="T80" fmla="*/ 29 w 552"/>
                <a:gd name="T81" fmla="*/ 53 h 660"/>
                <a:gd name="T82" fmla="*/ 28 w 552"/>
                <a:gd name="T83" fmla="*/ 54 h 660"/>
                <a:gd name="T84" fmla="*/ 24 w 552"/>
                <a:gd name="T85" fmla="*/ 54 h 660"/>
                <a:gd name="T86" fmla="*/ 20 w 552"/>
                <a:gd name="T87" fmla="*/ 55 h 660"/>
                <a:gd name="T88" fmla="*/ 15 w 552"/>
                <a:gd name="T89" fmla="*/ 56 h 660"/>
                <a:gd name="T90" fmla="*/ 12 w 552"/>
                <a:gd name="T91" fmla="*/ 56 h 660"/>
                <a:gd name="T92" fmla="*/ 11 w 552"/>
                <a:gd name="T93" fmla="*/ 57 h 660"/>
                <a:gd name="T94" fmla="*/ 9 w 552"/>
                <a:gd name="T95" fmla="*/ 57 h 660"/>
                <a:gd name="T96" fmla="*/ 7 w 552"/>
                <a:gd name="T97" fmla="*/ 56 h 660"/>
                <a:gd name="T98" fmla="*/ 5 w 552"/>
                <a:gd name="T99" fmla="*/ 55 h 660"/>
                <a:gd name="T100" fmla="*/ 7 w 552"/>
                <a:gd name="T101" fmla="*/ 54 h 660"/>
                <a:gd name="T102" fmla="*/ 5 w 552"/>
                <a:gd name="T103" fmla="*/ 54 h 660"/>
                <a:gd name="T104" fmla="*/ 5 w 552"/>
                <a:gd name="T105" fmla="*/ 53 h 660"/>
                <a:gd name="T106" fmla="*/ 4 w 552"/>
                <a:gd name="T107" fmla="*/ 49 h 660"/>
                <a:gd name="T108" fmla="*/ 45 w 552"/>
                <a:gd name="T109" fmla="*/ 38 h 66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52"/>
                <a:gd name="T166" fmla="*/ 0 h 660"/>
                <a:gd name="T167" fmla="*/ 552 w 552"/>
                <a:gd name="T168" fmla="*/ 660 h 66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52" h="660">
                  <a:moveTo>
                    <a:pt x="36" y="564"/>
                  </a:moveTo>
                  <a:lnTo>
                    <a:pt x="36" y="558"/>
                  </a:lnTo>
                  <a:lnTo>
                    <a:pt x="36" y="552"/>
                  </a:lnTo>
                  <a:lnTo>
                    <a:pt x="42" y="546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34"/>
                  </a:lnTo>
                  <a:lnTo>
                    <a:pt x="36" y="528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54" y="510"/>
                  </a:lnTo>
                  <a:lnTo>
                    <a:pt x="54" y="504"/>
                  </a:lnTo>
                  <a:lnTo>
                    <a:pt x="54" y="498"/>
                  </a:lnTo>
                  <a:lnTo>
                    <a:pt x="48" y="492"/>
                  </a:lnTo>
                  <a:lnTo>
                    <a:pt x="42" y="486"/>
                  </a:lnTo>
                  <a:lnTo>
                    <a:pt x="42" y="480"/>
                  </a:lnTo>
                  <a:lnTo>
                    <a:pt x="42" y="468"/>
                  </a:lnTo>
                  <a:lnTo>
                    <a:pt x="30" y="456"/>
                  </a:lnTo>
                  <a:lnTo>
                    <a:pt x="30" y="450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2"/>
                  </a:lnTo>
                  <a:lnTo>
                    <a:pt x="18" y="426"/>
                  </a:lnTo>
                  <a:lnTo>
                    <a:pt x="24" y="420"/>
                  </a:lnTo>
                  <a:lnTo>
                    <a:pt x="18" y="414"/>
                  </a:lnTo>
                  <a:lnTo>
                    <a:pt x="12" y="408"/>
                  </a:lnTo>
                  <a:lnTo>
                    <a:pt x="12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6" y="384"/>
                  </a:lnTo>
                  <a:lnTo>
                    <a:pt x="12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8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36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54" y="270"/>
                  </a:lnTo>
                  <a:lnTo>
                    <a:pt x="48" y="264"/>
                  </a:lnTo>
                  <a:lnTo>
                    <a:pt x="42" y="246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8" y="204"/>
                  </a:lnTo>
                  <a:lnTo>
                    <a:pt x="54" y="174"/>
                  </a:lnTo>
                  <a:lnTo>
                    <a:pt x="54" y="162"/>
                  </a:lnTo>
                  <a:lnTo>
                    <a:pt x="54" y="156"/>
                  </a:lnTo>
                  <a:lnTo>
                    <a:pt x="54" y="144"/>
                  </a:lnTo>
                  <a:lnTo>
                    <a:pt x="48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72" y="126"/>
                  </a:lnTo>
                  <a:lnTo>
                    <a:pt x="84" y="126"/>
                  </a:lnTo>
                  <a:lnTo>
                    <a:pt x="96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2" y="84"/>
                  </a:lnTo>
                  <a:lnTo>
                    <a:pt x="126" y="78"/>
                  </a:lnTo>
                  <a:lnTo>
                    <a:pt x="120" y="78"/>
                  </a:lnTo>
                  <a:lnTo>
                    <a:pt x="102" y="84"/>
                  </a:lnTo>
                  <a:lnTo>
                    <a:pt x="108" y="66"/>
                  </a:lnTo>
                  <a:lnTo>
                    <a:pt x="114" y="54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8" y="4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6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74" y="0"/>
                  </a:lnTo>
                  <a:lnTo>
                    <a:pt x="180" y="0"/>
                  </a:lnTo>
                  <a:lnTo>
                    <a:pt x="186" y="18"/>
                  </a:lnTo>
                  <a:lnTo>
                    <a:pt x="198" y="30"/>
                  </a:lnTo>
                  <a:lnTo>
                    <a:pt x="204" y="54"/>
                  </a:lnTo>
                  <a:lnTo>
                    <a:pt x="216" y="60"/>
                  </a:lnTo>
                  <a:lnTo>
                    <a:pt x="240" y="60"/>
                  </a:lnTo>
                  <a:lnTo>
                    <a:pt x="246" y="66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2" y="120"/>
                  </a:lnTo>
                  <a:lnTo>
                    <a:pt x="25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6" y="126"/>
                  </a:lnTo>
                  <a:lnTo>
                    <a:pt x="282" y="120"/>
                  </a:lnTo>
                  <a:lnTo>
                    <a:pt x="282" y="126"/>
                  </a:lnTo>
                  <a:lnTo>
                    <a:pt x="294" y="126"/>
                  </a:lnTo>
                  <a:lnTo>
                    <a:pt x="300" y="132"/>
                  </a:lnTo>
                  <a:lnTo>
                    <a:pt x="306" y="144"/>
                  </a:lnTo>
                  <a:lnTo>
                    <a:pt x="312" y="144"/>
                  </a:lnTo>
                  <a:lnTo>
                    <a:pt x="312" y="150"/>
                  </a:lnTo>
                  <a:lnTo>
                    <a:pt x="312" y="162"/>
                  </a:lnTo>
                  <a:lnTo>
                    <a:pt x="312" y="174"/>
                  </a:lnTo>
                  <a:lnTo>
                    <a:pt x="324" y="180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30" y="192"/>
                  </a:lnTo>
                  <a:lnTo>
                    <a:pt x="336" y="198"/>
                  </a:lnTo>
                  <a:lnTo>
                    <a:pt x="342" y="192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54" y="180"/>
                  </a:lnTo>
                  <a:lnTo>
                    <a:pt x="354" y="174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84" y="192"/>
                  </a:lnTo>
                  <a:lnTo>
                    <a:pt x="390" y="204"/>
                  </a:lnTo>
                  <a:lnTo>
                    <a:pt x="390" y="210"/>
                  </a:lnTo>
                  <a:lnTo>
                    <a:pt x="390" y="216"/>
                  </a:lnTo>
                  <a:lnTo>
                    <a:pt x="384" y="234"/>
                  </a:lnTo>
                  <a:lnTo>
                    <a:pt x="390" y="240"/>
                  </a:lnTo>
                  <a:lnTo>
                    <a:pt x="408" y="252"/>
                  </a:lnTo>
                  <a:lnTo>
                    <a:pt x="414" y="264"/>
                  </a:lnTo>
                  <a:lnTo>
                    <a:pt x="408" y="300"/>
                  </a:lnTo>
                  <a:lnTo>
                    <a:pt x="414" y="312"/>
                  </a:lnTo>
                  <a:lnTo>
                    <a:pt x="426" y="336"/>
                  </a:lnTo>
                  <a:lnTo>
                    <a:pt x="438" y="354"/>
                  </a:lnTo>
                  <a:lnTo>
                    <a:pt x="444" y="366"/>
                  </a:lnTo>
                  <a:lnTo>
                    <a:pt x="456" y="366"/>
                  </a:lnTo>
                  <a:lnTo>
                    <a:pt x="474" y="378"/>
                  </a:lnTo>
                  <a:lnTo>
                    <a:pt x="474" y="384"/>
                  </a:lnTo>
                  <a:lnTo>
                    <a:pt x="480" y="390"/>
                  </a:lnTo>
                  <a:lnTo>
                    <a:pt x="486" y="396"/>
                  </a:lnTo>
                  <a:lnTo>
                    <a:pt x="486" y="402"/>
                  </a:lnTo>
                  <a:lnTo>
                    <a:pt x="480" y="408"/>
                  </a:lnTo>
                  <a:lnTo>
                    <a:pt x="486" y="408"/>
                  </a:lnTo>
                  <a:lnTo>
                    <a:pt x="486" y="414"/>
                  </a:lnTo>
                  <a:lnTo>
                    <a:pt x="492" y="414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32"/>
                  </a:lnTo>
                  <a:lnTo>
                    <a:pt x="498" y="438"/>
                  </a:lnTo>
                  <a:lnTo>
                    <a:pt x="492" y="432"/>
                  </a:lnTo>
                  <a:lnTo>
                    <a:pt x="486" y="426"/>
                  </a:lnTo>
                  <a:lnTo>
                    <a:pt x="486" y="420"/>
                  </a:lnTo>
                  <a:lnTo>
                    <a:pt x="486" y="414"/>
                  </a:lnTo>
                  <a:lnTo>
                    <a:pt x="480" y="414"/>
                  </a:lnTo>
                  <a:lnTo>
                    <a:pt x="480" y="408"/>
                  </a:lnTo>
                  <a:lnTo>
                    <a:pt x="474" y="408"/>
                  </a:lnTo>
                  <a:lnTo>
                    <a:pt x="468" y="408"/>
                  </a:lnTo>
                  <a:lnTo>
                    <a:pt x="468" y="402"/>
                  </a:lnTo>
                  <a:lnTo>
                    <a:pt x="462" y="402"/>
                  </a:lnTo>
                  <a:lnTo>
                    <a:pt x="462" y="408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80" y="426"/>
                  </a:lnTo>
                  <a:lnTo>
                    <a:pt x="486" y="426"/>
                  </a:lnTo>
                  <a:lnTo>
                    <a:pt x="486" y="432"/>
                  </a:lnTo>
                  <a:lnTo>
                    <a:pt x="492" y="438"/>
                  </a:lnTo>
                  <a:lnTo>
                    <a:pt x="498" y="438"/>
                  </a:lnTo>
                  <a:lnTo>
                    <a:pt x="504" y="444"/>
                  </a:lnTo>
                  <a:lnTo>
                    <a:pt x="510" y="444"/>
                  </a:lnTo>
                  <a:lnTo>
                    <a:pt x="510" y="450"/>
                  </a:lnTo>
                  <a:lnTo>
                    <a:pt x="510" y="456"/>
                  </a:lnTo>
                  <a:lnTo>
                    <a:pt x="516" y="456"/>
                  </a:lnTo>
                  <a:lnTo>
                    <a:pt x="516" y="462"/>
                  </a:lnTo>
                  <a:lnTo>
                    <a:pt x="522" y="462"/>
                  </a:lnTo>
                  <a:lnTo>
                    <a:pt x="522" y="468"/>
                  </a:lnTo>
                  <a:lnTo>
                    <a:pt x="528" y="468"/>
                  </a:lnTo>
                  <a:lnTo>
                    <a:pt x="534" y="468"/>
                  </a:lnTo>
                  <a:lnTo>
                    <a:pt x="534" y="474"/>
                  </a:lnTo>
                  <a:lnTo>
                    <a:pt x="540" y="474"/>
                  </a:lnTo>
                  <a:lnTo>
                    <a:pt x="540" y="480"/>
                  </a:lnTo>
                  <a:lnTo>
                    <a:pt x="546" y="486"/>
                  </a:lnTo>
                  <a:lnTo>
                    <a:pt x="546" y="492"/>
                  </a:lnTo>
                  <a:lnTo>
                    <a:pt x="546" y="498"/>
                  </a:lnTo>
                  <a:lnTo>
                    <a:pt x="546" y="504"/>
                  </a:lnTo>
                  <a:lnTo>
                    <a:pt x="540" y="504"/>
                  </a:lnTo>
                  <a:lnTo>
                    <a:pt x="546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10"/>
                  </a:lnTo>
                  <a:lnTo>
                    <a:pt x="552" y="516"/>
                  </a:lnTo>
                  <a:lnTo>
                    <a:pt x="552" y="522"/>
                  </a:lnTo>
                  <a:lnTo>
                    <a:pt x="552" y="528"/>
                  </a:lnTo>
                  <a:lnTo>
                    <a:pt x="552" y="534"/>
                  </a:lnTo>
                  <a:lnTo>
                    <a:pt x="552" y="540"/>
                  </a:lnTo>
                  <a:lnTo>
                    <a:pt x="546" y="540"/>
                  </a:lnTo>
                  <a:lnTo>
                    <a:pt x="546" y="546"/>
                  </a:lnTo>
                  <a:lnTo>
                    <a:pt x="546" y="540"/>
                  </a:lnTo>
                  <a:lnTo>
                    <a:pt x="546" y="534"/>
                  </a:lnTo>
                  <a:lnTo>
                    <a:pt x="540" y="534"/>
                  </a:lnTo>
                  <a:lnTo>
                    <a:pt x="540" y="528"/>
                  </a:lnTo>
                  <a:lnTo>
                    <a:pt x="534" y="528"/>
                  </a:lnTo>
                  <a:lnTo>
                    <a:pt x="528" y="528"/>
                  </a:lnTo>
                  <a:lnTo>
                    <a:pt x="522" y="528"/>
                  </a:lnTo>
                  <a:lnTo>
                    <a:pt x="516" y="528"/>
                  </a:lnTo>
                  <a:lnTo>
                    <a:pt x="510" y="528"/>
                  </a:lnTo>
                  <a:lnTo>
                    <a:pt x="510" y="534"/>
                  </a:lnTo>
                  <a:lnTo>
                    <a:pt x="510" y="528"/>
                  </a:lnTo>
                  <a:lnTo>
                    <a:pt x="516" y="528"/>
                  </a:lnTo>
                  <a:lnTo>
                    <a:pt x="522" y="528"/>
                  </a:lnTo>
                  <a:lnTo>
                    <a:pt x="528" y="528"/>
                  </a:lnTo>
                  <a:lnTo>
                    <a:pt x="534" y="534"/>
                  </a:lnTo>
                  <a:lnTo>
                    <a:pt x="540" y="534"/>
                  </a:lnTo>
                  <a:lnTo>
                    <a:pt x="540" y="540"/>
                  </a:lnTo>
                  <a:lnTo>
                    <a:pt x="540" y="546"/>
                  </a:lnTo>
                  <a:lnTo>
                    <a:pt x="546" y="546"/>
                  </a:lnTo>
                  <a:lnTo>
                    <a:pt x="546" y="552"/>
                  </a:lnTo>
                  <a:lnTo>
                    <a:pt x="552" y="552"/>
                  </a:lnTo>
                  <a:lnTo>
                    <a:pt x="552" y="558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0" y="576"/>
                  </a:lnTo>
                  <a:lnTo>
                    <a:pt x="540" y="582"/>
                  </a:lnTo>
                  <a:lnTo>
                    <a:pt x="540" y="588"/>
                  </a:lnTo>
                  <a:lnTo>
                    <a:pt x="534" y="594"/>
                  </a:lnTo>
                  <a:lnTo>
                    <a:pt x="534" y="600"/>
                  </a:lnTo>
                  <a:lnTo>
                    <a:pt x="528" y="600"/>
                  </a:lnTo>
                  <a:lnTo>
                    <a:pt x="522" y="594"/>
                  </a:lnTo>
                  <a:lnTo>
                    <a:pt x="528" y="600"/>
                  </a:lnTo>
                  <a:lnTo>
                    <a:pt x="534" y="600"/>
                  </a:lnTo>
                  <a:lnTo>
                    <a:pt x="534" y="606"/>
                  </a:lnTo>
                  <a:lnTo>
                    <a:pt x="528" y="606"/>
                  </a:lnTo>
                  <a:lnTo>
                    <a:pt x="528" y="612"/>
                  </a:lnTo>
                  <a:lnTo>
                    <a:pt x="522" y="612"/>
                  </a:lnTo>
                  <a:lnTo>
                    <a:pt x="522" y="618"/>
                  </a:lnTo>
                  <a:lnTo>
                    <a:pt x="522" y="624"/>
                  </a:lnTo>
                  <a:lnTo>
                    <a:pt x="510" y="624"/>
                  </a:lnTo>
                  <a:lnTo>
                    <a:pt x="498" y="624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0" y="624"/>
                  </a:lnTo>
                  <a:lnTo>
                    <a:pt x="474" y="624"/>
                  </a:lnTo>
                  <a:lnTo>
                    <a:pt x="468" y="618"/>
                  </a:lnTo>
                  <a:lnTo>
                    <a:pt x="456" y="618"/>
                  </a:lnTo>
                  <a:lnTo>
                    <a:pt x="450" y="618"/>
                  </a:lnTo>
                  <a:lnTo>
                    <a:pt x="426" y="618"/>
                  </a:lnTo>
                  <a:lnTo>
                    <a:pt x="420" y="618"/>
                  </a:lnTo>
                  <a:lnTo>
                    <a:pt x="414" y="618"/>
                  </a:lnTo>
                  <a:lnTo>
                    <a:pt x="408" y="618"/>
                  </a:lnTo>
                  <a:lnTo>
                    <a:pt x="396" y="618"/>
                  </a:lnTo>
                  <a:lnTo>
                    <a:pt x="366" y="618"/>
                  </a:lnTo>
                  <a:lnTo>
                    <a:pt x="348" y="624"/>
                  </a:lnTo>
                  <a:lnTo>
                    <a:pt x="342" y="624"/>
                  </a:lnTo>
                  <a:lnTo>
                    <a:pt x="342" y="618"/>
                  </a:lnTo>
                  <a:lnTo>
                    <a:pt x="336" y="618"/>
                  </a:lnTo>
                  <a:lnTo>
                    <a:pt x="336" y="612"/>
                  </a:lnTo>
                  <a:lnTo>
                    <a:pt x="342" y="612"/>
                  </a:lnTo>
                  <a:lnTo>
                    <a:pt x="348" y="612"/>
                  </a:lnTo>
                  <a:lnTo>
                    <a:pt x="342" y="612"/>
                  </a:lnTo>
                  <a:lnTo>
                    <a:pt x="336" y="612"/>
                  </a:lnTo>
                  <a:lnTo>
                    <a:pt x="336" y="606"/>
                  </a:lnTo>
                  <a:lnTo>
                    <a:pt x="330" y="606"/>
                  </a:lnTo>
                  <a:lnTo>
                    <a:pt x="330" y="600"/>
                  </a:lnTo>
                  <a:lnTo>
                    <a:pt x="324" y="600"/>
                  </a:lnTo>
                  <a:lnTo>
                    <a:pt x="324" y="606"/>
                  </a:lnTo>
                  <a:lnTo>
                    <a:pt x="318" y="606"/>
                  </a:lnTo>
                  <a:lnTo>
                    <a:pt x="318" y="612"/>
                  </a:lnTo>
                  <a:lnTo>
                    <a:pt x="312" y="612"/>
                  </a:lnTo>
                  <a:lnTo>
                    <a:pt x="306" y="606"/>
                  </a:lnTo>
                  <a:lnTo>
                    <a:pt x="306" y="612"/>
                  </a:lnTo>
                  <a:lnTo>
                    <a:pt x="312" y="612"/>
                  </a:lnTo>
                  <a:lnTo>
                    <a:pt x="318" y="612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30" y="606"/>
                  </a:lnTo>
                  <a:lnTo>
                    <a:pt x="336" y="612"/>
                  </a:lnTo>
                  <a:lnTo>
                    <a:pt x="336" y="618"/>
                  </a:lnTo>
                  <a:lnTo>
                    <a:pt x="330" y="618"/>
                  </a:lnTo>
                  <a:lnTo>
                    <a:pt x="336" y="618"/>
                  </a:lnTo>
                  <a:lnTo>
                    <a:pt x="336" y="624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288" y="624"/>
                  </a:lnTo>
                  <a:lnTo>
                    <a:pt x="282" y="624"/>
                  </a:lnTo>
                  <a:lnTo>
                    <a:pt x="270" y="630"/>
                  </a:lnTo>
                  <a:lnTo>
                    <a:pt x="264" y="630"/>
                  </a:lnTo>
                  <a:lnTo>
                    <a:pt x="258" y="630"/>
                  </a:lnTo>
                  <a:lnTo>
                    <a:pt x="252" y="630"/>
                  </a:lnTo>
                  <a:lnTo>
                    <a:pt x="246" y="630"/>
                  </a:lnTo>
                  <a:lnTo>
                    <a:pt x="240" y="630"/>
                  </a:lnTo>
                  <a:lnTo>
                    <a:pt x="228" y="636"/>
                  </a:lnTo>
                  <a:lnTo>
                    <a:pt x="222" y="636"/>
                  </a:lnTo>
                  <a:lnTo>
                    <a:pt x="210" y="636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42"/>
                  </a:lnTo>
                  <a:lnTo>
                    <a:pt x="186" y="642"/>
                  </a:lnTo>
                  <a:lnTo>
                    <a:pt x="180" y="642"/>
                  </a:lnTo>
                  <a:lnTo>
                    <a:pt x="168" y="642"/>
                  </a:lnTo>
                  <a:lnTo>
                    <a:pt x="162" y="642"/>
                  </a:lnTo>
                  <a:lnTo>
                    <a:pt x="162" y="648"/>
                  </a:lnTo>
                  <a:lnTo>
                    <a:pt x="156" y="648"/>
                  </a:lnTo>
                  <a:lnTo>
                    <a:pt x="150" y="648"/>
                  </a:lnTo>
                  <a:lnTo>
                    <a:pt x="144" y="648"/>
                  </a:lnTo>
                  <a:lnTo>
                    <a:pt x="138" y="648"/>
                  </a:lnTo>
                  <a:lnTo>
                    <a:pt x="132" y="648"/>
                  </a:lnTo>
                  <a:lnTo>
                    <a:pt x="126" y="642"/>
                  </a:lnTo>
                  <a:lnTo>
                    <a:pt x="126" y="636"/>
                  </a:lnTo>
                  <a:lnTo>
                    <a:pt x="120" y="636"/>
                  </a:lnTo>
                  <a:lnTo>
                    <a:pt x="126" y="642"/>
                  </a:lnTo>
                  <a:lnTo>
                    <a:pt x="126" y="648"/>
                  </a:lnTo>
                  <a:lnTo>
                    <a:pt x="132" y="648"/>
                  </a:lnTo>
                  <a:lnTo>
                    <a:pt x="126" y="654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54"/>
                  </a:lnTo>
                  <a:lnTo>
                    <a:pt x="108" y="660"/>
                  </a:lnTo>
                  <a:lnTo>
                    <a:pt x="108" y="654"/>
                  </a:lnTo>
                  <a:lnTo>
                    <a:pt x="102" y="654"/>
                  </a:lnTo>
                  <a:lnTo>
                    <a:pt x="102" y="660"/>
                  </a:lnTo>
                  <a:lnTo>
                    <a:pt x="108" y="660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0" y="660"/>
                  </a:lnTo>
                  <a:lnTo>
                    <a:pt x="90" y="654"/>
                  </a:lnTo>
                  <a:lnTo>
                    <a:pt x="84" y="648"/>
                  </a:lnTo>
                  <a:lnTo>
                    <a:pt x="84" y="642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72" y="636"/>
                  </a:lnTo>
                  <a:lnTo>
                    <a:pt x="78" y="636"/>
                  </a:lnTo>
                  <a:lnTo>
                    <a:pt x="72" y="636"/>
                  </a:lnTo>
                  <a:lnTo>
                    <a:pt x="66" y="636"/>
                  </a:lnTo>
                  <a:lnTo>
                    <a:pt x="60" y="636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60" y="618"/>
                  </a:lnTo>
                  <a:lnTo>
                    <a:pt x="66" y="618"/>
                  </a:lnTo>
                  <a:lnTo>
                    <a:pt x="72" y="618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2" y="612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12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54" y="618"/>
                  </a:lnTo>
                  <a:lnTo>
                    <a:pt x="54" y="624"/>
                  </a:lnTo>
                  <a:lnTo>
                    <a:pt x="48" y="618"/>
                  </a:lnTo>
                  <a:lnTo>
                    <a:pt x="42" y="618"/>
                  </a:lnTo>
                  <a:lnTo>
                    <a:pt x="42" y="612"/>
                  </a:lnTo>
                  <a:lnTo>
                    <a:pt x="48" y="606"/>
                  </a:lnTo>
                  <a:lnTo>
                    <a:pt x="54" y="606"/>
                  </a:lnTo>
                  <a:lnTo>
                    <a:pt x="54" y="600"/>
                  </a:lnTo>
                  <a:lnTo>
                    <a:pt x="54" y="594"/>
                  </a:lnTo>
                  <a:lnTo>
                    <a:pt x="54" y="588"/>
                  </a:lnTo>
                  <a:lnTo>
                    <a:pt x="48" y="588"/>
                  </a:lnTo>
                  <a:lnTo>
                    <a:pt x="48" y="582"/>
                  </a:lnTo>
                  <a:lnTo>
                    <a:pt x="42" y="582"/>
                  </a:lnTo>
                  <a:lnTo>
                    <a:pt x="42" y="570"/>
                  </a:lnTo>
                  <a:lnTo>
                    <a:pt x="42" y="564"/>
                  </a:lnTo>
                  <a:lnTo>
                    <a:pt x="36" y="564"/>
                  </a:lnTo>
                  <a:close/>
                  <a:moveTo>
                    <a:pt x="498" y="420"/>
                  </a:moveTo>
                  <a:lnTo>
                    <a:pt x="504" y="426"/>
                  </a:lnTo>
                  <a:lnTo>
                    <a:pt x="510" y="432"/>
                  </a:lnTo>
                  <a:lnTo>
                    <a:pt x="516" y="432"/>
                  </a:lnTo>
                  <a:lnTo>
                    <a:pt x="516" y="438"/>
                  </a:lnTo>
                  <a:lnTo>
                    <a:pt x="510" y="438"/>
                  </a:lnTo>
                  <a:lnTo>
                    <a:pt x="504" y="438"/>
                  </a:lnTo>
                  <a:lnTo>
                    <a:pt x="504" y="432"/>
                  </a:lnTo>
                  <a:lnTo>
                    <a:pt x="498" y="432"/>
                  </a:lnTo>
                  <a:lnTo>
                    <a:pt x="498" y="426"/>
                  </a:lnTo>
                  <a:lnTo>
                    <a:pt x="498" y="4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4" name="Freeform 9">
              <a:extLst>
                <a:ext uri="{FF2B5EF4-FFF2-40B4-BE49-F238E27FC236}">
                  <a16:creationId xmlns:a16="http://schemas.microsoft.com/office/drawing/2014/main" id="{E0116D32-BD2E-45EA-B818-A3082585D5F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3055" y="2468650"/>
              <a:ext cx="800556" cy="1207710"/>
            </a:xfrm>
            <a:custGeom>
              <a:avLst/>
              <a:gdLst>
                <a:gd name="T0" fmla="*/ 24 w 1506"/>
                <a:gd name="T1" fmla="*/ 190 h 2274"/>
                <a:gd name="T2" fmla="*/ 25 w 1506"/>
                <a:gd name="T3" fmla="*/ 180 h 2274"/>
                <a:gd name="T4" fmla="*/ 21 w 1506"/>
                <a:gd name="T5" fmla="*/ 174 h 2274"/>
                <a:gd name="T6" fmla="*/ 17 w 1506"/>
                <a:gd name="T7" fmla="*/ 170 h 2274"/>
                <a:gd name="T8" fmla="*/ 12 w 1506"/>
                <a:gd name="T9" fmla="*/ 168 h 2274"/>
                <a:gd name="T10" fmla="*/ 10 w 1506"/>
                <a:gd name="T11" fmla="*/ 173 h 2274"/>
                <a:gd name="T12" fmla="*/ 7 w 1506"/>
                <a:gd name="T13" fmla="*/ 174 h 2274"/>
                <a:gd name="T14" fmla="*/ 0 w 1506"/>
                <a:gd name="T15" fmla="*/ 163 h 2274"/>
                <a:gd name="T16" fmla="*/ 16 w 1506"/>
                <a:gd name="T17" fmla="*/ 140 h 2274"/>
                <a:gd name="T18" fmla="*/ 19 w 1506"/>
                <a:gd name="T19" fmla="*/ 137 h 2274"/>
                <a:gd name="T20" fmla="*/ 24 w 1506"/>
                <a:gd name="T21" fmla="*/ 126 h 2274"/>
                <a:gd name="T22" fmla="*/ 23 w 1506"/>
                <a:gd name="T23" fmla="*/ 105 h 2274"/>
                <a:gd name="T24" fmla="*/ 14 w 1506"/>
                <a:gd name="T25" fmla="*/ 86 h 2274"/>
                <a:gd name="T26" fmla="*/ 8 w 1506"/>
                <a:gd name="T27" fmla="*/ 84 h 2274"/>
                <a:gd name="T28" fmla="*/ 5 w 1506"/>
                <a:gd name="T29" fmla="*/ 79 h 2274"/>
                <a:gd name="T30" fmla="*/ 16 w 1506"/>
                <a:gd name="T31" fmla="*/ 71 h 2274"/>
                <a:gd name="T32" fmla="*/ 28 w 1506"/>
                <a:gd name="T33" fmla="*/ 55 h 2274"/>
                <a:gd name="T34" fmla="*/ 29 w 1506"/>
                <a:gd name="T35" fmla="*/ 48 h 2274"/>
                <a:gd name="T36" fmla="*/ 35 w 1506"/>
                <a:gd name="T37" fmla="*/ 50 h 2274"/>
                <a:gd name="T38" fmla="*/ 42 w 1506"/>
                <a:gd name="T39" fmla="*/ 47 h 2274"/>
                <a:gd name="T40" fmla="*/ 63 w 1506"/>
                <a:gd name="T41" fmla="*/ 34 h 2274"/>
                <a:gd name="T42" fmla="*/ 74 w 1506"/>
                <a:gd name="T43" fmla="*/ 27 h 2274"/>
                <a:gd name="T44" fmla="*/ 81 w 1506"/>
                <a:gd name="T45" fmla="*/ 20 h 2274"/>
                <a:gd name="T46" fmla="*/ 89 w 1506"/>
                <a:gd name="T47" fmla="*/ 20 h 2274"/>
                <a:gd name="T48" fmla="*/ 98 w 1506"/>
                <a:gd name="T49" fmla="*/ 27 h 2274"/>
                <a:gd name="T50" fmla="*/ 106 w 1506"/>
                <a:gd name="T51" fmla="*/ 17 h 2274"/>
                <a:gd name="T52" fmla="*/ 111 w 1506"/>
                <a:gd name="T53" fmla="*/ 8 h 2274"/>
                <a:gd name="T54" fmla="*/ 121 w 1506"/>
                <a:gd name="T55" fmla="*/ 2 h 2274"/>
                <a:gd name="T56" fmla="*/ 129 w 1506"/>
                <a:gd name="T57" fmla="*/ 5 h 2274"/>
                <a:gd name="T58" fmla="*/ 125 w 1506"/>
                <a:gd name="T59" fmla="*/ 12 h 2274"/>
                <a:gd name="T60" fmla="*/ 122 w 1506"/>
                <a:gd name="T61" fmla="*/ 20 h 2274"/>
                <a:gd name="T62" fmla="*/ 122 w 1506"/>
                <a:gd name="T63" fmla="*/ 27 h 2274"/>
                <a:gd name="T64" fmla="*/ 120 w 1506"/>
                <a:gd name="T65" fmla="*/ 36 h 2274"/>
                <a:gd name="T66" fmla="*/ 116 w 1506"/>
                <a:gd name="T67" fmla="*/ 43 h 2274"/>
                <a:gd name="T68" fmla="*/ 109 w 1506"/>
                <a:gd name="T69" fmla="*/ 47 h 2274"/>
                <a:gd name="T70" fmla="*/ 108 w 1506"/>
                <a:gd name="T71" fmla="*/ 54 h 2274"/>
                <a:gd name="T72" fmla="*/ 106 w 1506"/>
                <a:gd name="T73" fmla="*/ 59 h 2274"/>
                <a:gd name="T74" fmla="*/ 109 w 1506"/>
                <a:gd name="T75" fmla="*/ 64 h 2274"/>
                <a:gd name="T76" fmla="*/ 106 w 1506"/>
                <a:gd name="T77" fmla="*/ 70 h 2274"/>
                <a:gd name="T78" fmla="*/ 105 w 1506"/>
                <a:gd name="T79" fmla="*/ 75 h 2274"/>
                <a:gd name="T80" fmla="*/ 101 w 1506"/>
                <a:gd name="T81" fmla="*/ 78 h 2274"/>
                <a:gd name="T82" fmla="*/ 92 w 1506"/>
                <a:gd name="T83" fmla="*/ 81 h 2274"/>
                <a:gd name="T84" fmla="*/ 85 w 1506"/>
                <a:gd name="T85" fmla="*/ 85 h 2274"/>
                <a:gd name="T86" fmla="*/ 87 w 1506"/>
                <a:gd name="T87" fmla="*/ 91 h 2274"/>
                <a:gd name="T88" fmla="*/ 86 w 1506"/>
                <a:gd name="T89" fmla="*/ 98 h 2274"/>
                <a:gd name="T90" fmla="*/ 86 w 1506"/>
                <a:gd name="T91" fmla="*/ 103 h 2274"/>
                <a:gd name="T92" fmla="*/ 82 w 1506"/>
                <a:gd name="T93" fmla="*/ 111 h 2274"/>
                <a:gd name="T94" fmla="*/ 81 w 1506"/>
                <a:gd name="T95" fmla="*/ 116 h 2274"/>
                <a:gd name="T96" fmla="*/ 78 w 1506"/>
                <a:gd name="T97" fmla="*/ 120 h 2274"/>
                <a:gd name="T98" fmla="*/ 76 w 1506"/>
                <a:gd name="T99" fmla="*/ 126 h 2274"/>
                <a:gd name="T100" fmla="*/ 68 w 1506"/>
                <a:gd name="T101" fmla="*/ 129 h 2274"/>
                <a:gd name="T102" fmla="*/ 62 w 1506"/>
                <a:gd name="T103" fmla="*/ 131 h 2274"/>
                <a:gd name="T104" fmla="*/ 58 w 1506"/>
                <a:gd name="T105" fmla="*/ 136 h 2274"/>
                <a:gd name="T106" fmla="*/ 51 w 1506"/>
                <a:gd name="T107" fmla="*/ 138 h 2274"/>
                <a:gd name="T108" fmla="*/ 51 w 1506"/>
                <a:gd name="T109" fmla="*/ 147 h 2274"/>
                <a:gd name="T110" fmla="*/ 49 w 1506"/>
                <a:gd name="T111" fmla="*/ 159 h 2274"/>
                <a:gd name="T112" fmla="*/ 48 w 1506"/>
                <a:gd name="T113" fmla="*/ 166 h 2274"/>
                <a:gd name="T114" fmla="*/ 41 w 1506"/>
                <a:gd name="T115" fmla="*/ 174 h 2274"/>
                <a:gd name="T116" fmla="*/ 39 w 1506"/>
                <a:gd name="T117" fmla="*/ 181 h 2274"/>
                <a:gd name="T118" fmla="*/ 37 w 1506"/>
                <a:gd name="T119" fmla="*/ 190 h 2274"/>
                <a:gd name="T120" fmla="*/ 29 w 1506"/>
                <a:gd name="T121" fmla="*/ 198 h 22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06"/>
                <a:gd name="T184" fmla="*/ 0 h 2274"/>
                <a:gd name="T185" fmla="*/ 1506 w 1506"/>
                <a:gd name="T186" fmla="*/ 2274 h 227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06" h="2274">
                  <a:moveTo>
                    <a:pt x="330" y="2274"/>
                  </a:moveTo>
                  <a:lnTo>
                    <a:pt x="318" y="2262"/>
                  </a:lnTo>
                  <a:lnTo>
                    <a:pt x="312" y="2238"/>
                  </a:lnTo>
                  <a:lnTo>
                    <a:pt x="312" y="2232"/>
                  </a:lnTo>
                  <a:lnTo>
                    <a:pt x="294" y="2214"/>
                  </a:lnTo>
                  <a:lnTo>
                    <a:pt x="288" y="2208"/>
                  </a:lnTo>
                  <a:lnTo>
                    <a:pt x="288" y="2202"/>
                  </a:lnTo>
                  <a:lnTo>
                    <a:pt x="276" y="2196"/>
                  </a:lnTo>
                  <a:lnTo>
                    <a:pt x="276" y="2190"/>
                  </a:lnTo>
                  <a:lnTo>
                    <a:pt x="282" y="2190"/>
                  </a:lnTo>
                  <a:lnTo>
                    <a:pt x="282" y="2184"/>
                  </a:lnTo>
                  <a:lnTo>
                    <a:pt x="276" y="2172"/>
                  </a:lnTo>
                  <a:lnTo>
                    <a:pt x="276" y="2166"/>
                  </a:lnTo>
                  <a:lnTo>
                    <a:pt x="282" y="2166"/>
                  </a:lnTo>
                  <a:lnTo>
                    <a:pt x="282" y="2154"/>
                  </a:lnTo>
                  <a:lnTo>
                    <a:pt x="276" y="2136"/>
                  </a:lnTo>
                  <a:lnTo>
                    <a:pt x="276" y="2112"/>
                  </a:lnTo>
                  <a:lnTo>
                    <a:pt x="282" y="2088"/>
                  </a:lnTo>
                  <a:lnTo>
                    <a:pt x="282" y="2082"/>
                  </a:lnTo>
                  <a:lnTo>
                    <a:pt x="282" y="2076"/>
                  </a:lnTo>
                  <a:lnTo>
                    <a:pt x="282" y="2070"/>
                  </a:lnTo>
                  <a:lnTo>
                    <a:pt x="288" y="2070"/>
                  </a:lnTo>
                  <a:lnTo>
                    <a:pt x="288" y="2064"/>
                  </a:lnTo>
                  <a:lnTo>
                    <a:pt x="282" y="2052"/>
                  </a:lnTo>
                  <a:lnTo>
                    <a:pt x="282" y="2046"/>
                  </a:lnTo>
                  <a:lnTo>
                    <a:pt x="276" y="2040"/>
                  </a:lnTo>
                  <a:lnTo>
                    <a:pt x="270" y="2034"/>
                  </a:lnTo>
                  <a:lnTo>
                    <a:pt x="264" y="2022"/>
                  </a:lnTo>
                  <a:lnTo>
                    <a:pt x="258" y="2022"/>
                  </a:lnTo>
                  <a:lnTo>
                    <a:pt x="258" y="2016"/>
                  </a:lnTo>
                  <a:lnTo>
                    <a:pt x="252" y="2016"/>
                  </a:lnTo>
                  <a:lnTo>
                    <a:pt x="246" y="2016"/>
                  </a:lnTo>
                  <a:lnTo>
                    <a:pt x="240" y="2010"/>
                  </a:lnTo>
                  <a:lnTo>
                    <a:pt x="234" y="2004"/>
                  </a:lnTo>
                  <a:lnTo>
                    <a:pt x="228" y="2004"/>
                  </a:lnTo>
                  <a:lnTo>
                    <a:pt x="228" y="1998"/>
                  </a:lnTo>
                  <a:lnTo>
                    <a:pt x="228" y="1992"/>
                  </a:lnTo>
                  <a:lnTo>
                    <a:pt x="222" y="1992"/>
                  </a:lnTo>
                  <a:lnTo>
                    <a:pt x="222" y="1986"/>
                  </a:lnTo>
                  <a:lnTo>
                    <a:pt x="216" y="1986"/>
                  </a:lnTo>
                  <a:lnTo>
                    <a:pt x="210" y="1980"/>
                  </a:lnTo>
                  <a:lnTo>
                    <a:pt x="216" y="1974"/>
                  </a:lnTo>
                  <a:lnTo>
                    <a:pt x="210" y="1968"/>
                  </a:lnTo>
                  <a:lnTo>
                    <a:pt x="198" y="1956"/>
                  </a:lnTo>
                  <a:lnTo>
                    <a:pt x="192" y="1956"/>
                  </a:lnTo>
                  <a:lnTo>
                    <a:pt x="186" y="1956"/>
                  </a:lnTo>
                  <a:lnTo>
                    <a:pt x="180" y="1944"/>
                  </a:lnTo>
                  <a:lnTo>
                    <a:pt x="180" y="1938"/>
                  </a:lnTo>
                  <a:lnTo>
                    <a:pt x="174" y="1932"/>
                  </a:lnTo>
                  <a:lnTo>
                    <a:pt x="168" y="1932"/>
                  </a:lnTo>
                  <a:lnTo>
                    <a:pt x="162" y="1932"/>
                  </a:lnTo>
                  <a:lnTo>
                    <a:pt x="150" y="1932"/>
                  </a:lnTo>
                  <a:lnTo>
                    <a:pt x="150" y="1926"/>
                  </a:lnTo>
                  <a:lnTo>
                    <a:pt x="150" y="1932"/>
                  </a:lnTo>
                  <a:lnTo>
                    <a:pt x="144" y="1932"/>
                  </a:lnTo>
                  <a:lnTo>
                    <a:pt x="138" y="1932"/>
                  </a:lnTo>
                  <a:lnTo>
                    <a:pt x="132" y="1932"/>
                  </a:lnTo>
                  <a:lnTo>
                    <a:pt x="132" y="1938"/>
                  </a:lnTo>
                  <a:lnTo>
                    <a:pt x="126" y="1944"/>
                  </a:lnTo>
                  <a:lnTo>
                    <a:pt x="126" y="1956"/>
                  </a:lnTo>
                  <a:lnTo>
                    <a:pt x="120" y="1968"/>
                  </a:lnTo>
                  <a:lnTo>
                    <a:pt x="120" y="1974"/>
                  </a:lnTo>
                  <a:lnTo>
                    <a:pt x="120" y="1980"/>
                  </a:lnTo>
                  <a:lnTo>
                    <a:pt x="126" y="1980"/>
                  </a:lnTo>
                  <a:lnTo>
                    <a:pt x="120" y="1986"/>
                  </a:lnTo>
                  <a:lnTo>
                    <a:pt x="120" y="1992"/>
                  </a:lnTo>
                  <a:lnTo>
                    <a:pt x="114" y="1992"/>
                  </a:lnTo>
                  <a:lnTo>
                    <a:pt x="114" y="1986"/>
                  </a:lnTo>
                  <a:lnTo>
                    <a:pt x="108" y="1992"/>
                  </a:lnTo>
                  <a:lnTo>
                    <a:pt x="108" y="1998"/>
                  </a:lnTo>
                  <a:lnTo>
                    <a:pt x="114" y="2004"/>
                  </a:lnTo>
                  <a:lnTo>
                    <a:pt x="108" y="2004"/>
                  </a:lnTo>
                  <a:lnTo>
                    <a:pt x="102" y="2010"/>
                  </a:lnTo>
                  <a:lnTo>
                    <a:pt x="102" y="2004"/>
                  </a:lnTo>
                  <a:lnTo>
                    <a:pt x="90" y="2004"/>
                  </a:lnTo>
                  <a:lnTo>
                    <a:pt x="84" y="2004"/>
                  </a:lnTo>
                  <a:lnTo>
                    <a:pt x="78" y="1998"/>
                  </a:lnTo>
                  <a:lnTo>
                    <a:pt x="78" y="1992"/>
                  </a:lnTo>
                  <a:lnTo>
                    <a:pt x="78" y="1986"/>
                  </a:lnTo>
                  <a:lnTo>
                    <a:pt x="72" y="1986"/>
                  </a:lnTo>
                  <a:lnTo>
                    <a:pt x="66" y="1980"/>
                  </a:lnTo>
                  <a:lnTo>
                    <a:pt x="66" y="1968"/>
                  </a:lnTo>
                  <a:lnTo>
                    <a:pt x="60" y="1956"/>
                  </a:lnTo>
                  <a:lnTo>
                    <a:pt x="60" y="1950"/>
                  </a:lnTo>
                  <a:lnTo>
                    <a:pt x="48" y="1944"/>
                  </a:lnTo>
                  <a:lnTo>
                    <a:pt x="30" y="1926"/>
                  </a:lnTo>
                  <a:lnTo>
                    <a:pt x="12" y="1890"/>
                  </a:lnTo>
                  <a:lnTo>
                    <a:pt x="6" y="1872"/>
                  </a:lnTo>
                  <a:lnTo>
                    <a:pt x="0" y="1854"/>
                  </a:lnTo>
                  <a:lnTo>
                    <a:pt x="6" y="1824"/>
                  </a:lnTo>
                  <a:lnTo>
                    <a:pt x="30" y="1794"/>
                  </a:lnTo>
                  <a:lnTo>
                    <a:pt x="66" y="1752"/>
                  </a:lnTo>
                  <a:lnTo>
                    <a:pt x="72" y="1752"/>
                  </a:lnTo>
                  <a:lnTo>
                    <a:pt x="78" y="1746"/>
                  </a:lnTo>
                  <a:lnTo>
                    <a:pt x="84" y="1746"/>
                  </a:lnTo>
                  <a:lnTo>
                    <a:pt x="90" y="1746"/>
                  </a:lnTo>
                  <a:lnTo>
                    <a:pt x="138" y="1674"/>
                  </a:lnTo>
                  <a:lnTo>
                    <a:pt x="186" y="1620"/>
                  </a:lnTo>
                  <a:lnTo>
                    <a:pt x="186" y="1614"/>
                  </a:lnTo>
                  <a:lnTo>
                    <a:pt x="186" y="1608"/>
                  </a:lnTo>
                  <a:lnTo>
                    <a:pt x="192" y="1608"/>
                  </a:lnTo>
                  <a:lnTo>
                    <a:pt x="192" y="1614"/>
                  </a:lnTo>
                  <a:lnTo>
                    <a:pt x="198" y="1614"/>
                  </a:lnTo>
                  <a:lnTo>
                    <a:pt x="198" y="1608"/>
                  </a:lnTo>
                  <a:lnTo>
                    <a:pt x="198" y="1602"/>
                  </a:lnTo>
                  <a:lnTo>
                    <a:pt x="204" y="1602"/>
                  </a:lnTo>
                  <a:lnTo>
                    <a:pt x="204" y="1596"/>
                  </a:lnTo>
                  <a:lnTo>
                    <a:pt x="210" y="1590"/>
                  </a:lnTo>
                  <a:lnTo>
                    <a:pt x="216" y="1590"/>
                  </a:lnTo>
                  <a:lnTo>
                    <a:pt x="216" y="1584"/>
                  </a:lnTo>
                  <a:lnTo>
                    <a:pt x="222" y="1584"/>
                  </a:lnTo>
                  <a:lnTo>
                    <a:pt x="228" y="1572"/>
                  </a:lnTo>
                  <a:lnTo>
                    <a:pt x="222" y="1572"/>
                  </a:lnTo>
                  <a:lnTo>
                    <a:pt x="228" y="1566"/>
                  </a:lnTo>
                  <a:lnTo>
                    <a:pt x="228" y="1560"/>
                  </a:lnTo>
                  <a:lnTo>
                    <a:pt x="252" y="1548"/>
                  </a:lnTo>
                  <a:lnTo>
                    <a:pt x="276" y="1530"/>
                  </a:lnTo>
                  <a:lnTo>
                    <a:pt x="282" y="1512"/>
                  </a:lnTo>
                  <a:lnTo>
                    <a:pt x="282" y="1506"/>
                  </a:lnTo>
                  <a:lnTo>
                    <a:pt x="282" y="1494"/>
                  </a:lnTo>
                  <a:lnTo>
                    <a:pt x="282" y="1452"/>
                  </a:lnTo>
                  <a:lnTo>
                    <a:pt x="288" y="1440"/>
                  </a:lnTo>
                  <a:lnTo>
                    <a:pt x="294" y="1440"/>
                  </a:lnTo>
                  <a:lnTo>
                    <a:pt x="294" y="1428"/>
                  </a:lnTo>
                  <a:lnTo>
                    <a:pt x="324" y="1368"/>
                  </a:lnTo>
                  <a:lnTo>
                    <a:pt x="330" y="1362"/>
                  </a:lnTo>
                  <a:lnTo>
                    <a:pt x="330" y="1356"/>
                  </a:lnTo>
                  <a:lnTo>
                    <a:pt x="360" y="1338"/>
                  </a:lnTo>
                  <a:lnTo>
                    <a:pt x="366" y="1296"/>
                  </a:lnTo>
                  <a:lnTo>
                    <a:pt x="354" y="1278"/>
                  </a:lnTo>
                  <a:lnTo>
                    <a:pt x="336" y="1230"/>
                  </a:lnTo>
                  <a:lnTo>
                    <a:pt x="270" y="1212"/>
                  </a:lnTo>
                  <a:lnTo>
                    <a:pt x="264" y="1212"/>
                  </a:lnTo>
                  <a:lnTo>
                    <a:pt x="252" y="1200"/>
                  </a:lnTo>
                  <a:lnTo>
                    <a:pt x="234" y="1188"/>
                  </a:lnTo>
                  <a:lnTo>
                    <a:pt x="222" y="1182"/>
                  </a:lnTo>
                  <a:lnTo>
                    <a:pt x="228" y="1104"/>
                  </a:lnTo>
                  <a:lnTo>
                    <a:pt x="228" y="1098"/>
                  </a:lnTo>
                  <a:lnTo>
                    <a:pt x="198" y="1038"/>
                  </a:lnTo>
                  <a:lnTo>
                    <a:pt x="192" y="1032"/>
                  </a:lnTo>
                  <a:lnTo>
                    <a:pt x="180" y="1020"/>
                  </a:lnTo>
                  <a:lnTo>
                    <a:pt x="168" y="996"/>
                  </a:lnTo>
                  <a:lnTo>
                    <a:pt x="162" y="990"/>
                  </a:lnTo>
                  <a:lnTo>
                    <a:pt x="156" y="990"/>
                  </a:lnTo>
                  <a:lnTo>
                    <a:pt x="150" y="990"/>
                  </a:lnTo>
                  <a:lnTo>
                    <a:pt x="132" y="990"/>
                  </a:lnTo>
                  <a:lnTo>
                    <a:pt x="120" y="984"/>
                  </a:lnTo>
                  <a:lnTo>
                    <a:pt x="120" y="990"/>
                  </a:lnTo>
                  <a:lnTo>
                    <a:pt x="114" y="990"/>
                  </a:lnTo>
                  <a:lnTo>
                    <a:pt x="102" y="984"/>
                  </a:lnTo>
                  <a:lnTo>
                    <a:pt x="96" y="984"/>
                  </a:lnTo>
                  <a:lnTo>
                    <a:pt x="96" y="978"/>
                  </a:lnTo>
                  <a:lnTo>
                    <a:pt x="90" y="978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84" y="960"/>
                  </a:lnTo>
                  <a:lnTo>
                    <a:pt x="84" y="954"/>
                  </a:lnTo>
                  <a:lnTo>
                    <a:pt x="78" y="948"/>
                  </a:lnTo>
                  <a:lnTo>
                    <a:pt x="72" y="948"/>
                  </a:lnTo>
                  <a:lnTo>
                    <a:pt x="72" y="942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06"/>
                  </a:lnTo>
                  <a:lnTo>
                    <a:pt x="60" y="888"/>
                  </a:lnTo>
                  <a:lnTo>
                    <a:pt x="54" y="882"/>
                  </a:lnTo>
                  <a:lnTo>
                    <a:pt x="60" y="882"/>
                  </a:lnTo>
                  <a:lnTo>
                    <a:pt x="72" y="876"/>
                  </a:lnTo>
                  <a:lnTo>
                    <a:pt x="78" y="876"/>
                  </a:lnTo>
                  <a:lnTo>
                    <a:pt x="90" y="870"/>
                  </a:lnTo>
                  <a:lnTo>
                    <a:pt x="90" y="864"/>
                  </a:lnTo>
                  <a:lnTo>
                    <a:pt x="96" y="840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80" y="822"/>
                  </a:lnTo>
                  <a:lnTo>
                    <a:pt x="204" y="798"/>
                  </a:lnTo>
                  <a:lnTo>
                    <a:pt x="222" y="786"/>
                  </a:lnTo>
                  <a:lnTo>
                    <a:pt x="252" y="780"/>
                  </a:lnTo>
                  <a:lnTo>
                    <a:pt x="264" y="762"/>
                  </a:lnTo>
                  <a:lnTo>
                    <a:pt x="276" y="762"/>
                  </a:lnTo>
                  <a:lnTo>
                    <a:pt x="288" y="744"/>
                  </a:lnTo>
                  <a:lnTo>
                    <a:pt x="306" y="738"/>
                  </a:lnTo>
                  <a:lnTo>
                    <a:pt x="318" y="732"/>
                  </a:lnTo>
                  <a:lnTo>
                    <a:pt x="324" y="648"/>
                  </a:lnTo>
                  <a:lnTo>
                    <a:pt x="324" y="636"/>
                  </a:lnTo>
                  <a:lnTo>
                    <a:pt x="324" y="630"/>
                  </a:lnTo>
                  <a:lnTo>
                    <a:pt x="330" y="624"/>
                  </a:lnTo>
                  <a:lnTo>
                    <a:pt x="324" y="618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24" y="588"/>
                  </a:lnTo>
                  <a:lnTo>
                    <a:pt x="318" y="576"/>
                  </a:lnTo>
                  <a:lnTo>
                    <a:pt x="318" y="570"/>
                  </a:lnTo>
                  <a:lnTo>
                    <a:pt x="324" y="570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30" y="558"/>
                  </a:lnTo>
                  <a:lnTo>
                    <a:pt x="336" y="558"/>
                  </a:lnTo>
                  <a:lnTo>
                    <a:pt x="342" y="558"/>
                  </a:lnTo>
                  <a:lnTo>
                    <a:pt x="348" y="558"/>
                  </a:lnTo>
                  <a:lnTo>
                    <a:pt x="354" y="564"/>
                  </a:lnTo>
                  <a:lnTo>
                    <a:pt x="360" y="564"/>
                  </a:lnTo>
                  <a:lnTo>
                    <a:pt x="366" y="570"/>
                  </a:lnTo>
                  <a:lnTo>
                    <a:pt x="366" y="576"/>
                  </a:lnTo>
                  <a:lnTo>
                    <a:pt x="372" y="570"/>
                  </a:lnTo>
                  <a:lnTo>
                    <a:pt x="378" y="570"/>
                  </a:lnTo>
                  <a:lnTo>
                    <a:pt x="390" y="570"/>
                  </a:lnTo>
                  <a:lnTo>
                    <a:pt x="402" y="570"/>
                  </a:lnTo>
                  <a:lnTo>
                    <a:pt x="408" y="570"/>
                  </a:lnTo>
                  <a:lnTo>
                    <a:pt x="414" y="564"/>
                  </a:lnTo>
                  <a:lnTo>
                    <a:pt x="420" y="564"/>
                  </a:lnTo>
                  <a:lnTo>
                    <a:pt x="420" y="570"/>
                  </a:lnTo>
                  <a:lnTo>
                    <a:pt x="426" y="570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44" y="570"/>
                  </a:lnTo>
                  <a:lnTo>
                    <a:pt x="450" y="564"/>
                  </a:lnTo>
                  <a:lnTo>
                    <a:pt x="474" y="558"/>
                  </a:lnTo>
                  <a:lnTo>
                    <a:pt x="486" y="54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40" y="474"/>
                  </a:lnTo>
                  <a:lnTo>
                    <a:pt x="558" y="456"/>
                  </a:lnTo>
                  <a:lnTo>
                    <a:pt x="582" y="450"/>
                  </a:lnTo>
                  <a:lnTo>
                    <a:pt x="594" y="414"/>
                  </a:lnTo>
                  <a:lnTo>
                    <a:pt x="612" y="390"/>
                  </a:lnTo>
                  <a:lnTo>
                    <a:pt x="636" y="390"/>
                  </a:lnTo>
                  <a:lnTo>
                    <a:pt x="666" y="390"/>
                  </a:lnTo>
                  <a:lnTo>
                    <a:pt x="696" y="390"/>
                  </a:lnTo>
                  <a:lnTo>
                    <a:pt x="726" y="390"/>
                  </a:lnTo>
                  <a:lnTo>
                    <a:pt x="762" y="378"/>
                  </a:lnTo>
                  <a:lnTo>
                    <a:pt x="780" y="366"/>
                  </a:lnTo>
                  <a:lnTo>
                    <a:pt x="780" y="342"/>
                  </a:lnTo>
                  <a:lnTo>
                    <a:pt x="786" y="342"/>
                  </a:lnTo>
                  <a:lnTo>
                    <a:pt x="786" y="336"/>
                  </a:lnTo>
                  <a:lnTo>
                    <a:pt x="786" y="330"/>
                  </a:lnTo>
                  <a:lnTo>
                    <a:pt x="786" y="324"/>
                  </a:lnTo>
                  <a:lnTo>
                    <a:pt x="816" y="318"/>
                  </a:lnTo>
                  <a:lnTo>
                    <a:pt x="834" y="312"/>
                  </a:lnTo>
                  <a:lnTo>
                    <a:pt x="840" y="318"/>
                  </a:lnTo>
                  <a:lnTo>
                    <a:pt x="852" y="318"/>
                  </a:lnTo>
                  <a:lnTo>
                    <a:pt x="858" y="306"/>
                  </a:lnTo>
                  <a:lnTo>
                    <a:pt x="864" y="288"/>
                  </a:lnTo>
                  <a:lnTo>
                    <a:pt x="870" y="282"/>
                  </a:lnTo>
                  <a:lnTo>
                    <a:pt x="876" y="276"/>
                  </a:lnTo>
                  <a:lnTo>
                    <a:pt x="882" y="264"/>
                  </a:lnTo>
                  <a:lnTo>
                    <a:pt x="882" y="258"/>
                  </a:lnTo>
                  <a:lnTo>
                    <a:pt x="888" y="252"/>
                  </a:lnTo>
                  <a:lnTo>
                    <a:pt x="894" y="240"/>
                  </a:lnTo>
                  <a:lnTo>
                    <a:pt x="906" y="228"/>
                  </a:lnTo>
                  <a:lnTo>
                    <a:pt x="912" y="228"/>
                  </a:lnTo>
                  <a:lnTo>
                    <a:pt x="936" y="228"/>
                  </a:lnTo>
                  <a:lnTo>
                    <a:pt x="942" y="222"/>
                  </a:lnTo>
                  <a:lnTo>
                    <a:pt x="948" y="216"/>
                  </a:lnTo>
                  <a:lnTo>
                    <a:pt x="954" y="216"/>
                  </a:lnTo>
                  <a:lnTo>
                    <a:pt x="960" y="216"/>
                  </a:lnTo>
                  <a:lnTo>
                    <a:pt x="966" y="216"/>
                  </a:lnTo>
                  <a:lnTo>
                    <a:pt x="978" y="216"/>
                  </a:lnTo>
                  <a:lnTo>
                    <a:pt x="990" y="222"/>
                  </a:lnTo>
                  <a:lnTo>
                    <a:pt x="996" y="222"/>
                  </a:lnTo>
                  <a:lnTo>
                    <a:pt x="1002" y="228"/>
                  </a:lnTo>
                  <a:lnTo>
                    <a:pt x="1014" y="234"/>
                  </a:lnTo>
                  <a:lnTo>
                    <a:pt x="1020" y="234"/>
                  </a:lnTo>
                  <a:lnTo>
                    <a:pt x="1032" y="240"/>
                  </a:lnTo>
                  <a:lnTo>
                    <a:pt x="1044" y="240"/>
                  </a:lnTo>
                  <a:lnTo>
                    <a:pt x="1050" y="240"/>
                  </a:lnTo>
                  <a:lnTo>
                    <a:pt x="1056" y="246"/>
                  </a:lnTo>
                  <a:lnTo>
                    <a:pt x="1068" y="264"/>
                  </a:lnTo>
                  <a:lnTo>
                    <a:pt x="1086" y="276"/>
                  </a:lnTo>
                  <a:lnTo>
                    <a:pt x="1092" y="276"/>
                  </a:lnTo>
                  <a:lnTo>
                    <a:pt x="1104" y="282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8" y="312"/>
                  </a:lnTo>
                  <a:lnTo>
                    <a:pt x="1152" y="324"/>
                  </a:lnTo>
                  <a:lnTo>
                    <a:pt x="1188" y="324"/>
                  </a:lnTo>
                  <a:lnTo>
                    <a:pt x="1206" y="318"/>
                  </a:lnTo>
                  <a:lnTo>
                    <a:pt x="1200" y="294"/>
                  </a:lnTo>
                  <a:lnTo>
                    <a:pt x="1206" y="252"/>
                  </a:lnTo>
                  <a:lnTo>
                    <a:pt x="1218" y="222"/>
                  </a:lnTo>
                  <a:lnTo>
                    <a:pt x="1212" y="222"/>
                  </a:lnTo>
                  <a:lnTo>
                    <a:pt x="1212" y="216"/>
                  </a:lnTo>
                  <a:lnTo>
                    <a:pt x="1218" y="204"/>
                  </a:lnTo>
                  <a:lnTo>
                    <a:pt x="1224" y="198"/>
                  </a:lnTo>
                  <a:lnTo>
                    <a:pt x="1224" y="192"/>
                  </a:lnTo>
                  <a:lnTo>
                    <a:pt x="1236" y="180"/>
                  </a:lnTo>
                  <a:lnTo>
                    <a:pt x="1254" y="156"/>
                  </a:lnTo>
                  <a:lnTo>
                    <a:pt x="1260" y="150"/>
                  </a:lnTo>
                  <a:lnTo>
                    <a:pt x="1260" y="144"/>
                  </a:lnTo>
                  <a:lnTo>
                    <a:pt x="1266" y="138"/>
                  </a:lnTo>
                  <a:lnTo>
                    <a:pt x="1272" y="138"/>
                  </a:lnTo>
                  <a:lnTo>
                    <a:pt x="1272" y="120"/>
                  </a:lnTo>
                  <a:lnTo>
                    <a:pt x="1278" y="114"/>
                  </a:lnTo>
                  <a:lnTo>
                    <a:pt x="1278" y="108"/>
                  </a:lnTo>
                  <a:lnTo>
                    <a:pt x="1278" y="102"/>
                  </a:lnTo>
                  <a:lnTo>
                    <a:pt x="1278" y="90"/>
                  </a:lnTo>
                  <a:lnTo>
                    <a:pt x="1278" y="84"/>
                  </a:lnTo>
                  <a:lnTo>
                    <a:pt x="1278" y="78"/>
                  </a:lnTo>
                  <a:lnTo>
                    <a:pt x="1278" y="72"/>
                  </a:lnTo>
                  <a:lnTo>
                    <a:pt x="1278" y="60"/>
                  </a:lnTo>
                  <a:lnTo>
                    <a:pt x="1284" y="48"/>
                  </a:lnTo>
                  <a:lnTo>
                    <a:pt x="1284" y="24"/>
                  </a:lnTo>
                  <a:lnTo>
                    <a:pt x="1284" y="18"/>
                  </a:lnTo>
                  <a:lnTo>
                    <a:pt x="1308" y="24"/>
                  </a:lnTo>
                  <a:lnTo>
                    <a:pt x="1332" y="30"/>
                  </a:lnTo>
                  <a:lnTo>
                    <a:pt x="1368" y="30"/>
                  </a:lnTo>
                  <a:lnTo>
                    <a:pt x="1392" y="24"/>
                  </a:lnTo>
                  <a:lnTo>
                    <a:pt x="1410" y="18"/>
                  </a:lnTo>
                  <a:lnTo>
                    <a:pt x="1416" y="6"/>
                  </a:lnTo>
                  <a:lnTo>
                    <a:pt x="1500" y="6"/>
                  </a:lnTo>
                  <a:lnTo>
                    <a:pt x="1506" y="0"/>
                  </a:lnTo>
                  <a:lnTo>
                    <a:pt x="1506" y="6"/>
                  </a:lnTo>
                  <a:lnTo>
                    <a:pt x="1506" y="18"/>
                  </a:lnTo>
                  <a:lnTo>
                    <a:pt x="1506" y="24"/>
                  </a:lnTo>
                  <a:lnTo>
                    <a:pt x="1500" y="30"/>
                  </a:lnTo>
                  <a:lnTo>
                    <a:pt x="1500" y="42"/>
                  </a:lnTo>
                  <a:lnTo>
                    <a:pt x="1494" y="54"/>
                  </a:lnTo>
                  <a:lnTo>
                    <a:pt x="1488" y="60"/>
                  </a:lnTo>
                  <a:lnTo>
                    <a:pt x="1482" y="60"/>
                  </a:lnTo>
                  <a:lnTo>
                    <a:pt x="1476" y="66"/>
                  </a:lnTo>
                  <a:lnTo>
                    <a:pt x="1476" y="72"/>
                  </a:lnTo>
                  <a:lnTo>
                    <a:pt x="1476" y="78"/>
                  </a:lnTo>
                  <a:lnTo>
                    <a:pt x="1470" y="78"/>
                  </a:lnTo>
                  <a:lnTo>
                    <a:pt x="1464" y="90"/>
                  </a:lnTo>
                  <a:lnTo>
                    <a:pt x="1458" y="96"/>
                  </a:lnTo>
                  <a:lnTo>
                    <a:pt x="1458" y="102"/>
                  </a:lnTo>
                  <a:lnTo>
                    <a:pt x="1452" y="120"/>
                  </a:lnTo>
                  <a:lnTo>
                    <a:pt x="1452" y="132"/>
                  </a:lnTo>
                  <a:lnTo>
                    <a:pt x="1446" y="144"/>
                  </a:lnTo>
                  <a:lnTo>
                    <a:pt x="1446" y="150"/>
                  </a:lnTo>
                  <a:lnTo>
                    <a:pt x="1440" y="150"/>
                  </a:lnTo>
                  <a:lnTo>
                    <a:pt x="1434" y="156"/>
                  </a:lnTo>
                  <a:lnTo>
                    <a:pt x="1428" y="168"/>
                  </a:lnTo>
                  <a:lnTo>
                    <a:pt x="1422" y="168"/>
                  </a:lnTo>
                  <a:lnTo>
                    <a:pt x="1416" y="174"/>
                  </a:lnTo>
                  <a:lnTo>
                    <a:pt x="1410" y="186"/>
                  </a:lnTo>
                  <a:lnTo>
                    <a:pt x="1410" y="204"/>
                  </a:lnTo>
                  <a:lnTo>
                    <a:pt x="1404" y="210"/>
                  </a:lnTo>
                  <a:lnTo>
                    <a:pt x="1404" y="216"/>
                  </a:lnTo>
                  <a:lnTo>
                    <a:pt x="1410" y="228"/>
                  </a:lnTo>
                  <a:lnTo>
                    <a:pt x="1410" y="234"/>
                  </a:lnTo>
                  <a:lnTo>
                    <a:pt x="1410" y="240"/>
                  </a:lnTo>
                  <a:lnTo>
                    <a:pt x="1416" y="252"/>
                  </a:lnTo>
                  <a:lnTo>
                    <a:pt x="1416" y="258"/>
                  </a:lnTo>
                  <a:lnTo>
                    <a:pt x="1422" y="264"/>
                  </a:lnTo>
                  <a:lnTo>
                    <a:pt x="1422" y="270"/>
                  </a:lnTo>
                  <a:lnTo>
                    <a:pt x="1422" y="282"/>
                  </a:lnTo>
                  <a:lnTo>
                    <a:pt x="1416" y="288"/>
                  </a:lnTo>
                  <a:lnTo>
                    <a:pt x="1410" y="294"/>
                  </a:lnTo>
                  <a:lnTo>
                    <a:pt x="1404" y="300"/>
                  </a:lnTo>
                  <a:lnTo>
                    <a:pt x="1404" y="306"/>
                  </a:lnTo>
                  <a:lnTo>
                    <a:pt x="1398" y="324"/>
                  </a:lnTo>
                  <a:lnTo>
                    <a:pt x="1404" y="330"/>
                  </a:lnTo>
                  <a:lnTo>
                    <a:pt x="1404" y="342"/>
                  </a:lnTo>
                  <a:lnTo>
                    <a:pt x="1392" y="354"/>
                  </a:lnTo>
                  <a:lnTo>
                    <a:pt x="1392" y="360"/>
                  </a:lnTo>
                  <a:lnTo>
                    <a:pt x="1392" y="372"/>
                  </a:lnTo>
                  <a:lnTo>
                    <a:pt x="1392" y="384"/>
                  </a:lnTo>
                  <a:lnTo>
                    <a:pt x="1392" y="396"/>
                  </a:lnTo>
                  <a:lnTo>
                    <a:pt x="1392" y="408"/>
                  </a:lnTo>
                  <a:lnTo>
                    <a:pt x="1386" y="414"/>
                  </a:lnTo>
                  <a:lnTo>
                    <a:pt x="1380" y="420"/>
                  </a:lnTo>
                  <a:lnTo>
                    <a:pt x="1380" y="426"/>
                  </a:lnTo>
                  <a:lnTo>
                    <a:pt x="1368" y="432"/>
                  </a:lnTo>
                  <a:lnTo>
                    <a:pt x="1362" y="444"/>
                  </a:lnTo>
                  <a:lnTo>
                    <a:pt x="1362" y="450"/>
                  </a:lnTo>
                  <a:lnTo>
                    <a:pt x="1362" y="462"/>
                  </a:lnTo>
                  <a:lnTo>
                    <a:pt x="1362" y="468"/>
                  </a:lnTo>
                  <a:lnTo>
                    <a:pt x="1362" y="474"/>
                  </a:lnTo>
                  <a:lnTo>
                    <a:pt x="1356" y="474"/>
                  </a:lnTo>
                  <a:lnTo>
                    <a:pt x="1350" y="480"/>
                  </a:lnTo>
                  <a:lnTo>
                    <a:pt x="1344" y="486"/>
                  </a:lnTo>
                  <a:lnTo>
                    <a:pt x="1338" y="498"/>
                  </a:lnTo>
                  <a:lnTo>
                    <a:pt x="1332" y="510"/>
                  </a:lnTo>
                  <a:lnTo>
                    <a:pt x="1320" y="510"/>
                  </a:lnTo>
                  <a:lnTo>
                    <a:pt x="1314" y="516"/>
                  </a:lnTo>
                  <a:lnTo>
                    <a:pt x="1302" y="522"/>
                  </a:lnTo>
                  <a:lnTo>
                    <a:pt x="1296" y="522"/>
                  </a:lnTo>
                  <a:lnTo>
                    <a:pt x="1284" y="516"/>
                  </a:lnTo>
                  <a:lnTo>
                    <a:pt x="1278" y="516"/>
                  </a:lnTo>
                  <a:lnTo>
                    <a:pt x="1272" y="522"/>
                  </a:lnTo>
                  <a:lnTo>
                    <a:pt x="1266" y="522"/>
                  </a:lnTo>
                  <a:lnTo>
                    <a:pt x="1266" y="528"/>
                  </a:lnTo>
                  <a:lnTo>
                    <a:pt x="1254" y="540"/>
                  </a:lnTo>
                  <a:lnTo>
                    <a:pt x="1248" y="546"/>
                  </a:lnTo>
                  <a:lnTo>
                    <a:pt x="1242" y="558"/>
                  </a:lnTo>
                  <a:lnTo>
                    <a:pt x="1230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30" y="594"/>
                  </a:lnTo>
                  <a:lnTo>
                    <a:pt x="1230" y="600"/>
                  </a:lnTo>
                  <a:lnTo>
                    <a:pt x="1236" y="606"/>
                  </a:lnTo>
                  <a:lnTo>
                    <a:pt x="1242" y="606"/>
                  </a:lnTo>
                  <a:lnTo>
                    <a:pt x="1242" y="612"/>
                  </a:lnTo>
                  <a:lnTo>
                    <a:pt x="1242" y="618"/>
                  </a:lnTo>
                  <a:lnTo>
                    <a:pt x="1242" y="624"/>
                  </a:lnTo>
                  <a:lnTo>
                    <a:pt x="1236" y="630"/>
                  </a:lnTo>
                  <a:lnTo>
                    <a:pt x="1230" y="642"/>
                  </a:lnTo>
                  <a:lnTo>
                    <a:pt x="1230" y="648"/>
                  </a:lnTo>
                  <a:lnTo>
                    <a:pt x="1218" y="654"/>
                  </a:lnTo>
                  <a:lnTo>
                    <a:pt x="1212" y="654"/>
                  </a:lnTo>
                  <a:lnTo>
                    <a:pt x="1212" y="660"/>
                  </a:lnTo>
                  <a:lnTo>
                    <a:pt x="1212" y="666"/>
                  </a:lnTo>
                  <a:lnTo>
                    <a:pt x="1212" y="672"/>
                  </a:lnTo>
                  <a:lnTo>
                    <a:pt x="1212" y="678"/>
                  </a:lnTo>
                  <a:lnTo>
                    <a:pt x="1218" y="684"/>
                  </a:lnTo>
                  <a:lnTo>
                    <a:pt x="1218" y="690"/>
                  </a:lnTo>
                  <a:lnTo>
                    <a:pt x="1224" y="696"/>
                  </a:lnTo>
                  <a:lnTo>
                    <a:pt x="1230" y="702"/>
                  </a:lnTo>
                  <a:lnTo>
                    <a:pt x="1236" y="696"/>
                  </a:lnTo>
                  <a:lnTo>
                    <a:pt x="1242" y="702"/>
                  </a:lnTo>
                  <a:lnTo>
                    <a:pt x="1248" y="708"/>
                  </a:lnTo>
                  <a:lnTo>
                    <a:pt x="1254" y="714"/>
                  </a:lnTo>
                  <a:lnTo>
                    <a:pt x="1254" y="720"/>
                  </a:lnTo>
                  <a:lnTo>
                    <a:pt x="1260" y="720"/>
                  </a:lnTo>
                  <a:lnTo>
                    <a:pt x="1254" y="732"/>
                  </a:lnTo>
                  <a:lnTo>
                    <a:pt x="1248" y="738"/>
                  </a:lnTo>
                  <a:lnTo>
                    <a:pt x="1242" y="744"/>
                  </a:lnTo>
                  <a:lnTo>
                    <a:pt x="1236" y="750"/>
                  </a:lnTo>
                  <a:lnTo>
                    <a:pt x="1236" y="756"/>
                  </a:lnTo>
                  <a:lnTo>
                    <a:pt x="1236" y="762"/>
                  </a:lnTo>
                  <a:lnTo>
                    <a:pt x="1236" y="768"/>
                  </a:lnTo>
                  <a:lnTo>
                    <a:pt x="1236" y="780"/>
                  </a:lnTo>
                  <a:lnTo>
                    <a:pt x="1230" y="780"/>
                  </a:lnTo>
                  <a:lnTo>
                    <a:pt x="1230" y="786"/>
                  </a:lnTo>
                  <a:lnTo>
                    <a:pt x="1230" y="792"/>
                  </a:lnTo>
                  <a:lnTo>
                    <a:pt x="1230" y="804"/>
                  </a:lnTo>
                  <a:lnTo>
                    <a:pt x="1224" y="810"/>
                  </a:lnTo>
                  <a:lnTo>
                    <a:pt x="1218" y="816"/>
                  </a:lnTo>
                  <a:lnTo>
                    <a:pt x="1224" y="822"/>
                  </a:lnTo>
                  <a:lnTo>
                    <a:pt x="1224" y="828"/>
                  </a:lnTo>
                  <a:lnTo>
                    <a:pt x="1218" y="834"/>
                  </a:lnTo>
                  <a:lnTo>
                    <a:pt x="1224" y="834"/>
                  </a:lnTo>
                  <a:lnTo>
                    <a:pt x="1224" y="840"/>
                  </a:lnTo>
                  <a:lnTo>
                    <a:pt x="1224" y="846"/>
                  </a:lnTo>
                  <a:lnTo>
                    <a:pt x="1224" y="852"/>
                  </a:lnTo>
                  <a:lnTo>
                    <a:pt x="1218" y="858"/>
                  </a:lnTo>
                  <a:lnTo>
                    <a:pt x="1218" y="870"/>
                  </a:lnTo>
                  <a:lnTo>
                    <a:pt x="1212" y="870"/>
                  </a:lnTo>
                  <a:lnTo>
                    <a:pt x="1212" y="876"/>
                  </a:lnTo>
                  <a:lnTo>
                    <a:pt x="1206" y="888"/>
                  </a:lnTo>
                  <a:lnTo>
                    <a:pt x="1200" y="882"/>
                  </a:lnTo>
                  <a:lnTo>
                    <a:pt x="1194" y="888"/>
                  </a:lnTo>
                  <a:lnTo>
                    <a:pt x="1188" y="894"/>
                  </a:lnTo>
                  <a:lnTo>
                    <a:pt x="1182" y="894"/>
                  </a:lnTo>
                  <a:lnTo>
                    <a:pt x="1182" y="900"/>
                  </a:lnTo>
                  <a:lnTo>
                    <a:pt x="1176" y="900"/>
                  </a:lnTo>
                  <a:lnTo>
                    <a:pt x="1170" y="894"/>
                  </a:lnTo>
                  <a:lnTo>
                    <a:pt x="1164" y="900"/>
                  </a:lnTo>
                  <a:lnTo>
                    <a:pt x="1158" y="900"/>
                  </a:lnTo>
                  <a:lnTo>
                    <a:pt x="1152" y="900"/>
                  </a:lnTo>
                  <a:lnTo>
                    <a:pt x="1140" y="900"/>
                  </a:lnTo>
                  <a:lnTo>
                    <a:pt x="1134" y="900"/>
                  </a:lnTo>
                  <a:lnTo>
                    <a:pt x="1128" y="906"/>
                  </a:lnTo>
                  <a:lnTo>
                    <a:pt x="1110" y="906"/>
                  </a:lnTo>
                  <a:lnTo>
                    <a:pt x="1104" y="906"/>
                  </a:lnTo>
                  <a:lnTo>
                    <a:pt x="1098" y="906"/>
                  </a:lnTo>
                  <a:lnTo>
                    <a:pt x="1092" y="912"/>
                  </a:lnTo>
                  <a:lnTo>
                    <a:pt x="1080" y="918"/>
                  </a:lnTo>
                  <a:lnTo>
                    <a:pt x="1068" y="930"/>
                  </a:lnTo>
                  <a:lnTo>
                    <a:pt x="1062" y="930"/>
                  </a:lnTo>
                  <a:lnTo>
                    <a:pt x="1056" y="930"/>
                  </a:lnTo>
                  <a:lnTo>
                    <a:pt x="1050" y="930"/>
                  </a:lnTo>
                  <a:lnTo>
                    <a:pt x="1050" y="936"/>
                  </a:lnTo>
                  <a:lnTo>
                    <a:pt x="1038" y="942"/>
                  </a:lnTo>
                  <a:lnTo>
                    <a:pt x="1032" y="948"/>
                  </a:lnTo>
                  <a:lnTo>
                    <a:pt x="1026" y="954"/>
                  </a:lnTo>
                  <a:lnTo>
                    <a:pt x="1020" y="960"/>
                  </a:lnTo>
                  <a:lnTo>
                    <a:pt x="1014" y="966"/>
                  </a:lnTo>
                  <a:lnTo>
                    <a:pt x="1002" y="966"/>
                  </a:lnTo>
                  <a:lnTo>
                    <a:pt x="990" y="978"/>
                  </a:lnTo>
                  <a:lnTo>
                    <a:pt x="984" y="978"/>
                  </a:lnTo>
                  <a:lnTo>
                    <a:pt x="978" y="984"/>
                  </a:lnTo>
                  <a:lnTo>
                    <a:pt x="972" y="984"/>
                  </a:lnTo>
                  <a:lnTo>
                    <a:pt x="978" y="990"/>
                  </a:lnTo>
                  <a:lnTo>
                    <a:pt x="972" y="996"/>
                  </a:lnTo>
                  <a:lnTo>
                    <a:pt x="978" y="1002"/>
                  </a:lnTo>
                  <a:lnTo>
                    <a:pt x="1002" y="1002"/>
                  </a:lnTo>
                  <a:lnTo>
                    <a:pt x="1002" y="1008"/>
                  </a:lnTo>
                  <a:lnTo>
                    <a:pt x="1008" y="1020"/>
                  </a:lnTo>
                  <a:lnTo>
                    <a:pt x="1002" y="1026"/>
                  </a:lnTo>
                  <a:lnTo>
                    <a:pt x="1002" y="1032"/>
                  </a:lnTo>
                  <a:lnTo>
                    <a:pt x="1002" y="1050"/>
                  </a:lnTo>
                  <a:lnTo>
                    <a:pt x="1002" y="1056"/>
                  </a:lnTo>
                  <a:lnTo>
                    <a:pt x="1008" y="1062"/>
                  </a:lnTo>
                  <a:lnTo>
                    <a:pt x="1008" y="1074"/>
                  </a:lnTo>
                  <a:lnTo>
                    <a:pt x="1008" y="1086"/>
                  </a:lnTo>
                  <a:lnTo>
                    <a:pt x="996" y="1092"/>
                  </a:lnTo>
                  <a:lnTo>
                    <a:pt x="996" y="1098"/>
                  </a:lnTo>
                  <a:lnTo>
                    <a:pt x="996" y="1104"/>
                  </a:lnTo>
                  <a:lnTo>
                    <a:pt x="990" y="1110"/>
                  </a:lnTo>
                  <a:lnTo>
                    <a:pt x="990" y="1116"/>
                  </a:lnTo>
                  <a:lnTo>
                    <a:pt x="996" y="1122"/>
                  </a:lnTo>
                  <a:lnTo>
                    <a:pt x="990" y="1128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96" y="1140"/>
                  </a:lnTo>
                  <a:lnTo>
                    <a:pt x="996" y="1146"/>
                  </a:lnTo>
                  <a:lnTo>
                    <a:pt x="996" y="1152"/>
                  </a:lnTo>
                  <a:lnTo>
                    <a:pt x="996" y="1158"/>
                  </a:lnTo>
                  <a:lnTo>
                    <a:pt x="996" y="1164"/>
                  </a:lnTo>
                  <a:lnTo>
                    <a:pt x="996" y="1170"/>
                  </a:lnTo>
                  <a:lnTo>
                    <a:pt x="996" y="1176"/>
                  </a:lnTo>
                  <a:lnTo>
                    <a:pt x="990" y="1182"/>
                  </a:lnTo>
                  <a:lnTo>
                    <a:pt x="990" y="1188"/>
                  </a:lnTo>
                  <a:lnTo>
                    <a:pt x="984" y="1200"/>
                  </a:lnTo>
                  <a:lnTo>
                    <a:pt x="990" y="1206"/>
                  </a:lnTo>
                  <a:lnTo>
                    <a:pt x="990" y="1212"/>
                  </a:lnTo>
                  <a:lnTo>
                    <a:pt x="990" y="1218"/>
                  </a:lnTo>
                  <a:lnTo>
                    <a:pt x="978" y="1230"/>
                  </a:lnTo>
                  <a:lnTo>
                    <a:pt x="972" y="1236"/>
                  </a:lnTo>
                  <a:lnTo>
                    <a:pt x="972" y="1242"/>
                  </a:lnTo>
                  <a:lnTo>
                    <a:pt x="966" y="1248"/>
                  </a:lnTo>
                  <a:lnTo>
                    <a:pt x="960" y="1260"/>
                  </a:lnTo>
                  <a:lnTo>
                    <a:pt x="954" y="1266"/>
                  </a:lnTo>
                  <a:lnTo>
                    <a:pt x="942" y="1278"/>
                  </a:lnTo>
                  <a:lnTo>
                    <a:pt x="936" y="1278"/>
                  </a:lnTo>
                  <a:lnTo>
                    <a:pt x="936" y="1284"/>
                  </a:lnTo>
                  <a:lnTo>
                    <a:pt x="936" y="1296"/>
                  </a:lnTo>
                  <a:lnTo>
                    <a:pt x="936" y="1302"/>
                  </a:lnTo>
                  <a:lnTo>
                    <a:pt x="942" y="1302"/>
                  </a:lnTo>
                  <a:lnTo>
                    <a:pt x="942" y="1308"/>
                  </a:lnTo>
                  <a:lnTo>
                    <a:pt x="936" y="1314"/>
                  </a:lnTo>
                  <a:lnTo>
                    <a:pt x="930" y="1320"/>
                  </a:lnTo>
                  <a:lnTo>
                    <a:pt x="930" y="1326"/>
                  </a:lnTo>
                  <a:lnTo>
                    <a:pt x="930" y="1332"/>
                  </a:lnTo>
                  <a:lnTo>
                    <a:pt x="936" y="1338"/>
                  </a:lnTo>
                  <a:lnTo>
                    <a:pt x="936" y="1344"/>
                  </a:lnTo>
                  <a:lnTo>
                    <a:pt x="942" y="1356"/>
                  </a:lnTo>
                  <a:lnTo>
                    <a:pt x="948" y="1368"/>
                  </a:lnTo>
                  <a:lnTo>
                    <a:pt x="942" y="1380"/>
                  </a:lnTo>
                  <a:lnTo>
                    <a:pt x="936" y="1386"/>
                  </a:lnTo>
                  <a:lnTo>
                    <a:pt x="930" y="1392"/>
                  </a:lnTo>
                  <a:lnTo>
                    <a:pt x="924" y="1392"/>
                  </a:lnTo>
                  <a:lnTo>
                    <a:pt x="918" y="1386"/>
                  </a:lnTo>
                  <a:lnTo>
                    <a:pt x="912" y="1386"/>
                  </a:lnTo>
                  <a:lnTo>
                    <a:pt x="906" y="1386"/>
                  </a:lnTo>
                  <a:lnTo>
                    <a:pt x="900" y="1386"/>
                  </a:lnTo>
                  <a:lnTo>
                    <a:pt x="900" y="1392"/>
                  </a:lnTo>
                  <a:lnTo>
                    <a:pt x="894" y="1392"/>
                  </a:lnTo>
                  <a:lnTo>
                    <a:pt x="888" y="1392"/>
                  </a:lnTo>
                  <a:lnTo>
                    <a:pt x="888" y="1398"/>
                  </a:lnTo>
                  <a:lnTo>
                    <a:pt x="882" y="1404"/>
                  </a:lnTo>
                  <a:lnTo>
                    <a:pt x="882" y="1416"/>
                  </a:lnTo>
                  <a:lnTo>
                    <a:pt x="882" y="1428"/>
                  </a:lnTo>
                  <a:lnTo>
                    <a:pt x="882" y="1434"/>
                  </a:lnTo>
                  <a:lnTo>
                    <a:pt x="870" y="1440"/>
                  </a:lnTo>
                  <a:lnTo>
                    <a:pt x="864" y="1452"/>
                  </a:lnTo>
                  <a:lnTo>
                    <a:pt x="870" y="1452"/>
                  </a:lnTo>
                  <a:lnTo>
                    <a:pt x="864" y="1458"/>
                  </a:lnTo>
                  <a:lnTo>
                    <a:pt x="858" y="1464"/>
                  </a:lnTo>
                  <a:lnTo>
                    <a:pt x="852" y="1464"/>
                  </a:lnTo>
                  <a:lnTo>
                    <a:pt x="846" y="1458"/>
                  </a:lnTo>
                  <a:lnTo>
                    <a:pt x="840" y="1458"/>
                  </a:lnTo>
                  <a:lnTo>
                    <a:pt x="828" y="1470"/>
                  </a:lnTo>
                  <a:lnTo>
                    <a:pt x="810" y="1482"/>
                  </a:lnTo>
                  <a:lnTo>
                    <a:pt x="804" y="1488"/>
                  </a:lnTo>
                  <a:lnTo>
                    <a:pt x="798" y="1488"/>
                  </a:lnTo>
                  <a:lnTo>
                    <a:pt x="792" y="1488"/>
                  </a:lnTo>
                  <a:lnTo>
                    <a:pt x="786" y="1488"/>
                  </a:lnTo>
                  <a:lnTo>
                    <a:pt x="768" y="1482"/>
                  </a:lnTo>
                  <a:lnTo>
                    <a:pt x="762" y="1476"/>
                  </a:lnTo>
                  <a:lnTo>
                    <a:pt x="744" y="1476"/>
                  </a:lnTo>
                  <a:lnTo>
                    <a:pt x="738" y="1476"/>
                  </a:lnTo>
                  <a:lnTo>
                    <a:pt x="732" y="1476"/>
                  </a:lnTo>
                  <a:lnTo>
                    <a:pt x="726" y="1482"/>
                  </a:lnTo>
                  <a:lnTo>
                    <a:pt x="726" y="1488"/>
                  </a:lnTo>
                  <a:lnTo>
                    <a:pt x="726" y="1494"/>
                  </a:lnTo>
                  <a:lnTo>
                    <a:pt x="726" y="1500"/>
                  </a:lnTo>
                  <a:lnTo>
                    <a:pt x="720" y="1500"/>
                  </a:lnTo>
                  <a:lnTo>
                    <a:pt x="720" y="1506"/>
                  </a:lnTo>
                  <a:lnTo>
                    <a:pt x="714" y="1512"/>
                  </a:lnTo>
                  <a:lnTo>
                    <a:pt x="714" y="1518"/>
                  </a:lnTo>
                  <a:lnTo>
                    <a:pt x="708" y="1518"/>
                  </a:lnTo>
                  <a:lnTo>
                    <a:pt x="708" y="1530"/>
                  </a:lnTo>
                  <a:lnTo>
                    <a:pt x="708" y="1536"/>
                  </a:lnTo>
                  <a:lnTo>
                    <a:pt x="708" y="1542"/>
                  </a:lnTo>
                  <a:lnTo>
                    <a:pt x="696" y="1554"/>
                  </a:lnTo>
                  <a:lnTo>
                    <a:pt x="690" y="1560"/>
                  </a:lnTo>
                  <a:lnTo>
                    <a:pt x="684" y="1566"/>
                  </a:lnTo>
                  <a:lnTo>
                    <a:pt x="672" y="1566"/>
                  </a:lnTo>
                  <a:lnTo>
                    <a:pt x="666" y="1566"/>
                  </a:lnTo>
                  <a:lnTo>
                    <a:pt x="660" y="1566"/>
                  </a:lnTo>
                  <a:lnTo>
                    <a:pt x="654" y="1572"/>
                  </a:lnTo>
                  <a:lnTo>
                    <a:pt x="654" y="1578"/>
                  </a:lnTo>
                  <a:lnTo>
                    <a:pt x="642" y="1578"/>
                  </a:lnTo>
                  <a:lnTo>
                    <a:pt x="630" y="1572"/>
                  </a:lnTo>
                  <a:lnTo>
                    <a:pt x="624" y="1572"/>
                  </a:lnTo>
                  <a:lnTo>
                    <a:pt x="618" y="1578"/>
                  </a:lnTo>
                  <a:lnTo>
                    <a:pt x="612" y="1584"/>
                  </a:lnTo>
                  <a:lnTo>
                    <a:pt x="606" y="1584"/>
                  </a:lnTo>
                  <a:lnTo>
                    <a:pt x="600" y="1590"/>
                  </a:lnTo>
                  <a:lnTo>
                    <a:pt x="594" y="1590"/>
                  </a:lnTo>
                  <a:lnTo>
                    <a:pt x="588" y="1590"/>
                  </a:lnTo>
                  <a:lnTo>
                    <a:pt x="582" y="1590"/>
                  </a:lnTo>
                  <a:lnTo>
                    <a:pt x="582" y="1596"/>
                  </a:lnTo>
                  <a:lnTo>
                    <a:pt x="576" y="1614"/>
                  </a:lnTo>
                  <a:lnTo>
                    <a:pt x="570" y="1632"/>
                  </a:lnTo>
                  <a:lnTo>
                    <a:pt x="570" y="1638"/>
                  </a:lnTo>
                  <a:lnTo>
                    <a:pt x="576" y="1644"/>
                  </a:lnTo>
                  <a:lnTo>
                    <a:pt x="576" y="1650"/>
                  </a:lnTo>
                  <a:lnTo>
                    <a:pt x="582" y="1662"/>
                  </a:lnTo>
                  <a:lnTo>
                    <a:pt x="582" y="1668"/>
                  </a:lnTo>
                  <a:lnTo>
                    <a:pt x="588" y="1692"/>
                  </a:lnTo>
                  <a:lnTo>
                    <a:pt x="594" y="1728"/>
                  </a:lnTo>
                  <a:lnTo>
                    <a:pt x="594" y="1752"/>
                  </a:lnTo>
                  <a:lnTo>
                    <a:pt x="594" y="1764"/>
                  </a:lnTo>
                  <a:lnTo>
                    <a:pt x="582" y="1770"/>
                  </a:lnTo>
                  <a:lnTo>
                    <a:pt x="582" y="1782"/>
                  </a:lnTo>
                  <a:lnTo>
                    <a:pt x="576" y="1788"/>
                  </a:lnTo>
                  <a:lnTo>
                    <a:pt x="570" y="1794"/>
                  </a:lnTo>
                  <a:lnTo>
                    <a:pt x="564" y="1806"/>
                  </a:lnTo>
                  <a:lnTo>
                    <a:pt x="564" y="1812"/>
                  </a:lnTo>
                  <a:lnTo>
                    <a:pt x="558" y="1812"/>
                  </a:lnTo>
                  <a:lnTo>
                    <a:pt x="564" y="1824"/>
                  </a:lnTo>
                  <a:lnTo>
                    <a:pt x="564" y="1830"/>
                  </a:lnTo>
                  <a:lnTo>
                    <a:pt x="564" y="1842"/>
                  </a:lnTo>
                  <a:lnTo>
                    <a:pt x="564" y="1848"/>
                  </a:lnTo>
                  <a:lnTo>
                    <a:pt x="564" y="1854"/>
                  </a:lnTo>
                  <a:lnTo>
                    <a:pt x="570" y="1860"/>
                  </a:lnTo>
                  <a:lnTo>
                    <a:pt x="570" y="1866"/>
                  </a:lnTo>
                  <a:lnTo>
                    <a:pt x="570" y="1872"/>
                  </a:lnTo>
                  <a:lnTo>
                    <a:pt x="570" y="1878"/>
                  </a:lnTo>
                  <a:lnTo>
                    <a:pt x="564" y="1890"/>
                  </a:lnTo>
                  <a:lnTo>
                    <a:pt x="558" y="1896"/>
                  </a:lnTo>
                  <a:lnTo>
                    <a:pt x="552" y="1908"/>
                  </a:lnTo>
                  <a:lnTo>
                    <a:pt x="546" y="1914"/>
                  </a:lnTo>
                  <a:lnTo>
                    <a:pt x="540" y="1920"/>
                  </a:lnTo>
                  <a:lnTo>
                    <a:pt x="534" y="1932"/>
                  </a:lnTo>
                  <a:lnTo>
                    <a:pt x="528" y="1944"/>
                  </a:lnTo>
                  <a:lnTo>
                    <a:pt x="516" y="1950"/>
                  </a:lnTo>
                  <a:lnTo>
                    <a:pt x="510" y="1956"/>
                  </a:lnTo>
                  <a:lnTo>
                    <a:pt x="498" y="1962"/>
                  </a:lnTo>
                  <a:lnTo>
                    <a:pt x="492" y="1974"/>
                  </a:lnTo>
                  <a:lnTo>
                    <a:pt x="486" y="1980"/>
                  </a:lnTo>
                  <a:lnTo>
                    <a:pt x="480" y="1998"/>
                  </a:lnTo>
                  <a:lnTo>
                    <a:pt x="474" y="2004"/>
                  </a:lnTo>
                  <a:lnTo>
                    <a:pt x="474" y="2010"/>
                  </a:lnTo>
                  <a:lnTo>
                    <a:pt x="474" y="2016"/>
                  </a:lnTo>
                  <a:lnTo>
                    <a:pt x="468" y="2016"/>
                  </a:lnTo>
                  <a:lnTo>
                    <a:pt x="468" y="2028"/>
                  </a:lnTo>
                  <a:lnTo>
                    <a:pt x="462" y="2034"/>
                  </a:lnTo>
                  <a:lnTo>
                    <a:pt x="456" y="2040"/>
                  </a:lnTo>
                  <a:lnTo>
                    <a:pt x="456" y="2052"/>
                  </a:lnTo>
                  <a:lnTo>
                    <a:pt x="450" y="2058"/>
                  </a:lnTo>
                  <a:lnTo>
                    <a:pt x="450" y="2070"/>
                  </a:lnTo>
                  <a:lnTo>
                    <a:pt x="450" y="2076"/>
                  </a:lnTo>
                  <a:lnTo>
                    <a:pt x="450" y="2082"/>
                  </a:lnTo>
                  <a:lnTo>
                    <a:pt x="444" y="2088"/>
                  </a:lnTo>
                  <a:lnTo>
                    <a:pt x="438" y="2094"/>
                  </a:lnTo>
                  <a:lnTo>
                    <a:pt x="444" y="2100"/>
                  </a:lnTo>
                  <a:lnTo>
                    <a:pt x="444" y="2124"/>
                  </a:lnTo>
                  <a:lnTo>
                    <a:pt x="444" y="2142"/>
                  </a:lnTo>
                  <a:lnTo>
                    <a:pt x="444" y="2160"/>
                  </a:lnTo>
                  <a:lnTo>
                    <a:pt x="450" y="2166"/>
                  </a:lnTo>
                  <a:lnTo>
                    <a:pt x="456" y="2178"/>
                  </a:lnTo>
                  <a:lnTo>
                    <a:pt x="438" y="2184"/>
                  </a:lnTo>
                  <a:lnTo>
                    <a:pt x="432" y="2184"/>
                  </a:lnTo>
                  <a:lnTo>
                    <a:pt x="426" y="2190"/>
                  </a:lnTo>
                  <a:lnTo>
                    <a:pt x="408" y="2190"/>
                  </a:lnTo>
                  <a:lnTo>
                    <a:pt x="402" y="2196"/>
                  </a:lnTo>
                  <a:lnTo>
                    <a:pt x="396" y="2196"/>
                  </a:lnTo>
                  <a:lnTo>
                    <a:pt x="384" y="2208"/>
                  </a:lnTo>
                  <a:lnTo>
                    <a:pt x="378" y="2220"/>
                  </a:lnTo>
                  <a:lnTo>
                    <a:pt x="366" y="2232"/>
                  </a:lnTo>
                  <a:lnTo>
                    <a:pt x="366" y="2238"/>
                  </a:lnTo>
                  <a:lnTo>
                    <a:pt x="360" y="2238"/>
                  </a:lnTo>
                  <a:lnTo>
                    <a:pt x="360" y="2244"/>
                  </a:lnTo>
                  <a:lnTo>
                    <a:pt x="354" y="2244"/>
                  </a:lnTo>
                  <a:lnTo>
                    <a:pt x="330" y="227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5" name="Freeform 10">
              <a:extLst>
                <a:ext uri="{FF2B5EF4-FFF2-40B4-BE49-F238E27FC236}">
                  <a16:creationId xmlns:a16="http://schemas.microsoft.com/office/drawing/2014/main" id="{3AD2FC58-3490-4B7F-A8BE-621F3CDD69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1996" y="1931890"/>
              <a:ext cx="805029" cy="1037736"/>
            </a:xfrm>
            <a:custGeom>
              <a:avLst/>
              <a:gdLst>
                <a:gd name="T0" fmla="*/ 124 w 1512"/>
                <a:gd name="T1" fmla="*/ 76 h 1956"/>
                <a:gd name="T2" fmla="*/ 120 w 1512"/>
                <a:gd name="T3" fmla="*/ 80 h 1956"/>
                <a:gd name="T4" fmla="*/ 106 w 1512"/>
                <a:gd name="T5" fmla="*/ 84 h 1956"/>
                <a:gd name="T6" fmla="*/ 105 w 1512"/>
                <a:gd name="T7" fmla="*/ 91 h 1956"/>
                <a:gd name="T8" fmla="*/ 101 w 1512"/>
                <a:gd name="T9" fmla="*/ 99 h 1956"/>
                <a:gd name="T10" fmla="*/ 105 w 1512"/>
                <a:gd name="T11" fmla="*/ 107 h 1956"/>
                <a:gd name="T12" fmla="*/ 119 w 1512"/>
                <a:gd name="T13" fmla="*/ 116 h 1956"/>
                <a:gd name="T14" fmla="*/ 121 w 1512"/>
                <a:gd name="T15" fmla="*/ 128 h 1956"/>
                <a:gd name="T16" fmla="*/ 112 w 1512"/>
                <a:gd name="T17" fmla="*/ 136 h 1956"/>
                <a:gd name="T18" fmla="*/ 119 w 1512"/>
                <a:gd name="T19" fmla="*/ 143 h 1956"/>
                <a:gd name="T20" fmla="*/ 126 w 1512"/>
                <a:gd name="T21" fmla="*/ 148 h 1956"/>
                <a:gd name="T22" fmla="*/ 126 w 1512"/>
                <a:gd name="T23" fmla="*/ 160 h 1956"/>
                <a:gd name="T24" fmla="*/ 104 w 1512"/>
                <a:gd name="T25" fmla="*/ 170 h 1956"/>
                <a:gd name="T26" fmla="*/ 99 w 1512"/>
                <a:gd name="T27" fmla="*/ 164 h 1956"/>
                <a:gd name="T28" fmla="*/ 73 w 1512"/>
                <a:gd name="T29" fmla="*/ 152 h 1956"/>
                <a:gd name="T30" fmla="*/ 56 w 1512"/>
                <a:gd name="T31" fmla="*/ 165 h 1956"/>
                <a:gd name="T32" fmla="*/ 33 w 1512"/>
                <a:gd name="T33" fmla="*/ 162 h 1956"/>
                <a:gd name="T34" fmla="*/ 25 w 1512"/>
                <a:gd name="T35" fmla="*/ 155 h 1956"/>
                <a:gd name="T36" fmla="*/ 31 w 1512"/>
                <a:gd name="T37" fmla="*/ 142 h 1956"/>
                <a:gd name="T38" fmla="*/ 24 w 1512"/>
                <a:gd name="T39" fmla="*/ 137 h 1956"/>
                <a:gd name="T40" fmla="*/ 14 w 1512"/>
                <a:gd name="T41" fmla="*/ 136 h 1956"/>
                <a:gd name="T42" fmla="*/ 11 w 1512"/>
                <a:gd name="T43" fmla="*/ 125 h 1956"/>
                <a:gd name="T44" fmla="*/ 3 w 1512"/>
                <a:gd name="T45" fmla="*/ 116 h 1956"/>
                <a:gd name="T46" fmla="*/ 2 w 1512"/>
                <a:gd name="T47" fmla="*/ 106 h 1956"/>
                <a:gd name="T48" fmla="*/ 5 w 1512"/>
                <a:gd name="T49" fmla="*/ 101 h 1956"/>
                <a:gd name="T50" fmla="*/ 2 w 1512"/>
                <a:gd name="T51" fmla="*/ 95 h 1956"/>
                <a:gd name="T52" fmla="*/ 1 w 1512"/>
                <a:gd name="T53" fmla="*/ 88 h 1956"/>
                <a:gd name="T54" fmla="*/ 4 w 1512"/>
                <a:gd name="T55" fmla="*/ 80 h 1956"/>
                <a:gd name="T56" fmla="*/ 12 w 1512"/>
                <a:gd name="T57" fmla="*/ 73 h 1956"/>
                <a:gd name="T58" fmla="*/ 16 w 1512"/>
                <a:gd name="T59" fmla="*/ 68 h 1956"/>
                <a:gd name="T60" fmla="*/ 22 w 1512"/>
                <a:gd name="T61" fmla="*/ 66 h 1956"/>
                <a:gd name="T62" fmla="*/ 32 w 1512"/>
                <a:gd name="T63" fmla="*/ 65 h 1956"/>
                <a:gd name="T64" fmla="*/ 45 w 1512"/>
                <a:gd name="T65" fmla="*/ 66 h 1956"/>
                <a:gd name="T66" fmla="*/ 50 w 1512"/>
                <a:gd name="T67" fmla="*/ 70 h 1956"/>
                <a:gd name="T68" fmla="*/ 55 w 1512"/>
                <a:gd name="T69" fmla="*/ 70 h 1956"/>
                <a:gd name="T70" fmla="*/ 63 w 1512"/>
                <a:gd name="T71" fmla="*/ 71 h 1956"/>
                <a:gd name="T72" fmla="*/ 61 w 1512"/>
                <a:gd name="T73" fmla="*/ 75 h 1956"/>
                <a:gd name="T74" fmla="*/ 66 w 1512"/>
                <a:gd name="T75" fmla="*/ 84 h 1956"/>
                <a:gd name="T76" fmla="*/ 81 w 1512"/>
                <a:gd name="T77" fmla="*/ 85 h 1956"/>
                <a:gd name="T78" fmla="*/ 83 w 1512"/>
                <a:gd name="T79" fmla="*/ 79 h 1956"/>
                <a:gd name="T80" fmla="*/ 89 w 1512"/>
                <a:gd name="T81" fmla="*/ 77 h 1956"/>
                <a:gd name="T82" fmla="*/ 89 w 1512"/>
                <a:gd name="T83" fmla="*/ 73 h 1956"/>
                <a:gd name="T84" fmla="*/ 83 w 1512"/>
                <a:gd name="T85" fmla="*/ 72 h 1956"/>
                <a:gd name="T86" fmla="*/ 77 w 1512"/>
                <a:gd name="T87" fmla="*/ 70 h 1956"/>
                <a:gd name="T88" fmla="*/ 71 w 1512"/>
                <a:gd name="T89" fmla="*/ 70 h 1956"/>
                <a:gd name="T90" fmla="*/ 59 w 1512"/>
                <a:gd name="T91" fmla="*/ 58 h 1956"/>
                <a:gd name="T92" fmla="*/ 54 w 1512"/>
                <a:gd name="T93" fmla="*/ 45 h 1956"/>
                <a:gd name="T94" fmla="*/ 49 w 1512"/>
                <a:gd name="T95" fmla="*/ 42 h 1956"/>
                <a:gd name="T96" fmla="*/ 51 w 1512"/>
                <a:gd name="T97" fmla="*/ 39 h 1956"/>
                <a:gd name="T98" fmla="*/ 55 w 1512"/>
                <a:gd name="T99" fmla="*/ 36 h 1956"/>
                <a:gd name="T100" fmla="*/ 63 w 1512"/>
                <a:gd name="T101" fmla="*/ 34 h 1956"/>
                <a:gd name="T102" fmla="*/ 68 w 1512"/>
                <a:gd name="T103" fmla="*/ 32 h 1956"/>
                <a:gd name="T104" fmla="*/ 73 w 1512"/>
                <a:gd name="T105" fmla="*/ 29 h 1956"/>
                <a:gd name="T106" fmla="*/ 78 w 1512"/>
                <a:gd name="T107" fmla="*/ 27 h 1956"/>
                <a:gd name="T108" fmla="*/ 81 w 1512"/>
                <a:gd name="T109" fmla="*/ 17 h 1956"/>
                <a:gd name="T110" fmla="*/ 84 w 1512"/>
                <a:gd name="T111" fmla="*/ 6 h 1956"/>
                <a:gd name="T112" fmla="*/ 95 w 1512"/>
                <a:gd name="T113" fmla="*/ 6 h 1956"/>
                <a:gd name="T114" fmla="*/ 99 w 1512"/>
                <a:gd name="T115" fmla="*/ 3 h 1956"/>
                <a:gd name="T116" fmla="*/ 103 w 1512"/>
                <a:gd name="T117" fmla="*/ 0 h 1956"/>
                <a:gd name="T118" fmla="*/ 110 w 1512"/>
                <a:gd name="T119" fmla="*/ 4 h 1956"/>
                <a:gd name="T120" fmla="*/ 114 w 1512"/>
                <a:gd name="T121" fmla="*/ 33 h 1956"/>
                <a:gd name="T122" fmla="*/ 117 w 1512"/>
                <a:gd name="T123" fmla="*/ 41 h 1956"/>
                <a:gd name="T124" fmla="*/ 119 w 1512"/>
                <a:gd name="T125" fmla="*/ 62 h 195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12"/>
                <a:gd name="T190" fmla="*/ 0 h 1956"/>
                <a:gd name="T191" fmla="*/ 1512 w 1512"/>
                <a:gd name="T192" fmla="*/ 1956 h 195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12" h="1956">
                  <a:moveTo>
                    <a:pt x="1512" y="780"/>
                  </a:moveTo>
                  <a:lnTo>
                    <a:pt x="1482" y="786"/>
                  </a:lnTo>
                  <a:lnTo>
                    <a:pt x="1476" y="792"/>
                  </a:lnTo>
                  <a:lnTo>
                    <a:pt x="1476" y="798"/>
                  </a:lnTo>
                  <a:lnTo>
                    <a:pt x="1476" y="804"/>
                  </a:lnTo>
                  <a:lnTo>
                    <a:pt x="1476" y="816"/>
                  </a:lnTo>
                  <a:lnTo>
                    <a:pt x="1470" y="834"/>
                  </a:lnTo>
                  <a:lnTo>
                    <a:pt x="1464" y="840"/>
                  </a:lnTo>
                  <a:lnTo>
                    <a:pt x="1452" y="852"/>
                  </a:lnTo>
                  <a:lnTo>
                    <a:pt x="1440" y="864"/>
                  </a:lnTo>
                  <a:lnTo>
                    <a:pt x="1434" y="864"/>
                  </a:lnTo>
                  <a:lnTo>
                    <a:pt x="1434" y="870"/>
                  </a:lnTo>
                  <a:lnTo>
                    <a:pt x="1422" y="876"/>
                  </a:lnTo>
                  <a:lnTo>
                    <a:pt x="1410" y="894"/>
                  </a:lnTo>
                  <a:lnTo>
                    <a:pt x="1404" y="894"/>
                  </a:lnTo>
                  <a:lnTo>
                    <a:pt x="1404" y="900"/>
                  </a:lnTo>
                  <a:lnTo>
                    <a:pt x="1404" y="906"/>
                  </a:lnTo>
                  <a:lnTo>
                    <a:pt x="1410" y="918"/>
                  </a:lnTo>
                  <a:lnTo>
                    <a:pt x="1404" y="918"/>
                  </a:lnTo>
                  <a:lnTo>
                    <a:pt x="1392" y="924"/>
                  </a:lnTo>
                  <a:lnTo>
                    <a:pt x="1386" y="924"/>
                  </a:lnTo>
                  <a:lnTo>
                    <a:pt x="1380" y="924"/>
                  </a:lnTo>
                  <a:lnTo>
                    <a:pt x="1380" y="930"/>
                  </a:lnTo>
                  <a:lnTo>
                    <a:pt x="1374" y="930"/>
                  </a:lnTo>
                  <a:lnTo>
                    <a:pt x="1374" y="924"/>
                  </a:lnTo>
                  <a:lnTo>
                    <a:pt x="1374" y="918"/>
                  </a:lnTo>
                  <a:lnTo>
                    <a:pt x="1368" y="912"/>
                  </a:lnTo>
                  <a:lnTo>
                    <a:pt x="1368" y="906"/>
                  </a:lnTo>
                  <a:lnTo>
                    <a:pt x="1368" y="900"/>
                  </a:lnTo>
                  <a:lnTo>
                    <a:pt x="1368" y="894"/>
                  </a:lnTo>
                  <a:lnTo>
                    <a:pt x="1362" y="894"/>
                  </a:lnTo>
                  <a:lnTo>
                    <a:pt x="1326" y="894"/>
                  </a:lnTo>
                  <a:lnTo>
                    <a:pt x="1302" y="906"/>
                  </a:lnTo>
                  <a:lnTo>
                    <a:pt x="1284" y="918"/>
                  </a:lnTo>
                  <a:lnTo>
                    <a:pt x="1284" y="924"/>
                  </a:lnTo>
                  <a:lnTo>
                    <a:pt x="1278" y="930"/>
                  </a:lnTo>
                  <a:lnTo>
                    <a:pt x="1266" y="930"/>
                  </a:lnTo>
                  <a:lnTo>
                    <a:pt x="1236" y="954"/>
                  </a:lnTo>
                  <a:lnTo>
                    <a:pt x="1212" y="972"/>
                  </a:lnTo>
                  <a:lnTo>
                    <a:pt x="1218" y="996"/>
                  </a:lnTo>
                  <a:lnTo>
                    <a:pt x="1224" y="1008"/>
                  </a:lnTo>
                  <a:lnTo>
                    <a:pt x="1236" y="1014"/>
                  </a:lnTo>
                  <a:lnTo>
                    <a:pt x="1242" y="1026"/>
                  </a:lnTo>
                  <a:lnTo>
                    <a:pt x="1248" y="1038"/>
                  </a:lnTo>
                  <a:lnTo>
                    <a:pt x="1260" y="1050"/>
                  </a:lnTo>
                  <a:lnTo>
                    <a:pt x="1260" y="1056"/>
                  </a:lnTo>
                  <a:lnTo>
                    <a:pt x="1260" y="1074"/>
                  </a:lnTo>
                  <a:lnTo>
                    <a:pt x="1254" y="1074"/>
                  </a:lnTo>
                  <a:lnTo>
                    <a:pt x="1236" y="1056"/>
                  </a:lnTo>
                  <a:lnTo>
                    <a:pt x="1224" y="1050"/>
                  </a:lnTo>
                  <a:lnTo>
                    <a:pt x="1212" y="1050"/>
                  </a:lnTo>
                  <a:lnTo>
                    <a:pt x="1206" y="1050"/>
                  </a:lnTo>
                  <a:lnTo>
                    <a:pt x="1200" y="1056"/>
                  </a:lnTo>
                  <a:lnTo>
                    <a:pt x="1194" y="1062"/>
                  </a:lnTo>
                  <a:lnTo>
                    <a:pt x="1188" y="1068"/>
                  </a:lnTo>
                  <a:lnTo>
                    <a:pt x="1188" y="1074"/>
                  </a:lnTo>
                  <a:lnTo>
                    <a:pt x="1176" y="1086"/>
                  </a:lnTo>
                  <a:lnTo>
                    <a:pt x="1170" y="1086"/>
                  </a:lnTo>
                  <a:lnTo>
                    <a:pt x="1170" y="1092"/>
                  </a:lnTo>
                  <a:lnTo>
                    <a:pt x="1164" y="1098"/>
                  </a:lnTo>
                  <a:lnTo>
                    <a:pt x="1158" y="1110"/>
                  </a:lnTo>
                  <a:lnTo>
                    <a:pt x="1152" y="1116"/>
                  </a:lnTo>
                  <a:lnTo>
                    <a:pt x="1152" y="1122"/>
                  </a:lnTo>
                  <a:lnTo>
                    <a:pt x="1146" y="1128"/>
                  </a:lnTo>
                  <a:lnTo>
                    <a:pt x="1152" y="1140"/>
                  </a:lnTo>
                  <a:lnTo>
                    <a:pt x="1158" y="1140"/>
                  </a:lnTo>
                  <a:lnTo>
                    <a:pt x="1164" y="1146"/>
                  </a:lnTo>
                  <a:lnTo>
                    <a:pt x="1164" y="1152"/>
                  </a:lnTo>
                  <a:lnTo>
                    <a:pt x="1170" y="1164"/>
                  </a:lnTo>
                  <a:lnTo>
                    <a:pt x="1164" y="1176"/>
                  </a:lnTo>
                  <a:lnTo>
                    <a:pt x="1170" y="1182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82" y="1218"/>
                  </a:lnTo>
                  <a:lnTo>
                    <a:pt x="1188" y="1218"/>
                  </a:lnTo>
                  <a:lnTo>
                    <a:pt x="1194" y="1218"/>
                  </a:lnTo>
                  <a:lnTo>
                    <a:pt x="1194" y="1224"/>
                  </a:lnTo>
                  <a:lnTo>
                    <a:pt x="1200" y="1230"/>
                  </a:lnTo>
                  <a:lnTo>
                    <a:pt x="1200" y="1248"/>
                  </a:lnTo>
                  <a:lnTo>
                    <a:pt x="1212" y="1266"/>
                  </a:lnTo>
                  <a:lnTo>
                    <a:pt x="1218" y="1278"/>
                  </a:lnTo>
                  <a:lnTo>
                    <a:pt x="1224" y="1284"/>
                  </a:lnTo>
                  <a:lnTo>
                    <a:pt x="1236" y="1296"/>
                  </a:lnTo>
                  <a:lnTo>
                    <a:pt x="1242" y="1302"/>
                  </a:lnTo>
                  <a:lnTo>
                    <a:pt x="1242" y="1308"/>
                  </a:lnTo>
                  <a:lnTo>
                    <a:pt x="1272" y="1308"/>
                  </a:lnTo>
                  <a:lnTo>
                    <a:pt x="1296" y="1314"/>
                  </a:lnTo>
                  <a:lnTo>
                    <a:pt x="1320" y="1320"/>
                  </a:lnTo>
                  <a:lnTo>
                    <a:pt x="1338" y="1320"/>
                  </a:lnTo>
                  <a:lnTo>
                    <a:pt x="1356" y="1332"/>
                  </a:lnTo>
                  <a:lnTo>
                    <a:pt x="1368" y="1344"/>
                  </a:lnTo>
                  <a:lnTo>
                    <a:pt x="1374" y="1362"/>
                  </a:lnTo>
                  <a:lnTo>
                    <a:pt x="1368" y="1362"/>
                  </a:lnTo>
                  <a:lnTo>
                    <a:pt x="1368" y="1398"/>
                  </a:lnTo>
                  <a:lnTo>
                    <a:pt x="1368" y="1410"/>
                  </a:lnTo>
                  <a:lnTo>
                    <a:pt x="1368" y="1428"/>
                  </a:lnTo>
                  <a:lnTo>
                    <a:pt x="1368" y="1434"/>
                  </a:lnTo>
                  <a:lnTo>
                    <a:pt x="1368" y="1440"/>
                  </a:lnTo>
                  <a:lnTo>
                    <a:pt x="1374" y="1446"/>
                  </a:lnTo>
                  <a:lnTo>
                    <a:pt x="1374" y="1452"/>
                  </a:lnTo>
                  <a:lnTo>
                    <a:pt x="1380" y="1458"/>
                  </a:lnTo>
                  <a:lnTo>
                    <a:pt x="1386" y="1464"/>
                  </a:lnTo>
                  <a:lnTo>
                    <a:pt x="1386" y="1470"/>
                  </a:lnTo>
                  <a:lnTo>
                    <a:pt x="1380" y="1476"/>
                  </a:lnTo>
                  <a:lnTo>
                    <a:pt x="1374" y="1482"/>
                  </a:lnTo>
                  <a:lnTo>
                    <a:pt x="1362" y="1500"/>
                  </a:lnTo>
                  <a:lnTo>
                    <a:pt x="1362" y="1506"/>
                  </a:lnTo>
                  <a:lnTo>
                    <a:pt x="1362" y="1512"/>
                  </a:lnTo>
                  <a:lnTo>
                    <a:pt x="1362" y="1518"/>
                  </a:lnTo>
                  <a:lnTo>
                    <a:pt x="1362" y="1524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38" y="1548"/>
                  </a:lnTo>
                  <a:lnTo>
                    <a:pt x="1296" y="1548"/>
                  </a:lnTo>
                  <a:lnTo>
                    <a:pt x="1290" y="1554"/>
                  </a:lnTo>
                  <a:lnTo>
                    <a:pt x="1284" y="1560"/>
                  </a:lnTo>
                  <a:lnTo>
                    <a:pt x="1284" y="1566"/>
                  </a:lnTo>
                  <a:lnTo>
                    <a:pt x="1290" y="1578"/>
                  </a:lnTo>
                  <a:lnTo>
                    <a:pt x="1296" y="1590"/>
                  </a:lnTo>
                  <a:lnTo>
                    <a:pt x="1302" y="1590"/>
                  </a:lnTo>
                  <a:lnTo>
                    <a:pt x="1308" y="1596"/>
                  </a:lnTo>
                  <a:lnTo>
                    <a:pt x="1320" y="1602"/>
                  </a:lnTo>
                  <a:lnTo>
                    <a:pt x="1326" y="1602"/>
                  </a:lnTo>
                  <a:lnTo>
                    <a:pt x="1326" y="1608"/>
                  </a:lnTo>
                  <a:lnTo>
                    <a:pt x="1332" y="1614"/>
                  </a:lnTo>
                  <a:lnTo>
                    <a:pt x="1344" y="1620"/>
                  </a:lnTo>
                  <a:lnTo>
                    <a:pt x="1356" y="1626"/>
                  </a:lnTo>
                  <a:lnTo>
                    <a:pt x="1356" y="1632"/>
                  </a:lnTo>
                  <a:lnTo>
                    <a:pt x="1356" y="1638"/>
                  </a:lnTo>
                  <a:lnTo>
                    <a:pt x="1362" y="1644"/>
                  </a:lnTo>
                  <a:lnTo>
                    <a:pt x="1368" y="1644"/>
                  </a:lnTo>
                  <a:lnTo>
                    <a:pt x="1380" y="1650"/>
                  </a:lnTo>
                  <a:lnTo>
                    <a:pt x="1386" y="1650"/>
                  </a:lnTo>
                  <a:lnTo>
                    <a:pt x="1386" y="1656"/>
                  </a:lnTo>
                  <a:lnTo>
                    <a:pt x="1392" y="1656"/>
                  </a:lnTo>
                  <a:lnTo>
                    <a:pt x="1398" y="1662"/>
                  </a:lnTo>
                  <a:lnTo>
                    <a:pt x="1410" y="1674"/>
                  </a:lnTo>
                  <a:lnTo>
                    <a:pt x="1428" y="1680"/>
                  </a:lnTo>
                  <a:lnTo>
                    <a:pt x="1428" y="1686"/>
                  </a:lnTo>
                  <a:lnTo>
                    <a:pt x="1428" y="1698"/>
                  </a:lnTo>
                  <a:lnTo>
                    <a:pt x="1434" y="1704"/>
                  </a:lnTo>
                  <a:lnTo>
                    <a:pt x="1434" y="1710"/>
                  </a:lnTo>
                  <a:lnTo>
                    <a:pt x="1440" y="1710"/>
                  </a:lnTo>
                  <a:lnTo>
                    <a:pt x="1446" y="1710"/>
                  </a:lnTo>
                  <a:lnTo>
                    <a:pt x="1446" y="1716"/>
                  </a:lnTo>
                  <a:lnTo>
                    <a:pt x="1440" y="1722"/>
                  </a:lnTo>
                  <a:lnTo>
                    <a:pt x="1440" y="1728"/>
                  </a:lnTo>
                  <a:lnTo>
                    <a:pt x="1440" y="1734"/>
                  </a:lnTo>
                  <a:lnTo>
                    <a:pt x="1440" y="1740"/>
                  </a:lnTo>
                  <a:lnTo>
                    <a:pt x="1440" y="1746"/>
                  </a:lnTo>
                  <a:lnTo>
                    <a:pt x="1440" y="1788"/>
                  </a:lnTo>
                  <a:lnTo>
                    <a:pt x="1440" y="1800"/>
                  </a:lnTo>
                  <a:lnTo>
                    <a:pt x="1440" y="1806"/>
                  </a:lnTo>
                  <a:lnTo>
                    <a:pt x="1440" y="1836"/>
                  </a:lnTo>
                  <a:lnTo>
                    <a:pt x="1440" y="1848"/>
                  </a:lnTo>
                  <a:lnTo>
                    <a:pt x="1446" y="1848"/>
                  </a:lnTo>
                  <a:lnTo>
                    <a:pt x="1446" y="1854"/>
                  </a:lnTo>
                  <a:lnTo>
                    <a:pt x="1452" y="1848"/>
                  </a:lnTo>
                  <a:lnTo>
                    <a:pt x="1458" y="1854"/>
                  </a:lnTo>
                  <a:lnTo>
                    <a:pt x="1452" y="1860"/>
                  </a:lnTo>
                  <a:lnTo>
                    <a:pt x="1452" y="1866"/>
                  </a:lnTo>
                  <a:lnTo>
                    <a:pt x="1458" y="1872"/>
                  </a:lnTo>
                  <a:lnTo>
                    <a:pt x="1464" y="1884"/>
                  </a:lnTo>
                  <a:lnTo>
                    <a:pt x="1428" y="1878"/>
                  </a:lnTo>
                  <a:lnTo>
                    <a:pt x="1356" y="1890"/>
                  </a:lnTo>
                  <a:lnTo>
                    <a:pt x="1296" y="1926"/>
                  </a:lnTo>
                  <a:lnTo>
                    <a:pt x="1266" y="1944"/>
                  </a:lnTo>
                  <a:lnTo>
                    <a:pt x="1224" y="1944"/>
                  </a:lnTo>
                  <a:lnTo>
                    <a:pt x="1188" y="1956"/>
                  </a:lnTo>
                  <a:lnTo>
                    <a:pt x="1188" y="1950"/>
                  </a:lnTo>
                  <a:lnTo>
                    <a:pt x="1176" y="1944"/>
                  </a:lnTo>
                  <a:lnTo>
                    <a:pt x="1176" y="1938"/>
                  </a:lnTo>
                  <a:lnTo>
                    <a:pt x="1170" y="1938"/>
                  </a:lnTo>
                  <a:lnTo>
                    <a:pt x="1164" y="1932"/>
                  </a:lnTo>
                  <a:lnTo>
                    <a:pt x="1158" y="1926"/>
                  </a:lnTo>
                  <a:lnTo>
                    <a:pt x="1158" y="1920"/>
                  </a:lnTo>
                  <a:lnTo>
                    <a:pt x="1152" y="1920"/>
                  </a:lnTo>
                  <a:lnTo>
                    <a:pt x="1146" y="1914"/>
                  </a:lnTo>
                  <a:lnTo>
                    <a:pt x="1146" y="1908"/>
                  </a:lnTo>
                  <a:lnTo>
                    <a:pt x="1140" y="1908"/>
                  </a:lnTo>
                  <a:lnTo>
                    <a:pt x="1134" y="1902"/>
                  </a:lnTo>
                  <a:lnTo>
                    <a:pt x="1134" y="1896"/>
                  </a:lnTo>
                  <a:lnTo>
                    <a:pt x="1116" y="1896"/>
                  </a:lnTo>
                  <a:lnTo>
                    <a:pt x="1104" y="1884"/>
                  </a:lnTo>
                  <a:lnTo>
                    <a:pt x="1092" y="1860"/>
                  </a:lnTo>
                  <a:lnTo>
                    <a:pt x="1068" y="1854"/>
                  </a:lnTo>
                  <a:lnTo>
                    <a:pt x="1032" y="1842"/>
                  </a:lnTo>
                  <a:lnTo>
                    <a:pt x="1008" y="1836"/>
                  </a:lnTo>
                  <a:lnTo>
                    <a:pt x="978" y="1824"/>
                  </a:lnTo>
                  <a:lnTo>
                    <a:pt x="942" y="1818"/>
                  </a:lnTo>
                  <a:lnTo>
                    <a:pt x="924" y="1806"/>
                  </a:lnTo>
                  <a:lnTo>
                    <a:pt x="906" y="1788"/>
                  </a:lnTo>
                  <a:lnTo>
                    <a:pt x="894" y="1776"/>
                  </a:lnTo>
                  <a:lnTo>
                    <a:pt x="864" y="1758"/>
                  </a:lnTo>
                  <a:lnTo>
                    <a:pt x="834" y="1752"/>
                  </a:lnTo>
                  <a:lnTo>
                    <a:pt x="798" y="1746"/>
                  </a:lnTo>
                  <a:lnTo>
                    <a:pt x="792" y="1806"/>
                  </a:lnTo>
                  <a:lnTo>
                    <a:pt x="798" y="1812"/>
                  </a:lnTo>
                  <a:lnTo>
                    <a:pt x="810" y="1830"/>
                  </a:lnTo>
                  <a:lnTo>
                    <a:pt x="792" y="1842"/>
                  </a:lnTo>
                  <a:lnTo>
                    <a:pt x="768" y="1842"/>
                  </a:lnTo>
                  <a:lnTo>
                    <a:pt x="708" y="1848"/>
                  </a:lnTo>
                  <a:lnTo>
                    <a:pt x="690" y="1860"/>
                  </a:lnTo>
                  <a:lnTo>
                    <a:pt x="690" y="1866"/>
                  </a:lnTo>
                  <a:lnTo>
                    <a:pt x="678" y="1878"/>
                  </a:lnTo>
                  <a:lnTo>
                    <a:pt x="660" y="1884"/>
                  </a:lnTo>
                  <a:lnTo>
                    <a:pt x="660" y="1902"/>
                  </a:lnTo>
                  <a:lnTo>
                    <a:pt x="642" y="1902"/>
                  </a:lnTo>
                  <a:lnTo>
                    <a:pt x="582" y="1914"/>
                  </a:lnTo>
                  <a:lnTo>
                    <a:pt x="534" y="1908"/>
                  </a:lnTo>
                  <a:lnTo>
                    <a:pt x="510" y="1908"/>
                  </a:lnTo>
                  <a:lnTo>
                    <a:pt x="510" y="1896"/>
                  </a:lnTo>
                  <a:lnTo>
                    <a:pt x="492" y="1896"/>
                  </a:lnTo>
                  <a:lnTo>
                    <a:pt x="486" y="1902"/>
                  </a:lnTo>
                  <a:lnTo>
                    <a:pt x="474" y="1908"/>
                  </a:lnTo>
                  <a:lnTo>
                    <a:pt x="450" y="1908"/>
                  </a:lnTo>
                  <a:lnTo>
                    <a:pt x="432" y="1902"/>
                  </a:lnTo>
                  <a:lnTo>
                    <a:pt x="426" y="1896"/>
                  </a:lnTo>
                  <a:lnTo>
                    <a:pt x="402" y="1884"/>
                  </a:lnTo>
                  <a:lnTo>
                    <a:pt x="390" y="1872"/>
                  </a:lnTo>
                  <a:lnTo>
                    <a:pt x="384" y="1872"/>
                  </a:lnTo>
                  <a:lnTo>
                    <a:pt x="378" y="1872"/>
                  </a:lnTo>
                  <a:lnTo>
                    <a:pt x="378" y="1866"/>
                  </a:lnTo>
                  <a:lnTo>
                    <a:pt x="372" y="1860"/>
                  </a:lnTo>
                  <a:lnTo>
                    <a:pt x="372" y="1854"/>
                  </a:lnTo>
                  <a:lnTo>
                    <a:pt x="366" y="1842"/>
                  </a:lnTo>
                  <a:lnTo>
                    <a:pt x="366" y="1836"/>
                  </a:lnTo>
                  <a:lnTo>
                    <a:pt x="348" y="1830"/>
                  </a:lnTo>
                  <a:lnTo>
                    <a:pt x="348" y="1806"/>
                  </a:lnTo>
                  <a:lnTo>
                    <a:pt x="348" y="1800"/>
                  </a:lnTo>
                  <a:lnTo>
                    <a:pt x="348" y="1782"/>
                  </a:lnTo>
                  <a:lnTo>
                    <a:pt x="336" y="1788"/>
                  </a:lnTo>
                  <a:lnTo>
                    <a:pt x="312" y="1794"/>
                  </a:lnTo>
                  <a:lnTo>
                    <a:pt x="288" y="1788"/>
                  </a:lnTo>
                  <a:lnTo>
                    <a:pt x="264" y="1758"/>
                  </a:lnTo>
                  <a:lnTo>
                    <a:pt x="270" y="1758"/>
                  </a:lnTo>
                  <a:lnTo>
                    <a:pt x="270" y="1752"/>
                  </a:lnTo>
                  <a:lnTo>
                    <a:pt x="276" y="1752"/>
                  </a:lnTo>
                  <a:lnTo>
                    <a:pt x="282" y="1746"/>
                  </a:lnTo>
                  <a:lnTo>
                    <a:pt x="300" y="1746"/>
                  </a:lnTo>
                  <a:lnTo>
                    <a:pt x="312" y="1746"/>
                  </a:lnTo>
                  <a:lnTo>
                    <a:pt x="336" y="1710"/>
                  </a:lnTo>
                  <a:lnTo>
                    <a:pt x="342" y="1692"/>
                  </a:lnTo>
                  <a:lnTo>
                    <a:pt x="348" y="1680"/>
                  </a:lnTo>
                  <a:lnTo>
                    <a:pt x="342" y="1650"/>
                  </a:lnTo>
                  <a:lnTo>
                    <a:pt x="354" y="1644"/>
                  </a:lnTo>
                  <a:lnTo>
                    <a:pt x="354" y="1638"/>
                  </a:lnTo>
                  <a:lnTo>
                    <a:pt x="360" y="1632"/>
                  </a:lnTo>
                  <a:lnTo>
                    <a:pt x="354" y="1626"/>
                  </a:lnTo>
                  <a:lnTo>
                    <a:pt x="348" y="1626"/>
                  </a:lnTo>
                  <a:lnTo>
                    <a:pt x="348" y="1620"/>
                  </a:lnTo>
                  <a:lnTo>
                    <a:pt x="342" y="1620"/>
                  </a:lnTo>
                  <a:lnTo>
                    <a:pt x="348" y="1614"/>
                  </a:lnTo>
                  <a:lnTo>
                    <a:pt x="324" y="1566"/>
                  </a:lnTo>
                  <a:lnTo>
                    <a:pt x="318" y="1566"/>
                  </a:lnTo>
                  <a:lnTo>
                    <a:pt x="306" y="1572"/>
                  </a:lnTo>
                  <a:lnTo>
                    <a:pt x="300" y="1572"/>
                  </a:lnTo>
                  <a:lnTo>
                    <a:pt x="294" y="1578"/>
                  </a:lnTo>
                  <a:lnTo>
                    <a:pt x="288" y="1584"/>
                  </a:lnTo>
                  <a:lnTo>
                    <a:pt x="282" y="1584"/>
                  </a:lnTo>
                  <a:lnTo>
                    <a:pt x="282" y="1578"/>
                  </a:lnTo>
                  <a:lnTo>
                    <a:pt x="276" y="1578"/>
                  </a:lnTo>
                  <a:lnTo>
                    <a:pt x="270" y="1578"/>
                  </a:lnTo>
                  <a:lnTo>
                    <a:pt x="264" y="1578"/>
                  </a:lnTo>
                  <a:lnTo>
                    <a:pt x="258" y="1578"/>
                  </a:lnTo>
                  <a:lnTo>
                    <a:pt x="252" y="1578"/>
                  </a:lnTo>
                  <a:lnTo>
                    <a:pt x="252" y="1584"/>
                  </a:lnTo>
                  <a:lnTo>
                    <a:pt x="246" y="1584"/>
                  </a:lnTo>
                  <a:lnTo>
                    <a:pt x="210" y="1584"/>
                  </a:lnTo>
                  <a:lnTo>
                    <a:pt x="204" y="1584"/>
                  </a:lnTo>
                  <a:lnTo>
                    <a:pt x="192" y="1584"/>
                  </a:lnTo>
                  <a:lnTo>
                    <a:pt x="168" y="1596"/>
                  </a:lnTo>
                  <a:lnTo>
                    <a:pt x="156" y="1572"/>
                  </a:lnTo>
                  <a:lnTo>
                    <a:pt x="156" y="1566"/>
                  </a:lnTo>
                  <a:lnTo>
                    <a:pt x="156" y="1560"/>
                  </a:lnTo>
                  <a:lnTo>
                    <a:pt x="162" y="1548"/>
                  </a:lnTo>
                  <a:lnTo>
                    <a:pt x="162" y="1542"/>
                  </a:lnTo>
                  <a:lnTo>
                    <a:pt x="162" y="1536"/>
                  </a:lnTo>
                  <a:lnTo>
                    <a:pt x="168" y="1530"/>
                  </a:lnTo>
                  <a:lnTo>
                    <a:pt x="168" y="1524"/>
                  </a:lnTo>
                  <a:lnTo>
                    <a:pt x="168" y="1518"/>
                  </a:lnTo>
                  <a:lnTo>
                    <a:pt x="174" y="1518"/>
                  </a:lnTo>
                  <a:lnTo>
                    <a:pt x="174" y="1506"/>
                  </a:lnTo>
                  <a:lnTo>
                    <a:pt x="156" y="1470"/>
                  </a:lnTo>
                  <a:lnTo>
                    <a:pt x="138" y="1464"/>
                  </a:lnTo>
                  <a:lnTo>
                    <a:pt x="126" y="1446"/>
                  </a:lnTo>
                  <a:lnTo>
                    <a:pt x="126" y="1440"/>
                  </a:lnTo>
                  <a:lnTo>
                    <a:pt x="126" y="1434"/>
                  </a:lnTo>
                  <a:lnTo>
                    <a:pt x="120" y="1428"/>
                  </a:lnTo>
                  <a:lnTo>
                    <a:pt x="126" y="1398"/>
                  </a:lnTo>
                  <a:lnTo>
                    <a:pt x="120" y="1374"/>
                  </a:lnTo>
                  <a:lnTo>
                    <a:pt x="60" y="1374"/>
                  </a:lnTo>
                  <a:lnTo>
                    <a:pt x="60" y="1368"/>
                  </a:lnTo>
                  <a:lnTo>
                    <a:pt x="54" y="1362"/>
                  </a:lnTo>
                  <a:lnTo>
                    <a:pt x="48" y="1356"/>
                  </a:lnTo>
                  <a:lnTo>
                    <a:pt x="42" y="1356"/>
                  </a:lnTo>
                  <a:lnTo>
                    <a:pt x="42" y="1350"/>
                  </a:lnTo>
                  <a:lnTo>
                    <a:pt x="36" y="1344"/>
                  </a:lnTo>
                  <a:lnTo>
                    <a:pt x="36" y="1338"/>
                  </a:lnTo>
                  <a:lnTo>
                    <a:pt x="30" y="1332"/>
                  </a:lnTo>
                  <a:lnTo>
                    <a:pt x="30" y="1326"/>
                  </a:lnTo>
                  <a:lnTo>
                    <a:pt x="18" y="1326"/>
                  </a:lnTo>
                  <a:lnTo>
                    <a:pt x="18" y="1320"/>
                  </a:lnTo>
                  <a:lnTo>
                    <a:pt x="18" y="1326"/>
                  </a:lnTo>
                  <a:lnTo>
                    <a:pt x="6" y="1320"/>
                  </a:lnTo>
                  <a:lnTo>
                    <a:pt x="0" y="1314"/>
                  </a:lnTo>
                  <a:lnTo>
                    <a:pt x="12" y="1266"/>
                  </a:lnTo>
                  <a:lnTo>
                    <a:pt x="6" y="1242"/>
                  </a:lnTo>
                  <a:lnTo>
                    <a:pt x="12" y="1236"/>
                  </a:lnTo>
                  <a:lnTo>
                    <a:pt x="12" y="1230"/>
                  </a:lnTo>
                  <a:lnTo>
                    <a:pt x="18" y="1230"/>
                  </a:lnTo>
                  <a:lnTo>
                    <a:pt x="18" y="1224"/>
                  </a:lnTo>
                  <a:lnTo>
                    <a:pt x="24" y="1218"/>
                  </a:lnTo>
                  <a:lnTo>
                    <a:pt x="24" y="1212"/>
                  </a:lnTo>
                  <a:lnTo>
                    <a:pt x="30" y="1212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48" y="1188"/>
                  </a:lnTo>
                  <a:lnTo>
                    <a:pt x="48" y="1182"/>
                  </a:lnTo>
                  <a:lnTo>
                    <a:pt x="48" y="1176"/>
                  </a:lnTo>
                  <a:lnTo>
                    <a:pt x="48" y="1170"/>
                  </a:lnTo>
                  <a:lnTo>
                    <a:pt x="54" y="1170"/>
                  </a:lnTo>
                  <a:lnTo>
                    <a:pt x="60" y="1164"/>
                  </a:lnTo>
                  <a:lnTo>
                    <a:pt x="60" y="1158"/>
                  </a:lnTo>
                  <a:lnTo>
                    <a:pt x="66" y="1152"/>
                  </a:lnTo>
                  <a:lnTo>
                    <a:pt x="60" y="1140"/>
                  </a:lnTo>
                  <a:lnTo>
                    <a:pt x="60" y="1134"/>
                  </a:lnTo>
                  <a:lnTo>
                    <a:pt x="54" y="1134"/>
                  </a:lnTo>
                  <a:lnTo>
                    <a:pt x="54" y="1128"/>
                  </a:lnTo>
                  <a:lnTo>
                    <a:pt x="48" y="1122"/>
                  </a:lnTo>
                  <a:lnTo>
                    <a:pt x="48" y="1116"/>
                  </a:lnTo>
                  <a:lnTo>
                    <a:pt x="48" y="1110"/>
                  </a:lnTo>
                  <a:lnTo>
                    <a:pt x="42" y="1104"/>
                  </a:lnTo>
                  <a:lnTo>
                    <a:pt x="42" y="1098"/>
                  </a:lnTo>
                  <a:lnTo>
                    <a:pt x="36" y="1092"/>
                  </a:lnTo>
                  <a:lnTo>
                    <a:pt x="30" y="1092"/>
                  </a:lnTo>
                  <a:lnTo>
                    <a:pt x="24" y="1092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18" y="1080"/>
                  </a:lnTo>
                  <a:lnTo>
                    <a:pt x="18" y="1074"/>
                  </a:lnTo>
                  <a:lnTo>
                    <a:pt x="12" y="1068"/>
                  </a:lnTo>
                  <a:lnTo>
                    <a:pt x="6" y="1068"/>
                  </a:lnTo>
                  <a:lnTo>
                    <a:pt x="12" y="1056"/>
                  </a:lnTo>
                  <a:lnTo>
                    <a:pt x="6" y="1056"/>
                  </a:lnTo>
                  <a:lnTo>
                    <a:pt x="6" y="1050"/>
                  </a:lnTo>
                  <a:lnTo>
                    <a:pt x="6" y="1044"/>
                  </a:lnTo>
                  <a:lnTo>
                    <a:pt x="6" y="1026"/>
                  </a:lnTo>
                  <a:lnTo>
                    <a:pt x="12" y="1020"/>
                  </a:lnTo>
                  <a:lnTo>
                    <a:pt x="12" y="1014"/>
                  </a:lnTo>
                  <a:lnTo>
                    <a:pt x="18" y="1014"/>
                  </a:lnTo>
                  <a:lnTo>
                    <a:pt x="18" y="1008"/>
                  </a:lnTo>
                  <a:lnTo>
                    <a:pt x="18" y="1002"/>
                  </a:lnTo>
                  <a:lnTo>
                    <a:pt x="18" y="990"/>
                  </a:lnTo>
                  <a:lnTo>
                    <a:pt x="12" y="972"/>
                  </a:lnTo>
                  <a:lnTo>
                    <a:pt x="18" y="954"/>
                  </a:lnTo>
                  <a:lnTo>
                    <a:pt x="18" y="948"/>
                  </a:lnTo>
                  <a:lnTo>
                    <a:pt x="24" y="948"/>
                  </a:lnTo>
                  <a:lnTo>
                    <a:pt x="24" y="930"/>
                  </a:lnTo>
                  <a:lnTo>
                    <a:pt x="30" y="930"/>
                  </a:lnTo>
                  <a:lnTo>
                    <a:pt x="36" y="918"/>
                  </a:lnTo>
                  <a:lnTo>
                    <a:pt x="42" y="918"/>
                  </a:lnTo>
                  <a:lnTo>
                    <a:pt x="48" y="918"/>
                  </a:lnTo>
                  <a:lnTo>
                    <a:pt x="78" y="912"/>
                  </a:lnTo>
                  <a:lnTo>
                    <a:pt x="90" y="894"/>
                  </a:lnTo>
                  <a:lnTo>
                    <a:pt x="96" y="894"/>
                  </a:lnTo>
                  <a:lnTo>
                    <a:pt x="102" y="888"/>
                  </a:lnTo>
                  <a:lnTo>
                    <a:pt x="102" y="882"/>
                  </a:lnTo>
                  <a:lnTo>
                    <a:pt x="114" y="870"/>
                  </a:lnTo>
                  <a:lnTo>
                    <a:pt x="120" y="864"/>
                  </a:lnTo>
                  <a:lnTo>
                    <a:pt x="120" y="852"/>
                  </a:lnTo>
                  <a:lnTo>
                    <a:pt x="120" y="846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32" y="840"/>
                  </a:lnTo>
                  <a:lnTo>
                    <a:pt x="138" y="840"/>
                  </a:lnTo>
                  <a:lnTo>
                    <a:pt x="138" y="834"/>
                  </a:lnTo>
                  <a:lnTo>
                    <a:pt x="144" y="834"/>
                  </a:lnTo>
                  <a:lnTo>
                    <a:pt x="144" y="828"/>
                  </a:lnTo>
                  <a:lnTo>
                    <a:pt x="150" y="828"/>
                  </a:lnTo>
                  <a:lnTo>
                    <a:pt x="156" y="822"/>
                  </a:lnTo>
                  <a:lnTo>
                    <a:pt x="162" y="816"/>
                  </a:lnTo>
                  <a:lnTo>
                    <a:pt x="162" y="822"/>
                  </a:lnTo>
                  <a:lnTo>
                    <a:pt x="162" y="816"/>
                  </a:lnTo>
                  <a:lnTo>
                    <a:pt x="162" y="810"/>
                  </a:lnTo>
                  <a:lnTo>
                    <a:pt x="168" y="810"/>
                  </a:lnTo>
                  <a:lnTo>
                    <a:pt x="174" y="804"/>
                  </a:lnTo>
                  <a:lnTo>
                    <a:pt x="180" y="798"/>
                  </a:lnTo>
                  <a:lnTo>
                    <a:pt x="180" y="786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8" y="780"/>
                  </a:lnTo>
                  <a:lnTo>
                    <a:pt x="204" y="774"/>
                  </a:lnTo>
                  <a:lnTo>
                    <a:pt x="210" y="774"/>
                  </a:lnTo>
                  <a:lnTo>
                    <a:pt x="216" y="768"/>
                  </a:lnTo>
                  <a:lnTo>
                    <a:pt x="222" y="762"/>
                  </a:lnTo>
                  <a:lnTo>
                    <a:pt x="228" y="762"/>
                  </a:lnTo>
                  <a:lnTo>
                    <a:pt x="228" y="768"/>
                  </a:lnTo>
                  <a:lnTo>
                    <a:pt x="234" y="768"/>
                  </a:lnTo>
                  <a:lnTo>
                    <a:pt x="240" y="762"/>
                  </a:lnTo>
                  <a:lnTo>
                    <a:pt x="252" y="762"/>
                  </a:lnTo>
                  <a:lnTo>
                    <a:pt x="264" y="768"/>
                  </a:lnTo>
                  <a:lnTo>
                    <a:pt x="294" y="756"/>
                  </a:lnTo>
                  <a:lnTo>
                    <a:pt x="294" y="750"/>
                  </a:lnTo>
                  <a:lnTo>
                    <a:pt x="300" y="750"/>
                  </a:lnTo>
                  <a:lnTo>
                    <a:pt x="306" y="744"/>
                  </a:lnTo>
                  <a:lnTo>
                    <a:pt x="342" y="750"/>
                  </a:lnTo>
                  <a:lnTo>
                    <a:pt x="348" y="750"/>
                  </a:lnTo>
                  <a:lnTo>
                    <a:pt x="348" y="744"/>
                  </a:lnTo>
                  <a:lnTo>
                    <a:pt x="354" y="744"/>
                  </a:lnTo>
                  <a:lnTo>
                    <a:pt x="360" y="744"/>
                  </a:lnTo>
                  <a:lnTo>
                    <a:pt x="360" y="750"/>
                  </a:lnTo>
                  <a:lnTo>
                    <a:pt x="366" y="750"/>
                  </a:lnTo>
                  <a:lnTo>
                    <a:pt x="366" y="744"/>
                  </a:lnTo>
                  <a:lnTo>
                    <a:pt x="366" y="738"/>
                  </a:lnTo>
                  <a:lnTo>
                    <a:pt x="372" y="744"/>
                  </a:lnTo>
                  <a:lnTo>
                    <a:pt x="378" y="744"/>
                  </a:lnTo>
                  <a:lnTo>
                    <a:pt x="384" y="750"/>
                  </a:lnTo>
                  <a:lnTo>
                    <a:pt x="444" y="774"/>
                  </a:lnTo>
                  <a:lnTo>
                    <a:pt x="450" y="774"/>
                  </a:lnTo>
                  <a:lnTo>
                    <a:pt x="456" y="768"/>
                  </a:lnTo>
                  <a:lnTo>
                    <a:pt x="462" y="768"/>
                  </a:lnTo>
                  <a:lnTo>
                    <a:pt x="462" y="762"/>
                  </a:lnTo>
                  <a:lnTo>
                    <a:pt x="468" y="762"/>
                  </a:lnTo>
                  <a:lnTo>
                    <a:pt x="474" y="756"/>
                  </a:lnTo>
                  <a:lnTo>
                    <a:pt x="480" y="750"/>
                  </a:lnTo>
                  <a:lnTo>
                    <a:pt x="516" y="756"/>
                  </a:lnTo>
                  <a:lnTo>
                    <a:pt x="522" y="756"/>
                  </a:lnTo>
                  <a:lnTo>
                    <a:pt x="522" y="762"/>
                  </a:lnTo>
                  <a:lnTo>
                    <a:pt x="522" y="768"/>
                  </a:lnTo>
                  <a:lnTo>
                    <a:pt x="522" y="774"/>
                  </a:lnTo>
                  <a:lnTo>
                    <a:pt x="528" y="780"/>
                  </a:lnTo>
                  <a:lnTo>
                    <a:pt x="540" y="780"/>
                  </a:lnTo>
                  <a:lnTo>
                    <a:pt x="540" y="804"/>
                  </a:lnTo>
                  <a:lnTo>
                    <a:pt x="540" y="810"/>
                  </a:lnTo>
                  <a:lnTo>
                    <a:pt x="546" y="810"/>
                  </a:lnTo>
                  <a:lnTo>
                    <a:pt x="552" y="810"/>
                  </a:lnTo>
                  <a:lnTo>
                    <a:pt x="558" y="810"/>
                  </a:lnTo>
                  <a:lnTo>
                    <a:pt x="564" y="810"/>
                  </a:lnTo>
                  <a:lnTo>
                    <a:pt x="570" y="810"/>
                  </a:lnTo>
                  <a:lnTo>
                    <a:pt x="576" y="810"/>
                  </a:lnTo>
                  <a:lnTo>
                    <a:pt x="576" y="816"/>
                  </a:lnTo>
                  <a:lnTo>
                    <a:pt x="588" y="816"/>
                  </a:lnTo>
                  <a:lnTo>
                    <a:pt x="594" y="816"/>
                  </a:lnTo>
                  <a:lnTo>
                    <a:pt x="600" y="822"/>
                  </a:lnTo>
                  <a:lnTo>
                    <a:pt x="606" y="816"/>
                  </a:lnTo>
                  <a:lnTo>
                    <a:pt x="612" y="816"/>
                  </a:lnTo>
                  <a:lnTo>
                    <a:pt x="612" y="810"/>
                  </a:lnTo>
                  <a:lnTo>
                    <a:pt x="624" y="810"/>
                  </a:lnTo>
                  <a:lnTo>
                    <a:pt x="624" y="804"/>
                  </a:lnTo>
                  <a:lnTo>
                    <a:pt x="630" y="798"/>
                  </a:lnTo>
                  <a:lnTo>
                    <a:pt x="636" y="798"/>
                  </a:lnTo>
                  <a:lnTo>
                    <a:pt x="636" y="804"/>
                  </a:lnTo>
                  <a:lnTo>
                    <a:pt x="642" y="804"/>
                  </a:lnTo>
                  <a:lnTo>
                    <a:pt x="648" y="804"/>
                  </a:lnTo>
                  <a:lnTo>
                    <a:pt x="654" y="804"/>
                  </a:lnTo>
                  <a:lnTo>
                    <a:pt x="660" y="804"/>
                  </a:lnTo>
                  <a:lnTo>
                    <a:pt x="678" y="798"/>
                  </a:lnTo>
                  <a:lnTo>
                    <a:pt x="714" y="786"/>
                  </a:lnTo>
                  <a:lnTo>
                    <a:pt x="714" y="792"/>
                  </a:lnTo>
                  <a:lnTo>
                    <a:pt x="714" y="798"/>
                  </a:lnTo>
                  <a:lnTo>
                    <a:pt x="714" y="804"/>
                  </a:lnTo>
                  <a:lnTo>
                    <a:pt x="720" y="804"/>
                  </a:lnTo>
                  <a:lnTo>
                    <a:pt x="720" y="810"/>
                  </a:lnTo>
                  <a:lnTo>
                    <a:pt x="720" y="816"/>
                  </a:lnTo>
                  <a:lnTo>
                    <a:pt x="726" y="822"/>
                  </a:lnTo>
                  <a:lnTo>
                    <a:pt x="732" y="828"/>
                  </a:lnTo>
                  <a:lnTo>
                    <a:pt x="732" y="834"/>
                  </a:lnTo>
                  <a:lnTo>
                    <a:pt x="732" y="846"/>
                  </a:lnTo>
                  <a:lnTo>
                    <a:pt x="732" y="858"/>
                  </a:lnTo>
                  <a:lnTo>
                    <a:pt x="738" y="858"/>
                  </a:lnTo>
                  <a:lnTo>
                    <a:pt x="732" y="864"/>
                  </a:lnTo>
                  <a:lnTo>
                    <a:pt x="732" y="870"/>
                  </a:lnTo>
                  <a:lnTo>
                    <a:pt x="726" y="870"/>
                  </a:lnTo>
                  <a:lnTo>
                    <a:pt x="726" y="876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0" y="882"/>
                  </a:lnTo>
                  <a:lnTo>
                    <a:pt x="690" y="912"/>
                  </a:lnTo>
                  <a:lnTo>
                    <a:pt x="696" y="936"/>
                  </a:lnTo>
                  <a:lnTo>
                    <a:pt x="702" y="936"/>
                  </a:lnTo>
                  <a:lnTo>
                    <a:pt x="702" y="930"/>
                  </a:lnTo>
                  <a:lnTo>
                    <a:pt x="708" y="930"/>
                  </a:lnTo>
                  <a:lnTo>
                    <a:pt x="708" y="924"/>
                  </a:lnTo>
                  <a:lnTo>
                    <a:pt x="708" y="918"/>
                  </a:lnTo>
                  <a:lnTo>
                    <a:pt x="714" y="918"/>
                  </a:lnTo>
                  <a:lnTo>
                    <a:pt x="720" y="954"/>
                  </a:lnTo>
                  <a:lnTo>
                    <a:pt x="726" y="966"/>
                  </a:lnTo>
                  <a:lnTo>
                    <a:pt x="744" y="966"/>
                  </a:lnTo>
                  <a:lnTo>
                    <a:pt x="756" y="972"/>
                  </a:lnTo>
                  <a:lnTo>
                    <a:pt x="792" y="990"/>
                  </a:lnTo>
                  <a:lnTo>
                    <a:pt x="828" y="978"/>
                  </a:lnTo>
                  <a:lnTo>
                    <a:pt x="834" y="978"/>
                  </a:lnTo>
                  <a:lnTo>
                    <a:pt x="840" y="978"/>
                  </a:lnTo>
                  <a:lnTo>
                    <a:pt x="840" y="984"/>
                  </a:lnTo>
                  <a:lnTo>
                    <a:pt x="846" y="984"/>
                  </a:lnTo>
                  <a:lnTo>
                    <a:pt x="858" y="972"/>
                  </a:lnTo>
                  <a:lnTo>
                    <a:pt x="882" y="972"/>
                  </a:lnTo>
                  <a:lnTo>
                    <a:pt x="888" y="984"/>
                  </a:lnTo>
                  <a:lnTo>
                    <a:pt x="900" y="990"/>
                  </a:lnTo>
                  <a:lnTo>
                    <a:pt x="924" y="996"/>
                  </a:lnTo>
                  <a:lnTo>
                    <a:pt x="930" y="990"/>
                  </a:lnTo>
                  <a:lnTo>
                    <a:pt x="930" y="984"/>
                  </a:lnTo>
                  <a:lnTo>
                    <a:pt x="924" y="978"/>
                  </a:lnTo>
                  <a:lnTo>
                    <a:pt x="906" y="972"/>
                  </a:lnTo>
                  <a:lnTo>
                    <a:pt x="900" y="966"/>
                  </a:lnTo>
                  <a:lnTo>
                    <a:pt x="900" y="960"/>
                  </a:lnTo>
                  <a:lnTo>
                    <a:pt x="900" y="954"/>
                  </a:lnTo>
                  <a:lnTo>
                    <a:pt x="900" y="948"/>
                  </a:lnTo>
                  <a:lnTo>
                    <a:pt x="912" y="936"/>
                  </a:lnTo>
                  <a:lnTo>
                    <a:pt x="912" y="924"/>
                  </a:lnTo>
                  <a:lnTo>
                    <a:pt x="918" y="924"/>
                  </a:lnTo>
                  <a:lnTo>
                    <a:pt x="918" y="918"/>
                  </a:lnTo>
                  <a:lnTo>
                    <a:pt x="936" y="906"/>
                  </a:lnTo>
                  <a:lnTo>
                    <a:pt x="942" y="906"/>
                  </a:lnTo>
                  <a:lnTo>
                    <a:pt x="948" y="906"/>
                  </a:lnTo>
                  <a:lnTo>
                    <a:pt x="954" y="906"/>
                  </a:lnTo>
                  <a:lnTo>
                    <a:pt x="960" y="906"/>
                  </a:lnTo>
                  <a:lnTo>
                    <a:pt x="966" y="912"/>
                  </a:lnTo>
                  <a:lnTo>
                    <a:pt x="972" y="906"/>
                  </a:lnTo>
                  <a:lnTo>
                    <a:pt x="978" y="906"/>
                  </a:lnTo>
                  <a:lnTo>
                    <a:pt x="984" y="900"/>
                  </a:lnTo>
                  <a:lnTo>
                    <a:pt x="984" y="894"/>
                  </a:lnTo>
                  <a:lnTo>
                    <a:pt x="990" y="894"/>
                  </a:lnTo>
                  <a:lnTo>
                    <a:pt x="996" y="888"/>
                  </a:lnTo>
                  <a:lnTo>
                    <a:pt x="1002" y="888"/>
                  </a:lnTo>
                  <a:lnTo>
                    <a:pt x="1008" y="882"/>
                  </a:lnTo>
                  <a:lnTo>
                    <a:pt x="1014" y="882"/>
                  </a:lnTo>
                  <a:lnTo>
                    <a:pt x="1020" y="882"/>
                  </a:lnTo>
                  <a:lnTo>
                    <a:pt x="1020" y="888"/>
                  </a:lnTo>
                  <a:lnTo>
                    <a:pt x="1026" y="882"/>
                  </a:lnTo>
                  <a:lnTo>
                    <a:pt x="1026" y="876"/>
                  </a:lnTo>
                  <a:lnTo>
                    <a:pt x="1026" y="870"/>
                  </a:lnTo>
                  <a:lnTo>
                    <a:pt x="1032" y="864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44" y="852"/>
                  </a:lnTo>
                  <a:lnTo>
                    <a:pt x="1038" y="846"/>
                  </a:lnTo>
                  <a:lnTo>
                    <a:pt x="1038" y="840"/>
                  </a:lnTo>
                  <a:lnTo>
                    <a:pt x="1032" y="840"/>
                  </a:lnTo>
                  <a:lnTo>
                    <a:pt x="1026" y="840"/>
                  </a:lnTo>
                  <a:lnTo>
                    <a:pt x="1020" y="840"/>
                  </a:lnTo>
                  <a:lnTo>
                    <a:pt x="1014" y="846"/>
                  </a:lnTo>
                  <a:lnTo>
                    <a:pt x="1008" y="846"/>
                  </a:lnTo>
                  <a:lnTo>
                    <a:pt x="1002" y="840"/>
                  </a:lnTo>
                  <a:lnTo>
                    <a:pt x="996" y="840"/>
                  </a:lnTo>
                  <a:lnTo>
                    <a:pt x="990" y="834"/>
                  </a:lnTo>
                  <a:lnTo>
                    <a:pt x="984" y="834"/>
                  </a:lnTo>
                  <a:lnTo>
                    <a:pt x="978" y="834"/>
                  </a:lnTo>
                  <a:lnTo>
                    <a:pt x="972" y="834"/>
                  </a:lnTo>
                  <a:lnTo>
                    <a:pt x="966" y="834"/>
                  </a:lnTo>
                  <a:lnTo>
                    <a:pt x="966" y="828"/>
                  </a:lnTo>
                  <a:lnTo>
                    <a:pt x="960" y="828"/>
                  </a:lnTo>
                  <a:lnTo>
                    <a:pt x="954" y="828"/>
                  </a:lnTo>
                  <a:lnTo>
                    <a:pt x="942" y="828"/>
                  </a:lnTo>
                  <a:lnTo>
                    <a:pt x="936" y="828"/>
                  </a:lnTo>
                  <a:lnTo>
                    <a:pt x="930" y="828"/>
                  </a:lnTo>
                  <a:lnTo>
                    <a:pt x="918" y="828"/>
                  </a:lnTo>
                  <a:lnTo>
                    <a:pt x="918" y="822"/>
                  </a:lnTo>
                  <a:lnTo>
                    <a:pt x="912" y="828"/>
                  </a:lnTo>
                  <a:lnTo>
                    <a:pt x="912" y="822"/>
                  </a:lnTo>
                  <a:lnTo>
                    <a:pt x="906" y="816"/>
                  </a:lnTo>
                  <a:lnTo>
                    <a:pt x="900" y="816"/>
                  </a:lnTo>
                  <a:lnTo>
                    <a:pt x="894" y="816"/>
                  </a:lnTo>
                  <a:lnTo>
                    <a:pt x="888" y="816"/>
                  </a:lnTo>
                  <a:lnTo>
                    <a:pt x="882" y="816"/>
                  </a:lnTo>
                  <a:lnTo>
                    <a:pt x="882" y="810"/>
                  </a:lnTo>
                  <a:lnTo>
                    <a:pt x="876" y="804"/>
                  </a:lnTo>
                  <a:lnTo>
                    <a:pt x="870" y="804"/>
                  </a:lnTo>
                  <a:lnTo>
                    <a:pt x="864" y="798"/>
                  </a:lnTo>
                  <a:lnTo>
                    <a:pt x="858" y="798"/>
                  </a:lnTo>
                  <a:lnTo>
                    <a:pt x="858" y="804"/>
                  </a:lnTo>
                  <a:lnTo>
                    <a:pt x="852" y="804"/>
                  </a:lnTo>
                  <a:lnTo>
                    <a:pt x="846" y="804"/>
                  </a:lnTo>
                  <a:lnTo>
                    <a:pt x="846" y="798"/>
                  </a:lnTo>
                  <a:lnTo>
                    <a:pt x="840" y="804"/>
                  </a:lnTo>
                  <a:lnTo>
                    <a:pt x="834" y="804"/>
                  </a:lnTo>
                  <a:lnTo>
                    <a:pt x="828" y="804"/>
                  </a:lnTo>
                  <a:lnTo>
                    <a:pt x="828" y="810"/>
                  </a:lnTo>
                  <a:lnTo>
                    <a:pt x="822" y="810"/>
                  </a:lnTo>
                  <a:lnTo>
                    <a:pt x="810" y="804"/>
                  </a:lnTo>
                  <a:lnTo>
                    <a:pt x="810" y="798"/>
                  </a:lnTo>
                  <a:lnTo>
                    <a:pt x="780" y="798"/>
                  </a:lnTo>
                  <a:lnTo>
                    <a:pt x="756" y="774"/>
                  </a:lnTo>
                  <a:lnTo>
                    <a:pt x="750" y="768"/>
                  </a:lnTo>
                  <a:lnTo>
                    <a:pt x="750" y="744"/>
                  </a:lnTo>
                  <a:lnTo>
                    <a:pt x="732" y="738"/>
                  </a:lnTo>
                  <a:lnTo>
                    <a:pt x="732" y="720"/>
                  </a:lnTo>
                  <a:lnTo>
                    <a:pt x="714" y="690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6" y="666"/>
                  </a:lnTo>
                  <a:lnTo>
                    <a:pt x="690" y="666"/>
                  </a:lnTo>
                  <a:lnTo>
                    <a:pt x="678" y="672"/>
                  </a:lnTo>
                  <a:lnTo>
                    <a:pt x="678" y="654"/>
                  </a:lnTo>
                  <a:lnTo>
                    <a:pt x="684" y="630"/>
                  </a:lnTo>
                  <a:lnTo>
                    <a:pt x="690" y="618"/>
                  </a:lnTo>
                  <a:lnTo>
                    <a:pt x="696" y="612"/>
                  </a:lnTo>
                  <a:lnTo>
                    <a:pt x="696" y="588"/>
                  </a:lnTo>
                  <a:lnTo>
                    <a:pt x="690" y="576"/>
                  </a:lnTo>
                  <a:lnTo>
                    <a:pt x="696" y="552"/>
                  </a:lnTo>
                  <a:lnTo>
                    <a:pt x="684" y="522"/>
                  </a:lnTo>
                  <a:lnTo>
                    <a:pt x="672" y="504"/>
                  </a:lnTo>
                  <a:lnTo>
                    <a:pt x="654" y="504"/>
                  </a:lnTo>
                  <a:lnTo>
                    <a:pt x="642" y="504"/>
                  </a:lnTo>
                  <a:lnTo>
                    <a:pt x="624" y="510"/>
                  </a:lnTo>
                  <a:lnTo>
                    <a:pt x="612" y="516"/>
                  </a:lnTo>
                  <a:lnTo>
                    <a:pt x="594" y="516"/>
                  </a:lnTo>
                  <a:lnTo>
                    <a:pt x="588" y="516"/>
                  </a:lnTo>
                  <a:lnTo>
                    <a:pt x="588" y="522"/>
                  </a:lnTo>
                  <a:lnTo>
                    <a:pt x="582" y="516"/>
                  </a:lnTo>
                  <a:lnTo>
                    <a:pt x="588" y="510"/>
                  </a:lnTo>
                  <a:lnTo>
                    <a:pt x="582" y="510"/>
                  </a:lnTo>
                  <a:lnTo>
                    <a:pt x="582" y="504"/>
                  </a:lnTo>
                  <a:lnTo>
                    <a:pt x="576" y="498"/>
                  </a:lnTo>
                  <a:lnTo>
                    <a:pt x="570" y="498"/>
                  </a:lnTo>
                  <a:lnTo>
                    <a:pt x="570" y="492"/>
                  </a:lnTo>
                  <a:lnTo>
                    <a:pt x="564" y="492"/>
                  </a:lnTo>
                  <a:lnTo>
                    <a:pt x="570" y="486"/>
                  </a:lnTo>
                  <a:lnTo>
                    <a:pt x="564" y="486"/>
                  </a:lnTo>
                  <a:lnTo>
                    <a:pt x="564" y="480"/>
                  </a:lnTo>
                  <a:lnTo>
                    <a:pt x="564" y="474"/>
                  </a:lnTo>
                  <a:lnTo>
                    <a:pt x="558" y="468"/>
                  </a:lnTo>
                  <a:lnTo>
                    <a:pt x="564" y="468"/>
                  </a:lnTo>
                  <a:lnTo>
                    <a:pt x="564" y="462"/>
                  </a:lnTo>
                  <a:lnTo>
                    <a:pt x="570" y="462"/>
                  </a:lnTo>
                  <a:lnTo>
                    <a:pt x="570" y="456"/>
                  </a:lnTo>
                  <a:lnTo>
                    <a:pt x="570" y="450"/>
                  </a:lnTo>
                  <a:lnTo>
                    <a:pt x="576" y="450"/>
                  </a:lnTo>
                  <a:lnTo>
                    <a:pt x="576" y="444"/>
                  </a:lnTo>
                  <a:lnTo>
                    <a:pt x="582" y="438"/>
                  </a:lnTo>
                  <a:lnTo>
                    <a:pt x="588" y="438"/>
                  </a:lnTo>
                  <a:lnTo>
                    <a:pt x="588" y="444"/>
                  </a:lnTo>
                  <a:lnTo>
                    <a:pt x="594" y="438"/>
                  </a:lnTo>
                  <a:lnTo>
                    <a:pt x="594" y="432"/>
                  </a:lnTo>
                  <a:lnTo>
                    <a:pt x="600" y="432"/>
                  </a:lnTo>
                  <a:lnTo>
                    <a:pt x="600" y="426"/>
                  </a:lnTo>
                  <a:lnTo>
                    <a:pt x="600" y="420"/>
                  </a:lnTo>
                  <a:lnTo>
                    <a:pt x="606" y="420"/>
                  </a:lnTo>
                  <a:lnTo>
                    <a:pt x="600" y="420"/>
                  </a:lnTo>
                  <a:lnTo>
                    <a:pt x="600" y="414"/>
                  </a:lnTo>
                  <a:lnTo>
                    <a:pt x="606" y="408"/>
                  </a:lnTo>
                  <a:lnTo>
                    <a:pt x="612" y="408"/>
                  </a:lnTo>
                  <a:lnTo>
                    <a:pt x="612" y="414"/>
                  </a:lnTo>
                  <a:lnTo>
                    <a:pt x="618" y="414"/>
                  </a:lnTo>
                  <a:lnTo>
                    <a:pt x="624" y="414"/>
                  </a:lnTo>
                  <a:lnTo>
                    <a:pt x="630" y="414"/>
                  </a:lnTo>
                  <a:lnTo>
                    <a:pt x="636" y="414"/>
                  </a:lnTo>
                  <a:lnTo>
                    <a:pt x="642" y="408"/>
                  </a:lnTo>
                  <a:lnTo>
                    <a:pt x="648" y="408"/>
                  </a:lnTo>
                  <a:lnTo>
                    <a:pt x="660" y="408"/>
                  </a:lnTo>
                  <a:lnTo>
                    <a:pt x="666" y="402"/>
                  </a:lnTo>
                  <a:lnTo>
                    <a:pt x="672" y="402"/>
                  </a:lnTo>
                  <a:lnTo>
                    <a:pt x="684" y="396"/>
                  </a:lnTo>
                  <a:lnTo>
                    <a:pt x="690" y="396"/>
                  </a:lnTo>
                  <a:lnTo>
                    <a:pt x="696" y="396"/>
                  </a:lnTo>
                  <a:lnTo>
                    <a:pt x="702" y="396"/>
                  </a:lnTo>
                  <a:lnTo>
                    <a:pt x="708" y="396"/>
                  </a:lnTo>
                  <a:lnTo>
                    <a:pt x="714" y="390"/>
                  </a:lnTo>
                  <a:lnTo>
                    <a:pt x="714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32" y="384"/>
                  </a:lnTo>
                  <a:lnTo>
                    <a:pt x="738" y="378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56" y="372"/>
                  </a:lnTo>
                  <a:lnTo>
                    <a:pt x="762" y="366"/>
                  </a:lnTo>
                  <a:lnTo>
                    <a:pt x="768" y="366"/>
                  </a:lnTo>
                  <a:lnTo>
                    <a:pt x="774" y="366"/>
                  </a:lnTo>
                  <a:lnTo>
                    <a:pt x="774" y="360"/>
                  </a:lnTo>
                  <a:lnTo>
                    <a:pt x="780" y="366"/>
                  </a:lnTo>
                  <a:lnTo>
                    <a:pt x="786" y="366"/>
                  </a:lnTo>
                  <a:lnTo>
                    <a:pt x="786" y="360"/>
                  </a:lnTo>
                  <a:lnTo>
                    <a:pt x="792" y="354"/>
                  </a:lnTo>
                  <a:lnTo>
                    <a:pt x="786" y="354"/>
                  </a:lnTo>
                  <a:lnTo>
                    <a:pt x="792" y="348"/>
                  </a:lnTo>
                  <a:lnTo>
                    <a:pt x="798" y="348"/>
                  </a:lnTo>
                  <a:lnTo>
                    <a:pt x="804" y="348"/>
                  </a:lnTo>
                  <a:lnTo>
                    <a:pt x="810" y="342"/>
                  </a:lnTo>
                  <a:lnTo>
                    <a:pt x="816" y="342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28" y="336"/>
                  </a:lnTo>
                  <a:lnTo>
                    <a:pt x="834" y="336"/>
                  </a:lnTo>
                  <a:lnTo>
                    <a:pt x="840" y="336"/>
                  </a:lnTo>
                  <a:lnTo>
                    <a:pt x="846" y="330"/>
                  </a:lnTo>
                  <a:lnTo>
                    <a:pt x="852" y="330"/>
                  </a:lnTo>
                  <a:lnTo>
                    <a:pt x="858" y="330"/>
                  </a:lnTo>
                  <a:lnTo>
                    <a:pt x="864" y="324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0" y="312"/>
                  </a:lnTo>
                  <a:lnTo>
                    <a:pt x="876" y="312"/>
                  </a:lnTo>
                  <a:lnTo>
                    <a:pt x="882" y="312"/>
                  </a:lnTo>
                  <a:lnTo>
                    <a:pt x="882" y="318"/>
                  </a:lnTo>
                  <a:lnTo>
                    <a:pt x="888" y="312"/>
                  </a:lnTo>
                  <a:lnTo>
                    <a:pt x="894" y="306"/>
                  </a:lnTo>
                  <a:lnTo>
                    <a:pt x="900" y="306"/>
                  </a:lnTo>
                  <a:lnTo>
                    <a:pt x="906" y="306"/>
                  </a:lnTo>
                  <a:lnTo>
                    <a:pt x="912" y="300"/>
                  </a:lnTo>
                  <a:lnTo>
                    <a:pt x="906" y="294"/>
                  </a:lnTo>
                  <a:lnTo>
                    <a:pt x="912" y="276"/>
                  </a:lnTo>
                  <a:lnTo>
                    <a:pt x="912" y="252"/>
                  </a:lnTo>
                  <a:lnTo>
                    <a:pt x="906" y="234"/>
                  </a:lnTo>
                  <a:lnTo>
                    <a:pt x="912" y="228"/>
                  </a:lnTo>
                  <a:lnTo>
                    <a:pt x="912" y="216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24" y="192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36" y="186"/>
                  </a:lnTo>
                  <a:lnTo>
                    <a:pt x="930" y="180"/>
                  </a:lnTo>
                  <a:lnTo>
                    <a:pt x="930" y="174"/>
                  </a:lnTo>
                  <a:lnTo>
                    <a:pt x="936" y="156"/>
                  </a:lnTo>
                  <a:lnTo>
                    <a:pt x="930" y="156"/>
                  </a:lnTo>
                  <a:lnTo>
                    <a:pt x="924" y="150"/>
                  </a:lnTo>
                  <a:lnTo>
                    <a:pt x="942" y="78"/>
                  </a:lnTo>
                  <a:lnTo>
                    <a:pt x="948" y="78"/>
                  </a:lnTo>
                  <a:lnTo>
                    <a:pt x="954" y="66"/>
                  </a:lnTo>
                  <a:lnTo>
                    <a:pt x="954" y="72"/>
                  </a:lnTo>
                  <a:lnTo>
                    <a:pt x="954" y="66"/>
                  </a:lnTo>
                  <a:lnTo>
                    <a:pt x="960" y="66"/>
                  </a:lnTo>
                  <a:lnTo>
                    <a:pt x="966" y="66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54"/>
                  </a:lnTo>
                  <a:lnTo>
                    <a:pt x="990" y="54"/>
                  </a:lnTo>
                  <a:lnTo>
                    <a:pt x="996" y="48"/>
                  </a:lnTo>
                  <a:lnTo>
                    <a:pt x="1002" y="48"/>
                  </a:lnTo>
                  <a:lnTo>
                    <a:pt x="1032" y="48"/>
                  </a:lnTo>
                  <a:lnTo>
                    <a:pt x="1062" y="48"/>
                  </a:lnTo>
                  <a:lnTo>
                    <a:pt x="1068" y="78"/>
                  </a:lnTo>
                  <a:lnTo>
                    <a:pt x="1086" y="78"/>
                  </a:lnTo>
                  <a:lnTo>
                    <a:pt x="1092" y="66"/>
                  </a:lnTo>
                  <a:lnTo>
                    <a:pt x="1092" y="60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8" y="48"/>
                  </a:lnTo>
                  <a:lnTo>
                    <a:pt x="1104" y="48"/>
                  </a:lnTo>
                  <a:lnTo>
                    <a:pt x="1110" y="48"/>
                  </a:lnTo>
                  <a:lnTo>
                    <a:pt x="1110" y="42"/>
                  </a:lnTo>
                  <a:lnTo>
                    <a:pt x="1110" y="36"/>
                  </a:lnTo>
                  <a:lnTo>
                    <a:pt x="1116" y="36"/>
                  </a:lnTo>
                  <a:lnTo>
                    <a:pt x="1116" y="30"/>
                  </a:lnTo>
                  <a:lnTo>
                    <a:pt x="1122" y="30"/>
                  </a:lnTo>
                  <a:lnTo>
                    <a:pt x="1128" y="30"/>
                  </a:lnTo>
                  <a:lnTo>
                    <a:pt x="1134" y="30"/>
                  </a:lnTo>
                  <a:lnTo>
                    <a:pt x="1140" y="24"/>
                  </a:lnTo>
                  <a:lnTo>
                    <a:pt x="1152" y="18"/>
                  </a:lnTo>
                  <a:lnTo>
                    <a:pt x="1158" y="18"/>
                  </a:lnTo>
                  <a:lnTo>
                    <a:pt x="1152" y="12"/>
                  </a:lnTo>
                  <a:lnTo>
                    <a:pt x="1152" y="6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8"/>
                  </a:lnTo>
                  <a:lnTo>
                    <a:pt x="1170" y="12"/>
                  </a:lnTo>
                  <a:lnTo>
                    <a:pt x="1170" y="6"/>
                  </a:lnTo>
                  <a:lnTo>
                    <a:pt x="1176" y="6"/>
                  </a:lnTo>
                  <a:lnTo>
                    <a:pt x="1176" y="0"/>
                  </a:lnTo>
                  <a:lnTo>
                    <a:pt x="1182" y="6"/>
                  </a:lnTo>
                  <a:lnTo>
                    <a:pt x="1188" y="6"/>
                  </a:lnTo>
                  <a:lnTo>
                    <a:pt x="1188" y="0"/>
                  </a:lnTo>
                  <a:lnTo>
                    <a:pt x="1194" y="6"/>
                  </a:lnTo>
                  <a:lnTo>
                    <a:pt x="1200" y="12"/>
                  </a:lnTo>
                  <a:lnTo>
                    <a:pt x="1206" y="18"/>
                  </a:lnTo>
                  <a:lnTo>
                    <a:pt x="1212" y="18"/>
                  </a:lnTo>
                  <a:lnTo>
                    <a:pt x="1218" y="24"/>
                  </a:lnTo>
                  <a:lnTo>
                    <a:pt x="1236" y="36"/>
                  </a:lnTo>
                  <a:lnTo>
                    <a:pt x="1242" y="36"/>
                  </a:lnTo>
                  <a:lnTo>
                    <a:pt x="1248" y="42"/>
                  </a:lnTo>
                  <a:lnTo>
                    <a:pt x="1248" y="48"/>
                  </a:lnTo>
                  <a:lnTo>
                    <a:pt x="1260" y="48"/>
                  </a:lnTo>
                  <a:lnTo>
                    <a:pt x="1260" y="108"/>
                  </a:lnTo>
                  <a:lnTo>
                    <a:pt x="1266" y="168"/>
                  </a:lnTo>
                  <a:lnTo>
                    <a:pt x="1278" y="234"/>
                  </a:lnTo>
                  <a:lnTo>
                    <a:pt x="1284" y="240"/>
                  </a:lnTo>
                  <a:lnTo>
                    <a:pt x="1290" y="264"/>
                  </a:lnTo>
                  <a:lnTo>
                    <a:pt x="1296" y="288"/>
                  </a:lnTo>
                  <a:lnTo>
                    <a:pt x="1296" y="300"/>
                  </a:lnTo>
                  <a:lnTo>
                    <a:pt x="1296" y="312"/>
                  </a:lnTo>
                  <a:lnTo>
                    <a:pt x="1296" y="324"/>
                  </a:lnTo>
                  <a:lnTo>
                    <a:pt x="1296" y="354"/>
                  </a:lnTo>
                  <a:lnTo>
                    <a:pt x="1302" y="366"/>
                  </a:lnTo>
                  <a:lnTo>
                    <a:pt x="1308" y="372"/>
                  </a:lnTo>
                  <a:lnTo>
                    <a:pt x="1308" y="384"/>
                  </a:lnTo>
                  <a:lnTo>
                    <a:pt x="1314" y="390"/>
                  </a:lnTo>
                  <a:lnTo>
                    <a:pt x="1308" y="408"/>
                  </a:lnTo>
                  <a:lnTo>
                    <a:pt x="1314" y="408"/>
                  </a:lnTo>
                  <a:lnTo>
                    <a:pt x="1314" y="414"/>
                  </a:lnTo>
                  <a:lnTo>
                    <a:pt x="1308" y="420"/>
                  </a:lnTo>
                  <a:lnTo>
                    <a:pt x="1308" y="432"/>
                  </a:lnTo>
                  <a:lnTo>
                    <a:pt x="1320" y="432"/>
                  </a:lnTo>
                  <a:lnTo>
                    <a:pt x="1320" y="444"/>
                  </a:lnTo>
                  <a:lnTo>
                    <a:pt x="1332" y="444"/>
                  </a:lnTo>
                  <a:lnTo>
                    <a:pt x="1338" y="450"/>
                  </a:lnTo>
                  <a:lnTo>
                    <a:pt x="1344" y="456"/>
                  </a:lnTo>
                  <a:lnTo>
                    <a:pt x="1344" y="462"/>
                  </a:lnTo>
                  <a:lnTo>
                    <a:pt x="1344" y="474"/>
                  </a:lnTo>
                  <a:lnTo>
                    <a:pt x="1350" y="474"/>
                  </a:lnTo>
                  <a:lnTo>
                    <a:pt x="1368" y="504"/>
                  </a:lnTo>
                  <a:lnTo>
                    <a:pt x="1374" y="534"/>
                  </a:lnTo>
                  <a:lnTo>
                    <a:pt x="1380" y="558"/>
                  </a:lnTo>
                  <a:lnTo>
                    <a:pt x="1386" y="576"/>
                  </a:lnTo>
                  <a:lnTo>
                    <a:pt x="1386" y="600"/>
                  </a:lnTo>
                  <a:lnTo>
                    <a:pt x="1386" y="624"/>
                  </a:lnTo>
                  <a:lnTo>
                    <a:pt x="1386" y="648"/>
                  </a:lnTo>
                  <a:lnTo>
                    <a:pt x="1386" y="684"/>
                  </a:lnTo>
                  <a:lnTo>
                    <a:pt x="1380" y="684"/>
                  </a:lnTo>
                  <a:lnTo>
                    <a:pt x="1374" y="696"/>
                  </a:lnTo>
                  <a:lnTo>
                    <a:pt x="1368" y="702"/>
                  </a:lnTo>
                  <a:lnTo>
                    <a:pt x="1362" y="708"/>
                  </a:lnTo>
                  <a:lnTo>
                    <a:pt x="1356" y="714"/>
                  </a:lnTo>
                  <a:lnTo>
                    <a:pt x="1350" y="720"/>
                  </a:lnTo>
                  <a:lnTo>
                    <a:pt x="1338" y="720"/>
                  </a:lnTo>
                  <a:lnTo>
                    <a:pt x="1338" y="738"/>
                  </a:lnTo>
                  <a:lnTo>
                    <a:pt x="1362" y="750"/>
                  </a:lnTo>
                  <a:lnTo>
                    <a:pt x="1362" y="756"/>
                  </a:lnTo>
                  <a:lnTo>
                    <a:pt x="1374" y="756"/>
                  </a:lnTo>
                  <a:lnTo>
                    <a:pt x="1410" y="774"/>
                  </a:lnTo>
                  <a:lnTo>
                    <a:pt x="1446" y="774"/>
                  </a:lnTo>
                  <a:lnTo>
                    <a:pt x="1482" y="768"/>
                  </a:lnTo>
                  <a:lnTo>
                    <a:pt x="1500" y="774"/>
                  </a:lnTo>
                  <a:lnTo>
                    <a:pt x="1512" y="78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6" name="Freeform 11">
              <a:extLst>
                <a:ext uri="{FF2B5EF4-FFF2-40B4-BE49-F238E27FC236}">
                  <a16:creationId xmlns:a16="http://schemas.microsoft.com/office/drawing/2014/main" id="{1FF8E66F-B850-456A-B132-C45FEEDE95C6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2475" y="2345643"/>
              <a:ext cx="445003" cy="603855"/>
            </a:xfrm>
            <a:custGeom>
              <a:avLst/>
              <a:gdLst>
                <a:gd name="T0" fmla="*/ 47 w 840"/>
                <a:gd name="T1" fmla="*/ 98 h 1134"/>
                <a:gd name="T2" fmla="*/ 41 w 840"/>
                <a:gd name="T3" fmla="*/ 98 h 1134"/>
                <a:gd name="T4" fmla="*/ 37 w 840"/>
                <a:gd name="T5" fmla="*/ 98 h 1134"/>
                <a:gd name="T6" fmla="*/ 29 w 840"/>
                <a:gd name="T7" fmla="*/ 97 h 1134"/>
                <a:gd name="T8" fmla="*/ 27 w 840"/>
                <a:gd name="T9" fmla="*/ 94 h 1134"/>
                <a:gd name="T10" fmla="*/ 26 w 840"/>
                <a:gd name="T11" fmla="*/ 93 h 1134"/>
                <a:gd name="T12" fmla="*/ 26 w 840"/>
                <a:gd name="T13" fmla="*/ 83 h 1134"/>
                <a:gd name="T14" fmla="*/ 26 w 840"/>
                <a:gd name="T15" fmla="*/ 81 h 1134"/>
                <a:gd name="T16" fmla="*/ 23 w 840"/>
                <a:gd name="T17" fmla="*/ 77 h 1134"/>
                <a:gd name="T18" fmla="*/ 19 w 840"/>
                <a:gd name="T19" fmla="*/ 75 h 1134"/>
                <a:gd name="T20" fmla="*/ 16 w 840"/>
                <a:gd name="T21" fmla="*/ 72 h 1134"/>
                <a:gd name="T22" fmla="*/ 13 w 840"/>
                <a:gd name="T23" fmla="*/ 70 h 1134"/>
                <a:gd name="T24" fmla="*/ 17 w 840"/>
                <a:gd name="T25" fmla="*/ 67 h 1134"/>
                <a:gd name="T26" fmla="*/ 19 w 840"/>
                <a:gd name="T27" fmla="*/ 63 h 1134"/>
                <a:gd name="T28" fmla="*/ 20 w 840"/>
                <a:gd name="T29" fmla="*/ 59 h 1134"/>
                <a:gd name="T30" fmla="*/ 19 w 840"/>
                <a:gd name="T31" fmla="*/ 55 h 1134"/>
                <a:gd name="T32" fmla="*/ 17 w 840"/>
                <a:gd name="T33" fmla="*/ 47 h 1134"/>
                <a:gd name="T34" fmla="*/ 8 w 840"/>
                <a:gd name="T35" fmla="*/ 45 h 1134"/>
                <a:gd name="T36" fmla="*/ 4 w 840"/>
                <a:gd name="T37" fmla="*/ 39 h 1134"/>
                <a:gd name="T38" fmla="*/ 2 w 840"/>
                <a:gd name="T39" fmla="*/ 35 h 1134"/>
                <a:gd name="T40" fmla="*/ 0 w 840"/>
                <a:gd name="T41" fmla="*/ 31 h 1134"/>
                <a:gd name="T42" fmla="*/ 2 w 840"/>
                <a:gd name="T43" fmla="*/ 27 h 1134"/>
                <a:gd name="T44" fmla="*/ 5 w 840"/>
                <a:gd name="T45" fmla="*/ 24 h 1134"/>
                <a:gd name="T46" fmla="*/ 10 w 840"/>
                <a:gd name="T47" fmla="*/ 26 h 1134"/>
                <a:gd name="T48" fmla="*/ 7 w 840"/>
                <a:gd name="T49" fmla="*/ 20 h 1134"/>
                <a:gd name="T50" fmla="*/ 12 w 840"/>
                <a:gd name="T51" fmla="*/ 12 h 1134"/>
                <a:gd name="T52" fmla="*/ 19 w 840"/>
                <a:gd name="T53" fmla="*/ 10 h 1134"/>
                <a:gd name="T54" fmla="*/ 20 w 840"/>
                <a:gd name="T55" fmla="*/ 13 h 1134"/>
                <a:gd name="T56" fmla="*/ 22 w 840"/>
                <a:gd name="T57" fmla="*/ 11 h 1134"/>
                <a:gd name="T58" fmla="*/ 25 w 840"/>
                <a:gd name="T59" fmla="*/ 7 h 1134"/>
                <a:gd name="T60" fmla="*/ 29 w 840"/>
                <a:gd name="T61" fmla="*/ 2 h 1134"/>
                <a:gd name="T62" fmla="*/ 33 w 840"/>
                <a:gd name="T63" fmla="*/ 1 h 1134"/>
                <a:gd name="T64" fmla="*/ 37 w 840"/>
                <a:gd name="T65" fmla="*/ 2 h 1134"/>
                <a:gd name="T66" fmla="*/ 39 w 840"/>
                <a:gd name="T67" fmla="*/ 4 h 1134"/>
                <a:gd name="T68" fmla="*/ 43 w 840"/>
                <a:gd name="T69" fmla="*/ 5 h 1134"/>
                <a:gd name="T70" fmla="*/ 46 w 840"/>
                <a:gd name="T71" fmla="*/ 11 h 1134"/>
                <a:gd name="T72" fmla="*/ 49 w 840"/>
                <a:gd name="T73" fmla="*/ 12 h 1134"/>
                <a:gd name="T74" fmla="*/ 52 w 840"/>
                <a:gd name="T75" fmla="*/ 15 h 1134"/>
                <a:gd name="T76" fmla="*/ 54 w 840"/>
                <a:gd name="T77" fmla="*/ 18 h 1134"/>
                <a:gd name="T78" fmla="*/ 55 w 840"/>
                <a:gd name="T79" fmla="*/ 22 h 1134"/>
                <a:gd name="T80" fmla="*/ 56 w 840"/>
                <a:gd name="T81" fmla="*/ 26 h 1134"/>
                <a:gd name="T82" fmla="*/ 55 w 840"/>
                <a:gd name="T83" fmla="*/ 32 h 1134"/>
                <a:gd name="T84" fmla="*/ 55 w 840"/>
                <a:gd name="T85" fmla="*/ 36 h 1134"/>
                <a:gd name="T86" fmla="*/ 54 w 840"/>
                <a:gd name="T87" fmla="*/ 39 h 1134"/>
                <a:gd name="T88" fmla="*/ 56 w 840"/>
                <a:gd name="T89" fmla="*/ 39 h 1134"/>
                <a:gd name="T90" fmla="*/ 58 w 840"/>
                <a:gd name="T91" fmla="*/ 39 h 1134"/>
                <a:gd name="T92" fmla="*/ 61 w 840"/>
                <a:gd name="T93" fmla="*/ 39 h 1134"/>
                <a:gd name="T94" fmla="*/ 60 w 840"/>
                <a:gd name="T95" fmla="*/ 49 h 1134"/>
                <a:gd name="T96" fmla="*/ 59 w 840"/>
                <a:gd name="T97" fmla="*/ 53 h 1134"/>
                <a:gd name="T98" fmla="*/ 59 w 840"/>
                <a:gd name="T99" fmla="*/ 56 h 1134"/>
                <a:gd name="T100" fmla="*/ 60 w 840"/>
                <a:gd name="T101" fmla="*/ 59 h 1134"/>
                <a:gd name="T102" fmla="*/ 64 w 840"/>
                <a:gd name="T103" fmla="*/ 61 h 1134"/>
                <a:gd name="T104" fmla="*/ 69 w 840"/>
                <a:gd name="T105" fmla="*/ 63 h 1134"/>
                <a:gd name="T106" fmla="*/ 72 w 840"/>
                <a:gd name="T107" fmla="*/ 69 h 1134"/>
                <a:gd name="T108" fmla="*/ 72 w 840"/>
                <a:gd name="T109" fmla="*/ 73 h 1134"/>
                <a:gd name="T110" fmla="*/ 72 w 840"/>
                <a:gd name="T111" fmla="*/ 83 h 1134"/>
                <a:gd name="T112" fmla="*/ 63 w 840"/>
                <a:gd name="T113" fmla="*/ 88 h 1134"/>
                <a:gd name="T114" fmla="*/ 52 w 840"/>
                <a:gd name="T115" fmla="*/ 95 h 11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40"/>
                <a:gd name="T175" fmla="*/ 0 h 1134"/>
                <a:gd name="T176" fmla="*/ 840 w 840"/>
                <a:gd name="T177" fmla="*/ 1134 h 11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40" h="1134">
                  <a:moveTo>
                    <a:pt x="564" y="1110"/>
                  </a:moveTo>
                  <a:lnTo>
                    <a:pt x="564" y="1104"/>
                  </a:lnTo>
                  <a:lnTo>
                    <a:pt x="558" y="1104"/>
                  </a:lnTo>
                  <a:lnTo>
                    <a:pt x="552" y="1110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28" y="1128"/>
                  </a:lnTo>
                  <a:lnTo>
                    <a:pt x="498" y="1128"/>
                  </a:lnTo>
                  <a:lnTo>
                    <a:pt x="492" y="1128"/>
                  </a:lnTo>
                  <a:lnTo>
                    <a:pt x="486" y="1128"/>
                  </a:lnTo>
                  <a:lnTo>
                    <a:pt x="480" y="1128"/>
                  </a:lnTo>
                  <a:lnTo>
                    <a:pt x="474" y="1134"/>
                  </a:lnTo>
                  <a:lnTo>
                    <a:pt x="468" y="1134"/>
                  </a:lnTo>
                  <a:lnTo>
                    <a:pt x="462" y="1134"/>
                  </a:lnTo>
                  <a:lnTo>
                    <a:pt x="456" y="1134"/>
                  </a:lnTo>
                  <a:lnTo>
                    <a:pt x="456" y="1128"/>
                  </a:lnTo>
                  <a:lnTo>
                    <a:pt x="450" y="1122"/>
                  </a:lnTo>
                  <a:lnTo>
                    <a:pt x="426" y="1128"/>
                  </a:lnTo>
                  <a:lnTo>
                    <a:pt x="414" y="1128"/>
                  </a:lnTo>
                  <a:lnTo>
                    <a:pt x="348" y="1134"/>
                  </a:lnTo>
                  <a:lnTo>
                    <a:pt x="348" y="1128"/>
                  </a:lnTo>
                  <a:lnTo>
                    <a:pt x="342" y="1128"/>
                  </a:lnTo>
                  <a:lnTo>
                    <a:pt x="336" y="1122"/>
                  </a:lnTo>
                  <a:lnTo>
                    <a:pt x="330" y="1122"/>
                  </a:lnTo>
                  <a:lnTo>
                    <a:pt x="324" y="1116"/>
                  </a:lnTo>
                  <a:lnTo>
                    <a:pt x="324" y="1110"/>
                  </a:lnTo>
                  <a:lnTo>
                    <a:pt x="318" y="1110"/>
                  </a:lnTo>
                  <a:lnTo>
                    <a:pt x="318" y="1104"/>
                  </a:lnTo>
                  <a:lnTo>
                    <a:pt x="312" y="1092"/>
                  </a:lnTo>
                  <a:lnTo>
                    <a:pt x="306" y="1086"/>
                  </a:lnTo>
                  <a:lnTo>
                    <a:pt x="306" y="1080"/>
                  </a:lnTo>
                  <a:lnTo>
                    <a:pt x="312" y="1074"/>
                  </a:lnTo>
                  <a:lnTo>
                    <a:pt x="306" y="1068"/>
                  </a:lnTo>
                  <a:lnTo>
                    <a:pt x="300" y="1074"/>
                  </a:lnTo>
                  <a:lnTo>
                    <a:pt x="300" y="1068"/>
                  </a:lnTo>
                  <a:lnTo>
                    <a:pt x="294" y="1068"/>
                  </a:lnTo>
                  <a:lnTo>
                    <a:pt x="294" y="1056"/>
                  </a:lnTo>
                  <a:lnTo>
                    <a:pt x="294" y="1026"/>
                  </a:lnTo>
                  <a:lnTo>
                    <a:pt x="294" y="1020"/>
                  </a:lnTo>
                  <a:lnTo>
                    <a:pt x="294" y="1008"/>
                  </a:lnTo>
                  <a:lnTo>
                    <a:pt x="294" y="966"/>
                  </a:lnTo>
                  <a:lnTo>
                    <a:pt x="294" y="960"/>
                  </a:lnTo>
                  <a:lnTo>
                    <a:pt x="294" y="954"/>
                  </a:lnTo>
                  <a:lnTo>
                    <a:pt x="294" y="948"/>
                  </a:lnTo>
                  <a:lnTo>
                    <a:pt x="294" y="942"/>
                  </a:lnTo>
                  <a:lnTo>
                    <a:pt x="300" y="936"/>
                  </a:lnTo>
                  <a:lnTo>
                    <a:pt x="300" y="930"/>
                  </a:lnTo>
                  <a:lnTo>
                    <a:pt x="294" y="930"/>
                  </a:lnTo>
                  <a:lnTo>
                    <a:pt x="288" y="930"/>
                  </a:lnTo>
                  <a:lnTo>
                    <a:pt x="288" y="924"/>
                  </a:lnTo>
                  <a:lnTo>
                    <a:pt x="282" y="918"/>
                  </a:lnTo>
                  <a:lnTo>
                    <a:pt x="282" y="906"/>
                  </a:lnTo>
                  <a:lnTo>
                    <a:pt x="282" y="900"/>
                  </a:lnTo>
                  <a:lnTo>
                    <a:pt x="264" y="894"/>
                  </a:lnTo>
                  <a:lnTo>
                    <a:pt x="252" y="882"/>
                  </a:lnTo>
                  <a:lnTo>
                    <a:pt x="246" y="876"/>
                  </a:lnTo>
                  <a:lnTo>
                    <a:pt x="240" y="876"/>
                  </a:lnTo>
                  <a:lnTo>
                    <a:pt x="240" y="870"/>
                  </a:lnTo>
                  <a:lnTo>
                    <a:pt x="234" y="870"/>
                  </a:lnTo>
                  <a:lnTo>
                    <a:pt x="222" y="864"/>
                  </a:lnTo>
                  <a:lnTo>
                    <a:pt x="216" y="864"/>
                  </a:lnTo>
                  <a:lnTo>
                    <a:pt x="210" y="858"/>
                  </a:lnTo>
                  <a:lnTo>
                    <a:pt x="210" y="852"/>
                  </a:lnTo>
                  <a:lnTo>
                    <a:pt x="210" y="846"/>
                  </a:lnTo>
                  <a:lnTo>
                    <a:pt x="198" y="840"/>
                  </a:lnTo>
                  <a:lnTo>
                    <a:pt x="186" y="834"/>
                  </a:lnTo>
                  <a:lnTo>
                    <a:pt x="180" y="828"/>
                  </a:lnTo>
                  <a:lnTo>
                    <a:pt x="180" y="822"/>
                  </a:lnTo>
                  <a:lnTo>
                    <a:pt x="174" y="822"/>
                  </a:lnTo>
                  <a:lnTo>
                    <a:pt x="162" y="816"/>
                  </a:lnTo>
                  <a:lnTo>
                    <a:pt x="156" y="810"/>
                  </a:lnTo>
                  <a:lnTo>
                    <a:pt x="150" y="810"/>
                  </a:lnTo>
                  <a:lnTo>
                    <a:pt x="144" y="798"/>
                  </a:lnTo>
                  <a:lnTo>
                    <a:pt x="138" y="786"/>
                  </a:lnTo>
                  <a:lnTo>
                    <a:pt x="138" y="780"/>
                  </a:lnTo>
                  <a:lnTo>
                    <a:pt x="144" y="774"/>
                  </a:lnTo>
                  <a:lnTo>
                    <a:pt x="150" y="768"/>
                  </a:lnTo>
                  <a:lnTo>
                    <a:pt x="192" y="768"/>
                  </a:lnTo>
                  <a:lnTo>
                    <a:pt x="210" y="762"/>
                  </a:lnTo>
                  <a:lnTo>
                    <a:pt x="216" y="756"/>
                  </a:lnTo>
                  <a:lnTo>
                    <a:pt x="216" y="744"/>
                  </a:lnTo>
                  <a:lnTo>
                    <a:pt x="216" y="738"/>
                  </a:lnTo>
                  <a:lnTo>
                    <a:pt x="216" y="732"/>
                  </a:lnTo>
                  <a:lnTo>
                    <a:pt x="216" y="726"/>
                  </a:lnTo>
                  <a:lnTo>
                    <a:pt x="216" y="720"/>
                  </a:lnTo>
                  <a:lnTo>
                    <a:pt x="228" y="702"/>
                  </a:lnTo>
                  <a:lnTo>
                    <a:pt x="234" y="696"/>
                  </a:lnTo>
                  <a:lnTo>
                    <a:pt x="240" y="690"/>
                  </a:lnTo>
                  <a:lnTo>
                    <a:pt x="240" y="684"/>
                  </a:lnTo>
                  <a:lnTo>
                    <a:pt x="234" y="678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0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22" y="630"/>
                  </a:lnTo>
                  <a:lnTo>
                    <a:pt x="222" y="618"/>
                  </a:lnTo>
                  <a:lnTo>
                    <a:pt x="222" y="582"/>
                  </a:lnTo>
                  <a:lnTo>
                    <a:pt x="228" y="582"/>
                  </a:lnTo>
                  <a:lnTo>
                    <a:pt x="222" y="564"/>
                  </a:lnTo>
                  <a:lnTo>
                    <a:pt x="210" y="552"/>
                  </a:lnTo>
                  <a:lnTo>
                    <a:pt x="192" y="540"/>
                  </a:lnTo>
                  <a:lnTo>
                    <a:pt x="174" y="540"/>
                  </a:lnTo>
                  <a:lnTo>
                    <a:pt x="150" y="534"/>
                  </a:lnTo>
                  <a:lnTo>
                    <a:pt x="126" y="528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90" y="516"/>
                  </a:lnTo>
                  <a:lnTo>
                    <a:pt x="78" y="504"/>
                  </a:lnTo>
                  <a:lnTo>
                    <a:pt x="72" y="498"/>
                  </a:lnTo>
                  <a:lnTo>
                    <a:pt x="66" y="486"/>
                  </a:lnTo>
                  <a:lnTo>
                    <a:pt x="54" y="468"/>
                  </a:lnTo>
                  <a:lnTo>
                    <a:pt x="54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42" y="438"/>
                  </a:lnTo>
                  <a:lnTo>
                    <a:pt x="36" y="438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24" y="384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2" y="360"/>
                  </a:lnTo>
                  <a:lnTo>
                    <a:pt x="6" y="360"/>
                  </a:lnTo>
                  <a:lnTo>
                    <a:pt x="0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0"/>
                  </a:lnTo>
                  <a:lnTo>
                    <a:pt x="18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8" y="270"/>
                  </a:lnTo>
                  <a:lnTo>
                    <a:pt x="90" y="276"/>
                  </a:lnTo>
                  <a:lnTo>
                    <a:pt x="108" y="294"/>
                  </a:lnTo>
                  <a:lnTo>
                    <a:pt x="114" y="294"/>
                  </a:lnTo>
                  <a:lnTo>
                    <a:pt x="114" y="276"/>
                  </a:lnTo>
                  <a:lnTo>
                    <a:pt x="114" y="270"/>
                  </a:lnTo>
                  <a:lnTo>
                    <a:pt x="102" y="258"/>
                  </a:lnTo>
                  <a:lnTo>
                    <a:pt x="96" y="246"/>
                  </a:lnTo>
                  <a:lnTo>
                    <a:pt x="90" y="234"/>
                  </a:lnTo>
                  <a:lnTo>
                    <a:pt x="78" y="228"/>
                  </a:lnTo>
                  <a:lnTo>
                    <a:pt x="72" y="216"/>
                  </a:lnTo>
                  <a:lnTo>
                    <a:pt x="66" y="192"/>
                  </a:lnTo>
                  <a:lnTo>
                    <a:pt x="90" y="174"/>
                  </a:lnTo>
                  <a:lnTo>
                    <a:pt x="120" y="150"/>
                  </a:lnTo>
                  <a:lnTo>
                    <a:pt x="132" y="150"/>
                  </a:lnTo>
                  <a:lnTo>
                    <a:pt x="138" y="144"/>
                  </a:lnTo>
                  <a:lnTo>
                    <a:pt x="138" y="138"/>
                  </a:lnTo>
                  <a:lnTo>
                    <a:pt x="156" y="126"/>
                  </a:lnTo>
                  <a:lnTo>
                    <a:pt x="180" y="114"/>
                  </a:lnTo>
                  <a:lnTo>
                    <a:pt x="216" y="114"/>
                  </a:lnTo>
                  <a:lnTo>
                    <a:pt x="222" y="114"/>
                  </a:lnTo>
                  <a:lnTo>
                    <a:pt x="222" y="120"/>
                  </a:lnTo>
                  <a:lnTo>
                    <a:pt x="222" y="126"/>
                  </a:lnTo>
                  <a:lnTo>
                    <a:pt x="222" y="132"/>
                  </a:lnTo>
                  <a:lnTo>
                    <a:pt x="228" y="138"/>
                  </a:lnTo>
                  <a:lnTo>
                    <a:pt x="228" y="144"/>
                  </a:lnTo>
                  <a:lnTo>
                    <a:pt x="228" y="150"/>
                  </a:lnTo>
                  <a:lnTo>
                    <a:pt x="234" y="150"/>
                  </a:lnTo>
                  <a:lnTo>
                    <a:pt x="234" y="144"/>
                  </a:lnTo>
                  <a:lnTo>
                    <a:pt x="240" y="144"/>
                  </a:lnTo>
                  <a:lnTo>
                    <a:pt x="246" y="144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58" y="126"/>
                  </a:lnTo>
                  <a:lnTo>
                    <a:pt x="258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76" y="96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6" y="72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36"/>
                  </a:lnTo>
                  <a:lnTo>
                    <a:pt x="330" y="24"/>
                  </a:lnTo>
                  <a:lnTo>
                    <a:pt x="330" y="18"/>
                  </a:lnTo>
                  <a:lnTo>
                    <a:pt x="330" y="12"/>
                  </a:lnTo>
                  <a:lnTo>
                    <a:pt x="336" y="6"/>
                  </a:lnTo>
                  <a:lnTo>
                    <a:pt x="366" y="0"/>
                  </a:lnTo>
                  <a:lnTo>
                    <a:pt x="372" y="6"/>
                  </a:lnTo>
                  <a:lnTo>
                    <a:pt x="384" y="12"/>
                  </a:lnTo>
                  <a:lnTo>
                    <a:pt x="402" y="12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18"/>
                  </a:lnTo>
                  <a:lnTo>
                    <a:pt x="420" y="18"/>
                  </a:lnTo>
                  <a:lnTo>
                    <a:pt x="426" y="24"/>
                  </a:lnTo>
                  <a:lnTo>
                    <a:pt x="432" y="30"/>
                  </a:lnTo>
                  <a:lnTo>
                    <a:pt x="438" y="36"/>
                  </a:lnTo>
                  <a:lnTo>
                    <a:pt x="444" y="42"/>
                  </a:lnTo>
                  <a:lnTo>
                    <a:pt x="450" y="42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16" y="78"/>
                  </a:lnTo>
                  <a:lnTo>
                    <a:pt x="522" y="102"/>
                  </a:lnTo>
                  <a:lnTo>
                    <a:pt x="522" y="108"/>
                  </a:lnTo>
                  <a:lnTo>
                    <a:pt x="528" y="126"/>
                  </a:lnTo>
                  <a:lnTo>
                    <a:pt x="534" y="126"/>
                  </a:lnTo>
                  <a:lnTo>
                    <a:pt x="540" y="120"/>
                  </a:lnTo>
                  <a:lnTo>
                    <a:pt x="546" y="126"/>
                  </a:lnTo>
                  <a:lnTo>
                    <a:pt x="552" y="126"/>
                  </a:lnTo>
                  <a:lnTo>
                    <a:pt x="558" y="132"/>
                  </a:lnTo>
                  <a:lnTo>
                    <a:pt x="564" y="138"/>
                  </a:lnTo>
                  <a:lnTo>
                    <a:pt x="570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594" y="168"/>
                  </a:lnTo>
                  <a:lnTo>
                    <a:pt x="600" y="174"/>
                  </a:lnTo>
                  <a:lnTo>
                    <a:pt x="606" y="180"/>
                  </a:lnTo>
                  <a:lnTo>
                    <a:pt x="606" y="186"/>
                  </a:lnTo>
                  <a:lnTo>
                    <a:pt x="612" y="192"/>
                  </a:lnTo>
                  <a:lnTo>
                    <a:pt x="612" y="198"/>
                  </a:lnTo>
                  <a:lnTo>
                    <a:pt x="624" y="204"/>
                  </a:lnTo>
                  <a:lnTo>
                    <a:pt x="624" y="210"/>
                  </a:lnTo>
                  <a:lnTo>
                    <a:pt x="630" y="216"/>
                  </a:lnTo>
                  <a:lnTo>
                    <a:pt x="636" y="222"/>
                  </a:lnTo>
                  <a:lnTo>
                    <a:pt x="636" y="228"/>
                  </a:lnTo>
                  <a:lnTo>
                    <a:pt x="636" y="234"/>
                  </a:lnTo>
                  <a:lnTo>
                    <a:pt x="636" y="252"/>
                  </a:lnTo>
                  <a:lnTo>
                    <a:pt x="636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42" y="276"/>
                  </a:lnTo>
                  <a:lnTo>
                    <a:pt x="642" y="282"/>
                  </a:lnTo>
                  <a:lnTo>
                    <a:pt x="642" y="288"/>
                  </a:lnTo>
                  <a:lnTo>
                    <a:pt x="642" y="300"/>
                  </a:lnTo>
                  <a:lnTo>
                    <a:pt x="642" y="306"/>
                  </a:lnTo>
                  <a:lnTo>
                    <a:pt x="636" y="312"/>
                  </a:lnTo>
                  <a:lnTo>
                    <a:pt x="636" y="324"/>
                  </a:lnTo>
                  <a:lnTo>
                    <a:pt x="636" y="342"/>
                  </a:lnTo>
                  <a:lnTo>
                    <a:pt x="630" y="354"/>
                  </a:lnTo>
                  <a:lnTo>
                    <a:pt x="630" y="366"/>
                  </a:lnTo>
                  <a:lnTo>
                    <a:pt x="624" y="378"/>
                  </a:lnTo>
                  <a:lnTo>
                    <a:pt x="624" y="384"/>
                  </a:lnTo>
                  <a:lnTo>
                    <a:pt x="636" y="396"/>
                  </a:lnTo>
                  <a:lnTo>
                    <a:pt x="636" y="402"/>
                  </a:lnTo>
                  <a:lnTo>
                    <a:pt x="636" y="408"/>
                  </a:lnTo>
                  <a:lnTo>
                    <a:pt x="630" y="414"/>
                  </a:lnTo>
                  <a:lnTo>
                    <a:pt x="630" y="420"/>
                  </a:lnTo>
                  <a:lnTo>
                    <a:pt x="630" y="426"/>
                  </a:lnTo>
                  <a:lnTo>
                    <a:pt x="630" y="432"/>
                  </a:lnTo>
                  <a:lnTo>
                    <a:pt x="624" y="438"/>
                  </a:lnTo>
                  <a:lnTo>
                    <a:pt x="624" y="444"/>
                  </a:lnTo>
                  <a:lnTo>
                    <a:pt x="624" y="450"/>
                  </a:lnTo>
                  <a:lnTo>
                    <a:pt x="630" y="450"/>
                  </a:lnTo>
                  <a:lnTo>
                    <a:pt x="630" y="456"/>
                  </a:lnTo>
                  <a:lnTo>
                    <a:pt x="630" y="462"/>
                  </a:lnTo>
                  <a:lnTo>
                    <a:pt x="636" y="468"/>
                  </a:lnTo>
                  <a:lnTo>
                    <a:pt x="642" y="456"/>
                  </a:lnTo>
                  <a:lnTo>
                    <a:pt x="642" y="450"/>
                  </a:lnTo>
                  <a:lnTo>
                    <a:pt x="648" y="450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60" y="444"/>
                  </a:lnTo>
                  <a:lnTo>
                    <a:pt x="666" y="450"/>
                  </a:lnTo>
                  <a:lnTo>
                    <a:pt x="672" y="444"/>
                  </a:lnTo>
                  <a:lnTo>
                    <a:pt x="678" y="444"/>
                  </a:lnTo>
                  <a:lnTo>
                    <a:pt x="684" y="438"/>
                  </a:lnTo>
                  <a:lnTo>
                    <a:pt x="690" y="438"/>
                  </a:lnTo>
                  <a:lnTo>
                    <a:pt x="696" y="438"/>
                  </a:lnTo>
                  <a:lnTo>
                    <a:pt x="702" y="444"/>
                  </a:lnTo>
                  <a:lnTo>
                    <a:pt x="702" y="450"/>
                  </a:lnTo>
                  <a:lnTo>
                    <a:pt x="708" y="450"/>
                  </a:lnTo>
                  <a:lnTo>
                    <a:pt x="708" y="456"/>
                  </a:lnTo>
                  <a:lnTo>
                    <a:pt x="708" y="462"/>
                  </a:lnTo>
                  <a:lnTo>
                    <a:pt x="708" y="468"/>
                  </a:lnTo>
                  <a:lnTo>
                    <a:pt x="708" y="504"/>
                  </a:lnTo>
                  <a:lnTo>
                    <a:pt x="696" y="564"/>
                  </a:lnTo>
                  <a:lnTo>
                    <a:pt x="696" y="582"/>
                  </a:lnTo>
                  <a:lnTo>
                    <a:pt x="696" y="600"/>
                  </a:lnTo>
                  <a:lnTo>
                    <a:pt x="690" y="606"/>
                  </a:lnTo>
                  <a:lnTo>
                    <a:pt x="684" y="606"/>
                  </a:lnTo>
                  <a:lnTo>
                    <a:pt x="690" y="612"/>
                  </a:lnTo>
                  <a:lnTo>
                    <a:pt x="684" y="612"/>
                  </a:lnTo>
                  <a:lnTo>
                    <a:pt x="678" y="618"/>
                  </a:lnTo>
                  <a:lnTo>
                    <a:pt x="672" y="624"/>
                  </a:lnTo>
                  <a:lnTo>
                    <a:pt x="666" y="630"/>
                  </a:lnTo>
                  <a:lnTo>
                    <a:pt x="660" y="636"/>
                  </a:lnTo>
                  <a:lnTo>
                    <a:pt x="672" y="636"/>
                  </a:lnTo>
                  <a:lnTo>
                    <a:pt x="678" y="642"/>
                  </a:lnTo>
                  <a:lnTo>
                    <a:pt x="678" y="648"/>
                  </a:lnTo>
                  <a:lnTo>
                    <a:pt x="684" y="654"/>
                  </a:lnTo>
                  <a:lnTo>
                    <a:pt x="690" y="666"/>
                  </a:lnTo>
                  <a:lnTo>
                    <a:pt x="690" y="672"/>
                  </a:lnTo>
                  <a:lnTo>
                    <a:pt x="696" y="672"/>
                  </a:lnTo>
                  <a:lnTo>
                    <a:pt x="696" y="684"/>
                  </a:lnTo>
                  <a:lnTo>
                    <a:pt x="708" y="690"/>
                  </a:lnTo>
                  <a:lnTo>
                    <a:pt x="720" y="696"/>
                  </a:lnTo>
                  <a:lnTo>
                    <a:pt x="726" y="696"/>
                  </a:lnTo>
                  <a:lnTo>
                    <a:pt x="732" y="696"/>
                  </a:lnTo>
                  <a:lnTo>
                    <a:pt x="738" y="696"/>
                  </a:lnTo>
                  <a:lnTo>
                    <a:pt x="738" y="702"/>
                  </a:lnTo>
                  <a:lnTo>
                    <a:pt x="738" y="708"/>
                  </a:lnTo>
                  <a:lnTo>
                    <a:pt x="738" y="714"/>
                  </a:lnTo>
                  <a:lnTo>
                    <a:pt x="744" y="714"/>
                  </a:lnTo>
                  <a:lnTo>
                    <a:pt x="756" y="720"/>
                  </a:lnTo>
                  <a:lnTo>
                    <a:pt x="780" y="726"/>
                  </a:lnTo>
                  <a:lnTo>
                    <a:pt x="792" y="732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22" y="774"/>
                  </a:lnTo>
                  <a:lnTo>
                    <a:pt x="834" y="786"/>
                  </a:lnTo>
                  <a:lnTo>
                    <a:pt x="834" y="792"/>
                  </a:lnTo>
                  <a:lnTo>
                    <a:pt x="834" y="798"/>
                  </a:lnTo>
                  <a:lnTo>
                    <a:pt x="828" y="798"/>
                  </a:lnTo>
                  <a:lnTo>
                    <a:pt x="828" y="804"/>
                  </a:lnTo>
                  <a:lnTo>
                    <a:pt x="834" y="816"/>
                  </a:lnTo>
                  <a:lnTo>
                    <a:pt x="834" y="834"/>
                  </a:lnTo>
                  <a:lnTo>
                    <a:pt x="834" y="840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34" y="858"/>
                  </a:lnTo>
                  <a:lnTo>
                    <a:pt x="834" y="864"/>
                  </a:lnTo>
                  <a:lnTo>
                    <a:pt x="834" y="876"/>
                  </a:lnTo>
                  <a:lnTo>
                    <a:pt x="828" y="960"/>
                  </a:lnTo>
                  <a:lnTo>
                    <a:pt x="816" y="966"/>
                  </a:lnTo>
                  <a:lnTo>
                    <a:pt x="798" y="972"/>
                  </a:lnTo>
                  <a:lnTo>
                    <a:pt x="786" y="990"/>
                  </a:lnTo>
                  <a:lnTo>
                    <a:pt x="774" y="990"/>
                  </a:lnTo>
                  <a:lnTo>
                    <a:pt x="762" y="1008"/>
                  </a:lnTo>
                  <a:lnTo>
                    <a:pt x="732" y="1014"/>
                  </a:lnTo>
                  <a:lnTo>
                    <a:pt x="714" y="1026"/>
                  </a:lnTo>
                  <a:lnTo>
                    <a:pt x="690" y="1050"/>
                  </a:lnTo>
                  <a:lnTo>
                    <a:pt x="654" y="1056"/>
                  </a:lnTo>
                  <a:lnTo>
                    <a:pt x="630" y="1056"/>
                  </a:lnTo>
                  <a:lnTo>
                    <a:pt x="606" y="1068"/>
                  </a:lnTo>
                  <a:lnTo>
                    <a:pt x="600" y="1092"/>
                  </a:lnTo>
                  <a:lnTo>
                    <a:pt x="600" y="1098"/>
                  </a:lnTo>
                  <a:lnTo>
                    <a:pt x="588" y="1104"/>
                  </a:lnTo>
                  <a:lnTo>
                    <a:pt x="582" y="1104"/>
                  </a:lnTo>
                  <a:lnTo>
                    <a:pt x="570" y="1110"/>
                  </a:lnTo>
                  <a:lnTo>
                    <a:pt x="564" y="1110"/>
                  </a:lnTo>
                  <a:close/>
                </a:path>
              </a:pathLst>
            </a:custGeom>
            <a:solidFill>
              <a:srgbClr val="2A4F1D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7" name="Freeform 12">
              <a:extLst>
                <a:ext uri="{FF2B5EF4-FFF2-40B4-BE49-F238E27FC236}">
                  <a16:creationId xmlns:a16="http://schemas.microsoft.com/office/drawing/2014/main" id="{6C93C114-E5D0-49BB-A44C-A127CE01CFE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810" y="2271838"/>
              <a:ext cx="923547" cy="845397"/>
            </a:xfrm>
            <a:custGeom>
              <a:avLst/>
              <a:gdLst>
                <a:gd name="T0" fmla="*/ 138 w 1740"/>
                <a:gd name="T1" fmla="*/ 134 h 1590"/>
                <a:gd name="T2" fmla="*/ 128 w 1740"/>
                <a:gd name="T3" fmla="*/ 131 h 1590"/>
                <a:gd name="T4" fmla="*/ 121 w 1740"/>
                <a:gd name="T5" fmla="*/ 130 h 1590"/>
                <a:gd name="T6" fmla="*/ 119 w 1740"/>
                <a:gd name="T7" fmla="*/ 134 h 1590"/>
                <a:gd name="T8" fmla="*/ 110 w 1740"/>
                <a:gd name="T9" fmla="*/ 132 h 1590"/>
                <a:gd name="T10" fmla="*/ 111 w 1740"/>
                <a:gd name="T11" fmla="*/ 127 h 1590"/>
                <a:gd name="T12" fmla="*/ 103 w 1740"/>
                <a:gd name="T13" fmla="*/ 117 h 1590"/>
                <a:gd name="T14" fmla="*/ 93 w 1740"/>
                <a:gd name="T15" fmla="*/ 123 h 1590"/>
                <a:gd name="T16" fmla="*/ 80 w 1740"/>
                <a:gd name="T17" fmla="*/ 118 h 1590"/>
                <a:gd name="T18" fmla="*/ 66 w 1740"/>
                <a:gd name="T19" fmla="*/ 117 h 1590"/>
                <a:gd name="T20" fmla="*/ 66 w 1740"/>
                <a:gd name="T21" fmla="*/ 110 h 1590"/>
                <a:gd name="T22" fmla="*/ 69 w 1740"/>
                <a:gd name="T23" fmla="*/ 107 h 1590"/>
                <a:gd name="T24" fmla="*/ 68 w 1740"/>
                <a:gd name="T25" fmla="*/ 102 h 1590"/>
                <a:gd name="T26" fmla="*/ 68 w 1740"/>
                <a:gd name="T27" fmla="*/ 96 h 1590"/>
                <a:gd name="T28" fmla="*/ 67 w 1740"/>
                <a:gd name="T29" fmla="*/ 82 h 1590"/>
                <a:gd name="T30" fmla="*/ 58 w 1740"/>
                <a:gd name="T31" fmla="*/ 82 h 1590"/>
                <a:gd name="T32" fmla="*/ 52 w 1740"/>
                <a:gd name="T33" fmla="*/ 82 h 1590"/>
                <a:gd name="T34" fmla="*/ 46 w 1740"/>
                <a:gd name="T35" fmla="*/ 80 h 1590"/>
                <a:gd name="T36" fmla="*/ 45 w 1740"/>
                <a:gd name="T37" fmla="*/ 74 h 1590"/>
                <a:gd name="T38" fmla="*/ 52 w 1740"/>
                <a:gd name="T39" fmla="*/ 70 h 1590"/>
                <a:gd name="T40" fmla="*/ 52 w 1740"/>
                <a:gd name="T41" fmla="*/ 64 h 1590"/>
                <a:gd name="T42" fmla="*/ 42 w 1740"/>
                <a:gd name="T43" fmla="*/ 53 h 1590"/>
                <a:gd name="T44" fmla="*/ 35 w 1740"/>
                <a:gd name="T45" fmla="*/ 52 h 1590"/>
                <a:gd name="T46" fmla="*/ 20 w 1740"/>
                <a:gd name="T47" fmla="*/ 51 h 1590"/>
                <a:gd name="T48" fmla="*/ 17 w 1740"/>
                <a:gd name="T49" fmla="*/ 56 h 1590"/>
                <a:gd name="T50" fmla="*/ 11 w 1740"/>
                <a:gd name="T51" fmla="*/ 61 h 1590"/>
                <a:gd name="T52" fmla="*/ 7 w 1740"/>
                <a:gd name="T53" fmla="*/ 63 h 1590"/>
                <a:gd name="T54" fmla="*/ 0 w 1740"/>
                <a:gd name="T55" fmla="*/ 55 h 1590"/>
                <a:gd name="T56" fmla="*/ 2 w 1740"/>
                <a:gd name="T57" fmla="*/ 50 h 1590"/>
                <a:gd name="T58" fmla="*/ 0 w 1740"/>
                <a:gd name="T59" fmla="*/ 44 h 1590"/>
                <a:gd name="T60" fmla="*/ 2 w 1740"/>
                <a:gd name="T61" fmla="*/ 38 h 1590"/>
                <a:gd name="T62" fmla="*/ 7 w 1740"/>
                <a:gd name="T63" fmla="*/ 35 h 1590"/>
                <a:gd name="T64" fmla="*/ 11 w 1740"/>
                <a:gd name="T65" fmla="*/ 30 h 1590"/>
                <a:gd name="T66" fmla="*/ 21 w 1740"/>
                <a:gd name="T67" fmla="*/ 26 h 1590"/>
                <a:gd name="T68" fmla="*/ 29 w 1740"/>
                <a:gd name="T69" fmla="*/ 25 h 1590"/>
                <a:gd name="T70" fmla="*/ 35 w 1740"/>
                <a:gd name="T71" fmla="*/ 21 h 1590"/>
                <a:gd name="T72" fmla="*/ 36 w 1740"/>
                <a:gd name="T73" fmla="*/ 16 h 1590"/>
                <a:gd name="T74" fmla="*/ 41 w 1740"/>
                <a:gd name="T75" fmla="*/ 11 h 1590"/>
                <a:gd name="T76" fmla="*/ 51 w 1740"/>
                <a:gd name="T77" fmla="*/ 9 h 1590"/>
                <a:gd name="T78" fmla="*/ 59 w 1740"/>
                <a:gd name="T79" fmla="*/ 21 h 1590"/>
                <a:gd name="T80" fmla="*/ 65 w 1740"/>
                <a:gd name="T81" fmla="*/ 13 h 1590"/>
                <a:gd name="T82" fmla="*/ 73 w 1740"/>
                <a:gd name="T83" fmla="*/ 8 h 1590"/>
                <a:gd name="T84" fmla="*/ 82 w 1740"/>
                <a:gd name="T85" fmla="*/ 12 h 1590"/>
                <a:gd name="T86" fmla="*/ 88 w 1740"/>
                <a:gd name="T87" fmla="*/ 12 h 1590"/>
                <a:gd name="T88" fmla="*/ 99 w 1740"/>
                <a:gd name="T89" fmla="*/ 7 h 1590"/>
                <a:gd name="T90" fmla="*/ 114 w 1740"/>
                <a:gd name="T91" fmla="*/ 0 h 1590"/>
                <a:gd name="T92" fmla="*/ 117 w 1740"/>
                <a:gd name="T93" fmla="*/ 10 h 1590"/>
                <a:gd name="T94" fmla="*/ 132 w 1740"/>
                <a:gd name="T95" fmla="*/ 17 h 1590"/>
                <a:gd name="T96" fmla="*/ 140 w 1740"/>
                <a:gd name="T97" fmla="*/ 25 h 1590"/>
                <a:gd name="T98" fmla="*/ 140 w 1740"/>
                <a:gd name="T99" fmla="*/ 33 h 1590"/>
                <a:gd name="T100" fmla="*/ 140 w 1740"/>
                <a:gd name="T101" fmla="*/ 44 h 1590"/>
                <a:gd name="T102" fmla="*/ 138 w 1740"/>
                <a:gd name="T103" fmla="*/ 48 h 1590"/>
                <a:gd name="T104" fmla="*/ 141 w 1740"/>
                <a:gd name="T105" fmla="*/ 49 h 1590"/>
                <a:gd name="T106" fmla="*/ 146 w 1740"/>
                <a:gd name="T107" fmla="*/ 50 h 1590"/>
                <a:gd name="T108" fmla="*/ 149 w 1740"/>
                <a:gd name="T109" fmla="*/ 59 h 1590"/>
                <a:gd name="T110" fmla="*/ 148 w 1740"/>
                <a:gd name="T111" fmla="*/ 67 h 1590"/>
                <a:gd name="T112" fmla="*/ 141 w 1740"/>
                <a:gd name="T113" fmla="*/ 78 h 1590"/>
                <a:gd name="T114" fmla="*/ 141 w 1740"/>
                <a:gd name="T115" fmla="*/ 91 h 1590"/>
                <a:gd name="T116" fmla="*/ 138 w 1740"/>
                <a:gd name="T117" fmla="*/ 102 h 1590"/>
                <a:gd name="T118" fmla="*/ 138 w 1740"/>
                <a:gd name="T119" fmla="*/ 110 h 1590"/>
                <a:gd name="T120" fmla="*/ 144 w 1740"/>
                <a:gd name="T121" fmla="*/ 118 h 1590"/>
                <a:gd name="T122" fmla="*/ 143 w 1740"/>
                <a:gd name="T123" fmla="*/ 125 h 159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740"/>
                <a:gd name="T187" fmla="*/ 0 h 1590"/>
                <a:gd name="T188" fmla="*/ 1740 w 1740"/>
                <a:gd name="T189" fmla="*/ 1590 h 159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740" h="1590">
                  <a:moveTo>
                    <a:pt x="1638" y="1458"/>
                  </a:moveTo>
                  <a:lnTo>
                    <a:pt x="1638" y="1482"/>
                  </a:lnTo>
                  <a:lnTo>
                    <a:pt x="1638" y="1500"/>
                  </a:lnTo>
                  <a:lnTo>
                    <a:pt x="1626" y="1500"/>
                  </a:lnTo>
                  <a:lnTo>
                    <a:pt x="1620" y="1500"/>
                  </a:lnTo>
                  <a:lnTo>
                    <a:pt x="1614" y="1500"/>
                  </a:lnTo>
                  <a:lnTo>
                    <a:pt x="1614" y="1506"/>
                  </a:lnTo>
                  <a:lnTo>
                    <a:pt x="1614" y="1512"/>
                  </a:lnTo>
                  <a:lnTo>
                    <a:pt x="1620" y="1518"/>
                  </a:lnTo>
                  <a:lnTo>
                    <a:pt x="1614" y="1524"/>
                  </a:lnTo>
                  <a:lnTo>
                    <a:pt x="1590" y="1536"/>
                  </a:lnTo>
                  <a:lnTo>
                    <a:pt x="1584" y="1566"/>
                  </a:lnTo>
                  <a:lnTo>
                    <a:pt x="1578" y="1590"/>
                  </a:lnTo>
                  <a:lnTo>
                    <a:pt x="1548" y="1590"/>
                  </a:lnTo>
                  <a:lnTo>
                    <a:pt x="1542" y="1584"/>
                  </a:lnTo>
                  <a:lnTo>
                    <a:pt x="1542" y="1572"/>
                  </a:lnTo>
                  <a:lnTo>
                    <a:pt x="1536" y="1566"/>
                  </a:lnTo>
                  <a:lnTo>
                    <a:pt x="1536" y="1554"/>
                  </a:lnTo>
                  <a:lnTo>
                    <a:pt x="1536" y="1548"/>
                  </a:lnTo>
                  <a:lnTo>
                    <a:pt x="1506" y="1530"/>
                  </a:lnTo>
                  <a:lnTo>
                    <a:pt x="1488" y="1506"/>
                  </a:lnTo>
                  <a:lnTo>
                    <a:pt x="1464" y="1500"/>
                  </a:lnTo>
                  <a:lnTo>
                    <a:pt x="1470" y="1494"/>
                  </a:lnTo>
                  <a:lnTo>
                    <a:pt x="1470" y="1488"/>
                  </a:lnTo>
                  <a:lnTo>
                    <a:pt x="1470" y="1482"/>
                  </a:lnTo>
                  <a:lnTo>
                    <a:pt x="1428" y="1464"/>
                  </a:lnTo>
                  <a:lnTo>
                    <a:pt x="1404" y="1470"/>
                  </a:lnTo>
                  <a:lnTo>
                    <a:pt x="1398" y="1470"/>
                  </a:lnTo>
                  <a:lnTo>
                    <a:pt x="1392" y="1476"/>
                  </a:lnTo>
                  <a:lnTo>
                    <a:pt x="1386" y="1476"/>
                  </a:lnTo>
                  <a:lnTo>
                    <a:pt x="1386" y="1482"/>
                  </a:lnTo>
                  <a:lnTo>
                    <a:pt x="1392" y="1482"/>
                  </a:lnTo>
                  <a:lnTo>
                    <a:pt x="1386" y="1488"/>
                  </a:lnTo>
                  <a:lnTo>
                    <a:pt x="1386" y="1494"/>
                  </a:lnTo>
                  <a:lnTo>
                    <a:pt x="1380" y="1494"/>
                  </a:lnTo>
                  <a:lnTo>
                    <a:pt x="1380" y="1500"/>
                  </a:lnTo>
                  <a:lnTo>
                    <a:pt x="1380" y="1512"/>
                  </a:lnTo>
                  <a:lnTo>
                    <a:pt x="1380" y="1518"/>
                  </a:lnTo>
                  <a:lnTo>
                    <a:pt x="1380" y="1524"/>
                  </a:lnTo>
                  <a:lnTo>
                    <a:pt x="1380" y="1530"/>
                  </a:lnTo>
                  <a:lnTo>
                    <a:pt x="1374" y="1536"/>
                  </a:lnTo>
                  <a:lnTo>
                    <a:pt x="1374" y="1542"/>
                  </a:lnTo>
                  <a:lnTo>
                    <a:pt x="1368" y="1542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44" y="1554"/>
                  </a:lnTo>
                  <a:lnTo>
                    <a:pt x="1332" y="1560"/>
                  </a:lnTo>
                  <a:lnTo>
                    <a:pt x="1302" y="1554"/>
                  </a:lnTo>
                  <a:lnTo>
                    <a:pt x="1290" y="1554"/>
                  </a:lnTo>
                  <a:lnTo>
                    <a:pt x="1278" y="1542"/>
                  </a:lnTo>
                  <a:lnTo>
                    <a:pt x="1272" y="1530"/>
                  </a:lnTo>
                  <a:lnTo>
                    <a:pt x="1272" y="1524"/>
                  </a:lnTo>
                  <a:lnTo>
                    <a:pt x="1272" y="1518"/>
                  </a:lnTo>
                  <a:lnTo>
                    <a:pt x="1266" y="1518"/>
                  </a:lnTo>
                  <a:lnTo>
                    <a:pt x="1266" y="1512"/>
                  </a:lnTo>
                  <a:lnTo>
                    <a:pt x="1266" y="1506"/>
                  </a:lnTo>
                  <a:lnTo>
                    <a:pt x="1272" y="1506"/>
                  </a:lnTo>
                  <a:lnTo>
                    <a:pt x="1272" y="1500"/>
                  </a:lnTo>
                  <a:lnTo>
                    <a:pt x="1278" y="1500"/>
                  </a:lnTo>
                  <a:lnTo>
                    <a:pt x="1278" y="1494"/>
                  </a:lnTo>
                  <a:lnTo>
                    <a:pt x="1278" y="1488"/>
                  </a:lnTo>
                  <a:lnTo>
                    <a:pt x="1284" y="1488"/>
                  </a:lnTo>
                  <a:lnTo>
                    <a:pt x="1284" y="1482"/>
                  </a:lnTo>
                  <a:lnTo>
                    <a:pt x="1290" y="1476"/>
                  </a:lnTo>
                  <a:lnTo>
                    <a:pt x="1284" y="1470"/>
                  </a:lnTo>
                  <a:lnTo>
                    <a:pt x="1278" y="1458"/>
                  </a:lnTo>
                  <a:lnTo>
                    <a:pt x="1278" y="1452"/>
                  </a:lnTo>
                  <a:lnTo>
                    <a:pt x="1260" y="1428"/>
                  </a:lnTo>
                  <a:lnTo>
                    <a:pt x="1254" y="1416"/>
                  </a:lnTo>
                  <a:lnTo>
                    <a:pt x="1254" y="1410"/>
                  </a:lnTo>
                  <a:lnTo>
                    <a:pt x="1248" y="1398"/>
                  </a:lnTo>
                  <a:lnTo>
                    <a:pt x="1242" y="1398"/>
                  </a:lnTo>
                  <a:lnTo>
                    <a:pt x="1236" y="1398"/>
                  </a:lnTo>
                  <a:lnTo>
                    <a:pt x="1218" y="1386"/>
                  </a:lnTo>
                  <a:lnTo>
                    <a:pt x="1212" y="1362"/>
                  </a:lnTo>
                  <a:lnTo>
                    <a:pt x="1200" y="1344"/>
                  </a:lnTo>
                  <a:lnTo>
                    <a:pt x="1188" y="1338"/>
                  </a:lnTo>
                  <a:lnTo>
                    <a:pt x="1164" y="1338"/>
                  </a:lnTo>
                  <a:lnTo>
                    <a:pt x="1158" y="1344"/>
                  </a:lnTo>
                  <a:lnTo>
                    <a:pt x="1152" y="1350"/>
                  </a:lnTo>
                  <a:lnTo>
                    <a:pt x="1152" y="1356"/>
                  </a:lnTo>
                  <a:lnTo>
                    <a:pt x="1140" y="1362"/>
                  </a:lnTo>
                  <a:lnTo>
                    <a:pt x="1134" y="1380"/>
                  </a:lnTo>
                  <a:lnTo>
                    <a:pt x="1116" y="1398"/>
                  </a:lnTo>
                  <a:lnTo>
                    <a:pt x="1110" y="1416"/>
                  </a:lnTo>
                  <a:lnTo>
                    <a:pt x="1086" y="1416"/>
                  </a:lnTo>
                  <a:lnTo>
                    <a:pt x="1080" y="1410"/>
                  </a:lnTo>
                  <a:lnTo>
                    <a:pt x="1074" y="1410"/>
                  </a:lnTo>
                  <a:lnTo>
                    <a:pt x="1074" y="1404"/>
                  </a:lnTo>
                  <a:lnTo>
                    <a:pt x="1062" y="1404"/>
                  </a:lnTo>
                  <a:lnTo>
                    <a:pt x="1062" y="1380"/>
                  </a:lnTo>
                  <a:lnTo>
                    <a:pt x="1038" y="1380"/>
                  </a:lnTo>
                  <a:lnTo>
                    <a:pt x="1026" y="1350"/>
                  </a:lnTo>
                  <a:lnTo>
                    <a:pt x="996" y="1326"/>
                  </a:lnTo>
                  <a:lnTo>
                    <a:pt x="966" y="1314"/>
                  </a:lnTo>
                  <a:lnTo>
                    <a:pt x="954" y="1320"/>
                  </a:lnTo>
                  <a:lnTo>
                    <a:pt x="942" y="1338"/>
                  </a:lnTo>
                  <a:lnTo>
                    <a:pt x="930" y="1338"/>
                  </a:lnTo>
                  <a:lnTo>
                    <a:pt x="924" y="1350"/>
                  </a:lnTo>
                  <a:lnTo>
                    <a:pt x="906" y="1356"/>
                  </a:lnTo>
                  <a:lnTo>
                    <a:pt x="846" y="1356"/>
                  </a:lnTo>
                  <a:lnTo>
                    <a:pt x="834" y="1368"/>
                  </a:lnTo>
                  <a:lnTo>
                    <a:pt x="810" y="1362"/>
                  </a:lnTo>
                  <a:lnTo>
                    <a:pt x="792" y="1362"/>
                  </a:lnTo>
                  <a:lnTo>
                    <a:pt x="780" y="1368"/>
                  </a:lnTo>
                  <a:lnTo>
                    <a:pt x="762" y="1368"/>
                  </a:lnTo>
                  <a:lnTo>
                    <a:pt x="762" y="1362"/>
                  </a:lnTo>
                  <a:lnTo>
                    <a:pt x="750" y="1362"/>
                  </a:lnTo>
                  <a:lnTo>
                    <a:pt x="750" y="1338"/>
                  </a:lnTo>
                  <a:lnTo>
                    <a:pt x="762" y="1338"/>
                  </a:lnTo>
                  <a:lnTo>
                    <a:pt x="762" y="1326"/>
                  </a:lnTo>
                  <a:lnTo>
                    <a:pt x="762" y="1314"/>
                  </a:lnTo>
                  <a:lnTo>
                    <a:pt x="732" y="1314"/>
                  </a:lnTo>
                  <a:lnTo>
                    <a:pt x="726" y="1308"/>
                  </a:lnTo>
                  <a:lnTo>
                    <a:pt x="732" y="1284"/>
                  </a:lnTo>
                  <a:lnTo>
                    <a:pt x="732" y="1278"/>
                  </a:lnTo>
                  <a:lnTo>
                    <a:pt x="738" y="1272"/>
                  </a:lnTo>
                  <a:lnTo>
                    <a:pt x="738" y="1266"/>
                  </a:lnTo>
                  <a:lnTo>
                    <a:pt x="744" y="1266"/>
                  </a:lnTo>
                  <a:lnTo>
                    <a:pt x="750" y="1272"/>
                  </a:lnTo>
                  <a:lnTo>
                    <a:pt x="756" y="1266"/>
                  </a:lnTo>
                  <a:lnTo>
                    <a:pt x="762" y="1266"/>
                  </a:lnTo>
                  <a:lnTo>
                    <a:pt x="768" y="1260"/>
                  </a:lnTo>
                  <a:lnTo>
                    <a:pt x="774" y="1260"/>
                  </a:lnTo>
                  <a:lnTo>
                    <a:pt x="780" y="1254"/>
                  </a:lnTo>
                  <a:lnTo>
                    <a:pt x="774" y="1254"/>
                  </a:lnTo>
                  <a:lnTo>
                    <a:pt x="768" y="1254"/>
                  </a:lnTo>
                  <a:lnTo>
                    <a:pt x="774" y="1248"/>
                  </a:lnTo>
                  <a:lnTo>
                    <a:pt x="774" y="1242"/>
                  </a:lnTo>
                  <a:lnTo>
                    <a:pt x="780" y="1236"/>
                  </a:lnTo>
                  <a:lnTo>
                    <a:pt x="786" y="1236"/>
                  </a:lnTo>
                  <a:lnTo>
                    <a:pt x="792" y="1230"/>
                  </a:lnTo>
                  <a:lnTo>
                    <a:pt x="792" y="1236"/>
                  </a:lnTo>
                  <a:lnTo>
                    <a:pt x="798" y="1236"/>
                  </a:lnTo>
                  <a:lnTo>
                    <a:pt x="798" y="1230"/>
                  </a:lnTo>
                  <a:lnTo>
                    <a:pt x="804" y="1230"/>
                  </a:lnTo>
                  <a:lnTo>
                    <a:pt x="804" y="1218"/>
                  </a:lnTo>
                  <a:lnTo>
                    <a:pt x="804" y="1206"/>
                  </a:lnTo>
                  <a:lnTo>
                    <a:pt x="792" y="1188"/>
                  </a:lnTo>
                  <a:lnTo>
                    <a:pt x="768" y="1182"/>
                  </a:lnTo>
                  <a:lnTo>
                    <a:pt x="768" y="1170"/>
                  </a:lnTo>
                  <a:lnTo>
                    <a:pt x="774" y="1170"/>
                  </a:lnTo>
                  <a:lnTo>
                    <a:pt x="780" y="1170"/>
                  </a:lnTo>
                  <a:lnTo>
                    <a:pt x="786" y="1170"/>
                  </a:lnTo>
                  <a:lnTo>
                    <a:pt x="780" y="1152"/>
                  </a:lnTo>
                  <a:lnTo>
                    <a:pt x="780" y="1146"/>
                  </a:lnTo>
                  <a:lnTo>
                    <a:pt x="744" y="1140"/>
                  </a:lnTo>
                  <a:lnTo>
                    <a:pt x="732" y="1128"/>
                  </a:lnTo>
                  <a:lnTo>
                    <a:pt x="720" y="1122"/>
                  </a:lnTo>
                  <a:lnTo>
                    <a:pt x="732" y="1116"/>
                  </a:lnTo>
                  <a:lnTo>
                    <a:pt x="750" y="1104"/>
                  </a:lnTo>
                  <a:lnTo>
                    <a:pt x="756" y="1116"/>
                  </a:lnTo>
                  <a:lnTo>
                    <a:pt x="774" y="1116"/>
                  </a:lnTo>
                  <a:lnTo>
                    <a:pt x="780" y="1104"/>
                  </a:lnTo>
                  <a:lnTo>
                    <a:pt x="780" y="1080"/>
                  </a:lnTo>
                  <a:lnTo>
                    <a:pt x="786" y="1080"/>
                  </a:lnTo>
                  <a:lnTo>
                    <a:pt x="786" y="1074"/>
                  </a:lnTo>
                  <a:lnTo>
                    <a:pt x="792" y="1074"/>
                  </a:lnTo>
                  <a:lnTo>
                    <a:pt x="786" y="1068"/>
                  </a:lnTo>
                  <a:lnTo>
                    <a:pt x="786" y="1062"/>
                  </a:lnTo>
                  <a:lnTo>
                    <a:pt x="786" y="1056"/>
                  </a:lnTo>
                  <a:lnTo>
                    <a:pt x="792" y="1050"/>
                  </a:lnTo>
                  <a:lnTo>
                    <a:pt x="786" y="1020"/>
                  </a:lnTo>
                  <a:lnTo>
                    <a:pt x="780" y="960"/>
                  </a:lnTo>
                  <a:lnTo>
                    <a:pt x="768" y="942"/>
                  </a:lnTo>
                  <a:lnTo>
                    <a:pt x="732" y="936"/>
                  </a:lnTo>
                  <a:lnTo>
                    <a:pt x="732" y="942"/>
                  </a:lnTo>
                  <a:lnTo>
                    <a:pt x="726" y="942"/>
                  </a:lnTo>
                  <a:lnTo>
                    <a:pt x="720" y="936"/>
                  </a:lnTo>
                  <a:lnTo>
                    <a:pt x="714" y="942"/>
                  </a:lnTo>
                  <a:lnTo>
                    <a:pt x="708" y="942"/>
                  </a:lnTo>
                  <a:lnTo>
                    <a:pt x="702" y="942"/>
                  </a:lnTo>
                  <a:lnTo>
                    <a:pt x="690" y="936"/>
                  </a:lnTo>
                  <a:lnTo>
                    <a:pt x="684" y="936"/>
                  </a:lnTo>
                  <a:lnTo>
                    <a:pt x="678" y="936"/>
                  </a:lnTo>
                  <a:lnTo>
                    <a:pt x="672" y="936"/>
                  </a:lnTo>
                  <a:lnTo>
                    <a:pt x="666" y="942"/>
                  </a:lnTo>
                  <a:lnTo>
                    <a:pt x="660" y="942"/>
                  </a:lnTo>
                  <a:lnTo>
                    <a:pt x="654" y="942"/>
                  </a:lnTo>
                  <a:lnTo>
                    <a:pt x="648" y="942"/>
                  </a:lnTo>
                  <a:lnTo>
                    <a:pt x="642" y="936"/>
                  </a:lnTo>
                  <a:lnTo>
                    <a:pt x="636" y="936"/>
                  </a:lnTo>
                  <a:lnTo>
                    <a:pt x="630" y="930"/>
                  </a:lnTo>
                  <a:lnTo>
                    <a:pt x="618" y="930"/>
                  </a:lnTo>
                  <a:lnTo>
                    <a:pt x="612" y="930"/>
                  </a:lnTo>
                  <a:lnTo>
                    <a:pt x="606" y="936"/>
                  </a:lnTo>
                  <a:lnTo>
                    <a:pt x="600" y="942"/>
                  </a:lnTo>
                  <a:lnTo>
                    <a:pt x="600" y="936"/>
                  </a:lnTo>
                  <a:lnTo>
                    <a:pt x="594" y="930"/>
                  </a:lnTo>
                  <a:lnTo>
                    <a:pt x="588" y="930"/>
                  </a:lnTo>
                  <a:lnTo>
                    <a:pt x="582" y="930"/>
                  </a:lnTo>
                  <a:lnTo>
                    <a:pt x="576" y="930"/>
                  </a:lnTo>
                  <a:lnTo>
                    <a:pt x="564" y="936"/>
                  </a:lnTo>
                  <a:lnTo>
                    <a:pt x="558" y="936"/>
                  </a:lnTo>
                  <a:lnTo>
                    <a:pt x="546" y="924"/>
                  </a:lnTo>
                  <a:lnTo>
                    <a:pt x="540" y="924"/>
                  </a:lnTo>
                  <a:lnTo>
                    <a:pt x="534" y="918"/>
                  </a:lnTo>
                  <a:lnTo>
                    <a:pt x="528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6" y="918"/>
                  </a:lnTo>
                  <a:lnTo>
                    <a:pt x="516" y="912"/>
                  </a:lnTo>
                  <a:lnTo>
                    <a:pt x="510" y="894"/>
                  </a:lnTo>
                  <a:lnTo>
                    <a:pt x="510" y="882"/>
                  </a:lnTo>
                  <a:lnTo>
                    <a:pt x="510" y="876"/>
                  </a:lnTo>
                  <a:lnTo>
                    <a:pt x="516" y="870"/>
                  </a:lnTo>
                  <a:lnTo>
                    <a:pt x="510" y="864"/>
                  </a:lnTo>
                  <a:lnTo>
                    <a:pt x="516" y="858"/>
                  </a:lnTo>
                  <a:lnTo>
                    <a:pt x="522" y="858"/>
                  </a:lnTo>
                  <a:lnTo>
                    <a:pt x="528" y="858"/>
                  </a:lnTo>
                  <a:lnTo>
                    <a:pt x="522" y="852"/>
                  </a:lnTo>
                  <a:lnTo>
                    <a:pt x="528" y="852"/>
                  </a:lnTo>
                  <a:lnTo>
                    <a:pt x="528" y="846"/>
                  </a:lnTo>
                  <a:lnTo>
                    <a:pt x="552" y="846"/>
                  </a:lnTo>
                  <a:lnTo>
                    <a:pt x="558" y="840"/>
                  </a:lnTo>
                  <a:lnTo>
                    <a:pt x="564" y="828"/>
                  </a:lnTo>
                  <a:lnTo>
                    <a:pt x="570" y="816"/>
                  </a:lnTo>
                  <a:lnTo>
                    <a:pt x="582" y="810"/>
                  </a:lnTo>
                  <a:lnTo>
                    <a:pt x="588" y="804"/>
                  </a:lnTo>
                  <a:lnTo>
                    <a:pt x="594" y="804"/>
                  </a:lnTo>
                  <a:lnTo>
                    <a:pt x="594" y="792"/>
                  </a:lnTo>
                  <a:lnTo>
                    <a:pt x="600" y="786"/>
                  </a:lnTo>
                  <a:lnTo>
                    <a:pt x="606" y="780"/>
                  </a:lnTo>
                  <a:lnTo>
                    <a:pt x="612" y="774"/>
                  </a:lnTo>
                  <a:lnTo>
                    <a:pt x="618" y="774"/>
                  </a:lnTo>
                  <a:lnTo>
                    <a:pt x="618" y="768"/>
                  </a:lnTo>
                  <a:lnTo>
                    <a:pt x="618" y="762"/>
                  </a:lnTo>
                  <a:lnTo>
                    <a:pt x="624" y="756"/>
                  </a:lnTo>
                  <a:lnTo>
                    <a:pt x="618" y="750"/>
                  </a:lnTo>
                  <a:lnTo>
                    <a:pt x="618" y="744"/>
                  </a:lnTo>
                  <a:lnTo>
                    <a:pt x="600" y="738"/>
                  </a:lnTo>
                  <a:lnTo>
                    <a:pt x="558" y="744"/>
                  </a:lnTo>
                  <a:lnTo>
                    <a:pt x="552" y="732"/>
                  </a:lnTo>
                  <a:lnTo>
                    <a:pt x="546" y="720"/>
                  </a:lnTo>
                  <a:lnTo>
                    <a:pt x="564" y="702"/>
                  </a:lnTo>
                  <a:lnTo>
                    <a:pt x="570" y="684"/>
                  </a:lnTo>
                  <a:lnTo>
                    <a:pt x="564" y="648"/>
                  </a:lnTo>
                  <a:lnTo>
                    <a:pt x="534" y="624"/>
                  </a:lnTo>
                  <a:lnTo>
                    <a:pt x="504" y="612"/>
                  </a:lnTo>
                  <a:lnTo>
                    <a:pt x="498" y="606"/>
                  </a:lnTo>
                  <a:lnTo>
                    <a:pt x="492" y="600"/>
                  </a:lnTo>
                  <a:lnTo>
                    <a:pt x="486" y="606"/>
                  </a:lnTo>
                  <a:lnTo>
                    <a:pt x="480" y="558"/>
                  </a:lnTo>
                  <a:lnTo>
                    <a:pt x="462" y="546"/>
                  </a:lnTo>
                  <a:lnTo>
                    <a:pt x="408" y="540"/>
                  </a:lnTo>
                  <a:lnTo>
                    <a:pt x="408" y="546"/>
                  </a:lnTo>
                  <a:lnTo>
                    <a:pt x="408" y="558"/>
                  </a:lnTo>
                  <a:lnTo>
                    <a:pt x="408" y="564"/>
                  </a:lnTo>
                  <a:lnTo>
                    <a:pt x="408" y="570"/>
                  </a:lnTo>
                  <a:lnTo>
                    <a:pt x="414" y="582"/>
                  </a:lnTo>
                  <a:lnTo>
                    <a:pt x="408" y="594"/>
                  </a:lnTo>
                  <a:lnTo>
                    <a:pt x="414" y="594"/>
                  </a:lnTo>
                  <a:lnTo>
                    <a:pt x="408" y="600"/>
                  </a:lnTo>
                  <a:lnTo>
                    <a:pt x="348" y="600"/>
                  </a:lnTo>
                  <a:lnTo>
                    <a:pt x="324" y="600"/>
                  </a:lnTo>
                  <a:lnTo>
                    <a:pt x="324" y="612"/>
                  </a:lnTo>
                  <a:lnTo>
                    <a:pt x="306" y="618"/>
                  </a:lnTo>
                  <a:lnTo>
                    <a:pt x="312" y="618"/>
                  </a:lnTo>
                  <a:lnTo>
                    <a:pt x="294" y="588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76"/>
                  </a:lnTo>
                  <a:lnTo>
                    <a:pt x="240" y="582"/>
                  </a:lnTo>
                  <a:lnTo>
                    <a:pt x="234" y="582"/>
                  </a:lnTo>
                  <a:lnTo>
                    <a:pt x="228" y="588"/>
                  </a:lnTo>
                  <a:lnTo>
                    <a:pt x="222" y="588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8" y="600"/>
                  </a:lnTo>
                  <a:lnTo>
                    <a:pt x="192" y="612"/>
                  </a:lnTo>
                  <a:lnTo>
                    <a:pt x="192" y="618"/>
                  </a:lnTo>
                  <a:lnTo>
                    <a:pt x="198" y="624"/>
                  </a:lnTo>
                  <a:lnTo>
                    <a:pt x="192" y="624"/>
                  </a:lnTo>
                  <a:lnTo>
                    <a:pt x="192" y="630"/>
                  </a:lnTo>
                  <a:lnTo>
                    <a:pt x="192" y="642"/>
                  </a:lnTo>
                  <a:lnTo>
                    <a:pt x="180" y="648"/>
                  </a:lnTo>
                  <a:lnTo>
                    <a:pt x="174" y="654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6"/>
                  </a:lnTo>
                  <a:lnTo>
                    <a:pt x="156" y="672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90"/>
                  </a:lnTo>
                  <a:lnTo>
                    <a:pt x="132" y="690"/>
                  </a:lnTo>
                  <a:lnTo>
                    <a:pt x="126" y="702"/>
                  </a:lnTo>
                  <a:lnTo>
                    <a:pt x="132" y="708"/>
                  </a:lnTo>
                  <a:lnTo>
                    <a:pt x="126" y="708"/>
                  </a:lnTo>
                  <a:lnTo>
                    <a:pt x="120" y="708"/>
                  </a:lnTo>
                  <a:lnTo>
                    <a:pt x="114" y="708"/>
                  </a:lnTo>
                  <a:lnTo>
                    <a:pt x="108" y="708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78" y="720"/>
                  </a:lnTo>
                  <a:lnTo>
                    <a:pt x="72" y="720"/>
                  </a:lnTo>
                  <a:lnTo>
                    <a:pt x="66" y="720"/>
                  </a:lnTo>
                  <a:lnTo>
                    <a:pt x="54" y="732"/>
                  </a:lnTo>
                  <a:lnTo>
                    <a:pt x="48" y="702"/>
                  </a:lnTo>
                  <a:lnTo>
                    <a:pt x="36" y="666"/>
                  </a:lnTo>
                  <a:lnTo>
                    <a:pt x="0" y="660"/>
                  </a:lnTo>
                  <a:lnTo>
                    <a:pt x="6" y="660"/>
                  </a:lnTo>
                  <a:lnTo>
                    <a:pt x="6" y="654"/>
                  </a:lnTo>
                  <a:lnTo>
                    <a:pt x="6" y="648"/>
                  </a:lnTo>
                  <a:lnTo>
                    <a:pt x="6" y="642"/>
                  </a:lnTo>
                  <a:lnTo>
                    <a:pt x="6" y="624"/>
                  </a:lnTo>
                  <a:lnTo>
                    <a:pt x="6" y="612"/>
                  </a:lnTo>
                  <a:lnTo>
                    <a:pt x="6" y="606"/>
                  </a:lnTo>
                  <a:lnTo>
                    <a:pt x="12" y="612"/>
                  </a:lnTo>
                  <a:lnTo>
                    <a:pt x="18" y="606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30" y="594"/>
                  </a:lnTo>
                  <a:lnTo>
                    <a:pt x="30" y="588"/>
                  </a:lnTo>
                  <a:lnTo>
                    <a:pt x="30" y="582"/>
                  </a:lnTo>
                  <a:lnTo>
                    <a:pt x="24" y="576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18" y="558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36" y="528"/>
                  </a:lnTo>
                  <a:lnTo>
                    <a:pt x="30" y="522"/>
                  </a:lnTo>
                  <a:lnTo>
                    <a:pt x="24" y="522"/>
                  </a:lnTo>
                  <a:lnTo>
                    <a:pt x="18" y="510"/>
                  </a:lnTo>
                  <a:lnTo>
                    <a:pt x="12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8" y="474"/>
                  </a:lnTo>
                  <a:lnTo>
                    <a:pt x="12" y="468"/>
                  </a:lnTo>
                  <a:lnTo>
                    <a:pt x="12" y="462"/>
                  </a:lnTo>
                  <a:lnTo>
                    <a:pt x="18" y="456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0" y="420"/>
                  </a:lnTo>
                  <a:lnTo>
                    <a:pt x="30" y="414"/>
                  </a:lnTo>
                  <a:lnTo>
                    <a:pt x="48" y="414"/>
                  </a:lnTo>
                  <a:lnTo>
                    <a:pt x="54" y="408"/>
                  </a:lnTo>
                  <a:lnTo>
                    <a:pt x="60" y="402"/>
                  </a:lnTo>
                  <a:lnTo>
                    <a:pt x="66" y="402"/>
                  </a:lnTo>
                  <a:lnTo>
                    <a:pt x="72" y="402"/>
                  </a:lnTo>
                  <a:lnTo>
                    <a:pt x="78" y="408"/>
                  </a:lnTo>
                  <a:lnTo>
                    <a:pt x="84" y="396"/>
                  </a:lnTo>
                  <a:lnTo>
                    <a:pt x="90" y="390"/>
                  </a:lnTo>
                  <a:lnTo>
                    <a:pt x="90" y="378"/>
                  </a:lnTo>
                  <a:lnTo>
                    <a:pt x="96" y="372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8" y="354"/>
                  </a:lnTo>
                  <a:lnTo>
                    <a:pt x="114" y="348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32" y="336"/>
                  </a:lnTo>
                  <a:lnTo>
                    <a:pt x="132" y="330"/>
                  </a:lnTo>
                  <a:lnTo>
                    <a:pt x="138" y="324"/>
                  </a:lnTo>
                  <a:lnTo>
                    <a:pt x="138" y="318"/>
                  </a:lnTo>
                  <a:lnTo>
                    <a:pt x="144" y="306"/>
                  </a:lnTo>
                  <a:lnTo>
                    <a:pt x="156" y="306"/>
                  </a:lnTo>
                  <a:lnTo>
                    <a:pt x="186" y="300"/>
                  </a:lnTo>
                  <a:lnTo>
                    <a:pt x="198" y="300"/>
                  </a:lnTo>
                  <a:lnTo>
                    <a:pt x="210" y="300"/>
                  </a:lnTo>
                  <a:lnTo>
                    <a:pt x="222" y="300"/>
                  </a:lnTo>
                  <a:lnTo>
                    <a:pt x="246" y="300"/>
                  </a:lnTo>
                  <a:lnTo>
                    <a:pt x="264" y="312"/>
                  </a:lnTo>
                  <a:lnTo>
                    <a:pt x="270" y="312"/>
                  </a:lnTo>
                  <a:lnTo>
                    <a:pt x="282" y="306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300" y="306"/>
                  </a:lnTo>
                  <a:lnTo>
                    <a:pt x="312" y="306"/>
                  </a:lnTo>
                  <a:lnTo>
                    <a:pt x="318" y="300"/>
                  </a:lnTo>
                  <a:lnTo>
                    <a:pt x="324" y="300"/>
                  </a:lnTo>
                  <a:lnTo>
                    <a:pt x="330" y="294"/>
                  </a:lnTo>
                  <a:lnTo>
                    <a:pt x="336" y="288"/>
                  </a:lnTo>
                  <a:lnTo>
                    <a:pt x="354" y="288"/>
                  </a:lnTo>
                  <a:lnTo>
                    <a:pt x="360" y="288"/>
                  </a:lnTo>
                  <a:lnTo>
                    <a:pt x="366" y="282"/>
                  </a:lnTo>
                  <a:lnTo>
                    <a:pt x="372" y="282"/>
                  </a:lnTo>
                  <a:lnTo>
                    <a:pt x="378" y="282"/>
                  </a:lnTo>
                  <a:lnTo>
                    <a:pt x="384" y="276"/>
                  </a:lnTo>
                  <a:lnTo>
                    <a:pt x="384" y="270"/>
                  </a:lnTo>
                  <a:lnTo>
                    <a:pt x="390" y="264"/>
                  </a:lnTo>
                  <a:lnTo>
                    <a:pt x="402" y="258"/>
                  </a:lnTo>
                  <a:lnTo>
                    <a:pt x="402" y="252"/>
                  </a:lnTo>
                  <a:lnTo>
                    <a:pt x="402" y="246"/>
                  </a:lnTo>
                  <a:lnTo>
                    <a:pt x="408" y="234"/>
                  </a:lnTo>
                  <a:lnTo>
                    <a:pt x="414" y="234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14" y="216"/>
                  </a:lnTo>
                  <a:lnTo>
                    <a:pt x="414" y="210"/>
                  </a:lnTo>
                  <a:lnTo>
                    <a:pt x="420" y="210"/>
                  </a:lnTo>
                  <a:lnTo>
                    <a:pt x="414" y="198"/>
                  </a:lnTo>
                  <a:lnTo>
                    <a:pt x="414" y="192"/>
                  </a:lnTo>
                  <a:lnTo>
                    <a:pt x="420" y="192"/>
                  </a:lnTo>
                  <a:lnTo>
                    <a:pt x="420" y="186"/>
                  </a:lnTo>
                  <a:lnTo>
                    <a:pt x="420" y="174"/>
                  </a:lnTo>
                  <a:lnTo>
                    <a:pt x="420" y="168"/>
                  </a:lnTo>
                  <a:lnTo>
                    <a:pt x="426" y="162"/>
                  </a:lnTo>
                  <a:lnTo>
                    <a:pt x="432" y="156"/>
                  </a:lnTo>
                  <a:lnTo>
                    <a:pt x="438" y="144"/>
                  </a:lnTo>
                  <a:lnTo>
                    <a:pt x="444" y="144"/>
                  </a:lnTo>
                  <a:lnTo>
                    <a:pt x="450" y="138"/>
                  </a:lnTo>
                  <a:lnTo>
                    <a:pt x="456" y="138"/>
                  </a:lnTo>
                  <a:lnTo>
                    <a:pt x="462" y="132"/>
                  </a:lnTo>
                  <a:lnTo>
                    <a:pt x="462" y="126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0"/>
                  </a:lnTo>
                  <a:lnTo>
                    <a:pt x="486" y="108"/>
                  </a:lnTo>
                  <a:lnTo>
                    <a:pt x="492" y="108"/>
                  </a:lnTo>
                  <a:lnTo>
                    <a:pt x="498" y="102"/>
                  </a:lnTo>
                  <a:lnTo>
                    <a:pt x="504" y="96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40" y="102"/>
                  </a:lnTo>
                  <a:lnTo>
                    <a:pt x="552" y="108"/>
                  </a:lnTo>
                  <a:lnTo>
                    <a:pt x="582" y="102"/>
                  </a:lnTo>
                  <a:lnTo>
                    <a:pt x="594" y="126"/>
                  </a:lnTo>
                  <a:lnTo>
                    <a:pt x="594" y="144"/>
                  </a:lnTo>
                  <a:lnTo>
                    <a:pt x="588" y="156"/>
                  </a:lnTo>
                  <a:lnTo>
                    <a:pt x="588" y="168"/>
                  </a:lnTo>
                  <a:lnTo>
                    <a:pt x="582" y="180"/>
                  </a:lnTo>
                  <a:lnTo>
                    <a:pt x="570" y="192"/>
                  </a:lnTo>
                  <a:lnTo>
                    <a:pt x="594" y="192"/>
                  </a:lnTo>
                  <a:lnTo>
                    <a:pt x="618" y="198"/>
                  </a:lnTo>
                  <a:lnTo>
                    <a:pt x="642" y="210"/>
                  </a:lnTo>
                  <a:lnTo>
                    <a:pt x="660" y="234"/>
                  </a:lnTo>
                  <a:lnTo>
                    <a:pt x="678" y="246"/>
                  </a:lnTo>
                  <a:lnTo>
                    <a:pt x="684" y="252"/>
                  </a:lnTo>
                  <a:lnTo>
                    <a:pt x="702" y="252"/>
                  </a:lnTo>
                  <a:lnTo>
                    <a:pt x="732" y="234"/>
                  </a:lnTo>
                  <a:lnTo>
                    <a:pt x="732" y="222"/>
                  </a:lnTo>
                  <a:lnTo>
                    <a:pt x="720" y="216"/>
                  </a:lnTo>
                  <a:lnTo>
                    <a:pt x="714" y="198"/>
                  </a:lnTo>
                  <a:lnTo>
                    <a:pt x="714" y="174"/>
                  </a:lnTo>
                  <a:lnTo>
                    <a:pt x="720" y="162"/>
                  </a:lnTo>
                  <a:lnTo>
                    <a:pt x="726" y="162"/>
                  </a:lnTo>
                  <a:lnTo>
                    <a:pt x="732" y="156"/>
                  </a:lnTo>
                  <a:lnTo>
                    <a:pt x="744" y="150"/>
                  </a:lnTo>
                  <a:lnTo>
                    <a:pt x="774" y="162"/>
                  </a:lnTo>
                  <a:lnTo>
                    <a:pt x="786" y="162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16" y="150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2" y="132"/>
                  </a:lnTo>
                  <a:lnTo>
                    <a:pt x="822" y="114"/>
                  </a:lnTo>
                  <a:lnTo>
                    <a:pt x="828" y="108"/>
                  </a:lnTo>
                  <a:lnTo>
                    <a:pt x="834" y="96"/>
                  </a:lnTo>
                  <a:lnTo>
                    <a:pt x="846" y="96"/>
                  </a:lnTo>
                  <a:lnTo>
                    <a:pt x="858" y="90"/>
                  </a:lnTo>
                  <a:lnTo>
                    <a:pt x="870" y="84"/>
                  </a:lnTo>
                  <a:lnTo>
                    <a:pt x="888" y="84"/>
                  </a:lnTo>
                  <a:lnTo>
                    <a:pt x="894" y="90"/>
                  </a:lnTo>
                  <a:lnTo>
                    <a:pt x="894" y="102"/>
                  </a:lnTo>
                  <a:lnTo>
                    <a:pt x="900" y="102"/>
                  </a:lnTo>
                  <a:lnTo>
                    <a:pt x="906" y="114"/>
                  </a:lnTo>
                  <a:lnTo>
                    <a:pt x="930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54" y="138"/>
                  </a:lnTo>
                  <a:lnTo>
                    <a:pt x="966" y="144"/>
                  </a:lnTo>
                  <a:lnTo>
                    <a:pt x="966" y="150"/>
                  </a:lnTo>
                  <a:lnTo>
                    <a:pt x="972" y="150"/>
                  </a:lnTo>
                  <a:lnTo>
                    <a:pt x="978" y="150"/>
                  </a:lnTo>
                  <a:lnTo>
                    <a:pt x="978" y="144"/>
                  </a:lnTo>
                  <a:lnTo>
                    <a:pt x="984" y="144"/>
                  </a:lnTo>
                  <a:lnTo>
                    <a:pt x="990" y="138"/>
                  </a:lnTo>
                  <a:lnTo>
                    <a:pt x="996" y="138"/>
                  </a:lnTo>
                  <a:lnTo>
                    <a:pt x="1002" y="138"/>
                  </a:lnTo>
                  <a:lnTo>
                    <a:pt x="1008" y="138"/>
                  </a:lnTo>
                  <a:lnTo>
                    <a:pt x="1026" y="132"/>
                  </a:lnTo>
                  <a:lnTo>
                    <a:pt x="1044" y="126"/>
                  </a:lnTo>
                  <a:lnTo>
                    <a:pt x="1056" y="120"/>
                  </a:lnTo>
                  <a:lnTo>
                    <a:pt x="1062" y="108"/>
                  </a:lnTo>
                  <a:lnTo>
                    <a:pt x="1056" y="102"/>
                  </a:lnTo>
                  <a:lnTo>
                    <a:pt x="1062" y="96"/>
                  </a:lnTo>
                  <a:lnTo>
                    <a:pt x="1074" y="90"/>
                  </a:lnTo>
                  <a:lnTo>
                    <a:pt x="1080" y="84"/>
                  </a:lnTo>
                  <a:lnTo>
                    <a:pt x="1128" y="84"/>
                  </a:lnTo>
                  <a:lnTo>
                    <a:pt x="1134" y="84"/>
                  </a:lnTo>
                  <a:lnTo>
                    <a:pt x="1140" y="78"/>
                  </a:lnTo>
                  <a:lnTo>
                    <a:pt x="1152" y="72"/>
                  </a:lnTo>
                  <a:lnTo>
                    <a:pt x="1164" y="66"/>
                  </a:lnTo>
                  <a:lnTo>
                    <a:pt x="1170" y="60"/>
                  </a:lnTo>
                  <a:lnTo>
                    <a:pt x="1188" y="48"/>
                  </a:lnTo>
                  <a:lnTo>
                    <a:pt x="1200" y="36"/>
                  </a:lnTo>
                  <a:lnTo>
                    <a:pt x="1218" y="24"/>
                  </a:lnTo>
                  <a:lnTo>
                    <a:pt x="1248" y="24"/>
                  </a:lnTo>
                  <a:lnTo>
                    <a:pt x="1272" y="24"/>
                  </a:lnTo>
                  <a:lnTo>
                    <a:pt x="1284" y="12"/>
                  </a:lnTo>
                  <a:lnTo>
                    <a:pt x="1302" y="0"/>
                  </a:lnTo>
                  <a:lnTo>
                    <a:pt x="1314" y="0"/>
                  </a:lnTo>
                  <a:lnTo>
                    <a:pt x="1326" y="18"/>
                  </a:lnTo>
                  <a:lnTo>
                    <a:pt x="1338" y="30"/>
                  </a:lnTo>
                  <a:lnTo>
                    <a:pt x="1338" y="54"/>
                  </a:lnTo>
                  <a:lnTo>
                    <a:pt x="1332" y="72"/>
                  </a:lnTo>
                  <a:lnTo>
                    <a:pt x="1326" y="72"/>
                  </a:lnTo>
                  <a:lnTo>
                    <a:pt x="1326" y="78"/>
                  </a:lnTo>
                  <a:lnTo>
                    <a:pt x="1326" y="102"/>
                  </a:lnTo>
                  <a:lnTo>
                    <a:pt x="1332" y="102"/>
                  </a:lnTo>
                  <a:lnTo>
                    <a:pt x="1332" y="108"/>
                  </a:lnTo>
                  <a:lnTo>
                    <a:pt x="1344" y="114"/>
                  </a:lnTo>
                  <a:lnTo>
                    <a:pt x="1350" y="114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404" y="132"/>
                  </a:lnTo>
                  <a:lnTo>
                    <a:pt x="1404" y="138"/>
                  </a:lnTo>
                  <a:lnTo>
                    <a:pt x="1410" y="150"/>
                  </a:lnTo>
                  <a:lnTo>
                    <a:pt x="1416" y="162"/>
                  </a:lnTo>
                  <a:lnTo>
                    <a:pt x="1428" y="168"/>
                  </a:lnTo>
                  <a:lnTo>
                    <a:pt x="1440" y="180"/>
                  </a:lnTo>
                  <a:lnTo>
                    <a:pt x="1476" y="174"/>
                  </a:lnTo>
                  <a:lnTo>
                    <a:pt x="1494" y="174"/>
                  </a:lnTo>
                  <a:lnTo>
                    <a:pt x="1512" y="192"/>
                  </a:lnTo>
                  <a:lnTo>
                    <a:pt x="1518" y="204"/>
                  </a:lnTo>
                  <a:lnTo>
                    <a:pt x="1530" y="216"/>
                  </a:lnTo>
                  <a:lnTo>
                    <a:pt x="1548" y="228"/>
                  </a:lnTo>
                  <a:lnTo>
                    <a:pt x="1548" y="234"/>
                  </a:lnTo>
                  <a:lnTo>
                    <a:pt x="1542" y="246"/>
                  </a:lnTo>
                  <a:lnTo>
                    <a:pt x="1560" y="246"/>
                  </a:lnTo>
                  <a:lnTo>
                    <a:pt x="1560" y="252"/>
                  </a:lnTo>
                  <a:lnTo>
                    <a:pt x="1566" y="258"/>
                  </a:lnTo>
                  <a:lnTo>
                    <a:pt x="1578" y="270"/>
                  </a:lnTo>
                  <a:lnTo>
                    <a:pt x="1596" y="270"/>
                  </a:lnTo>
                  <a:lnTo>
                    <a:pt x="1602" y="288"/>
                  </a:lnTo>
                  <a:lnTo>
                    <a:pt x="1608" y="306"/>
                  </a:lnTo>
                  <a:lnTo>
                    <a:pt x="1608" y="318"/>
                  </a:lnTo>
                  <a:lnTo>
                    <a:pt x="1608" y="324"/>
                  </a:lnTo>
                  <a:lnTo>
                    <a:pt x="1614" y="330"/>
                  </a:lnTo>
                  <a:lnTo>
                    <a:pt x="1614" y="336"/>
                  </a:lnTo>
                  <a:lnTo>
                    <a:pt x="1614" y="342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08" y="390"/>
                  </a:lnTo>
                  <a:lnTo>
                    <a:pt x="1602" y="390"/>
                  </a:lnTo>
                  <a:lnTo>
                    <a:pt x="1602" y="396"/>
                  </a:lnTo>
                  <a:lnTo>
                    <a:pt x="1584" y="420"/>
                  </a:lnTo>
                  <a:lnTo>
                    <a:pt x="1584" y="426"/>
                  </a:lnTo>
                  <a:lnTo>
                    <a:pt x="1602" y="474"/>
                  </a:lnTo>
                  <a:lnTo>
                    <a:pt x="1608" y="480"/>
                  </a:lnTo>
                  <a:lnTo>
                    <a:pt x="1608" y="486"/>
                  </a:lnTo>
                  <a:lnTo>
                    <a:pt x="1614" y="486"/>
                  </a:lnTo>
                  <a:lnTo>
                    <a:pt x="1608" y="504"/>
                  </a:lnTo>
                  <a:lnTo>
                    <a:pt x="1572" y="504"/>
                  </a:lnTo>
                  <a:lnTo>
                    <a:pt x="1560" y="510"/>
                  </a:lnTo>
                  <a:lnTo>
                    <a:pt x="1554" y="522"/>
                  </a:lnTo>
                  <a:lnTo>
                    <a:pt x="1560" y="552"/>
                  </a:lnTo>
                  <a:lnTo>
                    <a:pt x="1566" y="552"/>
                  </a:lnTo>
                  <a:lnTo>
                    <a:pt x="1566" y="558"/>
                  </a:lnTo>
                  <a:lnTo>
                    <a:pt x="1572" y="558"/>
                  </a:lnTo>
                  <a:lnTo>
                    <a:pt x="1578" y="558"/>
                  </a:lnTo>
                  <a:lnTo>
                    <a:pt x="1578" y="552"/>
                  </a:lnTo>
                  <a:lnTo>
                    <a:pt x="1584" y="552"/>
                  </a:lnTo>
                  <a:lnTo>
                    <a:pt x="1590" y="552"/>
                  </a:lnTo>
                  <a:lnTo>
                    <a:pt x="1590" y="546"/>
                  </a:lnTo>
                  <a:lnTo>
                    <a:pt x="1596" y="546"/>
                  </a:lnTo>
                  <a:lnTo>
                    <a:pt x="1602" y="552"/>
                  </a:lnTo>
                  <a:lnTo>
                    <a:pt x="1602" y="546"/>
                  </a:lnTo>
                  <a:lnTo>
                    <a:pt x="1608" y="546"/>
                  </a:lnTo>
                  <a:lnTo>
                    <a:pt x="1608" y="552"/>
                  </a:lnTo>
                  <a:lnTo>
                    <a:pt x="1614" y="552"/>
                  </a:lnTo>
                  <a:lnTo>
                    <a:pt x="1614" y="546"/>
                  </a:lnTo>
                  <a:lnTo>
                    <a:pt x="1620" y="552"/>
                  </a:lnTo>
                  <a:lnTo>
                    <a:pt x="1626" y="552"/>
                  </a:lnTo>
                  <a:lnTo>
                    <a:pt x="1626" y="558"/>
                  </a:lnTo>
                  <a:lnTo>
                    <a:pt x="1632" y="558"/>
                  </a:lnTo>
                  <a:lnTo>
                    <a:pt x="1638" y="558"/>
                  </a:lnTo>
                  <a:lnTo>
                    <a:pt x="1644" y="558"/>
                  </a:lnTo>
                  <a:lnTo>
                    <a:pt x="1650" y="558"/>
                  </a:lnTo>
                  <a:lnTo>
                    <a:pt x="1650" y="564"/>
                  </a:lnTo>
                  <a:lnTo>
                    <a:pt x="1656" y="564"/>
                  </a:lnTo>
                  <a:lnTo>
                    <a:pt x="1662" y="564"/>
                  </a:lnTo>
                  <a:lnTo>
                    <a:pt x="1668" y="564"/>
                  </a:lnTo>
                  <a:lnTo>
                    <a:pt x="1668" y="570"/>
                  </a:lnTo>
                  <a:lnTo>
                    <a:pt x="1674" y="570"/>
                  </a:lnTo>
                  <a:lnTo>
                    <a:pt x="1680" y="570"/>
                  </a:lnTo>
                  <a:lnTo>
                    <a:pt x="1686" y="576"/>
                  </a:lnTo>
                  <a:lnTo>
                    <a:pt x="1686" y="582"/>
                  </a:lnTo>
                  <a:lnTo>
                    <a:pt x="1710" y="588"/>
                  </a:lnTo>
                  <a:lnTo>
                    <a:pt x="1710" y="594"/>
                  </a:lnTo>
                  <a:lnTo>
                    <a:pt x="1704" y="600"/>
                  </a:lnTo>
                  <a:lnTo>
                    <a:pt x="1710" y="624"/>
                  </a:lnTo>
                  <a:lnTo>
                    <a:pt x="1698" y="672"/>
                  </a:lnTo>
                  <a:lnTo>
                    <a:pt x="1704" y="678"/>
                  </a:lnTo>
                  <a:lnTo>
                    <a:pt x="1716" y="684"/>
                  </a:lnTo>
                  <a:lnTo>
                    <a:pt x="1716" y="678"/>
                  </a:lnTo>
                  <a:lnTo>
                    <a:pt x="1716" y="684"/>
                  </a:lnTo>
                  <a:lnTo>
                    <a:pt x="1728" y="684"/>
                  </a:lnTo>
                  <a:lnTo>
                    <a:pt x="1728" y="690"/>
                  </a:lnTo>
                  <a:lnTo>
                    <a:pt x="1734" y="696"/>
                  </a:lnTo>
                  <a:lnTo>
                    <a:pt x="1734" y="702"/>
                  </a:lnTo>
                  <a:lnTo>
                    <a:pt x="1740" y="708"/>
                  </a:lnTo>
                  <a:lnTo>
                    <a:pt x="1740" y="714"/>
                  </a:lnTo>
                  <a:lnTo>
                    <a:pt x="1710" y="714"/>
                  </a:lnTo>
                  <a:lnTo>
                    <a:pt x="1710" y="756"/>
                  </a:lnTo>
                  <a:lnTo>
                    <a:pt x="1704" y="762"/>
                  </a:lnTo>
                  <a:lnTo>
                    <a:pt x="1698" y="762"/>
                  </a:lnTo>
                  <a:lnTo>
                    <a:pt x="1698" y="768"/>
                  </a:lnTo>
                  <a:lnTo>
                    <a:pt x="1698" y="774"/>
                  </a:lnTo>
                  <a:lnTo>
                    <a:pt x="1692" y="780"/>
                  </a:lnTo>
                  <a:lnTo>
                    <a:pt x="1692" y="786"/>
                  </a:lnTo>
                  <a:lnTo>
                    <a:pt x="1686" y="786"/>
                  </a:lnTo>
                  <a:lnTo>
                    <a:pt x="1668" y="798"/>
                  </a:lnTo>
                  <a:lnTo>
                    <a:pt x="1662" y="810"/>
                  </a:lnTo>
                  <a:lnTo>
                    <a:pt x="1650" y="810"/>
                  </a:lnTo>
                  <a:lnTo>
                    <a:pt x="1644" y="816"/>
                  </a:lnTo>
                  <a:lnTo>
                    <a:pt x="1638" y="816"/>
                  </a:lnTo>
                  <a:lnTo>
                    <a:pt x="1626" y="852"/>
                  </a:lnTo>
                  <a:lnTo>
                    <a:pt x="1620" y="888"/>
                  </a:lnTo>
                  <a:lnTo>
                    <a:pt x="1626" y="888"/>
                  </a:lnTo>
                  <a:lnTo>
                    <a:pt x="1638" y="912"/>
                  </a:lnTo>
                  <a:lnTo>
                    <a:pt x="1644" y="918"/>
                  </a:lnTo>
                  <a:lnTo>
                    <a:pt x="1650" y="966"/>
                  </a:lnTo>
                  <a:lnTo>
                    <a:pt x="1626" y="972"/>
                  </a:lnTo>
                  <a:lnTo>
                    <a:pt x="1608" y="978"/>
                  </a:lnTo>
                  <a:lnTo>
                    <a:pt x="1614" y="984"/>
                  </a:lnTo>
                  <a:lnTo>
                    <a:pt x="1620" y="984"/>
                  </a:lnTo>
                  <a:lnTo>
                    <a:pt x="1620" y="1020"/>
                  </a:lnTo>
                  <a:lnTo>
                    <a:pt x="1614" y="1038"/>
                  </a:lnTo>
                  <a:lnTo>
                    <a:pt x="1620" y="1044"/>
                  </a:lnTo>
                  <a:lnTo>
                    <a:pt x="1626" y="1056"/>
                  </a:lnTo>
                  <a:lnTo>
                    <a:pt x="1626" y="1074"/>
                  </a:lnTo>
                  <a:lnTo>
                    <a:pt x="1620" y="1080"/>
                  </a:lnTo>
                  <a:lnTo>
                    <a:pt x="1620" y="1104"/>
                  </a:lnTo>
                  <a:lnTo>
                    <a:pt x="1620" y="1110"/>
                  </a:lnTo>
                  <a:lnTo>
                    <a:pt x="1614" y="1116"/>
                  </a:lnTo>
                  <a:lnTo>
                    <a:pt x="1608" y="1140"/>
                  </a:lnTo>
                  <a:lnTo>
                    <a:pt x="1602" y="1146"/>
                  </a:lnTo>
                  <a:lnTo>
                    <a:pt x="1602" y="1164"/>
                  </a:lnTo>
                  <a:lnTo>
                    <a:pt x="1596" y="1170"/>
                  </a:lnTo>
                  <a:lnTo>
                    <a:pt x="1590" y="1164"/>
                  </a:lnTo>
                  <a:lnTo>
                    <a:pt x="1584" y="1164"/>
                  </a:lnTo>
                  <a:lnTo>
                    <a:pt x="1578" y="1164"/>
                  </a:lnTo>
                  <a:lnTo>
                    <a:pt x="1578" y="1188"/>
                  </a:lnTo>
                  <a:lnTo>
                    <a:pt x="1584" y="1194"/>
                  </a:lnTo>
                  <a:lnTo>
                    <a:pt x="1590" y="1194"/>
                  </a:lnTo>
                  <a:lnTo>
                    <a:pt x="1590" y="1212"/>
                  </a:lnTo>
                  <a:lnTo>
                    <a:pt x="1584" y="1212"/>
                  </a:lnTo>
                  <a:lnTo>
                    <a:pt x="1584" y="1224"/>
                  </a:lnTo>
                  <a:lnTo>
                    <a:pt x="1578" y="1224"/>
                  </a:lnTo>
                  <a:lnTo>
                    <a:pt x="1578" y="1236"/>
                  </a:lnTo>
                  <a:lnTo>
                    <a:pt x="1584" y="1254"/>
                  </a:lnTo>
                  <a:lnTo>
                    <a:pt x="1584" y="1260"/>
                  </a:lnTo>
                  <a:lnTo>
                    <a:pt x="1590" y="1260"/>
                  </a:lnTo>
                  <a:lnTo>
                    <a:pt x="1590" y="1266"/>
                  </a:lnTo>
                  <a:lnTo>
                    <a:pt x="1596" y="1284"/>
                  </a:lnTo>
                  <a:lnTo>
                    <a:pt x="1602" y="1278"/>
                  </a:lnTo>
                  <a:lnTo>
                    <a:pt x="1608" y="1284"/>
                  </a:lnTo>
                  <a:lnTo>
                    <a:pt x="1632" y="1350"/>
                  </a:lnTo>
                  <a:lnTo>
                    <a:pt x="1638" y="1356"/>
                  </a:lnTo>
                  <a:lnTo>
                    <a:pt x="1644" y="1356"/>
                  </a:lnTo>
                  <a:lnTo>
                    <a:pt x="1650" y="1356"/>
                  </a:lnTo>
                  <a:lnTo>
                    <a:pt x="1656" y="1356"/>
                  </a:lnTo>
                  <a:lnTo>
                    <a:pt x="1662" y="1362"/>
                  </a:lnTo>
                  <a:lnTo>
                    <a:pt x="1668" y="1356"/>
                  </a:lnTo>
                  <a:lnTo>
                    <a:pt x="1668" y="1380"/>
                  </a:lnTo>
                  <a:lnTo>
                    <a:pt x="1662" y="1392"/>
                  </a:lnTo>
                  <a:lnTo>
                    <a:pt x="1656" y="1404"/>
                  </a:lnTo>
                  <a:lnTo>
                    <a:pt x="1656" y="1410"/>
                  </a:lnTo>
                  <a:lnTo>
                    <a:pt x="1656" y="1416"/>
                  </a:lnTo>
                  <a:lnTo>
                    <a:pt x="1650" y="1422"/>
                  </a:lnTo>
                  <a:lnTo>
                    <a:pt x="1650" y="1428"/>
                  </a:lnTo>
                  <a:lnTo>
                    <a:pt x="1644" y="1428"/>
                  </a:lnTo>
                  <a:lnTo>
                    <a:pt x="1644" y="1434"/>
                  </a:lnTo>
                  <a:lnTo>
                    <a:pt x="1638" y="1434"/>
                  </a:lnTo>
                  <a:lnTo>
                    <a:pt x="1638" y="1440"/>
                  </a:lnTo>
                  <a:lnTo>
                    <a:pt x="1632" y="1440"/>
                  </a:lnTo>
                  <a:lnTo>
                    <a:pt x="1638" y="145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8" name="Freeform 13">
              <a:extLst>
                <a:ext uri="{FF2B5EF4-FFF2-40B4-BE49-F238E27FC236}">
                  <a16:creationId xmlns:a16="http://schemas.microsoft.com/office/drawing/2014/main" id="{66308D9B-1739-4227-AAC3-BB866CD1F5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63374" y="2969626"/>
              <a:ext cx="330956" cy="357840"/>
            </a:xfrm>
            <a:custGeom>
              <a:avLst/>
              <a:gdLst>
                <a:gd name="T0" fmla="*/ 11 w 624"/>
                <a:gd name="T1" fmla="*/ 59 h 672"/>
                <a:gd name="T2" fmla="*/ 4 w 624"/>
                <a:gd name="T3" fmla="*/ 58 h 672"/>
                <a:gd name="T4" fmla="*/ 3 w 624"/>
                <a:gd name="T5" fmla="*/ 58 h 672"/>
                <a:gd name="T6" fmla="*/ 2 w 624"/>
                <a:gd name="T7" fmla="*/ 11 h 672"/>
                <a:gd name="T8" fmla="*/ 13 w 624"/>
                <a:gd name="T9" fmla="*/ 11 h 672"/>
                <a:gd name="T10" fmla="*/ 14 w 624"/>
                <a:gd name="T11" fmla="*/ 11 h 672"/>
                <a:gd name="T12" fmla="*/ 15 w 624"/>
                <a:gd name="T13" fmla="*/ 12 h 672"/>
                <a:gd name="T14" fmla="*/ 18 w 624"/>
                <a:gd name="T15" fmla="*/ 14 h 672"/>
                <a:gd name="T16" fmla="*/ 21 w 624"/>
                <a:gd name="T17" fmla="*/ 16 h 672"/>
                <a:gd name="T18" fmla="*/ 22 w 624"/>
                <a:gd name="T19" fmla="*/ 18 h 672"/>
                <a:gd name="T20" fmla="*/ 23 w 624"/>
                <a:gd name="T21" fmla="*/ 19 h 672"/>
                <a:gd name="T22" fmla="*/ 24 w 624"/>
                <a:gd name="T23" fmla="*/ 19 h 672"/>
                <a:gd name="T24" fmla="*/ 26 w 624"/>
                <a:gd name="T25" fmla="*/ 19 h 672"/>
                <a:gd name="T26" fmla="*/ 27 w 624"/>
                <a:gd name="T27" fmla="*/ 18 h 672"/>
                <a:gd name="T28" fmla="*/ 29 w 624"/>
                <a:gd name="T29" fmla="*/ 15 h 672"/>
                <a:gd name="T30" fmla="*/ 30 w 624"/>
                <a:gd name="T31" fmla="*/ 14 h 672"/>
                <a:gd name="T32" fmla="*/ 31 w 624"/>
                <a:gd name="T33" fmla="*/ 12 h 672"/>
                <a:gd name="T34" fmla="*/ 32 w 624"/>
                <a:gd name="T35" fmla="*/ 12 h 672"/>
                <a:gd name="T36" fmla="*/ 33 w 624"/>
                <a:gd name="T37" fmla="*/ 10 h 672"/>
                <a:gd name="T38" fmla="*/ 34 w 624"/>
                <a:gd name="T39" fmla="*/ 8 h 672"/>
                <a:gd name="T40" fmla="*/ 34 w 624"/>
                <a:gd name="T41" fmla="*/ 6 h 672"/>
                <a:gd name="T42" fmla="*/ 35 w 624"/>
                <a:gd name="T43" fmla="*/ 4 h 672"/>
                <a:gd name="T44" fmla="*/ 42 w 624"/>
                <a:gd name="T45" fmla="*/ 3 h 672"/>
                <a:gd name="T46" fmla="*/ 44 w 624"/>
                <a:gd name="T47" fmla="*/ 2 h 672"/>
                <a:gd name="T48" fmla="*/ 46 w 624"/>
                <a:gd name="T49" fmla="*/ 0 h 672"/>
                <a:gd name="T50" fmla="*/ 51 w 624"/>
                <a:gd name="T51" fmla="*/ 3 h 672"/>
                <a:gd name="T52" fmla="*/ 54 w 624"/>
                <a:gd name="T53" fmla="*/ 6 h 672"/>
                <a:gd name="T54" fmla="*/ 54 w 624"/>
                <a:gd name="T55" fmla="*/ 8 h 672"/>
                <a:gd name="T56" fmla="*/ 52 w 624"/>
                <a:gd name="T57" fmla="*/ 9 h 672"/>
                <a:gd name="T58" fmla="*/ 49 w 624"/>
                <a:gd name="T59" fmla="*/ 11 h 672"/>
                <a:gd name="T60" fmla="*/ 48 w 624"/>
                <a:gd name="T61" fmla="*/ 14 h 672"/>
                <a:gd name="T62" fmla="*/ 46 w 624"/>
                <a:gd name="T63" fmla="*/ 22 h 672"/>
                <a:gd name="T64" fmla="*/ 45 w 624"/>
                <a:gd name="T65" fmla="*/ 39 h 672"/>
                <a:gd name="T66" fmla="*/ 43 w 624"/>
                <a:gd name="T67" fmla="*/ 43 h 672"/>
                <a:gd name="T68" fmla="*/ 39 w 624"/>
                <a:gd name="T69" fmla="*/ 50 h 672"/>
                <a:gd name="T70" fmla="*/ 36 w 624"/>
                <a:gd name="T71" fmla="*/ 53 h 672"/>
                <a:gd name="T72" fmla="*/ 32 w 624"/>
                <a:gd name="T73" fmla="*/ 56 h 672"/>
                <a:gd name="T74" fmla="*/ 30 w 624"/>
                <a:gd name="T75" fmla="*/ 58 h 672"/>
                <a:gd name="T76" fmla="*/ 20 w 624"/>
                <a:gd name="T77" fmla="*/ 59 h 672"/>
                <a:gd name="T78" fmla="*/ 15 w 624"/>
                <a:gd name="T79" fmla="*/ 59 h 67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24"/>
                <a:gd name="T121" fmla="*/ 0 h 672"/>
                <a:gd name="T122" fmla="*/ 624 w 624"/>
                <a:gd name="T123" fmla="*/ 672 h 67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24" h="672">
                  <a:moveTo>
                    <a:pt x="168" y="672"/>
                  </a:moveTo>
                  <a:lnTo>
                    <a:pt x="132" y="672"/>
                  </a:lnTo>
                  <a:lnTo>
                    <a:pt x="72" y="666"/>
                  </a:lnTo>
                  <a:lnTo>
                    <a:pt x="42" y="666"/>
                  </a:lnTo>
                  <a:lnTo>
                    <a:pt x="36" y="666"/>
                  </a:lnTo>
                  <a:lnTo>
                    <a:pt x="30" y="660"/>
                  </a:lnTo>
                  <a:lnTo>
                    <a:pt x="0" y="660"/>
                  </a:lnTo>
                  <a:lnTo>
                    <a:pt x="24" y="120"/>
                  </a:lnTo>
                  <a:lnTo>
                    <a:pt x="60" y="120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62" y="120"/>
                  </a:lnTo>
                  <a:lnTo>
                    <a:pt x="168" y="120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10" y="156"/>
                  </a:lnTo>
                  <a:lnTo>
                    <a:pt x="222" y="174"/>
                  </a:lnTo>
                  <a:lnTo>
                    <a:pt x="240" y="186"/>
                  </a:lnTo>
                  <a:lnTo>
                    <a:pt x="252" y="198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216"/>
                  </a:lnTo>
                  <a:lnTo>
                    <a:pt x="270" y="216"/>
                  </a:lnTo>
                  <a:lnTo>
                    <a:pt x="282" y="222"/>
                  </a:lnTo>
                  <a:lnTo>
                    <a:pt x="288" y="222"/>
                  </a:lnTo>
                  <a:lnTo>
                    <a:pt x="294" y="216"/>
                  </a:lnTo>
                  <a:lnTo>
                    <a:pt x="294" y="210"/>
                  </a:lnTo>
                  <a:lnTo>
                    <a:pt x="312" y="204"/>
                  </a:lnTo>
                  <a:lnTo>
                    <a:pt x="330" y="186"/>
                  </a:lnTo>
                  <a:lnTo>
                    <a:pt x="336" y="174"/>
                  </a:lnTo>
                  <a:lnTo>
                    <a:pt x="342" y="162"/>
                  </a:lnTo>
                  <a:lnTo>
                    <a:pt x="342" y="156"/>
                  </a:lnTo>
                  <a:lnTo>
                    <a:pt x="348" y="150"/>
                  </a:lnTo>
                  <a:lnTo>
                    <a:pt x="354" y="144"/>
                  </a:lnTo>
                  <a:lnTo>
                    <a:pt x="360" y="138"/>
                  </a:lnTo>
                  <a:lnTo>
                    <a:pt x="366" y="132"/>
                  </a:lnTo>
                  <a:lnTo>
                    <a:pt x="372" y="114"/>
                  </a:lnTo>
                  <a:lnTo>
                    <a:pt x="378" y="114"/>
                  </a:lnTo>
                  <a:lnTo>
                    <a:pt x="378" y="96"/>
                  </a:lnTo>
                  <a:lnTo>
                    <a:pt x="390" y="96"/>
                  </a:lnTo>
                  <a:lnTo>
                    <a:pt x="396" y="84"/>
                  </a:lnTo>
                  <a:lnTo>
                    <a:pt x="396" y="72"/>
                  </a:lnTo>
                  <a:lnTo>
                    <a:pt x="396" y="54"/>
                  </a:lnTo>
                  <a:lnTo>
                    <a:pt x="408" y="42"/>
                  </a:lnTo>
                  <a:lnTo>
                    <a:pt x="468" y="42"/>
                  </a:lnTo>
                  <a:lnTo>
                    <a:pt x="486" y="36"/>
                  </a:lnTo>
                  <a:lnTo>
                    <a:pt x="492" y="24"/>
                  </a:lnTo>
                  <a:lnTo>
                    <a:pt x="504" y="24"/>
                  </a:lnTo>
                  <a:lnTo>
                    <a:pt x="516" y="6"/>
                  </a:lnTo>
                  <a:lnTo>
                    <a:pt x="528" y="0"/>
                  </a:lnTo>
                  <a:lnTo>
                    <a:pt x="558" y="12"/>
                  </a:lnTo>
                  <a:lnTo>
                    <a:pt x="588" y="36"/>
                  </a:lnTo>
                  <a:lnTo>
                    <a:pt x="600" y="66"/>
                  </a:lnTo>
                  <a:lnTo>
                    <a:pt x="624" y="66"/>
                  </a:lnTo>
                  <a:lnTo>
                    <a:pt x="624" y="90"/>
                  </a:lnTo>
                  <a:lnTo>
                    <a:pt x="618" y="90"/>
                  </a:lnTo>
                  <a:lnTo>
                    <a:pt x="618" y="96"/>
                  </a:lnTo>
                  <a:lnTo>
                    <a:pt x="600" y="102"/>
                  </a:lnTo>
                  <a:lnTo>
                    <a:pt x="588" y="108"/>
                  </a:lnTo>
                  <a:lnTo>
                    <a:pt x="570" y="120"/>
                  </a:lnTo>
                  <a:lnTo>
                    <a:pt x="564" y="138"/>
                  </a:lnTo>
                  <a:lnTo>
                    <a:pt x="558" y="162"/>
                  </a:lnTo>
                  <a:lnTo>
                    <a:pt x="540" y="210"/>
                  </a:lnTo>
                  <a:lnTo>
                    <a:pt x="528" y="252"/>
                  </a:lnTo>
                  <a:lnTo>
                    <a:pt x="528" y="402"/>
                  </a:lnTo>
                  <a:lnTo>
                    <a:pt x="522" y="444"/>
                  </a:lnTo>
                  <a:lnTo>
                    <a:pt x="510" y="468"/>
                  </a:lnTo>
                  <a:lnTo>
                    <a:pt x="498" y="498"/>
                  </a:lnTo>
                  <a:lnTo>
                    <a:pt x="474" y="534"/>
                  </a:lnTo>
                  <a:lnTo>
                    <a:pt x="456" y="570"/>
                  </a:lnTo>
                  <a:lnTo>
                    <a:pt x="444" y="576"/>
                  </a:lnTo>
                  <a:lnTo>
                    <a:pt x="420" y="606"/>
                  </a:lnTo>
                  <a:lnTo>
                    <a:pt x="390" y="624"/>
                  </a:lnTo>
                  <a:lnTo>
                    <a:pt x="372" y="642"/>
                  </a:lnTo>
                  <a:lnTo>
                    <a:pt x="366" y="654"/>
                  </a:lnTo>
                  <a:lnTo>
                    <a:pt x="342" y="660"/>
                  </a:lnTo>
                  <a:lnTo>
                    <a:pt x="300" y="666"/>
                  </a:lnTo>
                  <a:lnTo>
                    <a:pt x="234" y="672"/>
                  </a:lnTo>
                  <a:lnTo>
                    <a:pt x="192" y="672"/>
                  </a:lnTo>
                  <a:lnTo>
                    <a:pt x="168" y="67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9" name="Freeform 14">
              <a:extLst>
                <a:ext uri="{FF2B5EF4-FFF2-40B4-BE49-F238E27FC236}">
                  <a16:creationId xmlns:a16="http://schemas.microsoft.com/office/drawing/2014/main" id="{2EA1E999-9CDF-4391-8BC9-7DE71AF9C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0460" y="2983045"/>
              <a:ext cx="905658" cy="561362"/>
            </a:xfrm>
            <a:custGeom>
              <a:avLst/>
              <a:gdLst>
                <a:gd name="T0" fmla="*/ 31 w 1704"/>
                <a:gd name="T1" fmla="*/ 78 h 1056"/>
                <a:gd name="T2" fmla="*/ 23 w 1704"/>
                <a:gd name="T3" fmla="*/ 78 h 1056"/>
                <a:gd name="T4" fmla="*/ 11 w 1704"/>
                <a:gd name="T5" fmla="*/ 79 h 1056"/>
                <a:gd name="T6" fmla="*/ 1 w 1704"/>
                <a:gd name="T7" fmla="*/ 81 h 1056"/>
                <a:gd name="T8" fmla="*/ 0 w 1704"/>
                <a:gd name="T9" fmla="*/ 62 h 1056"/>
                <a:gd name="T10" fmla="*/ 9 w 1704"/>
                <a:gd name="T11" fmla="*/ 56 h 1056"/>
                <a:gd name="T12" fmla="*/ 27 w 1704"/>
                <a:gd name="T13" fmla="*/ 48 h 1056"/>
                <a:gd name="T14" fmla="*/ 35 w 1704"/>
                <a:gd name="T15" fmla="*/ 20 h 1056"/>
                <a:gd name="T16" fmla="*/ 43 w 1704"/>
                <a:gd name="T17" fmla="*/ 6 h 1056"/>
                <a:gd name="T18" fmla="*/ 47 w 1704"/>
                <a:gd name="T19" fmla="*/ 7 h 1056"/>
                <a:gd name="T20" fmla="*/ 52 w 1704"/>
                <a:gd name="T21" fmla="*/ 0 h 1056"/>
                <a:gd name="T22" fmla="*/ 59 w 1704"/>
                <a:gd name="T23" fmla="*/ 5 h 1056"/>
                <a:gd name="T24" fmla="*/ 63 w 1704"/>
                <a:gd name="T25" fmla="*/ 12 h 1056"/>
                <a:gd name="T26" fmla="*/ 62 w 1704"/>
                <a:gd name="T27" fmla="*/ 15 h 1056"/>
                <a:gd name="T28" fmla="*/ 62 w 1704"/>
                <a:gd name="T29" fmla="*/ 18 h 1056"/>
                <a:gd name="T30" fmla="*/ 70 w 1704"/>
                <a:gd name="T31" fmla="*/ 18 h 1056"/>
                <a:gd name="T32" fmla="*/ 71 w 1704"/>
                <a:gd name="T33" fmla="*/ 14 h 1056"/>
                <a:gd name="T34" fmla="*/ 72 w 1704"/>
                <a:gd name="T35" fmla="*/ 12 h 1056"/>
                <a:gd name="T36" fmla="*/ 78 w 1704"/>
                <a:gd name="T37" fmla="*/ 14 h 1056"/>
                <a:gd name="T38" fmla="*/ 85 w 1704"/>
                <a:gd name="T39" fmla="*/ 21 h 1056"/>
                <a:gd name="T40" fmla="*/ 91 w 1704"/>
                <a:gd name="T41" fmla="*/ 15 h 1056"/>
                <a:gd name="T42" fmla="*/ 93 w 1704"/>
                <a:gd name="T43" fmla="*/ 10 h 1056"/>
                <a:gd name="T44" fmla="*/ 101 w 1704"/>
                <a:gd name="T45" fmla="*/ 14 h 1056"/>
                <a:gd name="T46" fmla="*/ 103 w 1704"/>
                <a:gd name="T47" fmla="*/ 19 h 1056"/>
                <a:gd name="T48" fmla="*/ 115 w 1704"/>
                <a:gd name="T49" fmla="*/ 20 h 1056"/>
                <a:gd name="T50" fmla="*/ 118 w 1704"/>
                <a:gd name="T51" fmla="*/ 23 h 1056"/>
                <a:gd name="T52" fmla="*/ 117 w 1704"/>
                <a:gd name="T53" fmla="*/ 27 h 1056"/>
                <a:gd name="T54" fmla="*/ 111 w 1704"/>
                <a:gd name="T55" fmla="*/ 33 h 1056"/>
                <a:gd name="T56" fmla="*/ 108 w 1704"/>
                <a:gd name="T57" fmla="*/ 36 h 1056"/>
                <a:gd name="T58" fmla="*/ 109 w 1704"/>
                <a:gd name="T59" fmla="*/ 40 h 1056"/>
                <a:gd name="T60" fmla="*/ 111 w 1704"/>
                <a:gd name="T61" fmla="*/ 43 h 1056"/>
                <a:gd name="T62" fmla="*/ 113 w 1704"/>
                <a:gd name="T63" fmla="*/ 50 h 1056"/>
                <a:gd name="T64" fmla="*/ 121 w 1704"/>
                <a:gd name="T65" fmla="*/ 55 h 1056"/>
                <a:gd name="T66" fmla="*/ 132 w 1704"/>
                <a:gd name="T67" fmla="*/ 52 h 1056"/>
                <a:gd name="T68" fmla="*/ 148 w 1704"/>
                <a:gd name="T69" fmla="*/ 58 h 1056"/>
                <a:gd name="T70" fmla="*/ 148 w 1704"/>
                <a:gd name="T71" fmla="*/ 61 h 1056"/>
                <a:gd name="T72" fmla="*/ 148 w 1704"/>
                <a:gd name="T73" fmla="*/ 64 h 1056"/>
                <a:gd name="T74" fmla="*/ 135 w 1704"/>
                <a:gd name="T75" fmla="*/ 61 h 1056"/>
                <a:gd name="T76" fmla="*/ 135 w 1704"/>
                <a:gd name="T77" fmla="*/ 66 h 1056"/>
                <a:gd name="T78" fmla="*/ 137 w 1704"/>
                <a:gd name="T79" fmla="*/ 71 h 1056"/>
                <a:gd name="T80" fmla="*/ 136 w 1704"/>
                <a:gd name="T81" fmla="*/ 79 h 1056"/>
                <a:gd name="T82" fmla="*/ 126 w 1704"/>
                <a:gd name="T83" fmla="*/ 84 h 1056"/>
                <a:gd name="T84" fmla="*/ 121 w 1704"/>
                <a:gd name="T85" fmla="*/ 79 h 1056"/>
                <a:gd name="T86" fmla="*/ 117 w 1704"/>
                <a:gd name="T87" fmla="*/ 75 h 1056"/>
                <a:gd name="T88" fmla="*/ 98 w 1704"/>
                <a:gd name="T89" fmla="*/ 74 h 1056"/>
                <a:gd name="T90" fmla="*/ 81 w 1704"/>
                <a:gd name="T91" fmla="*/ 75 h 1056"/>
                <a:gd name="T92" fmla="*/ 83 w 1704"/>
                <a:gd name="T93" fmla="*/ 88 h 1056"/>
                <a:gd name="T94" fmla="*/ 82 w 1704"/>
                <a:gd name="T95" fmla="*/ 91 h 1056"/>
                <a:gd name="T96" fmla="*/ 77 w 1704"/>
                <a:gd name="T97" fmla="*/ 90 h 1056"/>
                <a:gd name="T98" fmla="*/ 73 w 1704"/>
                <a:gd name="T99" fmla="*/ 86 h 1056"/>
                <a:gd name="T100" fmla="*/ 68 w 1704"/>
                <a:gd name="T101" fmla="*/ 85 h 1056"/>
                <a:gd name="T102" fmla="*/ 64 w 1704"/>
                <a:gd name="T103" fmla="*/ 83 h 1056"/>
                <a:gd name="T104" fmla="*/ 57 w 1704"/>
                <a:gd name="T105" fmla="*/ 81 h 1056"/>
                <a:gd name="T106" fmla="*/ 52 w 1704"/>
                <a:gd name="T107" fmla="*/ 80 h 1056"/>
                <a:gd name="T108" fmla="*/ 50 w 1704"/>
                <a:gd name="T109" fmla="*/ 80 h 1056"/>
                <a:gd name="T110" fmla="*/ 46 w 1704"/>
                <a:gd name="T111" fmla="*/ 79 h 1056"/>
                <a:gd name="T112" fmla="*/ 41 w 1704"/>
                <a:gd name="T113" fmla="*/ 78 h 10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04"/>
                <a:gd name="T172" fmla="*/ 0 h 1056"/>
                <a:gd name="T173" fmla="*/ 1704 w 1704"/>
                <a:gd name="T174" fmla="*/ 1056 h 10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04" h="1056">
                  <a:moveTo>
                    <a:pt x="450" y="888"/>
                  </a:moveTo>
                  <a:lnTo>
                    <a:pt x="420" y="888"/>
                  </a:lnTo>
                  <a:lnTo>
                    <a:pt x="414" y="888"/>
                  </a:lnTo>
                  <a:lnTo>
                    <a:pt x="396" y="888"/>
                  </a:lnTo>
                  <a:lnTo>
                    <a:pt x="372" y="888"/>
                  </a:lnTo>
                  <a:lnTo>
                    <a:pt x="366" y="888"/>
                  </a:lnTo>
                  <a:lnTo>
                    <a:pt x="360" y="888"/>
                  </a:lnTo>
                  <a:lnTo>
                    <a:pt x="348" y="888"/>
                  </a:lnTo>
                  <a:lnTo>
                    <a:pt x="330" y="894"/>
                  </a:lnTo>
                  <a:lnTo>
                    <a:pt x="324" y="894"/>
                  </a:lnTo>
                  <a:lnTo>
                    <a:pt x="312" y="888"/>
                  </a:lnTo>
                  <a:lnTo>
                    <a:pt x="300" y="888"/>
                  </a:lnTo>
                  <a:lnTo>
                    <a:pt x="282" y="888"/>
                  </a:lnTo>
                  <a:lnTo>
                    <a:pt x="270" y="888"/>
                  </a:lnTo>
                  <a:lnTo>
                    <a:pt x="240" y="882"/>
                  </a:lnTo>
                  <a:lnTo>
                    <a:pt x="222" y="882"/>
                  </a:lnTo>
                  <a:lnTo>
                    <a:pt x="198" y="882"/>
                  </a:lnTo>
                  <a:lnTo>
                    <a:pt x="174" y="894"/>
                  </a:lnTo>
                  <a:lnTo>
                    <a:pt x="162" y="900"/>
                  </a:lnTo>
                  <a:lnTo>
                    <a:pt x="144" y="906"/>
                  </a:lnTo>
                  <a:lnTo>
                    <a:pt x="126" y="912"/>
                  </a:lnTo>
                  <a:lnTo>
                    <a:pt x="102" y="924"/>
                  </a:lnTo>
                  <a:lnTo>
                    <a:pt x="78" y="930"/>
                  </a:lnTo>
                  <a:lnTo>
                    <a:pt x="72" y="936"/>
                  </a:lnTo>
                  <a:lnTo>
                    <a:pt x="30" y="954"/>
                  </a:lnTo>
                  <a:lnTo>
                    <a:pt x="12" y="966"/>
                  </a:lnTo>
                  <a:lnTo>
                    <a:pt x="12" y="954"/>
                  </a:lnTo>
                  <a:lnTo>
                    <a:pt x="12" y="930"/>
                  </a:lnTo>
                  <a:lnTo>
                    <a:pt x="12" y="894"/>
                  </a:lnTo>
                  <a:lnTo>
                    <a:pt x="30" y="828"/>
                  </a:lnTo>
                  <a:lnTo>
                    <a:pt x="36" y="798"/>
                  </a:lnTo>
                  <a:lnTo>
                    <a:pt x="18" y="774"/>
                  </a:lnTo>
                  <a:lnTo>
                    <a:pt x="18" y="756"/>
                  </a:lnTo>
                  <a:lnTo>
                    <a:pt x="6" y="738"/>
                  </a:lnTo>
                  <a:lnTo>
                    <a:pt x="0" y="714"/>
                  </a:lnTo>
                  <a:lnTo>
                    <a:pt x="12" y="678"/>
                  </a:lnTo>
                  <a:lnTo>
                    <a:pt x="18" y="678"/>
                  </a:lnTo>
                  <a:lnTo>
                    <a:pt x="24" y="672"/>
                  </a:lnTo>
                  <a:lnTo>
                    <a:pt x="30" y="666"/>
                  </a:lnTo>
                  <a:lnTo>
                    <a:pt x="42" y="648"/>
                  </a:lnTo>
                  <a:lnTo>
                    <a:pt x="66" y="648"/>
                  </a:lnTo>
                  <a:lnTo>
                    <a:pt x="108" y="648"/>
                  </a:lnTo>
                  <a:lnTo>
                    <a:pt x="174" y="642"/>
                  </a:lnTo>
                  <a:lnTo>
                    <a:pt x="216" y="636"/>
                  </a:lnTo>
                  <a:lnTo>
                    <a:pt x="240" y="630"/>
                  </a:lnTo>
                  <a:lnTo>
                    <a:pt x="246" y="618"/>
                  </a:lnTo>
                  <a:lnTo>
                    <a:pt x="264" y="600"/>
                  </a:lnTo>
                  <a:lnTo>
                    <a:pt x="294" y="582"/>
                  </a:lnTo>
                  <a:lnTo>
                    <a:pt x="318" y="552"/>
                  </a:lnTo>
                  <a:lnTo>
                    <a:pt x="330" y="546"/>
                  </a:lnTo>
                  <a:lnTo>
                    <a:pt x="348" y="510"/>
                  </a:lnTo>
                  <a:lnTo>
                    <a:pt x="372" y="474"/>
                  </a:lnTo>
                  <a:lnTo>
                    <a:pt x="384" y="444"/>
                  </a:lnTo>
                  <a:lnTo>
                    <a:pt x="396" y="420"/>
                  </a:lnTo>
                  <a:lnTo>
                    <a:pt x="402" y="378"/>
                  </a:lnTo>
                  <a:lnTo>
                    <a:pt x="402" y="228"/>
                  </a:lnTo>
                  <a:lnTo>
                    <a:pt x="414" y="186"/>
                  </a:lnTo>
                  <a:lnTo>
                    <a:pt x="432" y="138"/>
                  </a:lnTo>
                  <a:lnTo>
                    <a:pt x="438" y="114"/>
                  </a:lnTo>
                  <a:lnTo>
                    <a:pt x="444" y="96"/>
                  </a:lnTo>
                  <a:lnTo>
                    <a:pt x="462" y="84"/>
                  </a:lnTo>
                  <a:lnTo>
                    <a:pt x="474" y="78"/>
                  </a:lnTo>
                  <a:lnTo>
                    <a:pt x="492" y="72"/>
                  </a:lnTo>
                  <a:lnTo>
                    <a:pt x="492" y="66"/>
                  </a:lnTo>
                  <a:lnTo>
                    <a:pt x="498" y="66"/>
                  </a:lnTo>
                  <a:lnTo>
                    <a:pt x="510" y="66"/>
                  </a:lnTo>
                  <a:lnTo>
                    <a:pt x="510" y="72"/>
                  </a:lnTo>
                  <a:lnTo>
                    <a:pt x="516" y="72"/>
                  </a:lnTo>
                  <a:lnTo>
                    <a:pt x="522" y="78"/>
                  </a:lnTo>
                  <a:lnTo>
                    <a:pt x="546" y="78"/>
                  </a:lnTo>
                  <a:lnTo>
                    <a:pt x="552" y="60"/>
                  </a:lnTo>
                  <a:lnTo>
                    <a:pt x="570" y="42"/>
                  </a:lnTo>
                  <a:lnTo>
                    <a:pt x="576" y="24"/>
                  </a:lnTo>
                  <a:lnTo>
                    <a:pt x="588" y="18"/>
                  </a:lnTo>
                  <a:lnTo>
                    <a:pt x="588" y="12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624" y="0"/>
                  </a:lnTo>
                  <a:lnTo>
                    <a:pt x="636" y="6"/>
                  </a:lnTo>
                  <a:lnTo>
                    <a:pt x="648" y="24"/>
                  </a:lnTo>
                  <a:lnTo>
                    <a:pt x="654" y="48"/>
                  </a:lnTo>
                  <a:lnTo>
                    <a:pt x="672" y="60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0" y="72"/>
                  </a:lnTo>
                  <a:lnTo>
                    <a:pt x="690" y="78"/>
                  </a:lnTo>
                  <a:lnTo>
                    <a:pt x="696" y="90"/>
                  </a:lnTo>
                  <a:lnTo>
                    <a:pt x="714" y="114"/>
                  </a:lnTo>
                  <a:lnTo>
                    <a:pt x="714" y="120"/>
                  </a:lnTo>
                  <a:lnTo>
                    <a:pt x="720" y="132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20" y="150"/>
                  </a:lnTo>
                  <a:lnTo>
                    <a:pt x="714" y="150"/>
                  </a:lnTo>
                  <a:lnTo>
                    <a:pt x="714" y="156"/>
                  </a:lnTo>
                  <a:lnTo>
                    <a:pt x="714" y="162"/>
                  </a:lnTo>
                  <a:lnTo>
                    <a:pt x="708" y="162"/>
                  </a:lnTo>
                  <a:lnTo>
                    <a:pt x="708" y="168"/>
                  </a:lnTo>
                  <a:lnTo>
                    <a:pt x="702" y="168"/>
                  </a:lnTo>
                  <a:lnTo>
                    <a:pt x="702" y="174"/>
                  </a:lnTo>
                  <a:lnTo>
                    <a:pt x="702" y="180"/>
                  </a:lnTo>
                  <a:lnTo>
                    <a:pt x="708" y="180"/>
                  </a:lnTo>
                  <a:lnTo>
                    <a:pt x="708" y="186"/>
                  </a:lnTo>
                  <a:lnTo>
                    <a:pt x="708" y="192"/>
                  </a:lnTo>
                  <a:lnTo>
                    <a:pt x="714" y="204"/>
                  </a:lnTo>
                  <a:lnTo>
                    <a:pt x="726" y="216"/>
                  </a:lnTo>
                  <a:lnTo>
                    <a:pt x="738" y="216"/>
                  </a:lnTo>
                  <a:lnTo>
                    <a:pt x="768" y="222"/>
                  </a:lnTo>
                  <a:lnTo>
                    <a:pt x="780" y="216"/>
                  </a:lnTo>
                  <a:lnTo>
                    <a:pt x="792" y="204"/>
                  </a:lnTo>
                  <a:lnTo>
                    <a:pt x="798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6" y="192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6" y="174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22" y="156"/>
                  </a:lnTo>
                  <a:lnTo>
                    <a:pt x="822" y="150"/>
                  </a:lnTo>
                  <a:lnTo>
                    <a:pt x="828" y="144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8" y="138"/>
                  </a:lnTo>
                  <a:lnTo>
                    <a:pt x="834" y="132"/>
                  </a:lnTo>
                  <a:lnTo>
                    <a:pt x="840" y="132"/>
                  </a:lnTo>
                  <a:lnTo>
                    <a:pt x="864" y="126"/>
                  </a:lnTo>
                  <a:lnTo>
                    <a:pt x="906" y="144"/>
                  </a:lnTo>
                  <a:lnTo>
                    <a:pt x="906" y="150"/>
                  </a:lnTo>
                  <a:lnTo>
                    <a:pt x="906" y="156"/>
                  </a:lnTo>
                  <a:lnTo>
                    <a:pt x="900" y="162"/>
                  </a:lnTo>
                  <a:lnTo>
                    <a:pt x="924" y="168"/>
                  </a:lnTo>
                  <a:lnTo>
                    <a:pt x="942" y="192"/>
                  </a:lnTo>
                  <a:lnTo>
                    <a:pt x="972" y="210"/>
                  </a:lnTo>
                  <a:lnTo>
                    <a:pt x="972" y="216"/>
                  </a:lnTo>
                  <a:lnTo>
                    <a:pt x="972" y="228"/>
                  </a:lnTo>
                  <a:lnTo>
                    <a:pt x="978" y="234"/>
                  </a:lnTo>
                  <a:lnTo>
                    <a:pt x="978" y="246"/>
                  </a:lnTo>
                  <a:lnTo>
                    <a:pt x="984" y="252"/>
                  </a:lnTo>
                  <a:lnTo>
                    <a:pt x="1014" y="252"/>
                  </a:lnTo>
                  <a:lnTo>
                    <a:pt x="1020" y="228"/>
                  </a:lnTo>
                  <a:lnTo>
                    <a:pt x="1026" y="198"/>
                  </a:lnTo>
                  <a:lnTo>
                    <a:pt x="1050" y="186"/>
                  </a:lnTo>
                  <a:lnTo>
                    <a:pt x="1056" y="180"/>
                  </a:lnTo>
                  <a:lnTo>
                    <a:pt x="1050" y="174"/>
                  </a:lnTo>
                  <a:lnTo>
                    <a:pt x="1050" y="168"/>
                  </a:lnTo>
                  <a:lnTo>
                    <a:pt x="1050" y="162"/>
                  </a:lnTo>
                  <a:lnTo>
                    <a:pt x="1056" y="162"/>
                  </a:lnTo>
                  <a:lnTo>
                    <a:pt x="1062" y="162"/>
                  </a:lnTo>
                  <a:lnTo>
                    <a:pt x="1074" y="162"/>
                  </a:lnTo>
                  <a:lnTo>
                    <a:pt x="1074" y="144"/>
                  </a:lnTo>
                  <a:lnTo>
                    <a:pt x="1074" y="120"/>
                  </a:lnTo>
                  <a:lnTo>
                    <a:pt x="1092" y="120"/>
                  </a:lnTo>
                  <a:lnTo>
                    <a:pt x="1098" y="126"/>
                  </a:lnTo>
                  <a:lnTo>
                    <a:pt x="1134" y="132"/>
                  </a:lnTo>
                  <a:lnTo>
                    <a:pt x="1146" y="132"/>
                  </a:lnTo>
                  <a:lnTo>
                    <a:pt x="1158" y="150"/>
                  </a:lnTo>
                  <a:lnTo>
                    <a:pt x="1158" y="156"/>
                  </a:lnTo>
                  <a:lnTo>
                    <a:pt x="1158" y="162"/>
                  </a:lnTo>
                  <a:lnTo>
                    <a:pt x="1158" y="180"/>
                  </a:lnTo>
                  <a:lnTo>
                    <a:pt x="1158" y="186"/>
                  </a:lnTo>
                  <a:lnTo>
                    <a:pt x="1164" y="192"/>
                  </a:lnTo>
                  <a:lnTo>
                    <a:pt x="1176" y="198"/>
                  </a:lnTo>
                  <a:lnTo>
                    <a:pt x="1182" y="198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8"/>
                  </a:lnTo>
                  <a:lnTo>
                    <a:pt x="1188" y="234"/>
                  </a:lnTo>
                  <a:lnTo>
                    <a:pt x="1212" y="234"/>
                  </a:lnTo>
                  <a:lnTo>
                    <a:pt x="1242" y="234"/>
                  </a:lnTo>
                  <a:lnTo>
                    <a:pt x="1248" y="234"/>
                  </a:lnTo>
                  <a:lnTo>
                    <a:pt x="1278" y="240"/>
                  </a:lnTo>
                  <a:lnTo>
                    <a:pt x="1320" y="234"/>
                  </a:lnTo>
                  <a:lnTo>
                    <a:pt x="1332" y="228"/>
                  </a:lnTo>
                  <a:lnTo>
                    <a:pt x="1344" y="228"/>
                  </a:lnTo>
                  <a:lnTo>
                    <a:pt x="1350" y="234"/>
                  </a:lnTo>
                  <a:lnTo>
                    <a:pt x="1350" y="240"/>
                  </a:lnTo>
                  <a:lnTo>
                    <a:pt x="1356" y="246"/>
                  </a:lnTo>
                  <a:lnTo>
                    <a:pt x="1350" y="252"/>
                  </a:lnTo>
                  <a:lnTo>
                    <a:pt x="1356" y="264"/>
                  </a:lnTo>
                  <a:lnTo>
                    <a:pt x="1356" y="270"/>
                  </a:lnTo>
                  <a:lnTo>
                    <a:pt x="1356" y="276"/>
                  </a:lnTo>
                  <a:lnTo>
                    <a:pt x="1356" y="282"/>
                  </a:lnTo>
                  <a:lnTo>
                    <a:pt x="1356" y="288"/>
                  </a:lnTo>
                  <a:lnTo>
                    <a:pt x="1350" y="294"/>
                  </a:lnTo>
                  <a:lnTo>
                    <a:pt x="1344" y="300"/>
                  </a:lnTo>
                  <a:lnTo>
                    <a:pt x="1344" y="306"/>
                  </a:lnTo>
                  <a:lnTo>
                    <a:pt x="1338" y="312"/>
                  </a:lnTo>
                  <a:lnTo>
                    <a:pt x="1326" y="342"/>
                  </a:lnTo>
                  <a:lnTo>
                    <a:pt x="1320" y="348"/>
                  </a:lnTo>
                  <a:lnTo>
                    <a:pt x="1314" y="354"/>
                  </a:lnTo>
                  <a:lnTo>
                    <a:pt x="1290" y="354"/>
                  </a:lnTo>
                  <a:lnTo>
                    <a:pt x="1284" y="360"/>
                  </a:lnTo>
                  <a:lnTo>
                    <a:pt x="1278" y="378"/>
                  </a:lnTo>
                  <a:lnTo>
                    <a:pt x="1278" y="384"/>
                  </a:lnTo>
                  <a:lnTo>
                    <a:pt x="1272" y="390"/>
                  </a:lnTo>
                  <a:lnTo>
                    <a:pt x="1266" y="396"/>
                  </a:lnTo>
                  <a:lnTo>
                    <a:pt x="1260" y="396"/>
                  </a:lnTo>
                  <a:lnTo>
                    <a:pt x="1248" y="402"/>
                  </a:lnTo>
                  <a:lnTo>
                    <a:pt x="1242" y="408"/>
                  </a:lnTo>
                  <a:lnTo>
                    <a:pt x="1242" y="414"/>
                  </a:lnTo>
                  <a:lnTo>
                    <a:pt x="1242" y="420"/>
                  </a:lnTo>
                  <a:lnTo>
                    <a:pt x="1236" y="432"/>
                  </a:lnTo>
                  <a:lnTo>
                    <a:pt x="1242" y="432"/>
                  </a:lnTo>
                  <a:lnTo>
                    <a:pt x="1242" y="444"/>
                  </a:lnTo>
                  <a:lnTo>
                    <a:pt x="1242" y="456"/>
                  </a:lnTo>
                  <a:lnTo>
                    <a:pt x="1248" y="456"/>
                  </a:lnTo>
                  <a:lnTo>
                    <a:pt x="1254" y="462"/>
                  </a:lnTo>
                  <a:lnTo>
                    <a:pt x="1248" y="468"/>
                  </a:lnTo>
                  <a:lnTo>
                    <a:pt x="1254" y="468"/>
                  </a:lnTo>
                  <a:lnTo>
                    <a:pt x="1266" y="474"/>
                  </a:lnTo>
                  <a:lnTo>
                    <a:pt x="1266" y="480"/>
                  </a:lnTo>
                  <a:lnTo>
                    <a:pt x="1266" y="486"/>
                  </a:lnTo>
                  <a:lnTo>
                    <a:pt x="1272" y="486"/>
                  </a:lnTo>
                  <a:lnTo>
                    <a:pt x="1272" y="492"/>
                  </a:lnTo>
                  <a:lnTo>
                    <a:pt x="1290" y="510"/>
                  </a:lnTo>
                  <a:lnTo>
                    <a:pt x="1296" y="516"/>
                  </a:lnTo>
                  <a:lnTo>
                    <a:pt x="1302" y="540"/>
                  </a:lnTo>
                  <a:lnTo>
                    <a:pt x="1302" y="546"/>
                  </a:lnTo>
                  <a:lnTo>
                    <a:pt x="1302" y="558"/>
                  </a:lnTo>
                  <a:lnTo>
                    <a:pt x="1302" y="570"/>
                  </a:lnTo>
                  <a:lnTo>
                    <a:pt x="1302" y="576"/>
                  </a:lnTo>
                  <a:lnTo>
                    <a:pt x="1344" y="570"/>
                  </a:lnTo>
                  <a:lnTo>
                    <a:pt x="1350" y="582"/>
                  </a:lnTo>
                  <a:lnTo>
                    <a:pt x="1368" y="594"/>
                  </a:lnTo>
                  <a:lnTo>
                    <a:pt x="1374" y="600"/>
                  </a:lnTo>
                  <a:lnTo>
                    <a:pt x="1380" y="600"/>
                  </a:lnTo>
                  <a:lnTo>
                    <a:pt x="1380" y="618"/>
                  </a:lnTo>
                  <a:lnTo>
                    <a:pt x="1386" y="624"/>
                  </a:lnTo>
                  <a:lnTo>
                    <a:pt x="1404" y="624"/>
                  </a:lnTo>
                  <a:lnTo>
                    <a:pt x="1410" y="612"/>
                  </a:lnTo>
                  <a:lnTo>
                    <a:pt x="1428" y="606"/>
                  </a:lnTo>
                  <a:lnTo>
                    <a:pt x="1488" y="606"/>
                  </a:lnTo>
                  <a:lnTo>
                    <a:pt x="1506" y="606"/>
                  </a:lnTo>
                  <a:lnTo>
                    <a:pt x="1512" y="600"/>
                  </a:lnTo>
                  <a:lnTo>
                    <a:pt x="1524" y="594"/>
                  </a:lnTo>
                  <a:lnTo>
                    <a:pt x="1554" y="594"/>
                  </a:lnTo>
                  <a:lnTo>
                    <a:pt x="1578" y="606"/>
                  </a:lnTo>
                  <a:lnTo>
                    <a:pt x="1596" y="624"/>
                  </a:lnTo>
                  <a:lnTo>
                    <a:pt x="1650" y="642"/>
                  </a:lnTo>
                  <a:lnTo>
                    <a:pt x="1686" y="648"/>
                  </a:lnTo>
                  <a:lnTo>
                    <a:pt x="1698" y="654"/>
                  </a:lnTo>
                  <a:lnTo>
                    <a:pt x="1698" y="660"/>
                  </a:lnTo>
                  <a:lnTo>
                    <a:pt x="1692" y="666"/>
                  </a:lnTo>
                  <a:lnTo>
                    <a:pt x="1692" y="672"/>
                  </a:lnTo>
                  <a:lnTo>
                    <a:pt x="1698" y="678"/>
                  </a:lnTo>
                  <a:lnTo>
                    <a:pt x="1698" y="684"/>
                  </a:lnTo>
                  <a:lnTo>
                    <a:pt x="1692" y="684"/>
                  </a:lnTo>
                  <a:lnTo>
                    <a:pt x="1692" y="690"/>
                  </a:lnTo>
                  <a:lnTo>
                    <a:pt x="1698" y="696"/>
                  </a:lnTo>
                  <a:lnTo>
                    <a:pt x="1698" y="702"/>
                  </a:lnTo>
                  <a:lnTo>
                    <a:pt x="1698" y="708"/>
                  </a:lnTo>
                  <a:lnTo>
                    <a:pt x="1704" y="714"/>
                  </a:lnTo>
                  <a:lnTo>
                    <a:pt x="1704" y="720"/>
                  </a:lnTo>
                  <a:lnTo>
                    <a:pt x="1704" y="726"/>
                  </a:lnTo>
                  <a:lnTo>
                    <a:pt x="1704" y="732"/>
                  </a:lnTo>
                  <a:lnTo>
                    <a:pt x="1704" y="738"/>
                  </a:lnTo>
                  <a:lnTo>
                    <a:pt x="1698" y="726"/>
                  </a:lnTo>
                  <a:lnTo>
                    <a:pt x="1668" y="720"/>
                  </a:lnTo>
                  <a:lnTo>
                    <a:pt x="1626" y="714"/>
                  </a:lnTo>
                  <a:lnTo>
                    <a:pt x="1614" y="708"/>
                  </a:lnTo>
                  <a:lnTo>
                    <a:pt x="1578" y="696"/>
                  </a:lnTo>
                  <a:lnTo>
                    <a:pt x="1566" y="696"/>
                  </a:lnTo>
                  <a:lnTo>
                    <a:pt x="1548" y="702"/>
                  </a:lnTo>
                  <a:lnTo>
                    <a:pt x="1542" y="714"/>
                  </a:lnTo>
                  <a:lnTo>
                    <a:pt x="1536" y="732"/>
                  </a:lnTo>
                  <a:lnTo>
                    <a:pt x="1530" y="750"/>
                  </a:lnTo>
                  <a:lnTo>
                    <a:pt x="1536" y="750"/>
                  </a:lnTo>
                  <a:lnTo>
                    <a:pt x="1542" y="756"/>
                  </a:lnTo>
                  <a:lnTo>
                    <a:pt x="1542" y="762"/>
                  </a:lnTo>
                  <a:lnTo>
                    <a:pt x="1548" y="762"/>
                  </a:lnTo>
                  <a:lnTo>
                    <a:pt x="1554" y="762"/>
                  </a:lnTo>
                  <a:lnTo>
                    <a:pt x="1554" y="768"/>
                  </a:lnTo>
                  <a:lnTo>
                    <a:pt x="1560" y="774"/>
                  </a:lnTo>
                  <a:lnTo>
                    <a:pt x="1566" y="774"/>
                  </a:lnTo>
                  <a:lnTo>
                    <a:pt x="1584" y="792"/>
                  </a:lnTo>
                  <a:lnTo>
                    <a:pt x="1584" y="810"/>
                  </a:lnTo>
                  <a:lnTo>
                    <a:pt x="1572" y="816"/>
                  </a:lnTo>
                  <a:lnTo>
                    <a:pt x="1578" y="834"/>
                  </a:lnTo>
                  <a:lnTo>
                    <a:pt x="1578" y="846"/>
                  </a:lnTo>
                  <a:lnTo>
                    <a:pt x="1584" y="858"/>
                  </a:lnTo>
                  <a:lnTo>
                    <a:pt x="1590" y="864"/>
                  </a:lnTo>
                  <a:lnTo>
                    <a:pt x="1590" y="876"/>
                  </a:lnTo>
                  <a:lnTo>
                    <a:pt x="1578" y="888"/>
                  </a:lnTo>
                  <a:lnTo>
                    <a:pt x="1560" y="906"/>
                  </a:lnTo>
                  <a:lnTo>
                    <a:pt x="1536" y="930"/>
                  </a:lnTo>
                  <a:lnTo>
                    <a:pt x="1530" y="930"/>
                  </a:lnTo>
                  <a:lnTo>
                    <a:pt x="1506" y="942"/>
                  </a:lnTo>
                  <a:lnTo>
                    <a:pt x="1488" y="948"/>
                  </a:lnTo>
                  <a:lnTo>
                    <a:pt x="1476" y="954"/>
                  </a:lnTo>
                  <a:lnTo>
                    <a:pt x="1458" y="960"/>
                  </a:lnTo>
                  <a:lnTo>
                    <a:pt x="1452" y="966"/>
                  </a:lnTo>
                  <a:lnTo>
                    <a:pt x="1446" y="966"/>
                  </a:lnTo>
                  <a:lnTo>
                    <a:pt x="1434" y="972"/>
                  </a:lnTo>
                  <a:lnTo>
                    <a:pt x="1434" y="954"/>
                  </a:lnTo>
                  <a:lnTo>
                    <a:pt x="1422" y="942"/>
                  </a:lnTo>
                  <a:lnTo>
                    <a:pt x="1398" y="924"/>
                  </a:lnTo>
                  <a:lnTo>
                    <a:pt x="1398" y="912"/>
                  </a:lnTo>
                  <a:lnTo>
                    <a:pt x="1398" y="906"/>
                  </a:lnTo>
                  <a:lnTo>
                    <a:pt x="1398" y="900"/>
                  </a:lnTo>
                  <a:lnTo>
                    <a:pt x="1380" y="900"/>
                  </a:lnTo>
                  <a:lnTo>
                    <a:pt x="1380" y="894"/>
                  </a:lnTo>
                  <a:lnTo>
                    <a:pt x="1368" y="888"/>
                  </a:lnTo>
                  <a:lnTo>
                    <a:pt x="1362" y="882"/>
                  </a:lnTo>
                  <a:lnTo>
                    <a:pt x="1356" y="876"/>
                  </a:lnTo>
                  <a:lnTo>
                    <a:pt x="1350" y="864"/>
                  </a:lnTo>
                  <a:lnTo>
                    <a:pt x="1344" y="858"/>
                  </a:lnTo>
                  <a:lnTo>
                    <a:pt x="1314" y="870"/>
                  </a:lnTo>
                  <a:lnTo>
                    <a:pt x="1272" y="876"/>
                  </a:lnTo>
                  <a:lnTo>
                    <a:pt x="1218" y="870"/>
                  </a:lnTo>
                  <a:lnTo>
                    <a:pt x="1200" y="864"/>
                  </a:lnTo>
                  <a:lnTo>
                    <a:pt x="1182" y="864"/>
                  </a:lnTo>
                  <a:lnTo>
                    <a:pt x="1134" y="858"/>
                  </a:lnTo>
                  <a:lnTo>
                    <a:pt x="1110" y="840"/>
                  </a:lnTo>
                  <a:lnTo>
                    <a:pt x="1086" y="828"/>
                  </a:lnTo>
                  <a:lnTo>
                    <a:pt x="1044" y="816"/>
                  </a:lnTo>
                  <a:lnTo>
                    <a:pt x="1014" y="816"/>
                  </a:lnTo>
                  <a:lnTo>
                    <a:pt x="990" y="822"/>
                  </a:lnTo>
                  <a:lnTo>
                    <a:pt x="948" y="858"/>
                  </a:lnTo>
                  <a:lnTo>
                    <a:pt x="930" y="864"/>
                  </a:lnTo>
                  <a:lnTo>
                    <a:pt x="924" y="876"/>
                  </a:lnTo>
                  <a:lnTo>
                    <a:pt x="918" y="906"/>
                  </a:lnTo>
                  <a:lnTo>
                    <a:pt x="924" y="930"/>
                  </a:lnTo>
                  <a:lnTo>
                    <a:pt x="948" y="984"/>
                  </a:lnTo>
                  <a:lnTo>
                    <a:pt x="954" y="1008"/>
                  </a:lnTo>
                  <a:lnTo>
                    <a:pt x="948" y="1014"/>
                  </a:lnTo>
                  <a:lnTo>
                    <a:pt x="954" y="1014"/>
                  </a:lnTo>
                  <a:lnTo>
                    <a:pt x="954" y="1032"/>
                  </a:lnTo>
                  <a:lnTo>
                    <a:pt x="966" y="1044"/>
                  </a:lnTo>
                  <a:lnTo>
                    <a:pt x="960" y="1056"/>
                  </a:lnTo>
                  <a:lnTo>
                    <a:pt x="954" y="1056"/>
                  </a:lnTo>
                  <a:lnTo>
                    <a:pt x="948" y="1056"/>
                  </a:lnTo>
                  <a:lnTo>
                    <a:pt x="942" y="1056"/>
                  </a:lnTo>
                  <a:lnTo>
                    <a:pt x="936" y="1050"/>
                  </a:lnTo>
                  <a:lnTo>
                    <a:pt x="930" y="1044"/>
                  </a:lnTo>
                  <a:lnTo>
                    <a:pt x="924" y="1044"/>
                  </a:lnTo>
                  <a:lnTo>
                    <a:pt x="918" y="1038"/>
                  </a:lnTo>
                  <a:lnTo>
                    <a:pt x="912" y="1038"/>
                  </a:lnTo>
                  <a:lnTo>
                    <a:pt x="906" y="1032"/>
                  </a:lnTo>
                  <a:lnTo>
                    <a:pt x="900" y="1032"/>
                  </a:lnTo>
                  <a:lnTo>
                    <a:pt x="888" y="1026"/>
                  </a:lnTo>
                  <a:lnTo>
                    <a:pt x="882" y="1026"/>
                  </a:lnTo>
                  <a:lnTo>
                    <a:pt x="876" y="1026"/>
                  </a:lnTo>
                  <a:lnTo>
                    <a:pt x="864" y="1014"/>
                  </a:lnTo>
                  <a:lnTo>
                    <a:pt x="846" y="1008"/>
                  </a:lnTo>
                  <a:lnTo>
                    <a:pt x="840" y="996"/>
                  </a:lnTo>
                  <a:lnTo>
                    <a:pt x="840" y="990"/>
                  </a:lnTo>
                  <a:lnTo>
                    <a:pt x="834" y="990"/>
                  </a:lnTo>
                  <a:lnTo>
                    <a:pt x="828" y="990"/>
                  </a:lnTo>
                  <a:lnTo>
                    <a:pt x="816" y="990"/>
                  </a:lnTo>
                  <a:lnTo>
                    <a:pt x="810" y="990"/>
                  </a:lnTo>
                  <a:lnTo>
                    <a:pt x="804" y="984"/>
                  </a:lnTo>
                  <a:lnTo>
                    <a:pt x="792" y="978"/>
                  </a:lnTo>
                  <a:lnTo>
                    <a:pt x="786" y="972"/>
                  </a:lnTo>
                  <a:lnTo>
                    <a:pt x="780" y="972"/>
                  </a:lnTo>
                  <a:lnTo>
                    <a:pt x="768" y="966"/>
                  </a:lnTo>
                  <a:lnTo>
                    <a:pt x="762" y="966"/>
                  </a:lnTo>
                  <a:lnTo>
                    <a:pt x="756" y="966"/>
                  </a:lnTo>
                  <a:lnTo>
                    <a:pt x="750" y="966"/>
                  </a:lnTo>
                  <a:lnTo>
                    <a:pt x="744" y="966"/>
                  </a:lnTo>
                  <a:lnTo>
                    <a:pt x="738" y="960"/>
                  </a:lnTo>
                  <a:lnTo>
                    <a:pt x="732" y="954"/>
                  </a:lnTo>
                  <a:lnTo>
                    <a:pt x="720" y="954"/>
                  </a:lnTo>
                  <a:lnTo>
                    <a:pt x="714" y="948"/>
                  </a:lnTo>
                  <a:lnTo>
                    <a:pt x="708" y="948"/>
                  </a:lnTo>
                  <a:lnTo>
                    <a:pt x="696" y="948"/>
                  </a:lnTo>
                  <a:lnTo>
                    <a:pt x="684" y="942"/>
                  </a:lnTo>
                  <a:lnTo>
                    <a:pt x="678" y="936"/>
                  </a:lnTo>
                  <a:lnTo>
                    <a:pt x="660" y="930"/>
                  </a:lnTo>
                  <a:lnTo>
                    <a:pt x="642" y="924"/>
                  </a:lnTo>
                  <a:lnTo>
                    <a:pt x="636" y="924"/>
                  </a:lnTo>
                  <a:lnTo>
                    <a:pt x="630" y="924"/>
                  </a:lnTo>
                  <a:lnTo>
                    <a:pt x="618" y="924"/>
                  </a:lnTo>
                  <a:lnTo>
                    <a:pt x="618" y="918"/>
                  </a:lnTo>
                  <a:lnTo>
                    <a:pt x="606" y="918"/>
                  </a:lnTo>
                  <a:lnTo>
                    <a:pt x="600" y="918"/>
                  </a:lnTo>
                  <a:lnTo>
                    <a:pt x="594" y="918"/>
                  </a:lnTo>
                  <a:lnTo>
                    <a:pt x="594" y="912"/>
                  </a:lnTo>
                  <a:lnTo>
                    <a:pt x="588" y="912"/>
                  </a:lnTo>
                  <a:lnTo>
                    <a:pt x="582" y="912"/>
                  </a:lnTo>
                  <a:lnTo>
                    <a:pt x="582" y="918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58" y="918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12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00"/>
                  </a:lnTo>
                  <a:lnTo>
                    <a:pt x="516" y="900"/>
                  </a:lnTo>
                  <a:lnTo>
                    <a:pt x="510" y="900"/>
                  </a:lnTo>
                  <a:lnTo>
                    <a:pt x="486" y="894"/>
                  </a:lnTo>
                  <a:lnTo>
                    <a:pt x="474" y="888"/>
                  </a:lnTo>
                  <a:lnTo>
                    <a:pt x="468" y="888"/>
                  </a:lnTo>
                  <a:lnTo>
                    <a:pt x="450" y="88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0" name="Freeform 15">
              <a:extLst>
                <a:ext uri="{FF2B5EF4-FFF2-40B4-BE49-F238E27FC236}">
                  <a16:creationId xmlns:a16="http://schemas.microsoft.com/office/drawing/2014/main" id="{8B991D7A-45C6-40F6-A035-24DFC733305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382" y="2652043"/>
              <a:ext cx="724526" cy="695552"/>
            </a:xfrm>
            <a:custGeom>
              <a:avLst/>
              <a:gdLst>
                <a:gd name="T0" fmla="*/ 44 w 1362"/>
                <a:gd name="T1" fmla="*/ 106 h 1308"/>
                <a:gd name="T2" fmla="*/ 32 w 1362"/>
                <a:gd name="T3" fmla="*/ 109 h 1308"/>
                <a:gd name="T4" fmla="*/ 25 w 1362"/>
                <a:gd name="T5" fmla="*/ 105 h 1308"/>
                <a:gd name="T6" fmla="*/ 22 w 1362"/>
                <a:gd name="T7" fmla="*/ 97 h 1308"/>
                <a:gd name="T8" fmla="*/ 21 w 1362"/>
                <a:gd name="T9" fmla="*/ 95 h 1308"/>
                <a:gd name="T10" fmla="*/ 20 w 1362"/>
                <a:gd name="T11" fmla="*/ 90 h 1308"/>
                <a:gd name="T12" fmla="*/ 23 w 1362"/>
                <a:gd name="T13" fmla="*/ 87 h 1308"/>
                <a:gd name="T14" fmla="*/ 29 w 1362"/>
                <a:gd name="T15" fmla="*/ 81 h 1308"/>
                <a:gd name="T16" fmla="*/ 30 w 1362"/>
                <a:gd name="T17" fmla="*/ 78 h 1308"/>
                <a:gd name="T18" fmla="*/ 27 w 1362"/>
                <a:gd name="T19" fmla="*/ 75 h 1308"/>
                <a:gd name="T20" fmla="*/ 15 w 1362"/>
                <a:gd name="T21" fmla="*/ 73 h 1308"/>
                <a:gd name="T22" fmla="*/ 12 w 1362"/>
                <a:gd name="T23" fmla="*/ 69 h 1308"/>
                <a:gd name="T24" fmla="*/ 5 w 1362"/>
                <a:gd name="T25" fmla="*/ 65 h 1308"/>
                <a:gd name="T26" fmla="*/ 6 w 1362"/>
                <a:gd name="T27" fmla="*/ 62 h 1308"/>
                <a:gd name="T28" fmla="*/ 7 w 1362"/>
                <a:gd name="T29" fmla="*/ 56 h 1308"/>
                <a:gd name="T30" fmla="*/ 2 w 1362"/>
                <a:gd name="T31" fmla="*/ 49 h 1308"/>
                <a:gd name="T32" fmla="*/ 0 w 1362"/>
                <a:gd name="T33" fmla="*/ 44 h 1308"/>
                <a:gd name="T34" fmla="*/ 0 w 1362"/>
                <a:gd name="T35" fmla="*/ 39 h 1308"/>
                <a:gd name="T36" fmla="*/ 3 w 1362"/>
                <a:gd name="T37" fmla="*/ 35 h 1308"/>
                <a:gd name="T38" fmla="*/ 3 w 1362"/>
                <a:gd name="T39" fmla="*/ 28 h 1308"/>
                <a:gd name="T40" fmla="*/ 6 w 1362"/>
                <a:gd name="T41" fmla="*/ 18 h 1308"/>
                <a:gd name="T42" fmla="*/ 6 w 1362"/>
                <a:gd name="T43" fmla="*/ 8 h 1308"/>
                <a:gd name="T44" fmla="*/ 10 w 1362"/>
                <a:gd name="T45" fmla="*/ 5 h 1308"/>
                <a:gd name="T46" fmla="*/ 15 w 1362"/>
                <a:gd name="T47" fmla="*/ 0 h 1308"/>
                <a:gd name="T48" fmla="*/ 21 w 1362"/>
                <a:gd name="T49" fmla="*/ 7 h 1308"/>
                <a:gd name="T50" fmla="*/ 25 w 1362"/>
                <a:gd name="T51" fmla="*/ 15 h 1308"/>
                <a:gd name="T52" fmla="*/ 24 w 1362"/>
                <a:gd name="T53" fmla="*/ 19 h 1308"/>
                <a:gd name="T54" fmla="*/ 32 w 1362"/>
                <a:gd name="T55" fmla="*/ 19 h 1308"/>
                <a:gd name="T56" fmla="*/ 35 w 1362"/>
                <a:gd name="T57" fmla="*/ 20 h 1308"/>
                <a:gd name="T58" fmla="*/ 40 w 1362"/>
                <a:gd name="T59" fmla="*/ 23 h 1308"/>
                <a:gd name="T60" fmla="*/ 40 w 1362"/>
                <a:gd name="T61" fmla="*/ 26 h 1308"/>
                <a:gd name="T62" fmla="*/ 34 w 1362"/>
                <a:gd name="T63" fmla="*/ 35 h 1308"/>
                <a:gd name="T64" fmla="*/ 41 w 1362"/>
                <a:gd name="T65" fmla="*/ 37 h 1308"/>
                <a:gd name="T66" fmla="*/ 43 w 1362"/>
                <a:gd name="T67" fmla="*/ 44 h 1308"/>
                <a:gd name="T68" fmla="*/ 48 w 1362"/>
                <a:gd name="T69" fmla="*/ 47 h 1308"/>
                <a:gd name="T70" fmla="*/ 57 w 1362"/>
                <a:gd name="T71" fmla="*/ 48 h 1308"/>
                <a:gd name="T72" fmla="*/ 70 w 1362"/>
                <a:gd name="T73" fmla="*/ 44 h 1308"/>
                <a:gd name="T74" fmla="*/ 80 w 1362"/>
                <a:gd name="T75" fmla="*/ 34 h 1308"/>
                <a:gd name="T76" fmla="*/ 95 w 1362"/>
                <a:gd name="T77" fmla="*/ 41 h 1308"/>
                <a:gd name="T78" fmla="*/ 109 w 1362"/>
                <a:gd name="T79" fmla="*/ 47 h 1308"/>
                <a:gd name="T80" fmla="*/ 111 w 1362"/>
                <a:gd name="T81" fmla="*/ 50 h 1308"/>
                <a:gd name="T82" fmla="*/ 113 w 1362"/>
                <a:gd name="T83" fmla="*/ 53 h 1308"/>
                <a:gd name="T84" fmla="*/ 113 w 1362"/>
                <a:gd name="T85" fmla="*/ 55 h 1308"/>
                <a:gd name="T86" fmla="*/ 113 w 1362"/>
                <a:gd name="T87" fmla="*/ 59 h 1308"/>
                <a:gd name="T88" fmla="*/ 113 w 1362"/>
                <a:gd name="T89" fmla="*/ 62 h 1308"/>
                <a:gd name="T90" fmla="*/ 115 w 1362"/>
                <a:gd name="T91" fmla="*/ 65 h 1308"/>
                <a:gd name="T92" fmla="*/ 115 w 1362"/>
                <a:gd name="T93" fmla="*/ 67 h 1308"/>
                <a:gd name="T94" fmla="*/ 116 w 1362"/>
                <a:gd name="T95" fmla="*/ 69 h 1308"/>
                <a:gd name="T96" fmla="*/ 116 w 1362"/>
                <a:gd name="T97" fmla="*/ 71 h 1308"/>
                <a:gd name="T98" fmla="*/ 118 w 1362"/>
                <a:gd name="T99" fmla="*/ 75 h 1308"/>
                <a:gd name="T100" fmla="*/ 116 w 1362"/>
                <a:gd name="T101" fmla="*/ 77 h 1308"/>
                <a:gd name="T102" fmla="*/ 116 w 1362"/>
                <a:gd name="T103" fmla="*/ 79 h 1308"/>
                <a:gd name="T104" fmla="*/ 101 w 1362"/>
                <a:gd name="T105" fmla="*/ 87 h 1308"/>
                <a:gd name="T106" fmla="*/ 85 w 1362"/>
                <a:gd name="T107" fmla="*/ 103 h 1308"/>
                <a:gd name="T108" fmla="*/ 67 w 1362"/>
                <a:gd name="T109" fmla="*/ 114 h 130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62"/>
                <a:gd name="T166" fmla="*/ 0 h 1308"/>
                <a:gd name="T167" fmla="*/ 1362 w 1362"/>
                <a:gd name="T168" fmla="*/ 1308 h 130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62" h="1308">
                  <a:moveTo>
                    <a:pt x="684" y="1278"/>
                  </a:moveTo>
                  <a:lnTo>
                    <a:pt x="672" y="1272"/>
                  </a:lnTo>
                  <a:lnTo>
                    <a:pt x="636" y="1266"/>
                  </a:lnTo>
                  <a:lnTo>
                    <a:pt x="582" y="1248"/>
                  </a:lnTo>
                  <a:lnTo>
                    <a:pt x="564" y="1230"/>
                  </a:lnTo>
                  <a:lnTo>
                    <a:pt x="540" y="1218"/>
                  </a:lnTo>
                  <a:lnTo>
                    <a:pt x="510" y="1218"/>
                  </a:lnTo>
                  <a:lnTo>
                    <a:pt x="498" y="1224"/>
                  </a:lnTo>
                  <a:lnTo>
                    <a:pt x="492" y="1230"/>
                  </a:lnTo>
                  <a:lnTo>
                    <a:pt x="474" y="1230"/>
                  </a:lnTo>
                  <a:lnTo>
                    <a:pt x="414" y="1230"/>
                  </a:lnTo>
                  <a:lnTo>
                    <a:pt x="396" y="1236"/>
                  </a:lnTo>
                  <a:lnTo>
                    <a:pt x="390" y="1248"/>
                  </a:lnTo>
                  <a:lnTo>
                    <a:pt x="372" y="1248"/>
                  </a:lnTo>
                  <a:lnTo>
                    <a:pt x="366" y="1242"/>
                  </a:lnTo>
                  <a:lnTo>
                    <a:pt x="366" y="1224"/>
                  </a:lnTo>
                  <a:lnTo>
                    <a:pt x="360" y="1224"/>
                  </a:lnTo>
                  <a:lnTo>
                    <a:pt x="354" y="1218"/>
                  </a:lnTo>
                  <a:lnTo>
                    <a:pt x="336" y="1206"/>
                  </a:lnTo>
                  <a:lnTo>
                    <a:pt x="330" y="1194"/>
                  </a:lnTo>
                  <a:lnTo>
                    <a:pt x="288" y="1200"/>
                  </a:lnTo>
                  <a:lnTo>
                    <a:pt x="288" y="1194"/>
                  </a:lnTo>
                  <a:lnTo>
                    <a:pt x="288" y="1182"/>
                  </a:lnTo>
                  <a:lnTo>
                    <a:pt x="288" y="1170"/>
                  </a:lnTo>
                  <a:lnTo>
                    <a:pt x="288" y="1164"/>
                  </a:lnTo>
                  <a:lnTo>
                    <a:pt x="282" y="1140"/>
                  </a:lnTo>
                  <a:lnTo>
                    <a:pt x="276" y="1134"/>
                  </a:lnTo>
                  <a:lnTo>
                    <a:pt x="258" y="1116"/>
                  </a:lnTo>
                  <a:lnTo>
                    <a:pt x="258" y="1110"/>
                  </a:lnTo>
                  <a:lnTo>
                    <a:pt x="252" y="1110"/>
                  </a:lnTo>
                  <a:lnTo>
                    <a:pt x="252" y="1104"/>
                  </a:lnTo>
                  <a:lnTo>
                    <a:pt x="252" y="1098"/>
                  </a:lnTo>
                  <a:lnTo>
                    <a:pt x="240" y="1092"/>
                  </a:lnTo>
                  <a:lnTo>
                    <a:pt x="234" y="1092"/>
                  </a:lnTo>
                  <a:lnTo>
                    <a:pt x="240" y="1086"/>
                  </a:lnTo>
                  <a:lnTo>
                    <a:pt x="234" y="1080"/>
                  </a:lnTo>
                  <a:lnTo>
                    <a:pt x="228" y="1080"/>
                  </a:lnTo>
                  <a:lnTo>
                    <a:pt x="228" y="1068"/>
                  </a:lnTo>
                  <a:lnTo>
                    <a:pt x="228" y="1056"/>
                  </a:lnTo>
                  <a:lnTo>
                    <a:pt x="222" y="1056"/>
                  </a:lnTo>
                  <a:lnTo>
                    <a:pt x="228" y="1044"/>
                  </a:lnTo>
                  <a:lnTo>
                    <a:pt x="228" y="1038"/>
                  </a:lnTo>
                  <a:lnTo>
                    <a:pt x="228" y="1032"/>
                  </a:lnTo>
                  <a:lnTo>
                    <a:pt x="234" y="1026"/>
                  </a:lnTo>
                  <a:lnTo>
                    <a:pt x="246" y="1020"/>
                  </a:lnTo>
                  <a:lnTo>
                    <a:pt x="252" y="1020"/>
                  </a:lnTo>
                  <a:lnTo>
                    <a:pt x="258" y="1014"/>
                  </a:lnTo>
                  <a:lnTo>
                    <a:pt x="264" y="1008"/>
                  </a:lnTo>
                  <a:lnTo>
                    <a:pt x="264" y="1002"/>
                  </a:lnTo>
                  <a:lnTo>
                    <a:pt x="270" y="984"/>
                  </a:lnTo>
                  <a:lnTo>
                    <a:pt x="276" y="978"/>
                  </a:lnTo>
                  <a:lnTo>
                    <a:pt x="300" y="978"/>
                  </a:lnTo>
                  <a:lnTo>
                    <a:pt x="306" y="972"/>
                  </a:lnTo>
                  <a:lnTo>
                    <a:pt x="312" y="966"/>
                  </a:lnTo>
                  <a:lnTo>
                    <a:pt x="324" y="936"/>
                  </a:lnTo>
                  <a:lnTo>
                    <a:pt x="330" y="930"/>
                  </a:lnTo>
                  <a:lnTo>
                    <a:pt x="330" y="924"/>
                  </a:lnTo>
                  <a:lnTo>
                    <a:pt x="336" y="918"/>
                  </a:lnTo>
                  <a:lnTo>
                    <a:pt x="342" y="912"/>
                  </a:lnTo>
                  <a:lnTo>
                    <a:pt x="342" y="906"/>
                  </a:lnTo>
                  <a:lnTo>
                    <a:pt x="342" y="900"/>
                  </a:lnTo>
                  <a:lnTo>
                    <a:pt x="342" y="894"/>
                  </a:lnTo>
                  <a:lnTo>
                    <a:pt x="342" y="888"/>
                  </a:lnTo>
                  <a:lnTo>
                    <a:pt x="336" y="876"/>
                  </a:lnTo>
                  <a:lnTo>
                    <a:pt x="342" y="870"/>
                  </a:lnTo>
                  <a:lnTo>
                    <a:pt x="336" y="864"/>
                  </a:lnTo>
                  <a:lnTo>
                    <a:pt x="336" y="858"/>
                  </a:lnTo>
                  <a:lnTo>
                    <a:pt x="330" y="852"/>
                  </a:lnTo>
                  <a:lnTo>
                    <a:pt x="318" y="852"/>
                  </a:lnTo>
                  <a:lnTo>
                    <a:pt x="306" y="858"/>
                  </a:lnTo>
                  <a:lnTo>
                    <a:pt x="264" y="864"/>
                  </a:lnTo>
                  <a:lnTo>
                    <a:pt x="234" y="858"/>
                  </a:lnTo>
                  <a:lnTo>
                    <a:pt x="228" y="858"/>
                  </a:lnTo>
                  <a:lnTo>
                    <a:pt x="198" y="858"/>
                  </a:lnTo>
                  <a:lnTo>
                    <a:pt x="174" y="858"/>
                  </a:lnTo>
                  <a:lnTo>
                    <a:pt x="168" y="852"/>
                  </a:lnTo>
                  <a:lnTo>
                    <a:pt x="168" y="840"/>
                  </a:lnTo>
                  <a:lnTo>
                    <a:pt x="168" y="834"/>
                  </a:lnTo>
                  <a:lnTo>
                    <a:pt x="168" y="822"/>
                  </a:lnTo>
                  <a:lnTo>
                    <a:pt x="162" y="822"/>
                  </a:lnTo>
                  <a:lnTo>
                    <a:pt x="150" y="816"/>
                  </a:lnTo>
                  <a:lnTo>
                    <a:pt x="144" y="810"/>
                  </a:lnTo>
                  <a:lnTo>
                    <a:pt x="144" y="804"/>
                  </a:lnTo>
                  <a:lnTo>
                    <a:pt x="144" y="786"/>
                  </a:lnTo>
                  <a:lnTo>
                    <a:pt x="144" y="780"/>
                  </a:lnTo>
                  <a:lnTo>
                    <a:pt x="144" y="774"/>
                  </a:lnTo>
                  <a:lnTo>
                    <a:pt x="132" y="756"/>
                  </a:lnTo>
                  <a:lnTo>
                    <a:pt x="120" y="756"/>
                  </a:lnTo>
                  <a:lnTo>
                    <a:pt x="84" y="750"/>
                  </a:lnTo>
                  <a:lnTo>
                    <a:pt x="78" y="744"/>
                  </a:lnTo>
                  <a:lnTo>
                    <a:pt x="60" y="744"/>
                  </a:lnTo>
                  <a:lnTo>
                    <a:pt x="54" y="726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66" y="720"/>
                  </a:lnTo>
                  <a:lnTo>
                    <a:pt x="66" y="714"/>
                  </a:lnTo>
                  <a:lnTo>
                    <a:pt x="72" y="714"/>
                  </a:lnTo>
                  <a:lnTo>
                    <a:pt x="72" y="708"/>
                  </a:lnTo>
                  <a:lnTo>
                    <a:pt x="78" y="702"/>
                  </a:lnTo>
                  <a:lnTo>
                    <a:pt x="78" y="696"/>
                  </a:lnTo>
                  <a:lnTo>
                    <a:pt x="78" y="690"/>
                  </a:lnTo>
                  <a:lnTo>
                    <a:pt x="84" y="678"/>
                  </a:lnTo>
                  <a:lnTo>
                    <a:pt x="90" y="666"/>
                  </a:lnTo>
                  <a:lnTo>
                    <a:pt x="90" y="642"/>
                  </a:lnTo>
                  <a:lnTo>
                    <a:pt x="84" y="648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66" y="642"/>
                  </a:lnTo>
                  <a:lnTo>
                    <a:pt x="60" y="642"/>
                  </a:lnTo>
                  <a:lnTo>
                    <a:pt x="54" y="636"/>
                  </a:lnTo>
                  <a:lnTo>
                    <a:pt x="30" y="570"/>
                  </a:lnTo>
                  <a:lnTo>
                    <a:pt x="24" y="564"/>
                  </a:lnTo>
                  <a:lnTo>
                    <a:pt x="18" y="570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6"/>
                  </a:lnTo>
                  <a:lnTo>
                    <a:pt x="6" y="540"/>
                  </a:lnTo>
                  <a:lnTo>
                    <a:pt x="0" y="522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2" y="480"/>
                  </a:lnTo>
                  <a:lnTo>
                    <a:pt x="6" y="480"/>
                  </a:lnTo>
                  <a:lnTo>
                    <a:pt x="0" y="474"/>
                  </a:lnTo>
                  <a:lnTo>
                    <a:pt x="0" y="450"/>
                  </a:lnTo>
                  <a:lnTo>
                    <a:pt x="6" y="450"/>
                  </a:lnTo>
                  <a:lnTo>
                    <a:pt x="12" y="450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32"/>
                  </a:lnTo>
                  <a:lnTo>
                    <a:pt x="30" y="426"/>
                  </a:lnTo>
                  <a:lnTo>
                    <a:pt x="36" y="402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2" y="366"/>
                  </a:lnTo>
                  <a:lnTo>
                    <a:pt x="48" y="360"/>
                  </a:lnTo>
                  <a:lnTo>
                    <a:pt x="48" y="342"/>
                  </a:lnTo>
                  <a:lnTo>
                    <a:pt x="42" y="330"/>
                  </a:lnTo>
                  <a:lnTo>
                    <a:pt x="36" y="324"/>
                  </a:lnTo>
                  <a:lnTo>
                    <a:pt x="42" y="306"/>
                  </a:lnTo>
                  <a:lnTo>
                    <a:pt x="42" y="270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48" y="258"/>
                  </a:lnTo>
                  <a:lnTo>
                    <a:pt x="72" y="252"/>
                  </a:lnTo>
                  <a:lnTo>
                    <a:pt x="66" y="204"/>
                  </a:lnTo>
                  <a:lnTo>
                    <a:pt x="60" y="198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8" y="13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84" y="96"/>
                  </a:lnTo>
                  <a:lnTo>
                    <a:pt x="90" y="84"/>
                  </a:lnTo>
                  <a:lnTo>
                    <a:pt x="108" y="72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20" y="60"/>
                  </a:lnTo>
                  <a:lnTo>
                    <a:pt x="120" y="54"/>
                  </a:lnTo>
                  <a:lnTo>
                    <a:pt x="120" y="48"/>
                  </a:lnTo>
                  <a:lnTo>
                    <a:pt x="126" y="48"/>
                  </a:lnTo>
                  <a:lnTo>
                    <a:pt x="132" y="42"/>
                  </a:lnTo>
                  <a:lnTo>
                    <a:pt x="132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240" y="18"/>
                  </a:lnTo>
                  <a:lnTo>
                    <a:pt x="246" y="42"/>
                  </a:lnTo>
                  <a:lnTo>
                    <a:pt x="240" y="72"/>
                  </a:lnTo>
                  <a:lnTo>
                    <a:pt x="246" y="78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8" y="108"/>
                  </a:lnTo>
                  <a:lnTo>
                    <a:pt x="276" y="114"/>
                  </a:lnTo>
                  <a:lnTo>
                    <a:pt x="294" y="150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82" y="186"/>
                  </a:lnTo>
                  <a:lnTo>
                    <a:pt x="282" y="192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76" y="216"/>
                  </a:lnTo>
                  <a:lnTo>
                    <a:pt x="288" y="240"/>
                  </a:lnTo>
                  <a:lnTo>
                    <a:pt x="312" y="228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66" y="228"/>
                  </a:lnTo>
                  <a:lnTo>
                    <a:pt x="372" y="228"/>
                  </a:lnTo>
                  <a:lnTo>
                    <a:pt x="372" y="222"/>
                  </a:lnTo>
                  <a:lnTo>
                    <a:pt x="378" y="222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6" y="222"/>
                  </a:lnTo>
                  <a:lnTo>
                    <a:pt x="402" y="222"/>
                  </a:lnTo>
                  <a:lnTo>
                    <a:pt x="402" y="228"/>
                  </a:lnTo>
                  <a:lnTo>
                    <a:pt x="408" y="228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26" y="216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68" y="258"/>
                  </a:lnTo>
                  <a:lnTo>
                    <a:pt x="462" y="264"/>
                  </a:lnTo>
                  <a:lnTo>
                    <a:pt x="468" y="264"/>
                  </a:lnTo>
                  <a:lnTo>
                    <a:pt x="468" y="270"/>
                  </a:lnTo>
                  <a:lnTo>
                    <a:pt x="474" y="270"/>
                  </a:lnTo>
                  <a:lnTo>
                    <a:pt x="480" y="276"/>
                  </a:lnTo>
                  <a:lnTo>
                    <a:pt x="474" y="282"/>
                  </a:lnTo>
                  <a:lnTo>
                    <a:pt x="474" y="288"/>
                  </a:lnTo>
                  <a:lnTo>
                    <a:pt x="462" y="294"/>
                  </a:lnTo>
                  <a:lnTo>
                    <a:pt x="468" y="324"/>
                  </a:lnTo>
                  <a:lnTo>
                    <a:pt x="462" y="336"/>
                  </a:lnTo>
                  <a:lnTo>
                    <a:pt x="456" y="354"/>
                  </a:lnTo>
                  <a:lnTo>
                    <a:pt x="432" y="390"/>
                  </a:lnTo>
                  <a:lnTo>
                    <a:pt x="420" y="390"/>
                  </a:lnTo>
                  <a:lnTo>
                    <a:pt x="402" y="390"/>
                  </a:lnTo>
                  <a:lnTo>
                    <a:pt x="396" y="396"/>
                  </a:lnTo>
                  <a:lnTo>
                    <a:pt x="390" y="396"/>
                  </a:lnTo>
                  <a:lnTo>
                    <a:pt x="390" y="402"/>
                  </a:lnTo>
                  <a:lnTo>
                    <a:pt x="384" y="402"/>
                  </a:lnTo>
                  <a:lnTo>
                    <a:pt x="408" y="432"/>
                  </a:lnTo>
                  <a:lnTo>
                    <a:pt x="432" y="438"/>
                  </a:lnTo>
                  <a:lnTo>
                    <a:pt x="456" y="432"/>
                  </a:lnTo>
                  <a:lnTo>
                    <a:pt x="468" y="426"/>
                  </a:lnTo>
                  <a:lnTo>
                    <a:pt x="468" y="444"/>
                  </a:lnTo>
                  <a:lnTo>
                    <a:pt x="468" y="450"/>
                  </a:lnTo>
                  <a:lnTo>
                    <a:pt x="468" y="474"/>
                  </a:lnTo>
                  <a:lnTo>
                    <a:pt x="486" y="480"/>
                  </a:lnTo>
                  <a:lnTo>
                    <a:pt x="486" y="486"/>
                  </a:lnTo>
                  <a:lnTo>
                    <a:pt x="492" y="498"/>
                  </a:lnTo>
                  <a:lnTo>
                    <a:pt x="492" y="504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504" y="516"/>
                  </a:lnTo>
                  <a:lnTo>
                    <a:pt x="510" y="516"/>
                  </a:lnTo>
                  <a:lnTo>
                    <a:pt x="522" y="528"/>
                  </a:lnTo>
                  <a:lnTo>
                    <a:pt x="546" y="540"/>
                  </a:lnTo>
                  <a:lnTo>
                    <a:pt x="552" y="546"/>
                  </a:lnTo>
                  <a:lnTo>
                    <a:pt x="570" y="552"/>
                  </a:lnTo>
                  <a:lnTo>
                    <a:pt x="594" y="552"/>
                  </a:lnTo>
                  <a:lnTo>
                    <a:pt x="606" y="546"/>
                  </a:lnTo>
                  <a:lnTo>
                    <a:pt x="612" y="540"/>
                  </a:lnTo>
                  <a:lnTo>
                    <a:pt x="630" y="540"/>
                  </a:lnTo>
                  <a:lnTo>
                    <a:pt x="630" y="552"/>
                  </a:lnTo>
                  <a:lnTo>
                    <a:pt x="654" y="552"/>
                  </a:lnTo>
                  <a:lnTo>
                    <a:pt x="702" y="558"/>
                  </a:lnTo>
                  <a:lnTo>
                    <a:pt x="762" y="546"/>
                  </a:lnTo>
                  <a:lnTo>
                    <a:pt x="780" y="546"/>
                  </a:lnTo>
                  <a:lnTo>
                    <a:pt x="780" y="528"/>
                  </a:lnTo>
                  <a:lnTo>
                    <a:pt x="798" y="522"/>
                  </a:lnTo>
                  <a:lnTo>
                    <a:pt x="810" y="510"/>
                  </a:lnTo>
                  <a:lnTo>
                    <a:pt x="810" y="504"/>
                  </a:lnTo>
                  <a:lnTo>
                    <a:pt x="828" y="492"/>
                  </a:lnTo>
                  <a:lnTo>
                    <a:pt x="888" y="486"/>
                  </a:lnTo>
                  <a:lnTo>
                    <a:pt x="912" y="486"/>
                  </a:lnTo>
                  <a:lnTo>
                    <a:pt x="930" y="474"/>
                  </a:lnTo>
                  <a:lnTo>
                    <a:pt x="918" y="456"/>
                  </a:lnTo>
                  <a:lnTo>
                    <a:pt x="912" y="450"/>
                  </a:lnTo>
                  <a:lnTo>
                    <a:pt x="918" y="390"/>
                  </a:lnTo>
                  <a:lnTo>
                    <a:pt x="954" y="396"/>
                  </a:lnTo>
                  <a:lnTo>
                    <a:pt x="984" y="402"/>
                  </a:lnTo>
                  <a:lnTo>
                    <a:pt x="1014" y="420"/>
                  </a:lnTo>
                  <a:lnTo>
                    <a:pt x="1026" y="432"/>
                  </a:lnTo>
                  <a:lnTo>
                    <a:pt x="1044" y="450"/>
                  </a:lnTo>
                  <a:lnTo>
                    <a:pt x="1062" y="462"/>
                  </a:lnTo>
                  <a:lnTo>
                    <a:pt x="1098" y="468"/>
                  </a:lnTo>
                  <a:lnTo>
                    <a:pt x="1128" y="480"/>
                  </a:lnTo>
                  <a:lnTo>
                    <a:pt x="1152" y="486"/>
                  </a:lnTo>
                  <a:lnTo>
                    <a:pt x="1188" y="498"/>
                  </a:lnTo>
                  <a:lnTo>
                    <a:pt x="1212" y="504"/>
                  </a:lnTo>
                  <a:lnTo>
                    <a:pt x="1224" y="528"/>
                  </a:lnTo>
                  <a:lnTo>
                    <a:pt x="1236" y="540"/>
                  </a:lnTo>
                  <a:lnTo>
                    <a:pt x="1254" y="540"/>
                  </a:lnTo>
                  <a:lnTo>
                    <a:pt x="1254" y="546"/>
                  </a:lnTo>
                  <a:lnTo>
                    <a:pt x="1260" y="552"/>
                  </a:lnTo>
                  <a:lnTo>
                    <a:pt x="1266" y="552"/>
                  </a:lnTo>
                  <a:lnTo>
                    <a:pt x="1266" y="558"/>
                  </a:lnTo>
                  <a:lnTo>
                    <a:pt x="1272" y="564"/>
                  </a:lnTo>
                  <a:lnTo>
                    <a:pt x="1278" y="564"/>
                  </a:lnTo>
                  <a:lnTo>
                    <a:pt x="1278" y="570"/>
                  </a:lnTo>
                  <a:lnTo>
                    <a:pt x="1284" y="576"/>
                  </a:lnTo>
                  <a:lnTo>
                    <a:pt x="1290" y="582"/>
                  </a:lnTo>
                  <a:lnTo>
                    <a:pt x="1296" y="582"/>
                  </a:lnTo>
                  <a:lnTo>
                    <a:pt x="1296" y="588"/>
                  </a:lnTo>
                  <a:lnTo>
                    <a:pt x="1308" y="594"/>
                  </a:lnTo>
                  <a:lnTo>
                    <a:pt x="1308" y="600"/>
                  </a:lnTo>
                  <a:lnTo>
                    <a:pt x="1308" y="606"/>
                  </a:lnTo>
                  <a:lnTo>
                    <a:pt x="1314" y="612"/>
                  </a:lnTo>
                  <a:lnTo>
                    <a:pt x="1308" y="618"/>
                  </a:lnTo>
                  <a:lnTo>
                    <a:pt x="1314" y="618"/>
                  </a:lnTo>
                  <a:lnTo>
                    <a:pt x="1314" y="624"/>
                  </a:lnTo>
                  <a:lnTo>
                    <a:pt x="1308" y="624"/>
                  </a:lnTo>
                  <a:lnTo>
                    <a:pt x="1302" y="630"/>
                  </a:lnTo>
                  <a:lnTo>
                    <a:pt x="1302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296" y="654"/>
                  </a:lnTo>
                  <a:lnTo>
                    <a:pt x="1302" y="660"/>
                  </a:lnTo>
                  <a:lnTo>
                    <a:pt x="1302" y="666"/>
                  </a:lnTo>
                  <a:lnTo>
                    <a:pt x="1308" y="666"/>
                  </a:lnTo>
                  <a:lnTo>
                    <a:pt x="1308" y="672"/>
                  </a:lnTo>
                  <a:lnTo>
                    <a:pt x="1308" y="678"/>
                  </a:lnTo>
                  <a:lnTo>
                    <a:pt x="1308" y="684"/>
                  </a:lnTo>
                  <a:lnTo>
                    <a:pt x="1308" y="690"/>
                  </a:lnTo>
                  <a:lnTo>
                    <a:pt x="1302" y="696"/>
                  </a:lnTo>
                  <a:lnTo>
                    <a:pt x="1302" y="702"/>
                  </a:lnTo>
                  <a:lnTo>
                    <a:pt x="1308" y="702"/>
                  </a:lnTo>
                  <a:lnTo>
                    <a:pt x="1302" y="708"/>
                  </a:lnTo>
                  <a:lnTo>
                    <a:pt x="1308" y="714"/>
                  </a:lnTo>
                  <a:lnTo>
                    <a:pt x="1308" y="720"/>
                  </a:lnTo>
                  <a:lnTo>
                    <a:pt x="1308" y="726"/>
                  </a:lnTo>
                  <a:lnTo>
                    <a:pt x="1308" y="732"/>
                  </a:lnTo>
                  <a:lnTo>
                    <a:pt x="1314" y="732"/>
                  </a:lnTo>
                  <a:lnTo>
                    <a:pt x="1314" y="738"/>
                  </a:lnTo>
                  <a:lnTo>
                    <a:pt x="1320" y="744"/>
                  </a:lnTo>
                  <a:lnTo>
                    <a:pt x="1326" y="750"/>
                  </a:lnTo>
                  <a:lnTo>
                    <a:pt x="1320" y="750"/>
                  </a:lnTo>
                  <a:lnTo>
                    <a:pt x="1320" y="756"/>
                  </a:lnTo>
                  <a:lnTo>
                    <a:pt x="1314" y="756"/>
                  </a:lnTo>
                  <a:lnTo>
                    <a:pt x="1314" y="762"/>
                  </a:lnTo>
                  <a:lnTo>
                    <a:pt x="1314" y="768"/>
                  </a:lnTo>
                  <a:lnTo>
                    <a:pt x="1320" y="768"/>
                  </a:lnTo>
                  <a:lnTo>
                    <a:pt x="1320" y="762"/>
                  </a:lnTo>
                  <a:lnTo>
                    <a:pt x="1320" y="768"/>
                  </a:lnTo>
                  <a:lnTo>
                    <a:pt x="1326" y="774"/>
                  </a:lnTo>
                  <a:lnTo>
                    <a:pt x="1332" y="774"/>
                  </a:lnTo>
                  <a:lnTo>
                    <a:pt x="1332" y="780"/>
                  </a:lnTo>
                  <a:lnTo>
                    <a:pt x="1332" y="786"/>
                  </a:lnTo>
                  <a:lnTo>
                    <a:pt x="1332" y="792"/>
                  </a:lnTo>
                  <a:lnTo>
                    <a:pt x="1338" y="786"/>
                  </a:lnTo>
                  <a:lnTo>
                    <a:pt x="1338" y="792"/>
                  </a:lnTo>
                  <a:lnTo>
                    <a:pt x="1344" y="798"/>
                  </a:lnTo>
                  <a:lnTo>
                    <a:pt x="1344" y="804"/>
                  </a:lnTo>
                  <a:lnTo>
                    <a:pt x="1344" y="810"/>
                  </a:lnTo>
                  <a:lnTo>
                    <a:pt x="1344" y="816"/>
                  </a:lnTo>
                  <a:lnTo>
                    <a:pt x="1344" y="822"/>
                  </a:lnTo>
                  <a:lnTo>
                    <a:pt x="1338" y="828"/>
                  </a:lnTo>
                  <a:lnTo>
                    <a:pt x="1332" y="828"/>
                  </a:lnTo>
                  <a:lnTo>
                    <a:pt x="1338" y="840"/>
                  </a:lnTo>
                  <a:lnTo>
                    <a:pt x="1344" y="846"/>
                  </a:lnTo>
                  <a:lnTo>
                    <a:pt x="1344" y="852"/>
                  </a:lnTo>
                  <a:lnTo>
                    <a:pt x="1350" y="852"/>
                  </a:lnTo>
                  <a:lnTo>
                    <a:pt x="1356" y="858"/>
                  </a:lnTo>
                  <a:lnTo>
                    <a:pt x="1362" y="858"/>
                  </a:lnTo>
                  <a:lnTo>
                    <a:pt x="1362" y="870"/>
                  </a:lnTo>
                  <a:lnTo>
                    <a:pt x="1356" y="870"/>
                  </a:lnTo>
                  <a:lnTo>
                    <a:pt x="1356" y="876"/>
                  </a:lnTo>
                  <a:lnTo>
                    <a:pt x="1350" y="876"/>
                  </a:lnTo>
                  <a:lnTo>
                    <a:pt x="1344" y="876"/>
                  </a:lnTo>
                  <a:lnTo>
                    <a:pt x="1344" y="882"/>
                  </a:lnTo>
                  <a:lnTo>
                    <a:pt x="1338" y="882"/>
                  </a:lnTo>
                  <a:lnTo>
                    <a:pt x="1338" y="888"/>
                  </a:lnTo>
                  <a:lnTo>
                    <a:pt x="1338" y="894"/>
                  </a:lnTo>
                  <a:lnTo>
                    <a:pt x="1344" y="900"/>
                  </a:lnTo>
                  <a:lnTo>
                    <a:pt x="1344" y="906"/>
                  </a:lnTo>
                  <a:lnTo>
                    <a:pt x="1338" y="906"/>
                  </a:lnTo>
                  <a:lnTo>
                    <a:pt x="1332" y="912"/>
                  </a:lnTo>
                  <a:lnTo>
                    <a:pt x="1332" y="918"/>
                  </a:lnTo>
                  <a:lnTo>
                    <a:pt x="1326" y="918"/>
                  </a:lnTo>
                  <a:lnTo>
                    <a:pt x="1332" y="924"/>
                  </a:lnTo>
                  <a:lnTo>
                    <a:pt x="1284" y="942"/>
                  </a:lnTo>
                  <a:lnTo>
                    <a:pt x="1236" y="948"/>
                  </a:lnTo>
                  <a:lnTo>
                    <a:pt x="1194" y="966"/>
                  </a:lnTo>
                  <a:lnTo>
                    <a:pt x="1170" y="1002"/>
                  </a:lnTo>
                  <a:lnTo>
                    <a:pt x="1134" y="1020"/>
                  </a:lnTo>
                  <a:lnTo>
                    <a:pt x="1116" y="1032"/>
                  </a:lnTo>
                  <a:lnTo>
                    <a:pt x="1098" y="1050"/>
                  </a:lnTo>
                  <a:lnTo>
                    <a:pt x="1074" y="1074"/>
                  </a:lnTo>
                  <a:lnTo>
                    <a:pt x="1008" y="1134"/>
                  </a:lnTo>
                  <a:lnTo>
                    <a:pt x="990" y="1158"/>
                  </a:lnTo>
                  <a:lnTo>
                    <a:pt x="978" y="1182"/>
                  </a:lnTo>
                  <a:lnTo>
                    <a:pt x="960" y="1194"/>
                  </a:lnTo>
                  <a:lnTo>
                    <a:pt x="942" y="1212"/>
                  </a:lnTo>
                  <a:lnTo>
                    <a:pt x="912" y="1242"/>
                  </a:lnTo>
                  <a:lnTo>
                    <a:pt x="888" y="1254"/>
                  </a:lnTo>
                  <a:lnTo>
                    <a:pt x="864" y="1278"/>
                  </a:lnTo>
                  <a:lnTo>
                    <a:pt x="828" y="1296"/>
                  </a:lnTo>
                  <a:lnTo>
                    <a:pt x="774" y="1308"/>
                  </a:lnTo>
                  <a:lnTo>
                    <a:pt x="732" y="1302"/>
                  </a:lnTo>
                  <a:lnTo>
                    <a:pt x="702" y="1284"/>
                  </a:lnTo>
                  <a:lnTo>
                    <a:pt x="684" y="12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1" name="Freeform 16">
              <a:extLst>
                <a:ext uri="{FF2B5EF4-FFF2-40B4-BE49-F238E27FC236}">
                  <a16:creationId xmlns:a16="http://schemas.microsoft.com/office/drawing/2014/main" id="{D8D8591A-D9DB-4301-BEBD-D8F5A26DA9E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3001" y="2929369"/>
              <a:ext cx="914601" cy="1037736"/>
            </a:xfrm>
            <a:custGeom>
              <a:avLst/>
              <a:gdLst>
                <a:gd name="T0" fmla="*/ 144 w 1722"/>
                <a:gd name="T1" fmla="*/ 131 h 1956"/>
                <a:gd name="T2" fmla="*/ 142 w 1722"/>
                <a:gd name="T3" fmla="*/ 139 h 1956"/>
                <a:gd name="T4" fmla="*/ 137 w 1722"/>
                <a:gd name="T5" fmla="*/ 143 h 1956"/>
                <a:gd name="T6" fmla="*/ 133 w 1722"/>
                <a:gd name="T7" fmla="*/ 147 h 1956"/>
                <a:gd name="T8" fmla="*/ 132 w 1722"/>
                <a:gd name="T9" fmla="*/ 152 h 1956"/>
                <a:gd name="T10" fmla="*/ 130 w 1722"/>
                <a:gd name="T11" fmla="*/ 159 h 1956"/>
                <a:gd name="T12" fmla="*/ 127 w 1722"/>
                <a:gd name="T13" fmla="*/ 164 h 1956"/>
                <a:gd name="T14" fmla="*/ 123 w 1722"/>
                <a:gd name="T15" fmla="*/ 168 h 1956"/>
                <a:gd name="T16" fmla="*/ 117 w 1722"/>
                <a:gd name="T17" fmla="*/ 169 h 1956"/>
                <a:gd name="T18" fmla="*/ 110 w 1722"/>
                <a:gd name="T19" fmla="*/ 168 h 1956"/>
                <a:gd name="T20" fmla="*/ 104 w 1722"/>
                <a:gd name="T21" fmla="*/ 166 h 1956"/>
                <a:gd name="T22" fmla="*/ 101 w 1722"/>
                <a:gd name="T23" fmla="*/ 159 h 1956"/>
                <a:gd name="T24" fmla="*/ 95 w 1722"/>
                <a:gd name="T25" fmla="*/ 156 h 1956"/>
                <a:gd name="T26" fmla="*/ 89 w 1722"/>
                <a:gd name="T27" fmla="*/ 151 h 1956"/>
                <a:gd name="T28" fmla="*/ 87 w 1722"/>
                <a:gd name="T29" fmla="*/ 144 h 1956"/>
                <a:gd name="T30" fmla="*/ 82 w 1722"/>
                <a:gd name="T31" fmla="*/ 141 h 1956"/>
                <a:gd name="T32" fmla="*/ 76 w 1722"/>
                <a:gd name="T33" fmla="*/ 134 h 1956"/>
                <a:gd name="T34" fmla="*/ 74 w 1722"/>
                <a:gd name="T35" fmla="*/ 143 h 1956"/>
                <a:gd name="T36" fmla="*/ 68 w 1722"/>
                <a:gd name="T37" fmla="*/ 147 h 1956"/>
                <a:gd name="T38" fmla="*/ 54 w 1722"/>
                <a:gd name="T39" fmla="*/ 144 h 1956"/>
                <a:gd name="T40" fmla="*/ 51 w 1722"/>
                <a:gd name="T41" fmla="*/ 142 h 1956"/>
                <a:gd name="T42" fmla="*/ 42 w 1722"/>
                <a:gd name="T43" fmla="*/ 151 h 1956"/>
                <a:gd name="T44" fmla="*/ 33 w 1722"/>
                <a:gd name="T45" fmla="*/ 154 h 1956"/>
                <a:gd name="T46" fmla="*/ 31 w 1722"/>
                <a:gd name="T47" fmla="*/ 159 h 1956"/>
                <a:gd name="T48" fmla="*/ 29 w 1722"/>
                <a:gd name="T49" fmla="*/ 166 h 1956"/>
                <a:gd name="T50" fmla="*/ 25 w 1722"/>
                <a:gd name="T51" fmla="*/ 169 h 1956"/>
                <a:gd name="T52" fmla="*/ 27 w 1722"/>
                <a:gd name="T53" fmla="*/ 154 h 1956"/>
                <a:gd name="T54" fmla="*/ 37 w 1722"/>
                <a:gd name="T55" fmla="*/ 133 h 1956"/>
                <a:gd name="T56" fmla="*/ 36 w 1722"/>
                <a:gd name="T57" fmla="*/ 109 h 1956"/>
                <a:gd name="T58" fmla="*/ 27 w 1722"/>
                <a:gd name="T59" fmla="*/ 101 h 1956"/>
                <a:gd name="T60" fmla="*/ 5 w 1722"/>
                <a:gd name="T61" fmla="*/ 98 h 1956"/>
                <a:gd name="T62" fmla="*/ 2 w 1722"/>
                <a:gd name="T63" fmla="*/ 93 h 1956"/>
                <a:gd name="T64" fmla="*/ 12 w 1722"/>
                <a:gd name="T65" fmla="*/ 82 h 1956"/>
                <a:gd name="T66" fmla="*/ 9 w 1722"/>
                <a:gd name="T67" fmla="*/ 74 h 1956"/>
                <a:gd name="T68" fmla="*/ 23 w 1722"/>
                <a:gd name="T69" fmla="*/ 72 h 1956"/>
                <a:gd name="T70" fmla="*/ 22 w 1722"/>
                <a:gd name="T71" fmla="*/ 67 h 1956"/>
                <a:gd name="T72" fmla="*/ 48 w 1722"/>
                <a:gd name="T73" fmla="*/ 57 h 1956"/>
                <a:gd name="T74" fmla="*/ 78 w 1722"/>
                <a:gd name="T75" fmla="*/ 34 h 1956"/>
                <a:gd name="T76" fmla="*/ 81 w 1722"/>
                <a:gd name="T77" fmla="*/ 31 h 1956"/>
                <a:gd name="T78" fmla="*/ 80 w 1722"/>
                <a:gd name="T79" fmla="*/ 26 h 1956"/>
                <a:gd name="T80" fmla="*/ 78 w 1722"/>
                <a:gd name="T81" fmla="*/ 21 h 1956"/>
                <a:gd name="T82" fmla="*/ 77 w 1722"/>
                <a:gd name="T83" fmla="*/ 18 h 1956"/>
                <a:gd name="T84" fmla="*/ 77 w 1722"/>
                <a:gd name="T85" fmla="*/ 12 h 1956"/>
                <a:gd name="T86" fmla="*/ 77 w 1722"/>
                <a:gd name="T87" fmla="*/ 7 h 1956"/>
                <a:gd name="T88" fmla="*/ 102 w 1722"/>
                <a:gd name="T89" fmla="*/ 2 h 1956"/>
                <a:gd name="T90" fmla="*/ 115 w 1722"/>
                <a:gd name="T91" fmla="*/ 3 h 1956"/>
                <a:gd name="T92" fmla="*/ 123 w 1722"/>
                <a:gd name="T93" fmla="*/ 3 h 1956"/>
                <a:gd name="T94" fmla="*/ 125 w 1722"/>
                <a:gd name="T95" fmla="*/ 9 h 1956"/>
                <a:gd name="T96" fmla="*/ 133 w 1722"/>
                <a:gd name="T97" fmla="*/ 13 h 1956"/>
                <a:gd name="T98" fmla="*/ 149 w 1722"/>
                <a:gd name="T99" fmla="*/ 37 h 1956"/>
                <a:gd name="T100" fmla="*/ 141 w 1722"/>
                <a:gd name="T101" fmla="*/ 57 h 1956"/>
                <a:gd name="T102" fmla="*/ 135 w 1722"/>
                <a:gd name="T103" fmla="*/ 63 h 1956"/>
                <a:gd name="T104" fmla="*/ 124 w 1722"/>
                <a:gd name="T105" fmla="*/ 77 h 1956"/>
                <a:gd name="T106" fmla="*/ 123 w 1722"/>
                <a:gd name="T107" fmla="*/ 96 h 1956"/>
                <a:gd name="T108" fmla="*/ 127 w 1722"/>
                <a:gd name="T109" fmla="*/ 97 h 1956"/>
                <a:gd name="T110" fmla="*/ 129 w 1722"/>
                <a:gd name="T111" fmla="*/ 92 h 1956"/>
                <a:gd name="T112" fmla="*/ 134 w 1722"/>
                <a:gd name="T113" fmla="*/ 94 h 1956"/>
                <a:gd name="T114" fmla="*/ 138 w 1722"/>
                <a:gd name="T115" fmla="*/ 99 h 1956"/>
                <a:gd name="T116" fmla="*/ 142 w 1722"/>
                <a:gd name="T117" fmla="*/ 104 h 1956"/>
                <a:gd name="T118" fmla="*/ 141 w 1722"/>
                <a:gd name="T119" fmla="*/ 115 h 19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722"/>
                <a:gd name="T181" fmla="*/ 0 h 1956"/>
                <a:gd name="T182" fmla="*/ 1722 w 1722"/>
                <a:gd name="T183" fmla="*/ 1956 h 19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722" h="1956">
                  <a:moveTo>
                    <a:pt x="1686" y="1404"/>
                  </a:moveTo>
                  <a:lnTo>
                    <a:pt x="1680" y="1416"/>
                  </a:lnTo>
                  <a:lnTo>
                    <a:pt x="1674" y="1422"/>
                  </a:lnTo>
                  <a:lnTo>
                    <a:pt x="1674" y="1428"/>
                  </a:lnTo>
                  <a:lnTo>
                    <a:pt x="1668" y="1428"/>
                  </a:lnTo>
                  <a:lnTo>
                    <a:pt x="1668" y="1434"/>
                  </a:lnTo>
                  <a:lnTo>
                    <a:pt x="1662" y="1446"/>
                  </a:lnTo>
                  <a:lnTo>
                    <a:pt x="1656" y="1464"/>
                  </a:lnTo>
                  <a:lnTo>
                    <a:pt x="1656" y="1476"/>
                  </a:lnTo>
                  <a:lnTo>
                    <a:pt x="1656" y="1488"/>
                  </a:lnTo>
                  <a:lnTo>
                    <a:pt x="1662" y="1500"/>
                  </a:lnTo>
                  <a:lnTo>
                    <a:pt x="1662" y="1506"/>
                  </a:lnTo>
                  <a:lnTo>
                    <a:pt x="1662" y="1524"/>
                  </a:lnTo>
                  <a:lnTo>
                    <a:pt x="1668" y="1542"/>
                  </a:lnTo>
                  <a:lnTo>
                    <a:pt x="1674" y="1560"/>
                  </a:lnTo>
                  <a:lnTo>
                    <a:pt x="1680" y="1578"/>
                  </a:lnTo>
                  <a:lnTo>
                    <a:pt x="1686" y="1578"/>
                  </a:lnTo>
                  <a:lnTo>
                    <a:pt x="1686" y="1584"/>
                  </a:lnTo>
                  <a:lnTo>
                    <a:pt x="1686" y="1590"/>
                  </a:lnTo>
                  <a:lnTo>
                    <a:pt x="1686" y="1596"/>
                  </a:lnTo>
                  <a:lnTo>
                    <a:pt x="1680" y="1596"/>
                  </a:lnTo>
                  <a:lnTo>
                    <a:pt x="1674" y="1602"/>
                  </a:lnTo>
                  <a:lnTo>
                    <a:pt x="1662" y="1602"/>
                  </a:lnTo>
                  <a:lnTo>
                    <a:pt x="1638" y="1596"/>
                  </a:lnTo>
                  <a:lnTo>
                    <a:pt x="1632" y="1596"/>
                  </a:lnTo>
                  <a:lnTo>
                    <a:pt x="1626" y="1602"/>
                  </a:lnTo>
                  <a:lnTo>
                    <a:pt x="1620" y="1602"/>
                  </a:lnTo>
                  <a:lnTo>
                    <a:pt x="1614" y="1602"/>
                  </a:lnTo>
                  <a:lnTo>
                    <a:pt x="1602" y="1602"/>
                  </a:lnTo>
                  <a:lnTo>
                    <a:pt x="1602" y="1608"/>
                  </a:lnTo>
                  <a:lnTo>
                    <a:pt x="1602" y="1620"/>
                  </a:lnTo>
                  <a:lnTo>
                    <a:pt x="1596" y="1620"/>
                  </a:lnTo>
                  <a:lnTo>
                    <a:pt x="1590" y="1620"/>
                  </a:lnTo>
                  <a:lnTo>
                    <a:pt x="1584" y="1626"/>
                  </a:lnTo>
                  <a:lnTo>
                    <a:pt x="1584" y="1632"/>
                  </a:lnTo>
                  <a:lnTo>
                    <a:pt x="1578" y="1644"/>
                  </a:lnTo>
                  <a:lnTo>
                    <a:pt x="1572" y="1644"/>
                  </a:lnTo>
                  <a:lnTo>
                    <a:pt x="1566" y="1644"/>
                  </a:lnTo>
                  <a:lnTo>
                    <a:pt x="1566" y="1650"/>
                  </a:lnTo>
                  <a:lnTo>
                    <a:pt x="1560" y="1650"/>
                  </a:lnTo>
                  <a:lnTo>
                    <a:pt x="1554" y="1650"/>
                  </a:lnTo>
                  <a:lnTo>
                    <a:pt x="1548" y="1650"/>
                  </a:lnTo>
                  <a:lnTo>
                    <a:pt x="1548" y="1656"/>
                  </a:lnTo>
                  <a:lnTo>
                    <a:pt x="1542" y="1668"/>
                  </a:lnTo>
                  <a:lnTo>
                    <a:pt x="1542" y="1674"/>
                  </a:lnTo>
                  <a:lnTo>
                    <a:pt x="1542" y="1692"/>
                  </a:lnTo>
                  <a:lnTo>
                    <a:pt x="1536" y="1698"/>
                  </a:lnTo>
                  <a:lnTo>
                    <a:pt x="1530" y="1698"/>
                  </a:lnTo>
                  <a:lnTo>
                    <a:pt x="1524" y="1698"/>
                  </a:lnTo>
                  <a:lnTo>
                    <a:pt x="1518" y="1704"/>
                  </a:lnTo>
                  <a:lnTo>
                    <a:pt x="1512" y="1710"/>
                  </a:lnTo>
                  <a:lnTo>
                    <a:pt x="1506" y="1722"/>
                  </a:lnTo>
                  <a:lnTo>
                    <a:pt x="1500" y="1728"/>
                  </a:lnTo>
                  <a:lnTo>
                    <a:pt x="1500" y="1734"/>
                  </a:lnTo>
                  <a:lnTo>
                    <a:pt x="1512" y="1734"/>
                  </a:lnTo>
                  <a:lnTo>
                    <a:pt x="1518" y="1740"/>
                  </a:lnTo>
                  <a:lnTo>
                    <a:pt x="1518" y="1746"/>
                  </a:lnTo>
                  <a:lnTo>
                    <a:pt x="1518" y="1752"/>
                  </a:lnTo>
                  <a:lnTo>
                    <a:pt x="1518" y="1758"/>
                  </a:lnTo>
                  <a:lnTo>
                    <a:pt x="1524" y="1758"/>
                  </a:lnTo>
                  <a:lnTo>
                    <a:pt x="1524" y="1764"/>
                  </a:lnTo>
                  <a:lnTo>
                    <a:pt x="1530" y="1770"/>
                  </a:lnTo>
                  <a:lnTo>
                    <a:pt x="1518" y="1770"/>
                  </a:lnTo>
                  <a:lnTo>
                    <a:pt x="1512" y="1782"/>
                  </a:lnTo>
                  <a:lnTo>
                    <a:pt x="1512" y="1788"/>
                  </a:lnTo>
                  <a:lnTo>
                    <a:pt x="1518" y="1788"/>
                  </a:lnTo>
                  <a:lnTo>
                    <a:pt x="1524" y="1800"/>
                  </a:lnTo>
                  <a:lnTo>
                    <a:pt x="1524" y="1806"/>
                  </a:lnTo>
                  <a:lnTo>
                    <a:pt x="1518" y="1812"/>
                  </a:lnTo>
                  <a:lnTo>
                    <a:pt x="1512" y="1818"/>
                  </a:lnTo>
                  <a:lnTo>
                    <a:pt x="1506" y="1818"/>
                  </a:lnTo>
                  <a:lnTo>
                    <a:pt x="1500" y="1824"/>
                  </a:lnTo>
                  <a:lnTo>
                    <a:pt x="1500" y="1836"/>
                  </a:lnTo>
                  <a:lnTo>
                    <a:pt x="1500" y="1842"/>
                  </a:lnTo>
                  <a:lnTo>
                    <a:pt x="1500" y="1848"/>
                  </a:lnTo>
                  <a:lnTo>
                    <a:pt x="1500" y="1854"/>
                  </a:lnTo>
                  <a:lnTo>
                    <a:pt x="1494" y="1860"/>
                  </a:lnTo>
                  <a:lnTo>
                    <a:pt x="1488" y="1860"/>
                  </a:lnTo>
                  <a:lnTo>
                    <a:pt x="1488" y="1866"/>
                  </a:lnTo>
                  <a:lnTo>
                    <a:pt x="1482" y="1872"/>
                  </a:lnTo>
                  <a:lnTo>
                    <a:pt x="1482" y="1878"/>
                  </a:lnTo>
                  <a:lnTo>
                    <a:pt x="1482" y="1884"/>
                  </a:lnTo>
                  <a:lnTo>
                    <a:pt x="1476" y="1890"/>
                  </a:lnTo>
                  <a:lnTo>
                    <a:pt x="1470" y="1890"/>
                  </a:lnTo>
                  <a:lnTo>
                    <a:pt x="1470" y="1896"/>
                  </a:lnTo>
                  <a:lnTo>
                    <a:pt x="1464" y="1896"/>
                  </a:lnTo>
                  <a:lnTo>
                    <a:pt x="1458" y="1896"/>
                  </a:lnTo>
                  <a:lnTo>
                    <a:pt x="1452" y="1896"/>
                  </a:lnTo>
                  <a:lnTo>
                    <a:pt x="1440" y="1890"/>
                  </a:lnTo>
                  <a:lnTo>
                    <a:pt x="1434" y="1896"/>
                  </a:lnTo>
                  <a:lnTo>
                    <a:pt x="1428" y="1896"/>
                  </a:lnTo>
                  <a:lnTo>
                    <a:pt x="1422" y="1896"/>
                  </a:lnTo>
                  <a:lnTo>
                    <a:pt x="1422" y="1902"/>
                  </a:lnTo>
                  <a:lnTo>
                    <a:pt x="1416" y="1902"/>
                  </a:lnTo>
                  <a:lnTo>
                    <a:pt x="1422" y="1914"/>
                  </a:lnTo>
                  <a:lnTo>
                    <a:pt x="1422" y="1932"/>
                  </a:lnTo>
                  <a:lnTo>
                    <a:pt x="1416" y="1938"/>
                  </a:lnTo>
                  <a:lnTo>
                    <a:pt x="1422" y="1938"/>
                  </a:lnTo>
                  <a:lnTo>
                    <a:pt x="1404" y="1938"/>
                  </a:lnTo>
                  <a:lnTo>
                    <a:pt x="1392" y="1944"/>
                  </a:lnTo>
                  <a:lnTo>
                    <a:pt x="1386" y="1944"/>
                  </a:lnTo>
                  <a:lnTo>
                    <a:pt x="1374" y="1944"/>
                  </a:lnTo>
                  <a:lnTo>
                    <a:pt x="1368" y="1950"/>
                  </a:lnTo>
                  <a:lnTo>
                    <a:pt x="1374" y="1956"/>
                  </a:lnTo>
                  <a:lnTo>
                    <a:pt x="1368" y="1956"/>
                  </a:lnTo>
                  <a:lnTo>
                    <a:pt x="1356" y="1956"/>
                  </a:lnTo>
                  <a:lnTo>
                    <a:pt x="1350" y="1956"/>
                  </a:lnTo>
                  <a:lnTo>
                    <a:pt x="1350" y="1950"/>
                  </a:lnTo>
                  <a:lnTo>
                    <a:pt x="1344" y="1944"/>
                  </a:lnTo>
                  <a:lnTo>
                    <a:pt x="1332" y="1938"/>
                  </a:lnTo>
                  <a:lnTo>
                    <a:pt x="1326" y="1938"/>
                  </a:lnTo>
                  <a:lnTo>
                    <a:pt x="1320" y="1938"/>
                  </a:lnTo>
                  <a:lnTo>
                    <a:pt x="1314" y="1944"/>
                  </a:lnTo>
                  <a:lnTo>
                    <a:pt x="1308" y="1944"/>
                  </a:lnTo>
                  <a:lnTo>
                    <a:pt x="1302" y="1944"/>
                  </a:lnTo>
                  <a:lnTo>
                    <a:pt x="1296" y="1938"/>
                  </a:lnTo>
                  <a:lnTo>
                    <a:pt x="1284" y="1938"/>
                  </a:lnTo>
                  <a:lnTo>
                    <a:pt x="1278" y="1938"/>
                  </a:lnTo>
                  <a:lnTo>
                    <a:pt x="1272" y="1938"/>
                  </a:lnTo>
                  <a:lnTo>
                    <a:pt x="1266" y="1932"/>
                  </a:lnTo>
                  <a:lnTo>
                    <a:pt x="1260" y="1932"/>
                  </a:lnTo>
                  <a:lnTo>
                    <a:pt x="1254" y="1920"/>
                  </a:lnTo>
                  <a:lnTo>
                    <a:pt x="1248" y="1920"/>
                  </a:lnTo>
                  <a:lnTo>
                    <a:pt x="1242" y="1920"/>
                  </a:lnTo>
                  <a:lnTo>
                    <a:pt x="1236" y="1926"/>
                  </a:lnTo>
                  <a:lnTo>
                    <a:pt x="1236" y="1932"/>
                  </a:lnTo>
                  <a:lnTo>
                    <a:pt x="1230" y="1932"/>
                  </a:lnTo>
                  <a:lnTo>
                    <a:pt x="1224" y="1932"/>
                  </a:lnTo>
                  <a:lnTo>
                    <a:pt x="1218" y="1938"/>
                  </a:lnTo>
                  <a:lnTo>
                    <a:pt x="1212" y="1932"/>
                  </a:lnTo>
                  <a:lnTo>
                    <a:pt x="1206" y="1926"/>
                  </a:lnTo>
                  <a:lnTo>
                    <a:pt x="1206" y="1908"/>
                  </a:lnTo>
                  <a:lnTo>
                    <a:pt x="1206" y="1884"/>
                  </a:lnTo>
                  <a:lnTo>
                    <a:pt x="1206" y="1866"/>
                  </a:lnTo>
                  <a:lnTo>
                    <a:pt x="1212" y="1848"/>
                  </a:lnTo>
                  <a:lnTo>
                    <a:pt x="1212" y="1842"/>
                  </a:lnTo>
                  <a:lnTo>
                    <a:pt x="1206" y="1836"/>
                  </a:lnTo>
                  <a:lnTo>
                    <a:pt x="1200" y="1830"/>
                  </a:lnTo>
                  <a:lnTo>
                    <a:pt x="1194" y="1824"/>
                  </a:lnTo>
                  <a:lnTo>
                    <a:pt x="1188" y="1824"/>
                  </a:lnTo>
                  <a:lnTo>
                    <a:pt x="1182" y="1824"/>
                  </a:lnTo>
                  <a:lnTo>
                    <a:pt x="1176" y="1824"/>
                  </a:lnTo>
                  <a:lnTo>
                    <a:pt x="1170" y="1818"/>
                  </a:lnTo>
                  <a:lnTo>
                    <a:pt x="1164" y="1830"/>
                  </a:lnTo>
                  <a:lnTo>
                    <a:pt x="1152" y="1836"/>
                  </a:lnTo>
                  <a:lnTo>
                    <a:pt x="1146" y="1842"/>
                  </a:lnTo>
                  <a:lnTo>
                    <a:pt x="1140" y="1842"/>
                  </a:lnTo>
                  <a:lnTo>
                    <a:pt x="1134" y="1842"/>
                  </a:lnTo>
                  <a:lnTo>
                    <a:pt x="1128" y="1842"/>
                  </a:lnTo>
                  <a:lnTo>
                    <a:pt x="1116" y="1836"/>
                  </a:lnTo>
                  <a:lnTo>
                    <a:pt x="1110" y="1842"/>
                  </a:lnTo>
                  <a:lnTo>
                    <a:pt x="1092" y="1830"/>
                  </a:lnTo>
                  <a:lnTo>
                    <a:pt x="1092" y="1824"/>
                  </a:lnTo>
                  <a:lnTo>
                    <a:pt x="1092" y="1806"/>
                  </a:lnTo>
                  <a:lnTo>
                    <a:pt x="1092" y="1800"/>
                  </a:lnTo>
                  <a:lnTo>
                    <a:pt x="1092" y="1794"/>
                  </a:lnTo>
                  <a:lnTo>
                    <a:pt x="1086" y="1788"/>
                  </a:lnTo>
                  <a:lnTo>
                    <a:pt x="1080" y="1794"/>
                  </a:lnTo>
                  <a:lnTo>
                    <a:pt x="1074" y="1788"/>
                  </a:lnTo>
                  <a:lnTo>
                    <a:pt x="1068" y="1770"/>
                  </a:lnTo>
                  <a:lnTo>
                    <a:pt x="1056" y="1764"/>
                  </a:lnTo>
                  <a:lnTo>
                    <a:pt x="1050" y="1764"/>
                  </a:lnTo>
                  <a:lnTo>
                    <a:pt x="1044" y="1764"/>
                  </a:lnTo>
                  <a:lnTo>
                    <a:pt x="1038" y="1758"/>
                  </a:lnTo>
                  <a:lnTo>
                    <a:pt x="1032" y="1752"/>
                  </a:lnTo>
                  <a:lnTo>
                    <a:pt x="1032" y="1746"/>
                  </a:lnTo>
                  <a:lnTo>
                    <a:pt x="1032" y="1740"/>
                  </a:lnTo>
                  <a:lnTo>
                    <a:pt x="1032" y="1734"/>
                  </a:lnTo>
                  <a:lnTo>
                    <a:pt x="1026" y="1734"/>
                  </a:lnTo>
                  <a:lnTo>
                    <a:pt x="1032" y="1728"/>
                  </a:lnTo>
                  <a:lnTo>
                    <a:pt x="1032" y="1722"/>
                  </a:lnTo>
                  <a:lnTo>
                    <a:pt x="1044" y="1686"/>
                  </a:lnTo>
                  <a:lnTo>
                    <a:pt x="1044" y="1680"/>
                  </a:lnTo>
                  <a:lnTo>
                    <a:pt x="1032" y="1674"/>
                  </a:lnTo>
                  <a:lnTo>
                    <a:pt x="1026" y="1674"/>
                  </a:lnTo>
                  <a:lnTo>
                    <a:pt x="1026" y="1668"/>
                  </a:lnTo>
                  <a:lnTo>
                    <a:pt x="1020" y="1662"/>
                  </a:lnTo>
                  <a:lnTo>
                    <a:pt x="1014" y="1668"/>
                  </a:lnTo>
                  <a:lnTo>
                    <a:pt x="1008" y="1662"/>
                  </a:lnTo>
                  <a:lnTo>
                    <a:pt x="1002" y="1662"/>
                  </a:lnTo>
                  <a:lnTo>
                    <a:pt x="1002" y="1668"/>
                  </a:lnTo>
                  <a:lnTo>
                    <a:pt x="996" y="1668"/>
                  </a:lnTo>
                  <a:lnTo>
                    <a:pt x="996" y="1662"/>
                  </a:lnTo>
                  <a:lnTo>
                    <a:pt x="984" y="1662"/>
                  </a:lnTo>
                  <a:lnTo>
                    <a:pt x="984" y="1656"/>
                  </a:lnTo>
                  <a:lnTo>
                    <a:pt x="978" y="1650"/>
                  </a:lnTo>
                  <a:lnTo>
                    <a:pt x="978" y="1644"/>
                  </a:lnTo>
                  <a:lnTo>
                    <a:pt x="966" y="1650"/>
                  </a:lnTo>
                  <a:lnTo>
                    <a:pt x="960" y="1638"/>
                  </a:lnTo>
                  <a:lnTo>
                    <a:pt x="954" y="1632"/>
                  </a:lnTo>
                  <a:lnTo>
                    <a:pt x="948" y="1632"/>
                  </a:lnTo>
                  <a:lnTo>
                    <a:pt x="942" y="1626"/>
                  </a:lnTo>
                  <a:lnTo>
                    <a:pt x="942" y="1614"/>
                  </a:lnTo>
                  <a:lnTo>
                    <a:pt x="930" y="1608"/>
                  </a:lnTo>
                  <a:lnTo>
                    <a:pt x="924" y="1614"/>
                  </a:lnTo>
                  <a:lnTo>
                    <a:pt x="912" y="1608"/>
                  </a:lnTo>
                  <a:lnTo>
                    <a:pt x="888" y="1590"/>
                  </a:lnTo>
                  <a:lnTo>
                    <a:pt x="894" y="1578"/>
                  </a:lnTo>
                  <a:lnTo>
                    <a:pt x="894" y="1572"/>
                  </a:lnTo>
                  <a:lnTo>
                    <a:pt x="894" y="1566"/>
                  </a:lnTo>
                  <a:lnTo>
                    <a:pt x="894" y="1548"/>
                  </a:lnTo>
                  <a:lnTo>
                    <a:pt x="888" y="1548"/>
                  </a:lnTo>
                  <a:lnTo>
                    <a:pt x="882" y="1542"/>
                  </a:lnTo>
                  <a:lnTo>
                    <a:pt x="876" y="1542"/>
                  </a:lnTo>
                  <a:lnTo>
                    <a:pt x="876" y="1536"/>
                  </a:lnTo>
                  <a:lnTo>
                    <a:pt x="870" y="1542"/>
                  </a:lnTo>
                  <a:lnTo>
                    <a:pt x="870" y="1554"/>
                  </a:lnTo>
                  <a:lnTo>
                    <a:pt x="870" y="1566"/>
                  </a:lnTo>
                  <a:lnTo>
                    <a:pt x="870" y="1578"/>
                  </a:lnTo>
                  <a:lnTo>
                    <a:pt x="870" y="1584"/>
                  </a:lnTo>
                  <a:lnTo>
                    <a:pt x="864" y="1584"/>
                  </a:lnTo>
                  <a:lnTo>
                    <a:pt x="870" y="1602"/>
                  </a:lnTo>
                  <a:lnTo>
                    <a:pt x="864" y="1608"/>
                  </a:lnTo>
                  <a:lnTo>
                    <a:pt x="870" y="1614"/>
                  </a:lnTo>
                  <a:lnTo>
                    <a:pt x="864" y="1644"/>
                  </a:lnTo>
                  <a:lnTo>
                    <a:pt x="858" y="1650"/>
                  </a:lnTo>
                  <a:lnTo>
                    <a:pt x="858" y="1656"/>
                  </a:lnTo>
                  <a:lnTo>
                    <a:pt x="852" y="1662"/>
                  </a:lnTo>
                  <a:lnTo>
                    <a:pt x="852" y="1680"/>
                  </a:lnTo>
                  <a:lnTo>
                    <a:pt x="846" y="1686"/>
                  </a:lnTo>
                  <a:lnTo>
                    <a:pt x="834" y="1692"/>
                  </a:lnTo>
                  <a:lnTo>
                    <a:pt x="828" y="1692"/>
                  </a:lnTo>
                  <a:lnTo>
                    <a:pt x="822" y="1698"/>
                  </a:lnTo>
                  <a:lnTo>
                    <a:pt x="822" y="1704"/>
                  </a:lnTo>
                  <a:lnTo>
                    <a:pt x="816" y="1704"/>
                  </a:lnTo>
                  <a:lnTo>
                    <a:pt x="804" y="1692"/>
                  </a:lnTo>
                  <a:lnTo>
                    <a:pt x="786" y="1698"/>
                  </a:lnTo>
                  <a:lnTo>
                    <a:pt x="780" y="1698"/>
                  </a:lnTo>
                  <a:lnTo>
                    <a:pt x="756" y="1698"/>
                  </a:lnTo>
                  <a:lnTo>
                    <a:pt x="744" y="1698"/>
                  </a:lnTo>
                  <a:lnTo>
                    <a:pt x="738" y="1698"/>
                  </a:lnTo>
                  <a:lnTo>
                    <a:pt x="732" y="1704"/>
                  </a:lnTo>
                  <a:lnTo>
                    <a:pt x="726" y="1704"/>
                  </a:lnTo>
                  <a:lnTo>
                    <a:pt x="678" y="1710"/>
                  </a:lnTo>
                  <a:lnTo>
                    <a:pt x="642" y="1710"/>
                  </a:lnTo>
                  <a:lnTo>
                    <a:pt x="618" y="1680"/>
                  </a:lnTo>
                  <a:lnTo>
                    <a:pt x="618" y="1674"/>
                  </a:lnTo>
                  <a:lnTo>
                    <a:pt x="618" y="1668"/>
                  </a:lnTo>
                  <a:lnTo>
                    <a:pt x="624" y="1662"/>
                  </a:lnTo>
                  <a:lnTo>
                    <a:pt x="624" y="1656"/>
                  </a:lnTo>
                  <a:lnTo>
                    <a:pt x="624" y="1650"/>
                  </a:lnTo>
                  <a:lnTo>
                    <a:pt x="618" y="1650"/>
                  </a:lnTo>
                  <a:lnTo>
                    <a:pt x="618" y="1644"/>
                  </a:lnTo>
                  <a:lnTo>
                    <a:pt x="618" y="1638"/>
                  </a:lnTo>
                  <a:lnTo>
                    <a:pt x="618" y="1632"/>
                  </a:lnTo>
                  <a:lnTo>
                    <a:pt x="618" y="1626"/>
                  </a:lnTo>
                  <a:lnTo>
                    <a:pt x="612" y="1626"/>
                  </a:lnTo>
                  <a:lnTo>
                    <a:pt x="612" y="1620"/>
                  </a:lnTo>
                  <a:lnTo>
                    <a:pt x="606" y="1614"/>
                  </a:lnTo>
                  <a:lnTo>
                    <a:pt x="594" y="1626"/>
                  </a:lnTo>
                  <a:lnTo>
                    <a:pt x="594" y="1632"/>
                  </a:lnTo>
                  <a:lnTo>
                    <a:pt x="588" y="1638"/>
                  </a:lnTo>
                  <a:lnTo>
                    <a:pt x="582" y="1638"/>
                  </a:lnTo>
                  <a:lnTo>
                    <a:pt x="564" y="1656"/>
                  </a:lnTo>
                  <a:lnTo>
                    <a:pt x="558" y="1662"/>
                  </a:lnTo>
                  <a:lnTo>
                    <a:pt x="552" y="1662"/>
                  </a:lnTo>
                  <a:lnTo>
                    <a:pt x="540" y="1674"/>
                  </a:lnTo>
                  <a:lnTo>
                    <a:pt x="534" y="1680"/>
                  </a:lnTo>
                  <a:lnTo>
                    <a:pt x="522" y="1692"/>
                  </a:lnTo>
                  <a:lnTo>
                    <a:pt x="516" y="1704"/>
                  </a:lnTo>
                  <a:lnTo>
                    <a:pt x="510" y="1704"/>
                  </a:lnTo>
                  <a:lnTo>
                    <a:pt x="504" y="1704"/>
                  </a:lnTo>
                  <a:lnTo>
                    <a:pt x="486" y="1722"/>
                  </a:lnTo>
                  <a:lnTo>
                    <a:pt x="480" y="1740"/>
                  </a:lnTo>
                  <a:lnTo>
                    <a:pt x="474" y="1740"/>
                  </a:lnTo>
                  <a:lnTo>
                    <a:pt x="468" y="1746"/>
                  </a:lnTo>
                  <a:lnTo>
                    <a:pt x="456" y="1758"/>
                  </a:lnTo>
                  <a:lnTo>
                    <a:pt x="444" y="1770"/>
                  </a:lnTo>
                  <a:lnTo>
                    <a:pt x="438" y="1782"/>
                  </a:lnTo>
                  <a:lnTo>
                    <a:pt x="426" y="1788"/>
                  </a:lnTo>
                  <a:lnTo>
                    <a:pt x="420" y="1788"/>
                  </a:lnTo>
                  <a:lnTo>
                    <a:pt x="420" y="1782"/>
                  </a:lnTo>
                  <a:lnTo>
                    <a:pt x="414" y="1782"/>
                  </a:lnTo>
                  <a:lnTo>
                    <a:pt x="390" y="1782"/>
                  </a:lnTo>
                  <a:lnTo>
                    <a:pt x="390" y="1776"/>
                  </a:lnTo>
                  <a:lnTo>
                    <a:pt x="384" y="1776"/>
                  </a:lnTo>
                  <a:lnTo>
                    <a:pt x="378" y="1776"/>
                  </a:lnTo>
                  <a:lnTo>
                    <a:pt x="372" y="1776"/>
                  </a:lnTo>
                  <a:lnTo>
                    <a:pt x="366" y="1770"/>
                  </a:lnTo>
                  <a:lnTo>
                    <a:pt x="366" y="1776"/>
                  </a:lnTo>
                  <a:lnTo>
                    <a:pt x="360" y="1788"/>
                  </a:lnTo>
                  <a:lnTo>
                    <a:pt x="360" y="1794"/>
                  </a:lnTo>
                  <a:lnTo>
                    <a:pt x="360" y="1800"/>
                  </a:lnTo>
                  <a:lnTo>
                    <a:pt x="354" y="1806"/>
                  </a:lnTo>
                  <a:lnTo>
                    <a:pt x="354" y="1812"/>
                  </a:lnTo>
                  <a:lnTo>
                    <a:pt x="354" y="1824"/>
                  </a:lnTo>
                  <a:lnTo>
                    <a:pt x="348" y="1830"/>
                  </a:lnTo>
                  <a:lnTo>
                    <a:pt x="354" y="1836"/>
                  </a:lnTo>
                  <a:lnTo>
                    <a:pt x="348" y="1842"/>
                  </a:lnTo>
                  <a:lnTo>
                    <a:pt x="354" y="1848"/>
                  </a:lnTo>
                  <a:lnTo>
                    <a:pt x="348" y="1854"/>
                  </a:lnTo>
                  <a:lnTo>
                    <a:pt x="354" y="1854"/>
                  </a:lnTo>
                  <a:lnTo>
                    <a:pt x="348" y="1860"/>
                  </a:lnTo>
                  <a:lnTo>
                    <a:pt x="348" y="1866"/>
                  </a:lnTo>
                  <a:lnTo>
                    <a:pt x="342" y="1866"/>
                  </a:lnTo>
                  <a:lnTo>
                    <a:pt x="342" y="1872"/>
                  </a:lnTo>
                  <a:lnTo>
                    <a:pt x="342" y="1878"/>
                  </a:lnTo>
                  <a:lnTo>
                    <a:pt x="342" y="1884"/>
                  </a:lnTo>
                  <a:lnTo>
                    <a:pt x="336" y="1896"/>
                  </a:lnTo>
                  <a:lnTo>
                    <a:pt x="330" y="1914"/>
                  </a:lnTo>
                  <a:lnTo>
                    <a:pt x="324" y="1920"/>
                  </a:lnTo>
                  <a:lnTo>
                    <a:pt x="324" y="1926"/>
                  </a:lnTo>
                  <a:lnTo>
                    <a:pt x="318" y="1944"/>
                  </a:lnTo>
                  <a:lnTo>
                    <a:pt x="318" y="1950"/>
                  </a:lnTo>
                  <a:lnTo>
                    <a:pt x="312" y="1956"/>
                  </a:lnTo>
                  <a:lnTo>
                    <a:pt x="312" y="1950"/>
                  </a:lnTo>
                  <a:lnTo>
                    <a:pt x="306" y="1950"/>
                  </a:lnTo>
                  <a:lnTo>
                    <a:pt x="306" y="1956"/>
                  </a:lnTo>
                  <a:lnTo>
                    <a:pt x="300" y="1950"/>
                  </a:lnTo>
                  <a:lnTo>
                    <a:pt x="294" y="1956"/>
                  </a:lnTo>
                  <a:lnTo>
                    <a:pt x="288" y="1950"/>
                  </a:lnTo>
                  <a:lnTo>
                    <a:pt x="288" y="1944"/>
                  </a:lnTo>
                  <a:lnTo>
                    <a:pt x="282" y="1938"/>
                  </a:lnTo>
                  <a:lnTo>
                    <a:pt x="282" y="1932"/>
                  </a:lnTo>
                  <a:lnTo>
                    <a:pt x="282" y="1890"/>
                  </a:lnTo>
                  <a:lnTo>
                    <a:pt x="288" y="1860"/>
                  </a:lnTo>
                  <a:lnTo>
                    <a:pt x="294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300" y="1818"/>
                  </a:lnTo>
                  <a:lnTo>
                    <a:pt x="306" y="1794"/>
                  </a:lnTo>
                  <a:lnTo>
                    <a:pt x="306" y="1788"/>
                  </a:lnTo>
                  <a:lnTo>
                    <a:pt x="306" y="1782"/>
                  </a:lnTo>
                  <a:lnTo>
                    <a:pt x="312" y="1776"/>
                  </a:lnTo>
                  <a:lnTo>
                    <a:pt x="306" y="1776"/>
                  </a:lnTo>
                  <a:lnTo>
                    <a:pt x="312" y="1770"/>
                  </a:lnTo>
                  <a:lnTo>
                    <a:pt x="312" y="1740"/>
                  </a:lnTo>
                  <a:lnTo>
                    <a:pt x="318" y="1722"/>
                  </a:lnTo>
                  <a:lnTo>
                    <a:pt x="312" y="1722"/>
                  </a:lnTo>
                  <a:lnTo>
                    <a:pt x="300" y="1716"/>
                  </a:lnTo>
                  <a:lnTo>
                    <a:pt x="306" y="1716"/>
                  </a:lnTo>
                  <a:lnTo>
                    <a:pt x="312" y="1710"/>
                  </a:lnTo>
                  <a:lnTo>
                    <a:pt x="324" y="1674"/>
                  </a:lnTo>
                  <a:lnTo>
                    <a:pt x="366" y="1590"/>
                  </a:lnTo>
                  <a:lnTo>
                    <a:pt x="408" y="1548"/>
                  </a:lnTo>
                  <a:lnTo>
                    <a:pt x="426" y="1530"/>
                  </a:lnTo>
                  <a:lnTo>
                    <a:pt x="432" y="1500"/>
                  </a:lnTo>
                  <a:lnTo>
                    <a:pt x="426" y="1494"/>
                  </a:lnTo>
                  <a:lnTo>
                    <a:pt x="426" y="1482"/>
                  </a:lnTo>
                  <a:lnTo>
                    <a:pt x="432" y="1464"/>
                  </a:lnTo>
                  <a:lnTo>
                    <a:pt x="438" y="1428"/>
                  </a:lnTo>
                  <a:lnTo>
                    <a:pt x="462" y="1398"/>
                  </a:lnTo>
                  <a:lnTo>
                    <a:pt x="468" y="1362"/>
                  </a:lnTo>
                  <a:lnTo>
                    <a:pt x="462" y="1314"/>
                  </a:lnTo>
                  <a:lnTo>
                    <a:pt x="444" y="1284"/>
                  </a:lnTo>
                  <a:lnTo>
                    <a:pt x="432" y="1260"/>
                  </a:lnTo>
                  <a:lnTo>
                    <a:pt x="426" y="1260"/>
                  </a:lnTo>
                  <a:lnTo>
                    <a:pt x="420" y="1254"/>
                  </a:lnTo>
                  <a:lnTo>
                    <a:pt x="408" y="1260"/>
                  </a:lnTo>
                  <a:lnTo>
                    <a:pt x="402" y="1260"/>
                  </a:lnTo>
                  <a:lnTo>
                    <a:pt x="402" y="1254"/>
                  </a:lnTo>
                  <a:lnTo>
                    <a:pt x="396" y="1254"/>
                  </a:lnTo>
                  <a:lnTo>
                    <a:pt x="396" y="1248"/>
                  </a:lnTo>
                  <a:lnTo>
                    <a:pt x="384" y="1248"/>
                  </a:lnTo>
                  <a:lnTo>
                    <a:pt x="372" y="1230"/>
                  </a:lnTo>
                  <a:lnTo>
                    <a:pt x="360" y="1212"/>
                  </a:lnTo>
                  <a:lnTo>
                    <a:pt x="348" y="1188"/>
                  </a:lnTo>
                  <a:lnTo>
                    <a:pt x="324" y="1170"/>
                  </a:lnTo>
                  <a:lnTo>
                    <a:pt x="318" y="1170"/>
                  </a:lnTo>
                  <a:lnTo>
                    <a:pt x="312" y="1158"/>
                  </a:lnTo>
                  <a:lnTo>
                    <a:pt x="312" y="1152"/>
                  </a:lnTo>
                  <a:lnTo>
                    <a:pt x="306" y="1146"/>
                  </a:lnTo>
                  <a:lnTo>
                    <a:pt x="270" y="1122"/>
                  </a:lnTo>
                  <a:lnTo>
                    <a:pt x="240" y="1122"/>
                  </a:lnTo>
                  <a:lnTo>
                    <a:pt x="180" y="1116"/>
                  </a:lnTo>
                  <a:lnTo>
                    <a:pt x="174" y="1122"/>
                  </a:lnTo>
                  <a:lnTo>
                    <a:pt x="174" y="1128"/>
                  </a:lnTo>
                  <a:lnTo>
                    <a:pt x="168" y="1122"/>
                  </a:lnTo>
                  <a:lnTo>
                    <a:pt x="162" y="1116"/>
                  </a:lnTo>
                  <a:lnTo>
                    <a:pt x="144" y="1122"/>
                  </a:lnTo>
                  <a:lnTo>
                    <a:pt x="120" y="1122"/>
                  </a:lnTo>
                  <a:lnTo>
                    <a:pt x="54" y="1134"/>
                  </a:lnTo>
                  <a:lnTo>
                    <a:pt x="24" y="1152"/>
                  </a:lnTo>
                  <a:lnTo>
                    <a:pt x="6" y="1146"/>
                  </a:lnTo>
                  <a:lnTo>
                    <a:pt x="0" y="1134"/>
                  </a:lnTo>
                  <a:lnTo>
                    <a:pt x="0" y="1128"/>
                  </a:lnTo>
                  <a:lnTo>
                    <a:pt x="18" y="1110"/>
                  </a:lnTo>
                  <a:lnTo>
                    <a:pt x="24" y="1104"/>
                  </a:lnTo>
                  <a:lnTo>
                    <a:pt x="24" y="1098"/>
                  </a:lnTo>
                  <a:lnTo>
                    <a:pt x="30" y="1086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24" y="1074"/>
                  </a:lnTo>
                  <a:lnTo>
                    <a:pt x="18" y="1068"/>
                  </a:lnTo>
                  <a:lnTo>
                    <a:pt x="24" y="1062"/>
                  </a:lnTo>
                  <a:lnTo>
                    <a:pt x="42" y="1056"/>
                  </a:lnTo>
                  <a:lnTo>
                    <a:pt x="54" y="1050"/>
                  </a:lnTo>
                  <a:lnTo>
                    <a:pt x="72" y="1044"/>
                  </a:lnTo>
                  <a:lnTo>
                    <a:pt x="96" y="1032"/>
                  </a:lnTo>
                  <a:lnTo>
                    <a:pt x="102" y="1032"/>
                  </a:lnTo>
                  <a:lnTo>
                    <a:pt x="126" y="1008"/>
                  </a:lnTo>
                  <a:lnTo>
                    <a:pt x="144" y="990"/>
                  </a:lnTo>
                  <a:lnTo>
                    <a:pt x="156" y="978"/>
                  </a:lnTo>
                  <a:lnTo>
                    <a:pt x="156" y="966"/>
                  </a:lnTo>
                  <a:lnTo>
                    <a:pt x="150" y="960"/>
                  </a:lnTo>
                  <a:lnTo>
                    <a:pt x="144" y="948"/>
                  </a:lnTo>
                  <a:lnTo>
                    <a:pt x="144" y="936"/>
                  </a:lnTo>
                  <a:lnTo>
                    <a:pt x="138" y="918"/>
                  </a:lnTo>
                  <a:lnTo>
                    <a:pt x="150" y="912"/>
                  </a:lnTo>
                  <a:lnTo>
                    <a:pt x="150" y="894"/>
                  </a:lnTo>
                  <a:lnTo>
                    <a:pt x="132" y="876"/>
                  </a:lnTo>
                  <a:lnTo>
                    <a:pt x="126" y="876"/>
                  </a:lnTo>
                  <a:lnTo>
                    <a:pt x="120" y="870"/>
                  </a:lnTo>
                  <a:lnTo>
                    <a:pt x="120" y="864"/>
                  </a:lnTo>
                  <a:lnTo>
                    <a:pt x="114" y="864"/>
                  </a:lnTo>
                  <a:lnTo>
                    <a:pt x="108" y="864"/>
                  </a:lnTo>
                  <a:lnTo>
                    <a:pt x="108" y="858"/>
                  </a:lnTo>
                  <a:lnTo>
                    <a:pt x="102" y="852"/>
                  </a:lnTo>
                  <a:lnTo>
                    <a:pt x="96" y="852"/>
                  </a:lnTo>
                  <a:lnTo>
                    <a:pt x="102" y="834"/>
                  </a:lnTo>
                  <a:lnTo>
                    <a:pt x="108" y="816"/>
                  </a:lnTo>
                  <a:lnTo>
                    <a:pt x="114" y="804"/>
                  </a:lnTo>
                  <a:lnTo>
                    <a:pt x="132" y="798"/>
                  </a:lnTo>
                  <a:lnTo>
                    <a:pt x="144" y="798"/>
                  </a:lnTo>
                  <a:lnTo>
                    <a:pt x="180" y="810"/>
                  </a:lnTo>
                  <a:lnTo>
                    <a:pt x="192" y="816"/>
                  </a:lnTo>
                  <a:lnTo>
                    <a:pt x="234" y="822"/>
                  </a:lnTo>
                  <a:lnTo>
                    <a:pt x="264" y="828"/>
                  </a:lnTo>
                  <a:lnTo>
                    <a:pt x="270" y="840"/>
                  </a:lnTo>
                  <a:lnTo>
                    <a:pt x="270" y="834"/>
                  </a:lnTo>
                  <a:lnTo>
                    <a:pt x="270" y="828"/>
                  </a:lnTo>
                  <a:lnTo>
                    <a:pt x="270" y="822"/>
                  </a:lnTo>
                  <a:lnTo>
                    <a:pt x="270" y="816"/>
                  </a:lnTo>
                  <a:lnTo>
                    <a:pt x="264" y="810"/>
                  </a:lnTo>
                  <a:lnTo>
                    <a:pt x="264" y="804"/>
                  </a:lnTo>
                  <a:lnTo>
                    <a:pt x="264" y="798"/>
                  </a:lnTo>
                  <a:lnTo>
                    <a:pt x="258" y="792"/>
                  </a:lnTo>
                  <a:lnTo>
                    <a:pt x="258" y="786"/>
                  </a:lnTo>
                  <a:lnTo>
                    <a:pt x="264" y="786"/>
                  </a:lnTo>
                  <a:lnTo>
                    <a:pt x="264" y="780"/>
                  </a:lnTo>
                  <a:lnTo>
                    <a:pt x="258" y="774"/>
                  </a:lnTo>
                  <a:lnTo>
                    <a:pt x="258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82" y="762"/>
                  </a:lnTo>
                  <a:lnTo>
                    <a:pt x="312" y="780"/>
                  </a:lnTo>
                  <a:lnTo>
                    <a:pt x="354" y="786"/>
                  </a:lnTo>
                  <a:lnTo>
                    <a:pt x="408" y="774"/>
                  </a:lnTo>
                  <a:lnTo>
                    <a:pt x="444" y="756"/>
                  </a:lnTo>
                  <a:lnTo>
                    <a:pt x="468" y="732"/>
                  </a:lnTo>
                  <a:lnTo>
                    <a:pt x="492" y="720"/>
                  </a:lnTo>
                  <a:lnTo>
                    <a:pt x="522" y="690"/>
                  </a:lnTo>
                  <a:lnTo>
                    <a:pt x="540" y="672"/>
                  </a:lnTo>
                  <a:lnTo>
                    <a:pt x="558" y="660"/>
                  </a:lnTo>
                  <a:lnTo>
                    <a:pt x="570" y="636"/>
                  </a:lnTo>
                  <a:lnTo>
                    <a:pt x="588" y="612"/>
                  </a:lnTo>
                  <a:lnTo>
                    <a:pt x="654" y="552"/>
                  </a:lnTo>
                  <a:lnTo>
                    <a:pt x="678" y="528"/>
                  </a:lnTo>
                  <a:lnTo>
                    <a:pt x="696" y="510"/>
                  </a:lnTo>
                  <a:lnTo>
                    <a:pt x="714" y="498"/>
                  </a:lnTo>
                  <a:lnTo>
                    <a:pt x="750" y="480"/>
                  </a:lnTo>
                  <a:lnTo>
                    <a:pt x="774" y="444"/>
                  </a:lnTo>
                  <a:lnTo>
                    <a:pt x="816" y="426"/>
                  </a:lnTo>
                  <a:lnTo>
                    <a:pt x="864" y="420"/>
                  </a:lnTo>
                  <a:lnTo>
                    <a:pt x="912" y="402"/>
                  </a:lnTo>
                  <a:lnTo>
                    <a:pt x="906" y="396"/>
                  </a:lnTo>
                  <a:lnTo>
                    <a:pt x="912" y="396"/>
                  </a:lnTo>
                  <a:lnTo>
                    <a:pt x="912" y="390"/>
                  </a:lnTo>
                  <a:lnTo>
                    <a:pt x="918" y="384"/>
                  </a:lnTo>
                  <a:lnTo>
                    <a:pt x="924" y="384"/>
                  </a:lnTo>
                  <a:lnTo>
                    <a:pt x="924" y="378"/>
                  </a:lnTo>
                  <a:lnTo>
                    <a:pt x="918" y="372"/>
                  </a:lnTo>
                  <a:lnTo>
                    <a:pt x="918" y="366"/>
                  </a:lnTo>
                  <a:lnTo>
                    <a:pt x="918" y="360"/>
                  </a:lnTo>
                  <a:lnTo>
                    <a:pt x="924" y="360"/>
                  </a:lnTo>
                  <a:lnTo>
                    <a:pt x="924" y="354"/>
                  </a:lnTo>
                  <a:lnTo>
                    <a:pt x="930" y="354"/>
                  </a:lnTo>
                  <a:lnTo>
                    <a:pt x="936" y="354"/>
                  </a:lnTo>
                  <a:lnTo>
                    <a:pt x="936" y="348"/>
                  </a:lnTo>
                  <a:lnTo>
                    <a:pt x="942" y="348"/>
                  </a:lnTo>
                  <a:lnTo>
                    <a:pt x="942" y="336"/>
                  </a:lnTo>
                  <a:lnTo>
                    <a:pt x="936" y="336"/>
                  </a:lnTo>
                  <a:lnTo>
                    <a:pt x="930" y="330"/>
                  </a:lnTo>
                  <a:lnTo>
                    <a:pt x="924" y="330"/>
                  </a:lnTo>
                  <a:lnTo>
                    <a:pt x="924" y="324"/>
                  </a:lnTo>
                  <a:lnTo>
                    <a:pt x="918" y="318"/>
                  </a:lnTo>
                  <a:lnTo>
                    <a:pt x="912" y="306"/>
                  </a:lnTo>
                  <a:lnTo>
                    <a:pt x="918" y="306"/>
                  </a:lnTo>
                  <a:lnTo>
                    <a:pt x="924" y="300"/>
                  </a:lnTo>
                  <a:lnTo>
                    <a:pt x="924" y="294"/>
                  </a:lnTo>
                  <a:lnTo>
                    <a:pt x="924" y="288"/>
                  </a:lnTo>
                  <a:lnTo>
                    <a:pt x="924" y="282"/>
                  </a:lnTo>
                  <a:lnTo>
                    <a:pt x="924" y="276"/>
                  </a:lnTo>
                  <a:lnTo>
                    <a:pt x="918" y="270"/>
                  </a:lnTo>
                  <a:lnTo>
                    <a:pt x="918" y="264"/>
                  </a:lnTo>
                  <a:lnTo>
                    <a:pt x="912" y="270"/>
                  </a:lnTo>
                  <a:lnTo>
                    <a:pt x="912" y="264"/>
                  </a:lnTo>
                  <a:lnTo>
                    <a:pt x="912" y="258"/>
                  </a:lnTo>
                  <a:lnTo>
                    <a:pt x="912" y="252"/>
                  </a:lnTo>
                  <a:lnTo>
                    <a:pt x="906" y="252"/>
                  </a:lnTo>
                  <a:lnTo>
                    <a:pt x="900" y="246"/>
                  </a:lnTo>
                  <a:lnTo>
                    <a:pt x="900" y="240"/>
                  </a:lnTo>
                  <a:lnTo>
                    <a:pt x="900" y="246"/>
                  </a:lnTo>
                  <a:lnTo>
                    <a:pt x="894" y="246"/>
                  </a:lnTo>
                  <a:lnTo>
                    <a:pt x="894" y="240"/>
                  </a:lnTo>
                  <a:lnTo>
                    <a:pt x="894" y="234"/>
                  </a:lnTo>
                  <a:lnTo>
                    <a:pt x="900" y="234"/>
                  </a:lnTo>
                  <a:lnTo>
                    <a:pt x="900" y="228"/>
                  </a:lnTo>
                  <a:lnTo>
                    <a:pt x="906" y="228"/>
                  </a:lnTo>
                  <a:lnTo>
                    <a:pt x="900" y="222"/>
                  </a:lnTo>
                  <a:lnTo>
                    <a:pt x="894" y="216"/>
                  </a:lnTo>
                  <a:lnTo>
                    <a:pt x="894" y="210"/>
                  </a:lnTo>
                  <a:lnTo>
                    <a:pt x="888" y="210"/>
                  </a:lnTo>
                  <a:lnTo>
                    <a:pt x="888" y="204"/>
                  </a:lnTo>
                  <a:lnTo>
                    <a:pt x="888" y="198"/>
                  </a:lnTo>
                  <a:lnTo>
                    <a:pt x="888" y="192"/>
                  </a:lnTo>
                  <a:lnTo>
                    <a:pt x="882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82" y="174"/>
                  </a:lnTo>
                  <a:lnTo>
                    <a:pt x="888" y="168"/>
                  </a:lnTo>
                  <a:lnTo>
                    <a:pt x="888" y="162"/>
                  </a:lnTo>
                  <a:lnTo>
                    <a:pt x="888" y="156"/>
                  </a:lnTo>
                  <a:lnTo>
                    <a:pt x="888" y="150"/>
                  </a:lnTo>
                  <a:lnTo>
                    <a:pt x="888" y="144"/>
                  </a:lnTo>
                  <a:lnTo>
                    <a:pt x="882" y="144"/>
                  </a:lnTo>
                  <a:lnTo>
                    <a:pt x="882" y="138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76" y="120"/>
                  </a:lnTo>
                  <a:lnTo>
                    <a:pt x="882" y="114"/>
                  </a:lnTo>
                  <a:lnTo>
                    <a:pt x="882" y="108"/>
                  </a:lnTo>
                  <a:lnTo>
                    <a:pt x="888" y="102"/>
                  </a:lnTo>
                  <a:lnTo>
                    <a:pt x="894" y="102"/>
                  </a:lnTo>
                  <a:lnTo>
                    <a:pt x="894" y="96"/>
                  </a:lnTo>
                  <a:lnTo>
                    <a:pt x="888" y="96"/>
                  </a:lnTo>
                  <a:lnTo>
                    <a:pt x="894" y="90"/>
                  </a:lnTo>
                  <a:lnTo>
                    <a:pt x="888" y="84"/>
                  </a:lnTo>
                  <a:lnTo>
                    <a:pt x="888" y="78"/>
                  </a:lnTo>
                  <a:lnTo>
                    <a:pt x="924" y="66"/>
                  </a:lnTo>
                  <a:lnTo>
                    <a:pt x="966" y="66"/>
                  </a:lnTo>
                  <a:lnTo>
                    <a:pt x="996" y="48"/>
                  </a:lnTo>
                  <a:lnTo>
                    <a:pt x="1056" y="12"/>
                  </a:lnTo>
                  <a:lnTo>
                    <a:pt x="1128" y="0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0" y="18"/>
                  </a:lnTo>
                  <a:lnTo>
                    <a:pt x="1176" y="24"/>
                  </a:lnTo>
                  <a:lnTo>
                    <a:pt x="1182" y="24"/>
                  </a:lnTo>
                  <a:lnTo>
                    <a:pt x="1188" y="30"/>
                  </a:lnTo>
                  <a:lnTo>
                    <a:pt x="1194" y="30"/>
                  </a:lnTo>
                  <a:lnTo>
                    <a:pt x="1194" y="36"/>
                  </a:lnTo>
                  <a:lnTo>
                    <a:pt x="1260" y="30"/>
                  </a:lnTo>
                  <a:lnTo>
                    <a:pt x="1272" y="30"/>
                  </a:lnTo>
                  <a:lnTo>
                    <a:pt x="1296" y="24"/>
                  </a:lnTo>
                  <a:lnTo>
                    <a:pt x="1302" y="30"/>
                  </a:lnTo>
                  <a:lnTo>
                    <a:pt x="1302" y="36"/>
                  </a:lnTo>
                  <a:lnTo>
                    <a:pt x="1308" y="36"/>
                  </a:lnTo>
                  <a:lnTo>
                    <a:pt x="1314" y="36"/>
                  </a:lnTo>
                  <a:lnTo>
                    <a:pt x="1320" y="36"/>
                  </a:lnTo>
                  <a:lnTo>
                    <a:pt x="1326" y="30"/>
                  </a:lnTo>
                  <a:lnTo>
                    <a:pt x="1332" y="30"/>
                  </a:lnTo>
                  <a:lnTo>
                    <a:pt x="1338" y="30"/>
                  </a:lnTo>
                  <a:lnTo>
                    <a:pt x="1344" y="30"/>
                  </a:lnTo>
                  <a:lnTo>
                    <a:pt x="1374" y="30"/>
                  </a:lnTo>
                  <a:lnTo>
                    <a:pt x="1386" y="30"/>
                  </a:lnTo>
                  <a:lnTo>
                    <a:pt x="1392" y="24"/>
                  </a:lnTo>
                  <a:lnTo>
                    <a:pt x="1398" y="12"/>
                  </a:lnTo>
                  <a:lnTo>
                    <a:pt x="1404" y="6"/>
                  </a:lnTo>
                  <a:lnTo>
                    <a:pt x="1410" y="6"/>
                  </a:lnTo>
                  <a:lnTo>
                    <a:pt x="1410" y="12"/>
                  </a:lnTo>
                  <a:lnTo>
                    <a:pt x="1416" y="18"/>
                  </a:lnTo>
                  <a:lnTo>
                    <a:pt x="1416" y="36"/>
                  </a:lnTo>
                  <a:lnTo>
                    <a:pt x="1434" y="54"/>
                  </a:lnTo>
                  <a:lnTo>
                    <a:pt x="1434" y="60"/>
                  </a:lnTo>
                  <a:lnTo>
                    <a:pt x="1434" y="66"/>
                  </a:lnTo>
                  <a:lnTo>
                    <a:pt x="1434" y="72"/>
                  </a:lnTo>
                  <a:lnTo>
                    <a:pt x="1428" y="72"/>
                  </a:lnTo>
                  <a:lnTo>
                    <a:pt x="1428" y="78"/>
                  </a:lnTo>
                  <a:lnTo>
                    <a:pt x="1434" y="78"/>
                  </a:lnTo>
                  <a:lnTo>
                    <a:pt x="1440" y="84"/>
                  </a:lnTo>
                  <a:lnTo>
                    <a:pt x="1440" y="90"/>
                  </a:lnTo>
                  <a:lnTo>
                    <a:pt x="1440" y="96"/>
                  </a:lnTo>
                  <a:lnTo>
                    <a:pt x="1446" y="96"/>
                  </a:lnTo>
                  <a:lnTo>
                    <a:pt x="1446" y="108"/>
                  </a:lnTo>
                  <a:lnTo>
                    <a:pt x="1452" y="108"/>
                  </a:lnTo>
                  <a:lnTo>
                    <a:pt x="1452" y="114"/>
                  </a:lnTo>
                  <a:lnTo>
                    <a:pt x="1458" y="114"/>
                  </a:lnTo>
                  <a:lnTo>
                    <a:pt x="1470" y="120"/>
                  </a:lnTo>
                  <a:lnTo>
                    <a:pt x="1476" y="120"/>
                  </a:lnTo>
                  <a:lnTo>
                    <a:pt x="1476" y="114"/>
                  </a:lnTo>
                  <a:lnTo>
                    <a:pt x="1488" y="120"/>
                  </a:lnTo>
                  <a:lnTo>
                    <a:pt x="1506" y="120"/>
                  </a:lnTo>
                  <a:lnTo>
                    <a:pt x="1512" y="120"/>
                  </a:lnTo>
                  <a:lnTo>
                    <a:pt x="1518" y="120"/>
                  </a:lnTo>
                  <a:lnTo>
                    <a:pt x="1524" y="126"/>
                  </a:lnTo>
                  <a:lnTo>
                    <a:pt x="1536" y="150"/>
                  </a:lnTo>
                  <a:lnTo>
                    <a:pt x="1548" y="162"/>
                  </a:lnTo>
                  <a:lnTo>
                    <a:pt x="1554" y="168"/>
                  </a:lnTo>
                  <a:lnTo>
                    <a:pt x="1584" y="228"/>
                  </a:lnTo>
                  <a:lnTo>
                    <a:pt x="1584" y="234"/>
                  </a:lnTo>
                  <a:lnTo>
                    <a:pt x="1578" y="312"/>
                  </a:lnTo>
                  <a:lnTo>
                    <a:pt x="1590" y="318"/>
                  </a:lnTo>
                  <a:lnTo>
                    <a:pt x="1608" y="330"/>
                  </a:lnTo>
                  <a:lnTo>
                    <a:pt x="1620" y="342"/>
                  </a:lnTo>
                  <a:lnTo>
                    <a:pt x="1626" y="342"/>
                  </a:lnTo>
                  <a:lnTo>
                    <a:pt x="1692" y="360"/>
                  </a:lnTo>
                  <a:lnTo>
                    <a:pt x="1710" y="408"/>
                  </a:lnTo>
                  <a:lnTo>
                    <a:pt x="1722" y="426"/>
                  </a:lnTo>
                  <a:lnTo>
                    <a:pt x="1716" y="468"/>
                  </a:lnTo>
                  <a:lnTo>
                    <a:pt x="1686" y="486"/>
                  </a:lnTo>
                  <a:lnTo>
                    <a:pt x="1686" y="492"/>
                  </a:lnTo>
                  <a:lnTo>
                    <a:pt x="1680" y="498"/>
                  </a:lnTo>
                  <a:lnTo>
                    <a:pt x="1650" y="558"/>
                  </a:lnTo>
                  <a:lnTo>
                    <a:pt x="1650" y="570"/>
                  </a:lnTo>
                  <a:lnTo>
                    <a:pt x="1644" y="570"/>
                  </a:lnTo>
                  <a:lnTo>
                    <a:pt x="1638" y="582"/>
                  </a:lnTo>
                  <a:lnTo>
                    <a:pt x="1638" y="624"/>
                  </a:lnTo>
                  <a:lnTo>
                    <a:pt x="1638" y="636"/>
                  </a:lnTo>
                  <a:lnTo>
                    <a:pt x="1638" y="642"/>
                  </a:lnTo>
                  <a:lnTo>
                    <a:pt x="1632" y="660"/>
                  </a:lnTo>
                  <a:lnTo>
                    <a:pt x="1608" y="678"/>
                  </a:lnTo>
                  <a:lnTo>
                    <a:pt x="1584" y="690"/>
                  </a:lnTo>
                  <a:lnTo>
                    <a:pt x="1584" y="696"/>
                  </a:lnTo>
                  <a:lnTo>
                    <a:pt x="1578" y="702"/>
                  </a:lnTo>
                  <a:lnTo>
                    <a:pt x="1584" y="702"/>
                  </a:lnTo>
                  <a:lnTo>
                    <a:pt x="1578" y="714"/>
                  </a:lnTo>
                  <a:lnTo>
                    <a:pt x="1572" y="714"/>
                  </a:lnTo>
                  <a:lnTo>
                    <a:pt x="1572" y="720"/>
                  </a:lnTo>
                  <a:lnTo>
                    <a:pt x="1566" y="720"/>
                  </a:lnTo>
                  <a:lnTo>
                    <a:pt x="1560" y="726"/>
                  </a:lnTo>
                  <a:lnTo>
                    <a:pt x="1560" y="732"/>
                  </a:lnTo>
                  <a:lnTo>
                    <a:pt x="1554" y="732"/>
                  </a:lnTo>
                  <a:lnTo>
                    <a:pt x="1554" y="738"/>
                  </a:lnTo>
                  <a:lnTo>
                    <a:pt x="1554" y="744"/>
                  </a:lnTo>
                  <a:lnTo>
                    <a:pt x="1548" y="744"/>
                  </a:lnTo>
                  <a:lnTo>
                    <a:pt x="1548" y="738"/>
                  </a:lnTo>
                  <a:lnTo>
                    <a:pt x="1542" y="738"/>
                  </a:lnTo>
                  <a:lnTo>
                    <a:pt x="1542" y="744"/>
                  </a:lnTo>
                  <a:lnTo>
                    <a:pt x="1542" y="750"/>
                  </a:lnTo>
                  <a:lnTo>
                    <a:pt x="1494" y="804"/>
                  </a:lnTo>
                  <a:lnTo>
                    <a:pt x="1446" y="876"/>
                  </a:lnTo>
                  <a:lnTo>
                    <a:pt x="1440" y="876"/>
                  </a:lnTo>
                  <a:lnTo>
                    <a:pt x="1434" y="876"/>
                  </a:lnTo>
                  <a:lnTo>
                    <a:pt x="1428" y="882"/>
                  </a:lnTo>
                  <a:lnTo>
                    <a:pt x="1422" y="882"/>
                  </a:lnTo>
                  <a:lnTo>
                    <a:pt x="1386" y="924"/>
                  </a:lnTo>
                  <a:lnTo>
                    <a:pt x="1362" y="954"/>
                  </a:lnTo>
                  <a:lnTo>
                    <a:pt x="1356" y="984"/>
                  </a:lnTo>
                  <a:lnTo>
                    <a:pt x="1362" y="1002"/>
                  </a:lnTo>
                  <a:lnTo>
                    <a:pt x="1368" y="1020"/>
                  </a:lnTo>
                  <a:lnTo>
                    <a:pt x="1386" y="1056"/>
                  </a:lnTo>
                  <a:lnTo>
                    <a:pt x="1404" y="1074"/>
                  </a:lnTo>
                  <a:lnTo>
                    <a:pt x="1416" y="1080"/>
                  </a:lnTo>
                  <a:lnTo>
                    <a:pt x="1416" y="1086"/>
                  </a:lnTo>
                  <a:lnTo>
                    <a:pt x="1422" y="1098"/>
                  </a:lnTo>
                  <a:lnTo>
                    <a:pt x="1422" y="1110"/>
                  </a:lnTo>
                  <a:lnTo>
                    <a:pt x="1428" y="1116"/>
                  </a:lnTo>
                  <a:lnTo>
                    <a:pt x="1434" y="1116"/>
                  </a:lnTo>
                  <a:lnTo>
                    <a:pt x="1434" y="1122"/>
                  </a:lnTo>
                  <a:lnTo>
                    <a:pt x="1434" y="1128"/>
                  </a:lnTo>
                  <a:lnTo>
                    <a:pt x="1440" y="1134"/>
                  </a:lnTo>
                  <a:lnTo>
                    <a:pt x="1446" y="1134"/>
                  </a:lnTo>
                  <a:lnTo>
                    <a:pt x="1458" y="1134"/>
                  </a:lnTo>
                  <a:lnTo>
                    <a:pt x="1458" y="1140"/>
                  </a:lnTo>
                  <a:lnTo>
                    <a:pt x="1464" y="1134"/>
                  </a:lnTo>
                  <a:lnTo>
                    <a:pt x="1470" y="1134"/>
                  </a:lnTo>
                  <a:lnTo>
                    <a:pt x="1464" y="1128"/>
                  </a:lnTo>
                  <a:lnTo>
                    <a:pt x="1464" y="1122"/>
                  </a:lnTo>
                  <a:lnTo>
                    <a:pt x="1470" y="1116"/>
                  </a:lnTo>
                  <a:lnTo>
                    <a:pt x="1470" y="1122"/>
                  </a:lnTo>
                  <a:lnTo>
                    <a:pt x="1476" y="1122"/>
                  </a:lnTo>
                  <a:lnTo>
                    <a:pt x="1476" y="1116"/>
                  </a:lnTo>
                  <a:lnTo>
                    <a:pt x="1482" y="1110"/>
                  </a:lnTo>
                  <a:lnTo>
                    <a:pt x="1476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82" y="1086"/>
                  </a:lnTo>
                  <a:lnTo>
                    <a:pt x="1482" y="1074"/>
                  </a:lnTo>
                  <a:lnTo>
                    <a:pt x="1488" y="1068"/>
                  </a:lnTo>
                  <a:lnTo>
                    <a:pt x="1488" y="1062"/>
                  </a:lnTo>
                  <a:lnTo>
                    <a:pt x="1494" y="1062"/>
                  </a:lnTo>
                  <a:lnTo>
                    <a:pt x="1500" y="1062"/>
                  </a:lnTo>
                  <a:lnTo>
                    <a:pt x="1506" y="1062"/>
                  </a:lnTo>
                  <a:lnTo>
                    <a:pt x="1506" y="1056"/>
                  </a:lnTo>
                  <a:lnTo>
                    <a:pt x="1506" y="1062"/>
                  </a:lnTo>
                  <a:lnTo>
                    <a:pt x="1518" y="1062"/>
                  </a:lnTo>
                  <a:lnTo>
                    <a:pt x="1524" y="1062"/>
                  </a:lnTo>
                  <a:lnTo>
                    <a:pt x="1530" y="1062"/>
                  </a:lnTo>
                  <a:lnTo>
                    <a:pt x="1536" y="1068"/>
                  </a:lnTo>
                  <a:lnTo>
                    <a:pt x="1536" y="1074"/>
                  </a:lnTo>
                  <a:lnTo>
                    <a:pt x="1542" y="1086"/>
                  </a:lnTo>
                  <a:lnTo>
                    <a:pt x="1548" y="1086"/>
                  </a:lnTo>
                  <a:lnTo>
                    <a:pt x="1554" y="1086"/>
                  </a:lnTo>
                  <a:lnTo>
                    <a:pt x="1566" y="1098"/>
                  </a:lnTo>
                  <a:lnTo>
                    <a:pt x="1572" y="1104"/>
                  </a:lnTo>
                  <a:lnTo>
                    <a:pt x="1566" y="1110"/>
                  </a:lnTo>
                  <a:lnTo>
                    <a:pt x="1572" y="1116"/>
                  </a:lnTo>
                  <a:lnTo>
                    <a:pt x="1578" y="1116"/>
                  </a:lnTo>
                  <a:lnTo>
                    <a:pt x="1578" y="1122"/>
                  </a:lnTo>
                  <a:lnTo>
                    <a:pt x="1584" y="1122"/>
                  </a:lnTo>
                  <a:lnTo>
                    <a:pt x="1584" y="1128"/>
                  </a:lnTo>
                  <a:lnTo>
                    <a:pt x="1584" y="1134"/>
                  </a:lnTo>
                  <a:lnTo>
                    <a:pt x="1590" y="1134"/>
                  </a:lnTo>
                  <a:lnTo>
                    <a:pt x="1596" y="1140"/>
                  </a:lnTo>
                  <a:lnTo>
                    <a:pt x="1602" y="1146"/>
                  </a:lnTo>
                  <a:lnTo>
                    <a:pt x="1608" y="1146"/>
                  </a:lnTo>
                  <a:lnTo>
                    <a:pt x="1614" y="1146"/>
                  </a:lnTo>
                  <a:lnTo>
                    <a:pt x="1614" y="1152"/>
                  </a:lnTo>
                  <a:lnTo>
                    <a:pt x="1620" y="1152"/>
                  </a:lnTo>
                  <a:lnTo>
                    <a:pt x="1626" y="1164"/>
                  </a:lnTo>
                  <a:lnTo>
                    <a:pt x="1632" y="1170"/>
                  </a:lnTo>
                  <a:lnTo>
                    <a:pt x="1638" y="1176"/>
                  </a:lnTo>
                  <a:lnTo>
                    <a:pt x="1638" y="1182"/>
                  </a:lnTo>
                  <a:lnTo>
                    <a:pt x="1644" y="1194"/>
                  </a:lnTo>
                  <a:lnTo>
                    <a:pt x="1644" y="1200"/>
                  </a:lnTo>
                  <a:lnTo>
                    <a:pt x="1638" y="1200"/>
                  </a:lnTo>
                  <a:lnTo>
                    <a:pt x="1638" y="1206"/>
                  </a:lnTo>
                  <a:lnTo>
                    <a:pt x="1638" y="1212"/>
                  </a:lnTo>
                  <a:lnTo>
                    <a:pt x="1638" y="1218"/>
                  </a:lnTo>
                  <a:lnTo>
                    <a:pt x="1632" y="1242"/>
                  </a:lnTo>
                  <a:lnTo>
                    <a:pt x="1632" y="1266"/>
                  </a:lnTo>
                  <a:lnTo>
                    <a:pt x="1638" y="1284"/>
                  </a:lnTo>
                  <a:lnTo>
                    <a:pt x="1638" y="1296"/>
                  </a:lnTo>
                  <a:lnTo>
                    <a:pt x="1632" y="1296"/>
                  </a:lnTo>
                  <a:lnTo>
                    <a:pt x="1632" y="1302"/>
                  </a:lnTo>
                  <a:lnTo>
                    <a:pt x="1638" y="1314"/>
                  </a:lnTo>
                  <a:lnTo>
                    <a:pt x="1638" y="1320"/>
                  </a:lnTo>
                  <a:lnTo>
                    <a:pt x="1632" y="1320"/>
                  </a:lnTo>
                  <a:lnTo>
                    <a:pt x="1632" y="1326"/>
                  </a:lnTo>
                  <a:lnTo>
                    <a:pt x="1644" y="1332"/>
                  </a:lnTo>
                  <a:lnTo>
                    <a:pt x="1644" y="1338"/>
                  </a:lnTo>
                  <a:lnTo>
                    <a:pt x="1650" y="1344"/>
                  </a:lnTo>
                  <a:lnTo>
                    <a:pt x="1668" y="1362"/>
                  </a:lnTo>
                  <a:lnTo>
                    <a:pt x="1668" y="1368"/>
                  </a:lnTo>
                  <a:lnTo>
                    <a:pt x="1674" y="1392"/>
                  </a:lnTo>
                  <a:lnTo>
                    <a:pt x="1686" y="140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2" name="Freeform 17">
              <a:extLst>
                <a:ext uri="{FF2B5EF4-FFF2-40B4-BE49-F238E27FC236}">
                  <a16:creationId xmlns:a16="http://schemas.microsoft.com/office/drawing/2014/main" id="{9F9DF7AF-2203-4CCB-AF1B-32CDAF87CC5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416927"/>
              <a:ext cx="816209" cy="574781"/>
            </a:xfrm>
            <a:custGeom>
              <a:avLst/>
              <a:gdLst>
                <a:gd name="T0" fmla="*/ 115 w 1536"/>
                <a:gd name="T1" fmla="*/ 89 h 1080"/>
                <a:gd name="T2" fmla="*/ 113 w 1536"/>
                <a:gd name="T3" fmla="*/ 92 h 1080"/>
                <a:gd name="T4" fmla="*/ 107 w 1536"/>
                <a:gd name="T5" fmla="*/ 93 h 1080"/>
                <a:gd name="T6" fmla="*/ 108 w 1536"/>
                <a:gd name="T7" fmla="*/ 90 h 1080"/>
                <a:gd name="T8" fmla="*/ 105 w 1536"/>
                <a:gd name="T9" fmla="*/ 87 h 1080"/>
                <a:gd name="T10" fmla="*/ 102 w 1536"/>
                <a:gd name="T11" fmla="*/ 85 h 1080"/>
                <a:gd name="T12" fmla="*/ 89 w 1536"/>
                <a:gd name="T13" fmla="*/ 80 h 1080"/>
                <a:gd name="T14" fmla="*/ 85 w 1536"/>
                <a:gd name="T15" fmla="*/ 82 h 1080"/>
                <a:gd name="T16" fmla="*/ 82 w 1536"/>
                <a:gd name="T17" fmla="*/ 80 h 1080"/>
                <a:gd name="T18" fmla="*/ 80 w 1536"/>
                <a:gd name="T19" fmla="*/ 75 h 1080"/>
                <a:gd name="T20" fmla="*/ 75 w 1536"/>
                <a:gd name="T21" fmla="*/ 72 h 1080"/>
                <a:gd name="T22" fmla="*/ 61 w 1536"/>
                <a:gd name="T23" fmla="*/ 70 h 1080"/>
                <a:gd name="T24" fmla="*/ 62 w 1536"/>
                <a:gd name="T25" fmla="*/ 72 h 1080"/>
                <a:gd name="T26" fmla="*/ 58 w 1536"/>
                <a:gd name="T27" fmla="*/ 75 h 1080"/>
                <a:gd name="T28" fmla="*/ 49 w 1536"/>
                <a:gd name="T29" fmla="*/ 76 h 1080"/>
                <a:gd name="T30" fmla="*/ 41 w 1536"/>
                <a:gd name="T31" fmla="*/ 79 h 1080"/>
                <a:gd name="T32" fmla="*/ 41 w 1536"/>
                <a:gd name="T33" fmla="*/ 77 h 1080"/>
                <a:gd name="T34" fmla="*/ 39 w 1536"/>
                <a:gd name="T35" fmla="*/ 74 h 1080"/>
                <a:gd name="T36" fmla="*/ 28 w 1536"/>
                <a:gd name="T37" fmla="*/ 78 h 1080"/>
                <a:gd name="T38" fmla="*/ 18 w 1536"/>
                <a:gd name="T39" fmla="*/ 85 h 1080"/>
                <a:gd name="T40" fmla="*/ 18 w 1536"/>
                <a:gd name="T41" fmla="*/ 77 h 1080"/>
                <a:gd name="T42" fmla="*/ 19 w 1536"/>
                <a:gd name="T43" fmla="*/ 69 h 1080"/>
                <a:gd name="T44" fmla="*/ 16 w 1536"/>
                <a:gd name="T45" fmla="*/ 69 h 1080"/>
                <a:gd name="T46" fmla="*/ 11 w 1536"/>
                <a:gd name="T47" fmla="*/ 69 h 1080"/>
                <a:gd name="T48" fmla="*/ 5 w 1536"/>
                <a:gd name="T49" fmla="*/ 68 h 1080"/>
                <a:gd name="T50" fmla="*/ 1 w 1536"/>
                <a:gd name="T51" fmla="*/ 63 h 1080"/>
                <a:gd name="T52" fmla="*/ 3 w 1536"/>
                <a:gd name="T53" fmla="*/ 59 h 1080"/>
                <a:gd name="T54" fmla="*/ 9 w 1536"/>
                <a:gd name="T55" fmla="*/ 54 h 1080"/>
                <a:gd name="T56" fmla="*/ 15 w 1536"/>
                <a:gd name="T57" fmla="*/ 47 h 1080"/>
                <a:gd name="T58" fmla="*/ 17 w 1536"/>
                <a:gd name="T59" fmla="*/ 40 h 1080"/>
                <a:gd name="T60" fmla="*/ 12 w 1536"/>
                <a:gd name="T61" fmla="*/ 33 h 1080"/>
                <a:gd name="T62" fmla="*/ 10 w 1536"/>
                <a:gd name="T63" fmla="*/ 21 h 1080"/>
                <a:gd name="T64" fmla="*/ 6 w 1536"/>
                <a:gd name="T65" fmla="*/ 14 h 1080"/>
                <a:gd name="T66" fmla="*/ 7 w 1536"/>
                <a:gd name="T67" fmla="*/ 9 h 1080"/>
                <a:gd name="T68" fmla="*/ 12 w 1536"/>
                <a:gd name="T69" fmla="*/ 7 h 1080"/>
                <a:gd name="T70" fmla="*/ 16 w 1536"/>
                <a:gd name="T71" fmla="*/ 8 h 1080"/>
                <a:gd name="T72" fmla="*/ 19 w 1536"/>
                <a:gd name="T73" fmla="*/ 8 h 1080"/>
                <a:gd name="T74" fmla="*/ 22 w 1536"/>
                <a:gd name="T75" fmla="*/ 9 h 1080"/>
                <a:gd name="T76" fmla="*/ 29 w 1536"/>
                <a:gd name="T77" fmla="*/ 12 h 1080"/>
                <a:gd name="T78" fmla="*/ 33 w 1536"/>
                <a:gd name="T79" fmla="*/ 13 h 1080"/>
                <a:gd name="T80" fmla="*/ 38 w 1536"/>
                <a:gd name="T81" fmla="*/ 15 h 1080"/>
                <a:gd name="T82" fmla="*/ 42 w 1536"/>
                <a:gd name="T83" fmla="*/ 17 h 1080"/>
                <a:gd name="T84" fmla="*/ 47 w 1536"/>
                <a:gd name="T85" fmla="*/ 19 h 1080"/>
                <a:gd name="T86" fmla="*/ 51 w 1536"/>
                <a:gd name="T87" fmla="*/ 21 h 1080"/>
                <a:gd name="T88" fmla="*/ 50 w 1536"/>
                <a:gd name="T89" fmla="*/ 15 h 1080"/>
                <a:gd name="T90" fmla="*/ 56 w 1536"/>
                <a:gd name="T91" fmla="*/ 0 h 1080"/>
                <a:gd name="T92" fmla="*/ 74 w 1536"/>
                <a:gd name="T93" fmla="*/ 5 h 1080"/>
                <a:gd name="T94" fmla="*/ 87 w 1536"/>
                <a:gd name="T95" fmla="*/ 6 h 1080"/>
                <a:gd name="T96" fmla="*/ 92 w 1536"/>
                <a:gd name="T97" fmla="*/ 11 h 1080"/>
                <a:gd name="T98" fmla="*/ 95 w 1536"/>
                <a:gd name="T99" fmla="*/ 15 h 1080"/>
                <a:gd name="T100" fmla="*/ 93 w 1536"/>
                <a:gd name="T101" fmla="*/ 20 h 1080"/>
                <a:gd name="T102" fmla="*/ 108 w 1536"/>
                <a:gd name="T103" fmla="*/ 18 h 1080"/>
                <a:gd name="T104" fmla="*/ 120 w 1536"/>
                <a:gd name="T105" fmla="*/ 21 h 1080"/>
                <a:gd name="T106" fmla="*/ 127 w 1536"/>
                <a:gd name="T107" fmla="*/ 29 h 1080"/>
                <a:gd name="T108" fmla="*/ 130 w 1536"/>
                <a:gd name="T109" fmla="*/ 30 h 1080"/>
                <a:gd name="T110" fmla="*/ 130 w 1536"/>
                <a:gd name="T111" fmla="*/ 49 h 1080"/>
                <a:gd name="T112" fmla="*/ 120 w 1536"/>
                <a:gd name="T113" fmla="*/ 69 h 1080"/>
                <a:gd name="T114" fmla="*/ 119 w 1536"/>
                <a:gd name="T115" fmla="*/ 74 h 1080"/>
                <a:gd name="T116" fmla="*/ 118 w 1536"/>
                <a:gd name="T117" fmla="*/ 80 h 108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536"/>
                <a:gd name="T178" fmla="*/ 0 h 1080"/>
                <a:gd name="T179" fmla="*/ 1536 w 1536"/>
                <a:gd name="T180" fmla="*/ 1080 h 108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536" h="1080">
                  <a:moveTo>
                    <a:pt x="1350" y="1020"/>
                  </a:moveTo>
                  <a:lnTo>
                    <a:pt x="1350" y="1026"/>
                  </a:lnTo>
                  <a:lnTo>
                    <a:pt x="1344" y="1026"/>
                  </a:lnTo>
                  <a:lnTo>
                    <a:pt x="1338" y="1032"/>
                  </a:lnTo>
                  <a:lnTo>
                    <a:pt x="1332" y="1026"/>
                  </a:lnTo>
                  <a:lnTo>
                    <a:pt x="1326" y="1026"/>
                  </a:lnTo>
                  <a:lnTo>
                    <a:pt x="1320" y="1020"/>
                  </a:lnTo>
                  <a:lnTo>
                    <a:pt x="1314" y="1026"/>
                  </a:lnTo>
                  <a:lnTo>
                    <a:pt x="1314" y="1032"/>
                  </a:lnTo>
                  <a:lnTo>
                    <a:pt x="1308" y="1038"/>
                  </a:lnTo>
                  <a:lnTo>
                    <a:pt x="1308" y="1044"/>
                  </a:lnTo>
                  <a:lnTo>
                    <a:pt x="1308" y="1050"/>
                  </a:lnTo>
                  <a:lnTo>
                    <a:pt x="1308" y="1056"/>
                  </a:lnTo>
                  <a:lnTo>
                    <a:pt x="1308" y="1062"/>
                  </a:lnTo>
                  <a:lnTo>
                    <a:pt x="1296" y="1068"/>
                  </a:lnTo>
                  <a:lnTo>
                    <a:pt x="1284" y="1074"/>
                  </a:lnTo>
                  <a:lnTo>
                    <a:pt x="1272" y="1080"/>
                  </a:lnTo>
                  <a:lnTo>
                    <a:pt x="1260" y="1080"/>
                  </a:lnTo>
                  <a:lnTo>
                    <a:pt x="1254" y="1074"/>
                  </a:lnTo>
                  <a:lnTo>
                    <a:pt x="1236" y="1074"/>
                  </a:lnTo>
                  <a:lnTo>
                    <a:pt x="1230" y="1074"/>
                  </a:lnTo>
                  <a:lnTo>
                    <a:pt x="1236" y="1074"/>
                  </a:lnTo>
                  <a:lnTo>
                    <a:pt x="1236" y="1068"/>
                  </a:lnTo>
                  <a:lnTo>
                    <a:pt x="1236" y="1062"/>
                  </a:lnTo>
                  <a:lnTo>
                    <a:pt x="1236" y="1056"/>
                  </a:lnTo>
                  <a:lnTo>
                    <a:pt x="1242" y="1050"/>
                  </a:lnTo>
                  <a:lnTo>
                    <a:pt x="1242" y="1044"/>
                  </a:lnTo>
                  <a:lnTo>
                    <a:pt x="1242" y="1038"/>
                  </a:lnTo>
                  <a:lnTo>
                    <a:pt x="1248" y="1032"/>
                  </a:lnTo>
                  <a:lnTo>
                    <a:pt x="1236" y="1026"/>
                  </a:lnTo>
                  <a:lnTo>
                    <a:pt x="1218" y="1020"/>
                  </a:lnTo>
                  <a:lnTo>
                    <a:pt x="1224" y="1014"/>
                  </a:lnTo>
                  <a:lnTo>
                    <a:pt x="1218" y="1008"/>
                  </a:lnTo>
                  <a:lnTo>
                    <a:pt x="1218" y="1002"/>
                  </a:lnTo>
                  <a:lnTo>
                    <a:pt x="1212" y="1008"/>
                  </a:lnTo>
                  <a:lnTo>
                    <a:pt x="1206" y="1002"/>
                  </a:lnTo>
                  <a:lnTo>
                    <a:pt x="1212" y="1002"/>
                  </a:lnTo>
                  <a:lnTo>
                    <a:pt x="1212" y="996"/>
                  </a:lnTo>
                  <a:lnTo>
                    <a:pt x="1200" y="990"/>
                  </a:lnTo>
                  <a:lnTo>
                    <a:pt x="1200" y="984"/>
                  </a:lnTo>
                  <a:lnTo>
                    <a:pt x="1188" y="984"/>
                  </a:lnTo>
                  <a:lnTo>
                    <a:pt x="1176" y="978"/>
                  </a:lnTo>
                  <a:lnTo>
                    <a:pt x="1164" y="960"/>
                  </a:lnTo>
                  <a:lnTo>
                    <a:pt x="1152" y="936"/>
                  </a:lnTo>
                  <a:lnTo>
                    <a:pt x="1146" y="936"/>
                  </a:lnTo>
                  <a:lnTo>
                    <a:pt x="1128" y="900"/>
                  </a:lnTo>
                  <a:lnTo>
                    <a:pt x="1038" y="912"/>
                  </a:lnTo>
                  <a:lnTo>
                    <a:pt x="1038" y="918"/>
                  </a:lnTo>
                  <a:lnTo>
                    <a:pt x="1032" y="924"/>
                  </a:lnTo>
                  <a:lnTo>
                    <a:pt x="1026" y="918"/>
                  </a:lnTo>
                  <a:lnTo>
                    <a:pt x="1020" y="924"/>
                  </a:lnTo>
                  <a:lnTo>
                    <a:pt x="1008" y="936"/>
                  </a:lnTo>
                  <a:lnTo>
                    <a:pt x="990" y="936"/>
                  </a:lnTo>
                  <a:lnTo>
                    <a:pt x="990" y="942"/>
                  </a:lnTo>
                  <a:lnTo>
                    <a:pt x="996" y="942"/>
                  </a:lnTo>
                  <a:lnTo>
                    <a:pt x="984" y="948"/>
                  </a:lnTo>
                  <a:lnTo>
                    <a:pt x="972" y="948"/>
                  </a:lnTo>
                  <a:lnTo>
                    <a:pt x="960" y="948"/>
                  </a:lnTo>
                  <a:lnTo>
                    <a:pt x="948" y="942"/>
                  </a:lnTo>
                  <a:lnTo>
                    <a:pt x="948" y="936"/>
                  </a:lnTo>
                  <a:lnTo>
                    <a:pt x="942" y="936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30" y="924"/>
                  </a:lnTo>
                  <a:lnTo>
                    <a:pt x="936" y="918"/>
                  </a:lnTo>
                  <a:lnTo>
                    <a:pt x="918" y="918"/>
                  </a:lnTo>
                  <a:lnTo>
                    <a:pt x="918" y="900"/>
                  </a:lnTo>
                  <a:lnTo>
                    <a:pt x="924" y="900"/>
                  </a:lnTo>
                  <a:lnTo>
                    <a:pt x="924" y="894"/>
                  </a:lnTo>
                  <a:lnTo>
                    <a:pt x="924" y="870"/>
                  </a:lnTo>
                  <a:lnTo>
                    <a:pt x="924" y="864"/>
                  </a:lnTo>
                  <a:lnTo>
                    <a:pt x="918" y="858"/>
                  </a:lnTo>
                  <a:lnTo>
                    <a:pt x="918" y="852"/>
                  </a:lnTo>
                  <a:lnTo>
                    <a:pt x="906" y="840"/>
                  </a:lnTo>
                  <a:lnTo>
                    <a:pt x="894" y="834"/>
                  </a:lnTo>
                  <a:lnTo>
                    <a:pt x="876" y="822"/>
                  </a:lnTo>
                  <a:lnTo>
                    <a:pt x="870" y="828"/>
                  </a:lnTo>
                  <a:lnTo>
                    <a:pt x="858" y="816"/>
                  </a:lnTo>
                  <a:lnTo>
                    <a:pt x="810" y="798"/>
                  </a:lnTo>
                  <a:lnTo>
                    <a:pt x="774" y="792"/>
                  </a:lnTo>
                  <a:lnTo>
                    <a:pt x="732" y="798"/>
                  </a:lnTo>
                  <a:lnTo>
                    <a:pt x="726" y="804"/>
                  </a:lnTo>
                  <a:lnTo>
                    <a:pt x="714" y="810"/>
                  </a:lnTo>
                  <a:lnTo>
                    <a:pt x="702" y="810"/>
                  </a:lnTo>
                  <a:lnTo>
                    <a:pt x="690" y="810"/>
                  </a:lnTo>
                  <a:lnTo>
                    <a:pt x="696" y="816"/>
                  </a:lnTo>
                  <a:lnTo>
                    <a:pt x="696" y="822"/>
                  </a:lnTo>
                  <a:lnTo>
                    <a:pt x="702" y="822"/>
                  </a:lnTo>
                  <a:lnTo>
                    <a:pt x="708" y="822"/>
                  </a:lnTo>
                  <a:lnTo>
                    <a:pt x="708" y="828"/>
                  </a:lnTo>
                  <a:lnTo>
                    <a:pt x="708" y="834"/>
                  </a:lnTo>
                  <a:lnTo>
                    <a:pt x="714" y="834"/>
                  </a:lnTo>
                  <a:lnTo>
                    <a:pt x="708" y="846"/>
                  </a:lnTo>
                  <a:lnTo>
                    <a:pt x="708" y="852"/>
                  </a:lnTo>
                  <a:lnTo>
                    <a:pt x="702" y="852"/>
                  </a:lnTo>
                  <a:lnTo>
                    <a:pt x="696" y="858"/>
                  </a:lnTo>
                  <a:lnTo>
                    <a:pt x="690" y="864"/>
                  </a:lnTo>
                  <a:lnTo>
                    <a:pt x="666" y="870"/>
                  </a:lnTo>
                  <a:lnTo>
                    <a:pt x="660" y="876"/>
                  </a:lnTo>
                  <a:lnTo>
                    <a:pt x="642" y="876"/>
                  </a:lnTo>
                  <a:lnTo>
                    <a:pt x="606" y="882"/>
                  </a:lnTo>
                  <a:lnTo>
                    <a:pt x="588" y="882"/>
                  </a:lnTo>
                  <a:lnTo>
                    <a:pt x="582" y="876"/>
                  </a:lnTo>
                  <a:lnTo>
                    <a:pt x="576" y="876"/>
                  </a:lnTo>
                  <a:lnTo>
                    <a:pt x="564" y="876"/>
                  </a:lnTo>
                  <a:lnTo>
                    <a:pt x="552" y="882"/>
                  </a:lnTo>
                  <a:lnTo>
                    <a:pt x="540" y="894"/>
                  </a:lnTo>
                  <a:lnTo>
                    <a:pt x="534" y="906"/>
                  </a:lnTo>
                  <a:lnTo>
                    <a:pt x="528" y="912"/>
                  </a:lnTo>
                  <a:lnTo>
                    <a:pt x="516" y="924"/>
                  </a:lnTo>
                  <a:lnTo>
                    <a:pt x="486" y="930"/>
                  </a:lnTo>
                  <a:lnTo>
                    <a:pt x="474" y="912"/>
                  </a:lnTo>
                  <a:lnTo>
                    <a:pt x="474" y="906"/>
                  </a:lnTo>
                  <a:lnTo>
                    <a:pt x="468" y="906"/>
                  </a:lnTo>
                  <a:lnTo>
                    <a:pt x="468" y="900"/>
                  </a:lnTo>
                  <a:lnTo>
                    <a:pt x="462" y="894"/>
                  </a:lnTo>
                  <a:lnTo>
                    <a:pt x="456" y="894"/>
                  </a:lnTo>
                  <a:lnTo>
                    <a:pt x="462" y="888"/>
                  </a:lnTo>
                  <a:lnTo>
                    <a:pt x="468" y="888"/>
                  </a:lnTo>
                  <a:lnTo>
                    <a:pt x="462" y="882"/>
                  </a:lnTo>
                  <a:lnTo>
                    <a:pt x="462" y="876"/>
                  </a:lnTo>
                  <a:lnTo>
                    <a:pt x="456" y="870"/>
                  </a:lnTo>
                  <a:lnTo>
                    <a:pt x="456" y="864"/>
                  </a:lnTo>
                  <a:lnTo>
                    <a:pt x="450" y="858"/>
                  </a:lnTo>
                  <a:lnTo>
                    <a:pt x="444" y="858"/>
                  </a:lnTo>
                  <a:lnTo>
                    <a:pt x="444" y="852"/>
                  </a:lnTo>
                  <a:lnTo>
                    <a:pt x="438" y="852"/>
                  </a:lnTo>
                  <a:lnTo>
                    <a:pt x="438" y="858"/>
                  </a:lnTo>
                  <a:lnTo>
                    <a:pt x="402" y="870"/>
                  </a:lnTo>
                  <a:lnTo>
                    <a:pt x="390" y="882"/>
                  </a:lnTo>
                  <a:lnTo>
                    <a:pt x="384" y="900"/>
                  </a:lnTo>
                  <a:lnTo>
                    <a:pt x="342" y="900"/>
                  </a:lnTo>
                  <a:lnTo>
                    <a:pt x="324" y="900"/>
                  </a:lnTo>
                  <a:lnTo>
                    <a:pt x="294" y="906"/>
                  </a:lnTo>
                  <a:lnTo>
                    <a:pt x="282" y="948"/>
                  </a:lnTo>
                  <a:lnTo>
                    <a:pt x="282" y="978"/>
                  </a:lnTo>
                  <a:lnTo>
                    <a:pt x="270" y="1008"/>
                  </a:lnTo>
                  <a:lnTo>
                    <a:pt x="240" y="1014"/>
                  </a:lnTo>
                  <a:lnTo>
                    <a:pt x="216" y="996"/>
                  </a:lnTo>
                  <a:lnTo>
                    <a:pt x="204" y="984"/>
                  </a:lnTo>
                  <a:lnTo>
                    <a:pt x="192" y="966"/>
                  </a:lnTo>
                  <a:lnTo>
                    <a:pt x="186" y="948"/>
                  </a:lnTo>
                  <a:lnTo>
                    <a:pt x="174" y="948"/>
                  </a:lnTo>
                  <a:lnTo>
                    <a:pt x="174" y="936"/>
                  </a:lnTo>
                  <a:lnTo>
                    <a:pt x="186" y="924"/>
                  </a:lnTo>
                  <a:lnTo>
                    <a:pt x="198" y="906"/>
                  </a:lnTo>
                  <a:lnTo>
                    <a:pt x="204" y="888"/>
                  </a:lnTo>
                  <a:lnTo>
                    <a:pt x="222" y="870"/>
                  </a:lnTo>
                  <a:lnTo>
                    <a:pt x="234" y="858"/>
                  </a:lnTo>
                  <a:lnTo>
                    <a:pt x="234" y="852"/>
                  </a:lnTo>
                  <a:lnTo>
                    <a:pt x="222" y="852"/>
                  </a:lnTo>
                  <a:lnTo>
                    <a:pt x="228" y="810"/>
                  </a:lnTo>
                  <a:lnTo>
                    <a:pt x="222" y="798"/>
                  </a:lnTo>
                  <a:lnTo>
                    <a:pt x="216" y="798"/>
                  </a:lnTo>
                  <a:lnTo>
                    <a:pt x="216" y="792"/>
                  </a:lnTo>
                  <a:lnTo>
                    <a:pt x="210" y="792"/>
                  </a:lnTo>
                  <a:lnTo>
                    <a:pt x="204" y="798"/>
                  </a:lnTo>
                  <a:lnTo>
                    <a:pt x="204" y="792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0" y="786"/>
                  </a:lnTo>
                  <a:lnTo>
                    <a:pt x="174" y="792"/>
                  </a:lnTo>
                  <a:lnTo>
                    <a:pt x="162" y="792"/>
                  </a:lnTo>
                  <a:lnTo>
                    <a:pt x="156" y="792"/>
                  </a:lnTo>
                  <a:lnTo>
                    <a:pt x="156" y="798"/>
                  </a:lnTo>
                  <a:lnTo>
                    <a:pt x="138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6" y="804"/>
                  </a:lnTo>
                  <a:lnTo>
                    <a:pt x="102" y="810"/>
                  </a:lnTo>
                  <a:lnTo>
                    <a:pt x="90" y="810"/>
                  </a:lnTo>
                  <a:lnTo>
                    <a:pt x="72" y="798"/>
                  </a:lnTo>
                  <a:lnTo>
                    <a:pt x="66" y="780"/>
                  </a:lnTo>
                  <a:lnTo>
                    <a:pt x="60" y="780"/>
                  </a:lnTo>
                  <a:lnTo>
                    <a:pt x="60" y="768"/>
                  </a:lnTo>
                  <a:lnTo>
                    <a:pt x="54" y="768"/>
                  </a:lnTo>
                  <a:lnTo>
                    <a:pt x="24" y="756"/>
                  </a:lnTo>
                  <a:lnTo>
                    <a:pt x="18" y="744"/>
                  </a:lnTo>
                  <a:lnTo>
                    <a:pt x="12" y="738"/>
                  </a:lnTo>
                  <a:lnTo>
                    <a:pt x="18" y="732"/>
                  </a:lnTo>
                  <a:lnTo>
                    <a:pt x="12" y="726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8" y="696"/>
                  </a:lnTo>
                  <a:lnTo>
                    <a:pt x="24" y="708"/>
                  </a:lnTo>
                  <a:lnTo>
                    <a:pt x="36" y="702"/>
                  </a:lnTo>
                  <a:lnTo>
                    <a:pt x="36" y="678"/>
                  </a:lnTo>
                  <a:lnTo>
                    <a:pt x="36" y="660"/>
                  </a:lnTo>
                  <a:lnTo>
                    <a:pt x="42" y="654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72" y="624"/>
                  </a:lnTo>
                  <a:lnTo>
                    <a:pt x="90" y="618"/>
                  </a:lnTo>
                  <a:lnTo>
                    <a:pt x="102" y="618"/>
                  </a:lnTo>
                  <a:lnTo>
                    <a:pt x="114" y="612"/>
                  </a:lnTo>
                  <a:lnTo>
                    <a:pt x="138" y="606"/>
                  </a:lnTo>
                  <a:lnTo>
                    <a:pt x="144" y="606"/>
                  </a:lnTo>
                  <a:lnTo>
                    <a:pt x="150" y="594"/>
                  </a:lnTo>
                  <a:lnTo>
                    <a:pt x="156" y="576"/>
                  </a:lnTo>
                  <a:lnTo>
                    <a:pt x="168" y="552"/>
                  </a:lnTo>
                  <a:lnTo>
                    <a:pt x="168" y="540"/>
                  </a:lnTo>
                  <a:lnTo>
                    <a:pt x="180" y="522"/>
                  </a:lnTo>
                  <a:lnTo>
                    <a:pt x="186" y="498"/>
                  </a:lnTo>
                  <a:lnTo>
                    <a:pt x="198" y="480"/>
                  </a:lnTo>
                  <a:lnTo>
                    <a:pt x="204" y="486"/>
                  </a:lnTo>
                  <a:lnTo>
                    <a:pt x="210" y="480"/>
                  </a:lnTo>
                  <a:lnTo>
                    <a:pt x="204" y="474"/>
                  </a:lnTo>
                  <a:lnTo>
                    <a:pt x="198" y="462"/>
                  </a:lnTo>
                  <a:lnTo>
                    <a:pt x="192" y="456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50"/>
                  </a:lnTo>
                  <a:lnTo>
                    <a:pt x="132" y="426"/>
                  </a:lnTo>
                  <a:lnTo>
                    <a:pt x="132" y="396"/>
                  </a:lnTo>
                  <a:lnTo>
                    <a:pt x="132" y="378"/>
                  </a:lnTo>
                  <a:lnTo>
                    <a:pt x="126" y="348"/>
                  </a:lnTo>
                  <a:lnTo>
                    <a:pt x="132" y="312"/>
                  </a:lnTo>
                  <a:lnTo>
                    <a:pt x="126" y="288"/>
                  </a:lnTo>
                  <a:lnTo>
                    <a:pt x="138" y="282"/>
                  </a:lnTo>
                  <a:lnTo>
                    <a:pt x="126" y="264"/>
                  </a:lnTo>
                  <a:lnTo>
                    <a:pt x="126" y="258"/>
                  </a:lnTo>
                  <a:lnTo>
                    <a:pt x="120" y="246"/>
                  </a:lnTo>
                  <a:lnTo>
                    <a:pt x="126" y="234"/>
                  </a:lnTo>
                  <a:lnTo>
                    <a:pt x="114" y="228"/>
                  </a:lnTo>
                  <a:lnTo>
                    <a:pt x="114" y="222"/>
                  </a:lnTo>
                  <a:lnTo>
                    <a:pt x="96" y="204"/>
                  </a:lnTo>
                  <a:lnTo>
                    <a:pt x="84" y="180"/>
                  </a:lnTo>
                  <a:lnTo>
                    <a:pt x="78" y="168"/>
                  </a:lnTo>
                  <a:lnTo>
                    <a:pt x="72" y="162"/>
                  </a:lnTo>
                  <a:lnTo>
                    <a:pt x="66" y="144"/>
                  </a:lnTo>
                  <a:lnTo>
                    <a:pt x="60" y="138"/>
                  </a:lnTo>
                  <a:lnTo>
                    <a:pt x="66" y="126"/>
                  </a:lnTo>
                  <a:lnTo>
                    <a:pt x="66" y="114"/>
                  </a:lnTo>
                  <a:lnTo>
                    <a:pt x="72" y="114"/>
                  </a:lnTo>
                  <a:lnTo>
                    <a:pt x="72" y="108"/>
                  </a:lnTo>
                  <a:lnTo>
                    <a:pt x="78" y="102"/>
                  </a:lnTo>
                  <a:lnTo>
                    <a:pt x="78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120" y="78"/>
                  </a:lnTo>
                  <a:lnTo>
                    <a:pt x="144" y="84"/>
                  </a:lnTo>
                  <a:lnTo>
                    <a:pt x="150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74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92" y="102"/>
                  </a:lnTo>
                  <a:lnTo>
                    <a:pt x="198" y="96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16" y="96"/>
                  </a:lnTo>
                  <a:lnTo>
                    <a:pt x="222" y="96"/>
                  </a:lnTo>
                  <a:lnTo>
                    <a:pt x="228" y="96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94" y="114"/>
                  </a:lnTo>
                  <a:lnTo>
                    <a:pt x="312" y="120"/>
                  </a:lnTo>
                  <a:lnTo>
                    <a:pt x="318" y="126"/>
                  </a:lnTo>
                  <a:lnTo>
                    <a:pt x="330" y="132"/>
                  </a:lnTo>
                  <a:lnTo>
                    <a:pt x="342" y="132"/>
                  </a:lnTo>
                  <a:lnTo>
                    <a:pt x="348" y="132"/>
                  </a:lnTo>
                  <a:lnTo>
                    <a:pt x="354" y="138"/>
                  </a:lnTo>
                  <a:lnTo>
                    <a:pt x="366" y="138"/>
                  </a:lnTo>
                  <a:lnTo>
                    <a:pt x="372" y="144"/>
                  </a:lnTo>
                  <a:lnTo>
                    <a:pt x="378" y="150"/>
                  </a:lnTo>
                  <a:lnTo>
                    <a:pt x="384" y="150"/>
                  </a:lnTo>
                  <a:lnTo>
                    <a:pt x="390" y="150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14" y="156"/>
                  </a:lnTo>
                  <a:lnTo>
                    <a:pt x="420" y="156"/>
                  </a:lnTo>
                  <a:lnTo>
                    <a:pt x="426" y="162"/>
                  </a:lnTo>
                  <a:lnTo>
                    <a:pt x="438" y="168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62" y="174"/>
                  </a:lnTo>
                  <a:lnTo>
                    <a:pt x="468" y="174"/>
                  </a:lnTo>
                  <a:lnTo>
                    <a:pt x="474" y="174"/>
                  </a:lnTo>
                  <a:lnTo>
                    <a:pt x="474" y="180"/>
                  </a:lnTo>
                  <a:lnTo>
                    <a:pt x="480" y="192"/>
                  </a:lnTo>
                  <a:lnTo>
                    <a:pt x="498" y="198"/>
                  </a:lnTo>
                  <a:lnTo>
                    <a:pt x="510" y="210"/>
                  </a:lnTo>
                  <a:lnTo>
                    <a:pt x="516" y="210"/>
                  </a:lnTo>
                  <a:lnTo>
                    <a:pt x="522" y="210"/>
                  </a:lnTo>
                  <a:lnTo>
                    <a:pt x="534" y="216"/>
                  </a:lnTo>
                  <a:lnTo>
                    <a:pt x="540" y="216"/>
                  </a:lnTo>
                  <a:lnTo>
                    <a:pt x="546" y="222"/>
                  </a:lnTo>
                  <a:lnTo>
                    <a:pt x="552" y="222"/>
                  </a:lnTo>
                  <a:lnTo>
                    <a:pt x="558" y="228"/>
                  </a:lnTo>
                  <a:lnTo>
                    <a:pt x="564" y="228"/>
                  </a:lnTo>
                  <a:lnTo>
                    <a:pt x="570" y="234"/>
                  </a:lnTo>
                  <a:lnTo>
                    <a:pt x="576" y="240"/>
                  </a:lnTo>
                  <a:lnTo>
                    <a:pt x="582" y="240"/>
                  </a:lnTo>
                  <a:lnTo>
                    <a:pt x="588" y="240"/>
                  </a:lnTo>
                  <a:lnTo>
                    <a:pt x="594" y="240"/>
                  </a:lnTo>
                  <a:lnTo>
                    <a:pt x="600" y="228"/>
                  </a:lnTo>
                  <a:lnTo>
                    <a:pt x="588" y="216"/>
                  </a:lnTo>
                  <a:lnTo>
                    <a:pt x="588" y="198"/>
                  </a:lnTo>
                  <a:lnTo>
                    <a:pt x="582" y="198"/>
                  </a:lnTo>
                  <a:lnTo>
                    <a:pt x="588" y="192"/>
                  </a:lnTo>
                  <a:lnTo>
                    <a:pt x="582" y="168"/>
                  </a:lnTo>
                  <a:lnTo>
                    <a:pt x="558" y="114"/>
                  </a:lnTo>
                  <a:lnTo>
                    <a:pt x="552" y="90"/>
                  </a:lnTo>
                  <a:lnTo>
                    <a:pt x="558" y="60"/>
                  </a:lnTo>
                  <a:lnTo>
                    <a:pt x="564" y="48"/>
                  </a:lnTo>
                  <a:lnTo>
                    <a:pt x="582" y="42"/>
                  </a:lnTo>
                  <a:lnTo>
                    <a:pt x="624" y="6"/>
                  </a:lnTo>
                  <a:lnTo>
                    <a:pt x="648" y="0"/>
                  </a:lnTo>
                  <a:lnTo>
                    <a:pt x="678" y="0"/>
                  </a:lnTo>
                  <a:lnTo>
                    <a:pt x="720" y="12"/>
                  </a:lnTo>
                  <a:lnTo>
                    <a:pt x="744" y="24"/>
                  </a:lnTo>
                  <a:lnTo>
                    <a:pt x="768" y="42"/>
                  </a:lnTo>
                  <a:lnTo>
                    <a:pt x="816" y="48"/>
                  </a:lnTo>
                  <a:lnTo>
                    <a:pt x="834" y="48"/>
                  </a:lnTo>
                  <a:lnTo>
                    <a:pt x="852" y="54"/>
                  </a:lnTo>
                  <a:lnTo>
                    <a:pt x="906" y="60"/>
                  </a:lnTo>
                  <a:lnTo>
                    <a:pt x="948" y="54"/>
                  </a:lnTo>
                  <a:lnTo>
                    <a:pt x="978" y="42"/>
                  </a:lnTo>
                  <a:lnTo>
                    <a:pt x="984" y="48"/>
                  </a:lnTo>
                  <a:lnTo>
                    <a:pt x="990" y="60"/>
                  </a:lnTo>
                  <a:lnTo>
                    <a:pt x="996" y="66"/>
                  </a:lnTo>
                  <a:lnTo>
                    <a:pt x="1002" y="72"/>
                  </a:lnTo>
                  <a:lnTo>
                    <a:pt x="1014" y="78"/>
                  </a:lnTo>
                  <a:lnTo>
                    <a:pt x="1014" y="84"/>
                  </a:lnTo>
                  <a:lnTo>
                    <a:pt x="1032" y="84"/>
                  </a:lnTo>
                  <a:lnTo>
                    <a:pt x="1032" y="90"/>
                  </a:lnTo>
                  <a:lnTo>
                    <a:pt x="1032" y="96"/>
                  </a:lnTo>
                  <a:lnTo>
                    <a:pt x="1032" y="108"/>
                  </a:lnTo>
                  <a:lnTo>
                    <a:pt x="1056" y="126"/>
                  </a:lnTo>
                  <a:lnTo>
                    <a:pt x="1068" y="138"/>
                  </a:lnTo>
                  <a:lnTo>
                    <a:pt x="1068" y="156"/>
                  </a:lnTo>
                  <a:lnTo>
                    <a:pt x="1080" y="150"/>
                  </a:lnTo>
                  <a:lnTo>
                    <a:pt x="1086" y="150"/>
                  </a:lnTo>
                  <a:lnTo>
                    <a:pt x="1092" y="156"/>
                  </a:lnTo>
                  <a:lnTo>
                    <a:pt x="1092" y="162"/>
                  </a:lnTo>
                  <a:lnTo>
                    <a:pt x="1092" y="168"/>
                  </a:lnTo>
                  <a:lnTo>
                    <a:pt x="1098" y="168"/>
                  </a:lnTo>
                  <a:lnTo>
                    <a:pt x="1092" y="180"/>
                  </a:lnTo>
                  <a:lnTo>
                    <a:pt x="1092" y="186"/>
                  </a:lnTo>
                  <a:lnTo>
                    <a:pt x="1086" y="192"/>
                  </a:lnTo>
                  <a:lnTo>
                    <a:pt x="1068" y="210"/>
                  </a:lnTo>
                  <a:lnTo>
                    <a:pt x="1068" y="216"/>
                  </a:lnTo>
                  <a:lnTo>
                    <a:pt x="1074" y="228"/>
                  </a:lnTo>
                  <a:lnTo>
                    <a:pt x="1092" y="234"/>
                  </a:lnTo>
                  <a:lnTo>
                    <a:pt x="1122" y="216"/>
                  </a:lnTo>
                  <a:lnTo>
                    <a:pt x="1188" y="204"/>
                  </a:lnTo>
                  <a:lnTo>
                    <a:pt x="1212" y="204"/>
                  </a:lnTo>
                  <a:lnTo>
                    <a:pt x="1230" y="198"/>
                  </a:lnTo>
                  <a:lnTo>
                    <a:pt x="1236" y="204"/>
                  </a:lnTo>
                  <a:lnTo>
                    <a:pt x="1242" y="210"/>
                  </a:lnTo>
                  <a:lnTo>
                    <a:pt x="1242" y="204"/>
                  </a:lnTo>
                  <a:lnTo>
                    <a:pt x="1248" y="198"/>
                  </a:lnTo>
                  <a:lnTo>
                    <a:pt x="1308" y="204"/>
                  </a:lnTo>
                  <a:lnTo>
                    <a:pt x="1338" y="204"/>
                  </a:lnTo>
                  <a:lnTo>
                    <a:pt x="1374" y="228"/>
                  </a:lnTo>
                  <a:lnTo>
                    <a:pt x="1380" y="234"/>
                  </a:lnTo>
                  <a:lnTo>
                    <a:pt x="1380" y="240"/>
                  </a:lnTo>
                  <a:lnTo>
                    <a:pt x="1386" y="252"/>
                  </a:lnTo>
                  <a:lnTo>
                    <a:pt x="1392" y="252"/>
                  </a:lnTo>
                  <a:lnTo>
                    <a:pt x="1416" y="270"/>
                  </a:lnTo>
                  <a:lnTo>
                    <a:pt x="1428" y="294"/>
                  </a:lnTo>
                  <a:lnTo>
                    <a:pt x="1440" y="312"/>
                  </a:lnTo>
                  <a:lnTo>
                    <a:pt x="1452" y="330"/>
                  </a:lnTo>
                  <a:lnTo>
                    <a:pt x="1464" y="330"/>
                  </a:lnTo>
                  <a:lnTo>
                    <a:pt x="1464" y="336"/>
                  </a:lnTo>
                  <a:lnTo>
                    <a:pt x="1470" y="336"/>
                  </a:lnTo>
                  <a:lnTo>
                    <a:pt x="1470" y="342"/>
                  </a:lnTo>
                  <a:lnTo>
                    <a:pt x="1476" y="342"/>
                  </a:lnTo>
                  <a:lnTo>
                    <a:pt x="1488" y="336"/>
                  </a:lnTo>
                  <a:lnTo>
                    <a:pt x="1494" y="342"/>
                  </a:lnTo>
                  <a:lnTo>
                    <a:pt x="1500" y="342"/>
                  </a:lnTo>
                  <a:lnTo>
                    <a:pt x="1512" y="366"/>
                  </a:lnTo>
                  <a:lnTo>
                    <a:pt x="1530" y="396"/>
                  </a:lnTo>
                  <a:lnTo>
                    <a:pt x="1536" y="444"/>
                  </a:lnTo>
                  <a:lnTo>
                    <a:pt x="1530" y="480"/>
                  </a:lnTo>
                  <a:lnTo>
                    <a:pt x="1506" y="510"/>
                  </a:lnTo>
                  <a:lnTo>
                    <a:pt x="1500" y="546"/>
                  </a:lnTo>
                  <a:lnTo>
                    <a:pt x="1494" y="564"/>
                  </a:lnTo>
                  <a:lnTo>
                    <a:pt x="1494" y="576"/>
                  </a:lnTo>
                  <a:lnTo>
                    <a:pt x="1500" y="582"/>
                  </a:lnTo>
                  <a:lnTo>
                    <a:pt x="1494" y="612"/>
                  </a:lnTo>
                  <a:lnTo>
                    <a:pt x="1476" y="630"/>
                  </a:lnTo>
                  <a:lnTo>
                    <a:pt x="1434" y="672"/>
                  </a:lnTo>
                  <a:lnTo>
                    <a:pt x="1392" y="756"/>
                  </a:lnTo>
                  <a:lnTo>
                    <a:pt x="1380" y="792"/>
                  </a:lnTo>
                  <a:lnTo>
                    <a:pt x="1374" y="798"/>
                  </a:lnTo>
                  <a:lnTo>
                    <a:pt x="1368" y="798"/>
                  </a:lnTo>
                  <a:lnTo>
                    <a:pt x="1380" y="804"/>
                  </a:lnTo>
                  <a:lnTo>
                    <a:pt x="1386" y="804"/>
                  </a:lnTo>
                  <a:lnTo>
                    <a:pt x="1380" y="822"/>
                  </a:lnTo>
                  <a:lnTo>
                    <a:pt x="1380" y="852"/>
                  </a:lnTo>
                  <a:lnTo>
                    <a:pt x="1374" y="858"/>
                  </a:lnTo>
                  <a:lnTo>
                    <a:pt x="1380" y="858"/>
                  </a:lnTo>
                  <a:lnTo>
                    <a:pt x="1374" y="864"/>
                  </a:lnTo>
                  <a:lnTo>
                    <a:pt x="1374" y="870"/>
                  </a:lnTo>
                  <a:lnTo>
                    <a:pt x="1374" y="876"/>
                  </a:lnTo>
                  <a:lnTo>
                    <a:pt x="1368" y="900"/>
                  </a:lnTo>
                  <a:lnTo>
                    <a:pt x="1362" y="906"/>
                  </a:lnTo>
                  <a:lnTo>
                    <a:pt x="1362" y="918"/>
                  </a:lnTo>
                  <a:lnTo>
                    <a:pt x="1362" y="924"/>
                  </a:lnTo>
                  <a:lnTo>
                    <a:pt x="1356" y="942"/>
                  </a:lnTo>
                  <a:lnTo>
                    <a:pt x="1350" y="972"/>
                  </a:lnTo>
                  <a:lnTo>
                    <a:pt x="1350" y="1014"/>
                  </a:lnTo>
                  <a:lnTo>
                    <a:pt x="1350" y="10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3" name="Freeform 18">
              <a:extLst>
                <a:ext uri="{FF2B5EF4-FFF2-40B4-BE49-F238E27FC236}">
                  <a16:creationId xmlns:a16="http://schemas.microsoft.com/office/drawing/2014/main" id="{EC11F2E0-3C06-46E2-8AD2-66EBE00FFE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32346" y="3837389"/>
              <a:ext cx="556811" cy="818559"/>
            </a:xfrm>
            <a:custGeom>
              <a:avLst/>
              <a:gdLst>
                <a:gd name="T0" fmla="*/ 12 w 1044"/>
                <a:gd name="T1" fmla="*/ 95 h 1542"/>
                <a:gd name="T2" fmla="*/ 7 w 1044"/>
                <a:gd name="T3" fmla="*/ 93 h 1542"/>
                <a:gd name="T4" fmla="*/ 0 w 1044"/>
                <a:gd name="T5" fmla="*/ 88 h 1542"/>
                <a:gd name="T6" fmla="*/ 3 w 1044"/>
                <a:gd name="T7" fmla="*/ 74 h 1542"/>
                <a:gd name="T8" fmla="*/ 4 w 1044"/>
                <a:gd name="T9" fmla="*/ 59 h 1542"/>
                <a:gd name="T10" fmla="*/ 7 w 1044"/>
                <a:gd name="T11" fmla="*/ 52 h 1542"/>
                <a:gd name="T12" fmla="*/ 20 w 1044"/>
                <a:gd name="T13" fmla="*/ 50 h 1542"/>
                <a:gd name="T14" fmla="*/ 24 w 1044"/>
                <a:gd name="T15" fmla="*/ 46 h 1542"/>
                <a:gd name="T16" fmla="*/ 29 w 1044"/>
                <a:gd name="T17" fmla="*/ 33 h 1542"/>
                <a:gd name="T18" fmla="*/ 32 w 1044"/>
                <a:gd name="T19" fmla="*/ 26 h 1542"/>
                <a:gd name="T20" fmla="*/ 30 w 1044"/>
                <a:gd name="T21" fmla="*/ 20 h 1542"/>
                <a:gd name="T22" fmla="*/ 26 w 1044"/>
                <a:gd name="T23" fmla="*/ 17 h 1542"/>
                <a:gd name="T24" fmla="*/ 28 w 1044"/>
                <a:gd name="T25" fmla="*/ 12 h 1542"/>
                <a:gd name="T26" fmla="*/ 44 w 1044"/>
                <a:gd name="T27" fmla="*/ 5 h 1542"/>
                <a:gd name="T28" fmla="*/ 57 w 1044"/>
                <a:gd name="T29" fmla="*/ 2 h 1542"/>
                <a:gd name="T30" fmla="*/ 65 w 1044"/>
                <a:gd name="T31" fmla="*/ 12 h 1542"/>
                <a:gd name="T32" fmla="*/ 81 w 1044"/>
                <a:gd name="T33" fmla="*/ 9 h 1542"/>
                <a:gd name="T34" fmla="*/ 91 w 1044"/>
                <a:gd name="T35" fmla="*/ 20 h 1542"/>
                <a:gd name="T36" fmla="*/ 89 w 1044"/>
                <a:gd name="T37" fmla="*/ 28 h 1542"/>
                <a:gd name="T38" fmla="*/ 83 w 1044"/>
                <a:gd name="T39" fmla="*/ 33 h 1542"/>
                <a:gd name="T40" fmla="*/ 74 w 1044"/>
                <a:gd name="T41" fmla="*/ 42 h 1542"/>
                <a:gd name="T42" fmla="*/ 58 w 1044"/>
                <a:gd name="T43" fmla="*/ 57 h 1542"/>
                <a:gd name="T44" fmla="*/ 54 w 1044"/>
                <a:gd name="T45" fmla="*/ 65 h 1542"/>
                <a:gd name="T46" fmla="*/ 59 w 1044"/>
                <a:gd name="T47" fmla="*/ 74 h 1542"/>
                <a:gd name="T48" fmla="*/ 55 w 1044"/>
                <a:gd name="T49" fmla="*/ 84 h 1542"/>
                <a:gd name="T50" fmla="*/ 52 w 1044"/>
                <a:gd name="T51" fmla="*/ 98 h 1542"/>
                <a:gd name="T52" fmla="*/ 47 w 1044"/>
                <a:gd name="T53" fmla="*/ 105 h 1542"/>
                <a:gd name="T54" fmla="*/ 42 w 1044"/>
                <a:gd name="T55" fmla="*/ 111 h 1542"/>
                <a:gd name="T56" fmla="*/ 43 w 1044"/>
                <a:gd name="T57" fmla="*/ 120 h 1542"/>
                <a:gd name="T58" fmla="*/ 45 w 1044"/>
                <a:gd name="T59" fmla="*/ 125 h 1542"/>
                <a:gd name="T60" fmla="*/ 44 w 1044"/>
                <a:gd name="T61" fmla="*/ 130 h 1542"/>
                <a:gd name="T62" fmla="*/ 45 w 1044"/>
                <a:gd name="T63" fmla="*/ 131 h 1542"/>
                <a:gd name="T64" fmla="*/ 48 w 1044"/>
                <a:gd name="T65" fmla="*/ 133 h 1542"/>
                <a:gd name="T66" fmla="*/ 39 w 1044"/>
                <a:gd name="T67" fmla="*/ 133 h 1542"/>
                <a:gd name="T68" fmla="*/ 42 w 1044"/>
                <a:gd name="T69" fmla="*/ 132 h 1542"/>
                <a:gd name="T70" fmla="*/ 38 w 1044"/>
                <a:gd name="T71" fmla="*/ 133 h 1542"/>
                <a:gd name="T72" fmla="*/ 37 w 1044"/>
                <a:gd name="T73" fmla="*/ 129 h 1542"/>
                <a:gd name="T74" fmla="*/ 40 w 1044"/>
                <a:gd name="T75" fmla="*/ 125 h 1542"/>
                <a:gd name="T76" fmla="*/ 40 w 1044"/>
                <a:gd name="T77" fmla="*/ 120 h 1542"/>
                <a:gd name="T78" fmla="*/ 40 w 1044"/>
                <a:gd name="T79" fmla="*/ 117 h 1542"/>
                <a:gd name="T80" fmla="*/ 37 w 1044"/>
                <a:gd name="T81" fmla="*/ 120 h 1542"/>
                <a:gd name="T82" fmla="*/ 34 w 1044"/>
                <a:gd name="T83" fmla="*/ 122 h 1542"/>
                <a:gd name="T84" fmla="*/ 36 w 1044"/>
                <a:gd name="T85" fmla="*/ 120 h 1542"/>
                <a:gd name="T86" fmla="*/ 30 w 1044"/>
                <a:gd name="T87" fmla="*/ 120 h 1542"/>
                <a:gd name="T88" fmla="*/ 31 w 1044"/>
                <a:gd name="T89" fmla="*/ 113 h 1542"/>
                <a:gd name="T90" fmla="*/ 29 w 1044"/>
                <a:gd name="T91" fmla="*/ 112 h 1542"/>
                <a:gd name="T92" fmla="*/ 31 w 1044"/>
                <a:gd name="T93" fmla="*/ 117 h 1542"/>
                <a:gd name="T94" fmla="*/ 27 w 1044"/>
                <a:gd name="T95" fmla="*/ 116 h 1542"/>
                <a:gd name="T96" fmla="*/ 25 w 1044"/>
                <a:gd name="T97" fmla="*/ 112 h 1542"/>
                <a:gd name="T98" fmla="*/ 21 w 1044"/>
                <a:gd name="T99" fmla="*/ 109 h 1542"/>
                <a:gd name="T100" fmla="*/ 21 w 1044"/>
                <a:gd name="T101" fmla="*/ 113 h 1542"/>
                <a:gd name="T102" fmla="*/ 40 w 1044"/>
                <a:gd name="T103" fmla="*/ 120 h 1542"/>
                <a:gd name="T104" fmla="*/ 40 w 1044"/>
                <a:gd name="T105" fmla="*/ 121 h 1542"/>
                <a:gd name="T106" fmla="*/ 40 w 1044"/>
                <a:gd name="T107" fmla="*/ 116 h 1542"/>
                <a:gd name="T108" fmla="*/ 38 w 1044"/>
                <a:gd name="T109" fmla="*/ 120 h 1542"/>
                <a:gd name="T110" fmla="*/ 23 w 1044"/>
                <a:gd name="T111" fmla="*/ 110 h 1542"/>
                <a:gd name="T112" fmla="*/ 37 w 1044"/>
                <a:gd name="T113" fmla="*/ 124 h 1542"/>
                <a:gd name="T114" fmla="*/ 40 w 1044"/>
                <a:gd name="T115" fmla="*/ 125 h 1542"/>
                <a:gd name="T116" fmla="*/ 38 w 1044"/>
                <a:gd name="T117" fmla="*/ 128 h 1542"/>
                <a:gd name="T118" fmla="*/ 25 w 1044"/>
                <a:gd name="T119" fmla="*/ 117 h 1542"/>
                <a:gd name="T120" fmla="*/ 27 w 1044"/>
                <a:gd name="T121" fmla="*/ 127 h 1542"/>
                <a:gd name="T122" fmla="*/ 24 w 1044"/>
                <a:gd name="T123" fmla="*/ 113 h 15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4"/>
                <a:gd name="T187" fmla="*/ 0 h 1542"/>
                <a:gd name="T188" fmla="*/ 1044 w 1044"/>
                <a:gd name="T189" fmla="*/ 1542 h 154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4" h="1542">
                  <a:moveTo>
                    <a:pt x="234" y="1278"/>
                  </a:moveTo>
                  <a:lnTo>
                    <a:pt x="228" y="1272"/>
                  </a:lnTo>
                  <a:lnTo>
                    <a:pt x="222" y="1266"/>
                  </a:lnTo>
                  <a:lnTo>
                    <a:pt x="222" y="1260"/>
                  </a:lnTo>
                  <a:lnTo>
                    <a:pt x="204" y="1248"/>
                  </a:lnTo>
                  <a:lnTo>
                    <a:pt x="192" y="1248"/>
                  </a:lnTo>
                  <a:lnTo>
                    <a:pt x="186" y="1236"/>
                  </a:lnTo>
                  <a:lnTo>
                    <a:pt x="174" y="1218"/>
                  </a:lnTo>
                  <a:lnTo>
                    <a:pt x="162" y="1194"/>
                  </a:lnTo>
                  <a:lnTo>
                    <a:pt x="156" y="1182"/>
                  </a:lnTo>
                  <a:lnTo>
                    <a:pt x="162" y="1146"/>
                  </a:lnTo>
                  <a:lnTo>
                    <a:pt x="156" y="1134"/>
                  </a:lnTo>
                  <a:lnTo>
                    <a:pt x="138" y="1122"/>
                  </a:lnTo>
                  <a:lnTo>
                    <a:pt x="132" y="1116"/>
                  </a:lnTo>
                  <a:lnTo>
                    <a:pt x="138" y="1098"/>
                  </a:lnTo>
                  <a:lnTo>
                    <a:pt x="138" y="1092"/>
                  </a:lnTo>
                  <a:lnTo>
                    <a:pt x="138" y="1086"/>
                  </a:lnTo>
                  <a:lnTo>
                    <a:pt x="132" y="1074"/>
                  </a:lnTo>
                  <a:lnTo>
                    <a:pt x="126" y="1074"/>
                  </a:lnTo>
                  <a:lnTo>
                    <a:pt x="126" y="1068"/>
                  </a:lnTo>
                  <a:lnTo>
                    <a:pt x="120" y="1062"/>
                  </a:lnTo>
                  <a:lnTo>
                    <a:pt x="120" y="1056"/>
                  </a:lnTo>
                  <a:lnTo>
                    <a:pt x="114" y="1050"/>
                  </a:lnTo>
                  <a:lnTo>
                    <a:pt x="108" y="1050"/>
                  </a:lnTo>
                  <a:lnTo>
                    <a:pt x="102" y="1056"/>
                  </a:lnTo>
                  <a:lnTo>
                    <a:pt x="102" y="1062"/>
                  </a:lnTo>
                  <a:lnTo>
                    <a:pt x="96" y="1062"/>
                  </a:lnTo>
                  <a:lnTo>
                    <a:pt x="96" y="1068"/>
                  </a:lnTo>
                  <a:lnTo>
                    <a:pt x="96" y="1074"/>
                  </a:lnTo>
                  <a:lnTo>
                    <a:pt x="90" y="1074"/>
                  </a:lnTo>
                  <a:lnTo>
                    <a:pt x="84" y="1080"/>
                  </a:lnTo>
                  <a:lnTo>
                    <a:pt x="78" y="1074"/>
                  </a:lnTo>
                  <a:lnTo>
                    <a:pt x="72" y="1074"/>
                  </a:lnTo>
                  <a:lnTo>
                    <a:pt x="72" y="1068"/>
                  </a:lnTo>
                  <a:lnTo>
                    <a:pt x="72" y="1062"/>
                  </a:lnTo>
                  <a:lnTo>
                    <a:pt x="60" y="1056"/>
                  </a:lnTo>
                  <a:lnTo>
                    <a:pt x="60" y="1044"/>
                  </a:lnTo>
                  <a:lnTo>
                    <a:pt x="60" y="1032"/>
                  </a:lnTo>
                  <a:lnTo>
                    <a:pt x="60" y="1026"/>
                  </a:lnTo>
                  <a:lnTo>
                    <a:pt x="54" y="1026"/>
                  </a:lnTo>
                  <a:lnTo>
                    <a:pt x="48" y="1014"/>
                  </a:lnTo>
                  <a:lnTo>
                    <a:pt x="42" y="1008"/>
                  </a:lnTo>
                  <a:lnTo>
                    <a:pt x="30" y="1008"/>
                  </a:lnTo>
                  <a:lnTo>
                    <a:pt x="30" y="1002"/>
                  </a:lnTo>
                  <a:lnTo>
                    <a:pt x="24" y="1008"/>
                  </a:lnTo>
                  <a:lnTo>
                    <a:pt x="12" y="1008"/>
                  </a:lnTo>
                  <a:lnTo>
                    <a:pt x="6" y="1008"/>
                  </a:lnTo>
                  <a:lnTo>
                    <a:pt x="0" y="1008"/>
                  </a:lnTo>
                  <a:lnTo>
                    <a:pt x="0" y="1002"/>
                  </a:lnTo>
                  <a:lnTo>
                    <a:pt x="6" y="990"/>
                  </a:lnTo>
                  <a:lnTo>
                    <a:pt x="6" y="984"/>
                  </a:lnTo>
                  <a:lnTo>
                    <a:pt x="0" y="978"/>
                  </a:lnTo>
                  <a:lnTo>
                    <a:pt x="6" y="972"/>
                  </a:lnTo>
                  <a:lnTo>
                    <a:pt x="12" y="972"/>
                  </a:lnTo>
                  <a:lnTo>
                    <a:pt x="72" y="978"/>
                  </a:lnTo>
                  <a:lnTo>
                    <a:pt x="78" y="972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30"/>
                  </a:lnTo>
                  <a:lnTo>
                    <a:pt x="54" y="912"/>
                  </a:lnTo>
                  <a:lnTo>
                    <a:pt x="42" y="906"/>
                  </a:lnTo>
                  <a:lnTo>
                    <a:pt x="36" y="894"/>
                  </a:lnTo>
                  <a:lnTo>
                    <a:pt x="30" y="876"/>
                  </a:lnTo>
                  <a:lnTo>
                    <a:pt x="30" y="858"/>
                  </a:lnTo>
                  <a:lnTo>
                    <a:pt x="30" y="840"/>
                  </a:lnTo>
                  <a:lnTo>
                    <a:pt x="36" y="816"/>
                  </a:lnTo>
                  <a:lnTo>
                    <a:pt x="36" y="792"/>
                  </a:lnTo>
                  <a:lnTo>
                    <a:pt x="36" y="780"/>
                  </a:lnTo>
                  <a:lnTo>
                    <a:pt x="12" y="774"/>
                  </a:lnTo>
                  <a:lnTo>
                    <a:pt x="24" y="756"/>
                  </a:lnTo>
                  <a:lnTo>
                    <a:pt x="24" y="744"/>
                  </a:lnTo>
                  <a:lnTo>
                    <a:pt x="30" y="738"/>
                  </a:lnTo>
                  <a:lnTo>
                    <a:pt x="30" y="732"/>
                  </a:lnTo>
                  <a:lnTo>
                    <a:pt x="36" y="720"/>
                  </a:lnTo>
                  <a:lnTo>
                    <a:pt x="42" y="714"/>
                  </a:lnTo>
                  <a:lnTo>
                    <a:pt x="54" y="708"/>
                  </a:lnTo>
                  <a:lnTo>
                    <a:pt x="60" y="702"/>
                  </a:lnTo>
                  <a:lnTo>
                    <a:pt x="48" y="690"/>
                  </a:lnTo>
                  <a:lnTo>
                    <a:pt x="48" y="684"/>
                  </a:lnTo>
                  <a:lnTo>
                    <a:pt x="48" y="678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66"/>
                  </a:lnTo>
                  <a:lnTo>
                    <a:pt x="72" y="654"/>
                  </a:lnTo>
                  <a:lnTo>
                    <a:pt x="72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84" y="630"/>
                  </a:lnTo>
                  <a:lnTo>
                    <a:pt x="90" y="630"/>
                  </a:lnTo>
                  <a:lnTo>
                    <a:pt x="96" y="630"/>
                  </a:lnTo>
                  <a:lnTo>
                    <a:pt x="96" y="624"/>
                  </a:lnTo>
                  <a:lnTo>
                    <a:pt x="90" y="624"/>
                  </a:lnTo>
                  <a:lnTo>
                    <a:pt x="84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90" y="600"/>
                  </a:lnTo>
                  <a:lnTo>
                    <a:pt x="84" y="600"/>
                  </a:lnTo>
                  <a:lnTo>
                    <a:pt x="78" y="594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126" y="564"/>
                  </a:lnTo>
                  <a:lnTo>
                    <a:pt x="144" y="564"/>
                  </a:lnTo>
                  <a:lnTo>
                    <a:pt x="156" y="582"/>
                  </a:lnTo>
                  <a:lnTo>
                    <a:pt x="162" y="600"/>
                  </a:lnTo>
                  <a:lnTo>
                    <a:pt x="180" y="588"/>
                  </a:lnTo>
                  <a:lnTo>
                    <a:pt x="192" y="588"/>
                  </a:lnTo>
                  <a:lnTo>
                    <a:pt x="198" y="588"/>
                  </a:lnTo>
                  <a:lnTo>
                    <a:pt x="210" y="582"/>
                  </a:lnTo>
                  <a:lnTo>
                    <a:pt x="216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58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46" y="558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58" y="570"/>
                  </a:lnTo>
                  <a:lnTo>
                    <a:pt x="264" y="570"/>
                  </a:lnTo>
                  <a:lnTo>
                    <a:pt x="270" y="564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46"/>
                  </a:lnTo>
                  <a:lnTo>
                    <a:pt x="276" y="540"/>
                  </a:lnTo>
                  <a:lnTo>
                    <a:pt x="276" y="534"/>
                  </a:lnTo>
                  <a:lnTo>
                    <a:pt x="276" y="528"/>
                  </a:lnTo>
                  <a:lnTo>
                    <a:pt x="282" y="528"/>
                  </a:lnTo>
                  <a:lnTo>
                    <a:pt x="282" y="522"/>
                  </a:lnTo>
                  <a:lnTo>
                    <a:pt x="282" y="516"/>
                  </a:lnTo>
                  <a:lnTo>
                    <a:pt x="282" y="510"/>
                  </a:lnTo>
                  <a:lnTo>
                    <a:pt x="282" y="504"/>
                  </a:lnTo>
                  <a:lnTo>
                    <a:pt x="282" y="492"/>
                  </a:lnTo>
                  <a:lnTo>
                    <a:pt x="288" y="486"/>
                  </a:lnTo>
                  <a:lnTo>
                    <a:pt x="300" y="480"/>
                  </a:lnTo>
                  <a:lnTo>
                    <a:pt x="306" y="462"/>
                  </a:lnTo>
                  <a:lnTo>
                    <a:pt x="318" y="444"/>
                  </a:lnTo>
                  <a:lnTo>
                    <a:pt x="330" y="444"/>
                  </a:lnTo>
                  <a:lnTo>
                    <a:pt x="330" y="432"/>
                  </a:lnTo>
                  <a:lnTo>
                    <a:pt x="342" y="432"/>
                  </a:lnTo>
                  <a:lnTo>
                    <a:pt x="354" y="402"/>
                  </a:lnTo>
                  <a:lnTo>
                    <a:pt x="348" y="390"/>
                  </a:lnTo>
                  <a:lnTo>
                    <a:pt x="336" y="384"/>
                  </a:lnTo>
                  <a:lnTo>
                    <a:pt x="336" y="360"/>
                  </a:lnTo>
                  <a:lnTo>
                    <a:pt x="336" y="354"/>
                  </a:lnTo>
                  <a:lnTo>
                    <a:pt x="336" y="342"/>
                  </a:lnTo>
                  <a:lnTo>
                    <a:pt x="342" y="336"/>
                  </a:lnTo>
                  <a:lnTo>
                    <a:pt x="342" y="324"/>
                  </a:lnTo>
                  <a:lnTo>
                    <a:pt x="372" y="324"/>
                  </a:lnTo>
                  <a:lnTo>
                    <a:pt x="378" y="324"/>
                  </a:lnTo>
                  <a:lnTo>
                    <a:pt x="378" y="318"/>
                  </a:lnTo>
                  <a:lnTo>
                    <a:pt x="372" y="312"/>
                  </a:lnTo>
                  <a:lnTo>
                    <a:pt x="378" y="312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84" y="300"/>
                  </a:lnTo>
                  <a:lnTo>
                    <a:pt x="384" y="294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66" y="294"/>
                  </a:lnTo>
                  <a:lnTo>
                    <a:pt x="366" y="288"/>
                  </a:lnTo>
                  <a:lnTo>
                    <a:pt x="372" y="288"/>
                  </a:lnTo>
                  <a:lnTo>
                    <a:pt x="372" y="282"/>
                  </a:lnTo>
                  <a:lnTo>
                    <a:pt x="366" y="276"/>
                  </a:lnTo>
                  <a:lnTo>
                    <a:pt x="360" y="270"/>
                  </a:lnTo>
                  <a:lnTo>
                    <a:pt x="360" y="264"/>
                  </a:lnTo>
                  <a:lnTo>
                    <a:pt x="354" y="264"/>
                  </a:lnTo>
                  <a:lnTo>
                    <a:pt x="348" y="258"/>
                  </a:lnTo>
                  <a:lnTo>
                    <a:pt x="354" y="258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40"/>
                  </a:lnTo>
                  <a:lnTo>
                    <a:pt x="354" y="240"/>
                  </a:lnTo>
                  <a:lnTo>
                    <a:pt x="342" y="234"/>
                  </a:lnTo>
                  <a:lnTo>
                    <a:pt x="342" y="228"/>
                  </a:lnTo>
                  <a:lnTo>
                    <a:pt x="348" y="228"/>
                  </a:lnTo>
                  <a:lnTo>
                    <a:pt x="342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6" y="216"/>
                  </a:lnTo>
                  <a:lnTo>
                    <a:pt x="330" y="222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24" y="210"/>
                  </a:lnTo>
                  <a:lnTo>
                    <a:pt x="318" y="210"/>
                  </a:lnTo>
                  <a:lnTo>
                    <a:pt x="318" y="204"/>
                  </a:lnTo>
                  <a:lnTo>
                    <a:pt x="312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294" y="192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300" y="174"/>
                  </a:lnTo>
                  <a:lnTo>
                    <a:pt x="300" y="168"/>
                  </a:lnTo>
                  <a:lnTo>
                    <a:pt x="300" y="162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88" y="150"/>
                  </a:lnTo>
                  <a:lnTo>
                    <a:pt x="288" y="144"/>
                  </a:lnTo>
                  <a:lnTo>
                    <a:pt x="282" y="144"/>
                  </a:lnTo>
                  <a:lnTo>
                    <a:pt x="282" y="138"/>
                  </a:lnTo>
                  <a:lnTo>
                    <a:pt x="312" y="132"/>
                  </a:lnTo>
                  <a:lnTo>
                    <a:pt x="324" y="120"/>
                  </a:lnTo>
                  <a:lnTo>
                    <a:pt x="330" y="114"/>
                  </a:lnTo>
                  <a:lnTo>
                    <a:pt x="336" y="102"/>
                  </a:lnTo>
                  <a:lnTo>
                    <a:pt x="348" y="90"/>
                  </a:lnTo>
                  <a:lnTo>
                    <a:pt x="360" y="84"/>
                  </a:lnTo>
                  <a:lnTo>
                    <a:pt x="372" y="84"/>
                  </a:lnTo>
                  <a:lnTo>
                    <a:pt x="378" y="84"/>
                  </a:lnTo>
                  <a:lnTo>
                    <a:pt x="384" y="90"/>
                  </a:lnTo>
                  <a:lnTo>
                    <a:pt x="402" y="90"/>
                  </a:lnTo>
                  <a:lnTo>
                    <a:pt x="438" y="84"/>
                  </a:lnTo>
                  <a:lnTo>
                    <a:pt x="456" y="84"/>
                  </a:lnTo>
                  <a:lnTo>
                    <a:pt x="462" y="78"/>
                  </a:lnTo>
                  <a:lnTo>
                    <a:pt x="486" y="72"/>
                  </a:lnTo>
                  <a:lnTo>
                    <a:pt x="492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04" y="54"/>
                  </a:lnTo>
                  <a:lnTo>
                    <a:pt x="510" y="42"/>
                  </a:lnTo>
                  <a:lnTo>
                    <a:pt x="504" y="42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498" y="30"/>
                  </a:lnTo>
                  <a:lnTo>
                    <a:pt x="492" y="30"/>
                  </a:lnTo>
                  <a:lnTo>
                    <a:pt x="492" y="24"/>
                  </a:lnTo>
                  <a:lnTo>
                    <a:pt x="486" y="18"/>
                  </a:lnTo>
                  <a:lnTo>
                    <a:pt x="498" y="18"/>
                  </a:lnTo>
                  <a:lnTo>
                    <a:pt x="510" y="18"/>
                  </a:lnTo>
                  <a:lnTo>
                    <a:pt x="522" y="12"/>
                  </a:lnTo>
                  <a:lnTo>
                    <a:pt x="528" y="6"/>
                  </a:lnTo>
                  <a:lnTo>
                    <a:pt x="570" y="0"/>
                  </a:lnTo>
                  <a:lnTo>
                    <a:pt x="606" y="6"/>
                  </a:lnTo>
                  <a:lnTo>
                    <a:pt x="654" y="24"/>
                  </a:lnTo>
                  <a:lnTo>
                    <a:pt x="666" y="36"/>
                  </a:lnTo>
                  <a:lnTo>
                    <a:pt x="672" y="30"/>
                  </a:lnTo>
                  <a:lnTo>
                    <a:pt x="690" y="42"/>
                  </a:lnTo>
                  <a:lnTo>
                    <a:pt x="702" y="48"/>
                  </a:lnTo>
                  <a:lnTo>
                    <a:pt x="714" y="60"/>
                  </a:lnTo>
                  <a:lnTo>
                    <a:pt x="714" y="66"/>
                  </a:lnTo>
                  <a:lnTo>
                    <a:pt x="720" y="72"/>
                  </a:lnTo>
                  <a:lnTo>
                    <a:pt x="720" y="78"/>
                  </a:lnTo>
                  <a:lnTo>
                    <a:pt x="720" y="102"/>
                  </a:lnTo>
                  <a:lnTo>
                    <a:pt x="720" y="108"/>
                  </a:lnTo>
                  <a:lnTo>
                    <a:pt x="714" y="108"/>
                  </a:lnTo>
                  <a:lnTo>
                    <a:pt x="714" y="126"/>
                  </a:lnTo>
                  <a:lnTo>
                    <a:pt x="732" y="126"/>
                  </a:lnTo>
                  <a:lnTo>
                    <a:pt x="726" y="132"/>
                  </a:lnTo>
                  <a:lnTo>
                    <a:pt x="738" y="132"/>
                  </a:lnTo>
                  <a:lnTo>
                    <a:pt x="738" y="138"/>
                  </a:lnTo>
                  <a:lnTo>
                    <a:pt x="738" y="144"/>
                  </a:lnTo>
                  <a:lnTo>
                    <a:pt x="744" y="144"/>
                  </a:lnTo>
                  <a:lnTo>
                    <a:pt x="744" y="150"/>
                  </a:lnTo>
                  <a:lnTo>
                    <a:pt x="756" y="156"/>
                  </a:lnTo>
                  <a:lnTo>
                    <a:pt x="768" y="156"/>
                  </a:lnTo>
                  <a:lnTo>
                    <a:pt x="780" y="156"/>
                  </a:lnTo>
                  <a:lnTo>
                    <a:pt x="792" y="150"/>
                  </a:lnTo>
                  <a:lnTo>
                    <a:pt x="786" y="150"/>
                  </a:lnTo>
                  <a:lnTo>
                    <a:pt x="786" y="144"/>
                  </a:lnTo>
                  <a:lnTo>
                    <a:pt x="804" y="144"/>
                  </a:lnTo>
                  <a:lnTo>
                    <a:pt x="816" y="132"/>
                  </a:lnTo>
                  <a:lnTo>
                    <a:pt x="822" y="126"/>
                  </a:lnTo>
                  <a:lnTo>
                    <a:pt x="828" y="132"/>
                  </a:lnTo>
                  <a:lnTo>
                    <a:pt x="834" y="126"/>
                  </a:lnTo>
                  <a:lnTo>
                    <a:pt x="834" y="120"/>
                  </a:lnTo>
                  <a:lnTo>
                    <a:pt x="924" y="108"/>
                  </a:lnTo>
                  <a:lnTo>
                    <a:pt x="942" y="144"/>
                  </a:lnTo>
                  <a:lnTo>
                    <a:pt x="948" y="144"/>
                  </a:lnTo>
                  <a:lnTo>
                    <a:pt x="960" y="168"/>
                  </a:lnTo>
                  <a:lnTo>
                    <a:pt x="972" y="186"/>
                  </a:lnTo>
                  <a:lnTo>
                    <a:pt x="984" y="192"/>
                  </a:lnTo>
                  <a:lnTo>
                    <a:pt x="996" y="192"/>
                  </a:lnTo>
                  <a:lnTo>
                    <a:pt x="996" y="198"/>
                  </a:lnTo>
                  <a:lnTo>
                    <a:pt x="1008" y="204"/>
                  </a:lnTo>
                  <a:lnTo>
                    <a:pt x="1008" y="210"/>
                  </a:lnTo>
                  <a:lnTo>
                    <a:pt x="1002" y="210"/>
                  </a:lnTo>
                  <a:lnTo>
                    <a:pt x="1008" y="216"/>
                  </a:lnTo>
                  <a:lnTo>
                    <a:pt x="1014" y="210"/>
                  </a:lnTo>
                  <a:lnTo>
                    <a:pt x="1014" y="216"/>
                  </a:lnTo>
                  <a:lnTo>
                    <a:pt x="1020" y="222"/>
                  </a:lnTo>
                  <a:lnTo>
                    <a:pt x="1014" y="228"/>
                  </a:lnTo>
                  <a:lnTo>
                    <a:pt x="1032" y="234"/>
                  </a:lnTo>
                  <a:lnTo>
                    <a:pt x="1044" y="240"/>
                  </a:lnTo>
                  <a:lnTo>
                    <a:pt x="1038" y="246"/>
                  </a:lnTo>
                  <a:lnTo>
                    <a:pt x="1038" y="252"/>
                  </a:lnTo>
                  <a:lnTo>
                    <a:pt x="1038" y="258"/>
                  </a:lnTo>
                  <a:lnTo>
                    <a:pt x="1032" y="264"/>
                  </a:lnTo>
                  <a:lnTo>
                    <a:pt x="1032" y="270"/>
                  </a:lnTo>
                  <a:lnTo>
                    <a:pt x="1032" y="276"/>
                  </a:lnTo>
                  <a:lnTo>
                    <a:pt x="1032" y="282"/>
                  </a:lnTo>
                  <a:lnTo>
                    <a:pt x="1026" y="282"/>
                  </a:lnTo>
                  <a:lnTo>
                    <a:pt x="1026" y="288"/>
                  </a:lnTo>
                  <a:lnTo>
                    <a:pt x="1026" y="294"/>
                  </a:lnTo>
                  <a:lnTo>
                    <a:pt x="1026" y="300"/>
                  </a:lnTo>
                  <a:lnTo>
                    <a:pt x="1026" y="306"/>
                  </a:lnTo>
                  <a:lnTo>
                    <a:pt x="1020" y="318"/>
                  </a:lnTo>
                  <a:lnTo>
                    <a:pt x="1020" y="324"/>
                  </a:lnTo>
                  <a:lnTo>
                    <a:pt x="1014" y="324"/>
                  </a:lnTo>
                  <a:lnTo>
                    <a:pt x="1014" y="330"/>
                  </a:lnTo>
                  <a:lnTo>
                    <a:pt x="1014" y="336"/>
                  </a:lnTo>
                  <a:lnTo>
                    <a:pt x="1008" y="366"/>
                  </a:lnTo>
                  <a:lnTo>
                    <a:pt x="1002" y="366"/>
                  </a:lnTo>
                  <a:lnTo>
                    <a:pt x="984" y="354"/>
                  </a:lnTo>
                  <a:lnTo>
                    <a:pt x="978" y="354"/>
                  </a:lnTo>
                  <a:lnTo>
                    <a:pt x="972" y="354"/>
                  </a:lnTo>
                  <a:lnTo>
                    <a:pt x="966" y="348"/>
                  </a:lnTo>
                  <a:lnTo>
                    <a:pt x="954" y="348"/>
                  </a:lnTo>
                  <a:lnTo>
                    <a:pt x="948" y="348"/>
                  </a:lnTo>
                  <a:lnTo>
                    <a:pt x="948" y="360"/>
                  </a:lnTo>
                  <a:lnTo>
                    <a:pt x="948" y="366"/>
                  </a:lnTo>
                  <a:lnTo>
                    <a:pt x="948" y="372"/>
                  </a:lnTo>
                  <a:lnTo>
                    <a:pt x="948" y="378"/>
                  </a:lnTo>
                  <a:lnTo>
                    <a:pt x="948" y="384"/>
                  </a:lnTo>
                  <a:lnTo>
                    <a:pt x="942" y="384"/>
                  </a:lnTo>
                  <a:lnTo>
                    <a:pt x="942" y="390"/>
                  </a:lnTo>
                  <a:lnTo>
                    <a:pt x="936" y="390"/>
                  </a:lnTo>
                  <a:lnTo>
                    <a:pt x="942" y="390"/>
                  </a:lnTo>
                  <a:lnTo>
                    <a:pt x="936" y="396"/>
                  </a:lnTo>
                  <a:lnTo>
                    <a:pt x="930" y="402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2" y="432"/>
                  </a:lnTo>
                  <a:lnTo>
                    <a:pt x="900" y="450"/>
                  </a:lnTo>
                  <a:lnTo>
                    <a:pt x="894" y="456"/>
                  </a:lnTo>
                  <a:lnTo>
                    <a:pt x="888" y="456"/>
                  </a:lnTo>
                  <a:lnTo>
                    <a:pt x="882" y="456"/>
                  </a:lnTo>
                  <a:lnTo>
                    <a:pt x="876" y="456"/>
                  </a:lnTo>
                  <a:lnTo>
                    <a:pt x="864" y="462"/>
                  </a:lnTo>
                  <a:lnTo>
                    <a:pt x="852" y="474"/>
                  </a:lnTo>
                  <a:lnTo>
                    <a:pt x="846" y="480"/>
                  </a:lnTo>
                  <a:lnTo>
                    <a:pt x="840" y="486"/>
                  </a:lnTo>
                  <a:lnTo>
                    <a:pt x="834" y="498"/>
                  </a:lnTo>
                  <a:lnTo>
                    <a:pt x="828" y="510"/>
                  </a:lnTo>
                  <a:lnTo>
                    <a:pt x="816" y="522"/>
                  </a:lnTo>
                  <a:lnTo>
                    <a:pt x="798" y="540"/>
                  </a:lnTo>
                  <a:lnTo>
                    <a:pt x="780" y="558"/>
                  </a:lnTo>
                  <a:lnTo>
                    <a:pt x="774" y="558"/>
                  </a:lnTo>
                  <a:lnTo>
                    <a:pt x="756" y="576"/>
                  </a:lnTo>
                  <a:lnTo>
                    <a:pt x="732" y="600"/>
                  </a:lnTo>
                  <a:lnTo>
                    <a:pt x="726" y="600"/>
                  </a:lnTo>
                  <a:lnTo>
                    <a:pt x="720" y="606"/>
                  </a:lnTo>
                  <a:lnTo>
                    <a:pt x="714" y="612"/>
                  </a:lnTo>
                  <a:lnTo>
                    <a:pt x="690" y="630"/>
                  </a:lnTo>
                  <a:lnTo>
                    <a:pt x="678" y="636"/>
                  </a:lnTo>
                  <a:lnTo>
                    <a:pt x="672" y="642"/>
                  </a:lnTo>
                  <a:lnTo>
                    <a:pt x="660" y="660"/>
                  </a:lnTo>
                  <a:lnTo>
                    <a:pt x="642" y="666"/>
                  </a:lnTo>
                  <a:lnTo>
                    <a:pt x="636" y="678"/>
                  </a:lnTo>
                  <a:lnTo>
                    <a:pt x="630" y="678"/>
                  </a:lnTo>
                  <a:lnTo>
                    <a:pt x="630" y="684"/>
                  </a:lnTo>
                  <a:lnTo>
                    <a:pt x="630" y="690"/>
                  </a:lnTo>
                  <a:lnTo>
                    <a:pt x="636" y="696"/>
                  </a:lnTo>
                  <a:lnTo>
                    <a:pt x="642" y="696"/>
                  </a:lnTo>
                  <a:lnTo>
                    <a:pt x="648" y="702"/>
                  </a:lnTo>
                  <a:lnTo>
                    <a:pt x="648" y="708"/>
                  </a:lnTo>
                  <a:lnTo>
                    <a:pt x="642" y="708"/>
                  </a:lnTo>
                  <a:lnTo>
                    <a:pt x="636" y="714"/>
                  </a:lnTo>
                  <a:lnTo>
                    <a:pt x="636" y="720"/>
                  </a:lnTo>
                  <a:lnTo>
                    <a:pt x="642" y="726"/>
                  </a:lnTo>
                  <a:lnTo>
                    <a:pt x="636" y="738"/>
                  </a:lnTo>
                  <a:lnTo>
                    <a:pt x="618" y="756"/>
                  </a:lnTo>
                  <a:lnTo>
                    <a:pt x="612" y="750"/>
                  </a:lnTo>
                  <a:lnTo>
                    <a:pt x="612" y="756"/>
                  </a:lnTo>
                  <a:lnTo>
                    <a:pt x="618" y="762"/>
                  </a:lnTo>
                  <a:lnTo>
                    <a:pt x="618" y="768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36" y="786"/>
                  </a:lnTo>
                  <a:lnTo>
                    <a:pt x="642" y="792"/>
                  </a:lnTo>
                  <a:lnTo>
                    <a:pt x="642" y="798"/>
                  </a:lnTo>
                  <a:lnTo>
                    <a:pt x="648" y="804"/>
                  </a:lnTo>
                  <a:lnTo>
                    <a:pt x="654" y="810"/>
                  </a:lnTo>
                  <a:lnTo>
                    <a:pt x="660" y="816"/>
                  </a:lnTo>
                  <a:lnTo>
                    <a:pt x="666" y="816"/>
                  </a:lnTo>
                  <a:lnTo>
                    <a:pt x="666" y="822"/>
                  </a:lnTo>
                  <a:lnTo>
                    <a:pt x="672" y="828"/>
                  </a:lnTo>
                  <a:lnTo>
                    <a:pt x="672" y="840"/>
                  </a:lnTo>
                  <a:lnTo>
                    <a:pt x="672" y="846"/>
                  </a:lnTo>
                  <a:lnTo>
                    <a:pt x="666" y="852"/>
                  </a:lnTo>
                  <a:lnTo>
                    <a:pt x="660" y="864"/>
                  </a:lnTo>
                  <a:lnTo>
                    <a:pt x="654" y="876"/>
                  </a:lnTo>
                  <a:lnTo>
                    <a:pt x="648" y="882"/>
                  </a:lnTo>
                  <a:lnTo>
                    <a:pt x="642" y="888"/>
                  </a:lnTo>
                  <a:lnTo>
                    <a:pt x="642" y="894"/>
                  </a:lnTo>
                  <a:lnTo>
                    <a:pt x="642" y="906"/>
                  </a:lnTo>
                  <a:lnTo>
                    <a:pt x="630" y="918"/>
                  </a:lnTo>
                  <a:lnTo>
                    <a:pt x="630" y="924"/>
                  </a:lnTo>
                  <a:lnTo>
                    <a:pt x="624" y="930"/>
                  </a:lnTo>
                  <a:lnTo>
                    <a:pt x="630" y="936"/>
                  </a:lnTo>
                  <a:lnTo>
                    <a:pt x="630" y="942"/>
                  </a:lnTo>
                  <a:lnTo>
                    <a:pt x="630" y="948"/>
                  </a:lnTo>
                  <a:lnTo>
                    <a:pt x="630" y="954"/>
                  </a:lnTo>
                  <a:lnTo>
                    <a:pt x="630" y="960"/>
                  </a:lnTo>
                  <a:lnTo>
                    <a:pt x="624" y="966"/>
                  </a:lnTo>
                  <a:lnTo>
                    <a:pt x="618" y="990"/>
                  </a:lnTo>
                  <a:lnTo>
                    <a:pt x="618" y="1008"/>
                  </a:lnTo>
                  <a:lnTo>
                    <a:pt x="612" y="1026"/>
                  </a:lnTo>
                  <a:lnTo>
                    <a:pt x="612" y="1038"/>
                  </a:lnTo>
                  <a:lnTo>
                    <a:pt x="612" y="1050"/>
                  </a:lnTo>
                  <a:lnTo>
                    <a:pt x="612" y="1056"/>
                  </a:lnTo>
                  <a:lnTo>
                    <a:pt x="612" y="1062"/>
                  </a:lnTo>
                  <a:lnTo>
                    <a:pt x="612" y="1068"/>
                  </a:lnTo>
                  <a:lnTo>
                    <a:pt x="612" y="1086"/>
                  </a:lnTo>
                  <a:lnTo>
                    <a:pt x="612" y="1092"/>
                  </a:lnTo>
                  <a:lnTo>
                    <a:pt x="606" y="1098"/>
                  </a:lnTo>
                  <a:lnTo>
                    <a:pt x="600" y="1110"/>
                  </a:lnTo>
                  <a:lnTo>
                    <a:pt x="600" y="1116"/>
                  </a:lnTo>
                  <a:lnTo>
                    <a:pt x="594" y="1122"/>
                  </a:lnTo>
                  <a:lnTo>
                    <a:pt x="594" y="1128"/>
                  </a:lnTo>
                  <a:lnTo>
                    <a:pt x="588" y="1134"/>
                  </a:lnTo>
                  <a:lnTo>
                    <a:pt x="582" y="1140"/>
                  </a:lnTo>
                  <a:lnTo>
                    <a:pt x="570" y="1140"/>
                  </a:lnTo>
                  <a:lnTo>
                    <a:pt x="564" y="1146"/>
                  </a:lnTo>
                  <a:lnTo>
                    <a:pt x="570" y="1146"/>
                  </a:lnTo>
                  <a:lnTo>
                    <a:pt x="564" y="1152"/>
                  </a:lnTo>
                  <a:lnTo>
                    <a:pt x="558" y="1158"/>
                  </a:lnTo>
                  <a:lnTo>
                    <a:pt x="552" y="1164"/>
                  </a:lnTo>
                  <a:lnTo>
                    <a:pt x="552" y="1170"/>
                  </a:lnTo>
                  <a:lnTo>
                    <a:pt x="546" y="1176"/>
                  </a:lnTo>
                  <a:lnTo>
                    <a:pt x="546" y="1182"/>
                  </a:lnTo>
                  <a:lnTo>
                    <a:pt x="546" y="1188"/>
                  </a:lnTo>
                  <a:lnTo>
                    <a:pt x="540" y="1188"/>
                  </a:lnTo>
                  <a:lnTo>
                    <a:pt x="540" y="1194"/>
                  </a:lnTo>
                  <a:lnTo>
                    <a:pt x="528" y="1206"/>
                  </a:lnTo>
                  <a:lnTo>
                    <a:pt x="528" y="1212"/>
                  </a:lnTo>
                  <a:lnTo>
                    <a:pt x="534" y="1212"/>
                  </a:lnTo>
                  <a:lnTo>
                    <a:pt x="540" y="1218"/>
                  </a:lnTo>
                  <a:lnTo>
                    <a:pt x="534" y="1218"/>
                  </a:lnTo>
                  <a:lnTo>
                    <a:pt x="528" y="1218"/>
                  </a:lnTo>
                  <a:lnTo>
                    <a:pt x="528" y="1224"/>
                  </a:lnTo>
                  <a:lnTo>
                    <a:pt x="522" y="1230"/>
                  </a:lnTo>
                  <a:lnTo>
                    <a:pt x="516" y="1236"/>
                  </a:lnTo>
                  <a:lnTo>
                    <a:pt x="522" y="1236"/>
                  </a:lnTo>
                  <a:lnTo>
                    <a:pt x="516" y="1242"/>
                  </a:lnTo>
                  <a:lnTo>
                    <a:pt x="510" y="1242"/>
                  </a:lnTo>
                  <a:lnTo>
                    <a:pt x="504" y="1248"/>
                  </a:lnTo>
                  <a:lnTo>
                    <a:pt x="510" y="1260"/>
                  </a:lnTo>
                  <a:lnTo>
                    <a:pt x="504" y="1266"/>
                  </a:lnTo>
                  <a:lnTo>
                    <a:pt x="492" y="1266"/>
                  </a:lnTo>
                  <a:lnTo>
                    <a:pt x="486" y="1272"/>
                  </a:lnTo>
                  <a:lnTo>
                    <a:pt x="486" y="1278"/>
                  </a:lnTo>
                  <a:lnTo>
                    <a:pt x="480" y="1278"/>
                  </a:lnTo>
                  <a:lnTo>
                    <a:pt x="480" y="1284"/>
                  </a:lnTo>
                  <a:lnTo>
                    <a:pt x="480" y="1290"/>
                  </a:lnTo>
                  <a:lnTo>
                    <a:pt x="480" y="1296"/>
                  </a:lnTo>
                  <a:lnTo>
                    <a:pt x="492" y="1302"/>
                  </a:lnTo>
                  <a:lnTo>
                    <a:pt x="492" y="1308"/>
                  </a:lnTo>
                  <a:lnTo>
                    <a:pt x="492" y="1320"/>
                  </a:lnTo>
                  <a:lnTo>
                    <a:pt x="492" y="1332"/>
                  </a:lnTo>
                  <a:lnTo>
                    <a:pt x="498" y="1344"/>
                  </a:lnTo>
                  <a:lnTo>
                    <a:pt x="498" y="1350"/>
                  </a:lnTo>
                  <a:lnTo>
                    <a:pt x="498" y="1356"/>
                  </a:lnTo>
                  <a:lnTo>
                    <a:pt x="504" y="1362"/>
                  </a:lnTo>
                  <a:lnTo>
                    <a:pt x="498" y="1362"/>
                  </a:lnTo>
                  <a:lnTo>
                    <a:pt x="498" y="1368"/>
                  </a:lnTo>
                  <a:lnTo>
                    <a:pt x="492" y="1368"/>
                  </a:lnTo>
                  <a:lnTo>
                    <a:pt x="492" y="1374"/>
                  </a:lnTo>
                  <a:lnTo>
                    <a:pt x="492" y="1380"/>
                  </a:lnTo>
                  <a:lnTo>
                    <a:pt x="498" y="1380"/>
                  </a:lnTo>
                  <a:lnTo>
                    <a:pt x="504" y="1380"/>
                  </a:lnTo>
                  <a:lnTo>
                    <a:pt x="498" y="1386"/>
                  </a:lnTo>
                  <a:lnTo>
                    <a:pt x="498" y="1392"/>
                  </a:lnTo>
                  <a:lnTo>
                    <a:pt x="498" y="1398"/>
                  </a:lnTo>
                  <a:lnTo>
                    <a:pt x="498" y="1404"/>
                  </a:lnTo>
                  <a:lnTo>
                    <a:pt x="498" y="1410"/>
                  </a:lnTo>
                  <a:lnTo>
                    <a:pt x="498" y="1416"/>
                  </a:lnTo>
                  <a:lnTo>
                    <a:pt x="492" y="1416"/>
                  </a:lnTo>
                  <a:lnTo>
                    <a:pt x="498" y="1416"/>
                  </a:lnTo>
                  <a:lnTo>
                    <a:pt x="504" y="1416"/>
                  </a:lnTo>
                  <a:lnTo>
                    <a:pt x="504" y="1422"/>
                  </a:lnTo>
                  <a:lnTo>
                    <a:pt x="510" y="1428"/>
                  </a:lnTo>
                  <a:lnTo>
                    <a:pt x="510" y="1434"/>
                  </a:lnTo>
                  <a:lnTo>
                    <a:pt x="510" y="1440"/>
                  </a:lnTo>
                  <a:lnTo>
                    <a:pt x="516" y="1446"/>
                  </a:lnTo>
                  <a:lnTo>
                    <a:pt x="516" y="1452"/>
                  </a:lnTo>
                  <a:lnTo>
                    <a:pt x="516" y="1458"/>
                  </a:lnTo>
                  <a:lnTo>
                    <a:pt x="516" y="1464"/>
                  </a:lnTo>
                  <a:lnTo>
                    <a:pt x="516" y="1482"/>
                  </a:lnTo>
                  <a:lnTo>
                    <a:pt x="516" y="1488"/>
                  </a:lnTo>
                  <a:lnTo>
                    <a:pt x="522" y="1488"/>
                  </a:lnTo>
                  <a:lnTo>
                    <a:pt x="522" y="1494"/>
                  </a:lnTo>
                  <a:lnTo>
                    <a:pt x="522" y="1500"/>
                  </a:lnTo>
                  <a:lnTo>
                    <a:pt x="516" y="1506"/>
                  </a:lnTo>
                  <a:lnTo>
                    <a:pt x="510" y="1500"/>
                  </a:lnTo>
                  <a:lnTo>
                    <a:pt x="504" y="1500"/>
                  </a:lnTo>
                  <a:lnTo>
                    <a:pt x="504" y="1494"/>
                  </a:lnTo>
                  <a:lnTo>
                    <a:pt x="504" y="1488"/>
                  </a:lnTo>
                  <a:lnTo>
                    <a:pt x="504" y="1482"/>
                  </a:lnTo>
                  <a:lnTo>
                    <a:pt x="504" y="1488"/>
                  </a:lnTo>
                  <a:lnTo>
                    <a:pt x="504" y="1494"/>
                  </a:lnTo>
                  <a:lnTo>
                    <a:pt x="504" y="1500"/>
                  </a:lnTo>
                  <a:lnTo>
                    <a:pt x="498" y="1500"/>
                  </a:lnTo>
                  <a:lnTo>
                    <a:pt x="492" y="1500"/>
                  </a:lnTo>
                  <a:lnTo>
                    <a:pt x="492" y="1494"/>
                  </a:lnTo>
                  <a:lnTo>
                    <a:pt x="492" y="1488"/>
                  </a:lnTo>
                  <a:lnTo>
                    <a:pt x="492" y="1494"/>
                  </a:lnTo>
                  <a:lnTo>
                    <a:pt x="492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00"/>
                  </a:lnTo>
                  <a:lnTo>
                    <a:pt x="510" y="1500"/>
                  </a:lnTo>
                  <a:lnTo>
                    <a:pt x="510" y="1506"/>
                  </a:lnTo>
                  <a:lnTo>
                    <a:pt x="516" y="1506"/>
                  </a:lnTo>
                  <a:lnTo>
                    <a:pt x="510" y="1506"/>
                  </a:lnTo>
                  <a:lnTo>
                    <a:pt x="510" y="1512"/>
                  </a:lnTo>
                  <a:lnTo>
                    <a:pt x="516" y="1506"/>
                  </a:lnTo>
                  <a:lnTo>
                    <a:pt x="522" y="1506"/>
                  </a:lnTo>
                  <a:lnTo>
                    <a:pt x="528" y="1506"/>
                  </a:lnTo>
                  <a:lnTo>
                    <a:pt x="528" y="1500"/>
                  </a:lnTo>
                  <a:lnTo>
                    <a:pt x="534" y="1500"/>
                  </a:lnTo>
                  <a:lnTo>
                    <a:pt x="534" y="1506"/>
                  </a:lnTo>
                  <a:lnTo>
                    <a:pt x="540" y="1512"/>
                  </a:lnTo>
                  <a:lnTo>
                    <a:pt x="540" y="1518"/>
                  </a:lnTo>
                  <a:lnTo>
                    <a:pt x="546" y="1518"/>
                  </a:lnTo>
                  <a:lnTo>
                    <a:pt x="540" y="1518"/>
                  </a:lnTo>
                  <a:lnTo>
                    <a:pt x="540" y="1524"/>
                  </a:lnTo>
                  <a:lnTo>
                    <a:pt x="534" y="1524"/>
                  </a:lnTo>
                  <a:lnTo>
                    <a:pt x="540" y="1524"/>
                  </a:lnTo>
                  <a:lnTo>
                    <a:pt x="546" y="1524"/>
                  </a:lnTo>
                  <a:lnTo>
                    <a:pt x="546" y="1530"/>
                  </a:lnTo>
                  <a:lnTo>
                    <a:pt x="540" y="1530"/>
                  </a:lnTo>
                  <a:lnTo>
                    <a:pt x="540" y="1536"/>
                  </a:lnTo>
                  <a:lnTo>
                    <a:pt x="534" y="1542"/>
                  </a:lnTo>
                  <a:lnTo>
                    <a:pt x="528" y="1542"/>
                  </a:lnTo>
                  <a:lnTo>
                    <a:pt x="522" y="1542"/>
                  </a:lnTo>
                  <a:lnTo>
                    <a:pt x="516" y="1542"/>
                  </a:lnTo>
                  <a:lnTo>
                    <a:pt x="510" y="1542"/>
                  </a:lnTo>
                  <a:lnTo>
                    <a:pt x="504" y="1542"/>
                  </a:lnTo>
                  <a:lnTo>
                    <a:pt x="492" y="1542"/>
                  </a:lnTo>
                  <a:lnTo>
                    <a:pt x="486" y="1536"/>
                  </a:lnTo>
                  <a:lnTo>
                    <a:pt x="480" y="1536"/>
                  </a:lnTo>
                  <a:lnTo>
                    <a:pt x="468" y="1536"/>
                  </a:lnTo>
                  <a:lnTo>
                    <a:pt x="468" y="1542"/>
                  </a:lnTo>
                  <a:lnTo>
                    <a:pt x="462" y="1542"/>
                  </a:lnTo>
                  <a:lnTo>
                    <a:pt x="456" y="1542"/>
                  </a:lnTo>
                  <a:lnTo>
                    <a:pt x="450" y="1542"/>
                  </a:lnTo>
                  <a:lnTo>
                    <a:pt x="444" y="1542"/>
                  </a:lnTo>
                  <a:lnTo>
                    <a:pt x="444" y="1536"/>
                  </a:lnTo>
                  <a:lnTo>
                    <a:pt x="450" y="1536"/>
                  </a:lnTo>
                  <a:lnTo>
                    <a:pt x="456" y="1536"/>
                  </a:lnTo>
                  <a:lnTo>
                    <a:pt x="450" y="1536"/>
                  </a:lnTo>
                  <a:lnTo>
                    <a:pt x="444" y="1536"/>
                  </a:lnTo>
                  <a:lnTo>
                    <a:pt x="444" y="1530"/>
                  </a:lnTo>
                  <a:lnTo>
                    <a:pt x="450" y="1530"/>
                  </a:lnTo>
                  <a:lnTo>
                    <a:pt x="456" y="1524"/>
                  </a:lnTo>
                  <a:lnTo>
                    <a:pt x="456" y="1518"/>
                  </a:lnTo>
                  <a:lnTo>
                    <a:pt x="462" y="1518"/>
                  </a:lnTo>
                  <a:lnTo>
                    <a:pt x="462" y="1524"/>
                  </a:lnTo>
                  <a:lnTo>
                    <a:pt x="468" y="1524"/>
                  </a:lnTo>
                  <a:lnTo>
                    <a:pt x="474" y="1524"/>
                  </a:lnTo>
                  <a:lnTo>
                    <a:pt x="474" y="1518"/>
                  </a:lnTo>
                  <a:lnTo>
                    <a:pt x="480" y="1518"/>
                  </a:lnTo>
                  <a:lnTo>
                    <a:pt x="474" y="1518"/>
                  </a:lnTo>
                  <a:lnTo>
                    <a:pt x="474" y="1524"/>
                  </a:lnTo>
                  <a:lnTo>
                    <a:pt x="468" y="1524"/>
                  </a:lnTo>
                  <a:lnTo>
                    <a:pt x="462" y="1518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62" y="1512"/>
                  </a:lnTo>
                  <a:lnTo>
                    <a:pt x="462" y="1506"/>
                  </a:lnTo>
                  <a:lnTo>
                    <a:pt x="456" y="1506"/>
                  </a:lnTo>
                  <a:lnTo>
                    <a:pt x="456" y="1512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50" y="1518"/>
                  </a:lnTo>
                  <a:lnTo>
                    <a:pt x="444" y="1518"/>
                  </a:lnTo>
                  <a:lnTo>
                    <a:pt x="444" y="1524"/>
                  </a:lnTo>
                  <a:lnTo>
                    <a:pt x="438" y="1524"/>
                  </a:lnTo>
                  <a:lnTo>
                    <a:pt x="438" y="1530"/>
                  </a:lnTo>
                  <a:lnTo>
                    <a:pt x="432" y="1530"/>
                  </a:lnTo>
                  <a:lnTo>
                    <a:pt x="432" y="1536"/>
                  </a:lnTo>
                  <a:lnTo>
                    <a:pt x="426" y="1530"/>
                  </a:lnTo>
                  <a:lnTo>
                    <a:pt x="420" y="1530"/>
                  </a:lnTo>
                  <a:lnTo>
                    <a:pt x="414" y="1530"/>
                  </a:lnTo>
                  <a:lnTo>
                    <a:pt x="414" y="1524"/>
                  </a:lnTo>
                  <a:lnTo>
                    <a:pt x="408" y="1518"/>
                  </a:lnTo>
                  <a:lnTo>
                    <a:pt x="414" y="1512"/>
                  </a:lnTo>
                  <a:lnTo>
                    <a:pt x="408" y="1512"/>
                  </a:lnTo>
                  <a:lnTo>
                    <a:pt x="408" y="1506"/>
                  </a:lnTo>
                  <a:lnTo>
                    <a:pt x="408" y="1500"/>
                  </a:lnTo>
                  <a:lnTo>
                    <a:pt x="408" y="1494"/>
                  </a:lnTo>
                  <a:lnTo>
                    <a:pt x="408" y="1488"/>
                  </a:lnTo>
                  <a:lnTo>
                    <a:pt x="408" y="1494"/>
                  </a:lnTo>
                  <a:lnTo>
                    <a:pt x="414" y="1494"/>
                  </a:lnTo>
                  <a:lnTo>
                    <a:pt x="420" y="1494"/>
                  </a:lnTo>
                  <a:lnTo>
                    <a:pt x="420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82"/>
                  </a:lnTo>
                  <a:lnTo>
                    <a:pt x="426" y="1476"/>
                  </a:lnTo>
                  <a:lnTo>
                    <a:pt x="432" y="1476"/>
                  </a:lnTo>
                  <a:lnTo>
                    <a:pt x="432" y="1470"/>
                  </a:lnTo>
                  <a:lnTo>
                    <a:pt x="438" y="1470"/>
                  </a:lnTo>
                  <a:lnTo>
                    <a:pt x="444" y="1464"/>
                  </a:lnTo>
                  <a:lnTo>
                    <a:pt x="450" y="1458"/>
                  </a:lnTo>
                  <a:lnTo>
                    <a:pt x="456" y="1458"/>
                  </a:lnTo>
                  <a:lnTo>
                    <a:pt x="462" y="1452"/>
                  </a:lnTo>
                  <a:lnTo>
                    <a:pt x="468" y="1452"/>
                  </a:lnTo>
                  <a:lnTo>
                    <a:pt x="468" y="1446"/>
                  </a:lnTo>
                  <a:lnTo>
                    <a:pt x="462" y="1440"/>
                  </a:lnTo>
                  <a:lnTo>
                    <a:pt x="456" y="1434"/>
                  </a:lnTo>
                  <a:lnTo>
                    <a:pt x="456" y="1428"/>
                  </a:lnTo>
                  <a:lnTo>
                    <a:pt x="456" y="1422"/>
                  </a:lnTo>
                  <a:lnTo>
                    <a:pt x="456" y="1416"/>
                  </a:lnTo>
                  <a:lnTo>
                    <a:pt x="450" y="1410"/>
                  </a:lnTo>
                  <a:lnTo>
                    <a:pt x="444" y="1410"/>
                  </a:lnTo>
                  <a:lnTo>
                    <a:pt x="450" y="1410"/>
                  </a:lnTo>
                  <a:lnTo>
                    <a:pt x="450" y="1404"/>
                  </a:lnTo>
                  <a:lnTo>
                    <a:pt x="456" y="1404"/>
                  </a:lnTo>
                  <a:lnTo>
                    <a:pt x="462" y="1404"/>
                  </a:lnTo>
                  <a:lnTo>
                    <a:pt x="468" y="1398"/>
                  </a:lnTo>
                  <a:lnTo>
                    <a:pt x="462" y="1398"/>
                  </a:lnTo>
                  <a:lnTo>
                    <a:pt x="462" y="1392"/>
                  </a:lnTo>
                  <a:lnTo>
                    <a:pt x="456" y="1392"/>
                  </a:lnTo>
                  <a:lnTo>
                    <a:pt x="456" y="1386"/>
                  </a:lnTo>
                  <a:lnTo>
                    <a:pt x="462" y="1386"/>
                  </a:lnTo>
                  <a:lnTo>
                    <a:pt x="468" y="1386"/>
                  </a:lnTo>
                  <a:lnTo>
                    <a:pt x="474" y="1386"/>
                  </a:lnTo>
                  <a:lnTo>
                    <a:pt x="468" y="1386"/>
                  </a:lnTo>
                  <a:lnTo>
                    <a:pt x="462" y="1386"/>
                  </a:lnTo>
                  <a:lnTo>
                    <a:pt x="456" y="1380"/>
                  </a:lnTo>
                  <a:lnTo>
                    <a:pt x="456" y="1374"/>
                  </a:lnTo>
                  <a:lnTo>
                    <a:pt x="462" y="1374"/>
                  </a:lnTo>
                  <a:lnTo>
                    <a:pt x="462" y="1368"/>
                  </a:lnTo>
                  <a:lnTo>
                    <a:pt x="456" y="1374"/>
                  </a:lnTo>
                  <a:lnTo>
                    <a:pt x="456" y="1368"/>
                  </a:lnTo>
                  <a:lnTo>
                    <a:pt x="456" y="1362"/>
                  </a:lnTo>
                  <a:lnTo>
                    <a:pt x="450" y="1362"/>
                  </a:lnTo>
                  <a:lnTo>
                    <a:pt x="450" y="1356"/>
                  </a:lnTo>
                  <a:lnTo>
                    <a:pt x="450" y="1350"/>
                  </a:lnTo>
                  <a:lnTo>
                    <a:pt x="450" y="1344"/>
                  </a:lnTo>
                  <a:lnTo>
                    <a:pt x="456" y="1344"/>
                  </a:lnTo>
                  <a:lnTo>
                    <a:pt x="456" y="1338"/>
                  </a:lnTo>
                  <a:lnTo>
                    <a:pt x="462" y="1338"/>
                  </a:lnTo>
                  <a:lnTo>
                    <a:pt x="462" y="1332"/>
                  </a:lnTo>
                  <a:lnTo>
                    <a:pt x="456" y="1332"/>
                  </a:lnTo>
                  <a:lnTo>
                    <a:pt x="456" y="1326"/>
                  </a:lnTo>
                  <a:lnTo>
                    <a:pt x="450" y="1326"/>
                  </a:lnTo>
                  <a:lnTo>
                    <a:pt x="444" y="1326"/>
                  </a:lnTo>
                  <a:lnTo>
                    <a:pt x="444" y="1332"/>
                  </a:lnTo>
                  <a:lnTo>
                    <a:pt x="438" y="1332"/>
                  </a:lnTo>
                  <a:lnTo>
                    <a:pt x="438" y="1338"/>
                  </a:lnTo>
                  <a:lnTo>
                    <a:pt x="432" y="1338"/>
                  </a:lnTo>
                  <a:lnTo>
                    <a:pt x="432" y="1344"/>
                  </a:lnTo>
                  <a:lnTo>
                    <a:pt x="432" y="1350"/>
                  </a:lnTo>
                  <a:lnTo>
                    <a:pt x="426" y="1356"/>
                  </a:lnTo>
                  <a:lnTo>
                    <a:pt x="426" y="1368"/>
                  </a:lnTo>
                  <a:lnTo>
                    <a:pt x="426" y="1374"/>
                  </a:lnTo>
                  <a:lnTo>
                    <a:pt x="426" y="1380"/>
                  </a:lnTo>
                  <a:lnTo>
                    <a:pt x="432" y="1386"/>
                  </a:lnTo>
                  <a:lnTo>
                    <a:pt x="432" y="1392"/>
                  </a:lnTo>
                  <a:lnTo>
                    <a:pt x="432" y="1398"/>
                  </a:lnTo>
                  <a:lnTo>
                    <a:pt x="426" y="1398"/>
                  </a:lnTo>
                  <a:lnTo>
                    <a:pt x="420" y="1398"/>
                  </a:lnTo>
                  <a:lnTo>
                    <a:pt x="414" y="1398"/>
                  </a:lnTo>
                  <a:lnTo>
                    <a:pt x="420" y="1398"/>
                  </a:lnTo>
                  <a:lnTo>
                    <a:pt x="414" y="1404"/>
                  </a:lnTo>
                  <a:lnTo>
                    <a:pt x="420" y="1404"/>
                  </a:lnTo>
                  <a:lnTo>
                    <a:pt x="414" y="1404"/>
                  </a:lnTo>
                  <a:lnTo>
                    <a:pt x="408" y="1404"/>
                  </a:lnTo>
                  <a:lnTo>
                    <a:pt x="402" y="1410"/>
                  </a:lnTo>
                  <a:lnTo>
                    <a:pt x="402" y="1404"/>
                  </a:lnTo>
                  <a:lnTo>
                    <a:pt x="396" y="1404"/>
                  </a:lnTo>
                  <a:lnTo>
                    <a:pt x="390" y="1404"/>
                  </a:lnTo>
                  <a:lnTo>
                    <a:pt x="384" y="1404"/>
                  </a:lnTo>
                  <a:lnTo>
                    <a:pt x="384" y="1398"/>
                  </a:lnTo>
                  <a:lnTo>
                    <a:pt x="384" y="1392"/>
                  </a:lnTo>
                  <a:lnTo>
                    <a:pt x="390" y="1392"/>
                  </a:lnTo>
                  <a:lnTo>
                    <a:pt x="390" y="1386"/>
                  </a:lnTo>
                  <a:lnTo>
                    <a:pt x="390" y="1380"/>
                  </a:lnTo>
                  <a:lnTo>
                    <a:pt x="396" y="1380"/>
                  </a:lnTo>
                  <a:lnTo>
                    <a:pt x="402" y="1380"/>
                  </a:lnTo>
                  <a:lnTo>
                    <a:pt x="408" y="1380"/>
                  </a:lnTo>
                  <a:lnTo>
                    <a:pt x="408" y="1374"/>
                  </a:lnTo>
                  <a:lnTo>
                    <a:pt x="414" y="1374"/>
                  </a:lnTo>
                  <a:lnTo>
                    <a:pt x="414" y="1368"/>
                  </a:lnTo>
                  <a:lnTo>
                    <a:pt x="414" y="1362"/>
                  </a:lnTo>
                  <a:lnTo>
                    <a:pt x="414" y="1368"/>
                  </a:lnTo>
                  <a:lnTo>
                    <a:pt x="414" y="1374"/>
                  </a:lnTo>
                  <a:lnTo>
                    <a:pt x="408" y="1374"/>
                  </a:lnTo>
                  <a:lnTo>
                    <a:pt x="402" y="1380"/>
                  </a:lnTo>
                  <a:lnTo>
                    <a:pt x="396" y="1380"/>
                  </a:lnTo>
                  <a:lnTo>
                    <a:pt x="396" y="1374"/>
                  </a:lnTo>
                  <a:lnTo>
                    <a:pt x="390" y="1374"/>
                  </a:lnTo>
                  <a:lnTo>
                    <a:pt x="390" y="1368"/>
                  </a:lnTo>
                  <a:lnTo>
                    <a:pt x="384" y="1368"/>
                  </a:lnTo>
                  <a:lnTo>
                    <a:pt x="384" y="1374"/>
                  </a:lnTo>
                  <a:lnTo>
                    <a:pt x="378" y="1374"/>
                  </a:lnTo>
                  <a:lnTo>
                    <a:pt x="378" y="1380"/>
                  </a:lnTo>
                  <a:lnTo>
                    <a:pt x="372" y="1380"/>
                  </a:lnTo>
                  <a:lnTo>
                    <a:pt x="366" y="1386"/>
                  </a:lnTo>
                  <a:lnTo>
                    <a:pt x="360" y="1386"/>
                  </a:lnTo>
                  <a:lnTo>
                    <a:pt x="354" y="1386"/>
                  </a:lnTo>
                  <a:lnTo>
                    <a:pt x="354" y="1380"/>
                  </a:lnTo>
                  <a:lnTo>
                    <a:pt x="348" y="1380"/>
                  </a:lnTo>
                  <a:lnTo>
                    <a:pt x="342" y="1380"/>
                  </a:lnTo>
                  <a:lnTo>
                    <a:pt x="342" y="1374"/>
                  </a:lnTo>
                  <a:lnTo>
                    <a:pt x="336" y="1368"/>
                  </a:lnTo>
                  <a:lnTo>
                    <a:pt x="342" y="1368"/>
                  </a:lnTo>
                  <a:lnTo>
                    <a:pt x="342" y="1362"/>
                  </a:lnTo>
                  <a:lnTo>
                    <a:pt x="348" y="1362"/>
                  </a:lnTo>
                  <a:lnTo>
                    <a:pt x="354" y="1362"/>
                  </a:lnTo>
                  <a:lnTo>
                    <a:pt x="354" y="1356"/>
                  </a:lnTo>
                  <a:lnTo>
                    <a:pt x="348" y="1356"/>
                  </a:lnTo>
                  <a:lnTo>
                    <a:pt x="348" y="1350"/>
                  </a:lnTo>
                  <a:lnTo>
                    <a:pt x="348" y="1344"/>
                  </a:lnTo>
                  <a:lnTo>
                    <a:pt x="354" y="1338"/>
                  </a:lnTo>
                  <a:lnTo>
                    <a:pt x="354" y="1332"/>
                  </a:lnTo>
                  <a:lnTo>
                    <a:pt x="354" y="1326"/>
                  </a:lnTo>
                  <a:lnTo>
                    <a:pt x="354" y="1320"/>
                  </a:lnTo>
                  <a:lnTo>
                    <a:pt x="354" y="1314"/>
                  </a:lnTo>
                  <a:lnTo>
                    <a:pt x="354" y="1308"/>
                  </a:lnTo>
                  <a:lnTo>
                    <a:pt x="348" y="1308"/>
                  </a:lnTo>
                  <a:lnTo>
                    <a:pt x="348" y="1302"/>
                  </a:lnTo>
                  <a:lnTo>
                    <a:pt x="342" y="1296"/>
                  </a:lnTo>
                  <a:lnTo>
                    <a:pt x="336" y="1296"/>
                  </a:lnTo>
                  <a:lnTo>
                    <a:pt x="336" y="1290"/>
                  </a:lnTo>
                  <a:lnTo>
                    <a:pt x="330" y="1290"/>
                  </a:lnTo>
                  <a:lnTo>
                    <a:pt x="324" y="1290"/>
                  </a:lnTo>
                  <a:lnTo>
                    <a:pt x="324" y="1284"/>
                  </a:lnTo>
                  <a:lnTo>
                    <a:pt x="318" y="1284"/>
                  </a:lnTo>
                  <a:lnTo>
                    <a:pt x="318" y="1278"/>
                  </a:lnTo>
                  <a:lnTo>
                    <a:pt x="312" y="1278"/>
                  </a:lnTo>
                  <a:lnTo>
                    <a:pt x="312" y="1272"/>
                  </a:lnTo>
                  <a:lnTo>
                    <a:pt x="312" y="1278"/>
                  </a:lnTo>
                  <a:lnTo>
                    <a:pt x="318" y="1284"/>
                  </a:lnTo>
                  <a:lnTo>
                    <a:pt x="324" y="1290"/>
                  </a:lnTo>
                  <a:lnTo>
                    <a:pt x="330" y="1290"/>
                  </a:lnTo>
                  <a:lnTo>
                    <a:pt x="330" y="1296"/>
                  </a:lnTo>
                  <a:lnTo>
                    <a:pt x="336" y="1296"/>
                  </a:lnTo>
                  <a:lnTo>
                    <a:pt x="336" y="1302"/>
                  </a:lnTo>
                  <a:lnTo>
                    <a:pt x="342" y="1302"/>
                  </a:lnTo>
                  <a:lnTo>
                    <a:pt x="348" y="1302"/>
                  </a:lnTo>
                  <a:lnTo>
                    <a:pt x="348" y="1308"/>
                  </a:lnTo>
                  <a:lnTo>
                    <a:pt x="348" y="1314"/>
                  </a:lnTo>
                  <a:lnTo>
                    <a:pt x="354" y="1314"/>
                  </a:lnTo>
                  <a:lnTo>
                    <a:pt x="354" y="1320"/>
                  </a:lnTo>
                  <a:lnTo>
                    <a:pt x="354" y="1326"/>
                  </a:lnTo>
                  <a:lnTo>
                    <a:pt x="348" y="1326"/>
                  </a:lnTo>
                  <a:lnTo>
                    <a:pt x="348" y="1332"/>
                  </a:lnTo>
                  <a:lnTo>
                    <a:pt x="348" y="1338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2" y="1350"/>
                  </a:lnTo>
                  <a:lnTo>
                    <a:pt x="336" y="1350"/>
                  </a:lnTo>
                  <a:lnTo>
                    <a:pt x="330" y="1350"/>
                  </a:lnTo>
                  <a:lnTo>
                    <a:pt x="330" y="1356"/>
                  </a:lnTo>
                  <a:lnTo>
                    <a:pt x="330" y="1350"/>
                  </a:lnTo>
                  <a:lnTo>
                    <a:pt x="324" y="1350"/>
                  </a:lnTo>
                  <a:lnTo>
                    <a:pt x="318" y="1344"/>
                  </a:lnTo>
                  <a:lnTo>
                    <a:pt x="318" y="1350"/>
                  </a:lnTo>
                  <a:lnTo>
                    <a:pt x="312" y="1344"/>
                  </a:lnTo>
                  <a:lnTo>
                    <a:pt x="312" y="1338"/>
                  </a:lnTo>
                  <a:lnTo>
                    <a:pt x="306" y="1338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6" y="1326"/>
                  </a:lnTo>
                  <a:lnTo>
                    <a:pt x="306" y="1320"/>
                  </a:lnTo>
                  <a:lnTo>
                    <a:pt x="306" y="1326"/>
                  </a:lnTo>
                  <a:lnTo>
                    <a:pt x="312" y="1326"/>
                  </a:lnTo>
                  <a:lnTo>
                    <a:pt x="312" y="1320"/>
                  </a:lnTo>
                  <a:lnTo>
                    <a:pt x="306" y="1320"/>
                  </a:lnTo>
                  <a:lnTo>
                    <a:pt x="300" y="1320"/>
                  </a:lnTo>
                  <a:lnTo>
                    <a:pt x="294" y="1320"/>
                  </a:lnTo>
                  <a:lnTo>
                    <a:pt x="294" y="1314"/>
                  </a:lnTo>
                  <a:lnTo>
                    <a:pt x="288" y="1314"/>
                  </a:lnTo>
                  <a:lnTo>
                    <a:pt x="288" y="1308"/>
                  </a:lnTo>
                  <a:lnTo>
                    <a:pt x="288" y="1302"/>
                  </a:lnTo>
                  <a:lnTo>
                    <a:pt x="294" y="1302"/>
                  </a:lnTo>
                  <a:lnTo>
                    <a:pt x="294" y="1296"/>
                  </a:lnTo>
                  <a:lnTo>
                    <a:pt x="288" y="1296"/>
                  </a:lnTo>
                  <a:lnTo>
                    <a:pt x="288" y="1290"/>
                  </a:lnTo>
                  <a:lnTo>
                    <a:pt x="288" y="1296"/>
                  </a:lnTo>
                  <a:lnTo>
                    <a:pt x="294" y="1302"/>
                  </a:lnTo>
                  <a:lnTo>
                    <a:pt x="288" y="1302"/>
                  </a:lnTo>
                  <a:lnTo>
                    <a:pt x="282" y="1296"/>
                  </a:lnTo>
                  <a:lnTo>
                    <a:pt x="276" y="1296"/>
                  </a:lnTo>
                  <a:lnTo>
                    <a:pt x="276" y="1290"/>
                  </a:lnTo>
                  <a:lnTo>
                    <a:pt x="270" y="1290"/>
                  </a:lnTo>
                  <a:lnTo>
                    <a:pt x="264" y="1284"/>
                  </a:lnTo>
                  <a:lnTo>
                    <a:pt x="264" y="1278"/>
                  </a:lnTo>
                  <a:lnTo>
                    <a:pt x="264" y="1272"/>
                  </a:lnTo>
                  <a:lnTo>
                    <a:pt x="264" y="1266"/>
                  </a:lnTo>
                  <a:lnTo>
                    <a:pt x="258" y="1266"/>
                  </a:lnTo>
                  <a:lnTo>
                    <a:pt x="252" y="1266"/>
                  </a:lnTo>
                  <a:lnTo>
                    <a:pt x="246" y="1260"/>
                  </a:lnTo>
                  <a:lnTo>
                    <a:pt x="240" y="1254"/>
                  </a:lnTo>
                  <a:lnTo>
                    <a:pt x="240" y="1260"/>
                  </a:lnTo>
                  <a:lnTo>
                    <a:pt x="240" y="1266"/>
                  </a:lnTo>
                  <a:lnTo>
                    <a:pt x="240" y="1272"/>
                  </a:lnTo>
                  <a:lnTo>
                    <a:pt x="246" y="1272"/>
                  </a:lnTo>
                  <a:lnTo>
                    <a:pt x="246" y="1278"/>
                  </a:lnTo>
                  <a:lnTo>
                    <a:pt x="246" y="1284"/>
                  </a:lnTo>
                  <a:lnTo>
                    <a:pt x="252" y="1284"/>
                  </a:lnTo>
                  <a:lnTo>
                    <a:pt x="252" y="1290"/>
                  </a:lnTo>
                  <a:lnTo>
                    <a:pt x="258" y="1296"/>
                  </a:lnTo>
                  <a:lnTo>
                    <a:pt x="264" y="1302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58" y="1314"/>
                  </a:lnTo>
                  <a:lnTo>
                    <a:pt x="258" y="1308"/>
                  </a:lnTo>
                  <a:lnTo>
                    <a:pt x="252" y="1308"/>
                  </a:lnTo>
                  <a:lnTo>
                    <a:pt x="252" y="1302"/>
                  </a:lnTo>
                  <a:lnTo>
                    <a:pt x="246" y="1302"/>
                  </a:lnTo>
                  <a:lnTo>
                    <a:pt x="246" y="1296"/>
                  </a:lnTo>
                  <a:lnTo>
                    <a:pt x="240" y="1296"/>
                  </a:lnTo>
                  <a:lnTo>
                    <a:pt x="240" y="1290"/>
                  </a:lnTo>
                  <a:lnTo>
                    <a:pt x="234" y="1284"/>
                  </a:lnTo>
                  <a:lnTo>
                    <a:pt x="234" y="1278"/>
                  </a:lnTo>
                  <a:close/>
                  <a:moveTo>
                    <a:pt x="444" y="1332"/>
                  </a:moveTo>
                  <a:lnTo>
                    <a:pt x="450" y="1326"/>
                  </a:lnTo>
                  <a:lnTo>
                    <a:pt x="456" y="1326"/>
                  </a:lnTo>
                  <a:lnTo>
                    <a:pt x="456" y="1332"/>
                  </a:lnTo>
                  <a:lnTo>
                    <a:pt x="456" y="1338"/>
                  </a:lnTo>
                  <a:lnTo>
                    <a:pt x="450" y="1338"/>
                  </a:lnTo>
                  <a:lnTo>
                    <a:pt x="444" y="1338"/>
                  </a:lnTo>
                  <a:lnTo>
                    <a:pt x="444" y="1332"/>
                  </a:lnTo>
                  <a:close/>
                  <a:moveTo>
                    <a:pt x="444" y="1368"/>
                  </a:moveTo>
                  <a:lnTo>
                    <a:pt x="456" y="1368"/>
                  </a:lnTo>
                  <a:lnTo>
                    <a:pt x="456" y="1374"/>
                  </a:lnTo>
                  <a:lnTo>
                    <a:pt x="444" y="1374"/>
                  </a:lnTo>
                  <a:lnTo>
                    <a:pt x="444" y="1368"/>
                  </a:lnTo>
                  <a:close/>
                  <a:moveTo>
                    <a:pt x="444" y="1386"/>
                  </a:moveTo>
                  <a:lnTo>
                    <a:pt x="444" y="1380"/>
                  </a:lnTo>
                  <a:lnTo>
                    <a:pt x="444" y="1374"/>
                  </a:lnTo>
                  <a:lnTo>
                    <a:pt x="444" y="1380"/>
                  </a:lnTo>
                  <a:lnTo>
                    <a:pt x="450" y="1380"/>
                  </a:lnTo>
                  <a:lnTo>
                    <a:pt x="456" y="1380"/>
                  </a:lnTo>
                  <a:lnTo>
                    <a:pt x="456" y="1386"/>
                  </a:lnTo>
                  <a:lnTo>
                    <a:pt x="456" y="1392"/>
                  </a:lnTo>
                  <a:lnTo>
                    <a:pt x="462" y="1392"/>
                  </a:lnTo>
                  <a:lnTo>
                    <a:pt x="462" y="1398"/>
                  </a:lnTo>
                  <a:lnTo>
                    <a:pt x="462" y="1404"/>
                  </a:lnTo>
                  <a:lnTo>
                    <a:pt x="456" y="1404"/>
                  </a:lnTo>
                  <a:lnTo>
                    <a:pt x="450" y="1404"/>
                  </a:lnTo>
                  <a:lnTo>
                    <a:pt x="450" y="1398"/>
                  </a:lnTo>
                  <a:lnTo>
                    <a:pt x="444" y="1398"/>
                  </a:lnTo>
                  <a:lnTo>
                    <a:pt x="444" y="1392"/>
                  </a:lnTo>
                  <a:lnTo>
                    <a:pt x="444" y="1386"/>
                  </a:lnTo>
                  <a:close/>
                  <a:moveTo>
                    <a:pt x="438" y="1362"/>
                  </a:moveTo>
                  <a:lnTo>
                    <a:pt x="444" y="1356"/>
                  </a:lnTo>
                  <a:lnTo>
                    <a:pt x="450" y="1356"/>
                  </a:lnTo>
                  <a:lnTo>
                    <a:pt x="450" y="1362"/>
                  </a:lnTo>
                  <a:lnTo>
                    <a:pt x="450" y="1368"/>
                  </a:lnTo>
                  <a:lnTo>
                    <a:pt x="444" y="1368"/>
                  </a:lnTo>
                  <a:lnTo>
                    <a:pt x="444" y="1362"/>
                  </a:lnTo>
                  <a:lnTo>
                    <a:pt x="438" y="1362"/>
                  </a:lnTo>
                  <a:close/>
                  <a:moveTo>
                    <a:pt x="438" y="1350"/>
                  </a:moveTo>
                  <a:lnTo>
                    <a:pt x="438" y="1344"/>
                  </a:lnTo>
                  <a:lnTo>
                    <a:pt x="438" y="1338"/>
                  </a:lnTo>
                  <a:lnTo>
                    <a:pt x="444" y="1338"/>
                  </a:lnTo>
                  <a:lnTo>
                    <a:pt x="450" y="1338"/>
                  </a:lnTo>
                  <a:lnTo>
                    <a:pt x="456" y="1338"/>
                  </a:lnTo>
                  <a:lnTo>
                    <a:pt x="450" y="1344"/>
                  </a:lnTo>
                  <a:lnTo>
                    <a:pt x="444" y="1350"/>
                  </a:lnTo>
                  <a:lnTo>
                    <a:pt x="438" y="1350"/>
                  </a:lnTo>
                  <a:close/>
                  <a:moveTo>
                    <a:pt x="432" y="1380"/>
                  </a:moveTo>
                  <a:lnTo>
                    <a:pt x="432" y="1368"/>
                  </a:lnTo>
                  <a:lnTo>
                    <a:pt x="432" y="1362"/>
                  </a:lnTo>
                  <a:lnTo>
                    <a:pt x="432" y="1356"/>
                  </a:lnTo>
                  <a:lnTo>
                    <a:pt x="438" y="1356"/>
                  </a:lnTo>
                  <a:lnTo>
                    <a:pt x="438" y="1362"/>
                  </a:lnTo>
                  <a:lnTo>
                    <a:pt x="438" y="1368"/>
                  </a:lnTo>
                  <a:lnTo>
                    <a:pt x="438" y="1374"/>
                  </a:lnTo>
                  <a:lnTo>
                    <a:pt x="438" y="1380"/>
                  </a:lnTo>
                  <a:lnTo>
                    <a:pt x="438" y="1386"/>
                  </a:lnTo>
                  <a:lnTo>
                    <a:pt x="438" y="1380"/>
                  </a:lnTo>
                  <a:lnTo>
                    <a:pt x="432" y="1380"/>
                  </a:lnTo>
                  <a:close/>
                  <a:moveTo>
                    <a:pt x="246" y="1272"/>
                  </a:moveTo>
                  <a:lnTo>
                    <a:pt x="252" y="1272"/>
                  </a:lnTo>
                  <a:lnTo>
                    <a:pt x="252" y="1278"/>
                  </a:lnTo>
                  <a:lnTo>
                    <a:pt x="246" y="1278"/>
                  </a:lnTo>
                  <a:lnTo>
                    <a:pt x="246" y="1272"/>
                  </a:lnTo>
                  <a:close/>
                  <a:moveTo>
                    <a:pt x="426" y="1416"/>
                  </a:moveTo>
                  <a:lnTo>
                    <a:pt x="432" y="1410"/>
                  </a:lnTo>
                  <a:lnTo>
                    <a:pt x="438" y="1410"/>
                  </a:lnTo>
                  <a:lnTo>
                    <a:pt x="438" y="1416"/>
                  </a:lnTo>
                  <a:lnTo>
                    <a:pt x="438" y="1422"/>
                  </a:lnTo>
                  <a:lnTo>
                    <a:pt x="432" y="1422"/>
                  </a:lnTo>
                  <a:lnTo>
                    <a:pt x="426" y="1422"/>
                  </a:lnTo>
                  <a:lnTo>
                    <a:pt x="426" y="1416"/>
                  </a:lnTo>
                  <a:close/>
                  <a:moveTo>
                    <a:pt x="246" y="1266"/>
                  </a:moveTo>
                  <a:lnTo>
                    <a:pt x="252" y="1266"/>
                  </a:lnTo>
                  <a:lnTo>
                    <a:pt x="258" y="1272"/>
                  </a:lnTo>
                  <a:lnTo>
                    <a:pt x="258" y="1278"/>
                  </a:lnTo>
                  <a:lnTo>
                    <a:pt x="258" y="1284"/>
                  </a:lnTo>
                  <a:lnTo>
                    <a:pt x="252" y="1284"/>
                  </a:lnTo>
                  <a:lnTo>
                    <a:pt x="252" y="1278"/>
                  </a:lnTo>
                  <a:lnTo>
                    <a:pt x="252" y="1272"/>
                  </a:lnTo>
                  <a:lnTo>
                    <a:pt x="252" y="1266"/>
                  </a:lnTo>
                  <a:lnTo>
                    <a:pt x="246" y="1266"/>
                  </a:lnTo>
                  <a:close/>
                  <a:moveTo>
                    <a:pt x="408" y="1458"/>
                  </a:moveTo>
                  <a:lnTo>
                    <a:pt x="408" y="1452"/>
                  </a:lnTo>
                  <a:lnTo>
                    <a:pt x="414" y="1452"/>
                  </a:lnTo>
                  <a:lnTo>
                    <a:pt x="414" y="1446"/>
                  </a:lnTo>
                  <a:lnTo>
                    <a:pt x="414" y="1440"/>
                  </a:lnTo>
                  <a:lnTo>
                    <a:pt x="420" y="1440"/>
                  </a:lnTo>
                  <a:lnTo>
                    <a:pt x="420" y="1434"/>
                  </a:lnTo>
                  <a:lnTo>
                    <a:pt x="420" y="1428"/>
                  </a:lnTo>
                  <a:lnTo>
                    <a:pt x="420" y="1422"/>
                  </a:lnTo>
                  <a:lnTo>
                    <a:pt x="426" y="1422"/>
                  </a:lnTo>
                  <a:lnTo>
                    <a:pt x="432" y="1428"/>
                  </a:lnTo>
                  <a:lnTo>
                    <a:pt x="438" y="1428"/>
                  </a:lnTo>
                  <a:lnTo>
                    <a:pt x="438" y="1434"/>
                  </a:lnTo>
                  <a:lnTo>
                    <a:pt x="438" y="1428"/>
                  </a:lnTo>
                  <a:lnTo>
                    <a:pt x="438" y="1422"/>
                  </a:lnTo>
                  <a:lnTo>
                    <a:pt x="444" y="1416"/>
                  </a:lnTo>
                  <a:lnTo>
                    <a:pt x="444" y="1410"/>
                  </a:lnTo>
                  <a:lnTo>
                    <a:pt x="450" y="1416"/>
                  </a:lnTo>
                  <a:lnTo>
                    <a:pt x="456" y="1416"/>
                  </a:lnTo>
                  <a:lnTo>
                    <a:pt x="456" y="1422"/>
                  </a:lnTo>
                  <a:lnTo>
                    <a:pt x="456" y="1428"/>
                  </a:lnTo>
                  <a:lnTo>
                    <a:pt x="456" y="1434"/>
                  </a:lnTo>
                  <a:lnTo>
                    <a:pt x="456" y="1440"/>
                  </a:lnTo>
                  <a:lnTo>
                    <a:pt x="462" y="1440"/>
                  </a:lnTo>
                  <a:lnTo>
                    <a:pt x="462" y="1446"/>
                  </a:lnTo>
                  <a:lnTo>
                    <a:pt x="462" y="1452"/>
                  </a:lnTo>
                  <a:lnTo>
                    <a:pt x="456" y="1452"/>
                  </a:lnTo>
                  <a:lnTo>
                    <a:pt x="450" y="1452"/>
                  </a:lnTo>
                  <a:lnTo>
                    <a:pt x="444" y="1446"/>
                  </a:lnTo>
                  <a:lnTo>
                    <a:pt x="444" y="1452"/>
                  </a:lnTo>
                  <a:lnTo>
                    <a:pt x="450" y="1452"/>
                  </a:lnTo>
                  <a:lnTo>
                    <a:pt x="450" y="1458"/>
                  </a:lnTo>
                  <a:lnTo>
                    <a:pt x="444" y="1458"/>
                  </a:lnTo>
                  <a:lnTo>
                    <a:pt x="438" y="1464"/>
                  </a:lnTo>
                  <a:lnTo>
                    <a:pt x="438" y="1458"/>
                  </a:lnTo>
                  <a:lnTo>
                    <a:pt x="432" y="1458"/>
                  </a:lnTo>
                  <a:lnTo>
                    <a:pt x="426" y="1458"/>
                  </a:lnTo>
                  <a:lnTo>
                    <a:pt x="432" y="1458"/>
                  </a:lnTo>
                  <a:lnTo>
                    <a:pt x="438" y="1464"/>
                  </a:lnTo>
                  <a:lnTo>
                    <a:pt x="432" y="1464"/>
                  </a:lnTo>
                  <a:lnTo>
                    <a:pt x="432" y="1470"/>
                  </a:lnTo>
                  <a:lnTo>
                    <a:pt x="426" y="1470"/>
                  </a:lnTo>
                  <a:lnTo>
                    <a:pt x="420" y="1476"/>
                  </a:lnTo>
                  <a:lnTo>
                    <a:pt x="420" y="1470"/>
                  </a:lnTo>
                  <a:lnTo>
                    <a:pt x="414" y="1470"/>
                  </a:lnTo>
                  <a:lnTo>
                    <a:pt x="414" y="1464"/>
                  </a:lnTo>
                  <a:lnTo>
                    <a:pt x="414" y="1458"/>
                  </a:lnTo>
                  <a:lnTo>
                    <a:pt x="408" y="1458"/>
                  </a:lnTo>
                  <a:close/>
                  <a:moveTo>
                    <a:pt x="270" y="1326"/>
                  </a:moveTo>
                  <a:lnTo>
                    <a:pt x="270" y="1320"/>
                  </a:lnTo>
                  <a:lnTo>
                    <a:pt x="276" y="1320"/>
                  </a:lnTo>
                  <a:lnTo>
                    <a:pt x="282" y="1326"/>
                  </a:lnTo>
                  <a:lnTo>
                    <a:pt x="288" y="1326"/>
                  </a:lnTo>
                  <a:lnTo>
                    <a:pt x="288" y="1332"/>
                  </a:lnTo>
                  <a:lnTo>
                    <a:pt x="288" y="1338"/>
                  </a:lnTo>
                  <a:lnTo>
                    <a:pt x="288" y="1344"/>
                  </a:lnTo>
                  <a:lnTo>
                    <a:pt x="282" y="1344"/>
                  </a:lnTo>
                  <a:lnTo>
                    <a:pt x="282" y="1338"/>
                  </a:lnTo>
                  <a:lnTo>
                    <a:pt x="276" y="1338"/>
                  </a:lnTo>
                  <a:lnTo>
                    <a:pt x="276" y="1332"/>
                  </a:lnTo>
                  <a:lnTo>
                    <a:pt x="270" y="1332"/>
                  </a:lnTo>
                  <a:lnTo>
                    <a:pt x="270" y="1326"/>
                  </a:lnTo>
                  <a:close/>
                  <a:moveTo>
                    <a:pt x="288" y="1458"/>
                  </a:moveTo>
                  <a:lnTo>
                    <a:pt x="294" y="1458"/>
                  </a:lnTo>
                  <a:lnTo>
                    <a:pt x="294" y="1452"/>
                  </a:lnTo>
                  <a:lnTo>
                    <a:pt x="294" y="1446"/>
                  </a:lnTo>
                  <a:lnTo>
                    <a:pt x="300" y="1446"/>
                  </a:lnTo>
                  <a:lnTo>
                    <a:pt x="300" y="1440"/>
                  </a:lnTo>
                  <a:lnTo>
                    <a:pt x="306" y="1440"/>
                  </a:lnTo>
                  <a:lnTo>
                    <a:pt x="306" y="1446"/>
                  </a:lnTo>
                  <a:lnTo>
                    <a:pt x="312" y="1452"/>
                  </a:lnTo>
                  <a:lnTo>
                    <a:pt x="306" y="1452"/>
                  </a:lnTo>
                  <a:lnTo>
                    <a:pt x="306" y="1458"/>
                  </a:lnTo>
                  <a:lnTo>
                    <a:pt x="312" y="1464"/>
                  </a:lnTo>
                  <a:lnTo>
                    <a:pt x="306" y="1464"/>
                  </a:lnTo>
                  <a:lnTo>
                    <a:pt x="306" y="1470"/>
                  </a:lnTo>
                  <a:lnTo>
                    <a:pt x="300" y="1476"/>
                  </a:lnTo>
                  <a:lnTo>
                    <a:pt x="294" y="1476"/>
                  </a:lnTo>
                  <a:lnTo>
                    <a:pt x="294" y="1470"/>
                  </a:lnTo>
                  <a:lnTo>
                    <a:pt x="288" y="1470"/>
                  </a:lnTo>
                  <a:lnTo>
                    <a:pt x="288" y="1464"/>
                  </a:lnTo>
                  <a:lnTo>
                    <a:pt x="288" y="1458"/>
                  </a:lnTo>
                  <a:close/>
                  <a:moveTo>
                    <a:pt x="270" y="1296"/>
                  </a:moveTo>
                  <a:lnTo>
                    <a:pt x="276" y="1296"/>
                  </a:lnTo>
                  <a:lnTo>
                    <a:pt x="282" y="1296"/>
                  </a:lnTo>
                  <a:lnTo>
                    <a:pt x="288" y="1296"/>
                  </a:lnTo>
                  <a:lnTo>
                    <a:pt x="288" y="1302"/>
                  </a:lnTo>
                  <a:lnTo>
                    <a:pt x="282" y="1308"/>
                  </a:lnTo>
                  <a:lnTo>
                    <a:pt x="276" y="1308"/>
                  </a:lnTo>
                  <a:lnTo>
                    <a:pt x="276" y="1302"/>
                  </a:lnTo>
                  <a:lnTo>
                    <a:pt x="270" y="12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4" name="Freeform 19">
              <a:extLst>
                <a:ext uri="{FF2B5EF4-FFF2-40B4-BE49-F238E27FC236}">
                  <a16:creationId xmlns:a16="http://schemas.microsoft.com/office/drawing/2014/main" id="{5B9020B8-E1C1-4611-A248-9642BBD69C9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7043" y="3765821"/>
              <a:ext cx="333193" cy="398097"/>
            </a:xfrm>
            <a:custGeom>
              <a:avLst/>
              <a:gdLst>
                <a:gd name="T0" fmla="*/ 30 w 624"/>
                <a:gd name="T1" fmla="*/ 61 h 750"/>
                <a:gd name="T2" fmla="*/ 27 w 624"/>
                <a:gd name="T3" fmla="*/ 62 h 750"/>
                <a:gd name="T4" fmla="*/ 23 w 624"/>
                <a:gd name="T5" fmla="*/ 59 h 750"/>
                <a:gd name="T6" fmla="*/ 20 w 624"/>
                <a:gd name="T7" fmla="*/ 58 h 750"/>
                <a:gd name="T8" fmla="*/ 19 w 624"/>
                <a:gd name="T9" fmla="*/ 56 h 750"/>
                <a:gd name="T10" fmla="*/ 17 w 624"/>
                <a:gd name="T11" fmla="*/ 55 h 750"/>
                <a:gd name="T12" fmla="*/ 16 w 624"/>
                <a:gd name="T13" fmla="*/ 51 h 750"/>
                <a:gd name="T14" fmla="*/ 14 w 624"/>
                <a:gd name="T15" fmla="*/ 48 h 750"/>
                <a:gd name="T16" fmla="*/ 12 w 624"/>
                <a:gd name="T17" fmla="*/ 46 h 750"/>
                <a:gd name="T18" fmla="*/ 12 w 624"/>
                <a:gd name="T19" fmla="*/ 44 h 750"/>
                <a:gd name="T20" fmla="*/ 11 w 624"/>
                <a:gd name="T21" fmla="*/ 41 h 750"/>
                <a:gd name="T22" fmla="*/ 8 w 624"/>
                <a:gd name="T23" fmla="*/ 38 h 750"/>
                <a:gd name="T24" fmla="*/ 6 w 624"/>
                <a:gd name="T25" fmla="*/ 38 h 750"/>
                <a:gd name="T26" fmla="*/ 6 w 624"/>
                <a:gd name="T27" fmla="*/ 35 h 750"/>
                <a:gd name="T28" fmla="*/ 7 w 624"/>
                <a:gd name="T29" fmla="*/ 31 h 750"/>
                <a:gd name="T30" fmla="*/ 10 w 624"/>
                <a:gd name="T31" fmla="*/ 27 h 750"/>
                <a:gd name="T32" fmla="*/ 8 w 624"/>
                <a:gd name="T33" fmla="*/ 23 h 750"/>
                <a:gd name="T34" fmla="*/ 6 w 624"/>
                <a:gd name="T35" fmla="*/ 23 h 750"/>
                <a:gd name="T36" fmla="*/ 3 w 624"/>
                <a:gd name="T37" fmla="*/ 22 h 750"/>
                <a:gd name="T38" fmla="*/ 0 w 624"/>
                <a:gd name="T39" fmla="*/ 22 h 750"/>
                <a:gd name="T40" fmla="*/ 0 w 624"/>
                <a:gd name="T41" fmla="*/ 19 h 750"/>
                <a:gd name="T42" fmla="*/ 1 w 624"/>
                <a:gd name="T43" fmla="*/ 18 h 750"/>
                <a:gd name="T44" fmla="*/ 2 w 624"/>
                <a:gd name="T45" fmla="*/ 14 h 750"/>
                <a:gd name="T46" fmla="*/ 4 w 624"/>
                <a:gd name="T47" fmla="*/ 17 h 750"/>
                <a:gd name="T48" fmla="*/ 6 w 624"/>
                <a:gd name="T49" fmla="*/ 17 h 750"/>
                <a:gd name="T50" fmla="*/ 7 w 624"/>
                <a:gd name="T51" fmla="*/ 17 h 750"/>
                <a:gd name="T52" fmla="*/ 9 w 624"/>
                <a:gd name="T53" fmla="*/ 15 h 750"/>
                <a:gd name="T54" fmla="*/ 10 w 624"/>
                <a:gd name="T55" fmla="*/ 14 h 750"/>
                <a:gd name="T56" fmla="*/ 11 w 624"/>
                <a:gd name="T57" fmla="*/ 12 h 750"/>
                <a:gd name="T58" fmla="*/ 13 w 624"/>
                <a:gd name="T59" fmla="*/ 12 h 750"/>
                <a:gd name="T60" fmla="*/ 18 w 624"/>
                <a:gd name="T61" fmla="*/ 10 h 750"/>
                <a:gd name="T62" fmla="*/ 22 w 624"/>
                <a:gd name="T63" fmla="*/ 4 h 750"/>
                <a:gd name="T64" fmla="*/ 24 w 624"/>
                <a:gd name="T65" fmla="*/ 4 h 750"/>
                <a:gd name="T66" fmla="*/ 26 w 624"/>
                <a:gd name="T67" fmla="*/ 2 h 750"/>
                <a:gd name="T68" fmla="*/ 29 w 624"/>
                <a:gd name="T69" fmla="*/ 0 h 750"/>
                <a:gd name="T70" fmla="*/ 32 w 624"/>
                <a:gd name="T71" fmla="*/ 2 h 750"/>
                <a:gd name="T72" fmla="*/ 34 w 624"/>
                <a:gd name="T73" fmla="*/ 5 h 750"/>
                <a:gd name="T74" fmla="*/ 35 w 624"/>
                <a:gd name="T75" fmla="*/ 8 h 750"/>
                <a:gd name="T76" fmla="*/ 39 w 624"/>
                <a:gd name="T77" fmla="*/ 11 h 750"/>
                <a:gd name="T78" fmla="*/ 42 w 624"/>
                <a:gd name="T79" fmla="*/ 14 h 750"/>
                <a:gd name="T80" fmla="*/ 46 w 624"/>
                <a:gd name="T81" fmla="*/ 12 h 750"/>
                <a:gd name="T82" fmla="*/ 49 w 624"/>
                <a:gd name="T83" fmla="*/ 12 h 750"/>
                <a:gd name="T84" fmla="*/ 51 w 624"/>
                <a:gd name="T85" fmla="*/ 12 h 750"/>
                <a:gd name="T86" fmla="*/ 53 w 624"/>
                <a:gd name="T87" fmla="*/ 12 h 750"/>
                <a:gd name="T88" fmla="*/ 53 w 624"/>
                <a:gd name="T89" fmla="*/ 17 h 750"/>
                <a:gd name="T90" fmla="*/ 51 w 624"/>
                <a:gd name="T91" fmla="*/ 20 h 750"/>
                <a:gd name="T92" fmla="*/ 49 w 624"/>
                <a:gd name="T93" fmla="*/ 26 h 750"/>
                <a:gd name="T94" fmla="*/ 47 w 624"/>
                <a:gd name="T95" fmla="*/ 26 h 750"/>
                <a:gd name="T96" fmla="*/ 44 w 624"/>
                <a:gd name="T97" fmla="*/ 26 h 750"/>
                <a:gd name="T98" fmla="*/ 43 w 624"/>
                <a:gd name="T99" fmla="*/ 27 h 750"/>
                <a:gd name="T100" fmla="*/ 45 w 624"/>
                <a:gd name="T101" fmla="*/ 32 h 750"/>
                <a:gd name="T102" fmla="*/ 44 w 624"/>
                <a:gd name="T103" fmla="*/ 43 h 750"/>
                <a:gd name="T104" fmla="*/ 44 w 624"/>
                <a:gd name="T105" fmla="*/ 47 h 750"/>
                <a:gd name="T106" fmla="*/ 44 w 624"/>
                <a:gd name="T107" fmla="*/ 54 h 750"/>
                <a:gd name="T108" fmla="*/ 41 w 624"/>
                <a:gd name="T109" fmla="*/ 60 h 750"/>
                <a:gd name="T110" fmla="*/ 42 w 624"/>
                <a:gd name="T111" fmla="*/ 62 h 750"/>
                <a:gd name="T112" fmla="*/ 43 w 624"/>
                <a:gd name="T113" fmla="*/ 65 h 750"/>
                <a:gd name="T114" fmla="*/ 39 w 624"/>
                <a:gd name="T115" fmla="*/ 63 h 750"/>
                <a:gd name="T116" fmla="*/ 35 w 624"/>
                <a:gd name="T117" fmla="*/ 62 h 75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24"/>
                <a:gd name="T178" fmla="*/ 0 h 750"/>
                <a:gd name="T179" fmla="*/ 624 w 624"/>
                <a:gd name="T180" fmla="*/ 750 h 75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24" h="750">
                  <a:moveTo>
                    <a:pt x="390" y="702"/>
                  </a:moveTo>
                  <a:lnTo>
                    <a:pt x="372" y="696"/>
                  </a:lnTo>
                  <a:lnTo>
                    <a:pt x="360" y="702"/>
                  </a:lnTo>
                  <a:lnTo>
                    <a:pt x="348" y="702"/>
                  </a:lnTo>
                  <a:lnTo>
                    <a:pt x="336" y="702"/>
                  </a:lnTo>
                  <a:lnTo>
                    <a:pt x="330" y="702"/>
                  </a:lnTo>
                  <a:lnTo>
                    <a:pt x="318" y="708"/>
                  </a:lnTo>
                  <a:lnTo>
                    <a:pt x="306" y="708"/>
                  </a:lnTo>
                  <a:lnTo>
                    <a:pt x="294" y="690"/>
                  </a:lnTo>
                  <a:lnTo>
                    <a:pt x="294" y="684"/>
                  </a:lnTo>
                  <a:lnTo>
                    <a:pt x="276" y="684"/>
                  </a:lnTo>
                  <a:lnTo>
                    <a:pt x="270" y="678"/>
                  </a:lnTo>
                  <a:lnTo>
                    <a:pt x="240" y="672"/>
                  </a:lnTo>
                  <a:lnTo>
                    <a:pt x="234" y="672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6"/>
                  </a:lnTo>
                  <a:lnTo>
                    <a:pt x="216" y="660"/>
                  </a:lnTo>
                  <a:lnTo>
                    <a:pt x="216" y="654"/>
                  </a:lnTo>
                  <a:lnTo>
                    <a:pt x="216" y="642"/>
                  </a:lnTo>
                  <a:lnTo>
                    <a:pt x="210" y="642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36"/>
                  </a:lnTo>
                  <a:lnTo>
                    <a:pt x="192" y="624"/>
                  </a:lnTo>
                  <a:lnTo>
                    <a:pt x="186" y="612"/>
                  </a:lnTo>
                  <a:lnTo>
                    <a:pt x="186" y="600"/>
                  </a:lnTo>
                  <a:lnTo>
                    <a:pt x="186" y="588"/>
                  </a:lnTo>
                  <a:lnTo>
                    <a:pt x="180" y="582"/>
                  </a:lnTo>
                  <a:lnTo>
                    <a:pt x="180" y="570"/>
                  </a:lnTo>
                  <a:lnTo>
                    <a:pt x="174" y="558"/>
                  </a:lnTo>
                  <a:lnTo>
                    <a:pt x="162" y="558"/>
                  </a:lnTo>
                  <a:lnTo>
                    <a:pt x="144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38" y="534"/>
                  </a:lnTo>
                  <a:lnTo>
                    <a:pt x="138" y="528"/>
                  </a:lnTo>
                  <a:lnTo>
                    <a:pt x="132" y="522"/>
                  </a:lnTo>
                  <a:lnTo>
                    <a:pt x="144" y="522"/>
                  </a:lnTo>
                  <a:lnTo>
                    <a:pt x="144" y="510"/>
                  </a:lnTo>
                  <a:lnTo>
                    <a:pt x="144" y="504"/>
                  </a:lnTo>
                  <a:lnTo>
                    <a:pt x="138" y="492"/>
                  </a:lnTo>
                  <a:lnTo>
                    <a:pt x="138" y="474"/>
                  </a:lnTo>
                  <a:lnTo>
                    <a:pt x="126" y="468"/>
                  </a:lnTo>
                  <a:lnTo>
                    <a:pt x="120" y="456"/>
                  </a:lnTo>
                  <a:lnTo>
                    <a:pt x="114" y="450"/>
                  </a:lnTo>
                  <a:lnTo>
                    <a:pt x="108" y="438"/>
                  </a:lnTo>
                  <a:lnTo>
                    <a:pt x="96" y="432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60" y="426"/>
                  </a:lnTo>
                  <a:lnTo>
                    <a:pt x="66" y="420"/>
                  </a:lnTo>
                  <a:lnTo>
                    <a:pt x="66" y="408"/>
                  </a:lnTo>
                  <a:lnTo>
                    <a:pt x="72" y="408"/>
                  </a:lnTo>
                  <a:lnTo>
                    <a:pt x="72" y="384"/>
                  </a:lnTo>
                  <a:lnTo>
                    <a:pt x="72" y="366"/>
                  </a:lnTo>
                  <a:lnTo>
                    <a:pt x="78" y="354"/>
                  </a:lnTo>
                  <a:lnTo>
                    <a:pt x="84" y="354"/>
                  </a:lnTo>
                  <a:lnTo>
                    <a:pt x="90" y="348"/>
                  </a:lnTo>
                  <a:lnTo>
                    <a:pt x="102" y="336"/>
                  </a:lnTo>
                  <a:lnTo>
                    <a:pt x="114" y="324"/>
                  </a:lnTo>
                  <a:lnTo>
                    <a:pt x="120" y="312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20" y="276"/>
                  </a:lnTo>
                  <a:lnTo>
                    <a:pt x="96" y="270"/>
                  </a:lnTo>
                  <a:lnTo>
                    <a:pt x="84" y="270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72" y="264"/>
                  </a:lnTo>
                  <a:lnTo>
                    <a:pt x="60" y="252"/>
                  </a:lnTo>
                  <a:lnTo>
                    <a:pt x="42" y="252"/>
                  </a:lnTo>
                  <a:lnTo>
                    <a:pt x="42" y="258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18" y="252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42" y="156"/>
                  </a:lnTo>
                  <a:lnTo>
                    <a:pt x="48" y="198"/>
                  </a:lnTo>
                  <a:lnTo>
                    <a:pt x="48" y="204"/>
                  </a:lnTo>
                  <a:lnTo>
                    <a:pt x="54" y="198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204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192"/>
                  </a:lnTo>
                  <a:lnTo>
                    <a:pt x="96" y="186"/>
                  </a:lnTo>
                  <a:lnTo>
                    <a:pt x="102" y="180"/>
                  </a:lnTo>
                  <a:lnTo>
                    <a:pt x="102" y="174"/>
                  </a:lnTo>
                  <a:lnTo>
                    <a:pt x="108" y="168"/>
                  </a:lnTo>
                  <a:lnTo>
                    <a:pt x="108" y="162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0"/>
                  </a:lnTo>
                  <a:lnTo>
                    <a:pt x="132" y="144"/>
                  </a:lnTo>
                  <a:lnTo>
                    <a:pt x="138" y="138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0" y="132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74" y="126"/>
                  </a:lnTo>
                  <a:lnTo>
                    <a:pt x="204" y="120"/>
                  </a:lnTo>
                  <a:lnTo>
                    <a:pt x="210" y="78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54"/>
                  </a:lnTo>
                  <a:lnTo>
                    <a:pt x="276" y="54"/>
                  </a:lnTo>
                  <a:lnTo>
                    <a:pt x="276" y="48"/>
                  </a:lnTo>
                  <a:lnTo>
                    <a:pt x="282" y="48"/>
                  </a:lnTo>
                  <a:lnTo>
                    <a:pt x="288" y="42"/>
                  </a:lnTo>
                  <a:lnTo>
                    <a:pt x="294" y="42"/>
                  </a:lnTo>
                  <a:lnTo>
                    <a:pt x="294" y="18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0"/>
                  </a:lnTo>
                  <a:lnTo>
                    <a:pt x="336" y="0"/>
                  </a:lnTo>
                  <a:lnTo>
                    <a:pt x="342" y="0"/>
                  </a:lnTo>
                  <a:lnTo>
                    <a:pt x="354" y="6"/>
                  </a:lnTo>
                  <a:lnTo>
                    <a:pt x="366" y="18"/>
                  </a:lnTo>
                  <a:lnTo>
                    <a:pt x="378" y="36"/>
                  </a:lnTo>
                  <a:lnTo>
                    <a:pt x="390" y="42"/>
                  </a:lnTo>
                  <a:lnTo>
                    <a:pt x="390" y="48"/>
                  </a:lnTo>
                  <a:lnTo>
                    <a:pt x="396" y="60"/>
                  </a:lnTo>
                  <a:lnTo>
                    <a:pt x="402" y="72"/>
                  </a:lnTo>
                  <a:lnTo>
                    <a:pt x="408" y="78"/>
                  </a:lnTo>
                  <a:lnTo>
                    <a:pt x="402" y="84"/>
                  </a:lnTo>
                  <a:lnTo>
                    <a:pt x="408" y="90"/>
                  </a:lnTo>
                  <a:lnTo>
                    <a:pt x="414" y="102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50" y="126"/>
                  </a:lnTo>
                  <a:lnTo>
                    <a:pt x="456" y="126"/>
                  </a:lnTo>
                  <a:lnTo>
                    <a:pt x="462" y="144"/>
                  </a:lnTo>
                  <a:lnTo>
                    <a:pt x="480" y="156"/>
                  </a:lnTo>
                  <a:lnTo>
                    <a:pt x="492" y="156"/>
                  </a:lnTo>
                  <a:lnTo>
                    <a:pt x="516" y="150"/>
                  </a:lnTo>
                  <a:lnTo>
                    <a:pt x="516" y="144"/>
                  </a:lnTo>
                  <a:lnTo>
                    <a:pt x="516" y="138"/>
                  </a:lnTo>
                  <a:lnTo>
                    <a:pt x="528" y="138"/>
                  </a:lnTo>
                  <a:lnTo>
                    <a:pt x="546" y="144"/>
                  </a:lnTo>
                  <a:lnTo>
                    <a:pt x="546" y="138"/>
                  </a:lnTo>
                  <a:lnTo>
                    <a:pt x="552" y="138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76" y="138"/>
                  </a:lnTo>
                  <a:lnTo>
                    <a:pt x="582" y="138"/>
                  </a:lnTo>
                  <a:lnTo>
                    <a:pt x="588" y="138"/>
                  </a:lnTo>
                  <a:lnTo>
                    <a:pt x="594" y="138"/>
                  </a:lnTo>
                  <a:lnTo>
                    <a:pt x="594" y="144"/>
                  </a:lnTo>
                  <a:lnTo>
                    <a:pt x="600" y="138"/>
                  </a:lnTo>
                  <a:lnTo>
                    <a:pt x="606" y="138"/>
                  </a:lnTo>
                  <a:lnTo>
                    <a:pt x="606" y="144"/>
                  </a:lnTo>
                  <a:lnTo>
                    <a:pt x="612" y="144"/>
                  </a:lnTo>
                  <a:lnTo>
                    <a:pt x="618" y="156"/>
                  </a:lnTo>
                  <a:lnTo>
                    <a:pt x="612" y="198"/>
                  </a:lnTo>
                  <a:lnTo>
                    <a:pt x="624" y="198"/>
                  </a:lnTo>
                  <a:lnTo>
                    <a:pt x="624" y="204"/>
                  </a:lnTo>
                  <a:lnTo>
                    <a:pt x="612" y="216"/>
                  </a:lnTo>
                  <a:lnTo>
                    <a:pt x="594" y="234"/>
                  </a:lnTo>
                  <a:lnTo>
                    <a:pt x="588" y="252"/>
                  </a:lnTo>
                  <a:lnTo>
                    <a:pt x="576" y="270"/>
                  </a:lnTo>
                  <a:lnTo>
                    <a:pt x="564" y="282"/>
                  </a:lnTo>
                  <a:lnTo>
                    <a:pt x="564" y="294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8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34" y="294"/>
                  </a:lnTo>
                  <a:lnTo>
                    <a:pt x="522" y="300"/>
                  </a:lnTo>
                  <a:lnTo>
                    <a:pt x="510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498" y="324"/>
                  </a:lnTo>
                  <a:lnTo>
                    <a:pt x="504" y="336"/>
                  </a:lnTo>
                  <a:lnTo>
                    <a:pt x="510" y="348"/>
                  </a:lnTo>
                  <a:lnTo>
                    <a:pt x="516" y="366"/>
                  </a:lnTo>
                  <a:lnTo>
                    <a:pt x="522" y="432"/>
                  </a:lnTo>
                  <a:lnTo>
                    <a:pt x="522" y="456"/>
                  </a:lnTo>
                  <a:lnTo>
                    <a:pt x="504" y="492"/>
                  </a:lnTo>
                  <a:lnTo>
                    <a:pt x="504" y="498"/>
                  </a:lnTo>
                  <a:lnTo>
                    <a:pt x="498" y="504"/>
                  </a:lnTo>
                  <a:lnTo>
                    <a:pt x="498" y="522"/>
                  </a:lnTo>
                  <a:lnTo>
                    <a:pt x="504" y="534"/>
                  </a:lnTo>
                  <a:lnTo>
                    <a:pt x="510" y="546"/>
                  </a:lnTo>
                  <a:lnTo>
                    <a:pt x="516" y="558"/>
                  </a:lnTo>
                  <a:lnTo>
                    <a:pt x="516" y="588"/>
                  </a:lnTo>
                  <a:lnTo>
                    <a:pt x="516" y="600"/>
                  </a:lnTo>
                  <a:lnTo>
                    <a:pt x="510" y="618"/>
                  </a:lnTo>
                  <a:lnTo>
                    <a:pt x="504" y="636"/>
                  </a:lnTo>
                  <a:lnTo>
                    <a:pt x="504" y="642"/>
                  </a:lnTo>
                  <a:lnTo>
                    <a:pt x="474" y="654"/>
                  </a:lnTo>
                  <a:lnTo>
                    <a:pt x="474" y="690"/>
                  </a:lnTo>
                  <a:lnTo>
                    <a:pt x="474" y="696"/>
                  </a:lnTo>
                  <a:lnTo>
                    <a:pt x="480" y="702"/>
                  </a:lnTo>
                  <a:lnTo>
                    <a:pt x="486" y="708"/>
                  </a:lnTo>
                  <a:lnTo>
                    <a:pt x="492" y="708"/>
                  </a:lnTo>
                  <a:lnTo>
                    <a:pt x="498" y="726"/>
                  </a:lnTo>
                  <a:lnTo>
                    <a:pt x="504" y="726"/>
                  </a:lnTo>
                  <a:lnTo>
                    <a:pt x="504" y="738"/>
                  </a:lnTo>
                  <a:lnTo>
                    <a:pt x="498" y="744"/>
                  </a:lnTo>
                  <a:lnTo>
                    <a:pt x="486" y="750"/>
                  </a:lnTo>
                  <a:lnTo>
                    <a:pt x="474" y="744"/>
                  </a:lnTo>
                  <a:lnTo>
                    <a:pt x="462" y="744"/>
                  </a:lnTo>
                  <a:lnTo>
                    <a:pt x="456" y="732"/>
                  </a:lnTo>
                  <a:lnTo>
                    <a:pt x="444" y="732"/>
                  </a:lnTo>
                  <a:lnTo>
                    <a:pt x="432" y="726"/>
                  </a:lnTo>
                  <a:lnTo>
                    <a:pt x="420" y="720"/>
                  </a:lnTo>
                  <a:lnTo>
                    <a:pt x="408" y="708"/>
                  </a:lnTo>
                  <a:lnTo>
                    <a:pt x="402" y="708"/>
                  </a:lnTo>
                  <a:lnTo>
                    <a:pt x="390" y="70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5" name="Freeform 20">
              <a:extLst>
                <a:ext uri="{FF2B5EF4-FFF2-40B4-BE49-F238E27FC236}">
                  <a16:creationId xmlns:a16="http://schemas.microsoft.com/office/drawing/2014/main" id="{B8342C3B-ECEC-465F-AAFF-4815B8AC392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870937"/>
              <a:ext cx="313067" cy="377968"/>
            </a:xfrm>
            <a:custGeom>
              <a:avLst/>
              <a:gdLst>
                <a:gd name="T0" fmla="*/ 15 w 588"/>
                <a:gd name="T1" fmla="*/ 59 h 714"/>
                <a:gd name="T2" fmla="*/ 14 w 588"/>
                <a:gd name="T3" fmla="*/ 58 h 714"/>
                <a:gd name="T4" fmla="*/ 9 w 588"/>
                <a:gd name="T5" fmla="*/ 54 h 714"/>
                <a:gd name="T6" fmla="*/ 4 w 588"/>
                <a:gd name="T7" fmla="*/ 54 h 714"/>
                <a:gd name="T8" fmla="*/ 0 w 588"/>
                <a:gd name="T9" fmla="*/ 50 h 714"/>
                <a:gd name="T10" fmla="*/ 0 w 588"/>
                <a:gd name="T11" fmla="*/ 44 h 714"/>
                <a:gd name="T12" fmla="*/ 4 w 588"/>
                <a:gd name="T13" fmla="*/ 46 h 714"/>
                <a:gd name="T14" fmla="*/ 7 w 588"/>
                <a:gd name="T15" fmla="*/ 47 h 714"/>
                <a:gd name="T16" fmla="*/ 10 w 588"/>
                <a:gd name="T17" fmla="*/ 46 h 714"/>
                <a:gd name="T18" fmla="*/ 8 w 588"/>
                <a:gd name="T19" fmla="*/ 44 h 714"/>
                <a:gd name="T20" fmla="*/ 10 w 588"/>
                <a:gd name="T21" fmla="*/ 39 h 714"/>
                <a:gd name="T22" fmla="*/ 11 w 588"/>
                <a:gd name="T23" fmla="*/ 34 h 714"/>
                <a:gd name="T24" fmla="*/ 9 w 588"/>
                <a:gd name="T25" fmla="*/ 28 h 714"/>
                <a:gd name="T26" fmla="*/ 11 w 588"/>
                <a:gd name="T27" fmla="*/ 22 h 714"/>
                <a:gd name="T28" fmla="*/ 10 w 588"/>
                <a:gd name="T29" fmla="*/ 12 h 714"/>
                <a:gd name="T30" fmla="*/ 9 w 588"/>
                <a:gd name="T31" fmla="*/ 9 h 714"/>
                <a:gd name="T32" fmla="*/ 12 w 588"/>
                <a:gd name="T33" fmla="*/ 8 h 714"/>
                <a:gd name="T34" fmla="*/ 14 w 588"/>
                <a:gd name="T35" fmla="*/ 7 h 714"/>
                <a:gd name="T36" fmla="*/ 17 w 588"/>
                <a:gd name="T37" fmla="*/ 10 h 714"/>
                <a:gd name="T38" fmla="*/ 23 w 588"/>
                <a:gd name="T39" fmla="*/ 14 h 714"/>
                <a:gd name="T40" fmla="*/ 28 w 588"/>
                <a:gd name="T41" fmla="*/ 4 h 714"/>
                <a:gd name="T42" fmla="*/ 35 w 588"/>
                <a:gd name="T43" fmla="*/ 2 h 714"/>
                <a:gd name="T44" fmla="*/ 38 w 588"/>
                <a:gd name="T45" fmla="*/ 0 h 714"/>
                <a:gd name="T46" fmla="*/ 40 w 588"/>
                <a:gd name="T47" fmla="*/ 2 h 714"/>
                <a:gd name="T48" fmla="*/ 39 w 588"/>
                <a:gd name="T49" fmla="*/ 4 h 714"/>
                <a:gd name="T50" fmla="*/ 41 w 588"/>
                <a:gd name="T51" fmla="*/ 5 h 714"/>
                <a:gd name="T52" fmla="*/ 42 w 588"/>
                <a:gd name="T53" fmla="*/ 7 h 714"/>
                <a:gd name="T54" fmla="*/ 43 w 588"/>
                <a:gd name="T55" fmla="*/ 9 h 714"/>
                <a:gd name="T56" fmla="*/ 43 w 588"/>
                <a:gd name="T57" fmla="*/ 10 h 714"/>
                <a:gd name="T58" fmla="*/ 43 w 588"/>
                <a:gd name="T59" fmla="*/ 12 h 714"/>
                <a:gd name="T60" fmla="*/ 44 w 588"/>
                <a:gd name="T61" fmla="*/ 12 h 714"/>
                <a:gd name="T62" fmla="*/ 46 w 588"/>
                <a:gd name="T63" fmla="*/ 13 h 714"/>
                <a:gd name="T64" fmla="*/ 47 w 588"/>
                <a:gd name="T65" fmla="*/ 14 h 714"/>
                <a:gd name="T66" fmla="*/ 48 w 588"/>
                <a:gd name="T67" fmla="*/ 15 h 714"/>
                <a:gd name="T68" fmla="*/ 49 w 588"/>
                <a:gd name="T69" fmla="*/ 15 h 714"/>
                <a:gd name="T70" fmla="*/ 48 w 588"/>
                <a:gd name="T71" fmla="*/ 17 h 714"/>
                <a:gd name="T72" fmla="*/ 49 w 588"/>
                <a:gd name="T73" fmla="*/ 19 h 714"/>
                <a:gd name="T74" fmla="*/ 49 w 588"/>
                <a:gd name="T75" fmla="*/ 20 h 714"/>
                <a:gd name="T76" fmla="*/ 51 w 588"/>
                <a:gd name="T77" fmla="*/ 21 h 714"/>
                <a:gd name="T78" fmla="*/ 50 w 588"/>
                <a:gd name="T79" fmla="*/ 22 h 714"/>
                <a:gd name="T80" fmla="*/ 47 w 588"/>
                <a:gd name="T81" fmla="*/ 23 h 714"/>
                <a:gd name="T82" fmla="*/ 47 w 588"/>
                <a:gd name="T83" fmla="*/ 26 h 714"/>
                <a:gd name="T84" fmla="*/ 47 w 588"/>
                <a:gd name="T85" fmla="*/ 32 h 714"/>
                <a:gd name="T86" fmla="*/ 44 w 588"/>
                <a:gd name="T87" fmla="*/ 35 h 714"/>
                <a:gd name="T88" fmla="*/ 42 w 588"/>
                <a:gd name="T89" fmla="*/ 39 h 714"/>
                <a:gd name="T90" fmla="*/ 42 w 588"/>
                <a:gd name="T91" fmla="*/ 41 h 714"/>
                <a:gd name="T92" fmla="*/ 42 w 588"/>
                <a:gd name="T93" fmla="*/ 42 h 714"/>
                <a:gd name="T94" fmla="*/ 41 w 588"/>
                <a:gd name="T95" fmla="*/ 44 h 714"/>
                <a:gd name="T96" fmla="*/ 39 w 588"/>
                <a:gd name="T97" fmla="*/ 43 h 714"/>
                <a:gd name="T98" fmla="*/ 37 w 588"/>
                <a:gd name="T99" fmla="*/ 44 h 714"/>
                <a:gd name="T100" fmla="*/ 35 w 588"/>
                <a:gd name="T101" fmla="*/ 46 h 714"/>
                <a:gd name="T102" fmla="*/ 31 w 588"/>
                <a:gd name="T103" fmla="*/ 45 h 714"/>
                <a:gd name="T104" fmla="*/ 24 w 588"/>
                <a:gd name="T105" fmla="*/ 45 h 714"/>
                <a:gd name="T106" fmla="*/ 25 w 588"/>
                <a:gd name="T107" fmla="*/ 47 h 714"/>
                <a:gd name="T108" fmla="*/ 25 w 588"/>
                <a:gd name="T109" fmla="*/ 49 h 714"/>
                <a:gd name="T110" fmla="*/ 25 w 588"/>
                <a:gd name="T111" fmla="*/ 50 h 714"/>
                <a:gd name="T112" fmla="*/ 24 w 588"/>
                <a:gd name="T113" fmla="*/ 51 h 714"/>
                <a:gd name="T114" fmla="*/ 22 w 588"/>
                <a:gd name="T115" fmla="*/ 53 h 714"/>
                <a:gd name="T116" fmla="*/ 23 w 588"/>
                <a:gd name="T117" fmla="*/ 56 h 714"/>
                <a:gd name="T118" fmla="*/ 20 w 588"/>
                <a:gd name="T119" fmla="*/ 58 h 714"/>
                <a:gd name="T120" fmla="*/ 19 w 588"/>
                <a:gd name="T121" fmla="*/ 62 h 7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8"/>
                <a:gd name="T184" fmla="*/ 0 h 714"/>
                <a:gd name="T185" fmla="*/ 588 w 588"/>
                <a:gd name="T186" fmla="*/ 714 h 7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8" h="714">
                  <a:moveTo>
                    <a:pt x="216" y="714"/>
                  </a:moveTo>
                  <a:lnTo>
                    <a:pt x="198" y="702"/>
                  </a:lnTo>
                  <a:lnTo>
                    <a:pt x="186" y="696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74" y="678"/>
                  </a:lnTo>
                  <a:lnTo>
                    <a:pt x="168" y="672"/>
                  </a:lnTo>
                  <a:lnTo>
                    <a:pt x="162" y="666"/>
                  </a:lnTo>
                  <a:lnTo>
                    <a:pt x="156" y="636"/>
                  </a:lnTo>
                  <a:lnTo>
                    <a:pt x="144" y="630"/>
                  </a:lnTo>
                  <a:lnTo>
                    <a:pt x="108" y="630"/>
                  </a:lnTo>
                  <a:lnTo>
                    <a:pt x="102" y="624"/>
                  </a:lnTo>
                  <a:lnTo>
                    <a:pt x="96" y="624"/>
                  </a:lnTo>
                  <a:lnTo>
                    <a:pt x="72" y="624"/>
                  </a:lnTo>
                  <a:lnTo>
                    <a:pt x="54" y="624"/>
                  </a:lnTo>
                  <a:lnTo>
                    <a:pt x="42" y="618"/>
                  </a:lnTo>
                  <a:lnTo>
                    <a:pt x="30" y="612"/>
                  </a:lnTo>
                  <a:lnTo>
                    <a:pt x="6" y="606"/>
                  </a:lnTo>
                  <a:lnTo>
                    <a:pt x="0" y="606"/>
                  </a:lnTo>
                  <a:lnTo>
                    <a:pt x="0" y="570"/>
                  </a:lnTo>
                  <a:lnTo>
                    <a:pt x="6" y="552"/>
                  </a:lnTo>
                  <a:lnTo>
                    <a:pt x="6" y="522"/>
                  </a:lnTo>
                  <a:lnTo>
                    <a:pt x="0" y="510"/>
                  </a:lnTo>
                  <a:lnTo>
                    <a:pt x="0" y="504"/>
                  </a:lnTo>
                  <a:lnTo>
                    <a:pt x="12" y="510"/>
                  </a:lnTo>
                  <a:lnTo>
                    <a:pt x="18" y="510"/>
                  </a:lnTo>
                  <a:lnTo>
                    <a:pt x="30" y="522"/>
                  </a:lnTo>
                  <a:lnTo>
                    <a:pt x="42" y="528"/>
                  </a:lnTo>
                  <a:lnTo>
                    <a:pt x="54" y="534"/>
                  </a:lnTo>
                  <a:lnTo>
                    <a:pt x="66" y="534"/>
                  </a:lnTo>
                  <a:lnTo>
                    <a:pt x="72" y="546"/>
                  </a:lnTo>
                  <a:lnTo>
                    <a:pt x="84" y="546"/>
                  </a:lnTo>
                  <a:lnTo>
                    <a:pt x="96" y="552"/>
                  </a:lnTo>
                  <a:lnTo>
                    <a:pt x="108" y="546"/>
                  </a:lnTo>
                  <a:lnTo>
                    <a:pt x="114" y="540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90" y="504"/>
                  </a:lnTo>
                  <a:lnTo>
                    <a:pt x="84" y="498"/>
                  </a:lnTo>
                  <a:lnTo>
                    <a:pt x="84" y="492"/>
                  </a:lnTo>
                  <a:lnTo>
                    <a:pt x="84" y="456"/>
                  </a:lnTo>
                  <a:lnTo>
                    <a:pt x="114" y="444"/>
                  </a:lnTo>
                  <a:lnTo>
                    <a:pt x="114" y="438"/>
                  </a:lnTo>
                  <a:lnTo>
                    <a:pt x="120" y="420"/>
                  </a:lnTo>
                  <a:lnTo>
                    <a:pt x="126" y="402"/>
                  </a:lnTo>
                  <a:lnTo>
                    <a:pt x="126" y="390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14" y="336"/>
                  </a:lnTo>
                  <a:lnTo>
                    <a:pt x="108" y="324"/>
                  </a:lnTo>
                  <a:lnTo>
                    <a:pt x="108" y="306"/>
                  </a:lnTo>
                  <a:lnTo>
                    <a:pt x="114" y="300"/>
                  </a:lnTo>
                  <a:lnTo>
                    <a:pt x="114" y="294"/>
                  </a:lnTo>
                  <a:lnTo>
                    <a:pt x="132" y="258"/>
                  </a:lnTo>
                  <a:lnTo>
                    <a:pt x="132" y="234"/>
                  </a:lnTo>
                  <a:lnTo>
                    <a:pt x="126" y="168"/>
                  </a:lnTo>
                  <a:lnTo>
                    <a:pt x="120" y="150"/>
                  </a:lnTo>
                  <a:lnTo>
                    <a:pt x="114" y="138"/>
                  </a:lnTo>
                  <a:lnTo>
                    <a:pt x="108" y="126"/>
                  </a:lnTo>
                  <a:lnTo>
                    <a:pt x="108" y="120"/>
                  </a:lnTo>
                  <a:lnTo>
                    <a:pt x="108" y="114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20" y="96"/>
                  </a:lnTo>
                  <a:lnTo>
                    <a:pt x="132" y="102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56" y="90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96"/>
                  </a:lnTo>
                  <a:lnTo>
                    <a:pt x="186" y="96"/>
                  </a:lnTo>
                  <a:lnTo>
                    <a:pt x="192" y="114"/>
                  </a:lnTo>
                  <a:lnTo>
                    <a:pt x="204" y="132"/>
                  </a:lnTo>
                  <a:lnTo>
                    <a:pt x="216" y="144"/>
                  </a:lnTo>
                  <a:lnTo>
                    <a:pt x="240" y="162"/>
                  </a:lnTo>
                  <a:lnTo>
                    <a:pt x="270" y="156"/>
                  </a:lnTo>
                  <a:lnTo>
                    <a:pt x="282" y="126"/>
                  </a:lnTo>
                  <a:lnTo>
                    <a:pt x="282" y="96"/>
                  </a:lnTo>
                  <a:lnTo>
                    <a:pt x="294" y="54"/>
                  </a:lnTo>
                  <a:lnTo>
                    <a:pt x="324" y="48"/>
                  </a:lnTo>
                  <a:lnTo>
                    <a:pt x="342" y="48"/>
                  </a:lnTo>
                  <a:lnTo>
                    <a:pt x="384" y="48"/>
                  </a:lnTo>
                  <a:lnTo>
                    <a:pt x="390" y="30"/>
                  </a:lnTo>
                  <a:lnTo>
                    <a:pt x="402" y="18"/>
                  </a:lnTo>
                  <a:lnTo>
                    <a:pt x="438" y="6"/>
                  </a:lnTo>
                  <a:lnTo>
                    <a:pt x="438" y="0"/>
                  </a:lnTo>
                  <a:lnTo>
                    <a:pt x="444" y="0"/>
                  </a:lnTo>
                  <a:lnTo>
                    <a:pt x="444" y="6"/>
                  </a:lnTo>
                  <a:lnTo>
                    <a:pt x="450" y="6"/>
                  </a:lnTo>
                  <a:lnTo>
                    <a:pt x="456" y="12"/>
                  </a:lnTo>
                  <a:lnTo>
                    <a:pt x="456" y="18"/>
                  </a:lnTo>
                  <a:lnTo>
                    <a:pt x="462" y="24"/>
                  </a:lnTo>
                  <a:lnTo>
                    <a:pt x="462" y="30"/>
                  </a:lnTo>
                  <a:lnTo>
                    <a:pt x="468" y="36"/>
                  </a:lnTo>
                  <a:lnTo>
                    <a:pt x="462" y="36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74" y="60"/>
                  </a:lnTo>
                  <a:lnTo>
                    <a:pt x="486" y="78"/>
                  </a:lnTo>
                  <a:lnTo>
                    <a:pt x="486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8" y="102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498" y="114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504" y="126"/>
                  </a:lnTo>
                  <a:lnTo>
                    <a:pt x="498" y="132"/>
                  </a:lnTo>
                  <a:lnTo>
                    <a:pt x="504" y="138"/>
                  </a:lnTo>
                  <a:lnTo>
                    <a:pt x="504" y="132"/>
                  </a:lnTo>
                  <a:lnTo>
                    <a:pt x="510" y="132"/>
                  </a:lnTo>
                  <a:lnTo>
                    <a:pt x="510" y="138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56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6" y="168"/>
                  </a:lnTo>
                  <a:lnTo>
                    <a:pt x="552" y="168"/>
                  </a:lnTo>
                  <a:lnTo>
                    <a:pt x="546" y="168"/>
                  </a:lnTo>
                  <a:lnTo>
                    <a:pt x="546" y="174"/>
                  </a:lnTo>
                  <a:lnTo>
                    <a:pt x="558" y="180"/>
                  </a:lnTo>
                  <a:lnTo>
                    <a:pt x="564" y="180"/>
                  </a:lnTo>
                  <a:lnTo>
                    <a:pt x="564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52" y="198"/>
                  </a:lnTo>
                  <a:lnTo>
                    <a:pt x="558" y="204"/>
                  </a:lnTo>
                  <a:lnTo>
                    <a:pt x="564" y="204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22"/>
                  </a:lnTo>
                  <a:lnTo>
                    <a:pt x="576" y="228"/>
                  </a:lnTo>
                  <a:lnTo>
                    <a:pt x="570" y="228"/>
                  </a:lnTo>
                  <a:lnTo>
                    <a:pt x="570" y="234"/>
                  </a:lnTo>
                  <a:lnTo>
                    <a:pt x="576" y="234"/>
                  </a:lnTo>
                  <a:lnTo>
                    <a:pt x="582" y="234"/>
                  </a:lnTo>
                  <a:lnTo>
                    <a:pt x="588" y="234"/>
                  </a:lnTo>
                  <a:lnTo>
                    <a:pt x="588" y="240"/>
                  </a:lnTo>
                  <a:lnTo>
                    <a:pt x="588" y="246"/>
                  </a:lnTo>
                  <a:lnTo>
                    <a:pt x="588" y="252"/>
                  </a:lnTo>
                  <a:lnTo>
                    <a:pt x="582" y="252"/>
                  </a:lnTo>
                  <a:lnTo>
                    <a:pt x="576" y="252"/>
                  </a:lnTo>
                  <a:lnTo>
                    <a:pt x="582" y="258"/>
                  </a:lnTo>
                  <a:lnTo>
                    <a:pt x="582" y="264"/>
                  </a:lnTo>
                  <a:lnTo>
                    <a:pt x="576" y="264"/>
                  </a:lnTo>
                  <a:lnTo>
                    <a:pt x="546" y="264"/>
                  </a:lnTo>
                  <a:lnTo>
                    <a:pt x="546" y="276"/>
                  </a:lnTo>
                  <a:lnTo>
                    <a:pt x="540" y="282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40" y="324"/>
                  </a:lnTo>
                  <a:lnTo>
                    <a:pt x="552" y="330"/>
                  </a:lnTo>
                  <a:lnTo>
                    <a:pt x="558" y="342"/>
                  </a:lnTo>
                  <a:lnTo>
                    <a:pt x="546" y="372"/>
                  </a:lnTo>
                  <a:lnTo>
                    <a:pt x="534" y="372"/>
                  </a:lnTo>
                  <a:lnTo>
                    <a:pt x="534" y="384"/>
                  </a:lnTo>
                  <a:lnTo>
                    <a:pt x="522" y="384"/>
                  </a:lnTo>
                  <a:lnTo>
                    <a:pt x="510" y="402"/>
                  </a:lnTo>
                  <a:lnTo>
                    <a:pt x="504" y="420"/>
                  </a:lnTo>
                  <a:lnTo>
                    <a:pt x="492" y="426"/>
                  </a:lnTo>
                  <a:lnTo>
                    <a:pt x="486" y="432"/>
                  </a:lnTo>
                  <a:lnTo>
                    <a:pt x="486" y="444"/>
                  </a:lnTo>
                  <a:lnTo>
                    <a:pt x="486" y="450"/>
                  </a:lnTo>
                  <a:lnTo>
                    <a:pt x="486" y="456"/>
                  </a:lnTo>
                  <a:lnTo>
                    <a:pt x="486" y="462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80" y="474"/>
                  </a:lnTo>
                  <a:lnTo>
                    <a:pt x="480" y="480"/>
                  </a:lnTo>
                  <a:lnTo>
                    <a:pt x="480" y="486"/>
                  </a:lnTo>
                  <a:lnTo>
                    <a:pt x="480" y="492"/>
                  </a:lnTo>
                  <a:lnTo>
                    <a:pt x="480" y="498"/>
                  </a:lnTo>
                  <a:lnTo>
                    <a:pt x="474" y="504"/>
                  </a:lnTo>
                  <a:lnTo>
                    <a:pt x="468" y="510"/>
                  </a:lnTo>
                  <a:lnTo>
                    <a:pt x="462" y="510"/>
                  </a:lnTo>
                  <a:lnTo>
                    <a:pt x="456" y="504"/>
                  </a:lnTo>
                  <a:lnTo>
                    <a:pt x="456" y="498"/>
                  </a:lnTo>
                  <a:lnTo>
                    <a:pt x="450" y="498"/>
                  </a:lnTo>
                  <a:lnTo>
                    <a:pt x="444" y="498"/>
                  </a:lnTo>
                  <a:lnTo>
                    <a:pt x="438" y="498"/>
                  </a:lnTo>
                  <a:lnTo>
                    <a:pt x="432" y="498"/>
                  </a:lnTo>
                  <a:lnTo>
                    <a:pt x="426" y="504"/>
                  </a:lnTo>
                  <a:lnTo>
                    <a:pt x="426" y="510"/>
                  </a:lnTo>
                  <a:lnTo>
                    <a:pt x="420" y="516"/>
                  </a:lnTo>
                  <a:lnTo>
                    <a:pt x="414" y="522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84" y="528"/>
                  </a:lnTo>
                  <a:lnTo>
                    <a:pt x="366" y="540"/>
                  </a:lnTo>
                  <a:lnTo>
                    <a:pt x="360" y="522"/>
                  </a:lnTo>
                  <a:lnTo>
                    <a:pt x="348" y="504"/>
                  </a:lnTo>
                  <a:lnTo>
                    <a:pt x="330" y="504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34"/>
                  </a:lnTo>
                  <a:lnTo>
                    <a:pt x="288" y="540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2" y="540"/>
                  </a:lnTo>
                  <a:lnTo>
                    <a:pt x="282" y="546"/>
                  </a:lnTo>
                  <a:lnTo>
                    <a:pt x="288" y="552"/>
                  </a:lnTo>
                  <a:lnTo>
                    <a:pt x="294" y="564"/>
                  </a:lnTo>
                  <a:lnTo>
                    <a:pt x="300" y="564"/>
                  </a:lnTo>
                  <a:lnTo>
                    <a:pt x="300" y="570"/>
                  </a:lnTo>
                  <a:lnTo>
                    <a:pt x="294" y="570"/>
                  </a:lnTo>
                  <a:lnTo>
                    <a:pt x="288" y="570"/>
                  </a:lnTo>
                  <a:lnTo>
                    <a:pt x="288" y="576"/>
                  </a:lnTo>
                  <a:lnTo>
                    <a:pt x="288" y="582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606"/>
                  </a:lnTo>
                  <a:lnTo>
                    <a:pt x="264" y="612"/>
                  </a:lnTo>
                  <a:lnTo>
                    <a:pt x="258" y="612"/>
                  </a:lnTo>
                  <a:lnTo>
                    <a:pt x="252" y="612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52" y="630"/>
                  </a:lnTo>
                  <a:lnTo>
                    <a:pt x="264" y="642"/>
                  </a:lnTo>
                  <a:lnTo>
                    <a:pt x="258" y="648"/>
                  </a:lnTo>
                  <a:lnTo>
                    <a:pt x="246" y="654"/>
                  </a:lnTo>
                  <a:lnTo>
                    <a:pt x="240" y="660"/>
                  </a:lnTo>
                  <a:lnTo>
                    <a:pt x="234" y="672"/>
                  </a:lnTo>
                  <a:lnTo>
                    <a:pt x="234" y="678"/>
                  </a:lnTo>
                  <a:lnTo>
                    <a:pt x="228" y="684"/>
                  </a:lnTo>
                  <a:lnTo>
                    <a:pt x="228" y="696"/>
                  </a:lnTo>
                  <a:lnTo>
                    <a:pt x="216" y="71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6" name="Freeform 21">
              <a:extLst>
                <a:ext uri="{FF2B5EF4-FFF2-40B4-BE49-F238E27FC236}">
                  <a16:creationId xmlns:a16="http://schemas.microsoft.com/office/drawing/2014/main" id="{DCB1E808-522D-4C19-B741-CC5DD56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4178" y="3866464"/>
              <a:ext cx="250453" cy="371259"/>
            </a:xfrm>
            <a:custGeom>
              <a:avLst/>
              <a:gdLst>
                <a:gd name="T0" fmla="*/ 0 w 468"/>
                <a:gd name="T1" fmla="*/ 61 h 696"/>
                <a:gd name="T2" fmla="*/ 1 w 468"/>
                <a:gd name="T3" fmla="*/ 58 h 696"/>
                <a:gd name="T4" fmla="*/ 2 w 468"/>
                <a:gd name="T5" fmla="*/ 54 h 696"/>
                <a:gd name="T6" fmla="*/ 3 w 468"/>
                <a:gd name="T7" fmla="*/ 51 h 696"/>
                <a:gd name="T8" fmla="*/ 4 w 468"/>
                <a:gd name="T9" fmla="*/ 48 h 696"/>
                <a:gd name="T10" fmla="*/ 6 w 468"/>
                <a:gd name="T11" fmla="*/ 44 h 696"/>
                <a:gd name="T12" fmla="*/ 5 w 468"/>
                <a:gd name="T13" fmla="*/ 41 h 696"/>
                <a:gd name="T14" fmla="*/ 7 w 468"/>
                <a:gd name="T15" fmla="*/ 38 h 696"/>
                <a:gd name="T16" fmla="*/ 8 w 468"/>
                <a:gd name="T17" fmla="*/ 36 h 696"/>
                <a:gd name="T18" fmla="*/ 7 w 468"/>
                <a:gd name="T19" fmla="*/ 33 h 696"/>
                <a:gd name="T20" fmla="*/ 6 w 468"/>
                <a:gd name="T21" fmla="*/ 29 h 696"/>
                <a:gd name="T22" fmla="*/ 4 w 468"/>
                <a:gd name="T23" fmla="*/ 22 h 696"/>
                <a:gd name="T24" fmla="*/ 2 w 468"/>
                <a:gd name="T25" fmla="*/ 14 h 696"/>
                <a:gd name="T26" fmla="*/ 12 w 468"/>
                <a:gd name="T27" fmla="*/ 11 h 696"/>
                <a:gd name="T28" fmla="*/ 14 w 468"/>
                <a:gd name="T29" fmla="*/ 2 h 696"/>
                <a:gd name="T30" fmla="*/ 16 w 468"/>
                <a:gd name="T31" fmla="*/ 0 h 696"/>
                <a:gd name="T32" fmla="*/ 17 w 468"/>
                <a:gd name="T33" fmla="*/ 0 h 696"/>
                <a:gd name="T34" fmla="*/ 18 w 468"/>
                <a:gd name="T35" fmla="*/ 1 h 696"/>
                <a:gd name="T36" fmla="*/ 17 w 468"/>
                <a:gd name="T37" fmla="*/ 2 h 696"/>
                <a:gd name="T38" fmla="*/ 17 w 468"/>
                <a:gd name="T39" fmla="*/ 4 h 696"/>
                <a:gd name="T40" fmla="*/ 17 w 468"/>
                <a:gd name="T41" fmla="*/ 6 h 696"/>
                <a:gd name="T42" fmla="*/ 20 w 468"/>
                <a:gd name="T43" fmla="*/ 6 h 696"/>
                <a:gd name="T44" fmla="*/ 22 w 468"/>
                <a:gd name="T45" fmla="*/ 5 h 696"/>
                <a:gd name="T46" fmla="*/ 24 w 468"/>
                <a:gd name="T47" fmla="*/ 7 h 696"/>
                <a:gd name="T48" fmla="*/ 28 w 468"/>
                <a:gd name="T49" fmla="*/ 7 h 696"/>
                <a:gd name="T50" fmla="*/ 28 w 468"/>
                <a:gd name="T51" fmla="*/ 11 h 696"/>
                <a:gd name="T52" fmla="*/ 25 w 468"/>
                <a:gd name="T53" fmla="*/ 14 h 696"/>
                <a:gd name="T54" fmla="*/ 23 w 468"/>
                <a:gd name="T55" fmla="*/ 15 h 696"/>
                <a:gd name="T56" fmla="*/ 23 w 468"/>
                <a:gd name="T57" fmla="*/ 19 h 696"/>
                <a:gd name="T58" fmla="*/ 23 w 468"/>
                <a:gd name="T59" fmla="*/ 21 h 696"/>
                <a:gd name="T60" fmla="*/ 24 w 468"/>
                <a:gd name="T61" fmla="*/ 21 h 696"/>
                <a:gd name="T62" fmla="*/ 27 w 468"/>
                <a:gd name="T63" fmla="*/ 23 h 696"/>
                <a:gd name="T64" fmla="*/ 29 w 468"/>
                <a:gd name="T65" fmla="*/ 24 h 696"/>
                <a:gd name="T66" fmla="*/ 29 w 468"/>
                <a:gd name="T67" fmla="*/ 28 h 696"/>
                <a:gd name="T68" fmla="*/ 29 w 468"/>
                <a:gd name="T69" fmla="*/ 29 h 696"/>
                <a:gd name="T70" fmla="*/ 29 w 468"/>
                <a:gd name="T71" fmla="*/ 32 h 696"/>
                <a:gd name="T72" fmla="*/ 32 w 468"/>
                <a:gd name="T73" fmla="*/ 32 h 696"/>
                <a:gd name="T74" fmla="*/ 33 w 468"/>
                <a:gd name="T75" fmla="*/ 35 h 696"/>
                <a:gd name="T76" fmla="*/ 34 w 468"/>
                <a:gd name="T77" fmla="*/ 38 h 696"/>
                <a:gd name="T78" fmla="*/ 35 w 468"/>
                <a:gd name="T79" fmla="*/ 39 h 696"/>
                <a:gd name="T80" fmla="*/ 36 w 468"/>
                <a:gd name="T81" fmla="*/ 40 h 696"/>
                <a:gd name="T82" fmla="*/ 37 w 468"/>
                <a:gd name="T83" fmla="*/ 41 h 696"/>
                <a:gd name="T84" fmla="*/ 38 w 468"/>
                <a:gd name="T85" fmla="*/ 42 h 696"/>
                <a:gd name="T86" fmla="*/ 41 w 468"/>
                <a:gd name="T87" fmla="*/ 44 h 696"/>
                <a:gd name="T88" fmla="*/ 40 w 468"/>
                <a:gd name="T89" fmla="*/ 44 h 696"/>
                <a:gd name="T90" fmla="*/ 37 w 468"/>
                <a:gd name="T91" fmla="*/ 45 h 696"/>
                <a:gd name="T92" fmla="*/ 36 w 468"/>
                <a:gd name="T93" fmla="*/ 48 h 696"/>
                <a:gd name="T94" fmla="*/ 34 w 468"/>
                <a:gd name="T95" fmla="*/ 49 h 696"/>
                <a:gd name="T96" fmla="*/ 32 w 468"/>
                <a:gd name="T97" fmla="*/ 51 h 696"/>
                <a:gd name="T98" fmla="*/ 31 w 468"/>
                <a:gd name="T99" fmla="*/ 51 h 696"/>
                <a:gd name="T100" fmla="*/ 26 w 468"/>
                <a:gd name="T101" fmla="*/ 49 h 696"/>
                <a:gd name="T102" fmla="*/ 23 w 468"/>
                <a:gd name="T103" fmla="*/ 51 h 696"/>
                <a:gd name="T104" fmla="*/ 21 w 468"/>
                <a:gd name="T105" fmla="*/ 51 h 696"/>
                <a:gd name="T106" fmla="*/ 20 w 468"/>
                <a:gd name="T107" fmla="*/ 52 h 696"/>
                <a:gd name="T108" fmla="*/ 17 w 468"/>
                <a:gd name="T109" fmla="*/ 55 h 696"/>
                <a:gd name="T110" fmla="*/ 15 w 468"/>
                <a:gd name="T111" fmla="*/ 56 h 696"/>
                <a:gd name="T112" fmla="*/ 15 w 468"/>
                <a:gd name="T113" fmla="*/ 59 h 696"/>
                <a:gd name="T114" fmla="*/ 14 w 468"/>
                <a:gd name="T115" fmla="*/ 59 h 696"/>
                <a:gd name="T116" fmla="*/ 12 w 468"/>
                <a:gd name="T117" fmla="*/ 59 h 696"/>
                <a:gd name="T118" fmla="*/ 11 w 468"/>
                <a:gd name="T119" fmla="*/ 57 h 696"/>
                <a:gd name="T120" fmla="*/ 9 w 468"/>
                <a:gd name="T121" fmla="*/ 57 h 696"/>
                <a:gd name="T122" fmla="*/ 6 w 468"/>
                <a:gd name="T123" fmla="*/ 58 h 696"/>
                <a:gd name="T124" fmla="*/ 4 w 468"/>
                <a:gd name="T125" fmla="*/ 60 h 69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8"/>
                <a:gd name="T190" fmla="*/ 0 h 696"/>
                <a:gd name="T191" fmla="*/ 468 w 468"/>
                <a:gd name="T192" fmla="*/ 696 h 69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8" h="696">
                  <a:moveTo>
                    <a:pt x="30" y="696"/>
                  </a:moveTo>
                  <a:lnTo>
                    <a:pt x="18" y="696"/>
                  </a:lnTo>
                  <a:lnTo>
                    <a:pt x="6" y="696"/>
                  </a:lnTo>
                  <a:lnTo>
                    <a:pt x="0" y="690"/>
                  </a:lnTo>
                  <a:lnTo>
                    <a:pt x="6" y="678"/>
                  </a:lnTo>
                  <a:lnTo>
                    <a:pt x="12" y="666"/>
                  </a:lnTo>
                  <a:lnTo>
                    <a:pt x="18" y="654"/>
                  </a:lnTo>
                  <a:lnTo>
                    <a:pt x="18" y="642"/>
                  </a:lnTo>
                  <a:lnTo>
                    <a:pt x="18" y="618"/>
                  </a:lnTo>
                  <a:lnTo>
                    <a:pt x="24" y="606"/>
                  </a:lnTo>
                  <a:lnTo>
                    <a:pt x="30" y="594"/>
                  </a:lnTo>
                  <a:lnTo>
                    <a:pt x="30" y="582"/>
                  </a:lnTo>
                  <a:lnTo>
                    <a:pt x="36" y="576"/>
                  </a:lnTo>
                  <a:lnTo>
                    <a:pt x="42" y="564"/>
                  </a:lnTo>
                  <a:lnTo>
                    <a:pt x="48" y="546"/>
                  </a:lnTo>
                  <a:lnTo>
                    <a:pt x="48" y="528"/>
                  </a:lnTo>
                  <a:lnTo>
                    <a:pt x="60" y="516"/>
                  </a:lnTo>
                  <a:lnTo>
                    <a:pt x="66" y="504"/>
                  </a:lnTo>
                  <a:lnTo>
                    <a:pt x="66" y="492"/>
                  </a:lnTo>
                  <a:lnTo>
                    <a:pt x="60" y="480"/>
                  </a:lnTo>
                  <a:lnTo>
                    <a:pt x="54" y="468"/>
                  </a:lnTo>
                  <a:lnTo>
                    <a:pt x="60" y="456"/>
                  </a:lnTo>
                  <a:lnTo>
                    <a:pt x="72" y="450"/>
                  </a:lnTo>
                  <a:lnTo>
                    <a:pt x="84" y="438"/>
                  </a:lnTo>
                  <a:lnTo>
                    <a:pt x="90" y="426"/>
                  </a:lnTo>
                  <a:lnTo>
                    <a:pt x="90" y="420"/>
                  </a:lnTo>
                  <a:lnTo>
                    <a:pt x="90" y="408"/>
                  </a:lnTo>
                  <a:lnTo>
                    <a:pt x="90" y="402"/>
                  </a:lnTo>
                  <a:lnTo>
                    <a:pt x="84" y="396"/>
                  </a:lnTo>
                  <a:lnTo>
                    <a:pt x="78" y="378"/>
                  </a:lnTo>
                  <a:lnTo>
                    <a:pt x="72" y="360"/>
                  </a:lnTo>
                  <a:lnTo>
                    <a:pt x="66" y="348"/>
                  </a:lnTo>
                  <a:lnTo>
                    <a:pt x="72" y="336"/>
                  </a:lnTo>
                  <a:lnTo>
                    <a:pt x="66" y="306"/>
                  </a:lnTo>
                  <a:lnTo>
                    <a:pt x="54" y="276"/>
                  </a:lnTo>
                  <a:lnTo>
                    <a:pt x="42" y="252"/>
                  </a:lnTo>
                  <a:lnTo>
                    <a:pt x="36" y="222"/>
                  </a:lnTo>
                  <a:lnTo>
                    <a:pt x="30" y="192"/>
                  </a:lnTo>
                  <a:lnTo>
                    <a:pt x="24" y="162"/>
                  </a:lnTo>
                  <a:lnTo>
                    <a:pt x="42" y="174"/>
                  </a:lnTo>
                  <a:lnTo>
                    <a:pt x="120" y="138"/>
                  </a:lnTo>
                  <a:lnTo>
                    <a:pt x="132" y="126"/>
                  </a:lnTo>
                  <a:lnTo>
                    <a:pt x="120" y="54"/>
                  </a:lnTo>
                  <a:lnTo>
                    <a:pt x="156" y="30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0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8" y="18"/>
                  </a:lnTo>
                  <a:lnTo>
                    <a:pt x="198" y="24"/>
                  </a:lnTo>
                  <a:lnTo>
                    <a:pt x="198" y="30"/>
                  </a:lnTo>
                  <a:lnTo>
                    <a:pt x="198" y="42"/>
                  </a:lnTo>
                  <a:lnTo>
                    <a:pt x="198" y="48"/>
                  </a:lnTo>
                  <a:lnTo>
                    <a:pt x="192" y="60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28" y="60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34" y="60"/>
                  </a:lnTo>
                  <a:lnTo>
                    <a:pt x="252" y="60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312" y="84"/>
                  </a:lnTo>
                  <a:lnTo>
                    <a:pt x="318" y="96"/>
                  </a:lnTo>
                  <a:lnTo>
                    <a:pt x="318" y="102"/>
                  </a:lnTo>
                  <a:lnTo>
                    <a:pt x="312" y="120"/>
                  </a:lnTo>
                  <a:lnTo>
                    <a:pt x="306" y="132"/>
                  </a:lnTo>
                  <a:lnTo>
                    <a:pt x="294" y="144"/>
                  </a:lnTo>
                  <a:lnTo>
                    <a:pt x="282" y="156"/>
                  </a:lnTo>
                  <a:lnTo>
                    <a:pt x="276" y="162"/>
                  </a:lnTo>
                  <a:lnTo>
                    <a:pt x="270" y="162"/>
                  </a:lnTo>
                  <a:lnTo>
                    <a:pt x="264" y="174"/>
                  </a:lnTo>
                  <a:lnTo>
                    <a:pt x="264" y="192"/>
                  </a:lnTo>
                  <a:lnTo>
                    <a:pt x="264" y="216"/>
                  </a:lnTo>
                  <a:lnTo>
                    <a:pt x="258" y="216"/>
                  </a:lnTo>
                  <a:lnTo>
                    <a:pt x="258" y="228"/>
                  </a:lnTo>
                  <a:lnTo>
                    <a:pt x="252" y="234"/>
                  </a:lnTo>
                  <a:lnTo>
                    <a:pt x="258" y="240"/>
                  </a:lnTo>
                  <a:lnTo>
                    <a:pt x="264" y="240"/>
                  </a:lnTo>
                  <a:lnTo>
                    <a:pt x="270" y="240"/>
                  </a:lnTo>
                  <a:lnTo>
                    <a:pt x="276" y="240"/>
                  </a:lnTo>
                  <a:lnTo>
                    <a:pt x="288" y="240"/>
                  </a:lnTo>
                  <a:lnTo>
                    <a:pt x="300" y="246"/>
                  </a:lnTo>
                  <a:lnTo>
                    <a:pt x="306" y="258"/>
                  </a:lnTo>
                  <a:lnTo>
                    <a:pt x="312" y="264"/>
                  </a:lnTo>
                  <a:lnTo>
                    <a:pt x="318" y="276"/>
                  </a:lnTo>
                  <a:lnTo>
                    <a:pt x="330" y="282"/>
                  </a:lnTo>
                  <a:lnTo>
                    <a:pt x="330" y="300"/>
                  </a:lnTo>
                  <a:lnTo>
                    <a:pt x="336" y="312"/>
                  </a:lnTo>
                  <a:lnTo>
                    <a:pt x="336" y="318"/>
                  </a:lnTo>
                  <a:lnTo>
                    <a:pt x="336" y="330"/>
                  </a:lnTo>
                  <a:lnTo>
                    <a:pt x="324" y="330"/>
                  </a:lnTo>
                  <a:lnTo>
                    <a:pt x="330" y="336"/>
                  </a:lnTo>
                  <a:lnTo>
                    <a:pt x="330" y="342"/>
                  </a:lnTo>
                  <a:lnTo>
                    <a:pt x="336" y="348"/>
                  </a:lnTo>
                  <a:lnTo>
                    <a:pt x="330" y="360"/>
                  </a:lnTo>
                  <a:lnTo>
                    <a:pt x="336" y="372"/>
                  </a:lnTo>
                  <a:lnTo>
                    <a:pt x="354" y="366"/>
                  </a:lnTo>
                  <a:lnTo>
                    <a:pt x="366" y="366"/>
                  </a:lnTo>
                  <a:lnTo>
                    <a:pt x="372" y="378"/>
                  </a:lnTo>
                  <a:lnTo>
                    <a:pt x="372" y="390"/>
                  </a:lnTo>
                  <a:lnTo>
                    <a:pt x="378" y="396"/>
                  </a:lnTo>
                  <a:lnTo>
                    <a:pt x="378" y="408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44"/>
                  </a:lnTo>
                  <a:lnTo>
                    <a:pt x="390" y="444"/>
                  </a:lnTo>
                  <a:lnTo>
                    <a:pt x="396" y="444"/>
                  </a:lnTo>
                  <a:lnTo>
                    <a:pt x="402" y="450"/>
                  </a:lnTo>
                  <a:lnTo>
                    <a:pt x="408" y="450"/>
                  </a:lnTo>
                  <a:lnTo>
                    <a:pt x="408" y="462"/>
                  </a:lnTo>
                  <a:lnTo>
                    <a:pt x="408" y="468"/>
                  </a:lnTo>
                  <a:lnTo>
                    <a:pt x="414" y="474"/>
                  </a:lnTo>
                  <a:lnTo>
                    <a:pt x="420" y="474"/>
                  </a:lnTo>
                  <a:lnTo>
                    <a:pt x="420" y="480"/>
                  </a:lnTo>
                  <a:lnTo>
                    <a:pt x="426" y="480"/>
                  </a:lnTo>
                  <a:lnTo>
                    <a:pt x="432" y="480"/>
                  </a:lnTo>
                  <a:lnTo>
                    <a:pt x="462" y="486"/>
                  </a:lnTo>
                  <a:lnTo>
                    <a:pt x="468" y="492"/>
                  </a:lnTo>
                  <a:lnTo>
                    <a:pt x="468" y="498"/>
                  </a:lnTo>
                  <a:lnTo>
                    <a:pt x="462" y="498"/>
                  </a:lnTo>
                  <a:lnTo>
                    <a:pt x="456" y="498"/>
                  </a:lnTo>
                  <a:lnTo>
                    <a:pt x="456" y="504"/>
                  </a:lnTo>
                  <a:lnTo>
                    <a:pt x="456" y="510"/>
                  </a:lnTo>
                  <a:lnTo>
                    <a:pt x="450" y="516"/>
                  </a:lnTo>
                  <a:lnTo>
                    <a:pt x="426" y="516"/>
                  </a:lnTo>
                  <a:lnTo>
                    <a:pt x="408" y="528"/>
                  </a:lnTo>
                  <a:lnTo>
                    <a:pt x="408" y="546"/>
                  </a:lnTo>
                  <a:lnTo>
                    <a:pt x="414" y="552"/>
                  </a:lnTo>
                  <a:lnTo>
                    <a:pt x="408" y="558"/>
                  </a:lnTo>
                  <a:lnTo>
                    <a:pt x="402" y="564"/>
                  </a:lnTo>
                  <a:lnTo>
                    <a:pt x="384" y="564"/>
                  </a:lnTo>
                  <a:lnTo>
                    <a:pt x="372" y="564"/>
                  </a:lnTo>
                  <a:lnTo>
                    <a:pt x="372" y="576"/>
                  </a:lnTo>
                  <a:lnTo>
                    <a:pt x="366" y="576"/>
                  </a:lnTo>
                  <a:lnTo>
                    <a:pt x="366" y="582"/>
                  </a:lnTo>
                  <a:lnTo>
                    <a:pt x="360" y="582"/>
                  </a:lnTo>
                  <a:lnTo>
                    <a:pt x="348" y="576"/>
                  </a:lnTo>
                  <a:lnTo>
                    <a:pt x="336" y="570"/>
                  </a:lnTo>
                  <a:lnTo>
                    <a:pt x="324" y="570"/>
                  </a:lnTo>
                  <a:lnTo>
                    <a:pt x="300" y="564"/>
                  </a:lnTo>
                  <a:lnTo>
                    <a:pt x="282" y="564"/>
                  </a:lnTo>
                  <a:lnTo>
                    <a:pt x="270" y="570"/>
                  </a:lnTo>
                  <a:lnTo>
                    <a:pt x="264" y="576"/>
                  </a:lnTo>
                  <a:lnTo>
                    <a:pt x="258" y="576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34" y="594"/>
                  </a:lnTo>
                  <a:lnTo>
                    <a:pt x="228" y="600"/>
                  </a:lnTo>
                  <a:lnTo>
                    <a:pt x="210" y="618"/>
                  </a:lnTo>
                  <a:lnTo>
                    <a:pt x="210" y="624"/>
                  </a:lnTo>
                  <a:lnTo>
                    <a:pt x="192" y="630"/>
                  </a:lnTo>
                  <a:lnTo>
                    <a:pt x="186" y="630"/>
                  </a:lnTo>
                  <a:lnTo>
                    <a:pt x="180" y="636"/>
                  </a:lnTo>
                  <a:lnTo>
                    <a:pt x="174" y="642"/>
                  </a:lnTo>
                  <a:lnTo>
                    <a:pt x="168" y="642"/>
                  </a:lnTo>
                  <a:lnTo>
                    <a:pt x="168" y="654"/>
                  </a:lnTo>
                  <a:lnTo>
                    <a:pt x="168" y="678"/>
                  </a:lnTo>
                  <a:lnTo>
                    <a:pt x="162" y="684"/>
                  </a:lnTo>
                  <a:lnTo>
                    <a:pt x="156" y="684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72"/>
                  </a:lnTo>
                  <a:lnTo>
                    <a:pt x="138" y="672"/>
                  </a:lnTo>
                  <a:lnTo>
                    <a:pt x="138" y="666"/>
                  </a:lnTo>
                  <a:lnTo>
                    <a:pt x="132" y="660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48"/>
                  </a:lnTo>
                  <a:lnTo>
                    <a:pt x="102" y="654"/>
                  </a:lnTo>
                  <a:lnTo>
                    <a:pt x="90" y="654"/>
                  </a:lnTo>
                  <a:lnTo>
                    <a:pt x="84" y="654"/>
                  </a:lnTo>
                  <a:lnTo>
                    <a:pt x="72" y="660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36" y="684"/>
                  </a:lnTo>
                  <a:lnTo>
                    <a:pt x="30" y="6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7" name="Freeform 22">
              <a:extLst>
                <a:ext uri="{FF2B5EF4-FFF2-40B4-BE49-F238E27FC236}">
                  <a16:creationId xmlns:a16="http://schemas.microsoft.com/office/drawing/2014/main" id="{2F7A477D-6CF8-44B3-8B32-64EE03DC4D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2895" y="3967106"/>
              <a:ext cx="610479" cy="507686"/>
            </a:xfrm>
            <a:custGeom>
              <a:avLst/>
              <a:gdLst>
                <a:gd name="T0" fmla="*/ 87 w 1146"/>
                <a:gd name="T1" fmla="*/ 56 h 954"/>
                <a:gd name="T2" fmla="*/ 83 w 1146"/>
                <a:gd name="T3" fmla="*/ 66 h 954"/>
                <a:gd name="T4" fmla="*/ 74 w 1146"/>
                <a:gd name="T5" fmla="*/ 69 h 954"/>
                <a:gd name="T6" fmla="*/ 67 w 1146"/>
                <a:gd name="T7" fmla="*/ 75 h 954"/>
                <a:gd name="T8" fmla="*/ 59 w 1146"/>
                <a:gd name="T9" fmla="*/ 78 h 954"/>
                <a:gd name="T10" fmla="*/ 52 w 1146"/>
                <a:gd name="T11" fmla="*/ 77 h 954"/>
                <a:gd name="T12" fmla="*/ 48 w 1146"/>
                <a:gd name="T13" fmla="*/ 79 h 954"/>
                <a:gd name="T14" fmla="*/ 41 w 1146"/>
                <a:gd name="T15" fmla="*/ 82 h 954"/>
                <a:gd name="T16" fmla="*/ 29 w 1146"/>
                <a:gd name="T17" fmla="*/ 78 h 954"/>
                <a:gd name="T18" fmla="*/ 28 w 1146"/>
                <a:gd name="T19" fmla="*/ 76 h 954"/>
                <a:gd name="T20" fmla="*/ 28 w 1146"/>
                <a:gd name="T21" fmla="*/ 72 h 954"/>
                <a:gd name="T22" fmla="*/ 28 w 1146"/>
                <a:gd name="T23" fmla="*/ 74 h 954"/>
                <a:gd name="T24" fmla="*/ 21 w 1146"/>
                <a:gd name="T25" fmla="*/ 74 h 954"/>
                <a:gd name="T26" fmla="*/ 20 w 1146"/>
                <a:gd name="T27" fmla="*/ 67 h 954"/>
                <a:gd name="T28" fmla="*/ 23 w 1146"/>
                <a:gd name="T29" fmla="*/ 64 h 954"/>
                <a:gd name="T30" fmla="*/ 28 w 1146"/>
                <a:gd name="T31" fmla="*/ 65 h 954"/>
                <a:gd name="T32" fmla="*/ 32 w 1146"/>
                <a:gd name="T33" fmla="*/ 62 h 954"/>
                <a:gd name="T34" fmla="*/ 31 w 1146"/>
                <a:gd name="T35" fmla="*/ 56 h 954"/>
                <a:gd name="T36" fmla="*/ 36 w 1146"/>
                <a:gd name="T37" fmla="*/ 54 h 954"/>
                <a:gd name="T38" fmla="*/ 38 w 1146"/>
                <a:gd name="T39" fmla="*/ 54 h 954"/>
                <a:gd name="T40" fmla="*/ 32 w 1146"/>
                <a:gd name="T41" fmla="*/ 54 h 954"/>
                <a:gd name="T42" fmla="*/ 29 w 1146"/>
                <a:gd name="T43" fmla="*/ 59 h 954"/>
                <a:gd name="T44" fmla="*/ 26 w 1146"/>
                <a:gd name="T45" fmla="*/ 59 h 954"/>
                <a:gd name="T46" fmla="*/ 25 w 1146"/>
                <a:gd name="T47" fmla="*/ 61 h 954"/>
                <a:gd name="T48" fmla="*/ 20 w 1146"/>
                <a:gd name="T49" fmla="*/ 61 h 954"/>
                <a:gd name="T50" fmla="*/ 11 w 1146"/>
                <a:gd name="T51" fmla="*/ 54 h 954"/>
                <a:gd name="T52" fmla="*/ 14 w 1146"/>
                <a:gd name="T53" fmla="*/ 50 h 954"/>
                <a:gd name="T54" fmla="*/ 21 w 1146"/>
                <a:gd name="T55" fmla="*/ 51 h 954"/>
                <a:gd name="T56" fmla="*/ 24 w 1146"/>
                <a:gd name="T57" fmla="*/ 50 h 954"/>
                <a:gd name="T58" fmla="*/ 28 w 1146"/>
                <a:gd name="T59" fmla="*/ 48 h 954"/>
                <a:gd name="T60" fmla="*/ 30 w 1146"/>
                <a:gd name="T61" fmla="*/ 49 h 954"/>
                <a:gd name="T62" fmla="*/ 26 w 1146"/>
                <a:gd name="T63" fmla="*/ 47 h 954"/>
                <a:gd name="T64" fmla="*/ 20 w 1146"/>
                <a:gd name="T65" fmla="*/ 50 h 954"/>
                <a:gd name="T66" fmla="*/ 20 w 1146"/>
                <a:gd name="T67" fmla="*/ 44 h 954"/>
                <a:gd name="T68" fmla="*/ 19 w 1146"/>
                <a:gd name="T69" fmla="*/ 46 h 954"/>
                <a:gd name="T70" fmla="*/ 15 w 1146"/>
                <a:gd name="T71" fmla="*/ 49 h 954"/>
                <a:gd name="T72" fmla="*/ 8 w 1146"/>
                <a:gd name="T73" fmla="*/ 48 h 954"/>
                <a:gd name="T74" fmla="*/ 6 w 1146"/>
                <a:gd name="T75" fmla="*/ 41 h 954"/>
                <a:gd name="T76" fmla="*/ 10 w 1146"/>
                <a:gd name="T77" fmla="*/ 41 h 954"/>
                <a:gd name="T78" fmla="*/ 9 w 1146"/>
                <a:gd name="T79" fmla="*/ 39 h 954"/>
                <a:gd name="T80" fmla="*/ 14 w 1146"/>
                <a:gd name="T81" fmla="*/ 35 h 954"/>
                <a:gd name="T82" fmla="*/ 19 w 1146"/>
                <a:gd name="T83" fmla="*/ 32 h 954"/>
                <a:gd name="T84" fmla="*/ 20 w 1146"/>
                <a:gd name="T85" fmla="*/ 29 h 954"/>
                <a:gd name="T86" fmla="*/ 27 w 1146"/>
                <a:gd name="T87" fmla="*/ 27 h 954"/>
                <a:gd name="T88" fmla="*/ 33 w 1146"/>
                <a:gd name="T89" fmla="*/ 28 h 954"/>
                <a:gd name="T90" fmla="*/ 44 w 1146"/>
                <a:gd name="T91" fmla="*/ 27 h 954"/>
                <a:gd name="T92" fmla="*/ 52 w 1146"/>
                <a:gd name="T93" fmla="*/ 41 h 954"/>
                <a:gd name="T94" fmla="*/ 61 w 1146"/>
                <a:gd name="T95" fmla="*/ 40 h 954"/>
                <a:gd name="T96" fmla="*/ 69 w 1146"/>
                <a:gd name="T97" fmla="*/ 34 h 954"/>
                <a:gd name="T98" fmla="*/ 62 w 1146"/>
                <a:gd name="T99" fmla="*/ 12 h 954"/>
                <a:gd name="T100" fmla="*/ 74 w 1146"/>
                <a:gd name="T101" fmla="*/ 8 h 954"/>
                <a:gd name="T102" fmla="*/ 87 w 1146"/>
                <a:gd name="T103" fmla="*/ 1 h 954"/>
                <a:gd name="T104" fmla="*/ 99 w 1146"/>
                <a:gd name="T105" fmla="*/ 12 h 954"/>
                <a:gd name="T106" fmla="*/ 98 w 1146"/>
                <a:gd name="T107" fmla="*/ 27 h 954"/>
                <a:gd name="T108" fmla="*/ 16 w 1146"/>
                <a:gd name="T109" fmla="*/ 33 h 954"/>
                <a:gd name="T110" fmla="*/ 11 w 1146"/>
                <a:gd name="T111" fmla="*/ 36 h 954"/>
                <a:gd name="T112" fmla="*/ 5 w 1146"/>
                <a:gd name="T113" fmla="*/ 41 h 954"/>
                <a:gd name="T114" fmla="*/ 2 w 1146"/>
                <a:gd name="T115" fmla="*/ 36 h 954"/>
                <a:gd name="T116" fmla="*/ 5 w 1146"/>
                <a:gd name="T117" fmla="*/ 26 h 954"/>
                <a:gd name="T118" fmla="*/ 10 w 1146"/>
                <a:gd name="T119" fmla="*/ 20 h 954"/>
                <a:gd name="T120" fmla="*/ 13 w 1146"/>
                <a:gd name="T121" fmla="*/ 20 h 954"/>
                <a:gd name="T122" fmla="*/ 15 w 1146"/>
                <a:gd name="T123" fmla="*/ 27 h 95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46"/>
                <a:gd name="T187" fmla="*/ 0 h 954"/>
                <a:gd name="T188" fmla="*/ 1146 w 1146"/>
                <a:gd name="T189" fmla="*/ 954 h 95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46" h="954">
                  <a:moveTo>
                    <a:pt x="1056" y="498"/>
                  </a:moveTo>
                  <a:lnTo>
                    <a:pt x="1044" y="510"/>
                  </a:lnTo>
                  <a:lnTo>
                    <a:pt x="1032" y="516"/>
                  </a:lnTo>
                  <a:lnTo>
                    <a:pt x="1038" y="528"/>
                  </a:lnTo>
                  <a:lnTo>
                    <a:pt x="1050" y="540"/>
                  </a:lnTo>
                  <a:lnTo>
                    <a:pt x="1050" y="546"/>
                  </a:lnTo>
                  <a:lnTo>
                    <a:pt x="1050" y="564"/>
                  </a:lnTo>
                  <a:lnTo>
                    <a:pt x="1038" y="576"/>
                  </a:lnTo>
                  <a:lnTo>
                    <a:pt x="1032" y="588"/>
                  </a:lnTo>
                  <a:lnTo>
                    <a:pt x="1020" y="594"/>
                  </a:lnTo>
                  <a:lnTo>
                    <a:pt x="1008" y="594"/>
                  </a:lnTo>
                  <a:lnTo>
                    <a:pt x="1002" y="600"/>
                  </a:lnTo>
                  <a:lnTo>
                    <a:pt x="996" y="612"/>
                  </a:lnTo>
                  <a:lnTo>
                    <a:pt x="996" y="624"/>
                  </a:lnTo>
                  <a:lnTo>
                    <a:pt x="996" y="648"/>
                  </a:lnTo>
                  <a:lnTo>
                    <a:pt x="996" y="660"/>
                  </a:lnTo>
                  <a:lnTo>
                    <a:pt x="1002" y="672"/>
                  </a:lnTo>
                  <a:lnTo>
                    <a:pt x="1002" y="684"/>
                  </a:lnTo>
                  <a:lnTo>
                    <a:pt x="996" y="684"/>
                  </a:lnTo>
                  <a:lnTo>
                    <a:pt x="984" y="690"/>
                  </a:lnTo>
                  <a:lnTo>
                    <a:pt x="972" y="690"/>
                  </a:lnTo>
                  <a:lnTo>
                    <a:pt x="966" y="696"/>
                  </a:lnTo>
                  <a:lnTo>
                    <a:pt x="966" y="702"/>
                  </a:lnTo>
                  <a:lnTo>
                    <a:pt x="966" y="714"/>
                  </a:lnTo>
                  <a:lnTo>
                    <a:pt x="972" y="726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2" y="756"/>
                  </a:lnTo>
                  <a:lnTo>
                    <a:pt x="966" y="756"/>
                  </a:lnTo>
                  <a:lnTo>
                    <a:pt x="942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18" y="768"/>
                  </a:lnTo>
                  <a:lnTo>
                    <a:pt x="906" y="768"/>
                  </a:lnTo>
                  <a:lnTo>
                    <a:pt x="894" y="762"/>
                  </a:lnTo>
                  <a:lnTo>
                    <a:pt x="882" y="756"/>
                  </a:lnTo>
                  <a:lnTo>
                    <a:pt x="876" y="756"/>
                  </a:lnTo>
                  <a:lnTo>
                    <a:pt x="876" y="762"/>
                  </a:lnTo>
                  <a:lnTo>
                    <a:pt x="864" y="768"/>
                  </a:lnTo>
                  <a:lnTo>
                    <a:pt x="858" y="774"/>
                  </a:lnTo>
                  <a:lnTo>
                    <a:pt x="852" y="774"/>
                  </a:lnTo>
                  <a:lnTo>
                    <a:pt x="840" y="780"/>
                  </a:lnTo>
                  <a:lnTo>
                    <a:pt x="840" y="786"/>
                  </a:lnTo>
                  <a:lnTo>
                    <a:pt x="840" y="792"/>
                  </a:lnTo>
                  <a:lnTo>
                    <a:pt x="840" y="804"/>
                  </a:lnTo>
                  <a:lnTo>
                    <a:pt x="840" y="810"/>
                  </a:lnTo>
                  <a:lnTo>
                    <a:pt x="828" y="816"/>
                  </a:lnTo>
                  <a:lnTo>
                    <a:pt x="810" y="810"/>
                  </a:lnTo>
                  <a:lnTo>
                    <a:pt x="792" y="810"/>
                  </a:lnTo>
                  <a:lnTo>
                    <a:pt x="786" y="816"/>
                  </a:lnTo>
                  <a:lnTo>
                    <a:pt x="780" y="816"/>
                  </a:lnTo>
                  <a:lnTo>
                    <a:pt x="780" y="822"/>
                  </a:lnTo>
                  <a:lnTo>
                    <a:pt x="780" y="828"/>
                  </a:lnTo>
                  <a:lnTo>
                    <a:pt x="780" y="834"/>
                  </a:lnTo>
                  <a:lnTo>
                    <a:pt x="786" y="840"/>
                  </a:lnTo>
                  <a:lnTo>
                    <a:pt x="786" y="846"/>
                  </a:lnTo>
                  <a:lnTo>
                    <a:pt x="786" y="852"/>
                  </a:lnTo>
                  <a:lnTo>
                    <a:pt x="780" y="858"/>
                  </a:lnTo>
                  <a:lnTo>
                    <a:pt x="768" y="858"/>
                  </a:lnTo>
                  <a:lnTo>
                    <a:pt x="762" y="864"/>
                  </a:lnTo>
                  <a:lnTo>
                    <a:pt x="756" y="864"/>
                  </a:lnTo>
                  <a:lnTo>
                    <a:pt x="750" y="870"/>
                  </a:lnTo>
                  <a:lnTo>
                    <a:pt x="744" y="876"/>
                  </a:lnTo>
                  <a:lnTo>
                    <a:pt x="732" y="876"/>
                  </a:lnTo>
                  <a:lnTo>
                    <a:pt x="726" y="876"/>
                  </a:lnTo>
                  <a:lnTo>
                    <a:pt x="720" y="870"/>
                  </a:lnTo>
                  <a:lnTo>
                    <a:pt x="714" y="864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6" y="876"/>
                  </a:lnTo>
                  <a:lnTo>
                    <a:pt x="696" y="882"/>
                  </a:lnTo>
                  <a:lnTo>
                    <a:pt x="696" y="894"/>
                  </a:lnTo>
                  <a:lnTo>
                    <a:pt x="690" y="900"/>
                  </a:lnTo>
                  <a:lnTo>
                    <a:pt x="684" y="900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54" y="888"/>
                  </a:lnTo>
                  <a:lnTo>
                    <a:pt x="654" y="882"/>
                  </a:lnTo>
                  <a:lnTo>
                    <a:pt x="642" y="876"/>
                  </a:lnTo>
                  <a:lnTo>
                    <a:pt x="636" y="876"/>
                  </a:lnTo>
                  <a:lnTo>
                    <a:pt x="630" y="876"/>
                  </a:lnTo>
                  <a:lnTo>
                    <a:pt x="630" y="870"/>
                  </a:lnTo>
                  <a:lnTo>
                    <a:pt x="618" y="858"/>
                  </a:lnTo>
                  <a:lnTo>
                    <a:pt x="612" y="858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06" y="876"/>
                  </a:lnTo>
                  <a:lnTo>
                    <a:pt x="606" y="882"/>
                  </a:lnTo>
                  <a:lnTo>
                    <a:pt x="606" y="888"/>
                  </a:lnTo>
                  <a:lnTo>
                    <a:pt x="600" y="894"/>
                  </a:lnTo>
                  <a:lnTo>
                    <a:pt x="594" y="894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76" y="894"/>
                  </a:lnTo>
                  <a:lnTo>
                    <a:pt x="582" y="900"/>
                  </a:lnTo>
                  <a:lnTo>
                    <a:pt x="576" y="906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64" y="918"/>
                  </a:lnTo>
                  <a:lnTo>
                    <a:pt x="558" y="918"/>
                  </a:lnTo>
                  <a:lnTo>
                    <a:pt x="558" y="912"/>
                  </a:lnTo>
                  <a:lnTo>
                    <a:pt x="552" y="906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06"/>
                  </a:lnTo>
                  <a:lnTo>
                    <a:pt x="534" y="906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0" y="924"/>
                  </a:lnTo>
                  <a:lnTo>
                    <a:pt x="504" y="924"/>
                  </a:lnTo>
                  <a:lnTo>
                    <a:pt x="498" y="930"/>
                  </a:lnTo>
                  <a:lnTo>
                    <a:pt x="492" y="924"/>
                  </a:lnTo>
                  <a:lnTo>
                    <a:pt x="486" y="930"/>
                  </a:lnTo>
                  <a:lnTo>
                    <a:pt x="480" y="942"/>
                  </a:lnTo>
                  <a:lnTo>
                    <a:pt x="468" y="948"/>
                  </a:lnTo>
                  <a:lnTo>
                    <a:pt x="444" y="942"/>
                  </a:lnTo>
                  <a:lnTo>
                    <a:pt x="438" y="954"/>
                  </a:lnTo>
                  <a:lnTo>
                    <a:pt x="426" y="954"/>
                  </a:lnTo>
                  <a:lnTo>
                    <a:pt x="420" y="948"/>
                  </a:lnTo>
                  <a:lnTo>
                    <a:pt x="408" y="936"/>
                  </a:lnTo>
                  <a:lnTo>
                    <a:pt x="396" y="936"/>
                  </a:lnTo>
                  <a:lnTo>
                    <a:pt x="390" y="930"/>
                  </a:lnTo>
                  <a:lnTo>
                    <a:pt x="390" y="924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66" y="924"/>
                  </a:lnTo>
                  <a:lnTo>
                    <a:pt x="360" y="924"/>
                  </a:lnTo>
                  <a:lnTo>
                    <a:pt x="348" y="918"/>
                  </a:lnTo>
                  <a:lnTo>
                    <a:pt x="342" y="906"/>
                  </a:lnTo>
                  <a:lnTo>
                    <a:pt x="336" y="906"/>
                  </a:lnTo>
                  <a:lnTo>
                    <a:pt x="330" y="906"/>
                  </a:lnTo>
                  <a:lnTo>
                    <a:pt x="312" y="906"/>
                  </a:lnTo>
                  <a:lnTo>
                    <a:pt x="312" y="900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888"/>
                  </a:lnTo>
                  <a:lnTo>
                    <a:pt x="312" y="882"/>
                  </a:lnTo>
                  <a:lnTo>
                    <a:pt x="306" y="876"/>
                  </a:lnTo>
                  <a:lnTo>
                    <a:pt x="312" y="876"/>
                  </a:lnTo>
                  <a:lnTo>
                    <a:pt x="312" y="870"/>
                  </a:lnTo>
                  <a:lnTo>
                    <a:pt x="318" y="876"/>
                  </a:lnTo>
                  <a:lnTo>
                    <a:pt x="318" y="870"/>
                  </a:lnTo>
                  <a:lnTo>
                    <a:pt x="324" y="876"/>
                  </a:lnTo>
                  <a:lnTo>
                    <a:pt x="330" y="876"/>
                  </a:lnTo>
                  <a:lnTo>
                    <a:pt x="336" y="876"/>
                  </a:lnTo>
                  <a:lnTo>
                    <a:pt x="342" y="876"/>
                  </a:lnTo>
                  <a:lnTo>
                    <a:pt x="336" y="876"/>
                  </a:lnTo>
                  <a:lnTo>
                    <a:pt x="330" y="870"/>
                  </a:lnTo>
                  <a:lnTo>
                    <a:pt x="324" y="870"/>
                  </a:lnTo>
                  <a:lnTo>
                    <a:pt x="318" y="870"/>
                  </a:lnTo>
                  <a:lnTo>
                    <a:pt x="312" y="870"/>
                  </a:lnTo>
                  <a:lnTo>
                    <a:pt x="318" y="864"/>
                  </a:lnTo>
                  <a:lnTo>
                    <a:pt x="318" y="858"/>
                  </a:lnTo>
                  <a:lnTo>
                    <a:pt x="318" y="852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6" y="846"/>
                  </a:lnTo>
                  <a:lnTo>
                    <a:pt x="312" y="828"/>
                  </a:lnTo>
                  <a:lnTo>
                    <a:pt x="312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06" y="816"/>
                  </a:lnTo>
                  <a:lnTo>
                    <a:pt x="306" y="810"/>
                  </a:lnTo>
                  <a:lnTo>
                    <a:pt x="306" y="816"/>
                  </a:lnTo>
                  <a:lnTo>
                    <a:pt x="312" y="822"/>
                  </a:lnTo>
                  <a:lnTo>
                    <a:pt x="306" y="822"/>
                  </a:lnTo>
                  <a:lnTo>
                    <a:pt x="306" y="828"/>
                  </a:lnTo>
                  <a:lnTo>
                    <a:pt x="306" y="834"/>
                  </a:lnTo>
                  <a:lnTo>
                    <a:pt x="300" y="840"/>
                  </a:lnTo>
                  <a:lnTo>
                    <a:pt x="300" y="846"/>
                  </a:lnTo>
                  <a:lnTo>
                    <a:pt x="306" y="852"/>
                  </a:lnTo>
                  <a:lnTo>
                    <a:pt x="306" y="858"/>
                  </a:lnTo>
                  <a:lnTo>
                    <a:pt x="312" y="858"/>
                  </a:lnTo>
                  <a:lnTo>
                    <a:pt x="312" y="864"/>
                  </a:lnTo>
                  <a:lnTo>
                    <a:pt x="306" y="864"/>
                  </a:lnTo>
                  <a:lnTo>
                    <a:pt x="300" y="864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82" y="870"/>
                  </a:lnTo>
                  <a:lnTo>
                    <a:pt x="276" y="870"/>
                  </a:lnTo>
                  <a:lnTo>
                    <a:pt x="270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8" y="870"/>
                  </a:lnTo>
                  <a:lnTo>
                    <a:pt x="252" y="870"/>
                  </a:lnTo>
                  <a:lnTo>
                    <a:pt x="252" y="864"/>
                  </a:lnTo>
                  <a:lnTo>
                    <a:pt x="246" y="858"/>
                  </a:lnTo>
                  <a:lnTo>
                    <a:pt x="246" y="852"/>
                  </a:lnTo>
                  <a:lnTo>
                    <a:pt x="246" y="846"/>
                  </a:lnTo>
                  <a:lnTo>
                    <a:pt x="246" y="840"/>
                  </a:lnTo>
                  <a:lnTo>
                    <a:pt x="246" y="834"/>
                  </a:lnTo>
                  <a:lnTo>
                    <a:pt x="246" y="828"/>
                  </a:lnTo>
                  <a:lnTo>
                    <a:pt x="246" y="822"/>
                  </a:lnTo>
                  <a:lnTo>
                    <a:pt x="240" y="816"/>
                  </a:lnTo>
                  <a:lnTo>
                    <a:pt x="240" y="810"/>
                  </a:lnTo>
                  <a:lnTo>
                    <a:pt x="240" y="804"/>
                  </a:lnTo>
                  <a:lnTo>
                    <a:pt x="240" y="798"/>
                  </a:lnTo>
                  <a:lnTo>
                    <a:pt x="234" y="798"/>
                  </a:lnTo>
                  <a:lnTo>
                    <a:pt x="234" y="792"/>
                  </a:lnTo>
                  <a:lnTo>
                    <a:pt x="234" y="786"/>
                  </a:lnTo>
                  <a:lnTo>
                    <a:pt x="234" y="780"/>
                  </a:lnTo>
                  <a:lnTo>
                    <a:pt x="228" y="780"/>
                  </a:lnTo>
                  <a:lnTo>
                    <a:pt x="228" y="774"/>
                  </a:lnTo>
                  <a:lnTo>
                    <a:pt x="228" y="768"/>
                  </a:lnTo>
                  <a:lnTo>
                    <a:pt x="222" y="762"/>
                  </a:lnTo>
                  <a:lnTo>
                    <a:pt x="222" y="756"/>
                  </a:lnTo>
                  <a:lnTo>
                    <a:pt x="222" y="750"/>
                  </a:lnTo>
                  <a:lnTo>
                    <a:pt x="222" y="744"/>
                  </a:lnTo>
                  <a:lnTo>
                    <a:pt x="222" y="738"/>
                  </a:lnTo>
                  <a:lnTo>
                    <a:pt x="216" y="732"/>
                  </a:lnTo>
                  <a:lnTo>
                    <a:pt x="222" y="732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32"/>
                  </a:lnTo>
                  <a:lnTo>
                    <a:pt x="246" y="732"/>
                  </a:lnTo>
                  <a:lnTo>
                    <a:pt x="246" y="738"/>
                  </a:lnTo>
                  <a:lnTo>
                    <a:pt x="252" y="738"/>
                  </a:lnTo>
                  <a:lnTo>
                    <a:pt x="258" y="738"/>
                  </a:lnTo>
                  <a:lnTo>
                    <a:pt x="258" y="732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8" y="732"/>
                  </a:lnTo>
                  <a:lnTo>
                    <a:pt x="294" y="732"/>
                  </a:lnTo>
                  <a:lnTo>
                    <a:pt x="300" y="732"/>
                  </a:lnTo>
                  <a:lnTo>
                    <a:pt x="300" y="738"/>
                  </a:lnTo>
                  <a:lnTo>
                    <a:pt x="306" y="738"/>
                  </a:lnTo>
                  <a:lnTo>
                    <a:pt x="306" y="744"/>
                  </a:lnTo>
                  <a:lnTo>
                    <a:pt x="306" y="750"/>
                  </a:lnTo>
                  <a:lnTo>
                    <a:pt x="312" y="750"/>
                  </a:lnTo>
                  <a:lnTo>
                    <a:pt x="312" y="756"/>
                  </a:lnTo>
                  <a:lnTo>
                    <a:pt x="318" y="756"/>
                  </a:lnTo>
                  <a:lnTo>
                    <a:pt x="318" y="750"/>
                  </a:lnTo>
                  <a:lnTo>
                    <a:pt x="312" y="750"/>
                  </a:lnTo>
                  <a:lnTo>
                    <a:pt x="312" y="744"/>
                  </a:lnTo>
                  <a:lnTo>
                    <a:pt x="318" y="738"/>
                  </a:lnTo>
                  <a:lnTo>
                    <a:pt x="324" y="738"/>
                  </a:lnTo>
                  <a:lnTo>
                    <a:pt x="330" y="738"/>
                  </a:lnTo>
                  <a:lnTo>
                    <a:pt x="336" y="738"/>
                  </a:lnTo>
                  <a:lnTo>
                    <a:pt x="342" y="738"/>
                  </a:lnTo>
                  <a:lnTo>
                    <a:pt x="348" y="732"/>
                  </a:lnTo>
                  <a:lnTo>
                    <a:pt x="354" y="732"/>
                  </a:lnTo>
                  <a:lnTo>
                    <a:pt x="360" y="732"/>
                  </a:lnTo>
                  <a:lnTo>
                    <a:pt x="360" y="726"/>
                  </a:lnTo>
                  <a:lnTo>
                    <a:pt x="366" y="726"/>
                  </a:lnTo>
                  <a:lnTo>
                    <a:pt x="366" y="720"/>
                  </a:lnTo>
                  <a:lnTo>
                    <a:pt x="366" y="714"/>
                  </a:lnTo>
                  <a:lnTo>
                    <a:pt x="360" y="708"/>
                  </a:lnTo>
                  <a:lnTo>
                    <a:pt x="354" y="708"/>
                  </a:lnTo>
                  <a:lnTo>
                    <a:pt x="348" y="702"/>
                  </a:lnTo>
                  <a:lnTo>
                    <a:pt x="354" y="702"/>
                  </a:lnTo>
                  <a:lnTo>
                    <a:pt x="354" y="696"/>
                  </a:lnTo>
                  <a:lnTo>
                    <a:pt x="348" y="696"/>
                  </a:lnTo>
                  <a:lnTo>
                    <a:pt x="348" y="690"/>
                  </a:lnTo>
                  <a:lnTo>
                    <a:pt x="342" y="690"/>
                  </a:lnTo>
                  <a:lnTo>
                    <a:pt x="342" y="684"/>
                  </a:lnTo>
                  <a:lnTo>
                    <a:pt x="342" y="678"/>
                  </a:lnTo>
                  <a:lnTo>
                    <a:pt x="342" y="666"/>
                  </a:lnTo>
                  <a:lnTo>
                    <a:pt x="342" y="660"/>
                  </a:lnTo>
                  <a:lnTo>
                    <a:pt x="348" y="654"/>
                  </a:lnTo>
                  <a:lnTo>
                    <a:pt x="348" y="642"/>
                  </a:lnTo>
                  <a:lnTo>
                    <a:pt x="354" y="642"/>
                  </a:lnTo>
                  <a:lnTo>
                    <a:pt x="360" y="642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66" y="642"/>
                  </a:lnTo>
                  <a:lnTo>
                    <a:pt x="372" y="642"/>
                  </a:lnTo>
                  <a:lnTo>
                    <a:pt x="378" y="642"/>
                  </a:lnTo>
                  <a:lnTo>
                    <a:pt x="384" y="642"/>
                  </a:lnTo>
                  <a:lnTo>
                    <a:pt x="390" y="642"/>
                  </a:lnTo>
                  <a:lnTo>
                    <a:pt x="396" y="642"/>
                  </a:lnTo>
                  <a:lnTo>
                    <a:pt x="396" y="636"/>
                  </a:lnTo>
                  <a:lnTo>
                    <a:pt x="402" y="636"/>
                  </a:lnTo>
                  <a:lnTo>
                    <a:pt x="408" y="636"/>
                  </a:lnTo>
                  <a:lnTo>
                    <a:pt x="402" y="636"/>
                  </a:lnTo>
                  <a:lnTo>
                    <a:pt x="402" y="630"/>
                  </a:lnTo>
                  <a:lnTo>
                    <a:pt x="408" y="630"/>
                  </a:lnTo>
                  <a:lnTo>
                    <a:pt x="408" y="624"/>
                  </a:lnTo>
                  <a:lnTo>
                    <a:pt x="408" y="618"/>
                  </a:lnTo>
                  <a:lnTo>
                    <a:pt x="414" y="618"/>
                  </a:lnTo>
                  <a:lnTo>
                    <a:pt x="420" y="618"/>
                  </a:lnTo>
                  <a:lnTo>
                    <a:pt x="426" y="624"/>
                  </a:lnTo>
                  <a:lnTo>
                    <a:pt x="432" y="624"/>
                  </a:lnTo>
                  <a:lnTo>
                    <a:pt x="438" y="624"/>
                  </a:lnTo>
                  <a:lnTo>
                    <a:pt x="438" y="618"/>
                  </a:lnTo>
                  <a:lnTo>
                    <a:pt x="444" y="618"/>
                  </a:lnTo>
                  <a:lnTo>
                    <a:pt x="450" y="618"/>
                  </a:lnTo>
                  <a:lnTo>
                    <a:pt x="444" y="618"/>
                  </a:lnTo>
                  <a:lnTo>
                    <a:pt x="438" y="618"/>
                  </a:lnTo>
                  <a:lnTo>
                    <a:pt x="438" y="612"/>
                  </a:lnTo>
                  <a:lnTo>
                    <a:pt x="438" y="618"/>
                  </a:lnTo>
                  <a:lnTo>
                    <a:pt x="432" y="624"/>
                  </a:lnTo>
                  <a:lnTo>
                    <a:pt x="426" y="618"/>
                  </a:lnTo>
                  <a:lnTo>
                    <a:pt x="420" y="612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402" y="624"/>
                  </a:lnTo>
                  <a:lnTo>
                    <a:pt x="396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78" y="630"/>
                  </a:lnTo>
                  <a:lnTo>
                    <a:pt x="378" y="636"/>
                  </a:lnTo>
                  <a:lnTo>
                    <a:pt x="372" y="630"/>
                  </a:lnTo>
                  <a:lnTo>
                    <a:pt x="366" y="630"/>
                  </a:lnTo>
                  <a:lnTo>
                    <a:pt x="360" y="630"/>
                  </a:lnTo>
                  <a:lnTo>
                    <a:pt x="354" y="630"/>
                  </a:lnTo>
                  <a:lnTo>
                    <a:pt x="354" y="636"/>
                  </a:lnTo>
                  <a:lnTo>
                    <a:pt x="348" y="636"/>
                  </a:lnTo>
                  <a:lnTo>
                    <a:pt x="348" y="642"/>
                  </a:lnTo>
                  <a:lnTo>
                    <a:pt x="342" y="642"/>
                  </a:lnTo>
                  <a:lnTo>
                    <a:pt x="342" y="648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6" y="660"/>
                  </a:lnTo>
                  <a:lnTo>
                    <a:pt x="336" y="666"/>
                  </a:lnTo>
                  <a:lnTo>
                    <a:pt x="330" y="672"/>
                  </a:lnTo>
                  <a:lnTo>
                    <a:pt x="330" y="678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24" y="696"/>
                  </a:lnTo>
                  <a:lnTo>
                    <a:pt x="324" y="702"/>
                  </a:lnTo>
                  <a:lnTo>
                    <a:pt x="318" y="702"/>
                  </a:lnTo>
                  <a:lnTo>
                    <a:pt x="318" y="708"/>
                  </a:lnTo>
                  <a:lnTo>
                    <a:pt x="312" y="708"/>
                  </a:lnTo>
                  <a:lnTo>
                    <a:pt x="312" y="702"/>
                  </a:lnTo>
                  <a:lnTo>
                    <a:pt x="306" y="702"/>
                  </a:lnTo>
                  <a:lnTo>
                    <a:pt x="300" y="702"/>
                  </a:lnTo>
                  <a:lnTo>
                    <a:pt x="294" y="696"/>
                  </a:lnTo>
                  <a:lnTo>
                    <a:pt x="288" y="696"/>
                  </a:lnTo>
                  <a:lnTo>
                    <a:pt x="282" y="690"/>
                  </a:lnTo>
                  <a:lnTo>
                    <a:pt x="288" y="684"/>
                  </a:lnTo>
                  <a:lnTo>
                    <a:pt x="294" y="684"/>
                  </a:lnTo>
                  <a:lnTo>
                    <a:pt x="294" y="678"/>
                  </a:lnTo>
                  <a:lnTo>
                    <a:pt x="300" y="678"/>
                  </a:lnTo>
                  <a:lnTo>
                    <a:pt x="294" y="678"/>
                  </a:lnTo>
                  <a:lnTo>
                    <a:pt x="294" y="672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94" y="672"/>
                  </a:lnTo>
                  <a:lnTo>
                    <a:pt x="288" y="678"/>
                  </a:lnTo>
                  <a:lnTo>
                    <a:pt x="282" y="684"/>
                  </a:lnTo>
                  <a:lnTo>
                    <a:pt x="282" y="678"/>
                  </a:lnTo>
                  <a:lnTo>
                    <a:pt x="276" y="678"/>
                  </a:lnTo>
                  <a:lnTo>
                    <a:pt x="282" y="684"/>
                  </a:lnTo>
                  <a:lnTo>
                    <a:pt x="282" y="690"/>
                  </a:lnTo>
                  <a:lnTo>
                    <a:pt x="282" y="696"/>
                  </a:lnTo>
                  <a:lnTo>
                    <a:pt x="288" y="702"/>
                  </a:lnTo>
                  <a:lnTo>
                    <a:pt x="294" y="708"/>
                  </a:lnTo>
                  <a:lnTo>
                    <a:pt x="294" y="714"/>
                  </a:lnTo>
                  <a:lnTo>
                    <a:pt x="288" y="714"/>
                  </a:lnTo>
                  <a:lnTo>
                    <a:pt x="282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64" y="714"/>
                  </a:lnTo>
                  <a:lnTo>
                    <a:pt x="258" y="714"/>
                  </a:lnTo>
                  <a:lnTo>
                    <a:pt x="252" y="714"/>
                  </a:lnTo>
                  <a:lnTo>
                    <a:pt x="246" y="714"/>
                  </a:lnTo>
                  <a:lnTo>
                    <a:pt x="240" y="714"/>
                  </a:lnTo>
                  <a:lnTo>
                    <a:pt x="240" y="708"/>
                  </a:lnTo>
                  <a:lnTo>
                    <a:pt x="234" y="708"/>
                  </a:lnTo>
                  <a:lnTo>
                    <a:pt x="228" y="708"/>
                  </a:lnTo>
                  <a:lnTo>
                    <a:pt x="222" y="702"/>
                  </a:lnTo>
                  <a:lnTo>
                    <a:pt x="216" y="702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2" y="690"/>
                  </a:lnTo>
                  <a:lnTo>
                    <a:pt x="186" y="690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68" y="684"/>
                  </a:lnTo>
                  <a:lnTo>
                    <a:pt x="168" y="678"/>
                  </a:lnTo>
                  <a:lnTo>
                    <a:pt x="156" y="672"/>
                  </a:lnTo>
                  <a:lnTo>
                    <a:pt x="150" y="660"/>
                  </a:lnTo>
                  <a:lnTo>
                    <a:pt x="126" y="630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12"/>
                  </a:lnTo>
                  <a:lnTo>
                    <a:pt x="126" y="606"/>
                  </a:lnTo>
                  <a:lnTo>
                    <a:pt x="126" y="600"/>
                  </a:lnTo>
                  <a:lnTo>
                    <a:pt x="132" y="594"/>
                  </a:lnTo>
                  <a:lnTo>
                    <a:pt x="138" y="594"/>
                  </a:lnTo>
                  <a:lnTo>
                    <a:pt x="144" y="588"/>
                  </a:lnTo>
                  <a:lnTo>
                    <a:pt x="144" y="582"/>
                  </a:lnTo>
                  <a:lnTo>
                    <a:pt x="150" y="582"/>
                  </a:lnTo>
                  <a:lnTo>
                    <a:pt x="150" y="576"/>
                  </a:lnTo>
                  <a:lnTo>
                    <a:pt x="156" y="576"/>
                  </a:lnTo>
                  <a:lnTo>
                    <a:pt x="156" y="582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8" y="576"/>
                  </a:lnTo>
                  <a:lnTo>
                    <a:pt x="174" y="576"/>
                  </a:lnTo>
                  <a:lnTo>
                    <a:pt x="180" y="582"/>
                  </a:lnTo>
                  <a:lnTo>
                    <a:pt x="192" y="582"/>
                  </a:lnTo>
                  <a:lnTo>
                    <a:pt x="198" y="582"/>
                  </a:lnTo>
                  <a:lnTo>
                    <a:pt x="204" y="582"/>
                  </a:lnTo>
                  <a:lnTo>
                    <a:pt x="210" y="582"/>
                  </a:lnTo>
                  <a:lnTo>
                    <a:pt x="216" y="588"/>
                  </a:lnTo>
                  <a:lnTo>
                    <a:pt x="222" y="588"/>
                  </a:lnTo>
                  <a:lnTo>
                    <a:pt x="234" y="588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46" y="594"/>
                  </a:lnTo>
                  <a:lnTo>
                    <a:pt x="252" y="588"/>
                  </a:lnTo>
                  <a:lnTo>
                    <a:pt x="258" y="588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52" y="600"/>
                  </a:lnTo>
                  <a:lnTo>
                    <a:pt x="246" y="600"/>
                  </a:lnTo>
                  <a:lnTo>
                    <a:pt x="246" y="606"/>
                  </a:lnTo>
                  <a:lnTo>
                    <a:pt x="246" y="600"/>
                  </a:lnTo>
                  <a:lnTo>
                    <a:pt x="252" y="600"/>
                  </a:lnTo>
                  <a:lnTo>
                    <a:pt x="258" y="594"/>
                  </a:lnTo>
                  <a:lnTo>
                    <a:pt x="264" y="594"/>
                  </a:lnTo>
                  <a:lnTo>
                    <a:pt x="264" y="588"/>
                  </a:lnTo>
                  <a:lnTo>
                    <a:pt x="270" y="588"/>
                  </a:lnTo>
                  <a:lnTo>
                    <a:pt x="270" y="582"/>
                  </a:lnTo>
                  <a:lnTo>
                    <a:pt x="270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76" y="564"/>
                  </a:lnTo>
                  <a:lnTo>
                    <a:pt x="270" y="558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58"/>
                  </a:lnTo>
                  <a:lnTo>
                    <a:pt x="282" y="558"/>
                  </a:lnTo>
                  <a:lnTo>
                    <a:pt x="288" y="558"/>
                  </a:lnTo>
                  <a:lnTo>
                    <a:pt x="294" y="558"/>
                  </a:lnTo>
                  <a:lnTo>
                    <a:pt x="300" y="558"/>
                  </a:lnTo>
                  <a:lnTo>
                    <a:pt x="306" y="558"/>
                  </a:lnTo>
                  <a:lnTo>
                    <a:pt x="312" y="558"/>
                  </a:lnTo>
                  <a:lnTo>
                    <a:pt x="318" y="558"/>
                  </a:lnTo>
                  <a:lnTo>
                    <a:pt x="318" y="564"/>
                  </a:lnTo>
                  <a:lnTo>
                    <a:pt x="324" y="564"/>
                  </a:lnTo>
                  <a:lnTo>
                    <a:pt x="324" y="570"/>
                  </a:lnTo>
                  <a:lnTo>
                    <a:pt x="330" y="570"/>
                  </a:lnTo>
                  <a:lnTo>
                    <a:pt x="336" y="570"/>
                  </a:lnTo>
                  <a:lnTo>
                    <a:pt x="342" y="570"/>
                  </a:lnTo>
                  <a:lnTo>
                    <a:pt x="348" y="570"/>
                  </a:lnTo>
                  <a:lnTo>
                    <a:pt x="354" y="570"/>
                  </a:lnTo>
                  <a:lnTo>
                    <a:pt x="360" y="570"/>
                  </a:lnTo>
                  <a:lnTo>
                    <a:pt x="366" y="570"/>
                  </a:lnTo>
                  <a:lnTo>
                    <a:pt x="360" y="570"/>
                  </a:lnTo>
                  <a:lnTo>
                    <a:pt x="360" y="564"/>
                  </a:lnTo>
                  <a:lnTo>
                    <a:pt x="354" y="564"/>
                  </a:lnTo>
                  <a:lnTo>
                    <a:pt x="348" y="564"/>
                  </a:lnTo>
                  <a:lnTo>
                    <a:pt x="342" y="564"/>
                  </a:lnTo>
                  <a:lnTo>
                    <a:pt x="342" y="570"/>
                  </a:lnTo>
                  <a:lnTo>
                    <a:pt x="336" y="564"/>
                  </a:lnTo>
                  <a:lnTo>
                    <a:pt x="336" y="570"/>
                  </a:lnTo>
                  <a:lnTo>
                    <a:pt x="336" y="564"/>
                  </a:lnTo>
                  <a:lnTo>
                    <a:pt x="330" y="564"/>
                  </a:lnTo>
                  <a:lnTo>
                    <a:pt x="324" y="558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18" y="558"/>
                  </a:lnTo>
                  <a:lnTo>
                    <a:pt x="312" y="552"/>
                  </a:lnTo>
                  <a:lnTo>
                    <a:pt x="312" y="558"/>
                  </a:lnTo>
                  <a:lnTo>
                    <a:pt x="312" y="552"/>
                  </a:lnTo>
                  <a:lnTo>
                    <a:pt x="306" y="552"/>
                  </a:lnTo>
                  <a:lnTo>
                    <a:pt x="300" y="546"/>
                  </a:lnTo>
                  <a:lnTo>
                    <a:pt x="294" y="546"/>
                  </a:lnTo>
                  <a:lnTo>
                    <a:pt x="288" y="546"/>
                  </a:lnTo>
                  <a:lnTo>
                    <a:pt x="282" y="546"/>
                  </a:lnTo>
                  <a:lnTo>
                    <a:pt x="276" y="546"/>
                  </a:lnTo>
                  <a:lnTo>
                    <a:pt x="276" y="552"/>
                  </a:lnTo>
                  <a:lnTo>
                    <a:pt x="270" y="552"/>
                  </a:lnTo>
                  <a:lnTo>
                    <a:pt x="270" y="558"/>
                  </a:lnTo>
                  <a:lnTo>
                    <a:pt x="270" y="564"/>
                  </a:lnTo>
                  <a:lnTo>
                    <a:pt x="264" y="570"/>
                  </a:lnTo>
                  <a:lnTo>
                    <a:pt x="258" y="576"/>
                  </a:lnTo>
                  <a:lnTo>
                    <a:pt x="258" y="582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34" y="576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16" y="552"/>
                  </a:lnTo>
                  <a:lnTo>
                    <a:pt x="216" y="546"/>
                  </a:lnTo>
                  <a:lnTo>
                    <a:pt x="216" y="540"/>
                  </a:lnTo>
                  <a:lnTo>
                    <a:pt x="222" y="534"/>
                  </a:lnTo>
                  <a:lnTo>
                    <a:pt x="222" y="528"/>
                  </a:lnTo>
                  <a:lnTo>
                    <a:pt x="228" y="522"/>
                  </a:lnTo>
                  <a:lnTo>
                    <a:pt x="228" y="516"/>
                  </a:lnTo>
                  <a:lnTo>
                    <a:pt x="228" y="510"/>
                  </a:lnTo>
                  <a:lnTo>
                    <a:pt x="234" y="510"/>
                  </a:lnTo>
                  <a:lnTo>
                    <a:pt x="240" y="516"/>
                  </a:lnTo>
                  <a:lnTo>
                    <a:pt x="246" y="522"/>
                  </a:lnTo>
                  <a:lnTo>
                    <a:pt x="246" y="516"/>
                  </a:lnTo>
                  <a:lnTo>
                    <a:pt x="240" y="516"/>
                  </a:lnTo>
                  <a:lnTo>
                    <a:pt x="240" y="510"/>
                  </a:lnTo>
                  <a:lnTo>
                    <a:pt x="234" y="510"/>
                  </a:lnTo>
                  <a:lnTo>
                    <a:pt x="234" y="504"/>
                  </a:lnTo>
                  <a:lnTo>
                    <a:pt x="228" y="504"/>
                  </a:lnTo>
                  <a:lnTo>
                    <a:pt x="222" y="504"/>
                  </a:lnTo>
                  <a:lnTo>
                    <a:pt x="222" y="498"/>
                  </a:lnTo>
                  <a:lnTo>
                    <a:pt x="222" y="504"/>
                  </a:lnTo>
                  <a:lnTo>
                    <a:pt x="222" y="510"/>
                  </a:lnTo>
                  <a:lnTo>
                    <a:pt x="222" y="516"/>
                  </a:lnTo>
                  <a:lnTo>
                    <a:pt x="216" y="522"/>
                  </a:lnTo>
                  <a:lnTo>
                    <a:pt x="216" y="528"/>
                  </a:lnTo>
                  <a:lnTo>
                    <a:pt x="210" y="528"/>
                  </a:lnTo>
                  <a:lnTo>
                    <a:pt x="216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04" y="546"/>
                  </a:lnTo>
                  <a:lnTo>
                    <a:pt x="204" y="552"/>
                  </a:lnTo>
                  <a:lnTo>
                    <a:pt x="204" y="558"/>
                  </a:lnTo>
                  <a:lnTo>
                    <a:pt x="204" y="564"/>
                  </a:lnTo>
                  <a:lnTo>
                    <a:pt x="198" y="570"/>
                  </a:lnTo>
                  <a:lnTo>
                    <a:pt x="192" y="564"/>
                  </a:lnTo>
                  <a:lnTo>
                    <a:pt x="186" y="564"/>
                  </a:lnTo>
                  <a:lnTo>
                    <a:pt x="180" y="564"/>
                  </a:lnTo>
                  <a:lnTo>
                    <a:pt x="174" y="564"/>
                  </a:lnTo>
                  <a:lnTo>
                    <a:pt x="168" y="564"/>
                  </a:lnTo>
                  <a:lnTo>
                    <a:pt x="162" y="564"/>
                  </a:lnTo>
                  <a:lnTo>
                    <a:pt x="156" y="570"/>
                  </a:lnTo>
                  <a:lnTo>
                    <a:pt x="150" y="570"/>
                  </a:lnTo>
                  <a:lnTo>
                    <a:pt x="150" y="564"/>
                  </a:lnTo>
                  <a:lnTo>
                    <a:pt x="150" y="570"/>
                  </a:lnTo>
                  <a:lnTo>
                    <a:pt x="150" y="576"/>
                  </a:lnTo>
                  <a:lnTo>
                    <a:pt x="144" y="576"/>
                  </a:lnTo>
                  <a:lnTo>
                    <a:pt x="138" y="576"/>
                  </a:lnTo>
                  <a:lnTo>
                    <a:pt x="132" y="582"/>
                  </a:lnTo>
                  <a:lnTo>
                    <a:pt x="126" y="582"/>
                  </a:lnTo>
                  <a:lnTo>
                    <a:pt x="120" y="582"/>
                  </a:lnTo>
                  <a:lnTo>
                    <a:pt x="114" y="576"/>
                  </a:lnTo>
                  <a:lnTo>
                    <a:pt x="108" y="564"/>
                  </a:lnTo>
                  <a:lnTo>
                    <a:pt x="102" y="558"/>
                  </a:lnTo>
                  <a:lnTo>
                    <a:pt x="96" y="552"/>
                  </a:lnTo>
                  <a:lnTo>
                    <a:pt x="90" y="546"/>
                  </a:lnTo>
                  <a:lnTo>
                    <a:pt x="90" y="540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2"/>
                  </a:lnTo>
                  <a:lnTo>
                    <a:pt x="78" y="516"/>
                  </a:lnTo>
                  <a:lnTo>
                    <a:pt x="72" y="510"/>
                  </a:lnTo>
                  <a:lnTo>
                    <a:pt x="66" y="504"/>
                  </a:lnTo>
                  <a:lnTo>
                    <a:pt x="66" y="498"/>
                  </a:lnTo>
                  <a:lnTo>
                    <a:pt x="66" y="492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6" y="474"/>
                  </a:lnTo>
                  <a:lnTo>
                    <a:pt x="72" y="474"/>
                  </a:lnTo>
                  <a:lnTo>
                    <a:pt x="72" y="468"/>
                  </a:lnTo>
                  <a:lnTo>
                    <a:pt x="78" y="462"/>
                  </a:lnTo>
                  <a:lnTo>
                    <a:pt x="78" y="456"/>
                  </a:lnTo>
                  <a:lnTo>
                    <a:pt x="84" y="456"/>
                  </a:lnTo>
                  <a:lnTo>
                    <a:pt x="84" y="450"/>
                  </a:lnTo>
                  <a:lnTo>
                    <a:pt x="84" y="444"/>
                  </a:lnTo>
                  <a:lnTo>
                    <a:pt x="90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02" y="450"/>
                  </a:lnTo>
                  <a:lnTo>
                    <a:pt x="108" y="450"/>
                  </a:lnTo>
                  <a:lnTo>
                    <a:pt x="108" y="456"/>
                  </a:lnTo>
                  <a:lnTo>
                    <a:pt x="108" y="462"/>
                  </a:lnTo>
                  <a:lnTo>
                    <a:pt x="114" y="462"/>
                  </a:lnTo>
                  <a:lnTo>
                    <a:pt x="114" y="468"/>
                  </a:lnTo>
                  <a:lnTo>
                    <a:pt x="114" y="474"/>
                  </a:lnTo>
                  <a:lnTo>
                    <a:pt x="114" y="480"/>
                  </a:lnTo>
                  <a:lnTo>
                    <a:pt x="114" y="486"/>
                  </a:lnTo>
                  <a:lnTo>
                    <a:pt x="120" y="486"/>
                  </a:lnTo>
                  <a:lnTo>
                    <a:pt x="126" y="486"/>
                  </a:lnTo>
                  <a:lnTo>
                    <a:pt x="132" y="486"/>
                  </a:lnTo>
                  <a:lnTo>
                    <a:pt x="126" y="480"/>
                  </a:lnTo>
                  <a:lnTo>
                    <a:pt x="120" y="480"/>
                  </a:lnTo>
                  <a:lnTo>
                    <a:pt x="114" y="480"/>
                  </a:lnTo>
                  <a:lnTo>
                    <a:pt x="120" y="480"/>
                  </a:lnTo>
                  <a:lnTo>
                    <a:pt x="120" y="474"/>
                  </a:lnTo>
                  <a:lnTo>
                    <a:pt x="120" y="468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108" y="450"/>
                  </a:lnTo>
                  <a:lnTo>
                    <a:pt x="108" y="444"/>
                  </a:lnTo>
                  <a:lnTo>
                    <a:pt x="114" y="438"/>
                  </a:lnTo>
                  <a:lnTo>
                    <a:pt x="120" y="438"/>
                  </a:lnTo>
                  <a:lnTo>
                    <a:pt x="120" y="432"/>
                  </a:lnTo>
                  <a:lnTo>
                    <a:pt x="132" y="426"/>
                  </a:lnTo>
                  <a:lnTo>
                    <a:pt x="138" y="420"/>
                  </a:lnTo>
                  <a:lnTo>
                    <a:pt x="144" y="420"/>
                  </a:lnTo>
                  <a:lnTo>
                    <a:pt x="144" y="414"/>
                  </a:lnTo>
                  <a:lnTo>
                    <a:pt x="144" y="420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6" y="414"/>
                  </a:lnTo>
                  <a:lnTo>
                    <a:pt x="162" y="414"/>
                  </a:lnTo>
                  <a:lnTo>
                    <a:pt x="162" y="408"/>
                  </a:lnTo>
                  <a:lnTo>
                    <a:pt x="168" y="408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86" y="396"/>
                  </a:lnTo>
                  <a:lnTo>
                    <a:pt x="186" y="390"/>
                  </a:lnTo>
                  <a:lnTo>
                    <a:pt x="192" y="390"/>
                  </a:lnTo>
                  <a:lnTo>
                    <a:pt x="198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210" y="378"/>
                  </a:lnTo>
                  <a:lnTo>
                    <a:pt x="210" y="372"/>
                  </a:lnTo>
                  <a:lnTo>
                    <a:pt x="216" y="372"/>
                  </a:lnTo>
                  <a:lnTo>
                    <a:pt x="222" y="366"/>
                  </a:lnTo>
                  <a:lnTo>
                    <a:pt x="228" y="360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6" y="348"/>
                  </a:lnTo>
                  <a:lnTo>
                    <a:pt x="252" y="348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0" y="342"/>
                  </a:lnTo>
                  <a:lnTo>
                    <a:pt x="234" y="342"/>
                  </a:lnTo>
                  <a:lnTo>
                    <a:pt x="228" y="336"/>
                  </a:lnTo>
                  <a:lnTo>
                    <a:pt x="222" y="336"/>
                  </a:lnTo>
                  <a:lnTo>
                    <a:pt x="216" y="336"/>
                  </a:lnTo>
                  <a:lnTo>
                    <a:pt x="222" y="324"/>
                  </a:lnTo>
                  <a:lnTo>
                    <a:pt x="222" y="318"/>
                  </a:lnTo>
                  <a:lnTo>
                    <a:pt x="222" y="312"/>
                  </a:lnTo>
                  <a:lnTo>
                    <a:pt x="234" y="318"/>
                  </a:lnTo>
                  <a:lnTo>
                    <a:pt x="246" y="318"/>
                  </a:lnTo>
                  <a:lnTo>
                    <a:pt x="258" y="318"/>
                  </a:lnTo>
                  <a:lnTo>
                    <a:pt x="270" y="312"/>
                  </a:lnTo>
                  <a:lnTo>
                    <a:pt x="276" y="312"/>
                  </a:lnTo>
                  <a:lnTo>
                    <a:pt x="288" y="324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94" y="306"/>
                  </a:lnTo>
                  <a:lnTo>
                    <a:pt x="300" y="300"/>
                  </a:lnTo>
                  <a:lnTo>
                    <a:pt x="306" y="306"/>
                  </a:lnTo>
                  <a:lnTo>
                    <a:pt x="312" y="318"/>
                  </a:lnTo>
                  <a:lnTo>
                    <a:pt x="318" y="312"/>
                  </a:lnTo>
                  <a:lnTo>
                    <a:pt x="324" y="312"/>
                  </a:lnTo>
                  <a:lnTo>
                    <a:pt x="330" y="312"/>
                  </a:lnTo>
                  <a:lnTo>
                    <a:pt x="342" y="306"/>
                  </a:lnTo>
                  <a:lnTo>
                    <a:pt x="348" y="306"/>
                  </a:lnTo>
                  <a:lnTo>
                    <a:pt x="348" y="312"/>
                  </a:lnTo>
                  <a:lnTo>
                    <a:pt x="348" y="318"/>
                  </a:lnTo>
                  <a:lnTo>
                    <a:pt x="354" y="318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60" y="336"/>
                  </a:lnTo>
                  <a:lnTo>
                    <a:pt x="366" y="330"/>
                  </a:lnTo>
                  <a:lnTo>
                    <a:pt x="378" y="324"/>
                  </a:lnTo>
                  <a:lnTo>
                    <a:pt x="384" y="324"/>
                  </a:lnTo>
                  <a:lnTo>
                    <a:pt x="384" y="318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6"/>
                  </a:lnTo>
                  <a:lnTo>
                    <a:pt x="402" y="306"/>
                  </a:lnTo>
                  <a:lnTo>
                    <a:pt x="408" y="306"/>
                  </a:lnTo>
                  <a:lnTo>
                    <a:pt x="414" y="300"/>
                  </a:lnTo>
                  <a:lnTo>
                    <a:pt x="420" y="300"/>
                  </a:lnTo>
                  <a:lnTo>
                    <a:pt x="426" y="300"/>
                  </a:lnTo>
                  <a:lnTo>
                    <a:pt x="432" y="300"/>
                  </a:lnTo>
                  <a:lnTo>
                    <a:pt x="444" y="288"/>
                  </a:lnTo>
                  <a:lnTo>
                    <a:pt x="450" y="294"/>
                  </a:lnTo>
                  <a:lnTo>
                    <a:pt x="468" y="300"/>
                  </a:lnTo>
                  <a:lnTo>
                    <a:pt x="498" y="312"/>
                  </a:lnTo>
                  <a:lnTo>
                    <a:pt x="504" y="324"/>
                  </a:lnTo>
                  <a:lnTo>
                    <a:pt x="516" y="330"/>
                  </a:lnTo>
                  <a:lnTo>
                    <a:pt x="516" y="336"/>
                  </a:lnTo>
                  <a:lnTo>
                    <a:pt x="540" y="342"/>
                  </a:lnTo>
                  <a:lnTo>
                    <a:pt x="558" y="372"/>
                  </a:lnTo>
                  <a:lnTo>
                    <a:pt x="594" y="384"/>
                  </a:lnTo>
                  <a:lnTo>
                    <a:pt x="606" y="402"/>
                  </a:lnTo>
                  <a:lnTo>
                    <a:pt x="600" y="420"/>
                  </a:lnTo>
                  <a:lnTo>
                    <a:pt x="588" y="444"/>
                  </a:lnTo>
                  <a:lnTo>
                    <a:pt x="588" y="450"/>
                  </a:lnTo>
                  <a:lnTo>
                    <a:pt x="588" y="456"/>
                  </a:lnTo>
                  <a:lnTo>
                    <a:pt x="594" y="456"/>
                  </a:lnTo>
                  <a:lnTo>
                    <a:pt x="594" y="462"/>
                  </a:lnTo>
                  <a:lnTo>
                    <a:pt x="594" y="468"/>
                  </a:lnTo>
                  <a:lnTo>
                    <a:pt x="594" y="474"/>
                  </a:lnTo>
                  <a:lnTo>
                    <a:pt x="600" y="474"/>
                  </a:lnTo>
                  <a:lnTo>
                    <a:pt x="606" y="480"/>
                  </a:lnTo>
                  <a:lnTo>
                    <a:pt x="606" y="486"/>
                  </a:lnTo>
                  <a:lnTo>
                    <a:pt x="612" y="486"/>
                  </a:lnTo>
                  <a:lnTo>
                    <a:pt x="618" y="486"/>
                  </a:lnTo>
                  <a:lnTo>
                    <a:pt x="624" y="486"/>
                  </a:lnTo>
                  <a:lnTo>
                    <a:pt x="636" y="486"/>
                  </a:lnTo>
                  <a:lnTo>
                    <a:pt x="642" y="486"/>
                  </a:lnTo>
                  <a:lnTo>
                    <a:pt x="648" y="480"/>
                  </a:lnTo>
                  <a:lnTo>
                    <a:pt x="654" y="474"/>
                  </a:lnTo>
                  <a:lnTo>
                    <a:pt x="660" y="468"/>
                  </a:lnTo>
                  <a:lnTo>
                    <a:pt x="666" y="468"/>
                  </a:lnTo>
                  <a:lnTo>
                    <a:pt x="684" y="468"/>
                  </a:lnTo>
                  <a:lnTo>
                    <a:pt x="696" y="468"/>
                  </a:lnTo>
                  <a:lnTo>
                    <a:pt x="696" y="462"/>
                  </a:lnTo>
                  <a:lnTo>
                    <a:pt x="702" y="456"/>
                  </a:lnTo>
                  <a:lnTo>
                    <a:pt x="708" y="450"/>
                  </a:lnTo>
                  <a:lnTo>
                    <a:pt x="714" y="450"/>
                  </a:lnTo>
                  <a:lnTo>
                    <a:pt x="720" y="450"/>
                  </a:lnTo>
                  <a:lnTo>
                    <a:pt x="720" y="438"/>
                  </a:lnTo>
                  <a:lnTo>
                    <a:pt x="726" y="432"/>
                  </a:lnTo>
                  <a:lnTo>
                    <a:pt x="738" y="420"/>
                  </a:lnTo>
                  <a:lnTo>
                    <a:pt x="744" y="420"/>
                  </a:lnTo>
                  <a:lnTo>
                    <a:pt x="750" y="414"/>
                  </a:lnTo>
                  <a:lnTo>
                    <a:pt x="762" y="408"/>
                  </a:lnTo>
                  <a:lnTo>
                    <a:pt x="768" y="408"/>
                  </a:lnTo>
                  <a:lnTo>
                    <a:pt x="768" y="402"/>
                  </a:lnTo>
                  <a:lnTo>
                    <a:pt x="780" y="396"/>
                  </a:lnTo>
                  <a:lnTo>
                    <a:pt x="786" y="396"/>
                  </a:lnTo>
                  <a:lnTo>
                    <a:pt x="786" y="390"/>
                  </a:lnTo>
                  <a:lnTo>
                    <a:pt x="792" y="384"/>
                  </a:lnTo>
                  <a:lnTo>
                    <a:pt x="792" y="378"/>
                  </a:lnTo>
                  <a:lnTo>
                    <a:pt x="798" y="366"/>
                  </a:lnTo>
                  <a:lnTo>
                    <a:pt x="804" y="360"/>
                  </a:lnTo>
                  <a:lnTo>
                    <a:pt x="816" y="342"/>
                  </a:lnTo>
                  <a:lnTo>
                    <a:pt x="816" y="312"/>
                  </a:lnTo>
                  <a:lnTo>
                    <a:pt x="804" y="300"/>
                  </a:lnTo>
                  <a:lnTo>
                    <a:pt x="798" y="288"/>
                  </a:lnTo>
                  <a:lnTo>
                    <a:pt x="762" y="264"/>
                  </a:lnTo>
                  <a:lnTo>
                    <a:pt x="738" y="234"/>
                  </a:lnTo>
                  <a:lnTo>
                    <a:pt x="738" y="222"/>
                  </a:lnTo>
                  <a:lnTo>
                    <a:pt x="744" y="210"/>
                  </a:lnTo>
                  <a:lnTo>
                    <a:pt x="732" y="174"/>
                  </a:lnTo>
                  <a:lnTo>
                    <a:pt x="714" y="156"/>
                  </a:lnTo>
                  <a:lnTo>
                    <a:pt x="708" y="144"/>
                  </a:lnTo>
                  <a:lnTo>
                    <a:pt x="714" y="126"/>
                  </a:lnTo>
                  <a:lnTo>
                    <a:pt x="720" y="114"/>
                  </a:lnTo>
                  <a:lnTo>
                    <a:pt x="732" y="102"/>
                  </a:lnTo>
                  <a:lnTo>
                    <a:pt x="744" y="102"/>
                  </a:lnTo>
                  <a:lnTo>
                    <a:pt x="762" y="108"/>
                  </a:lnTo>
                  <a:lnTo>
                    <a:pt x="774" y="114"/>
                  </a:lnTo>
                  <a:lnTo>
                    <a:pt x="780" y="138"/>
                  </a:lnTo>
                  <a:lnTo>
                    <a:pt x="786" y="144"/>
                  </a:lnTo>
                  <a:lnTo>
                    <a:pt x="798" y="138"/>
                  </a:lnTo>
                  <a:lnTo>
                    <a:pt x="804" y="132"/>
                  </a:lnTo>
                  <a:lnTo>
                    <a:pt x="816" y="120"/>
                  </a:lnTo>
                  <a:lnTo>
                    <a:pt x="816" y="108"/>
                  </a:lnTo>
                  <a:lnTo>
                    <a:pt x="828" y="102"/>
                  </a:lnTo>
                  <a:lnTo>
                    <a:pt x="828" y="96"/>
                  </a:lnTo>
                  <a:lnTo>
                    <a:pt x="840" y="96"/>
                  </a:lnTo>
                  <a:lnTo>
                    <a:pt x="840" y="84"/>
                  </a:lnTo>
                  <a:lnTo>
                    <a:pt x="852" y="90"/>
                  </a:lnTo>
                  <a:lnTo>
                    <a:pt x="852" y="96"/>
                  </a:lnTo>
                  <a:lnTo>
                    <a:pt x="870" y="90"/>
                  </a:lnTo>
                  <a:lnTo>
                    <a:pt x="894" y="78"/>
                  </a:lnTo>
                  <a:lnTo>
                    <a:pt x="912" y="78"/>
                  </a:lnTo>
                  <a:lnTo>
                    <a:pt x="942" y="66"/>
                  </a:lnTo>
                  <a:lnTo>
                    <a:pt x="942" y="60"/>
                  </a:lnTo>
                  <a:lnTo>
                    <a:pt x="954" y="48"/>
                  </a:lnTo>
                  <a:lnTo>
                    <a:pt x="966" y="30"/>
                  </a:lnTo>
                  <a:lnTo>
                    <a:pt x="978" y="30"/>
                  </a:lnTo>
                  <a:lnTo>
                    <a:pt x="978" y="24"/>
                  </a:lnTo>
                  <a:lnTo>
                    <a:pt x="984" y="12"/>
                  </a:lnTo>
                  <a:lnTo>
                    <a:pt x="990" y="12"/>
                  </a:lnTo>
                  <a:lnTo>
                    <a:pt x="996" y="12"/>
                  </a:lnTo>
                  <a:lnTo>
                    <a:pt x="1014" y="6"/>
                  </a:lnTo>
                  <a:lnTo>
                    <a:pt x="1026" y="6"/>
                  </a:lnTo>
                  <a:lnTo>
                    <a:pt x="1044" y="6"/>
                  </a:lnTo>
                  <a:lnTo>
                    <a:pt x="1050" y="6"/>
                  </a:lnTo>
                  <a:lnTo>
                    <a:pt x="1056" y="6"/>
                  </a:lnTo>
                  <a:lnTo>
                    <a:pt x="1062" y="6"/>
                  </a:lnTo>
                  <a:lnTo>
                    <a:pt x="1068" y="6"/>
                  </a:lnTo>
                  <a:lnTo>
                    <a:pt x="1074" y="6"/>
                  </a:lnTo>
                  <a:lnTo>
                    <a:pt x="1080" y="6"/>
                  </a:lnTo>
                  <a:lnTo>
                    <a:pt x="1086" y="0"/>
                  </a:lnTo>
                  <a:lnTo>
                    <a:pt x="1092" y="30"/>
                  </a:lnTo>
                  <a:lnTo>
                    <a:pt x="1098" y="60"/>
                  </a:lnTo>
                  <a:lnTo>
                    <a:pt x="1110" y="84"/>
                  </a:lnTo>
                  <a:lnTo>
                    <a:pt x="1122" y="114"/>
                  </a:lnTo>
                  <a:lnTo>
                    <a:pt x="1128" y="144"/>
                  </a:lnTo>
                  <a:lnTo>
                    <a:pt x="1122" y="156"/>
                  </a:lnTo>
                  <a:lnTo>
                    <a:pt x="1128" y="168"/>
                  </a:lnTo>
                  <a:lnTo>
                    <a:pt x="1134" y="186"/>
                  </a:lnTo>
                  <a:lnTo>
                    <a:pt x="1140" y="204"/>
                  </a:lnTo>
                  <a:lnTo>
                    <a:pt x="1146" y="210"/>
                  </a:lnTo>
                  <a:lnTo>
                    <a:pt x="1146" y="216"/>
                  </a:lnTo>
                  <a:lnTo>
                    <a:pt x="1146" y="228"/>
                  </a:lnTo>
                  <a:lnTo>
                    <a:pt x="1146" y="234"/>
                  </a:lnTo>
                  <a:lnTo>
                    <a:pt x="1140" y="246"/>
                  </a:lnTo>
                  <a:lnTo>
                    <a:pt x="1128" y="258"/>
                  </a:lnTo>
                  <a:lnTo>
                    <a:pt x="1116" y="264"/>
                  </a:lnTo>
                  <a:lnTo>
                    <a:pt x="1110" y="276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2" y="312"/>
                  </a:lnTo>
                  <a:lnTo>
                    <a:pt x="1116" y="324"/>
                  </a:lnTo>
                  <a:lnTo>
                    <a:pt x="1104" y="336"/>
                  </a:lnTo>
                  <a:lnTo>
                    <a:pt x="1104" y="354"/>
                  </a:lnTo>
                  <a:lnTo>
                    <a:pt x="1098" y="372"/>
                  </a:lnTo>
                  <a:lnTo>
                    <a:pt x="1092" y="384"/>
                  </a:lnTo>
                  <a:lnTo>
                    <a:pt x="1086" y="390"/>
                  </a:lnTo>
                  <a:lnTo>
                    <a:pt x="1086" y="402"/>
                  </a:lnTo>
                  <a:lnTo>
                    <a:pt x="1080" y="414"/>
                  </a:lnTo>
                  <a:lnTo>
                    <a:pt x="1074" y="426"/>
                  </a:lnTo>
                  <a:lnTo>
                    <a:pt x="1074" y="450"/>
                  </a:lnTo>
                  <a:lnTo>
                    <a:pt x="1074" y="462"/>
                  </a:lnTo>
                  <a:lnTo>
                    <a:pt x="1068" y="474"/>
                  </a:lnTo>
                  <a:lnTo>
                    <a:pt x="1062" y="486"/>
                  </a:lnTo>
                  <a:lnTo>
                    <a:pt x="1056" y="498"/>
                  </a:lnTo>
                  <a:close/>
                  <a:moveTo>
                    <a:pt x="186" y="378"/>
                  </a:moveTo>
                  <a:lnTo>
                    <a:pt x="186" y="384"/>
                  </a:lnTo>
                  <a:lnTo>
                    <a:pt x="180" y="390"/>
                  </a:lnTo>
                  <a:lnTo>
                    <a:pt x="174" y="396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14"/>
                  </a:lnTo>
                  <a:lnTo>
                    <a:pt x="126" y="414"/>
                  </a:lnTo>
                  <a:lnTo>
                    <a:pt x="120" y="414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2" y="426"/>
                  </a:lnTo>
                  <a:lnTo>
                    <a:pt x="102" y="432"/>
                  </a:lnTo>
                  <a:lnTo>
                    <a:pt x="96" y="432"/>
                  </a:lnTo>
                  <a:lnTo>
                    <a:pt x="90" y="432"/>
                  </a:lnTo>
                  <a:lnTo>
                    <a:pt x="84" y="438"/>
                  </a:lnTo>
                  <a:lnTo>
                    <a:pt x="78" y="438"/>
                  </a:lnTo>
                  <a:lnTo>
                    <a:pt x="78" y="444"/>
                  </a:lnTo>
                  <a:lnTo>
                    <a:pt x="72" y="444"/>
                  </a:lnTo>
                  <a:lnTo>
                    <a:pt x="72" y="450"/>
                  </a:lnTo>
                  <a:lnTo>
                    <a:pt x="66" y="456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48" y="468"/>
                  </a:lnTo>
                  <a:lnTo>
                    <a:pt x="42" y="468"/>
                  </a:lnTo>
                  <a:lnTo>
                    <a:pt x="42" y="462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8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0" y="396"/>
                  </a:lnTo>
                  <a:lnTo>
                    <a:pt x="6" y="384"/>
                  </a:lnTo>
                  <a:lnTo>
                    <a:pt x="18" y="372"/>
                  </a:lnTo>
                  <a:lnTo>
                    <a:pt x="30" y="348"/>
                  </a:lnTo>
                  <a:lnTo>
                    <a:pt x="30" y="342"/>
                  </a:lnTo>
                  <a:lnTo>
                    <a:pt x="42" y="330"/>
                  </a:lnTo>
                  <a:lnTo>
                    <a:pt x="42" y="324"/>
                  </a:lnTo>
                  <a:lnTo>
                    <a:pt x="48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60" y="282"/>
                  </a:lnTo>
                  <a:lnTo>
                    <a:pt x="60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2" y="258"/>
                  </a:lnTo>
                  <a:lnTo>
                    <a:pt x="84" y="246"/>
                  </a:lnTo>
                  <a:lnTo>
                    <a:pt x="90" y="234"/>
                  </a:lnTo>
                  <a:lnTo>
                    <a:pt x="96" y="234"/>
                  </a:lnTo>
                  <a:lnTo>
                    <a:pt x="96" y="228"/>
                  </a:lnTo>
                  <a:lnTo>
                    <a:pt x="102" y="222"/>
                  </a:lnTo>
                  <a:lnTo>
                    <a:pt x="102" y="228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14" y="228"/>
                  </a:lnTo>
                  <a:lnTo>
                    <a:pt x="114" y="234"/>
                  </a:lnTo>
                  <a:lnTo>
                    <a:pt x="120" y="228"/>
                  </a:lnTo>
                  <a:lnTo>
                    <a:pt x="120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26" y="228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8" y="234"/>
                  </a:lnTo>
                  <a:lnTo>
                    <a:pt x="144" y="234"/>
                  </a:lnTo>
                  <a:lnTo>
                    <a:pt x="144" y="228"/>
                  </a:lnTo>
                  <a:lnTo>
                    <a:pt x="150" y="228"/>
                  </a:lnTo>
                  <a:lnTo>
                    <a:pt x="156" y="228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46"/>
                  </a:lnTo>
                  <a:lnTo>
                    <a:pt x="162" y="240"/>
                  </a:lnTo>
                  <a:lnTo>
                    <a:pt x="162" y="246"/>
                  </a:lnTo>
                  <a:lnTo>
                    <a:pt x="162" y="258"/>
                  </a:lnTo>
                  <a:lnTo>
                    <a:pt x="162" y="264"/>
                  </a:lnTo>
                  <a:lnTo>
                    <a:pt x="156" y="270"/>
                  </a:lnTo>
                  <a:lnTo>
                    <a:pt x="162" y="270"/>
                  </a:lnTo>
                  <a:lnTo>
                    <a:pt x="162" y="282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86" y="288"/>
                  </a:lnTo>
                  <a:lnTo>
                    <a:pt x="186" y="294"/>
                  </a:lnTo>
                  <a:lnTo>
                    <a:pt x="180" y="300"/>
                  </a:lnTo>
                  <a:lnTo>
                    <a:pt x="174" y="318"/>
                  </a:lnTo>
                  <a:lnTo>
                    <a:pt x="174" y="324"/>
                  </a:lnTo>
                  <a:lnTo>
                    <a:pt x="168" y="330"/>
                  </a:lnTo>
                  <a:lnTo>
                    <a:pt x="168" y="342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74" y="360"/>
                  </a:lnTo>
                  <a:lnTo>
                    <a:pt x="180" y="366"/>
                  </a:lnTo>
                  <a:lnTo>
                    <a:pt x="186" y="3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8" name="Freeform 23">
              <a:extLst>
                <a:ext uri="{FF2B5EF4-FFF2-40B4-BE49-F238E27FC236}">
                  <a16:creationId xmlns:a16="http://schemas.microsoft.com/office/drawing/2014/main" id="{A539A33E-3F6E-4AF7-BD88-1853165307F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6312" y="3604793"/>
              <a:ext cx="581410" cy="621747"/>
            </a:xfrm>
            <a:custGeom>
              <a:avLst/>
              <a:gdLst>
                <a:gd name="T0" fmla="*/ 90 w 1092"/>
                <a:gd name="T1" fmla="*/ 60 h 1170"/>
                <a:gd name="T2" fmla="*/ 83 w 1092"/>
                <a:gd name="T3" fmla="*/ 62 h 1170"/>
                <a:gd name="T4" fmla="*/ 72 w 1092"/>
                <a:gd name="T5" fmla="*/ 68 h 1170"/>
                <a:gd name="T6" fmla="*/ 68 w 1092"/>
                <a:gd name="T7" fmla="*/ 71 h 1170"/>
                <a:gd name="T8" fmla="*/ 61 w 1092"/>
                <a:gd name="T9" fmla="*/ 69 h 1170"/>
                <a:gd name="T10" fmla="*/ 64 w 1092"/>
                <a:gd name="T11" fmla="*/ 82 h 1170"/>
                <a:gd name="T12" fmla="*/ 67 w 1092"/>
                <a:gd name="T13" fmla="*/ 93 h 1170"/>
                <a:gd name="T14" fmla="*/ 62 w 1092"/>
                <a:gd name="T15" fmla="*/ 96 h 1170"/>
                <a:gd name="T16" fmla="*/ 59 w 1092"/>
                <a:gd name="T17" fmla="*/ 99 h 1170"/>
                <a:gd name="T18" fmla="*/ 53 w 1092"/>
                <a:gd name="T19" fmla="*/ 101 h 1170"/>
                <a:gd name="T20" fmla="*/ 50 w 1092"/>
                <a:gd name="T21" fmla="*/ 100 h 1170"/>
                <a:gd name="T22" fmla="*/ 50 w 1092"/>
                <a:gd name="T23" fmla="*/ 93 h 1170"/>
                <a:gd name="T24" fmla="*/ 37 w 1092"/>
                <a:gd name="T25" fmla="*/ 85 h 1170"/>
                <a:gd name="T26" fmla="*/ 32 w 1092"/>
                <a:gd name="T27" fmla="*/ 86 h 1170"/>
                <a:gd name="T28" fmla="*/ 29 w 1092"/>
                <a:gd name="T29" fmla="*/ 88 h 1170"/>
                <a:gd name="T30" fmla="*/ 27 w 1092"/>
                <a:gd name="T31" fmla="*/ 86 h 1170"/>
                <a:gd name="T32" fmla="*/ 23 w 1092"/>
                <a:gd name="T33" fmla="*/ 87 h 1170"/>
                <a:gd name="T34" fmla="*/ 17 w 1092"/>
                <a:gd name="T35" fmla="*/ 87 h 1170"/>
                <a:gd name="T36" fmla="*/ 18 w 1092"/>
                <a:gd name="T37" fmla="*/ 89 h 1170"/>
                <a:gd name="T38" fmla="*/ 16 w 1092"/>
                <a:gd name="T39" fmla="*/ 92 h 1170"/>
                <a:gd name="T40" fmla="*/ 12 w 1092"/>
                <a:gd name="T41" fmla="*/ 89 h 1170"/>
                <a:gd name="T42" fmla="*/ 13 w 1092"/>
                <a:gd name="T43" fmla="*/ 84 h 1170"/>
                <a:gd name="T44" fmla="*/ 12 w 1092"/>
                <a:gd name="T45" fmla="*/ 80 h 1170"/>
                <a:gd name="T46" fmla="*/ 10 w 1092"/>
                <a:gd name="T47" fmla="*/ 80 h 1170"/>
                <a:gd name="T48" fmla="*/ 8 w 1092"/>
                <a:gd name="T49" fmla="*/ 79 h 1170"/>
                <a:gd name="T50" fmla="*/ 6 w 1092"/>
                <a:gd name="T51" fmla="*/ 78 h 1170"/>
                <a:gd name="T52" fmla="*/ 6 w 1092"/>
                <a:gd name="T53" fmla="*/ 77 h 1170"/>
                <a:gd name="T54" fmla="*/ 4 w 1092"/>
                <a:gd name="T55" fmla="*/ 75 h 1170"/>
                <a:gd name="T56" fmla="*/ 0 w 1092"/>
                <a:gd name="T57" fmla="*/ 72 h 1170"/>
                <a:gd name="T58" fmla="*/ 0 w 1092"/>
                <a:gd name="T59" fmla="*/ 69 h 1170"/>
                <a:gd name="T60" fmla="*/ 3 w 1092"/>
                <a:gd name="T61" fmla="*/ 67 h 1170"/>
                <a:gd name="T62" fmla="*/ 6 w 1092"/>
                <a:gd name="T63" fmla="*/ 62 h 1170"/>
                <a:gd name="T64" fmla="*/ 8 w 1092"/>
                <a:gd name="T65" fmla="*/ 58 h 1170"/>
                <a:gd name="T66" fmla="*/ 5 w 1092"/>
                <a:gd name="T67" fmla="*/ 54 h 1170"/>
                <a:gd name="T68" fmla="*/ 6 w 1092"/>
                <a:gd name="T69" fmla="*/ 50 h 1170"/>
                <a:gd name="T70" fmla="*/ 8 w 1092"/>
                <a:gd name="T71" fmla="*/ 46 h 1170"/>
                <a:gd name="T72" fmla="*/ 10 w 1092"/>
                <a:gd name="T73" fmla="*/ 43 h 1170"/>
                <a:gd name="T74" fmla="*/ 14 w 1092"/>
                <a:gd name="T75" fmla="*/ 38 h 1170"/>
                <a:gd name="T76" fmla="*/ 31 w 1092"/>
                <a:gd name="T77" fmla="*/ 40 h 1170"/>
                <a:gd name="T78" fmla="*/ 30 w 1092"/>
                <a:gd name="T79" fmla="*/ 46 h 1170"/>
                <a:gd name="T80" fmla="*/ 36 w 1092"/>
                <a:gd name="T81" fmla="*/ 47 h 1170"/>
                <a:gd name="T82" fmla="*/ 41 w 1092"/>
                <a:gd name="T83" fmla="*/ 44 h 1170"/>
                <a:gd name="T84" fmla="*/ 43 w 1092"/>
                <a:gd name="T85" fmla="*/ 39 h 1170"/>
                <a:gd name="T86" fmla="*/ 44 w 1092"/>
                <a:gd name="T87" fmla="*/ 35 h 1170"/>
                <a:gd name="T88" fmla="*/ 44 w 1092"/>
                <a:gd name="T89" fmla="*/ 29 h 1170"/>
                <a:gd name="T90" fmla="*/ 48 w 1092"/>
                <a:gd name="T91" fmla="*/ 24 h 1170"/>
                <a:gd name="T92" fmla="*/ 49 w 1092"/>
                <a:gd name="T93" fmla="*/ 19 h 1170"/>
                <a:gd name="T94" fmla="*/ 51 w 1092"/>
                <a:gd name="T95" fmla="*/ 14 h 1170"/>
                <a:gd name="T96" fmla="*/ 54 w 1092"/>
                <a:gd name="T97" fmla="*/ 10 h 1170"/>
                <a:gd name="T98" fmla="*/ 53 w 1092"/>
                <a:gd name="T99" fmla="*/ 7 h 1170"/>
                <a:gd name="T100" fmla="*/ 55 w 1092"/>
                <a:gd name="T101" fmla="*/ 3 h 1170"/>
                <a:gd name="T102" fmla="*/ 58 w 1092"/>
                <a:gd name="T103" fmla="*/ 0 h 1170"/>
                <a:gd name="T104" fmla="*/ 65 w 1092"/>
                <a:gd name="T105" fmla="*/ 2 h 1170"/>
                <a:gd name="T106" fmla="*/ 61 w 1092"/>
                <a:gd name="T107" fmla="*/ 6 h 1170"/>
                <a:gd name="T108" fmla="*/ 67 w 1092"/>
                <a:gd name="T109" fmla="*/ 7 h 1170"/>
                <a:gd name="T110" fmla="*/ 71 w 1092"/>
                <a:gd name="T111" fmla="*/ 6 h 1170"/>
                <a:gd name="T112" fmla="*/ 75 w 1092"/>
                <a:gd name="T113" fmla="*/ 9 h 1170"/>
                <a:gd name="T114" fmla="*/ 82 w 1092"/>
                <a:gd name="T115" fmla="*/ 12 h 1170"/>
                <a:gd name="T116" fmla="*/ 84 w 1092"/>
                <a:gd name="T117" fmla="*/ 17 h 1170"/>
                <a:gd name="T118" fmla="*/ 94 w 1092"/>
                <a:gd name="T119" fmla="*/ 23 h 1170"/>
                <a:gd name="T120" fmla="*/ 94 w 1092"/>
                <a:gd name="T121" fmla="*/ 34 h 1170"/>
                <a:gd name="T122" fmla="*/ 90 w 1092"/>
                <a:gd name="T123" fmla="*/ 41 h 1170"/>
                <a:gd name="T124" fmla="*/ 91 w 1092"/>
                <a:gd name="T125" fmla="*/ 51 h 11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92"/>
                <a:gd name="T190" fmla="*/ 0 h 1170"/>
                <a:gd name="T191" fmla="*/ 1092 w 1092"/>
                <a:gd name="T192" fmla="*/ 1170 h 117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92" h="1170">
                  <a:moveTo>
                    <a:pt x="1056" y="654"/>
                  </a:moveTo>
                  <a:lnTo>
                    <a:pt x="1062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0"/>
                  </a:lnTo>
                  <a:lnTo>
                    <a:pt x="1038" y="690"/>
                  </a:lnTo>
                  <a:lnTo>
                    <a:pt x="1032" y="690"/>
                  </a:lnTo>
                  <a:lnTo>
                    <a:pt x="1026" y="690"/>
                  </a:lnTo>
                  <a:lnTo>
                    <a:pt x="1020" y="690"/>
                  </a:lnTo>
                  <a:lnTo>
                    <a:pt x="1002" y="690"/>
                  </a:lnTo>
                  <a:lnTo>
                    <a:pt x="990" y="690"/>
                  </a:lnTo>
                  <a:lnTo>
                    <a:pt x="972" y="696"/>
                  </a:lnTo>
                  <a:lnTo>
                    <a:pt x="966" y="696"/>
                  </a:lnTo>
                  <a:lnTo>
                    <a:pt x="960" y="696"/>
                  </a:lnTo>
                  <a:lnTo>
                    <a:pt x="954" y="708"/>
                  </a:lnTo>
                  <a:lnTo>
                    <a:pt x="954" y="714"/>
                  </a:lnTo>
                  <a:lnTo>
                    <a:pt x="942" y="714"/>
                  </a:lnTo>
                  <a:lnTo>
                    <a:pt x="930" y="732"/>
                  </a:lnTo>
                  <a:lnTo>
                    <a:pt x="918" y="744"/>
                  </a:lnTo>
                  <a:lnTo>
                    <a:pt x="918" y="750"/>
                  </a:lnTo>
                  <a:lnTo>
                    <a:pt x="888" y="762"/>
                  </a:lnTo>
                  <a:lnTo>
                    <a:pt x="870" y="762"/>
                  </a:lnTo>
                  <a:lnTo>
                    <a:pt x="846" y="774"/>
                  </a:lnTo>
                  <a:lnTo>
                    <a:pt x="828" y="780"/>
                  </a:lnTo>
                  <a:lnTo>
                    <a:pt x="828" y="774"/>
                  </a:lnTo>
                  <a:lnTo>
                    <a:pt x="816" y="768"/>
                  </a:lnTo>
                  <a:lnTo>
                    <a:pt x="816" y="780"/>
                  </a:lnTo>
                  <a:lnTo>
                    <a:pt x="804" y="780"/>
                  </a:lnTo>
                  <a:lnTo>
                    <a:pt x="804" y="786"/>
                  </a:lnTo>
                  <a:lnTo>
                    <a:pt x="792" y="792"/>
                  </a:lnTo>
                  <a:lnTo>
                    <a:pt x="792" y="804"/>
                  </a:lnTo>
                  <a:lnTo>
                    <a:pt x="780" y="816"/>
                  </a:lnTo>
                  <a:lnTo>
                    <a:pt x="774" y="822"/>
                  </a:lnTo>
                  <a:lnTo>
                    <a:pt x="762" y="828"/>
                  </a:lnTo>
                  <a:lnTo>
                    <a:pt x="756" y="822"/>
                  </a:lnTo>
                  <a:lnTo>
                    <a:pt x="750" y="798"/>
                  </a:lnTo>
                  <a:lnTo>
                    <a:pt x="738" y="792"/>
                  </a:lnTo>
                  <a:lnTo>
                    <a:pt x="720" y="786"/>
                  </a:lnTo>
                  <a:lnTo>
                    <a:pt x="708" y="786"/>
                  </a:lnTo>
                  <a:lnTo>
                    <a:pt x="696" y="798"/>
                  </a:lnTo>
                  <a:lnTo>
                    <a:pt x="690" y="810"/>
                  </a:lnTo>
                  <a:lnTo>
                    <a:pt x="684" y="828"/>
                  </a:lnTo>
                  <a:lnTo>
                    <a:pt x="690" y="840"/>
                  </a:lnTo>
                  <a:lnTo>
                    <a:pt x="708" y="858"/>
                  </a:lnTo>
                  <a:lnTo>
                    <a:pt x="720" y="894"/>
                  </a:lnTo>
                  <a:lnTo>
                    <a:pt x="714" y="906"/>
                  </a:lnTo>
                  <a:lnTo>
                    <a:pt x="714" y="918"/>
                  </a:lnTo>
                  <a:lnTo>
                    <a:pt x="738" y="948"/>
                  </a:lnTo>
                  <a:lnTo>
                    <a:pt x="774" y="972"/>
                  </a:lnTo>
                  <a:lnTo>
                    <a:pt x="780" y="984"/>
                  </a:lnTo>
                  <a:lnTo>
                    <a:pt x="792" y="996"/>
                  </a:lnTo>
                  <a:lnTo>
                    <a:pt x="792" y="1026"/>
                  </a:lnTo>
                  <a:lnTo>
                    <a:pt x="780" y="1044"/>
                  </a:lnTo>
                  <a:lnTo>
                    <a:pt x="774" y="1050"/>
                  </a:lnTo>
                  <a:lnTo>
                    <a:pt x="768" y="1062"/>
                  </a:lnTo>
                  <a:lnTo>
                    <a:pt x="768" y="1068"/>
                  </a:lnTo>
                  <a:lnTo>
                    <a:pt x="762" y="1074"/>
                  </a:lnTo>
                  <a:lnTo>
                    <a:pt x="762" y="1080"/>
                  </a:lnTo>
                  <a:lnTo>
                    <a:pt x="756" y="1080"/>
                  </a:lnTo>
                  <a:lnTo>
                    <a:pt x="744" y="1086"/>
                  </a:lnTo>
                  <a:lnTo>
                    <a:pt x="744" y="1092"/>
                  </a:lnTo>
                  <a:lnTo>
                    <a:pt x="738" y="1092"/>
                  </a:lnTo>
                  <a:lnTo>
                    <a:pt x="726" y="1098"/>
                  </a:lnTo>
                  <a:lnTo>
                    <a:pt x="720" y="1104"/>
                  </a:lnTo>
                  <a:lnTo>
                    <a:pt x="714" y="1104"/>
                  </a:lnTo>
                  <a:lnTo>
                    <a:pt x="702" y="1116"/>
                  </a:lnTo>
                  <a:lnTo>
                    <a:pt x="696" y="1122"/>
                  </a:lnTo>
                  <a:lnTo>
                    <a:pt x="696" y="1134"/>
                  </a:lnTo>
                  <a:lnTo>
                    <a:pt x="690" y="1134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72" y="1146"/>
                  </a:lnTo>
                  <a:lnTo>
                    <a:pt x="672" y="1152"/>
                  </a:lnTo>
                  <a:lnTo>
                    <a:pt x="660" y="1152"/>
                  </a:lnTo>
                  <a:lnTo>
                    <a:pt x="642" y="1152"/>
                  </a:lnTo>
                  <a:lnTo>
                    <a:pt x="636" y="1152"/>
                  </a:lnTo>
                  <a:lnTo>
                    <a:pt x="630" y="1158"/>
                  </a:lnTo>
                  <a:lnTo>
                    <a:pt x="624" y="1164"/>
                  </a:lnTo>
                  <a:lnTo>
                    <a:pt x="618" y="1170"/>
                  </a:lnTo>
                  <a:lnTo>
                    <a:pt x="612" y="1170"/>
                  </a:lnTo>
                  <a:lnTo>
                    <a:pt x="600" y="1170"/>
                  </a:lnTo>
                  <a:lnTo>
                    <a:pt x="594" y="1170"/>
                  </a:lnTo>
                  <a:lnTo>
                    <a:pt x="588" y="1170"/>
                  </a:lnTo>
                  <a:lnTo>
                    <a:pt x="582" y="1170"/>
                  </a:lnTo>
                  <a:lnTo>
                    <a:pt x="582" y="1164"/>
                  </a:lnTo>
                  <a:lnTo>
                    <a:pt x="576" y="1158"/>
                  </a:lnTo>
                  <a:lnTo>
                    <a:pt x="570" y="1158"/>
                  </a:lnTo>
                  <a:lnTo>
                    <a:pt x="570" y="1152"/>
                  </a:lnTo>
                  <a:lnTo>
                    <a:pt x="570" y="1146"/>
                  </a:lnTo>
                  <a:lnTo>
                    <a:pt x="570" y="1140"/>
                  </a:lnTo>
                  <a:lnTo>
                    <a:pt x="564" y="1140"/>
                  </a:lnTo>
                  <a:lnTo>
                    <a:pt x="564" y="1134"/>
                  </a:lnTo>
                  <a:lnTo>
                    <a:pt x="564" y="1128"/>
                  </a:lnTo>
                  <a:lnTo>
                    <a:pt x="576" y="1104"/>
                  </a:lnTo>
                  <a:lnTo>
                    <a:pt x="582" y="1086"/>
                  </a:lnTo>
                  <a:lnTo>
                    <a:pt x="570" y="1068"/>
                  </a:lnTo>
                  <a:lnTo>
                    <a:pt x="534" y="1056"/>
                  </a:lnTo>
                  <a:lnTo>
                    <a:pt x="516" y="1026"/>
                  </a:lnTo>
                  <a:lnTo>
                    <a:pt x="492" y="1020"/>
                  </a:lnTo>
                  <a:lnTo>
                    <a:pt x="492" y="1014"/>
                  </a:lnTo>
                  <a:lnTo>
                    <a:pt x="480" y="1008"/>
                  </a:lnTo>
                  <a:lnTo>
                    <a:pt x="474" y="996"/>
                  </a:lnTo>
                  <a:lnTo>
                    <a:pt x="444" y="984"/>
                  </a:lnTo>
                  <a:lnTo>
                    <a:pt x="426" y="978"/>
                  </a:lnTo>
                  <a:lnTo>
                    <a:pt x="420" y="972"/>
                  </a:lnTo>
                  <a:lnTo>
                    <a:pt x="408" y="984"/>
                  </a:lnTo>
                  <a:lnTo>
                    <a:pt x="402" y="984"/>
                  </a:lnTo>
                  <a:lnTo>
                    <a:pt x="396" y="984"/>
                  </a:lnTo>
                  <a:lnTo>
                    <a:pt x="390" y="984"/>
                  </a:lnTo>
                  <a:lnTo>
                    <a:pt x="384" y="990"/>
                  </a:lnTo>
                  <a:lnTo>
                    <a:pt x="378" y="990"/>
                  </a:lnTo>
                  <a:lnTo>
                    <a:pt x="372" y="990"/>
                  </a:lnTo>
                  <a:lnTo>
                    <a:pt x="372" y="996"/>
                  </a:lnTo>
                  <a:lnTo>
                    <a:pt x="366" y="996"/>
                  </a:lnTo>
                  <a:lnTo>
                    <a:pt x="360" y="1002"/>
                  </a:lnTo>
                  <a:lnTo>
                    <a:pt x="360" y="1008"/>
                  </a:lnTo>
                  <a:lnTo>
                    <a:pt x="354" y="1008"/>
                  </a:lnTo>
                  <a:lnTo>
                    <a:pt x="342" y="1014"/>
                  </a:lnTo>
                  <a:lnTo>
                    <a:pt x="336" y="1020"/>
                  </a:lnTo>
                  <a:lnTo>
                    <a:pt x="336" y="1014"/>
                  </a:lnTo>
                  <a:lnTo>
                    <a:pt x="330" y="1014"/>
                  </a:lnTo>
                  <a:lnTo>
                    <a:pt x="330" y="1008"/>
                  </a:lnTo>
                  <a:lnTo>
                    <a:pt x="330" y="1002"/>
                  </a:lnTo>
                  <a:lnTo>
                    <a:pt x="324" y="1002"/>
                  </a:lnTo>
                  <a:lnTo>
                    <a:pt x="324" y="996"/>
                  </a:lnTo>
                  <a:lnTo>
                    <a:pt x="324" y="990"/>
                  </a:lnTo>
                  <a:lnTo>
                    <a:pt x="318" y="990"/>
                  </a:lnTo>
                  <a:lnTo>
                    <a:pt x="306" y="996"/>
                  </a:lnTo>
                  <a:lnTo>
                    <a:pt x="300" y="996"/>
                  </a:lnTo>
                  <a:lnTo>
                    <a:pt x="294" y="996"/>
                  </a:lnTo>
                  <a:lnTo>
                    <a:pt x="288" y="1002"/>
                  </a:lnTo>
                  <a:lnTo>
                    <a:pt x="282" y="990"/>
                  </a:lnTo>
                  <a:lnTo>
                    <a:pt x="276" y="984"/>
                  </a:lnTo>
                  <a:lnTo>
                    <a:pt x="270" y="990"/>
                  </a:lnTo>
                  <a:lnTo>
                    <a:pt x="270" y="996"/>
                  </a:lnTo>
                  <a:lnTo>
                    <a:pt x="270" y="1002"/>
                  </a:lnTo>
                  <a:lnTo>
                    <a:pt x="264" y="1008"/>
                  </a:lnTo>
                  <a:lnTo>
                    <a:pt x="252" y="996"/>
                  </a:lnTo>
                  <a:lnTo>
                    <a:pt x="246" y="996"/>
                  </a:lnTo>
                  <a:lnTo>
                    <a:pt x="234" y="1002"/>
                  </a:lnTo>
                  <a:lnTo>
                    <a:pt x="222" y="1002"/>
                  </a:lnTo>
                  <a:lnTo>
                    <a:pt x="210" y="1002"/>
                  </a:lnTo>
                  <a:lnTo>
                    <a:pt x="198" y="996"/>
                  </a:lnTo>
                  <a:lnTo>
                    <a:pt x="198" y="1002"/>
                  </a:lnTo>
                  <a:lnTo>
                    <a:pt x="198" y="1008"/>
                  </a:lnTo>
                  <a:lnTo>
                    <a:pt x="192" y="1020"/>
                  </a:lnTo>
                  <a:lnTo>
                    <a:pt x="198" y="1020"/>
                  </a:lnTo>
                  <a:lnTo>
                    <a:pt x="204" y="1020"/>
                  </a:lnTo>
                  <a:lnTo>
                    <a:pt x="210" y="1026"/>
                  </a:lnTo>
                  <a:lnTo>
                    <a:pt x="216" y="1026"/>
                  </a:lnTo>
                  <a:lnTo>
                    <a:pt x="216" y="1032"/>
                  </a:lnTo>
                  <a:lnTo>
                    <a:pt x="210" y="1032"/>
                  </a:lnTo>
                  <a:lnTo>
                    <a:pt x="210" y="1038"/>
                  </a:lnTo>
                  <a:lnTo>
                    <a:pt x="204" y="1038"/>
                  </a:lnTo>
                  <a:lnTo>
                    <a:pt x="204" y="1044"/>
                  </a:lnTo>
                  <a:lnTo>
                    <a:pt x="198" y="1044"/>
                  </a:lnTo>
                  <a:lnTo>
                    <a:pt x="192" y="1044"/>
                  </a:lnTo>
                  <a:lnTo>
                    <a:pt x="186" y="1050"/>
                  </a:lnTo>
                  <a:lnTo>
                    <a:pt x="186" y="1056"/>
                  </a:lnTo>
                  <a:lnTo>
                    <a:pt x="180" y="1056"/>
                  </a:lnTo>
                  <a:lnTo>
                    <a:pt x="180" y="1062"/>
                  </a:lnTo>
                  <a:lnTo>
                    <a:pt x="174" y="1062"/>
                  </a:lnTo>
                  <a:lnTo>
                    <a:pt x="168" y="1062"/>
                  </a:lnTo>
                  <a:lnTo>
                    <a:pt x="162" y="1062"/>
                  </a:lnTo>
                  <a:lnTo>
                    <a:pt x="156" y="1050"/>
                  </a:lnTo>
                  <a:lnTo>
                    <a:pt x="150" y="1044"/>
                  </a:lnTo>
                  <a:lnTo>
                    <a:pt x="150" y="1038"/>
                  </a:lnTo>
                  <a:lnTo>
                    <a:pt x="144" y="1032"/>
                  </a:lnTo>
                  <a:lnTo>
                    <a:pt x="144" y="1026"/>
                  </a:lnTo>
                  <a:lnTo>
                    <a:pt x="144" y="1014"/>
                  </a:lnTo>
                  <a:lnTo>
                    <a:pt x="150" y="1008"/>
                  </a:lnTo>
                  <a:lnTo>
                    <a:pt x="150" y="1002"/>
                  </a:lnTo>
                  <a:lnTo>
                    <a:pt x="156" y="984"/>
                  </a:lnTo>
                  <a:lnTo>
                    <a:pt x="162" y="978"/>
                  </a:lnTo>
                  <a:lnTo>
                    <a:pt x="162" y="972"/>
                  </a:lnTo>
                  <a:lnTo>
                    <a:pt x="150" y="966"/>
                  </a:lnTo>
                  <a:lnTo>
                    <a:pt x="144" y="966"/>
                  </a:lnTo>
                  <a:lnTo>
                    <a:pt x="138" y="966"/>
                  </a:lnTo>
                  <a:lnTo>
                    <a:pt x="138" y="954"/>
                  </a:lnTo>
                  <a:lnTo>
                    <a:pt x="132" y="954"/>
                  </a:lnTo>
                  <a:lnTo>
                    <a:pt x="138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8" y="924"/>
                  </a:lnTo>
                  <a:lnTo>
                    <a:pt x="132" y="930"/>
                  </a:lnTo>
                  <a:lnTo>
                    <a:pt x="132" y="924"/>
                  </a:lnTo>
                  <a:lnTo>
                    <a:pt x="126" y="918"/>
                  </a:lnTo>
                  <a:lnTo>
                    <a:pt x="132" y="918"/>
                  </a:lnTo>
                  <a:lnTo>
                    <a:pt x="132" y="912"/>
                  </a:lnTo>
                  <a:lnTo>
                    <a:pt x="126" y="912"/>
                  </a:lnTo>
                  <a:lnTo>
                    <a:pt x="120" y="912"/>
                  </a:lnTo>
                  <a:lnTo>
                    <a:pt x="120" y="918"/>
                  </a:lnTo>
                  <a:lnTo>
                    <a:pt x="114" y="918"/>
                  </a:lnTo>
                  <a:lnTo>
                    <a:pt x="114" y="912"/>
                  </a:lnTo>
                  <a:lnTo>
                    <a:pt x="108" y="912"/>
                  </a:lnTo>
                  <a:lnTo>
                    <a:pt x="102" y="912"/>
                  </a:lnTo>
                  <a:lnTo>
                    <a:pt x="108" y="906"/>
                  </a:lnTo>
                  <a:lnTo>
                    <a:pt x="102" y="906"/>
                  </a:lnTo>
                  <a:lnTo>
                    <a:pt x="96" y="906"/>
                  </a:lnTo>
                  <a:lnTo>
                    <a:pt x="96" y="912"/>
                  </a:lnTo>
                  <a:lnTo>
                    <a:pt x="90" y="918"/>
                  </a:lnTo>
                  <a:lnTo>
                    <a:pt x="90" y="912"/>
                  </a:lnTo>
                  <a:lnTo>
                    <a:pt x="84" y="912"/>
                  </a:lnTo>
                  <a:lnTo>
                    <a:pt x="84" y="918"/>
                  </a:lnTo>
                  <a:lnTo>
                    <a:pt x="78" y="918"/>
                  </a:lnTo>
                  <a:lnTo>
                    <a:pt x="78" y="912"/>
                  </a:lnTo>
                  <a:lnTo>
                    <a:pt x="78" y="906"/>
                  </a:lnTo>
                  <a:lnTo>
                    <a:pt x="72" y="900"/>
                  </a:lnTo>
                  <a:lnTo>
                    <a:pt x="78" y="900"/>
                  </a:lnTo>
                  <a:lnTo>
                    <a:pt x="72" y="900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8" y="888"/>
                  </a:lnTo>
                  <a:lnTo>
                    <a:pt x="72" y="888"/>
                  </a:lnTo>
                  <a:lnTo>
                    <a:pt x="72" y="882"/>
                  </a:lnTo>
                  <a:lnTo>
                    <a:pt x="66" y="876"/>
                  </a:lnTo>
                  <a:lnTo>
                    <a:pt x="60" y="882"/>
                  </a:lnTo>
                  <a:lnTo>
                    <a:pt x="54" y="876"/>
                  </a:lnTo>
                  <a:lnTo>
                    <a:pt x="54" y="882"/>
                  </a:lnTo>
                  <a:lnTo>
                    <a:pt x="48" y="882"/>
                  </a:lnTo>
                  <a:lnTo>
                    <a:pt x="42" y="870"/>
                  </a:lnTo>
                  <a:lnTo>
                    <a:pt x="42" y="864"/>
                  </a:lnTo>
                  <a:lnTo>
                    <a:pt x="36" y="858"/>
                  </a:lnTo>
                  <a:lnTo>
                    <a:pt x="36" y="852"/>
                  </a:lnTo>
                  <a:lnTo>
                    <a:pt x="30" y="852"/>
                  </a:lnTo>
                  <a:lnTo>
                    <a:pt x="30" y="846"/>
                  </a:lnTo>
                  <a:lnTo>
                    <a:pt x="24" y="846"/>
                  </a:lnTo>
                  <a:lnTo>
                    <a:pt x="18" y="840"/>
                  </a:lnTo>
                  <a:lnTo>
                    <a:pt x="12" y="834"/>
                  </a:lnTo>
                  <a:lnTo>
                    <a:pt x="0" y="828"/>
                  </a:lnTo>
                  <a:lnTo>
                    <a:pt x="0" y="822"/>
                  </a:lnTo>
                  <a:lnTo>
                    <a:pt x="0" y="816"/>
                  </a:lnTo>
                  <a:lnTo>
                    <a:pt x="0" y="810"/>
                  </a:lnTo>
                  <a:lnTo>
                    <a:pt x="6" y="804"/>
                  </a:lnTo>
                  <a:lnTo>
                    <a:pt x="12" y="804"/>
                  </a:lnTo>
                  <a:lnTo>
                    <a:pt x="12" y="798"/>
                  </a:lnTo>
                  <a:lnTo>
                    <a:pt x="12" y="792"/>
                  </a:lnTo>
                  <a:lnTo>
                    <a:pt x="6" y="792"/>
                  </a:lnTo>
                  <a:lnTo>
                    <a:pt x="6" y="786"/>
                  </a:lnTo>
                  <a:lnTo>
                    <a:pt x="6" y="780"/>
                  </a:lnTo>
                  <a:lnTo>
                    <a:pt x="18" y="780"/>
                  </a:lnTo>
                  <a:lnTo>
                    <a:pt x="18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0" y="774"/>
                  </a:lnTo>
                  <a:lnTo>
                    <a:pt x="36" y="768"/>
                  </a:lnTo>
                  <a:lnTo>
                    <a:pt x="42" y="768"/>
                  </a:lnTo>
                  <a:lnTo>
                    <a:pt x="60" y="750"/>
                  </a:lnTo>
                  <a:lnTo>
                    <a:pt x="60" y="744"/>
                  </a:lnTo>
                  <a:lnTo>
                    <a:pt x="54" y="738"/>
                  </a:lnTo>
                  <a:lnTo>
                    <a:pt x="60" y="732"/>
                  </a:lnTo>
                  <a:lnTo>
                    <a:pt x="54" y="732"/>
                  </a:lnTo>
                  <a:lnTo>
                    <a:pt x="60" y="726"/>
                  </a:lnTo>
                  <a:lnTo>
                    <a:pt x="66" y="720"/>
                  </a:lnTo>
                  <a:lnTo>
                    <a:pt x="72" y="714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84" y="696"/>
                  </a:lnTo>
                  <a:lnTo>
                    <a:pt x="90" y="684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66"/>
                  </a:lnTo>
                  <a:lnTo>
                    <a:pt x="90" y="660"/>
                  </a:lnTo>
                  <a:lnTo>
                    <a:pt x="84" y="654"/>
                  </a:lnTo>
                  <a:lnTo>
                    <a:pt x="84" y="648"/>
                  </a:lnTo>
                  <a:lnTo>
                    <a:pt x="78" y="636"/>
                  </a:lnTo>
                  <a:lnTo>
                    <a:pt x="66" y="630"/>
                  </a:lnTo>
                  <a:lnTo>
                    <a:pt x="66" y="624"/>
                  </a:lnTo>
                  <a:lnTo>
                    <a:pt x="60" y="624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60" y="600"/>
                  </a:lnTo>
                  <a:lnTo>
                    <a:pt x="66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6" y="588"/>
                  </a:lnTo>
                  <a:lnTo>
                    <a:pt x="66" y="582"/>
                  </a:lnTo>
                  <a:lnTo>
                    <a:pt x="72" y="582"/>
                  </a:lnTo>
                  <a:lnTo>
                    <a:pt x="78" y="576"/>
                  </a:lnTo>
                  <a:lnTo>
                    <a:pt x="72" y="576"/>
                  </a:lnTo>
                  <a:lnTo>
                    <a:pt x="66" y="570"/>
                  </a:lnTo>
                  <a:lnTo>
                    <a:pt x="72" y="564"/>
                  </a:lnTo>
                  <a:lnTo>
                    <a:pt x="78" y="558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90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102" y="516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0" y="504"/>
                  </a:lnTo>
                  <a:lnTo>
                    <a:pt x="120" y="498"/>
                  </a:lnTo>
                  <a:lnTo>
                    <a:pt x="120" y="492"/>
                  </a:lnTo>
                  <a:lnTo>
                    <a:pt x="126" y="480"/>
                  </a:lnTo>
                  <a:lnTo>
                    <a:pt x="132" y="474"/>
                  </a:lnTo>
                  <a:lnTo>
                    <a:pt x="132" y="468"/>
                  </a:lnTo>
                  <a:lnTo>
                    <a:pt x="138" y="462"/>
                  </a:lnTo>
                  <a:lnTo>
                    <a:pt x="138" y="456"/>
                  </a:lnTo>
                  <a:lnTo>
                    <a:pt x="138" y="450"/>
                  </a:lnTo>
                  <a:lnTo>
                    <a:pt x="144" y="444"/>
                  </a:lnTo>
                  <a:lnTo>
                    <a:pt x="162" y="438"/>
                  </a:lnTo>
                  <a:lnTo>
                    <a:pt x="186" y="438"/>
                  </a:lnTo>
                  <a:lnTo>
                    <a:pt x="210" y="444"/>
                  </a:lnTo>
                  <a:lnTo>
                    <a:pt x="276" y="450"/>
                  </a:lnTo>
                  <a:lnTo>
                    <a:pt x="342" y="450"/>
                  </a:lnTo>
                  <a:lnTo>
                    <a:pt x="348" y="450"/>
                  </a:lnTo>
                  <a:lnTo>
                    <a:pt x="354" y="450"/>
                  </a:lnTo>
                  <a:lnTo>
                    <a:pt x="360" y="456"/>
                  </a:lnTo>
                  <a:lnTo>
                    <a:pt x="354" y="462"/>
                  </a:lnTo>
                  <a:lnTo>
                    <a:pt x="354" y="468"/>
                  </a:lnTo>
                  <a:lnTo>
                    <a:pt x="354" y="474"/>
                  </a:lnTo>
                  <a:lnTo>
                    <a:pt x="348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48" y="498"/>
                  </a:lnTo>
                  <a:lnTo>
                    <a:pt x="342" y="510"/>
                  </a:lnTo>
                  <a:lnTo>
                    <a:pt x="348" y="528"/>
                  </a:lnTo>
                  <a:lnTo>
                    <a:pt x="348" y="534"/>
                  </a:lnTo>
                  <a:lnTo>
                    <a:pt x="354" y="552"/>
                  </a:lnTo>
                  <a:lnTo>
                    <a:pt x="366" y="546"/>
                  </a:lnTo>
                  <a:lnTo>
                    <a:pt x="372" y="540"/>
                  </a:lnTo>
                  <a:lnTo>
                    <a:pt x="384" y="540"/>
                  </a:lnTo>
                  <a:lnTo>
                    <a:pt x="396" y="534"/>
                  </a:lnTo>
                  <a:lnTo>
                    <a:pt x="402" y="534"/>
                  </a:lnTo>
                  <a:lnTo>
                    <a:pt x="414" y="546"/>
                  </a:lnTo>
                  <a:lnTo>
                    <a:pt x="432" y="540"/>
                  </a:lnTo>
                  <a:lnTo>
                    <a:pt x="450" y="534"/>
                  </a:lnTo>
                  <a:lnTo>
                    <a:pt x="450" y="528"/>
                  </a:lnTo>
                  <a:lnTo>
                    <a:pt x="456" y="528"/>
                  </a:lnTo>
                  <a:lnTo>
                    <a:pt x="456" y="522"/>
                  </a:lnTo>
                  <a:lnTo>
                    <a:pt x="456" y="516"/>
                  </a:lnTo>
                  <a:lnTo>
                    <a:pt x="462" y="516"/>
                  </a:lnTo>
                  <a:lnTo>
                    <a:pt x="468" y="510"/>
                  </a:lnTo>
                  <a:lnTo>
                    <a:pt x="468" y="504"/>
                  </a:lnTo>
                  <a:lnTo>
                    <a:pt x="474" y="504"/>
                  </a:lnTo>
                  <a:lnTo>
                    <a:pt x="480" y="504"/>
                  </a:lnTo>
                  <a:lnTo>
                    <a:pt x="486" y="498"/>
                  </a:lnTo>
                  <a:lnTo>
                    <a:pt x="492" y="498"/>
                  </a:lnTo>
                  <a:lnTo>
                    <a:pt x="486" y="480"/>
                  </a:lnTo>
                  <a:lnTo>
                    <a:pt x="492" y="462"/>
                  </a:lnTo>
                  <a:lnTo>
                    <a:pt x="498" y="444"/>
                  </a:lnTo>
                  <a:lnTo>
                    <a:pt x="498" y="426"/>
                  </a:lnTo>
                  <a:lnTo>
                    <a:pt x="498" y="420"/>
                  </a:lnTo>
                  <a:lnTo>
                    <a:pt x="504" y="426"/>
                  </a:lnTo>
                  <a:lnTo>
                    <a:pt x="504" y="420"/>
                  </a:lnTo>
                  <a:lnTo>
                    <a:pt x="510" y="420"/>
                  </a:lnTo>
                  <a:lnTo>
                    <a:pt x="510" y="414"/>
                  </a:lnTo>
                  <a:lnTo>
                    <a:pt x="510" y="408"/>
                  </a:lnTo>
                  <a:lnTo>
                    <a:pt x="504" y="402"/>
                  </a:lnTo>
                  <a:lnTo>
                    <a:pt x="504" y="396"/>
                  </a:lnTo>
                  <a:lnTo>
                    <a:pt x="504" y="384"/>
                  </a:lnTo>
                  <a:lnTo>
                    <a:pt x="504" y="378"/>
                  </a:lnTo>
                  <a:lnTo>
                    <a:pt x="504" y="360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510" y="348"/>
                  </a:lnTo>
                  <a:lnTo>
                    <a:pt x="510" y="336"/>
                  </a:lnTo>
                  <a:lnTo>
                    <a:pt x="516" y="330"/>
                  </a:lnTo>
                  <a:lnTo>
                    <a:pt x="522" y="324"/>
                  </a:lnTo>
                  <a:lnTo>
                    <a:pt x="528" y="318"/>
                  </a:lnTo>
                  <a:lnTo>
                    <a:pt x="534" y="312"/>
                  </a:lnTo>
                  <a:lnTo>
                    <a:pt x="534" y="300"/>
                  </a:lnTo>
                  <a:lnTo>
                    <a:pt x="540" y="294"/>
                  </a:lnTo>
                  <a:lnTo>
                    <a:pt x="546" y="288"/>
                  </a:lnTo>
                  <a:lnTo>
                    <a:pt x="552" y="276"/>
                  </a:lnTo>
                  <a:lnTo>
                    <a:pt x="558" y="264"/>
                  </a:lnTo>
                  <a:lnTo>
                    <a:pt x="558" y="258"/>
                  </a:lnTo>
                  <a:lnTo>
                    <a:pt x="558" y="252"/>
                  </a:lnTo>
                  <a:lnTo>
                    <a:pt x="558" y="246"/>
                  </a:lnTo>
                  <a:lnTo>
                    <a:pt x="564" y="246"/>
                  </a:lnTo>
                  <a:lnTo>
                    <a:pt x="564" y="240"/>
                  </a:lnTo>
                  <a:lnTo>
                    <a:pt x="570" y="234"/>
                  </a:lnTo>
                  <a:lnTo>
                    <a:pt x="564" y="216"/>
                  </a:lnTo>
                  <a:lnTo>
                    <a:pt x="564" y="210"/>
                  </a:lnTo>
                  <a:lnTo>
                    <a:pt x="570" y="210"/>
                  </a:lnTo>
                  <a:lnTo>
                    <a:pt x="570" y="204"/>
                  </a:lnTo>
                  <a:lnTo>
                    <a:pt x="570" y="198"/>
                  </a:lnTo>
                  <a:lnTo>
                    <a:pt x="582" y="180"/>
                  </a:lnTo>
                  <a:lnTo>
                    <a:pt x="582" y="174"/>
                  </a:lnTo>
                  <a:lnTo>
                    <a:pt x="582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606" y="150"/>
                  </a:lnTo>
                  <a:lnTo>
                    <a:pt x="612" y="150"/>
                  </a:lnTo>
                  <a:lnTo>
                    <a:pt x="618" y="150"/>
                  </a:lnTo>
                  <a:lnTo>
                    <a:pt x="624" y="138"/>
                  </a:lnTo>
                  <a:lnTo>
                    <a:pt x="618" y="132"/>
                  </a:lnTo>
                  <a:lnTo>
                    <a:pt x="618" y="126"/>
                  </a:lnTo>
                  <a:lnTo>
                    <a:pt x="618" y="120"/>
                  </a:lnTo>
                  <a:lnTo>
                    <a:pt x="618" y="114"/>
                  </a:lnTo>
                  <a:lnTo>
                    <a:pt x="612" y="108"/>
                  </a:lnTo>
                  <a:lnTo>
                    <a:pt x="612" y="102"/>
                  </a:lnTo>
                  <a:lnTo>
                    <a:pt x="618" y="90"/>
                  </a:lnTo>
                  <a:lnTo>
                    <a:pt x="624" y="84"/>
                  </a:lnTo>
                  <a:lnTo>
                    <a:pt x="618" y="84"/>
                  </a:lnTo>
                  <a:lnTo>
                    <a:pt x="618" y="78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0" y="72"/>
                  </a:lnTo>
                  <a:lnTo>
                    <a:pt x="600" y="66"/>
                  </a:lnTo>
                  <a:lnTo>
                    <a:pt x="600" y="60"/>
                  </a:lnTo>
                  <a:lnTo>
                    <a:pt x="600" y="48"/>
                  </a:lnTo>
                  <a:lnTo>
                    <a:pt x="612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36"/>
                  </a:lnTo>
                  <a:lnTo>
                    <a:pt x="630" y="30"/>
                  </a:lnTo>
                  <a:lnTo>
                    <a:pt x="636" y="24"/>
                  </a:lnTo>
                  <a:lnTo>
                    <a:pt x="642" y="24"/>
                  </a:lnTo>
                  <a:lnTo>
                    <a:pt x="648" y="24"/>
                  </a:lnTo>
                  <a:lnTo>
                    <a:pt x="648" y="18"/>
                  </a:lnTo>
                  <a:lnTo>
                    <a:pt x="654" y="12"/>
                  </a:lnTo>
                  <a:lnTo>
                    <a:pt x="660" y="0"/>
                  </a:lnTo>
                  <a:lnTo>
                    <a:pt x="678" y="0"/>
                  </a:lnTo>
                  <a:lnTo>
                    <a:pt x="696" y="0"/>
                  </a:lnTo>
                  <a:lnTo>
                    <a:pt x="702" y="0"/>
                  </a:lnTo>
                  <a:lnTo>
                    <a:pt x="714" y="0"/>
                  </a:lnTo>
                  <a:lnTo>
                    <a:pt x="720" y="6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44" y="24"/>
                  </a:lnTo>
                  <a:lnTo>
                    <a:pt x="744" y="30"/>
                  </a:lnTo>
                  <a:lnTo>
                    <a:pt x="732" y="42"/>
                  </a:lnTo>
                  <a:lnTo>
                    <a:pt x="726" y="42"/>
                  </a:lnTo>
                  <a:lnTo>
                    <a:pt x="720" y="42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54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90"/>
                  </a:lnTo>
                  <a:lnTo>
                    <a:pt x="726" y="84"/>
                  </a:lnTo>
                  <a:lnTo>
                    <a:pt x="738" y="84"/>
                  </a:lnTo>
                  <a:lnTo>
                    <a:pt x="750" y="96"/>
                  </a:lnTo>
                  <a:lnTo>
                    <a:pt x="768" y="96"/>
                  </a:lnTo>
                  <a:lnTo>
                    <a:pt x="768" y="90"/>
                  </a:lnTo>
                  <a:lnTo>
                    <a:pt x="774" y="84"/>
                  </a:lnTo>
                  <a:lnTo>
                    <a:pt x="780" y="78"/>
                  </a:lnTo>
                  <a:lnTo>
                    <a:pt x="786" y="78"/>
                  </a:lnTo>
                  <a:lnTo>
                    <a:pt x="792" y="72"/>
                  </a:lnTo>
                  <a:lnTo>
                    <a:pt x="804" y="72"/>
                  </a:lnTo>
                  <a:lnTo>
                    <a:pt x="804" y="66"/>
                  </a:lnTo>
                  <a:lnTo>
                    <a:pt x="810" y="66"/>
                  </a:lnTo>
                  <a:lnTo>
                    <a:pt x="810" y="72"/>
                  </a:lnTo>
                  <a:lnTo>
                    <a:pt x="816" y="66"/>
                  </a:lnTo>
                  <a:lnTo>
                    <a:pt x="828" y="66"/>
                  </a:lnTo>
                  <a:lnTo>
                    <a:pt x="834" y="72"/>
                  </a:lnTo>
                  <a:lnTo>
                    <a:pt x="840" y="72"/>
                  </a:lnTo>
                  <a:lnTo>
                    <a:pt x="840" y="78"/>
                  </a:lnTo>
                  <a:lnTo>
                    <a:pt x="840" y="84"/>
                  </a:lnTo>
                  <a:lnTo>
                    <a:pt x="852" y="84"/>
                  </a:lnTo>
                  <a:lnTo>
                    <a:pt x="858" y="96"/>
                  </a:lnTo>
                  <a:lnTo>
                    <a:pt x="864" y="108"/>
                  </a:lnTo>
                  <a:lnTo>
                    <a:pt x="876" y="114"/>
                  </a:lnTo>
                  <a:lnTo>
                    <a:pt x="894" y="114"/>
                  </a:lnTo>
                  <a:lnTo>
                    <a:pt x="906" y="114"/>
                  </a:lnTo>
                  <a:lnTo>
                    <a:pt x="906" y="126"/>
                  </a:lnTo>
                  <a:lnTo>
                    <a:pt x="912" y="144"/>
                  </a:lnTo>
                  <a:lnTo>
                    <a:pt x="930" y="138"/>
                  </a:lnTo>
                  <a:lnTo>
                    <a:pt x="936" y="138"/>
                  </a:lnTo>
                  <a:lnTo>
                    <a:pt x="942" y="144"/>
                  </a:lnTo>
                  <a:lnTo>
                    <a:pt x="948" y="150"/>
                  </a:lnTo>
                  <a:lnTo>
                    <a:pt x="954" y="156"/>
                  </a:lnTo>
                  <a:lnTo>
                    <a:pt x="954" y="168"/>
                  </a:lnTo>
                  <a:lnTo>
                    <a:pt x="954" y="174"/>
                  </a:lnTo>
                  <a:lnTo>
                    <a:pt x="960" y="180"/>
                  </a:lnTo>
                  <a:lnTo>
                    <a:pt x="966" y="186"/>
                  </a:lnTo>
                  <a:lnTo>
                    <a:pt x="960" y="186"/>
                  </a:lnTo>
                  <a:lnTo>
                    <a:pt x="966" y="192"/>
                  </a:lnTo>
                  <a:lnTo>
                    <a:pt x="966" y="198"/>
                  </a:lnTo>
                  <a:lnTo>
                    <a:pt x="978" y="204"/>
                  </a:lnTo>
                  <a:lnTo>
                    <a:pt x="1050" y="186"/>
                  </a:lnTo>
                  <a:lnTo>
                    <a:pt x="1056" y="198"/>
                  </a:lnTo>
                  <a:lnTo>
                    <a:pt x="1068" y="210"/>
                  </a:lnTo>
                  <a:lnTo>
                    <a:pt x="1074" y="216"/>
                  </a:lnTo>
                  <a:lnTo>
                    <a:pt x="1080" y="252"/>
                  </a:lnTo>
                  <a:lnTo>
                    <a:pt x="1086" y="270"/>
                  </a:lnTo>
                  <a:lnTo>
                    <a:pt x="1092" y="282"/>
                  </a:lnTo>
                  <a:lnTo>
                    <a:pt x="1086" y="300"/>
                  </a:lnTo>
                  <a:lnTo>
                    <a:pt x="1074" y="330"/>
                  </a:lnTo>
                  <a:lnTo>
                    <a:pt x="1068" y="336"/>
                  </a:lnTo>
                  <a:lnTo>
                    <a:pt x="1062" y="348"/>
                  </a:lnTo>
                  <a:lnTo>
                    <a:pt x="1062" y="360"/>
                  </a:lnTo>
                  <a:lnTo>
                    <a:pt x="1068" y="378"/>
                  </a:lnTo>
                  <a:lnTo>
                    <a:pt x="1074" y="390"/>
                  </a:lnTo>
                  <a:lnTo>
                    <a:pt x="1068" y="396"/>
                  </a:lnTo>
                  <a:lnTo>
                    <a:pt x="1068" y="408"/>
                  </a:lnTo>
                  <a:lnTo>
                    <a:pt x="1062" y="414"/>
                  </a:lnTo>
                  <a:lnTo>
                    <a:pt x="1050" y="432"/>
                  </a:lnTo>
                  <a:lnTo>
                    <a:pt x="1044" y="450"/>
                  </a:lnTo>
                  <a:lnTo>
                    <a:pt x="1038" y="456"/>
                  </a:lnTo>
                  <a:lnTo>
                    <a:pt x="1026" y="468"/>
                  </a:lnTo>
                  <a:lnTo>
                    <a:pt x="1026" y="474"/>
                  </a:lnTo>
                  <a:lnTo>
                    <a:pt x="1026" y="480"/>
                  </a:lnTo>
                  <a:lnTo>
                    <a:pt x="1032" y="492"/>
                  </a:lnTo>
                  <a:lnTo>
                    <a:pt x="1044" y="504"/>
                  </a:lnTo>
                  <a:lnTo>
                    <a:pt x="1044" y="516"/>
                  </a:lnTo>
                  <a:lnTo>
                    <a:pt x="1038" y="528"/>
                  </a:lnTo>
                  <a:lnTo>
                    <a:pt x="1032" y="546"/>
                  </a:lnTo>
                  <a:lnTo>
                    <a:pt x="1032" y="570"/>
                  </a:lnTo>
                  <a:lnTo>
                    <a:pt x="1050" y="594"/>
                  </a:lnTo>
                  <a:lnTo>
                    <a:pt x="1056" y="624"/>
                  </a:lnTo>
                  <a:lnTo>
                    <a:pt x="1056" y="65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9" name="Freeform 24">
              <a:extLst>
                <a:ext uri="{FF2B5EF4-FFF2-40B4-BE49-F238E27FC236}">
                  <a16:creationId xmlns:a16="http://schemas.microsoft.com/office/drawing/2014/main" id="{CAE689DA-332A-4F73-BDE6-8865C9170AA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84829" y="3213406"/>
              <a:ext cx="851989" cy="744754"/>
            </a:xfrm>
            <a:custGeom>
              <a:avLst/>
              <a:gdLst>
                <a:gd name="T0" fmla="*/ 116 w 1602"/>
                <a:gd name="T1" fmla="*/ 91 h 1404"/>
                <a:gd name="T2" fmla="*/ 111 w 1602"/>
                <a:gd name="T3" fmla="*/ 95 h 1404"/>
                <a:gd name="T4" fmla="*/ 102 w 1602"/>
                <a:gd name="T5" fmla="*/ 101 h 1404"/>
                <a:gd name="T6" fmla="*/ 99 w 1602"/>
                <a:gd name="T7" fmla="*/ 103 h 1404"/>
                <a:gd name="T8" fmla="*/ 96 w 1602"/>
                <a:gd name="T9" fmla="*/ 106 h 1404"/>
                <a:gd name="T10" fmla="*/ 93 w 1602"/>
                <a:gd name="T11" fmla="*/ 108 h 1404"/>
                <a:gd name="T12" fmla="*/ 88 w 1602"/>
                <a:gd name="T13" fmla="*/ 106 h 1404"/>
                <a:gd name="T14" fmla="*/ 86 w 1602"/>
                <a:gd name="T15" fmla="*/ 108 h 1404"/>
                <a:gd name="T16" fmla="*/ 81 w 1602"/>
                <a:gd name="T17" fmla="*/ 119 h 1404"/>
                <a:gd name="T18" fmla="*/ 71 w 1602"/>
                <a:gd name="T19" fmla="*/ 109 h 1404"/>
                <a:gd name="T20" fmla="*/ 72 w 1602"/>
                <a:gd name="T21" fmla="*/ 101 h 1404"/>
                <a:gd name="T22" fmla="*/ 74 w 1602"/>
                <a:gd name="T23" fmla="*/ 93 h 1404"/>
                <a:gd name="T24" fmla="*/ 73 w 1602"/>
                <a:gd name="T25" fmla="*/ 82 h 1404"/>
                <a:gd name="T26" fmla="*/ 64 w 1602"/>
                <a:gd name="T27" fmla="*/ 79 h 1404"/>
                <a:gd name="T28" fmla="*/ 59 w 1602"/>
                <a:gd name="T29" fmla="*/ 75 h 1404"/>
                <a:gd name="T30" fmla="*/ 54 w 1602"/>
                <a:gd name="T31" fmla="*/ 71 h 1404"/>
                <a:gd name="T32" fmla="*/ 51 w 1602"/>
                <a:gd name="T33" fmla="*/ 70 h 1404"/>
                <a:gd name="T34" fmla="*/ 45 w 1602"/>
                <a:gd name="T35" fmla="*/ 71 h 1404"/>
                <a:gd name="T36" fmla="*/ 43 w 1602"/>
                <a:gd name="T37" fmla="*/ 68 h 1404"/>
                <a:gd name="T38" fmla="*/ 43 w 1602"/>
                <a:gd name="T39" fmla="*/ 64 h 1404"/>
                <a:gd name="T40" fmla="*/ 36 w 1602"/>
                <a:gd name="T41" fmla="*/ 66 h 1404"/>
                <a:gd name="T42" fmla="*/ 31 w 1602"/>
                <a:gd name="T43" fmla="*/ 55 h 1404"/>
                <a:gd name="T44" fmla="*/ 25 w 1602"/>
                <a:gd name="T45" fmla="*/ 53 h 1404"/>
                <a:gd name="T46" fmla="*/ 19 w 1602"/>
                <a:gd name="T47" fmla="*/ 51 h 1404"/>
                <a:gd name="T48" fmla="*/ 17 w 1602"/>
                <a:gd name="T49" fmla="*/ 43 h 1404"/>
                <a:gd name="T50" fmla="*/ 17 w 1602"/>
                <a:gd name="T51" fmla="*/ 39 h 1404"/>
                <a:gd name="T52" fmla="*/ 12 w 1602"/>
                <a:gd name="T53" fmla="*/ 39 h 1404"/>
                <a:gd name="T54" fmla="*/ 10 w 1602"/>
                <a:gd name="T55" fmla="*/ 35 h 1404"/>
                <a:gd name="T56" fmla="*/ 5 w 1602"/>
                <a:gd name="T57" fmla="*/ 30 h 1404"/>
                <a:gd name="T58" fmla="*/ 3 w 1602"/>
                <a:gd name="T59" fmla="*/ 27 h 1404"/>
                <a:gd name="T60" fmla="*/ 2 w 1602"/>
                <a:gd name="T61" fmla="*/ 25 h 1404"/>
                <a:gd name="T62" fmla="*/ 0 w 1602"/>
                <a:gd name="T63" fmla="*/ 22 h 1404"/>
                <a:gd name="T64" fmla="*/ 8 w 1602"/>
                <a:gd name="T65" fmla="*/ 14 h 1404"/>
                <a:gd name="T66" fmla="*/ 16 w 1602"/>
                <a:gd name="T67" fmla="*/ 16 h 1404"/>
                <a:gd name="T68" fmla="*/ 31 w 1602"/>
                <a:gd name="T69" fmla="*/ 18 h 1404"/>
                <a:gd name="T70" fmla="*/ 43 w 1602"/>
                <a:gd name="T71" fmla="*/ 17 h 1404"/>
                <a:gd name="T72" fmla="*/ 47 w 1602"/>
                <a:gd name="T73" fmla="*/ 6 h 1404"/>
                <a:gd name="T74" fmla="*/ 52 w 1602"/>
                <a:gd name="T75" fmla="*/ 0 h 1404"/>
                <a:gd name="T76" fmla="*/ 55 w 1602"/>
                <a:gd name="T77" fmla="*/ 3 h 1404"/>
                <a:gd name="T78" fmla="*/ 59 w 1602"/>
                <a:gd name="T79" fmla="*/ 9 h 1404"/>
                <a:gd name="T80" fmla="*/ 62 w 1602"/>
                <a:gd name="T81" fmla="*/ 16 h 1404"/>
                <a:gd name="T82" fmla="*/ 66 w 1602"/>
                <a:gd name="T83" fmla="*/ 20 h 1404"/>
                <a:gd name="T84" fmla="*/ 70 w 1602"/>
                <a:gd name="T85" fmla="*/ 25 h 1404"/>
                <a:gd name="T86" fmla="*/ 74 w 1602"/>
                <a:gd name="T87" fmla="*/ 30 h 1404"/>
                <a:gd name="T88" fmla="*/ 76 w 1602"/>
                <a:gd name="T89" fmla="*/ 27 h 1404"/>
                <a:gd name="T90" fmla="*/ 78 w 1602"/>
                <a:gd name="T91" fmla="*/ 27 h 1404"/>
                <a:gd name="T92" fmla="*/ 78 w 1602"/>
                <a:gd name="T93" fmla="*/ 23 h 1404"/>
                <a:gd name="T94" fmla="*/ 82 w 1602"/>
                <a:gd name="T95" fmla="*/ 20 h 1404"/>
                <a:gd name="T96" fmla="*/ 82 w 1602"/>
                <a:gd name="T97" fmla="*/ 18 h 1404"/>
                <a:gd name="T98" fmla="*/ 90 w 1602"/>
                <a:gd name="T99" fmla="*/ 24 h 1404"/>
                <a:gd name="T100" fmla="*/ 90 w 1602"/>
                <a:gd name="T101" fmla="*/ 45 h 1404"/>
                <a:gd name="T102" fmla="*/ 104 w 1602"/>
                <a:gd name="T103" fmla="*/ 41 h 1404"/>
                <a:gd name="T104" fmla="*/ 117 w 1602"/>
                <a:gd name="T105" fmla="*/ 39 h 1404"/>
                <a:gd name="T106" fmla="*/ 125 w 1602"/>
                <a:gd name="T107" fmla="*/ 39 h 1404"/>
                <a:gd name="T108" fmla="*/ 127 w 1602"/>
                <a:gd name="T109" fmla="*/ 43 h 1404"/>
                <a:gd name="T110" fmla="*/ 131 w 1602"/>
                <a:gd name="T111" fmla="*/ 53 h 1404"/>
                <a:gd name="T112" fmla="*/ 133 w 1602"/>
                <a:gd name="T113" fmla="*/ 60 h 1404"/>
                <a:gd name="T114" fmla="*/ 138 w 1602"/>
                <a:gd name="T115" fmla="*/ 73 h 1404"/>
                <a:gd name="T116" fmla="*/ 136 w 1602"/>
                <a:gd name="T117" fmla="*/ 80 h 1404"/>
                <a:gd name="T118" fmla="*/ 129 w 1602"/>
                <a:gd name="T119" fmla="*/ 87 h 1404"/>
                <a:gd name="T120" fmla="*/ 123 w 1602"/>
                <a:gd name="T121" fmla="*/ 95 h 14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02"/>
                <a:gd name="T184" fmla="*/ 0 h 1404"/>
                <a:gd name="T185" fmla="*/ 1602 w 1602"/>
                <a:gd name="T186" fmla="*/ 1404 h 14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02" h="1404">
                  <a:moveTo>
                    <a:pt x="1392" y="1080"/>
                  </a:moveTo>
                  <a:lnTo>
                    <a:pt x="1380" y="1074"/>
                  </a:lnTo>
                  <a:lnTo>
                    <a:pt x="1368" y="1056"/>
                  </a:lnTo>
                  <a:lnTo>
                    <a:pt x="1356" y="1044"/>
                  </a:lnTo>
                  <a:lnTo>
                    <a:pt x="1344" y="1038"/>
                  </a:lnTo>
                  <a:lnTo>
                    <a:pt x="1338" y="1038"/>
                  </a:lnTo>
                  <a:lnTo>
                    <a:pt x="1332" y="1038"/>
                  </a:lnTo>
                  <a:lnTo>
                    <a:pt x="1326" y="1044"/>
                  </a:lnTo>
                  <a:lnTo>
                    <a:pt x="1320" y="1044"/>
                  </a:lnTo>
                  <a:lnTo>
                    <a:pt x="1314" y="1044"/>
                  </a:lnTo>
                  <a:lnTo>
                    <a:pt x="1296" y="1056"/>
                  </a:lnTo>
                  <a:lnTo>
                    <a:pt x="1296" y="1080"/>
                  </a:lnTo>
                  <a:lnTo>
                    <a:pt x="1290" y="1080"/>
                  </a:lnTo>
                  <a:lnTo>
                    <a:pt x="1284" y="1086"/>
                  </a:lnTo>
                  <a:lnTo>
                    <a:pt x="1278" y="1086"/>
                  </a:lnTo>
                  <a:lnTo>
                    <a:pt x="1278" y="1092"/>
                  </a:lnTo>
                  <a:lnTo>
                    <a:pt x="1272" y="1092"/>
                  </a:lnTo>
                  <a:lnTo>
                    <a:pt x="1266" y="1086"/>
                  </a:lnTo>
                  <a:lnTo>
                    <a:pt x="1260" y="1086"/>
                  </a:lnTo>
                  <a:lnTo>
                    <a:pt x="1260" y="1098"/>
                  </a:lnTo>
                  <a:lnTo>
                    <a:pt x="1248" y="1098"/>
                  </a:lnTo>
                  <a:lnTo>
                    <a:pt x="1212" y="1116"/>
                  </a:lnTo>
                  <a:lnTo>
                    <a:pt x="1206" y="1158"/>
                  </a:lnTo>
                  <a:lnTo>
                    <a:pt x="1176" y="1164"/>
                  </a:lnTo>
                  <a:lnTo>
                    <a:pt x="1158" y="1164"/>
                  </a:lnTo>
                  <a:lnTo>
                    <a:pt x="1152" y="1164"/>
                  </a:lnTo>
                  <a:lnTo>
                    <a:pt x="1152" y="1170"/>
                  </a:lnTo>
                  <a:lnTo>
                    <a:pt x="1152" y="1176"/>
                  </a:lnTo>
                  <a:lnTo>
                    <a:pt x="1146" y="1176"/>
                  </a:lnTo>
                  <a:lnTo>
                    <a:pt x="1140" y="1176"/>
                  </a:lnTo>
                  <a:lnTo>
                    <a:pt x="1134" y="1182"/>
                  </a:lnTo>
                  <a:lnTo>
                    <a:pt x="1134" y="1188"/>
                  </a:lnTo>
                  <a:lnTo>
                    <a:pt x="1128" y="1194"/>
                  </a:lnTo>
                  <a:lnTo>
                    <a:pt x="1122" y="1194"/>
                  </a:lnTo>
                  <a:lnTo>
                    <a:pt x="1116" y="1194"/>
                  </a:lnTo>
                  <a:lnTo>
                    <a:pt x="1110" y="1200"/>
                  </a:lnTo>
                  <a:lnTo>
                    <a:pt x="1110" y="1206"/>
                  </a:lnTo>
                  <a:lnTo>
                    <a:pt x="1104" y="1212"/>
                  </a:lnTo>
                  <a:lnTo>
                    <a:pt x="1104" y="1218"/>
                  </a:lnTo>
                  <a:lnTo>
                    <a:pt x="1098" y="1224"/>
                  </a:lnTo>
                  <a:lnTo>
                    <a:pt x="1092" y="1230"/>
                  </a:lnTo>
                  <a:lnTo>
                    <a:pt x="1086" y="1230"/>
                  </a:lnTo>
                  <a:lnTo>
                    <a:pt x="1080" y="1230"/>
                  </a:lnTo>
                  <a:lnTo>
                    <a:pt x="1080" y="1242"/>
                  </a:lnTo>
                  <a:lnTo>
                    <a:pt x="1074" y="1242"/>
                  </a:lnTo>
                  <a:lnTo>
                    <a:pt x="1068" y="1242"/>
                  </a:lnTo>
                  <a:lnTo>
                    <a:pt x="1068" y="1236"/>
                  </a:lnTo>
                  <a:lnTo>
                    <a:pt x="1062" y="1242"/>
                  </a:lnTo>
                  <a:lnTo>
                    <a:pt x="1056" y="1236"/>
                  </a:lnTo>
                  <a:lnTo>
                    <a:pt x="1050" y="1242"/>
                  </a:lnTo>
                  <a:lnTo>
                    <a:pt x="1050" y="1236"/>
                  </a:lnTo>
                  <a:lnTo>
                    <a:pt x="1044" y="1194"/>
                  </a:lnTo>
                  <a:lnTo>
                    <a:pt x="1032" y="1194"/>
                  </a:lnTo>
                  <a:lnTo>
                    <a:pt x="1032" y="1200"/>
                  </a:lnTo>
                  <a:lnTo>
                    <a:pt x="1026" y="1200"/>
                  </a:lnTo>
                  <a:lnTo>
                    <a:pt x="1014" y="1218"/>
                  </a:lnTo>
                  <a:lnTo>
                    <a:pt x="1014" y="1224"/>
                  </a:lnTo>
                  <a:lnTo>
                    <a:pt x="1014" y="1236"/>
                  </a:lnTo>
                  <a:lnTo>
                    <a:pt x="1014" y="1242"/>
                  </a:lnTo>
                  <a:lnTo>
                    <a:pt x="1008" y="1242"/>
                  </a:lnTo>
                  <a:lnTo>
                    <a:pt x="1002" y="1236"/>
                  </a:lnTo>
                  <a:lnTo>
                    <a:pt x="1002" y="1230"/>
                  </a:lnTo>
                  <a:lnTo>
                    <a:pt x="996" y="1236"/>
                  </a:lnTo>
                  <a:lnTo>
                    <a:pt x="990" y="1236"/>
                  </a:lnTo>
                  <a:lnTo>
                    <a:pt x="990" y="1230"/>
                  </a:lnTo>
                  <a:lnTo>
                    <a:pt x="984" y="1236"/>
                  </a:lnTo>
                  <a:lnTo>
                    <a:pt x="978" y="1248"/>
                  </a:lnTo>
                  <a:lnTo>
                    <a:pt x="972" y="1254"/>
                  </a:lnTo>
                  <a:lnTo>
                    <a:pt x="966" y="1260"/>
                  </a:lnTo>
                  <a:lnTo>
                    <a:pt x="930" y="1284"/>
                  </a:lnTo>
                  <a:lnTo>
                    <a:pt x="942" y="1356"/>
                  </a:lnTo>
                  <a:lnTo>
                    <a:pt x="930" y="1368"/>
                  </a:lnTo>
                  <a:lnTo>
                    <a:pt x="852" y="1404"/>
                  </a:lnTo>
                  <a:lnTo>
                    <a:pt x="834" y="1392"/>
                  </a:lnTo>
                  <a:lnTo>
                    <a:pt x="834" y="1362"/>
                  </a:lnTo>
                  <a:lnTo>
                    <a:pt x="828" y="1332"/>
                  </a:lnTo>
                  <a:lnTo>
                    <a:pt x="810" y="1308"/>
                  </a:lnTo>
                  <a:lnTo>
                    <a:pt x="810" y="1284"/>
                  </a:lnTo>
                  <a:lnTo>
                    <a:pt x="816" y="1266"/>
                  </a:lnTo>
                  <a:lnTo>
                    <a:pt x="822" y="1254"/>
                  </a:lnTo>
                  <a:lnTo>
                    <a:pt x="822" y="1242"/>
                  </a:lnTo>
                  <a:lnTo>
                    <a:pt x="810" y="1230"/>
                  </a:lnTo>
                  <a:lnTo>
                    <a:pt x="804" y="1218"/>
                  </a:lnTo>
                  <a:lnTo>
                    <a:pt x="804" y="1212"/>
                  </a:lnTo>
                  <a:lnTo>
                    <a:pt x="804" y="1206"/>
                  </a:lnTo>
                  <a:lnTo>
                    <a:pt x="816" y="1194"/>
                  </a:lnTo>
                  <a:lnTo>
                    <a:pt x="822" y="1188"/>
                  </a:lnTo>
                  <a:lnTo>
                    <a:pt x="828" y="1170"/>
                  </a:lnTo>
                  <a:lnTo>
                    <a:pt x="840" y="1152"/>
                  </a:lnTo>
                  <a:lnTo>
                    <a:pt x="846" y="1146"/>
                  </a:lnTo>
                  <a:lnTo>
                    <a:pt x="846" y="1134"/>
                  </a:lnTo>
                  <a:lnTo>
                    <a:pt x="852" y="1128"/>
                  </a:lnTo>
                  <a:lnTo>
                    <a:pt x="846" y="1116"/>
                  </a:lnTo>
                  <a:lnTo>
                    <a:pt x="840" y="1098"/>
                  </a:lnTo>
                  <a:lnTo>
                    <a:pt x="840" y="1086"/>
                  </a:lnTo>
                  <a:lnTo>
                    <a:pt x="846" y="1074"/>
                  </a:lnTo>
                  <a:lnTo>
                    <a:pt x="852" y="1068"/>
                  </a:lnTo>
                  <a:lnTo>
                    <a:pt x="864" y="1038"/>
                  </a:lnTo>
                  <a:lnTo>
                    <a:pt x="870" y="1020"/>
                  </a:lnTo>
                  <a:lnTo>
                    <a:pt x="864" y="1008"/>
                  </a:lnTo>
                  <a:lnTo>
                    <a:pt x="858" y="990"/>
                  </a:lnTo>
                  <a:lnTo>
                    <a:pt x="852" y="954"/>
                  </a:lnTo>
                  <a:lnTo>
                    <a:pt x="846" y="948"/>
                  </a:lnTo>
                  <a:lnTo>
                    <a:pt x="834" y="936"/>
                  </a:lnTo>
                  <a:lnTo>
                    <a:pt x="828" y="924"/>
                  </a:lnTo>
                  <a:lnTo>
                    <a:pt x="756" y="942"/>
                  </a:lnTo>
                  <a:lnTo>
                    <a:pt x="744" y="936"/>
                  </a:lnTo>
                  <a:lnTo>
                    <a:pt x="744" y="930"/>
                  </a:lnTo>
                  <a:lnTo>
                    <a:pt x="738" y="924"/>
                  </a:lnTo>
                  <a:lnTo>
                    <a:pt x="744" y="924"/>
                  </a:lnTo>
                  <a:lnTo>
                    <a:pt x="738" y="918"/>
                  </a:lnTo>
                  <a:lnTo>
                    <a:pt x="732" y="912"/>
                  </a:lnTo>
                  <a:lnTo>
                    <a:pt x="732" y="906"/>
                  </a:lnTo>
                  <a:lnTo>
                    <a:pt x="732" y="894"/>
                  </a:lnTo>
                  <a:lnTo>
                    <a:pt x="726" y="888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6"/>
                  </a:lnTo>
                  <a:lnTo>
                    <a:pt x="690" y="882"/>
                  </a:lnTo>
                  <a:lnTo>
                    <a:pt x="684" y="864"/>
                  </a:lnTo>
                  <a:lnTo>
                    <a:pt x="684" y="852"/>
                  </a:lnTo>
                  <a:lnTo>
                    <a:pt x="672" y="852"/>
                  </a:lnTo>
                  <a:lnTo>
                    <a:pt x="654" y="852"/>
                  </a:lnTo>
                  <a:lnTo>
                    <a:pt x="642" y="846"/>
                  </a:lnTo>
                  <a:lnTo>
                    <a:pt x="636" y="834"/>
                  </a:lnTo>
                  <a:lnTo>
                    <a:pt x="630" y="822"/>
                  </a:lnTo>
                  <a:lnTo>
                    <a:pt x="618" y="822"/>
                  </a:lnTo>
                  <a:lnTo>
                    <a:pt x="618" y="816"/>
                  </a:lnTo>
                  <a:lnTo>
                    <a:pt x="618" y="810"/>
                  </a:lnTo>
                  <a:lnTo>
                    <a:pt x="612" y="810"/>
                  </a:lnTo>
                  <a:lnTo>
                    <a:pt x="606" y="804"/>
                  </a:lnTo>
                  <a:lnTo>
                    <a:pt x="594" y="804"/>
                  </a:lnTo>
                  <a:lnTo>
                    <a:pt x="588" y="810"/>
                  </a:lnTo>
                  <a:lnTo>
                    <a:pt x="588" y="804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70" y="810"/>
                  </a:lnTo>
                  <a:lnTo>
                    <a:pt x="564" y="816"/>
                  </a:lnTo>
                  <a:lnTo>
                    <a:pt x="558" y="816"/>
                  </a:lnTo>
                  <a:lnTo>
                    <a:pt x="552" y="822"/>
                  </a:lnTo>
                  <a:lnTo>
                    <a:pt x="546" y="828"/>
                  </a:lnTo>
                  <a:lnTo>
                    <a:pt x="546" y="834"/>
                  </a:lnTo>
                  <a:lnTo>
                    <a:pt x="528" y="834"/>
                  </a:lnTo>
                  <a:lnTo>
                    <a:pt x="516" y="822"/>
                  </a:lnTo>
                  <a:lnTo>
                    <a:pt x="504" y="822"/>
                  </a:lnTo>
                  <a:lnTo>
                    <a:pt x="492" y="82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6" y="792"/>
                  </a:lnTo>
                  <a:lnTo>
                    <a:pt x="492" y="786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504" y="780"/>
                  </a:lnTo>
                  <a:lnTo>
                    <a:pt x="510" y="780"/>
                  </a:lnTo>
                  <a:lnTo>
                    <a:pt x="522" y="768"/>
                  </a:lnTo>
                  <a:lnTo>
                    <a:pt x="522" y="762"/>
                  </a:lnTo>
                  <a:lnTo>
                    <a:pt x="504" y="756"/>
                  </a:lnTo>
                  <a:lnTo>
                    <a:pt x="498" y="756"/>
                  </a:lnTo>
                  <a:lnTo>
                    <a:pt x="498" y="744"/>
                  </a:lnTo>
                  <a:lnTo>
                    <a:pt x="492" y="738"/>
                  </a:lnTo>
                  <a:lnTo>
                    <a:pt x="480" y="738"/>
                  </a:lnTo>
                  <a:lnTo>
                    <a:pt x="474" y="738"/>
                  </a:lnTo>
                  <a:lnTo>
                    <a:pt x="456" y="738"/>
                  </a:lnTo>
                  <a:lnTo>
                    <a:pt x="438" y="738"/>
                  </a:lnTo>
                  <a:lnTo>
                    <a:pt x="432" y="750"/>
                  </a:lnTo>
                  <a:lnTo>
                    <a:pt x="426" y="756"/>
                  </a:lnTo>
                  <a:lnTo>
                    <a:pt x="426" y="762"/>
                  </a:lnTo>
                  <a:lnTo>
                    <a:pt x="420" y="762"/>
                  </a:lnTo>
                  <a:lnTo>
                    <a:pt x="408" y="744"/>
                  </a:lnTo>
                  <a:lnTo>
                    <a:pt x="408" y="732"/>
                  </a:lnTo>
                  <a:lnTo>
                    <a:pt x="390" y="714"/>
                  </a:lnTo>
                  <a:lnTo>
                    <a:pt x="384" y="702"/>
                  </a:lnTo>
                  <a:lnTo>
                    <a:pt x="384" y="690"/>
                  </a:lnTo>
                  <a:lnTo>
                    <a:pt x="372" y="690"/>
                  </a:lnTo>
                  <a:lnTo>
                    <a:pt x="366" y="660"/>
                  </a:lnTo>
                  <a:lnTo>
                    <a:pt x="354" y="630"/>
                  </a:lnTo>
                  <a:lnTo>
                    <a:pt x="348" y="630"/>
                  </a:lnTo>
                  <a:lnTo>
                    <a:pt x="336" y="630"/>
                  </a:lnTo>
                  <a:lnTo>
                    <a:pt x="330" y="630"/>
                  </a:lnTo>
                  <a:lnTo>
                    <a:pt x="318" y="630"/>
                  </a:lnTo>
                  <a:lnTo>
                    <a:pt x="312" y="624"/>
                  </a:lnTo>
                  <a:lnTo>
                    <a:pt x="306" y="624"/>
                  </a:lnTo>
                  <a:lnTo>
                    <a:pt x="294" y="618"/>
                  </a:lnTo>
                  <a:lnTo>
                    <a:pt x="288" y="612"/>
                  </a:lnTo>
                  <a:lnTo>
                    <a:pt x="276" y="600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58" y="588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8"/>
                  </a:lnTo>
                  <a:lnTo>
                    <a:pt x="216" y="582"/>
                  </a:lnTo>
                  <a:lnTo>
                    <a:pt x="210" y="588"/>
                  </a:lnTo>
                  <a:lnTo>
                    <a:pt x="198" y="582"/>
                  </a:lnTo>
                  <a:lnTo>
                    <a:pt x="180" y="582"/>
                  </a:lnTo>
                  <a:lnTo>
                    <a:pt x="174" y="552"/>
                  </a:lnTo>
                  <a:lnTo>
                    <a:pt x="168" y="504"/>
                  </a:lnTo>
                  <a:lnTo>
                    <a:pt x="186" y="504"/>
                  </a:lnTo>
                  <a:lnTo>
                    <a:pt x="192" y="504"/>
                  </a:lnTo>
                  <a:lnTo>
                    <a:pt x="192" y="498"/>
                  </a:lnTo>
                  <a:lnTo>
                    <a:pt x="192" y="492"/>
                  </a:lnTo>
                  <a:lnTo>
                    <a:pt x="192" y="486"/>
                  </a:lnTo>
                  <a:lnTo>
                    <a:pt x="198" y="486"/>
                  </a:lnTo>
                  <a:lnTo>
                    <a:pt x="198" y="480"/>
                  </a:lnTo>
                  <a:lnTo>
                    <a:pt x="204" y="474"/>
                  </a:lnTo>
                  <a:lnTo>
                    <a:pt x="210" y="468"/>
                  </a:lnTo>
                  <a:lnTo>
                    <a:pt x="198" y="462"/>
                  </a:lnTo>
                  <a:lnTo>
                    <a:pt x="192" y="444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32"/>
                  </a:lnTo>
                  <a:lnTo>
                    <a:pt x="168" y="438"/>
                  </a:lnTo>
                  <a:lnTo>
                    <a:pt x="150" y="450"/>
                  </a:lnTo>
                  <a:lnTo>
                    <a:pt x="144" y="456"/>
                  </a:lnTo>
                  <a:lnTo>
                    <a:pt x="132" y="456"/>
                  </a:lnTo>
                  <a:lnTo>
                    <a:pt x="126" y="468"/>
                  </a:lnTo>
                  <a:lnTo>
                    <a:pt x="114" y="468"/>
                  </a:lnTo>
                  <a:lnTo>
                    <a:pt x="108" y="468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14"/>
                  </a:lnTo>
                  <a:lnTo>
                    <a:pt x="108" y="396"/>
                  </a:lnTo>
                  <a:lnTo>
                    <a:pt x="120" y="396"/>
                  </a:lnTo>
                  <a:lnTo>
                    <a:pt x="126" y="384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84" y="354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0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60" y="318"/>
                  </a:lnTo>
                  <a:lnTo>
                    <a:pt x="42" y="324"/>
                  </a:lnTo>
                  <a:lnTo>
                    <a:pt x="36" y="318"/>
                  </a:lnTo>
                  <a:lnTo>
                    <a:pt x="36" y="312"/>
                  </a:lnTo>
                  <a:lnTo>
                    <a:pt x="36" y="306"/>
                  </a:lnTo>
                  <a:lnTo>
                    <a:pt x="36" y="300"/>
                  </a:lnTo>
                  <a:lnTo>
                    <a:pt x="30" y="300"/>
                  </a:lnTo>
                  <a:lnTo>
                    <a:pt x="30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24" y="276"/>
                  </a:lnTo>
                  <a:lnTo>
                    <a:pt x="18" y="276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18" y="234"/>
                  </a:lnTo>
                  <a:lnTo>
                    <a:pt x="30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42" y="192"/>
                  </a:lnTo>
                  <a:lnTo>
                    <a:pt x="66" y="186"/>
                  </a:lnTo>
                  <a:lnTo>
                    <a:pt x="90" y="156"/>
                  </a:lnTo>
                  <a:lnTo>
                    <a:pt x="102" y="144"/>
                  </a:lnTo>
                  <a:lnTo>
                    <a:pt x="138" y="150"/>
                  </a:lnTo>
                  <a:lnTo>
                    <a:pt x="162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0" y="180"/>
                  </a:lnTo>
                  <a:lnTo>
                    <a:pt x="174" y="180"/>
                  </a:lnTo>
                  <a:lnTo>
                    <a:pt x="180" y="186"/>
                  </a:lnTo>
                  <a:lnTo>
                    <a:pt x="186" y="186"/>
                  </a:lnTo>
                  <a:lnTo>
                    <a:pt x="198" y="192"/>
                  </a:lnTo>
                  <a:lnTo>
                    <a:pt x="216" y="198"/>
                  </a:lnTo>
                  <a:lnTo>
                    <a:pt x="252" y="204"/>
                  </a:lnTo>
                  <a:lnTo>
                    <a:pt x="258" y="210"/>
                  </a:lnTo>
                  <a:lnTo>
                    <a:pt x="306" y="216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84" y="210"/>
                  </a:lnTo>
                  <a:lnTo>
                    <a:pt x="408" y="222"/>
                  </a:lnTo>
                  <a:lnTo>
                    <a:pt x="438" y="228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86" y="222"/>
                  </a:lnTo>
                  <a:lnTo>
                    <a:pt x="492" y="210"/>
                  </a:lnTo>
                  <a:lnTo>
                    <a:pt x="492" y="198"/>
                  </a:lnTo>
                  <a:lnTo>
                    <a:pt x="486" y="180"/>
                  </a:lnTo>
                  <a:lnTo>
                    <a:pt x="492" y="162"/>
                  </a:lnTo>
                  <a:lnTo>
                    <a:pt x="510" y="96"/>
                  </a:lnTo>
                  <a:lnTo>
                    <a:pt x="516" y="84"/>
                  </a:lnTo>
                  <a:lnTo>
                    <a:pt x="522" y="84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34" y="72"/>
                  </a:lnTo>
                  <a:lnTo>
                    <a:pt x="534" y="60"/>
                  </a:lnTo>
                  <a:lnTo>
                    <a:pt x="540" y="36"/>
                  </a:lnTo>
                  <a:lnTo>
                    <a:pt x="546" y="6"/>
                  </a:lnTo>
                  <a:lnTo>
                    <a:pt x="558" y="6"/>
                  </a:lnTo>
                  <a:lnTo>
                    <a:pt x="564" y="0"/>
                  </a:lnTo>
                  <a:lnTo>
                    <a:pt x="582" y="0"/>
                  </a:lnTo>
                  <a:lnTo>
                    <a:pt x="588" y="0"/>
                  </a:lnTo>
                  <a:lnTo>
                    <a:pt x="594" y="6"/>
                  </a:lnTo>
                  <a:lnTo>
                    <a:pt x="600" y="12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24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36" y="36"/>
                  </a:lnTo>
                  <a:lnTo>
                    <a:pt x="642" y="36"/>
                  </a:lnTo>
                  <a:lnTo>
                    <a:pt x="642" y="42"/>
                  </a:lnTo>
                  <a:lnTo>
                    <a:pt x="648" y="54"/>
                  </a:lnTo>
                  <a:lnTo>
                    <a:pt x="660" y="72"/>
                  </a:lnTo>
                  <a:lnTo>
                    <a:pt x="666" y="78"/>
                  </a:lnTo>
                  <a:lnTo>
                    <a:pt x="672" y="90"/>
                  </a:lnTo>
                  <a:lnTo>
                    <a:pt x="678" y="102"/>
                  </a:lnTo>
                  <a:lnTo>
                    <a:pt x="678" y="114"/>
                  </a:lnTo>
                  <a:lnTo>
                    <a:pt x="684" y="132"/>
                  </a:lnTo>
                  <a:lnTo>
                    <a:pt x="684" y="144"/>
                  </a:lnTo>
                  <a:lnTo>
                    <a:pt x="690" y="162"/>
                  </a:lnTo>
                  <a:lnTo>
                    <a:pt x="696" y="168"/>
                  </a:lnTo>
                  <a:lnTo>
                    <a:pt x="696" y="180"/>
                  </a:lnTo>
                  <a:lnTo>
                    <a:pt x="702" y="186"/>
                  </a:lnTo>
                  <a:lnTo>
                    <a:pt x="708" y="186"/>
                  </a:lnTo>
                  <a:lnTo>
                    <a:pt x="714" y="198"/>
                  </a:lnTo>
                  <a:lnTo>
                    <a:pt x="720" y="198"/>
                  </a:lnTo>
                  <a:lnTo>
                    <a:pt x="732" y="204"/>
                  </a:lnTo>
                  <a:lnTo>
                    <a:pt x="738" y="210"/>
                  </a:lnTo>
                  <a:lnTo>
                    <a:pt x="738" y="216"/>
                  </a:lnTo>
                  <a:lnTo>
                    <a:pt x="744" y="222"/>
                  </a:lnTo>
                  <a:lnTo>
                    <a:pt x="750" y="228"/>
                  </a:lnTo>
                  <a:lnTo>
                    <a:pt x="756" y="228"/>
                  </a:lnTo>
                  <a:lnTo>
                    <a:pt x="768" y="240"/>
                  </a:lnTo>
                  <a:lnTo>
                    <a:pt x="774" y="252"/>
                  </a:lnTo>
                  <a:lnTo>
                    <a:pt x="780" y="258"/>
                  </a:lnTo>
                  <a:lnTo>
                    <a:pt x="786" y="258"/>
                  </a:lnTo>
                  <a:lnTo>
                    <a:pt x="798" y="264"/>
                  </a:lnTo>
                  <a:lnTo>
                    <a:pt x="798" y="270"/>
                  </a:lnTo>
                  <a:lnTo>
                    <a:pt x="798" y="276"/>
                  </a:lnTo>
                  <a:lnTo>
                    <a:pt x="810" y="288"/>
                  </a:lnTo>
                  <a:lnTo>
                    <a:pt x="816" y="288"/>
                  </a:lnTo>
                  <a:lnTo>
                    <a:pt x="816" y="300"/>
                  </a:lnTo>
                  <a:lnTo>
                    <a:pt x="816" y="306"/>
                  </a:lnTo>
                  <a:lnTo>
                    <a:pt x="822" y="318"/>
                  </a:lnTo>
                  <a:lnTo>
                    <a:pt x="828" y="324"/>
                  </a:lnTo>
                  <a:lnTo>
                    <a:pt x="834" y="330"/>
                  </a:lnTo>
                  <a:lnTo>
                    <a:pt x="846" y="336"/>
                  </a:lnTo>
                  <a:lnTo>
                    <a:pt x="846" y="342"/>
                  </a:lnTo>
                  <a:lnTo>
                    <a:pt x="852" y="348"/>
                  </a:lnTo>
                  <a:lnTo>
                    <a:pt x="852" y="354"/>
                  </a:lnTo>
                  <a:lnTo>
                    <a:pt x="858" y="354"/>
                  </a:lnTo>
                  <a:lnTo>
                    <a:pt x="858" y="348"/>
                  </a:lnTo>
                  <a:lnTo>
                    <a:pt x="864" y="342"/>
                  </a:lnTo>
                  <a:lnTo>
                    <a:pt x="864" y="336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76" y="306"/>
                  </a:lnTo>
                  <a:lnTo>
                    <a:pt x="870" y="300"/>
                  </a:lnTo>
                  <a:lnTo>
                    <a:pt x="870" y="294"/>
                  </a:lnTo>
                  <a:lnTo>
                    <a:pt x="876" y="294"/>
                  </a:lnTo>
                  <a:lnTo>
                    <a:pt x="882" y="300"/>
                  </a:lnTo>
                  <a:lnTo>
                    <a:pt x="888" y="300"/>
                  </a:lnTo>
                  <a:lnTo>
                    <a:pt x="888" y="306"/>
                  </a:lnTo>
                  <a:lnTo>
                    <a:pt x="894" y="300"/>
                  </a:lnTo>
                  <a:lnTo>
                    <a:pt x="900" y="294"/>
                  </a:lnTo>
                  <a:lnTo>
                    <a:pt x="894" y="288"/>
                  </a:lnTo>
                  <a:lnTo>
                    <a:pt x="888" y="282"/>
                  </a:lnTo>
                  <a:lnTo>
                    <a:pt x="888" y="276"/>
                  </a:lnTo>
                  <a:lnTo>
                    <a:pt x="894" y="276"/>
                  </a:lnTo>
                  <a:lnTo>
                    <a:pt x="900" y="276"/>
                  </a:lnTo>
                  <a:lnTo>
                    <a:pt x="900" y="270"/>
                  </a:lnTo>
                  <a:lnTo>
                    <a:pt x="906" y="264"/>
                  </a:lnTo>
                  <a:lnTo>
                    <a:pt x="906" y="258"/>
                  </a:lnTo>
                  <a:lnTo>
                    <a:pt x="918" y="264"/>
                  </a:lnTo>
                  <a:lnTo>
                    <a:pt x="918" y="258"/>
                  </a:lnTo>
                  <a:lnTo>
                    <a:pt x="924" y="252"/>
                  </a:lnTo>
                  <a:lnTo>
                    <a:pt x="930" y="252"/>
                  </a:lnTo>
                  <a:lnTo>
                    <a:pt x="930" y="246"/>
                  </a:lnTo>
                  <a:lnTo>
                    <a:pt x="936" y="234"/>
                  </a:lnTo>
                  <a:lnTo>
                    <a:pt x="942" y="228"/>
                  </a:lnTo>
                  <a:lnTo>
                    <a:pt x="942" y="222"/>
                  </a:lnTo>
                  <a:lnTo>
                    <a:pt x="948" y="222"/>
                  </a:lnTo>
                  <a:lnTo>
                    <a:pt x="948" y="216"/>
                  </a:lnTo>
                  <a:lnTo>
                    <a:pt x="942" y="216"/>
                  </a:lnTo>
                  <a:lnTo>
                    <a:pt x="936" y="216"/>
                  </a:lnTo>
                  <a:lnTo>
                    <a:pt x="936" y="210"/>
                  </a:lnTo>
                  <a:lnTo>
                    <a:pt x="942" y="210"/>
                  </a:lnTo>
                  <a:lnTo>
                    <a:pt x="972" y="210"/>
                  </a:lnTo>
                  <a:lnTo>
                    <a:pt x="1032" y="216"/>
                  </a:lnTo>
                  <a:lnTo>
                    <a:pt x="1068" y="216"/>
                  </a:lnTo>
                  <a:lnTo>
                    <a:pt x="1056" y="234"/>
                  </a:lnTo>
                  <a:lnTo>
                    <a:pt x="1050" y="240"/>
                  </a:lnTo>
                  <a:lnTo>
                    <a:pt x="1044" y="246"/>
                  </a:lnTo>
                  <a:lnTo>
                    <a:pt x="1038" y="246"/>
                  </a:lnTo>
                  <a:lnTo>
                    <a:pt x="1026" y="282"/>
                  </a:lnTo>
                  <a:lnTo>
                    <a:pt x="1032" y="306"/>
                  </a:lnTo>
                  <a:lnTo>
                    <a:pt x="1044" y="324"/>
                  </a:lnTo>
                  <a:lnTo>
                    <a:pt x="1044" y="342"/>
                  </a:lnTo>
                  <a:lnTo>
                    <a:pt x="1062" y="366"/>
                  </a:lnTo>
                  <a:lnTo>
                    <a:pt x="1056" y="396"/>
                  </a:lnTo>
                  <a:lnTo>
                    <a:pt x="1038" y="462"/>
                  </a:lnTo>
                  <a:lnTo>
                    <a:pt x="1038" y="498"/>
                  </a:lnTo>
                  <a:lnTo>
                    <a:pt x="1038" y="522"/>
                  </a:lnTo>
                  <a:lnTo>
                    <a:pt x="1038" y="534"/>
                  </a:lnTo>
                  <a:lnTo>
                    <a:pt x="1056" y="522"/>
                  </a:lnTo>
                  <a:lnTo>
                    <a:pt x="1098" y="504"/>
                  </a:lnTo>
                  <a:lnTo>
                    <a:pt x="1104" y="498"/>
                  </a:lnTo>
                  <a:lnTo>
                    <a:pt x="1128" y="492"/>
                  </a:lnTo>
                  <a:lnTo>
                    <a:pt x="1152" y="480"/>
                  </a:lnTo>
                  <a:lnTo>
                    <a:pt x="1170" y="474"/>
                  </a:lnTo>
                  <a:lnTo>
                    <a:pt x="1188" y="468"/>
                  </a:lnTo>
                  <a:lnTo>
                    <a:pt x="1200" y="462"/>
                  </a:lnTo>
                  <a:lnTo>
                    <a:pt x="1224" y="450"/>
                  </a:lnTo>
                  <a:lnTo>
                    <a:pt x="1248" y="450"/>
                  </a:lnTo>
                  <a:lnTo>
                    <a:pt x="1266" y="450"/>
                  </a:lnTo>
                  <a:lnTo>
                    <a:pt x="1296" y="456"/>
                  </a:lnTo>
                  <a:lnTo>
                    <a:pt x="1308" y="456"/>
                  </a:lnTo>
                  <a:lnTo>
                    <a:pt x="1326" y="456"/>
                  </a:lnTo>
                  <a:lnTo>
                    <a:pt x="1338" y="456"/>
                  </a:lnTo>
                  <a:lnTo>
                    <a:pt x="1350" y="462"/>
                  </a:lnTo>
                  <a:lnTo>
                    <a:pt x="1356" y="462"/>
                  </a:lnTo>
                  <a:lnTo>
                    <a:pt x="1374" y="456"/>
                  </a:lnTo>
                  <a:lnTo>
                    <a:pt x="1386" y="456"/>
                  </a:lnTo>
                  <a:lnTo>
                    <a:pt x="1392" y="456"/>
                  </a:lnTo>
                  <a:lnTo>
                    <a:pt x="1398" y="456"/>
                  </a:lnTo>
                  <a:lnTo>
                    <a:pt x="1422" y="456"/>
                  </a:lnTo>
                  <a:lnTo>
                    <a:pt x="1440" y="456"/>
                  </a:lnTo>
                  <a:lnTo>
                    <a:pt x="1446" y="456"/>
                  </a:lnTo>
                  <a:lnTo>
                    <a:pt x="1476" y="456"/>
                  </a:lnTo>
                  <a:lnTo>
                    <a:pt x="1470" y="468"/>
                  </a:lnTo>
                  <a:lnTo>
                    <a:pt x="1470" y="474"/>
                  </a:lnTo>
                  <a:lnTo>
                    <a:pt x="1470" y="486"/>
                  </a:lnTo>
                  <a:lnTo>
                    <a:pt x="1464" y="492"/>
                  </a:lnTo>
                  <a:lnTo>
                    <a:pt x="1464" y="498"/>
                  </a:lnTo>
                  <a:lnTo>
                    <a:pt x="1458" y="498"/>
                  </a:lnTo>
                  <a:lnTo>
                    <a:pt x="1458" y="510"/>
                  </a:lnTo>
                  <a:lnTo>
                    <a:pt x="1452" y="522"/>
                  </a:lnTo>
                  <a:lnTo>
                    <a:pt x="1458" y="528"/>
                  </a:lnTo>
                  <a:lnTo>
                    <a:pt x="1464" y="546"/>
                  </a:lnTo>
                  <a:lnTo>
                    <a:pt x="1470" y="552"/>
                  </a:lnTo>
                  <a:lnTo>
                    <a:pt x="1476" y="564"/>
                  </a:lnTo>
                  <a:lnTo>
                    <a:pt x="1488" y="588"/>
                  </a:lnTo>
                  <a:lnTo>
                    <a:pt x="1506" y="606"/>
                  </a:lnTo>
                  <a:lnTo>
                    <a:pt x="1506" y="612"/>
                  </a:lnTo>
                  <a:lnTo>
                    <a:pt x="1518" y="618"/>
                  </a:lnTo>
                  <a:lnTo>
                    <a:pt x="1512" y="630"/>
                  </a:lnTo>
                  <a:lnTo>
                    <a:pt x="1518" y="642"/>
                  </a:lnTo>
                  <a:lnTo>
                    <a:pt x="1518" y="648"/>
                  </a:lnTo>
                  <a:lnTo>
                    <a:pt x="1530" y="666"/>
                  </a:lnTo>
                  <a:lnTo>
                    <a:pt x="1518" y="672"/>
                  </a:lnTo>
                  <a:lnTo>
                    <a:pt x="1524" y="696"/>
                  </a:lnTo>
                  <a:lnTo>
                    <a:pt x="1518" y="732"/>
                  </a:lnTo>
                  <a:lnTo>
                    <a:pt x="1524" y="762"/>
                  </a:lnTo>
                  <a:lnTo>
                    <a:pt x="1524" y="780"/>
                  </a:lnTo>
                  <a:lnTo>
                    <a:pt x="1524" y="810"/>
                  </a:lnTo>
                  <a:lnTo>
                    <a:pt x="1530" y="834"/>
                  </a:lnTo>
                  <a:lnTo>
                    <a:pt x="1536" y="846"/>
                  </a:lnTo>
                  <a:lnTo>
                    <a:pt x="1542" y="846"/>
                  </a:lnTo>
                  <a:lnTo>
                    <a:pt x="1584" y="840"/>
                  </a:lnTo>
                  <a:lnTo>
                    <a:pt x="1590" y="846"/>
                  </a:lnTo>
                  <a:lnTo>
                    <a:pt x="1596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90" y="864"/>
                  </a:lnTo>
                  <a:lnTo>
                    <a:pt x="1578" y="882"/>
                  </a:lnTo>
                  <a:lnTo>
                    <a:pt x="1572" y="906"/>
                  </a:lnTo>
                  <a:lnTo>
                    <a:pt x="1560" y="924"/>
                  </a:lnTo>
                  <a:lnTo>
                    <a:pt x="1560" y="936"/>
                  </a:lnTo>
                  <a:lnTo>
                    <a:pt x="1548" y="960"/>
                  </a:lnTo>
                  <a:lnTo>
                    <a:pt x="1542" y="978"/>
                  </a:lnTo>
                  <a:lnTo>
                    <a:pt x="1536" y="990"/>
                  </a:lnTo>
                  <a:lnTo>
                    <a:pt x="1530" y="990"/>
                  </a:lnTo>
                  <a:lnTo>
                    <a:pt x="1506" y="996"/>
                  </a:lnTo>
                  <a:lnTo>
                    <a:pt x="1494" y="1002"/>
                  </a:lnTo>
                  <a:lnTo>
                    <a:pt x="1482" y="1002"/>
                  </a:lnTo>
                  <a:lnTo>
                    <a:pt x="1464" y="1008"/>
                  </a:lnTo>
                  <a:lnTo>
                    <a:pt x="1446" y="1026"/>
                  </a:lnTo>
                  <a:lnTo>
                    <a:pt x="1440" y="1026"/>
                  </a:lnTo>
                  <a:lnTo>
                    <a:pt x="1434" y="1038"/>
                  </a:lnTo>
                  <a:lnTo>
                    <a:pt x="1428" y="1044"/>
                  </a:lnTo>
                  <a:lnTo>
                    <a:pt x="1428" y="1062"/>
                  </a:lnTo>
                  <a:lnTo>
                    <a:pt x="1428" y="1086"/>
                  </a:lnTo>
                  <a:lnTo>
                    <a:pt x="1416" y="1092"/>
                  </a:lnTo>
                  <a:lnTo>
                    <a:pt x="1410" y="1080"/>
                  </a:lnTo>
                  <a:lnTo>
                    <a:pt x="1392" y="10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0" name="Freeform 25">
              <a:extLst>
                <a:ext uri="{FF2B5EF4-FFF2-40B4-BE49-F238E27FC236}">
                  <a16:creationId xmlns:a16="http://schemas.microsoft.com/office/drawing/2014/main" id="{39FDFF90-5ACF-4D65-81AD-C44D2CBE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70228" y="3063559"/>
              <a:ext cx="644023" cy="704498"/>
            </a:xfrm>
            <a:custGeom>
              <a:avLst/>
              <a:gdLst>
                <a:gd name="T0" fmla="*/ 74 w 1212"/>
                <a:gd name="T1" fmla="*/ 113 h 1326"/>
                <a:gd name="T2" fmla="*/ 60 w 1212"/>
                <a:gd name="T3" fmla="*/ 116 h 1326"/>
                <a:gd name="T4" fmla="*/ 62 w 1212"/>
                <a:gd name="T5" fmla="*/ 110 h 1326"/>
                <a:gd name="T6" fmla="*/ 60 w 1212"/>
                <a:gd name="T7" fmla="*/ 105 h 1326"/>
                <a:gd name="T8" fmla="*/ 52 w 1212"/>
                <a:gd name="T9" fmla="*/ 96 h 1326"/>
                <a:gd name="T10" fmla="*/ 47 w 1212"/>
                <a:gd name="T11" fmla="*/ 98 h 1326"/>
                <a:gd name="T12" fmla="*/ 44 w 1212"/>
                <a:gd name="T13" fmla="*/ 93 h 1326"/>
                <a:gd name="T14" fmla="*/ 40 w 1212"/>
                <a:gd name="T15" fmla="*/ 96 h 1326"/>
                <a:gd name="T16" fmla="*/ 35 w 1212"/>
                <a:gd name="T17" fmla="*/ 102 h 1326"/>
                <a:gd name="T18" fmla="*/ 27 w 1212"/>
                <a:gd name="T19" fmla="*/ 100 h 1326"/>
                <a:gd name="T20" fmla="*/ 23 w 1212"/>
                <a:gd name="T21" fmla="*/ 96 h 1326"/>
                <a:gd name="T22" fmla="*/ 20 w 1212"/>
                <a:gd name="T23" fmla="*/ 90 h 1326"/>
                <a:gd name="T24" fmla="*/ 18 w 1212"/>
                <a:gd name="T25" fmla="*/ 89 h 1326"/>
                <a:gd name="T26" fmla="*/ 18 w 1212"/>
                <a:gd name="T27" fmla="*/ 85 h 1326"/>
                <a:gd name="T28" fmla="*/ 19 w 1212"/>
                <a:gd name="T29" fmla="*/ 83 h 1326"/>
                <a:gd name="T30" fmla="*/ 19 w 1212"/>
                <a:gd name="T31" fmla="*/ 82 h 1326"/>
                <a:gd name="T32" fmla="*/ 20 w 1212"/>
                <a:gd name="T33" fmla="*/ 79 h 1326"/>
                <a:gd name="T34" fmla="*/ 19 w 1212"/>
                <a:gd name="T35" fmla="*/ 75 h 1326"/>
                <a:gd name="T36" fmla="*/ 17 w 1212"/>
                <a:gd name="T37" fmla="*/ 77 h 1326"/>
                <a:gd name="T38" fmla="*/ 14 w 1212"/>
                <a:gd name="T39" fmla="*/ 76 h 1326"/>
                <a:gd name="T40" fmla="*/ 12 w 1212"/>
                <a:gd name="T41" fmla="*/ 71 h 1326"/>
                <a:gd name="T42" fmla="*/ 8 w 1212"/>
                <a:gd name="T43" fmla="*/ 69 h 1326"/>
                <a:gd name="T44" fmla="*/ 0 w 1212"/>
                <a:gd name="T45" fmla="*/ 72 h 1326"/>
                <a:gd name="T46" fmla="*/ 2 w 1212"/>
                <a:gd name="T47" fmla="*/ 67 h 1326"/>
                <a:gd name="T48" fmla="*/ 3 w 1212"/>
                <a:gd name="T49" fmla="*/ 61 h 1326"/>
                <a:gd name="T50" fmla="*/ 4 w 1212"/>
                <a:gd name="T51" fmla="*/ 56 h 1326"/>
                <a:gd name="T52" fmla="*/ 4 w 1212"/>
                <a:gd name="T53" fmla="*/ 52 h 1326"/>
                <a:gd name="T54" fmla="*/ 2 w 1212"/>
                <a:gd name="T55" fmla="*/ 47 h 1326"/>
                <a:gd name="T56" fmla="*/ 2 w 1212"/>
                <a:gd name="T57" fmla="*/ 42 h 1326"/>
                <a:gd name="T58" fmla="*/ 5 w 1212"/>
                <a:gd name="T59" fmla="*/ 39 h 1326"/>
                <a:gd name="T60" fmla="*/ 5 w 1212"/>
                <a:gd name="T61" fmla="*/ 35 h 1326"/>
                <a:gd name="T62" fmla="*/ 7 w 1212"/>
                <a:gd name="T63" fmla="*/ 31 h 1326"/>
                <a:gd name="T64" fmla="*/ 14 w 1212"/>
                <a:gd name="T65" fmla="*/ 31 h 1326"/>
                <a:gd name="T66" fmla="*/ 18 w 1212"/>
                <a:gd name="T67" fmla="*/ 27 h 1326"/>
                <a:gd name="T68" fmla="*/ 22 w 1212"/>
                <a:gd name="T69" fmla="*/ 24 h 1326"/>
                <a:gd name="T70" fmla="*/ 27 w 1212"/>
                <a:gd name="T71" fmla="*/ 20 h 1326"/>
                <a:gd name="T72" fmla="*/ 35 w 1212"/>
                <a:gd name="T73" fmla="*/ 21 h 1326"/>
                <a:gd name="T74" fmla="*/ 61 w 1212"/>
                <a:gd name="T75" fmla="*/ 8 h 1326"/>
                <a:gd name="T76" fmla="*/ 73 w 1212"/>
                <a:gd name="T77" fmla="*/ 4 h 1326"/>
                <a:gd name="T78" fmla="*/ 86 w 1212"/>
                <a:gd name="T79" fmla="*/ 12 h 1326"/>
                <a:gd name="T80" fmla="*/ 92 w 1212"/>
                <a:gd name="T81" fmla="*/ 13 h 1326"/>
                <a:gd name="T82" fmla="*/ 86 w 1212"/>
                <a:gd name="T83" fmla="*/ 18 h 1326"/>
                <a:gd name="T84" fmla="*/ 88 w 1212"/>
                <a:gd name="T85" fmla="*/ 33 h 1326"/>
                <a:gd name="T86" fmla="*/ 97 w 1212"/>
                <a:gd name="T87" fmla="*/ 49 h 1326"/>
                <a:gd name="T88" fmla="*/ 102 w 1212"/>
                <a:gd name="T89" fmla="*/ 57 h 1326"/>
                <a:gd name="T90" fmla="*/ 104 w 1212"/>
                <a:gd name="T91" fmla="*/ 67 h 1326"/>
                <a:gd name="T92" fmla="*/ 101 w 1212"/>
                <a:gd name="T93" fmla="*/ 69 h 1326"/>
                <a:gd name="T94" fmla="*/ 97 w 1212"/>
                <a:gd name="T95" fmla="*/ 69 h 1326"/>
                <a:gd name="T96" fmla="*/ 96 w 1212"/>
                <a:gd name="T97" fmla="*/ 71 h 1326"/>
                <a:gd name="T98" fmla="*/ 93 w 1212"/>
                <a:gd name="T99" fmla="*/ 70 h 1326"/>
                <a:gd name="T100" fmla="*/ 86 w 1212"/>
                <a:gd name="T101" fmla="*/ 69 h 1326"/>
                <a:gd name="T102" fmla="*/ 82 w 1212"/>
                <a:gd name="T103" fmla="*/ 73 h 1326"/>
                <a:gd name="T104" fmla="*/ 79 w 1212"/>
                <a:gd name="T105" fmla="*/ 74 h 1326"/>
                <a:gd name="T106" fmla="*/ 78 w 1212"/>
                <a:gd name="T107" fmla="*/ 79 h 1326"/>
                <a:gd name="T108" fmla="*/ 78 w 1212"/>
                <a:gd name="T109" fmla="*/ 83 h 1326"/>
                <a:gd name="T110" fmla="*/ 82 w 1212"/>
                <a:gd name="T111" fmla="*/ 87 h 1326"/>
                <a:gd name="T112" fmla="*/ 83 w 1212"/>
                <a:gd name="T113" fmla="*/ 90 h 1326"/>
                <a:gd name="T114" fmla="*/ 82 w 1212"/>
                <a:gd name="T115" fmla="*/ 94 h 1326"/>
                <a:gd name="T116" fmla="*/ 82 w 1212"/>
                <a:gd name="T117" fmla="*/ 98 h 1326"/>
                <a:gd name="T118" fmla="*/ 82 w 1212"/>
                <a:gd name="T119" fmla="*/ 104 h 1326"/>
                <a:gd name="T120" fmla="*/ 78 w 1212"/>
                <a:gd name="T121" fmla="*/ 110 h 132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12"/>
                <a:gd name="T184" fmla="*/ 0 h 1326"/>
                <a:gd name="T185" fmla="*/ 1212 w 1212"/>
                <a:gd name="T186" fmla="*/ 1326 h 132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12" h="1326">
                  <a:moveTo>
                    <a:pt x="906" y="1290"/>
                  </a:moveTo>
                  <a:lnTo>
                    <a:pt x="906" y="1296"/>
                  </a:lnTo>
                  <a:lnTo>
                    <a:pt x="900" y="1296"/>
                  </a:lnTo>
                  <a:lnTo>
                    <a:pt x="876" y="1290"/>
                  </a:lnTo>
                  <a:lnTo>
                    <a:pt x="870" y="1290"/>
                  </a:lnTo>
                  <a:lnTo>
                    <a:pt x="864" y="1296"/>
                  </a:lnTo>
                  <a:lnTo>
                    <a:pt x="852" y="1296"/>
                  </a:lnTo>
                  <a:lnTo>
                    <a:pt x="840" y="1302"/>
                  </a:lnTo>
                  <a:lnTo>
                    <a:pt x="834" y="1308"/>
                  </a:lnTo>
                  <a:lnTo>
                    <a:pt x="822" y="1320"/>
                  </a:lnTo>
                  <a:lnTo>
                    <a:pt x="816" y="1320"/>
                  </a:lnTo>
                  <a:lnTo>
                    <a:pt x="732" y="1320"/>
                  </a:lnTo>
                  <a:lnTo>
                    <a:pt x="696" y="1320"/>
                  </a:lnTo>
                  <a:lnTo>
                    <a:pt x="690" y="1326"/>
                  </a:lnTo>
                  <a:lnTo>
                    <a:pt x="678" y="1326"/>
                  </a:lnTo>
                  <a:lnTo>
                    <a:pt x="672" y="1308"/>
                  </a:lnTo>
                  <a:lnTo>
                    <a:pt x="696" y="1302"/>
                  </a:lnTo>
                  <a:lnTo>
                    <a:pt x="708" y="1296"/>
                  </a:lnTo>
                  <a:lnTo>
                    <a:pt x="720" y="1284"/>
                  </a:lnTo>
                  <a:lnTo>
                    <a:pt x="714" y="1278"/>
                  </a:lnTo>
                  <a:lnTo>
                    <a:pt x="714" y="1266"/>
                  </a:lnTo>
                  <a:lnTo>
                    <a:pt x="708" y="1260"/>
                  </a:lnTo>
                  <a:lnTo>
                    <a:pt x="708" y="1254"/>
                  </a:lnTo>
                  <a:lnTo>
                    <a:pt x="708" y="1248"/>
                  </a:lnTo>
                  <a:lnTo>
                    <a:pt x="702" y="1236"/>
                  </a:lnTo>
                  <a:lnTo>
                    <a:pt x="702" y="1230"/>
                  </a:lnTo>
                  <a:lnTo>
                    <a:pt x="702" y="1218"/>
                  </a:lnTo>
                  <a:lnTo>
                    <a:pt x="696" y="1200"/>
                  </a:lnTo>
                  <a:lnTo>
                    <a:pt x="696" y="1182"/>
                  </a:lnTo>
                  <a:lnTo>
                    <a:pt x="666" y="1182"/>
                  </a:lnTo>
                  <a:lnTo>
                    <a:pt x="672" y="1134"/>
                  </a:lnTo>
                  <a:lnTo>
                    <a:pt x="666" y="1128"/>
                  </a:lnTo>
                  <a:lnTo>
                    <a:pt x="660" y="1092"/>
                  </a:lnTo>
                  <a:lnTo>
                    <a:pt x="654" y="1098"/>
                  </a:lnTo>
                  <a:lnTo>
                    <a:pt x="594" y="1098"/>
                  </a:lnTo>
                  <a:lnTo>
                    <a:pt x="576" y="1098"/>
                  </a:lnTo>
                  <a:lnTo>
                    <a:pt x="570" y="1104"/>
                  </a:lnTo>
                  <a:lnTo>
                    <a:pt x="564" y="1110"/>
                  </a:lnTo>
                  <a:lnTo>
                    <a:pt x="558" y="1110"/>
                  </a:lnTo>
                  <a:lnTo>
                    <a:pt x="552" y="1110"/>
                  </a:lnTo>
                  <a:lnTo>
                    <a:pt x="546" y="1110"/>
                  </a:lnTo>
                  <a:lnTo>
                    <a:pt x="546" y="1116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10" y="1128"/>
                  </a:lnTo>
                  <a:lnTo>
                    <a:pt x="522" y="1104"/>
                  </a:lnTo>
                  <a:lnTo>
                    <a:pt x="510" y="1098"/>
                  </a:lnTo>
                  <a:lnTo>
                    <a:pt x="510" y="1074"/>
                  </a:lnTo>
                  <a:lnTo>
                    <a:pt x="504" y="1068"/>
                  </a:lnTo>
                  <a:lnTo>
                    <a:pt x="498" y="1068"/>
                  </a:lnTo>
                  <a:lnTo>
                    <a:pt x="492" y="1068"/>
                  </a:lnTo>
                  <a:lnTo>
                    <a:pt x="474" y="1080"/>
                  </a:lnTo>
                  <a:lnTo>
                    <a:pt x="474" y="1086"/>
                  </a:lnTo>
                  <a:lnTo>
                    <a:pt x="474" y="1092"/>
                  </a:lnTo>
                  <a:lnTo>
                    <a:pt x="468" y="1098"/>
                  </a:lnTo>
                  <a:lnTo>
                    <a:pt x="462" y="1104"/>
                  </a:lnTo>
                  <a:lnTo>
                    <a:pt x="456" y="1110"/>
                  </a:lnTo>
                  <a:lnTo>
                    <a:pt x="456" y="1122"/>
                  </a:lnTo>
                  <a:lnTo>
                    <a:pt x="456" y="1128"/>
                  </a:lnTo>
                  <a:lnTo>
                    <a:pt x="450" y="1140"/>
                  </a:lnTo>
                  <a:lnTo>
                    <a:pt x="444" y="1146"/>
                  </a:lnTo>
                  <a:lnTo>
                    <a:pt x="426" y="1170"/>
                  </a:lnTo>
                  <a:lnTo>
                    <a:pt x="408" y="1176"/>
                  </a:lnTo>
                  <a:lnTo>
                    <a:pt x="402" y="1170"/>
                  </a:lnTo>
                  <a:lnTo>
                    <a:pt x="396" y="1170"/>
                  </a:lnTo>
                  <a:lnTo>
                    <a:pt x="396" y="1158"/>
                  </a:lnTo>
                  <a:lnTo>
                    <a:pt x="384" y="1152"/>
                  </a:lnTo>
                  <a:lnTo>
                    <a:pt x="372" y="1140"/>
                  </a:lnTo>
                  <a:lnTo>
                    <a:pt x="354" y="1140"/>
                  </a:lnTo>
                  <a:lnTo>
                    <a:pt x="306" y="1146"/>
                  </a:lnTo>
                  <a:lnTo>
                    <a:pt x="294" y="1134"/>
                  </a:lnTo>
                  <a:lnTo>
                    <a:pt x="294" y="1128"/>
                  </a:lnTo>
                  <a:lnTo>
                    <a:pt x="288" y="1122"/>
                  </a:lnTo>
                  <a:lnTo>
                    <a:pt x="276" y="1122"/>
                  </a:lnTo>
                  <a:lnTo>
                    <a:pt x="276" y="1110"/>
                  </a:lnTo>
                  <a:lnTo>
                    <a:pt x="276" y="1104"/>
                  </a:lnTo>
                  <a:lnTo>
                    <a:pt x="270" y="1098"/>
                  </a:lnTo>
                  <a:lnTo>
                    <a:pt x="264" y="1086"/>
                  </a:lnTo>
                  <a:lnTo>
                    <a:pt x="264" y="1074"/>
                  </a:lnTo>
                  <a:lnTo>
                    <a:pt x="258" y="1068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34" y="1038"/>
                  </a:lnTo>
                  <a:lnTo>
                    <a:pt x="228" y="1038"/>
                  </a:lnTo>
                  <a:lnTo>
                    <a:pt x="222" y="1038"/>
                  </a:lnTo>
                  <a:lnTo>
                    <a:pt x="216" y="1038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0"/>
                  </a:lnTo>
                  <a:lnTo>
                    <a:pt x="204" y="1014"/>
                  </a:lnTo>
                  <a:lnTo>
                    <a:pt x="204" y="1008"/>
                  </a:lnTo>
                  <a:lnTo>
                    <a:pt x="198" y="1002"/>
                  </a:lnTo>
                  <a:lnTo>
                    <a:pt x="198" y="996"/>
                  </a:lnTo>
                  <a:lnTo>
                    <a:pt x="198" y="990"/>
                  </a:lnTo>
                  <a:lnTo>
                    <a:pt x="204" y="990"/>
                  </a:lnTo>
                  <a:lnTo>
                    <a:pt x="204" y="984"/>
                  </a:lnTo>
                  <a:lnTo>
                    <a:pt x="210" y="978"/>
                  </a:lnTo>
                  <a:lnTo>
                    <a:pt x="210" y="972"/>
                  </a:lnTo>
                  <a:lnTo>
                    <a:pt x="210" y="966"/>
                  </a:lnTo>
                  <a:lnTo>
                    <a:pt x="216" y="960"/>
                  </a:lnTo>
                  <a:lnTo>
                    <a:pt x="216" y="954"/>
                  </a:lnTo>
                  <a:lnTo>
                    <a:pt x="210" y="954"/>
                  </a:lnTo>
                  <a:lnTo>
                    <a:pt x="204" y="954"/>
                  </a:lnTo>
                  <a:lnTo>
                    <a:pt x="216" y="954"/>
                  </a:lnTo>
                  <a:lnTo>
                    <a:pt x="216" y="948"/>
                  </a:lnTo>
                  <a:lnTo>
                    <a:pt x="210" y="948"/>
                  </a:lnTo>
                  <a:lnTo>
                    <a:pt x="210" y="942"/>
                  </a:lnTo>
                  <a:lnTo>
                    <a:pt x="216" y="942"/>
                  </a:lnTo>
                  <a:lnTo>
                    <a:pt x="222" y="942"/>
                  </a:lnTo>
                  <a:lnTo>
                    <a:pt x="222" y="936"/>
                  </a:lnTo>
                  <a:lnTo>
                    <a:pt x="216" y="936"/>
                  </a:lnTo>
                  <a:lnTo>
                    <a:pt x="210" y="936"/>
                  </a:lnTo>
                  <a:lnTo>
                    <a:pt x="210" y="930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22" y="918"/>
                  </a:lnTo>
                  <a:lnTo>
                    <a:pt x="228" y="912"/>
                  </a:lnTo>
                  <a:lnTo>
                    <a:pt x="228" y="906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2" y="888"/>
                  </a:lnTo>
                  <a:lnTo>
                    <a:pt x="222" y="882"/>
                  </a:lnTo>
                  <a:lnTo>
                    <a:pt x="222" y="876"/>
                  </a:lnTo>
                  <a:lnTo>
                    <a:pt x="222" y="858"/>
                  </a:lnTo>
                  <a:lnTo>
                    <a:pt x="216" y="858"/>
                  </a:lnTo>
                  <a:lnTo>
                    <a:pt x="216" y="852"/>
                  </a:lnTo>
                  <a:lnTo>
                    <a:pt x="210" y="852"/>
                  </a:lnTo>
                  <a:lnTo>
                    <a:pt x="210" y="840"/>
                  </a:lnTo>
                  <a:lnTo>
                    <a:pt x="198" y="840"/>
                  </a:lnTo>
                  <a:lnTo>
                    <a:pt x="198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0" y="894"/>
                  </a:lnTo>
                  <a:lnTo>
                    <a:pt x="180" y="906"/>
                  </a:lnTo>
                  <a:lnTo>
                    <a:pt x="156" y="912"/>
                  </a:lnTo>
                  <a:lnTo>
                    <a:pt x="156" y="894"/>
                  </a:lnTo>
                  <a:lnTo>
                    <a:pt x="156" y="882"/>
                  </a:lnTo>
                  <a:lnTo>
                    <a:pt x="156" y="876"/>
                  </a:lnTo>
                  <a:lnTo>
                    <a:pt x="150" y="876"/>
                  </a:lnTo>
                  <a:lnTo>
                    <a:pt x="144" y="876"/>
                  </a:lnTo>
                  <a:lnTo>
                    <a:pt x="138" y="870"/>
                  </a:lnTo>
                  <a:lnTo>
                    <a:pt x="132" y="864"/>
                  </a:lnTo>
                  <a:lnTo>
                    <a:pt x="138" y="840"/>
                  </a:lnTo>
                  <a:lnTo>
                    <a:pt x="132" y="840"/>
                  </a:lnTo>
                  <a:lnTo>
                    <a:pt x="138" y="810"/>
                  </a:lnTo>
                  <a:lnTo>
                    <a:pt x="144" y="804"/>
                  </a:lnTo>
                  <a:lnTo>
                    <a:pt x="144" y="798"/>
                  </a:lnTo>
                  <a:lnTo>
                    <a:pt x="156" y="798"/>
                  </a:lnTo>
                  <a:lnTo>
                    <a:pt x="156" y="792"/>
                  </a:lnTo>
                  <a:lnTo>
                    <a:pt x="120" y="792"/>
                  </a:lnTo>
                  <a:lnTo>
                    <a:pt x="108" y="786"/>
                  </a:lnTo>
                  <a:lnTo>
                    <a:pt x="96" y="786"/>
                  </a:lnTo>
                  <a:lnTo>
                    <a:pt x="96" y="780"/>
                  </a:lnTo>
                  <a:lnTo>
                    <a:pt x="78" y="780"/>
                  </a:lnTo>
                  <a:lnTo>
                    <a:pt x="72" y="804"/>
                  </a:lnTo>
                  <a:lnTo>
                    <a:pt x="60" y="816"/>
                  </a:lnTo>
                  <a:lnTo>
                    <a:pt x="36" y="828"/>
                  </a:lnTo>
                  <a:lnTo>
                    <a:pt x="18" y="840"/>
                  </a:lnTo>
                  <a:lnTo>
                    <a:pt x="0" y="822"/>
                  </a:lnTo>
                  <a:lnTo>
                    <a:pt x="6" y="816"/>
                  </a:lnTo>
                  <a:lnTo>
                    <a:pt x="12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18" y="786"/>
                  </a:lnTo>
                  <a:lnTo>
                    <a:pt x="24" y="780"/>
                  </a:lnTo>
                  <a:lnTo>
                    <a:pt x="24" y="768"/>
                  </a:lnTo>
                  <a:lnTo>
                    <a:pt x="24" y="762"/>
                  </a:lnTo>
                  <a:lnTo>
                    <a:pt x="24" y="750"/>
                  </a:lnTo>
                  <a:lnTo>
                    <a:pt x="36" y="714"/>
                  </a:lnTo>
                  <a:lnTo>
                    <a:pt x="36" y="708"/>
                  </a:lnTo>
                  <a:lnTo>
                    <a:pt x="42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6" y="690"/>
                  </a:lnTo>
                  <a:lnTo>
                    <a:pt x="42" y="684"/>
                  </a:lnTo>
                  <a:lnTo>
                    <a:pt x="42" y="672"/>
                  </a:lnTo>
                  <a:lnTo>
                    <a:pt x="42" y="666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48" y="648"/>
                  </a:lnTo>
                  <a:lnTo>
                    <a:pt x="54" y="642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54" y="612"/>
                  </a:lnTo>
                  <a:lnTo>
                    <a:pt x="48" y="606"/>
                  </a:lnTo>
                  <a:lnTo>
                    <a:pt x="48" y="600"/>
                  </a:lnTo>
                  <a:lnTo>
                    <a:pt x="42" y="600"/>
                  </a:lnTo>
                  <a:lnTo>
                    <a:pt x="36" y="594"/>
                  </a:lnTo>
                  <a:lnTo>
                    <a:pt x="36" y="588"/>
                  </a:lnTo>
                  <a:lnTo>
                    <a:pt x="30" y="582"/>
                  </a:lnTo>
                  <a:lnTo>
                    <a:pt x="30" y="570"/>
                  </a:lnTo>
                  <a:lnTo>
                    <a:pt x="18" y="552"/>
                  </a:lnTo>
                  <a:lnTo>
                    <a:pt x="18" y="546"/>
                  </a:lnTo>
                  <a:lnTo>
                    <a:pt x="18" y="540"/>
                  </a:lnTo>
                  <a:lnTo>
                    <a:pt x="18" y="528"/>
                  </a:lnTo>
                  <a:lnTo>
                    <a:pt x="18" y="522"/>
                  </a:lnTo>
                  <a:lnTo>
                    <a:pt x="24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30" y="474"/>
                  </a:lnTo>
                  <a:lnTo>
                    <a:pt x="36" y="474"/>
                  </a:lnTo>
                  <a:lnTo>
                    <a:pt x="42" y="468"/>
                  </a:lnTo>
                  <a:lnTo>
                    <a:pt x="48" y="468"/>
                  </a:lnTo>
                  <a:lnTo>
                    <a:pt x="48" y="462"/>
                  </a:lnTo>
                  <a:lnTo>
                    <a:pt x="48" y="456"/>
                  </a:lnTo>
                  <a:lnTo>
                    <a:pt x="54" y="450"/>
                  </a:lnTo>
                  <a:lnTo>
                    <a:pt x="60" y="438"/>
                  </a:lnTo>
                  <a:lnTo>
                    <a:pt x="54" y="438"/>
                  </a:lnTo>
                  <a:lnTo>
                    <a:pt x="54" y="432"/>
                  </a:ln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54" y="402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6" y="384"/>
                  </a:lnTo>
                  <a:lnTo>
                    <a:pt x="72" y="372"/>
                  </a:lnTo>
                  <a:lnTo>
                    <a:pt x="78" y="366"/>
                  </a:lnTo>
                  <a:lnTo>
                    <a:pt x="84" y="360"/>
                  </a:lnTo>
                  <a:lnTo>
                    <a:pt x="102" y="360"/>
                  </a:lnTo>
                  <a:lnTo>
                    <a:pt x="114" y="36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8" y="360"/>
                  </a:lnTo>
                  <a:lnTo>
                    <a:pt x="156" y="360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74" y="342"/>
                  </a:lnTo>
                  <a:lnTo>
                    <a:pt x="180" y="342"/>
                  </a:lnTo>
                  <a:lnTo>
                    <a:pt x="186" y="336"/>
                  </a:lnTo>
                  <a:lnTo>
                    <a:pt x="192" y="330"/>
                  </a:lnTo>
                  <a:lnTo>
                    <a:pt x="204" y="312"/>
                  </a:lnTo>
                  <a:lnTo>
                    <a:pt x="210" y="312"/>
                  </a:lnTo>
                  <a:lnTo>
                    <a:pt x="216" y="306"/>
                  </a:lnTo>
                  <a:lnTo>
                    <a:pt x="216" y="300"/>
                  </a:lnTo>
                  <a:lnTo>
                    <a:pt x="222" y="288"/>
                  </a:lnTo>
                  <a:lnTo>
                    <a:pt x="234" y="288"/>
                  </a:lnTo>
                  <a:lnTo>
                    <a:pt x="240" y="282"/>
                  </a:lnTo>
                  <a:lnTo>
                    <a:pt x="246" y="282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70" y="270"/>
                  </a:lnTo>
                  <a:lnTo>
                    <a:pt x="276" y="264"/>
                  </a:lnTo>
                  <a:lnTo>
                    <a:pt x="282" y="26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8" y="234"/>
                  </a:lnTo>
                  <a:lnTo>
                    <a:pt x="330" y="234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72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14" y="240"/>
                  </a:lnTo>
                  <a:lnTo>
                    <a:pt x="444" y="216"/>
                  </a:lnTo>
                  <a:lnTo>
                    <a:pt x="480" y="204"/>
                  </a:lnTo>
                  <a:lnTo>
                    <a:pt x="600" y="150"/>
                  </a:lnTo>
                  <a:lnTo>
                    <a:pt x="648" y="126"/>
                  </a:lnTo>
                  <a:lnTo>
                    <a:pt x="702" y="96"/>
                  </a:lnTo>
                  <a:lnTo>
                    <a:pt x="708" y="54"/>
                  </a:lnTo>
                  <a:lnTo>
                    <a:pt x="720" y="24"/>
                  </a:lnTo>
                  <a:lnTo>
                    <a:pt x="738" y="12"/>
                  </a:lnTo>
                  <a:lnTo>
                    <a:pt x="768" y="0"/>
                  </a:lnTo>
                  <a:lnTo>
                    <a:pt x="792" y="6"/>
                  </a:lnTo>
                  <a:lnTo>
                    <a:pt x="804" y="12"/>
                  </a:lnTo>
                  <a:lnTo>
                    <a:pt x="834" y="48"/>
                  </a:lnTo>
                  <a:lnTo>
                    <a:pt x="834" y="60"/>
                  </a:lnTo>
                  <a:lnTo>
                    <a:pt x="852" y="84"/>
                  </a:lnTo>
                  <a:lnTo>
                    <a:pt x="864" y="96"/>
                  </a:lnTo>
                  <a:lnTo>
                    <a:pt x="888" y="102"/>
                  </a:lnTo>
                  <a:lnTo>
                    <a:pt x="978" y="120"/>
                  </a:lnTo>
                  <a:lnTo>
                    <a:pt x="984" y="126"/>
                  </a:lnTo>
                  <a:lnTo>
                    <a:pt x="984" y="132"/>
                  </a:lnTo>
                  <a:lnTo>
                    <a:pt x="996" y="138"/>
                  </a:lnTo>
                  <a:lnTo>
                    <a:pt x="1038" y="126"/>
                  </a:lnTo>
                  <a:lnTo>
                    <a:pt x="1056" y="114"/>
                  </a:lnTo>
                  <a:lnTo>
                    <a:pt x="1068" y="126"/>
                  </a:lnTo>
                  <a:lnTo>
                    <a:pt x="1074" y="132"/>
                  </a:lnTo>
                  <a:lnTo>
                    <a:pt x="1068" y="138"/>
                  </a:lnTo>
                  <a:lnTo>
                    <a:pt x="1056" y="150"/>
                  </a:lnTo>
                  <a:lnTo>
                    <a:pt x="1038" y="162"/>
                  </a:lnTo>
                  <a:lnTo>
                    <a:pt x="1038" y="168"/>
                  </a:lnTo>
                  <a:lnTo>
                    <a:pt x="1020" y="174"/>
                  </a:lnTo>
                  <a:lnTo>
                    <a:pt x="1014" y="180"/>
                  </a:lnTo>
                  <a:lnTo>
                    <a:pt x="1008" y="186"/>
                  </a:lnTo>
                  <a:lnTo>
                    <a:pt x="1002" y="198"/>
                  </a:lnTo>
                  <a:lnTo>
                    <a:pt x="984" y="204"/>
                  </a:lnTo>
                  <a:lnTo>
                    <a:pt x="984" y="246"/>
                  </a:lnTo>
                  <a:lnTo>
                    <a:pt x="978" y="270"/>
                  </a:lnTo>
                  <a:lnTo>
                    <a:pt x="990" y="306"/>
                  </a:lnTo>
                  <a:lnTo>
                    <a:pt x="990" y="324"/>
                  </a:lnTo>
                  <a:lnTo>
                    <a:pt x="1002" y="336"/>
                  </a:lnTo>
                  <a:lnTo>
                    <a:pt x="1020" y="372"/>
                  </a:lnTo>
                  <a:lnTo>
                    <a:pt x="1014" y="378"/>
                  </a:lnTo>
                  <a:lnTo>
                    <a:pt x="1014" y="384"/>
                  </a:lnTo>
                  <a:lnTo>
                    <a:pt x="1020" y="384"/>
                  </a:lnTo>
                  <a:lnTo>
                    <a:pt x="1020" y="396"/>
                  </a:lnTo>
                  <a:lnTo>
                    <a:pt x="1062" y="468"/>
                  </a:lnTo>
                  <a:lnTo>
                    <a:pt x="1092" y="522"/>
                  </a:lnTo>
                  <a:lnTo>
                    <a:pt x="1110" y="546"/>
                  </a:lnTo>
                  <a:lnTo>
                    <a:pt x="1122" y="564"/>
                  </a:lnTo>
                  <a:lnTo>
                    <a:pt x="1134" y="576"/>
                  </a:lnTo>
                  <a:lnTo>
                    <a:pt x="1146" y="582"/>
                  </a:lnTo>
                  <a:lnTo>
                    <a:pt x="1146" y="588"/>
                  </a:lnTo>
                  <a:lnTo>
                    <a:pt x="1164" y="600"/>
                  </a:lnTo>
                  <a:lnTo>
                    <a:pt x="1170" y="612"/>
                  </a:lnTo>
                  <a:lnTo>
                    <a:pt x="1170" y="624"/>
                  </a:lnTo>
                  <a:lnTo>
                    <a:pt x="1176" y="654"/>
                  </a:lnTo>
                  <a:lnTo>
                    <a:pt x="1176" y="666"/>
                  </a:lnTo>
                  <a:lnTo>
                    <a:pt x="1182" y="684"/>
                  </a:lnTo>
                  <a:lnTo>
                    <a:pt x="1194" y="696"/>
                  </a:lnTo>
                  <a:lnTo>
                    <a:pt x="1212" y="696"/>
                  </a:lnTo>
                  <a:lnTo>
                    <a:pt x="1206" y="762"/>
                  </a:lnTo>
                  <a:lnTo>
                    <a:pt x="1200" y="768"/>
                  </a:lnTo>
                  <a:lnTo>
                    <a:pt x="1194" y="768"/>
                  </a:lnTo>
                  <a:lnTo>
                    <a:pt x="1194" y="774"/>
                  </a:lnTo>
                  <a:lnTo>
                    <a:pt x="1188" y="774"/>
                  </a:lnTo>
                  <a:lnTo>
                    <a:pt x="1182" y="780"/>
                  </a:lnTo>
                  <a:lnTo>
                    <a:pt x="1176" y="780"/>
                  </a:lnTo>
                  <a:lnTo>
                    <a:pt x="1170" y="780"/>
                  </a:lnTo>
                  <a:lnTo>
                    <a:pt x="1164" y="786"/>
                  </a:lnTo>
                  <a:lnTo>
                    <a:pt x="1158" y="786"/>
                  </a:lnTo>
                  <a:lnTo>
                    <a:pt x="1152" y="786"/>
                  </a:lnTo>
                  <a:lnTo>
                    <a:pt x="1140" y="786"/>
                  </a:lnTo>
                  <a:lnTo>
                    <a:pt x="1134" y="786"/>
                  </a:lnTo>
                  <a:lnTo>
                    <a:pt x="1134" y="780"/>
                  </a:lnTo>
                  <a:lnTo>
                    <a:pt x="1122" y="780"/>
                  </a:lnTo>
                  <a:lnTo>
                    <a:pt x="1116" y="786"/>
                  </a:lnTo>
                  <a:lnTo>
                    <a:pt x="1116" y="792"/>
                  </a:lnTo>
                  <a:lnTo>
                    <a:pt x="1122" y="804"/>
                  </a:lnTo>
                  <a:lnTo>
                    <a:pt x="1128" y="804"/>
                  </a:lnTo>
                  <a:lnTo>
                    <a:pt x="1128" y="816"/>
                  </a:lnTo>
                  <a:lnTo>
                    <a:pt x="1122" y="822"/>
                  </a:lnTo>
                  <a:lnTo>
                    <a:pt x="1116" y="816"/>
                  </a:lnTo>
                  <a:lnTo>
                    <a:pt x="1110" y="816"/>
                  </a:lnTo>
                  <a:lnTo>
                    <a:pt x="1104" y="816"/>
                  </a:lnTo>
                  <a:lnTo>
                    <a:pt x="1098" y="816"/>
                  </a:lnTo>
                  <a:lnTo>
                    <a:pt x="1098" y="822"/>
                  </a:lnTo>
                  <a:lnTo>
                    <a:pt x="1092" y="834"/>
                  </a:lnTo>
                  <a:lnTo>
                    <a:pt x="1092" y="840"/>
                  </a:lnTo>
                  <a:lnTo>
                    <a:pt x="1074" y="840"/>
                  </a:lnTo>
                  <a:lnTo>
                    <a:pt x="1074" y="828"/>
                  </a:lnTo>
                  <a:lnTo>
                    <a:pt x="1062" y="804"/>
                  </a:lnTo>
                  <a:lnTo>
                    <a:pt x="1056" y="792"/>
                  </a:lnTo>
                  <a:lnTo>
                    <a:pt x="1056" y="786"/>
                  </a:lnTo>
                  <a:lnTo>
                    <a:pt x="1026" y="780"/>
                  </a:lnTo>
                  <a:lnTo>
                    <a:pt x="1026" y="768"/>
                  </a:lnTo>
                  <a:lnTo>
                    <a:pt x="1008" y="768"/>
                  </a:lnTo>
                  <a:lnTo>
                    <a:pt x="1002" y="780"/>
                  </a:lnTo>
                  <a:lnTo>
                    <a:pt x="996" y="792"/>
                  </a:lnTo>
                  <a:lnTo>
                    <a:pt x="978" y="798"/>
                  </a:lnTo>
                  <a:lnTo>
                    <a:pt x="972" y="810"/>
                  </a:lnTo>
                  <a:lnTo>
                    <a:pt x="972" y="822"/>
                  </a:lnTo>
                  <a:lnTo>
                    <a:pt x="978" y="828"/>
                  </a:lnTo>
                  <a:lnTo>
                    <a:pt x="978" y="834"/>
                  </a:lnTo>
                  <a:lnTo>
                    <a:pt x="960" y="840"/>
                  </a:lnTo>
                  <a:lnTo>
                    <a:pt x="936" y="840"/>
                  </a:lnTo>
                  <a:lnTo>
                    <a:pt x="918" y="846"/>
                  </a:lnTo>
                  <a:lnTo>
                    <a:pt x="912" y="840"/>
                  </a:lnTo>
                  <a:lnTo>
                    <a:pt x="912" y="834"/>
                  </a:lnTo>
                  <a:lnTo>
                    <a:pt x="906" y="834"/>
                  </a:lnTo>
                  <a:lnTo>
                    <a:pt x="906" y="840"/>
                  </a:lnTo>
                  <a:lnTo>
                    <a:pt x="900" y="846"/>
                  </a:lnTo>
                  <a:lnTo>
                    <a:pt x="906" y="852"/>
                  </a:lnTo>
                  <a:lnTo>
                    <a:pt x="900" y="864"/>
                  </a:lnTo>
                  <a:lnTo>
                    <a:pt x="900" y="876"/>
                  </a:lnTo>
                  <a:lnTo>
                    <a:pt x="900" y="882"/>
                  </a:lnTo>
                  <a:lnTo>
                    <a:pt x="894" y="888"/>
                  </a:lnTo>
                  <a:lnTo>
                    <a:pt x="900" y="900"/>
                  </a:lnTo>
                  <a:lnTo>
                    <a:pt x="900" y="906"/>
                  </a:lnTo>
                  <a:lnTo>
                    <a:pt x="894" y="906"/>
                  </a:lnTo>
                  <a:lnTo>
                    <a:pt x="894" y="912"/>
                  </a:lnTo>
                  <a:lnTo>
                    <a:pt x="900" y="918"/>
                  </a:lnTo>
                  <a:lnTo>
                    <a:pt x="900" y="924"/>
                  </a:lnTo>
                  <a:lnTo>
                    <a:pt x="900" y="948"/>
                  </a:lnTo>
                  <a:lnTo>
                    <a:pt x="888" y="948"/>
                  </a:lnTo>
                  <a:lnTo>
                    <a:pt x="888" y="954"/>
                  </a:lnTo>
                  <a:lnTo>
                    <a:pt x="894" y="954"/>
                  </a:lnTo>
                  <a:lnTo>
                    <a:pt x="900" y="960"/>
                  </a:lnTo>
                  <a:lnTo>
                    <a:pt x="900" y="972"/>
                  </a:lnTo>
                  <a:lnTo>
                    <a:pt x="906" y="984"/>
                  </a:lnTo>
                  <a:lnTo>
                    <a:pt x="912" y="984"/>
                  </a:lnTo>
                  <a:lnTo>
                    <a:pt x="918" y="990"/>
                  </a:lnTo>
                  <a:lnTo>
                    <a:pt x="936" y="990"/>
                  </a:lnTo>
                  <a:lnTo>
                    <a:pt x="936" y="996"/>
                  </a:lnTo>
                  <a:lnTo>
                    <a:pt x="942" y="996"/>
                  </a:lnTo>
                  <a:lnTo>
                    <a:pt x="942" y="1002"/>
                  </a:lnTo>
                  <a:lnTo>
                    <a:pt x="942" y="1008"/>
                  </a:lnTo>
                  <a:lnTo>
                    <a:pt x="948" y="1008"/>
                  </a:lnTo>
                  <a:lnTo>
                    <a:pt x="948" y="1014"/>
                  </a:lnTo>
                  <a:lnTo>
                    <a:pt x="948" y="1020"/>
                  </a:lnTo>
                  <a:lnTo>
                    <a:pt x="954" y="1032"/>
                  </a:lnTo>
                  <a:lnTo>
                    <a:pt x="948" y="1038"/>
                  </a:lnTo>
                  <a:lnTo>
                    <a:pt x="954" y="1044"/>
                  </a:lnTo>
                  <a:lnTo>
                    <a:pt x="954" y="1056"/>
                  </a:lnTo>
                  <a:lnTo>
                    <a:pt x="960" y="1056"/>
                  </a:lnTo>
                  <a:lnTo>
                    <a:pt x="960" y="1062"/>
                  </a:lnTo>
                  <a:lnTo>
                    <a:pt x="954" y="1068"/>
                  </a:lnTo>
                  <a:lnTo>
                    <a:pt x="948" y="1074"/>
                  </a:lnTo>
                  <a:lnTo>
                    <a:pt x="948" y="1080"/>
                  </a:lnTo>
                  <a:lnTo>
                    <a:pt x="948" y="1086"/>
                  </a:lnTo>
                  <a:lnTo>
                    <a:pt x="942" y="1092"/>
                  </a:lnTo>
                  <a:lnTo>
                    <a:pt x="942" y="1098"/>
                  </a:lnTo>
                  <a:lnTo>
                    <a:pt x="942" y="1104"/>
                  </a:lnTo>
                  <a:lnTo>
                    <a:pt x="942" y="1110"/>
                  </a:lnTo>
                  <a:lnTo>
                    <a:pt x="936" y="1116"/>
                  </a:lnTo>
                  <a:lnTo>
                    <a:pt x="936" y="1122"/>
                  </a:lnTo>
                  <a:lnTo>
                    <a:pt x="936" y="1128"/>
                  </a:lnTo>
                  <a:lnTo>
                    <a:pt x="936" y="1134"/>
                  </a:lnTo>
                  <a:lnTo>
                    <a:pt x="942" y="1146"/>
                  </a:lnTo>
                  <a:lnTo>
                    <a:pt x="936" y="1158"/>
                  </a:lnTo>
                  <a:lnTo>
                    <a:pt x="936" y="1170"/>
                  </a:lnTo>
                  <a:lnTo>
                    <a:pt x="936" y="1194"/>
                  </a:lnTo>
                  <a:lnTo>
                    <a:pt x="930" y="1200"/>
                  </a:lnTo>
                  <a:lnTo>
                    <a:pt x="930" y="1212"/>
                  </a:lnTo>
                  <a:lnTo>
                    <a:pt x="918" y="1218"/>
                  </a:lnTo>
                  <a:lnTo>
                    <a:pt x="918" y="1230"/>
                  </a:lnTo>
                  <a:lnTo>
                    <a:pt x="906" y="1230"/>
                  </a:lnTo>
                  <a:lnTo>
                    <a:pt x="900" y="1254"/>
                  </a:lnTo>
                  <a:lnTo>
                    <a:pt x="900" y="1260"/>
                  </a:lnTo>
                  <a:lnTo>
                    <a:pt x="900" y="1266"/>
                  </a:lnTo>
                  <a:lnTo>
                    <a:pt x="900" y="1272"/>
                  </a:lnTo>
                  <a:lnTo>
                    <a:pt x="900" y="1278"/>
                  </a:lnTo>
                  <a:lnTo>
                    <a:pt x="900" y="1284"/>
                  </a:lnTo>
                  <a:lnTo>
                    <a:pt x="906" y="129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1" name="Freeform 26">
              <a:extLst>
                <a:ext uri="{FF2B5EF4-FFF2-40B4-BE49-F238E27FC236}">
                  <a16:creationId xmlns:a16="http://schemas.microsoft.com/office/drawing/2014/main" id="{25725EFE-FE00-49A8-A87A-6752B785C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79173" y="3477313"/>
              <a:ext cx="650731" cy="559125"/>
            </a:xfrm>
            <a:custGeom>
              <a:avLst/>
              <a:gdLst>
                <a:gd name="T0" fmla="*/ 95 w 1224"/>
                <a:gd name="T1" fmla="*/ 89 h 1050"/>
                <a:gd name="T2" fmla="*/ 90 w 1224"/>
                <a:gd name="T3" fmla="*/ 84 h 1050"/>
                <a:gd name="T4" fmla="*/ 84 w 1224"/>
                <a:gd name="T5" fmla="*/ 83 h 1050"/>
                <a:gd name="T6" fmla="*/ 82 w 1224"/>
                <a:gd name="T7" fmla="*/ 80 h 1050"/>
                <a:gd name="T8" fmla="*/ 85 w 1224"/>
                <a:gd name="T9" fmla="*/ 77 h 1050"/>
                <a:gd name="T10" fmla="*/ 81 w 1224"/>
                <a:gd name="T11" fmla="*/ 76 h 1050"/>
                <a:gd name="T12" fmla="*/ 77 w 1224"/>
                <a:gd name="T13" fmla="*/ 77 h 1050"/>
                <a:gd name="T14" fmla="*/ 78 w 1224"/>
                <a:gd name="T15" fmla="*/ 73 h 1050"/>
                <a:gd name="T16" fmla="*/ 59 w 1224"/>
                <a:gd name="T17" fmla="*/ 71 h 1050"/>
                <a:gd name="T18" fmla="*/ 41 w 1224"/>
                <a:gd name="T19" fmla="*/ 73 h 1050"/>
                <a:gd name="T20" fmla="*/ 33 w 1224"/>
                <a:gd name="T21" fmla="*/ 71 h 1050"/>
                <a:gd name="T22" fmla="*/ 30 w 1224"/>
                <a:gd name="T23" fmla="*/ 75 h 1050"/>
                <a:gd name="T24" fmla="*/ 27 w 1224"/>
                <a:gd name="T25" fmla="*/ 80 h 1050"/>
                <a:gd name="T26" fmla="*/ 12 w 1224"/>
                <a:gd name="T27" fmla="*/ 81 h 1050"/>
                <a:gd name="T28" fmla="*/ 9 w 1224"/>
                <a:gd name="T29" fmla="*/ 84 h 1050"/>
                <a:gd name="T30" fmla="*/ 6 w 1224"/>
                <a:gd name="T31" fmla="*/ 83 h 1050"/>
                <a:gd name="T32" fmla="*/ 1 w 1224"/>
                <a:gd name="T33" fmla="*/ 83 h 1050"/>
                <a:gd name="T34" fmla="*/ 3 w 1224"/>
                <a:gd name="T35" fmla="*/ 77 h 1050"/>
                <a:gd name="T36" fmla="*/ 5 w 1224"/>
                <a:gd name="T37" fmla="*/ 70 h 1050"/>
                <a:gd name="T38" fmla="*/ 2 w 1224"/>
                <a:gd name="T39" fmla="*/ 65 h 1050"/>
                <a:gd name="T40" fmla="*/ 3 w 1224"/>
                <a:gd name="T41" fmla="*/ 58 h 1050"/>
                <a:gd name="T42" fmla="*/ 4 w 1224"/>
                <a:gd name="T43" fmla="*/ 51 h 1050"/>
                <a:gd name="T44" fmla="*/ 3 w 1224"/>
                <a:gd name="T45" fmla="*/ 47 h 1050"/>
                <a:gd name="T46" fmla="*/ 4 w 1224"/>
                <a:gd name="T47" fmla="*/ 39 h 1050"/>
                <a:gd name="T48" fmla="*/ 6 w 1224"/>
                <a:gd name="T49" fmla="*/ 29 h 1050"/>
                <a:gd name="T50" fmla="*/ 3 w 1224"/>
                <a:gd name="T51" fmla="*/ 22 h 1050"/>
                <a:gd name="T52" fmla="*/ 2 w 1224"/>
                <a:gd name="T53" fmla="*/ 14 h 1050"/>
                <a:gd name="T54" fmla="*/ 0 w 1224"/>
                <a:gd name="T55" fmla="*/ 6 h 1050"/>
                <a:gd name="T56" fmla="*/ 9 w 1224"/>
                <a:gd name="T57" fmla="*/ 1 h 1050"/>
                <a:gd name="T58" fmla="*/ 11 w 1224"/>
                <a:gd name="T59" fmla="*/ 8 h 1050"/>
                <a:gd name="T60" fmla="*/ 15 w 1224"/>
                <a:gd name="T61" fmla="*/ 9 h 1050"/>
                <a:gd name="T62" fmla="*/ 18 w 1224"/>
                <a:gd name="T63" fmla="*/ 8 h 1050"/>
                <a:gd name="T64" fmla="*/ 18 w 1224"/>
                <a:gd name="T65" fmla="*/ 13 h 1050"/>
                <a:gd name="T66" fmla="*/ 17 w 1224"/>
                <a:gd name="T67" fmla="*/ 15 h 1050"/>
                <a:gd name="T68" fmla="*/ 17 w 1224"/>
                <a:gd name="T69" fmla="*/ 17 h 1050"/>
                <a:gd name="T70" fmla="*/ 17 w 1224"/>
                <a:gd name="T71" fmla="*/ 21 h 1050"/>
                <a:gd name="T72" fmla="*/ 21 w 1224"/>
                <a:gd name="T73" fmla="*/ 25 h 1050"/>
                <a:gd name="T74" fmla="*/ 24 w 1224"/>
                <a:gd name="T75" fmla="*/ 31 h 1050"/>
                <a:gd name="T76" fmla="*/ 35 w 1224"/>
                <a:gd name="T77" fmla="*/ 34 h 1050"/>
                <a:gd name="T78" fmla="*/ 40 w 1224"/>
                <a:gd name="T79" fmla="*/ 27 h 1050"/>
                <a:gd name="T80" fmla="*/ 46 w 1224"/>
                <a:gd name="T81" fmla="*/ 30 h 1050"/>
                <a:gd name="T82" fmla="*/ 51 w 1224"/>
                <a:gd name="T83" fmla="*/ 27 h 1050"/>
                <a:gd name="T84" fmla="*/ 59 w 1224"/>
                <a:gd name="T85" fmla="*/ 39 h 1050"/>
                <a:gd name="T86" fmla="*/ 59 w 1224"/>
                <a:gd name="T87" fmla="*/ 45 h 1050"/>
                <a:gd name="T88" fmla="*/ 72 w 1224"/>
                <a:gd name="T89" fmla="*/ 45 h 1050"/>
                <a:gd name="T90" fmla="*/ 79 w 1224"/>
                <a:gd name="T91" fmla="*/ 44 h 1050"/>
                <a:gd name="T92" fmla="*/ 87 w 1224"/>
                <a:gd name="T93" fmla="*/ 48 h 1050"/>
                <a:gd name="T94" fmla="*/ 93 w 1224"/>
                <a:gd name="T95" fmla="*/ 50 h 1050"/>
                <a:gd name="T96" fmla="*/ 98 w 1224"/>
                <a:gd name="T97" fmla="*/ 51 h 1050"/>
                <a:gd name="T98" fmla="*/ 106 w 1224"/>
                <a:gd name="T99" fmla="*/ 50 h 1050"/>
                <a:gd name="T100" fmla="*/ 104 w 1224"/>
                <a:gd name="T101" fmla="*/ 54 h 1050"/>
                <a:gd name="T102" fmla="*/ 104 w 1224"/>
                <a:gd name="T103" fmla="*/ 60 h 1050"/>
                <a:gd name="T104" fmla="*/ 101 w 1224"/>
                <a:gd name="T105" fmla="*/ 63 h 1050"/>
                <a:gd name="T106" fmla="*/ 98 w 1224"/>
                <a:gd name="T107" fmla="*/ 66 h 1050"/>
                <a:gd name="T108" fmla="*/ 95 w 1224"/>
                <a:gd name="T109" fmla="*/ 68 h 1050"/>
                <a:gd name="T110" fmla="*/ 93 w 1224"/>
                <a:gd name="T111" fmla="*/ 72 h 1050"/>
                <a:gd name="T112" fmla="*/ 98 w 1224"/>
                <a:gd name="T113" fmla="*/ 75 h 1050"/>
                <a:gd name="T114" fmla="*/ 102 w 1224"/>
                <a:gd name="T115" fmla="*/ 77 h 1050"/>
                <a:gd name="T116" fmla="*/ 107 w 1224"/>
                <a:gd name="T117" fmla="*/ 76 h 1050"/>
                <a:gd name="T118" fmla="*/ 104 w 1224"/>
                <a:gd name="T119" fmla="*/ 84 h 1050"/>
                <a:gd name="T120" fmla="*/ 103 w 1224"/>
                <a:gd name="T121" fmla="*/ 87 h 1050"/>
                <a:gd name="T122" fmla="*/ 104 w 1224"/>
                <a:gd name="T123" fmla="*/ 91 h 105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24"/>
                <a:gd name="T187" fmla="*/ 0 h 1050"/>
                <a:gd name="T188" fmla="*/ 1224 w 1224"/>
                <a:gd name="T189" fmla="*/ 1050 h 105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24" h="1050">
                  <a:moveTo>
                    <a:pt x="1128" y="1032"/>
                  </a:moveTo>
                  <a:lnTo>
                    <a:pt x="1122" y="1026"/>
                  </a:lnTo>
                  <a:lnTo>
                    <a:pt x="1116" y="1026"/>
                  </a:lnTo>
                  <a:lnTo>
                    <a:pt x="1110" y="1026"/>
                  </a:lnTo>
                  <a:lnTo>
                    <a:pt x="1104" y="1026"/>
                  </a:lnTo>
                  <a:lnTo>
                    <a:pt x="1104" y="1020"/>
                  </a:lnTo>
                  <a:lnTo>
                    <a:pt x="1098" y="1020"/>
                  </a:lnTo>
                  <a:lnTo>
                    <a:pt x="1092" y="1020"/>
                  </a:lnTo>
                  <a:lnTo>
                    <a:pt x="1086" y="1020"/>
                  </a:lnTo>
                  <a:lnTo>
                    <a:pt x="1080" y="1014"/>
                  </a:lnTo>
                  <a:lnTo>
                    <a:pt x="1068" y="1014"/>
                  </a:lnTo>
                  <a:lnTo>
                    <a:pt x="1062" y="1014"/>
                  </a:lnTo>
                  <a:lnTo>
                    <a:pt x="1062" y="1008"/>
                  </a:lnTo>
                  <a:lnTo>
                    <a:pt x="1062" y="990"/>
                  </a:lnTo>
                  <a:lnTo>
                    <a:pt x="1062" y="984"/>
                  </a:lnTo>
                  <a:lnTo>
                    <a:pt x="1062" y="972"/>
                  </a:lnTo>
                  <a:lnTo>
                    <a:pt x="1044" y="966"/>
                  </a:lnTo>
                  <a:lnTo>
                    <a:pt x="1026" y="966"/>
                  </a:lnTo>
                  <a:lnTo>
                    <a:pt x="1014" y="966"/>
                  </a:lnTo>
                  <a:lnTo>
                    <a:pt x="996" y="966"/>
                  </a:lnTo>
                  <a:lnTo>
                    <a:pt x="996" y="972"/>
                  </a:lnTo>
                  <a:lnTo>
                    <a:pt x="990" y="972"/>
                  </a:lnTo>
                  <a:lnTo>
                    <a:pt x="984" y="966"/>
                  </a:lnTo>
                  <a:lnTo>
                    <a:pt x="978" y="966"/>
                  </a:lnTo>
                  <a:lnTo>
                    <a:pt x="978" y="960"/>
                  </a:lnTo>
                  <a:lnTo>
                    <a:pt x="972" y="954"/>
                  </a:lnTo>
                  <a:lnTo>
                    <a:pt x="966" y="954"/>
                  </a:lnTo>
                  <a:lnTo>
                    <a:pt x="960" y="954"/>
                  </a:lnTo>
                  <a:lnTo>
                    <a:pt x="954" y="954"/>
                  </a:lnTo>
                  <a:lnTo>
                    <a:pt x="954" y="948"/>
                  </a:lnTo>
                  <a:lnTo>
                    <a:pt x="942" y="942"/>
                  </a:lnTo>
                  <a:lnTo>
                    <a:pt x="936" y="942"/>
                  </a:lnTo>
                  <a:lnTo>
                    <a:pt x="936" y="936"/>
                  </a:lnTo>
                  <a:lnTo>
                    <a:pt x="936" y="930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42" y="918"/>
                  </a:lnTo>
                  <a:lnTo>
                    <a:pt x="948" y="918"/>
                  </a:lnTo>
                  <a:lnTo>
                    <a:pt x="960" y="918"/>
                  </a:lnTo>
                  <a:lnTo>
                    <a:pt x="966" y="912"/>
                  </a:lnTo>
                  <a:lnTo>
                    <a:pt x="978" y="906"/>
                  </a:lnTo>
                  <a:lnTo>
                    <a:pt x="978" y="900"/>
                  </a:lnTo>
                  <a:lnTo>
                    <a:pt x="978" y="894"/>
                  </a:lnTo>
                  <a:lnTo>
                    <a:pt x="978" y="888"/>
                  </a:lnTo>
                  <a:lnTo>
                    <a:pt x="972" y="888"/>
                  </a:lnTo>
                  <a:lnTo>
                    <a:pt x="978" y="888"/>
                  </a:lnTo>
                  <a:lnTo>
                    <a:pt x="978" y="882"/>
                  </a:lnTo>
                  <a:lnTo>
                    <a:pt x="972" y="876"/>
                  </a:lnTo>
                  <a:lnTo>
                    <a:pt x="966" y="870"/>
                  </a:lnTo>
                  <a:lnTo>
                    <a:pt x="954" y="876"/>
                  </a:lnTo>
                  <a:lnTo>
                    <a:pt x="948" y="876"/>
                  </a:lnTo>
                  <a:lnTo>
                    <a:pt x="942" y="870"/>
                  </a:lnTo>
                  <a:lnTo>
                    <a:pt x="936" y="876"/>
                  </a:lnTo>
                  <a:lnTo>
                    <a:pt x="930" y="876"/>
                  </a:lnTo>
                  <a:lnTo>
                    <a:pt x="924" y="882"/>
                  </a:lnTo>
                  <a:lnTo>
                    <a:pt x="912" y="888"/>
                  </a:lnTo>
                  <a:lnTo>
                    <a:pt x="906" y="894"/>
                  </a:lnTo>
                  <a:lnTo>
                    <a:pt x="900" y="900"/>
                  </a:lnTo>
                  <a:lnTo>
                    <a:pt x="894" y="888"/>
                  </a:lnTo>
                  <a:lnTo>
                    <a:pt x="888" y="894"/>
                  </a:lnTo>
                  <a:lnTo>
                    <a:pt x="882" y="888"/>
                  </a:lnTo>
                  <a:lnTo>
                    <a:pt x="876" y="894"/>
                  </a:lnTo>
                  <a:lnTo>
                    <a:pt x="876" y="888"/>
                  </a:lnTo>
                  <a:lnTo>
                    <a:pt x="876" y="882"/>
                  </a:lnTo>
                  <a:lnTo>
                    <a:pt x="876" y="876"/>
                  </a:lnTo>
                  <a:lnTo>
                    <a:pt x="870" y="858"/>
                  </a:lnTo>
                  <a:lnTo>
                    <a:pt x="864" y="858"/>
                  </a:lnTo>
                  <a:lnTo>
                    <a:pt x="870" y="852"/>
                  </a:lnTo>
                  <a:lnTo>
                    <a:pt x="870" y="846"/>
                  </a:lnTo>
                  <a:lnTo>
                    <a:pt x="876" y="846"/>
                  </a:lnTo>
                  <a:lnTo>
                    <a:pt x="882" y="846"/>
                  </a:lnTo>
                  <a:lnTo>
                    <a:pt x="888" y="840"/>
                  </a:lnTo>
                  <a:lnTo>
                    <a:pt x="894" y="834"/>
                  </a:lnTo>
                  <a:lnTo>
                    <a:pt x="894" y="828"/>
                  </a:lnTo>
                  <a:lnTo>
                    <a:pt x="894" y="816"/>
                  </a:lnTo>
                  <a:lnTo>
                    <a:pt x="858" y="810"/>
                  </a:lnTo>
                  <a:lnTo>
                    <a:pt x="858" y="816"/>
                  </a:lnTo>
                  <a:lnTo>
                    <a:pt x="852" y="816"/>
                  </a:lnTo>
                  <a:lnTo>
                    <a:pt x="780" y="816"/>
                  </a:lnTo>
                  <a:lnTo>
                    <a:pt x="750" y="816"/>
                  </a:lnTo>
                  <a:lnTo>
                    <a:pt x="684" y="816"/>
                  </a:lnTo>
                  <a:lnTo>
                    <a:pt x="636" y="816"/>
                  </a:lnTo>
                  <a:lnTo>
                    <a:pt x="612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0" y="816"/>
                  </a:lnTo>
                  <a:lnTo>
                    <a:pt x="480" y="822"/>
                  </a:lnTo>
                  <a:lnTo>
                    <a:pt x="480" y="834"/>
                  </a:lnTo>
                  <a:lnTo>
                    <a:pt x="474" y="840"/>
                  </a:lnTo>
                  <a:lnTo>
                    <a:pt x="468" y="840"/>
                  </a:lnTo>
                  <a:lnTo>
                    <a:pt x="432" y="840"/>
                  </a:lnTo>
                  <a:lnTo>
                    <a:pt x="426" y="834"/>
                  </a:lnTo>
                  <a:lnTo>
                    <a:pt x="420" y="834"/>
                  </a:lnTo>
                  <a:lnTo>
                    <a:pt x="420" y="828"/>
                  </a:lnTo>
                  <a:lnTo>
                    <a:pt x="414" y="822"/>
                  </a:lnTo>
                  <a:lnTo>
                    <a:pt x="408" y="822"/>
                  </a:lnTo>
                  <a:lnTo>
                    <a:pt x="396" y="822"/>
                  </a:lnTo>
                  <a:lnTo>
                    <a:pt x="396" y="816"/>
                  </a:lnTo>
                  <a:lnTo>
                    <a:pt x="384" y="816"/>
                  </a:lnTo>
                  <a:lnTo>
                    <a:pt x="372" y="810"/>
                  </a:lnTo>
                  <a:lnTo>
                    <a:pt x="372" y="804"/>
                  </a:lnTo>
                  <a:lnTo>
                    <a:pt x="366" y="804"/>
                  </a:lnTo>
                  <a:lnTo>
                    <a:pt x="360" y="804"/>
                  </a:lnTo>
                  <a:lnTo>
                    <a:pt x="348" y="828"/>
                  </a:lnTo>
                  <a:lnTo>
                    <a:pt x="348" y="834"/>
                  </a:lnTo>
                  <a:lnTo>
                    <a:pt x="348" y="852"/>
                  </a:lnTo>
                  <a:lnTo>
                    <a:pt x="348" y="858"/>
                  </a:lnTo>
                  <a:lnTo>
                    <a:pt x="342" y="864"/>
                  </a:lnTo>
                  <a:lnTo>
                    <a:pt x="342" y="870"/>
                  </a:lnTo>
                  <a:lnTo>
                    <a:pt x="330" y="876"/>
                  </a:lnTo>
                  <a:lnTo>
                    <a:pt x="324" y="888"/>
                  </a:lnTo>
                  <a:lnTo>
                    <a:pt x="324" y="894"/>
                  </a:lnTo>
                  <a:lnTo>
                    <a:pt x="330" y="900"/>
                  </a:lnTo>
                  <a:lnTo>
                    <a:pt x="330" y="906"/>
                  </a:lnTo>
                  <a:lnTo>
                    <a:pt x="324" y="906"/>
                  </a:lnTo>
                  <a:lnTo>
                    <a:pt x="318" y="912"/>
                  </a:lnTo>
                  <a:lnTo>
                    <a:pt x="312" y="918"/>
                  </a:lnTo>
                  <a:lnTo>
                    <a:pt x="306" y="924"/>
                  </a:lnTo>
                  <a:lnTo>
                    <a:pt x="288" y="924"/>
                  </a:lnTo>
                  <a:lnTo>
                    <a:pt x="282" y="924"/>
                  </a:lnTo>
                  <a:lnTo>
                    <a:pt x="276" y="930"/>
                  </a:lnTo>
                  <a:lnTo>
                    <a:pt x="270" y="930"/>
                  </a:lnTo>
                  <a:lnTo>
                    <a:pt x="264" y="930"/>
                  </a:lnTo>
                  <a:lnTo>
                    <a:pt x="198" y="930"/>
                  </a:lnTo>
                  <a:lnTo>
                    <a:pt x="132" y="930"/>
                  </a:lnTo>
                  <a:lnTo>
                    <a:pt x="132" y="936"/>
                  </a:lnTo>
                  <a:lnTo>
                    <a:pt x="132" y="942"/>
                  </a:lnTo>
                  <a:lnTo>
                    <a:pt x="132" y="948"/>
                  </a:lnTo>
                  <a:lnTo>
                    <a:pt x="126" y="948"/>
                  </a:lnTo>
                  <a:lnTo>
                    <a:pt x="120" y="948"/>
                  </a:lnTo>
                  <a:lnTo>
                    <a:pt x="120" y="954"/>
                  </a:lnTo>
                  <a:lnTo>
                    <a:pt x="114" y="954"/>
                  </a:lnTo>
                  <a:lnTo>
                    <a:pt x="114" y="960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02" y="966"/>
                  </a:lnTo>
                  <a:lnTo>
                    <a:pt x="102" y="972"/>
                  </a:lnTo>
                  <a:lnTo>
                    <a:pt x="96" y="972"/>
                  </a:lnTo>
                  <a:lnTo>
                    <a:pt x="96" y="966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78" y="960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60"/>
                  </a:lnTo>
                  <a:lnTo>
                    <a:pt x="54" y="966"/>
                  </a:lnTo>
                  <a:lnTo>
                    <a:pt x="48" y="966"/>
                  </a:lnTo>
                  <a:lnTo>
                    <a:pt x="42" y="966"/>
                  </a:lnTo>
                  <a:lnTo>
                    <a:pt x="36" y="966"/>
                  </a:lnTo>
                  <a:lnTo>
                    <a:pt x="30" y="966"/>
                  </a:lnTo>
                  <a:lnTo>
                    <a:pt x="24" y="960"/>
                  </a:lnTo>
                  <a:lnTo>
                    <a:pt x="18" y="960"/>
                  </a:lnTo>
                  <a:lnTo>
                    <a:pt x="12" y="960"/>
                  </a:lnTo>
                  <a:lnTo>
                    <a:pt x="12" y="948"/>
                  </a:lnTo>
                  <a:lnTo>
                    <a:pt x="18" y="942"/>
                  </a:lnTo>
                  <a:lnTo>
                    <a:pt x="18" y="936"/>
                  </a:lnTo>
                  <a:lnTo>
                    <a:pt x="18" y="930"/>
                  </a:lnTo>
                  <a:lnTo>
                    <a:pt x="18" y="924"/>
                  </a:lnTo>
                  <a:lnTo>
                    <a:pt x="18" y="912"/>
                  </a:lnTo>
                  <a:lnTo>
                    <a:pt x="24" y="906"/>
                  </a:lnTo>
                  <a:lnTo>
                    <a:pt x="30" y="900"/>
                  </a:lnTo>
                  <a:lnTo>
                    <a:pt x="36" y="894"/>
                  </a:lnTo>
                  <a:lnTo>
                    <a:pt x="36" y="882"/>
                  </a:lnTo>
                  <a:lnTo>
                    <a:pt x="30" y="876"/>
                  </a:lnTo>
                  <a:lnTo>
                    <a:pt x="30" y="870"/>
                  </a:lnTo>
                  <a:lnTo>
                    <a:pt x="24" y="858"/>
                  </a:lnTo>
                  <a:lnTo>
                    <a:pt x="24" y="846"/>
                  </a:lnTo>
                  <a:lnTo>
                    <a:pt x="36" y="822"/>
                  </a:lnTo>
                  <a:lnTo>
                    <a:pt x="42" y="816"/>
                  </a:lnTo>
                  <a:lnTo>
                    <a:pt x="48" y="816"/>
                  </a:lnTo>
                  <a:lnTo>
                    <a:pt x="60" y="804"/>
                  </a:lnTo>
                  <a:lnTo>
                    <a:pt x="60" y="786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54" y="762"/>
                  </a:lnTo>
                  <a:lnTo>
                    <a:pt x="42" y="762"/>
                  </a:lnTo>
                  <a:lnTo>
                    <a:pt x="36" y="762"/>
                  </a:lnTo>
                  <a:lnTo>
                    <a:pt x="30" y="762"/>
                  </a:lnTo>
                  <a:lnTo>
                    <a:pt x="30" y="756"/>
                  </a:lnTo>
                  <a:lnTo>
                    <a:pt x="24" y="750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702"/>
                  </a:lnTo>
                  <a:lnTo>
                    <a:pt x="36" y="684"/>
                  </a:lnTo>
                  <a:lnTo>
                    <a:pt x="36" y="678"/>
                  </a:lnTo>
                  <a:lnTo>
                    <a:pt x="36" y="666"/>
                  </a:lnTo>
                  <a:lnTo>
                    <a:pt x="36" y="654"/>
                  </a:lnTo>
                  <a:lnTo>
                    <a:pt x="18" y="654"/>
                  </a:lnTo>
                  <a:lnTo>
                    <a:pt x="18" y="648"/>
                  </a:lnTo>
                  <a:lnTo>
                    <a:pt x="18" y="618"/>
                  </a:lnTo>
                  <a:lnTo>
                    <a:pt x="18" y="612"/>
                  </a:lnTo>
                  <a:lnTo>
                    <a:pt x="24" y="612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54" y="588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76"/>
                  </a:lnTo>
                  <a:lnTo>
                    <a:pt x="48" y="564"/>
                  </a:lnTo>
                  <a:lnTo>
                    <a:pt x="42" y="564"/>
                  </a:lnTo>
                  <a:lnTo>
                    <a:pt x="36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6" y="540"/>
                  </a:lnTo>
                  <a:lnTo>
                    <a:pt x="48" y="534"/>
                  </a:lnTo>
                  <a:lnTo>
                    <a:pt x="54" y="528"/>
                  </a:lnTo>
                  <a:lnTo>
                    <a:pt x="60" y="504"/>
                  </a:lnTo>
                  <a:lnTo>
                    <a:pt x="60" y="492"/>
                  </a:lnTo>
                  <a:lnTo>
                    <a:pt x="54" y="492"/>
                  </a:lnTo>
                  <a:lnTo>
                    <a:pt x="54" y="480"/>
                  </a:lnTo>
                  <a:lnTo>
                    <a:pt x="48" y="456"/>
                  </a:lnTo>
                  <a:lnTo>
                    <a:pt x="42" y="450"/>
                  </a:lnTo>
                  <a:lnTo>
                    <a:pt x="36" y="444"/>
                  </a:lnTo>
                  <a:lnTo>
                    <a:pt x="36" y="420"/>
                  </a:lnTo>
                  <a:lnTo>
                    <a:pt x="36" y="408"/>
                  </a:lnTo>
                  <a:lnTo>
                    <a:pt x="36" y="37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60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6" y="300"/>
                  </a:lnTo>
                  <a:lnTo>
                    <a:pt x="60" y="294"/>
                  </a:lnTo>
                  <a:lnTo>
                    <a:pt x="60" y="288"/>
                  </a:lnTo>
                  <a:lnTo>
                    <a:pt x="54" y="282"/>
                  </a:lnTo>
                  <a:lnTo>
                    <a:pt x="42" y="276"/>
                  </a:lnTo>
                  <a:lnTo>
                    <a:pt x="36" y="276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0" y="252"/>
                  </a:lnTo>
                  <a:lnTo>
                    <a:pt x="24" y="246"/>
                  </a:lnTo>
                  <a:lnTo>
                    <a:pt x="24" y="240"/>
                  </a:lnTo>
                  <a:lnTo>
                    <a:pt x="24" y="228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62"/>
                  </a:lnTo>
                  <a:lnTo>
                    <a:pt x="24" y="144"/>
                  </a:lnTo>
                  <a:lnTo>
                    <a:pt x="24" y="132"/>
                  </a:lnTo>
                  <a:lnTo>
                    <a:pt x="24" y="114"/>
                  </a:lnTo>
                  <a:lnTo>
                    <a:pt x="24" y="102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18" y="48"/>
                  </a:lnTo>
                  <a:lnTo>
                    <a:pt x="42" y="36"/>
                  </a:lnTo>
                  <a:lnTo>
                    <a:pt x="54" y="24"/>
                  </a:lnTo>
                  <a:lnTo>
                    <a:pt x="60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10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14" y="60"/>
                  </a:lnTo>
                  <a:lnTo>
                    <a:pt x="120" y="60"/>
                  </a:lnTo>
                  <a:lnTo>
                    <a:pt x="114" y="84"/>
                  </a:lnTo>
                  <a:lnTo>
                    <a:pt x="120" y="90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38" y="114"/>
                  </a:lnTo>
                  <a:lnTo>
                    <a:pt x="138" y="132"/>
                  </a:lnTo>
                  <a:lnTo>
                    <a:pt x="162" y="126"/>
                  </a:lnTo>
                  <a:lnTo>
                    <a:pt x="162" y="114"/>
                  </a:lnTo>
                  <a:lnTo>
                    <a:pt x="174" y="108"/>
                  </a:lnTo>
                  <a:lnTo>
                    <a:pt x="174" y="102"/>
                  </a:lnTo>
                  <a:lnTo>
                    <a:pt x="180" y="96"/>
                  </a:lnTo>
                  <a:lnTo>
                    <a:pt x="180" y="60"/>
                  </a:lnTo>
                  <a:lnTo>
                    <a:pt x="192" y="60"/>
                  </a:lnTo>
                  <a:lnTo>
                    <a:pt x="192" y="72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04" y="108"/>
                  </a:lnTo>
                  <a:lnTo>
                    <a:pt x="204" y="114"/>
                  </a:lnTo>
                  <a:lnTo>
                    <a:pt x="204" y="120"/>
                  </a:lnTo>
                  <a:lnTo>
                    <a:pt x="204" y="126"/>
                  </a:lnTo>
                  <a:lnTo>
                    <a:pt x="210" y="126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8" y="174"/>
                  </a:lnTo>
                  <a:lnTo>
                    <a:pt x="198" y="180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86" y="204"/>
                  </a:lnTo>
                  <a:lnTo>
                    <a:pt x="186" y="210"/>
                  </a:lnTo>
                  <a:lnTo>
                    <a:pt x="180" y="210"/>
                  </a:lnTo>
                  <a:lnTo>
                    <a:pt x="180" y="216"/>
                  </a:lnTo>
                  <a:lnTo>
                    <a:pt x="180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92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8" y="258"/>
                  </a:lnTo>
                  <a:lnTo>
                    <a:pt x="204" y="258"/>
                  </a:lnTo>
                  <a:lnTo>
                    <a:pt x="210" y="258"/>
                  </a:lnTo>
                  <a:lnTo>
                    <a:pt x="216" y="258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34" y="276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46" y="306"/>
                  </a:lnTo>
                  <a:lnTo>
                    <a:pt x="252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42"/>
                  </a:lnTo>
                  <a:lnTo>
                    <a:pt x="270" y="342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88" y="366"/>
                  </a:lnTo>
                  <a:lnTo>
                    <a:pt x="336" y="360"/>
                  </a:lnTo>
                  <a:lnTo>
                    <a:pt x="354" y="360"/>
                  </a:lnTo>
                  <a:lnTo>
                    <a:pt x="366" y="372"/>
                  </a:lnTo>
                  <a:lnTo>
                    <a:pt x="378" y="378"/>
                  </a:lnTo>
                  <a:lnTo>
                    <a:pt x="378" y="390"/>
                  </a:lnTo>
                  <a:lnTo>
                    <a:pt x="384" y="390"/>
                  </a:lnTo>
                  <a:lnTo>
                    <a:pt x="390" y="396"/>
                  </a:lnTo>
                  <a:lnTo>
                    <a:pt x="408" y="390"/>
                  </a:lnTo>
                  <a:lnTo>
                    <a:pt x="426" y="366"/>
                  </a:lnTo>
                  <a:lnTo>
                    <a:pt x="432" y="360"/>
                  </a:lnTo>
                  <a:lnTo>
                    <a:pt x="438" y="348"/>
                  </a:lnTo>
                  <a:lnTo>
                    <a:pt x="438" y="342"/>
                  </a:lnTo>
                  <a:lnTo>
                    <a:pt x="438" y="330"/>
                  </a:lnTo>
                  <a:lnTo>
                    <a:pt x="444" y="324"/>
                  </a:lnTo>
                  <a:lnTo>
                    <a:pt x="450" y="318"/>
                  </a:lnTo>
                  <a:lnTo>
                    <a:pt x="456" y="312"/>
                  </a:lnTo>
                  <a:lnTo>
                    <a:pt x="456" y="306"/>
                  </a:lnTo>
                  <a:lnTo>
                    <a:pt x="456" y="300"/>
                  </a:lnTo>
                  <a:lnTo>
                    <a:pt x="474" y="288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92" y="294"/>
                  </a:lnTo>
                  <a:lnTo>
                    <a:pt x="492" y="318"/>
                  </a:lnTo>
                  <a:lnTo>
                    <a:pt x="504" y="324"/>
                  </a:lnTo>
                  <a:lnTo>
                    <a:pt x="492" y="348"/>
                  </a:lnTo>
                  <a:lnTo>
                    <a:pt x="522" y="348"/>
                  </a:lnTo>
                  <a:lnTo>
                    <a:pt x="528" y="342"/>
                  </a:lnTo>
                  <a:lnTo>
                    <a:pt x="528" y="336"/>
                  </a:lnTo>
                  <a:lnTo>
                    <a:pt x="528" y="330"/>
                  </a:lnTo>
                  <a:lnTo>
                    <a:pt x="534" y="330"/>
                  </a:lnTo>
                  <a:lnTo>
                    <a:pt x="540" y="330"/>
                  </a:lnTo>
                  <a:lnTo>
                    <a:pt x="546" y="330"/>
                  </a:lnTo>
                  <a:lnTo>
                    <a:pt x="552" y="324"/>
                  </a:lnTo>
                  <a:lnTo>
                    <a:pt x="558" y="318"/>
                  </a:lnTo>
                  <a:lnTo>
                    <a:pt x="576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8" y="348"/>
                  </a:lnTo>
                  <a:lnTo>
                    <a:pt x="654" y="354"/>
                  </a:lnTo>
                  <a:lnTo>
                    <a:pt x="648" y="402"/>
                  </a:lnTo>
                  <a:lnTo>
                    <a:pt x="678" y="402"/>
                  </a:lnTo>
                  <a:lnTo>
                    <a:pt x="678" y="420"/>
                  </a:lnTo>
                  <a:lnTo>
                    <a:pt x="684" y="438"/>
                  </a:lnTo>
                  <a:lnTo>
                    <a:pt x="684" y="450"/>
                  </a:lnTo>
                  <a:lnTo>
                    <a:pt x="684" y="456"/>
                  </a:lnTo>
                  <a:lnTo>
                    <a:pt x="690" y="468"/>
                  </a:lnTo>
                  <a:lnTo>
                    <a:pt x="690" y="474"/>
                  </a:lnTo>
                  <a:lnTo>
                    <a:pt x="690" y="480"/>
                  </a:lnTo>
                  <a:lnTo>
                    <a:pt x="696" y="486"/>
                  </a:lnTo>
                  <a:lnTo>
                    <a:pt x="696" y="498"/>
                  </a:lnTo>
                  <a:lnTo>
                    <a:pt x="702" y="504"/>
                  </a:lnTo>
                  <a:lnTo>
                    <a:pt x="690" y="516"/>
                  </a:lnTo>
                  <a:lnTo>
                    <a:pt x="678" y="522"/>
                  </a:lnTo>
                  <a:lnTo>
                    <a:pt x="654" y="528"/>
                  </a:lnTo>
                  <a:lnTo>
                    <a:pt x="660" y="546"/>
                  </a:lnTo>
                  <a:lnTo>
                    <a:pt x="672" y="546"/>
                  </a:lnTo>
                  <a:lnTo>
                    <a:pt x="678" y="540"/>
                  </a:lnTo>
                  <a:lnTo>
                    <a:pt x="714" y="540"/>
                  </a:lnTo>
                  <a:lnTo>
                    <a:pt x="798" y="540"/>
                  </a:lnTo>
                  <a:lnTo>
                    <a:pt x="804" y="540"/>
                  </a:lnTo>
                  <a:lnTo>
                    <a:pt x="816" y="528"/>
                  </a:lnTo>
                  <a:lnTo>
                    <a:pt x="822" y="522"/>
                  </a:lnTo>
                  <a:lnTo>
                    <a:pt x="834" y="516"/>
                  </a:lnTo>
                  <a:lnTo>
                    <a:pt x="846" y="516"/>
                  </a:lnTo>
                  <a:lnTo>
                    <a:pt x="852" y="510"/>
                  </a:lnTo>
                  <a:lnTo>
                    <a:pt x="858" y="510"/>
                  </a:lnTo>
                  <a:lnTo>
                    <a:pt x="882" y="516"/>
                  </a:lnTo>
                  <a:lnTo>
                    <a:pt x="888" y="516"/>
                  </a:lnTo>
                  <a:lnTo>
                    <a:pt x="888" y="510"/>
                  </a:lnTo>
                  <a:lnTo>
                    <a:pt x="894" y="510"/>
                  </a:lnTo>
                  <a:lnTo>
                    <a:pt x="906" y="504"/>
                  </a:lnTo>
                  <a:lnTo>
                    <a:pt x="918" y="498"/>
                  </a:lnTo>
                  <a:lnTo>
                    <a:pt x="930" y="492"/>
                  </a:lnTo>
                  <a:lnTo>
                    <a:pt x="936" y="492"/>
                  </a:lnTo>
                  <a:lnTo>
                    <a:pt x="948" y="492"/>
                  </a:lnTo>
                  <a:lnTo>
                    <a:pt x="954" y="528"/>
                  </a:lnTo>
                  <a:lnTo>
                    <a:pt x="954" y="564"/>
                  </a:lnTo>
                  <a:lnTo>
                    <a:pt x="972" y="564"/>
                  </a:lnTo>
                  <a:lnTo>
                    <a:pt x="978" y="558"/>
                  </a:lnTo>
                  <a:lnTo>
                    <a:pt x="990" y="552"/>
                  </a:lnTo>
                  <a:lnTo>
                    <a:pt x="1002" y="540"/>
                  </a:lnTo>
                  <a:lnTo>
                    <a:pt x="1026" y="534"/>
                  </a:lnTo>
                  <a:lnTo>
                    <a:pt x="1032" y="540"/>
                  </a:lnTo>
                  <a:lnTo>
                    <a:pt x="1044" y="546"/>
                  </a:lnTo>
                  <a:lnTo>
                    <a:pt x="1062" y="552"/>
                  </a:lnTo>
                  <a:lnTo>
                    <a:pt x="1068" y="552"/>
                  </a:lnTo>
                  <a:lnTo>
                    <a:pt x="1068" y="570"/>
                  </a:lnTo>
                  <a:lnTo>
                    <a:pt x="1068" y="576"/>
                  </a:lnTo>
                  <a:lnTo>
                    <a:pt x="1068" y="582"/>
                  </a:lnTo>
                  <a:lnTo>
                    <a:pt x="1068" y="588"/>
                  </a:lnTo>
                  <a:lnTo>
                    <a:pt x="1068" y="594"/>
                  </a:lnTo>
                  <a:lnTo>
                    <a:pt x="1080" y="600"/>
                  </a:lnTo>
                  <a:lnTo>
                    <a:pt x="1086" y="606"/>
                  </a:lnTo>
                  <a:lnTo>
                    <a:pt x="1092" y="594"/>
                  </a:lnTo>
                  <a:lnTo>
                    <a:pt x="1104" y="588"/>
                  </a:lnTo>
                  <a:lnTo>
                    <a:pt x="1116" y="588"/>
                  </a:lnTo>
                  <a:lnTo>
                    <a:pt x="1122" y="588"/>
                  </a:lnTo>
                  <a:lnTo>
                    <a:pt x="1122" y="594"/>
                  </a:lnTo>
                  <a:lnTo>
                    <a:pt x="1128" y="594"/>
                  </a:lnTo>
                  <a:lnTo>
                    <a:pt x="1134" y="594"/>
                  </a:lnTo>
                  <a:lnTo>
                    <a:pt x="1140" y="594"/>
                  </a:lnTo>
                  <a:lnTo>
                    <a:pt x="1146" y="588"/>
                  </a:lnTo>
                  <a:lnTo>
                    <a:pt x="1158" y="582"/>
                  </a:lnTo>
                  <a:lnTo>
                    <a:pt x="1164" y="576"/>
                  </a:lnTo>
                  <a:lnTo>
                    <a:pt x="1176" y="576"/>
                  </a:lnTo>
                  <a:lnTo>
                    <a:pt x="1194" y="576"/>
                  </a:lnTo>
                  <a:lnTo>
                    <a:pt x="1218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24" y="594"/>
                  </a:lnTo>
                  <a:lnTo>
                    <a:pt x="1212" y="600"/>
                  </a:lnTo>
                  <a:lnTo>
                    <a:pt x="1206" y="606"/>
                  </a:lnTo>
                  <a:lnTo>
                    <a:pt x="1200" y="606"/>
                  </a:lnTo>
                  <a:lnTo>
                    <a:pt x="1200" y="612"/>
                  </a:lnTo>
                  <a:lnTo>
                    <a:pt x="1194" y="612"/>
                  </a:lnTo>
                  <a:lnTo>
                    <a:pt x="1194" y="618"/>
                  </a:lnTo>
                  <a:lnTo>
                    <a:pt x="1194" y="624"/>
                  </a:lnTo>
                  <a:lnTo>
                    <a:pt x="1194" y="630"/>
                  </a:lnTo>
                  <a:lnTo>
                    <a:pt x="1194" y="648"/>
                  </a:lnTo>
                  <a:lnTo>
                    <a:pt x="1194" y="660"/>
                  </a:lnTo>
                  <a:lnTo>
                    <a:pt x="1194" y="666"/>
                  </a:lnTo>
                  <a:lnTo>
                    <a:pt x="1194" y="672"/>
                  </a:lnTo>
                  <a:lnTo>
                    <a:pt x="1194" y="678"/>
                  </a:lnTo>
                  <a:lnTo>
                    <a:pt x="1188" y="684"/>
                  </a:lnTo>
                  <a:lnTo>
                    <a:pt x="1188" y="690"/>
                  </a:lnTo>
                  <a:lnTo>
                    <a:pt x="1188" y="696"/>
                  </a:lnTo>
                  <a:lnTo>
                    <a:pt x="1188" y="702"/>
                  </a:lnTo>
                  <a:lnTo>
                    <a:pt x="1188" y="708"/>
                  </a:lnTo>
                  <a:lnTo>
                    <a:pt x="1188" y="714"/>
                  </a:lnTo>
                  <a:lnTo>
                    <a:pt x="1182" y="720"/>
                  </a:lnTo>
                  <a:lnTo>
                    <a:pt x="1170" y="720"/>
                  </a:lnTo>
                  <a:lnTo>
                    <a:pt x="1158" y="726"/>
                  </a:lnTo>
                  <a:lnTo>
                    <a:pt x="1152" y="726"/>
                  </a:lnTo>
                  <a:lnTo>
                    <a:pt x="1152" y="732"/>
                  </a:lnTo>
                  <a:lnTo>
                    <a:pt x="1146" y="738"/>
                  </a:lnTo>
                  <a:lnTo>
                    <a:pt x="1140" y="738"/>
                  </a:lnTo>
                  <a:lnTo>
                    <a:pt x="1140" y="744"/>
                  </a:lnTo>
                  <a:lnTo>
                    <a:pt x="1134" y="744"/>
                  </a:lnTo>
                  <a:lnTo>
                    <a:pt x="1128" y="744"/>
                  </a:lnTo>
                  <a:lnTo>
                    <a:pt x="1122" y="750"/>
                  </a:lnTo>
                  <a:lnTo>
                    <a:pt x="1128" y="750"/>
                  </a:lnTo>
                  <a:lnTo>
                    <a:pt x="1122" y="756"/>
                  </a:lnTo>
                  <a:lnTo>
                    <a:pt x="1116" y="756"/>
                  </a:lnTo>
                  <a:lnTo>
                    <a:pt x="1110" y="762"/>
                  </a:lnTo>
                  <a:lnTo>
                    <a:pt x="1104" y="762"/>
                  </a:lnTo>
                  <a:lnTo>
                    <a:pt x="1104" y="768"/>
                  </a:lnTo>
                  <a:lnTo>
                    <a:pt x="1098" y="768"/>
                  </a:lnTo>
                  <a:lnTo>
                    <a:pt x="1098" y="774"/>
                  </a:lnTo>
                  <a:lnTo>
                    <a:pt x="1092" y="774"/>
                  </a:lnTo>
                  <a:lnTo>
                    <a:pt x="1092" y="780"/>
                  </a:lnTo>
                  <a:lnTo>
                    <a:pt x="1086" y="780"/>
                  </a:lnTo>
                  <a:lnTo>
                    <a:pt x="1086" y="786"/>
                  </a:lnTo>
                  <a:lnTo>
                    <a:pt x="1080" y="786"/>
                  </a:lnTo>
                  <a:lnTo>
                    <a:pt x="1080" y="792"/>
                  </a:lnTo>
                  <a:lnTo>
                    <a:pt x="1080" y="798"/>
                  </a:lnTo>
                  <a:lnTo>
                    <a:pt x="1080" y="804"/>
                  </a:lnTo>
                  <a:lnTo>
                    <a:pt x="1086" y="810"/>
                  </a:lnTo>
                  <a:lnTo>
                    <a:pt x="1080" y="816"/>
                  </a:lnTo>
                  <a:lnTo>
                    <a:pt x="1080" y="822"/>
                  </a:lnTo>
                  <a:lnTo>
                    <a:pt x="1074" y="822"/>
                  </a:lnTo>
                  <a:lnTo>
                    <a:pt x="1068" y="828"/>
                  </a:lnTo>
                  <a:lnTo>
                    <a:pt x="1074" y="828"/>
                  </a:lnTo>
                  <a:lnTo>
                    <a:pt x="1074" y="834"/>
                  </a:lnTo>
                  <a:lnTo>
                    <a:pt x="1080" y="846"/>
                  </a:lnTo>
                  <a:lnTo>
                    <a:pt x="1086" y="846"/>
                  </a:lnTo>
                  <a:lnTo>
                    <a:pt x="1092" y="852"/>
                  </a:lnTo>
                  <a:lnTo>
                    <a:pt x="1092" y="858"/>
                  </a:lnTo>
                  <a:lnTo>
                    <a:pt x="1098" y="858"/>
                  </a:lnTo>
                  <a:lnTo>
                    <a:pt x="1110" y="864"/>
                  </a:lnTo>
                  <a:lnTo>
                    <a:pt x="1116" y="864"/>
                  </a:lnTo>
                  <a:lnTo>
                    <a:pt x="1122" y="864"/>
                  </a:lnTo>
                  <a:lnTo>
                    <a:pt x="1128" y="864"/>
                  </a:lnTo>
                  <a:lnTo>
                    <a:pt x="1134" y="876"/>
                  </a:lnTo>
                  <a:lnTo>
                    <a:pt x="1140" y="882"/>
                  </a:lnTo>
                  <a:lnTo>
                    <a:pt x="1140" y="888"/>
                  </a:lnTo>
                  <a:lnTo>
                    <a:pt x="1152" y="918"/>
                  </a:lnTo>
                  <a:lnTo>
                    <a:pt x="1158" y="894"/>
                  </a:lnTo>
                  <a:lnTo>
                    <a:pt x="1164" y="888"/>
                  </a:lnTo>
                  <a:lnTo>
                    <a:pt x="1164" y="882"/>
                  </a:lnTo>
                  <a:lnTo>
                    <a:pt x="1176" y="864"/>
                  </a:lnTo>
                  <a:lnTo>
                    <a:pt x="1182" y="858"/>
                  </a:lnTo>
                  <a:lnTo>
                    <a:pt x="1188" y="846"/>
                  </a:lnTo>
                  <a:lnTo>
                    <a:pt x="1200" y="840"/>
                  </a:lnTo>
                  <a:lnTo>
                    <a:pt x="1212" y="840"/>
                  </a:lnTo>
                  <a:lnTo>
                    <a:pt x="1218" y="846"/>
                  </a:lnTo>
                  <a:lnTo>
                    <a:pt x="1224" y="858"/>
                  </a:lnTo>
                  <a:lnTo>
                    <a:pt x="1224" y="864"/>
                  </a:lnTo>
                  <a:lnTo>
                    <a:pt x="1224" y="876"/>
                  </a:lnTo>
                  <a:lnTo>
                    <a:pt x="1212" y="912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00" y="930"/>
                  </a:lnTo>
                  <a:lnTo>
                    <a:pt x="1200" y="942"/>
                  </a:lnTo>
                  <a:lnTo>
                    <a:pt x="1194" y="948"/>
                  </a:lnTo>
                  <a:lnTo>
                    <a:pt x="1194" y="960"/>
                  </a:lnTo>
                  <a:lnTo>
                    <a:pt x="1194" y="966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70" y="984"/>
                  </a:lnTo>
                  <a:lnTo>
                    <a:pt x="1164" y="984"/>
                  </a:lnTo>
                  <a:lnTo>
                    <a:pt x="1158" y="984"/>
                  </a:lnTo>
                  <a:lnTo>
                    <a:pt x="1146" y="984"/>
                  </a:lnTo>
                  <a:lnTo>
                    <a:pt x="1140" y="990"/>
                  </a:lnTo>
                  <a:lnTo>
                    <a:pt x="1140" y="996"/>
                  </a:lnTo>
                  <a:lnTo>
                    <a:pt x="1152" y="996"/>
                  </a:lnTo>
                  <a:lnTo>
                    <a:pt x="1176" y="1002"/>
                  </a:lnTo>
                  <a:lnTo>
                    <a:pt x="1194" y="1008"/>
                  </a:lnTo>
                  <a:lnTo>
                    <a:pt x="1206" y="1008"/>
                  </a:lnTo>
                  <a:lnTo>
                    <a:pt x="1218" y="1014"/>
                  </a:lnTo>
                  <a:lnTo>
                    <a:pt x="1212" y="1038"/>
                  </a:lnTo>
                  <a:lnTo>
                    <a:pt x="1212" y="1044"/>
                  </a:lnTo>
                  <a:lnTo>
                    <a:pt x="1206" y="1044"/>
                  </a:lnTo>
                  <a:lnTo>
                    <a:pt x="1206" y="1050"/>
                  </a:lnTo>
                  <a:lnTo>
                    <a:pt x="1194" y="1050"/>
                  </a:lnTo>
                  <a:lnTo>
                    <a:pt x="1188" y="1044"/>
                  </a:lnTo>
                  <a:lnTo>
                    <a:pt x="1158" y="1020"/>
                  </a:lnTo>
                  <a:lnTo>
                    <a:pt x="1152" y="1020"/>
                  </a:lnTo>
                  <a:lnTo>
                    <a:pt x="1140" y="1020"/>
                  </a:lnTo>
                  <a:lnTo>
                    <a:pt x="1134" y="1020"/>
                  </a:lnTo>
                  <a:lnTo>
                    <a:pt x="1134" y="1026"/>
                  </a:lnTo>
                  <a:lnTo>
                    <a:pt x="1134" y="1032"/>
                  </a:lnTo>
                  <a:lnTo>
                    <a:pt x="1128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2" name="Freeform 27">
              <a:extLst>
                <a:ext uri="{FF2B5EF4-FFF2-40B4-BE49-F238E27FC236}">
                  <a16:creationId xmlns:a16="http://schemas.microsoft.com/office/drawing/2014/main" id="{CE95C9DF-B651-4085-946F-65424BC51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2063" y="3421400"/>
              <a:ext cx="342138" cy="377969"/>
            </a:xfrm>
            <a:custGeom>
              <a:avLst/>
              <a:gdLst>
                <a:gd name="T0" fmla="*/ 43 w 642"/>
                <a:gd name="T1" fmla="*/ 41 h 708"/>
                <a:gd name="T2" fmla="*/ 39 w 642"/>
                <a:gd name="T3" fmla="*/ 41 h 708"/>
                <a:gd name="T4" fmla="*/ 38 w 642"/>
                <a:gd name="T5" fmla="*/ 47 h 708"/>
                <a:gd name="T6" fmla="*/ 38 w 642"/>
                <a:gd name="T7" fmla="*/ 49 h 708"/>
                <a:gd name="T8" fmla="*/ 38 w 642"/>
                <a:gd name="T9" fmla="*/ 50 h 708"/>
                <a:gd name="T10" fmla="*/ 36 w 642"/>
                <a:gd name="T11" fmla="*/ 52 h 708"/>
                <a:gd name="T12" fmla="*/ 35 w 642"/>
                <a:gd name="T13" fmla="*/ 53 h 708"/>
                <a:gd name="T14" fmla="*/ 33 w 642"/>
                <a:gd name="T15" fmla="*/ 55 h 708"/>
                <a:gd name="T16" fmla="*/ 32 w 642"/>
                <a:gd name="T17" fmla="*/ 56 h 708"/>
                <a:gd name="T18" fmla="*/ 31 w 642"/>
                <a:gd name="T19" fmla="*/ 59 h 708"/>
                <a:gd name="T20" fmla="*/ 26 w 642"/>
                <a:gd name="T21" fmla="*/ 59 h 708"/>
                <a:gd name="T22" fmla="*/ 23 w 642"/>
                <a:gd name="T23" fmla="*/ 61 h 708"/>
                <a:gd name="T24" fmla="*/ 20 w 642"/>
                <a:gd name="T25" fmla="*/ 61 h 708"/>
                <a:gd name="T26" fmla="*/ 17 w 642"/>
                <a:gd name="T27" fmla="*/ 59 h 708"/>
                <a:gd name="T28" fmla="*/ 15 w 642"/>
                <a:gd name="T29" fmla="*/ 56 h 708"/>
                <a:gd name="T30" fmla="*/ 9 w 642"/>
                <a:gd name="T31" fmla="*/ 58 h 708"/>
                <a:gd name="T32" fmla="*/ 6 w 642"/>
                <a:gd name="T33" fmla="*/ 52 h 708"/>
                <a:gd name="T34" fmla="*/ 2 w 642"/>
                <a:gd name="T35" fmla="*/ 53 h 708"/>
                <a:gd name="T36" fmla="*/ 1 w 642"/>
                <a:gd name="T37" fmla="*/ 51 h 708"/>
                <a:gd name="T38" fmla="*/ 4 w 642"/>
                <a:gd name="T39" fmla="*/ 47 h 708"/>
                <a:gd name="T40" fmla="*/ 5 w 642"/>
                <a:gd name="T41" fmla="*/ 41 h 708"/>
                <a:gd name="T42" fmla="*/ 5 w 642"/>
                <a:gd name="T43" fmla="*/ 38 h 708"/>
                <a:gd name="T44" fmla="*/ 5 w 642"/>
                <a:gd name="T45" fmla="*/ 35 h 708"/>
                <a:gd name="T46" fmla="*/ 6 w 642"/>
                <a:gd name="T47" fmla="*/ 33 h 708"/>
                <a:gd name="T48" fmla="*/ 5 w 642"/>
                <a:gd name="T49" fmla="*/ 29 h 708"/>
                <a:gd name="T50" fmla="*/ 4 w 642"/>
                <a:gd name="T51" fmla="*/ 28 h 708"/>
                <a:gd name="T52" fmla="*/ 1 w 642"/>
                <a:gd name="T53" fmla="*/ 26 h 708"/>
                <a:gd name="T54" fmla="*/ 1 w 642"/>
                <a:gd name="T55" fmla="*/ 24 h 708"/>
                <a:gd name="T56" fmla="*/ 1 w 642"/>
                <a:gd name="T57" fmla="*/ 20 h 708"/>
                <a:gd name="T58" fmla="*/ 1 w 642"/>
                <a:gd name="T59" fmla="*/ 16 h 708"/>
                <a:gd name="T60" fmla="*/ 2 w 642"/>
                <a:gd name="T61" fmla="*/ 14 h 708"/>
                <a:gd name="T62" fmla="*/ 8 w 642"/>
                <a:gd name="T63" fmla="*/ 14 h 708"/>
                <a:gd name="T64" fmla="*/ 9 w 642"/>
                <a:gd name="T65" fmla="*/ 10 h 708"/>
                <a:gd name="T66" fmla="*/ 15 w 642"/>
                <a:gd name="T67" fmla="*/ 9 h 708"/>
                <a:gd name="T68" fmla="*/ 18 w 642"/>
                <a:gd name="T69" fmla="*/ 14 h 708"/>
                <a:gd name="T70" fmla="*/ 20 w 642"/>
                <a:gd name="T71" fmla="*/ 12 h 708"/>
                <a:gd name="T72" fmla="*/ 20 w 642"/>
                <a:gd name="T73" fmla="*/ 11 h 708"/>
                <a:gd name="T74" fmla="*/ 21 w 642"/>
                <a:gd name="T75" fmla="*/ 9 h 708"/>
                <a:gd name="T76" fmla="*/ 24 w 642"/>
                <a:gd name="T77" fmla="*/ 9 h 708"/>
                <a:gd name="T78" fmla="*/ 27 w 642"/>
                <a:gd name="T79" fmla="*/ 8 h 708"/>
                <a:gd name="T80" fmla="*/ 33 w 642"/>
                <a:gd name="T81" fmla="*/ 2 h 708"/>
                <a:gd name="T82" fmla="*/ 42 w 642"/>
                <a:gd name="T83" fmla="*/ 2 h 708"/>
                <a:gd name="T84" fmla="*/ 49 w 642"/>
                <a:gd name="T85" fmla="*/ 1 h 708"/>
                <a:gd name="T86" fmla="*/ 53 w 642"/>
                <a:gd name="T87" fmla="*/ 4 h 708"/>
                <a:gd name="T88" fmla="*/ 55 w 642"/>
                <a:gd name="T89" fmla="*/ 4 h 708"/>
                <a:gd name="T90" fmla="*/ 55 w 642"/>
                <a:gd name="T91" fmla="*/ 7 h 708"/>
                <a:gd name="T92" fmla="*/ 52 w 642"/>
                <a:gd name="T93" fmla="*/ 9 h 708"/>
                <a:gd name="T94" fmla="*/ 49 w 642"/>
                <a:gd name="T95" fmla="*/ 12 h 708"/>
                <a:gd name="T96" fmla="*/ 47 w 642"/>
                <a:gd name="T97" fmla="*/ 14 h 708"/>
                <a:gd name="T98" fmla="*/ 47 w 642"/>
                <a:gd name="T99" fmla="*/ 17 h 708"/>
                <a:gd name="T100" fmla="*/ 45 w 642"/>
                <a:gd name="T101" fmla="*/ 26 h 708"/>
                <a:gd name="T102" fmla="*/ 50 w 642"/>
                <a:gd name="T103" fmla="*/ 37 h 70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42"/>
                <a:gd name="T157" fmla="*/ 0 h 708"/>
                <a:gd name="T158" fmla="*/ 642 w 642"/>
                <a:gd name="T159" fmla="*/ 708 h 70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42" h="708">
                  <a:moveTo>
                    <a:pt x="576" y="468"/>
                  </a:moveTo>
                  <a:lnTo>
                    <a:pt x="564" y="468"/>
                  </a:lnTo>
                  <a:lnTo>
                    <a:pt x="516" y="468"/>
                  </a:lnTo>
                  <a:lnTo>
                    <a:pt x="498" y="474"/>
                  </a:lnTo>
                  <a:lnTo>
                    <a:pt x="492" y="468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68" y="474"/>
                  </a:lnTo>
                  <a:lnTo>
                    <a:pt x="456" y="468"/>
                  </a:lnTo>
                  <a:lnTo>
                    <a:pt x="444" y="474"/>
                  </a:lnTo>
                  <a:lnTo>
                    <a:pt x="438" y="492"/>
                  </a:lnTo>
                  <a:lnTo>
                    <a:pt x="438" y="504"/>
                  </a:lnTo>
                  <a:lnTo>
                    <a:pt x="432" y="516"/>
                  </a:lnTo>
                  <a:lnTo>
                    <a:pt x="432" y="528"/>
                  </a:lnTo>
                  <a:lnTo>
                    <a:pt x="432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52"/>
                  </a:lnTo>
                  <a:lnTo>
                    <a:pt x="432" y="558"/>
                  </a:lnTo>
                  <a:lnTo>
                    <a:pt x="438" y="564"/>
                  </a:lnTo>
                  <a:lnTo>
                    <a:pt x="444" y="564"/>
                  </a:lnTo>
                  <a:lnTo>
                    <a:pt x="438" y="564"/>
                  </a:lnTo>
                  <a:lnTo>
                    <a:pt x="438" y="570"/>
                  </a:lnTo>
                  <a:lnTo>
                    <a:pt x="432" y="570"/>
                  </a:lnTo>
                  <a:lnTo>
                    <a:pt x="432" y="576"/>
                  </a:lnTo>
                  <a:lnTo>
                    <a:pt x="426" y="588"/>
                  </a:lnTo>
                  <a:lnTo>
                    <a:pt x="420" y="594"/>
                  </a:lnTo>
                  <a:lnTo>
                    <a:pt x="420" y="600"/>
                  </a:lnTo>
                  <a:lnTo>
                    <a:pt x="414" y="600"/>
                  </a:lnTo>
                  <a:lnTo>
                    <a:pt x="414" y="606"/>
                  </a:lnTo>
                  <a:lnTo>
                    <a:pt x="408" y="606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396" y="612"/>
                  </a:lnTo>
                  <a:lnTo>
                    <a:pt x="390" y="612"/>
                  </a:lnTo>
                  <a:lnTo>
                    <a:pt x="390" y="618"/>
                  </a:lnTo>
                  <a:lnTo>
                    <a:pt x="384" y="618"/>
                  </a:lnTo>
                  <a:lnTo>
                    <a:pt x="378" y="618"/>
                  </a:lnTo>
                  <a:lnTo>
                    <a:pt x="378" y="624"/>
                  </a:lnTo>
                  <a:lnTo>
                    <a:pt x="384" y="630"/>
                  </a:lnTo>
                  <a:lnTo>
                    <a:pt x="384" y="636"/>
                  </a:lnTo>
                  <a:lnTo>
                    <a:pt x="378" y="630"/>
                  </a:lnTo>
                  <a:lnTo>
                    <a:pt x="372" y="636"/>
                  </a:lnTo>
                  <a:lnTo>
                    <a:pt x="372" y="642"/>
                  </a:lnTo>
                  <a:lnTo>
                    <a:pt x="366" y="642"/>
                  </a:lnTo>
                  <a:lnTo>
                    <a:pt x="360" y="654"/>
                  </a:lnTo>
                  <a:lnTo>
                    <a:pt x="354" y="666"/>
                  </a:lnTo>
                  <a:lnTo>
                    <a:pt x="354" y="672"/>
                  </a:lnTo>
                  <a:lnTo>
                    <a:pt x="354" y="678"/>
                  </a:lnTo>
                  <a:lnTo>
                    <a:pt x="354" y="684"/>
                  </a:lnTo>
                  <a:lnTo>
                    <a:pt x="348" y="678"/>
                  </a:lnTo>
                  <a:lnTo>
                    <a:pt x="324" y="678"/>
                  </a:lnTo>
                  <a:lnTo>
                    <a:pt x="306" y="678"/>
                  </a:lnTo>
                  <a:lnTo>
                    <a:pt x="294" y="678"/>
                  </a:lnTo>
                  <a:lnTo>
                    <a:pt x="288" y="684"/>
                  </a:lnTo>
                  <a:lnTo>
                    <a:pt x="276" y="690"/>
                  </a:lnTo>
                  <a:lnTo>
                    <a:pt x="270" y="696"/>
                  </a:lnTo>
                  <a:lnTo>
                    <a:pt x="264" y="696"/>
                  </a:lnTo>
                  <a:lnTo>
                    <a:pt x="258" y="696"/>
                  </a:lnTo>
                  <a:lnTo>
                    <a:pt x="252" y="696"/>
                  </a:lnTo>
                  <a:lnTo>
                    <a:pt x="252" y="690"/>
                  </a:lnTo>
                  <a:lnTo>
                    <a:pt x="246" y="690"/>
                  </a:lnTo>
                  <a:lnTo>
                    <a:pt x="234" y="690"/>
                  </a:lnTo>
                  <a:lnTo>
                    <a:pt x="222" y="696"/>
                  </a:lnTo>
                  <a:lnTo>
                    <a:pt x="216" y="708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8" y="690"/>
                  </a:lnTo>
                  <a:lnTo>
                    <a:pt x="198" y="684"/>
                  </a:lnTo>
                  <a:lnTo>
                    <a:pt x="198" y="678"/>
                  </a:lnTo>
                  <a:lnTo>
                    <a:pt x="198" y="672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74" y="648"/>
                  </a:lnTo>
                  <a:lnTo>
                    <a:pt x="162" y="642"/>
                  </a:lnTo>
                  <a:lnTo>
                    <a:pt x="156" y="636"/>
                  </a:lnTo>
                  <a:lnTo>
                    <a:pt x="132" y="642"/>
                  </a:lnTo>
                  <a:lnTo>
                    <a:pt x="120" y="654"/>
                  </a:lnTo>
                  <a:lnTo>
                    <a:pt x="108" y="660"/>
                  </a:lnTo>
                  <a:lnTo>
                    <a:pt x="102" y="666"/>
                  </a:lnTo>
                  <a:lnTo>
                    <a:pt x="84" y="666"/>
                  </a:lnTo>
                  <a:lnTo>
                    <a:pt x="84" y="630"/>
                  </a:lnTo>
                  <a:lnTo>
                    <a:pt x="78" y="594"/>
                  </a:lnTo>
                  <a:lnTo>
                    <a:pt x="66" y="594"/>
                  </a:lnTo>
                  <a:lnTo>
                    <a:pt x="60" y="594"/>
                  </a:lnTo>
                  <a:lnTo>
                    <a:pt x="48" y="600"/>
                  </a:lnTo>
                  <a:lnTo>
                    <a:pt x="36" y="606"/>
                  </a:lnTo>
                  <a:lnTo>
                    <a:pt x="24" y="612"/>
                  </a:lnTo>
                  <a:lnTo>
                    <a:pt x="18" y="612"/>
                  </a:lnTo>
                  <a:lnTo>
                    <a:pt x="12" y="606"/>
                  </a:lnTo>
                  <a:lnTo>
                    <a:pt x="12" y="600"/>
                  </a:lnTo>
                  <a:lnTo>
                    <a:pt x="12" y="594"/>
                  </a:lnTo>
                  <a:lnTo>
                    <a:pt x="12" y="588"/>
                  </a:lnTo>
                  <a:lnTo>
                    <a:pt x="12" y="582"/>
                  </a:lnTo>
                  <a:lnTo>
                    <a:pt x="12" y="576"/>
                  </a:lnTo>
                  <a:lnTo>
                    <a:pt x="18" y="552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42" y="534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48" y="492"/>
                  </a:lnTo>
                  <a:lnTo>
                    <a:pt x="48" y="480"/>
                  </a:lnTo>
                  <a:lnTo>
                    <a:pt x="54" y="468"/>
                  </a:lnTo>
                  <a:lnTo>
                    <a:pt x="48" y="456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66" y="390"/>
                  </a:lnTo>
                  <a:lnTo>
                    <a:pt x="72" y="384"/>
                  </a:lnTo>
                  <a:lnTo>
                    <a:pt x="72" y="378"/>
                  </a:lnTo>
                  <a:lnTo>
                    <a:pt x="66" y="378"/>
                  </a:lnTo>
                  <a:lnTo>
                    <a:pt x="66" y="366"/>
                  </a:lnTo>
                  <a:lnTo>
                    <a:pt x="60" y="360"/>
                  </a:lnTo>
                  <a:lnTo>
                    <a:pt x="66" y="354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48" y="312"/>
                  </a:lnTo>
                  <a:lnTo>
                    <a:pt x="30" y="312"/>
                  </a:lnTo>
                  <a:lnTo>
                    <a:pt x="24" y="306"/>
                  </a:lnTo>
                  <a:lnTo>
                    <a:pt x="18" y="306"/>
                  </a:lnTo>
                  <a:lnTo>
                    <a:pt x="12" y="294"/>
                  </a:lnTo>
                  <a:lnTo>
                    <a:pt x="12" y="282"/>
                  </a:lnTo>
                  <a:lnTo>
                    <a:pt x="6" y="276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12" y="270"/>
                  </a:lnTo>
                  <a:lnTo>
                    <a:pt x="12" y="246"/>
                  </a:lnTo>
                  <a:lnTo>
                    <a:pt x="12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8" y="174"/>
                  </a:lnTo>
                  <a:lnTo>
                    <a:pt x="12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48" y="162"/>
                  </a:lnTo>
                  <a:lnTo>
                    <a:pt x="72" y="162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84" y="132"/>
                  </a:lnTo>
                  <a:lnTo>
                    <a:pt x="90" y="120"/>
                  </a:lnTo>
                  <a:lnTo>
                    <a:pt x="108" y="114"/>
                  </a:lnTo>
                  <a:lnTo>
                    <a:pt x="114" y="102"/>
                  </a:lnTo>
                  <a:lnTo>
                    <a:pt x="120" y="90"/>
                  </a:lnTo>
                  <a:lnTo>
                    <a:pt x="138" y="90"/>
                  </a:lnTo>
                  <a:lnTo>
                    <a:pt x="138" y="102"/>
                  </a:lnTo>
                  <a:lnTo>
                    <a:pt x="168" y="108"/>
                  </a:lnTo>
                  <a:lnTo>
                    <a:pt x="168" y="114"/>
                  </a:lnTo>
                  <a:lnTo>
                    <a:pt x="174" y="126"/>
                  </a:lnTo>
                  <a:lnTo>
                    <a:pt x="186" y="150"/>
                  </a:lnTo>
                  <a:lnTo>
                    <a:pt x="186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34" y="144"/>
                  </a:lnTo>
                  <a:lnTo>
                    <a:pt x="240" y="138"/>
                  </a:lnTo>
                  <a:lnTo>
                    <a:pt x="240" y="126"/>
                  </a:lnTo>
                  <a:lnTo>
                    <a:pt x="234" y="126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34" y="102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82" y="102"/>
                  </a:lnTo>
                  <a:lnTo>
                    <a:pt x="288" y="102"/>
                  </a:lnTo>
                  <a:lnTo>
                    <a:pt x="294" y="102"/>
                  </a:lnTo>
                  <a:lnTo>
                    <a:pt x="300" y="96"/>
                  </a:lnTo>
                  <a:lnTo>
                    <a:pt x="306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84"/>
                  </a:lnTo>
                  <a:lnTo>
                    <a:pt x="324" y="18"/>
                  </a:lnTo>
                  <a:lnTo>
                    <a:pt x="360" y="18"/>
                  </a:lnTo>
                  <a:lnTo>
                    <a:pt x="378" y="18"/>
                  </a:lnTo>
                  <a:lnTo>
                    <a:pt x="378" y="30"/>
                  </a:lnTo>
                  <a:lnTo>
                    <a:pt x="390" y="30"/>
                  </a:lnTo>
                  <a:lnTo>
                    <a:pt x="432" y="30"/>
                  </a:lnTo>
                  <a:lnTo>
                    <a:pt x="456" y="24"/>
                  </a:lnTo>
                  <a:lnTo>
                    <a:pt x="480" y="24"/>
                  </a:lnTo>
                  <a:lnTo>
                    <a:pt x="498" y="30"/>
                  </a:lnTo>
                  <a:lnTo>
                    <a:pt x="522" y="18"/>
                  </a:lnTo>
                  <a:lnTo>
                    <a:pt x="528" y="0"/>
                  </a:lnTo>
                  <a:lnTo>
                    <a:pt x="558" y="6"/>
                  </a:lnTo>
                  <a:lnTo>
                    <a:pt x="558" y="12"/>
                  </a:lnTo>
                  <a:lnTo>
                    <a:pt x="570" y="18"/>
                  </a:lnTo>
                  <a:lnTo>
                    <a:pt x="576" y="24"/>
                  </a:lnTo>
                  <a:lnTo>
                    <a:pt x="588" y="36"/>
                  </a:lnTo>
                  <a:lnTo>
                    <a:pt x="594" y="48"/>
                  </a:lnTo>
                  <a:lnTo>
                    <a:pt x="606" y="48"/>
                  </a:lnTo>
                  <a:lnTo>
                    <a:pt x="606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42"/>
                  </a:lnTo>
                  <a:lnTo>
                    <a:pt x="636" y="42"/>
                  </a:lnTo>
                  <a:lnTo>
                    <a:pt x="636" y="48"/>
                  </a:lnTo>
                  <a:lnTo>
                    <a:pt x="642" y="54"/>
                  </a:lnTo>
                  <a:lnTo>
                    <a:pt x="636" y="60"/>
                  </a:lnTo>
                  <a:lnTo>
                    <a:pt x="636" y="66"/>
                  </a:lnTo>
                  <a:lnTo>
                    <a:pt x="636" y="78"/>
                  </a:lnTo>
                  <a:lnTo>
                    <a:pt x="624" y="84"/>
                  </a:lnTo>
                  <a:lnTo>
                    <a:pt x="618" y="90"/>
                  </a:lnTo>
                  <a:lnTo>
                    <a:pt x="612" y="90"/>
                  </a:lnTo>
                  <a:lnTo>
                    <a:pt x="600" y="102"/>
                  </a:lnTo>
                  <a:lnTo>
                    <a:pt x="594" y="108"/>
                  </a:lnTo>
                  <a:lnTo>
                    <a:pt x="582" y="114"/>
                  </a:lnTo>
                  <a:lnTo>
                    <a:pt x="570" y="132"/>
                  </a:lnTo>
                  <a:lnTo>
                    <a:pt x="564" y="132"/>
                  </a:lnTo>
                  <a:lnTo>
                    <a:pt x="564" y="138"/>
                  </a:lnTo>
                  <a:lnTo>
                    <a:pt x="558" y="144"/>
                  </a:lnTo>
                  <a:lnTo>
                    <a:pt x="558" y="150"/>
                  </a:lnTo>
                  <a:lnTo>
                    <a:pt x="552" y="150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0" y="162"/>
                  </a:lnTo>
                  <a:lnTo>
                    <a:pt x="534" y="168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6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28" y="234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16" y="294"/>
                  </a:lnTo>
                  <a:lnTo>
                    <a:pt x="516" y="312"/>
                  </a:lnTo>
                  <a:lnTo>
                    <a:pt x="528" y="318"/>
                  </a:lnTo>
                  <a:lnTo>
                    <a:pt x="540" y="360"/>
                  </a:lnTo>
                  <a:lnTo>
                    <a:pt x="558" y="408"/>
                  </a:lnTo>
                  <a:lnTo>
                    <a:pt x="570" y="426"/>
                  </a:lnTo>
                  <a:lnTo>
                    <a:pt x="576" y="432"/>
                  </a:lnTo>
                  <a:lnTo>
                    <a:pt x="576" y="438"/>
                  </a:lnTo>
                  <a:lnTo>
                    <a:pt x="576" y="444"/>
                  </a:lnTo>
                  <a:lnTo>
                    <a:pt x="576" y="46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3" name="Freeform 28">
              <a:extLst>
                <a:ext uri="{FF2B5EF4-FFF2-40B4-BE49-F238E27FC236}">
                  <a16:creationId xmlns:a16="http://schemas.microsoft.com/office/drawing/2014/main" id="{CF9B4F31-BF73-448E-83AA-188F6CF1BDC5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4879" y="3432583"/>
              <a:ext cx="324248" cy="270616"/>
            </a:xfrm>
            <a:custGeom>
              <a:avLst/>
              <a:gdLst>
                <a:gd name="T0" fmla="*/ 5 w 606"/>
                <a:gd name="T1" fmla="*/ 36 h 510"/>
                <a:gd name="T2" fmla="*/ 4 w 606"/>
                <a:gd name="T3" fmla="*/ 34 h 510"/>
                <a:gd name="T4" fmla="*/ 0 w 606"/>
                <a:gd name="T5" fmla="*/ 25 h 510"/>
                <a:gd name="T6" fmla="*/ 1 w 606"/>
                <a:gd name="T7" fmla="*/ 20 h 510"/>
                <a:gd name="T8" fmla="*/ 2 w 606"/>
                <a:gd name="T9" fmla="*/ 15 h 510"/>
                <a:gd name="T10" fmla="*/ 2 w 606"/>
                <a:gd name="T11" fmla="*/ 13 h 510"/>
                <a:gd name="T12" fmla="*/ 3 w 606"/>
                <a:gd name="T13" fmla="*/ 12 h 510"/>
                <a:gd name="T14" fmla="*/ 4 w 606"/>
                <a:gd name="T15" fmla="*/ 11 h 510"/>
                <a:gd name="T16" fmla="*/ 4 w 606"/>
                <a:gd name="T17" fmla="*/ 10 h 510"/>
                <a:gd name="T18" fmla="*/ 7 w 606"/>
                <a:gd name="T19" fmla="*/ 8 h 510"/>
                <a:gd name="T20" fmla="*/ 9 w 606"/>
                <a:gd name="T21" fmla="*/ 6 h 510"/>
                <a:gd name="T22" fmla="*/ 11 w 606"/>
                <a:gd name="T23" fmla="*/ 4 h 510"/>
                <a:gd name="T24" fmla="*/ 12 w 606"/>
                <a:gd name="T25" fmla="*/ 3 h 510"/>
                <a:gd name="T26" fmla="*/ 13 w 606"/>
                <a:gd name="T27" fmla="*/ 4 h 510"/>
                <a:gd name="T28" fmla="*/ 15 w 606"/>
                <a:gd name="T29" fmla="*/ 2 h 510"/>
                <a:gd name="T30" fmla="*/ 17 w 606"/>
                <a:gd name="T31" fmla="*/ 2 h 510"/>
                <a:gd name="T32" fmla="*/ 19 w 606"/>
                <a:gd name="T33" fmla="*/ 5 h 510"/>
                <a:gd name="T34" fmla="*/ 22 w 606"/>
                <a:gd name="T35" fmla="*/ 5 h 510"/>
                <a:gd name="T36" fmla="*/ 25 w 606"/>
                <a:gd name="T37" fmla="*/ 6 h 510"/>
                <a:gd name="T38" fmla="*/ 29 w 606"/>
                <a:gd name="T39" fmla="*/ 1 h 510"/>
                <a:gd name="T40" fmla="*/ 38 w 606"/>
                <a:gd name="T41" fmla="*/ 0 h 510"/>
                <a:gd name="T42" fmla="*/ 38 w 606"/>
                <a:gd name="T43" fmla="*/ 5 h 510"/>
                <a:gd name="T44" fmla="*/ 41 w 606"/>
                <a:gd name="T45" fmla="*/ 4 h 510"/>
                <a:gd name="T46" fmla="*/ 45 w 606"/>
                <a:gd name="T47" fmla="*/ 2 h 510"/>
                <a:gd name="T48" fmla="*/ 46 w 606"/>
                <a:gd name="T49" fmla="*/ 2 h 510"/>
                <a:gd name="T50" fmla="*/ 47 w 606"/>
                <a:gd name="T51" fmla="*/ 5 h 510"/>
                <a:gd name="T52" fmla="*/ 45 w 606"/>
                <a:gd name="T53" fmla="*/ 6 h 510"/>
                <a:gd name="T54" fmla="*/ 45 w 606"/>
                <a:gd name="T55" fmla="*/ 7 h 510"/>
                <a:gd name="T56" fmla="*/ 43 w 606"/>
                <a:gd name="T57" fmla="*/ 8 h 510"/>
                <a:gd name="T58" fmla="*/ 45 w 606"/>
                <a:gd name="T59" fmla="*/ 15 h 510"/>
                <a:gd name="T60" fmla="*/ 49 w 606"/>
                <a:gd name="T61" fmla="*/ 15 h 510"/>
                <a:gd name="T62" fmla="*/ 51 w 606"/>
                <a:gd name="T63" fmla="*/ 15 h 510"/>
                <a:gd name="T64" fmla="*/ 53 w 606"/>
                <a:gd name="T65" fmla="*/ 16 h 510"/>
                <a:gd name="T66" fmla="*/ 52 w 606"/>
                <a:gd name="T67" fmla="*/ 20 h 510"/>
                <a:gd name="T68" fmla="*/ 48 w 606"/>
                <a:gd name="T69" fmla="*/ 23 h 510"/>
                <a:gd name="T70" fmla="*/ 45 w 606"/>
                <a:gd name="T71" fmla="*/ 25 h 510"/>
                <a:gd name="T72" fmla="*/ 44 w 606"/>
                <a:gd name="T73" fmla="*/ 28 h 510"/>
                <a:gd name="T74" fmla="*/ 43 w 606"/>
                <a:gd name="T75" fmla="*/ 33 h 510"/>
                <a:gd name="T76" fmla="*/ 39 w 606"/>
                <a:gd name="T77" fmla="*/ 38 h 510"/>
                <a:gd name="T78" fmla="*/ 37 w 606"/>
                <a:gd name="T79" fmla="*/ 41 h 510"/>
                <a:gd name="T80" fmla="*/ 31 w 606"/>
                <a:gd name="T81" fmla="*/ 44 h 510"/>
                <a:gd name="T82" fmla="*/ 28 w 606"/>
                <a:gd name="T83" fmla="*/ 43 h 510"/>
                <a:gd name="T84" fmla="*/ 28 w 606"/>
                <a:gd name="T85" fmla="*/ 41 h 510"/>
                <a:gd name="T86" fmla="*/ 28 w 606"/>
                <a:gd name="T87" fmla="*/ 40 h 510"/>
                <a:gd name="T88" fmla="*/ 27 w 606"/>
                <a:gd name="T89" fmla="*/ 38 h 510"/>
                <a:gd name="T90" fmla="*/ 27 w 606"/>
                <a:gd name="T91" fmla="*/ 36 h 510"/>
                <a:gd name="T92" fmla="*/ 24 w 606"/>
                <a:gd name="T93" fmla="*/ 35 h 510"/>
                <a:gd name="T94" fmla="*/ 16 w 606"/>
                <a:gd name="T95" fmla="*/ 34 h 510"/>
                <a:gd name="T96" fmla="*/ 13 w 606"/>
                <a:gd name="T97" fmla="*/ 34 h 510"/>
                <a:gd name="T98" fmla="*/ 9 w 606"/>
                <a:gd name="T99" fmla="*/ 36 h 510"/>
                <a:gd name="T100" fmla="*/ 8 w 606"/>
                <a:gd name="T101" fmla="*/ 38 h 510"/>
                <a:gd name="T102" fmla="*/ 7 w 606"/>
                <a:gd name="T103" fmla="*/ 39 h 51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06"/>
                <a:gd name="T157" fmla="*/ 0 h 510"/>
                <a:gd name="T158" fmla="*/ 606 w 606"/>
                <a:gd name="T159" fmla="*/ 510 h 51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06" h="510">
                  <a:moveTo>
                    <a:pt x="60" y="450"/>
                  </a:move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42" y="390"/>
                  </a:lnTo>
                  <a:lnTo>
                    <a:pt x="24" y="342"/>
                  </a:lnTo>
                  <a:lnTo>
                    <a:pt x="12" y="300"/>
                  </a:lnTo>
                  <a:lnTo>
                    <a:pt x="0" y="294"/>
                  </a:lnTo>
                  <a:lnTo>
                    <a:pt x="0" y="276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24" y="192"/>
                  </a:lnTo>
                  <a:lnTo>
                    <a:pt x="24" y="180"/>
                  </a:lnTo>
                  <a:lnTo>
                    <a:pt x="24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6" y="96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108" y="66"/>
                  </a:lnTo>
                  <a:lnTo>
                    <a:pt x="120" y="60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36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62" y="36"/>
                  </a:lnTo>
                  <a:lnTo>
                    <a:pt x="162" y="30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0" y="54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46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76" y="66"/>
                  </a:lnTo>
                  <a:lnTo>
                    <a:pt x="312" y="66"/>
                  </a:lnTo>
                  <a:lnTo>
                    <a:pt x="318" y="60"/>
                  </a:lnTo>
                  <a:lnTo>
                    <a:pt x="330" y="12"/>
                  </a:lnTo>
                  <a:lnTo>
                    <a:pt x="414" y="6"/>
                  </a:lnTo>
                  <a:lnTo>
                    <a:pt x="420" y="0"/>
                  </a:lnTo>
                  <a:lnTo>
                    <a:pt x="426" y="6"/>
                  </a:lnTo>
                  <a:lnTo>
                    <a:pt x="426" y="12"/>
                  </a:lnTo>
                  <a:lnTo>
                    <a:pt x="426" y="54"/>
                  </a:lnTo>
                  <a:lnTo>
                    <a:pt x="432" y="54"/>
                  </a:lnTo>
                  <a:lnTo>
                    <a:pt x="444" y="54"/>
                  </a:lnTo>
                  <a:lnTo>
                    <a:pt x="450" y="42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86" y="24"/>
                  </a:lnTo>
                  <a:lnTo>
                    <a:pt x="504" y="18"/>
                  </a:lnTo>
                  <a:lnTo>
                    <a:pt x="510" y="12"/>
                  </a:lnTo>
                  <a:lnTo>
                    <a:pt x="516" y="18"/>
                  </a:lnTo>
                  <a:lnTo>
                    <a:pt x="522" y="24"/>
                  </a:lnTo>
                  <a:lnTo>
                    <a:pt x="510" y="30"/>
                  </a:lnTo>
                  <a:lnTo>
                    <a:pt x="516" y="48"/>
                  </a:lnTo>
                  <a:lnTo>
                    <a:pt x="528" y="54"/>
                  </a:lnTo>
                  <a:lnTo>
                    <a:pt x="522" y="60"/>
                  </a:lnTo>
                  <a:lnTo>
                    <a:pt x="516" y="66"/>
                  </a:lnTo>
                  <a:lnTo>
                    <a:pt x="516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0" y="84"/>
                  </a:lnTo>
                  <a:lnTo>
                    <a:pt x="510" y="90"/>
                  </a:lnTo>
                  <a:lnTo>
                    <a:pt x="504" y="90"/>
                  </a:lnTo>
                  <a:lnTo>
                    <a:pt x="486" y="90"/>
                  </a:lnTo>
                  <a:lnTo>
                    <a:pt x="492" y="138"/>
                  </a:lnTo>
                  <a:lnTo>
                    <a:pt x="498" y="168"/>
                  </a:lnTo>
                  <a:lnTo>
                    <a:pt x="516" y="168"/>
                  </a:lnTo>
                  <a:lnTo>
                    <a:pt x="528" y="174"/>
                  </a:lnTo>
                  <a:lnTo>
                    <a:pt x="534" y="168"/>
                  </a:lnTo>
                  <a:lnTo>
                    <a:pt x="558" y="174"/>
                  </a:lnTo>
                  <a:lnTo>
                    <a:pt x="564" y="168"/>
                  </a:lnTo>
                  <a:lnTo>
                    <a:pt x="570" y="168"/>
                  </a:lnTo>
                  <a:lnTo>
                    <a:pt x="576" y="174"/>
                  </a:lnTo>
                  <a:lnTo>
                    <a:pt x="588" y="168"/>
                  </a:lnTo>
                  <a:lnTo>
                    <a:pt x="594" y="168"/>
                  </a:lnTo>
                  <a:lnTo>
                    <a:pt x="594" y="186"/>
                  </a:lnTo>
                  <a:lnTo>
                    <a:pt x="606" y="198"/>
                  </a:lnTo>
                  <a:lnTo>
                    <a:pt x="600" y="210"/>
                  </a:lnTo>
                  <a:lnTo>
                    <a:pt x="588" y="234"/>
                  </a:lnTo>
                  <a:lnTo>
                    <a:pt x="564" y="246"/>
                  </a:lnTo>
                  <a:lnTo>
                    <a:pt x="546" y="258"/>
                  </a:lnTo>
                  <a:lnTo>
                    <a:pt x="540" y="270"/>
                  </a:lnTo>
                  <a:lnTo>
                    <a:pt x="534" y="294"/>
                  </a:lnTo>
                  <a:lnTo>
                    <a:pt x="528" y="300"/>
                  </a:lnTo>
                  <a:lnTo>
                    <a:pt x="516" y="294"/>
                  </a:lnTo>
                  <a:lnTo>
                    <a:pt x="510" y="300"/>
                  </a:lnTo>
                  <a:lnTo>
                    <a:pt x="498" y="318"/>
                  </a:lnTo>
                  <a:lnTo>
                    <a:pt x="492" y="324"/>
                  </a:lnTo>
                  <a:lnTo>
                    <a:pt x="486" y="336"/>
                  </a:lnTo>
                  <a:lnTo>
                    <a:pt x="486" y="354"/>
                  </a:lnTo>
                  <a:lnTo>
                    <a:pt x="486" y="384"/>
                  </a:lnTo>
                  <a:lnTo>
                    <a:pt x="474" y="408"/>
                  </a:lnTo>
                  <a:lnTo>
                    <a:pt x="450" y="426"/>
                  </a:lnTo>
                  <a:lnTo>
                    <a:pt x="444" y="444"/>
                  </a:lnTo>
                  <a:lnTo>
                    <a:pt x="426" y="474"/>
                  </a:lnTo>
                  <a:lnTo>
                    <a:pt x="420" y="486"/>
                  </a:lnTo>
                  <a:lnTo>
                    <a:pt x="414" y="486"/>
                  </a:lnTo>
                  <a:lnTo>
                    <a:pt x="414" y="498"/>
                  </a:lnTo>
                  <a:lnTo>
                    <a:pt x="378" y="504"/>
                  </a:lnTo>
                  <a:lnTo>
                    <a:pt x="348" y="510"/>
                  </a:lnTo>
                  <a:lnTo>
                    <a:pt x="330" y="510"/>
                  </a:lnTo>
                  <a:lnTo>
                    <a:pt x="324" y="504"/>
                  </a:lnTo>
                  <a:lnTo>
                    <a:pt x="318" y="504"/>
                  </a:lnTo>
                  <a:lnTo>
                    <a:pt x="312" y="504"/>
                  </a:lnTo>
                  <a:lnTo>
                    <a:pt x="312" y="498"/>
                  </a:lnTo>
                  <a:lnTo>
                    <a:pt x="312" y="486"/>
                  </a:lnTo>
                  <a:lnTo>
                    <a:pt x="312" y="480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56"/>
                  </a:lnTo>
                  <a:lnTo>
                    <a:pt x="312" y="450"/>
                  </a:lnTo>
                  <a:lnTo>
                    <a:pt x="306" y="444"/>
                  </a:lnTo>
                  <a:lnTo>
                    <a:pt x="306" y="438"/>
                  </a:lnTo>
                  <a:lnTo>
                    <a:pt x="300" y="426"/>
                  </a:lnTo>
                  <a:lnTo>
                    <a:pt x="300" y="420"/>
                  </a:lnTo>
                  <a:lnTo>
                    <a:pt x="294" y="414"/>
                  </a:lnTo>
                  <a:lnTo>
                    <a:pt x="294" y="408"/>
                  </a:lnTo>
                  <a:lnTo>
                    <a:pt x="270" y="408"/>
                  </a:lnTo>
                  <a:lnTo>
                    <a:pt x="246" y="408"/>
                  </a:lnTo>
                  <a:lnTo>
                    <a:pt x="222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56" y="402"/>
                  </a:lnTo>
                  <a:lnTo>
                    <a:pt x="144" y="396"/>
                  </a:lnTo>
                  <a:lnTo>
                    <a:pt x="126" y="396"/>
                  </a:lnTo>
                  <a:lnTo>
                    <a:pt x="108" y="408"/>
                  </a:lnTo>
                  <a:lnTo>
                    <a:pt x="102" y="414"/>
                  </a:lnTo>
                  <a:lnTo>
                    <a:pt x="102" y="420"/>
                  </a:lnTo>
                  <a:lnTo>
                    <a:pt x="96" y="426"/>
                  </a:lnTo>
                  <a:lnTo>
                    <a:pt x="96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78" y="450"/>
                  </a:lnTo>
                  <a:lnTo>
                    <a:pt x="60" y="45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4" name="Freeform 29">
              <a:extLst>
                <a:ext uri="{FF2B5EF4-FFF2-40B4-BE49-F238E27FC236}">
                  <a16:creationId xmlns:a16="http://schemas.microsoft.com/office/drawing/2014/main" id="{B6AC2B96-1504-4082-8778-17130FDA021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401" y="3537698"/>
              <a:ext cx="559048" cy="641876"/>
            </a:xfrm>
            <a:custGeom>
              <a:avLst/>
              <a:gdLst>
                <a:gd name="T0" fmla="*/ 39 w 1056"/>
                <a:gd name="T1" fmla="*/ 94 h 1206"/>
                <a:gd name="T2" fmla="*/ 35 w 1056"/>
                <a:gd name="T3" fmla="*/ 103 h 1206"/>
                <a:gd name="T4" fmla="*/ 29 w 1056"/>
                <a:gd name="T5" fmla="*/ 99 h 1206"/>
                <a:gd name="T6" fmla="*/ 23 w 1056"/>
                <a:gd name="T7" fmla="*/ 94 h 1206"/>
                <a:gd name="T8" fmla="*/ 21 w 1056"/>
                <a:gd name="T9" fmla="*/ 91 h 1206"/>
                <a:gd name="T10" fmla="*/ 18 w 1056"/>
                <a:gd name="T11" fmla="*/ 89 h 1206"/>
                <a:gd name="T12" fmla="*/ 15 w 1056"/>
                <a:gd name="T13" fmla="*/ 86 h 1206"/>
                <a:gd name="T14" fmla="*/ 11 w 1056"/>
                <a:gd name="T15" fmla="*/ 83 h 1206"/>
                <a:gd name="T16" fmla="*/ 8 w 1056"/>
                <a:gd name="T17" fmla="*/ 81 h 1206"/>
                <a:gd name="T18" fmla="*/ 6 w 1056"/>
                <a:gd name="T19" fmla="*/ 79 h 1206"/>
                <a:gd name="T20" fmla="*/ 13 w 1056"/>
                <a:gd name="T21" fmla="*/ 78 h 1206"/>
                <a:gd name="T22" fmla="*/ 8 w 1056"/>
                <a:gd name="T23" fmla="*/ 75 h 1206"/>
                <a:gd name="T24" fmla="*/ 13 w 1056"/>
                <a:gd name="T25" fmla="*/ 71 h 1206"/>
                <a:gd name="T26" fmla="*/ 10 w 1056"/>
                <a:gd name="T27" fmla="*/ 63 h 1206"/>
                <a:gd name="T28" fmla="*/ 6 w 1056"/>
                <a:gd name="T29" fmla="*/ 66 h 1206"/>
                <a:gd name="T30" fmla="*/ 1 w 1056"/>
                <a:gd name="T31" fmla="*/ 63 h 1206"/>
                <a:gd name="T32" fmla="*/ 1 w 1056"/>
                <a:gd name="T33" fmla="*/ 59 h 1206"/>
                <a:gd name="T34" fmla="*/ 3 w 1056"/>
                <a:gd name="T35" fmla="*/ 57 h 1206"/>
                <a:gd name="T36" fmla="*/ 6 w 1056"/>
                <a:gd name="T37" fmla="*/ 55 h 1206"/>
                <a:gd name="T38" fmla="*/ 10 w 1056"/>
                <a:gd name="T39" fmla="*/ 51 h 1206"/>
                <a:gd name="T40" fmla="*/ 11 w 1056"/>
                <a:gd name="T41" fmla="*/ 46 h 1206"/>
                <a:gd name="T42" fmla="*/ 14 w 1056"/>
                <a:gd name="T43" fmla="*/ 42 h 1206"/>
                <a:gd name="T44" fmla="*/ 15 w 1056"/>
                <a:gd name="T45" fmla="*/ 36 h 1206"/>
                <a:gd name="T46" fmla="*/ 17 w 1056"/>
                <a:gd name="T47" fmla="*/ 34 h 1206"/>
                <a:gd name="T48" fmla="*/ 20 w 1056"/>
                <a:gd name="T49" fmla="*/ 31 h 1206"/>
                <a:gd name="T50" fmla="*/ 21 w 1056"/>
                <a:gd name="T51" fmla="*/ 29 h 1206"/>
                <a:gd name="T52" fmla="*/ 23 w 1056"/>
                <a:gd name="T53" fmla="*/ 22 h 1206"/>
                <a:gd name="T54" fmla="*/ 35 w 1056"/>
                <a:gd name="T55" fmla="*/ 22 h 1206"/>
                <a:gd name="T56" fmla="*/ 41 w 1056"/>
                <a:gd name="T57" fmla="*/ 18 h 1206"/>
                <a:gd name="T58" fmla="*/ 54 w 1056"/>
                <a:gd name="T59" fmla="*/ 20 h 1206"/>
                <a:gd name="T60" fmla="*/ 54 w 1056"/>
                <a:gd name="T61" fmla="*/ 26 h 1206"/>
                <a:gd name="T62" fmla="*/ 64 w 1056"/>
                <a:gd name="T63" fmla="*/ 25 h 1206"/>
                <a:gd name="T64" fmla="*/ 71 w 1056"/>
                <a:gd name="T65" fmla="*/ 10 h 1206"/>
                <a:gd name="T66" fmla="*/ 80 w 1056"/>
                <a:gd name="T67" fmla="*/ 1 h 1206"/>
                <a:gd name="T68" fmla="*/ 86 w 1056"/>
                <a:gd name="T69" fmla="*/ 2 h 1206"/>
                <a:gd name="T70" fmla="*/ 91 w 1056"/>
                <a:gd name="T71" fmla="*/ 13 h 1206"/>
                <a:gd name="T72" fmla="*/ 88 w 1056"/>
                <a:gd name="T73" fmla="*/ 17 h 1206"/>
                <a:gd name="T74" fmla="*/ 89 w 1056"/>
                <a:gd name="T75" fmla="*/ 21 h 1206"/>
                <a:gd name="T76" fmla="*/ 86 w 1056"/>
                <a:gd name="T77" fmla="*/ 25 h 1206"/>
                <a:gd name="T78" fmla="*/ 85 w 1056"/>
                <a:gd name="T79" fmla="*/ 31 h 1206"/>
                <a:gd name="T80" fmla="*/ 83 w 1056"/>
                <a:gd name="T81" fmla="*/ 36 h 1206"/>
                <a:gd name="T82" fmla="*/ 80 w 1056"/>
                <a:gd name="T83" fmla="*/ 42 h 1206"/>
                <a:gd name="T84" fmla="*/ 80 w 1056"/>
                <a:gd name="T85" fmla="*/ 47 h 1206"/>
                <a:gd name="T86" fmla="*/ 77 w 1056"/>
                <a:gd name="T87" fmla="*/ 55 h 1206"/>
                <a:gd name="T88" fmla="*/ 75 w 1056"/>
                <a:gd name="T89" fmla="*/ 57 h 1206"/>
                <a:gd name="T90" fmla="*/ 66 w 1056"/>
                <a:gd name="T91" fmla="*/ 57 h 1206"/>
                <a:gd name="T92" fmla="*/ 66 w 1056"/>
                <a:gd name="T93" fmla="*/ 51 h 1206"/>
                <a:gd name="T94" fmla="*/ 48 w 1056"/>
                <a:gd name="T95" fmla="*/ 50 h 1206"/>
                <a:gd name="T96" fmla="*/ 46 w 1056"/>
                <a:gd name="T97" fmla="*/ 55 h 1206"/>
                <a:gd name="T98" fmla="*/ 42 w 1056"/>
                <a:gd name="T99" fmla="*/ 59 h 1206"/>
                <a:gd name="T100" fmla="*/ 41 w 1056"/>
                <a:gd name="T101" fmla="*/ 62 h 1206"/>
                <a:gd name="T102" fmla="*/ 43 w 1056"/>
                <a:gd name="T103" fmla="*/ 67 h 1206"/>
                <a:gd name="T104" fmla="*/ 42 w 1056"/>
                <a:gd name="T105" fmla="*/ 72 h 1206"/>
                <a:gd name="T106" fmla="*/ 39 w 1056"/>
                <a:gd name="T107" fmla="*/ 77 h 1206"/>
                <a:gd name="T108" fmla="*/ 36 w 1056"/>
                <a:gd name="T109" fmla="*/ 80 h 1206"/>
                <a:gd name="T110" fmla="*/ 37 w 1056"/>
                <a:gd name="T111" fmla="*/ 83 h 1206"/>
                <a:gd name="T112" fmla="*/ 40 w 1056"/>
                <a:gd name="T113" fmla="*/ 87 h 1206"/>
                <a:gd name="T114" fmla="*/ 42 w 1056"/>
                <a:gd name="T115" fmla="*/ 89 h 12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56"/>
                <a:gd name="T175" fmla="*/ 0 h 1206"/>
                <a:gd name="T176" fmla="*/ 1056 w 1056"/>
                <a:gd name="T177" fmla="*/ 1206 h 12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56" h="1206">
                  <a:moveTo>
                    <a:pt x="492" y="1032"/>
                  </a:moveTo>
                  <a:lnTo>
                    <a:pt x="486" y="1038"/>
                  </a:lnTo>
                  <a:lnTo>
                    <a:pt x="486" y="1044"/>
                  </a:lnTo>
                  <a:lnTo>
                    <a:pt x="480" y="1044"/>
                  </a:lnTo>
                  <a:lnTo>
                    <a:pt x="474" y="1056"/>
                  </a:lnTo>
                  <a:lnTo>
                    <a:pt x="462" y="1068"/>
                  </a:lnTo>
                  <a:lnTo>
                    <a:pt x="456" y="1080"/>
                  </a:lnTo>
                  <a:lnTo>
                    <a:pt x="450" y="1080"/>
                  </a:lnTo>
                  <a:lnTo>
                    <a:pt x="450" y="1086"/>
                  </a:lnTo>
                  <a:lnTo>
                    <a:pt x="450" y="1092"/>
                  </a:lnTo>
                  <a:lnTo>
                    <a:pt x="444" y="1104"/>
                  </a:lnTo>
                  <a:lnTo>
                    <a:pt x="444" y="1116"/>
                  </a:lnTo>
                  <a:lnTo>
                    <a:pt x="438" y="1128"/>
                  </a:lnTo>
                  <a:lnTo>
                    <a:pt x="432" y="1134"/>
                  </a:lnTo>
                  <a:lnTo>
                    <a:pt x="432" y="1140"/>
                  </a:lnTo>
                  <a:lnTo>
                    <a:pt x="420" y="1152"/>
                  </a:lnTo>
                  <a:lnTo>
                    <a:pt x="420" y="1158"/>
                  </a:lnTo>
                  <a:lnTo>
                    <a:pt x="408" y="1182"/>
                  </a:lnTo>
                  <a:lnTo>
                    <a:pt x="396" y="1194"/>
                  </a:lnTo>
                  <a:lnTo>
                    <a:pt x="390" y="1206"/>
                  </a:lnTo>
                  <a:lnTo>
                    <a:pt x="390" y="1200"/>
                  </a:lnTo>
                  <a:lnTo>
                    <a:pt x="384" y="1194"/>
                  </a:lnTo>
                  <a:lnTo>
                    <a:pt x="378" y="1188"/>
                  </a:lnTo>
                  <a:lnTo>
                    <a:pt x="366" y="1176"/>
                  </a:lnTo>
                  <a:lnTo>
                    <a:pt x="366" y="1170"/>
                  </a:lnTo>
                  <a:lnTo>
                    <a:pt x="348" y="1152"/>
                  </a:lnTo>
                  <a:lnTo>
                    <a:pt x="336" y="1140"/>
                  </a:lnTo>
                  <a:lnTo>
                    <a:pt x="330" y="1134"/>
                  </a:lnTo>
                  <a:lnTo>
                    <a:pt x="324" y="1128"/>
                  </a:lnTo>
                  <a:lnTo>
                    <a:pt x="318" y="1122"/>
                  </a:lnTo>
                  <a:lnTo>
                    <a:pt x="312" y="1116"/>
                  </a:lnTo>
                  <a:lnTo>
                    <a:pt x="306" y="1110"/>
                  </a:lnTo>
                  <a:lnTo>
                    <a:pt x="300" y="1104"/>
                  </a:lnTo>
                  <a:lnTo>
                    <a:pt x="294" y="1098"/>
                  </a:lnTo>
                  <a:lnTo>
                    <a:pt x="276" y="1080"/>
                  </a:lnTo>
                  <a:lnTo>
                    <a:pt x="270" y="1080"/>
                  </a:lnTo>
                  <a:lnTo>
                    <a:pt x="270" y="1074"/>
                  </a:lnTo>
                  <a:lnTo>
                    <a:pt x="264" y="1068"/>
                  </a:lnTo>
                  <a:lnTo>
                    <a:pt x="258" y="1062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40" y="1050"/>
                  </a:lnTo>
                  <a:lnTo>
                    <a:pt x="234" y="1044"/>
                  </a:lnTo>
                  <a:lnTo>
                    <a:pt x="228" y="1044"/>
                  </a:lnTo>
                  <a:lnTo>
                    <a:pt x="222" y="1038"/>
                  </a:lnTo>
                  <a:lnTo>
                    <a:pt x="222" y="1032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6"/>
                  </a:lnTo>
                  <a:lnTo>
                    <a:pt x="204" y="1020"/>
                  </a:lnTo>
                  <a:lnTo>
                    <a:pt x="204" y="1014"/>
                  </a:lnTo>
                  <a:lnTo>
                    <a:pt x="198" y="1014"/>
                  </a:lnTo>
                  <a:lnTo>
                    <a:pt x="192" y="1014"/>
                  </a:lnTo>
                  <a:lnTo>
                    <a:pt x="192" y="1008"/>
                  </a:lnTo>
                  <a:lnTo>
                    <a:pt x="186" y="1008"/>
                  </a:lnTo>
                  <a:lnTo>
                    <a:pt x="186" y="1002"/>
                  </a:lnTo>
                  <a:lnTo>
                    <a:pt x="180" y="1002"/>
                  </a:lnTo>
                  <a:lnTo>
                    <a:pt x="174" y="996"/>
                  </a:lnTo>
                  <a:lnTo>
                    <a:pt x="168" y="996"/>
                  </a:lnTo>
                  <a:lnTo>
                    <a:pt x="168" y="990"/>
                  </a:lnTo>
                  <a:lnTo>
                    <a:pt x="162" y="990"/>
                  </a:lnTo>
                  <a:lnTo>
                    <a:pt x="162" y="984"/>
                  </a:lnTo>
                  <a:lnTo>
                    <a:pt x="150" y="978"/>
                  </a:lnTo>
                  <a:lnTo>
                    <a:pt x="144" y="972"/>
                  </a:lnTo>
                  <a:lnTo>
                    <a:pt x="138" y="972"/>
                  </a:lnTo>
                  <a:lnTo>
                    <a:pt x="138" y="966"/>
                  </a:lnTo>
                  <a:lnTo>
                    <a:pt x="132" y="966"/>
                  </a:lnTo>
                  <a:lnTo>
                    <a:pt x="126" y="960"/>
                  </a:lnTo>
                  <a:lnTo>
                    <a:pt x="126" y="954"/>
                  </a:lnTo>
                  <a:lnTo>
                    <a:pt x="120" y="954"/>
                  </a:lnTo>
                  <a:lnTo>
                    <a:pt x="114" y="948"/>
                  </a:lnTo>
                  <a:lnTo>
                    <a:pt x="108" y="948"/>
                  </a:lnTo>
                  <a:lnTo>
                    <a:pt x="108" y="942"/>
                  </a:lnTo>
                  <a:lnTo>
                    <a:pt x="102" y="942"/>
                  </a:lnTo>
                  <a:lnTo>
                    <a:pt x="96" y="942"/>
                  </a:lnTo>
                  <a:lnTo>
                    <a:pt x="96" y="936"/>
                  </a:lnTo>
                  <a:lnTo>
                    <a:pt x="90" y="936"/>
                  </a:lnTo>
                  <a:lnTo>
                    <a:pt x="90" y="930"/>
                  </a:lnTo>
                  <a:lnTo>
                    <a:pt x="84" y="930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18"/>
                  </a:lnTo>
                  <a:lnTo>
                    <a:pt x="66" y="918"/>
                  </a:lnTo>
                  <a:lnTo>
                    <a:pt x="66" y="912"/>
                  </a:lnTo>
                  <a:lnTo>
                    <a:pt x="66" y="906"/>
                  </a:lnTo>
                  <a:lnTo>
                    <a:pt x="72" y="906"/>
                  </a:lnTo>
                  <a:lnTo>
                    <a:pt x="84" y="906"/>
                  </a:lnTo>
                  <a:lnTo>
                    <a:pt x="90" y="906"/>
                  </a:lnTo>
                  <a:lnTo>
                    <a:pt x="120" y="930"/>
                  </a:lnTo>
                  <a:lnTo>
                    <a:pt x="126" y="936"/>
                  </a:lnTo>
                  <a:lnTo>
                    <a:pt x="138" y="936"/>
                  </a:lnTo>
                  <a:lnTo>
                    <a:pt x="138" y="930"/>
                  </a:lnTo>
                  <a:lnTo>
                    <a:pt x="144" y="930"/>
                  </a:lnTo>
                  <a:lnTo>
                    <a:pt x="144" y="924"/>
                  </a:lnTo>
                  <a:lnTo>
                    <a:pt x="150" y="900"/>
                  </a:lnTo>
                  <a:lnTo>
                    <a:pt x="138" y="894"/>
                  </a:lnTo>
                  <a:lnTo>
                    <a:pt x="126" y="894"/>
                  </a:lnTo>
                  <a:lnTo>
                    <a:pt x="108" y="888"/>
                  </a:lnTo>
                  <a:lnTo>
                    <a:pt x="84" y="882"/>
                  </a:lnTo>
                  <a:lnTo>
                    <a:pt x="72" y="882"/>
                  </a:lnTo>
                  <a:lnTo>
                    <a:pt x="72" y="876"/>
                  </a:lnTo>
                  <a:lnTo>
                    <a:pt x="78" y="870"/>
                  </a:lnTo>
                  <a:lnTo>
                    <a:pt x="90" y="870"/>
                  </a:lnTo>
                  <a:lnTo>
                    <a:pt x="96" y="870"/>
                  </a:lnTo>
                  <a:lnTo>
                    <a:pt x="102" y="870"/>
                  </a:lnTo>
                  <a:lnTo>
                    <a:pt x="114" y="870"/>
                  </a:lnTo>
                  <a:lnTo>
                    <a:pt x="120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34"/>
                  </a:lnTo>
                  <a:lnTo>
                    <a:pt x="132" y="828"/>
                  </a:lnTo>
                  <a:lnTo>
                    <a:pt x="132" y="816"/>
                  </a:lnTo>
                  <a:lnTo>
                    <a:pt x="150" y="816"/>
                  </a:lnTo>
                  <a:lnTo>
                    <a:pt x="150" y="804"/>
                  </a:lnTo>
                  <a:lnTo>
                    <a:pt x="144" y="798"/>
                  </a:lnTo>
                  <a:lnTo>
                    <a:pt x="156" y="762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32"/>
                  </a:lnTo>
                  <a:lnTo>
                    <a:pt x="144" y="726"/>
                  </a:lnTo>
                  <a:lnTo>
                    <a:pt x="132" y="726"/>
                  </a:lnTo>
                  <a:lnTo>
                    <a:pt x="120" y="732"/>
                  </a:lnTo>
                  <a:lnTo>
                    <a:pt x="114" y="744"/>
                  </a:lnTo>
                  <a:lnTo>
                    <a:pt x="108" y="750"/>
                  </a:lnTo>
                  <a:lnTo>
                    <a:pt x="96" y="768"/>
                  </a:lnTo>
                  <a:lnTo>
                    <a:pt x="96" y="774"/>
                  </a:lnTo>
                  <a:lnTo>
                    <a:pt x="90" y="780"/>
                  </a:lnTo>
                  <a:lnTo>
                    <a:pt x="84" y="804"/>
                  </a:lnTo>
                  <a:lnTo>
                    <a:pt x="72" y="774"/>
                  </a:lnTo>
                  <a:lnTo>
                    <a:pt x="72" y="768"/>
                  </a:lnTo>
                  <a:lnTo>
                    <a:pt x="66" y="762"/>
                  </a:lnTo>
                  <a:lnTo>
                    <a:pt x="60" y="750"/>
                  </a:lnTo>
                  <a:lnTo>
                    <a:pt x="54" y="750"/>
                  </a:lnTo>
                  <a:lnTo>
                    <a:pt x="48" y="750"/>
                  </a:lnTo>
                  <a:lnTo>
                    <a:pt x="42" y="750"/>
                  </a:lnTo>
                  <a:lnTo>
                    <a:pt x="30" y="744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12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2" y="702"/>
                  </a:lnTo>
                  <a:lnTo>
                    <a:pt x="18" y="696"/>
                  </a:lnTo>
                  <a:lnTo>
                    <a:pt x="12" y="690"/>
                  </a:lnTo>
                  <a:lnTo>
                    <a:pt x="12" y="684"/>
                  </a:lnTo>
                  <a:lnTo>
                    <a:pt x="12" y="678"/>
                  </a:lnTo>
                  <a:lnTo>
                    <a:pt x="12" y="672"/>
                  </a:lnTo>
                  <a:lnTo>
                    <a:pt x="18" y="672"/>
                  </a:lnTo>
                  <a:lnTo>
                    <a:pt x="18" y="666"/>
                  </a:lnTo>
                  <a:lnTo>
                    <a:pt x="24" y="666"/>
                  </a:lnTo>
                  <a:lnTo>
                    <a:pt x="24" y="660"/>
                  </a:lnTo>
                  <a:lnTo>
                    <a:pt x="30" y="660"/>
                  </a:lnTo>
                  <a:lnTo>
                    <a:pt x="30" y="654"/>
                  </a:lnTo>
                  <a:lnTo>
                    <a:pt x="36" y="654"/>
                  </a:lnTo>
                  <a:lnTo>
                    <a:pt x="36" y="648"/>
                  </a:lnTo>
                  <a:lnTo>
                    <a:pt x="42" y="648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60" y="630"/>
                  </a:lnTo>
                  <a:lnTo>
                    <a:pt x="66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78" y="624"/>
                  </a:lnTo>
                  <a:lnTo>
                    <a:pt x="84" y="618"/>
                  </a:lnTo>
                  <a:lnTo>
                    <a:pt x="84" y="612"/>
                  </a:lnTo>
                  <a:lnTo>
                    <a:pt x="90" y="612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20" y="588"/>
                  </a:lnTo>
                  <a:lnTo>
                    <a:pt x="120" y="582"/>
                  </a:lnTo>
                  <a:lnTo>
                    <a:pt x="120" y="576"/>
                  </a:lnTo>
                  <a:lnTo>
                    <a:pt x="120" y="570"/>
                  </a:lnTo>
                  <a:lnTo>
                    <a:pt x="126" y="564"/>
                  </a:lnTo>
                  <a:lnTo>
                    <a:pt x="126" y="558"/>
                  </a:lnTo>
                  <a:lnTo>
                    <a:pt x="126" y="552"/>
                  </a:lnTo>
                  <a:lnTo>
                    <a:pt x="126" y="546"/>
                  </a:lnTo>
                  <a:lnTo>
                    <a:pt x="126" y="534"/>
                  </a:lnTo>
                  <a:lnTo>
                    <a:pt x="126" y="516"/>
                  </a:lnTo>
                  <a:lnTo>
                    <a:pt x="126" y="510"/>
                  </a:lnTo>
                  <a:lnTo>
                    <a:pt x="126" y="504"/>
                  </a:lnTo>
                  <a:lnTo>
                    <a:pt x="126" y="498"/>
                  </a:lnTo>
                  <a:lnTo>
                    <a:pt x="132" y="498"/>
                  </a:lnTo>
                  <a:lnTo>
                    <a:pt x="132" y="492"/>
                  </a:lnTo>
                  <a:lnTo>
                    <a:pt x="138" y="492"/>
                  </a:lnTo>
                  <a:lnTo>
                    <a:pt x="144" y="486"/>
                  </a:lnTo>
                  <a:lnTo>
                    <a:pt x="156" y="480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6" y="462"/>
                  </a:lnTo>
                  <a:lnTo>
                    <a:pt x="156" y="456"/>
                  </a:lnTo>
                  <a:lnTo>
                    <a:pt x="156" y="450"/>
                  </a:lnTo>
                  <a:lnTo>
                    <a:pt x="162" y="438"/>
                  </a:lnTo>
                  <a:lnTo>
                    <a:pt x="168" y="426"/>
                  </a:lnTo>
                  <a:lnTo>
                    <a:pt x="174" y="426"/>
                  </a:lnTo>
                  <a:lnTo>
                    <a:pt x="174" y="420"/>
                  </a:lnTo>
                  <a:lnTo>
                    <a:pt x="180" y="414"/>
                  </a:lnTo>
                  <a:lnTo>
                    <a:pt x="186" y="420"/>
                  </a:lnTo>
                  <a:lnTo>
                    <a:pt x="186" y="414"/>
                  </a:lnTo>
                  <a:lnTo>
                    <a:pt x="180" y="408"/>
                  </a:lnTo>
                  <a:lnTo>
                    <a:pt x="180" y="402"/>
                  </a:lnTo>
                  <a:lnTo>
                    <a:pt x="186" y="402"/>
                  </a:lnTo>
                  <a:lnTo>
                    <a:pt x="192" y="402"/>
                  </a:lnTo>
                  <a:lnTo>
                    <a:pt x="192" y="396"/>
                  </a:lnTo>
                  <a:lnTo>
                    <a:pt x="198" y="396"/>
                  </a:lnTo>
                  <a:lnTo>
                    <a:pt x="204" y="396"/>
                  </a:lnTo>
                  <a:lnTo>
                    <a:pt x="210" y="396"/>
                  </a:lnTo>
                  <a:lnTo>
                    <a:pt x="210" y="390"/>
                  </a:lnTo>
                  <a:lnTo>
                    <a:pt x="216" y="390"/>
                  </a:lnTo>
                  <a:lnTo>
                    <a:pt x="216" y="384"/>
                  </a:lnTo>
                  <a:lnTo>
                    <a:pt x="222" y="384"/>
                  </a:lnTo>
                  <a:lnTo>
                    <a:pt x="222" y="378"/>
                  </a:lnTo>
                  <a:lnTo>
                    <a:pt x="228" y="372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0" y="348"/>
                  </a:lnTo>
                  <a:lnTo>
                    <a:pt x="234" y="342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46" y="330"/>
                  </a:lnTo>
                  <a:lnTo>
                    <a:pt x="246" y="324"/>
                  </a:lnTo>
                  <a:lnTo>
                    <a:pt x="234" y="318"/>
                  </a:lnTo>
                  <a:lnTo>
                    <a:pt x="234" y="312"/>
                  </a:lnTo>
                  <a:lnTo>
                    <a:pt x="234" y="300"/>
                  </a:lnTo>
                  <a:lnTo>
                    <a:pt x="240" y="288"/>
                  </a:lnTo>
                  <a:lnTo>
                    <a:pt x="240" y="276"/>
                  </a:lnTo>
                  <a:lnTo>
                    <a:pt x="246" y="258"/>
                  </a:lnTo>
                  <a:lnTo>
                    <a:pt x="258" y="252"/>
                  </a:lnTo>
                  <a:lnTo>
                    <a:pt x="270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294" y="252"/>
                  </a:lnTo>
                  <a:lnTo>
                    <a:pt x="300" y="258"/>
                  </a:lnTo>
                  <a:lnTo>
                    <a:pt x="318" y="252"/>
                  </a:lnTo>
                  <a:lnTo>
                    <a:pt x="366" y="252"/>
                  </a:lnTo>
                  <a:lnTo>
                    <a:pt x="378" y="252"/>
                  </a:lnTo>
                  <a:lnTo>
                    <a:pt x="396" y="252"/>
                  </a:lnTo>
                  <a:lnTo>
                    <a:pt x="408" y="252"/>
                  </a:lnTo>
                  <a:lnTo>
                    <a:pt x="408" y="246"/>
                  </a:lnTo>
                  <a:lnTo>
                    <a:pt x="414" y="240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20" y="216"/>
                  </a:lnTo>
                  <a:lnTo>
                    <a:pt x="426" y="210"/>
                  </a:lnTo>
                  <a:lnTo>
                    <a:pt x="444" y="198"/>
                  </a:lnTo>
                  <a:lnTo>
                    <a:pt x="462" y="198"/>
                  </a:lnTo>
                  <a:lnTo>
                    <a:pt x="474" y="204"/>
                  </a:lnTo>
                  <a:lnTo>
                    <a:pt x="498" y="198"/>
                  </a:lnTo>
                  <a:lnTo>
                    <a:pt x="498" y="204"/>
                  </a:lnTo>
                  <a:lnTo>
                    <a:pt x="540" y="210"/>
                  </a:lnTo>
                  <a:lnTo>
                    <a:pt x="564" y="210"/>
                  </a:lnTo>
                  <a:lnTo>
                    <a:pt x="588" y="210"/>
                  </a:lnTo>
                  <a:lnTo>
                    <a:pt x="612" y="210"/>
                  </a:lnTo>
                  <a:lnTo>
                    <a:pt x="612" y="216"/>
                  </a:lnTo>
                  <a:lnTo>
                    <a:pt x="618" y="222"/>
                  </a:lnTo>
                  <a:lnTo>
                    <a:pt x="618" y="228"/>
                  </a:lnTo>
                  <a:lnTo>
                    <a:pt x="624" y="240"/>
                  </a:lnTo>
                  <a:lnTo>
                    <a:pt x="624" y="246"/>
                  </a:lnTo>
                  <a:lnTo>
                    <a:pt x="630" y="252"/>
                  </a:lnTo>
                  <a:lnTo>
                    <a:pt x="630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0" y="282"/>
                  </a:lnTo>
                  <a:lnTo>
                    <a:pt x="630" y="288"/>
                  </a:lnTo>
                  <a:lnTo>
                    <a:pt x="630" y="300"/>
                  </a:lnTo>
                  <a:lnTo>
                    <a:pt x="630" y="306"/>
                  </a:lnTo>
                  <a:lnTo>
                    <a:pt x="636" y="306"/>
                  </a:lnTo>
                  <a:lnTo>
                    <a:pt x="642" y="306"/>
                  </a:lnTo>
                  <a:lnTo>
                    <a:pt x="648" y="312"/>
                  </a:lnTo>
                  <a:lnTo>
                    <a:pt x="666" y="312"/>
                  </a:lnTo>
                  <a:lnTo>
                    <a:pt x="696" y="306"/>
                  </a:lnTo>
                  <a:lnTo>
                    <a:pt x="732" y="300"/>
                  </a:lnTo>
                  <a:lnTo>
                    <a:pt x="732" y="288"/>
                  </a:lnTo>
                  <a:lnTo>
                    <a:pt x="738" y="288"/>
                  </a:lnTo>
                  <a:lnTo>
                    <a:pt x="744" y="276"/>
                  </a:lnTo>
                  <a:lnTo>
                    <a:pt x="762" y="246"/>
                  </a:lnTo>
                  <a:lnTo>
                    <a:pt x="768" y="228"/>
                  </a:lnTo>
                  <a:lnTo>
                    <a:pt x="792" y="210"/>
                  </a:lnTo>
                  <a:lnTo>
                    <a:pt x="804" y="186"/>
                  </a:lnTo>
                  <a:lnTo>
                    <a:pt x="804" y="156"/>
                  </a:lnTo>
                  <a:lnTo>
                    <a:pt x="804" y="138"/>
                  </a:lnTo>
                  <a:lnTo>
                    <a:pt x="810" y="126"/>
                  </a:lnTo>
                  <a:lnTo>
                    <a:pt x="816" y="120"/>
                  </a:lnTo>
                  <a:lnTo>
                    <a:pt x="828" y="102"/>
                  </a:lnTo>
                  <a:lnTo>
                    <a:pt x="834" y="96"/>
                  </a:lnTo>
                  <a:lnTo>
                    <a:pt x="846" y="102"/>
                  </a:lnTo>
                  <a:lnTo>
                    <a:pt x="852" y="96"/>
                  </a:lnTo>
                  <a:lnTo>
                    <a:pt x="858" y="72"/>
                  </a:lnTo>
                  <a:lnTo>
                    <a:pt x="864" y="60"/>
                  </a:lnTo>
                  <a:lnTo>
                    <a:pt x="882" y="48"/>
                  </a:lnTo>
                  <a:lnTo>
                    <a:pt x="906" y="36"/>
                  </a:lnTo>
                  <a:lnTo>
                    <a:pt x="918" y="12"/>
                  </a:lnTo>
                  <a:lnTo>
                    <a:pt x="924" y="0"/>
                  </a:lnTo>
                  <a:lnTo>
                    <a:pt x="930" y="6"/>
                  </a:lnTo>
                  <a:lnTo>
                    <a:pt x="942" y="12"/>
                  </a:lnTo>
                  <a:lnTo>
                    <a:pt x="948" y="12"/>
                  </a:lnTo>
                  <a:lnTo>
                    <a:pt x="954" y="18"/>
                  </a:lnTo>
                  <a:lnTo>
                    <a:pt x="966" y="18"/>
                  </a:lnTo>
                  <a:lnTo>
                    <a:pt x="972" y="18"/>
                  </a:lnTo>
                  <a:lnTo>
                    <a:pt x="984" y="18"/>
                  </a:lnTo>
                  <a:lnTo>
                    <a:pt x="990" y="18"/>
                  </a:lnTo>
                  <a:lnTo>
                    <a:pt x="1002" y="48"/>
                  </a:lnTo>
                  <a:lnTo>
                    <a:pt x="1008" y="78"/>
                  </a:lnTo>
                  <a:lnTo>
                    <a:pt x="1020" y="78"/>
                  </a:lnTo>
                  <a:lnTo>
                    <a:pt x="1020" y="90"/>
                  </a:lnTo>
                  <a:lnTo>
                    <a:pt x="1026" y="102"/>
                  </a:lnTo>
                  <a:lnTo>
                    <a:pt x="1044" y="120"/>
                  </a:lnTo>
                  <a:lnTo>
                    <a:pt x="1044" y="132"/>
                  </a:lnTo>
                  <a:lnTo>
                    <a:pt x="1056" y="150"/>
                  </a:lnTo>
                  <a:lnTo>
                    <a:pt x="1050" y="150"/>
                  </a:lnTo>
                  <a:lnTo>
                    <a:pt x="1044" y="156"/>
                  </a:lnTo>
                  <a:lnTo>
                    <a:pt x="1044" y="162"/>
                  </a:lnTo>
                  <a:lnTo>
                    <a:pt x="1038" y="162"/>
                  </a:lnTo>
                  <a:lnTo>
                    <a:pt x="1032" y="162"/>
                  </a:lnTo>
                  <a:lnTo>
                    <a:pt x="1026" y="168"/>
                  </a:lnTo>
                  <a:lnTo>
                    <a:pt x="1014" y="174"/>
                  </a:lnTo>
                  <a:lnTo>
                    <a:pt x="1014" y="186"/>
                  </a:lnTo>
                  <a:lnTo>
                    <a:pt x="1014" y="192"/>
                  </a:lnTo>
                  <a:lnTo>
                    <a:pt x="1014" y="198"/>
                  </a:lnTo>
                  <a:lnTo>
                    <a:pt x="1020" y="204"/>
                  </a:lnTo>
                  <a:lnTo>
                    <a:pt x="1026" y="204"/>
                  </a:lnTo>
                  <a:lnTo>
                    <a:pt x="1032" y="204"/>
                  </a:lnTo>
                  <a:lnTo>
                    <a:pt x="1032" y="210"/>
                  </a:lnTo>
                  <a:lnTo>
                    <a:pt x="1038" y="210"/>
                  </a:lnTo>
                  <a:lnTo>
                    <a:pt x="1032" y="216"/>
                  </a:lnTo>
                  <a:lnTo>
                    <a:pt x="1026" y="228"/>
                  </a:lnTo>
                  <a:lnTo>
                    <a:pt x="1026" y="234"/>
                  </a:lnTo>
                  <a:lnTo>
                    <a:pt x="1032" y="240"/>
                  </a:lnTo>
                  <a:lnTo>
                    <a:pt x="1032" y="246"/>
                  </a:lnTo>
                  <a:lnTo>
                    <a:pt x="1032" y="252"/>
                  </a:lnTo>
                  <a:lnTo>
                    <a:pt x="1032" y="258"/>
                  </a:lnTo>
                  <a:lnTo>
                    <a:pt x="1038" y="264"/>
                  </a:lnTo>
                  <a:lnTo>
                    <a:pt x="1032" y="276"/>
                  </a:lnTo>
                  <a:lnTo>
                    <a:pt x="1026" y="276"/>
                  </a:lnTo>
                  <a:lnTo>
                    <a:pt x="1020" y="276"/>
                  </a:lnTo>
                  <a:lnTo>
                    <a:pt x="996" y="282"/>
                  </a:lnTo>
                  <a:lnTo>
                    <a:pt x="996" y="288"/>
                  </a:lnTo>
                  <a:lnTo>
                    <a:pt x="996" y="294"/>
                  </a:lnTo>
                  <a:lnTo>
                    <a:pt x="996" y="300"/>
                  </a:lnTo>
                  <a:lnTo>
                    <a:pt x="996" y="306"/>
                  </a:lnTo>
                  <a:lnTo>
                    <a:pt x="984" y="324"/>
                  </a:lnTo>
                  <a:lnTo>
                    <a:pt x="984" y="330"/>
                  </a:lnTo>
                  <a:lnTo>
                    <a:pt x="984" y="336"/>
                  </a:lnTo>
                  <a:lnTo>
                    <a:pt x="978" y="336"/>
                  </a:lnTo>
                  <a:lnTo>
                    <a:pt x="978" y="342"/>
                  </a:lnTo>
                  <a:lnTo>
                    <a:pt x="984" y="360"/>
                  </a:lnTo>
                  <a:lnTo>
                    <a:pt x="978" y="366"/>
                  </a:lnTo>
                  <a:lnTo>
                    <a:pt x="978" y="372"/>
                  </a:lnTo>
                  <a:lnTo>
                    <a:pt x="972" y="372"/>
                  </a:lnTo>
                  <a:lnTo>
                    <a:pt x="972" y="378"/>
                  </a:lnTo>
                  <a:lnTo>
                    <a:pt x="972" y="384"/>
                  </a:lnTo>
                  <a:lnTo>
                    <a:pt x="972" y="390"/>
                  </a:lnTo>
                  <a:lnTo>
                    <a:pt x="966" y="402"/>
                  </a:lnTo>
                  <a:lnTo>
                    <a:pt x="960" y="414"/>
                  </a:lnTo>
                  <a:lnTo>
                    <a:pt x="954" y="420"/>
                  </a:lnTo>
                  <a:lnTo>
                    <a:pt x="948" y="426"/>
                  </a:lnTo>
                  <a:lnTo>
                    <a:pt x="948" y="438"/>
                  </a:lnTo>
                  <a:lnTo>
                    <a:pt x="942" y="444"/>
                  </a:lnTo>
                  <a:lnTo>
                    <a:pt x="936" y="450"/>
                  </a:lnTo>
                  <a:lnTo>
                    <a:pt x="930" y="456"/>
                  </a:lnTo>
                  <a:lnTo>
                    <a:pt x="924" y="462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18" y="522"/>
                  </a:lnTo>
                  <a:lnTo>
                    <a:pt x="918" y="528"/>
                  </a:lnTo>
                  <a:lnTo>
                    <a:pt x="924" y="534"/>
                  </a:lnTo>
                  <a:lnTo>
                    <a:pt x="924" y="540"/>
                  </a:lnTo>
                  <a:lnTo>
                    <a:pt x="924" y="546"/>
                  </a:lnTo>
                  <a:lnTo>
                    <a:pt x="918" y="546"/>
                  </a:lnTo>
                  <a:lnTo>
                    <a:pt x="918" y="552"/>
                  </a:lnTo>
                  <a:lnTo>
                    <a:pt x="912" y="546"/>
                  </a:lnTo>
                  <a:lnTo>
                    <a:pt x="912" y="552"/>
                  </a:lnTo>
                  <a:lnTo>
                    <a:pt x="912" y="570"/>
                  </a:lnTo>
                  <a:lnTo>
                    <a:pt x="906" y="588"/>
                  </a:lnTo>
                  <a:lnTo>
                    <a:pt x="900" y="606"/>
                  </a:lnTo>
                  <a:lnTo>
                    <a:pt x="906" y="624"/>
                  </a:lnTo>
                  <a:lnTo>
                    <a:pt x="900" y="624"/>
                  </a:lnTo>
                  <a:lnTo>
                    <a:pt x="894" y="630"/>
                  </a:lnTo>
                  <a:lnTo>
                    <a:pt x="888" y="630"/>
                  </a:lnTo>
                  <a:lnTo>
                    <a:pt x="882" y="630"/>
                  </a:lnTo>
                  <a:lnTo>
                    <a:pt x="882" y="636"/>
                  </a:lnTo>
                  <a:lnTo>
                    <a:pt x="876" y="642"/>
                  </a:lnTo>
                  <a:lnTo>
                    <a:pt x="870" y="642"/>
                  </a:lnTo>
                  <a:lnTo>
                    <a:pt x="870" y="648"/>
                  </a:lnTo>
                  <a:lnTo>
                    <a:pt x="870" y="654"/>
                  </a:lnTo>
                  <a:lnTo>
                    <a:pt x="864" y="654"/>
                  </a:lnTo>
                  <a:lnTo>
                    <a:pt x="864" y="660"/>
                  </a:lnTo>
                  <a:lnTo>
                    <a:pt x="846" y="666"/>
                  </a:lnTo>
                  <a:lnTo>
                    <a:pt x="828" y="672"/>
                  </a:lnTo>
                  <a:lnTo>
                    <a:pt x="816" y="660"/>
                  </a:lnTo>
                  <a:lnTo>
                    <a:pt x="810" y="660"/>
                  </a:lnTo>
                  <a:lnTo>
                    <a:pt x="798" y="666"/>
                  </a:lnTo>
                  <a:lnTo>
                    <a:pt x="786" y="666"/>
                  </a:lnTo>
                  <a:lnTo>
                    <a:pt x="780" y="672"/>
                  </a:lnTo>
                  <a:lnTo>
                    <a:pt x="768" y="678"/>
                  </a:lnTo>
                  <a:lnTo>
                    <a:pt x="762" y="660"/>
                  </a:lnTo>
                  <a:lnTo>
                    <a:pt x="762" y="654"/>
                  </a:lnTo>
                  <a:lnTo>
                    <a:pt x="756" y="636"/>
                  </a:lnTo>
                  <a:lnTo>
                    <a:pt x="762" y="624"/>
                  </a:lnTo>
                  <a:lnTo>
                    <a:pt x="756" y="606"/>
                  </a:lnTo>
                  <a:lnTo>
                    <a:pt x="756" y="600"/>
                  </a:lnTo>
                  <a:lnTo>
                    <a:pt x="762" y="594"/>
                  </a:lnTo>
                  <a:lnTo>
                    <a:pt x="768" y="600"/>
                  </a:lnTo>
                  <a:lnTo>
                    <a:pt x="768" y="594"/>
                  </a:lnTo>
                  <a:lnTo>
                    <a:pt x="768" y="588"/>
                  </a:lnTo>
                  <a:lnTo>
                    <a:pt x="774" y="582"/>
                  </a:lnTo>
                  <a:lnTo>
                    <a:pt x="768" y="576"/>
                  </a:lnTo>
                  <a:lnTo>
                    <a:pt x="762" y="576"/>
                  </a:lnTo>
                  <a:lnTo>
                    <a:pt x="756" y="576"/>
                  </a:lnTo>
                  <a:lnTo>
                    <a:pt x="690" y="576"/>
                  </a:lnTo>
                  <a:lnTo>
                    <a:pt x="624" y="570"/>
                  </a:lnTo>
                  <a:lnTo>
                    <a:pt x="600" y="564"/>
                  </a:lnTo>
                  <a:lnTo>
                    <a:pt x="576" y="564"/>
                  </a:lnTo>
                  <a:lnTo>
                    <a:pt x="558" y="570"/>
                  </a:lnTo>
                  <a:lnTo>
                    <a:pt x="552" y="576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46" y="594"/>
                  </a:lnTo>
                  <a:lnTo>
                    <a:pt x="546" y="600"/>
                  </a:lnTo>
                  <a:lnTo>
                    <a:pt x="540" y="606"/>
                  </a:lnTo>
                  <a:lnTo>
                    <a:pt x="534" y="618"/>
                  </a:lnTo>
                  <a:lnTo>
                    <a:pt x="534" y="624"/>
                  </a:lnTo>
                  <a:lnTo>
                    <a:pt x="534" y="630"/>
                  </a:lnTo>
                  <a:lnTo>
                    <a:pt x="534" y="636"/>
                  </a:lnTo>
                  <a:lnTo>
                    <a:pt x="528" y="636"/>
                  </a:lnTo>
                  <a:lnTo>
                    <a:pt x="516" y="642"/>
                  </a:lnTo>
                  <a:lnTo>
                    <a:pt x="516" y="648"/>
                  </a:lnTo>
                  <a:lnTo>
                    <a:pt x="510" y="648"/>
                  </a:lnTo>
                  <a:lnTo>
                    <a:pt x="504" y="654"/>
                  </a:lnTo>
                  <a:lnTo>
                    <a:pt x="492" y="666"/>
                  </a:lnTo>
                  <a:lnTo>
                    <a:pt x="492" y="672"/>
                  </a:lnTo>
                  <a:lnTo>
                    <a:pt x="492" y="684"/>
                  </a:lnTo>
                  <a:lnTo>
                    <a:pt x="486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92" y="702"/>
                  </a:lnTo>
                  <a:lnTo>
                    <a:pt x="486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74" y="720"/>
                  </a:lnTo>
                  <a:lnTo>
                    <a:pt x="480" y="726"/>
                  </a:lnTo>
                  <a:lnTo>
                    <a:pt x="474" y="726"/>
                  </a:lnTo>
                  <a:lnTo>
                    <a:pt x="474" y="738"/>
                  </a:lnTo>
                  <a:lnTo>
                    <a:pt x="474" y="744"/>
                  </a:lnTo>
                  <a:lnTo>
                    <a:pt x="474" y="750"/>
                  </a:lnTo>
                  <a:lnTo>
                    <a:pt x="480" y="750"/>
                  </a:lnTo>
                  <a:lnTo>
                    <a:pt x="480" y="756"/>
                  </a:lnTo>
                  <a:lnTo>
                    <a:pt x="492" y="762"/>
                  </a:lnTo>
                  <a:lnTo>
                    <a:pt x="498" y="774"/>
                  </a:lnTo>
                  <a:lnTo>
                    <a:pt x="498" y="780"/>
                  </a:lnTo>
                  <a:lnTo>
                    <a:pt x="504" y="786"/>
                  </a:lnTo>
                  <a:lnTo>
                    <a:pt x="510" y="792"/>
                  </a:lnTo>
                  <a:lnTo>
                    <a:pt x="504" y="798"/>
                  </a:lnTo>
                  <a:lnTo>
                    <a:pt x="504" y="804"/>
                  </a:lnTo>
                  <a:lnTo>
                    <a:pt x="504" y="810"/>
                  </a:lnTo>
                  <a:lnTo>
                    <a:pt x="498" y="822"/>
                  </a:lnTo>
                  <a:lnTo>
                    <a:pt x="492" y="828"/>
                  </a:lnTo>
                  <a:lnTo>
                    <a:pt x="492" y="834"/>
                  </a:lnTo>
                  <a:lnTo>
                    <a:pt x="486" y="840"/>
                  </a:lnTo>
                  <a:lnTo>
                    <a:pt x="480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74" y="858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876"/>
                  </a:lnTo>
                  <a:lnTo>
                    <a:pt x="456" y="894"/>
                  </a:lnTo>
                  <a:lnTo>
                    <a:pt x="450" y="894"/>
                  </a:lnTo>
                  <a:lnTo>
                    <a:pt x="444" y="900"/>
                  </a:lnTo>
                  <a:lnTo>
                    <a:pt x="444" y="894"/>
                  </a:lnTo>
                  <a:lnTo>
                    <a:pt x="438" y="894"/>
                  </a:lnTo>
                  <a:lnTo>
                    <a:pt x="432" y="900"/>
                  </a:lnTo>
                  <a:lnTo>
                    <a:pt x="432" y="906"/>
                  </a:lnTo>
                  <a:lnTo>
                    <a:pt x="420" y="906"/>
                  </a:lnTo>
                  <a:lnTo>
                    <a:pt x="420" y="912"/>
                  </a:lnTo>
                  <a:lnTo>
                    <a:pt x="420" y="918"/>
                  </a:lnTo>
                  <a:lnTo>
                    <a:pt x="426" y="918"/>
                  </a:lnTo>
                  <a:lnTo>
                    <a:pt x="426" y="924"/>
                  </a:lnTo>
                  <a:lnTo>
                    <a:pt x="426" y="930"/>
                  </a:lnTo>
                  <a:lnTo>
                    <a:pt x="420" y="930"/>
                  </a:lnTo>
                  <a:lnTo>
                    <a:pt x="414" y="936"/>
                  </a:lnTo>
                  <a:lnTo>
                    <a:pt x="414" y="942"/>
                  </a:lnTo>
                  <a:lnTo>
                    <a:pt x="414" y="948"/>
                  </a:lnTo>
                  <a:lnTo>
                    <a:pt x="414" y="954"/>
                  </a:lnTo>
                  <a:lnTo>
                    <a:pt x="426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44" y="972"/>
                  </a:lnTo>
                  <a:lnTo>
                    <a:pt x="444" y="978"/>
                  </a:lnTo>
                  <a:lnTo>
                    <a:pt x="450" y="978"/>
                  </a:lnTo>
                  <a:lnTo>
                    <a:pt x="450" y="984"/>
                  </a:lnTo>
                  <a:lnTo>
                    <a:pt x="456" y="990"/>
                  </a:lnTo>
                  <a:lnTo>
                    <a:pt x="456" y="996"/>
                  </a:lnTo>
                  <a:lnTo>
                    <a:pt x="462" y="1008"/>
                  </a:lnTo>
                  <a:lnTo>
                    <a:pt x="468" y="1008"/>
                  </a:lnTo>
                  <a:lnTo>
                    <a:pt x="468" y="1002"/>
                  </a:lnTo>
                  <a:lnTo>
                    <a:pt x="474" y="1008"/>
                  </a:lnTo>
                  <a:lnTo>
                    <a:pt x="480" y="1002"/>
                  </a:lnTo>
                  <a:lnTo>
                    <a:pt x="486" y="1008"/>
                  </a:lnTo>
                  <a:lnTo>
                    <a:pt x="486" y="1014"/>
                  </a:lnTo>
                  <a:lnTo>
                    <a:pt x="492" y="1014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86" y="1026"/>
                  </a:lnTo>
                  <a:lnTo>
                    <a:pt x="492" y="1026"/>
                  </a:lnTo>
                  <a:lnTo>
                    <a:pt x="486" y="1026"/>
                  </a:lnTo>
                  <a:lnTo>
                    <a:pt x="492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5" name="Freeform 30">
              <a:extLst>
                <a:ext uri="{FF2B5EF4-FFF2-40B4-BE49-F238E27FC236}">
                  <a16:creationId xmlns:a16="http://schemas.microsoft.com/office/drawing/2014/main" id="{85C7B827-0C1A-4D72-AEBD-F01CFE7EC12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3645" y="3904484"/>
              <a:ext cx="559048" cy="111825"/>
            </a:xfrm>
            <a:custGeom>
              <a:avLst/>
              <a:gdLst>
                <a:gd name="T0" fmla="*/ 69 w 1056"/>
                <a:gd name="T1" fmla="*/ 7 h 210"/>
                <a:gd name="T2" fmla="*/ 63 w 1056"/>
                <a:gd name="T3" fmla="*/ 5 h 210"/>
                <a:gd name="T4" fmla="*/ 57 w 1056"/>
                <a:gd name="T5" fmla="*/ 5 h 210"/>
                <a:gd name="T6" fmla="*/ 54 w 1056"/>
                <a:gd name="T7" fmla="*/ 6 h 210"/>
                <a:gd name="T8" fmla="*/ 51 w 1056"/>
                <a:gd name="T9" fmla="*/ 7 h 210"/>
                <a:gd name="T10" fmla="*/ 46 w 1056"/>
                <a:gd name="T11" fmla="*/ 9 h 210"/>
                <a:gd name="T12" fmla="*/ 42 w 1056"/>
                <a:gd name="T13" fmla="*/ 8 h 210"/>
                <a:gd name="T14" fmla="*/ 42 w 1056"/>
                <a:gd name="T15" fmla="*/ 5 h 210"/>
                <a:gd name="T16" fmla="*/ 41 w 1056"/>
                <a:gd name="T17" fmla="*/ 7 h 210"/>
                <a:gd name="T18" fmla="*/ 38 w 1056"/>
                <a:gd name="T19" fmla="*/ 10 h 210"/>
                <a:gd name="T20" fmla="*/ 37 w 1056"/>
                <a:gd name="T21" fmla="*/ 12 h 210"/>
                <a:gd name="T22" fmla="*/ 37 w 1056"/>
                <a:gd name="T23" fmla="*/ 15 h 210"/>
                <a:gd name="T24" fmla="*/ 37 w 1056"/>
                <a:gd name="T25" fmla="*/ 16 h 210"/>
                <a:gd name="T26" fmla="*/ 38 w 1056"/>
                <a:gd name="T27" fmla="*/ 16 h 210"/>
                <a:gd name="T28" fmla="*/ 34 w 1056"/>
                <a:gd name="T29" fmla="*/ 16 h 210"/>
                <a:gd name="T30" fmla="*/ 26 w 1056"/>
                <a:gd name="T31" fmla="*/ 16 h 210"/>
                <a:gd name="T32" fmla="*/ 20 w 1056"/>
                <a:gd name="T33" fmla="*/ 17 h 210"/>
                <a:gd name="T34" fmla="*/ 13 w 1056"/>
                <a:gd name="T35" fmla="*/ 17 h 210"/>
                <a:gd name="T36" fmla="*/ 6 w 1056"/>
                <a:gd name="T37" fmla="*/ 17 h 210"/>
                <a:gd name="T38" fmla="*/ 1 w 1056"/>
                <a:gd name="T39" fmla="*/ 18 h 210"/>
                <a:gd name="T40" fmla="*/ 3 w 1056"/>
                <a:gd name="T41" fmla="*/ 14 h 210"/>
                <a:gd name="T42" fmla="*/ 8 w 1056"/>
                <a:gd name="T43" fmla="*/ 15 h 210"/>
                <a:gd name="T44" fmla="*/ 11 w 1056"/>
                <a:gd name="T45" fmla="*/ 12 h 210"/>
                <a:gd name="T46" fmla="*/ 26 w 1056"/>
                <a:gd name="T47" fmla="*/ 10 h 210"/>
                <a:gd name="T48" fmla="*/ 29 w 1056"/>
                <a:gd name="T49" fmla="*/ 5 h 210"/>
                <a:gd name="T50" fmla="*/ 34 w 1056"/>
                <a:gd name="T51" fmla="*/ 1 h 210"/>
                <a:gd name="T52" fmla="*/ 41 w 1056"/>
                <a:gd name="T53" fmla="*/ 3 h 210"/>
                <a:gd name="T54" fmla="*/ 73 w 1056"/>
                <a:gd name="T55" fmla="*/ 1 h 210"/>
                <a:gd name="T56" fmla="*/ 75 w 1056"/>
                <a:gd name="T57" fmla="*/ 4 h 210"/>
                <a:gd name="T58" fmla="*/ 85 w 1056"/>
                <a:gd name="T59" fmla="*/ 15 h 210"/>
                <a:gd name="T60" fmla="*/ 91 w 1056"/>
                <a:gd name="T61" fmla="*/ 18 h 210"/>
                <a:gd name="T62" fmla="*/ 85 w 1056"/>
                <a:gd name="T63" fmla="*/ 18 h 210"/>
                <a:gd name="T64" fmla="*/ 79 w 1056"/>
                <a:gd name="T65" fmla="*/ 16 h 210"/>
                <a:gd name="T66" fmla="*/ 74 w 1056"/>
                <a:gd name="T67" fmla="*/ 16 h 210"/>
                <a:gd name="T68" fmla="*/ 69 w 1056"/>
                <a:gd name="T69" fmla="*/ 15 h 210"/>
                <a:gd name="T70" fmla="*/ 65 w 1056"/>
                <a:gd name="T71" fmla="*/ 14 h 210"/>
                <a:gd name="T72" fmla="*/ 59 w 1056"/>
                <a:gd name="T73" fmla="*/ 15 h 210"/>
                <a:gd name="T74" fmla="*/ 54 w 1056"/>
                <a:gd name="T75" fmla="*/ 15 h 210"/>
                <a:gd name="T76" fmla="*/ 49 w 1056"/>
                <a:gd name="T77" fmla="*/ 15 h 210"/>
                <a:gd name="T78" fmla="*/ 42 w 1056"/>
                <a:gd name="T79" fmla="*/ 15 h 210"/>
                <a:gd name="T80" fmla="*/ 38 w 1056"/>
                <a:gd name="T81" fmla="*/ 16 h 210"/>
                <a:gd name="T82" fmla="*/ 41 w 1056"/>
                <a:gd name="T83" fmla="*/ 14 h 210"/>
                <a:gd name="T84" fmla="*/ 42 w 1056"/>
                <a:gd name="T85" fmla="*/ 13 h 210"/>
                <a:gd name="T86" fmla="*/ 45 w 1056"/>
                <a:gd name="T87" fmla="*/ 13 h 210"/>
                <a:gd name="T88" fmla="*/ 48 w 1056"/>
                <a:gd name="T89" fmla="*/ 12 h 210"/>
                <a:gd name="T90" fmla="*/ 51 w 1056"/>
                <a:gd name="T91" fmla="*/ 11 h 210"/>
                <a:gd name="T92" fmla="*/ 54 w 1056"/>
                <a:gd name="T93" fmla="*/ 9 h 210"/>
                <a:gd name="T94" fmla="*/ 57 w 1056"/>
                <a:gd name="T95" fmla="*/ 8 h 210"/>
                <a:gd name="T96" fmla="*/ 60 w 1056"/>
                <a:gd name="T97" fmla="*/ 5 h 210"/>
                <a:gd name="T98" fmla="*/ 65 w 1056"/>
                <a:gd name="T99" fmla="*/ 5 h 210"/>
                <a:gd name="T100" fmla="*/ 72 w 1056"/>
                <a:gd name="T101" fmla="*/ 7 h 210"/>
                <a:gd name="T102" fmla="*/ 77 w 1056"/>
                <a:gd name="T103" fmla="*/ 11 h 210"/>
                <a:gd name="T104" fmla="*/ 69 w 1056"/>
                <a:gd name="T105" fmla="*/ 10 h 210"/>
                <a:gd name="T106" fmla="*/ 72 w 1056"/>
                <a:gd name="T107" fmla="*/ 12 h 210"/>
                <a:gd name="T108" fmla="*/ 78 w 1056"/>
                <a:gd name="T109" fmla="*/ 15 h 210"/>
                <a:gd name="T110" fmla="*/ 84 w 1056"/>
                <a:gd name="T111" fmla="*/ 14 h 210"/>
                <a:gd name="T112" fmla="*/ 84 w 1056"/>
                <a:gd name="T113" fmla="*/ 14 h 210"/>
                <a:gd name="T114" fmla="*/ 78 w 1056"/>
                <a:gd name="T115" fmla="*/ 13 h 210"/>
                <a:gd name="T116" fmla="*/ 76 w 1056"/>
                <a:gd name="T117" fmla="*/ 14 h 210"/>
                <a:gd name="T118" fmla="*/ 38 w 1056"/>
                <a:gd name="T119" fmla="*/ 12 h 210"/>
                <a:gd name="T120" fmla="*/ 41 w 1056"/>
                <a:gd name="T121" fmla="*/ 12 h 210"/>
                <a:gd name="T122" fmla="*/ 40 w 1056"/>
                <a:gd name="T123" fmla="*/ 14 h 2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6"/>
                <a:gd name="T187" fmla="*/ 0 h 210"/>
                <a:gd name="T188" fmla="*/ 1056 w 1056"/>
                <a:gd name="T189" fmla="*/ 210 h 21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6" h="210">
                  <a:moveTo>
                    <a:pt x="870" y="90"/>
                  </a:moveTo>
                  <a:lnTo>
                    <a:pt x="864" y="90"/>
                  </a:lnTo>
                  <a:lnTo>
                    <a:pt x="852" y="84"/>
                  </a:lnTo>
                  <a:lnTo>
                    <a:pt x="846" y="84"/>
                  </a:lnTo>
                  <a:lnTo>
                    <a:pt x="846" y="78"/>
                  </a:lnTo>
                  <a:lnTo>
                    <a:pt x="840" y="78"/>
                  </a:lnTo>
                  <a:lnTo>
                    <a:pt x="834" y="78"/>
                  </a:lnTo>
                  <a:lnTo>
                    <a:pt x="834" y="72"/>
                  </a:lnTo>
                  <a:lnTo>
                    <a:pt x="804" y="78"/>
                  </a:lnTo>
                  <a:lnTo>
                    <a:pt x="798" y="78"/>
                  </a:lnTo>
                  <a:lnTo>
                    <a:pt x="792" y="72"/>
                  </a:lnTo>
                  <a:lnTo>
                    <a:pt x="780" y="60"/>
                  </a:lnTo>
                  <a:lnTo>
                    <a:pt x="768" y="54"/>
                  </a:lnTo>
                  <a:lnTo>
                    <a:pt x="756" y="54"/>
                  </a:lnTo>
                  <a:lnTo>
                    <a:pt x="750" y="54"/>
                  </a:lnTo>
                  <a:lnTo>
                    <a:pt x="750" y="48"/>
                  </a:lnTo>
                  <a:lnTo>
                    <a:pt x="744" y="48"/>
                  </a:lnTo>
                  <a:lnTo>
                    <a:pt x="738" y="48"/>
                  </a:lnTo>
                  <a:lnTo>
                    <a:pt x="732" y="48"/>
                  </a:lnTo>
                  <a:lnTo>
                    <a:pt x="732" y="54"/>
                  </a:lnTo>
                  <a:lnTo>
                    <a:pt x="726" y="48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48"/>
                  </a:lnTo>
                  <a:lnTo>
                    <a:pt x="702" y="48"/>
                  </a:lnTo>
                  <a:lnTo>
                    <a:pt x="696" y="48"/>
                  </a:lnTo>
                  <a:lnTo>
                    <a:pt x="684" y="48"/>
                  </a:lnTo>
                  <a:lnTo>
                    <a:pt x="678" y="48"/>
                  </a:lnTo>
                  <a:lnTo>
                    <a:pt x="672" y="48"/>
                  </a:lnTo>
                  <a:lnTo>
                    <a:pt x="666" y="54"/>
                  </a:lnTo>
                  <a:lnTo>
                    <a:pt x="660" y="54"/>
                  </a:lnTo>
                  <a:lnTo>
                    <a:pt x="660" y="48"/>
                  </a:lnTo>
                  <a:lnTo>
                    <a:pt x="654" y="48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42" y="54"/>
                  </a:lnTo>
                  <a:lnTo>
                    <a:pt x="63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30" y="66"/>
                  </a:lnTo>
                  <a:lnTo>
                    <a:pt x="624" y="66"/>
                  </a:lnTo>
                  <a:lnTo>
                    <a:pt x="618" y="66"/>
                  </a:lnTo>
                  <a:lnTo>
                    <a:pt x="618" y="72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6" y="84"/>
                  </a:lnTo>
                  <a:lnTo>
                    <a:pt x="600" y="84"/>
                  </a:lnTo>
                  <a:lnTo>
                    <a:pt x="594" y="90"/>
                  </a:lnTo>
                  <a:lnTo>
                    <a:pt x="588" y="90"/>
                  </a:lnTo>
                  <a:lnTo>
                    <a:pt x="588" y="84"/>
                  </a:lnTo>
                  <a:lnTo>
                    <a:pt x="582" y="84"/>
                  </a:lnTo>
                  <a:lnTo>
                    <a:pt x="576" y="84"/>
                  </a:lnTo>
                  <a:lnTo>
                    <a:pt x="570" y="84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58" y="96"/>
                  </a:lnTo>
                  <a:lnTo>
                    <a:pt x="552" y="96"/>
                  </a:lnTo>
                  <a:lnTo>
                    <a:pt x="546" y="102"/>
                  </a:lnTo>
                  <a:lnTo>
                    <a:pt x="540" y="102"/>
                  </a:lnTo>
                  <a:lnTo>
                    <a:pt x="534" y="102"/>
                  </a:lnTo>
                  <a:lnTo>
                    <a:pt x="528" y="102"/>
                  </a:lnTo>
                  <a:lnTo>
                    <a:pt x="528" y="108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16" y="102"/>
                  </a:lnTo>
                  <a:lnTo>
                    <a:pt x="510" y="102"/>
                  </a:lnTo>
                  <a:lnTo>
                    <a:pt x="504" y="102"/>
                  </a:lnTo>
                  <a:lnTo>
                    <a:pt x="498" y="102"/>
                  </a:lnTo>
                  <a:lnTo>
                    <a:pt x="498" y="96"/>
                  </a:lnTo>
                  <a:lnTo>
                    <a:pt x="492" y="96"/>
                  </a:lnTo>
                  <a:lnTo>
                    <a:pt x="492" y="90"/>
                  </a:lnTo>
                  <a:lnTo>
                    <a:pt x="492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498" y="66"/>
                  </a:lnTo>
                  <a:lnTo>
                    <a:pt x="504" y="60"/>
                  </a:lnTo>
                  <a:lnTo>
                    <a:pt x="498" y="60"/>
                  </a:lnTo>
                  <a:lnTo>
                    <a:pt x="498" y="54"/>
                  </a:lnTo>
                  <a:lnTo>
                    <a:pt x="492" y="54"/>
                  </a:lnTo>
                  <a:lnTo>
                    <a:pt x="492" y="60"/>
                  </a:lnTo>
                  <a:lnTo>
                    <a:pt x="486" y="60"/>
                  </a:lnTo>
                  <a:lnTo>
                    <a:pt x="486" y="66"/>
                  </a:lnTo>
                  <a:lnTo>
                    <a:pt x="480" y="66"/>
                  </a:lnTo>
                  <a:lnTo>
                    <a:pt x="474" y="72"/>
                  </a:lnTo>
                  <a:lnTo>
                    <a:pt x="474" y="66"/>
                  </a:lnTo>
                  <a:lnTo>
                    <a:pt x="474" y="72"/>
                  </a:lnTo>
                  <a:lnTo>
                    <a:pt x="468" y="72"/>
                  </a:lnTo>
                  <a:lnTo>
                    <a:pt x="468" y="78"/>
                  </a:lnTo>
                  <a:lnTo>
                    <a:pt x="468" y="84"/>
                  </a:lnTo>
                  <a:lnTo>
                    <a:pt x="462" y="90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0" y="84"/>
                  </a:lnTo>
                  <a:lnTo>
                    <a:pt x="450" y="90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44" y="102"/>
                  </a:lnTo>
                  <a:lnTo>
                    <a:pt x="444" y="108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38" y="126"/>
                  </a:lnTo>
                  <a:lnTo>
                    <a:pt x="438" y="132"/>
                  </a:lnTo>
                  <a:lnTo>
                    <a:pt x="438" y="138"/>
                  </a:lnTo>
                  <a:lnTo>
                    <a:pt x="438" y="144"/>
                  </a:lnTo>
                  <a:lnTo>
                    <a:pt x="432" y="144"/>
                  </a:lnTo>
                  <a:lnTo>
                    <a:pt x="432" y="150"/>
                  </a:lnTo>
                  <a:lnTo>
                    <a:pt x="432" y="144"/>
                  </a:lnTo>
                  <a:lnTo>
                    <a:pt x="426" y="144"/>
                  </a:lnTo>
                  <a:lnTo>
                    <a:pt x="426" y="150"/>
                  </a:lnTo>
                  <a:lnTo>
                    <a:pt x="426" y="156"/>
                  </a:lnTo>
                  <a:lnTo>
                    <a:pt x="432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2"/>
                  </a:lnTo>
                  <a:lnTo>
                    <a:pt x="432" y="168"/>
                  </a:lnTo>
                  <a:lnTo>
                    <a:pt x="426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44" y="168"/>
                  </a:lnTo>
                  <a:lnTo>
                    <a:pt x="444" y="174"/>
                  </a:lnTo>
                  <a:lnTo>
                    <a:pt x="444" y="180"/>
                  </a:lnTo>
                  <a:lnTo>
                    <a:pt x="444" y="186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2" y="192"/>
                  </a:lnTo>
                  <a:lnTo>
                    <a:pt x="426" y="192"/>
                  </a:lnTo>
                  <a:lnTo>
                    <a:pt x="420" y="186"/>
                  </a:lnTo>
                  <a:lnTo>
                    <a:pt x="414" y="186"/>
                  </a:lnTo>
                  <a:lnTo>
                    <a:pt x="408" y="186"/>
                  </a:lnTo>
                  <a:lnTo>
                    <a:pt x="402" y="186"/>
                  </a:lnTo>
                  <a:lnTo>
                    <a:pt x="396" y="186"/>
                  </a:lnTo>
                  <a:lnTo>
                    <a:pt x="390" y="186"/>
                  </a:lnTo>
                  <a:lnTo>
                    <a:pt x="384" y="186"/>
                  </a:lnTo>
                  <a:lnTo>
                    <a:pt x="378" y="186"/>
                  </a:lnTo>
                  <a:lnTo>
                    <a:pt x="372" y="186"/>
                  </a:lnTo>
                  <a:lnTo>
                    <a:pt x="354" y="186"/>
                  </a:lnTo>
                  <a:lnTo>
                    <a:pt x="342" y="186"/>
                  </a:lnTo>
                  <a:lnTo>
                    <a:pt x="324" y="186"/>
                  </a:lnTo>
                  <a:lnTo>
                    <a:pt x="312" y="186"/>
                  </a:lnTo>
                  <a:lnTo>
                    <a:pt x="306" y="186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82" y="186"/>
                  </a:lnTo>
                  <a:lnTo>
                    <a:pt x="270" y="186"/>
                  </a:lnTo>
                  <a:lnTo>
                    <a:pt x="264" y="186"/>
                  </a:lnTo>
                  <a:lnTo>
                    <a:pt x="258" y="192"/>
                  </a:lnTo>
                  <a:lnTo>
                    <a:pt x="258" y="186"/>
                  </a:lnTo>
                  <a:lnTo>
                    <a:pt x="246" y="186"/>
                  </a:lnTo>
                  <a:lnTo>
                    <a:pt x="240" y="186"/>
                  </a:lnTo>
                  <a:lnTo>
                    <a:pt x="234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2"/>
                  </a:lnTo>
                  <a:lnTo>
                    <a:pt x="204" y="192"/>
                  </a:lnTo>
                  <a:lnTo>
                    <a:pt x="198" y="192"/>
                  </a:lnTo>
                  <a:lnTo>
                    <a:pt x="192" y="192"/>
                  </a:lnTo>
                  <a:lnTo>
                    <a:pt x="180" y="192"/>
                  </a:lnTo>
                  <a:lnTo>
                    <a:pt x="168" y="192"/>
                  </a:lnTo>
                  <a:lnTo>
                    <a:pt x="162" y="192"/>
                  </a:lnTo>
                  <a:lnTo>
                    <a:pt x="150" y="192"/>
                  </a:lnTo>
                  <a:lnTo>
                    <a:pt x="138" y="192"/>
                  </a:lnTo>
                  <a:lnTo>
                    <a:pt x="132" y="192"/>
                  </a:lnTo>
                  <a:lnTo>
                    <a:pt x="120" y="192"/>
                  </a:lnTo>
                  <a:lnTo>
                    <a:pt x="114" y="192"/>
                  </a:lnTo>
                  <a:lnTo>
                    <a:pt x="108" y="192"/>
                  </a:lnTo>
                  <a:lnTo>
                    <a:pt x="102" y="192"/>
                  </a:lnTo>
                  <a:lnTo>
                    <a:pt x="90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2" y="198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36" y="198"/>
                  </a:lnTo>
                  <a:lnTo>
                    <a:pt x="30" y="204"/>
                  </a:lnTo>
                  <a:lnTo>
                    <a:pt x="24" y="204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6" y="210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54" y="156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56"/>
                  </a:lnTo>
                  <a:lnTo>
                    <a:pt x="78" y="162"/>
                  </a:lnTo>
                  <a:lnTo>
                    <a:pt x="84" y="162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9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0" y="126"/>
                  </a:lnTo>
                  <a:lnTo>
                    <a:pt x="276" y="120"/>
                  </a:lnTo>
                  <a:lnTo>
                    <a:pt x="282" y="120"/>
                  </a:lnTo>
                  <a:lnTo>
                    <a:pt x="300" y="120"/>
                  </a:lnTo>
                  <a:lnTo>
                    <a:pt x="306" y="114"/>
                  </a:lnTo>
                  <a:lnTo>
                    <a:pt x="312" y="108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8"/>
                  </a:lnTo>
                  <a:lnTo>
                    <a:pt x="342" y="30"/>
                  </a:lnTo>
                  <a:lnTo>
                    <a:pt x="342" y="24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8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24"/>
                  </a:lnTo>
                  <a:lnTo>
                    <a:pt x="414" y="30"/>
                  </a:lnTo>
                  <a:lnTo>
                    <a:pt x="420" y="30"/>
                  </a:lnTo>
                  <a:lnTo>
                    <a:pt x="42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74" y="30"/>
                  </a:lnTo>
                  <a:lnTo>
                    <a:pt x="474" y="18"/>
                  </a:lnTo>
                  <a:lnTo>
                    <a:pt x="474" y="12"/>
                  </a:lnTo>
                  <a:lnTo>
                    <a:pt x="480" y="12"/>
                  </a:lnTo>
                  <a:lnTo>
                    <a:pt x="486" y="12"/>
                  </a:lnTo>
                  <a:lnTo>
                    <a:pt x="606" y="12"/>
                  </a:lnTo>
                  <a:lnTo>
                    <a:pt x="630" y="12"/>
                  </a:lnTo>
                  <a:lnTo>
                    <a:pt x="678" y="12"/>
                  </a:lnTo>
                  <a:lnTo>
                    <a:pt x="744" y="12"/>
                  </a:lnTo>
                  <a:lnTo>
                    <a:pt x="774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2" y="6"/>
                  </a:lnTo>
                  <a:lnTo>
                    <a:pt x="888" y="12"/>
                  </a:lnTo>
                  <a:lnTo>
                    <a:pt x="888" y="24"/>
                  </a:lnTo>
                  <a:lnTo>
                    <a:pt x="888" y="30"/>
                  </a:lnTo>
                  <a:lnTo>
                    <a:pt x="882" y="36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64" y="42"/>
                  </a:lnTo>
                  <a:lnTo>
                    <a:pt x="864" y="48"/>
                  </a:lnTo>
                  <a:lnTo>
                    <a:pt x="858" y="54"/>
                  </a:lnTo>
                  <a:lnTo>
                    <a:pt x="864" y="54"/>
                  </a:lnTo>
                  <a:lnTo>
                    <a:pt x="870" y="72"/>
                  </a:lnTo>
                  <a:lnTo>
                    <a:pt x="870" y="78"/>
                  </a:lnTo>
                  <a:lnTo>
                    <a:pt x="870" y="84"/>
                  </a:lnTo>
                  <a:lnTo>
                    <a:pt x="870" y="90"/>
                  </a:lnTo>
                  <a:close/>
                  <a:moveTo>
                    <a:pt x="972" y="156"/>
                  </a:moveTo>
                  <a:lnTo>
                    <a:pt x="972" y="162"/>
                  </a:lnTo>
                  <a:lnTo>
                    <a:pt x="978" y="162"/>
                  </a:lnTo>
                  <a:lnTo>
                    <a:pt x="984" y="168"/>
                  </a:lnTo>
                  <a:lnTo>
                    <a:pt x="990" y="168"/>
                  </a:lnTo>
                  <a:lnTo>
                    <a:pt x="990" y="162"/>
                  </a:lnTo>
                  <a:lnTo>
                    <a:pt x="1008" y="162"/>
                  </a:lnTo>
                  <a:lnTo>
                    <a:pt x="1020" y="162"/>
                  </a:lnTo>
                  <a:lnTo>
                    <a:pt x="1038" y="162"/>
                  </a:lnTo>
                  <a:lnTo>
                    <a:pt x="1056" y="168"/>
                  </a:lnTo>
                  <a:lnTo>
                    <a:pt x="1056" y="180"/>
                  </a:lnTo>
                  <a:lnTo>
                    <a:pt x="1056" y="186"/>
                  </a:lnTo>
                  <a:lnTo>
                    <a:pt x="1056" y="204"/>
                  </a:lnTo>
                  <a:lnTo>
                    <a:pt x="1050" y="204"/>
                  </a:lnTo>
                  <a:lnTo>
                    <a:pt x="1044" y="204"/>
                  </a:lnTo>
                  <a:lnTo>
                    <a:pt x="1038" y="204"/>
                  </a:lnTo>
                  <a:lnTo>
                    <a:pt x="1032" y="204"/>
                  </a:lnTo>
                  <a:lnTo>
                    <a:pt x="1026" y="204"/>
                  </a:lnTo>
                  <a:lnTo>
                    <a:pt x="1020" y="204"/>
                  </a:lnTo>
                  <a:lnTo>
                    <a:pt x="1014" y="204"/>
                  </a:lnTo>
                  <a:lnTo>
                    <a:pt x="1008" y="204"/>
                  </a:lnTo>
                  <a:lnTo>
                    <a:pt x="1002" y="204"/>
                  </a:lnTo>
                  <a:lnTo>
                    <a:pt x="996" y="204"/>
                  </a:lnTo>
                  <a:lnTo>
                    <a:pt x="984" y="204"/>
                  </a:lnTo>
                  <a:lnTo>
                    <a:pt x="984" y="198"/>
                  </a:lnTo>
                  <a:lnTo>
                    <a:pt x="978" y="198"/>
                  </a:lnTo>
                  <a:lnTo>
                    <a:pt x="966" y="198"/>
                  </a:lnTo>
                  <a:lnTo>
                    <a:pt x="948" y="192"/>
                  </a:lnTo>
                  <a:lnTo>
                    <a:pt x="942" y="192"/>
                  </a:lnTo>
                  <a:lnTo>
                    <a:pt x="936" y="192"/>
                  </a:lnTo>
                  <a:lnTo>
                    <a:pt x="924" y="192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12" y="186"/>
                  </a:lnTo>
                  <a:lnTo>
                    <a:pt x="906" y="186"/>
                  </a:lnTo>
                  <a:lnTo>
                    <a:pt x="900" y="186"/>
                  </a:lnTo>
                  <a:lnTo>
                    <a:pt x="894" y="186"/>
                  </a:lnTo>
                  <a:lnTo>
                    <a:pt x="888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76" y="180"/>
                  </a:lnTo>
                  <a:lnTo>
                    <a:pt x="870" y="180"/>
                  </a:lnTo>
                  <a:lnTo>
                    <a:pt x="864" y="180"/>
                  </a:lnTo>
                  <a:lnTo>
                    <a:pt x="858" y="180"/>
                  </a:lnTo>
                  <a:lnTo>
                    <a:pt x="852" y="180"/>
                  </a:lnTo>
                  <a:lnTo>
                    <a:pt x="852" y="174"/>
                  </a:lnTo>
                  <a:lnTo>
                    <a:pt x="846" y="174"/>
                  </a:lnTo>
                  <a:lnTo>
                    <a:pt x="840" y="174"/>
                  </a:lnTo>
                  <a:lnTo>
                    <a:pt x="834" y="174"/>
                  </a:lnTo>
                  <a:lnTo>
                    <a:pt x="828" y="174"/>
                  </a:lnTo>
                  <a:lnTo>
                    <a:pt x="822" y="174"/>
                  </a:lnTo>
                  <a:lnTo>
                    <a:pt x="816" y="174"/>
                  </a:lnTo>
                  <a:lnTo>
                    <a:pt x="810" y="168"/>
                  </a:lnTo>
                  <a:lnTo>
                    <a:pt x="804" y="168"/>
                  </a:lnTo>
                  <a:lnTo>
                    <a:pt x="798" y="168"/>
                  </a:lnTo>
                  <a:lnTo>
                    <a:pt x="792" y="168"/>
                  </a:lnTo>
                  <a:lnTo>
                    <a:pt x="786" y="168"/>
                  </a:lnTo>
                  <a:lnTo>
                    <a:pt x="780" y="168"/>
                  </a:lnTo>
                  <a:lnTo>
                    <a:pt x="774" y="168"/>
                  </a:lnTo>
                  <a:lnTo>
                    <a:pt x="768" y="168"/>
                  </a:lnTo>
                  <a:lnTo>
                    <a:pt x="762" y="168"/>
                  </a:lnTo>
                  <a:lnTo>
                    <a:pt x="756" y="168"/>
                  </a:lnTo>
                  <a:lnTo>
                    <a:pt x="750" y="168"/>
                  </a:lnTo>
                  <a:lnTo>
                    <a:pt x="750" y="162"/>
                  </a:lnTo>
                  <a:lnTo>
                    <a:pt x="744" y="168"/>
                  </a:lnTo>
                  <a:lnTo>
                    <a:pt x="738" y="162"/>
                  </a:lnTo>
                  <a:lnTo>
                    <a:pt x="732" y="162"/>
                  </a:lnTo>
                  <a:lnTo>
                    <a:pt x="726" y="162"/>
                  </a:lnTo>
                  <a:lnTo>
                    <a:pt x="714" y="162"/>
                  </a:lnTo>
                  <a:lnTo>
                    <a:pt x="702" y="162"/>
                  </a:lnTo>
                  <a:lnTo>
                    <a:pt x="696" y="168"/>
                  </a:lnTo>
                  <a:lnTo>
                    <a:pt x="690" y="168"/>
                  </a:lnTo>
                  <a:lnTo>
                    <a:pt x="684" y="168"/>
                  </a:lnTo>
                  <a:lnTo>
                    <a:pt x="678" y="168"/>
                  </a:lnTo>
                  <a:lnTo>
                    <a:pt x="672" y="168"/>
                  </a:lnTo>
                  <a:lnTo>
                    <a:pt x="666" y="168"/>
                  </a:lnTo>
                  <a:lnTo>
                    <a:pt x="660" y="168"/>
                  </a:lnTo>
                  <a:lnTo>
                    <a:pt x="654" y="168"/>
                  </a:lnTo>
                  <a:lnTo>
                    <a:pt x="648" y="174"/>
                  </a:lnTo>
                  <a:lnTo>
                    <a:pt x="648" y="168"/>
                  </a:lnTo>
                  <a:lnTo>
                    <a:pt x="642" y="174"/>
                  </a:lnTo>
                  <a:lnTo>
                    <a:pt x="636" y="174"/>
                  </a:lnTo>
                  <a:lnTo>
                    <a:pt x="630" y="174"/>
                  </a:lnTo>
                  <a:lnTo>
                    <a:pt x="624" y="174"/>
                  </a:lnTo>
                  <a:lnTo>
                    <a:pt x="618" y="174"/>
                  </a:lnTo>
                  <a:lnTo>
                    <a:pt x="612" y="174"/>
                  </a:lnTo>
                  <a:lnTo>
                    <a:pt x="606" y="174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74"/>
                  </a:lnTo>
                  <a:lnTo>
                    <a:pt x="582" y="174"/>
                  </a:lnTo>
                  <a:lnTo>
                    <a:pt x="576" y="174"/>
                  </a:lnTo>
                  <a:lnTo>
                    <a:pt x="570" y="174"/>
                  </a:lnTo>
                  <a:lnTo>
                    <a:pt x="564" y="174"/>
                  </a:lnTo>
                  <a:lnTo>
                    <a:pt x="558" y="174"/>
                  </a:lnTo>
                  <a:lnTo>
                    <a:pt x="552" y="174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0" y="174"/>
                  </a:lnTo>
                  <a:lnTo>
                    <a:pt x="504" y="174"/>
                  </a:lnTo>
                  <a:lnTo>
                    <a:pt x="498" y="174"/>
                  </a:lnTo>
                  <a:lnTo>
                    <a:pt x="492" y="174"/>
                  </a:lnTo>
                  <a:lnTo>
                    <a:pt x="486" y="174"/>
                  </a:lnTo>
                  <a:lnTo>
                    <a:pt x="480" y="174"/>
                  </a:lnTo>
                  <a:lnTo>
                    <a:pt x="474" y="174"/>
                  </a:lnTo>
                  <a:lnTo>
                    <a:pt x="468" y="174"/>
                  </a:lnTo>
                  <a:lnTo>
                    <a:pt x="462" y="174"/>
                  </a:lnTo>
                  <a:lnTo>
                    <a:pt x="456" y="174"/>
                  </a:lnTo>
                  <a:lnTo>
                    <a:pt x="450" y="180"/>
                  </a:lnTo>
                  <a:lnTo>
                    <a:pt x="450" y="186"/>
                  </a:lnTo>
                  <a:lnTo>
                    <a:pt x="450" y="192"/>
                  </a:lnTo>
                  <a:lnTo>
                    <a:pt x="444" y="192"/>
                  </a:lnTo>
                  <a:lnTo>
                    <a:pt x="444" y="186"/>
                  </a:lnTo>
                  <a:lnTo>
                    <a:pt x="444" y="180"/>
                  </a:lnTo>
                  <a:lnTo>
                    <a:pt x="450" y="180"/>
                  </a:lnTo>
                  <a:lnTo>
                    <a:pt x="450" y="174"/>
                  </a:lnTo>
                  <a:lnTo>
                    <a:pt x="450" y="168"/>
                  </a:lnTo>
                  <a:lnTo>
                    <a:pt x="450" y="162"/>
                  </a:lnTo>
                  <a:lnTo>
                    <a:pt x="456" y="162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62" y="162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74" y="168"/>
                  </a:lnTo>
                  <a:lnTo>
                    <a:pt x="480" y="168"/>
                  </a:lnTo>
                  <a:lnTo>
                    <a:pt x="480" y="162"/>
                  </a:lnTo>
                  <a:lnTo>
                    <a:pt x="480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56"/>
                  </a:lnTo>
                  <a:lnTo>
                    <a:pt x="492" y="156"/>
                  </a:lnTo>
                  <a:lnTo>
                    <a:pt x="486" y="150"/>
                  </a:lnTo>
                  <a:lnTo>
                    <a:pt x="492" y="150"/>
                  </a:lnTo>
                  <a:lnTo>
                    <a:pt x="498" y="150"/>
                  </a:lnTo>
                  <a:lnTo>
                    <a:pt x="498" y="156"/>
                  </a:lnTo>
                  <a:lnTo>
                    <a:pt x="504" y="156"/>
                  </a:lnTo>
                  <a:lnTo>
                    <a:pt x="504" y="162"/>
                  </a:lnTo>
                  <a:lnTo>
                    <a:pt x="504" y="156"/>
                  </a:lnTo>
                  <a:lnTo>
                    <a:pt x="510" y="156"/>
                  </a:lnTo>
                  <a:lnTo>
                    <a:pt x="510" y="150"/>
                  </a:lnTo>
                  <a:lnTo>
                    <a:pt x="516" y="150"/>
                  </a:lnTo>
                  <a:lnTo>
                    <a:pt x="522" y="150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28" y="150"/>
                  </a:lnTo>
                  <a:lnTo>
                    <a:pt x="528" y="144"/>
                  </a:lnTo>
                  <a:lnTo>
                    <a:pt x="540" y="144"/>
                  </a:lnTo>
                  <a:lnTo>
                    <a:pt x="546" y="144"/>
                  </a:lnTo>
                  <a:lnTo>
                    <a:pt x="552" y="138"/>
                  </a:lnTo>
                  <a:lnTo>
                    <a:pt x="552" y="132"/>
                  </a:lnTo>
                  <a:lnTo>
                    <a:pt x="558" y="132"/>
                  </a:lnTo>
                  <a:lnTo>
                    <a:pt x="558" y="126"/>
                  </a:lnTo>
                  <a:lnTo>
                    <a:pt x="558" y="120"/>
                  </a:lnTo>
                  <a:lnTo>
                    <a:pt x="558" y="114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6" y="114"/>
                  </a:lnTo>
                  <a:lnTo>
                    <a:pt x="582" y="120"/>
                  </a:lnTo>
                  <a:lnTo>
                    <a:pt x="588" y="120"/>
                  </a:lnTo>
                  <a:lnTo>
                    <a:pt x="588" y="126"/>
                  </a:lnTo>
                  <a:lnTo>
                    <a:pt x="588" y="120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600" y="114"/>
                  </a:lnTo>
                  <a:lnTo>
                    <a:pt x="606" y="114"/>
                  </a:lnTo>
                  <a:lnTo>
                    <a:pt x="618" y="114"/>
                  </a:lnTo>
                  <a:lnTo>
                    <a:pt x="618" y="108"/>
                  </a:lnTo>
                  <a:lnTo>
                    <a:pt x="624" y="108"/>
                  </a:lnTo>
                  <a:lnTo>
                    <a:pt x="624" y="102"/>
                  </a:lnTo>
                  <a:lnTo>
                    <a:pt x="630" y="102"/>
                  </a:lnTo>
                  <a:lnTo>
                    <a:pt x="636" y="102"/>
                  </a:lnTo>
                  <a:lnTo>
                    <a:pt x="636" y="108"/>
                  </a:lnTo>
                  <a:lnTo>
                    <a:pt x="642" y="108"/>
                  </a:lnTo>
                  <a:lnTo>
                    <a:pt x="648" y="108"/>
                  </a:lnTo>
                  <a:lnTo>
                    <a:pt x="648" y="102"/>
                  </a:lnTo>
                  <a:lnTo>
                    <a:pt x="654" y="102"/>
                  </a:lnTo>
                  <a:lnTo>
                    <a:pt x="660" y="102"/>
                  </a:lnTo>
                  <a:lnTo>
                    <a:pt x="660" y="96"/>
                  </a:lnTo>
                  <a:lnTo>
                    <a:pt x="660" y="90"/>
                  </a:lnTo>
                  <a:lnTo>
                    <a:pt x="666" y="90"/>
                  </a:lnTo>
                  <a:lnTo>
                    <a:pt x="666" y="84"/>
                  </a:lnTo>
                  <a:lnTo>
                    <a:pt x="672" y="78"/>
                  </a:lnTo>
                  <a:lnTo>
                    <a:pt x="672" y="72"/>
                  </a:lnTo>
                  <a:lnTo>
                    <a:pt x="678" y="66"/>
                  </a:lnTo>
                  <a:lnTo>
                    <a:pt x="684" y="66"/>
                  </a:lnTo>
                  <a:lnTo>
                    <a:pt x="684" y="60"/>
                  </a:lnTo>
                  <a:lnTo>
                    <a:pt x="690" y="60"/>
                  </a:lnTo>
                  <a:lnTo>
                    <a:pt x="696" y="60"/>
                  </a:lnTo>
                  <a:lnTo>
                    <a:pt x="702" y="60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66"/>
                  </a:lnTo>
                  <a:lnTo>
                    <a:pt x="720" y="66"/>
                  </a:lnTo>
                  <a:lnTo>
                    <a:pt x="720" y="60"/>
                  </a:lnTo>
                  <a:lnTo>
                    <a:pt x="726" y="60"/>
                  </a:lnTo>
                  <a:lnTo>
                    <a:pt x="732" y="60"/>
                  </a:lnTo>
                  <a:lnTo>
                    <a:pt x="744" y="60"/>
                  </a:lnTo>
                  <a:lnTo>
                    <a:pt x="750" y="54"/>
                  </a:lnTo>
                  <a:lnTo>
                    <a:pt x="762" y="60"/>
                  </a:lnTo>
                  <a:lnTo>
                    <a:pt x="774" y="60"/>
                  </a:lnTo>
                  <a:lnTo>
                    <a:pt x="774" y="66"/>
                  </a:lnTo>
                  <a:lnTo>
                    <a:pt x="780" y="72"/>
                  </a:lnTo>
                  <a:lnTo>
                    <a:pt x="786" y="78"/>
                  </a:lnTo>
                  <a:lnTo>
                    <a:pt x="792" y="78"/>
                  </a:lnTo>
                  <a:lnTo>
                    <a:pt x="810" y="84"/>
                  </a:lnTo>
                  <a:lnTo>
                    <a:pt x="822" y="84"/>
                  </a:lnTo>
                  <a:lnTo>
                    <a:pt x="828" y="84"/>
                  </a:lnTo>
                  <a:lnTo>
                    <a:pt x="834" y="84"/>
                  </a:lnTo>
                  <a:lnTo>
                    <a:pt x="840" y="96"/>
                  </a:lnTo>
                  <a:lnTo>
                    <a:pt x="846" y="102"/>
                  </a:lnTo>
                  <a:lnTo>
                    <a:pt x="858" y="102"/>
                  </a:lnTo>
                  <a:lnTo>
                    <a:pt x="864" y="102"/>
                  </a:lnTo>
                  <a:lnTo>
                    <a:pt x="876" y="96"/>
                  </a:lnTo>
                  <a:lnTo>
                    <a:pt x="882" y="102"/>
                  </a:lnTo>
                  <a:lnTo>
                    <a:pt x="888" y="108"/>
                  </a:lnTo>
                  <a:lnTo>
                    <a:pt x="888" y="114"/>
                  </a:lnTo>
                  <a:lnTo>
                    <a:pt x="888" y="120"/>
                  </a:lnTo>
                  <a:lnTo>
                    <a:pt x="888" y="126"/>
                  </a:lnTo>
                  <a:lnTo>
                    <a:pt x="888" y="132"/>
                  </a:lnTo>
                  <a:lnTo>
                    <a:pt x="882" y="132"/>
                  </a:lnTo>
                  <a:lnTo>
                    <a:pt x="864" y="126"/>
                  </a:lnTo>
                  <a:lnTo>
                    <a:pt x="852" y="120"/>
                  </a:lnTo>
                  <a:lnTo>
                    <a:pt x="840" y="126"/>
                  </a:lnTo>
                  <a:lnTo>
                    <a:pt x="834" y="120"/>
                  </a:lnTo>
                  <a:lnTo>
                    <a:pt x="828" y="120"/>
                  </a:lnTo>
                  <a:lnTo>
                    <a:pt x="822" y="120"/>
                  </a:lnTo>
                  <a:lnTo>
                    <a:pt x="810" y="114"/>
                  </a:lnTo>
                  <a:lnTo>
                    <a:pt x="804" y="114"/>
                  </a:lnTo>
                  <a:lnTo>
                    <a:pt x="798" y="114"/>
                  </a:lnTo>
                  <a:lnTo>
                    <a:pt x="792" y="114"/>
                  </a:lnTo>
                  <a:lnTo>
                    <a:pt x="786" y="114"/>
                  </a:lnTo>
                  <a:lnTo>
                    <a:pt x="780" y="114"/>
                  </a:lnTo>
                  <a:lnTo>
                    <a:pt x="780" y="126"/>
                  </a:lnTo>
                  <a:lnTo>
                    <a:pt x="786" y="126"/>
                  </a:lnTo>
                  <a:lnTo>
                    <a:pt x="798" y="126"/>
                  </a:lnTo>
                  <a:lnTo>
                    <a:pt x="804" y="126"/>
                  </a:lnTo>
                  <a:lnTo>
                    <a:pt x="822" y="132"/>
                  </a:lnTo>
                  <a:lnTo>
                    <a:pt x="828" y="132"/>
                  </a:lnTo>
                  <a:lnTo>
                    <a:pt x="834" y="132"/>
                  </a:lnTo>
                  <a:lnTo>
                    <a:pt x="840" y="144"/>
                  </a:lnTo>
                  <a:lnTo>
                    <a:pt x="846" y="150"/>
                  </a:lnTo>
                  <a:lnTo>
                    <a:pt x="858" y="150"/>
                  </a:lnTo>
                  <a:lnTo>
                    <a:pt x="864" y="162"/>
                  </a:lnTo>
                  <a:lnTo>
                    <a:pt x="870" y="162"/>
                  </a:lnTo>
                  <a:lnTo>
                    <a:pt x="876" y="168"/>
                  </a:lnTo>
                  <a:lnTo>
                    <a:pt x="888" y="168"/>
                  </a:lnTo>
                  <a:lnTo>
                    <a:pt x="894" y="174"/>
                  </a:lnTo>
                  <a:lnTo>
                    <a:pt x="900" y="174"/>
                  </a:lnTo>
                  <a:lnTo>
                    <a:pt x="918" y="174"/>
                  </a:lnTo>
                  <a:lnTo>
                    <a:pt x="924" y="174"/>
                  </a:lnTo>
                  <a:lnTo>
                    <a:pt x="930" y="174"/>
                  </a:lnTo>
                  <a:lnTo>
                    <a:pt x="942" y="174"/>
                  </a:lnTo>
                  <a:lnTo>
                    <a:pt x="954" y="174"/>
                  </a:lnTo>
                  <a:lnTo>
                    <a:pt x="960" y="174"/>
                  </a:lnTo>
                  <a:lnTo>
                    <a:pt x="966" y="174"/>
                  </a:lnTo>
                  <a:lnTo>
                    <a:pt x="966" y="168"/>
                  </a:lnTo>
                  <a:lnTo>
                    <a:pt x="972" y="162"/>
                  </a:lnTo>
                  <a:lnTo>
                    <a:pt x="972" y="156"/>
                  </a:lnTo>
                  <a:close/>
                  <a:moveTo>
                    <a:pt x="942" y="174"/>
                  </a:moveTo>
                  <a:lnTo>
                    <a:pt x="936" y="174"/>
                  </a:lnTo>
                  <a:lnTo>
                    <a:pt x="936" y="168"/>
                  </a:lnTo>
                  <a:lnTo>
                    <a:pt x="936" y="162"/>
                  </a:lnTo>
                  <a:lnTo>
                    <a:pt x="948" y="162"/>
                  </a:lnTo>
                  <a:lnTo>
                    <a:pt x="948" y="156"/>
                  </a:lnTo>
                  <a:lnTo>
                    <a:pt x="954" y="156"/>
                  </a:lnTo>
                  <a:lnTo>
                    <a:pt x="960" y="156"/>
                  </a:lnTo>
                  <a:lnTo>
                    <a:pt x="966" y="156"/>
                  </a:lnTo>
                  <a:lnTo>
                    <a:pt x="966" y="162"/>
                  </a:lnTo>
                  <a:lnTo>
                    <a:pt x="960" y="168"/>
                  </a:lnTo>
                  <a:lnTo>
                    <a:pt x="942" y="174"/>
                  </a:lnTo>
                  <a:close/>
                  <a:moveTo>
                    <a:pt x="900" y="168"/>
                  </a:moveTo>
                  <a:lnTo>
                    <a:pt x="894" y="168"/>
                  </a:lnTo>
                  <a:lnTo>
                    <a:pt x="882" y="156"/>
                  </a:lnTo>
                  <a:lnTo>
                    <a:pt x="882" y="150"/>
                  </a:lnTo>
                  <a:lnTo>
                    <a:pt x="888" y="156"/>
                  </a:lnTo>
                  <a:lnTo>
                    <a:pt x="894" y="150"/>
                  </a:lnTo>
                  <a:lnTo>
                    <a:pt x="900" y="150"/>
                  </a:lnTo>
                  <a:lnTo>
                    <a:pt x="906" y="150"/>
                  </a:lnTo>
                  <a:lnTo>
                    <a:pt x="912" y="150"/>
                  </a:lnTo>
                  <a:lnTo>
                    <a:pt x="924" y="150"/>
                  </a:lnTo>
                  <a:lnTo>
                    <a:pt x="924" y="156"/>
                  </a:lnTo>
                  <a:lnTo>
                    <a:pt x="924" y="162"/>
                  </a:lnTo>
                  <a:lnTo>
                    <a:pt x="924" y="168"/>
                  </a:lnTo>
                  <a:lnTo>
                    <a:pt x="918" y="168"/>
                  </a:lnTo>
                  <a:lnTo>
                    <a:pt x="906" y="168"/>
                  </a:lnTo>
                  <a:lnTo>
                    <a:pt x="900" y="168"/>
                  </a:lnTo>
                  <a:close/>
                  <a:moveTo>
                    <a:pt x="870" y="162"/>
                  </a:moveTo>
                  <a:lnTo>
                    <a:pt x="876" y="162"/>
                  </a:lnTo>
                  <a:lnTo>
                    <a:pt x="876" y="168"/>
                  </a:lnTo>
                  <a:lnTo>
                    <a:pt x="870" y="168"/>
                  </a:lnTo>
                  <a:lnTo>
                    <a:pt x="870" y="162"/>
                  </a:lnTo>
                  <a:close/>
                  <a:moveTo>
                    <a:pt x="450" y="162"/>
                  </a:moveTo>
                  <a:lnTo>
                    <a:pt x="444" y="162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2" y="150"/>
                  </a:lnTo>
                  <a:lnTo>
                    <a:pt x="438" y="150"/>
                  </a:lnTo>
                  <a:lnTo>
                    <a:pt x="438" y="144"/>
                  </a:lnTo>
                  <a:lnTo>
                    <a:pt x="438" y="150"/>
                  </a:lnTo>
                  <a:lnTo>
                    <a:pt x="444" y="150"/>
                  </a:lnTo>
                  <a:lnTo>
                    <a:pt x="450" y="150"/>
                  </a:lnTo>
                  <a:lnTo>
                    <a:pt x="450" y="156"/>
                  </a:lnTo>
                  <a:lnTo>
                    <a:pt x="456" y="156"/>
                  </a:lnTo>
                  <a:lnTo>
                    <a:pt x="456" y="150"/>
                  </a:lnTo>
                  <a:lnTo>
                    <a:pt x="456" y="156"/>
                  </a:lnTo>
                  <a:lnTo>
                    <a:pt x="462" y="150"/>
                  </a:lnTo>
                  <a:lnTo>
                    <a:pt x="462" y="144"/>
                  </a:lnTo>
                  <a:lnTo>
                    <a:pt x="468" y="144"/>
                  </a:lnTo>
                  <a:lnTo>
                    <a:pt x="468" y="150"/>
                  </a:lnTo>
                  <a:lnTo>
                    <a:pt x="474" y="150"/>
                  </a:lnTo>
                  <a:lnTo>
                    <a:pt x="480" y="150"/>
                  </a:lnTo>
                  <a:lnTo>
                    <a:pt x="480" y="156"/>
                  </a:lnTo>
                  <a:lnTo>
                    <a:pt x="480" y="162"/>
                  </a:lnTo>
                  <a:lnTo>
                    <a:pt x="474" y="162"/>
                  </a:lnTo>
                  <a:lnTo>
                    <a:pt x="474" y="168"/>
                  </a:lnTo>
                  <a:lnTo>
                    <a:pt x="474" y="162"/>
                  </a:lnTo>
                  <a:lnTo>
                    <a:pt x="468" y="162"/>
                  </a:lnTo>
                  <a:lnTo>
                    <a:pt x="462" y="162"/>
                  </a:lnTo>
                  <a:lnTo>
                    <a:pt x="456" y="162"/>
                  </a:lnTo>
                  <a:lnTo>
                    <a:pt x="450" y="16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6" name="Freeform 31">
              <a:extLst>
                <a:ext uri="{FF2B5EF4-FFF2-40B4-BE49-F238E27FC236}">
                  <a16:creationId xmlns:a16="http://schemas.microsoft.com/office/drawing/2014/main" id="{0989F057-38E8-4AA5-8B73-27F6355E235C}"/>
                </a:ext>
              </a:extLst>
            </p:cNvPr>
            <p:cNvSpPr>
              <a:spLocks/>
            </p:cNvSpPr>
            <p:nvPr/>
          </p:nvSpPr>
          <p:spPr bwMode="gray">
            <a:xfrm>
              <a:off x="792590" y="2728084"/>
              <a:ext cx="1182944" cy="740282"/>
            </a:xfrm>
            <a:custGeom>
              <a:avLst/>
              <a:gdLst>
                <a:gd name="T0" fmla="*/ 138 w 2226"/>
                <a:gd name="T1" fmla="*/ 121 h 1392"/>
                <a:gd name="T2" fmla="*/ 133 w 2226"/>
                <a:gd name="T3" fmla="*/ 119 h 1392"/>
                <a:gd name="T4" fmla="*/ 128 w 2226"/>
                <a:gd name="T5" fmla="*/ 117 h 1392"/>
                <a:gd name="T6" fmla="*/ 119 w 2226"/>
                <a:gd name="T7" fmla="*/ 116 h 1392"/>
                <a:gd name="T8" fmla="*/ 101 w 2226"/>
                <a:gd name="T9" fmla="*/ 116 h 1392"/>
                <a:gd name="T10" fmla="*/ 94 w 2226"/>
                <a:gd name="T11" fmla="*/ 104 h 1392"/>
                <a:gd name="T12" fmla="*/ 82 w 2226"/>
                <a:gd name="T13" fmla="*/ 83 h 1392"/>
                <a:gd name="T14" fmla="*/ 87 w 2226"/>
                <a:gd name="T15" fmla="*/ 69 h 1392"/>
                <a:gd name="T16" fmla="*/ 82 w 2226"/>
                <a:gd name="T17" fmla="*/ 65 h 1392"/>
                <a:gd name="T18" fmla="*/ 59 w 2226"/>
                <a:gd name="T19" fmla="*/ 57 h 1392"/>
                <a:gd name="T20" fmla="*/ 29 w 2226"/>
                <a:gd name="T21" fmla="*/ 77 h 1392"/>
                <a:gd name="T22" fmla="*/ 20 w 2226"/>
                <a:gd name="T23" fmla="*/ 78 h 1392"/>
                <a:gd name="T24" fmla="*/ 15 w 2226"/>
                <a:gd name="T25" fmla="*/ 82 h 1392"/>
                <a:gd name="T26" fmla="*/ 8 w 2226"/>
                <a:gd name="T27" fmla="*/ 86 h 1392"/>
                <a:gd name="T28" fmla="*/ 1 w 2226"/>
                <a:gd name="T29" fmla="*/ 88 h 1392"/>
                <a:gd name="T30" fmla="*/ 0 w 2226"/>
                <a:gd name="T31" fmla="*/ 82 h 1392"/>
                <a:gd name="T32" fmla="*/ 0 w 2226"/>
                <a:gd name="T33" fmla="*/ 76 h 1392"/>
                <a:gd name="T34" fmla="*/ 2 w 2226"/>
                <a:gd name="T35" fmla="*/ 70 h 1392"/>
                <a:gd name="T36" fmla="*/ 3 w 2226"/>
                <a:gd name="T37" fmla="*/ 65 h 1392"/>
                <a:gd name="T38" fmla="*/ 2 w 2226"/>
                <a:gd name="T39" fmla="*/ 63 h 1392"/>
                <a:gd name="T40" fmla="*/ 9 w 2226"/>
                <a:gd name="T41" fmla="*/ 60 h 1392"/>
                <a:gd name="T42" fmla="*/ 17 w 2226"/>
                <a:gd name="T43" fmla="*/ 59 h 1392"/>
                <a:gd name="T44" fmla="*/ 22 w 2226"/>
                <a:gd name="T45" fmla="*/ 51 h 1392"/>
                <a:gd name="T46" fmla="*/ 23 w 2226"/>
                <a:gd name="T47" fmla="*/ 43 h 1392"/>
                <a:gd name="T48" fmla="*/ 27 w 2226"/>
                <a:gd name="T49" fmla="*/ 34 h 1392"/>
                <a:gd name="T50" fmla="*/ 30 w 2226"/>
                <a:gd name="T51" fmla="*/ 27 h 1392"/>
                <a:gd name="T52" fmla="*/ 33 w 2226"/>
                <a:gd name="T53" fmla="*/ 22 h 1392"/>
                <a:gd name="T54" fmla="*/ 42 w 2226"/>
                <a:gd name="T55" fmla="*/ 17 h 1392"/>
                <a:gd name="T56" fmla="*/ 47 w 2226"/>
                <a:gd name="T57" fmla="*/ 14 h 1392"/>
                <a:gd name="T58" fmla="*/ 49 w 2226"/>
                <a:gd name="T59" fmla="*/ 5 h 1392"/>
                <a:gd name="T60" fmla="*/ 53 w 2226"/>
                <a:gd name="T61" fmla="*/ 0 h 1392"/>
                <a:gd name="T62" fmla="*/ 55 w 2226"/>
                <a:gd name="T63" fmla="*/ 4 h 1392"/>
                <a:gd name="T64" fmla="*/ 59 w 2226"/>
                <a:gd name="T65" fmla="*/ 7 h 1392"/>
                <a:gd name="T66" fmla="*/ 63 w 2226"/>
                <a:gd name="T67" fmla="*/ 7 h 1392"/>
                <a:gd name="T68" fmla="*/ 66 w 2226"/>
                <a:gd name="T69" fmla="*/ 9 h 1392"/>
                <a:gd name="T70" fmla="*/ 67 w 2226"/>
                <a:gd name="T71" fmla="*/ 12 h 1392"/>
                <a:gd name="T72" fmla="*/ 67 w 2226"/>
                <a:gd name="T73" fmla="*/ 13 h 1392"/>
                <a:gd name="T74" fmla="*/ 70 w 2226"/>
                <a:gd name="T75" fmla="*/ 15 h 1392"/>
                <a:gd name="T76" fmla="*/ 74 w 2226"/>
                <a:gd name="T77" fmla="*/ 17 h 1392"/>
                <a:gd name="T78" fmla="*/ 78 w 2226"/>
                <a:gd name="T79" fmla="*/ 18 h 1392"/>
                <a:gd name="T80" fmla="*/ 97 w 2226"/>
                <a:gd name="T81" fmla="*/ 40 h 1392"/>
                <a:gd name="T82" fmla="*/ 102 w 2226"/>
                <a:gd name="T83" fmla="*/ 44 h 1392"/>
                <a:gd name="T84" fmla="*/ 110 w 2226"/>
                <a:gd name="T85" fmla="*/ 49 h 1392"/>
                <a:gd name="T86" fmla="*/ 113 w 2226"/>
                <a:gd name="T87" fmla="*/ 53 h 1392"/>
                <a:gd name="T88" fmla="*/ 118 w 2226"/>
                <a:gd name="T89" fmla="*/ 57 h 1392"/>
                <a:gd name="T90" fmla="*/ 124 w 2226"/>
                <a:gd name="T91" fmla="*/ 54 h 1392"/>
                <a:gd name="T92" fmla="*/ 133 w 2226"/>
                <a:gd name="T93" fmla="*/ 58 h 1392"/>
                <a:gd name="T94" fmla="*/ 137 w 2226"/>
                <a:gd name="T95" fmla="*/ 64 h 1392"/>
                <a:gd name="T96" fmla="*/ 145 w 2226"/>
                <a:gd name="T97" fmla="*/ 65 h 1392"/>
                <a:gd name="T98" fmla="*/ 152 w 2226"/>
                <a:gd name="T99" fmla="*/ 67 h 1392"/>
                <a:gd name="T100" fmla="*/ 161 w 2226"/>
                <a:gd name="T101" fmla="*/ 72 h 1392"/>
                <a:gd name="T102" fmla="*/ 168 w 2226"/>
                <a:gd name="T103" fmla="*/ 76 h 1392"/>
                <a:gd name="T104" fmla="*/ 177 w 2226"/>
                <a:gd name="T105" fmla="*/ 78 h 1392"/>
                <a:gd name="T106" fmla="*/ 184 w 2226"/>
                <a:gd name="T107" fmla="*/ 78 h 1392"/>
                <a:gd name="T108" fmla="*/ 190 w 2226"/>
                <a:gd name="T109" fmla="*/ 81 h 1392"/>
                <a:gd name="T110" fmla="*/ 192 w 2226"/>
                <a:gd name="T111" fmla="*/ 86 h 1392"/>
                <a:gd name="T112" fmla="*/ 187 w 2226"/>
                <a:gd name="T113" fmla="*/ 99 h 1392"/>
                <a:gd name="T114" fmla="*/ 165 w 2226"/>
                <a:gd name="T115" fmla="*/ 97 h 1392"/>
                <a:gd name="T116" fmla="*/ 155 w 2226"/>
                <a:gd name="T117" fmla="*/ 92 h 1392"/>
                <a:gd name="T118" fmla="*/ 146 w 2226"/>
                <a:gd name="T119" fmla="*/ 102 h 1392"/>
                <a:gd name="T120" fmla="*/ 149 w 2226"/>
                <a:gd name="T121" fmla="*/ 106 h 1392"/>
                <a:gd name="T122" fmla="*/ 151 w 2226"/>
                <a:gd name="T123" fmla="*/ 108 h 1392"/>
                <a:gd name="T124" fmla="*/ 157 w 2226"/>
                <a:gd name="T125" fmla="*/ 113 h 13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1392"/>
                <a:gd name="T191" fmla="*/ 2226 w 2226"/>
                <a:gd name="T192" fmla="*/ 1392 h 13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1392">
                  <a:moveTo>
                    <a:pt x="1782" y="1326"/>
                  </a:moveTo>
                  <a:lnTo>
                    <a:pt x="1776" y="1332"/>
                  </a:lnTo>
                  <a:lnTo>
                    <a:pt x="1692" y="1338"/>
                  </a:lnTo>
                  <a:lnTo>
                    <a:pt x="1680" y="1386"/>
                  </a:lnTo>
                  <a:lnTo>
                    <a:pt x="1674" y="1392"/>
                  </a:lnTo>
                  <a:lnTo>
                    <a:pt x="1638" y="1392"/>
                  </a:lnTo>
                  <a:lnTo>
                    <a:pt x="1620" y="1392"/>
                  </a:lnTo>
                  <a:lnTo>
                    <a:pt x="1614" y="1392"/>
                  </a:lnTo>
                  <a:lnTo>
                    <a:pt x="1608" y="1386"/>
                  </a:lnTo>
                  <a:lnTo>
                    <a:pt x="1584" y="1386"/>
                  </a:lnTo>
                  <a:lnTo>
                    <a:pt x="1578" y="1386"/>
                  </a:lnTo>
                  <a:lnTo>
                    <a:pt x="1572" y="1380"/>
                  </a:lnTo>
                  <a:lnTo>
                    <a:pt x="1578" y="1356"/>
                  </a:lnTo>
                  <a:lnTo>
                    <a:pt x="1572" y="1356"/>
                  </a:lnTo>
                  <a:lnTo>
                    <a:pt x="1560" y="1350"/>
                  </a:lnTo>
                  <a:lnTo>
                    <a:pt x="1554" y="1350"/>
                  </a:lnTo>
                  <a:lnTo>
                    <a:pt x="1542" y="1350"/>
                  </a:lnTo>
                  <a:lnTo>
                    <a:pt x="1530" y="1350"/>
                  </a:lnTo>
                  <a:lnTo>
                    <a:pt x="1524" y="1356"/>
                  </a:lnTo>
                  <a:lnTo>
                    <a:pt x="1524" y="1362"/>
                  </a:lnTo>
                  <a:lnTo>
                    <a:pt x="1512" y="1374"/>
                  </a:lnTo>
                  <a:lnTo>
                    <a:pt x="1506" y="1374"/>
                  </a:lnTo>
                  <a:lnTo>
                    <a:pt x="1500" y="1368"/>
                  </a:lnTo>
                  <a:lnTo>
                    <a:pt x="1500" y="1362"/>
                  </a:lnTo>
                  <a:lnTo>
                    <a:pt x="1488" y="1362"/>
                  </a:lnTo>
                  <a:lnTo>
                    <a:pt x="1482" y="1356"/>
                  </a:lnTo>
                  <a:lnTo>
                    <a:pt x="1482" y="1350"/>
                  </a:lnTo>
                  <a:lnTo>
                    <a:pt x="1476" y="1350"/>
                  </a:lnTo>
                  <a:lnTo>
                    <a:pt x="1470" y="1344"/>
                  </a:lnTo>
                  <a:lnTo>
                    <a:pt x="1464" y="1344"/>
                  </a:lnTo>
                  <a:lnTo>
                    <a:pt x="1452" y="1350"/>
                  </a:lnTo>
                  <a:lnTo>
                    <a:pt x="1452" y="1356"/>
                  </a:lnTo>
                  <a:lnTo>
                    <a:pt x="1440" y="1356"/>
                  </a:lnTo>
                  <a:lnTo>
                    <a:pt x="1434" y="1344"/>
                  </a:lnTo>
                  <a:lnTo>
                    <a:pt x="1422" y="1332"/>
                  </a:lnTo>
                  <a:lnTo>
                    <a:pt x="1416" y="1326"/>
                  </a:lnTo>
                  <a:lnTo>
                    <a:pt x="1404" y="1320"/>
                  </a:lnTo>
                  <a:lnTo>
                    <a:pt x="1404" y="1314"/>
                  </a:lnTo>
                  <a:lnTo>
                    <a:pt x="1374" y="1308"/>
                  </a:lnTo>
                  <a:lnTo>
                    <a:pt x="1368" y="1326"/>
                  </a:lnTo>
                  <a:lnTo>
                    <a:pt x="1344" y="1338"/>
                  </a:lnTo>
                  <a:lnTo>
                    <a:pt x="1326" y="1332"/>
                  </a:lnTo>
                  <a:lnTo>
                    <a:pt x="1302" y="1332"/>
                  </a:lnTo>
                  <a:lnTo>
                    <a:pt x="1278" y="1338"/>
                  </a:lnTo>
                  <a:lnTo>
                    <a:pt x="1236" y="1338"/>
                  </a:lnTo>
                  <a:lnTo>
                    <a:pt x="1224" y="1338"/>
                  </a:lnTo>
                  <a:lnTo>
                    <a:pt x="1224" y="1326"/>
                  </a:lnTo>
                  <a:lnTo>
                    <a:pt x="1206" y="1326"/>
                  </a:lnTo>
                  <a:lnTo>
                    <a:pt x="1170" y="1326"/>
                  </a:lnTo>
                  <a:lnTo>
                    <a:pt x="1152" y="1326"/>
                  </a:lnTo>
                  <a:lnTo>
                    <a:pt x="1140" y="1314"/>
                  </a:lnTo>
                  <a:lnTo>
                    <a:pt x="1134" y="1296"/>
                  </a:lnTo>
                  <a:lnTo>
                    <a:pt x="1134" y="1284"/>
                  </a:lnTo>
                  <a:lnTo>
                    <a:pt x="1128" y="1254"/>
                  </a:lnTo>
                  <a:lnTo>
                    <a:pt x="1128" y="1242"/>
                  </a:lnTo>
                  <a:lnTo>
                    <a:pt x="1122" y="1230"/>
                  </a:lnTo>
                  <a:lnTo>
                    <a:pt x="1104" y="1218"/>
                  </a:lnTo>
                  <a:lnTo>
                    <a:pt x="1104" y="1212"/>
                  </a:lnTo>
                  <a:lnTo>
                    <a:pt x="1092" y="1206"/>
                  </a:lnTo>
                  <a:lnTo>
                    <a:pt x="1080" y="1194"/>
                  </a:lnTo>
                  <a:lnTo>
                    <a:pt x="1068" y="1176"/>
                  </a:lnTo>
                  <a:lnTo>
                    <a:pt x="1050" y="1152"/>
                  </a:lnTo>
                  <a:lnTo>
                    <a:pt x="1020" y="1098"/>
                  </a:lnTo>
                  <a:lnTo>
                    <a:pt x="978" y="1026"/>
                  </a:lnTo>
                  <a:lnTo>
                    <a:pt x="978" y="1014"/>
                  </a:lnTo>
                  <a:lnTo>
                    <a:pt x="972" y="1014"/>
                  </a:lnTo>
                  <a:lnTo>
                    <a:pt x="972" y="1008"/>
                  </a:lnTo>
                  <a:lnTo>
                    <a:pt x="978" y="1002"/>
                  </a:lnTo>
                  <a:lnTo>
                    <a:pt x="960" y="966"/>
                  </a:lnTo>
                  <a:lnTo>
                    <a:pt x="948" y="954"/>
                  </a:lnTo>
                  <a:lnTo>
                    <a:pt x="948" y="936"/>
                  </a:lnTo>
                  <a:lnTo>
                    <a:pt x="936" y="900"/>
                  </a:lnTo>
                  <a:lnTo>
                    <a:pt x="942" y="876"/>
                  </a:lnTo>
                  <a:lnTo>
                    <a:pt x="942" y="834"/>
                  </a:lnTo>
                  <a:lnTo>
                    <a:pt x="960" y="828"/>
                  </a:lnTo>
                  <a:lnTo>
                    <a:pt x="966" y="816"/>
                  </a:lnTo>
                  <a:lnTo>
                    <a:pt x="972" y="810"/>
                  </a:lnTo>
                  <a:lnTo>
                    <a:pt x="978" y="804"/>
                  </a:lnTo>
                  <a:lnTo>
                    <a:pt x="996" y="798"/>
                  </a:lnTo>
                  <a:lnTo>
                    <a:pt x="996" y="792"/>
                  </a:lnTo>
                  <a:lnTo>
                    <a:pt x="1014" y="780"/>
                  </a:lnTo>
                  <a:lnTo>
                    <a:pt x="1026" y="768"/>
                  </a:lnTo>
                  <a:lnTo>
                    <a:pt x="1032" y="762"/>
                  </a:lnTo>
                  <a:lnTo>
                    <a:pt x="1026" y="756"/>
                  </a:lnTo>
                  <a:lnTo>
                    <a:pt x="1014" y="744"/>
                  </a:lnTo>
                  <a:lnTo>
                    <a:pt x="996" y="756"/>
                  </a:lnTo>
                  <a:lnTo>
                    <a:pt x="954" y="768"/>
                  </a:lnTo>
                  <a:lnTo>
                    <a:pt x="942" y="762"/>
                  </a:lnTo>
                  <a:lnTo>
                    <a:pt x="942" y="756"/>
                  </a:lnTo>
                  <a:lnTo>
                    <a:pt x="936" y="750"/>
                  </a:lnTo>
                  <a:lnTo>
                    <a:pt x="846" y="732"/>
                  </a:lnTo>
                  <a:lnTo>
                    <a:pt x="822" y="726"/>
                  </a:lnTo>
                  <a:lnTo>
                    <a:pt x="810" y="714"/>
                  </a:lnTo>
                  <a:lnTo>
                    <a:pt x="792" y="690"/>
                  </a:lnTo>
                  <a:lnTo>
                    <a:pt x="792" y="678"/>
                  </a:lnTo>
                  <a:lnTo>
                    <a:pt x="762" y="642"/>
                  </a:lnTo>
                  <a:lnTo>
                    <a:pt x="750" y="636"/>
                  </a:lnTo>
                  <a:lnTo>
                    <a:pt x="726" y="630"/>
                  </a:lnTo>
                  <a:lnTo>
                    <a:pt x="696" y="642"/>
                  </a:lnTo>
                  <a:lnTo>
                    <a:pt x="678" y="654"/>
                  </a:lnTo>
                  <a:lnTo>
                    <a:pt x="666" y="684"/>
                  </a:lnTo>
                  <a:lnTo>
                    <a:pt x="660" y="726"/>
                  </a:lnTo>
                  <a:lnTo>
                    <a:pt x="606" y="756"/>
                  </a:lnTo>
                  <a:lnTo>
                    <a:pt x="558" y="780"/>
                  </a:lnTo>
                  <a:lnTo>
                    <a:pt x="438" y="834"/>
                  </a:lnTo>
                  <a:lnTo>
                    <a:pt x="402" y="846"/>
                  </a:lnTo>
                  <a:lnTo>
                    <a:pt x="372" y="870"/>
                  </a:lnTo>
                  <a:lnTo>
                    <a:pt x="360" y="876"/>
                  </a:lnTo>
                  <a:lnTo>
                    <a:pt x="354" y="876"/>
                  </a:lnTo>
                  <a:lnTo>
                    <a:pt x="330" y="882"/>
                  </a:lnTo>
                  <a:lnTo>
                    <a:pt x="306" y="882"/>
                  </a:lnTo>
                  <a:lnTo>
                    <a:pt x="300" y="876"/>
                  </a:lnTo>
                  <a:lnTo>
                    <a:pt x="294" y="876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76" y="864"/>
                  </a:lnTo>
                  <a:lnTo>
                    <a:pt x="270" y="870"/>
                  </a:lnTo>
                  <a:lnTo>
                    <a:pt x="264" y="870"/>
                  </a:lnTo>
                  <a:lnTo>
                    <a:pt x="240" y="894"/>
                  </a:lnTo>
                  <a:lnTo>
                    <a:pt x="234" y="894"/>
                  </a:lnTo>
                  <a:lnTo>
                    <a:pt x="228" y="900"/>
                  </a:lnTo>
                  <a:lnTo>
                    <a:pt x="222" y="906"/>
                  </a:lnTo>
                  <a:lnTo>
                    <a:pt x="210" y="912"/>
                  </a:lnTo>
                  <a:lnTo>
                    <a:pt x="204" y="912"/>
                  </a:lnTo>
                  <a:lnTo>
                    <a:pt x="198" y="912"/>
                  </a:lnTo>
                  <a:lnTo>
                    <a:pt x="192" y="918"/>
                  </a:lnTo>
                  <a:lnTo>
                    <a:pt x="180" y="918"/>
                  </a:lnTo>
                  <a:lnTo>
                    <a:pt x="174" y="930"/>
                  </a:lnTo>
                  <a:lnTo>
                    <a:pt x="174" y="936"/>
                  </a:lnTo>
                  <a:lnTo>
                    <a:pt x="168" y="942"/>
                  </a:lnTo>
                  <a:lnTo>
                    <a:pt x="162" y="942"/>
                  </a:lnTo>
                  <a:lnTo>
                    <a:pt x="150" y="960"/>
                  </a:lnTo>
                  <a:lnTo>
                    <a:pt x="144" y="966"/>
                  </a:lnTo>
                  <a:lnTo>
                    <a:pt x="138" y="972"/>
                  </a:lnTo>
                  <a:lnTo>
                    <a:pt x="132" y="972"/>
                  </a:lnTo>
                  <a:lnTo>
                    <a:pt x="126" y="984"/>
                  </a:lnTo>
                  <a:lnTo>
                    <a:pt x="120" y="984"/>
                  </a:lnTo>
                  <a:lnTo>
                    <a:pt x="114" y="990"/>
                  </a:lnTo>
                  <a:lnTo>
                    <a:pt x="96" y="990"/>
                  </a:lnTo>
                  <a:lnTo>
                    <a:pt x="90" y="990"/>
                  </a:lnTo>
                  <a:lnTo>
                    <a:pt x="78" y="990"/>
                  </a:lnTo>
                  <a:lnTo>
                    <a:pt x="72" y="990"/>
                  </a:lnTo>
                  <a:lnTo>
                    <a:pt x="60" y="990"/>
                  </a:lnTo>
                  <a:lnTo>
                    <a:pt x="42" y="990"/>
                  </a:lnTo>
                  <a:lnTo>
                    <a:pt x="36" y="996"/>
                  </a:lnTo>
                  <a:lnTo>
                    <a:pt x="30" y="1002"/>
                  </a:lnTo>
                  <a:lnTo>
                    <a:pt x="24" y="1014"/>
                  </a:lnTo>
                  <a:lnTo>
                    <a:pt x="24" y="1020"/>
                  </a:lnTo>
                  <a:lnTo>
                    <a:pt x="18" y="1020"/>
                  </a:lnTo>
                  <a:lnTo>
                    <a:pt x="12" y="1014"/>
                  </a:lnTo>
                  <a:lnTo>
                    <a:pt x="12" y="1008"/>
                  </a:lnTo>
                  <a:lnTo>
                    <a:pt x="12" y="990"/>
                  </a:lnTo>
                  <a:lnTo>
                    <a:pt x="12" y="984"/>
                  </a:lnTo>
                  <a:lnTo>
                    <a:pt x="12" y="972"/>
                  </a:lnTo>
                  <a:lnTo>
                    <a:pt x="12" y="966"/>
                  </a:lnTo>
                  <a:lnTo>
                    <a:pt x="6" y="966"/>
                  </a:lnTo>
                  <a:lnTo>
                    <a:pt x="6" y="960"/>
                  </a:lnTo>
                  <a:lnTo>
                    <a:pt x="6" y="954"/>
                  </a:lnTo>
                  <a:lnTo>
                    <a:pt x="6" y="948"/>
                  </a:lnTo>
                  <a:lnTo>
                    <a:pt x="6" y="942"/>
                  </a:lnTo>
                  <a:lnTo>
                    <a:pt x="12" y="930"/>
                  </a:lnTo>
                  <a:lnTo>
                    <a:pt x="6" y="924"/>
                  </a:lnTo>
                  <a:lnTo>
                    <a:pt x="6" y="918"/>
                  </a:lnTo>
                  <a:lnTo>
                    <a:pt x="6" y="912"/>
                  </a:lnTo>
                  <a:lnTo>
                    <a:pt x="6" y="906"/>
                  </a:lnTo>
                  <a:lnTo>
                    <a:pt x="6" y="900"/>
                  </a:lnTo>
                  <a:lnTo>
                    <a:pt x="0" y="894"/>
                  </a:lnTo>
                  <a:lnTo>
                    <a:pt x="0" y="888"/>
                  </a:lnTo>
                  <a:lnTo>
                    <a:pt x="0" y="882"/>
                  </a:lnTo>
                  <a:lnTo>
                    <a:pt x="6" y="876"/>
                  </a:lnTo>
                  <a:lnTo>
                    <a:pt x="6" y="870"/>
                  </a:lnTo>
                  <a:lnTo>
                    <a:pt x="18" y="864"/>
                  </a:lnTo>
                  <a:lnTo>
                    <a:pt x="18" y="858"/>
                  </a:lnTo>
                  <a:lnTo>
                    <a:pt x="18" y="846"/>
                  </a:lnTo>
                  <a:lnTo>
                    <a:pt x="18" y="834"/>
                  </a:lnTo>
                  <a:lnTo>
                    <a:pt x="18" y="828"/>
                  </a:lnTo>
                  <a:lnTo>
                    <a:pt x="24" y="828"/>
                  </a:lnTo>
                  <a:lnTo>
                    <a:pt x="24" y="810"/>
                  </a:lnTo>
                  <a:lnTo>
                    <a:pt x="24" y="804"/>
                  </a:lnTo>
                  <a:lnTo>
                    <a:pt x="18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24" y="792"/>
                  </a:lnTo>
                  <a:lnTo>
                    <a:pt x="30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6" y="762"/>
                  </a:lnTo>
                  <a:lnTo>
                    <a:pt x="36" y="756"/>
                  </a:lnTo>
                  <a:lnTo>
                    <a:pt x="30" y="756"/>
                  </a:lnTo>
                  <a:lnTo>
                    <a:pt x="30" y="750"/>
                  </a:lnTo>
                  <a:lnTo>
                    <a:pt x="36" y="750"/>
                  </a:lnTo>
                  <a:lnTo>
                    <a:pt x="36" y="744"/>
                  </a:lnTo>
                  <a:lnTo>
                    <a:pt x="30" y="744"/>
                  </a:lnTo>
                  <a:lnTo>
                    <a:pt x="30" y="738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0" y="732"/>
                  </a:lnTo>
                  <a:lnTo>
                    <a:pt x="36" y="726"/>
                  </a:lnTo>
                  <a:lnTo>
                    <a:pt x="30" y="726"/>
                  </a:lnTo>
                  <a:lnTo>
                    <a:pt x="24" y="726"/>
                  </a:lnTo>
                  <a:lnTo>
                    <a:pt x="30" y="720"/>
                  </a:lnTo>
                  <a:lnTo>
                    <a:pt x="30" y="714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696"/>
                  </a:lnTo>
                  <a:lnTo>
                    <a:pt x="66" y="702"/>
                  </a:lnTo>
                  <a:lnTo>
                    <a:pt x="78" y="702"/>
                  </a:lnTo>
                  <a:lnTo>
                    <a:pt x="84" y="702"/>
                  </a:lnTo>
                  <a:lnTo>
                    <a:pt x="96" y="696"/>
                  </a:lnTo>
                  <a:lnTo>
                    <a:pt x="102" y="690"/>
                  </a:lnTo>
                  <a:lnTo>
                    <a:pt x="102" y="684"/>
                  </a:lnTo>
                  <a:lnTo>
                    <a:pt x="114" y="684"/>
                  </a:lnTo>
                  <a:lnTo>
                    <a:pt x="144" y="684"/>
                  </a:lnTo>
                  <a:lnTo>
                    <a:pt x="150" y="690"/>
                  </a:lnTo>
                  <a:lnTo>
                    <a:pt x="162" y="696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6" y="690"/>
                  </a:lnTo>
                  <a:lnTo>
                    <a:pt x="192" y="690"/>
                  </a:lnTo>
                  <a:lnTo>
                    <a:pt x="198" y="684"/>
                  </a:lnTo>
                  <a:lnTo>
                    <a:pt x="204" y="684"/>
                  </a:lnTo>
                  <a:lnTo>
                    <a:pt x="210" y="684"/>
                  </a:lnTo>
                  <a:lnTo>
                    <a:pt x="222" y="678"/>
                  </a:lnTo>
                  <a:lnTo>
                    <a:pt x="228" y="678"/>
                  </a:lnTo>
                  <a:lnTo>
                    <a:pt x="228" y="660"/>
                  </a:lnTo>
                  <a:lnTo>
                    <a:pt x="234" y="642"/>
                  </a:lnTo>
                  <a:lnTo>
                    <a:pt x="246" y="618"/>
                  </a:lnTo>
                  <a:lnTo>
                    <a:pt x="252" y="618"/>
                  </a:lnTo>
                  <a:lnTo>
                    <a:pt x="252" y="600"/>
                  </a:lnTo>
                  <a:lnTo>
                    <a:pt x="252" y="588"/>
                  </a:lnTo>
                  <a:lnTo>
                    <a:pt x="252" y="582"/>
                  </a:lnTo>
                  <a:lnTo>
                    <a:pt x="258" y="576"/>
                  </a:lnTo>
                  <a:lnTo>
                    <a:pt x="270" y="564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70" y="522"/>
                  </a:lnTo>
                  <a:lnTo>
                    <a:pt x="270" y="510"/>
                  </a:lnTo>
                  <a:lnTo>
                    <a:pt x="270" y="498"/>
                  </a:lnTo>
                  <a:lnTo>
                    <a:pt x="258" y="468"/>
                  </a:lnTo>
                  <a:lnTo>
                    <a:pt x="252" y="456"/>
                  </a:lnTo>
                  <a:lnTo>
                    <a:pt x="258" y="444"/>
                  </a:lnTo>
                  <a:lnTo>
                    <a:pt x="264" y="432"/>
                  </a:lnTo>
                  <a:lnTo>
                    <a:pt x="270" y="426"/>
                  </a:lnTo>
                  <a:lnTo>
                    <a:pt x="276" y="420"/>
                  </a:lnTo>
                  <a:lnTo>
                    <a:pt x="288" y="420"/>
                  </a:lnTo>
                  <a:lnTo>
                    <a:pt x="288" y="414"/>
                  </a:lnTo>
                  <a:lnTo>
                    <a:pt x="294" y="414"/>
                  </a:lnTo>
                  <a:lnTo>
                    <a:pt x="306" y="390"/>
                  </a:lnTo>
                  <a:lnTo>
                    <a:pt x="312" y="384"/>
                  </a:lnTo>
                  <a:lnTo>
                    <a:pt x="318" y="378"/>
                  </a:lnTo>
                  <a:lnTo>
                    <a:pt x="318" y="372"/>
                  </a:lnTo>
                  <a:lnTo>
                    <a:pt x="324" y="366"/>
                  </a:lnTo>
                  <a:lnTo>
                    <a:pt x="330" y="354"/>
                  </a:lnTo>
                  <a:lnTo>
                    <a:pt x="336" y="348"/>
                  </a:lnTo>
                  <a:lnTo>
                    <a:pt x="336" y="330"/>
                  </a:lnTo>
                  <a:lnTo>
                    <a:pt x="342" y="324"/>
                  </a:lnTo>
                  <a:lnTo>
                    <a:pt x="342" y="318"/>
                  </a:lnTo>
                  <a:lnTo>
                    <a:pt x="348" y="318"/>
                  </a:lnTo>
                  <a:lnTo>
                    <a:pt x="360" y="318"/>
                  </a:lnTo>
                  <a:lnTo>
                    <a:pt x="372" y="318"/>
                  </a:lnTo>
                  <a:lnTo>
                    <a:pt x="384" y="306"/>
                  </a:lnTo>
                  <a:lnTo>
                    <a:pt x="396" y="300"/>
                  </a:lnTo>
                  <a:lnTo>
                    <a:pt x="396" y="294"/>
                  </a:lnTo>
                  <a:lnTo>
                    <a:pt x="396" y="288"/>
                  </a:lnTo>
                  <a:lnTo>
                    <a:pt x="390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2"/>
                  </a:lnTo>
                  <a:lnTo>
                    <a:pt x="378" y="246"/>
                  </a:lnTo>
                  <a:lnTo>
                    <a:pt x="384" y="228"/>
                  </a:lnTo>
                  <a:lnTo>
                    <a:pt x="390" y="216"/>
                  </a:lnTo>
                  <a:lnTo>
                    <a:pt x="402" y="210"/>
                  </a:lnTo>
                  <a:lnTo>
                    <a:pt x="408" y="210"/>
                  </a:lnTo>
                  <a:lnTo>
                    <a:pt x="420" y="204"/>
                  </a:lnTo>
                  <a:lnTo>
                    <a:pt x="444" y="198"/>
                  </a:lnTo>
                  <a:lnTo>
                    <a:pt x="462" y="192"/>
                  </a:lnTo>
                  <a:lnTo>
                    <a:pt x="474" y="186"/>
                  </a:lnTo>
                  <a:lnTo>
                    <a:pt x="480" y="192"/>
                  </a:lnTo>
                  <a:lnTo>
                    <a:pt x="492" y="192"/>
                  </a:lnTo>
                  <a:lnTo>
                    <a:pt x="498" y="192"/>
                  </a:lnTo>
                  <a:lnTo>
                    <a:pt x="504" y="192"/>
                  </a:lnTo>
                  <a:lnTo>
                    <a:pt x="510" y="192"/>
                  </a:lnTo>
                  <a:lnTo>
                    <a:pt x="516" y="186"/>
                  </a:lnTo>
                  <a:lnTo>
                    <a:pt x="522" y="180"/>
                  </a:lnTo>
                  <a:lnTo>
                    <a:pt x="522" y="174"/>
                  </a:lnTo>
                  <a:lnTo>
                    <a:pt x="528" y="168"/>
                  </a:lnTo>
                  <a:lnTo>
                    <a:pt x="534" y="168"/>
                  </a:lnTo>
                  <a:lnTo>
                    <a:pt x="534" y="156"/>
                  </a:lnTo>
                  <a:lnTo>
                    <a:pt x="534" y="150"/>
                  </a:lnTo>
                  <a:lnTo>
                    <a:pt x="552" y="138"/>
                  </a:lnTo>
                  <a:lnTo>
                    <a:pt x="558" y="126"/>
                  </a:lnTo>
                  <a:lnTo>
                    <a:pt x="558" y="114"/>
                  </a:lnTo>
                  <a:lnTo>
                    <a:pt x="564" y="102"/>
                  </a:lnTo>
                  <a:lnTo>
                    <a:pt x="564" y="96"/>
                  </a:lnTo>
                  <a:lnTo>
                    <a:pt x="564" y="90"/>
                  </a:lnTo>
                  <a:lnTo>
                    <a:pt x="564" y="72"/>
                  </a:lnTo>
                  <a:lnTo>
                    <a:pt x="564" y="60"/>
                  </a:lnTo>
                  <a:lnTo>
                    <a:pt x="564" y="54"/>
                  </a:lnTo>
                  <a:lnTo>
                    <a:pt x="570" y="42"/>
                  </a:lnTo>
                  <a:lnTo>
                    <a:pt x="576" y="42"/>
                  </a:lnTo>
                  <a:lnTo>
                    <a:pt x="582" y="36"/>
                  </a:lnTo>
                  <a:lnTo>
                    <a:pt x="594" y="36"/>
                  </a:lnTo>
                  <a:lnTo>
                    <a:pt x="594" y="30"/>
                  </a:lnTo>
                  <a:lnTo>
                    <a:pt x="600" y="24"/>
                  </a:lnTo>
                  <a:lnTo>
                    <a:pt x="600" y="12"/>
                  </a:lnTo>
                  <a:lnTo>
                    <a:pt x="606" y="6"/>
                  </a:lnTo>
                  <a:lnTo>
                    <a:pt x="606" y="0"/>
                  </a:lnTo>
                  <a:lnTo>
                    <a:pt x="612" y="0"/>
                  </a:lnTo>
                  <a:lnTo>
                    <a:pt x="618" y="0"/>
                  </a:lnTo>
                  <a:lnTo>
                    <a:pt x="624" y="6"/>
                  </a:lnTo>
                  <a:lnTo>
                    <a:pt x="624" y="12"/>
                  </a:lnTo>
                  <a:lnTo>
                    <a:pt x="624" y="18"/>
                  </a:lnTo>
                  <a:lnTo>
                    <a:pt x="624" y="24"/>
                  </a:lnTo>
                  <a:lnTo>
                    <a:pt x="624" y="30"/>
                  </a:lnTo>
                  <a:lnTo>
                    <a:pt x="630" y="30"/>
                  </a:lnTo>
                  <a:lnTo>
                    <a:pt x="630" y="36"/>
                  </a:lnTo>
                  <a:lnTo>
                    <a:pt x="630" y="42"/>
                  </a:lnTo>
                  <a:lnTo>
                    <a:pt x="630" y="48"/>
                  </a:lnTo>
                  <a:lnTo>
                    <a:pt x="636" y="54"/>
                  </a:lnTo>
                  <a:lnTo>
                    <a:pt x="642" y="48"/>
                  </a:lnTo>
                  <a:lnTo>
                    <a:pt x="648" y="48"/>
                  </a:lnTo>
                  <a:lnTo>
                    <a:pt x="648" y="60"/>
                  </a:lnTo>
                  <a:lnTo>
                    <a:pt x="654" y="66"/>
                  </a:lnTo>
                  <a:lnTo>
                    <a:pt x="660" y="72"/>
                  </a:lnTo>
                  <a:lnTo>
                    <a:pt x="666" y="72"/>
                  </a:lnTo>
                  <a:lnTo>
                    <a:pt x="666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72" y="66"/>
                  </a:lnTo>
                  <a:lnTo>
                    <a:pt x="678" y="66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6" y="66"/>
                  </a:lnTo>
                  <a:lnTo>
                    <a:pt x="696" y="72"/>
                  </a:lnTo>
                  <a:lnTo>
                    <a:pt x="702" y="72"/>
                  </a:lnTo>
                  <a:lnTo>
                    <a:pt x="708" y="72"/>
                  </a:lnTo>
                  <a:lnTo>
                    <a:pt x="720" y="66"/>
                  </a:lnTo>
                  <a:lnTo>
                    <a:pt x="726" y="78"/>
                  </a:lnTo>
                  <a:lnTo>
                    <a:pt x="744" y="84"/>
                  </a:lnTo>
                  <a:lnTo>
                    <a:pt x="744" y="90"/>
                  </a:lnTo>
                  <a:lnTo>
                    <a:pt x="744" y="96"/>
                  </a:lnTo>
                  <a:lnTo>
                    <a:pt x="738" y="96"/>
                  </a:lnTo>
                  <a:lnTo>
                    <a:pt x="738" y="102"/>
                  </a:lnTo>
                  <a:lnTo>
                    <a:pt x="732" y="102"/>
                  </a:lnTo>
                  <a:lnTo>
                    <a:pt x="732" y="108"/>
                  </a:lnTo>
                  <a:lnTo>
                    <a:pt x="738" y="108"/>
                  </a:lnTo>
                  <a:lnTo>
                    <a:pt x="744" y="114"/>
                  </a:lnTo>
                  <a:lnTo>
                    <a:pt x="750" y="108"/>
                  </a:lnTo>
                  <a:lnTo>
                    <a:pt x="756" y="108"/>
                  </a:lnTo>
                  <a:lnTo>
                    <a:pt x="762" y="108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80" y="120"/>
                  </a:lnTo>
                  <a:lnTo>
                    <a:pt x="774" y="120"/>
                  </a:lnTo>
                  <a:lnTo>
                    <a:pt x="768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74" y="138"/>
                  </a:lnTo>
                  <a:lnTo>
                    <a:pt x="774" y="132"/>
                  </a:lnTo>
                  <a:lnTo>
                    <a:pt x="780" y="132"/>
                  </a:lnTo>
                  <a:lnTo>
                    <a:pt x="786" y="132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44"/>
                  </a:lnTo>
                  <a:lnTo>
                    <a:pt x="786" y="150"/>
                  </a:lnTo>
                  <a:lnTo>
                    <a:pt x="780" y="150"/>
                  </a:lnTo>
                  <a:lnTo>
                    <a:pt x="774" y="150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74" y="162"/>
                  </a:lnTo>
                  <a:lnTo>
                    <a:pt x="780" y="162"/>
                  </a:lnTo>
                  <a:lnTo>
                    <a:pt x="786" y="168"/>
                  </a:lnTo>
                  <a:lnTo>
                    <a:pt x="792" y="162"/>
                  </a:lnTo>
                  <a:lnTo>
                    <a:pt x="798" y="168"/>
                  </a:lnTo>
                  <a:lnTo>
                    <a:pt x="798" y="174"/>
                  </a:lnTo>
                  <a:lnTo>
                    <a:pt x="804" y="168"/>
                  </a:lnTo>
                  <a:lnTo>
                    <a:pt x="810" y="168"/>
                  </a:lnTo>
                  <a:lnTo>
                    <a:pt x="810" y="174"/>
                  </a:lnTo>
                  <a:lnTo>
                    <a:pt x="816" y="168"/>
                  </a:lnTo>
                  <a:lnTo>
                    <a:pt x="822" y="162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74"/>
                  </a:lnTo>
                  <a:lnTo>
                    <a:pt x="834" y="192"/>
                  </a:lnTo>
                  <a:lnTo>
                    <a:pt x="834" y="198"/>
                  </a:lnTo>
                  <a:lnTo>
                    <a:pt x="840" y="192"/>
                  </a:lnTo>
                  <a:lnTo>
                    <a:pt x="846" y="192"/>
                  </a:lnTo>
                  <a:lnTo>
                    <a:pt x="852" y="186"/>
                  </a:lnTo>
                  <a:lnTo>
                    <a:pt x="858" y="192"/>
                  </a:lnTo>
                  <a:lnTo>
                    <a:pt x="864" y="192"/>
                  </a:lnTo>
                  <a:lnTo>
                    <a:pt x="870" y="198"/>
                  </a:lnTo>
                  <a:lnTo>
                    <a:pt x="876" y="180"/>
                  </a:lnTo>
                  <a:lnTo>
                    <a:pt x="882" y="180"/>
                  </a:lnTo>
                  <a:lnTo>
                    <a:pt x="888" y="180"/>
                  </a:lnTo>
                  <a:lnTo>
                    <a:pt x="894" y="186"/>
                  </a:lnTo>
                  <a:lnTo>
                    <a:pt x="888" y="198"/>
                  </a:lnTo>
                  <a:lnTo>
                    <a:pt x="894" y="204"/>
                  </a:lnTo>
                  <a:lnTo>
                    <a:pt x="906" y="210"/>
                  </a:lnTo>
                  <a:lnTo>
                    <a:pt x="918" y="246"/>
                  </a:lnTo>
                  <a:lnTo>
                    <a:pt x="930" y="258"/>
                  </a:lnTo>
                  <a:lnTo>
                    <a:pt x="942" y="282"/>
                  </a:lnTo>
                  <a:lnTo>
                    <a:pt x="966" y="288"/>
                  </a:lnTo>
                  <a:lnTo>
                    <a:pt x="972" y="300"/>
                  </a:lnTo>
                  <a:lnTo>
                    <a:pt x="972" y="318"/>
                  </a:lnTo>
                  <a:lnTo>
                    <a:pt x="996" y="336"/>
                  </a:lnTo>
                  <a:lnTo>
                    <a:pt x="1050" y="390"/>
                  </a:lnTo>
                  <a:lnTo>
                    <a:pt x="1116" y="462"/>
                  </a:lnTo>
                  <a:lnTo>
                    <a:pt x="1122" y="468"/>
                  </a:lnTo>
                  <a:lnTo>
                    <a:pt x="1128" y="474"/>
                  </a:lnTo>
                  <a:lnTo>
                    <a:pt x="1140" y="474"/>
                  </a:lnTo>
                  <a:lnTo>
                    <a:pt x="1152" y="486"/>
                  </a:lnTo>
                  <a:lnTo>
                    <a:pt x="1152" y="492"/>
                  </a:lnTo>
                  <a:lnTo>
                    <a:pt x="1158" y="492"/>
                  </a:lnTo>
                  <a:lnTo>
                    <a:pt x="1164" y="492"/>
                  </a:lnTo>
                  <a:lnTo>
                    <a:pt x="1170" y="504"/>
                  </a:lnTo>
                  <a:lnTo>
                    <a:pt x="1176" y="504"/>
                  </a:lnTo>
                  <a:lnTo>
                    <a:pt x="1176" y="510"/>
                  </a:lnTo>
                  <a:lnTo>
                    <a:pt x="1200" y="516"/>
                  </a:lnTo>
                  <a:lnTo>
                    <a:pt x="1200" y="522"/>
                  </a:lnTo>
                  <a:lnTo>
                    <a:pt x="1212" y="534"/>
                  </a:lnTo>
                  <a:lnTo>
                    <a:pt x="1218" y="540"/>
                  </a:lnTo>
                  <a:lnTo>
                    <a:pt x="1224" y="552"/>
                  </a:lnTo>
                  <a:lnTo>
                    <a:pt x="1230" y="552"/>
                  </a:lnTo>
                  <a:lnTo>
                    <a:pt x="1242" y="552"/>
                  </a:lnTo>
                  <a:lnTo>
                    <a:pt x="1248" y="558"/>
                  </a:lnTo>
                  <a:lnTo>
                    <a:pt x="1254" y="558"/>
                  </a:lnTo>
                  <a:lnTo>
                    <a:pt x="1260" y="564"/>
                  </a:lnTo>
                  <a:lnTo>
                    <a:pt x="1266" y="564"/>
                  </a:lnTo>
                  <a:lnTo>
                    <a:pt x="1272" y="564"/>
                  </a:lnTo>
                  <a:lnTo>
                    <a:pt x="1284" y="564"/>
                  </a:lnTo>
                  <a:lnTo>
                    <a:pt x="1290" y="570"/>
                  </a:lnTo>
                  <a:lnTo>
                    <a:pt x="1296" y="576"/>
                  </a:lnTo>
                  <a:lnTo>
                    <a:pt x="1302" y="588"/>
                  </a:lnTo>
                  <a:lnTo>
                    <a:pt x="1296" y="594"/>
                  </a:lnTo>
                  <a:lnTo>
                    <a:pt x="1296" y="600"/>
                  </a:lnTo>
                  <a:lnTo>
                    <a:pt x="1296" y="606"/>
                  </a:lnTo>
                  <a:lnTo>
                    <a:pt x="1290" y="612"/>
                  </a:lnTo>
                  <a:lnTo>
                    <a:pt x="1290" y="624"/>
                  </a:lnTo>
                  <a:lnTo>
                    <a:pt x="1290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308" y="654"/>
                  </a:lnTo>
                  <a:lnTo>
                    <a:pt x="1320" y="654"/>
                  </a:lnTo>
                  <a:lnTo>
                    <a:pt x="1326" y="660"/>
                  </a:lnTo>
                  <a:lnTo>
                    <a:pt x="1338" y="654"/>
                  </a:lnTo>
                  <a:lnTo>
                    <a:pt x="1344" y="654"/>
                  </a:lnTo>
                  <a:lnTo>
                    <a:pt x="1356" y="654"/>
                  </a:lnTo>
                  <a:lnTo>
                    <a:pt x="1362" y="648"/>
                  </a:lnTo>
                  <a:lnTo>
                    <a:pt x="1368" y="642"/>
                  </a:lnTo>
                  <a:lnTo>
                    <a:pt x="1374" y="636"/>
                  </a:lnTo>
                  <a:lnTo>
                    <a:pt x="1380" y="636"/>
                  </a:lnTo>
                  <a:lnTo>
                    <a:pt x="1392" y="636"/>
                  </a:lnTo>
                  <a:lnTo>
                    <a:pt x="1398" y="636"/>
                  </a:lnTo>
                  <a:lnTo>
                    <a:pt x="1404" y="636"/>
                  </a:lnTo>
                  <a:lnTo>
                    <a:pt x="1410" y="630"/>
                  </a:lnTo>
                  <a:lnTo>
                    <a:pt x="1410" y="624"/>
                  </a:lnTo>
                  <a:lnTo>
                    <a:pt x="1422" y="618"/>
                  </a:lnTo>
                  <a:lnTo>
                    <a:pt x="1428" y="618"/>
                  </a:lnTo>
                  <a:lnTo>
                    <a:pt x="1440" y="612"/>
                  </a:lnTo>
                  <a:lnTo>
                    <a:pt x="1446" y="612"/>
                  </a:lnTo>
                  <a:lnTo>
                    <a:pt x="1458" y="612"/>
                  </a:lnTo>
                  <a:lnTo>
                    <a:pt x="1470" y="624"/>
                  </a:lnTo>
                  <a:lnTo>
                    <a:pt x="1488" y="642"/>
                  </a:lnTo>
                  <a:lnTo>
                    <a:pt x="1500" y="648"/>
                  </a:lnTo>
                  <a:lnTo>
                    <a:pt x="1512" y="654"/>
                  </a:lnTo>
                  <a:lnTo>
                    <a:pt x="1518" y="660"/>
                  </a:lnTo>
                  <a:lnTo>
                    <a:pt x="1524" y="660"/>
                  </a:lnTo>
                  <a:lnTo>
                    <a:pt x="1530" y="660"/>
                  </a:lnTo>
                  <a:lnTo>
                    <a:pt x="1536" y="666"/>
                  </a:lnTo>
                  <a:lnTo>
                    <a:pt x="1542" y="672"/>
                  </a:lnTo>
                  <a:lnTo>
                    <a:pt x="1548" y="672"/>
                  </a:lnTo>
                  <a:lnTo>
                    <a:pt x="1554" y="684"/>
                  </a:lnTo>
                  <a:lnTo>
                    <a:pt x="1554" y="690"/>
                  </a:lnTo>
                  <a:lnTo>
                    <a:pt x="1566" y="702"/>
                  </a:lnTo>
                  <a:lnTo>
                    <a:pt x="1572" y="720"/>
                  </a:lnTo>
                  <a:lnTo>
                    <a:pt x="1572" y="726"/>
                  </a:lnTo>
                  <a:lnTo>
                    <a:pt x="1578" y="732"/>
                  </a:lnTo>
                  <a:lnTo>
                    <a:pt x="1584" y="738"/>
                  </a:lnTo>
                  <a:lnTo>
                    <a:pt x="1590" y="738"/>
                  </a:lnTo>
                  <a:lnTo>
                    <a:pt x="1596" y="738"/>
                  </a:lnTo>
                  <a:lnTo>
                    <a:pt x="1602" y="744"/>
                  </a:lnTo>
                  <a:lnTo>
                    <a:pt x="1608" y="744"/>
                  </a:lnTo>
                  <a:lnTo>
                    <a:pt x="1614" y="744"/>
                  </a:lnTo>
                  <a:lnTo>
                    <a:pt x="1626" y="744"/>
                  </a:lnTo>
                  <a:lnTo>
                    <a:pt x="1638" y="744"/>
                  </a:lnTo>
                  <a:lnTo>
                    <a:pt x="1650" y="744"/>
                  </a:lnTo>
                  <a:lnTo>
                    <a:pt x="1662" y="744"/>
                  </a:lnTo>
                  <a:lnTo>
                    <a:pt x="1668" y="744"/>
                  </a:lnTo>
                  <a:lnTo>
                    <a:pt x="1674" y="744"/>
                  </a:lnTo>
                  <a:lnTo>
                    <a:pt x="1686" y="744"/>
                  </a:lnTo>
                  <a:lnTo>
                    <a:pt x="1698" y="750"/>
                  </a:lnTo>
                  <a:lnTo>
                    <a:pt x="1704" y="750"/>
                  </a:lnTo>
                  <a:lnTo>
                    <a:pt x="1716" y="756"/>
                  </a:lnTo>
                  <a:lnTo>
                    <a:pt x="1722" y="756"/>
                  </a:lnTo>
                  <a:lnTo>
                    <a:pt x="1728" y="756"/>
                  </a:lnTo>
                  <a:lnTo>
                    <a:pt x="1734" y="762"/>
                  </a:lnTo>
                  <a:lnTo>
                    <a:pt x="1740" y="768"/>
                  </a:lnTo>
                  <a:lnTo>
                    <a:pt x="1758" y="780"/>
                  </a:lnTo>
                  <a:lnTo>
                    <a:pt x="1770" y="780"/>
                  </a:lnTo>
                  <a:lnTo>
                    <a:pt x="1776" y="780"/>
                  </a:lnTo>
                  <a:lnTo>
                    <a:pt x="1782" y="780"/>
                  </a:lnTo>
                  <a:lnTo>
                    <a:pt x="1800" y="798"/>
                  </a:lnTo>
                  <a:lnTo>
                    <a:pt x="1818" y="810"/>
                  </a:lnTo>
                  <a:lnTo>
                    <a:pt x="1830" y="816"/>
                  </a:lnTo>
                  <a:lnTo>
                    <a:pt x="1836" y="822"/>
                  </a:lnTo>
                  <a:lnTo>
                    <a:pt x="1836" y="828"/>
                  </a:lnTo>
                  <a:lnTo>
                    <a:pt x="1842" y="828"/>
                  </a:lnTo>
                  <a:lnTo>
                    <a:pt x="1848" y="834"/>
                  </a:lnTo>
                  <a:lnTo>
                    <a:pt x="1854" y="840"/>
                  </a:lnTo>
                  <a:lnTo>
                    <a:pt x="1860" y="846"/>
                  </a:lnTo>
                  <a:lnTo>
                    <a:pt x="1872" y="852"/>
                  </a:lnTo>
                  <a:lnTo>
                    <a:pt x="1884" y="852"/>
                  </a:lnTo>
                  <a:lnTo>
                    <a:pt x="1896" y="852"/>
                  </a:lnTo>
                  <a:lnTo>
                    <a:pt x="1902" y="846"/>
                  </a:lnTo>
                  <a:lnTo>
                    <a:pt x="1908" y="852"/>
                  </a:lnTo>
                  <a:lnTo>
                    <a:pt x="1920" y="858"/>
                  </a:lnTo>
                  <a:lnTo>
                    <a:pt x="1926" y="870"/>
                  </a:lnTo>
                  <a:lnTo>
                    <a:pt x="1938" y="888"/>
                  </a:lnTo>
                  <a:lnTo>
                    <a:pt x="1944" y="900"/>
                  </a:lnTo>
                  <a:lnTo>
                    <a:pt x="1950" y="900"/>
                  </a:lnTo>
                  <a:lnTo>
                    <a:pt x="1962" y="906"/>
                  </a:lnTo>
                  <a:lnTo>
                    <a:pt x="1968" y="906"/>
                  </a:lnTo>
                  <a:lnTo>
                    <a:pt x="1980" y="906"/>
                  </a:lnTo>
                  <a:lnTo>
                    <a:pt x="1998" y="906"/>
                  </a:lnTo>
                  <a:lnTo>
                    <a:pt x="2010" y="900"/>
                  </a:lnTo>
                  <a:lnTo>
                    <a:pt x="2022" y="900"/>
                  </a:lnTo>
                  <a:lnTo>
                    <a:pt x="2028" y="900"/>
                  </a:lnTo>
                  <a:lnTo>
                    <a:pt x="2034" y="906"/>
                  </a:lnTo>
                  <a:lnTo>
                    <a:pt x="2046" y="906"/>
                  </a:lnTo>
                  <a:lnTo>
                    <a:pt x="2052" y="900"/>
                  </a:lnTo>
                  <a:lnTo>
                    <a:pt x="2058" y="900"/>
                  </a:lnTo>
                  <a:lnTo>
                    <a:pt x="2064" y="900"/>
                  </a:lnTo>
                  <a:lnTo>
                    <a:pt x="2070" y="900"/>
                  </a:lnTo>
                  <a:lnTo>
                    <a:pt x="2076" y="900"/>
                  </a:lnTo>
                  <a:lnTo>
                    <a:pt x="2076" y="906"/>
                  </a:lnTo>
                  <a:lnTo>
                    <a:pt x="2088" y="906"/>
                  </a:lnTo>
                  <a:lnTo>
                    <a:pt x="2106" y="900"/>
                  </a:lnTo>
                  <a:lnTo>
                    <a:pt x="2118" y="900"/>
                  </a:lnTo>
                  <a:lnTo>
                    <a:pt x="2130" y="900"/>
                  </a:lnTo>
                  <a:lnTo>
                    <a:pt x="2142" y="900"/>
                  </a:lnTo>
                  <a:lnTo>
                    <a:pt x="2148" y="906"/>
                  </a:lnTo>
                  <a:lnTo>
                    <a:pt x="2154" y="906"/>
                  </a:lnTo>
                  <a:lnTo>
                    <a:pt x="2160" y="906"/>
                  </a:lnTo>
                  <a:lnTo>
                    <a:pt x="2166" y="906"/>
                  </a:lnTo>
                  <a:lnTo>
                    <a:pt x="2178" y="918"/>
                  </a:lnTo>
                  <a:lnTo>
                    <a:pt x="2178" y="924"/>
                  </a:lnTo>
                  <a:lnTo>
                    <a:pt x="2184" y="924"/>
                  </a:lnTo>
                  <a:lnTo>
                    <a:pt x="2190" y="924"/>
                  </a:lnTo>
                  <a:lnTo>
                    <a:pt x="2196" y="924"/>
                  </a:lnTo>
                  <a:lnTo>
                    <a:pt x="2202" y="918"/>
                  </a:lnTo>
                  <a:lnTo>
                    <a:pt x="2208" y="918"/>
                  </a:lnTo>
                  <a:lnTo>
                    <a:pt x="2214" y="918"/>
                  </a:lnTo>
                  <a:lnTo>
                    <a:pt x="2226" y="918"/>
                  </a:lnTo>
                  <a:lnTo>
                    <a:pt x="2220" y="948"/>
                  </a:lnTo>
                  <a:lnTo>
                    <a:pt x="2214" y="972"/>
                  </a:lnTo>
                  <a:lnTo>
                    <a:pt x="2214" y="984"/>
                  </a:lnTo>
                  <a:lnTo>
                    <a:pt x="2208" y="990"/>
                  </a:lnTo>
                  <a:lnTo>
                    <a:pt x="2208" y="996"/>
                  </a:lnTo>
                  <a:lnTo>
                    <a:pt x="2202" y="996"/>
                  </a:lnTo>
                  <a:lnTo>
                    <a:pt x="2196" y="996"/>
                  </a:lnTo>
                  <a:lnTo>
                    <a:pt x="2190" y="1008"/>
                  </a:lnTo>
                  <a:lnTo>
                    <a:pt x="2172" y="1074"/>
                  </a:lnTo>
                  <a:lnTo>
                    <a:pt x="2166" y="1092"/>
                  </a:lnTo>
                  <a:lnTo>
                    <a:pt x="2172" y="1110"/>
                  </a:lnTo>
                  <a:lnTo>
                    <a:pt x="2172" y="1122"/>
                  </a:lnTo>
                  <a:lnTo>
                    <a:pt x="2166" y="1134"/>
                  </a:lnTo>
                  <a:lnTo>
                    <a:pt x="2148" y="1140"/>
                  </a:lnTo>
                  <a:lnTo>
                    <a:pt x="2148" y="1134"/>
                  </a:lnTo>
                  <a:lnTo>
                    <a:pt x="2118" y="1140"/>
                  </a:lnTo>
                  <a:lnTo>
                    <a:pt x="2088" y="1134"/>
                  </a:lnTo>
                  <a:lnTo>
                    <a:pt x="2064" y="1122"/>
                  </a:lnTo>
                  <a:lnTo>
                    <a:pt x="2034" y="1122"/>
                  </a:lnTo>
                  <a:lnTo>
                    <a:pt x="2022" y="1128"/>
                  </a:lnTo>
                  <a:lnTo>
                    <a:pt x="1986" y="1128"/>
                  </a:lnTo>
                  <a:lnTo>
                    <a:pt x="1938" y="1122"/>
                  </a:lnTo>
                  <a:lnTo>
                    <a:pt x="1932" y="1116"/>
                  </a:lnTo>
                  <a:lnTo>
                    <a:pt x="1896" y="1110"/>
                  </a:lnTo>
                  <a:lnTo>
                    <a:pt x="1878" y="1104"/>
                  </a:lnTo>
                  <a:lnTo>
                    <a:pt x="1866" y="1098"/>
                  </a:lnTo>
                  <a:lnTo>
                    <a:pt x="1860" y="1098"/>
                  </a:lnTo>
                  <a:lnTo>
                    <a:pt x="1854" y="1092"/>
                  </a:lnTo>
                  <a:lnTo>
                    <a:pt x="1860" y="1092"/>
                  </a:lnTo>
                  <a:lnTo>
                    <a:pt x="1860" y="1086"/>
                  </a:lnTo>
                  <a:lnTo>
                    <a:pt x="1854" y="1086"/>
                  </a:lnTo>
                  <a:lnTo>
                    <a:pt x="1842" y="1080"/>
                  </a:lnTo>
                  <a:lnTo>
                    <a:pt x="1818" y="1062"/>
                  </a:lnTo>
                  <a:lnTo>
                    <a:pt x="1782" y="1056"/>
                  </a:lnTo>
                  <a:lnTo>
                    <a:pt x="1770" y="1068"/>
                  </a:lnTo>
                  <a:lnTo>
                    <a:pt x="1746" y="1098"/>
                  </a:lnTo>
                  <a:lnTo>
                    <a:pt x="1722" y="1104"/>
                  </a:lnTo>
                  <a:lnTo>
                    <a:pt x="1710" y="1122"/>
                  </a:lnTo>
                  <a:lnTo>
                    <a:pt x="1710" y="1128"/>
                  </a:lnTo>
                  <a:lnTo>
                    <a:pt x="1710" y="1140"/>
                  </a:lnTo>
                  <a:lnTo>
                    <a:pt x="1698" y="1146"/>
                  </a:lnTo>
                  <a:lnTo>
                    <a:pt x="1686" y="1152"/>
                  </a:lnTo>
                  <a:lnTo>
                    <a:pt x="1680" y="1164"/>
                  </a:lnTo>
                  <a:lnTo>
                    <a:pt x="1680" y="1170"/>
                  </a:lnTo>
                  <a:lnTo>
                    <a:pt x="1686" y="1170"/>
                  </a:lnTo>
                  <a:lnTo>
                    <a:pt x="1686" y="1176"/>
                  </a:lnTo>
                  <a:lnTo>
                    <a:pt x="1698" y="1188"/>
                  </a:lnTo>
                  <a:lnTo>
                    <a:pt x="1704" y="1188"/>
                  </a:lnTo>
                  <a:lnTo>
                    <a:pt x="1698" y="1194"/>
                  </a:lnTo>
                  <a:lnTo>
                    <a:pt x="1704" y="1194"/>
                  </a:lnTo>
                  <a:lnTo>
                    <a:pt x="1704" y="1200"/>
                  </a:lnTo>
                  <a:lnTo>
                    <a:pt x="1704" y="1206"/>
                  </a:lnTo>
                  <a:lnTo>
                    <a:pt x="1704" y="1212"/>
                  </a:lnTo>
                  <a:lnTo>
                    <a:pt x="1704" y="1218"/>
                  </a:lnTo>
                  <a:lnTo>
                    <a:pt x="1710" y="1218"/>
                  </a:lnTo>
                  <a:lnTo>
                    <a:pt x="1710" y="1212"/>
                  </a:lnTo>
                  <a:lnTo>
                    <a:pt x="1716" y="1212"/>
                  </a:lnTo>
                  <a:lnTo>
                    <a:pt x="1716" y="1218"/>
                  </a:lnTo>
                  <a:lnTo>
                    <a:pt x="1716" y="1224"/>
                  </a:lnTo>
                  <a:lnTo>
                    <a:pt x="1716" y="1230"/>
                  </a:lnTo>
                  <a:lnTo>
                    <a:pt x="1722" y="1236"/>
                  </a:lnTo>
                  <a:lnTo>
                    <a:pt x="1740" y="1230"/>
                  </a:lnTo>
                  <a:lnTo>
                    <a:pt x="1734" y="1236"/>
                  </a:lnTo>
                  <a:lnTo>
                    <a:pt x="1734" y="1242"/>
                  </a:lnTo>
                  <a:lnTo>
                    <a:pt x="1734" y="1248"/>
                  </a:lnTo>
                  <a:lnTo>
                    <a:pt x="1734" y="1254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52" y="1266"/>
                  </a:lnTo>
                  <a:lnTo>
                    <a:pt x="1764" y="1266"/>
                  </a:lnTo>
                  <a:lnTo>
                    <a:pt x="1788" y="1260"/>
                  </a:lnTo>
                  <a:lnTo>
                    <a:pt x="1800" y="1260"/>
                  </a:lnTo>
                  <a:lnTo>
                    <a:pt x="1806" y="1272"/>
                  </a:lnTo>
                  <a:lnTo>
                    <a:pt x="1806" y="1296"/>
                  </a:lnTo>
                  <a:lnTo>
                    <a:pt x="1800" y="1308"/>
                  </a:lnTo>
                  <a:lnTo>
                    <a:pt x="1788" y="1308"/>
                  </a:lnTo>
                  <a:lnTo>
                    <a:pt x="1782" y="13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7" name="Freeform 32">
              <a:extLst>
                <a:ext uri="{FF2B5EF4-FFF2-40B4-BE49-F238E27FC236}">
                  <a16:creationId xmlns:a16="http://schemas.microsoft.com/office/drawing/2014/main" id="{1EF84438-BF7A-47D2-9156-E231EA2A279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3295" y="2316568"/>
              <a:ext cx="1290281" cy="1084704"/>
            </a:xfrm>
            <a:custGeom>
              <a:avLst/>
              <a:gdLst>
                <a:gd name="T0" fmla="*/ 177 w 2430"/>
                <a:gd name="T1" fmla="*/ 169 h 2040"/>
                <a:gd name="T2" fmla="*/ 174 w 2430"/>
                <a:gd name="T3" fmla="*/ 173 h 2040"/>
                <a:gd name="T4" fmla="*/ 169 w 2430"/>
                <a:gd name="T5" fmla="*/ 171 h 2040"/>
                <a:gd name="T6" fmla="*/ 160 w 2430"/>
                <a:gd name="T7" fmla="*/ 163 h 2040"/>
                <a:gd name="T8" fmla="*/ 154 w 2430"/>
                <a:gd name="T9" fmla="*/ 149 h 2040"/>
                <a:gd name="T10" fmla="*/ 144 w 2430"/>
                <a:gd name="T11" fmla="*/ 147 h 2040"/>
                <a:gd name="T12" fmla="*/ 133 w 2430"/>
                <a:gd name="T13" fmla="*/ 146 h 2040"/>
                <a:gd name="T14" fmla="*/ 121 w 2430"/>
                <a:gd name="T15" fmla="*/ 145 h 2040"/>
                <a:gd name="T16" fmla="*/ 110 w 2430"/>
                <a:gd name="T17" fmla="*/ 137 h 2040"/>
                <a:gd name="T18" fmla="*/ 97 w 2430"/>
                <a:gd name="T19" fmla="*/ 131 h 2040"/>
                <a:gd name="T20" fmla="*/ 87 w 2430"/>
                <a:gd name="T21" fmla="*/ 125 h 2040"/>
                <a:gd name="T22" fmla="*/ 75 w 2430"/>
                <a:gd name="T23" fmla="*/ 122 h 2040"/>
                <a:gd name="T24" fmla="*/ 65 w 2430"/>
                <a:gd name="T25" fmla="*/ 122 h 2040"/>
                <a:gd name="T26" fmla="*/ 59 w 2430"/>
                <a:gd name="T27" fmla="*/ 115 h 2040"/>
                <a:gd name="T28" fmla="*/ 50 w 2430"/>
                <a:gd name="T29" fmla="*/ 107 h 2040"/>
                <a:gd name="T30" fmla="*/ 28 w 2430"/>
                <a:gd name="T31" fmla="*/ 84 h 2040"/>
                <a:gd name="T32" fmla="*/ 22 w 2430"/>
                <a:gd name="T33" fmla="*/ 82 h 2040"/>
                <a:gd name="T34" fmla="*/ 20 w 2430"/>
                <a:gd name="T35" fmla="*/ 79 h 2040"/>
                <a:gd name="T36" fmla="*/ 16 w 2430"/>
                <a:gd name="T37" fmla="*/ 76 h 2040"/>
                <a:gd name="T38" fmla="*/ 11 w 2430"/>
                <a:gd name="T39" fmla="*/ 74 h 2040"/>
                <a:gd name="T40" fmla="*/ 7 w 2430"/>
                <a:gd name="T41" fmla="*/ 69 h 2040"/>
                <a:gd name="T42" fmla="*/ 0 w 2430"/>
                <a:gd name="T43" fmla="*/ 60 h 2040"/>
                <a:gd name="T44" fmla="*/ 10 w 2430"/>
                <a:gd name="T45" fmla="*/ 53 h 2040"/>
                <a:gd name="T46" fmla="*/ 15 w 2430"/>
                <a:gd name="T47" fmla="*/ 40 h 2040"/>
                <a:gd name="T48" fmla="*/ 9 w 2430"/>
                <a:gd name="T49" fmla="*/ 29 h 2040"/>
                <a:gd name="T50" fmla="*/ 7 w 2430"/>
                <a:gd name="T51" fmla="*/ 16 h 2040"/>
                <a:gd name="T52" fmla="*/ 18 w 2430"/>
                <a:gd name="T53" fmla="*/ 21 h 2040"/>
                <a:gd name="T54" fmla="*/ 48 w 2430"/>
                <a:gd name="T55" fmla="*/ 27 h 2040"/>
                <a:gd name="T56" fmla="*/ 62 w 2430"/>
                <a:gd name="T57" fmla="*/ 25 h 2040"/>
                <a:gd name="T58" fmla="*/ 59 w 2430"/>
                <a:gd name="T59" fmla="*/ 42 h 2040"/>
                <a:gd name="T60" fmla="*/ 54 w 2430"/>
                <a:gd name="T61" fmla="*/ 65 h 2040"/>
                <a:gd name="T62" fmla="*/ 65 w 2430"/>
                <a:gd name="T63" fmla="*/ 60 h 2040"/>
                <a:gd name="T64" fmla="*/ 68 w 2430"/>
                <a:gd name="T65" fmla="*/ 40 h 2040"/>
                <a:gd name="T66" fmla="*/ 75 w 2430"/>
                <a:gd name="T67" fmla="*/ 36 h 2040"/>
                <a:gd name="T68" fmla="*/ 83 w 2430"/>
                <a:gd name="T69" fmla="*/ 29 h 2040"/>
                <a:gd name="T70" fmla="*/ 81 w 2430"/>
                <a:gd name="T71" fmla="*/ 17 h 2040"/>
                <a:gd name="T72" fmla="*/ 66 w 2430"/>
                <a:gd name="T73" fmla="*/ 7 h 2040"/>
                <a:gd name="T74" fmla="*/ 80 w 2430"/>
                <a:gd name="T75" fmla="*/ 5 h 2040"/>
                <a:gd name="T76" fmla="*/ 89 w 2430"/>
                <a:gd name="T77" fmla="*/ 1 h 2040"/>
                <a:gd name="T78" fmla="*/ 101 w 2430"/>
                <a:gd name="T79" fmla="*/ 10 h 2040"/>
                <a:gd name="T80" fmla="*/ 103 w 2430"/>
                <a:gd name="T81" fmla="*/ 18 h 2040"/>
                <a:gd name="T82" fmla="*/ 110 w 2430"/>
                <a:gd name="T83" fmla="*/ 23 h 2040"/>
                <a:gd name="T84" fmla="*/ 121 w 2430"/>
                <a:gd name="T85" fmla="*/ 20 h 2040"/>
                <a:gd name="T86" fmla="*/ 129 w 2430"/>
                <a:gd name="T87" fmla="*/ 15 h 2040"/>
                <a:gd name="T88" fmla="*/ 142 w 2430"/>
                <a:gd name="T89" fmla="*/ 23 h 2040"/>
                <a:gd name="T90" fmla="*/ 141 w 2430"/>
                <a:gd name="T91" fmla="*/ 30 h 2040"/>
                <a:gd name="T92" fmla="*/ 140 w 2430"/>
                <a:gd name="T93" fmla="*/ 38 h 2040"/>
                <a:gd name="T94" fmla="*/ 139 w 2430"/>
                <a:gd name="T95" fmla="*/ 46 h 2040"/>
                <a:gd name="T96" fmla="*/ 147 w 2430"/>
                <a:gd name="T97" fmla="*/ 54 h 2040"/>
                <a:gd name="T98" fmla="*/ 152 w 2430"/>
                <a:gd name="T99" fmla="*/ 50 h 2040"/>
                <a:gd name="T100" fmla="*/ 159 w 2430"/>
                <a:gd name="T101" fmla="*/ 43 h 2040"/>
                <a:gd name="T102" fmla="*/ 174 w 2430"/>
                <a:gd name="T103" fmla="*/ 41 h 2040"/>
                <a:gd name="T104" fmla="*/ 190 w 2430"/>
                <a:gd name="T105" fmla="*/ 57 h 2040"/>
                <a:gd name="T106" fmla="*/ 187 w 2430"/>
                <a:gd name="T107" fmla="*/ 66 h 2040"/>
                <a:gd name="T108" fmla="*/ 183 w 2430"/>
                <a:gd name="T109" fmla="*/ 72 h 2040"/>
                <a:gd name="T110" fmla="*/ 194 w 2430"/>
                <a:gd name="T111" fmla="*/ 73 h 2040"/>
                <a:gd name="T112" fmla="*/ 202 w 2430"/>
                <a:gd name="T113" fmla="*/ 74 h 2040"/>
                <a:gd name="T114" fmla="*/ 204 w 2430"/>
                <a:gd name="T115" fmla="*/ 89 h 2040"/>
                <a:gd name="T116" fmla="*/ 208 w 2430"/>
                <a:gd name="T117" fmla="*/ 99 h 2040"/>
                <a:gd name="T118" fmla="*/ 203 w 2430"/>
                <a:gd name="T119" fmla="*/ 103 h 2040"/>
                <a:gd name="T120" fmla="*/ 209 w 2430"/>
                <a:gd name="T121" fmla="*/ 111 h 2040"/>
                <a:gd name="T122" fmla="*/ 204 w 2430"/>
                <a:gd name="T123" fmla="*/ 124 h 2040"/>
                <a:gd name="T124" fmla="*/ 190 w 2430"/>
                <a:gd name="T125" fmla="*/ 117 h 20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30"/>
                <a:gd name="T190" fmla="*/ 0 h 2040"/>
                <a:gd name="T191" fmla="*/ 2430 w 2430"/>
                <a:gd name="T192" fmla="*/ 2040 h 20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30" h="2040">
                  <a:moveTo>
                    <a:pt x="2076" y="1896"/>
                  </a:moveTo>
                  <a:lnTo>
                    <a:pt x="2070" y="1896"/>
                  </a:lnTo>
                  <a:lnTo>
                    <a:pt x="2070" y="1902"/>
                  </a:lnTo>
                  <a:lnTo>
                    <a:pt x="2076" y="1902"/>
                  </a:lnTo>
                  <a:lnTo>
                    <a:pt x="2082" y="1902"/>
                  </a:lnTo>
                  <a:lnTo>
                    <a:pt x="2082" y="1908"/>
                  </a:lnTo>
                  <a:lnTo>
                    <a:pt x="2076" y="1908"/>
                  </a:lnTo>
                  <a:lnTo>
                    <a:pt x="2076" y="1914"/>
                  </a:lnTo>
                  <a:lnTo>
                    <a:pt x="2070" y="1920"/>
                  </a:lnTo>
                  <a:lnTo>
                    <a:pt x="2064" y="1932"/>
                  </a:lnTo>
                  <a:lnTo>
                    <a:pt x="2064" y="1938"/>
                  </a:lnTo>
                  <a:lnTo>
                    <a:pt x="2058" y="1938"/>
                  </a:lnTo>
                  <a:lnTo>
                    <a:pt x="2052" y="1944"/>
                  </a:lnTo>
                  <a:lnTo>
                    <a:pt x="2052" y="1950"/>
                  </a:lnTo>
                  <a:lnTo>
                    <a:pt x="2040" y="1944"/>
                  </a:lnTo>
                  <a:lnTo>
                    <a:pt x="2040" y="1950"/>
                  </a:lnTo>
                  <a:lnTo>
                    <a:pt x="2034" y="1956"/>
                  </a:lnTo>
                  <a:lnTo>
                    <a:pt x="2034" y="1962"/>
                  </a:lnTo>
                  <a:lnTo>
                    <a:pt x="2028" y="1962"/>
                  </a:lnTo>
                  <a:lnTo>
                    <a:pt x="2022" y="1962"/>
                  </a:lnTo>
                  <a:lnTo>
                    <a:pt x="2022" y="1968"/>
                  </a:lnTo>
                  <a:lnTo>
                    <a:pt x="2028" y="1974"/>
                  </a:lnTo>
                  <a:lnTo>
                    <a:pt x="2034" y="1980"/>
                  </a:lnTo>
                  <a:lnTo>
                    <a:pt x="2028" y="1986"/>
                  </a:lnTo>
                  <a:lnTo>
                    <a:pt x="2022" y="1992"/>
                  </a:lnTo>
                  <a:lnTo>
                    <a:pt x="2022" y="1986"/>
                  </a:lnTo>
                  <a:lnTo>
                    <a:pt x="2016" y="1986"/>
                  </a:lnTo>
                  <a:lnTo>
                    <a:pt x="2010" y="1980"/>
                  </a:lnTo>
                  <a:lnTo>
                    <a:pt x="2004" y="1980"/>
                  </a:lnTo>
                  <a:lnTo>
                    <a:pt x="2004" y="1986"/>
                  </a:lnTo>
                  <a:lnTo>
                    <a:pt x="2010" y="1992"/>
                  </a:lnTo>
                  <a:lnTo>
                    <a:pt x="2010" y="1998"/>
                  </a:lnTo>
                  <a:lnTo>
                    <a:pt x="2004" y="2004"/>
                  </a:lnTo>
                  <a:lnTo>
                    <a:pt x="1998" y="2004"/>
                  </a:lnTo>
                  <a:lnTo>
                    <a:pt x="1998" y="2022"/>
                  </a:lnTo>
                  <a:lnTo>
                    <a:pt x="1998" y="2028"/>
                  </a:lnTo>
                  <a:lnTo>
                    <a:pt x="1992" y="2034"/>
                  </a:lnTo>
                  <a:lnTo>
                    <a:pt x="1992" y="2040"/>
                  </a:lnTo>
                  <a:lnTo>
                    <a:pt x="1986" y="2040"/>
                  </a:lnTo>
                  <a:lnTo>
                    <a:pt x="1986" y="2034"/>
                  </a:lnTo>
                  <a:lnTo>
                    <a:pt x="1980" y="2028"/>
                  </a:lnTo>
                  <a:lnTo>
                    <a:pt x="1980" y="2022"/>
                  </a:lnTo>
                  <a:lnTo>
                    <a:pt x="1968" y="2016"/>
                  </a:lnTo>
                  <a:lnTo>
                    <a:pt x="1962" y="2010"/>
                  </a:lnTo>
                  <a:lnTo>
                    <a:pt x="1956" y="2004"/>
                  </a:lnTo>
                  <a:lnTo>
                    <a:pt x="1950" y="1992"/>
                  </a:lnTo>
                  <a:lnTo>
                    <a:pt x="1950" y="1986"/>
                  </a:lnTo>
                  <a:lnTo>
                    <a:pt x="1950" y="1974"/>
                  </a:lnTo>
                  <a:lnTo>
                    <a:pt x="1944" y="1974"/>
                  </a:lnTo>
                  <a:lnTo>
                    <a:pt x="1932" y="1962"/>
                  </a:lnTo>
                  <a:lnTo>
                    <a:pt x="1932" y="1956"/>
                  </a:lnTo>
                  <a:lnTo>
                    <a:pt x="1932" y="1950"/>
                  </a:lnTo>
                  <a:lnTo>
                    <a:pt x="1920" y="1944"/>
                  </a:lnTo>
                  <a:lnTo>
                    <a:pt x="1914" y="1944"/>
                  </a:lnTo>
                  <a:lnTo>
                    <a:pt x="1908" y="1938"/>
                  </a:lnTo>
                  <a:lnTo>
                    <a:pt x="1902" y="1926"/>
                  </a:lnTo>
                  <a:lnTo>
                    <a:pt x="1890" y="1914"/>
                  </a:lnTo>
                  <a:lnTo>
                    <a:pt x="1884" y="1914"/>
                  </a:lnTo>
                  <a:lnTo>
                    <a:pt x="1878" y="1908"/>
                  </a:lnTo>
                  <a:lnTo>
                    <a:pt x="1872" y="1902"/>
                  </a:lnTo>
                  <a:lnTo>
                    <a:pt x="1872" y="1896"/>
                  </a:lnTo>
                  <a:lnTo>
                    <a:pt x="1866" y="1890"/>
                  </a:lnTo>
                  <a:lnTo>
                    <a:pt x="1854" y="1884"/>
                  </a:lnTo>
                  <a:lnTo>
                    <a:pt x="1848" y="1884"/>
                  </a:lnTo>
                  <a:lnTo>
                    <a:pt x="1842" y="1872"/>
                  </a:lnTo>
                  <a:lnTo>
                    <a:pt x="1836" y="1872"/>
                  </a:lnTo>
                  <a:lnTo>
                    <a:pt x="1830" y="1866"/>
                  </a:lnTo>
                  <a:lnTo>
                    <a:pt x="1830" y="1854"/>
                  </a:lnTo>
                  <a:lnTo>
                    <a:pt x="1824" y="1848"/>
                  </a:lnTo>
                  <a:lnTo>
                    <a:pt x="1818" y="1830"/>
                  </a:lnTo>
                  <a:lnTo>
                    <a:pt x="1818" y="1818"/>
                  </a:lnTo>
                  <a:lnTo>
                    <a:pt x="1812" y="1800"/>
                  </a:lnTo>
                  <a:lnTo>
                    <a:pt x="1812" y="1788"/>
                  </a:lnTo>
                  <a:lnTo>
                    <a:pt x="1806" y="1776"/>
                  </a:lnTo>
                  <a:lnTo>
                    <a:pt x="1800" y="1764"/>
                  </a:lnTo>
                  <a:lnTo>
                    <a:pt x="1794" y="1758"/>
                  </a:lnTo>
                  <a:lnTo>
                    <a:pt x="1782" y="1740"/>
                  </a:lnTo>
                  <a:lnTo>
                    <a:pt x="1776" y="1728"/>
                  </a:lnTo>
                  <a:lnTo>
                    <a:pt x="1776" y="1722"/>
                  </a:lnTo>
                  <a:lnTo>
                    <a:pt x="1770" y="1722"/>
                  </a:lnTo>
                  <a:lnTo>
                    <a:pt x="1770" y="1716"/>
                  </a:lnTo>
                  <a:lnTo>
                    <a:pt x="1764" y="1716"/>
                  </a:lnTo>
                  <a:lnTo>
                    <a:pt x="1758" y="1710"/>
                  </a:lnTo>
                  <a:lnTo>
                    <a:pt x="1752" y="1704"/>
                  </a:lnTo>
                  <a:lnTo>
                    <a:pt x="1746" y="1704"/>
                  </a:lnTo>
                  <a:lnTo>
                    <a:pt x="1740" y="1704"/>
                  </a:lnTo>
                  <a:lnTo>
                    <a:pt x="1734" y="1704"/>
                  </a:lnTo>
                  <a:lnTo>
                    <a:pt x="1734" y="1698"/>
                  </a:lnTo>
                  <a:lnTo>
                    <a:pt x="1728" y="1692"/>
                  </a:lnTo>
                  <a:lnTo>
                    <a:pt x="1722" y="1686"/>
                  </a:lnTo>
                  <a:lnTo>
                    <a:pt x="1716" y="1686"/>
                  </a:lnTo>
                  <a:lnTo>
                    <a:pt x="1698" y="1686"/>
                  </a:lnTo>
                  <a:lnTo>
                    <a:pt x="1692" y="1692"/>
                  </a:lnTo>
                  <a:lnTo>
                    <a:pt x="1680" y="1692"/>
                  </a:lnTo>
                  <a:lnTo>
                    <a:pt x="1668" y="1692"/>
                  </a:lnTo>
                  <a:lnTo>
                    <a:pt x="1662" y="1692"/>
                  </a:lnTo>
                  <a:lnTo>
                    <a:pt x="1656" y="1692"/>
                  </a:lnTo>
                  <a:lnTo>
                    <a:pt x="1650" y="1698"/>
                  </a:lnTo>
                  <a:lnTo>
                    <a:pt x="1644" y="1698"/>
                  </a:lnTo>
                  <a:lnTo>
                    <a:pt x="1638" y="1698"/>
                  </a:lnTo>
                  <a:lnTo>
                    <a:pt x="1632" y="1698"/>
                  </a:lnTo>
                  <a:lnTo>
                    <a:pt x="1632" y="1692"/>
                  </a:lnTo>
                  <a:lnTo>
                    <a:pt x="1620" y="1680"/>
                  </a:lnTo>
                  <a:lnTo>
                    <a:pt x="1614" y="1680"/>
                  </a:lnTo>
                  <a:lnTo>
                    <a:pt x="1608" y="1680"/>
                  </a:lnTo>
                  <a:lnTo>
                    <a:pt x="1602" y="1680"/>
                  </a:lnTo>
                  <a:lnTo>
                    <a:pt x="1596" y="1674"/>
                  </a:lnTo>
                  <a:lnTo>
                    <a:pt x="1584" y="1674"/>
                  </a:lnTo>
                  <a:lnTo>
                    <a:pt x="1572" y="1674"/>
                  </a:lnTo>
                  <a:lnTo>
                    <a:pt x="1560" y="1674"/>
                  </a:lnTo>
                  <a:lnTo>
                    <a:pt x="1542" y="1680"/>
                  </a:lnTo>
                  <a:lnTo>
                    <a:pt x="1530" y="1680"/>
                  </a:lnTo>
                  <a:lnTo>
                    <a:pt x="1530" y="1674"/>
                  </a:lnTo>
                  <a:lnTo>
                    <a:pt x="1524" y="1674"/>
                  </a:lnTo>
                  <a:lnTo>
                    <a:pt x="1518" y="1674"/>
                  </a:lnTo>
                  <a:lnTo>
                    <a:pt x="1512" y="1674"/>
                  </a:lnTo>
                  <a:lnTo>
                    <a:pt x="1506" y="1674"/>
                  </a:lnTo>
                  <a:lnTo>
                    <a:pt x="1500" y="1680"/>
                  </a:lnTo>
                  <a:lnTo>
                    <a:pt x="1488" y="1680"/>
                  </a:lnTo>
                  <a:lnTo>
                    <a:pt x="1482" y="1674"/>
                  </a:lnTo>
                  <a:lnTo>
                    <a:pt x="1476" y="1674"/>
                  </a:lnTo>
                  <a:lnTo>
                    <a:pt x="1464" y="1674"/>
                  </a:lnTo>
                  <a:lnTo>
                    <a:pt x="1452" y="1680"/>
                  </a:lnTo>
                  <a:lnTo>
                    <a:pt x="1434" y="1680"/>
                  </a:lnTo>
                  <a:lnTo>
                    <a:pt x="1422" y="1680"/>
                  </a:lnTo>
                  <a:lnTo>
                    <a:pt x="1416" y="1680"/>
                  </a:lnTo>
                  <a:lnTo>
                    <a:pt x="1404" y="1674"/>
                  </a:lnTo>
                  <a:lnTo>
                    <a:pt x="1398" y="1674"/>
                  </a:lnTo>
                  <a:lnTo>
                    <a:pt x="1392" y="1662"/>
                  </a:lnTo>
                  <a:lnTo>
                    <a:pt x="1380" y="1644"/>
                  </a:lnTo>
                  <a:lnTo>
                    <a:pt x="1374" y="1632"/>
                  </a:lnTo>
                  <a:lnTo>
                    <a:pt x="1362" y="1626"/>
                  </a:lnTo>
                  <a:lnTo>
                    <a:pt x="1356" y="1620"/>
                  </a:lnTo>
                  <a:lnTo>
                    <a:pt x="1350" y="1626"/>
                  </a:lnTo>
                  <a:lnTo>
                    <a:pt x="1338" y="1626"/>
                  </a:lnTo>
                  <a:lnTo>
                    <a:pt x="1326" y="1626"/>
                  </a:lnTo>
                  <a:lnTo>
                    <a:pt x="1314" y="1620"/>
                  </a:lnTo>
                  <a:lnTo>
                    <a:pt x="1308" y="1614"/>
                  </a:lnTo>
                  <a:lnTo>
                    <a:pt x="1302" y="1608"/>
                  </a:lnTo>
                  <a:lnTo>
                    <a:pt x="1296" y="1602"/>
                  </a:lnTo>
                  <a:lnTo>
                    <a:pt x="1290" y="1602"/>
                  </a:lnTo>
                  <a:lnTo>
                    <a:pt x="1290" y="1596"/>
                  </a:lnTo>
                  <a:lnTo>
                    <a:pt x="1284" y="1590"/>
                  </a:lnTo>
                  <a:lnTo>
                    <a:pt x="1272" y="1584"/>
                  </a:lnTo>
                  <a:lnTo>
                    <a:pt x="1254" y="1572"/>
                  </a:lnTo>
                  <a:lnTo>
                    <a:pt x="1236" y="1554"/>
                  </a:lnTo>
                  <a:lnTo>
                    <a:pt x="1230" y="1554"/>
                  </a:lnTo>
                  <a:lnTo>
                    <a:pt x="1224" y="1554"/>
                  </a:lnTo>
                  <a:lnTo>
                    <a:pt x="1212" y="1554"/>
                  </a:lnTo>
                  <a:lnTo>
                    <a:pt x="1194" y="1542"/>
                  </a:lnTo>
                  <a:lnTo>
                    <a:pt x="1188" y="1536"/>
                  </a:lnTo>
                  <a:lnTo>
                    <a:pt x="1182" y="1530"/>
                  </a:lnTo>
                  <a:lnTo>
                    <a:pt x="1176" y="1530"/>
                  </a:lnTo>
                  <a:lnTo>
                    <a:pt x="1170" y="1530"/>
                  </a:lnTo>
                  <a:lnTo>
                    <a:pt x="1158" y="1524"/>
                  </a:lnTo>
                  <a:lnTo>
                    <a:pt x="1152" y="1524"/>
                  </a:lnTo>
                  <a:lnTo>
                    <a:pt x="1140" y="1518"/>
                  </a:lnTo>
                  <a:lnTo>
                    <a:pt x="1128" y="1518"/>
                  </a:lnTo>
                  <a:lnTo>
                    <a:pt x="1122" y="1518"/>
                  </a:lnTo>
                  <a:lnTo>
                    <a:pt x="1116" y="1518"/>
                  </a:lnTo>
                  <a:lnTo>
                    <a:pt x="1104" y="1518"/>
                  </a:lnTo>
                  <a:lnTo>
                    <a:pt x="1092" y="1518"/>
                  </a:lnTo>
                  <a:lnTo>
                    <a:pt x="1080" y="1518"/>
                  </a:lnTo>
                  <a:lnTo>
                    <a:pt x="1068" y="1518"/>
                  </a:lnTo>
                  <a:lnTo>
                    <a:pt x="1062" y="1518"/>
                  </a:lnTo>
                  <a:lnTo>
                    <a:pt x="1056" y="1518"/>
                  </a:lnTo>
                  <a:lnTo>
                    <a:pt x="1050" y="1512"/>
                  </a:lnTo>
                  <a:lnTo>
                    <a:pt x="1044" y="1512"/>
                  </a:lnTo>
                  <a:lnTo>
                    <a:pt x="1038" y="1512"/>
                  </a:lnTo>
                  <a:lnTo>
                    <a:pt x="1032" y="1506"/>
                  </a:lnTo>
                  <a:lnTo>
                    <a:pt x="1026" y="1500"/>
                  </a:lnTo>
                  <a:lnTo>
                    <a:pt x="1026" y="1494"/>
                  </a:lnTo>
                  <a:lnTo>
                    <a:pt x="1020" y="1476"/>
                  </a:lnTo>
                  <a:lnTo>
                    <a:pt x="1008" y="1464"/>
                  </a:lnTo>
                  <a:lnTo>
                    <a:pt x="1008" y="1458"/>
                  </a:lnTo>
                  <a:lnTo>
                    <a:pt x="1002" y="1446"/>
                  </a:lnTo>
                  <a:lnTo>
                    <a:pt x="996" y="1446"/>
                  </a:lnTo>
                  <a:lnTo>
                    <a:pt x="990" y="1440"/>
                  </a:lnTo>
                  <a:lnTo>
                    <a:pt x="984" y="1434"/>
                  </a:lnTo>
                  <a:lnTo>
                    <a:pt x="978" y="1434"/>
                  </a:lnTo>
                  <a:lnTo>
                    <a:pt x="972" y="1434"/>
                  </a:lnTo>
                  <a:lnTo>
                    <a:pt x="966" y="1428"/>
                  </a:lnTo>
                  <a:lnTo>
                    <a:pt x="954" y="1422"/>
                  </a:lnTo>
                  <a:lnTo>
                    <a:pt x="942" y="1416"/>
                  </a:lnTo>
                  <a:lnTo>
                    <a:pt x="924" y="1398"/>
                  </a:lnTo>
                  <a:lnTo>
                    <a:pt x="912" y="1386"/>
                  </a:lnTo>
                  <a:lnTo>
                    <a:pt x="900" y="1386"/>
                  </a:lnTo>
                  <a:lnTo>
                    <a:pt x="894" y="1386"/>
                  </a:lnTo>
                  <a:lnTo>
                    <a:pt x="882" y="1392"/>
                  </a:lnTo>
                  <a:lnTo>
                    <a:pt x="876" y="1392"/>
                  </a:lnTo>
                  <a:lnTo>
                    <a:pt x="864" y="1398"/>
                  </a:lnTo>
                  <a:lnTo>
                    <a:pt x="864" y="1404"/>
                  </a:lnTo>
                  <a:lnTo>
                    <a:pt x="858" y="1410"/>
                  </a:lnTo>
                  <a:lnTo>
                    <a:pt x="852" y="1410"/>
                  </a:lnTo>
                  <a:lnTo>
                    <a:pt x="846" y="1410"/>
                  </a:lnTo>
                  <a:lnTo>
                    <a:pt x="834" y="1410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10" y="1428"/>
                  </a:lnTo>
                  <a:lnTo>
                    <a:pt x="798" y="1428"/>
                  </a:lnTo>
                  <a:lnTo>
                    <a:pt x="792" y="1428"/>
                  </a:lnTo>
                  <a:lnTo>
                    <a:pt x="780" y="1434"/>
                  </a:lnTo>
                  <a:lnTo>
                    <a:pt x="774" y="1428"/>
                  </a:lnTo>
                  <a:lnTo>
                    <a:pt x="762" y="1428"/>
                  </a:lnTo>
                  <a:lnTo>
                    <a:pt x="756" y="1422"/>
                  </a:lnTo>
                  <a:lnTo>
                    <a:pt x="750" y="1416"/>
                  </a:lnTo>
                  <a:lnTo>
                    <a:pt x="744" y="1410"/>
                  </a:lnTo>
                  <a:lnTo>
                    <a:pt x="744" y="1398"/>
                  </a:lnTo>
                  <a:lnTo>
                    <a:pt x="744" y="1386"/>
                  </a:lnTo>
                  <a:lnTo>
                    <a:pt x="750" y="1380"/>
                  </a:lnTo>
                  <a:lnTo>
                    <a:pt x="750" y="1374"/>
                  </a:lnTo>
                  <a:lnTo>
                    <a:pt x="750" y="1368"/>
                  </a:lnTo>
                  <a:lnTo>
                    <a:pt x="756" y="1362"/>
                  </a:lnTo>
                  <a:lnTo>
                    <a:pt x="750" y="1350"/>
                  </a:lnTo>
                  <a:lnTo>
                    <a:pt x="744" y="1344"/>
                  </a:lnTo>
                  <a:lnTo>
                    <a:pt x="738" y="1338"/>
                  </a:lnTo>
                  <a:lnTo>
                    <a:pt x="726" y="1338"/>
                  </a:lnTo>
                  <a:lnTo>
                    <a:pt x="720" y="1338"/>
                  </a:lnTo>
                  <a:lnTo>
                    <a:pt x="714" y="1338"/>
                  </a:lnTo>
                  <a:lnTo>
                    <a:pt x="708" y="1332"/>
                  </a:lnTo>
                  <a:lnTo>
                    <a:pt x="702" y="1332"/>
                  </a:lnTo>
                  <a:lnTo>
                    <a:pt x="696" y="1326"/>
                  </a:lnTo>
                  <a:lnTo>
                    <a:pt x="684" y="1326"/>
                  </a:lnTo>
                  <a:lnTo>
                    <a:pt x="678" y="1326"/>
                  </a:lnTo>
                  <a:lnTo>
                    <a:pt x="672" y="1314"/>
                  </a:lnTo>
                  <a:lnTo>
                    <a:pt x="666" y="1308"/>
                  </a:lnTo>
                  <a:lnTo>
                    <a:pt x="654" y="1296"/>
                  </a:lnTo>
                  <a:lnTo>
                    <a:pt x="654" y="1290"/>
                  </a:lnTo>
                  <a:lnTo>
                    <a:pt x="630" y="1284"/>
                  </a:lnTo>
                  <a:lnTo>
                    <a:pt x="630" y="1278"/>
                  </a:lnTo>
                  <a:lnTo>
                    <a:pt x="624" y="1278"/>
                  </a:lnTo>
                  <a:lnTo>
                    <a:pt x="618" y="1266"/>
                  </a:lnTo>
                  <a:lnTo>
                    <a:pt x="612" y="1266"/>
                  </a:lnTo>
                  <a:lnTo>
                    <a:pt x="606" y="1266"/>
                  </a:lnTo>
                  <a:lnTo>
                    <a:pt x="606" y="1260"/>
                  </a:lnTo>
                  <a:lnTo>
                    <a:pt x="594" y="1248"/>
                  </a:lnTo>
                  <a:lnTo>
                    <a:pt x="582" y="1248"/>
                  </a:lnTo>
                  <a:lnTo>
                    <a:pt x="576" y="1242"/>
                  </a:lnTo>
                  <a:lnTo>
                    <a:pt x="570" y="1236"/>
                  </a:lnTo>
                  <a:lnTo>
                    <a:pt x="504" y="1164"/>
                  </a:lnTo>
                  <a:lnTo>
                    <a:pt x="450" y="1110"/>
                  </a:lnTo>
                  <a:lnTo>
                    <a:pt x="426" y="1092"/>
                  </a:lnTo>
                  <a:lnTo>
                    <a:pt x="426" y="1074"/>
                  </a:lnTo>
                  <a:lnTo>
                    <a:pt x="420" y="1062"/>
                  </a:lnTo>
                  <a:lnTo>
                    <a:pt x="396" y="1056"/>
                  </a:lnTo>
                  <a:lnTo>
                    <a:pt x="384" y="1032"/>
                  </a:lnTo>
                  <a:lnTo>
                    <a:pt x="372" y="1020"/>
                  </a:lnTo>
                  <a:lnTo>
                    <a:pt x="360" y="984"/>
                  </a:lnTo>
                  <a:lnTo>
                    <a:pt x="348" y="978"/>
                  </a:lnTo>
                  <a:lnTo>
                    <a:pt x="342" y="972"/>
                  </a:lnTo>
                  <a:lnTo>
                    <a:pt x="348" y="960"/>
                  </a:lnTo>
                  <a:lnTo>
                    <a:pt x="342" y="954"/>
                  </a:lnTo>
                  <a:lnTo>
                    <a:pt x="336" y="954"/>
                  </a:lnTo>
                  <a:lnTo>
                    <a:pt x="330" y="954"/>
                  </a:lnTo>
                  <a:lnTo>
                    <a:pt x="324" y="972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0" y="966"/>
                  </a:lnTo>
                  <a:lnTo>
                    <a:pt x="294" y="966"/>
                  </a:lnTo>
                  <a:lnTo>
                    <a:pt x="288" y="972"/>
                  </a:lnTo>
                  <a:lnTo>
                    <a:pt x="288" y="966"/>
                  </a:lnTo>
                  <a:lnTo>
                    <a:pt x="282" y="948"/>
                  </a:lnTo>
                  <a:lnTo>
                    <a:pt x="282" y="942"/>
                  </a:lnTo>
                  <a:lnTo>
                    <a:pt x="276" y="942"/>
                  </a:lnTo>
                  <a:lnTo>
                    <a:pt x="276" y="936"/>
                  </a:lnTo>
                  <a:lnTo>
                    <a:pt x="270" y="942"/>
                  </a:lnTo>
                  <a:lnTo>
                    <a:pt x="264" y="948"/>
                  </a:lnTo>
                  <a:lnTo>
                    <a:pt x="264" y="942"/>
                  </a:lnTo>
                  <a:lnTo>
                    <a:pt x="258" y="942"/>
                  </a:lnTo>
                  <a:lnTo>
                    <a:pt x="252" y="948"/>
                  </a:lnTo>
                  <a:lnTo>
                    <a:pt x="252" y="942"/>
                  </a:lnTo>
                  <a:lnTo>
                    <a:pt x="246" y="936"/>
                  </a:lnTo>
                  <a:lnTo>
                    <a:pt x="240" y="942"/>
                  </a:lnTo>
                  <a:lnTo>
                    <a:pt x="234" y="936"/>
                  </a:lnTo>
                  <a:lnTo>
                    <a:pt x="228" y="936"/>
                  </a:lnTo>
                  <a:lnTo>
                    <a:pt x="222" y="936"/>
                  </a:lnTo>
                  <a:lnTo>
                    <a:pt x="222" y="930"/>
                  </a:lnTo>
                  <a:lnTo>
                    <a:pt x="222" y="924"/>
                  </a:lnTo>
                  <a:lnTo>
                    <a:pt x="228" y="924"/>
                  </a:lnTo>
                  <a:lnTo>
                    <a:pt x="234" y="924"/>
                  </a:lnTo>
                  <a:lnTo>
                    <a:pt x="240" y="924"/>
                  </a:lnTo>
                  <a:lnTo>
                    <a:pt x="240" y="918"/>
                  </a:lnTo>
                  <a:lnTo>
                    <a:pt x="246" y="918"/>
                  </a:lnTo>
                  <a:lnTo>
                    <a:pt x="246" y="912"/>
                  </a:lnTo>
                  <a:lnTo>
                    <a:pt x="240" y="906"/>
                  </a:lnTo>
                  <a:lnTo>
                    <a:pt x="234" y="906"/>
                  </a:lnTo>
                  <a:lnTo>
                    <a:pt x="228" y="906"/>
                  </a:lnTo>
                  <a:lnTo>
                    <a:pt x="228" y="912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8" y="894"/>
                  </a:lnTo>
                  <a:lnTo>
                    <a:pt x="234" y="894"/>
                  </a:lnTo>
                  <a:lnTo>
                    <a:pt x="228" y="888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198" y="888"/>
                  </a:lnTo>
                  <a:lnTo>
                    <a:pt x="192" y="882"/>
                  </a:lnTo>
                  <a:lnTo>
                    <a:pt x="186" y="882"/>
                  </a:lnTo>
                  <a:lnTo>
                    <a:pt x="186" y="876"/>
                  </a:lnTo>
                  <a:lnTo>
                    <a:pt x="192" y="876"/>
                  </a:lnTo>
                  <a:lnTo>
                    <a:pt x="192" y="870"/>
                  </a:lnTo>
                  <a:lnTo>
                    <a:pt x="198" y="870"/>
                  </a:lnTo>
                  <a:lnTo>
                    <a:pt x="198" y="864"/>
                  </a:lnTo>
                  <a:lnTo>
                    <a:pt x="198" y="858"/>
                  </a:lnTo>
                  <a:lnTo>
                    <a:pt x="180" y="852"/>
                  </a:lnTo>
                  <a:lnTo>
                    <a:pt x="174" y="840"/>
                  </a:lnTo>
                  <a:lnTo>
                    <a:pt x="162" y="846"/>
                  </a:lnTo>
                  <a:lnTo>
                    <a:pt x="156" y="846"/>
                  </a:lnTo>
                  <a:lnTo>
                    <a:pt x="150" y="846"/>
                  </a:lnTo>
                  <a:lnTo>
                    <a:pt x="150" y="840"/>
                  </a:lnTo>
                  <a:lnTo>
                    <a:pt x="138" y="834"/>
                  </a:lnTo>
                  <a:lnTo>
                    <a:pt x="132" y="834"/>
                  </a:lnTo>
                  <a:lnTo>
                    <a:pt x="132" y="840"/>
                  </a:lnTo>
                  <a:lnTo>
                    <a:pt x="126" y="840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58"/>
                  </a:lnTo>
                  <a:lnTo>
                    <a:pt x="120" y="846"/>
                  </a:lnTo>
                  <a:lnTo>
                    <a:pt x="114" y="846"/>
                  </a:lnTo>
                  <a:lnTo>
                    <a:pt x="108" y="840"/>
                  </a:lnTo>
                  <a:lnTo>
                    <a:pt x="102" y="834"/>
                  </a:lnTo>
                  <a:lnTo>
                    <a:pt x="102" y="822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78" y="804"/>
                  </a:lnTo>
                  <a:lnTo>
                    <a:pt x="78" y="798"/>
                  </a:lnTo>
                  <a:lnTo>
                    <a:pt x="78" y="792"/>
                  </a:lnTo>
                  <a:lnTo>
                    <a:pt x="78" y="786"/>
                  </a:lnTo>
                  <a:lnTo>
                    <a:pt x="78" y="780"/>
                  </a:lnTo>
                  <a:lnTo>
                    <a:pt x="72" y="774"/>
                  </a:lnTo>
                  <a:lnTo>
                    <a:pt x="66" y="774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60" y="762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6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2" y="666"/>
                  </a:lnTo>
                  <a:lnTo>
                    <a:pt x="18" y="648"/>
                  </a:lnTo>
                  <a:lnTo>
                    <a:pt x="24" y="636"/>
                  </a:lnTo>
                  <a:lnTo>
                    <a:pt x="30" y="630"/>
                  </a:lnTo>
                  <a:lnTo>
                    <a:pt x="30" y="624"/>
                  </a:lnTo>
                  <a:lnTo>
                    <a:pt x="30" y="612"/>
                  </a:lnTo>
                  <a:lnTo>
                    <a:pt x="30" y="606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66" y="582"/>
                  </a:lnTo>
                  <a:lnTo>
                    <a:pt x="72" y="588"/>
                  </a:lnTo>
                  <a:lnTo>
                    <a:pt x="84" y="594"/>
                  </a:lnTo>
                  <a:lnTo>
                    <a:pt x="90" y="600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14" y="612"/>
                  </a:lnTo>
                  <a:lnTo>
                    <a:pt x="120" y="612"/>
                  </a:lnTo>
                  <a:lnTo>
                    <a:pt x="126" y="618"/>
                  </a:lnTo>
                  <a:lnTo>
                    <a:pt x="138" y="594"/>
                  </a:lnTo>
                  <a:lnTo>
                    <a:pt x="138" y="582"/>
                  </a:lnTo>
                  <a:lnTo>
                    <a:pt x="138" y="570"/>
                  </a:lnTo>
                  <a:lnTo>
                    <a:pt x="138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50" y="528"/>
                  </a:lnTo>
                  <a:lnTo>
                    <a:pt x="156" y="510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62"/>
                  </a:lnTo>
                  <a:lnTo>
                    <a:pt x="168" y="450"/>
                  </a:lnTo>
                  <a:lnTo>
                    <a:pt x="168" y="444"/>
                  </a:lnTo>
                  <a:lnTo>
                    <a:pt x="162" y="432"/>
                  </a:lnTo>
                  <a:lnTo>
                    <a:pt x="162" y="426"/>
                  </a:lnTo>
                  <a:lnTo>
                    <a:pt x="156" y="420"/>
                  </a:lnTo>
                  <a:lnTo>
                    <a:pt x="144" y="414"/>
                  </a:lnTo>
                  <a:lnTo>
                    <a:pt x="132" y="402"/>
                  </a:lnTo>
                  <a:lnTo>
                    <a:pt x="126" y="390"/>
                  </a:lnTo>
                  <a:lnTo>
                    <a:pt x="120" y="384"/>
                  </a:lnTo>
                  <a:lnTo>
                    <a:pt x="120" y="372"/>
                  </a:lnTo>
                  <a:lnTo>
                    <a:pt x="114" y="360"/>
                  </a:lnTo>
                  <a:lnTo>
                    <a:pt x="108" y="360"/>
                  </a:lnTo>
                  <a:lnTo>
                    <a:pt x="108" y="354"/>
                  </a:lnTo>
                  <a:lnTo>
                    <a:pt x="102" y="348"/>
                  </a:lnTo>
                  <a:lnTo>
                    <a:pt x="102" y="342"/>
                  </a:lnTo>
                  <a:lnTo>
                    <a:pt x="108" y="330"/>
                  </a:lnTo>
                  <a:lnTo>
                    <a:pt x="114" y="312"/>
                  </a:lnTo>
                  <a:lnTo>
                    <a:pt x="114" y="300"/>
                  </a:lnTo>
                  <a:lnTo>
                    <a:pt x="120" y="288"/>
                  </a:lnTo>
                  <a:lnTo>
                    <a:pt x="120" y="282"/>
                  </a:lnTo>
                  <a:lnTo>
                    <a:pt x="114" y="270"/>
                  </a:lnTo>
                  <a:lnTo>
                    <a:pt x="114" y="258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84" y="222"/>
                  </a:lnTo>
                  <a:lnTo>
                    <a:pt x="84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84" y="186"/>
                  </a:lnTo>
                  <a:lnTo>
                    <a:pt x="84" y="180"/>
                  </a:lnTo>
                  <a:lnTo>
                    <a:pt x="108" y="174"/>
                  </a:lnTo>
                  <a:lnTo>
                    <a:pt x="132" y="186"/>
                  </a:lnTo>
                  <a:lnTo>
                    <a:pt x="138" y="192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56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74" y="204"/>
                  </a:lnTo>
                  <a:lnTo>
                    <a:pt x="180" y="216"/>
                  </a:lnTo>
                  <a:lnTo>
                    <a:pt x="186" y="228"/>
                  </a:lnTo>
                  <a:lnTo>
                    <a:pt x="192" y="234"/>
                  </a:lnTo>
                  <a:lnTo>
                    <a:pt x="198" y="234"/>
                  </a:lnTo>
                  <a:lnTo>
                    <a:pt x="204" y="240"/>
                  </a:lnTo>
                  <a:lnTo>
                    <a:pt x="210" y="240"/>
                  </a:lnTo>
                  <a:lnTo>
                    <a:pt x="216" y="240"/>
                  </a:lnTo>
                  <a:lnTo>
                    <a:pt x="222" y="240"/>
                  </a:lnTo>
                  <a:lnTo>
                    <a:pt x="228" y="246"/>
                  </a:lnTo>
                  <a:lnTo>
                    <a:pt x="234" y="246"/>
                  </a:lnTo>
                  <a:lnTo>
                    <a:pt x="240" y="246"/>
                  </a:lnTo>
                  <a:lnTo>
                    <a:pt x="252" y="252"/>
                  </a:lnTo>
                  <a:lnTo>
                    <a:pt x="330" y="246"/>
                  </a:lnTo>
                  <a:lnTo>
                    <a:pt x="360" y="228"/>
                  </a:lnTo>
                  <a:lnTo>
                    <a:pt x="396" y="228"/>
                  </a:lnTo>
                  <a:lnTo>
                    <a:pt x="402" y="240"/>
                  </a:lnTo>
                  <a:lnTo>
                    <a:pt x="432" y="240"/>
                  </a:lnTo>
                  <a:lnTo>
                    <a:pt x="450" y="258"/>
                  </a:lnTo>
                  <a:lnTo>
                    <a:pt x="468" y="258"/>
                  </a:lnTo>
                  <a:lnTo>
                    <a:pt x="474" y="294"/>
                  </a:lnTo>
                  <a:lnTo>
                    <a:pt x="558" y="318"/>
                  </a:lnTo>
                  <a:lnTo>
                    <a:pt x="588" y="318"/>
                  </a:lnTo>
                  <a:lnTo>
                    <a:pt x="588" y="312"/>
                  </a:lnTo>
                  <a:lnTo>
                    <a:pt x="594" y="306"/>
                  </a:lnTo>
                  <a:lnTo>
                    <a:pt x="600" y="306"/>
                  </a:lnTo>
                  <a:lnTo>
                    <a:pt x="612" y="300"/>
                  </a:lnTo>
                  <a:lnTo>
                    <a:pt x="618" y="300"/>
                  </a:lnTo>
                  <a:lnTo>
                    <a:pt x="630" y="300"/>
                  </a:lnTo>
                  <a:lnTo>
                    <a:pt x="642" y="306"/>
                  </a:lnTo>
                  <a:lnTo>
                    <a:pt x="660" y="306"/>
                  </a:lnTo>
                  <a:lnTo>
                    <a:pt x="666" y="306"/>
                  </a:lnTo>
                  <a:lnTo>
                    <a:pt x="672" y="306"/>
                  </a:lnTo>
                  <a:lnTo>
                    <a:pt x="684" y="300"/>
                  </a:lnTo>
                  <a:lnTo>
                    <a:pt x="696" y="294"/>
                  </a:lnTo>
                  <a:lnTo>
                    <a:pt x="702" y="288"/>
                  </a:lnTo>
                  <a:lnTo>
                    <a:pt x="714" y="282"/>
                  </a:lnTo>
                  <a:lnTo>
                    <a:pt x="714" y="288"/>
                  </a:lnTo>
                  <a:lnTo>
                    <a:pt x="726" y="300"/>
                  </a:lnTo>
                  <a:lnTo>
                    <a:pt x="732" y="306"/>
                  </a:lnTo>
                  <a:lnTo>
                    <a:pt x="732" y="318"/>
                  </a:lnTo>
                  <a:lnTo>
                    <a:pt x="732" y="330"/>
                  </a:lnTo>
                  <a:lnTo>
                    <a:pt x="726" y="342"/>
                  </a:lnTo>
                  <a:lnTo>
                    <a:pt x="720" y="354"/>
                  </a:lnTo>
                  <a:lnTo>
                    <a:pt x="720" y="360"/>
                  </a:lnTo>
                  <a:lnTo>
                    <a:pt x="714" y="372"/>
                  </a:lnTo>
                  <a:lnTo>
                    <a:pt x="714" y="378"/>
                  </a:lnTo>
                  <a:lnTo>
                    <a:pt x="714" y="408"/>
                  </a:lnTo>
                  <a:lnTo>
                    <a:pt x="708" y="420"/>
                  </a:lnTo>
                  <a:lnTo>
                    <a:pt x="714" y="432"/>
                  </a:lnTo>
                  <a:lnTo>
                    <a:pt x="708" y="450"/>
                  </a:lnTo>
                  <a:lnTo>
                    <a:pt x="708" y="468"/>
                  </a:lnTo>
                  <a:lnTo>
                    <a:pt x="696" y="480"/>
                  </a:lnTo>
                  <a:lnTo>
                    <a:pt x="684" y="486"/>
                  </a:lnTo>
                  <a:lnTo>
                    <a:pt x="672" y="492"/>
                  </a:lnTo>
                  <a:lnTo>
                    <a:pt x="660" y="498"/>
                  </a:lnTo>
                  <a:lnTo>
                    <a:pt x="654" y="510"/>
                  </a:lnTo>
                  <a:lnTo>
                    <a:pt x="648" y="516"/>
                  </a:lnTo>
                  <a:lnTo>
                    <a:pt x="642" y="522"/>
                  </a:lnTo>
                  <a:lnTo>
                    <a:pt x="630" y="522"/>
                  </a:lnTo>
                  <a:lnTo>
                    <a:pt x="624" y="528"/>
                  </a:lnTo>
                  <a:lnTo>
                    <a:pt x="618" y="540"/>
                  </a:lnTo>
                  <a:lnTo>
                    <a:pt x="618" y="558"/>
                  </a:lnTo>
                  <a:lnTo>
                    <a:pt x="612" y="576"/>
                  </a:lnTo>
                  <a:lnTo>
                    <a:pt x="612" y="684"/>
                  </a:lnTo>
                  <a:lnTo>
                    <a:pt x="618" y="696"/>
                  </a:lnTo>
                  <a:lnTo>
                    <a:pt x="636" y="696"/>
                  </a:lnTo>
                  <a:lnTo>
                    <a:pt x="636" y="720"/>
                  </a:lnTo>
                  <a:lnTo>
                    <a:pt x="636" y="732"/>
                  </a:lnTo>
                  <a:lnTo>
                    <a:pt x="618" y="750"/>
                  </a:lnTo>
                  <a:lnTo>
                    <a:pt x="606" y="762"/>
                  </a:lnTo>
                  <a:lnTo>
                    <a:pt x="600" y="774"/>
                  </a:lnTo>
                  <a:lnTo>
                    <a:pt x="594" y="798"/>
                  </a:lnTo>
                  <a:lnTo>
                    <a:pt x="606" y="798"/>
                  </a:lnTo>
                  <a:lnTo>
                    <a:pt x="660" y="792"/>
                  </a:lnTo>
                  <a:lnTo>
                    <a:pt x="696" y="798"/>
                  </a:lnTo>
                  <a:lnTo>
                    <a:pt x="720" y="798"/>
                  </a:lnTo>
                  <a:lnTo>
                    <a:pt x="720" y="786"/>
                  </a:lnTo>
                  <a:lnTo>
                    <a:pt x="720" y="774"/>
                  </a:lnTo>
                  <a:lnTo>
                    <a:pt x="702" y="762"/>
                  </a:lnTo>
                  <a:lnTo>
                    <a:pt x="702" y="750"/>
                  </a:lnTo>
                  <a:lnTo>
                    <a:pt x="702" y="726"/>
                  </a:lnTo>
                  <a:lnTo>
                    <a:pt x="714" y="714"/>
                  </a:lnTo>
                  <a:lnTo>
                    <a:pt x="720" y="702"/>
                  </a:lnTo>
                  <a:lnTo>
                    <a:pt x="720" y="696"/>
                  </a:lnTo>
                  <a:lnTo>
                    <a:pt x="744" y="690"/>
                  </a:lnTo>
                  <a:lnTo>
                    <a:pt x="744" y="696"/>
                  </a:lnTo>
                  <a:lnTo>
                    <a:pt x="756" y="696"/>
                  </a:lnTo>
                  <a:lnTo>
                    <a:pt x="762" y="690"/>
                  </a:lnTo>
                  <a:lnTo>
                    <a:pt x="768" y="690"/>
                  </a:lnTo>
                  <a:lnTo>
                    <a:pt x="774" y="696"/>
                  </a:lnTo>
                  <a:lnTo>
                    <a:pt x="780" y="696"/>
                  </a:lnTo>
                  <a:lnTo>
                    <a:pt x="786" y="696"/>
                  </a:lnTo>
                  <a:lnTo>
                    <a:pt x="804" y="684"/>
                  </a:lnTo>
                  <a:lnTo>
                    <a:pt x="810" y="684"/>
                  </a:lnTo>
                  <a:lnTo>
                    <a:pt x="810" y="654"/>
                  </a:lnTo>
                  <a:lnTo>
                    <a:pt x="816" y="588"/>
                  </a:lnTo>
                  <a:lnTo>
                    <a:pt x="804" y="582"/>
                  </a:lnTo>
                  <a:lnTo>
                    <a:pt x="798" y="552"/>
                  </a:lnTo>
                  <a:lnTo>
                    <a:pt x="798" y="480"/>
                  </a:lnTo>
                  <a:lnTo>
                    <a:pt x="780" y="468"/>
                  </a:lnTo>
                  <a:lnTo>
                    <a:pt x="780" y="462"/>
                  </a:lnTo>
                  <a:lnTo>
                    <a:pt x="774" y="450"/>
                  </a:lnTo>
                  <a:lnTo>
                    <a:pt x="762" y="444"/>
                  </a:lnTo>
                  <a:lnTo>
                    <a:pt x="762" y="438"/>
                  </a:lnTo>
                  <a:lnTo>
                    <a:pt x="768" y="432"/>
                  </a:lnTo>
                  <a:lnTo>
                    <a:pt x="774" y="426"/>
                  </a:lnTo>
                  <a:lnTo>
                    <a:pt x="780" y="426"/>
                  </a:lnTo>
                  <a:lnTo>
                    <a:pt x="780" y="414"/>
                  </a:lnTo>
                  <a:lnTo>
                    <a:pt x="834" y="414"/>
                  </a:lnTo>
                  <a:lnTo>
                    <a:pt x="834" y="426"/>
                  </a:lnTo>
                  <a:lnTo>
                    <a:pt x="840" y="432"/>
                  </a:lnTo>
                  <a:lnTo>
                    <a:pt x="846" y="432"/>
                  </a:lnTo>
                  <a:lnTo>
                    <a:pt x="852" y="432"/>
                  </a:lnTo>
                  <a:lnTo>
                    <a:pt x="858" y="432"/>
                  </a:lnTo>
                  <a:lnTo>
                    <a:pt x="870" y="432"/>
                  </a:lnTo>
                  <a:lnTo>
                    <a:pt x="870" y="426"/>
                  </a:lnTo>
                  <a:lnTo>
                    <a:pt x="870" y="420"/>
                  </a:lnTo>
                  <a:lnTo>
                    <a:pt x="876" y="420"/>
                  </a:lnTo>
                  <a:lnTo>
                    <a:pt x="882" y="420"/>
                  </a:lnTo>
                  <a:lnTo>
                    <a:pt x="894" y="414"/>
                  </a:lnTo>
                  <a:lnTo>
                    <a:pt x="900" y="414"/>
                  </a:lnTo>
                  <a:lnTo>
                    <a:pt x="906" y="408"/>
                  </a:lnTo>
                  <a:lnTo>
                    <a:pt x="918" y="408"/>
                  </a:lnTo>
                  <a:lnTo>
                    <a:pt x="924" y="402"/>
                  </a:lnTo>
                  <a:lnTo>
                    <a:pt x="930" y="384"/>
                  </a:lnTo>
                  <a:lnTo>
                    <a:pt x="948" y="396"/>
                  </a:lnTo>
                  <a:lnTo>
                    <a:pt x="954" y="384"/>
                  </a:lnTo>
                  <a:lnTo>
                    <a:pt x="960" y="384"/>
                  </a:lnTo>
                  <a:lnTo>
                    <a:pt x="972" y="384"/>
                  </a:lnTo>
                  <a:lnTo>
                    <a:pt x="978" y="378"/>
                  </a:lnTo>
                  <a:lnTo>
                    <a:pt x="972" y="366"/>
                  </a:lnTo>
                  <a:lnTo>
                    <a:pt x="966" y="342"/>
                  </a:lnTo>
                  <a:lnTo>
                    <a:pt x="960" y="330"/>
                  </a:lnTo>
                  <a:lnTo>
                    <a:pt x="942" y="324"/>
                  </a:lnTo>
                  <a:lnTo>
                    <a:pt x="936" y="318"/>
                  </a:lnTo>
                  <a:lnTo>
                    <a:pt x="936" y="294"/>
                  </a:lnTo>
                  <a:lnTo>
                    <a:pt x="942" y="294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282"/>
                  </a:lnTo>
                  <a:lnTo>
                    <a:pt x="954" y="276"/>
                  </a:lnTo>
                  <a:lnTo>
                    <a:pt x="960" y="276"/>
                  </a:lnTo>
                  <a:lnTo>
                    <a:pt x="966" y="276"/>
                  </a:lnTo>
                  <a:lnTo>
                    <a:pt x="960" y="258"/>
                  </a:lnTo>
                  <a:lnTo>
                    <a:pt x="954" y="240"/>
                  </a:lnTo>
                  <a:lnTo>
                    <a:pt x="948" y="204"/>
                  </a:lnTo>
                  <a:lnTo>
                    <a:pt x="954" y="204"/>
                  </a:lnTo>
                  <a:lnTo>
                    <a:pt x="960" y="198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00" y="186"/>
                  </a:lnTo>
                  <a:lnTo>
                    <a:pt x="876" y="180"/>
                  </a:lnTo>
                  <a:lnTo>
                    <a:pt x="858" y="180"/>
                  </a:lnTo>
                  <a:lnTo>
                    <a:pt x="852" y="168"/>
                  </a:lnTo>
                  <a:lnTo>
                    <a:pt x="834" y="156"/>
                  </a:lnTo>
                  <a:lnTo>
                    <a:pt x="822" y="156"/>
                  </a:lnTo>
                  <a:lnTo>
                    <a:pt x="804" y="156"/>
                  </a:lnTo>
                  <a:lnTo>
                    <a:pt x="804" y="150"/>
                  </a:lnTo>
                  <a:lnTo>
                    <a:pt x="792" y="144"/>
                  </a:lnTo>
                  <a:lnTo>
                    <a:pt x="762" y="138"/>
                  </a:lnTo>
                  <a:lnTo>
                    <a:pt x="768" y="120"/>
                  </a:lnTo>
                  <a:lnTo>
                    <a:pt x="756" y="120"/>
                  </a:lnTo>
                  <a:lnTo>
                    <a:pt x="744" y="108"/>
                  </a:lnTo>
                  <a:lnTo>
                    <a:pt x="744" y="96"/>
                  </a:lnTo>
                  <a:lnTo>
                    <a:pt x="762" y="84"/>
                  </a:lnTo>
                  <a:lnTo>
                    <a:pt x="768" y="84"/>
                  </a:lnTo>
                  <a:lnTo>
                    <a:pt x="768" y="72"/>
                  </a:lnTo>
                  <a:lnTo>
                    <a:pt x="780" y="66"/>
                  </a:lnTo>
                  <a:lnTo>
                    <a:pt x="798" y="54"/>
                  </a:lnTo>
                  <a:lnTo>
                    <a:pt x="792" y="54"/>
                  </a:lnTo>
                  <a:lnTo>
                    <a:pt x="798" y="36"/>
                  </a:lnTo>
                  <a:lnTo>
                    <a:pt x="804" y="36"/>
                  </a:lnTo>
                  <a:lnTo>
                    <a:pt x="816" y="30"/>
                  </a:lnTo>
                  <a:lnTo>
                    <a:pt x="828" y="30"/>
                  </a:lnTo>
                  <a:lnTo>
                    <a:pt x="846" y="12"/>
                  </a:lnTo>
                  <a:lnTo>
                    <a:pt x="876" y="0"/>
                  </a:lnTo>
                  <a:lnTo>
                    <a:pt x="882" y="6"/>
                  </a:lnTo>
                  <a:lnTo>
                    <a:pt x="900" y="6"/>
                  </a:lnTo>
                  <a:lnTo>
                    <a:pt x="912" y="36"/>
                  </a:lnTo>
                  <a:lnTo>
                    <a:pt x="918" y="42"/>
                  </a:lnTo>
                  <a:lnTo>
                    <a:pt x="924" y="54"/>
                  </a:lnTo>
                  <a:lnTo>
                    <a:pt x="930" y="54"/>
                  </a:lnTo>
                  <a:lnTo>
                    <a:pt x="930" y="78"/>
                  </a:lnTo>
                  <a:lnTo>
                    <a:pt x="954" y="72"/>
                  </a:lnTo>
                  <a:lnTo>
                    <a:pt x="954" y="60"/>
                  </a:lnTo>
                  <a:lnTo>
                    <a:pt x="966" y="66"/>
                  </a:lnTo>
                  <a:lnTo>
                    <a:pt x="966" y="78"/>
                  </a:lnTo>
                  <a:lnTo>
                    <a:pt x="960" y="84"/>
                  </a:lnTo>
                  <a:lnTo>
                    <a:pt x="954" y="102"/>
                  </a:lnTo>
                  <a:lnTo>
                    <a:pt x="972" y="102"/>
                  </a:lnTo>
                  <a:lnTo>
                    <a:pt x="978" y="84"/>
                  </a:lnTo>
                  <a:lnTo>
                    <a:pt x="984" y="72"/>
                  </a:lnTo>
                  <a:lnTo>
                    <a:pt x="990" y="72"/>
                  </a:lnTo>
                  <a:lnTo>
                    <a:pt x="996" y="18"/>
                  </a:lnTo>
                  <a:lnTo>
                    <a:pt x="990" y="12"/>
                  </a:lnTo>
                  <a:lnTo>
                    <a:pt x="1014" y="12"/>
                  </a:lnTo>
                  <a:lnTo>
                    <a:pt x="1026" y="12"/>
                  </a:lnTo>
                  <a:lnTo>
                    <a:pt x="1026" y="24"/>
                  </a:lnTo>
                  <a:lnTo>
                    <a:pt x="1050" y="24"/>
                  </a:lnTo>
                  <a:lnTo>
                    <a:pt x="1050" y="36"/>
                  </a:lnTo>
                  <a:lnTo>
                    <a:pt x="1062" y="66"/>
                  </a:lnTo>
                  <a:lnTo>
                    <a:pt x="1074" y="66"/>
                  </a:lnTo>
                  <a:lnTo>
                    <a:pt x="1080" y="60"/>
                  </a:lnTo>
                  <a:lnTo>
                    <a:pt x="1074" y="24"/>
                  </a:lnTo>
                  <a:lnTo>
                    <a:pt x="1086" y="18"/>
                  </a:lnTo>
                  <a:lnTo>
                    <a:pt x="1086" y="12"/>
                  </a:lnTo>
                  <a:lnTo>
                    <a:pt x="1104" y="6"/>
                  </a:lnTo>
                  <a:lnTo>
                    <a:pt x="1122" y="0"/>
                  </a:lnTo>
                  <a:lnTo>
                    <a:pt x="1134" y="6"/>
                  </a:lnTo>
                  <a:lnTo>
                    <a:pt x="1134" y="42"/>
                  </a:lnTo>
                  <a:lnTo>
                    <a:pt x="1140" y="72"/>
                  </a:lnTo>
                  <a:lnTo>
                    <a:pt x="1158" y="114"/>
                  </a:lnTo>
                  <a:lnTo>
                    <a:pt x="1170" y="114"/>
                  </a:lnTo>
                  <a:lnTo>
                    <a:pt x="1170" y="126"/>
                  </a:lnTo>
                  <a:lnTo>
                    <a:pt x="1182" y="126"/>
                  </a:lnTo>
                  <a:lnTo>
                    <a:pt x="1182" y="138"/>
                  </a:lnTo>
                  <a:lnTo>
                    <a:pt x="1194" y="144"/>
                  </a:lnTo>
                  <a:lnTo>
                    <a:pt x="1194" y="156"/>
                  </a:lnTo>
                  <a:lnTo>
                    <a:pt x="1188" y="156"/>
                  </a:lnTo>
                  <a:lnTo>
                    <a:pt x="1194" y="162"/>
                  </a:lnTo>
                  <a:lnTo>
                    <a:pt x="1194" y="168"/>
                  </a:lnTo>
                  <a:lnTo>
                    <a:pt x="1188" y="168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82" y="180"/>
                  </a:lnTo>
                  <a:lnTo>
                    <a:pt x="1188" y="186"/>
                  </a:lnTo>
                  <a:lnTo>
                    <a:pt x="1188" y="192"/>
                  </a:lnTo>
                  <a:lnTo>
                    <a:pt x="1182" y="198"/>
                  </a:lnTo>
                  <a:lnTo>
                    <a:pt x="1182" y="204"/>
                  </a:lnTo>
                  <a:lnTo>
                    <a:pt x="1182" y="210"/>
                  </a:lnTo>
                  <a:lnTo>
                    <a:pt x="1188" y="210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2"/>
                  </a:lnTo>
                  <a:lnTo>
                    <a:pt x="1194" y="264"/>
                  </a:lnTo>
                  <a:lnTo>
                    <a:pt x="1200" y="264"/>
                  </a:lnTo>
                  <a:lnTo>
                    <a:pt x="1212" y="264"/>
                  </a:lnTo>
                  <a:lnTo>
                    <a:pt x="1212" y="258"/>
                  </a:lnTo>
                  <a:lnTo>
                    <a:pt x="1224" y="258"/>
                  </a:lnTo>
                  <a:lnTo>
                    <a:pt x="1248" y="252"/>
                  </a:lnTo>
                  <a:lnTo>
                    <a:pt x="1248" y="264"/>
                  </a:lnTo>
                  <a:lnTo>
                    <a:pt x="1254" y="264"/>
                  </a:lnTo>
                  <a:lnTo>
                    <a:pt x="1254" y="270"/>
                  </a:lnTo>
                  <a:lnTo>
                    <a:pt x="1260" y="270"/>
                  </a:lnTo>
                  <a:lnTo>
                    <a:pt x="1266" y="270"/>
                  </a:lnTo>
                  <a:lnTo>
                    <a:pt x="1272" y="270"/>
                  </a:lnTo>
                  <a:lnTo>
                    <a:pt x="1272" y="264"/>
                  </a:lnTo>
                  <a:lnTo>
                    <a:pt x="1272" y="258"/>
                  </a:lnTo>
                  <a:lnTo>
                    <a:pt x="1278" y="258"/>
                  </a:lnTo>
                  <a:lnTo>
                    <a:pt x="1278" y="252"/>
                  </a:lnTo>
                  <a:lnTo>
                    <a:pt x="1290" y="252"/>
                  </a:lnTo>
                  <a:lnTo>
                    <a:pt x="1296" y="246"/>
                  </a:lnTo>
                  <a:lnTo>
                    <a:pt x="1308" y="246"/>
                  </a:lnTo>
                  <a:lnTo>
                    <a:pt x="1308" y="240"/>
                  </a:lnTo>
                  <a:lnTo>
                    <a:pt x="1320" y="240"/>
                  </a:lnTo>
                  <a:lnTo>
                    <a:pt x="1326" y="246"/>
                  </a:lnTo>
                  <a:lnTo>
                    <a:pt x="1338" y="246"/>
                  </a:lnTo>
                  <a:lnTo>
                    <a:pt x="1338" y="240"/>
                  </a:lnTo>
                  <a:lnTo>
                    <a:pt x="1350" y="240"/>
                  </a:lnTo>
                  <a:lnTo>
                    <a:pt x="1386" y="234"/>
                  </a:lnTo>
                  <a:lnTo>
                    <a:pt x="1398" y="228"/>
                  </a:lnTo>
                  <a:lnTo>
                    <a:pt x="1404" y="216"/>
                  </a:lnTo>
                  <a:lnTo>
                    <a:pt x="1416" y="204"/>
                  </a:lnTo>
                  <a:lnTo>
                    <a:pt x="1434" y="192"/>
                  </a:lnTo>
                  <a:lnTo>
                    <a:pt x="1446" y="198"/>
                  </a:lnTo>
                  <a:lnTo>
                    <a:pt x="1446" y="204"/>
                  </a:lnTo>
                  <a:lnTo>
                    <a:pt x="1452" y="210"/>
                  </a:lnTo>
                  <a:lnTo>
                    <a:pt x="1464" y="222"/>
                  </a:lnTo>
                  <a:lnTo>
                    <a:pt x="1464" y="228"/>
                  </a:lnTo>
                  <a:lnTo>
                    <a:pt x="1464" y="234"/>
                  </a:lnTo>
                  <a:lnTo>
                    <a:pt x="1470" y="240"/>
                  </a:lnTo>
                  <a:lnTo>
                    <a:pt x="1476" y="228"/>
                  </a:lnTo>
                  <a:lnTo>
                    <a:pt x="1476" y="222"/>
                  </a:lnTo>
                  <a:lnTo>
                    <a:pt x="1482" y="210"/>
                  </a:lnTo>
                  <a:lnTo>
                    <a:pt x="1488" y="192"/>
                  </a:lnTo>
                  <a:lnTo>
                    <a:pt x="1488" y="186"/>
                  </a:lnTo>
                  <a:lnTo>
                    <a:pt x="1488" y="180"/>
                  </a:lnTo>
                  <a:lnTo>
                    <a:pt x="1500" y="180"/>
                  </a:lnTo>
                  <a:lnTo>
                    <a:pt x="1500" y="174"/>
                  </a:lnTo>
                  <a:lnTo>
                    <a:pt x="1518" y="162"/>
                  </a:lnTo>
                  <a:lnTo>
                    <a:pt x="1536" y="150"/>
                  </a:lnTo>
                  <a:lnTo>
                    <a:pt x="1554" y="168"/>
                  </a:lnTo>
                  <a:lnTo>
                    <a:pt x="1572" y="180"/>
                  </a:lnTo>
                  <a:lnTo>
                    <a:pt x="1596" y="216"/>
                  </a:lnTo>
                  <a:lnTo>
                    <a:pt x="1602" y="216"/>
                  </a:lnTo>
                  <a:lnTo>
                    <a:pt x="1614" y="228"/>
                  </a:lnTo>
                  <a:lnTo>
                    <a:pt x="1614" y="234"/>
                  </a:lnTo>
                  <a:lnTo>
                    <a:pt x="1620" y="240"/>
                  </a:lnTo>
                  <a:lnTo>
                    <a:pt x="1620" y="246"/>
                  </a:lnTo>
                  <a:lnTo>
                    <a:pt x="1626" y="252"/>
                  </a:lnTo>
                  <a:lnTo>
                    <a:pt x="1632" y="258"/>
                  </a:lnTo>
                  <a:lnTo>
                    <a:pt x="1632" y="264"/>
                  </a:lnTo>
                  <a:lnTo>
                    <a:pt x="1638" y="264"/>
                  </a:lnTo>
                  <a:lnTo>
                    <a:pt x="1638" y="270"/>
                  </a:lnTo>
                  <a:lnTo>
                    <a:pt x="1638" y="276"/>
                  </a:lnTo>
                  <a:lnTo>
                    <a:pt x="1638" y="282"/>
                  </a:lnTo>
                  <a:lnTo>
                    <a:pt x="1644" y="288"/>
                  </a:lnTo>
                  <a:lnTo>
                    <a:pt x="1644" y="294"/>
                  </a:lnTo>
                  <a:lnTo>
                    <a:pt x="1644" y="300"/>
                  </a:lnTo>
                  <a:lnTo>
                    <a:pt x="1644" y="306"/>
                  </a:lnTo>
                  <a:lnTo>
                    <a:pt x="1650" y="306"/>
                  </a:lnTo>
                  <a:lnTo>
                    <a:pt x="1650" y="312"/>
                  </a:lnTo>
                  <a:lnTo>
                    <a:pt x="1650" y="318"/>
                  </a:lnTo>
                  <a:lnTo>
                    <a:pt x="1650" y="324"/>
                  </a:lnTo>
                  <a:lnTo>
                    <a:pt x="1644" y="330"/>
                  </a:lnTo>
                  <a:lnTo>
                    <a:pt x="1626" y="330"/>
                  </a:lnTo>
                  <a:lnTo>
                    <a:pt x="1626" y="336"/>
                  </a:lnTo>
                  <a:lnTo>
                    <a:pt x="1626" y="342"/>
                  </a:lnTo>
                  <a:lnTo>
                    <a:pt x="1626" y="348"/>
                  </a:lnTo>
                  <a:lnTo>
                    <a:pt x="1620" y="354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14" y="390"/>
                  </a:lnTo>
                  <a:lnTo>
                    <a:pt x="1614" y="396"/>
                  </a:lnTo>
                  <a:lnTo>
                    <a:pt x="1614" y="402"/>
                  </a:lnTo>
                  <a:lnTo>
                    <a:pt x="1614" y="408"/>
                  </a:lnTo>
                  <a:lnTo>
                    <a:pt x="1614" y="414"/>
                  </a:lnTo>
                  <a:lnTo>
                    <a:pt x="1602" y="420"/>
                  </a:lnTo>
                  <a:lnTo>
                    <a:pt x="1602" y="426"/>
                  </a:lnTo>
                  <a:lnTo>
                    <a:pt x="1608" y="432"/>
                  </a:lnTo>
                  <a:lnTo>
                    <a:pt x="1614" y="426"/>
                  </a:lnTo>
                  <a:lnTo>
                    <a:pt x="1620" y="438"/>
                  </a:lnTo>
                  <a:lnTo>
                    <a:pt x="1626" y="438"/>
                  </a:lnTo>
                  <a:lnTo>
                    <a:pt x="1632" y="444"/>
                  </a:lnTo>
                  <a:lnTo>
                    <a:pt x="1626" y="456"/>
                  </a:lnTo>
                  <a:lnTo>
                    <a:pt x="1626" y="468"/>
                  </a:lnTo>
                  <a:lnTo>
                    <a:pt x="1620" y="474"/>
                  </a:lnTo>
                  <a:lnTo>
                    <a:pt x="1614" y="474"/>
                  </a:lnTo>
                  <a:lnTo>
                    <a:pt x="1614" y="486"/>
                  </a:lnTo>
                  <a:lnTo>
                    <a:pt x="1614" y="492"/>
                  </a:lnTo>
                  <a:lnTo>
                    <a:pt x="1620" y="492"/>
                  </a:lnTo>
                  <a:lnTo>
                    <a:pt x="1626" y="498"/>
                  </a:lnTo>
                  <a:lnTo>
                    <a:pt x="1626" y="504"/>
                  </a:lnTo>
                  <a:lnTo>
                    <a:pt x="1626" y="510"/>
                  </a:lnTo>
                  <a:lnTo>
                    <a:pt x="1620" y="516"/>
                  </a:lnTo>
                  <a:lnTo>
                    <a:pt x="1620" y="522"/>
                  </a:lnTo>
                  <a:lnTo>
                    <a:pt x="1614" y="522"/>
                  </a:lnTo>
                  <a:lnTo>
                    <a:pt x="1608" y="528"/>
                  </a:lnTo>
                  <a:lnTo>
                    <a:pt x="1602" y="522"/>
                  </a:lnTo>
                  <a:lnTo>
                    <a:pt x="1602" y="528"/>
                  </a:lnTo>
                  <a:lnTo>
                    <a:pt x="1602" y="540"/>
                  </a:lnTo>
                  <a:lnTo>
                    <a:pt x="1602" y="558"/>
                  </a:lnTo>
                  <a:lnTo>
                    <a:pt x="1602" y="564"/>
                  </a:lnTo>
                  <a:lnTo>
                    <a:pt x="1602" y="570"/>
                  </a:lnTo>
                  <a:lnTo>
                    <a:pt x="1602" y="576"/>
                  </a:lnTo>
                  <a:lnTo>
                    <a:pt x="1596" y="576"/>
                  </a:lnTo>
                  <a:lnTo>
                    <a:pt x="1632" y="582"/>
                  </a:lnTo>
                  <a:lnTo>
                    <a:pt x="1644" y="618"/>
                  </a:lnTo>
                  <a:lnTo>
                    <a:pt x="1650" y="648"/>
                  </a:lnTo>
                  <a:lnTo>
                    <a:pt x="1662" y="636"/>
                  </a:lnTo>
                  <a:lnTo>
                    <a:pt x="1668" y="636"/>
                  </a:lnTo>
                  <a:lnTo>
                    <a:pt x="1674" y="636"/>
                  </a:lnTo>
                  <a:lnTo>
                    <a:pt x="1680" y="630"/>
                  </a:lnTo>
                  <a:lnTo>
                    <a:pt x="1686" y="630"/>
                  </a:lnTo>
                  <a:lnTo>
                    <a:pt x="1692" y="630"/>
                  </a:lnTo>
                  <a:lnTo>
                    <a:pt x="1698" y="630"/>
                  </a:lnTo>
                  <a:lnTo>
                    <a:pt x="1704" y="630"/>
                  </a:lnTo>
                  <a:lnTo>
                    <a:pt x="1704" y="624"/>
                  </a:lnTo>
                  <a:lnTo>
                    <a:pt x="1710" y="624"/>
                  </a:lnTo>
                  <a:lnTo>
                    <a:pt x="1716" y="624"/>
                  </a:lnTo>
                  <a:lnTo>
                    <a:pt x="1722" y="624"/>
                  </a:lnTo>
                  <a:lnTo>
                    <a:pt x="1728" y="624"/>
                  </a:lnTo>
                  <a:lnTo>
                    <a:pt x="1722" y="618"/>
                  </a:lnTo>
                  <a:lnTo>
                    <a:pt x="1728" y="606"/>
                  </a:lnTo>
                  <a:lnTo>
                    <a:pt x="1734" y="606"/>
                  </a:lnTo>
                  <a:lnTo>
                    <a:pt x="1740" y="600"/>
                  </a:lnTo>
                  <a:lnTo>
                    <a:pt x="1746" y="594"/>
                  </a:lnTo>
                  <a:lnTo>
                    <a:pt x="1752" y="588"/>
                  </a:lnTo>
                  <a:lnTo>
                    <a:pt x="1752" y="582"/>
                  </a:lnTo>
                  <a:lnTo>
                    <a:pt x="1758" y="576"/>
                  </a:lnTo>
                  <a:lnTo>
                    <a:pt x="1764" y="576"/>
                  </a:lnTo>
                  <a:lnTo>
                    <a:pt x="1770" y="570"/>
                  </a:lnTo>
                  <a:lnTo>
                    <a:pt x="1776" y="564"/>
                  </a:lnTo>
                  <a:lnTo>
                    <a:pt x="1788" y="558"/>
                  </a:lnTo>
                  <a:lnTo>
                    <a:pt x="1788" y="546"/>
                  </a:lnTo>
                  <a:lnTo>
                    <a:pt x="1788" y="540"/>
                  </a:lnTo>
                  <a:lnTo>
                    <a:pt x="1794" y="540"/>
                  </a:lnTo>
                  <a:lnTo>
                    <a:pt x="1788" y="534"/>
                  </a:lnTo>
                  <a:lnTo>
                    <a:pt x="1788" y="528"/>
                  </a:lnTo>
                  <a:lnTo>
                    <a:pt x="1794" y="516"/>
                  </a:lnTo>
                  <a:lnTo>
                    <a:pt x="1800" y="510"/>
                  </a:lnTo>
                  <a:lnTo>
                    <a:pt x="1812" y="510"/>
                  </a:lnTo>
                  <a:lnTo>
                    <a:pt x="1818" y="504"/>
                  </a:lnTo>
                  <a:lnTo>
                    <a:pt x="1824" y="504"/>
                  </a:lnTo>
                  <a:lnTo>
                    <a:pt x="1830" y="498"/>
                  </a:lnTo>
                  <a:lnTo>
                    <a:pt x="1836" y="498"/>
                  </a:lnTo>
                  <a:lnTo>
                    <a:pt x="1848" y="492"/>
                  </a:lnTo>
                  <a:lnTo>
                    <a:pt x="1848" y="480"/>
                  </a:lnTo>
                  <a:lnTo>
                    <a:pt x="1854" y="480"/>
                  </a:lnTo>
                  <a:lnTo>
                    <a:pt x="1890" y="504"/>
                  </a:lnTo>
                  <a:lnTo>
                    <a:pt x="1908" y="534"/>
                  </a:lnTo>
                  <a:lnTo>
                    <a:pt x="1902" y="534"/>
                  </a:lnTo>
                  <a:lnTo>
                    <a:pt x="1920" y="528"/>
                  </a:lnTo>
                  <a:lnTo>
                    <a:pt x="1920" y="516"/>
                  </a:lnTo>
                  <a:lnTo>
                    <a:pt x="1944" y="516"/>
                  </a:lnTo>
                  <a:lnTo>
                    <a:pt x="2004" y="516"/>
                  </a:lnTo>
                  <a:lnTo>
                    <a:pt x="2010" y="510"/>
                  </a:lnTo>
                  <a:lnTo>
                    <a:pt x="2004" y="510"/>
                  </a:lnTo>
                  <a:lnTo>
                    <a:pt x="2010" y="498"/>
                  </a:lnTo>
                  <a:lnTo>
                    <a:pt x="2004" y="486"/>
                  </a:lnTo>
                  <a:lnTo>
                    <a:pt x="2004" y="480"/>
                  </a:lnTo>
                  <a:lnTo>
                    <a:pt x="2004" y="474"/>
                  </a:lnTo>
                  <a:lnTo>
                    <a:pt x="2004" y="462"/>
                  </a:lnTo>
                  <a:lnTo>
                    <a:pt x="2004" y="456"/>
                  </a:lnTo>
                  <a:lnTo>
                    <a:pt x="2058" y="462"/>
                  </a:lnTo>
                  <a:lnTo>
                    <a:pt x="2076" y="474"/>
                  </a:lnTo>
                  <a:lnTo>
                    <a:pt x="2082" y="522"/>
                  </a:lnTo>
                  <a:lnTo>
                    <a:pt x="2088" y="516"/>
                  </a:lnTo>
                  <a:lnTo>
                    <a:pt x="2094" y="522"/>
                  </a:lnTo>
                  <a:lnTo>
                    <a:pt x="2100" y="528"/>
                  </a:lnTo>
                  <a:lnTo>
                    <a:pt x="2130" y="540"/>
                  </a:lnTo>
                  <a:lnTo>
                    <a:pt x="2160" y="564"/>
                  </a:lnTo>
                  <a:lnTo>
                    <a:pt x="2166" y="600"/>
                  </a:lnTo>
                  <a:lnTo>
                    <a:pt x="2160" y="618"/>
                  </a:lnTo>
                  <a:lnTo>
                    <a:pt x="2142" y="636"/>
                  </a:lnTo>
                  <a:lnTo>
                    <a:pt x="2148" y="648"/>
                  </a:lnTo>
                  <a:lnTo>
                    <a:pt x="2154" y="660"/>
                  </a:lnTo>
                  <a:lnTo>
                    <a:pt x="2196" y="654"/>
                  </a:lnTo>
                  <a:lnTo>
                    <a:pt x="2214" y="660"/>
                  </a:lnTo>
                  <a:lnTo>
                    <a:pt x="2214" y="666"/>
                  </a:lnTo>
                  <a:lnTo>
                    <a:pt x="2220" y="672"/>
                  </a:lnTo>
                  <a:lnTo>
                    <a:pt x="2214" y="678"/>
                  </a:lnTo>
                  <a:lnTo>
                    <a:pt x="2214" y="684"/>
                  </a:lnTo>
                  <a:lnTo>
                    <a:pt x="2214" y="690"/>
                  </a:lnTo>
                  <a:lnTo>
                    <a:pt x="2208" y="690"/>
                  </a:lnTo>
                  <a:lnTo>
                    <a:pt x="2202" y="696"/>
                  </a:lnTo>
                  <a:lnTo>
                    <a:pt x="2196" y="702"/>
                  </a:lnTo>
                  <a:lnTo>
                    <a:pt x="2190" y="708"/>
                  </a:lnTo>
                  <a:lnTo>
                    <a:pt x="2190" y="720"/>
                  </a:lnTo>
                  <a:lnTo>
                    <a:pt x="2184" y="720"/>
                  </a:lnTo>
                  <a:lnTo>
                    <a:pt x="2178" y="726"/>
                  </a:lnTo>
                  <a:lnTo>
                    <a:pt x="2166" y="732"/>
                  </a:lnTo>
                  <a:lnTo>
                    <a:pt x="2160" y="744"/>
                  </a:lnTo>
                  <a:lnTo>
                    <a:pt x="2154" y="756"/>
                  </a:lnTo>
                  <a:lnTo>
                    <a:pt x="2148" y="762"/>
                  </a:lnTo>
                  <a:lnTo>
                    <a:pt x="2124" y="762"/>
                  </a:lnTo>
                  <a:lnTo>
                    <a:pt x="2124" y="768"/>
                  </a:lnTo>
                  <a:lnTo>
                    <a:pt x="2118" y="768"/>
                  </a:lnTo>
                  <a:lnTo>
                    <a:pt x="2124" y="774"/>
                  </a:lnTo>
                  <a:lnTo>
                    <a:pt x="2118" y="774"/>
                  </a:lnTo>
                  <a:lnTo>
                    <a:pt x="2112" y="774"/>
                  </a:lnTo>
                  <a:lnTo>
                    <a:pt x="2106" y="780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06" y="798"/>
                  </a:lnTo>
                  <a:lnTo>
                    <a:pt x="2106" y="810"/>
                  </a:lnTo>
                  <a:lnTo>
                    <a:pt x="2112" y="828"/>
                  </a:lnTo>
                  <a:lnTo>
                    <a:pt x="2112" y="834"/>
                  </a:lnTo>
                  <a:lnTo>
                    <a:pt x="2112" y="840"/>
                  </a:lnTo>
                  <a:lnTo>
                    <a:pt x="2112" y="834"/>
                  </a:lnTo>
                  <a:lnTo>
                    <a:pt x="2124" y="834"/>
                  </a:lnTo>
                  <a:lnTo>
                    <a:pt x="2130" y="834"/>
                  </a:lnTo>
                  <a:lnTo>
                    <a:pt x="2136" y="840"/>
                  </a:lnTo>
                  <a:lnTo>
                    <a:pt x="2142" y="840"/>
                  </a:lnTo>
                  <a:lnTo>
                    <a:pt x="2154" y="852"/>
                  </a:lnTo>
                  <a:lnTo>
                    <a:pt x="2160" y="852"/>
                  </a:lnTo>
                  <a:lnTo>
                    <a:pt x="2172" y="846"/>
                  </a:lnTo>
                  <a:lnTo>
                    <a:pt x="2178" y="846"/>
                  </a:lnTo>
                  <a:lnTo>
                    <a:pt x="2184" y="846"/>
                  </a:lnTo>
                  <a:lnTo>
                    <a:pt x="2190" y="846"/>
                  </a:lnTo>
                  <a:lnTo>
                    <a:pt x="2196" y="852"/>
                  </a:lnTo>
                  <a:lnTo>
                    <a:pt x="2196" y="858"/>
                  </a:lnTo>
                  <a:lnTo>
                    <a:pt x="2202" y="852"/>
                  </a:lnTo>
                  <a:lnTo>
                    <a:pt x="2208" y="846"/>
                  </a:lnTo>
                  <a:lnTo>
                    <a:pt x="2214" y="846"/>
                  </a:lnTo>
                  <a:lnTo>
                    <a:pt x="2226" y="846"/>
                  </a:lnTo>
                  <a:lnTo>
                    <a:pt x="2232" y="852"/>
                  </a:lnTo>
                  <a:lnTo>
                    <a:pt x="2238" y="852"/>
                  </a:lnTo>
                  <a:lnTo>
                    <a:pt x="2244" y="858"/>
                  </a:lnTo>
                  <a:lnTo>
                    <a:pt x="2250" y="858"/>
                  </a:lnTo>
                  <a:lnTo>
                    <a:pt x="2256" y="858"/>
                  </a:lnTo>
                  <a:lnTo>
                    <a:pt x="2262" y="858"/>
                  </a:lnTo>
                  <a:lnTo>
                    <a:pt x="2268" y="852"/>
                  </a:lnTo>
                  <a:lnTo>
                    <a:pt x="2274" y="852"/>
                  </a:lnTo>
                  <a:lnTo>
                    <a:pt x="2280" y="852"/>
                  </a:lnTo>
                  <a:lnTo>
                    <a:pt x="2286" y="852"/>
                  </a:lnTo>
                  <a:lnTo>
                    <a:pt x="2298" y="858"/>
                  </a:lnTo>
                  <a:lnTo>
                    <a:pt x="2304" y="858"/>
                  </a:lnTo>
                  <a:lnTo>
                    <a:pt x="2310" y="858"/>
                  </a:lnTo>
                  <a:lnTo>
                    <a:pt x="2316" y="852"/>
                  </a:lnTo>
                  <a:lnTo>
                    <a:pt x="2322" y="858"/>
                  </a:lnTo>
                  <a:lnTo>
                    <a:pt x="2328" y="858"/>
                  </a:lnTo>
                  <a:lnTo>
                    <a:pt x="2328" y="852"/>
                  </a:lnTo>
                  <a:lnTo>
                    <a:pt x="2364" y="858"/>
                  </a:lnTo>
                  <a:lnTo>
                    <a:pt x="2376" y="876"/>
                  </a:lnTo>
                  <a:lnTo>
                    <a:pt x="2382" y="936"/>
                  </a:lnTo>
                  <a:lnTo>
                    <a:pt x="2388" y="966"/>
                  </a:lnTo>
                  <a:lnTo>
                    <a:pt x="2382" y="972"/>
                  </a:lnTo>
                  <a:lnTo>
                    <a:pt x="2382" y="978"/>
                  </a:lnTo>
                  <a:lnTo>
                    <a:pt x="2382" y="984"/>
                  </a:lnTo>
                  <a:lnTo>
                    <a:pt x="2388" y="990"/>
                  </a:lnTo>
                  <a:lnTo>
                    <a:pt x="2382" y="990"/>
                  </a:lnTo>
                  <a:lnTo>
                    <a:pt x="2382" y="996"/>
                  </a:lnTo>
                  <a:lnTo>
                    <a:pt x="2376" y="996"/>
                  </a:lnTo>
                  <a:lnTo>
                    <a:pt x="2376" y="1020"/>
                  </a:lnTo>
                  <a:lnTo>
                    <a:pt x="2370" y="1032"/>
                  </a:lnTo>
                  <a:lnTo>
                    <a:pt x="2352" y="1032"/>
                  </a:lnTo>
                  <a:lnTo>
                    <a:pt x="2346" y="1020"/>
                  </a:lnTo>
                  <a:lnTo>
                    <a:pt x="2328" y="1032"/>
                  </a:lnTo>
                  <a:lnTo>
                    <a:pt x="2316" y="1038"/>
                  </a:lnTo>
                  <a:lnTo>
                    <a:pt x="2328" y="1044"/>
                  </a:lnTo>
                  <a:lnTo>
                    <a:pt x="2340" y="1056"/>
                  </a:lnTo>
                  <a:lnTo>
                    <a:pt x="2376" y="1062"/>
                  </a:lnTo>
                  <a:lnTo>
                    <a:pt x="2376" y="1068"/>
                  </a:lnTo>
                  <a:lnTo>
                    <a:pt x="2382" y="1086"/>
                  </a:lnTo>
                  <a:lnTo>
                    <a:pt x="2376" y="1086"/>
                  </a:lnTo>
                  <a:lnTo>
                    <a:pt x="2370" y="1086"/>
                  </a:lnTo>
                  <a:lnTo>
                    <a:pt x="2364" y="1086"/>
                  </a:lnTo>
                  <a:lnTo>
                    <a:pt x="2364" y="1098"/>
                  </a:lnTo>
                  <a:lnTo>
                    <a:pt x="2388" y="1104"/>
                  </a:lnTo>
                  <a:lnTo>
                    <a:pt x="2400" y="1122"/>
                  </a:lnTo>
                  <a:lnTo>
                    <a:pt x="2400" y="1134"/>
                  </a:lnTo>
                  <a:lnTo>
                    <a:pt x="2400" y="1146"/>
                  </a:lnTo>
                  <a:lnTo>
                    <a:pt x="2394" y="1146"/>
                  </a:lnTo>
                  <a:lnTo>
                    <a:pt x="2394" y="1152"/>
                  </a:lnTo>
                  <a:lnTo>
                    <a:pt x="2388" y="1152"/>
                  </a:lnTo>
                  <a:lnTo>
                    <a:pt x="2388" y="1146"/>
                  </a:lnTo>
                  <a:lnTo>
                    <a:pt x="2382" y="1152"/>
                  </a:lnTo>
                  <a:lnTo>
                    <a:pt x="2376" y="1152"/>
                  </a:lnTo>
                  <a:lnTo>
                    <a:pt x="2370" y="1158"/>
                  </a:lnTo>
                  <a:lnTo>
                    <a:pt x="2370" y="1164"/>
                  </a:lnTo>
                  <a:lnTo>
                    <a:pt x="2364" y="1170"/>
                  </a:lnTo>
                  <a:lnTo>
                    <a:pt x="2370" y="1170"/>
                  </a:lnTo>
                  <a:lnTo>
                    <a:pt x="2376" y="1170"/>
                  </a:lnTo>
                  <a:lnTo>
                    <a:pt x="2370" y="1176"/>
                  </a:lnTo>
                  <a:lnTo>
                    <a:pt x="2364" y="1176"/>
                  </a:lnTo>
                  <a:lnTo>
                    <a:pt x="2358" y="1182"/>
                  </a:lnTo>
                  <a:lnTo>
                    <a:pt x="2352" y="1182"/>
                  </a:lnTo>
                  <a:lnTo>
                    <a:pt x="2346" y="1188"/>
                  </a:lnTo>
                  <a:lnTo>
                    <a:pt x="2340" y="1182"/>
                  </a:lnTo>
                  <a:lnTo>
                    <a:pt x="2334" y="1182"/>
                  </a:lnTo>
                  <a:lnTo>
                    <a:pt x="2334" y="1188"/>
                  </a:lnTo>
                  <a:lnTo>
                    <a:pt x="2328" y="1194"/>
                  </a:lnTo>
                  <a:lnTo>
                    <a:pt x="2328" y="1200"/>
                  </a:lnTo>
                  <a:lnTo>
                    <a:pt x="2322" y="1224"/>
                  </a:lnTo>
                  <a:lnTo>
                    <a:pt x="2328" y="1230"/>
                  </a:lnTo>
                  <a:lnTo>
                    <a:pt x="2358" y="1230"/>
                  </a:lnTo>
                  <a:lnTo>
                    <a:pt x="2358" y="1242"/>
                  </a:lnTo>
                  <a:lnTo>
                    <a:pt x="2358" y="1254"/>
                  </a:lnTo>
                  <a:lnTo>
                    <a:pt x="2346" y="1254"/>
                  </a:lnTo>
                  <a:lnTo>
                    <a:pt x="2346" y="1278"/>
                  </a:lnTo>
                  <a:lnTo>
                    <a:pt x="2358" y="1278"/>
                  </a:lnTo>
                  <a:lnTo>
                    <a:pt x="2358" y="1284"/>
                  </a:lnTo>
                  <a:lnTo>
                    <a:pt x="2376" y="1284"/>
                  </a:lnTo>
                  <a:lnTo>
                    <a:pt x="2388" y="1278"/>
                  </a:lnTo>
                  <a:lnTo>
                    <a:pt x="2406" y="1278"/>
                  </a:lnTo>
                  <a:lnTo>
                    <a:pt x="2430" y="1284"/>
                  </a:lnTo>
                  <a:lnTo>
                    <a:pt x="2430" y="1302"/>
                  </a:lnTo>
                  <a:lnTo>
                    <a:pt x="2430" y="1314"/>
                  </a:lnTo>
                  <a:lnTo>
                    <a:pt x="2424" y="1326"/>
                  </a:lnTo>
                  <a:lnTo>
                    <a:pt x="2412" y="1326"/>
                  </a:lnTo>
                  <a:lnTo>
                    <a:pt x="2412" y="1344"/>
                  </a:lnTo>
                  <a:lnTo>
                    <a:pt x="2406" y="1344"/>
                  </a:lnTo>
                  <a:lnTo>
                    <a:pt x="2400" y="1362"/>
                  </a:lnTo>
                  <a:lnTo>
                    <a:pt x="2394" y="1368"/>
                  </a:lnTo>
                  <a:lnTo>
                    <a:pt x="2388" y="1374"/>
                  </a:lnTo>
                  <a:lnTo>
                    <a:pt x="2382" y="1380"/>
                  </a:lnTo>
                  <a:lnTo>
                    <a:pt x="2376" y="1386"/>
                  </a:lnTo>
                  <a:lnTo>
                    <a:pt x="2376" y="1392"/>
                  </a:lnTo>
                  <a:lnTo>
                    <a:pt x="2370" y="1404"/>
                  </a:lnTo>
                  <a:lnTo>
                    <a:pt x="2364" y="1416"/>
                  </a:lnTo>
                  <a:lnTo>
                    <a:pt x="2346" y="1434"/>
                  </a:lnTo>
                  <a:lnTo>
                    <a:pt x="2328" y="1440"/>
                  </a:lnTo>
                  <a:lnTo>
                    <a:pt x="2328" y="1446"/>
                  </a:lnTo>
                  <a:lnTo>
                    <a:pt x="2322" y="1452"/>
                  </a:lnTo>
                  <a:lnTo>
                    <a:pt x="2316" y="1452"/>
                  </a:lnTo>
                  <a:lnTo>
                    <a:pt x="2304" y="1446"/>
                  </a:lnTo>
                  <a:lnTo>
                    <a:pt x="2298" y="1446"/>
                  </a:lnTo>
                  <a:lnTo>
                    <a:pt x="2298" y="1434"/>
                  </a:lnTo>
                  <a:lnTo>
                    <a:pt x="2292" y="1434"/>
                  </a:lnTo>
                  <a:lnTo>
                    <a:pt x="2286" y="1428"/>
                  </a:lnTo>
                  <a:lnTo>
                    <a:pt x="2274" y="1416"/>
                  </a:lnTo>
                  <a:lnTo>
                    <a:pt x="2256" y="1404"/>
                  </a:lnTo>
                  <a:lnTo>
                    <a:pt x="2244" y="1386"/>
                  </a:lnTo>
                  <a:lnTo>
                    <a:pt x="2220" y="1368"/>
                  </a:lnTo>
                  <a:lnTo>
                    <a:pt x="2208" y="1362"/>
                  </a:lnTo>
                  <a:lnTo>
                    <a:pt x="2202" y="1350"/>
                  </a:lnTo>
                  <a:lnTo>
                    <a:pt x="2196" y="1350"/>
                  </a:lnTo>
                  <a:lnTo>
                    <a:pt x="2190" y="1356"/>
                  </a:lnTo>
                  <a:lnTo>
                    <a:pt x="2184" y="1356"/>
                  </a:lnTo>
                  <a:lnTo>
                    <a:pt x="2094" y="1350"/>
                  </a:lnTo>
                  <a:lnTo>
                    <a:pt x="2058" y="1350"/>
                  </a:lnTo>
                  <a:lnTo>
                    <a:pt x="2034" y="1890"/>
                  </a:lnTo>
                  <a:lnTo>
                    <a:pt x="2064" y="1890"/>
                  </a:lnTo>
                  <a:lnTo>
                    <a:pt x="2070" y="1896"/>
                  </a:lnTo>
                  <a:lnTo>
                    <a:pt x="2076" y="18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8" name="Freeform 33">
              <a:extLst>
                <a:ext uri="{FF2B5EF4-FFF2-40B4-BE49-F238E27FC236}">
                  <a16:creationId xmlns:a16="http://schemas.microsoft.com/office/drawing/2014/main" id="{0E96F118-1F4D-4E52-AF27-149259451CD6}"/>
                </a:ext>
              </a:extLst>
            </p:cNvPr>
            <p:cNvSpPr>
              <a:spLocks/>
            </p:cNvSpPr>
            <p:nvPr/>
          </p:nvSpPr>
          <p:spPr bwMode="gray">
            <a:xfrm>
              <a:off x="1266662" y="1459989"/>
              <a:ext cx="903421" cy="778302"/>
            </a:xfrm>
            <a:custGeom>
              <a:avLst/>
              <a:gdLst>
                <a:gd name="T0" fmla="*/ 143 w 1698"/>
                <a:gd name="T1" fmla="*/ 43 h 1464"/>
                <a:gd name="T2" fmla="*/ 131 w 1698"/>
                <a:gd name="T3" fmla="*/ 44 h 1464"/>
                <a:gd name="T4" fmla="*/ 126 w 1698"/>
                <a:gd name="T5" fmla="*/ 41 h 1464"/>
                <a:gd name="T6" fmla="*/ 119 w 1698"/>
                <a:gd name="T7" fmla="*/ 45 h 1464"/>
                <a:gd name="T8" fmla="*/ 111 w 1698"/>
                <a:gd name="T9" fmla="*/ 46 h 1464"/>
                <a:gd name="T10" fmla="*/ 107 w 1698"/>
                <a:gd name="T11" fmla="*/ 50 h 1464"/>
                <a:gd name="T12" fmla="*/ 107 w 1698"/>
                <a:gd name="T13" fmla="*/ 60 h 1464"/>
                <a:gd name="T14" fmla="*/ 104 w 1698"/>
                <a:gd name="T15" fmla="*/ 62 h 1464"/>
                <a:gd name="T16" fmla="*/ 97 w 1698"/>
                <a:gd name="T17" fmla="*/ 59 h 1464"/>
                <a:gd name="T18" fmla="*/ 92 w 1698"/>
                <a:gd name="T19" fmla="*/ 59 h 1464"/>
                <a:gd name="T20" fmla="*/ 90 w 1698"/>
                <a:gd name="T21" fmla="*/ 62 h 1464"/>
                <a:gd name="T22" fmla="*/ 93 w 1698"/>
                <a:gd name="T23" fmla="*/ 77 h 1464"/>
                <a:gd name="T24" fmla="*/ 85 w 1698"/>
                <a:gd name="T25" fmla="*/ 88 h 1464"/>
                <a:gd name="T26" fmla="*/ 70 w 1698"/>
                <a:gd name="T27" fmla="*/ 89 h 1464"/>
                <a:gd name="T28" fmla="*/ 65 w 1698"/>
                <a:gd name="T29" fmla="*/ 88 h 1464"/>
                <a:gd name="T30" fmla="*/ 50 w 1698"/>
                <a:gd name="T31" fmla="*/ 88 h 1464"/>
                <a:gd name="T32" fmla="*/ 48 w 1698"/>
                <a:gd name="T33" fmla="*/ 107 h 1464"/>
                <a:gd name="T34" fmla="*/ 47 w 1698"/>
                <a:gd name="T35" fmla="*/ 120 h 1464"/>
                <a:gd name="T36" fmla="*/ 43 w 1698"/>
                <a:gd name="T37" fmla="*/ 121 h 1464"/>
                <a:gd name="T38" fmla="*/ 40 w 1698"/>
                <a:gd name="T39" fmla="*/ 120 h 1464"/>
                <a:gd name="T40" fmla="*/ 35 w 1698"/>
                <a:gd name="T41" fmla="*/ 122 h 1464"/>
                <a:gd name="T42" fmla="*/ 29 w 1698"/>
                <a:gd name="T43" fmla="*/ 123 h 1464"/>
                <a:gd name="T44" fmla="*/ 24 w 1698"/>
                <a:gd name="T45" fmla="*/ 125 h 1464"/>
                <a:gd name="T46" fmla="*/ 20 w 1698"/>
                <a:gd name="T47" fmla="*/ 125 h 1464"/>
                <a:gd name="T48" fmla="*/ 18 w 1698"/>
                <a:gd name="T49" fmla="*/ 122 h 1464"/>
                <a:gd name="T50" fmla="*/ 26 w 1698"/>
                <a:gd name="T51" fmla="*/ 108 h 1464"/>
                <a:gd name="T52" fmla="*/ 24 w 1698"/>
                <a:gd name="T53" fmla="*/ 89 h 1464"/>
                <a:gd name="T54" fmla="*/ 28 w 1698"/>
                <a:gd name="T55" fmla="*/ 85 h 1464"/>
                <a:gd name="T56" fmla="*/ 32 w 1698"/>
                <a:gd name="T57" fmla="*/ 80 h 1464"/>
                <a:gd name="T58" fmla="*/ 36 w 1698"/>
                <a:gd name="T59" fmla="*/ 86 h 1464"/>
                <a:gd name="T60" fmla="*/ 39 w 1698"/>
                <a:gd name="T61" fmla="*/ 80 h 1464"/>
                <a:gd name="T62" fmla="*/ 41 w 1698"/>
                <a:gd name="T63" fmla="*/ 73 h 1464"/>
                <a:gd name="T64" fmla="*/ 38 w 1698"/>
                <a:gd name="T65" fmla="*/ 64 h 1464"/>
                <a:gd name="T66" fmla="*/ 39 w 1698"/>
                <a:gd name="T67" fmla="*/ 59 h 1464"/>
                <a:gd name="T68" fmla="*/ 32 w 1698"/>
                <a:gd name="T69" fmla="*/ 54 h 1464"/>
                <a:gd name="T70" fmla="*/ 32 w 1698"/>
                <a:gd name="T71" fmla="*/ 45 h 1464"/>
                <a:gd name="T72" fmla="*/ 31 w 1698"/>
                <a:gd name="T73" fmla="*/ 41 h 1464"/>
                <a:gd name="T74" fmla="*/ 24 w 1698"/>
                <a:gd name="T75" fmla="*/ 43 h 1464"/>
                <a:gd name="T76" fmla="*/ 17 w 1698"/>
                <a:gd name="T77" fmla="*/ 40 h 1464"/>
                <a:gd name="T78" fmla="*/ 11 w 1698"/>
                <a:gd name="T79" fmla="*/ 38 h 1464"/>
                <a:gd name="T80" fmla="*/ 2 w 1698"/>
                <a:gd name="T81" fmla="*/ 36 h 1464"/>
                <a:gd name="T82" fmla="*/ 0 w 1698"/>
                <a:gd name="T83" fmla="*/ 24 h 1464"/>
                <a:gd name="T84" fmla="*/ 11 w 1698"/>
                <a:gd name="T85" fmla="*/ 18 h 1464"/>
                <a:gd name="T86" fmla="*/ 19 w 1698"/>
                <a:gd name="T87" fmla="*/ 10 h 1464"/>
                <a:gd name="T88" fmla="*/ 28 w 1698"/>
                <a:gd name="T89" fmla="*/ 9 h 1464"/>
                <a:gd name="T90" fmla="*/ 40 w 1698"/>
                <a:gd name="T91" fmla="*/ 6 h 1464"/>
                <a:gd name="T92" fmla="*/ 49 w 1698"/>
                <a:gd name="T93" fmla="*/ 8 h 1464"/>
                <a:gd name="T94" fmla="*/ 56 w 1698"/>
                <a:gd name="T95" fmla="*/ 8 h 1464"/>
                <a:gd name="T96" fmla="*/ 64 w 1698"/>
                <a:gd name="T97" fmla="*/ 7 h 1464"/>
                <a:gd name="T98" fmla="*/ 74 w 1698"/>
                <a:gd name="T99" fmla="*/ 1 h 1464"/>
                <a:gd name="T100" fmla="*/ 83 w 1698"/>
                <a:gd name="T101" fmla="*/ 3 h 1464"/>
                <a:gd name="T102" fmla="*/ 99 w 1698"/>
                <a:gd name="T103" fmla="*/ 9 h 1464"/>
                <a:gd name="T104" fmla="*/ 112 w 1698"/>
                <a:gd name="T105" fmla="*/ 14 h 1464"/>
                <a:gd name="T106" fmla="*/ 119 w 1698"/>
                <a:gd name="T107" fmla="*/ 12 h 1464"/>
                <a:gd name="T108" fmla="*/ 128 w 1698"/>
                <a:gd name="T109" fmla="*/ 17 h 1464"/>
                <a:gd name="T110" fmla="*/ 141 w 1698"/>
                <a:gd name="T111" fmla="*/ 29 h 1464"/>
                <a:gd name="T112" fmla="*/ 145 w 1698"/>
                <a:gd name="T113" fmla="*/ 35 h 14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98"/>
                <a:gd name="T172" fmla="*/ 0 h 1464"/>
                <a:gd name="T173" fmla="*/ 1698 w 1698"/>
                <a:gd name="T174" fmla="*/ 1464 h 14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98" h="1464">
                  <a:moveTo>
                    <a:pt x="1698" y="462"/>
                  </a:moveTo>
                  <a:lnTo>
                    <a:pt x="1686" y="468"/>
                  </a:lnTo>
                  <a:lnTo>
                    <a:pt x="1680" y="474"/>
                  </a:lnTo>
                  <a:lnTo>
                    <a:pt x="1674" y="480"/>
                  </a:lnTo>
                  <a:lnTo>
                    <a:pt x="1668" y="480"/>
                  </a:lnTo>
                  <a:lnTo>
                    <a:pt x="1662" y="486"/>
                  </a:lnTo>
                  <a:lnTo>
                    <a:pt x="1656" y="492"/>
                  </a:lnTo>
                  <a:lnTo>
                    <a:pt x="1644" y="498"/>
                  </a:lnTo>
                  <a:lnTo>
                    <a:pt x="1626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0" y="516"/>
                  </a:lnTo>
                  <a:lnTo>
                    <a:pt x="1590" y="522"/>
                  </a:lnTo>
                  <a:lnTo>
                    <a:pt x="1566" y="522"/>
                  </a:lnTo>
                  <a:lnTo>
                    <a:pt x="1506" y="510"/>
                  </a:lnTo>
                  <a:lnTo>
                    <a:pt x="1500" y="510"/>
                  </a:lnTo>
                  <a:lnTo>
                    <a:pt x="1488" y="504"/>
                  </a:lnTo>
                  <a:lnTo>
                    <a:pt x="1482" y="498"/>
                  </a:lnTo>
                  <a:lnTo>
                    <a:pt x="1476" y="498"/>
                  </a:lnTo>
                  <a:lnTo>
                    <a:pt x="1476" y="492"/>
                  </a:lnTo>
                  <a:lnTo>
                    <a:pt x="1470" y="492"/>
                  </a:lnTo>
                  <a:lnTo>
                    <a:pt x="1464" y="486"/>
                  </a:lnTo>
                  <a:lnTo>
                    <a:pt x="1452" y="486"/>
                  </a:lnTo>
                  <a:lnTo>
                    <a:pt x="1446" y="474"/>
                  </a:lnTo>
                  <a:lnTo>
                    <a:pt x="1434" y="468"/>
                  </a:lnTo>
                  <a:lnTo>
                    <a:pt x="1416" y="468"/>
                  </a:lnTo>
                  <a:lnTo>
                    <a:pt x="1392" y="468"/>
                  </a:lnTo>
                  <a:lnTo>
                    <a:pt x="1374" y="474"/>
                  </a:lnTo>
                  <a:lnTo>
                    <a:pt x="1368" y="474"/>
                  </a:lnTo>
                  <a:lnTo>
                    <a:pt x="1368" y="486"/>
                  </a:lnTo>
                  <a:lnTo>
                    <a:pt x="1368" y="498"/>
                  </a:lnTo>
                  <a:lnTo>
                    <a:pt x="1368" y="522"/>
                  </a:lnTo>
                  <a:lnTo>
                    <a:pt x="1368" y="534"/>
                  </a:lnTo>
                  <a:lnTo>
                    <a:pt x="1362" y="546"/>
                  </a:lnTo>
                  <a:lnTo>
                    <a:pt x="1356" y="546"/>
                  </a:lnTo>
                  <a:lnTo>
                    <a:pt x="1344" y="540"/>
                  </a:lnTo>
                  <a:lnTo>
                    <a:pt x="1338" y="534"/>
                  </a:lnTo>
                  <a:lnTo>
                    <a:pt x="1308" y="522"/>
                  </a:lnTo>
                  <a:lnTo>
                    <a:pt x="1296" y="522"/>
                  </a:lnTo>
                  <a:lnTo>
                    <a:pt x="1278" y="528"/>
                  </a:lnTo>
                  <a:lnTo>
                    <a:pt x="1260" y="534"/>
                  </a:lnTo>
                  <a:lnTo>
                    <a:pt x="1242" y="546"/>
                  </a:lnTo>
                  <a:lnTo>
                    <a:pt x="1236" y="552"/>
                  </a:lnTo>
                  <a:lnTo>
                    <a:pt x="1224" y="558"/>
                  </a:lnTo>
                  <a:lnTo>
                    <a:pt x="1218" y="558"/>
                  </a:lnTo>
                  <a:lnTo>
                    <a:pt x="1218" y="564"/>
                  </a:lnTo>
                  <a:lnTo>
                    <a:pt x="1224" y="570"/>
                  </a:lnTo>
                  <a:lnTo>
                    <a:pt x="1224" y="582"/>
                  </a:lnTo>
                  <a:lnTo>
                    <a:pt x="1224" y="594"/>
                  </a:lnTo>
                  <a:lnTo>
                    <a:pt x="1212" y="618"/>
                  </a:lnTo>
                  <a:lnTo>
                    <a:pt x="1212" y="624"/>
                  </a:lnTo>
                  <a:lnTo>
                    <a:pt x="1212" y="630"/>
                  </a:lnTo>
                  <a:lnTo>
                    <a:pt x="1212" y="636"/>
                  </a:lnTo>
                  <a:lnTo>
                    <a:pt x="1218" y="654"/>
                  </a:lnTo>
                  <a:lnTo>
                    <a:pt x="1224" y="672"/>
                  </a:lnTo>
                  <a:lnTo>
                    <a:pt x="1230" y="696"/>
                  </a:lnTo>
                  <a:lnTo>
                    <a:pt x="1236" y="708"/>
                  </a:lnTo>
                  <a:lnTo>
                    <a:pt x="1236" y="714"/>
                  </a:lnTo>
                  <a:lnTo>
                    <a:pt x="1236" y="720"/>
                  </a:lnTo>
                  <a:lnTo>
                    <a:pt x="1218" y="726"/>
                  </a:lnTo>
                  <a:lnTo>
                    <a:pt x="1212" y="726"/>
                  </a:lnTo>
                  <a:lnTo>
                    <a:pt x="1206" y="726"/>
                  </a:lnTo>
                  <a:lnTo>
                    <a:pt x="1194" y="720"/>
                  </a:lnTo>
                  <a:lnTo>
                    <a:pt x="1194" y="714"/>
                  </a:lnTo>
                  <a:lnTo>
                    <a:pt x="1176" y="714"/>
                  </a:lnTo>
                  <a:lnTo>
                    <a:pt x="1164" y="708"/>
                  </a:lnTo>
                  <a:lnTo>
                    <a:pt x="1158" y="708"/>
                  </a:lnTo>
                  <a:lnTo>
                    <a:pt x="1140" y="702"/>
                  </a:lnTo>
                  <a:lnTo>
                    <a:pt x="1134" y="696"/>
                  </a:lnTo>
                  <a:lnTo>
                    <a:pt x="1128" y="690"/>
                  </a:lnTo>
                  <a:lnTo>
                    <a:pt x="1116" y="678"/>
                  </a:lnTo>
                  <a:lnTo>
                    <a:pt x="1110" y="678"/>
                  </a:lnTo>
                  <a:lnTo>
                    <a:pt x="1104" y="672"/>
                  </a:lnTo>
                  <a:lnTo>
                    <a:pt x="1092" y="672"/>
                  </a:lnTo>
                  <a:lnTo>
                    <a:pt x="1086" y="672"/>
                  </a:lnTo>
                  <a:lnTo>
                    <a:pt x="1080" y="672"/>
                  </a:lnTo>
                  <a:lnTo>
                    <a:pt x="1074" y="672"/>
                  </a:lnTo>
                  <a:lnTo>
                    <a:pt x="1068" y="672"/>
                  </a:lnTo>
                  <a:lnTo>
                    <a:pt x="1062" y="678"/>
                  </a:lnTo>
                  <a:lnTo>
                    <a:pt x="1056" y="678"/>
                  </a:lnTo>
                  <a:lnTo>
                    <a:pt x="1056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6"/>
                  </a:lnTo>
                  <a:lnTo>
                    <a:pt x="1032" y="708"/>
                  </a:lnTo>
                  <a:lnTo>
                    <a:pt x="1026" y="708"/>
                  </a:lnTo>
                  <a:lnTo>
                    <a:pt x="1032" y="714"/>
                  </a:lnTo>
                  <a:lnTo>
                    <a:pt x="1026" y="720"/>
                  </a:lnTo>
                  <a:lnTo>
                    <a:pt x="1020" y="720"/>
                  </a:lnTo>
                  <a:lnTo>
                    <a:pt x="1014" y="732"/>
                  </a:lnTo>
                  <a:lnTo>
                    <a:pt x="1014" y="744"/>
                  </a:lnTo>
                  <a:lnTo>
                    <a:pt x="1038" y="810"/>
                  </a:lnTo>
                  <a:lnTo>
                    <a:pt x="1050" y="834"/>
                  </a:lnTo>
                  <a:lnTo>
                    <a:pt x="1056" y="858"/>
                  </a:lnTo>
                  <a:lnTo>
                    <a:pt x="1062" y="876"/>
                  </a:lnTo>
                  <a:lnTo>
                    <a:pt x="1068" y="882"/>
                  </a:lnTo>
                  <a:lnTo>
                    <a:pt x="1062" y="972"/>
                  </a:lnTo>
                  <a:lnTo>
                    <a:pt x="1056" y="972"/>
                  </a:lnTo>
                  <a:lnTo>
                    <a:pt x="1050" y="996"/>
                  </a:lnTo>
                  <a:lnTo>
                    <a:pt x="1044" y="1014"/>
                  </a:lnTo>
                  <a:lnTo>
                    <a:pt x="1008" y="1014"/>
                  </a:lnTo>
                  <a:lnTo>
                    <a:pt x="1008" y="1008"/>
                  </a:lnTo>
                  <a:lnTo>
                    <a:pt x="990" y="1008"/>
                  </a:lnTo>
                  <a:lnTo>
                    <a:pt x="972" y="1014"/>
                  </a:lnTo>
                  <a:lnTo>
                    <a:pt x="948" y="1020"/>
                  </a:lnTo>
                  <a:lnTo>
                    <a:pt x="918" y="1026"/>
                  </a:lnTo>
                  <a:lnTo>
                    <a:pt x="840" y="1032"/>
                  </a:lnTo>
                  <a:lnTo>
                    <a:pt x="834" y="1032"/>
                  </a:lnTo>
                  <a:lnTo>
                    <a:pt x="834" y="1026"/>
                  </a:lnTo>
                  <a:lnTo>
                    <a:pt x="822" y="1026"/>
                  </a:lnTo>
                  <a:lnTo>
                    <a:pt x="816" y="1032"/>
                  </a:lnTo>
                  <a:lnTo>
                    <a:pt x="804" y="1032"/>
                  </a:lnTo>
                  <a:lnTo>
                    <a:pt x="798" y="1026"/>
                  </a:lnTo>
                  <a:lnTo>
                    <a:pt x="780" y="1026"/>
                  </a:lnTo>
                  <a:lnTo>
                    <a:pt x="762" y="1026"/>
                  </a:lnTo>
                  <a:lnTo>
                    <a:pt x="756" y="1026"/>
                  </a:lnTo>
                  <a:lnTo>
                    <a:pt x="750" y="1026"/>
                  </a:lnTo>
                  <a:lnTo>
                    <a:pt x="756" y="1020"/>
                  </a:lnTo>
                  <a:lnTo>
                    <a:pt x="750" y="1020"/>
                  </a:lnTo>
                  <a:lnTo>
                    <a:pt x="744" y="1014"/>
                  </a:lnTo>
                  <a:lnTo>
                    <a:pt x="684" y="1020"/>
                  </a:lnTo>
                  <a:lnTo>
                    <a:pt x="648" y="1020"/>
                  </a:lnTo>
                  <a:lnTo>
                    <a:pt x="630" y="1020"/>
                  </a:lnTo>
                  <a:lnTo>
                    <a:pt x="618" y="1020"/>
                  </a:lnTo>
                  <a:lnTo>
                    <a:pt x="606" y="1014"/>
                  </a:lnTo>
                  <a:lnTo>
                    <a:pt x="582" y="1014"/>
                  </a:lnTo>
                  <a:lnTo>
                    <a:pt x="576" y="1014"/>
                  </a:lnTo>
                  <a:lnTo>
                    <a:pt x="570" y="1014"/>
                  </a:lnTo>
                  <a:lnTo>
                    <a:pt x="564" y="1020"/>
                  </a:lnTo>
                  <a:lnTo>
                    <a:pt x="558" y="1026"/>
                  </a:lnTo>
                  <a:lnTo>
                    <a:pt x="552" y="1032"/>
                  </a:lnTo>
                  <a:lnTo>
                    <a:pt x="552" y="1038"/>
                  </a:lnTo>
                  <a:lnTo>
                    <a:pt x="558" y="1194"/>
                  </a:lnTo>
                  <a:lnTo>
                    <a:pt x="558" y="1206"/>
                  </a:lnTo>
                  <a:lnTo>
                    <a:pt x="552" y="1218"/>
                  </a:lnTo>
                  <a:lnTo>
                    <a:pt x="552" y="1236"/>
                  </a:lnTo>
                  <a:lnTo>
                    <a:pt x="546" y="1272"/>
                  </a:lnTo>
                  <a:lnTo>
                    <a:pt x="546" y="1308"/>
                  </a:lnTo>
                  <a:lnTo>
                    <a:pt x="540" y="1332"/>
                  </a:lnTo>
                  <a:lnTo>
                    <a:pt x="546" y="1356"/>
                  </a:lnTo>
                  <a:lnTo>
                    <a:pt x="546" y="1362"/>
                  </a:lnTo>
                  <a:lnTo>
                    <a:pt x="546" y="1374"/>
                  </a:lnTo>
                  <a:lnTo>
                    <a:pt x="546" y="1380"/>
                  </a:lnTo>
                  <a:lnTo>
                    <a:pt x="540" y="1380"/>
                  </a:lnTo>
                  <a:lnTo>
                    <a:pt x="522" y="1380"/>
                  </a:lnTo>
                  <a:lnTo>
                    <a:pt x="516" y="1380"/>
                  </a:lnTo>
                  <a:lnTo>
                    <a:pt x="516" y="1386"/>
                  </a:lnTo>
                  <a:lnTo>
                    <a:pt x="516" y="1392"/>
                  </a:lnTo>
                  <a:lnTo>
                    <a:pt x="510" y="1392"/>
                  </a:lnTo>
                  <a:lnTo>
                    <a:pt x="504" y="1386"/>
                  </a:lnTo>
                  <a:lnTo>
                    <a:pt x="498" y="1392"/>
                  </a:lnTo>
                  <a:lnTo>
                    <a:pt x="492" y="1398"/>
                  </a:lnTo>
                  <a:lnTo>
                    <a:pt x="486" y="1398"/>
                  </a:lnTo>
                  <a:lnTo>
                    <a:pt x="486" y="1392"/>
                  </a:lnTo>
                  <a:lnTo>
                    <a:pt x="486" y="1380"/>
                  </a:lnTo>
                  <a:lnTo>
                    <a:pt x="486" y="1374"/>
                  </a:lnTo>
                  <a:lnTo>
                    <a:pt x="480" y="1374"/>
                  </a:lnTo>
                  <a:lnTo>
                    <a:pt x="474" y="1374"/>
                  </a:lnTo>
                  <a:lnTo>
                    <a:pt x="468" y="1380"/>
                  </a:lnTo>
                  <a:lnTo>
                    <a:pt x="462" y="1380"/>
                  </a:lnTo>
                  <a:lnTo>
                    <a:pt x="456" y="1380"/>
                  </a:lnTo>
                  <a:lnTo>
                    <a:pt x="450" y="1386"/>
                  </a:lnTo>
                  <a:lnTo>
                    <a:pt x="444" y="1386"/>
                  </a:lnTo>
                  <a:lnTo>
                    <a:pt x="444" y="1392"/>
                  </a:lnTo>
                  <a:lnTo>
                    <a:pt x="432" y="1398"/>
                  </a:lnTo>
                  <a:lnTo>
                    <a:pt x="426" y="1404"/>
                  </a:lnTo>
                  <a:lnTo>
                    <a:pt x="420" y="1404"/>
                  </a:lnTo>
                  <a:lnTo>
                    <a:pt x="408" y="1404"/>
                  </a:lnTo>
                  <a:lnTo>
                    <a:pt x="378" y="1410"/>
                  </a:lnTo>
                  <a:lnTo>
                    <a:pt x="372" y="1410"/>
                  </a:lnTo>
                  <a:lnTo>
                    <a:pt x="360" y="1410"/>
                  </a:lnTo>
                  <a:lnTo>
                    <a:pt x="354" y="1416"/>
                  </a:lnTo>
                  <a:lnTo>
                    <a:pt x="348" y="1416"/>
                  </a:lnTo>
                  <a:lnTo>
                    <a:pt x="342" y="1410"/>
                  </a:lnTo>
                  <a:lnTo>
                    <a:pt x="336" y="1410"/>
                  </a:lnTo>
                  <a:lnTo>
                    <a:pt x="336" y="1416"/>
                  </a:lnTo>
                  <a:lnTo>
                    <a:pt x="330" y="1422"/>
                  </a:lnTo>
                  <a:lnTo>
                    <a:pt x="324" y="1422"/>
                  </a:lnTo>
                  <a:lnTo>
                    <a:pt x="318" y="1422"/>
                  </a:lnTo>
                  <a:lnTo>
                    <a:pt x="312" y="1428"/>
                  </a:lnTo>
                  <a:lnTo>
                    <a:pt x="312" y="1434"/>
                  </a:lnTo>
                  <a:lnTo>
                    <a:pt x="300" y="1428"/>
                  </a:lnTo>
                  <a:lnTo>
                    <a:pt x="288" y="1434"/>
                  </a:lnTo>
                  <a:lnTo>
                    <a:pt x="282" y="1440"/>
                  </a:lnTo>
                  <a:lnTo>
                    <a:pt x="282" y="1446"/>
                  </a:lnTo>
                  <a:lnTo>
                    <a:pt x="276" y="1446"/>
                  </a:lnTo>
                  <a:lnTo>
                    <a:pt x="276" y="1452"/>
                  </a:lnTo>
                  <a:lnTo>
                    <a:pt x="270" y="1452"/>
                  </a:lnTo>
                  <a:lnTo>
                    <a:pt x="258" y="1464"/>
                  </a:lnTo>
                  <a:lnTo>
                    <a:pt x="240" y="1458"/>
                  </a:lnTo>
                  <a:lnTo>
                    <a:pt x="234" y="1452"/>
                  </a:lnTo>
                  <a:lnTo>
                    <a:pt x="234" y="1446"/>
                  </a:lnTo>
                  <a:lnTo>
                    <a:pt x="228" y="1446"/>
                  </a:lnTo>
                  <a:lnTo>
                    <a:pt x="222" y="1440"/>
                  </a:lnTo>
                  <a:lnTo>
                    <a:pt x="216" y="1440"/>
                  </a:lnTo>
                  <a:lnTo>
                    <a:pt x="210" y="1428"/>
                  </a:lnTo>
                  <a:lnTo>
                    <a:pt x="210" y="1422"/>
                  </a:lnTo>
                  <a:lnTo>
                    <a:pt x="198" y="1416"/>
                  </a:lnTo>
                  <a:lnTo>
                    <a:pt x="204" y="1410"/>
                  </a:lnTo>
                  <a:lnTo>
                    <a:pt x="210" y="1404"/>
                  </a:lnTo>
                  <a:lnTo>
                    <a:pt x="210" y="1398"/>
                  </a:lnTo>
                  <a:lnTo>
                    <a:pt x="252" y="1368"/>
                  </a:lnTo>
                  <a:lnTo>
                    <a:pt x="276" y="1350"/>
                  </a:lnTo>
                  <a:lnTo>
                    <a:pt x="300" y="1338"/>
                  </a:lnTo>
                  <a:lnTo>
                    <a:pt x="294" y="1314"/>
                  </a:lnTo>
                  <a:lnTo>
                    <a:pt x="288" y="1308"/>
                  </a:lnTo>
                  <a:lnTo>
                    <a:pt x="300" y="1266"/>
                  </a:lnTo>
                  <a:lnTo>
                    <a:pt x="300" y="1242"/>
                  </a:lnTo>
                  <a:lnTo>
                    <a:pt x="300" y="1206"/>
                  </a:lnTo>
                  <a:lnTo>
                    <a:pt x="300" y="1164"/>
                  </a:lnTo>
                  <a:lnTo>
                    <a:pt x="294" y="1134"/>
                  </a:lnTo>
                  <a:lnTo>
                    <a:pt x="282" y="1086"/>
                  </a:lnTo>
                  <a:lnTo>
                    <a:pt x="276" y="1074"/>
                  </a:lnTo>
                  <a:lnTo>
                    <a:pt x="276" y="1056"/>
                  </a:lnTo>
                  <a:lnTo>
                    <a:pt x="270" y="1038"/>
                  </a:lnTo>
                  <a:lnTo>
                    <a:pt x="270" y="1020"/>
                  </a:lnTo>
                  <a:lnTo>
                    <a:pt x="282" y="1020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94" y="1002"/>
                  </a:lnTo>
                  <a:lnTo>
                    <a:pt x="306" y="996"/>
                  </a:lnTo>
                  <a:lnTo>
                    <a:pt x="312" y="990"/>
                  </a:lnTo>
                  <a:lnTo>
                    <a:pt x="318" y="990"/>
                  </a:lnTo>
                  <a:lnTo>
                    <a:pt x="324" y="984"/>
                  </a:lnTo>
                  <a:lnTo>
                    <a:pt x="324" y="978"/>
                  </a:lnTo>
                  <a:lnTo>
                    <a:pt x="324" y="972"/>
                  </a:lnTo>
                  <a:lnTo>
                    <a:pt x="324" y="954"/>
                  </a:lnTo>
                  <a:lnTo>
                    <a:pt x="336" y="948"/>
                  </a:lnTo>
                  <a:lnTo>
                    <a:pt x="342" y="936"/>
                  </a:lnTo>
                  <a:lnTo>
                    <a:pt x="348" y="924"/>
                  </a:lnTo>
                  <a:lnTo>
                    <a:pt x="354" y="924"/>
                  </a:lnTo>
                  <a:lnTo>
                    <a:pt x="372" y="924"/>
                  </a:lnTo>
                  <a:lnTo>
                    <a:pt x="372" y="930"/>
                  </a:lnTo>
                  <a:lnTo>
                    <a:pt x="378" y="930"/>
                  </a:lnTo>
                  <a:lnTo>
                    <a:pt x="378" y="936"/>
                  </a:lnTo>
                  <a:lnTo>
                    <a:pt x="384" y="936"/>
                  </a:lnTo>
                  <a:lnTo>
                    <a:pt x="384" y="942"/>
                  </a:lnTo>
                  <a:lnTo>
                    <a:pt x="402" y="942"/>
                  </a:lnTo>
                  <a:lnTo>
                    <a:pt x="402" y="996"/>
                  </a:lnTo>
                  <a:lnTo>
                    <a:pt x="414" y="996"/>
                  </a:lnTo>
                  <a:lnTo>
                    <a:pt x="420" y="996"/>
                  </a:lnTo>
                  <a:lnTo>
                    <a:pt x="426" y="996"/>
                  </a:lnTo>
                  <a:lnTo>
                    <a:pt x="432" y="996"/>
                  </a:lnTo>
                  <a:lnTo>
                    <a:pt x="438" y="996"/>
                  </a:lnTo>
                  <a:lnTo>
                    <a:pt x="438" y="942"/>
                  </a:lnTo>
                  <a:lnTo>
                    <a:pt x="444" y="930"/>
                  </a:lnTo>
                  <a:lnTo>
                    <a:pt x="444" y="924"/>
                  </a:lnTo>
                  <a:lnTo>
                    <a:pt x="444" y="918"/>
                  </a:lnTo>
                  <a:lnTo>
                    <a:pt x="462" y="918"/>
                  </a:lnTo>
                  <a:lnTo>
                    <a:pt x="474" y="906"/>
                  </a:lnTo>
                  <a:lnTo>
                    <a:pt x="480" y="900"/>
                  </a:lnTo>
                  <a:lnTo>
                    <a:pt x="486" y="888"/>
                  </a:lnTo>
                  <a:lnTo>
                    <a:pt x="492" y="876"/>
                  </a:lnTo>
                  <a:lnTo>
                    <a:pt x="492" y="858"/>
                  </a:lnTo>
                  <a:lnTo>
                    <a:pt x="480" y="858"/>
                  </a:lnTo>
                  <a:lnTo>
                    <a:pt x="474" y="840"/>
                  </a:lnTo>
                  <a:lnTo>
                    <a:pt x="450" y="834"/>
                  </a:lnTo>
                  <a:lnTo>
                    <a:pt x="438" y="816"/>
                  </a:lnTo>
                  <a:lnTo>
                    <a:pt x="432" y="792"/>
                  </a:lnTo>
                  <a:lnTo>
                    <a:pt x="432" y="786"/>
                  </a:lnTo>
                  <a:lnTo>
                    <a:pt x="432" y="774"/>
                  </a:lnTo>
                  <a:lnTo>
                    <a:pt x="432" y="762"/>
                  </a:lnTo>
                  <a:lnTo>
                    <a:pt x="438" y="750"/>
                  </a:lnTo>
                  <a:lnTo>
                    <a:pt x="438" y="738"/>
                  </a:lnTo>
                  <a:lnTo>
                    <a:pt x="444" y="732"/>
                  </a:lnTo>
                  <a:lnTo>
                    <a:pt x="450" y="732"/>
                  </a:lnTo>
                  <a:lnTo>
                    <a:pt x="456" y="732"/>
                  </a:lnTo>
                  <a:lnTo>
                    <a:pt x="456" y="726"/>
                  </a:lnTo>
                  <a:lnTo>
                    <a:pt x="456" y="714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44" y="684"/>
                  </a:lnTo>
                  <a:lnTo>
                    <a:pt x="438" y="666"/>
                  </a:lnTo>
                  <a:lnTo>
                    <a:pt x="426" y="666"/>
                  </a:lnTo>
                  <a:lnTo>
                    <a:pt x="432" y="666"/>
                  </a:lnTo>
                  <a:lnTo>
                    <a:pt x="420" y="666"/>
                  </a:lnTo>
                  <a:lnTo>
                    <a:pt x="414" y="660"/>
                  </a:lnTo>
                  <a:lnTo>
                    <a:pt x="396" y="654"/>
                  </a:lnTo>
                  <a:lnTo>
                    <a:pt x="384" y="642"/>
                  </a:lnTo>
                  <a:lnTo>
                    <a:pt x="366" y="624"/>
                  </a:lnTo>
                  <a:lnTo>
                    <a:pt x="354" y="606"/>
                  </a:lnTo>
                  <a:lnTo>
                    <a:pt x="342" y="588"/>
                  </a:lnTo>
                  <a:lnTo>
                    <a:pt x="342" y="582"/>
                  </a:lnTo>
                  <a:lnTo>
                    <a:pt x="360" y="564"/>
                  </a:lnTo>
                  <a:lnTo>
                    <a:pt x="372" y="540"/>
                  </a:lnTo>
                  <a:lnTo>
                    <a:pt x="366" y="528"/>
                  </a:lnTo>
                  <a:lnTo>
                    <a:pt x="366" y="522"/>
                  </a:lnTo>
                  <a:lnTo>
                    <a:pt x="372" y="516"/>
                  </a:lnTo>
                  <a:lnTo>
                    <a:pt x="384" y="504"/>
                  </a:lnTo>
                  <a:lnTo>
                    <a:pt x="378" y="492"/>
                  </a:lnTo>
                  <a:lnTo>
                    <a:pt x="378" y="486"/>
                  </a:lnTo>
                  <a:lnTo>
                    <a:pt x="378" y="480"/>
                  </a:lnTo>
                  <a:lnTo>
                    <a:pt x="378" y="474"/>
                  </a:lnTo>
                  <a:lnTo>
                    <a:pt x="378" y="468"/>
                  </a:lnTo>
                  <a:lnTo>
                    <a:pt x="366" y="468"/>
                  </a:lnTo>
                  <a:lnTo>
                    <a:pt x="360" y="474"/>
                  </a:lnTo>
                  <a:lnTo>
                    <a:pt x="354" y="480"/>
                  </a:lnTo>
                  <a:lnTo>
                    <a:pt x="348" y="486"/>
                  </a:lnTo>
                  <a:lnTo>
                    <a:pt x="348" y="492"/>
                  </a:lnTo>
                  <a:lnTo>
                    <a:pt x="336" y="510"/>
                  </a:lnTo>
                  <a:lnTo>
                    <a:pt x="300" y="516"/>
                  </a:lnTo>
                  <a:lnTo>
                    <a:pt x="300" y="510"/>
                  </a:lnTo>
                  <a:lnTo>
                    <a:pt x="282" y="504"/>
                  </a:lnTo>
                  <a:lnTo>
                    <a:pt x="282" y="498"/>
                  </a:lnTo>
                  <a:lnTo>
                    <a:pt x="264" y="486"/>
                  </a:lnTo>
                  <a:lnTo>
                    <a:pt x="258" y="492"/>
                  </a:lnTo>
                  <a:lnTo>
                    <a:pt x="234" y="492"/>
                  </a:lnTo>
                  <a:lnTo>
                    <a:pt x="222" y="486"/>
                  </a:lnTo>
                  <a:lnTo>
                    <a:pt x="204" y="480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92" y="462"/>
                  </a:lnTo>
                  <a:lnTo>
                    <a:pt x="186" y="462"/>
                  </a:lnTo>
                  <a:lnTo>
                    <a:pt x="180" y="468"/>
                  </a:lnTo>
                  <a:lnTo>
                    <a:pt x="150" y="450"/>
                  </a:lnTo>
                  <a:lnTo>
                    <a:pt x="144" y="438"/>
                  </a:lnTo>
                  <a:lnTo>
                    <a:pt x="138" y="438"/>
                  </a:lnTo>
                  <a:lnTo>
                    <a:pt x="132" y="432"/>
                  </a:lnTo>
                  <a:lnTo>
                    <a:pt x="126" y="432"/>
                  </a:lnTo>
                  <a:lnTo>
                    <a:pt x="120" y="432"/>
                  </a:lnTo>
                  <a:lnTo>
                    <a:pt x="102" y="426"/>
                  </a:lnTo>
                  <a:lnTo>
                    <a:pt x="96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2" y="414"/>
                  </a:lnTo>
                  <a:lnTo>
                    <a:pt x="60" y="414"/>
                  </a:lnTo>
                  <a:lnTo>
                    <a:pt x="30" y="414"/>
                  </a:lnTo>
                  <a:lnTo>
                    <a:pt x="24" y="414"/>
                  </a:lnTo>
                  <a:lnTo>
                    <a:pt x="12" y="414"/>
                  </a:lnTo>
                  <a:lnTo>
                    <a:pt x="0" y="420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0" y="336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30" y="270"/>
                  </a:lnTo>
                  <a:lnTo>
                    <a:pt x="42" y="270"/>
                  </a:lnTo>
                  <a:lnTo>
                    <a:pt x="54" y="264"/>
                  </a:lnTo>
                  <a:lnTo>
                    <a:pt x="78" y="240"/>
                  </a:lnTo>
                  <a:lnTo>
                    <a:pt x="102" y="216"/>
                  </a:lnTo>
                  <a:lnTo>
                    <a:pt x="114" y="210"/>
                  </a:lnTo>
                  <a:lnTo>
                    <a:pt x="120" y="204"/>
                  </a:lnTo>
                  <a:lnTo>
                    <a:pt x="126" y="198"/>
                  </a:lnTo>
                  <a:lnTo>
                    <a:pt x="138" y="18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38"/>
                  </a:lnTo>
                  <a:lnTo>
                    <a:pt x="210" y="126"/>
                  </a:lnTo>
                  <a:lnTo>
                    <a:pt x="216" y="120"/>
                  </a:lnTo>
                  <a:lnTo>
                    <a:pt x="222" y="120"/>
                  </a:lnTo>
                  <a:lnTo>
                    <a:pt x="258" y="114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300" y="102"/>
                  </a:lnTo>
                  <a:lnTo>
                    <a:pt x="312" y="102"/>
                  </a:lnTo>
                  <a:lnTo>
                    <a:pt x="318" y="102"/>
                  </a:lnTo>
                  <a:lnTo>
                    <a:pt x="348" y="96"/>
                  </a:lnTo>
                  <a:lnTo>
                    <a:pt x="366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408" y="84"/>
                  </a:lnTo>
                  <a:lnTo>
                    <a:pt x="420" y="84"/>
                  </a:lnTo>
                  <a:lnTo>
                    <a:pt x="462" y="72"/>
                  </a:lnTo>
                  <a:lnTo>
                    <a:pt x="474" y="72"/>
                  </a:lnTo>
                  <a:lnTo>
                    <a:pt x="474" y="78"/>
                  </a:lnTo>
                  <a:lnTo>
                    <a:pt x="492" y="90"/>
                  </a:lnTo>
                  <a:lnTo>
                    <a:pt x="498" y="90"/>
                  </a:lnTo>
                  <a:lnTo>
                    <a:pt x="522" y="96"/>
                  </a:lnTo>
                  <a:lnTo>
                    <a:pt x="540" y="96"/>
                  </a:lnTo>
                  <a:lnTo>
                    <a:pt x="546" y="96"/>
                  </a:lnTo>
                  <a:lnTo>
                    <a:pt x="558" y="96"/>
                  </a:lnTo>
                  <a:lnTo>
                    <a:pt x="564" y="96"/>
                  </a:lnTo>
                  <a:lnTo>
                    <a:pt x="576" y="96"/>
                  </a:lnTo>
                  <a:lnTo>
                    <a:pt x="588" y="96"/>
                  </a:lnTo>
                  <a:lnTo>
                    <a:pt x="612" y="90"/>
                  </a:lnTo>
                  <a:lnTo>
                    <a:pt x="624" y="90"/>
                  </a:lnTo>
                  <a:lnTo>
                    <a:pt x="636" y="90"/>
                  </a:lnTo>
                  <a:lnTo>
                    <a:pt x="642" y="90"/>
                  </a:lnTo>
                  <a:lnTo>
                    <a:pt x="648" y="96"/>
                  </a:lnTo>
                  <a:lnTo>
                    <a:pt x="660" y="96"/>
                  </a:lnTo>
                  <a:lnTo>
                    <a:pt x="666" y="96"/>
                  </a:lnTo>
                  <a:lnTo>
                    <a:pt x="672" y="96"/>
                  </a:lnTo>
                  <a:lnTo>
                    <a:pt x="684" y="96"/>
                  </a:lnTo>
                  <a:lnTo>
                    <a:pt x="708" y="96"/>
                  </a:lnTo>
                  <a:lnTo>
                    <a:pt x="714" y="96"/>
                  </a:lnTo>
                  <a:lnTo>
                    <a:pt x="726" y="96"/>
                  </a:lnTo>
                  <a:lnTo>
                    <a:pt x="738" y="84"/>
                  </a:lnTo>
                  <a:lnTo>
                    <a:pt x="744" y="78"/>
                  </a:lnTo>
                  <a:lnTo>
                    <a:pt x="756" y="66"/>
                  </a:lnTo>
                  <a:lnTo>
                    <a:pt x="774" y="42"/>
                  </a:lnTo>
                  <a:lnTo>
                    <a:pt x="780" y="30"/>
                  </a:lnTo>
                  <a:lnTo>
                    <a:pt x="816" y="24"/>
                  </a:lnTo>
                  <a:lnTo>
                    <a:pt x="840" y="18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64" y="6"/>
                  </a:lnTo>
                  <a:lnTo>
                    <a:pt x="870" y="6"/>
                  </a:lnTo>
                  <a:lnTo>
                    <a:pt x="894" y="0"/>
                  </a:lnTo>
                  <a:lnTo>
                    <a:pt x="900" y="6"/>
                  </a:lnTo>
                  <a:lnTo>
                    <a:pt x="930" y="18"/>
                  </a:lnTo>
                  <a:lnTo>
                    <a:pt x="942" y="24"/>
                  </a:lnTo>
                  <a:lnTo>
                    <a:pt x="954" y="30"/>
                  </a:lnTo>
                  <a:lnTo>
                    <a:pt x="1026" y="60"/>
                  </a:lnTo>
                  <a:lnTo>
                    <a:pt x="1032" y="60"/>
                  </a:lnTo>
                  <a:lnTo>
                    <a:pt x="1038" y="66"/>
                  </a:lnTo>
                  <a:lnTo>
                    <a:pt x="1068" y="72"/>
                  </a:lnTo>
                  <a:lnTo>
                    <a:pt x="1098" y="84"/>
                  </a:lnTo>
                  <a:lnTo>
                    <a:pt x="1122" y="90"/>
                  </a:lnTo>
                  <a:lnTo>
                    <a:pt x="1122" y="96"/>
                  </a:lnTo>
                  <a:lnTo>
                    <a:pt x="1140" y="102"/>
                  </a:lnTo>
                  <a:lnTo>
                    <a:pt x="1182" y="114"/>
                  </a:lnTo>
                  <a:lnTo>
                    <a:pt x="1188" y="114"/>
                  </a:lnTo>
                  <a:lnTo>
                    <a:pt x="1200" y="120"/>
                  </a:lnTo>
                  <a:lnTo>
                    <a:pt x="1212" y="126"/>
                  </a:lnTo>
                  <a:lnTo>
                    <a:pt x="1224" y="126"/>
                  </a:lnTo>
                  <a:lnTo>
                    <a:pt x="1248" y="138"/>
                  </a:lnTo>
                  <a:lnTo>
                    <a:pt x="1272" y="150"/>
                  </a:lnTo>
                  <a:lnTo>
                    <a:pt x="1284" y="156"/>
                  </a:lnTo>
                  <a:lnTo>
                    <a:pt x="1290" y="162"/>
                  </a:lnTo>
                  <a:lnTo>
                    <a:pt x="1296" y="162"/>
                  </a:lnTo>
                  <a:lnTo>
                    <a:pt x="1308" y="156"/>
                  </a:lnTo>
                  <a:lnTo>
                    <a:pt x="1320" y="150"/>
                  </a:lnTo>
                  <a:lnTo>
                    <a:pt x="1326" y="150"/>
                  </a:lnTo>
                  <a:lnTo>
                    <a:pt x="1338" y="144"/>
                  </a:lnTo>
                  <a:lnTo>
                    <a:pt x="1362" y="144"/>
                  </a:lnTo>
                  <a:lnTo>
                    <a:pt x="1368" y="144"/>
                  </a:lnTo>
                  <a:lnTo>
                    <a:pt x="1374" y="144"/>
                  </a:lnTo>
                  <a:lnTo>
                    <a:pt x="1386" y="150"/>
                  </a:lnTo>
                  <a:lnTo>
                    <a:pt x="1392" y="150"/>
                  </a:lnTo>
                  <a:lnTo>
                    <a:pt x="1398" y="150"/>
                  </a:lnTo>
                  <a:lnTo>
                    <a:pt x="1416" y="162"/>
                  </a:lnTo>
                  <a:lnTo>
                    <a:pt x="1458" y="186"/>
                  </a:lnTo>
                  <a:lnTo>
                    <a:pt x="1464" y="186"/>
                  </a:lnTo>
                  <a:lnTo>
                    <a:pt x="1470" y="192"/>
                  </a:lnTo>
                  <a:lnTo>
                    <a:pt x="1482" y="204"/>
                  </a:lnTo>
                  <a:lnTo>
                    <a:pt x="1512" y="234"/>
                  </a:lnTo>
                  <a:lnTo>
                    <a:pt x="1554" y="276"/>
                  </a:lnTo>
                  <a:lnTo>
                    <a:pt x="1560" y="276"/>
                  </a:lnTo>
                  <a:lnTo>
                    <a:pt x="1566" y="282"/>
                  </a:lnTo>
                  <a:lnTo>
                    <a:pt x="1578" y="294"/>
                  </a:lnTo>
                  <a:lnTo>
                    <a:pt x="1602" y="318"/>
                  </a:lnTo>
                  <a:lnTo>
                    <a:pt x="1614" y="330"/>
                  </a:lnTo>
                  <a:lnTo>
                    <a:pt x="1620" y="336"/>
                  </a:lnTo>
                  <a:lnTo>
                    <a:pt x="1626" y="342"/>
                  </a:lnTo>
                  <a:lnTo>
                    <a:pt x="1632" y="354"/>
                  </a:lnTo>
                  <a:lnTo>
                    <a:pt x="1644" y="366"/>
                  </a:lnTo>
                  <a:lnTo>
                    <a:pt x="1650" y="378"/>
                  </a:lnTo>
                  <a:lnTo>
                    <a:pt x="1650" y="384"/>
                  </a:lnTo>
                  <a:lnTo>
                    <a:pt x="1656" y="384"/>
                  </a:lnTo>
                  <a:lnTo>
                    <a:pt x="1662" y="402"/>
                  </a:lnTo>
                  <a:lnTo>
                    <a:pt x="1668" y="408"/>
                  </a:lnTo>
                  <a:lnTo>
                    <a:pt x="1674" y="426"/>
                  </a:lnTo>
                  <a:lnTo>
                    <a:pt x="1686" y="438"/>
                  </a:lnTo>
                  <a:lnTo>
                    <a:pt x="1698" y="46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9" name="Freeform 34">
              <a:extLst>
                <a:ext uri="{FF2B5EF4-FFF2-40B4-BE49-F238E27FC236}">
                  <a16:creationId xmlns:a16="http://schemas.microsoft.com/office/drawing/2014/main" id="{94603F24-8CF7-4226-A433-00D18CA7D9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1988" y="1681402"/>
              <a:ext cx="869877" cy="1060101"/>
            </a:xfrm>
            <a:custGeom>
              <a:avLst/>
              <a:gdLst>
                <a:gd name="T0" fmla="*/ 4 w 1638"/>
                <a:gd name="T1" fmla="*/ 111 h 1998"/>
                <a:gd name="T2" fmla="*/ 6 w 1638"/>
                <a:gd name="T3" fmla="*/ 87 h 1998"/>
                <a:gd name="T4" fmla="*/ 10 w 1638"/>
                <a:gd name="T5" fmla="*/ 80 h 1998"/>
                <a:gd name="T6" fmla="*/ 10 w 1638"/>
                <a:gd name="T7" fmla="*/ 71 h 1998"/>
                <a:gd name="T8" fmla="*/ 9 w 1638"/>
                <a:gd name="T9" fmla="*/ 56 h 1998"/>
                <a:gd name="T10" fmla="*/ 8 w 1638"/>
                <a:gd name="T11" fmla="*/ 40 h 1998"/>
                <a:gd name="T12" fmla="*/ 20 w 1638"/>
                <a:gd name="T13" fmla="*/ 30 h 1998"/>
                <a:gd name="T14" fmla="*/ 30 w 1638"/>
                <a:gd name="T15" fmla="*/ 19 h 1998"/>
                <a:gd name="T16" fmla="*/ 35 w 1638"/>
                <a:gd name="T17" fmla="*/ 2 h 1998"/>
                <a:gd name="T18" fmla="*/ 47 w 1638"/>
                <a:gd name="T19" fmla="*/ 2 h 1998"/>
                <a:gd name="T20" fmla="*/ 56 w 1638"/>
                <a:gd name="T21" fmla="*/ 7 h 1998"/>
                <a:gd name="T22" fmla="*/ 67 w 1638"/>
                <a:gd name="T23" fmla="*/ 5 h 1998"/>
                <a:gd name="T24" fmla="*/ 65 w 1638"/>
                <a:gd name="T25" fmla="*/ 15 h 1998"/>
                <a:gd name="T26" fmla="*/ 74 w 1638"/>
                <a:gd name="T27" fmla="*/ 24 h 1998"/>
                <a:gd name="T28" fmla="*/ 73 w 1638"/>
                <a:gd name="T29" fmla="*/ 33 h 1998"/>
                <a:gd name="T30" fmla="*/ 74 w 1638"/>
                <a:gd name="T31" fmla="*/ 44 h 1998"/>
                <a:gd name="T32" fmla="*/ 68 w 1638"/>
                <a:gd name="T33" fmla="*/ 45 h 1998"/>
                <a:gd name="T34" fmla="*/ 63 w 1638"/>
                <a:gd name="T35" fmla="*/ 50 h 1998"/>
                <a:gd name="T36" fmla="*/ 61 w 1638"/>
                <a:gd name="T37" fmla="*/ 62 h 1998"/>
                <a:gd name="T38" fmla="*/ 53 w 1638"/>
                <a:gd name="T39" fmla="*/ 86 h 1998"/>
                <a:gd name="T40" fmla="*/ 59 w 1638"/>
                <a:gd name="T41" fmla="*/ 90 h 1998"/>
                <a:gd name="T42" fmla="*/ 65 w 1638"/>
                <a:gd name="T43" fmla="*/ 86 h 1998"/>
                <a:gd name="T44" fmla="*/ 74 w 1638"/>
                <a:gd name="T45" fmla="*/ 84 h 1998"/>
                <a:gd name="T46" fmla="*/ 79 w 1638"/>
                <a:gd name="T47" fmla="*/ 85 h 1998"/>
                <a:gd name="T48" fmla="*/ 84 w 1638"/>
                <a:gd name="T49" fmla="*/ 84 h 1998"/>
                <a:gd name="T50" fmla="*/ 91 w 1638"/>
                <a:gd name="T51" fmla="*/ 84 h 1998"/>
                <a:gd name="T52" fmla="*/ 94 w 1638"/>
                <a:gd name="T53" fmla="*/ 81 h 1998"/>
                <a:gd name="T54" fmla="*/ 100 w 1638"/>
                <a:gd name="T55" fmla="*/ 81 h 1998"/>
                <a:gd name="T56" fmla="*/ 102 w 1638"/>
                <a:gd name="T57" fmla="*/ 84 h 1998"/>
                <a:gd name="T58" fmla="*/ 108 w 1638"/>
                <a:gd name="T59" fmla="*/ 85 h 1998"/>
                <a:gd name="T60" fmla="*/ 113 w 1638"/>
                <a:gd name="T61" fmla="*/ 88 h 1998"/>
                <a:gd name="T62" fmla="*/ 116 w 1638"/>
                <a:gd name="T63" fmla="*/ 88 h 1998"/>
                <a:gd name="T64" fmla="*/ 123 w 1638"/>
                <a:gd name="T65" fmla="*/ 87 h 1998"/>
                <a:gd name="T66" fmla="*/ 128 w 1638"/>
                <a:gd name="T67" fmla="*/ 86 h 1998"/>
                <a:gd name="T68" fmla="*/ 132 w 1638"/>
                <a:gd name="T69" fmla="*/ 90 h 1998"/>
                <a:gd name="T70" fmla="*/ 138 w 1638"/>
                <a:gd name="T71" fmla="*/ 96 h 1998"/>
                <a:gd name="T72" fmla="*/ 138 w 1638"/>
                <a:gd name="T73" fmla="*/ 110 h 1998"/>
                <a:gd name="T74" fmla="*/ 137 w 1638"/>
                <a:gd name="T75" fmla="*/ 118 h 1998"/>
                <a:gd name="T76" fmla="*/ 133 w 1638"/>
                <a:gd name="T77" fmla="*/ 124 h 1998"/>
                <a:gd name="T78" fmla="*/ 122 w 1638"/>
                <a:gd name="T79" fmla="*/ 125 h 1998"/>
                <a:gd name="T80" fmla="*/ 116 w 1638"/>
                <a:gd name="T81" fmla="*/ 127 h 1998"/>
                <a:gd name="T82" fmla="*/ 108 w 1638"/>
                <a:gd name="T83" fmla="*/ 123 h 1998"/>
                <a:gd name="T84" fmla="*/ 109 w 1638"/>
                <a:gd name="T85" fmla="*/ 119 h 1998"/>
                <a:gd name="T86" fmla="*/ 104 w 1638"/>
                <a:gd name="T87" fmla="*/ 104 h 1998"/>
                <a:gd name="T88" fmla="*/ 94 w 1638"/>
                <a:gd name="T89" fmla="*/ 105 h 1998"/>
                <a:gd name="T90" fmla="*/ 88 w 1638"/>
                <a:gd name="T91" fmla="*/ 109 h 1998"/>
                <a:gd name="T92" fmla="*/ 76 w 1638"/>
                <a:gd name="T93" fmla="*/ 107 h 1998"/>
                <a:gd name="T94" fmla="*/ 72 w 1638"/>
                <a:gd name="T95" fmla="*/ 114 h 1998"/>
                <a:gd name="T96" fmla="*/ 86 w 1638"/>
                <a:gd name="T97" fmla="*/ 121 h 1998"/>
                <a:gd name="T98" fmla="*/ 87 w 1638"/>
                <a:gd name="T99" fmla="*/ 129 h 1998"/>
                <a:gd name="T100" fmla="*/ 86 w 1638"/>
                <a:gd name="T101" fmla="*/ 137 h 1998"/>
                <a:gd name="T102" fmla="*/ 79 w 1638"/>
                <a:gd name="T103" fmla="*/ 141 h 1998"/>
                <a:gd name="T104" fmla="*/ 73 w 1638"/>
                <a:gd name="T105" fmla="*/ 144 h 1998"/>
                <a:gd name="T106" fmla="*/ 72 w 1638"/>
                <a:gd name="T107" fmla="*/ 164 h 1998"/>
                <a:gd name="T108" fmla="*/ 68 w 1638"/>
                <a:gd name="T109" fmla="*/ 172 h 1998"/>
                <a:gd name="T110" fmla="*/ 59 w 1638"/>
                <a:gd name="T111" fmla="*/ 164 h 1998"/>
                <a:gd name="T112" fmla="*/ 65 w 1638"/>
                <a:gd name="T113" fmla="*/ 146 h 1998"/>
                <a:gd name="T114" fmla="*/ 69 w 1638"/>
                <a:gd name="T115" fmla="*/ 133 h 1998"/>
                <a:gd name="T116" fmla="*/ 61 w 1638"/>
                <a:gd name="T117" fmla="*/ 131 h 1998"/>
                <a:gd name="T118" fmla="*/ 43 w 1638"/>
                <a:gd name="T119" fmla="*/ 125 h 1998"/>
                <a:gd name="T120" fmla="*/ 23 w 1638"/>
                <a:gd name="T121" fmla="*/ 125 h 1998"/>
                <a:gd name="T122" fmla="*/ 17 w 1638"/>
                <a:gd name="T123" fmla="*/ 121 h 19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638"/>
                <a:gd name="T187" fmla="*/ 0 h 1998"/>
                <a:gd name="T188" fmla="*/ 1638 w 1638"/>
                <a:gd name="T189" fmla="*/ 1998 h 19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638" h="1998">
                  <a:moveTo>
                    <a:pt x="144" y="1380"/>
                  </a:moveTo>
                  <a:lnTo>
                    <a:pt x="150" y="1368"/>
                  </a:lnTo>
                  <a:lnTo>
                    <a:pt x="150" y="1362"/>
                  </a:lnTo>
                  <a:lnTo>
                    <a:pt x="150" y="1356"/>
                  </a:lnTo>
                  <a:lnTo>
                    <a:pt x="144" y="1356"/>
                  </a:lnTo>
                  <a:lnTo>
                    <a:pt x="138" y="1356"/>
                  </a:lnTo>
                  <a:lnTo>
                    <a:pt x="126" y="1356"/>
                  </a:lnTo>
                  <a:lnTo>
                    <a:pt x="114" y="1344"/>
                  </a:lnTo>
                  <a:lnTo>
                    <a:pt x="84" y="1320"/>
                  </a:lnTo>
                  <a:lnTo>
                    <a:pt x="54" y="1296"/>
                  </a:lnTo>
                  <a:lnTo>
                    <a:pt x="48" y="1290"/>
                  </a:lnTo>
                  <a:lnTo>
                    <a:pt x="42" y="1278"/>
                  </a:lnTo>
                  <a:lnTo>
                    <a:pt x="30" y="1272"/>
                  </a:lnTo>
                  <a:lnTo>
                    <a:pt x="0" y="1248"/>
                  </a:lnTo>
                  <a:lnTo>
                    <a:pt x="6" y="1230"/>
                  </a:lnTo>
                  <a:lnTo>
                    <a:pt x="12" y="1194"/>
                  </a:lnTo>
                  <a:lnTo>
                    <a:pt x="18" y="1170"/>
                  </a:lnTo>
                  <a:lnTo>
                    <a:pt x="30" y="1134"/>
                  </a:lnTo>
                  <a:lnTo>
                    <a:pt x="36" y="1086"/>
                  </a:lnTo>
                  <a:lnTo>
                    <a:pt x="42" y="1050"/>
                  </a:lnTo>
                  <a:lnTo>
                    <a:pt x="48" y="1044"/>
                  </a:lnTo>
                  <a:lnTo>
                    <a:pt x="54" y="1026"/>
                  </a:lnTo>
                  <a:lnTo>
                    <a:pt x="60" y="1014"/>
                  </a:lnTo>
                  <a:lnTo>
                    <a:pt x="66" y="1002"/>
                  </a:lnTo>
                  <a:lnTo>
                    <a:pt x="66" y="996"/>
                  </a:lnTo>
                  <a:lnTo>
                    <a:pt x="72" y="996"/>
                  </a:lnTo>
                  <a:lnTo>
                    <a:pt x="72" y="990"/>
                  </a:lnTo>
                  <a:lnTo>
                    <a:pt x="78" y="990"/>
                  </a:lnTo>
                  <a:lnTo>
                    <a:pt x="90" y="978"/>
                  </a:lnTo>
                  <a:lnTo>
                    <a:pt x="96" y="966"/>
                  </a:lnTo>
                  <a:lnTo>
                    <a:pt x="102" y="966"/>
                  </a:lnTo>
                  <a:lnTo>
                    <a:pt x="114" y="954"/>
                  </a:lnTo>
                  <a:lnTo>
                    <a:pt x="120" y="954"/>
                  </a:lnTo>
                  <a:lnTo>
                    <a:pt x="120" y="948"/>
                  </a:lnTo>
                  <a:lnTo>
                    <a:pt x="114" y="930"/>
                  </a:lnTo>
                  <a:lnTo>
                    <a:pt x="114" y="924"/>
                  </a:lnTo>
                  <a:lnTo>
                    <a:pt x="108" y="918"/>
                  </a:lnTo>
                  <a:lnTo>
                    <a:pt x="102" y="912"/>
                  </a:lnTo>
                  <a:lnTo>
                    <a:pt x="90" y="906"/>
                  </a:lnTo>
                  <a:lnTo>
                    <a:pt x="84" y="900"/>
                  </a:lnTo>
                  <a:lnTo>
                    <a:pt x="84" y="888"/>
                  </a:lnTo>
                  <a:lnTo>
                    <a:pt x="84" y="882"/>
                  </a:lnTo>
                  <a:lnTo>
                    <a:pt x="78" y="858"/>
                  </a:lnTo>
                  <a:lnTo>
                    <a:pt x="78" y="852"/>
                  </a:lnTo>
                  <a:lnTo>
                    <a:pt x="84" y="846"/>
                  </a:lnTo>
                  <a:lnTo>
                    <a:pt x="84" y="840"/>
                  </a:lnTo>
                  <a:lnTo>
                    <a:pt x="96" y="828"/>
                  </a:lnTo>
                  <a:lnTo>
                    <a:pt x="114" y="816"/>
                  </a:lnTo>
                  <a:lnTo>
                    <a:pt x="114" y="810"/>
                  </a:lnTo>
                  <a:lnTo>
                    <a:pt x="114" y="804"/>
                  </a:lnTo>
                  <a:lnTo>
                    <a:pt x="108" y="780"/>
                  </a:lnTo>
                  <a:lnTo>
                    <a:pt x="96" y="756"/>
                  </a:lnTo>
                  <a:lnTo>
                    <a:pt x="96" y="750"/>
                  </a:lnTo>
                  <a:lnTo>
                    <a:pt x="90" y="720"/>
                  </a:lnTo>
                  <a:lnTo>
                    <a:pt x="90" y="708"/>
                  </a:lnTo>
                  <a:lnTo>
                    <a:pt x="90" y="690"/>
                  </a:lnTo>
                  <a:lnTo>
                    <a:pt x="96" y="672"/>
                  </a:lnTo>
                  <a:lnTo>
                    <a:pt x="90" y="666"/>
                  </a:lnTo>
                  <a:lnTo>
                    <a:pt x="96" y="666"/>
                  </a:lnTo>
                  <a:lnTo>
                    <a:pt x="102" y="642"/>
                  </a:lnTo>
                  <a:lnTo>
                    <a:pt x="108" y="624"/>
                  </a:lnTo>
                  <a:lnTo>
                    <a:pt x="102" y="618"/>
                  </a:lnTo>
                  <a:lnTo>
                    <a:pt x="102" y="588"/>
                  </a:lnTo>
                  <a:lnTo>
                    <a:pt x="102" y="564"/>
                  </a:lnTo>
                  <a:lnTo>
                    <a:pt x="102" y="546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0"/>
                  </a:lnTo>
                  <a:lnTo>
                    <a:pt x="96" y="498"/>
                  </a:lnTo>
                  <a:lnTo>
                    <a:pt x="96" y="486"/>
                  </a:lnTo>
                  <a:lnTo>
                    <a:pt x="96" y="474"/>
                  </a:lnTo>
                  <a:lnTo>
                    <a:pt x="96" y="462"/>
                  </a:lnTo>
                  <a:lnTo>
                    <a:pt x="114" y="450"/>
                  </a:lnTo>
                  <a:lnTo>
                    <a:pt x="126" y="438"/>
                  </a:lnTo>
                  <a:lnTo>
                    <a:pt x="132" y="432"/>
                  </a:lnTo>
                  <a:lnTo>
                    <a:pt x="144" y="426"/>
                  </a:lnTo>
                  <a:lnTo>
                    <a:pt x="144" y="420"/>
                  </a:lnTo>
                  <a:lnTo>
                    <a:pt x="156" y="414"/>
                  </a:lnTo>
                  <a:lnTo>
                    <a:pt x="162" y="408"/>
                  </a:lnTo>
                  <a:lnTo>
                    <a:pt x="180" y="396"/>
                  </a:lnTo>
                  <a:lnTo>
                    <a:pt x="210" y="372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34" y="348"/>
                  </a:lnTo>
                  <a:lnTo>
                    <a:pt x="240" y="348"/>
                  </a:lnTo>
                  <a:lnTo>
                    <a:pt x="246" y="342"/>
                  </a:lnTo>
                  <a:lnTo>
                    <a:pt x="276" y="318"/>
                  </a:lnTo>
                  <a:lnTo>
                    <a:pt x="282" y="312"/>
                  </a:lnTo>
                  <a:lnTo>
                    <a:pt x="288" y="306"/>
                  </a:lnTo>
                  <a:lnTo>
                    <a:pt x="300" y="288"/>
                  </a:lnTo>
                  <a:lnTo>
                    <a:pt x="306" y="276"/>
                  </a:lnTo>
                  <a:lnTo>
                    <a:pt x="324" y="246"/>
                  </a:lnTo>
                  <a:lnTo>
                    <a:pt x="330" y="240"/>
                  </a:lnTo>
                  <a:lnTo>
                    <a:pt x="336" y="234"/>
                  </a:lnTo>
                  <a:lnTo>
                    <a:pt x="342" y="228"/>
                  </a:lnTo>
                  <a:lnTo>
                    <a:pt x="342" y="216"/>
                  </a:lnTo>
                  <a:lnTo>
                    <a:pt x="354" y="204"/>
                  </a:lnTo>
                  <a:lnTo>
                    <a:pt x="360" y="204"/>
                  </a:lnTo>
                  <a:lnTo>
                    <a:pt x="366" y="186"/>
                  </a:lnTo>
                  <a:lnTo>
                    <a:pt x="384" y="162"/>
                  </a:lnTo>
                  <a:lnTo>
                    <a:pt x="390" y="144"/>
                  </a:lnTo>
                  <a:lnTo>
                    <a:pt x="396" y="114"/>
                  </a:lnTo>
                  <a:lnTo>
                    <a:pt x="396" y="102"/>
                  </a:lnTo>
                  <a:lnTo>
                    <a:pt x="402" y="90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08" y="36"/>
                  </a:lnTo>
                  <a:lnTo>
                    <a:pt x="408" y="24"/>
                  </a:lnTo>
                  <a:lnTo>
                    <a:pt x="408" y="6"/>
                  </a:lnTo>
                  <a:lnTo>
                    <a:pt x="420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68" y="0"/>
                  </a:lnTo>
                  <a:lnTo>
                    <a:pt x="480" y="0"/>
                  </a:lnTo>
                  <a:lnTo>
                    <a:pt x="492" y="0"/>
                  </a:lnTo>
                  <a:lnTo>
                    <a:pt x="498" y="0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8" y="18"/>
                  </a:lnTo>
                  <a:lnTo>
                    <a:pt x="534" y="18"/>
                  </a:lnTo>
                  <a:lnTo>
                    <a:pt x="540" y="18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8" y="36"/>
                  </a:lnTo>
                  <a:lnTo>
                    <a:pt x="588" y="54"/>
                  </a:lnTo>
                  <a:lnTo>
                    <a:pt x="594" y="48"/>
                  </a:lnTo>
                  <a:lnTo>
                    <a:pt x="600" y="48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12" y="66"/>
                  </a:lnTo>
                  <a:lnTo>
                    <a:pt x="630" y="72"/>
                  </a:lnTo>
                  <a:lnTo>
                    <a:pt x="642" y="78"/>
                  </a:lnTo>
                  <a:lnTo>
                    <a:pt x="666" y="78"/>
                  </a:lnTo>
                  <a:lnTo>
                    <a:pt x="672" y="72"/>
                  </a:lnTo>
                  <a:lnTo>
                    <a:pt x="690" y="84"/>
                  </a:lnTo>
                  <a:lnTo>
                    <a:pt x="690" y="90"/>
                  </a:lnTo>
                  <a:lnTo>
                    <a:pt x="708" y="96"/>
                  </a:lnTo>
                  <a:lnTo>
                    <a:pt x="708" y="102"/>
                  </a:lnTo>
                  <a:lnTo>
                    <a:pt x="744" y="96"/>
                  </a:lnTo>
                  <a:lnTo>
                    <a:pt x="756" y="78"/>
                  </a:lnTo>
                  <a:lnTo>
                    <a:pt x="756" y="72"/>
                  </a:lnTo>
                  <a:lnTo>
                    <a:pt x="762" y="66"/>
                  </a:lnTo>
                  <a:lnTo>
                    <a:pt x="768" y="60"/>
                  </a:lnTo>
                  <a:lnTo>
                    <a:pt x="774" y="54"/>
                  </a:lnTo>
                  <a:lnTo>
                    <a:pt x="786" y="54"/>
                  </a:lnTo>
                  <a:lnTo>
                    <a:pt x="786" y="60"/>
                  </a:lnTo>
                  <a:lnTo>
                    <a:pt x="786" y="66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92" y="90"/>
                  </a:lnTo>
                  <a:lnTo>
                    <a:pt x="780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26"/>
                  </a:lnTo>
                  <a:lnTo>
                    <a:pt x="768" y="150"/>
                  </a:lnTo>
                  <a:lnTo>
                    <a:pt x="750" y="168"/>
                  </a:lnTo>
                  <a:lnTo>
                    <a:pt x="750" y="174"/>
                  </a:lnTo>
                  <a:lnTo>
                    <a:pt x="762" y="192"/>
                  </a:lnTo>
                  <a:lnTo>
                    <a:pt x="774" y="210"/>
                  </a:lnTo>
                  <a:lnTo>
                    <a:pt x="792" y="228"/>
                  </a:lnTo>
                  <a:lnTo>
                    <a:pt x="804" y="240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40" y="252"/>
                  </a:lnTo>
                  <a:lnTo>
                    <a:pt x="834" y="252"/>
                  </a:lnTo>
                  <a:lnTo>
                    <a:pt x="846" y="252"/>
                  </a:lnTo>
                  <a:lnTo>
                    <a:pt x="852" y="270"/>
                  </a:lnTo>
                  <a:lnTo>
                    <a:pt x="858" y="282"/>
                  </a:lnTo>
                  <a:lnTo>
                    <a:pt x="858" y="288"/>
                  </a:lnTo>
                  <a:lnTo>
                    <a:pt x="864" y="300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58" y="318"/>
                  </a:lnTo>
                  <a:lnTo>
                    <a:pt x="852" y="318"/>
                  </a:lnTo>
                  <a:lnTo>
                    <a:pt x="846" y="324"/>
                  </a:lnTo>
                  <a:lnTo>
                    <a:pt x="846" y="336"/>
                  </a:lnTo>
                  <a:lnTo>
                    <a:pt x="840" y="348"/>
                  </a:lnTo>
                  <a:lnTo>
                    <a:pt x="840" y="360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46" y="402"/>
                  </a:lnTo>
                  <a:lnTo>
                    <a:pt x="858" y="420"/>
                  </a:lnTo>
                  <a:lnTo>
                    <a:pt x="882" y="426"/>
                  </a:lnTo>
                  <a:lnTo>
                    <a:pt x="888" y="444"/>
                  </a:lnTo>
                  <a:lnTo>
                    <a:pt x="900" y="444"/>
                  </a:lnTo>
                  <a:lnTo>
                    <a:pt x="900" y="462"/>
                  </a:lnTo>
                  <a:lnTo>
                    <a:pt x="894" y="474"/>
                  </a:lnTo>
                  <a:lnTo>
                    <a:pt x="888" y="486"/>
                  </a:lnTo>
                  <a:lnTo>
                    <a:pt x="882" y="492"/>
                  </a:lnTo>
                  <a:lnTo>
                    <a:pt x="870" y="504"/>
                  </a:lnTo>
                  <a:lnTo>
                    <a:pt x="852" y="504"/>
                  </a:lnTo>
                  <a:lnTo>
                    <a:pt x="852" y="510"/>
                  </a:lnTo>
                  <a:lnTo>
                    <a:pt x="852" y="516"/>
                  </a:lnTo>
                  <a:lnTo>
                    <a:pt x="846" y="528"/>
                  </a:lnTo>
                  <a:lnTo>
                    <a:pt x="846" y="582"/>
                  </a:lnTo>
                  <a:lnTo>
                    <a:pt x="840" y="582"/>
                  </a:lnTo>
                  <a:lnTo>
                    <a:pt x="834" y="582"/>
                  </a:lnTo>
                  <a:lnTo>
                    <a:pt x="828" y="582"/>
                  </a:lnTo>
                  <a:lnTo>
                    <a:pt x="822" y="582"/>
                  </a:lnTo>
                  <a:lnTo>
                    <a:pt x="810" y="582"/>
                  </a:lnTo>
                  <a:lnTo>
                    <a:pt x="810" y="528"/>
                  </a:lnTo>
                  <a:lnTo>
                    <a:pt x="792" y="528"/>
                  </a:lnTo>
                  <a:lnTo>
                    <a:pt x="792" y="522"/>
                  </a:lnTo>
                  <a:lnTo>
                    <a:pt x="786" y="522"/>
                  </a:lnTo>
                  <a:lnTo>
                    <a:pt x="786" y="516"/>
                  </a:lnTo>
                  <a:lnTo>
                    <a:pt x="780" y="516"/>
                  </a:lnTo>
                  <a:lnTo>
                    <a:pt x="780" y="510"/>
                  </a:lnTo>
                  <a:lnTo>
                    <a:pt x="762" y="510"/>
                  </a:lnTo>
                  <a:lnTo>
                    <a:pt x="756" y="510"/>
                  </a:lnTo>
                  <a:lnTo>
                    <a:pt x="750" y="522"/>
                  </a:lnTo>
                  <a:lnTo>
                    <a:pt x="744" y="534"/>
                  </a:lnTo>
                  <a:lnTo>
                    <a:pt x="732" y="540"/>
                  </a:lnTo>
                  <a:lnTo>
                    <a:pt x="732" y="558"/>
                  </a:lnTo>
                  <a:lnTo>
                    <a:pt x="732" y="564"/>
                  </a:lnTo>
                  <a:lnTo>
                    <a:pt x="732" y="570"/>
                  </a:lnTo>
                  <a:lnTo>
                    <a:pt x="726" y="576"/>
                  </a:lnTo>
                  <a:lnTo>
                    <a:pt x="720" y="576"/>
                  </a:lnTo>
                  <a:lnTo>
                    <a:pt x="714" y="582"/>
                  </a:lnTo>
                  <a:lnTo>
                    <a:pt x="702" y="588"/>
                  </a:lnTo>
                  <a:lnTo>
                    <a:pt x="696" y="594"/>
                  </a:lnTo>
                  <a:lnTo>
                    <a:pt x="690" y="600"/>
                  </a:lnTo>
                  <a:lnTo>
                    <a:pt x="690" y="606"/>
                  </a:lnTo>
                  <a:lnTo>
                    <a:pt x="678" y="606"/>
                  </a:lnTo>
                  <a:lnTo>
                    <a:pt x="678" y="624"/>
                  </a:lnTo>
                  <a:lnTo>
                    <a:pt x="684" y="642"/>
                  </a:lnTo>
                  <a:lnTo>
                    <a:pt x="684" y="660"/>
                  </a:lnTo>
                  <a:lnTo>
                    <a:pt x="690" y="672"/>
                  </a:lnTo>
                  <a:lnTo>
                    <a:pt x="702" y="720"/>
                  </a:lnTo>
                  <a:lnTo>
                    <a:pt x="708" y="750"/>
                  </a:lnTo>
                  <a:lnTo>
                    <a:pt x="708" y="792"/>
                  </a:lnTo>
                  <a:lnTo>
                    <a:pt x="708" y="828"/>
                  </a:lnTo>
                  <a:lnTo>
                    <a:pt x="708" y="852"/>
                  </a:lnTo>
                  <a:lnTo>
                    <a:pt x="696" y="894"/>
                  </a:lnTo>
                  <a:lnTo>
                    <a:pt x="702" y="900"/>
                  </a:lnTo>
                  <a:lnTo>
                    <a:pt x="708" y="924"/>
                  </a:lnTo>
                  <a:lnTo>
                    <a:pt x="684" y="936"/>
                  </a:lnTo>
                  <a:lnTo>
                    <a:pt x="660" y="954"/>
                  </a:lnTo>
                  <a:lnTo>
                    <a:pt x="618" y="984"/>
                  </a:lnTo>
                  <a:lnTo>
                    <a:pt x="618" y="990"/>
                  </a:lnTo>
                  <a:lnTo>
                    <a:pt x="612" y="996"/>
                  </a:lnTo>
                  <a:lnTo>
                    <a:pt x="606" y="1002"/>
                  </a:lnTo>
                  <a:lnTo>
                    <a:pt x="618" y="1008"/>
                  </a:lnTo>
                  <a:lnTo>
                    <a:pt x="618" y="1014"/>
                  </a:lnTo>
                  <a:lnTo>
                    <a:pt x="624" y="1026"/>
                  </a:lnTo>
                  <a:lnTo>
                    <a:pt x="630" y="1026"/>
                  </a:lnTo>
                  <a:lnTo>
                    <a:pt x="636" y="1032"/>
                  </a:lnTo>
                  <a:lnTo>
                    <a:pt x="642" y="1032"/>
                  </a:lnTo>
                  <a:lnTo>
                    <a:pt x="642" y="1038"/>
                  </a:lnTo>
                  <a:lnTo>
                    <a:pt x="648" y="1044"/>
                  </a:lnTo>
                  <a:lnTo>
                    <a:pt x="666" y="1050"/>
                  </a:lnTo>
                  <a:lnTo>
                    <a:pt x="678" y="1038"/>
                  </a:lnTo>
                  <a:lnTo>
                    <a:pt x="684" y="1038"/>
                  </a:lnTo>
                  <a:lnTo>
                    <a:pt x="684" y="1032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20"/>
                  </a:lnTo>
                  <a:lnTo>
                    <a:pt x="708" y="1014"/>
                  </a:lnTo>
                  <a:lnTo>
                    <a:pt x="720" y="1020"/>
                  </a:lnTo>
                  <a:lnTo>
                    <a:pt x="720" y="1014"/>
                  </a:lnTo>
                  <a:lnTo>
                    <a:pt x="726" y="1008"/>
                  </a:lnTo>
                  <a:lnTo>
                    <a:pt x="732" y="1008"/>
                  </a:lnTo>
                  <a:lnTo>
                    <a:pt x="738" y="1008"/>
                  </a:lnTo>
                  <a:lnTo>
                    <a:pt x="744" y="1002"/>
                  </a:lnTo>
                  <a:lnTo>
                    <a:pt x="744" y="996"/>
                  </a:lnTo>
                  <a:lnTo>
                    <a:pt x="750" y="996"/>
                  </a:lnTo>
                  <a:lnTo>
                    <a:pt x="756" y="1002"/>
                  </a:lnTo>
                  <a:lnTo>
                    <a:pt x="762" y="1002"/>
                  </a:lnTo>
                  <a:lnTo>
                    <a:pt x="768" y="996"/>
                  </a:lnTo>
                  <a:lnTo>
                    <a:pt x="780" y="996"/>
                  </a:lnTo>
                  <a:lnTo>
                    <a:pt x="786" y="996"/>
                  </a:lnTo>
                  <a:lnTo>
                    <a:pt x="816" y="990"/>
                  </a:lnTo>
                  <a:lnTo>
                    <a:pt x="828" y="990"/>
                  </a:lnTo>
                  <a:lnTo>
                    <a:pt x="834" y="990"/>
                  </a:lnTo>
                  <a:lnTo>
                    <a:pt x="840" y="984"/>
                  </a:lnTo>
                  <a:lnTo>
                    <a:pt x="852" y="978"/>
                  </a:lnTo>
                  <a:lnTo>
                    <a:pt x="852" y="972"/>
                  </a:lnTo>
                  <a:lnTo>
                    <a:pt x="858" y="972"/>
                  </a:lnTo>
                  <a:lnTo>
                    <a:pt x="864" y="966"/>
                  </a:lnTo>
                  <a:lnTo>
                    <a:pt x="870" y="966"/>
                  </a:lnTo>
                  <a:lnTo>
                    <a:pt x="876" y="966"/>
                  </a:lnTo>
                  <a:lnTo>
                    <a:pt x="882" y="960"/>
                  </a:lnTo>
                  <a:lnTo>
                    <a:pt x="888" y="960"/>
                  </a:lnTo>
                  <a:lnTo>
                    <a:pt x="894" y="960"/>
                  </a:lnTo>
                  <a:lnTo>
                    <a:pt x="894" y="966"/>
                  </a:lnTo>
                  <a:lnTo>
                    <a:pt x="894" y="978"/>
                  </a:lnTo>
                  <a:lnTo>
                    <a:pt x="894" y="984"/>
                  </a:lnTo>
                  <a:lnTo>
                    <a:pt x="900" y="984"/>
                  </a:lnTo>
                  <a:lnTo>
                    <a:pt x="906" y="978"/>
                  </a:lnTo>
                  <a:lnTo>
                    <a:pt x="912" y="972"/>
                  </a:lnTo>
                  <a:lnTo>
                    <a:pt x="918" y="978"/>
                  </a:lnTo>
                  <a:lnTo>
                    <a:pt x="924" y="978"/>
                  </a:lnTo>
                  <a:lnTo>
                    <a:pt x="924" y="972"/>
                  </a:lnTo>
                  <a:lnTo>
                    <a:pt x="924" y="966"/>
                  </a:lnTo>
                  <a:lnTo>
                    <a:pt x="930" y="966"/>
                  </a:lnTo>
                  <a:lnTo>
                    <a:pt x="948" y="966"/>
                  </a:lnTo>
                  <a:lnTo>
                    <a:pt x="954" y="966"/>
                  </a:lnTo>
                  <a:lnTo>
                    <a:pt x="954" y="960"/>
                  </a:lnTo>
                  <a:lnTo>
                    <a:pt x="960" y="960"/>
                  </a:lnTo>
                  <a:lnTo>
                    <a:pt x="966" y="960"/>
                  </a:lnTo>
                  <a:lnTo>
                    <a:pt x="966" y="966"/>
                  </a:lnTo>
                  <a:lnTo>
                    <a:pt x="978" y="972"/>
                  </a:lnTo>
                  <a:lnTo>
                    <a:pt x="978" y="978"/>
                  </a:lnTo>
                  <a:lnTo>
                    <a:pt x="978" y="984"/>
                  </a:lnTo>
                  <a:lnTo>
                    <a:pt x="984" y="978"/>
                  </a:lnTo>
                  <a:lnTo>
                    <a:pt x="990" y="978"/>
                  </a:lnTo>
                  <a:lnTo>
                    <a:pt x="996" y="984"/>
                  </a:lnTo>
                  <a:lnTo>
                    <a:pt x="1002" y="990"/>
                  </a:lnTo>
                  <a:lnTo>
                    <a:pt x="1008" y="972"/>
                  </a:lnTo>
                  <a:lnTo>
                    <a:pt x="1026" y="972"/>
                  </a:lnTo>
                  <a:lnTo>
                    <a:pt x="1032" y="972"/>
                  </a:lnTo>
                  <a:lnTo>
                    <a:pt x="1038" y="972"/>
                  </a:lnTo>
                  <a:lnTo>
                    <a:pt x="1050" y="972"/>
                  </a:lnTo>
                  <a:lnTo>
                    <a:pt x="1056" y="972"/>
                  </a:lnTo>
                  <a:lnTo>
                    <a:pt x="1062" y="966"/>
                  </a:lnTo>
                  <a:lnTo>
                    <a:pt x="1074" y="966"/>
                  </a:lnTo>
                  <a:lnTo>
                    <a:pt x="1074" y="960"/>
                  </a:lnTo>
                  <a:lnTo>
                    <a:pt x="1080" y="954"/>
                  </a:lnTo>
                  <a:lnTo>
                    <a:pt x="1080" y="948"/>
                  </a:lnTo>
                  <a:lnTo>
                    <a:pt x="1074" y="948"/>
                  </a:lnTo>
                  <a:lnTo>
                    <a:pt x="1068" y="948"/>
                  </a:lnTo>
                  <a:lnTo>
                    <a:pt x="1062" y="942"/>
                  </a:lnTo>
                  <a:lnTo>
                    <a:pt x="1068" y="936"/>
                  </a:lnTo>
                  <a:lnTo>
                    <a:pt x="1074" y="936"/>
                  </a:lnTo>
                  <a:lnTo>
                    <a:pt x="1080" y="936"/>
                  </a:lnTo>
                  <a:lnTo>
                    <a:pt x="1086" y="942"/>
                  </a:lnTo>
                  <a:lnTo>
                    <a:pt x="1092" y="942"/>
                  </a:lnTo>
                  <a:lnTo>
                    <a:pt x="1098" y="948"/>
                  </a:lnTo>
                  <a:lnTo>
                    <a:pt x="1104" y="954"/>
                  </a:lnTo>
                  <a:lnTo>
                    <a:pt x="1110" y="954"/>
                  </a:lnTo>
                  <a:lnTo>
                    <a:pt x="1116" y="948"/>
                  </a:lnTo>
                  <a:lnTo>
                    <a:pt x="1122" y="942"/>
                  </a:lnTo>
                  <a:lnTo>
                    <a:pt x="1128" y="942"/>
                  </a:lnTo>
                  <a:lnTo>
                    <a:pt x="1134" y="942"/>
                  </a:lnTo>
                  <a:lnTo>
                    <a:pt x="1140" y="948"/>
                  </a:lnTo>
                  <a:lnTo>
                    <a:pt x="1146" y="942"/>
                  </a:lnTo>
                  <a:lnTo>
                    <a:pt x="1152" y="942"/>
                  </a:lnTo>
                  <a:lnTo>
                    <a:pt x="1152" y="930"/>
                  </a:lnTo>
                  <a:lnTo>
                    <a:pt x="1164" y="936"/>
                  </a:lnTo>
                  <a:lnTo>
                    <a:pt x="1158" y="942"/>
                  </a:lnTo>
                  <a:lnTo>
                    <a:pt x="1158" y="948"/>
                  </a:lnTo>
                  <a:lnTo>
                    <a:pt x="1146" y="954"/>
                  </a:lnTo>
                  <a:lnTo>
                    <a:pt x="1152" y="954"/>
                  </a:lnTo>
                  <a:lnTo>
                    <a:pt x="1158" y="954"/>
                  </a:lnTo>
                  <a:lnTo>
                    <a:pt x="1158" y="948"/>
                  </a:lnTo>
                  <a:lnTo>
                    <a:pt x="1164" y="948"/>
                  </a:lnTo>
                  <a:lnTo>
                    <a:pt x="1170" y="948"/>
                  </a:lnTo>
                  <a:lnTo>
                    <a:pt x="1176" y="954"/>
                  </a:lnTo>
                  <a:lnTo>
                    <a:pt x="1176" y="966"/>
                  </a:lnTo>
                  <a:lnTo>
                    <a:pt x="1182" y="972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88" y="984"/>
                  </a:lnTo>
                  <a:lnTo>
                    <a:pt x="1194" y="984"/>
                  </a:lnTo>
                  <a:lnTo>
                    <a:pt x="1200" y="984"/>
                  </a:lnTo>
                  <a:lnTo>
                    <a:pt x="1212" y="984"/>
                  </a:lnTo>
                  <a:lnTo>
                    <a:pt x="1218" y="990"/>
                  </a:lnTo>
                  <a:lnTo>
                    <a:pt x="1224" y="990"/>
                  </a:lnTo>
                  <a:lnTo>
                    <a:pt x="1224" y="984"/>
                  </a:lnTo>
                  <a:lnTo>
                    <a:pt x="1230" y="990"/>
                  </a:lnTo>
                  <a:lnTo>
                    <a:pt x="1236" y="984"/>
                  </a:lnTo>
                  <a:lnTo>
                    <a:pt x="1242" y="984"/>
                  </a:lnTo>
                  <a:lnTo>
                    <a:pt x="1248" y="990"/>
                  </a:lnTo>
                  <a:lnTo>
                    <a:pt x="1254" y="990"/>
                  </a:lnTo>
                  <a:lnTo>
                    <a:pt x="1254" y="996"/>
                  </a:lnTo>
                  <a:lnTo>
                    <a:pt x="1254" y="1002"/>
                  </a:lnTo>
                  <a:lnTo>
                    <a:pt x="1254" y="1008"/>
                  </a:lnTo>
                  <a:lnTo>
                    <a:pt x="1260" y="1014"/>
                  </a:lnTo>
                  <a:lnTo>
                    <a:pt x="1266" y="1014"/>
                  </a:lnTo>
                  <a:lnTo>
                    <a:pt x="1272" y="1014"/>
                  </a:lnTo>
                  <a:lnTo>
                    <a:pt x="1278" y="1020"/>
                  </a:lnTo>
                  <a:lnTo>
                    <a:pt x="1284" y="1020"/>
                  </a:lnTo>
                  <a:lnTo>
                    <a:pt x="1290" y="1014"/>
                  </a:lnTo>
                  <a:lnTo>
                    <a:pt x="1290" y="1008"/>
                  </a:lnTo>
                  <a:lnTo>
                    <a:pt x="1296" y="1008"/>
                  </a:lnTo>
                  <a:lnTo>
                    <a:pt x="1302" y="1014"/>
                  </a:lnTo>
                  <a:lnTo>
                    <a:pt x="1308" y="1014"/>
                  </a:lnTo>
                  <a:lnTo>
                    <a:pt x="1314" y="1008"/>
                  </a:lnTo>
                  <a:lnTo>
                    <a:pt x="1320" y="1008"/>
                  </a:lnTo>
                  <a:lnTo>
                    <a:pt x="1320" y="1002"/>
                  </a:lnTo>
                  <a:lnTo>
                    <a:pt x="1320" y="996"/>
                  </a:lnTo>
                  <a:lnTo>
                    <a:pt x="1332" y="1002"/>
                  </a:lnTo>
                  <a:lnTo>
                    <a:pt x="1332" y="1008"/>
                  </a:lnTo>
                  <a:lnTo>
                    <a:pt x="1326" y="1014"/>
                  </a:lnTo>
                  <a:lnTo>
                    <a:pt x="1332" y="1014"/>
                  </a:lnTo>
                  <a:lnTo>
                    <a:pt x="1338" y="1014"/>
                  </a:lnTo>
                  <a:lnTo>
                    <a:pt x="1338" y="1008"/>
                  </a:lnTo>
                  <a:lnTo>
                    <a:pt x="1344" y="1008"/>
                  </a:lnTo>
                  <a:lnTo>
                    <a:pt x="1350" y="1008"/>
                  </a:lnTo>
                  <a:lnTo>
                    <a:pt x="1356" y="1014"/>
                  </a:lnTo>
                  <a:lnTo>
                    <a:pt x="1356" y="1008"/>
                  </a:lnTo>
                  <a:lnTo>
                    <a:pt x="1362" y="1014"/>
                  </a:lnTo>
                  <a:lnTo>
                    <a:pt x="1392" y="1014"/>
                  </a:lnTo>
                  <a:lnTo>
                    <a:pt x="1398" y="1014"/>
                  </a:lnTo>
                  <a:lnTo>
                    <a:pt x="1404" y="1008"/>
                  </a:lnTo>
                  <a:lnTo>
                    <a:pt x="1404" y="1014"/>
                  </a:lnTo>
                  <a:lnTo>
                    <a:pt x="1410" y="1008"/>
                  </a:lnTo>
                  <a:lnTo>
                    <a:pt x="1416" y="1008"/>
                  </a:lnTo>
                  <a:lnTo>
                    <a:pt x="1422" y="1002"/>
                  </a:lnTo>
                  <a:lnTo>
                    <a:pt x="1428" y="1002"/>
                  </a:lnTo>
                  <a:lnTo>
                    <a:pt x="1428" y="996"/>
                  </a:lnTo>
                  <a:lnTo>
                    <a:pt x="1428" y="990"/>
                  </a:lnTo>
                  <a:lnTo>
                    <a:pt x="1440" y="1002"/>
                  </a:lnTo>
                  <a:lnTo>
                    <a:pt x="1446" y="1002"/>
                  </a:lnTo>
                  <a:lnTo>
                    <a:pt x="1452" y="1002"/>
                  </a:lnTo>
                  <a:lnTo>
                    <a:pt x="1446" y="996"/>
                  </a:lnTo>
                  <a:lnTo>
                    <a:pt x="1452" y="996"/>
                  </a:lnTo>
                  <a:lnTo>
                    <a:pt x="1458" y="996"/>
                  </a:lnTo>
                  <a:lnTo>
                    <a:pt x="1464" y="996"/>
                  </a:lnTo>
                  <a:lnTo>
                    <a:pt x="1464" y="1002"/>
                  </a:lnTo>
                  <a:lnTo>
                    <a:pt x="1476" y="1014"/>
                  </a:lnTo>
                  <a:lnTo>
                    <a:pt x="1476" y="1008"/>
                  </a:lnTo>
                  <a:lnTo>
                    <a:pt x="1482" y="1008"/>
                  </a:lnTo>
                  <a:lnTo>
                    <a:pt x="1488" y="1020"/>
                  </a:lnTo>
                  <a:lnTo>
                    <a:pt x="1494" y="1020"/>
                  </a:lnTo>
                  <a:lnTo>
                    <a:pt x="1500" y="1014"/>
                  </a:lnTo>
                  <a:lnTo>
                    <a:pt x="1500" y="1020"/>
                  </a:lnTo>
                  <a:lnTo>
                    <a:pt x="1506" y="1026"/>
                  </a:lnTo>
                  <a:lnTo>
                    <a:pt x="1512" y="1032"/>
                  </a:lnTo>
                  <a:lnTo>
                    <a:pt x="1518" y="1032"/>
                  </a:lnTo>
                  <a:lnTo>
                    <a:pt x="1518" y="1038"/>
                  </a:lnTo>
                  <a:lnTo>
                    <a:pt x="1518" y="1044"/>
                  </a:lnTo>
                  <a:lnTo>
                    <a:pt x="1524" y="1044"/>
                  </a:lnTo>
                  <a:lnTo>
                    <a:pt x="1524" y="1050"/>
                  </a:lnTo>
                  <a:lnTo>
                    <a:pt x="1530" y="1056"/>
                  </a:lnTo>
                  <a:lnTo>
                    <a:pt x="1548" y="1062"/>
                  </a:lnTo>
                  <a:lnTo>
                    <a:pt x="1560" y="1074"/>
                  </a:lnTo>
                  <a:lnTo>
                    <a:pt x="1560" y="1080"/>
                  </a:lnTo>
                  <a:lnTo>
                    <a:pt x="1560" y="1086"/>
                  </a:lnTo>
                  <a:lnTo>
                    <a:pt x="1566" y="1086"/>
                  </a:lnTo>
                  <a:lnTo>
                    <a:pt x="1572" y="1098"/>
                  </a:lnTo>
                  <a:lnTo>
                    <a:pt x="1572" y="1104"/>
                  </a:lnTo>
                  <a:lnTo>
                    <a:pt x="1584" y="1110"/>
                  </a:lnTo>
                  <a:lnTo>
                    <a:pt x="1590" y="1116"/>
                  </a:lnTo>
                  <a:lnTo>
                    <a:pt x="1596" y="1116"/>
                  </a:lnTo>
                  <a:lnTo>
                    <a:pt x="1608" y="1122"/>
                  </a:lnTo>
                  <a:lnTo>
                    <a:pt x="1620" y="1140"/>
                  </a:lnTo>
                  <a:lnTo>
                    <a:pt x="1626" y="1158"/>
                  </a:lnTo>
                  <a:lnTo>
                    <a:pt x="1638" y="1200"/>
                  </a:lnTo>
                  <a:lnTo>
                    <a:pt x="1638" y="1218"/>
                  </a:lnTo>
                  <a:lnTo>
                    <a:pt x="1620" y="1230"/>
                  </a:lnTo>
                  <a:lnTo>
                    <a:pt x="1554" y="1230"/>
                  </a:lnTo>
                  <a:lnTo>
                    <a:pt x="1560" y="1248"/>
                  </a:lnTo>
                  <a:lnTo>
                    <a:pt x="1584" y="1260"/>
                  </a:lnTo>
                  <a:lnTo>
                    <a:pt x="1584" y="1266"/>
                  </a:lnTo>
                  <a:lnTo>
                    <a:pt x="1578" y="1272"/>
                  </a:lnTo>
                  <a:lnTo>
                    <a:pt x="1572" y="1272"/>
                  </a:lnTo>
                  <a:lnTo>
                    <a:pt x="1566" y="1278"/>
                  </a:lnTo>
                  <a:lnTo>
                    <a:pt x="1566" y="1284"/>
                  </a:lnTo>
                  <a:lnTo>
                    <a:pt x="1560" y="1290"/>
                  </a:lnTo>
                  <a:lnTo>
                    <a:pt x="1554" y="1290"/>
                  </a:lnTo>
                  <a:lnTo>
                    <a:pt x="1554" y="1296"/>
                  </a:lnTo>
                  <a:lnTo>
                    <a:pt x="1554" y="1302"/>
                  </a:lnTo>
                  <a:lnTo>
                    <a:pt x="1560" y="1332"/>
                  </a:lnTo>
                  <a:lnTo>
                    <a:pt x="1566" y="1356"/>
                  </a:lnTo>
                  <a:lnTo>
                    <a:pt x="1572" y="1356"/>
                  </a:lnTo>
                  <a:lnTo>
                    <a:pt x="1572" y="1362"/>
                  </a:lnTo>
                  <a:lnTo>
                    <a:pt x="1578" y="1362"/>
                  </a:lnTo>
                  <a:lnTo>
                    <a:pt x="1560" y="1374"/>
                  </a:lnTo>
                  <a:lnTo>
                    <a:pt x="1560" y="1380"/>
                  </a:lnTo>
                  <a:lnTo>
                    <a:pt x="1548" y="1380"/>
                  </a:lnTo>
                  <a:lnTo>
                    <a:pt x="1548" y="1386"/>
                  </a:lnTo>
                  <a:lnTo>
                    <a:pt x="1548" y="1392"/>
                  </a:lnTo>
                  <a:lnTo>
                    <a:pt x="1542" y="1410"/>
                  </a:lnTo>
                  <a:lnTo>
                    <a:pt x="1536" y="1422"/>
                  </a:lnTo>
                  <a:lnTo>
                    <a:pt x="1536" y="1428"/>
                  </a:lnTo>
                  <a:lnTo>
                    <a:pt x="1530" y="1440"/>
                  </a:lnTo>
                  <a:lnTo>
                    <a:pt x="1524" y="1434"/>
                  </a:lnTo>
                  <a:lnTo>
                    <a:pt x="1524" y="1428"/>
                  </a:lnTo>
                  <a:lnTo>
                    <a:pt x="1524" y="1422"/>
                  </a:lnTo>
                  <a:lnTo>
                    <a:pt x="1512" y="1410"/>
                  </a:lnTo>
                  <a:lnTo>
                    <a:pt x="1506" y="1404"/>
                  </a:lnTo>
                  <a:lnTo>
                    <a:pt x="1506" y="1398"/>
                  </a:lnTo>
                  <a:lnTo>
                    <a:pt x="1494" y="1392"/>
                  </a:lnTo>
                  <a:lnTo>
                    <a:pt x="1476" y="1404"/>
                  </a:lnTo>
                  <a:lnTo>
                    <a:pt x="1464" y="1416"/>
                  </a:lnTo>
                  <a:lnTo>
                    <a:pt x="1458" y="1428"/>
                  </a:lnTo>
                  <a:lnTo>
                    <a:pt x="1446" y="1434"/>
                  </a:lnTo>
                  <a:lnTo>
                    <a:pt x="1410" y="1440"/>
                  </a:lnTo>
                  <a:lnTo>
                    <a:pt x="1398" y="1440"/>
                  </a:lnTo>
                  <a:lnTo>
                    <a:pt x="1398" y="1446"/>
                  </a:lnTo>
                  <a:lnTo>
                    <a:pt x="1386" y="1446"/>
                  </a:lnTo>
                  <a:lnTo>
                    <a:pt x="1380" y="1440"/>
                  </a:lnTo>
                  <a:lnTo>
                    <a:pt x="1368" y="1440"/>
                  </a:lnTo>
                  <a:lnTo>
                    <a:pt x="1368" y="1446"/>
                  </a:lnTo>
                  <a:lnTo>
                    <a:pt x="1356" y="1446"/>
                  </a:lnTo>
                  <a:lnTo>
                    <a:pt x="1350" y="1452"/>
                  </a:lnTo>
                  <a:lnTo>
                    <a:pt x="1338" y="1452"/>
                  </a:lnTo>
                  <a:lnTo>
                    <a:pt x="1338" y="1458"/>
                  </a:lnTo>
                  <a:lnTo>
                    <a:pt x="1332" y="1458"/>
                  </a:lnTo>
                  <a:lnTo>
                    <a:pt x="1332" y="1464"/>
                  </a:lnTo>
                  <a:lnTo>
                    <a:pt x="1332" y="1470"/>
                  </a:lnTo>
                  <a:lnTo>
                    <a:pt x="1326" y="1470"/>
                  </a:lnTo>
                  <a:lnTo>
                    <a:pt x="1320" y="1470"/>
                  </a:lnTo>
                  <a:lnTo>
                    <a:pt x="1314" y="1470"/>
                  </a:lnTo>
                  <a:lnTo>
                    <a:pt x="1314" y="1464"/>
                  </a:lnTo>
                  <a:lnTo>
                    <a:pt x="1308" y="1464"/>
                  </a:lnTo>
                  <a:lnTo>
                    <a:pt x="1308" y="1452"/>
                  </a:lnTo>
                  <a:lnTo>
                    <a:pt x="1284" y="1458"/>
                  </a:lnTo>
                  <a:lnTo>
                    <a:pt x="1272" y="1458"/>
                  </a:lnTo>
                  <a:lnTo>
                    <a:pt x="1272" y="1464"/>
                  </a:lnTo>
                  <a:lnTo>
                    <a:pt x="1260" y="1464"/>
                  </a:lnTo>
                  <a:lnTo>
                    <a:pt x="1254" y="1464"/>
                  </a:lnTo>
                  <a:lnTo>
                    <a:pt x="1242" y="1422"/>
                  </a:lnTo>
                  <a:lnTo>
                    <a:pt x="1242" y="1416"/>
                  </a:lnTo>
                  <a:lnTo>
                    <a:pt x="1242" y="1410"/>
                  </a:lnTo>
                  <a:lnTo>
                    <a:pt x="1248" y="1410"/>
                  </a:lnTo>
                  <a:lnTo>
                    <a:pt x="1242" y="1410"/>
                  </a:lnTo>
                  <a:lnTo>
                    <a:pt x="1242" y="1404"/>
                  </a:lnTo>
                  <a:lnTo>
                    <a:pt x="1242" y="1398"/>
                  </a:lnTo>
                  <a:lnTo>
                    <a:pt x="1248" y="1392"/>
                  </a:lnTo>
                  <a:lnTo>
                    <a:pt x="1248" y="1386"/>
                  </a:lnTo>
                  <a:lnTo>
                    <a:pt x="1242" y="1380"/>
                  </a:lnTo>
                  <a:lnTo>
                    <a:pt x="1248" y="1380"/>
                  </a:lnTo>
                  <a:lnTo>
                    <a:pt x="1248" y="1374"/>
                  </a:lnTo>
                  <a:lnTo>
                    <a:pt x="1248" y="1368"/>
                  </a:lnTo>
                  <a:lnTo>
                    <a:pt x="1254" y="1368"/>
                  </a:lnTo>
                  <a:lnTo>
                    <a:pt x="1254" y="1362"/>
                  </a:lnTo>
                  <a:lnTo>
                    <a:pt x="1248" y="1356"/>
                  </a:lnTo>
                  <a:lnTo>
                    <a:pt x="1254" y="1356"/>
                  </a:lnTo>
                  <a:lnTo>
                    <a:pt x="1254" y="1344"/>
                  </a:lnTo>
                  <a:lnTo>
                    <a:pt x="1242" y="1338"/>
                  </a:lnTo>
                  <a:lnTo>
                    <a:pt x="1242" y="1326"/>
                  </a:lnTo>
                  <a:lnTo>
                    <a:pt x="1230" y="1326"/>
                  </a:lnTo>
                  <a:lnTo>
                    <a:pt x="1230" y="1314"/>
                  </a:lnTo>
                  <a:lnTo>
                    <a:pt x="1218" y="1314"/>
                  </a:lnTo>
                  <a:lnTo>
                    <a:pt x="1200" y="1272"/>
                  </a:lnTo>
                  <a:lnTo>
                    <a:pt x="1194" y="1242"/>
                  </a:lnTo>
                  <a:lnTo>
                    <a:pt x="1194" y="1206"/>
                  </a:lnTo>
                  <a:lnTo>
                    <a:pt x="1182" y="1200"/>
                  </a:lnTo>
                  <a:lnTo>
                    <a:pt x="1164" y="1206"/>
                  </a:lnTo>
                  <a:lnTo>
                    <a:pt x="1146" y="1212"/>
                  </a:lnTo>
                  <a:lnTo>
                    <a:pt x="1146" y="1218"/>
                  </a:lnTo>
                  <a:lnTo>
                    <a:pt x="1134" y="1224"/>
                  </a:lnTo>
                  <a:lnTo>
                    <a:pt x="1140" y="1260"/>
                  </a:lnTo>
                  <a:lnTo>
                    <a:pt x="1134" y="1266"/>
                  </a:lnTo>
                  <a:lnTo>
                    <a:pt x="1122" y="1266"/>
                  </a:lnTo>
                  <a:lnTo>
                    <a:pt x="1110" y="1236"/>
                  </a:lnTo>
                  <a:lnTo>
                    <a:pt x="1110" y="1224"/>
                  </a:lnTo>
                  <a:lnTo>
                    <a:pt x="1086" y="1224"/>
                  </a:lnTo>
                  <a:lnTo>
                    <a:pt x="1086" y="1212"/>
                  </a:lnTo>
                  <a:lnTo>
                    <a:pt x="1074" y="1212"/>
                  </a:lnTo>
                  <a:lnTo>
                    <a:pt x="1050" y="1212"/>
                  </a:lnTo>
                  <a:lnTo>
                    <a:pt x="1056" y="1218"/>
                  </a:lnTo>
                  <a:lnTo>
                    <a:pt x="1050" y="1272"/>
                  </a:lnTo>
                  <a:lnTo>
                    <a:pt x="1044" y="1272"/>
                  </a:lnTo>
                  <a:lnTo>
                    <a:pt x="1038" y="1284"/>
                  </a:lnTo>
                  <a:lnTo>
                    <a:pt x="1032" y="1302"/>
                  </a:lnTo>
                  <a:lnTo>
                    <a:pt x="1014" y="1302"/>
                  </a:lnTo>
                  <a:lnTo>
                    <a:pt x="1020" y="1284"/>
                  </a:lnTo>
                  <a:lnTo>
                    <a:pt x="1026" y="1278"/>
                  </a:lnTo>
                  <a:lnTo>
                    <a:pt x="1026" y="1266"/>
                  </a:lnTo>
                  <a:lnTo>
                    <a:pt x="1014" y="1260"/>
                  </a:lnTo>
                  <a:lnTo>
                    <a:pt x="1014" y="1272"/>
                  </a:lnTo>
                  <a:lnTo>
                    <a:pt x="990" y="1278"/>
                  </a:lnTo>
                  <a:lnTo>
                    <a:pt x="990" y="1254"/>
                  </a:lnTo>
                  <a:lnTo>
                    <a:pt x="984" y="1254"/>
                  </a:lnTo>
                  <a:lnTo>
                    <a:pt x="978" y="1242"/>
                  </a:lnTo>
                  <a:lnTo>
                    <a:pt x="972" y="1236"/>
                  </a:lnTo>
                  <a:lnTo>
                    <a:pt x="960" y="1206"/>
                  </a:lnTo>
                  <a:lnTo>
                    <a:pt x="942" y="1206"/>
                  </a:lnTo>
                  <a:lnTo>
                    <a:pt x="936" y="1200"/>
                  </a:lnTo>
                  <a:lnTo>
                    <a:pt x="906" y="1212"/>
                  </a:lnTo>
                  <a:lnTo>
                    <a:pt x="888" y="1230"/>
                  </a:lnTo>
                  <a:lnTo>
                    <a:pt x="876" y="1230"/>
                  </a:lnTo>
                  <a:lnTo>
                    <a:pt x="864" y="1236"/>
                  </a:lnTo>
                  <a:lnTo>
                    <a:pt x="858" y="1236"/>
                  </a:lnTo>
                  <a:lnTo>
                    <a:pt x="852" y="1254"/>
                  </a:lnTo>
                  <a:lnTo>
                    <a:pt x="858" y="1254"/>
                  </a:lnTo>
                  <a:lnTo>
                    <a:pt x="840" y="1266"/>
                  </a:lnTo>
                  <a:lnTo>
                    <a:pt x="828" y="1272"/>
                  </a:lnTo>
                  <a:lnTo>
                    <a:pt x="828" y="1284"/>
                  </a:lnTo>
                  <a:lnTo>
                    <a:pt x="822" y="1284"/>
                  </a:lnTo>
                  <a:lnTo>
                    <a:pt x="804" y="1296"/>
                  </a:lnTo>
                  <a:lnTo>
                    <a:pt x="804" y="1308"/>
                  </a:lnTo>
                  <a:lnTo>
                    <a:pt x="816" y="1320"/>
                  </a:lnTo>
                  <a:lnTo>
                    <a:pt x="828" y="1320"/>
                  </a:lnTo>
                  <a:lnTo>
                    <a:pt x="822" y="1338"/>
                  </a:lnTo>
                  <a:lnTo>
                    <a:pt x="852" y="1344"/>
                  </a:lnTo>
                  <a:lnTo>
                    <a:pt x="864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94" y="1356"/>
                  </a:lnTo>
                  <a:lnTo>
                    <a:pt x="912" y="1368"/>
                  </a:lnTo>
                  <a:lnTo>
                    <a:pt x="918" y="1380"/>
                  </a:lnTo>
                  <a:lnTo>
                    <a:pt x="936" y="1380"/>
                  </a:lnTo>
                  <a:lnTo>
                    <a:pt x="960" y="1386"/>
                  </a:lnTo>
                  <a:lnTo>
                    <a:pt x="990" y="1386"/>
                  </a:lnTo>
                  <a:lnTo>
                    <a:pt x="990" y="1392"/>
                  </a:lnTo>
                  <a:lnTo>
                    <a:pt x="1020" y="1398"/>
                  </a:lnTo>
                  <a:lnTo>
                    <a:pt x="1014" y="1404"/>
                  </a:lnTo>
                  <a:lnTo>
                    <a:pt x="1008" y="1404"/>
                  </a:lnTo>
                  <a:lnTo>
                    <a:pt x="1014" y="1440"/>
                  </a:lnTo>
                  <a:lnTo>
                    <a:pt x="1020" y="1458"/>
                  </a:lnTo>
                  <a:lnTo>
                    <a:pt x="1026" y="1476"/>
                  </a:lnTo>
                  <a:lnTo>
                    <a:pt x="1020" y="1476"/>
                  </a:lnTo>
                  <a:lnTo>
                    <a:pt x="1014" y="1476"/>
                  </a:lnTo>
                  <a:lnTo>
                    <a:pt x="1014" y="1482"/>
                  </a:lnTo>
                  <a:lnTo>
                    <a:pt x="1014" y="1488"/>
                  </a:lnTo>
                  <a:lnTo>
                    <a:pt x="1002" y="1488"/>
                  </a:lnTo>
                  <a:lnTo>
                    <a:pt x="1002" y="1494"/>
                  </a:lnTo>
                  <a:lnTo>
                    <a:pt x="996" y="1494"/>
                  </a:lnTo>
                  <a:lnTo>
                    <a:pt x="996" y="1518"/>
                  </a:lnTo>
                  <a:lnTo>
                    <a:pt x="1002" y="1524"/>
                  </a:lnTo>
                  <a:lnTo>
                    <a:pt x="1020" y="1530"/>
                  </a:lnTo>
                  <a:lnTo>
                    <a:pt x="1026" y="1542"/>
                  </a:lnTo>
                  <a:lnTo>
                    <a:pt x="1032" y="1566"/>
                  </a:lnTo>
                  <a:lnTo>
                    <a:pt x="1038" y="1578"/>
                  </a:lnTo>
                  <a:lnTo>
                    <a:pt x="1032" y="1584"/>
                  </a:lnTo>
                  <a:lnTo>
                    <a:pt x="1020" y="1584"/>
                  </a:lnTo>
                  <a:lnTo>
                    <a:pt x="1014" y="1584"/>
                  </a:lnTo>
                  <a:lnTo>
                    <a:pt x="1008" y="1596"/>
                  </a:lnTo>
                  <a:lnTo>
                    <a:pt x="990" y="1584"/>
                  </a:lnTo>
                  <a:lnTo>
                    <a:pt x="984" y="1602"/>
                  </a:lnTo>
                  <a:lnTo>
                    <a:pt x="978" y="1608"/>
                  </a:lnTo>
                  <a:lnTo>
                    <a:pt x="966" y="1608"/>
                  </a:lnTo>
                  <a:lnTo>
                    <a:pt x="960" y="1614"/>
                  </a:lnTo>
                  <a:lnTo>
                    <a:pt x="954" y="1614"/>
                  </a:lnTo>
                  <a:lnTo>
                    <a:pt x="942" y="1620"/>
                  </a:lnTo>
                  <a:lnTo>
                    <a:pt x="936" y="1620"/>
                  </a:lnTo>
                  <a:lnTo>
                    <a:pt x="930" y="1620"/>
                  </a:lnTo>
                  <a:lnTo>
                    <a:pt x="930" y="1626"/>
                  </a:lnTo>
                  <a:lnTo>
                    <a:pt x="930" y="1632"/>
                  </a:lnTo>
                  <a:lnTo>
                    <a:pt x="918" y="1632"/>
                  </a:lnTo>
                  <a:lnTo>
                    <a:pt x="912" y="1632"/>
                  </a:lnTo>
                  <a:lnTo>
                    <a:pt x="906" y="1632"/>
                  </a:lnTo>
                  <a:lnTo>
                    <a:pt x="900" y="1632"/>
                  </a:lnTo>
                  <a:lnTo>
                    <a:pt x="894" y="1626"/>
                  </a:lnTo>
                  <a:lnTo>
                    <a:pt x="894" y="1614"/>
                  </a:lnTo>
                  <a:lnTo>
                    <a:pt x="840" y="1614"/>
                  </a:lnTo>
                  <a:lnTo>
                    <a:pt x="840" y="1626"/>
                  </a:lnTo>
                  <a:lnTo>
                    <a:pt x="834" y="1626"/>
                  </a:lnTo>
                  <a:lnTo>
                    <a:pt x="828" y="1632"/>
                  </a:lnTo>
                  <a:lnTo>
                    <a:pt x="822" y="1638"/>
                  </a:lnTo>
                  <a:lnTo>
                    <a:pt x="822" y="1644"/>
                  </a:lnTo>
                  <a:lnTo>
                    <a:pt x="834" y="1650"/>
                  </a:lnTo>
                  <a:lnTo>
                    <a:pt x="840" y="1662"/>
                  </a:lnTo>
                  <a:lnTo>
                    <a:pt x="840" y="1668"/>
                  </a:lnTo>
                  <a:lnTo>
                    <a:pt x="858" y="1680"/>
                  </a:lnTo>
                  <a:lnTo>
                    <a:pt x="858" y="1752"/>
                  </a:lnTo>
                  <a:lnTo>
                    <a:pt x="864" y="1782"/>
                  </a:lnTo>
                  <a:lnTo>
                    <a:pt x="876" y="1788"/>
                  </a:lnTo>
                  <a:lnTo>
                    <a:pt x="870" y="1854"/>
                  </a:lnTo>
                  <a:lnTo>
                    <a:pt x="870" y="1884"/>
                  </a:lnTo>
                  <a:lnTo>
                    <a:pt x="864" y="1884"/>
                  </a:lnTo>
                  <a:lnTo>
                    <a:pt x="846" y="1896"/>
                  </a:lnTo>
                  <a:lnTo>
                    <a:pt x="840" y="1896"/>
                  </a:lnTo>
                  <a:lnTo>
                    <a:pt x="834" y="1896"/>
                  </a:lnTo>
                  <a:lnTo>
                    <a:pt x="828" y="1890"/>
                  </a:lnTo>
                  <a:lnTo>
                    <a:pt x="822" y="1890"/>
                  </a:lnTo>
                  <a:lnTo>
                    <a:pt x="816" y="1896"/>
                  </a:lnTo>
                  <a:lnTo>
                    <a:pt x="804" y="1896"/>
                  </a:lnTo>
                  <a:lnTo>
                    <a:pt x="804" y="1890"/>
                  </a:lnTo>
                  <a:lnTo>
                    <a:pt x="780" y="1896"/>
                  </a:lnTo>
                  <a:lnTo>
                    <a:pt x="780" y="1902"/>
                  </a:lnTo>
                  <a:lnTo>
                    <a:pt x="774" y="1914"/>
                  </a:lnTo>
                  <a:lnTo>
                    <a:pt x="762" y="1926"/>
                  </a:lnTo>
                  <a:lnTo>
                    <a:pt x="762" y="1950"/>
                  </a:lnTo>
                  <a:lnTo>
                    <a:pt x="762" y="1962"/>
                  </a:lnTo>
                  <a:lnTo>
                    <a:pt x="780" y="1974"/>
                  </a:lnTo>
                  <a:lnTo>
                    <a:pt x="780" y="1986"/>
                  </a:lnTo>
                  <a:lnTo>
                    <a:pt x="780" y="1998"/>
                  </a:lnTo>
                  <a:lnTo>
                    <a:pt x="756" y="1998"/>
                  </a:lnTo>
                  <a:lnTo>
                    <a:pt x="720" y="1992"/>
                  </a:lnTo>
                  <a:lnTo>
                    <a:pt x="666" y="1998"/>
                  </a:lnTo>
                  <a:lnTo>
                    <a:pt x="654" y="1998"/>
                  </a:lnTo>
                  <a:lnTo>
                    <a:pt x="660" y="1974"/>
                  </a:lnTo>
                  <a:lnTo>
                    <a:pt x="666" y="1962"/>
                  </a:lnTo>
                  <a:lnTo>
                    <a:pt x="678" y="1950"/>
                  </a:lnTo>
                  <a:lnTo>
                    <a:pt x="696" y="1932"/>
                  </a:lnTo>
                  <a:lnTo>
                    <a:pt x="696" y="1920"/>
                  </a:lnTo>
                  <a:lnTo>
                    <a:pt x="696" y="1896"/>
                  </a:lnTo>
                  <a:lnTo>
                    <a:pt x="678" y="1896"/>
                  </a:lnTo>
                  <a:lnTo>
                    <a:pt x="672" y="1884"/>
                  </a:lnTo>
                  <a:lnTo>
                    <a:pt x="672" y="1776"/>
                  </a:lnTo>
                  <a:lnTo>
                    <a:pt x="678" y="1758"/>
                  </a:lnTo>
                  <a:lnTo>
                    <a:pt x="678" y="1740"/>
                  </a:lnTo>
                  <a:lnTo>
                    <a:pt x="684" y="1728"/>
                  </a:lnTo>
                  <a:lnTo>
                    <a:pt x="690" y="1722"/>
                  </a:lnTo>
                  <a:lnTo>
                    <a:pt x="702" y="1722"/>
                  </a:lnTo>
                  <a:lnTo>
                    <a:pt x="708" y="1716"/>
                  </a:lnTo>
                  <a:lnTo>
                    <a:pt x="714" y="1710"/>
                  </a:lnTo>
                  <a:lnTo>
                    <a:pt x="720" y="1698"/>
                  </a:lnTo>
                  <a:lnTo>
                    <a:pt x="732" y="1692"/>
                  </a:lnTo>
                  <a:lnTo>
                    <a:pt x="744" y="1686"/>
                  </a:lnTo>
                  <a:lnTo>
                    <a:pt x="756" y="1680"/>
                  </a:lnTo>
                  <a:lnTo>
                    <a:pt x="768" y="1668"/>
                  </a:lnTo>
                  <a:lnTo>
                    <a:pt x="768" y="1650"/>
                  </a:lnTo>
                  <a:lnTo>
                    <a:pt x="774" y="1632"/>
                  </a:lnTo>
                  <a:lnTo>
                    <a:pt x="768" y="1620"/>
                  </a:lnTo>
                  <a:lnTo>
                    <a:pt x="774" y="1608"/>
                  </a:lnTo>
                  <a:lnTo>
                    <a:pt x="774" y="1578"/>
                  </a:lnTo>
                  <a:lnTo>
                    <a:pt x="774" y="1572"/>
                  </a:lnTo>
                  <a:lnTo>
                    <a:pt x="780" y="1560"/>
                  </a:lnTo>
                  <a:lnTo>
                    <a:pt x="780" y="1554"/>
                  </a:lnTo>
                  <a:lnTo>
                    <a:pt x="786" y="1542"/>
                  </a:lnTo>
                  <a:lnTo>
                    <a:pt x="792" y="1530"/>
                  </a:lnTo>
                  <a:lnTo>
                    <a:pt x="792" y="1518"/>
                  </a:lnTo>
                  <a:lnTo>
                    <a:pt x="792" y="1506"/>
                  </a:lnTo>
                  <a:lnTo>
                    <a:pt x="786" y="1500"/>
                  </a:lnTo>
                  <a:lnTo>
                    <a:pt x="774" y="1488"/>
                  </a:lnTo>
                  <a:lnTo>
                    <a:pt x="774" y="1482"/>
                  </a:lnTo>
                  <a:lnTo>
                    <a:pt x="762" y="1488"/>
                  </a:lnTo>
                  <a:lnTo>
                    <a:pt x="756" y="1494"/>
                  </a:lnTo>
                  <a:lnTo>
                    <a:pt x="744" y="1500"/>
                  </a:lnTo>
                  <a:lnTo>
                    <a:pt x="732" y="1506"/>
                  </a:lnTo>
                  <a:lnTo>
                    <a:pt x="726" y="1506"/>
                  </a:lnTo>
                  <a:lnTo>
                    <a:pt x="720" y="1506"/>
                  </a:lnTo>
                  <a:lnTo>
                    <a:pt x="702" y="1506"/>
                  </a:lnTo>
                  <a:lnTo>
                    <a:pt x="690" y="1500"/>
                  </a:lnTo>
                  <a:lnTo>
                    <a:pt x="678" y="1500"/>
                  </a:lnTo>
                  <a:lnTo>
                    <a:pt x="672" y="1500"/>
                  </a:lnTo>
                  <a:lnTo>
                    <a:pt x="660" y="1506"/>
                  </a:lnTo>
                  <a:lnTo>
                    <a:pt x="654" y="1506"/>
                  </a:lnTo>
                  <a:lnTo>
                    <a:pt x="648" y="1512"/>
                  </a:lnTo>
                  <a:lnTo>
                    <a:pt x="648" y="1518"/>
                  </a:lnTo>
                  <a:lnTo>
                    <a:pt x="618" y="1518"/>
                  </a:lnTo>
                  <a:lnTo>
                    <a:pt x="534" y="1494"/>
                  </a:lnTo>
                  <a:lnTo>
                    <a:pt x="528" y="1458"/>
                  </a:lnTo>
                  <a:lnTo>
                    <a:pt x="510" y="1458"/>
                  </a:lnTo>
                  <a:lnTo>
                    <a:pt x="492" y="1440"/>
                  </a:lnTo>
                  <a:lnTo>
                    <a:pt x="462" y="1440"/>
                  </a:lnTo>
                  <a:lnTo>
                    <a:pt x="456" y="1428"/>
                  </a:lnTo>
                  <a:lnTo>
                    <a:pt x="420" y="1428"/>
                  </a:lnTo>
                  <a:lnTo>
                    <a:pt x="390" y="1446"/>
                  </a:lnTo>
                  <a:lnTo>
                    <a:pt x="312" y="1452"/>
                  </a:lnTo>
                  <a:lnTo>
                    <a:pt x="300" y="1446"/>
                  </a:lnTo>
                  <a:lnTo>
                    <a:pt x="294" y="1446"/>
                  </a:lnTo>
                  <a:lnTo>
                    <a:pt x="288" y="1446"/>
                  </a:lnTo>
                  <a:lnTo>
                    <a:pt x="282" y="1440"/>
                  </a:lnTo>
                  <a:lnTo>
                    <a:pt x="276" y="1440"/>
                  </a:lnTo>
                  <a:lnTo>
                    <a:pt x="270" y="1440"/>
                  </a:lnTo>
                  <a:lnTo>
                    <a:pt x="264" y="1440"/>
                  </a:lnTo>
                  <a:lnTo>
                    <a:pt x="258" y="1434"/>
                  </a:lnTo>
                  <a:lnTo>
                    <a:pt x="252" y="1434"/>
                  </a:lnTo>
                  <a:lnTo>
                    <a:pt x="246" y="1428"/>
                  </a:lnTo>
                  <a:lnTo>
                    <a:pt x="240" y="1416"/>
                  </a:lnTo>
                  <a:lnTo>
                    <a:pt x="234" y="1404"/>
                  </a:lnTo>
                  <a:lnTo>
                    <a:pt x="228" y="1398"/>
                  </a:lnTo>
                  <a:lnTo>
                    <a:pt x="222" y="1398"/>
                  </a:lnTo>
                  <a:lnTo>
                    <a:pt x="216" y="1404"/>
                  </a:lnTo>
                  <a:lnTo>
                    <a:pt x="210" y="1404"/>
                  </a:lnTo>
                  <a:lnTo>
                    <a:pt x="204" y="1404"/>
                  </a:lnTo>
                  <a:lnTo>
                    <a:pt x="204" y="1398"/>
                  </a:lnTo>
                  <a:lnTo>
                    <a:pt x="198" y="1392"/>
                  </a:lnTo>
                  <a:lnTo>
                    <a:pt x="192" y="1386"/>
                  </a:lnTo>
                  <a:lnTo>
                    <a:pt x="168" y="1374"/>
                  </a:lnTo>
                  <a:lnTo>
                    <a:pt x="144" y="13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0" name="Freeform 35">
              <a:extLst>
                <a:ext uri="{FF2B5EF4-FFF2-40B4-BE49-F238E27FC236}">
                  <a16:creationId xmlns:a16="http://schemas.microsoft.com/office/drawing/2014/main" id="{F64BF16E-9D62-438E-A1CC-CD4088AC7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2895" y="1706004"/>
              <a:ext cx="767013" cy="785011"/>
            </a:xfrm>
            <a:custGeom>
              <a:avLst/>
              <a:gdLst>
                <a:gd name="T0" fmla="*/ 102 w 1440"/>
                <a:gd name="T1" fmla="*/ 104 h 1476"/>
                <a:gd name="T2" fmla="*/ 99 w 1440"/>
                <a:gd name="T3" fmla="*/ 108 h 1476"/>
                <a:gd name="T4" fmla="*/ 98 w 1440"/>
                <a:gd name="T5" fmla="*/ 112 h 1476"/>
                <a:gd name="T6" fmla="*/ 96 w 1440"/>
                <a:gd name="T7" fmla="*/ 116 h 1476"/>
                <a:gd name="T8" fmla="*/ 91 w 1440"/>
                <a:gd name="T9" fmla="*/ 118 h 1476"/>
                <a:gd name="T10" fmla="*/ 87 w 1440"/>
                <a:gd name="T11" fmla="*/ 120 h 1476"/>
                <a:gd name="T12" fmla="*/ 75 w 1440"/>
                <a:gd name="T13" fmla="*/ 120 h 1476"/>
                <a:gd name="T14" fmla="*/ 72 w 1440"/>
                <a:gd name="T15" fmla="*/ 123 h 1476"/>
                <a:gd name="T16" fmla="*/ 69 w 1440"/>
                <a:gd name="T17" fmla="*/ 128 h 1476"/>
                <a:gd name="T18" fmla="*/ 67 w 1440"/>
                <a:gd name="T19" fmla="*/ 127 h 1476"/>
                <a:gd name="T20" fmla="*/ 66 w 1440"/>
                <a:gd name="T21" fmla="*/ 123 h 1476"/>
                <a:gd name="T22" fmla="*/ 63 w 1440"/>
                <a:gd name="T23" fmla="*/ 119 h 1476"/>
                <a:gd name="T24" fmla="*/ 54 w 1440"/>
                <a:gd name="T25" fmla="*/ 114 h 1476"/>
                <a:gd name="T26" fmla="*/ 55 w 1440"/>
                <a:gd name="T27" fmla="*/ 106 h 1476"/>
                <a:gd name="T28" fmla="*/ 60 w 1440"/>
                <a:gd name="T29" fmla="*/ 100 h 1476"/>
                <a:gd name="T30" fmla="*/ 55 w 1440"/>
                <a:gd name="T31" fmla="*/ 91 h 1476"/>
                <a:gd name="T32" fmla="*/ 51 w 1440"/>
                <a:gd name="T33" fmla="*/ 86 h 1476"/>
                <a:gd name="T34" fmla="*/ 47 w 1440"/>
                <a:gd name="T35" fmla="*/ 85 h 1476"/>
                <a:gd name="T36" fmla="*/ 44 w 1440"/>
                <a:gd name="T37" fmla="*/ 82 h 1476"/>
                <a:gd name="T38" fmla="*/ 41 w 1440"/>
                <a:gd name="T39" fmla="*/ 83 h 1476"/>
                <a:gd name="T40" fmla="*/ 36 w 1440"/>
                <a:gd name="T41" fmla="*/ 83 h 1476"/>
                <a:gd name="T42" fmla="*/ 33 w 1440"/>
                <a:gd name="T43" fmla="*/ 83 h 1476"/>
                <a:gd name="T44" fmla="*/ 30 w 1440"/>
                <a:gd name="T45" fmla="*/ 83 h 1476"/>
                <a:gd name="T46" fmla="*/ 27 w 1440"/>
                <a:gd name="T47" fmla="*/ 83 h 1476"/>
                <a:gd name="T48" fmla="*/ 24 w 1440"/>
                <a:gd name="T49" fmla="*/ 82 h 1476"/>
                <a:gd name="T50" fmla="*/ 21 w 1440"/>
                <a:gd name="T51" fmla="*/ 80 h 1476"/>
                <a:gd name="T52" fmla="*/ 18 w 1440"/>
                <a:gd name="T53" fmla="*/ 79 h 1476"/>
                <a:gd name="T54" fmla="*/ 17 w 1440"/>
                <a:gd name="T55" fmla="*/ 78 h 1476"/>
                <a:gd name="T56" fmla="*/ 12 w 1440"/>
                <a:gd name="T57" fmla="*/ 78 h 1476"/>
                <a:gd name="T58" fmla="*/ 12 w 1440"/>
                <a:gd name="T59" fmla="*/ 78 h 1476"/>
                <a:gd name="T60" fmla="*/ 7 w 1440"/>
                <a:gd name="T61" fmla="*/ 80 h 1476"/>
                <a:gd name="T62" fmla="*/ 3 w 1440"/>
                <a:gd name="T63" fmla="*/ 81 h 1476"/>
                <a:gd name="T64" fmla="*/ 0 w 1440"/>
                <a:gd name="T65" fmla="*/ 76 h 1476"/>
                <a:gd name="T66" fmla="*/ 1 w 1440"/>
                <a:gd name="T67" fmla="*/ 50 h 1476"/>
                <a:gd name="T68" fmla="*/ 8 w 1440"/>
                <a:gd name="T69" fmla="*/ 48 h 1476"/>
                <a:gd name="T70" fmla="*/ 20 w 1440"/>
                <a:gd name="T71" fmla="*/ 49 h 1476"/>
                <a:gd name="T72" fmla="*/ 26 w 1440"/>
                <a:gd name="T73" fmla="*/ 50 h 1476"/>
                <a:gd name="T74" fmla="*/ 44 w 1440"/>
                <a:gd name="T75" fmla="*/ 47 h 1476"/>
                <a:gd name="T76" fmla="*/ 41 w 1440"/>
                <a:gd name="T77" fmla="*/ 24 h 1476"/>
                <a:gd name="T78" fmla="*/ 44 w 1440"/>
                <a:gd name="T79" fmla="*/ 20 h 1476"/>
                <a:gd name="T80" fmla="*/ 47 w 1440"/>
                <a:gd name="T81" fmla="*/ 18 h 1476"/>
                <a:gd name="T82" fmla="*/ 54 w 1440"/>
                <a:gd name="T83" fmla="*/ 21 h 1476"/>
                <a:gd name="T84" fmla="*/ 61 w 1440"/>
                <a:gd name="T85" fmla="*/ 23 h 1476"/>
                <a:gd name="T86" fmla="*/ 59 w 1440"/>
                <a:gd name="T87" fmla="*/ 14 h 1476"/>
                <a:gd name="T88" fmla="*/ 61 w 1440"/>
                <a:gd name="T89" fmla="*/ 8 h 1476"/>
                <a:gd name="T90" fmla="*/ 71 w 1440"/>
                <a:gd name="T91" fmla="*/ 7 h 1476"/>
                <a:gd name="T92" fmla="*/ 75 w 1440"/>
                <a:gd name="T93" fmla="*/ 0 h 1476"/>
                <a:gd name="T94" fmla="*/ 82 w 1440"/>
                <a:gd name="T95" fmla="*/ 3 h 1476"/>
                <a:gd name="T96" fmla="*/ 93 w 1440"/>
                <a:gd name="T97" fmla="*/ 5 h 1476"/>
                <a:gd name="T98" fmla="*/ 100 w 1440"/>
                <a:gd name="T99" fmla="*/ 1 h 1476"/>
                <a:gd name="T100" fmla="*/ 104 w 1440"/>
                <a:gd name="T101" fmla="*/ 4 h 1476"/>
                <a:gd name="T102" fmla="*/ 110 w 1440"/>
                <a:gd name="T103" fmla="*/ 10 h 1476"/>
                <a:gd name="T104" fmla="*/ 115 w 1440"/>
                <a:gd name="T105" fmla="*/ 23 h 1476"/>
                <a:gd name="T106" fmla="*/ 117 w 1440"/>
                <a:gd name="T107" fmla="*/ 42 h 1476"/>
                <a:gd name="T108" fmla="*/ 121 w 1440"/>
                <a:gd name="T109" fmla="*/ 52 h 1476"/>
                <a:gd name="T110" fmla="*/ 118 w 1440"/>
                <a:gd name="T111" fmla="*/ 62 h 1476"/>
                <a:gd name="T112" fmla="*/ 124 w 1440"/>
                <a:gd name="T113" fmla="*/ 66 h 1476"/>
                <a:gd name="T114" fmla="*/ 121 w 1440"/>
                <a:gd name="T115" fmla="*/ 71 h 1476"/>
                <a:gd name="T116" fmla="*/ 115 w 1440"/>
                <a:gd name="T117" fmla="*/ 76 h 1476"/>
                <a:gd name="T118" fmla="*/ 109 w 1440"/>
                <a:gd name="T119" fmla="*/ 76 h 1476"/>
                <a:gd name="T120" fmla="*/ 105 w 1440"/>
                <a:gd name="T121" fmla="*/ 86 h 1476"/>
                <a:gd name="T122" fmla="*/ 107 w 1440"/>
                <a:gd name="T123" fmla="*/ 97 h 147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40"/>
                <a:gd name="T187" fmla="*/ 0 h 1476"/>
                <a:gd name="T188" fmla="*/ 1440 w 1440"/>
                <a:gd name="T189" fmla="*/ 1476 h 147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40" h="1476">
                  <a:moveTo>
                    <a:pt x="1212" y="1164"/>
                  </a:moveTo>
                  <a:lnTo>
                    <a:pt x="1206" y="1170"/>
                  </a:lnTo>
                  <a:lnTo>
                    <a:pt x="1200" y="1176"/>
                  </a:lnTo>
                  <a:lnTo>
                    <a:pt x="1194" y="1176"/>
                  </a:lnTo>
                  <a:lnTo>
                    <a:pt x="1188" y="1188"/>
                  </a:lnTo>
                  <a:lnTo>
                    <a:pt x="1182" y="1194"/>
                  </a:lnTo>
                  <a:lnTo>
                    <a:pt x="1176" y="1194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64" y="1206"/>
                  </a:lnTo>
                  <a:lnTo>
                    <a:pt x="1158" y="1206"/>
                  </a:lnTo>
                  <a:lnTo>
                    <a:pt x="1152" y="1212"/>
                  </a:lnTo>
                  <a:lnTo>
                    <a:pt x="1146" y="1212"/>
                  </a:lnTo>
                  <a:lnTo>
                    <a:pt x="1140" y="1224"/>
                  </a:lnTo>
                  <a:lnTo>
                    <a:pt x="1134" y="1230"/>
                  </a:lnTo>
                  <a:lnTo>
                    <a:pt x="1128" y="1236"/>
                  </a:lnTo>
                  <a:lnTo>
                    <a:pt x="1128" y="1242"/>
                  </a:lnTo>
                  <a:lnTo>
                    <a:pt x="1128" y="1254"/>
                  </a:lnTo>
                  <a:lnTo>
                    <a:pt x="1128" y="1260"/>
                  </a:lnTo>
                  <a:lnTo>
                    <a:pt x="1122" y="1260"/>
                  </a:lnTo>
                  <a:lnTo>
                    <a:pt x="1122" y="1266"/>
                  </a:lnTo>
                  <a:lnTo>
                    <a:pt x="1128" y="1278"/>
                  </a:lnTo>
                  <a:lnTo>
                    <a:pt x="1122" y="1278"/>
                  </a:lnTo>
                  <a:lnTo>
                    <a:pt x="1122" y="1284"/>
                  </a:lnTo>
                  <a:lnTo>
                    <a:pt x="1128" y="1290"/>
                  </a:lnTo>
                  <a:lnTo>
                    <a:pt x="1122" y="1296"/>
                  </a:lnTo>
                  <a:lnTo>
                    <a:pt x="1122" y="1302"/>
                  </a:lnTo>
                  <a:lnTo>
                    <a:pt x="1116" y="1302"/>
                  </a:lnTo>
                  <a:lnTo>
                    <a:pt x="1110" y="1314"/>
                  </a:lnTo>
                  <a:lnTo>
                    <a:pt x="1110" y="1320"/>
                  </a:lnTo>
                  <a:lnTo>
                    <a:pt x="1110" y="1326"/>
                  </a:lnTo>
                  <a:lnTo>
                    <a:pt x="1098" y="1332"/>
                  </a:lnTo>
                  <a:lnTo>
                    <a:pt x="1092" y="1338"/>
                  </a:lnTo>
                  <a:lnTo>
                    <a:pt x="1092" y="1344"/>
                  </a:lnTo>
                  <a:lnTo>
                    <a:pt x="1086" y="1350"/>
                  </a:lnTo>
                  <a:lnTo>
                    <a:pt x="1080" y="1350"/>
                  </a:lnTo>
                  <a:lnTo>
                    <a:pt x="1074" y="1350"/>
                  </a:lnTo>
                  <a:lnTo>
                    <a:pt x="1068" y="1356"/>
                  </a:lnTo>
                  <a:lnTo>
                    <a:pt x="1062" y="1356"/>
                  </a:lnTo>
                  <a:lnTo>
                    <a:pt x="1044" y="1356"/>
                  </a:lnTo>
                  <a:lnTo>
                    <a:pt x="1038" y="1362"/>
                  </a:lnTo>
                  <a:lnTo>
                    <a:pt x="1032" y="1368"/>
                  </a:lnTo>
                  <a:lnTo>
                    <a:pt x="1026" y="1368"/>
                  </a:lnTo>
                  <a:lnTo>
                    <a:pt x="1020" y="1374"/>
                  </a:lnTo>
                  <a:lnTo>
                    <a:pt x="1008" y="1374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74"/>
                  </a:lnTo>
                  <a:lnTo>
                    <a:pt x="978" y="1380"/>
                  </a:lnTo>
                  <a:lnTo>
                    <a:pt x="972" y="1380"/>
                  </a:lnTo>
                  <a:lnTo>
                    <a:pt x="954" y="1368"/>
                  </a:lnTo>
                  <a:lnTo>
                    <a:pt x="930" y="1368"/>
                  </a:lnTo>
                  <a:lnTo>
                    <a:pt x="918" y="1368"/>
                  </a:lnTo>
                  <a:lnTo>
                    <a:pt x="906" y="1368"/>
                  </a:lnTo>
                  <a:lnTo>
                    <a:pt x="894" y="1368"/>
                  </a:lnTo>
                  <a:lnTo>
                    <a:pt x="864" y="1374"/>
                  </a:lnTo>
                  <a:lnTo>
                    <a:pt x="852" y="1374"/>
                  </a:lnTo>
                  <a:lnTo>
                    <a:pt x="846" y="1386"/>
                  </a:lnTo>
                  <a:lnTo>
                    <a:pt x="846" y="1392"/>
                  </a:lnTo>
                  <a:lnTo>
                    <a:pt x="840" y="1398"/>
                  </a:lnTo>
                  <a:lnTo>
                    <a:pt x="840" y="1404"/>
                  </a:lnTo>
                  <a:lnTo>
                    <a:pt x="834" y="1416"/>
                  </a:lnTo>
                  <a:lnTo>
                    <a:pt x="828" y="1416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04" y="1428"/>
                  </a:lnTo>
                  <a:lnTo>
                    <a:pt x="804" y="1434"/>
                  </a:lnTo>
                  <a:lnTo>
                    <a:pt x="804" y="1440"/>
                  </a:lnTo>
                  <a:lnTo>
                    <a:pt x="798" y="1446"/>
                  </a:lnTo>
                  <a:lnTo>
                    <a:pt x="798" y="1458"/>
                  </a:lnTo>
                  <a:lnTo>
                    <a:pt x="792" y="1464"/>
                  </a:lnTo>
                  <a:lnTo>
                    <a:pt x="786" y="1476"/>
                  </a:lnTo>
                  <a:lnTo>
                    <a:pt x="780" y="1470"/>
                  </a:lnTo>
                  <a:lnTo>
                    <a:pt x="774" y="1470"/>
                  </a:lnTo>
                  <a:lnTo>
                    <a:pt x="768" y="1470"/>
                  </a:lnTo>
                  <a:lnTo>
                    <a:pt x="762" y="1476"/>
                  </a:lnTo>
                  <a:lnTo>
                    <a:pt x="762" y="1470"/>
                  </a:lnTo>
                  <a:lnTo>
                    <a:pt x="762" y="1464"/>
                  </a:lnTo>
                  <a:lnTo>
                    <a:pt x="762" y="1458"/>
                  </a:lnTo>
                  <a:lnTo>
                    <a:pt x="756" y="1458"/>
                  </a:lnTo>
                  <a:lnTo>
                    <a:pt x="756" y="1452"/>
                  </a:lnTo>
                  <a:lnTo>
                    <a:pt x="756" y="1446"/>
                  </a:lnTo>
                  <a:lnTo>
                    <a:pt x="756" y="1440"/>
                  </a:lnTo>
                  <a:lnTo>
                    <a:pt x="750" y="1434"/>
                  </a:lnTo>
                  <a:lnTo>
                    <a:pt x="750" y="1428"/>
                  </a:lnTo>
                  <a:lnTo>
                    <a:pt x="750" y="1422"/>
                  </a:lnTo>
                  <a:lnTo>
                    <a:pt x="750" y="1416"/>
                  </a:lnTo>
                  <a:lnTo>
                    <a:pt x="744" y="1416"/>
                  </a:lnTo>
                  <a:lnTo>
                    <a:pt x="744" y="1410"/>
                  </a:lnTo>
                  <a:lnTo>
                    <a:pt x="738" y="1404"/>
                  </a:lnTo>
                  <a:lnTo>
                    <a:pt x="732" y="1398"/>
                  </a:lnTo>
                  <a:lnTo>
                    <a:pt x="732" y="1392"/>
                  </a:lnTo>
                  <a:lnTo>
                    <a:pt x="726" y="1386"/>
                  </a:lnTo>
                  <a:lnTo>
                    <a:pt x="726" y="1380"/>
                  </a:lnTo>
                  <a:lnTo>
                    <a:pt x="714" y="1368"/>
                  </a:lnTo>
                  <a:lnTo>
                    <a:pt x="708" y="1368"/>
                  </a:lnTo>
                  <a:lnTo>
                    <a:pt x="684" y="1332"/>
                  </a:lnTo>
                  <a:lnTo>
                    <a:pt x="666" y="1320"/>
                  </a:lnTo>
                  <a:lnTo>
                    <a:pt x="648" y="1302"/>
                  </a:lnTo>
                  <a:lnTo>
                    <a:pt x="630" y="1314"/>
                  </a:lnTo>
                  <a:lnTo>
                    <a:pt x="624" y="1314"/>
                  </a:lnTo>
                  <a:lnTo>
                    <a:pt x="624" y="1308"/>
                  </a:lnTo>
                  <a:lnTo>
                    <a:pt x="618" y="1308"/>
                  </a:lnTo>
                  <a:lnTo>
                    <a:pt x="612" y="1284"/>
                  </a:lnTo>
                  <a:lnTo>
                    <a:pt x="606" y="1254"/>
                  </a:lnTo>
                  <a:lnTo>
                    <a:pt x="606" y="1248"/>
                  </a:lnTo>
                  <a:lnTo>
                    <a:pt x="606" y="1242"/>
                  </a:lnTo>
                  <a:lnTo>
                    <a:pt x="612" y="1242"/>
                  </a:lnTo>
                  <a:lnTo>
                    <a:pt x="618" y="1236"/>
                  </a:lnTo>
                  <a:lnTo>
                    <a:pt x="618" y="1230"/>
                  </a:lnTo>
                  <a:lnTo>
                    <a:pt x="624" y="1224"/>
                  </a:lnTo>
                  <a:lnTo>
                    <a:pt x="630" y="1224"/>
                  </a:lnTo>
                  <a:lnTo>
                    <a:pt x="636" y="1218"/>
                  </a:lnTo>
                  <a:lnTo>
                    <a:pt x="636" y="1212"/>
                  </a:lnTo>
                  <a:lnTo>
                    <a:pt x="612" y="1200"/>
                  </a:lnTo>
                  <a:lnTo>
                    <a:pt x="606" y="1182"/>
                  </a:lnTo>
                  <a:lnTo>
                    <a:pt x="672" y="1182"/>
                  </a:lnTo>
                  <a:lnTo>
                    <a:pt x="690" y="1170"/>
                  </a:lnTo>
                  <a:lnTo>
                    <a:pt x="690" y="1152"/>
                  </a:lnTo>
                  <a:lnTo>
                    <a:pt x="678" y="1110"/>
                  </a:lnTo>
                  <a:lnTo>
                    <a:pt x="672" y="1092"/>
                  </a:lnTo>
                  <a:lnTo>
                    <a:pt x="660" y="1074"/>
                  </a:lnTo>
                  <a:lnTo>
                    <a:pt x="648" y="1068"/>
                  </a:lnTo>
                  <a:lnTo>
                    <a:pt x="642" y="1068"/>
                  </a:lnTo>
                  <a:lnTo>
                    <a:pt x="636" y="1062"/>
                  </a:lnTo>
                  <a:lnTo>
                    <a:pt x="624" y="1056"/>
                  </a:lnTo>
                  <a:lnTo>
                    <a:pt x="624" y="1050"/>
                  </a:lnTo>
                  <a:lnTo>
                    <a:pt x="618" y="1038"/>
                  </a:lnTo>
                  <a:lnTo>
                    <a:pt x="612" y="1038"/>
                  </a:lnTo>
                  <a:lnTo>
                    <a:pt x="612" y="1032"/>
                  </a:lnTo>
                  <a:lnTo>
                    <a:pt x="612" y="1026"/>
                  </a:lnTo>
                  <a:lnTo>
                    <a:pt x="600" y="1014"/>
                  </a:lnTo>
                  <a:lnTo>
                    <a:pt x="582" y="1008"/>
                  </a:lnTo>
                  <a:lnTo>
                    <a:pt x="576" y="1002"/>
                  </a:lnTo>
                  <a:lnTo>
                    <a:pt x="576" y="996"/>
                  </a:lnTo>
                  <a:lnTo>
                    <a:pt x="570" y="996"/>
                  </a:lnTo>
                  <a:lnTo>
                    <a:pt x="570" y="990"/>
                  </a:lnTo>
                  <a:lnTo>
                    <a:pt x="570" y="984"/>
                  </a:lnTo>
                  <a:lnTo>
                    <a:pt x="564" y="984"/>
                  </a:lnTo>
                  <a:lnTo>
                    <a:pt x="558" y="978"/>
                  </a:lnTo>
                  <a:lnTo>
                    <a:pt x="552" y="972"/>
                  </a:lnTo>
                  <a:lnTo>
                    <a:pt x="552" y="966"/>
                  </a:lnTo>
                  <a:lnTo>
                    <a:pt x="546" y="972"/>
                  </a:lnTo>
                  <a:lnTo>
                    <a:pt x="540" y="972"/>
                  </a:lnTo>
                  <a:lnTo>
                    <a:pt x="534" y="960"/>
                  </a:lnTo>
                  <a:lnTo>
                    <a:pt x="528" y="960"/>
                  </a:lnTo>
                  <a:lnTo>
                    <a:pt x="528" y="966"/>
                  </a:lnTo>
                  <a:lnTo>
                    <a:pt x="516" y="954"/>
                  </a:lnTo>
                  <a:lnTo>
                    <a:pt x="516" y="948"/>
                  </a:lnTo>
                  <a:lnTo>
                    <a:pt x="510" y="948"/>
                  </a:lnTo>
                  <a:lnTo>
                    <a:pt x="504" y="948"/>
                  </a:lnTo>
                  <a:lnTo>
                    <a:pt x="498" y="948"/>
                  </a:lnTo>
                  <a:lnTo>
                    <a:pt x="504" y="954"/>
                  </a:lnTo>
                  <a:lnTo>
                    <a:pt x="498" y="954"/>
                  </a:lnTo>
                  <a:lnTo>
                    <a:pt x="492" y="954"/>
                  </a:lnTo>
                  <a:lnTo>
                    <a:pt x="480" y="942"/>
                  </a:lnTo>
                  <a:lnTo>
                    <a:pt x="480" y="948"/>
                  </a:lnTo>
                  <a:lnTo>
                    <a:pt x="480" y="954"/>
                  </a:lnTo>
                  <a:lnTo>
                    <a:pt x="474" y="954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56" y="966"/>
                  </a:lnTo>
                  <a:lnTo>
                    <a:pt x="456" y="960"/>
                  </a:lnTo>
                  <a:lnTo>
                    <a:pt x="450" y="966"/>
                  </a:lnTo>
                  <a:lnTo>
                    <a:pt x="444" y="966"/>
                  </a:lnTo>
                  <a:lnTo>
                    <a:pt x="414" y="966"/>
                  </a:lnTo>
                  <a:lnTo>
                    <a:pt x="408" y="960"/>
                  </a:lnTo>
                  <a:lnTo>
                    <a:pt x="408" y="966"/>
                  </a:lnTo>
                  <a:lnTo>
                    <a:pt x="402" y="960"/>
                  </a:lnTo>
                  <a:lnTo>
                    <a:pt x="396" y="960"/>
                  </a:lnTo>
                  <a:lnTo>
                    <a:pt x="390" y="960"/>
                  </a:lnTo>
                  <a:lnTo>
                    <a:pt x="390" y="966"/>
                  </a:lnTo>
                  <a:lnTo>
                    <a:pt x="384" y="966"/>
                  </a:lnTo>
                  <a:lnTo>
                    <a:pt x="378" y="966"/>
                  </a:lnTo>
                  <a:lnTo>
                    <a:pt x="384" y="960"/>
                  </a:lnTo>
                  <a:lnTo>
                    <a:pt x="384" y="954"/>
                  </a:lnTo>
                  <a:lnTo>
                    <a:pt x="372" y="948"/>
                  </a:lnTo>
                  <a:lnTo>
                    <a:pt x="372" y="954"/>
                  </a:lnTo>
                  <a:lnTo>
                    <a:pt x="372" y="960"/>
                  </a:lnTo>
                  <a:lnTo>
                    <a:pt x="366" y="960"/>
                  </a:lnTo>
                  <a:lnTo>
                    <a:pt x="360" y="966"/>
                  </a:lnTo>
                  <a:lnTo>
                    <a:pt x="354" y="966"/>
                  </a:lnTo>
                  <a:lnTo>
                    <a:pt x="348" y="960"/>
                  </a:lnTo>
                  <a:lnTo>
                    <a:pt x="342" y="960"/>
                  </a:lnTo>
                  <a:lnTo>
                    <a:pt x="342" y="966"/>
                  </a:lnTo>
                  <a:lnTo>
                    <a:pt x="336" y="972"/>
                  </a:lnTo>
                  <a:lnTo>
                    <a:pt x="330" y="972"/>
                  </a:lnTo>
                  <a:lnTo>
                    <a:pt x="324" y="966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6" y="954"/>
                  </a:lnTo>
                  <a:lnTo>
                    <a:pt x="306" y="948"/>
                  </a:lnTo>
                  <a:lnTo>
                    <a:pt x="306" y="942"/>
                  </a:lnTo>
                  <a:lnTo>
                    <a:pt x="300" y="942"/>
                  </a:lnTo>
                  <a:lnTo>
                    <a:pt x="294" y="936"/>
                  </a:lnTo>
                  <a:lnTo>
                    <a:pt x="288" y="936"/>
                  </a:lnTo>
                  <a:lnTo>
                    <a:pt x="282" y="942"/>
                  </a:lnTo>
                  <a:lnTo>
                    <a:pt x="276" y="936"/>
                  </a:lnTo>
                  <a:lnTo>
                    <a:pt x="276" y="942"/>
                  </a:lnTo>
                  <a:lnTo>
                    <a:pt x="270" y="942"/>
                  </a:lnTo>
                  <a:lnTo>
                    <a:pt x="264" y="936"/>
                  </a:lnTo>
                  <a:lnTo>
                    <a:pt x="252" y="936"/>
                  </a:lnTo>
                  <a:lnTo>
                    <a:pt x="246" y="936"/>
                  </a:lnTo>
                  <a:lnTo>
                    <a:pt x="240" y="936"/>
                  </a:lnTo>
                  <a:lnTo>
                    <a:pt x="234" y="936"/>
                  </a:lnTo>
                  <a:lnTo>
                    <a:pt x="240" y="924"/>
                  </a:lnTo>
                  <a:lnTo>
                    <a:pt x="234" y="924"/>
                  </a:lnTo>
                  <a:lnTo>
                    <a:pt x="228" y="918"/>
                  </a:lnTo>
                  <a:lnTo>
                    <a:pt x="228" y="906"/>
                  </a:lnTo>
                  <a:lnTo>
                    <a:pt x="222" y="900"/>
                  </a:lnTo>
                  <a:lnTo>
                    <a:pt x="216" y="900"/>
                  </a:lnTo>
                  <a:lnTo>
                    <a:pt x="210" y="900"/>
                  </a:lnTo>
                  <a:lnTo>
                    <a:pt x="210" y="906"/>
                  </a:lnTo>
                  <a:lnTo>
                    <a:pt x="204" y="906"/>
                  </a:lnTo>
                  <a:lnTo>
                    <a:pt x="198" y="906"/>
                  </a:lnTo>
                  <a:lnTo>
                    <a:pt x="210" y="900"/>
                  </a:lnTo>
                  <a:lnTo>
                    <a:pt x="210" y="894"/>
                  </a:lnTo>
                  <a:lnTo>
                    <a:pt x="216" y="888"/>
                  </a:lnTo>
                  <a:lnTo>
                    <a:pt x="204" y="882"/>
                  </a:lnTo>
                  <a:lnTo>
                    <a:pt x="204" y="894"/>
                  </a:lnTo>
                  <a:lnTo>
                    <a:pt x="198" y="894"/>
                  </a:lnTo>
                  <a:lnTo>
                    <a:pt x="192" y="900"/>
                  </a:lnTo>
                  <a:lnTo>
                    <a:pt x="186" y="894"/>
                  </a:lnTo>
                  <a:lnTo>
                    <a:pt x="180" y="894"/>
                  </a:lnTo>
                  <a:lnTo>
                    <a:pt x="174" y="894"/>
                  </a:lnTo>
                  <a:lnTo>
                    <a:pt x="168" y="900"/>
                  </a:lnTo>
                  <a:lnTo>
                    <a:pt x="162" y="906"/>
                  </a:lnTo>
                  <a:lnTo>
                    <a:pt x="156" y="906"/>
                  </a:lnTo>
                  <a:lnTo>
                    <a:pt x="150" y="900"/>
                  </a:lnTo>
                  <a:lnTo>
                    <a:pt x="144" y="894"/>
                  </a:lnTo>
                  <a:lnTo>
                    <a:pt x="138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0" y="888"/>
                  </a:lnTo>
                  <a:lnTo>
                    <a:pt x="114" y="894"/>
                  </a:lnTo>
                  <a:lnTo>
                    <a:pt x="120" y="900"/>
                  </a:lnTo>
                  <a:lnTo>
                    <a:pt x="126" y="900"/>
                  </a:lnTo>
                  <a:lnTo>
                    <a:pt x="132" y="900"/>
                  </a:lnTo>
                  <a:lnTo>
                    <a:pt x="132" y="906"/>
                  </a:lnTo>
                  <a:lnTo>
                    <a:pt x="126" y="912"/>
                  </a:lnTo>
                  <a:lnTo>
                    <a:pt x="126" y="918"/>
                  </a:lnTo>
                  <a:lnTo>
                    <a:pt x="114" y="918"/>
                  </a:lnTo>
                  <a:lnTo>
                    <a:pt x="108" y="924"/>
                  </a:lnTo>
                  <a:lnTo>
                    <a:pt x="102" y="924"/>
                  </a:lnTo>
                  <a:lnTo>
                    <a:pt x="90" y="924"/>
                  </a:lnTo>
                  <a:lnTo>
                    <a:pt x="84" y="924"/>
                  </a:lnTo>
                  <a:lnTo>
                    <a:pt x="78" y="924"/>
                  </a:lnTo>
                  <a:lnTo>
                    <a:pt x="60" y="924"/>
                  </a:lnTo>
                  <a:lnTo>
                    <a:pt x="54" y="942"/>
                  </a:lnTo>
                  <a:lnTo>
                    <a:pt x="48" y="936"/>
                  </a:lnTo>
                  <a:lnTo>
                    <a:pt x="42" y="930"/>
                  </a:lnTo>
                  <a:lnTo>
                    <a:pt x="36" y="930"/>
                  </a:lnTo>
                  <a:lnTo>
                    <a:pt x="30" y="936"/>
                  </a:lnTo>
                  <a:lnTo>
                    <a:pt x="30" y="930"/>
                  </a:lnTo>
                  <a:lnTo>
                    <a:pt x="30" y="924"/>
                  </a:lnTo>
                  <a:lnTo>
                    <a:pt x="18" y="918"/>
                  </a:lnTo>
                  <a:lnTo>
                    <a:pt x="18" y="912"/>
                  </a:lnTo>
                  <a:lnTo>
                    <a:pt x="12" y="912"/>
                  </a:lnTo>
                  <a:lnTo>
                    <a:pt x="6" y="912"/>
                  </a:lnTo>
                  <a:lnTo>
                    <a:pt x="6" y="900"/>
                  </a:lnTo>
                  <a:lnTo>
                    <a:pt x="6" y="894"/>
                  </a:lnTo>
                  <a:lnTo>
                    <a:pt x="0" y="870"/>
                  </a:lnTo>
                  <a:lnTo>
                    <a:pt x="6" y="846"/>
                  </a:lnTo>
                  <a:lnTo>
                    <a:pt x="6" y="810"/>
                  </a:lnTo>
                  <a:lnTo>
                    <a:pt x="12" y="774"/>
                  </a:lnTo>
                  <a:lnTo>
                    <a:pt x="12" y="756"/>
                  </a:lnTo>
                  <a:lnTo>
                    <a:pt x="18" y="744"/>
                  </a:lnTo>
                  <a:lnTo>
                    <a:pt x="18" y="732"/>
                  </a:lnTo>
                  <a:lnTo>
                    <a:pt x="12" y="576"/>
                  </a:lnTo>
                  <a:lnTo>
                    <a:pt x="12" y="570"/>
                  </a:lnTo>
                  <a:lnTo>
                    <a:pt x="18" y="564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42" y="552"/>
                  </a:lnTo>
                  <a:lnTo>
                    <a:pt x="66" y="552"/>
                  </a:lnTo>
                  <a:lnTo>
                    <a:pt x="78" y="558"/>
                  </a:lnTo>
                  <a:lnTo>
                    <a:pt x="90" y="558"/>
                  </a:lnTo>
                  <a:lnTo>
                    <a:pt x="108" y="558"/>
                  </a:lnTo>
                  <a:lnTo>
                    <a:pt x="144" y="558"/>
                  </a:lnTo>
                  <a:lnTo>
                    <a:pt x="204" y="552"/>
                  </a:lnTo>
                  <a:lnTo>
                    <a:pt x="210" y="558"/>
                  </a:lnTo>
                  <a:lnTo>
                    <a:pt x="216" y="558"/>
                  </a:lnTo>
                  <a:lnTo>
                    <a:pt x="210" y="564"/>
                  </a:lnTo>
                  <a:lnTo>
                    <a:pt x="216" y="564"/>
                  </a:lnTo>
                  <a:lnTo>
                    <a:pt x="222" y="564"/>
                  </a:lnTo>
                  <a:lnTo>
                    <a:pt x="240" y="564"/>
                  </a:lnTo>
                  <a:lnTo>
                    <a:pt x="258" y="564"/>
                  </a:lnTo>
                  <a:lnTo>
                    <a:pt x="264" y="570"/>
                  </a:lnTo>
                  <a:lnTo>
                    <a:pt x="276" y="570"/>
                  </a:lnTo>
                  <a:lnTo>
                    <a:pt x="282" y="564"/>
                  </a:lnTo>
                  <a:lnTo>
                    <a:pt x="294" y="564"/>
                  </a:lnTo>
                  <a:lnTo>
                    <a:pt x="294" y="570"/>
                  </a:lnTo>
                  <a:lnTo>
                    <a:pt x="300" y="570"/>
                  </a:lnTo>
                  <a:lnTo>
                    <a:pt x="378" y="564"/>
                  </a:lnTo>
                  <a:lnTo>
                    <a:pt x="408" y="558"/>
                  </a:lnTo>
                  <a:lnTo>
                    <a:pt x="432" y="552"/>
                  </a:lnTo>
                  <a:lnTo>
                    <a:pt x="450" y="546"/>
                  </a:lnTo>
                  <a:lnTo>
                    <a:pt x="468" y="546"/>
                  </a:lnTo>
                  <a:lnTo>
                    <a:pt x="468" y="552"/>
                  </a:lnTo>
                  <a:lnTo>
                    <a:pt x="504" y="552"/>
                  </a:lnTo>
                  <a:lnTo>
                    <a:pt x="510" y="534"/>
                  </a:lnTo>
                  <a:lnTo>
                    <a:pt x="516" y="510"/>
                  </a:lnTo>
                  <a:lnTo>
                    <a:pt x="522" y="510"/>
                  </a:lnTo>
                  <a:lnTo>
                    <a:pt x="528" y="420"/>
                  </a:lnTo>
                  <a:lnTo>
                    <a:pt x="522" y="414"/>
                  </a:lnTo>
                  <a:lnTo>
                    <a:pt x="516" y="396"/>
                  </a:lnTo>
                  <a:lnTo>
                    <a:pt x="510" y="372"/>
                  </a:lnTo>
                  <a:lnTo>
                    <a:pt x="498" y="348"/>
                  </a:lnTo>
                  <a:lnTo>
                    <a:pt x="474" y="282"/>
                  </a:lnTo>
                  <a:lnTo>
                    <a:pt x="474" y="270"/>
                  </a:lnTo>
                  <a:lnTo>
                    <a:pt x="480" y="258"/>
                  </a:lnTo>
                  <a:lnTo>
                    <a:pt x="486" y="258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92" y="246"/>
                  </a:lnTo>
                  <a:lnTo>
                    <a:pt x="504" y="234"/>
                  </a:lnTo>
                  <a:lnTo>
                    <a:pt x="510" y="228"/>
                  </a:lnTo>
                  <a:lnTo>
                    <a:pt x="516" y="228"/>
                  </a:lnTo>
                  <a:lnTo>
                    <a:pt x="516" y="222"/>
                  </a:lnTo>
                  <a:lnTo>
                    <a:pt x="516" y="216"/>
                  </a:lnTo>
                  <a:lnTo>
                    <a:pt x="522" y="216"/>
                  </a:lnTo>
                  <a:lnTo>
                    <a:pt x="528" y="210"/>
                  </a:lnTo>
                  <a:lnTo>
                    <a:pt x="534" y="210"/>
                  </a:lnTo>
                  <a:lnTo>
                    <a:pt x="540" y="210"/>
                  </a:lnTo>
                  <a:lnTo>
                    <a:pt x="546" y="210"/>
                  </a:lnTo>
                  <a:lnTo>
                    <a:pt x="552" y="210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16"/>
                  </a:lnTo>
                  <a:lnTo>
                    <a:pt x="588" y="228"/>
                  </a:lnTo>
                  <a:lnTo>
                    <a:pt x="594" y="234"/>
                  </a:lnTo>
                  <a:lnTo>
                    <a:pt x="600" y="240"/>
                  </a:lnTo>
                  <a:lnTo>
                    <a:pt x="618" y="246"/>
                  </a:lnTo>
                  <a:lnTo>
                    <a:pt x="624" y="246"/>
                  </a:lnTo>
                  <a:lnTo>
                    <a:pt x="636" y="252"/>
                  </a:lnTo>
                  <a:lnTo>
                    <a:pt x="654" y="252"/>
                  </a:lnTo>
                  <a:lnTo>
                    <a:pt x="654" y="258"/>
                  </a:lnTo>
                  <a:lnTo>
                    <a:pt x="666" y="264"/>
                  </a:lnTo>
                  <a:lnTo>
                    <a:pt x="672" y="264"/>
                  </a:lnTo>
                  <a:lnTo>
                    <a:pt x="678" y="264"/>
                  </a:lnTo>
                  <a:lnTo>
                    <a:pt x="696" y="258"/>
                  </a:lnTo>
                  <a:lnTo>
                    <a:pt x="696" y="252"/>
                  </a:lnTo>
                  <a:lnTo>
                    <a:pt x="696" y="246"/>
                  </a:lnTo>
                  <a:lnTo>
                    <a:pt x="690" y="234"/>
                  </a:lnTo>
                  <a:lnTo>
                    <a:pt x="684" y="210"/>
                  </a:lnTo>
                  <a:lnTo>
                    <a:pt x="678" y="192"/>
                  </a:lnTo>
                  <a:lnTo>
                    <a:pt x="672" y="174"/>
                  </a:lnTo>
                  <a:lnTo>
                    <a:pt x="672" y="168"/>
                  </a:lnTo>
                  <a:lnTo>
                    <a:pt x="672" y="162"/>
                  </a:lnTo>
                  <a:lnTo>
                    <a:pt x="672" y="156"/>
                  </a:lnTo>
                  <a:lnTo>
                    <a:pt x="684" y="132"/>
                  </a:lnTo>
                  <a:lnTo>
                    <a:pt x="684" y="120"/>
                  </a:lnTo>
                  <a:lnTo>
                    <a:pt x="684" y="108"/>
                  </a:lnTo>
                  <a:lnTo>
                    <a:pt x="678" y="102"/>
                  </a:lnTo>
                  <a:lnTo>
                    <a:pt x="678" y="96"/>
                  </a:lnTo>
                  <a:lnTo>
                    <a:pt x="684" y="96"/>
                  </a:lnTo>
                  <a:lnTo>
                    <a:pt x="696" y="90"/>
                  </a:lnTo>
                  <a:lnTo>
                    <a:pt x="702" y="84"/>
                  </a:lnTo>
                  <a:lnTo>
                    <a:pt x="720" y="72"/>
                  </a:lnTo>
                  <a:lnTo>
                    <a:pt x="738" y="66"/>
                  </a:lnTo>
                  <a:lnTo>
                    <a:pt x="756" y="60"/>
                  </a:lnTo>
                  <a:lnTo>
                    <a:pt x="768" y="60"/>
                  </a:lnTo>
                  <a:lnTo>
                    <a:pt x="798" y="72"/>
                  </a:lnTo>
                  <a:lnTo>
                    <a:pt x="804" y="78"/>
                  </a:lnTo>
                  <a:lnTo>
                    <a:pt x="816" y="84"/>
                  </a:lnTo>
                  <a:lnTo>
                    <a:pt x="822" y="84"/>
                  </a:lnTo>
                  <a:lnTo>
                    <a:pt x="828" y="72"/>
                  </a:lnTo>
                  <a:lnTo>
                    <a:pt x="828" y="60"/>
                  </a:lnTo>
                  <a:lnTo>
                    <a:pt x="828" y="36"/>
                  </a:lnTo>
                  <a:lnTo>
                    <a:pt x="828" y="24"/>
                  </a:lnTo>
                  <a:lnTo>
                    <a:pt x="828" y="12"/>
                  </a:lnTo>
                  <a:lnTo>
                    <a:pt x="834" y="12"/>
                  </a:lnTo>
                  <a:lnTo>
                    <a:pt x="852" y="6"/>
                  </a:lnTo>
                  <a:lnTo>
                    <a:pt x="876" y="6"/>
                  </a:lnTo>
                  <a:lnTo>
                    <a:pt x="894" y="6"/>
                  </a:lnTo>
                  <a:lnTo>
                    <a:pt x="906" y="12"/>
                  </a:lnTo>
                  <a:lnTo>
                    <a:pt x="912" y="24"/>
                  </a:lnTo>
                  <a:lnTo>
                    <a:pt x="924" y="24"/>
                  </a:lnTo>
                  <a:lnTo>
                    <a:pt x="930" y="30"/>
                  </a:lnTo>
                  <a:lnTo>
                    <a:pt x="936" y="30"/>
                  </a:lnTo>
                  <a:lnTo>
                    <a:pt x="936" y="36"/>
                  </a:lnTo>
                  <a:lnTo>
                    <a:pt x="942" y="36"/>
                  </a:lnTo>
                  <a:lnTo>
                    <a:pt x="948" y="42"/>
                  </a:lnTo>
                  <a:lnTo>
                    <a:pt x="960" y="48"/>
                  </a:lnTo>
                  <a:lnTo>
                    <a:pt x="966" y="48"/>
                  </a:lnTo>
                  <a:lnTo>
                    <a:pt x="1026" y="60"/>
                  </a:lnTo>
                  <a:lnTo>
                    <a:pt x="1050" y="60"/>
                  </a:lnTo>
                  <a:lnTo>
                    <a:pt x="1050" y="54"/>
                  </a:lnTo>
                  <a:lnTo>
                    <a:pt x="1062" y="54"/>
                  </a:lnTo>
                  <a:lnTo>
                    <a:pt x="1074" y="48"/>
                  </a:lnTo>
                  <a:lnTo>
                    <a:pt x="1086" y="42"/>
                  </a:lnTo>
                  <a:lnTo>
                    <a:pt x="1104" y="36"/>
                  </a:lnTo>
                  <a:lnTo>
                    <a:pt x="1116" y="30"/>
                  </a:lnTo>
                  <a:lnTo>
                    <a:pt x="1122" y="24"/>
                  </a:lnTo>
                  <a:lnTo>
                    <a:pt x="1128" y="18"/>
                  </a:lnTo>
                  <a:lnTo>
                    <a:pt x="1134" y="18"/>
                  </a:lnTo>
                  <a:lnTo>
                    <a:pt x="1140" y="12"/>
                  </a:lnTo>
                  <a:lnTo>
                    <a:pt x="1146" y="6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24"/>
                  </a:lnTo>
                  <a:lnTo>
                    <a:pt x="1176" y="36"/>
                  </a:lnTo>
                  <a:lnTo>
                    <a:pt x="1188" y="42"/>
                  </a:lnTo>
                  <a:lnTo>
                    <a:pt x="1200" y="54"/>
                  </a:lnTo>
                  <a:lnTo>
                    <a:pt x="1224" y="84"/>
                  </a:lnTo>
                  <a:lnTo>
                    <a:pt x="1224" y="90"/>
                  </a:lnTo>
                  <a:lnTo>
                    <a:pt x="1236" y="96"/>
                  </a:lnTo>
                  <a:lnTo>
                    <a:pt x="1236" y="108"/>
                  </a:lnTo>
                  <a:lnTo>
                    <a:pt x="1248" y="114"/>
                  </a:lnTo>
                  <a:lnTo>
                    <a:pt x="1254" y="114"/>
                  </a:lnTo>
                  <a:lnTo>
                    <a:pt x="1260" y="114"/>
                  </a:lnTo>
                  <a:lnTo>
                    <a:pt x="1296" y="114"/>
                  </a:lnTo>
                  <a:lnTo>
                    <a:pt x="1302" y="114"/>
                  </a:lnTo>
                  <a:lnTo>
                    <a:pt x="1320" y="108"/>
                  </a:lnTo>
                  <a:lnTo>
                    <a:pt x="1326" y="108"/>
                  </a:lnTo>
                  <a:lnTo>
                    <a:pt x="1326" y="138"/>
                  </a:lnTo>
                  <a:lnTo>
                    <a:pt x="1326" y="210"/>
                  </a:lnTo>
                  <a:lnTo>
                    <a:pt x="1320" y="252"/>
                  </a:lnTo>
                  <a:lnTo>
                    <a:pt x="1320" y="270"/>
                  </a:lnTo>
                  <a:lnTo>
                    <a:pt x="1320" y="288"/>
                  </a:lnTo>
                  <a:lnTo>
                    <a:pt x="1320" y="318"/>
                  </a:lnTo>
                  <a:lnTo>
                    <a:pt x="1326" y="354"/>
                  </a:lnTo>
                  <a:lnTo>
                    <a:pt x="1326" y="372"/>
                  </a:lnTo>
                  <a:lnTo>
                    <a:pt x="1332" y="420"/>
                  </a:lnTo>
                  <a:lnTo>
                    <a:pt x="1332" y="450"/>
                  </a:lnTo>
                  <a:lnTo>
                    <a:pt x="1338" y="480"/>
                  </a:lnTo>
                  <a:lnTo>
                    <a:pt x="1344" y="486"/>
                  </a:lnTo>
                  <a:lnTo>
                    <a:pt x="1338" y="492"/>
                  </a:lnTo>
                  <a:lnTo>
                    <a:pt x="1344" y="492"/>
                  </a:lnTo>
                  <a:lnTo>
                    <a:pt x="1344" y="498"/>
                  </a:lnTo>
                  <a:lnTo>
                    <a:pt x="1350" y="498"/>
                  </a:lnTo>
                  <a:lnTo>
                    <a:pt x="1350" y="522"/>
                  </a:lnTo>
                  <a:lnTo>
                    <a:pt x="1362" y="564"/>
                  </a:lnTo>
                  <a:lnTo>
                    <a:pt x="1368" y="582"/>
                  </a:lnTo>
                  <a:lnTo>
                    <a:pt x="1380" y="600"/>
                  </a:lnTo>
                  <a:lnTo>
                    <a:pt x="1386" y="636"/>
                  </a:lnTo>
                  <a:lnTo>
                    <a:pt x="1380" y="660"/>
                  </a:lnTo>
                  <a:lnTo>
                    <a:pt x="1380" y="678"/>
                  </a:lnTo>
                  <a:lnTo>
                    <a:pt x="1380" y="684"/>
                  </a:lnTo>
                  <a:lnTo>
                    <a:pt x="1374" y="684"/>
                  </a:lnTo>
                  <a:lnTo>
                    <a:pt x="1368" y="690"/>
                  </a:lnTo>
                  <a:lnTo>
                    <a:pt x="1356" y="702"/>
                  </a:lnTo>
                  <a:lnTo>
                    <a:pt x="1350" y="708"/>
                  </a:lnTo>
                  <a:lnTo>
                    <a:pt x="1356" y="714"/>
                  </a:lnTo>
                  <a:lnTo>
                    <a:pt x="1368" y="726"/>
                  </a:lnTo>
                  <a:lnTo>
                    <a:pt x="1380" y="738"/>
                  </a:lnTo>
                  <a:lnTo>
                    <a:pt x="1386" y="744"/>
                  </a:lnTo>
                  <a:lnTo>
                    <a:pt x="1392" y="744"/>
                  </a:lnTo>
                  <a:lnTo>
                    <a:pt x="1410" y="750"/>
                  </a:lnTo>
                  <a:lnTo>
                    <a:pt x="1416" y="756"/>
                  </a:lnTo>
                  <a:lnTo>
                    <a:pt x="1422" y="756"/>
                  </a:lnTo>
                  <a:lnTo>
                    <a:pt x="1422" y="762"/>
                  </a:lnTo>
                  <a:lnTo>
                    <a:pt x="1428" y="774"/>
                  </a:lnTo>
                  <a:lnTo>
                    <a:pt x="1428" y="780"/>
                  </a:lnTo>
                  <a:lnTo>
                    <a:pt x="1434" y="780"/>
                  </a:lnTo>
                  <a:lnTo>
                    <a:pt x="1440" y="798"/>
                  </a:lnTo>
                  <a:lnTo>
                    <a:pt x="1422" y="816"/>
                  </a:lnTo>
                  <a:lnTo>
                    <a:pt x="1386" y="810"/>
                  </a:lnTo>
                  <a:lnTo>
                    <a:pt x="1380" y="816"/>
                  </a:lnTo>
                  <a:lnTo>
                    <a:pt x="1374" y="840"/>
                  </a:lnTo>
                  <a:lnTo>
                    <a:pt x="1350" y="852"/>
                  </a:lnTo>
                  <a:lnTo>
                    <a:pt x="1350" y="858"/>
                  </a:lnTo>
                  <a:lnTo>
                    <a:pt x="1350" y="864"/>
                  </a:lnTo>
                  <a:lnTo>
                    <a:pt x="1344" y="864"/>
                  </a:lnTo>
                  <a:lnTo>
                    <a:pt x="1338" y="870"/>
                  </a:lnTo>
                  <a:lnTo>
                    <a:pt x="1332" y="876"/>
                  </a:lnTo>
                  <a:lnTo>
                    <a:pt x="1314" y="876"/>
                  </a:lnTo>
                  <a:lnTo>
                    <a:pt x="1314" y="870"/>
                  </a:lnTo>
                  <a:lnTo>
                    <a:pt x="1308" y="870"/>
                  </a:lnTo>
                  <a:lnTo>
                    <a:pt x="1302" y="864"/>
                  </a:lnTo>
                  <a:lnTo>
                    <a:pt x="1296" y="864"/>
                  </a:lnTo>
                  <a:lnTo>
                    <a:pt x="1284" y="870"/>
                  </a:lnTo>
                  <a:lnTo>
                    <a:pt x="1266" y="870"/>
                  </a:lnTo>
                  <a:lnTo>
                    <a:pt x="1260" y="870"/>
                  </a:lnTo>
                  <a:lnTo>
                    <a:pt x="1248" y="876"/>
                  </a:lnTo>
                  <a:lnTo>
                    <a:pt x="1236" y="876"/>
                  </a:lnTo>
                  <a:lnTo>
                    <a:pt x="1230" y="882"/>
                  </a:lnTo>
                  <a:lnTo>
                    <a:pt x="1224" y="894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18" y="942"/>
                  </a:lnTo>
                  <a:lnTo>
                    <a:pt x="1212" y="948"/>
                  </a:lnTo>
                  <a:lnTo>
                    <a:pt x="1200" y="984"/>
                  </a:lnTo>
                  <a:lnTo>
                    <a:pt x="1194" y="1008"/>
                  </a:lnTo>
                  <a:lnTo>
                    <a:pt x="1218" y="1038"/>
                  </a:lnTo>
                  <a:lnTo>
                    <a:pt x="1224" y="1044"/>
                  </a:lnTo>
                  <a:lnTo>
                    <a:pt x="1224" y="1062"/>
                  </a:lnTo>
                  <a:lnTo>
                    <a:pt x="1236" y="1080"/>
                  </a:lnTo>
                  <a:lnTo>
                    <a:pt x="1236" y="1086"/>
                  </a:lnTo>
                  <a:lnTo>
                    <a:pt x="1230" y="1092"/>
                  </a:lnTo>
                  <a:lnTo>
                    <a:pt x="1224" y="1110"/>
                  </a:lnTo>
                  <a:lnTo>
                    <a:pt x="1218" y="1122"/>
                  </a:lnTo>
                  <a:lnTo>
                    <a:pt x="1224" y="1140"/>
                  </a:lnTo>
                  <a:lnTo>
                    <a:pt x="1218" y="1146"/>
                  </a:lnTo>
                  <a:lnTo>
                    <a:pt x="1218" y="1152"/>
                  </a:lnTo>
                  <a:lnTo>
                    <a:pt x="1212" y="116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1" name="Freeform 36">
              <a:extLst>
                <a:ext uri="{FF2B5EF4-FFF2-40B4-BE49-F238E27FC236}">
                  <a16:creationId xmlns:a16="http://schemas.microsoft.com/office/drawing/2014/main" id="{B9C0D6BE-CB1C-4E69-B224-1ABF097AA8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90208" y="1647855"/>
              <a:ext cx="742415" cy="758173"/>
            </a:xfrm>
            <a:custGeom>
              <a:avLst/>
              <a:gdLst>
                <a:gd name="T0" fmla="*/ 75 w 1398"/>
                <a:gd name="T1" fmla="*/ 48 h 1428"/>
                <a:gd name="T2" fmla="*/ 68 w 1398"/>
                <a:gd name="T3" fmla="*/ 54 h 1428"/>
                <a:gd name="T4" fmla="*/ 57 w 1398"/>
                <a:gd name="T5" fmla="*/ 59 h 1428"/>
                <a:gd name="T6" fmla="*/ 55 w 1398"/>
                <a:gd name="T7" fmla="*/ 68 h 1428"/>
                <a:gd name="T8" fmla="*/ 55 w 1398"/>
                <a:gd name="T9" fmla="*/ 77 h 1428"/>
                <a:gd name="T10" fmla="*/ 57 w 1398"/>
                <a:gd name="T11" fmla="*/ 81 h 1428"/>
                <a:gd name="T12" fmla="*/ 56 w 1398"/>
                <a:gd name="T13" fmla="*/ 86 h 1428"/>
                <a:gd name="T14" fmla="*/ 57 w 1398"/>
                <a:gd name="T15" fmla="*/ 89 h 1428"/>
                <a:gd name="T16" fmla="*/ 58 w 1398"/>
                <a:gd name="T17" fmla="*/ 92 h 1428"/>
                <a:gd name="T18" fmla="*/ 58 w 1398"/>
                <a:gd name="T19" fmla="*/ 96 h 1428"/>
                <a:gd name="T20" fmla="*/ 49 w 1398"/>
                <a:gd name="T21" fmla="*/ 100 h 1428"/>
                <a:gd name="T22" fmla="*/ 47 w 1398"/>
                <a:gd name="T23" fmla="*/ 108 h 1428"/>
                <a:gd name="T24" fmla="*/ 48 w 1398"/>
                <a:gd name="T25" fmla="*/ 113 h 1428"/>
                <a:gd name="T26" fmla="*/ 43 w 1398"/>
                <a:gd name="T27" fmla="*/ 114 h 1428"/>
                <a:gd name="T28" fmla="*/ 39 w 1398"/>
                <a:gd name="T29" fmla="*/ 113 h 1428"/>
                <a:gd name="T30" fmla="*/ 33 w 1398"/>
                <a:gd name="T31" fmla="*/ 109 h 1428"/>
                <a:gd name="T32" fmla="*/ 29 w 1398"/>
                <a:gd name="T33" fmla="*/ 114 h 1428"/>
                <a:gd name="T34" fmla="*/ 22 w 1398"/>
                <a:gd name="T35" fmla="*/ 115 h 1428"/>
                <a:gd name="T36" fmla="*/ 21 w 1398"/>
                <a:gd name="T37" fmla="*/ 121 h 1428"/>
                <a:gd name="T38" fmla="*/ 12 w 1398"/>
                <a:gd name="T39" fmla="*/ 119 h 1428"/>
                <a:gd name="T40" fmla="*/ 9 w 1398"/>
                <a:gd name="T41" fmla="*/ 113 h 1428"/>
                <a:gd name="T42" fmla="*/ 2 w 1398"/>
                <a:gd name="T43" fmla="*/ 109 h 1428"/>
                <a:gd name="T44" fmla="*/ 4 w 1398"/>
                <a:gd name="T45" fmla="*/ 103 h 1428"/>
                <a:gd name="T46" fmla="*/ 2 w 1398"/>
                <a:gd name="T47" fmla="*/ 91 h 1428"/>
                <a:gd name="T48" fmla="*/ 6 w 1398"/>
                <a:gd name="T49" fmla="*/ 85 h 1428"/>
                <a:gd name="T50" fmla="*/ 10 w 1398"/>
                <a:gd name="T51" fmla="*/ 85 h 1428"/>
                <a:gd name="T52" fmla="*/ 15 w 1398"/>
                <a:gd name="T53" fmla="*/ 82 h 1428"/>
                <a:gd name="T54" fmla="*/ 20 w 1398"/>
                <a:gd name="T55" fmla="*/ 77 h 1428"/>
                <a:gd name="T56" fmla="*/ 16 w 1398"/>
                <a:gd name="T57" fmla="*/ 73 h 1428"/>
                <a:gd name="T58" fmla="*/ 16 w 1398"/>
                <a:gd name="T59" fmla="*/ 69 h 1428"/>
                <a:gd name="T60" fmla="*/ 14 w 1398"/>
                <a:gd name="T61" fmla="*/ 54 h 1428"/>
                <a:gd name="T62" fmla="*/ 12 w 1398"/>
                <a:gd name="T63" fmla="*/ 48 h 1428"/>
                <a:gd name="T64" fmla="*/ 11 w 1398"/>
                <a:gd name="T65" fmla="*/ 31 h 1428"/>
                <a:gd name="T66" fmla="*/ 14 w 1398"/>
                <a:gd name="T67" fmla="*/ 18 h 1428"/>
                <a:gd name="T68" fmla="*/ 19 w 1398"/>
                <a:gd name="T69" fmla="*/ 15 h 1428"/>
                <a:gd name="T70" fmla="*/ 26 w 1398"/>
                <a:gd name="T71" fmla="*/ 13 h 1428"/>
                <a:gd name="T72" fmla="*/ 34 w 1398"/>
                <a:gd name="T73" fmla="*/ 12 h 1428"/>
                <a:gd name="T74" fmla="*/ 39 w 1398"/>
                <a:gd name="T75" fmla="*/ 9 h 1428"/>
                <a:gd name="T76" fmla="*/ 43 w 1398"/>
                <a:gd name="T77" fmla="*/ 7 h 1428"/>
                <a:gd name="T78" fmla="*/ 48 w 1398"/>
                <a:gd name="T79" fmla="*/ 3 h 1428"/>
                <a:gd name="T80" fmla="*/ 54 w 1398"/>
                <a:gd name="T81" fmla="*/ 0 h 1428"/>
                <a:gd name="T82" fmla="*/ 58 w 1398"/>
                <a:gd name="T83" fmla="*/ 0 h 1428"/>
                <a:gd name="T84" fmla="*/ 66 w 1398"/>
                <a:gd name="T85" fmla="*/ 2 h 1428"/>
                <a:gd name="T86" fmla="*/ 70 w 1398"/>
                <a:gd name="T87" fmla="*/ 3 h 1428"/>
                <a:gd name="T88" fmla="*/ 75 w 1398"/>
                <a:gd name="T89" fmla="*/ 6 h 1428"/>
                <a:gd name="T90" fmla="*/ 80 w 1398"/>
                <a:gd name="T91" fmla="*/ 9 h 1428"/>
                <a:gd name="T92" fmla="*/ 83 w 1398"/>
                <a:gd name="T93" fmla="*/ 12 h 1428"/>
                <a:gd name="T94" fmla="*/ 87 w 1398"/>
                <a:gd name="T95" fmla="*/ 15 h 1428"/>
                <a:gd name="T96" fmla="*/ 94 w 1398"/>
                <a:gd name="T97" fmla="*/ 15 h 1428"/>
                <a:gd name="T98" fmla="*/ 99 w 1398"/>
                <a:gd name="T99" fmla="*/ 21 h 1428"/>
                <a:gd name="T100" fmla="*/ 103 w 1398"/>
                <a:gd name="T101" fmla="*/ 23 h 1428"/>
                <a:gd name="T102" fmla="*/ 110 w 1398"/>
                <a:gd name="T103" fmla="*/ 26 h 1428"/>
                <a:gd name="T104" fmla="*/ 116 w 1398"/>
                <a:gd name="T105" fmla="*/ 27 h 1428"/>
                <a:gd name="T106" fmla="*/ 120 w 1398"/>
                <a:gd name="T107" fmla="*/ 27 h 1428"/>
                <a:gd name="T108" fmla="*/ 116 w 1398"/>
                <a:gd name="T109" fmla="*/ 35 h 1428"/>
                <a:gd name="T110" fmla="*/ 104 w 1398"/>
                <a:gd name="T111" fmla="*/ 37 h 1428"/>
                <a:gd name="T112" fmla="*/ 97 w 1398"/>
                <a:gd name="T113" fmla="*/ 34 h 1428"/>
                <a:gd name="T114" fmla="*/ 91 w 1398"/>
                <a:gd name="T115" fmla="*/ 29 h 1428"/>
                <a:gd name="T116" fmla="*/ 75 w 1398"/>
                <a:gd name="T117" fmla="*/ 29 h 1428"/>
                <a:gd name="T118" fmla="*/ 72 w 1398"/>
                <a:gd name="T119" fmla="*/ 39 h 1428"/>
                <a:gd name="T120" fmla="*/ 80 w 1398"/>
                <a:gd name="T121" fmla="*/ 41 h 142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98"/>
                <a:gd name="T184" fmla="*/ 0 h 1428"/>
                <a:gd name="T185" fmla="*/ 1398 w 1398"/>
                <a:gd name="T186" fmla="*/ 1428 h 142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98" h="1428">
                  <a:moveTo>
                    <a:pt x="924" y="474"/>
                  </a:moveTo>
                  <a:lnTo>
                    <a:pt x="900" y="480"/>
                  </a:lnTo>
                  <a:lnTo>
                    <a:pt x="864" y="486"/>
                  </a:lnTo>
                  <a:lnTo>
                    <a:pt x="864" y="504"/>
                  </a:lnTo>
                  <a:lnTo>
                    <a:pt x="858" y="522"/>
                  </a:lnTo>
                  <a:lnTo>
                    <a:pt x="864" y="528"/>
                  </a:lnTo>
                  <a:lnTo>
                    <a:pt x="864" y="552"/>
                  </a:lnTo>
                  <a:lnTo>
                    <a:pt x="852" y="552"/>
                  </a:lnTo>
                  <a:lnTo>
                    <a:pt x="846" y="564"/>
                  </a:lnTo>
                  <a:lnTo>
                    <a:pt x="840" y="582"/>
                  </a:lnTo>
                  <a:lnTo>
                    <a:pt x="834" y="594"/>
                  </a:lnTo>
                  <a:lnTo>
                    <a:pt x="828" y="606"/>
                  </a:lnTo>
                  <a:lnTo>
                    <a:pt x="828" y="618"/>
                  </a:lnTo>
                  <a:lnTo>
                    <a:pt x="786" y="630"/>
                  </a:lnTo>
                  <a:lnTo>
                    <a:pt x="774" y="636"/>
                  </a:lnTo>
                  <a:lnTo>
                    <a:pt x="762" y="642"/>
                  </a:lnTo>
                  <a:lnTo>
                    <a:pt x="744" y="648"/>
                  </a:lnTo>
                  <a:lnTo>
                    <a:pt x="714" y="660"/>
                  </a:lnTo>
                  <a:lnTo>
                    <a:pt x="696" y="666"/>
                  </a:lnTo>
                  <a:lnTo>
                    <a:pt x="666" y="672"/>
                  </a:lnTo>
                  <a:lnTo>
                    <a:pt x="654" y="684"/>
                  </a:lnTo>
                  <a:lnTo>
                    <a:pt x="648" y="684"/>
                  </a:lnTo>
                  <a:lnTo>
                    <a:pt x="642" y="696"/>
                  </a:lnTo>
                  <a:lnTo>
                    <a:pt x="636" y="696"/>
                  </a:lnTo>
                  <a:lnTo>
                    <a:pt x="630" y="714"/>
                  </a:lnTo>
                  <a:lnTo>
                    <a:pt x="624" y="738"/>
                  </a:lnTo>
                  <a:lnTo>
                    <a:pt x="624" y="762"/>
                  </a:lnTo>
                  <a:lnTo>
                    <a:pt x="630" y="780"/>
                  </a:lnTo>
                  <a:lnTo>
                    <a:pt x="636" y="804"/>
                  </a:lnTo>
                  <a:lnTo>
                    <a:pt x="642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6" y="834"/>
                  </a:lnTo>
                  <a:lnTo>
                    <a:pt x="636" y="870"/>
                  </a:lnTo>
                  <a:lnTo>
                    <a:pt x="636" y="882"/>
                  </a:lnTo>
                  <a:lnTo>
                    <a:pt x="636" y="906"/>
                  </a:lnTo>
                  <a:lnTo>
                    <a:pt x="630" y="906"/>
                  </a:lnTo>
                  <a:lnTo>
                    <a:pt x="636" y="918"/>
                  </a:lnTo>
                  <a:lnTo>
                    <a:pt x="642" y="918"/>
                  </a:lnTo>
                  <a:lnTo>
                    <a:pt x="642" y="930"/>
                  </a:lnTo>
                  <a:lnTo>
                    <a:pt x="648" y="936"/>
                  </a:lnTo>
                  <a:lnTo>
                    <a:pt x="654" y="936"/>
                  </a:lnTo>
                  <a:lnTo>
                    <a:pt x="654" y="942"/>
                  </a:lnTo>
                  <a:lnTo>
                    <a:pt x="654" y="948"/>
                  </a:lnTo>
                  <a:lnTo>
                    <a:pt x="648" y="954"/>
                  </a:lnTo>
                  <a:lnTo>
                    <a:pt x="648" y="960"/>
                  </a:lnTo>
                  <a:lnTo>
                    <a:pt x="648" y="966"/>
                  </a:lnTo>
                  <a:lnTo>
                    <a:pt x="648" y="972"/>
                  </a:lnTo>
                  <a:lnTo>
                    <a:pt x="648" y="990"/>
                  </a:lnTo>
                  <a:lnTo>
                    <a:pt x="654" y="996"/>
                  </a:lnTo>
                  <a:lnTo>
                    <a:pt x="648" y="1002"/>
                  </a:lnTo>
                  <a:lnTo>
                    <a:pt x="648" y="1008"/>
                  </a:lnTo>
                  <a:lnTo>
                    <a:pt x="654" y="1014"/>
                  </a:lnTo>
                  <a:lnTo>
                    <a:pt x="654" y="1020"/>
                  </a:lnTo>
                  <a:lnTo>
                    <a:pt x="654" y="1026"/>
                  </a:lnTo>
                  <a:lnTo>
                    <a:pt x="660" y="1026"/>
                  </a:lnTo>
                  <a:lnTo>
                    <a:pt x="660" y="1032"/>
                  </a:lnTo>
                  <a:lnTo>
                    <a:pt x="660" y="1038"/>
                  </a:lnTo>
                  <a:lnTo>
                    <a:pt x="666" y="1044"/>
                  </a:lnTo>
                  <a:lnTo>
                    <a:pt x="672" y="1050"/>
                  </a:lnTo>
                  <a:lnTo>
                    <a:pt x="672" y="1056"/>
                  </a:lnTo>
                  <a:lnTo>
                    <a:pt x="672" y="1062"/>
                  </a:lnTo>
                  <a:lnTo>
                    <a:pt x="672" y="1068"/>
                  </a:lnTo>
                  <a:lnTo>
                    <a:pt x="672" y="1074"/>
                  </a:lnTo>
                  <a:lnTo>
                    <a:pt x="678" y="1074"/>
                  </a:lnTo>
                  <a:lnTo>
                    <a:pt x="678" y="1080"/>
                  </a:lnTo>
                  <a:lnTo>
                    <a:pt x="678" y="1086"/>
                  </a:lnTo>
                  <a:lnTo>
                    <a:pt x="672" y="1092"/>
                  </a:lnTo>
                  <a:lnTo>
                    <a:pt x="672" y="1098"/>
                  </a:lnTo>
                  <a:lnTo>
                    <a:pt x="672" y="1104"/>
                  </a:lnTo>
                  <a:lnTo>
                    <a:pt x="666" y="1116"/>
                  </a:lnTo>
                  <a:lnTo>
                    <a:pt x="624" y="1122"/>
                  </a:lnTo>
                  <a:lnTo>
                    <a:pt x="576" y="1134"/>
                  </a:lnTo>
                  <a:lnTo>
                    <a:pt x="570" y="1140"/>
                  </a:lnTo>
                  <a:lnTo>
                    <a:pt x="570" y="1146"/>
                  </a:lnTo>
                  <a:lnTo>
                    <a:pt x="564" y="1146"/>
                  </a:lnTo>
                  <a:lnTo>
                    <a:pt x="564" y="1152"/>
                  </a:lnTo>
                  <a:lnTo>
                    <a:pt x="564" y="1164"/>
                  </a:lnTo>
                  <a:lnTo>
                    <a:pt x="564" y="1170"/>
                  </a:lnTo>
                  <a:lnTo>
                    <a:pt x="564" y="1176"/>
                  </a:lnTo>
                  <a:lnTo>
                    <a:pt x="546" y="1176"/>
                  </a:lnTo>
                  <a:lnTo>
                    <a:pt x="540" y="1212"/>
                  </a:lnTo>
                  <a:lnTo>
                    <a:pt x="540" y="1230"/>
                  </a:lnTo>
                  <a:lnTo>
                    <a:pt x="546" y="1242"/>
                  </a:lnTo>
                  <a:lnTo>
                    <a:pt x="546" y="1254"/>
                  </a:lnTo>
                  <a:lnTo>
                    <a:pt x="558" y="1266"/>
                  </a:lnTo>
                  <a:lnTo>
                    <a:pt x="576" y="1272"/>
                  </a:lnTo>
                  <a:lnTo>
                    <a:pt x="570" y="1278"/>
                  </a:lnTo>
                  <a:lnTo>
                    <a:pt x="576" y="1284"/>
                  </a:lnTo>
                  <a:lnTo>
                    <a:pt x="570" y="1296"/>
                  </a:lnTo>
                  <a:lnTo>
                    <a:pt x="558" y="1302"/>
                  </a:lnTo>
                  <a:lnTo>
                    <a:pt x="540" y="1308"/>
                  </a:lnTo>
                  <a:lnTo>
                    <a:pt x="522" y="1314"/>
                  </a:lnTo>
                  <a:lnTo>
                    <a:pt x="516" y="1314"/>
                  </a:lnTo>
                  <a:lnTo>
                    <a:pt x="510" y="1314"/>
                  </a:lnTo>
                  <a:lnTo>
                    <a:pt x="504" y="1314"/>
                  </a:lnTo>
                  <a:lnTo>
                    <a:pt x="498" y="1320"/>
                  </a:lnTo>
                  <a:lnTo>
                    <a:pt x="492" y="1320"/>
                  </a:lnTo>
                  <a:lnTo>
                    <a:pt x="492" y="1326"/>
                  </a:lnTo>
                  <a:lnTo>
                    <a:pt x="486" y="1326"/>
                  </a:lnTo>
                  <a:lnTo>
                    <a:pt x="480" y="1326"/>
                  </a:lnTo>
                  <a:lnTo>
                    <a:pt x="480" y="1320"/>
                  </a:lnTo>
                  <a:lnTo>
                    <a:pt x="468" y="1314"/>
                  </a:lnTo>
                  <a:lnTo>
                    <a:pt x="462" y="1308"/>
                  </a:lnTo>
                  <a:lnTo>
                    <a:pt x="456" y="1302"/>
                  </a:lnTo>
                  <a:lnTo>
                    <a:pt x="444" y="1296"/>
                  </a:lnTo>
                  <a:lnTo>
                    <a:pt x="420" y="1290"/>
                  </a:lnTo>
                  <a:lnTo>
                    <a:pt x="414" y="1278"/>
                  </a:lnTo>
                  <a:lnTo>
                    <a:pt x="408" y="1278"/>
                  </a:lnTo>
                  <a:lnTo>
                    <a:pt x="408" y="1266"/>
                  </a:lnTo>
                  <a:lnTo>
                    <a:pt x="402" y="1260"/>
                  </a:lnTo>
                  <a:lnTo>
                    <a:pt x="384" y="1260"/>
                  </a:lnTo>
                  <a:lnTo>
                    <a:pt x="372" y="1266"/>
                  </a:lnTo>
                  <a:lnTo>
                    <a:pt x="360" y="1272"/>
                  </a:lnTo>
                  <a:lnTo>
                    <a:pt x="348" y="1272"/>
                  </a:lnTo>
                  <a:lnTo>
                    <a:pt x="342" y="1284"/>
                  </a:lnTo>
                  <a:lnTo>
                    <a:pt x="336" y="1290"/>
                  </a:lnTo>
                  <a:lnTo>
                    <a:pt x="336" y="1308"/>
                  </a:lnTo>
                  <a:lnTo>
                    <a:pt x="336" y="1314"/>
                  </a:lnTo>
                  <a:lnTo>
                    <a:pt x="336" y="1320"/>
                  </a:lnTo>
                  <a:lnTo>
                    <a:pt x="330" y="1326"/>
                  </a:lnTo>
                  <a:lnTo>
                    <a:pt x="330" y="1332"/>
                  </a:lnTo>
                  <a:lnTo>
                    <a:pt x="330" y="1338"/>
                  </a:lnTo>
                  <a:lnTo>
                    <a:pt x="300" y="1338"/>
                  </a:lnTo>
                  <a:lnTo>
                    <a:pt x="288" y="1338"/>
                  </a:lnTo>
                  <a:lnTo>
                    <a:pt x="258" y="1326"/>
                  </a:lnTo>
                  <a:lnTo>
                    <a:pt x="246" y="1332"/>
                  </a:lnTo>
                  <a:lnTo>
                    <a:pt x="240" y="1338"/>
                  </a:lnTo>
                  <a:lnTo>
                    <a:pt x="234" y="1338"/>
                  </a:lnTo>
                  <a:lnTo>
                    <a:pt x="228" y="1350"/>
                  </a:lnTo>
                  <a:lnTo>
                    <a:pt x="228" y="1374"/>
                  </a:lnTo>
                  <a:lnTo>
                    <a:pt x="234" y="1392"/>
                  </a:lnTo>
                  <a:lnTo>
                    <a:pt x="246" y="1398"/>
                  </a:lnTo>
                  <a:lnTo>
                    <a:pt x="246" y="1410"/>
                  </a:lnTo>
                  <a:lnTo>
                    <a:pt x="216" y="1428"/>
                  </a:lnTo>
                  <a:lnTo>
                    <a:pt x="198" y="1428"/>
                  </a:lnTo>
                  <a:lnTo>
                    <a:pt x="192" y="1422"/>
                  </a:lnTo>
                  <a:lnTo>
                    <a:pt x="174" y="1410"/>
                  </a:lnTo>
                  <a:lnTo>
                    <a:pt x="156" y="1386"/>
                  </a:lnTo>
                  <a:lnTo>
                    <a:pt x="132" y="1374"/>
                  </a:lnTo>
                  <a:lnTo>
                    <a:pt x="108" y="1368"/>
                  </a:lnTo>
                  <a:lnTo>
                    <a:pt x="84" y="1368"/>
                  </a:lnTo>
                  <a:lnTo>
                    <a:pt x="96" y="1356"/>
                  </a:lnTo>
                  <a:lnTo>
                    <a:pt x="102" y="1344"/>
                  </a:lnTo>
                  <a:lnTo>
                    <a:pt x="102" y="1332"/>
                  </a:lnTo>
                  <a:lnTo>
                    <a:pt x="108" y="1320"/>
                  </a:lnTo>
                  <a:lnTo>
                    <a:pt x="108" y="1302"/>
                  </a:lnTo>
                  <a:lnTo>
                    <a:pt x="96" y="1278"/>
                  </a:lnTo>
                  <a:lnTo>
                    <a:pt x="66" y="1284"/>
                  </a:lnTo>
                  <a:lnTo>
                    <a:pt x="54" y="1278"/>
                  </a:lnTo>
                  <a:lnTo>
                    <a:pt x="36" y="1278"/>
                  </a:lnTo>
                  <a:lnTo>
                    <a:pt x="18" y="1284"/>
                  </a:lnTo>
                  <a:lnTo>
                    <a:pt x="18" y="1272"/>
                  </a:lnTo>
                  <a:lnTo>
                    <a:pt x="24" y="1260"/>
                  </a:lnTo>
                  <a:lnTo>
                    <a:pt x="24" y="1254"/>
                  </a:lnTo>
                  <a:lnTo>
                    <a:pt x="30" y="1248"/>
                  </a:lnTo>
                  <a:lnTo>
                    <a:pt x="24" y="1230"/>
                  </a:lnTo>
                  <a:lnTo>
                    <a:pt x="30" y="1218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30" y="1170"/>
                  </a:lnTo>
                  <a:lnTo>
                    <a:pt x="30" y="1152"/>
                  </a:lnTo>
                  <a:lnTo>
                    <a:pt x="24" y="1146"/>
                  </a:lnTo>
                  <a:lnTo>
                    <a:pt x="0" y="1116"/>
                  </a:lnTo>
                  <a:lnTo>
                    <a:pt x="6" y="1092"/>
                  </a:lnTo>
                  <a:lnTo>
                    <a:pt x="18" y="1056"/>
                  </a:lnTo>
                  <a:lnTo>
                    <a:pt x="24" y="1050"/>
                  </a:lnTo>
                  <a:lnTo>
                    <a:pt x="24" y="1038"/>
                  </a:lnTo>
                  <a:lnTo>
                    <a:pt x="24" y="1026"/>
                  </a:lnTo>
                  <a:lnTo>
                    <a:pt x="30" y="1002"/>
                  </a:lnTo>
                  <a:lnTo>
                    <a:pt x="36" y="990"/>
                  </a:lnTo>
                  <a:lnTo>
                    <a:pt x="42" y="984"/>
                  </a:lnTo>
                  <a:lnTo>
                    <a:pt x="54" y="984"/>
                  </a:lnTo>
                  <a:lnTo>
                    <a:pt x="66" y="978"/>
                  </a:lnTo>
                  <a:lnTo>
                    <a:pt x="72" y="978"/>
                  </a:lnTo>
                  <a:lnTo>
                    <a:pt x="90" y="978"/>
                  </a:lnTo>
                  <a:lnTo>
                    <a:pt x="102" y="972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78"/>
                  </a:lnTo>
                  <a:lnTo>
                    <a:pt x="120" y="984"/>
                  </a:lnTo>
                  <a:lnTo>
                    <a:pt x="138" y="984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6" y="972"/>
                  </a:lnTo>
                  <a:lnTo>
                    <a:pt x="156" y="966"/>
                  </a:lnTo>
                  <a:lnTo>
                    <a:pt x="156" y="960"/>
                  </a:lnTo>
                  <a:lnTo>
                    <a:pt x="180" y="948"/>
                  </a:lnTo>
                  <a:lnTo>
                    <a:pt x="186" y="924"/>
                  </a:lnTo>
                  <a:lnTo>
                    <a:pt x="192" y="918"/>
                  </a:lnTo>
                  <a:lnTo>
                    <a:pt x="228" y="924"/>
                  </a:lnTo>
                  <a:lnTo>
                    <a:pt x="246" y="906"/>
                  </a:lnTo>
                  <a:lnTo>
                    <a:pt x="240" y="888"/>
                  </a:lnTo>
                  <a:lnTo>
                    <a:pt x="234" y="888"/>
                  </a:lnTo>
                  <a:lnTo>
                    <a:pt x="234" y="882"/>
                  </a:lnTo>
                  <a:lnTo>
                    <a:pt x="228" y="870"/>
                  </a:lnTo>
                  <a:lnTo>
                    <a:pt x="228" y="864"/>
                  </a:lnTo>
                  <a:lnTo>
                    <a:pt x="222" y="864"/>
                  </a:lnTo>
                  <a:lnTo>
                    <a:pt x="216" y="858"/>
                  </a:lnTo>
                  <a:lnTo>
                    <a:pt x="198" y="852"/>
                  </a:lnTo>
                  <a:lnTo>
                    <a:pt x="192" y="852"/>
                  </a:lnTo>
                  <a:lnTo>
                    <a:pt x="186" y="846"/>
                  </a:lnTo>
                  <a:lnTo>
                    <a:pt x="174" y="834"/>
                  </a:lnTo>
                  <a:lnTo>
                    <a:pt x="162" y="822"/>
                  </a:lnTo>
                  <a:lnTo>
                    <a:pt x="156" y="816"/>
                  </a:lnTo>
                  <a:lnTo>
                    <a:pt x="162" y="810"/>
                  </a:lnTo>
                  <a:lnTo>
                    <a:pt x="174" y="798"/>
                  </a:lnTo>
                  <a:lnTo>
                    <a:pt x="180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68"/>
                  </a:lnTo>
                  <a:lnTo>
                    <a:pt x="192" y="744"/>
                  </a:lnTo>
                  <a:lnTo>
                    <a:pt x="186" y="708"/>
                  </a:lnTo>
                  <a:lnTo>
                    <a:pt x="174" y="690"/>
                  </a:lnTo>
                  <a:lnTo>
                    <a:pt x="168" y="672"/>
                  </a:lnTo>
                  <a:lnTo>
                    <a:pt x="156" y="630"/>
                  </a:lnTo>
                  <a:lnTo>
                    <a:pt x="156" y="606"/>
                  </a:lnTo>
                  <a:lnTo>
                    <a:pt x="150" y="606"/>
                  </a:lnTo>
                  <a:lnTo>
                    <a:pt x="150" y="600"/>
                  </a:lnTo>
                  <a:lnTo>
                    <a:pt x="144" y="600"/>
                  </a:lnTo>
                  <a:lnTo>
                    <a:pt x="150" y="594"/>
                  </a:lnTo>
                  <a:lnTo>
                    <a:pt x="144" y="588"/>
                  </a:lnTo>
                  <a:lnTo>
                    <a:pt x="138" y="558"/>
                  </a:lnTo>
                  <a:lnTo>
                    <a:pt x="138" y="528"/>
                  </a:lnTo>
                  <a:lnTo>
                    <a:pt x="132" y="480"/>
                  </a:lnTo>
                  <a:lnTo>
                    <a:pt x="132" y="462"/>
                  </a:lnTo>
                  <a:lnTo>
                    <a:pt x="126" y="426"/>
                  </a:lnTo>
                  <a:lnTo>
                    <a:pt x="126" y="396"/>
                  </a:lnTo>
                  <a:lnTo>
                    <a:pt x="126" y="378"/>
                  </a:lnTo>
                  <a:lnTo>
                    <a:pt x="126" y="360"/>
                  </a:lnTo>
                  <a:lnTo>
                    <a:pt x="132" y="318"/>
                  </a:lnTo>
                  <a:lnTo>
                    <a:pt x="132" y="24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2" y="210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92" y="198"/>
                  </a:lnTo>
                  <a:lnTo>
                    <a:pt x="198" y="198"/>
                  </a:lnTo>
                  <a:lnTo>
                    <a:pt x="216" y="180"/>
                  </a:lnTo>
                  <a:lnTo>
                    <a:pt x="222" y="174"/>
                  </a:lnTo>
                  <a:lnTo>
                    <a:pt x="222" y="168"/>
                  </a:lnTo>
                  <a:lnTo>
                    <a:pt x="228" y="168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44"/>
                  </a:lnTo>
                  <a:lnTo>
                    <a:pt x="258" y="144"/>
                  </a:lnTo>
                  <a:lnTo>
                    <a:pt x="276" y="150"/>
                  </a:lnTo>
                  <a:lnTo>
                    <a:pt x="300" y="150"/>
                  </a:lnTo>
                  <a:lnTo>
                    <a:pt x="312" y="150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8" y="156"/>
                  </a:lnTo>
                  <a:lnTo>
                    <a:pt x="354" y="150"/>
                  </a:lnTo>
                  <a:lnTo>
                    <a:pt x="372" y="144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08" y="126"/>
                  </a:lnTo>
                  <a:lnTo>
                    <a:pt x="414" y="120"/>
                  </a:lnTo>
                  <a:lnTo>
                    <a:pt x="420" y="120"/>
                  </a:lnTo>
                  <a:lnTo>
                    <a:pt x="426" y="120"/>
                  </a:lnTo>
                  <a:lnTo>
                    <a:pt x="432" y="114"/>
                  </a:lnTo>
                  <a:lnTo>
                    <a:pt x="450" y="102"/>
                  </a:lnTo>
                  <a:lnTo>
                    <a:pt x="456" y="96"/>
                  </a:lnTo>
                  <a:lnTo>
                    <a:pt x="468" y="90"/>
                  </a:lnTo>
                  <a:lnTo>
                    <a:pt x="474" y="90"/>
                  </a:lnTo>
                  <a:lnTo>
                    <a:pt x="480" y="84"/>
                  </a:lnTo>
                  <a:lnTo>
                    <a:pt x="486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504" y="72"/>
                  </a:lnTo>
                  <a:lnTo>
                    <a:pt x="510" y="66"/>
                  </a:lnTo>
                  <a:lnTo>
                    <a:pt x="516" y="66"/>
                  </a:lnTo>
                  <a:lnTo>
                    <a:pt x="522" y="60"/>
                  </a:lnTo>
                  <a:lnTo>
                    <a:pt x="552" y="42"/>
                  </a:lnTo>
                  <a:lnTo>
                    <a:pt x="558" y="36"/>
                  </a:lnTo>
                  <a:lnTo>
                    <a:pt x="576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94" y="18"/>
                  </a:lnTo>
                  <a:lnTo>
                    <a:pt x="600" y="12"/>
                  </a:lnTo>
                  <a:lnTo>
                    <a:pt x="612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6"/>
                  </a:lnTo>
                  <a:lnTo>
                    <a:pt x="648" y="6"/>
                  </a:lnTo>
                  <a:lnTo>
                    <a:pt x="660" y="6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38" y="18"/>
                  </a:lnTo>
                  <a:lnTo>
                    <a:pt x="744" y="18"/>
                  </a:lnTo>
                  <a:lnTo>
                    <a:pt x="756" y="18"/>
                  </a:lnTo>
                  <a:lnTo>
                    <a:pt x="762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80" y="24"/>
                  </a:lnTo>
                  <a:lnTo>
                    <a:pt x="792" y="24"/>
                  </a:lnTo>
                  <a:lnTo>
                    <a:pt x="792" y="30"/>
                  </a:lnTo>
                  <a:lnTo>
                    <a:pt x="810" y="30"/>
                  </a:lnTo>
                  <a:lnTo>
                    <a:pt x="822" y="36"/>
                  </a:lnTo>
                  <a:lnTo>
                    <a:pt x="834" y="42"/>
                  </a:lnTo>
                  <a:lnTo>
                    <a:pt x="840" y="48"/>
                  </a:lnTo>
                  <a:lnTo>
                    <a:pt x="846" y="54"/>
                  </a:lnTo>
                  <a:lnTo>
                    <a:pt x="852" y="60"/>
                  </a:lnTo>
                  <a:lnTo>
                    <a:pt x="858" y="66"/>
                  </a:lnTo>
                  <a:lnTo>
                    <a:pt x="864" y="66"/>
                  </a:lnTo>
                  <a:lnTo>
                    <a:pt x="864" y="72"/>
                  </a:lnTo>
                  <a:lnTo>
                    <a:pt x="876" y="78"/>
                  </a:lnTo>
                  <a:lnTo>
                    <a:pt x="900" y="84"/>
                  </a:lnTo>
                  <a:lnTo>
                    <a:pt x="906" y="90"/>
                  </a:lnTo>
                  <a:lnTo>
                    <a:pt x="912" y="90"/>
                  </a:lnTo>
                  <a:lnTo>
                    <a:pt x="912" y="96"/>
                  </a:lnTo>
                  <a:lnTo>
                    <a:pt x="924" y="108"/>
                  </a:lnTo>
                  <a:lnTo>
                    <a:pt x="930" y="108"/>
                  </a:lnTo>
                  <a:lnTo>
                    <a:pt x="936" y="114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60" y="138"/>
                  </a:lnTo>
                  <a:lnTo>
                    <a:pt x="966" y="144"/>
                  </a:lnTo>
                  <a:lnTo>
                    <a:pt x="972" y="156"/>
                  </a:lnTo>
                  <a:lnTo>
                    <a:pt x="978" y="162"/>
                  </a:lnTo>
                  <a:lnTo>
                    <a:pt x="984" y="162"/>
                  </a:lnTo>
                  <a:lnTo>
                    <a:pt x="990" y="168"/>
                  </a:lnTo>
                  <a:lnTo>
                    <a:pt x="996" y="174"/>
                  </a:lnTo>
                  <a:lnTo>
                    <a:pt x="1002" y="180"/>
                  </a:lnTo>
                  <a:lnTo>
                    <a:pt x="1008" y="180"/>
                  </a:lnTo>
                  <a:lnTo>
                    <a:pt x="1020" y="180"/>
                  </a:lnTo>
                  <a:lnTo>
                    <a:pt x="1038" y="174"/>
                  </a:lnTo>
                  <a:lnTo>
                    <a:pt x="1050" y="174"/>
                  </a:lnTo>
                  <a:lnTo>
                    <a:pt x="1056" y="174"/>
                  </a:lnTo>
                  <a:lnTo>
                    <a:pt x="1068" y="180"/>
                  </a:lnTo>
                  <a:lnTo>
                    <a:pt x="1080" y="180"/>
                  </a:lnTo>
                  <a:lnTo>
                    <a:pt x="1086" y="186"/>
                  </a:lnTo>
                  <a:lnTo>
                    <a:pt x="1098" y="192"/>
                  </a:lnTo>
                  <a:lnTo>
                    <a:pt x="1116" y="204"/>
                  </a:lnTo>
                  <a:lnTo>
                    <a:pt x="1122" y="210"/>
                  </a:lnTo>
                  <a:lnTo>
                    <a:pt x="1134" y="222"/>
                  </a:lnTo>
                  <a:lnTo>
                    <a:pt x="1146" y="234"/>
                  </a:lnTo>
                  <a:lnTo>
                    <a:pt x="1146" y="240"/>
                  </a:lnTo>
                  <a:lnTo>
                    <a:pt x="1152" y="246"/>
                  </a:lnTo>
                  <a:lnTo>
                    <a:pt x="1152" y="252"/>
                  </a:lnTo>
                  <a:lnTo>
                    <a:pt x="1152" y="258"/>
                  </a:lnTo>
                  <a:lnTo>
                    <a:pt x="1164" y="258"/>
                  </a:lnTo>
                  <a:lnTo>
                    <a:pt x="1170" y="264"/>
                  </a:lnTo>
                  <a:lnTo>
                    <a:pt x="1182" y="270"/>
                  </a:lnTo>
                  <a:lnTo>
                    <a:pt x="1188" y="270"/>
                  </a:lnTo>
                  <a:lnTo>
                    <a:pt x="1194" y="270"/>
                  </a:lnTo>
                  <a:lnTo>
                    <a:pt x="1206" y="276"/>
                  </a:lnTo>
                  <a:lnTo>
                    <a:pt x="1224" y="282"/>
                  </a:lnTo>
                  <a:lnTo>
                    <a:pt x="1236" y="282"/>
                  </a:lnTo>
                  <a:lnTo>
                    <a:pt x="1242" y="288"/>
                  </a:lnTo>
                  <a:lnTo>
                    <a:pt x="1254" y="288"/>
                  </a:lnTo>
                  <a:lnTo>
                    <a:pt x="1266" y="294"/>
                  </a:lnTo>
                  <a:lnTo>
                    <a:pt x="1272" y="294"/>
                  </a:lnTo>
                  <a:lnTo>
                    <a:pt x="1284" y="300"/>
                  </a:lnTo>
                  <a:lnTo>
                    <a:pt x="1290" y="300"/>
                  </a:lnTo>
                  <a:lnTo>
                    <a:pt x="1296" y="300"/>
                  </a:lnTo>
                  <a:lnTo>
                    <a:pt x="1302" y="306"/>
                  </a:lnTo>
                  <a:lnTo>
                    <a:pt x="1326" y="312"/>
                  </a:lnTo>
                  <a:lnTo>
                    <a:pt x="1338" y="312"/>
                  </a:lnTo>
                  <a:lnTo>
                    <a:pt x="1338" y="318"/>
                  </a:lnTo>
                  <a:lnTo>
                    <a:pt x="1344" y="318"/>
                  </a:lnTo>
                  <a:lnTo>
                    <a:pt x="1350" y="318"/>
                  </a:lnTo>
                  <a:lnTo>
                    <a:pt x="1362" y="324"/>
                  </a:lnTo>
                  <a:lnTo>
                    <a:pt x="1368" y="318"/>
                  </a:lnTo>
                  <a:lnTo>
                    <a:pt x="1374" y="318"/>
                  </a:lnTo>
                  <a:lnTo>
                    <a:pt x="1386" y="318"/>
                  </a:lnTo>
                  <a:lnTo>
                    <a:pt x="1398" y="324"/>
                  </a:lnTo>
                  <a:lnTo>
                    <a:pt x="1398" y="342"/>
                  </a:lnTo>
                  <a:lnTo>
                    <a:pt x="1356" y="342"/>
                  </a:lnTo>
                  <a:lnTo>
                    <a:pt x="1350" y="348"/>
                  </a:lnTo>
                  <a:lnTo>
                    <a:pt x="1350" y="372"/>
                  </a:lnTo>
                  <a:lnTo>
                    <a:pt x="1338" y="384"/>
                  </a:lnTo>
                  <a:lnTo>
                    <a:pt x="1332" y="408"/>
                  </a:lnTo>
                  <a:lnTo>
                    <a:pt x="1320" y="420"/>
                  </a:lnTo>
                  <a:lnTo>
                    <a:pt x="1254" y="426"/>
                  </a:lnTo>
                  <a:lnTo>
                    <a:pt x="1248" y="432"/>
                  </a:lnTo>
                  <a:lnTo>
                    <a:pt x="1230" y="432"/>
                  </a:lnTo>
                  <a:lnTo>
                    <a:pt x="1212" y="432"/>
                  </a:lnTo>
                  <a:lnTo>
                    <a:pt x="1212" y="426"/>
                  </a:lnTo>
                  <a:lnTo>
                    <a:pt x="1200" y="426"/>
                  </a:lnTo>
                  <a:lnTo>
                    <a:pt x="1182" y="414"/>
                  </a:lnTo>
                  <a:lnTo>
                    <a:pt x="1182" y="420"/>
                  </a:lnTo>
                  <a:lnTo>
                    <a:pt x="1164" y="420"/>
                  </a:lnTo>
                  <a:lnTo>
                    <a:pt x="1158" y="414"/>
                  </a:lnTo>
                  <a:lnTo>
                    <a:pt x="1152" y="408"/>
                  </a:lnTo>
                  <a:lnTo>
                    <a:pt x="1146" y="402"/>
                  </a:lnTo>
                  <a:lnTo>
                    <a:pt x="1122" y="396"/>
                  </a:lnTo>
                  <a:lnTo>
                    <a:pt x="1116" y="366"/>
                  </a:lnTo>
                  <a:lnTo>
                    <a:pt x="1116" y="348"/>
                  </a:lnTo>
                  <a:lnTo>
                    <a:pt x="1110" y="342"/>
                  </a:lnTo>
                  <a:lnTo>
                    <a:pt x="1104" y="336"/>
                  </a:lnTo>
                  <a:lnTo>
                    <a:pt x="1092" y="330"/>
                  </a:lnTo>
                  <a:lnTo>
                    <a:pt x="1074" y="330"/>
                  </a:lnTo>
                  <a:lnTo>
                    <a:pt x="1044" y="330"/>
                  </a:lnTo>
                  <a:lnTo>
                    <a:pt x="1014" y="336"/>
                  </a:lnTo>
                  <a:lnTo>
                    <a:pt x="984" y="342"/>
                  </a:lnTo>
                  <a:lnTo>
                    <a:pt x="978" y="330"/>
                  </a:lnTo>
                  <a:lnTo>
                    <a:pt x="966" y="324"/>
                  </a:lnTo>
                  <a:lnTo>
                    <a:pt x="888" y="336"/>
                  </a:lnTo>
                  <a:lnTo>
                    <a:pt x="888" y="330"/>
                  </a:lnTo>
                  <a:lnTo>
                    <a:pt x="870" y="336"/>
                  </a:lnTo>
                  <a:lnTo>
                    <a:pt x="858" y="336"/>
                  </a:lnTo>
                  <a:lnTo>
                    <a:pt x="852" y="354"/>
                  </a:lnTo>
                  <a:lnTo>
                    <a:pt x="852" y="402"/>
                  </a:lnTo>
                  <a:lnTo>
                    <a:pt x="840" y="414"/>
                  </a:lnTo>
                  <a:lnTo>
                    <a:pt x="834" y="420"/>
                  </a:lnTo>
                  <a:lnTo>
                    <a:pt x="834" y="444"/>
                  </a:lnTo>
                  <a:lnTo>
                    <a:pt x="834" y="450"/>
                  </a:lnTo>
                  <a:lnTo>
                    <a:pt x="852" y="456"/>
                  </a:lnTo>
                  <a:lnTo>
                    <a:pt x="864" y="462"/>
                  </a:lnTo>
                  <a:lnTo>
                    <a:pt x="894" y="456"/>
                  </a:lnTo>
                  <a:lnTo>
                    <a:pt x="900" y="468"/>
                  </a:lnTo>
                  <a:lnTo>
                    <a:pt x="918" y="462"/>
                  </a:lnTo>
                  <a:lnTo>
                    <a:pt x="924" y="468"/>
                  </a:lnTo>
                  <a:lnTo>
                    <a:pt x="924" y="47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2" name="Freeform 37">
              <a:extLst>
                <a:ext uri="{FF2B5EF4-FFF2-40B4-BE49-F238E27FC236}">
                  <a16:creationId xmlns:a16="http://schemas.microsoft.com/office/drawing/2014/main" id="{DED8A1FF-B656-4D37-BD26-5B0A7B1A4A6D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441" y="1898343"/>
              <a:ext cx="567992" cy="686605"/>
            </a:xfrm>
            <a:custGeom>
              <a:avLst/>
              <a:gdLst>
                <a:gd name="T0" fmla="*/ 79 w 1068"/>
                <a:gd name="T1" fmla="*/ 72 h 1290"/>
                <a:gd name="T2" fmla="*/ 75 w 1068"/>
                <a:gd name="T3" fmla="*/ 73 h 1290"/>
                <a:gd name="T4" fmla="*/ 72 w 1068"/>
                <a:gd name="T5" fmla="*/ 76 h 1290"/>
                <a:gd name="T6" fmla="*/ 70 w 1068"/>
                <a:gd name="T7" fmla="*/ 78 h 1290"/>
                <a:gd name="T8" fmla="*/ 67 w 1068"/>
                <a:gd name="T9" fmla="*/ 82 h 1290"/>
                <a:gd name="T10" fmla="*/ 61 w 1068"/>
                <a:gd name="T11" fmla="*/ 86 h 1290"/>
                <a:gd name="T12" fmla="*/ 60 w 1068"/>
                <a:gd name="T13" fmla="*/ 93 h 1290"/>
                <a:gd name="T14" fmla="*/ 59 w 1068"/>
                <a:gd name="T15" fmla="*/ 97 h 1290"/>
                <a:gd name="T16" fmla="*/ 61 w 1068"/>
                <a:gd name="T17" fmla="*/ 101 h 1290"/>
                <a:gd name="T18" fmla="*/ 63 w 1068"/>
                <a:gd name="T19" fmla="*/ 104 h 1290"/>
                <a:gd name="T20" fmla="*/ 62 w 1068"/>
                <a:gd name="T21" fmla="*/ 108 h 1290"/>
                <a:gd name="T22" fmla="*/ 60 w 1068"/>
                <a:gd name="T23" fmla="*/ 111 h 1290"/>
                <a:gd name="T24" fmla="*/ 56 w 1068"/>
                <a:gd name="T25" fmla="*/ 111 h 1290"/>
                <a:gd name="T26" fmla="*/ 53 w 1068"/>
                <a:gd name="T27" fmla="*/ 110 h 1290"/>
                <a:gd name="T28" fmla="*/ 50 w 1068"/>
                <a:gd name="T29" fmla="*/ 109 h 1290"/>
                <a:gd name="T30" fmla="*/ 47 w 1068"/>
                <a:gd name="T31" fmla="*/ 110 h 1290"/>
                <a:gd name="T32" fmla="*/ 51 w 1068"/>
                <a:gd name="T33" fmla="*/ 104 h 1290"/>
                <a:gd name="T34" fmla="*/ 50 w 1068"/>
                <a:gd name="T35" fmla="*/ 95 h 1290"/>
                <a:gd name="T36" fmla="*/ 51 w 1068"/>
                <a:gd name="T37" fmla="*/ 90 h 1290"/>
                <a:gd name="T38" fmla="*/ 47 w 1068"/>
                <a:gd name="T39" fmla="*/ 84 h 1290"/>
                <a:gd name="T40" fmla="*/ 42 w 1068"/>
                <a:gd name="T41" fmla="*/ 78 h 1290"/>
                <a:gd name="T42" fmla="*/ 33 w 1068"/>
                <a:gd name="T43" fmla="*/ 73 h 1290"/>
                <a:gd name="T44" fmla="*/ 26 w 1068"/>
                <a:gd name="T45" fmla="*/ 68 h 1290"/>
                <a:gd name="T46" fmla="*/ 22 w 1068"/>
                <a:gd name="T47" fmla="*/ 63 h 1290"/>
                <a:gd name="T48" fmla="*/ 11 w 1068"/>
                <a:gd name="T49" fmla="*/ 67 h 1290"/>
                <a:gd name="T50" fmla="*/ 0 w 1068"/>
                <a:gd name="T51" fmla="*/ 68 h 1290"/>
                <a:gd name="T52" fmla="*/ 2 w 1068"/>
                <a:gd name="T53" fmla="*/ 59 h 1290"/>
                <a:gd name="T54" fmla="*/ 12 w 1068"/>
                <a:gd name="T55" fmla="*/ 55 h 1290"/>
                <a:gd name="T56" fmla="*/ 12 w 1068"/>
                <a:gd name="T57" fmla="*/ 51 h 1290"/>
                <a:gd name="T58" fmla="*/ 10 w 1068"/>
                <a:gd name="T59" fmla="*/ 47 h 1290"/>
                <a:gd name="T60" fmla="*/ 9 w 1068"/>
                <a:gd name="T61" fmla="*/ 42 h 1290"/>
                <a:gd name="T62" fmla="*/ 8 w 1068"/>
                <a:gd name="T63" fmla="*/ 38 h 1290"/>
                <a:gd name="T64" fmla="*/ 8 w 1068"/>
                <a:gd name="T65" fmla="*/ 29 h 1290"/>
                <a:gd name="T66" fmla="*/ 10 w 1068"/>
                <a:gd name="T67" fmla="*/ 18 h 1290"/>
                <a:gd name="T68" fmla="*/ 25 w 1068"/>
                <a:gd name="T69" fmla="*/ 12 h 1290"/>
                <a:gd name="T70" fmla="*/ 27 w 1068"/>
                <a:gd name="T71" fmla="*/ 4 h 1290"/>
                <a:gd name="T72" fmla="*/ 35 w 1068"/>
                <a:gd name="T73" fmla="*/ 6 h 1290"/>
                <a:gd name="T74" fmla="*/ 39 w 1068"/>
                <a:gd name="T75" fmla="*/ 8 h 1290"/>
                <a:gd name="T76" fmla="*/ 41 w 1068"/>
                <a:gd name="T77" fmla="*/ 3 h 1290"/>
                <a:gd name="T78" fmla="*/ 45 w 1068"/>
                <a:gd name="T79" fmla="*/ 0 h 1290"/>
                <a:gd name="T80" fmla="*/ 51 w 1068"/>
                <a:gd name="T81" fmla="*/ 0 h 1290"/>
                <a:gd name="T82" fmla="*/ 56 w 1068"/>
                <a:gd name="T83" fmla="*/ 4 h 1290"/>
                <a:gd name="T84" fmla="*/ 62 w 1068"/>
                <a:gd name="T85" fmla="*/ 12 h 1290"/>
                <a:gd name="T86" fmla="*/ 58 w 1068"/>
                <a:gd name="T87" fmla="*/ 17 h 1290"/>
                <a:gd name="T88" fmla="*/ 60 w 1068"/>
                <a:gd name="T89" fmla="*/ 18 h 1290"/>
                <a:gd name="T90" fmla="*/ 64 w 1068"/>
                <a:gd name="T91" fmla="*/ 16 h 1290"/>
                <a:gd name="T92" fmla="*/ 68 w 1068"/>
                <a:gd name="T93" fmla="*/ 18 h 1290"/>
                <a:gd name="T94" fmla="*/ 71 w 1068"/>
                <a:gd name="T95" fmla="*/ 27 h 1290"/>
                <a:gd name="T96" fmla="*/ 74 w 1068"/>
                <a:gd name="T97" fmla="*/ 30 h 1290"/>
                <a:gd name="T98" fmla="*/ 82 w 1068"/>
                <a:gd name="T99" fmla="*/ 30 h 1290"/>
                <a:gd name="T100" fmla="*/ 87 w 1068"/>
                <a:gd name="T101" fmla="*/ 35 h 1290"/>
                <a:gd name="T102" fmla="*/ 85 w 1068"/>
                <a:gd name="T103" fmla="*/ 42 h 1290"/>
                <a:gd name="T104" fmla="*/ 81 w 1068"/>
                <a:gd name="T105" fmla="*/ 46 h 1290"/>
                <a:gd name="T106" fmla="*/ 86 w 1068"/>
                <a:gd name="T107" fmla="*/ 50 h 1290"/>
                <a:gd name="T108" fmla="*/ 89 w 1068"/>
                <a:gd name="T109" fmla="*/ 58 h 1290"/>
                <a:gd name="T110" fmla="*/ 92 w 1068"/>
                <a:gd name="T111" fmla="*/ 61 h 1290"/>
                <a:gd name="T112" fmla="*/ 86 w 1068"/>
                <a:gd name="T113" fmla="*/ 66 h 1290"/>
                <a:gd name="T114" fmla="*/ 85 w 1068"/>
                <a:gd name="T115" fmla="*/ 70 h 129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68"/>
                <a:gd name="T175" fmla="*/ 0 h 1290"/>
                <a:gd name="T176" fmla="*/ 1068 w 1068"/>
                <a:gd name="T177" fmla="*/ 1290 h 129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68" h="1290">
                  <a:moveTo>
                    <a:pt x="978" y="804"/>
                  </a:moveTo>
                  <a:lnTo>
                    <a:pt x="972" y="810"/>
                  </a:lnTo>
                  <a:lnTo>
                    <a:pt x="966" y="810"/>
                  </a:lnTo>
                  <a:lnTo>
                    <a:pt x="966" y="816"/>
                  </a:lnTo>
                  <a:lnTo>
                    <a:pt x="936" y="828"/>
                  </a:lnTo>
                  <a:lnTo>
                    <a:pt x="924" y="822"/>
                  </a:lnTo>
                  <a:lnTo>
                    <a:pt x="912" y="822"/>
                  </a:lnTo>
                  <a:lnTo>
                    <a:pt x="906" y="828"/>
                  </a:lnTo>
                  <a:lnTo>
                    <a:pt x="900" y="828"/>
                  </a:lnTo>
                  <a:lnTo>
                    <a:pt x="900" y="822"/>
                  </a:lnTo>
                  <a:lnTo>
                    <a:pt x="894" y="822"/>
                  </a:lnTo>
                  <a:lnTo>
                    <a:pt x="888" y="828"/>
                  </a:lnTo>
                  <a:lnTo>
                    <a:pt x="882" y="834"/>
                  </a:lnTo>
                  <a:lnTo>
                    <a:pt x="876" y="834"/>
                  </a:lnTo>
                  <a:lnTo>
                    <a:pt x="870" y="840"/>
                  </a:lnTo>
                  <a:lnTo>
                    <a:pt x="864" y="840"/>
                  </a:lnTo>
                  <a:lnTo>
                    <a:pt x="864" y="846"/>
                  </a:lnTo>
                  <a:lnTo>
                    <a:pt x="858" y="846"/>
                  </a:lnTo>
                  <a:lnTo>
                    <a:pt x="852" y="846"/>
                  </a:lnTo>
                  <a:lnTo>
                    <a:pt x="852" y="858"/>
                  </a:lnTo>
                  <a:lnTo>
                    <a:pt x="846" y="864"/>
                  </a:lnTo>
                  <a:lnTo>
                    <a:pt x="840" y="870"/>
                  </a:lnTo>
                  <a:lnTo>
                    <a:pt x="834" y="870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34" y="876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10" y="894"/>
                  </a:lnTo>
                  <a:lnTo>
                    <a:pt x="810" y="900"/>
                  </a:lnTo>
                  <a:lnTo>
                    <a:pt x="804" y="900"/>
                  </a:lnTo>
                  <a:lnTo>
                    <a:pt x="798" y="900"/>
                  </a:lnTo>
                  <a:lnTo>
                    <a:pt x="798" y="906"/>
                  </a:lnTo>
                  <a:lnTo>
                    <a:pt x="792" y="906"/>
                  </a:lnTo>
                  <a:lnTo>
                    <a:pt x="792" y="912"/>
                  </a:lnTo>
                  <a:lnTo>
                    <a:pt x="792" y="924"/>
                  </a:lnTo>
                  <a:lnTo>
                    <a:pt x="786" y="930"/>
                  </a:lnTo>
                  <a:lnTo>
                    <a:pt x="774" y="942"/>
                  </a:lnTo>
                  <a:lnTo>
                    <a:pt x="774" y="948"/>
                  </a:lnTo>
                  <a:lnTo>
                    <a:pt x="768" y="954"/>
                  </a:lnTo>
                  <a:lnTo>
                    <a:pt x="762" y="954"/>
                  </a:lnTo>
                  <a:lnTo>
                    <a:pt x="750" y="972"/>
                  </a:lnTo>
                  <a:lnTo>
                    <a:pt x="720" y="978"/>
                  </a:lnTo>
                  <a:lnTo>
                    <a:pt x="714" y="978"/>
                  </a:lnTo>
                  <a:lnTo>
                    <a:pt x="708" y="978"/>
                  </a:lnTo>
                  <a:lnTo>
                    <a:pt x="702" y="990"/>
                  </a:lnTo>
                  <a:lnTo>
                    <a:pt x="696" y="990"/>
                  </a:lnTo>
                  <a:lnTo>
                    <a:pt x="696" y="1008"/>
                  </a:lnTo>
                  <a:lnTo>
                    <a:pt x="690" y="1008"/>
                  </a:lnTo>
                  <a:lnTo>
                    <a:pt x="690" y="1014"/>
                  </a:lnTo>
                  <a:lnTo>
                    <a:pt x="684" y="1032"/>
                  </a:lnTo>
                  <a:lnTo>
                    <a:pt x="690" y="1050"/>
                  </a:lnTo>
                  <a:lnTo>
                    <a:pt x="690" y="1062"/>
                  </a:lnTo>
                  <a:lnTo>
                    <a:pt x="690" y="1068"/>
                  </a:lnTo>
                  <a:lnTo>
                    <a:pt x="690" y="1074"/>
                  </a:lnTo>
                  <a:lnTo>
                    <a:pt x="684" y="1074"/>
                  </a:lnTo>
                  <a:lnTo>
                    <a:pt x="684" y="1080"/>
                  </a:lnTo>
                  <a:lnTo>
                    <a:pt x="678" y="1086"/>
                  </a:lnTo>
                  <a:lnTo>
                    <a:pt x="678" y="1104"/>
                  </a:lnTo>
                  <a:lnTo>
                    <a:pt x="678" y="1110"/>
                  </a:lnTo>
                  <a:lnTo>
                    <a:pt x="678" y="1116"/>
                  </a:lnTo>
                  <a:lnTo>
                    <a:pt x="684" y="1116"/>
                  </a:lnTo>
                  <a:lnTo>
                    <a:pt x="678" y="1128"/>
                  </a:lnTo>
                  <a:lnTo>
                    <a:pt x="684" y="1128"/>
                  </a:lnTo>
                  <a:lnTo>
                    <a:pt x="690" y="1134"/>
                  </a:lnTo>
                  <a:lnTo>
                    <a:pt x="690" y="1140"/>
                  </a:lnTo>
                  <a:lnTo>
                    <a:pt x="696" y="1140"/>
                  </a:lnTo>
                  <a:lnTo>
                    <a:pt x="696" y="1146"/>
                  </a:lnTo>
                  <a:lnTo>
                    <a:pt x="696" y="1152"/>
                  </a:lnTo>
                  <a:lnTo>
                    <a:pt x="702" y="1152"/>
                  </a:lnTo>
                  <a:lnTo>
                    <a:pt x="708" y="1152"/>
                  </a:lnTo>
                  <a:lnTo>
                    <a:pt x="714" y="1158"/>
                  </a:lnTo>
                  <a:lnTo>
                    <a:pt x="714" y="1164"/>
                  </a:lnTo>
                  <a:lnTo>
                    <a:pt x="720" y="1170"/>
                  </a:lnTo>
                  <a:lnTo>
                    <a:pt x="720" y="1176"/>
                  </a:lnTo>
                  <a:lnTo>
                    <a:pt x="720" y="1182"/>
                  </a:lnTo>
                  <a:lnTo>
                    <a:pt x="726" y="1188"/>
                  </a:lnTo>
                  <a:lnTo>
                    <a:pt x="726" y="1194"/>
                  </a:lnTo>
                  <a:lnTo>
                    <a:pt x="732" y="1194"/>
                  </a:lnTo>
                  <a:lnTo>
                    <a:pt x="732" y="1200"/>
                  </a:lnTo>
                  <a:lnTo>
                    <a:pt x="738" y="1212"/>
                  </a:lnTo>
                  <a:lnTo>
                    <a:pt x="732" y="1218"/>
                  </a:lnTo>
                  <a:lnTo>
                    <a:pt x="732" y="1224"/>
                  </a:lnTo>
                  <a:lnTo>
                    <a:pt x="726" y="1230"/>
                  </a:lnTo>
                  <a:lnTo>
                    <a:pt x="720" y="1230"/>
                  </a:lnTo>
                  <a:lnTo>
                    <a:pt x="720" y="1236"/>
                  </a:lnTo>
                  <a:lnTo>
                    <a:pt x="720" y="1242"/>
                  </a:lnTo>
                  <a:lnTo>
                    <a:pt x="720" y="1248"/>
                  </a:lnTo>
                  <a:lnTo>
                    <a:pt x="714" y="1248"/>
                  </a:lnTo>
                  <a:lnTo>
                    <a:pt x="714" y="1254"/>
                  </a:lnTo>
                  <a:lnTo>
                    <a:pt x="708" y="1260"/>
                  </a:lnTo>
                  <a:lnTo>
                    <a:pt x="702" y="1272"/>
                  </a:lnTo>
                  <a:lnTo>
                    <a:pt x="696" y="1272"/>
                  </a:lnTo>
                  <a:lnTo>
                    <a:pt x="696" y="1278"/>
                  </a:lnTo>
                  <a:lnTo>
                    <a:pt x="690" y="1284"/>
                  </a:lnTo>
                  <a:lnTo>
                    <a:pt x="690" y="1290"/>
                  </a:lnTo>
                  <a:lnTo>
                    <a:pt x="684" y="1290"/>
                  </a:lnTo>
                  <a:lnTo>
                    <a:pt x="660" y="1284"/>
                  </a:lnTo>
                  <a:lnTo>
                    <a:pt x="660" y="1278"/>
                  </a:lnTo>
                  <a:lnTo>
                    <a:pt x="654" y="1272"/>
                  </a:lnTo>
                  <a:lnTo>
                    <a:pt x="648" y="1272"/>
                  </a:lnTo>
                  <a:lnTo>
                    <a:pt x="642" y="1272"/>
                  </a:lnTo>
                  <a:lnTo>
                    <a:pt x="642" y="1266"/>
                  </a:lnTo>
                  <a:lnTo>
                    <a:pt x="636" y="1266"/>
                  </a:lnTo>
                  <a:lnTo>
                    <a:pt x="630" y="1266"/>
                  </a:lnTo>
                  <a:lnTo>
                    <a:pt x="624" y="1266"/>
                  </a:lnTo>
                  <a:lnTo>
                    <a:pt x="624" y="1260"/>
                  </a:lnTo>
                  <a:lnTo>
                    <a:pt x="618" y="1260"/>
                  </a:lnTo>
                  <a:lnTo>
                    <a:pt x="612" y="1260"/>
                  </a:lnTo>
                  <a:lnTo>
                    <a:pt x="606" y="1260"/>
                  </a:lnTo>
                  <a:lnTo>
                    <a:pt x="600" y="1260"/>
                  </a:lnTo>
                  <a:lnTo>
                    <a:pt x="600" y="1254"/>
                  </a:lnTo>
                  <a:lnTo>
                    <a:pt x="594" y="1254"/>
                  </a:lnTo>
                  <a:lnTo>
                    <a:pt x="588" y="1248"/>
                  </a:lnTo>
                  <a:lnTo>
                    <a:pt x="588" y="1254"/>
                  </a:lnTo>
                  <a:lnTo>
                    <a:pt x="582" y="1254"/>
                  </a:lnTo>
                  <a:lnTo>
                    <a:pt x="582" y="1248"/>
                  </a:lnTo>
                  <a:lnTo>
                    <a:pt x="576" y="1248"/>
                  </a:lnTo>
                  <a:lnTo>
                    <a:pt x="576" y="1254"/>
                  </a:lnTo>
                  <a:lnTo>
                    <a:pt x="570" y="1248"/>
                  </a:lnTo>
                  <a:lnTo>
                    <a:pt x="564" y="1248"/>
                  </a:lnTo>
                  <a:lnTo>
                    <a:pt x="564" y="1254"/>
                  </a:lnTo>
                  <a:lnTo>
                    <a:pt x="558" y="1254"/>
                  </a:lnTo>
                  <a:lnTo>
                    <a:pt x="552" y="1254"/>
                  </a:lnTo>
                  <a:lnTo>
                    <a:pt x="552" y="1260"/>
                  </a:lnTo>
                  <a:lnTo>
                    <a:pt x="546" y="1260"/>
                  </a:lnTo>
                  <a:lnTo>
                    <a:pt x="540" y="1260"/>
                  </a:lnTo>
                  <a:lnTo>
                    <a:pt x="540" y="1254"/>
                  </a:lnTo>
                  <a:lnTo>
                    <a:pt x="534" y="1254"/>
                  </a:lnTo>
                  <a:lnTo>
                    <a:pt x="528" y="1224"/>
                  </a:lnTo>
                  <a:lnTo>
                    <a:pt x="534" y="1212"/>
                  </a:lnTo>
                  <a:lnTo>
                    <a:pt x="546" y="1206"/>
                  </a:lnTo>
                  <a:lnTo>
                    <a:pt x="582" y="1206"/>
                  </a:lnTo>
                  <a:lnTo>
                    <a:pt x="588" y="1188"/>
                  </a:lnTo>
                  <a:lnTo>
                    <a:pt x="582" y="1188"/>
                  </a:lnTo>
                  <a:lnTo>
                    <a:pt x="582" y="1182"/>
                  </a:lnTo>
                  <a:lnTo>
                    <a:pt x="576" y="1176"/>
                  </a:lnTo>
                  <a:lnTo>
                    <a:pt x="558" y="1128"/>
                  </a:lnTo>
                  <a:lnTo>
                    <a:pt x="558" y="1122"/>
                  </a:lnTo>
                  <a:lnTo>
                    <a:pt x="576" y="1098"/>
                  </a:lnTo>
                  <a:lnTo>
                    <a:pt x="576" y="1092"/>
                  </a:lnTo>
                  <a:lnTo>
                    <a:pt x="582" y="1092"/>
                  </a:lnTo>
                  <a:lnTo>
                    <a:pt x="582" y="1086"/>
                  </a:lnTo>
                  <a:lnTo>
                    <a:pt x="582" y="1080"/>
                  </a:lnTo>
                  <a:lnTo>
                    <a:pt x="582" y="1074"/>
                  </a:lnTo>
                  <a:lnTo>
                    <a:pt x="588" y="1074"/>
                  </a:lnTo>
                  <a:lnTo>
                    <a:pt x="588" y="1062"/>
                  </a:lnTo>
                  <a:lnTo>
                    <a:pt x="588" y="1056"/>
                  </a:lnTo>
                  <a:lnTo>
                    <a:pt x="588" y="1044"/>
                  </a:lnTo>
                  <a:lnTo>
                    <a:pt x="588" y="1038"/>
                  </a:lnTo>
                  <a:lnTo>
                    <a:pt x="588" y="1032"/>
                  </a:lnTo>
                  <a:lnTo>
                    <a:pt x="582" y="1026"/>
                  </a:lnTo>
                  <a:lnTo>
                    <a:pt x="582" y="1020"/>
                  </a:lnTo>
                  <a:lnTo>
                    <a:pt x="582" y="1008"/>
                  </a:lnTo>
                  <a:lnTo>
                    <a:pt x="576" y="990"/>
                  </a:lnTo>
                  <a:lnTo>
                    <a:pt x="570" y="972"/>
                  </a:lnTo>
                  <a:lnTo>
                    <a:pt x="552" y="972"/>
                  </a:lnTo>
                  <a:lnTo>
                    <a:pt x="540" y="960"/>
                  </a:lnTo>
                  <a:lnTo>
                    <a:pt x="534" y="954"/>
                  </a:lnTo>
                  <a:lnTo>
                    <a:pt x="534" y="948"/>
                  </a:lnTo>
                  <a:lnTo>
                    <a:pt x="516" y="948"/>
                  </a:lnTo>
                  <a:lnTo>
                    <a:pt x="522" y="936"/>
                  </a:lnTo>
                  <a:lnTo>
                    <a:pt x="522" y="930"/>
                  </a:lnTo>
                  <a:lnTo>
                    <a:pt x="504" y="918"/>
                  </a:lnTo>
                  <a:lnTo>
                    <a:pt x="492" y="906"/>
                  </a:lnTo>
                  <a:lnTo>
                    <a:pt x="486" y="894"/>
                  </a:lnTo>
                  <a:lnTo>
                    <a:pt x="468" y="876"/>
                  </a:lnTo>
                  <a:lnTo>
                    <a:pt x="450" y="876"/>
                  </a:lnTo>
                  <a:lnTo>
                    <a:pt x="414" y="882"/>
                  </a:lnTo>
                  <a:lnTo>
                    <a:pt x="402" y="870"/>
                  </a:lnTo>
                  <a:lnTo>
                    <a:pt x="390" y="864"/>
                  </a:lnTo>
                  <a:lnTo>
                    <a:pt x="384" y="852"/>
                  </a:lnTo>
                  <a:lnTo>
                    <a:pt x="378" y="840"/>
                  </a:lnTo>
                  <a:lnTo>
                    <a:pt x="378" y="834"/>
                  </a:lnTo>
                  <a:lnTo>
                    <a:pt x="360" y="822"/>
                  </a:lnTo>
                  <a:lnTo>
                    <a:pt x="342" y="828"/>
                  </a:lnTo>
                  <a:lnTo>
                    <a:pt x="324" y="816"/>
                  </a:lnTo>
                  <a:lnTo>
                    <a:pt x="318" y="816"/>
                  </a:lnTo>
                  <a:lnTo>
                    <a:pt x="306" y="810"/>
                  </a:lnTo>
                  <a:lnTo>
                    <a:pt x="306" y="804"/>
                  </a:lnTo>
                  <a:lnTo>
                    <a:pt x="300" y="804"/>
                  </a:lnTo>
                  <a:lnTo>
                    <a:pt x="300" y="780"/>
                  </a:lnTo>
                  <a:lnTo>
                    <a:pt x="300" y="774"/>
                  </a:lnTo>
                  <a:lnTo>
                    <a:pt x="306" y="774"/>
                  </a:lnTo>
                  <a:lnTo>
                    <a:pt x="312" y="756"/>
                  </a:lnTo>
                  <a:lnTo>
                    <a:pt x="312" y="732"/>
                  </a:lnTo>
                  <a:lnTo>
                    <a:pt x="300" y="720"/>
                  </a:lnTo>
                  <a:lnTo>
                    <a:pt x="288" y="702"/>
                  </a:lnTo>
                  <a:lnTo>
                    <a:pt x="276" y="702"/>
                  </a:lnTo>
                  <a:lnTo>
                    <a:pt x="258" y="714"/>
                  </a:lnTo>
                  <a:lnTo>
                    <a:pt x="246" y="726"/>
                  </a:lnTo>
                  <a:lnTo>
                    <a:pt x="222" y="726"/>
                  </a:lnTo>
                  <a:lnTo>
                    <a:pt x="192" y="726"/>
                  </a:lnTo>
                  <a:lnTo>
                    <a:pt x="174" y="738"/>
                  </a:lnTo>
                  <a:lnTo>
                    <a:pt x="162" y="750"/>
                  </a:lnTo>
                  <a:lnTo>
                    <a:pt x="144" y="762"/>
                  </a:lnTo>
                  <a:lnTo>
                    <a:pt x="138" y="768"/>
                  </a:lnTo>
                  <a:lnTo>
                    <a:pt x="126" y="774"/>
                  </a:lnTo>
                  <a:lnTo>
                    <a:pt x="114" y="780"/>
                  </a:lnTo>
                  <a:lnTo>
                    <a:pt x="108" y="786"/>
                  </a:lnTo>
                  <a:lnTo>
                    <a:pt x="102" y="786"/>
                  </a:lnTo>
                  <a:lnTo>
                    <a:pt x="54" y="786"/>
                  </a:lnTo>
                  <a:lnTo>
                    <a:pt x="48" y="792"/>
                  </a:lnTo>
                  <a:lnTo>
                    <a:pt x="36" y="798"/>
                  </a:lnTo>
                  <a:lnTo>
                    <a:pt x="18" y="792"/>
                  </a:lnTo>
                  <a:lnTo>
                    <a:pt x="6" y="780"/>
                  </a:lnTo>
                  <a:lnTo>
                    <a:pt x="6" y="768"/>
                  </a:lnTo>
                  <a:lnTo>
                    <a:pt x="0" y="756"/>
                  </a:lnTo>
                  <a:lnTo>
                    <a:pt x="0" y="738"/>
                  </a:lnTo>
                  <a:lnTo>
                    <a:pt x="6" y="702"/>
                  </a:lnTo>
                  <a:lnTo>
                    <a:pt x="24" y="702"/>
                  </a:lnTo>
                  <a:lnTo>
                    <a:pt x="24" y="696"/>
                  </a:lnTo>
                  <a:lnTo>
                    <a:pt x="24" y="690"/>
                  </a:lnTo>
                  <a:lnTo>
                    <a:pt x="24" y="678"/>
                  </a:lnTo>
                  <a:lnTo>
                    <a:pt x="24" y="672"/>
                  </a:lnTo>
                  <a:lnTo>
                    <a:pt x="30" y="672"/>
                  </a:lnTo>
                  <a:lnTo>
                    <a:pt x="30" y="666"/>
                  </a:lnTo>
                  <a:lnTo>
                    <a:pt x="36" y="660"/>
                  </a:lnTo>
                  <a:lnTo>
                    <a:pt x="84" y="648"/>
                  </a:lnTo>
                  <a:lnTo>
                    <a:pt x="126" y="642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32" y="618"/>
                  </a:lnTo>
                  <a:lnTo>
                    <a:pt x="138" y="612"/>
                  </a:lnTo>
                  <a:lnTo>
                    <a:pt x="138" y="606"/>
                  </a:lnTo>
                  <a:lnTo>
                    <a:pt x="138" y="600"/>
                  </a:lnTo>
                  <a:lnTo>
                    <a:pt x="132" y="600"/>
                  </a:lnTo>
                  <a:lnTo>
                    <a:pt x="132" y="594"/>
                  </a:lnTo>
                  <a:lnTo>
                    <a:pt x="132" y="588"/>
                  </a:lnTo>
                  <a:lnTo>
                    <a:pt x="132" y="582"/>
                  </a:lnTo>
                  <a:lnTo>
                    <a:pt x="132" y="576"/>
                  </a:lnTo>
                  <a:lnTo>
                    <a:pt x="126" y="570"/>
                  </a:lnTo>
                  <a:lnTo>
                    <a:pt x="120" y="564"/>
                  </a:lnTo>
                  <a:lnTo>
                    <a:pt x="120" y="558"/>
                  </a:lnTo>
                  <a:lnTo>
                    <a:pt x="120" y="552"/>
                  </a:lnTo>
                  <a:lnTo>
                    <a:pt x="114" y="552"/>
                  </a:lnTo>
                  <a:lnTo>
                    <a:pt x="114" y="546"/>
                  </a:lnTo>
                  <a:lnTo>
                    <a:pt x="114" y="540"/>
                  </a:lnTo>
                  <a:lnTo>
                    <a:pt x="108" y="534"/>
                  </a:lnTo>
                  <a:lnTo>
                    <a:pt x="108" y="528"/>
                  </a:lnTo>
                  <a:lnTo>
                    <a:pt x="114" y="522"/>
                  </a:lnTo>
                  <a:lnTo>
                    <a:pt x="108" y="516"/>
                  </a:lnTo>
                  <a:lnTo>
                    <a:pt x="108" y="498"/>
                  </a:lnTo>
                  <a:lnTo>
                    <a:pt x="108" y="492"/>
                  </a:lnTo>
                  <a:lnTo>
                    <a:pt x="108" y="486"/>
                  </a:lnTo>
                  <a:lnTo>
                    <a:pt x="108" y="480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08" y="462"/>
                  </a:lnTo>
                  <a:lnTo>
                    <a:pt x="102" y="456"/>
                  </a:lnTo>
                  <a:lnTo>
                    <a:pt x="102" y="444"/>
                  </a:lnTo>
                  <a:lnTo>
                    <a:pt x="96" y="444"/>
                  </a:lnTo>
                  <a:lnTo>
                    <a:pt x="90" y="432"/>
                  </a:lnTo>
                  <a:lnTo>
                    <a:pt x="96" y="432"/>
                  </a:lnTo>
                  <a:lnTo>
                    <a:pt x="96" y="408"/>
                  </a:lnTo>
                  <a:lnTo>
                    <a:pt x="96" y="396"/>
                  </a:lnTo>
                  <a:lnTo>
                    <a:pt x="96" y="360"/>
                  </a:lnTo>
                  <a:lnTo>
                    <a:pt x="96" y="354"/>
                  </a:lnTo>
                  <a:lnTo>
                    <a:pt x="102" y="354"/>
                  </a:lnTo>
                  <a:lnTo>
                    <a:pt x="102" y="348"/>
                  </a:lnTo>
                  <a:lnTo>
                    <a:pt x="96" y="330"/>
                  </a:lnTo>
                  <a:lnTo>
                    <a:pt x="90" y="306"/>
                  </a:lnTo>
                  <a:lnTo>
                    <a:pt x="84" y="288"/>
                  </a:lnTo>
                  <a:lnTo>
                    <a:pt x="84" y="264"/>
                  </a:lnTo>
                  <a:lnTo>
                    <a:pt x="90" y="240"/>
                  </a:lnTo>
                  <a:lnTo>
                    <a:pt x="96" y="222"/>
                  </a:lnTo>
                  <a:lnTo>
                    <a:pt x="102" y="222"/>
                  </a:lnTo>
                  <a:lnTo>
                    <a:pt x="108" y="210"/>
                  </a:lnTo>
                  <a:lnTo>
                    <a:pt x="114" y="210"/>
                  </a:lnTo>
                  <a:lnTo>
                    <a:pt x="126" y="198"/>
                  </a:lnTo>
                  <a:lnTo>
                    <a:pt x="156" y="192"/>
                  </a:lnTo>
                  <a:lnTo>
                    <a:pt x="174" y="186"/>
                  </a:lnTo>
                  <a:lnTo>
                    <a:pt x="204" y="174"/>
                  </a:lnTo>
                  <a:lnTo>
                    <a:pt x="222" y="168"/>
                  </a:lnTo>
                  <a:lnTo>
                    <a:pt x="234" y="162"/>
                  </a:lnTo>
                  <a:lnTo>
                    <a:pt x="246" y="156"/>
                  </a:lnTo>
                  <a:lnTo>
                    <a:pt x="288" y="144"/>
                  </a:lnTo>
                  <a:lnTo>
                    <a:pt x="288" y="132"/>
                  </a:lnTo>
                  <a:lnTo>
                    <a:pt x="294" y="120"/>
                  </a:lnTo>
                  <a:lnTo>
                    <a:pt x="300" y="108"/>
                  </a:lnTo>
                  <a:lnTo>
                    <a:pt x="306" y="90"/>
                  </a:lnTo>
                  <a:lnTo>
                    <a:pt x="312" y="78"/>
                  </a:lnTo>
                  <a:lnTo>
                    <a:pt x="324" y="78"/>
                  </a:lnTo>
                  <a:lnTo>
                    <a:pt x="324" y="54"/>
                  </a:lnTo>
                  <a:lnTo>
                    <a:pt x="318" y="48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60" y="6"/>
                  </a:lnTo>
                  <a:lnTo>
                    <a:pt x="384" y="0"/>
                  </a:lnTo>
                  <a:lnTo>
                    <a:pt x="390" y="6"/>
                  </a:lnTo>
                  <a:lnTo>
                    <a:pt x="390" y="18"/>
                  </a:lnTo>
                  <a:lnTo>
                    <a:pt x="390" y="54"/>
                  </a:lnTo>
                  <a:lnTo>
                    <a:pt x="396" y="66"/>
                  </a:lnTo>
                  <a:lnTo>
                    <a:pt x="414" y="84"/>
                  </a:lnTo>
                  <a:lnTo>
                    <a:pt x="426" y="90"/>
                  </a:lnTo>
                  <a:lnTo>
                    <a:pt x="432" y="96"/>
                  </a:lnTo>
                  <a:lnTo>
                    <a:pt x="426" y="102"/>
                  </a:lnTo>
                  <a:lnTo>
                    <a:pt x="438" y="102"/>
                  </a:lnTo>
                  <a:lnTo>
                    <a:pt x="444" y="108"/>
                  </a:lnTo>
                  <a:lnTo>
                    <a:pt x="444" y="102"/>
                  </a:lnTo>
                  <a:lnTo>
                    <a:pt x="450" y="90"/>
                  </a:lnTo>
                  <a:lnTo>
                    <a:pt x="450" y="84"/>
                  </a:lnTo>
                  <a:lnTo>
                    <a:pt x="450" y="78"/>
                  </a:lnTo>
                  <a:lnTo>
                    <a:pt x="456" y="72"/>
                  </a:lnTo>
                  <a:lnTo>
                    <a:pt x="462" y="66"/>
                  </a:lnTo>
                  <a:lnTo>
                    <a:pt x="462" y="60"/>
                  </a:lnTo>
                  <a:lnTo>
                    <a:pt x="462" y="54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74" y="24"/>
                  </a:lnTo>
                  <a:lnTo>
                    <a:pt x="480" y="18"/>
                  </a:lnTo>
                  <a:lnTo>
                    <a:pt x="486" y="12"/>
                  </a:lnTo>
                  <a:lnTo>
                    <a:pt x="492" y="12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2" y="6"/>
                  </a:lnTo>
                  <a:lnTo>
                    <a:pt x="534" y="6"/>
                  </a:lnTo>
                  <a:lnTo>
                    <a:pt x="540" y="6"/>
                  </a:lnTo>
                  <a:lnTo>
                    <a:pt x="546" y="6"/>
                  </a:lnTo>
                  <a:lnTo>
                    <a:pt x="564" y="0"/>
                  </a:lnTo>
                  <a:lnTo>
                    <a:pt x="570" y="0"/>
                  </a:lnTo>
                  <a:lnTo>
                    <a:pt x="576" y="6"/>
                  </a:lnTo>
                  <a:lnTo>
                    <a:pt x="582" y="6"/>
                  </a:lnTo>
                  <a:lnTo>
                    <a:pt x="594" y="6"/>
                  </a:lnTo>
                  <a:lnTo>
                    <a:pt x="600" y="6"/>
                  </a:lnTo>
                  <a:lnTo>
                    <a:pt x="606" y="6"/>
                  </a:lnTo>
                  <a:lnTo>
                    <a:pt x="624" y="0"/>
                  </a:lnTo>
                  <a:lnTo>
                    <a:pt x="636" y="0"/>
                  </a:lnTo>
                  <a:lnTo>
                    <a:pt x="636" y="6"/>
                  </a:lnTo>
                  <a:lnTo>
                    <a:pt x="654" y="18"/>
                  </a:lnTo>
                  <a:lnTo>
                    <a:pt x="654" y="30"/>
                  </a:lnTo>
                  <a:lnTo>
                    <a:pt x="642" y="42"/>
                  </a:lnTo>
                  <a:lnTo>
                    <a:pt x="630" y="66"/>
                  </a:lnTo>
                  <a:lnTo>
                    <a:pt x="636" y="84"/>
                  </a:lnTo>
                  <a:lnTo>
                    <a:pt x="636" y="96"/>
                  </a:lnTo>
                  <a:lnTo>
                    <a:pt x="648" y="102"/>
                  </a:lnTo>
                  <a:lnTo>
                    <a:pt x="672" y="114"/>
                  </a:lnTo>
                  <a:lnTo>
                    <a:pt x="702" y="120"/>
                  </a:lnTo>
                  <a:lnTo>
                    <a:pt x="714" y="126"/>
                  </a:lnTo>
                  <a:lnTo>
                    <a:pt x="720" y="144"/>
                  </a:lnTo>
                  <a:lnTo>
                    <a:pt x="720" y="156"/>
                  </a:lnTo>
                  <a:lnTo>
                    <a:pt x="708" y="156"/>
                  </a:lnTo>
                  <a:lnTo>
                    <a:pt x="702" y="162"/>
                  </a:lnTo>
                  <a:lnTo>
                    <a:pt x="702" y="174"/>
                  </a:lnTo>
                  <a:lnTo>
                    <a:pt x="696" y="174"/>
                  </a:lnTo>
                  <a:lnTo>
                    <a:pt x="690" y="180"/>
                  </a:lnTo>
                  <a:lnTo>
                    <a:pt x="678" y="186"/>
                  </a:lnTo>
                  <a:lnTo>
                    <a:pt x="672" y="192"/>
                  </a:lnTo>
                  <a:lnTo>
                    <a:pt x="654" y="210"/>
                  </a:lnTo>
                  <a:lnTo>
                    <a:pt x="654" y="216"/>
                  </a:lnTo>
                  <a:lnTo>
                    <a:pt x="648" y="246"/>
                  </a:lnTo>
                  <a:lnTo>
                    <a:pt x="660" y="246"/>
                  </a:lnTo>
                  <a:lnTo>
                    <a:pt x="666" y="234"/>
                  </a:lnTo>
                  <a:lnTo>
                    <a:pt x="678" y="240"/>
                  </a:lnTo>
                  <a:lnTo>
                    <a:pt x="684" y="228"/>
                  </a:lnTo>
                  <a:lnTo>
                    <a:pt x="690" y="210"/>
                  </a:lnTo>
                  <a:lnTo>
                    <a:pt x="696" y="204"/>
                  </a:lnTo>
                  <a:lnTo>
                    <a:pt x="702" y="204"/>
                  </a:lnTo>
                  <a:lnTo>
                    <a:pt x="708" y="192"/>
                  </a:lnTo>
                  <a:lnTo>
                    <a:pt x="714" y="192"/>
                  </a:lnTo>
                  <a:lnTo>
                    <a:pt x="714" y="186"/>
                  </a:lnTo>
                  <a:lnTo>
                    <a:pt x="726" y="186"/>
                  </a:lnTo>
                  <a:lnTo>
                    <a:pt x="732" y="186"/>
                  </a:lnTo>
                  <a:lnTo>
                    <a:pt x="738" y="186"/>
                  </a:lnTo>
                  <a:lnTo>
                    <a:pt x="744" y="216"/>
                  </a:lnTo>
                  <a:lnTo>
                    <a:pt x="750" y="210"/>
                  </a:lnTo>
                  <a:lnTo>
                    <a:pt x="750" y="204"/>
                  </a:lnTo>
                  <a:lnTo>
                    <a:pt x="756" y="192"/>
                  </a:lnTo>
                  <a:lnTo>
                    <a:pt x="762" y="192"/>
                  </a:lnTo>
                  <a:lnTo>
                    <a:pt x="768" y="192"/>
                  </a:lnTo>
                  <a:lnTo>
                    <a:pt x="780" y="186"/>
                  </a:lnTo>
                  <a:lnTo>
                    <a:pt x="786" y="204"/>
                  </a:lnTo>
                  <a:lnTo>
                    <a:pt x="774" y="210"/>
                  </a:lnTo>
                  <a:lnTo>
                    <a:pt x="774" y="234"/>
                  </a:lnTo>
                  <a:lnTo>
                    <a:pt x="780" y="246"/>
                  </a:lnTo>
                  <a:lnTo>
                    <a:pt x="804" y="264"/>
                  </a:lnTo>
                  <a:lnTo>
                    <a:pt x="816" y="276"/>
                  </a:lnTo>
                  <a:lnTo>
                    <a:pt x="822" y="288"/>
                  </a:lnTo>
                  <a:lnTo>
                    <a:pt x="822" y="312"/>
                  </a:lnTo>
                  <a:lnTo>
                    <a:pt x="816" y="312"/>
                  </a:lnTo>
                  <a:lnTo>
                    <a:pt x="810" y="318"/>
                  </a:lnTo>
                  <a:lnTo>
                    <a:pt x="810" y="348"/>
                  </a:lnTo>
                  <a:lnTo>
                    <a:pt x="816" y="348"/>
                  </a:lnTo>
                  <a:lnTo>
                    <a:pt x="816" y="342"/>
                  </a:lnTo>
                  <a:lnTo>
                    <a:pt x="834" y="342"/>
                  </a:lnTo>
                  <a:lnTo>
                    <a:pt x="834" y="348"/>
                  </a:lnTo>
                  <a:lnTo>
                    <a:pt x="846" y="348"/>
                  </a:lnTo>
                  <a:lnTo>
                    <a:pt x="846" y="342"/>
                  </a:lnTo>
                  <a:lnTo>
                    <a:pt x="882" y="342"/>
                  </a:lnTo>
                  <a:lnTo>
                    <a:pt x="894" y="366"/>
                  </a:lnTo>
                  <a:lnTo>
                    <a:pt x="900" y="372"/>
                  </a:lnTo>
                  <a:lnTo>
                    <a:pt x="906" y="384"/>
                  </a:lnTo>
                  <a:lnTo>
                    <a:pt x="924" y="384"/>
                  </a:lnTo>
                  <a:lnTo>
                    <a:pt x="930" y="372"/>
                  </a:lnTo>
                  <a:lnTo>
                    <a:pt x="936" y="372"/>
                  </a:lnTo>
                  <a:lnTo>
                    <a:pt x="942" y="348"/>
                  </a:lnTo>
                  <a:lnTo>
                    <a:pt x="954" y="348"/>
                  </a:lnTo>
                  <a:lnTo>
                    <a:pt x="954" y="342"/>
                  </a:lnTo>
                  <a:lnTo>
                    <a:pt x="984" y="342"/>
                  </a:lnTo>
                  <a:lnTo>
                    <a:pt x="978" y="390"/>
                  </a:lnTo>
                  <a:lnTo>
                    <a:pt x="984" y="390"/>
                  </a:lnTo>
                  <a:lnTo>
                    <a:pt x="990" y="396"/>
                  </a:lnTo>
                  <a:lnTo>
                    <a:pt x="996" y="396"/>
                  </a:lnTo>
                  <a:lnTo>
                    <a:pt x="1002" y="396"/>
                  </a:lnTo>
                  <a:lnTo>
                    <a:pt x="1002" y="408"/>
                  </a:lnTo>
                  <a:lnTo>
                    <a:pt x="990" y="414"/>
                  </a:lnTo>
                  <a:lnTo>
                    <a:pt x="984" y="426"/>
                  </a:lnTo>
                  <a:lnTo>
                    <a:pt x="990" y="444"/>
                  </a:lnTo>
                  <a:lnTo>
                    <a:pt x="996" y="450"/>
                  </a:lnTo>
                  <a:lnTo>
                    <a:pt x="990" y="462"/>
                  </a:lnTo>
                  <a:lnTo>
                    <a:pt x="990" y="468"/>
                  </a:lnTo>
                  <a:lnTo>
                    <a:pt x="984" y="480"/>
                  </a:lnTo>
                  <a:lnTo>
                    <a:pt x="978" y="486"/>
                  </a:lnTo>
                  <a:lnTo>
                    <a:pt x="972" y="486"/>
                  </a:lnTo>
                  <a:lnTo>
                    <a:pt x="966" y="492"/>
                  </a:lnTo>
                  <a:lnTo>
                    <a:pt x="966" y="498"/>
                  </a:lnTo>
                  <a:lnTo>
                    <a:pt x="954" y="510"/>
                  </a:lnTo>
                  <a:lnTo>
                    <a:pt x="948" y="510"/>
                  </a:lnTo>
                  <a:lnTo>
                    <a:pt x="942" y="516"/>
                  </a:lnTo>
                  <a:lnTo>
                    <a:pt x="936" y="528"/>
                  </a:lnTo>
                  <a:lnTo>
                    <a:pt x="936" y="534"/>
                  </a:lnTo>
                  <a:lnTo>
                    <a:pt x="936" y="546"/>
                  </a:lnTo>
                  <a:lnTo>
                    <a:pt x="936" y="558"/>
                  </a:lnTo>
                  <a:lnTo>
                    <a:pt x="948" y="558"/>
                  </a:lnTo>
                  <a:lnTo>
                    <a:pt x="954" y="558"/>
                  </a:lnTo>
                  <a:lnTo>
                    <a:pt x="996" y="558"/>
                  </a:lnTo>
                  <a:lnTo>
                    <a:pt x="1002" y="570"/>
                  </a:lnTo>
                  <a:lnTo>
                    <a:pt x="996" y="576"/>
                  </a:lnTo>
                  <a:lnTo>
                    <a:pt x="996" y="588"/>
                  </a:lnTo>
                  <a:lnTo>
                    <a:pt x="984" y="588"/>
                  </a:lnTo>
                  <a:lnTo>
                    <a:pt x="990" y="612"/>
                  </a:lnTo>
                  <a:lnTo>
                    <a:pt x="1014" y="606"/>
                  </a:lnTo>
                  <a:lnTo>
                    <a:pt x="1014" y="636"/>
                  </a:lnTo>
                  <a:lnTo>
                    <a:pt x="1014" y="648"/>
                  </a:lnTo>
                  <a:lnTo>
                    <a:pt x="1020" y="648"/>
                  </a:lnTo>
                  <a:lnTo>
                    <a:pt x="1026" y="660"/>
                  </a:lnTo>
                  <a:lnTo>
                    <a:pt x="1038" y="654"/>
                  </a:lnTo>
                  <a:lnTo>
                    <a:pt x="1050" y="654"/>
                  </a:lnTo>
                  <a:lnTo>
                    <a:pt x="1062" y="654"/>
                  </a:lnTo>
                  <a:lnTo>
                    <a:pt x="1068" y="660"/>
                  </a:lnTo>
                  <a:lnTo>
                    <a:pt x="1068" y="678"/>
                  </a:lnTo>
                  <a:lnTo>
                    <a:pt x="1068" y="684"/>
                  </a:lnTo>
                  <a:lnTo>
                    <a:pt x="1062" y="690"/>
                  </a:lnTo>
                  <a:lnTo>
                    <a:pt x="1056" y="696"/>
                  </a:lnTo>
                  <a:lnTo>
                    <a:pt x="1056" y="702"/>
                  </a:lnTo>
                  <a:lnTo>
                    <a:pt x="1038" y="714"/>
                  </a:lnTo>
                  <a:lnTo>
                    <a:pt x="1026" y="720"/>
                  </a:lnTo>
                  <a:lnTo>
                    <a:pt x="1008" y="726"/>
                  </a:lnTo>
                  <a:lnTo>
                    <a:pt x="1008" y="732"/>
                  </a:lnTo>
                  <a:lnTo>
                    <a:pt x="990" y="732"/>
                  </a:lnTo>
                  <a:lnTo>
                    <a:pt x="984" y="744"/>
                  </a:lnTo>
                  <a:lnTo>
                    <a:pt x="990" y="750"/>
                  </a:lnTo>
                  <a:lnTo>
                    <a:pt x="984" y="762"/>
                  </a:lnTo>
                  <a:lnTo>
                    <a:pt x="984" y="768"/>
                  </a:lnTo>
                  <a:lnTo>
                    <a:pt x="984" y="774"/>
                  </a:lnTo>
                  <a:lnTo>
                    <a:pt x="984" y="780"/>
                  </a:lnTo>
                  <a:lnTo>
                    <a:pt x="984" y="786"/>
                  </a:lnTo>
                  <a:lnTo>
                    <a:pt x="984" y="792"/>
                  </a:lnTo>
                  <a:lnTo>
                    <a:pt x="978" y="798"/>
                  </a:lnTo>
                  <a:lnTo>
                    <a:pt x="978" y="80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3" name="Freeform 38">
              <a:extLst>
                <a:ext uri="{FF2B5EF4-FFF2-40B4-BE49-F238E27FC236}">
                  <a16:creationId xmlns:a16="http://schemas.microsoft.com/office/drawing/2014/main" id="{819B99CE-D972-4530-8964-A992C1EC87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2825" y="1634436"/>
              <a:ext cx="959326" cy="959458"/>
            </a:xfrm>
            <a:custGeom>
              <a:avLst/>
              <a:gdLst>
                <a:gd name="T0" fmla="*/ 105 w 1806"/>
                <a:gd name="T1" fmla="*/ 155 h 1806"/>
                <a:gd name="T2" fmla="*/ 103 w 1806"/>
                <a:gd name="T3" fmla="*/ 155 h 1806"/>
                <a:gd name="T4" fmla="*/ 103 w 1806"/>
                <a:gd name="T5" fmla="*/ 150 h 1806"/>
                <a:gd name="T6" fmla="*/ 104 w 1806"/>
                <a:gd name="T7" fmla="*/ 141 h 1806"/>
                <a:gd name="T8" fmla="*/ 104 w 1806"/>
                <a:gd name="T9" fmla="*/ 136 h 1806"/>
                <a:gd name="T10" fmla="*/ 100 w 1806"/>
                <a:gd name="T11" fmla="*/ 131 h 1806"/>
                <a:gd name="T12" fmla="*/ 96 w 1806"/>
                <a:gd name="T13" fmla="*/ 127 h 1806"/>
                <a:gd name="T14" fmla="*/ 91 w 1806"/>
                <a:gd name="T15" fmla="*/ 121 h 1806"/>
                <a:gd name="T16" fmla="*/ 87 w 1806"/>
                <a:gd name="T17" fmla="*/ 120 h 1806"/>
                <a:gd name="T18" fmla="*/ 81 w 1806"/>
                <a:gd name="T19" fmla="*/ 117 h 1806"/>
                <a:gd name="T20" fmla="*/ 65 w 1806"/>
                <a:gd name="T21" fmla="*/ 113 h 1806"/>
                <a:gd name="T22" fmla="*/ 69 w 1806"/>
                <a:gd name="T23" fmla="*/ 105 h 1806"/>
                <a:gd name="T24" fmla="*/ 66 w 1806"/>
                <a:gd name="T25" fmla="*/ 89 h 1806"/>
                <a:gd name="T26" fmla="*/ 63 w 1806"/>
                <a:gd name="T27" fmla="*/ 84 h 1806"/>
                <a:gd name="T28" fmla="*/ 62 w 1806"/>
                <a:gd name="T29" fmla="*/ 74 h 1806"/>
                <a:gd name="T30" fmla="*/ 58 w 1806"/>
                <a:gd name="T31" fmla="*/ 52 h 1806"/>
                <a:gd name="T32" fmla="*/ 53 w 1806"/>
                <a:gd name="T33" fmla="*/ 49 h 1806"/>
                <a:gd name="T34" fmla="*/ 51 w 1806"/>
                <a:gd name="T35" fmla="*/ 36 h 1806"/>
                <a:gd name="T36" fmla="*/ 43 w 1806"/>
                <a:gd name="T37" fmla="*/ 32 h 1806"/>
                <a:gd name="T38" fmla="*/ 33 w 1806"/>
                <a:gd name="T39" fmla="*/ 30 h 1806"/>
                <a:gd name="T40" fmla="*/ 30 w 1806"/>
                <a:gd name="T41" fmla="*/ 21 h 1806"/>
                <a:gd name="T42" fmla="*/ 17 w 1806"/>
                <a:gd name="T43" fmla="*/ 25 h 1806"/>
                <a:gd name="T44" fmla="*/ 4 w 1806"/>
                <a:gd name="T45" fmla="*/ 33 h 1806"/>
                <a:gd name="T46" fmla="*/ 7 w 1806"/>
                <a:gd name="T47" fmla="*/ 26 h 1806"/>
                <a:gd name="T48" fmla="*/ 11 w 1806"/>
                <a:gd name="T49" fmla="*/ 20 h 1806"/>
                <a:gd name="T50" fmla="*/ 18 w 1806"/>
                <a:gd name="T51" fmla="*/ 12 h 1806"/>
                <a:gd name="T52" fmla="*/ 26 w 1806"/>
                <a:gd name="T53" fmla="*/ 8 h 1806"/>
                <a:gd name="T54" fmla="*/ 35 w 1806"/>
                <a:gd name="T55" fmla="*/ 6 h 1806"/>
                <a:gd name="T56" fmla="*/ 44 w 1806"/>
                <a:gd name="T57" fmla="*/ 5 h 1806"/>
                <a:gd name="T58" fmla="*/ 54 w 1806"/>
                <a:gd name="T59" fmla="*/ 2 h 1806"/>
                <a:gd name="T60" fmla="*/ 65 w 1806"/>
                <a:gd name="T61" fmla="*/ 0 h 1806"/>
                <a:gd name="T62" fmla="*/ 76 w 1806"/>
                <a:gd name="T63" fmla="*/ 0 h 1806"/>
                <a:gd name="T64" fmla="*/ 85 w 1806"/>
                <a:gd name="T65" fmla="*/ 0 h 1806"/>
                <a:gd name="T66" fmla="*/ 97 w 1806"/>
                <a:gd name="T67" fmla="*/ 0 h 1806"/>
                <a:gd name="T68" fmla="*/ 108 w 1806"/>
                <a:gd name="T69" fmla="*/ 3 h 1806"/>
                <a:gd name="T70" fmla="*/ 115 w 1806"/>
                <a:gd name="T71" fmla="*/ 5 h 1806"/>
                <a:gd name="T72" fmla="*/ 123 w 1806"/>
                <a:gd name="T73" fmla="*/ 7 h 1806"/>
                <a:gd name="T74" fmla="*/ 133 w 1806"/>
                <a:gd name="T75" fmla="*/ 14 h 1806"/>
                <a:gd name="T76" fmla="*/ 138 w 1806"/>
                <a:gd name="T77" fmla="*/ 16 h 1806"/>
                <a:gd name="T78" fmla="*/ 140 w 1806"/>
                <a:gd name="T79" fmla="*/ 14 h 1806"/>
                <a:gd name="T80" fmla="*/ 145 w 1806"/>
                <a:gd name="T81" fmla="*/ 16 h 1806"/>
                <a:gd name="T82" fmla="*/ 147 w 1806"/>
                <a:gd name="T83" fmla="*/ 16 h 1806"/>
                <a:gd name="T84" fmla="*/ 150 w 1806"/>
                <a:gd name="T85" fmla="*/ 17 h 1806"/>
                <a:gd name="T86" fmla="*/ 152 w 1806"/>
                <a:gd name="T87" fmla="*/ 18 h 1806"/>
                <a:gd name="T88" fmla="*/ 155 w 1806"/>
                <a:gd name="T89" fmla="*/ 37 h 1806"/>
                <a:gd name="T90" fmla="*/ 146 w 1806"/>
                <a:gd name="T91" fmla="*/ 66 h 1806"/>
                <a:gd name="T92" fmla="*/ 143 w 1806"/>
                <a:gd name="T93" fmla="*/ 88 h 1806"/>
                <a:gd name="T94" fmla="*/ 144 w 1806"/>
                <a:gd name="T95" fmla="*/ 98 h 1806"/>
                <a:gd name="T96" fmla="*/ 137 w 1806"/>
                <a:gd name="T97" fmla="*/ 118 h 1806"/>
                <a:gd name="T98" fmla="*/ 132 w 1806"/>
                <a:gd name="T99" fmla="*/ 129 h 1806"/>
                <a:gd name="T100" fmla="*/ 124 w 1806"/>
                <a:gd name="T101" fmla="*/ 135 h 1806"/>
                <a:gd name="T102" fmla="*/ 119 w 1806"/>
                <a:gd name="T103" fmla="*/ 136 h 1806"/>
                <a:gd name="T104" fmla="*/ 116 w 1806"/>
                <a:gd name="T105" fmla="*/ 137 h 1806"/>
                <a:gd name="T106" fmla="*/ 112 w 1806"/>
                <a:gd name="T107" fmla="*/ 139 h 1806"/>
                <a:gd name="T108" fmla="*/ 112 w 1806"/>
                <a:gd name="T109" fmla="*/ 141 h 1806"/>
                <a:gd name="T110" fmla="*/ 116 w 1806"/>
                <a:gd name="T111" fmla="*/ 146 h 1806"/>
                <a:gd name="T112" fmla="*/ 116 w 1806"/>
                <a:gd name="T113" fmla="*/ 151 h 1806"/>
                <a:gd name="T114" fmla="*/ 113 w 1806"/>
                <a:gd name="T115" fmla="*/ 153 h 18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6"/>
                <a:gd name="T175" fmla="*/ 0 h 1806"/>
                <a:gd name="T176" fmla="*/ 1806 w 1806"/>
                <a:gd name="T177" fmla="*/ 1806 h 18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6" h="1806">
                  <a:moveTo>
                    <a:pt x="1260" y="1776"/>
                  </a:moveTo>
                  <a:lnTo>
                    <a:pt x="1254" y="1776"/>
                  </a:lnTo>
                  <a:lnTo>
                    <a:pt x="1248" y="1776"/>
                  </a:lnTo>
                  <a:lnTo>
                    <a:pt x="1242" y="1782"/>
                  </a:lnTo>
                  <a:lnTo>
                    <a:pt x="1236" y="1782"/>
                  </a:lnTo>
                  <a:lnTo>
                    <a:pt x="1230" y="1788"/>
                  </a:lnTo>
                  <a:lnTo>
                    <a:pt x="1224" y="1782"/>
                  </a:lnTo>
                  <a:lnTo>
                    <a:pt x="1218" y="1782"/>
                  </a:lnTo>
                  <a:lnTo>
                    <a:pt x="1218" y="1788"/>
                  </a:lnTo>
                  <a:lnTo>
                    <a:pt x="1212" y="1788"/>
                  </a:lnTo>
                  <a:lnTo>
                    <a:pt x="1206" y="1788"/>
                  </a:lnTo>
                  <a:lnTo>
                    <a:pt x="1206" y="1794"/>
                  </a:lnTo>
                  <a:lnTo>
                    <a:pt x="1200" y="1806"/>
                  </a:lnTo>
                  <a:lnTo>
                    <a:pt x="1194" y="1800"/>
                  </a:lnTo>
                  <a:lnTo>
                    <a:pt x="1194" y="1794"/>
                  </a:lnTo>
                  <a:lnTo>
                    <a:pt x="1194" y="1788"/>
                  </a:lnTo>
                  <a:lnTo>
                    <a:pt x="1188" y="1788"/>
                  </a:lnTo>
                  <a:lnTo>
                    <a:pt x="1188" y="1782"/>
                  </a:lnTo>
                  <a:lnTo>
                    <a:pt x="1188" y="1776"/>
                  </a:lnTo>
                  <a:lnTo>
                    <a:pt x="1194" y="1770"/>
                  </a:lnTo>
                  <a:lnTo>
                    <a:pt x="1194" y="1764"/>
                  </a:lnTo>
                  <a:lnTo>
                    <a:pt x="1194" y="1758"/>
                  </a:lnTo>
                  <a:lnTo>
                    <a:pt x="1194" y="1752"/>
                  </a:lnTo>
                  <a:lnTo>
                    <a:pt x="1200" y="1746"/>
                  </a:lnTo>
                  <a:lnTo>
                    <a:pt x="1200" y="1740"/>
                  </a:lnTo>
                  <a:lnTo>
                    <a:pt x="1200" y="1734"/>
                  </a:lnTo>
                  <a:lnTo>
                    <a:pt x="1188" y="1722"/>
                  </a:lnTo>
                  <a:lnTo>
                    <a:pt x="1188" y="1716"/>
                  </a:lnTo>
                  <a:lnTo>
                    <a:pt x="1194" y="1704"/>
                  </a:lnTo>
                  <a:lnTo>
                    <a:pt x="1194" y="1692"/>
                  </a:lnTo>
                  <a:lnTo>
                    <a:pt x="1200" y="1680"/>
                  </a:lnTo>
                  <a:lnTo>
                    <a:pt x="1200" y="1662"/>
                  </a:lnTo>
                  <a:lnTo>
                    <a:pt x="1200" y="1650"/>
                  </a:lnTo>
                  <a:lnTo>
                    <a:pt x="1206" y="1644"/>
                  </a:lnTo>
                  <a:lnTo>
                    <a:pt x="1206" y="1638"/>
                  </a:lnTo>
                  <a:lnTo>
                    <a:pt x="1206" y="1626"/>
                  </a:lnTo>
                  <a:lnTo>
                    <a:pt x="1206" y="1620"/>
                  </a:lnTo>
                  <a:lnTo>
                    <a:pt x="1206" y="1614"/>
                  </a:lnTo>
                  <a:lnTo>
                    <a:pt x="1200" y="1608"/>
                  </a:lnTo>
                  <a:lnTo>
                    <a:pt x="1200" y="1602"/>
                  </a:lnTo>
                  <a:lnTo>
                    <a:pt x="1200" y="1596"/>
                  </a:lnTo>
                  <a:lnTo>
                    <a:pt x="1200" y="1590"/>
                  </a:lnTo>
                  <a:lnTo>
                    <a:pt x="1200" y="1572"/>
                  </a:lnTo>
                  <a:lnTo>
                    <a:pt x="1200" y="1566"/>
                  </a:lnTo>
                  <a:lnTo>
                    <a:pt x="1200" y="1560"/>
                  </a:lnTo>
                  <a:lnTo>
                    <a:pt x="1194" y="1554"/>
                  </a:lnTo>
                  <a:lnTo>
                    <a:pt x="1188" y="1548"/>
                  </a:lnTo>
                  <a:lnTo>
                    <a:pt x="1188" y="1542"/>
                  </a:lnTo>
                  <a:lnTo>
                    <a:pt x="1176" y="1536"/>
                  </a:lnTo>
                  <a:lnTo>
                    <a:pt x="1176" y="1530"/>
                  </a:lnTo>
                  <a:lnTo>
                    <a:pt x="1170" y="1524"/>
                  </a:lnTo>
                  <a:lnTo>
                    <a:pt x="1170" y="1518"/>
                  </a:lnTo>
                  <a:lnTo>
                    <a:pt x="1164" y="1512"/>
                  </a:lnTo>
                  <a:lnTo>
                    <a:pt x="1158" y="1506"/>
                  </a:lnTo>
                  <a:lnTo>
                    <a:pt x="1152" y="1500"/>
                  </a:lnTo>
                  <a:lnTo>
                    <a:pt x="1146" y="1494"/>
                  </a:lnTo>
                  <a:lnTo>
                    <a:pt x="1140" y="1488"/>
                  </a:lnTo>
                  <a:lnTo>
                    <a:pt x="1134" y="1482"/>
                  </a:lnTo>
                  <a:lnTo>
                    <a:pt x="1128" y="1476"/>
                  </a:lnTo>
                  <a:lnTo>
                    <a:pt x="1122" y="1470"/>
                  </a:lnTo>
                  <a:lnTo>
                    <a:pt x="1116" y="1464"/>
                  </a:lnTo>
                  <a:lnTo>
                    <a:pt x="1110" y="1464"/>
                  </a:lnTo>
                  <a:lnTo>
                    <a:pt x="1104" y="1458"/>
                  </a:lnTo>
                  <a:lnTo>
                    <a:pt x="1098" y="1464"/>
                  </a:lnTo>
                  <a:lnTo>
                    <a:pt x="1092" y="1464"/>
                  </a:lnTo>
                  <a:lnTo>
                    <a:pt x="1086" y="1446"/>
                  </a:lnTo>
                  <a:lnTo>
                    <a:pt x="1086" y="1440"/>
                  </a:lnTo>
                  <a:lnTo>
                    <a:pt x="1080" y="1416"/>
                  </a:lnTo>
                  <a:lnTo>
                    <a:pt x="1068" y="1404"/>
                  </a:lnTo>
                  <a:lnTo>
                    <a:pt x="1062" y="1398"/>
                  </a:lnTo>
                  <a:lnTo>
                    <a:pt x="1056" y="1398"/>
                  </a:lnTo>
                  <a:lnTo>
                    <a:pt x="1050" y="1398"/>
                  </a:lnTo>
                  <a:lnTo>
                    <a:pt x="1044" y="1398"/>
                  </a:lnTo>
                  <a:lnTo>
                    <a:pt x="1044" y="1392"/>
                  </a:lnTo>
                  <a:lnTo>
                    <a:pt x="1038" y="1392"/>
                  </a:lnTo>
                  <a:lnTo>
                    <a:pt x="1032" y="1392"/>
                  </a:lnTo>
                  <a:lnTo>
                    <a:pt x="1020" y="1386"/>
                  </a:lnTo>
                  <a:lnTo>
                    <a:pt x="1014" y="1386"/>
                  </a:lnTo>
                  <a:lnTo>
                    <a:pt x="1014" y="1380"/>
                  </a:lnTo>
                  <a:lnTo>
                    <a:pt x="1008" y="1380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62"/>
                  </a:lnTo>
                  <a:lnTo>
                    <a:pt x="984" y="1356"/>
                  </a:lnTo>
                  <a:lnTo>
                    <a:pt x="978" y="1356"/>
                  </a:lnTo>
                  <a:lnTo>
                    <a:pt x="972" y="1356"/>
                  </a:lnTo>
                  <a:lnTo>
                    <a:pt x="966" y="1356"/>
                  </a:lnTo>
                  <a:lnTo>
                    <a:pt x="966" y="1350"/>
                  </a:lnTo>
                  <a:lnTo>
                    <a:pt x="948" y="1350"/>
                  </a:lnTo>
                  <a:lnTo>
                    <a:pt x="936" y="1344"/>
                  </a:lnTo>
                  <a:lnTo>
                    <a:pt x="930" y="1338"/>
                  </a:lnTo>
                  <a:lnTo>
                    <a:pt x="918" y="1332"/>
                  </a:lnTo>
                  <a:lnTo>
                    <a:pt x="900" y="1326"/>
                  </a:lnTo>
                  <a:lnTo>
                    <a:pt x="864" y="1332"/>
                  </a:lnTo>
                  <a:lnTo>
                    <a:pt x="828" y="1332"/>
                  </a:lnTo>
                  <a:lnTo>
                    <a:pt x="792" y="1314"/>
                  </a:lnTo>
                  <a:lnTo>
                    <a:pt x="780" y="1314"/>
                  </a:lnTo>
                  <a:lnTo>
                    <a:pt x="780" y="1308"/>
                  </a:lnTo>
                  <a:lnTo>
                    <a:pt x="756" y="1296"/>
                  </a:lnTo>
                  <a:lnTo>
                    <a:pt x="756" y="1278"/>
                  </a:lnTo>
                  <a:lnTo>
                    <a:pt x="768" y="1278"/>
                  </a:lnTo>
                  <a:lnTo>
                    <a:pt x="774" y="1272"/>
                  </a:lnTo>
                  <a:lnTo>
                    <a:pt x="780" y="1266"/>
                  </a:lnTo>
                  <a:lnTo>
                    <a:pt x="786" y="1260"/>
                  </a:lnTo>
                  <a:lnTo>
                    <a:pt x="792" y="1254"/>
                  </a:lnTo>
                  <a:lnTo>
                    <a:pt x="798" y="1242"/>
                  </a:lnTo>
                  <a:lnTo>
                    <a:pt x="804" y="1242"/>
                  </a:lnTo>
                  <a:lnTo>
                    <a:pt x="804" y="1206"/>
                  </a:lnTo>
                  <a:lnTo>
                    <a:pt x="804" y="1182"/>
                  </a:lnTo>
                  <a:lnTo>
                    <a:pt x="804" y="1158"/>
                  </a:lnTo>
                  <a:lnTo>
                    <a:pt x="804" y="1134"/>
                  </a:lnTo>
                  <a:lnTo>
                    <a:pt x="798" y="1116"/>
                  </a:lnTo>
                  <a:lnTo>
                    <a:pt x="792" y="1092"/>
                  </a:lnTo>
                  <a:lnTo>
                    <a:pt x="786" y="1062"/>
                  </a:lnTo>
                  <a:lnTo>
                    <a:pt x="768" y="1032"/>
                  </a:lnTo>
                  <a:lnTo>
                    <a:pt x="762" y="1032"/>
                  </a:lnTo>
                  <a:lnTo>
                    <a:pt x="762" y="1020"/>
                  </a:lnTo>
                  <a:lnTo>
                    <a:pt x="762" y="1014"/>
                  </a:lnTo>
                  <a:lnTo>
                    <a:pt x="756" y="1008"/>
                  </a:lnTo>
                  <a:lnTo>
                    <a:pt x="750" y="1002"/>
                  </a:lnTo>
                  <a:lnTo>
                    <a:pt x="738" y="1002"/>
                  </a:lnTo>
                  <a:lnTo>
                    <a:pt x="738" y="990"/>
                  </a:lnTo>
                  <a:lnTo>
                    <a:pt x="726" y="990"/>
                  </a:lnTo>
                  <a:lnTo>
                    <a:pt x="726" y="978"/>
                  </a:lnTo>
                  <a:lnTo>
                    <a:pt x="732" y="972"/>
                  </a:lnTo>
                  <a:lnTo>
                    <a:pt x="732" y="966"/>
                  </a:lnTo>
                  <a:lnTo>
                    <a:pt x="726" y="966"/>
                  </a:lnTo>
                  <a:lnTo>
                    <a:pt x="732" y="948"/>
                  </a:lnTo>
                  <a:lnTo>
                    <a:pt x="726" y="942"/>
                  </a:lnTo>
                  <a:lnTo>
                    <a:pt x="726" y="930"/>
                  </a:lnTo>
                  <a:lnTo>
                    <a:pt x="720" y="924"/>
                  </a:lnTo>
                  <a:lnTo>
                    <a:pt x="714" y="912"/>
                  </a:lnTo>
                  <a:lnTo>
                    <a:pt x="714" y="882"/>
                  </a:lnTo>
                  <a:lnTo>
                    <a:pt x="714" y="870"/>
                  </a:lnTo>
                  <a:lnTo>
                    <a:pt x="714" y="858"/>
                  </a:lnTo>
                  <a:lnTo>
                    <a:pt x="714" y="846"/>
                  </a:lnTo>
                  <a:lnTo>
                    <a:pt x="708" y="822"/>
                  </a:lnTo>
                  <a:lnTo>
                    <a:pt x="702" y="798"/>
                  </a:lnTo>
                  <a:lnTo>
                    <a:pt x="696" y="792"/>
                  </a:lnTo>
                  <a:lnTo>
                    <a:pt x="684" y="726"/>
                  </a:lnTo>
                  <a:lnTo>
                    <a:pt x="678" y="666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66" y="600"/>
                  </a:lnTo>
                  <a:lnTo>
                    <a:pt x="660" y="594"/>
                  </a:lnTo>
                  <a:lnTo>
                    <a:pt x="654" y="594"/>
                  </a:lnTo>
                  <a:lnTo>
                    <a:pt x="636" y="582"/>
                  </a:lnTo>
                  <a:lnTo>
                    <a:pt x="630" y="576"/>
                  </a:lnTo>
                  <a:lnTo>
                    <a:pt x="624" y="576"/>
                  </a:lnTo>
                  <a:lnTo>
                    <a:pt x="618" y="570"/>
                  </a:lnTo>
                  <a:lnTo>
                    <a:pt x="612" y="564"/>
                  </a:lnTo>
                  <a:lnTo>
                    <a:pt x="606" y="558"/>
                  </a:lnTo>
                  <a:lnTo>
                    <a:pt x="606" y="564"/>
                  </a:lnTo>
                  <a:lnTo>
                    <a:pt x="600" y="564"/>
                  </a:lnTo>
                  <a:lnTo>
                    <a:pt x="594" y="558"/>
                  </a:lnTo>
                  <a:lnTo>
                    <a:pt x="594" y="540"/>
                  </a:lnTo>
                  <a:lnTo>
                    <a:pt x="594" y="528"/>
                  </a:lnTo>
                  <a:lnTo>
                    <a:pt x="594" y="516"/>
                  </a:lnTo>
                  <a:lnTo>
                    <a:pt x="594" y="510"/>
                  </a:lnTo>
                  <a:lnTo>
                    <a:pt x="594" y="492"/>
                  </a:lnTo>
                  <a:lnTo>
                    <a:pt x="594" y="456"/>
                  </a:lnTo>
                  <a:lnTo>
                    <a:pt x="588" y="414"/>
                  </a:lnTo>
                  <a:lnTo>
                    <a:pt x="588" y="408"/>
                  </a:lnTo>
                  <a:lnTo>
                    <a:pt x="582" y="396"/>
                  </a:lnTo>
                  <a:lnTo>
                    <a:pt x="582" y="384"/>
                  </a:lnTo>
                  <a:lnTo>
                    <a:pt x="582" y="372"/>
                  </a:lnTo>
                  <a:lnTo>
                    <a:pt x="564" y="372"/>
                  </a:lnTo>
                  <a:lnTo>
                    <a:pt x="552" y="366"/>
                  </a:lnTo>
                  <a:lnTo>
                    <a:pt x="552" y="372"/>
                  </a:lnTo>
                  <a:lnTo>
                    <a:pt x="498" y="372"/>
                  </a:lnTo>
                  <a:lnTo>
                    <a:pt x="498" y="366"/>
                  </a:lnTo>
                  <a:lnTo>
                    <a:pt x="474" y="360"/>
                  </a:lnTo>
                  <a:lnTo>
                    <a:pt x="456" y="354"/>
                  </a:lnTo>
                  <a:lnTo>
                    <a:pt x="438" y="348"/>
                  </a:lnTo>
                  <a:lnTo>
                    <a:pt x="426" y="354"/>
                  </a:lnTo>
                  <a:lnTo>
                    <a:pt x="408" y="360"/>
                  </a:lnTo>
                  <a:lnTo>
                    <a:pt x="378" y="360"/>
                  </a:lnTo>
                  <a:lnTo>
                    <a:pt x="378" y="354"/>
                  </a:lnTo>
                  <a:lnTo>
                    <a:pt x="378" y="348"/>
                  </a:lnTo>
                  <a:lnTo>
                    <a:pt x="378" y="342"/>
                  </a:lnTo>
                  <a:lnTo>
                    <a:pt x="390" y="330"/>
                  </a:lnTo>
                  <a:lnTo>
                    <a:pt x="396" y="312"/>
                  </a:lnTo>
                  <a:lnTo>
                    <a:pt x="396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8"/>
                  </a:lnTo>
                  <a:lnTo>
                    <a:pt x="372" y="234"/>
                  </a:lnTo>
                  <a:lnTo>
                    <a:pt x="354" y="234"/>
                  </a:lnTo>
                  <a:lnTo>
                    <a:pt x="342" y="246"/>
                  </a:lnTo>
                  <a:lnTo>
                    <a:pt x="330" y="252"/>
                  </a:lnTo>
                  <a:lnTo>
                    <a:pt x="318" y="252"/>
                  </a:lnTo>
                  <a:lnTo>
                    <a:pt x="276" y="258"/>
                  </a:lnTo>
                  <a:lnTo>
                    <a:pt x="276" y="264"/>
                  </a:lnTo>
                  <a:lnTo>
                    <a:pt x="252" y="270"/>
                  </a:lnTo>
                  <a:lnTo>
                    <a:pt x="240" y="270"/>
                  </a:lnTo>
                  <a:lnTo>
                    <a:pt x="228" y="276"/>
                  </a:lnTo>
                  <a:lnTo>
                    <a:pt x="210" y="282"/>
                  </a:lnTo>
                  <a:lnTo>
                    <a:pt x="198" y="288"/>
                  </a:lnTo>
                  <a:lnTo>
                    <a:pt x="186" y="294"/>
                  </a:lnTo>
                  <a:lnTo>
                    <a:pt x="174" y="330"/>
                  </a:lnTo>
                  <a:lnTo>
                    <a:pt x="162" y="342"/>
                  </a:lnTo>
                  <a:lnTo>
                    <a:pt x="156" y="354"/>
                  </a:lnTo>
                  <a:lnTo>
                    <a:pt x="150" y="360"/>
                  </a:lnTo>
                  <a:lnTo>
                    <a:pt x="150" y="366"/>
                  </a:lnTo>
                  <a:lnTo>
                    <a:pt x="108" y="372"/>
                  </a:lnTo>
                  <a:lnTo>
                    <a:pt x="60" y="378"/>
                  </a:lnTo>
                  <a:lnTo>
                    <a:pt x="42" y="378"/>
                  </a:lnTo>
                  <a:lnTo>
                    <a:pt x="12" y="378"/>
                  </a:lnTo>
                  <a:lnTo>
                    <a:pt x="6" y="378"/>
                  </a:lnTo>
                  <a:lnTo>
                    <a:pt x="0" y="366"/>
                  </a:lnTo>
                  <a:lnTo>
                    <a:pt x="12" y="360"/>
                  </a:lnTo>
                  <a:lnTo>
                    <a:pt x="24" y="348"/>
                  </a:lnTo>
                  <a:lnTo>
                    <a:pt x="30" y="342"/>
                  </a:lnTo>
                  <a:lnTo>
                    <a:pt x="36" y="330"/>
                  </a:lnTo>
                  <a:lnTo>
                    <a:pt x="72" y="300"/>
                  </a:lnTo>
                  <a:lnTo>
                    <a:pt x="78" y="294"/>
                  </a:lnTo>
                  <a:lnTo>
                    <a:pt x="78" y="288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96" y="270"/>
                  </a:lnTo>
                  <a:lnTo>
                    <a:pt x="102" y="264"/>
                  </a:lnTo>
                  <a:lnTo>
                    <a:pt x="108" y="258"/>
                  </a:lnTo>
                  <a:lnTo>
                    <a:pt x="114" y="246"/>
                  </a:lnTo>
                  <a:lnTo>
                    <a:pt x="120" y="240"/>
                  </a:lnTo>
                  <a:lnTo>
                    <a:pt x="126" y="234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0" y="210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86" y="174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22" y="138"/>
                  </a:lnTo>
                  <a:lnTo>
                    <a:pt x="234" y="132"/>
                  </a:lnTo>
                  <a:lnTo>
                    <a:pt x="246" y="126"/>
                  </a:lnTo>
                  <a:lnTo>
                    <a:pt x="246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88" y="102"/>
                  </a:lnTo>
                  <a:lnTo>
                    <a:pt x="300" y="96"/>
                  </a:lnTo>
                  <a:lnTo>
                    <a:pt x="306" y="90"/>
                  </a:lnTo>
                  <a:lnTo>
                    <a:pt x="318" y="90"/>
                  </a:lnTo>
                  <a:lnTo>
                    <a:pt x="324" y="84"/>
                  </a:lnTo>
                  <a:lnTo>
                    <a:pt x="348" y="72"/>
                  </a:lnTo>
                  <a:lnTo>
                    <a:pt x="354" y="72"/>
                  </a:lnTo>
                  <a:lnTo>
                    <a:pt x="384" y="66"/>
                  </a:lnTo>
                  <a:lnTo>
                    <a:pt x="390" y="66"/>
                  </a:lnTo>
                  <a:lnTo>
                    <a:pt x="396" y="66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66"/>
                  </a:lnTo>
                  <a:lnTo>
                    <a:pt x="438" y="66"/>
                  </a:lnTo>
                  <a:lnTo>
                    <a:pt x="468" y="66"/>
                  </a:lnTo>
                  <a:lnTo>
                    <a:pt x="480" y="66"/>
                  </a:lnTo>
                  <a:lnTo>
                    <a:pt x="486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22" y="60"/>
                  </a:lnTo>
                  <a:lnTo>
                    <a:pt x="534" y="54"/>
                  </a:lnTo>
                  <a:lnTo>
                    <a:pt x="564" y="42"/>
                  </a:lnTo>
                  <a:lnTo>
                    <a:pt x="570" y="42"/>
                  </a:lnTo>
                  <a:lnTo>
                    <a:pt x="582" y="36"/>
                  </a:lnTo>
                  <a:lnTo>
                    <a:pt x="588" y="36"/>
                  </a:lnTo>
                  <a:lnTo>
                    <a:pt x="600" y="30"/>
                  </a:lnTo>
                  <a:lnTo>
                    <a:pt x="606" y="30"/>
                  </a:lnTo>
                  <a:lnTo>
                    <a:pt x="618" y="24"/>
                  </a:lnTo>
                  <a:lnTo>
                    <a:pt x="642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72" y="12"/>
                  </a:lnTo>
                  <a:lnTo>
                    <a:pt x="696" y="12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50" y="6"/>
                  </a:lnTo>
                  <a:lnTo>
                    <a:pt x="768" y="6"/>
                  </a:lnTo>
                  <a:lnTo>
                    <a:pt x="774" y="6"/>
                  </a:lnTo>
                  <a:lnTo>
                    <a:pt x="786" y="6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6" y="6"/>
                  </a:lnTo>
                  <a:lnTo>
                    <a:pt x="846" y="6"/>
                  </a:lnTo>
                  <a:lnTo>
                    <a:pt x="852" y="0"/>
                  </a:lnTo>
                  <a:lnTo>
                    <a:pt x="876" y="0"/>
                  </a:lnTo>
                  <a:lnTo>
                    <a:pt x="876" y="6"/>
                  </a:lnTo>
                  <a:lnTo>
                    <a:pt x="888" y="0"/>
                  </a:lnTo>
                  <a:lnTo>
                    <a:pt x="900" y="0"/>
                  </a:lnTo>
                  <a:lnTo>
                    <a:pt x="906" y="0"/>
                  </a:lnTo>
                  <a:lnTo>
                    <a:pt x="912" y="0"/>
                  </a:lnTo>
                  <a:lnTo>
                    <a:pt x="948" y="0"/>
                  </a:lnTo>
                  <a:lnTo>
                    <a:pt x="954" y="0"/>
                  </a:lnTo>
                  <a:lnTo>
                    <a:pt x="972" y="0"/>
                  </a:lnTo>
                  <a:lnTo>
                    <a:pt x="978" y="0"/>
                  </a:lnTo>
                  <a:lnTo>
                    <a:pt x="996" y="0"/>
                  </a:lnTo>
                  <a:lnTo>
                    <a:pt x="1032" y="0"/>
                  </a:lnTo>
                  <a:lnTo>
                    <a:pt x="1044" y="0"/>
                  </a:lnTo>
                  <a:lnTo>
                    <a:pt x="1050" y="0"/>
                  </a:lnTo>
                  <a:lnTo>
                    <a:pt x="1056" y="6"/>
                  </a:lnTo>
                  <a:lnTo>
                    <a:pt x="1056" y="0"/>
                  </a:lnTo>
                  <a:lnTo>
                    <a:pt x="1074" y="0"/>
                  </a:lnTo>
                  <a:lnTo>
                    <a:pt x="1098" y="6"/>
                  </a:lnTo>
                  <a:lnTo>
                    <a:pt x="1116" y="6"/>
                  </a:lnTo>
                  <a:lnTo>
                    <a:pt x="1140" y="12"/>
                  </a:lnTo>
                  <a:lnTo>
                    <a:pt x="1152" y="12"/>
                  </a:lnTo>
                  <a:lnTo>
                    <a:pt x="1158" y="12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6" y="12"/>
                  </a:lnTo>
                  <a:lnTo>
                    <a:pt x="1194" y="18"/>
                  </a:lnTo>
                  <a:lnTo>
                    <a:pt x="1206" y="18"/>
                  </a:lnTo>
                  <a:lnTo>
                    <a:pt x="1242" y="36"/>
                  </a:lnTo>
                  <a:lnTo>
                    <a:pt x="1248" y="36"/>
                  </a:lnTo>
                  <a:lnTo>
                    <a:pt x="1254" y="36"/>
                  </a:lnTo>
                  <a:lnTo>
                    <a:pt x="1260" y="42"/>
                  </a:lnTo>
                  <a:lnTo>
                    <a:pt x="1272" y="48"/>
                  </a:lnTo>
                  <a:lnTo>
                    <a:pt x="1278" y="48"/>
                  </a:lnTo>
                  <a:lnTo>
                    <a:pt x="1284" y="48"/>
                  </a:lnTo>
                  <a:lnTo>
                    <a:pt x="1290" y="54"/>
                  </a:lnTo>
                  <a:lnTo>
                    <a:pt x="1308" y="60"/>
                  </a:lnTo>
                  <a:lnTo>
                    <a:pt x="1326" y="60"/>
                  </a:lnTo>
                  <a:lnTo>
                    <a:pt x="1338" y="66"/>
                  </a:lnTo>
                  <a:lnTo>
                    <a:pt x="1344" y="66"/>
                  </a:lnTo>
                  <a:lnTo>
                    <a:pt x="1350" y="66"/>
                  </a:lnTo>
                  <a:lnTo>
                    <a:pt x="1356" y="66"/>
                  </a:lnTo>
                  <a:lnTo>
                    <a:pt x="1362" y="72"/>
                  </a:lnTo>
                  <a:lnTo>
                    <a:pt x="1368" y="72"/>
                  </a:lnTo>
                  <a:lnTo>
                    <a:pt x="1380" y="72"/>
                  </a:lnTo>
                  <a:lnTo>
                    <a:pt x="1386" y="72"/>
                  </a:lnTo>
                  <a:lnTo>
                    <a:pt x="1422" y="84"/>
                  </a:lnTo>
                  <a:lnTo>
                    <a:pt x="1428" y="84"/>
                  </a:lnTo>
                  <a:lnTo>
                    <a:pt x="1446" y="90"/>
                  </a:lnTo>
                  <a:lnTo>
                    <a:pt x="1458" y="102"/>
                  </a:lnTo>
                  <a:lnTo>
                    <a:pt x="1494" y="126"/>
                  </a:lnTo>
                  <a:lnTo>
                    <a:pt x="1500" y="132"/>
                  </a:lnTo>
                  <a:lnTo>
                    <a:pt x="1512" y="138"/>
                  </a:lnTo>
                  <a:lnTo>
                    <a:pt x="1512" y="144"/>
                  </a:lnTo>
                  <a:lnTo>
                    <a:pt x="1518" y="150"/>
                  </a:lnTo>
                  <a:lnTo>
                    <a:pt x="1530" y="156"/>
                  </a:lnTo>
                  <a:lnTo>
                    <a:pt x="1530" y="162"/>
                  </a:lnTo>
                  <a:lnTo>
                    <a:pt x="1548" y="168"/>
                  </a:lnTo>
                  <a:lnTo>
                    <a:pt x="1566" y="180"/>
                  </a:lnTo>
                  <a:lnTo>
                    <a:pt x="1578" y="186"/>
                  </a:lnTo>
                  <a:lnTo>
                    <a:pt x="1578" y="180"/>
                  </a:lnTo>
                  <a:lnTo>
                    <a:pt x="1584" y="186"/>
                  </a:lnTo>
                  <a:lnTo>
                    <a:pt x="1584" y="174"/>
                  </a:lnTo>
                  <a:lnTo>
                    <a:pt x="1590" y="174"/>
                  </a:lnTo>
                  <a:lnTo>
                    <a:pt x="1590" y="180"/>
                  </a:lnTo>
                  <a:lnTo>
                    <a:pt x="1596" y="180"/>
                  </a:lnTo>
                  <a:lnTo>
                    <a:pt x="1596" y="174"/>
                  </a:lnTo>
                  <a:lnTo>
                    <a:pt x="1602" y="174"/>
                  </a:lnTo>
                  <a:lnTo>
                    <a:pt x="1608" y="174"/>
                  </a:lnTo>
                  <a:lnTo>
                    <a:pt x="1614" y="180"/>
                  </a:lnTo>
                  <a:lnTo>
                    <a:pt x="1620" y="174"/>
                  </a:lnTo>
                  <a:lnTo>
                    <a:pt x="1614" y="168"/>
                  </a:lnTo>
                  <a:lnTo>
                    <a:pt x="1614" y="162"/>
                  </a:lnTo>
                  <a:lnTo>
                    <a:pt x="1620" y="162"/>
                  </a:lnTo>
                  <a:lnTo>
                    <a:pt x="1626" y="162"/>
                  </a:lnTo>
                  <a:lnTo>
                    <a:pt x="1632" y="162"/>
                  </a:lnTo>
                  <a:lnTo>
                    <a:pt x="1638" y="168"/>
                  </a:lnTo>
                  <a:lnTo>
                    <a:pt x="1644" y="168"/>
                  </a:lnTo>
                  <a:lnTo>
                    <a:pt x="1650" y="174"/>
                  </a:lnTo>
                  <a:lnTo>
                    <a:pt x="1656" y="168"/>
                  </a:lnTo>
                  <a:lnTo>
                    <a:pt x="1668" y="168"/>
                  </a:lnTo>
                  <a:lnTo>
                    <a:pt x="1674" y="174"/>
                  </a:lnTo>
                  <a:lnTo>
                    <a:pt x="1674" y="180"/>
                  </a:lnTo>
                  <a:lnTo>
                    <a:pt x="1674" y="186"/>
                  </a:lnTo>
                  <a:lnTo>
                    <a:pt x="1680" y="186"/>
                  </a:lnTo>
                  <a:lnTo>
                    <a:pt x="1680" y="192"/>
                  </a:lnTo>
                  <a:lnTo>
                    <a:pt x="1686" y="192"/>
                  </a:lnTo>
                  <a:lnTo>
                    <a:pt x="1686" y="186"/>
                  </a:lnTo>
                  <a:lnTo>
                    <a:pt x="1680" y="186"/>
                  </a:lnTo>
                  <a:lnTo>
                    <a:pt x="1686" y="180"/>
                  </a:lnTo>
                  <a:lnTo>
                    <a:pt x="1692" y="180"/>
                  </a:lnTo>
                  <a:lnTo>
                    <a:pt x="1698" y="180"/>
                  </a:lnTo>
                  <a:lnTo>
                    <a:pt x="1704" y="180"/>
                  </a:lnTo>
                  <a:lnTo>
                    <a:pt x="1704" y="186"/>
                  </a:lnTo>
                  <a:lnTo>
                    <a:pt x="1710" y="186"/>
                  </a:lnTo>
                  <a:lnTo>
                    <a:pt x="1716" y="186"/>
                  </a:lnTo>
                  <a:lnTo>
                    <a:pt x="1716" y="192"/>
                  </a:lnTo>
                  <a:lnTo>
                    <a:pt x="1716" y="198"/>
                  </a:lnTo>
                  <a:lnTo>
                    <a:pt x="1722" y="192"/>
                  </a:lnTo>
                  <a:lnTo>
                    <a:pt x="1722" y="186"/>
                  </a:lnTo>
                  <a:lnTo>
                    <a:pt x="1728" y="192"/>
                  </a:lnTo>
                  <a:lnTo>
                    <a:pt x="1734" y="192"/>
                  </a:lnTo>
                  <a:lnTo>
                    <a:pt x="1734" y="186"/>
                  </a:lnTo>
                  <a:lnTo>
                    <a:pt x="1740" y="186"/>
                  </a:lnTo>
                  <a:lnTo>
                    <a:pt x="1740" y="192"/>
                  </a:lnTo>
                  <a:lnTo>
                    <a:pt x="1746" y="192"/>
                  </a:lnTo>
                  <a:lnTo>
                    <a:pt x="1758" y="192"/>
                  </a:lnTo>
                  <a:lnTo>
                    <a:pt x="1764" y="192"/>
                  </a:lnTo>
                  <a:lnTo>
                    <a:pt x="1764" y="198"/>
                  </a:lnTo>
                  <a:lnTo>
                    <a:pt x="1758" y="204"/>
                  </a:lnTo>
                  <a:lnTo>
                    <a:pt x="1752" y="210"/>
                  </a:lnTo>
                  <a:lnTo>
                    <a:pt x="1746" y="216"/>
                  </a:lnTo>
                  <a:lnTo>
                    <a:pt x="1746" y="222"/>
                  </a:lnTo>
                  <a:lnTo>
                    <a:pt x="1734" y="228"/>
                  </a:lnTo>
                  <a:lnTo>
                    <a:pt x="1734" y="234"/>
                  </a:lnTo>
                  <a:lnTo>
                    <a:pt x="1734" y="258"/>
                  </a:lnTo>
                  <a:lnTo>
                    <a:pt x="1740" y="330"/>
                  </a:lnTo>
                  <a:lnTo>
                    <a:pt x="1746" y="372"/>
                  </a:lnTo>
                  <a:lnTo>
                    <a:pt x="1788" y="426"/>
                  </a:lnTo>
                  <a:lnTo>
                    <a:pt x="1806" y="438"/>
                  </a:lnTo>
                  <a:lnTo>
                    <a:pt x="1794" y="480"/>
                  </a:lnTo>
                  <a:lnTo>
                    <a:pt x="1770" y="516"/>
                  </a:lnTo>
                  <a:lnTo>
                    <a:pt x="1746" y="546"/>
                  </a:lnTo>
                  <a:lnTo>
                    <a:pt x="1716" y="570"/>
                  </a:lnTo>
                  <a:lnTo>
                    <a:pt x="1680" y="594"/>
                  </a:lnTo>
                  <a:lnTo>
                    <a:pt x="1668" y="630"/>
                  </a:lnTo>
                  <a:lnTo>
                    <a:pt x="1680" y="684"/>
                  </a:lnTo>
                  <a:lnTo>
                    <a:pt x="1686" y="756"/>
                  </a:lnTo>
                  <a:lnTo>
                    <a:pt x="1662" y="870"/>
                  </a:lnTo>
                  <a:lnTo>
                    <a:pt x="1656" y="888"/>
                  </a:lnTo>
                  <a:lnTo>
                    <a:pt x="1650" y="972"/>
                  </a:lnTo>
                  <a:lnTo>
                    <a:pt x="1656" y="978"/>
                  </a:lnTo>
                  <a:lnTo>
                    <a:pt x="1650" y="984"/>
                  </a:lnTo>
                  <a:lnTo>
                    <a:pt x="1650" y="990"/>
                  </a:lnTo>
                  <a:lnTo>
                    <a:pt x="1650" y="1002"/>
                  </a:lnTo>
                  <a:lnTo>
                    <a:pt x="1656" y="1008"/>
                  </a:lnTo>
                  <a:lnTo>
                    <a:pt x="1656" y="1014"/>
                  </a:lnTo>
                  <a:lnTo>
                    <a:pt x="1662" y="1026"/>
                  </a:lnTo>
                  <a:lnTo>
                    <a:pt x="1650" y="1032"/>
                  </a:lnTo>
                  <a:lnTo>
                    <a:pt x="1638" y="1044"/>
                  </a:lnTo>
                  <a:lnTo>
                    <a:pt x="1626" y="1080"/>
                  </a:lnTo>
                  <a:lnTo>
                    <a:pt x="1614" y="1116"/>
                  </a:lnTo>
                  <a:lnTo>
                    <a:pt x="1614" y="1128"/>
                  </a:lnTo>
                  <a:lnTo>
                    <a:pt x="1626" y="1134"/>
                  </a:lnTo>
                  <a:lnTo>
                    <a:pt x="1644" y="1134"/>
                  </a:lnTo>
                  <a:lnTo>
                    <a:pt x="1662" y="1134"/>
                  </a:lnTo>
                  <a:lnTo>
                    <a:pt x="1680" y="1140"/>
                  </a:lnTo>
                  <a:lnTo>
                    <a:pt x="1698" y="1170"/>
                  </a:lnTo>
                  <a:lnTo>
                    <a:pt x="1704" y="1194"/>
                  </a:lnTo>
                  <a:lnTo>
                    <a:pt x="1692" y="1206"/>
                  </a:lnTo>
                  <a:lnTo>
                    <a:pt x="1662" y="1242"/>
                  </a:lnTo>
                  <a:lnTo>
                    <a:pt x="1632" y="1266"/>
                  </a:lnTo>
                  <a:lnTo>
                    <a:pt x="1620" y="1314"/>
                  </a:lnTo>
                  <a:lnTo>
                    <a:pt x="1584" y="1356"/>
                  </a:lnTo>
                  <a:lnTo>
                    <a:pt x="1578" y="1356"/>
                  </a:lnTo>
                  <a:lnTo>
                    <a:pt x="1578" y="1362"/>
                  </a:lnTo>
                  <a:lnTo>
                    <a:pt x="1572" y="1410"/>
                  </a:lnTo>
                  <a:lnTo>
                    <a:pt x="1584" y="1452"/>
                  </a:lnTo>
                  <a:lnTo>
                    <a:pt x="1608" y="1476"/>
                  </a:lnTo>
                  <a:lnTo>
                    <a:pt x="1596" y="1476"/>
                  </a:lnTo>
                  <a:lnTo>
                    <a:pt x="1584" y="1482"/>
                  </a:lnTo>
                  <a:lnTo>
                    <a:pt x="1560" y="1482"/>
                  </a:lnTo>
                  <a:lnTo>
                    <a:pt x="1536" y="1482"/>
                  </a:lnTo>
                  <a:lnTo>
                    <a:pt x="1524" y="1482"/>
                  </a:lnTo>
                  <a:lnTo>
                    <a:pt x="1506" y="1500"/>
                  </a:lnTo>
                  <a:lnTo>
                    <a:pt x="1482" y="1530"/>
                  </a:lnTo>
                  <a:lnTo>
                    <a:pt x="1452" y="1542"/>
                  </a:lnTo>
                  <a:lnTo>
                    <a:pt x="1446" y="1542"/>
                  </a:lnTo>
                  <a:lnTo>
                    <a:pt x="1440" y="1542"/>
                  </a:lnTo>
                  <a:lnTo>
                    <a:pt x="1440" y="1548"/>
                  </a:lnTo>
                  <a:lnTo>
                    <a:pt x="1434" y="1548"/>
                  </a:lnTo>
                  <a:lnTo>
                    <a:pt x="1428" y="1548"/>
                  </a:lnTo>
                  <a:lnTo>
                    <a:pt x="1428" y="1554"/>
                  </a:lnTo>
                  <a:lnTo>
                    <a:pt x="1422" y="1560"/>
                  </a:lnTo>
                  <a:lnTo>
                    <a:pt x="1416" y="1560"/>
                  </a:lnTo>
                  <a:lnTo>
                    <a:pt x="1410" y="1566"/>
                  </a:lnTo>
                  <a:lnTo>
                    <a:pt x="1410" y="1560"/>
                  </a:lnTo>
                  <a:lnTo>
                    <a:pt x="1404" y="1560"/>
                  </a:lnTo>
                  <a:lnTo>
                    <a:pt x="1392" y="1560"/>
                  </a:lnTo>
                  <a:lnTo>
                    <a:pt x="1386" y="1560"/>
                  </a:lnTo>
                  <a:lnTo>
                    <a:pt x="1380" y="1566"/>
                  </a:lnTo>
                  <a:lnTo>
                    <a:pt x="1374" y="1560"/>
                  </a:lnTo>
                  <a:lnTo>
                    <a:pt x="1368" y="1566"/>
                  </a:lnTo>
                  <a:lnTo>
                    <a:pt x="1362" y="1566"/>
                  </a:lnTo>
                  <a:lnTo>
                    <a:pt x="1362" y="1572"/>
                  </a:lnTo>
                  <a:lnTo>
                    <a:pt x="1356" y="1572"/>
                  </a:lnTo>
                  <a:lnTo>
                    <a:pt x="1356" y="1578"/>
                  </a:lnTo>
                  <a:lnTo>
                    <a:pt x="1350" y="1578"/>
                  </a:lnTo>
                  <a:lnTo>
                    <a:pt x="1350" y="1572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32" y="1584"/>
                  </a:lnTo>
                  <a:lnTo>
                    <a:pt x="1326" y="1590"/>
                  </a:lnTo>
                  <a:lnTo>
                    <a:pt x="1320" y="1584"/>
                  </a:lnTo>
                  <a:lnTo>
                    <a:pt x="1314" y="1590"/>
                  </a:lnTo>
                  <a:lnTo>
                    <a:pt x="1308" y="1596"/>
                  </a:lnTo>
                  <a:lnTo>
                    <a:pt x="1302" y="1596"/>
                  </a:lnTo>
                  <a:lnTo>
                    <a:pt x="1296" y="1596"/>
                  </a:lnTo>
                  <a:lnTo>
                    <a:pt x="1290" y="1596"/>
                  </a:lnTo>
                  <a:lnTo>
                    <a:pt x="1284" y="1596"/>
                  </a:lnTo>
                  <a:lnTo>
                    <a:pt x="1278" y="1602"/>
                  </a:lnTo>
                  <a:lnTo>
                    <a:pt x="1266" y="1602"/>
                  </a:lnTo>
                  <a:lnTo>
                    <a:pt x="1272" y="1608"/>
                  </a:lnTo>
                  <a:lnTo>
                    <a:pt x="1278" y="1608"/>
                  </a:lnTo>
                  <a:lnTo>
                    <a:pt x="1284" y="1608"/>
                  </a:lnTo>
                  <a:lnTo>
                    <a:pt x="1290" y="1614"/>
                  </a:lnTo>
                  <a:lnTo>
                    <a:pt x="1296" y="1620"/>
                  </a:lnTo>
                  <a:lnTo>
                    <a:pt x="1302" y="1626"/>
                  </a:lnTo>
                  <a:lnTo>
                    <a:pt x="1308" y="1632"/>
                  </a:lnTo>
                  <a:lnTo>
                    <a:pt x="1314" y="1638"/>
                  </a:lnTo>
                  <a:lnTo>
                    <a:pt x="1314" y="1644"/>
                  </a:lnTo>
                  <a:lnTo>
                    <a:pt x="1320" y="1644"/>
                  </a:lnTo>
                  <a:lnTo>
                    <a:pt x="1320" y="1650"/>
                  </a:lnTo>
                  <a:lnTo>
                    <a:pt x="1326" y="1656"/>
                  </a:lnTo>
                  <a:lnTo>
                    <a:pt x="1332" y="1668"/>
                  </a:lnTo>
                  <a:lnTo>
                    <a:pt x="1338" y="1680"/>
                  </a:lnTo>
                  <a:lnTo>
                    <a:pt x="1338" y="1698"/>
                  </a:lnTo>
                  <a:lnTo>
                    <a:pt x="1350" y="1710"/>
                  </a:lnTo>
                  <a:lnTo>
                    <a:pt x="1350" y="1716"/>
                  </a:lnTo>
                  <a:lnTo>
                    <a:pt x="1350" y="1722"/>
                  </a:lnTo>
                  <a:lnTo>
                    <a:pt x="1350" y="1728"/>
                  </a:lnTo>
                  <a:lnTo>
                    <a:pt x="1356" y="1728"/>
                  </a:lnTo>
                  <a:lnTo>
                    <a:pt x="1356" y="1734"/>
                  </a:lnTo>
                  <a:lnTo>
                    <a:pt x="1350" y="1734"/>
                  </a:lnTo>
                  <a:lnTo>
                    <a:pt x="1344" y="1740"/>
                  </a:lnTo>
                  <a:lnTo>
                    <a:pt x="1338" y="1740"/>
                  </a:lnTo>
                  <a:lnTo>
                    <a:pt x="1332" y="1746"/>
                  </a:lnTo>
                  <a:lnTo>
                    <a:pt x="1326" y="1746"/>
                  </a:lnTo>
                  <a:lnTo>
                    <a:pt x="1326" y="1752"/>
                  </a:lnTo>
                  <a:lnTo>
                    <a:pt x="1320" y="1752"/>
                  </a:lnTo>
                  <a:lnTo>
                    <a:pt x="1320" y="1758"/>
                  </a:lnTo>
                  <a:lnTo>
                    <a:pt x="1314" y="1758"/>
                  </a:lnTo>
                  <a:lnTo>
                    <a:pt x="1308" y="1758"/>
                  </a:lnTo>
                  <a:lnTo>
                    <a:pt x="1302" y="1758"/>
                  </a:lnTo>
                  <a:lnTo>
                    <a:pt x="1296" y="1758"/>
                  </a:lnTo>
                  <a:lnTo>
                    <a:pt x="1290" y="1764"/>
                  </a:lnTo>
                  <a:lnTo>
                    <a:pt x="1284" y="1770"/>
                  </a:lnTo>
                  <a:lnTo>
                    <a:pt x="1278" y="1770"/>
                  </a:lnTo>
                  <a:lnTo>
                    <a:pt x="1272" y="1770"/>
                  </a:lnTo>
                  <a:lnTo>
                    <a:pt x="1266" y="1770"/>
                  </a:lnTo>
                  <a:lnTo>
                    <a:pt x="1266" y="1776"/>
                  </a:lnTo>
                  <a:lnTo>
                    <a:pt x="1260" y="177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4" name="Freeform 39">
              <a:extLst>
                <a:ext uri="{FF2B5EF4-FFF2-40B4-BE49-F238E27FC236}">
                  <a16:creationId xmlns:a16="http://schemas.microsoft.com/office/drawing/2014/main" id="{E01CDA8B-32C7-421A-B23E-968CAC7F78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2974" y="1759680"/>
              <a:ext cx="825155" cy="700024"/>
            </a:xfrm>
            <a:custGeom>
              <a:avLst/>
              <a:gdLst>
                <a:gd name="T0" fmla="*/ 60 w 1554"/>
                <a:gd name="T1" fmla="*/ 86 h 1320"/>
                <a:gd name="T2" fmla="*/ 66 w 1554"/>
                <a:gd name="T3" fmla="*/ 80 h 1320"/>
                <a:gd name="T4" fmla="*/ 61 w 1554"/>
                <a:gd name="T5" fmla="*/ 73 h 1320"/>
                <a:gd name="T6" fmla="*/ 57 w 1554"/>
                <a:gd name="T7" fmla="*/ 67 h 1320"/>
                <a:gd name="T8" fmla="*/ 60 w 1554"/>
                <a:gd name="T9" fmla="*/ 59 h 1320"/>
                <a:gd name="T10" fmla="*/ 56 w 1554"/>
                <a:gd name="T11" fmla="*/ 55 h 1320"/>
                <a:gd name="T12" fmla="*/ 45 w 1554"/>
                <a:gd name="T13" fmla="*/ 53 h 1320"/>
                <a:gd name="T14" fmla="*/ 42 w 1554"/>
                <a:gd name="T15" fmla="*/ 41 h 1320"/>
                <a:gd name="T16" fmla="*/ 37 w 1554"/>
                <a:gd name="T17" fmla="*/ 39 h 1320"/>
                <a:gd name="T18" fmla="*/ 31 w 1554"/>
                <a:gd name="T19" fmla="*/ 44 h 1320"/>
                <a:gd name="T20" fmla="*/ 37 w 1554"/>
                <a:gd name="T21" fmla="*/ 35 h 1320"/>
                <a:gd name="T22" fmla="*/ 30 w 1554"/>
                <a:gd name="T23" fmla="*/ 23 h 1320"/>
                <a:gd name="T24" fmla="*/ 21 w 1554"/>
                <a:gd name="T25" fmla="*/ 23 h 1320"/>
                <a:gd name="T26" fmla="*/ 15 w 1554"/>
                <a:gd name="T27" fmla="*/ 27 h 1320"/>
                <a:gd name="T28" fmla="*/ 11 w 1554"/>
                <a:gd name="T29" fmla="*/ 32 h 1320"/>
                <a:gd name="T30" fmla="*/ 6 w 1554"/>
                <a:gd name="T31" fmla="*/ 22 h 1320"/>
                <a:gd name="T32" fmla="*/ 3 w 1554"/>
                <a:gd name="T33" fmla="*/ 11 h 1320"/>
                <a:gd name="T34" fmla="*/ 24 w 1554"/>
                <a:gd name="T35" fmla="*/ 12 h 1320"/>
                <a:gd name="T36" fmla="*/ 33 w 1554"/>
                <a:gd name="T37" fmla="*/ 19 h 1320"/>
                <a:gd name="T38" fmla="*/ 49 w 1554"/>
                <a:gd name="T39" fmla="*/ 12 h 1320"/>
                <a:gd name="T40" fmla="*/ 58 w 1554"/>
                <a:gd name="T41" fmla="*/ 10 h 1320"/>
                <a:gd name="T42" fmla="*/ 68 w 1554"/>
                <a:gd name="T43" fmla="*/ 11 h 1320"/>
                <a:gd name="T44" fmla="*/ 79 w 1554"/>
                <a:gd name="T45" fmla="*/ 12 h 1320"/>
                <a:gd name="T46" fmla="*/ 96 w 1554"/>
                <a:gd name="T47" fmla="*/ 11 h 1320"/>
                <a:gd name="T48" fmla="*/ 107 w 1554"/>
                <a:gd name="T49" fmla="*/ 2 h 1320"/>
                <a:gd name="T50" fmla="*/ 117 w 1554"/>
                <a:gd name="T51" fmla="*/ 8 h 1320"/>
                <a:gd name="T52" fmla="*/ 126 w 1554"/>
                <a:gd name="T53" fmla="*/ 12 h 1320"/>
                <a:gd name="T54" fmla="*/ 134 w 1554"/>
                <a:gd name="T55" fmla="*/ 24 h 1320"/>
                <a:gd name="T56" fmla="*/ 133 w 1554"/>
                <a:gd name="T57" fmla="*/ 29 h 1320"/>
                <a:gd name="T58" fmla="*/ 129 w 1554"/>
                <a:gd name="T59" fmla="*/ 31 h 1320"/>
                <a:gd name="T60" fmla="*/ 125 w 1554"/>
                <a:gd name="T61" fmla="*/ 32 h 1320"/>
                <a:gd name="T62" fmla="*/ 115 w 1554"/>
                <a:gd name="T63" fmla="*/ 34 h 1320"/>
                <a:gd name="T64" fmla="*/ 113 w 1554"/>
                <a:gd name="T65" fmla="*/ 44 h 1320"/>
                <a:gd name="T66" fmla="*/ 111 w 1554"/>
                <a:gd name="T67" fmla="*/ 54 h 1320"/>
                <a:gd name="T68" fmla="*/ 107 w 1554"/>
                <a:gd name="T69" fmla="*/ 56 h 1320"/>
                <a:gd name="T70" fmla="*/ 102 w 1554"/>
                <a:gd name="T71" fmla="*/ 58 h 1320"/>
                <a:gd name="T72" fmla="*/ 99 w 1554"/>
                <a:gd name="T73" fmla="*/ 60 h 1320"/>
                <a:gd name="T74" fmla="*/ 93 w 1554"/>
                <a:gd name="T75" fmla="*/ 62 h 1320"/>
                <a:gd name="T76" fmla="*/ 87 w 1554"/>
                <a:gd name="T77" fmla="*/ 64 h 1320"/>
                <a:gd name="T78" fmla="*/ 84 w 1554"/>
                <a:gd name="T79" fmla="*/ 65 h 1320"/>
                <a:gd name="T80" fmla="*/ 81 w 1554"/>
                <a:gd name="T81" fmla="*/ 69 h 1320"/>
                <a:gd name="T82" fmla="*/ 83 w 1554"/>
                <a:gd name="T83" fmla="*/ 72 h 1320"/>
                <a:gd name="T84" fmla="*/ 92 w 1554"/>
                <a:gd name="T85" fmla="*/ 73 h 1320"/>
                <a:gd name="T86" fmla="*/ 93 w 1554"/>
                <a:gd name="T87" fmla="*/ 87 h 1320"/>
                <a:gd name="T88" fmla="*/ 104 w 1554"/>
                <a:gd name="T89" fmla="*/ 98 h 1320"/>
                <a:gd name="T90" fmla="*/ 108 w 1554"/>
                <a:gd name="T91" fmla="*/ 98 h 1320"/>
                <a:gd name="T92" fmla="*/ 112 w 1554"/>
                <a:gd name="T93" fmla="*/ 100 h 1320"/>
                <a:gd name="T94" fmla="*/ 118 w 1554"/>
                <a:gd name="T95" fmla="*/ 100 h 1320"/>
                <a:gd name="T96" fmla="*/ 122 w 1554"/>
                <a:gd name="T97" fmla="*/ 102 h 1320"/>
                <a:gd name="T98" fmla="*/ 118 w 1554"/>
                <a:gd name="T99" fmla="*/ 105 h 1320"/>
                <a:gd name="T100" fmla="*/ 114 w 1554"/>
                <a:gd name="T101" fmla="*/ 107 h 1320"/>
                <a:gd name="T102" fmla="*/ 113 w 1554"/>
                <a:gd name="T103" fmla="*/ 113 h 1320"/>
                <a:gd name="T104" fmla="*/ 104 w 1554"/>
                <a:gd name="T105" fmla="*/ 113 h 1320"/>
                <a:gd name="T106" fmla="*/ 93 w 1554"/>
                <a:gd name="T107" fmla="*/ 109 h 1320"/>
                <a:gd name="T108" fmla="*/ 96 w 1554"/>
                <a:gd name="T109" fmla="*/ 103 h 1320"/>
                <a:gd name="T110" fmla="*/ 95 w 1554"/>
                <a:gd name="T111" fmla="*/ 97 h 1320"/>
                <a:gd name="T112" fmla="*/ 87 w 1554"/>
                <a:gd name="T113" fmla="*/ 98 h 1320"/>
                <a:gd name="T114" fmla="*/ 81 w 1554"/>
                <a:gd name="T115" fmla="*/ 98 h 1320"/>
                <a:gd name="T116" fmla="*/ 78 w 1554"/>
                <a:gd name="T117" fmla="*/ 93 h 1320"/>
                <a:gd name="T118" fmla="*/ 65 w 1554"/>
                <a:gd name="T119" fmla="*/ 92 h 1320"/>
                <a:gd name="T120" fmla="*/ 59 w 1554"/>
                <a:gd name="T121" fmla="*/ 92 h 13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54"/>
                <a:gd name="T184" fmla="*/ 0 h 1320"/>
                <a:gd name="T185" fmla="*/ 1554 w 1554"/>
                <a:gd name="T186" fmla="*/ 1320 h 132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54" h="1320">
                  <a:moveTo>
                    <a:pt x="684" y="1068"/>
                  </a:moveTo>
                  <a:lnTo>
                    <a:pt x="684" y="1062"/>
                  </a:lnTo>
                  <a:lnTo>
                    <a:pt x="690" y="1056"/>
                  </a:lnTo>
                  <a:lnTo>
                    <a:pt x="690" y="1050"/>
                  </a:lnTo>
                  <a:lnTo>
                    <a:pt x="690" y="1044"/>
                  </a:lnTo>
                  <a:lnTo>
                    <a:pt x="690" y="1038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14"/>
                  </a:lnTo>
                  <a:lnTo>
                    <a:pt x="690" y="1008"/>
                  </a:lnTo>
                  <a:lnTo>
                    <a:pt x="696" y="996"/>
                  </a:lnTo>
                  <a:lnTo>
                    <a:pt x="714" y="996"/>
                  </a:lnTo>
                  <a:lnTo>
                    <a:pt x="714" y="990"/>
                  </a:lnTo>
                  <a:lnTo>
                    <a:pt x="732" y="984"/>
                  </a:lnTo>
                  <a:lnTo>
                    <a:pt x="744" y="978"/>
                  </a:lnTo>
                  <a:lnTo>
                    <a:pt x="762" y="966"/>
                  </a:lnTo>
                  <a:lnTo>
                    <a:pt x="762" y="960"/>
                  </a:lnTo>
                  <a:lnTo>
                    <a:pt x="768" y="954"/>
                  </a:lnTo>
                  <a:lnTo>
                    <a:pt x="774" y="948"/>
                  </a:lnTo>
                  <a:lnTo>
                    <a:pt x="774" y="942"/>
                  </a:lnTo>
                  <a:lnTo>
                    <a:pt x="774" y="924"/>
                  </a:lnTo>
                  <a:lnTo>
                    <a:pt x="768" y="918"/>
                  </a:lnTo>
                  <a:lnTo>
                    <a:pt x="756" y="918"/>
                  </a:lnTo>
                  <a:lnTo>
                    <a:pt x="744" y="918"/>
                  </a:lnTo>
                  <a:lnTo>
                    <a:pt x="732" y="924"/>
                  </a:lnTo>
                  <a:lnTo>
                    <a:pt x="726" y="912"/>
                  </a:lnTo>
                  <a:lnTo>
                    <a:pt x="720" y="912"/>
                  </a:lnTo>
                  <a:lnTo>
                    <a:pt x="720" y="900"/>
                  </a:lnTo>
                  <a:lnTo>
                    <a:pt x="720" y="870"/>
                  </a:lnTo>
                  <a:lnTo>
                    <a:pt x="696" y="876"/>
                  </a:lnTo>
                  <a:lnTo>
                    <a:pt x="690" y="852"/>
                  </a:lnTo>
                  <a:lnTo>
                    <a:pt x="702" y="852"/>
                  </a:lnTo>
                  <a:lnTo>
                    <a:pt x="702" y="840"/>
                  </a:lnTo>
                  <a:lnTo>
                    <a:pt x="708" y="834"/>
                  </a:lnTo>
                  <a:lnTo>
                    <a:pt x="702" y="822"/>
                  </a:lnTo>
                  <a:lnTo>
                    <a:pt x="660" y="822"/>
                  </a:lnTo>
                  <a:lnTo>
                    <a:pt x="654" y="822"/>
                  </a:lnTo>
                  <a:lnTo>
                    <a:pt x="642" y="822"/>
                  </a:lnTo>
                  <a:lnTo>
                    <a:pt x="642" y="810"/>
                  </a:lnTo>
                  <a:lnTo>
                    <a:pt x="642" y="798"/>
                  </a:lnTo>
                  <a:lnTo>
                    <a:pt x="642" y="792"/>
                  </a:lnTo>
                  <a:lnTo>
                    <a:pt x="648" y="780"/>
                  </a:lnTo>
                  <a:lnTo>
                    <a:pt x="654" y="774"/>
                  </a:lnTo>
                  <a:lnTo>
                    <a:pt x="660" y="774"/>
                  </a:lnTo>
                  <a:lnTo>
                    <a:pt x="672" y="762"/>
                  </a:lnTo>
                  <a:lnTo>
                    <a:pt x="672" y="756"/>
                  </a:lnTo>
                  <a:lnTo>
                    <a:pt x="678" y="750"/>
                  </a:lnTo>
                  <a:lnTo>
                    <a:pt x="684" y="750"/>
                  </a:lnTo>
                  <a:lnTo>
                    <a:pt x="690" y="744"/>
                  </a:lnTo>
                  <a:lnTo>
                    <a:pt x="696" y="732"/>
                  </a:lnTo>
                  <a:lnTo>
                    <a:pt x="696" y="726"/>
                  </a:lnTo>
                  <a:lnTo>
                    <a:pt x="702" y="714"/>
                  </a:lnTo>
                  <a:lnTo>
                    <a:pt x="696" y="708"/>
                  </a:lnTo>
                  <a:lnTo>
                    <a:pt x="690" y="690"/>
                  </a:lnTo>
                  <a:lnTo>
                    <a:pt x="696" y="678"/>
                  </a:lnTo>
                  <a:lnTo>
                    <a:pt x="708" y="672"/>
                  </a:lnTo>
                  <a:lnTo>
                    <a:pt x="708" y="660"/>
                  </a:lnTo>
                  <a:lnTo>
                    <a:pt x="702" y="660"/>
                  </a:lnTo>
                  <a:lnTo>
                    <a:pt x="696" y="660"/>
                  </a:lnTo>
                  <a:lnTo>
                    <a:pt x="690" y="654"/>
                  </a:lnTo>
                  <a:lnTo>
                    <a:pt x="684" y="654"/>
                  </a:lnTo>
                  <a:lnTo>
                    <a:pt x="690" y="606"/>
                  </a:lnTo>
                  <a:lnTo>
                    <a:pt x="660" y="606"/>
                  </a:lnTo>
                  <a:lnTo>
                    <a:pt x="660" y="612"/>
                  </a:lnTo>
                  <a:lnTo>
                    <a:pt x="648" y="612"/>
                  </a:lnTo>
                  <a:lnTo>
                    <a:pt x="642" y="636"/>
                  </a:lnTo>
                  <a:lnTo>
                    <a:pt x="636" y="636"/>
                  </a:lnTo>
                  <a:lnTo>
                    <a:pt x="630" y="648"/>
                  </a:lnTo>
                  <a:lnTo>
                    <a:pt x="612" y="648"/>
                  </a:lnTo>
                  <a:lnTo>
                    <a:pt x="606" y="636"/>
                  </a:lnTo>
                  <a:lnTo>
                    <a:pt x="600" y="630"/>
                  </a:lnTo>
                  <a:lnTo>
                    <a:pt x="588" y="606"/>
                  </a:lnTo>
                  <a:lnTo>
                    <a:pt x="552" y="606"/>
                  </a:lnTo>
                  <a:lnTo>
                    <a:pt x="552" y="612"/>
                  </a:lnTo>
                  <a:lnTo>
                    <a:pt x="540" y="612"/>
                  </a:lnTo>
                  <a:lnTo>
                    <a:pt x="540" y="606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16" y="612"/>
                  </a:lnTo>
                  <a:lnTo>
                    <a:pt x="516" y="582"/>
                  </a:lnTo>
                  <a:lnTo>
                    <a:pt x="522" y="576"/>
                  </a:lnTo>
                  <a:lnTo>
                    <a:pt x="528" y="576"/>
                  </a:lnTo>
                  <a:lnTo>
                    <a:pt x="528" y="552"/>
                  </a:lnTo>
                  <a:lnTo>
                    <a:pt x="522" y="540"/>
                  </a:lnTo>
                  <a:lnTo>
                    <a:pt x="510" y="528"/>
                  </a:lnTo>
                  <a:lnTo>
                    <a:pt x="486" y="510"/>
                  </a:lnTo>
                  <a:lnTo>
                    <a:pt x="480" y="498"/>
                  </a:lnTo>
                  <a:lnTo>
                    <a:pt x="480" y="474"/>
                  </a:lnTo>
                  <a:lnTo>
                    <a:pt x="492" y="468"/>
                  </a:lnTo>
                  <a:lnTo>
                    <a:pt x="486" y="450"/>
                  </a:lnTo>
                  <a:lnTo>
                    <a:pt x="474" y="456"/>
                  </a:lnTo>
                  <a:lnTo>
                    <a:pt x="468" y="456"/>
                  </a:lnTo>
                  <a:lnTo>
                    <a:pt x="462" y="456"/>
                  </a:lnTo>
                  <a:lnTo>
                    <a:pt x="456" y="468"/>
                  </a:lnTo>
                  <a:lnTo>
                    <a:pt x="456" y="474"/>
                  </a:lnTo>
                  <a:lnTo>
                    <a:pt x="450" y="480"/>
                  </a:lnTo>
                  <a:lnTo>
                    <a:pt x="444" y="450"/>
                  </a:lnTo>
                  <a:lnTo>
                    <a:pt x="438" y="450"/>
                  </a:lnTo>
                  <a:lnTo>
                    <a:pt x="432" y="450"/>
                  </a:lnTo>
                  <a:lnTo>
                    <a:pt x="420" y="450"/>
                  </a:lnTo>
                  <a:lnTo>
                    <a:pt x="420" y="456"/>
                  </a:lnTo>
                  <a:lnTo>
                    <a:pt x="414" y="456"/>
                  </a:lnTo>
                  <a:lnTo>
                    <a:pt x="408" y="468"/>
                  </a:lnTo>
                  <a:lnTo>
                    <a:pt x="402" y="468"/>
                  </a:lnTo>
                  <a:lnTo>
                    <a:pt x="396" y="474"/>
                  </a:lnTo>
                  <a:lnTo>
                    <a:pt x="390" y="492"/>
                  </a:lnTo>
                  <a:lnTo>
                    <a:pt x="384" y="504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54" y="510"/>
                  </a:lnTo>
                  <a:lnTo>
                    <a:pt x="360" y="480"/>
                  </a:lnTo>
                  <a:lnTo>
                    <a:pt x="360" y="474"/>
                  </a:lnTo>
                  <a:lnTo>
                    <a:pt x="378" y="456"/>
                  </a:lnTo>
                  <a:lnTo>
                    <a:pt x="384" y="450"/>
                  </a:lnTo>
                  <a:lnTo>
                    <a:pt x="396" y="444"/>
                  </a:lnTo>
                  <a:lnTo>
                    <a:pt x="402" y="438"/>
                  </a:lnTo>
                  <a:lnTo>
                    <a:pt x="408" y="438"/>
                  </a:lnTo>
                  <a:lnTo>
                    <a:pt x="408" y="426"/>
                  </a:lnTo>
                  <a:lnTo>
                    <a:pt x="414" y="420"/>
                  </a:lnTo>
                  <a:lnTo>
                    <a:pt x="426" y="420"/>
                  </a:lnTo>
                  <a:lnTo>
                    <a:pt x="426" y="408"/>
                  </a:lnTo>
                  <a:lnTo>
                    <a:pt x="420" y="390"/>
                  </a:lnTo>
                  <a:lnTo>
                    <a:pt x="408" y="384"/>
                  </a:lnTo>
                  <a:lnTo>
                    <a:pt x="378" y="378"/>
                  </a:lnTo>
                  <a:lnTo>
                    <a:pt x="354" y="366"/>
                  </a:lnTo>
                  <a:lnTo>
                    <a:pt x="342" y="360"/>
                  </a:lnTo>
                  <a:lnTo>
                    <a:pt x="342" y="348"/>
                  </a:lnTo>
                  <a:lnTo>
                    <a:pt x="336" y="330"/>
                  </a:lnTo>
                  <a:lnTo>
                    <a:pt x="348" y="306"/>
                  </a:lnTo>
                  <a:lnTo>
                    <a:pt x="360" y="294"/>
                  </a:lnTo>
                  <a:lnTo>
                    <a:pt x="360" y="282"/>
                  </a:lnTo>
                  <a:lnTo>
                    <a:pt x="342" y="270"/>
                  </a:lnTo>
                  <a:lnTo>
                    <a:pt x="342" y="264"/>
                  </a:lnTo>
                  <a:lnTo>
                    <a:pt x="330" y="264"/>
                  </a:lnTo>
                  <a:lnTo>
                    <a:pt x="312" y="270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88" y="270"/>
                  </a:lnTo>
                  <a:lnTo>
                    <a:pt x="282" y="270"/>
                  </a:lnTo>
                  <a:lnTo>
                    <a:pt x="276" y="264"/>
                  </a:lnTo>
                  <a:lnTo>
                    <a:pt x="270" y="264"/>
                  </a:lnTo>
                  <a:lnTo>
                    <a:pt x="252" y="270"/>
                  </a:lnTo>
                  <a:lnTo>
                    <a:pt x="246" y="270"/>
                  </a:lnTo>
                  <a:lnTo>
                    <a:pt x="240" y="270"/>
                  </a:lnTo>
                  <a:lnTo>
                    <a:pt x="228" y="270"/>
                  </a:lnTo>
                  <a:lnTo>
                    <a:pt x="216" y="276"/>
                  </a:lnTo>
                  <a:lnTo>
                    <a:pt x="210" y="270"/>
                  </a:lnTo>
                  <a:lnTo>
                    <a:pt x="204" y="270"/>
                  </a:lnTo>
                  <a:lnTo>
                    <a:pt x="198" y="276"/>
                  </a:lnTo>
                  <a:lnTo>
                    <a:pt x="192" y="276"/>
                  </a:lnTo>
                  <a:lnTo>
                    <a:pt x="186" y="282"/>
                  </a:lnTo>
                  <a:lnTo>
                    <a:pt x="180" y="288"/>
                  </a:lnTo>
                  <a:lnTo>
                    <a:pt x="174" y="300"/>
                  </a:lnTo>
                  <a:lnTo>
                    <a:pt x="168" y="306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8" y="330"/>
                  </a:lnTo>
                  <a:lnTo>
                    <a:pt x="162" y="336"/>
                  </a:lnTo>
                  <a:lnTo>
                    <a:pt x="156" y="342"/>
                  </a:lnTo>
                  <a:lnTo>
                    <a:pt x="156" y="348"/>
                  </a:lnTo>
                  <a:lnTo>
                    <a:pt x="156" y="354"/>
                  </a:lnTo>
                  <a:lnTo>
                    <a:pt x="150" y="366"/>
                  </a:lnTo>
                  <a:lnTo>
                    <a:pt x="150" y="372"/>
                  </a:lnTo>
                  <a:lnTo>
                    <a:pt x="144" y="366"/>
                  </a:lnTo>
                  <a:lnTo>
                    <a:pt x="132" y="366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20" y="348"/>
                  </a:lnTo>
                  <a:lnTo>
                    <a:pt x="102" y="330"/>
                  </a:lnTo>
                  <a:lnTo>
                    <a:pt x="96" y="318"/>
                  </a:lnTo>
                  <a:lnTo>
                    <a:pt x="96" y="282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0" y="258"/>
                  </a:lnTo>
                  <a:lnTo>
                    <a:pt x="84" y="252"/>
                  </a:lnTo>
                  <a:lnTo>
                    <a:pt x="66" y="258"/>
                  </a:lnTo>
                  <a:lnTo>
                    <a:pt x="60" y="246"/>
                  </a:lnTo>
                  <a:lnTo>
                    <a:pt x="30" y="252"/>
                  </a:lnTo>
                  <a:lnTo>
                    <a:pt x="18" y="246"/>
                  </a:lnTo>
                  <a:lnTo>
                    <a:pt x="0" y="240"/>
                  </a:lnTo>
                  <a:lnTo>
                    <a:pt x="0" y="234"/>
                  </a:lnTo>
                  <a:lnTo>
                    <a:pt x="0" y="210"/>
                  </a:lnTo>
                  <a:lnTo>
                    <a:pt x="6" y="204"/>
                  </a:lnTo>
                  <a:lnTo>
                    <a:pt x="18" y="192"/>
                  </a:lnTo>
                  <a:lnTo>
                    <a:pt x="18" y="144"/>
                  </a:lnTo>
                  <a:lnTo>
                    <a:pt x="24" y="126"/>
                  </a:lnTo>
                  <a:lnTo>
                    <a:pt x="36" y="126"/>
                  </a:lnTo>
                  <a:lnTo>
                    <a:pt x="54" y="120"/>
                  </a:lnTo>
                  <a:lnTo>
                    <a:pt x="54" y="126"/>
                  </a:lnTo>
                  <a:lnTo>
                    <a:pt x="132" y="114"/>
                  </a:lnTo>
                  <a:lnTo>
                    <a:pt x="144" y="120"/>
                  </a:lnTo>
                  <a:lnTo>
                    <a:pt x="150" y="132"/>
                  </a:lnTo>
                  <a:lnTo>
                    <a:pt x="180" y="126"/>
                  </a:lnTo>
                  <a:lnTo>
                    <a:pt x="210" y="120"/>
                  </a:lnTo>
                  <a:lnTo>
                    <a:pt x="240" y="120"/>
                  </a:lnTo>
                  <a:lnTo>
                    <a:pt x="258" y="120"/>
                  </a:lnTo>
                  <a:lnTo>
                    <a:pt x="270" y="126"/>
                  </a:lnTo>
                  <a:lnTo>
                    <a:pt x="276" y="132"/>
                  </a:lnTo>
                  <a:lnTo>
                    <a:pt x="282" y="138"/>
                  </a:lnTo>
                  <a:lnTo>
                    <a:pt x="282" y="156"/>
                  </a:lnTo>
                  <a:lnTo>
                    <a:pt x="288" y="186"/>
                  </a:lnTo>
                  <a:lnTo>
                    <a:pt x="312" y="192"/>
                  </a:lnTo>
                  <a:lnTo>
                    <a:pt x="318" y="198"/>
                  </a:lnTo>
                  <a:lnTo>
                    <a:pt x="324" y="204"/>
                  </a:lnTo>
                  <a:lnTo>
                    <a:pt x="330" y="210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66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86" y="210"/>
                  </a:lnTo>
                  <a:lnTo>
                    <a:pt x="498" y="198"/>
                  </a:lnTo>
                  <a:lnTo>
                    <a:pt x="504" y="174"/>
                  </a:lnTo>
                  <a:lnTo>
                    <a:pt x="516" y="162"/>
                  </a:lnTo>
                  <a:lnTo>
                    <a:pt x="516" y="138"/>
                  </a:lnTo>
                  <a:lnTo>
                    <a:pt x="522" y="132"/>
                  </a:lnTo>
                  <a:lnTo>
                    <a:pt x="564" y="132"/>
                  </a:lnTo>
                  <a:lnTo>
                    <a:pt x="564" y="114"/>
                  </a:lnTo>
                  <a:lnTo>
                    <a:pt x="582" y="114"/>
                  </a:lnTo>
                  <a:lnTo>
                    <a:pt x="594" y="114"/>
                  </a:lnTo>
                  <a:lnTo>
                    <a:pt x="606" y="114"/>
                  </a:lnTo>
                  <a:lnTo>
                    <a:pt x="612" y="114"/>
                  </a:lnTo>
                  <a:lnTo>
                    <a:pt x="630" y="114"/>
                  </a:lnTo>
                  <a:lnTo>
                    <a:pt x="636" y="114"/>
                  </a:lnTo>
                  <a:lnTo>
                    <a:pt x="648" y="114"/>
                  </a:lnTo>
                  <a:lnTo>
                    <a:pt x="654" y="114"/>
                  </a:lnTo>
                  <a:lnTo>
                    <a:pt x="660" y="120"/>
                  </a:lnTo>
                  <a:lnTo>
                    <a:pt x="672" y="120"/>
                  </a:lnTo>
                  <a:lnTo>
                    <a:pt x="684" y="120"/>
                  </a:lnTo>
                  <a:lnTo>
                    <a:pt x="690" y="120"/>
                  </a:lnTo>
                  <a:lnTo>
                    <a:pt x="702" y="120"/>
                  </a:lnTo>
                  <a:lnTo>
                    <a:pt x="708" y="120"/>
                  </a:lnTo>
                  <a:lnTo>
                    <a:pt x="726" y="126"/>
                  </a:lnTo>
                  <a:lnTo>
                    <a:pt x="732" y="126"/>
                  </a:lnTo>
                  <a:lnTo>
                    <a:pt x="738" y="126"/>
                  </a:lnTo>
                  <a:lnTo>
                    <a:pt x="750" y="126"/>
                  </a:lnTo>
                  <a:lnTo>
                    <a:pt x="756" y="126"/>
                  </a:lnTo>
                  <a:lnTo>
                    <a:pt x="768" y="126"/>
                  </a:lnTo>
                  <a:lnTo>
                    <a:pt x="780" y="126"/>
                  </a:lnTo>
                  <a:lnTo>
                    <a:pt x="786" y="120"/>
                  </a:lnTo>
                  <a:lnTo>
                    <a:pt x="792" y="120"/>
                  </a:lnTo>
                  <a:lnTo>
                    <a:pt x="810" y="120"/>
                  </a:lnTo>
                  <a:lnTo>
                    <a:pt x="822" y="120"/>
                  </a:lnTo>
                  <a:lnTo>
                    <a:pt x="846" y="126"/>
                  </a:lnTo>
                  <a:lnTo>
                    <a:pt x="858" y="126"/>
                  </a:lnTo>
                  <a:lnTo>
                    <a:pt x="870" y="132"/>
                  </a:lnTo>
                  <a:lnTo>
                    <a:pt x="882" y="132"/>
                  </a:lnTo>
                  <a:lnTo>
                    <a:pt x="894" y="132"/>
                  </a:lnTo>
                  <a:lnTo>
                    <a:pt x="900" y="132"/>
                  </a:lnTo>
                  <a:lnTo>
                    <a:pt x="912" y="132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36" y="132"/>
                  </a:lnTo>
                  <a:lnTo>
                    <a:pt x="960" y="132"/>
                  </a:lnTo>
                  <a:lnTo>
                    <a:pt x="966" y="144"/>
                  </a:lnTo>
                  <a:lnTo>
                    <a:pt x="972" y="144"/>
                  </a:lnTo>
                  <a:lnTo>
                    <a:pt x="1002" y="144"/>
                  </a:lnTo>
                  <a:lnTo>
                    <a:pt x="1020" y="144"/>
                  </a:lnTo>
                  <a:lnTo>
                    <a:pt x="1068" y="138"/>
                  </a:lnTo>
                  <a:lnTo>
                    <a:pt x="1110" y="132"/>
                  </a:lnTo>
                  <a:lnTo>
                    <a:pt x="1110" y="126"/>
                  </a:lnTo>
                  <a:lnTo>
                    <a:pt x="1116" y="120"/>
                  </a:lnTo>
                  <a:lnTo>
                    <a:pt x="1122" y="108"/>
                  </a:lnTo>
                  <a:lnTo>
                    <a:pt x="1134" y="96"/>
                  </a:lnTo>
                  <a:lnTo>
                    <a:pt x="1146" y="60"/>
                  </a:lnTo>
                  <a:lnTo>
                    <a:pt x="1158" y="54"/>
                  </a:lnTo>
                  <a:lnTo>
                    <a:pt x="1170" y="48"/>
                  </a:lnTo>
                  <a:lnTo>
                    <a:pt x="1188" y="42"/>
                  </a:lnTo>
                  <a:lnTo>
                    <a:pt x="1200" y="36"/>
                  </a:lnTo>
                  <a:lnTo>
                    <a:pt x="1212" y="36"/>
                  </a:lnTo>
                  <a:lnTo>
                    <a:pt x="1236" y="30"/>
                  </a:lnTo>
                  <a:lnTo>
                    <a:pt x="1236" y="24"/>
                  </a:lnTo>
                  <a:lnTo>
                    <a:pt x="1278" y="18"/>
                  </a:lnTo>
                  <a:lnTo>
                    <a:pt x="1290" y="18"/>
                  </a:lnTo>
                  <a:lnTo>
                    <a:pt x="1302" y="12"/>
                  </a:lnTo>
                  <a:lnTo>
                    <a:pt x="1314" y="0"/>
                  </a:lnTo>
                  <a:lnTo>
                    <a:pt x="1332" y="0"/>
                  </a:lnTo>
                  <a:lnTo>
                    <a:pt x="1338" y="24"/>
                  </a:lnTo>
                  <a:lnTo>
                    <a:pt x="1344" y="30"/>
                  </a:lnTo>
                  <a:lnTo>
                    <a:pt x="1350" y="42"/>
                  </a:lnTo>
                  <a:lnTo>
                    <a:pt x="1356" y="48"/>
                  </a:lnTo>
                  <a:lnTo>
                    <a:pt x="1356" y="78"/>
                  </a:lnTo>
                  <a:lnTo>
                    <a:pt x="1350" y="96"/>
                  </a:lnTo>
                  <a:lnTo>
                    <a:pt x="1338" y="108"/>
                  </a:lnTo>
                  <a:lnTo>
                    <a:pt x="1338" y="114"/>
                  </a:lnTo>
                  <a:lnTo>
                    <a:pt x="1338" y="120"/>
                  </a:lnTo>
                  <a:lnTo>
                    <a:pt x="1338" y="126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398" y="114"/>
                  </a:lnTo>
                  <a:lnTo>
                    <a:pt x="1416" y="120"/>
                  </a:lnTo>
                  <a:lnTo>
                    <a:pt x="1434" y="126"/>
                  </a:lnTo>
                  <a:lnTo>
                    <a:pt x="1458" y="132"/>
                  </a:lnTo>
                  <a:lnTo>
                    <a:pt x="1458" y="138"/>
                  </a:lnTo>
                  <a:lnTo>
                    <a:pt x="1512" y="138"/>
                  </a:lnTo>
                  <a:lnTo>
                    <a:pt x="1512" y="132"/>
                  </a:lnTo>
                  <a:lnTo>
                    <a:pt x="1524" y="138"/>
                  </a:lnTo>
                  <a:lnTo>
                    <a:pt x="1542" y="138"/>
                  </a:lnTo>
                  <a:lnTo>
                    <a:pt x="1542" y="150"/>
                  </a:lnTo>
                  <a:lnTo>
                    <a:pt x="1542" y="162"/>
                  </a:lnTo>
                  <a:lnTo>
                    <a:pt x="1548" y="174"/>
                  </a:lnTo>
                  <a:lnTo>
                    <a:pt x="1548" y="180"/>
                  </a:lnTo>
                  <a:lnTo>
                    <a:pt x="1554" y="222"/>
                  </a:lnTo>
                  <a:lnTo>
                    <a:pt x="1554" y="258"/>
                  </a:lnTo>
                  <a:lnTo>
                    <a:pt x="1554" y="276"/>
                  </a:lnTo>
                  <a:lnTo>
                    <a:pt x="1554" y="282"/>
                  </a:lnTo>
                  <a:lnTo>
                    <a:pt x="1554" y="294"/>
                  </a:lnTo>
                  <a:lnTo>
                    <a:pt x="1554" y="306"/>
                  </a:lnTo>
                  <a:lnTo>
                    <a:pt x="1554" y="324"/>
                  </a:lnTo>
                  <a:lnTo>
                    <a:pt x="1554" y="330"/>
                  </a:lnTo>
                  <a:lnTo>
                    <a:pt x="1548" y="330"/>
                  </a:lnTo>
                  <a:lnTo>
                    <a:pt x="1548" y="336"/>
                  </a:lnTo>
                  <a:lnTo>
                    <a:pt x="1548" y="342"/>
                  </a:lnTo>
                  <a:lnTo>
                    <a:pt x="1542" y="336"/>
                  </a:lnTo>
                  <a:lnTo>
                    <a:pt x="1542" y="330"/>
                  </a:lnTo>
                  <a:lnTo>
                    <a:pt x="1536" y="330"/>
                  </a:lnTo>
                  <a:lnTo>
                    <a:pt x="1530" y="330"/>
                  </a:lnTo>
                  <a:lnTo>
                    <a:pt x="1530" y="336"/>
                  </a:lnTo>
                  <a:lnTo>
                    <a:pt x="1536" y="342"/>
                  </a:lnTo>
                  <a:lnTo>
                    <a:pt x="1530" y="342"/>
                  </a:lnTo>
                  <a:lnTo>
                    <a:pt x="1518" y="348"/>
                  </a:lnTo>
                  <a:lnTo>
                    <a:pt x="1512" y="354"/>
                  </a:lnTo>
                  <a:lnTo>
                    <a:pt x="1506" y="354"/>
                  </a:lnTo>
                  <a:lnTo>
                    <a:pt x="1500" y="354"/>
                  </a:lnTo>
                  <a:lnTo>
                    <a:pt x="1494" y="354"/>
                  </a:lnTo>
                  <a:lnTo>
                    <a:pt x="1494" y="360"/>
                  </a:lnTo>
                  <a:lnTo>
                    <a:pt x="1488" y="360"/>
                  </a:lnTo>
                  <a:lnTo>
                    <a:pt x="1488" y="366"/>
                  </a:lnTo>
                  <a:lnTo>
                    <a:pt x="1488" y="372"/>
                  </a:lnTo>
                  <a:lnTo>
                    <a:pt x="1482" y="372"/>
                  </a:lnTo>
                  <a:lnTo>
                    <a:pt x="1476" y="372"/>
                  </a:lnTo>
                  <a:lnTo>
                    <a:pt x="1470" y="372"/>
                  </a:lnTo>
                  <a:lnTo>
                    <a:pt x="1470" y="378"/>
                  </a:lnTo>
                  <a:lnTo>
                    <a:pt x="1470" y="384"/>
                  </a:lnTo>
                  <a:lnTo>
                    <a:pt x="1470" y="390"/>
                  </a:lnTo>
                  <a:lnTo>
                    <a:pt x="1464" y="402"/>
                  </a:lnTo>
                  <a:lnTo>
                    <a:pt x="1446" y="402"/>
                  </a:lnTo>
                  <a:lnTo>
                    <a:pt x="1440" y="372"/>
                  </a:lnTo>
                  <a:lnTo>
                    <a:pt x="1410" y="372"/>
                  </a:lnTo>
                  <a:lnTo>
                    <a:pt x="1380" y="372"/>
                  </a:lnTo>
                  <a:lnTo>
                    <a:pt x="1374" y="372"/>
                  </a:lnTo>
                  <a:lnTo>
                    <a:pt x="1368" y="378"/>
                  </a:lnTo>
                  <a:lnTo>
                    <a:pt x="1362" y="378"/>
                  </a:lnTo>
                  <a:lnTo>
                    <a:pt x="1356" y="378"/>
                  </a:lnTo>
                  <a:lnTo>
                    <a:pt x="1350" y="384"/>
                  </a:lnTo>
                  <a:lnTo>
                    <a:pt x="1350" y="390"/>
                  </a:lnTo>
                  <a:lnTo>
                    <a:pt x="1344" y="390"/>
                  </a:lnTo>
                  <a:lnTo>
                    <a:pt x="1338" y="390"/>
                  </a:lnTo>
                  <a:lnTo>
                    <a:pt x="1332" y="390"/>
                  </a:lnTo>
                  <a:lnTo>
                    <a:pt x="1332" y="396"/>
                  </a:lnTo>
                  <a:lnTo>
                    <a:pt x="1332" y="390"/>
                  </a:lnTo>
                  <a:lnTo>
                    <a:pt x="1326" y="402"/>
                  </a:lnTo>
                  <a:lnTo>
                    <a:pt x="1320" y="402"/>
                  </a:lnTo>
                  <a:lnTo>
                    <a:pt x="1302" y="474"/>
                  </a:lnTo>
                  <a:lnTo>
                    <a:pt x="1308" y="480"/>
                  </a:lnTo>
                  <a:lnTo>
                    <a:pt x="1314" y="480"/>
                  </a:lnTo>
                  <a:lnTo>
                    <a:pt x="1308" y="498"/>
                  </a:lnTo>
                  <a:lnTo>
                    <a:pt x="1308" y="504"/>
                  </a:lnTo>
                  <a:lnTo>
                    <a:pt x="1314" y="510"/>
                  </a:lnTo>
                  <a:lnTo>
                    <a:pt x="1308" y="510"/>
                  </a:lnTo>
                  <a:lnTo>
                    <a:pt x="1308" y="516"/>
                  </a:lnTo>
                  <a:lnTo>
                    <a:pt x="1302" y="516"/>
                  </a:lnTo>
                  <a:lnTo>
                    <a:pt x="1296" y="510"/>
                  </a:lnTo>
                  <a:lnTo>
                    <a:pt x="1296" y="516"/>
                  </a:lnTo>
                  <a:lnTo>
                    <a:pt x="1290" y="540"/>
                  </a:lnTo>
                  <a:lnTo>
                    <a:pt x="1290" y="552"/>
                  </a:lnTo>
                  <a:lnTo>
                    <a:pt x="1284" y="558"/>
                  </a:lnTo>
                  <a:lnTo>
                    <a:pt x="1290" y="576"/>
                  </a:lnTo>
                  <a:lnTo>
                    <a:pt x="1290" y="600"/>
                  </a:lnTo>
                  <a:lnTo>
                    <a:pt x="1284" y="618"/>
                  </a:lnTo>
                  <a:lnTo>
                    <a:pt x="1290" y="624"/>
                  </a:lnTo>
                  <a:lnTo>
                    <a:pt x="1284" y="630"/>
                  </a:lnTo>
                  <a:lnTo>
                    <a:pt x="1278" y="630"/>
                  </a:lnTo>
                  <a:lnTo>
                    <a:pt x="1272" y="630"/>
                  </a:lnTo>
                  <a:lnTo>
                    <a:pt x="1266" y="636"/>
                  </a:lnTo>
                  <a:lnTo>
                    <a:pt x="1260" y="642"/>
                  </a:lnTo>
                  <a:lnTo>
                    <a:pt x="1260" y="636"/>
                  </a:lnTo>
                  <a:lnTo>
                    <a:pt x="1254" y="636"/>
                  </a:lnTo>
                  <a:lnTo>
                    <a:pt x="1248" y="636"/>
                  </a:lnTo>
                  <a:lnTo>
                    <a:pt x="1248" y="642"/>
                  </a:lnTo>
                  <a:lnTo>
                    <a:pt x="1242" y="642"/>
                  </a:lnTo>
                  <a:lnTo>
                    <a:pt x="1242" y="648"/>
                  </a:lnTo>
                  <a:lnTo>
                    <a:pt x="1236" y="654"/>
                  </a:lnTo>
                  <a:lnTo>
                    <a:pt x="1230" y="654"/>
                  </a:lnTo>
                  <a:lnTo>
                    <a:pt x="1224" y="654"/>
                  </a:lnTo>
                  <a:lnTo>
                    <a:pt x="1218" y="660"/>
                  </a:lnTo>
                  <a:lnTo>
                    <a:pt x="1212" y="660"/>
                  </a:lnTo>
                  <a:lnTo>
                    <a:pt x="1206" y="660"/>
                  </a:lnTo>
                  <a:lnTo>
                    <a:pt x="1200" y="660"/>
                  </a:lnTo>
                  <a:lnTo>
                    <a:pt x="1200" y="666"/>
                  </a:lnTo>
                  <a:lnTo>
                    <a:pt x="1194" y="666"/>
                  </a:lnTo>
                  <a:lnTo>
                    <a:pt x="1188" y="666"/>
                  </a:lnTo>
                  <a:lnTo>
                    <a:pt x="1182" y="672"/>
                  </a:lnTo>
                  <a:lnTo>
                    <a:pt x="1176" y="672"/>
                  </a:lnTo>
                  <a:lnTo>
                    <a:pt x="1170" y="672"/>
                  </a:lnTo>
                  <a:lnTo>
                    <a:pt x="1164" y="678"/>
                  </a:lnTo>
                  <a:lnTo>
                    <a:pt x="1170" y="678"/>
                  </a:lnTo>
                  <a:lnTo>
                    <a:pt x="1164" y="684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52" y="684"/>
                  </a:lnTo>
                  <a:lnTo>
                    <a:pt x="1152" y="690"/>
                  </a:lnTo>
                  <a:lnTo>
                    <a:pt x="1146" y="690"/>
                  </a:lnTo>
                  <a:lnTo>
                    <a:pt x="1140" y="690"/>
                  </a:lnTo>
                  <a:lnTo>
                    <a:pt x="1134" y="696"/>
                  </a:lnTo>
                  <a:lnTo>
                    <a:pt x="1128" y="696"/>
                  </a:lnTo>
                  <a:lnTo>
                    <a:pt x="1122" y="702"/>
                  </a:lnTo>
                  <a:lnTo>
                    <a:pt x="1116" y="702"/>
                  </a:lnTo>
                  <a:lnTo>
                    <a:pt x="1110" y="708"/>
                  </a:lnTo>
                  <a:lnTo>
                    <a:pt x="1104" y="708"/>
                  </a:lnTo>
                  <a:lnTo>
                    <a:pt x="1098" y="708"/>
                  </a:lnTo>
                  <a:lnTo>
                    <a:pt x="1092" y="708"/>
                  </a:lnTo>
                  <a:lnTo>
                    <a:pt x="1092" y="714"/>
                  </a:lnTo>
                  <a:lnTo>
                    <a:pt x="1086" y="720"/>
                  </a:lnTo>
                  <a:lnTo>
                    <a:pt x="1080" y="720"/>
                  </a:lnTo>
                  <a:lnTo>
                    <a:pt x="1074" y="720"/>
                  </a:lnTo>
                  <a:lnTo>
                    <a:pt x="1068" y="720"/>
                  </a:lnTo>
                  <a:lnTo>
                    <a:pt x="1062" y="720"/>
                  </a:lnTo>
                  <a:lnTo>
                    <a:pt x="1050" y="726"/>
                  </a:lnTo>
                  <a:lnTo>
                    <a:pt x="1044" y="726"/>
                  </a:lnTo>
                  <a:lnTo>
                    <a:pt x="1038" y="732"/>
                  </a:lnTo>
                  <a:lnTo>
                    <a:pt x="1026" y="732"/>
                  </a:lnTo>
                  <a:lnTo>
                    <a:pt x="1020" y="732"/>
                  </a:lnTo>
                  <a:lnTo>
                    <a:pt x="1014" y="738"/>
                  </a:lnTo>
                  <a:lnTo>
                    <a:pt x="1008" y="738"/>
                  </a:lnTo>
                  <a:lnTo>
                    <a:pt x="1002" y="738"/>
                  </a:lnTo>
                  <a:lnTo>
                    <a:pt x="996" y="738"/>
                  </a:lnTo>
                  <a:lnTo>
                    <a:pt x="990" y="738"/>
                  </a:lnTo>
                  <a:lnTo>
                    <a:pt x="990" y="732"/>
                  </a:lnTo>
                  <a:lnTo>
                    <a:pt x="984" y="732"/>
                  </a:lnTo>
                  <a:lnTo>
                    <a:pt x="978" y="738"/>
                  </a:lnTo>
                  <a:lnTo>
                    <a:pt x="978" y="744"/>
                  </a:lnTo>
                  <a:lnTo>
                    <a:pt x="984" y="744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8" y="756"/>
                  </a:lnTo>
                  <a:lnTo>
                    <a:pt x="972" y="756"/>
                  </a:lnTo>
                  <a:lnTo>
                    <a:pt x="972" y="762"/>
                  </a:lnTo>
                  <a:lnTo>
                    <a:pt x="966" y="768"/>
                  </a:lnTo>
                  <a:lnTo>
                    <a:pt x="966" y="762"/>
                  </a:lnTo>
                  <a:lnTo>
                    <a:pt x="960" y="762"/>
                  </a:lnTo>
                  <a:lnTo>
                    <a:pt x="954" y="768"/>
                  </a:lnTo>
                  <a:lnTo>
                    <a:pt x="954" y="774"/>
                  </a:lnTo>
                  <a:lnTo>
                    <a:pt x="948" y="774"/>
                  </a:lnTo>
                  <a:lnTo>
                    <a:pt x="948" y="780"/>
                  </a:lnTo>
                  <a:lnTo>
                    <a:pt x="948" y="786"/>
                  </a:lnTo>
                  <a:lnTo>
                    <a:pt x="942" y="786"/>
                  </a:lnTo>
                  <a:lnTo>
                    <a:pt x="942" y="792"/>
                  </a:lnTo>
                  <a:lnTo>
                    <a:pt x="936" y="792"/>
                  </a:lnTo>
                  <a:lnTo>
                    <a:pt x="942" y="798"/>
                  </a:lnTo>
                  <a:lnTo>
                    <a:pt x="942" y="804"/>
                  </a:lnTo>
                  <a:lnTo>
                    <a:pt x="942" y="810"/>
                  </a:lnTo>
                  <a:lnTo>
                    <a:pt x="948" y="810"/>
                  </a:lnTo>
                  <a:lnTo>
                    <a:pt x="942" y="816"/>
                  </a:lnTo>
                  <a:lnTo>
                    <a:pt x="948" y="816"/>
                  </a:lnTo>
                  <a:lnTo>
                    <a:pt x="948" y="822"/>
                  </a:lnTo>
                  <a:lnTo>
                    <a:pt x="954" y="822"/>
                  </a:lnTo>
                  <a:lnTo>
                    <a:pt x="960" y="828"/>
                  </a:lnTo>
                  <a:lnTo>
                    <a:pt x="960" y="834"/>
                  </a:lnTo>
                  <a:lnTo>
                    <a:pt x="966" y="834"/>
                  </a:lnTo>
                  <a:lnTo>
                    <a:pt x="960" y="840"/>
                  </a:lnTo>
                  <a:lnTo>
                    <a:pt x="966" y="846"/>
                  </a:lnTo>
                  <a:lnTo>
                    <a:pt x="966" y="840"/>
                  </a:lnTo>
                  <a:lnTo>
                    <a:pt x="972" y="840"/>
                  </a:lnTo>
                  <a:lnTo>
                    <a:pt x="990" y="840"/>
                  </a:lnTo>
                  <a:lnTo>
                    <a:pt x="1002" y="834"/>
                  </a:lnTo>
                  <a:lnTo>
                    <a:pt x="1020" y="828"/>
                  </a:lnTo>
                  <a:lnTo>
                    <a:pt x="1032" y="828"/>
                  </a:lnTo>
                  <a:lnTo>
                    <a:pt x="1050" y="828"/>
                  </a:lnTo>
                  <a:lnTo>
                    <a:pt x="1062" y="846"/>
                  </a:lnTo>
                  <a:lnTo>
                    <a:pt x="1074" y="876"/>
                  </a:lnTo>
                  <a:lnTo>
                    <a:pt x="1068" y="900"/>
                  </a:lnTo>
                  <a:lnTo>
                    <a:pt x="1074" y="912"/>
                  </a:lnTo>
                  <a:lnTo>
                    <a:pt x="1074" y="936"/>
                  </a:lnTo>
                  <a:lnTo>
                    <a:pt x="1068" y="942"/>
                  </a:lnTo>
                  <a:lnTo>
                    <a:pt x="1062" y="954"/>
                  </a:lnTo>
                  <a:lnTo>
                    <a:pt x="1056" y="978"/>
                  </a:lnTo>
                  <a:lnTo>
                    <a:pt x="1056" y="996"/>
                  </a:lnTo>
                  <a:lnTo>
                    <a:pt x="1068" y="990"/>
                  </a:lnTo>
                  <a:lnTo>
                    <a:pt x="1074" y="990"/>
                  </a:lnTo>
                  <a:lnTo>
                    <a:pt x="1074" y="1008"/>
                  </a:lnTo>
                  <a:lnTo>
                    <a:pt x="1080" y="1008"/>
                  </a:lnTo>
                  <a:lnTo>
                    <a:pt x="1092" y="1014"/>
                  </a:lnTo>
                  <a:lnTo>
                    <a:pt x="1110" y="1044"/>
                  </a:lnTo>
                  <a:lnTo>
                    <a:pt x="1110" y="1062"/>
                  </a:lnTo>
                  <a:lnTo>
                    <a:pt x="1128" y="1068"/>
                  </a:lnTo>
                  <a:lnTo>
                    <a:pt x="1128" y="1092"/>
                  </a:lnTo>
                  <a:lnTo>
                    <a:pt x="1134" y="1098"/>
                  </a:lnTo>
                  <a:lnTo>
                    <a:pt x="1158" y="1122"/>
                  </a:lnTo>
                  <a:lnTo>
                    <a:pt x="1188" y="1122"/>
                  </a:lnTo>
                  <a:lnTo>
                    <a:pt x="1188" y="1128"/>
                  </a:lnTo>
                  <a:lnTo>
                    <a:pt x="1200" y="1134"/>
                  </a:lnTo>
                  <a:lnTo>
                    <a:pt x="1206" y="1134"/>
                  </a:lnTo>
                  <a:lnTo>
                    <a:pt x="1206" y="1128"/>
                  </a:lnTo>
                  <a:lnTo>
                    <a:pt x="1212" y="1128"/>
                  </a:lnTo>
                  <a:lnTo>
                    <a:pt x="1218" y="1128"/>
                  </a:lnTo>
                  <a:lnTo>
                    <a:pt x="1224" y="1122"/>
                  </a:lnTo>
                  <a:lnTo>
                    <a:pt x="1224" y="1128"/>
                  </a:lnTo>
                  <a:lnTo>
                    <a:pt x="1230" y="1128"/>
                  </a:lnTo>
                  <a:lnTo>
                    <a:pt x="1236" y="1128"/>
                  </a:lnTo>
                  <a:lnTo>
                    <a:pt x="1236" y="1122"/>
                  </a:lnTo>
                  <a:lnTo>
                    <a:pt x="1242" y="1122"/>
                  </a:lnTo>
                  <a:lnTo>
                    <a:pt x="1248" y="1128"/>
                  </a:lnTo>
                  <a:lnTo>
                    <a:pt x="1254" y="1128"/>
                  </a:lnTo>
                  <a:lnTo>
                    <a:pt x="1260" y="1134"/>
                  </a:lnTo>
                  <a:lnTo>
                    <a:pt x="1260" y="1140"/>
                  </a:lnTo>
                  <a:lnTo>
                    <a:pt x="1266" y="1140"/>
                  </a:lnTo>
                  <a:lnTo>
                    <a:pt x="1272" y="1140"/>
                  </a:lnTo>
                  <a:lnTo>
                    <a:pt x="1278" y="1140"/>
                  </a:lnTo>
                  <a:lnTo>
                    <a:pt x="1284" y="1140"/>
                  </a:lnTo>
                  <a:lnTo>
                    <a:pt x="1290" y="1146"/>
                  </a:lnTo>
                  <a:lnTo>
                    <a:pt x="1290" y="1152"/>
                  </a:lnTo>
                  <a:lnTo>
                    <a:pt x="1296" y="1146"/>
                  </a:lnTo>
                  <a:lnTo>
                    <a:pt x="1296" y="1152"/>
                  </a:lnTo>
                  <a:lnTo>
                    <a:pt x="1308" y="1152"/>
                  </a:lnTo>
                  <a:lnTo>
                    <a:pt x="1314" y="1152"/>
                  </a:lnTo>
                  <a:lnTo>
                    <a:pt x="1320" y="1152"/>
                  </a:lnTo>
                  <a:lnTo>
                    <a:pt x="1332" y="1152"/>
                  </a:lnTo>
                  <a:lnTo>
                    <a:pt x="1338" y="1152"/>
                  </a:lnTo>
                  <a:lnTo>
                    <a:pt x="1344" y="1152"/>
                  </a:lnTo>
                  <a:lnTo>
                    <a:pt x="1344" y="1158"/>
                  </a:lnTo>
                  <a:lnTo>
                    <a:pt x="1350" y="1158"/>
                  </a:lnTo>
                  <a:lnTo>
                    <a:pt x="1356" y="1158"/>
                  </a:lnTo>
                  <a:lnTo>
                    <a:pt x="1362" y="1158"/>
                  </a:lnTo>
                  <a:lnTo>
                    <a:pt x="1368" y="1158"/>
                  </a:lnTo>
                  <a:lnTo>
                    <a:pt x="1374" y="1164"/>
                  </a:lnTo>
                  <a:lnTo>
                    <a:pt x="1380" y="1164"/>
                  </a:lnTo>
                  <a:lnTo>
                    <a:pt x="1386" y="1170"/>
                  </a:lnTo>
                  <a:lnTo>
                    <a:pt x="1392" y="1170"/>
                  </a:lnTo>
                  <a:lnTo>
                    <a:pt x="1398" y="1164"/>
                  </a:lnTo>
                  <a:lnTo>
                    <a:pt x="1404" y="1164"/>
                  </a:lnTo>
                  <a:lnTo>
                    <a:pt x="1410" y="1164"/>
                  </a:lnTo>
                  <a:lnTo>
                    <a:pt x="1416" y="1164"/>
                  </a:lnTo>
                  <a:lnTo>
                    <a:pt x="1416" y="1170"/>
                  </a:lnTo>
                  <a:lnTo>
                    <a:pt x="1422" y="1176"/>
                  </a:lnTo>
                  <a:lnTo>
                    <a:pt x="1416" y="1176"/>
                  </a:lnTo>
                  <a:lnTo>
                    <a:pt x="1416" y="1182"/>
                  </a:lnTo>
                  <a:lnTo>
                    <a:pt x="1410" y="1188"/>
                  </a:lnTo>
                  <a:lnTo>
                    <a:pt x="1404" y="1194"/>
                  </a:lnTo>
                  <a:lnTo>
                    <a:pt x="1404" y="1200"/>
                  </a:lnTo>
                  <a:lnTo>
                    <a:pt x="1404" y="1206"/>
                  </a:lnTo>
                  <a:lnTo>
                    <a:pt x="1398" y="1212"/>
                  </a:lnTo>
                  <a:lnTo>
                    <a:pt x="1398" y="1206"/>
                  </a:lnTo>
                  <a:lnTo>
                    <a:pt x="1392" y="1206"/>
                  </a:lnTo>
                  <a:lnTo>
                    <a:pt x="1386" y="1206"/>
                  </a:lnTo>
                  <a:lnTo>
                    <a:pt x="1380" y="1212"/>
                  </a:lnTo>
                  <a:lnTo>
                    <a:pt x="1374" y="1212"/>
                  </a:lnTo>
                  <a:lnTo>
                    <a:pt x="1368" y="1218"/>
                  </a:lnTo>
                  <a:lnTo>
                    <a:pt x="1362" y="1218"/>
                  </a:lnTo>
                  <a:lnTo>
                    <a:pt x="1362" y="1224"/>
                  </a:lnTo>
                  <a:lnTo>
                    <a:pt x="1356" y="1230"/>
                  </a:lnTo>
                  <a:lnTo>
                    <a:pt x="1350" y="1230"/>
                  </a:lnTo>
                  <a:lnTo>
                    <a:pt x="1344" y="1236"/>
                  </a:lnTo>
                  <a:lnTo>
                    <a:pt x="1338" y="1230"/>
                  </a:lnTo>
                  <a:lnTo>
                    <a:pt x="1332" y="1230"/>
                  </a:lnTo>
                  <a:lnTo>
                    <a:pt x="1326" y="1230"/>
                  </a:lnTo>
                  <a:lnTo>
                    <a:pt x="1320" y="1230"/>
                  </a:lnTo>
                  <a:lnTo>
                    <a:pt x="1314" y="1230"/>
                  </a:lnTo>
                  <a:lnTo>
                    <a:pt x="1296" y="1242"/>
                  </a:lnTo>
                  <a:lnTo>
                    <a:pt x="1296" y="1248"/>
                  </a:lnTo>
                  <a:lnTo>
                    <a:pt x="1290" y="1248"/>
                  </a:lnTo>
                  <a:lnTo>
                    <a:pt x="1290" y="1260"/>
                  </a:lnTo>
                  <a:lnTo>
                    <a:pt x="1278" y="1272"/>
                  </a:lnTo>
                  <a:lnTo>
                    <a:pt x="1278" y="1278"/>
                  </a:lnTo>
                  <a:lnTo>
                    <a:pt x="1278" y="1284"/>
                  </a:lnTo>
                  <a:lnTo>
                    <a:pt x="1278" y="1290"/>
                  </a:lnTo>
                  <a:lnTo>
                    <a:pt x="1284" y="1296"/>
                  </a:lnTo>
                  <a:lnTo>
                    <a:pt x="1302" y="1302"/>
                  </a:lnTo>
                  <a:lnTo>
                    <a:pt x="1308" y="1308"/>
                  </a:lnTo>
                  <a:lnTo>
                    <a:pt x="1308" y="1314"/>
                  </a:lnTo>
                  <a:lnTo>
                    <a:pt x="1302" y="1320"/>
                  </a:lnTo>
                  <a:lnTo>
                    <a:pt x="1278" y="1314"/>
                  </a:lnTo>
                  <a:lnTo>
                    <a:pt x="1266" y="1308"/>
                  </a:lnTo>
                  <a:lnTo>
                    <a:pt x="1260" y="1296"/>
                  </a:lnTo>
                  <a:lnTo>
                    <a:pt x="1236" y="1296"/>
                  </a:lnTo>
                  <a:lnTo>
                    <a:pt x="1224" y="1308"/>
                  </a:lnTo>
                  <a:lnTo>
                    <a:pt x="1218" y="1308"/>
                  </a:lnTo>
                  <a:lnTo>
                    <a:pt x="1218" y="1302"/>
                  </a:lnTo>
                  <a:lnTo>
                    <a:pt x="1212" y="1302"/>
                  </a:lnTo>
                  <a:lnTo>
                    <a:pt x="1206" y="1302"/>
                  </a:lnTo>
                  <a:lnTo>
                    <a:pt x="1170" y="1314"/>
                  </a:lnTo>
                  <a:lnTo>
                    <a:pt x="1134" y="1296"/>
                  </a:lnTo>
                  <a:lnTo>
                    <a:pt x="1122" y="1290"/>
                  </a:lnTo>
                  <a:lnTo>
                    <a:pt x="1104" y="1290"/>
                  </a:lnTo>
                  <a:lnTo>
                    <a:pt x="1098" y="1278"/>
                  </a:lnTo>
                  <a:lnTo>
                    <a:pt x="1092" y="1242"/>
                  </a:lnTo>
                  <a:lnTo>
                    <a:pt x="1086" y="1242"/>
                  </a:lnTo>
                  <a:lnTo>
                    <a:pt x="1086" y="1248"/>
                  </a:lnTo>
                  <a:lnTo>
                    <a:pt x="1086" y="1254"/>
                  </a:lnTo>
                  <a:lnTo>
                    <a:pt x="1080" y="1254"/>
                  </a:lnTo>
                  <a:lnTo>
                    <a:pt x="1080" y="1260"/>
                  </a:lnTo>
                  <a:lnTo>
                    <a:pt x="1074" y="1260"/>
                  </a:lnTo>
                  <a:lnTo>
                    <a:pt x="1068" y="1236"/>
                  </a:lnTo>
                  <a:lnTo>
                    <a:pt x="1068" y="1206"/>
                  </a:lnTo>
                  <a:lnTo>
                    <a:pt x="1080" y="1194"/>
                  </a:lnTo>
                  <a:lnTo>
                    <a:pt x="1086" y="1194"/>
                  </a:lnTo>
                  <a:lnTo>
                    <a:pt x="1092" y="1200"/>
                  </a:lnTo>
                  <a:lnTo>
                    <a:pt x="1098" y="1206"/>
                  </a:lnTo>
                  <a:lnTo>
                    <a:pt x="1104" y="1200"/>
                  </a:lnTo>
                  <a:lnTo>
                    <a:pt x="1104" y="1194"/>
                  </a:lnTo>
                  <a:lnTo>
                    <a:pt x="1110" y="1194"/>
                  </a:lnTo>
                  <a:lnTo>
                    <a:pt x="1110" y="1188"/>
                  </a:lnTo>
                  <a:lnTo>
                    <a:pt x="1116" y="1182"/>
                  </a:lnTo>
                  <a:lnTo>
                    <a:pt x="1110" y="1182"/>
                  </a:lnTo>
                  <a:lnTo>
                    <a:pt x="1110" y="1170"/>
                  </a:lnTo>
                  <a:lnTo>
                    <a:pt x="1110" y="1158"/>
                  </a:lnTo>
                  <a:lnTo>
                    <a:pt x="1110" y="1152"/>
                  </a:lnTo>
                  <a:lnTo>
                    <a:pt x="1104" y="1146"/>
                  </a:lnTo>
                  <a:lnTo>
                    <a:pt x="1098" y="1140"/>
                  </a:lnTo>
                  <a:lnTo>
                    <a:pt x="1098" y="1134"/>
                  </a:lnTo>
                  <a:lnTo>
                    <a:pt x="1098" y="1128"/>
                  </a:lnTo>
                  <a:lnTo>
                    <a:pt x="1092" y="1128"/>
                  </a:lnTo>
                  <a:lnTo>
                    <a:pt x="1092" y="1122"/>
                  </a:lnTo>
                  <a:lnTo>
                    <a:pt x="1092" y="1116"/>
                  </a:lnTo>
                  <a:lnTo>
                    <a:pt x="1092" y="1110"/>
                  </a:lnTo>
                  <a:lnTo>
                    <a:pt x="1056" y="1122"/>
                  </a:lnTo>
                  <a:lnTo>
                    <a:pt x="1038" y="1128"/>
                  </a:lnTo>
                  <a:lnTo>
                    <a:pt x="1032" y="1128"/>
                  </a:lnTo>
                  <a:lnTo>
                    <a:pt x="1026" y="1128"/>
                  </a:lnTo>
                  <a:lnTo>
                    <a:pt x="1020" y="1128"/>
                  </a:lnTo>
                  <a:lnTo>
                    <a:pt x="1014" y="1128"/>
                  </a:lnTo>
                  <a:lnTo>
                    <a:pt x="1014" y="1122"/>
                  </a:lnTo>
                  <a:lnTo>
                    <a:pt x="1008" y="1122"/>
                  </a:lnTo>
                  <a:lnTo>
                    <a:pt x="1002" y="1128"/>
                  </a:lnTo>
                  <a:lnTo>
                    <a:pt x="1002" y="1134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84" y="1140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66" y="1140"/>
                  </a:lnTo>
                  <a:lnTo>
                    <a:pt x="954" y="1140"/>
                  </a:lnTo>
                  <a:lnTo>
                    <a:pt x="954" y="1134"/>
                  </a:lnTo>
                  <a:lnTo>
                    <a:pt x="948" y="1134"/>
                  </a:lnTo>
                  <a:lnTo>
                    <a:pt x="942" y="1134"/>
                  </a:lnTo>
                  <a:lnTo>
                    <a:pt x="936" y="1134"/>
                  </a:lnTo>
                  <a:lnTo>
                    <a:pt x="930" y="1134"/>
                  </a:lnTo>
                  <a:lnTo>
                    <a:pt x="924" y="1134"/>
                  </a:lnTo>
                  <a:lnTo>
                    <a:pt x="918" y="1134"/>
                  </a:lnTo>
                  <a:lnTo>
                    <a:pt x="918" y="1128"/>
                  </a:lnTo>
                  <a:lnTo>
                    <a:pt x="918" y="1104"/>
                  </a:lnTo>
                  <a:lnTo>
                    <a:pt x="906" y="1104"/>
                  </a:lnTo>
                  <a:lnTo>
                    <a:pt x="900" y="1098"/>
                  </a:lnTo>
                  <a:lnTo>
                    <a:pt x="900" y="1092"/>
                  </a:lnTo>
                  <a:lnTo>
                    <a:pt x="900" y="1086"/>
                  </a:lnTo>
                  <a:lnTo>
                    <a:pt x="900" y="1080"/>
                  </a:lnTo>
                  <a:lnTo>
                    <a:pt x="894" y="1080"/>
                  </a:lnTo>
                  <a:lnTo>
                    <a:pt x="858" y="1074"/>
                  </a:lnTo>
                  <a:lnTo>
                    <a:pt x="852" y="1080"/>
                  </a:lnTo>
                  <a:lnTo>
                    <a:pt x="846" y="1086"/>
                  </a:lnTo>
                  <a:lnTo>
                    <a:pt x="840" y="1086"/>
                  </a:lnTo>
                  <a:lnTo>
                    <a:pt x="840" y="1092"/>
                  </a:lnTo>
                  <a:lnTo>
                    <a:pt x="834" y="1092"/>
                  </a:lnTo>
                  <a:lnTo>
                    <a:pt x="828" y="1098"/>
                  </a:lnTo>
                  <a:lnTo>
                    <a:pt x="822" y="1098"/>
                  </a:lnTo>
                  <a:lnTo>
                    <a:pt x="762" y="1074"/>
                  </a:lnTo>
                  <a:lnTo>
                    <a:pt x="756" y="1068"/>
                  </a:lnTo>
                  <a:lnTo>
                    <a:pt x="750" y="1068"/>
                  </a:lnTo>
                  <a:lnTo>
                    <a:pt x="744" y="1062"/>
                  </a:lnTo>
                  <a:lnTo>
                    <a:pt x="744" y="1068"/>
                  </a:lnTo>
                  <a:lnTo>
                    <a:pt x="744" y="1074"/>
                  </a:lnTo>
                  <a:lnTo>
                    <a:pt x="738" y="1074"/>
                  </a:lnTo>
                  <a:lnTo>
                    <a:pt x="738" y="1068"/>
                  </a:lnTo>
                  <a:lnTo>
                    <a:pt x="732" y="1068"/>
                  </a:lnTo>
                  <a:lnTo>
                    <a:pt x="726" y="1068"/>
                  </a:lnTo>
                  <a:lnTo>
                    <a:pt x="726" y="1074"/>
                  </a:lnTo>
                  <a:lnTo>
                    <a:pt x="720" y="1074"/>
                  </a:lnTo>
                  <a:lnTo>
                    <a:pt x="684" y="106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5" name="Freeform 40">
              <a:extLst>
                <a:ext uri="{FF2B5EF4-FFF2-40B4-BE49-F238E27FC236}">
                  <a16:creationId xmlns:a16="http://schemas.microsoft.com/office/drawing/2014/main" id="{37EC2F22-BDB9-4162-8FA4-08493F6898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3558" y="1520374"/>
              <a:ext cx="1057717" cy="1252440"/>
            </a:xfrm>
            <a:custGeom>
              <a:avLst/>
              <a:gdLst>
                <a:gd name="T0" fmla="*/ 98 w 1992"/>
                <a:gd name="T1" fmla="*/ 162 h 2358"/>
                <a:gd name="T2" fmla="*/ 93 w 1992"/>
                <a:gd name="T3" fmla="*/ 172 h 2358"/>
                <a:gd name="T4" fmla="*/ 82 w 1992"/>
                <a:gd name="T5" fmla="*/ 179 h 2358"/>
                <a:gd name="T6" fmla="*/ 70 w 1992"/>
                <a:gd name="T7" fmla="*/ 174 h 2358"/>
                <a:gd name="T8" fmla="*/ 62 w 1992"/>
                <a:gd name="T9" fmla="*/ 182 h 2358"/>
                <a:gd name="T10" fmla="*/ 45 w 1992"/>
                <a:gd name="T11" fmla="*/ 189 h 2358"/>
                <a:gd name="T12" fmla="*/ 24 w 1992"/>
                <a:gd name="T13" fmla="*/ 205 h 2358"/>
                <a:gd name="T14" fmla="*/ 17 w 1992"/>
                <a:gd name="T15" fmla="*/ 204 h 2358"/>
                <a:gd name="T16" fmla="*/ 7 w 1992"/>
                <a:gd name="T17" fmla="*/ 197 h 2358"/>
                <a:gd name="T18" fmla="*/ 1 w 1992"/>
                <a:gd name="T19" fmla="*/ 191 h 2358"/>
                <a:gd name="T20" fmla="*/ 4 w 1992"/>
                <a:gd name="T21" fmla="*/ 175 h 2358"/>
                <a:gd name="T22" fmla="*/ 7 w 1992"/>
                <a:gd name="T23" fmla="*/ 172 h 2358"/>
                <a:gd name="T24" fmla="*/ 11 w 1992"/>
                <a:gd name="T25" fmla="*/ 168 h 2358"/>
                <a:gd name="T26" fmla="*/ 5 w 1992"/>
                <a:gd name="T27" fmla="*/ 159 h 2358"/>
                <a:gd name="T28" fmla="*/ 10 w 1992"/>
                <a:gd name="T29" fmla="*/ 156 h 2358"/>
                <a:gd name="T30" fmla="*/ 15 w 1992"/>
                <a:gd name="T31" fmla="*/ 155 h 2358"/>
                <a:gd name="T32" fmla="*/ 24 w 1992"/>
                <a:gd name="T33" fmla="*/ 149 h 2358"/>
                <a:gd name="T34" fmla="*/ 38 w 1992"/>
                <a:gd name="T35" fmla="*/ 127 h 2358"/>
                <a:gd name="T36" fmla="*/ 38 w 1992"/>
                <a:gd name="T37" fmla="*/ 107 h 2358"/>
                <a:gd name="T38" fmla="*/ 45 w 1992"/>
                <a:gd name="T39" fmla="*/ 66 h 2358"/>
                <a:gd name="T40" fmla="*/ 47 w 1992"/>
                <a:gd name="T41" fmla="*/ 36 h 2358"/>
                <a:gd name="T42" fmla="*/ 51 w 1992"/>
                <a:gd name="T43" fmla="*/ 35 h 2358"/>
                <a:gd name="T44" fmla="*/ 55 w 1992"/>
                <a:gd name="T45" fmla="*/ 30 h 2358"/>
                <a:gd name="T46" fmla="*/ 56 w 1992"/>
                <a:gd name="T47" fmla="*/ 27 h 2358"/>
                <a:gd name="T48" fmla="*/ 60 w 1992"/>
                <a:gd name="T49" fmla="*/ 23 h 2358"/>
                <a:gd name="T50" fmla="*/ 63 w 1992"/>
                <a:gd name="T51" fmla="*/ 23 h 2358"/>
                <a:gd name="T52" fmla="*/ 70 w 1992"/>
                <a:gd name="T53" fmla="*/ 18 h 2358"/>
                <a:gd name="T54" fmla="*/ 71 w 1992"/>
                <a:gd name="T55" fmla="*/ 15 h 2358"/>
                <a:gd name="T56" fmla="*/ 72 w 1992"/>
                <a:gd name="T57" fmla="*/ 13 h 2358"/>
                <a:gd name="T58" fmla="*/ 77 w 1992"/>
                <a:gd name="T59" fmla="*/ 12 h 2358"/>
                <a:gd name="T60" fmla="*/ 83 w 1992"/>
                <a:gd name="T61" fmla="*/ 10 h 2358"/>
                <a:gd name="T62" fmla="*/ 87 w 1992"/>
                <a:gd name="T63" fmla="*/ 10 h 2358"/>
                <a:gd name="T64" fmla="*/ 89 w 1992"/>
                <a:gd name="T65" fmla="*/ 10 h 2358"/>
                <a:gd name="T66" fmla="*/ 93 w 1992"/>
                <a:gd name="T67" fmla="*/ 8 h 2358"/>
                <a:gd name="T68" fmla="*/ 95 w 1992"/>
                <a:gd name="T69" fmla="*/ 4 h 2358"/>
                <a:gd name="T70" fmla="*/ 99 w 1992"/>
                <a:gd name="T71" fmla="*/ 0 h 2358"/>
                <a:gd name="T72" fmla="*/ 111 w 1992"/>
                <a:gd name="T73" fmla="*/ 0 h 2358"/>
                <a:gd name="T74" fmla="*/ 121 w 1992"/>
                <a:gd name="T75" fmla="*/ 9 h 2358"/>
                <a:gd name="T76" fmla="*/ 128 w 1992"/>
                <a:gd name="T77" fmla="*/ 19 h 2358"/>
                <a:gd name="T78" fmla="*/ 138 w 1992"/>
                <a:gd name="T79" fmla="*/ 33 h 2358"/>
                <a:gd name="T80" fmla="*/ 142 w 1992"/>
                <a:gd name="T81" fmla="*/ 47 h 2358"/>
                <a:gd name="T82" fmla="*/ 145 w 1992"/>
                <a:gd name="T83" fmla="*/ 62 h 2358"/>
                <a:gd name="T84" fmla="*/ 145 w 1992"/>
                <a:gd name="T85" fmla="*/ 70 h 2358"/>
                <a:gd name="T86" fmla="*/ 147 w 1992"/>
                <a:gd name="T87" fmla="*/ 75 h 2358"/>
                <a:gd name="T88" fmla="*/ 153 w 1992"/>
                <a:gd name="T89" fmla="*/ 75 h 2358"/>
                <a:gd name="T90" fmla="*/ 160 w 1992"/>
                <a:gd name="T91" fmla="*/ 76 h 2358"/>
                <a:gd name="T92" fmla="*/ 164 w 1992"/>
                <a:gd name="T93" fmla="*/ 79 h 2358"/>
                <a:gd name="T94" fmla="*/ 168 w 1992"/>
                <a:gd name="T95" fmla="*/ 83 h 2358"/>
                <a:gd name="T96" fmla="*/ 172 w 1992"/>
                <a:gd name="T97" fmla="*/ 86 h 2358"/>
                <a:gd name="T98" fmla="*/ 170 w 1992"/>
                <a:gd name="T99" fmla="*/ 93 h 2358"/>
                <a:gd name="T100" fmla="*/ 170 w 1992"/>
                <a:gd name="T101" fmla="*/ 99 h 2358"/>
                <a:gd name="T102" fmla="*/ 169 w 1992"/>
                <a:gd name="T103" fmla="*/ 106 h 2358"/>
                <a:gd name="T104" fmla="*/ 166 w 1992"/>
                <a:gd name="T105" fmla="*/ 113 h 2358"/>
                <a:gd name="T106" fmla="*/ 170 w 1992"/>
                <a:gd name="T107" fmla="*/ 122 h 2358"/>
                <a:gd name="T108" fmla="*/ 159 w 1992"/>
                <a:gd name="T109" fmla="*/ 128 h 2358"/>
                <a:gd name="T110" fmla="*/ 148 w 1992"/>
                <a:gd name="T111" fmla="*/ 134 h 2358"/>
                <a:gd name="T112" fmla="*/ 139 w 1992"/>
                <a:gd name="T113" fmla="*/ 136 h 2358"/>
                <a:gd name="T114" fmla="*/ 132 w 1992"/>
                <a:gd name="T115" fmla="*/ 138 h 2358"/>
                <a:gd name="T116" fmla="*/ 128 w 1992"/>
                <a:gd name="T117" fmla="*/ 145 h 2358"/>
                <a:gd name="T118" fmla="*/ 124 w 1992"/>
                <a:gd name="T119" fmla="*/ 150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92"/>
                <a:gd name="T181" fmla="*/ 0 h 2358"/>
                <a:gd name="T182" fmla="*/ 1992 w 1992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92" h="2358">
                  <a:moveTo>
                    <a:pt x="1356" y="1782"/>
                  </a:moveTo>
                  <a:lnTo>
                    <a:pt x="1350" y="1788"/>
                  </a:lnTo>
                  <a:lnTo>
                    <a:pt x="1266" y="1788"/>
                  </a:lnTo>
                  <a:lnTo>
                    <a:pt x="1260" y="1800"/>
                  </a:lnTo>
                  <a:lnTo>
                    <a:pt x="1242" y="1806"/>
                  </a:lnTo>
                  <a:lnTo>
                    <a:pt x="1218" y="1812"/>
                  </a:lnTo>
                  <a:lnTo>
                    <a:pt x="1182" y="1812"/>
                  </a:lnTo>
                  <a:lnTo>
                    <a:pt x="1158" y="1806"/>
                  </a:lnTo>
                  <a:lnTo>
                    <a:pt x="1134" y="1800"/>
                  </a:lnTo>
                  <a:lnTo>
                    <a:pt x="1134" y="1806"/>
                  </a:lnTo>
                  <a:lnTo>
                    <a:pt x="1134" y="1830"/>
                  </a:lnTo>
                  <a:lnTo>
                    <a:pt x="1128" y="1842"/>
                  </a:lnTo>
                  <a:lnTo>
                    <a:pt x="1128" y="1854"/>
                  </a:lnTo>
                  <a:lnTo>
                    <a:pt x="1128" y="1860"/>
                  </a:lnTo>
                  <a:lnTo>
                    <a:pt x="1128" y="1866"/>
                  </a:lnTo>
                  <a:lnTo>
                    <a:pt x="1128" y="1872"/>
                  </a:lnTo>
                  <a:lnTo>
                    <a:pt x="1128" y="1884"/>
                  </a:lnTo>
                  <a:lnTo>
                    <a:pt x="1128" y="1890"/>
                  </a:lnTo>
                  <a:lnTo>
                    <a:pt x="1128" y="1896"/>
                  </a:lnTo>
                  <a:lnTo>
                    <a:pt x="1122" y="1902"/>
                  </a:lnTo>
                  <a:lnTo>
                    <a:pt x="1122" y="1920"/>
                  </a:lnTo>
                  <a:lnTo>
                    <a:pt x="1116" y="1920"/>
                  </a:lnTo>
                  <a:lnTo>
                    <a:pt x="1110" y="1926"/>
                  </a:lnTo>
                  <a:lnTo>
                    <a:pt x="1110" y="1932"/>
                  </a:lnTo>
                  <a:lnTo>
                    <a:pt x="1104" y="1938"/>
                  </a:lnTo>
                  <a:lnTo>
                    <a:pt x="1086" y="1962"/>
                  </a:lnTo>
                  <a:lnTo>
                    <a:pt x="1074" y="1974"/>
                  </a:lnTo>
                  <a:lnTo>
                    <a:pt x="1074" y="1980"/>
                  </a:lnTo>
                  <a:lnTo>
                    <a:pt x="1068" y="1986"/>
                  </a:lnTo>
                  <a:lnTo>
                    <a:pt x="1062" y="1998"/>
                  </a:lnTo>
                  <a:lnTo>
                    <a:pt x="1062" y="2004"/>
                  </a:lnTo>
                  <a:lnTo>
                    <a:pt x="1068" y="2004"/>
                  </a:lnTo>
                  <a:lnTo>
                    <a:pt x="1056" y="2034"/>
                  </a:lnTo>
                  <a:lnTo>
                    <a:pt x="1050" y="2076"/>
                  </a:lnTo>
                  <a:lnTo>
                    <a:pt x="1056" y="2100"/>
                  </a:lnTo>
                  <a:lnTo>
                    <a:pt x="1038" y="2106"/>
                  </a:lnTo>
                  <a:lnTo>
                    <a:pt x="1002" y="2106"/>
                  </a:lnTo>
                  <a:lnTo>
                    <a:pt x="978" y="2094"/>
                  </a:lnTo>
                  <a:lnTo>
                    <a:pt x="972" y="2082"/>
                  </a:lnTo>
                  <a:lnTo>
                    <a:pt x="966" y="2070"/>
                  </a:lnTo>
                  <a:lnTo>
                    <a:pt x="954" y="2064"/>
                  </a:lnTo>
                  <a:lnTo>
                    <a:pt x="942" y="2058"/>
                  </a:lnTo>
                  <a:lnTo>
                    <a:pt x="936" y="2058"/>
                  </a:lnTo>
                  <a:lnTo>
                    <a:pt x="918" y="2046"/>
                  </a:lnTo>
                  <a:lnTo>
                    <a:pt x="906" y="2028"/>
                  </a:lnTo>
                  <a:lnTo>
                    <a:pt x="900" y="2022"/>
                  </a:lnTo>
                  <a:lnTo>
                    <a:pt x="894" y="2022"/>
                  </a:lnTo>
                  <a:lnTo>
                    <a:pt x="882" y="2022"/>
                  </a:lnTo>
                  <a:lnTo>
                    <a:pt x="870" y="2016"/>
                  </a:lnTo>
                  <a:lnTo>
                    <a:pt x="864" y="2016"/>
                  </a:lnTo>
                  <a:lnTo>
                    <a:pt x="852" y="2010"/>
                  </a:lnTo>
                  <a:lnTo>
                    <a:pt x="846" y="2004"/>
                  </a:lnTo>
                  <a:lnTo>
                    <a:pt x="840" y="2004"/>
                  </a:lnTo>
                  <a:lnTo>
                    <a:pt x="828" y="1998"/>
                  </a:lnTo>
                  <a:lnTo>
                    <a:pt x="816" y="1998"/>
                  </a:lnTo>
                  <a:lnTo>
                    <a:pt x="810" y="1998"/>
                  </a:lnTo>
                  <a:lnTo>
                    <a:pt x="804" y="1998"/>
                  </a:lnTo>
                  <a:lnTo>
                    <a:pt x="798" y="1998"/>
                  </a:lnTo>
                  <a:lnTo>
                    <a:pt x="792" y="2004"/>
                  </a:lnTo>
                  <a:lnTo>
                    <a:pt x="786" y="2010"/>
                  </a:lnTo>
                  <a:lnTo>
                    <a:pt x="762" y="2010"/>
                  </a:lnTo>
                  <a:lnTo>
                    <a:pt x="756" y="2010"/>
                  </a:lnTo>
                  <a:lnTo>
                    <a:pt x="744" y="2022"/>
                  </a:lnTo>
                  <a:lnTo>
                    <a:pt x="738" y="2034"/>
                  </a:lnTo>
                  <a:lnTo>
                    <a:pt x="732" y="2040"/>
                  </a:lnTo>
                  <a:lnTo>
                    <a:pt x="732" y="2046"/>
                  </a:lnTo>
                  <a:lnTo>
                    <a:pt x="726" y="2058"/>
                  </a:lnTo>
                  <a:lnTo>
                    <a:pt x="720" y="2064"/>
                  </a:lnTo>
                  <a:lnTo>
                    <a:pt x="714" y="2070"/>
                  </a:lnTo>
                  <a:lnTo>
                    <a:pt x="708" y="2088"/>
                  </a:lnTo>
                  <a:lnTo>
                    <a:pt x="702" y="2100"/>
                  </a:lnTo>
                  <a:lnTo>
                    <a:pt x="690" y="2100"/>
                  </a:lnTo>
                  <a:lnTo>
                    <a:pt x="684" y="2094"/>
                  </a:lnTo>
                  <a:lnTo>
                    <a:pt x="666" y="2100"/>
                  </a:lnTo>
                  <a:lnTo>
                    <a:pt x="636" y="2106"/>
                  </a:lnTo>
                  <a:lnTo>
                    <a:pt x="636" y="2112"/>
                  </a:lnTo>
                  <a:lnTo>
                    <a:pt x="636" y="2118"/>
                  </a:lnTo>
                  <a:lnTo>
                    <a:pt x="636" y="2124"/>
                  </a:lnTo>
                  <a:lnTo>
                    <a:pt x="630" y="2124"/>
                  </a:lnTo>
                  <a:lnTo>
                    <a:pt x="630" y="2148"/>
                  </a:lnTo>
                  <a:lnTo>
                    <a:pt x="612" y="2160"/>
                  </a:lnTo>
                  <a:lnTo>
                    <a:pt x="576" y="2172"/>
                  </a:lnTo>
                  <a:lnTo>
                    <a:pt x="546" y="2172"/>
                  </a:lnTo>
                  <a:lnTo>
                    <a:pt x="516" y="2172"/>
                  </a:lnTo>
                  <a:lnTo>
                    <a:pt x="486" y="2172"/>
                  </a:lnTo>
                  <a:lnTo>
                    <a:pt x="462" y="2172"/>
                  </a:lnTo>
                  <a:lnTo>
                    <a:pt x="444" y="2196"/>
                  </a:lnTo>
                  <a:lnTo>
                    <a:pt x="432" y="2232"/>
                  </a:lnTo>
                  <a:lnTo>
                    <a:pt x="408" y="2238"/>
                  </a:lnTo>
                  <a:lnTo>
                    <a:pt x="390" y="2256"/>
                  </a:lnTo>
                  <a:lnTo>
                    <a:pt x="372" y="2274"/>
                  </a:lnTo>
                  <a:lnTo>
                    <a:pt x="360" y="2274"/>
                  </a:lnTo>
                  <a:lnTo>
                    <a:pt x="336" y="2328"/>
                  </a:lnTo>
                  <a:lnTo>
                    <a:pt x="324" y="2340"/>
                  </a:lnTo>
                  <a:lnTo>
                    <a:pt x="300" y="2346"/>
                  </a:lnTo>
                  <a:lnTo>
                    <a:pt x="294" y="2352"/>
                  </a:lnTo>
                  <a:lnTo>
                    <a:pt x="288" y="2352"/>
                  </a:lnTo>
                  <a:lnTo>
                    <a:pt x="282" y="2352"/>
                  </a:lnTo>
                  <a:lnTo>
                    <a:pt x="276" y="2352"/>
                  </a:lnTo>
                  <a:lnTo>
                    <a:pt x="270" y="2352"/>
                  </a:lnTo>
                  <a:lnTo>
                    <a:pt x="270" y="2346"/>
                  </a:lnTo>
                  <a:lnTo>
                    <a:pt x="264" y="2346"/>
                  </a:lnTo>
                  <a:lnTo>
                    <a:pt x="258" y="2352"/>
                  </a:lnTo>
                  <a:lnTo>
                    <a:pt x="252" y="2352"/>
                  </a:lnTo>
                  <a:lnTo>
                    <a:pt x="240" y="2352"/>
                  </a:lnTo>
                  <a:lnTo>
                    <a:pt x="228" y="2352"/>
                  </a:lnTo>
                  <a:lnTo>
                    <a:pt x="222" y="2352"/>
                  </a:lnTo>
                  <a:lnTo>
                    <a:pt x="216" y="2358"/>
                  </a:lnTo>
                  <a:lnTo>
                    <a:pt x="216" y="2352"/>
                  </a:lnTo>
                  <a:lnTo>
                    <a:pt x="210" y="2346"/>
                  </a:lnTo>
                  <a:lnTo>
                    <a:pt x="204" y="2346"/>
                  </a:lnTo>
                  <a:lnTo>
                    <a:pt x="198" y="2340"/>
                  </a:lnTo>
                  <a:lnTo>
                    <a:pt x="192" y="2340"/>
                  </a:lnTo>
                  <a:lnTo>
                    <a:pt x="186" y="2340"/>
                  </a:lnTo>
                  <a:lnTo>
                    <a:pt x="180" y="2340"/>
                  </a:lnTo>
                  <a:lnTo>
                    <a:pt x="174" y="2340"/>
                  </a:lnTo>
                  <a:lnTo>
                    <a:pt x="162" y="2328"/>
                  </a:lnTo>
                  <a:lnTo>
                    <a:pt x="156" y="2322"/>
                  </a:lnTo>
                  <a:lnTo>
                    <a:pt x="156" y="2316"/>
                  </a:lnTo>
                  <a:lnTo>
                    <a:pt x="156" y="2310"/>
                  </a:lnTo>
                  <a:lnTo>
                    <a:pt x="132" y="2286"/>
                  </a:lnTo>
                  <a:lnTo>
                    <a:pt x="120" y="2280"/>
                  </a:lnTo>
                  <a:lnTo>
                    <a:pt x="96" y="2274"/>
                  </a:lnTo>
                  <a:lnTo>
                    <a:pt x="84" y="2268"/>
                  </a:lnTo>
                  <a:lnTo>
                    <a:pt x="78" y="2268"/>
                  </a:lnTo>
                  <a:lnTo>
                    <a:pt x="78" y="2262"/>
                  </a:lnTo>
                  <a:lnTo>
                    <a:pt x="78" y="2256"/>
                  </a:lnTo>
                  <a:lnTo>
                    <a:pt x="78" y="2250"/>
                  </a:lnTo>
                  <a:lnTo>
                    <a:pt x="72" y="2250"/>
                  </a:lnTo>
                  <a:lnTo>
                    <a:pt x="66" y="2250"/>
                  </a:lnTo>
                  <a:lnTo>
                    <a:pt x="60" y="2250"/>
                  </a:lnTo>
                  <a:lnTo>
                    <a:pt x="48" y="2244"/>
                  </a:lnTo>
                  <a:lnTo>
                    <a:pt x="36" y="2238"/>
                  </a:lnTo>
                  <a:lnTo>
                    <a:pt x="36" y="2226"/>
                  </a:lnTo>
                  <a:lnTo>
                    <a:pt x="30" y="2226"/>
                  </a:lnTo>
                  <a:lnTo>
                    <a:pt x="30" y="2220"/>
                  </a:lnTo>
                  <a:lnTo>
                    <a:pt x="24" y="2208"/>
                  </a:lnTo>
                  <a:lnTo>
                    <a:pt x="18" y="2202"/>
                  </a:lnTo>
                  <a:lnTo>
                    <a:pt x="18" y="2196"/>
                  </a:lnTo>
                  <a:lnTo>
                    <a:pt x="12" y="2190"/>
                  </a:lnTo>
                  <a:lnTo>
                    <a:pt x="0" y="2190"/>
                  </a:lnTo>
                  <a:lnTo>
                    <a:pt x="6" y="2184"/>
                  </a:lnTo>
                  <a:lnTo>
                    <a:pt x="12" y="2178"/>
                  </a:lnTo>
                  <a:lnTo>
                    <a:pt x="18" y="2172"/>
                  </a:lnTo>
                  <a:lnTo>
                    <a:pt x="24" y="2166"/>
                  </a:lnTo>
                  <a:lnTo>
                    <a:pt x="30" y="2166"/>
                  </a:lnTo>
                  <a:lnTo>
                    <a:pt x="24" y="2160"/>
                  </a:lnTo>
                  <a:lnTo>
                    <a:pt x="30" y="2160"/>
                  </a:lnTo>
                  <a:lnTo>
                    <a:pt x="36" y="2154"/>
                  </a:lnTo>
                  <a:lnTo>
                    <a:pt x="36" y="2136"/>
                  </a:lnTo>
                  <a:lnTo>
                    <a:pt x="36" y="2118"/>
                  </a:lnTo>
                  <a:lnTo>
                    <a:pt x="48" y="2058"/>
                  </a:lnTo>
                  <a:lnTo>
                    <a:pt x="48" y="2022"/>
                  </a:lnTo>
                  <a:lnTo>
                    <a:pt x="48" y="2016"/>
                  </a:lnTo>
                  <a:lnTo>
                    <a:pt x="48" y="2010"/>
                  </a:lnTo>
                  <a:lnTo>
                    <a:pt x="48" y="2004"/>
                  </a:lnTo>
                  <a:lnTo>
                    <a:pt x="42" y="2004"/>
                  </a:lnTo>
                  <a:lnTo>
                    <a:pt x="42" y="1998"/>
                  </a:lnTo>
                  <a:lnTo>
                    <a:pt x="36" y="1992"/>
                  </a:lnTo>
                  <a:lnTo>
                    <a:pt x="42" y="1992"/>
                  </a:lnTo>
                  <a:lnTo>
                    <a:pt x="42" y="1986"/>
                  </a:lnTo>
                  <a:lnTo>
                    <a:pt x="48" y="1986"/>
                  </a:lnTo>
                  <a:lnTo>
                    <a:pt x="54" y="1986"/>
                  </a:lnTo>
                  <a:lnTo>
                    <a:pt x="60" y="1986"/>
                  </a:lnTo>
                  <a:lnTo>
                    <a:pt x="66" y="1980"/>
                  </a:lnTo>
                  <a:lnTo>
                    <a:pt x="72" y="1974"/>
                  </a:lnTo>
                  <a:lnTo>
                    <a:pt x="78" y="1974"/>
                  </a:lnTo>
                  <a:lnTo>
                    <a:pt x="84" y="1974"/>
                  </a:lnTo>
                  <a:lnTo>
                    <a:pt x="90" y="1974"/>
                  </a:lnTo>
                  <a:lnTo>
                    <a:pt x="96" y="1974"/>
                  </a:lnTo>
                  <a:lnTo>
                    <a:pt x="96" y="1968"/>
                  </a:lnTo>
                  <a:lnTo>
                    <a:pt x="102" y="1968"/>
                  </a:lnTo>
                  <a:lnTo>
                    <a:pt x="102" y="1962"/>
                  </a:lnTo>
                  <a:lnTo>
                    <a:pt x="108" y="1962"/>
                  </a:lnTo>
                  <a:lnTo>
                    <a:pt x="114" y="1956"/>
                  </a:lnTo>
                  <a:lnTo>
                    <a:pt x="120" y="1956"/>
                  </a:lnTo>
                  <a:lnTo>
                    <a:pt x="126" y="1950"/>
                  </a:lnTo>
                  <a:lnTo>
                    <a:pt x="132" y="1950"/>
                  </a:lnTo>
                  <a:lnTo>
                    <a:pt x="132" y="1944"/>
                  </a:lnTo>
                  <a:lnTo>
                    <a:pt x="126" y="1944"/>
                  </a:lnTo>
                  <a:lnTo>
                    <a:pt x="126" y="1938"/>
                  </a:lnTo>
                  <a:lnTo>
                    <a:pt x="126" y="1932"/>
                  </a:lnTo>
                  <a:lnTo>
                    <a:pt x="126" y="1926"/>
                  </a:lnTo>
                  <a:lnTo>
                    <a:pt x="114" y="1914"/>
                  </a:lnTo>
                  <a:lnTo>
                    <a:pt x="114" y="1896"/>
                  </a:lnTo>
                  <a:lnTo>
                    <a:pt x="108" y="1884"/>
                  </a:lnTo>
                  <a:lnTo>
                    <a:pt x="102" y="1872"/>
                  </a:lnTo>
                  <a:lnTo>
                    <a:pt x="96" y="1866"/>
                  </a:lnTo>
                  <a:lnTo>
                    <a:pt x="96" y="1860"/>
                  </a:lnTo>
                  <a:lnTo>
                    <a:pt x="90" y="1860"/>
                  </a:lnTo>
                  <a:lnTo>
                    <a:pt x="90" y="1854"/>
                  </a:lnTo>
                  <a:lnTo>
                    <a:pt x="84" y="1848"/>
                  </a:lnTo>
                  <a:lnTo>
                    <a:pt x="78" y="1842"/>
                  </a:lnTo>
                  <a:lnTo>
                    <a:pt x="72" y="1836"/>
                  </a:lnTo>
                  <a:lnTo>
                    <a:pt x="66" y="1830"/>
                  </a:lnTo>
                  <a:lnTo>
                    <a:pt x="60" y="1824"/>
                  </a:lnTo>
                  <a:lnTo>
                    <a:pt x="54" y="1824"/>
                  </a:lnTo>
                  <a:lnTo>
                    <a:pt x="48" y="1824"/>
                  </a:lnTo>
                  <a:lnTo>
                    <a:pt x="42" y="1818"/>
                  </a:lnTo>
                  <a:lnTo>
                    <a:pt x="54" y="1818"/>
                  </a:lnTo>
                  <a:lnTo>
                    <a:pt x="60" y="1812"/>
                  </a:lnTo>
                  <a:lnTo>
                    <a:pt x="66" y="1812"/>
                  </a:lnTo>
                  <a:lnTo>
                    <a:pt x="72" y="1812"/>
                  </a:lnTo>
                  <a:lnTo>
                    <a:pt x="78" y="1812"/>
                  </a:lnTo>
                  <a:lnTo>
                    <a:pt x="84" y="1812"/>
                  </a:lnTo>
                  <a:lnTo>
                    <a:pt x="90" y="1806"/>
                  </a:lnTo>
                  <a:lnTo>
                    <a:pt x="96" y="1800"/>
                  </a:lnTo>
                  <a:lnTo>
                    <a:pt x="102" y="1806"/>
                  </a:lnTo>
                  <a:lnTo>
                    <a:pt x="108" y="1800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26" y="1788"/>
                  </a:lnTo>
                  <a:lnTo>
                    <a:pt x="126" y="1794"/>
                  </a:lnTo>
                  <a:lnTo>
                    <a:pt x="132" y="1794"/>
                  </a:lnTo>
                  <a:lnTo>
                    <a:pt x="132" y="1788"/>
                  </a:lnTo>
                  <a:lnTo>
                    <a:pt x="138" y="1788"/>
                  </a:lnTo>
                  <a:lnTo>
                    <a:pt x="138" y="1782"/>
                  </a:lnTo>
                  <a:lnTo>
                    <a:pt x="144" y="1782"/>
                  </a:lnTo>
                  <a:lnTo>
                    <a:pt x="150" y="1776"/>
                  </a:lnTo>
                  <a:lnTo>
                    <a:pt x="156" y="1782"/>
                  </a:lnTo>
                  <a:lnTo>
                    <a:pt x="162" y="1776"/>
                  </a:lnTo>
                  <a:lnTo>
                    <a:pt x="168" y="1776"/>
                  </a:lnTo>
                  <a:lnTo>
                    <a:pt x="180" y="1776"/>
                  </a:lnTo>
                  <a:lnTo>
                    <a:pt x="186" y="1776"/>
                  </a:lnTo>
                  <a:lnTo>
                    <a:pt x="186" y="1782"/>
                  </a:lnTo>
                  <a:lnTo>
                    <a:pt x="192" y="1776"/>
                  </a:lnTo>
                  <a:lnTo>
                    <a:pt x="198" y="1776"/>
                  </a:lnTo>
                  <a:lnTo>
                    <a:pt x="204" y="1770"/>
                  </a:lnTo>
                  <a:lnTo>
                    <a:pt x="204" y="1764"/>
                  </a:lnTo>
                  <a:lnTo>
                    <a:pt x="210" y="1764"/>
                  </a:lnTo>
                  <a:lnTo>
                    <a:pt x="216" y="1764"/>
                  </a:lnTo>
                  <a:lnTo>
                    <a:pt x="216" y="1758"/>
                  </a:lnTo>
                  <a:lnTo>
                    <a:pt x="222" y="1758"/>
                  </a:lnTo>
                  <a:lnTo>
                    <a:pt x="228" y="1758"/>
                  </a:lnTo>
                  <a:lnTo>
                    <a:pt x="258" y="1746"/>
                  </a:lnTo>
                  <a:lnTo>
                    <a:pt x="282" y="1716"/>
                  </a:lnTo>
                  <a:lnTo>
                    <a:pt x="300" y="1698"/>
                  </a:lnTo>
                  <a:lnTo>
                    <a:pt x="312" y="1698"/>
                  </a:lnTo>
                  <a:lnTo>
                    <a:pt x="336" y="1698"/>
                  </a:lnTo>
                  <a:lnTo>
                    <a:pt x="360" y="1698"/>
                  </a:lnTo>
                  <a:lnTo>
                    <a:pt x="372" y="1692"/>
                  </a:lnTo>
                  <a:lnTo>
                    <a:pt x="384" y="1692"/>
                  </a:lnTo>
                  <a:lnTo>
                    <a:pt x="360" y="1668"/>
                  </a:lnTo>
                  <a:lnTo>
                    <a:pt x="348" y="1626"/>
                  </a:lnTo>
                  <a:lnTo>
                    <a:pt x="354" y="1578"/>
                  </a:lnTo>
                  <a:lnTo>
                    <a:pt x="354" y="1572"/>
                  </a:lnTo>
                  <a:lnTo>
                    <a:pt x="360" y="1572"/>
                  </a:lnTo>
                  <a:lnTo>
                    <a:pt x="396" y="1530"/>
                  </a:lnTo>
                  <a:lnTo>
                    <a:pt x="408" y="1482"/>
                  </a:lnTo>
                  <a:lnTo>
                    <a:pt x="438" y="1458"/>
                  </a:lnTo>
                  <a:lnTo>
                    <a:pt x="468" y="1422"/>
                  </a:lnTo>
                  <a:lnTo>
                    <a:pt x="480" y="1410"/>
                  </a:lnTo>
                  <a:lnTo>
                    <a:pt x="474" y="1386"/>
                  </a:lnTo>
                  <a:lnTo>
                    <a:pt x="456" y="1356"/>
                  </a:lnTo>
                  <a:lnTo>
                    <a:pt x="438" y="1350"/>
                  </a:lnTo>
                  <a:lnTo>
                    <a:pt x="420" y="1350"/>
                  </a:lnTo>
                  <a:lnTo>
                    <a:pt x="402" y="1350"/>
                  </a:lnTo>
                  <a:lnTo>
                    <a:pt x="390" y="1344"/>
                  </a:lnTo>
                  <a:lnTo>
                    <a:pt x="390" y="1332"/>
                  </a:lnTo>
                  <a:lnTo>
                    <a:pt x="402" y="1296"/>
                  </a:lnTo>
                  <a:lnTo>
                    <a:pt x="414" y="1260"/>
                  </a:lnTo>
                  <a:lnTo>
                    <a:pt x="426" y="1248"/>
                  </a:lnTo>
                  <a:lnTo>
                    <a:pt x="438" y="1242"/>
                  </a:lnTo>
                  <a:lnTo>
                    <a:pt x="432" y="1230"/>
                  </a:lnTo>
                  <a:lnTo>
                    <a:pt x="432" y="1224"/>
                  </a:lnTo>
                  <a:lnTo>
                    <a:pt x="426" y="1218"/>
                  </a:lnTo>
                  <a:lnTo>
                    <a:pt x="426" y="1206"/>
                  </a:lnTo>
                  <a:lnTo>
                    <a:pt x="426" y="1200"/>
                  </a:lnTo>
                  <a:lnTo>
                    <a:pt x="432" y="1194"/>
                  </a:lnTo>
                  <a:lnTo>
                    <a:pt x="426" y="1188"/>
                  </a:lnTo>
                  <a:lnTo>
                    <a:pt x="432" y="1104"/>
                  </a:lnTo>
                  <a:lnTo>
                    <a:pt x="438" y="1086"/>
                  </a:lnTo>
                  <a:lnTo>
                    <a:pt x="462" y="972"/>
                  </a:lnTo>
                  <a:lnTo>
                    <a:pt x="456" y="900"/>
                  </a:lnTo>
                  <a:lnTo>
                    <a:pt x="444" y="846"/>
                  </a:lnTo>
                  <a:lnTo>
                    <a:pt x="456" y="810"/>
                  </a:lnTo>
                  <a:lnTo>
                    <a:pt x="492" y="786"/>
                  </a:lnTo>
                  <a:lnTo>
                    <a:pt x="522" y="762"/>
                  </a:lnTo>
                  <a:lnTo>
                    <a:pt x="546" y="732"/>
                  </a:lnTo>
                  <a:lnTo>
                    <a:pt x="570" y="696"/>
                  </a:lnTo>
                  <a:lnTo>
                    <a:pt x="582" y="654"/>
                  </a:lnTo>
                  <a:lnTo>
                    <a:pt x="564" y="642"/>
                  </a:lnTo>
                  <a:lnTo>
                    <a:pt x="522" y="588"/>
                  </a:lnTo>
                  <a:lnTo>
                    <a:pt x="516" y="546"/>
                  </a:lnTo>
                  <a:lnTo>
                    <a:pt x="510" y="474"/>
                  </a:lnTo>
                  <a:lnTo>
                    <a:pt x="510" y="450"/>
                  </a:lnTo>
                  <a:lnTo>
                    <a:pt x="510" y="444"/>
                  </a:lnTo>
                  <a:lnTo>
                    <a:pt x="522" y="438"/>
                  </a:lnTo>
                  <a:lnTo>
                    <a:pt x="522" y="432"/>
                  </a:lnTo>
                  <a:lnTo>
                    <a:pt x="528" y="426"/>
                  </a:lnTo>
                  <a:lnTo>
                    <a:pt x="534" y="420"/>
                  </a:lnTo>
                  <a:lnTo>
                    <a:pt x="540" y="414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08"/>
                  </a:lnTo>
                  <a:lnTo>
                    <a:pt x="546" y="408"/>
                  </a:lnTo>
                  <a:lnTo>
                    <a:pt x="558" y="414"/>
                  </a:lnTo>
                  <a:lnTo>
                    <a:pt x="564" y="414"/>
                  </a:lnTo>
                  <a:lnTo>
                    <a:pt x="570" y="414"/>
                  </a:lnTo>
                  <a:lnTo>
                    <a:pt x="582" y="414"/>
                  </a:lnTo>
                  <a:lnTo>
                    <a:pt x="582" y="420"/>
                  </a:lnTo>
                  <a:lnTo>
                    <a:pt x="588" y="414"/>
                  </a:lnTo>
                  <a:lnTo>
                    <a:pt x="582" y="408"/>
                  </a:lnTo>
                  <a:lnTo>
                    <a:pt x="588" y="402"/>
                  </a:lnTo>
                  <a:lnTo>
                    <a:pt x="594" y="402"/>
                  </a:lnTo>
                  <a:lnTo>
                    <a:pt x="594" y="396"/>
                  </a:lnTo>
                  <a:lnTo>
                    <a:pt x="594" y="390"/>
                  </a:lnTo>
                  <a:lnTo>
                    <a:pt x="594" y="384"/>
                  </a:lnTo>
                  <a:lnTo>
                    <a:pt x="594" y="378"/>
                  </a:lnTo>
                  <a:lnTo>
                    <a:pt x="600" y="366"/>
                  </a:lnTo>
                  <a:lnTo>
                    <a:pt x="606" y="366"/>
                  </a:lnTo>
                  <a:lnTo>
                    <a:pt x="612" y="360"/>
                  </a:lnTo>
                  <a:lnTo>
                    <a:pt x="612" y="366"/>
                  </a:lnTo>
                  <a:lnTo>
                    <a:pt x="618" y="366"/>
                  </a:lnTo>
                  <a:lnTo>
                    <a:pt x="624" y="366"/>
                  </a:lnTo>
                  <a:lnTo>
                    <a:pt x="630" y="360"/>
                  </a:lnTo>
                  <a:lnTo>
                    <a:pt x="636" y="354"/>
                  </a:lnTo>
                  <a:lnTo>
                    <a:pt x="630" y="354"/>
                  </a:lnTo>
                  <a:lnTo>
                    <a:pt x="630" y="348"/>
                  </a:lnTo>
                  <a:lnTo>
                    <a:pt x="630" y="342"/>
                  </a:lnTo>
                  <a:lnTo>
                    <a:pt x="636" y="342"/>
                  </a:lnTo>
                  <a:lnTo>
                    <a:pt x="642" y="336"/>
                  </a:lnTo>
                  <a:lnTo>
                    <a:pt x="636" y="330"/>
                  </a:lnTo>
                  <a:lnTo>
                    <a:pt x="630" y="336"/>
                  </a:lnTo>
                  <a:lnTo>
                    <a:pt x="624" y="336"/>
                  </a:lnTo>
                  <a:lnTo>
                    <a:pt x="624" y="330"/>
                  </a:lnTo>
                  <a:lnTo>
                    <a:pt x="624" y="324"/>
                  </a:lnTo>
                  <a:lnTo>
                    <a:pt x="618" y="324"/>
                  </a:lnTo>
                  <a:lnTo>
                    <a:pt x="624" y="324"/>
                  </a:lnTo>
                  <a:lnTo>
                    <a:pt x="630" y="330"/>
                  </a:lnTo>
                  <a:lnTo>
                    <a:pt x="630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2" y="306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8" y="288"/>
                  </a:lnTo>
                  <a:lnTo>
                    <a:pt x="648" y="282"/>
                  </a:lnTo>
                  <a:lnTo>
                    <a:pt x="654" y="288"/>
                  </a:lnTo>
                  <a:lnTo>
                    <a:pt x="654" y="282"/>
                  </a:lnTo>
                  <a:lnTo>
                    <a:pt x="660" y="282"/>
                  </a:lnTo>
                  <a:lnTo>
                    <a:pt x="666" y="282"/>
                  </a:lnTo>
                  <a:lnTo>
                    <a:pt x="672" y="282"/>
                  </a:lnTo>
                  <a:lnTo>
                    <a:pt x="678" y="282"/>
                  </a:lnTo>
                  <a:lnTo>
                    <a:pt x="684" y="276"/>
                  </a:lnTo>
                  <a:lnTo>
                    <a:pt x="690" y="270"/>
                  </a:lnTo>
                  <a:lnTo>
                    <a:pt x="690" y="264"/>
                  </a:lnTo>
                  <a:lnTo>
                    <a:pt x="690" y="270"/>
                  </a:lnTo>
                  <a:lnTo>
                    <a:pt x="690" y="276"/>
                  </a:lnTo>
                  <a:lnTo>
                    <a:pt x="696" y="276"/>
                  </a:lnTo>
                  <a:lnTo>
                    <a:pt x="702" y="276"/>
                  </a:lnTo>
                  <a:lnTo>
                    <a:pt x="702" y="282"/>
                  </a:lnTo>
                  <a:lnTo>
                    <a:pt x="708" y="282"/>
                  </a:lnTo>
                  <a:lnTo>
                    <a:pt x="720" y="270"/>
                  </a:lnTo>
                  <a:lnTo>
                    <a:pt x="720" y="264"/>
                  </a:lnTo>
                  <a:lnTo>
                    <a:pt x="720" y="258"/>
                  </a:lnTo>
                  <a:lnTo>
                    <a:pt x="726" y="258"/>
                  </a:lnTo>
                  <a:lnTo>
                    <a:pt x="732" y="258"/>
                  </a:lnTo>
                  <a:lnTo>
                    <a:pt x="732" y="264"/>
                  </a:lnTo>
                  <a:lnTo>
                    <a:pt x="738" y="264"/>
                  </a:lnTo>
                  <a:lnTo>
                    <a:pt x="738" y="258"/>
                  </a:lnTo>
                  <a:lnTo>
                    <a:pt x="732" y="258"/>
                  </a:lnTo>
                  <a:lnTo>
                    <a:pt x="732" y="252"/>
                  </a:lnTo>
                  <a:lnTo>
                    <a:pt x="744" y="252"/>
                  </a:lnTo>
                  <a:lnTo>
                    <a:pt x="750" y="252"/>
                  </a:lnTo>
                  <a:lnTo>
                    <a:pt x="750" y="246"/>
                  </a:lnTo>
                  <a:lnTo>
                    <a:pt x="750" y="240"/>
                  </a:lnTo>
                  <a:lnTo>
                    <a:pt x="762" y="234"/>
                  </a:lnTo>
                  <a:lnTo>
                    <a:pt x="768" y="234"/>
                  </a:lnTo>
                  <a:lnTo>
                    <a:pt x="774" y="234"/>
                  </a:lnTo>
                  <a:lnTo>
                    <a:pt x="780" y="228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16"/>
                  </a:lnTo>
                  <a:lnTo>
                    <a:pt x="792" y="210"/>
                  </a:lnTo>
                  <a:lnTo>
                    <a:pt x="804" y="204"/>
                  </a:lnTo>
                  <a:lnTo>
                    <a:pt x="804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0" y="192"/>
                  </a:lnTo>
                  <a:lnTo>
                    <a:pt x="798" y="186"/>
                  </a:lnTo>
                  <a:lnTo>
                    <a:pt x="810" y="186"/>
                  </a:lnTo>
                  <a:lnTo>
                    <a:pt x="810" y="180"/>
                  </a:lnTo>
                  <a:lnTo>
                    <a:pt x="810" y="186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0" y="180"/>
                  </a:lnTo>
                  <a:lnTo>
                    <a:pt x="816" y="174"/>
                  </a:lnTo>
                  <a:lnTo>
                    <a:pt x="822" y="174"/>
                  </a:lnTo>
                  <a:lnTo>
                    <a:pt x="822" y="180"/>
                  </a:lnTo>
                  <a:lnTo>
                    <a:pt x="828" y="180"/>
                  </a:lnTo>
                  <a:lnTo>
                    <a:pt x="828" y="174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62"/>
                  </a:lnTo>
                  <a:lnTo>
                    <a:pt x="828" y="156"/>
                  </a:lnTo>
                  <a:lnTo>
                    <a:pt x="822" y="156"/>
                  </a:lnTo>
                  <a:lnTo>
                    <a:pt x="828" y="156"/>
                  </a:lnTo>
                  <a:lnTo>
                    <a:pt x="828" y="150"/>
                  </a:lnTo>
                  <a:lnTo>
                    <a:pt x="834" y="150"/>
                  </a:lnTo>
                  <a:lnTo>
                    <a:pt x="840" y="156"/>
                  </a:lnTo>
                  <a:lnTo>
                    <a:pt x="840" y="150"/>
                  </a:lnTo>
                  <a:lnTo>
                    <a:pt x="834" y="150"/>
                  </a:lnTo>
                  <a:lnTo>
                    <a:pt x="834" y="144"/>
                  </a:lnTo>
                  <a:lnTo>
                    <a:pt x="840" y="138"/>
                  </a:lnTo>
                  <a:lnTo>
                    <a:pt x="846" y="144"/>
                  </a:lnTo>
                  <a:lnTo>
                    <a:pt x="846" y="150"/>
                  </a:lnTo>
                  <a:lnTo>
                    <a:pt x="852" y="150"/>
                  </a:lnTo>
                  <a:lnTo>
                    <a:pt x="858" y="150"/>
                  </a:lnTo>
                  <a:lnTo>
                    <a:pt x="870" y="150"/>
                  </a:lnTo>
                  <a:lnTo>
                    <a:pt x="870" y="144"/>
                  </a:lnTo>
                  <a:lnTo>
                    <a:pt x="876" y="138"/>
                  </a:lnTo>
                  <a:lnTo>
                    <a:pt x="882" y="138"/>
                  </a:lnTo>
                  <a:lnTo>
                    <a:pt x="888" y="132"/>
                  </a:lnTo>
                  <a:lnTo>
                    <a:pt x="888" y="138"/>
                  </a:lnTo>
                  <a:lnTo>
                    <a:pt x="894" y="138"/>
                  </a:lnTo>
                  <a:lnTo>
                    <a:pt x="894" y="132"/>
                  </a:lnTo>
                  <a:lnTo>
                    <a:pt x="900" y="126"/>
                  </a:lnTo>
                  <a:lnTo>
                    <a:pt x="900" y="132"/>
                  </a:lnTo>
                  <a:lnTo>
                    <a:pt x="906" y="132"/>
                  </a:lnTo>
                  <a:lnTo>
                    <a:pt x="912" y="132"/>
                  </a:lnTo>
                  <a:lnTo>
                    <a:pt x="918" y="126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24" y="126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8" y="120"/>
                  </a:lnTo>
                  <a:lnTo>
                    <a:pt x="948" y="114"/>
                  </a:lnTo>
                  <a:lnTo>
                    <a:pt x="948" y="108"/>
                  </a:lnTo>
                  <a:lnTo>
                    <a:pt x="954" y="114"/>
                  </a:lnTo>
                  <a:lnTo>
                    <a:pt x="960" y="108"/>
                  </a:lnTo>
                  <a:lnTo>
                    <a:pt x="966" y="108"/>
                  </a:lnTo>
                  <a:lnTo>
                    <a:pt x="972" y="108"/>
                  </a:lnTo>
                  <a:lnTo>
                    <a:pt x="966" y="114"/>
                  </a:lnTo>
                  <a:lnTo>
                    <a:pt x="960" y="114"/>
                  </a:lnTo>
                  <a:lnTo>
                    <a:pt x="960" y="120"/>
                  </a:lnTo>
                  <a:lnTo>
                    <a:pt x="966" y="126"/>
                  </a:lnTo>
                  <a:lnTo>
                    <a:pt x="972" y="126"/>
                  </a:lnTo>
                  <a:lnTo>
                    <a:pt x="978" y="126"/>
                  </a:lnTo>
                  <a:lnTo>
                    <a:pt x="984" y="120"/>
                  </a:lnTo>
                  <a:lnTo>
                    <a:pt x="984" y="114"/>
                  </a:lnTo>
                  <a:lnTo>
                    <a:pt x="996" y="126"/>
                  </a:lnTo>
                  <a:lnTo>
                    <a:pt x="996" y="120"/>
                  </a:lnTo>
                  <a:lnTo>
                    <a:pt x="1002" y="120"/>
                  </a:lnTo>
                  <a:lnTo>
                    <a:pt x="996" y="114"/>
                  </a:lnTo>
                  <a:lnTo>
                    <a:pt x="1002" y="114"/>
                  </a:lnTo>
                  <a:lnTo>
                    <a:pt x="1008" y="114"/>
                  </a:lnTo>
                  <a:lnTo>
                    <a:pt x="1008" y="108"/>
                  </a:lnTo>
                  <a:lnTo>
                    <a:pt x="1014" y="108"/>
                  </a:lnTo>
                  <a:lnTo>
                    <a:pt x="1008" y="114"/>
                  </a:lnTo>
                  <a:lnTo>
                    <a:pt x="1008" y="120"/>
                  </a:lnTo>
                  <a:lnTo>
                    <a:pt x="1008" y="126"/>
                  </a:lnTo>
                  <a:lnTo>
                    <a:pt x="1014" y="126"/>
                  </a:lnTo>
                  <a:lnTo>
                    <a:pt x="1014" y="132"/>
                  </a:lnTo>
                  <a:lnTo>
                    <a:pt x="1020" y="132"/>
                  </a:lnTo>
                  <a:lnTo>
                    <a:pt x="1020" y="126"/>
                  </a:lnTo>
                  <a:lnTo>
                    <a:pt x="1020" y="120"/>
                  </a:lnTo>
                  <a:lnTo>
                    <a:pt x="1032" y="120"/>
                  </a:lnTo>
                  <a:lnTo>
                    <a:pt x="1038" y="120"/>
                  </a:lnTo>
                  <a:lnTo>
                    <a:pt x="1038" y="126"/>
                  </a:lnTo>
                  <a:lnTo>
                    <a:pt x="1044" y="132"/>
                  </a:lnTo>
                  <a:lnTo>
                    <a:pt x="1044" y="126"/>
                  </a:lnTo>
                  <a:lnTo>
                    <a:pt x="1050" y="120"/>
                  </a:lnTo>
                  <a:lnTo>
                    <a:pt x="1050" y="114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68" y="102"/>
                  </a:lnTo>
                  <a:lnTo>
                    <a:pt x="1074" y="96"/>
                  </a:lnTo>
                  <a:lnTo>
                    <a:pt x="1074" y="90"/>
                  </a:lnTo>
                  <a:lnTo>
                    <a:pt x="1068" y="90"/>
                  </a:lnTo>
                  <a:lnTo>
                    <a:pt x="1068" y="84"/>
                  </a:lnTo>
                  <a:lnTo>
                    <a:pt x="1080" y="84"/>
                  </a:lnTo>
                  <a:lnTo>
                    <a:pt x="1086" y="78"/>
                  </a:lnTo>
                  <a:lnTo>
                    <a:pt x="1086" y="72"/>
                  </a:lnTo>
                  <a:lnTo>
                    <a:pt x="1080" y="78"/>
                  </a:lnTo>
                  <a:lnTo>
                    <a:pt x="1080" y="72"/>
                  </a:lnTo>
                  <a:lnTo>
                    <a:pt x="1080" y="66"/>
                  </a:lnTo>
                  <a:lnTo>
                    <a:pt x="1074" y="66"/>
                  </a:lnTo>
                  <a:lnTo>
                    <a:pt x="1080" y="66"/>
                  </a:lnTo>
                  <a:lnTo>
                    <a:pt x="1080" y="60"/>
                  </a:lnTo>
                  <a:lnTo>
                    <a:pt x="1086" y="60"/>
                  </a:lnTo>
                  <a:lnTo>
                    <a:pt x="1086" y="54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2" y="42"/>
                  </a:lnTo>
                  <a:lnTo>
                    <a:pt x="1098" y="42"/>
                  </a:lnTo>
                  <a:lnTo>
                    <a:pt x="1104" y="36"/>
                  </a:lnTo>
                  <a:lnTo>
                    <a:pt x="1110" y="36"/>
                  </a:lnTo>
                  <a:lnTo>
                    <a:pt x="1110" y="30"/>
                  </a:lnTo>
                  <a:lnTo>
                    <a:pt x="1110" y="24"/>
                  </a:lnTo>
                  <a:lnTo>
                    <a:pt x="1116" y="24"/>
                  </a:lnTo>
                  <a:lnTo>
                    <a:pt x="1116" y="18"/>
                  </a:lnTo>
                  <a:lnTo>
                    <a:pt x="1122" y="18"/>
                  </a:lnTo>
                  <a:lnTo>
                    <a:pt x="1128" y="18"/>
                  </a:lnTo>
                  <a:lnTo>
                    <a:pt x="1134" y="12"/>
                  </a:lnTo>
                  <a:lnTo>
                    <a:pt x="1134" y="6"/>
                  </a:lnTo>
                  <a:lnTo>
                    <a:pt x="1140" y="6"/>
                  </a:lnTo>
                  <a:lnTo>
                    <a:pt x="1146" y="0"/>
                  </a:lnTo>
                  <a:lnTo>
                    <a:pt x="1152" y="0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70" y="0"/>
                  </a:lnTo>
                  <a:lnTo>
                    <a:pt x="1176" y="6"/>
                  </a:lnTo>
                  <a:lnTo>
                    <a:pt x="1182" y="6"/>
                  </a:lnTo>
                  <a:lnTo>
                    <a:pt x="1194" y="6"/>
                  </a:lnTo>
                  <a:lnTo>
                    <a:pt x="1200" y="6"/>
                  </a:lnTo>
                  <a:lnTo>
                    <a:pt x="1212" y="0"/>
                  </a:lnTo>
                  <a:lnTo>
                    <a:pt x="1212" y="6"/>
                  </a:lnTo>
                  <a:lnTo>
                    <a:pt x="1218" y="6"/>
                  </a:lnTo>
                  <a:lnTo>
                    <a:pt x="1266" y="6"/>
                  </a:lnTo>
                  <a:lnTo>
                    <a:pt x="1272" y="0"/>
                  </a:lnTo>
                  <a:lnTo>
                    <a:pt x="1278" y="6"/>
                  </a:lnTo>
                  <a:lnTo>
                    <a:pt x="1290" y="6"/>
                  </a:lnTo>
                  <a:lnTo>
                    <a:pt x="1296" y="6"/>
                  </a:lnTo>
                  <a:lnTo>
                    <a:pt x="1308" y="6"/>
                  </a:lnTo>
                  <a:lnTo>
                    <a:pt x="1314" y="6"/>
                  </a:lnTo>
                  <a:lnTo>
                    <a:pt x="1320" y="6"/>
                  </a:lnTo>
                  <a:lnTo>
                    <a:pt x="1326" y="12"/>
                  </a:lnTo>
                  <a:lnTo>
                    <a:pt x="1338" y="30"/>
                  </a:lnTo>
                  <a:lnTo>
                    <a:pt x="1344" y="36"/>
                  </a:lnTo>
                  <a:lnTo>
                    <a:pt x="1356" y="48"/>
                  </a:lnTo>
                  <a:lnTo>
                    <a:pt x="1362" y="60"/>
                  </a:lnTo>
                  <a:lnTo>
                    <a:pt x="1368" y="66"/>
                  </a:lnTo>
                  <a:lnTo>
                    <a:pt x="1374" y="72"/>
                  </a:lnTo>
                  <a:lnTo>
                    <a:pt x="1374" y="78"/>
                  </a:lnTo>
                  <a:lnTo>
                    <a:pt x="1398" y="108"/>
                  </a:lnTo>
                  <a:lnTo>
                    <a:pt x="1398" y="114"/>
                  </a:lnTo>
                  <a:lnTo>
                    <a:pt x="1404" y="114"/>
                  </a:lnTo>
                  <a:lnTo>
                    <a:pt x="1404" y="120"/>
                  </a:lnTo>
                  <a:lnTo>
                    <a:pt x="1410" y="132"/>
                  </a:lnTo>
                  <a:lnTo>
                    <a:pt x="1416" y="132"/>
                  </a:lnTo>
                  <a:lnTo>
                    <a:pt x="1416" y="138"/>
                  </a:lnTo>
                  <a:lnTo>
                    <a:pt x="1422" y="144"/>
                  </a:lnTo>
                  <a:lnTo>
                    <a:pt x="1428" y="150"/>
                  </a:lnTo>
                  <a:lnTo>
                    <a:pt x="1428" y="156"/>
                  </a:lnTo>
                  <a:lnTo>
                    <a:pt x="1458" y="192"/>
                  </a:lnTo>
                  <a:lnTo>
                    <a:pt x="1458" y="198"/>
                  </a:lnTo>
                  <a:lnTo>
                    <a:pt x="1464" y="204"/>
                  </a:lnTo>
                  <a:lnTo>
                    <a:pt x="1470" y="210"/>
                  </a:lnTo>
                  <a:lnTo>
                    <a:pt x="1476" y="216"/>
                  </a:lnTo>
                  <a:lnTo>
                    <a:pt x="1482" y="228"/>
                  </a:lnTo>
                  <a:lnTo>
                    <a:pt x="1488" y="234"/>
                  </a:lnTo>
                  <a:lnTo>
                    <a:pt x="1512" y="270"/>
                  </a:lnTo>
                  <a:lnTo>
                    <a:pt x="1512" y="276"/>
                  </a:lnTo>
                  <a:lnTo>
                    <a:pt x="1530" y="300"/>
                  </a:lnTo>
                  <a:lnTo>
                    <a:pt x="1536" y="306"/>
                  </a:lnTo>
                  <a:lnTo>
                    <a:pt x="1542" y="312"/>
                  </a:lnTo>
                  <a:lnTo>
                    <a:pt x="1542" y="318"/>
                  </a:lnTo>
                  <a:lnTo>
                    <a:pt x="1560" y="336"/>
                  </a:lnTo>
                  <a:lnTo>
                    <a:pt x="1566" y="348"/>
                  </a:lnTo>
                  <a:lnTo>
                    <a:pt x="1572" y="354"/>
                  </a:lnTo>
                  <a:lnTo>
                    <a:pt x="1578" y="360"/>
                  </a:lnTo>
                  <a:lnTo>
                    <a:pt x="1584" y="378"/>
                  </a:lnTo>
                  <a:lnTo>
                    <a:pt x="1590" y="378"/>
                  </a:lnTo>
                  <a:lnTo>
                    <a:pt x="1596" y="390"/>
                  </a:lnTo>
                  <a:lnTo>
                    <a:pt x="1602" y="396"/>
                  </a:lnTo>
                  <a:lnTo>
                    <a:pt x="1608" y="408"/>
                  </a:lnTo>
                  <a:lnTo>
                    <a:pt x="1614" y="408"/>
                  </a:lnTo>
                  <a:lnTo>
                    <a:pt x="1614" y="432"/>
                  </a:lnTo>
                  <a:lnTo>
                    <a:pt x="1620" y="438"/>
                  </a:lnTo>
                  <a:lnTo>
                    <a:pt x="1620" y="450"/>
                  </a:lnTo>
                  <a:lnTo>
                    <a:pt x="1620" y="462"/>
                  </a:lnTo>
                  <a:lnTo>
                    <a:pt x="1626" y="474"/>
                  </a:lnTo>
                  <a:lnTo>
                    <a:pt x="1626" y="480"/>
                  </a:lnTo>
                  <a:lnTo>
                    <a:pt x="1626" y="486"/>
                  </a:lnTo>
                  <a:lnTo>
                    <a:pt x="1632" y="522"/>
                  </a:lnTo>
                  <a:lnTo>
                    <a:pt x="1632" y="528"/>
                  </a:lnTo>
                  <a:lnTo>
                    <a:pt x="1632" y="534"/>
                  </a:lnTo>
                  <a:lnTo>
                    <a:pt x="1638" y="540"/>
                  </a:lnTo>
                  <a:lnTo>
                    <a:pt x="1638" y="558"/>
                  </a:lnTo>
                  <a:lnTo>
                    <a:pt x="1638" y="570"/>
                  </a:lnTo>
                  <a:lnTo>
                    <a:pt x="1644" y="582"/>
                  </a:lnTo>
                  <a:lnTo>
                    <a:pt x="1650" y="618"/>
                  </a:lnTo>
                  <a:lnTo>
                    <a:pt x="1650" y="624"/>
                  </a:lnTo>
                  <a:lnTo>
                    <a:pt x="1650" y="636"/>
                  </a:lnTo>
                  <a:lnTo>
                    <a:pt x="1656" y="642"/>
                  </a:lnTo>
                  <a:lnTo>
                    <a:pt x="1656" y="648"/>
                  </a:lnTo>
                  <a:lnTo>
                    <a:pt x="1656" y="654"/>
                  </a:lnTo>
                  <a:lnTo>
                    <a:pt x="1656" y="660"/>
                  </a:lnTo>
                  <a:lnTo>
                    <a:pt x="1662" y="696"/>
                  </a:lnTo>
                  <a:lnTo>
                    <a:pt x="1668" y="708"/>
                  </a:lnTo>
                  <a:lnTo>
                    <a:pt x="1668" y="714"/>
                  </a:lnTo>
                  <a:lnTo>
                    <a:pt x="1668" y="732"/>
                  </a:lnTo>
                  <a:lnTo>
                    <a:pt x="1668" y="744"/>
                  </a:lnTo>
                  <a:lnTo>
                    <a:pt x="1674" y="756"/>
                  </a:lnTo>
                  <a:lnTo>
                    <a:pt x="1680" y="762"/>
                  </a:lnTo>
                  <a:lnTo>
                    <a:pt x="1680" y="768"/>
                  </a:lnTo>
                  <a:lnTo>
                    <a:pt x="1680" y="774"/>
                  </a:lnTo>
                  <a:lnTo>
                    <a:pt x="1680" y="780"/>
                  </a:lnTo>
                  <a:lnTo>
                    <a:pt x="1674" y="786"/>
                  </a:lnTo>
                  <a:lnTo>
                    <a:pt x="1668" y="792"/>
                  </a:lnTo>
                  <a:lnTo>
                    <a:pt x="1668" y="798"/>
                  </a:lnTo>
                  <a:lnTo>
                    <a:pt x="1668" y="804"/>
                  </a:lnTo>
                  <a:lnTo>
                    <a:pt x="1674" y="804"/>
                  </a:lnTo>
                  <a:lnTo>
                    <a:pt x="1668" y="810"/>
                  </a:lnTo>
                  <a:lnTo>
                    <a:pt x="1674" y="810"/>
                  </a:lnTo>
                  <a:lnTo>
                    <a:pt x="1680" y="810"/>
                  </a:lnTo>
                  <a:lnTo>
                    <a:pt x="1680" y="816"/>
                  </a:lnTo>
                  <a:lnTo>
                    <a:pt x="1680" y="822"/>
                  </a:lnTo>
                  <a:lnTo>
                    <a:pt x="1674" y="822"/>
                  </a:lnTo>
                  <a:lnTo>
                    <a:pt x="1674" y="828"/>
                  </a:lnTo>
                  <a:lnTo>
                    <a:pt x="1668" y="828"/>
                  </a:lnTo>
                  <a:lnTo>
                    <a:pt x="1674" y="834"/>
                  </a:lnTo>
                  <a:lnTo>
                    <a:pt x="1668" y="834"/>
                  </a:lnTo>
                  <a:lnTo>
                    <a:pt x="1668" y="840"/>
                  </a:lnTo>
                  <a:lnTo>
                    <a:pt x="1674" y="840"/>
                  </a:lnTo>
                  <a:lnTo>
                    <a:pt x="1686" y="852"/>
                  </a:lnTo>
                  <a:lnTo>
                    <a:pt x="1692" y="858"/>
                  </a:lnTo>
                  <a:lnTo>
                    <a:pt x="1698" y="858"/>
                  </a:lnTo>
                  <a:lnTo>
                    <a:pt x="1698" y="864"/>
                  </a:lnTo>
                  <a:lnTo>
                    <a:pt x="1698" y="870"/>
                  </a:lnTo>
                  <a:lnTo>
                    <a:pt x="1704" y="864"/>
                  </a:lnTo>
                  <a:lnTo>
                    <a:pt x="1716" y="864"/>
                  </a:lnTo>
                  <a:lnTo>
                    <a:pt x="1722" y="864"/>
                  </a:lnTo>
                  <a:lnTo>
                    <a:pt x="1728" y="864"/>
                  </a:lnTo>
                  <a:lnTo>
                    <a:pt x="1734" y="864"/>
                  </a:lnTo>
                  <a:lnTo>
                    <a:pt x="1740" y="864"/>
                  </a:lnTo>
                  <a:lnTo>
                    <a:pt x="1746" y="876"/>
                  </a:lnTo>
                  <a:lnTo>
                    <a:pt x="1746" y="870"/>
                  </a:lnTo>
                  <a:lnTo>
                    <a:pt x="1740" y="864"/>
                  </a:lnTo>
                  <a:lnTo>
                    <a:pt x="1746" y="864"/>
                  </a:lnTo>
                  <a:lnTo>
                    <a:pt x="1752" y="870"/>
                  </a:lnTo>
                  <a:lnTo>
                    <a:pt x="1758" y="864"/>
                  </a:lnTo>
                  <a:lnTo>
                    <a:pt x="1764" y="864"/>
                  </a:lnTo>
                  <a:lnTo>
                    <a:pt x="1770" y="858"/>
                  </a:lnTo>
                  <a:lnTo>
                    <a:pt x="1782" y="864"/>
                  </a:lnTo>
                  <a:lnTo>
                    <a:pt x="1782" y="870"/>
                  </a:lnTo>
                  <a:lnTo>
                    <a:pt x="1788" y="864"/>
                  </a:lnTo>
                  <a:lnTo>
                    <a:pt x="1794" y="864"/>
                  </a:lnTo>
                  <a:lnTo>
                    <a:pt x="1800" y="870"/>
                  </a:lnTo>
                  <a:lnTo>
                    <a:pt x="1818" y="864"/>
                  </a:lnTo>
                  <a:lnTo>
                    <a:pt x="1824" y="870"/>
                  </a:lnTo>
                  <a:lnTo>
                    <a:pt x="1830" y="864"/>
                  </a:lnTo>
                  <a:lnTo>
                    <a:pt x="1836" y="864"/>
                  </a:lnTo>
                  <a:lnTo>
                    <a:pt x="1842" y="870"/>
                  </a:lnTo>
                  <a:lnTo>
                    <a:pt x="1842" y="876"/>
                  </a:lnTo>
                  <a:lnTo>
                    <a:pt x="1848" y="876"/>
                  </a:lnTo>
                  <a:lnTo>
                    <a:pt x="1848" y="870"/>
                  </a:lnTo>
                  <a:lnTo>
                    <a:pt x="1854" y="870"/>
                  </a:lnTo>
                  <a:lnTo>
                    <a:pt x="1860" y="870"/>
                  </a:lnTo>
                  <a:lnTo>
                    <a:pt x="1860" y="876"/>
                  </a:lnTo>
                  <a:lnTo>
                    <a:pt x="1866" y="876"/>
                  </a:lnTo>
                  <a:lnTo>
                    <a:pt x="1866" y="882"/>
                  </a:lnTo>
                  <a:lnTo>
                    <a:pt x="1872" y="882"/>
                  </a:lnTo>
                  <a:lnTo>
                    <a:pt x="1878" y="888"/>
                  </a:lnTo>
                  <a:lnTo>
                    <a:pt x="1890" y="888"/>
                  </a:lnTo>
                  <a:lnTo>
                    <a:pt x="1890" y="894"/>
                  </a:lnTo>
                  <a:lnTo>
                    <a:pt x="1890" y="900"/>
                  </a:lnTo>
                  <a:lnTo>
                    <a:pt x="1884" y="900"/>
                  </a:lnTo>
                  <a:lnTo>
                    <a:pt x="1884" y="906"/>
                  </a:lnTo>
                  <a:lnTo>
                    <a:pt x="1884" y="912"/>
                  </a:lnTo>
                  <a:lnTo>
                    <a:pt x="1890" y="912"/>
                  </a:lnTo>
                  <a:lnTo>
                    <a:pt x="1896" y="912"/>
                  </a:lnTo>
                  <a:lnTo>
                    <a:pt x="1902" y="912"/>
                  </a:lnTo>
                  <a:lnTo>
                    <a:pt x="1908" y="918"/>
                  </a:lnTo>
                  <a:lnTo>
                    <a:pt x="1908" y="924"/>
                  </a:lnTo>
                  <a:lnTo>
                    <a:pt x="1908" y="930"/>
                  </a:lnTo>
                  <a:lnTo>
                    <a:pt x="1908" y="936"/>
                  </a:lnTo>
                  <a:lnTo>
                    <a:pt x="1914" y="936"/>
                  </a:lnTo>
                  <a:lnTo>
                    <a:pt x="1914" y="942"/>
                  </a:lnTo>
                  <a:lnTo>
                    <a:pt x="1908" y="948"/>
                  </a:lnTo>
                  <a:lnTo>
                    <a:pt x="1914" y="948"/>
                  </a:lnTo>
                  <a:lnTo>
                    <a:pt x="1920" y="954"/>
                  </a:lnTo>
                  <a:lnTo>
                    <a:pt x="1926" y="954"/>
                  </a:lnTo>
                  <a:lnTo>
                    <a:pt x="1932" y="954"/>
                  </a:lnTo>
                  <a:lnTo>
                    <a:pt x="1938" y="954"/>
                  </a:lnTo>
                  <a:lnTo>
                    <a:pt x="1938" y="960"/>
                  </a:lnTo>
                  <a:lnTo>
                    <a:pt x="1944" y="966"/>
                  </a:lnTo>
                  <a:lnTo>
                    <a:pt x="1944" y="972"/>
                  </a:lnTo>
                  <a:lnTo>
                    <a:pt x="1944" y="978"/>
                  </a:lnTo>
                  <a:lnTo>
                    <a:pt x="1950" y="978"/>
                  </a:lnTo>
                  <a:lnTo>
                    <a:pt x="1950" y="984"/>
                  </a:lnTo>
                  <a:lnTo>
                    <a:pt x="1956" y="984"/>
                  </a:lnTo>
                  <a:lnTo>
                    <a:pt x="1962" y="984"/>
                  </a:lnTo>
                  <a:lnTo>
                    <a:pt x="1962" y="978"/>
                  </a:lnTo>
                  <a:lnTo>
                    <a:pt x="1968" y="978"/>
                  </a:lnTo>
                  <a:lnTo>
                    <a:pt x="1974" y="978"/>
                  </a:lnTo>
                  <a:lnTo>
                    <a:pt x="1980" y="972"/>
                  </a:lnTo>
                  <a:lnTo>
                    <a:pt x="1980" y="978"/>
                  </a:lnTo>
                  <a:lnTo>
                    <a:pt x="1980" y="984"/>
                  </a:lnTo>
                  <a:lnTo>
                    <a:pt x="1986" y="984"/>
                  </a:lnTo>
                  <a:lnTo>
                    <a:pt x="1992" y="990"/>
                  </a:lnTo>
                  <a:lnTo>
                    <a:pt x="1992" y="996"/>
                  </a:lnTo>
                  <a:lnTo>
                    <a:pt x="1992" y="1002"/>
                  </a:lnTo>
                  <a:lnTo>
                    <a:pt x="1974" y="1008"/>
                  </a:lnTo>
                  <a:lnTo>
                    <a:pt x="1974" y="1014"/>
                  </a:lnTo>
                  <a:lnTo>
                    <a:pt x="1974" y="1020"/>
                  </a:lnTo>
                  <a:lnTo>
                    <a:pt x="1974" y="1026"/>
                  </a:lnTo>
                  <a:lnTo>
                    <a:pt x="1968" y="1038"/>
                  </a:lnTo>
                  <a:lnTo>
                    <a:pt x="1968" y="1044"/>
                  </a:lnTo>
                  <a:lnTo>
                    <a:pt x="1974" y="1056"/>
                  </a:lnTo>
                  <a:lnTo>
                    <a:pt x="1968" y="1062"/>
                  </a:lnTo>
                  <a:lnTo>
                    <a:pt x="1962" y="1062"/>
                  </a:lnTo>
                  <a:lnTo>
                    <a:pt x="1956" y="1068"/>
                  </a:lnTo>
                  <a:lnTo>
                    <a:pt x="1956" y="1074"/>
                  </a:lnTo>
                  <a:lnTo>
                    <a:pt x="1956" y="1080"/>
                  </a:lnTo>
                  <a:lnTo>
                    <a:pt x="1956" y="1086"/>
                  </a:lnTo>
                  <a:lnTo>
                    <a:pt x="1956" y="1092"/>
                  </a:lnTo>
                  <a:lnTo>
                    <a:pt x="1962" y="1092"/>
                  </a:lnTo>
                  <a:lnTo>
                    <a:pt x="1962" y="1104"/>
                  </a:lnTo>
                  <a:lnTo>
                    <a:pt x="1968" y="1110"/>
                  </a:lnTo>
                  <a:lnTo>
                    <a:pt x="1968" y="1116"/>
                  </a:lnTo>
                  <a:lnTo>
                    <a:pt x="1974" y="1116"/>
                  </a:lnTo>
                  <a:lnTo>
                    <a:pt x="1974" y="1122"/>
                  </a:lnTo>
                  <a:lnTo>
                    <a:pt x="1980" y="1122"/>
                  </a:lnTo>
                  <a:lnTo>
                    <a:pt x="1974" y="1128"/>
                  </a:lnTo>
                  <a:lnTo>
                    <a:pt x="1968" y="1134"/>
                  </a:lnTo>
                  <a:lnTo>
                    <a:pt x="1962" y="1140"/>
                  </a:lnTo>
                  <a:lnTo>
                    <a:pt x="1962" y="1146"/>
                  </a:lnTo>
                  <a:lnTo>
                    <a:pt x="1968" y="1152"/>
                  </a:lnTo>
                  <a:lnTo>
                    <a:pt x="1968" y="1158"/>
                  </a:lnTo>
                  <a:lnTo>
                    <a:pt x="1962" y="1158"/>
                  </a:lnTo>
                  <a:lnTo>
                    <a:pt x="1962" y="1164"/>
                  </a:lnTo>
                  <a:lnTo>
                    <a:pt x="1956" y="1164"/>
                  </a:lnTo>
                  <a:lnTo>
                    <a:pt x="1956" y="1170"/>
                  </a:lnTo>
                  <a:lnTo>
                    <a:pt x="1944" y="1182"/>
                  </a:lnTo>
                  <a:lnTo>
                    <a:pt x="1944" y="1188"/>
                  </a:lnTo>
                  <a:lnTo>
                    <a:pt x="1950" y="1188"/>
                  </a:lnTo>
                  <a:lnTo>
                    <a:pt x="1944" y="1200"/>
                  </a:lnTo>
                  <a:lnTo>
                    <a:pt x="1944" y="1206"/>
                  </a:lnTo>
                  <a:lnTo>
                    <a:pt x="1944" y="1212"/>
                  </a:lnTo>
                  <a:lnTo>
                    <a:pt x="1944" y="1218"/>
                  </a:lnTo>
                  <a:lnTo>
                    <a:pt x="1944" y="1230"/>
                  </a:lnTo>
                  <a:lnTo>
                    <a:pt x="1944" y="1236"/>
                  </a:lnTo>
                  <a:lnTo>
                    <a:pt x="1944" y="1242"/>
                  </a:lnTo>
                  <a:lnTo>
                    <a:pt x="1938" y="1248"/>
                  </a:lnTo>
                  <a:lnTo>
                    <a:pt x="1938" y="1254"/>
                  </a:lnTo>
                  <a:lnTo>
                    <a:pt x="1932" y="1254"/>
                  </a:lnTo>
                  <a:lnTo>
                    <a:pt x="1926" y="1260"/>
                  </a:lnTo>
                  <a:lnTo>
                    <a:pt x="1920" y="1266"/>
                  </a:lnTo>
                  <a:lnTo>
                    <a:pt x="1914" y="1272"/>
                  </a:lnTo>
                  <a:lnTo>
                    <a:pt x="1908" y="1272"/>
                  </a:lnTo>
                  <a:lnTo>
                    <a:pt x="1908" y="1278"/>
                  </a:lnTo>
                  <a:lnTo>
                    <a:pt x="1914" y="1278"/>
                  </a:lnTo>
                  <a:lnTo>
                    <a:pt x="1914" y="1290"/>
                  </a:lnTo>
                  <a:lnTo>
                    <a:pt x="1920" y="1296"/>
                  </a:lnTo>
                  <a:lnTo>
                    <a:pt x="1938" y="1302"/>
                  </a:lnTo>
                  <a:lnTo>
                    <a:pt x="1944" y="1308"/>
                  </a:lnTo>
                  <a:lnTo>
                    <a:pt x="1950" y="1314"/>
                  </a:lnTo>
                  <a:lnTo>
                    <a:pt x="1956" y="1314"/>
                  </a:lnTo>
                  <a:lnTo>
                    <a:pt x="1962" y="1320"/>
                  </a:lnTo>
                  <a:lnTo>
                    <a:pt x="1962" y="1326"/>
                  </a:lnTo>
                  <a:lnTo>
                    <a:pt x="1968" y="1326"/>
                  </a:lnTo>
                  <a:lnTo>
                    <a:pt x="1968" y="1332"/>
                  </a:lnTo>
                  <a:lnTo>
                    <a:pt x="1968" y="1344"/>
                  </a:lnTo>
                  <a:lnTo>
                    <a:pt x="1968" y="1350"/>
                  </a:lnTo>
                  <a:lnTo>
                    <a:pt x="1968" y="1368"/>
                  </a:lnTo>
                  <a:lnTo>
                    <a:pt x="1962" y="1380"/>
                  </a:lnTo>
                  <a:lnTo>
                    <a:pt x="1968" y="1392"/>
                  </a:lnTo>
                  <a:lnTo>
                    <a:pt x="1962" y="1398"/>
                  </a:lnTo>
                  <a:lnTo>
                    <a:pt x="1956" y="1404"/>
                  </a:lnTo>
                  <a:lnTo>
                    <a:pt x="1950" y="1410"/>
                  </a:lnTo>
                  <a:lnTo>
                    <a:pt x="1944" y="1410"/>
                  </a:lnTo>
                  <a:lnTo>
                    <a:pt x="1932" y="1416"/>
                  </a:lnTo>
                  <a:lnTo>
                    <a:pt x="1926" y="1416"/>
                  </a:lnTo>
                  <a:lnTo>
                    <a:pt x="1896" y="1428"/>
                  </a:lnTo>
                  <a:lnTo>
                    <a:pt x="1884" y="1434"/>
                  </a:lnTo>
                  <a:lnTo>
                    <a:pt x="1878" y="1434"/>
                  </a:lnTo>
                  <a:lnTo>
                    <a:pt x="1866" y="1434"/>
                  </a:lnTo>
                  <a:lnTo>
                    <a:pt x="1854" y="1440"/>
                  </a:lnTo>
                  <a:lnTo>
                    <a:pt x="1848" y="1440"/>
                  </a:lnTo>
                  <a:lnTo>
                    <a:pt x="1842" y="1446"/>
                  </a:lnTo>
                  <a:lnTo>
                    <a:pt x="1842" y="1458"/>
                  </a:lnTo>
                  <a:lnTo>
                    <a:pt x="1836" y="1470"/>
                  </a:lnTo>
                  <a:lnTo>
                    <a:pt x="1830" y="1476"/>
                  </a:lnTo>
                  <a:lnTo>
                    <a:pt x="1824" y="1476"/>
                  </a:lnTo>
                  <a:lnTo>
                    <a:pt x="1806" y="1482"/>
                  </a:lnTo>
                  <a:lnTo>
                    <a:pt x="1800" y="1488"/>
                  </a:lnTo>
                  <a:lnTo>
                    <a:pt x="1794" y="1488"/>
                  </a:lnTo>
                  <a:lnTo>
                    <a:pt x="1788" y="1488"/>
                  </a:lnTo>
                  <a:lnTo>
                    <a:pt x="1776" y="1494"/>
                  </a:lnTo>
                  <a:lnTo>
                    <a:pt x="1764" y="1494"/>
                  </a:lnTo>
                  <a:lnTo>
                    <a:pt x="1758" y="1500"/>
                  </a:lnTo>
                  <a:lnTo>
                    <a:pt x="1746" y="1506"/>
                  </a:lnTo>
                  <a:lnTo>
                    <a:pt x="1728" y="1518"/>
                  </a:lnTo>
                  <a:lnTo>
                    <a:pt x="1716" y="1524"/>
                  </a:lnTo>
                  <a:lnTo>
                    <a:pt x="1710" y="1530"/>
                  </a:lnTo>
                  <a:lnTo>
                    <a:pt x="1704" y="1536"/>
                  </a:lnTo>
                  <a:lnTo>
                    <a:pt x="1698" y="1542"/>
                  </a:lnTo>
                  <a:lnTo>
                    <a:pt x="1692" y="1554"/>
                  </a:lnTo>
                  <a:lnTo>
                    <a:pt x="1686" y="1560"/>
                  </a:lnTo>
                  <a:lnTo>
                    <a:pt x="1680" y="1560"/>
                  </a:lnTo>
                  <a:lnTo>
                    <a:pt x="1674" y="1560"/>
                  </a:lnTo>
                  <a:lnTo>
                    <a:pt x="1656" y="1572"/>
                  </a:lnTo>
                  <a:lnTo>
                    <a:pt x="1650" y="1572"/>
                  </a:lnTo>
                  <a:lnTo>
                    <a:pt x="1644" y="1572"/>
                  </a:lnTo>
                  <a:lnTo>
                    <a:pt x="1638" y="1578"/>
                  </a:lnTo>
                  <a:lnTo>
                    <a:pt x="1632" y="1578"/>
                  </a:lnTo>
                  <a:lnTo>
                    <a:pt x="1626" y="1578"/>
                  </a:lnTo>
                  <a:lnTo>
                    <a:pt x="1620" y="1572"/>
                  </a:lnTo>
                  <a:lnTo>
                    <a:pt x="1614" y="1572"/>
                  </a:lnTo>
                  <a:lnTo>
                    <a:pt x="1608" y="1566"/>
                  </a:lnTo>
                  <a:lnTo>
                    <a:pt x="1602" y="1560"/>
                  </a:lnTo>
                  <a:lnTo>
                    <a:pt x="1596" y="1554"/>
                  </a:lnTo>
                  <a:lnTo>
                    <a:pt x="1590" y="1548"/>
                  </a:lnTo>
                  <a:lnTo>
                    <a:pt x="1578" y="1548"/>
                  </a:lnTo>
                  <a:lnTo>
                    <a:pt x="1572" y="1548"/>
                  </a:lnTo>
                  <a:lnTo>
                    <a:pt x="1566" y="1548"/>
                  </a:lnTo>
                  <a:lnTo>
                    <a:pt x="1554" y="1536"/>
                  </a:lnTo>
                  <a:lnTo>
                    <a:pt x="1548" y="1536"/>
                  </a:lnTo>
                  <a:lnTo>
                    <a:pt x="1542" y="1542"/>
                  </a:lnTo>
                  <a:lnTo>
                    <a:pt x="1536" y="1548"/>
                  </a:lnTo>
                  <a:lnTo>
                    <a:pt x="1536" y="1566"/>
                  </a:lnTo>
                  <a:lnTo>
                    <a:pt x="1530" y="1572"/>
                  </a:lnTo>
                  <a:lnTo>
                    <a:pt x="1524" y="1578"/>
                  </a:lnTo>
                  <a:lnTo>
                    <a:pt x="1518" y="1584"/>
                  </a:lnTo>
                  <a:lnTo>
                    <a:pt x="1512" y="1596"/>
                  </a:lnTo>
                  <a:lnTo>
                    <a:pt x="1506" y="1602"/>
                  </a:lnTo>
                  <a:lnTo>
                    <a:pt x="1506" y="1608"/>
                  </a:lnTo>
                  <a:lnTo>
                    <a:pt x="1506" y="1614"/>
                  </a:lnTo>
                  <a:lnTo>
                    <a:pt x="1500" y="1614"/>
                  </a:lnTo>
                  <a:lnTo>
                    <a:pt x="1500" y="1620"/>
                  </a:lnTo>
                  <a:lnTo>
                    <a:pt x="1500" y="1626"/>
                  </a:lnTo>
                  <a:lnTo>
                    <a:pt x="1494" y="1632"/>
                  </a:lnTo>
                  <a:lnTo>
                    <a:pt x="1488" y="1638"/>
                  </a:lnTo>
                  <a:lnTo>
                    <a:pt x="1482" y="1638"/>
                  </a:lnTo>
                  <a:lnTo>
                    <a:pt x="1482" y="1644"/>
                  </a:lnTo>
                  <a:lnTo>
                    <a:pt x="1482" y="1650"/>
                  </a:lnTo>
                  <a:lnTo>
                    <a:pt x="1482" y="1656"/>
                  </a:lnTo>
                  <a:lnTo>
                    <a:pt x="1476" y="1662"/>
                  </a:lnTo>
                  <a:lnTo>
                    <a:pt x="1470" y="1668"/>
                  </a:lnTo>
                  <a:lnTo>
                    <a:pt x="1464" y="1674"/>
                  </a:lnTo>
                  <a:lnTo>
                    <a:pt x="1464" y="1680"/>
                  </a:lnTo>
                  <a:lnTo>
                    <a:pt x="1458" y="1680"/>
                  </a:lnTo>
                  <a:lnTo>
                    <a:pt x="1452" y="1686"/>
                  </a:lnTo>
                  <a:lnTo>
                    <a:pt x="1446" y="1686"/>
                  </a:lnTo>
                  <a:lnTo>
                    <a:pt x="1440" y="1698"/>
                  </a:lnTo>
                  <a:lnTo>
                    <a:pt x="1440" y="1704"/>
                  </a:lnTo>
                  <a:lnTo>
                    <a:pt x="1434" y="1710"/>
                  </a:lnTo>
                  <a:lnTo>
                    <a:pt x="1434" y="1716"/>
                  </a:lnTo>
                  <a:lnTo>
                    <a:pt x="1428" y="1716"/>
                  </a:lnTo>
                  <a:lnTo>
                    <a:pt x="1428" y="1722"/>
                  </a:lnTo>
                  <a:lnTo>
                    <a:pt x="1428" y="1728"/>
                  </a:lnTo>
                  <a:lnTo>
                    <a:pt x="1422" y="1728"/>
                  </a:lnTo>
                  <a:lnTo>
                    <a:pt x="1422" y="1734"/>
                  </a:lnTo>
                  <a:lnTo>
                    <a:pt x="1416" y="1734"/>
                  </a:lnTo>
                  <a:lnTo>
                    <a:pt x="1410" y="1734"/>
                  </a:lnTo>
                  <a:lnTo>
                    <a:pt x="1392" y="1746"/>
                  </a:lnTo>
                  <a:lnTo>
                    <a:pt x="1386" y="1746"/>
                  </a:lnTo>
                  <a:lnTo>
                    <a:pt x="1368" y="1752"/>
                  </a:lnTo>
                  <a:lnTo>
                    <a:pt x="1362" y="1758"/>
                  </a:lnTo>
                  <a:lnTo>
                    <a:pt x="1362" y="1770"/>
                  </a:lnTo>
                  <a:lnTo>
                    <a:pt x="1356" y="178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</p:grpSp>
      <p:graphicFrame>
        <p:nvGraphicFramePr>
          <p:cNvPr id="357" name="Group 76">
            <a:extLst>
              <a:ext uri="{FF2B5EF4-FFF2-40B4-BE49-F238E27FC236}">
                <a16:creationId xmlns:a16="http://schemas.microsoft.com/office/drawing/2014/main" id="{57830D68-CF73-4A3E-9D36-141B03AADBF7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41338" y="3402013"/>
          <a:ext cx="3735387" cy="1827306"/>
        </p:xfrm>
        <a:graphic>
          <a:graphicData uri="http://schemas.openxmlformats.org/drawingml/2006/table">
            <a:tbl>
              <a:tblPr/>
              <a:tblGrid>
                <a:gridCol w="1316931">
                  <a:extLst>
                    <a:ext uri="{9D8B030D-6E8A-4147-A177-3AD203B41FA5}">
                      <a16:colId xmlns:a16="http://schemas.microsoft.com/office/drawing/2014/main" val="2027704273"/>
                    </a:ext>
                  </a:extLst>
                </a:gridCol>
                <a:gridCol w="603796">
                  <a:extLst>
                    <a:ext uri="{9D8B030D-6E8A-4147-A177-3AD203B41FA5}">
                      <a16:colId xmlns:a16="http://schemas.microsoft.com/office/drawing/2014/main" val="3432768286"/>
                    </a:ext>
                  </a:extLst>
                </a:gridCol>
                <a:gridCol w="744015">
                  <a:extLst>
                    <a:ext uri="{9D8B030D-6E8A-4147-A177-3AD203B41FA5}">
                      <a16:colId xmlns:a16="http://schemas.microsoft.com/office/drawing/2014/main" val="3730294207"/>
                    </a:ext>
                  </a:extLst>
                </a:gridCol>
                <a:gridCol w="1070645">
                  <a:extLst>
                    <a:ext uri="{9D8B030D-6E8A-4147-A177-3AD203B41FA5}">
                      <a16:colId xmlns:a16="http://schemas.microsoft.com/office/drawing/2014/main" val="2258321117"/>
                    </a:ext>
                  </a:extLst>
                </a:gridCol>
              </a:tblGrid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apital</a:t>
                      </a:r>
                      <a:endParaRPr kumimoji="0" lang="en-SG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292929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SG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Gombe</a:t>
                      </a:r>
                      <a:endParaRPr kumimoji="0" lang="en-SG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703009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nd Are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7,100 km</a:t>
                      </a:r>
                      <a:r>
                        <a:rPr kumimoji="0" lang="en-US" altLang="en-US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23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603614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Population (2017E)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3,240,675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2 of 37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505851"/>
                  </a:ext>
                </a:extLst>
              </a:tr>
              <a:tr h="203024">
                <a:tc row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Dem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0-14: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,540,008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48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130093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5-64: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,613,457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50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387564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65+: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     87.209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[2%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38801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bour force 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841,645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7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797882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limate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ropical savanna, hot semi-arid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3942226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op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Sandstone, Clay, Salt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32899"/>
                  </a:ext>
                </a:extLst>
              </a:tr>
            </a:tbl>
          </a:graphicData>
        </a:graphic>
      </p:graphicFrame>
      <p:pic>
        <p:nvPicPr>
          <p:cNvPr id="23609" name="Picture 13">
            <a:extLst>
              <a:ext uri="{FF2B5EF4-FFF2-40B4-BE49-F238E27FC236}">
                <a16:creationId xmlns:a16="http://schemas.microsoft.com/office/drawing/2014/main" id="{952964D5-F0ED-4CAE-B71C-DB4A723FA5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0" y="3006725"/>
            <a:ext cx="1116013" cy="155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9" name="TextBox 378">
            <a:extLst>
              <a:ext uri="{FF2B5EF4-FFF2-40B4-BE49-F238E27FC236}">
                <a16:creationId xmlns:a16="http://schemas.microsoft.com/office/drawing/2014/main" id="{1B3FD4BF-4685-4C74-821F-10048D6246BF}"/>
              </a:ext>
            </a:extLst>
          </p:cNvPr>
          <p:cNvSpPr txBox="1"/>
          <p:nvPr/>
        </p:nvSpPr>
        <p:spPr>
          <a:xfrm>
            <a:off x="6124575" y="957263"/>
            <a:ext cx="3475038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mpetitive Advantages</a:t>
            </a: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455FE7A1-ADE5-4F7B-A489-00196671A53E}"/>
              </a:ext>
            </a:extLst>
          </p:cNvPr>
          <p:cNvSpPr/>
          <p:nvPr/>
        </p:nvSpPr>
        <p:spPr>
          <a:xfrm>
            <a:off x="4267248" y="1187511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5.3bn/$17.3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EBB25788-D073-4A78-9D6C-DF3836CFFFBB}"/>
              </a:ext>
            </a:extLst>
          </p:cNvPr>
          <p:cNvSpPr txBox="1"/>
          <p:nvPr/>
        </p:nvSpPr>
        <p:spPr>
          <a:xfrm>
            <a:off x="4267200" y="955675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GR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6F07DF39-553B-44F0-8864-1F897C2BD79A}"/>
              </a:ext>
            </a:extLst>
          </p:cNvPr>
          <p:cNvSpPr/>
          <p:nvPr/>
        </p:nvSpPr>
        <p:spPr>
          <a:xfrm>
            <a:off x="4267252" y="1809750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114bn/$373.8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2508695A-2D2C-45A3-80FE-9C2CB18200C2}"/>
              </a:ext>
            </a:extLst>
          </p:cNvPr>
          <p:cNvSpPr txBox="1"/>
          <p:nvPr/>
        </p:nvSpPr>
        <p:spPr>
          <a:xfrm>
            <a:off x="4267200" y="1576388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Budget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8)</a:t>
            </a: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86A33ABE-3AE3-40A7-A6A6-1B757A6A9B0F}"/>
              </a:ext>
            </a:extLst>
          </p:cNvPr>
          <p:cNvSpPr/>
          <p:nvPr/>
        </p:nvSpPr>
        <p:spPr>
          <a:xfrm>
            <a:off x="4256076" y="2667155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527trn /$1.7bn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1E919764-A18B-4532-A533-A84A31D7FEFE}"/>
              </a:ext>
            </a:extLst>
          </p:cNvPr>
          <p:cNvSpPr txBox="1"/>
          <p:nvPr/>
        </p:nvSpPr>
        <p:spPr>
          <a:xfrm>
            <a:off x="4256088" y="2185988"/>
            <a:ext cx="1811337" cy="50641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Household </a:t>
            </a:r>
          </a:p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nsumption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96" name="Plaque 95">
            <a:extLst>
              <a:ext uri="{FF2B5EF4-FFF2-40B4-BE49-F238E27FC236}">
                <a16:creationId xmlns:a16="http://schemas.microsoft.com/office/drawing/2014/main" id="{E3BE1182-17B4-4194-8641-F1EA2CCBB757}"/>
              </a:ext>
            </a:extLst>
          </p:cNvPr>
          <p:cNvSpPr/>
          <p:nvPr/>
        </p:nvSpPr>
        <p:spPr>
          <a:xfrm>
            <a:off x="5583996" y="2805162"/>
            <a:ext cx="483429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36 of 36</a:t>
            </a:r>
          </a:p>
        </p:txBody>
      </p:sp>
      <p:sp>
        <p:nvSpPr>
          <p:cNvPr id="99" name="Plaque 98">
            <a:extLst>
              <a:ext uri="{FF2B5EF4-FFF2-40B4-BE49-F238E27FC236}">
                <a16:creationId xmlns:a16="http://schemas.microsoft.com/office/drawing/2014/main" id="{8620E393-1C52-4CE1-9888-20922FA6DFEA}"/>
              </a:ext>
            </a:extLst>
          </p:cNvPr>
          <p:cNvSpPr/>
          <p:nvPr/>
        </p:nvSpPr>
        <p:spPr>
          <a:xfrm>
            <a:off x="5638800" y="1951087"/>
            <a:ext cx="428626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32 of 36</a:t>
            </a:r>
          </a:p>
        </p:txBody>
      </p:sp>
      <p:sp>
        <p:nvSpPr>
          <p:cNvPr id="100" name="Plaque 99">
            <a:extLst>
              <a:ext uri="{FF2B5EF4-FFF2-40B4-BE49-F238E27FC236}">
                <a16:creationId xmlns:a16="http://schemas.microsoft.com/office/drawing/2014/main" id="{3BFA6D28-9A42-4459-8BF1-090CE1B45216}"/>
              </a:ext>
            </a:extLst>
          </p:cNvPr>
          <p:cNvSpPr/>
          <p:nvPr/>
        </p:nvSpPr>
        <p:spPr>
          <a:xfrm>
            <a:off x="5638800" y="1333500"/>
            <a:ext cx="430213" cy="1539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latin typeface="Calibri" panose="020F0502020204030204" pitchFamily="34" charset="0"/>
                <a:cs typeface="Calibri" panose="020F0502020204030204" pitchFamily="34" charset="0"/>
              </a:rPr>
              <a:t>30 of 36</a:t>
            </a:r>
          </a:p>
        </p:txBody>
      </p:sp>
      <p:sp>
        <p:nvSpPr>
          <p:cNvPr id="101" name="Pentagon 19">
            <a:extLst>
              <a:ext uri="{FF2B5EF4-FFF2-40B4-BE49-F238E27FC236}">
                <a16:creationId xmlns:a16="http://schemas.microsoft.com/office/drawing/2014/main" id="{CCD74FA4-19D0-4356-90C9-B3B49BCC3F54}"/>
              </a:ext>
            </a:extLst>
          </p:cNvPr>
          <p:cNvSpPr>
            <a:spLocks/>
          </p:cNvSpPr>
          <p:nvPr/>
        </p:nvSpPr>
        <p:spPr bwMode="auto">
          <a:xfrm>
            <a:off x="688340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6 of 37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12EE735-1E43-4799-A46A-5D0787F375CE}"/>
              </a:ext>
            </a:extLst>
          </p:cNvPr>
          <p:cNvSpPr/>
          <p:nvPr/>
        </p:nvSpPr>
        <p:spPr>
          <a:xfrm>
            <a:off x="6880225" y="5726113"/>
            <a:ext cx="642938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Starting a Business</a:t>
            </a:r>
          </a:p>
        </p:txBody>
      </p:sp>
      <p:pic>
        <p:nvPicPr>
          <p:cNvPr id="23622" name="Picture 3">
            <a:extLst>
              <a:ext uri="{FF2B5EF4-FFF2-40B4-BE49-F238E27FC236}">
                <a16:creationId xmlns:a16="http://schemas.microsoft.com/office/drawing/2014/main" id="{53FAD0C6-8FFE-437B-B7E4-F2A938D3BE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350" y="5249863"/>
            <a:ext cx="41910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23" name="Freeform 15">
            <a:extLst>
              <a:ext uri="{FF2B5EF4-FFF2-40B4-BE49-F238E27FC236}">
                <a16:creationId xmlns:a16="http://schemas.microsoft.com/office/drawing/2014/main" id="{183A3C8B-011E-4D99-9165-3FF03A2D3207}"/>
              </a:ext>
            </a:extLst>
          </p:cNvPr>
          <p:cNvSpPr>
            <a:spLocks noEditPoints="1"/>
          </p:cNvSpPr>
          <p:nvPr/>
        </p:nvSpPr>
        <p:spPr bwMode="auto">
          <a:xfrm>
            <a:off x="9093200" y="5257800"/>
            <a:ext cx="276225" cy="347663"/>
          </a:xfrm>
          <a:custGeom>
            <a:avLst/>
            <a:gdLst>
              <a:gd name="T0" fmla="*/ 2147483646 w 3556"/>
              <a:gd name="T1" fmla="*/ 2147483646 h 3950"/>
              <a:gd name="T2" fmla="*/ 2147483646 w 3556"/>
              <a:gd name="T3" fmla="*/ 2147483646 h 3950"/>
              <a:gd name="T4" fmla="*/ 2147483646 w 3556"/>
              <a:gd name="T5" fmla="*/ 2147483646 h 3950"/>
              <a:gd name="T6" fmla="*/ 2147483646 w 3556"/>
              <a:gd name="T7" fmla="*/ 2147483646 h 3950"/>
              <a:gd name="T8" fmla="*/ 2147483646 w 3556"/>
              <a:gd name="T9" fmla="*/ 2147483646 h 3950"/>
              <a:gd name="T10" fmla="*/ 2147483646 w 3556"/>
              <a:gd name="T11" fmla="*/ 2147483646 h 3950"/>
              <a:gd name="T12" fmla="*/ 2147483646 w 3556"/>
              <a:gd name="T13" fmla="*/ 2147483646 h 3950"/>
              <a:gd name="T14" fmla="*/ 2147483646 w 3556"/>
              <a:gd name="T15" fmla="*/ 2147483646 h 3950"/>
              <a:gd name="T16" fmla="*/ 2147483646 w 3556"/>
              <a:gd name="T17" fmla="*/ 2147483646 h 3950"/>
              <a:gd name="T18" fmla="*/ 2147483646 w 3556"/>
              <a:gd name="T19" fmla="*/ 2147483646 h 3950"/>
              <a:gd name="T20" fmla="*/ 2147483646 w 3556"/>
              <a:gd name="T21" fmla="*/ 2147483646 h 3950"/>
              <a:gd name="T22" fmla="*/ 0 w 3556"/>
              <a:gd name="T23" fmla="*/ 2147483646 h 3950"/>
              <a:gd name="T24" fmla="*/ 2147483646 w 3556"/>
              <a:gd name="T25" fmla="*/ 2147483646 h 3950"/>
              <a:gd name="T26" fmla="*/ 2147483646 w 3556"/>
              <a:gd name="T27" fmla="*/ 2147483646 h 3950"/>
              <a:gd name="T28" fmla="*/ 2147483646 w 3556"/>
              <a:gd name="T29" fmla="*/ 2147483646 h 3950"/>
              <a:gd name="T30" fmla="*/ 2147483646 w 3556"/>
              <a:gd name="T31" fmla="*/ 2147483646 h 3950"/>
              <a:gd name="T32" fmla="*/ 2147483646 w 3556"/>
              <a:gd name="T33" fmla="*/ 2147483646 h 3950"/>
              <a:gd name="T34" fmla="*/ 2147483646 w 3556"/>
              <a:gd name="T35" fmla="*/ 2147483646 h 3950"/>
              <a:gd name="T36" fmla="*/ 2147483646 w 3556"/>
              <a:gd name="T37" fmla="*/ 2147483646 h 3950"/>
              <a:gd name="T38" fmla="*/ 2147483646 w 3556"/>
              <a:gd name="T39" fmla="*/ 2147483646 h 3950"/>
              <a:gd name="T40" fmla="*/ 2147483646 w 3556"/>
              <a:gd name="T41" fmla="*/ 2147483646 h 3950"/>
              <a:gd name="T42" fmla="*/ 2147483646 w 3556"/>
              <a:gd name="T43" fmla="*/ 2147483646 h 3950"/>
              <a:gd name="T44" fmla="*/ 2147483646 w 3556"/>
              <a:gd name="T45" fmla="*/ 2147483646 h 3950"/>
              <a:gd name="T46" fmla="*/ 2147483646 w 3556"/>
              <a:gd name="T47" fmla="*/ 2147483646 h 3950"/>
              <a:gd name="T48" fmla="*/ 2147483646 w 3556"/>
              <a:gd name="T49" fmla="*/ 2147483646 h 3950"/>
              <a:gd name="T50" fmla="*/ 2147483646 w 3556"/>
              <a:gd name="T51" fmla="*/ 2147483646 h 3950"/>
              <a:gd name="T52" fmla="*/ 2147483646 w 3556"/>
              <a:gd name="T53" fmla="*/ 2147483646 h 3950"/>
              <a:gd name="T54" fmla="*/ 2147483646 w 3556"/>
              <a:gd name="T55" fmla="*/ 2147483646 h 3950"/>
              <a:gd name="T56" fmla="*/ 2147483646 w 3556"/>
              <a:gd name="T57" fmla="*/ 2147483646 h 3950"/>
              <a:gd name="T58" fmla="*/ 2147483646 w 3556"/>
              <a:gd name="T59" fmla="*/ 2147483646 h 3950"/>
              <a:gd name="T60" fmla="*/ 2147483646 w 3556"/>
              <a:gd name="T61" fmla="*/ 2147483646 h 3950"/>
              <a:gd name="T62" fmla="*/ 2147483646 w 3556"/>
              <a:gd name="T63" fmla="*/ 2147483646 h 3950"/>
              <a:gd name="T64" fmla="*/ 2147483646 w 3556"/>
              <a:gd name="T65" fmla="*/ 2147483646 h 3950"/>
              <a:gd name="T66" fmla="*/ 2147483646 w 3556"/>
              <a:gd name="T67" fmla="*/ 2147483646 h 3950"/>
              <a:gd name="T68" fmla="*/ 2147483646 w 3556"/>
              <a:gd name="T69" fmla="*/ 2147483646 h 3950"/>
              <a:gd name="T70" fmla="*/ 2147483646 w 3556"/>
              <a:gd name="T71" fmla="*/ 2147483646 h 3950"/>
              <a:gd name="T72" fmla="*/ 2147483646 w 3556"/>
              <a:gd name="T73" fmla="*/ 2147483646 h 3950"/>
              <a:gd name="T74" fmla="*/ 2147483646 w 3556"/>
              <a:gd name="T75" fmla="*/ 2147483646 h 3950"/>
              <a:gd name="T76" fmla="*/ 2147483646 w 3556"/>
              <a:gd name="T77" fmla="*/ 2147483646 h 3950"/>
              <a:gd name="T78" fmla="*/ 2147483646 w 3556"/>
              <a:gd name="T79" fmla="*/ 2147483646 h 3950"/>
              <a:gd name="T80" fmla="*/ 2147483646 w 3556"/>
              <a:gd name="T81" fmla="*/ 0 h 3950"/>
              <a:gd name="T82" fmla="*/ 2147483646 w 3556"/>
              <a:gd name="T83" fmla="*/ 2147483646 h 3950"/>
              <a:gd name="T84" fmla="*/ 2147483646 w 3556"/>
              <a:gd name="T85" fmla="*/ 2147483646 h 3950"/>
              <a:gd name="T86" fmla="*/ 2147483646 w 3556"/>
              <a:gd name="T87" fmla="*/ 2147483646 h 395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556"/>
              <a:gd name="T133" fmla="*/ 0 h 3950"/>
              <a:gd name="T134" fmla="*/ 3556 w 3556"/>
              <a:gd name="T135" fmla="*/ 3950 h 395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556" h="3950">
                <a:moveTo>
                  <a:pt x="909" y="3917"/>
                </a:moveTo>
                <a:cubicBezTo>
                  <a:pt x="824" y="3832"/>
                  <a:pt x="894" y="3725"/>
                  <a:pt x="1036" y="3725"/>
                </a:cubicBezTo>
                <a:cubicBezTo>
                  <a:pt x="1119" y="3725"/>
                  <a:pt x="1129" y="3717"/>
                  <a:pt x="1129" y="3645"/>
                </a:cubicBezTo>
                <a:cubicBezTo>
                  <a:pt x="1129" y="3472"/>
                  <a:pt x="1135" y="3471"/>
                  <a:pt x="2192" y="3471"/>
                </a:cubicBezTo>
                <a:cubicBezTo>
                  <a:pt x="3086" y="3471"/>
                  <a:pt x="3155" y="3475"/>
                  <a:pt x="3199" y="3523"/>
                </a:cubicBezTo>
                <a:cubicBezTo>
                  <a:pt x="3225" y="3551"/>
                  <a:pt x="3246" y="3608"/>
                  <a:pt x="3246" y="3648"/>
                </a:cubicBezTo>
                <a:cubicBezTo>
                  <a:pt x="3246" y="3712"/>
                  <a:pt x="3259" y="3723"/>
                  <a:pt x="3349" y="3730"/>
                </a:cubicBezTo>
                <a:cubicBezTo>
                  <a:pt x="3470" y="3741"/>
                  <a:pt x="3530" y="3811"/>
                  <a:pt x="3482" y="3887"/>
                </a:cubicBezTo>
                <a:cubicBezTo>
                  <a:pt x="3453" y="3933"/>
                  <a:pt x="3356" y="3937"/>
                  <a:pt x="2197" y="3944"/>
                </a:cubicBezTo>
                <a:cubicBezTo>
                  <a:pt x="1245" y="3950"/>
                  <a:pt x="935" y="3943"/>
                  <a:pt x="909" y="3917"/>
                </a:cubicBezTo>
                <a:close/>
                <a:moveTo>
                  <a:pt x="87" y="3370"/>
                </a:moveTo>
                <a:cubicBezTo>
                  <a:pt x="24" y="3317"/>
                  <a:pt x="0" y="3272"/>
                  <a:pt x="0" y="3209"/>
                </a:cubicBezTo>
                <a:cubicBezTo>
                  <a:pt x="0" y="3132"/>
                  <a:pt x="86" y="3035"/>
                  <a:pt x="705" y="2414"/>
                </a:cubicBezTo>
                <a:lnTo>
                  <a:pt x="1411" y="1706"/>
                </a:lnTo>
                <a:lnTo>
                  <a:pt x="1235" y="1530"/>
                </a:lnTo>
                <a:lnTo>
                  <a:pt x="1059" y="1355"/>
                </a:lnTo>
                <a:lnTo>
                  <a:pt x="1510" y="903"/>
                </a:lnTo>
                <a:lnTo>
                  <a:pt x="1960" y="452"/>
                </a:lnTo>
                <a:lnTo>
                  <a:pt x="2135" y="624"/>
                </a:lnTo>
                <a:cubicBezTo>
                  <a:pt x="2305" y="793"/>
                  <a:pt x="2310" y="796"/>
                  <a:pt x="2374" y="751"/>
                </a:cubicBezTo>
                <a:cubicBezTo>
                  <a:pt x="2469" y="685"/>
                  <a:pt x="2547" y="695"/>
                  <a:pt x="2633" y="785"/>
                </a:cubicBezTo>
                <a:cubicBezTo>
                  <a:pt x="2720" y="875"/>
                  <a:pt x="2731" y="974"/>
                  <a:pt x="2662" y="1050"/>
                </a:cubicBezTo>
                <a:cubicBezTo>
                  <a:pt x="2616" y="1100"/>
                  <a:pt x="2624" y="1112"/>
                  <a:pt x="2823" y="1313"/>
                </a:cubicBezTo>
                <a:lnTo>
                  <a:pt x="3033" y="1524"/>
                </a:lnTo>
                <a:lnTo>
                  <a:pt x="2582" y="1975"/>
                </a:lnTo>
                <a:lnTo>
                  <a:pt x="2132" y="2427"/>
                </a:lnTo>
                <a:lnTo>
                  <a:pt x="1933" y="2229"/>
                </a:lnTo>
                <a:cubicBezTo>
                  <a:pt x="1824" y="2121"/>
                  <a:pt x="1722" y="2032"/>
                  <a:pt x="1707" y="2032"/>
                </a:cubicBezTo>
                <a:cubicBezTo>
                  <a:pt x="1693" y="2032"/>
                  <a:pt x="1362" y="2349"/>
                  <a:pt x="973" y="2737"/>
                </a:cubicBezTo>
                <a:cubicBezTo>
                  <a:pt x="584" y="3125"/>
                  <a:pt x="245" y="3443"/>
                  <a:pt x="220" y="3443"/>
                </a:cubicBezTo>
                <a:cubicBezTo>
                  <a:pt x="194" y="3443"/>
                  <a:pt x="135" y="3410"/>
                  <a:pt x="87" y="3370"/>
                </a:cubicBezTo>
                <a:close/>
                <a:moveTo>
                  <a:pt x="2258" y="2887"/>
                </a:moveTo>
                <a:cubicBezTo>
                  <a:pt x="2196" y="2865"/>
                  <a:pt x="2145" y="2792"/>
                  <a:pt x="2145" y="2725"/>
                </a:cubicBezTo>
                <a:cubicBezTo>
                  <a:pt x="2145" y="2686"/>
                  <a:pt x="2337" y="2474"/>
                  <a:pt x="2703" y="2109"/>
                </a:cubicBezTo>
                <a:cubicBezTo>
                  <a:pt x="3289" y="1523"/>
                  <a:pt x="3346" y="1485"/>
                  <a:pt x="3453" y="1604"/>
                </a:cubicBezTo>
                <a:cubicBezTo>
                  <a:pt x="3556" y="1717"/>
                  <a:pt x="3522" y="1766"/>
                  <a:pt x="2956" y="2331"/>
                </a:cubicBezTo>
                <a:cubicBezTo>
                  <a:pt x="2657" y="2630"/>
                  <a:pt x="2388" y="2880"/>
                  <a:pt x="2357" y="2888"/>
                </a:cubicBezTo>
                <a:cubicBezTo>
                  <a:pt x="2326" y="2895"/>
                  <a:pt x="2281" y="2895"/>
                  <a:pt x="2258" y="2887"/>
                </a:cubicBezTo>
                <a:close/>
                <a:moveTo>
                  <a:pt x="637" y="1282"/>
                </a:moveTo>
                <a:cubicBezTo>
                  <a:pt x="528" y="1172"/>
                  <a:pt x="568" y="1113"/>
                  <a:pt x="1137" y="544"/>
                </a:cubicBezTo>
                <a:cubicBezTo>
                  <a:pt x="1607" y="74"/>
                  <a:pt x="1693" y="0"/>
                  <a:pt x="1767" y="0"/>
                </a:cubicBezTo>
                <a:cubicBezTo>
                  <a:pt x="1862" y="0"/>
                  <a:pt x="1947" y="73"/>
                  <a:pt x="1947" y="156"/>
                </a:cubicBezTo>
                <a:cubicBezTo>
                  <a:pt x="1947" y="186"/>
                  <a:pt x="1715" y="442"/>
                  <a:pt x="1391" y="767"/>
                </a:cubicBezTo>
                <a:cubicBezTo>
                  <a:pt x="808" y="1353"/>
                  <a:pt x="749" y="1393"/>
                  <a:pt x="637" y="12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4" name="Group 118">
            <a:extLst>
              <a:ext uri="{FF2B5EF4-FFF2-40B4-BE49-F238E27FC236}">
                <a16:creationId xmlns:a16="http://schemas.microsoft.com/office/drawing/2014/main" id="{FB3D6A90-C4FD-433A-A1C1-A4B3864804A5}"/>
              </a:ext>
            </a:extLst>
          </p:cNvPr>
          <p:cNvGrpSpPr/>
          <p:nvPr/>
        </p:nvGrpSpPr>
        <p:grpSpPr>
          <a:xfrm>
            <a:off x="8409631" y="5248358"/>
            <a:ext cx="346498" cy="347472"/>
            <a:chOff x="1468138" y="5997240"/>
            <a:chExt cx="283642" cy="307072"/>
          </a:xfrm>
          <a:solidFill>
            <a:schemeClr val="bg1"/>
          </a:solidFill>
        </p:grpSpPr>
        <p:sp>
          <p:nvSpPr>
            <p:cNvPr id="120" name="Freeform 16">
              <a:extLst>
                <a:ext uri="{FF2B5EF4-FFF2-40B4-BE49-F238E27FC236}">
                  <a16:creationId xmlns:a16="http://schemas.microsoft.com/office/drawing/2014/main" id="{D6134FC8-4249-4088-8AE8-003C8AAC7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6136" y="6255221"/>
              <a:ext cx="26428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1 w 349"/>
                <a:gd name="T25" fmla="*/ 226 h 350"/>
                <a:gd name="T26" fmla="*/ 225 w 349"/>
                <a:gd name="T27" fmla="*/ 213 h 350"/>
                <a:gd name="T28" fmla="*/ 234 w 349"/>
                <a:gd name="T29" fmla="*/ 194 h 350"/>
                <a:gd name="T30" fmla="*/ 237 w 349"/>
                <a:gd name="T31" fmla="*/ 175 h 350"/>
                <a:gd name="T32" fmla="*/ 235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5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4 w 349"/>
                <a:gd name="T47" fmla="*/ 3 h 350"/>
                <a:gd name="T48" fmla="*/ 234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8 w 349"/>
                <a:gd name="T55" fmla="*/ 63 h 350"/>
                <a:gd name="T56" fmla="*/ 325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5 w 349"/>
                <a:gd name="T65" fmla="*/ 210 h 350"/>
                <a:gd name="T66" fmla="*/ 335 w 349"/>
                <a:gd name="T67" fmla="*/ 243 h 350"/>
                <a:gd name="T68" fmla="*/ 319 w 349"/>
                <a:gd name="T69" fmla="*/ 273 h 350"/>
                <a:gd name="T70" fmla="*/ 297 w 349"/>
                <a:gd name="T71" fmla="*/ 299 h 350"/>
                <a:gd name="T72" fmla="*/ 272 w 349"/>
                <a:gd name="T73" fmla="*/ 319 h 350"/>
                <a:gd name="T74" fmla="*/ 242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39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29 w 349"/>
                <a:gd name="T89" fmla="*/ 273 h 350"/>
                <a:gd name="T90" fmla="*/ 14 w 349"/>
                <a:gd name="T91" fmla="*/ 243 h 350"/>
                <a:gd name="T92" fmla="*/ 3 w 349"/>
                <a:gd name="T93" fmla="*/ 210 h 350"/>
                <a:gd name="T94" fmla="*/ 0 w 349"/>
                <a:gd name="T95" fmla="*/ 175 h 350"/>
                <a:gd name="T96" fmla="*/ 3 w 349"/>
                <a:gd name="T97" fmla="*/ 140 h 350"/>
                <a:gd name="T98" fmla="*/ 14 w 349"/>
                <a:gd name="T99" fmla="*/ 107 h 350"/>
                <a:gd name="T100" fmla="*/ 29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39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1" y="226"/>
                  </a:lnTo>
                  <a:lnTo>
                    <a:pt x="225" y="213"/>
                  </a:lnTo>
                  <a:lnTo>
                    <a:pt x="234" y="194"/>
                  </a:lnTo>
                  <a:lnTo>
                    <a:pt x="237" y="175"/>
                  </a:lnTo>
                  <a:lnTo>
                    <a:pt x="235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5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4" y="3"/>
                  </a:lnTo>
                  <a:lnTo>
                    <a:pt x="234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8" y="63"/>
                  </a:lnTo>
                  <a:lnTo>
                    <a:pt x="325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5" y="210"/>
                  </a:lnTo>
                  <a:lnTo>
                    <a:pt x="335" y="243"/>
                  </a:lnTo>
                  <a:lnTo>
                    <a:pt x="319" y="273"/>
                  </a:lnTo>
                  <a:lnTo>
                    <a:pt x="297" y="299"/>
                  </a:lnTo>
                  <a:lnTo>
                    <a:pt x="272" y="319"/>
                  </a:lnTo>
                  <a:lnTo>
                    <a:pt x="242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39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29" y="273"/>
                  </a:lnTo>
                  <a:lnTo>
                    <a:pt x="14" y="243"/>
                  </a:lnTo>
                  <a:lnTo>
                    <a:pt x="3" y="210"/>
                  </a:lnTo>
                  <a:lnTo>
                    <a:pt x="0" y="175"/>
                  </a:lnTo>
                  <a:lnTo>
                    <a:pt x="3" y="140"/>
                  </a:lnTo>
                  <a:lnTo>
                    <a:pt x="14" y="107"/>
                  </a:lnTo>
                  <a:lnTo>
                    <a:pt x="29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39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1" name="Freeform 17">
              <a:extLst>
                <a:ext uri="{FF2B5EF4-FFF2-40B4-BE49-F238E27FC236}">
                  <a16:creationId xmlns:a16="http://schemas.microsoft.com/office/drawing/2014/main" id="{67A5F0B0-C078-4A85-9E32-409FF0B3D5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2133" y="6255221"/>
              <a:ext cx="26656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2 w 349"/>
                <a:gd name="T25" fmla="*/ 226 h 350"/>
                <a:gd name="T26" fmla="*/ 226 w 349"/>
                <a:gd name="T27" fmla="*/ 213 h 350"/>
                <a:gd name="T28" fmla="*/ 235 w 349"/>
                <a:gd name="T29" fmla="*/ 194 h 350"/>
                <a:gd name="T30" fmla="*/ 237 w 349"/>
                <a:gd name="T31" fmla="*/ 175 h 350"/>
                <a:gd name="T32" fmla="*/ 236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7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5 w 349"/>
                <a:gd name="T47" fmla="*/ 3 h 350"/>
                <a:gd name="T48" fmla="*/ 235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9 w 349"/>
                <a:gd name="T55" fmla="*/ 63 h 350"/>
                <a:gd name="T56" fmla="*/ 326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6 w 349"/>
                <a:gd name="T65" fmla="*/ 210 h 350"/>
                <a:gd name="T66" fmla="*/ 336 w 349"/>
                <a:gd name="T67" fmla="*/ 243 h 350"/>
                <a:gd name="T68" fmla="*/ 319 w 349"/>
                <a:gd name="T69" fmla="*/ 273 h 350"/>
                <a:gd name="T70" fmla="*/ 298 w 349"/>
                <a:gd name="T71" fmla="*/ 299 h 350"/>
                <a:gd name="T72" fmla="*/ 272 w 349"/>
                <a:gd name="T73" fmla="*/ 319 h 350"/>
                <a:gd name="T74" fmla="*/ 243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40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30 w 349"/>
                <a:gd name="T89" fmla="*/ 273 h 350"/>
                <a:gd name="T90" fmla="*/ 14 w 349"/>
                <a:gd name="T91" fmla="*/ 243 h 350"/>
                <a:gd name="T92" fmla="*/ 4 w 349"/>
                <a:gd name="T93" fmla="*/ 210 h 350"/>
                <a:gd name="T94" fmla="*/ 0 w 349"/>
                <a:gd name="T95" fmla="*/ 175 h 350"/>
                <a:gd name="T96" fmla="*/ 4 w 349"/>
                <a:gd name="T97" fmla="*/ 140 h 350"/>
                <a:gd name="T98" fmla="*/ 14 w 349"/>
                <a:gd name="T99" fmla="*/ 107 h 350"/>
                <a:gd name="T100" fmla="*/ 30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40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7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7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5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19" y="273"/>
                  </a:lnTo>
                  <a:lnTo>
                    <a:pt x="298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2" name="Freeform 18">
              <a:extLst>
                <a:ext uri="{FF2B5EF4-FFF2-40B4-BE49-F238E27FC236}">
                  <a16:creationId xmlns:a16="http://schemas.microsoft.com/office/drawing/2014/main" id="{BF1784DA-3E40-44FD-998D-DB1DD379C0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8357" y="6255221"/>
              <a:ext cx="26428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7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1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7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8 w 350"/>
                <a:gd name="T31" fmla="*/ 175 h 350"/>
                <a:gd name="T32" fmla="*/ 236 w 350"/>
                <a:gd name="T33" fmla="*/ 158 h 350"/>
                <a:gd name="T34" fmla="*/ 229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7 w 350"/>
                <a:gd name="T53" fmla="*/ 41 h 350"/>
                <a:gd name="T54" fmla="*/ 309 w 350"/>
                <a:gd name="T55" fmla="*/ 63 h 350"/>
                <a:gd name="T56" fmla="*/ 326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2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7 w 350"/>
                <a:gd name="T85" fmla="*/ 319 h 350"/>
                <a:gd name="T86" fmla="*/ 51 w 350"/>
                <a:gd name="T87" fmla="*/ 299 h 350"/>
                <a:gd name="T88" fmla="*/ 30 w 350"/>
                <a:gd name="T89" fmla="*/ 273 h 350"/>
                <a:gd name="T90" fmla="*/ 14 w 350"/>
                <a:gd name="T91" fmla="*/ 243 h 350"/>
                <a:gd name="T92" fmla="*/ 4 w 350"/>
                <a:gd name="T93" fmla="*/ 210 h 350"/>
                <a:gd name="T94" fmla="*/ 0 w 350"/>
                <a:gd name="T95" fmla="*/ 175 h 350"/>
                <a:gd name="T96" fmla="*/ 4 w 350"/>
                <a:gd name="T97" fmla="*/ 140 h 350"/>
                <a:gd name="T98" fmla="*/ 14 w 350"/>
                <a:gd name="T99" fmla="*/ 107 h 350"/>
                <a:gd name="T100" fmla="*/ 30 w 350"/>
                <a:gd name="T101" fmla="*/ 78 h 350"/>
                <a:gd name="T102" fmla="*/ 51 w 350"/>
                <a:gd name="T103" fmla="*/ 52 h 350"/>
                <a:gd name="T104" fmla="*/ 77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8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3" name="Freeform 19">
              <a:extLst>
                <a:ext uri="{FF2B5EF4-FFF2-40B4-BE49-F238E27FC236}">
                  <a16:creationId xmlns:a16="http://schemas.microsoft.com/office/drawing/2014/main" id="{FF26547B-24B3-4108-8095-A2794E966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4353" y="6255221"/>
              <a:ext cx="26656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8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3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8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9 w 350"/>
                <a:gd name="T31" fmla="*/ 175 h 350"/>
                <a:gd name="T32" fmla="*/ 236 w 350"/>
                <a:gd name="T33" fmla="*/ 158 h 350"/>
                <a:gd name="T34" fmla="*/ 231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8 w 350"/>
                <a:gd name="T53" fmla="*/ 41 h 350"/>
                <a:gd name="T54" fmla="*/ 309 w 350"/>
                <a:gd name="T55" fmla="*/ 63 h 350"/>
                <a:gd name="T56" fmla="*/ 327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3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8 w 350"/>
                <a:gd name="T85" fmla="*/ 319 h 350"/>
                <a:gd name="T86" fmla="*/ 53 w 350"/>
                <a:gd name="T87" fmla="*/ 299 h 350"/>
                <a:gd name="T88" fmla="*/ 31 w 350"/>
                <a:gd name="T89" fmla="*/ 273 h 350"/>
                <a:gd name="T90" fmla="*/ 15 w 350"/>
                <a:gd name="T91" fmla="*/ 243 h 350"/>
                <a:gd name="T92" fmla="*/ 5 w 350"/>
                <a:gd name="T93" fmla="*/ 210 h 350"/>
                <a:gd name="T94" fmla="*/ 0 w 350"/>
                <a:gd name="T95" fmla="*/ 175 h 350"/>
                <a:gd name="T96" fmla="*/ 5 w 350"/>
                <a:gd name="T97" fmla="*/ 140 h 350"/>
                <a:gd name="T98" fmla="*/ 15 w 350"/>
                <a:gd name="T99" fmla="*/ 107 h 350"/>
                <a:gd name="T100" fmla="*/ 31 w 350"/>
                <a:gd name="T101" fmla="*/ 78 h 350"/>
                <a:gd name="T102" fmla="*/ 53 w 350"/>
                <a:gd name="T103" fmla="*/ 52 h 350"/>
                <a:gd name="T104" fmla="*/ 78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8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3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8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9" y="175"/>
                  </a:lnTo>
                  <a:lnTo>
                    <a:pt x="236" y="158"/>
                  </a:lnTo>
                  <a:lnTo>
                    <a:pt x="231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8" y="41"/>
                  </a:lnTo>
                  <a:lnTo>
                    <a:pt x="309" y="63"/>
                  </a:lnTo>
                  <a:lnTo>
                    <a:pt x="327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3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8" y="319"/>
                  </a:lnTo>
                  <a:lnTo>
                    <a:pt x="53" y="299"/>
                  </a:lnTo>
                  <a:lnTo>
                    <a:pt x="31" y="273"/>
                  </a:lnTo>
                  <a:lnTo>
                    <a:pt x="15" y="243"/>
                  </a:lnTo>
                  <a:lnTo>
                    <a:pt x="5" y="210"/>
                  </a:lnTo>
                  <a:lnTo>
                    <a:pt x="0" y="175"/>
                  </a:lnTo>
                  <a:lnTo>
                    <a:pt x="5" y="140"/>
                  </a:lnTo>
                  <a:lnTo>
                    <a:pt x="15" y="107"/>
                  </a:lnTo>
                  <a:lnTo>
                    <a:pt x="31" y="78"/>
                  </a:lnTo>
                  <a:lnTo>
                    <a:pt x="53" y="52"/>
                  </a:lnTo>
                  <a:lnTo>
                    <a:pt x="78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4" name="Freeform 20">
              <a:extLst>
                <a:ext uri="{FF2B5EF4-FFF2-40B4-BE49-F238E27FC236}">
                  <a16:creationId xmlns:a16="http://schemas.microsoft.com/office/drawing/2014/main" id="{6F553FA1-4728-401A-8C20-F18E165CA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80832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2 h 111"/>
                <a:gd name="T10" fmla="*/ 168 w 171"/>
                <a:gd name="T11" fmla="*/ 37 h 111"/>
                <a:gd name="T12" fmla="*/ 171 w 171"/>
                <a:gd name="T13" fmla="*/ 55 h 111"/>
                <a:gd name="T14" fmla="*/ 168 w 171"/>
                <a:gd name="T15" fmla="*/ 72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8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8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2 h 111"/>
                <a:gd name="T34" fmla="*/ 0 w 171"/>
                <a:gd name="T35" fmla="*/ 55 h 111"/>
                <a:gd name="T36" fmla="*/ 2 w 171"/>
                <a:gd name="T37" fmla="*/ 37 h 111"/>
                <a:gd name="T38" fmla="*/ 10 w 171"/>
                <a:gd name="T39" fmla="*/ 22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2"/>
                  </a:lnTo>
                  <a:lnTo>
                    <a:pt x="168" y="37"/>
                  </a:lnTo>
                  <a:lnTo>
                    <a:pt x="171" y="55"/>
                  </a:lnTo>
                  <a:lnTo>
                    <a:pt x="168" y="72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8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8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2"/>
                  </a:lnTo>
                  <a:lnTo>
                    <a:pt x="0" y="55"/>
                  </a:lnTo>
                  <a:lnTo>
                    <a:pt x="2" y="37"/>
                  </a:lnTo>
                  <a:lnTo>
                    <a:pt x="10" y="22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5" name="Freeform 21">
              <a:extLst>
                <a:ext uri="{FF2B5EF4-FFF2-40B4-BE49-F238E27FC236}">
                  <a16:creationId xmlns:a16="http://schemas.microsoft.com/office/drawing/2014/main" id="{2A783787-5E9B-43C9-9BF4-073950C97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95860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3 h 111"/>
                <a:gd name="T10" fmla="*/ 168 w 171"/>
                <a:gd name="T11" fmla="*/ 38 h 111"/>
                <a:gd name="T12" fmla="*/ 171 w 171"/>
                <a:gd name="T13" fmla="*/ 55 h 111"/>
                <a:gd name="T14" fmla="*/ 168 w 171"/>
                <a:gd name="T15" fmla="*/ 74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9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9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4 h 111"/>
                <a:gd name="T34" fmla="*/ 0 w 171"/>
                <a:gd name="T35" fmla="*/ 55 h 111"/>
                <a:gd name="T36" fmla="*/ 2 w 171"/>
                <a:gd name="T37" fmla="*/ 38 h 111"/>
                <a:gd name="T38" fmla="*/ 10 w 171"/>
                <a:gd name="T39" fmla="*/ 23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3"/>
                  </a:lnTo>
                  <a:lnTo>
                    <a:pt x="168" y="38"/>
                  </a:lnTo>
                  <a:lnTo>
                    <a:pt x="171" y="55"/>
                  </a:lnTo>
                  <a:lnTo>
                    <a:pt x="168" y="74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9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9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4"/>
                  </a:lnTo>
                  <a:lnTo>
                    <a:pt x="0" y="55"/>
                  </a:lnTo>
                  <a:lnTo>
                    <a:pt x="2" y="38"/>
                  </a:lnTo>
                  <a:lnTo>
                    <a:pt x="10" y="23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6" name="Freeform 22">
              <a:extLst>
                <a:ext uri="{FF2B5EF4-FFF2-40B4-BE49-F238E27FC236}">
                  <a16:creationId xmlns:a16="http://schemas.microsoft.com/office/drawing/2014/main" id="{6465D05A-ED22-49B3-924E-6DFC4C8C8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8138" y="5997240"/>
              <a:ext cx="283642" cy="307072"/>
            </a:xfrm>
            <a:custGeom>
              <a:avLst/>
              <a:gdLst>
                <a:gd name="T0" fmla="*/ 185 w 3736"/>
                <a:gd name="T1" fmla="*/ 3069 h 3678"/>
                <a:gd name="T2" fmla="*/ 125 w 3736"/>
                <a:gd name="T3" fmla="*/ 3352 h 3678"/>
                <a:gd name="T4" fmla="*/ 325 w 3736"/>
                <a:gd name="T5" fmla="*/ 3554 h 3678"/>
                <a:gd name="T6" fmla="*/ 2002 w 3736"/>
                <a:gd name="T7" fmla="*/ 3518 h 3678"/>
                <a:gd name="T8" fmla="*/ 2140 w 3736"/>
                <a:gd name="T9" fmla="*/ 3266 h 3678"/>
                <a:gd name="T10" fmla="*/ 2002 w 3736"/>
                <a:gd name="T11" fmla="*/ 3013 h 3678"/>
                <a:gd name="T12" fmla="*/ 943 w 3736"/>
                <a:gd name="T13" fmla="*/ 2853 h 3678"/>
                <a:gd name="T14" fmla="*/ 2970 w 3736"/>
                <a:gd name="T15" fmla="*/ 2765 h 3678"/>
                <a:gd name="T16" fmla="*/ 3240 w 3736"/>
                <a:gd name="T17" fmla="*/ 2787 h 3678"/>
                <a:gd name="T18" fmla="*/ 3506 w 3736"/>
                <a:gd name="T19" fmla="*/ 2599 h 3678"/>
                <a:gd name="T20" fmla="*/ 302 w 3736"/>
                <a:gd name="T21" fmla="*/ 2099 h 3678"/>
                <a:gd name="T22" fmla="*/ 333 w 3736"/>
                <a:gd name="T23" fmla="*/ 2613 h 3678"/>
                <a:gd name="T24" fmla="*/ 3524 w 3736"/>
                <a:gd name="T25" fmla="*/ 1966 h 3678"/>
                <a:gd name="T26" fmla="*/ 3542 w 3736"/>
                <a:gd name="T27" fmla="*/ 2077 h 3678"/>
                <a:gd name="T28" fmla="*/ 3622 w 3736"/>
                <a:gd name="T29" fmla="*/ 1998 h 3678"/>
                <a:gd name="T30" fmla="*/ 893 w 3736"/>
                <a:gd name="T31" fmla="*/ 1458 h 3678"/>
                <a:gd name="T32" fmla="*/ 1843 w 3736"/>
                <a:gd name="T33" fmla="*/ 2616 h 3678"/>
                <a:gd name="T34" fmla="*/ 1132 w 3736"/>
                <a:gd name="T35" fmla="*/ 2414 h 3678"/>
                <a:gd name="T36" fmla="*/ 954 w 3736"/>
                <a:gd name="T37" fmla="*/ 2256 h 3678"/>
                <a:gd name="T38" fmla="*/ 1082 w 3736"/>
                <a:gd name="T39" fmla="*/ 2271 h 3678"/>
                <a:gd name="T40" fmla="*/ 1271 w 3736"/>
                <a:gd name="T41" fmla="*/ 1557 h 3678"/>
                <a:gd name="T42" fmla="*/ 1360 w 3736"/>
                <a:gd name="T43" fmla="*/ 1601 h 3678"/>
                <a:gd name="T44" fmla="*/ 1958 w 3736"/>
                <a:gd name="T45" fmla="*/ 2171 h 3678"/>
                <a:gd name="T46" fmla="*/ 1525 w 3736"/>
                <a:gd name="T47" fmla="*/ 1457 h 3678"/>
                <a:gd name="T48" fmla="*/ 2749 w 3736"/>
                <a:gd name="T49" fmla="*/ 361 h 3678"/>
                <a:gd name="T50" fmla="*/ 3541 w 3736"/>
                <a:gd name="T51" fmla="*/ 1844 h 3678"/>
                <a:gd name="T52" fmla="*/ 1658 w 3736"/>
                <a:gd name="T53" fmla="*/ 1439 h 3678"/>
                <a:gd name="T54" fmla="*/ 2419 w 3736"/>
                <a:gd name="T55" fmla="*/ 427 h 3678"/>
                <a:gd name="T56" fmla="*/ 2498 w 3736"/>
                <a:gd name="T57" fmla="*/ 124 h 3678"/>
                <a:gd name="T58" fmla="*/ 2441 w 3736"/>
                <a:gd name="T59" fmla="*/ 287 h 3678"/>
                <a:gd name="T60" fmla="*/ 2599 w 3736"/>
                <a:gd name="T61" fmla="*/ 347 h 3678"/>
                <a:gd name="T62" fmla="*/ 2672 w 3736"/>
                <a:gd name="T63" fmla="*/ 256 h 3678"/>
                <a:gd name="T64" fmla="*/ 2625 w 3736"/>
                <a:gd name="T65" fmla="*/ 136 h 3678"/>
                <a:gd name="T66" fmla="*/ 2665 w 3736"/>
                <a:gd name="T67" fmla="*/ 28 h 3678"/>
                <a:gd name="T68" fmla="*/ 3734 w 3736"/>
                <a:gd name="T69" fmla="*/ 1986 h 3678"/>
                <a:gd name="T70" fmla="*/ 3646 w 3736"/>
                <a:gd name="T71" fmla="*/ 2170 h 3678"/>
                <a:gd name="T72" fmla="*/ 3580 w 3736"/>
                <a:gd name="T73" fmla="*/ 2724 h 3678"/>
                <a:gd name="T74" fmla="*/ 3180 w 3736"/>
                <a:gd name="T75" fmla="*/ 2918 h 3678"/>
                <a:gd name="T76" fmla="*/ 2865 w 3736"/>
                <a:gd name="T77" fmla="*/ 2826 h 3678"/>
                <a:gd name="T78" fmla="*/ 2459 w 3736"/>
                <a:gd name="T79" fmla="*/ 2397 h 3678"/>
                <a:gd name="T80" fmla="*/ 3431 w 3736"/>
                <a:gd name="T81" fmla="*/ 2200 h 3678"/>
                <a:gd name="T82" fmla="*/ 3506 w 3736"/>
                <a:gd name="T83" fmla="*/ 2183 h 3678"/>
                <a:gd name="T84" fmla="*/ 1983 w 3736"/>
                <a:gd name="T85" fmla="*/ 1926 h 3678"/>
                <a:gd name="T86" fmla="*/ 2073 w 3736"/>
                <a:gd name="T87" fmla="*/ 2433 h 3678"/>
                <a:gd name="T88" fmla="*/ 2059 w 3736"/>
                <a:gd name="T89" fmla="*/ 2469 h 3678"/>
                <a:gd name="T90" fmla="*/ 2043 w 3736"/>
                <a:gd name="T91" fmla="*/ 2482 h 3678"/>
                <a:gd name="T92" fmla="*/ 2024 w 3736"/>
                <a:gd name="T93" fmla="*/ 2489 h 3678"/>
                <a:gd name="T94" fmla="*/ 1942 w 3736"/>
                <a:gd name="T95" fmla="*/ 2705 h 3678"/>
                <a:gd name="T96" fmla="*/ 1890 w 3736"/>
                <a:gd name="T97" fmla="*/ 2857 h 3678"/>
                <a:gd name="T98" fmla="*/ 2177 w 3736"/>
                <a:gd name="T99" fmla="*/ 3030 h 3678"/>
                <a:gd name="T100" fmla="*/ 2238 w 3736"/>
                <a:gd name="T101" fmla="*/ 3367 h 3678"/>
                <a:gd name="T102" fmla="*/ 2032 w 3736"/>
                <a:gd name="T103" fmla="*/ 3630 h 3678"/>
                <a:gd name="T104" fmla="*/ 311 w 3736"/>
                <a:gd name="T105" fmla="*/ 3666 h 3678"/>
                <a:gd name="T106" fmla="*/ 49 w 3736"/>
                <a:gd name="T107" fmla="*/ 3460 h 3678"/>
                <a:gd name="T108" fmla="*/ 28 w 3736"/>
                <a:gd name="T109" fmla="*/ 3116 h 3678"/>
                <a:gd name="T110" fmla="*/ 263 w 3736"/>
                <a:gd name="T111" fmla="*/ 2882 h 3678"/>
                <a:gd name="T112" fmla="*/ 317 w 3736"/>
                <a:gd name="T113" fmla="*/ 2724 h 3678"/>
                <a:gd name="T114" fmla="*/ 178 w 3736"/>
                <a:gd name="T115" fmla="*/ 2553 h 3678"/>
                <a:gd name="T116" fmla="*/ 284 w 3736"/>
                <a:gd name="T117" fmla="*/ 1975 h 3678"/>
                <a:gd name="T118" fmla="*/ 740 w 3736"/>
                <a:gd name="T119" fmla="*/ 1477 h 3678"/>
                <a:gd name="T120" fmla="*/ 963 w 3736"/>
                <a:gd name="T121" fmla="*/ 1310 h 3678"/>
                <a:gd name="T122" fmla="*/ 2410 w 3736"/>
                <a:gd name="T123" fmla="*/ 48 h 3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6" h="3678">
                  <a:moveTo>
                    <a:pt x="413" y="2964"/>
                  </a:moveTo>
                  <a:lnTo>
                    <a:pt x="367" y="2968"/>
                  </a:lnTo>
                  <a:lnTo>
                    <a:pt x="325" y="2978"/>
                  </a:lnTo>
                  <a:lnTo>
                    <a:pt x="286" y="2993"/>
                  </a:lnTo>
                  <a:lnTo>
                    <a:pt x="248" y="3013"/>
                  </a:lnTo>
                  <a:lnTo>
                    <a:pt x="215" y="3039"/>
                  </a:lnTo>
                  <a:lnTo>
                    <a:pt x="185" y="3069"/>
                  </a:lnTo>
                  <a:lnTo>
                    <a:pt x="160" y="3102"/>
                  </a:lnTo>
                  <a:lnTo>
                    <a:pt x="139" y="3139"/>
                  </a:lnTo>
                  <a:lnTo>
                    <a:pt x="125" y="3179"/>
                  </a:lnTo>
                  <a:lnTo>
                    <a:pt x="114" y="3222"/>
                  </a:lnTo>
                  <a:lnTo>
                    <a:pt x="111" y="3266"/>
                  </a:lnTo>
                  <a:lnTo>
                    <a:pt x="114" y="3310"/>
                  </a:lnTo>
                  <a:lnTo>
                    <a:pt x="125" y="3352"/>
                  </a:lnTo>
                  <a:lnTo>
                    <a:pt x="139" y="3393"/>
                  </a:lnTo>
                  <a:lnTo>
                    <a:pt x="160" y="3430"/>
                  </a:lnTo>
                  <a:lnTo>
                    <a:pt x="185" y="3464"/>
                  </a:lnTo>
                  <a:lnTo>
                    <a:pt x="215" y="3493"/>
                  </a:lnTo>
                  <a:lnTo>
                    <a:pt x="248" y="3518"/>
                  </a:lnTo>
                  <a:lnTo>
                    <a:pt x="286" y="3538"/>
                  </a:lnTo>
                  <a:lnTo>
                    <a:pt x="325" y="3554"/>
                  </a:lnTo>
                  <a:lnTo>
                    <a:pt x="367" y="3563"/>
                  </a:lnTo>
                  <a:lnTo>
                    <a:pt x="413" y="3567"/>
                  </a:lnTo>
                  <a:lnTo>
                    <a:pt x="1838" y="3567"/>
                  </a:lnTo>
                  <a:lnTo>
                    <a:pt x="1882" y="3563"/>
                  </a:lnTo>
                  <a:lnTo>
                    <a:pt x="1925" y="3554"/>
                  </a:lnTo>
                  <a:lnTo>
                    <a:pt x="1965" y="3538"/>
                  </a:lnTo>
                  <a:lnTo>
                    <a:pt x="2002" y="3518"/>
                  </a:lnTo>
                  <a:lnTo>
                    <a:pt x="2035" y="3493"/>
                  </a:lnTo>
                  <a:lnTo>
                    <a:pt x="2065" y="3464"/>
                  </a:lnTo>
                  <a:lnTo>
                    <a:pt x="2091" y="3430"/>
                  </a:lnTo>
                  <a:lnTo>
                    <a:pt x="2111" y="3393"/>
                  </a:lnTo>
                  <a:lnTo>
                    <a:pt x="2126" y="3352"/>
                  </a:lnTo>
                  <a:lnTo>
                    <a:pt x="2136" y="3310"/>
                  </a:lnTo>
                  <a:lnTo>
                    <a:pt x="2140" y="3266"/>
                  </a:lnTo>
                  <a:lnTo>
                    <a:pt x="2136" y="3222"/>
                  </a:lnTo>
                  <a:lnTo>
                    <a:pt x="2126" y="3179"/>
                  </a:lnTo>
                  <a:lnTo>
                    <a:pt x="2111" y="3139"/>
                  </a:lnTo>
                  <a:lnTo>
                    <a:pt x="2091" y="3102"/>
                  </a:lnTo>
                  <a:lnTo>
                    <a:pt x="2065" y="3069"/>
                  </a:lnTo>
                  <a:lnTo>
                    <a:pt x="2035" y="3039"/>
                  </a:lnTo>
                  <a:lnTo>
                    <a:pt x="2002" y="3013"/>
                  </a:lnTo>
                  <a:lnTo>
                    <a:pt x="1965" y="2993"/>
                  </a:lnTo>
                  <a:lnTo>
                    <a:pt x="1925" y="2978"/>
                  </a:lnTo>
                  <a:lnTo>
                    <a:pt x="1882" y="2968"/>
                  </a:lnTo>
                  <a:lnTo>
                    <a:pt x="1838" y="2964"/>
                  </a:lnTo>
                  <a:lnTo>
                    <a:pt x="413" y="2964"/>
                  </a:lnTo>
                  <a:close/>
                  <a:moveTo>
                    <a:pt x="943" y="2727"/>
                  </a:moveTo>
                  <a:lnTo>
                    <a:pt x="943" y="2853"/>
                  </a:lnTo>
                  <a:lnTo>
                    <a:pt x="1307" y="2853"/>
                  </a:lnTo>
                  <a:lnTo>
                    <a:pt x="1307" y="2727"/>
                  </a:lnTo>
                  <a:lnTo>
                    <a:pt x="943" y="2727"/>
                  </a:lnTo>
                  <a:close/>
                  <a:moveTo>
                    <a:pt x="3407" y="2328"/>
                  </a:moveTo>
                  <a:lnTo>
                    <a:pt x="2754" y="2590"/>
                  </a:lnTo>
                  <a:lnTo>
                    <a:pt x="2936" y="2741"/>
                  </a:lnTo>
                  <a:lnTo>
                    <a:pt x="2970" y="2765"/>
                  </a:lnTo>
                  <a:lnTo>
                    <a:pt x="3005" y="2783"/>
                  </a:lnTo>
                  <a:lnTo>
                    <a:pt x="3042" y="2797"/>
                  </a:lnTo>
                  <a:lnTo>
                    <a:pt x="3081" y="2806"/>
                  </a:lnTo>
                  <a:lnTo>
                    <a:pt x="3121" y="2809"/>
                  </a:lnTo>
                  <a:lnTo>
                    <a:pt x="3161" y="2808"/>
                  </a:lnTo>
                  <a:lnTo>
                    <a:pt x="3201" y="2800"/>
                  </a:lnTo>
                  <a:lnTo>
                    <a:pt x="3240" y="2787"/>
                  </a:lnTo>
                  <a:lnTo>
                    <a:pt x="3429" y="2711"/>
                  </a:lnTo>
                  <a:lnTo>
                    <a:pt x="3452" y="2700"/>
                  </a:lnTo>
                  <a:lnTo>
                    <a:pt x="3470" y="2684"/>
                  </a:lnTo>
                  <a:lnTo>
                    <a:pt x="3485" y="2666"/>
                  </a:lnTo>
                  <a:lnTo>
                    <a:pt x="3496" y="2646"/>
                  </a:lnTo>
                  <a:lnTo>
                    <a:pt x="3504" y="2623"/>
                  </a:lnTo>
                  <a:lnTo>
                    <a:pt x="3506" y="2599"/>
                  </a:lnTo>
                  <a:lnTo>
                    <a:pt x="3504" y="2575"/>
                  </a:lnTo>
                  <a:lnTo>
                    <a:pt x="3497" y="2551"/>
                  </a:lnTo>
                  <a:lnTo>
                    <a:pt x="3407" y="2328"/>
                  </a:lnTo>
                  <a:close/>
                  <a:moveTo>
                    <a:pt x="353" y="2073"/>
                  </a:moveTo>
                  <a:lnTo>
                    <a:pt x="333" y="2076"/>
                  </a:lnTo>
                  <a:lnTo>
                    <a:pt x="315" y="2085"/>
                  </a:lnTo>
                  <a:lnTo>
                    <a:pt x="302" y="2099"/>
                  </a:lnTo>
                  <a:lnTo>
                    <a:pt x="292" y="2116"/>
                  </a:lnTo>
                  <a:lnTo>
                    <a:pt x="289" y="2136"/>
                  </a:lnTo>
                  <a:lnTo>
                    <a:pt x="289" y="2553"/>
                  </a:lnTo>
                  <a:lnTo>
                    <a:pt x="292" y="2572"/>
                  </a:lnTo>
                  <a:lnTo>
                    <a:pt x="302" y="2590"/>
                  </a:lnTo>
                  <a:lnTo>
                    <a:pt x="315" y="2604"/>
                  </a:lnTo>
                  <a:lnTo>
                    <a:pt x="333" y="2613"/>
                  </a:lnTo>
                  <a:lnTo>
                    <a:pt x="353" y="2616"/>
                  </a:lnTo>
                  <a:lnTo>
                    <a:pt x="713" y="2616"/>
                  </a:lnTo>
                  <a:lnTo>
                    <a:pt x="713" y="2073"/>
                  </a:lnTo>
                  <a:lnTo>
                    <a:pt x="353" y="2073"/>
                  </a:lnTo>
                  <a:close/>
                  <a:moveTo>
                    <a:pt x="3562" y="1955"/>
                  </a:moveTo>
                  <a:lnTo>
                    <a:pt x="3542" y="1957"/>
                  </a:lnTo>
                  <a:lnTo>
                    <a:pt x="3524" y="1966"/>
                  </a:lnTo>
                  <a:lnTo>
                    <a:pt x="3511" y="1980"/>
                  </a:lnTo>
                  <a:lnTo>
                    <a:pt x="3502" y="1998"/>
                  </a:lnTo>
                  <a:lnTo>
                    <a:pt x="3498" y="2017"/>
                  </a:lnTo>
                  <a:lnTo>
                    <a:pt x="3502" y="2038"/>
                  </a:lnTo>
                  <a:lnTo>
                    <a:pt x="3511" y="2055"/>
                  </a:lnTo>
                  <a:lnTo>
                    <a:pt x="3524" y="2068"/>
                  </a:lnTo>
                  <a:lnTo>
                    <a:pt x="3542" y="2077"/>
                  </a:lnTo>
                  <a:lnTo>
                    <a:pt x="3562" y="2081"/>
                  </a:lnTo>
                  <a:lnTo>
                    <a:pt x="3582" y="2077"/>
                  </a:lnTo>
                  <a:lnTo>
                    <a:pt x="3599" y="2068"/>
                  </a:lnTo>
                  <a:lnTo>
                    <a:pt x="3613" y="2055"/>
                  </a:lnTo>
                  <a:lnTo>
                    <a:pt x="3622" y="2038"/>
                  </a:lnTo>
                  <a:lnTo>
                    <a:pt x="3625" y="2017"/>
                  </a:lnTo>
                  <a:lnTo>
                    <a:pt x="3622" y="1998"/>
                  </a:lnTo>
                  <a:lnTo>
                    <a:pt x="3613" y="1980"/>
                  </a:lnTo>
                  <a:lnTo>
                    <a:pt x="3599" y="1966"/>
                  </a:lnTo>
                  <a:lnTo>
                    <a:pt x="3582" y="1957"/>
                  </a:lnTo>
                  <a:lnTo>
                    <a:pt x="3562" y="1955"/>
                  </a:lnTo>
                  <a:close/>
                  <a:moveTo>
                    <a:pt x="950" y="1428"/>
                  </a:moveTo>
                  <a:lnTo>
                    <a:pt x="921" y="1441"/>
                  </a:lnTo>
                  <a:lnTo>
                    <a:pt x="893" y="1458"/>
                  </a:lnTo>
                  <a:lnTo>
                    <a:pt x="871" y="1481"/>
                  </a:lnTo>
                  <a:lnTo>
                    <a:pt x="851" y="1507"/>
                  </a:lnTo>
                  <a:lnTo>
                    <a:pt x="837" y="1536"/>
                  </a:lnTo>
                  <a:lnTo>
                    <a:pt x="828" y="1568"/>
                  </a:lnTo>
                  <a:lnTo>
                    <a:pt x="824" y="1601"/>
                  </a:lnTo>
                  <a:lnTo>
                    <a:pt x="824" y="2616"/>
                  </a:lnTo>
                  <a:lnTo>
                    <a:pt x="1843" y="2616"/>
                  </a:lnTo>
                  <a:lnTo>
                    <a:pt x="1843" y="2489"/>
                  </a:lnTo>
                  <a:lnTo>
                    <a:pt x="1556" y="2489"/>
                  </a:lnTo>
                  <a:lnTo>
                    <a:pt x="1468" y="2487"/>
                  </a:lnTo>
                  <a:lnTo>
                    <a:pt x="1382" y="2478"/>
                  </a:lnTo>
                  <a:lnTo>
                    <a:pt x="1297" y="2462"/>
                  </a:lnTo>
                  <a:lnTo>
                    <a:pt x="1213" y="2441"/>
                  </a:lnTo>
                  <a:lnTo>
                    <a:pt x="1132" y="2414"/>
                  </a:lnTo>
                  <a:lnTo>
                    <a:pt x="1050" y="2382"/>
                  </a:lnTo>
                  <a:lnTo>
                    <a:pt x="1026" y="2369"/>
                  </a:lnTo>
                  <a:lnTo>
                    <a:pt x="1005" y="2352"/>
                  </a:lnTo>
                  <a:lnTo>
                    <a:pt x="985" y="2331"/>
                  </a:lnTo>
                  <a:lnTo>
                    <a:pt x="971" y="2309"/>
                  </a:lnTo>
                  <a:lnTo>
                    <a:pt x="960" y="2284"/>
                  </a:lnTo>
                  <a:lnTo>
                    <a:pt x="954" y="2256"/>
                  </a:lnTo>
                  <a:lnTo>
                    <a:pt x="950" y="2228"/>
                  </a:lnTo>
                  <a:lnTo>
                    <a:pt x="950" y="1428"/>
                  </a:lnTo>
                  <a:close/>
                  <a:moveTo>
                    <a:pt x="1062" y="1419"/>
                  </a:moveTo>
                  <a:lnTo>
                    <a:pt x="1062" y="2228"/>
                  </a:lnTo>
                  <a:lnTo>
                    <a:pt x="1065" y="2245"/>
                  </a:lnTo>
                  <a:lnTo>
                    <a:pt x="1071" y="2259"/>
                  </a:lnTo>
                  <a:lnTo>
                    <a:pt x="1082" y="2271"/>
                  </a:lnTo>
                  <a:lnTo>
                    <a:pt x="1095" y="2280"/>
                  </a:lnTo>
                  <a:lnTo>
                    <a:pt x="1171" y="2311"/>
                  </a:lnTo>
                  <a:lnTo>
                    <a:pt x="1248" y="2335"/>
                  </a:lnTo>
                  <a:lnTo>
                    <a:pt x="1248" y="1601"/>
                  </a:lnTo>
                  <a:lnTo>
                    <a:pt x="1251" y="1584"/>
                  </a:lnTo>
                  <a:lnTo>
                    <a:pt x="1259" y="1568"/>
                  </a:lnTo>
                  <a:lnTo>
                    <a:pt x="1271" y="1557"/>
                  </a:lnTo>
                  <a:lnTo>
                    <a:pt x="1286" y="1549"/>
                  </a:lnTo>
                  <a:lnTo>
                    <a:pt x="1304" y="1545"/>
                  </a:lnTo>
                  <a:lnTo>
                    <a:pt x="1321" y="1549"/>
                  </a:lnTo>
                  <a:lnTo>
                    <a:pt x="1337" y="1557"/>
                  </a:lnTo>
                  <a:lnTo>
                    <a:pt x="1348" y="1568"/>
                  </a:lnTo>
                  <a:lnTo>
                    <a:pt x="1356" y="1584"/>
                  </a:lnTo>
                  <a:lnTo>
                    <a:pt x="1360" y="1601"/>
                  </a:lnTo>
                  <a:lnTo>
                    <a:pt x="1360" y="2361"/>
                  </a:lnTo>
                  <a:lnTo>
                    <a:pt x="1424" y="2370"/>
                  </a:lnTo>
                  <a:lnTo>
                    <a:pt x="1490" y="2376"/>
                  </a:lnTo>
                  <a:lnTo>
                    <a:pt x="1556" y="2378"/>
                  </a:lnTo>
                  <a:lnTo>
                    <a:pt x="1961" y="2378"/>
                  </a:lnTo>
                  <a:lnTo>
                    <a:pt x="1961" y="2221"/>
                  </a:lnTo>
                  <a:lnTo>
                    <a:pt x="1958" y="2171"/>
                  </a:lnTo>
                  <a:lnTo>
                    <a:pt x="1949" y="2123"/>
                  </a:lnTo>
                  <a:lnTo>
                    <a:pt x="1936" y="2076"/>
                  </a:lnTo>
                  <a:lnTo>
                    <a:pt x="1915" y="2031"/>
                  </a:lnTo>
                  <a:lnTo>
                    <a:pt x="1890" y="1988"/>
                  </a:lnTo>
                  <a:lnTo>
                    <a:pt x="1566" y="1500"/>
                  </a:lnTo>
                  <a:lnTo>
                    <a:pt x="1547" y="1477"/>
                  </a:lnTo>
                  <a:lnTo>
                    <a:pt x="1525" y="1457"/>
                  </a:lnTo>
                  <a:lnTo>
                    <a:pt x="1500" y="1441"/>
                  </a:lnTo>
                  <a:lnTo>
                    <a:pt x="1473" y="1428"/>
                  </a:lnTo>
                  <a:lnTo>
                    <a:pt x="1445" y="1422"/>
                  </a:lnTo>
                  <a:lnTo>
                    <a:pt x="1414" y="1419"/>
                  </a:lnTo>
                  <a:lnTo>
                    <a:pt x="1062" y="1419"/>
                  </a:lnTo>
                  <a:close/>
                  <a:moveTo>
                    <a:pt x="2753" y="353"/>
                  </a:moveTo>
                  <a:lnTo>
                    <a:pt x="2749" y="361"/>
                  </a:lnTo>
                  <a:lnTo>
                    <a:pt x="2571" y="659"/>
                  </a:lnTo>
                  <a:lnTo>
                    <a:pt x="3419" y="1917"/>
                  </a:lnTo>
                  <a:lnTo>
                    <a:pt x="3437" y="1895"/>
                  </a:lnTo>
                  <a:lnTo>
                    <a:pt x="3460" y="1876"/>
                  </a:lnTo>
                  <a:lnTo>
                    <a:pt x="3485" y="1861"/>
                  </a:lnTo>
                  <a:lnTo>
                    <a:pt x="3512" y="1850"/>
                  </a:lnTo>
                  <a:lnTo>
                    <a:pt x="3541" y="1844"/>
                  </a:lnTo>
                  <a:lnTo>
                    <a:pt x="2753" y="353"/>
                  </a:lnTo>
                  <a:close/>
                  <a:moveTo>
                    <a:pt x="2334" y="320"/>
                  </a:moveTo>
                  <a:lnTo>
                    <a:pt x="1562" y="1348"/>
                  </a:lnTo>
                  <a:lnTo>
                    <a:pt x="1590" y="1366"/>
                  </a:lnTo>
                  <a:lnTo>
                    <a:pt x="1616" y="1387"/>
                  </a:lnTo>
                  <a:lnTo>
                    <a:pt x="1638" y="1411"/>
                  </a:lnTo>
                  <a:lnTo>
                    <a:pt x="1658" y="1439"/>
                  </a:lnTo>
                  <a:lnTo>
                    <a:pt x="1827" y="1690"/>
                  </a:lnTo>
                  <a:lnTo>
                    <a:pt x="2555" y="467"/>
                  </a:lnTo>
                  <a:lnTo>
                    <a:pt x="2551" y="467"/>
                  </a:lnTo>
                  <a:lnTo>
                    <a:pt x="2515" y="465"/>
                  </a:lnTo>
                  <a:lnTo>
                    <a:pt x="2481" y="457"/>
                  </a:lnTo>
                  <a:lnTo>
                    <a:pt x="2448" y="444"/>
                  </a:lnTo>
                  <a:lnTo>
                    <a:pt x="2419" y="427"/>
                  </a:lnTo>
                  <a:lnTo>
                    <a:pt x="2391" y="405"/>
                  </a:lnTo>
                  <a:lnTo>
                    <a:pt x="2369" y="380"/>
                  </a:lnTo>
                  <a:lnTo>
                    <a:pt x="2349" y="351"/>
                  </a:lnTo>
                  <a:lnTo>
                    <a:pt x="2334" y="320"/>
                  </a:lnTo>
                  <a:close/>
                  <a:moveTo>
                    <a:pt x="2551" y="111"/>
                  </a:moveTo>
                  <a:lnTo>
                    <a:pt x="2523" y="115"/>
                  </a:lnTo>
                  <a:lnTo>
                    <a:pt x="2498" y="124"/>
                  </a:lnTo>
                  <a:lnTo>
                    <a:pt x="2475" y="138"/>
                  </a:lnTo>
                  <a:lnTo>
                    <a:pt x="2456" y="157"/>
                  </a:lnTo>
                  <a:lnTo>
                    <a:pt x="2441" y="180"/>
                  </a:lnTo>
                  <a:lnTo>
                    <a:pt x="2432" y="205"/>
                  </a:lnTo>
                  <a:lnTo>
                    <a:pt x="2429" y="234"/>
                  </a:lnTo>
                  <a:lnTo>
                    <a:pt x="2432" y="262"/>
                  </a:lnTo>
                  <a:lnTo>
                    <a:pt x="2441" y="287"/>
                  </a:lnTo>
                  <a:lnTo>
                    <a:pt x="2456" y="311"/>
                  </a:lnTo>
                  <a:lnTo>
                    <a:pt x="2475" y="329"/>
                  </a:lnTo>
                  <a:lnTo>
                    <a:pt x="2498" y="344"/>
                  </a:lnTo>
                  <a:lnTo>
                    <a:pt x="2523" y="353"/>
                  </a:lnTo>
                  <a:lnTo>
                    <a:pt x="2551" y="356"/>
                  </a:lnTo>
                  <a:lnTo>
                    <a:pt x="2576" y="354"/>
                  </a:lnTo>
                  <a:lnTo>
                    <a:pt x="2599" y="347"/>
                  </a:lnTo>
                  <a:lnTo>
                    <a:pt x="2619" y="336"/>
                  </a:lnTo>
                  <a:lnTo>
                    <a:pt x="2638" y="321"/>
                  </a:lnTo>
                  <a:lnTo>
                    <a:pt x="2653" y="303"/>
                  </a:lnTo>
                  <a:lnTo>
                    <a:pt x="2656" y="298"/>
                  </a:lnTo>
                  <a:lnTo>
                    <a:pt x="2657" y="297"/>
                  </a:lnTo>
                  <a:lnTo>
                    <a:pt x="2666" y="278"/>
                  </a:lnTo>
                  <a:lnTo>
                    <a:pt x="2672" y="256"/>
                  </a:lnTo>
                  <a:lnTo>
                    <a:pt x="2674" y="234"/>
                  </a:lnTo>
                  <a:lnTo>
                    <a:pt x="2672" y="210"/>
                  </a:lnTo>
                  <a:lnTo>
                    <a:pt x="2665" y="187"/>
                  </a:lnTo>
                  <a:lnTo>
                    <a:pt x="2661" y="180"/>
                  </a:lnTo>
                  <a:lnTo>
                    <a:pt x="2658" y="174"/>
                  </a:lnTo>
                  <a:lnTo>
                    <a:pt x="2643" y="153"/>
                  </a:lnTo>
                  <a:lnTo>
                    <a:pt x="2625" y="136"/>
                  </a:lnTo>
                  <a:lnTo>
                    <a:pt x="2603" y="123"/>
                  </a:lnTo>
                  <a:lnTo>
                    <a:pt x="2579" y="115"/>
                  </a:lnTo>
                  <a:lnTo>
                    <a:pt x="2551" y="111"/>
                  </a:lnTo>
                  <a:close/>
                  <a:moveTo>
                    <a:pt x="2551" y="0"/>
                  </a:moveTo>
                  <a:lnTo>
                    <a:pt x="2591" y="3"/>
                  </a:lnTo>
                  <a:lnTo>
                    <a:pt x="2630" y="12"/>
                  </a:lnTo>
                  <a:lnTo>
                    <a:pt x="2665" y="28"/>
                  </a:lnTo>
                  <a:lnTo>
                    <a:pt x="2696" y="50"/>
                  </a:lnTo>
                  <a:lnTo>
                    <a:pt x="2724" y="75"/>
                  </a:lnTo>
                  <a:lnTo>
                    <a:pt x="2747" y="106"/>
                  </a:lnTo>
                  <a:lnTo>
                    <a:pt x="2766" y="138"/>
                  </a:lnTo>
                  <a:lnTo>
                    <a:pt x="3713" y="1930"/>
                  </a:lnTo>
                  <a:lnTo>
                    <a:pt x="3726" y="1957"/>
                  </a:lnTo>
                  <a:lnTo>
                    <a:pt x="3734" y="1986"/>
                  </a:lnTo>
                  <a:lnTo>
                    <a:pt x="3736" y="2017"/>
                  </a:lnTo>
                  <a:lnTo>
                    <a:pt x="3733" y="2050"/>
                  </a:lnTo>
                  <a:lnTo>
                    <a:pt x="3725" y="2080"/>
                  </a:lnTo>
                  <a:lnTo>
                    <a:pt x="3711" y="2108"/>
                  </a:lnTo>
                  <a:lnTo>
                    <a:pt x="3693" y="2132"/>
                  </a:lnTo>
                  <a:lnTo>
                    <a:pt x="3672" y="2153"/>
                  </a:lnTo>
                  <a:lnTo>
                    <a:pt x="3646" y="2170"/>
                  </a:lnTo>
                  <a:lnTo>
                    <a:pt x="3617" y="2183"/>
                  </a:lnTo>
                  <a:lnTo>
                    <a:pt x="3617" y="2612"/>
                  </a:lnTo>
                  <a:lnTo>
                    <a:pt x="3617" y="2620"/>
                  </a:lnTo>
                  <a:lnTo>
                    <a:pt x="3616" y="2626"/>
                  </a:lnTo>
                  <a:lnTo>
                    <a:pt x="3609" y="2660"/>
                  </a:lnTo>
                  <a:lnTo>
                    <a:pt x="3597" y="2693"/>
                  </a:lnTo>
                  <a:lnTo>
                    <a:pt x="3580" y="2724"/>
                  </a:lnTo>
                  <a:lnTo>
                    <a:pt x="3559" y="2752"/>
                  </a:lnTo>
                  <a:lnTo>
                    <a:pt x="3533" y="2777"/>
                  </a:lnTo>
                  <a:lnTo>
                    <a:pt x="3504" y="2799"/>
                  </a:lnTo>
                  <a:lnTo>
                    <a:pt x="3471" y="2815"/>
                  </a:lnTo>
                  <a:lnTo>
                    <a:pt x="3282" y="2891"/>
                  </a:lnTo>
                  <a:lnTo>
                    <a:pt x="3231" y="2908"/>
                  </a:lnTo>
                  <a:lnTo>
                    <a:pt x="3180" y="2918"/>
                  </a:lnTo>
                  <a:lnTo>
                    <a:pt x="3127" y="2920"/>
                  </a:lnTo>
                  <a:lnTo>
                    <a:pt x="3081" y="2918"/>
                  </a:lnTo>
                  <a:lnTo>
                    <a:pt x="3034" y="2910"/>
                  </a:lnTo>
                  <a:lnTo>
                    <a:pt x="2989" y="2896"/>
                  </a:lnTo>
                  <a:lnTo>
                    <a:pt x="2946" y="2878"/>
                  </a:lnTo>
                  <a:lnTo>
                    <a:pt x="2904" y="2855"/>
                  </a:lnTo>
                  <a:lnTo>
                    <a:pt x="2865" y="2826"/>
                  </a:lnTo>
                  <a:lnTo>
                    <a:pt x="2454" y="2487"/>
                  </a:lnTo>
                  <a:lnTo>
                    <a:pt x="2442" y="2474"/>
                  </a:lnTo>
                  <a:lnTo>
                    <a:pt x="2436" y="2458"/>
                  </a:lnTo>
                  <a:lnTo>
                    <a:pt x="2433" y="2441"/>
                  </a:lnTo>
                  <a:lnTo>
                    <a:pt x="2438" y="2424"/>
                  </a:lnTo>
                  <a:lnTo>
                    <a:pt x="2447" y="2409"/>
                  </a:lnTo>
                  <a:lnTo>
                    <a:pt x="2459" y="2397"/>
                  </a:lnTo>
                  <a:lnTo>
                    <a:pt x="2475" y="2390"/>
                  </a:lnTo>
                  <a:lnTo>
                    <a:pt x="2492" y="2388"/>
                  </a:lnTo>
                  <a:lnTo>
                    <a:pt x="2509" y="2393"/>
                  </a:lnTo>
                  <a:lnTo>
                    <a:pt x="2525" y="2402"/>
                  </a:lnTo>
                  <a:lnTo>
                    <a:pt x="2656" y="2509"/>
                  </a:lnTo>
                  <a:lnTo>
                    <a:pt x="3418" y="2203"/>
                  </a:lnTo>
                  <a:lnTo>
                    <a:pt x="3431" y="2200"/>
                  </a:lnTo>
                  <a:lnTo>
                    <a:pt x="3446" y="2200"/>
                  </a:lnTo>
                  <a:lnTo>
                    <a:pt x="3460" y="2204"/>
                  </a:lnTo>
                  <a:lnTo>
                    <a:pt x="3472" y="2211"/>
                  </a:lnTo>
                  <a:lnTo>
                    <a:pt x="3482" y="2221"/>
                  </a:lnTo>
                  <a:lnTo>
                    <a:pt x="3490" y="2235"/>
                  </a:lnTo>
                  <a:lnTo>
                    <a:pt x="3506" y="2275"/>
                  </a:lnTo>
                  <a:lnTo>
                    <a:pt x="3506" y="2183"/>
                  </a:lnTo>
                  <a:lnTo>
                    <a:pt x="3478" y="2170"/>
                  </a:lnTo>
                  <a:lnTo>
                    <a:pt x="3452" y="2152"/>
                  </a:lnTo>
                  <a:lnTo>
                    <a:pt x="3429" y="2131"/>
                  </a:lnTo>
                  <a:lnTo>
                    <a:pt x="3411" y="2106"/>
                  </a:lnTo>
                  <a:lnTo>
                    <a:pt x="2507" y="766"/>
                  </a:lnTo>
                  <a:lnTo>
                    <a:pt x="1895" y="1794"/>
                  </a:lnTo>
                  <a:lnTo>
                    <a:pt x="1983" y="1926"/>
                  </a:lnTo>
                  <a:lnTo>
                    <a:pt x="2010" y="1971"/>
                  </a:lnTo>
                  <a:lnTo>
                    <a:pt x="2032" y="2018"/>
                  </a:lnTo>
                  <a:lnTo>
                    <a:pt x="2050" y="2067"/>
                  </a:lnTo>
                  <a:lnTo>
                    <a:pt x="2063" y="2117"/>
                  </a:lnTo>
                  <a:lnTo>
                    <a:pt x="2069" y="2168"/>
                  </a:lnTo>
                  <a:lnTo>
                    <a:pt x="2073" y="2221"/>
                  </a:lnTo>
                  <a:lnTo>
                    <a:pt x="2073" y="2433"/>
                  </a:lnTo>
                  <a:lnTo>
                    <a:pt x="2072" y="2441"/>
                  </a:lnTo>
                  <a:lnTo>
                    <a:pt x="2069" y="2452"/>
                  </a:lnTo>
                  <a:lnTo>
                    <a:pt x="2066" y="2460"/>
                  </a:lnTo>
                  <a:lnTo>
                    <a:pt x="2064" y="2463"/>
                  </a:lnTo>
                  <a:lnTo>
                    <a:pt x="2063" y="2465"/>
                  </a:lnTo>
                  <a:lnTo>
                    <a:pt x="2060" y="2469"/>
                  </a:lnTo>
                  <a:lnTo>
                    <a:pt x="2059" y="2469"/>
                  </a:lnTo>
                  <a:lnTo>
                    <a:pt x="2058" y="2471"/>
                  </a:lnTo>
                  <a:lnTo>
                    <a:pt x="2056" y="2473"/>
                  </a:lnTo>
                  <a:lnTo>
                    <a:pt x="2055" y="2474"/>
                  </a:lnTo>
                  <a:lnTo>
                    <a:pt x="2052" y="2477"/>
                  </a:lnTo>
                  <a:lnTo>
                    <a:pt x="2050" y="2478"/>
                  </a:lnTo>
                  <a:lnTo>
                    <a:pt x="2048" y="2480"/>
                  </a:lnTo>
                  <a:lnTo>
                    <a:pt x="2043" y="2482"/>
                  </a:lnTo>
                  <a:lnTo>
                    <a:pt x="2039" y="2485"/>
                  </a:lnTo>
                  <a:lnTo>
                    <a:pt x="2039" y="2485"/>
                  </a:lnTo>
                  <a:lnTo>
                    <a:pt x="2035" y="2486"/>
                  </a:lnTo>
                  <a:lnTo>
                    <a:pt x="2033" y="2487"/>
                  </a:lnTo>
                  <a:lnTo>
                    <a:pt x="2031" y="2488"/>
                  </a:lnTo>
                  <a:lnTo>
                    <a:pt x="2027" y="2488"/>
                  </a:lnTo>
                  <a:lnTo>
                    <a:pt x="2024" y="2489"/>
                  </a:lnTo>
                  <a:lnTo>
                    <a:pt x="2023" y="2489"/>
                  </a:lnTo>
                  <a:lnTo>
                    <a:pt x="2019" y="2489"/>
                  </a:lnTo>
                  <a:lnTo>
                    <a:pt x="2017" y="2489"/>
                  </a:lnTo>
                  <a:lnTo>
                    <a:pt x="1954" y="2489"/>
                  </a:lnTo>
                  <a:lnTo>
                    <a:pt x="1954" y="2672"/>
                  </a:lnTo>
                  <a:lnTo>
                    <a:pt x="1950" y="2689"/>
                  </a:lnTo>
                  <a:lnTo>
                    <a:pt x="1942" y="2705"/>
                  </a:lnTo>
                  <a:lnTo>
                    <a:pt x="1931" y="2716"/>
                  </a:lnTo>
                  <a:lnTo>
                    <a:pt x="1915" y="2724"/>
                  </a:lnTo>
                  <a:lnTo>
                    <a:pt x="1898" y="2727"/>
                  </a:lnTo>
                  <a:lnTo>
                    <a:pt x="1418" y="2727"/>
                  </a:lnTo>
                  <a:lnTo>
                    <a:pt x="1418" y="2853"/>
                  </a:lnTo>
                  <a:lnTo>
                    <a:pt x="1838" y="2853"/>
                  </a:lnTo>
                  <a:lnTo>
                    <a:pt x="1890" y="2857"/>
                  </a:lnTo>
                  <a:lnTo>
                    <a:pt x="1940" y="2866"/>
                  </a:lnTo>
                  <a:lnTo>
                    <a:pt x="1988" y="2882"/>
                  </a:lnTo>
                  <a:lnTo>
                    <a:pt x="2032" y="2902"/>
                  </a:lnTo>
                  <a:lnTo>
                    <a:pt x="2074" y="2927"/>
                  </a:lnTo>
                  <a:lnTo>
                    <a:pt x="2112" y="2958"/>
                  </a:lnTo>
                  <a:lnTo>
                    <a:pt x="2146" y="2992"/>
                  </a:lnTo>
                  <a:lnTo>
                    <a:pt x="2177" y="3030"/>
                  </a:lnTo>
                  <a:lnTo>
                    <a:pt x="2202" y="3072"/>
                  </a:lnTo>
                  <a:lnTo>
                    <a:pt x="2222" y="3116"/>
                  </a:lnTo>
                  <a:lnTo>
                    <a:pt x="2238" y="3164"/>
                  </a:lnTo>
                  <a:lnTo>
                    <a:pt x="2247" y="3214"/>
                  </a:lnTo>
                  <a:lnTo>
                    <a:pt x="2251" y="3266"/>
                  </a:lnTo>
                  <a:lnTo>
                    <a:pt x="2247" y="3317"/>
                  </a:lnTo>
                  <a:lnTo>
                    <a:pt x="2238" y="3367"/>
                  </a:lnTo>
                  <a:lnTo>
                    <a:pt x="2222" y="3415"/>
                  </a:lnTo>
                  <a:lnTo>
                    <a:pt x="2202" y="3460"/>
                  </a:lnTo>
                  <a:lnTo>
                    <a:pt x="2177" y="3501"/>
                  </a:lnTo>
                  <a:lnTo>
                    <a:pt x="2146" y="3540"/>
                  </a:lnTo>
                  <a:lnTo>
                    <a:pt x="2112" y="3574"/>
                  </a:lnTo>
                  <a:lnTo>
                    <a:pt x="2074" y="3604"/>
                  </a:lnTo>
                  <a:lnTo>
                    <a:pt x="2032" y="3630"/>
                  </a:lnTo>
                  <a:lnTo>
                    <a:pt x="1988" y="3651"/>
                  </a:lnTo>
                  <a:lnTo>
                    <a:pt x="1940" y="3666"/>
                  </a:lnTo>
                  <a:lnTo>
                    <a:pt x="1890" y="3676"/>
                  </a:lnTo>
                  <a:lnTo>
                    <a:pt x="1838" y="3678"/>
                  </a:lnTo>
                  <a:lnTo>
                    <a:pt x="413" y="3678"/>
                  </a:lnTo>
                  <a:lnTo>
                    <a:pt x="360" y="3676"/>
                  </a:lnTo>
                  <a:lnTo>
                    <a:pt x="311" y="3666"/>
                  </a:lnTo>
                  <a:lnTo>
                    <a:pt x="263" y="3651"/>
                  </a:lnTo>
                  <a:lnTo>
                    <a:pt x="219" y="3630"/>
                  </a:lnTo>
                  <a:lnTo>
                    <a:pt x="177" y="3604"/>
                  </a:lnTo>
                  <a:lnTo>
                    <a:pt x="138" y="3574"/>
                  </a:lnTo>
                  <a:lnTo>
                    <a:pt x="104" y="3540"/>
                  </a:lnTo>
                  <a:lnTo>
                    <a:pt x="74" y="3501"/>
                  </a:lnTo>
                  <a:lnTo>
                    <a:pt x="49" y="3460"/>
                  </a:lnTo>
                  <a:lnTo>
                    <a:pt x="28" y="3415"/>
                  </a:lnTo>
                  <a:lnTo>
                    <a:pt x="12" y="3367"/>
                  </a:lnTo>
                  <a:lnTo>
                    <a:pt x="3" y="3317"/>
                  </a:lnTo>
                  <a:lnTo>
                    <a:pt x="0" y="3266"/>
                  </a:lnTo>
                  <a:lnTo>
                    <a:pt x="3" y="3214"/>
                  </a:lnTo>
                  <a:lnTo>
                    <a:pt x="12" y="3164"/>
                  </a:lnTo>
                  <a:lnTo>
                    <a:pt x="28" y="3116"/>
                  </a:lnTo>
                  <a:lnTo>
                    <a:pt x="49" y="3072"/>
                  </a:lnTo>
                  <a:lnTo>
                    <a:pt x="74" y="3030"/>
                  </a:lnTo>
                  <a:lnTo>
                    <a:pt x="104" y="2992"/>
                  </a:lnTo>
                  <a:lnTo>
                    <a:pt x="138" y="2958"/>
                  </a:lnTo>
                  <a:lnTo>
                    <a:pt x="177" y="2927"/>
                  </a:lnTo>
                  <a:lnTo>
                    <a:pt x="219" y="2902"/>
                  </a:lnTo>
                  <a:lnTo>
                    <a:pt x="263" y="2882"/>
                  </a:lnTo>
                  <a:lnTo>
                    <a:pt x="311" y="2866"/>
                  </a:lnTo>
                  <a:lnTo>
                    <a:pt x="360" y="2857"/>
                  </a:lnTo>
                  <a:lnTo>
                    <a:pt x="413" y="2853"/>
                  </a:lnTo>
                  <a:lnTo>
                    <a:pt x="832" y="2853"/>
                  </a:lnTo>
                  <a:lnTo>
                    <a:pt x="832" y="2727"/>
                  </a:lnTo>
                  <a:lnTo>
                    <a:pt x="353" y="2727"/>
                  </a:lnTo>
                  <a:lnTo>
                    <a:pt x="317" y="2724"/>
                  </a:lnTo>
                  <a:lnTo>
                    <a:pt x="284" y="2714"/>
                  </a:lnTo>
                  <a:lnTo>
                    <a:pt x="255" y="2698"/>
                  </a:lnTo>
                  <a:lnTo>
                    <a:pt x="229" y="2676"/>
                  </a:lnTo>
                  <a:lnTo>
                    <a:pt x="209" y="2650"/>
                  </a:lnTo>
                  <a:lnTo>
                    <a:pt x="192" y="2621"/>
                  </a:lnTo>
                  <a:lnTo>
                    <a:pt x="181" y="2588"/>
                  </a:lnTo>
                  <a:lnTo>
                    <a:pt x="178" y="2553"/>
                  </a:lnTo>
                  <a:lnTo>
                    <a:pt x="178" y="2136"/>
                  </a:lnTo>
                  <a:lnTo>
                    <a:pt x="181" y="2101"/>
                  </a:lnTo>
                  <a:lnTo>
                    <a:pt x="192" y="2068"/>
                  </a:lnTo>
                  <a:lnTo>
                    <a:pt x="209" y="2039"/>
                  </a:lnTo>
                  <a:lnTo>
                    <a:pt x="229" y="2013"/>
                  </a:lnTo>
                  <a:lnTo>
                    <a:pt x="255" y="1991"/>
                  </a:lnTo>
                  <a:lnTo>
                    <a:pt x="284" y="1975"/>
                  </a:lnTo>
                  <a:lnTo>
                    <a:pt x="317" y="1965"/>
                  </a:lnTo>
                  <a:lnTo>
                    <a:pt x="353" y="1962"/>
                  </a:lnTo>
                  <a:lnTo>
                    <a:pt x="713" y="1962"/>
                  </a:lnTo>
                  <a:lnTo>
                    <a:pt x="713" y="1601"/>
                  </a:lnTo>
                  <a:lnTo>
                    <a:pt x="717" y="1558"/>
                  </a:lnTo>
                  <a:lnTo>
                    <a:pt x="726" y="1517"/>
                  </a:lnTo>
                  <a:lnTo>
                    <a:pt x="740" y="1477"/>
                  </a:lnTo>
                  <a:lnTo>
                    <a:pt x="761" y="1442"/>
                  </a:lnTo>
                  <a:lnTo>
                    <a:pt x="785" y="1409"/>
                  </a:lnTo>
                  <a:lnTo>
                    <a:pt x="814" y="1380"/>
                  </a:lnTo>
                  <a:lnTo>
                    <a:pt x="847" y="1355"/>
                  </a:lnTo>
                  <a:lnTo>
                    <a:pt x="883" y="1335"/>
                  </a:lnTo>
                  <a:lnTo>
                    <a:pt x="922" y="1321"/>
                  </a:lnTo>
                  <a:lnTo>
                    <a:pt x="963" y="1310"/>
                  </a:lnTo>
                  <a:lnTo>
                    <a:pt x="1007" y="1308"/>
                  </a:lnTo>
                  <a:lnTo>
                    <a:pt x="1414" y="1308"/>
                  </a:lnTo>
                  <a:lnTo>
                    <a:pt x="1452" y="1310"/>
                  </a:lnTo>
                  <a:lnTo>
                    <a:pt x="2359" y="101"/>
                  </a:lnTo>
                  <a:lnTo>
                    <a:pt x="2359" y="101"/>
                  </a:lnTo>
                  <a:lnTo>
                    <a:pt x="2382" y="73"/>
                  </a:lnTo>
                  <a:lnTo>
                    <a:pt x="2410" y="48"/>
                  </a:lnTo>
                  <a:lnTo>
                    <a:pt x="2441" y="27"/>
                  </a:lnTo>
                  <a:lnTo>
                    <a:pt x="2475" y="12"/>
                  </a:lnTo>
                  <a:lnTo>
                    <a:pt x="2513" y="3"/>
                  </a:lnTo>
                  <a:lnTo>
                    <a:pt x="2551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</p:grpSp>
      <p:sp>
        <p:nvSpPr>
          <p:cNvPr id="23625" name="TextBox 158">
            <a:extLst>
              <a:ext uri="{FF2B5EF4-FFF2-40B4-BE49-F238E27FC236}">
                <a16:creationId xmlns:a16="http://schemas.microsoft.com/office/drawing/2014/main" id="{E039C87F-72AD-4054-B63A-554ACFFB9E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4663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6" name="TextBox 159">
            <a:extLst>
              <a:ext uri="{FF2B5EF4-FFF2-40B4-BE49-F238E27FC236}">
                <a16:creationId xmlns:a16="http://schemas.microsoft.com/office/drawing/2014/main" id="{C89D28E8-6E73-4458-A352-42A749EC09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3488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7" name="TextBox 127">
            <a:extLst>
              <a:ext uri="{FF2B5EF4-FFF2-40B4-BE49-F238E27FC236}">
                <a16:creationId xmlns:a16="http://schemas.microsoft.com/office/drawing/2014/main" id="{D2C4F5E9-E854-4896-8355-45DEC69063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7813" y="6378575"/>
            <a:ext cx="426243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Sources: National Bureau of Statistics, World Bank Report on Doing Business in Nigeria 2018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climate-data.org, State Government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Exchange rate= $1/N305 (Central Bank of Nigeria)</a:t>
            </a:r>
          </a:p>
        </p:txBody>
      </p:sp>
      <p:sp>
        <p:nvSpPr>
          <p:cNvPr id="23628" name="TextBox 128">
            <a:extLst>
              <a:ext uri="{FF2B5EF4-FFF2-40B4-BE49-F238E27FC236}">
                <a16:creationId xmlns:a16="http://schemas.microsoft.com/office/drawing/2014/main" id="{409BCC6F-A5F0-4C79-BB4A-38A1ABC14F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80022" y="3649889"/>
            <a:ext cx="56778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dirty="0">
                <a:latin typeface="Calibri" panose="020F0502020204030204" pitchFamily="34" charset="0"/>
              </a:rPr>
              <a:t>Tourism</a:t>
            </a:r>
            <a:endParaRPr lang="en-GB" altLang="en-US" sz="900" dirty="0">
              <a:latin typeface="Calibri" panose="020F0502020204030204" pitchFamily="34" charset="0"/>
            </a:endParaRPr>
          </a:p>
        </p:txBody>
      </p:sp>
      <p:sp>
        <p:nvSpPr>
          <p:cNvPr id="23629" name="TextBox 129">
            <a:extLst>
              <a:ext uri="{FF2B5EF4-FFF2-40B4-BE49-F238E27FC236}">
                <a16:creationId xmlns:a16="http://schemas.microsoft.com/office/drawing/2014/main" id="{489E7B41-20C9-4493-8E7D-07238EB8FA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2892" y="3654980"/>
            <a:ext cx="56938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dirty="0">
                <a:latin typeface="Calibri" panose="020F0502020204030204" pitchFamily="34" charset="0"/>
              </a:rPr>
              <a:t>Gypsum</a:t>
            </a:r>
            <a:endParaRPr lang="en-GB" altLang="en-US" sz="900" dirty="0">
              <a:latin typeface="Calibri" panose="020F0502020204030204" pitchFamily="34" charset="0"/>
            </a:endParaRPr>
          </a:p>
        </p:txBody>
      </p:sp>
      <p:sp>
        <p:nvSpPr>
          <p:cNvPr id="23630" name="TextBox 130">
            <a:extLst>
              <a:ext uri="{FF2B5EF4-FFF2-40B4-BE49-F238E27FC236}">
                <a16:creationId xmlns:a16="http://schemas.microsoft.com/office/drawing/2014/main" id="{048DE5D8-5309-42DA-9D97-2935A10CB7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31" name="TextBox 131">
            <a:extLst>
              <a:ext uri="{FF2B5EF4-FFF2-40B4-BE49-F238E27FC236}">
                <a16:creationId xmlns:a16="http://schemas.microsoft.com/office/drawing/2014/main" id="{FF8B6C80-43E2-43AF-A364-A31845F05C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5388" y="3656613"/>
            <a:ext cx="67358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dirty="0">
                <a:latin typeface="Calibri" panose="020F0502020204030204" pitchFamily="34" charset="0"/>
              </a:rPr>
              <a:t>Limestone</a:t>
            </a:r>
            <a:endParaRPr lang="en-GB" altLang="en-US" sz="900" dirty="0">
              <a:latin typeface="Calibri" panose="020F0502020204030204" pitchFamily="34" charset="0"/>
            </a:endParaRPr>
          </a:p>
        </p:txBody>
      </p:sp>
      <p:sp>
        <p:nvSpPr>
          <p:cNvPr id="23632" name="TextBox 132">
            <a:extLst>
              <a:ext uri="{FF2B5EF4-FFF2-40B4-BE49-F238E27FC236}">
                <a16:creationId xmlns:a16="http://schemas.microsoft.com/office/drawing/2014/main" id="{A1C640C1-61D1-4BA5-8A76-E684397E8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46689" y="3650683"/>
            <a:ext cx="50526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dirty="0">
                <a:latin typeface="Calibri" panose="020F0502020204030204" pitchFamily="34" charset="0"/>
              </a:rPr>
              <a:t>Cotton</a:t>
            </a:r>
            <a:endParaRPr lang="en-GB" altLang="en-US" sz="900" dirty="0">
              <a:latin typeface="Calibri" panose="020F0502020204030204" pitchFamily="34" charset="0"/>
            </a:endParaRP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238751" y="3833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23638" name="TextBox 141">
            <a:extLst>
              <a:ext uri="{FF2B5EF4-FFF2-40B4-BE49-F238E27FC236}">
                <a16:creationId xmlns:a16="http://schemas.microsoft.com/office/drawing/2014/main" id="{EE481231-8673-4FD7-B5CC-900AEE7A9F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8233" y="3652271"/>
            <a:ext cx="595035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dirty="0">
                <a:latin typeface="Calibri" panose="020F0502020204030204" pitchFamily="34" charset="0"/>
              </a:rPr>
              <a:t>Uranium</a:t>
            </a:r>
            <a:endParaRPr lang="en-GB" altLang="en-US" sz="900" dirty="0">
              <a:latin typeface="Calibri" panose="020F0502020204030204" pitchFamily="34" charset="0"/>
            </a:endParaRPr>
          </a:p>
        </p:txBody>
      </p:sp>
      <p:sp>
        <p:nvSpPr>
          <p:cNvPr id="23649" name="TextBox 165">
            <a:extLst>
              <a:ext uri="{FF2B5EF4-FFF2-40B4-BE49-F238E27FC236}">
                <a16:creationId xmlns:a16="http://schemas.microsoft.com/office/drawing/2014/main" id="{1242633E-9CB1-48ED-83F4-2223DFC7ED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81236" y="4459753"/>
            <a:ext cx="554037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Cement</a:t>
            </a:r>
          </a:p>
        </p:txBody>
      </p:sp>
      <p:sp>
        <p:nvSpPr>
          <p:cNvPr id="23650" name="TextBox 166">
            <a:extLst>
              <a:ext uri="{FF2B5EF4-FFF2-40B4-BE49-F238E27FC236}">
                <a16:creationId xmlns:a16="http://schemas.microsoft.com/office/drawing/2014/main" id="{6B51369B-8FA6-464A-B908-12B0FFE6B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47066" y="4458812"/>
            <a:ext cx="73449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dirty="0">
                <a:latin typeface="Calibri" panose="020F0502020204030204" pitchFamily="34" charset="0"/>
              </a:rPr>
              <a:t>Gum Arabic</a:t>
            </a:r>
            <a:endParaRPr lang="en-GB" altLang="en-US" sz="900" dirty="0">
              <a:latin typeface="Calibri" panose="020F0502020204030204" pitchFamily="34" charset="0"/>
            </a:endParaRPr>
          </a:p>
        </p:txBody>
      </p:sp>
      <p:sp>
        <p:nvSpPr>
          <p:cNvPr id="23651" name="TextBox 167">
            <a:extLst>
              <a:ext uri="{FF2B5EF4-FFF2-40B4-BE49-F238E27FC236}">
                <a16:creationId xmlns:a16="http://schemas.microsoft.com/office/drawing/2014/main" id="{4F9404E1-8339-401B-8B10-4C7D1A8CEC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68361" y="4457881"/>
            <a:ext cx="60785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dirty="0">
                <a:latin typeface="Calibri" panose="020F0502020204030204" pitchFamily="34" charset="0"/>
              </a:rPr>
              <a:t>Sorghum</a:t>
            </a:r>
            <a:endParaRPr lang="en-GB" altLang="en-US" sz="900" dirty="0">
              <a:latin typeface="Calibri" panose="020F0502020204030204" pitchFamily="34" charset="0"/>
            </a:endParaRPr>
          </a:p>
        </p:txBody>
      </p:sp>
      <p:sp>
        <p:nvSpPr>
          <p:cNvPr id="23652" name="TextBox 168">
            <a:extLst>
              <a:ext uri="{FF2B5EF4-FFF2-40B4-BE49-F238E27FC236}">
                <a16:creationId xmlns:a16="http://schemas.microsoft.com/office/drawing/2014/main" id="{1C04917D-B2C3-4C21-8CC2-A45C349B4B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65456" y="4457133"/>
            <a:ext cx="548548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dirty="0">
                <a:latin typeface="Calibri" panose="020F0502020204030204" pitchFamily="34" charset="0"/>
              </a:rPr>
              <a:t>Tomato</a:t>
            </a:r>
            <a:endParaRPr lang="en-GB" altLang="en-US" sz="900" dirty="0">
              <a:latin typeface="Calibri" panose="020F0502020204030204" pitchFamily="34" charset="0"/>
            </a:endParaRPr>
          </a:p>
        </p:txBody>
      </p:sp>
      <p:sp>
        <p:nvSpPr>
          <p:cNvPr id="23653" name="TextBox 169">
            <a:extLst>
              <a:ext uri="{FF2B5EF4-FFF2-40B4-BE49-F238E27FC236}">
                <a16:creationId xmlns:a16="http://schemas.microsoft.com/office/drawing/2014/main" id="{4BADA327-4F2D-4897-B7C0-4647A1484B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85826" y="4457973"/>
            <a:ext cx="55175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dirty="0">
                <a:latin typeface="Calibri" panose="020F0502020204030204" pitchFamily="34" charset="0"/>
              </a:rPr>
              <a:t>Cassava</a:t>
            </a:r>
            <a:endParaRPr lang="en-GB" altLang="en-US" sz="900" dirty="0">
              <a:latin typeface="Calibri" panose="020F0502020204030204" pitchFamily="34" charset="0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8A28B48-1841-45BB-BFBC-EADE77B37C6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779712" y="2589213"/>
          <a:ext cx="1482725" cy="812800"/>
        </p:xfrm>
        <a:graphic>
          <a:graphicData uri="http://schemas.openxmlformats.org/drawingml/2006/table">
            <a:tbl>
              <a:tblPr/>
              <a:tblGrid>
                <a:gridCol w="11367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9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32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GB" sz="1000" b="1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Domestic</a:t>
                      </a:r>
                      <a:r>
                        <a:rPr lang="en-GB" sz="10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US" sz="1000" b="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International 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Railway</a:t>
                      </a:r>
                      <a:r>
                        <a:rPr lang="en-GB" sz="1000" b="1" kern="1200" baseline="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 Station</a:t>
                      </a:r>
                      <a:endParaRPr lang="en-GB" sz="1000" b="1" kern="1200" dirty="0">
                        <a:solidFill>
                          <a:srgbClr val="292929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32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Sea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7" name="TextBox 136">
            <a:extLst>
              <a:ext uri="{FF2B5EF4-FFF2-40B4-BE49-F238E27FC236}">
                <a16:creationId xmlns:a16="http://schemas.microsoft.com/office/drawing/2014/main" id="{2F4C4876-7073-4C13-A183-127A8909BDC0}"/>
              </a:ext>
            </a:extLst>
          </p:cNvPr>
          <p:cNvSpPr txBox="1"/>
          <p:nvPr/>
        </p:nvSpPr>
        <p:spPr>
          <a:xfrm>
            <a:off x="538163" y="5268913"/>
            <a:ext cx="373856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For further details</a:t>
            </a:r>
          </a:p>
        </p:txBody>
      </p:sp>
      <p:sp>
        <p:nvSpPr>
          <p:cNvPr id="23676" name="TextBox 156">
            <a:extLst>
              <a:ext uri="{FF2B5EF4-FFF2-40B4-BE49-F238E27FC236}">
                <a16:creationId xmlns:a16="http://schemas.microsoft.com/office/drawing/2014/main" id="{95D66AAF-6B48-4B9E-9E5B-F1BB063A89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6300" y="6342063"/>
            <a:ext cx="37306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Abbreviations: </a:t>
            </a:r>
            <a:r>
              <a:rPr lang="en-GB" altLang="en-US" sz="800" b="1" dirty="0">
                <a:latin typeface="Calibri" panose="020F0502020204030204" pitchFamily="34" charset="0"/>
              </a:rPr>
              <a:t>	NICPS</a:t>
            </a:r>
            <a:r>
              <a:rPr lang="en-GB" altLang="en-US" sz="800" dirty="0">
                <a:latin typeface="Calibri" panose="020F0502020204030204" pitchFamily="34" charset="0"/>
              </a:rPr>
              <a:t>: Nigerian Investment Certification Programme for States                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	</a:t>
            </a:r>
            <a:r>
              <a:rPr lang="en-GB" altLang="en-US" sz="800" b="1" dirty="0">
                <a:latin typeface="Calibri" panose="020F0502020204030204" pitchFamily="34" charset="0"/>
              </a:rPr>
              <a:t>IGR</a:t>
            </a:r>
            <a:r>
              <a:rPr lang="en-GB" altLang="en-US" sz="800" dirty="0">
                <a:latin typeface="Calibri" panose="020F0502020204030204" pitchFamily="34" charset="0"/>
              </a:rPr>
              <a:t>:     Internal Generated Revenue</a:t>
            </a:r>
          </a:p>
        </p:txBody>
      </p:sp>
      <p:sp>
        <p:nvSpPr>
          <p:cNvPr id="23678" name="TextBox 152">
            <a:extLst>
              <a:ext uri="{FF2B5EF4-FFF2-40B4-BE49-F238E27FC236}">
                <a16:creationId xmlns:a16="http://schemas.microsoft.com/office/drawing/2014/main" id="{BFAF6896-F732-45FC-AC47-950DF99D9E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4575" y="1104900"/>
            <a:ext cx="3446463" cy="1754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15888" indent="-11588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GB" sz="1200" dirty="0">
                <a:latin typeface="Calibri" panose="020F0502020204030204" pitchFamily="34" charset="0"/>
              </a:rPr>
              <a:t>Mining (abundant mineral deposits: clay, limestone, gypsum, uranium, diatomite 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200" dirty="0">
                <a:latin typeface="Calibri" panose="020F0502020204030204" pitchFamily="34" charset="0"/>
              </a:rPr>
              <a:t>Agriculture (80% of population)</a:t>
            </a:r>
            <a:endParaRPr lang="en-US" sz="1200" dirty="0">
              <a:latin typeface="Calibri" panose="020F050202020403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>
                <a:latin typeface="Calibri" panose="020F0502020204030204" pitchFamily="34" charset="0"/>
              </a:rPr>
              <a:t>Largest </a:t>
            </a:r>
            <a:r>
              <a:rPr lang="en-GB" sz="1200" dirty="0">
                <a:latin typeface="Calibri" panose="020F0502020204030204" pitchFamily="34" charset="0"/>
              </a:rPr>
              <a:t>grains depot in North East Nigeri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200" dirty="0">
                <a:latin typeface="Calibri" panose="020F0502020204030204" pitchFamily="34" charset="0"/>
              </a:rPr>
              <a:t>Hospitality (tourist attraction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200" dirty="0">
                <a:latin typeface="Calibri" panose="020F0502020204030204" pitchFamily="34" charset="0"/>
              </a:rPr>
              <a:t>Trade and services delivery network (depots: Unilever, CFAO, NASCO, PZ, Dangote Group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>
                <a:latin typeface="Calibri" panose="020F0502020204030204" pitchFamily="34" charset="0"/>
              </a:rPr>
              <a:t>Tourist attraction (</a:t>
            </a:r>
            <a:r>
              <a:rPr lang="en-US" sz="1200" dirty="0" err="1">
                <a:latin typeface="Calibri" panose="020F0502020204030204" pitchFamily="34" charset="0"/>
              </a:rPr>
              <a:t>Tangale</a:t>
            </a:r>
            <a:r>
              <a:rPr lang="en-US" sz="1200" dirty="0">
                <a:latin typeface="Calibri" panose="020F0502020204030204" pitchFamily="34" charset="0"/>
              </a:rPr>
              <a:t> peak over 1000ft above sea level) </a:t>
            </a:r>
            <a:endParaRPr lang="en-GB" sz="1200" dirty="0">
              <a:latin typeface="Calibri" panose="020F0502020204030204" pitchFamily="34" charset="0"/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D4E23C6-26A0-4545-B8F7-7007C8EEBFE4}"/>
              </a:ext>
            </a:extLst>
          </p:cNvPr>
          <p:cNvSpPr txBox="1"/>
          <p:nvPr/>
        </p:nvSpPr>
        <p:spPr>
          <a:xfrm>
            <a:off x="4338638" y="5265738"/>
            <a:ext cx="247491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id you know?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132" name="Text Placeholder 42">
            <a:extLst>
              <a:ext uri="{FF2B5EF4-FFF2-40B4-BE49-F238E27FC236}">
                <a16:creationId xmlns:a16="http://schemas.microsoft.com/office/drawing/2014/main" id="{D510D0DC-1548-4249-8DB1-9A1055126D07}"/>
              </a:ext>
            </a:extLst>
          </p:cNvPr>
          <p:cNvSpPr txBox="1">
            <a:spLocks/>
          </p:cNvSpPr>
          <p:nvPr/>
        </p:nvSpPr>
        <p:spPr>
          <a:xfrm>
            <a:off x="522288" y="5511800"/>
            <a:ext cx="3733800" cy="701675"/>
          </a:xfrm>
          <a:prstGeom prst="rect">
            <a:avLst/>
          </a:prstGeom>
        </p:spPr>
        <p:txBody>
          <a:bodyPr lIns="36576" tIns="0" rIns="36576" bIns="0"/>
          <a:lstStyle>
            <a:lvl1pPr marL="0" indent="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/>
              <a:buNone/>
              <a:defRPr sz="800" b="1" baseline="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6575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93763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 charset="0"/>
              <a:buChar char="►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50950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619250" indent="-188913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0764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25336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29908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34480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NIGERIAN INVESTMENT PROMOTION COMMISSION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>
                <a:solidFill>
                  <a:schemeClr val="tx1"/>
                </a:solidFill>
                <a:hlinkClick r:id="rId7"/>
              </a:rPr>
              <a:t>statesco@nipc.gov.ng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endParaRPr lang="en-US" sz="5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GOMBE STATE INVESTMENT AND PROPERTY DEV. COMPANY LTD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 err="1">
                <a:solidFill>
                  <a:schemeClr val="tx1"/>
                </a:solidFill>
                <a:hlinkClick r:id="rId8"/>
              </a:rPr>
              <a:t>md@gombeinvestment.com.ng</a:t>
            </a:r>
            <a:r>
              <a:rPr lang="en-US" sz="1000" b="0" kern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FF015425-7997-4612-9D0E-1F6C433DFCC7}"/>
              </a:ext>
            </a:extLst>
          </p:cNvPr>
          <p:cNvSpPr/>
          <p:nvPr/>
        </p:nvSpPr>
        <p:spPr>
          <a:xfrm>
            <a:off x="6080877" y="3040856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4C0B7457-CABD-4AC8-8A1A-1FD468581E4D}"/>
              </a:ext>
            </a:extLst>
          </p:cNvPr>
          <p:cNvSpPr/>
          <p:nvPr/>
        </p:nvSpPr>
        <p:spPr>
          <a:xfrm>
            <a:off x="6784796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2D626A89-F50C-45A3-9271-5D3F2EEA9C83}"/>
              </a:ext>
            </a:extLst>
          </p:cNvPr>
          <p:cNvSpPr/>
          <p:nvPr/>
        </p:nvSpPr>
        <p:spPr>
          <a:xfrm>
            <a:off x="7518399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240713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A62E850A-D87D-46D0-9257-0071E677FCF0}"/>
              </a:ext>
            </a:extLst>
          </p:cNvPr>
          <p:cNvSpPr/>
          <p:nvPr/>
        </p:nvSpPr>
        <p:spPr>
          <a:xfrm>
            <a:off x="8947150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4D1FAA17-3EFF-404B-B4C4-B468BCE2E9A5}"/>
              </a:ext>
            </a:extLst>
          </p:cNvPr>
          <p:cNvSpPr/>
          <p:nvPr/>
        </p:nvSpPr>
        <p:spPr>
          <a:xfrm>
            <a:off x="6078265" y="3836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E861211D-5D09-4577-8A09-FD96D972A5D4}"/>
              </a:ext>
            </a:extLst>
          </p:cNvPr>
          <p:cNvSpPr/>
          <p:nvPr/>
        </p:nvSpPr>
        <p:spPr>
          <a:xfrm>
            <a:off x="6780509" y="3833831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D9F8790B-E97D-4D8F-AD51-26FAFBF8CA40}"/>
              </a:ext>
            </a:extLst>
          </p:cNvPr>
          <p:cNvSpPr/>
          <p:nvPr/>
        </p:nvSpPr>
        <p:spPr>
          <a:xfrm>
            <a:off x="8946402" y="3833630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3CBEFD1C-6360-47CD-AEDD-DFB49FC0E0C7}"/>
              </a:ext>
            </a:extLst>
          </p:cNvPr>
          <p:cNvSpPr/>
          <p:nvPr/>
        </p:nvSpPr>
        <p:spPr>
          <a:xfrm>
            <a:off x="7518603" y="3830834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pic>
        <p:nvPicPr>
          <p:cNvPr id="127" name="Picture 126">
            <a:extLst>
              <a:ext uri="{FF2B5EF4-FFF2-40B4-BE49-F238E27FC236}">
                <a16:creationId xmlns:a16="http://schemas.microsoft.com/office/drawing/2014/main" id="{1DC8BFB1-F9D5-4985-9EAC-93B31B34972D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75" t="19262" r="14797" b="32368"/>
          <a:stretch/>
        </p:blipFill>
        <p:spPr>
          <a:xfrm>
            <a:off x="7527411" y="3092215"/>
            <a:ext cx="536515" cy="405617"/>
          </a:xfrm>
          <a:prstGeom prst="rect">
            <a:avLst/>
          </a:prstGeom>
        </p:spPr>
      </p:pic>
      <p:pic>
        <p:nvPicPr>
          <p:cNvPr id="134" name="Picture 133">
            <a:extLst>
              <a:ext uri="{FF2B5EF4-FFF2-40B4-BE49-F238E27FC236}">
                <a16:creationId xmlns:a16="http://schemas.microsoft.com/office/drawing/2014/main" id="{C052B874-D487-40AE-861B-693C24AE1B1C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02" t="47628" r="31296" b="2567"/>
          <a:stretch/>
        </p:blipFill>
        <p:spPr>
          <a:xfrm>
            <a:off x="6178813" y="3921337"/>
            <a:ext cx="449625" cy="480536"/>
          </a:xfrm>
          <a:prstGeom prst="rect">
            <a:avLst/>
          </a:prstGeom>
        </p:spPr>
      </p:pic>
      <p:pic>
        <p:nvPicPr>
          <p:cNvPr id="135" name="Picture 134">
            <a:extLst>
              <a:ext uri="{FF2B5EF4-FFF2-40B4-BE49-F238E27FC236}">
                <a16:creationId xmlns:a16="http://schemas.microsoft.com/office/drawing/2014/main" id="{84648DB8-3D0B-4A26-A7B0-BE56F4A3E607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7097" y="3099726"/>
            <a:ext cx="469072" cy="469072"/>
          </a:xfrm>
          <a:prstGeom prst="rect">
            <a:avLst/>
          </a:prstGeom>
        </p:spPr>
      </p:pic>
      <p:pic>
        <p:nvPicPr>
          <p:cNvPr id="139" name="Picture 138" descr="cotton.jpg">
            <a:extLst>
              <a:ext uri="{FF2B5EF4-FFF2-40B4-BE49-F238E27FC236}">
                <a16:creationId xmlns:a16="http://schemas.microsoft.com/office/drawing/2014/main" id="{6147C0ED-4825-4743-A65E-465039E026CC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27119" t="7595" r="25217" b="55643"/>
          <a:stretch>
            <a:fillRect/>
          </a:stretch>
        </p:blipFill>
        <p:spPr>
          <a:xfrm>
            <a:off x="8343597" y="3074262"/>
            <a:ext cx="439756" cy="465048"/>
          </a:xfrm>
          <a:prstGeom prst="rect">
            <a:avLst/>
          </a:prstGeom>
        </p:spPr>
      </p:pic>
      <p:pic>
        <p:nvPicPr>
          <p:cNvPr id="141" name="Picture 140" descr="gam-arab-05-500x330.jpg">
            <a:extLst>
              <a:ext uri="{FF2B5EF4-FFF2-40B4-BE49-F238E27FC236}">
                <a16:creationId xmlns:a16="http://schemas.microsoft.com/office/drawing/2014/main" id="{9C33A3C6-8764-457F-871D-2FC28F28CC39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clrChange>
              <a:clrFrom>
                <a:srgbClr val="FBFCFE"/>
              </a:clrFrom>
              <a:clrTo>
                <a:srgbClr val="FBFCFE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flipH="1">
            <a:off x="6800712" y="3927716"/>
            <a:ext cx="609767" cy="402446"/>
          </a:xfrm>
          <a:prstGeom prst="rect">
            <a:avLst/>
          </a:prstGeom>
        </p:spPr>
      </p:pic>
      <p:pic>
        <p:nvPicPr>
          <p:cNvPr id="142" name="Picture 141" descr="sorghum etc.jpg">
            <a:extLst>
              <a:ext uri="{FF2B5EF4-FFF2-40B4-BE49-F238E27FC236}">
                <a16:creationId xmlns:a16="http://schemas.microsoft.com/office/drawing/2014/main" id="{5037288B-5D45-4265-9B58-C34F76F8830F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75394" b="66420"/>
          <a:stretch>
            <a:fillRect/>
          </a:stretch>
        </p:blipFill>
        <p:spPr>
          <a:xfrm>
            <a:off x="7652385" y="3766478"/>
            <a:ext cx="450166" cy="675249"/>
          </a:xfrm>
          <a:prstGeom prst="rect">
            <a:avLst/>
          </a:prstGeom>
        </p:spPr>
      </p:pic>
      <p:pic>
        <p:nvPicPr>
          <p:cNvPr id="149" name="Picture 148" descr="tomato.jpg">
            <a:extLst>
              <a:ext uri="{FF2B5EF4-FFF2-40B4-BE49-F238E27FC236}">
                <a16:creationId xmlns:a16="http://schemas.microsoft.com/office/drawing/2014/main" id="{09A2F662-88E0-423C-A88B-D6D3F12047C2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7279" t="9467" r="43491" b="42615"/>
          <a:stretch>
            <a:fillRect/>
          </a:stretch>
        </p:blipFill>
        <p:spPr>
          <a:xfrm>
            <a:off x="8258617" y="3874917"/>
            <a:ext cx="552301" cy="495369"/>
          </a:xfrm>
          <a:prstGeom prst="rect">
            <a:avLst/>
          </a:prstGeom>
        </p:spPr>
      </p:pic>
      <p:pic>
        <p:nvPicPr>
          <p:cNvPr id="150" name="Picture 2" descr="Image result for silhouette on uranium">
            <a:extLst>
              <a:ext uri="{FF2B5EF4-FFF2-40B4-BE49-F238E27FC236}">
                <a16:creationId xmlns:a16="http://schemas.microsoft.com/office/drawing/2014/main" id="{F201253B-9B5A-4D1A-A01B-BF35B01C73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8785" y="3077520"/>
            <a:ext cx="524765" cy="524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1" name="Picture 150"/>
          <p:cNvPicPr>
            <a:picLocks noChangeAspect="1"/>
          </p:cNvPicPr>
          <p:nvPr/>
        </p:nvPicPr>
        <p:blipFill>
          <a:blip r:embed="rId1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6756" y="3820189"/>
            <a:ext cx="588496" cy="618055"/>
          </a:xfrm>
          <a:prstGeom prst="rect">
            <a:avLst/>
          </a:prstGeom>
        </p:spPr>
      </p:pic>
      <p:sp>
        <p:nvSpPr>
          <p:cNvPr id="153" name="TextBox 152">
            <a:extLst>
              <a:ext uri="{FF2B5EF4-FFF2-40B4-BE49-F238E27FC236}">
                <a16:creationId xmlns:a16="http://schemas.microsoft.com/office/drawing/2014/main" id="{D0A41506-8873-4C2F-B45B-4459F0229CA3}"/>
              </a:ext>
            </a:extLst>
          </p:cNvPr>
          <p:cNvSpPr txBox="1"/>
          <p:nvPr/>
        </p:nvSpPr>
        <p:spPr>
          <a:xfrm>
            <a:off x="4374578" y="4541674"/>
            <a:ext cx="17988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te Investment Certification Process Not Started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268114" y="5427567"/>
            <a:ext cx="252162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Gombe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 Emirate was founded by the Fulani Jihad of 1804.</a:t>
            </a:r>
          </a:p>
        </p:txBody>
      </p:sp>
      <p:pic>
        <p:nvPicPr>
          <p:cNvPr id="118" name="Picture 117"/>
          <p:cNvPicPr>
            <a:picLocks noChangeAspect="1"/>
          </p:cNvPicPr>
          <p:nvPr/>
        </p:nvPicPr>
        <p:blipFill rotWithShape="1">
          <a:blip r:embed="rId18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72" r="6398" b="16626"/>
          <a:stretch/>
        </p:blipFill>
        <p:spPr>
          <a:xfrm>
            <a:off x="9014756" y="3069113"/>
            <a:ext cx="472799" cy="451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752348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Pentagon 19">
            <a:extLst>
              <a:ext uri="{FF2B5EF4-FFF2-40B4-BE49-F238E27FC236}">
                <a16:creationId xmlns:a16="http://schemas.microsoft.com/office/drawing/2014/main" id="{CAD93C59-72A9-4F6D-A654-02B9F8A5EFF9}"/>
              </a:ext>
            </a:extLst>
          </p:cNvPr>
          <p:cNvSpPr>
            <a:spLocks/>
          </p:cNvSpPr>
          <p:nvPr/>
        </p:nvSpPr>
        <p:spPr bwMode="auto">
          <a:xfrm>
            <a:off x="756602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33 of 37</a:t>
            </a:r>
          </a:p>
        </p:txBody>
      </p:sp>
      <p:sp>
        <p:nvSpPr>
          <p:cNvPr id="376" name="Pentagon 19">
            <a:extLst>
              <a:ext uri="{FF2B5EF4-FFF2-40B4-BE49-F238E27FC236}">
                <a16:creationId xmlns:a16="http://schemas.microsoft.com/office/drawing/2014/main" id="{1BDC5465-6022-4404-B4D8-ED55CF961B8A}"/>
              </a:ext>
            </a:extLst>
          </p:cNvPr>
          <p:cNvSpPr>
            <a:spLocks/>
          </p:cNvSpPr>
          <p:nvPr/>
        </p:nvSpPr>
        <p:spPr bwMode="auto">
          <a:xfrm>
            <a:off x="824865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3 of 3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57F1EBC-D01A-4083-B657-63AFB1490839}"/>
              </a:ext>
            </a:extLst>
          </p:cNvPr>
          <p:cNvSpPr txBox="1"/>
          <p:nvPr/>
        </p:nvSpPr>
        <p:spPr>
          <a:xfrm>
            <a:off x="6122988" y="2749550"/>
            <a:ext cx="3475037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nvestment Opportunit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D251BD-538A-4F4F-847E-620EEDA298A0}"/>
              </a:ext>
            </a:extLst>
          </p:cNvPr>
          <p:cNvSpPr txBox="1"/>
          <p:nvPr/>
        </p:nvSpPr>
        <p:spPr>
          <a:xfrm>
            <a:off x="6881813" y="4632911"/>
            <a:ext cx="2697162" cy="33855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oing Business Ranking(2018)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1B8F13C-F732-4DA1-9250-DB02936E7688}"/>
              </a:ext>
            </a:extLst>
          </p:cNvPr>
          <p:cNvSpPr/>
          <p:nvPr/>
        </p:nvSpPr>
        <p:spPr>
          <a:xfrm>
            <a:off x="756602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Registering Propert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6BA1818-32ED-44D1-975C-958200BDD124}"/>
              </a:ext>
            </a:extLst>
          </p:cNvPr>
          <p:cNvSpPr/>
          <p:nvPr/>
        </p:nvSpPr>
        <p:spPr>
          <a:xfrm>
            <a:off x="8248650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Dealing with Construction Permits</a:t>
            </a:r>
          </a:p>
        </p:txBody>
      </p:sp>
      <p:sp>
        <p:nvSpPr>
          <p:cNvPr id="23560" name="TextBox 174">
            <a:extLst>
              <a:ext uri="{FF2B5EF4-FFF2-40B4-BE49-F238E27FC236}">
                <a16:creationId xmlns:a16="http://schemas.microsoft.com/office/drawing/2014/main" id="{1573FD4E-62B9-45E8-8F28-CED990ED2D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0B63A6C-2A5E-4CA3-BC66-4CBC6008BC9A}"/>
              </a:ext>
            </a:extLst>
          </p:cNvPr>
          <p:cNvSpPr/>
          <p:nvPr/>
        </p:nvSpPr>
        <p:spPr>
          <a:xfrm>
            <a:off x="893127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Enforcing Contracts</a:t>
            </a:r>
          </a:p>
        </p:txBody>
      </p:sp>
      <p:pic>
        <p:nvPicPr>
          <p:cNvPr id="23562" name="Picture 4">
            <a:extLst>
              <a:ext uri="{FF2B5EF4-FFF2-40B4-BE49-F238E27FC236}">
                <a16:creationId xmlns:a16="http://schemas.microsoft.com/office/drawing/2014/main" id="{7C8EEAB2-0239-4BB5-94B3-23E319AF1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513" y="5249863"/>
            <a:ext cx="439737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6" name="Pentagon 19">
            <a:extLst>
              <a:ext uri="{FF2B5EF4-FFF2-40B4-BE49-F238E27FC236}">
                <a16:creationId xmlns:a16="http://schemas.microsoft.com/office/drawing/2014/main" id="{5F8E9670-D71A-4765-B6B5-D711BC9AD6E1}"/>
              </a:ext>
            </a:extLst>
          </p:cNvPr>
          <p:cNvSpPr>
            <a:spLocks/>
          </p:cNvSpPr>
          <p:nvPr/>
        </p:nvSpPr>
        <p:spPr bwMode="auto">
          <a:xfrm>
            <a:off x="893127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37</a:t>
            </a:r>
            <a:r>
              <a:rPr lang="en-GB" sz="1000" baseline="3000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of 37</a:t>
            </a:r>
          </a:p>
        </p:txBody>
      </p:sp>
      <p:sp>
        <p:nvSpPr>
          <p:cNvPr id="23564" name="Title 3">
            <a:extLst>
              <a:ext uri="{FF2B5EF4-FFF2-40B4-BE49-F238E27FC236}">
                <a16:creationId xmlns:a16="http://schemas.microsoft.com/office/drawing/2014/main" id="{C62A749B-CFC7-4224-A789-D20A772AC33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77813" y="222250"/>
            <a:ext cx="8543925" cy="5619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en-GB" alt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mo State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6882DF2C-9120-4A66-8487-575D9494F4D6}"/>
              </a:ext>
            </a:extLst>
          </p:cNvPr>
          <p:cNvSpPr txBox="1"/>
          <p:nvPr/>
        </p:nvSpPr>
        <p:spPr>
          <a:xfrm rot="16200000">
            <a:off x="-2290084" y="3478372"/>
            <a:ext cx="5303837" cy="2743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Eastern Heartland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grpSp>
        <p:nvGrpSpPr>
          <p:cNvPr id="23566" name="Group 9">
            <a:extLst>
              <a:ext uri="{FF2B5EF4-FFF2-40B4-BE49-F238E27FC236}">
                <a16:creationId xmlns:a16="http://schemas.microsoft.com/office/drawing/2014/main" id="{5B6131BD-3CE3-4FC4-B13A-FA9B797C1EF5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41338" y="963613"/>
            <a:ext cx="2897187" cy="2319337"/>
            <a:chOff x="770228" y="1459989"/>
            <a:chExt cx="4081047" cy="3267527"/>
          </a:xfrm>
        </p:grpSpPr>
        <p:sp>
          <p:nvSpPr>
            <p:cNvPr id="299" name="Freeform 4">
              <a:extLst>
                <a:ext uri="{FF2B5EF4-FFF2-40B4-BE49-F238E27FC236}">
                  <a16:creationId xmlns:a16="http://schemas.microsoft.com/office/drawing/2014/main" id="{B6150C82-CBE5-48B4-B60C-C210BB7B26A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91538" y="4349548"/>
              <a:ext cx="418167" cy="377968"/>
            </a:xfrm>
            <a:custGeom>
              <a:avLst/>
              <a:gdLst>
                <a:gd name="T0" fmla="*/ 12 w 786"/>
                <a:gd name="T1" fmla="*/ 19 h 714"/>
                <a:gd name="T2" fmla="*/ 22 w 786"/>
                <a:gd name="T3" fmla="*/ 18 h 714"/>
                <a:gd name="T4" fmla="*/ 27 w 786"/>
                <a:gd name="T5" fmla="*/ 17 h 714"/>
                <a:gd name="T6" fmla="*/ 30 w 786"/>
                <a:gd name="T7" fmla="*/ 14 h 714"/>
                <a:gd name="T8" fmla="*/ 37 w 786"/>
                <a:gd name="T9" fmla="*/ 16 h 714"/>
                <a:gd name="T10" fmla="*/ 43 w 786"/>
                <a:gd name="T11" fmla="*/ 13 h 714"/>
                <a:gd name="T12" fmla="*/ 48 w 786"/>
                <a:gd name="T13" fmla="*/ 8 h 714"/>
                <a:gd name="T14" fmla="*/ 55 w 786"/>
                <a:gd name="T15" fmla="*/ 4 h 714"/>
                <a:gd name="T16" fmla="*/ 66 w 786"/>
                <a:gd name="T17" fmla="*/ 0 h 714"/>
                <a:gd name="T18" fmla="*/ 63 w 786"/>
                <a:gd name="T19" fmla="*/ 12 h 714"/>
                <a:gd name="T20" fmla="*/ 59 w 786"/>
                <a:gd name="T21" fmla="*/ 19 h 714"/>
                <a:gd name="T22" fmla="*/ 57 w 786"/>
                <a:gd name="T23" fmla="*/ 29 h 714"/>
                <a:gd name="T24" fmla="*/ 59 w 786"/>
                <a:gd name="T25" fmla="*/ 36 h 714"/>
                <a:gd name="T26" fmla="*/ 66 w 786"/>
                <a:gd name="T27" fmla="*/ 35 h 714"/>
                <a:gd name="T28" fmla="*/ 64 w 786"/>
                <a:gd name="T29" fmla="*/ 41 h 714"/>
                <a:gd name="T30" fmla="*/ 64 w 786"/>
                <a:gd name="T31" fmla="*/ 48 h 714"/>
                <a:gd name="T32" fmla="*/ 63 w 786"/>
                <a:gd name="T33" fmla="*/ 56 h 714"/>
                <a:gd name="T34" fmla="*/ 60 w 786"/>
                <a:gd name="T35" fmla="*/ 60 h 714"/>
                <a:gd name="T36" fmla="*/ 57 w 786"/>
                <a:gd name="T37" fmla="*/ 58 h 714"/>
                <a:gd name="T38" fmla="*/ 54 w 786"/>
                <a:gd name="T39" fmla="*/ 54 h 714"/>
                <a:gd name="T40" fmla="*/ 53 w 786"/>
                <a:gd name="T41" fmla="*/ 51 h 714"/>
                <a:gd name="T42" fmla="*/ 51 w 786"/>
                <a:gd name="T43" fmla="*/ 53 h 714"/>
                <a:gd name="T44" fmla="*/ 49 w 786"/>
                <a:gd name="T45" fmla="*/ 54 h 714"/>
                <a:gd name="T46" fmla="*/ 47 w 786"/>
                <a:gd name="T47" fmla="*/ 50 h 714"/>
                <a:gd name="T48" fmla="*/ 48 w 786"/>
                <a:gd name="T49" fmla="*/ 54 h 714"/>
                <a:gd name="T50" fmla="*/ 47 w 786"/>
                <a:gd name="T51" fmla="*/ 54 h 714"/>
                <a:gd name="T52" fmla="*/ 46 w 786"/>
                <a:gd name="T53" fmla="*/ 59 h 714"/>
                <a:gd name="T54" fmla="*/ 47 w 786"/>
                <a:gd name="T55" fmla="*/ 62 h 714"/>
                <a:gd name="T56" fmla="*/ 42 w 786"/>
                <a:gd name="T57" fmla="*/ 62 h 714"/>
                <a:gd name="T58" fmla="*/ 39 w 786"/>
                <a:gd name="T59" fmla="*/ 57 h 714"/>
                <a:gd name="T60" fmla="*/ 40 w 786"/>
                <a:gd name="T61" fmla="*/ 54 h 714"/>
                <a:gd name="T62" fmla="*/ 43 w 786"/>
                <a:gd name="T63" fmla="*/ 55 h 714"/>
                <a:gd name="T64" fmla="*/ 40 w 786"/>
                <a:gd name="T65" fmla="*/ 53 h 714"/>
                <a:gd name="T66" fmla="*/ 38 w 786"/>
                <a:gd name="T67" fmla="*/ 57 h 714"/>
                <a:gd name="T68" fmla="*/ 37 w 786"/>
                <a:gd name="T69" fmla="*/ 57 h 714"/>
                <a:gd name="T70" fmla="*/ 37 w 786"/>
                <a:gd name="T71" fmla="*/ 60 h 714"/>
                <a:gd name="T72" fmla="*/ 33 w 786"/>
                <a:gd name="T73" fmla="*/ 56 h 714"/>
                <a:gd name="T74" fmla="*/ 32 w 786"/>
                <a:gd name="T75" fmla="*/ 58 h 714"/>
                <a:gd name="T76" fmla="*/ 26 w 786"/>
                <a:gd name="T77" fmla="*/ 54 h 714"/>
                <a:gd name="T78" fmla="*/ 26 w 786"/>
                <a:gd name="T79" fmla="*/ 54 h 714"/>
                <a:gd name="T80" fmla="*/ 24 w 786"/>
                <a:gd name="T81" fmla="*/ 51 h 714"/>
                <a:gd name="T82" fmla="*/ 22 w 786"/>
                <a:gd name="T83" fmla="*/ 51 h 714"/>
                <a:gd name="T84" fmla="*/ 20 w 786"/>
                <a:gd name="T85" fmla="*/ 50 h 714"/>
                <a:gd name="T86" fmla="*/ 20 w 786"/>
                <a:gd name="T87" fmla="*/ 48 h 714"/>
                <a:gd name="T88" fmla="*/ 18 w 786"/>
                <a:gd name="T89" fmla="*/ 47 h 714"/>
                <a:gd name="T90" fmla="*/ 15 w 786"/>
                <a:gd name="T91" fmla="*/ 45 h 714"/>
                <a:gd name="T92" fmla="*/ 11 w 786"/>
                <a:gd name="T93" fmla="*/ 39 h 714"/>
                <a:gd name="T94" fmla="*/ 12 w 786"/>
                <a:gd name="T95" fmla="*/ 36 h 714"/>
                <a:gd name="T96" fmla="*/ 7 w 786"/>
                <a:gd name="T97" fmla="*/ 33 h 714"/>
                <a:gd name="T98" fmla="*/ 5 w 786"/>
                <a:gd name="T99" fmla="*/ 28 h 714"/>
                <a:gd name="T100" fmla="*/ 7 w 786"/>
                <a:gd name="T101" fmla="*/ 30 h 714"/>
                <a:gd name="T102" fmla="*/ 4 w 786"/>
                <a:gd name="T103" fmla="*/ 24 h 714"/>
                <a:gd name="T104" fmla="*/ 2 w 786"/>
                <a:gd name="T105" fmla="*/ 20 h 714"/>
                <a:gd name="T106" fmla="*/ 0 w 786"/>
                <a:gd name="T107" fmla="*/ 15 h 714"/>
                <a:gd name="T108" fmla="*/ 4 w 786"/>
                <a:gd name="T109" fmla="*/ 16 h 714"/>
                <a:gd name="T110" fmla="*/ 55 w 786"/>
                <a:gd name="T111" fmla="*/ 60 h 714"/>
                <a:gd name="T112" fmla="*/ 47 w 786"/>
                <a:gd name="T113" fmla="*/ 60 h 714"/>
                <a:gd name="T114" fmla="*/ 51 w 786"/>
                <a:gd name="T115" fmla="*/ 54 h 714"/>
                <a:gd name="T116" fmla="*/ 54 w 786"/>
                <a:gd name="T117" fmla="*/ 56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86"/>
                <a:gd name="T178" fmla="*/ 0 h 714"/>
                <a:gd name="T179" fmla="*/ 786 w 786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86" h="714">
                  <a:moveTo>
                    <a:pt x="54" y="186"/>
                  </a:moveTo>
                  <a:lnTo>
                    <a:pt x="54" y="192"/>
                  </a:lnTo>
                  <a:lnTo>
                    <a:pt x="72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204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20" y="210"/>
                  </a:lnTo>
                  <a:lnTo>
                    <a:pt x="126" y="210"/>
                  </a:lnTo>
                  <a:lnTo>
                    <a:pt x="132" y="210"/>
                  </a:lnTo>
                  <a:lnTo>
                    <a:pt x="132" y="216"/>
                  </a:lnTo>
                  <a:lnTo>
                    <a:pt x="138" y="222"/>
                  </a:lnTo>
                  <a:lnTo>
                    <a:pt x="150" y="222"/>
                  </a:lnTo>
                  <a:lnTo>
                    <a:pt x="162" y="234"/>
                  </a:lnTo>
                  <a:lnTo>
                    <a:pt x="168" y="240"/>
                  </a:lnTo>
                  <a:lnTo>
                    <a:pt x="180" y="240"/>
                  </a:lnTo>
                  <a:lnTo>
                    <a:pt x="186" y="228"/>
                  </a:lnTo>
                  <a:lnTo>
                    <a:pt x="210" y="234"/>
                  </a:lnTo>
                  <a:lnTo>
                    <a:pt x="222" y="228"/>
                  </a:lnTo>
                  <a:lnTo>
                    <a:pt x="228" y="216"/>
                  </a:lnTo>
                  <a:lnTo>
                    <a:pt x="234" y="210"/>
                  </a:lnTo>
                  <a:lnTo>
                    <a:pt x="240" y="216"/>
                  </a:lnTo>
                  <a:lnTo>
                    <a:pt x="246" y="210"/>
                  </a:lnTo>
                  <a:lnTo>
                    <a:pt x="252" y="210"/>
                  </a:lnTo>
                  <a:lnTo>
                    <a:pt x="258" y="210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192"/>
                  </a:lnTo>
                  <a:lnTo>
                    <a:pt x="270" y="192"/>
                  </a:lnTo>
                  <a:lnTo>
                    <a:pt x="276" y="192"/>
                  </a:lnTo>
                  <a:lnTo>
                    <a:pt x="282" y="192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192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198"/>
                  </a:lnTo>
                  <a:lnTo>
                    <a:pt x="312" y="198"/>
                  </a:lnTo>
                  <a:lnTo>
                    <a:pt x="312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24" y="186"/>
                  </a:lnTo>
                  <a:lnTo>
                    <a:pt x="318" y="180"/>
                  </a:lnTo>
                  <a:lnTo>
                    <a:pt x="324" y="180"/>
                  </a:lnTo>
                  <a:lnTo>
                    <a:pt x="330" y="186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74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54" y="144"/>
                  </a:lnTo>
                  <a:lnTo>
                    <a:pt x="360" y="144"/>
                  </a:lnTo>
                  <a:lnTo>
                    <a:pt x="372" y="156"/>
                  </a:lnTo>
                  <a:lnTo>
                    <a:pt x="372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96" y="168"/>
                  </a:lnTo>
                  <a:lnTo>
                    <a:pt x="396" y="174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26" y="186"/>
                  </a:lnTo>
                  <a:lnTo>
                    <a:pt x="432" y="186"/>
                  </a:lnTo>
                  <a:lnTo>
                    <a:pt x="438" y="180"/>
                  </a:lnTo>
                  <a:lnTo>
                    <a:pt x="438" y="168"/>
                  </a:lnTo>
                  <a:lnTo>
                    <a:pt x="438" y="162"/>
                  </a:lnTo>
                  <a:lnTo>
                    <a:pt x="444" y="156"/>
                  </a:lnTo>
                  <a:lnTo>
                    <a:pt x="450" y="156"/>
                  </a:lnTo>
                  <a:lnTo>
                    <a:pt x="456" y="150"/>
                  </a:lnTo>
                  <a:lnTo>
                    <a:pt x="462" y="156"/>
                  </a:lnTo>
                  <a:lnTo>
                    <a:pt x="468" y="162"/>
                  </a:lnTo>
                  <a:lnTo>
                    <a:pt x="474" y="162"/>
                  </a:lnTo>
                  <a:lnTo>
                    <a:pt x="486" y="162"/>
                  </a:lnTo>
                  <a:lnTo>
                    <a:pt x="492" y="156"/>
                  </a:lnTo>
                  <a:lnTo>
                    <a:pt x="498" y="150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28" y="126"/>
                  </a:lnTo>
                  <a:lnTo>
                    <a:pt x="522" y="120"/>
                  </a:lnTo>
                  <a:lnTo>
                    <a:pt x="522" y="114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28" y="102"/>
                  </a:lnTo>
                  <a:lnTo>
                    <a:pt x="534" y="96"/>
                  </a:lnTo>
                  <a:lnTo>
                    <a:pt x="552" y="96"/>
                  </a:lnTo>
                  <a:lnTo>
                    <a:pt x="570" y="102"/>
                  </a:lnTo>
                  <a:lnTo>
                    <a:pt x="582" y="96"/>
                  </a:lnTo>
                  <a:lnTo>
                    <a:pt x="582" y="90"/>
                  </a:lnTo>
                  <a:lnTo>
                    <a:pt x="582" y="78"/>
                  </a:lnTo>
                  <a:lnTo>
                    <a:pt x="582" y="72"/>
                  </a:lnTo>
                  <a:lnTo>
                    <a:pt x="582" y="66"/>
                  </a:lnTo>
                  <a:lnTo>
                    <a:pt x="594" y="60"/>
                  </a:lnTo>
                  <a:lnTo>
                    <a:pt x="600" y="60"/>
                  </a:lnTo>
                  <a:lnTo>
                    <a:pt x="606" y="54"/>
                  </a:lnTo>
                  <a:lnTo>
                    <a:pt x="618" y="48"/>
                  </a:lnTo>
                  <a:lnTo>
                    <a:pt x="618" y="42"/>
                  </a:lnTo>
                  <a:lnTo>
                    <a:pt x="624" y="42"/>
                  </a:lnTo>
                  <a:lnTo>
                    <a:pt x="636" y="48"/>
                  </a:lnTo>
                  <a:lnTo>
                    <a:pt x="648" y="54"/>
                  </a:lnTo>
                  <a:lnTo>
                    <a:pt x="660" y="54"/>
                  </a:lnTo>
                  <a:lnTo>
                    <a:pt x="666" y="60"/>
                  </a:lnTo>
                  <a:lnTo>
                    <a:pt x="672" y="54"/>
                  </a:lnTo>
                  <a:lnTo>
                    <a:pt x="684" y="48"/>
                  </a:lnTo>
                  <a:lnTo>
                    <a:pt x="708" y="42"/>
                  </a:lnTo>
                  <a:lnTo>
                    <a:pt x="714" y="42"/>
                  </a:lnTo>
                  <a:lnTo>
                    <a:pt x="720" y="36"/>
                  </a:lnTo>
                  <a:lnTo>
                    <a:pt x="720" y="30"/>
                  </a:lnTo>
                  <a:lnTo>
                    <a:pt x="714" y="12"/>
                  </a:lnTo>
                  <a:lnTo>
                    <a:pt x="708" y="0"/>
                  </a:lnTo>
                  <a:lnTo>
                    <a:pt x="738" y="6"/>
                  </a:lnTo>
                  <a:lnTo>
                    <a:pt x="756" y="6"/>
                  </a:lnTo>
                  <a:lnTo>
                    <a:pt x="762" y="42"/>
                  </a:lnTo>
                  <a:lnTo>
                    <a:pt x="738" y="72"/>
                  </a:lnTo>
                  <a:lnTo>
                    <a:pt x="750" y="90"/>
                  </a:lnTo>
                  <a:lnTo>
                    <a:pt x="762" y="96"/>
                  </a:lnTo>
                  <a:lnTo>
                    <a:pt x="756" y="102"/>
                  </a:lnTo>
                  <a:lnTo>
                    <a:pt x="750" y="108"/>
                  </a:lnTo>
                  <a:lnTo>
                    <a:pt x="750" y="114"/>
                  </a:lnTo>
                  <a:lnTo>
                    <a:pt x="750" y="120"/>
                  </a:lnTo>
                  <a:lnTo>
                    <a:pt x="750" y="126"/>
                  </a:lnTo>
                  <a:lnTo>
                    <a:pt x="750" y="132"/>
                  </a:lnTo>
                  <a:lnTo>
                    <a:pt x="738" y="132"/>
                  </a:lnTo>
                  <a:lnTo>
                    <a:pt x="732" y="138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14" y="144"/>
                  </a:lnTo>
                  <a:lnTo>
                    <a:pt x="714" y="150"/>
                  </a:lnTo>
                  <a:lnTo>
                    <a:pt x="720" y="156"/>
                  </a:lnTo>
                  <a:lnTo>
                    <a:pt x="720" y="162"/>
                  </a:lnTo>
                  <a:lnTo>
                    <a:pt x="714" y="162"/>
                  </a:lnTo>
                  <a:lnTo>
                    <a:pt x="708" y="168"/>
                  </a:lnTo>
                  <a:lnTo>
                    <a:pt x="708" y="180"/>
                  </a:lnTo>
                  <a:lnTo>
                    <a:pt x="708" y="192"/>
                  </a:lnTo>
                  <a:lnTo>
                    <a:pt x="696" y="198"/>
                  </a:lnTo>
                  <a:lnTo>
                    <a:pt x="696" y="204"/>
                  </a:lnTo>
                  <a:lnTo>
                    <a:pt x="684" y="210"/>
                  </a:lnTo>
                  <a:lnTo>
                    <a:pt x="684" y="216"/>
                  </a:lnTo>
                  <a:lnTo>
                    <a:pt x="684" y="222"/>
                  </a:lnTo>
                  <a:lnTo>
                    <a:pt x="678" y="228"/>
                  </a:lnTo>
                  <a:lnTo>
                    <a:pt x="678" y="234"/>
                  </a:lnTo>
                  <a:lnTo>
                    <a:pt x="672" y="240"/>
                  </a:lnTo>
                  <a:lnTo>
                    <a:pt x="672" y="252"/>
                  </a:lnTo>
                  <a:lnTo>
                    <a:pt x="672" y="258"/>
                  </a:lnTo>
                  <a:lnTo>
                    <a:pt x="666" y="264"/>
                  </a:lnTo>
                  <a:lnTo>
                    <a:pt x="678" y="264"/>
                  </a:lnTo>
                  <a:lnTo>
                    <a:pt x="684" y="276"/>
                  </a:lnTo>
                  <a:lnTo>
                    <a:pt x="684" y="288"/>
                  </a:lnTo>
                  <a:lnTo>
                    <a:pt x="672" y="300"/>
                  </a:lnTo>
                  <a:lnTo>
                    <a:pt x="660" y="318"/>
                  </a:lnTo>
                  <a:lnTo>
                    <a:pt x="660" y="336"/>
                  </a:lnTo>
                  <a:lnTo>
                    <a:pt x="654" y="342"/>
                  </a:lnTo>
                  <a:lnTo>
                    <a:pt x="660" y="354"/>
                  </a:lnTo>
                  <a:lnTo>
                    <a:pt x="660" y="366"/>
                  </a:lnTo>
                  <a:lnTo>
                    <a:pt x="666" y="378"/>
                  </a:lnTo>
                  <a:lnTo>
                    <a:pt x="672" y="390"/>
                  </a:lnTo>
                  <a:lnTo>
                    <a:pt x="678" y="396"/>
                  </a:lnTo>
                  <a:lnTo>
                    <a:pt x="684" y="390"/>
                  </a:lnTo>
                  <a:lnTo>
                    <a:pt x="690" y="390"/>
                  </a:lnTo>
                  <a:lnTo>
                    <a:pt x="690" y="396"/>
                  </a:lnTo>
                  <a:lnTo>
                    <a:pt x="684" y="396"/>
                  </a:lnTo>
                  <a:lnTo>
                    <a:pt x="684" y="402"/>
                  </a:lnTo>
                  <a:lnTo>
                    <a:pt x="684" y="408"/>
                  </a:lnTo>
                  <a:lnTo>
                    <a:pt x="678" y="414"/>
                  </a:lnTo>
                  <a:lnTo>
                    <a:pt x="684" y="414"/>
                  </a:lnTo>
                  <a:lnTo>
                    <a:pt x="684" y="420"/>
                  </a:lnTo>
                  <a:lnTo>
                    <a:pt x="684" y="426"/>
                  </a:lnTo>
                  <a:lnTo>
                    <a:pt x="690" y="420"/>
                  </a:lnTo>
                  <a:lnTo>
                    <a:pt x="696" y="420"/>
                  </a:lnTo>
                  <a:lnTo>
                    <a:pt x="696" y="426"/>
                  </a:lnTo>
                  <a:lnTo>
                    <a:pt x="690" y="426"/>
                  </a:lnTo>
                  <a:lnTo>
                    <a:pt x="696" y="426"/>
                  </a:lnTo>
                  <a:lnTo>
                    <a:pt x="708" y="426"/>
                  </a:lnTo>
                  <a:lnTo>
                    <a:pt x="726" y="414"/>
                  </a:lnTo>
                  <a:lnTo>
                    <a:pt x="732" y="408"/>
                  </a:lnTo>
                  <a:lnTo>
                    <a:pt x="744" y="402"/>
                  </a:lnTo>
                  <a:lnTo>
                    <a:pt x="756" y="402"/>
                  </a:lnTo>
                  <a:lnTo>
                    <a:pt x="768" y="402"/>
                  </a:lnTo>
                  <a:lnTo>
                    <a:pt x="786" y="408"/>
                  </a:lnTo>
                  <a:lnTo>
                    <a:pt x="786" y="414"/>
                  </a:lnTo>
                  <a:lnTo>
                    <a:pt x="774" y="420"/>
                  </a:lnTo>
                  <a:lnTo>
                    <a:pt x="774" y="426"/>
                  </a:lnTo>
                  <a:lnTo>
                    <a:pt x="768" y="432"/>
                  </a:lnTo>
                  <a:lnTo>
                    <a:pt x="762" y="438"/>
                  </a:lnTo>
                  <a:lnTo>
                    <a:pt x="756" y="438"/>
                  </a:lnTo>
                  <a:lnTo>
                    <a:pt x="756" y="444"/>
                  </a:lnTo>
                  <a:lnTo>
                    <a:pt x="756" y="450"/>
                  </a:lnTo>
                  <a:lnTo>
                    <a:pt x="762" y="450"/>
                  </a:lnTo>
                  <a:lnTo>
                    <a:pt x="750" y="456"/>
                  </a:lnTo>
                  <a:lnTo>
                    <a:pt x="738" y="468"/>
                  </a:lnTo>
                  <a:lnTo>
                    <a:pt x="726" y="480"/>
                  </a:lnTo>
                  <a:lnTo>
                    <a:pt x="726" y="486"/>
                  </a:lnTo>
                  <a:lnTo>
                    <a:pt x="732" y="486"/>
                  </a:lnTo>
                  <a:lnTo>
                    <a:pt x="732" y="492"/>
                  </a:lnTo>
                  <a:lnTo>
                    <a:pt x="732" y="504"/>
                  </a:lnTo>
                  <a:lnTo>
                    <a:pt x="738" y="504"/>
                  </a:lnTo>
                  <a:lnTo>
                    <a:pt x="744" y="510"/>
                  </a:lnTo>
                  <a:lnTo>
                    <a:pt x="738" y="522"/>
                  </a:lnTo>
                  <a:lnTo>
                    <a:pt x="744" y="528"/>
                  </a:lnTo>
                  <a:lnTo>
                    <a:pt x="756" y="534"/>
                  </a:lnTo>
                  <a:lnTo>
                    <a:pt x="756" y="540"/>
                  </a:lnTo>
                  <a:lnTo>
                    <a:pt x="744" y="552"/>
                  </a:lnTo>
                  <a:lnTo>
                    <a:pt x="738" y="552"/>
                  </a:lnTo>
                  <a:lnTo>
                    <a:pt x="738" y="558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64"/>
                  </a:lnTo>
                  <a:lnTo>
                    <a:pt x="744" y="576"/>
                  </a:lnTo>
                  <a:lnTo>
                    <a:pt x="738" y="588"/>
                  </a:lnTo>
                  <a:lnTo>
                    <a:pt x="738" y="594"/>
                  </a:lnTo>
                  <a:lnTo>
                    <a:pt x="738" y="600"/>
                  </a:lnTo>
                  <a:lnTo>
                    <a:pt x="738" y="606"/>
                  </a:lnTo>
                  <a:lnTo>
                    <a:pt x="732" y="612"/>
                  </a:lnTo>
                  <a:lnTo>
                    <a:pt x="726" y="624"/>
                  </a:lnTo>
                  <a:lnTo>
                    <a:pt x="726" y="636"/>
                  </a:lnTo>
                  <a:lnTo>
                    <a:pt x="726" y="648"/>
                  </a:lnTo>
                  <a:lnTo>
                    <a:pt x="738" y="654"/>
                  </a:lnTo>
                  <a:lnTo>
                    <a:pt x="750" y="660"/>
                  </a:lnTo>
                  <a:lnTo>
                    <a:pt x="750" y="666"/>
                  </a:lnTo>
                  <a:lnTo>
                    <a:pt x="750" y="678"/>
                  </a:lnTo>
                  <a:lnTo>
                    <a:pt x="744" y="678"/>
                  </a:lnTo>
                  <a:lnTo>
                    <a:pt x="738" y="684"/>
                  </a:lnTo>
                  <a:lnTo>
                    <a:pt x="732" y="684"/>
                  </a:lnTo>
                  <a:lnTo>
                    <a:pt x="720" y="678"/>
                  </a:lnTo>
                  <a:lnTo>
                    <a:pt x="714" y="684"/>
                  </a:lnTo>
                  <a:lnTo>
                    <a:pt x="708" y="684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0" y="690"/>
                  </a:lnTo>
                  <a:lnTo>
                    <a:pt x="690" y="684"/>
                  </a:lnTo>
                  <a:lnTo>
                    <a:pt x="690" y="690"/>
                  </a:lnTo>
                  <a:lnTo>
                    <a:pt x="684" y="690"/>
                  </a:lnTo>
                  <a:lnTo>
                    <a:pt x="684" y="684"/>
                  </a:lnTo>
                  <a:lnTo>
                    <a:pt x="678" y="684"/>
                  </a:lnTo>
                  <a:lnTo>
                    <a:pt x="672" y="678"/>
                  </a:lnTo>
                  <a:lnTo>
                    <a:pt x="672" y="672"/>
                  </a:lnTo>
                  <a:lnTo>
                    <a:pt x="678" y="672"/>
                  </a:lnTo>
                  <a:lnTo>
                    <a:pt x="672" y="672"/>
                  </a:lnTo>
                  <a:lnTo>
                    <a:pt x="666" y="672"/>
                  </a:lnTo>
                  <a:lnTo>
                    <a:pt x="660" y="672"/>
                  </a:lnTo>
                  <a:lnTo>
                    <a:pt x="654" y="672"/>
                  </a:lnTo>
                  <a:lnTo>
                    <a:pt x="654" y="666"/>
                  </a:lnTo>
                  <a:lnTo>
                    <a:pt x="648" y="666"/>
                  </a:lnTo>
                  <a:lnTo>
                    <a:pt x="642" y="660"/>
                  </a:lnTo>
                  <a:lnTo>
                    <a:pt x="642" y="654"/>
                  </a:lnTo>
                  <a:lnTo>
                    <a:pt x="642" y="648"/>
                  </a:lnTo>
                  <a:lnTo>
                    <a:pt x="636" y="648"/>
                  </a:lnTo>
                  <a:lnTo>
                    <a:pt x="630" y="648"/>
                  </a:lnTo>
                  <a:lnTo>
                    <a:pt x="624" y="648"/>
                  </a:lnTo>
                  <a:lnTo>
                    <a:pt x="624" y="642"/>
                  </a:lnTo>
                  <a:lnTo>
                    <a:pt x="618" y="636"/>
                  </a:lnTo>
                  <a:lnTo>
                    <a:pt x="624" y="636"/>
                  </a:lnTo>
                  <a:lnTo>
                    <a:pt x="624" y="630"/>
                  </a:lnTo>
                  <a:lnTo>
                    <a:pt x="618" y="630"/>
                  </a:lnTo>
                  <a:lnTo>
                    <a:pt x="618" y="624"/>
                  </a:lnTo>
                  <a:lnTo>
                    <a:pt x="618" y="618"/>
                  </a:lnTo>
                  <a:lnTo>
                    <a:pt x="618" y="612"/>
                  </a:lnTo>
                  <a:lnTo>
                    <a:pt x="618" y="606"/>
                  </a:lnTo>
                  <a:lnTo>
                    <a:pt x="624" y="606"/>
                  </a:lnTo>
                  <a:lnTo>
                    <a:pt x="624" y="600"/>
                  </a:lnTo>
                  <a:lnTo>
                    <a:pt x="618" y="600"/>
                  </a:lnTo>
                  <a:lnTo>
                    <a:pt x="618" y="594"/>
                  </a:lnTo>
                  <a:lnTo>
                    <a:pt x="618" y="588"/>
                  </a:lnTo>
                  <a:lnTo>
                    <a:pt x="618" y="582"/>
                  </a:lnTo>
                  <a:lnTo>
                    <a:pt x="612" y="582"/>
                  </a:lnTo>
                  <a:lnTo>
                    <a:pt x="606" y="582"/>
                  </a:lnTo>
                  <a:lnTo>
                    <a:pt x="612" y="582"/>
                  </a:lnTo>
                  <a:lnTo>
                    <a:pt x="612" y="588"/>
                  </a:lnTo>
                  <a:lnTo>
                    <a:pt x="612" y="594"/>
                  </a:lnTo>
                  <a:lnTo>
                    <a:pt x="618" y="594"/>
                  </a:lnTo>
                  <a:lnTo>
                    <a:pt x="618" y="600"/>
                  </a:lnTo>
                  <a:lnTo>
                    <a:pt x="618" y="606"/>
                  </a:lnTo>
                  <a:lnTo>
                    <a:pt x="618" y="612"/>
                  </a:lnTo>
                  <a:lnTo>
                    <a:pt x="612" y="612"/>
                  </a:lnTo>
                  <a:lnTo>
                    <a:pt x="612" y="618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94" y="612"/>
                  </a:lnTo>
                  <a:lnTo>
                    <a:pt x="588" y="606"/>
                  </a:lnTo>
                  <a:lnTo>
                    <a:pt x="588" y="612"/>
                  </a:lnTo>
                  <a:lnTo>
                    <a:pt x="594" y="612"/>
                  </a:lnTo>
                  <a:lnTo>
                    <a:pt x="594" y="618"/>
                  </a:lnTo>
                  <a:lnTo>
                    <a:pt x="588" y="618"/>
                  </a:lnTo>
                  <a:lnTo>
                    <a:pt x="588" y="624"/>
                  </a:lnTo>
                  <a:lnTo>
                    <a:pt x="582" y="624"/>
                  </a:lnTo>
                  <a:lnTo>
                    <a:pt x="582" y="630"/>
                  </a:lnTo>
                  <a:lnTo>
                    <a:pt x="576" y="630"/>
                  </a:lnTo>
                  <a:lnTo>
                    <a:pt x="576" y="636"/>
                  </a:lnTo>
                  <a:lnTo>
                    <a:pt x="570" y="636"/>
                  </a:lnTo>
                  <a:lnTo>
                    <a:pt x="570" y="642"/>
                  </a:lnTo>
                  <a:lnTo>
                    <a:pt x="564" y="642"/>
                  </a:lnTo>
                  <a:lnTo>
                    <a:pt x="564" y="636"/>
                  </a:lnTo>
                  <a:lnTo>
                    <a:pt x="564" y="630"/>
                  </a:lnTo>
                  <a:lnTo>
                    <a:pt x="564" y="624"/>
                  </a:lnTo>
                  <a:lnTo>
                    <a:pt x="564" y="618"/>
                  </a:lnTo>
                  <a:lnTo>
                    <a:pt x="570" y="612"/>
                  </a:lnTo>
                  <a:lnTo>
                    <a:pt x="564" y="606"/>
                  </a:lnTo>
                  <a:lnTo>
                    <a:pt x="564" y="600"/>
                  </a:lnTo>
                  <a:lnTo>
                    <a:pt x="564" y="594"/>
                  </a:lnTo>
                  <a:lnTo>
                    <a:pt x="558" y="594"/>
                  </a:lnTo>
                  <a:lnTo>
                    <a:pt x="558" y="588"/>
                  </a:lnTo>
                  <a:lnTo>
                    <a:pt x="552" y="582"/>
                  </a:lnTo>
                  <a:lnTo>
                    <a:pt x="552" y="576"/>
                  </a:lnTo>
                  <a:lnTo>
                    <a:pt x="552" y="570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6" y="582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58" y="588"/>
                  </a:lnTo>
                  <a:lnTo>
                    <a:pt x="558" y="594"/>
                  </a:lnTo>
                  <a:lnTo>
                    <a:pt x="558" y="600"/>
                  </a:lnTo>
                  <a:lnTo>
                    <a:pt x="558" y="606"/>
                  </a:lnTo>
                  <a:lnTo>
                    <a:pt x="552" y="612"/>
                  </a:lnTo>
                  <a:lnTo>
                    <a:pt x="558" y="612"/>
                  </a:lnTo>
                  <a:lnTo>
                    <a:pt x="558" y="618"/>
                  </a:lnTo>
                  <a:lnTo>
                    <a:pt x="558" y="624"/>
                  </a:lnTo>
                  <a:lnTo>
                    <a:pt x="558" y="630"/>
                  </a:lnTo>
                  <a:lnTo>
                    <a:pt x="552" y="630"/>
                  </a:lnTo>
                  <a:lnTo>
                    <a:pt x="552" y="624"/>
                  </a:lnTo>
                  <a:lnTo>
                    <a:pt x="546" y="624"/>
                  </a:lnTo>
                  <a:lnTo>
                    <a:pt x="546" y="618"/>
                  </a:lnTo>
                  <a:lnTo>
                    <a:pt x="546" y="612"/>
                  </a:lnTo>
                  <a:lnTo>
                    <a:pt x="540" y="612"/>
                  </a:lnTo>
                  <a:lnTo>
                    <a:pt x="534" y="612"/>
                  </a:lnTo>
                  <a:lnTo>
                    <a:pt x="528" y="612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28" y="618"/>
                  </a:lnTo>
                  <a:lnTo>
                    <a:pt x="534" y="618"/>
                  </a:lnTo>
                  <a:lnTo>
                    <a:pt x="540" y="618"/>
                  </a:lnTo>
                  <a:lnTo>
                    <a:pt x="540" y="624"/>
                  </a:lnTo>
                  <a:lnTo>
                    <a:pt x="546" y="624"/>
                  </a:lnTo>
                  <a:lnTo>
                    <a:pt x="546" y="630"/>
                  </a:lnTo>
                  <a:lnTo>
                    <a:pt x="552" y="630"/>
                  </a:lnTo>
                  <a:lnTo>
                    <a:pt x="552" y="636"/>
                  </a:lnTo>
                  <a:lnTo>
                    <a:pt x="546" y="642"/>
                  </a:lnTo>
                  <a:lnTo>
                    <a:pt x="546" y="648"/>
                  </a:lnTo>
                  <a:lnTo>
                    <a:pt x="540" y="648"/>
                  </a:lnTo>
                  <a:lnTo>
                    <a:pt x="540" y="654"/>
                  </a:lnTo>
                  <a:lnTo>
                    <a:pt x="540" y="660"/>
                  </a:lnTo>
                  <a:lnTo>
                    <a:pt x="534" y="666"/>
                  </a:lnTo>
                  <a:lnTo>
                    <a:pt x="534" y="672"/>
                  </a:lnTo>
                  <a:lnTo>
                    <a:pt x="534" y="678"/>
                  </a:lnTo>
                  <a:lnTo>
                    <a:pt x="534" y="684"/>
                  </a:lnTo>
                  <a:lnTo>
                    <a:pt x="534" y="678"/>
                  </a:lnTo>
                  <a:lnTo>
                    <a:pt x="528" y="678"/>
                  </a:lnTo>
                  <a:lnTo>
                    <a:pt x="528" y="684"/>
                  </a:lnTo>
                  <a:lnTo>
                    <a:pt x="522" y="690"/>
                  </a:lnTo>
                  <a:lnTo>
                    <a:pt x="528" y="690"/>
                  </a:lnTo>
                  <a:lnTo>
                    <a:pt x="528" y="684"/>
                  </a:lnTo>
                  <a:lnTo>
                    <a:pt x="534" y="684"/>
                  </a:lnTo>
                  <a:lnTo>
                    <a:pt x="534" y="690"/>
                  </a:lnTo>
                  <a:lnTo>
                    <a:pt x="534" y="696"/>
                  </a:lnTo>
                  <a:lnTo>
                    <a:pt x="540" y="696"/>
                  </a:lnTo>
                  <a:lnTo>
                    <a:pt x="540" y="702"/>
                  </a:lnTo>
                  <a:lnTo>
                    <a:pt x="540" y="708"/>
                  </a:lnTo>
                  <a:lnTo>
                    <a:pt x="534" y="708"/>
                  </a:lnTo>
                  <a:lnTo>
                    <a:pt x="528" y="708"/>
                  </a:lnTo>
                  <a:lnTo>
                    <a:pt x="522" y="708"/>
                  </a:lnTo>
                  <a:lnTo>
                    <a:pt x="516" y="708"/>
                  </a:lnTo>
                  <a:lnTo>
                    <a:pt x="510" y="708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2" y="708"/>
                  </a:lnTo>
                  <a:lnTo>
                    <a:pt x="486" y="714"/>
                  </a:lnTo>
                  <a:lnTo>
                    <a:pt x="480" y="708"/>
                  </a:lnTo>
                  <a:lnTo>
                    <a:pt x="474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68" y="714"/>
                  </a:lnTo>
                  <a:lnTo>
                    <a:pt x="456" y="714"/>
                  </a:lnTo>
                  <a:lnTo>
                    <a:pt x="450" y="714"/>
                  </a:lnTo>
                  <a:lnTo>
                    <a:pt x="450" y="708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50" y="690"/>
                  </a:lnTo>
                  <a:lnTo>
                    <a:pt x="450" y="684"/>
                  </a:lnTo>
                  <a:lnTo>
                    <a:pt x="450" y="678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56" y="660"/>
                  </a:lnTo>
                  <a:lnTo>
                    <a:pt x="462" y="660"/>
                  </a:lnTo>
                  <a:lnTo>
                    <a:pt x="462" y="654"/>
                  </a:lnTo>
                  <a:lnTo>
                    <a:pt x="456" y="654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48"/>
                  </a:lnTo>
                  <a:lnTo>
                    <a:pt x="444" y="648"/>
                  </a:lnTo>
                  <a:lnTo>
                    <a:pt x="444" y="642"/>
                  </a:lnTo>
                  <a:lnTo>
                    <a:pt x="444" y="636"/>
                  </a:lnTo>
                  <a:lnTo>
                    <a:pt x="450" y="636"/>
                  </a:lnTo>
                  <a:lnTo>
                    <a:pt x="450" y="630"/>
                  </a:lnTo>
                  <a:lnTo>
                    <a:pt x="456" y="630"/>
                  </a:lnTo>
                  <a:lnTo>
                    <a:pt x="462" y="630"/>
                  </a:lnTo>
                  <a:lnTo>
                    <a:pt x="462" y="624"/>
                  </a:lnTo>
                  <a:lnTo>
                    <a:pt x="468" y="624"/>
                  </a:lnTo>
                  <a:lnTo>
                    <a:pt x="474" y="624"/>
                  </a:lnTo>
                  <a:lnTo>
                    <a:pt x="474" y="618"/>
                  </a:lnTo>
                  <a:lnTo>
                    <a:pt x="480" y="618"/>
                  </a:lnTo>
                  <a:lnTo>
                    <a:pt x="486" y="618"/>
                  </a:lnTo>
                  <a:lnTo>
                    <a:pt x="486" y="624"/>
                  </a:lnTo>
                  <a:lnTo>
                    <a:pt x="486" y="636"/>
                  </a:lnTo>
                  <a:lnTo>
                    <a:pt x="486" y="642"/>
                  </a:lnTo>
                  <a:lnTo>
                    <a:pt x="486" y="648"/>
                  </a:lnTo>
                  <a:lnTo>
                    <a:pt x="492" y="648"/>
                  </a:lnTo>
                  <a:lnTo>
                    <a:pt x="492" y="642"/>
                  </a:lnTo>
                  <a:lnTo>
                    <a:pt x="498" y="636"/>
                  </a:lnTo>
                  <a:lnTo>
                    <a:pt x="492" y="636"/>
                  </a:lnTo>
                  <a:lnTo>
                    <a:pt x="492" y="630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6" y="618"/>
                  </a:lnTo>
                  <a:lnTo>
                    <a:pt x="486" y="612"/>
                  </a:lnTo>
                  <a:lnTo>
                    <a:pt x="486" y="606"/>
                  </a:lnTo>
                  <a:lnTo>
                    <a:pt x="480" y="606"/>
                  </a:lnTo>
                  <a:lnTo>
                    <a:pt x="480" y="612"/>
                  </a:lnTo>
                  <a:lnTo>
                    <a:pt x="474" y="618"/>
                  </a:lnTo>
                  <a:lnTo>
                    <a:pt x="468" y="618"/>
                  </a:lnTo>
                  <a:lnTo>
                    <a:pt x="462" y="618"/>
                  </a:lnTo>
                  <a:lnTo>
                    <a:pt x="462" y="612"/>
                  </a:lnTo>
                  <a:lnTo>
                    <a:pt x="456" y="612"/>
                  </a:lnTo>
                  <a:lnTo>
                    <a:pt x="456" y="618"/>
                  </a:lnTo>
                  <a:lnTo>
                    <a:pt x="462" y="618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30"/>
                  </a:lnTo>
                  <a:lnTo>
                    <a:pt x="444" y="630"/>
                  </a:lnTo>
                  <a:lnTo>
                    <a:pt x="444" y="636"/>
                  </a:lnTo>
                  <a:lnTo>
                    <a:pt x="444" y="642"/>
                  </a:lnTo>
                  <a:lnTo>
                    <a:pt x="444" y="654"/>
                  </a:lnTo>
                  <a:lnTo>
                    <a:pt x="444" y="660"/>
                  </a:lnTo>
                  <a:lnTo>
                    <a:pt x="438" y="660"/>
                  </a:lnTo>
                  <a:lnTo>
                    <a:pt x="432" y="660"/>
                  </a:lnTo>
                  <a:lnTo>
                    <a:pt x="432" y="654"/>
                  </a:lnTo>
                  <a:lnTo>
                    <a:pt x="438" y="654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48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26" y="660"/>
                  </a:lnTo>
                  <a:lnTo>
                    <a:pt x="432" y="666"/>
                  </a:lnTo>
                  <a:lnTo>
                    <a:pt x="432" y="672"/>
                  </a:lnTo>
                  <a:lnTo>
                    <a:pt x="438" y="672"/>
                  </a:lnTo>
                  <a:lnTo>
                    <a:pt x="438" y="678"/>
                  </a:lnTo>
                  <a:lnTo>
                    <a:pt x="444" y="678"/>
                  </a:lnTo>
                  <a:lnTo>
                    <a:pt x="444" y="684"/>
                  </a:lnTo>
                  <a:lnTo>
                    <a:pt x="438" y="690"/>
                  </a:lnTo>
                  <a:lnTo>
                    <a:pt x="438" y="696"/>
                  </a:lnTo>
                  <a:lnTo>
                    <a:pt x="438" y="702"/>
                  </a:lnTo>
                  <a:lnTo>
                    <a:pt x="432" y="702"/>
                  </a:lnTo>
                  <a:lnTo>
                    <a:pt x="426" y="702"/>
                  </a:lnTo>
                  <a:lnTo>
                    <a:pt x="426" y="696"/>
                  </a:lnTo>
                  <a:lnTo>
                    <a:pt x="414" y="696"/>
                  </a:lnTo>
                  <a:lnTo>
                    <a:pt x="402" y="696"/>
                  </a:lnTo>
                  <a:lnTo>
                    <a:pt x="402" y="690"/>
                  </a:lnTo>
                  <a:lnTo>
                    <a:pt x="396" y="690"/>
                  </a:lnTo>
                  <a:lnTo>
                    <a:pt x="390" y="690"/>
                  </a:lnTo>
                  <a:lnTo>
                    <a:pt x="384" y="690"/>
                  </a:lnTo>
                  <a:lnTo>
                    <a:pt x="384" y="684"/>
                  </a:lnTo>
                  <a:lnTo>
                    <a:pt x="384" y="678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390" y="660"/>
                  </a:lnTo>
                  <a:lnTo>
                    <a:pt x="390" y="654"/>
                  </a:lnTo>
                  <a:lnTo>
                    <a:pt x="384" y="648"/>
                  </a:lnTo>
                  <a:lnTo>
                    <a:pt x="384" y="642"/>
                  </a:lnTo>
                  <a:lnTo>
                    <a:pt x="378" y="636"/>
                  </a:lnTo>
                  <a:lnTo>
                    <a:pt x="378" y="642"/>
                  </a:lnTo>
                  <a:lnTo>
                    <a:pt x="378" y="648"/>
                  </a:lnTo>
                  <a:lnTo>
                    <a:pt x="372" y="648"/>
                  </a:lnTo>
                  <a:lnTo>
                    <a:pt x="378" y="654"/>
                  </a:lnTo>
                  <a:lnTo>
                    <a:pt x="378" y="660"/>
                  </a:lnTo>
                  <a:lnTo>
                    <a:pt x="378" y="666"/>
                  </a:lnTo>
                  <a:lnTo>
                    <a:pt x="372" y="672"/>
                  </a:lnTo>
                  <a:lnTo>
                    <a:pt x="378" y="672"/>
                  </a:lnTo>
                  <a:lnTo>
                    <a:pt x="378" y="678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54" y="666"/>
                  </a:lnTo>
                  <a:lnTo>
                    <a:pt x="354" y="660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0" y="654"/>
                  </a:lnTo>
                  <a:lnTo>
                    <a:pt x="324" y="648"/>
                  </a:lnTo>
                  <a:lnTo>
                    <a:pt x="318" y="648"/>
                  </a:lnTo>
                  <a:lnTo>
                    <a:pt x="318" y="642"/>
                  </a:lnTo>
                  <a:lnTo>
                    <a:pt x="312" y="642"/>
                  </a:lnTo>
                  <a:lnTo>
                    <a:pt x="306" y="636"/>
                  </a:lnTo>
                  <a:lnTo>
                    <a:pt x="300" y="636"/>
                  </a:lnTo>
                  <a:lnTo>
                    <a:pt x="300" y="630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0" y="618"/>
                  </a:lnTo>
                  <a:lnTo>
                    <a:pt x="306" y="612"/>
                  </a:lnTo>
                  <a:lnTo>
                    <a:pt x="300" y="612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294" y="612"/>
                  </a:lnTo>
                  <a:lnTo>
                    <a:pt x="288" y="618"/>
                  </a:lnTo>
                  <a:lnTo>
                    <a:pt x="288" y="612"/>
                  </a:lnTo>
                  <a:lnTo>
                    <a:pt x="288" y="618"/>
                  </a:lnTo>
                  <a:lnTo>
                    <a:pt x="294" y="618"/>
                  </a:lnTo>
                  <a:lnTo>
                    <a:pt x="300" y="624"/>
                  </a:lnTo>
                  <a:lnTo>
                    <a:pt x="294" y="624"/>
                  </a:lnTo>
                  <a:lnTo>
                    <a:pt x="288" y="624"/>
                  </a:lnTo>
                  <a:lnTo>
                    <a:pt x="282" y="61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70" y="600"/>
                  </a:lnTo>
                  <a:lnTo>
                    <a:pt x="270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82" y="588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594"/>
                  </a:lnTo>
                  <a:lnTo>
                    <a:pt x="264" y="600"/>
                  </a:lnTo>
                  <a:lnTo>
                    <a:pt x="264" y="594"/>
                  </a:lnTo>
                  <a:lnTo>
                    <a:pt x="270" y="594"/>
                  </a:lnTo>
                  <a:lnTo>
                    <a:pt x="270" y="588"/>
                  </a:lnTo>
                  <a:lnTo>
                    <a:pt x="264" y="594"/>
                  </a:lnTo>
                  <a:lnTo>
                    <a:pt x="258" y="594"/>
                  </a:lnTo>
                  <a:lnTo>
                    <a:pt x="258" y="588"/>
                  </a:lnTo>
                  <a:lnTo>
                    <a:pt x="252" y="588"/>
                  </a:lnTo>
                  <a:lnTo>
                    <a:pt x="246" y="588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52" y="588"/>
                  </a:lnTo>
                  <a:lnTo>
                    <a:pt x="252" y="594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46" y="594"/>
                  </a:lnTo>
                  <a:lnTo>
                    <a:pt x="246" y="588"/>
                  </a:lnTo>
                  <a:lnTo>
                    <a:pt x="240" y="588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2" y="570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64"/>
                  </a:lnTo>
                  <a:lnTo>
                    <a:pt x="234" y="564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34" y="558"/>
                  </a:lnTo>
                  <a:lnTo>
                    <a:pt x="228" y="558"/>
                  </a:lnTo>
                  <a:lnTo>
                    <a:pt x="222" y="558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2" y="564"/>
                  </a:lnTo>
                  <a:lnTo>
                    <a:pt x="222" y="558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04" y="546"/>
                  </a:lnTo>
                  <a:lnTo>
                    <a:pt x="204" y="540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10" y="540"/>
                  </a:lnTo>
                  <a:lnTo>
                    <a:pt x="210" y="534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8"/>
                  </a:lnTo>
                  <a:lnTo>
                    <a:pt x="174" y="516"/>
                  </a:lnTo>
                  <a:lnTo>
                    <a:pt x="168" y="510"/>
                  </a:lnTo>
                  <a:lnTo>
                    <a:pt x="162" y="504"/>
                  </a:lnTo>
                  <a:lnTo>
                    <a:pt x="156" y="498"/>
                  </a:lnTo>
                  <a:lnTo>
                    <a:pt x="156" y="492"/>
                  </a:lnTo>
                  <a:lnTo>
                    <a:pt x="150" y="486"/>
                  </a:lnTo>
                  <a:lnTo>
                    <a:pt x="144" y="480"/>
                  </a:lnTo>
                  <a:lnTo>
                    <a:pt x="144" y="474"/>
                  </a:lnTo>
                  <a:lnTo>
                    <a:pt x="138" y="474"/>
                  </a:lnTo>
                  <a:lnTo>
                    <a:pt x="138" y="468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26" y="450"/>
                  </a:lnTo>
                  <a:lnTo>
                    <a:pt x="126" y="444"/>
                  </a:lnTo>
                  <a:lnTo>
                    <a:pt x="114" y="438"/>
                  </a:lnTo>
                  <a:lnTo>
                    <a:pt x="114" y="432"/>
                  </a:lnTo>
                  <a:lnTo>
                    <a:pt x="114" y="426"/>
                  </a:lnTo>
                  <a:lnTo>
                    <a:pt x="114" y="432"/>
                  </a:lnTo>
                  <a:lnTo>
                    <a:pt x="120" y="432"/>
                  </a:lnTo>
                  <a:lnTo>
                    <a:pt x="120" y="438"/>
                  </a:lnTo>
                  <a:lnTo>
                    <a:pt x="120" y="444"/>
                  </a:lnTo>
                  <a:lnTo>
                    <a:pt x="126" y="444"/>
                  </a:lnTo>
                  <a:lnTo>
                    <a:pt x="126" y="438"/>
                  </a:lnTo>
                  <a:lnTo>
                    <a:pt x="120" y="438"/>
                  </a:lnTo>
                  <a:lnTo>
                    <a:pt x="126" y="432"/>
                  </a:lnTo>
                  <a:lnTo>
                    <a:pt x="126" y="426"/>
                  </a:lnTo>
                  <a:lnTo>
                    <a:pt x="132" y="420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08" y="414"/>
                  </a:lnTo>
                  <a:lnTo>
                    <a:pt x="102" y="414"/>
                  </a:lnTo>
                  <a:lnTo>
                    <a:pt x="102" y="408"/>
                  </a:lnTo>
                  <a:lnTo>
                    <a:pt x="96" y="402"/>
                  </a:lnTo>
                  <a:lnTo>
                    <a:pt x="96" y="396"/>
                  </a:lnTo>
                  <a:lnTo>
                    <a:pt x="96" y="390"/>
                  </a:lnTo>
                  <a:lnTo>
                    <a:pt x="90" y="390"/>
                  </a:lnTo>
                  <a:lnTo>
                    <a:pt x="90" y="384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78" y="372"/>
                  </a:lnTo>
                  <a:lnTo>
                    <a:pt x="78" y="366"/>
                  </a:lnTo>
                  <a:lnTo>
                    <a:pt x="78" y="360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6" y="348"/>
                  </a:lnTo>
                  <a:lnTo>
                    <a:pt x="66" y="342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6" y="336"/>
                  </a:lnTo>
                  <a:lnTo>
                    <a:pt x="66" y="342"/>
                  </a:lnTo>
                  <a:lnTo>
                    <a:pt x="72" y="348"/>
                  </a:lnTo>
                  <a:lnTo>
                    <a:pt x="78" y="354"/>
                  </a:lnTo>
                  <a:lnTo>
                    <a:pt x="84" y="360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0" y="360"/>
                  </a:lnTo>
                  <a:lnTo>
                    <a:pt x="84" y="360"/>
                  </a:lnTo>
                  <a:lnTo>
                    <a:pt x="84" y="354"/>
                  </a:lnTo>
                  <a:lnTo>
                    <a:pt x="78" y="348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66" y="330"/>
                  </a:lnTo>
                  <a:lnTo>
                    <a:pt x="66" y="324"/>
                  </a:lnTo>
                  <a:lnTo>
                    <a:pt x="60" y="318"/>
                  </a:lnTo>
                  <a:lnTo>
                    <a:pt x="60" y="312"/>
                  </a:lnTo>
                  <a:lnTo>
                    <a:pt x="54" y="306"/>
                  </a:lnTo>
                  <a:lnTo>
                    <a:pt x="54" y="300"/>
                  </a:lnTo>
                  <a:lnTo>
                    <a:pt x="54" y="294"/>
                  </a:lnTo>
                  <a:lnTo>
                    <a:pt x="48" y="288"/>
                  </a:lnTo>
                  <a:lnTo>
                    <a:pt x="48" y="294"/>
                  </a:lnTo>
                  <a:lnTo>
                    <a:pt x="48" y="288"/>
                  </a:lnTo>
                  <a:lnTo>
                    <a:pt x="48" y="282"/>
                  </a:lnTo>
                  <a:lnTo>
                    <a:pt x="48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18" y="216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62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68"/>
                  </a:lnTo>
                  <a:lnTo>
                    <a:pt x="42" y="168"/>
                  </a:lnTo>
                  <a:lnTo>
                    <a:pt x="42" y="174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86"/>
                  </a:lnTo>
                  <a:close/>
                  <a:moveTo>
                    <a:pt x="642" y="660"/>
                  </a:moveTo>
                  <a:lnTo>
                    <a:pt x="642" y="666"/>
                  </a:lnTo>
                  <a:lnTo>
                    <a:pt x="648" y="666"/>
                  </a:lnTo>
                  <a:lnTo>
                    <a:pt x="648" y="672"/>
                  </a:lnTo>
                  <a:lnTo>
                    <a:pt x="648" y="678"/>
                  </a:lnTo>
                  <a:lnTo>
                    <a:pt x="654" y="678"/>
                  </a:lnTo>
                  <a:lnTo>
                    <a:pt x="654" y="684"/>
                  </a:lnTo>
                  <a:lnTo>
                    <a:pt x="660" y="684"/>
                  </a:lnTo>
                  <a:lnTo>
                    <a:pt x="660" y="690"/>
                  </a:lnTo>
                  <a:lnTo>
                    <a:pt x="654" y="690"/>
                  </a:lnTo>
                  <a:lnTo>
                    <a:pt x="648" y="690"/>
                  </a:lnTo>
                  <a:lnTo>
                    <a:pt x="636" y="696"/>
                  </a:lnTo>
                  <a:lnTo>
                    <a:pt x="630" y="696"/>
                  </a:lnTo>
                  <a:lnTo>
                    <a:pt x="624" y="696"/>
                  </a:lnTo>
                  <a:lnTo>
                    <a:pt x="618" y="696"/>
                  </a:lnTo>
                  <a:lnTo>
                    <a:pt x="612" y="696"/>
                  </a:lnTo>
                  <a:lnTo>
                    <a:pt x="594" y="696"/>
                  </a:lnTo>
                  <a:lnTo>
                    <a:pt x="588" y="696"/>
                  </a:lnTo>
                  <a:lnTo>
                    <a:pt x="582" y="696"/>
                  </a:lnTo>
                  <a:lnTo>
                    <a:pt x="570" y="702"/>
                  </a:lnTo>
                  <a:lnTo>
                    <a:pt x="564" y="702"/>
                  </a:lnTo>
                  <a:lnTo>
                    <a:pt x="558" y="702"/>
                  </a:lnTo>
                  <a:lnTo>
                    <a:pt x="552" y="702"/>
                  </a:lnTo>
                  <a:lnTo>
                    <a:pt x="552" y="696"/>
                  </a:lnTo>
                  <a:lnTo>
                    <a:pt x="546" y="696"/>
                  </a:lnTo>
                  <a:lnTo>
                    <a:pt x="546" y="690"/>
                  </a:lnTo>
                  <a:lnTo>
                    <a:pt x="552" y="684"/>
                  </a:lnTo>
                  <a:lnTo>
                    <a:pt x="552" y="678"/>
                  </a:lnTo>
                  <a:lnTo>
                    <a:pt x="558" y="672"/>
                  </a:lnTo>
                  <a:lnTo>
                    <a:pt x="558" y="666"/>
                  </a:lnTo>
                  <a:lnTo>
                    <a:pt x="564" y="666"/>
                  </a:lnTo>
                  <a:lnTo>
                    <a:pt x="570" y="666"/>
                  </a:lnTo>
                  <a:lnTo>
                    <a:pt x="570" y="654"/>
                  </a:lnTo>
                  <a:lnTo>
                    <a:pt x="570" y="648"/>
                  </a:lnTo>
                  <a:lnTo>
                    <a:pt x="582" y="642"/>
                  </a:lnTo>
                  <a:lnTo>
                    <a:pt x="582" y="636"/>
                  </a:lnTo>
                  <a:lnTo>
                    <a:pt x="588" y="636"/>
                  </a:lnTo>
                  <a:lnTo>
                    <a:pt x="588" y="630"/>
                  </a:lnTo>
                  <a:lnTo>
                    <a:pt x="594" y="624"/>
                  </a:lnTo>
                  <a:lnTo>
                    <a:pt x="594" y="618"/>
                  </a:lnTo>
                  <a:lnTo>
                    <a:pt x="600" y="618"/>
                  </a:lnTo>
                  <a:lnTo>
                    <a:pt x="600" y="612"/>
                  </a:lnTo>
                  <a:lnTo>
                    <a:pt x="606" y="612"/>
                  </a:lnTo>
                  <a:lnTo>
                    <a:pt x="606" y="618"/>
                  </a:lnTo>
                  <a:lnTo>
                    <a:pt x="612" y="618"/>
                  </a:lnTo>
                  <a:lnTo>
                    <a:pt x="618" y="618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18" y="636"/>
                  </a:lnTo>
                  <a:lnTo>
                    <a:pt x="618" y="642"/>
                  </a:lnTo>
                  <a:lnTo>
                    <a:pt x="618" y="648"/>
                  </a:lnTo>
                  <a:lnTo>
                    <a:pt x="624" y="648"/>
                  </a:lnTo>
                  <a:lnTo>
                    <a:pt x="630" y="648"/>
                  </a:lnTo>
                  <a:lnTo>
                    <a:pt x="636" y="654"/>
                  </a:lnTo>
                  <a:lnTo>
                    <a:pt x="642" y="654"/>
                  </a:lnTo>
                  <a:lnTo>
                    <a:pt x="642" y="66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0" name="Freeform 5">
              <a:extLst>
                <a:ext uri="{FF2B5EF4-FFF2-40B4-BE49-F238E27FC236}">
                  <a16:creationId xmlns:a16="http://schemas.microsoft.com/office/drawing/2014/main" id="{5577BDCA-F2C7-42E0-A391-018D79AA29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0384" y="4231013"/>
              <a:ext cx="404750" cy="480848"/>
            </a:xfrm>
            <a:custGeom>
              <a:avLst/>
              <a:gdLst>
                <a:gd name="T0" fmla="*/ 9 w 762"/>
                <a:gd name="T1" fmla="*/ 58 h 900"/>
                <a:gd name="T2" fmla="*/ 4 w 762"/>
                <a:gd name="T3" fmla="*/ 56 h 900"/>
                <a:gd name="T4" fmla="*/ 0 w 762"/>
                <a:gd name="T5" fmla="*/ 49 h 900"/>
                <a:gd name="T6" fmla="*/ 4 w 762"/>
                <a:gd name="T7" fmla="*/ 36 h 900"/>
                <a:gd name="T8" fmla="*/ 8 w 762"/>
                <a:gd name="T9" fmla="*/ 28 h 900"/>
                <a:gd name="T10" fmla="*/ 7 w 762"/>
                <a:gd name="T11" fmla="*/ 13 h 900"/>
                <a:gd name="T12" fmla="*/ 15 w 762"/>
                <a:gd name="T13" fmla="*/ 0 h 900"/>
                <a:gd name="T14" fmla="*/ 16 w 762"/>
                <a:gd name="T15" fmla="*/ 13 h 900"/>
                <a:gd name="T16" fmla="*/ 31 w 762"/>
                <a:gd name="T17" fmla="*/ 28 h 900"/>
                <a:gd name="T18" fmla="*/ 49 w 762"/>
                <a:gd name="T19" fmla="*/ 33 h 900"/>
                <a:gd name="T20" fmla="*/ 42 w 762"/>
                <a:gd name="T21" fmla="*/ 48 h 900"/>
                <a:gd name="T22" fmla="*/ 51 w 762"/>
                <a:gd name="T23" fmla="*/ 48 h 900"/>
                <a:gd name="T24" fmla="*/ 61 w 762"/>
                <a:gd name="T25" fmla="*/ 51 h 900"/>
                <a:gd name="T26" fmla="*/ 63 w 762"/>
                <a:gd name="T27" fmla="*/ 60 h 900"/>
                <a:gd name="T28" fmla="*/ 63 w 762"/>
                <a:gd name="T29" fmla="*/ 66 h 900"/>
                <a:gd name="T30" fmla="*/ 65 w 762"/>
                <a:gd name="T31" fmla="*/ 69 h 900"/>
                <a:gd name="T32" fmla="*/ 66 w 762"/>
                <a:gd name="T33" fmla="*/ 72 h 900"/>
                <a:gd name="T34" fmla="*/ 56 w 762"/>
                <a:gd name="T35" fmla="*/ 73 h 900"/>
                <a:gd name="T36" fmla="*/ 55 w 762"/>
                <a:gd name="T37" fmla="*/ 69 h 900"/>
                <a:gd name="T38" fmla="*/ 57 w 762"/>
                <a:gd name="T39" fmla="*/ 67 h 900"/>
                <a:gd name="T40" fmla="*/ 55 w 762"/>
                <a:gd name="T41" fmla="*/ 65 h 900"/>
                <a:gd name="T42" fmla="*/ 53 w 762"/>
                <a:gd name="T43" fmla="*/ 68 h 900"/>
                <a:gd name="T44" fmla="*/ 49 w 762"/>
                <a:gd name="T45" fmla="*/ 68 h 900"/>
                <a:gd name="T46" fmla="*/ 44 w 762"/>
                <a:gd name="T47" fmla="*/ 63 h 900"/>
                <a:gd name="T48" fmla="*/ 40 w 762"/>
                <a:gd name="T49" fmla="*/ 59 h 900"/>
                <a:gd name="T50" fmla="*/ 38 w 762"/>
                <a:gd name="T51" fmla="*/ 57 h 900"/>
                <a:gd name="T52" fmla="*/ 43 w 762"/>
                <a:gd name="T53" fmla="*/ 62 h 900"/>
                <a:gd name="T54" fmla="*/ 43 w 762"/>
                <a:gd name="T55" fmla="*/ 66 h 900"/>
                <a:gd name="T56" fmla="*/ 41 w 762"/>
                <a:gd name="T57" fmla="*/ 71 h 900"/>
                <a:gd name="T58" fmla="*/ 37 w 762"/>
                <a:gd name="T59" fmla="*/ 69 h 900"/>
                <a:gd name="T60" fmla="*/ 35 w 762"/>
                <a:gd name="T61" fmla="*/ 64 h 900"/>
                <a:gd name="T62" fmla="*/ 31 w 762"/>
                <a:gd name="T63" fmla="*/ 57 h 900"/>
                <a:gd name="T64" fmla="*/ 30 w 762"/>
                <a:gd name="T65" fmla="*/ 62 h 900"/>
                <a:gd name="T66" fmla="*/ 29 w 762"/>
                <a:gd name="T67" fmla="*/ 61 h 900"/>
                <a:gd name="T68" fmla="*/ 31 w 762"/>
                <a:gd name="T69" fmla="*/ 66 h 900"/>
                <a:gd name="T70" fmla="*/ 33 w 762"/>
                <a:gd name="T71" fmla="*/ 72 h 900"/>
                <a:gd name="T72" fmla="*/ 32 w 762"/>
                <a:gd name="T73" fmla="*/ 76 h 900"/>
                <a:gd name="T74" fmla="*/ 28 w 762"/>
                <a:gd name="T75" fmla="*/ 75 h 900"/>
                <a:gd name="T76" fmla="*/ 24 w 762"/>
                <a:gd name="T77" fmla="*/ 69 h 900"/>
                <a:gd name="T78" fmla="*/ 24 w 762"/>
                <a:gd name="T79" fmla="*/ 62 h 900"/>
                <a:gd name="T80" fmla="*/ 23 w 762"/>
                <a:gd name="T81" fmla="*/ 62 h 900"/>
                <a:gd name="T82" fmla="*/ 23 w 762"/>
                <a:gd name="T83" fmla="*/ 68 h 900"/>
                <a:gd name="T84" fmla="*/ 25 w 762"/>
                <a:gd name="T85" fmla="*/ 77 h 900"/>
                <a:gd name="T86" fmla="*/ 17 w 762"/>
                <a:gd name="T87" fmla="*/ 74 h 900"/>
                <a:gd name="T88" fmla="*/ 17 w 762"/>
                <a:gd name="T89" fmla="*/ 67 h 900"/>
                <a:gd name="T90" fmla="*/ 16 w 762"/>
                <a:gd name="T91" fmla="*/ 67 h 900"/>
                <a:gd name="T92" fmla="*/ 15 w 762"/>
                <a:gd name="T93" fmla="*/ 71 h 900"/>
                <a:gd name="T94" fmla="*/ 12 w 762"/>
                <a:gd name="T95" fmla="*/ 68 h 900"/>
                <a:gd name="T96" fmla="*/ 15 w 762"/>
                <a:gd name="T97" fmla="*/ 72 h 900"/>
                <a:gd name="T98" fmla="*/ 17 w 762"/>
                <a:gd name="T99" fmla="*/ 77 h 900"/>
                <a:gd name="T100" fmla="*/ 11 w 762"/>
                <a:gd name="T101" fmla="*/ 77 h 900"/>
                <a:gd name="T102" fmla="*/ 10 w 762"/>
                <a:gd name="T103" fmla="*/ 69 h 900"/>
                <a:gd name="T104" fmla="*/ 11 w 762"/>
                <a:gd name="T105" fmla="*/ 72 h 900"/>
                <a:gd name="T106" fmla="*/ 9 w 762"/>
                <a:gd name="T107" fmla="*/ 78 h 900"/>
                <a:gd name="T108" fmla="*/ 43 w 762"/>
                <a:gd name="T109" fmla="*/ 71 h 900"/>
                <a:gd name="T110" fmla="*/ 51 w 762"/>
                <a:gd name="T111" fmla="*/ 69 h 900"/>
                <a:gd name="T112" fmla="*/ 43 w 762"/>
                <a:gd name="T113" fmla="*/ 76 h 900"/>
                <a:gd name="T114" fmla="*/ 36 w 762"/>
                <a:gd name="T115" fmla="*/ 65 h 900"/>
                <a:gd name="T116" fmla="*/ 38 w 762"/>
                <a:gd name="T117" fmla="*/ 72 h 900"/>
                <a:gd name="T118" fmla="*/ 34 w 762"/>
                <a:gd name="T119" fmla="*/ 69 h 900"/>
                <a:gd name="T120" fmla="*/ 29 w 762"/>
                <a:gd name="T121" fmla="*/ 64 h 900"/>
                <a:gd name="T122" fmla="*/ 32 w 762"/>
                <a:gd name="T123" fmla="*/ 66 h 9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900"/>
                <a:gd name="T188" fmla="*/ 762 w 762"/>
                <a:gd name="T189" fmla="*/ 900 h 90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900">
                  <a:moveTo>
                    <a:pt x="90" y="768"/>
                  </a:moveTo>
                  <a:lnTo>
                    <a:pt x="102" y="756"/>
                  </a:lnTo>
                  <a:lnTo>
                    <a:pt x="102" y="750"/>
                  </a:lnTo>
                  <a:lnTo>
                    <a:pt x="90" y="744"/>
                  </a:lnTo>
                  <a:lnTo>
                    <a:pt x="84" y="738"/>
                  </a:lnTo>
                  <a:lnTo>
                    <a:pt x="90" y="726"/>
                  </a:lnTo>
                  <a:lnTo>
                    <a:pt x="84" y="720"/>
                  </a:lnTo>
                  <a:lnTo>
                    <a:pt x="78" y="720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72" y="702"/>
                  </a:lnTo>
                  <a:lnTo>
                    <a:pt x="72" y="696"/>
                  </a:lnTo>
                  <a:lnTo>
                    <a:pt x="84" y="684"/>
                  </a:lnTo>
                  <a:lnTo>
                    <a:pt x="96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102" y="654"/>
                  </a:lnTo>
                  <a:lnTo>
                    <a:pt x="108" y="654"/>
                  </a:lnTo>
                  <a:lnTo>
                    <a:pt x="114" y="648"/>
                  </a:lnTo>
                  <a:lnTo>
                    <a:pt x="120" y="642"/>
                  </a:lnTo>
                  <a:lnTo>
                    <a:pt x="120" y="636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14" y="618"/>
                  </a:lnTo>
                  <a:lnTo>
                    <a:pt x="102" y="618"/>
                  </a:lnTo>
                  <a:lnTo>
                    <a:pt x="90" y="618"/>
                  </a:lnTo>
                  <a:lnTo>
                    <a:pt x="78" y="624"/>
                  </a:lnTo>
                  <a:lnTo>
                    <a:pt x="72" y="630"/>
                  </a:lnTo>
                  <a:lnTo>
                    <a:pt x="54" y="642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42" y="642"/>
                  </a:lnTo>
                  <a:lnTo>
                    <a:pt x="42" y="636"/>
                  </a:lnTo>
                  <a:lnTo>
                    <a:pt x="36" y="636"/>
                  </a:lnTo>
                  <a:lnTo>
                    <a:pt x="30" y="642"/>
                  </a:lnTo>
                  <a:lnTo>
                    <a:pt x="30" y="636"/>
                  </a:lnTo>
                  <a:lnTo>
                    <a:pt x="30" y="630"/>
                  </a:lnTo>
                  <a:lnTo>
                    <a:pt x="24" y="630"/>
                  </a:lnTo>
                  <a:lnTo>
                    <a:pt x="30" y="624"/>
                  </a:lnTo>
                  <a:lnTo>
                    <a:pt x="30" y="618"/>
                  </a:lnTo>
                  <a:lnTo>
                    <a:pt x="30" y="612"/>
                  </a:lnTo>
                  <a:lnTo>
                    <a:pt x="36" y="612"/>
                  </a:lnTo>
                  <a:lnTo>
                    <a:pt x="36" y="606"/>
                  </a:lnTo>
                  <a:lnTo>
                    <a:pt x="30" y="606"/>
                  </a:lnTo>
                  <a:lnTo>
                    <a:pt x="24" y="612"/>
                  </a:lnTo>
                  <a:lnTo>
                    <a:pt x="18" y="606"/>
                  </a:lnTo>
                  <a:lnTo>
                    <a:pt x="12" y="594"/>
                  </a:lnTo>
                  <a:lnTo>
                    <a:pt x="6" y="582"/>
                  </a:lnTo>
                  <a:lnTo>
                    <a:pt x="6" y="570"/>
                  </a:lnTo>
                  <a:lnTo>
                    <a:pt x="0" y="558"/>
                  </a:lnTo>
                  <a:lnTo>
                    <a:pt x="6" y="552"/>
                  </a:lnTo>
                  <a:lnTo>
                    <a:pt x="6" y="534"/>
                  </a:lnTo>
                  <a:lnTo>
                    <a:pt x="18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12" y="480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54" y="408"/>
                  </a:lnTo>
                  <a:lnTo>
                    <a:pt x="54" y="396"/>
                  </a:lnTo>
                  <a:lnTo>
                    <a:pt x="54" y="384"/>
                  </a:lnTo>
                  <a:lnTo>
                    <a:pt x="60" y="378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66"/>
                  </a:lnTo>
                  <a:lnTo>
                    <a:pt x="60" y="360"/>
                  </a:lnTo>
                  <a:lnTo>
                    <a:pt x="66" y="360"/>
                  </a:lnTo>
                  <a:lnTo>
                    <a:pt x="72" y="354"/>
                  </a:lnTo>
                  <a:lnTo>
                    <a:pt x="78" y="354"/>
                  </a:lnTo>
                  <a:lnTo>
                    <a:pt x="84" y="348"/>
                  </a:lnTo>
                  <a:lnTo>
                    <a:pt x="96" y="348"/>
                  </a:lnTo>
                  <a:lnTo>
                    <a:pt x="96" y="342"/>
                  </a:lnTo>
                  <a:lnTo>
                    <a:pt x="96" y="336"/>
                  </a:lnTo>
                  <a:lnTo>
                    <a:pt x="96" y="330"/>
                  </a:lnTo>
                  <a:lnTo>
                    <a:pt x="96" y="324"/>
                  </a:lnTo>
                  <a:lnTo>
                    <a:pt x="102" y="318"/>
                  </a:lnTo>
                  <a:lnTo>
                    <a:pt x="108" y="312"/>
                  </a:lnTo>
                  <a:lnTo>
                    <a:pt x="96" y="306"/>
                  </a:lnTo>
                  <a:lnTo>
                    <a:pt x="84" y="288"/>
                  </a:lnTo>
                  <a:lnTo>
                    <a:pt x="108" y="258"/>
                  </a:lnTo>
                  <a:lnTo>
                    <a:pt x="102" y="222"/>
                  </a:lnTo>
                  <a:lnTo>
                    <a:pt x="84" y="222"/>
                  </a:lnTo>
                  <a:lnTo>
                    <a:pt x="54" y="216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2"/>
                  </a:lnTo>
                  <a:lnTo>
                    <a:pt x="72" y="192"/>
                  </a:lnTo>
                  <a:lnTo>
                    <a:pt x="84" y="186"/>
                  </a:lnTo>
                  <a:lnTo>
                    <a:pt x="90" y="186"/>
                  </a:lnTo>
                  <a:lnTo>
                    <a:pt x="90" y="174"/>
                  </a:lnTo>
                  <a:lnTo>
                    <a:pt x="84" y="162"/>
                  </a:lnTo>
                  <a:lnTo>
                    <a:pt x="84" y="150"/>
                  </a:lnTo>
                  <a:lnTo>
                    <a:pt x="84" y="126"/>
                  </a:lnTo>
                  <a:lnTo>
                    <a:pt x="84" y="114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8" y="96"/>
                  </a:lnTo>
                  <a:lnTo>
                    <a:pt x="120" y="90"/>
                  </a:lnTo>
                  <a:lnTo>
                    <a:pt x="126" y="78"/>
                  </a:lnTo>
                  <a:lnTo>
                    <a:pt x="138" y="66"/>
                  </a:lnTo>
                  <a:lnTo>
                    <a:pt x="138" y="48"/>
                  </a:lnTo>
                  <a:lnTo>
                    <a:pt x="138" y="42"/>
                  </a:lnTo>
                  <a:lnTo>
                    <a:pt x="126" y="30"/>
                  </a:lnTo>
                  <a:lnTo>
                    <a:pt x="120" y="18"/>
                  </a:lnTo>
                  <a:lnTo>
                    <a:pt x="132" y="12"/>
                  </a:lnTo>
                  <a:lnTo>
                    <a:pt x="144" y="0"/>
                  </a:lnTo>
                  <a:lnTo>
                    <a:pt x="150" y="6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6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74" y="66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68" y="72"/>
                  </a:lnTo>
                  <a:lnTo>
                    <a:pt x="156" y="150"/>
                  </a:lnTo>
                  <a:lnTo>
                    <a:pt x="168" y="144"/>
                  </a:lnTo>
                  <a:lnTo>
                    <a:pt x="180" y="150"/>
                  </a:lnTo>
                  <a:lnTo>
                    <a:pt x="186" y="150"/>
                  </a:lnTo>
                  <a:lnTo>
                    <a:pt x="186" y="144"/>
                  </a:lnTo>
                  <a:lnTo>
                    <a:pt x="192" y="150"/>
                  </a:lnTo>
                  <a:lnTo>
                    <a:pt x="222" y="150"/>
                  </a:lnTo>
                  <a:lnTo>
                    <a:pt x="222" y="168"/>
                  </a:lnTo>
                  <a:lnTo>
                    <a:pt x="222" y="186"/>
                  </a:lnTo>
                  <a:lnTo>
                    <a:pt x="234" y="198"/>
                  </a:lnTo>
                  <a:lnTo>
                    <a:pt x="234" y="234"/>
                  </a:lnTo>
                  <a:lnTo>
                    <a:pt x="228" y="270"/>
                  </a:lnTo>
                  <a:lnTo>
                    <a:pt x="246" y="282"/>
                  </a:lnTo>
                  <a:lnTo>
                    <a:pt x="258" y="294"/>
                  </a:lnTo>
                  <a:lnTo>
                    <a:pt x="270" y="300"/>
                  </a:lnTo>
                  <a:lnTo>
                    <a:pt x="294" y="300"/>
                  </a:lnTo>
                  <a:lnTo>
                    <a:pt x="288" y="306"/>
                  </a:lnTo>
                  <a:lnTo>
                    <a:pt x="300" y="312"/>
                  </a:lnTo>
                  <a:lnTo>
                    <a:pt x="306" y="318"/>
                  </a:lnTo>
                  <a:lnTo>
                    <a:pt x="324" y="324"/>
                  </a:lnTo>
                  <a:lnTo>
                    <a:pt x="354" y="318"/>
                  </a:lnTo>
                  <a:lnTo>
                    <a:pt x="354" y="312"/>
                  </a:lnTo>
                  <a:lnTo>
                    <a:pt x="366" y="312"/>
                  </a:lnTo>
                  <a:lnTo>
                    <a:pt x="384" y="312"/>
                  </a:lnTo>
                  <a:lnTo>
                    <a:pt x="390" y="306"/>
                  </a:lnTo>
                  <a:lnTo>
                    <a:pt x="396" y="306"/>
                  </a:lnTo>
                  <a:lnTo>
                    <a:pt x="408" y="306"/>
                  </a:lnTo>
                  <a:lnTo>
                    <a:pt x="426" y="312"/>
                  </a:lnTo>
                  <a:lnTo>
                    <a:pt x="456" y="324"/>
                  </a:lnTo>
                  <a:lnTo>
                    <a:pt x="504" y="330"/>
                  </a:lnTo>
                  <a:lnTo>
                    <a:pt x="510" y="336"/>
                  </a:lnTo>
                  <a:lnTo>
                    <a:pt x="534" y="336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58" y="330"/>
                  </a:lnTo>
                  <a:lnTo>
                    <a:pt x="564" y="330"/>
                  </a:lnTo>
                  <a:lnTo>
                    <a:pt x="570" y="354"/>
                  </a:lnTo>
                  <a:lnTo>
                    <a:pt x="564" y="378"/>
                  </a:lnTo>
                  <a:lnTo>
                    <a:pt x="558" y="396"/>
                  </a:lnTo>
                  <a:lnTo>
                    <a:pt x="546" y="414"/>
                  </a:lnTo>
                  <a:lnTo>
                    <a:pt x="546" y="438"/>
                  </a:lnTo>
                  <a:lnTo>
                    <a:pt x="540" y="456"/>
                  </a:lnTo>
                  <a:lnTo>
                    <a:pt x="540" y="474"/>
                  </a:lnTo>
                  <a:lnTo>
                    <a:pt x="528" y="480"/>
                  </a:lnTo>
                  <a:lnTo>
                    <a:pt x="522" y="492"/>
                  </a:lnTo>
                  <a:lnTo>
                    <a:pt x="504" y="498"/>
                  </a:lnTo>
                  <a:lnTo>
                    <a:pt x="498" y="498"/>
                  </a:lnTo>
                  <a:lnTo>
                    <a:pt x="492" y="504"/>
                  </a:lnTo>
                  <a:lnTo>
                    <a:pt x="486" y="510"/>
                  </a:lnTo>
                  <a:lnTo>
                    <a:pt x="480" y="510"/>
                  </a:lnTo>
                  <a:lnTo>
                    <a:pt x="480" y="516"/>
                  </a:lnTo>
                  <a:lnTo>
                    <a:pt x="474" y="522"/>
                  </a:lnTo>
                  <a:lnTo>
                    <a:pt x="474" y="528"/>
                  </a:lnTo>
                  <a:lnTo>
                    <a:pt x="474" y="534"/>
                  </a:lnTo>
                  <a:lnTo>
                    <a:pt x="480" y="540"/>
                  </a:lnTo>
                  <a:lnTo>
                    <a:pt x="492" y="540"/>
                  </a:lnTo>
                  <a:lnTo>
                    <a:pt x="498" y="546"/>
                  </a:lnTo>
                  <a:lnTo>
                    <a:pt x="504" y="552"/>
                  </a:lnTo>
                  <a:lnTo>
                    <a:pt x="510" y="552"/>
                  </a:lnTo>
                  <a:lnTo>
                    <a:pt x="516" y="558"/>
                  </a:lnTo>
                  <a:lnTo>
                    <a:pt x="528" y="558"/>
                  </a:lnTo>
                  <a:lnTo>
                    <a:pt x="534" y="552"/>
                  </a:lnTo>
                  <a:lnTo>
                    <a:pt x="540" y="552"/>
                  </a:lnTo>
                  <a:lnTo>
                    <a:pt x="546" y="552"/>
                  </a:lnTo>
                  <a:lnTo>
                    <a:pt x="558" y="546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70" y="546"/>
                  </a:lnTo>
                  <a:lnTo>
                    <a:pt x="570" y="540"/>
                  </a:lnTo>
                  <a:lnTo>
                    <a:pt x="570" y="546"/>
                  </a:lnTo>
                  <a:lnTo>
                    <a:pt x="576" y="546"/>
                  </a:lnTo>
                  <a:lnTo>
                    <a:pt x="582" y="546"/>
                  </a:lnTo>
                  <a:lnTo>
                    <a:pt x="588" y="540"/>
                  </a:lnTo>
                  <a:lnTo>
                    <a:pt x="594" y="546"/>
                  </a:lnTo>
                  <a:lnTo>
                    <a:pt x="606" y="546"/>
                  </a:lnTo>
                  <a:lnTo>
                    <a:pt x="612" y="546"/>
                  </a:lnTo>
                  <a:lnTo>
                    <a:pt x="612" y="552"/>
                  </a:lnTo>
                  <a:lnTo>
                    <a:pt x="618" y="552"/>
                  </a:lnTo>
                  <a:lnTo>
                    <a:pt x="624" y="552"/>
                  </a:lnTo>
                  <a:lnTo>
                    <a:pt x="630" y="552"/>
                  </a:lnTo>
                  <a:lnTo>
                    <a:pt x="648" y="546"/>
                  </a:lnTo>
                  <a:lnTo>
                    <a:pt x="654" y="546"/>
                  </a:lnTo>
                  <a:lnTo>
                    <a:pt x="654" y="552"/>
                  </a:lnTo>
                  <a:lnTo>
                    <a:pt x="660" y="558"/>
                  </a:lnTo>
                  <a:lnTo>
                    <a:pt x="666" y="564"/>
                  </a:lnTo>
                  <a:lnTo>
                    <a:pt x="672" y="564"/>
                  </a:lnTo>
                  <a:lnTo>
                    <a:pt x="678" y="564"/>
                  </a:lnTo>
                  <a:lnTo>
                    <a:pt x="696" y="576"/>
                  </a:lnTo>
                  <a:lnTo>
                    <a:pt x="696" y="582"/>
                  </a:lnTo>
                  <a:lnTo>
                    <a:pt x="708" y="588"/>
                  </a:lnTo>
                  <a:lnTo>
                    <a:pt x="708" y="594"/>
                  </a:lnTo>
                  <a:lnTo>
                    <a:pt x="720" y="606"/>
                  </a:lnTo>
                  <a:lnTo>
                    <a:pt x="720" y="618"/>
                  </a:lnTo>
                  <a:lnTo>
                    <a:pt x="720" y="624"/>
                  </a:lnTo>
                  <a:lnTo>
                    <a:pt x="726" y="630"/>
                  </a:lnTo>
                  <a:lnTo>
                    <a:pt x="732" y="636"/>
                  </a:lnTo>
                  <a:lnTo>
                    <a:pt x="732" y="642"/>
                  </a:lnTo>
                  <a:lnTo>
                    <a:pt x="732" y="648"/>
                  </a:lnTo>
                  <a:lnTo>
                    <a:pt x="726" y="654"/>
                  </a:lnTo>
                  <a:lnTo>
                    <a:pt x="720" y="660"/>
                  </a:lnTo>
                  <a:lnTo>
                    <a:pt x="714" y="666"/>
                  </a:lnTo>
                  <a:lnTo>
                    <a:pt x="714" y="672"/>
                  </a:lnTo>
                  <a:lnTo>
                    <a:pt x="714" y="678"/>
                  </a:lnTo>
                  <a:lnTo>
                    <a:pt x="720" y="678"/>
                  </a:lnTo>
                  <a:lnTo>
                    <a:pt x="720" y="684"/>
                  </a:lnTo>
                  <a:lnTo>
                    <a:pt x="714" y="690"/>
                  </a:lnTo>
                  <a:lnTo>
                    <a:pt x="714" y="696"/>
                  </a:lnTo>
                  <a:lnTo>
                    <a:pt x="714" y="702"/>
                  </a:lnTo>
                  <a:lnTo>
                    <a:pt x="714" y="708"/>
                  </a:lnTo>
                  <a:lnTo>
                    <a:pt x="720" y="708"/>
                  </a:lnTo>
                  <a:lnTo>
                    <a:pt x="720" y="720"/>
                  </a:lnTo>
                  <a:lnTo>
                    <a:pt x="720" y="726"/>
                  </a:lnTo>
                  <a:lnTo>
                    <a:pt x="726" y="726"/>
                  </a:lnTo>
                  <a:lnTo>
                    <a:pt x="726" y="732"/>
                  </a:lnTo>
                  <a:lnTo>
                    <a:pt x="732" y="732"/>
                  </a:lnTo>
                  <a:lnTo>
                    <a:pt x="732" y="738"/>
                  </a:lnTo>
                  <a:lnTo>
                    <a:pt x="726" y="738"/>
                  </a:lnTo>
                  <a:lnTo>
                    <a:pt x="720" y="738"/>
                  </a:lnTo>
                  <a:lnTo>
                    <a:pt x="720" y="744"/>
                  </a:lnTo>
                  <a:lnTo>
                    <a:pt x="720" y="750"/>
                  </a:lnTo>
                  <a:lnTo>
                    <a:pt x="714" y="750"/>
                  </a:lnTo>
                  <a:lnTo>
                    <a:pt x="714" y="756"/>
                  </a:lnTo>
                  <a:lnTo>
                    <a:pt x="720" y="756"/>
                  </a:lnTo>
                  <a:lnTo>
                    <a:pt x="714" y="762"/>
                  </a:lnTo>
                  <a:lnTo>
                    <a:pt x="720" y="762"/>
                  </a:lnTo>
                  <a:lnTo>
                    <a:pt x="726" y="768"/>
                  </a:lnTo>
                  <a:lnTo>
                    <a:pt x="726" y="774"/>
                  </a:lnTo>
                  <a:lnTo>
                    <a:pt x="732" y="774"/>
                  </a:lnTo>
                  <a:lnTo>
                    <a:pt x="732" y="780"/>
                  </a:lnTo>
                  <a:lnTo>
                    <a:pt x="726" y="780"/>
                  </a:lnTo>
                  <a:lnTo>
                    <a:pt x="726" y="786"/>
                  </a:lnTo>
                  <a:lnTo>
                    <a:pt x="720" y="786"/>
                  </a:lnTo>
                  <a:lnTo>
                    <a:pt x="726" y="786"/>
                  </a:lnTo>
                  <a:lnTo>
                    <a:pt x="732" y="780"/>
                  </a:lnTo>
                  <a:lnTo>
                    <a:pt x="738" y="780"/>
                  </a:lnTo>
                  <a:lnTo>
                    <a:pt x="744" y="780"/>
                  </a:lnTo>
                  <a:lnTo>
                    <a:pt x="744" y="786"/>
                  </a:lnTo>
                  <a:lnTo>
                    <a:pt x="750" y="786"/>
                  </a:lnTo>
                  <a:lnTo>
                    <a:pt x="744" y="786"/>
                  </a:lnTo>
                  <a:lnTo>
                    <a:pt x="744" y="792"/>
                  </a:lnTo>
                  <a:lnTo>
                    <a:pt x="744" y="786"/>
                  </a:lnTo>
                  <a:lnTo>
                    <a:pt x="738" y="792"/>
                  </a:lnTo>
                  <a:lnTo>
                    <a:pt x="744" y="792"/>
                  </a:lnTo>
                  <a:lnTo>
                    <a:pt x="750" y="792"/>
                  </a:lnTo>
                  <a:lnTo>
                    <a:pt x="750" y="786"/>
                  </a:lnTo>
                  <a:lnTo>
                    <a:pt x="756" y="786"/>
                  </a:lnTo>
                  <a:lnTo>
                    <a:pt x="756" y="792"/>
                  </a:lnTo>
                  <a:lnTo>
                    <a:pt x="762" y="792"/>
                  </a:lnTo>
                  <a:lnTo>
                    <a:pt x="756" y="798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0" y="810"/>
                  </a:lnTo>
                  <a:lnTo>
                    <a:pt x="756" y="810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6" y="816"/>
                  </a:lnTo>
                  <a:lnTo>
                    <a:pt x="750" y="816"/>
                  </a:lnTo>
                  <a:lnTo>
                    <a:pt x="738" y="810"/>
                  </a:lnTo>
                  <a:lnTo>
                    <a:pt x="732" y="810"/>
                  </a:lnTo>
                  <a:lnTo>
                    <a:pt x="732" y="816"/>
                  </a:lnTo>
                  <a:lnTo>
                    <a:pt x="726" y="810"/>
                  </a:lnTo>
                  <a:lnTo>
                    <a:pt x="714" y="816"/>
                  </a:lnTo>
                  <a:lnTo>
                    <a:pt x="708" y="816"/>
                  </a:lnTo>
                  <a:lnTo>
                    <a:pt x="702" y="816"/>
                  </a:lnTo>
                  <a:lnTo>
                    <a:pt x="696" y="816"/>
                  </a:lnTo>
                  <a:lnTo>
                    <a:pt x="690" y="822"/>
                  </a:lnTo>
                  <a:lnTo>
                    <a:pt x="684" y="822"/>
                  </a:lnTo>
                  <a:lnTo>
                    <a:pt x="678" y="822"/>
                  </a:lnTo>
                  <a:lnTo>
                    <a:pt x="672" y="822"/>
                  </a:lnTo>
                  <a:lnTo>
                    <a:pt x="666" y="822"/>
                  </a:lnTo>
                  <a:lnTo>
                    <a:pt x="666" y="828"/>
                  </a:lnTo>
                  <a:lnTo>
                    <a:pt x="654" y="828"/>
                  </a:lnTo>
                  <a:lnTo>
                    <a:pt x="648" y="828"/>
                  </a:lnTo>
                  <a:lnTo>
                    <a:pt x="642" y="828"/>
                  </a:lnTo>
                  <a:lnTo>
                    <a:pt x="630" y="828"/>
                  </a:lnTo>
                  <a:lnTo>
                    <a:pt x="624" y="822"/>
                  </a:lnTo>
                  <a:lnTo>
                    <a:pt x="618" y="822"/>
                  </a:lnTo>
                  <a:lnTo>
                    <a:pt x="612" y="822"/>
                  </a:lnTo>
                  <a:lnTo>
                    <a:pt x="606" y="822"/>
                  </a:lnTo>
                  <a:lnTo>
                    <a:pt x="600" y="822"/>
                  </a:lnTo>
                  <a:lnTo>
                    <a:pt x="594" y="822"/>
                  </a:lnTo>
                  <a:lnTo>
                    <a:pt x="594" y="816"/>
                  </a:lnTo>
                  <a:lnTo>
                    <a:pt x="594" y="810"/>
                  </a:lnTo>
                  <a:lnTo>
                    <a:pt x="600" y="804"/>
                  </a:lnTo>
                  <a:lnTo>
                    <a:pt x="600" y="798"/>
                  </a:lnTo>
                  <a:lnTo>
                    <a:pt x="600" y="792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2" y="786"/>
                  </a:lnTo>
                  <a:lnTo>
                    <a:pt x="618" y="786"/>
                  </a:lnTo>
                  <a:lnTo>
                    <a:pt x="624" y="786"/>
                  </a:lnTo>
                  <a:lnTo>
                    <a:pt x="624" y="780"/>
                  </a:lnTo>
                  <a:lnTo>
                    <a:pt x="630" y="780"/>
                  </a:lnTo>
                  <a:lnTo>
                    <a:pt x="630" y="774"/>
                  </a:lnTo>
                  <a:lnTo>
                    <a:pt x="636" y="774"/>
                  </a:lnTo>
                  <a:lnTo>
                    <a:pt x="642" y="780"/>
                  </a:lnTo>
                  <a:lnTo>
                    <a:pt x="642" y="786"/>
                  </a:lnTo>
                  <a:lnTo>
                    <a:pt x="642" y="792"/>
                  </a:lnTo>
                  <a:lnTo>
                    <a:pt x="648" y="792"/>
                  </a:lnTo>
                  <a:lnTo>
                    <a:pt x="648" y="786"/>
                  </a:lnTo>
                  <a:lnTo>
                    <a:pt x="642" y="786"/>
                  </a:lnTo>
                  <a:lnTo>
                    <a:pt x="642" y="780"/>
                  </a:lnTo>
                  <a:lnTo>
                    <a:pt x="642" y="774"/>
                  </a:lnTo>
                  <a:lnTo>
                    <a:pt x="648" y="768"/>
                  </a:lnTo>
                  <a:lnTo>
                    <a:pt x="642" y="768"/>
                  </a:lnTo>
                  <a:lnTo>
                    <a:pt x="648" y="768"/>
                  </a:lnTo>
                  <a:lnTo>
                    <a:pt x="648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66" y="762"/>
                  </a:lnTo>
                  <a:lnTo>
                    <a:pt x="672" y="756"/>
                  </a:lnTo>
                  <a:lnTo>
                    <a:pt x="666" y="756"/>
                  </a:lnTo>
                  <a:lnTo>
                    <a:pt x="660" y="756"/>
                  </a:lnTo>
                  <a:lnTo>
                    <a:pt x="660" y="750"/>
                  </a:lnTo>
                  <a:lnTo>
                    <a:pt x="654" y="750"/>
                  </a:lnTo>
                  <a:lnTo>
                    <a:pt x="648" y="750"/>
                  </a:lnTo>
                  <a:lnTo>
                    <a:pt x="648" y="756"/>
                  </a:lnTo>
                  <a:lnTo>
                    <a:pt x="642" y="756"/>
                  </a:lnTo>
                  <a:lnTo>
                    <a:pt x="642" y="750"/>
                  </a:lnTo>
                  <a:lnTo>
                    <a:pt x="642" y="744"/>
                  </a:lnTo>
                  <a:lnTo>
                    <a:pt x="642" y="750"/>
                  </a:lnTo>
                  <a:lnTo>
                    <a:pt x="636" y="750"/>
                  </a:lnTo>
                  <a:lnTo>
                    <a:pt x="636" y="744"/>
                  </a:lnTo>
                  <a:lnTo>
                    <a:pt x="630" y="744"/>
                  </a:lnTo>
                  <a:lnTo>
                    <a:pt x="630" y="738"/>
                  </a:lnTo>
                  <a:lnTo>
                    <a:pt x="630" y="744"/>
                  </a:lnTo>
                  <a:lnTo>
                    <a:pt x="630" y="750"/>
                  </a:lnTo>
                  <a:lnTo>
                    <a:pt x="636" y="750"/>
                  </a:lnTo>
                  <a:lnTo>
                    <a:pt x="636" y="756"/>
                  </a:lnTo>
                  <a:lnTo>
                    <a:pt x="630" y="756"/>
                  </a:lnTo>
                  <a:lnTo>
                    <a:pt x="636" y="762"/>
                  </a:lnTo>
                  <a:lnTo>
                    <a:pt x="630" y="762"/>
                  </a:lnTo>
                  <a:lnTo>
                    <a:pt x="624" y="762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24" y="786"/>
                  </a:lnTo>
                  <a:lnTo>
                    <a:pt x="618" y="786"/>
                  </a:lnTo>
                  <a:lnTo>
                    <a:pt x="618" y="78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12" y="774"/>
                  </a:lnTo>
                  <a:lnTo>
                    <a:pt x="612" y="780"/>
                  </a:lnTo>
                  <a:lnTo>
                    <a:pt x="606" y="780"/>
                  </a:lnTo>
                  <a:lnTo>
                    <a:pt x="600" y="780"/>
                  </a:lnTo>
                  <a:lnTo>
                    <a:pt x="600" y="774"/>
                  </a:lnTo>
                  <a:lnTo>
                    <a:pt x="594" y="768"/>
                  </a:lnTo>
                  <a:lnTo>
                    <a:pt x="594" y="762"/>
                  </a:lnTo>
                  <a:lnTo>
                    <a:pt x="594" y="756"/>
                  </a:lnTo>
                  <a:lnTo>
                    <a:pt x="594" y="762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594" y="780"/>
                  </a:lnTo>
                  <a:lnTo>
                    <a:pt x="588" y="780"/>
                  </a:lnTo>
                  <a:lnTo>
                    <a:pt x="582" y="780"/>
                  </a:lnTo>
                  <a:lnTo>
                    <a:pt x="576" y="780"/>
                  </a:lnTo>
                  <a:lnTo>
                    <a:pt x="570" y="780"/>
                  </a:lnTo>
                  <a:lnTo>
                    <a:pt x="564" y="780"/>
                  </a:lnTo>
                  <a:lnTo>
                    <a:pt x="564" y="786"/>
                  </a:lnTo>
                  <a:lnTo>
                    <a:pt x="558" y="786"/>
                  </a:lnTo>
                  <a:lnTo>
                    <a:pt x="552" y="786"/>
                  </a:lnTo>
                  <a:lnTo>
                    <a:pt x="552" y="780"/>
                  </a:lnTo>
                  <a:lnTo>
                    <a:pt x="552" y="774"/>
                  </a:lnTo>
                  <a:lnTo>
                    <a:pt x="552" y="768"/>
                  </a:lnTo>
                  <a:lnTo>
                    <a:pt x="546" y="768"/>
                  </a:lnTo>
                  <a:lnTo>
                    <a:pt x="540" y="762"/>
                  </a:lnTo>
                  <a:lnTo>
                    <a:pt x="540" y="756"/>
                  </a:lnTo>
                  <a:lnTo>
                    <a:pt x="534" y="756"/>
                  </a:lnTo>
                  <a:lnTo>
                    <a:pt x="534" y="750"/>
                  </a:lnTo>
                  <a:lnTo>
                    <a:pt x="534" y="744"/>
                  </a:lnTo>
                  <a:lnTo>
                    <a:pt x="528" y="738"/>
                  </a:lnTo>
                  <a:lnTo>
                    <a:pt x="522" y="738"/>
                  </a:lnTo>
                  <a:lnTo>
                    <a:pt x="522" y="732"/>
                  </a:lnTo>
                  <a:lnTo>
                    <a:pt x="510" y="726"/>
                  </a:lnTo>
                  <a:lnTo>
                    <a:pt x="510" y="720"/>
                  </a:lnTo>
                  <a:lnTo>
                    <a:pt x="504" y="720"/>
                  </a:lnTo>
                  <a:lnTo>
                    <a:pt x="504" y="714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8" y="702"/>
                  </a:lnTo>
                  <a:lnTo>
                    <a:pt x="498" y="696"/>
                  </a:lnTo>
                  <a:lnTo>
                    <a:pt x="492" y="690"/>
                  </a:lnTo>
                  <a:lnTo>
                    <a:pt x="492" y="684"/>
                  </a:lnTo>
                  <a:lnTo>
                    <a:pt x="486" y="684"/>
                  </a:lnTo>
                  <a:lnTo>
                    <a:pt x="486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74" y="678"/>
                  </a:lnTo>
                  <a:lnTo>
                    <a:pt x="468" y="678"/>
                  </a:lnTo>
                  <a:lnTo>
                    <a:pt x="462" y="678"/>
                  </a:lnTo>
                  <a:lnTo>
                    <a:pt x="462" y="672"/>
                  </a:lnTo>
                  <a:lnTo>
                    <a:pt x="456" y="672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44" y="666"/>
                  </a:lnTo>
                  <a:lnTo>
                    <a:pt x="438" y="660"/>
                  </a:lnTo>
                  <a:lnTo>
                    <a:pt x="438" y="648"/>
                  </a:lnTo>
                  <a:lnTo>
                    <a:pt x="438" y="642"/>
                  </a:lnTo>
                  <a:lnTo>
                    <a:pt x="438" y="636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36"/>
                  </a:lnTo>
                  <a:lnTo>
                    <a:pt x="420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60"/>
                  </a:lnTo>
                  <a:lnTo>
                    <a:pt x="432" y="666"/>
                  </a:lnTo>
                  <a:lnTo>
                    <a:pt x="438" y="666"/>
                  </a:lnTo>
                  <a:lnTo>
                    <a:pt x="438" y="672"/>
                  </a:lnTo>
                  <a:lnTo>
                    <a:pt x="444" y="672"/>
                  </a:lnTo>
                  <a:lnTo>
                    <a:pt x="444" y="678"/>
                  </a:lnTo>
                  <a:lnTo>
                    <a:pt x="450" y="678"/>
                  </a:lnTo>
                  <a:lnTo>
                    <a:pt x="456" y="678"/>
                  </a:lnTo>
                  <a:lnTo>
                    <a:pt x="456" y="684"/>
                  </a:lnTo>
                  <a:lnTo>
                    <a:pt x="462" y="684"/>
                  </a:lnTo>
                  <a:lnTo>
                    <a:pt x="468" y="684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80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86" y="708"/>
                  </a:lnTo>
                  <a:lnTo>
                    <a:pt x="492" y="714"/>
                  </a:lnTo>
                  <a:lnTo>
                    <a:pt x="492" y="720"/>
                  </a:lnTo>
                  <a:lnTo>
                    <a:pt x="492" y="726"/>
                  </a:lnTo>
                  <a:lnTo>
                    <a:pt x="498" y="732"/>
                  </a:lnTo>
                  <a:lnTo>
                    <a:pt x="492" y="738"/>
                  </a:lnTo>
                  <a:lnTo>
                    <a:pt x="492" y="744"/>
                  </a:lnTo>
                  <a:lnTo>
                    <a:pt x="492" y="750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68" y="738"/>
                  </a:lnTo>
                  <a:lnTo>
                    <a:pt x="468" y="744"/>
                  </a:lnTo>
                  <a:lnTo>
                    <a:pt x="474" y="750"/>
                  </a:lnTo>
                  <a:lnTo>
                    <a:pt x="480" y="756"/>
                  </a:lnTo>
                  <a:lnTo>
                    <a:pt x="486" y="756"/>
                  </a:lnTo>
                  <a:lnTo>
                    <a:pt x="492" y="762"/>
                  </a:lnTo>
                  <a:lnTo>
                    <a:pt x="498" y="768"/>
                  </a:lnTo>
                  <a:lnTo>
                    <a:pt x="492" y="774"/>
                  </a:lnTo>
                  <a:lnTo>
                    <a:pt x="492" y="780"/>
                  </a:lnTo>
                  <a:lnTo>
                    <a:pt x="498" y="780"/>
                  </a:lnTo>
                  <a:lnTo>
                    <a:pt x="492" y="786"/>
                  </a:lnTo>
                  <a:lnTo>
                    <a:pt x="492" y="792"/>
                  </a:lnTo>
                  <a:lnTo>
                    <a:pt x="492" y="79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0" y="810"/>
                  </a:lnTo>
                  <a:lnTo>
                    <a:pt x="480" y="804"/>
                  </a:lnTo>
                  <a:lnTo>
                    <a:pt x="474" y="804"/>
                  </a:lnTo>
                  <a:lnTo>
                    <a:pt x="474" y="798"/>
                  </a:lnTo>
                  <a:lnTo>
                    <a:pt x="474" y="804"/>
                  </a:lnTo>
                  <a:lnTo>
                    <a:pt x="468" y="804"/>
                  </a:lnTo>
                  <a:lnTo>
                    <a:pt x="468" y="810"/>
                  </a:lnTo>
                  <a:lnTo>
                    <a:pt x="462" y="810"/>
                  </a:lnTo>
                  <a:lnTo>
                    <a:pt x="456" y="810"/>
                  </a:lnTo>
                  <a:lnTo>
                    <a:pt x="450" y="810"/>
                  </a:lnTo>
                  <a:lnTo>
                    <a:pt x="450" y="816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50" y="822"/>
                  </a:lnTo>
                  <a:lnTo>
                    <a:pt x="450" y="816"/>
                  </a:lnTo>
                  <a:lnTo>
                    <a:pt x="444" y="816"/>
                  </a:lnTo>
                  <a:lnTo>
                    <a:pt x="438" y="810"/>
                  </a:lnTo>
                  <a:lnTo>
                    <a:pt x="432" y="810"/>
                  </a:lnTo>
                  <a:lnTo>
                    <a:pt x="426" y="804"/>
                  </a:lnTo>
                  <a:lnTo>
                    <a:pt x="426" y="798"/>
                  </a:lnTo>
                  <a:lnTo>
                    <a:pt x="420" y="798"/>
                  </a:lnTo>
                  <a:lnTo>
                    <a:pt x="426" y="798"/>
                  </a:lnTo>
                  <a:lnTo>
                    <a:pt x="426" y="792"/>
                  </a:lnTo>
                  <a:lnTo>
                    <a:pt x="426" y="786"/>
                  </a:lnTo>
                  <a:lnTo>
                    <a:pt x="432" y="786"/>
                  </a:lnTo>
                  <a:lnTo>
                    <a:pt x="432" y="780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0" y="756"/>
                  </a:lnTo>
                  <a:lnTo>
                    <a:pt x="420" y="750"/>
                  </a:lnTo>
                  <a:lnTo>
                    <a:pt x="414" y="750"/>
                  </a:lnTo>
                  <a:lnTo>
                    <a:pt x="420" y="750"/>
                  </a:lnTo>
                  <a:lnTo>
                    <a:pt x="420" y="744"/>
                  </a:lnTo>
                  <a:lnTo>
                    <a:pt x="414" y="744"/>
                  </a:lnTo>
                  <a:lnTo>
                    <a:pt x="414" y="738"/>
                  </a:lnTo>
                  <a:lnTo>
                    <a:pt x="414" y="732"/>
                  </a:lnTo>
                  <a:lnTo>
                    <a:pt x="408" y="732"/>
                  </a:lnTo>
                  <a:lnTo>
                    <a:pt x="408" y="726"/>
                  </a:lnTo>
                  <a:lnTo>
                    <a:pt x="402" y="726"/>
                  </a:lnTo>
                  <a:lnTo>
                    <a:pt x="396" y="726"/>
                  </a:lnTo>
                  <a:lnTo>
                    <a:pt x="390" y="726"/>
                  </a:lnTo>
                  <a:lnTo>
                    <a:pt x="390" y="720"/>
                  </a:lnTo>
                  <a:lnTo>
                    <a:pt x="390" y="714"/>
                  </a:lnTo>
                  <a:lnTo>
                    <a:pt x="384" y="708"/>
                  </a:lnTo>
                  <a:lnTo>
                    <a:pt x="384" y="702"/>
                  </a:lnTo>
                  <a:lnTo>
                    <a:pt x="378" y="702"/>
                  </a:lnTo>
                  <a:lnTo>
                    <a:pt x="378" y="696"/>
                  </a:lnTo>
                  <a:lnTo>
                    <a:pt x="378" y="690"/>
                  </a:lnTo>
                  <a:lnTo>
                    <a:pt x="372" y="684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66" y="666"/>
                  </a:lnTo>
                  <a:lnTo>
                    <a:pt x="366" y="660"/>
                  </a:lnTo>
                  <a:lnTo>
                    <a:pt x="366" y="654"/>
                  </a:lnTo>
                  <a:lnTo>
                    <a:pt x="360" y="648"/>
                  </a:lnTo>
                  <a:lnTo>
                    <a:pt x="360" y="654"/>
                  </a:lnTo>
                  <a:lnTo>
                    <a:pt x="360" y="660"/>
                  </a:lnTo>
                  <a:lnTo>
                    <a:pt x="360" y="666"/>
                  </a:lnTo>
                  <a:lnTo>
                    <a:pt x="360" y="672"/>
                  </a:lnTo>
                  <a:lnTo>
                    <a:pt x="360" y="678"/>
                  </a:lnTo>
                  <a:lnTo>
                    <a:pt x="366" y="678"/>
                  </a:lnTo>
                  <a:lnTo>
                    <a:pt x="366" y="684"/>
                  </a:lnTo>
                  <a:lnTo>
                    <a:pt x="366" y="690"/>
                  </a:lnTo>
                  <a:lnTo>
                    <a:pt x="372" y="696"/>
                  </a:lnTo>
                  <a:lnTo>
                    <a:pt x="372" y="702"/>
                  </a:lnTo>
                  <a:lnTo>
                    <a:pt x="372" y="708"/>
                  </a:lnTo>
                  <a:lnTo>
                    <a:pt x="372" y="714"/>
                  </a:lnTo>
                  <a:lnTo>
                    <a:pt x="366" y="714"/>
                  </a:lnTo>
                  <a:lnTo>
                    <a:pt x="360" y="714"/>
                  </a:lnTo>
                  <a:lnTo>
                    <a:pt x="354" y="714"/>
                  </a:lnTo>
                  <a:lnTo>
                    <a:pt x="348" y="714"/>
                  </a:lnTo>
                  <a:lnTo>
                    <a:pt x="348" y="708"/>
                  </a:lnTo>
                  <a:lnTo>
                    <a:pt x="342" y="708"/>
                  </a:lnTo>
                  <a:lnTo>
                    <a:pt x="342" y="702"/>
                  </a:lnTo>
                  <a:lnTo>
                    <a:pt x="342" y="696"/>
                  </a:lnTo>
                  <a:lnTo>
                    <a:pt x="336" y="696"/>
                  </a:lnTo>
                  <a:lnTo>
                    <a:pt x="336" y="690"/>
                  </a:lnTo>
                  <a:lnTo>
                    <a:pt x="336" y="684"/>
                  </a:lnTo>
                  <a:lnTo>
                    <a:pt x="330" y="684"/>
                  </a:lnTo>
                  <a:lnTo>
                    <a:pt x="330" y="678"/>
                  </a:lnTo>
                  <a:lnTo>
                    <a:pt x="324" y="672"/>
                  </a:lnTo>
                  <a:lnTo>
                    <a:pt x="324" y="666"/>
                  </a:lnTo>
                  <a:lnTo>
                    <a:pt x="318" y="666"/>
                  </a:lnTo>
                  <a:lnTo>
                    <a:pt x="318" y="672"/>
                  </a:lnTo>
                  <a:lnTo>
                    <a:pt x="324" y="672"/>
                  </a:lnTo>
                  <a:lnTo>
                    <a:pt x="324" y="678"/>
                  </a:lnTo>
                  <a:lnTo>
                    <a:pt x="324" y="684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30" y="696"/>
                  </a:lnTo>
                  <a:lnTo>
                    <a:pt x="336" y="702"/>
                  </a:lnTo>
                  <a:lnTo>
                    <a:pt x="342" y="708"/>
                  </a:lnTo>
                  <a:lnTo>
                    <a:pt x="342" y="714"/>
                  </a:lnTo>
                  <a:lnTo>
                    <a:pt x="348" y="720"/>
                  </a:lnTo>
                  <a:lnTo>
                    <a:pt x="342" y="720"/>
                  </a:lnTo>
                  <a:lnTo>
                    <a:pt x="336" y="720"/>
                  </a:lnTo>
                  <a:lnTo>
                    <a:pt x="330" y="720"/>
                  </a:lnTo>
                  <a:lnTo>
                    <a:pt x="330" y="726"/>
                  </a:lnTo>
                  <a:lnTo>
                    <a:pt x="336" y="726"/>
                  </a:lnTo>
                  <a:lnTo>
                    <a:pt x="330" y="732"/>
                  </a:lnTo>
                  <a:lnTo>
                    <a:pt x="330" y="738"/>
                  </a:lnTo>
                  <a:lnTo>
                    <a:pt x="330" y="744"/>
                  </a:lnTo>
                  <a:lnTo>
                    <a:pt x="336" y="744"/>
                  </a:lnTo>
                  <a:lnTo>
                    <a:pt x="342" y="744"/>
                  </a:lnTo>
                  <a:lnTo>
                    <a:pt x="348" y="744"/>
                  </a:lnTo>
                  <a:lnTo>
                    <a:pt x="348" y="750"/>
                  </a:lnTo>
                  <a:lnTo>
                    <a:pt x="354" y="750"/>
                  </a:lnTo>
                  <a:lnTo>
                    <a:pt x="360" y="756"/>
                  </a:lnTo>
                  <a:lnTo>
                    <a:pt x="360" y="762"/>
                  </a:lnTo>
                  <a:lnTo>
                    <a:pt x="366" y="762"/>
                  </a:lnTo>
                  <a:lnTo>
                    <a:pt x="366" y="768"/>
                  </a:lnTo>
                  <a:lnTo>
                    <a:pt x="366" y="774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72" y="792"/>
                  </a:lnTo>
                  <a:lnTo>
                    <a:pt x="372" y="798"/>
                  </a:lnTo>
                  <a:lnTo>
                    <a:pt x="372" y="804"/>
                  </a:lnTo>
                  <a:lnTo>
                    <a:pt x="378" y="804"/>
                  </a:lnTo>
                  <a:lnTo>
                    <a:pt x="378" y="810"/>
                  </a:lnTo>
                  <a:lnTo>
                    <a:pt x="378" y="816"/>
                  </a:lnTo>
                  <a:lnTo>
                    <a:pt x="372" y="816"/>
                  </a:lnTo>
                  <a:lnTo>
                    <a:pt x="378" y="816"/>
                  </a:lnTo>
                  <a:lnTo>
                    <a:pt x="378" y="822"/>
                  </a:lnTo>
                  <a:lnTo>
                    <a:pt x="378" y="828"/>
                  </a:lnTo>
                  <a:lnTo>
                    <a:pt x="378" y="834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0" y="864"/>
                  </a:lnTo>
                  <a:lnTo>
                    <a:pt x="384" y="864"/>
                  </a:lnTo>
                  <a:lnTo>
                    <a:pt x="384" y="870"/>
                  </a:lnTo>
                  <a:lnTo>
                    <a:pt x="378" y="864"/>
                  </a:lnTo>
                  <a:lnTo>
                    <a:pt x="372" y="864"/>
                  </a:lnTo>
                  <a:lnTo>
                    <a:pt x="366" y="858"/>
                  </a:lnTo>
                  <a:lnTo>
                    <a:pt x="366" y="852"/>
                  </a:lnTo>
                  <a:lnTo>
                    <a:pt x="360" y="852"/>
                  </a:lnTo>
                  <a:lnTo>
                    <a:pt x="360" y="858"/>
                  </a:lnTo>
                  <a:lnTo>
                    <a:pt x="366" y="858"/>
                  </a:lnTo>
                  <a:lnTo>
                    <a:pt x="366" y="864"/>
                  </a:lnTo>
                  <a:lnTo>
                    <a:pt x="360" y="864"/>
                  </a:lnTo>
                  <a:lnTo>
                    <a:pt x="354" y="864"/>
                  </a:lnTo>
                  <a:lnTo>
                    <a:pt x="354" y="870"/>
                  </a:lnTo>
                  <a:lnTo>
                    <a:pt x="354" y="864"/>
                  </a:lnTo>
                  <a:lnTo>
                    <a:pt x="348" y="864"/>
                  </a:lnTo>
                  <a:lnTo>
                    <a:pt x="342" y="864"/>
                  </a:lnTo>
                  <a:lnTo>
                    <a:pt x="342" y="858"/>
                  </a:lnTo>
                  <a:lnTo>
                    <a:pt x="336" y="858"/>
                  </a:lnTo>
                  <a:lnTo>
                    <a:pt x="330" y="858"/>
                  </a:lnTo>
                  <a:lnTo>
                    <a:pt x="324" y="858"/>
                  </a:lnTo>
                  <a:lnTo>
                    <a:pt x="318" y="858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0" y="852"/>
                  </a:lnTo>
                  <a:lnTo>
                    <a:pt x="294" y="852"/>
                  </a:lnTo>
                  <a:lnTo>
                    <a:pt x="294" y="846"/>
                  </a:lnTo>
                  <a:lnTo>
                    <a:pt x="288" y="840"/>
                  </a:lnTo>
                  <a:lnTo>
                    <a:pt x="288" y="828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2" y="816"/>
                  </a:lnTo>
                  <a:lnTo>
                    <a:pt x="282" y="810"/>
                  </a:lnTo>
                  <a:lnTo>
                    <a:pt x="276" y="810"/>
                  </a:lnTo>
                  <a:lnTo>
                    <a:pt x="276" y="804"/>
                  </a:lnTo>
                  <a:lnTo>
                    <a:pt x="276" y="798"/>
                  </a:lnTo>
                  <a:lnTo>
                    <a:pt x="276" y="792"/>
                  </a:lnTo>
                  <a:lnTo>
                    <a:pt x="270" y="786"/>
                  </a:lnTo>
                  <a:lnTo>
                    <a:pt x="270" y="780"/>
                  </a:lnTo>
                  <a:lnTo>
                    <a:pt x="270" y="774"/>
                  </a:lnTo>
                  <a:lnTo>
                    <a:pt x="264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64" y="750"/>
                  </a:lnTo>
                  <a:lnTo>
                    <a:pt x="264" y="744"/>
                  </a:lnTo>
                  <a:lnTo>
                    <a:pt x="264" y="738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26"/>
                  </a:lnTo>
                  <a:lnTo>
                    <a:pt x="276" y="720"/>
                  </a:lnTo>
                  <a:lnTo>
                    <a:pt x="282" y="720"/>
                  </a:lnTo>
                  <a:lnTo>
                    <a:pt x="282" y="714"/>
                  </a:lnTo>
                  <a:lnTo>
                    <a:pt x="282" y="708"/>
                  </a:lnTo>
                  <a:lnTo>
                    <a:pt x="276" y="708"/>
                  </a:lnTo>
                  <a:lnTo>
                    <a:pt x="276" y="702"/>
                  </a:lnTo>
                  <a:lnTo>
                    <a:pt x="270" y="702"/>
                  </a:lnTo>
                  <a:lnTo>
                    <a:pt x="270" y="696"/>
                  </a:lnTo>
                  <a:lnTo>
                    <a:pt x="264" y="690"/>
                  </a:lnTo>
                  <a:lnTo>
                    <a:pt x="258" y="690"/>
                  </a:lnTo>
                  <a:lnTo>
                    <a:pt x="258" y="684"/>
                  </a:lnTo>
                  <a:lnTo>
                    <a:pt x="252" y="684"/>
                  </a:lnTo>
                  <a:lnTo>
                    <a:pt x="252" y="678"/>
                  </a:lnTo>
                  <a:lnTo>
                    <a:pt x="246" y="678"/>
                  </a:lnTo>
                  <a:lnTo>
                    <a:pt x="240" y="678"/>
                  </a:lnTo>
                  <a:lnTo>
                    <a:pt x="240" y="684"/>
                  </a:lnTo>
                  <a:lnTo>
                    <a:pt x="246" y="684"/>
                  </a:lnTo>
                  <a:lnTo>
                    <a:pt x="252" y="690"/>
                  </a:lnTo>
                  <a:lnTo>
                    <a:pt x="258" y="690"/>
                  </a:lnTo>
                  <a:lnTo>
                    <a:pt x="258" y="696"/>
                  </a:lnTo>
                  <a:lnTo>
                    <a:pt x="258" y="702"/>
                  </a:lnTo>
                  <a:lnTo>
                    <a:pt x="264" y="702"/>
                  </a:lnTo>
                  <a:lnTo>
                    <a:pt x="270" y="708"/>
                  </a:lnTo>
                  <a:lnTo>
                    <a:pt x="270" y="714"/>
                  </a:lnTo>
                  <a:lnTo>
                    <a:pt x="270" y="720"/>
                  </a:lnTo>
                  <a:lnTo>
                    <a:pt x="276" y="720"/>
                  </a:lnTo>
                  <a:lnTo>
                    <a:pt x="270" y="720"/>
                  </a:lnTo>
                  <a:lnTo>
                    <a:pt x="270" y="726"/>
                  </a:lnTo>
                  <a:lnTo>
                    <a:pt x="264" y="726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52" y="738"/>
                  </a:lnTo>
                  <a:lnTo>
                    <a:pt x="252" y="744"/>
                  </a:lnTo>
                  <a:lnTo>
                    <a:pt x="252" y="750"/>
                  </a:lnTo>
                  <a:lnTo>
                    <a:pt x="252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58" y="774"/>
                  </a:lnTo>
                  <a:lnTo>
                    <a:pt x="258" y="780"/>
                  </a:lnTo>
                  <a:lnTo>
                    <a:pt x="264" y="786"/>
                  </a:lnTo>
                  <a:lnTo>
                    <a:pt x="264" y="792"/>
                  </a:lnTo>
                  <a:lnTo>
                    <a:pt x="264" y="798"/>
                  </a:lnTo>
                  <a:lnTo>
                    <a:pt x="270" y="810"/>
                  </a:lnTo>
                  <a:lnTo>
                    <a:pt x="270" y="816"/>
                  </a:lnTo>
                  <a:lnTo>
                    <a:pt x="270" y="822"/>
                  </a:lnTo>
                  <a:lnTo>
                    <a:pt x="276" y="822"/>
                  </a:lnTo>
                  <a:lnTo>
                    <a:pt x="276" y="828"/>
                  </a:lnTo>
                  <a:lnTo>
                    <a:pt x="276" y="834"/>
                  </a:lnTo>
                  <a:lnTo>
                    <a:pt x="276" y="840"/>
                  </a:lnTo>
                  <a:lnTo>
                    <a:pt x="276" y="846"/>
                  </a:lnTo>
                  <a:lnTo>
                    <a:pt x="282" y="852"/>
                  </a:lnTo>
                  <a:lnTo>
                    <a:pt x="282" y="858"/>
                  </a:lnTo>
                  <a:lnTo>
                    <a:pt x="294" y="864"/>
                  </a:lnTo>
                  <a:lnTo>
                    <a:pt x="300" y="870"/>
                  </a:lnTo>
                  <a:lnTo>
                    <a:pt x="300" y="876"/>
                  </a:lnTo>
                  <a:lnTo>
                    <a:pt x="288" y="876"/>
                  </a:lnTo>
                  <a:lnTo>
                    <a:pt x="282" y="876"/>
                  </a:lnTo>
                  <a:lnTo>
                    <a:pt x="276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2" y="882"/>
                  </a:lnTo>
                  <a:lnTo>
                    <a:pt x="246" y="882"/>
                  </a:lnTo>
                  <a:lnTo>
                    <a:pt x="240" y="882"/>
                  </a:lnTo>
                  <a:lnTo>
                    <a:pt x="234" y="882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204" y="876"/>
                  </a:lnTo>
                  <a:lnTo>
                    <a:pt x="198" y="876"/>
                  </a:lnTo>
                  <a:lnTo>
                    <a:pt x="198" y="870"/>
                  </a:lnTo>
                  <a:lnTo>
                    <a:pt x="198" y="852"/>
                  </a:lnTo>
                  <a:lnTo>
                    <a:pt x="198" y="846"/>
                  </a:lnTo>
                  <a:lnTo>
                    <a:pt x="204" y="846"/>
                  </a:lnTo>
                  <a:lnTo>
                    <a:pt x="198" y="840"/>
                  </a:lnTo>
                  <a:lnTo>
                    <a:pt x="198" y="834"/>
                  </a:lnTo>
                  <a:lnTo>
                    <a:pt x="198" y="828"/>
                  </a:lnTo>
                  <a:lnTo>
                    <a:pt x="198" y="822"/>
                  </a:lnTo>
                  <a:lnTo>
                    <a:pt x="198" y="816"/>
                  </a:lnTo>
                  <a:lnTo>
                    <a:pt x="198" y="810"/>
                  </a:lnTo>
                  <a:lnTo>
                    <a:pt x="192" y="810"/>
                  </a:lnTo>
                  <a:lnTo>
                    <a:pt x="192" y="804"/>
                  </a:lnTo>
                  <a:lnTo>
                    <a:pt x="192" y="798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2" y="774"/>
                  </a:lnTo>
                  <a:lnTo>
                    <a:pt x="192" y="768"/>
                  </a:lnTo>
                  <a:lnTo>
                    <a:pt x="198" y="768"/>
                  </a:lnTo>
                  <a:lnTo>
                    <a:pt x="198" y="762"/>
                  </a:lnTo>
                  <a:lnTo>
                    <a:pt x="198" y="756"/>
                  </a:lnTo>
                  <a:lnTo>
                    <a:pt x="204" y="756"/>
                  </a:lnTo>
                  <a:lnTo>
                    <a:pt x="204" y="750"/>
                  </a:lnTo>
                  <a:lnTo>
                    <a:pt x="210" y="744"/>
                  </a:lnTo>
                  <a:lnTo>
                    <a:pt x="210" y="738"/>
                  </a:lnTo>
                  <a:lnTo>
                    <a:pt x="210" y="732"/>
                  </a:lnTo>
                  <a:lnTo>
                    <a:pt x="210" y="726"/>
                  </a:lnTo>
                  <a:lnTo>
                    <a:pt x="210" y="720"/>
                  </a:lnTo>
                  <a:lnTo>
                    <a:pt x="204" y="714"/>
                  </a:lnTo>
                  <a:lnTo>
                    <a:pt x="204" y="720"/>
                  </a:lnTo>
                  <a:lnTo>
                    <a:pt x="204" y="732"/>
                  </a:lnTo>
                  <a:lnTo>
                    <a:pt x="204" y="738"/>
                  </a:lnTo>
                  <a:lnTo>
                    <a:pt x="198" y="738"/>
                  </a:lnTo>
                  <a:lnTo>
                    <a:pt x="198" y="744"/>
                  </a:lnTo>
                  <a:lnTo>
                    <a:pt x="198" y="750"/>
                  </a:lnTo>
                  <a:lnTo>
                    <a:pt x="192" y="756"/>
                  </a:lnTo>
                  <a:lnTo>
                    <a:pt x="186" y="762"/>
                  </a:lnTo>
                  <a:lnTo>
                    <a:pt x="186" y="768"/>
                  </a:lnTo>
                  <a:lnTo>
                    <a:pt x="186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98"/>
                  </a:lnTo>
                  <a:lnTo>
                    <a:pt x="186" y="804"/>
                  </a:lnTo>
                  <a:lnTo>
                    <a:pt x="186" y="810"/>
                  </a:lnTo>
                  <a:lnTo>
                    <a:pt x="192" y="816"/>
                  </a:lnTo>
                  <a:lnTo>
                    <a:pt x="192" y="828"/>
                  </a:lnTo>
                  <a:lnTo>
                    <a:pt x="192" y="834"/>
                  </a:lnTo>
                  <a:lnTo>
                    <a:pt x="186" y="834"/>
                  </a:lnTo>
                  <a:lnTo>
                    <a:pt x="186" y="828"/>
                  </a:lnTo>
                  <a:lnTo>
                    <a:pt x="180" y="822"/>
                  </a:lnTo>
                  <a:lnTo>
                    <a:pt x="180" y="816"/>
                  </a:lnTo>
                  <a:lnTo>
                    <a:pt x="180" y="810"/>
                  </a:lnTo>
                  <a:lnTo>
                    <a:pt x="174" y="810"/>
                  </a:lnTo>
                  <a:lnTo>
                    <a:pt x="174" y="804"/>
                  </a:lnTo>
                  <a:lnTo>
                    <a:pt x="174" y="798"/>
                  </a:lnTo>
                  <a:lnTo>
                    <a:pt x="174" y="792"/>
                  </a:lnTo>
                  <a:lnTo>
                    <a:pt x="168" y="786"/>
                  </a:lnTo>
                  <a:lnTo>
                    <a:pt x="168" y="780"/>
                  </a:lnTo>
                  <a:lnTo>
                    <a:pt x="162" y="780"/>
                  </a:lnTo>
                  <a:lnTo>
                    <a:pt x="168" y="774"/>
                  </a:lnTo>
                  <a:lnTo>
                    <a:pt x="168" y="768"/>
                  </a:lnTo>
                  <a:lnTo>
                    <a:pt x="174" y="768"/>
                  </a:lnTo>
                  <a:lnTo>
                    <a:pt x="168" y="768"/>
                  </a:lnTo>
                  <a:lnTo>
                    <a:pt x="162" y="774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50" y="774"/>
                  </a:lnTo>
                  <a:lnTo>
                    <a:pt x="144" y="774"/>
                  </a:lnTo>
                  <a:lnTo>
                    <a:pt x="144" y="768"/>
                  </a:lnTo>
                  <a:lnTo>
                    <a:pt x="144" y="762"/>
                  </a:lnTo>
                  <a:lnTo>
                    <a:pt x="138" y="756"/>
                  </a:lnTo>
                  <a:lnTo>
                    <a:pt x="132" y="756"/>
                  </a:lnTo>
                  <a:lnTo>
                    <a:pt x="138" y="756"/>
                  </a:lnTo>
                  <a:lnTo>
                    <a:pt x="138" y="762"/>
                  </a:lnTo>
                  <a:lnTo>
                    <a:pt x="138" y="768"/>
                  </a:lnTo>
                  <a:lnTo>
                    <a:pt x="144" y="768"/>
                  </a:lnTo>
                  <a:lnTo>
                    <a:pt x="144" y="774"/>
                  </a:lnTo>
                  <a:lnTo>
                    <a:pt x="150" y="780"/>
                  </a:lnTo>
                  <a:lnTo>
                    <a:pt x="156" y="780"/>
                  </a:lnTo>
                  <a:lnTo>
                    <a:pt x="156" y="786"/>
                  </a:lnTo>
                  <a:lnTo>
                    <a:pt x="162" y="786"/>
                  </a:lnTo>
                  <a:lnTo>
                    <a:pt x="168" y="792"/>
                  </a:lnTo>
                  <a:lnTo>
                    <a:pt x="168" y="798"/>
                  </a:lnTo>
                  <a:lnTo>
                    <a:pt x="168" y="804"/>
                  </a:lnTo>
                  <a:lnTo>
                    <a:pt x="174" y="810"/>
                  </a:lnTo>
                  <a:lnTo>
                    <a:pt x="174" y="816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68" y="828"/>
                  </a:lnTo>
                  <a:lnTo>
                    <a:pt x="168" y="834"/>
                  </a:lnTo>
                  <a:lnTo>
                    <a:pt x="174" y="840"/>
                  </a:lnTo>
                  <a:lnTo>
                    <a:pt x="180" y="840"/>
                  </a:lnTo>
                  <a:lnTo>
                    <a:pt x="180" y="846"/>
                  </a:lnTo>
                  <a:lnTo>
                    <a:pt x="186" y="846"/>
                  </a:lnTo>
                  <a:lnTo>
                    <a:pt x="186" y="852"/>
                  </a:lnTo>
                  <a:lnTo>
                    <a:pt x="186" y="858"/>
                  </a:lnTo>
                  <a:lnTo>
                    <a:pt x="186" y="864"/>
                  </a:lnTo>
                  <a:lnTo>
                    <a:pt x="192" y="864"/>
                  </a:lnTo>
                  <a:lnTo>
                    <a:pt x="192" y="870"/>
                  </a:lnTo>
                  <a:lnTo>
                    <a:pt x="192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6" y="888"/>
                  </a:lnTo>
                  <a:lnTo>
                    <a:pt x="180" y="888"/>
                  </a:lnTo>
                  <a:lnTo>
                    <a:pt x="174" y="888"/>
                  </a:lnTo>
                  <a:lnTo>
                    <a:pt x="168" y="894"/>
                  </a:lnTo>
                  <a:lnTo>
                    <a:pt x="162" y="894"/>
                  </a:lnTo>
                  <a:lnTo>
                    <a:pt x="156" y="894"/>
                  </a:lnTo>
                  <a:lnTo>
                    <a:pt x="150" y="894"/>
                  </a:lnTo>
                  <a:lnTo>
                    <a:pt x="144" y="894"/>
                  </a:lnTo>
                  <a:lnTo>
                    <a:pt x="144" y="900"/>
                  </a:lnTo>
                  <a:lnTo>
                    <a:pt x="138" y="894"/>
                  </a:lnTo>
                  <a:lnTo>
                    <a:pt x="138" y="900"/>
                  </a:lnTo>
                  <a:lnTo>
                    <a:pt x="132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6" y="882"/>
                  </a:lnTo>
                  <a:lnTo>
                    <a:pt x="126" y="876"/>
                  </a:lnTo>
                  <a:lnTo>
                    <a:pt x="120" y="876"/>
                  </a:lnTo>
                  <a:lnTo>
                    <a:pt x="126" y="870"/>
                  </a:lnTo>
                  <a:lnTo>
                    <a:pt x="126" y="864"/>
                  </a:lnTo>
                  <a:lnTo>
                    <a:pt x="126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26" y="828"/>
                  </a:lnTo>
                  <a:lnTo>
                    <a:pt x="126" y="822"/>
                  </a:lnTo>
                  <a:lnTo>
                    <a:pt x="126" y="816"/>
                  </a:lnTo>
                  <a:lnTo>
                    <a:pt x="126" y="810"/>
                  </a:lnTo>
                  <a:lnTo>
                    <a:pt x="126" y="804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20" y="792"/>
                  </a:lnTo>
                  <a:lnTo>
                    <a:pt x="114" y="792"/>
                  </a:lnTo>
                  <a:lnTo>
                    <a:pt x="114" y="786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96" y="780"/>
                  </a:lnTo>
                  <a:lnTo>
                    <a:pt x="96" y="774"/>
                  </a:lnTo>
                  <a:lnTo>
                    <a:pt x="90" y="774"/>
                  </a:lnTo>
                  <a:lnTo>
                    <a:pt x="90" y="768"/>
                  </a:lnTo>
                  <a:close/>
                  <a:moveTo>
                    <a:pt x="96" y="780"/>
                  </a:moveTo>
                  <a:lnTo>
                    <a:pt x="102" y="780"/>
                  </a:lnTo>
                  <a:lnTo>
                    <a:pt x="102" y="786"/>
                  </a:lnTo>
                  <a:lnTo>
                    <a:pt x="108" y="786"/>
                  </a:lnTo>
                  <a:lnTo>
                    <a:pt x="114" y="792"/>
                  </a:lnTo>
                  <a:lnTo>
                    <a:pt x="120" y="798"/>
                  </a:lnTo>
                  <a:lnTo>
                    <a:pt x="120" y="804"/>
                  </a:lnTo>
                  <a:lnTo>
                    <a:pt x="126" y="810"/>
                  </a:lnTo>
                  <a:lnTo>
                    <a:pt x="126" y="816"/>
                  </a:lnTo>
                  <a:lnTo>
                    <a:pt x="126" y="822"/>
                  </a:lnTo>
                  <a:lnTo>
                    <a:pt x="120" y="828"/>
                  </a:lnTo>
                  <a:lnTo>
                    <a:pt x="120" y="840"/>
                  </a:lnTo>
                  <a:lnTo>
                    <a:pt x="120" y="852"/>
                  </a:lnTo>
                  <a:lnTo>
                    <a:pt x="120" y="858"/>
                  </a:lnTo>
                  <a:lnTo>
                    <a:pt x="120" y="864"/>
                  </a:lnTo>
                  <a:lnTo>
                    <a:pt x="120" y="870"/>
                  </a:lnTo>
                  <a:lnTo>
                    <a:pt x="114" y="870"/>
                  </a:lnTo>
                  <a:lnTo>
                    <a:pt x="108" y="870"/>
                  </a:lnTo>
                  <a:lnTo>
                    <a:pt x="108" y="876"/>
                  </a:lnTo>
                  <a:lnTo>
                    <a:pt x="114" y="876"/>
                  </a:lnTo>
                  <a:lnTo>
                    <a:pt x="120" y="876"/>
                  </a:lnTo>
                  <a:lnTo>
                    <a:pt x="120" y="882"/>
                  </a:lnTo>
                  <a:lnTo>
                    <a:pt x="114" y="888"/>
                  </a:lnTo>
                  <a:lnTo>
                    <a:pt x="120" y="888"/>
                  </a:lnTo>
                  <a:lnTo>
                    <a:pt x="120" y="894"/>
                  </a:lnTo>
                  <a:lnTo>
                    <a:pt x="114" y="894"/>
                  </a:lnTo>
                  <a:lnTo>
                    <a:pt x="108" y="894"/>
                  </a:lnTo>
                  <a:lnTo>
                    <a:pt x="96" y="894"/>
                  </a:lnTo>
                  <a:lnTo>
                    <a:pt x="96" y="882"/>
                  </a:lnTo>
                  <a:lnTo>
                    <a:pt x="96" y="876"/>
                  </a:lnTo>
                  <a:lnTo>
                    <a:pt x="84" y="870"/>
                  </a:lnTo>
                  <a:lnTo>
                    <a:pt x="72" y="864"/>
                  </a:lnTo>
                  <a:lnTo>
                    <a:pt x="72" y="852"/>
                  </a:lnTo>
                  <a:lnTo>
                    <a:pt x="72" y="840"/>
                  </a:lnTo>
                  <a:lnTo>
                    <a:pt x="78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90" y="792"/>
                  </a:lnTo>
                  <a:lnTo>
                    <a:pt x="96" y="780"/>
                  </a:lnTo>
                  <a:close/>
                  <a:moveTo>
                    <a:pt x="492" y="810"/>
                  </a:moveTo>
                  <a:lnTo>
                    <a:pt x="498" y="810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510" y="792"/>
                  </a:lnTo>
                  <a:lnTo>
                    <a:pt x="516" y="786"/>
                  </a:lnTo>
                  <a:lnTo>
                    <a:pt x="522" y="780"/>
                  </a:lnTo>
                  <a:lnTo>
                    <a:pt x="522" y="774"/>
                  </a:lnTo>
                  <a:lnTo>
                    <a:pt x="528" y="768"/>
                  </a:lnTo>
                  <a:lnTo>
                    <a:pt x="528" y="762"/>
                  </a:lnTo>
                  <a:lnTo>
                    <a:pt x="534" y="762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46" y="780"/>
                  </a:lnTo>
                  <a:lnTo>
                    <a:pt x="552" y="786"/>
                  </a:lnTo>
                  <a:lnTo>
                    <a:pt x="558" y="786"/>
                  </a:lnTo>
                  <a:lnTo>
                    <a:pt x="564" y="786"/>
                  </a:lnTo>
                  <a:lnTo>
                    <a:pt x="576" y="786"/>
                  </a:lnTo>
                  <a:lnTo>
                    <a:pt x="582" y="786"/>
                  </a:lnTo>
                  <a:lnTo>
                    <a:pt x="588" y="786"/>
                  </a:lnTo>
                  <a:lnTo>
                    <a:pt x="594" y="786"/>
                  </a:lnTo>
                  <a:lnTo>
                    <a:pt x="588" y="792"/>
                  </a:lnTo>
                  <a:lnTo>
                    <a:pt x="588" y="798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82" y="822"/>
                  </a:lnTo>
                  <a:lnTo>
                    <a:pt x="588" y="828"/>
                  </a:lnTo>
                  <a:lnTo>
                    <a:pt x="588" y="834"/>
                  </a:lnTo>
                  <a:lnTo>
                    <a:pt x="582" y="840"/>
                  </a:lnTo>
                  <a:lnTo>
                    <a:pt x="570" y="840"/>
                  </a:lnTo>
                  <a:lnTo>
                    <a:pt x="558" y="846"/>
                  </a:lnTo>
                  <a:lnTo>
                    <a:pt x="552" y="846"/>
                  </a:lnTo>
                  <a:lnTo>
                    <a:pt x="534" y="852"/>
                  </a:lnTo>
                  <a:lnTo>
                    <a:pt x="522" y="858"/>
                  </a:lnTo>
                  <a:lnTo>
                    <a:pt x="510" y="858"/>
                  </a:lnTo>
                  <a:lnTo>
                    <a:pt x="498" y="864"/>
                  </a:lnTo>
                  <a:lnTo>
                    <a:pt x="474" y="864"/>
                  </a:lnTo>
                  <a:lnTo>
                    <a:pt x="468" y="858"/>
                  </a:lnTo>
                  <a:lnTo>
                    <a:pt x="468" y="852"/>
                  </a:lnTo>
                  <a:lnTo>
                    <a:pt x="468" y="846"/>
                  </a:lnTo>
                  <a:lnTo>
                    <a:pt x="474" y="840"/>
                  </a:lnTo>
                  <a:lnTo>
                    <a:pt x="474" y="834"/>
                  </a:lnTo>
                  <a:lnTo>
                    <a:pt x="480" y="828"/>
                  </a:lnTo>
                  <a:lnTo>
                    <a:pt x="492" y="822"/>
                  </a:lnTo>
                  <a:lnTo>
                    <a:pt x="492" y="810"/>
                  </a:lnTo>
                  <a:close/>
                  <a:moveTo>
                    <a:pt x="384" y="720"/>
                  </a:moveTo>
                  <a:lnTo>
                    <a:pt x="384" y="726"/>
                  </a:lnTo>
                  <a:lnTo>
                    <a:pt x="390" y="726"/>
                  </a:lnTo>
                  <a:lnTo>
                    <a:pt x="396" y="726"/>
                  </a:lnTo>
                  <a:lnTo>
                    <a:pt x="402" y="732"/>
                  </a:lnTo>
                  <a:lnTo>
                    <a:pt x="408" y="732"/>
                  </a:lnTo>
                  <a:lnTo>
                    <a:pt x="414" y="732"/>
                  </a:lnTo>
                  <a:lnTo>
                    <a:pt x="414" y="738"/>
                  </a:lnTo>
                  <a:lnTo>
                    <a:pt x="414" y="744"/>
                  </a:lnTo>
                  <a:lnTo>
                    <a:pt x="414" y="750"/>
                  </a:lnTo>
                  <a:lnTo>
                    <a:pt x="414" y="756"/>
                  </a:lnTo>
                  <a:lnTo>
                    <a:pt x="414" y="762"/>
                  </a:lnTo>
                  <a:lnTo>
                    <a:pt x="420" y="768"/>
                  </a:lnTo>
                  <a:lnTo>
                    <a:pt x="420" y="774"/>
                  </a:lnTo>
                  <a:lnTo>
                    <a:pt x="426" y="780"/>
                  </a:lnTo>
                  <a:lnTo>
                    <a:pt x="426" y="786"/>
                  </a:lnTo>
                  <a:lnTo>
                    <a:pt x="420" y="786"/>
                  </a:lnTo>
                  <a:lnTo>
                    <a:pt x="420" y="792"/>
                  </a:lnTo>
                  <a:lnTo>
                    <a:pt x="420" y="798"/>
                  </a:lnTo>
                  <a:lnTo>
                    <a:pt x="420" y="804"/>
                  </a:lnTo>
                  <a:lnTo>
                    <a:pt x="426" y="804"/>
                  </a:lnTo>
                  <a:lnTo>
                    <a:pt x="426" y="810"/>
                  </a:lnTo>
                  <a:lnTo>
                    <a:pt x="426" y="816"/>
                  </a:lnTo>
                  <a:lnTo>
                    <a:pt x="432" y="816"/>
                  </a:lnTo>
                  <a:lnTo>
                    <a:pt x="438" y="816"/>
                  </a:lnTo>
                  <a:lnTo>
                    <a:pt x="438" y="822"/>
                  </a:lnTo>
                  <a:lnTo>
                    <a:pt x="432" y="822"/>
                  </a:lnTo>
                  <a:lnTo>
                    <a:pt x="426" y="828"/>
                  </a:lnTo>
                  <a:lnTo>
                    <a:pt x="420" y="828"/>
                  </a:lnTo>
                  <a:lnTo>
                    <a:pt x="414" y="828"/>
                  </a:lnTo>
                  <a:lnTo>
                    <a:pt x="408" y="828"/>
                  </a:lnTo>
                  <a:lnTo>
                    <a:pt x="402" y="828"/>
                  </a:lnTo>
                  <a:lnTo>
                    <a:pt x="402" y="822"/>
                  </a:lnTo>
                  <a:lnTo>
                    <a:pt x="396" y="822"/>
                  </a:lnTo>
                  <a:lnTo>
                    <a:pt x="402" y="822"/>
                  </a:lnTo>
                  <a:lnTo>
                    <a:pt x="402" y="816"/>
                  </a:lnTo>
                  <a:lnTo>
                    <a:pt x="396" y="816"/>
                  </a:lnTo>
                  <a:lnTo>
                    <a:pt x="396" y="810"/>
                  </a:lnTo>
                  <a:lnTo>
                    <a:pt x="396" y="804"/>
                  </a:lnTo>
                  <a:lnTo>
                    <a:pt x="390" y="798"/>
                  </a:lnTo>
                  <a:lnTo>
                    <a:pt x="390" y="792"/>
                  </a:lnTo>
                  <a:lnTo>
                    <a:pt x="390" y="786"/>
                  </a:lnTo>
                  <a:lnTo>
                    <a:pt x="390" y="780"/>
                  </a:lnTo>
                  <a:lnTo>
                    <a:pt x="390" y="774"/>
                  </a:lnTo>
                  <a:lnTo>
                    <a:pt x="390" y="768"/>
                  </a:lnTo>
                  <a:lnTo>
                    <a:pt x="390" y="762"/>
                  </a:lnTo>
                  <a:lnTo>
                    <a:pt x="384" y="756"/>
                  </a:lnTo>
                  <a:lnTo>
                    <a:pt x="384" y="750"/>
                  </a:lnTo>
                  <a:lnTo>
                    <a:pt x="384" y="744"/>
                  </a:lnTo>
                  <a:lnTo>
                    <a:pt x="378" y="744"/>
                  </a:lnTo>
                  <a:lnTo>
                    <a:pt x="384" y="744"/>
                  </a:lnTo>
                  <a:lnTo>
                    <a:pt x="384" y="738"/>
                  </a:lnTo>
                  <a:lnTo>
                    <a:pt x="378" y="738"/>
                  </a:lnTo>
                  <a:lnTo>
                    <a:pt x="378" y="732"/>
                  </a:lnTo>
                  <a:lnTo>
                    <a:pt x="378" y="726"/>
                  </a:lnTo>
                  <a:lnTo>
                    <a:pt x="378" y="720"/>
                  </a:lnTo>
                  <a:lnTo>
                    <a:pt x="384" y="720"/>
                  </a:lnTo>
                  <a:close/>
                  <a:moveTo>
                    <a:pt x="330" y="738"/>
                  </a:moveTo>
                  <a:lnTo>
                    <a:pt x="336" y="732"/>
                  </a:lnTo>
                  <a:lnTo>
                    <a:pt x="336" y="726"/>
                  </a:lnTo>
                  <a:lnTo>
                    <a:pt x="342" y="720"/>
                  </a:lnTo>
                  <a:lnTo>
                    <a:pt x="348" y="720"/>
                  </a:lnTo>
                  <a:lnTo>
                    <a:pt x="360" y="720"/>
                  </a:lnTo>
                  <a:lnTo>
                    <a:pt x="366" y="726"/>
                  </a:lnTo>
                  <a:lnTo>
                    <a:pt x="372" y="732"/>
                  </a:lnTo>
                  <a:lnTo>
                    <a:pt x="372" y="738"/>
                  </a:lnTo>
                  <a:lnTo>
                    <a:pt x="366" y="750"/>
                  </a:lnTo>
                  <a:lnTo>
                    <a:pt x="372" y="756"/>
                  </a:lnTo>
                  <a:lnTo>
                    <a:pt x="372" y="762"/>
                  </a:lnTo>
                  <a:lnTo>
                    <a:pt x="372" y="768"/>
                  </a:lnTo>
                  <a:lnTo>
                    <a:pt x="372" y="774"/>
                  </a:lnTo>
                  <a:lnTo>
                    <a:pt x="372" y="780"/>
                  </a:lnTo>
                  <a:lnTo>
                    <a:pt x="372" y="774"/>
                  </a:lnTo>
                  <a:lnTo>
                    <a:pt x="366" y="768"/>
                  </a:lnTo>
                  <a:lnTo>
                    <a:pt x="366" y="762"/>
                  </a:lnTo>
                  <a:lnTo>
                    <a:pt x="366" y="756"/>
                  </a:lnTo>
                  <a:lnTo>
                    <a:pt x="360" y="756"/>
                  </a:lnTo>
                  <a:lnTo>
                    <a:pt x="360" y="750"/>
                  </a:lnTo>
                  <a:lnTo>
                    <a:pt x="354" y="750"/>
                  </a:lnTo>
                  <a:lnTo>
                    <a:pt x="348" y="744"/>
                  </a:lnTo>
                  <a:lnTo>
                    <a:pt x="342" y="744"/>
                  </a:lnTo>
                  <a:lnTo>
                    <a:pt x="336" y="744"/>
                  </a:lnTo>
                  <a:lnTo>
                    <a:pt x="330" y="73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1" name="Freeform 6">
              <a:extLst>
                <a:ext uri="{FF2B5EF4-FFF2-40B4-BE49-F238E27FC236}">
                  <a16:creationId xmlns:a16="http://schemas.microsoft.com/office/drawing/2014/main" id="{0656C385-F30A-4AC8-AE9F-B1F66208B38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3123" y="4163918"/>
              <a:ext cx="266107" cy="248252"/>
            </a:xfrm>
            <a:custGeom>
              <a:avLst/>
              <a:gdLst>
                <a:gd name="T0" fmla="*/ 33 w 504"/>
                <a:gd name="T1" fmla="*/ 41 h 468"/>
                <a:gd name="T2" fmla="*/ 26 w 504"/>
                <a:gd name="T3" fmla="*/ 39 h 468"/>
                <a:gd name="T4" fmla="*/ 21 w 504"/>
                <a:gd name="T5" fmla="*/ 38 h 468"/>
                <a:gd name="T6" fmla="*/ 18 w 504"/>
                <a:gd name="T7" fmla="*/ 38 h 468"/>
                <a:gd name="T8" fmla="*/ 15 w 504"/>
                <a:gd name="T9" fmla="*/ 39 h 468"/>
                <a:gd name="T10" fmla="*/ 12 w 504"/>
                <a:gd name="T11" fmla="*/ 38 h 468"/>
                <a:gd name="T12" fmla="*/ 9 w 504"/>
                <a:gd name="T13" fmla="*/ 37 h 468"/>
                <a:gd name="T14" fmla="*/ 7 w 504"/>
                <a:gd name="T15" fmla="*/ 32 h 468"/>
                <a:gd name="T16" fmla="*/ 6 w 504"/>
                <a:gd name="T17" fmla="*/ 26 h 468"/>
                <a:gd name="T18" fmla="*/ 3 w 504"/>
                <a:gd name="T19" fmla="*/ 24 h 468"/>
                <a:gd name="T20" fmla="*/ 1 w 504"/>
                <a:gd name="T21" fmla="*/ 24 h 468"/>
                <a:gd name="T22" fmla="*/ 2 w 504"/>
                <a:gd name="T23" fmla="*/ 18 h 468"/>
                <a:gd name="T24" fmla="*/ 1 w 504"/>
                <a:gd name="T25" fmla="*/ 17 h 468"/>
                <a:gd name="T26" fmla="*/ 0 w 504"/>
                <a:gd name="T27" fmla="*/ 17 h 468"/>
                <a:gd name="T28" fmla="*/ 0 w 504"/>
                <a:gd name="T29" fmla="*/ 15 h 468"/>
                <a:gd name="T30" fmla="*/ 2 w 504"/>
                <a:gd name="T31" fmla="*/ 12 h 468"/>
                <a:gd name="T32" fmla="*/ 4 w 504"/>
                <a:gd name="T33" fmla="*/ 10 h 468"/>
                <a:gd name="T34" fmla="*/ 6 w 504"/>
                <a:gd name="T35" fmla="*/ 8 h 468"/>
                <a:gd name="T36" fmla="*/ 8 w 504"/>
                <a:gd name="T37" fmla="*/ 8 h 468"/>
                <a:gd name="T38" fmla="*/ 10 w 504"/>
                <a:gd name="T39" fmla="*/ 9 h 468"/>
                <a:gd name="T40" fmla="*/ 12 w 504"/>
                <a:gd name="T41" fmla="*/ 10 h 468"/>
                <a:gd name="T42" fmla="*/ 12 w 504"/>
                <a:gd name="T43" fmla="*/ 11 h 468"/>
                <a:gd name="T44" fmla="*/ 14 w 504"/>
                <a:gd name="T45" fmla="*/ 8 h 468"/>
                <a:gd name="T46" fmla="*/ 15 w 504"/>
                <a:gd name="T47" fmla="*/ 7 h 468"/>
                <a:gd name="T48" fmla="*/ 17 w 504"/>
                <a:gd name="T49" fmla="*/ 6 h 468"/>
                <a:gd name="T50" fmla="*/ 19 w 504"/>
                <a:gd name="T51" fmla="*/ 3 h 468"/>
                <a:gd name="T52" fmla="*/ 20 w 504"/>
                <a:gd name="T53" fmla="*/ 2 h 468"/>
                <a:gd name="T54" fmla="*/ 22 w 504"/>
                <a:gd name="T55" fmla="*/ 1 h 468"/>
                <a:gd name="T56" fmla="*/ 27 w 504"/>
                <a:gd name="T57" fmla="*/ 1 h 468"/>
                <a:gd name="T58" fmla="*/ 30 w 504"/>
                <a:gd name="T59" fmla="*/ 2 h 468"/>
                <a:gd name="T60" fmla="*/ 31 w 504"/>
                <a:gd name="T61" fmla="*/ 2 h 468"/>
                <a:gd name="T62" fmla="*/ 34 w 504"/>
                <a:gd name="T63" fmla="*/ 0 h 468"/>
                <a:gd name="T64" fmla="*/ 37 w 504"/>
                <a:gd name="T65" fmla="*/ 1 h 468"/>
                <a:gd name="T66" fmla="*/ 41 w 504"/>
                <a:gd name="T67" fmla="*/ 2 h 468"/>
                <a:gd name="T68" fmla="*/ 42 w 504"/>
                <a:gd name="T69" fmla="*/ 4 h 468"/>
                <a:gd name="T70" fmla="*/ 42 w 504"/>
                <a:gd name="T71" fmla="*/ 10 h 468"/>
                <a:gd name="T72" fmla="*/ 41 w 504"/>
                <a:gd name="T73" fmla="*/ 14 h 468"/>
                <a:gd name="T74" fmla="*/ 42 w 504"/>
                <a:gd name="T75" fmla="*/ 15 h 468"/>
                <a:gd name="T76" fmla="*/ 44 w 504"/>
                <a:gd name="T77" fmla="*/ 18 h 468"/>
                <a:gd name="T78" fmla="*/ 43 w 504"/>
                <a:gd name="T79" fmla="*/ 19 h 468"/>
                <a:gd name="T80" fmla="*/ 42 w 504"/>
                <a:gd name="T81" fmla="*/ 21 h 468"/>
                <a:gd name="T82" fmla="*/ 42 w 504"/>
                <a:gd name="T83" fmla="*/ 23 h 468"/>
                <a:gd name="T84" fmla="*/ 39 w 504"/>
                <a:gd name="T85" fmla="*/ 27 h 468"/>
                <a:gd name="T86" fmla="*/ 38 w 504"/>
                <a:gd name="T87" fmla="*/ 29 h 468"/>
                <a:gd name="T88" fmla="*/ 38 w 504"/>
                <a:gd name="T89" fmla="*/ 31 h 468"/>
                <a:gd name="T90" fmla="*/ 36 w 504"/>
                <a:gd name="T91" fmla="*/ 32 h 468"/>
                <a:gd name="T92" fmla="*/ 35 w 504"/>
                <a:gd name="T93" fmla="*/ 34 h 468"/>
                <a:gd name="T94" fmla="*/ 34 w 504"/>
                <a:gd name="T95" fmla="*/ 38 h 46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04"/>
                <a:gd name="T145" fmla="*/ 0 h 468"/>
                <a:gd name="T146" fmla="*/ 504 w 504"/>
                <a:gd name="T147" fmla="*/ 468 h 46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04" h="468">
                  <a:moveTo>
                    <a:pt x="390" y="456"/>
                  </a:moveTo>
                  <a:lnTo>
                    <a:pt x="384" y="468"/>
                  </a:lnTo>
                  <a:lnTo>
                    <a:pt x="378" y="468"/>
                  </a:lnTo>
                  <a:lnTo>
                    <a:pt x="354" y="468"/>
                  </a:lnTo>
                  <a:lnTo>
                    <a:pt x="348" y="462"/>
                  </a:lnTo>
                  <a:lnTo>
                    <a:pt x="300" y="456"/>
                  </a:lnTo>
                  <a:lnTo>
                    <a:pt x="270" y="444"/>
                  </a:lnTo>
                  <a:lnTo>
                    <a:pt x="252" y="438"/>
                  </a:lnTo>
                  <a:lnTo>
                    <a:pt x="240" y="438"/>
                  </a:lnTo>
                  <a:lnTo>
                    <a:pt x="234" y="438"/>
                  </a:lnTo>
                  <a:lnTo>
                    <a:pt x="228" y="444"/>
                  </a:lnTo>
                  <a:lnTo>
                    <a:pt x="210" y="444"/>
                  </a:lnTo>
                  <a:lnTo>
                    <a:pt x="198" y="444"/>
                  </a:lnTo>
                  <a:lnTo>
                    <a:pt x="198" y="450"/>
                  </a:lnTo>
                  <a:lnTo>
                    <a:pt x="168" y="456"/>
                  </a:lnTo>
                  <a:lnTo>
                    <a:pt x="150" y="450"/>
                  </a:lnTo>
                  <a:lnTo>
                    <a:pt x="144" y="444"/>
                  </a:lnTo>
                  <a:lnTo>
                    <a:pt x="132" y="438"/>
                  </a:lnTo>
                  <a:lnTo>
                    <a:pt x="138" y="432"/>
                  </a:lnTo>
                  <a:lnTo>
                    <a:pt x="114" y="432"/>
                  </a:lnTo>
                  <a:lnTo>
                    <a:pt x="102" y="426"/>
                  </a:lnTo>
                  <a:lnTo>
                    <a:pt x="90" y="414"/>
                  </a:lnTo>
                  <a:lnTo>
                    <a:pt x="72" y="402"/>
                  </a:lnTo>
                  <a:lnTo>
                    <a:pt x="78" y="366"/>
                  </a:lnTo>
                  <a:lnTo>
                    <a:pt x="78" y="330"/>
                  </a:lnTo>
                  <a:lnTo>
                    <a:pt x="66" y="318"/>
                  </a:lnTo>
                  <a:lnTo>
                    <a:pt x="66" y="300"/>
                  </a:lnTo>
                  <a:lnTo>
                    <a:pt x="66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30" y="282"/>
                  </a:lnTo>
                  <a:lnTo>
                    <a:pt x="24" y="282"/>
                  </a:lnTo>
                  <a:lnTo>
                    <a:pt x="12" y="276"/>
                  </a:lnTo>
                  <a:lnTo>
                    <a:pt x="0" y="282"/>
                  </a:lnTo>
                  <a:lnTo>
                    <a:pt x="12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2" y="198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6" y="180"/>
                  </a:lnTo>
                  <a:lnTo>
                    <a:pt x="12" y="186"/>
                  </a:lnTo>
                  <a:lnTo>
                    <a:pt x="18" y="138"/>
                  </a:lnTo>
                  <a:lnTo>
                    <a:pt x="24" y="126"/>
                  </a:lnTo>
                  <a:lnTo>
                    <a:pt x="30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20" y="102"/>
                  </a:lnTo>
                  <a:lnTo>
                    <a:pt x="126" y="108"/>
                  </a:lnTo>
                  <a:lnTo>
                    <a:pt x="126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0"/>
                  </a:lnTo>
                  <a:lnTo>
                    <a:pt x="156" y="96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16" y="42"/>
                  </a:lnTo>
                  <a:lnTo>
                    <a:pt x="222" y="36"/>
                  </a:lnTo>
                  <a:lnTo>
                    <a:pt x="228" y="36"/>
                  </a:lnTo>
                  <a:lnTo>
                    <a:pt x="228" y="30"/>
                  </a:lnTo>
                  <a:lnTo>
                    <a:pt x="228" y="24"/>
                  </a:lnTo>
                  <a:lnTo>
                    <a:pt x="246" y="18"/>
                  </a:lnTo>
                  <a:lnTo>
                    <a:pt x="252" y="18"/>
                  </a:lnTo>
                  <a:lnTo>
                    <a:pt x="258" y="12"/>
                  </a:lnTo>
                  <a:lnTo>
                    <a:pt x="270" y="6"/>
                  </a:lnTo>
                  <a:lnTo>
                    <a:pt x="288" y="6"/>
                  </a:lnTo>
                  <a:lnTo>
                    <a:pt x="312" y="12"/>
                  </a:lnTo>
                  <a:lnTo>
                    <a:pt x="324" y="12"/>
                  </a:lnTo>
                  <a:lnTo>
                    <a:pt x="336" y="18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14" y="12"/>
                  </a:lnTo>
                  <a:lnTo>
                    <a:pt x="426" y="12"/>
                  </a:lnTo>
                  <a:lnTo>
                    <a:pt x="444" y="18"/>
                  </a:lnTo>
                  <a:lnTo>
                    <a:pt x="462" y="18"/>
                  </a:lnTo>
                  <a:lnTo>
                    <a:pt x="474" y="18"/>
                  </a:lnTo>
                  <a:lnTo>
                    <a:pt x="480" y="18"/>
                  </a:lnTo>
                  <a:lnTo>
                    <a:pt x="486" y="36"/>
                  </a:lnTo>
                  <a:lnTo>
                    <a:pt x="480" y="42"/>
                  </a:lnTo>
                  <a:lnTo>
                    <a:pt x="480" y="54"/>
                  </a:lnTo>
                  <a:lnTo>
                    <a:pt x="486" y="78"/>
                  </a:lnTo>
                  <a:lnTo>
                    <a:pt x="486" y="114"/>
                  </a:lnTo>
                  <a:lnTo>
                    <a:pt x="486" y="150"/>
                  </a:lnTo>
                  <a:lnTo>
                    <a:pt x="468" y="150"/>
                  </a:lnTo>
                  <a:lnTo>
                    <a:pt x="474" y="162"/>
                  </a:lnTo>
                  <a:lnTo>
                    <a:pt x="480" y="162"/>
                  </a:lnTo>
                  <a:lnTo>
                    <a:pt x="486" y="174"/>
                  </a:lnTo>
                  <a:lnTo>
                    <a:pt x="492" y="174"/>
                  </a:lnTo>
                  <a:lnTo>
                    <a:pt x="492" y="192"/>
                  </a:lnTo>
                  <a:lnTo>
                    <a:pt x="498" y="198"/>
                  </a:lnTo>
                  <a:lnTo>
                    <a:pt x="504" y="204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8" y="222"/>
                  </a:lnTo>
                  <a:lnTo>
                    <a:pt x="492" y="228"/>
                  </a:lnTo>
                  <a:lnTo>
                    <a:pt x="492" y="234"/>
                  </a:lnTo>
                  <a:lnTo>
                    <a:pt x="492" y="240"/>
                  </a:lnTo>
                  <a:lnTo>
                    <a:pt x="486" y="246"/>
                  </a:lnTo>
                  <a:lnTo>
                    <a:pt x="486" y="258"/>
                  </a:lnTo>
                  <a:lnTo>
                    <a:pt x="480" y="264"/>
                  </a:lnTo>
                  <a:lnTo>
                    <a:pt x="474" y="276"/>
                  </a:lnTo>
                  <a:lnTo>
                    <a:pt x="468" y="288"/>
                  </a:lnTo>
                  <a:lnTo>
                    <a:pt x="456" y="306"/>
                  </a:lnTo>
                  <a:lnTo>
                    <a:pt x="456" y="312"/>
                  </a:lnTo>
                  <a:lnTo>
                    <a:pt x="444" y="318"/>
                  </a:lnTo>
                  <a:lnTo>
                    <a:pt x="432" y="336"/>
                  </a:lnTo>
                  <a:lnTo>
                    <a:pt x="432" y="342"/>
                  </a:lnTo>
                  <a:lnTo>
                    <a:pt x="432" y="348"/>
                  </a:lnTo>
                  <a:lnTo>
                    <a:pt x="432" y="354"/>
                  </a:lnTo>
                  <a:lnTo>
                    <a:pt x="426" y="366"/>
                  </a:lnTo>
                  <a:lnTo>
                    <a:pt x="420" y="366"/>
                  </a:lnTo>
                  <a:lnTo>
                    <a:pt x="420" y="372"/>
                  </a:lnTo>
                  <a:lnTo>
                    <a:pt x="414" y="378"/>
                  </a:lnTo>
                  <a:lnTo>
                    <a:pt x="414" y="390"/>
                  </a:lnTo>
                  <a:lnTo>
                    <a:pt x="408" y="390"/>
                  </a:lnTo>
                  <a:lnTo>
                    <a:pt x="408" y="402"/>
                  </a:lnTo>
                  <a:lnTo>
                    <a:pt x="402" y="414"/>
                  </a:lnTo>
                  <a:lnTo>
                    <a:pt x="396" y="438"/>
                  </a:lnTo>
                  <a:lnTo>
                    <a:pt x="396" y="444"/>
                  </a:lnTo>
                  <a:lnTo>
                    <a:pt x="390" y="456"/>
                  </a:lnTo>
                  <a:close/>
                </a:path>
              </a:pathLst>
            </a:custGeom>
            <a:solidFill>
              <a:srgbClr val="2A4F1D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11" name="Freeform 7">
              <a:extLst>
                <a:ext uri="{FF2B5EF4-FFF2-40B4-BE49-F238E27FC236}">
                  <a16:creationId xmlns:a16="http://schemas.microsoft.com/office/drawing/2014/main" id="{0D8DE62D-4554-4314-9F3A-7208D89B4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90838" y="4128134"/>
              <a:ext cx="283995" cy="411516"/>
            </a:xfrm>
            <a:custGeom>
              <a:avLst/>
              <a:gdLst>
                <a:gd name="T0" fmla="*/ 39 w 534"/>
                <a:gd name="T1" fmla="*/ 35 h 774"/>
                <a:gd name="T2" fmla="*/ 35 w 534"/>
                <a:gd name="T3" fmla="*/ 31 h 774"/>
                <a:gd name="T4" fmla="*/ 32 w 534"/>
                <a:gd name="T5" fmla="*/ 29 h 774"/>
                <a:gd name="T6" fmla="*/ 32 w 534"/>
                <a:gd name="T7" fmla="*/ 31 h 774"/>
                <a:gd name="T8" fmla="*/ 29 w 534"/>
                <a:gd name="T9" fmla="*/ 33 h 774"/>
                <a:gd name="T10" fmla="*/ 27 w 534"/>
                <a:gd name="T11" fmla="*/ 36 h 774"/>
                <a:gd name="T12" fmla="*/ 30 w 534"/>
                <a:gd name="T13" fmla="*/ 38 h 774"/>
                <a:gd name="T14" fmla="*/ 29 w 534"/>
                <a:gd name="T15" fmla="*/ 40 h 774"/>
                <a:gd name="T16" fmla="*/ 25 w 534"/>
                <a:gd name="T17" fmla="*/ 40 h 774"/>
                <a:gd name="T18" fmla="*/ 23 w 534"/>
                <a:gd name="T19" fmla="*/ 42 h 774"/>
                <a:gd name="T20" fmla="*/ 22 w 534"/>
                <a:gd name="T21" fmla="*/ 47 h 774"/>
                <a:gd name="T22" fmla="*/ 22 w 534"/>
                <a:gd name="T23" fmla="*/ 51 h 774"/>
                <a:gd name="T24" fmla="*/ 22 w 534"/>
                <a:gd name="T25" fmla="*/ 54 h 774"/>
                <a:gd name="T26" fmla="*/ 21 w 534"/>
                <a:gd name="T27" fmla="*/ 56 h 774"/>
                <a:gd name="T28" fmla="*/ 19 w 534"/>
                <a:gd name="T29" fmla="*/ 58 h 774"/>
                <a:gd name="T30" fmla="*/ 20 w 534"/>
                <a:gd name="T31" fmla="*/ 59 h 774"/>
                <a:gd name="T32" fmla="*/ 19 w 534"/>
                <a:gd name="T33" fmla="*/ 62 h 774"/>
                <a:gd name="T34" fmla="*/ 19 w 534"/>
                <a:gd name="T35" fmla="*/ 64 h 774"/>
                <a:gd name="T36" fmla="*/ 20 w 534"/>
                <a:gd name="T37" fmla="*/ 66 h 774"/>
                <a:gd name="T38" fmla="*/ 17 w 534"/>
                <a:gd name="T39" fmla="*/ 66 h 774"/>
                <a:gd name="T40" fmla="*/ 16 w 534"/>
                <a:gd name="T41" fmla="*/ 65 h 774"/>
                <a:gd name="T42" fmla="*/ 13 w 534"/>
                <a:gd name="T43" fmla="*/ 65 h 774"/>
                <a:gd name="T44" fmla="*/ 11 w 534"/>
                <a:gd name="T45" fmla="*/ 65 h 774"/>
                <a:gd name="T46" fmla="*/ 8 w 534"/>
                <a:gd name="T47" fmla="*/ 65 h 774"/>
                <a:gd name="T48" fmla="*/ 8 w 534"/>
                <a:gd name="T49" fmla="*/ 64 h 774"/>
                <a:gd name="T50" fmla="*/ 5 w 534"/>
                <a:gd name="T51" fmla="*/ 65 h 774"/>
                <a:gd name="T52" fmla="*/ 3 w 534"/>
                <a:gd name="T53" fmla="*/ 65 h 774"/>
                <a:gd name="T54" fmla="*/ 0 w 534"/>
                <a:gd name="T55" fmla="*/ 64 h 774"/>
                <a:gd name="T56" fmla="*/ 0 w 534"/>
                <a:gd name="T57" fmla="*/ 62 h 774"/>
                <a:gd name="T58" fmla="*/ 3 w 534"/>
                <a:gd name="T59" fmla="*/ 60 h 774"/>
                <a:gd name="T60" fmla="*/ 6 w 534"/>
                <a:gd name="T61" fmla="*/ 57 h 774"/>
                <a:gd name="T62" fmla="*/ 8 w 534"/>
                <a:gd name="T63" fmla="*/ 50 h 774"/>
                <a:gd name="T64" fmla="*/ 6 w 534"/>
                <a:gd name="T65" fmla="*/ 45 h 774"/>
                <a:gd name="T66" fmla="*/ 8 w 534"/>
                <a:gd name="T67" fmla="*/ 41 h 774"/>
                <a:gd name="T68" fmla="*/ 9 w 534"/>
                <a:gd name="T69" fmla="*/ 38 h 774"/>
                <a:gd name="T70" fmla="*/ 10 w 534"/>
                <a:gd name="T71" fmla="*/ 36 h 774"/>
                <a:gd name="T72" fmla="*/ 12 w 534"/>
                <a:gd name="T73" fmla="*/ 33 h 774"/>
                <a:gd name="T74" fmla="*/ 14 w 534"/>
                <a:gd name="T75" fmla="*/ 29 h 774"/>
                <a:gd name="T76" fmla="*/ 16 w 534"/>
                <a:gd name="T77" fmla="*/ 26 h 774"/>
                <a:gd name="T78" fmla="*/ 16 w 534"/>
                <a:gd name="T79" fmla="*/ 24 h 774"/>
                <a:gd name="T80" fmla="*/ 16 w 534"/>
                <a:gd name="T81" fmla="*/ 21 h 774"/>
                <a:gd name="T82" fmla="*/ 13 w 534"/>
                <a:gd name="T83" fmla="*/ 19 h 774"/>
                <a:gd name="T84" fmla="*/ 14 w 534"/>
                <a:gd name="T85" fmla="*/ 10 h 774"/>
                <a:gd name="T86" fmla="*/ 14 w 534"/>
                <a:gd name="T87" fmla="*/ 7 h 774"/>
                <a:gd name="T88" fmla="*/ 8 w 534"/>
                <a:gd name="T89" fmla="*/ 7 h 774"/>
                <a:gd name="T90" fmla="*/ 7 w 534"/>
                <a:gd name="T91" fmla="*/ 3 h 774"/>
                <a:gd name="T92" fmla="*/ 11 w 534"/>
                <a:gd name="T93" fmla="*/ 1 h 774"/>
                <a:gd name="T94" fmla="*/ 12 w 534"/>
                <a:gd name="T95" fmla="*/ 0 h 774"/>
                <a:gd name="T96" fmla="*/ 16 w 534"/>
                <a:gd name="T97" fmla="*/ 2 h 774"/>
                <a:gd name="T98" fmla="*/ 20 w 534"/>
                <a:gd name="T99" fmla="*/ 2 h 774"/>
                <a:gd name="T100" fmla="*/ 23 w 534"/>
                <a:gd name="T101" fmla="*/ 3 h 774"/>
                <a:gd name="T102" fmla="*/ 23 w 534"/>
                <a:gd name="T103" fmla="*/ 10 h 774"/>
                <a:gd name="T104" fmla="*/ 29 w 534"/>
                <a:gd name="T105" fmla="*/ 12 h 774"/>
                <a:gd name="T106" fmla="*/ 35 w 534"/>
                <a:gd name="T107" fmla="*/ 12 h 774"/>
                <a:gd name="T108" fmla="*/ 38 w 534"/>
                <a:gd name="T109" fmla="*/ 17 h 774"/>
                <a:gd name="T110" fmla="*/ 40 w 534"/>
                <a:gd name="T111" fmla="*/ 19 h 774"/>
                <a:gd name="T112" fmla="*/ 44 w 534"/>
                <a:gd name="T113" fmla="*/ 23 h 774"/>
                <a:gd name="T114" fmla="*/ 44 w 534"/>
                <a:gd name="T115" fmla="*/ 30 h 774"/>
                <a:gd name="T116" fmla="*/ 46 w 534"/>
                <a:gd name="T117" fmla="*/ 36 h 774"/>
                <a:gd name="T118" fmla="*/ 41 w 534"/>
                <a:gd name="T119" fmla="*/ 37 h 77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34"/>
                <a:gd name="T181" fmla="*/ 0 h 774"/>
                <a:gd name="T182" fmla="*/ 534 w 534"/>
                <a:gd name="T183" fmla="*/ 774 h 77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34" h="774">
                  <a:moveTo>
                    <a:pt x="462" y="426"/>
                  </a:moveTo>
                  <a:lnTo>
                    <a:pt x="462" y="414"/>
                  </a:lnTo>
                  <a:lnTo>
                    <a:pt x="450" y="402"/>
                  </a:lnTo>
                  <a:lnTo>
                    <a:pt x="444" y="396"/>
                  </a:lnTo>
                  <a:lnTo>
                    <a:pt x="420" y="396"/>
                  </a:lnTo>
                  <a:lnTo>
                    <a:pt x="408" y="390"/>
                  </a:lnTo>
                  <a:lnTo>
                    <a:pt x="402" y="366"/>
                  </a:lnTo>
                  <a:lnTo>
                    <a:pt x="390" y="354"/>
                  </a:lnTo>
                  <a:lnTo>
                    <a:pt x="384" y="336"/>
                  </a:lnTo>
                  <a:lnTo>
                    <a:pt x="378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8" y="348"/>
                  </a:lnTo>
                  <a:lnTo>
                    <a:pt x="360" y="354"/>
                  </a:lnTo>
                  <a:lnTo>
                    <a:pt x="360" y="390"/>
                  </a:lnTo>
                  <a:lnTo>
                    <a:pt x="348" y="390"/>
                  </a:lnTo>
                  <a:lnTo>
                    <a:pt x="342" y="384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90"/>
                  </a:lnTo>
                  <a:lnTo>
                    <a:pt x="312" y="402"/>
                  </a:lnTo>
                  <a:lnTo>
                    <a:pt x="306" y="420"/>
                  </a:lnTo>
                  <a:lnTo>
                    <a:pt x="324" y="414"/>
                  </a:lnTo>
                  <a:lnTo>
                    <a:pt x="330" y="414"/>
                  </a:lnTo>
                  <a:lnTo>
                    <a:pt x="336" y="420"/>
                  </a:lnTo>
                  <a:lnTo>
                    <a:pt x="336" y="432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6"/>
                  </a:lnTo>
                  <a:lnTo>
                    <a:pt x="318" y="456"/>
                  </a:lnTo>
                  <a:lnTo>
                    <a:pt x="300" y="456"/>
                  </a:lnTo>
                  <a:lnTo>
                    <a:pt x="288" y="462"/>
                  </a:lnTo>
                  <a:lnTo>
                    <a:pt x="276" y="462"/>
                  </a:lnTo>
                  <a:lnTo>
                    <a:pt x="270" y="462"/>
                  </a:lnTo>
                  <a:lnTo>
                    <a:pt x="270" y="468"/>
                  </a:lnTo>
                  <a:lnTo>
                    <a:pt x="252" y="468"/>
                  </a:lnTo>
                  <a:lnTo>
                    <a:pt x="258" y="480"/>
                  </a:lnTo>
                  <a:lnTo>
                    <a:pt x="258" y="492"/>
                  </a:lnTo>
                  <a:lnTo>
                    <a:pt x="258" y="498"/>
                  </a:lnTo>
                  <a:lnTo>
                    <a:pt x="258" y="510"/>
                  </a:lnTo>
                  <a:lnTo>
                    <a:pt x="252" y="540"/>
                  </a:lnTo>
                  <a:lnTo>
                    <a:pt x="246" y="564"/>
                  </a:lnTo>
                  <a:lnTo>
                    <a:pt x="246" y="570"/>
                  </a:lnTo>
                  <a:lnTo>
                    <a:pt x="252" y="576"/>
                  </a:lnTo>
                  <a:lnTo>
                    <a:pt x="246" y="582"/>
                  </a:lnTo>
                  <a:lnTo>
                    <a:pt x="252" y="600"/>
                  </a:lnTo>
                  <a:lnTo>
                    <a:pt x="258" y="606"/>
                  </a:lnTo>
                  <a:lnTo>
                    <a:pt x="258" y="612"/>
                  </a:lnTo>
                  <a:lnTo>
                    <a:pt x="252" y="618"/>
                  </a:lnTo>
                  <a:lnTo>
                    <a:pt x="246" y="624"/>
                  </a:lnTo>
                  <a:lnTo>
                    <a:pt x="246" y="630"/>
                  </a:lnTo>
                  <a:lnTo>
                    <a:pt x="246" y="636"/>
                  </a:lnTo>
                  <a:lnTo>
                    <a:pt x="240" y="642"/>
                  </a:lnTo>
                  <a:lnTo>
                    <a:pt x="234" y="654"/>
                  </a:lnTo>
                  <a:lnTo>
                    <a:pt x="228" y="654"/>
                  </a:lnTo>
                  <a:lnTo>
                    <a:pt x="222" y="660"/>
                  </a:lnTo>
                  <a:lnTo>
                    <a:pt x="216" y="666"/>
                  </a:lnTo>
                  <a:lnTo>
                    <a:pt x="210" y="666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22" y="684"/>
                  </a:lnTo>
                  <a:lnTo>
                    <a:pt x="222" y="690"/>
                  </a:lnTo>
                  <a:lnTo>
                    <a:pt x="222" y="696"/>
                  </a:lnTo>
                  <a:lnTo>
                    <a:pt x="222" y="702"/>
                  </a:lnTo>
                  <a:lnTo>
                    <a:pt x="216" y="708"/>
                  </a:lnTo>
                  <a:lnTo>
                    <a:pt x="210" y="720"/>
                  </a:lnTo>
                  <a:lnTo>
                    <a:pt x="216" y="732"/>
                  </a:lnTo>
                  <a:lnTo>
                    <a:pt x="210" y="732"/>
                  </a:lnTo>
                  <a:lnTo>
                    <a:pt x="216" y="738"/>
                  </a:lnTo>
                  <a:lnTo>
                    <a:pt x="216" y="744"/>
                  </a:lnTo>
                  <a:lnTo>
                    <a:pt x="222" y="750"/>
                  </a:lnTo>
                  <a:lnTo>
                    <a:pt x="228" y="756"/>
                  </a:lnTo>
                  <a:lnTo>
                    <a:pt x="222" y="762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04" y="762"/>
                  </a:lnTo>
                  <a:lnTo>
                    <a:pt x="198" y="762"/>
                  </a:lnTo>
                  <a:lnTo>
                    <a:pt x="192" y="762"/>
                  </a:lnTo>
                  <a:lnTo>
                    <a:pt x="186" y="756"/>
                  </a:lnTo>
                  <a:lnTo>
                    <a:pt x="180" y="750"/>
                  </a:lnTo>
                  <a:lnTo>
                    <a:pt x="180" y="744"/>
                  </a:lnTo>
                  <a:lnTo>
                    <a:pt x="174" y="744"/>
                  </a:lnTo>
                  <a:lnTo>
                    <a:pt x="156" y="750"/>
                  </a:lnTo>
                  <a:lnTo>
                    <a:pt x="150" y="750"/>
                  </a:lnTo>
                  <a:lnTo>
                    <a:pt x="144" y="750"/>
                  </a:lnTo>
                  <a:lnTo>
                    <a:pt x="138" y="750"/>
                  </a:lnTo>
                  <a:lnTo>
                    <a:pt x="138" y="744"/>
                  </a:lnTo>
                  <a:lnTo>
                    <a:pt x="132" y="744"/>
                  </a:lnTo>
                  <a:lnTo>
                    <a:pt x="120" y="744"/>
                  </a:lnTo>
                  <a:lnTo>
                    <a:pt x="114" y="738"/>
                  </a:lnTo>
                  <a:lnTo>
                    <a:pt x="108" y="744"/>
                  </a:lnTo>
                  <a:lnTo>
                    <a:pt x="102" y="744"/>
                  </a:lnTo>
                  <a:lnTo>
                    <a:pt x="96" y="744"/>
                  </a:lnTo>
                  <a:lnTo>
                    <a:pt x="96" y="738"/>
                  </a:lnTo>
                  <a:lnTo>
                    <a:pt x="96" y="744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44"/>
                  </a:lnTo>
                  <a:lnTo>
                    <a:pt x="72" y="750"/>
                  </a:lnTo>
                  <a:lnTo>
                    <a:pt x="66" y="750"/>
                  </a:lnTo>
                  <a:lnTo>
                    <a:pt x="60" y="750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0"/>
                  </a:lnTo>
                  <a:lnTo>
                    <a:pt x="30" y="750"/>
                  </a:lnTo>
                  <a:lnTo>
                    <a:pt x="24" y="744"/>
                  </a:lnTo>
                  <a:lnTo>
                    <a:pt x="18" y="738"/>
                  </a:lnTo>
                  <a:lnTo>
                    <a:pt x="6" y="738"/>
                  </a:lnTo>
                  <a:lnTo>
                    <a:pt x="0" y="732"/>
                  </a:lnTo>
                  <a:lnTo>
                    <a:pt x="0" y="726"/>
                  </a:lnTo>
                  <a:lnTo>
                    <a:pt x="0" y="720"/>
                  </a:lnTo>
                  <a:lnTo>
                    <a:pt x="6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8" y="702"/>
                  </a:lnTo>
                  <a:lnTo>
                    <a:pt x="24" y="696"/>
                  </a:lnTo>
                  <a:lnTo>
                    <a:pt x="30" y="696"/>
                  </a:lnTo>
                  <a:lnTo>
                    <a:pt x="48" y="690"/>
                  </a:lnTo>
                  <a:lnTo>
                    <a:pt x="54" y="678"/>
                  </a:lnTo>
                  <a:lnTo>
                    <a:pt x="66" y="672"/>
                  </a:lnTo>
                  <a:lnTo>
                    <a:pt x="66" y="654"/>
                  </a:lnTo>
                  <a:lnTo>
                    <a:pt x="72" y="636"/>
                  </a:lnTo>
                  <a:lnTo>
                    <a:pt x="72" y="612"/>
                  </a:lnTo>
                  <a:lnTo>
                    <a:pt x="84" y="594"/>
                  </a:lnTo>
                  <a:lnTo>
                    <a:pt x="90" y="576"/>
                  </a:lnTo>
                  <a:lnTo>
                    <a:pt x="96" y="552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72" y="522"/>
                  </a:lnTo>
                  <a:lnTo>
                    <a:pt x="78" y="510"/>
                  </a:lnTo>
                  <a:lnTo>
                    <a:pt x="78" y="504"/>
                  </a:lnTo>
                  <a:lnTo>
                    <a:pt x="84" y="480"/>
                  </a:lnTo>
                  <a:lnTo>
                    <a:pt x="90" y="468"/>
                  </a:lnTo>
                  <a:lnTo>
                    <a:pt x="90" y="456"/>
                  </a:lnTo>
                  <a:lnTo>
                    <a:pt x="96" y="456"/>
                  </a:lnTo>
                  <a:lnTo>
                    <a:pt x="96" y="444"/>
                  </a:lnTo>
                  <a:lnTo>
                    <a:pt x="102" y="438"/>
                  </a:lnTo>
                  <a:lnTo>
                    <a:pt x="102" y="432"/>
                  </a:lnTo>
                  <a:lnTo>
                    <a:pt x="108" y="432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14" y="408"/>
                  </a:lnTo>
                  <a:lnTo>
                    <a:pt x="114" y="402"/>
                  </a:lnTo>
                  <a:lnTo>
                    <a:pt x="126" y="384"/>
                  </a:lnTo>
                  <a:lnTo>
                    <a:pt x="138" y="378"/>
                  </a:lnTo>
                  <a:lnTo>
                    <a:pt x="138" y="372"/>
                  </a:lnTo>
                  <a:lnTo>
                    <a:pt x="150" y="354"/>
                  </a:lnTo>
                  <a:lnTo>
                    <a:pt x="156" y="342"/>
                  </a:lnTo>
                  <a:lnTo>
                    <a:pt x="162" y="330"/>
                  </a:lnTo>
                  <a:lnTo>
                    <a:pt x="168" y="324"/>
                  </a:lnTo>
                  <a:lnTo>
                    <a:pt x="168" y="312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74" y="294"/>
                  </a:lnTo>
                  <a:lnTo>
                    <a:pt x="180" y="288"/>
                  </a:lnTo>
                  <a:lnTo>
                    <a:pt x="180" y="276"/>
                  </a:lnTo>
                  <a:lnTo>
                    <a:pt x="186" y="276"/>
                  </a:lnTo>
                  <a:lnTo>
                    <a:pt x="186" y="270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40"/>
                  </a:lnTo>
                  <a:lnTo>
                    <a:pt x="168" y="240"/>
                  </a:lnTo>
                  <a:lnTo>
                    <a:pt x="162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68" y="216"/>
                  </a:lnTo>
                  <a:lnTo>
                    <a:pt x="168" y="180"/>
                  </a:lnTo>
                  <a:lnTo>
                    <a:pt x="168" y="144"/>
                  </a:lnTo>
                  <a:lnTo>
                    <a:pt x="162" y="120"/>
                  </a:lnTo>
                  <a:lnTo>
                    <a:pt x="162" y="108"/>
                  </a:lnTo>
                  <a:lnTo>
                    <a:pt x="168" y="102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44" y="84"/>
                  </a:lnTo>
                  <a:lnTo>
                    <a:pt x="126" y="84"/>
                  </a:lnTo>
                  <a:lnTo>
                    <a:pt x="108" y="78"/>
                  </a:lnTo>
                  <a:lnTo>
                    <a:pt x="96" y="78"/>
                  </a:lnTo>
                  <a:lnTo>
                    <a:pt x="78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8" y="36"/>
                  </a:lnTo>
                  <a:lnTo>
                    <a:pt x="96" y="24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56" y="0"/>
                  </a:lnTo>
                  <a:lnTo>
                    <a:pt x="156" y="6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18"/>
                  </a:lnTo>
                  <a:lnTo>
                    <a:pt x="198" y="18"/>
                  </a:lnTo>
                  <a:lnTo>
                    <a:pt x="210" y="18"/>
                  </a:lnTo>
                  <a:lnTo>
                    <a:pt x="222" y="18"/>
                  </a:lnTo>
                  <a:lnTo>
                    <a:pt x="234" y="12"/>
                  </a:lnTo>
                  <a:lnTo>
                    <a:pt x="252" y="18"/>
                  </a:lnTo>
                  <a:lnTo>
                    <a:pt x="252" y="24"/>
                  </a:lnTo>
                  <a:lnTo>
                    <a:pt x="258" y="36"/>
                  </a:lnTo>
                  <a:lnTo>
                    <a:pt x="258" y="66"/>
                  </a:lnTo>
                  <a:lnTo>
                    <a:pt x="252" y="84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82" y="126"/>
                  </a:lnTo>
                  <a:lnTo>
                    <a:pt x="294" y="132"/>
                  </a:lnTo>
                  <a:lnTo>
                    <a:pt x="306" y="138"/>
                  </a:lnTo>
                  <a:lnTo>
                    <a:pt x="324" y="138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60" y="144"/>
                  </a:lnTo>
                  <a:lnTo>
                    <a:pt x="396" y="144"/>
                  </a:lnTo>
                  <a:lnTo>
                    <a:pt x="408" y="150"/>
                  </a:lnTo>
                  <a:lnTo>
                    <a:pt x="414" y="180"/>
                  </a:lnTo>
                  <a:lnTo>
                    <a:pt x="420" y="186"/>
                  </a:lnTo>
                  <a:lnTo>
                    <a:pt x="426" y="192"/>
                  </a:lnTo>
                  <a:lnTo>
                    <a:pt x="426" y="198"/>
                  </a:lnTo>
                  <a:lnTo>
                    <a:pt x="432" y="198"/>
                  </a:lnTo>
                  <a:lnTo>
                    <a:pt x="438" y="210"/>
                  </a:lnTo>
                  <a:lnTo>
                    <a:pt x="450" y="216"/>
                  </a:lnTo>
                  <a:lnTo>
                    <a:pt x="468" y="228"/>
                  </a:lnTo>
                  <a:lnTo>
                    <a:pt x="492" y="234"/>
                  </a:lnTo>
                  <a:lnTo>
                    <a:pt x="492" y="246"/>
                  </a:lnTo>
                  <a:lnTo>
                    <a:pt x="492" y="270"/>
                  </a:lnTo>
                  <a:lnTo>
                    <a:pt x="486" y="294"/>
                  </a:lnTo>
                  <a:lnTo>
                    <a:pt x="486" y="312"/>
                  </a:lnTo>
                  <a:lnTo>
                    <a:pt x="486" y="330"/>
                  </a:lnTo>
                  <a:lnTo>
                    <a:pt x="492" y="348"/>
                  </a:lnTo>
                  <a:lnTo>
                    <a:pt x="498" y="360"/>
                  </a:lnTo>
                  <a:lnTo>
                    <a:pt x="510" y="366"/>
                  </a:lnTo>
                  <a:lnTo>
                    <a:pt x="516" y="384"/>
                  </a:lnTo>
                  <a:lnTo>
                    <a:pt x="522" y="414"/>
                  </a:lnTo>
                  <a:lnTo>
                    <a:pt x="528" y="414"/>
                  </a:lnTo>
                  <a:lnTo>
                    <a:pt x="534" y="426"/>
                  </a:lnTo>
                  <a:lnTo>
                    <a:pt x="528" y="432"/>
                  </a:lnTo>
                  <a:lnTo>
                    <a:pt x="468" y="426"/>
                  </a:lnTo>
                  <a:lnTo>
                    <a:pt x="462" y="42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3" name="Freeform 8">
              <a:extLst>
                <a:ext uri="{FF2B5EF4-FFF2-40B4-BE49-F238E27FC236}">
                  <a16:creationId xmlns:a16="http://schemas.microsoft.com/office/drawing/2014/main" id="{D473457C-872E-4E31-888A-D60FD52063A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98175" y="4307054"/>
              <a:ext cx="295177" cy="348894"/>
            </a:xfrm>
            <a:custGeom>
              <a:avLst/>
              <a:gdLst>
                <a:gd name="T0" fmla="*/ 3 w 552"/>
                <a:gd name="T1" fmla="*/ 46 h 660"/>
                <a:gd name="T2" fmla="*/ 4 w 552"/>
                <a:gd name="T3" fmla="*/ 42 h 660"/>
                <a:gd name="T4" fmla="*/ 2 w 552"/>
                <a:gd name="T5" fmla="*/ 38 h 660"/>
                <a:gd name="T6" fmla="*/ 0 w 552"/>
                <a:gd name="T7" fmla="*/ 34 h 660"/>
                <a:gd name="T8" fmla="*/ 2 w 552"/>
                <a:gd name="T9" fmla="*/ 30 h 660"/>
                <a:gd name="T10" fmla="*/ 3 w 552"/>
                <a:gd name="T11" fmla="*/ 27 h 660"/>
                <a:gd name="T12" fmla="*/ 5 w 552"/>
                <a:gd name="T13" fmla="*/ 23 h 660"/>
                <a:gd name="T14" fmla="*/ 5 w 552"/>
                <a:gd name="T15" fmla="*/ 15 h 660"/>
                <a:gd name="T16" fmla="*/ 6 w 552"/>
                <a:gd name="T17" fmla="*/ 11 h 660"/>
                <a:gd name="T18" fmla="*/ 11 w 552"/>
                <a:gd name="T19" fmla="*/ 9 h 660"/>
                <a:gd name="T20" fmla="*/ 10 w 552"/>
                <a:gd name="T21" fmla="*/ 5 h 660"/>
                <a:gd name="T22" fmla="*/ 12 w 552"/>
                <a:gd name="T23" fmla="*/ 1 h 660"/>
                <a:gd name="T24" fmla="*/ 16 w 552"/>
                <a:gd name="T25" fmla="*/ 2 h 660"/>
                <a:gd name="T26" fmla="*/ 23 w 552"/>
                <a:gd name="T27" fmla="*/ 8 h 660"/>
                <a:gd name="T28" fmla="*/ 23 w 552"/>
                <a:gd name="T29" fmla="*/ 11 h 660"/>
                <a:gd name="T30" fmla="*/ 27 w 552"/>
                <a:gd name="T31" fmla="*/ 12 h 660"/>
                <a:gd name="T32" fmla="*/ 29 w 552"/>
                <a:gd name="T33" fmla="*/ 17 h 660"/>
                <a:gd name="T34" fmla="*/ 31 w 552"/>
                <a:gd name="T35" fmla="*/ 15 h 660"/>
                <a:gd name="T36" fmla="*/ 33 w 552"/>
                <a:gd name="T37" fmla="*/ 17 h 660"/>
                <a:gd name="T38" fmla="*/ 36 w 552"/>
                <a:gd name="T39" fmla="*/ 23 h 660"/>
                <a:gd name="T40" fmla="*/ 41 w 552"/>
                <a:gd name="T41" fmla="*/ 33 h 660"/>
                <a:gd name="T42" fmla="*/ 43 w 552"/>
                <a:gd name="T43" fmla="*/ 36 h 660"/>
                <a:gd name="T44" fmla="*/ 43 w 552"/>
                <a:gd name="T45" fmla="*/ 37 h 660"/>
                <a:gd name="T46" fmla="*/ 41 w 552"/>
                <a:gd name="T47" fmla="*/ 35 h 660"/>
                <a:gd name="T48" fmla="*/ 43 w 552"/>
                <a:gd name="T49" fmla="*/ 37 h 660"/>
                <a:gd name="T50" fmla="*/ 44 w 552"/>
                <a:gd name="T51" fmla="*/ 39 h 660"/>
                <a:gd name="T52" fmla="*/ 47 w 552"/>
                <a:gd name="T53" fmla="*/ 41 h 660"/>
                <a:gd name="T54" fmla="*/ 47 w 552"/>
                <a:gd name="T55" fmla="*/ 44 h 660"/>
                <a:gd name="T56" fmla="*/ 48 w 552"/>
                <a:gd name="T57" fmla="*/ 46 h 660"/>
                <a:gd name="T58" fmla="*/ 47 w 552"/>
                <a:gd name="T59" fmla="*/ 46 h 660"/>
                <a:gd name="T60" fmla="*/ 44 w 552"/>
                <a:gd name="T61" fmla="*/ 46 h 660"/>
                <a:gd name="T62" fmla="*/ 47 w 552"/>
                <a:gd name="T63" fmla="*/ 47 h 660"/>
                <a:gd name="T64" fmla="*/ 47 w 552"/>
                <a:gd name="T65" fmla="*/ 49 h 660"/>
                <a:gd name="T66" fmla="*/ 47 w 552"/>
                <a:gd name="T67" fmla="*/ 52 h 660"/>
                <a:gd name="T68" fmla="*/ 46 w 552"/>
                <a:gd name="T69" fmla="*/ 53 h 660"/>
                <a:gd name="T70" fmla="*/ 43 w 552"/>
                <a:gd name="T71" fmla="*/ 54 h 660"/>
                <a:gd name="T72" fmla="*/ 37 w 552"/>
                <a:gd name="T73" fmla="*/ 54 h 660"/>
                <a:gd name="T74" fmla="*/ 30 w 552"/>
                <a:gd name="T75" fmla="*/ 54 h 660"/>
                <a:gd name="T76" fmla="*/ 29 w 552"/>
                <a:gd name="T77" fmla="*/ 53 h 660"/>
                <a:gd name="T78" fmla="*/ 27 w 552"/>
                <a:gd name="T79" fmla="*/ 53 h 660"/>
                <a:gd name="T80" fmla="*/ 29 w 552"/>
                <a:gd name="T81" fmla="*/ 53 h 660"/>
                <a:gd name="T82" fmla="*/ 28 w 552"/>
                <a:gd name="T83" fmla="*/ 54 h 660"/>
                <a:gd name="T84" fmla="*/ 24 w 552"/>
                <a:gd name="T85" fmla="*/ 54 h 660"/>
                <a:gd name="T86" fmla="*/ 20 w 552"/>
                <a:gd name="T87" fmla="*/ 55 h 660"/>
                <a:gd name="T88" fmla="*/ 15 w 552"/>
                <a:gd name="T89" fmla="*/ 56 h 660"/>
                <a:gd name="T90" fmla="*/ 12 w 552"/>
                <a:gd name="T91" fmla="*/ 56 h 660"/>
                <a:gd name="T92" fmla="*/ 11 w 552"/>
                <a:gd name="T93" fmla="*/ 57 h 660"/>
                <a:gd name="T94" fmla="*/ 9 w 552"/>
                <a:gd name="T95" fmla="*/ 57 h 660"/>
                <a:gd name="T96" fmla="*/ 7 w 552"/>
                <a:gd name="T97" fmla="*/ 56 h 660"/>
                <a:gd name="T98" fmla="*/ 5 w 552"/>
                <a:gd name="T99" fmla="*/ 55 h 660"/>
                <a:gd name="T100" fmla="*/ 7 w 552"/>
                <a:gd name="T101" fmla="*/ 54 h 660"/>
                <a:gd name="T102" fmla="*/ 5 w 552"/>
                <a:gd name="T103" fmla="*/ 54 h 660"/>
                <a:gd name="T104" fmla="*/ 5 w 552"/>
                <a:gd name="T105" fmla="*/ 53 h 660"/>
                <a:gd name="T106" fmla="*/ 4 w 552"/>
                <a:gd name="T107" fmla="*/ 49 h 660"/>
                <a:gd name="T108" fmla="*/ 45 w 552"/>
                <a:gd name="T109" fmla="*/ 38 h 66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52"/>
                <a:gd name="T166" fmla="*/ 0 h 660"/>
                <a:gd name="T167" fmla="*/ 552 w 552"/>
                <a:gd name="T168" fmla="*/ 660 h 66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52" h="660">
                  <a:moveTo>
                    <a:pt x="36" y="564"/>
                  </a:moveTo>
                  <a:lnTo>
                    <a:pt x="36" y="558"/>
                  </a:lnTo>
                  <a:lnTo>
                    <a:pt x="36" y="552"/>
                  </a:lnTo>
                  <a:lnTo>
                    <a:pt x="42" y="546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34"/>
                  </a:lnTo>
                  <a:lnTo>
                    <a:pt x="36" y="528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54" y="510"/>
                  </a:lnTo>
                  <a:lnTo>
                    <a:pt x="54" y="504"/>
                  </a:lnTo>
                  <a:lnTo>
                    <a:pt x="54" y="498"/>
                  </a:lnTo>
                  <a:lnTo>
                    <a:pt x="48" y="492"/>
                  </a:lnTo>
                  <a:lnTo>
                    <a:pt x="42" y="486"/>
                  </a:lnTo>
                  <a:lnTo>
                    <a:pt x="42" y="480"/>
                  </a:lnTo>
                  <a:lnTo>
                    <a:pt x="42" y="468"/>
                  </a:lnTo>
                  <a:lnTo>
                    <a:pt x="30" y="456"/>
                  </a:lnTo>
                  <a:lnTo>
                    <a:pt x="30" y="450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2"/>
                  </a:lnTo>
                  <a:lnTo>
                    <a:pt x="18" y="426"/>
                  </a:lnTo>
                  <a:lnTo>
                    <a:pt x="24" y="420"/>
                  </a:lnTo>
                  <a:lnTo>
                    <a:pt x="18" y="414"/>
                  </a:lnTo>
                  <a:lnTo>
                    <a:pt x="12" y="408"/>
                  </a:lnTo>
                  <a:lnTo>
                    <a:pt x="12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6" y="384"/>
                  </a:lnTo>
                  <a:lnTo>
                    <a:pt x="12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8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36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54" y="270"/>
                  </a:lnTo>
                  <a:lnTo>
                    <a:pt x="48" y="264"/>
                  </a:lnTo>
                  <a:lnTo>
                    <a:pt x="42" y="246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8" y="204"/>
                  </a:lnTo>
                  <a:lnTo>
                    <a:pt x="54" y="174"/>
                  </a:lnTo>
                  <a:lnTo>
                    <a:pt x="54" y="162"/>
                  </a:lnTo>
                  <a:lnTo>
                    <a:pt x="54" y="156"/>
                  </a:lnTo>
                  <a:lnTo>
                    <a:pt x="54" y="144"/>
                  </a:lnTo>
                  <a:lnTo>
                    <a:pt x="48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72" y="126"/>
                  </a:lnTo>
                  <a:lnTo>
                    <a:pt x="84" y="126"/>
                  </a:lnTo>
                  <a:lnTo>
                    <a:pt x="96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2" y="84"/>
                  </a:lnTo>
                  <a:lnTo>
                    <a:pt x="126" y="78"/>
                  </a:lnTo>
                  <a:lnTo>
                    <a:pt x="120" y="78"/>
                  </a:lnTo>
                  <a:lnTo>
                    <a:pt x="102" y="84"/>
                  </a:lnTo>
                  <a:lnTo>
                    <a:pt x="108" y="66"/>
                  </a:lnTo>
                  <a:lnTo>
                    <a:pt x="114" y="54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8" y="4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6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74" y="0"/>
                  </a:lnTo>
                  <a:lnTo>
                    <a:pt x="180" y="0"/>
                  </a:lnTo>
                  <a:lnTo>
                    <a:pt x="186" y="18"/>
                  </a:lnTo>
                  <a:lnTo>
                    <a:pt x="198" y="30"/>
                  </a:lnTo>
                  <a:lnTo>
                    <a:pt x="204" y="54"/>
                  </a:lnTo>
                  <a:lnTo>
                    <a:pt x="216" y="60"/>
                  </a:lnTo>
                  <a:lnTo>
                    <a:pt x="240" y="60"/>
                  </a:lnTo>
                  <a:lnTo>
                    <a:pt x="246" y="66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2" y="120"/>
                  </a:lnTo>
                  <a:lnTo>
                    <a:pt x="25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6" y="126"/>
                  </a:lnTo>
                  <a:lnTo>
                    <a:pt x="282" y="120"/>
                  </a:lnTo>
                  <a:lnTo>
                    <a:pt x="282" y="126"/>
                  </a:lnTo>
                  <a:lnTo>
                    <a:pt x="294" y="126"/>
                  </a:lnTo>
                  <a:lnTo>
                    <a:pt x="300" y="132"/>
                  </a:lnTo>
                  <a:lnTo>
                    <a:pt x="306" y="144"/>
                  </a:lnTo>
                  <a:lnTo>
                    <a:pt x="312" y="144"/>
                  </a:lnTo>
                  <a:lnTo>
                    <a:pt x="312" y="150"/>
                  </a:lnTo>
                  <a:lnTo>
                    <a:pt x="312" y="162"/>
                  </a:lnTo>
                  <a:lnTo>
                    <a:pt x="312" y="174"/>
                  </a:lnTo>
                  <a:lnTo>
                    <a:pt x="324" y="180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30" y="192"/>
                  </a:lnTo>
                  <a:lnTo>
                    <a:pt x="336" y="198"/>
                  </a:lnTo>
                  <a:lnTo>
                    <a:pt x="342" y="192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54" y="180"/>
                  </a:lnTo>
                  <a:lnTo>
                    <a:pt x="354" y="174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84" y="192"/>
                  </a:lnTo>
                  <a:lnTo>
                    <a:pt x="390" y="204"/>
                  </a:lnTo>
                  <a:lnTo>
                    <a:pt x="390" y="210"/>
                  </a:lnTo>
                  <a:lnTo>
                    <a:pt x="390" y="216"/>
                  </a:lnTo>
                  <a:lnTo>
                    <a:pt x="384" y="234"/>
                  </a:lnTo>
                  <a:lnTo>
                    <a:pt x="390" y="240"/>
                  </a:lnTo>
                  <a:lnTo>
                    <a:pt x="408" y="252"/>
                  </a:lnTo>
                  <a:lnTo>
                    <a:pt x="414" y="264"/>
                  </a:lnTo>
                  <a:lnTo>
                    <a:pt x="408" y="300"/>
                  </a:lnTo>
                  <a:lnTo>
                    <a:pt x="414" y="312"/>
                  </a:lnTo>
                  <a:lnTo>
                    <a:pt x="426" y="336"/>
                  </a:lnTo>
                  <a:lnTo>
                    <a:pt x="438" y="354"/>
                  </a:lnTo>
                  <a:lnTo>
                    <a:pt x="444" y="366"/>
                  </a:lnTo>
                  <a:lnTo>
                    <a:pt x="456" y="366"/>
                  </a:lnTo>
                  <a:lnTo>
                    <a:pt x="474" y="378"/>
                  </a:lnTo>
                  <a:lnTo>
                    <a:pt x="474" y="384"/>
                  </a:lnTo>
                  <a:lnTo>
                    <a:pt x="480" y="390"/>
                  </a:lnTo>
                  <a:lnTo>
                    <a:pt x="486" y="396"/>
                  </a:lnTo>
                  <a:lnTo>
                    <a:pt x="486" y="402"/>
                  </a:lnTo>
                  <a:lnTo>
                    <a:pt x="480" y="408"/>
                  </a:lnTo>
                  <a:lnTo>
                    <a:pt x="486" y="408"/>
                  </a:lnTo>
                  <a:lnTo>
                    <a:pt x="486" y="414"/>
                  </a:lnTo>
                  <a:lnTo>
                    <a:pt x="492" y="414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32"/>
                  </a:lnTo>
                  <a:lnTo>
                    <a:pt x="498" y="438"/>
                  </a:lnTo>
                  <a:lnTo>
                    <a:pt x="492" y="432"/>
                  </a:lnTo>
                  <a:lnTo>
                    <a:pt x="486" y="426"/>
                  </a:lnTo>
                  <a:lnTo>
                    <a:pt x="486" y="420"/>
                  </a:lnTo>
                  <a:lnTo>
                    <a:pt x="486" y="414"/>
                  </a:lnTo>
                  <a:lnTo>
                    <a:pt x="480" y="414"/>
                  </a:lnTo>
                  <a:lnTo>
                    <a:pt x="480" y="408"/>
                  </a:lnTo>
                  <a:lnTo>
                    <a:pt x="474" y="408"/>
                  </a:lnTo>
                  <a:lnTo>
                    <a:pt x="468" y="408"/>
                  </a:lnTo>
                  <a:lnTo>
                    <a:pt x="468" y="402"/>
                  </a:lnTo>
                  <a:lnTo>
                    <a:pt x="462" y="402"/>
                  </a:lnTo>
                  <a:lnTo>
                    <a:pt x="462" y="408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80" y="426"/>
                  </a:lnTo>
                  <a:lnTo>
                    <a:pt x="486" y="426"/>
                  </a:lnTo>
                  <a:lnTo>
                    <a:pt x="486" y="432"/>
                  </a:lnTo>
                  <a:lnTo>
                    <a:pt x="492" y="438"/>
                  </a:lnTo>
                  <a:lnTo>
                    <a:pt x="498" y="438"/>
                  </a:lnTo>
                  <a:lnTo>
                    <a:pt x="504" y="444"/>
                  </a:lnTo>
                  <a:lnTo>
                    <a:pt x="510" y="444"/>
                  </a:lnTo>
                  <a:lnTo>
                    <a:pt x="510" y="450"/>
                  </a:lnTo>
                  <a:lnTo>
                    <a:pt x="510" y="456"/>
                  </a:lnTo>
                  <a:lnTo>
                    <a:pt x="516" y="456"/>
                  </a:lnTo>
                  <a:lnTo>
                    <a:pt x="516" y="462"/>
                  </a:lnTo>
                  <a:lnTo>
                    <a:pt x="522" y="462"/>
                  </a:lnTo>
                  <a:lnTo>
                    <a:pt x="522" y="468"/>
                  </a:lnTo>
                  <a:lnTo>
                    <a:pt x="528" y="468"/>
                  </a:lnTo>
                  <a:lnTo>
                    <a:pt x="534" y="468"/>
                  </a:lnTo>
                  <a:lnTo>
                    <a:pt x="534" y="474"/>
                  </a:lnTo>
                  <a:lnTo>
                    <a:pt x="540" y="474"/>
                  </a:lnTo>
                  <a:lnTo>
                    <a:pt x="540" y="480"/>
                  </a:lnTo>
                  <a:lnTo>
                    <a:pt x="546" y="486"/>
                  </a:lnTo>
                  <a:lnTo>
                    <a:pt x="546" y="492"/>
                  </a:lnTo>
                  <a:lnTo>
                    <a:pt x="546" y="498"/>
                  </a:lnTo>
                  <a:lnTo>
                    <a:pt x="546" y="504"/>
                  </a:lnTo>
                  <a:lnTo>
                    <a:pt x="540" y="504"/>
                  </a:lnTo>
                  <a:lnTo>
                    <a:pt x="546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10"/>
                  </a:lnTo>
                  <a:lnTo>
                    <a:pt x="552" y="516"/>
                  </a:lnTo>
                  <a:lnTo>
                    <a:pt x="552" y="522"/>
                  </a:lnTo>
                  <a:lnTo>
                    <a:pt x="552" y="528"/>
                  </a:lnTo>
                  <a:lnTo>
                    <a:pt x="552" y="534"/>
                  </a:lnTo>
                  <a:lnTo>
                    <a:pt x="552" y="540"/>
                  </a:lnTo>
                  <a:lnTo>
                    <a:pt x="546" y="540"/>
                  </a:lnTo>
                  <a:lnTo>
                    <a:pt x="546" y="546"/>
                  </a:lnTo>
                  <a:lnTo>
                    <a:pt x="546" y="540"/>
                  </a:lnTo>
                  <a:lnTo>
                    <a:pt x="546" y="534"/>
                  </a:lnTo>
                  <a:lnTo>
                    <a:pt x="540" y="534"/>
                  </a:lnTo>
                  <a:lnTo>
                    <a:pt x="540" y="528"/>
                  </a:lnTo>
                  <a:lnTo>
                    <a:pt x="534" y="528"/>
                  </a:lnTo>
                  <a:lnTo>
                    <a:pt x="528" y="528"/>
                  </a:lnTo>
                  <a:lnTo>
                    <a:pt x="522" y="528"/>
                  </a:lnTo>
                  <a:lnTo>
                    <a:pt x="516" y="528"/>
                  </a:lnTo>
                  <a:lnTo>
                    <a:pt x="510" y="528"/>
                  </a:lnTo>
                  <a:lnTo>
                    <a:pt x="510" y="534"/>
                  </a:lnTo>
                  <a:lnTo>
                    <a:pt x="510" y="528"/>
                  </a:lnTo>
                  <a:lnTo>
                    <a:pt x="516" y="528"/>
                  </a:lnTo>
                  <a:lnTo>
                    <a:pt x="522" y="528"/>
                  </a:lnTo>
                  <a:lnTo>
                    <a:pt x="528" y="528"/>
                  </a:lnTo>
                  <a:lnTo>
                    <a:pt x="534" y="534"/>
                  </a:lnTo>
                  <a:lnTo>
                    <a:pt x="540" y="534"/>
                  </a:lnTo>
                  <a:lnTo>
                    <a:pt x="540" y="540"/>
                  </a:lnTo>
                  <a:lnTo>
                    <a:pt x="540" y="546"/>
                  </a:lnTo>
                  <a:lnTo>
                    <a:pt x="546" y="546"/>
                  </a:lnTo>
                  <a:lnTo>
                    <a:pt x="546" y="552"/>
                  </a:lnTo>
                  <a:lnTo>
                    <a:pt x="552" y="552"/>
                  </a:lnTo>
                  <a:lnTo>
                    <a:pt x="552" y="558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0" y="576"/>
                  </a:lnTo>
                  <a:lnTo>
                    <a:pt x="540" y="582"/>
                  </a:lnTo>
                  <a:lnTo>
                    <a:pt x="540" y="588"/>
                  </a:lnTo>
                  <a:lnTo>
                    <a:pt x="534" y="594"/>
                  </a:lnTo>
                  <a:lnTo>
                    <a:pt x="534" y="600"/>
                  </a:lnTo>
                  <a:lnTo>
                    <a:pt x="528" y="600"/>
                  </a:lnTo>
                  <a:lnTo>
                    <a:pt x="522" y="594"/>
                  </a:lnTo>
                  <a:lnTo>
                    <a:pt x="528" y="600"/>
                  </a:lnTo>
                  <a:lnTo>
                    <a:pt x="534" y="600"/>
                  </a:lnTo>
                  <a:lnTo>
                    <a:pt x="534" y="606"/>
                  </a:lnTo>
                  <a:lnTo>
                    <a:pt x="528" y="606"/>
                  </a:lnTo>
                  <a:lnTo>
                    <a:pt x="528" y="612"/>
                  </a:lnTo>
                  <a:lnTo>
                    <a:pt x="522" y="612"/>
                  </a:lnTo>
                  <a:lnTo>
                    <a:pt x="522" y="618"/>
                  </a:lnTo>
                  <a:lnTo>
                    <a:pt x="522" y="624"/>
                  </a:lnTo>
                  <a:lnTo>
                    <a:pt x="510" y="624"/>
                  </a:lnTo>
                  <a:lnTo>
                    <a:pt x="498" y="624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0" y="624"/>
                  </a:lnTo>
                  <a:lnTo>
                    <a:pt x="474" y="624"/>
                  </a:lnTo>
                  <a:lnTo>
                    <a:pt x="468" y="618"/>
                  </a:lnTo>
                  <a:lnTo>
                    <a:pt x="456" y="618"/>
                  </a:lnTo>
                  <a:lnTo>
                    <a:pt x="450" y="618"/>
                  </a:lnTo>
                  <a:lnTo>
                    <a:pt x="426" y="618"/>
                  </a:lnTo>
                  <a:lnTo>
                    <a:pt x="420" y="618"/>
                  </a:lnTo>
                  <a:lnTo>
                    <a:pt x="414" y="618"/>
                  </a:lnTo>
                  <a:lnTo>
                    <a:pt x="408" y="618"/>
                  </a:lnTo>
                  <a:lnTo>
                    <a:pt x="396" y="618"/>
                  </a:lnTo>
                  <a:lnTo>
                    <a:pt x="366" y="618"/>
                  </a:lnTo>
                  <a:lnTo>
                    <a:pt x="348" y="624"/>
                  </a:lnTo>
                  <a:lnTo>
                    <a:pt x="342" y="624"/>
                  </a:lnTo>
                  <a:lnTo>
                    <a:pt x="342" y="618"/>
                  </a:lnTo>
                  <a:lnTo>
                    <a:pt x="336" y="618"/>
                  </a:lnTo>
                  <a:lnTo>
                    <a:pt x="336" y="612"/>
                  </a:lnTo>
                  <a:lnTo>
                    <a:pt x="342" y="612"/>
                  </a:lnTo>
                  <a:lnTo>
                    <a:pt x="348" y="612"/>
                  </a:lnTo>
                  <a:lnTo>
                    <a:pt x="342" y="612"/>
                  </a:lnTo>
                  <a:lnTo>
                    <a:pt x="336" y="612"/>
                  </a:lnTo>
                  <a:lnTo>
                    <a:pt x="336" y="606"/>
                  </a:lnTo>
                  <a:lnTo>
                    <a:pt x="330" y="606"/>
                  </a:lnTo>
                  <a:lnTo>
                    <a:pt x="330" y="600"/>
                  </a:lnTo>
                  <a:lnTo>
                    <a:pt x="324" y="600"/>
                  </a:lnTo>
                  <a:lnTo>
                    <a:pt x="324" y="606"/>
                  </a:lnTo>
                  <a:lnTo>
                    <a:pt x="318" y="606"/>
                  </a:lnTo>
                  <a:lnTo>
                    <a:pt x="318" y="612"/>
                  </a:lnTo>
                  <a:lnTo>
                    <a:pt x="312" y="612"/>
                  </a:lnTo>
                  <a:lnTo>
                    <a:pt x="306" y="606"/>
                  </a:lnTo>
                  <a:lnTo>
                    <a:pt x="306" y="612"/>
                  </a:lnTo>
                  <a:lnTo>
                    <a:pt x="312" y="612"/>
                  </a:lnTo>
                  <a:lnTo>
                    <a:pt x="318" y="612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30" y="606"/>
                  </a:lnTo>
                  <a:lnTo>
                    <a:pt x="336" y="612"/>
                  </a:lnTo>
                  <a:lnTo>
                    <a:pt x="336" y="618"/>
                  </a:lnTo>
                  <a:lnTo>
                    <a:pt x="330" y="618"/>
                  </a:lnTo>
                  <a:lnTo>
                    <a:pt x="336" y="618"/>
                  </a:lnTo>
                  <a:lnTo>
                    <a:pt x="336" y="624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288" y="624"/>
                  </a:lnTo>
                  <a:lnTo>
                    <a:pt x="282" y="624"/>
                  </a:lnTo>
                  <a:lnTo>
                    <a:pt x="270" y="630"/>
                  </a:lnTo>
                  <a:lnTo>
                    <a:pt x="264" y="630"/>
                  </a:lnTo>
                  <a:lnTo>
                    <a:pt x="258" y="630"/>
                  </a:lnTo>
                  <a:lnTo>
                    <a:pt x="252" y="630"/>
                  </a:lnTo>
                  <a:lnTo>
                    <a:pt x="246" y="630"/>
                  </a:lnTo>
                  <a:lnTo>
                    <a:pt x="240" y="630"/>
                  </a:lnTo>
                  <a:lnTo>
                    <a:pt x="228" y="636"/>
                  </a:lnTo>
                  <a:lnTo>
                    <a:pt x="222" y="636"/>
                  </a:lnTo>
                  <a:lnTo>
                    <a:pt x="210" y="636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42"/>
                  </a:lnTo>
                  <a:lnTo>
                    <a:pt x="186" y="642"/>
                  </a:lnTo>
                  <a:lnTo>
                    <a:pt x="180" y="642"/>
                  </a:lnTo>
                  <a:lnTo>
                    <a:pt x="168" y="642"/>
                  </a:lnTo>
                  <a:lnTo>
                    <a:pt x="162" y="642"/>
                  </a:lnTo>
                  <a:lnTo>
                    <a:pt x="162" y="648"/>
                  </a:lnTo>
                  <a:lnTo>
                    <a:pt x="156" y="648"/>
                  </a:lnTo>
                  <a:lnTo>
                    <a:pt x="150" y="648"/>
                  </a:lnTo>
                  <a:lnTo>
                    <a:pt x="144" y="648"/>
                  </a:lnTo>
                  <a:lnTo>
                    <a:pt x="138" y="648"/>
                  </a:lnTo>
                  <a:lnTo>
                    <a:pt x="132" y="648"/>
                  </a:lnTo>
                  <a:lnTo>
                    <a:pt x="126" y="642"/>
                  </a:lnTo>
                  <a:lnTo>
                    <a:pt x="126" y="636"/>
                  </a:lnTo>
                  <a:lnTo>
                    <a:pt x="120" y="636"/>
                  </a:lnTo>
                  <a:lnTo>
                    <a:pt x="126" y="642"/>
                  </a:lnTo>
                  <a:lnTo>
                    <a:pt x="126" y="648"/>
                  </a:lnTo>
                  <a:lnTo>
                    <a:pt x="132" y="648"/>
                  </a:lnTo>
                  <a:lnTo>
                    <a:pt x="126" y="654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54"/>
                  </a:lnTo>
                  <a:lnTo>
                    <a:pt x="108" y="660"/>
                  </a:lnTo>
                  <a:lnTo>
                    <a:pt x="108" y="654"/>
                  </a:lnTo>
                  <a:lnTo>
                    <a:pt x="102" y="654"/>
                  </a:lnTo>
                  <a:lnTo>
                    <a:pt x="102" y="660"/>
                  </a:lnTo>
                  <a:lnTo>
                    <a:pt x="108" y="660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0" y="660"/>
                  </a:lnTo>
                  <a:lnTo>
                    <a:pt x="90" y="654"/>
                  </a:lnTo>
                  <a:lnTo>
                    <a:pt x="84" y="648"/>
                  </a:lnTo>
                  <a:lnTo>
                    <a:pt x="84" y="642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72" y="636"/>
                  </a:lnTo>
                  <a:lnTo>
                    <a:pt x="78" y="636"/>
                  </a:lnTo>
                  <a:lnTo>
                    <a:pt x="72" y="636"/>
                  </a:lnTo>
                  <a:lnTo>
                    <a:pt x="66" y="636"/>
                  </a:lnTo>
                  <a:lnTo>
                    <a:pt x="60" y="636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60" y="618"/>
                  </a:lnTo>
                  <a:lnTo>
                    <a:pt x="66" y="618"/>
                  </a:lnTo>
                  <a:lnTo>
                    <a:pt x="72" y="618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2" y="612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12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54" y="618"/>
                  </a:lnTo>
                  <a:lnTo>
                    <a:pt x="54" y="624"/>
                  </a:lnTo>
                  <a:lnTo>
                    <a:pt x="48" y="618"/>
                  </a:lnTo>
                  <a:lnTo>
                    <a:pt x="42" y="618"/>
                  </a:lnTo>
                  <a:lnTo>
                    <a:pt x="42" y="612"/>
                  </a:lnTo>
                  <a:lnTo>
                    <a:pt x="48" y="606"/>
                  </a:lnTo>
                  <a:lnTo>
                    <a:pt x="54" y="606"/>
                  </a:lnTo>
                  <a:lnTo>
                    <a:pt x="54" y="600"/>
                  </a:lnTo>
                  <a:lnTo>
                    <a:pt x="54" y="594"/>
                  </a:lnTo>
                  <a:lnTo>
                    <a:pt x="54" y="588"/>
                  </a:lnTo>
                  <a:lnTo>
                    <a:pt x="48" y="588"/>
                  </a:lnTo>
                  <a:lnTo>
                    <a:pt x="48" y="582"/>
                  </a:lnTo>
                  <a:lnTo>
                    <a:pt x="42" y="582"/>
                  </a:lnTo>
                  <a:lnTo>
                    <a:pt x="42" y="570"/>
                  </a:lnTo>
                  <a:lnTo>
                    <a:pt x="42" y="564"/>
                  </a:lnTo>
                  <a:lnTo>
                    <a:pt x="36" y="564"/>
                  </a:lnTo>
                  <a:close/>
                  <a:moveTo>
                    <a:pt x="498" y="420"/>
                  </a:moveTo>
                  <a:lnTo>
                    <a:pt x="504" y="426"/>
                  </a:lnTo>
                  <a:lnTo>
                    <a:pt x="510" y="432"/>
                  </a:lnTo>
                  <a:lnTo>
                    <a:pt x="516" y="432"/>
                  </a:lnTo>
                  <a:lnTo>
                    <a:pt x="516" y="438"/>
                  </a:lnTo>
                  <a:lnTo>
                    <a:pt x="510" y="438"/>
                  </a:lnTo>
                  <a:lnTo>
                    <a:pt x="504" y="438"/>
                  </a:lnTo>
                  <a:lnTo>
                    <a:pt x="504" y="432"/>
                  </a:lnTo>
                  <a:lnTo>
                    <a:pt x="498" y="432"/>
                  </a:lnTo>
                  <a:lnTo>
                    <a:pt x="498" y="426"/>
                  </a:lnTo>
                  <a:lnTo>
                    <a:pt x="498" y="42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4" name="Freeform 9">
              <a:extLst>
                <a:ext uri="{FF2B5EF4-FFF2-40B4-BE49-F238E27FC236}">
                  <a16:creationId xmlns:a16="http://schemas.microsoft.com/office/drawing/2014/main" id="{E0116D32-BD2E-45EA-B818-A3082585D5F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3055" y="2468650"/>
              <a:ext cx="800556" cy="1207710"/>
            </a:xfrm>
            <a:custGeom>
              <a:avLst/>
              <a:gdLst>
                <a:gd name="T0" fmla="*/ 24 w 1506"/>
                <a:gd name="T1" fmla="*/ 190 h 2274"/>
                <a:gd name="T2" fmla="*/ 25 w 1506"/>
                <a:gd name="T3" fmla="*/ 180 h 2274"/>
                <a:gd name="T4" fmla="*/ 21 w 1506"/>
                <a:gd name="T5" fmla="*/ 174 h 2274"/>
                <a:gd name="T6" fmla="*/ 17 w 1506"/>
                <a:gd name="T7" fmla="*/ 170 h 2274"/>
                <a:gd name="T8" fmla="*/ 12 w 1506"/>
                <a:gd name="T9" fmla="*/ 168 h 2274"/>
                <a:gd name="T10" fmla="*/ 10 w 1506"/>
                <a:gd name="T11" fmla="*/ 173 h 2274"/>
                <a:gd name="T12" fmla="*/ 7 w 1506"/>
                <a:gd name="T13" fmla="*/ 174 h 2274"/>
                <a:gd name="T14" fmla="*/ 0 w 1506"/>
                <a:gd name="T15" fmla="*/ 163 h 2274"/>
                <a:gd name="T16" fmla="*/ 16 w 1506"/>
                <a:gd name="T17" fmla="*/ 140 h 2274"/>
                <a:gd name="T18" fmla="*/ 19 w 1506"/>
                <a:gd name="T19" fmla="*/ 137 h 2274"/>
                <a:gd name="T20" fmla="*/ 24 w 1506"/>
                <a:gd name="T21" fmla="*/ 126 h 2274"/>
                <a:gd name="T22" fmla="*/ 23 w 1506"/>
                <a:gd name="T23" fmla="*/ 105 h 2274"/>
                <a:gd name="T24" fmla="*/ 14 w 1506"/>
                <a:gd name="T25" fmla="*/ 86 h 2274"/>
                <a:gd name="T26" fmla="*/ 8 w 1506"/>
                <a:gd name="T27" fmla="*/ 84 h 2274"/>
                <a:gd name="T28" fmla="*/ 5 w 1506"/>
                <a:gd name="T29" fmla="*/ 79 h 2274"/>
                <a:gd name="T30" fmla="*/ 16 w 1506"/>
                <a:gd name="T31" fmla="*/ 71 h 2274"/>
                <a:gd name="T32" fmla="*/ 28 w 1506"/>
                <a:gd name="T33" fmla="*/ 55 h 2274"/>
                <a:gd name="T34" fmla="*/ 29 w 1506"/>
                <a:gd name="T35" fmla="*/ 48 h 2274"/>
                <a:gd name="T36" fmla="*/ 35 w 1506"/>
                <a:gd name="T37" fmla="*/ 50 h 2274"/>
                <a:gd name="T38" fmla="*/ 42 w 1506"/>
                <a:gd name="T39" fmla="*/ 47 h 2274"/>
                <a:gd name="T40" fmla="*/ 63 w 1506"/>
                <a:gd name="T41" fmla="*/ 34 h 2274"/>
                <a:gd name="T42" fmla="*/ 74 w 1506"/>
                <a:gd name="T43" fmla="*/ 27 h 2274"/>
                <a:gd name="T44" fmla="*/ 81 w 1506"/>
                <a:gd name="T45" fmla="*/ 20 h 2274"/>
                <a:gd name="T46" fmla="*/ 89 w 1506"/>
                <a:gd name="T47" fmla="*/ 20 h 2274"/>
                <a:gd name="T48" fmla="*/ 98 w 1506"/>
                <a:gd name="T49" fmla="*/ 27 h 2274"/>
                <a:gd name="T50" fmla="*/ 106 w 1506"/>
                <a:gd name="T51" fmla="*/ 17 h 2274"/>
                <a:gd name="T52" fmla="*/ 111 w 1506"/>
                <a:gd name="T53" fmla="*/ 8 h 2274"/>
                <a:gd name="T54" fmla="*/ 121 w 1506"/>
                <a:gd name="T55" fmla="*/ 2 h 2274"/>
                <a:gd name="T56" fmla="*/ 129 w 1506"/>
                <a:gd name="T57" fmla="*/ 5 h 2274"/>
                <a:gd name="T58" fmla="*/ 125 w 1506"/>
                <a:gd name="T59" fmla="*/ 12 h 2274"/>
                <a:gd name="T60" fmla="*/ 122 w 1506"/>
                <a:gd name="T61" fmla="*/ 20 h 2274"/>
                <a:gd name="T62" fmla="*/ 122 w 1506"/>
                <a:gd name="T63" fmla="*/ 27 h 2274"/>
                <a:gd name="T64" fmla="*/ 120 w 1506"/>
                <a:gd name="T65" fmla="*/ 36 h 2274"/>
                <a:gd name="T66" fmla="*/ 116 w 1506"/>
                <a:gd name="T67" fmla="*/ 43 h 2274"/>
                <a:gd name="T68" fmla="*/ 109 w 1506"/>
                <a:gd name="T69" fmla="*/ 47 h 2274"/>
                <a:gd name="T70" fmla="*/ 108 w 1506"/>
                <a:gd name="T71" fmla="*/ 54 h 2274"/>
                <a:gd name="T72" fmla="*/ 106 w 1506"/>
                <a:gd name="T73" fmla="*/ 59 h 2274"/>
                <a:gd name="T74" fmla="*/ 109 w 1506"/>
                <a:gd name="T75" fmla="*/ 64 h 2274"/>
                <a:gd name="T76" fmla="*/ 106 w 1506"/>
                <a:gd name="T77" fmla="*/ 70 h 2274"/>
                <a:gd name="T78" fmla="*/ 105 w 1506"/>
                <a:gd name="T79" fmla="*/ 75 h 2274"/>
                <a:gd name="T80" fmla="*/ 101 w 1506"/>
                <a:gd name="T81" fmla="*/ 78 h 2274"/>
                <a:gd name="T82" fmla="*/ 92 w 1506"/>
                <a:gd name="T83" fmla="*/ 81 h 2274"/>
                <a:gd name="T84" fmla="*/ 85 w 1506"/>
                <a:gd name="T85" fmla="*/ 85 h 2274"/>
                <a:gd name="T86" fmla="*/ 87 w 1506"/>
                <a:gd name="T87" fmla="*/ 91 h 2274"/>
                <a:gd name="T88" fmla="*/ 86 w 1506"/>
                <a:gd name="T89" fmla="*/ 98 h 2274"/>
                <a:gd name="T90" fmla="*/ 86 w 1506"/>
                <a:gd name="T91" fmla="*/ 103 h 2274"/>
                <a:gd name="T92" fmla="*/ 82 w 1506"/>
                <a:gd name="T93" fmla="*/ 111 h 2274"/>
                <a:gd name="T94" fmla="*/ 81 w 1506"/>
                <a:gd name="T95" fmla="*/ 116 h 2274"/>
                <a:gd name="T96" fmla="*/ 78 w 1506"/>
                <a:gd name="T97" fmla="*/ 120 h 2274"/>
                <a:gd name="T98" fmla="*/ 76 w 1506"/>
                <a:gd name="T99" fmla="*/ 126 h 2274"/>
                <a:gd name="T100" fmla="*/ 68 w 1506"/>
                <a:gd name="T101" fmla="*/ 129 h 2274"/>
                <a:gd name="T102" fmla="*/ 62 w 1506"/>
                <a:gd name="T103" fmla="*/ 131 h 2274"/>
                <a:gd name="T104" fmla="*/ 58 w 1506"/>
                <a:gd name="T105" fmla="*/ 136 h 2274"/>
                <a:gd name="T106" fmla="*/ 51 w 1506"/>
                <a:gd name="T107" fmla="*/ 138 h 2274"/>
                <a:gd name="T108" fmla="*/ 51 w 1506"/>
                <a:gd name="T109" fmla="*/ 147 h 2274"/>
                <a:gd name="T110" fmla="*/ 49 w 1506"/>
                <a:gd name="T111" fmla="*/ 159 h 2274"/>
                <a:gd name="T112" fmla="*/ 48 w 1506"/>
                <a:gd name="T113" fmla="*/ 166 h 2274"/>
                <a:gd name="T114" fmla="*/ 41 w 1506"/>
                <a:gd name="T115" fmla="*/ 174 h 2274"/>
                <a:gd name="T116" fmla="*/ 39 w 1506"/>
                <a:gd name="T117" fmla="*/ 181 h 2274"/>
                <a:gd name="T118" fmla="*/ 37 w 1506"/>
                <a:gd name="T119" fmla="*/ 190 h 2274"/>
                <a:gd name="T120" fmla="*/ 29 w 1506"/>
                <a:gd name="T121" fmla="*/ 198 h 22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06"/>
                <a:gd name="T184" fmla="*/ 0 h 2274"/>
                <a:gd name="T185" fmla="*/ 1506 w 1506"/>
                <a:gd name="T186" fmla="*/ 2274 h 227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06" h="2274">
                  <a:moveTo>
                    <a:pt x="330" y="2274"/>
                  </a:moveTo>
                  <a:lnTo>
                    <a:pt x="318" y="2262"/>
                  </a:lnTo>
                  <a:lnTo>
                    <a:pt x="312" y="2238"/>
                  </a:lnTo>
                  <a:lnTo>
                    <a:pt x="312" y="2232"/>
                  </a:lnTo>
                  <a:lnTo>
                    <a:pt x="294" y="2214"/>
                  </a:lnTo>
                  <a:lnTo>
                    <a:pt x="288" y="2208"/>
                  </a:lnTo>
                  <a:lnTo>
                    <a:pt x="288" y="2202"/>
                  </a:lnTo>
                  <a:lnTo>
                    <a:pt x="276" y="2196"/>
                  </a:lnTo>
                  <a:lnTo>
                    <a:pt x="276" y="2190"/>
                  </a:lnTo>
                  <a:lnTo>
                    <a:pt x="282" y="2190"/>
                  </a:lnTo>
                  <a:lnTo>
                    <a:pt x="282" y="2184"/>
                  </a:lnTo>
                  <a:lnTo>
                    <a:pt x="276" y="2172"/>
                  </a:lnTo>
                  <a:lnTo>
                    <a:pt x="276" y="2166"/>
                  </a:lnTo>
                  <a:lnTo>
                    <a:pt x="282" y="2166"/>
                  </a:lnTo>
                  <a:lnTo>
                    <a:pt x="282" y="2154"/>
                  </a:lnTo>
                  <a:lnTo>
                    <a:pt x="276" y="2136"/>
                  </a:lnTo>
                  <a:lnTo>
                    <a:pt x="276" y="2112"/>
                  </a:lnTo>
                  <a:lnTo>
                    <a:pt x="282" y="2088"/>
                  </a:lnTo>
                  <a:lnTo>
                    <a:pt x="282" y="2082"/>
                  </a:lnTo>
                  <a:lnTo>
                    <a:pt x="282" y="2076"/>
                  </a:lnTo>
                  <a:lnTo>
                    <a:pt x="282" y="2070"/>
                  </a:lnTo>
                  <a:lnTo>
                    <a:pt x="288" y="2070"/>
                  </a:lnTo>
                  <a:lnTo>
                    <a:pt x="288" y="2064"/>
                  </a:lnTo>
                  <a:lnTo>
                    <a:pt x="282" y="2052"/>
                  </a:lnTo>
                  <a:lnTo>
                    <a:pt x="282" y="2046"/>
                  </a:lnTo>
                  <a:lnTo>
                    <a:pt x="276" y="2040"/>
                  </a:lnTo>
                  <a:lnTo>
                    <a:pt x="270" y="2034"/>
                  </a:lnTo>
                  <a:lnTo>
                    <a:pt x="264" y="2022"/>
                  </a:lnTo>
                  <a:lnTo>
                    <a:pt x="258" y="2022"/>
                  </a:lnTo>
                  <a:lnTo>
                    <a:pt x="258" y="2016"/>
                  </a:lnTo>
                  <a:lnTo>
                    <a:pt x="252" y="2016"/>
                  </a:lnTo>
                  <a:lnTo>
                    <a:pt x="246" y="2016"/>
                  </a:lnTo>
                  <a:lnTo>
                    <a:pt x="240" y="2010"/>
                  </a:lnTo>
                  <a:lnTo>
                    <a:pt x="234" y="2004"/>
                  </a:lnTo>
                  <a:lnTo>
                    <a:pt x="228" y="2004"/>
                  </a:lnTo>
                  <a:lnTo>
                    <a:pt x="228" y="1998"/>
                  </a:lnTo>
                  <a:lnTo>
                    <a:pt x="228" y="1992"/>
                  </a:lnTo>
                  <a:lnTo>
                    <a:pt x="222" y="1992"/>
                  </a:lnTo>
                  <a:lnTo>
                    <a:pt x="222" y="1986"/>
                  </a:lnTo>
                  <a:lnTo>
                    <a:pt x="216" y="1986"/>
                  </a:lnTo>
                  <a:lnTo>
                    <a:pt x="210" y="1980"/>
                  </a:lnTo>
                  <a:lnTo>
                    <a:pt x="216" y="1974"/>
                  </a:lnTo>
                  <a:lnTo>
                    <a:pt x="210" y="1968"/>
                  </a:lnTo>
                  <a:lnTo>
                    <a:pt x="198" y="1956"/>
                  </a:lnTo>
                  <a:lnTo>
                    <a:pt x="192" y="1956"/>
                  </a:lnTo>
                  <a:lnTo>
                    <a:pt x="186" y="1956"/>
                  </a:lnTo>
                  <a:lnTo>
                    <a:pt x="180" y="1944"/>
                  </a:lnTo>
                  <a:lnTo>
                    <a:pt x="180" y="1938"/>
                  </a:lnTo>
                  <a:lnTo>
                    <a:pt x="174" y="1932"/>
                  </a:lnTo>
                  <a:lnTo>
                    <a:pt x="168" y="1932"/>
                  </a:lnTo>
                  <a:lnTo>
                    <a:pt x="162" y="1932"/>
                  </a:lnTo>
                  <a:lnTo>
                    <a:pt x="150" y="1932"/>
                  </a:lnTo>
                  <a:lnTo>
                    <a:pt x="150" y="1926"/>
                  </a:lnTo>
                  <a:lnTo>
                    <a:pt x="150" y="1932"/>
                  </a:lnTo>
                  <a:lnTo>
                    <a:pt x="144" y="1932"/>
                  </a:lnTo>
                  <a:lnTo>
                    <a:pt x="138" y="1932"/>
                  </a:lnTo>
                  <a:lnTo>
                    <a:pt x="132" y="1932"/>
                  </a:lnTo>
                  <a:lnTo>
                    <a:pt x="132" y="1938"/>
                  </a:lnTo>
                  <a:lnTo>
                    <a:pt x="126" y="1944"/>
                  </a:lnTo>
                  <a:lnTo>
                    <a:pt x="126" y="1956"/>
                  </a:lnTo>
                  <a:lnTo>
                    <a:pt x="120" y="1968"/>
                  </a:lnTo>
                  <a:lnTo>
                    <a:pt x="120" y="1974"/>
                  </a:lnTo>
                  <a:lnTo>
                    <a:pt x="120" y="1980"/>
                  </a:lnTo>
                  <a:lnTo>
                    <a:pt x="126" y="1980"/>
                  </a:lnTo>
                  <a:lnTo>
                    <a:pt x="120" y="1986"/>
                  </a:lnTo>
                  <a:lnTo>
                    <a:pt x="120" y="1992"/>
                  </a:lnTo>
                  <a:lnTo>
                    <a:pt x="114" y="1992"/>
                  </a:lnTo>
                  <a:lnTo>
                    <a:pt x="114" y="1986"/>
                  </a:lnTo>
                  <a:lnTo>
                    <a:pt x="108" y="1992"/>
                  </a:lnTo>
                  <a:lnTo>
                    <a:pt x="108" y="1998"/>
                  </a:lnTo>
                  <a:lnTo>
                    <a:pt x="114" y="2004"/>
                  </a:lnTo>
                  <a:lnTo>
                    <a:pt x="108" y="2004"/>
                  </a:lnTo>
                  <a:lnTo>
                    <a:pt x="102" y="2010"/>
                  </a:lnTo>
                  <a:lnTo>
                    <a:pt x="102" y="2004"/>
                  </a:lnTo>
                  <a:lnTo>
                    <a:pt x="90" y="2004"/>
                  </a:lnTo>
                  <a:lnTo>
                    <a:pt x="84" y="2004"/>
                  </a:lnTo>
                  <a:lnTo>
                    <a:pt x="78" y="1998"/>
                  </a:lnTo>
                  <a:lnTo>
                    <a:pt x="78" y="1992"/>
                  </a:lnTo>
                  <a:lnTo>
                    <a:pt x="78" y="1986"/>
                  </a:lnTo>
                  <a:lnTo>
                    <a:pt x="72" y="1986"/>
                  </a:lnTo>
                  <a:lnTo>
                    <a:pt x="66" y="1980"/>
                  </a:lnTo>
                  <a:lnTo>
                    <a:pt x="66" y="1968"/>
                  </a:lnTo>
                  <a:lnTo>
                    <a:pt x="60" y="1956"/>
                  </a:lnTo>
                  <a:lnTo>
                    <a:pt x="60" y="1950"/>
                  </a:lnTo>
                  <a:lnTo>
                    <a:pt x="48" y="1944"/>
                  </a:lnTo>
                  <a:lnTo>
                    <a:pt x="30" y="1926"/>
                  </a:lnTo>
                  <a:lnTo>
                    <a:pt x="12" y="1890"/>
                  </a:lnTo>
                  <a:lnTo>
                    <a:pt x="6" y="1872"/>
                  </a:lnTo>
                  <a:lnTo>
                    <a:pt x="0" y="1854"/>
                  </a:lnTo>
                  <a:lnTo>
                    <a:pt x="6" y="1824"/>
                  </a:lnTo>
                  <a:lnTo>
                    <a:pt x="30" y="1794"/>
                  </a:lnTo>
                  <a:lnTo>
                    <a:pt x="66" y="1752"/>
                  </a:lnTo>
                  <a:lnTo>
                    <a:pt x="72" y="1752"/>
                  </a:lnTo>
                  <a:lnTo>
                    <a:pt x="78" y="1746"/>
                  </a:lnTo>
                  <a:lnTo>
                    <a:pt x="84" y="1746"/>
                  </a:lnTo>
                  <a:lnTo>
                    <a:pt x="90" y="1746"/>
                  </a:lnTo>
                  <a:lnTo>
                    <a:pt x="138" y="1674"/>
                  </a:lnTo>
                  <a:lnTo>
                    <a:pt x="186" y="1620"/>
                  </a:lnTo>
                  <a:lnTo>
                    <a:pt x="186" y="1614"/>
                  </a:lnTo>
                  <a:lnTo>
                    <a:pt x="186" y="1608"/>
                  </a:lnTo>
                  <a:lnTo>
                    <a:pt x="192" y="1608"/>
                  </a:lnTo>
                  <a:lnTo>
                    <a:pt x="192" y="1614"/>
                  </a:lnTo>
                  <a:lnTo>
                    <a:pt x="198" y="1614"/>
                  </a:lnTo>
                  <a:lnTo>
                    <a:pt x="198" y="1608"/>
                  </a:lnTo>
                  <a:lnTo>
                    <a:pt x="198" y="1602"/>
                  </a:lnTo>
                  <a:lnTo>
                    <a:pt x="204" y="1602"/>
                  </a:lnTo>
                  <a:lnTo>
                    <a:pt x="204" y="1596"/>
                  </a:lnTo>
                  <a:lnTo>
                    <a:pt x="210" y="1590"/>
                  </a:lnTo>
                  <a:lnTo>
                    <a:pt x="216" y="1590"/>
                  </a:lnTo>
                  <a:lnTo>
                    <a:pt x="216" y="1584"/>
                  </a:lnTo>
                  <a:lnTo>
                    <a:pt x="222" y="1584"/>
                  </a:lnTo>
                  <a:lnTo>
                    <a:pt x="228" y="1572"/>
                  </a:lnTo>
                  <a:lnTo>
                    <a:pt x="222" y="1572"/>
                  </a:lnTo>
                  <a:lnTo>
                    <a:pt x="228" y="1566"/>
                  </a:lnTo>
                  <a:lnTo>
                    <a:pt x="228" y="1560"/>
                  </a:lnTo>
                  <a:lnTo>
                    <a:pt x="252" y="1548"/>
                  </a:lnTo>
                  <a:lnTo>
                    <a:pt x="276" y="1530"/>
                  </a:lnTo>
                  <a:lnTo>
                    <a:pt x="282" y="1512"/>
                  </a:lnTo>
                  <a:lnTo>
                    <a:pt x="282" y="1506"/>
                  </a:lnTo>
                  <a:lnTo>
                    <a:pt x="282" y="1494"/>
                  </a:lnTo>
                  <a:lnTo>
                    <a:pt x="282" y="1452"/>
                  </a:lnTo>
                  <a:lnTo>
                    <a:pt x="288" y="1440"/>
                  </a:lnTo>
                  <a:lnTo>
                    <a:pt x="294" y="1440"/>
                  </a:lnTo>
                  <a:lnTo>
                    <a:pt x="294" y="1428"/>
                  </a:lnTo>
                  <a:lnTo>
                    <a:pt x="324" y="1368"/>
                  </a:lnTo>
                  <a:lnTo>
                    <a:pt x="330" y="1362"/>
                  </a:lnTo>
                  <a:lnTo>
                    <a:pt x="330" y="1356"/>
                  </a:lnTo>
                  <a:lnTo>
                    <a:pt x="360" y="1338"/>
                  </a:lnTo>
                  <a:lnTo>
                    <a:pt x="366" y="1296"/>
                  </a:lnTo>
                  <a:lnTo>
                    <a:pt x="354" y="1278"/>
                  </a:lnTo>
                  <a:lnTo>
                    <a:pt x="336" y="1230"/>
                  </a:lnTo>
                  <a:lnTo>
                    <a:pt x="270" y="1212"/>
                  </a:lnTo>
                  <a:lnTo>
                    <a:pt x="264" y="1212"/>
                  </a:lnTo>
                  <a:lnTo>
                    <a:pt x="252" y="1200"/>
                  </a:lnTo>
                  <a:lnTo>
                    <a:pt x="234" y="1188"/>
                  </a:lnTo>
                  <a:lnTo>
                    <a:pt x="222" y="1182"/>
                  </a:lnTo>
                  <a:lnTo>
                    <a:pt x="228" y="1104"/>
                  </a:lnTo>
                  <a:lnTo>
                    <a:pt x="228" y="1098"/>
                  </a:lnTo>
                  <a:lnTo>
                    <a:pt x="198" y="1038"/>
                  </a:lnTo>
                  <a:lnTo>
                    <a:pt x="192" y="1032"/>
                  </a:lnTo>
                  <a:lnTo>
                    <a:pt x="180" y="1020"/>
                  </a:lnTo>
                  <a:lnTo>
                    <a:pt x="168" y="996"/>
                  </a:lnTo>
                  <a:lnTo>
                    <a:pt x="162" y="990"/>
                  </a:lnTo>
                  <a:lnTo>
                    <a:pt x="156" y="990"/>
                  </a:lnTo>
                  <a:lnTo>
                    <a:pt x="150" y="990"/>
                  </a:lnTo>
                  <a:lnTo>
                    <a:pt x="132" y="990"/>
                  </a:lnTo>
                  <a:lnTo>
                    <a:pt x="120" y="984"/>
                  </a:lnTo>
                  <a:lnTo>
                    <a:pt x="120" y="990"/>
                  </a:lnTo>
                  <a:lnTo>
                    <a:pt x="114" y="990"/>
                  </a:lnTo>
                  <a:lnTo>
                    <a:pt x="102" y="984"/>
                  </a:lnTo>
                  <a:lnTo>
                    <a:pt x="96" y="984"/>
                  </a:lnTo>
                  <a:lnTo>
                    <a:pt x="96" y="978"/>
                  </a:lnTo>
                  <a:lnTo>
                    <a:pt x="90" y="978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84" y="960"/>
                  </a:lnTo>
                  <a:lnTo>
                    <a:pt x="84" y="954"/>
                  </a:lnTo>
                  <a:lnTo>
                    <a:pt x="78" y="948"/>
                  </a:lnTo>
                  <a:lnTo>
                    <a:pt x="72" y="948"/>
                  </a:lnTo>
                  <a:lnTo>
                    <a:pt x="72" y="942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06"/>
                  </a:lnTo>
                  <a:lnTo>
                    <a:pt x="60" y="888"/>
                  </a:lnTo>
                  <a:lnTo>
                    <a:pt x="54" y="882"/>
                  </a:lnTo>
                  <a:lnTo>
                    <a:pt x="60" y="882"/>
                  </a:lnTo>
                  <a:lnTo>
                    <a:pt x="72" y="876"/>
                  </a:lnTo>
                  <a:lnTo>
                    <a:pt x="78" y="876"/>
                  </a:lnTo>
                  <a:lnTo>
                    <a:pt x="90" y="870"/>
                  </a:lnTo>
                  <a:lnTo>
                    <a:pt x="90" y="864"/>
                  </a:lnTo>
                  <a:lnTo>
                    <a:pt x="96" y="840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80" y="822"/>
                  </a:lnTo>
                  <a:lnTo>
                    <a:pt x="204" y="798"/>
                  </a:lnTo>
                  <a:lnTo>
                    <a:pt x="222" y="786"/>
                  </a:lnTo>
                  <a:lnTo>
                    <a:pt x="252" y="780"/>
                  </a:lnTo>
                  <a:lnTo>
                    <a:pt x="264" y="762"/>
                  </a:lnTo>
                  <a:lnTo>
                    <a:pt x="276" y="762"/>
                  </a:lnTo>
                  <a:lnTo>
                    <a:pt x="288" y="744"/>
                  </a:lnTo>
                  <a:lnTo>
                    <a:pt x="306" y="738"/>
                  </a:lnTo>
                  <a:lnTo>
                    <a:pt x="318" y="732"/>
                  </a:lnTo>
                  <a:lnTo>
                    <a:pt x="324" y="648"/>
                  </a:lnTo>
                  <a:lnTo>
                    <a:pt x="324" y="636"/>
                  </a:lnTo>
                  <a:lnTo>
                    <a:pt x="324" y="630"/>
                  </a:lnTo>
                  <a:lnTo>
                    <a:pt x="330" y="624"/>
                  </a:lnTo>
                  <a:lnTo>
                    <a:pt x="324" y="618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24" y="588"/>
                  </a:lnTo>
                  <a:lnTo>
                    <a:pt x="318" y="576"/>
                  </a:lnTo>
                  <a:lnTo>
                    <a:pt x="318" y="570"/>
                  </a:lnTo>
                  <a:lnTo>
                    <a:pt x="324" y="570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30" y="558"/>
                  </a:lnTo>
                  <a:lnTo>
                    <a:pt x="336" y="558"/>
                  </a:lnTo>
                  <a:lnTo>
                    <a:pt x="342" y="558"/>
                  </a:lnTo>
                  <a:lnTo>
                    <a:pt x="348" y="558"/>
                  </a:lnTo>
                  <a:lnTo>
                    <a:pt x="354" y="564"/>
                  </a:lnTo>
                  <a:lnTo>
                    <a:pt x="360" y="564"/>
                  </a:lnTo>
                  <a:lnTo>
                    <a:pt x="366" y="570"/>
                  </a:lnTo>
                  <a:lnTo>
                    <a:pt x="366" y="576"/>
                  </a:lnTo>
                  <a:lnTo>
                    <a:pt x="372" y="570"/>
                  </a:lnTo>
                  <a:lnTo>
                    <a:pt x="378" y="570"/>
                  </a:lnTo>
                  <a:lnTo>
                    <a:pt x="390" y="570"/>
                  </a:lnTo>
                  <a:lnTo>
                    <a:pt x="402" y="570"/>
                  </a:lnTo>
                  <a:lnTo>
                    <a:pt x="408" y="570"/>
                  </a:lnTo>
                  <a:lnTo>
                    <a:pt x="414" y="564"/>
                  </a:lnTo>
                  <a:lnTo>
                    <a:pt x="420" y="564"/>
                  </a:lnTo>
                  <a:lnTo>
                    <a:pt x="420" y="570"/>
                  </a:lnTo>
                  <a:lnTo>
                    <a:pt x="426" y="570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44" y="570"/>
                  </a:lnTo>
                  <a:lnTo>
                    <a:pt x="450" y="564"/>
                  </a:lnTo>
                  <a:lnTo>
                    <a:pt x="474" y="558"/>
                  </a:lnTo>
                  <a:lnTo>
                    <a:pt x="486" y="54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40" y="474"/>
                  </a:lnTo>
                  <a:lnTo>
                    <a:pt x="558" y="456"/>
                  </a:lnTo>
                  <a:lnTo>
                    <a:pt x="582" y="450"/>
                  </a:lnTo>
                  <a:lnTo>
                    <a:pt x="594" y="414"/>
                  </a:lnTo>
                  <a:lnTo>
                    <a:pt x="612" y="390"/>
                  </a:lnTo>
                  <a:lnTo>
                    <a:pt x="636" y="390"/>
                  </a:lnTo>
                  <a:lnTo>
                    <a:pt x="666" y="390"/>
                  </a:lnTo>
                  <a:lnTo>
                    <a:pt x="696" y="390"/>
                  </a:lnTo>
                  <a:lnTo>
                    <a:pt x="726" y="390"/>
                  </a:lnTo>
                  <a:lnTo>
                    <a:pt x="762" y="378"/>
                  </a:lnTo>
                  <a:lnTo>
                    <a:pt x="780" y="366"/>
                  </a:lnTo>
                  <a:lnTo>
                    <a:pt x="780" y="342"/>
                  </a:lnTo>
                  <a:lnTo>
                    <a:pt x="786" y="342"/>
                  </a:lnTo>
                  <a:lnTo>
                    <a:pt x="786" y="336"/>
                  </a:lnTo>
                  <a:lnTo>
                    <a:pt x="786" y="330"/>
                  </a:lnTo>
                  <a:lnTo>
                    <a:pt x="786" y="324"/>
                  </a:lnTo>
                  <a:lnTo>
                    <a:pt x="816" y="318"/>
                  </a:lnTo>
                  <a:lnTo>
                    <a:pt x="834" y="312"/>
                  </a:lnTo>
                  <a:lnTo>
                    <a:pt x="840" y="318"/>
                  </a:lnTo>
                  <a:lnTo>
                    <a:pt x="852" y="318"/>
                  </a:lnTo>
                  <a:lnTo>
                    <a:pt x="858" y="306"/>
                  </a:lnTo>
                  <a:lnTo>
                    <a:pt x="864" y="288"/>
                  </a:lnTo>
                  <a:lnTo>
                    <a:pt x="870" y="282"/>
                  </a:lnTo>
                  <a:lnTo>
                    <a:pt x="876" y="276"/>
                  </a:lnTo>
                  <a:lnTo>
                    <a:pt x="882" y="264"/>
                  </a:lnTo>
                  <a:lnTo>
                    <a:pt x="882" y="258"/>
                  </a:lnTo>
                  <a:lnTo>
                    <a:pt x="888" y="252"/>
                  </a:lnTo>
                  <a:lnTo>
                    <a:pt x="894" y="240"/>
                  </a:lnTo>
                  <a:lnTo>
                    <a:pt x="906" y="228"/>
                  </a:lnTo>
                  <a:lnTo>
                    <a:pt x="912" y="228"/>
                  </a:lnTo>
                  <a:lnTo>
                    <a:pt x="936" y="228"/>
                  </a:lnTo>
                  <a:lnTo>
                    <a:pt x="942" y="222"/>
                  </a:lnTo>
                  <a:lnTo>
                    <a:pt x="948" y="216"/>
                  </a:lnTo>
                  <a:lnTo>
                    <a:pt x="954" y="216"/>
                  </a:lnTo>
                  <a:lnTo>
                    <a:pt x="960" y="216"/>
                  </a:lnTo>
                  <a:lnTo>
                    <a:pt x="966" y="216"/>
                  </a:lnTo>
                  <a:lnTo>
                    <a:pt x="978" y="216"/>
                  </a:lnTo>
                  <a:lnTo>
                    <a:pt x="990" y="222"/>
                  </a:lnTo>
                  <a:lnTo>
                    <a:pt x="996" y="222"/>
                  </a:lnTo>
                  <a:lnTo>
                    <a:pt x="1002" y="228"/>
                  </a:lnTo>
                  <a:lnTo>
                    <a:pt x="1014" y="234"/>
                  </a:lnTo>
                  <a:lnTo>
                    <a:pt x="1020" y="234"/>
                  </a:lnTo>
                  <a:lnTo>
                    <a:pt x="1032" y="240"/>
                  </a:lnTo>
                  <a:lnTo>
                    <a:pt x="1044" y="240"/>
                  </a:lnTo>
                  <a:lnTo>
                    <a:pt x="1050" y="240"/>
                  </a:lnTo>
                  <a:lnTo>
                    <a:pt x="1056" y="246"/>
                  </a:lnTo>
                  <a:lnTo>
                    <a:pt x="1068" y="264"/>
                  </a:lnTo>
                  <a:lnTo>
                    <a:pt x="1086" y="276"/>
                  </a:lnTo>
                  <a:lnTo>
                    <a:pt x="1092" y="276"/>
                  </a:lnTo>
                  <a:lnTo>
                    <a:pt x="1104" y="282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8" y="312"/>
                  </a:lnTo>
                  <a:lnTo>
                    <a:pt x="1152" y="324"/>
                  </a:lnTo>
                  <a:lnTo>
                    <a:pt x="1188" y="324"/>
                  </a:lnTo>
                  <a:lnTo>
                    <a:pt x="1206" y="318"/>
                  </a:lnTo>
                  <a:lnTo>
                    <a:pt x="1200" y="294"/>
                  </a:lnTo>
                  <a:lnTo>
                    <a:pt x="1206" y="252"/>
                  </a:lnTo>
                  <a:lnTo>
                    <a:pt x="1218" y="222"/>
                  </a:lnTo>
                  <a:lnTo>
                    <a:pt x="1212" y="222"/>
                  </a:lnTo>
                  <a:lnTo>
                    <a:pt x="1212" y="216"/>
                  </a:lnTo>
                  <a:lnTo>
                    <a:pt x="1218" y="204"/>
                  </a:lnTo>
                  <a:lnTo>
                    <a:pt x="1224" y="198"/>
                  </a:lnTo>
                  <a:lnTo>
                    <a:pt x="1224" y="192"/>
                  </a:lnTo>
                  <a:lnTo>
                    <a:pt x="1236" y="180"/>
                  </a:lnTo>
                  <a:lnTo>
                    <a:pt x="1254" y="156"/>
                  </a:lnTo>
                  <a:lnTo>
                    <a:pt x="1260" y="150"/>
                  </a:lnTo>
                  <a:lnTo>
                    <a:pt x="1260" y="144"/>
                  </a:lnTo>
                  <a:lnTo>
                    <a:pt x="1266" y="138"/>
                  </a:lnTo>
                  <a:lnTo>
                    <a:pt x="1272" y="138"/>
                  </a:lnTo>
                  <a:lnTo>
                    <a:pt x="1272" y="120"/>
                  </a:lnTo>
                  <a:lnTo>
                    <a:pt x="1278" y="114"/>
                  </a:lnTo>
                  <a:lnTo>
                    <a:pt x="1278" y="108"/>
                  </a:lnTo>
                  <a:lnTo>
                    <a:pt x="1278" y="102"/>
                  </a:lnTo>
                  <a:lnTo>
                    <a:pt x="1278" y="90"/>
                  </a:lnTo>
                  <a:lnTo>
                    <a:pt x="1278" y="84"/>
                  </a:lnTo>
                  <a:lnTo>
                    <a:pt x="1278" y="78"/>
                  </a:lnTo>
                  <a:lnTo>
                    <a:pt x="1278" y="72"/>
                  </a:lnTo>
                  <a:lnTo>
                    <a:pt x="1278" y="60"/>
                  </a:lnTo>
                  <a:lnTo>
                    <a:pt x="1284" y="48"/>
                  </a:lnTo>
                  <a:lnTo>
                    <a:pt x="1284" y="24"/>
                  </a:lnTo>
                  <a:lnTo>
                    <a:pt x="1284" y="18"/>
                  </a:lnTo>
                  <a:lnTo>
                    <a:pt x="1308" y="24"/>
                  </a:lnTo>
                  <a:lnTo>
                    <a:pt x="1332" y="30"/>
                  </a:lnTo>
                  <a:lnTo>
                    <a:pt x="1368" y="30"/>
                  </a:lnTo>
                  <a:lnTo>
                    <a:pt x="1392" y="24"/>
                  </a:lnTo>
                  <a:lnTo>
                    <a:pt x="1410" y="18"/>
                  </a:lnTo>
                  <a:lnTo>
                    <a:pt x="1416" y="6"/>
                  </a:lnTo>
                  <a:lnTo>
                    <a:pt x="1500" y="6"/>
                  </a:lnTo>
                  <a:lnTo>
                    <a:pt x="1506" y="0"/>
                  </a:lnTo>
                  <a:lnTo>
                    <a:pt x="1506" y="6"/>
                  </a:lnTo>
                  <a:lnTo>
                    <a:pt x="1506" y="18"/>
                  </a:lnTo>
                  <a:lnTo>
                    <a:pt x="1506" y="24"/>
                  </a:lnTo>
                  <a:lnTo>
                    <a:pt x="1500" y="30"/>
                  </a:lnTo>
                  <a:lnTo>
                    <a:pt x="1500" y="42"/>
                  </a:lnTo>
                  <a:lnTo>
                    <a:pt x="1494" y="54"/>
                  </a:lnTo>
                  <a:lnTo>
                    <a:pt x="1488" y="60"/>
                  </a:lnTo>
                  <a:lnTo>
                    <a:pt x="1482" y="60"/>
                  </a:lnTo>
                  <a:lnTo>
                    <a:pt x="1476" y="66"/>
                  </a:lnTo>
                  <a:lnTo>
                    <a:pt x="1476" y="72"/>
                  </a:lnTo>
                  <a:lnTo>
                    <a:pt x="1476" y="78"/>
                  </a:lnTo>
                  <a:lnTo>
                    <a:pt x="1470" y="78"/>
                  </a:lnTo>
                  <a:lnTo>
                    <a:pt x="1464" y="90"/>
                  </a:lnTo>
                  <a:lnTo>
                    <a:pt x="1458" y="96"/>
                  </a:lnTo>
                  <a:lnTo>
                    <a:pt x="1458" y="102"/>
                  </a:lnTo>
                  <a:lnTo>
                    <a:pt x="1452" y="120"/>
                  </a:lnTo>
                  <a:lnTo>
                    <a:pt x="1452" y="132"/>
                  </a:lnTo>
                  <a:lnTo>
                    <a:pt x="1446" y="144"/>
                  </a:lnTo>
                  <a:lnTo>
                    <a:pt x="1446" y="150"/>
                  </a:lnTo>
                  <a:lnTo>
                    <a:pt x="1440" y="150"/>
                  </a:lnTo>
                  <a:lnTo>
                    <a:pt x="1434" y="156"/>
                  </a:lnTo>
                  <a:lnTo>
                    <a:pt x="1428" y="168"/>
                  </a:lnTo>
                  <a:lnTo>
                    <a:pt x="1422" y="168"/>
                  </a:lnTo>
                  <a:lnTo>
                    <a:pt x="1416" y="174"/>
                  </a:lnTo>
                  <a:lnTo>
                    <a:pt x="1410" y="186"/>
                  </a:lnTo>
                  <a:lnTo>
                    <a:pt x="1410" y="204"/>
                  </a:lnTo>
                  <a:lnTo>
                    <a:pt x="1404" y="210"/>
                  </a:lnTo>
                  <a:lnTo>
                    <a:pt x="1404" y="216"/>
                  </a:lnTo>
                  <a:lnTo>
                    <a:pt x="1410" y="228"/>
                  </a:lnTo>
                  <a:lnTo>
                    <a:pt x="1410" y="234"/>
                  </a:lnTo>
                  <a:lnTo>
                    <a:pt x="1410" y="240"/>
                  </a:lnTo>
                  <a:lnTo>
                    <a:pt x="1416" y="252"/>
                  </a:lnTo>
                  <a:lnTo>
                    <a:pt x="1416" y="258"/>
                  </a:lnTo>
                  <a:lnTo>
                    <a:pt x="1422" y="264"/>
                  </a:lnTo>
                  <a:lnTo>
                    <a:pt x="1422" y="270"/>
                  </a:lnTo>
                  <a:lnTo>
                    <a:pt x="1422" y="282"/>
                  </a:lnTo>
                  <a:lnTo>
                    <a:pt x="1416" y="288"/>
                  </a:lnTo>
                  <a:lnTo>
                    <a:pt x="1410" y="294"/>
                  </a:lnTo>
                  <a:lnTo>
                    <a:pt x="1404" y="300"/>
                  </a:lnTo>
                  <a:lnTo>
                    <a:pt x="1404" y="306"/>
                  </a:lnTo>
                  <a:lnTo>
                    <a:pt x="1398" y="324"/>
                  </a:lnTo>
                  <a:lnTo>
                    <a:pt x="1404" y="330"/>
                  </a:lnTo>
                  <a:lnTo>
                    <a:pt x="1404" y="342"/>
                  </a:lnTo>
                  <a:lnTo>
                    <a:pt x="1392" y="354"/>
                  </a:lnTo>
                  <a:lnTo>
                    <a:pt x="1392" y="360"/>
                  </a:lnTo>
                  <a:lnTo>
                    <a:pt x="1392" y="372"/>
                  </a:lnTo>
                  <a:lnTo>
                    <a:pt x="1392" y="384"/>
                  </a:lnTo>
                  <a:lnTo>
                    <a:pt x="1392" y="396"/>
                  </a:lnTo>
                  <a:lnTo>
                    <a:pt x="1392" y="408"/>
                  </a:lnTo>
                  <a:lnTo>
                    <a:pt x="1386" y="414"/>
                  </a:lnTo>
                  <a:lnTo>
                    <a:pt x="1380" y="420"/>
                  </a:lnTo>
                  <a:lnTo>
                    <a:pt x="1380" y="426"/>
                  </a:lnTo>
                  <a:lnTo>
                    <a:pt x="1368" y="432"/>
                  </a:lnTo>
                  <a:lnTo>
                    <a:pt x="1362" y="444"/>
                  </a:lnTo>
                  <a:lnTo>
                    <a:pt x="1362" y="450"/>
                  </a:lnTo>
                  <a:lnTo>
                    <a:pt x="1362" y="462"/>
                  </a:lnTo>
                  <a:lnTo>
                    <a:pt x="1362" y="468"/>
                  </a:lnTo>
                  <a:lnTo>
                    <a:pt x="1362" y="474"/>
                  </a:lnTo>
                  <a:lnTo>
                    <a:pt x="1356" y="474"/>
                  </a:lnTo>
                  <a:lnTo>
                    <a:pt x="1350" y="480"/>
                  </a:lnTo>
                  <a:lnTo>
                    <a:pt x="1344" y="486"/>
                  </a:lnTo>
                  <a:lnTo>
                    <a:pt x="1338" y="498"/>
                  </a:lnTo>
                  <a:lnTo>
                    <a:pt x="1332" y="510"/>
                  </a:lnTo>
                  <a:lnTo>
                    <a:pt x="1320" y="510"/>
                  </a:lnTo>
                  <a:lnTo>
                    <a:pt x="1314" y="516"/>
                  </a:lnTo>
                  <a:lnTo>
                    <a:pt x="1302" y="522"/>
                  </a:lnTo>
                  <a:lnTo>
                    <a:pt x="1296" y="522"/>
                  </a:lnTo>
                  <a:lnTo>
                    <a:pt x="1284" y="516"/>
                  </a:lnTo>
                  <a:lnTo>
                    <a:pt x="1278" y="516"/>
                  </a:lnTo>
                  <a:lnTo>
                    <a:pt x="1272" y="522"/>
                  </a:lnTo>
                  <a:lnTo>
                    <a:pt x="1266" y="522"/>
                  </a:lnTo>
                  <a:lnTo>
                    <a:pt x="1266" y="528"/>
                  </a:lnTo>
                  <a:lnTo>
                    <a:pt x="1254" y="540"/>
                  </a:lnTo>
                  <a:lnTo>
                    <a:pt x="1248" y="546"/>
                  </a:lnTo>
                  <a:lnTo>
                    <a:pt x="1242" y="558"/>
                  </a:lnTo>
                  <a:lnTo>
                    <a:pt x="1230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30" y="594"/>
                  </a:lnTo>
                  <a:lnTo>
                    <a:pt x="1230" y="600"/>
                  </a:lnTo>
                  <a:lnTo>
                    <a:pt x="1236" y="606"/>
                  </a:lnTo>
                  <a:lnTo>
                    <a:pt x="1242" y="606"/>
                  </a:lnTo>
                  <a:lnTo>
                    <a:pt x="1242" y="612"/>
                  </a:lnTo>
                  <a:lnTo>
                    <a:pt x="1242" y="618"/>
                  </a:lnTo>
                  <a:lnTo>
                    <a:pt x="1242" y="624"/>
                  </a:lnTo>
                  <a:lnTo>
                    <a:pt x="1236" y="630"/>
                  </a:lnTo>
                  <a:lnTo>
                    <a:pt x="1230" y="642"/>
                  </a:lnTo>
                  <a:lnTo>
                    <a:pt x="1230" y="648"/>
                  </a:lnTo>
                  <a:lnTo>
                    <a:pt x="1218" y="654"/>
                  </a:lnTo>
                  <a:lnTo>
                    <a:pt x="1212" y="654"/>
                  </a:lnTo>
                  <a:lnTo>
                    <a:pt x="1212" y="660"/>
                  </a:lnTo>
                  <a:lnTo>
                    <a:pt x="1212" y="666"/>
                  </a:lnTo>
                  <a:lnTo>
                    <a:pt x="1212" y="672"/>
                  </a:lnTo>
                  <a:lnTo>
                    <a:pt x="1212" y="678"/>
                  </a:lnTo>
                  <a:lnTo>
                    <a:pt x="1218" y="684"/>
                  </a:lnTo>
                  <a:lnTo>
                    <a:pt x="1218" y="690"/>
                  </a:lnTo>
                  <a:lnTo>
                    <a:pt x="1224" y="696"/>
                  </a:lnTo>
                  <a:lnTo>
                    <a:pt x="1230" y="702"/>
                  </a:lnTo>
                  <a:lnTo>
                    <a:pt x="1236" y="696"/>
                  </a:lnTo>
                  <a:lnTo>
                    <a:pt x="1242" y="702"/>
                  </a:lnTo>
                  <a:lnTo>
                    <a:pt x="1248" y="708"/>
                  </a:lnTo>
                  <a:lnTo>
                    <a:pt x="1254" y="714"/>
                  </a:lnTo>
                  <a:lnTo>
                    <a:pt x="1254" y="720"/>
                  </a:lnTo>
                  <a:lnTo>
                    <a:pt x="1260" y="720"/>
                  </a:lnTo>
                  <a:lnTo>
                    <a:pt x="1254" y="732"/>
                  </a:lnTo>
                  <a:lnTo>
                    <a:pt x="1248" y="738"/>
                  </a:lnTo>
                  <a:lnTo>
                    <a:pt x="1242" y="744"/>
                  </a:lnTo>
                  <a:lnTo>
                    <a:pt x="1236" y="750"/>
                  </a:lnTo>
                  <a:lnTo>
                    <a:pt x="1236" y="756"/>
                  </a:lnTo>
                  <a:lnTo>
                    <a:pt x="1236" y="762"/>
                  </a:lnTo>
                  <a:lnTo>
                    <a:pt x="1236" y="768"/>
                  </a:lnTo>
                  <a:lnTo>
                    <a:pt x="1236" y="780"/>
                  </a:lnTo>
                  <a:lnTo>
                    <a:pt x="1230" y="780"/>
                  </a:lnTo>
                  <a:lnTo>
                    <a:pt x="1230" y="786"/>
                  </a:lnTo>
                  <a:lnTo>
                    <a:pt x="1230" y="792"/>
                  </a:lnTo>
                  <a:lnTo>
                    <a:pt x="1230" y="804"/>
                  </a:lnTo>
                  <a:lnTo>
                    <a:pt x="1224" y="810"/>
                  </a:lnTo>
                  <a:lnTo>
                    <a:pt x="1218" y="816"/>
                  </a:lnTo>
                  <a:lnTo>
                    <a:pt x="1224" y="822"/>
                  </a:lnTo>
                  <a:lnTo>
                    <a:pt x="1224" y="828"/>
                  </a:lnTo>
                  <a:lnTo>
                    <a:pt x="1218" y="834"/>
                  </a:lnTo>
                  <a:lnTo>
                    <a:pt x="1224" y="834"/>
                  </a:lnTo>
                  <a:lnTo>
                    <a:pt x="1224" y="840"/>
                  </a:lnTo>
                  <a:lnTo>
                    <a:pt x="1224" y="846"/>
                  </a:lnTo>
                  <a:lnTo>
                    <a:pt x="1224" y="852"/>
                  </a:lnTo>
                  <a:lnTo>
                    <a:pt x="1218" y="858"/>
                  </a:lnTo>
                  <a:lnTo>
                    <a:pt x="1218" y="870"/>
                  </a:lnTo>
                  <a:lnTo>
                    <a:pt x="1212" y="870"/>
                  </a:lnTo>
                  <a:lnTo>
                    <a:pt x="1212" y="876"/>
                  </a:lnTo>
                  <a:lnTo>
                    <a:pt x="1206" y="888"/>
                  </a:lnTo>
                  <a:lnTo>
                    <a:pt x="1200" y="882"/>
                  </a:lnTo>
                  <a:lnTo>
                    <a:pt x="1194" y="888"/>
                  </a:lnTo>
                  <a:lnTo>
                    <a:pt x="1188" y="894"/>
                  </a:lnTo>
                  <a:lnTo>
                    <a:pt x="1182" y="894"/>
                  </a:lnTo>
                  <a:lnTo>
                    <a:pt x="1182" y="900"/>
                  </a:lnTo>
                  <a:lnTo>
                    <a:pt x="1176" y="900"/>
                  </a:lnTo>
                  <a:lnTo>
                    <a:pt x="1170" y="894"/>
                  </a:lnTo>
                  <a:lnTo>
                    <a:pt x="1164" y="900"/>
                  </a:lnTo>
                  <a:lnTo>
                    <a:pt x="1158" y="900"/>
                  </a:lnTo>
                  <a:lnTo>
                    <a:pt x="1152" y="900"/>
                  </a:lnTo>
                  <a:lnTo>
                    <a:pt x="1140" y="900"/>
                  </a:lnTo>
                  <a:lnTo>
                    <a:pt x="1134" y="900"/>
                  </a:lnTo>
                  <a:lnTo>
                    <a:pt x="1128" y="906"/>
                  </a:lnTo>
                  <a:lnTo>
                    <a:pt x="1110" y="906"/>
                  </a:lnTo>
                  <a:lnTo>
                    <a:pt x="1104" y="906"/>
                  </a:lnTo>
                  <a:lnTo>
                    <a:pt x="1098" y="906"/>
                  </a:lnTo>
                  <a:lnTo>
                    <a:pt x="1092" y="912"/>
                  </a:lnTo>
                  <a:lnTo>
                    <a:pt x="1080" y="918"/>
                  </a:lnTo>
                  <a:lnTo>
                    <a:pt x="1068" y="930"/>
                  </a:lnTo>
                  <a:lnTo>
                    <a:pt x="1062" y="930"/>
                  </a:lnTo>
                  <a:lnTo>
                    <a:pt x="1056" y="930"/>
                  </a:lnTo>
                  <a:lnTo>
                    <a:pt x="1050" y="930"/>
                  </a:lnTo>
                  <a:lnTo>
                    <a:pt x="1050" y="936"/>
                  </a:lnTo>
                  <a:lnTo>
                    <a:pt x="1038" y="942"/>
                  </a:lnTo>
                  <a:lnTo>
                    <a:pt x="1032" y="948"/>
                  </a:lnTo>
                  <a:lnTo>
                    <a:pt x="1026" y="954"/>
                  </a:lnTo>
                  <a:lnTo>
                    <a:pt x="1020" y="960"/>
                  </a:lnTo>
                  <a:lnTo>
                    <a:pt x="1014" y="966"/>
                  </a:lnTo>
                  <a:lnTo>
                    <a:pt x="1002" y="966"/>
                  </a:lnTo>
                  <a:lnTo>
                    <a:pt x="990" y="978"/>
                  </a:lnTo>
                  <a:lnTo>
                    <a:pt x="984" y="978"/>
                  </a:lnTo>
                  <a:lnTo>
                    <a:pt x="978" y="984"/>
                  </a:lnTo>
                  <a:lnTo>
                    <a:pt x="972" y="984"/>
                  </a:lnTo>
                  <a:lnTo>
                    <a:pt x="978" y="990"/>
                  </a:lnTo>
                  <a:lnTo>
                    <a:pt x="972" y="996"/>
                  </a:lnTo>
                  <a:lnTo>
                    <a:pt x="978" y="1002"/>
                  </a:lnTo>
                  <a:lnTo>
                    <a:pt x="1002" y="1002"/>
                  </a:lnTo>
                  <a:lnTo>
                    <a:pt x="1002" y="1008"/>
                  </a:lnTo>
                  <a:lnTo>
                    <a:pt x="1008" y="1020"/>
                  </a:lnTo>
                  <a:lnTo>
                    <a:pt x="1002" y="1026"/>
                  </a:lnTo>
                  <a:lnTo>
                    <a:pt x="1002" y="1032"/>
                  </a:lnTo>
                  <a:lnTo>
                    <a:pt x="1002" y="1050"/>
                  </a:lnTo>
                  <a:lnTo>
                    <a:pt x="1002" y="1056"/>
                  </a:lnTo>
                  <a:lnTo>
                    <a:pt x="1008" y="1062"/>
                  </a:lnTo>
                  <a:lnTo>
                    <a:pt x="1008" y="1074"/>
                  </a:lnTo>
                  <a:lnTo>
                    <a:pt x="1008" y="1086"/>
                  </a:lnTo>
                  <a:lnTo>
                    <a:pt x="996" y="1092"/>
                  </a:lnTo>
                  <a:lnTo>
                    <a:pt x="996" y="1098"/>
                  </a:lnTo>
                  <a:lnTo>
                    <a:pt x="996" y="1104"/>
                  </a:lnTo>
                  <a:lnTo>
                    <a:pt x="990" y="1110"/>
                  </a:lnTo>
                  <a:lnTo>
                    <a:pt x="990" y="1116"/>
                  </a:lnTo>
                  <a:lnTo>
                    <a:pt x="996" y="1122"/>
                  </a:lnTo>
                  <a:lnTo>
                    <a:pt x="990" y="1128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96" y="1140"/>
                  </a:lnTo>
                  <a:lnTo>
                    <a:pt x="996" y="1146"/>
                  </a:lnTo>
                  <a:lnTo>
                    <a:pt x="996" y="1152"/>
                  </a:lnTo>
                  <a:lnTo>
                    <a:pt x="996" y="1158"/>
                  </a:lnTo>
                  <a:lnTo>
                    <a:pt x="996" y="1164"/>
                  </a:lnTo>
                  <a:lnTo>
                    <a:pt x="996" y="1170"/>
                  </a:lnTo>
                  <a:lnTo>
                    <a:pt x="996" y="1176"/>
                  </a:lnTo>
                  <a:lnTo>
                    <a:pt x="990" y="1182"/>
                  </a:lnTo>
                  <a:lnTo>
                    <a:pt x="990" y="1188"/>
                  </a:lnTo>
                  <a:lnTo>
                    <a:pt x="984" y="1200"/>
                  </a:lnTo>
                  <a:lnTo>
                    <a:pt x="990" y="1206"/>
                  </a:lnTo>
                  <a:lnTo>
                    <a:pt x="990" y="1212"/>
                  </a:lnTo>
                  <a:lnTo>
                    <a:pt x="990" y="1218"/>
                  </a:lnTo>
                  <a:lnTo>
                    <a:pt x="978" y="1230"/>
                  </a:lnTo>
                  <a:lnTo>
                    <a:pt x="972" y="1236"/>
                  </a:lnTo>
                  <a:lnTo>
                    <a:pt x="972" y="1242"/>
                  </a:lnTo>
                  <a:lnTo>
                    <a:pt x="966" y="1248"/>
                  </a:lnTo>
                  <a:lnTo>
                    <a:pt x="960" y="1260"/>
                  </a:lnTo>
                  <a:lnTo>
                    <a:pt x="954" y="1266"/>
                  </a:lnTo>
                  <a:lnTo>
                    <a:pt x="942" y="1278"/>
                  </a:lnTo>
                  <a:lnTo>
                    <a:pt x="936" y="1278"/>
                  </a:lnTo>
                  <a:lnTo>
                    <a:pt x="936" y="1284"/>
                  </a:lnTo>
                  <a:lnTo>
                    <a:pt x="936" y="1296"/>
                  </a:lnTo>
                  <a:lnTo>
                    <a:pt x="936" y="1302"/>
                  </a:lnTo>
                  <a:lnTo>
                    <a:pt x="942" y="1302"/>
                  </a:lnTo>
                  <a:lnTo>
                    <a:pt x="942" y="1308"/>
                  </a:lnTo>
                  <a:lnTo>
                    <a:pt x="936" y="1314"/>
                  </a:lnTo>
                  <a:lnTo>
                    <a:pt x="930" y="1320"/>
                  </a:lnTo>
                  <a:lnTo>
                    <a:pt x="930" y="1326"/>
                  </a:lnTo>
                  <a:lnTo>
                    <a:pt x="930" y="1332"/>
                  </a:lnTo>
                  <a:lnTo>
                    <a:pt x="936" y="1338"/>
                  </a:lnTo>
                  <a:lnTo>
                    <a:pt x="936" y="1344"/>
                  </a:lnTo>
                  <a:lnTo>
                    <a:pt x="942" y="1356"/>
                  </a:lnTo>
                  <a:lnTo>
                    <a:pt x="948" y="1368"/>
                  </a:lnTo>
                  <a:lnTo>
                    <a:pt x="942" y="1380"/>
                  </a:lnTo>
                  <a:lnTo>
                    <a:pt x="936" y="1386"/>
                  </a:lnTo>
                  <a:lnTo>
                    <a:pt x="930" y="1392"/>
                  </a:lnTo>
                  <a:lnTo>
                    <a:pt x="924" y="1392"/>
                  </a:lnTo>
                  <a:lnTo>
                    <a:pt x="918" y="1386"/>
                  </a:lnTo>
                  <a:lnTo>
                    <a:pt x="912" y="1386"/>
                  </a:lnTo>
                  <a:lnTo>
                    <a:pt x="906" y="1386"/>
                  </a:lnTo>
                  <a:lnTo>
                    <a:pt x="900" y="1386"/>
                  </a:lnTo>
                  <a:lnTo>
                    <a:pt x="900" y="1392"/>
                  </a:lnTo>
                  <a:lnTo>
                    <a:pt x="894" y="1392"/>
                  </a:lnTo>
                  <a:lnTo>
                    <a:pt x="888" y="1392"/>
                  </a:lnTo>
                  <a:lnTo>
                    <a:pt x="888" y="1398"/>
                  </a:lnTo>
                  <a:lnTo>
                    <a:pt x="882" y="1404"/>
                  </a:lnTo>
                  <a:lnTo>
                    <a:pt x="882" y="1416"/>
                  </a:lnTo>
                  <a:lnTo>
                    <a:pt x="882" y="1428"/>
                  </a:lnTo>
                  <a:lnTo>
                    <a:pt x="882" y="1434"/>
                  </a:lnTo>
                  <a:lnTo>
                    <a:pt x="870" y="1440"/>
                  </a:lnTo>
                  <a:lnTo>
                    <a:pt x="864" y="1452"/>
                  </a:lnTo>
                  <a:lnTo>
                    <a:pt x="870" y="1452"/>
                  </a:lnTo>
                  <a:lnTo>
                    <a:pt x="864" y="1458"/>
                  </a:lnTo>
                  <a:lnTo>
                    <a:pt x="858" y="1464"/>
                  </a:lnTo>
                  <a:lnTo>
                    <a:pt x="852" y="1464"/>
                  </a:lnTo>
                  <a:lnTo>
                    <a:pt x="846" y="1458"/>
                  </a:lnTo>
                  <a:lnTo>
                    <a:pt x="840" y="1458"/>
                  </a:lnTo>
                  <a:lnTo>
                    <a:pt x="828" y="1470"/>
                  </a:lnTo>
                  <a:lnTo>
                    <a:pt x="810" y="1482"/>
                  </a:lnTo>
                  <a:lnTo>
                    <a:pt x="804" y="1488"/>
                  </a:lnTo>
                  <a:lnTo>
                    <a:pt x="798" y="1488"/>
                  </a:lnTo>
                  <a:lnTo>
                    <a:pt x="792" y="1488"/>
                  </a:lnTo>
                  <a:lnTo>
                    <a:pt x="786" y="1488"/>
                  </a:lnTo>
                  <a:lnTo>
                    <a:pt x="768" y="1482"/>
                  </a:lnTo>
                  <a:lnTo>
                    <a:pt x="762" y="1476"/>
                  </a:lnTo>
                  <a:lnTo>
                    <a:pt x="744" y="1476"/>
                  </a:lnTo>
                  <a:lnTo>
                    <a:pt x="738" y="1476"/>
                  </a:lnTo>
                  <a:lnTo>
                    <a:pt x="732" y="1476"/>
                  </a:lnTo>
                  <a:lnTo>
                    <a:pt x="726" y="1482"/>
                  </a:lnTo>
                  <a:lnTo>
                    <a:pt x="726" y="1488"/>
                  </a:lnTo>
                  <a:lnTo>
                    <a:pt x="726" y="1494"/>
                  </a:lnTo>
                  <a:lnTo>
                    <a:pt x="726" y="1500"/>
                  </a:lnTo>
                  <a:lnTo>
                    <a:pt x="720" y="1500"/>
                  </a:lnTo>
                  <a:lnTo>
                    <a:pt x="720" y="1506"/>
                  </a:lnTo>
                  <a:lnTo>
                    <a:pt x="714" y="1512"/>
                  </a:lnTo>
                  <a:lnTo>
                    <a:pt x="714" y="1518"/>
                  </a:lnTo>
                  <a:lnTo>
                    <a:pt x="708" y="1518"/>
                  </a:lnTo>
                  <a:lnTo>
                    <a:pt x="708" y="1530"/>
                  </a:lnTo>
                  <a:lnTo>
                    <a:pt x="708" y="1536"/>
                  </a:lnTo>
                  <a:lnTo>
                    <a:pt x="708" y="1542"/>
                  </a:lnTo>
                  <a:lnTo>
                    <a:pt x="696" y="1554"/>
                  </a:lnTo>
                  <a:lnTo>
                    <a:pt x="690" y="1560"/>
                  </a:lnTo>
                  <a:lnTo>
                    <a:pt x="684" y="1566"/>
                  </a:lnTo>
                  <a:lnTo>
                    <a:pt x="672" y="1566"/>
                  </a:lnTo>
                  <a:lnTo>
                    <a:pt x="666" y="1566"/>
                  </a:lnTo>
                  <a:lnTo>
                    <a:pt x="660" y="1566"/>
                  </a:lnTo>
                  <a:lnTo>
                    <a:pt x="654" y="1572"/>
                  </a:lnTo>
                  <a:lnTo>
                    <a:pt x="654" y="1578"/>
                  </a:lnTo>
                  <a:lnTo>
                    <a:pt x="642" y="1578"/>
                  </a:lnTo>
                  <a:lnTo>
                    <a:pt x="630" y="1572"/>
                  </a:lnTo>
                  <a:lnTo>
                    <a:pt x="624" y="1572"/>
                  </a:lnTo>
                  <a:lnTo>
                    <a:pt x="618" y="1578"/>
                  </a:lnTo>
                  <a:lnTo>
                    <a:pt x="612" y="1584"/>
                  </a:lnTo>
                  <a:lnTo>
                    <a:pt x="606" y="1584"/>
                  </a:lnTo>
                  <a:lnTo>
                    <a:pt x="600" y="1590"/>
                  </a:lnTo>
                  <a:lnTo>
                    <a:pt x="594" y="1590"/>
                  </a:lnTo>
                  <a:lnTo>
                    <a:pt x="588" y="1590"/>
                  </a:lnTo>
                  <a:lnTo>
                    <a:pt x="582" y="1590"/>
                  </a:lnTo>
                  <a:lnTo>
                    <a:pt x="582" y="1596"/>
                  </a:lnTo>
                  <a:lnTo>
                    <a:pt x="576" y="1614"/>
                  </a:lnTo>
                  <a:lnTo>
                    <a:pt x="570" y="1632"/>
                  </a:lnTo>
                  <a:lnTo>
                    <a:pt x="570" y="1638"/>
                  </a:lnTo>
                  <a:lnTo>
                    <a:pt x="576" y="1644"/>
                  </a:lnTo>
                  <a:lnTo>
                    <a:pt x="576" y="1650"/>
                  </a:lnTo>
                  <a:lnTo>
                    <a:pt x="582" y="1662"/>
                  </a:lnTo>
                  <a:lnTo>
                    <a:pt x="582" y="1668"/>
                  </a:lnTo>
                  <a:lnTo>
                    <a:pt x="588" y="1692"/>
                  </a:lnTo>
                  <a:lnTo>
                    <a:pt x="594" y="1728"/>
                  </a:lnTo>
                  <a:lnTo>
                    <a:pt x="594" y="1752"/>
                  </a:lnTo>
                  <a:lnTo>
                    <a:pt x="594" y="1764"/>
                  </a:lnTo>
                  <a:lnTo>
                    <a:pt x="582" y="1770"/>
                  </a:lnTo>
                  <a:lnTo>
                    <a:pt x="582" y="1782"/>
                  </a:lnTo>
                  <a:lnTo>
                    <a:pt x="576" y="1788"/>
                  </a:lnTo>
                  <a:lnTo>
                    <a:pt x="570" y="1794"/>
                  </a:lnTo>
                  <a:lnTo>
                    <a:pt x="564" y="1806"/>
                  </a:lnTo>
                  <a:lnTo>
                    <a:pt x="564" y="1812"/>
                  </a:lnTo>
                  <a:lnTo>
                    <a:pt x="558" y="1812"/>
                  </a:lnTo>
                  <a:lnTo>
                    <a:pt x="564" y="1824"/>
                  </a:lnTo>
                  <a:lnTo>
                    <a:pt x="564" y="1830"/>
                  </a:lnTo>
                  <a:lnTo>
                    <a:pt x="564" y="1842"/>
                  </a:lnTo>
                  <a:lnTo>
                    <a:pt x="564" y="1848"/>
                  </a:lnTo>
                  <a:lnTo>
                    <a:pt x="564" y="1854"/>
                  </a:lnTo>
                  <a:lnTo>
                    <a:pt x="570" y="1860"/>
                  </a:lnTo>
                  <a:lnTo>
                    <a:pt x="570" y="1866"/>
                  </a:lnTo>
                  <a:lnTo>
                    <a:pt x="570" y="1872"/>
                  </a:lnTo>
                  <a:lnTo>
                    <a:pt x="570" y="1878"/>
                  </a:lnTo>
                  <a:lnTo>
                    <a:pt x="564" y="1890"/>
                  </a:lnTo>
                  <a:lnTo>
                    <a:pt x="558" y="1896"/>
                  </a:lnTo>
                  <a:lnTo>
                    <a:pt x="552" y="1908"/>
                  </a:lnTo>
                  <a:lnTo>
                    <a:pt x="546" y="1914"/>
                  </a:lnTo>
                  <a:lnTo>
                    <a:pt x="540" y="1920"/>
                  </a:lnTo>
                  <a:lnTo>
                    <a:pt x="534" y="1932"/>
                  </a:lnTo>
                  <a:lnTo>
                    <a:pt x="528" y="1944"/>
                  </a:lnTo>
                  <a:lnTo>
                    <a:pt x="516" y="1950"/>
                  </a:lnTo>
                  <a:lnTo>
                    <a:pt x="510" y="1956"/>
                  </a:lnTo>
                  <a:lnTo>
                    <a:pt x="498" y="1962"/>
                  </a:lnTo>
                  <a:lnTo>
                    <a:pt x="492" y="1974"/>
                  </a:lnTo>
                  <a:lnTo>
                    <a:pt x="486" y="1980"/>
                  </a:lnTo>
                  <a:lnTo>
                    <a:pt x="480" y="1998"/>
                  </a:lnTo>
                  <a:lnTo>
                    <a:pt x="474" y="2004"/>
                  </a:lnTo>
                  <a:lnTo>
                    <a:pt x="474" y="2010"/>
                  </a:lnTo>
                  <a:lnTo>
                    <a:pt x="474" y="2016"/>
                  </a:lnTo>
                  <a:lnTo>
                    <a:pt x="468" y="2016"/>
                  </a:lnTo>
                  <a:lnTo>
                    <a:pt x="468" y="2028"/>
                  </a:lnTo>
                  <a:lnTo>
                    <a:pt x="462" y="2034"/>
                  </a:lnTo>
                  <a:lnTo>
                    <a:pt x="456" y="2040"/>
                  </a:lnTo>
                  <a:lnTo>
                    <a:pt x="456" y="2052"/>
                  </a:lnTo>
                  <a:lnTo>
                    <a:pt x="450" y="2058"/>
                  </a:lnTo>
                  <a:lnTo>
                    <a:pt x="450" y="2070"/>
                  </a:lnTo>
                  <a:lnTo>
                    <a:pt x="450" y="2076"/>
                  </a:lnTo>
                  <a:lnTo>
                    <a:pt x="450" y="2082"/>
                  </a:lnTo>
                  <a:lnTo>
                    <a:pt x="444" y="2088"/>
                  </a:lnTo>
                  <a:lnTo>
                    <a:pt x="438" y="2094"/>
                  </a:lnTo>
                  <a:lnTo>
                    <a:pt x="444" y="2100"/>
                  </a:lnTo>
                  <a:lnTo>
                    <a:pt x="444" y="2124"/>
                  </a:lnTo>
                  <a:lnTo>
                    <a:pt x="444" y="2142"/>
                  </a:lnTo>
                  <a:lnTo>
                    <a:pt x="444" y="2160"/>
                  </a:lnTo>
                  <a:lnTo>
                    <a:pt x="450" y="2166"/>
                  </a:lnTo>
                  <a:lnTo>
                    <a:pt x="456" y="2178"/>
                  </a:lnTo>
                  <a:lnTo>
                    <a:pt x="438" y="2184"/>
                  </a:lnTo>
                  <a:lnTo>
                    <a:pt x="432" y="2184"/>
                  </a:lnTo>
                  <a:lnTo>
                    <a:pt x="426" y="2190"/>
                  </a:lnTo>
                  <a:lnTo>
                    <a:pt x="408" y="2190"/>
                  </a:lnTo>
                  <a:lnTo>
                    <a:pt x="402" y="2196"/>
                  </a:lnTo>
                  <a:lnTo>
                    <a:pt x="396" y="2196"/>
                  </a:lnTo>
                  <a:lnTo>
                    <a:pt x="384" y="2208"/>
                  </a:lnTo>
                  <a:lnTo>
                    <a:pt x="378" y="2220"/>
                  </a:lnTo>
                  <a:lnTo>
                    <a:pt x="366" y="2232"/>
                  </a:lnTo>
                  <a:lnTo>
                    <a:pt x="366" y="2238"/>
                  </a:lnTo>
                  <a:lnTo>
                    <a:pt x="360" y="2238"/>
                  </a:lnTo>
                  <a:lnTo>
                    <a:pt x="360" y="2244"/>
                  </a:lnTo>
                  <a:lnTo>
                    <a:pt x="354" y="2244"/>
                  </a:lnTo>
                  <a:lnTo>
                    <a:pt x="330" y="227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5" name="Freeform 10">
              <a:extLst>
                <a:ext uri="{FF2B5EF4-FFF2-40B4-BE49-F238E27FC236}">
                  <a16:creationId xmlns:a16="http://schemas.microsoft.com/office/drawing/2014/main" id="{3AD2FC58-3490-4B7F-A8BE-621F3CDD69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1996" y="1931890"/>
              <a:ext cx="805029" cy="1037736"/>
            </a:xfrm>
            <a:custGeom>
              <a:avLst/>
              <a:gdLst>
                <a:gd name="T0" fmla="*/ 124 w 1512"/>
                <a:gd name="T1" fmla="*/ 76 h 1956"/>
                <a:gd name="T2" fmla="*/ 120 w 1512"/>
                <a:gd name="T3" fmla="*/ 80 h 1956"/>
                <a:gd name="T4" fmla="*/ 106 w 1512"/>
                <a:gd name="T5" fmla="*/ 84 h 1956"/>
                <a:gd name="T6" fmla="*/ 105 w 1512"/>
                <a:gd name="T7" fmla="*/ 91 h 1956"/>
                <a:gd name="T8" fmla="*/ 101 w 1512"/>
                <a:gd name="T9" fmla="*/ 99 h 1956"/>
                <a:gd name="T10" fmla="*/ 105 w 1512"/>
                <a:gd name="T11" fmla="*/ 107 h 1956"/>
                <a:gd name="T12" fmla="*/ 119 w 1512"/>
                <a:gd name="T13" fmla="*/ 116 h 1956"/>
                <a:gd name="T14" fmla="*/ 121 w 1512"/>
                <a:gd name="T15" fmla="*/ 128 h 1956"/>
                <a:gd name="T16" fmla="*/ 112 w 1512"/>
                <a:gd name="T17" fmla="*/ 136 h 1956"/>
                <a:gd name="T18" fmla="*/ 119 w 1512"/>
                <a:gd name="T19" fmla="*/ 143 h 1956"/>
                <a:gd name="T20" fmla="*/ 126 w 1512"/>
                <a:gd name="T21" fmla="*/ 148 h 1956"/>
                <a:gd name="T22" fmla="*/ 126 w 1512"/>
                <a:gd name="T23" fmla="*/ 160 h 1956"/>
                <a:gd name="T24" fmla="*/ 104 w 1512"/>
                <a:gd name="T25" fmla="*/ 170 h 1956"/>
                <a:gd name="T26" fmla="*/ 99 w 1512"/>
                <a:gd name="T27" fmla="*/ 164 h 1956"/>
                <a:gd name="T28" fmla="*/ 73 w 1512"/>
                <a:gd name="T29" fmla="*/ 152 h 1956"/>
                <a:gd name="T30" fmla="*/ 56 w 1512"/>
                <a:gd name="T31" fmla="*/ 165 h 1956"/>
                <a:gd name="T32" fmla="*/ 33 w 1512"/>
                <a:gd name="T33" fmla="*/ 162 h 1956"/>
                <a:gd name="T34" fmla="*/ 25 w 1512"/>
                <a:gd name="T35" fmla="*/ 155 h 1956"/>
                <a:gd name="T36" fmla="*/ 31 w 1512"/>
                <a:gd name="T37" fmla="*/ 142 h 1956"/>
                <a:gd name="T38" fmla="*/ 24 w 1512"/>
                <a:gd name="T39" fmla="*/ 137 h 1956"/>
                <a:gd name="T40" fmla="*/ 14 w 1512"/>
                <a:gd name="T41" fmla="*/ 136 h 1956"/>
                <a:gd name="T42" fmla="*/ 11 w 1512"/>
                <a:gd name="T43" fmla="*/ 125 h 1956"/>
                <a:gd name="T44" fmla="*/ 3 w 1512"/>
                <a:gd name="T45" fmla="*/ 116 h 1956"/>
                <a:gd name="T46" fmla="*/ 2 w 1512"/>
                <a:gd name="T47" fmla="*/ 106 h 1956"/>
                <a:gd name="T48" fmla="*/ 5 w 1512"/>
                <a:gd name="T49" fmla="*/ 101 h 1956"/>
                <a:gd name="T50" fmla="*/ 2 w 1512"/>
                <a:gd name="T51" fmla="*/ 95 h 1956"/>
                <a:gd name="T52" fmla="*/ 1 w 1512"/>
                <a:gd name="T53" fmla="*/ 88 h 1956"/>
                <a:gd name="T54" fmla="*/ 4 w 1512"/>
                <a:gd name="T55" fmla="*/ 80 h 1956"/>
                <a:gd name="T56" fmla="*/ 12 w 1512"/>
                <a:gd name="T57" fmla="*/ 73 h 1956"/>
                <a:gd name="T58" fmla="*/ 16 w 1512"/>
                <a:gd name="T59" fmla="*/ 68 h 1956"/>
                <a:gd name="T60" fmla="*/ 22 w 1512"/>
                <a:gd name="T61" fmla="*/ 66 h 1956"/>
                <a:gd name="T62" fmla="*/ 32 w 1512"/>
                <a:gd name="T63" fmla="*/ 65 h 1956"/>
                <a:gd name="T64" fmla="*/ 45 w 1512"/>
                <a:gd name="T65" fmla="*/ 66 h 1956"/>
                <a:gd name="T66" fmla="*/ 50 w 1512"/>
                <a:gd name="T67" fmla="*/ 70 h 1956"/>
                <a:gd name="T68" fmla="*/ 55 w 1512"/>
                <a:gd name="T69" fmla="*/ 70 h 1956"/>
                <a:gd name="T70" fmla="*/ 63 w 1512"/>
                <a:gd name="T71" fmla="*/ 71 h 1956"/>
                <a:gd name="T72" fmla="*/ 61 w 1512"/>
                <a:gd name="T73" fmla="*/ 75 h 1956"/>
                <a:gd name="T74" fmla="*/ 66 w 1512"/>
                <a:gd name="T75" fmla="*/ 84 h 1956"/>
                <a:gd name="T76" fmla="*/ 81 w 1512"/>
                <a:gd name="T77" fmla="*/ 85 h 1956"/>
                <a:gd name="T78" fmla="*/ 83 w 1512"/>
                <a:gd name="T79" fmla="*/ 79 h 1956"/>
                <a:gd name="T80" fmla="*/ 89 w 1512"/>
                <a:gd name="T81" fmla="*/ 77 h 1956"/>
                <a:gd name="T82" fmla="*/ 89 w 1512"/>
                <a:gd name="T83" fmla="*/ 73 h 1956"/>
                <a:gd name="T84" fmla="*/ 83 w 1512"/>
                <a:gd name="T85" fmla="*/ 72 h 1956"/>
                <a:gd name="T86" fmla="*/ 77 w 1512"/>
                <a:gd name="T87" fmla="*/ 70 h 1956"/>
                <a:gd name="T88" fmla="*/ 71 w 1512"/>
                <a:gd name="T89" fmla="*/ 70 h 1956"/>
                <a:gd name="T90" fmla="*/ 59 w 1512"/>
                <a:gd name="T91" fmla="*/ 58 h 1956"/>
                <a:gd name="T92" fmla="*/ 54 w 1512"/>
                <a:gd name="T93" fmla="*/ 45 h 1956"/>
                <a:gd name="T94" fmla="*/ 49 w 1512"/>
                <a:gd name="T95" fmla="*/ 42 h 1956"/>
                <a:gd name="T96" fmla="*/ 51 w 1512"/>
                <a:gd name="T97" fmla="*/ 39 h 1956"/>
                <a:gd name="T98" fmla="*/ 55 w 1512"/>
                <a:gd name="T99" fmla="*/ 36 h 1956"/>
                <a:gd name="T100" fmla="*/ 63 w 1512"/>
                <a:gd name="T101" fmla="*/ 34 h 1956"/>
                <a:gd name="T102" fmla="*/ 68 w 1512"/>
                <a:gd name="T103" fmla="*/ 32 h 1956"/>
                <a:gd name="T104" fmla="*/ 73 w 1512"/>
                <a:gd name="T105" fmla="*/ 29 h 1956"/>
                <a:gd name="T106" fmla="*/ 78 w 1512"/>
                <a:gd name="T107" fmla="*/ 27 h 1956"/>
                <a:gd name="T108" fmla="*/ 81 w 1512"/>
                <a:gd name="T109" fmla="*/ 17 h 1956"/>
                <a:gd name="T110" fmla="*/ 84 w 1512"/>
                <a:gd name="T111" fmla="*/ 6 h 1956"/>
                <a:gd name="T112" fmla="*/ 95 w 1512"/>
                <a:gd name="T113" fmla="*/ 6 h 1956"/>
                <a:gd name="T114" fmla="*/ 99 w 1512"/>
                <a:gd name="T115" fmla="*/ 3 h 1956"/>
                <a:gd name="T116" fmla="*/ 103 w 1512"/>
                <a:gd name="T117" fmla="*/ 0 h 1956"/>
                <a:gd name="T118" fmla="*/ 110 w 1512"/>
                <a:gd name="T119" fmla="*/ 4 h 1956"/>
                <a:gd name="T120" fmla="*/ 114 w 1512"/>
                <a:gd name="T121" fmla="*/ 33 h 1956"/>
                <a:gd name="T122" fmla="*/ 117 w 1512"/>
                <a:gd name="T123" fmla="*/ 41 h 1956"/>
                <a:gd name="T124" fmla="*/ 119 w 1512"/>
                <a:gd name="T125" fmla="*/ 62 h 195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12"/>
                <a:gd name="T190" fmla="*/ 0 h 1956"/>
                <a:gd name="T191" fmla="*/ 1512 w 1512"/>
                <a:gd name="T192" fmla="*/ 1956 h 195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12" h="1956">
                  <a:moveTo>
                    <a:pt x="1512" y="780"/>
                  </a:moveTo>
                  <a:lnTo>
                    <a:pt x="1482" y="786"/>
                  </a:lnTo>
                  <a:lnTo>
                    <a:pt x="1476" y="792"/>
                  </a:lnTo>
                  <a:lnTo>
                    <a:pt x="1476" y="798"/>
                  </a:lnTo>
                  <a:lnTo>
                    <a:pt x="1476" y="804"/>
                  </a:lnTo>
                  <a:lnTo>
                    <a:pt x="1476" y="816"/>
                  </a:lnTo>
                  <a:lnTo>
                    <a:pt x="1470" y="834"/>
                  </a:lnTo>
                  <a:lnTo>
                    <a:pt x="1464" y="840"/>
                  </a:lnTo>
                  <a:lnTo>
                    <a:pt x="1452" y="852"/>
                  </a:lnTo>
                  <a:lnTo>
                    <a:pt x="1440" y="864"/>
                  </a:lnTo>
                  <a:lnTo>
                    <a:pt x="1434" y="864"/>
                  </a:lnTo>
                  <a:lnTo>
                    <a:pt x="1434" y="870"/>
                  </a:lnTo>
                  <a:lnTo>
                    <a:pt x="1422" y="876"/>
                  </a:lnTo>
                  <a:lnTo>
                    <a:pt x="1410" y="894"/>
                  </a:lnTo>
                  <a:lnTo>
                    <a:pt x="1404" y="894"/>
                  </a:lnTo>
                  <a:lnTo>
                    <a:pt x="1404" y="900"/>
                  </a:lnTo>
                  <a:lnTo>
                    <a:pt x="1404" y="906"/>
                  </a:lnTo>
                  <a:lnTo>
                    <a:pt x="1410" y="918"/>
                  </a:lnTo>
                  <a:lnTo>
                    <a:pt x="1404" y="918"/>
                  </a:lnTo>
                  <a:lnTo>
                    <a:pt x="1392" y="924"/>
                  </a:lnTo>
                  <a:lnTo>
                    <a:pt x="1386" y="924"/>
                  </a:lnTo>
                  <a:lnTo>
                    <a:pt x="1380" y="924"/>
                  </a:lnTo>
                  <a:lnTo>
                    <a:pt x="1380" y="930"/>
                  </a:lnTo>
                  <a:lnTo>
                    <a:pt x="1374" y="930"/>
                  </a:lnTo>
                  <a:lnTo>
                    <a:pt x="1374" y="924"/>
                  </a:lnTo>
                  <a:lnTo>
                    <a:pt x="1374" y="918"/>
                  </a:lnTo>
                  <a:lnTo>
                    <a:pt x="1368" y="912"/>
                  </a:lnTo>
                  <a:lnTo>
                    <a:pt x="1368" y="906"/>
                  </a:lnTo>
                  <a:lnTo>
                    <a:pt x="1368" y="900"/>
                  </a:lnTo>
                  <a:lnTo>
                    <a:pt x="1368" y="894"/>
                  </a:lnTo>
                  <a:lnTo>
                    <a:pt x="1362" y="894"/>
                  </a:lnTo>
                  <a:lnTo>
                    <a:pt x="1326" y="894"/>
                  </a:lnTo>
                  <a:lnTo>
                    <a:pt x="1302" y="906"/>
                  </a:lnTo>
                  <a:lnTo>
                    <a:pt x="1284" y="918"/>
                  </a:lnTo>
                  <a:lnTo>
                    <a:pt x="1284" y="924"/>
                  </a:lnTo>
                  <a:lnTo>
                    <a:pt x="1278" y="930"/>
                  </a:lnTo>
                  <a:lnTo>
                    <a:pt x="1266" y="930"/>
                  </a:lnTo>
                  <a:lnTo>
                    <a:pt x="1236" y="954"/>
                  </a:lnTo>
                  <a:lnTo>
                    <a:pt x="1212" y="972"/>
                  </a:lnTo>
                  <a:lnTo>
                    <a:pt x="1218" y="996"/>
                  </a:lnTo>
                  <a:lnTo>
                    <a:pt x="1224" y="1008"/>
                  </a:lnTo>
                  <a:lnTo>
                    <a:pt x="1236" y="1014"/>
                  </a:lnTo>
                  <a:lnTo>
                    <a:pt x="1242" y="1026"/>
                  </a:lnTo>
                  <a:lnTo>
                    <a:pt x="1248" y="1038"/>
                  </a:lnTo>
                  <a:lnTo>
                    <a:pt x="1260" y="1050"/>
                  </a:lnTo>
                  <a:lnTo>
                    <a:pt x="1260" y="1056"/>
                  </a:lnTo>
                  <a:lnTo>
                    <a:pt x="1260" y="1074"/>
                  </a:lnTo>
                  <a:lnTo>
                    <a:pt x="1254" y="1074"/>
                  </a:lnTo>
                  <a:lnTo>
                    <a:pt x="1236" y="1056"/>
                  </a:lnTo>
                  <a:lnTo>
                    <a:pt x="1224" y="1050"/>
                  </a:lnTo>
                  <a:lnTo>
                    <a:pt x="1212" y="1050"/>
                  </a:lnTo>
                  <a:lnTo>
                    <a:pt x="1206" y="1050"/>
                  </a:lnTo>
                  <a:lnTo>
                    <a:pt x="1200" y="1056"/>
                  </a:lnTo>
                  <a:lnTo>
                    <a:pt x="1194" y="1062"/>
                  </a:lnTo>
                  <a:lnTo>
                    <a:pt x="1188" y="1068"/>
                  </a:lnTo>
                  <a:lnTo>
                    <a:pt x="1188" y="1074"/>
                  </a:lnTo>
                  <a:lnTo>
                    <a:pt x="1176" y="1086"/>
                  </a:lnTo>
                  <a:lnTo>
                    <a:pt x="1170" y="1086"/>
                  </a:lnTo>
                  <a:lnTo>
                    <a:pt x="1170" y="1092"/>
                  </a:lnTo>
                  <a:lnTo>
                    <a:pt x="1164" y="1098"/>
                  </a:lnTo>
                  <a:lnTo>
                    <a:pt x="1158" y="1110"/>
                  </a:lnTo>
                  <a:lnTo>
                    <a:pt x="1152" y="1116"/>
                  </a:lnTo>
                  <a:lnTo>
                    <a:pt x="1152" y="1122"/>
                  </a:lnTo>
                  <a:lnTo>
                    <a:pt x="1146" y="1128"/>
                  </a:lnTo>
                  <a:lnTo>
                    <a:pt x="1152" y="1140"/>
                  </a:lnTo>
                  <a:lnTo>
                    <a:pt x="1158" y="1140"/>
                  </a:lnTo>
                  <a:lnTo>
                    <a:pt x="1164" y="1146"/>
                  </a:lnTo>
                  <a:lnTo>
                    <a:pt x="1164" y="1152"/>
                  </a:lnTo>
                  <a:lnTo>
                    <a:pt x="1170" y="1164"/>
                  </a:lnTo>
                  <a:lnTo>
                    <a:pt x="1164" y="1176"/>
                  </a:lnTo>
                  <a:lnTo>
                    <a:pt x="1170" y="1182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82" y="1218"/>
                  </a:lnTo>
                  <a:lnTo>
                    <a:pt x="1188" y="1218"/>
                  </a:lnTo>
                  <a:lnTo>
                    <a:pt x="1194" y="1218"/>
                  </a:lnTo>
                  <a:lnTo>
                    <a:pt x="1194" y="1224"/>
                  </a:lnTo>
                  <a:lnTo>
                    <a:pt x="1200" y="1230"/>
                  </a:lnTo>
                  <a:lnTo>
                    <a:pt x="1200" y="1248"/>
                  </a:lnTo>
                  <a:lnTo>
                    <a:pt x="1212" y="1266"/>
                  </a:lnTo>
                  <a:lnTo>
                    <a:pt x="1218" y="1278"/>
                  </a:lnTo>
                  <a:lnTo>
                    <a:pt x="1224" y="1284"/>
                  </a:lnTo>
                  <a:lnTo>
                    <a:pt x="1236" y="1296"/>
                  </a:lnTo>
                  <a:lnTo>
                    <a:pt x="1242" y="1302"/>
                  </a:lnTo>
                  <a:lnTo>
                    <a:pt x="1242" y="1308"/>
                  </a:lnTo>
                  <a:lnTo>
                    <a:pt x="1272" y="1308"/>
                  </a:lnTo>
                  <a:lnTo>
                    <a:pt x="1296" y="1314"/>
                  </a:lnTo>
                  <a:lnTo>
                    <a:pt x="1320" y="1320"/>
                  </a:lnTo>
                  <a:lnTo>
                    <a:pt x="1338" y="1320"/>
                  </a:lnTo>
                  <a:lnTo>
                    <a:pt x="1356" y="1332"/>
                  </a:lnTo>
                  <a:lnTo>
                    <a:pt x="1368" y="1344"/>
                  </a:lnTo>
                  <a:lnTo>
                    <a:pt x="1374" y="1362"/>
                  </a:lnTo>
                  <a:lnTo>
                    <a:pt x="1368" y="1362"/>
                  </a:lnTo>
                  <a:lnTo>
                    <a:pt x="1368" y="1398"/>
                  </a:lnTo>
                  <a:lnTo>
                    <a:pt x="1368" y="1410"/>
                  </a:lnTo>
                  <a:lnTo>
                    <a:pt x="1368" y="1428"/>
                  </a:lnTo>
                  <a:lnTo>
                    <a:pt x="1368" y="1434"/>
                  </a:lnTo>
                  <a:lnTo>
                    <a:pt x="1368" y="1440"/>
                  </a:lnTo>
                  <a:lnTo>
                    <a:pt x="1374" y="1446"/>
                  </a:lnTo>
                  <a:lnTo>
                    <a:pt x="1374" y="1452"/>
                  </a:lnTo>
                  <a:lnTo>
                    <a:pt x="1380" y="1458"/>
                  </a:lnTo>
                  <a:lnTo>
                    <a:pt x="1386" y="1464"/>
                  </a:lnTo>
                  <a:lnTo>
                    <a:pt x="1386" y="1470"/>
                  </a:lnTo>
                  <a:lnTo>
                    <a:pt x="1380" y="1476"/>
                  </a:lnTo>
                  <a:lnTo>
                    <a:pt x="1374" y="1482"/>
                  </a:lnTo>
                  <a:lnTo>
                    <a:pt x="1362" y="1500"/>
                  </a:lnTo>
                  <a:lnTo>
                    <a:pt x="1362" y="1506"/>
                  </a:lnTo>
                  <a:lnTo>
                    <a:pt x="1362" y="1512"/>
                  </a:lnTo>
                  <a:lnTo>
                    <a:pt x="1362" y="1518"/>
                  </a:lnTo>
                  <a:lnTo>
                    <a:pt x="1362" y="1524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38" y="1548"/>
                  </a:lnTo>
                  <a:lnTo>
                    <a:pt x="1296" y="1548"/>
                  </a:lnTo>
                  <a:lnTo>
                    <a:pt x="1290" y="1554"/>
                  </a:lnTo>
                  <a:lnTo>
                    <a:pt x="1284" y="1560"/>
                  </a:lnTo>
                  <a:lnTo>
                    <a:pt x="1284" y="1566"/>
                  </a:lnTo>
                  <a:lnTo>
                    <a:pt x="1290" y="1578"/>
                  </a:lnTo>
                  <a:lnTo>
                    <a:pt x="1296" y="1590"/>
                  </a:lnTo>
                  <a:lnTo>
                    <a:pt x="1302" y="1590"/>
                  </a:lnTo>
                  <a:lnTo>
                    <a:pt x="1308" y="1596"/>
                  </a:lnTo>
                  <a:lnTo>
                    <a:pt x="1320" y="1602"/>
                  </a:lnTo>
                  <a:lnTo>
                    <a:pt x="1326" y="1602"/>
                  </a:lnTo>
                  <a:lnTo>
                    <a:pt x="1326" y="1608"/>
                  </a:lnTo>
                  <a:lnTo>
                    <a:pt x="1332" y="1614"/>
                  </a:lnTo>
                  <a:lnTo>
                    <a:pt x="1344" y="1620"/>
                  </a:lnTo>
                  <a:lnTo>
                    <a:pt x="1356" y="1626"/>
                  </a:lnTo>
                  <a:lnTo>
                    <a:pt x="1356" y="1632"/>
                  </a:lnTo>
                  <a:lnTo>
                    <a:pt x="1356" y="1638"/>
                  </a:lnTo>
                  <a:lnTo>
                    <a:pt x="1362" y="1644"/>
                  </a:lnTo>
                  <a:lnTo>
                    <a:pt x="1368" y="1644"/>
                  </a:lnTo>
                  <a:lnTo>
                    <a:pt x="1380" y="1650"/>
                  </a:lnTo>
                  <a:lnTo>
                    <a:pt x="1386" y="1650"/>
                  </a:lnTo>
                  <a:lnTo>
                    <a:pt x="1386" y="1656"/>
                  </a:lnTo>
                  <a:lnTo>
                    <a:pt x="1392" y="1656"/>
                  </a:lnTo>
                  <a:lnTo>
                    <a:pt x="1398" y="1662"/>
                  </a:lnTo>
                  <a:lnTo>
                    <a:pt x="1410" y="1674"/>
                  </a:lnTo>
                  <a:lnTo>
                    <a:pt x="1428" y="1680"/>
                  </a:lnTo>
                  <a:lnTo>
                    <a:pt x="1428" y="1686"/>
                  </a:lnTo>
                  <a:lnTo>
                    <a:pt x="1428" y="1698"/>
                  </a:lnTo>
                  <a:lnTo>
                    <a:pt x="1434" y="1704"/>
                  </a:lnTo>
                  <a:lnTo>
                    <a:pt x="1434" y="1710"/>
                  </a:lnTo>
                  <a:lnTo>
                    <a:pt x="1440" y="1710"/>
                  </a:lnTo>
                  <a:lnTo>
                    <a:pt x="1446" y="1710"/>
                  </a:lnTo>
                  <a:lnTo>
                    <a:pt x="1446" y="1716"/>
                  </a:lnTo>
                  <a:lnTo>
                    <a:pt x="1440" y="1722"/>
                  </a:lnTo>
                  <a:lnTo>
                    <a:pt x="1440" y="1728"/>
                  </a:lnTo>
                  <a:lnTo>
                    <a:pt x="1440" y="1734"/>
                  </a:lnTo>
                  <a:lnTo>
                    <a:pt x="1440" y="1740"/>
                  </a:lnTo>
                  <a:lnTo>
                    <a:pt x="1440" y="1746"/>
                  </a:lnTo>
                  <a:lnTo>
                    <a:pt x="1440" y="1788"/>
                  </a:lnTo>
                  <a:lnTo>
                    <a:pt x="1440" y="1800"/>
                  </a:lnTo>
                  <a:lnTo>
                    <a:pt x="1440" y="1806"/>
                  </a:lnTo>
                  <a:lnTo>
                    <a:pt x="1440" y="1836"/>
                  </a:lnTo>
                  <a:lnTo>
                    <a:pt x="1440" y="1848"/>
                  </a:lnTo>
                  <a:lnTo>
                    <a:pt x="1446" y="1848"/>
                  </a:lnTo>
                  <a:lnTo>
                    <a:pt x="1446" y="1854"/>
                  </a:lnTo>
                  <a:lnTo>
                    <a:pt x="1452" y="1848"/>
                  </a:lnTo>
                  <a:lnTo>
                    <a:pt x="1458" y="1854"/>
                  </a:lnTo>
                  <a:lnTo>
                    <a:pt x="1452" y="1860"/>
                  </a:lnTo>
                  <a:lnTo>
                    <a:pt x="1452" y="1866"/>
                  </a:lnTo>
                  <a:lnTo>
                    <a:pt x="1458" y="1872"/>
                  </a:lnTo>
                  <a:lnTo>
                    <a:pt x="1464" y="1884"/>
                  </a:lnTo>
                  <a:lnTo>
                    <a:pt x="1428" y="1878"/>
                  </a:lnTo>
                  <a:lnTo>
                    <a:pt x="1356" y="1890"/>
                  </a:lnTo>
                  <a:lnTo>
                    <a:pt x="1296" y="1926"/>
                  </a:lnTo>
                  <a:lnTo>
                    <a:pt x="1266" y="1944"/>
                  </a:lnTo>
                  <a:lnTo>
                    <a:pt x="1224" y="1944"/>
                  </a:lnTo>
                  <a:lnTo>
                    <a:pt x="1188" y="1956"/>
                  </a:lnTo>
                  <a:lnTo>
                    <a:pt x="1188" y="1950"/>
                  </a:lnTo>
                  <a:lnTo>
                    <a:pt x="1176" y="1944"/>
                  </a:lnTo>
                  <a:lnTo>
                    <a:pt x="1176" y="1938"/>
                  </a:lnTo>
                  <a:lnTo>
                    <a:pt x="1170" y="1938"/>
                  </a:lnTo>
                  <a:lnTo>
                    <a:pt x="1164" y="1932"/>
                  </a:lnTo>
                  <a:lnTo>
                    <a:pt x="1158" y="1926"/>
                  </a:lnTo>
                  <a:lnTo>
                    <a:pt x="1158" y="1920"/>
                  </a:lnTo>
                  <a:lnTo>
                    <a:pt x="1152" y="1920"/>
                  </a:lnTo>
                  <a:lnTo>
                    <a:pt x="1146" y="1914"/>
                  </a:lnTo>
                  <a:lnTo>
                    <a:pt x="1146" y="1908"/>
                  </a:lnTo>
                  <a:lnTo>
                    <a:pt x="1140" y="1908"/>
                  </a:lnTo>
                  <a:lnTo>
                    <a:pt x="1134" y="1902"/>
                  </a:lnTo>
                  <a:lnTo>
                    <a:pt x="1134" y="1896"/>
                  </a:lnTo>
                  <a:lnTo>
                    <a:pt x="1116" y="1896"/>
                  </a:lnTo>
                  <a:lnTo>
                    <a:pt x="1104" y="1884"/>
                  </a:lnTo>
                  <a:lnTo>
                    <a:pt x="1092" y="1860"/>
                  </a:lnTo>
                  <a:lnTo>
                    <a:pt x="1068" y="1854"/>
                  </a:lnTo>
                  <a:lnTo>
                    <a:pt x="1032" y="1842"/>
                  </a:lnTo>
                  <a:lnTo>
                    <a:pt x="1008" y="1836"/>
                  </a:lnTo>
                  <a:lnTo>
                    <a:pt x="978" y="1824"/>
                  </a:lnTo>
                  <a:lnTo>
                    <a:pt x="942" y="1818"/>
                  </a:lnTo>
                  <a:lnTo>
                    <a:pt x="924" y="1806"/>
                  </a:lnTo>
                  <a:lnTo>
                    <a:pt x="906" y="1788"/>
                  </a:lnTo>
                  <a:lnTo>
                    <a:pt x="894" y="1776"/>
                  </a:lnTo>
                  <a:lnTo>
                    <a:pt x="864" y="1758"/>
                  </a:lnTo>
                  <a:lnTo>
                    <a:pt x="834" y="1752"/>
                  </a:lnTo>
                  <a:lnTo>
                    <a:pt x="798" y="1746"/>
                  </a:lnTo>
                  <a:lnTo>
                    <a:pt x="792" y="1806"/>
                  </a:lnTo>
                  <a:lnTo>
                    <a:pt x="798" y="1812"/>
                  </a:lnTo>
                  <a:lnTo>
                    <a:pt x="810" y="1830"/>
                  </a:lnTo>
                  <a:lnTo>
                    <a:pt x="792" y="1842"/>
                  </a:lnTo>
                  <a:lnTo>
                    <a:pt x="768" y="1842"/>
                  </a:lnTo>
                  <a:lnTo>
                    <a:pt x="708" y="1848"/>
                  </a:lnTo>
                  <a:lnTo>
                    <a:pt x="690" y="1860"/>
                  </a:lnTo>
                  <a:lnTo>
                    <a:pt x="690" y="1866"/>
                  </a:lnTo>
                  <a:lnTo>
                    <a:pt x="678" y="1878"/>
                  </a:lnTo>
                  <a:lnTo>
                    <a:pt x="660" y="1884"/>
                  </a:lnTo>
                  <a:lnTo>
                    <a:pt x="660" y="1902"/>
                  </a:lnTo>
                  <a:lnTo>
                    <a:pt x="642" y="1902"/>
                  </a:lnTo>
                  <a:lnTo>
                    <a:pt x="582" y="1914"/>
                  </a:lnTo>
                  <a:lnTo>
                    <a:pt x="534" y="1908"/>
                  </a:lnTo>
                  <a:lnTo>
                    <a:pt x="510" y="1908"/>
                  </a:lnTo>
                  <a:lnTo>
                    <a:pt x="510" y="1896"/>
                  </a:lnTo>
                  <a:lnTo>
                    <a:pt x="492" y="1896"/>
                  </a:lnTo>
                  <a:lnTo>
                    <a:pt x="486" y="1902"/>
                  </a:lnTo>
                  <a:lnTo>
                    <a:pt x="474" y="1908"/>
                  </a:lnTo>
                  <a:lnTo>
                    <a:pt x="450" y="1908"/>
                  </a:lnTo>
                  <a:lnTo>
                    <a:pt x="432" y="1902"/>
                  </a:lnTo>
                  <a:lnTo>
                    <a:pt x="426" y="1896"/>
                  </a:lnTo>
                  <a:lnTo>
                    <a:pt x="402" y="1884"/>
                  </a:lnTo>
                  <a:lnTo>
                    <a:pt x="390" y="1872"/>
                  </a:lnTo>
                  <a:lnTo>
                    <a:pt x="384" y="1872"/>
                  </a:lnTo>
                  <a:lnTo>
                    <a:pt x="378" y="1872"/>
                  </a:lnTo>
                  <a:lnTo>
                    <a:pt x="378" y="1866"/>
                  </a:lnTo>
                  <a:lnTo>
                    <a:pt x="372" y="1860"/>
                  </a:lnTo>
                  <a:lnTo>
                    <a:pt x="372" y="1854"/>
                  </a:lnTo>
                  <a:lnTo>
                    <a:pt x="366" y="1842"/>
                  </a:lnTo>
                  <a:lnTo>
                    <a:pt x="366" y="1836"/>
                  </a:lnTo>
                  <a:lnTo>
                    <a:pt x="348" y="1830"/>
                  </a:lnTo>
                  <a:lnTo>
                    <a:pt x="348" y="1806"/>
                  </a:lnTo>
                  <a:lnTo>
                    <a:pt x="348" y="1800"/>
                  </a:lnTo>
                  <a:lnTo>
                    <a:pt x="348" y="1782"/>
                  </a:lnTo>
                  <a:lnTo>
                    <a:pt x="336" y="1788"/>
                  </a:lnTo>
                  <a:lnTo>
                    <a:pt x="312" y="1794"/>
                  </a:lnTo>
                  <a:lnTo>
                    <a:pt x="288" y="1788"/>
                  </a:lnTo>
                  <a:lnTo>
                    <a:pt x="264" y="1758"/>
                  </a:lnTo>
                  <a:lnTo>
                    <a:pt x="270" y="1758"/>
                  </a:lnTo>
                  <a:lnTo>
                    <a:pt x="270" y="1752"/>
                  </a:lnTo>
                  <a:lnTo>
                    <a:pt x="276" y="1752"/>
                  </a:lnTo>
                  <a:lnTo>
                    <a:pt x="282" y="1746"/>
                  </a:lnTo>
                  <a:lnTo>
                    <a:pt x="300" y="1746"/>
                  </a:lnTo>
                  <a:lnTo>
                    <a:pt x="312" y="1746"/>
                  </a:lnTo>
                  <a:lnTo>
                    <a:pt x="336" y="1710"/>
                  </a:lnTo>
                  <a:lnTo>
                    <a:pt x="342" y="1692"/>
                  </a:lnTo>
                  <a:lnTo>
                    <a:pt x="348" y="1680"/>
                  </a:lnTo>
                  <a:lnTo>
                    <a:pt x="342" y="1650"/>
                  </a:lnTo>
                  <a:lnTo>
                    <a:pt x="354" y="1644"/>
                  </a:lnTo>
                  <a:lnTo>
                    <a:pt x="354" y="1638"/>
                  </a:lnTo>
                  <a:lnTo>
                    <a:pt x="360" y="1632"/>
                  </a:lnTo>
                  <a:lnTo>
                    <a:pt x="354" y="1626"/>
                  </a:lnTo>
                  <a:lnTo>
                    <a:pt x="348" y="1626"/>
                  </a:lnTo>
                  <a:lnTo>
                    <a:pt x="348" y="1620"/>
                  </a:lnTo>
                  <a:lnTo>
                    <a:pt x="342" y="1620"/>
                  </a:lnTo>
                  <a:lnTo>
                    <a:pt x="348" y="1614"/>
                  </a:lnTo>
                  <a:lnTo>
                    <a:pt x="324" y="1566"/>
                  </a:lnTo>
                  <a:lnTo>
                    <a:pt x="318" y="1566"/>
                  </a:lnTo>
                  <a:lnTo>
                    <a:pt x="306" y="1572"/>
                  </a:lnTo>
                  <a:lnTo>
                    <a:pt x="300" y="1572"/>
                  </a:lnTo>
                  <a:lnTo>
                    <a:pt x="294" y="1578"/>
                  </a:lnTo>
                  <a:lnTo>
                    <a:pt x="288" y="1584"/>
                  </a:lnTo>
                  <a:lnTo>
                    <a:pt x="282" y="1584"/>
                  </a:lnTo>
                  <a:lnTo>
                    <a:pt x="282" y="1578"/>
                  </a:lnTo>
                  <a:lnTo>
                    <a:pt x="276" y="1578"/>
                  </a:lnTo>
                  <a:lnTo>
                    <a:pt x="270" y="1578"/>
                  </a:lnTo>
                  <a:lnTo>
                    <a:pt x="264" y="1578"/>
                  </a:lnTo>
                  <a:lnTo>
                    <a:pt x="258" y="1578"/>
                  </a:lnTo>
                  <a:lnTo>
                    <a:pt x="252" y="1578"/>
                  </a:lnTo>
                  <a:lnTo>
                    <a:pt x="252" y="1584"/>
                  </a:lnTo>
                  <a:lnTo>
                    <a:pt x="246" y="1584"/>
                  </a:lnTo>
                  <a:lnTo>
                    <a:pt x="210" y="1584"/>
                  </a:lnTo>
                  <a:lnTo>
                    <a:pt x="204" y="1584"/>
                  </a:lnTo>
                  <a:lnTo>
                    <a:pt x="192" y="1584"/>
                  </a:lnTo>
                  <a:lnTo>
                    <a:pt x="168" y="1596"/>
                  </a:lnTo>
                  <a:lnTo>
                    <a:pt x="156" y="1572"/>
                  </a:lnTo>
                  <a:lnTo>
                    <a:pt x="156" y="1566"/>
                  </a:lnTo>
                  <a:lnTo>
                    <a:pt x="156" y="1560"/>
                  </a:lnTo>
                  <a:lnTo>
                    <a:pt x="162" y="1548"/>
                  </a:lnTo>
                  <a:lnTo>
                    <a:pt x="162" y="1542"/>
                  </a:lnTo>
                  <a:lnTo>
                    <a:pt x="162" y="1536"/>
                  </a:lnTo>
                  <a:lnTo>
                    <a:pt x="168" y="1530"/>
                  </a:lnTo>
                  <a:lnTo>
                    <a:pt x="168" y="1524"/>
                  </a:lnTo>
                  <a:lnTo>
                    <a:pt x="168" y="1518"/>
                  </a:lnTo>
                  <a:lnTo>
                    <a:pt x="174" y="1518"/>
                  </a:lnTo>
                  <a:lnTo>
                    <a:pt x="174" y="1506"/>
                  </a:lnTo>
                  <a:lnTo>
                    <a:pt x="156" y="1470"/>
                  </a:lnTo>
                  <a:lnTo>
                    <a:pt x="138" y="1464"/>
                  </a:lnTo>
                  <a:lnTo>
                    <a:pt x="126" y="1446"/>
                  </a:lnTo>
                  <a:lnTo>
                    <a:pt x="126" y="1440"/>
                  </a:lnTo>
                  <a:lnTo>
                    <a:pt x="126" y="1434"/>
                  </a:lnTo>
                  <a:lnTo>
                    <a:pt x="120" y="1428"/>
                  </a:lnTo>
                  <a:lnTo>
                    <a:pt x="126" y="1398"/>
                  </a:lnTo>
                  <a:lnTo>
                    <a:pt x="120" y="1374"/>
                  </a:lnTo>
                  <a:lnTo>
                    <a:pt x="60" y="1374"/>
                  </a:lnTo>
                  <a:lnTo>
                    <a:pt x="60" y="1368"/>
                  </a:lnTo>
                  <a:lnTo>
                    <a:pt x="54" y="1362"/>
                  </a:lnTo>
                  <a:lnTo>
                    <a:pt x="48" y="1356"/>
                  </a:lnTo>
                  <a:lnTo>
                    <a:pt x="42" y="1356"/>
                  </a:lnTo>
                  <a:lnTo>
                    <a:pt x="42" y="1350"/>
                  </a:lnTo>
                  <a:lnTo>
                    <a:pt x="36" y="1344"/>
                  </a:lnTo>
                  <a:lnTo>
                    <a:pt x="36" y="1338"/>
                  </a:lnTo>
                  <a:lnTo>
                    <a:pt x="30" y="1332"/>
                  </a:lnTo>
                  <a:lnTo>
                    <a:pt x="30" y="1326"/>
                  </a:lnTo>
                  <a:lnTo>
                    <a:pt x="18" y="1326"/>
                  </a:lnTo>
                  <a:lnTo>
                    <a:pt x="18" y="1320"/>
                  </a:lnTo>
                  <a:lnTo>
                    <a:pt x="18" y="1326"/>
                  </a:lnTo>
                  <a:lnTo>
                    <a:pt x="6" y="1320"/>
                  </a:lnTo>
                  <a:lnTo>
                    <a:pt x="0" y="1314"/>
                  </a:lnTo>
                  <a:lnTo>
                    <a:pt x="12" y="1266"/>
                  </a:lnTo>
                  <a:lnTo>
                    <a:pt x="6" y="1242"/>
                  </a:lnTo>
                  <a:lnTo>
                    <a:pt x="12" y="1236"/>
                  </a:lnTo>
                  <a:lnTo>
                    <a:pt x="12" y="1230"/>
                  </a:lnTo>
                  <a:lnTo>
                    <a:pt x="18" y="1230"/>
                  </a:lnTo>
                  <a:lnTo>
                    <a:pt x="18" y="1224"/>
                  </a:lnTo>
                  <a:lnTo>
                    <a:pt x="24" y="1218"/>
                  </a:lnTo>
                  <a:lnTo>
                    <a:pt x="24" y="1212"/>
                  </a:lnTo>
                  <a:lnTo>
                    <a:pt x="30" y="1212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48" y="1188"/>
                  </a:lnTo>
                  <a:lnTo>
                    <a:pt x="48" y="1182"/>
                  </a:lnTo>
                  <a:lnTo>
                    <a:pt x="48" y="1176"/>
                  </a:lnTo>
                  <a:lnTo>
                    <a:pt x="48" y="1170"/>
                  </a:lnTo>
                  <a:lnTo>
                    <a:pt x="54" y="1170"/>
                  </a:lnTo>
                  <a:lnTo>
                    <a:pt x="60" y="1164"/>
                  </a:lnTo>
                  <a:lnTo>
                    <a:pt x="60" y="1158"/>
                  </a:lnTo>
                  <a:lnTo>
                    <a:pt x="66" y="1152"/>
                  </a:lnTo>
                  <a:lnTo>
                    <a:pt x="60" y="1140"/>
                  </a:lnTo>
                  <a:lnTo>
                    <a:pt x="60" y="1134"/>
                  </a:lnTo>
                  <a:lnTo>
                    <a:pt x="54" y="1134"/>
                  </a:lnTo>
                  <a:lnTo>
                    <a:pt x="54" y="1128"/>
                  </a:lnTo>
                  <a:lnTo>
                    <a:pt x="48" y="1122"/>
                  </a:lnTo>
                  <a:lnTo>
                    <a:pt x="48" y="1116"/>
                  </a:lnTo>
                  <a:lnTo>
                    <a:pt x="48" y="1110"/>
                  </a:lnTo>
                  <a:lnTo>
                    <a:pt x="42" y="1104"/>
                  </a:lnTo>
                  <a:lnTo>
                    <a:pt x="42" y="1098"/>
                  </a:lnTo>
                  <a:lnTo>
                    <a:pt x="36" y="1092"/>
                  </a:lnTo>
                  <a:lnTo>
                    <a:pt x="30" y="1092"/>
                  </a:lnTo>
                  <a:lnTo>
                    <a:pt x="24" y="1092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18" y="1080"/>
                  </a:lnTo>
                  <a:lnTo>
                    <a:pt x="18" y="1074"/>
                  </a:lnTo>
                  <a:lnTo>
                    <a:pt x="12" y="1068"/>
                  </a:lnTo>
                  <a:lnTo>
                    <a:pt x="6" y="1068"/>
                  </a:lnTo>
                  <a:lnTo>
                    <a:pt x="12" y="1056"/>
                  </a:lnTo>
                  <a:lnTo>
                    <a:pt x="6" y="1056"/>
                  </a:lnTo>
                  <a:lnTo>
                    <a:pt x="6" y="1050"/>
                  </a:lnTo>
                  <a:lnTo>
                    <a:pt x="6" y="1044"/>
                  </a:lnTo>
                  <a:lnTo>
                    <a:pt x="6" y="1026"/>
                  </a:lnTo>
                  <a:lnTo>
                    <a:pt x="12" y="1020"/>
                  </a:lnTo>
                  <a:lnTo>
                    <a:pt x="12" y="1014"/>
                  </a:lnTo>
                  <a:lnTo>
                    <a:pt x="18" y="1014"/>
                  </a:lnTo>
                  <a:lnTo>
                    <a:pt x="18" y="1008"/>
                  </a:lnTo>
                  <a:lnTo>
                    <a:pt x="18" y="1002"/>
                  </a:lnTo>
                  <a:lnTo>
                    <a:pt x="18" y="990"/>
                  </a:lnTo>
                  <a:lnTo>
                    <a:pt x="12" y="972"/>
                  </a:lnTo>
                  <a:lnTo>
                    <a:pt x="18" y="954"/>
                  </a:lnTo>
                  <a:lnTo>
                    <a:pt x="18" y="948"/>
                  </a:lnTo>
                  <a:lnTo>
                    <a:pt x="24" y="948"/>
                  </a:lnTo>
                  <a:lnTo>
                    <a:pt x="24" y="930"/>
                  </a:lnTo>
                  <a:lnTo>
                    <a:pt x="30" y="930"/>
                  </a:lnTo>
                  <a:lnTo>
                    <a:pt x="36" y="918"/>
                  </a:lnTo>
                  <a:lnTo>
                    <a:pt x="42" y="918"/>
                  </a:lnTo>
                  <a:lnTo>
                    <a:pt x="48" y="918"/>
                  </a:lnTo>
                  <a:lnTo>
                    <a:pt x="78" y="912"/>
                  </a:lnTo>
                  <a:lnTo>
                    <a:pt x="90" y="894"/>
                  </a:lnTo>
                  <a:lnTo>
                    <a:pt x="96" y="894"/>
                  </a:lnTo>
                  <a:lnTo>
                    <a:pt x="102" y="888"/>
                  </a:lnTo>
                  <a:lnTo>
                    <a:pt x="102" y="882"/>
                  </a:lnTo>
                  <a:lnTo>
                    <a:pt x="114" y="870"/>
                  </a:lnTo>
                  <a:lnTo>
                    <a:pt x="120" y="864"/>
                  </a:lnTo>
                  <a:lnTo>
                    <a:pt x="120" y="852"/>
                  </a:lnTo>
                  <a:lnTo>
                    <a:pt x="120" y="846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32" y="840"/>
                  </a:lnTo>
                  <a:lnTo>
                    <a:pt x="138" y="840"/>
                  </a:lnTo>
                  <a:lnTo>
                    <a:pt x="138" y="834"/>
                  </a:lnTo>
                  <a:lnTo>
                    <a:pt x="144" y="834"/>
                  </a:lnTo>
                  <a:lnTo>
                    <a:pt x="144" y="828"/>
                  </a:lnTo>
                  <a:lnTo>
                    <a:pt x="150" y="828"/>
                  </a:lnTo>
                  <a:lnTo>
                    <a:pt x="156" y="822"/>
                  </a:lnTo>
                  <a:lnTo>
                    <a:pt x="162" y="816"/>
                  </a:lnTo>
                  <a:lnTo>
                    <a:pt x="162" y="822"/>
                  </a:lnTo>
                  <a:lnTo>
                    <a:pt x="162" y="816"/>
                  </a:lnTo>
                  <a:lnTo>
                    <a:pt x="162" y="810"/>
                  </a:lnTo>
                  <a:lnTo>
                    <a:pt x="168" y="810"/>
                  </a:lnTo>
                  <a:lnTo>
                    <a:pt x="174" y="804"/>
                  </a:lnTo>
                  <a:lnTo>
                    <a:pt x="180" y="798"/>
                  </a:lnTo>
                  <a:lnTo>
                    <a:pt x="180" y="786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8" y="780"/>
                  </a:lnTo>
                  <a:lnTo>
                    <a:pt x="204" y="774"/>
                  </a:lnTo>
                  <a:lnTo>
                    <a:pt x="210" y="774"/>
                  </a:lnTo>
                  <a:lnTo>
                    <a:pt x="216" y="768"/>
                  </a:lnTo>
                  <a:lnTo>
                    <a:pt x="222" y="762"/>
                  </a:lnTo>
                  <a:lnTo>
                    <a:pt x="228" y="762"/>
                  </a:lnTo>
                  <a:lnTo>
                    <a:pt x="228" y="768"/>
                  </a:lnTo>
                  <a:lnTo>
                    <a:pt x="234" y="768"/>
                  </a:lnTo>
                  <a:lnTo>
                    <a:pt x="240" y="762"/>
                  </a:lnTo>
                  <a:lnTo>
                    <a:pt x="252" y="762"/>
                  </a:lnTo>
                  <a:lnTo>
                    <a:pt x="264" y="768"/>
                  </a:lnTo>
                  <a:lnTo>
                    <a:pt x="294" y="756"/>
                  </a:lnTo>
                  <a:lnTo>
                    <a:pt x="294" y="750"/>
                  </a:lnTo>
                  <a:lnTo>
                    <a:pt x="300" y="750"/>
                  </a:lnTo>
                  <a:lnTo>
                    <a:pt x="306" y="744"/>
                  </a:lnTo>
                  <a:lnTo>
                    <a:pt x="342" y="750"/>
                  </a:lnTo>
                  <a:lnTo>
                    <a:pt x="348" y="750"/>
                  </a:lnTo>
                  <a:lnTo>
                    <a:pt x="348" y="744"/>
                  </a:lnTo>
                  <a:lnTo>
                    <a:pt x="354" y="744"/>
                  </a:lnTo>
                  <a:lnTo>
                    <a:pt x="360" y="744"/>
                  </a:lnTo>
                  <a:lnTo>
                    <a:pt x="360" y="750"/>
                  </a:lnTo>
                  <a:lnTo>
                    <a:pt x="366" y="750"/>
                  </a:lnTo>
                  <a:lnTo>
                    <a:pt x="366" y="744"/>
                  </a:lnTo>
                  <a:lnTo>
                    <a:pt x="366" y="738"/>
                  </a:lnTo>
                  <a:lnTo>
                    <a:pt x="372" y="744"/>
                  </a:lnTo>
                  <a:lnTo>
                    <a:pt x="378" y="744"/>
                  </a:lnTo>
                  <a:lnTo>
                    <a:pt x="384" y="750"/>
                  </a:lnTo>
                  <a:lnTo>
                    <a:pt x="444" y="774"/>
                  </a:lnTo>
                  <a:lnTo>
                    <a:pt x="450" y="774"/>
                  </a:lnTo>
                  <a:lnTo>
                    <a:pt x="456" y="768"/>
                  </a:lnTo>
                  <a:lnTo>
                    <a:pt x="462" y="768"/>
                  </a:lnTo>
                  <a:lnTo>
                    <a:pt x="462" y="762"/>
                  </a:lnTo>
                  <a:lnTo>
                    <a:pt x="468" y="762"/>
                  </a:lnTo>
                  <a:lnTo>
                    <a:pt x="474" y="756"/>
                  </a:lnTo>
                  <a:lnTo>
                    <a:pt x="480" y="750"/>
                  </a:lnTo>
                  <a:lnTo>
                    <a:pt x="516" y="756"/>
                  </a:lnTo>
                  <a:lnTo>
                    <a:pt x="522" y="756"/>
                  </a:lnTo>
                  <a:lnTo>
                    <a:pt x="522" y="762"/>
                  </a:lnTo>
                  <a:lnTo>
                    <a:pt x="522" y="768"/>
                  </a:lnTo>
                  <a:lnTo>
                    <a:pt x="522" y="774"/>
                  </a:lnTo>
                  <a:lnTo>
                    <a:pt x="528" y="780"/>
                  </a:lnTo>
                  <a:lnTo>
                    <a:pt x="540" y="780"/>
                  </a:lnTo>
                  <a:lnTo>
                    <a:pt x="540" y="804"/>
                  </a:lnTo>
                  <a:lnTo>
                    <a:pt x="540" y="810"/>
                  </a:lnTo>
                  <a:lnTo>
                    <a:pt x="546" y="810"/>
                  </a:lnTo>
                  <a:lnTo>
                    <a:pt x="552" y="810"/>
                  </a:lnTo>
                  <a:lnTo>
                    <a:pt x="558" y="810"/>
                  </a:lnTo>
                  <a:lnTo>
                    <a:pt x="564" y="810"/>
                  </a:lnTo>
                  <a:lnTo>
                    <a:pt x="570" y="810"/>
                  </a:lnTo>
                  <a:lnTo>
                    <a:pt x="576" y="810"/>
                  </a:lnTo>
                  <a:lnTo>
                    <a:pt x="576" y="816"/>
                  </a:lnTo>
                  <a:lnTo>
                    <a:pt x="588" y="816"/>
                  </a:lnTo>
                  <a:lnTo>
                    <a:pt x="594" y="816"/>
                  </a:lnTo>
                  <a:lnTo>
                    <a:pt x="600" y="822"/>
                  </a:lnTo>
                  <a:lnTo>
                    <a:pt x="606" y="816"/>
                  </a:lnTo>
                  <a:lnTo>
                    <a:pt x="612" y="816"/>
                  </a:lnTo>
                  <a:lnTo>
                    <a:pt x="612" y="810"/>
                  </a:lnTo>
                  <a:lnTo>
                    <a:pt x="624" y="810"/>
                  </a:lnTo>
                  <a:lnTo>
                    <a:pt x="624" y="804"/>
                  </a:lnTo>
                  <a:lnTo>
                    <a:pt x="630" y="798"/>
                  </a:lnTo>
                  <a:lnTo>
                    <a:pt x="636" y="798"/>
                  </a:lnTo>
                  <a:lnTo>
                    <a:pt x="636" y="804"/>
                  </a:lnTo>
                  <a:lnTo>
                    <a:pt x="642" y="804"/>
                  </a:lnTo>
                  <a:lnTo>
                    <a:pt x="648" y="804"/>
                  </a:lnTo>
                  <a:lnTo>
                    <a:pt x="654" y="804"/>
                  </a:lnTo>
                  <a:lnTo>
                    <a:pt x="660" y="804"/>
                  </a:lnTo>
                  <a:lnTo>
                    <a:pt x="678" y="798"/>
                  </a:lnTo>
                  <a:lnTo>
                    <a:pt x="714" y="786"/>
                  </a:lnTo>
                  <a:lnTo>
                    <a:pt x="714" y="792"/>
                  </a:lnTo>
                  <a:lnTo>
                    <a:pt x="714" y="798"/>
                  </a:lnTo>
                  <a:lnTo>
                    <a:pt x="714" y="804"/>
                  </a:lnTo>
                  <a:lnTo>
                    <a:pt x="720" y="804"/>
                  </a:lnTo>
                  <a:lnTo>
                    <a:pt x="720" y="810"/>
                  </a:lnTo>
                  <a:lnTo>
                    <a:pt x="720" y="816"/>
                  </a:lnTo>
                  <a:lnTo>
                    <a:pt x="726" y="822"/>
                  </a:lnTo>
                  <a:lnTo>
                    <a:pt x="732" y="828"/>
                  </a:lnTo>
                  <a:lnTo>
                    <a:pt x="732" y="834"/>
                  </a:lnTo>
                  <a:lnTo>
                    <a:pt x="732" y="846"/>
                  </a:lnTo>
                  <a:lnTo>
                    <a:pt x="732" y="858"/>
                  </a:lnTo>
                  <a:lnTo>
                    <a:pt x="738" y="858"/>
                  </a:lnTo>
                  <a:lnTo>
                    <a:pt x="732" y="864"/>
                  </a:lnTo>
                  <a:lnTo>
                    <a:pt x="732" y="870"/>
                  </a:lnTo>
                  <a:lnTo>
                    <a:pt x="726" y="870"/>
                  </a:lnTo>
                  <a:lnTo>
                    <a:pt x="726" y="876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0" y="882"/>
                  </a:lnTo>
                  <a:lnTo>
                    <a:pt x="690" y="912"/>
                  </a:lnTo>
                  <a:lnTo>
                    <a:pt x="696" y="936"/>
                  </a:lnTo>
                  <a:lnTo>
                    <a:pt x="702" y="936"/>
                  </a:lnTo>
                  <a:lnTo>
                    <a:pt x="702" y="930"/>
                  </a:lnTo>
                  <a:lnTo>
                    <a:pt x="708" y="930"/>
                  </a:lnTo>
                  <a:lnTo>
                    <a:pt x="708" y="924"/>
                  </a:lnTo>
                  <a:lnTo>
                    <a:pt x="708" y="918"/>
                  </a:lnTo>
                  <a:lnTo>
                    <a:pt x="714" y="918"/>
                  </a:lnTo>
                  <a:lnTo>
                    <a:pt x="720" y="954"/>
                  </a:lnTo>
                  <a:lnTo>
                    <a:pt x="726" y="966"/>
                  </a:lnTo>
                  <a:lnTo>
                    <a:pt x="744" y="966"/>
                  </a:lnTo>
                  <a:lnTo>
                    <a:pt x="756" y="972"/>
                  </a:lnTo>
                  <a:lnTo>
                    <a:pt x="792" y="990"/>
                  </a:lnTo>
                  <a:lnTo>
                    <a:pt x="828" y="978"/>
                  </a:lnTo>
                  <a:lnTo>
                    <a:pt x="834" y="978"/>
                  </a:lnTo>
                  <a:lnTo>
                    <a:pt x="840" y="978"/>
                  </a:lnTo>
                  <a:lnTo>
                    <a:pt x="840" y="984"/>
                  </a:lnTo>
                  <a:lnTo>
                    <a:pt x="846" y="984"/>
                  </a:lnTo>
                  <a:lnTo>
                    <a:pt x="858" y="972"/>
                  </a:lnTo>
                  <a:lnTo>
                    <a:pt x="882" y="972"/>
                  </a:lnTo>
                  <a:lnTo>
                    <a:pt x="888" y="984"/>
                  </a:lnTo>
                  <a:lnTo>
                    <a:pt x="900" y="990"/>
                  </a:lnTo>
                  <a:lnTo>
                    <a:pt x="924" y="996"/>
                  </a:lnTo>
                  <a:lnTo>
                    <a:pt x="930" y="990"/>
                  </a:lnTo>
                  <a:lnTo>
                    <a:pt x="930" y="984"/>
                  </a:lnTo>
                  <a:lnTo>
                    <a:pt x="924" y="978"/>
                  </a:lnTo>
                  <a:lnTo>
                    <a:pt x="906" y="972"/>
                  </a:lnTo>
                  <a:lnTo>
                    <a:pt x="900" y="966"/>
                  </a:lnTo>
                  <a:lnTo>
                    <a:pt x="900" y="960"/>
                  </a:lnTo>
                  <a:lnTo>
                    <a:pt x="900" y="954"/>
                  </a:lnTo>
                  <a:lnTo>
                    <a:pt x="900" y="948"/>
                  </a:lnTo>
                  <a:lnTo>
                    <a:pt x="912" y="936"/>
                  </a:lnTo>
                  <a:lnTo>
                    <a:pt x="912" y="924"/>
                  </a:lnTo>
                  <a:lnTo>
                    <a:pt x="918" y="924"/>
                  </a:lnTo>
                  <a:lnTo>
                    <a:pt x="918" y="918"/>
                  </a:lnTo>
                  <a:lnTo>
                    <a:pt x="936" y="906"/>
                  </a:lnTo>
                  <a:lnTo>
                    <a:pt x="942" y="906"/>
                  </a:lnTo>
                  <a:lnTo>
                    <a:pt x="948" y="906"/>
                  </a:lnTo>
                  <a:lnTo>
                    <a:pt x="954" y="906"/>
                  </a:lnTo>
                  <a:lnTo>
                    <a:pt x="960" y="906"/>
                  </a:lnTo>
                  <a:lnTo>
                    <a:pt x="966" y="912"/>
                  </a:lnTo>
                  <a:lnTo>
                    <a:pt x="972" y="906"/>
                  </a:lnTo>
                  <a:lnTo>
                    <a:pt x="978" y="906"/>
                  </a:lnTo>
                  <a:lnTo>
                    <a:pt x="984" y="900"/>
                  </a:lnTo>
                  <a:lnTo>
                    <a:pt x="984" y="894"/>
                  </a:lnTo>
                  <a:lnTo>
                    <a:pt x="990" y="894"/>
                  </a:lnTo>
                  <a:lnTo>
                    <a:pt x="996" y="888"/>
                  </a:lnTo>
                  <a:lnTo>
                    <a:pt x="1002" y="888"/>
                  </a:lnTo>
                  <a:lnTo>
                    <a:pt x="1008" y="882"/>
                  </a:lnTo>
                  <a:lnTo>
                    <a:pt x="1014" y="882"/>
                  </a:lnTo>
                  <a:lnTo>
                    <a:pt x="1020" y="882"/>
                  </a:lnTo>
                  <a:lnTo>
                    <a:pt x="1020" y="888"/>
                  </a:lnTo>
                  <a:lnTo>
                    <a:pt x="1026" y="882"/>
                  </a:lnTo>
                  <a:lnTo>
                    <a:pt x="1026" y="876"/>
                  </a:lnTo>
                  <a:lnTo>
                    <a:pt x="1026" y="870"/>
                  </a:lnTo>
                  <a:lnTo>
                    <a:pt x="1032" y="864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44" y="852"/>
                  </a:lnTo>
                  <a:lnTo>
                    <a:pt x="1038" y="846"/>
                  </a:lnTo>
                  <a:lnTo>
                    <a:pt x="1038" y="840"/>
                  </a:lnTo>
                  <a:lnTo>
                    <a:pt x="1032" y="840"/>
                  </a:lnTo>
                  <a:lnTo>
                    <a:pt x="1026" y="840"/>
                  </a:lnTo>
                  <a:lnTo>
                    <a:pt x="1020" y="840"/>
                  </a:lnTo>
                  <a:lnTo>
                    <a:pt x="1014" y="846"/>
                  </a:lnTo>
                  <a:lnTo>
                    <a:pt x="1008" y="846"/>
                  </a:lnTo>
                  <a:lnTo>
                    <a:pt x="1002" y="840"/>
                  </a:lnTo>
                  <a:lnTo>
                    <a:pt x="996" y="840"/>
                  </a:lnTo>
                  <a:lnTo>
                    <a:pt x="990" y="834"/>
                  </a:lnTo>
                  <a:lnTo>
                    <a:pt x="984" y="834"/>
                  </a:lnTo>
                  <a:lnTo>
                    <a:pt x="978" y="834"/>
                  </a:lnTo>
                  <a:lnTo>
                    <a:pt x="972" y="834"/>
                  </a:lnTo>
                  <a:lnTo>
                    <a:pt x="966" y="834"/>
                  </a:lnTo>
                  <a:lnTo>
                    <a:pt x="966" y="828"/>
                  </a:lnTo>
                  <a:lnTo>
                    <a:pt x="960" y="828"/>
                  </a:lnTo>
                  <a:lnTo>
                    <a:pt x="954" y="828"/>
                  </a:lnTo>
                  <a:lnTo>
                    <a:pt x="942" y="828"/>
                  </a:lnTo>
                  <a:lnTo>
                    <a:pt x="936" y="828"/>
                  </a:lnTo>
                  <a:lnTo>
                    <a:pt x="930" y="828"/>
                  </a:lnTo>
                  <a:lnTo>
                    <a:pt x="918" y="828"/>
                  </a:lnTo>
                  <a:lnTo>
                    <a:pt x="918" y="822"/>
                  </a:lnTo>
                  <a:lnTo>
                    <a:pt x="912" y="828"/>
                  </a:lnTo>
                  <a:lnTo>
                    <a:pt x="912" y="822"/>
                  </a:lnTo>
                  <a:lnTo>
                    <a:pt x="906" y="816"/>
                  </a:lnTo>
                  <a:lnTo>
                    <a:pt x="900" y="816"/>
                  </a:lnTo>
                  <a:lnTo>
                    <a:pt x="894" y="816"/>
                  </a:lnTo>
                  <a:lnTo>
                    <a:pt x="888" y="816"/>
                  </a:lnTo>
                  <a:lnTo>
                    <a:pt x="882" y="816"/>
                  </a:lnTo>
                  <a:lnTo>
                    <a:pt x="882" y="810"/>
                  </a:lnTo>
                  <a:lnTo>
                    <a:pt x="876" y="804"/>
                  </a:lnTo>
                  <a:lnTo>
                    <a:pt x="870" y="804"/>
                  </a:lnTo>
                  <a:lnTo>
                    <a:pt x="864" y="798"/>
                  </a:lnTo>
                  <a:lnTo>
                    <a:pt x="858" y="798"/>
                  </a:lnTo>
                  <a:lnTo>
                    <a:pt x="858" y="804"/>
                  </a:lnTo>
                  <a:lnTo>
                    <a:pt x="852" y="804"/>
                  </a:lnTo>
                  <a:lnTo>
                    <a:pt x="846" y="804"/>
                  </a:lnTo>
                  <a:lnTo>
                    <a:pt x="846" y="798"/>
                  </a:lnTo>
                  <a:lnTo>
                    <a:pt x="840" y="804"/>
                  </a:lnTo>
                  <a:lnTo>
                    <a:pt x="834" y="804"/>
                  </a:lnTo>
                  <a:lnTo>
                    <a:pt x="828" y="804"/>
                  </a:lnTo>
                  <a:lnTo>
                    <a:pt x="828" y="810"/>
                  </a:lnTo>
                  <a:lnTo>
                    <a:pt x="822" y="810"/>
                  </a:lnTo>
                  <a:lnTo>
                    <a:pt x="810" y="804"/>
                  </a:lnTo>
                  <a:lnTo>
                    <a:pt x="810" y="798"/>
                  </a:lnTo>
                  <a:lnTo>
                    <a:pt x="780" y="798"/>
                  </a:lnTo>
                  <a:lnTo>
                    <a:pt x="756" y="774"/>
                  </a:lnTo>
                  <a:lnTo>
                    <a:pt x="750" y="768"/>
                  </a:lnTo>
                  <a:lnTo>
                    <a:pt x="750" y="744"/>
                  </a:lnTo>
                  <a:lnTo>
                    <a:pt x="732" y="738"/>
                  </a:lnTo>
                  <a:lnTo>
                    <a:pt x="732" y="720"/>
                  </a:lnTo>
                  <a:lnTo>
                    <a:pt x="714" y="690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6" y="666"/>
                  </a:lnTo>
                  <a:lnTo>
                    <a:pt x="690" y="666"/>
                  </a:lnTo>
                  <a:lnTo>
                    <a:pt x="678" y="672"/>
                  </a:lnTo>
                  <a:lnTo>
                    <a:pt x="678" y="654"/>
                  </a:lnTo>
                  <a:lnTo>
                    <a:pt x="684" y="630"/>
                  </a:lnTo>
                  <a:lnTo>
                    <a:pt x="690" y="618"/>
                  </a:lnTo>
                  <a:lnTo>
                    <a:pt x="696" y="612"/>
                  </a:lnTo>
                  <a:lnTo>
                    <a:pt x="696" y="588"/>
                  </a:lnTo>
                  <a:lnTo>
                    <a:pt x="690" y="576"/>
                  </a:lnTo>
                  <a:lnTo>
                    <a:pt x="696" y="552"/>
                  </a:lnTo>
                  <a:lnTo>
                    <a:pt x="684" y="522"/>
                  </a:lnTo>
                  <a:lnTo>
                    <a:pt x="672" y="504"/>
                  </a:lnTo>
                  <a:lnTo>
                    <a:pt x="654" y="504"/>
                  </a:lnTo>
                  <a:lnTo>
                    <a:pt x="642" y="504"/>
                  </a:lnTo>
                  <a:lnTo>
                    <a:pt x="624" y="510"/>
                  </a:lnTo>
                  <a:lnTo>
                    <a:pt x="612" y="516"/>
                  </a:lnTo>
                  <a:lnTo>
                    <a:pt x="594" y="516"/>
                  </a:lnTo>
                  <a:lnTo>
                    <a:pt x="588" y="516"/>
                  </a:lnTo>
                  <a:lnTo>
                    <a:pt x="588" y="522"/>
                  </a:lnTo>
                  <a:lnTo>
                    <a:pt x="582" y="516"/>
                  </a:lnTo>
                  <a:lnTo>
                    <a:pt x="588" y="510"/>
                  </a:lnTo>
                  <a:lnTo>
                    <a:pt x="582" y="510"/>
                  </a:lnTo>
                  <a:lnTo>
                    <a:pt x="582" y="504"/>
                  </a:lnTo>
                  <a:lnTo>
                    <a:pt x="576" y="498"/>
                  </a:lnTo>
                  <a:lnTo>
                    <a:pt x="570" y="498"/>
                  </a:lnTo>
                  <a:lnTo>
                    <a:pt x="570" y="492"/>
                  </a:lnTo>
                  <a:lnTo>
                    <a:pt x="564" y="492"/>
                  </a:lnTo>
                  <a:lnTo>
                    <a:pt x="570" y="486"/>
                  </a:lnTo>
                  <a:lnTo>
                    <a:pt x="564" y="486"/>
                  </a:lnTo>
                  <a:lnTo>
                    <a:pt x="564" y="480"/>
                  </a:lnTo>
                  <a:lnTo>
                    <a:pt x="564" y="474"/>
                  </a:lnTo>
                  <a:lnTo>
                    <a:pt x="558" y="468"/>
                  </a:lnTo>
                  <a:lnTo>
                    <a:pt x="564" y="468"/>
                  </a:lnTo>
                  <a:lnTo>
                    <a:pt x="564" y="462"/>
                  </a:lnTo>
                  <a:lnTo>
                    <a:pt x="570" y="462"/>
                  </a:lnTo>
                  <a:lnTo>
                    <a:pt x="570" y="456"/>
                  </a:lnTo>
                  <a:lnTo>
                    <a:pt x="570" y="450"/>
                  </a:lnTo>
                  <a:lnTo>
                    <a:pt x="576" y="450"/>
                  </a:lnTo>
                  <a:lnTo>
                    <a:pt x="576" y="444"/>
                  </a:lnTo>
                  <a:lnTo>
                    <a:pt x="582" y="438"/>
                  </a:lnTo>
                  <a:lnTo>
                    <a:pt x="588" y="438"/>
                  </a:lnTo>
                  <a:lnTo>
                    <a:pt x="588" y="444"/>
                  </a:lnTo>
                  <a:lnTo>
                    <a:pt x="594" y="438"/>
                  </a:lnTo>
                  <a:lnTo>
                    <a:pt x="594" y="432"/>
                  </a:lnTo>
                  <a:lnTo>
                    <a:pt x="600" y="432"/>
                  </a:lnTo>
                  <a:lnTo>
                    <a:pt x="600" y="426"/>
                  </a:lnTo>
                  <a:lnTo>
                    <a:pt x="600" y="420"/>
                  </a:lnTo>
                  <a:lnTo>
                    <a:pt x="606" y="420"/>
                  </a:lnTo>
                  <a:lnTo>
                    <a:pt x="600" y="420"/>
                  </a:lnTo>
                  <a:lnTo>
                    <a:pt x="600" y="414"/>
                  </a:lnTo>
                  <a:lnTo>
                    <a:pt x="606" y="408"/>
                  </a:lnTo>
                  <a:lnTo>
                    <a:pt x="612" y="408"/>
                  </a:lnTo>
                  <a:lnTo>
                    <a:pt x="612" y="414"/>
                  </a:lnTo>
                  <a:lnTo>
                    <a:pt x="618" y="414"/>
                  </a:lnTo>
                  <a:lnTo>
                    <a:pt x="624" y="414"/>
                  </a:lnTo>
                  <a:lnTo>
                    <a:pt x="630" y="414"/>
                  </a:lnTo>
                  <a:lnTo>
                    <a:pt x="636" y="414"/>
                  </a:lnTo>
                  <a:lnTo>
                    <a:pt x="642" y="408"/>
                  </a:lnTo>
                  <a:lnTo>
                    <a:pt x="648" y="408"/>
                  </a:lnTo>
                  <a:lnTo>
                    <a:pt x="660" y="408"/>
                  </a:lnTo>
                  <a:lnTo>
                    <a:pt x="666" y="402"/>
                  </a:lnTo>
                  <a:lnTo>
                    <a:pt x="672" y="402"/>
                  </a:lnTo>
                  <a:lnTo>
                    <a:pt x="684" y="396"/>
                  </a:lnTo>
                  <a:lnTo>
                    <a:pt x="690" y="396"/>
                  </a:lnTo>
                  <a:lnTo>
                    <a:pt x="696" y="396"/>
                  </a:lnTo>
                  <a:lnTo>
                    <a:pt x="702" y="396"/>
                  </a:lnTo>
                  <a:lnTo>
                    <a:pt x="708" y="396"/>
                  </a:lnTo>
                  <a:lnTo>
                    <a:pt x="714" y="390"/>
                  </a:lnTo>
                  <a:lnTo>
                    <a:pt x="714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32" y="384"/>
                  </a:lnTo>
                  <a:lnTo>
                    <a:pt x="738" y="378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56" y="372"/>
                  </a:lnTo>
                  <a:lnTo>
                    <a:pt x="762" y="366"/>
                  </a:lnTo>
                  <a:lnTo>
                    <a:pt x="768" y="366"/>
                  </a:lnTo>
                  <a:lnTo>
                    <a:pt x="774" y="366"/>
                  </a:lnTo>
                  <a:lnTo>
                    <a:pt x="774" y="360"/>
                  </a:lnTo>
                  <a:lnTo>
                    <a:pt x="780" y="366"/>
                  </a:lnTo>
                  <a:lnTo>
                    <a:pt x="786" y="366"/>
                  </a:lnTo>
                  <a:lnTo>
                    <a:pt x="786" y="360"/>
                  </a:lnTo>
                  <a:lnTo>
                    <a:pt x="792" y="354"/>
                  </a:lnTo>
                  <a:lnTo>
                    <a:pt x="786" y="354"/>
                  </a:lnTo>
                  <a:lnTo>
                    <a:pt x="792" y="348"/>
                  </a:lnTo>
                  <a:lnTo>
                    <a:pt x="798" y="348"/>
                  </a:lnTo>
                  <a:lnTo>
                    <a:pt x="804" y="348"/>
                  </a:lnTo>
                  <a:lnTo>
                    <a:pt x="810" y="342"/>
                  </a:lnTo>
                  <a:lnTo>
                    <a:pt x="816" y="342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28" y="336"/>
                  </a:lnTo>
                  <a:lnTo>
                    <a:pt x="834" y="336"/>
                  </a:lnTo>
                  <a:lnTo>
                    <a:pt x="840" y="336"/>
                  </a:lnTo>
                  <a:lnTo>
                    <a:pt x="846" y="330"/>
                  </a:lnTo>
                  <a:lnTo>
                    <a:pt x="852" y="330"/>
                  </a:lnTo>
                  <a:lnTo>
                    <a:pt x="858" y="330"/>
                  </a:lnTo>
                  <a:lnTo>
                    <a:pt x="864" y="324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0" y="312"/>
                  </a:lnTo>
                  <a:lnTo>
                    <a:pt x="876" y="312"/>
                  </a:lnTo>
                  <a:lnTo>
                    <a:pt x="882" y="312"/>
                  </a:lnTo>
                  <a:lnTo>
                    <a:pt x="882" y="318"/>
                  </a:lnTo>
                  <a:lnTo>
                    <a:pt x="888" y="312"/>
                  </a:lnTo>
                  <a:lnTo>
                    <a:pt x="894" y="306"/>
                  </a:lnTo>
                  <a:lnTo>
                    <a:pt x="900" y="306"/>
                  </a:lnTo>
                  <a:lnTo>
                    <a:pt x="906" y="306"/>
                  </a:lnTo>
                  <a:lnTo>
                    <a:pt x="912" y="300"/>
                  </a:lnTo>
                  <a:lnTo>
                    <a:pt x="906" y="294"/>
                  </a:lnTo>
                  <a:lnTo>
                    <a:pt x="912" y="276"/>
                  </a:lnTo>
                  <a:lnTo>
                    <a:pt x="912" y="252"/>
                  </a:lnTo>
                  <a:lnTo>
                    <a:pt x="906" y="234"/>
                  </a:lnTo>
                  <a:lnTo>
                    <a:pt x="912" y="228"/>
                  </a:lnTo>
                  <a:lnTo>
                    <a:pt x="912" y="216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24" y="192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36" y="186"/>
                  </a:lnTo>
                  <a:lnTo>
                    <a:pt x="930" y="180"/>
                  </a:lnTo>
                  <a:lnTo>
                    <a:pt x="930" y="174"/>
                  </a:lnTo>
                  <a:lnTo>
                    <a:pt x="936" y="156"/>
                  </a:lnTo>
                  <a:lnTo>
                    <a:pt x="930" y="156"/>
                  </a:lnTo>
                  <a:lnTo>
                    <a:pt x="924" y="150"/>
                  </a:lnTo>
                  <a:lnTo>
                    <a:pt x="942" y="78"/>
                  </a:lnTo>
                  <a:lnTo>
                    <a:pt x="948" y="78"/>
                  </a:lnTo>
                  <a:lnTo>
                    <a:pt x="954" y="66"/>
                  </a:lnTo>
                  <a:lnTo>
                    <a:pt x="954" y="72"/>
                  </a:lnTo>
                  <a:lnTo>
                    <a:pt x="954" y="66"/>
                  </a:lnTo>
                  <a:lnTo>
                    <a:pt x="960" y="66"/>
                  </a:lnTo>
                  <a:lnTo>
                    <a:pt x="966" y="66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54"/>
                  </a:lnTo>
                  <a:lnTo>
                    <a:pt x="990" y="54"/>
                  </a:lnTo>
                  <a:lnTo>
                    <a:pt x="996" y="48"/>
                  </a:lnTo>
                  <a:lnTo>
                    <a:pt x="1002" y="48"/>
                  </a:lnTo>
                  <a:lnTo>
                    <a:pt x="1032" y="48"/>
                  </a:lnTo>
                  <a:lnTo>
                    <a:pt x="1062" y="48"/>
                  </a:lnTo>
                  <a:lnTo>
                    <a:pt x="1068" y="78"/>
                  </a:lnTo>
                  <a:lnTo>
                    <a:pt x="1086" y="78"/>
                  </a:lnTo>
                  <a:lnTo>
                    <a:pt x="1092" y="66"/>
                  </a:lnTo>
                  <a:lnTo>
                    <a:pt x="1092" y="60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8" y="48"/>
                  </a:lnTo>
                  <a:lnTo>
                    <a:pt x="1104" y="48"/>
                  </a:lnTo>
                  <a:lnTo>
                    <a:pt x="1110" y="48"/>
                  </a:lnTo>
                  <a:lnTo>
                    <a:pt x="1110" y="42"/>
                  </a:lnTo>
                  <a:lnTo>
                    <a:pt x="1110" y="36"/>
                  </a:lnTo>
                  <a:lnTo>
                    <a:pt x="1116" y="36"/>
                  </a:lnTo>
                  <a:lnTo>
                    <a:pt x="1116" y="30"/>
                  </a:lnTo>
                  <a:lnTo>
                    <a:pt x="1122" y="30"/>
                  </a:lnTo>
                  <a:lnTo>
                    <a:pt x="1128" y="30"/>
                  </a:lnTo>
                  <a:lnTo>
                    <a:pt x="1134" y="30"/>
                  </a:lnTo>
                  <a:lnTo>
                    <a:pt x="1140" y="24"/>
                  </a:lnTo>
                  <a:lnTo>
                    <a:pt x="1152" y="18"/>
                  </a:lnTo>
                  <a:lnTo>
                    <a:pt x="1158" y="18"/>
                  </a:lnTo>
                  <a:lnTo>
                    <a:pt x="1152" y="12"/>
                  </a:lnTo>
                  <a:lnTo>
                    <a:pt x="1152" y="6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8"/>
                  </a:lnTo>
                  <a:lnTo>
                    <a:pt x="1170" y="12"/>
                  </a:lnTo>
                  <a:lnTo>
                    <a:pt x="1170" y="6"/>
                  </a:lnTo>
                  <a:lnTo>
                    <a:pt x="1176" y="6"/>
                  </a:lnTo>
                  <a:lnTo>
                    <a:pt x="1176" y="0"/>
                  </a:lnTo>
                  <a:lnTo>
                    <a:pt x="1182" y="6"/>
                  </a:lnTo>
                  <a:lnTo>
                    <a:pt x="1188" y="6"/>
                  </a:lnTo>
                  <a:lnTo>
                    <a:pt x="1188" y="0"/>
                  </a:lnTo>
                  <a:lnTo>
                    <a:pt x="1194" y="6"/>
                  </a:lnTo>
                  <a:lnTo>
                    <a:pt x="1200" y="12"/>
                  </a:lnTo>
                  <a:lnTo>
                    <a:pt x="1206" y="18"/>
                  </a:lnTo>
                  <a:lnTo>
                    <a:pt x="1212" y="18"/>
                  </a:lnTo>
                  <a:lnTo>
                    <a:pt x="1218" y="24"/>
                  </a:lnTo>
                  <a:lnTo>
                    <a:pt x="1236" y="36"/>
                  </a:lnTo>
                  <a:lnTo>
                    <a:pt x="1242" y="36"/>
                  </a:lnTo>
                  <a:lnTo>
                    <a:pt x="1248" y="42"/>
                  </a:lnTo>
                  <a:lnTo>
                    <a:pt x="1248" y="48"/>
                  </a:lnTo>
                  <a:lnTo>
                    <a:pt x="1260" y="48"/>
                  </a:lnTo>
                  <a:lnTo>
                    <a:pt x="1260" y="108"/>
                  </a:lnTo>
                  <a:lnTo>
                    <a:pt x="1266" y="168"/>
                  </a:lnTo>
                  <a:lnTo>
                    <a:pt x="1278" y="234"/>
                  </a:lnTo>
                  <a:lnTo>
                    <a:pt x="1284" y="240"/>
                  </a:lnTo>
                  <a:lnTo>
                    <a:pt x="1290" y="264"/>
                  </a:lnTo>
                  <a:lnTo>
                    <a:pt x="1296" y="288"/>
                  </a:lnTo>
                  <a:lnTo>
                    <a:pt x="1296" y="300"/>
                  </a:lnTo>
                  <a:lnTo>
                    <a:pt x="1296" y="312"/>
                  </a:lnTo>
                  <a:lnTo>
                    <a:pt x="1296" y="324"/>
                  </a:lnTo>
                  <a:lnTo>
                    <a:pt x="1296" y="354"/>
                  </a:lnTo>
                  <a:lnTo>
                    <a:pt x="1302" y="366"/>
                  </a:lnTo>
                  <a:lnTo>
                    <a:pt x="1308" y="372"/>
                  </a:lnTo>
                  <a:lnTo>
                    <a:pt x="1308" y="384"/>
                  </a:lnTo>
                  <a:lnTo>
                    <a:pt x="1314" y="390"/>
                  </a:lnTo>
                  <a:lnTo>
                    <a:pt x="1308" y="408"/>
                  </a:lnTo>
                  <a:lnTo>
                    <a:pt x="1314" y="408"/>
                  </a:lnTo>
                  <a:lnTo>
                    <a:pt x="1314" y="414"/>
                  </a:lnTo>
                  <a:lnTo>
                    <a:pt x="1308" y="420"/>
                  </a:lnTo>
                  <a:lnTo>
                    <a:pt x="1308" y="432"/>
                  </a:lnTo>
                  <a:lnTo>
                    <a:pt x="1320" y="432"/>
                  </a:lnTo>
                  <a:lnTo>
                    <a:pt x="1320" y="444"/>
                  </a:lnTo>
                  <a:lnTo>
                    <a:pt x="1332" y="444"/>
                  </a:lnTo>
                  <a:lnTo>
                    <a:pt x="1338" y="450"/>
                  </a:lnTo>
                  <a:lnTo>
                    <a:pt x="1344" y="456"/>
                  </a:lnTo>
                  <a:lnTo>
                    <a:pt x="1344" y="462"/>
                  </a:lnTo>
                  <a:lnTo>
                    <a:pt x="1344" y="474"/>
                  </a:lnTo>
                  <a:lnTo>
                    <a:pt x="1350" y="474"/>
                  </a:lnTo>
                  <a:lnTo>
                    <a:pt x="1368" y="504"/>
                  </a:lnTo>
                  <a:lnTo>
                    <a:pt x="1374" y="534"/>
                  </a:lnTo>
                  <a:lnTo>
                    <a:pt x="1380" y="558"/>
                  </a:lnTo>
                  <a:lnTo>
                    <a:pt x="1386" y="576"/>
                  </a:lnTo>
                  <a:lnTo>
                    <a:pt x="1386" y="600"/>
                  </a:lnTo>
                  <a:lnTo>
                    <a:pt x="1386" y="624"/>
                  </a:lnTo>
                  <a:lnTo>
                    <a:pt x="1386" y="648"/>
                  </a:lnTo>
                  <a:lnTo>
                    <a:pt x="1386" y="684"/>
                  </a:lnTo>
                  <a:lnTo>
                    <a:pt x="1380" y="684"/>
                  </a:lnTo>
                  <a:lnTo>
                    <a:pt x="1374" y="696"/>
                  </a:lnTo>
                  <a:lnTo>
                    <a:pt x="1368" y="702"/>
                  </a:lnTo>
                  <a:lnTo>
                    <a:pt x="1362" y="708"/>
                  </a:lnTo>
                  <a:lnTo>
                    <a:pt x="1356" y="714"/>
                  </a:lnTo>
                  <a:lnTo>
                    <a:pt x="1350" y="720"/>
                  </a:lnTo>
                  <a:lnTo>
                    <a:pt x="1338" y="720"/>
                  </a:lnTo>
                  <a:lnTo>
                    <a:pt x="1338" y="738"/>
                  </a:lnTo>
                  <a:lnTo>
                    <a:pt x="1362" y="750"/>
                  </a:lnTo>
                  <a:lnTo>
                    <a:pt x="1362" y="756"/>
                  </a:lnTo>
                  <a:lnTo>
                    <a:pt x="1374" y="756"/>
                  </a:lnTo>
                  <a:lnTo>
                    <a:pt x="1410" y="774"/>
                  </a:lnTo>
                  <a:lnTo>
                    <a:pt x="1446" y="774"/>
                  </a:lnTo>
                  <a:lnTo>
                    <a:pt x="1482" y="768"/>
                  </a:lnTo>
                  <a:lnTo>
                    <a:pt x="1500" y="774"/>
                  </a:lnTo>
                  <a:lnTo>
                    <a:pt x="1512" y="78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6" name="Freeform 11">
              <a:extLst>
                <a:ext uri="{FF2B5EF4-FFF2-40B4-BE49-F238E27FC236}">
                  <a16:creationId xmlns:a16="http://schemas.microsoft.com/office/drawing/2014/main" id="{1FF8E66F-B850-456A-B132-C45FEEDE95C6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2475" y="2345643"/>
              <a:ext cx="445003" cy="603855"/>
            </a:xfrm>
            <a:custGeom>
              <a:avLst/>
              <a:gdLst>
                <a:gd name="T0" fmla="*/ 47 w 840"/>
                <a:gd name="T1" fmla="*/ 98 h 1134"/>
                <a:gd name="T2" fmla="*/ 41 w 840"/>
                <a:gd name="T3" fmla="*/ 98 h 1134"/>
                <a:gd name="T4" fmla="*/ 37 w 840"/>
                <a:gd name="T5" fmla="*/ 98 h 1134"/>
                <a:gd name="T6" fmla="*/ 29 w 840"/>
                <a:gd name="T7" fmla="*/ 97 h 1134"/>
                <a:gd name="T8" fmla="*/ 27 w 840"/>
                <a:gd name="T9" fmla="*/ 94 h 1134"/>
                <a:gd name="T10" fmla="*/ 26 w 840"/>
                <a:gd name="T11" fmla="*/ 93 h 1134"/>
                <a:gd name="T12" fmla="*/ 26 w 840"/>
                <a:gd name="T13" fmla="*/ 83 h 1134"/>
                <a:gd name="T14" fmla="*/ 26 w 840"/>
                <a:gd name="T15" fmla="*/ 81 h 1134"/>
                <a:gd name="T16" fmla="*/ 23 w 840"/>
                <a:gd name="T17" fmla="*/ 77 h 1134"/>
                <a:gd name="T18" fmla="*/ 19 w 840"/>
                <a:gd name="T19" fmla="*/ 75 h 1134"/>
                <a:gd name="T20" fmla="*/ 16 w 840"/>
                <a:gd name="T21" fmla="*/ 72 h 1134"/>
                <a:gd name="T22" fmla="*/ 13 w 840"/>
                <a:gd name="T23" fmla="*/ 70 h 1134"/>
                <a:gd name="T24" fmla="*/ 17 w 840"/>
                <a:gd name="T25" fmla="*/ 67 h 1134"/>
                <a:gd name="T26" fmla="*/ 19 w 840"/>
                <a:gd name="T27" fmla="*/ 63 h 1134"/>
                <a:gd name="T28" fmla="*/ 20 w 840"/>
                <a:gd name="T29" fmla="*/ 59 h 1134"/>
                <a:gd name="T30" fmla="*/ 19 w 840"/>
                <a:gd name="T31" fmla="*/ 55 h 1134"/>
                <a:gd name="T32" fmla="*/ 17 w 840"/>
                <a:gd name="T33" fmla="*/ 47 h 1134"/>
                <a:gd name="T34" fmla="*/ 8 w 840"/>
                <a:gd name="T35" fmla="*/ 45 h 1134"/>
                <a:gd name="T36" fmla="*/ 4 w 840"/>
                <a:gd name="T37" fmla="*/ 39 h 1134"/>
                <a:gd name="T38" fmla="*/ 2 w 840"/>
                <a:gd name="T39" fmla="*/ 35 h 1134"/>
                <a:gd name="T40" fmla="*/ 0 w 840"/>
                <a:gd name="T41" fmla="*/ 31 h 1134"/>
                <a:gd name="T42" fmla="*/ 2 w 840"/>
                <a:gd name="T43" fmla="*/ 27 h 1134"/>
                <a:gd name="T44" fmla="*/ 5 w 840"/>
                <a:gd name="T45" fmla="*/ 24 h 1134"/>
                <a:gd name="T46" fmla="*/ 10 w 840"/>
                <a:gd name="T47" fmla="*/ 26 h 1134"/>
                <a:gd name="T48" fmla="*/ 7 w 840"/>
                <a:gd name="T49" fmla="*/ 20 h 1134"/>
                <a:gd name="T50" fmla="*/ 12 w 840"/>
                <a:gd name="T51" fmla="*/ 12 h 1134"/>
                <a:gd name="T52" fmla="*/ 19 w 840"/>
                <a:gd name="T53" fmla="*/ 10 h 1134"/>
                <a:gd name="T54" fmla="*/ 20 w 840"/>
                <a:gd name="T55" fmla="*/ 13 h 1134"/>
                <a:gd name="T56" fmla="*/ 22 w 840"/>
                <a:gd name="T57" fmla="*/ 11 h 1134"/>
                <a:gd name="T58" fmla="*/ 25 w 840"/>
                <a:gd name="T59" fmla="*/ 7 h 1134"/>
                <a:gd name="T60" fmla="*/ 29 w 840"/>
                <a:gd name="T61" fmla="*/ 2 h 1134"/>
                <a:gd name="T62" fmla="*/ 33 w 840"/>
                <a:gd name="T63" fmla="*/ 1 h 1134"/>
                <a:gd name="T64" fmla="*/ 37 w 840"/>
                <a:gd name="T65" fmla="*/ 2 h 1134"/>
                <a:gd name="T66" fmla="*/ 39 w 840"/>
                <a:gd name="T67" fmla="*/ 4 h 1134"/>
                <a:gd name="T68" fmla="*/ 43 w 840"/>
                <a:gd name="T69" fmla="*/ 5 h 1134"/>
                <a:gd name="T70" fmla="*/ 46 w 840"/>
                <a:gd name="T71" fmla="*/ 11 h 1134"/>
                <a:gd name="T72" fmla="*/ 49 w 840"/>
                <a:gd name="T73" fmla="*/ 12 h 1134"/>
                <a:gd name="T74" fmla="*/ 52 w 840"/>
                <a:gd name="T75" fmla="*/ 15 h 1134"/>
                <a:gd name="T76" fmla="*/ 54 w 840"/>
                <a:gd name="T77" fmla="*/ 18 h 1134"/>
                <a:gd name="T78" fmla="*/ 55 w 840"/>
                <a:gd name="T79" fmla="*/ 22 h 1134"/>
                <a:gd name="T80" fmla="*/ 56 w 840"/>
                <a:gd name="T81" fmla="*/ 26 h 1134"/>
                <a:gd name="T82" fmla="*/ 55 w 840"/>
                <a:gd name="T83" fmla="*/ 32 h 1134"/>
                <a:gd name="T84" fmla="*/ 55 w 840"/>
                <a:gd name="T85" fmla="*/ 36 h 1134"/>
                <a:gd name="T86" fmla="*/ 54 w 840"/>
                <a:gd name="T87" fmla="*/ 39 h 1134"/>
                <a:gd name="T88" fmla="*/ 56 w 840"/>
                <a:gd name="T89" fmla="*/ 39 h 1134"/>
                <a:gd name="T90" fmla="*/ 58 w 840"/>
                <a:gd name="T91" fmla="*/ 39 h 1134"/>
                <a:gd name="T92" fmla="*/ 61 w 840"/>
                <a:gd name="T93" fmla="*/ 39 h 1134"/>
                <a:gd name="T94" fmla="*/ 60 w 840"/>
                <a:gd name="T95" fmla="*/ 49 h 1134"/>
                <a:gd name="T96" fmla="*/ 59 w 840"/>
                <a:gd name="T97" fmla="*/ 53 h 1134"/>
                <a:gd name="T98" fmla="*/ 59 w 840"/>
                <a:gd name="T99" fmla="*/ 56 h 1134"/>
                <a:gd name="T100" fmla="*/ 60 w 840"/>
                <a:gd name="T101" fmla="*/ 59 h 1134"/>
                <a:gd name="T102" fmla="*/ 64 w 840"/>
                <a:gd name="T103" fmla="*/ 61 h 1134"/>
                <a:gd name="T104" fmla="*/ 69 w 840"/>
                <a:gd name="T105" fmla="*/ 63 h 1134"/>
                <a:gd name="T106" fmla="*/ 72 w 840"/>
                <a:gd name="T107" fmla="*/ 69 h 1134"/>
                <a:gd name="T108" fmla="*/ 72 w 840"/>
                <a:gd name="T109" fmla="*/ 73 h 1134"/>
                <a:gd name="T110" fmla="*/ 72 w 840"/>
                <a:gd name="T111" fmla="*/ 83 h 1134"/>
                <a:gd name="T112" fmla="*/ 63 w 840"/>
                <a:gd name="T113" fmla="*/ 88 h 1134"/>
                <a:gd name="T114" fmla="*/ 52 w 840"/>
                <a:gd name="T115" fmla="*/ 95 h 11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40"/>
                <a:gd name="T175" fmla="*/ 0 h 1134"/>
                <a:gd name="T176" fmla="*/ 840 w 840"/>
                <a:gd name="T177" fmla="*/ 1134 h 11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40" h="1134">
                  <a:moveTo>
                    <a:pt x="564" y="1110"/>
                  </a:moveTo>
                  <a:lnTo>
                    <a:pt x="564" y="1104"/>
                  </a:lnTo>
                  <a:lnTo>
                    <a:pt x="558" y="1104"/>
                  </a:lnTo>
                  <a:lnTo>
                    <a:pt x="552" y="1110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28" y="1128"/>
                  </a:lnTo>
                  <a:lnTo>
                    <a:pt x="498" y="1128"/>
                  </a:lnTo>
                  <a:lnTo>
                    <a:pt x="492" y="1128"/>
                  </a:lnTo>
                  <a:lnTo>
                    <a:pt x="486" y="1128"/>
                  </a:lnTo>
                  <a:lnTo>
                    <a:pt x="480" y="1128"/>
                  </a:lnTo>
                  <a:lnTo>
                    <a:pt x="474" y="1134"/>
                  </a:lnTo>
                  <a:lnTo>
                    <a:pt x="468" y="1134"/>
                  </a:lnTo>
                  <a:lnTo>
                    <a:pt x="462" y="1134"/>
                  </a:lnTo>
                  <a:lnTo>
                    <a:pt x="456" y="1134"/>
                  </a:lnTo>
                  <a:lnTo>
                    <a:pt x="456" y="1128"/>
                  </a:lnTo>
                  <a:lnTo>
                    <a:pt x="450" y="1122"/>
                  </a:lnTo>
                  <a:lnTo>
                    <a:pt x="426" y="1128"/>
                  </a:lnTo>
                  <a:lnTo>
                    <a:pt x="414" y="1128"/>
                  </a:lnTo>
                  <a:lnTo>
                    <a:pt x="348" y="1134"/>
                  </a:lnTo>
                  <a:lnTo>
                    <a:pt x="348" y="1128"/>
                  </a:lnTo>
                  <a:lnTo>
                    <a:pt x="342" y="1128"/>
                  </a:lnTo>
                  <a:lnTo>
                    <a:pt x="336" y="1122"/>
                  </a:lnTo>
                  <a:lnTo>
                    <a:pt x="330" y="1122"/>
                  </a:lnTo>
                  <a:lnTo>
                    <a:pt x="324" y="1116"/>
                  </a:lnTo>
                  <a:lnTo>
                    <a:pt x="324" y="1110"/>
                  </a:lnTo>
                  <a:lnTo>
                    <a:pt x="318" y="1110"/>
                  </a:lnTo>
                  <a:lnTo>
                    <a:pt x="318" y="1104"/>
                  </a:lnTo>
                  <a:lnTo>
                    <a:pt x="312" y="1092"/>
                  </a:lnTo>
                  <a:lnTo>
                    <a:pt x="306" y="1086"/>
                  </a:lnTo>
                  <a:lnTo>
                    <a:pt x="306" y="1080"/>
                  </a:lnTo>
                  <a:lnTo>
                    <a:pt x="312" y="1074"/>
                  </a:lnTo>
                  <a:lnTo>
                    <a:pt x="306" y="1068"/>
                  </a:lnTo>
                  <a:lnTo>
                    <a:pt x="300" y="1074"/>
                  </a:lnTo>
                  <a:lnTo>
                    <a:pt x="300" y="1068"/>
                  </a:lnTo>
                  <a:lnTo>
                    <a:pt x="294" y="1068"/>
                  </a:lnTo>
                  <a:lnTo>
                    <a:pt x="294" y="1056"/>
                  </a:lnTo>
                  <a:lnTo>
                    <a:pt x="294" y="1026"/>
                  </a:lnTo>
                  <a:lnTo>
                    <a:pt x="294" y="1020"/>
                  </a:lnTo>
                  <a:lnTo>
                    <a:pt x="294" y="1008"/>
                  </a:lnTo>
                  <a:lnTo>
                    <a:pt x="294" y="966"/>
                  </a:lnTo>
                  <a:lnTo>
                    <a:pt x="294" y="960"/>
                  </a:lnTo>
                  <a:lnTo>
                    <a:pt x="294" y="954"/>
                  </a:lnTo>
                  <a:lnTo>
                    <a:pt x="294" y="948"/>
                  </a:lnTo>
                  <a:lnTo>
                    <a:pt x="294" y="942"/>
                  </a:lnTo>
                  <a:lnTo>
                    <a:pt x="300" y="936"/>
                  </a:lnTo>
                  <a:lnTo>
                    <a:pt x="300" y="930"/>
                  </a:lnTo>
                  <a:lnTo>
                    <a:pt x="294" y="930"/>
                  </a:lnTo>
                  <a:lnTo>
                    <a:pt x="288" y="930"/>
                  </a:lnTo>
                  <a:lnTo>
                    <a:pt x="288" y="924"/>
                  </a:lnTo>
                  <a:lnTo>
                    <a:pt x="282" y="918"/>
                  </a:lnTo>
                  <a:lnTo>
                    <a:pt x="282" y="906"/>
                  </a:lnTo>
                  <a:lnTo>
                    <a:pt x="282" y="900"/>
                  </a:lnTo>
                  <a:lnTo>
                    <a:pt x="264" y="894"/>
                  </a:lnTo>
                  <a:lnTo>
                    <a:pt x="252" y="882"/>
                  </a:lnTo>
                  <a:lnTo>
                    <a:pt x="246" y="876"/>
                  </a:lnTo>
                  <a:lnTo>
                    <a:pt x="240" y="876"/>
                  </a:lnTo>
                  <a:lnTo>
                    <a:pt x="240" y="870"/>
                  </a:lnTo>
                  <a:lnTo>
                    <a:pt x="234" y="870"/>
                  </a:lnTo>
                  <a:lnTo>
                    <a:pt x="222" y="864"/>
                  </a:lnTo>
                  <a:lnTo>
                    <a:pt x="216" y="864"/>
                  </a:lnTo>
                  <a:lnTo>
                    <a:pt x="210" y="858"/>
                  </a:lnTo>
                  <a:lnTo>
                    <a:pt x="210" y="852"/>
                  </a:lnTo>
                  <a:lnTo>
                    <a:pt x="210" y="846"/>
                  </a:lnTo>
                  <a:lnTo>
                    <a:pt x="198" y="840"/>
                  </a:lnTo>
                  <a:lnTo>
                    <a:pt x="186" y="834"/>
                  </a:lnTo>
                  <a:lnTo>
                    <a:pt x="180" y="828"/>
                  </a:lnTo>
                  <a:lnTo>
                    <a:pt x="180" y="822"/>
                  </a:lnTo>
                  <a:lnTo>
                    <a:pt x="174" y="822"/>
                  </a:lnTo>
                  <a:lnTo>
                    <a:pt x="162" y="816"/>
                  </a:lnTo>
                  <a:lnTo>
                    <a:pt x="156" y="810"/>
                  </a:lnTo>
                  <a:lnTo>
                    <a:pt x="150" y="810"/>
                  </a:lnTo>
                  <a:lnTo>
                    <a:pt x="144" y="798"/>
                  </a:lnTo>
                  <a:lnTo>
                    <a:pt x="138" y="786"/>
                  </a:lnTo>
                  <a:lnTo>
                    <a:pt x="138" y="780"/>
                  </a:lnTo>
                  <a:lnTo>
                    <a:pt x="144" y="774"/>
                  </a:lnTo>
                  <a:lnTo>
                    <a:pt x="150" y="768"/>
                  </a:lnTo>
                  <a:lnTo>
                    <a:pt x="192" y="768"/>
                  </a:lnTo>
                  <a:lnTo>
                    <a:pt x="210" y="762"/>
                  </a:lnTo>
                  <a:lnTo>
                    <a:pt x="216" y="756"/>
                  </a:lnTo>
                  <a:lnTo>
                    <a:pt x="216" y="744"/>
                  </a:lnTo>
                  <a:lnTo>
                    <a:pt x="216" y="738"/>
                  </a:lnTo>
                  <a:lnTo>
                    <a:pt x="216" y="732"/>
                  </a:lnTo>
                  <a:lnTo>
                    <a:pt x="216" y="726"/>
                  </a:lnTo>
                  <a:lnTo>
                    <a:pt x="216" y="720"/>
                  </a:lnTo>
                  <a:lnTo>
                    <a:pt x="228" y="702"/>
                  </a:lnTo>
                  <a:lnTo>
                    <a:pt x="234" y="696"/>
                  </a:lnTo>
                  <a:lnTo>
                    <a:pt x="240" y="690"/>
                  </a:lnTo>
                  <a:lnTo>
                    <a:pt x="240" y="684"/>
                  </a:lnTo>
                  <a:lnTo>
                    <a:pt x="234" y="678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0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22" y="630"/>
                  </a:lnTo>
                  <a:lnTo>
                    <a:pt x="222" y="618"/>
                  </a:lnTo>
                  <a:lnTo>
                    <a:pt x="222" y="582"/>
                  </a:lnTo>
                  <a:lnTo>
                    <a:pt x="228" y="582"/>
                  </a:lnTo>
                  <a:lnTo>
                    <a:pt x="222" y="564"/>
                  </a:lnTo>
                  <a:lnTo>
                    <a:pt x="210" y="552"/>
                  </a:lnTo>
                  <a:lnTo>
                    <a:pt x="192" y="540"/>
                  </a:lnTo>
                  <a:lnTo>
                    <a:pt x="174" y="540"/>
                  </a:lnTo>
                  <a:lnTo>
                    <a:pt x="150" y="534"/>
                  </a:lnTo>
                  <a:lnTo>
                    <a:pt x="126" y="528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90" y="516"/>
                  </a:lnTo>
                  <a:lnTo>
                    <a:pt x="78" y="504"/>
                  </a:lnTo>
                  <a:lnTo>
                    <a:pt x="72" y="498"/>
                  </a:lnTo>
                  <a:lnTo>
                    <a:pt x="66" y="486"/>
                  </a:lnTo>
                  <a:lnTo>
                    <a:pt x="54" y="468"/>
                  </a:lnTo>
                  <a:lnTo>
                    <a:pt x="54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42" y="438"/>
                  </a:lnTo>
                  <a:lnTo>
                    <a:pt x="36" y="438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24" y="384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2" y="360"/>
                  </a:lnTo>
                  <a:lnTo>
                    <a:pt x="6" y="360"/>
                  </a:lnTo>
                  <a:lnTo>
                    <a:pt x="0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0"/>
                  </a:lnTo>
                  <a:lnTo>
                    <a:pt x="18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8" y="270"/>
                  </a:lnTo>
                  <a:lnTo>
                    <a:pt x="90" y="276"/>
                  </a:lnTo>
                  <a:lnTo>
                    <a:pt x="108" y="294"/>
                  </a:lnTo>
                  <a:lnTo>
                    <a:pt x="114" y="294"/>
                  </a:lnTo>
                  <a:lnTo>
                    <a:pt x="114" y="276"/>
                  </a:lnTo>
                  <a:lnTo>
                    <a:pt x="114" y="270"/>
                  </a:lnTo>
                  <a:lnTo>
                    <a:pt x="102" y="258"/>
                  </a:lnTo>
                  <a:lnTo>
                    <a:pt x="96" y="246"/>
                  </a:lnTo>
                  <a:lnTo>
                    <a:pt x="90" y="234"/>
                  </a:lnTo>
                  <a:lnTo>
                    <a:pt x="78" y="228"/>
                  </a:lnTo>
                  <a:lnTo>
                    <a:pt x="72" y="216"/>
                  </a:lnTo>
                  <a:lnTo>
                    <a:pt x="66" y="192"/>
                  </a:lnTo>
                  <a:lnTo>
                    <a:pt x="90" y="174"/>
                  </a:lnTo>
                  <a:lnTo>
                    <a:pt x="120" y="150"/>
                  </a:lnTo>
                  <a:lnTo>
                    <a:pt x="132" y="150"/>
                  </a:lnTo>
                  <a:lnTo>
                    <a:pt x="138" y="144"/>
                  </a:lnTo>
                  <a:lnTo>
                    <a:pt x="138" y="138"/>
                  </a:lnTo>
                  <a:lnTo>
                    <a:pt x="156" y="126"/>
                  </a:lnTo>
                  <a:lnTo>
                    <a:pt x="180" y="114"/>
                  </a:lnTo>
                  <a:lnTo>
                    <a:pt x="216" y="114"/>
                  </a:lnTo>
                  <a:lnTo>
                    <a:pt x="222" y="114"/>
                  </a:lnTo>
                  <a:lnTo>
                    <a:pt x="222" y="120"/>
                  </a:lnTo>
                  <a:lnTo>
                    <a:pt x="222" y="126"/>
                  </a:lnTo>
                  <a:lnTo>
                    <a:pt x="222" y="132"/>
                  </a:lnTo>
                  <a:lnTo>
                    <a:pt x="228" y="138"/>
                  </a:lnTo>
                  <a:lnTo>
                    <a:pt x="228" y="144"/>
                  </a:lnTo>
                  <a:lnTo>
                    <a:pt x="228" y="150"/>
                  </a:lnTo>
                  <a:lnTo>
                    <a:pt x="234" y="150"/>
                  </a:lnTo>
                  <a:lnTo>
                    <a:pt x="234" y="144"/>
                  </a:lnTo>
                  <a:lnTo>
                    <a:pt x="240" y="144"/>
                  </a:lnTo>
                  <a:lnTo>
                    <a:pt x="246" y="144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58" y="126"/>
                  </a:lnTo>
                  <a:lnTo>
                    <a:pt x="258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76" y="96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6" y="72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36"/>
                  </a:lnTo>
                  <a:lnTo>
                    <a:pt x="330" y="24"/>
                  </a:lnTo>
                  <a:lnTo>
                    <a:pt x="330" y="18"/>
                  </a:lnTo>
                  <a:lnTo>
                    <a:pt x="330" y="12"/>
                  </a:lnTo>
                  <a:lnTo>
                    <a:pt x="336" y="6"/>
                  </a:lnTo>
                  <a:lnTo>
                    <a:pt x="366" y="0"/>
                  </a:lnTo>
                  <a:lnTo>
                    <a:pt x="372" y="6"/>
                  </a:lnTo>
                  <a:lnTo>
                    <a:pt x="384" y="12"/>
                  </a:lnTo>
                  <a:lnTo>
                    <a:pt x="402" y="12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18"/>
                  </a:lnTo>
                  <a:lnTo>
                    <a:pt x="420" y="18"/>
                  </a:lnTo>
                  <a:lnTo>
                    <a:pt x="426" y="24"/>
                  </a:lnTo>
                  <a:lnTo>
                    <a:pt x="432" y="30"/>
                  </a:lnTo>
                  <a:lnTo>
                    <a:pt x="438" y="36"/>
                  </a:lnTo>
                  <a:lnTo>
                    <a:pt x="444" y="42"/>
                  </a:lnTo>
                  <a:lnTo>
                    <a:pt x="450" y="42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16" y="78"/>
                  </a:lnTo>
                  <a:lnTo>
                    <a:pt x="522" y="102"/>
                  </a:lnTo>
                  <a:lnTo>
                    <a:pt x="522" y="108"/>
                  </a:lnTo>
                  <a:lnTo>
                    <a:pt x="528" y="126"/>
                  </a:lnTo>
                  <a:lnTo>
                    <a:pt x="534" y="126"/>
                  </a:lnTo>
                  <a:lnTo>
                    <a:pt x="540" y="120"/>
                  </a:lnTo>
                  <a:lnTo>
                    <a:pt x="546" y="126"/>
                  </a:lnTo>
                  <a:lnTo>
                    <a:pt x="552" y="126"/>
                  </a:lnTo>
                  <a:lnTo>
                    <a:pt x="558" y="132"/>
                  </a:lnTo>
                  <a:lnTo>
                    <a:pt x="564" y="138"/>
                  </a:lnTo>
                  <a:lnTo>
                    <a:pt x="570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594" y="168"/>
                  </a:lnTo>
                  <a:lnTo>
                    <a:pt x="600" y="174"/>
                  </a:lnTo>
                  <a:lnTo>
                    <a:pt x="606" y="180"/>
                  </a:lnTo>
                  <a:lnTo>
                    <a:pt x="606" y="186"/>
                  </a:lnTo>
                  <a:lnTo>
                    <a:pt x="612" y="192"/>
                  </a:lnTo>
                  <a:lnTo>
                    <a:pt x="612" y="198"/>
                  </a:lnTo>
                  <a:lnTo>
                    <a:pt x="624" y="204"/>
                  </a:lnTo>
                  <a:lnTo>
                    <a:pt x="624" y="210"/>
                  </a:lnTo>
                  <a:lnTo>
                    <a:pt x="630" y="216"/>
                  </a:lnTo>
                  <a:lnTo>
                    <a:pt x="636" y="222"/>
                  </a:lnTo>
                  <a:lnTo>
                    <a:pt x="636" y="228"/>
                  </a:lnTo>
                  <a:lnTo>
                    <a:pt x="636" y="234"/>
                  </a:lnTo>
                  <a:lnTo>
                    <a:pt x="636" y="252"/>
                  </a:lnTo>
                  <a:lnTo>
                    <a:pt x="636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42" y="276"/>
                  </a:lnTo>
                  <a:lnTo>
                    <a:pt x="642" y="282"/>
                  </a:lnTo>
                  <a:lnTo>
                    <a:pt x="642" y="288"/>
                  </a:lnTo>
                  <a:lnTo>
                    <a:pt x="642" y="300"/>
                  </a:lnTo>
                  <a:lnTo>
                    <a:pt x="642" y="306"/>
                  </a:lnTo>
                  <a:lnTo>
                    <a:pt x="636" y="312"/>
                  </a:lnTo>
                  <a:lnTo>
                    <a:pt x="636" y="324"/>
                  </a:lnTo>
                  <a:lnTo>
                    <a:pt x="636" y="342"/>
                  </a:lnTo>
                  <a:lnTo>
                    <a:pt x="630" y="354"/>
                  </a:lnTo>
                  <a:lnTo>
                    <a:pt x="630" y="366"/>
                  </a:lnTo>
                  <a:lnTo>
                    <a:pt x="624" y="378"/>
                  </a:lnTo>
                  <a:lnTo>
                    <a:pt x="624" y="384"/>
                  </a:lnTo>
                  <a:lnTo>
                    <a:pt x="636" y="396"/>
                  </a:lnTo>
                  <a:lnTo>
                    <a:pt x="636" y="402"/>
                  </a:lnTo>
                  <a:lnTo>
                    <a:pt x="636" y="408"/>
                  </a:lnTo>
                  <a:lnTo>
                    <a:pt x="630" y="414"/>
                  </a:lnTo>
                  <a:lnTo>
                    <a:pt x="630" y="420"/>
                  </a:lnTo>
                  <a:lnTo>
                    <a:pt x="630" y="426"/>
                  </a:lnTo>
                  <a:lnTo>
                    <a:pt x="630" y="432"/>
                  </a:lnTo>
                  <a:lnTo>
                    <a:pt x="624" y="438"/>
                  </a:lnTo>
                  <a:lnTo>
                    <a:pt x="624" y="444"/>
                  </a:lnTo>
                  <a:lnTo>
                    <a:pt x="624" y="450"/>
                  </a:lnTo>
                  <a:lnTo>
                    <a:pt x="630" y="450"/>
                  </a:lnTo>
                  <a:lnTo>
                    <a:pt x="630" y="456"/>
                  </a:lnTo>
                  <a:lnTo>
                    <a:pt x="630" y="462"/>
                  </a:lnTo>
                  <a:lnTo>
                    <a:pt x="636" y="468"/>
                  </a:lnTo>
                  <a:lnTo>
                    <a:pt x="642" y="456"/>
                  </a:lnTo>
                  <a:lnTo>
                    <a:pt x="642" y="450"/>
                  </a:lnTo>
                  <a:lnTo>
                    <a:pt x="648" y="450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60" y="444"/>
                  </a:lnTo>
                  <a:lnTo>
                    <a:pt x="666" y="450"/>
                  </a:lnTo>
                  <a:lnTo>
                    <a:pt x="672" y="444"/>
                  </a:lnTo>
                  <a:lnTo>
                    <a:pt x="678" y="444"/>
                  </a:lnTo>
                  <a:lnTo>
                    <a:pt x="684" y="438"/>
                  </a:lnTo>
                  <a:lnTo>
                    <a:pt x="690" y="438"/>
                  </a:lnTo>
                  <a:lnTo>
                    <a:pt x="696" y="438"/>
                  </a:lnTo>
                  <a:lnTo>
                    <a:pt x="702" y="444"/>
                  </a:lnTo>
                  <a:lnTo>
                    <a:pt x="702" y="450"/>
                  </a:lnTo>
                  <a:lnTo>
                    <a:pt x="708" y="450"/>
                  </a:lnTo>
                  <a:lnTo>
                    <a:pt x="708" y="456"/>
                  </a:lnTo>
                  <a:lnTo>
                    <a:pt x="708" y="462"/>
                  </a:lnTo>
                  <a:lnTo>
                    <a:pt x="708" y="468"/>
                  </a:lnTo>
                  <a:lnTo>
                    <a:pt x="708" y="504"/>
                  </a:lnTo>
                  <a:lnTo>
                    <a:pt x="696" y="564"/>
                  </a:lnTo>
                  <a:lnTo>
                    <a:pt x="696" y="582"/>
                  </a:lnTo>
                  <a:lnTo>
                    <a:pt x="696" y="600"/>
                  </a:lnTo>
                  <a:lnTo>
                    <a:pt x="690" y="606"/>
                  </a:lnTo>
                  <a:lnTo>
                    <a:pt x="684" y="606"/>
                  </a:lnTo>
                  <a:lnTo>
                    <a:pt x="690" y="612"/>
                  </a:lnTo>
                  <a:lnTo>
                    <a:pt x="684" y="612"/>
                  </a:lnTo>
                  <a:lnTo>
                    <a:pt x="678" y="618"/>
                  </a:lnTo>
                  <a:lnTo>
                    <a:pt x="672" y="624"/>
                  </a:lnTo>
                  <a:lnTo>
                    <a:pt x="666" y="630"/>
                  </a:lnTo>
                  <a:lnTo>
                    <a:pt x="660" y="636"/>
                  </a:lnTo>
                  <a:lnTo>
                    <a:pt x="672" y="636"/>
                  </a:lnTo>
                  <a:lnTo>
                    <a:pt x="678" y="642"/>
                  </a:lnTo>
                  <a:lnTo>
                    <a:pt x="678" y="648"/>
                  </a:lnTo>
                  <a:lnTo>
                    <a:pt x="684" y="654"/>
                  </a:lnTo>
                  <a:lnTo>
                    <a:pt x="690" y="666"/>
                  </a:lnTo>
                  <a:lnTo>
                    <a:pt x="690" y="672"/>
                  </a:lnTo>
                  <a:lnTo>
                    <a:pt x="696" y="672"/>
                  </a:lnTo>
                  <a:lnTo>
                    <a:pt x="696" y="684"/>
                  </a:lnTo>
                  <a:lnTo>
                    <a:pt x="708" y="690"/>
                  </a:lnTo>
                  <a:lnTo>
                    <a:pt x="720" y="696"/>
                  </a:lnTo>
                  <a:lnTo>
                    <a:pt x="726" y="696"/>
                  </a:lnTo>
                  <a:lnTo>
                    <a:pt x="732" y="696"/>
                  </a:lnTo>
                  <a:lnTo>
                    <a:pt x="738" y="696"/>
                  </a:lnTo>
                  <a:lnTo>
                    <a:pt x="738" y="702"/>
                  </a:lnTo>
                  <a:lnTo>
                    <a:pt x="738" y="708"/>
                  </a:lnTo>
                  <a:lnTo>
                    <a:pt x="738" y="714"/>
                  </a:lnTo>
                  <a:lnTo>
                    <a:pt x="744" y="714"/>
                  </a:lnTo>
                  <a:lnTo>
                    <a:pt x="756" y="720"/>
                  </a:lnTo>
                  <a:lnTo>
                    <a:pt x="780" y="726"/>
                  </a:lnTo>
                  <a:lnTo>
                    <a:pt x="792" y="732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22" y="774"/>
                  </a:lnTo>
                  <a:lnTo>
                    <a:pt x="834" y="786"/>
                  </a:lnTo>
                  <a:lnTo>
                    <a:pt x="834" y="792"/>
                  </a:lnTo>
                  <a:lnTo>
                    <a:pt x="834" y="798"/>
                  </a:lnTo>
                  <a:lnTo>
                    <a:pt x="828" y="798"/>
                  </a:lnTo>
                  <a:lnTo>
                    <a:pt x="828" y="804"/>
                  </a:lnTo>
                  <a:lnTo>
                    <a:pt x="834" y="816"/>
                  </a:lnTo>
                  <a:lnTo>
                    <a:pt x="834" y="834"/>
                  </a:lnTo>
                  <a:lnTo>
                    <a:pt x="834" y="840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34" y="858"/>
                  </a:lnTo>
                  <a:lnTo>
                    <a:pt x="834" y="864"/>
                  </a:lnTo>
                  <a:lnTo>
                    <a:pt x="834" y="876"/>
                  </a:lnTo>
                  <a:lnTo>
                    <a:pt x="828" y="960"/>
                  </a:lnTo>
                  <a:lnTo>
                    <a:pt x="816" y="966"/>
                  </a:lnTo>
                  <a:lnTo>
                    <a:pt x="798" y="972"/>
                  </a:lnTo>
                  <a:lnTo>
                    <a:pt x="786" y="990"/>
                  </a:lnTo>
                  <a:lnTo>
                    <a:pt x="774" y="990"/>
                  </a:lnTo>
                  <a:lnTo>
                    <a:pt x="762" y="1008"/>
                  </a:lnTo>
                  <a:lnTo>
                    <a:pt x="732" y="1014"/>
                  </a:lnTo>
                  <a:lnTo>
                    <a:pt x="714" y="1026"/>
                  </a:lnTo>
                  <a:lnTo>
                    <a:pt x="690" y="1050"/>
                  </a:lnTo>
                  <a:lnTo>
                    <a:pt x="654" y="1056"/>
                  </a:lnTo>
                  <a:lnTo>
                    <a:pt x="630" y="1056"/>
                  </a:lnTo>
                  <a:lnTo>
                    <a:pt x="606" y="1068"/>
                  </a:lnTo>
                  <a:lnTo>
                    <a:pt x="600" y="1092"/>
                  </a:lnTo>
                  <a:lnTo>
                    <a:pt x="600" y="1098"/>
                  </a:lnTo>
                  <a:lnTo>
                    <a:pt x="588" y="1104"/>
                  </a:lnTo>
                  <a:lnTo>
                    <a:pt x="582" y="1104"/>
                  </a:lnTo>
                  <a:lnTo>
                    <a:pt x="570" y="1110"/>
                  </a:lnTo>
                  <a:lnTo>
                    <a:pt x="564" y="111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7" name="Freeform 12">
              <a:extLst>
                <a:ext uri="{FF2B5EF4-FFF2-40B4-BE49-F238E27FC236}">
                  <a16:creationId xmlns:a16="http://schemas.microsoft.com/office/drawing/2014/main" id="{6C93C114-E5D0-49BB-A44C-A127CE01CFE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810" y="2271838"/>
              <a:ext cx="923547" cy="845397"/>
            </a:xfrm>
            <a:custGeom>
              <a:avLst/>
              <a:gdLst>
                <a:gd name="T0" fmla="*/ 138 w 1740"/>
                <a:gd name="T1" fmla="*/ 134 h 1590"/>
                <a:gd name="T2" fmla="*/ 128 w 1740"/>
                <a:gd name="T3" fmla="*/ 131 h 1590"/>
                <a:gd name="T4" fmla="*/ 121 w 1740"/>
                <a:gd name="T5" fmla="*/ 130 h 1590"/>
                <a:gd name="T6" fmla="*/ 119 w 1740"/>
                <a:gd name="T7" fmla="*/ 134 h 1590"/>
                <a:gd name="T8" fmla="*/ 110 w 1740"/>
                <a:gd name="T9" fmla="*/ 132 h 1590"/>
                <a:gd name="T10" fmla="*/ 111 w 1740"/>
                <a:gd name="T11" fmla="*/ 127 h 1590"/>
                <a:gd name="T12" fmla="*/ 103 w 1740"/>
                <a:gd name="T13" fmla="*/ 117 h 1590"/>
                <a:gd name="T14" fmla="*/ 93 w 1740"/>
                <a:gd name="T15" fmla="*/ 123 h 1590"/>
                <a:gd name="T16" fmla="*/ 80 w 1740"/>
                <a:gd name="T17" fmla="*/ 118 h 1590"/>
                <a:gd name="T18" fmla="*/ 66 w 1740"/>
                <a:gd name="T19" fmla="*/ 117 h 1590"/>
                <a:gd name="T20" fmla="*/ 66 w 1740"/>
                <a:gd name="T21" fmla="*/ 110 h 1590"/>
                <a:gd name="T22" fmla="*/ 69 w 1740"/>
                <a:gd name="T23" fmla="*/ 107 h 1590"/>
                <a:gd name="T24" fmla="*/ 68 w 1740"/>
                <a:gd name="T25" fmla="*/ 102 h 1590"/>
                <a:gd name="T26" fmla="*/ 68 w 1740"/>
                <a:gd name="T27" fmla="*/ 96 h 1590"/>
                <a:gd name="T28" fmla="*/ 67 w 1740"/>
                <a:gd name="T29" fmla="*/ 82 h 1590"/>
                <a:gd name="T30" fmla="*/ 58 w 1740"/>
                <a:gd name="T31" fmla="*/ 82 h 1590"/>
                <a:gd name="T32" fmla="*/ 52 w 1740"/>
                <a:gd name="T33" fmla="*/ 82 h 1590"/>
                <a:gd name="T34" fmla="*/ 46 w 1740"/>
                <a:gd name="T35" fmla="*/ 80 h 1590"/>
                <a:gd name="T36" fmla="*/ 45 w 1740"/>
                <a:gd name="T37" fmla="*/ 74 h 1590"/>
                <a:gd name="T38" fmla="*/ 52 w 1740"/>
                <a:gd name="T39" fmla="*/ 70 h 1590"/>
                <a:gd name="T40" fmla="*/ 52 w 1740"/>
                <a:gd name="T41" fmla="*/ 64 h 1590"/>
                <a:gd name="T42" fmla="*/ 42 w 1740"/>
                <a:gd name="T43" fmla="*/ 53 h 1590"/>
                <a:gd name="T44" fmla="*/ 35 w 1740"/>
                <a:gd name="T45" fmla="*/ 52 h 1590"/>
                <a:gd name="T46" fmla="*/ 20 w 1740"/>
                <a:gd name="T47" fmla="*/ 51 h 1590"/>
                <a:gd name="T48" fmla="*/ 17 w 1740"/>
                <a:gd name="T49" fmla="*/ 56 h 1590"/>
                <a:gd name="T50" fmla="*/ 11 w 1740"/>
                <a:gd name="T51" fmla="*/ 61 h 1590"/>
                <a:gd name="T52" fmla="*/ 7 w 1740"/>
                <a:gd name="T53" fmla="*/ 63 h 1590"/>
                <a:gd name="T54" fmla="*/ 0 w 1740"/>
                <a:gd name="T55" fmla="*/ 55 h 1590"/>
                <a:gd name="T56" fmla="*/ 2 w 1740"/>
                <a:gd name="T57" fmla="*/ 50 h 1590"/>
                <a:gd name="T58" fmla="*/ 0 w 1740"/>
                <a:gd name="T59" fmla="*/ 44 h 1590"/>
                <a:gd name="T60" fmla="*/ 2 w 1740"/>
                <a:gd name="T61" fmla="*/ 38 h 1590"/>
                <a:gd name="T62" fmla="*/ 7 w 1740"/>
                <a:gd name="T63" fmla="*/ 35 h 1590"/>
                <a:gd name="T64" fmla="*/ 11 w 1740"/>
                <a:gd name="T65" fmla="*/ 30 h 1590"/>
                <a:gd name="T66" fmla="*/ 21 w 1740"/>
                <a:gd name="T67" fmla="*/ 26 h 1590"/>
                <a:gd name="T68" fmla="*/ 29 w 1740"/>
                <a:gd name="T69" fmla="*/ 25 h 1590"/>
                <a:gd name="T70" fmla="*/ 35 w 1740"/>
                <a:gd name="T71" fmla="*/ 21 h 1590"/>
                <a:gd name="T72" fmla="*/ 36 w 1740"/>
                <a:gd name="T73" fmla="*/ 16 h 1590"/>
                <a:gd name="T74" fmla="*/ 41 w 1740"/>
                <a:gd name="T75" fmla="*/ 11 h 1590"/>
                <a:gd name="T76" fmla="*/ 51 w 1740"/>
                <a:gd name="T77" fmla="*/ 9 h 1590"/>
                <a:gd name="T78" fmla="*/ 59 w 1740"/>
                <a:gd name="T79" fmla="*/ 21 h 1590"/>
                <a:gd name="T80" fmla="*/ 65 w 1740"/>
                <a:gd name="T81" fmla="*/ 13 h 1590"/>
                <a:gd name="T82" fmla="*/ 73 w 1740"/>
                <a:gd name="T83" fmla="*/ 8 h 1590"/>
                <a:gd name="T84" fmla="*/ 82 w 1740"/>
                <a:gd name="T85" fmla="*/ 12 h 1590"/>
                <a:gd name="T86" fmla="*/ 88 w 1740"/>
                <a:gd name="T87" fmla="*/ 12 h 1590"/>
                <a:gd name="T88" fmla="*/ 99 w 1740"/>
                <a:gd name="T89" fmla="*/ 7 h 1590"/>
                <a:gd name="T90" fmla="*/ 114 w 1740"/>
                <a:gd name="T91" fmla="*/ 0 h 1590"/>
                <a:gd name="T92" fmla="*/ 117 w 1740"/>
                <a:gd name="T93" fmla="*/ 10 h 1590"/>
                <a:gd name="T94" fmla="*/ 132 w 1740"/>
                <a:gd name="T95" fmla="*/ 17 h 1590"/>
                <a:gd name="T96" fmla="*/ 140 w 1740"/>
                <a:gd name="T97" fmla="*/ 25 h 1590"/>
                <a:gd name="T98" fmla="*/ 140 w 1740"/>
                <a:gd name="T99" fmla="*/ 33 h 1590"/>
                <a:gd name="T100" fmla="*/ 140 w 1740"/>
                <a:gd name="T101" fmla="*/ 44 h 1590"/>
                <a:gd name="T102" fmla="*/ 138 w 1740"/>
                <a:gd name="T103" fmla="*/ 48 h 1590"/>
                <a:gd name="T104" fmla="*/ 141 w 1740"/>
                <a:gd name="T105" fmla="*/ 49 h 1590"/>
                <a:gd name="T106" fmla="*/ 146 w 1740"/>
                <a:gd name="T107" fmla="*/ 50 h 1590"/>
                <a:gd name="T108" fmla="*/ 149 w 1740"/>
                <a:gd name="T109" fmla="*/ 59 h 1590"/>
                <a:gd name="T110" fmla="*/ 148 w 1740"/>
                <a:gd name="T111" fmla="*/ 67 h 1590"/>
                <a:gd name="T112" fmla="*/ 141 w 1740"/>
                <a:gd name="T113" fmla="*/ 78 h 1590"/>
                <a:gd name="T114" fmla="*/ 141 w 1740"/>
                <a:gd name="T115" fmla="*/ 91 h 1590"/>
                <a:gd name="T116" fmla="*/ 138 w 1740"/>
                <a:gd name="T117" fmla="*/ 102 h 1590"/>
                <a:gd name="T118" fmla="*/ 138 w 1740"/>
                <a:gd name="T119" fmla="*/ 110 h 1590"/>
                <a:gd name="T120" fmla="*/ 144 w 1740"/>
                <a:gd name="T121" fmla="*/ 118 h 1590"/>
                <a:gd name="T122" fmla="*/ 143 w 1740"/>
                <a:gd name="T123" fmla="*/ 125 h 159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740"/>
                <a:gd name="T187" fmla="*/ 0 h 1590"/>
                <a:gd name="T188" fmla="*/ 1740 w 1740"/>
                <a:gd name="T189" fmla="*/ 1590 h 159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740" h="1590">
                  <a:moveTo>
                    <a:pt x="1638" y="1458"/>
                  </a:moveTo>
                  <a:lnTo>
                    <a:pt x="1638" y="1482"/>
                  </a:lnTo>
                  <a:lnTo>
                    <a:pt x="1638" y="1500"/>
                  </a:lnTo>
                  <a:lnTo>
                    <a:pt x="1626" y="1500"/>
                  </a:lnTo>
                  <a:lnTo>
                    <a:pt x="1620" y="1500"/>
                  </a:lnTo>
                  <a:lnTo>
                    <a:pt x="1614" y="1500"/>
                  </a:lnTo>
                  <a:lnTo>
                    <a:pt x="1614" y="1506"/>
                  </a:lnTo>
                  <a:lnTo>
                    <a:pt x="1614" y="1512"/>
                  </a:lnTo>
                  <a:lnTo>
                    <a:pt x="1620" y="1518"/>
                  </a:lnTo>
                  <a:lnTo>
                    <a:pt x="1614" y="1524"/>
                  </a:lnTo>
                  <a:lnTo>
                    <a:pt x="1590" y="1536"/>
                  </a:lnTo>
                  <a:lnTo>
                    <a:pt x="1584" y="1566"/>
                  </a:lnTo>
                  <a:lnTo>
                    <a:pt x="1578" y="1590"/>
                  </a:lnTo>
                  <a:lnTo>
                    <a:pt x="1548" y="1590"/>
                  </a:lnTo>
                  <a:lnTo>
                    <a:pt x="1542" y="1584"/>
                  </a:lnTo>
                  <a:lnTo>
                    <a:pt x="1542" y="1572"/>
                  </a:lnTo>
                  <a:lnTo>
                    <a:pt x="1536" y="1566"/>
                  </a:lnTo>
                  <a:lnTo>
                    <a:pt x="1536" y="1554"/>
                  </a:lnTo>
                  <a:lnTo>
                    <a:pt x="1536" y="1548"/>
                  </a:lnTo>
                  <a:lnTo>
                    <a:pt x="1506" y="1530"/>
                  </a:lnTo>
                  <a:lnTo>
                    <a:pt x="1488" y="1506"/>
                  </a:lnTo>
                  <a:lnTo>
                    <a:pt x="1464" y="1500"/>
                  </a:lnTo>
                  <a:lnTo>
                    <a:pt x="1470" y="1494"/>
                  </a:lnTo>
                  <a:lnTo>
                    <a:pt x="1470" y="1488"/>
                  </a:lnTo>
                  <a:lnTo>
                    <a:pt x="1470" y="1482"/>
                  </a:lnTo>
                  <a:lnTo>
                    <a:pt x="1428" y="1464"/>
                  </a:lnTo>
                  <a:lnTo>
                    <a:pt x="1404" y="1470"/>
                  </a:lnTo>
                  <a:lnTo>
                    <a:pt x="1398" y="1470"/>
                  </a:lnTo>
                  <a:lnTo>
                    <a:pt x="1392" y="1476"/>
                  </a:lnTo>
                  <a:lnTo>
                    <a:pt x="1386" y="1476"/>
                  </a:lnTo>
                  <a:lnTo>
                    <a:pt x="1386" y="1482"/>
                  </a:lnTo>
                  <a:lnTo>
                    <a:pt x="1392" y="1482"/>
                  </a:lnTo>
                  <a:lnTo>
                    <a:pt x="1386" y="1488"/>
                  </a:lnTo>
                  <a:lnTo>
                    <a:pt x="1386" y="1494"/>
                  </a:lnTo>
                  <a:lnTo>
                    <a:pt x="1380" y="1494"/>
                  </a:lnTo>
                  <a:lnTo>
                    <a:pt x="1380" y="1500"/>
                  </a:lnTo>
                  <a:lnTo>
                    <a:pt x="1380" y="1512"/>
                  </a:lnTo>
                  <a:lnTo>
                    <a:pt x="1380" y="1518"/>
                  </a:lnTo>
                  <a:lnTo>
                    <a:pt x="1380" y="1524"/>
                  </a:lnTo>
                  <a:lnTo>
                    <a:pt x="1380" y="1530"/>
                  </a:lnTo>
                  <a:lnTo>
                    <a:pt x="1374" y="1536"/>
                  </a:lnTo>
                  <a:lnTo>
                    <a:pt x="1374" y="1542"/>
                  </a:lnTo>
                  <a:lnTo>
                    <a:pt x="1368" y="1542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44" y="1554"/>
                  </a:lnTo>
                  <a:lnTo>
                    <a:pt x="1332" y="1560"/>
                  </a:lnTo>
                  <a:lnTo>
                    <a:pt x="1302" y="1554"/>
                  </a:lnTo>
                  <a:lnTo>
                    <a:pt x="1290" y="1554"/>
                  </a:lnTo>
                  <a:lnTo>
                    <a:pt x="1278" y="1542"/>
                  </a:lnTo>
                  <a:lnTo>
                    <a:pt x="1272" y="1530"/>
                  </a:lnTo>
                  <a:lnTo>
                    <a:pt x="1272" y="1524"/>
                  </a:lnTo>
                  <a:lnTo>
                    <a:pt x="1272" y="1518"/>
                  </a:lnTo>
                  <a:lnTo>
                    <a:pt x="1266" y="1518"/>
                  </a:lnTo>
                  <a:lnTo>
                    <a:pt x="1266" y="1512"/>
                  </a:lnTo>
                  <a:lnTo>
                    <a:pt x="1266" y="1506"/>
                  </a:lnTo>
                  <a:lnTo>
                    <a:pt x="1272" y="1506"/>
                  </a:lnTo>
                  <a:lnTo>
                    <a:pt x="1272" y="1500"/>
                  </a:lnTo>
                  <a:lnTo>
                    <a:pt x="1278" y="1500"/>
                  </a:lnTo>
                  <a:lnTo>
                    <a:pt x="1278" y="1494"/>
                  </a:lnTo>
                  <a:lnTo>
                    <a:pt x="1278" y="1488"/>
                  </a:lnTo>
                  <a:lnTo>
                    <a:pt x="1284" y="1488"/>
                  </a:lnTo>
                  <a:lnTo>
                    <a:pt x="1284" y="1482"/>
                  </a:lnTo>
                  <a:lnTo>
                    <a:pt x="1290" y="1476"/>
                  </a:lnTo>
                  <a:lnTo>
                    <a:pt x="1284" y="1470"/>
                  </a:lnTo>
                  <a:lnTo>
                    <a:pt x="1278" y="1458"/>
                  </a:lnTo>
                  <a:lnTo>
                    <a:pt x="1278" y="1452"/>
                  </a:lnTo>
                  <a:lnTo>
                    <a:pt x="1260" y="1428"/>
                  </a:lnTo>
                  <a:lnTo>
                    <a:pt x="1254" y="1416"/>
                  </a:lnTo>
                  <a:lnTo>
                    <a:pt x="1254" y="1410"/>
                  </a:lnTo>
                  <a:lnTo>
                    <a:pt x="1248" y="1398"/>
                  </a:lnTo>
                  <a:lnTo>
                    <a:pt x="1242" y="1398"/>
                  </a:lnTo>
                  <a:lnTo>
                    <a:pt x="1236" y="1398"/>
                  </a:lnTo>
                  <a:lnTo>
                    <a:pt x="1218" y="1386"/>
                  </a:lnTo>
                  <a:lnTo>
                    <a:pt x="1212" y="1362"/>
                  </a:lnTo>
                  <a:lnTo>
                    <a:pt x="1200" y="1344"/>
                  </a:lnTo>
                  <a:lnTo>
                    <a:pt x="1188" y="1338"/>
                  </a:lnTo>
                  <a:lnTo>
                    <a:pt x="1164" y="1338"/>
                  </a:lnTo>
                  <a:lnTo>
                    <a:pt x="1158" y="1344"/>
                  </a:lnTo>
                  <a:lnTo>
                    <a:pt x="1152" y="1350"/>
                  </a:lnTo>
                  <a:lnTo>
                    <a:pt x="1152" y="1356"/>
                  </a:lnTo>
                  <a:lnTo>
                    <a:pt x="1140" y="1362"/>
                  </a:lnTo>
                  <a:lnTo>
                    <a:pt x="1134" y="1380"/>
                  </a:lnTo>
                  <a:lnTo>
                    <a:pt x="1116" y="1398"/>
                  </a:lnTo>
                  <a:lnTo>
                    <a:pt x="1110" y="1416"/>
                  </a:lnTo>
                  <a:lnTo>
                    <a:pt x="1086" y="1416"/>
                  </a:lnTo>
                  <a:lnTo>
                    <a:pt x="1080" y="1410"/>
                  </a:lnTo>
                  <a:lnTo>
                    <a:pt x="1074" y="1410"/>
                  </a:lnTo>
                  <a:lnTo>
                    <a:pt x="1074" y="1404"/>
                  </a:lnTo>
                  <a:lnTo>
                    <a:pt x="1062" y="1404"/>
                  </a:lnTo>
                  <a:lnTo>
                    <a:pt x="1062" y="1380"/>
                  </a:lnTo>
                  <a:lnTo>
                    <a:pt x="1038" y="1380"/>
                  </a:lnTo>
                  <a:lnTo>
                    <a:pt x="1026" y="1350"/>
                  </a:lnTo>
                  <a:lnTo>
                    <a:pt x="996" y="1326"/>
                  </a:lnTo>
                  <a:lnTo>
                    <a:pt x="966" y="1314"/>
                  </a:lnTo>
                  <a:lnTo>
                    <a:pt x="954" y="1320"/>
                  </a:lnTo>
                  <a:lnTo>
                    <a:pt x="942" y="1338"/>
                  </a:lnTo>
                  <a:lnTo>
                    <a:pt x="930" y="1338"/>
                  </a:lnTo>
                  <a:lnTo>
                    <a:pt x="924" y="1350"/>
                  </a:lnTo>
                  <a:lnTo>
                    <a:pt x="906" y="1356"/>
                  </a:lnTo>
                  <a:lnTo>
                    <a:pt x="846" y="1356"/>
                  </a:lnTo>
                  <a:lnTo>
                    <a:pt x="834" y="1368"/>
                  </a:lnTo>
                  <a:lnTo>
                    <a:pt x="810" y="1362"/>
                  </a:lnTo>
                  <a:lnTo>
                    <a:pt x="792" y="1362"/>
                  </a:lnTo>
                  <a:lnTo>
                    <a:pt x="780" y="1368"/>
                  </a:lnTo>
                  <a:lnTo>
                    <a:pt x="762" y="1368"/>
                  </a:lnTo>
                  <a:lnTo>
                    <a:pt x="762" y="1362"/>
                  </a:lnTo>
                  <a:lnTo>
                    <a:pt x="750" y="1362"/>
                  </a:lnTo>
                  <a:lnTo>
                    <a:pt x="750" y="1338"/>
                  </a:lnTo>
                  <a:lnTo>
                    <a:pt x="762" y="1338"/>
                  </a:lnTo>
                  <a:lnTo>
                    <a:pt x="762" y="1326"/>
                  </a:lnTo>
                  <a:lnTo>
                    <a:pt x="762" y="1314"/>
                  </a:lnTo>
                  <a:lnTo>
                    <a:pt x="732" y="1314"/>
                  </a:lnTo>
                  <a:lnTo>
                    <a:pt x="726" y="1308"/>
                  </a:lnTo>
                  <a:lnTo>
                    <a:pt x="732" y="1284"/>
                  </a:lnTo>
                  <a:lnTo>
                    <a:pt x="732" y="1278"/>
                  </a:lnTo>
                  <a:lnTo>
                    <a:pt x="738" y="1272"/>
                  </a:lnTo>
                  <a:lnTo>
                    <a:pt x="738" y="1266"/>
                  </a:lnTo>
                  <a:lnTo>
                    <a:pt x="744" y="1266"/>
                  </a:lnTo>
                  <a:lnTo>
                    <a:pt x="750" y="1272"/>
                  </a:lnTo>
                  <a:lnTo>
                    <a:pt x="756" y="1266"/>
                  </a:lnTo>
                  <a:lnTo>
                    <a:pt x="762" y="1266"/>
                  </a:lnTo>
                  <a:lnTo>
                    <a:pt x="768" y="1260"/>
                  </a:lnTo>
                  <a:lnTo>
                    <a:pt x="774" y="1260"/>
                  </a:lnTo>
                  <a:lnTo>
                    <a:pt x="780" y="1254"/>
                  </a:lnTo>
                  <a:lnTo>
                    <a:pt x="774" y="1254"/>
                  </a:lnTo>
                  <a:lnTo>
                    <a:pt x="768" y="1254"/>
                  </a:lnTo>
                  <a:lnTo>
                    <a:pt x="774" y="1248"/>
                  </a:lnTo>
                  <a:lnTo>
                    <a:pt x="774" y="1242"/>
                  </a:lnTo>
                  <a:lnTo>
                    <a:pt x="780" y="1236"/>
                  </a:lnTo>
                  <a:lnTo>
                    <a:pt x="786" y="1236"/>
                  </a:lnTo>
                  <a:lnTo>
                    <a:pt x="792" y="1230"/>
                  </a:lnTo>
                  <a:lnTo>
                    <a:pt x="792" y="1236"/>
                  </a:lnTo>
                  <a:lnTo>
                    <a:pt x="798" y="1236"/>
                  </a:lnTo>
                  <a:lnTo>
                    <a:pt x="798" y="1230"/>
                  </a:lnTo>
                  <a:lnTo>
                    <a:pt x="804" y="1230"/>
                  </a:lnTo>
                  <a:lnTo>
                    <a:pt x="804" y="1218"/>
                  </a:lnTo>
                  <a:lnTo>
                    <a:pt x="804" y="1206"/>
                  </a:lnTo>
                  <a:lnTo>
                    <a:pt x="792" y="1188"/>
                  </a:lnTo>
                  <a:lnTo>
                    <a:pt x="768" y="1182"/>
                  </a:lnTo>
                  <a:lnTo>
                    <a:pt x="768" y="1170"/>
                  </a:lnTo>
                  <a:lnTo>
                    <a:pt x="774" y="1170"/>
                  </a:lnTo>
                  <a:lnTo>
                    <a:pt x="780" y="1170"/>
                  </a:lnTo>
                  <a:lnTo>
                    <a:pt x="786" y="1170"/>
                  </a:lnTo>
                  <a:lnTo>
                    <a:pt x="780" y="1152"/>
                  </a:lnTo>
                  <a:lnTo>
                    <a:pt x="780" y="1146"/>
                  </a:lnTo>
                  <a:lnTo>
                    <a:pt x="744" y="1140"/>
                  </a:lnTo>
                  <a:lnTo>
                    <a:pt x="732" y="1128"/>
                  </a:lnTo>
                  <a:lnTo>
                    <a:pt x="720" y="1122"/>
                  </a:lnTo>
                  <a:lnTo>
                    <a:pt x="732" y="1116"/>
                  </a:lnTo>
                  <a:lnTo>
                    <a:pt x="750" y="1104"/>
                  </a:lnTo>
                  <a:lnTo>
                    <a:pt x="756" y="1116"/>
                  </a:lnTo>
                  <a:lnTo>
                    <a:pt x="774" y="1116"/>
                  </a:lnTo>
                  <a:lnTo>
                    <a:pt x="780" y="1104"/>
                  </a:lnTo>
                  <a:lnTo>
                    <a:pt x="780" y="1080"/>
                  </a:lnTo>
                  <a:lnTo>
                    <a:pt x="786" y="1080"/>
                  </a:lnTo>
                  <a:lnTo>
                    <a:pt x="786" y="1074"/>
                  </a:lnTo>
                  <a:lnTo>
                    <a:pt x="792" y="1074"/>
                  </a:lnTo>
                  <a:lnTo>
                    <a:pt x="786" y="1068"/>
                  </a:lnTo>
                  <a:lnTo>
                    <a:pt x="786" y="1062"/>
                  </a:lnTo>
                  <a:lnTo>
                    <a:pt x="786" y="1056"/>
                  </a:lnTo>
                  <a:lnTo>
                    <a:pt x="792" y="1050"/>
                  </a:lnTo>
                  <a:lnTo>
                    <a:pt x="786" y="1020"/>
                  </a:lnTo>
                  <a:lnTo>
                    <a:pt x="780" y="960"/>
                  </a:lnTo>
                  <a:lnTo>
                    <a:pt x="768" y="942"/>
                  </a:lnTo>
                  <a:lnTo>
                    <a:pt x="732" y="936"/>
                  </a:lnTo>
                  <a:lnTo>
                    <a:pt x="732" y="942"/>
                  </a:lnTo>
                  <a:lnTo>
                    <a:pt x="726" y="942"/>
                  </a:lnTo>
                  <a:lnTo>
                    <a:pt x="720" y="936"/>
                  </a:lnTo>
                  <a:lnTo>
                    <a:pt x="714" y="942"/>
                  </a:lnTo>
                  <a:lnTo>
                    <a:pt x="708" y="942"/>
                  </a:lnTo>
                  <a:lnTo>
                    <a:pt x="702" y="942"/>
                  </a:lnTo>
                  <a:lnTo>
                    <a:pt x="690" y="936"/>
                  </a:lnTo>
                  <a:lnTo>
                    <a:pt x="684" y="936"/>
                  </a:lnTo>
                  <a:lnTo>
                    <a:pt x="678" y="936"/>
                  </a:lnTo>
                  <a:lnTo>
                    <a:pt x="672" y="936"/>
                  </a:lnTo>
                  <a:lnTo>
                    <a:pt x="666" y="942"/>
                  </a:lnTo>
                  <a:lnTo>
                    <a:pt x="660" y="942"/>
                  </a:lnTo>
                  <a:lnTo>
                    <a:pt x="654" y="942"/>
                  </a:lnTo>
                  <a:lnTo>
                    <a:pt x="648" y="942"/>
                  </a:lnTo>
                  <a:lnTo>
                    <a:pt x="642" y="936"/>
                  </a:lnTo>
                  <a:lnTo>
                    <a:pt x="636" y="936"/>
                  </a:lnTo>
                  <a:lnTo>
                    <a:pt x="630" y="930"/>
                  </a:lnTo>
                  <a:lnTo>
                    <a:pt x="618" y="930"/>
                  </a:lnTo>
                  <a:lnTo>
                    <a:pt x="612" y="930"/>
                  </a:lnTo>
                  <a:lnTo>
                    <a:pt x="606" y="936"/>
                  </a:lnTo>
                  <a:lnTo>
                    <a:pt x="600" y="942"/>
                  </a:lnTo>
                  <a:lnTo>
                    <a:pt x="600" y="936"/>
                  </a:lnTo>
                  <a:lnTo>
                    <a:pt x="594" y="930"/>
                  </a:lnTo>
                  <a:lnTo>
                    <a:pt x="588" y="930"/>
                  </a:lnTo>
                  <a:lnTo>
                    <a:pt x="582" y="930"/>
                  </a:lnTo>
                  <a:lnTo>
                    <a:pt x="576" y="930"/>
                  </a:lnTo>
                  <a:lnTo>
                    <a:pt x="564" y="936"/>
                  </a:lnTo>
                  <a:lnTo>
                    <a:pt x="558" y="936"/>
                  </a:lnTo>
                  <a:lnTo>
                    <a:pt x="546" y="924"/>
                  </a:lnTo>
                  <a:lnTo>
                    <a:pt x="540" y="924"/>
                  </a:lnTo>
                  <a:lnTo>
                    <a:pt x="534" y="918"/>
                  </a:lnTo>
                  <a:lnTo>
                    <a:pt x="528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6" y="918"/>
                  </a:lnTo>
                  <a:lnTo>
                    <a:pt x="516" y="912"/>
                  </a:lnTo>
                  <a:lnTo>
                    <a:pt x="510" y="894"/>
                  </a:lnTo>
                  <a:lnTo>
                    <a:pt x="510" y="882"/>
                  </a:lnTo>
                  <a:lnTo>
                    <a:pt x="510" y="876"/>
                  </a:lnTo>
                  <a:lnTo>
                    <a:pt x="516" y="870"/>
                  </a:lnTo>
                  <a:lnTo>
                    <a:pt x="510" y="864"/>
                  </a:lnTo>
                  <a:lnTo>
                    <a:pt x="516" y="858"/>
                  </a:lnTo>
                  <a:lnTo>
                    <a:pt x="522" y="858"/>
                  </a:lnTo>
                  <a:lnTo>
                    <a:pt x="528" y="858"/>
                  </a:lnTo>
                  <a:lnTo>
                    <a:pt x="522" y="852"/>
                  </a:lnTo>
                  <a:lnTo>
                    <a:pt x="528" y="852"/>
                  </a:lnTo>
                  <a:lnTo>
                    <a:pt x="528" y="846"/>
                  </a:lnTo>
                  <a:lnTo>
                    <a:pt x="552" y="846"/>
                  </a:lnTo>
                  <a:lnTo>
                    <a:pt x="558" y="840"/>
                  </a:lnTo>
                  <a:lnTo>
                    <a:pt x="564" y="828"/>
                  </a:lnTo>
                  <a:lnTo>
                    <a:pt x="570" y="816"/>
                  </a:lnTo>
                  <a:lnTo>
                    <a:pt x="582" y="810"/>
                  </a:lnTo>
                  <a:lnTo>
                    <a:pt x="588" y="804"/>
                  </a:lnTo>
                  <a:lnTo>
                    <a:pt x="594" y="804"/>
                  </a:lnTo>
                  <a:lnTo>
                    <a:pt x="594" y="792"/>
                  </a:lnTo>
                  <a:lnTo>
                    <a:pt x="600" y="786"/>
                  </a:lnTo>
                  <a:lnTo>
                    <a:pt x="606" y="780"/>
                  </a:lnTo>
                  <a:lnTo>
                    <a:pt x="612" y="774"/>
                  </a:lnTo>
                  <a:lnTo>
                    <a:pt x="618" y="774"/>
                  </a:lnTo>
                  <a:lnTo>
                    <a:pt x="618" y="768"/>
                  </a:lnTo>
                  <a:lnTo>
                    <a:pt x="618" y="762"/>
                  </a:lnTo>
                  <a:lnTo>
                    <a:pt x="624" y="756"/>
                  </a:lnTo>
                  <a:lnTo>
                    <a:pt x="618" y="750"/>
                  </a:lnTo>
                  <a:lnTo>
                    <a:pt x="618" y="744"/>
                  </a:lnTo>
                  <a:lnTo>
                    <a:pt x="600" y="738"/>
                  </a:lnTo>
                  <a:lnTo>
                    <a:pt x="558" y="744"/>
                  </a:lnTo>
                  <a:lnTo>
                    <a:pt x="552" y="732"/>
                  </a:lnTo>
                  <a:lnTo>
                    <a:pt x="546" y="720"/>
                  </a:lnTo>
                  <a:lnTo>
                    <a:pt x="564" y="702"/>
                  </a:lnTo>
                  <a:lnTo>
                    <a:pt x="570" y="684"/>
                  </a:lnTo>
                  <a:lnTo>
                    <a:pt x="564" y="648"/>
                  </a:lnTo>
                  <a:lnTo>
                    <a:pt x="534" y="624"/>
                  </a:lnTo>
                  <a:lnTo>
                    <a:pt x="504" y="612"/>
                  </a:lnTo>
                  <a:lnTo>
                    <a:pt x="498" y="606"/>
                  </a:lnTo>
                  <a:lnTo>
                    <a:pt x="492" y="600"/>
                  </a:lnTo>
                  <a:lnTo>
                    <a:pt x="486" y="606"/>
                  </a:lnTo>
                  <a:lnTo>
                    <a:pt x="480" y="558"/>
                  </a:lnTo>
                  <a:lnTo>
                    <a:pt x="462" y="546"/>
                  </a:lnTo>
                  <a:lnTo>
                    <a:pt x="408" y="540"/>
                  </a:lnTo>
                  <a:lnTo>
                    <a:pt x="408" y="546"/>
                  </a:lnTo>
                  <a:lnTo>
                    <a:pt x="408" y="558"/>
                  </a:lnTo>
                  <a:lnTo>
                    <a:pt x="408" y="564"/>
                  </a:lnTo>
                  <a:lnTo>
                    <a:pt x="408" y="570"/>
                  </a:lnTo>
                  <a:lnTo>
                    <a:pt x="414" y="582"/>
                  </a:lnTo>
                  <a:lnTo>
                    <a:pt x="408" y="594"/>
                  </a:lnTo>
                  <a:lnTo>
                    <a:pt x="414" y="594"/>
                  </a:lnTo>
                  <a:lnTo>
                    <a:pt x="408" y="600"/>
                  </a:lnTo>
                  <a:lnTo>
                    <a:pt x="348" y="600"/>
                  </a:lnTo>
                  <a:lnTo>
                    <a:pt x="324" y="600"/>
                  </a:lnTo>
                  <a:lnTo>
                    <a:pt x="324" y="612"/>
                  </a:lnTo>
                  <a:lnTo>
                    <a:pt x="306" y="618"/>
                  </a:lnTo>
                  <a:lnTo>
                    <a:pt x="312" y="618"/>
                  </a:lnTo>
                  <a:lnTo>
                    <a:pt x="294" y="588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76"/>
                  </a:lnTo>
                  <a:lnTo>
                    <a:pt x="240" y="582"/>
                  </a:lnTo>
                  <a:lnTo>
                    <a:pt x="234" y="582"/>
                  </a:lnTo>
                  <a:lnTo>
                    <a:pt x="228" y="588"/>
                  </a:lnTo>
                  <a:lnTo>
                    <a:pt x="222" y="588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8" y="600"/>
                  </a:lnTo>
                  <a:lnTo>
                    <a:pt x="192" y="612"/>
                  </a:lnTo>
                  <a:lnTo>
                    <a:pt x="192" y="618"/>
                  </a:lnTo>
                  <a:lnTo>
                    <a:pt x="198" y="624"/>
                  </a:lnTo>
                  <a:lnTo>
                    <a:pt x="192" y="624"/>
                  </a:lnTo>
                  <a:lnTo>
                    <a:pt x="192" y="630"/>
                  </a:lnTo>
                  <a:lnTo>
                    <a:pt x="192" y="642"/>
                  </a:lnTo>
                  <a:lnTo>
                    <a:pt x="180" y="648"/>
                  </a:lnTo>
                  <a:lnTo>
                    <a:pt x="174" y="654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6"/>
                  </a:lnTo>
                  <a:lnTo>
                    <a:pt x="156" y="672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90"/>
                  </a:lnTo>
                  <a:lnTo>
                    <a:pt x="132" y="690"/>
                  </a:lnTo>
                  <a:lnTo>
                    <a:pt x="126" y="702"/>
                  </a:lnTo>
                  <a:lnTo>
                    <a:pt x="132" y="708"/>
                  </a:lnTo>
                  <a:lnTo>
                    <a:pt x="126" y="708"/>
                  </a:lnTo>
                  <a:lnTo>
                    <a:pt x="120" y="708"/>
                  </a:lnTo>
                  <a:lnTo>
                    <a:pt x="114" y="708"/>
                  </a:lnTo>
                  <a:lnTo>
                    <a:pt x="108" y="708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78" y="720"/>
                  </a:lnTo>
                  <a:lnTo>
                    <a:pt x="72" y="720"/>
                  </a:lnTo>
                  <a:lnTo>
                    <a:pt x="66" y="720"/>
                  </a:lnTo>
                  <a:lnTo>
                    <a:pt x="54" y="732"/>
                  </a:lnTo>
                  <a:lnTo>
                    <a:pt x="48" y="702"/>
                  </a:lnTo>
                  <a:lnTo>
                    <a:pt x="36" y="666"/>
                  </a:lnTo>
                  <a:lnTo>
                    <a:pt x="0" y="660"/>
                  </a:lnTo>
                  <a:lnTo>
                    <a:pt x="6" y="660"/>
                  </a:lnTo>
                  <a:lnTo>
                    <a:pt x="6" y="654"/>
                  </a:lnTo>
                  <a:lnTo>
                    <a:pt x="6" y="648"/>
                  </a:lnTo>
                  <a:lnTo>
                    <a:pt x="6" y="642"/>
                  </a:lnTo>
                  <a:lnTo>
                    <a:pt x="6" y="624"/>
                  </a:lnTo>
                  <a:lnTo>
                    <a:pt x="6" y="612"/>
                  </a:lnTo>
                  <a:lnTo>
                    <a:pt x="6" y="606"/>
                  </a:lnTo>
                  <a:lnTo>
                    <a:pt x="12" y="612"/>
                  </a:lnTo>
                  <a:lnTo>
                    <a:pt x="18" y="606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30" y="594"/>
                  </a:lnTo>
                  <a:lnTo>
                    <a:pt x="30" y="588"/>
                  </a:lnTo>
                  <a:lnTo>
                    <a:pt x="30" y="582"/>
                  </a:lnTo>
                  <a:lnTo>
                    <a:pt x="24" y="576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18" y="558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36" y="528"/>
                  </a:lnTo>
                  <a:lnTo>
                    <a:pt x="30" y="522"/>
                  </a:lnTo>
                  <a:lnTo>
                    <a:pt x="24" y="522"/>
                  </a:lnTo>
                  <a:lnTo>
                    <a:pt x="18" y="510"/>
                  </a:lnTo>
                  <a:lnTo>
                    <a:pt x="12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8" y="474"/>
                  </a:lnTo>
                  <a:lnTo>
                    <a:pt x="12" y="468"/>
                  </a:lnTo>
                  <a:lnTo>
                    <a:pt x="12" y="462"/>
                  </a:lnTo>
                  <a:lnTo>
                    <a:pt x="18" y="456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0" y="420"/>
                  </a:lnTo>
                  <a:lnTo>
                    <a:pt x="30" y="414"/>
                  </a:lnTo>
                  <a:lnTo>
                    <a:pt x="48" y="414"/>
                  </a:lnTo>
                  <a:lnTo>
                    <a:pt x="54" y="408"/>
                  </a:lnTo>
                  <a:lnTo>
                    <a:pt x="60" y="402"/>
                  </a:lnTo>
                  <a:lnTo>
                    <a:pt x="66" y="402"/>
                  </a:lnTo>
                  <a:lnTo>
                    <a:pt x="72" y="402"/>
                  </a:lnTo>
                  <a:lnTo>
                    <a:pt x="78" y="408"/>
                  </a:lnTo>
                  <a:lnTo>
                    <a:pt x="84" y="396"/>
                  </a:lnTo>
                  <a:lnTo>
                    <a:pt x="90" y="390"/>
                  </a:lnTo>
                  <a:lnTo>
                    <a:pt x="90" y="378"/>
                  </a:lnTo>
                  <a:lnTo>
                    <a:pt x="96" y="372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8" y="354"/>
                  </a:lnTo>
                  <a:lnTo>
                    <a:pt x="114" y="348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32" y="336"/>
                  </a:lnTo>
                  <a:lnTo>
                    <a:pt x="132" y="330"/>
                  </a:lnTo>
                  <a:lnTo>
                    <a:pt x="138" y="324"/>
                  </a:lnTo>
                  <a:lnTo>
                    <a:pt x="138" y="318"/>
                  </a:lnTo>
                  <a:lnTo>
                    <a:pt x="144" y="306"/>
                  </a:lnTo>
                  <a:lnTo>
                    <a:pt x="156" y="306"/>
                  </a:lnTo>
                  <a:lnTo>
                    <a:pt x="186" y="300"/>
                  </a:lnTo>
                  <a:lnTo>
                    <a:pt x="198" y="300"/>
                  </a:lnTo>
                  <a:lnTo>
                    <a:pt x="210" y="300"/>
                  </a:lnTo>
                  <a:lnTo>
                    <a:pt x="222" y="300"/>
                  </a:lnTo>
                  <a:lnTo>
                    <a:pt x="246" y="300"/>
                  </a:lnTo>
                  <a:lnTo>
                    <a:pt x="264" y="312"/>
                  </a:lnTo>
                  <a:lnTo>
                    <a:pt x="270" y="312"/>
                  </a:lnTo>
                  <a:lnTo>
                    <a:pt x="282" y="306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300" y="306"/>
                  </a:lnTo>
                  <a:lnTo>
                    <a:pt x="312" y="306"/>
                  </a:lnTo>
                  <a:lnTo>
                    <a:pt x="318" y="300"/>
                  </a:lnTo>
                  <a:lnTo>
                    <a:pt x="324" y="300"/>
                  </a:lnTo>
                  <a:lnTo>
                    <a:pt x="330" y="294"/>
                  </a:lnTo>
                  <a:lnTo>
                    <a:pt x="336" y="288"/>
                  </a:lnTo>
                  <a:lnTo>
                    <a:pt x="354" y="288"/>
                  </a:lnTo>
                  <a:lnTo>
                    <a:pt x="360" y="288"/>
                  </a:lnTo>
                  <a:lnTo>
                    <a:pt x="366" y="282"/>
                  </a:lnTo>
                  <a:lnTo>
                    <a:pt x="372" y="282"/>
                  </a:lnTo>
                  <a:lnTo>
                    <a:pt x="378" y="282"/>
                  </a:lnTo>
                  <a:lnTo>
                    <a:pt x="384" y="276"/>
                  </a:lnTo>
                  <a:lnTo>
                    <a:pt x="384" y="270"/>
                  </a:lnTo>
                  <a:lnTo>
                    <a:pt x="390" y="264"/>
                  </a:lnTo>
                  <a:lnTo>
                    <a:pt x="402" y="258"/>
                  </a:lnTo>
                  <a:lnTo>
                    <a:pt x="402" y="252"/>
                  </a:lnTo>
                  <a:lnTo>
                    <a:pt x="402" y="246"/>
                  </a:lnTo>
                  <a:lnTo>
                    <a:pt x="408" y="234"/>
                  </a:lnTo>
                  <a:lnTo>
                    <a:pt x="414" y="234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14" y="216"/>
                  </a:lnTo>
                  <a:lnTo>
                    <a:pt x="414" y="210"/>
                  </a:lnTo>
                  <a:lnTo>
                    <a:pt x="420" y="210"/>
                  </a:lnTo>
                  <a:lnTo>
                    <a:pt x="414" y="198"/>
                  </a:lnTo>
                  <a:lnTo>
                    <a:pt x="414" y="192"/>
                  </a:lnTo>
                  <a:lnTo>
                    <a:pt x="420" y="192"/>
                  </a:lnTo>
                  <a:lnTo>
                    <a:pt x="420" y="186"/>
                  </a:lnTo>
                  <a:lnTo>
                    <a:pt x="420" y="174"/>
                  </a:lnTo>
                  <a:lnTo>
                    <a:pt x="420" y="168"/>
                  </a:lnTo>
                  <a:lnTo>
                    <a:pt x="426" y="162"/>
                  </a:lnTo>
                  <a:lnTo>
                    <a:pt x="432" y="156"/>
                  </a:lnTo>
                  <a:lnTo>
                    <a:pt x="438" y="144"/>
                  </a:lnTo>
                  <a:lnTo>
                    <a:pt x="444" y="144"/>
                  </a:lnTo>
                  <a:lnTo>
                    <a:pt x="450" y="138"/>
                  </a:lnTo>
                  <a:lnTo>
                    <a:pt x="456" y="138"/>
                  </a:lnTo>
                  <a:lnTo>
                    <a:pt x="462" y="132"/>
                  </a:lnTo>
                  <a:lnTo>
                    <a:pt x="462" y="126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0"/>
                  </a:lnTo>
                  <a:lnTo>
                    <a:pt x="486" y="108"/>
                  </a:lnTo>
                  <a:lnTo>
                    <a:pt x="492" y="108"/>
                  </a:lnTo>
                  <a:lnTo>
                    <a:pt x="498" y="102"/>
                  </a:lnTo>
                  <a:lnTo>
                    <a:pt x="504" y="96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40" y="102"/>
                  </a:lnTo>
                  <a:lnTo>
                    <a:pt x="552" y="108"/>
                  </a:lnTo>
                  <a:lnTo>
                    <a:pt x="582" y="102"/>
                  </a:lnTo>
                  <a:lnTo>
                    <a:pt x="594" y="126"/>
                  </a:lnTo>
                  <a:lnTo>
                    <a:pt x="594" y="144"/>
                  </a:lnTo>
                  <a:lnTo>
                    <a:pt x="588" y="156"/>
                  </a:lnTo>
                  <a:lnTo>
                    <a:pt x="588" y="168"/>
                  </a:lnTo>
                  <a:lnTo>
                    <a:pt x="582" y="180"/>
                  </a:lnTo>
                  <a:lnTo>
                    <a:pt x="570" y="192"/>
                  </a:lnTo>
                  <a:lnTo>
                    <a:pt x="594" y="192"/>
                  </a:lnTo>
                  <a:lnTo>
                    <a:pt x="618" y="198"/>
                  </a:lnTo>
                  <a:lnTo>
                    <a:pt x="642" y="210"/>
                  </a:lnTo>
                  <a:lnTo>
                    <a:pt x="660" y="234"/>
                  </a:lnTo>
                  <a:lnTo>
                    <a:pt x="678" y="246"/>
                  </a:lnTo>
                  <a:lnTo>
                    <a:pt x="684" y="252"/>
                  </a:lnTo>
                  <a:lnTo>
                    <a:pt x="702" y="252"/>
                  </a:lnTo>
                  <a:lnTo>
                    <a:pt x="732" y="234"/>
                  </a:lnTo>
                  <a:lnTo>
                    <a:pt x="732" y="222"/>
                  </a:lnTo>
                  <a:lnTo>
                    <a:pt x="720" y="216"/>
                  </a:lnTo>
                  <a:lnTo>
                    <a:pt x="714" y="198"/>
                  </a:lnTo>
                  <a:lnTo>
                    <a:pt x="714" y="174"/>
                  </a:lnTo>
                  <a:lnTo>
                    <a:pt x="720" y="162"/>
                  </a:lnTo>
                  <a:lnTo>
                    <a:pt x="726" y="162"/>
                  </a:lnTo>
                  <a:lnTo>
                    <a:pt x="732" y="156"/>
                  </a:lnTo>
                  <a:lnTo>
                    <a:pt x="744" y="150"/>
                  </a:lnTo>
                  <a:lnTo>
                    <a:pt x="774" y="162"/>
                  </a:lnTo>
                  <a:lnTo>
                    <a:pt x="786" y="162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16" y="150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2" y="132"/>
                  </a:lnTo>
                  <a:lnTo>
                    <a:pt x="822" y="114"/>
                  </a:lnTo>
                  <a:lnTo>
                    <a:pt x="828" y="108"/>
                  </a:lnTo>
                  <a:lnTo>
                    <a:pt x="834" y="96"/>
                  </a:lnTo>
                  <a:lnTo>
                    <a:pt x="846" y="96"/>
                  </a:lnTo>
                  <a:lnTo>
                    <a:pt x="858" y="90"/>
                  </a:lnTo>
                  <a:lnTo>
                    <a:pt x="870" y="84"/>
                  </a:lnTo>
                  <a:lnTo>
                    <a:pt x="888" y="84"/>
                  </a:lnTo>
                  <a:lnTo>
                    <a:pt x="894" y="90"/>
                  </a:lnTo>
                  <a:lnTo>
                    <a:pt x="894" y="102"/>
                  </a:lnTo>
                  <a:lnTo>
                    <a:pt x="900" y="102"/>
                  </a:lnTo>
                  <a:lnTo>
                    <a:pt x="906" y="114"/>
                  </a:lnTo>
                  <a:lnTo>
                    <a:pt x="930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54" y="138"/>
                  </a:lnTo>
                  <a:lnTo>
                    <a:pt x="966" y="144"/>
                  </a:lnTo>
                  <a:lnTo>
                    <a:pt x="966" y="150"/>
                  </a:lnTo>
                  <a:lnTo>
                    <a:pt x="972" y="150"/>
                  </a:lnTo>
                  <a:lnTo>
                    <a:pt x="978" y="150"/>
                  </a:lnTo>
                  <a:lnTo>
                    <a:pt x="978" y="144"/>
                  </a:lnTo>
                  <a:lnTo>
                    <a:pt x="984" y="144"/>
                  </a:lnTo>
                  <a:lnTo>
                    <a:pt x="990" y="138"/>
                  </a:lnTo>
                  <a:lnTo>
                    <a:pt x="996" y="138"/>
                  </a:lnTo>
                  <a:lnTo>
                    <a:pt x="1002" y="138"/>
                  </a:lnTo>
                  <a:lnTo>
                    <a:pt x="1008" y="138"/>
                  </a:lnTo>
                  <a:lnTo>
                    <a:pt x="1026" y="132"/>
                  </a:lnTo>
                  <a:lnTo>
                    <a:pt x="1044" y="126"/>
                  </a:lnTo>
                  <a:lnTo>
                    <a:pt x="1056" y="120"/>
                  </a:lnTo>
                  <a:lnTo>
                    <a:pt x="1062" y="108"/>
                  </a:lnTo>
                  <a:lnTo>
                    <a:pt x="1056" y="102"/>
                  </a:lnTo>
                  <a:lnTo>
                    <a:pt x="1062" y="96"/>
                  </a:lnTo>
                  <a:lnTo>
                    <a:pt x="1074" y="90"/>
                  </a:lnTo>
                  <a:lnTo>
                    <a:pt x="1080" y="84"/>
                  </a:lnTo>
                  <a:lnTo>
                    <a:pt x="1128" y="84"/>
                  </a:lnTo>
                  <a:lnTo>
                    <a:pt x="1134" y="84"/>
                  </a:lnTo>
                  <a:lnTo>
                    <a:pt x="1140" y="78"/>
                  </a:lnTo>
                  <a:lnTo>
                    <a:pt x="1152" y="72"/>
                  </a:lnTo>
                  <a:lnTo>
                    <a:pt x="1164" y="66"/>
                  </a:lnTo>
                  <a:lnTo>
                    <a:pt x="1170" y="60"/>
                  </a:lnTo>
                  <a:lnTo>
                    <a:pt x="1188" y="48"/>
                  </a:lnTo>
                  <a:lnTo>
                    <a:pt x="1200" y="36"/>
                  </a:lnTo>
                  <a:lnTo>
                    <a:pt x="1218" y="24"/>
                  </a:lnTo>
                  <a:lnTo>
                    <a:pt x="1248" y="24"/>
                  </a:lnTo>
                  <a:lnTo>
                    <a:pt x="1272" y="24"/>
                  </a:lnTo>
                  <a:lnTo>
                    <a:pt x="1284" y="12"/>
                  </a:lnTo>
                  <a:lnTo>
                    <a:pt x="1302" y="0"/>
                  </a:lnTo>
                  <a:lnTo>
                    <a:pt x="1314" y="0"/>
                  </a:lnTo>
                  <a:lnTo>
                    <a:pt x="1326" y="18"/>
                  </a:lnTo>
                  <a:lnTo>
                    <a:pt x="1338" y="30"/>
                  </a:lnTo>
                  <a:lnTo>
                    <a:pt x="1338" y="54"/>
                  </a:lnTo>
                  <a:lnTo>
                    <a:pt x="1332" y="72"/>
                  </a:lnTo>
                  <a:lnTo>
                    <a:pt x="1326" y="72"/>
                  </a:lnTo>
                  <a:lnTo>
                    <a:pt x="1326" y="78"/>
                  </a:lnTo>
                  <a:lnTo>
                    <a:pt x="1326" y="102"/>
                  </a:lnTo>
                  <a:lnTo>
                    <a:pt x="1332" y="102"/>
                  </a:lnTo>
                  <a:lnTo>
                    <a:pt x="1332" y="108"/>
                  </a:lnTo>
                  <a:lnTo>
                    <a:pt x="1344" y="114"/>
                  </a:lnTo>
                  <a:lnTo>
                    <a:pt x="1350" y="114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404" y="132"/>
                  </a:lnTo>
                  <a:lnTo>
                    <a:pt x="1404" y="138"/>
                  </a:lnTo>
                  <a:lnTo>
                    <a:pt x="1410" y="150"/>
                  </a:lnTo>
                  <a:lnTo>
                    <a:pt x="1416" y="162"/>
                  </a:lnTo>
                  <a:lnTo>
                    <a:pt x="1428" y="168"/>
                  </a:lnTo>
                  <a:lnTo>
                    <a:pt x="1440" y="180"/>
                  </a:lnTo>
                  <a:lnTo>
                    <a:pt x="1476" y="174"/>
                  </a:lnTo>
                  <a:lnTo>
                    <a:pt x="1494" y="174"/>
                  </a:lnTo>
                  <a:lnTo>
                    <a:pt x="1512" y="192"/>
                  </a:lnTo>
                  <a:lnTo>
                    <a:pt x="1518" y="204"/>
                  </a:lnTo>
                  <a:lnTo>
                    <a:pt x="1530" y="216"/>
                  </a:lnTo>
                  <a:lnTo>
                    <a:pt x="1548" y="228"/>
                  </a:lnTo>
                  <a:lnTo>
                    <a:pt x="1548" y="234"/>
                  </a:lnTo>
                  <a:lnTo>
                    <a:pt x="1542" y="246"/>
                  </a:lnTo>
                  <a:lnTo>
                    <a:pt x="1560" y="246"/>
                  </a:lnTo>
                  <a:lnTo>
                    <a:pt x="1560" y="252"/>
                  </a:lnTo>
                  <a:lnTo>
                    <a:pt x="1566" y="258"/>
                  </a:lnTo>
                  <a:lnTo>
                    <a:pt x="1578" y="270"/>
                  </a:lnTo>
                  <a:lnTo>
                    <a:pt x="1596" y="270"/>
                  </a:lnTo>
                  <a:lnTo>
                    <a:pt x="1602" y="288"/>
                  </a:lnTo>
                  <a:lnTo>
                    <a:pt x="1608" y="306"/>
                  </a:lnTo>
                  <a:lnTo>
                    <a:pt x="1608" y="318"/>
                  </a:lnTo>
                  <a:lnTo>
                    <a:pt x="1608" y="324"/>
                  </a:lnTo>
                  <a:lnTo>
                    <a:pt x="1614" y="330"/>
                  </a:lnTo>
                  <a:lnTo>
                    <a:pt x="1614" y="336"/>
                  </a:lnTo>
                  <a:lnTo>
                    <a:pt x="1614" y="342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08" y="390"/>
                  </a:lnTo>
                  <a:lnTo>
                    <a:pt x="1602" y="390"/>
                  </a:lnTo>
                  <a:lnTo>
                    <a:pt x="1602" y="396"/>
                  </a:lnTo>
                  <a:lnTo>
                    <a:pt x="1584" y="420"/>
                  </a:lnTo>
                  <a:lnTo>
                    <a:pt x="1584" y="426"/>
                  </a:lnTo>
                  <a:lnTo>
                    <a:pt x="1602" y="474"/>
                  </a:lnTo>
                  <a:lnTo>
                    <a:pt x="1608" y="480"/>
                  </a:lnTo>
                  <a:lnTo>
                    <a:pt x="1608" y="486"/>
                  </a:lnTo>
                  <a:lnTo>
                    <a:pt x="1614" y="486"/>
                  </a:lnTo>
                  <a:lnTo>
                    <a:pt x="1608" y="504"/>
                  </a:lnTo>
                  <a:lnTo>
                    <a:pt x="1572" y="504"/>
                  </a:lnTo>
                  <a:lnTo>
                    <a:pt x="1560" y="510"/>
                  </a:lnTo>
                  <a:lnTo>
                    <a:pt x="1554" y="522"/>
                  </a:lnTo>
                  <a:lnTo>
                    <a:pt x="1560" y="552"/>
                  </a:lnTo>
                  <a:lnTo>
                    <a:pt x="1566" y="552"/>
                  </a:lnTo>
                  <a:lnTo>
                    <a:pt x="1566" y="558"/>
                  </a:lnTo>
                  <a:lnTo>
                    <a:pt x="1572" y="558"/>
                  </a:lnTo>
                  <a:lnTo>
                    <a:pt x="1578" y="558"/>
                  </a:lnTo>
                  <a:lnTo>
                    <a:pt x="1578" y="552"/>
                  </a:lnTo>
                  <a:lnTo>
                    <a:pt x="1584" y="552"/>
                  </a:lnTo>
                  <a:lnTo>
                    <a:pt x="1590" y="552"/>
                  </a:lnTo>
                  <a:lnTo>
                    <a:pt x="1590" y="546"/>
                  </a:lnTo>
                  <a:lnTo>
                    <a:pt x="1596" y="546"/>
                  </a:lnTo>
                  <a:lnTo>
                    <a:pt x="1602" y="552"/>
                  </a:lnTo>
                  <a:lnTo>
                    <a:pt x="1602" y="546"/>
                  </a:lnTo>
                  <a:lnTo>
                    <a:pt x="1608" y="546"/>
                  </a:lnTo>
                  <a:lnTo>
                    <a:pt x="1608" y="552"/>
                  </a:lnTo>
                  <a:lnTo>
                    <a:pt x="1614" y="552"/>
                  </a:lnTo>
                  <a:lnTo>
                    <a:pt x="1614" y="546"/>
                  </a:lnTo>
                  <a:lnTo>
                    <a:pt x="1620" y="552"/>
                  </a:lnTo>
                  <a:lnTo>
                    <a:pt x="1626" y="552"/>
                  </a:lnTo>
                  <a:lnTo>
                    <a:pt x="1626" y="558"/>
                  </a:lnTo>
                  <a:lnTo>
                    <a:pt x="1632" y="558"/>
                  </a:lnTo>
                  <a:lnTo>
                    <a:pt x="1638" y="558"/>
                  </a:lnTo>
                  <a:lnTo>
                    <a:pt x="1644" y="558"/>
                  </a:lnTo>
                  <a:lnTo>
                    <a:pt x="1650" y="558"/>
                  </a:lnTo>
                  <a:lnTo>
                    <a:pt x="1650" y="564"/>
                  </a:lnTo>
                  <a:lnTo>
                    <a:pt x="1656" y="564"/>
                  </a:lnTo>
                  <a:lnTo>
                    <a:pt x="1662" y="564"/>
                  </a:lnTo>
                  <a:lnTo>
                    <a:pt x="1668" y="564"/>
                  </a:lnTo>
                  <a:lnTo>
                    <a:pt x="1668" y="570"/>
                  </a:lnTo>
                  <a:lnTo>
                    <a:pt x="1674" y="570"/>
                  </a:lnTo>
                  <a:lnTo>
                    <a:pt x="1680" y="570"/>
                  </a:lnTo>
                  <a:lnTo>
                    <a:pt x="1686" y="576"/>
                  </a:lnTo>
                  <a:lnTo>
                    <a:pt x="1686" y="582"/>
                  </a:lnTo>
                  <a:lnTo>
                    <a:pt x="1710" y="588"/>
                  </a:lnTo>
                  <a:lnTo>
                    <a:pt x="1710" y="594"/>
                  </a:lnTo>
                  <a:lnTo>
                    <a:pt x="1704" y="600"/>
                  </a:lnTo>
                  <a:lnTo>
                    <a:pt x="1710" y="624"/>
                  </a:lnTo>
                  <a:lnTo>
                    <a:pt x="1698" y="672"/>
                  </a:lnTo>
                  <a:lnTo>
                    <a:pt x="1704" y="678"/>
                  </a:lnTo>
                  <a:lnTo>
                    <a:pt x="1716" y="684"/>
                  </a:lnTo>
                  <a:lnTo>
                    <a:pt x="1716" y="678"/>
                  </a:lnTo>
                  <a:lnTo>
                    <a:pt x="1716" y="684"/>
                  </a:lnTo>
                  <a:lnTo>
                    <a:pt x="1728" y="684"/>
                  </a:lnTo>
                  <a:lnTo>
                    <a:pt x="1728" y="690"/>
                  </a:lnTo>
                  <a:lnTo>
                    <a:pt x="1734" y="696"/>
                  </a:lnTo>
                  <a:lnTo>
                    <a:pt x="1734" y="702"/>
                  </a:lnTo>
                  <a:lnTo>
                    <a:pt x="1740" y="708"/>
                  </a:lnTo>
                  <a:lnTo>
                    <a:pt x="1740" y="714"/>
                  </a:lnTo>
                  <a:lnTo>
                    <a:pt x="1710" y="714"/>
                  </a:lnTo>
                  <a:lnTo>
                    <a:pt x="1710" y="756"/>
                  </a:lnTo>
                  <a:lnTo>
                    <a:pt x="1704" y="762"/>
                  </a:lnTo>
                  <a:lnTo>
                    <a:pt x="1698" y="762"/>
                  </a:lnTo>
                  <a:lnTo>
                    <a:pt x="1698" y="768"/>
                  </a:lnTo>
                  <a:lnTo>
                    <a:pt x="1698" y="774"/>
                  </a:lnTo>
                  <a:lnTo>
                    <a:pt x="1692" y="780"/>
                  </a:lnTo>
                  <a:lnTo>
                    <a:pt x="1692" y="786"/>
                  </a:lnTo>
                  <a:lnTo>
                    <a:pt x="1686" y="786"/>
                  </a:lnTo>
                  <a:lnTo>
                    <a:pt x="1668" y="798"/>
                  </a:lnTo>
                  <a:lnTo>
                    <a:pt x="1662" y="810"/>
                  </a:lnTo>
                  <a:lnTo>
                    <a:pt x="1650" y="810"/>
                  </a:lnTo>
                  <a:lnTo>
                    <a:pt x="1644" y="816"/>
                  </a:lnTo>
                  <a:lnTo>
                    <a:pt x="1638" y="816"/>
                  </a:lnTo>
                  <a:lnTo>
                    <a:pt x="1626" y="852"/>
                  </a:lnTo>
                  <a:lnTo>
                    <a:pt x="1620" y="888"/>
                  </a:lnTo>
                  <a:lnTo>
                    <a:pt x="1626" y="888"/>
                  </a:lnTo>
                  <a:lnTo>
                    <a:pt x="1638" y="912"/>
                  </a:lnTo>
                  <a:lnTo>
                    <a:pt x="1644" y="918"/>
                  </a:lnTo>
                  <a:lnTo>
                    <a:pt x="1650" y="966"/>
                  </a:lnTo>
                  <a:lnTo>
                    <a:pt x="1626" y="972"/>
                  </a:lnTo>
                  <a:lnTo>
                    <a:pt x="1608" y="978"/>
                  </a:lnTo>
                  <a:lnTo>
                    <a:pt x="1614" y="984"/>
                  </a:lnTo>
                  <a:lnTo>
                    <a:pt x="1620" y="984"/>
                  </a:lnTo>
                  <a:lnTo>
                    <a:pt x="1620" y="1020"/>
                  </a:lnTo>
                  <a:lnTo>
                    <a:pt x="1614" y="1038"/>
                  </a:lnTo>
                  <a:lnTo>
                    <a:pt x="1620" y="1044"/>
                  </a:lnTo>
                  <a:lnTo>
                    <a:pt x="1626" y="1056"/>
                  </a:lnTo>
                  <a:lnTo>
                    <a:pt x="1626" y="1074"/>
                  </a:lnTo>
                  <a:lnTo>
                    <a:pt x="1620" y="1080"/>
                  </a:lnTo>
                  <a:lnTo>
                    <a:pt x="1620" y="1104"/>
                  </a:lnTo>
                  <a:lnTo>
                    <a:pt x="1620" y="1110"/>
                  </a:lnTo>
                  <a:lnTo>
                    <a:pt x="1614" y="1116"/>
                  </a:lnTo>
                  <a:lnTo>
                    <a:pt x="1608" y="1140"/>
                  </a:lnTo>
                  <a:lnTo>
                    <a:pt x="1602" y="1146"/>
                  </a:lnTo>
                  <a:lnTo>
                    <a:pt x="1602" y="1164"/>
                  </a:lnTo>
                  <a:lnTo>
                    <a:pt x="1596" y="1170"/>
                  </a:lnTo>
                  <a:lnTo>
                    <a:pt x="1590" y="1164"/>
                  </a:lnTo>
                  <a:lnTo>
                    <a:pt x="1584" y="1164"/>
                  </a:lnTo>
                  <a:lnTo>
                    <a:pt x="1578" y="1164"/>
                  </a:lnTo>
                  <a:lnTo>
                    <a:pt x="1578" y="1188"/>
                  </a:lnTo>
                  <a:lnTo>
                    <a:pt x="1584" y="1194"/>
                  </a:lnTo>
                  <a:lnTo>
                    <a:pt x="1590" y="1194"/>
                  </a:lnTo>
                  <a:lnTo>
                    <a:pt x="1590" y="1212"/>
                  </a:lnTo>
                  <a:lnTo>
                    <a:pt x="1584" y="1212"/>
                  </a:lnTo>
                  <a:lnTo>
                    <a:pt x="1584" y="1224"/>
                  </a:lnTo>
                  <a:lnTo>
                    <a:pt x="1578" y="1224"/>
                  </a:lnTo>
                  <a:lnTo>
                    <a:pt x="1578" y="1236"/>
                  </a:lnTo>
                  <a:lnTo>
                    <a:pt x="1584" y="1254"/>
                  </a:lnTo>
                  <a:lnTo>
                    <a:pt x="1584" y="1260"/>
                  </a:lnTo>
                  <a:lnTo>
                    <a:pt x="1590" y="1260"/>
                  </a:lnTo>
                  <a:lnTo>
                    <a:pt x="1590" y="1266"/>
                  </a:lnTo>
                  <a:lnTo>
                    <a:pt x="1596" y="1284"/>
                  </a:lnTo>
                  <a:lnTo>
                    <a:pt x="1602" y="1278"/>
                  </a:lnTo>
                  <a:lnTo>
                    <a:pt x="1608" y="1284"/>
                  </a:lnTo>
                  <a:lnTo>
                    <a:pt x="1632" y="1350"/>
                  </a:lnTo>
                  <a:lnTo>
                    <a:pt x="1638" y="1356"/>
                  </a:lnTo>
                  <a:lnTo>
                    <a:pt x="1644" y="1356"/>
                  </a:lnTo>
                  <a:lnTo>
                    <a:pt x="1650" y="1356"/>
                  </a:lnTo>
                  <a:lnTo>
                    <a:pt x="1656" y="1356"/>
                  </a:lnTo>
                  <a:lnTo>
                    <a:pt x="1662" y="1362"/>
                  </a:lnTo>
                  <a:lnTo>
                    <a:pt x="1668" y="1356"/>
                  </a:lnTo>
                  <a:lnTo>
                    <a:pt x="1668" y="1380"/>
                  </a:lnTo>
                  <a:lnTo>
                    <a:pt x="1662" y="1392"/>
                  </a:lnTo>
                  <a:lnTo>
                    <a:pt x="1656" y="1404"/>
                  </a:lnTo>
                  <a:lnTo>
                    <a:pt x="1656" y="1410"/>
                  </a:lnTo>
                  <a:lnTo>
                    <a:pt x="1656" y="1416"/>
                  </a:lnTo>
                  <a:lnTo>
                    <a:pt x="1650" y="1422"/>
                  </a:lnTo>
                  <a:lnTo>
                    <a:pt x="1650" y="1428"/>
                  </a:lnTo>
                  <a:lnTo>
                    <a:pt x="1644" y="1428"/>
                  </a:lnTo>
                  <a:lnTo>
                    <a:pt x="1644" y="1434"/>
                  </a:lnTo>
                  <a:lnTo>
                    <a:pt x="1638" y="1434"/>
                  </a:lnTo>
                  <a:lnTo>
                    <a:pt x="1638" y="1440"/>
                  </a:lnTo>
                  <a:lnTo>
                    <a:pt x="1632" y="1440"/>
                  </a:lnTo>
                  <a:lnTo>
                    <a:pt x="1638" y="145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8" name="Freeform 13">
              <a:extLst>
                <a:ext uri="{FF2B5EF4-FFF2-40B4-BE49-F238E27FC236}">
                  <a16:creationId xmlns:a16="http://schemas.microsoft.com/office/drawing/2014/main" id="{66308D9B-1739-4227-AAC3-BB866CD1F5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63374" y="2969626"/>
              <a:ext cx="330956" cy="357840"/>
            </a:xfrm>
            <a:custGeom>
              <a:avLst/>
              <a:gdLst>
                <a:gd name="T0" fmla="*/ 11 w 624"/>
                <a:gd name="T1" fmla="*/ 59 h 672"/>
                <a:gd name="T2" fmla="*/ 4 w 624"/>
                <a:gd name="T3" fmla="*/ 58 h 672"/>
                <a:gd name="T4" fmla="*/ 3 w 624"/>
                <a:gd name="T5" fmla="*/ 58 h 672"/>
                <a:gd name="T6" fmla="*/ 2 w 624"/>
                <a:gd name="T7" fmla="*/ 11 h 672"/>
                <a:gd name="T8" fmla="*/ 13 w 624"/>
                <a:gd name="T9" fmla="*/ 11 h 672"/>
                <a:gd name="T10" fmla="*/ 14 w 624"/>
                <a:gd name="T11" fmla="*/ 11 h 672"/>
                <a:gd name="T12" fmla="*/ 15 w 624"/>
                <a:gd name="T13" fmla="*/ 12 h 672"/>
                <a:gd name="T14" fmla="*/ 18 w 624"/>
                <a:gd name="T15" fmla="*/ 14 h 672"/>
                <a:gd name="T16" fmla="*/ 21 w 624"/>
                <a:gd name="T17" fmla="*/ 16 h 672"/>
                <a:gd name="T18" fmla="*/ 22 w 624"/>
                <a:gd name="T19" fmla="*/ 18 h 672"/>
                <a:gd name="T20" fmla="*/ 23 w 624"/>
                <a:gd name="T21" fmla="*/ 19 h 672"/>
                <a:gd name="T22" fmla="*/ 24 w 624"/>
                <a:gd name="T23" fmla="*/ 19 h 672"/>
                <a:gd name="T24" fmla="*/ 26 w 624"/>
                <a:gd name="T25" fmla="*/ 19 h 672"/>
                <a:gd name="T26" fmla="*/ 27 w 624"/>
                <a:gd name="T27" fmla="*/ 18 h 672"/>
                <a:gd name="T28" fmla="*/ 29 w 624"/>
                <a:gd name="T29" fmla="*/ 15 h 672"/>
                <a:gd name="T30" fmla="*/ 30 w 624"/>
                <a:gd name="T31" fmla="*/ 14 h 672"/>
                <a:gd name="T32" fmla="*/ 31 w 624"/>
                <a:gd name="T33" fmla="*/ 12 h 672"/>
                <a:gd name="T34" fmla="*/ 32 w 624"/>
                <a:gd name="T35" fmla="*/ 12 h 672"/>
                <a:gd name="T36" fmla="*/ 33 w 624"/>
                <a:gd name="T37" fmla="*/ 10 h 672"/>
                <a:gd name="T38" fmla="*/ 34 w 624"/>
                <a:gd name="T39" fmla="*/ 8 h 672"/>
                <a:gd name="T40" fmla="*/ 34 w 624"/>
                <a:gd name="T41" fmla="*/ 6 h 672"/>
                <a:gd name="T42" fmla="*/ 35 w 624"/>
                <a:gd name="T43" fmla="*/ 4 h 672"/>
                <a:gd name="T44" fmla="*/ 42 w 624"/>
                <a:gd name="T45" fmla="*/ 3 h 672"/>
                <a:gd name="T46" fmla="*/ 44 w 624"/>
                <a:gd name="T47" fmla="*/ 2 h 672"/>
                <a:gd name="T48" fmla="*/ 46 w 624"/>
                <a:gd name="T49" fmla="*/ 0 h 672"/>
                <a:gd name="T50" fmla="*/ 51 w 624"/>
                <a:gd name="T51" fmla="*/ 3 h 672"/>
                <a:gd name="T52" fmla="*/ 54 w 624"/>
                <a:gd name="T53" fmla="*/ 6 h 672"/>
                <a:gd name="T54" fmla="*/ 54 w 624"/>
                <a:gd name="T55" fmla="*/ 8 h 672"/>
                <a:gd name="T56" fmla="*/ 52 w 624"/>
                <a:gd name="T57" fmla="*/ 9 h 672"/>
                <a:gd name="T58" fmla="*/ 49 w 624"/>
                <a:gd name="T59" fmla="*/ 11 h 672"/>
                <a:gd name="T60" fmla="*/ 48 w 624"/>
                <a:gd name="T61" fmla="*/ 14 h 672"/>
                <a:gd name="T62" fmla="*/ 46 w 624"/>
                <a:gd name="T63" fmla="*/ 22 h 672"/>
                <a:gd name="T64" fmla="*/ 45 w 624"/>
                <a:gd name="T65" fmla="*/ 39 h 672"/>
                <a:gd name="T66" fmla="*/ 43 w 624"/>
                <a:gd name="T67" fmla="*/ 43 h 672"/>
                <a:gd name="T68" fmla="*/ 39 w 624"/>
                <a:gd name="T69" fmla="*/ 50 h 672"/>
                <a:gd name="T70" fmla="*/ 36 w 624"/>
                <a:gd name="T71" fmla="*/ 53 h 672"/>
                <a:gd name="T72" fmla="*/ 32 w 624"/>
                <a:gd name="T73" fmla="*/ 56 h 672"/>
                <a:gd name="T74" fmla="*/ 30 w 624"/>
                <a:gd name="T75" fmla="*/ 58 h 672"/>
                <a:gd name="T76" fmla="*/ 20 w 624"/>
                <a:gd name="T77" fmla="*/ 59 h 672"/>
                <a:gd name="T78" fmla="*/ 15 w 624"/>
                <a:gd name="T79" fmla="*/ 59 h 67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24"/>
                <a:gd name="T121" fmla="*/ 0 h 672"/>
                <a:gd name="T122" fmla="*/ 624 w 624"/>
                <a:gd name="T123" fmla="*/ 672 h 67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24" h="672">
                  <a:moveTo>
                    <a:pt x="168" y="672"/>
                  </a:moveTo>
                  <a:lnTo>
                    <a:pt x="132" y="672"/>
                  </a:lnTo>
                  <a:lnTo>
                    <a:pt x="72" y="666"/>
                  </a:lnTo>
                  <a:lnTo>
                    <a:pt x="42" y="666"/>
                  </a:lnTo>
                  <a:lnTo>
                    <a:pt x="36" y="666"/>
                  </a:lnTo>
                  <a:lnTo>
                    <a:pt x="30" y="660"/>
                  </a:lnTo>
                  <a:lnTo>
                    <a:pt x="0" y="660"/>
                  </a:lnTo>
                  <a:lnTo>
                    <a:pt x="24" y="120"/>
                  </a:lnTo>
                  <a:lnTo>
                    <a:pt x="60" y="120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62" y="120"/>
                  </a:lnTo>
                  <a:lnTo>
                    <a:pt x="168" y="120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10" y="156"/>
                  </a:lnTo>
                  <a:lnTo>
                    <a:pt x="222" y="174"/>
                  </a:lnTo>
                  <a:lnTo>
                    <a:pt x="240" y="186"/>
                  </a:lnTo>
                  <a:lnTo>
                    <a:pt x="252" y="198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216"/>
                  </a:lnTo>
                  <a:lnTo>
                    <a:pt x="270" y="216"/>
                  </a:lnTo>
                  <a:lnTo>
                    <a:pt x="282" y="222"/>
                  </a:lnTo>
                  <a:lnTo>
                    <a:pt x="288" y="222"/>
                  </a:lnTo>
                  <a:lnTo>
                    <a:pt x="294" y="216"/>
                  </a:lnTo>
                  <a:lnTo>
                    <a:pt x="294" y="210"/>
                  </a:lnTo>
                  <a:lnTo>
                    <a:pt x="312" y="204"/>
                  </a:lnTo>
                  <a:lnTo>
                    <a:pt x="330" y="186"/>
                  </a:lnTo>
                  <a:lnTo>
                    <a:pt x="336" y="174"/>
                  </a:lnTo>
                  <a:lnTo>
                    <a:pt x="342" y="162"/>
                  </a:lnTo>
                  <a:lnTo>
                    <a:pt x="342" y="156"/>
                  </a:lnTo>
                  <a:lnTo>
                    <a:pt x="348" y="150"/>
                  </a:lnTo>
                  <a:lnTo>
                    <a:pt x="354" y="144"/>
                  </a:lnTo>
                  <a:lnTo>
                    <a:pt x="360" y="138"/>
                  </a:lnTo>
                  <a:lnTo>
                    <a:pt x="366" y="132"/>
                  </a:lnTo>
                  <a:lnTo>
                    <a:pt x="372" y="114"/>
                  </a:lnTo>
                  <a:lnTo>
                    <a:pt x="378" y="114"/>
                  </a:lnTo>
                  <a:lnTo>
                    <a:pt x="378" y="96"/>
                  </a:lnTo>
                  <a:lnTo>
                    <a:pt x="390" y="96"/>
                  </a:lnTo>
                  <a:lnTo>
                    <a:pt x="396" y="84"/>
                  </a:lnTo>
                  <a:lnTo>
                    <a:pt x="396" y="72"/>
                  </a:lnTo>
                  <a:lnTo>
                    <a:pt x="396" y="54"/>
                  </a:lnTo>
                  <a:lnTo>
                    <a:pt x="408" y="42"/>
                  </a:lnTo>
                  <a:lnTo>
                    <a:pt x="468" y="42"/>
                  </a:lnTo>
                  <a:lnTo>
                    <a:pt x="486" y="36"/>
                  </a:lnTo>
                  <a:lnTo>
                    <a:pt x="492" y="24"/>
                  </a:lnTo>
                  <a:lnTo>
                    <a:pt x="504" y="24"/>
                  </a:lnTo>
                  <a:lnTo>
                    <a:pt x="516" y="6"/>
                  </a:lnTo>
                  <a:lnTo>
                    <a:pt x="528" y="0"/>
                  </a:lnTo>
                  <a:lnTo>
                    <a:pt x="558" y="12"/>
                  </a:lnTo>
                  <a:lnTo>
                    <a:pt x="588" y="36"/>
                  </a:lnTo>
                  <a:lnTo>
                    <a:pt x="600" y="66"/>
                  </a:lnTo>
                  <a:lnTo>
                    <a:pt x="624" y="66"/>
                  </a:lnTo>
                  <a:lnTo>
                    <a:pt x="624" y="90"/>
                  </a:lnTo>
                  <a:lnTo>
                    <a:pt x="618" y="90"/>
                  </a:lnTo>
                  <a:lnTo>
                    <a:pt x="618" y="96"/>
                  </a:lnTo>
                  <a:lnTo>
                    <a:pt x="600" y="102"/>
                  </a:lnTo>
                  <a:lnTo>
                    <a:pt x="588" y="108"/>
                  </a:lnTo>
                  <a:lnTo>
                    <a:pt x="570" y="120"/>
                  </a:lnTo>
                  <a:lnTo>
                    <a:pt x="564" y="138"/>
                  </a:lnTo>
                  <a:lnTo>
                    <a:pt x="558" y="162"/>
                  </a:lnTo>
                  <a:lnTo>
                    <a:pt x="540" y="210"/>
                  </a:lnTo>
                  <a:lnTo>
                    <a:pt x="528" y="252"/>
                  </a:lnTo>
                  <a:lnTo>
                    <a:pt x="528" y="402"/>
                  </a:lnTo>
                  <a:lnTo>
                    <a:pt x="522" y="444"/>
                  </a:lnTo>
                  <a:lnTo>
                    <a:pt x="510" y="468"/>
                  </a:lnTo>
                  <a:lnTo>
                    <a:pt x="498" y="498"/>
                  </a:lnTo>
                  <a:lnTo>
                    <a:pt x="474" y="534"/>
                  </a:lnTo>
                  <a:lnTo>
                    <a:pt x="456" y="570"/>
                  </a:lnTo>
                  <a:lnTo>
                    <a:pt x="444" y="576"/>
                  </a:lnTo>
                  <a:lnTo>
                    <a:pt x="420" y="606"/>
                  </a:lnTo>
                  <a:lnTo>
                    <a:pt x="390" y="624"/>
                  </a:lnTo>
                  <a:lnTo>
                    <a:pt x="372" y="642"/>
                  </a:lnTo>
                  <a:lnTo>
                    <a:pt x="366" y="654"/>
                  </a:lnTo>
                  <a:lnTo>
                    <a:pt x="342" y="660"/>
                  </a:lnTo>
                  <a:lnTo>
                    <a:pt x="300" y="666"/>
                  </a:lnTo>
                  <a:lnTo>
                    <a:pt x="234" y="672"/>
                  </a:lnTo>
                  <a:lnTo>
                    <a:pt x="192" y="672"/>
                  </a:lnTo>
                  <a:lnTo>
                    <a:pt x="168" y="67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9" name="Freeform 14">
              <a:extLst>
                <a:ext uri="{FF2B5EF4-FFF2-40B4-BE49-F238E27FC236}">
                  <a16:creationId xmlns:a16="http://schemas.microsoft.com/office/drawing/2014/main" id="{2EA1E999-9CDF-4391-8BC9-7DE71AF9C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0460" y="2983045"/>
              <a:ext cx="905658" cy="561362"/>
            </a:xfrm>
            <a:custGeom>
              <a:avLst/>
              <a:gdLst>
                <a:gd name="T0" fmla="*/ 31 w 1704"/>
                <a:gd name="T1" fmla="*/ 78 h 1056"/>
                <a:gd name="T2" fmla="*/ 23 w 1704"/>
                <a:gd name="T3" fmla="*/ 78 h 1056"/>
                <a:gd name="T4" fmla="*/ 11 w 1704"/>
                <a:gd name="T5" fmla="*/ 79 h 1056"/>
                <a:gd name="T6" fmla="*/ 1 w 1704"/>
                <a:gd name="T7" fmla="*/ 81 h 1056"/>
                <a:gd name="T8" fmla="*/ 0 w 1704"/>
                <a:gd name="T9" fmla="*/ 62 h 1056"/>
                <a:gd name="T10" fmla="*/ 9 w 1704"/>
                <a:gd name="T11" fmla="*/ 56 h 1056"/>
                <a:gd name="T12" fmla="*/ 27 w 1704"/>
                <a:gd name="T13" fmla="*/ 48 h 1056"/>
                <a:gd name="T14" fmla="*/ 35 w 1704"/>
                <a:gd name="T15" fmla="*/ 20 h 1056"/>
                <a:gd name="T16" fmla="*/ 43 w 1704"/>
                <a:gd name="T17" fmla="*/ 6 h 1056"/>
                <a:gd name="T18" fmla="*/ 47 w 1704"/>
                <a:gd name="T19" fmla="*/ 7 h 1056"/>
                <a:gd name="T20" fmla="*/ 52 w 1704"/>
                <a:gd name="T21" fmla="*/ 0 h 1056"/>
                <a:gd name="T22" fmla="*/ 59 w 1704"/>
                <a:gd name="T23" fmla="*/ 5 h 1056"/>
                <a:gd name="T24" fmla="*/ 63 w 1704"/>
                <a:gd name="T25" fmla="*/ 12 h 1056"/>
                <a:gd name="T26" fmla="*/ 62 w 1704"/>
                <a:gd name="T27" fmla="*/ 15 h 1056"/>
                <a:gd name="T28" fmla="*/ 62 w 1704"/>
                <a:gd name="T29" fmla="*/ 18 h 1056"/>
                <a:gd name="T30" fmla="*/ 70 w 1704"/>
                <a:gd name="T31" fmla="*/ 18 h 1056"/>
                <a:gd name="T32" fmla="*/ 71 w 1704"/>
                <a:gd name="T33" fmla="*/ 14 h 1056"/>
                <a:gd name="T34" fmla="*/ 72 w 1704"/>
                <a:gd name="T35" fmla="*/ 12 h 1056"/>
                <a:gd name="T36" fmla="*/ 78 w 1704"/>
                <a:gd name="T37" fmla="*/ 14 h 1056"/>
                <a:gd name="T38" fmla="*/ 85 w 1704"/>
                <a:gd name="T39" fmla="*/ 21 h 1056"/>
                <a:gd name="T40" fmla="*/ 91 w 1704"/>
                <a:gd name="T41" fmla="*/ 15 h 1056"/>
                <a:gd name="T42" fmla="*/ 93 w 1704"/>
                <a:gd name="T43" fmla="*/ 10 h 1056"/>
                <a:gd name="T44" fmla="*/ 101 w 1704"/>
                <a:gd name="T45" fmla="*/ 14 h 1056"/>
                <a:gd name="T46" fmla="*/ 103 w 1704"/>
                <a:gd name="T47" fmla="*/ 19 h 1056"/>
                <a:gd name="T48" fmla="*/ 115 w 1704"/>
                <a:gd name="T49" fmla="*/ 20 h 1056"/>
                <a:gd name="T50" fmla="*/ 118 w 1704"/>
                <a:gd name="T51" fmla="*/ 23 h 1056"/>
                <a:gd name="T52" fmla="*/ 117 w 1704"/>
                <a:gd name="T53" fmla="*/ 27 h 1056"/>
                <a:gd name="T54" fmla="*/ 111 w 1704"/>
                <a:gd name="T55" fmla="*/ 33 h 1056"/>
                <a:gd name="T56" fmla="*/ 108 w 1704"/>
                <a:gd name="T57" fmla="*/ 36 h 1056"/>
                <a:gd name="T58" fmla="*/ 109 w 1704"/>
                <a:gd name="T59" fmla="*/ 40 h 1056"/>
                <a:gd name="T60" fmla="*/ 111 w 1704"/>
                <a:gd name="T61" fmla="*/ 43 h 1056"/>
                <a:gd name="T62" fmla="*/ 113 w 1704"/>
                <a:gd name="T63" fmla="*/ 50 h 1056"/>
                <a:gd name="T64" fmla="*/ 121 w 1704"/>
                <a:gd name="T65" fmla="*/ 55 h 1056"/>
                <a:gd name="T66" fmla="*/ 132 w 1704"/>
                <a:gd name="T67" fmla="*/ 52 h 1056"/>
                <a:gd name="T68" fmla="*/ 148 w 1704"/>
                <a:gd name="T69" fmla="*/ 58 h 1056"/>
                <a:gd name="T70" fmla="*/ 148 w 1704"/>
                <a:gd name="T71" fmla="*/ 61 h 1056"/>
                <a:gd name="T72" fmla="*/ 148 w 1704"/>
                <a:gd name="T73" fmla="*/ 64 h 1056"/>
                <a:gd name="T74" fmla="*/ 135 w 1704"/>
                <a:gd name="T75" fmla="*/ 61 h 1056"/>
                <a:gd name="T76" fmla="*/ 135 w 1704"/>
                <a:gd name="T77" fmla="*/ 66 h 1056"/>
                <a:gd name="T78" fmla="*/ 137 w 1704"/>
                <a:gd name="T79" fmla="*/ 71 h 1056"/>
                <a:gd name="T80" fmla="*/ 136 w 1704"/>
                <a:gd name="T81" fmla="*/ 79 h 1056"/>
                <a:gd name="T82" fmla="*/ 126 w 1704"/>
                <a:gd name="T83" fmla="*/ 84 h 1056"/>
                <a:gd name="T84" fmla="*/ 121 w 1704"/>
                <a:gd name="T85" fmla="*/ 79 h 1056"/>
                <a:gd name="T86" fmla="*/ 117 w 1704"/>
                <a:gd name="T87" fmla="*/ 75 h 1056"/>
                <a:gd name="T88" fmla="*/ 98 w 1704"/>
                <a:gd name="T89" fmla="*/ 74 h 1056"/>
                <a:gd name="T90" fmla="*/ 81 w 1704"/>
                <a:gd name="T91" fmla="*/ 75 h 1056"/>
                <a:gd name="T92" fmla="*/ 83 w 1704"/>
                <a:gd name="T93" fmla="*/ 88 h 1056"/>
                <a:gd name="T94" fmla="*/ 82 w 1704"/>
                <a:gd name="T95" fmla="*/ 91 h 1056"/>
                <a:gd name="T96" fmla="*/ 77 w 1704"/>
                <a:gd name="T97" fmla="*/ 90 h 1056"/>
                <a:gd name="T98" fmla="*/ 73 w 1704"/>
                <a:gd name="T99" fmla="*/ 86 h 1056"/>
                <a:gd name="T100" fmla="*/ 68 w 1704"/>
                <a:gd name="T101" fmla="*/ 85 h 1056"/>
                <a:gd name="T102" fmla="*/ 64 w 1704"/>
                <a:gd name="T103" fmla="*/ 83 h 1056"/>
                <a:gd name="T104" fmla="*/ 57 w 1704"/>
                <a:gd name="T105" fmla="*/ 81 h 1056"/>
                <a:gd name="T106" fmla="*/ 52 w 1704"/>
                <a:gd name="T107" fmla="*/ 80 h 1056"/>
                <a:gd name="T108" fmla="*/ 50 w 1704"/>
                <a:gd name="T109" fmla="*/ 80 h 1056"/>
                <a:gd name="T110" fmla="*/ 46 w 1704"/>
                <a:gd name="T111" fmla="*/ 79 h 1056"/>
                <a:gd name="T112" fmla="*/ 41 w 1704"/>
                <a:gd name="T113" fmla="*/ 78 h 10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04"/>
                <a:gd name="T172" fmla="*/ 0 h 1056"/>
                <a:gd name="T173" fmla="*/ 1704 w 1704"/>
                <a:gd name="T174" fmla="*/ 1056 h 10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04" h="1056">
                  <a:moveTo>
                    <a:pt x="450" y="888"/>
                  </a:moveTo>
                  <a:lnTo>
                    <a:pt x="420" y="888"/>
                  </a:lnTo>
                  <a:lnTo>
                    <a:pt x="414" y="888"/>
                  </a:lnTo>
                  <a:lnTo>
                    <a:pt x="396" y="888"/>
                  </a:lnTo>
                  <a:lnTo>
                    <a:pt x="372" y="888"/>
                  </a:lnTo>
                  <a:lnTo>
                    <a:pt x="366" y="888"/>
                  </a:lnTo>
                  <a:lnTo>
                    <a:pt x="360" y="888"/>
                  </a:lnTo>
                  <a:lnTo>
                    <a:pt x="348" y="888"/>
                  </a:lnTo>
                  <a:lnTo>
                    <a:pt x="330" y="894"/>
                  </a:lnTo>
                  <a:lnTo>
                    <a:pt x="324" y="894"/>
                  </a:lnTo>
                  <a:lnTo>
                    <a:pt x="312" y="888"/>
                  </a:lnTo>
                  <a:lnTo>
                    <a:pt x="300" y="888"/>
                  </a:lnTo>
                  <a:lnTo>
                    <a:pt x="282" y="888"/>
                  </a:lnTo>
                  <a:lnTo>
                    <a:pt x="270" y="888"/>
                  </a:lnTo>
                  <a:lnTo>
                    <a:pt x="240" y="882"/>
                  </a:lnTo>
                  <a:lnTo>
                    <a:pt x="222" y="882"/>
                  </a:lnTo>
                  <a:lnTo>
                    <a:pt x="198" y="882"/>
                  </a:lnTo>
                  <a:lnTo>
                    <a:pt x="174" y="894"/>
                  </a:lnTo>
                  <a:lnTo>
                    <a:pt x="162" y="900"/>
                  </a:lnTo>
                  <a:lnTo>
                    <a:pt x="144" y="906"/>
                  </a:lnTo>
                  <a:lnTo>
                    <a:pt x="126" y="912"/>
                  </a:lnTo>
                  <a:lnTo>
                    <a:pt x="102" y="924"/>
                  </a:lnTo>
                  <a:lnTo>
                    <a:pt x="78" y="930"/>
                  </a:lnTo>
                  <a:lnTo>
                    <a:pt x="72" y="936"/>
                  </a:lnTo>
                  <a:lnTo>
                    <a:pt x="30" y="954"/>
                  </a:lnTo>
                  <a:lnTo>
                    <a:pt x="12" y="966"/>
                  </a:lnTo>
                  <a:lnTo>
                    <a:pt x="12" y="954"/>
                  </a:lnTo>
                  <a:lnTo>
                    <a:pt x="12" y="930"/>
                  </a:lnTo>
                  <a:lnTo>
                    <a:pt x="12" y="894"/>
                  </a:lnTo>
                  <a:lnTo>
                    <a:pt x="30" y="828"/>
                  </a:lnTo>
                  <a:lnTo>
                    <a:pt x="36" y="798"/>
                  </a:lnTo>
                  <a:lnTo>
                    <a:pt x="18" y="774"/>
                  </a:lnTo>
                  <a:lnTo>
                    <a:pt x="18" y="756"/>
                  </a:lnTo>
                  <a:lnTo>
                    <a:pt x="6" y="738"/>
                  </a:lnTo>
                  <a:lnTo>
                    <a:pt x="0" y="714"/>
                  </a:lnTo>
                  <a:lnTo>
                    <a:pt x="12" y="678"/>
                  </a:lnTo>
                  <a:lnTo>
                    <a:pt x="18" y="678"/>
                  </a:lnTo>
                  <a:lnTo>
                    <a:pt x="24" y="672"/>
                  </a:lnTo>
                  <a:lnTo>
                    <a:pt x="30" y="666"/>
                  </a:lnTo>
                  <a:lnTo>
                    <a:pt x="42" y="648"/>
                  </a:lnTo>
                  <a:lnTo>
                    <a:pt x="66" y="648"/>
                  </a:lnTo>
                  <a:lnTo>
                    <a:pt x="108" y="648"/>
                  </a:lnTo>
                  <a:lnTo>
                    <a:pt x="174" y="642"/>
                  </a:lnTo>
                  <a:lnTo>
                    <a:pt x="216" y="636"/>
                  </a:lnTo>
                  <a:lnTo>
                    <a:pt x="240" y="630"/>
                  </a:lnTo>
                  <a:lnTo>
                    <a:pt x="246" y="618"/>
                  </a:lnTo>
                  <a:lnTo>
                    <a:pt x="264" y="600"/>
                  </a:lnTo>
                  <a:lnTo>
                    <a:pt x="294" y="582"/>
                  </a:lnTo>
                  <a:lnTo>
                    <a:pt x="318" y="552"/>
                  </a:lnTo>
                  <a:lnTo>
                    <a:pt x="330" y="546"/>
                  </a:lnTo>
                  <a:lnTo>
                    <a:pt x="348" y="510"/>
                  </a:lnTo>
                  <a:lnTo>
                    <a:pt x="372" y="474"/>
                  </a:lnTo>
                  <a:lnTo>
                    <a:pt x="384" y="444"/>
                  </a:lnTo>
                  <a:lnTo>
                    <a:pt x="396" y="420"/>
                  </a:lnTo>
                  <a:lnTo>
                    <a:pt x="402" y="378"/>
                  </a:lnTo>
                  <a:lnTo>
                    <a:pt x="402" y="228"/>
                  </a:lnTo>
                  <a:lnTo>
                    <a:pt x="414" y="186"/>
                  </a:lnTo>
                  <a:lnTo>
                    <a:pt x="432" y="138"/>
                  </a:lnTo>
                  <a:lnTo>
                    <a:pt x="438" y="114"/>
                  </a:lnTo>
                  <a:lnTo>
                    <a:pt x="444" y="96"/>
                  </a:lnTo>
                  <a:lnTo>
                    <a:pt x="462" y="84"/>
                  </a:lnTo>
                  <a:lnTo>
                    <a:pt x="474" y="78"/>
                  </a:lnTo>
                  <a:lnTo>
                    <a:pt x="492" y="72"/>
                  </a:lnTo>
                  <a:lnTo>
                    <a:pt x="492" y="66"/>
                  </a:lnTo>
                  <a:lnTo>
                    <a:pt x="498" y="66"/>
                  </a:lnTo>
                  <a:lnTo>
                    <a:pt x="510" y="66"/>
                  </a:lnTo>
                  <a:lnTo>
                    <a:pt x="510" y="72"/>
                  </a:lnTo>
                  <a:lnTo>
                    <a:pt x="516" y="72"/>
                  </a:lnTo>
                  <a:lnTo>
                    <a:pt x="522" y="78"/>
                  </a:lnTo>
                  <a:lnTo>
                    <a:pt x="546" y="78"/>
                  </a:lnTo>
                  <a:lnTo>
                    <a:pt x="552" y="60"/>
                  </a:lnTo>
                  <a:lnTo>
                    <a:pt x="570" y="42"/>
                  </a:lnTo>
                  <a:lnTo>
                    <a:pt x="576" y="24"/>
                  </a:lnTo>
                  <a:lnTo>
                    <a:pt x="588" y="18"/>
                  </a:lnTo>
                  <a:lnTo>
                    <a:pt x="588" y="12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624" y="0"/>
                  </a:lnTo>
                  <a:lnTo>
                    <a:pt x="636" y="6"/>
                  </a:lnTo>
                  <a:lnTo>
                    <a:pt x="648" y="24"/>
                  </a:lnTo>
                  <a:lnTo>
                    <a:pt x="654" y="48"/>
                  </a:lnTo>
                  <a:lnTo>
                    <a:pt x="672" y="60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0" y="72"/>
                  </a:lnTo>
                  <a:lnTo>
                    <a:pt x="690" y="78"/>
                  </a:lnTo>
                  <a:lnTo>
                    <a:pt x="696" y="90"/>
                  </a:lnTo>
                  <a:lnTo>
                    <a:pt x="714" y="114"/>
                  </a:lnTo>
                  <a:lnTo>
                    <a:pt x="714" y="120"/>
                  </a:lnTo>
                  <a:lnTo>
                    <a:pt x="720" y="132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20" y="150"/>
                  </a:lnTo>
                  <a:lnTo>
                    <a:pt x="714" y="150"/>
                  </a:lnTo>
                  <a:lnTo>
                    <a:pt x="714" y="156"/>
                  </a:lnTo>
                  <a:lnTo>
                    <a:pt x="714" y="162"/>
                  </a:lnTo>
                  <a:lnTo>
                    <a:pt x="708" y="162"/>
                  </a:lnTo>
                  <a:lnTo>
                    <a:pt x="708" y="168"/>
                  </a:lnTo>
                  <a:lnTo>
                    <a:pt x="702" y="168"/>
                  </a:lnTo>
                  <a:lnTo>
                    <a:pt x="702" y="174"/>
                  </a:lnTo>
                  <a:lnTo>
                    <a:pt x="702" y="180"/>
                  </a:lnTo>
                  <a:lnTo>
                    <a:pt x="708" y="180"/>
                  </a:lnTo>
                  <a:lnTo>
                    <a:pt x="708" y="186"/>
                  </a:lnTo>
                  <a:lnTo>
                    <a:pt x="708" y="192"/>
                  </a:lnTo>
                  <a:lnTo>
                    <a:pt x="714" y="204"/>
                  </a:lnTo>
                  <a:lnTo>
                    <a:pt x="726" y="216"/>
                  </a:lnTo>
                  <a:lnTo>
                    <a:pt x="738" y="216"/>
                  </a:lnTo>
                  <a:lnTo>
                    <a:pt x="768" y="222"/>
                  </a:lnTo>
                  <a:lnTo>
                    <a:pt x="780" y="216"/>
                  </a:lnTo>
                  <a:lnTo>
                    <a:pt x="792" y="204"/>
                  </a:lnTo>
                  <a:lnTo>
                    <a:pt x="798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6" y="192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6" y="174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22" y="156"/>
                  </a:lnTo>
                  <a:lnTo>
                    <a:pt x="822" y="150"/>
                  </a:lnTo>
                  <a:lnTo>
                    <a:pt x="828" y="144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8" y="138"/>
                  </a:lnTo>
                  <a:lnTo>
                    <a:pt x="834" y="132"/>
                  </a:lnTo>
                  <a:lnTo>
                    <a:pt x="840" y="132"/>
                  </a:lnTo>
                  <a:lnTo>
                    <a:pt x="864" y="126"/>
                  </a:lnTo>
                  <a:lnTo>
                    <a:pt x="906" y="144"/>
                  </a:lnTo>
                  <a:lnTo>
                    <a:pt x="906" y="150"/>
                  </a:lnTo>
                  <a:lnTo>
                    <a:pt x="906" y="156"/>
                  </a:lnTo>
                  <a:lnTo>
                    <a:pt x="900" y="162"/>
                  </a:lnTo>
                  <a:lnTo>
                    <a:pt x="924" y="168"/>
                  </a:lnTo>
                  <a:lnTo>
                    <a:pt x="942" y="192"/>
                  </a:lnTo>
                  <a:lnTo>
                    <a:pt x="972" y="210"/>
                  </a:lnTo>
                  <a:lnTo>
                    <a:pt x="972" y="216"/>
                  </a:lnTo>
                  <a:lnTo>
                    <a:pt x="972" y="228"/>
                  </a:lnTo>
                  <a:lnTo>
                    <a:pt x="978" y="234"/>
                  </a:lnTo>
                  <a:lnTo>
                    <a:pt x="978" y="246"/>
                  </a:lnTo>
                  <a:lnTo>
                    <a:pt x="984" y="252"/>
                  </a:lnTo>
                  <a:lnTo>
                    <a:pt x="1014" y="252"/>
                  </a:lnTo>
                  <a:lnTo>
                    <a:pt x="1020" y="228"/>
                  </a:lnTo>
                  <a:lnTo>
                    <a:pt x="1026" y="198"/>
                  </a:lnTo>
                  <a:lnTo>
                    <a:pt x="1050" y="186"/>
                  </a:lnTo>
                  <a:lnTo>
                    <a:pt x="1056" y="180"/>
                  </a:lnTo>
                  <a:lnTo>
                    <a:pt x="1050" y="174"/>
                  </a:lnTo>
                  <a:lnTo>
                    <a:pt x="1050" y="168"/>
                  </a:lnTo>
                  <a:lnTo>
                    <a:pt x="1050" y="162"/>
                  </a:lnTo>
                  <a:lnTo>
                    <a:pt x="1056" y="162"/>
                  </a:lnTo>
                  <a:lnTo>
                    <a:pt x="1062" y="162"/>
                  </a:lnTo>
                  <a:lnTo>
                    <a:pt x="1074" y="162"/>
                  </a:lnTo>
                  <a:lnTo>
                    <a:pt x="1074" y="144"/>
                  </a:lnTo>
                  <a:lnTo>
                    <a:pt x="1074" y="120"/>
                  </a:lnTo>
                  <a:lnTo>
                    <a:pt x="1092" y="120"/>
                  </a:lnTo>
                  <a:lnTo>
                    <a:pt x="1098" y="126"/>
                  </a:lnTo>
                  <a:lnTo>
                    <a:pt x="1134" y="132"/>
                  </a:lnTo>
                  <a:lnTo>
                    <a:pt x="1146" y="132"/>
                  </a:lnTo>
                  <a:lnTo>
                    <a:pt x="1158" y="150"/>
                  </a:lnTo>
                  <a:lnTo>
                    <a:pt x="1158" y="156"/>
                  </a:lnTo>
                  <a:lnTo>
                    <a:pt x="1158" y="162"/>
                  </a:lnTo>
                  <a:lnTo>
                    <a:pt x="1158" y="180"/>
                  </a:lnTo>
                  <a:lnTo>
                    <a:pt x="1158" y="186"/>
                  </a:lnTo>
                  <a:lnTo>
                    <a:pt x="1164" y="192"/>
                  </a:lnTo>
                  <a:lnTo>
                    <a:pt x="1176" y="198"/>
                  </a:lnTo>
                  <a:lnTo>
                    <a:pt x="1182" y="198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8"/>
                  </a:lnTo>
                  <a:lnTo>
                    <a:pt x="1188" y="234"/>
                  </a:lnTo>
                  <a:lnTo>
                    <a:pt x="1212" y="234"/>
                  </a:lnTo>
                  <a:lnTo>
                    <a:pt x="1242" y="234"/>
                  </a:lnTo>
                  <a:lnTo>
                    <a:pt x="1248" y="234"/>
                  </a:lnTo>
                  <a:lnTo>
                    <a:pt x="1278" y="240"/>
                  </a:lnTo>
                  <a:lnTo>
                    <a:pt x="1320" y="234"/>
                  </a:lnTo>
                  <a:lnTo>
                    <a:pt x="1332" y="228"/>
                  </a:lnTo>
                  <a:lnTo>
                    <a:pt x="1344" y="228"/>
                  </a:lnTo>
                  <a:lnTo>
                    <a:pt x="1350" y="234"/>
                  </a:lnTo>
                  <a:lnTo>
                    <a:pt x="1350" y="240"/>
                  </a:lnTo>
                  <a:lnTo>
                    <a:pt x="1356" y="246"/>
                  </a:lnTo>
                  <a:lnTo>
                    <a:pt x="1350" y="252"/>
                  </a:lnTo>
                  <a:lnTo>
                    <a:pt x="1356" y="264"/>
                  </a:lnTo>
                  <a:lnTo>
                    <a:pt x="1356" y="270"/>
                  </a:lnTo>
                  <a:lnTo>
                    <a:pt x="1356" y="276"/>
                  </a:lnTo>
                  <a:lnTo>
                    <a:pt x="1356" y="282"/>
                  </a:lnTo>
                  <a:lnTo>
                    <a:pt x="1356" y="288"/>
                  </a:lnTo>
                  <a:lnTo>
                    <a:pt x="1350" y="294"/>
                  </a:lnTo>
                  <a:lnTo>
                    <a:pt x="1344" y="300"/>
                  </a:lnTo>
                  <a:lnTo>
                    <a:pt x="1344" y="306"/>
                  </a:lnTo>
                  <a:lnTo>
                    <a:pt x="1338" y="312"/>
                  </a:lnTo>
                  <a:lnTo>
                    <a:pt x="1326" y="342"/>
                  </a:lnTo>
                  <a:lnTo>
                    <a:pt x="1320" y="348"/>
                  </a:lnTo>
                  <a:lnTo>
                    <a:pt x="1314" y="354"/>
                  </a:lnTo>
                  <a:lnTo>
                    <a:pt x="1290" y="354"/>
                  </a:lnTo>
                  <a:lnTo>
                    <a:pt x="1284" y="360"/>
                  </a:lnTo>
                  <a:lnTo>
                    <a:pt x="1278" y="378"/>
                  </a:lnTo>
                  <a:lnTo>
                    <a:pt x="1278" y="384"/>
                  </a:lnTo>
                  <a:lnTo>
                    <a:pt x="1272" y="390"/>
                  </a:lnTo>
                  <a:lnTo>
                    <a:pt x="1266" y="396"/>
                  </a:lnTo>
                  <a:lnTo>
                    <a:pt x="1260" y="396"/>
                  </a:lnTo>
                  <a:lnTo>
                    <a:pt x="1248" y="402"/>
                  </a:lnTo>
                  <a:lnTo>
                    <a:pt x="1242" y="408"/>
                  </a:lnTo>
                  <a:lnTo>
                    <a:pt x="1242" y="414"/>
                  </a:lnTo>
                  <a:lnTo>
                    <a:pt x="1242" y="420"/>
                  </a:lnTo>
                  <a:lnTo>
                    <a:pt x="1236" y="432"/>
                  </a:lnTo>
                  <a:lnTo>
                    <a:pt x="1242" y="432"/>
                  </a:lnTo>
                  <a:lnTo>
                    <a:pt x="1242" y="444"/>
                  </a:lnTo>
                  <a:lnTo>
                    <a:pt x="1242" y="456"/>
                  </a:lnTo>
                  <a:lnTo>
                    <a:pt x="1248" y="456"/>
                  </a:lnTo>
                  <a:lnTo>
                    <a:pt x="1254" y="462"/>
                  </a:lnTo>
                  <a:lnTo>
                    <a:pt x="1248" y="468"/>
                  </a:lnTo>
                  <a:lnTo>
                    <a:pt x="1254" y="468"/>
                  </a:lnTo>
                  <a:lnTo>
                    <a:pt x="1266" y="474"/>
                  </a:lnTo>
                  <a:lnTo>
                    <a:pt x="1266" y="480"/>
                  </a:lnTo>
                  <a:lnTo>
                    <a:pt x="1266" y="486"/>
                  </a:lnTo>
                  <a:lnTo>
                    <a:pt x="1272" y="486"/>
                  </a:lnTo>
                  <a:lnTo>
                    <a:pt x="1272" y="492"/>
                  </a:lnTo>
                  <a:lnTo>
                    <a:pt x="1290" y="510"/>
                  </a:lnTo>
                  <a:lnTo>
                    <a:pt x="1296" y="516"/>
                  </a:lnTo>
                  <a:lnTo>
                    <a:pt x="1302" y="540"/>
                  </a:lnTo>
                  <a:lnTo>
                    <a:pt x="1302" y="546"/>
                  </a:lnTo>
                  <a:lnTo>
                    <a:pt x="1302" y="558"/>
                  </a:lnTo>
                  <a:lnTo>
                    <a:pt x="1302" y="570"/>
                  </a:lnTo>
                  <a:lnTo>
                    <a:pt x="1302" y="576"/>
                  </a:lnTo>
                  <a:lnTo>
                    <a:pt x="1344" y="570"/>
                  </a:lnTo>
                  <a:lnTo>
                    <a:pt x="1350" y="582"/>
                  </a:lnTo>
                  <a:lnTo>
                    <a:pt x="1368" y="594"/>
                  </a:lnTo>
                  <a:lnTo>
                    <a:pt x="1374" y="600"/>
                  </a:lnTo>
                  <a:lnTo>
                    <a:pt x="1380" y="600"/>
                  </a:lnTo>
                  <a:lnTo>
                    <a:pt x="1380" y="618"/>
                  </a:lnTo>
                  <a:lnTo>
                    <a:pt x="1386" y="624"/>
                  </a:lnTo>
                  <a:lnTo>
                    <a:pt x="1404" y="624"/>
                  </a:lnTo>
                  <a:lnTo>
                    <a:pt x="1410" y="612"/>
                  </a:lnTo>
                  <a:lnTo>
                    <a:pt x="1428" y="606"/>
                  </a:lnTo>
                  <a:lnTo>
                    <a:pt x="1488" y="606"/>
                  </a:lnTo>
                  <a:lnTo>
                    <a:pt x="1506" y="606"/>
                  </a:lnTo>
                  <a:lnTo>
                    <a:pt x="1512" y="600"/>
                  </a:lnTo>
                  <a:lnTo>
                    <a:pt x="1524" y="594"/>
                  </a:lnTo>
                  <a:lnTo>
                    <a:pt x="1554" y="594"/>
                  </a:lnTo>
                  <a:lnTo>
                    <a:pt x="1578" y="606"/>
                  </a:lnTo>
                  <a:lnTo>
                    <a:pt x="1596" y="624"/>
                  </a:lnTo>
                  <a:lnTo>
                    <a:pt x="1650" y="642"/>
                  </a:lnTo>
                  <a:lnTo>
                    <a:pt x="1686" y="648"/>
                  </a:lnTo>
                  <a:lnTo>
                    <a:pt x="1698" y="654"/>
                  </a:lnTo>
                  <a:lnTo>
                    <a:pt x="1698" y="660"/>
                  </a:lnTo>
                  <a:lnTo>
                    <a:pt x="1692" y="666"/>
                  </a:lnTo>
                  <a:lnTo>
                    <a:pt x="1692" y="672"/>
                  </a:lnTo>
                  <a:lnTo>
                    <a:pt x="1698" y="678"/>
                  </a:lnTo>
                  <a:lnTo>
                    <a:pt x="1698" y="684"/>
                  </a:lnTo>
                  <a:lnTo>
                    <a:pt x="1692" y="684"/>
                  </a:lnTo>
                  <a:lnTo>
                    <a:pt x="1692" y="690"/>
                  </a:lnTo>
                  <a:lnTo>
                    <a:pt x="1698" y="696"/>
                  </a:lnTo>
                  <a:lnTo>
                    <a:pt x="1698" y="702"/>
                  </a:lnTo>
                  <a:lnTo>
                    <a:pt x="1698" y="708"/>
                  </a:lnTo>
                  <a:lnTo>
                    <a:pt x="1704" y="714"/>
                  </a:lnTo>
                  <a:lnTo>
                    <a:pt x="1704" y="720"/>
                  </a:lnTo>
                  <a:lnTo>
                    <a:pt x="1704" y="726"/>
                  </a:lnTo>
                  <a:lnTo>
                    <a:pt x="1704" y="732"/>
                  </a:lnTo>
                  <a:lnTo>
                    <a:pt x="1704" y="738"/>
                  </a:lnTo>
                  <a:lnTo>
                    <a:pt x="1698" y="726"/>
                  </a:lnTo>
                  <a:lnTo>
                    <a:pt x="1668" y="720"/>
                  </a:lnTo>
                  <a:lnTo>
                    <a:pt x="1626" y="714"/>
                  </a:lnTo>
                  <a:lnTo>
                    <a:pt x="1614" y="708"/>
                  </a:lnTo>
                  <a:lnTo>
                    <a:pt x="1578" y="696"/>
                  </a:lnTo>
                  <a:lnTo>
                    <a:pt x="1566" y="696"/>
                  </a:lnTo>
                  <a:lnTo>
                    <a:pt x="1548" y="702"/>
                  </a:lnTo>
                  <a:lnTo>
                    <a:pt x="1542" y="714"/>
                  </a:lnTo>
                  <a:lnTo>
                    <a:pt x="1536" y="732"/>
                  </a:lnTo>
                  <a:lnTo>
                    <a:pt x="1530" y="750"/>
                  </a:lnTo>
                  <a:lnTo>
                    <a:pt x="1536" y="750"/>
                  </a:lnTo>
                  <a:lnTo>
                    <a:pt x="1542" y="756"/>
                  </a:lnTo>
                  <a:lnTo>
                    <a:pt x="1542" y="762"/>
                  </a:lnTo>
                  <a:lnTo>
                    <a:pt x="1548" y="762"/>
                  </a:lnTo>
                  <a:lnTo>
                    <a:pt x="1554" y="762"/>
                  </a:lnTo>
                  <a:lnTo>
                    <a:pt x="1554" y="768"/>
                  </a:lnTo>
                  <a:lnTo>
                    <a:pt x="1560" y="774"/>
                  </a:lnTo>
                  <a:lnTo>
                    <a:pt x="1566" y="774"/>
                  </a:lnTo>
                  <a:lnTo>
                    <a:pt x="1584" y="792"/>
                  </a:lnTo>
                  <a:lnTo>
                    <a:pt x="1584" y="810"/>
                  </a:lnTo>
                  <a:lnTo>
                    <a:pt x="1572" y="816"/>
                  </a:lnTo>
                  <a:lnTo>
                    <a:pt x="1578" y="834"/>
                  </a:lnTo>
                  <a:lnTo>
                    <a:pt x="1578" y="846"/>
                  </a:lnTo>
                  <a:lnTo>
                    <a:pt x="1584" y="858"/>
                  </a:lnTo>
                  <a:lnTo>
                    <a:pt x="1590" y="864"/>
                  </a:lnTo>
                  <a:lnTo>
                    <a:pt x="1590" y="876"/>
                  </a:lnTo>
                  <a:lnTo>
                    <a:pt x="1578" y="888"/>
                  </a:lnTo>
                  <a:lnTo>
                    <a:pt x="1560" y="906"/>
                  </a:lnTo>
                  <a:lnTo>
                    <a:pt x="1536" y="930"/>
                  </a:lnTo>
                  <a:lnTo>
                    <a:pt x="1530" y="930"/>
                  </a:lnTo>
                  <a:lnTo>
                    <a:pt x="1506" y="942"/>
                  </a:lnTo>
                  <a:lnTo>
                    <a:pt x="1488" y="948"/>
                  </a:lnTo>
                  <a:lnTo>
                    <a:pt x="1476" y="954"/>
                  </a:lnTo>
                  <a:lnTo>
                    <a:pt x="1458" y="960"/>
                  </a:lnTo>
                  <a:lnTo>
                    <a:pt x="1452" y="966"/>
                  </a:lnTo>
                  <a:lnTo>
                    <a:pt x="1446" y="966"/>
                  </a:lnTo>
                  <a:lnTo>
                    <a:pt x="1434" y="972"/>
                  </a:lnTo>
                  <a:lnTo>
                    <a:pt x="1434" y="954"/>
                  </a:lnTo>
                  <a:lnTo>
                    <a:pt x="1422" y="942"/>
                  </a:lnTo>
                  <a:lnTo>
                    <a:pt x="1398" y="924"/>
                  </a:lnTo>
                  <a:lnTo>
                    <a:pt x="1398" y="912"/>
                  </a:lnTo>
                  <a:lnTo>
                    <a:pt x="1398" y="906"/>
                  </a:lnTo>
                  <a:lnTo>
                    <a:pt x="1398" y="900"/>
                  </a:lnTo>
                  <a:lnTo>
                    <a:pt x="1380" y="900"/>
                  </a:lnTo>
                  <a:lnTo>
                    <a:pt x="1380" y="894"/>
                  </a:lnTo>
                  <a:lnTo>
                    <a:pt x="1368" y="888"/>
                  </a:lnTo>
                  <a:lnTo>
                    <a:pt x="1362" y="882"/>
                  </a:lnTo>
                  <a:lnTo>
                    <a:pt x="1356" y="876"/>
                  </a:lnTo>
                  <a:lnTo>
                    <a:pt x="1350" y="864"/>
                  </a:lnTo>
                  <a:lnTo>
                    <a:pt x="1344" y="858"/>
                  </a:lnTo>
                  <a:lnTo>
                    <a:pt x="1314" y="870"/>
                  </a:lnTo>
                  <a:lnTo>
                    <a:pt x="1272" y="876"/>
                  </a:lnTo>
                  <a:lnTo>
                    <a:pt x="1218" y="870"/>
                  </a:lnTo>
                  <a:lnTo>
                    <a:pt x="1200" y="864"/>
                  </a:lnTo>
                  <a:lnTo>
                    <a:pt x="1182" y="864"/>
                  </a:lnTo>
                  <a:lnTo>
                    <a:pt x="1134" y="858"/>
                  </a:lnTo>
                  <a:lnTo>
                    <a:pt x="1110" y="840"/>
                  </a:lnTo>
                  <a:lnTo>
                    <a:pt x="1086" y="828"/>
                  </a:lnTo>
                  <a:lnTo>
                    <a:pt x="1044" y="816"/>
                  </a:lnTo>
                  <a:lnTo>
                    <a:pt x="1014" y="816"/>
                  </a:lnTo>
                  <a:lnTo>
                    <a:pt x="990" y="822"/>
                  </a:lnTo>
                  <a:lnTo>
                    <a:pt x="948" y="858"/>
                  </a:lnTo>
                  <a:lnTo>
                    <a:pt x="930" y="864"/>
                  </a:lnTo>
                  <a:lnTo>
                    <a:pt x="924" y="876"/>
                  </a:lnTo>
                  <a:lnTo>
                    <a:pt x="918" y="906"/>
                  </a:lnTo>
                  <a:lnTo>
                    <a:pt x="924" y="930"/>
                  </a:lnTo>
                  <a:lnTo>
                    <a:pt x="948" y="984"/>
                  </a:lnTo>
                  <a:lnTo>
                    <a:pt x="954" y="1008"/>
                  </a:lnTo>
                  <a:lnTo>
                    <a:pt x="948" y="1014"/>
                  </a:lnTo>
                  <a:lnTo>
                    <a:pt x="954" y="1014"/>
                  </a:lnTo>
                  <a:lnTo>
                    <a:pt x="954" y="1032"/>
                  </a:lnTo>
                  <a:lnTo>
                    <a:pt x="966" y="1044"/>
                  </a:lnTo>
                  <a:lnTo>
                    <a:pt x="960" y="1056"/>
                  </a:lnTo>
                  <a:lnTo>
                    <a:pt x="954" y="1056"/>
                  </a:lnTo>
                  <a:lnTo>
                    <a:pt x="948" y="1056"/>
                  </a:lnTo>
                  <a:lnTo>
                    <a:pt x="942" y="1056"/>
                  </a:lnTo>
                  <a:lnTo>
                    <a:pt x="936" y="1050"/>
                  </a:lnTo>
                  <a:lnTo>
                    <a:pt x="930" y="1044"/>
                  </a:lnTo>
                  <a:lnTo>
                    <a:pt x="924" y="1044"/>
                  </a:lnTo>
                  <a:lnTo>
                    <a:pt x="918" y="1038"/>
                  </a:lnTo>
                  <a:lnTo>
                    <a:pt x="912" y="1038"/>
                  </a:lnTo>
                  <a:lnTo>
                    <a:pt x="906" y="1032"/>
                  </a:lnTo>
                  <a:lnTo>
                    <a:pt x="900" y="1032"/>
                  </a:lnTo>
                  <a:lnTo>
                    <a:pt x="888" y="1026"/>
                  </a:lnTo>
                  <a:lnTo>
                    <a:pt x="882" y="1026"/>
                  </a:lnTo>
                  <a:lnTo>
                    <a:pt x="876" y="1026"/>
                  </a:lnTo>
                  <a:lnTo>
                    <a:pt x="864" y="1014"/>
                  </a:lnTo>
                  <a:lnTo>
                    <a:pt x="846" y="1008"/>
                  </a:lnTo>
                  <a:lnTo>
                    <a:pt x="840" y="996"/>
                  </a:lnTo>
                  <a:lnTo>
                    <a:pt x="840" y="990"/>
                  </a:lnTo>
                  <a:lnTo>
                    <a:pt x="834" y="990"/>
                  </a:lnTo>
                  <a:lnTo>
                    <a:pt x="828" y="990"/>
                  </a:lnTo>
                  <a:lnTo>
                    <a:pt x="816" y="990"/>
                  </a:lnTo>
                  <a:lnTo>
                    <a:pt x="810" y="990"/>
                  </a:lnTo>
                  <a:lnTo>
                    <a:pt x="804" y="984"/>
                  </a:lnTo>
                  <a:lnTo>
                    <a:pt x="792" y="978"/>
                  </a:lnTo>
                  <a:lnTo>
                    <a:pt x="786" y="972"/>
                  </a:lnTo>
                  <a:lnTo>
                    <a:pt x="780" y="972"/>
                  </a:lnTo>
                  <a:lnTo>
                    <a:pt x="768" y="966"/>
                  </a:lnTo>
                  <a:lnTo>
                    <a:pt x="762" y="966"/>
                  </a:lnTo>
                  <a:lnTo>
                    <a:pt x="756" y="966"/>
                  </a:lnTo>
                  <a:lnTo>
                    <a:pt x="750" y="966"/>
                  </a:lnTo>
                  <a:lnTo>
                    <a:pt x="744" y="966"/>
                  </a:lnTo>
                  <a:lnTo>
                    <a:pt x="738" y="960"/>
                  </a:lnTo>
                  <a:lnTo>
                    <a:pt x="732" y="954"/>
                  </a:lnTo>
                  <a:lnTo>
                    <a:pt x="720" y="954"/>
                  </a:lnTo>
                  <a:lnTo>
                    <a:pt x="714" y="948"/>
                  </a:lnTo>
                  <a:lnTo>
                    <a:pt x="708" y="948"/>
                  </a:lnTo>
                  <a:lnTo>
                    <a:pt x="696" y="948"/>
                  </a:lnTo>
                  <a:lnTo>
                    <a:pt x="684" y="942"/>
                  </a:lnTo>
                  <a:lnTo>
                    <a:pt x="678" y="936"/>
                  </a:lnTo>
                  <a:lnTo>
                    <a:pt x="660" y="930"/>
                  </a:lnTo>
                  <a:lnTo>
                    <a:pt x="642" y="924"/>
                  </a:lnTo>
                  <a:lnTo>
                    <a:pt x="636" y="924"/>
                  </a:lnTo>
                  <a:lnTo>
                    <a:pt x="630" y="924"/>
                  </a:lnTo>
                  <a:lnTo>
                    <a:pt x="618" y="924"/>
                  </a:lnTo>
                  <a:lnTo>
                    <a:pt x="618" y="918"/>
                  </a:lnTo>
                  <a:lnTo>
                    <a:pt x="606" y="918"/>
                  </a:lnTo>
                  <a:lnTo>
                    <a:pt x="600" y="918"/>
                  </a:lnTo>
                  <a:lnTo>
                    <a:pt x="594" y="918"/>
                  </a:lnTo>
                  <a:lnTo>
                    <a:pt x="594" y="912"/>
                  </a:lnTo>
                  <a:lnTo>
                    <a:pt x="588" y="912"/>
                  </a:lnTo>
                  <a:lnTo>
                    <a:pt x="582" y="912"/>
                  </a:lnTo>
                  <a:lnTo>
                    <a:pt x="582" y="918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58" y="918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12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00"/>
                  </a:lnTo>
                  <a:lnTo>
                    <a:pt x="516" y="900"/>
                  </a:lnTo>
                  <a:lnTo>
                    <a:pt x="510" y="900"/>
                  </a:lnTo>
                  <a:lnTo>
                    <a:pt x="486" y="894"/>
                  </a:lnTo>
                  <a:lnTo>
                    <a:pt x="474" y="888"/>
                  </a:lnTo>
                  <a:lnTo>
                    <a:pt x="468" y="888"/>
                  </a:lnTo>
                  <a:lnTo>
                    <a:pt x="450" y="88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0" name="Freeform 15">
              <a:extLst>
                <a:ext uri="{FF2B5EF4-FFF2-40B4-BE49-F238E27FC236}">
                  <a16:creationId xmlns:a16="http://schemas.microsoft.com/office/drawing/2014/main" id="{8B991D7A-45C6-40F6-A035-24DFC733305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382" y="2652043"/>
              <a:ext cx="724526" cy="695552"/>
            </a:xfrm>
            <a:custGeom>
              <a:avLst/>
              <a:gdLst>
                <a:gd name="T0" fmla="*/ 44 w 1362"/>
                <a:gd name="T1" fmla="*/ 106 h 1308"/>
                <a:gd name="T2" fmla="*/ 32 w 1362"/>
                <a:gd name="T3" fmla="*/ 109 h 1308"/>
                <a:gd name="T4" fmla="*/ 25 w 1362"/>
                <a:gd name="T5" fmla="*/ 105 h 1308"/>
                <a:gd name="T6" fmla="*/ 22 w 1362"/>
                <a:gd name="T7" fmla="*/ 97 h 1308"/>
                <a:gd name="T8" fmla="*/ 21 w 1362"/>
                <a:gd name="T9" fmla="*/ 95 h 1308"/>
                <a:gd name="T10" fmla="*/ 20 w 1362"/>
                <a:gd name="T11" fmla="*/ 90 h 1308"/>
                <a:gd name="T12" fmla="*/ 23 w 1362"/>
                <a:gd name="T13" fmla="*/ 87 h 1308"/>
                <a:gd name="T14" fmla="*/ 29 w 1362"/>
                <a:gd name="T15" fmla="*/ 81 h 1308"/>
                <a:gd name="T16" fmla="*/ 30 w 1362"/>
                <a:gd name="T17" fmla="*/ 78 h 1308"/>
                <a:gd name="T18" fmla="*/ 27 w 1362"/>
                <a:gd name="T19" fmla="*/ 75 h 1308"/>
                <a:gd name="T20" fmla="*/ 15 w 1362"/>
                <a:gd name="T21" fmla="*/ 73 h 1308"/>
                <a:gd name="T22" fmla="*/ 12 w 1362"/>
                <a:gd name="T23" fmla="*/ 69 h 1308"/>
                <a:gd name="T24" fmla="*/ 5 w 1362"/>
                <a:gd name="T25" fmla="*/ 65 h 1308"/>
                <a:gd name="T26" fmla="*/ 6 w 1362"/>
                <a:gd name="T27" fmla="*/ 62 h 1308"/>
                <a:gd name="T28" fmla="*/ 7 w 1362"/>
                <a:gd name="T29" fmla="*/ 56 h 1308"/>
                <a:gd name="T30" fmla="*/ 2 w 1362"/>
                <a:gd name="T31" fmla="*/ 49 h 1308"/>
                <a:gd name="T32" fmla="*/ 0 w 1362"/>
                <a:gd name="T33" fmla="*/ 44 h 1308"/>
                <a:gd name="T34" fmla="*/ 0 w 1362"/>
                <a:gd name="T35" fmla="*/ 39 h 1308"/>
                <a:gd name="T36" fmla="*/ 3 w 1362"/>
                <a:gd name="T37" fmla="*/ 35 h 1308"/>
                <a:gd name="T38" fmla="*/ 3 w 1362"/>
                <a:gd name="T39" fmla="*/ 28 h 1308"/>
                <a:gd name="T40" fmla="*/ 6 w 1362"/>
                <a:gd name="T41" fmla="*/ 18 h 1308"/>
                <a:gd name="T42" fmla="*/ 6 w 1362"/>
                <a:gd name="T43" fmla="*/ 8 h 1308"/>
                <a:gd name="T44" fmla="*/ 10 w 1362"/>
                <a:gd name="T45" fmla="*/ 5 h 1308"/>
                <a:gd name="T46" fmla="*/ 15 w 1362"/>
                <a:gd name="T47" fmla="*/ 0 h 1308"/>
                <a:gd name="T48" fmla="*/ 21 w 1362"/>
                <a:gd name="T49" fmla="*/ 7 h 1308"/>
                <a:gd name="T50" fmla="*/ 25 w 1362"/>
                <a:gd name="T51" fmla="*/ 15 h 1308"/>
                <a:gd name="T52" fmla="*/ 24 w 1362"/>
                <a:gd name="T53" fmla="*/ 19 h 1308"/>
                <a:gd name="T54" fmla="*/ 32 w 1362"/>
                <a:gd name="T55" fmla="*/ 19 h 1308"/>
                <a:gd name="T56" fmla="*/ 35 w 1362"/>
                <a:gd name="T57" fmla="*/ 20 h 1308"/>
                <a:gd name="T58" fmla="*/ 40 w 1362"/>
                <a:gd name="T59" fmla="*/ 23 h 1308"/>
                <a:gd name="T60" fmla="*/ 40 w 1362"/>
                <a:gd name="T61" fmla="*/ 26 h 1308"/>
                <a:gd name="T62" fmla="*/ 34 w 1362"/>
                <a:gd name="T63" fmla="*/ 35 h 1308"/>
                <a:gd name="T64" fmla="*/ 41 w 1362"/>
                <a:gd name="T65" fmla="*/ 37 h 1308"/>
                <a:gd name="T66" fmla="*/ 43 w 1362"/>
                <a:gd name="T67" fmla="*/ 44 h 1308"/>
                <a:gd name="T68" fmla="*/ 48 w 1362"/>
                <a:gd name="T69" fmla="*/ 47 h 1308"/>
                <a:gd name="T70" fmla="*/ 57 w 1362"/>
                <a:gd name="T71" fmla="*/ 48 h 1308"/>
                <a:gd name="T72" fmla="*/ 70 w 1362"/>
                <a:gd name="T73" fmla="*/ 44 h 1308"/>
                <a:gd name="T74" fmla="*/ 80 w 1362"/>
                <a:gd name="T75" fmla="*/ 34 h 1308"/>
                <a:gd name="T76" fmla="*/ 95 w 1362"/>
                <a:gd name="T77" fmla="*/ 41 h 1308"/>
                <a:gd name="T78" fmla="*/ 109 w 1362"/>
                <a:gd name="T79" fmla="*/ 47 h 1308"/>
                <a:gd name="T80" fmla="*/ 111 w 1362"/>
                <a:gd name="T81" fmla="*/ 50 h 1308"/>
                <a:gd name="T82" fmla="*/ 113 w 1362"/>
                <a:gd name="T83" fmla="*/ 53 h 1308"/>
                <a:gd name="T84" fmla="*/ 113 w 1362"/>
                <a:gd name="T85" fmla="*/ 55 h 1308"/>
                <a:gd name="T86" fmla="*/ 113 w 1362"/>
                <a:gd name="T87" fmla="*/ 59 h 1308"/>
                <a:gd name="T88" fmla="*/ 113 w 1362"/>
                <a:gd name="T89" fmla="*/ 62 h 1308"/>
                <a:gd name="T90" fmla="*/ 115 w 1362"/>
                <a:gd name="T91" fmla="*/ 65 h 1308"/>
                <a:gd name="T92" fmla="*/ 115 w 1362"/>
                <a:gd name="T93" fmla="*/ 67 h 1308"/>
                <a:gd name="T94" fmla="*/ 116 w 1362"/>
                <a:gd name="T95" fmla="*/ 69 h 1308"/>
                <a:gd name="T96" fmla="*/ 116 w 1362"/>
                <a:gd name="T97" fmla="*/ 71 h 1308"/>
                <a:gd name="T98" fmla="*/ 118 w 1362"/>
                <a:gd name="T99" fmla="*/ 75 h 1308"/>
                <a:gd name="T100" fmla="*/ 116 w 1362"/>
                <a:gd name="T101" fmla="*/ 77 h 1308"/>
                <a:gd name="T102" fmla="*/ 116 w 1362"/>
                <a:gd name="T103" fmla="*/ 79 h 1308"/>
                <a:gd name="T104" fmla="*/ 101 w 1362"/>
                <a:gd name="T105" fmla="*/ 87 h 1308"/>
                <a:gd name="T106" fmla="*/ 85 w 1362"/>
                <a:gd name="T107" fmla="*/ 103 h 1308"/>
                <a:gd name="T108" fmla="*/ 67 w 1362"/>
                <a:gd name="T109" fmla="*/ 114 h 130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62"/>
                <a:gd name="T166" fmla="*/ 0 h 1308"/>
                <a:gd name="T167" fmla="*/ 1362 w 1362"/>
                <a:gd name="T168" fmla="*/ 1308 h 130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62" h="1308">
                  <a:moveTo>
                    <a:pt x="684" y="1278"/>
                  </a:moveTo>
                  <a:lnTo>
                    <a:pt x="672" y="1272"/>
                  </a:lnTo>
                  <a:lnTo>
                    <a:pt x="636" y="1266"/>
                  </a:lnTo>
                  <a:lnTo>
                    <a:pt x="582" y="1248"/>
                  </a:lnTo>
                  <a:lnTo>
                    <a:pt x="564" y="1230"/>
                  </a:lnTo>
                  <a:lnTo>
                    <a:pt x="540" y="1218"/>
                  </a:lnTo>
                  <a:lnTo>
                    <a:pt x="510" y="1218"/>
                  </a:lnTo>
                  <a:lnTo>
                    <a:pt x="498" y="1224"/>
                  </a:lnTo>
                  <a:lnTo>
                    <a:pt x="492" y="1230"/>
                  </a:lnTo>
                  <a:lnTo>
                    <a:pt x="474" y="1230"/>
                  </a:lnTo>
                  <a:lnTo>
                    <a:pt x="414" y="1230"/>
                  </a:lnTo>
                  <a:lnTo>
                    <a:pt x="396" y="1236"/>
                  </a:lnTo>
                  <a:lnTo>
                    <a:pt x="390" y="1248"/>
                  </a:lnTo>
                  <a:lnTo>
                    <a:pt x="372" y="1248"/>
                  </a:lnTo>
                  <a:lnTo>
                    <a:pt x="366" y="1242"/>
                  </a:lnTo>
                  <a:lnTo>
                    <a:pt x="366" y="1224"/>
                  </a:lnTo>
                  <a:lnTo>
                    <a:pt x="360" y="1224"/>
                  </a:lnTo>
                  <a:lnTo>
                    <a:pt x="354" y="1218"/>
                  </a:lnTo>
                  <a:lnTo>
                    <a:pt x="336" y="1206"/>
                  </a:lnTo>
                  <a:lnTo>
                    <a:pt x="330" y="1194"/>
                  </a:lnTo>
                  <a:lnTo>
                    <a:pt x="288" y="1200"/>
                  </a:lnTo>
                  <a:lnTo>
                    <a:pt x="288" y="1194"/>
                  </a:lnTo>
                  <a:lnTo>
                    <a:pt x="288" y="1182"/>
                  </a:lnTo>
                  <a:lnTo>
                    <a:pt x="288" y="1170"/>
                  </a:lnTo>
                  <a:lnTo>
                    <a:pt x="288" y="1164"/>
                  </a:lnTo>
                  <a:lnTo>
                    <a:pt x="282" y="1140"/>
                  </a:lnTo>
                  <a:lnTo>
                    <a:pt x="276" y="1134"/>
                  </a:lnTo>
                  <a:lnTo>
                    <a:pt x="258" y="1116"/>
                  </a:lnTo>
                  <a:lnTo>
                    <a:pt x="258" y="1110"/>
                  </a:lnTo>
                  <a:lnTo>
                    <a:pt x="252" y="1110"/>
                  </a:lnTo>
                  <a:lnTo>
                    <a:pt x="252" y="1104"/>
                  </a:lnTo>
                  <a:lnTo>
                    <a:pt x="252" y="1098"/>
                  </a:lnTo>
                  <a:lnTo>
                    <a:pt x="240" y="1092"/>
                  </a:lnTo>
                  <a:lnTo>
                    <a:pt x="234" y="1092"/>
                  </a:lnTo>
                  <a:lnTo>
                    <a:pt x="240" y="1086"/>
                  </a:lnTo>
                  <a:lnTo>
                    <a:pt x="234" y="1080"/>
                  </a:lnTo>
                  <a:lnTo>
                    <a:pt x="228" y="1080"/>
                  </a:lnTo>
                  <a:lnTo>
                    <a:pt x="228" y="1068"/>
                  </a:lnTo>
                  <a:lnTo>
                    <a:pt x="228" y="1056"/>
                  </a:lnTo>
                  <a:lnTo>
                    <a:pt x="222" y="1056"/>
                  </a:lnTo>
                  <a:lnTo>
                    <a:pt x="228" y="1044"/>
                  </a:lnTo>
                  <a:lnTo>
                    <a:pt x="228" y="1038"/>
                  </a:lnTo>
                  <a:lnTo>
                    <a:pt x="228" y="1032"/>
                  </a:lnTo>
                  <a:lnTo>
                    <a:pt x="234" y="1026"/>
                  </a:lnTo>
                  <a:lnTo>
                    <a:pt x="246" y="1020"/>
                  </a:lnTo>
                  <a:lnTo>
                    <a:pt x="252" y="1020"/>
                  </a:lnTo>
                  <a:lnTo>
                    <a:pt x="258" y="1014"/>
                  </a:lnTo>
                  <a:lnTo>
                    <a:pt x="264" y="1008"/>
                  </a:lnTo>
                  <a:lnTo>
                    <a:pt x="264" y="1002"/>
                  </a:lnTo>
                  <a:lnTo>
                    <a:pt x="270" y="984"/>
                  </a:lnTo>
                  <a:lnTo>
                    <a:pt x="276" y="978"/>
                  </a:lnTo>
                  <a:lnTo>
                    <a:pt x="300" y="978"/>
                  </a:lnTo>
                  <a:lnTo>
                    <a:pt x="306" y="972"/>
                  </a:lnTo>
                  <a:lnTo>
                    <a:pt x="312" y="966"/>
                  </a:lnTo>
                  <a:lnTo>
                    <a:pt x="324" y="936"/>
                  </a:lnTo>
                  <a:lnTo>
                    <a:pt x="330" y="930"/>
                  </a:lnTo>
                  <a:lnTo>
                    <a:pt x="330" y="924"/>
                  </a:lnTo>
                  <a:lnTo>
                    <a:pt x="336" y="918"/>
                  </a:lnTo>
                  <a:lnTo>
                    <a:pt x="342" y="912"/>
                  </a:lnTo>
                  <a:lnTo>
                    <a:pt x="342" y="906"/>
                  </a:lnTo>
                  <a:lnTo>
                    <a:pt x="342" y="900"/>
                  </a:lnTo>
                  <a:lnTo>
                    <a:pt x="342" y="894"/>
                  </a:lnTo>
                  <a:lnTo>
                    <a:pt x="342" y="888"/>
                  </a:lnTo>
                  <a:lnTo>
                    <a:pt x="336" y="876"/>
                  </a:lnTo>
                  <a:lnTo>
                    <a:pt x="342" y="870"/>
                  </a:lnTo>
                  <a:lnTo>
                    <a:pt x="336" y="864"/>
                  </a:lnTo>
                  <a:lnTo>
                    <a:pt x="336" y="858"/>
                  </a:lnTo>
                  <a:lnTo>
                    <a:pt x="330" y="852"/>
                  </a:lnTo>
                  <a:lnTo>
                    <a:pt x="318" y="852"/>
                  </a:lnTo>
                  <a:lnTo>
                    <a:pt x="306" y="858"/>
                  </a:lnTo>
                  <a:lnTo>
                    <a:pt x="264" y="864"/>
                  </a:lnTo>
                  <a:lnTo>
                    <a:pt x="234" y="858"/>
                  </a:lnTo>
                  <a:lnTo>
                    <a:pt x="228" y="858"/>
                  </a:lnTo>
                  <a:lnTo>
                    <a:pt x="198" y="858"/>
                  </a:lnTo>
                  <a:lnTo>
                    <a:pt x="174" y="858"/>
                  </a:lnTo>
                  <a:lnTo>
                    <a:pt x="168" y="852"/>
                  </a:lnTo>
                  <a:lnTo>
                    <a:pt x="168" y="840"/>
                  </a:lnTo>
                  <a:lnTo>
                    <a:pt x="168" y="834"/>
                  </a:lnTo>
                  <a:lnTo>
                    <a:pt x="168" y="822"/>
                  </a:lnTo>
                  <a:lnTo>
                    <a:pt x="162" y="822"/>
                  </a:lnTo>
                  <a:lnTo>
                    <a:pt x="150" y="816"/>
                  </a:lnTo>
                  <a:lnTo>
                    <a:pt x="144" y="810"/>
                  </a:lnTo>
                  <a:lnTo>
                    <a:pt x="144" y="804"/>
                  </a:lnTo>
                  <a:lnTo>
                    <a:pt x="144" y="786"/>
                  </a:lnTo>
                  <a:lnTo>
                    <a:pt x="144" y="780"/>
                  </a:lnTo>
                  <a:lnTo>
                    <a:pt x="144" y="774"/>
                  </a:lnTo>
                  <a:lnTo>
                    <a:pt x="132" y="756"/>
                  </a:lnTo>
                  <a:lnTo>
                    <a:pt x="120" y="756"/>
                  </a:lnTo>
                  <a:lnTo>
                    <a:pt x="84" y="750"/>
                  </a:lnTo>
                  <a:lnTo>
                    <a:pt x="78" y="744"/>
                  </a:lnTo>
                  <a:lnTo>
                    <a:pt x="60" y="744"/>
                  </a:lnTo>
                  <a:lnTo>
                    <a:pt x="54" y="726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66" y="720"/>
                  </a:lnTo>
                  <a:lnTo>
                    <a:pt x="66" y="714"/>
                  </a:lnTo>
                  <a:lnTo>
                    <a:pt x="72" y="714"/>
                  </a:lnTo>
                  <a:lnTo>
                    <a:pt x="72" y="708"/>
                  </a:lnTo>
                  <a:lnTo>
                    <a:pt x="78" y="702"/>
                  </a:lnTo>
                  <a:lnTo>
                    <a:pt x="78" y="696"/>
                  </a:lnTo>
                  <a:lnTo>
                    <a:pt x="78" y="690"/>
                  </a:lnTo>
                  <a:lnTo>
                    <a:pt x="84" y="678"/>
                  </a:lnTo>
                  <a:lnTo>
                    <a:pt x="90" y="666"/>
                  </a:lnTo>
                  <a:lnTo>
                    <a:pt x="90" y="642"/>
                  </a:lnTo>
                  <a:lnTo>
                    <a:pt x="84" y="648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66" y="642"/>
                  </a:lnTo>
                  <a:lnTo>
                    <a:pt x="60" y="642"/>
                  </a:lnTo>
                  <a:lnTo>
                    <a:pt x="54" y="636"/>
                  </a:lnTo>
                  <a:lnTo>
                    <a:pt x="30" y="570"/>
                  </a:lnTo>
                  <a:lnTo>
                    <a:pt x="24" y="564"/>
                  </a:lnTo>
                  <a:lnTo>
                    <a:pt x="18" y="570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6"/>
                  </a:lnTo>
                  <a:lnTo>
                    <a:pt x="6" y="540"/>
                  </a:lnTo>
                  <a:lnTo>
                    <a:pt x="0" y="522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2" y="480"/>
                  </a:lnTo>
                  <a:lnTo>
                    <a:pt x="6" y="480"/>
                  </a:lnTo>
                  <a:lnTo>
                    <a:pt x="0" y="474"/>
                  </a:lnTo>
                  <a:lnTo>
                    <a:pt x="0" y="450"/>
                  </a:lnTo>
                  <a:lnTo>
                    <a:pt x="6" y="450"/>
                  </a:lnTo>
                  <a:lnTo>
                    <a:pt x="12" y="450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32"/>
                  </a:lnTo>
                  <a:lnTo>
                    <a:pt x="30" y="426"/>
                  </a:lnTo>
                  <a:lnTo>
                    <a:pt x="36" y="402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2" y="366"/>
                  </a:lnTo>
                  <a:lnTo>
                    <a:pt x="48" y="360"/>
                  </a:lnTo>
                  <a:lnTo>
                    <a:pt x="48" y="342"/>
                  </a:lnTo>
                  <a:lnTo>
                    <a:pt x="42" y="330"/>
                  </a:lnTo>
                  <a:lnTo>
                    <a:pt x="36" y="324"/>
                  </a:lnTo>
                  <a:lnTo>
                    <a:pt x="42" y="306"/>
                  </a:lnTo>
                  <a:lnTo>
                    <a:pt x="42" y="270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48" y="258"/>
                  </a:lnTo>
                  <a:lnTo>
                    <a:pt x="72" y="252"/>
                  </a:lnTo>
                  <a:lnTo>
                    <a:pt x="66" y="204"/>
                  </a:lnTo>
                  <a:lnTo>
                    <a:pt x="60" y="198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8" y="13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84" y="96"/>
                  </a:lnTo>
                  <a:lnTo>
                    <a:pt x="90" y="84"/>
                  </a:lnTo>
                  <a:lnTo>
                    <a:pt x="108" y="72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20" y="60"/>
                  </a:lnTo>
                  <a:lnTo>
                    <a:pt x="120" y="54"/>
                  </a:lnTo>
                  <a:lnTo>
                    <a:pt x="120" y="48"/>
                  </a:lnTo>
                  <a:lnTo>
                    <a:pt x="126" y="48"/>
                  </a:lnTo>
                  <a:lnTo>
                    <a:pt x="132" y="42"/>
                  </a:lnTo>
                  <a:lnTo>
                    <a:pt x="132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240" y="18"/>
                  </a:lnTo>
                  <a:lnTo>
                    <a:pt x="246" y="42"/>
                  </a:lnTo>
                  <a:lnTo>
                    <a:pt x="240" y="72"/>
                  </a:lnTo>
                  <a:lnTo>
                    <a:pt x="246" y="78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8" y="108"/>
                  </a:lnTo>
                  <a:lnTo>
                    <a:pt x="276" y="114"/>
                  </a:lnTo>
                  <a:lnTo>
                    <a:pt x="294" y="150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82" y="186"/>
                  </a:lnTo>
                  <a:lnTo>
                    <a:pt x="282" y="192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76" y="216"/>
                  </a:lnTo>
                  <a:lnTo>
                    <a:pt x="288" y="240"/>
                  </a:lnTo>
                  <a:lnTo>
                    <a:pt x="312" y="228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66" y="228"/>
                  </a:lnTo>
                  <a:lnTo>
                    <a:pt x="372" y="228"/>
                  </a:lnTo>
                  <a:lnTo>
                    <a:pt x="372" y="222"/>
                  </a:lnTo>
                  <a:lnTo>
                    <a:pt x="378" y="222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6" y="222"/>
                  </a:lnTo>
                  <a:lnTo>
                    <a:pt x="402" y="222"/>
                  </a:lnTo>
                  <a:lnTo>
                    <a:pt x="402" y="228"/>
                  </a:lnTo>
                  <a:lnTo>
                    <a:pt x="408" y="228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26" y="216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68" y="258"/>
                  </a:lnTo>
                  <a:lnTo>
                    <a:pt x="462" y="264"/>
                  </a:lnTo>
                  <a:lnTo>
                    <a:pt x="468" y="264"/>
                  </a:lnTo>
                  <a:lnTo>
                    <a:pt x="468" y="270"/>
                  </a:lnTo>
                  <a:lnTo>
                    <a:pt x="474" y="270"/>
                  </a:lnTo>
                  <a:lnTo>
                    <a:pt x="480" y="276"/>
                  </a:lnTo>
                  <a:lnTo>
                    <a:pt x="474" y="282"/>
                  </a:lnTo>
                  <a:lnTo>
                    <a:pt x="474" y="288"/>
                  </a:lnTo>
                  <a:lnTo>
                    <a:pt x="462" y="294"/>
                  </a:lnTo>
                  <a:lnTo>
                    <a:pt x="468" y="324"/>
                  </a:lnTo>
                  <a:lnTo>
                    <a:pt x="462" y="336"/>
                  </a:lnTo>
                  <a:lnTo>
                    <a:pt x="456" y="354"/>
                  </a:lnTo>
                  <a:lnTo>
                    <a:pt x="432" y="390"/>
                  </a:lnTo>
                  <a:lnTo>
                    <a:pt x="420" y="390"/>
                  </a:lnTo>
                  <a:lnTo>
                    <a:pt x="402" y="390"/>
                  </a:lnTo>
                  <a:lnTo>
                    <a:pt x="396" y="396"/>
                  </a:lnTo>
                  <a:lnTo>
                    <a:pt x="390" y="396"/>
                  </a:lnTo>
                  <a:lnTo>
                    <a:pt x="390" y="402"/>
                  </a:lnTo>
                  <a:lnTo>
                    <a:pt x="384" y="402"/>
                  </a:lnTo>
                  <a:lnTo>
                    <a:pt x="408" y="432"/>
                  </a:lnTo>
                  <a:lnTo>
                    <a:pt x="432" y="438"/>
                  </a:lnTo>
                  <a:lnTo>
                    <a:pt x="456" y="432"/>
                  </a:lnTo>
                  <a:lnTo>
                    <a:pt x="468" y="426"/>
                  </a:lnTo>
                  <a:lnTo>
                    <a:pt x="468" y="444"/>
                  </a:lnTo>
                  <a:lnTo>
                    <a:pt x="468" y="450"/>
                  </a:lnTo>
                  <a:lnTo>
                    <a:pt x="468" y="474"/>
                  </a:lnTo>
                  <a:lnTo>
                    <a:pt x="486" y="480"/>
                  </a:lnTo>
                  <a:lnTo>
                    <a:pt x="486" y="486"/>
                  </a:lnTo>
                  <a:lnTo>
                    <a:pt x="492" y="498"/>
                  </a:lnTo>
                  <a:lnTo>
                    <a:pt x="492" y="504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504" y="516"/>
                  </a:lnTo>
                  <a:lnTo>
                    <a:pt x="510" y="516"/>
                  </a:lnTo>
                  <a:lnTo>
                    <a:pt x="522" y="528"/>
                  </a:lnTo>
                  <a:lnTo>
                    <a:pt x="546" y="540"/>
                  </a:lnTo>
                  <a:lnTo>
                    <a:pt x="552" y="546"/>
                  </a:lnTo>
                  <a:lnTo>
                    <a:pt x="570" y="552"/>
                  </a:lnTo>
                  <a:lnTo>
                    <a:pt x="594" y="552"/>
                  </a:lnTo>
                  <a:lnTo>
                    <a:pt x="606" y="546"/>
                  </a:lnTo>
                  <a:lnTo>
                    <a:pt x="612" y="540"/>
                  </a:lnTo>
                  <a:lnTo>
                    <a:pt x="630" y="540"/>
                  </a:lnTo>
                  <a:lnTo>
                    <a:pt x="630" y="552"/>
                  </a:lnTo>
                  <a:lnTo>
                    <a:pt x="654" y="552"/>
                  </a:lnTo>
                  <a:lnTo>
                    <a:pt x="702" y="558"/>
                  </a:lnTo>
                  <a:lnTo>
                    <a:pt x="762" y="546"/>
                  </a:lnTo>
                  <a:lnTo>
                    <a:pt x="780" y="546"/>
                  </a:lnTo>
                  <a:lnTo>
                    <a:pt x="780" y="528"/>
                  </a:lnTo>
                  <a:lnTo>
                    <a:pt x="798" y="522"/>
                  </a:lnTo>
                  <a:lnTo>
                    <a:pt x="810" y="510"/>
                  </a:lnTo>
                  <a:lnTo>
                    <a:pt x="810" y="504"/>
                  </a:lnTo>
                  <a:lnTo>
                    <a:pt x="828" y="492"/>
                  </a:lnTo>
                  <a:lnTo>
                    <a:pt x="888" y="486"/>
                  </a:lnTo>
                  <a:lnTo>
                    <a:pt x="912" y="486"/>
                  </a:lnTo>
                  <a:lnTo>
                    <a:pt x="930" y="474"/>
                  </a:lnTo>
                  <a:lnTo>
                    <a:pt x="918" y="456"/>
                  </a:lnTo>
                  <a:lnTo>
                    <a:pt x="912" y="450"/>
                  </a:lnTo>
                  <a:lnTo>
                    <a:pt x="918" y="390"/>
                  </a:lnTo>
                  <a:lnTo>
                    <a:pt x="954" y="396"/>
                  </a:lnTo>
                  <a:lnTo>
                    <a:pt x="984" y="402"/>
                  </a:lnTo>
                  <a:lnTo>
                    <a:pt x="1014" y="420"/>
                  </a:lnTo>
                  <a:lnTo>
                    <a:pt x="1026" y="432"/>
                  </a:lnTo>
                  <a:lnTo>
                    <a:pt x="1044" y="450"/>
                  </a:lnTo>
                  <a:lnTo>
                    <a:pt x="1062" y="462"/>
                  </a:lnTo>
                  <a:lnTo>
                    <a:pt x="1098" y="468"/>
                  </a:lnTo>
                  <a:lnTo>
                    <a:pt x="1128" y="480"/>
                  </a:lnTo>
                  <a:lnTo>
                    <a:pt x="1152" y="486"/>
                  </a:lnTo>
                  <a:lnTo>
                    <a:pt x="1188" y="498"/>
                  </a:lnTo>
                  <a:lnTo>
                    <a:pt x="1212" y="504"/>
                  </a:lnTo>
                  <a:lnTo>
                    <a:pt x="1224" y="528"/>
                  </a:lnTo>
                  <a:lnTo>
                    <a:pt x="1236" y="540"/>
                  </a:lnTo>
                  <a:lnTo>
                    <a:pt x="1254" y="540"/>
                  </a:lnTo>
                  <a:lnTo>
                    <a:pt x="1254" y="546"/>
                  </a:lnTo>
                  <a:lnTo>
                    <a:pt x="1260" y="552"/>
                  </a:lnTo>
                  <a:lnTo>
                    <a:pt x="1266" y="552"/>
                  </a:lnTo>
                  <a:lnTo>
                    <a:pt x="1266" y="558"/>
                  </a:lnTo>
                  <a:lnTo>
                    <a:pt x="1272" y="564"/>
                  </a:lnTo>
                  <a:lnTo>
                    <a:pt x="1278" y="564"/>
                  </a:lnTo>
                  <a:lnTo>
                    <a:pt x="1278" y="570"/>
                  </a:lnTo>
                  <a:lnTo>
                    <a:pt x="1284" y="576"/>
                  </a:lnTo>
                  <a:lnTo>
                    <a:pt x="1290" y="582"/>
                  </a:lnTo>
                  <a:lnTo>
                    <a:pt x="1296" y="582"/>
                  </a:lnTo>
                  <a:lnTo>
                    <a:pt x="1296" y="588"/>
                  </a:lnTo>
                  <a:lnTo>
                    <a:pt x="1308" y="594"/>
                  </a:lnTo>
                  <a:lnTo>
                    <a:pt x="1308" y="600"/>
                  </a:lnTo>
                  <a:lnTo>
                    <a:pt x="1308" y="606"/>
                  </a:lnTo>
                  <a:lnTo>
                    <a:pt x="1314" y="612"/>
                  </a:lnTo>
                  <a:lnTo>
                    <a:pt x="1308" y="618"/>
                  </a:lnTo>
                  <a:lnTo>
                    <a:pt x="1314" y="618"/>
                  </a:lnTo>
                  <a:lnTo>
                    <a:pt x="1314" y="624"/>
                  </a:lnTo>
                  <a:lnTo>
                    <a:pt x="1308" y="624"/>
                  </a:lnTo>
                  <a:lnTo>
                    <a:pt x="1302" y="630"/>
                  </a:lnTo>
                  <a:lnTo>
                    <a:pt x="1302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296" y="654"/>
                  </a:lnTo>
                  <a:lnTo>
                    <a:pt x="1302" y="660"/>
                  </a:lnTo>
                  <a:lnTo>
                    <a:pt x="1302" y="666"/>
                  </a:lnTo>
                  <a:lnTo>
                    <a:pt x="1308" y="666"/>
                  </a:lnTo>
                  <a:lnTo>
                    <a:pt x="1308" y="672"/>
                  </a:lnTo>
                  <a:lnTo>
                    <a:pt x="1308" y="678"/>
                  </a:lnTo>
                  <a:lnTo>
                    <a:pt x="1308" y="684"/>
                  </a:lnTo>
                  <a:lnTo>
                    <a:pt x="1308" y="690"/>
                  </a:lnTo>
                  <a:lnTo>
                    <a:pt x="1302" y="696"/>
                  </a:lnTo>
                  <a:lnTo>
                    <a:pt x="1302" y="702"/>
                  </a:lnTo>
                  <a:lnTo>
                    <a:pt x="1308" y="702"/>
                  </a:lnTo>
                  <a:lnTo>
                    <a:pt x="1302" y="708"/>
                  </a:lnTo>
                  <a:lnTo>
                    <a:pt x="1308" y="714"/>
                  </a:lnTo>
                  <a:lnTo>
                    <a:pt x="1308" y="720"/>
                  </a:lnTo>
                  <a:lnTo>
                    <a:pt x="1308" y="726"/>
                  </a:lnTo>
                  <a:lnTo>
                    <a:pt x="1308" y="732"/>
                  </a:lnTo>
                  <a:lnTo>
                    <a:pt x="1314" y="732"/>
                  </a:lnTo>
                  <a:lnTo>
                    <a:pt x="1314" y="738"/>
                  </a:lnTo>
                  <a:lnTo>
                    <a:pt x="1320" y="744"/>
                  </a:lnTo>
                  <a:lnTo>
                    <a:pt x="1326" y="750"/>
                  </a:lnTo>
                  <a:lnTo>
                    <a:pt x="1320" y="750"/>
                  </a:lnTo>
                  <a:lnTo>
                    <a:pt x="1320" y="756"/>
                  </a:lnTo>
                  <a:lnTo>
                    <a:pt x="1314" y="756"/>
                  </a:lnTo>
                  <a:lnTo>
                    <a:pt x="1314" y="762"/>
                  </a:lnTo>
                  <a:lnTo>
                    <a:pt x="1314" y="768"/>
                  </a:lnTo>
                  <a:lnTo>
                    <a:pt x="1320" y="768"/>
                  </a:lnTo>
                  <a:lnTo>
                    <a:pt x="1320" y="762"/>
                  </a:lnTo>
                  <a:lnTo>
                    <a:pt x="1320" y="768"/>
                  </a:lnTo>
                  <a:lnTo>
                    <a:pt x="1326" y="774"/>
                  </a:lnTo>
                  <a:lnTo>
                    <a:pt x="1332" y="774"/>
                  </a:lnTo>
                  <a:lnTo>
                    <a:pt x="1332" y="780"/>
                  </a:lnTo>
                  <a:lnTo>
                    <a:pt x="1332" y="786"/>
                  </a:lnTo>
                  <a:lnTo>
                    <a:pt x="1332" y="792"/>
                  </a:lnTo>
                  <a:lnTo>
                    <a:pt x="1338" y="786"/>
                  </a:lnTo>
                  <a:lnTo>
                    <a:pt x="1338" y="792"/>
                  </a:lnTo>
                  <a:lnTo>
                    <a:pt x="1344" y="798"/>
                  </a:lnTo>
                  <a:lnTo>
                    <a:pt x="1344" y="804"/>
                  </a:lnTo>
                  <a:lnTo>
                    <a:pt x="1344" y="810"/>
                  </a:lnTo>
                  <a:lnTo>
                    <a:pt x="1344" y="816"/>
                  </a:lnTo>
                  <a:lnTo>
                    <a:pt x="1344" y="822"/>
                  </a:lnTo>
                  <a:lnTo>
                    <a:pt x="1338" y="828"/>
                  </a:lnTo>
                  <a:lnTo>
                    <a:pt x="1332" y="828"/>
                  </a:lnTo>
                  <a:lnTo>
                    <a:pt x="1338" y="840"/>
                  </a:lnTo>
                  <a:lnTo>
                    <a:pt x="1344" y="846"/>
                  </a:lnTo>
                  <a:lnTo>
                    <a:pt x="1344" y="852"/>
                  </a:lnTo>
                  <a:lnTo>
                    <a:pt x="1350" y="852"/>
                  </a:lnTo>
                  <a:lnTo>
                    <a:pt x="1356" y="858"/>
                  </a:lnTo>
                  <a:lnTo>
                    <a:pt x="1362" y="858"/>
                  </a:lnTo>
                  <a:lnTo>
                    <a:pt x="1362" y="870"/>
                  </a:lnTo>
                  <a:lnTo>
                    <a:pt x="1356" y="870"/>
                  </a:lnTo>
                  <a:lnTo>
                    <a:pt x="1356" y="876"/>
                  </a:lnTo>
                  <a:lnTo>
                    <a:pt x="1350" y="876"/>
                  </a:lnTo>
                  <a:lnTo>
                    <a:pt x="1344" y="876"/>
                  </a:lnTo>
                  <a:lnTo>
                    <a:pt x="1344" y="882"/>
                  </a:lnTo>
                  <a:lnTo>
                    <a:pt x="1338" y="882"/>
                  </a:lnTo>
                  <a:lnTo>
                    <a:pt x="1338" y="888"/>
                  </a:lnTo>
                  <a:lnTo>
                    <a:pt x="1338" y="894"/>
                  </a:lnTo>
                  <a:lnTo>
                    <a:pt x="1344" y="900"/>
                  </a:lnTo>
                  <a:lnTo>
                    <a:pt x="1344" y="906"/>
                  </a:lnTo>
                  <a:lnTo>
                    <a:pt x="1338" y="906"/>
                  </a:lnTo>
                  <a:lnTo>
                    <a:pt x="1332" y="912"/>
                  </a:lnTo>
                  <a:lnTo>
                    <a:pt x="1332" y="918"/>
                  </a:lnTo>
                  <a:lnTo>
                    <a:pt x="1326" y="918"/>
                  </a:lnTo>
                  <a:lnTo>
                    <a:pt x="1332" y="924"/>
                  </a:lnTo>
                  <a:lnTo>
                    <a:pt x="1284" y="942"/>
                  </a:lnTo>
                  <a:lnTo>
                    <a:pt x="1236" y="948"/>
                  </a:lnTo>
                  <a:lnTo>
                    <a:pt x="1194" y="966"/>
                  </a:lnTo>
                  <a:lnTo>
                    <a:pt x="1170" y="1002"/>
                  </a:lnTo>
                  <a:lnTo>
                    <a:pt x="1134" y="1020"/>
                  </a:lnTo>
                  <a:lnTo>
                    <a:pt x="1116" y="1032"/>
                  </a:lnTo>
                  <a:lnTo>
                    <a:pt x="1098" y="1050"/>
                  </a:lnTo>
                  <a:lnTo>
                    <a:pt x="1074" y="1074"/>
                  </a:lnTo>
                  <a:lnTo>
                    <a:pt x="1008" y="1134"/>
                  </a:lnTo>
                  <a:lnTo>
                    <a:pt x="990" y="1158"/>
                  </a:lnTo>
                  <a:lnTo>
                    <a:pt x="978" y="1182"/>
                  </a:lnTo>
                  <a:lnTo>
                    <a:pt x="960" y="1194"/>
                  </a:lnTo>
                  <a:lnTo>
                    <a:pt x="942" y="1212"/>
                  </a:lnTo>
                  <a:lnTo>
                    <a:pt x="912" y="1242"/>
                  </a:lnTo>
                  <a:lnTo>
                    <a:pt x="888" y="1254"/>
                  </a:lnTo>
                  <a:lnTo>
                    <a:pt x="864" y="1278"/>
                  </a:lnTo>
                  <a:lnTo>
                    <a:pt x="828" y="1296"/>
                  </a:lnTo>
                  <a:lnTo>
                    <a:pt x="774" y="1308"/>
                  </a:lnTo>
                  <a:lnTo>
                    <a:pt x="732" y="1302"/>
                  </a:lnTo>
                  <a:lnTo>
                    <a:pt x="702" y="1284"/>
                  </a:lnTo>
                  <a:lnTo>
                    <a:pt x="684" y="12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1" name="Freeform 16">
              <a:extLst>
                <a:ext uri="{FF2B5EF4-FFF2-40B4-BE49-F238E27FC236}">
                  <a16:creationId xmlns:a16="http://schemas.microsoft.com/office/drawing/2014/main" id="{D8D8591A-D9DB-4301-BEBD-D8F5A26DA9E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3001" y="2929369"/>
              <a:ext cx="914601" cy="1037736"/>
            </a:xfrm>
            <a:custGeom>
              <a:avLst/>
              <a:gdLst>
                <a:gd name="T0" fmla="*/ 144 w 1722"/>
                <a:gd name="T1" fmla="*/ 131 h 1956"/>
                <a:gd name="T2" fmla="*/ 142 w 1722"/>
                <a:gd name="T3" fmla="*/ 139 h 1956"/>
                <a:gd name="T4" fmla="*/ 137 w 1722"/>
                <a:gd name="T5" fmla="*/ 143 h 1956"/>
                <a:gd name="T6" fmla="*/ 133 w 1722"/>
                <a:gd name="T7" fmla="*/ 147 h 1956"/>
                <a:gd name="T8" fmla="*/ 132 w 1722"/>
                <a:gd name="T9" fmla="*/ 152 h 1956"/>
                <a:gd name="T10" fmla="*/ 130 w 1722"/>
                <a:gd name="T11" fmla="*/ 159 h 1956"/>
                <a:gd name="T12" fmla="*/ 127 w 1722"/>
                <a:gd name="T13" fmla="*/ 164 h 1956"/>
                <a:gd name="T14" fmla="*/ 123 w 1722"/>
                <a:gd name="T15" fmla="*/ 168 h 1956"/>
                <a:gd name="T16" fmla="*/ 117 w 1722"/>
                <a:gd name="T17" fmla="*/ 169 h 1956"/>
                <a:gd name="T18" fmla="*/ 110 w 1722"/>
                <a:gd name="T19" fmla="*/ 168 h 1956"/>
                <a:gd name="T20" fmla="*/ 104 w 1722"/>
                <a:gd name="T21" fmla="*/ 166 h 1956"/>
                <a:gd name="T22" fmla="*/ 101 w 1722"/>
                <a:gd name="T23" fmla="*/ 159 h 1956"/>
                <a:gd name="T24" fmla="*/ 95 w 1722"/>
                <a:gd name="T25" fmla="*/ 156 h 1956"/>
                <a:gd name="T26" fmla="*/ 89 w 1722"/>
                <a:gd name="T27" fmla="*/ 151 h 1956"/>
                <a:gd name="T28" fmla="*/ 87 w 1722"/>
                <a:gd name="T29" fmla="*/ 144 h 1956"/>
                <a:gd name="T30" fmla="*/ 82 w 1722"/>
                <a:gd name="T31" fmla="*/ 141 h 1956"/>
                <a:gd name="T32" fmla="*/ 76 w 1722"/>
                <a:gd name="T33" fmla="*/ 134 h 1956"/>
                <a:gd name="T34" fmla="*/ 74 w 1722"/>
                <a:gd name="T35" fmla="*/ 143 h 1956"/>
                <a:gd name="T36" fmla="*/ 68 w 1722"/>
                <a:gd name="T37" fmla="*/ 147 h 1956"/>
                <a:gd name="T38" fmla="*/ 54 w 1722"/>
                <a:gd name="T39" fmla="*/ 144 h 1956"/>
                <a:gd name="T40" fmla="*/ 51 w 1722"/>
                <a:gd name="T41" fmla="*/ 142 h 1956"/>
                <a:gd name="T42" fmla="*/ 42 w 1722"/>
                <a:gd name="T43" fmla="*/ 151 h 1956"/>
                <a:gd name="T44" fmla="*/ 33 w 1722"/>
                <a:gd name="T45" fmla="*/ 154 h 1956"/>
                <a:gd name="T46" fmla="*/ 31 w 1722"/>
                <a:gd name="T47" fmla="*/ 159 h 1956"/>
                <a:gd name="T48" fmla="*/ 29 w 1722"/>
                <a:gd name="T49" fmla="*/ 166 h 1956"/>
                <a:gd name="T50" fmla="*/ 25 w 1722"/>
                <a:gd name="T51" fmla="*/ 169 h 1956"/>
                <a:gd name="T52" fmla="*/ 27 w 1722"/>
                <a:gd name="T53" fmla="*/ 154 h 1956"/>
                <a:gd name="T54" fmla="*/ 37 w 1722"/>
                <a:gd name="T55" fmla="*/ 133 h 1956"/>
                <a:gd name="T56" fmla="*/ 36 w 1722"/>
                <a:gd name="T57" fmla="*/ 109 h 1956"/>
                <a:gd name="T58" fmla="*/ 27 w 1722"/>
                <a:gd name="T59" fmla="*/ 101 h 1956"/>
                <a:gd name="T60" fmla="*/ 5 w 1722"/>
                <a:gd name="T61" fmla="*/ 98 h 1956"/>
                <a:gd name="T62" fmla="*/ 2 w 1722"/>
                <a:gd name="T63" fmla="*/ 93 h 1956"/>
                <a:gd name="T64" fmla="*/ 12 w 1722"/>
                <a:gd name="T65" fmla="*/ 82 h 1956"/>
                <a:gd name="T66" fmla="*/ 9 w 1722"/>
                <a:gd name="T67" fmla="*/ 74 h 1956"/>
                <a:gd name="T68" fmla="*/ 23 w 1722"/>
                <a:gd name="T69" fmla="*/ 72 h 1956"/>
                <a:gd name="T70" fmla="*/ 22 w 1722"/>
                <a:gd name="T71" fmla="*/ 67 h 1956"/>
                <a:gd name="T72" fmla="*/ 48 w 1722"/>
                <a:gd name="T73" fmla="*/ 57 h 1956"/>
                <a:gd name="T74" fmla="*/ 78 w 1722"/>
                <a:gd name="T75" fmla="*/ 34 h 1956"/>
                <a:gd name="T76" fmla="*/ 81 w 1722"/>
                <a:gd name="T77" fmla="*/ 31 h 1956"/>
                <a:gd name="T78" fmla="*/ 80 w 1722"/>
                <a:gd name="T79" fmla="*/ 26 h 1956"/>
                <a:gd name="T80" fmla="*/ 78 w 1722"/>
                <a:gd name="T81" fmla="*/ 21 h 1956"/>
                <a:gd name="T82" fmla="*/ 77 w 1722"/>
                <a:gd name="T83" fmla="*/ 18 h 1956"/>
                <a:gd name="T84" fmla="*/ 77 w 1722"/>
                <a:gd name="T85" fmla="*/ 12 h 1956"/>
                <a:gd name="T86" fmla="*/ 77 w 1722"/>
                <a:gd name="T87" fmla="*/ 7 h 1956"/>
                <a:gd name="T88" fmla="*/ 102 w 1722"/>
                <a:gd name="T89" fmla="*/ 2 h 1956"/>
                <a:gd name="T90" fmla="*/ 115 w 1722"/>
                <a:gd name="T91" fmla="*/ 3 h 1956"/>
                <a:gd name="T92" fmla="*/ 123 w 1722"/>
                <a:gd name="T93" fmla="*/ 3 h 1956"/>
                <a:gd name="T94" fmla="*/ 125 w 1722"/>
                <a:gd name="T95" fmla="*/ 9 h 1956"/>
                <a:gd name="T96" fmla="*/ 133 w 1722"/>
                <a:gd name="T97" fmla="*/ 13 h 1956"/>
                <a:gd name="T98" fmla="*/ 149 w 1722"/>
                <a:gd name="T99" fmla="*/ 37 h 1956"/>
                <a:gd name="T100" fmla="*/ 141 w 1722"/>
                <a:gd name="T101" fmla="*/ 57 h 1956"/>
                <a:gd name="T102" fmla="*/ 135 w 1722"/>
                <a:gd name="T103" fmla="*/ 63 h 1956"/>
                <a:gd name="T104" fmla="*/ 124 w 1722"/>
                <a:gd name="T105" fmla="*/ 77 h 1956"/>
                <a:gd name="T106" fmla="*/ 123 w 1722"/>
                <a:gd name="T107" fmla="*/ 96 h 1956"/>
                <a:gd name="T108" fmla="*/ 127 w 1722"/>
                <a:gd name="T109" fmla="*/ 97 h 1956"/>
                <a:gd name="T110" fmla="*/ 129 w 1722"/>
                <a:gd name="T111" fmla="*/ 92 h 1956"/>
                <a:gd name="T112" fmla="*/ 134 w 1722"/>
                <a:gd name="T113" fmla="*/ 94 h 1956"/>
                <a:gd name="T114" fmla="*/ 138 w 1722"/>
                <a:gd name="T115" fmla="*/ 99 h 1956"/>
                <a:gd name="T116" fmla="*/ 142 w 1722"/>
                <a:gd name="T117" fmla="*/ 104 h 1956"/>
                <a:gd name="T118" fmla="*/ 141 w 1722"/>
                <a:gd name="T119" fmla="*/ 115 h 19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722"/>
                <a:gd name="T181" fmla="*/ 0 h 1956"/>
                <a:gd name="T182" fmla="*/ 1722 w 1722"/>
                <a:gd name="T183" fmla="*/ 1956 h 19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722" h="1956">
                  <a:moveTo>
                    <a:pt x="1686" y="1404"/>
                  </a:moveTo>
                  <a:lnTo>
                    <a:pt x="1680" y="1416"/>
                  </a:lnTo>
                  <a:lnTo>
                    <a:pt x="1674" y="1422"/>
                  </a:lnTo>
                  <a:lnTo>
                    <a:pt x="1674" y="1428"/>
                  </a:lnTo>
                  <a:lnTo>
                    <a:pt x="1668" y="1428"/>
                  </a:lnTo>
                  <a:lnTo>
                    <a:pt x="1668" y="1434"/>
                  </a:lnTo>
                  <a:lnTo>
                    <a:pt x="1662" y="1446"/>
                  </a:lnTo>
                  <a:lnTo>
                    <a:pt x="1656" y="1464"/>
                  </a:lnTo>
                  <a:lnTo>
                    <a:pt x="1656" y="1476"/>
                  </a:lnTo>
                  <a:lnTo>
                    <a:pt x="1656" y="1488"/>
                  </a:lnTo>
                  <a:lnTo>
                    <a:pt x="1662" y="1500"/>
                  </a:lnTo>
                  <a:lnTo>
                    <a:pt x="1662" y="1506"/>
                  </a:lnTo>
                  <a:lnTo>
                    <a:pt x="1662" y="1524"/>
                  </a:lnTo>
                  <a:lnTo>
                    <a:pt x="1668" y="1542"/>
                  </a:lnTo>
                  <a:lnTo>
                    <a:pt x="1674" y="1560"/>
                  </a:lnTo>
                  <a:lnTo>
                    <a:pt x="1680" y="1578"/>
                  </a:lnTo>
                  <a:lnTo>
                    <a:pt x="1686" y="1578"/>
                  </a:lnTo>
                  <a:lnTo>
                    <a:pt x="1686" y="1584"/>
                  </a:lnTo>
                  <a:lnTo>
                    <a:pt x="1686" y="1590"/>
                  </a:lnTo>
                  <a:lnTo>
                    <a:pt x="1686" y="1596"/>
                  </a:lnTo>
                  <a:lnTo>
                    <a:pt x="1680" y="1596"/>
                  </a:lnTo>
                  <a:lnTo>
                    <a:pt x="1674" y="1602"/>
                  </a:lnTo>
                  <a:lnTo>
                    <a:pt x="1662" y="1602"/>
                  </a:lnTo>
                  <a:lnTo>
                    <a:pt x="1638" y="1596"/>
                  </a:lnTo>
                  <a:lnTo>
                    <a:pt x="1632" y="1596"/>
                  </a:lnTo>
                  <a:lnTo>
                    <a:pt x="1626" y="1602"/>
                  </a:lnTo>
                  <a:lnTo>
                    <a:pt x="1620" y="1602"/>
                  </a:lnTo>
                  <a:lnTo>
                    <a:pt x="1614" y="1602"/>
                  </a:lnTo>
                  <a:lnTo>
                    <a:pt x="1602" y="1602"/>
                  </a:lnTo>
                  <a:lnTo>
                    <a:pt x="1602" y="1608"/>
                  </a:lnTo>
                  <a:lnTo>
                    <a:pt x="1602" y="1620"/>
                  </a:lnTo>
                  <a:lnTo>
                    <a:pt x="1596" y="1620"/>
                  </a:lnTo>
                  <a:lnTo>
                    <a:pt x="1590" y="1620"/>
                  </a:lnTo>
                  <a:lnTo>
                    <a:pt x="1584" y="1626"/>
                  </a:lnTo>
                  <a:lnTo>
                    <a:pt x="1584" y="1632"/>
                  </a:lnTo>
                  <a:lnTo>
                    <a:pt x="1578" y="1644"/>
                  </a:lnTo>
                  <a:lnTo>
                    <a:pt x="1572" y="1644"/>
                  </a:lnTo>
                  <a:lnTo>
                    <a:pt x="1566" y="1644"/>
                  </a:lnTo>
                  <a:lnTo>
                    <a:pt x="1566" y="1650"/>
                  </a:lnTo>
                  <a:lnTo>
                    <a:pt x="1560" y="1650"/>
                  </a:lnTo>
                  <a:lnTo>
                    <a:pt x="1554" y="1650"/>
                  </a:lnTo>
                  <a:lnTo>
                    <a:pt x="1548" y="1650"/>
                  </a:lnTo>
                  <a:lnTo>
                    <a:pt x="1548" y="1656"/>
                  </a:lnTo>
                  <a:lnTo>
                    <a:pt x="1542" y="1668"/>
                  </a:lnTo>
                  <a:lnTo>
                    <a:pt x="1542" y="1674"/>
                  </a:lnTo>
                  <a:lnTo>
                    <a:pt x="1542" y="1692"/>
                  </a:lnTo>
                  <a:lnTo>
                    <a:pt x="1536" y="1698"/>
                  </a:lnTo>
                  <a:lnTo>
                    <a:pt x="1530" y="1698"/>
                  </a:lnTo>
                  <a:lnTo>
                    <a:pt x="1524" y="1698"/>
                  </a:lnTo>
                  <a:lnTo>
                    <a:pt x="1518" y="1704"/>
                  </a:lnTo>
                  <a:lnTo>
                    <a:pt x="1512" y="1710"/>
                  </a:lnTo>
                  <a:lnTo>
                    <a:pt x="1506" y="1722"/>
                  </a:lnTo>
                  <a:lnTo>
                    <a:pt x="1500" y="1728"/>
                  </a:lnTo>
                  <a:lnTo>
                    <a:pt x="1500" y="1734"/>
                  </a:lnTo>
                  <a:lnTo>
                    <a:pt x="1512" y="1734"/>
                  </a:lnTo>
                  <a:lnTo>
                    <a:pt x="1518" y="1740"/>
                  </a:lnTo>
                  <a:lnTo>
                    <a:pt x="1518" y="1746"/>
                  </a:lnTo>
                  <a:lnTo>
                    <a:pt x="1518" y="1752"/>
                  </a:lnTo>
                  <a:lnTo>
                    <a:pt x="1518" y="1758"/>
                  </a:lnTo>
                  <a:lnTo>
                    <a:pt x="1524" y="1758"/>
                  </a:lnTo>
                  <a:lnTo>
                    <a:pt x="1524" y="1764"/>
                  </a:lnTo>
                  <a:lnTo>
                    <a:pt x="1530" y="1770"/>
                  </a:lnTo>
                  <a:lnTo>
                    <a:pt x="1518" y="1770"/>
                  </a:lnTo>
                  <a:lnTo>
                    <a:pt x="1512" y="1782"/>
                  </a:lnTo>
                  <a:lnTo>
                    <a:pt x="1512" y="1788"/>
                  </a:lnTo>
                  <a:lnTo>
                    <a:pt x="1518" y="1788"/>
                  </a:lnTo>
                  <a:lnTo>
                    <a:pt x="1524" y="1800"/>
                  </a:lnTo>
                  <a:lnTo>
                    <a:pt x="1524" y="1806"/>
                  </a:lnTo>
                  <a:lnTo>
                    <a:pt x="1518" y="1812"/>
                  </a:lnTo>
                  <a:lnTo>
                    <a:pt x="1512" y="1818"/>
                  </a:lnTo>
                  <a:lnTo>
                    <a:pt x="1506" y="1818"/>
                  </a:lnTo>
                  <a:lnTo>
                    <a:pt x="1500" y="1824"/>
                  </a:lnTo>
                  <a:lnTo>
                    <a:pt x="1500" y="1836"/>
                  </a:lnTo>
                  <a:lnTo>
                    <a:pt x="1500" y="1842"/>
                  </a:lnTo>
                  <a:lnTo>
                    <a:pt x="1500" y="1848"/>
                  </a:lnTo>
                  <a:lnTo>
                    <a:pt x="1500" y="1854"/>
                  </a:lnTo>
                  <a:lnTo>
                    <a:pt x="1494" y="1860"/>
                  </a:lnTo>
                  <a:lnTo>
                    <a:pt x="1488" y="1860"/>
                  </a:lnTo>
                  <a:lnTo>
                    <a:pt x="1488" y="1866"/>
                  </a:lnTo>
                  <a:lnTo>
                    <a:pt x="1482" y="1872"/>
                  </a:lnTo>
                  <a:lnTo>
                    <a:pt x="1482" y="1878"/>
                  </a:lnTo>
                  <a:lnTo>
                    <a:pt x="1482" y="1884"/>
                  </a:lnTo>
                  <a:lnTo>
                    <a:pt x="1476" y="1890"/>
                  </a:lnTo>
                  <a:lnTo>
                    <a:pt x="1470" y="1890"/>
                  </a:lnTo>
                  <a:lnTo>
                    <a:pt x="1470" y="1896"/>
                  </a:lnTo>
                  <a:lnTo>
                    <a:pt x="1464" y="1896"/>
                  </a:lnTo>
                  <a:lnTo>
                    <a:pt x="1458" y="1896"/>
                  </a:lnTo>
                  <a:lnTo>
                    <a:pt x="1452" y="1896"/>
                  </a:lnTo>
                  <a:lnTo>
                    <a:pt x="1440" y="1890"/>
                  </a:lnTo>
                  <a:lnTo>
                    <a:pt x="1434" y="1896"/>
                  </a:lnTo>
                  <a:lnTo>
                    <a:pt x="1428" y="1896"/>
                  </a:lnTo>
                  <a:lnTo>
                    <a:pt x="1422" y="1896"/>
                  </a:lnTo>
                  <a:lnTo>
                    <a:pt x="1422" y="1902"/>
                  </a:lnTo>
                  <a:lnTo>
                    <a:pt x="1416" y="1902"/>
                  </a:lnTo>
                  <a:lnTo>
                    <a:pt x="1422" y="1914"/>
                  </a:lnTo>
                  <a:lnTo>
                    <a:pt x="1422" y="1932"/>
                  </a:lnTo>
                  <a:lnTo>
                    <a:pt x="1416" y="1938"/>
                  </a:lnTo>
                  <a:lnTo>
                    <a:pt x="1422" y="1938"/>
                  </a:lnTo>
                  <a:lnTo>
                    <a:pt x="1404" y="1938"/>
                  </a:lnTo>
                  <a:lnTo>
                    <a:pt x="1392" y="1944"/>
                  </a:lnTo>
                  <a:lnTo>
                    <a:pt x="1386" y="1944"/>
                  </a:lnTo>
                  <a:lnTo>
                    <a:pt x="1374" y="1944"/>
                  </a:lnTo>
                  <a:lnTo>
                    <a:pt x="1368" y="1950"/>
                  </a:lnTo>
                  <a:lnTo>
                    <a:pt x="1374" y="1956"/>
                  </a:lnTo>
                  <a:lnTo>
                    <a:pt x="1368" y="1956"/>
                  </a:lnTo>
                  <a:lnTo>
                    <a:pt x="1356" y="1956"/>
                  </a:lnTo>
                  <a:lnTo>
                    <a:pt x="1350" y="1956"/>
                  </a:lnTo>
                  <a:lnTo>
                    <a:pt x="1350" y="1950"/>
                  </a:lnTo>
                  <a:lnTo>
                    <a:pt x="1344" y="1944"/>
                  </a:lnTo>
                  <a:lnTo>
                    <a:pt x="1332" y="1938"/>
                  </a:lnTo>
                  <a:lnTo>
                    <a:pt x="1326" y="1938"/>
                  </a:lnTo>
                  <a:lnTo>
                    <a:pt x="1320" y="1938"/>
                  </a:lnTo>
                  <a:lnTo>
                    <a:pt x="1314" y="1944"/>
                  </a:lnTo>
                  <a:lnTo>
                    <a:pt x="1308" y="1944"/>
                  </a:lnTo>
                  <a:lnTo>
                    <a:pt x="1302" y="1944"/>
                  </a:lnTo>
                  <a:lnTo>
                    <a:pt x="1296" y="1938"/>
                  </a:lnTo>
                  <a:lnTo>
                    <a:pt x="1284" y="1938"/>
                  </a:lnTo>
                  <a:lnTo>
                    <a:pt x="1278" y="1938"/>
                  </a:lnTo>
                  <a:lnTo>
                    <a:pt x="1272" y="1938"/>
                  </a:lnTo>
                  <a:lnTo>
                    <a:pt x="1266" y="1932"/>
                  </a:lnTo>
                  <a:lnTo>
                    <a:pt x="1260" y="1932"/>
                  </a:lnTo>
                  <a:lnTo>
                    <a:pt x="1254" y="1920"/>
                  </a:lnTo>
                  <a:lnTo>
                    <a:pt x="1248" y="1920"/>
                  </a:lnTo>
                  <a:lnTo>
                    <a:pt x="1242" y="1920"/>
                  </a:lnTo>
                  <a:lnTo>
                    <a:pt x="1236" y="1926"/>
                  </a:lnTo>
                  <a:lnTo>
                    <a:pt x="1236" y="1932"/>
                  </a:lnTo>
                  <a:lnTo>
                    <a:pt x="1230" y="1932"/>
                  </a:lnTo>
                  <a:lnTo>
                    <a:pt x="1224" y="1932"/>
                  </a:lnTo>
                  <a:lnTo>
                    <a:pt x="1218" y="1938"/>
                  </a:lnTo>
                  <a:lnTo>
                    <a:pt x="1212" y="1932"/>
                  </a:lnTo>
                  <a:lnTo>
                    <a:pt x="1206" y="1926"/>
                  </a:lnTo>
                  <a:lnTo>
                    <a:pt x="1206" y="1908"/>
                  </a:lnTo>
                  <a:lnTo>
                    <a:pt x="1206" y="1884"/>
                  </a:lnTo>
                  <a:lnTo>
                    <a:pt x="1206" y="1866"/>
                  </a:lnTo>
                  <a:lnTo>
                    <a:pt x="1212" y="1848"/>
                  </a:lnTo>
                  <a:lnTo>
                    <a:pt x="1212" y="1842"/>
                  </a:lnTo>
                  <a:lnTo>
                    <a:pt x="1206" y="1836"/>
                  </a:lnTo>
                  <a:lnTo>
                    <a:pt x="1200" y="1830"/>
                  </a:lnTo>
                  <a:lnTo>
                    <a:pt x="1194" y="1824"/>
                  </a:lnTo>
                  <a:lnTo>
                    <a:pt x="1188" y="1824"/>
                  </a:lnTo>
                  <a:lnTo>
                    <a:pt x="1182" y="1824"/>
                  </a:lnTo>
                  <a:lnTo>
                    <a:pt x="1176" y="1824"/>
                  </a:lnTo>
                  <a:lnTo>
                    <a:pt x="1170" y="1818"/>
                  </a:lnTo>
                  <a:lnTo>
                    <a:pt x="1164" y="1830"/>
                  </a:lnTo>
                  <a:lnTo>
                    <a:pt x="1152" y="1836"/>
                  </a:lnTo>
                  <a:lnTo>
                    <a:pt x="1146" y="1842"/>
                  </a:lnTo>
                  <a:lnTo>
                    <a:pt x="1140" y="1842"/>
                  </a:lnTo>
                  <a:lnTo>
                    <a:pt x="1134" y="1842"/>
                  </a:lnTo>
                  <a:lnTo>
                    <a:pt x="1128" y="1842"/>
                  </a:lnTo>
                  <a:lnTo>
                    <a:pt x="1116" y="1836"/>
                  </a:lnTo>
                  <a:lnTo>
                    <a:pt x="1110" y="1842"/>
                  </a:lnTo>
                  <a:lnTo>
                    <a:pt x="1092" y="1830"/>
                  </a:lnTo>
                  <a:lnTo>
                    <a:pt x="1092" y="1824"/>
                  </a:lnTo>
                  <a:lnTo>
                    <a:pt x="1092" y="1806"/>
                  </a:lnTo>
                  <a:lnTo>
                    <a:pt x="1092" y="1800"/>
                  </a:lnTo>
                  <a:lnTo>
                    <a:pt x="1092" y="1794"/>
                  </a:lnTo>
                  <a:lnTo>
                    <a:pt x="1086" y="1788"/>
                  </a:lnTo>
                  <a:lnTo>
                    <a:pt x="1080" y="1794"/>
                  </a:lnTo>
                  <a:lnTo>
                    <a:pt x="1074" y="1788"/>
                  </a:lnTo>
                  <a:lnTo>
                    <a:pt x="1068" y="1770"/>
                  </a:lnTo>
                  <a:lnTo>
                    <a:pt x="1056" y="1764"/>
                  </a:lnTo>
                  <a:lnTo>
                    <a:pt x="1050" y="1764"/>
                  </a:lnTo>
                  <a:lnTo>
                    <a:pt x="1044" y="1764"/>
                  </a:lnTo>
                  <a:lnTo>
                    <a:pt x="1038" y="1758"/>
                  </a:lnTo>
                  <a:lnTo>
                    <a:pt x="1032" y="1752"/>
                  </a:lnTo>
                  <a:lnTo>
                    <a:pt x="1032" y="1746"/>
                  </a:lnTo>
                  <a:lnTo>
                    <a:pt x="1032" y="1740"/>
                  </a:lnTo>
                  <a:lnTo>
                    <a:pt x="1032" y="1734"/>
                  </a:lnTo>
                  <a:lnTo>
                    <a:pt x="1026" y="1734"/>
                  </a:lnTo>
                  <a:lnTo>
                    <a:pt x="1032" y="1728"/>
                  </a:lnTo>
                  <a:lnTo>
                    <a:pt x="1032" y="1722"/>
                  </a:lnTo>
                  <a:lnTo>
                    <a:pt x="1044" y="1686"/>
                  </a:lnTo>
                  <a:lnTo>
                    <a:pt x="1044" y="1680"/>
                  </a:lnTo>
                  <a:lnTo>
                    <a:pt x="1032" y="1674"/>
                  </a:lnTo>
                  <a:lnTo>
                    <a:pt x="1026" y="1674"/>
                  </a:lnTo>
                  <a:lnTo>
                    <a:pt x="1026" y="1668"/>
                  </a:lnTo>
                  <a:lnTo>
                    <a:pt x="1020" y="1662"/>
                  </a:lnTo>
                  <a:lnTo>
                    <a:pt x="1014" y="1668"/>
                  </a:lnTo>
                  <a:lnTo>
                    <a:pt x="1008" y="1662"/>
                  </a:lnTo>
                  <a:lnTo>
                    <a:pt x="1002" y="1662"/>
                  </a:lnTo>
                  <a:lnTo>
                    <a:pt x="1002" y="1668"/>
                  </a:lnTo>
                  <a:lnTo>
                    <a:pt x="996" y="1668"/>
                  </a:lnTo>
                  <a:lnTo>
                    <a:pt x="996" y="1662"/>
                  </a:lnTo>
                  <a:lnTo>
                    <a:pt x="984" y="1662"/>
                  </a:lnTo>
                  <a:lnTo>
                    <a:pt x="984" y="1656"/>
                  </a:lnTo>
                  <a:lnTo>
                    <a:pt x="978" y="1650"/>
                  </a:lnTo>
                  <a:lnTo>
                    <a:pt x="978" y="1644"/>
                  </a:lnTo>
                  <a:lnTo>
                    <a:pt x="966" y="1650"/>
                  </a:lnTo>
                  <a:lnTo>
                    <a:pt x="960" y="1638"/>
                  </a:lnTo>
                  <a:lnTo>
                    <a:pt x="954" y="1632"/>
                  </a:lnTo>
                  <a:lnTo>
                    <a:pt x="948" y="1632"/>
                  </a:lnTo>
                  <a:lnTo>
                    <a:pt x="942" y="1626"/>
                  </a:lnTo>
                  <a:lnTo>
                    <a:pt x="942" y="1614"/>
                  </a:lnTo>
                  <a:lnTo>
                    <a:pt x="930" y="1608"/>
                  </a:lnTo>
                  <a:lnTo>
                    <a:pt x="924" y="1614"/>
                  </a:lnTo>
                  <a:lnTo>
                    <a:pt x="912" y="1608"/>
                  </a:lnTo>
                  <a:lnTo>
                    <a:pt x="888" y="1590"/>
                  </a:lnTo>
                  <a:lnTo>
                    <a:pt x="894" y="1578"/>
                  </a:lnTo>
                  <a:lnTo>
                    <a:pt x="894" y="1572"/>
                  </a:lnTo>
                  <a:lnTo>
                    <a:pt x="894" y="1566"/>
                  </a:lnTo>
                  <a:lnTo>
                    <a:pt x="894" y="1548"/>
                  </a:lnTo>
                  <a:lnTo>
                    <a:pt x="888" y="1548"/>
                  </a:lnTo>
                  <a:lnTo>
                    <a:pt x="882" y="1542"/>
                  </a:lnTo>
                  <a:lnTo>
                    <a:pt x="876" y="1542"/>
                  </a:lnTo>
                  <a:lnTo>
                    <a:pt x="876" y="1536"/>
                  </a:lnTo>
                  <a:lnTo>
                    <a:pt x="870" y="1542"/>
                  </a:lnTo>
                  <a:lnTo>
                    <a:pt x="870" y="1554"/>
                  </a:lnTo>
                  <a:lnTo>
                    <a:pt x="870" y="1566"/>
                  </a:lnTo>
                  <a:lnTo>
                    <a:pt x="870" y="1578"/>
                  </a:lnTo>
                  <a:lnTo>
                    <a:pt x="870" y="1584"/>
                  </a:lnTo>
                  <a:lnTo>
                    <a:pt x="864" y="1584"/>
                  </a:lnTo>
                  <a:lnTo>
                    <a:pt x="870" y="1602"/>
                  </a:lnTo>
                  <a:lnTo>
                    <a:pt x="864" y="1608"/>
                  </a:lnTo>
                  <a:lnTo>
                    <a:pt x="870" y="1614"/>
                  </a:lnTo>
                  <a:lnTo>
                    <a:pt x="864" y="1644"/>
                  </a:lnTo>
                  <a:lnTo>
                    <a:pt x="858" y="1650"/>
                  </a:lnTo>
                  <a:lnTo>
                    <a:pt x="858" y="1656"/>
                  </a:lnTo>
                  <a:lnTo>
                    <a:pt x="852" y="1662"/>
                  </a:lnTo>
                  <a:lnTo>
                    <a:pt x="852" y="1680"/>
                  </a:lnTo>
                  <a:lnTo>
                    <a:pt x="846" y="1686"/>
                  </a:lnTo>
                  <a:lnTo>
                    <a:pt x="834" y="1692"/>
                  </a:lnTo>
                  <a:lnTo>
                    <a:pt x="828" y="1692"/>
                  </a:lnTo>
                  <a:lnTo>
                    <a:pt x="822" y="1698"/>
                  </a:lnTo>
                  <a:lnTo>
                    <a:pt x="822" y="1704"/>
                  </a:lnTo>
                  <a:lnTo>
                    <a:pt x="816" y="1704"/>
                  </a:lnTo>
                  <a:lnTo>
                    <a:pt x="804" y="1692"/>
                  </a:lnTo>
                  <a:lnTo>
                    <a:pt x="786" y="1698"/>
                  </a:lnTo>
                  <a:lnTo>
                    <a:pt x="780" y="1698"/>
                  </a:lnTo>
                  <a:lnTo>
                    <a:pt x="756" y="1698"/>
                  </a:lnTo>
                  <a:lnTo>
                    <a:pt x="744" y="1698"/>
                  </a:lnTo>
                  <a:lnTo>
                    <a:pt x="738" y="1698"/>
                  </a:lnTo>
                  <a:lnTo>
                    <a:pt x="732" y="1704"/>
                  </a:lnTo>
                  <a:lnTo>
                    <a:pt x="726" y="1704"/>
                  </a:lnTo>
                  <a:lnTo>
                    <a:pt x="678" y="1710"/>
                  </a:lnTo>
                  <a:lnTo>
                    <a:pt x="642" y="1710"/>
                  </a:lnTo>
                  <a:lnTo>
                    <a:pt x="618" y="1680"/>
                  </a:lnTo>
                  <a:lnTo>
                    <a:pt x="618" y="1674"/>
                  </a:lnTo>
                  <a:lnTo>
                    <a:pt x="618" y="1668"/>
                  </a:lnTo>
                  <a:lnTo>
                    <a:pt x="624" y="1662"/>
                  </a:lnTo>
                  <a:lnTo>
                    <a:pt x="624" y="1656"/>
                  </a:lnTo>
                  <a:lnTo>
                    <a:pt x="624" y="1650"/>
                  </a:lnTo>
                  <a:lnTo>
                    <a:pt x="618" y="1650"/>
                  </a:lnTo>
                  <a:lnTo>
                    <a:pt x="618" y="1644"/>
                  </a:lnTo>
                  <a:lnTo>
                    <a:pt x="618" y="1638"/>
                  </a:lnTo>
                  <a:lnTo>
                    <a:pt x="618" y="1632"/>
                  </a:lnTo>
                  <a:lnTo>
                    <a:pt x="618" y="1626"/>
                  </a:lnTo>
                  <a:lnTo>
                    <a:pt x="612" y="1626"/>
                  </a:lnTo>
                  <a:lnTo>
                    <a:pt x="612" y="1620"/>
                  </a:lnTo>
                  <a:lnTo>
                    <a:pt x="606" y="1614"/>
                  </a:lnTo>
                  <a:lnTo>
                    <a:pt x="594" y="1626"/>
                  </a:lnTo>
                  <a:lnTo>
                    <a:pt x="594" y="1632"/>
                  </a:lnTo>
                  <a:lnTo>
                    <a:pt x="588" y="1638"/>
                  </a:lnTo>
                  <a:lnTo>
                    <a:pt x="582" y="1638"/>
                  </a:lnTo>
                  <a:lnTo>
                    <a:pt x="564" y="1656"/>
                  </a:lnTo>
                  <a:lnTo>
                    <a:pt x="558" y="1662"/>
                  </a:lnTo>
                  <a:lnTo>
                    <a:pt x="552" y="1662"/>
                  </a:lnTo>
                  <a:lnTo>
                    <a:pt x="540" y="1674"/>
                  </a:lnTo>
                  <a:lnTo>
                    <a:pt x="534" y="1680"/>
                  </a:lnTo>
                  <a:lnTo>
                    <a:pt x="522" y="1692"/>
                  </a:lnTo>
                  <a:lnTo>
                    <a:pt x="516" y="1704"/>
                  </a:lnTo>
                  <a:lnTo>
                    <a:pt x="510" y="1704"/>
                  </a:lnTo>
                  <a:lnTo>
                    <a:pt x="504" y="1704"/>
                  </a:lnTo>
                  <a:lnTo>
                    <a:pt x="486" y="1722"/>
                  </a:lnTo>
                  <a:lnTo>
                    <a:pt x="480" y="1740"/>
                  </a:lnTo>
                  <a:lnTo>
                    <a:pt x="474" y="1740"/>
                  </a:lnTo>
                  <a:lnTo>
                    <a:pt x="468" y="1746"/>
                  </a:lnTo>
                  <a:lnTo>
                    <a:pt x="456" y="1758"/>
                  </a:lnTo>
                  <a:lnTo>
                    <a:pt x="444" y="1770"/>
                  </a:lnTo>
                  <a:lnTo>
                    <a:pt x="438" y="1782"/>
                  </a:lnTo>
                  <a:lnTo>
                    <a:pt x="426" y="1788"/>
                  </a:lnTo>
                  <a:lnTo>
                    <a:pt x="420" y="1788"/>
                  </a:lnTo>
                  <a:lnTo>
                    <a:pt x="420" y="1782"/>
                  </a:lnTo>
                  <a:lnTo>
                    <a:pt x="414" y="1782"/>
                  </a:lnTo>
                  <a:lnTo>
                    <a:pt x="390" y="1782"/>
                  </a:lnTo>
                  <a:lnTo>
                    <a:pt x="390" y="1776"/>
                  </a:lnTo>
                  <a:lnTo>
                    <a:pt x="384" y="1776"/>
                  </a:lnTo>
                  <a:lnTo>
                    <a:pt x="378" y="1776"/>
                  </a:lnTo>
                  <a:lnTo>
                    <a:pt x="372" y="1776"/>
                  </a:lnTo>
                  <a:lnTo>
                    <a:pt x="366" y="1770"/>
                  </a:lnTo>
                  <a:lnTo>
                    <a:pt x="366" y="1776"/>
                  </a:lnTo>
                  <a:lnTo>
                    <a:pt x="360" y="1788"/>
                  </a:lnTo>
                  <a:lnTo>
                    <a:pt x="360" y="1794"/>
                  </a:lnTo>
                  <a:lnTo>
                    <a:pt x="360" y="1800"/>
                  </a:lnTo>
                  <a:lnTo>
                    <a:pt x="354" y="1806"/>
                  </a:lnTo>
                  <a:lnTo>
                    <a:pt x="354" y="1812"/>
                  </a:lnTo>
                  <a:lnTo>
                    <a:pt x="354" y="1824"/>
                  </a:lnTo>
                  <a:lnTo>
                    <a:pt x="348" y="1830"/>
                  </a:lnTo>
                  <a:lnTo>
                    <a:pt x="354" y="1836"/>
                  </a:lnTo>
                  <a:lnTo>
                    <a:pt x="348" y="1842"/>
                  </a:lnTo>
                  <a:lnTo>
                    <a:pt x="354" y="1848"/>
                  </a:lnTo>
                  <a:lnTo>
                    <a:pt x="348" y="1854"/>
                  </a:lnTo>
                  <a:lnTo>
                    <a:pt x="354" y="1854"/>
                  </a:lnTo>
                  <a:lnTo>
                    <a:pt x="348" y="1860"/>
                  </a:lnTo>
                  <a:lnTo>
                    <a:pt x="348" y="1866"/>
                  </a:lnTo>
                  <a:lnTo>
                    <a:pt x="342" y="1866"/>
                  </a:lnTo>
                  <a:lnTo>
                    <a:pt x="342" y="1872"/>
                  </a:lnTo>
                  <a:lnTo>
                    <a:pt x="342" y="1878"/>
                  </a:lnTo>
                  <a:lnTo>
                    <a:pt x="342" y="1884"/>
                  </a:lnTo>
                  <a:lnTo>
                    <a:pt x="336" y="1896"/>
                  </a:lnTo>
                  <a:lnTo>
                    <a:pt x="330" y="1914"/>
                  </a:lnTo>
                  <a:lnTo>
                    <a:pt x="324" y="1920"/>
                  </a:lnTo>
                  <a:lnTo>
                    <a:pt x="324" y="1926"/>
                  </a:lnTo>
                  <a:lnTo>
                    <a:pt x="318" y="1944"/>
                  </a:lnTo>
                  <a:lnTo>
                    <a:pt x="318" y="1950"/>
                  </a:lnTo>
                  <a:lnTo>
                    <a:pt x="312" y="1956"/>
                  </a:lnTo>
                  <a:lnTo>
                    <a:pt x="312" y="1950"/>
                  </a:lnTo>
                  <a:lnTo>
                    <a:pt x="306" y="1950"/>
                  </a:lnTo>
                  <a:lnTo>
                    <a:pt x="306" y="1956"/>
                  </a:lnTo>
                  <a:lnTo>
                    <a:pt x="300" y="1950"/>
                  </a:lnTo>
                  <a:lnTo>
                    <a:pt x="294" y="1956"/>
                  </a:lnTo>
                  <a:lnTo>
                    <a:pt x="288" y="1950"/>
                  </a:lnTo>
                  <a:lnTo>
                    <a:pt x="288" y="1944"/>
                  </a:lnTo>
                  <a:lnTo>
                    <a:pt x="282" y="1938"/>
                  </a:lnTo>
                  <a:lnTo>
                    <a:pt x="282" y="1932"/>
                  </a:lnTo>
                  <a:lnTo>
                    <a:pt x="282" y="1890"/>
                  </a:lnTo>
                  <a:lnTo>
                    <a:pt x="288" y="1860"/>
                  </a:lnTo>
                  <a:lnTo>
                    <a:pt x="294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300" y="1818"/>
                  </a:lnTo>
                  <a:lnTo>
                    <a:pt x="306" y="1794"/>
                  </a:lnTo>
                  <a:lnTo>
                    <a:pt x="306" y="1788"/>
                  </a:lnTo>
                  <a:lnTo>
                    <a:pt x="306" y="1782"/>
                  </a:lnTo>
                  <a:lnTo>
                    <a:pt x="312" y="1776"/>
                  </a:lnTo>
                  <a:lnTo>
                    <a:pt x="306" y="1776"/>
                  </a:lnTo>
                  <a:lnTo>
                    <a:pt x="312" y="1770"/>
                  </a:lnTo>
                  <a:lnTo>
                    <a:pt x="312" y="1740"/>
                  </a:lnTo>
                  <a:lnTo>
                    <a:pt x="318" y="1722"/>
                  </a:lnTo>
                  <a:lnTo>
                    <a:pt x="312" y="1722"/>
                  </a:lnTo>
                  <a:lnTo>
                    <a:pt x="300" y="1716"/>
                  </a:lnTo>
                  <a:lnTo>
                    <a:pt x="306" y="1716"/>
                  </a:lnTo>
                  <a:lnTo>
                    <a:pt x="312" y="1710"/>
                  </a:lnTo>
                  <a:lnTo>
                    <a:pt x="324" y="1674"/>
                  </a:lnTo>
                  <a:lnTo>
                    <a:pt x="366" y="1590"/>
                  </a:lnTo>
                  <a:lnTo>
                    <a:pt x="408" y="1548"/>
                  </a:lnTo>
                  <a:lnTo>
                    <a:pt x="426" y="1530"/>
                  </a:lnTo>
                  <a:lnTo>
                    <a:pt x="432" y="1500"/>
                  </a:lnTo>
                  <a:lnTo>
                    <a:pt x="426" y="1494"/>
                  </a:lnTo>
                  <a:lnTo>
                    <a:pt x="426" y="1482"/>
                  </a:lnTo>
                  <a:lnTo>
                    <a:pt x="432" y="1464"/>
                  </a:lnTo>
                  <a:lnTo>
                    <a:pt x="438" y="1428"/>
                  </a:lnTo>
                  <a:lnTo>
                    <a:pt x="462" y="1398"/>
                  </a:lnTo>
                  <a:lnTo>
                    <a:pt x="468" y="1362"/>
                  </a:lnTo>
                  <a:lnTo>
                    <a:pt x="462" y="1314"/>
                  </a:lnTo>
                  <a:lnTo>
                    <a:pt x="444" y="1284"/>
                  </a:lnTo>
                  <a:lnTo>
                    <a:pt x="432" y="1260"/>
                  </a:lnTo>
                  <a:lnTo>
                    <a:pt x="426" y="1260"/>
                  </a:lnTo>
                  <a:lnTo>
                    <a:pt x="420" y="1254"/>
                  </a:lnTo>
                  <a:lnTo>
                    <a:pt x="408" y="1260"/>
                  </a:lnTo>
                  <a:lnTo>
                    <a:pt x="402" y="1260"/>
                  </a:lnTo>
                  <a:lnTo>
                    <a:pt x="402" y="1254"/>
                  </a:lnTo>
                  <a:lnTo>
                    <a:pt x="396" y="1254"/>
                  </a:lnTo>
                  <a:lnTo>
                    <a:pt x="396" y="1248"/>
                  </a:lnTo>
                  <a:lnTo>
                    <a:pt x="384" y="1248"/>
                  </a:lnTo>
                  <a:lnTo>
                    <a:pt x="372" y="1230"/>
                  </a:lnTo>
                  <a:lnTo>
                    <a:pt x="360" y="1212"/>
                  </a:lnTo>
                  <a:lnTo>
                    <a:pt x="348" y="1188"/>
                  </a:lnTo>
                  <a:lnTo>
                    <a:pt x="324" y="1170"/>
                  </a:lnTo>
                  <a:lnTo>
                    <a:pt x="318" y="1170"/>
                  </a:lnTo>
                  <a:lnTo>
                    <a:pt x="312" y="1158"/>
                  </a:lnTo>
                  <a:lnTo>
                    <a:pt x="312" y="1152"/>
                  </a:lnTo>
                  <a:lnTo>
                    <a:pt x="306" y="1146"/>
                  </a:lnTo>
                  <a:lnTo>
                    <a:pt x="270" y="1122"/>
                  </a:lnTo>
                  <a:lnTo>
                    <a:pt x="240" y="1122"/>
                  </a:lnTo>
                  <a:lnTo>
                    <a:pt x="180" y="1116"/>
                  </a:lnTo>
                  <a:lnTo>
                    <a:pt x="174" y="1122"/>
                  </a:lnTo>
                  <a:lnTo>
                    <a:pt x="174" y="1128"/>
                  </a:lnTo>
                  <a:lnTo>
                    <a:pt x="168" y="1122"/>
                  </a:lnTo>
                  <a:lnTo>
                    <a:pt x="162" y="1116"/>
                  </a:lnTo>
                  <a:lnTo>
                    <a:pt x="144" y="1122"/>
                  </a:lnTo>
                  <a:lnTo>
                    <a:pt x="120" y="1122"/>
                  </a:lnTo>
                  <a:lnTo>
                    <a:pt x="54" y="1134"/>
                  </a:lnTo>
                  <a:lnTo>
                    <a:pt x="24" y="1152"/>
                  </a:lnTo>
                  <a:lnTo>
                    <a:pt x="6" y="1146"/>
                  </a:lnTo>
                  <a:lnTo>
                    <a:pt x="0" y="1134"/>
                  </a:lnTo>
                  <a:lnTo>
                    <a:pt x="0" y="1128"/>
                  </a:lnTo>
                  <a:lnTo>
                    <a:pt x="18" y="1110"/>
                  </a:lnTo>
                  <a:lnTo>
                    <a:pt x="24" y="1104"/>
                  </a:lnTo>
                  <a:lnTo>
                    <a:pt x="24" y="1098"/>
                  </a:lnTo>
                  <a:lnTo>
                    <a:pt x="30" y="1086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24" y="1074"/>
                  </a:lnTo>
                  <a:lnTo>
                    <a:pt x="18" y="1068"/>
                  </a:lnTo>
                  <a:lnTo>
                    <a:pt x="24" y="1062"/>
                  </a:lnTo>
                  <a:lnTo>
                    <a:pt x="42" y="1056"/>
                  </a:lnTo>
                  <a:lnTo>
                    <a:pt x="54" y="1050"/>
                  </a:lnTo>
                  <a:lnTo>
                    <a:pt x="72" y="1044"/>
                  </a:lnTo>
                  <a:lnTo>
                    <a:pt x="96" y="1032"/>
                  </a:lnTo>
                  <a:lnTo>
                    <a:pt x="102" y="1032"/>
                  </a:lnTo>
                  <a:lnTo>
                    <a:pt x="126" y="1008"/>
                  </a:lnTo>
                  <a:lnTo>
                    <a:pt x="144" y="990"/>
                  </a:lnTo>
                  <a:lnTo>
                    <a:pt x="156" y="978"/>
                  </a:lnTo>
                  <a:lnTo>
                    <a:pt x="156" y="966"/>
                  </a:lnTo>
                  <a:lnTo>
                    <a:pt x="150" y="960"/>
                  </a:lnTo>
                  <a:lnTo>
                    <a:pt x="144" y="948"/>
                  </a:lnTo>
                  <a:lnTo>
                    <a:pt x="144" y="936"/>
                  </a:lnTo>
                  <a:lnTo>
                    <a:pt x="138" y="918"/>
                  </a:lnTo>
                  <a:lnTo>
                    <a:pt x="150" y="912"/>
                  </a:lnTo>
                  <a:lnTo>
                    <a:pt x="150" y="894"/>
                  </a:lnTo>
                  <a:lnTo>
                    <a:pt x="132" y="876"/>
                  </a:lnTo>
                  <a:lnTo>
                    <a:pt x="126" y="876"/>
                  </a:lnTo>
                  <a:lnTo>
                    <a:pt x="120" y="870"/>
                  </a:lnTo>
                  <a:lnTo>
                    <a:pt x="120" y="864"/>
                  </a:lnTo>
                  <a:lnTo>
                    <a:pt x="114" y="864"/>
                  </a:lnTo>
                  <a:lnTo>
                    <a:pt x="108" y="864"/>
                  </a:lnTo>
                  <a:lnTo>
                    <a:pt x="108" y="858"/>
                  </a:lnTo>
                  <a:lnTo>
                    <a:pt x="102" y="852"/>
                  </a:lnTo>
                  <a:lnTo>
                    <a:pt x="96" y="852"/>
                  </a:lnTo>
                  <a:lnTo>
                    <a:pt x="102" y="834"/>
                  </a:lnTo>
                  <a:lnTo>
                    <a:pt x="108" y="816"/>
                  </a:lnTo>
                  <a:lnTo>
                    <a:pt x="114" y="804"/>
                  </a:lnTo>
                  <a:lnTo>
                    <a:pt x="132" y="798"/>
                  </a:lnTo>
                  <a:lnTo>
                    <a:pt x="144" y="798"/>
                  </a:lnTo>
                  <a:lnTo>
                    <a:pt x="180" y="810"/>
                  </a:lnTo>
                  <a:lnTo>
                    <a:pt x="192" y="816"/>
                  </a:lnTo>
                  <a:lnTo>
                    <a:pt x="234" y="822"/>
                  </a:lnTo>
                  <a:lnTo>
                    <a:pt x="264" y="828"/>
                  </a:lnTo>
                  <a:lnTo>
                    <a:pt x="270" y="840"/>
                  </a:lnTo>
                  <a:lnTo>
                    <a:pt x="270" y="834"/>
                  </a:lnTo>
                  <a:lnTo>
                    <a:pt x="270" y="828"/>
                  </a:lnTo>
                  <a:lnTo>
                    <a:pt x="270" y="822"/>
                  </a:lnTo>
                  <a:lnTo>
                    <a:pt x="270" y="816"/>
                  </a:lnTo>
                  <a:lnTo>
                    <a:pt x="264" y="810"/>
                  </a:lnTo>
                  <a:lnTo>
                    <a:pt x="264" y="804"/>
                  </a:lnTo>
                  <a:lnTo>
                    <a:pt x="264" y="798"/>
                  </a:lnTo>
                  <a:lnTo>
                    <a:pt x="258" y="792"/>
                  </a:lnTo>
                  <a:lnTo>
                    <a:pt x="258" y="786"/>
                  </a:lnTo>
                  <a:lnTo>
                    <a:pt x="264" y="786"/>
                  </a:lnTo>
                  <a:lnTo>
                    <a:pt x="264" y="780"/>
                  </a:lnTo>
                  <a:lnTo>
                    <a:pt x="258" y="774"/>
                  </a:lnTo>
                  <a:lnTo>
                    <a:pt x="258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82" y="762"/>
                  </a:lnTo>
                  <a:lnTo>
                    <a:pt x="312" y="780"/>
                  </a:lnTo>
                  <a:lnTo>
                    <a:pt x="354" y="786"/>
                  </a:lnTo>
                  <a:lnTo>
                    <a:pt x="408" y="774"/>
                  </a:lnTo>
                  <a:lnTo>
                    <a:pt x="444" y="756"/>
                  </a:lnTo>
                  <a:lnTo>
                    <a:pt x="468" y="732"/>
                  </a:lnTo>
                  <a:lnTo>
                    <a:pt x="492" y="720"/>
                  </a:lnTo>
                  <a:lnTo>
                    <a:pt x="522" y="690"/>
                  </a:lnTo>
                  <a:lnTo>
                    <a:pt x="540" y="672"/>
                  </a:lnTo>
                  <a:lnTo>
                    <a:pt x="558" y="660"/>
                  </a:lnTo>
                  <a:lnTo>
                    <a:pt x="570" y="636"/>
                  </a:lnTo>
                  <a:lnTo>
                    <a:pt x="588" y="612"/>
                  </a:lnTo>
                  <a:lnTo>
                    <a:pt x="654" y="552"/>
                  </a:lnTo>
                  <a:lnTo>
                    <a:pt x="678" y="528"/>
                  </a:lnTo>
                  <a:lnTo>
                    <a:pt x="696" y="510"/>
                  </a:lnTo>
                  <a:lnTo>
                    <a:pt x="714" y="498"/>
                  </a:lnTo>
                  <a:lnTo>
                    <a:pt x="750" y="480"/>
                  </a:lnTo>
                  <a:lnTo>
                    <a:pt x="774" y="444"/>
                  </a:lnTo>
                  <a:lnTo>
                    <a:pt x="816" y="426"/>
                  </a:lnTo>
                  <a:lnTo>
                    <a:pt x="864" y="420"/>
                  </a:lnTo>
                  <a:lnTo>
                    <a:pt x="912" y="402"/>
                  </a:lnTo>
                  <a:lnTo>
                    <a:pt x="906" y="396"/>
                  </a:lnTo>
                  <a:lnTo>
                    <a:pt x="912" y="396"/>
                  </a:lnTo>
                  <a:lnTo>
                    <a:pt x="912" y="390"/>
                  </a:lnTo>
                  <a:lnTo>
                    <a:pt x="918" y="384"/>
                  </a:lnTo>
                  <a:lnTo>
                    <a:pt x="924" y="384"/>
                  </a:lnTo>
                  <a:lnTo>
                    <a:pt x="924" y="378"/>
                  </a:lnTo>
                  <a:lnTo>
                    <a:pt x="918" y="372"/>
                  </a:lnTo>
                  <a:lnTo>
                    <a:pt x="918" y="366"/>
                  </a:lnTo>
                  <a:lnTo>
                    <a:pt x="918" y="360"/>
                  </a:lnTo>
                  <a:lnTo>
                    <a:pt x="924" y="360"/>
                  </a:lnTo>
                  <a:lnTo>
                    <a:pt x="924" y="354"/>
                  </a:lnTo>
                  <a:lnTo>
                    <a:pt x="930" y="354"/>
                  </a:lnTo>
                  <a:lnTo>
                    <a:pt x="936" y="354"/>
                  </a:lnTo>
                  <a:lnTo>
                    <a:pt x="936" y="348"/>
                  </a:lnTo>
                  <a:lnTo>
                    <a:pt x="942" y="348"/>
                  </a:lnTo>
                  <a:lnTo>
                    <a:pt x="942" y="336"/>
                  </a:lnTo>
                  <a:lnTo>
                    <a:pt x="936" y="336"/>
                  </a:lnTo>
                  <a:lnTo>
                    <a:pt x="930" y="330"/>
                  </a:lnTo>
                  <a:lnTo>
                    <a:pt x="924" y="330"/>
                  </a:lnTo>
                  <a:lnTo>
                    <a:pt x="924" y="324"/>
                  </a:lnTo>
                  <a:lnTo>
                    <a:pt x="918" y="318"/>
                  </a:lnTo>
                  <a:lnTo>
                    <a:pt x="912" y="306"/>
                  </a:lnTo>
                  <a:lnTo>
                    <a:pt x="918" y="306"/>
                  </a:lnTo>
                  <a:lnTo>
                    <a:pt x="924" y="300"/>
                  </a:lnTo>
                  <a:lnTo>
                    <a:pt x="924" y="294"/>
                  </a:lnTo>
                  <a:lnTo>
                    <a:pt x="924" y="288"/>
                  </a:lnTo>
                  <a:lnTo>
                    <a:pt x="924" y="282"/>
                  </a:lnTo>
                  <a:lnTo>
                    <a:pt x="924" y="276"/>
                  </a:lnTo>
                  <a:lnTo>
                    <a:pt x="918" y="270"/>
                  </a:lnTo>
                  <a:lnTo>
                    <a:pt x="918" y="264"/>
                  </a:lnTo>
                  <a:lnTo>
                    <a:pt x="912" y="270"/>
                  </a:lnTo>
                  <a:lnTo>
                    <a:pt x="912" y="264"/>
                  </a:lnTo>
                  <a:lnTo>
                    <a:pt x="912" y="258"/>
                  </a:lnTo>
                  <a:lnTo>
                    <a:pt x="912" y="252"/>
                  </a:lnTo>
                  <a:lnTo>
                    <a:pt x="906" y="252"/>
                  </a:lnTo>
                  <a:lnTo>
                    <a:pt x="900" y="246"/>
                  </a:lnTo>
                  <a:lnTo>
                    <a:pt x="900" y="240"/>
                  </a:lnTo>
                  <a:lnTo>
                    <a:pt x="900" y="246"/>
                  </a:lnTo>
                  <a:lnTo>
                    <a:pt x="894" y="246"/>
                  </a:lnTo>
                  <a:lnTo>
                    <a:pt x="894" y="240"/>
                  </a:lnTo>
                  <a:lnTo>
                    <a:pt x="894" y="234"/>
                  </a:lnTo>
                  <a:lnTo>
                    <a:pt x="900" y="234"/>
                  </a:lnTo>
                  <a:lnTo>
                    <a:pt x="900" y="228"/>
                  </a:lnTo>
                  <a:lnTo>
                    <a:pt x="906" y="228"/>
                  </a:lnTo>
                  <a:lnTo>
                    <a:pt x="900" y="222"/>
                  </a:lnTo>
                  <a:lnTo>
                    <a:pt x="894" y="216"/>
                  </a:lnTo>
                  <a:lnTo>
                    <a:pt x="894" y="210"/>
                  </a:lnTo>
                  <a:lnTo>
                    <a:pt x="888" y="210"/>
                  </a:lnTo>
                  <a:lnTo>
                    <a:pt x="888" y="204"/>
                  </a:lnTo>
                  <a:lnTo>
                    <a:pt x="888" y="198"/>
                  </a:lnTo>
                  <a:lnTo>
                    <a:pt x="888" y="192"/>
                  </a:lnTo>
                  <a:lnTo>
                    <a:pt x="882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82" y="174"/>
                  </a:lnTo>
                  <a:lnTo>
                    <a:pt x="888" y="168"/>
                  </a:lnTo>
                  <a:lnTo>
                    <a:pt x="888" y="162"/>
                  </a:lnTo>
                  <a:lnTo>
                    <a:pt x="888" y="156"/>
                  </a:lnTo>
                  <a:lnTo>
                    <a:pt x="888" y="150"/>
                  </a:lnTo>
                  <a:lnTo>
                    <a:pt x="888" y="144"/>
                  </a:lnTo>
                  <a:lnTo>
                    <a:pt x="882" y="144"/>
                  </a:lnTo>
                  <a:lnTo>
                    <a:pt x="882" y="138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76" y="120"/>
                  </a:lnTo>
                  <a:lnTo>
                    <a:pt x="882" y="114"/>
                  </a:lnTo>
                  <a:lnTo>
                    <a:pt x="882" y="108"/>
                  </a:lnTo>
                  <a:lnTo>
                    <a:pt x="888" y="102"/>
                  </a:lnTo>
                  <a:lnTo>
                    <a:pt x="894" y="102"/>
                  </a:lnTo>
                  <a:lnTo>
                    <a:pt x="894" y="96"/>
                  </a:lnTo>
                  <a:lnTo>
                    <a:pt x="888" y="96"/>
                  </a:lnTo>
                  <a:lnTo>
                    <a:pt x="894" y="90"/>
                  </a:lnTo>
                  <a:lnTo>
                    <a:pt x="888" y="84"/>
                  </a:lnTo>
                  <a:lnTo>
                    <a:pt x="888" y="78"/>
                  </a:lnTo>
                  <a:lnTo>
                    <a:pt x="924" y="66"/>
                  </a:lnTo>
                  <a:lnTo>
                    <a:pt x="966" y="66"/>
                  </a:lnTo>
                  <a:lnTo>
                    <a:pt x="996" y="48"/>
                  </a:lnTo>
                  <a:lnTo>
                    <a:pt x="1056" y="12"/>
                  </a:lnTo>
                  <a:lnTo>
                    <a:pt x="1128" y="0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0" y="18"/>
                  </a:lnTo>
                  <a:lnTo>
                    <a:pt x="1176" y="24"/>
                  </a:lnTo>
                  <a:lnTo>
                    <a:pt x="1182" y="24"/>
                  </a:lnTo>
                  <a:lnTo>
                    <a:pt x="1188" y="30"/>
                  </a:lnTo>
                  <a:lnTo>
                    <a:pt x="1194" y="30"/>
                  </a:lnTo>
                  <a:lnTo>
                    <a:pt x="1194" y="36"/>
                  </a:lnTo>
                  <a:lnTo>
                    <a:pt x="1260" y="30"/>
                  </a:lnTo>
                  <a:lnTo>
                    <a:pt x="1272" y="30"/>
                  </a:lnTo>
                  <a:lnTo>
                    <a:pt x="1296" y="24"/>
                  </a:lnTo>
                  <a:lnTo>
                    <a:pt x="1302" y="30"/>
                  </a:lnTo>
                  <a:lnTo>
                    <a:pt x="1302" y="36"/>
                  </a:lnTo>
                  <a:lnTo>
                    <a:pt x="1308" y="36"/>
                  </a:lnTo>
                  <a:lnTo>
                    <a:pt x="1314" y="36"/>
                  </a:lnTo>
                  <a:lnTo>
                    <a:pt x="1320" y="36"/>
                  </a:lnTo>
                  <a:lnTo>
                    <a:pt x="1326" y="30"/>
                  </a:lnTo>
                  <a:lnTo>
                    <a:pt x="1332" y="30"/>
                  </a:lnTo>
                  <a:lnTo>
                    <a:pt x="1338" y="30"/>
                  </a:lnTo>
                  <a:lnTo>
                    <a:pt x="1344" y="30"/>
                  </a:lnTo>
                  <a:lnTo>
                    <a:pt x="1374" y="30"/>
                  </a:lnTo>
                  <a:lnTo>
                    <a:pt x="1386" y="30"/>
                  </a:lnTo>
                  <a:lnTo>
                    <a:pt x="1392" y="24"/>
                  </a:lnTo>
                  <a:lnTo>
                    <a:pt x="1398" y="12"/>
                  </a:lnTo>
                  <a:lnTo>
                    <a:pt x="1404" y="6"/>
                  </a:lnTo>
                  <a:lnTo>
                    <a:pt x="1410" y="6"/>
                  </a:lnTo>
                  <a:lnTo>
                    <a:pt x="1410" y="12"/>
                  </a:lnTo>
                  <a:lnTo>
                    <a:pt x="1416" y="18"/>
                  </a:lnTo>
                  <a:lnTo>
                    <a:pt x="1416" y="36"/>
                  </a:lnTo>
                  <a:lnTo>
                    <a:pt x="1434" y="54"/>
                  </a:lnTo>
                  <a:lnTo>
                    <a:pt x="1434" y="60"/>
                  </a:lnTo>
                  <a:lnTo>
                    <a:pt x="1434" y="66"/>
                  </a:lnTo>
                  <a:lnTo>
                    <a:pt x="1434" y="72"/>
                  </a:lnTo>
                  <a:lnTo>
                    <a:pt x="1428" y="72"/>
                  </a:lnTo>
                  <a:lnTo>
                    <a:pt x="1428" y="78"/>
                  </a:lnTo>
                  <a:lnTo>
                    <a:pt x="1434" y="78"/>
                  </a:lnTo>
                  <a:lnTo>
                    <a:pt x="1440" y="84"/>
                  </a:lnTo>
                  <a:lnTo>
                    <a:pt x="1440" y="90"/>
                  </a:lnTo>
                  <a:lnTo>
                    <a:pt x="1440" y="96"/>
                  </a:lnTo>
                  <a:lnTo>
                    <a:pt x="1446" y="96"/>
                  </a:lnTo>
                  <a:lnTo>
                    <a:pt x="1446" y="108"/>
                  </a:lnTo>
                  <a:lnTo>
                    <a:pt x="1452" y="108"/>
                  </a:lnTo>
                  <a:lnTo>
                    <a:pt x="1452" y="114"/>
                  </a:lnTo>
                  <a:lnTo>
                    <a:pt x="1458" y="114"/>
                  </a:lnTo>
                  <a:lnTo>
                    <a:pt x="1470" y="120"/>
                  </a:lnTo>
                  <a:lnTo>
                    <a:pt x="1476" y="120"/>
                  </a:lnTo>
                  <a:lnTo>
                    <a:pt x="1476" y="114"/>
                  </a:lnTo>
                  <a:lnTo>
                    <a:pt x="1488" y="120"/>
                  </a:lnTo>
                  <a:lnTo>
                    <a:pt x="1506" y="120"/>
                  </a:lnTo>
                  <a:lnTo>
                    <a:pt x="1512" y="120"/>
                  </a:lnTo>
                  <a:lnTo>
                    <a:pt x="1518" y="120"/>
                  </a:lnTo>
                  <a:lnTo>
                    <a:pt x="1524" y="126"/>
                  </a:lnTo>
                  <a:lnTo>
                    <a:pt x="1536" y="150"/>
                  </a:lnTo>
                  <a:lnTo>
                    <a:pt x="1548" y="162"/>
                  </a:lnTo>
                  <a:lnTo>
                    <a:pt x="1554" y="168"/>
                  </a:lnTo>
                  <a:lnTo>
                    <a:pt x="1584" y="228"/>
                  </a:lnTo>
                  <a:lnTo>
                    <a:pt x="1584" y="234"/>
                  </a:lnTo>
                  <a:lnTo>
                    <a:pt x="1578" y="312"/>
                  </a:lnTo>
                  <a:lnTo>
                    <a:pt x="1590" y="318"/>
                  </a:lnTo>
                  <a:lnTo>
                    <a:pt x="1608" y="330"/>
                  </a:lnTo>
                  <a:lnTo>
                    <a:pt x="1620" y="342"/>
                  </a:lnTo>
                  <a:lnTo>
                    <a:pt x="1626" y="342"/>
                  </a:lnTo>
                  <a:lnTo>
                    <a:pt x="1692" y="360"/>
                  </a:lnTo>
                  <a:lnTo>
                    <a:pt x="1710" y="408"/>
                  </a:lnTo>
                  <a:lnTo>
                    <a:pt x="1722" y="426"/>
                  </a:lnTo>
                  <a:lnTo>
                    <a:pt x="1716" y="468"/>
                  </a:lnTo>
                  <a:lnTo>
                    <a:pt x="1686" y="486"/>
                  </a:lnTo>
                  <a:lnTo>
                    <a:pt x="1686" y="492"/>
                  </a:lnTo>
                  <a:lnTo>
                    <a:pt x="1680" y="498"/>
                  </a:lnTo>
                  <a:lnTo>
                    <a:pt x="1650" y="558"/>
                  </a:lnTo>
                  <a:lnTo>
                    <a:pt x="1650" y="570"/>
                  </a:lnTo>
                  <a:lnTo>
                    <a:pt x="1644" y="570"/>
                  </a:lnTo>
                  <a:lnTo>
                    <a:pt x="1638" y="582"/>
                  </a:lnTo>
                  <a:lnTo>
                    <a:pt x="1638" y="624"/>
                  </a:lnTo>
                  <a:lnTo>
                    <a:pt x="1638" y="636"/>
                  </a:lnTo>
                  <a:lnTo>
                    <a:pt x="1638" y="642"/>
                  </a:lnTo>
                  <a:lnTo>
                    <a:pt x="1632" y="660"/>
                  </a:lnTo>
                  <a:lnTo>
                    <a:pt x="1608" y="678"/>
                  </a:lnTo>
                  <a:lnTo>
                    <a:pt x="1584" y="690"/>
                  </a:lnTo>
                  <a:lnTo>
                    <a:pt x="1584" y="696"/>
                  </a:lnTo>
                  <a:lnTo>
                    <a:pt x="1578" y="702"/>
                  </a:lnTo>
                  <a:lnTo>
                    <a:pt x="1584" y="702"/>
                  </a:lnTo>
                  <a:lnTo>
                    <a:pt x="1578" y="714"/>
                  </a:lnTo>
                  <a:lnTo>
                    <a:pt x="1572" y="714"/>
                  </a:lnTo>
                  <a:lnTo>
                    <a:pt x="1572" y="720"/>
                  </a:lnTo>
                  <a:lnTo>
                    <a:pt x="1566" y="720"/>
                  </a:lnTo>
                  <a:lnTo>
                    <a:pt x="1560" y="726"/>
                  </a:lnTo>
                  <a:lnTo>
                    <a:pt x="1560" y="732"/>
                  </a:lnTo>
                  <a:lnTo>
                    <a:pt x="1554" y="732"/>
                  </a:lnTo>
                  <a:lnTo>
                    <a:pt x="1554" y="738"/>
                  </a:lnTo>
                  <a:lnTo>
                    <a:pt x="1554" y="744"/>
                  </a:lnTo>
                  <a:lnTo>
                    <a:pt x="1548" y="744"/>
                  </a:lnTo>
                  <a:lnTo>
                    <a:pt x="1548" y="738"/>
                  </a:lnTo>
                  <a:lnTo>
                    <a:pt x="1542" y="738"/>
                  </a:lnTo>
                  <a:lnTo>
                    <a:pt x="1542" y="744"/>
                  </a:lnTo>
                  <a:lnTo>
                    <a:pt x="1542" y="750"/>
                  </a:lnTo>
                  <a:lnTo>
                    <a:pt x="1494" y="804"/>
                  </a:lnTo>
                  <a:lnTo>
                    <a:pt x="1446" y="876"/>
                  </a:lnTo>
                  <a:lnTo>
                    <a:pt x="1440" y="876"/>
                  </a:lnTo>
                  <a:lnTo>
                    <a:pt x="1434" y="876"/>
                  </a:lnTo>
                  <a:lnTo>
                    <a:pt x="1428" y="882"/>
                  </a:lnTo>
                  <a:lnTo>
                    <a:pt x="1422" y="882"/>
                  </a:lnTo>
                  <a:lnTo>
                    <a:pt x="1386" y="924"/>
                  </a:lnTo>
                  <a:lnTo>
                    <a:pt x="1362" y="954"/>
                  </a:lnTo>
                  <a:lnTo>
                    <a:pt x="1356" y="984"/>
                  </a:lnTo>
                  <a:lnTo>
                    <a:pt x="1362" y="1002"/>
                  </a:lnTo>
                  <a:lnTo>
                    <a:pt x="1368" y="1020"/>
                  </a:lnTo>
                  <a:lnTo>
                    <a:pt x="1386" y="1056"/>
                  </a:lnTo>
                  <a:lnTo>
                    <a:pt x="1404" y="1074"/>
                  </a:lnTo>
                  <a:lnTo>
                    <a:pt x="1416" y="1080"/>
                  </a:lnTo>
                  <a:lnTo>
                    <a:pt x="1416" y="1086"/>
                  </a:lnTo>
                  <a:lnTo>
                    <a:pt x="1422" y="1098"/>
                  </a:lnTo>
                  <a:lnTo>
                    <a:pt x="1422" y="1110"/>
                  </a:lnTo>
                  <a:lnTo>
                    <a:pt x="1428" y="1116"/>
                  </a:lnTo>
                  <a:lnTo>
                    <a:pt x="1434" y="1116"/>
                  </a:lnTo>
                  <a:lnTo>
                    <a:pt x="1434" y="1122"/>
                  </a:lnTo>
                  <a:lnTo>
                    <a:pt x="1434" y="1128"/>
                  </a:lnTo>
                  <a:lnTo>
                    <a:pt x="1440" y="1134"/>
                  </a:lnTo>
                  <a:lnTo>
                    <a:pt x="1446" y="1134"/>
                  </a:lnTo>
                  <a:lnTo>
                    <a:pt x="1458" y="1134"/>
                  </a:lnTo>
                  <a:lnTo>
                    <a:pt x="1458" y="1140"/>
                  </a:lnTo>
                  <a:lnTo>
                    <a:pt x="1464" y="1134"/>
                  </a:lnTo>
                  <a:lnTo>
                    <a:pt x="1470" y="1134"/>
                  </a:lnTo>
                  <a:lnTo>
                    <a:pt x="1464" y="1128"/>
                  </a:lnTo>
                  <a:lnTo>
                    <a:pt x="1464" y="1122"/>
                  </a:lnTo>
                  <a:lnTo>
                    <a:pt x="1470" y="1116"/>
                  </a:lnTo>
                  <a:lnTo>
                    <a:pt x="1470" y="1122"/>
                  </a:lnTo>
                  <a:lnTo>
                    <a:pt x="1476" y="1122"/>
                  </a:lnTo>
                  <a:lnTo>
                    <a:pt x="1476" y="1116"/>
                  </a:lnTo>
                  <a:lnTo>
                    <a:pt x="1482" y="1110"/>
                  </a:lnTo>
                  <a:lnTo>
                    <a:pt x="1476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82" y="1086"/>
                  </a:lnTo>
                  <a:lnTo>
                    <a:pt x="1482" y="1074"/>
                  </a:lnTo>
                  <a:lnTo>
                    <a:pt x="1488" y="1068"/>
                  </a:lnTo>
                  <a:lnTo>
                    <a:pt x="1488" y="1062"/>
                  </a:lnTo>
                  <a:lnTo>
                    <a:pt x="1494" y="1062"/>
                  </a:lnTo>
                  <a:lnTo>
                    <a:pt x="1500" y="1062"/>
                  </a:lnTo>
                  <a:lnTo>
                    <a:pt x="1506" y="1062"/>
                  </a:lnTo>
                  <a:lnTo>
                    <a:pt x="1506" y="1056"/>
                  </a:lnTo>
                  <a:lnTo>
                    <a:pt x="1506" y="1062"/>
                  </a:lnTo>
                  <a:lnTo>
                    <a:pt x="1518" y="1062"/>
                  </a:lnTo>
                  <a:lnTo>
                    <a:pt x="1524" y="1062"/>
                  </a:lnTo>
                  <a:lnTo>
                    <a:pt x="1530" y="1062"/>
                  </a:lnTo>
                  <a:lnTo>
                    <a:pt x="1536" y="1068"/>
                  </a:lnTo>
                  <a:lnTo>
                    <a:pt x="1536" y="1074"/>
                  </a:lnTo>
                  <a:lnTo>
                    <a:pt x="1542" y="1086"/>
                  </a:lnTo>
                  <a:lnTo>
                    <a:pt x="1548" y="1086"/>
                  </a:lnTo>
                  <a:lnTo>
                    <a:pt x="1554" y="1086"/>
                  </a:lnTo>
                  <a:lnTo>
                    <a:pt x="1566" y="1098"/>
                  </a:lnTo>
                  <a:lnTo>
                    <a:pt x="1572" y="1104"/>
                  </a:lnTo>
                  <a:lnTo>
                    <a:pt x="1566" y="1110"/>
                  </a:lnTo>
                  <a:lnTo>
                    <a:pt x="1572" y="1116"/>
                  </a:lnTo>
                  <a:lnTo>
                    <a:pt x="1578" y="1116"/>
                  </a:lnTo>
                  <a:lnTo>
                    <a:pt x="1578" y="1122"/>
                  </a:lnTo>
                  <a:lnTo>
                    <a:pt x="1584" y="1122"/>
                  </a:lnTo>
                  <a:lnTo>
                    <a:pt x="1584" y="1128"/>
                  </a:lnTo>
                  <a:lnTo>
                    <a:pt x="1584" y="1134"/>
                  </a:lnTo>
                  <a:lnTo>
                    <a:pt x="1590" y="1134"/>
                  </a:lnTo>
                  <a:lnTo>
                    <a:pt x="1596" y="1140"/>
                  </a:lnTo>
                  <a:lnTo>
                    <a:pt x="1602" y="1146"/>
                  </a:lnTo>
                  <a:lnTo>
                    <a:pt x="1608" y="1146"/>
                  </a:lnTo>
                  <a:lnTo>
                    <a:pt x="1614" y="1146"/>
                  </a:lnTo>
                  <a:lnTo>
                    <a:pt x="1614" y="1152"/>
                  </a:lnTo>
                  <a:lnTo>
                    <a:pt x="1620" y="1152"/>
                  </a:lnTo>
                  <a:lnTo>
                    <a:pt x="1626" y="1164"/>
                  </a:lnTo>
                  <a:lnTo>
                    <a:pt x="1632" y="1170"/>
                  </a:lnTo>
                  <a:lnTo>
                    <a:pt x="1638" y="1176"/>
                  </a:lnTo>
                  <a:lnTo>
                    <a:pt x="1638" y="1182"/>
                  </a:lnTo>
                  <a:lnTo>
                    <a:pt x="1644" y="1194"/>
                  </a:lnTo>
                  <a:lnTo>
                    <a:pt x="1644" y="1200"/>
                  </a:lnTo>
                  <a:lnTo>
                    <a:pt x="1638" y="1200"/>
                  </a:lnTo>
                  <a:lnTo>
                    <a:pt x="1638" y="1206"/>
                  </a:lnTo>
                  <a:lnTo>
                    <a:pt x="1638" y="1212"/>
                  </a:lnTo>
                  <a:lnTo>
                    <a:pt x="1638" y="1218"/>
                  </a:lnTo>
                  <a:lnTo>
                    <a:pt x="1632" y="1242"/>
                  </a:lnTo>
                  <a:lnTo>
                    <a:pt x="1632" y="1266"/>
                  </a:lnTo>
                  <a:lnTo>
                    <a:pt x="1638" y="1284"/>
                  </a:lnTo>
                  <a:lnTo>
                    <a:pt x="1638" y="1296"/>
                  </a:lnTo>
                  <a:lnTo>
                    <a:pt x="1632" y="1296"/>
                  </a:lnTo>
                  <a:lnTo>
                    <a:pt x="1632" y="1302"/>
                  </a:lnTo>
                  <a:lnTo>
                    <a:pt x="1638" y="1314"/>
                  </a:lnTo>
                  <a:lnTo>
                    <a:pt x="1638" y="1320"/>
                  </a:lnTo>
                  <a:lnTo>
                    <a:pt x="1632" y="1320"/>
                  </a:lnTo>
                  <a:lnTo>
                    <a:pt x="1632" y="1326"/>
                  </a:lnTo>
                  <a:lnTo>
                    <a:pt x="1644" y="1332"/>
                  </a:lnTo>
                  <a:lnTo>
                    <a:pt x="1644" y="1338"/>
                  </a:lnTo>
                  <a:lnTo>
                    <a:pt x="1650" y="1344"/>
                  </a:lnTo>
                  <a:lnTo>
                    <a:pt x="1668" y="1362"/>
                  </a:lnTo>
                  <a:lnTo>
                    <a:pt x="1668" y="1368"/>
                  </a:lnTo>
                  <a:lnTo>
                    <a:pt x="1674" y="1392"/>
                  </a:lnTo>
                  <a:lnTo>
                    <a:pt x="1686" y="140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2" name="Freeform 17">
              <a:extLst>
                <a:ext uri="{FF2B5EF4-FFF2-40B4-BE49-F238E27FC236}">
                  <a16:creationId xmlns:a16="http://schemas.microsoft.com/office/drawing/2014/main" id="{9F9DF7AF-2203-4CCB-AF1B-32CDAF87CC5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416927"/>
              <a:ext cx="816209" cy="574781"/>
            </a:xfrm>
            <a:custGeom>
              <a:avLst/>
              <a:gdLst>
                <a:gd name="T0" fmla="*/ 115 w 1536"/>
                <a:gd name="T1" fmla="*/ 89 h 1080"/>
                <a:gd name="T2" fmla="*/ 113 w 1536"/>
                <a:gd name="T3" fmla="*/ 92 h 1080"/>
                <a:gd name="T4" fmla="*/ 107 w 1536"/>
                <a:gd name="T5" fmla="*/ 93 h 1080"/>
                <a:gd name="T6" fmla="*/ 108 w 1536"/>
                <a:gd name="T7" fmla="*/ 90 h 1080"/>
                <a:gd name="T8" fmla="*/ 105 w 1536"/>
                <a:gd name="T9" fmla="*/ 87 h 1080"/>
                <a:gd name="T10" fmla="*/ 102 w 1536"/>
                <a:gd name="T11" fmla="*/ 85 h 1080"/>
                <a:gd name="T12" fmla="*/ 89 w 1536"/>
                <a:gd name="T13" fmla="*/ 80 h 1080"/>
                <a:gd name="T14" fmla="*/ 85 w 1536"/>
                <a:gd name="T15" fmla="*/ 82 h 1080"/>
                <a:gd name="T16" fmla="*/ 82 w 1536"/>
                <a:gd name="T17" fmla="*/ 80 h 1080"/>
                <a:gd name="T18" fmla="*/ 80 w 1536"/>
                <a:gd name="T19" fmla="*/ 75 h 1080"/>
                <a:gd name="T20" fmla="*/ 75 w 1536"/>
                <a:gd name="T21" fmla="*/ 72 h 1080"/>
                <a:gd name="T22" fmla="*/ 61 w 1536"/>
                <a:gd name="T23" fmla="*/ 70 h 1080"/>
                <a:gd name="T24" fmla="*/ 62 w 1536"/>
                <a:gd name="T25" fmla="*/ 72 h 1080"/>
                <a:gd name="T26" fmla="*/ 58 w 1536"/>
                <a:gd name="T27" fmla="*/ 75 h 1080"/>
                <a:gd name="T28" fmla="*/ 49 w 1536"/>
                <a:gd name="T29" fmla="*/ 76 h 1080"/>
                <a:gd name="T30" fmla="*/ 41 w 1536"/>
                <a:gd name="T31" fmla="*/ 79 h 1080"/>
                <a:gd name="T32" fmla="*/ 41 w 1536"/>
                <a:gd name="T33" fmla="*/ 77 h 1080"/>
                <a:gd name="T34" fmla="*/ 39 w 1536"/>
                <a:gd name="T35" fmla="*/ 74 h 1080"/>
                <a:gd name="T36" fmla="*/ 28 w 1536"/>
                <a:gd name="T37" fmla="*/ 78 h 1080"/>
                <a:gd name="T38" fmla="*/ 18 w 1536"/>
                <a:gd name="T39" fmla="*/ 85 h 1080"/>
                <a:gd name="T40" fmla="*/ 18 w 1536"/>
                <a:gd name="T41" fmla="*/ 77 h 1080"/>
                <a:gd name="T42" fmla="*/ 19 w 1536"/>
                <a:gd name="T43" fmla="*/ 69 h 1080"/>
                <a:gd name="T44" fmla="*/ 16 w 1536"/>
                <a:gd name="T45" fmla="*/ 69 h 1080"/>
                <a:gd name="T46" fmla="*/ 11 w 1536"/>
                <a:gd name="T47" fmla="*/ 69 h 1080"/>
                <a:gd name="T48" fmla="*/ 5 w 1536"/>
                <a:gd name="T49" fmla="*/ 68 h 1080"/>
                <a:gd name="T50" fmla="*/ 1 w 1536"/>
                <a:gd name="T51" fmla="*/ 63 h 1080"/>
                <a:gd name="T52" fmla="*/ 3 w 1536"/>
                <a:gd name="T53" fmla="*/ 59 h 1080"/>
                <a:gd name="T54" fmla="*/ 9 w 1536"/>
                <a:gd name="T55" fmla="*/ 54 h 1080"/>
                <a:gd name="T56" fmla="*/ 15 w 1536"/>
                <a:gd name="T57" fmla="*/ 47 h 1080"/>
                <a:gd name="T58" fmla="*/ 17 w 1536"/>
                <a:gd name="T59" fmla="*/ 40 h 1080"/>
                <a:gd name="T60" fmla="*/ 12 w 1536"/>
                <a:gd name="T61" fmla="*/ 33 h 1080"/>
                <a:gd name="T62" fmla="*/ 10 w 1536"/>
                <a:gd name="T63" fmla="*/ 21 h 1080"/>
                <a:gd name="T64" fmla="*/ 6 w 1536"/>
                <a:gd name="T65" fmla="*/ 14 h 1080"/>
                <a:gd name="T66" fmla="*/ 7 w 1536"/>
                <a:gd name="T67" fmla="*/ 9 h 1080"/>
                <a:gd name="T68" fmla="*/ 12 w 1536"/>
                <a:gd name="T69" fmla="*/ 7 h 1080"/>
                <a:gd name="T70" fmla="*/ 16 w 1536"/>
                <a:gd name="T71" fmla="*/ 8 h 1080"/>
                <a:gd name="T72" fmla="*/ 19 w 1536"/>
                <a:gd name="T73" fmla="*/ 8 h 1080"/>
                <a:gd name="T74" fmla="*/ 22 w 1536"/>
                <a:gd name="T75" fmla="*/ 9 h 1080"/>
                <a:gd name="T76" fmla="*/ 29 w 1536"/>
                <a:gd name="T77" fmla="*/ 12 h 1080"/>
                <a:gd name="T78" fmla="*/ 33 w 1536"/>
                <a:gd name="T79" fmla="*/ 13 h 1080"/>
                <a:gd name="T80" fmla="*/ 38 w 1536"/>
                <a:gd name="T81" fmla="*/ 15 h 1080"/>
                <a:gd name="T82" fmla="*/ 42 w 1536"/>
                <a:gd name="T83" fmla="*/ 17 h 1080"/>
                <a:gd name="T84" fmla="*/ 47 w 1536"/>
                <a:gd name="T85" fmla="*/ 19 h 1080"/>
                <a:gd name="T86" fmla="*/ 51 w 1536"/>
                <a:gd name="T87" fmla="*/ 21 h 1080"/>
                <a:gd name="T88" fmla="*/ 50 w 1536"/>
                <a:gd name="T89" fmla="*/ 15 h 1080"/>
                <a:gd name="T90" fmla="*/ 56 w 1536"/>
                <a:gd name="T91" fmla="*/ 0 h 1080"/>
                <a:gd name="T92" fmla="*/ 74 w 1536"/>
                <a:gd name="T93" fmla="*/ 5 h 1080"/>
                <a:gd name="T94" fmla="*/ 87 w 1536"/>
                <a:gd name="T95" fmla="*/ 6 h 1080"/>
                <a:gd name="T96" fmla="*/ 92 w 1536"/>
                <a:gd name="T97" fmla="*/ 11 h 1080"/>
                <a:gd name="T98" fmla="*/ 95 w 1536"/>
                <a:gd name="T99" fmla="*/ 15 h 1080"/>
                <a:gd name="T100" fmla="*/ 93 w 1536"/>
                <a:gd name="T101" fmla="*/ 20 h 1080"/>
                <a:gd name="T102" fmla="*/ 108 w 1536"/>
                <a:gd name="T103" fmla="*/ 18 h 1080"/>
                <a:gd name="T104" fmla="*/ 120 w 1536"/>
                <a:gd name="T105" fmla="*/ 21 h 1080"/>
                <a:gd name="T106" fmla="*/ 127 w 1536"/>
                <a:gd name="T107" fmla="*/ 29 h 1080"/>
                <a:gd name="T108" fmla="*/ 130 w 1536"/>
                <a:gd name="T109" fmla="*/ 30 h 1080"/>
                <a:gd name="T110" fmla="*/ 130 w 1536"/>
                <a:gd name="T111" fmla="*/ 49 h 1080"/>
                <a:gd name="T112" fmla="*/ 120 w 1536"/>
                <a:gd name="T113" fmla="*/ 69 h 1080"/>
                <a:gd name="T114" fmla="*/ 119 w 1536"/>
                <a:gd name="T115" fmla="*/ 74 h 1080"/>
                <a:gd name="T116" fmla="*/ 118 w 1536"/>
                <a:gd name="T117" fmla="*/ 80 h 108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536"/>
                <a:gd name="T178" fmla="*/ 0 h 1080"/>
                <a:gd name="T179" fmla="*/ 1536 w 1536"/>
                <a:gd name="T180" fmla="*/ 1080 h 108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536" h="1080">
                  <a:moveTo>
                    <a:pt x="1350" y="1020"/>
                  </a:moveTo>
                  <a:lnTo>
                    <a:pt x="1350" y="1026"/>
                  </a:lnTo>
                  <a:lnTo>
                    <a:pt x="1344" y="1026"/>
                  </a:lnTo>
                  <a:lnTo>
                    <a:pt x="1338" y="1032"/>
                  </a:lnTo>
                  <a:lnTo>
                    <a:pt x="1332" y="1026"/>
                  </a:lnTo>
                  <a:lnTo>
                    <a:pt x="1326" y="1026"/>
                  </a:lnTo>
                  <a:lnTo>
                    <a:pt x="1320" y="1020"/>
                  </a:lnTo>
                  <a:lnTo>
                    <a:pt x="1314" y="1026"/>
                  </a:lnTo>
                  <a:lnTo>
                    <a:pt x="1314" y="1032"/>
                  </a:lnTo>
                  <a:lnTo>
                    <a:pt x="1308" y="1038"/>
                  </a:lnTo>
                  <a:lnTo>
                    <a:pt x="1308" y="1044"/>
                  </a:lnTo>
                  <a:lnTo>
                    <a:pt x="1308" y="1050"/>
                  </a:lnTo>
                  <a:lnTo>
                    <a:pt x="1308" y="1056"/>
                  </a:lnTo>
                  <a:lnTo>
                    <a:pt x="1308" y="1062"/>
                  </a:lnTo>
                  <a:lnTo>
                    <a:pt x="1296" y="1068"/>
                  </a:lnTo>
                  <a:lnTo>
                    <a:pt x="1284" y="1074"/>
                  </a:lnTo>
                  <a:lnTo>
                    <a:pt x="1272" y="1080"/>
                  </a:lnTo>
                  <a:lnTo>
                    <a:pt x="1260" y="1080"/>
                  </a:lnTo>
                  <a:lnTo>
                    <a:pt x="1254" y="1074"/>
                  </a:lnTo>
                  <a:lnTo>
                    <a:pt x="1236" y="1074"/>
                  </a:lnTo>
                  <a:lnTo>
                    <a:pt x="1230" y="1074"/>
                  </a:lnTo>
                  <a:lnTo>
                    <a:pt x="1236" y="1074"/>
                  </a:lnTo>
                  <a:lnTo>
                    <a:pt x="1236" y="1068"/>
                  </a:lnTo>
                  <a:lnTo>
                    <a:pt x="1236" y="1062"/>
                  </a:lnTo>
                  <a:lnTo>
                    <a:pt x="1236" y="1056"/>
                  </a:lnTo>
                  <a:lnTo>
                    <a:pt x="1242" y="1050"/>
                  </a:lnTo>
                  <a:lnTo>
                    <a:pt x="1242" y="1044"/>
                  </a:lnTo>
                  <a:lnTo>
                    <a:pt x="1242" y="1038"/>
                  </a:lnTo>
                  <a:lnTo>
                    <a:pt x="1248" y="1032"/>
                  </a:lnTo>
                  <a:lnTo>
                    <a:pt x="1236" y="1026"/>
                  </a:lnTo>
                  <a:lnTo>
                    <a:pt x="1218" y="1020"/>
                  </a:lnTo>
                  <a:lnTo>
                    <a:pt x="1224" y="1014"/>
                  </a:lnTo>
                  <a:lnTo>
                    <a:pt x="1218" y="1008"/>
                  </a:lnTo>
                  <a:lnTo>
                    <a:pt x="1218" y="1002"/>
                  </a:lnTo>
                  <a:lnTo>
                    <a:pt x="1212" y="1008"/>
                  </a:lnTo>
                  <a:lnTo>
                    <a:pt x="1206" y="1002"/>
                  </a:lnTo>
                  <a:lnTo>
                    <a:pt x="1212" y="1002"/>
                  </a:lnTo>
                  <a:lnTo>
                    <a:pt x="1212" y="996"/>
                  </a:lnTo>
                  <a:lnTo>
                    <a:pt x="1200" y="990"/>
                  </a:lnTo>
                  <a:lnTo>
                    <a:pt x="1200" y="984"/>
                  </a:lnTo>
                  <a:lnTo>
                    <a:pt x="1188" y="984"/>
                  </a:lnTo>
                  <a:lnTo>
                    <a:pt x="1176" y="978"/>
                  </a:lnTo>
                  <a:lnTo>
                    <a:pt x="1164" y="960"/>
                  </a:lnTo>
                  <a:lnTo>
                    <a:pt x="1152" y="936"/>
                  </a:lnTo>
                  <a:lnTo>
                    <a:pt x="1146" y="936"/>
                  </a:lnTo>
                  <a:lnTo>
                    <a:pt x="1128" y="900"/>
                  </a:lnTo>
                  <a:lnTo>
                    <a:pt x="1038" y="912"/>
                  </a:lnTo>
                  <a:lnTo>
                    <a:pt x="1038" y="918"/>
                  </a:lnTo>
                  <a:lnTo>
                    <a:pt x="1032" y="924"/>
                  </a:lnTo>
                  <a:lnTo>
                    <a:pt x="1026" y="918"/>
                  </a:lnTo>
                  <a:lnTo>
                    <a:pt x="1020" y="924"/>
                  </a:lnTo>
                  <a:lnTo>
                    <a:pt x="1008" y="936"/>
                  </a:lnTo>
                  <a:lnTo>
                    <a:pt x="990" y="936"/>
                  </a:lnTo>
                  <a:lnTo>
                    <a:pt x="990" y="942"/>
                  </a:lnTo>
                  <a:lnTo>
                    <a:pt x="996" y="942"/>
                  </a:lnTo>
                  <a:lnTo>
                    <a:pt x="984" y="948"/>
                  </a:lnTo>
                  <a:lnTo>
                    <a:pt x="972" y="948"/>
                  </a:lnTo>
                  <a:lnTo>
                    <a:pt x="960" y="948"/>
                  </a:lnTo>
                  <a:lnTo>
                    <a:pt x="948" y="942"/>
                  </a:lnTo>
                  <a:lnTo>
                    <a:pt x="948" y="936"/>
                  </a:lnTo>
                  <a:lnTo>
                    <a:pt x="942" y="936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30" y="924"/>
                  </a:lnTo>
                  <a:lnTo>
                    <a:pt x="936" y="918"/>
                  </a:lnTo>
                  <a:lnTo>
                    <a:pt x="918" y="918"/>
                  </a:lnTo>
                  <a:lnTo>
                    <a:pt x="918" y="900"/>
                  </a:lnTo>
                  <a:lnTo>
                    <a:pt x="924" y="900"/>
                  </a:lnTo>
                  <a:lnTo>
                    <a:pt x="924" y="894"/>
                  </a:lnTo>
                  <a:lnTo>
                    <a:pt x="924" y="870"/>
                  </a:lnTo>
                  <a:lnTo>
                    <a:pt x="924" y="864"/>
                  </a:lnTo>
                  <a:lnTo>
                    <a:pt x="918" y="858"/>
                  </a:lnTo>
                  <a:lnTo>
                    <a:pt x="918" y="852"/>
                  </a:lnTo>
                  <a:lnTo>
                    <a:pt x="906" y="840"/>
                  </a:lnTo>
                  <a:lnTo>
                    <a:pt x="894" y="834"/>
                  </a:lnTo>
                  <a:lnTo>
                    <a:pt x="876" y="822"/>
                  </a:lnTo>
                  <a:lnTo>
                    <a:pt x="870" y="828"/>
                  </a:lnTo>
                  <a:lnTo>
                    <a:pt x="858" y="816"/>
                  </a:lnTo>
                  <a:lnTo>
                    <a:pt x="810" y="798"/>
                  </a:lnTo>
                  <a:lnTo>
                    <a:pt x="774" y="792"/>
                  </a:lnTo>
                  <a:lnTo>
                    <a:pt x="732" y="798"/>
                  </a:lnTo>
                  <a:lnTo>
                    <a:pt x="726" y="804"/>
                  </a:lnTo>
                  <a:lnTo>
                    <a:pt x="714" y="810"/>
                  </a:lnTo>
                  <a:lnTo>
                    <a:pt x="702" y="810"/>
                  </a:lnTo>
                  <a:lnTo>
                    <a:pt x="690" y="810"/>
                  </a:lnTo>
                  <a:lnTo>
                    <a:pt x="696" y="816"/>
                  </a:lnTo>
                  <a:lnTo>
                    <a:pt x="696" y="822"/>
                  </a:lnTo>
                  <a:lnTo>
                    <a:pt x="702" y="822"/>
                  </a:lnTo>
                  <a:lnTo>
                    <a:pt x="708" y="822"/>
                  </a:lnTo>
                  <a:lnTo>
                    <a:pt x="708" y="828"/>
                  </a:lnTo>
                  <a:lnTo>
                    <a:pt x="708" y="834"/>
                  </a:lnTo>
                  <a:lnTo>
                    <a:pt x="714" y="834"/>
                  </a:lnTo>
                  <a:lnTo>
                    <a:pt x="708" y="846"/>
                  </a:lnTo>
                  <a:lnTo>
                    <a:pt x="708" y="852"/>
                  </a:lnTo>
                  <a:lnTo>
                    <a:pt x="702" y="852"/>
                  </a:lnTo>
                  <a:lnTo>
                    <a:pt x="696" y="858"/>
                  </a:lnTo>
                  <a:lnTo>
                    <a:pt x="690" y="864"/>
                  </a:lnTo>
                  <a:lnTo>
                    <a:pt x="666" y="870"/>
                  </a:lnTo>
                  <a:lnTo>
                    <a:pt x="660" y="876"/>
                  </a:lnTo>
                  <a:lnTo>
                    <a:pt x="642" y="876"/>
                  </a:lnTo>
                  <a:lnTo>
                    <a:pt x="606" y="882"/>
                  </a:lnTo>
                  <a:lnTo>
                    <a:pt x="588" y="882"/>
                  </a:lnTo>
                  <a:lnTo>
                    <a:pt x="582" y="876"/>
                  </a:lnTo>
                  <a:lnTo>
                    <a:pt x="576" y="876"/>
                  </a:lnTo>
                  <a:lnTo>
                    <a:pt x="564" y="876"/>
                  </a:lnTo>
                  <a:lnTo>
                    <a:pt x="552" y="882"/>
                  </a:lnTo>
                  <a:lnTo>
                    <a:pt x="540" y="894"/>
                  </a:lnTo>
                  <a:lnTo>
                    <a:pt x="534" y="906"/>
                  </a:lnTo>
                  <a:lnTo>
                    <a:pt x="528" y="912"/>
                  </a:lnTo>
                  <a:lnTo>
                    <a:pt x="516" y="924"/>
                  </a:lnTo>
                  <a:lnTo>
                    <a:pt x="486" y="930"/>
                  </a:lnTo>
                  <a:lnTo>
                    <a:pt x="474" y="912"/>
                  </a:lnTo>
                  <a:lnTo>
                    <a:pt x="474" y="906"/>
                  </a:lnTo>
                  <a:lnTo>
                    <a:pt x="468" y="906"/>
                  </a:lnTo>
                  <a:lnTo>
                    <a:pt x="468" y="900"/>
                  </a:lnTo>
                  <a:lnTo>
                    <a:pt x="462" y="894"/>
                  </a:lnTo>
                  <a:lnTo>
                    <a:pt x="456" y="894"/>
                  </a:lnTo>
                  <a:lnTo>
                    <a:pt x="462" y="888"/>
                  </a:lnTo>
                  <a:lnTo>
                    <a:pt x="468" y="888"/>
                  </a:lnTo>
                  <a:lnTo>
                    <a:pt x="462" y="882"/>
                  </a:lnTo>
                  <a:lnTo>
                    <a:pt x="462" y="876"/>
                  </a:lnTo>
                  <a:lnTo>
                    <a:pt x="456" y="870"/>
                  </a:lnTo>
                  <a:lnTo>
                    <a:pt x="456" y="864"/>
                  </a:lnTo>
                  <a:lnTo>
                    <a:pt x="450" y="858"/>
                  </a:lnTo>
                  <a:lnTo>
                    <a:pt x="444" y="858"/>
                  </a:lnTo>
                  <a:lnTo>
                    <a:pt x="444" y="852"/>
                  </a:lnTo>
                  <a:lnTo>
                    <a:pt x="438" y="852"/>
                  </a:lnTo>
                  <a:lnTo>
                    <a:pt x="438" y="858"/>
                  </a:lnTo>
                  <a:lnTo>
                    <a:pt x="402" y="870"/>
                  </a:lnTo>
                  <a:lnTo>
                    <a:pt x="390" y="882"/>
                  </a:lnTo>
                  <a:lnTo>
                    <a:pt x="384" y="900"/>
                  </a:lnTo>
                  <a:lnTo>
                    <a:pt x="342" y="900"/>
                  </a:lnTo>
                  <a:lnTo>
                    <a:pt x="324" y="900"/>
                  </a:lnTo>
                  <a:lnTo>
                    <a:pt x="294" y="906"/>
                  </a:lnTo>
                  <a:lnTo>
                    <a:pt x="282" y="948"/>
                  </a:lnTo>
                  <a:lnTo>
                    <a:pt x="282" y="978"/>
                  </a:lnTo>
                  <a:lnTo>
                    <a:pt x="270" y="1008"/>
                  </a:lnTo>
                  <a:lnTo>
                    <a:pt x="240" y="1014"/>
                  </a:lnTo>
                  <a:lnTo>
                    <a:pt x="216" y="996"/>
                  </a:lnTo>
                  <a:lnTo>
                    <a:pt x="204" y="984"/>
                  </a:lnTo>
                  <a:lnTo>
                    <a:pt x="192" y="966"/>
                  </a:lnTo>
                  <a:lnTo>
                    <a:pt x="186" y="948"/>
                  </a:lnTo>
                  <a:lnTo>
                    <a:pt x="174" y="948"/>
                  </a:lnTo>
                  <a:lnTo>
                    <a:pt x="174" y="936"/>
                  </a:lnTo>
                  <a:lnTo>
                    <a:pt x="186" y="924"/>
                  </a:lnTo>
                  <a:lnTo>
                    <a:pt x="198" y="906"/>
                  </a:lnTo>
                  <a:lnTo>
                    <a:pt x="204" y="888"/>
                  </a:lnTo>
                  <a:lnTo>
                    <a:pt x="222" y="870"/>
                  </a:lnTo>
                  <a:lnTo>
                    <a:pt x="234" y="858"/>
                  </a:lnTo>
                  <a:lnTo>
                    <a:pt x="234" y="852"/>
                  </a:lnTo>
                  <a:lnTo>
                    <a:pt x="222" y="852"/>
                  </a:lnTo>
                  <a:lnTo>
                    <a:pt x="228" y="810"/>
                  </a:lnTo>
                  <a:lnTo>
                    <a:pt x="222" y="798"/>
                  </a:lnTo>
                  <a:lnTo>
                    <a:pt x="216" y="798"/>
                  </a:lnTo>
                  <a:lnTo>
                    <a:pt x="216" y="792"/>
                  </a:lnTo>
                  <a:lnTo>
                    <a:pt x="210" y="792"/>
                  </a:lnTo>
                  <a:lnTo>
                    <a:pt x="204" y="798"/>
                  </a:lnTo>
                  <a:lnTo>
                    <a:pt x="204" y="792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0" y="786"/>
                  </a:lnTo>
                  <a:lnTo>
                    <a:pt x="174" y="792"/>
                  </a:lnTo>
                  <a:lnTo>
                    <a:pt x="162" y="792"/>
                  </a:lnTo>
                  <a:lnTo>
                    <a:pt x="156" y="792"/>
                  </a:lnTo>
                  <a:lnTo>
                    <a:pt x="156" y="798"/>
                  </a:lnTo>
                  <a:lnTo>
                    <a:pt x="138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6" y="804"/>
                  </a:lnTo>
                  <a:lnTo>
                    <a:pt x="102" y="810"/>
                  </a:lnTo>
                  <a:lnTo>
                    <a:pt x="90" y="810"/>
                  </a:lnTo>
                  <a:lnTo>
                    <a:pt x="72" y="798"/>
                  </a:lnTo>
                  <a:lnTo>
                    <a:pt x="66" y="780"/>
                  </a:lnTo>
                  <a:lnTo>
                    <a:pt x="60" y="780"/>
                  </a:lnTo>
                  <a:lnTo>
                    <a:pt x="60" y="768"/>
                  </a:lnTo>
                  <a:lnTo>
                    <a:pt x="54" y="768"/>
                  </a:lnTo>
                  <a:lnTo>
                    <a:pt x="24" y="756"/>
                  </a:lnTo>
                  <a:lnTo>
                    <a:pt x="18" y="744"/>
                  </a:lnTo>
                  <a:lnTo>
                    <a:pt x="12" y="738"/>
                  </a:lnTo>
                  <a:lnTo>
                    <a:pt x="18" y="732"/>
                  </a:lnTo>
                  <a:lnTo>
                    <a:pt x="12" y="726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8" y="696"/>
                  </a:lnTo>
                  <a:lnTo>
                    <a:pt x="24" y="708"/>
                  </a:lnTo>
                  <a:lnTo>
                    <a:pt x="36" y="702"/>
                  </a:lnTo>
                  <a:lnTo>
                    <a:pt x="36" y="678"/>
                  </a:lnTo>
                  <a:lnTo>
                    <a:pt x="36" y="660"/>
                  </a:lnTo>
                  <a:lnTo>
                    <a:pt x="42" y="654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72" y="624"/>
                  </a:lnTo>
                  <a:lnTo>
                    <a:pt x="90" y="618"/>
                  </a:lnTo>
                  <a:lnTo>
                    <a:pt x="102" y="618"/>
                  </a:lnTo>
                  <a:lnTo>
                    <a:pt x="114" y="612"/>
                  </a:lnTo>
                  <a:lnTo>
                    <a:pt x="138" y="606"/>
                  </a:lnTo>
                  <a:lnTo>
                    <a:pt x="144" y="606"/>
                  </a:lnTo>
                  <a:lnTo>
                    <a:pt x="150" y="594"/>
                  </a:lnTo>
                  <a:lnTo>
                    <a:pt x="156" y="576"/>
                  </a:lnTo>
                  <a:lnTo>
                    <a:pt x="168" y="552"/>
                  </a:lnTo>
                  <a:lnTo>
                    <a:pt x="168" y="540"/>
                  </a:lnTo>
                  <a:lnTo>
                    <a:pt x="180" y="522"/>
                  </a:lnTo>
                  <a:lnTo>
                    <a:pt x="186" y="498"/>
                  </a:lnTo>
                  <a:lnTo>
                    <a:pt x="198" y="480"/>
                  </a:lnTo>
                  <a:lnTo>
                    <a:pt x="204" y="486"/>
                  </a:lnTo>
                  <a:lnTo>
                    <a:pt x="210" y="480"/>
                  </a:lnTo>
                  <a:lnTo>
                    <a:pt x="204" y="474"/>
                  </a:lnTo>
                  <a:lnTo>
                    <a:pt x="198" y="462"/>
                  </a:lnTo>
                  <a:lnTo>
                    <a:pt x="192" y="456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50"/>
                  </a:lnTo>
                  <a:lnTo>
                    <a:pt x="132" y="426"/>
                  </a:lnTo>
                  <a:lnTo>
                    <a:pt x="132" y="396"/>
                  </a:lnTo>
                  <a:lnTo>
                    <a:pt x="132" y="378"/>
                  </a:lnTo>
                  <a:lnTo>
                    <a:pt x="126" y="348"/>
                  </a:lnTo>
                  <a:lnTo>
                    <a:pt x="132" y="312"/>
                  </a:lnTo>
                  <a:lnTo>
                    <a:pt x="126" y="288"/>
                  </a:lnTo>
                  <a:lnTo>
                    <a:pt x="138" y="282"/>
                  </a:lnTo>
                  <a:lnTo>
                    <a:pt x="126" y="264"/>
                  </a:lnTo>
                  <a:lnTo>
                    <a:pt x="126" y="258"/>
                  </a:lnTo>
                  <a:lnTo>
                    <a:pt x="120" y="246"/>
                  </a:lnTo>
                  <a:lnTo>
                    <a:pt x="126" y="234"/>
                  </a:lnTo>
                  <a:lnTo>
                    <a:pt x="114" y="228"/>
                  </a:lnTo>
                  <a:lnTo>
                    <a:pt x="114" y="222"/>
                  </a:lnTo>
                  <a:lnTo>
                    <a:pt x="96" y="204"/>
                  </a:lnTo>
                  <a:lnTo>
                    <a:pt x="84" y="180"/>
                  </a:lnTo>
                  <a:lnTo>
                    <a:pt x="78" y="168"/>
                  </a:lnTo>
                  <a:lnTo>
                    <a:pt x="72" y="162"/>
                  </a:lnTo>
                  <a:lnTo>
                    <a:pt x="66" y="144"/>
                  </a:lnTo>
                  <a:lnTo>
                    <a:pt x="60" y="138"/>
                  </a:lnTo>
                  <a:lnTo>
                    <a:pt x="66" y="126"/>
                  </a:lnTo>
                  <a:lnTo>
                    <a:pt x="66" y="114"/>
                  </a:lnTo>
                  <a:lnTo>
                    <a:pt x="72" y="114"/>
                  </a:lnTo>
                  <a:lnTo>
                    <a:pt x="72" y="108"/>
                  </a:lnTo>
                  <a:lnTo>
                    <a:pt x="78" y="102"/>
                  </a:lnTo>
                  <a:lnTo>
                    <a:pt x="78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120" y="78"/>
                  </a:lnTo>
                  <a:lnTo>
                    <a:pt x="144" y="84"/>
                  </a:lnTo>
                  <a:lnTo>
                    <a:pt x="150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74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92" y="102"/>
                  </a:lnTo>
                  <a:lnTo>
                    <a:pt x="198" y="96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16" y="96"/>
                  </a:lnTo>
                  <a:lnTo>
                    <a:pt x="222" y="96"/>
                  </a:lnTo>
                  <a:lnTo>
                    <a:pt x="228" y="96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94" y="114"/>
                  </a:lnTo>
                  <a:lnTo>
                    <a:pt x="312" y="120"/>
                  </a:lnTo>
                  <a:lnTo>
                    <a:pt x="318" y="126"/>
                  </a:lnTo>
                  <a:lnTo>
                    <a:pt x="330" y="132"/>
                  </a:lnTo>
                  <a:lnTo>
                    <a:pt x="342" y="132"/>
                  </a:lnTo>
                  <a:lnTo>
                    <a:pt x="348" y="132"/>
                  </a:lnTo>
                  <a:lnTo>
                    <a:pt x="354" y="138"/>
                  </a:lnTo>
                  <a:lnTo>
                    <a:pt x="366" y="138"/>
                  </a:lnTo>
                  <a:lnTo>
                    <a:pt x="372" y="144"/>
                  </a:lnTo>
                  <a:lnTo>
                    <a:pt x="378" y="150"/>
                  </a:lnTo>
                  <a:lnTo>
                    <a:pt x="384" y="150"/>
                  </a:lnTo>
                  <a:lnTo>
                    <a:pt x="390" y="150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14" y="156"/>
                  </a:lnTo>
                  <a:lnTo>
                    <a:pt x="420" y="156"/>
                  </a:lnTo>
                  <a:lnTo>
                    <a:pt x="426" y="162"/>
                  </a:lnTo>
                  <a:lnTo>
                    <a:pt x="438" y="168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62" y="174"/>
                  </a:lnTo>
                  <a:lnTo>
                    <a:pt x="468" y="174"/>
                  </a:lnTo>
                  <a:lnTo>
                    <a:pt x="474" y="174"/>
                  </a:lnTo>
                  <a:lnTo>
                    <a:pt x="474" y="180"/>
                  </a:lnTo>
                  <a:lnTo>
                    <a:pt x="480" y="192"/>
                  </a:lnTo>
                  <a:lnTo>
                    <a:pt x="498" y="198"/>
                  </a:lnTo>
                  <a:lnTo>
                    <a:pt x="510" y="210"/>
                  </a:lnTo>
                  <a:lnTo>
                    <a:pt x="516" y="210"/>
                  </a:lnTo>
                  <a:lnTo>
                    <a:pt x="522" y="210"/>
                  </a:lnTo>
                  <a:lnTo>
                    <a:pt x="534" y="216"/>
                  </a:lnTo>
                  <a:lnTo>
                    <a:pt x="540" y="216"/>
                  </a:lnTo>
                  <a:lnTo>
                    <a:pt x="546" y="222"/>
                  </a:lnTo>
                  <a:lnTo>
                    <a:pt x="552" y="222"/>
                  </a:lnTo>
                  <a:lnTo>
                    <a:pt x="558" y="228"/>
                  </a:lnTo>
                  <a:lnTo>
                    <a:pt x="564" y="228"/>
                  </a:lnTo>
                  <a:lnTo>
                    <a:pt x="570" y="234"/>
                  </a:lnTo>
                  <a:lnTo>
                    <a:pt x="576" y="240"/>
                  </a:lnTo>
                  <a:lnTo>
                    <a:pt x="582" y="240"/>
                  </a:lnTo>
                  <a:lnTo>
                    <a:pt x="588" y="240"/>
                  </a:lnTo>
                  <a:lnTo>
                    <a:pt x="594" y="240"/>
                  </a:lnTo>
                  <a:lnTo>
                    <a:pt x="600" y="228"/>
                  </a:lnTo>
                  <a:lnTo>
                    <a:pt x="588" y="216"/>
                  </a:lnTo>
                  <a:lnTo>
                    <a:pt x="588" y="198"/>
                  </a:lnTo>
                  <a:lnTo>
                    <a:pt x="582" y="198"/>
                  </a:lnTo>
                  <a:lnTo>
                    <a:pt x="588" y="192"/>
                  </a:lnTo>
                  <a:lnTo>
                    <a:pt x="582" y="168"/>
                  </a:lnTo>
                  <a:lnTo>
                    <a:pt x="558" y="114"/>
                  </a:lnTo>
                  <a:lnTo>
                    <a:pt x="552" y="90"/>
                  </a:lnTo>
                  <a:lnTo>
                    <a:pt x="558" y="60"/>
                  </a:lnTo>
                  <a:lnTo>
                    <a:pt x="564" y="48"/>
                  </a:lnTo>
                  <a:lnTo>
                    <a:pt x="582" y="42"/>
                  </a:lnTo>
                  <a:lnTo>
                    <a:pt x="624" y="6"/>
                  </a:lnTo>
                  <a:lnTo>
                    <a:pt x="648" y="0"/>
                  </a:lnTo>
                  <a:lnTo>
                    <a:pt x="678" y="0"/>
                  </a:lnTo>
                  <a:lnTo>
                    <a:pt x="720" y="12"/>
                  </a:lnTo>
                  <a:lnTo>
                    <a:pt x="744" y="24"/>
                  </a:lnTo>
                  <a:lnTo>
                    <a:pt x="768" y="42"/>
                  </a:lnTo>
                  <a:lnTo>
                    <a:pt x="816" y="48"/>
                  </a:lnTo>
                  <a:lnTo>
                    <a:pt x="834" y="48"/>
                  </a:lnTo>
                  <a:lnTo>
                    <a:pt x="852" y="54"/>
                  </a:lnTo>
                  <a:lnTo>
                    <a:pt x="906" y="60"/>
                  </a:lnTo>
                  <a:lnTo>
                    <a:pt x="948" y="54"/>
                  </a:lnTo>
                  <a:lnTo>
                    <a:pt x="978" y="42"/>
                  </a:lnTo>
                  <a:lnTo>
                    <a:pt x="984" y="48"/>
                  </a:lnTo>
                  <a:lnTo>
                    <a:pt x="990" y="60"/>
                  </a:lnTo>
                  <a:lnTo>
                    <a:pt x="996" y="66"/>
                  </a:lnTo>
                  <a:lnTo>
                    <a:pt x="1002" y="72"/>
                  </a:lnTo>
                  <a:lnTo>
                    <a:pt x="1014" y="78"/>
                  </a:lnTo>
                  <a:lnTo>
                    <a:pt x="1014" y="84"/>
                  </a:lnTo>
                  <a:lnTo>
                    <a:pt x="1032" y="84"/>
                  </a:lnTo>
                  <a:lnTo>
                    <a:pt x="1032" y="90"/>
                  </a:lnTo>
                  <a:lnTo>
                    <a:pt x="1032" y="96"/>
                  </a:lnTo>
                  <a:lnTo>
                    <a:pt x="1032" y="108"/>
                  </a:lnTo>
                  <a:lnTo>
                    <a:pt x="1056" y="126"/>
                  </a:lnTo>
                  <a:lnTo>
                    <a:pt x="1068" y="138"/>
                  </a:lnTo>
                  <a:lnTo>
                    <a:pt x="1068" y="156"/>
                  </a:lnTo>
                  <a:lnTo>
                    <a:pt x="1080" y="150"/>
                  </a:lnTo>
                  <a:lnTo>
                    <a:pt x="1086" y="150"/>
                  </a:lnTo>
                  <a:lnTo>
                    <a:pt x="1092" y="156"/>
                  </a:lnTo>
                  <a:lnTo>
                    <a:pt x="1092" y="162"/>
                  </a:lnTo>
                  <a:lnTo>
                    <a:pt x="1092" y="168"/>
                  </a:lnTo>
                  <a:lnTo>
                    <a:pt x="1098" y="168"/>
                  </a:lnTo>
                  <a:lnTo>
                    <a:pt x="1092" y="180"/>
                  </a:lnTo>
                  <a:lnTo>
                    <a:pt x="1092" y="186"/>
                  </a:lnTo>
                  <a:lnTo>
                    <a:pt x="1086" y="192"/>
                  </a:lnTo>
                  <a:lnTo>
                    <a:pt x="1068" y="210"/>
                  </a:lnTo>
                  <a:lnTo>
                    <a:pt x="1068" y="216"/>
                  </a:lnTo>
                  <a:lnTo>
                    <a:pt x="1074" y="228"/>
                  </a:lnTo>
                  <a:lnTo>
                    <a:pt x="1092" y="234"/>
                  </a:lnTo>
                  <a:lnTo>
                    <a:pt x="1122" y="216"/>
                  </a:lnTo>
                  <a:lnTo>
                    <a:pt x="1188" y="204"/>
                  </a:lnTo>
                  <a:lnTo>
                    <a:pt x="1212" y="204"/>
                  </a:lnTo>
                  <a:lnTo>
                    <a:pt x="1230" y="198"/>
                  </a:lnTo>
                  <a:lnTo>
                    <a:pt x="1236" y="204"/>
                  </a:lnTo>
                  <a:lnTo>
                    <a:pt x="1242" y="210"/>
                  </a:lnTo>
                  <a:lnTo>
                    <a:pt x="1242" y="204"/>
                  </a:lnTo>
                  <a:lnTo>
                    <a:pt x="1248" y="198"/>
                  </a:lnTo>
                  <a:lnTo>
                    <a:pt x="1308" y="204"/>
                  </a:lnTo>
                  <a:lnTo>
                    <a:pt x="1338" y="204"/>
                  </a:lnTo>
                  <a:lnTo>
                    <a:pt x="1374" y="228"/>
                  </a:lnTo>
                  <a:lnTo>
                    <a:pt x="1380" y="234"/>
                  </a:lnTo>
                  <a:lnTo>
                    <a:pt x="1380" y="240"/>
                  </a:lnTo>
                  <a:lnTo>
                    <a:pt x="1386" y="252"/>
                  </a:lnTo>
                  <a:lnTo>
                    <a:pt x="1392" y="252"/>
                  </a:lnTo>
                  <a:lnTo>
                    <a:pt x="1416" y="270"/>
                  </a:lnTo>
                  <a:lnTo>
                    <a:pt x="1428" y="294"/>
                  </a:lnTo>
                  <a:lnTo>
                    <a:pt x="1440" y="312"/>
                  </a:lnTo>
                  <a:lnTo>
                    <a:pt x="1452" y="330"/>
                  </a:lnTo>
                  <a:lnTo>
                    <a:pt x="1464" y="330"/>
                  </a:lnTo>
                  <a:lnTo>
                    <a:pt x="1464" y="336"/>
                  </a:lnTo>
                  <a:lnTo>
                    <a:pt x="1470" y="336"/>
                  </a:lnTo>
                  <a:lnTo>
                    <a:pt x="1470" y="342"/>
                  </a:lnTo>
                  <a:lnTo>
                    <a:pt x="1476" y="342"/>
                  </a:lnTo>
                  <a:lnTo>
                    <a:pt x="1488" y="336"/>
                  </a:lnTo>
                  <a:lnTo>
                    <a:pt x="1494" y="342"/>
                  </a:lnTo>
                  <a:lnTo>
                    <a:pt x="1500" y="342"/>
                  </a:lnTo>
                  <a:lnTo>
                    <a:pt x="1512" y="366"/>
                  </a:lnTo>
                  <a:lnTo>
                    <a:pt x="1530" y="396"/>
                  </a:lnTo>
                  <a:lnTo>
                    <a:pt x="1536" y="444"/>
                  </a:lnTo>
                  <a:lnTo>
                    <a:pt x="1530" y="480"/>
                  </a:lnTo>
                  <a:lnTo>
                    <a:pt x="1506" y="510"/>
                  </a:lnTo>
                  <a:lnTo>
                    <a:pt x="1500" y="546"/>
                  </a:lnTo>
                  <a:lnTo>
                    <a:pt x="1494" y="564"/>
                  </a:lnTo>
                  <a:lnTo>
                    <a:pt x="1494" y="576"/>
                  </a:lnTo>
                  <a:lnTo>
                    <a:pt x="1500" y="582"/>
                  </a:lnTo>
                  <a:lnTo>
                    <a:pt x="1494" y="612"/>
                  </a:lnTo>
                  <a:lnTo>
                    <a:pt x="1476" y="630"/>
                  </a:lnTo>
                  <a:lnTo>
                    <a:pt x="1434" y="672"/>
                  </a:lnTo>
                  <a:lnTo>
                    <a:pt x="1392" y="756"/>
                  </a:lnTo>
                  <a:lnTo>
                    <a:pt x="1380" y="792"/>
                  </a:lnTo>
                  <a:lnTo>
                    <a:pt x="1374" y="798"/>
                  </a:lnTo>
                  <a:lnTo>
                    <a:pt x="1368" y="798"/>
                  </a:lnTo>
                  <a:lnTo>
                    <a:pt x="1380" y="804"/>
                  </a:lnTo>
                  <a:lnTo>
                    <a:pt x="1386" y="804"/>
                  </a:lnTo>
                  <a:lnTo>
                    <a:pt x="1380" y="822"/>
                  </a:lnTo>
                  <a:lnTo>
                    <a:pt x="1380" y="852"/>
                  </a:lnTo>
                  <a:lnTo>
                    <a:pt x="1374" y="858"/>
                  </a:lnTo>
                  <a:lnTo>
                    <a:pt x="1380" y="858"/>
                  </a:lnTo>
                  <a:lnTo>
                    <a:pt x="1374" y="864"/>
                  </a:lnTo>
                  <a:lnTo>
                    <a:pt x="1374" y="870"/>
                  </a:lnTo>
                  <a:lnTo>
                    <a:pt x="1374" y="876"/>
                  </a:lnTo>
                  <a:lnTo>
                    <a:pt x="1368" y="900"/>
                  </a:lnTo>
                  <a:lnTo>
                    <a:pt x="1362" y="906"/>
                  </a:lnTo>
                  <a:lnTo>
                    <a:pt x="1362" y="918"/>
                  </a:lnTo>
                  <a:lnTo>
                    <a:pt x="1362" y="924"/>
                  </a:lnTo>
                  <a:lnTo>
                    <a:pt x="1356" y="942"/>
                  </a:lnTo>
                  <a:lnTo>
                    <a:pt x="1350" y="972"/>
                  </a:lnTo>
                  <a:lnTo>
                    <a:pt x="1350" y="1014"/>
                  </a:lnTo>
                  <a:lnTo>
                    <a:pt x="1350" y="10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3" name="Freeform 18">
              <a:extLst>
                <a:ext uri="{FF2B5EF4-FFF2-40B4-BE49-F238E27FC236}">
                  <a16:creationId xmlns:a16="http://schemas.microsoft.com/office/drawing/2014/main" id="{EC11F2E0-3C06-46E2-8AD2-66EBE00FFE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32346" y="3837389"/>
              <a:ext cx="556811" cy="818559"/>
            </a:xfrm>
            <a:custGeom>
              <a:avLst/>
              <a:gdLst>
                <a:gd name="T0" fmla="*/ 12 w 1044"/>
                <a:gd name="T1" fmla="*/ 95 h 1542"/>
                <a:gd name="T2" fmla="*/ 7 w 1044"/>
                <a:gd name="T3" fmla="*/ 93 h 1542"/>
                <a:gd name="T4" fmla="*/ 0 w 1044"/>
                <a:gd name="T5" fmla="*/ 88 h 1542"/>
                <a:gd name="T6" fmla="*/ 3 w 1044"/>
                <a:gd name="T7" fmla="*/ 74 h 1542"/>
                <a:gd name="T8" fmla="*/ 4 w 1044"/>
                <a:gd name="T9" fmla="*/ 59 h 1542"/>
                <a:gd name="T10" fmla="*/ 7 w 1044"/>
                <a:gd name="T11" fmla="*/ 52 h 1542"/>
                <a:gd name="T12" fmla="*/ 20 w 1044"/>
                <a:gd name="T13" fmla="*/ 50 h 1542"/>
                <a:gd name="T14" fmla="*/ 24 w 1044"/>
                <a:gd name="T15" fmla="*/ 46 h 1542"/>
                <a:gd name="T16" fmla="*/ 29 w 1044"/>
                <a:gd name="T17" fmla="*/ 33 h 1542"/>
                <a:gd name="T18" fmla="*/ 32 w 1044"/>
                <a:gd name="T19" fmla="*/ 26 h 1542"/>
                <a:gd name="T20" fmla="*/ 30 w 1044"/>
                <a:gd name="T21" fmla="*/ 20 h 1542"/>
                <a:gd name="T22" fmla="*/ 26 w 1044"/>
                <a:gd name="T23" fmla="*/ 17 h 1542"/>
                <a:gd name="T24" fmla="*/ 28 w 1044"/>
                <a:gd name="T25" fmla="*/ 12 h 1542"/>
                <a:gd name="T26" fmla="*/ 44 w 1044"/>
                <a:gd name="T27" fmla="*/ 5 h 1542"/>
                <a:gd name="T28" fmla="*/ 57 w 1044"/>
                <a:gd name="T29" fmla="*/ 2 h 1542"/>
                <a:gd name="T30" fmla="*/ 65 w 1044"/>
                <a:gd name="T31" fmla="*/ 12 h 1542"/>
                <a:gd name="T32" fmla="*/ 81 w 1044"/>
                <a:gd name="T33" fmla="*/ 9 h 1542"/>
                <a:gd name="T34" fmla="*/ 91 w 1044"/>
                <a:gd name="T35" fmla="*/ 20 h 1542"/>
                <a:gd name="T36" fmla="*/ 89 w 1044"/>
                <a:gd name="T37" fmla="*/ 28 h 1542"/>
                <a:gd name="T38" fmla="*/ 83 w 1044"/>
                <a:gd name="T39" fmla="*/ 33 h 1542"/>
                <a:gd name="T40" fmla="*/ 74 w 1044"/>
                <a:gd name="T41" fmla="*/ 42 h 1542"/>
                <a:gd name="T42" fmla="*/ 58 w 1044"/>
                <a:gd name="T43" fmla="*/ 57 h 1542"/>
                <a:gd name="T44" fmla="*/ 54 w 1044"/>
                <a:gd name="T45" fmla="*/ 65 h 1542"/>
                <a:gd name="T46" fmla="*/ 59 w 1044"/>
                <a:gd name="T47" fmla="*/ 74 h 1542"/>
                <a:gd name="T48" fmla="*/ 55 w 1044"/>
                <a:gd name="T49" fmla="*/ 84 h 1542"/>
                <a:gd name="T50" fmla="*/ 52 w 1044"/>
                <a:gd name="T51" fmla="*/ 98 h 1542"/>
                <a:gd name="T52" fmla="*/ 47 w 1044"/>
                <a:gd name="T53" fmla="*/ 105 h 1542"/>
                <a:gd name="T54" fmla="*/ 42 w 1044"/>
                <a:gd name="T55" fmla="*/ 111 h 1542"/>
                <a:gd name="T56" fmla="*/ 43 w 1044"/>
                <a:gd name="T57" fmla="*/ 120 h 1542"/>
                <a:gd name="T58" fmla="*/ 45 w 1044"/>
                <a:gd name="T59" fmla="*/ 125 h 1542"/>
                <a:gd name="T60" fmla="*/ 44 w 1044"/>
                <a:gd name="T61" fmla="*/ 130 h 1542"/>
                <a:gd name="T62" fmla="*/ 45 w 1044"/>
                <a:gd name="T63" fmla="*/ 131 h 1542"/>
                <a:gd name="T64" fmla="*/ 48 w 1044"/>
                <a:gd name="T65" fmla="*/ 133 h 1542"/>
                <a:gd name="T66" fmla="*/ 39 w 1044"/>
                <a:gd name="T67" fmla="*/ 133 h 1542"/>
                <a:gd name="T68" fmla="*/ 42 w 1044"/>
                <a:gd name="T69" fmla="*/ 132 h 1542"/>
                <a:gd name="T70" fmla="*/ 38 w 1044"/>
                <a:gd name="T71" fmla="*/ 133 h 1542"/>
                <a:gd name="T72" fmla="*/ 37 w 1044"/>
                <a:gd name="T73" fmla="*/ 129 h 1542"/>
                <a:gd name="T74" fmla="*/ 40 w 1044"/>
                <a:gd name="T75" fmla="*/ 125 h 1542"/>
                <a:gd name="T76" fmla="*/ 40 w 1044"/>
                <a:gd name="T77" fmla="*/ 120 h 1542"/>
                <a:gd name="T78" fmla="*/ 40 w 1044"/>
                <a:gd name="T79" fmla="*/ 117 h 1542"/>
                <a:gd name="T80" fmla="*/ 37 w 1044"/>
                <a:gd name="T81" fmla="*/ 120 h 1542"/>
                <a:gd name="T82" fmla="*/ 34 w 1044"/>
                <a:gd name="T83" fmla="*/ 122 h 1542"/>
                <a:gd name="T84" fmla="*/ 36 w 1044"/>
                <a:gd name="T85" fmla="*/ 120 h 1542"/>
                <a:gd name="T86" fmla="*/ 30 w 1044"/>
                <a:gd name="T87" fmla="*/ 120 h 1542"/>
                <a:gd name="T88" fmla="*/ 31 w 1044"/>
                <a:gd name="T89" fmla="*/ 113 h 1542"/>
                <a:gd name="T90" fmla="*/ 29 w 1044"/>
                <a:gd name="T91" fmla="*/ 112 h 1542"/>
                <a:gd name="T92" fmla="*/ 31 w 1044"/>
                <a:gd name="T93" fmla="*/ 117 h 1542"/>
                <a:gd name="T94" fmla="*/ 27 w 1044"/>
                <a:gd name="T95" fmla="*/ 116 h 1542"/>
                <a:gd name="T96" fmla="*/ 25 w 1044"/>
                <a:gd name="T97" fmla="*/ 112 h 1542"/>
                <a:gd name="T98" fmla="*/ 21 w 1044"/>
                <a:gd name="T99" fmla="*/ 109 h 1542"/>
                <a:gd name="T100" fmla="*/ 21 w 1044"/>
                <a:gd name="T101" fmla="*/ 113 h 1542"/>
                <a:gd name="T102" fmla="*/ 40 w 1044"/>
                <a:gd name="T103" fmla="*/ 120 h 1542"/>
                <a:gd name="T104" fmla="*/ 40 w 1044"/>
                <a:gd name="T105" fmla="*/ 121 h 1542"/>
                <a:gd name="T106" fmla="*/ 40 w 1044"/>
                <a:gd name="T107" fmla="*/ 116 h 1542"/>
                <a:gd name="T108" fmla="*/ 38 w 1044"/>
                <a:gd name="T109" fmla="*/ 120 h 1542"/>
                <a:gd name="T110" fmla="*/ 23 w 1044"/>
                <a:gd name="T111" fmla="*/ 110 h 1542"/>
                <a:gd name="T112" fmla="*/ 37 w 1044"/>
                <a:gd name="T113" fmla="*/ 124 h 1542"/>
                <a:gd name="T114" fmla="*/ 40 w 1044"/>
                <a:gd name="T115" fmla="*/ 125 h 1542"/>
                <a:gd name="T116" fmla="*/ 38 w 1044"/>
                <a:gd name="T117" fmla="*/ 128 h 1542"/>
                <a:gd name="T118" fmla="*/ 25 w 1044"/>
                <a:gd name="T119" fmla="*/ 117 h 1542"/>
                <a:gd name="T120" fmla="*/ 27 w 1044"/>
                <a:gd name="T121" fmla="*/ 127 h 1542"/>
                <a:gd name="T122" fmla="*/ 24 w 1044"/>
                <a:gd name="T123" fmla="*/ 113 h 15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4"/>
                <a:gd name="T187" fmla="*/ 0 h 1542"/>
                <a:gd name="T188" fmla="*/ 1044 w 1044"/>
                <a:gd name="T189" fmla="*/ 1542 h 154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4" h="1542">
                  <a:moveTo>
                    <a:pt x="234" y="1278"/>
                  </a:moveTo>
                  <a:lnTo>
                    <a:pt x="228" y="1272"/>
                  </a:lnTo>
                  <a:lnTo>
                    <a:pt x="222" y="1266"/>
                  </a:lnTo>
                  <a:lnTo>
                    <a:pt x="222" y="1260"/>
                  </a:lnTo>
                  <a:lnTo>
                    <a:pt x="204" y="1248"/>
                  </a:lnTo>
                  <a:lnTo>
                    <a:pt x="192" y="1248"/>
                  </a:lnTo>
                  <a:lnTo>
                    <a:pt x="186" y="1236"/>
                  </a:lnTo>
                  <a:lnTo>
                    <a:pt x="174" y="1218"/>
                  </a:lnTo>
                  <a:lnTo>
                    <a:pt x="162" y="1194"/>
                  </a:lnTo>
                  <a:lnTo>
                    <a:pt x="156" y="1182"/>
                  </a:lnTo>
                  <a:lnTo>
                    <a:pt x="162" y="1146"/>
                  </a:lnTo>
                  <a:lnTo>
                    <a:pt x="156" y="1134"/>
                  </a:lnTo>
                  <a:lnTo>
                    <a:pt x="138" y="1122"/>
                  </a:lnTo>
                  <a:lnTo>
                    <a:pt x="132" y="1116"/>
                  </a:lnTo>
                  <a:lnTo>
                    <a:pt x="138" y="1098"/>
                  </a:lnTo>
                  <a:lnTo>
                    <a:pt x="138" y="1092"/>
                  </a:lnTo>
                  <a:lnTo>
                    <a:pt x="138" y="1086"/>
                  </a:lnTo>
                  <a:lnTo>
                    <a:pt x="132" y="1074"/>
                  </a:lnTo>
                  <a:lnTo>
                    <a:pt x="126" y="1074"/>
                  </a:lnTo>
                  <a:lnTo>
                    <a:pt x="126" y="1068"/>
                  </a:lnTo>
                  <a:lnTo>
                    <a:pt x="120" y="1062"/>
                  </a:lnTo>
                  <a:lnTo>
                    <a:pt x="120" y="1056"/>
                  </a:lnTo>
                  <a:lnTo>
                    <a:pt x="114" y="1050"/>
                  </a:lnTo>
                  <a:lnTo>
                    <a:pt x="108" y="1050"/>
                  </a:lnTo>
                  <a:lnTo>
                    <a:pt x="102" y="1056"/>
                  </a:lnTo>
                  <a:lnTo>
                    <a:pt x="102" y="1062"/>
                  </a:lnTo>
                  <a:lnTo>
                    <a:pt x="96" y="1062"/>
                  </a:lnTo>
                  <a:lnTo>
                    <a:pt x="96" y="1068"/>
                  </a:lnTo>
                  <a:lnTo>
                    <a:pt x="96" y="1074"/>
                  </a:lnTo>
                  <a:lnTo>
                    <a:pt x="90" y="1074"/>
                  </a:lnTo>
                  <a:lnTo>
                    <a:pt x="84" y="1080"/>
                  </a:lnTo>
                  <a:lnTo>
                    <a:pt x="78" y="1074"/>
                  </a:lnTo>
                  <a:lnTo>
                    <a:pt x="72" y="1074"/>
                  </a:lnTo>
                  <a:lnTo>
                    <a:pt x="72" y="1068"/>
                  </a:lnTo>
                  <a:lnTo>
                    <a:pt x="72" y="1062"/>
                  </a:lnTo>
                  <a:lnTo>
                    <a:pt x="60" y="1056"/>
                  </a:lnTo>
                  <a:lnTo>
                    <a:pt x="60" y="1044"/>
                  </a:lnTo>
                  <a:lnTo>
                    <a:pt x="60" y="1032"/>
                  </a:lnTo>
                  <a:lnTo>
                    <a:pt x="60" y="1026"/>
                  </a:lnTo>
                  <a:lnTo>
                    <a:pt x="54" y="1026"/>
                  </a:lnTo>
                  <a:lnTo>
                    <a:pt x="48" y="1014"/>
                  </a:lnTo>
                  <a:lnTo>
                    <a:pt x="42" y="1008"/>
                  </a:lnTo>
                  <a:lnTo>
                    <a:pt x="30" y="1008"/>
                  </a:lnTo>
                  <a:lnTo>
                    <a:pt x="30" y="1002"/>
                  </a:lnTo>
                  <a:lnTo>
                    <a:pt x="24" y="1008"/>
                  </a:lnTo>
                  <a:lnTo>
                    <a:pt x="12" y="1008"/>
                  </a:lnTo>
                  <a:lnTo>
                    <a:pt x="6" y="1008"/>
                  </a:lnTo>
                  <a:lnTo>
                    <a:pt x="0" y="1008"/>
                  </a:lnTo>
                  <a:lnTo>
                    <a:pt x="0" y="1002"/>
                  </a:lnTo>
                  <a:lnTo>
                    <a:pt x="6" y="990"/>
                  </a:lnTo>
                  <a:lnTo>
                    <a:pt x="6" y="984"/>
                  </a:lnTo>
                  <a:lnTo>
                    <a:pt x="0" y="978"/>
                  </a:lnTo>
                  <a:lnTo>
                    <a:pt x="6" y="972"/>
                  </a:lnTo>
                  <a:lnTo>
                    <a:pt x="12" y="972"/>
                  </a:lnTo>
                  <a:lnTo>
                    <a:pt x="72" y="978"/>
                  </a:lnTo>
                  <a:lnTo>
                    <a:pt x="78" y="972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30"/>
                  </a:lnTo>
                  <a:lnTo>
                    <a:pt x="54" y="912"/>
                  </a:lnTo>
                  <a:lnTo>
                    <a:pt x="42" y="906"/>
                  </a:lnTo>
                  <a:lnTo>
                    <a:pt x="36" y="894"/>
                  </a:lnTo>
                  <a:lnTo>
                    <a:pt x="30" y="876"/>
                  </a:lnTo>
                  <a:lnTo>
                    <a:pt x="30" y="858"/>
                  </a:lnTo>
                  <a:lnTo>
                    <a:pt x="30" y="840"/>
                  </a:lnTo>
                  <a:lnTo>
                    <a:pt x="36" y="816"/>
                  </a:lnTo>
                  <a:lnTo>
                    <a:pt x="36" y="792"/>
                  </a:lnTo>
                  <a:lnTo>
                    <a:pt x="36" y="780"/>
                  </a:lnTo>
                  <a:lnTo>
                    <a:pt x="12" y="774"/>
                  </a:lnTo>
                  <a:lnTo>
                    <a:pt x="24" y="756"/>
                  </a:lnTo>
                  <a:lnTo>
                    <a:pt x="24" y="744"/>
                  </a:lnTo>
                  <a:lnTo>
                    <a:pt x="30" y="738"/>
                  </a:lnTo>
                  <a:lnTo>
                    <a:pt x="30" y="732"/>
                  </a:lnTo>
                  <a:lnTo>
                    <a:pt x="36" y="720"/>
                  </a:lnTo>
                  <a:lnTo>
                    <a:pt x="42" y="714"/>
                  </a:lnTo>
                  <a:lnTo>
                    <a:pt x="54" y="708"/>
                  </a:lnTo>
                  <a:lnTo>
                    <a:pt x="60" y="702"/>
                  </a:lnTo>
                  <a:lnTo>
                    <a:pt x="48" y="690"/>
                  </a:lnTo>
                  <a:lnTo>
                    <a:pt x="48" y="684"/>
                  </a:lnTo>
                  <a:lnTo>
                    <a:pt x="48" y="678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66"/>
                  </a:lnTo>
                  <a:lnTo>
                    <a:pt x="72" y="654"/>
                  </a:lnTo>
                  <a:lnTo>
                    <a:pt x="72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84" y="630"/>
                  </a:lnTo>
                  <a:lnTo>
                    <a:pt x="90" y="630"/>
                  </a:lnTo>
                  <a:lnTo>
                    <a:pt x="96" y="630"/>
                  </a:lnTo>
                  <a:lnTo>
                    <a:pt x="96" y="624"/>
                  </a:lnTo>
                  <a:lnTo>
                    <a:pt x="90" y="624"/>
                  </a:lnTo>
                  <a:lnTo>
                    <a:pt x="84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90" y="600"/>
                  </a:lnTo>
                  <a:lnTo>
                    <a:pt x="84" y="600"/>
                  </a:lnTo>
                  <a:lnTo>
                    <a:pt x="78" y="594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126" y="564"/>
                  </a:lnTo>
                  <a:lnTo>
                    <a:pt x="144" y="564"/>
                  </a:lnTo>
                  <a:lnTo>
                    <a:pt x="156" y="582"/>
                  </a:lnTo>
                  <a:lnTo>
                    <a:pt x="162" y="600"/>
                  </a:lnTo>
                  <a:lnTo>
                    <a:pt x="180" y="588"/>
                  </a:lnTo>
                  <a:lnTo>
                    <a:pt x="192" y="588"/>
                  </a:lnTo>
                  <a:lnTo>
                    <a:pt x="198" y="588"/>
                  </a:lnTo>
                  <a:lnTo>
                    <a:pt x="210" y="582"/>
                  </a:lnTo>
                  <a:lnTo>
                    <a:pt x="216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58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46" y="558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58" y="570"/>
                  </a:lnTo>
                  <a:lnTo>
                    <a:pt x="264" y="570"/>
                  </a:lnTo>
                  <a:lnTo>
                    <a:pt x="270" y="564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46"/>
                  </a:lnTo>
                  <a:lnTo>
                    <a:pt x="276" y="540"/>
                  </a:lnTo>
                  <a:lnTo>
                    <a:pt x="276" y="534"/>
                  </a:lnTo>
                  <a:lnTo>
                    <a:pt x="276" y="528"/>
                  </a:lnTo>
                  <a:lnTo>
                    <a:pt x="282" y="528"/>
                  </a:lnTo>
                  <a:lnTo>
                    <a:pt x="282" y="522"/>
                  </a:lnTo>
                  <a:lnTo>
                    <a:pt x="282" y="516"/>
                  </a:lnTo>
                  <a:lnTo>
                    <a:pt x="282" y="510"/>
                  </a:lnTo>
                  <a:lnTo>
                    <a:pt x="282" y="504"/>
                  </a:lnTo>
                  <a:lnTo>
                    <a:pt x="282" y="492"/>
                  </a:lnTo>
                  <a:lnTo>
                    <a:pt x="288" y="486"/>
                  </a:lnTo>
                  <a:lnTo>
                    <a:pt x="300" y="480"/>
                  </a:lnTo>
                  <a:lnTo>
                    <a:pt x="306" y="462"/>
                  </a:lnTo>
                  <a:lnTo>
                    <a:pt x="318" y="444"/>
                  </a:lnTo>
                  <a:lnTo>
                    <a:pt x="330" y="444"/>
                  </a:lnTo>
                  <a:lnTo>
                    <a:pt x="330" y="432"/>
                  </a:lnTo>
                  <a:lnTo>
                    <a:pt x="342" y="432"/>
                  </a:lnTo>
                  <a:lnTo>
                    <a:pt x="354" y="402"/>
                  </a:lnTo>
                  <a:lnTo>
                    <a:pt x="348" y="390"/>
                  </a:lnTo>
                  <a:lnTo>
                    <a:pt x="336" y="384"/>
                  </a:lnTo>
                  <a:lnTo>
                    <a:pt x="336" y="360"/>
                  </a:lnTo>
                  <a:lnTo>
                    <a:pt x="336" y="354"/>
                  </a:lnTo>
                  <a:lnTo>
                    <a:pt x="336" y="342"/>
                  </a:lnTo>
                  <a:lnTo>
                    <a:pt x="342" y="336"/>
                  </a:lnTo>
                  <a:lnTo>
                    <a:pt x="342" y="324"/>
                  </a:lnTo>
                  <a:lnTo>
                    <a:pt x="372" y="324"/>
                  </a:lnTo>
                  <a:lnTo>
                    <a:pt x="378" y="324"/>
                  </a:lnTo>
                  <a:lnTo>
                    <a:pt x="378" y="318"/>
                  </a:lnTo>
                  <a:lnTo>
                    <a:pt x="372" y="312"/>
                  </a:lnTo>
                  <a:lnTo>
                    <a:pt x="378" y="312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84" y="300"/>
                  </a:lnTo>
                  <a:lnTo>
                    <a:pt x="384" y="294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66" y="294"/>
                  </a:lnTo>
                  <a:lnTo>
                    <a:pt x="366" y="288"/>
                  </a:lnTo>
                  <a:lnTo>
                    <a:pt x="372" y="288"/>
                  </a:lnTo>
                  <a:lnTo>
                    <a:pt x="372" y="282"/>
                  </a:lnTo>
                  <a:lnTo>
                    <a:pt x="366" y="276"/>
                  </a:lnTo>
                  <a:lnTo>
                    <a:pt x="360" y="270"/>
                  </a:lnTo>
                  <a:lnTo>
                    <a:pt x="360" y="264"/>
                  </a:lnTo>
                  <a:lnTo>
                    <a:pt x="354" y="264"/>
                  </a:lnTo>
                  <a:lnTo>
                    <a:pt x="348" y="258"/>
                  </a:lnTo>
                  <a:lnTo>
                    <a:pt x="354" y="258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40"/>
                  </a:lnTo>
                  <a:lnTo>
                    <a:pt x="354" y="240"/>
                  </a:lnTo>
                  <a:lnTo>
                    <a:pt x="342" y="234"/>
                  </a:lnTo>
                  <a:lnTo>
                    <a:pt x="342" y="228"/>
                  </a:lnTo>
                  <a:lnTo>
                    <a:pt x="348" y="228"/>
                  </a:lnTo>
                  <a:lnTo>
                    <a:pt x="342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6" y="216"/>
                  </a:lnTo>
                  <a:lnTo>
                    <a:pt x="330" y="222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24" y="210"/>
                  </a:lnTo>
                  <a:lnTo>
                    <a:pt x="318" y="210"/>
                  </a:lnTo>
                  <a:lnTo>
                    <a:pt x="318" y="204"/>
                  </a:lnTo>
                  <a:lnTo>
                    <a:pt x="312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294" y="192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300" y="174"/>
                  </a:lnTo>
                  <a:lnTo>
                    <a:pt x="300" y="168"/>
                  </a:lnTo>
                  <a:lnTo>
                    <a:pt x="300" y="162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88" y="150"/>
                  </a:lnTo>
                  <a:lnTo>
                    <a:pt x="288" y="144"/>
                  </a:lnTo>
                  <a:lnTo>
                    <a:pt x="282" y="144"/>
                  </a:lnTo>
                  <a:lnTo>
                    <a:pt x="282" y="138"/>
                  </a:lnTo>
                  <a:lnTo>
                    <a:pt x="312" y="132"/>
                  </a:lnTo>
                  <a:lnTo>
                    <a:pt x="324" y="120"/>
                  </a:lnTo>
                  <a:lnTo>
                    <a:pt x="330" y="114"/>
                  </a:lnTo>
                  <a:lnTo>
                    <a:pt x="336" y="102"/>
                  </a:lnTo>
                  <a:lnTo>
                    <a:pt x="348" y="90"/>
                  </a:lnTo>
                  <a:lnTo>
                    <a:pt x="360" y="84"/>
                  </a:lnTo>
                  <a:lnTo>
                    <a:pt x="372" y="84"/>
                  </a:lnTo>
                  <a:lnTo>
                    <a:pt x="378" y="84"/>
                  </a:lnTo>
                  <a:lnTo>
                    <a:pt x="384" y="90"/>
                  </a:lnTo>
                  <a:lnTo>
                    <a:pt x="402" y="90"/>
                  </a:lnTo>
                  <a:lnTo>
                    <a:pt x="438" y="84"/>
                  </a:lnTo>
                  <a:lnTo>
                    <a:pt x="456" y="84"/>
                  </a:lnTo>
                  <a:lnTo>
                    <a:pt x="462" y="78"/>
                  </a:lnTo>
                  <a:lnTo>
                    <a:pt x="486" y="72"/>
                  </a:lnTo>
                  <a:lnTo>
                    <a:pt x="492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04" y="54"/>
                  </a:lnTo>
                  <a:lnTo>
                    <a:pt x="510" y="42"/>
                  </a:lnTo>
                  <a:lnTo>
                    <a:pt x="504" y="42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498" y="30"/>
                  </a:lnTo>
                  <a:lnTo>
                    <a:pt x="492" y="30"/>
                  </a:lnTo>
                  <a:lnTo>
                    <a:pt x="492" y="24"/>
                  </a:lnTo>
                  <a:lnTo>
                    <a:pt x="486" y="18"/>
                  </a:lnTo>
                  <a:lnTo>
                    <a:pt x="498" y="18"/>
                  </a:lnTo>
                  <a:lnTo>
                    <a:pt x="510" y="18"/>
                  </a:lnTo>
                  <a:lnTo>
                    <a:pt x="522" y="12"/>
                  </a:lnTo>
                  <a:lnTo>
                    <a:pt x="528" y="6"/>
                  </a:lnTo>
                  <a:lnTo>
                    <a:pt x="570" y="0"/>
                  </a:lnTo>
                  <a:lnTo>
                    <a:pt x="606" y="6"/>
                  </a:lnTo>
                  <a:lnTo>
                    <a:pt x="654" y="24"/>
                  </a:lnTo>
                  <a:lnTo>
                    <a:pt x="666" y="36"/>
                  </a:lnTo>
                  <a:lnTo>
                    <a:pt x="672" y="30"/>
                  </a:lnTo>
                  <a:lnTo>
                    <a:pt x="690" y="42"/>
                  </a:lnTo>
                  <a:lnTo>
                    <a:pt x="702" y="48"/>
                  </a:lnTo>
                  <a:lnTo>
                    <a:pt x="714" y="60"/>
                  </a:lnTo>
                  <a:lnTo>
                    <a:pt x="714" y="66"/>
                  </a:lnTo>
                  <a:lnTo>
                    <a:pt x="720" y="72"/>
                  </a:lnTo>
                  <a:lnTo>
                    <a:pt x="720" y="78"/>
                  </a:lnTo>
                  <a:lnTo>
                    <a:pt x="720" y="102"/>
                  </a:lnTo>
                  <a:lnTo>
                    <a:pt x="720" y="108"/>
                  </a:lnTo>
                  <a:lnTo>
                    <a:pt x="714" y="108"/>
                  </a:lnTo>
                  <a:lnTo>
                    <a:pt x="714" y="126"/>
                  </a:lnTo>
                  <a:lnTo>
                    <a:pt x="732" y="126"/>
                  </a:lnTo>
                  <a:lnTo>
                    <a:pt x="726" y="132"/>
                  </a:lnTo>
                  <a:lnTo>
                    <a:pt x="738" y="132"/>
                  </a:lnTo>
                  <a:lnTo>
                    <a:pt x="738" y="138"/>
                  </a:lnTo>
                  <a:lnTo>
                    <a:pt x="738" y="144"/>
                  </a:lnTo>
                  <a:lnTo>
                    <a:pt x="744" y="144"/>
                  </a:lnTo>
                  <a:lnTo>
                    <a:pt x="744" y="150"/>
                  </a:lnTo>
                  <a:lnTo>
                    <a:pt x="756" y="156"/>
                  </a:lnTo>
                  <a:lnTo>
                    <a:pt x="768" y="156"/>
                  </a:lnTo>
                  <a:lnTo>
                    <a:pt x="780" y="156"/>
                  </a:lnTo>
                  <a:lnTo>
                    <a:pt x="792" y="150"/>
                  </a:lnTo>
                  <a:lnTo>
                    <a:pt x="786" y="150"/>
                  </a:lnTo>
                  <a:lnTo>
                    <a:pt x="786" y="144"/>
                  </a:lnTo>
                  <a:lnTo>
                    <a:pt x="804" y="144"/>
                  </a:lnTo>
                  <a:lnTo>
                    <a:pt x="816" y="132"/>
                  </a:lnTo>
                  <a:lnTo>
                    <a:pt x="822" y="126"/>
                  </a:lnTo>
                  <a:lnTo>
                    <a:pt x="828" y="132"/>
                  </a:lnTo>
                  <a:lnTo>
                    <a:pt x="834" y="126"/>
                  </a:lnTo>
                  <a:lnTo>
                    <a:pt x="834" y="120"/>
                  </a:lnTo>
                  <a:lnTo>
                    <a:pt x="924" y="108"/>
                  </a:lnTo>
                  <a:lnTo>
                    <a:pt x="942" y="144"/>
                  </a:lnTo>
                  <a:lnTo>
                    <a:pt x="948" y="144"/>
                  </a:lnTo>
                  <a:lnTo>
                    <a:pt x="960" y="168"/>
                  </a:lnTo>
                  <a:lnTo>
                    <a:pt x="972" y="186"/>
                  </a:lnTo>
                  <a:lnTo>
                    <a:pt x="984" y="192"/>
                  </a:lnTo>
                  <a:lnTo>
                    <a:pt x="996" y="192"/>
                  </a:lnTo>
                  <a:lnTo>
                    <a:pt x="996" y="198"/>
                  </a:lnTo>
                  <a:lnTo>
                    <a:pt x="1008" y="204"/>
                  </a:lnTo>
                  <a:lnTo>
                    <a:pt x="1008" y="210"/>
                  </a:lnTo>
                  <a:lnTo>
                    <a:pt x="1002" y="210"/>
                  </a:lnTo>
                  <a:lnTo>
                    <a:pt x="1008" y="216"/>
                  </a:lnTo>
                  <a:lnTo>
                    <a:pt x="1014" y="210"/>
                  </a:lnTo>
                  <a:lnTo>
                    <a:pt x="1014" y="216"/>
                  </a:lnTo>
                  <a:lnTo>
                    <a:pt x="1020" y="222"/>
                  </a:lnTo>
                  <a:lnTo>
                    <a:pt x="1014" y="228"/>
                  </a:lnTo>
                  <a:lnTo>
                    <a:pt x="1032" y="234"/>
                  </a:lnTo>
                  <a:lnTo>
                    <a:pt x="1044" y="240"/>
                  </a:lnTo>
                  <a:lnTo>
                    <a:pt x="1038" y="246"/>
                  </a:lnTo>
                  <a:lnTo>
                    <a:pt x="1038" y="252"/>
                  </a:lnTo>
                  <a:lnTo>
                    <a:pt x="1038" y="258"/>
                  </a:lnTo>
                  <a:lnTo>
                    <a:pt x="1032" y="264"/>
                  </a:lnTo>
                  <a:lnTo>
                    <a:pt x="1032" y="270"/>
                  </a:lnTo>
                  <a:lnTo>
                    <a:pt x="1032" y="276"/>
                  </a:lnTo>
                  <a:lnTo>
                    <a:pt x="1032" y="282"/>
                  </a:lnTo>
                  <a:lnTo>
                    <a:pt x="1026" y="282"/>
                  </a:lnTo>
                  <a:lnTo>
                    <a:pt x="1026" y="288"/>
                  </a:lnTo>
                  <a:lnTo>
                    <a:pt x="1026" y="294"/>
                  </a:lnTo>
                  <a:lnTo>
                    <a:pt x="1026" y="300"/>
                  </a:lnTo>
                  <a:lnTo>
                    <a:pt x="1026" y="306"/>
                  </a:lnTo>
                  <a:lnTo>
                    <a:pt x="1020" y="318"/>
                  </a:lnTo>
                  <a:lnTo>
                    <a:pt x="1020" y="324"/>
                  </a:lnTo>
                  <a:lnTo>
                    <a:pt x="1014" y="324"/>
                  </a:lnTo>
                  <a:lnTo>
                    <a:pt x="1014" y="330"/>
                  </a:lnTo>
                  <a:lnTo>
                    <a:pt x="1014" y="336"/>
                  </a:lnTo>
                  <a:lnTo>
                    <a:pt x="1008" y="366"/>
                  </a:lnTo>
                  <a:lnTo>
                    <a:pt x="1002" y="366"/>
                  </a:lnTo>
                  <a:lnTo>
                    <a:pt x="984" y="354"/>
                  </a:lnTo>
                  <a:lnTo>
                    <a:pt x="978" y="354"/>
                  </a:lnTo>
                  <a:lnTo>
                    <a:pt x="972" y="354"/>
                  </a:lnTo>
                  <a:lnTo>
                    <a:pt x="966" y="348"/>
                  </a:lnTo>
                  <a:lnTo>
                    <a:pt x="954" y="348"/>
                  </a:lnTo>
                  <a:lnTo>
                    <a:pt x="948" y="348"/>
                  </a:lnTo>
                  <a:lnTo>
                    <a:pt x="948" y="360"/>
                  </a:lnTo>
                  <a:lnTo>
                    <a:pt x="948" y="366"/>
                  </a:lnTo>
                  <a:lnTo>
                    <a:pt x="948" y="372"/>
                  </a:lnTo>
                  <a:lnTo>
                    <a:pt x="948" y="378"/>
                  </a:lnTo>
                  <a:lnTo>
                    <a:pt x="948" y="384"/>
                  </a:lnTo>
                  <a:lnTo>
                    <a:pt x="942" y="384"/>
                  </a:lnTo>
                  <a:lnTo>
                    <a:pt x="942" y="390"/>
                  </a:lnTo>
                  <a:lnTo>
                    <a:pt x="936" y="390"/>
                  </a:lnTo>
                  <a:lnTo>
                    <a:pt x="942" y="390"/>
                  </a:lnTo>
                  <a:lnTo>
                    <a:pt x="936" y="396"/>
                  </a:lnTo>
                  <a:lnTo>
                    <a:pt x="930" y="402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2" y="432"/>
                  </a:lnTo>
                  <a:lnTo>
                    <a:pt x="900" y="450"/>
                  </a:lnTo>
                  <a:lnTo>
                    <a:pt x="894" y="456"/>
                  </a:lnTo>
                  <a:lnTo>
                    <a:pt x="888" y="456"/>
                  </a:lnTo>
                  <a:lnTo>
                    <a:pt x="882" y="456"/>
                  </a:lnTo>
                  <a:lnTo>
                    <a:pt x="876" y="456"/>
                  </a:lnTo>
                  <a:lnTo>
                    <a:pt x="864" y="462"/>
                  </a:lnTo>
                  <a:lnTo>
                    <a:pt x="852" y="474"/>
                  </a:lnTo>
                  <a:lnTo>
                    <a:pt x="846" y="480"/>
                  </a:lnTo>
                  <a:lnTo>
                    <a:pt x="840" y="486"/>
                  </a:lnTo>
                  <a:lnTo>
                    <a:pt x="834" y="498"/>
                  </a:lnTo>
                  <a:lnTo>
                    <a:pt x="828" y="510"/>
                  </a:lnTo>
                  <a:lnTo>
                    <a:pt x="816" y="522"/>
                  </a:lnTo>
                  <a:lnTo>
                    <a:pt x="798" y="540"/>
                  </a:lnTo>
                  <a:lnTo>
                    <a:pt x="780" y="558"/>
                  </a:lnTo>
                  <a:lnTo>
                    <a:pt x="774" y="558"/>
                  </a:lnTo>
                  <a:lnTo>
                    <a:pt x="756" y="576"/>
                  </a:lnTo>
                  <a:lnTo>
                    <a:pt x="732" y="600"/>
                  </a:lnTo>
                  <a:lnTo>
                    <a:pt x="726" y="600"/>
                  </a:lnTo>
                  <a:lnTo>
                    <a:pt x="720" y="606"/>
                  </a:lnTo>
                  <a:lnTo>
                    <a:pt x="714" y="612"/>
                  </a:lnTo>
                  <a:lnTo>
                    <a:pt x="690" y="630"/>
                  </a:lnTo>
                  <a:lnTo>
                    <a:pt x="678" y="636"/>
                  </a:lnTo>
                  <a:lnTo>
                    <a:pt x="672" y="642"/>
                  </a:lnTo>
                  <a:lnTo>
                    <a:pt x="660" y="660"/>
                  </a:lnTo>
                  <a:lnTo>
                    <a:pt x="642" y="666"/>
                  </a:lnTo>
                  <a:lnTo>
                    <a:pt x="636" y="678"/>
                  </a:lnTo>
                  <a:lnTo>
                    <a:pt x="630" y="678"/>
                  </a:lnTo>
                  <a:lnTo>
                    <a:pt x="630" y="684"/>
                  </a:lnTo>
                  <a:lnTo>
                    <a:pt x="630" y="690"/>
                  </a:lnTo>
                  <a:lnTo>
                    <a:pt x="636" y="696"/>
                  </a:lnTo>
                  <a:lnTo>
                    <a:pt x="642" y="696"/>
                  </a:lnTo>
                  <a:lnTo>
                    <a:pt x="648" y="702"/>
                  </a:lnTo>
                  <a:lnTo>
                    <a:pt x="648" y="708"/>
                  </a:lnTo>
                  <a:lnTo>
                    <a:pt x="642" y="708"/>
                  </a:lnTo>
                  <a:lnTo>
                    <a:pt x="636" y="714"/>
                  </a:lnTo>
                  <a:lnTo>
                    <a:pt x="636" y="720"/>
                  </a:lnTo>
                  <a:lnTo>
                    <a:pt x="642" y="726"/>
                  </a:lnTo>
                  <a:lnTo>
                    <a:pt x="636" y="738"/>
                  </a:lnTo>
                  <a:lnTo>
                    <a:pt x="618" y="756"/>
                  </a:lnTo>
                  <a:lnTo>
                    <a:pt x="612" y="750"/>
                  </a:lnTo>
                  <a:lnTo>
                    <a:pt x="612" y="756"/>
                  </a:lnTo>
                  <a:lnTo>
                    <a:pt x="618" y="762"/>
                  </a:lnTo>
                  <a:lnTo>
                    <a:pt x="618" y="768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36" y="786"/>
                  </a:lnTo>
                  <a:lnTo>
                    <a:pt x="642" y="792"/>
                  </a:lnTo>
                  <a:lnTo>
                    <a:pt x="642" y="798"/>
                  </a:lnTo>
                  <a:lnTo>
                    <a:pt x="648" y="804"/>
                  </a:lnTo>
                  <a:lnTo>
                    <a:pt x="654" y="810"/>
                  </a:lnTo>
                  <a:lnTo>
                    <a:pt x="660" y="816"/>
                  </a:lnTo>
                  <a:lnTo>
                    <a:pt x="666" y="816"/>
                  </a:lnTo>
                  <a:lnTo>
                    <a:pt x="666" y="822"/>
                  </a:lnTo>
                  <a:lnTo>
                    <a:pt x="672" y="828"/>
                  </a:lnTo>
                  <a:lnTo>
                    <a:pt x="672" y="840"/>
                  </a:lnTo>
                  <a:lnTo>
                    <a:pt x="672" y="846"/>
                  </a:lnTo>
                  <a:lnTo>
                    <a:pt x="666" y="852"/>
                  </a:lnTo>
                  <a:lnTo>
                    <a:pt x="660" y="864"/>
                  </a:lnTo>
                  <a:lnTo>
                    <a:pt x="654" y="876"/>
                  </a:lnTo>
                  <a:lnTo>
                    <a:pt x="648" y="882"/>
                  </a:lnTo>
                  <a:lnTo>
                    <a:pt x="642" y="888"/>
                  </a:lnTo>
                  <a:lnTo>
                    <a:pt x="642" y="894"/>
                  </a:lnTo>
                  <a:lnTo>
                    <a:pt x="642" y="906"/>
                  </a:lnTo>
                  <a:lnTo>
                    <a:pt x="630" y="918"/>
                  </a:lnTo>
                  <a:lnTo>
                    <a:pt x="630" y="924"/>
                  </a:lnTo>
                  <a:lnTo>
                    <a:pt x="624" y="930"/>
                  </a:lnTo>
                  <a:lnTo>
                    <a:pt x="630" y="936"/>
                  </a:lnTo>
                  <a:lnTo>
                    <a:pt x="630" y="942"/>
                  </a:lnTo>
                  <a:lnTo>
                    <a:pt x="630" y="948"/>
                  </a:lnTo>
                  <a:lnTo>
                    <a:pt x="630" y="954"/>
                  </a:lnTo>
                  <a:lnTo>
                    <a:pt x="630" y="960"/>
                  </a:lnTo>
                  <a:lnTo>
                    <a:pt x="624" y="966"/>
                  </a:lnTo>
                  <a:lnTo>
                    <a:pt x="618" y="990"/>
                  </a:lnTo>
                  <a:lnTo>
                    <a:pt x="618" y="1008"/>
                  </a:lnTo>
                  <a:lnTo>
                    <a:pt x="612" y="1026"/>
                  </a:lnTo>
                  <a:lnTo>
                    <a:pt x="612" y="1038"/>
                  </a:lnTo>
                  <a:lnTo>
                    <a:pt x="612" y="1050"/>
                  </a:lnTo>
                  <a:lnTo>
                    <a:pt x="612" y="1056"/>
                  </a:lnTo>
                  <a:lnTo>
                    <a:pt x="612" y="1062"/>
                  </a:lnTo>
                  <a:lnTo>
                    <a:pt x="612" y="1068"/>
                  </a:lnTo>
                  <a:lnTo>
                    <a:pt x="612" y="1086"/>
                  </a:lnTo>
                  <a:lnTo>
                    <a:pt x="612" y="1092"/>
                  </a:lnTo>
                  <a:lnTo>
                    <a:pt x="606" y="1098"/>
                  </a:lnTo>
                  <a:lnTo>
                    <a:pt x="600" y="1110"/>
                  </a:lnTo>
                  <a:lnTo>
                    <a:pt x="600" y="1116"/>
                  </a:lnTo>
                  <a:lnTo>
                    <a:pt x="594" y="1122"/>
                  </a:lnTo>
                  <a:lnTo>
                    <a:pt x="594" y="1128"/>
                  </a:lnTo>
                  <a:lnTo>
                    <a:pt x="588" y="1134"/>
                  </a:lnTo>
                  <a:lnTo>
                    <a:pt x="582" y="1140"/>
                  </a:lnTo>
                  <a:lnTo>
                    <a:pt x="570" y="1140"/>
                  </a:lnTo>
                  <a:lnTo>
                    <a:pt x="564" y="1146"/>
                  </a:lnTo>
                  <a:lnTo>
                    <a:pt x="570" y="1146"/>
                  </a:lnTo>
                  <a:lnTo>
                    <a:pt x="564" y="1152"/>
                  </a:lnTo>
                  <a:lnTo>
                    <a:pt x="558" y="1158"/>
                  </a:lnTo>
                  <a:lnTo>
                    <a:pt x="552" y="1164"/>
                  </a:lnTo>
                  <a:lnTo>
                    <a:pt x="552" y="1170"/>
                  </a:lnTo>
                  <a:lnTo>
                    <a:pt x="546" y="1176"/>
                  </a:lnTo>
                  <a:lnTo>
                    <a:pt x="546" y="1182"/>
                  </a:lnTo>
                  <a:lnTo>
                    <a:pt x="546" y="1188"/>
                  </a:lnTo>
                  <a:lnTo>
                    <a:pt x="540" y="1188"/>
                  </a:lnTo>
                  <a:lnTo>
                    <a:pt x="540" y="1194"/>
                  </a:lnTo>
                  <a:lnTo>
                    <a:pt x="528" y="1206"/>
                  </a:lnTo>
                  <a:lnTo>
                    <a:pt x="528" y="1212"/>
                  </a:lnTo>
                  <a:lnTo>
                    <a:pt x="534" y="1212"/>
                  </a:lnTo>
                  <a:lnTo>
                    <a:pt x="540" y="1218"/>
                  </a:lnTo>
                  <a:lnTo>
                    <a:pt x="534" y="1218"/>
                  </a:lnTo>
                  <a:lnTo>
                    <a:pt x="528" y="1218"/>
                  </a:lnTo>
                  <a:lnTo>
                    <a:pt x="528" y="1224"/>
                  </a:lnTo>
                  <a:lnTo>
                    <a:pt x="522" y="1230"/>
                  </a:lnTo>
                  <a:lnTo>
                    <a:pt x="516" y="1236"/>
                  </a:lnTo>
                  <a:lnTo>
                    <a:pt x="522" y="1236"/>
                  </a:lnTo>
                  <a:lnTo>
                    <a:pt x="516" y="1242"/>
                  </a:lnTo>
                  <a:lnTo>
                    <a:pt x="510" y="1242"/>
                  </a:lnTo>
                  <a:lnTo>
                    <a:pt x="504" y="1248"/>
                  </a:lnTo>
                  <a:lnTo>
                    <a:pt x="510" y="1260"/>
                  </a:lnTo>
                  <a:lnTo>
                    <a:pt x="504" y="1266"/>
                  </a:lnTo>
                  <a:lnTo>
                    <a:pt x="492" y="1266"/>
                  </a:lnTo>
                  <a:lnTo>
                    <a:pt x="486" y="1272"/>
                  </a:lnTo>
                  <a:lnTo>
                    <a:pt x="486" y="1278"/>
                  </a:lnTo>
                  <a:lnTo>
                    <a:pt x="480" y="1278"/>
                  </a:lnTo>
                  <a:lnTo>
                    <a:pt x="480" y="1284"/>
                  </a:lnTo>
                  <a:lnTo>
                    <a:pt x="480" y="1290"/>
                  </a:lnTo>
                  <a:lnTo>
                    <a:pt x="480" y="1296"/>
                  </a:lnTo>
                  <a:lnTo>
                    <a:pt x="492" y="1302"/>
                  </a:lnTo>
                  <a:lnTo>
                    <a:pt x="492" y="1308"/>
                  </a:lnTo>
                  <a:lnTo>
                    <a:pt x="492" y="1320"/>
                  </a:lnTo>
                  <a:lnTo>
                    <a:pt x="492" y="1332"/>
                  </a:lnTo>
                  <a:lnTo>
                    <a:pt x="498" y="1344"/>
                  </a:lnTo>
                  <a:lnTo>
                    <a:pt x="498" y="1350"/>
                  </a:lnTo>
                  <a:lnTo>
                    <a:pt x="498" y="1356"/>
                  </a:lnTo>
                  <a:lnTo>
                    <a:pt x="504" y="1362"/>
                  </a:lnTo>
                  <a:lnTo>
                    <a:pt x="498" y="1362"/>
                  </a:lnTo>
                  <a:lnTo>
                    <a:pt x="498" y="1368"/>
                  </a:lnTo>
                  <a:lnTo>
                    <a:pt x="492" y="1368"/>
                  </a:lnTo>
                  <a:lnTo>
                    <a:pt x="492" y="1374"/>
                  </a:lnTo>
                  <a:lnTo>
                    <a:pt x="492" y="1380"/>
                  </a:lnTo>
                  <a:lnTo>
                    <a:pt x="498" y="1380"/>
                  </a:lnTo>
                  <a:lnTo>
                    <a:pt x="504" y="1380"/>
                  </a:lnTo>
                  <a:lnTo>
                    <a:pt x="498" y="1386"/>
                  </a:lnTo>
                  <a:lnTo>
                    <a:pt x="498" y="1392"/>
                  </a:lnTo>
                  <a:lnTo>
                    <a:pt x="498" y="1398"/>
                  </a:lnTo>
                  <a:lnTo>
                    <a:pt x="498" y="1404"/>
                  </a:lnTo>
                  <a:lnTo>
                    <a:pt x="498" y="1410"/>
                  </a:lnTo>
                  <a:lnTo>
                    <a:pt x="498" y="1416"/>
                  </a:lnTo>
                  <a:lnTo>
                    <a:pt x="492" y="1416"/>
                  </a:lnTo>
                  <a:lnTo>
                    <a:pt x="498" y="1416"/>
                  </a:lnTo>
                  <a:lnTo>
                    <a:pt x="504" y="1416"/>
                  </a:lnTo>
                  <a:lnTo>
                    <a:pt x="504" y="1422"/>
                  </a:lnTo>
                  <a:lnTo>
                    <a:pt x="510" y="1428"/>
                  </a:lnTo>
                  <a:lnTo>
                    <a:pt x="510" y="1434"/>
                  </a:lnTo>
                  <a:lnTo>
                    <a:pt x="510" y="1440"/>
                  </a:lnTo>
                  <a:lnTo>
                    <a:pt x="516" y="1446"/>
                  </a:lnTo>
                  <a:lnTo>
                    <a:pt x="516" y="1452"/>
                  </a:lnTo>
                  <a:lnTo>
                    <a:pt x="516" y="1458"/>
                  </a:lnTo>
                  <a:lnTo>
                    <a:pt x="516" y="1464"/>
                  </a:lnTo>
                  <a:lnTo>
                    <a:pt x="516" y="1482"/>
                  </a:lnTo>
                  <a:lnTo>
                    <a:pt x="516" y="1488"/>
                  </a:lnTo>
                  <a:lnTo>
                    <a:pt x="522" y="1488"/>
                  </a:lnTo>
                  <a:lnTo>
                    <a:pt x="522" y="1494"/>
                  </a:lnTo>
                  <a:lnTo>
                    <a:pt x="522" y="1500"/>
                  </a:lnTo>
                  <a:lnTo>
                    <a:pt x="516" y="1506"/>
                  </a:lnTo>
                  <a:lnTo>
                    <a:pt x="510" y="1500"/>
                  </a:lnTo>
                  <a:lnTo>
                    <a:pt x="504" y="1500"/>
                  </a:lnTo>
                  <a:lnTo>
                    <a:pt x="504" y="1494"/>
                  </a:lnTo>
                  <a:lnTo>
                    <a:pt x="504" y="1488"/>
                  </a:lnTo>
                  <a:lnTo>
                    <a:pt x="504" y="1482"/>
                  </a:lnTo>
                  <a:lnTo>
                    <a:pt x="504" y="1488"/>
                  </a:lnTo>
                  <a:lnTo>
                    <a:pt x="504" y="1494"/>
                  </a:lnTo>
                  <a:lnTo>
                    <a:pt x="504" y="1500"/>
                  </a:lnTo>
                  <a:lnTo>
                    <a:pt x="498" y="1500"/>
                  </a:lnTo>
                  <a:lnTo>
                    <a:pt x="492" y="1500"/>
                  </a:lnTo>
                  <a:lnTo>
                    <a:pt x="492" y="1494"/>
                  </a:lnTo>
                  <a:lnTo>
                    <a:pt x="492" y="1488"/>
                  </a:lnTo>
                  <a:lnTo>
                    <a:pt x="492" y="1494"/>
                  </a:lnTo>
                  <a:lnTo>
                    <a:pt x="492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00"/>
                  </a:lnTo>
                  <a:lnTo>
                    <a:pt x="510" y="1500"/>
                  </a:lnTo>
                  <a:lnTo>
                    <a:pt x="510" y="1506"/>
                  </a:lnTo>
                  <a:lnTo>
                    <a:pt x="516" y="1506"/>
                  </a:lnTo>
                  <a:lnTo>
                    <a:pt x="510" y="1506"/>
                  </a:lnTo>
                  <a:lnTo>
                    <a:pt x="510" y="1512"/>
                  </a:lnTo>
                  <a:lnTo>
                    <a:pt x="516" y="1506"/>
                  </a:lnTo>
                  <a:lnTo>
                    <a:pt x="522" y="1506"/>
                  </a:lnTo>
                  <a:lnTo>
                    <a:pt x="528" y="1506"/>
                  </a:lnTo>
                  <a:lnTo>
                    <a:pt x="528" y="1500"/>
                  </a:lnTo>
                  <a:lnTo>
                    <a:pt x="534" y="1500"/>
                  </a:lnTo>
                  <a:lnTo>
                    <a:pt x="534" y="1506"/>
                  </a:lnTo>
                  <a:lnTo>
                    <a:pt x="540" y="1512"/>
                  </a:lnTo>
                  <a:lnTo>
                    <a:pt x="540" y="1518"/>
                  </a:lnTo>
                  <a:lnTo>
                    <a:pt x="546" y="1518"/>
                  </a:lnTo>
                  <a:lnTo>
                    <a:pt x="540" y="1518"/>
                  </a:lnTo>
                  <a:lnTo>
                    <a:pt x="540" y="1524"/>
                  </a:lnTo>
                  <a:lnTo>
                    <a:pt x="534" y="1524"/>
                  </a:lnTo>
                  <a:lnTo>
                    <a:pt x="540" y="1524"/>
                  </a:lnTo>
                  <a:lnTo>
                    <a:pt x="546" y="1524"/>
                  </a:lnTo>
                  <a:lnTo>
                    <a:pt x="546" y="1530"/>
                  </a:lnTo>
                  <a:lnTo>
                    <a:pt x="540" y="1530"/>
                  </a:lnTo>
                  <a:lnTo>
                    <a:pt x="540" y="1536"/>
                  </a:lnTo>
                  <a:lnTo>
                    <a:pt x="534" y="1542"/>
                  </a:lnTo>
                  <a:lnTo>
                    <a:pt x="528" y="1542"/>
                  </a:lnTo>
                  <a:lnTo>
                    <a:pt x="522" y="1542"/>
                  </a:lnTo>
                  <a:lnTo>
                    <a:pt x="516" y="1542"/>
                  </a:lnTo>
                  <a:lnTo>
                    <a:pt x="510" y="1542"/>
                  </a:lnTo>
                  <a:lnTo>
                    <a:pt x="504" y="1542"/>
                  </a:lnTo>
                  <a:lnTo>
                    <a:pt x="492" y="1542"/>
                  </a:lnTo>
                  <a:lnTo>
                    <a:pt x="486" y="1536"/>
                  </a:lnTo>
                  <a:lnTo>
                    <a:pt x="480" y="1536"/>
                  </a:lnTo>
                  <a:lnTo>
                    <a:pt x="468" y="1536"/>
                  </a:lnTo>
                  <a:lnTo>
                    <a:pt x="468" y="1542"/>
                  </a:lnTo>
                  <a:lnTo>
                    <a:pt x="462" y="1542"/>
                  </a:lnTo>
                  <a:lnTo>
                    <a:pt x="456" y="1542"/>
                  </a:lnTo>
                  <a:lnTo>
                    <a:pt x="450" y="1542"/>
                  </a:lnTo>
                  <a:lnTo>
                    <a:pt x="444" y="1542"/>
                  </a:lnTo>
                  <a:lnTo>
                    <a:pt x="444" y="1536"/>
                  </a:lnTo>
                  <a:lnTo>
                    <a:pt x="450" y="1536"/>
                  </a:lnTo>
                  <a:lnTo>
                    <a:pt x="456" y="1536"/>
                  </a:lnTo>
                  <a:lnTo>
                    <a:pt x="450" y="1536"/>
                  </a:lnTo>
                  <a:lnTo>
                    <a:pt x="444" y="1536"/>
                  </a:lnTo>
                  <a:lnTo>
                    <a:pt x="444" y="1530"/>
                  </a:lnTo>
                  <a:lnTo>
                    <a:pt x="450" y="1530"/>
                  </a:lnTo>
                  <a:lnTo>
                    <a:pt x="456" y="1524"/>
                  </a:lnTo>
                  <a:lnTo>
                    <a:pt x="456" y="1518"/>
                  </a:lnTo>
                  <a:lnTo>
                    <a:pt x="462" y="1518"/>
                  </a:lnTo>
                  <a:lnTo>
                    <a:pt x="462" y="1524"/>
                  </a:lnTo>
                  <a:lnTo>
                    <a:pt x="468" y="1524"/>
                  </a:lnTo>
                  <a:lnTo>
                    <a:pt x="474" y="1524"/>
                  </a:lnTo>
                  <a:lnTo>
                    <a:pt x="474" y="1518"/>
                  </a:lnTo>
                  <a:lnTo>
                    <a:pt x="480" y="1518"/>
                  </a:lnTo>
                  <a:lnTo>
                    <a:pt x="474" y="1518"/>
                  </a:lnTo>
                  <a:lnTo>
                    <a:pt x="474" y="1524"/>
                  </a:lnTo>
                  <a:lnTo>
                    <a:pt x="468" y="1524"/>
                  </a:lnTo>
                  <a:lnTo>
                    <a:pt x="462" y="1518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62" y="1512"/>
                  </a:lnTo>
                  <a:lnTo>
                    <a:pt x="462" y="1506"/>
                  </a:lnTo>
                  <a:lnTo>
                    <a:pt x="456" y="1506"/>
                  </a:lnTo>
                  <a:lnTo>
                    <a:pt x="456" y="1512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50" y="1518"/>
                  </a:lnTo>
                  <a:lnTo>
                    <a:pt x="444" y="1518"/>
                  </a:lnTo>
                  <a:lnTo>
                    <a:pt x="444" y="1524"/>
                  </a:lnTo>
                  <a:lnTo>
                    <a:pt x="438" y="1524"/>
                  </a:lnTo>
                  <a:lnTo>
                    <a:pt x="438" y="1530"/>
                  </a:lnTo>
                  <a:lnTo>
                    <a:pt x="432" y="1530"/>
                  </a:lnTo>
                  <a:lnTo>
                    <a:pt x="432" y="1536"/>
                  </a:lnTo>
                  <a:lnTo>
                    <a:pt x="426" y="1530"/>
                  </a:lnTo>
                  <a:lnTo>
                    <a:pt x="420" y="1530"/>
                  </a:lnTo>
                  <a:lnTo>
                    <a:pt x="414" y="1530"/>
                  </a:lnTo>
                  <a:lnTo>
                    <a:pt x="414" y="1524"/>
                  </a:lnTo>
                  <a:lnTo>
                    <a:pt x="408" y="1518"/>
                  </a:lnTo>
                  <a:lnTo>
                    <a:pt x="414" y="1512"/>
                  </a:lnTo>
                  <a:lnTo>
                    <a:pt x="408" y="1512"/>
                  </a:lnTo>
                  <a:lnTo>
                    <a:pt x="408" y="1506"/>
                  </a:lnTo>
                  <a:lnTo>
                    <a:pt x="408" y="1500"/>
                  </a:lnTo>
                  <a:lnTo>
                    <a:pt x="408" y="1494"/>
                  </a:lnTo>
                  <a:lnTo>
                    <a:pt x="408" y="1488"/>
                  </a:lnTo>
                  <a:lnTo>
                    <a:pt x="408" y="1494"/>
                  </a:lnTo>
                  <a:lnTo>
                    <a:pt x="414" y="1494"/>
                  </a:lnTo>
                  <a:lnTo>
                    <a:pt x="420" y="1494"/>
                  </a:lnTo>
                  <a:lnTo>
                    <a:pt x="420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82"/>
                  </a:lnTo>
                  <a:lnTo>
                    <a:pt x="426" y="1476"/>
                  </a:lnTo>
                  <a:lnTo>
                    <a:pt x="432" y="1476"/>
                  </a:lnTo>
                  <a:lnTo>
                    <a:pt x="432" y="1470"/>
                  </a:lnTo>
                  <a:lnTo>
                    <a:pt x="438" y="1470"/>
                  </a:lnTo>
                  <a:lnTo>
                    <a:pt x="444" y="1464"/>
                  </a:lnTo>
                  <a:lnTo>
                    <a:pt x="450" y="1458"/>
                  </a:lnTo>
                  <a:lnTo>
                    <a:pt x="456" y="1458"/>
                  </a:lnTo>
                  <a:lnTo>
                    <a:pt x="462" y="1452"/>
                  </a:lnTo>
                  <a:lnTo>
                    <a:pt x="468" y="1452"/>
                  </a:lnTo>
                  <a:lnTo>
                    <a:pt x="468" y="1446"/>
                  </a:lnTo>
                  <a:lnTo>
                    <a:pt x="462" y="1440"/>
                  </a:lnTo>
                  <a:lnTo>
                    <a:pt x="456" y="1434"/>
                  </a:lnTo>
                  <a:lnTo>
                    <a:pt x="456" y="1428"/>
                  </a:lnTo>
                  <a:lnTo>
                    <a:pt x="456" y="1422"/>
                  </a:lnTo>
                  <a:lnTo>
                    <a:pt x="456" y="1416"/>
                  </a:lnTo>
                  <a:lnTo>
                    <a:pt x="450" y="1410"/>
                  </a:lnTo>
                  <a:lnTo>
                    <a:pt x="444" y="1410"/>
                  </a:lnTo>
                  <a:lnTo>
                    <a:pt x="450" y="1410"/>
                  </a:lnTo>
                  <a:lnTo>
                    <a:pt x="450" y="1404"/>
                  </a:lnTo>
                  <a:lnTo>
                    <a:pt x="456" y="1404"/>
                  </a:lnTo>
                  <a:lnTo>
                    <a:pt x="462" y="1404"/>
                  </a:lnTo>
                  <a:lnTo>
                    <a:pt x="468" y="1398"/>
                  </a:lnTo>
                  <a:lnTo>
                    <a:pt x="462" y="1398"/>
                  </a:lnTo>
                  <a:lnTo>
                    <a:pt x="462" y="1392"/>
                  </a:lnTo>
                  <a:lnTo>
                    <a:pt x="456" y="1392"/>
                  </a:lnTo>
                  <a:lnTo>
                    <a:pt x="456" y="1386"/>
                  </a:lnTo>
                  <a:lnTo>
                    <a:pt x="462" y="1386"/>
                  </a:lnTo>
                  <a:lnTo>
                    <a:pt x="468" y="1386"/>
                  </a:lnTo>
                  <a:lnTo>
                    <a:pt x="474" y="1386"/>
                  </a:lnTo>
                  <a:lnTo>
                    <a:pt x="468" y="1386"/>
                  </a:lnTo>
                  <a:lnTo>
                    <a:pt x="462" y="1386"/>
                  </a:lnTo>
                  <a:lnTo>
                    <a:pt x="456" y="1380"/>
                  </a:lnTo>
                  <a:lnTo>
                    <a:pt x="456" y="1374"/>
                  </a:lnTo>
                  <a:lnTo>
                    <a:pt x="462" y="1374"/>
                  </a:lnTo>
                  <a:lnTo>
                    <a:pt x="462" y="1368"/>
                  </a:lnTo>
                  <a:lnTo>
                    <a:pt x="456" y="1374"/>
                  </a:lnTo>
                  <a:lnTo>
                    <a:pt x="456" y="1368"/>
                  </a:lnTo>
                  <a:lnTo>
                    <a:pt x="456" y="1362"/>
                  </a:lnTo>
                  <a:lnTo>
                    <a:pt x="450" y="1362"/>
                  </a:lnTo>
                  <a:lnTo>
                    <a:pt x="450" y="1356"/>
                  </a:lnTo>
                  <a:lnTo>
                    <a:pt x="450" y="1350"/>
                  </a:lnTo>
                  <a:lnTo>
                    <a:pt x="450" y="1344"/>
                  </a:lnTo>
                  <a:lnTo>
                    <a:pt x="456" y="1344"/>
                  </a:lnTo>
                  <a:lnTo>
                    <a:pt x="456" y="1338"/>
                  </a:lnTo>
                  <a:lnTo>
                    <a:pt x="462" y="1338"/>
                  </a:lnTo>
                  <a:lnTo>
                    <a:pt x="462" y="1332"/>
                  </a:lnTo>
                  <a:lnTo>
                    <a:pt x="456" y="1332"/>
                  </a:lnTo>
                  <a:lnTo>
                    <a:pt x="456" y="1326"/>
                  </a:lnTo>
                  <a:lnTo>
                    <a:pt x="450" y="1326"/>
                  </a:lnTo>
                  <a:lnTo>
                    <a:pt x="444" y="1326"/>
                  </a:lnTo>
                  <a:lnTo>
                    <a:pt x="444" y="1332"/>
                  </a:lnTo>
                  <a:lnTo>
                    <a:pt x="438" y="1332"/>
                  </a:lnTo>
                  <a:lnTo>
                    <a:pt x="438" y="1338"/>
                  </a:lnTo>
                  <a:lnTo>
                    <a:pt x="432" y="1338"/>
                  </a:lnTo>
                  <a:lnTo>
                    <a:pt x="432" y="1344"/>
                  </a:lnTo>
                  <a:lnTo>
                    <a:pt x="432" y="1350"/>
                  </a:lnTo>
                  <a:lnTo>
                    <a:pt x="426" y="1356"/>
                  </a:lnTo>
                  <a:lnTo>
                    <a:pt x="426" y="1368"/>
                  </a:lnTo>
                  <a:lnTo>
                    <a:pt x="426" y="1374"/>
                  </a:lnTo>
                  <a:lnTo>
                    <a:pt x="426" y="1380"/>
                  </a:lnTo>
                  <a:lnTo>
                    <a:pt x="432" y="1386"/>
                  </a:lnTo>
                  <a:lnTo>
                    <a:pt x="432" y="1392"/>
                  </a:lnTo>
                  <a:lnTo>
                    <a:pt x="432" y="1398"/>
                  </a:lnTo>
                  <a:lnTo>
                    <a:pt x="426" y="1398"/>
                  </a:lnTo>
                  <a:lnTo>
                    <a:pt x="420" y="1398"/>
                  </a:lnTo>
                  <a:lnTo>
                    <a:pt x="414" y="1398"/>
                  </a:lnTo>
                  <a:lnTo>
                    <a:pt x="420" y="1398"/>
                  </a:lnTo>
                  <a:lnTo>
                    <a:pt x="414" y="1404"/>
                  </a:lnTo>
                  <a:lnTo>
                    <a:pt x="420" y="1404"/>
                  </a:lnTo>
                  <a:lnTo>
                    <a:pt x="414" y="1404"/>
                  </a:lnTo>
                  <a:lnTo>
                    <a:pt x="408" y="1404"/>
                  </a:lnTo>
                  <a:lnTo>
                    <a:pt x="402" y="1410"/>
                  </a:lnTo>
                  <a:lnTo>
                    <a:pt x="402" y="1404"/>
                  </a:lnTo>
                  <a:lnTo>
                    <a:pt x="396" y="1404"/>
                  </a:lnTo>
                  <a:lnTo>
                    <a:pt x="390" y="1404"/>
                  </a:lnTo>
                  <a:lnTo>
                    <a:pt x="384" y="1404"/>
                  </a:lnTo>
                  <a:lnTo>
                    <a:pt x="384" y="1398"/>
                  </a:lnTo>
                  <a:lnTo>
                    <a:pt x="384" y="1392"/>
                  </a:lnTo>
                  <a:lnTo>
                    <a:pt x="390" y="1392"/>
                  </a:lnTo>
                  <a:lnTo>
                    <a:pt x="390" y="1386"/>
                  </a:lnTo>
                  <a:lnTo>
                    <a:pt x="390" y="1380"/>
                  </a:lnTo>
                  <a:lnTo>
                    <a:pt x="396" y="1380"/>
                  </a:lnTo>
                  <a:lnTo>
                    <a:pt x="402" y="1380"/>
                  </a:lnTo>
                  <a:lnTo>
                    <a:pt x="408" y="1380"/>
                  </a:lnTo>
                  <a:lnTo>
                    <a:pt x="408" y="1374"/>
                  </a:lnTo>
                  <a:lnTo>
                    <a:pt x="414" y="1374"/>
                  </a:lnTo>
                  <a:lnTo>
                    <a:pt x="414" y="1368"/>
                  </a:lnTo>
                  <a:lnTo>
                    <a:pt x="414" y="1362"/>
                  </a:lnTo>
                  <a:lnTo>
                    <a:pt x="414" y="1368"/>
                  </a:lnTo>
                  <a:lnTo>
                    <a:pt x="414" y="1374"/>
                  </a:lnTo>
                  <a:lnTo>
                    <a:pt x="408" y="1374"/>
                  </a:lnTo>
                  <a:lnTo>
                    <a:pt x="402" y="1380"/>
                  </a:lnTo>
                  <a:lnTo>
                    <a:pt x="396" y="1380"/>
                  </a:lnTo>
                  <a:lnTo>
                    <a:pt x="396" y="1374"/>
                  </a:lnTo>
                  <a:lnTo>
                    <a:pt x="390" y="1374"/>
                  </a:lnTo>
                  <a:lnTo>
                    <a:pt x="390" y="1368"/>
                  </a:lnTo>
                  <a:lnTo>
                    <a:pt x="384" y="1368"/>
                  </a:lnTo>
                  <a:lnTo>
                    <a:pt x="384" y="1374"/>
                  </a:lnTo>
                  <a:lnTo>
                    <a:pt x="378" y="1374"/>
                  </a:lnTo>
                  <a:lnTo>
                    <a:pt x="378" y="1380"/>
                  </a:lnTo>
                  <a:lnTo>
                    <a:pt x="372" y="1380"/>
                  </a:lnTo>
                  <a:lnTo>
                    <a:pt x="366" y="1386"/>
                  </a:lnTo>
                  <a:lnTo>
                    <a:pt x="360" y="1386"/>
                  </a:lnTo>
                  <a:lnTo>
                    <a:pt x="354" y="1386"/>
                  </a:lnTo>
                  <a:lnTo>
                    <a:pt x="354" y="1380"/>
                  </a:lnTo>
                  <a:lnTo>
                    <a:pt x="348" y="1380"/>
                  </a:lnTo>
                  <a:lnTo>
                    <a:pt x="342" y="1380"/>
                  </a:lnTo>
                  <a:lnTo>
                    <a:pt x="342" y="1374"/>
                  </a:lnTo>
                  <a:lnTo>
                    <a:pt x="336" y="1368"/>
                  </a:lnTo>
                  <a:lnTo>
                    <a:pt x="342" y="1368"/>
                  </a:lnTo>
                  <a:lnTo>
                    <a:pt x="342" y="1362"/>
                  </a:lnTo>
                  <a:lnTo>
                    <a:pt x="348" y="1362"/>
                  </a:lnTo>
                  <a:lnTo>
                    <a:pt x="354" y="1362"/>
                  </a:lnTo>
                  <a:lnTo>
                    <a:pt x="354" y="1356"/>
                  </a:lnTo>
                  <a:lnTo>
                    <a:pt x="348" y="1356"/>
                  </a:lnTo>
                  <a:lnTo>
                    <a:pt x="348" y="1350"/>
                  </a:lnTo>
                  <a:lnTo>
                    <a:pt x="348" y="1344"/>
                  </a:lnTo>
                  <a:lnTo>
                    <a:pt x="354" y="1338"/>
                  </a:lnTo>
                  <a:lnTo>
                    <a:pt x="354" y="1332"/>
                  </a:lnTo>
                  <a:lnTo>
                    <a:pt x="354" y="1326"/>
                  </a:lnTo>
                  <a:lnTo>
                    <a:pt x="354" y="1320"/>
                  </a:lnTo>
                  <a:lnTo>
                    <a:pt x="354" y="1314"/>
                  </a:lnTo>
                  <a:lnTo>
                    <a:pt x="354" y="1308"/>
                  </a:lnTo>
                  <a:lnTo>
                    <a:pt x="348" y="1308"/>
                  </a:lnTo>
                  <a:lnTo>
                    <a:pt x="348" y="1302"/>
                  </a:lnTo>
                  <a:lnTo>
                    <a:pt x="342" y="1296"/>
                  </a:lnTo>
                  <a:lnTo>
                    <a:pt x="336" y="1296"/>
                  </a:lnTo>
                  <a:lnTo>
                    <a:pt x="336" y="1290"/>
                  </a:lnTo>
                  <a:lnTo>
                    <a:pt x="330" y="1290"/>
                  </a:lnTo>
                  <a:lnTo>
                    <a:pt x="324" y="1290"/>
                  </a:lnTo>
                  <a:lnTo>
                    <a:pt x="324" y="1284"/>
                  </a:lnTo>
                  <a:lnTo>
                    <a:pt x="318" y="1284"/>
                  </a:lnTo>
                  <a:lnTo>
                    <a:pt x="318" y="1278"/>
                  </a:lnTo>
                  <a:lnTo>
                    <a:pt x="312" y="1278"/>
                  </a:lnTo>
                  <a:lnTo>
                    <a:pt x="312" y="1272"/>
                  </a:lnTo>
                  <a:lnTo>
                    <a:pt x="312" y="1278"/>
                  </a:lnTo>
                  <a:lnTo>
                    <a:pt x="318" y="1284"/>
                  </a:lnTo>
                  <a:lnTo>
                    <a:pt x="324" y="1290"/>
                  </a:lnTo>
                  <a:lnTo>
                    <a:pt x="330" y="1290"/>
                  </a:lnTo>
                  <a:lnTo>
                    <a:pt x="330" y="1296"/>
                  </a:lnTo>
                  <a:lnTo>
                    <a:pt x="336" y="1296"/>
                  </a:lnTo>
                  <a:lnTo>
                    <a:pt x="336" y="1302"/>
                  </a:lnTo>
                  <a:lnTo>
                    <a:pt x="342" y="1302"/>
                  </a:lnTo>
                  <a:lnTo>
                    <a:pt x="348" y="1302"/>
                  </a:lnTo>
                  <a:lnTo>
                    <a:pt x="348" y="1308"/>
                  </a:lnTo>
                  <a:lnTo>
                    <a:pt x="348" y="1314"/>
                  </a:lnTo>
                  <a:lnTo>
                    <a:pt x="354" y="1314"/>
                  </a:lnTo>
                  <a:lnTo>
                    <a:pt x="354" y="1320"/>
                  </a:lnTo>
                  <a:lnTo>
                    <a:pt x="354" y="1326"/>
                  </a:lnTo>
                  <a:lnTo>
                    <a:pt x="348" y="1326"/>
                  </a:lnTo>
                  <a:lnTo>
                    <a:pt x="348" y="1332"/>
                  </a:lnTo>
                  <a:lnTo>
                    <a:pt x="348" y="1338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2" y="1350"/>
                  </a:lnTo>
                  <a:lnTo>
                    <a:pt x="336" y="1350"/>
                  </a:lnTo>
                  <a:lnTo>
                    <a:pt x="330" y="1350"/>
                  </a:lnTo>
                  <a:lnTo>
                    <a:pt x="330" y="1356"/>
                  </a:lnTo>
                  <a:lnTo>
                    <a:pt x="330" y="1350"/>
                  </a:lnTo>
                  <a:lnTo>
                    <a:pt x="324" y="1350"/>
                  </a:lnTo>
                  <a:lnTo>
                    <a:pt x="318" y="1344"/>
                  </a:lnTo>
                  <a:lnTo>
                    <a:pt x="318" y="1350"/>
                  </a:lnTo>
                  <a:lnTo>
                    <a:pt x="312" y="1344"/>
                  </a:lnTo>
                  <a:lnTo>
                    <a:pt x="312" y="1338"/>
                  </a:lnTo>
                  <a:lnTo>
                    <a:pt x="306" y="1338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6" y="1326"/>
                  </a:lnTo>
                  <a:lnTo>
                    <a:pt x="306" y="1320"/>
                  </a:lnTo>
                  <a:lnTo>
                    <a:pt x="306" y="1326"/>
                  </a:lnTo>
                  <a:lnTo>
                    <a:pt x="312" y="1326"/>
                  </a:lnTo>
                  <a:lnTo>
                    <a:pt x="312" y="1320"/>
                  </a:lnTo>
                  <a:lnTo>
                    <a:pt x="306" y="1320"/>
                  </a:lnTo>
                  <a:lnTo>
                    <a:pt x="300" y="1320"/>
                  </a:lnTo>
                  <a:lnTo>
                    <a:pt x="294" y="1320"/>
                  </a:lnTo>
                  <a:lnTo>
                    <a:pt x="294" y="1314"/>
                  </a:lnTo>
                  <a:lnTo>
                    <a:pt x="288" y="1314"/>
                  </a:lnTo>
                  <a:lnTo>
                    <a:pt x="288" y="1308"/>
                  </a:lnTo>
                  <a:lnTo>
                    <a:pt x="288" y="1302"/>
                  </a:lnTo>
                  <a:lnTo>
                    <a:pt x="294" y="1302"/>
                  </a:lnTo>
                  <a:lnTo>
                    <a:pt x="294" y="1296"/>
                  </a:lnTo>
                  <a:lnTo>
                    <a:pt x="288" y="1296"/>
                  </a:lnTo>
                  <a:lnTo>
                    <a:pt x="288" y="1290"/>
                  </a:lnTo>
                  <a:lnTo>
                    <a:pt x="288" y="1296"/>
                  </a:lnTo>
                  <a:lnTo>
                    <a:pt x="294" y="1302"/>
                  </a:lnTo>
                  <a:lnTo>
                    <a:pt x="288" y="1302"/>
                  </a:lnTo>
                  <a:lnTo>
                    <a:pt x="282" y="1296"/>
                  </a:lnTo>
                  <a:lnTo>
                    <a:pt x="276" y="1296"/>
                  </a:lnTo>
                  <a:lnTo>
                    <a:pt x="276" y="1290"/>
                  </a:lnTo>
                  <a:lnTo>
                    <a:pt x="270" y="1290"/>
                  </a:lnTo>
                  <a:lnTo>
                    <a:pt x="264" y="1284"/>
                  </a:lnTo>
                  <a:lnTo>
                    <a:pt x="264" y="1278"/>
                  </a:lnTo>
                  <a:lnTo>
                    <a:pt x="264" y="1272"/>
                  </a:lnTo>
                  <a:lnTo>
                    <a:pt x="264" y="1266"/>
                  </a:lnTo>
                  <a:lnTo>
                    <a:pt x="258" y="1266"/>
                  </a:lnTo>
                  <a:lnTo>
                    <a:pt x="252" y="1266"/>
                  </a:lnTo>
                  <a:lnTo>
                    <a:pt x="246" y="1260"/>
                  </a:lnTo>
                  <a:lnTo>
                    <a:pt x="240" y="1254"/>
                  </a:lnTo>
                  <a:lnTo>
                    <a:pt x="240" y="1260"/>
                  </a:lnTo>
                  <a:lnTo>
                    <a:pt x="240" y="1266"/>
                  </a:lnTo>
                  <a:lnTo>
                    <a:pt x="240" y="1272"/>
                  </a:lnTo>
                  <a:lnTo>
                    <a:pt x="246" y="1272"/>
                  </a:lnTo>
                  <a:lnTo>
                    <a:pt x="246" y="1278"/>
                  </a:lnTo>
                  <a:lnTo>
                    <a:pt x="246" y="1284"/>
                  </a:lnTo>
                  <a:lnTo>
                    <a:pt x="252" y="1284"/>
                  </a:lnTo>
                  <a:lnTo>
                    <a:pt x="252" y="1290"/>
                  </a:lnTo>
                  <a:lnTo>
                    <a:pt x="258" y="1296"/>
                  </a:lnTo>
                  <a:lnTo>
                    <a:pt x="264" y="1302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58" y="1314"/>
                  </a:lnTo>
                  <a:lnTo>
                    <a:pt x="258" y="1308"/>
                  </a:lnTo>
                  <a:lnTo>
                    <a:pt x="252" y="1308"/>
                  </a:lnTo>
                  <a:lnTo>
                    <a:pt x="252" y="1302"/>
                  </a:lnTo>
                  <a:lnTo>
                    <a:pt x="246" y="1302"/>
                  </a:lnTo>
                  <a:lnTo>
                    <a:pt x="246" y="1296"/>
                  </a:lnTo>
                  <a:lnTo>
                    <a:pt x="240" y="1296"/>
                  </a:lnTo>
                  <a:lnTo>
                    <a:pt x="240" y="1290"/>
                  </a:lnTo>
                  <a:lnTo>
                    <a:pt x="234" y="1284"/>
                  </a:lnTo>
                  <a:lnTo>
                    <a:pt x="234" y="1278"/>
                  </a:lnTo>
                  <a:close/>
                  <a:moveTo>
                    <a:pt x="444" y="1332"/>
                  </a:moveTo>
                  <a:lnTo>
                    <a:pt x="450" y="1326"/>
                  </a:lnTo>
                  <a:lnTo>
                    <a:pt x="456" y="1326"/>
                  </a:lnTo>
                  <a:lnTo>
                    <a:pt x="456" y="1332"/>
                  </a:lnTo>
                  <a:lnTo>
                    <a:pt x="456" y="1338"/>
                  </a:lnTo>
                  <a:lnTo>
                    <a:pt x="450" y="1338"/>
                  </a:lnTo>
                  <a:lnTo>
                    <a:pt x="444" y="1338"/>
                  </a:lnTo>
                  <a:lnTo>
                    <a:pt x="444" y="1332"/>
                  </a:lnTo>
                  <a:close/>
                  <a:moveTo>
                    <a:pt x="444" y="1368"/>
                  </a:moveTo>
                  <a:lnTo>
                    <a:pt x="456" y="1368"/>
                  </a:lnTo>
                  <a:lnTo>
                    <a:pt x="456" y="1374"/>
                  </a:lnTo>
                  <a:lnTo>
                    <a:pt x="444" y="1374"/>
                  </a:lnTo>
                  <a:lnTo>
                    <a:pt x="444" y="1368"/>
                  </a:lnTo>
                  <a:close/>
                  <a:moveTo>
                    <a:pt x="444" y="1386"/>
                  </a:moveTo>
                  <a:lnTo>
                    <a:pt x="444" y="1380"/>
                  </a:lnTo>
                  <a:lnTo>
                    <a:pt x="444" y="1374"/>
                  </a:lnTo>
                  <a:lnTo>
                    <a:pt x="444" y="1380"/>
                  </a:lnTo>
                  <a:lnTo>
                    <a:pt x="450" y="1380"/>
                  </a:lnTo>
                  <a:lnTo>
                    <a:pt x="456" y="1380"/>
                  </a:lnTo>
                  <a:lnTo>
                    <a:pt x="456" y="1386"/>
                  </a:lnTo>
                  <a:lnTo>
                    <a:pt x="456" y="1392"/>
                  </a:lnTo>
                  <a:lnTo>
                    <a:pt x="462" y="1392"/>
                  </a:lnTo>
                  <a:lnTo>
                    <a:pt x="462" y="1398"/>
                  </a:lnTo>
                  <a:lnTo>
                    <a:pt x="462" y="1404"/>
                  </a:lnTo>
                  <a:lnTo>
                    <a:pt x="456" y="1404"/>
                  </a:lnTo>
                  <a:lnTo>
                    <a:pt x="450" y="1404"/>
                  </a:lnTo>
                  <a:lnTo>
                    <a:pt x="450" y="1398"/>
                  </a:lnTo>
                  <a:lnTo>
                    <a:pt x="444" y="1398"/>
                  </a:lnTo>
                  <a:lnTo>
                    <a:pt x="444" y="1392"/>
                  </a:lnTo>
                  <a:lnTo>
                    <a:pt x="444" y="1386"/>
                  </a:lnTo>
                  <a:close/>
                  <a:moveTo>
                    <a:pt x="438" y="1362"/>
                  </a:moveTo>
                  <a:lnTo>
                    <a:pt x="444" y="1356"/>
                  </a:lnTo>
                  <a:lnTo>
                    <a:pt x="450" y="1356"/>
                  </a:lnTo>
                  <a:lnTo>
                    <a:pt x="450" y="1362"/>
                  </a:lnTo>
                  <a:lnTo>
                    <a:pt x="450" y="1368"/>
                  </a:lnTo>
                  <a:lnTo>
                    <a:pt x="444" y="1368"/>
                  </a:lnTo>
                  <a:lnTo>
                    <a:pt x="444" y="1362"/>
                  </a:lnTo>
                  <a:lnTo>
                    <a:pt x="438" y="1362"/>
                  </a:lnTo>
                  <a:close/>
                  <a:moveTo>
                    <a:pt x="438" y="1350"/>
                  </a:moveTo>
                  <a:lnTo>
                    <a:pt x="438" y="1344"/>
                  </a:lnTo>
                  <a:lnTo>
                    <a:pt x="438" y="1338"/>
                  </a:lnTo>
                  <a:lnTo>
                    <a:pt x="444" y="1338"/>
                  </a:lnTo>
                  <a:lnTo>
                    <a:pt x="450" y="1338"/>
                  </a:lnTo>
                  <a:lnTo>
                    <a:pt x="456" y="1338"/>
                  </a:lnTo>
                  <a:lnTo>
                    <a:pt x="450" y="1344"/>
                  </a:lnTo>
                  <a:lnTo>
                    <a:pt x="444" y="1350"/>
                  </a:lnTo>
                  <a:lnTo>
                    <a:pt x="438" y="1350"/>
                  </a:lnTo>
                  <a:close/>
                  <a:moveTo>
                    <a:pt x="432" y="1380"/>
                  </a:moveTo>
                  <a:lnTo>
                    <a:pt x="432" y="1368"/>
                  </a:lnTo>
                  <a:lnTo>
                    <a:pt x="432" y="1362"/>
                  </a:lnTo>
                  <a:lnTo>
                    <a:pt x="432" y="1356"/>
                  </a:lnTo>
                  <a:lnTo>
                    <a:pt x="438" y="1356"/>
                  </a:lnTo>
                  <a:lnTo>
                    <a:pt x="438" y="1362"/>
                  </a:lnTo>
                  <a:lnTo>
                    <a:pt x="438" y="1368"/>
                  </a:lnTo>
                  <a:lnTo>
                    <a:pt x="438" y="1374"/>
                  </a:lnTo>
                  <a:lnTo>
                    <a:pt x="438" y="1380"/>
                  </a:lnTo>
                  <a:lnTo>
                    <a:pt x="438" y="1386"/>
                  </a:lnTo>
                  <a:lnTo>
                    <a:pt x="438" y="1380"/>
                  </a:lnTo>
                  <a:lnTo>
                    <a:pt x="432" y="1380"/>
                  </a:lnTo>
                  <a:close/>
                  <a:moveTo>
                    <a:pt x="246" y="1272"/>
                  </a:moveTo>
                  <a:lnTo>
                    <a:pt x="252" y="1272"/>
                  </a:lnTo>
                  <a:lnTo>
                    <a:pt x="252" y="1278"/>
                  </a:lnTo>
                  <a:lnTo>
                    <a:pt x="246" y="1278"/>
                  </a:lnTo>
                  <a:lnTo>
                    <a:pt x="246" y="1272"/>
                  </a:lnTo>
                  <a:close/>
                  <a:moveTo>
                    <a:pt x="426" y="1416"/>
                  </a:moveTo>
                  <a:lnTo>
                    <a:pt x="432" y="1410"/>
                  </a:lnTo>
                  <a:lnTo>
                    <a:pt x="438" y="1410"/>
                  </a:lnTo>
                  <a:lnTo>
                    <a:pt x="438" y="1416"/>
                  </a:lnTo>
                  <a:lnTo>
                    <a:pt x="438" y="1422"/>
                  </a:lnTo>
                  <a:lnTo>
                    <a:pt x="432" y="1422"/>
                  </a:lnTo>
                  <a:lnTo>
                    <a:pt x="426" y="1422"/>
                  </a:lnTo>
                  <a:lnTo>
                    <a:pt x="426" y="1416"/>
                  </a:lnTo>
                  <a:close/>
                  <a:moveTo>
                    <a:pt x="246" y="1266"/>
                  </a:moveTo>
                  <a:lnTo>
                    <a:pt x="252" y="1266"/>
                  </a:lnTo>
                  <a:lnTo>
                    <a:pt x="258" y="1272"/>
                  </a:lnTo>
                  <a:lnTo>
                    <a:pt x="258" y="1278"/>
                  </a:lnTo>
                  <a:lnTo>
                    <a:pt x="258" y="1284"/>
                  </a:lnTo>
                  <a:lnTo>
                    <a:pt x="252" y="1284"/>
                  </a:lnTo>
                  <a:lnTo>
                    <a:pt x="252" y="1278"/>
                  </a:lnTo>
                  <a:lnTo>
                    <a:pt x="252" y="1272"/>
                  </a:lnTo>
                  <a:lnTo>
                    <a:pt x="252" y="1266"/>
                  </a:lnTo>
                  <a:lnTo>
                    <a:pt x="246" y="1266"/>
                  </a:lnTo>
                  <a:close/>
                  <a:moveTo>
                    <a:pt x="408" y="1458"/>
                  </a:moveTo>
                  <a:lnTo>
                    <a:pt x="408" y="1452"/>
                  </a:lnTo>
                  <a:lnTo>
                    <a:pt x="414" y="1452"/>
                  </a:lnTo>
                  <a:lnTo>
                    <a:pt x="414" y="1446"/>
                  </a:lnTo>
                  <a:lnTo>
                    <a:pt x="414" y="1440"/>
                  </a:lnTo>
                  <a:lnTo>
                    <a:pt x="420" y="1440"/>
                  </a:lnTo>
                  <a:lnTo>
                    <a:pt x="420" y="1434"/>
                  </a:lnTo>
                  <a:lnTo>
                    <a:pt x="420" y="1428"/>
                  </a:lnTo>
                  <a:lnTo>
                    <a:pt x="420" y="1422"/>
                  </a:lnTo>
                  <a:lnTo>
                    <a:pt x="426" y="1422"/>
                  </a:lnTo>
                  <a:lnTo>
                    <a:pt x="432" y="1428"/>
                  </a:lnTo>
                  <a:lnTo>
                    <a:pt x="438" y="1428"/>
                  </a:lnTo>
                  <a:lnTo>
                    <a:pt x="438" y="1434"/>
                  </a:lnTo>
                  <a:lnTo>
                    <a:pt x="438" y="1428"/>
                  </a:lnTo>
                  <a:lnTo>
                    <a:pt x="438" y="1422"/>
                  </a:lnTo>
                  <a:lnTo>
                    <a:pt x="444" y="1416"/>
                  </a:lnTo>
                  <a:lnTo>
                    <a:pt x="444" y="1410"/>
                  </a:lnTo>
                  <a:lnTo>
                    <a:pt x="450" y="1416"/>
                  </a:lnTo>
                  <a:lnTo>
                    <a:pt x="456" y="1416"/>
                  </a:lnTo>
                  <a:lnTo>
                    <a:pt x="456" y="1422"/>
                  </a:lnTo>
                  <a:lnTo>
                    <a:pt x="456" y="1428"/>
                  </a:lnTo>
                  <a:lnTo>
                    <a:pt x="456" y="1434"/>
                  </a:lnTo>
                  <a:lnTo>
                    <a:pt x="456" y="1440"/>
                  </a:lnTo>
                  <a:lnTo>
                    <a:pt x="462" y="1440"/>
                  </a:lnTo>
                  <a:lnTo>
                    <a:pt x="462" y="1446"/>
                  </a:lnTo>
                  <a:lnTo>
                    <a:pt x="462" y="1452"/>
                  </a:lnTo>
                  <a:lnTo>
                    <a:pt x="456" y="1452"/>
                  </a:lnTo>
                  <a:lnTo>
                    <a:pt x="450" y="1452"/>
                  </a:lnTo>
                  <a:lnTo>
                    <a:pt x="444" y="1446"/>
                  </a:lnTo>
                  <a:lnTo>
                    <a:pt x="444" y="1452"/>
                  </a:lnTo>
                  <a:lnTo>
                    <a:pt x="450" y="1452"/>
                  </a:lnTo>
                  <a:lnTo>
                    <a:pt x="450" y="1458"/>
                  </a:lnTo>
                  <a:lnTo>
                    <a:pt x="444" y="1458"/>
                  </a:lnTo>
                  <a:lnTo>
                    <a:pt x="438" y="1464"/>
                  </a:lnTo>
                  <a:lnTo>
                    <a:pt x="438" y="1458"/>
                  </a:lnTo>
                  <a:lnTo>
                    <a:pt x="432" y="1458"/>
                  </a:lnTo>
                  <a:lnTo>
                    <a:pt x="426" y="1458"/>
                  </a:lnTo>
                  <a:lnTo>
                    <a:pt x="432" y="1458"/>
                  </a:lnTo>
                  <a:lnTo>
                    <a:pt x="438" y="1464"/>
                  </a:lnTo>
                  <a:lnTo>
                    <a:pt x="432" y="1464"/>
                  </a:lnTo>
                  <a:lnTo>
                    <a:pt x="432" y="1470"/>
                  </a:lnTo>
                  <a:lnTo>
                    <a:pt x="426" y="1470"/>
                  </a:lnTo>
                  <a:lnTo>
                    <a:pt x="420" y="1476"/>
                  </a:lnTo>
                  <a:lnTo>
                    <a:pt x="420" y="1470"/>
                  </a:lnTo>
                  <a:lnTo>
                    <a:pt x="414" y="1470"/>
                  </a:lnTo>
                  <a:lnTo>
                    <a:pt x="414" y="1464"/>
                  </a:lnTo>
                  <a:lnTo>
                    <a:pt x="414" y="1458"/>
                  </a:lnTo>
                  <a:lnTo>
                    <a:pt x="408" y="1458"/>
                  </a:lnTo>
                  <a:close/>
                  <a:moveTo>
                    <a:pt x="270" y="1326"/>
                  </a:moveTo>
                  <a:lnTo>
                    <a:pt x="270" y="1320"/>
                  </a:lnTo>
                  <a:lnTo>
                    <a:pt x="276" y="1320"/>
                  </a:lnTo>
                  <a:lnTo>
                    <a:pt x="282" y="1326"/>
                  </a:lnTo>
                  <a:lnTo>
                    <a:pt x="288" y="1326"/>
                  </a:lnTo>
                  <a:lnTo>
                    <a:pt x="288" y="1332"/>
                  </a:lnTo>
                  <a:lnTo>
                    <a:pt x="288" y="1338"/>
                  </a:lnTo>
                  <a:lnTo>
                    <a:pt x="288" y="1344"/>
                  </a:lnTo>
                  <a:lnTo>
                    <a:pt x="282" y="1344"/>
                  </a:lnTo>
                  <a:lnTo>
                    <a:pt x="282" y="1338"/>
                  </a:lnTo>
                  <a:lnTo>
                    <a:pt x="276" y="1338"/>
                  </a:lnTo>
                  <a:lnTo>
                    <a:pt x="276" y="1332"/>
                  </a:lnTo>
                  <a:lnTo>
                    <a:pt x="270" y="1332"/>
                  </a:lnTo>
                  <a:lnTo>
                    <a:pt x="270" y="1326"/>
                  </a:lnTo>
                  <a:close/>
                  <a:moveTo>
                    <a:pt x="288" y="1458"/>
                  </a:moveTo>
                  <a:lnTo>
                    <a:pt x="294" y="1458"/>
                  </a:lnTo>
                  <a:lnTo>
                    <a:pt x="294" y="1452"/>
                  </a:lnTo>
                  <a:lnTo>
                    <a:pt x="294" y="1446"/>
                  </a:lnTo>
                  <a:lnTo>
                    <a:pt x="300" y="1446"/>
                  </a:lnTo>
                  <a:lnTo>
                    <a:pt x="300" y="1440"/>
                  </a:lnTo>
                  <a:lnTo>
                    <a:pt x="306" y="1440"/>
                  </a:lnTo>
                  <a:lnTo>
                    <a:pt x="306" y="1446"/>
                  </a:lnTo>
                  <a:lnTo>
                    <a:pt x="312" y="1452"/>
                  </a:lnTo>
                  <a:lnTo>
                    <a:pt x="306" y="1452"/>
                  </a:lnTo>
                  <a:lnTo>
                    <a:pt x="306" y="1458"/>
                  </a:lnTo>
                  <a:lnTo>
                    <a:pt x="312" y="1464"/>
                  </a:lnTo>
                  <a:lnTo>
                    <a:pt x="306" y="1464"/>
                  </a:lnTo>
                  <a:lnTo>
                    <a:pt x="306" y="1470"/>
                  </a:lnTo>
                  <a:lnTo>
                    <a:pt x="300" y="1476"/>
                  </a:lnTo>
                  <a:lnTo>
                    <a:pt x="294" y="1476"/>
                  </a:lnTo>
                  <a:lnTo>
                    <a:pt x="294" y="1470"/>
                  </a:lnTo>
                  <a:lnTo>
                    <a:pt x="288" y="1470"/>
                  </a:lnTo>
                  <a:lnTo>
                    <a:pt x="288" y="1464"/>
                  </a:lnTo>
                  <a:lnTo>
                    <a:pt x="288" y="1458"/>
                  </a:lnTo>
                  <a:close/>
                  <a:moveTo>
                    <a:pt x="270" y="1296"/>
                  </a:moveTo>
                  <a:lnTo>
                    <a:pt x="276" y="1296"/>
                  </a:lnTo>
                  <a:lnTo>
                    <a:pt x="282" y="1296"/>
                  </a:lnTo>
                  <a:lnTo>
                    <a:pt x="288" y="1296"/>
                  </a:lnTo>
                  <a:lnTo>
                    <a:pt x="288" y="1302"/>
                  </a:lnTo>
                  <a:lnTo>
                    <a:pt x="282" y="1308"/>
                  </a:lnTo>
                  <a:lnTo>
                    <a:pt x="276" y="1308"/>
                  </a:lnTo>
                  <a:lnTo>
                    <a:pt x="276" y="1302"/>
                  </a:lnTo>
                  <a:lnTo>
                    <a:pt x="270" y="129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4" name="Freeform 19">
              <a:extLst>
                <a:ext uri="{FF2B5EF4-FFF2-40B4-BE49-F238E27FC236}">
                  <a16:creationId xmlns:a16="http://schemas.microsoft.com/office/drawing/2014/main" id="{5B9020B8-E1C1-4611-A248-9642BBD69C9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7043" y="3765821"/>
              <a:ext cx="333193" cy="398097"/>
            </a:xfrm>
            <a:custGeom>
              <a:avLst/>
              <a:gdLst>
                <a:gd name="T0" fmla="*/ 30 w 624"/>
                <a:gd name="T1" fmla="*/ 61 h 750"/>
                <a:gd name="T2" fmla="*/ 27 w 624"/>
                <a:gd name="T3" fmla="*/ 62 h 750"/>
                <a:gd name="T4" fmla="*/ 23 w 624"/>
                <a:gd name="T5" fmla="*/ 59 h 750"/>
                <a:gd name="T6" fmla="*/ 20 w 624"/>
                <a:gd name="T7" fmla="*/ 58 h 750"/>
                <a:gd name="T8" fmla="*/ 19 w 624"/>
                <a:gd name="T9" fmla="*/ 56 h 750"/>
                <a:gd name="T10" fmla="*/ 17 w 624"/>
                <a:gd name="T11" fmla="*/ 55 h 750"/>
                <a:gd name="T12" fmla="*/ 16 w 624"/>
                <a:gd name="T13" fmla="*/ 51 h 750"/>
                <a:gd name="T14" fmla="*/ 14 w 624"/>
                <a:gd name="T15" fmla="*/ 48 h 750"/>
                <a:gd name="T16" fmla="*/ 12 w 624"/>
                <a:gd name="T17" fmla="*/ 46 h 750"/>
                <a:gd name="T18" fmla="*/ 12 w 624"/>
                <a:gd name="T19" fmla="*/ 44 h 750"/>
                <a:gd name="T20" fmla="*/ 11 w 624"/>
                <a:gd name="T21" fmla="*/ 41 h 750"/>
                <a:gd name="T22" fmla="*/ 8 w 624"/>
                <a:gd name="T23" fmla="*/ 38 h 750"/>
                <a:gd name="T24" fmla="*/ 6 w 624"/>
                <a:gd name="T25" fmla="*/ 38 h 750"/>
                <a:gd name="T26" fmla="*/ 6 w 624"/>
                <a:gd name="T27" fmla="*/ 35 h 750"/>
                <a:gd name="T28" fmla="*/ 7 w 624"/>
                <a:gd name="T29" fmla="*/ 31 h 750"/>
                <a:gd name="T30" fmla="*/ 10 w 624"/>
                <a:gd name="T31" fmla="*/ 27 h 750"/>
                <a:gd name="T32" fmla="*/ 8 w 624"/>
                <a:gd name="T33" fmla="*/ 23 h 750"/>
                <a:gd name="T34" fmla="*/ 6 w 624"/>
                <a:gd name="T35" fmla="*/ 23 h 750"/>
                <a:gd name="T36" fmla="*/ 3 w 624"/>
                <a:gd name="T37" fmla="*/ 22 h 750"/>
                <a:gd name="T38" fmla="*/ 0 w 624"/>
                <a:gd name="T39" fmla="*/ 22 h 750"/>
                <a:gd name="T40" fmla="*/ 0 w 624"/>
                <a:gd name="T41" fmla="*/ 19 h 750"/>
                <a:gd name="T42" fmla="*/ 1 w 624"/>
                <a:gd name="T43" fmla="*/ 18 h 750"/>
                <a:gd name="T44" fmla="*/ 2 w 624"/>
                <a:gd name="T45" fmla="*/ 14 h 750"/>
                <a:gd name="T46" fmla="*/ 4 w 624"/>
                <a:gd name="T47" fmla="*/ 17 h 750"/>
                <a:gd name="T48" fmla="*/ 6 w 624"/>
                <a:gd name="T49" fmla="*/ 17 h 750"/>
                <a:gd name="T50" fmla="*/ 7 w 624"/>
                <a:gd name="T51" fmla="*/ 17 h 750"/>
                <a:gd name="T52" fmla="*/ 9 w 624"/>
                <a:gd name="T53" fmla="*/ 15 h 750"/>
                <a:gd name="T54" fmla="*/ 10 w 624"/>
                <a:gd name="T55" fmla="*/ 14 h 750"/>
                <a:gd name="T56" fmla="*/ 11 w 624"/>
                <a:gd name="T57" fmla="*/ 12 h 750"/>
                <a:gd name="T58" fmla="*/ 13 w 624"/>
                <a:gd name="T59" fmla="*/ 12 h 750"/>
                <a:gd name="T60" fmla="*/ 18 w 624"/>
                <a:gd name="T61" fmla="*/ 10 h 750"/>
                <a:gd name="T62" fmla="*/ 22 w 624"/>
                <a:gd name="T63" fmla="*/ 4 h 750"/>
                <a:gd name="T64" fmla="*/ 24 w 624"/>
                <a:gd name="T65" fmla="*/ 4 h 750"/>
                <a:gd name="T66" fmla="*/ 26 w 624"/>
                <a:gd name="T67" fmla="*/ 2 h 750"/>
                <a:gd name="T68" fmla="*/ 29 w 624"/>
                <a:gd name="T69" fmla="*/ 0 h 750"/>
                <a:gd name="T70" fmla="*/ 32 w 624"/>
                <a:gd name="T71" fmla="*/ 2 h 750"/>
                <a:gd name="T72" fmla="*/ 34 w 624"/>
                <a:gd name="T73" fmla="*/ 5 h 750"/>
                <a:gd name="T74" fmla="*/ 35 w 624"/>
                <a:gd name="T75" fmla="*/ 8 h 750"/>
                <a:gd name="T76" fmla="*/ 39 w 624"/>
                <a:gd name="T77" fmla="*/ 11 h 750"/>
                <a:gd name="T78" fmla="*/ 42 w 624"/>
                <a:gd name="T79" fmla="*/ 14 h 750"/>
                <a:gd name="T80" fmla="*/ 46 w 624"/>
                <a:gd name="T81" fmla="*/ 12 h 750"/>
                <a:gd name="T82" fmla="*/ 49 w 624"/>
                <a:gd name="T83" fmla="*/ 12 h 750"/>
                <a:gd name="T84" fmla="*/ 51 w 624"/>
                <a:gd name="T85" fmla="*/ 12 h 750"/>
                <a:gd name="T86" fmla="*/ 53 w 624"/>
                <a:gd name="T87" fmla="*/ 12 h 750"/>
                <a:gd name="T88" fmla="*/ 53 w 624"/>
                <a:gd name="T89" fmla="*/ 17 h 750"/>
                <a:gd name="T90" fmla="*/ 51 w 624"/>
                <a:gd name="T91" fmla="*/ 20 h 750"/>
                <a:gd name="T92" fmla="*/ 49 w 624"/>
                <a:gd name="T93" fmla="*/ 26 h 750"/>
                <a:gd name="T94" fmla="*/ 47 w 624"/>
                <a:gd name="T95" fmla="*/ 26 h 750"/>
                <a:gd name="T96" fmla="*/ 44 w 624"/>
                <a:gd name="T97" fmla="*/ 26 h 750"/>
                <a:gd name="T98" fmla="*/ 43 w 624"/>
                <a:gd name="T99" fmla="*/ 27 h 750"/>
                <a:gd name="T100" fmla="*/ 45 w 624"/>
                <a:gd name="T101" fmla="*/ 32 h 750"/>
                <a:gd name="T102" fmla="*/ 44 w 624"/>
                <a:gd name="T103" fmla="*/ 43 h 750"/>
                <a:gd name="T104" fmla="*/ 44 w 624"/>
                <a:gd name="T105" fmla="*/ 47 h 750"/>
                <a:gd name="T106" fmla="*/ 44 w 624"/>
                <a:gd name="T107" fmla="*/ 54 h 750"/>
                <a:gd name="T108" fmla="*/ 41 w 624"/>
                <a:gd name="T109" fmla="*/ 60 h 750"/>
                <a:gd name="T110" fmla="*/ 42 w 624"/>
                <a:gd name="T111" fmla="*/ 62 h 750"/>
                <a:gd name="T112" fmla="*/ 43 w 624"/>
                <a:gd name="T113" fmla="*/ 65 h 750"/>
                <a:gd name="T114" fmla="*/ 39 w 624"/>
                <a:gd name="T115" fmla="*/ 63 h 750"/>
                <a:gd name="T116" fmla="*/ 35 w 624"/>
                <a:gd name="T117" fmla="*/ 62 h 75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24"/>
                <a:gd name="T178" fmla="*/ 0 h 750"/>
                <a:gd name="T179" fmla="*/ 624 w 624"/>
                <a:gd name="T180" fmla="*/ 750 h 75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24" h="750">
                  <a:moveTo>
                    <a:pt x="390" y="702"/>
                  </a:moveTo>
                  <a:lnTo>
                    <a:pt x="372" y="696"/>
                  </a:lnTo>
                  <a:lnTo>
                    <a:pt x="360" y="702"/>
                  </a:lnTo>
                  <a:lnTo>
                    <a:pt x="348" y="702"/>
                  </a:lnTo>
                  <a:lnTo>
                    <a:pt x="336" y="702"/>
                  </a:lnTo>
                  <a:lnTo>
                    <a:pt x="330" y="702"/>
                  </a:lnTo>
                  <a:lnTo>
                    <a:pt x="318" y="708"/>
                  </a:lnTo>
                  <a:lnTo>
                    <a:pt x="306" y="708"/>
                  </a:lnTo>
                  <a:lnTo>
                    <a:pt x="294" y="690"/>
                  </a:lnTo>
                  <a:lnTo>
                    <a:pt x="294" y="684"/>
                  </a:lnTo>
                  <a:lnTo>
                    <a:pt x="276" y="684"/>
                  </a:lnTo>
                  <a:lnTo>
                    <a:pt x="270" y="678"/>
                  </a:lnTo>
                  <a:lnTo>
                    <a:pt x="240" y="672"/>
                  </a:lnTo>
                  <a:lnTo>
                    <a:pt x="234" y="672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6"/>
                  </a:lnTo>
                  <a:lnTo>
                    <a:pt x="216" y="660"/>
                  </a:lnTo>
                  <a:lnTo>
                    <a:pt x="216" y="654"/>
                  </a:lnTo>
                  <a:lnTo>
                    <a:pt x="216" y="642"/>
                  </a:lnTo>
                  <a:lnTo>
                    <a:pt x="210" y="642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36"/>
                  </a:lnTo>
                  <a:lnTo>
                    <a:pt x="192" y="624"/>
                  </a:lnTo>
                  <a:lnTo>
                    <a:pt x="186" y="612"/>
                  </a:lnTo>
                  <a:lnTo>
                    <a:pt x="186" y="600"/>
                  </a:lnTo>
                  <a:lnTo>
                    <a:pt x="186" y="588"/>
                  </a:lnTo>
                  <a:lnTo>
                    <a:pt x="180" y="582"/>
                  </a:lnTo>
                  <a:lnTo>
                    <a:pt x="180" y="570"/>
                  </a:lnTo>
                  <a:lnTo>
                    <a:pt x="174" y="558"/>
                  </a:lnTo>
                  <a:lnTo>
                    <a:pt x="162" y="558"/>
                  </a:lnTo>
                  <a:lnTo>
                    <a:pt x="144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38" y="534"/>
                  </a:lnTo>
                  <a:lnTo>
                    <a:pt x="138" y="528"/>
                  </a:lnTo>
                  <a:lnTo>
                    <a:pt x="132" y="522"/>
                  </a:lnTo>
                  <a:lnTo>
                    <a:pt x="144" y="522"/>
                  </a:lnTo>
                  <a:lnTo>
                    <a:pt x="144" y="510"/>
                  </a:lnTo>
                  <a:lnTo>
                    <a:pt x="144" y="504"/>
                  </a:lnTo>
                  <a:lnTo>
                    <a:pt x="138" y="492"/>
                  </a:lnTo>
                  <a:lnTo>
                    <a:pt x="138" y="474"/>
                  </a:lnTo>
                  <a:lnTo>
                    <a:pt x="126" y="468"/>
                  </a:lnTo>
                  <a:lnTo>
                    <a:pt x="120" y="456"/>
                  </a:lnTo>
                  <a:lnTo>
                    <a:pt x="114" y="450"/>
                  </a:lnTo>
                  <a:lnTo>
                    <a:pt x="108" y="438"/>
                  </a:lnTo>
                  <a:lnTo>
                    <a:pt x="96" y="432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60" y="426"/>
                  </a:lnTo>
                  <a:lnTo>
                    <a:pt x="66" y="420"/>
                  </a:lnTo>
                  <a:lnTo>
                    <a:pt x="66" y="408"/>
                  </a:lnTo>
                  <a:lnTo>
                    <a:pt x="72" y="408"/>
                  </a:lnTo>
                  <a:lnTo>
                    <a:pt x="72" y="384"/>
                  </a:lnTo>
                  <a:lnTo>
                    <a:pt x="72" y="366"/>
                  </a:lnTo>
                  <a:lnTo>
                    <a:pt x="78" y="354"/>
                  </a:lnTo>
                  <a:lnTo>
                    <a:pt x="84" y="354"/>
                  </a:lnTo>
                  <a:lnTo>
                    <a:pt x="90" y="348"/>
                  </a:lnTo>
                  <a:lnTo>
                    <a:pt x="102" y="336"/>
                  </a:lnTo>
                  <a:lnTo>
                    <a:pt x="114" y="324"/>
                  </a:lnTo>
                  <a:lnTo>
                    <a:pt x="120" y="312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20" y="276"/>
                  </a:lnTo>
                  <a:lnTo>
                    <a:pt x="96" y="270"/>
                  </a:lnTo>
                  <a:lnTo>
                    <a:pt x="84" y="270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72" y="264"/>
                  </a:lnTo>
                  <a:lnTo>
                    <a:pt x="60" y="252"/>
                  </a:lnTo>
                  <a:lnTo>
                    <a:pt x="42" y="252"/>
                  </a:lnTo>
                  <a:lnTo>
                    <a:pt x="42" y="258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18" y="252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42" y="156"/>
                  </a:lnTo>
                  <a:lnTo>
                    <a:pt x="48" y="198"/>
                  </a:lnTo>
                  <a:lnTo>
                    <a:pt x="48" y="204"/>
                  </a:lnTo>
                  <a:lnTo>
                    <a:pt x="54" y="198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204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192"/>
                  </a:lnTo>
                  <a:lnTo>
                    <a:pt x="96" y="186"/>
                  </a:lnTo>
                  <a:lnTo>
                    <a:pt x="102" y="180"/>
                  </a:lnTo>
                  <a:lnTo>
                    <a:pt x="102" y="174"/>
                  </a:lnTo>
                  <a:lnTo>
                    <a:pt x="108" y="168"/>
                  </a:lnTo>
                  <a:lnTo>
                    <a:pt x="108" y="162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0"/>
                  </a:lnTo>
                  <a:lnTo>
                    <a:pt x="132" y="144"/>
                  </a:lnTo>
                  <a:lnTo>
                    <a:pt x="138" y="138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0" y="132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74" y="126"/>
                  </a:lnTo>
                  <a:lnTo>
                    <a:pt x="204" y="120"/>
                  </a:lnTo>
                  <a:lnTo>
                    <a:pt x="210" y="78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54"/>
                  </a:lnTo>
                  <a:lnTo>
                    <a:pt x="276" y="54"/>
                  </a:lnTo>
                  <a:lnTo>
                    <a:pt x="276" y="48"/>
                  </a:lnTo>
                  <a:lnTo>
                    <a:pt x="282" y="48"/>
                  </a:lnTo>
                  <a:lnTo>
                    <a:pt x="288" y="42"/>
                  </a:lnTo>
                  <a:lnTo>
                    <a:pt x="294" y="42"/>
                  </a:lnTo>
                  <a:lnTo>
                    <a:pt x="294" y="18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0"/>
                  </a:lnTo>
                  <a:lnTo>
                    <a:pt x="336" y="0"/>
                  </a:lnTo>
                  <a:lnTo>
                    <a:pt x="342" y="0"/>
                  </a:lnTo>
                  <a:lnTo>
                    <a:pt x="354" y="6"/>
                  </a:lnTo>
                  <a:lnTo>
                    <a:pt x="366" y="18"/>
                  </a:lnTo>
                  <a:lnTo>
                    <a:pt x="378" y="36"/>
                  </a:lnTo>
                  <a:lnTo>
                    <a:pt x="390" y="42"/>
                  </a:lnTo>
                  <a:lnTo>
                    <a:pt x="390" y="48"/>
                  </a:lnTo>
                  <a:lnTo>
                    <a:pt x="396" y="60"/>
                  </a:lnTo>
                  <a:lnTo>
                    <a:pt x="402" y="72"/>
                  </a:lnTo>
                  <a:lnTo>
                    <a:pt x="408" y="78"/>
                  </a:lnTo>
                  <a:lnTo>
                    <a:pt x="402" y="84"/>
                  </a:lnTo>
                  <a:lnTo>
                    <a:pt x="408" y="90"/>
                  </a:lnTo>
                  <a:lnTo>
                    <a:pt x="414" y="102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50" y="126"/>
                  </a:lnTo>
                  <a:lnTo>
                    <a:pt x="456" y="126"/>
                  </a:lnTo>
                  <a:lnTo>
                    <a:pt x="462" y="144"/>
                  </a:lnTo>
                  <a:lnTo>
                    <a:pt x="480" y="156"/>
                  </a:lnTo>
                  <a:lnTo>
                    <a:pt x="492" y="156"/>
                  </a:lnTo>
                  <a:lnTo>
                    <a:pt x="516" y="150"/>
                  </a:lnTo>
                  <a:lnTo>
                    <a:pt x="516" y="144"/>
                  </a:lnTo>
                  <a:lnTo>
                    <a:pt x="516" y="138"/>
                  </a:lnTo>
                  <a:lnTo>
                    <a:pt x="528" y="138"/>
                  </a:lnTo>
                  <a:lnTo>
                    <a:pt x="546" y="144"/>
                  </a:lnTo>
                  <a:lnTo>
                    <a:pt x="546" y="138"/>
                  </a:lnTo>
                  <a:lnTo>
                    <a:pt x="552" y="138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76" y="138"/>
                  </a:lnTo>
                  <a:lnTo>
                    <a:pt x="582" y="138"/>
                  </a:lnTo>
                  <a:lnTo>
                    <a:pt x="588" y="138"/>
                  </a:lnTo>
                  <a:lnTo>
                    <a:pt x="594" y="138"/>
                  </a:lnTo>
                  <a:lnTo>
                    <a:pt x="594" y="144"/>
                  </a:lnTo>
                  <a:lnTo>
                    <a:pt x="600" y="138"/>
                  </a:lnTo>
                  <a:lnTo>
                    <a:pt x="606" y="138"/>
                  </a:lnTo>
                  <a:lnTo>
                    <a:pt x="606" y="144"/>
                  </a:lnTo>
                  <a:lnTo>
                    <a:pt x="612" y="144"/>
                  </a:lnTo>
                  <a:lnTo>
                    <a:pt x="618" y="156"/>
                  </a:lnTo>
                  <a:lnTo>
                    <a:pt x="612" y="198"/>
                  </a:lnTo>
                  <a:lnTo>
                    <a:pt x="624" y="198"/>
                  </a:lnTo>
                  <a:lnTo>
                    <a:pt x="624" y="204"/>
                  </a:lnTo>
                  <a:lnTo>
                    <a:pt x="612" y="216"/>
                  </a:lnTo>
                  <a:lnTo>
                    <a:pt x="594" y="234"/>
                  </a:lnTo>
                  <a:lnTo>
                    <a:pt x="588" y="252"/>
                  </a:lnTo>
                  <a:lnTo>
                    <a:pt x="576" y="270"/>
                  </a:lnTo>
                  <a:lnTo>
                    <a:pt x="564" y="282"/>
                  </a:lnTo>
                  <a:lnTo>
                    <a:pt x="564" y="294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8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34" y="294"/>
                  </a:lnTo>
                  <a:lnTo>
                    <a:pt x="522" y="300"/>
                  </a:lnTo>
                  <a:lnTo>
                    <a:pt x="510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498" y="324"/>
                  </a:lnTo>
                  <a:lnTo>
                    <a:pt x="504" y="336"/>
                  </a:lnTo>
                  <a:lnTo>
                    <a:pt x="510" y="348"/>
                  </a:lnTo>
                  <a:lnTo>
                    <a:pt x="516" y="366"/>
                  </a:lnTo>
                  <a:lnTo>
                    <a:pt x="522" y="432"/>
                  </a:lnTo>
                  <a:lnTo>
                    <a:pt x="522" y="456"/>
                  </a:lnTo>
                  <a:lnTo>
                    <a:pt x="504" y="492"/>
                  </a:lnTo>
                  <a:lnTo>
                    <a:pt x="504" y="498"/>
                  </a:lnTo>
                  <a:lnTo>
                    <a:pt x="498" y="504"/>
                  </a:lnTo>
                  <a:lnTo>
                    <a:pt x="498" y="522"/>
                  </a:lnTo>
                  <a:lnTo>
                    <a:pt x="504" y="534"/>
                  </a:lnTo>
                  <a:lnTo>
                    <a:pt x="510" y="546"/>
                  </a:lnTo>
                  <a:lnTo>
                    <a:pt x="516" y="558"/>
                  </a:lnTo>
                  <a:lnTo>
                    <a:pt x="516" y="588"/>
                  </a:lnTo>
                  <a:lnTo>
                    <a:pt x="516" y="600"/>
                  </a:lnTo>
                  <a:lnTo>
                    <a:pt x="510" y="618"/>
                  </a:lnTo>
                  <a:lnTo>
                    <a:pt x="504" y="636"/>
                  </a:lnTo>
                  <a:lnTo>
                    <a:pt x="504" y="642"/>
                  </a:lnTo>
                  <a:lnTo>
                    <a:pt x="474" y="654"/>
                  </a:lnTo>
                  <a:lnTo>
                    <a:pt x="474" y="690"/>
                  </a:lnTo>
                  <a:lnTo>
                    <a:pt x="474" y="696"/>
                  </a:lnTo>
                  <a:lnTo>
                    <a:pt x="480" y="702"/>
                  </a:lnTo>
                  <a:lnTo>
                    <a:pt x="486" y="708"/>
                  </a:lnTo>
                  <a:lnTo>
                    <a:pt x="492" y="708"/>
                  </a:lnTo>
                  <a:lnTo>
                    <a:pt x="498" y="726"/>
                  </a:lnTo>
                  <a:lnTo>
                    <a:pt x="504" y="726"/>
                  </a:lnTo>
                  <a:lnTo>
                    <a:pt x="504" y="738"/>
                  </a:lnTo>
                  <a:lnTo>
                    <a:pt x="498" y="744"/>
                  </a:lnTo>
                  <a:lnTo>
                    <a:pt x="486" y="750"/>
                  </a:lnTo>
                  <a:lnTo>
                    <a:pt x="474" y="744"/>
                  </a:lnTo>
                  <a:lnTo>
                    <a:pt x="462" y="744"/>
                  </a:lnTo>
                  <a:lnTo>
                    <a:pt x="456" y="732"/>
                  </a:lnTo>
                  <a:lnTo>
                    <a:pt x="444" y="732"/>
                  </a:lnTo>
                  <a:lnTo>
                    <a:pt x="432" y="726"/>
                  </a:lnTo>
                  <a:lnTo>
                    <a:pt x="420" y="720"/>
                  </a:lnTo>
                  <a:lnTo>
                    <a:pt x="408" y="708"/>
                  </a:lnTo>
                  <a:lnTo>
                    <a:pt x="402" y="708"/>
                  </a:lnTo>
                  <a:lnTo>
                    <a:pt x="390" y="70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5" name="Freeform 20">
              <a:extLst>
                <a:ext uri="{FF2B5EF4-FFF2-40B4-BE49-F238E27FC236}">
                  <a16:creationId xmlns:a16="http://schemas.microsoft.com/office/drawing/2014/main" id="{B8342C3B-ECEC-465F-AAFF-4815B8AC392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870937"/>
              <a:ext cx="313067" cy="377968"/>
            </a:xfrm>
            <a:custGeom>
              <a:avLst/>
              <a:gdLst>
                <a:gd name="T0" fmla="*/ 15 w 588"/>
                <a:gd name="T1" fmla="*/ 59 h 714"/>
                <a:gd name="T2" fmla="*/ 14 w 588"/>
                <a:gd name="T3" fmla="*/ 58 h 714"/>
                <a:gd name="T4" fmla="*/ 9 w 588"/>
                <a:gd name="T5" fmla="*/ 54 h 714"/>
                <a:gd name="T6" fmla="*/ 4 w 588"/>
                <a:gd name="T7" fmla="*/ 54 h 714"/>
                <a:gd name="T8" fmla="*/ 0 w 588"/>
                <a:gd name="T9" fmla="*/ 50 h 714"/>
                <a:gd name="T10" fmla="*/ 0 w 588"/>
                <a:gd name="T11" fmla="*/ 44 h 714"/>
                <a:gd name="T12" fmla="*/ 4 w 588"/>
                <a:gd name="T13" fmla="*/ 46 h 714"/>
                <a:gd name="T14" fmla="*/ 7 w 588"/>
                <a:gd name="T15" fmla="*/ 47 h 714"/>
                <a:gd name="T16" fmla="*/ 10 w 588"/>
                <a:gd name="T17" fmla="*/ 46 h 714"/>
                <a:gd name="T18" fmla="*/ 8 w 588"/>
                <a:gd name="T19" fmla="*/ 44 h 714"/>
                <a:gd name="T20" fmla="*/ 10 w 588"/>
                <a:gd name="T21" fmla="*/ 39 h 714"/>
                <a:gd name="T22" fmla="*/ 11 w 588"/>
                <a:gd name="T23" fmla="*/ 34 h 714"/>
                <a:gd name="T24" fmla="*/ 9 w 588"/>
                <a:gd name="T25" fmla="*/ 28 h 714"/>
                <a:gd name="T26" fmla="*/ 11 w 588"/>
                <a:gd name="T27" fmla="*/ 22 h 714"/>
                <a:gd name="T28" fmla="*/ 10 w 588"/>
                <a:gd name="T29" fmla="*/ 12 h 714"/>
                <a:gd name="T30" fmla="*/ 9 w 588"/>
                <a:gd name="T31" fmla="*/ 9 h 714"/>
                <a:gd name="T32" fmla="*/ 12 w 588"/>
                <a:gd name="T33" fmla="*/ 8 h 714"/>
                <a:gd name="T34" fmla="*/ 14 w 588"/>
                <a:gd name="T35" fmla="*/ 7 h 714"/>
                <a:gd name="T36" fmla="*/ 17 w 588"/>
                <a:gd name="T37" fmla="*/ 10 h 714"/>
                <a:gd name="T38" fmla="*/ 23 w 588"/>
                <a:gd name="T39" fmla="*/ 14 h 714"/>
                <a:gd name="T40" fmla="*/ 28 w 588"/>
                <a:gd name="T41" fmla="*/ 4 h 714"/>
                <a:gd name="T42" fmla="*/ 35 w 588"/>
                <a:gd name="T43" fmla="*/ 2 h 714"/>
                <a:gd name="T44" fmla="*/ 38 w 588"/>
                <a:gd name="T45" fmla="*/ 0 h 714"/>
                <a:gd name="T46" fmla="*/ 40 w 588"/>
                <a:gd name="T47" fmla="*/ 2 h 714"/>
                <a:gd name="T48" fmla="*/ 39 w 588"/>
                <a:gd name="T49" fmla="*/ 4 h 714"/>
                <a:gd name="T50" fmla="*/ 41 w 588"/>
                <a:gd name="T51" fmla="*/ 5 h 714"/>
                <a:gd name="T52" fmla="*/ 42 w 588"/>
                <a:gd name="T53" fmla="*/ 7 h 714"/>
                <a:gd name="T54" fmla="*/ 43 w 588"/>
                <a:gd name="T55" fmla="*/ 9 h 714"/>
                <a:gd name="T56" fmla="*/ 43 w 588"/>
                <a:gd name="T57" fmla="*/ 10 h 714"/>
                <a:gd name="T58" fmla="*/ 43 w 588"/>
                <a:gd name="T59" fmla="*/ 12 h 714"/>
                <a:gd name="T60" fmla="*/ 44 w 588"/>
                <a:gd name="T61" fmla="*/ 12 h 714"/>
                <a:gd name="T62" fmla="*/ 46 w 588"/>
                <a:gd name="T63" fmla="*/ 13 h 714"/>
                <a:gd name="T64" fmla="*/ 47 w 588"/>
                <a:gd name="T65" fmla="*/ 14 h 714"/>
                <a:gd name="T66" fmla="*/ 48 w 588"/>
                <a:gd name="T67" fmla="*/ 15 h 714"/>
                <a:gd name="T68" fmla="*/ 49 w 588"/>
                <a:gd name="T69" fmla="*/ 15 h 714"/>
                <a:gd name="T70" fmla="*/ 48 w 588"/>
                <a:gd name="T71" fmla="*/ 17 h 714"/>
                <a:gd name="T72" fmla="*/ 49 w 588"/>
                <a:gd name="T73" fmla="*/ 19 h 714"/>
                <a:gd name="T74" fmla="*/ 49 w 588"/>
                <a:gd name="T75" fmla="*/ 20 h 714"/>
                <a:gd name="T76" fmla="*/ 51 w 588"/>
                <a:gd name="T77" fmla="*/ 21 h 714"/>
                <a:gd name="T78" fmla="*/ 50 w 588"/>
                <a:gd name="T79" fmla="*/ 22 h 714"/>
                <a:gd name="T80" fmla="*/ 47 w 588"/>
                <a:gd name="T81" fmla="*/ 23 h 714"/>
                <a:gd name="T82" fmla="*/ 47 w 588"/>
                <a:gd name="T83" fmla="*/ 26 h 714"/>
                <a:gd name="T84" fmla="*/ 47 w 588"/>
                <a:gd name="T85" fmla="*/ 32 h 714"/>
                <a:gd name="T86" fmla="*/ 44 w 588"/>
                <a:gd name="T87" fmla="*/ 35 h 714"/>
                <a:gd name="T88" fmla="*/ 42 w 588"/>
                <a:gd name="T89" fmla="*/ 39 h 714"/>
                <a:gd name="T90" fmla="*/ 42 w 588"/>
                <a:gd name="T91" fmla="*/ 41 h 714"/>
                <a:gd name="T92" fmla="*/ 42 w 588"/>
                <a:gd name="T93" fmla="*/ 42 h 714"/>
                <a:gd name="T94" fmla="*/ 41 w 588"/>
                <a:gd name="T95" fmla="*/ 44 h 714"/>
                <a:gd name="T96" fmla="*/ 39 w 588"/>
                <a:gd name="T97" fmla="*/ 43 h 714"/>
                <a:gd name="T98" fmla="*/ 37 w 588"/>
                <a:gd name="T99" fmla="*/ 44 h 714"/>
                <a:gd name="T100" fmla="*/ 35 w 588"/>
                <a:gd name="T101" fmla="*/ 46 h 714"/>
                <a:gd name="T102" fmla="*/ 31 w 588"/>
                <a:gd name="T103" fmla="*/ 45 h 714"/>
                <a:gd name="T104" fmla="*/ 24 w 588"/>
                <a:gd name="T105" fmla="*/ 45 h 714"/>
                <a:gd name="T106" fmla="*/ 25 w 588"/>
                <a:gd name="T107" fmla="*/ 47 h 714"/>
                <a:gd name="T108" fmla="*/ 25 w 588"/>
                <a:gd name="T109" fmla="*/ 49 h 714"/>
                <a:gd name="T110" fmla="*/ 25 w 588"/>
                <a:gd name="T111" fmla="*/ 50 h 714"/>
                <a:gd name="T112" fmla="*/ 24 w 588"/>
                <a:gd name="T113" fmla="*/ 51 h 714"/>
                <a:gd name="T114" fmla="*/ 22 w 588"/>
                <a:gd name="T115" fmla="*/ 53 h 714"/>
                <a:gd name="T116" fmla="*/ 23 w 588"/>
                <a:gd name="T117" fmla="*/ 56 h 714"/>
                <a:gd name="T118" fmla="*/ 20 w 588"/>
                <a:gd name="T119" fmla="*/ 58 h 714"/>
                <a:gd name="T120" fmla="*/ 19 w 588"/>
                <a:gd name="T121" fmla="*/ 62 h 7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8"/>
                <a:gd name="T184" fmla="*/ 0 h 714"/>
                <a:gd name="T185" fmla="*/ 588 w 588"/>
                <a:gd name="T186" fmla="*/ 714 h 7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8" h="714">
                  <a:moveTo>
                    <a:pt x="216" y="714"/>
                  </a:moveTo>
                  <a:lnTo>
                    <a:pt x="198" y="702"/>
                  </a:lnTo>
                  <a:lnTo>
                    <a:pt x="186" y="696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74" y="678"/>
                  </a:lnTo>
                  <a:lnTo>
                    <a:pt x="168" y="672"/>
                  </a:lnTo>
                  <a:lnTo>
                    <a:pt x="162" y="666"/>
                  </a:lnTo>
                  <a:lnTo>
                    <a:pt x="156" y="636"/>
                  </a:lnTo>
                  <a:lnTo>
                    <a:pt x="144" y="630"/>
                  </a:lnTo>
                  <a:lnTo>
                    <a:pt x="108" y="630"/>
                  </a:lnTo>
                  <a:lnTo>
                    <a:pt x="102" y="624"/>
                  </a:lnTo>
                  <a:lnTo>
                    <a:pt x="96" y="624"/>
                  </a:lnTo>
                  <a:lnTo>
                    <a:pt x="72" y="624"/>
                  </a:lnTo>
                  <a:lnTo>
                    <a:pt x="54" y="624"/>
                  </a:lnTo>
                  <a:lnTo>
                    <a:pt x="42" y="618"/>
                  </a:lnTo>
                  <a:lnTo>
                    <a:pt x="30" y="612"/>
                  </a:lnTo>
                  <a:lnTo>
                    <a:pt x="6" y="606"/>
                  </a:lnTo>
                  <a:lnTo>
                    <a:pt x="0" y="606"/>
                  </a:lnTo>
                  <a:lnTo>
                    <a:pt x="0" y="570"/>
                  </a:lnTo>
                  <a:lnTo>
                    <a:pt x="6" y="552"/>
                  </a:lnTo>
                  <a:lnTo>
                    <a:pt x="6" y="522"/>
                  </a:lnTo>
                  <a:lnTo>
                    <a:pt x="0" y="510"/>
                  </a:lnTo>
                  <a:lnTo>
                    <a:pt x="0" y="504"/>
                  </a:lnTo>
                  <a:lnTo>
                    <a:pt x="12" y="510"/>
                  </a:lnTo>
                  <a:lnTo>
                    <a:pt x="18" y="510"/>
                  </a:lnTo>
                  <a:lnTo>
                    <a:pt x="30" y="522"/>
                  </a:lnTo>
                  <a:lnTo>
                    <a:pt x="42" y="528"/>
                  </a:lnTo>
                  <a:lnTo>
                    <a:pt x="54" y="534"/>
                  </a:lnTo>
                  <a:lnTo>
                    <a:pt x="66" y="534"/>
                  </a:lnTo>
                  <a:lnTo>
                    <a:pt x="72" y="546"/>
                  </a:lnTo>
                  <a:lnTo>
                    <a:pt x="84" y="546"/>
                  </a:lnTo>
                  <a:lnTo>
                    <a:pt x="96" y="552"/>
                  </a:lnTo>
                  <a:lnTo>
                    <a:pt x="108" y="546"/>
                  </a:lnTo>
                  <a:lnTo>
                    <a:pt x="114" y="540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90" y="504"/>
                  </a:lnTo>
                  <a:lnTo>
                    <a:pt x="84" y="498"/>
                  </a:lnTo>
                  <a:lnTo>
                    <a:pt x="84" y="492"/>
                  </a:lnTo>
                  <a:lnTo>
                    <a:pt x="84" y="456"/>
                  </a:lnTo>
                  <a:lnTo>
                    <a:pt x="114" y="444"/>
                  </a:lnTo>
                  <a:lnTo>
                    <a:pt x="114" y="438"/>
                  </a:lnTo>
                  <a:lnTo>
                    <a:pt x="120" y="420"/>
                  </a:lnTo>
                  <a:lnTo>
                    <a:pt x="126" y="402"/>
                  </a:lnTo>
                  <a:lnTo>
                    <a:pt x="126" y="390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14" y="336"/>
                  </a:lnTo>
                  <a:lnTo>
                    <a:pt x="108" y="324"/>
                  </a:lnTo>
                  <a:lnTo>
                    <a:pt x="108" y="306"/>
                  </a:lnTo>
                  <a:lnTo>
                    <a:pt x="114" y="300"/>
                  </a:lnTo>
                  <a:lnTo>
                    <a:pt x="114" y="294"/>
                  </a:lnTo>
                  <a:lnTo>
                    <a:pt x="132" y="258"/>
                  </a:lnTo>
                  <a:lnTo>
                    <a:pt x="132" y="234"/>
                  </a:lnTo>
                  <a:lnTo>
                    <a:pt x="126" y="168"/>
                  </a:lnTo>
                  <a:lnTo>
                    <a:pt x="120" y="150"/>
                  </a:lnTo>
                  <a:lnTo>
                    <a:pt x="114" y="138"/>
                  </a:lnTo>
                  <a:lnTo>
                    <a:pt x="108" y="126"/>
                  </a:lnTo>
                  <a:lnTo>
                    <a:pt x="108" y="120"/>
                  </a:lnTo>
                  <a:lnTo>
                    <a:pt x="108" y="114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20" y="96"/>
                  </a:lnTo>
                  <a:lnTo>
                    <a:pt x="132" y="102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56" y="90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96"/>
                  </a:lnTo>
                  <a:lnTo>
                    <a:pt x="186" y="96"/>
                  </a:lnTo>
                  <a:lnTo>
                    <a:pt x="192" y="114"/>
                  </a:lnTo>
                  <a:lnTo>
                    <a:pt x="204" y="132"/>
                  </a:lnTo>
                  <a:lnTo>
                    <a:pt x="216" y="144"/>
                  </a:lnTo>
                  <a:lnTo>
                    <a:pt x="240" y="162"/>
                  </a:lnTo>
                  <a:lnTo>
                    <a:pt x="270" y="156"/>
                  </a:lnTo>
                  <a:lnTo>
                    <a:pt x="282" y="126"/>
                  </a:lnTo>
                  <a:lnTo>
                    <a:pt x="282" y="96"/>
                  </a:lnTo>
                  <a:lnTo>
                    <a:pt x="294" y="54"/>
                  </a:lnTo>
                  <a:lnTo>
                    <a:pt x="324" y="48"/>
                  </a:lnTo>
                  <a:lnTo>
                    <a:pt x="342" y="48"/>
                  </a:lnTo>
                  <a:lnTo>
                    <a:pt x="384" y="48"/>
                  </a:lnTo>
                  <a:lnTo>
                    <a:pt x="390" y="30"/>
                  </a:lnTo>
                  <a:lnTo>
                    <a:pt x="402" y="18"/>
                  </a:lnTo>
                  <a:lnTo>
                    <a:pt x="438" y="6"/>
                  </a:lnTo>
                  <a:lnTo>
                    <a:pt x="438" y="0"/>
                  </a:lnTo>
                  <a:lnTo>
                    <a:pt x="444" y="0"/>
                  </a:lnTo>
                  <a:lnTo>
                    <a:pt x="444" y="6"/>
                  </a:lnTo>
                  <a:lnTo>
                    <a:pt x="450" y="6"/>
                  </a:lnTo>
                  <a:lnTo>
                    <a:pt x="456" y="12"/>
                  </a:lnTo>
                  <a:lnTo>
                    <a:pt x="456" y="18"/>
                  </a:lnTo>
                  <a:lnTo>
                    <a:pt x="462" y="24"/>
                  </a:lnTo>
                  <a:lnTo>
                    <a:pt x="462" y="30"/>
                  </a:lnTo>
                  <a:lnTo>
                    <a:pt x="468" y="36"/>
                  </a:lnTo>
                  <a:lnTo>
                    <a:pt x="462" y="36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74" y="60"/>
                  </a:lnTo>
                  <a:lnTo>
                    <a:pt x="486" y="78"/>
                  </a:lnTo>
                  <a:lnTo>
                    <a:pt x="486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8" y="102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498" y="114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504" y="126"/>
                  </a:lnTo>
                  <a:lnTo>
                    <a:pt x="498" y="132"/>
                  </a:lnTo>
                  <a:lnTo>
                    <a:pt x="504" y="138"/>
                  </a:lnTo>
                  <a:lnTo>
                    <a:pt x="504" y="132"/>
                  </a:lnTo>
                  <a:lnTo>
                    <a:pt x="510" y="132"/>
                  </a:lnTo>
                  <a:lnTo>
                    <a:pt x="510" y="138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56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6" y="168"/>
                  </a:lnTo>
                  <a:lnTo>
                    <a:pt x="552" y="168"/>
                  </a:lnTo>
                  <a:lnTo>
                    <a:pt x="546" y="168"/>
                  </a:lnTo>
                  <a:lnTo>
                    <a:pt x="546" y="174"/>
                  </a:lnTo>
                  <a:lnTo>
                    <a:pt x="558" y="180"/>
                  </a:lnTo>
                  <a:lnTo>
                    <a:pt x="564" y="180"/>
                  </a:lnTo>
                  <a:lnTo>
                    <a:pt x="564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52" y="198"/>
                  </a:lnTo>
                  <a:lnTo>
                    <a:pt x="558" y="204"/>
                  </a:lnTo>
                  <a:lnTo>
                    <a:pt x="564" y="204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22"/>
                  </a:lnTo>
                  <a:lnTo>
                    <a:pt x="576" y="228"/>
                  </a:lnTo>
                  <a:lnTo>
                    <a:pt x="570" y="228"/>
                  </a:lnTo>
                  <a:lnTo>
                    <a:pt x="570" y="234"/>
                  </a:lnTo>
                  <a:lnTo>
                    <a:pt x="576" y="234"/>
                  </a:lnTo>
                  <a:lnTo>
                    <a:pt x="582" y="234"/>
                  </a:lnTo>
                  <a:lnTo>
                    <a:pt x="588" y="234"/>
                  </a:lnTo>
                  <a:lnTo>
                    <a:pt x="588" y="240"/>
                  </a:lnTo>
                  <a:lnTo>
                    <a:pt x="588" y="246"/>
                  </a:lnTo>
                  <a:lnTo>
                    <a:pt x="588" y="252"/>
                  </a:lnTo>
                  <a:lnTo>
                    <a:pt x="582" y="252"/>
                  </a:lnTo>
                  <a:lnTo>
                    <a:pt x="576" y="252"/>
                  </a:lnTo>
                  <a:lnTo>
                    <a:pt x="582" y="258"/>
                  </a:lnTo>
                  <a:lnTo>
                    <a:pt x="582" y="264"/>
                  </a:lnTo>
                  <a:lnTo>
                    <a:pt x="576" y="264"/>
                  </a:lnTo>
                  <a:lnTo>
                    <a:pt x="546" y="264"/>
                  </a:lnTo>
                  <a:lnTo>
                    <a:pt x="546" y="276"/>
                  </a:lnTo>
                  <a:lnTo>
                    <a:pt x="540" y="282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40" y="324"/>
                  </a:lnTo>
                  <a:lnTo>
                    <a:pt x="552" y="330"/>
                  </a:lnTo>
                  <a:lnTo>
                    <a:pt x="558" y="342"/>
                  </a:lnTo>
                  <a:lnTo>
                    <a:pt x="546" y="372"/>
                  </a:lnTo>
                  <a:lnTo>
                    <a:pt x="534" y="372"/>
                  </a:lnTo>
                  <a:lnTo>
                    <a:pt x="534" y="384"/>
                  </a:lnTo>
                  <a:lnTo>
                    <a:pt x="522" y="384"/>
                  </a:lnTo>
                  <a:lnTo>
                    <a:pt x="510" y="402"/>
                  </a:lnTo>
                  <a:lnTo>
                    <a:pt x="504" y="420"/>
                  </a:lnTo>
                  <a:lnTo>
                    <a:pt x="492" y="426"/>
                  </a:lnTo>
                  <a:lnTo>
                    <a:pt x="486" y="432"/>
                  </a:lnTo>
                  <a:lnTo>
                    <a:pt x="486" y="444"/>
                  </a:lnTo>
                  <a:lnTo>
                    <a:pt x="486" y="450"/>
                  </a:lnTo>
                  <a:lnTo>
                    <a:pt x="486" y="456"/>
                  </a:lnTo>
                  <a:lnTo>
                    <a:pt x="486" y="462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80" y="474"/>
                  </a:lnTo>
                  <a:lnTo>
                    <a:pt x="480" y="480"/>
                  </a:lnTo>
                  <a:lnTo>
                    <a:pt x="480" y="486"/>
                  </a:lnTo>
                  <a:lnTo>
                    <a:pt x="480" y="492"/>
                  </a:lnTo>
                  <a:lnTo>
                    <a:pt x="480" y="498"/>
                  </a:lnTo>
                  <a:lnTo>
                    <a:pt x="474" y="504"/>
                  </a:lnTo>
                  <a:lnTo>
                    <a:pt x="468" y="510"/>
                  </a:lnTo>
                  <a:lnTo>
                    <a:pt x="462" y="510"/>
                  </a:lnTo>
                  <a:lnTo>
                    <a:pt x="456" y="504"/>
                  </a:lnTo>
                  <a:lnTo>
                    <a:pt x="456" y="498"/>
                  </a:lnTo>
                  <a:lnTo>
                    <a:pt x="450" y="498"/>
                  </a:lnTo>
                  <a:lnTo>
                    <a:pt x="444" y="498"/>
                  </a:lnTo>
                  <a:lnTo>
                    <a:pt x="438" y="498"/>
                  </a:lnTo>
                  <a:lnTo>
                    <a:pt x="432" y="498"/>
                  </a:lnTo>
                  <a:lnTo>
                    <a:pt x="426" y="504"/>
                  </a:lnTo>
                  <a:lnTo>
                    <a:pt x="426" y="510"/>
                  </a:lnTo>
                  <a:lnTo>
                    <a:pt x="420" y="516"/>
                  </a:lnTo>
                  <a:lnTo>
                    <a:pt x="414" y="522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84" y="528"/>
                  </a:lnTo>
                  <a:lnTo>
                    <a:pt x="366" y="540"/>
                  </a:lnTo>
                  <a:lnTo>
                    <a:pt x="360" y="522"/>
                  </a:lnTo>
                  <a:lnTo>
                    <a:pt x="348" y="504"/>
                  </a:lnTo>
                  <a:lnTo>
                    <a:pt x="330" y="504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34"/>
                  </a:lnTo>
                  <a:lnTo>
                    <a:pt x="288" y="540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2" y="540"/>
                  </a:lnTo>
                  <a:lnTo>
                    <a:pt x="282" y="546"/>
                  </a:lnTo>
                  <a:lnTo>
                    <a:pt x="288" y="552"/>
                  </a:lnTo>
                  <a:lnTo>
                    <a:pt x="294" y="564"/>
                  </a:lnTo>
                  <a:lnTo>
                    <a:pt x="300" y="564"/>
                  </a:lnTo>
                  <a:lnTo>
                    <a:pt x="300" y="570"/>
                  </a:lnTo>
                  <a:lnTo>
                    <a:pt x="294" y="570"/>
                  </a:lnTo>
                  <a:lnTo>
                    <a:pt x="288" y="570"/>
                  </a:lnTo>
                  <a:lnTo>
                    <a:pt x="288" y="576"/>
                  </a:lnTo>
                  <a:lnTo>
                    <a:pt x="288" y="582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606"/>
                  </a:lnTo>
                  <a:lnTo>
                    <a:pt x="264" y="612"/>
                  </a:lnTo>
                  <a:lnTo>
                    <a:pt x="258" y="612"/>
                  </a:lnTo>
                  <a:lnTo>
                    <a:pt x="252" y="612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52" y="630"/>
                  </a:lnTo>
                  <a:lnTo>
                    <a:pt x="264" y="642"/>
                  </a:lnTo>
                  <a:lnTo>
                    <a:pt x="258" y="648"/>
                  </a:lnTo>
                  <a:lnTo>
                    <a:pt x="246" y="654"/>
                  </a:lnTo>
                  <a:lnTo>
                    <a:pt x="240" y="660"/>
                  </a:lnTo>
                  <a:lnTo>
                    <a:pt x="234" y="672"/>
                  </a:lnTo>
                  <a:lnTo>
                    <a:pt x="234" y="678"/>
                  </a:lnTo>
                  <a:lnTo>
                    <a:pt x="228" y="684"/>
                  </a:lnTo>
                  <a:lnTo>
                    <a:pt x="228" y="696"/>
                  </a:lnTo>
                  <a:lnTo>
                    <a:pt x="216" y="71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6" name="Freeform 21">
              <a:extLst>
                <a:ext uri="{FF2B5EF4-FFF2-40B4-BE49-F238E27FC236}">
                  <a16:creationId xmlns:a16="http://schemas.microsoft.com/office/drawing/2014/main" id="{DCB1E808-522D-4C19-B741-CC5DD56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4178" y="3866464"/>
              <a:ext cx="250453" cy="371259"/>
            </a:xfrm>
            <a:custGeom>
              <a:avLst/>
              <a:gdLst>
                <a:gd name="T0" fmla="*/ 0 w 468"/>
                <a:gd name="T1" fmla="*/ 61 h 696"/>
                <a:gd name="T2" fmla="*/ 1 w 468"/>
                <a:gd name="T3" fmla="*/ 58 h 696"/>
                <a:gd name="T4" fmla="*/ 2 w 468"/>
                <a:gd name="T5" fmla="*/ 54 h 696"/>
                <a:gd name="T6" fmla="*/ 3 w 468"/>
                <a:gd name="T7" fmla="*/ 51 h 696"/>
                <a:gd name="T8" fmla="*/ 4 w 468"/>
                <a:gd name="T9" fmla="*/ 48 h 696"/>
                <a:gd name="T10" fmla="*/ 6 w 468"/>
                <a:gd name="T11" fmla="*/ 44 h 696"/>
                <a:gd name="T12" fmla="*/ 5 w 468"/>
                <a:gd name="T13" fmla="*/ 41 h 696"/>
                <a:gd name="T14" fmla="*/ 7 w 468"/>
                <a:gd name="T15" fmla="*/ 38 h 696"/>
                <a:gd name="T16" fmla="*/ 8 w 468"/>
                <a:gd name="T17" fmla="*/ 36 h 696"/>
                <a:gd name="T18" fmla="*/ 7 w 468"/>
                <a:gd name="T19" fmla="*/ 33 h 696"/>
                <a:gd name="T20" fmla="*/ 6 w 468"/>
                <a:gd name="T21" fmla="*/ 29 h 696"/>
                <a:gd name="T22" fmla="*/ 4 w 468"/>
                <a:gd name="T23" fmla="*/ 22 h 696"/>
                <a:gd name="T24" fmla="*/ 2 w 468"/>
                <a:gd name="T25" fmla="*/ 14 h 696"/>
                <a:gd name="T26" fmla="*/ 12 w 468"/>
                <a:gd name="T27" fmla="*/ 11 h 696"/>
                <a:gd name="T28" fmla="*/ 14 w 468"/>
                <a:gd name="T29" fmla="*/ 2 h 696"/>
                <a:gd name="T30" fmla="*/ 16 w 468"/>
                <a:gd name="T31" fmla="*/ 0 h 696"/>
                <a:gd name="T32" fmla="*/ 17 w 468"/>
                <a:gd name="T33" fmla="*/ 0 h 696"/>
                <a:gd name="T34" fmla="*/ 18 w 468"/>
                <a:gd name="T35" fmla="*/ 1 h 696"/>
                <a:gd name="T36" fmla="*/ 17 w 468"/>
                <a:gd name="T37" fmla="*/ 2 h 696"/>
                <a:gd name="T38" fmla="*/ 17 w 468"/>
                <a:gd name="T39" fmla="*/ 4 h 696"/>
                <a:gd name="T40" fmla="*/ 17 w 468"/>
                <a:gd name="T41" fmla="*/ 6 h 696"/>
                <a:gd name="T42" fmla="*/ 20 w 468"/>
                <a:gd name="T43" fmla="*/ 6 h 696"/>
                <a:gd name="T44" fmla="*/ 22 w 468"/>
                <a:gd name="T45" fmla="*/ 5 h 696"/>
                <a:gd name="T46" fmla="*/ 24 w 468"/>
                <a:gd name="T47" fmla="*/ 7 h 696"/>
                <a:gd name="T48" fmla="*/ 28 w 468"/>
                <a:gd name="T49" fmla="*/ 7 h 696"/>
                <a:gd name="T50" fmla="*/ 28 w 468"/>
                <a:gd name="T51" fmla="*/ 11 h 696"/>
                <a:gd name="T52" fmla="*/ 25 w 468"/>
                <a:gd name="T53" fmla="*/ 14 h 696"/>
                <a:gd name="T54" fmla="*/ 23 w 468"/>
                <a:gd name="T55" fmla="*/ 15 h 696"/>
                <a:gd name="T56" fmla="*/ 23 w 468"/>
                <a:gd name="T57" fmla="*/ 19 h 696"/>
                <a:gd name="T58" fmla="*/ 23 w 468"/>
                <a:gd name="T59" fmla="*/ 21 h 696"/>
                <a:gd name="T60" fmla="*/ 24 w 468"/>
                <a:gd name="T61" fmla="*/ 21 h 696"/>
                <a:gd name="T62" fmla="*/ 27 w 468"/>
                <a:gd name="T63" fmla="*/ 23 h 696"/>
                <a:gd name="T64" fmla="*/ 29 w 468"/>
                <a:gd name="T65" fmla="*/ 24 h 696"/>
                <a:gd name="T66" fmla="*/ 29 w 468"/>
                <a:gd name="T67" fmla="*/ 28 h 696"/>
                <a:gd name="T68" fmla="*/ 29 w 468"/>
                <a:gd name="T69" fmla="*/ 29 h 696"/>
                <a:gd name="T70" fmla="*/ 29 w 468"/>
                <a:gd name="T71" fmla="*/ 32 h 696"/>
                <a:gd name="T72" fmla="*/ 32 w 468"/>
                <a:gd name="T73" fmla="*/ 32 h 696"/>
                <a:gd name="T74" fmla="*/ 33 w 468"/>
                <a:gd name="T75" fmla="*/ 35 h 696"/>
                <a:gd name="T76" fmla="*/ 34 w 468"/>
                <a:gd name="T77" fmla="*/ 38 h 696"/>
                <a:gd name="T78" fmla="*/ 35 w 468"/>
                <a:gd name="T79" fmla="*/ 39 h 696"/>
                <a:gd name="T80" fmla="*/ 36 w 468"/>
                <a:gd name="T81" fmla="*/ 40 h 696"/>
                <a:gd name="T82" fmla="*/ 37 w 468"/>
                <a:gd name="T83" fmla="*/ 41 h 696"/>
                <a:gd name="T84" fmla="*/ 38 w 468"/>
                <a:gd name="T85" fmla="*/ 42 h 696"/>
                <a:gd name="T86" fmla="*/ 41 w 468"/>
                <a:gd name="T87" fmla="*/ 44 h 696"/>
                <a:gd name="T88" fmla="*/ 40 w 468"/>
                <a:gd name="T89" fmla="*/ 44 h 696"/>
                <a:gd name="T90" fmla="*/ 37 w 468"/>
                <a:gd name="T91" fmla="*/ 45 h 696"/>
                <a:gd name="T92" fmla="*/ 36 w 468"/>
                <a:gd name="T93" fmla="*/ 48 h 696"/>
                <a:gd name="T94" fmla="*/ 34 w 468"/>
                <a:gd name="T95" fmla="*/ 49 h 696"/>
                <a:gd name="T96" fmla="*/ 32 w 468"/>
                <a:gd name="T97" fmla="*/ 51 h 696"/>
                <a:gd name="T98" fmla="*/ 31 w 468"/>
                <a:gd name="T99" fmla="*/ 51 h 696"/>
                <a:gd name="T100" fmla="*/ 26 w 468"/>
                <a:gd name="T101" fmla="*/ 49 h 696"/>
                <a:gd name="T102" fmla="*/ 23 w 468"/>
                <a:gd name="T103" fmla="*/ 51 h 696"/>
                <a:gd name="T104" fmla="*/ 21 w 468"/>
                <a:gd name="T105" fmla="*/ 51 h 696"/>
                <a:gd name="T106" fmla="*/ 20 w 468"/>
                <a:gd name="T107" fmla="*/ 52 h 696"/>
                <a:gd name="T108" fmla="*/ 17 w 468"/>
                <a:gd name="T109" fmla="*/ 55 h 696"/>
                <a:gd name="T110" fmla="*/ 15 w 468"/>
                <a:gd name="T111" fmla="*/ 56 h 696"/>
                <a:gd name="T112" fmla="*/ 15 w 468"/>
                <a:gd name="T113" fmla="*/ 59 h 696"/>
                <a:gd name="T114" fmla="*/ 14 w 468"/>
                <a:gd name="T115" fmla="*/ 59 h 696"/>
                <a:gd name="T116" fmla="*/ 12 w 468"/>
                <a:gd name="T117" fmla="*/ 59 h 696"/>
                <a:gd name="T118" fmla="*/ 11 w 468"/>
                <a:gd name="T119" fmla="*/ 57 h 696"/>
                <a:gd name="T120" fmla="*/ 9 w 468"/>
                <a:gd name="T121" fmla="*/ 57 h 696"/>
                <a:gd name="T122" fmla="*/ 6 w 468"/>
                <a:gd name="T123" fmla="*/ 58 h 696"/>
                <a:gd name="T124" fmla="*/ 4 w 468"/>
                <a:gd name="T125" fmla="*/ 60 h 69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8"/>
                <a:gd name="T190" fmla="*/ 0 h 696"/>
                <a:gd name="T191" fmla="*/ 468 w 468"/>
                <a:gd name="T192" fmla="*/ 696 h 69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8" h="696">
                  <a:moveTo>
                    <a:pt x="30" y="696"/>
                  </a:moveTo>
                  <a:lnTo>
                    <a:pt x="18" y="696"/>
                  </a:lnTo>
                  <a:lnTo>
                    <a:pt x="6" y="696"/>
                  </a:lnTo>
                  <a:lnTo>
                    <a:pt x="0" y="690"/>
                  </a:lnTo>
                  <a:lnTo>
                    <a:pt x="6" y="678"/>
                  </a:lnTo>
                  <a:lnTo>
                    <a:pt x="12" y="666"/>
                  </a:lnTo>
                  <a:lnTo>
                    <a:pt x="18" y="654"/>
                  </a:lnTo>
                  <a:lnTo>
                    <a:pt x="18" y="642"/>
                  </a:lnTo>
                  <a:lnTo>
                    <a:pt x="18" y="618"/>
                  </a:lnTo>
                  <a:lnTo>
                    <a:pt x="24" y="606"/>
                  </a:lnTo>
                  <a:lnTo>
                    <a:pt x="30" y="594"/>
                  </a:lnTo>
                  <a:lnTo>
                    <a:pt x="30" y="582"/>
                  </a:lnTo>
                  <a:lnTo>
                    <a:pt x="36" y="576"/>
                  </a:lnTo>
                  <a:lnTo>
                    <a:pt x="42" y="564"/>
                  </a:lnTo>
                  <a:lnTo>
                    <a:pt x="48" y="546"/>
                  </a:lnTo>
                  <a:lnTo>
                    <a:pt x="48" y="528"/>
                  </a:lnTo>
                  <a:lnTo>
                    <a:pt x="60" y="516"/>
                  </a:lnTo>
                  <a:lnTo>
                    <a:pt x="66" y="504"/>
                  </a:lnTo>
                  <a:lnTo>
                    <a:pt x="66" y="492"/>
                  </a:lnTo>
                  <a:lnTo>
                    <a:pt x="60" y="480"/>
                  </a:lnTo>
                  <a:lnTo>
                    <a:pt x="54" y="468"/>
                  </a:lnTo>
                  <a:lnTo>
                    <a:pt x="60" y="456"/>
                  </a:lnTo>
                  <a:lnTo>
                    <a:pt x="72" y="450"/>
                  </a:lnTo>
                  <a:lnTo>
                    <a:pt x="84" y="438"/>
                  </a:lnTo>
                  <a:lnTo>
                    <a:pt x="90" y="426"/>
                  </a:lnTo>
                  <a:lnTo>
                    <a:pt x="90" y="420"/>
                  </a:lnTo>
                  <a:lnTo>
                    <a:pt x="90" y="408"/>
                  </a:lnTo>
                  <a:lnTo>
                    <a:pt x="90" y="402"/>
                  </a:lnTo>
                  <a:lnTo>
                    <a:pt x="84" y="396"/>
                  </a:lnTo>
                  <a:lnTo>
                    <a:pt x="78" y="378"/>
                  </a:lnTo>
                  <a:lnTo>
                    <a:pt x="72" y="360"/>
                  </a:lnTo>
                  <a:lnTo>
                    <a:pt x="66" y="348"/>
                  </a:lnTo>
                  <a:lnTo>
                    <a:pt x="72" y="336"/>
                  </a:lnTo>
                  <a:lnTo>
                    <a:pt x="66" y="306"/>
                  </a:lnTo>
                  <a:lnTo>
                    <a:pt x="54" y="276"/>
                  </a:lnTo>
                  <a:lnTo>
                    <a:pt x="42" y="252"/>
                  </a:lnTo>
                  <a:lnTo>
                    <a:pt x="36" y="222"/>
                  </a:lnTo>
                  <a:lnTo>
                    <a:pt x="30" y="192"/>
                  </a:lnTo>
                  <a:lnTo>
                    <a:pt x="24" y="162"/>
                  </a:lnTo>
                  <a:lnTo>
                    <a:pt x="42" y="174"/>
                  </a:lnTo>
                  <a:lnTo>
                    <a:pt x="120" y="138"/>
                  </a:lnTo>
                  <a:lnTo>
                    <a:pt x="132" y="126"/>
                  </a:lnTo>
                  <a:lnTo>
                    <a:pt x="120" y="54"/>
                  </a:lnTo>
                  <a:lnTo>
                    <a:pt x="156" y="30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0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8" y="18"/>
                  </a:lnTo>
                  <a:lnTo>
                    <a:pt x="198" y="24"/>
                  </a:lnTo>
                  <a:lnTo>
                    <a:pt x="198" y="30"/>
                  </a:lnTo>
                  <a:lnTo>
                    <a:pt x="198" y="42"/>
                  </a:lnTo>
                  <a:lnTo>
                    <a:pt x="198" y="48"/>
                  </a:lnTo>
                  <a:lnTo>
                    <a:pt x="192" y="60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28" y="60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34" y="60"/>
                  </a:lnTo>
                  <a:lnTo>
                    <a:pt x="252" y="60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312" y="84"/>
                  </a:lnTo>
                  <a:lnTo>
                    <a:pt x="318" y="96"/>
                  </a:lnTo>
                  <a:lnTo>
                    <a:pt x="318" y="102"/>
                  </a:lnTo>
                  <a:lnTo>
                    <a:pt x="312" y="120"/>
                  </a:lnTo>
                  <a:lnTo>
                    <a:pt x="306" y="132"/>
                  </a:lnTo>
                  <a:lnTo>
                    <a:pt x="294" y="144"/>
                  </a:lnTo>
                  <a:lnTo>
                    <a:pt x="282" y="156"/>
                  </a:lnTo>
                  <a:lnTo>
                    <a:pt x="276" y="162"/>
                  </a:lnTo>
                  <a:lnTo>
                    <a:pt x="270" y="162"/>
                  </a:lnTo>
                  <a:lnTo>
                    <a:pt x="264" y="174"/>
                  </a:lnTo>
                  <a:lnTo>
                    <a:pt x="264" y="192"/>
                  </a:lnTo>
                  <a:lnTo>
                    <a:pt x="264" y="216"/>
                  </a:lnTo>
                  <a:lnTo>
                    <a:pt x="258" y="216"/>
                  </a:lnTo>
                  <a:lnTo>
                    <a:pt x="258" y="228"/>
                  </a:lnTo>
                  <a:lnTo>
                    <a:pt x="252" y="234"/>
                  </a:lnTo>
                  <a:lnTo>
                    <a:pt x="258" y="240"/>
                  </a:lnTo>
                  <a:lnTo>
                    <a:pt x="264" y="240"/>
                  </a:lnTo>
                  <a:lnTo>
                    <a:pt x="270" y="240"/>
                  </a:lnTo>
                  <a:lnTo>
                    <a:pt x="276" y="240"/>
                  </a:lnTo>
                  <a:lnTo>
                    <a:pt x="288" y="240"/>
                  </a:lnTo>
                  <a:lnTo>
                    <a:pt x="300" y="246"/>
                  </a:lnTo>
                  <a:lnTo>
                    <a:pt x="306" y="258"/>
                  </a:lnTo>
                  <a:lnTo>
                    <a:pt x="312" y="264"/>
                  </a:lnTo>
                  <a:lnTo>
                    <a:pt x="318" y="276"/>
                  </a:lnTo>
                  <a:lnTo>
                    <a:pt x="330" y="282"/>
                  </a:lnTo>
                  <a:lnTo>
                    <a:pt x="330" y="300"/>
                  </a:lnTo>
                  <a:lnTo>
                    <a:pt x="336" y="312"/>
                  </a:lnTo>
                  <a:lnTo>
                    <a:pt x="336" y="318"/>
                  </a:lnTo>
                  <a:lnTo>
                    <a:pt x="336" y="330"/>
                  </a:lnTo>
                  <a:lnTo>
                    <a:pt x="324" y="330"/>
                  </a:lnTo>
                  <a:lnTo>
                    <a:pt x="330" y="336"/>
                  </a:lnTo>
                  <a:lnTo>
                    <a:pt x="330" y="342"/>
                  </a:lnTo>
                  <a:lnTo>
                    <a:pt x="336" y="348"/>
                  </a:lnTo>
                  <a:lnTo>
                    <a:pt x="330" y="360"/>
                  </a:lnTo>
                  <a:lnTo>
                    <a:pt x="336" y="372"/>
                  </a:lnTo>
                  <a:lnTo>
                    <a:pt x="354" y="366"/>
                  </a:lnTo>
                  <a:lnTo>
                    <a:pt x="366" y="366"/>
                  </a:lnTo>
                  <a:lnTo>
                    <a:pt x="372" y="378"/>
                  </a:lnTo>
                  <a:lnTo>
                    <a:pt x="372" y="390"/>
                  </a:lnTo>
                  <a:lnTo>
                    <a:pt x="378" y="396"/>
                  </a:lnTo>
                  <a:lnTo>
                    <a:pt x="378" y="408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44"/>
                  </a:lnTo>
                  <a:lnTo>
                    <a:pt x="390" y="444"/>
                  </a:lnTo>
                  <a:lnTo>
                    <a:pt x="396" y="444"/>
                  </a:lnTo>
                  <a:lnTo>
                    <a:pt x="402" y="450"/>
                  </a:lnTo>
                  <a:lnTo>
                    <a:pt x="408" y="450"/>
                  </a:lnTo>
                  <a:lnTo>
                    <a:pt x="408" y="462"/>
                  </a:lnTo>
                  <a:lnTo>
                    <a:pt x="408" y="468"/>
                  </a:lnTo>
                  <a:lnTo>
                    <a:pt x="414" y="474"/>
                  </a:lnTo>
                  <a:lnTo>
                    <a:pt x="420" y="474"/>
                  </a:lnTo>
                  <a:lnTo>
                    <a:pt x="420" y="480"/>
                  </a:lnTo>
                  <a:lnTo>
                    <a:pt x="426" y="480"/>
                  </a:lnTo>
                  <a:lnTo>
                    <a:pt x="432" y="480"/>
                  </a:lnTo>
                  <a:lnTo>
                    <a:pt x="462" y="486"/>
                  </a:lnTo>
                  <a:lnTo>
                    <a:pt x="468" y="492"/>
                  </a:lnTo>
                  <a:lnTo>
                    <a:pt x="468" y="498"/>
                  </a:lnTo>
                  <a:lnTo>
                    <a:pt x="462" y="498"/>
                  </a:lnTo>
                  <a:lnTo>
                    <a:pt x="456" y="498"/>
                  </a:lnTo>
                  <a:lnTo>
                    <a:pt x="456" y="504"/>
                  </a:lnTo>
                  <a:lnTo>
                    <a:pt x="456" y="510"/>
                  </a:lnTo>
                  <a:lnTo>
                    <a:pt x="450" y="516"/>
                  </a:lnTo>
                  <a:lnTo>
                    <a:pt x="426" y="516"/>
                  </a:lnTo>
                  <a:lnTo>
                    <a:pt x="408" y="528"/>
                  </a:lnTo>
                  <a:lnTo>
                    <a:pt x="408" y="546"/>
                  </a:lnTo>
                  <a:lnTo>
                    <a:pt x="414" y="552"/>
                  </a:lnTo>
                  <a:lnTo>
                    <a:pt x="408" y="558"/>
                  </a:lnTo>
                  <a:lnTo>
                    <a:pt x="402" y="564"/>
                  </a:lnTo>
                  <a:lnTo>
                    <a:pt x="384" y="564"/>
                  </a:lnTo>
                  <a:lnTo>
                    <a:pt x="372" y="564"/>
                  </a:lnTo>
                  <a:lnTo>
                    <a:pt x="372" y="576"/>
                  </a:lnTo>
                  <a:lnTo>
                    <a:pt x="366" y="576"/>
                  </a:lnTo>
                  <a:lnTo>
                    <a:pt x="366" y="582"/>
                  </a:lnTo>
                  <a:lnTo>
                    <a:pt x="360" y="582"/>
                  </a:lnTo>
                  <a:lnTo>
                    <a:pt x="348" y="576"/>
                  </a:lnTo>
                  <a:lnTo>
                    <a:pt x="336" y="570"/>
                  </a:lnTo>
                  <a:lnTo>
                    <a:pt x="324" y="570"/>
                  </a:lnTo>
                  <a:lnTo>
                    <a:pt x="300" y="564"/>
                  </a:lnTo>
                  <a:lnTo>
                    <a:pt x="282" y="564"/>
                  </a:lnTo>
                  <a:lnTo>
                    <a:pt x="270" y="570"/>
                  </a:lnTo>
                  <a:lnTo>
                    <a:pt x="264" y="576"/>
                  </a:lnTo>
                  <a:lnTo>
                    <a:pt x="258" y="576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34" y="594"/>
                  </a:lnTo>
                  <a:lnTo>
                    <a:pt x="228" y="600"/>
                  </a:lnTo>
                  <a:lnTo>
                    <a:pt x="210" y="618"/>
                  </a:lnTo>
                  <a:lnTo>
                    <a:pt x="210" y="624"/>
                  </a:lnTo>
                  <a:lnTo>
                    <a:pt x="192" y="630"/>
                  </a:lnTo>
                  <a:lnTo>
                    <a:pt x="186" y="630"/>
                  </a:lnTo>
                  <a:lnTo>
                    <a:pt x="180" y="636"/>
                  </a:lnTo>
                  <a:lnTo>
                    <a:pt x="174" y="642"/>
                  </a:lnTo>
                  <a:lnTo>
                    <a:pt x="168" y="642"/>
                  </a:lnTo>
                  <a:lnTo>
                    <a:pt x="168" y="654"/>
                  </a:lnTo>
                  <a:lnTo>
                    <a:pt x="168" y="678"/>
                  </a:lnTo>
                  <a:lnTo>
                    <a:pt x="162" y="684"/>
                  </a:lnTo>
                  <a:lnTo>
                    <a:pt x="156" y="684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72"/>
                  </a:lnTo>
                  <a:lnTo>
                    <a:pt x="138" y="672"/>
                  </a:lnTo>
                  <a:lnTo>
                    <a:pt x="138" y="666"/>
                  </a:lnTo>
                  <a:lnTo>
                    <a:pt x="132" y="660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48"/>
                  </a:lnTo>
                  <a:lnTo>
                    <a:pt x="102" y="654"/>
                  </a:lnTo>
                  <a:lnTo>
                    <a:pt x="90" y="654"/>
                  </a:lnTo>
                  <a:lnTo>
                    <a:pt x="84" y="654"/>
                  </a:lnTo>
                  <a:lnTo>
                    <a:pt x="72" y="660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36" y="684"/>
                  </a:lnTo>
                  <a:lnTo>
                    <a:pt x="30" y="6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7" name="Freeform 22">
              <a:extLst>
                <a:ext uri="{FF2B5EF4-FFF2-40B4-BE49-F238E27FC236}">
                  <a16:creationId xmlns:a16="http://schemas.microsoft.com/office/drawing/2014/main" id="{2F7A477D-6CF8-44B3-8B32-64EE03DC4D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2895" y="3967106"/>
              <a:ext cx="610479" cy="507686"/>
            </a:xfrm>
            <a:custGeom>
              <a:avLst/>
              <a:gdLst>
                <a:gd name="T0" fmla="*/ 87 w 1146"/>
                <a:gd name="T1" fmla="*/ 56 h 954"/>
                <a:gd name="T2" fmla="*/ 83 w 1146"/>
                <a:gd name="T3" fmla="*/ 66 h 954"/>
                <a:gd name="T4" fmla="*/ 74 w 1146"/>
                <a:gd name="T5" fmla="*/ 69 h 954"/>
                <a:gd name="T6" fmla="*/ 67 w 1146"/>
                <a:gd name="T7" fmla="*/ 75 h 954"/>
                <a:gd name="T8" fmla="*/ 59 w 1146"/>
                <a:gd name="T9" fmla="*/ 78 h 954"/>
                <a:gd name="T10" fmla="*/ 52 w 1146"/>
                <a:gd name="T11" fmla="*/ 77 h 954"/>
                <a:gd name="T12" fmla="*/ 48 w 1146"/>
                <a:gd name="T13" fmla="*/ 79 h 954"/>
                <a:gd name="T14" fmla="*/ 41 w 1146"/>
                <a:gd name="T15" fmla="*/ 82 h 954"/>
                <a:gd name="T16" fmla="*/ 29 w 1146"/>
                <a:gd name="T17" fmla="*/ 78 h 954"/>
                <a:gd name="T18" fmla="*/ 28 w 1146"/>
                <a:gd name="T19" fmla="*/ 76 h 954"/>
                <a:gd name="T20" fmla="*/ 28 w 1146"/>
                <a:gd name="T21" fmla="*/ 72 h 954"/>
                <a:gd name="T22" fmla="*/ 28 w 1146"/>
                <a:gd name="T23" fmla="*/ 74 h 954"/>
                <a:gd name="T24" fmla="*/ 21 w 1146"/>
                <a:gd name="T25" fmla="*/ 74 h 954"/>
                <a:gd name="T26" fmla="*/ 20 w 1146"/>
                <a:gd name="T27" fmla="*/ 67 h 954"/>
                <a:gd name="T28" fmla="*/ 23 w 1146"/>
                <a:gd name="T29" fmla="*/ 64 h 954"/>
                <a:gd name="T30" fmla="*/ 28 w 1146"/>
                <a:gd name="T31" fmla="*/ 65 h 954"/>
                <a:gd name="T32" fmla="*/ 32 w 1146"/>
                <a:gd name="T33" fmla="*/ 62 h 954"/>
                <a:gd name="T34" fmla="*/ 31 w 1146"/>
                <a:gd name="T35" fmla="*/ 56 h 954"/>
                <a:gd name="T36" fmla="*/ 36 w 1146"/>
                <a:gd name="T37" fmla="*/ 54 h 954"/>
                <a:gd name="T38" fmla="*/ 38 w 1146"/>
                <a:gd name="T39" fmla="*/ 54 h 954"/>
                <a:gd name="T40" fmla="*/ 32 w 1146"/>
                <a:gd name="T41" fmla="*/ 54 h 954"/>
                <a:gd name="T42" fmla="*/ 29 w 1146"/>
                <a:gd name="T43" fmla="*/ 59 h 954"/>
                <a:gd name="T44" fmla="*/ 26 w 1146"/>
                <a:gd name="T45" fmla="*/ 59 h 954"/>
                <a:gd name="T46" fmla="*/ 25 w 1146"/>
                <a:gd name="T47" fmla="*/ 61 h 954"/>
                <a:gd name="T48" fmla="*/ 20 w 1146"/>
                <a:gd name="T49" fmla="*/ 61 h 954"/>
                <a:gd name="T50" fmla="*/ 11 w 1146"/>
                <a:gd name="T51" fmla="*/ 54 h 954"/>
                <a:gd name="T52" fmla="*/ 14 w 1146"/>
                <a:gd name="T53" fmla="*/ 50 h 954"/>
                <a:gd name="T54" fmla="*/ 21 w 1146"/>
                <a:gd name="T55" fmla="*/ 51 h 954"/>
                <a:gd name="T56" fmla="*/ 24 w 1146"/>
                <a:gd name="T57" fmla="*/ 50 h 954"/>
                <a:gd name="T58" fmla="*/ 28 w 1146"/>
                <a:gd name="T59" fmla="*/ 48 h 954"/>
                <a:gd name="T60" fmla="*/ 30 w 1146"/>
                <a:gd name="T61" fmla="*/ 49 h 954"/>
                <a:gd name="T62" fmla="*/ 26 w 1146"/>
                <a:gd name="T63" fmla="*/ 47 h 954"/>
                <a:gd name="T64" fmla="*/ 20 w 1146"/>
                <a:gd name="T65" fmla="*/ 50 h 954"/>
                <a:gd name="T66" fmla="*/ 20 w 1146"/>
                <a:gd name="T67" fmla="*/ 44 h 954"/>
                <a:gd name="T68" fmla="*/ 19 w 1146"/>
                <a:gd name="T69" fmla="*/ 46 h 954"/>
                <a:gd name="T70" fmla="*/ 15 w 1146"/>
                <a:gd name="T71" fmla="*/ 49 h 954"/>
                <a:gd name="T72" fmla="*/ 8 w 1146"/>
                <a:gd name="T73" fmla="*/ 48 h 954"/>
                <a:gd name="T74" fmla="*/ 6 w 1146"/>
                <a:gd name="T75" fmla="*/ 41 h 954"/>
                <a:gd name="T76" fmla="*/ 10 w 1146"/>
                <a:gd name="T77" fmla="*/ 41 h 954"/>
                <a:gd name="T78" fmla="*/ 9 w 1146"/>
                <a:gd name="T79" fmla="*/ 39 h 954"/>
                <a:gd name="T80" fmla="*/ 14 w 1146"/>
                <a:gd name="T81" fmla="*/ 35 h 954"/>
                <a:gd name="T82" fmla="*/ 19 w 1146"/>
                <a:gd name="T83" fmla="*/ 32 h 954"/>
                <a:gd name="T84" fmla="*/ 20 w 1146"/>
                <a:gd name="T85" fmla="*/ 29 h 954"/>
                <a:gd name="T86" fmla="*/ 27 w 1146"/>
                <a:gd name="T87" fmla="*/ 27 h 954"/>
                <a:gd name="T88" fmla="*/ 33 w 1146"/>
                <a:gd name="T89" fmla="*/ 28 h 954"/>
                <a:gd name="T90" fmla="*/ 44 w 1146"/>
                <a:gd name="T91" fmla="*/ 27 h 954"/>
                <a:gd name="T92" fmla="*/ 52 w 1146"/>
                <a:gd name="T93" fmla="*/ 41 h 954"/>
                <a:gd name="T94" fmla="*/ 61 w 1146"/>
                <a:gd name="T95" fmla="*/ 40 h 954"/>
                <a:gd name="T96" fmla="*/ 69 w 1146"/>
                <a:gd name="T97" fmla="*/ 34 h 954"/>
                <a:gd name="T98" fmla="*/ 62 w 1146"/>
                <a:gd name="T99" fmla="*/ 12 h 954"/>
                <a:gd name="T100" fmla="*/ 74 w 1146"/>
                <a:gd name="T101" fmla="*/ 8 h 954"/>
                <a:gd name="T102" fmla="*/ 87 w 1146"/>
                <a:gd name="T103" fmla="*/ 1 h 954"/>
                <a:gd name="T104" fmla="*/ 99 w 1146"/>
                <a:gd name="T105" fmla="*/ 12 h 954"/>
                <a:gd name="T106" fmla="*/ 98 w 1146"/>
                <a:gd name="T107" fmla="*/ 27 h 954"/>
                <a:gd name="T108" fmla="*/ 16 w 1146"/>
                <a:gd name="T109" fmla="*/ 33 h 954"/>
                <a:gd name="T110" fmla="*/ 11 w 1146"/>
                <a:gd name="T111" fmla="*/ 36 h 954"/>
                <a:gd name="T112" fmla="*/ 5 w 1146"/>
                <a:gd name="T113" fmla="*/ 41 h 954"/>
                <a:gd name="T114" fmla="*/ 2 w 1146"/>
                <a:gd name="T115" fmla="*/ 36 h 954"/>
                <a:gd name="T116" fmla="*/ 5 w 1146"/>
                <a:gd name="T117" fmla="*/ 26 h 954"/>
                <a:gd name="T118" fmla="*/ 10 w 1146"/>
                <a:gd name="T119" fmla="*/ 20 h 954"/>
                <a:gd name="T120" fmla="*/ 13 w 1146"/>
                <a:gd name="T121" fmla="*/ 20 h 954"/>
                <a:gd name="T122" fmla="*/ 15 w 1146"/>
                <a:gd name="T123" fmla="*/ 27 h 95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46"/>
                <a:gd name="T187" fmla="*/ 0 h 954"/>
                <a:gd name="T188" fmla="*/ 1146 w 1146"/>
                <a:gd name="T189" fmla="*/ 954 h 95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46" h="954">
                  <a:moveTo>
                    <a:pt x="1056" y="498"/>
                  </a:moveTo>
                  <a:lnTo>
                    <a:pt x="1044" y="510"/>
                  </a:lnTo>
                  <a:lnTo>
                    <a:pt x="1032" y="516"/>
                  </a:lnTo>
                  <a:lnTo>
                    <a:pt x="1038" y="528"/>
                  </a:lnTo>
                  <a:lnTo>
                    <a:pt x="1050" y="540"/>
                  </a:lnTo>
                  <a:lnTo>
                    <a:pt x="1050" y="546"/>
                  </a:lnTo>
                  <a:lnTo>
                    <a:pt x="1050" y="564"/>
                  </a:lnTo>
                  <a:lnTo>
                    <a:pt x="1038" y="576"/>
                  </a:lnTo>
                  <a:lnTo>
                    <a:pt x="1032" y="588"/>
                  </a:lnTo>
                  <a:lnTo>
                    <a:pt x="1020" y="594"/>
                  </a:lnTo>
                  <a:lnTo>
                    <a:pt x="1008" y="594"/>
                  </a:lnTo>
                  <a:lnTo>
                    <a:pt x="1002" y="600"/>
                  </a:lnTo>
                  <a:lnTo>
                    <a:pt x="996" y="612"/>
                  </a:lnTo>
                  <a:lnTo>
                    <a:pt x="996" y="624"/>
                  </a:lnTo>
                  <a:lnTo>
                    <a:pt x="996" y="648"/>
                  </a:lnTo>
                  <a:lnTo>
                    <a:pt x="996" y="660"/>
                  </a:lnTo>
                  <a:lnTo>
                    <a:pt x="1002" y="672"/>
                  </a:lnTo>
                  <a:lnTo>
                    <a:pt x="1002" y="684"/>
                  </a:lnTo>
                  <a:lnTo>
                    <a:pt x="996" y="684"/>
                  </a:lnTo>
                  <a:lnTo>
                    <a:pt x="984" y="690"/>
                  </a:lnTo>
                  <a:lnTo>
                    <a:pt x="972" y="690"/>
                  </a:lnTo>
                  <a:lnTo>
                    <a:pt x="966" y="696"/>
                  </a:lnTo>
                  <a:lnTo>
                    <a:pt x="966" y="702"/>
                  </a:lnTo>
                  <a:lnTo>
                    <a:pt x="966" y="714"/>
                  </a:lnTo>
                  <a:lnTo>
                    <a:pt x="972" y="726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2" y="756"/>
                  </a:lnTo>
                  <a:lnTo>
                    <a:pt x="966" y="756"/>
                  </a:lnTo>
                  <a:lnTo>
                    <a:pt x="942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18" y="768"/>
                  </a:lnTo>
                  <a:lnTo>
                    <a:pt x="906" y="768"/>
                  </a:lnTo>
                  <a:lnTo>
                    <a:pt x="894" y="762"/>
                  </a:lnTo>
                  <a:lnTo>
                    <a:pt x="882" y="756"/>
                  </a:lnTo>
                  <a:lnTo>
                    <a:pt x="876" y="756"/>
                  </a:lnTo>
                  <a:lnTo>
                    <a:pt x="876" y="762"/>
                  </a:lnTo>
                  <a:lnTo>
                    <a:pt x="864" y="768"/>
                  </a:lnTo>
                  <a:lnTo>
                    <a:pt x="858" y="774"/>
                  </a:lnTo>
                  <a:lnTo>
                    <a:pt x="852" y="774"/>
                  </a:lnTo>
                  <a:lnTo>
                    <a:pt x="840" y="780"/>
                  </a:lnTo>
                  <a:lnTo>
                    <a:pt x="840" y="786"/>
                  </a:lnTo>
                  <a:lnTo>
                    <a:pt x="840" y="792"/>
                  </a:lnTo>
                  <a:lnTo>
                    <a:pt x="840" y="804"/>
                  </a:lnTo>
                  <a:lnTo>
                    <a:pt x="840" y="810"/>
                  </a:lnTo>
                  <a:lnTo>
                    <a:pt x="828" y="816"/>
                  </a:lnTo>
                  <a:lnTo>
                    <a:pt x="810" y="810"/>
                  </a:lnTo>
                  <a:lnTo>
                    <a:pt x="792" y="810"/>
                  </a:lnTo>
                  <a:lnTo>
                    <a:pt x="786" y="816"/>
                  </a:lnTo>
                  <a:lnTo>
                    <a:pt x="780" y="816"/>
                  </a:lnTo>
                  <a:lnTo>
                    <a:pt x="780" y="822"/>
                  </a:lnTo>
                  <a:lnTo>
                    <a:pt x="780" y="828"/>
                  </a:lnTo>
                  <a:lnTo>
                    <a:pt x="780" y="834"/>
                  </a:lnTo>
                  <a:lnTo>
                    <a:pt x="786" y="840"/>
                  </a:lnTo>
                  <a:lnTo>
                    <a:pt x="786" y="846"/>
                  </a:lnTo>
                  <a:lnTo>
                    <a:pt x="786" y="852"/>
                  </a:lnTo>
                  <a:lnTo>
                    <a:pt x="780" y="858"/>
                  </a:lnTo>
                  <a:lnTo>
                    <a:pt x="768" y="858"/>
                  </a:lnTo>
                  <a:lnTo>
                    <a:pt x="762" y="864"/>
                  </a:lnTo>
                  <a:lnTo>
                    <a:pt x="756" y="864"/>
                  </a:lnTo>
                  <a:lnTo>
                    <a:pt x="750" y="870"/>
                  </a:lnTo>
                  <a:lnTo>
                    <a:pt x="744" y="876"/>
                  </a:lnTo>
                  <a:lnTo>
                    <a:pt x="732" y="876"/>
                  </a:lnTo>
                  <a:lnTo>
                    <a:pt x="726" y="876"/>
                  </a:lnTo>
                  <a:lnTo>
                    <a:pt x="720" y="870"/>
                  </a:lnTo>
                  <a:lnTo>
                    <a:pt x="714" y="864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6" y="876"/>
                  </a:lnTo>
                  <a:lnTo>
                    <a:pt x="696" y="882"/>
                  </a:lnTo>
                  <a:lnTo>
                    <a:pt x="696" y="894"/>
                  </a:lnTo>
                  <a:lnTo>
                    <a:pt x="690" y="900"/>
                  </a:lnTo>
                  <a:lnTo>
                    <a:pt x="684" y="900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54" y="888"/>
                  </a:lnTo>
                  <a:lnTo>
                    <a:pt x="654" y="882"/>
                  </a:lnTo>
                  <a:lnTo>
                    <a:pt x="642" y="876"/>
                  </a:lnTo>
                  <a:lnTo>
                    <a:pt x="636" y="876"/>
                  </a:lnTo>
                  <a:lnTo>
                    <a:pt x="630" y="876"/>
                  </a:lnTo>
                  <a:lnTo>
                    <a:pt x="630" y="870"/>
                  </a:lnTo>
                  <a:lnTo>
                    <a:pt x="618" y="858"/>
                  </a:lnTo>
                  <a:lnTo>
                    <a:pt x="612" y="858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06" y="876"/>
                  </a:lnTo>
                  <a:lnTo>
                    <a:pt x="606" y="882"/>
                  </a:lnTo>
                  <a:lnTo>
                    <a:pt x="606" y="888"/>
                  </a:lnTo>
                  <a:lnTo>
                    <a:pt x="600" y="894"/>
                  </a:lnTo>
                  <a:lnTo>
                    <a:pt x="594" y="894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76" y="894"/>
                  </a:lnTo>
                  <a:lnTo>
                    <a:pt x="582" y="900"/>
                  </a:lnTo>
                  <a:lnTo>
                    <a:pt x="576" y="906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64" y="918"/>
                  </a:lnTo>
                  <a:lnTo>
                    <a:pt x="558" y="918"/>
                  </a:lnTo>
                  <a:lnTo>
                    <a:pt x="558" y="912"/>
                  </a:lnTo>
                  <a:lnTo>
                    <a:pt x="552" y="906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06"/>
                  </a:lnTo>
                  <a:lnTo>
                    <a:pt x="534" y="906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0" y="924"/>
                  </a:lnTo>
                  <a:lnTo>
                    <a:pt x="504" y="924"/>
                  </a:lnTo>
                  <a:lnTo>
                    <a:pt x="498" y="930"/>
                  </a:lnTo>
                  <a:lnTo>
                    <a:pt x="492" y="924"/>
                  </a:lnTo>
                  <a:lnTo>
                    <a:pt x="486" y="930"/>
                  </a:lnTo>
                  <a:lnTo>
                    <a:pt x="480" y="942"/>
                  </a:lnTo>
                  <a:lnTo>
                    <a:pt x="468" y="948"/>
                  </a:lnTo>
                  <a:lnTo>
                    <a:pt x="444" y="942"/>
                  </a:lnTo>
                  <a:lnTo>
                    <a:pt x="438" y="954"/>
                  </a:lnTo>
                  <a:lnTo>
                    <a:pt x="426" y="954"/>
                  </a:lnTo>
                  <a:lnTo>
                    <a:pt x="420" y="948"/>
                  </a:lnTo>
                  <a:lnTo>
                    <a:pt x="408" y="936"/>
                  </a:lnTo>
                  <a:lnTo>
                    <a:pt x="396" y="936"/>
                  </a:lnTo>
                  <a:lnTo>
                    <a:pt x="390" y="930"/>
                  </a:lnTo>
                  <a:lnTo>
                    <a:pt x="390" y="924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66" y="924"/>
                  </a:lnTo>
                  <a:lnTo>
                    <a:pt x="360" y="924"/>
                  </a:lnTo>
                  <a:lnTo>
                    <a:pt x="348" y="918"/>
                  </a:lnTo>
                  <a:lnTo>
                    <a:pt x="342" y="906"/>
                  </a:lnTo>
                  <a:lnTo>
                    <a:pt x="336" y="906"/>
                  </a:lnTo>
                  <a:lnTo>
                    <a:pt x="330" y="906"/>
                  </a:lnTo>
                  <a:lnTo>
                    <a:pt x="312" y="906"/>
                  </a:lnTo>
                  <a:lnTo>
                    <a:pt x="312" y="900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888"/>
                  </a:lnTo>
                  <a:lnTo>
                    <a:pt x="312" y="882"/>
                  </a:lnTo>
                  <a:lnTo>
                    <a:pt x="306" y="876"/>
                  </a:lnTo>
                  <a:lnTo>
                    <a:pt x="312" y="876"/>
                  </a:lnTo>
                  <a:lnTo>
                    <a:pt x="312" y="870"/>
                  </a:lnTo>
                  <a:lnTo>
                    <a:pt x="318" y="876"/>
                  </a:lnTo>
                  <a:lnTo>
                    <a:pt x="318" y="870"/>
                  </a:lnTo>
                  <a:lnTo>
                    <a:pt x="324" y="876"/>
                  </a:lnTo>
                  <a:lnTo>
                    <a:pt x="330" y="876"/>
                  </a:lnTo>
                  <a:lnTo>
                    <a:pt x="336" y="876"/>
                  </a:lnTo>
                  <a:lnTo>
                    <a:pt x="342" y="876"/>
                  </a:lnTo>
                  <a:lnTo>
                    <a:pt x="336" y="876"/>
                  </a:lnTo>
                  <a:lnTo>
                    <a:pt x="330" y="870"/>
                  </a:lnTo>
                  <a:lnTo>
                    <a:pt x="324" y="870"/>
                  </a:lnTo>
                  <a:lnTo>
                    <a:pt x="318" y="870"/>
                  </a:lnTo>
                  <a:lnTo>
                    <a:pt x="312" y="870"/>
                  </a:lnTo>
                  <a:lnTo>
                    <a:pt x="318" y="864"/>
                  </a:lnTo>
                  <a:lnTo>
                    <a:pt x="318" y="858"/>
                  </a:lnTo>
                  <a:lnTo>
                    <a:pt x="318" y="852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6" y="846"/>
                  </a:lnTo>
                  <a:lnTo>
                    <a:pt x="312" y="828"/>
                  </a:lnTo>
                  <a:lnTo>
                    <a:pt x="312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06" y="816"/>
                  </a:lnTo>
                  <a:lnTo>
                    <a:pt x="306" y="810"/>
                  </a:lnTo>
                  <a:lnTo>
                    <a:pt x="306" y="816"/>
                  </a:lnTo>
                  <a:lnTo>
                    <a:pt x="312" y="822"/>
                  </a:lnTo>
                  <a:lnTo>
                    <a:pt x="306" y="822"/>
                  </a:lnTo>
                  <a:lnTo>
                    <a:pt x="306" y="828"/>
                  </a:lnTo>
                  <a:lnTo>
                    <a:pt x="306" y="834"/>
                  </a:lnTo>
                  <a:lnTo>
                    <a:pt x="300" y="840"/>
                  </a:lnTo>
                  <a:lnTo>
                    <a:pt x="300" y="846"/>
                  </a:lnTo>
                  <a:lnTo>
                    <a:pt x="306" y="852"/>
                  </a:lnTo>
                  <a:lnTo>
                    <a:pt x="306" y="858"/>
                  </a:lnTo>
                  <a:lnTo>
                    <a:pt x="312" y="858"/>
                  </a:lnTo>
                  <a:lnTo>
                    <a:pt x="312" y="864"/>
                  </a:lnTo>
                  <a:lnTo>
                    <a:pt x="306" y="864"/>
                  </a:lnTo>
                  <a:lnTo>
                    <a:pt x="300" y="864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82" y="870"/>
                  </a:lnTo>
                  <a:lnTo>
                    <a:pt x="276" y="870"/>
                  </a:lnTo>
                  <a:lnTo>
                    <a:pt x="270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8" y="870"/>
                  </a:lnTo>
                  <a:lnTo>
                    <a:pt x="252" y="870"/>
                  </a:lnTo>
                  <a:lnTo>
                    <a:pt x="252" y="864"/>
                  </a:lnTo>
                  <a:lnTo>
                    <a:pt x="246" y="858"/>
                  </a:lnTo>
                  <a:lnTo>
                    <a:pt x="246" y="852"/>
                  </a:lnTo>
                  <a:lnTo>
                    <a:pt x="246" y="846"/>
                  </a:lnTo>
                  <a:lnTo>
                    <a:pt x="246" y="840"/>
                  </a:lnTo>
                  <a:lnTo>
                    <a:pt x="246" y="834"/>
                  </a:lnTo>
                  <a:lnTo>
                    <a:pt x="246" y="828"/>
                  </a:lnTo>
                  <a:lnTo>
                    <a:pt x="246" y="822"/>
                  </a:lnTo>
                  <a:lnTo>
                    <a:pt x="240" y="816"/>
                  </a:lnTo>
                  <a:lnTo>
                    <a:pt x="240" y="810"/>
                  </a:lnTo>
                  <a:lnTo>
                    <a:pt x="240" y="804"/>
                  </a:lnTo>
                  <a:lnTo>
                    <a:pt x="240" y="798"/>
                  </a:lnTo>
                  <a:lnTo>
                    <a:pt x="234" y="798"/>
                  </a:lnTo>
                  <a:lnTo>
                    <a:pt x="234" y="792"/>
                  </a:lnTo>
                  <a:lnTo>
                    <a:pt x="234" y="786"/>
                  </a:lnTo>
                  <a:lnTo>
                    <a:pt x="234" y="780"/>
                  </a:lnTo>
                  <a:lnTo>
                    <a:pt x="228" y="780"/>
                  </a:lnTo>
                  <a:lnTo>
                    <a:pt x="228" y="774"/>
                  </a:lnTo>
                  <a:lnTo>
                    <a:pt x="228" y="768"/>
                  </a:lnTo>
                  <a:lnTo>
                    <a:pt x="222" y="762"/>
                  </a:lnTo>
                  <a:lnTo>
                    <a:pt x="222" y="756"/>
                  </a:lnTo>
                  <a:lnTo>
                    <a:pt x="222" y="750"/>
                  </a:lnTo>
                  <a:lnTo>
                    <a:pt x="222" y="744"/>
                  </a:lnTo>
                  <a:lnTo>
                    <a:pt x="222" y="738"/>
                  </a:lnTo>
                  <a:lnTo>
                    <a:pt x="216" y="732"/>
                  </a:lnTo>
                  <a:lnTo>
                    <a:pt x="222" y="732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32"/>
                  </a:lnTo>
                  <a:lnTo>
                    <a:pt x="246" y="732"/>
                  </a:lnTo>
                  <a:lnTo>
                    <a:pt x="246" y="738"/>
                  </a:lnTo>
                  <a:lnTo>
                    <a:pt x="252" y="738"/>
                  </a:lnTo>
                  <a:lnTo>
                    <a:pt x="258" y="738"/>
                  </a:lnTo>
                  <a:lnTo>
                    <a:pt x="258" y="732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8" y="732"/>
                  </a:lnTo>
                  <a:lnTo>
                    <a:pt x="294" y="732"/>
                  </a:lnTo>
                  <a:lnTo>
                    <a:pt x="300" y="732"/>
                  </a:lnTo>
                  <a:lnTo>
                    <a:pt x="300" y="738"/>
                  </a:lnTo>
                  <a:lnTo>
                    <a:pt x="306" y="738"/>
                  </a:lnTo>
                  <a:lnTo>
                    <a:pt x="306" y="744"/>
                  </a:lnTo>
                  <a:lnTo>
                    <a:pt x="306" y="750"/>
                  </a:lnTo>
                  <a:lnTo>
                    <a:pt x="312" y="750"/>
                  </a:lnTo>
                  <a:lnTo>
                    <a:pt x="312" y="756"/>
                  </a:lnTo>
                  <a:lnTo>
                    <a:pt x="318" y="756"/>
                  </a:lnTo>
                  <a:lnTo>
                    <a:pt x="318" y="750"/>
                  </a:lnTo>
                  <a:lnTo>
                    <a:pt x="312" y="750"/>
                  </a:lnTo>
                  <a:lnTo>
                    <a:pt x="312" y="744"/>
                  </a:lnTo>
                  <a:lnTo>
                    <a:pt x="318" y="738"/>
                  </a:lnTo>
                  <a:lnTo>
                    <a:pt x="324" y="738"/>
                  </a:lnTo>
                  <a:lnTo>
                    <a:pt x="330" y="738"/>
                  </a:lnTo>
                  <a:lnTo>
                    <a:pt x="336" y="738"/>
                  </a:lnTo>
                  <a:lnTo>
                    <a:pt x="342" y="738"/>
                  </a:lnTo>
                  <a:lnTo>
                    <a:pt x="348" y="732"/>
                  </a:lnTo>
                  <a:lnTo>
                    <a:pt x="354" y="732"/>
                  </a:lnTo>
                  <a:lnTo>
                    <a:pt x="360" y="732"/>
                  </a:lnTo>
                  <a:lnTo>
                    <a:pt x="360" y="726"/>
                  </a:lnTo>
                  <a:lnTo>
                    <a:pt x="366" y="726"/>
                  </a:lnTo>
                  <a:lnTo>
                    <a:pt x="366" y="720"/>
                  </a:lnTo>
                  <a:lnTo>
                    <a:pt x="366" y="714"/>
                  </a:lnTo>
                  <a:lnTo>
                    <a:pt x="360" y="708"/>
                  </a:lnTo>
                  <a:lnTo>
                    <a:pt x="354" y="708"/>
                  </a:lnTo>
                  <a:lnTo>
                    <a:pt x="348" y="702"/>
                  </a:lnTo>
                  <a:lnTo>
                    <a:pt x="354" y="702"/>
                  </a:lnTo>
                  <a:lnTo>
                    <a:pt x="354" y="696"/>
                  </a:lnTo>
                  <a:lnTo>
                    <a:pt x="348" y="696"/>
                  </a:lnTo>
                  <a:lnTo>
                    <a:pt x="348" y="690"/>
                  </a:lnTo>
                  <a:lnTo>
                    <a:pt x="342" y="690"/>
                  </a:lnTo>
                  <a:lnTo>
                    <a:pt x="342" y="684"/>
                  </a:lnTo>
                  <a:lnTo>
                    <a:pt x="342" y="678"/>
                  </a:lnTo>
                  <a:lnTo>
                    <a:pt x="342" y="666"/>
                  </a:lnTo>
                  <a:lnTo>
                    <a:pt x="342" y="660"/>
                  </a:lnTo>
                  <a:lnTo>
                    <a:pt x="348" y="654"/>
                  </a:lnTo>
                  <a:lnTo>
                    <a:pt x="348" y="642"/>
                  </a:lnTo>
                  <a:lnTo>
                    <a:pt x="354" y="642"/>
                  </a:lnTo>
                  <a:lnTo>
                    <a:pt x="360" y="642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66" y="642"/>
                  </a:lnTo>
                  <a:lnTo>
                    <a:pt x="372" y="642"/>
                  </a:lnTo>
                  <a:lnTo>
                    <a:pt x="378" y="642"/>
                  </a:lnTo>
                  <a:lnTo>
                    <a:pt x="384" y="642"/>
                  </a:lnTo>
                  <a:lnTo>
                    <a:pt x="390" y="642"/>
                  </a:lnTo>
                  <a:lnTo>
                    <a:pt x="396" y="642"/>
                  </a:lnTo>
                  <a:lnTo>
                    <a:pt x="396" y="636"/>
                  </a:lnTo>
                  <a:lnTo>
                    <a:pt x="402" y="636"/>
                  </a:lnTo>
                  <a:lnTo>
                    <a:pt x="408" y="636"/>
                  </a:lnTo>
                  <a:lnTo>
                    <a:pt x="402" y="636"/>
                  </a:lnTo>
                  <a:lnTo>
                    <a:pt x="402" y="630"/>
                  </a:lnTo>
                  <a:lnTo>
                    <a:pt x="408" y="630"/>
                  </a:lnTo>
                  <a:lnTo>
                    <a:pt x="408" y="624"/>
                  </a:lnTo>
                  <a:lnTo>
                    <a:pt x="408" y="618"/>
                  </a:lnTo>
                  <a:lnTo>
                    <a:pt x="414" y="618"/>
                  </a:lnTo>
                  <a:lnTo>
                    <a:pt x="420" y="618"/>
                  </a:lnTo>
                  <a:lnTo>
                    <a:pt x="426" y="624"/>
                  </a:lnTo>
                  <a:lnTo>
                    <a:pt x="432" y="624"/>
                  </a:lnTo>
                  <a:lnTo>
                    <a:pt x="438" y="624"/>
                  </a:lnTo>
                  <a:lnTo>
                    <a:pt x="438" y="618"/>
                  </a:lnTo>
                  <a:lnTo>
                    <a:pt x="444" y="618"/>
                  </a:lnTo>
                  <a:lnTo>
                    <a:pt x="450" y="618"/>
                  </a:lnTo>
                  <a:lnTo>
                    <a:pt x="444" y="618"/>
                  </a:lnTo>
                  <a:lnTo>
                    <a:pt x="438" y="618"/>
                  </a:lnTo>
                  <a:lnTo>
                    <a:pt x="438" y="612"/>
                  </a:lnTo>
                  <a:lnTo>
                    <a:pt x="438" y="618"/>
                  </a:lnTo>
                  <a:lnTo>
                    <a:pt x="432" y="624"/>
                  </a:lnTo>
                  <a:lnTo>
                    <a:pt x="426" y="618"/>
                  </a:lnTo>
                  <a:lnTo>
                    <a:pt x="420" y="612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402" y="624"/>
                  </a:lnTo>
                  <a:lnTo>
                    <a:pt x="396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78" y="630"/>
                  </a:lnTo>
                  <a:lnTo>
                    <a:pt x="378" y="636"/>
                  </a:lnTo>
                  <a:lnTo>
                    <a:pt x="372" y="630"/>
                  </a:lnTo>
                  <a:lnTo>
                    <a:pt x="366" y="630"/>
                  </a:lnTo>
                  <a:lnTo>
                    <a:pt x="360" y="630"/>
                  </a:lnTo>
                  <a:lnTo>
                    <a:pt x="354" y="630"/>
                  </a:lnTo>
                  <a:lnTo>
                    <a:pt x="354" y="636"/>
                  </a:lnTo>
                  <a:lnTo>
                    <a:pt x="348" y="636"/>
                  </a:lnTo>
                  <a:lnTo>
                    <a:pt x="348" y="642"/>
                  </a:lnTo>
                  <a:lnTo>
                    <a:pt x="342" y="642"/>
                  </a:lnTo>
                  <a:lnTo>
                    <a:pt x="342" y="648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6" y="660"/>
                  </a:lnTo>
                  <a:lnTo>
                    <a:pt x="336" y="666"/>
                  </a:lnTo>
                  <a:lnTo>
                    <a:pt x="330" y="672"/>
                  </a:lnTo>
                  <a:lnTo>
                    <a:pt x="330" y="678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24" y="696"/>
                  </a:lnTo>
                  <a:lnTo>
                    <a:pt x="324" y="702"/>
                  </a:lnTo>
                  <a:lnTo>
                    <a:pt x="318" y="702"/>
                  </a:lnTo>
                  <a:lnTo>
                    <a:pt x="318" y="708"/>
                  </a:lnTo>
                  <a:lnTo>
                    <a:pt x="312" y="708"/>
                  </a:lnTo>
                  <a:lnTo>
                    <a:pt x="312" y="702"/>
                  </a:lnTo>
                  <a:lnTo>
                    <a:pt x="306" y="702"/>
                  </a:lnTo>
                  <a:lnTo>
                    <a:pt x="300" y="702"/>
                  </a:lnTo>
                  <a:lnTo>
                    <a:pt x="294" y="696"/>
                  </a:lnTo>
                  <a:lnTo>
                    <a:pt x="288" y="696"/>
                  </a:lnTo>
                  <a:lnTo>
                    <a:pt x="282" y="690"/>
                  </a:lnTo>
                  <a:lnTo>
                    <a:pt x="288" y="684"/>
                  </a:lnTo>
                  <a:lnTo>
                    <a:pt x="294" y="684"/>
                  </a:lnTo>
                  <a:lnTo>
                    <a:pt x="294" y="678"/>
                  </a:lnTo>
                  <a:lnTo>
                    <a:pt x="300" y="678"/>
                  </a:lnTo>
                  <a:lnTo>
                    <a:pt x="294" y="678"/>
                  </a:lnTo>
                  <a:lnTo>
                    <a:pt x="294" y="672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94" y="672"/>
                  </a:lnTo>
                  <a:lnTo>
                    <a:pt x="288" y="678"/>
                  </a:lnTo>
                  <a:lnTo>
                    <a:pt x="282" y="684"/>
                  </a:lnTo>
                  <a:lnTo>
                    <a:pt x="282" y="678"/>
                  </a:lnTo>
                  <a:lnTo>
                    <a:pt x="276" y="678"/>
                  </a:lnTo>
                  <a:lnTo>
                    <a:pt x="282" y="684"/>
                  </a:lnTo>
                  <a:lnTo>
                    <a:pt x="282" y="690"/>
                  </a:lnTo>
                  <a:lnTo>
                    <a:pt x="282" y="696"/>
                  </a:lnTo>
                  <a:lnTo>
                    <a:pt x="288" y="702"/>
                  </a:lnTo>
                  <a:lnTo>
                    <a:pt x="294" y="708"/>
                  </a:lnTo>
                  <a:lnTo>
                    <a:pt x="294" y="714"/>
                  </a:lnTo>
                  <a:lnTo>
                    <a:pt x="288" y="714"/>
                  </a:lnTo>
                  <a:lnTo>
                    <a:pt x="282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64" y="714"/>
                  </a:lnTo>
                  <a:lnTo>
                    <a:pt x="258" y="714"/>
                  </a:lnTo>
                  <a:lnTo>
                    <a:pt x="252" y="714"/>
                  </a:lnTo>
                  <a:lnTo>
                    <a:pt x="246" y="714"/>
                  </a:lnTo>
                  <a:lnTo>
                    <a:pt x="240" y="714"/>
                  </a:lnTo>
                  <a:lnTo>
                    <a:pt x="240" y="708"/>
                  </a:lnTo>
                  <a:lnTo>
                    <a:pt x="234" y="708"/>
                  </a:lnTo>
                  <a:lnTo>
                    <a:pt x="228" y="708"/>
                  </a:lnTo>
                  <a:lnTo>
                    <a:pt x="222" y="702"/>
                  </a:lnTo>
                  <a:lnTo>
                    <a:pt x="216" y="702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2" y="690"/>
                  </a:lnTo>
                  <a:lnTo>
                    <a:pt x="186" y="690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68" y="684"/>
                  </a:lnTo>
                  <a:lnTo>
                    <a:pt x="168" y="678"/>
                  </a:lnTo>
                  <a:lnTo>
                    <a:pt x="156" y="672"/>
                  </a:lnTo>
                  <a:lnTo>
                    <a:pt x="150" y="660"/>
                  </a:lnTo>
                  <a:lnTo>
                    <a:pt x="126" y="630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12"/>
                  </a:lnTo>
                  <a:lnTo>
                    <a:pt x="126" y="606"/>
                  </a:lnTo>
                  <a:lnTo>
                    <a:pt x="126" y="600"/>
                  </a:lnTo>
                  <a:lnTo>
                    <a:pt x="132" y="594"/>
                  </a:lnTo>
                  <a:lnTo>
                    <a:pt x="138" y="594"/>
                  </a:lnTo>
                  <a:lnTo>
                    <a:pt x="144" y="588"/>
                  </a:lnTo>
                  <a:lnTo>
                    <a:pt x="144" y="582"/>
                  </a:lnTo>
                  <a:lnTo>
                    <a:pt x="150" y="582"/>
                  </a:lnTo>
                  <a:lnTo>
                    <a:pt x="150" y="576"/>
                  </a:lnTo>
                  <a:lnTo>
                    <a:pt x="156" y="576"/>
                  </a:lnTo>
                  <a:lnTo>
                    <a:pt x="156" y="582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8" y="576"/>
                  </a:lnTo>
                  <a:lnTo>
                    <a:pt x="174" y="576"/>
                  </a:lnTo>
                  <a:lnTo>
                    <a:pt x="180" y="582"/>
                  </a:lnTo>
                  <a:lnTo>
                    <a:pt x="192" y="582"/>
                  </a:lnTo>
                  <a:lnTo>
                    <a:pt x="198" y="582"/>
                  </a:lnTo>
                  <a:lnTo>
                    <a:pt x="204" y="582"/>
                  </a:lnTo>
                  <a:lnTo>
                    <a:pt x="210" y="582"/>
                  </a:lnTo>
                  <a:lnTo>
                    <a:pt x="216" y="588"/>
                  </a:lnTo>
                  <a:lnTo>
                    <a:pt x="222" y="588"/>
                  </a:lnTo>
                  <a:lnTo>
                    <a:pt x="234" y="588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46" y="594"/>
                  </a:lnTo>
                  <a:lnTo>
                    <a:pt x="252" y="588"/>
                  </a:lnTo>
                  <a:lnTo>
                    <a:pt x="258" y="588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52" y="600"/>
                  </a:lnTo>
                  <a:lnTo>
                    <a:pt x="246" y="600"/>
                  </a:lnTo>
                  <a:lnTo>
                    <a:pt x="246" y="606"/>
                  </a:lnTo>
                  <a:lnTo>
                    <a:pt x="246" y="600"/>
                  </a:lnTo>
                  <a:lnTo>
                    <a:pt x="252" y="600"/>
                  </a:lnTo>
                  <a:lnTo>
                    <a:pt x="258" y="594"/>
                  </a:lnTo>
                  <a:lnTo>
                    <a:pt x="264" y="594"/>
                  </a:lnTo>
                  <a:lnTo>
                    <a:pt x="264" y="588"/>
                  </a:lnTo>
                  <a:lnTo>
                    <a:pt x="270" y="588"/>
                  </a:lnTo>
                  <a:lnTo>
                    <a:pt x="270" y="582"/>
                  </a:lnTo>
                  <a:lnTo>
                    <a:pt x="270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76" y="564"/>
                  </a:lnTo>
                  <a:lnTo>
                    <a:pt x="270" y="558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58"/>
                  </a:lnTo>
                  <a:lnTo>
                    <a:pt x="282" y="558"/>
                  </a:lnTo>
                  <a:lnTo>
                    <a:pt x="288" y="558"/>
                  </a:lnTo>
                  <a:lnTo>
                    <a:pt x="294" y="558"/>
                  </a:lnTo>
                  <a:lnTo>
                    <a:pt x="300" y="558"/>
                  </a:lnTo>
                  <a:lnTo>
                    <a:pt x="306" y="558"/>
                  </a:lnTo>
                  <a:lnTo>
                    <a:pt x="312" y="558"/>
                  </a:lnTo>
                  <a:lnTo>
                    <a:pt x="318" y="558"/>
                  </a:lnTo>
                  <a:lnTo>
                    <a:pt x="318" y="564"/>
                  </a:lnTo>
                  <a:lnTo>
                    <a:pt x="324" y="564"/>
                  </a:lnTo>
                  <a:lnTo>
                    <a:pt x="324" y="570"/>
                  </a:lnTo>
                  <a:lnTo>
                    <a:pt x="330" y="570"/>
                  </a:lnTo>
                  <a:lnTo>
                    <a:pt x="336" y="570"/>
                  </a:lnTo>
                  <a:lnTo>
                    <a:pt x="342" y="570"/>
                  </a:lnTo>
                  <a:lnTo>
                    <a:pt x="348" y="570"/>
                  </a:lnTo>
                  <a:lnTo>
                    <a:pt x="354" y="570"/>
                  </a:lnTo>
                  <a:lnTo>
                    <a:pt x="360" y="570"/>
                  </a:lnTo>
                  <a:lnTo>
                    <a:pt x="366" y="570"/>
                  </a:lnTo>
                  <a:lnTo>
                    <a:pt x="360" y="570"/>
                  </a:lnTo>
                  <a:lnTo>
                    <a:pt x="360" y="564"/>
                  </a:lnTo>
                  <a:lnTo>
                    <a:pt x="354" y="564"/>
                  </a:lnTo>
                  <a:lnTo>
                    <a:pt x="348" y="564"/>
                  </a:lnTo>
                  <a:lnTo>
                    <a:pt x="342" y="564"/>
                  </a:lnTo>
                  <a:lnTo>
                    <a:pt x="342" y="570"/>
                  </a:lnTo>
                  <a:lnTo>
                    <a:pt x="336" y="564"/>
                  </a:lnTo>
                  <a:lnTo>
                    <a:pt x="336" y="570"/>
                  </a:lnTo>
                  <a:lnTo>
                    <a:pt x="336" y="564"/>
                  </a:lnTo>
                  <a:lnTo>
                    <a:pt x="330" y="564"/>
                  </a:lnTo>
                  <a:lnTo>
                    <a:pt x="324" y="558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18" y="558"/>
                  </a:lnTo>
                  <a:lnTo>
                    <a:pt x="312" y="552"/>
                  </a:lnTo>
                  <a:lnTo>
                    <a:pt x="312" y="558"/>
                  </a:lnTo>
                  <a:lnTo>
                    <a:pt x="312" y="552"/>
                  </a:lnTo>
                  <a:lnTo>
                    <a:pt x="306" y="552"/>
                  </a:lnTo>
                  <a:lnTo>
                    <a:pt x="300" y="546"/>
                  </a:lnTo>
                  <a:lnTo>
                    <a:pt x="294" y="546"/>
                  </a:lnTo>
                  <a:lnTo>
                    <a:pt x="288" y="546"/>
                  </a:lnTo>
                  <a:lnTo>
                    <a:pt x="282" y="546"/>
                  </a:lnTo>
                  <a:lnTo>
                    <a:pt x="276" y="546"/>
                  </a:lnTo>
                  <a:lnTo>
                    <a:pt x="276" y="552"/>
                  </a:lnTo>
                  <a:lnTo>
                    <a:pt x="270" y="552"/>
                  </a:lnTo>
                  <a:lnTo>
                    <a:pt x="270" y="558"/>
                  </a:lnTo>
                  <a:lnTo>
                    <a:pt x="270" y="564"/>
                  </a:lnTo>
                  <a:lnTo>
                    <a:pt x="264" y="570"/>
                  </a:lnTo>
                  <a:lnTo>
                    <a:pt x="258" y="576"/>
                  </a:lnTo>
                  <a:lnTo>
                    <a:pt x="258" y="582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34" y="576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16" y="552"/>
                  </a:lnTo>
                  <a:lnTo>
                    <a:pt x="216" y="546"/>
                  </a:lnTo>
                  <a:lnTo>
                    <a:pt x="216" y="540"/>
                  </a:lnTo>
                  <a:lnTo>
                    <a:pt x="222" y="534"/>
                  </a:lnTo>
                  <a:lnTo>
                    <a:pt x="222" y="528"/>
                  </a:lnTo>
                  <a:lnTo>
                    <a:pt x="228" y="522"/>
                  </a:lnTo>
                  <a:lnTo>
                    <a:pt x="228" y="516"/>
                  </a:lnTo>
                  <a:lnTo>
                    <a:pt x="228" y="510"/>
                  </a:lnTo>
                  <a:lnTo>
                    <a:pt x="234" y="510"/>
                  </a:lnTo>
                  <a:lnTo>
                    <a:pt x="240" y="516"/>
                  </a:lnTo>
                  <a:lnTo>
                    <a:pt x="246" y="522"/>
                  </a:lnTo>
                  <a:lnTo>
                    <a:pt x="246" y="516"/>
                  </a:lnTo>
                  <a:lnTo>
                    <a:pt x="240" y="516"/>
                  </a:lnTo>
                  <a:lnTo>
                    <a:pt x="240" y="510"/>
                  </a:lnTo>
                  <a:lnTo>
                    <a:pt x="234" y="510"/>
                  </a:lnTo>
                  <a:lnTo>
                    <a:pt x="234" y="504"/>
                  </a:lnTo>
                  <a:lnTo>
                    <a:pt x="228" y="504"/>
                  </a:lnTo>
                  <a:lnTo>
                    <a:pt x="222" y="504"/>
                  </a:lnTo>
                  <a:lnTo>
                    <a:pt x="222" y="498"/>
                  </a:lnTo>
                  <a:lnTo>
                    <a:pt x="222" y="504"/>
                  </a:lnTo>
                  <a:lnTo>
                    <a:pt x="222" y="510"/>
                  </a:lnTo>
                  <a:lnTo>
                    <a:pt x="222" y="516"/>
                  </a:lnTo>
                  <a:lnTo>
                    <a:pt x="216" y="522"/>
                  </a:lnTo>
                  <a:lnTo>
                    <a:pt x="216" y="528"/>
                  </a:lnTo>
                  <a:lnTo>
                    <a:pt x="210" y="528"/>
                  </a:lnTo>
                  <a:lnTo>
                    <a:pt x="216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04" y="546"/>
                  </a:lnTo>
                  <a:lnTo>
                    <a:pt x="204" y="552"/>
                  </a:lnTo>
                  <a:lnTo>
                    <a:pt x="204" y="558"/>
                  </a:lnTo>
                  <a:lnTo>
                    <a:pt x="204" y="564"/>
                  </a:lnTo>
                  <a:lnTo>
                    <a:pt x="198" y="570"/>
                  </a:lnTo>
                  <a:lnTo>
                    <a:pt x="192" y="564"/>
                  </a:lnTo>
                  <a:lnTo>
                    <a:pt x="186" y="564"/>
                  </a:lnTo>
                  <a:lnTo>
                    <a:pt x="180" y="564"/>
                  </a:lnTo>
                  <a:lnTo>
                    <a:pt x="174" y="564"/>
                  </a:lnTo>
                  <a:lnTo>
                    <a:pt x="168" y="564"/>
                  </a:lnTo>
                  <a:lnTo>
                    <a:pt x="162" y="564"/>
                  </a:lnTo>
                  <a:lnTo>
                    <a:pt x="156" y="570"/>
                  </a:lnTo>
                  <a:lnTo>
                    <a:pt x="150" y="570"/>
                  </a:lnTo>
                  <a:lnTo>
                    <a:pt x="150" y="564"/>
                  </a:lnTo>
                  <a:lnTo>
                    <a:pt x="150" y="570"/>
                  </a:lnTo>
                  <a:lnTo>
                    <a:pt x="150" y="576"/>
                  </a:lnTo>
                  <a:lnTo>
                    <a:pt x="144" y="576"/>
                  </a:lnTo>
                  <a:lnTo>
                    <a:pt x="138" y="576"/>
                  </a:lnTo>
                  <a:lnTo>
                    <a:pt x="132" y="582"/>
                  </a:lnTo>
                  <a:lnTo>
                    <a:pt x="126" y="582"/>
                  </a:lnTo>
                  <a:lnTo>
                    <a:pt x="120" y="582"/>
                  </a:lnTo>
                  <a:lnTo>
                    <a:pt x="114" y="576"/>
                  </a:lnTo>
                  <a:lnTo>
                    <a:pt x="108" y="564"/>
                  </a:lnTo>
                  <a:lnTo>
                    <a:pt x="102" y="558"/>
                  </a:lnTo>
                  <a:lnTo>
                    <a:pt x="96" y="552"/>
                  </a:lnTo>
                  <a:lnTo>
                    <a:pt x="90" y="546"/>
                  </a:lnTo>
                  <a:lnTo>
                    <a:pt x="90" y="540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2"/>
                  </a:lnTo>
                  <a:lnTo>
                    <a:pt x="78" y="516"/>
                  </a:lnTo>
                  <a:lnTo>
                    <a:pt x="72" y="510"/>
                  </a:lnTo>
                  <a:lnTo>
                    <a:pt x="66" y="504"/>
                  </a:lnTo>
                  <a:lnTo>
                    <a:pt x="66" y="498"/>
                  </a:lnTo>
                  <a:lnTo>
                    <a:pt x="66" y="492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6" y="474"/>
                  </a:lnTo>
                  <a:lnTo>
                    <a:pt x="72" y="474"/>
                  </a:lnTo>
                  <a:lnTo>
                    <a:pt x="72" y="468"/>
                  </a:lnTo>
                  <a:lnTo>
                    <a:pt x="78" y="462"/>
                  </a:lnTo>
                  <a:lnTo>
                    <a:pt x="78" y="456"/>
                  </a:lnTo>
                  <a:lnTo>
                    <a:pt x="84" y="456"/>
                  </a:lnTo>
                  <a:lnTo>
                    <a:pt x="84" y="450"/>
                  </a:lnTo>
                  <a:lnTo>
                    <a:pt x="84" y="444"/>
                  </a:lnTo>
                  <a:lnTo>
                    <a:pt x="90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02" y="450"/>
                  </a:lnTo>
                  <a:lnTo>
                    <a:pt x="108" y="450"/>
                  </a:lnTo>
                  <a:lnTo>
                    <a:pt x="108" y="456"/>
                  </a:lnTo>
                  <a:lnTo>
                    <a:pt x="108" y="462"/>
                  </a:lnTo>
                  <a:lnTo>
                    <a:pt x="114" y="462"/>
                  </a:lnTo>
                  <a:lnTo>
                    <a:pt x="114" y="468"/>
                  </a:lnTo>
                  <a:lnTo>
                    <a:pt x="114" y="474"/>
                  </a:lnTo>
                  <a:lnTo>
                    <a:pt x="114" y="480"/>
                  </a:lnTo>
                  <a:lnTo>
                    <a:pt x="114" y="486"/>
                  </a:lnTo>
                  <a:lnTo>
                    <a:pt x="120" y="486"/>
                  </a:lnTo>
                  <a:lnTo>
                    <a:pt x="126" y="486"/>
                  </a:lnTo>
                  <a:lnTo>
                    <a:pt x="132" y="486"/>
                  </a:lnTo>
                  <a:lnTo>
                    <a:pt x="126" y="480"/>
                  </a:lnTo>
                  <a:lnTo>
                    <a:pt x="120" y="480"/>
                  </a:lnTo>
                  <a:lnTo>
                    <a:pt x="114" y="480"/>
                  </a:lnTo>
                  <a:lnTo>
                    <a:pt x="120" y="480"/>
                  </a:lnTo>
                  <a:lnTo>
                    <a:pt x="120" y="474"/>
                  </a:lnTo>
                  <a:lnTo>
                    <a:pt x="120" y="468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108" y="450"/>
                  </a:lnTo>
                  <a:lnTo>
                    <a:pt x="108" y="444"/>
                  </a:lnTo>
                  <a:lnTo>
                    <a:pt x="114" y="438"/>
                  </a:lnTo>
                  <a:lnTo>
                    <a:pt x="120" y="438"/>
                  </a:lnTo>
                  <a:lnTo>
                    <a:pt x="120" y="432"/>
                  </a:lnTo>
                  <a:lnTo>
                    <a:pt x="132" y="426"/>
                  </a:lnTo>
                  <a:lnTo>
                    <a:pt x="138" y="420"/>
                  </a:lnTo>
                  <a:lnTo>
                    <a:pt x="144" y="420"/>
                  </a:lnTo>
                  <a:lnTo>
                    <a:pt x="144" y="414"/>
                  </a:lnTo>
                  <a:lnTo>
                    <a:pt x="144" y="420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6" y="414"/>
                  </a:lnTo>
                  <a:lnTo>
                    <a:pt x="162" y="414"/>
                  </a:lnTo>
                  <a:lnTo>
                    <a:pt x="162" y="408"/>
                  </a:lnTo>
                  <a:lnTo>
                    <a:pt x="168" y="408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86" y="396"/>
                  </a:lnTo>
                  <a:lnTo>
                    <a:pt x="186" y="390"/>
                  </a:lnTo>
                  <a:lnTo>
                    <a:pt x="192" y="390"/>
                  </a:lnTo>
                  <a:lnTo>
                    <a:pt x="198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210" y="378"/>
                  </a:lnTo>
                  <a:lnTo>
                    <a:pt x="210" y="372"/>
                  </a:lnTo>
                  <a:lnTo>
                    <a:pt x="216" y="372"/>
                  </a:lnTo>
                  <a:lnTo>
                    <a:pt x="222" y="366"/>
                  </a:lnTo>
                  <a:lnTo>
                    <a:pt x="228" y="360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6" y="348"/>
                  </a:lnTo>
                  <a:lnTo>
                    <a:pt x="252" y="348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0" y="342"/>
                  </a:lnTo>
                  <a:lnTo>
                    <a:pt x="234" y="342"/>
                  </a:lnTo>
                  <a:lnTo>
                    <a:pt x="228" y="336"/>
                  </a:lnTo>
                  <a:lnTo>
                    <a:pt x="222" y="336"/>
                  </a:lnTo>
                  <a:lnTo>
                    <a:pt x="216" y="336"/>
                  </a:lnTo>
                  <a:lnTo>
                    <a:pt x="222" y="324"/>
                  </a:lnTo>
                  <a:lnTo>
                    <a:pt x="222" y="318"/>
                  </a:lnTo>
                  <a:lnTo>
                    <a:pt x="222" y="312"/>
                  </a:lnTo>
                  <a:lnTo>
                    <a:pt x="234" y="318"/>
                  </a:lnTo>
                  <a:lnTo>
                    <a:pt x="246" y="318"/>
                  </a:lnTo>
                  <a:lnTo>
                    <a:pt x="258" y="318"/>
                  </a:lnTo>
                  <a:lnTo>
                    <a:pt x="270" y="312"/>
                  </a:lnTo>
                  <a:lnTo>
                    <a:pt x="276" y="312"/>
                  </a:lnTo>
                  <a:lnTo>
                    <a:pt x="288" y="324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94" y="306"/>
                  </a:lnTo>
                  <a:lnTo>
                    <a:pt x="300" y="300"/>
                  </a:lnTo>
                  <a:lnTo>
                    <a:pt x="306" y="306"/>
                  </a:lnTo>
                  <a:lnTo>
                    <a:pt x="312" y="318"/>
                  </a:lnTo>
                  <a:lnTo>
                    <a:pt x="318" y="312"/>
                  </a:lnTo>
                  <a:lnTo>
                    <a:pt x="324" y="312"/>
                  </a:lnTo>
                  <a:lnTo>
                    <a:pt x="330" y="312"/>
                  </a:lnTo>
                  <a:lnTo>
                    <a:pt x="342" y="306"/>
                  </a:lnTo>
                  <a:lnTo>
                    <a:pt x="348" y="306"/>
                  </a:lnTo>
                  <a:lnTo>
                    <a:pt x="348" y="312"/>
                  </a:lnTo>
                  <a:lnTo>
                    <a:pt x="348" y="318"/>
                  </a:lnTo>
                  <a:lnTo>
                    <a:pt x="354" y="318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60" y="336"/>
                  </a:lnTo>
                  <a:lnTo>
                    <a:pt x="366" y="330"/>
                  </a:lnTo>
                  <a:lnTo>
                    <a:pt x="378" y="324"/>
                  </a:lnTo>
                  <a:lnTo>
                    <a:pt x="384" y="324"/>
                  </a:lnTo>
                  <a:lnTo>
                    <a:pt x="384" y="318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6"/>
                  </a:lnTo>
                  <a:lnTo>
                    <a:pt x="402" y="306"/>
                  </a:lnTo>
                  <a:lnTo>
                    <a:pt x="408" y="306"/>
                  </a:lnTo>
                  <a:lnTo>
                    <a:pt x="414" y="300"/>
                  </a:lnTo>
                  <a:lnTo>
                    <a:pt x="420" y="300"/>
                  </a:lnTo>
                  <a:lnTo>
                    <a:pt x="426" y="300"/>
                  </a:lnTo>
                  <a:lnTo>
                    <a:pt x="432" y="300"/>
                  </a:lnTo>
                  <a:lnTo>
                    <a:pt x="444" y="288"/>
                  </a:lnTo>
                  <a:lnTo>
                    <a:pt x="450" y="294"/>
                  </a:lnTo>
                  <a:lnTo>
                    <a:pt x="468" y="300"/>
                  </a:lnTo>
                  <a:lnTo>
                    <a:pt x="498" y="312"/>
                  </a:lnTo>
                  <a:lnTo>
                    <a:pt x="504" y="324"/>
                  </a:lnTo>
                  <a:lnTo>
                    <a:pt x="516" y="330"/>
                  </a:lnTo>
                  <a:lnTo>
                    <a:pt x="516" y="336"/>
                  </a:lnTo>
                  <a:lnTo>
                    <a:pt x="540" y="342"/>
                  </a:lnTo>
                  <a:lnTo>
                    <a:pt x="558" y="372"/>
                  </a:lnTo>
                  <a:lnTo>
                    <a:pt x="594" y="384"/>
                  </a:lnTo>
                  <a:lnTo>
                    <a:pt x="606" y="402"/>
                  </a:lnTo>
                  <a:lnTo>
                    <a:pt x="600" y="420"/>
                  </a:lnTo>
                  <a:lnTo>
                    <a:pt x="588" y="444"/>
                  </a:lnTo>
                  <a:lnTo>
                    <a:pt x="588" y="450"/>
                  </a:lnTo>
                  <a:lnTo>
                    <a:pt x="588" y="456"/>
                  </a:lnTo>
                  <a:lnTo>
                    <a:pt x="594" y="456"/>
                  </a:lnTo>
                  <a:lnTo>
                    <a:pt x="594" y="462"/>
                  </a:lnTo>
                  <a:lnTo>
                    <a:pt x="594" y="468"/>
                  </a:lnTo>
                  <a:lnTo>
                    <a:pt x="594" y="474"/>
                  </a:lnTo>
                  <a:lnTo>
                    <a:pt x="600" y="474"/>
                  </a:lnTo>
                  <a:lnTo>
                    <a:pt x="606" y="480"/>
                  </a:lnTo>
                  <a:lnTo>
                    <a:pt x="606" y="486"/>
                  </a:lnTo>
                  <a:lnTo>
                    <a:pt x="612" y="486"/>
                  </a:lnTo>
                  <a:lnTo>
                    <a:pt x="618" y="486"/>
                  </a:lnTo>
                  <a:lnTo>
                    <a:pt x="624" y="486"/>
                  </a:lnTo>
                  <a:lnTo>
                    <a:pt x="636" y="486"/>
                  </a:lnTo>
                  <a:lnTo>
                    <a:pt x="642" y="486"/>
                  </a:lnTo>
                  <a:lnTo>
                    <a:pt x="648" y="480"/>
                  </a:lnTo>
                  <a:lnTo>
                    <a:pt x="654" y="474"/>
                  </a:lnTo>
                  <a:lnTo>
                    <a:pt x="660" y="468"/>
                  </a:lnTo>
                  <a:lnTo>
                    <a:pt x="666" y="468"/>
                  </a:lnTo>
                  <a:lnTo>
                    <a:pt x="684" y="468"/>
                  </a:lnTo>
                  <a:lnTo>
                    <a:pt x="696" y="468"/>
                  </a:lnTo>
                  <a:lnTo>
                    <a:pt x="696" y="462"/>
                  </a:lnTo>
                  <a:lnTo>
                    <a:pt x="702" y="456"/>
                  </a:lnTo>
                  <a:lnTo>
                    <a:pt x="708" y="450"/>
                  </a:lnTo>
                  <a:lnTo>
                    <a:pt x="714" y="450"/>
                  </a:lnTo>
                  <a:lnTo>
                    <a:pt x="720" y="450"/>
                  </a:lnTo>
                  <a:lnTo>
                    <a:pt x="720" y="438"/>
                  </a:lnTo>
                  <a:lnTo>
                    <a:pt x="726" y="432"/>
                  </a:lnTo>
                  <a:lnTo>
                    <a:pt x="738" y="420"/>
                  </a:lnTo>
                  <a:lnTo>
                    <a:pt x="744" y="420"/>
                  </a:lnTo>
                  <a:lnTo>
                    <a:pt x="750" y="414"/>
                  </a:lnTo>
                  <a:lnTo>
                    <a:pt x="762" y="408"/>
                  </a:lnTo>
                  <a:lnTo>
                    <a:pt x="768" y="408"/>
                  </a:lnTo>
                  <a:lnTo>
                    <a:pt x="768" y="402"/>
                  </a:lnTo>
                  <a:lnTo>
                    <a:pt x="780" y="396"/>
                  </a:lnTo>
                  <a:lnTo>
                    <a:pt x="786" y="396"/>
                  </a:lnTo>
                  <a:lnTo>
                    <a:pt x="786" y="390"/>
                  </a:lnTo>
                  <a:lnTo>
                    <a:pt x="792" y="384"/>
                  </a:lnTo>
                  <a:lnTo>
                    <a:pt x="792" y="378"/>
                  </a:lnTo>
                  <a:lnTo>
                    <a:pt x="798" y="366"/>
                  </a:lnTo>
                  <a:lnTo>
                    <a:pt x="804" y="360"/>
                  </a:lnTo>
                  <a:lnTo>
                    <a:pt x="816" y="342"/>
                  </a:lnTo>
                  <a:lnTo>
                    <a:pt x="816" y="312"/>
                  </a:lnTo>
                  <a:lnTo>
                    <a:pt x="804" y="300"/>
                  </a:lnTo>
                  <a:lnTo>
                    <a:pt x="798" y="288"/>
                  </a:lnTo>
                  <a:lnTo>
                    <a:pt x="762" y="264"/>
                  </a:lnTo>
                  <a:lnTo>
                    <a:pt x="738" y="234"/>
                  </a:lnTo>
                  <a:lnTo>
                    <a:pt x="738" y="222"/>
                  </a:lnTo>
                  <a:lnTo>
                    <a:pt x="744" y="210"/>
                  </a:lnTo>
                  <a:lnTo>
                    <a:pt x="732" y="174"/>
                  </a:lnTo>
                  <a:lnTo>
                    <a:pt x="714" y="156"/>
                  </a:lnTo>
                  <a:lnTo>
                    <a:pt x="708" y="144"/>
                  </a:lnTo>
                  <a:lnTo>
                    <a:pt x="714" y="126"/>
                  </a:lnTo>
                  <a:lnTo>
                    <a:pt x="720" y="114"/>
                  </a:lnTo>
                  <a:lnTo>
                    <a:pt x="732" y="102"/>
                  </a:lnTo>
                  <a:lnTo>
                    <a:pt x="744" y="102"/>
                  </a:lnTo>
                  <a:lnTo>
                    <a:pt x="762" y="108"/>
                  </a:lnTo>
                  <a:lnTo>
                    <a:pt x="774" y="114"/>
                  </a:lnTo>
                  <a:lnTo>
                    <a:pt x="780" y="138"/>
                  </a:lnTo>
                  <a:lnTo>
                    <a:pt x="786" y="144"/>
                  </a:lnTo>
                  <a:lnTo>
                    <a:pt x="798" y="138"/>
                  </a:lnTo>
                  <a:lnTo>
                    <a:pt x="804" y="132"/>
                  </a:lnTo>
                  <a:lnTo>
                    <a:pt x="816" y="120"/>
                  </a:lnTo>
                  <a:lnTo>
                    <a:pt x="816" y="108"/>
                  </a:lnTo>
                  <a:lnTo>
                    <a:pt x="828" y="102"/>
                  </a:lnTo>
                  <a:lnTo>
                    <a:pt x="828" y="96"/>
                  </a:lnTo>
                  <a:lnTo>
                    <a:pt x="840" y="96"/>
                  </a:lnTo>
                  <a:lnTo>
                    <a:pt x="840" y="84"/>
                  </a:lnTo>
                  <a:lnTo>
                    <a:pt x="852" y="90"/>
                  </a:lnTo>
                  <a:lnTo>
                    <a:pt x="852" y="96"/>
                  </a:lnTo>
                  <a:lnTo>
                    <a:pt x="870" y="90"/>
                  </a:lnTo>
                  <a:lnTo>
                    <a:pt x="894" y="78"/>
                  </a:lnTo>
                  <a:lnTo>
                    <a:pt x="912" y="78"/>
                  </a:lnTo>
                  <a:lnTo>
                    <a:pt x="942" y="66"/>
                  </a:lnTo>
                  <a:lnTo>
                    <a:pt x="942" y="60"/>
                  </a:lnTo>
                  <a:lnTo>
                    <a:pt x="954" y="48"/>
                  </a:lnTo>
                  <a:lnTo>
                    <a:pt x="966" y="30"/>
                  </a:lnTo>
                  <a:lnTo>
                    <a:pt x="978" y="30"/>
                  </a:lnTo>
                  <a:lnTo>
                    <a:pt x="978" y="24"/>
                  </a:lnTo>
                  <a:lnTo>
                    <a:pt x="984" y="12"/>
                  </a:lnTo>
                  <a:lnTo>
                    <a:pt x="990" y="12"/>
                  </a:lnTo>
                  <a:lnTo>
                    <a:pt x="996" y="12"/>
                  </a:lnTo>
                  <a:lnTo>
                    <a:pt x="1014" y="6"/>
                  </a:lnTo>
                  <a:lnTo>
                    <a:pt x="1026" y="6"/>
                  </a:lnTo>
                  <a:lnTo>
                    <a:pt x="1044" y="6"/>
                  </a:lnTo>
                  <a:lnTo>
                    <a:pt x="1050" y="6"/>
                  </a:lnTo>
                  <a:lnTo>
                    <a:pt x="1056" y="6"/>
                  </a:lnTo>
                  <a:lnTo>
                    <a:pt x="1062" y="6"/>
                  </a:lnTo>
                  <a:lnTo>
                    <a:pt x="1068" y="6"/>
                  </a:lnTo>
                  <a:lnTo>
                    <a:pt x="1074" y="6"/>
                  </a:lnTo>
                  <a:lnTo>
                    <a:pt x="1080" y="6"/>
                  </a:lnTo>
                  <a:lnTo>
                    <a:pt x="1086" y="0"/>
                  </a:lnTo>
                  <a:lnTo>
                    <a:pt x="1092" y="30"/>
                  </a:lnTo>
                  <a:lnTo>
                    <a:pt x="1098" y="60"/>
                  </a:lnTo>
                  <a:lnTo>
                    <a:pt x="1110" y="84"/>
                  </a:lnTo>
                  <a:lnTo>
                    <a:pt x="1122" y="114"/>
                  </a:lnTo>
                  <a:lnTo>
                    <a:pt x="1128" y="144"/>
                  </a:lnTo>
                  <a:lnTo>
                    <a:pt x="1122" y="156"/>
                  </a:lnTo>
                  <a:lnTo>
                    <a:pt x="1128" y="168"/>
                  </a:lnTo>
                  <a:lnTo>
                    <a:pt x="1134" y="186"/>
                  </a:lnTo>
                  <a:lnTo>
                    <a:pt x="1140" y="204"/>
                  </a:lnTo>
                  <a:lnTo>
                    <a:pt x="1146" y="210"/>
                  </a:lnTo>
                  <a:lnTo>
                    <a:pt x="1146" y="216"/>
                  </a:lnTo>
                  <a:lnTo>
                    <a:pt x="1146" y="228"/>
                  </a:lnTo>
                  <a:lnTo>
                    <a:pt x="1146" y="234"/>
                  </a:lnTo>
                  <a:lnTo>
                    <a:pt x="1140" y="246"/>
                  </a:lnTo>
                  <a:lnTo>
                    <a:pt x="1128" y="258"/>
                  </a:lnTo>
                  <a:lnTo>
                    <a:pt x="1116" y="264"/>
                  </a:lnTo>
                  <a:lnTo>
                    <a:pt x="1110" y="276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2" y="312"/>
                  </a:lnTo>
                  <a:lnTo>
                    <a:pt x="1116" y="324"/>
                  </a:lnTo>
                  <a:lnTo>
                    <a:pt x="1104" y="336"/>
                  </a:lnTo>
                  <a:lnTo>
                    <a:pt x="1104" y="354"/>
                  </a:lnTo>
                  <a:lnTo>
                    <a:pt x="1098" y="372"/>
                  </a:lnTo>
                  <a:lnTo>
                    <a:pt x="1092" y="384"/>
                  </a:lnTo>
                  <a:lnTo>
                    <a:pt x="1086" y="390"/>
                  </a:lnTo>
                  <a:lnTo>
                    <a:pt x="1086" y="402"/>
                  </a:lnTo>
                  <a:lnTo>
                    <a:pt x="1080" y="414"/>
                  </a:lnTo>
                  <a:lnTo>
                    <a:pt x="1074" y="426"/>
                  </a:lnTo>
                  <a:lnTo>
                    <a:pt x="1074" y="450"/>
                  </a:lnTo>
                  <a:lnTo>
                    <a:pt x="1074" y="462"/>
                  </a:lnTo>
                  <a:lnTo>
                    <a:pt x="1068" y="474"/>
                  </a:lnTo>
                  <a:lnTo>
                    <a:pt x="1062" y="486"/>
                  </a:lnTo>
                  <a:lnTo>
                    <a:pt x="1056" y="498"/>
                  </a:lnTo>
                  <a:close/>
                  <a:moveTo>
                    <a:pt x="186" y="378"/>
                  </a:moveTo>
                  <a:lnTo>
                    <a:pt x="186" y="384"/>
                  </a:lnTo>
                  <a:lnTo>
                    <a:pt x="180" y="390"/>
                  </a:lnTo>
                  <a:lnTo>
                    <a:pt x="174" y="396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14"/>
                  </a:lnTo>
                  <a:lnTo>
                    <a:pt x="126" y="414"/>
                  </a:lnTo>
                  <a:lnTo>
                    <a:pt x="120" y="414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2" y="426"/>
                  </a:lnTo>
                  <a:lnTo>
                    <a:pt x="102" y="432"/>
                  </a:lnTo>
                  <a:lnTo>
                    <a:pt x="96" y="432"/>
                  </a:lnTo>
                  <a:lnTo>
                    <a:pt x="90" y="432"/>
                  </a:lnTo>
                  <a:lnTo>
                    <a:pt x="84" y="438"/>
                  </a:lnTo>
                  <a:lnTo>
                    <a:pt x="78" y="438"/>
                  </a:lnTo>
                  <a:lnTo>
                    <a:pt x="78" y="444"/>
                  </a:lnTo>
                  <a:lnTo>
                    <a:pt x="72" y="444"/>
                  </a:lnTo>
                  <a:lnTo>
                    <a:pt x="72" y="450"/>
                  </a:lnTo>
                  <a:lnTo>
                    <a:pt x="66" y="456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48" y="468"/>
                  </a:lnTo>
                  <a:lnTo>
                    <a:pt x="42" y="468"/>
                  </a:lnTo>
                  <a:lnTo>
                    <a:pt x="42" y="462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8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0" y="396"/>
                  </a:lnTo>
                  <a:lnTo>
                    <a:pt x="6" y="384"/>
                  </a:lnTo>
                  <a:lnTo>
                    <a:pt x="18" y="372"/>
                  </a:lnTo>
                  <a:lnTo>
                    <a:pt x="30" y="348"/>
                  </a:lnTo>
                  <a:lnTo>
                    <a:pt x="30" y="342"/>
                  </a:lnTo>
                  <a:lnTo>
                    <a:pt x="42" y="330"/>
                  </a:lnTo>
                  <a:lnTo>
                    <a:pt x="42" y="324"/>
                  </a:lnTo>
                  <a:lnTo>
                    <a:pt x="48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60" y="282"/>
                  </a:lnTo>
                  <a:lnTo>
                    <a:pt x="60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2" y="258"/>
                  </a:lnTo>
                  <a:lnTo>
                    <a:pt x="84" y="246"/>
                  </a:lnTo>
                  <a:lnTo>
                    <a:pt x="90" y="234"/>
                  </a:lnTo>
                  <a:lnTo>
                    <a:pt x="96" y="234"/>
                  </a:lnTo>
                  <a:lnTo>
                    <a:pt x="96" y="228"/>
                  </a:lnTo>
                  <a:lnTo>
                    <a:pt x="102" y="222"/>
                  </a:lnTo>
                  <a:lnTo>
                    <a:pt x="102" y="228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14" y="228"/>
                  </a:lnTo>
                  <a:lnTo>
                    <a:pt x="114" y="234"/>
                  </a:lnTo>
                  <a:lnTo>
                    <a:pt x="120" y="228"/>
                  </a:lnTo>
                  <a:lnTo>
                    <a:pt x="120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26" y="228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8" y="234"/>
                  </a:lnTo>
                  <a:lnTo>
                    <a:pt x="144" y="234"/>
                  </a:lnTo>
                  <a:lnTo>
                    <a:pt x="144" y="228"/>
                  </a:lnTo>
                  <a:lnTo>
                    <a:pt x="150" y="228"/>
                  </a:lnTo>
                  <a:lnTo>
                    <a:pt x="156" y="228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46"/>
                  </a:lnTo>
                  <a:lnTo>
                    <a:pt x="162" y="240"/>
                  </a:lnTo>
                  <a:lnTo>
                    <a:pt x="162" y="246"/>
                  </a:lnTo>
                  <a:lnTo>
                    <a:pt x="162" y="258"/>
                  </a:lnTo>
                  <a:lnTo>
                    <a:pt x="162" y="264"/>
                  </a:lnTo>
                  <a:lnTo>
                    <a:pt x="156" y="270"/>
                  </a:lnTo>
                  <a:lnTo>
                    <a:pt x="162" y="270"/>
                  </a:lnTo>
                  <a:lnTo>
                    <a:pt x="162" y="282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86" y="288"/>
                  </a:lnTo>
                  <a:lnTo>
                    <a:pt x="186" y="294"/>
                  </a:lnTo>
                  <a:lnTo>
                    <a:pt x="180" y="300"/>
                  </a:lnTo>
                  <a:lnTo>
                    <a:pt x="174" y="318"/>
                  </a:lnTo>
                  <a:lnTo>
                    <a:pt x="174" y="324"/>
                  </a:lnTo>
                  <a:lnTo>
                    <a:pt x="168" y="330"/>
                  </a:lnTo>
                  <a:lnTo>
                    <a:pt x="168" y="342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74" y="360"/>
                  </a:lnTo>
                  <a:lnTo>
                    <a:pt x="180" y="366"/>
                  </a:lnTo>
                  <a:lnTo>
                    <a:pt x="186" y="37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8" name="Freeform 23">
              <a:extLst>
                <a:ext uri="{FF2B5EF4-FFF2-40B4-BE49-F238E27FC236}">
                  <a16:creationId xmlns:a16="http://schemas.microsoft.com/office/drawing/2014/main" id="{A539A33E-3F6E-4AF7-BD88-1853165307F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6312" y="3604793"/>
              <a:ext cx="581410" cy="621747"/>
            </a:xfrm>
            <a:custGeom>
              <a:avLst/>
              <a:gdLst>
                <a:gd name="T0" fmla="*/ 90 w 1092"/>
                <a:gd name="T1" fmla="*/ 60 h 1170"/>
                <a:gd name="T2" fmla="*/ 83 w 1092"/>
                <a:gd name="T3" fmla="*/ 62 h 1170"/>
                <a:gd name="T4" fmla="*/ 72 w 1092"/>
                <a:gd name="T5" fmla="*/ 68 h 1170"/>
                <a:gd name="T6" fmla="*/ 68 w 1092"/>
                <a:gd name="T7" fmla="*/ 71 h 1170"/>
                <a:gd name="T8" fmla="*/ 61 w 1092"/>
                <a:gd name="T9" fmla="*/ 69 h 1170"/>
                <a:gd name="T10" fmla="*/ 64 w 1092"/>
                <a:gd name="T11" fmla="*/ 82 h 1170"/>
                <a:gd name="T12" fmla="*/ 67 w 1092"/>
                <a:gd name="T13" fmla="*/ 93 h 1170"/>
                <a:gd name="T14" fmla="*/ 62 w 1092"/>
                <a:gd name="T15" fmla="*/ 96 h 1170"/>
                <a:gd name="T16" fmla="*/ 59 w 1092"/>
                <a:gd name="T17" fmla="*/ 99 h 1170"/>
                <a:gd name="T18" fmla="*/ 53 w 1092"/>
                <a:gd name="T19" fmla="*/ 101 h 1170"/>
                <a:gd name="T20" fmla="*/ 50 w 1092"/>
                <a:gd name="T21" fmla="*/ 100 h 1170"/>
                <a:gd name="T22" fmla="*/ 50 w 1092"/>
                <a:gd name="T23" fmla="*/ 93 h 1170"/>
                <a:gd name="T24" fmla="*/ 37 w 1092"/>
                <a:gd name="T25" fmla="*/ 85 h 1170"/>
                <a:gd name="T26" fmla="*/ 32 w 1092"/>
                <a:gd name="T27" fmla="*/ 86 h 1170"/>
                <a:gd name="T28" fmla="*/ 29 w 1092"/>
                <a:gd name="T29" fmla="*/ 88 h 1170"/>
                <a:gd name="T30" fmla="*/ 27 w 1092"/>
                <a:gd name="T31" fmla="*/ 86 h 1170"/>
                <a:gd name="T32" fmla="*/ 23 w 1092"/>
                <a:gd name="T33" fmla="*/ 87 h 1170"/>
                <a:gd name="T34" fmla="*/ 17 w 1092"/>
                <a:gd name="T35" fmla="*/ 87 h 1170"/>
                <a:gd name="T36" fmla="*/ 18 w 1092"/>
                <a:gd name="T37" fmla="*/ 89 h 1170"/>
                <a:gd name="T38" fmla="*/ 16 w 1092"/>
                <a:gd name="T39" fmla="*/ 92 h 1170"/>
                <a:gd name="T40" fmla="*/ 12 w 1092"/>
                <a:gd name="T41" fmla="*/ 89 h 1170"/>
                <a:gd name="T42" fmla="*/ 13 w 1092"/>
                <a:gd name="T43" fmla="*/ 84 h 1170"/>
                <a:gd name="T44" fmla="*/ 12 w 1092"/>
                <a:gd name="T45" fmla="*/ 80 h 1170"/>
                <a:gd name="T46" fmla="*/ 10 w 1092"/>
                <a:gd name="T47" fmla="*/ 80 h 1170"/>
                <a:gd name="T48" fmla="*/ 8 w 1092"/>
                <a:gd name="T49" fmla="*/ 79 h 1170"/>
                <a:gd name="T50" fmla="*/ 6 w 1092"/>
                <a:gd name="T51" fmla="*/ 78 h 1170"/>
                <a:gd name="T52" fmla="*/ 6 w 1092"/>
                <a:gd name="T53" fmla="*/ 77 h 1170"/>
                <a:gd name="T54" fmla="*/ 4 w 1092"/>
                <a:gd name="T55" fmla="*/ 75 h 1170"/>
                <a:gd name="T56" fmla="*/ 0 w 1092"/>
                <a:gd name="T57" fmla="*/ 72 h 1170"/>
                <a:gd name="T58" fmla="*/ 0 w 1092"/>
                <a:gd name="T59" fmla="*/ 69 h 1170"/>
                <a:gd name="T60" fmla="*/ 3 w 1092"/>
                <a:gd name="T61" fmla="*/ 67 h 1170"/>
                <a:gd name="T62" fmla="*/ 6 w 1092"/>
                <a:gd name="T63" fmla="*/ 62 h 1170"/>
                <a:gd name="T64" fmla="*/ 8 w 1092"/>
                <a:gd name="T65" fmla="*/ 58 h 1170"/>
                <a:gd name="T66" fmla="*/ 5 w 1092"/>
                <a:gd name="T67" fmla="*/ 54 h 1170"/>
                <a:gd name="T68" fmla="*/ 6 w 1092"/>
                <a:gd name="T69" fmla="*/ 50 h 1170"/>
                <a:gd name="T70" fmla="*/ 8 w 1092"/>
                <a:gd name="T71" fmla="*/ 46 h 1170"/>
                <a:gd name="T72" fmla="*/ 10 w 1092"/>
                <a:gd name="T73" fmla="*/ 43 h 1170"/>
                <a:gd name="T74" fmla="*/ 14 w 1092"/>
                <a:gd name="T75" fmla="*/ 38 h 1170"/>
                <a:gd name="T76" fmla="*/ 31 w 1092"/>
                <a:gd name="T77" fmla="*/ 40 h 1170"/>
                <a:gd name="T78" fmla="*/ 30 w 1092"/>
                <a:gd name="T79" fmla="*/ 46 h 1170"/>
                <a:gd name="T80" fmla="*/ 36 w 1092"/>
                <a:gd name="T81" fmla="*/ 47 h 1170"/>
                <a:gd name="T82" fmla="*/ 41 w 1092"/>
                <a:gd name="T83" fmla="*/ 44 h 1170"/>
                <a:gd name="T84" fmla="*/ 43 w 1092"/>
                <a:gd name="T85" fmla="*/ 39 h 1170"/>
                <a:gd name="T86" fmla="*/ 44 w 1092"/>
                <a:gd name="T87" fmla="*/ 35 h 1170"/>
                <a:gd name="T88" fmla="*/ 44 w 1092"/>
                <a:gd name="T89" fmla="*/ 29 h 1170"/>
                <a:gd name="T90" fmla="*/ 48 w 1092"/>
                <a:gd name="T91" fmla="*/ 24 h 1170"/>
                <a:gd name="T92" fmla="*/ 49 w 1092"/>
                <a:gd name="T93" fmla="*/ 19 h 1170"/>
                <a:gd name="T94" fmla="*/ 51 w 1092"/>
                <a:gd name="T95" fmla="*/ 14 h 1170"/>
                <a:gd name="T96" fmla="*/ 54 w 1092"/>
                <a:gd name="T97" fmla="*/ 10 h 1170"/>
                <a:gd name="T98" fmla="*/ 53 w 1092"/>
                <a:gd name="T99" fmla="*/ 7 h 1170"/>
                <a:gd name="T100" fmla="*/ 55 w 1092"/>
                <a:gd name="T101" fmla="*/ 3 h 1170"/>
                <a:gd name="T102" fmla="*/ 58 w 1092"/>
                <a:gd name="T103" fmla="*/ 0 h 1170"/>
                <a:gd name="T104" fmla="*/ 65 w 1092"/>
                <a:gd name="T105" fmla="*/ 2 h 1170"/>
                <a:gd name="T106" fmla="*/ 61 w 1092"/>
                <a:gd name="T107" fmla="*/ 6 h 1170"/>
                <a:gd name="T108" fmla="*/ 67 w 1092"/>
                <a:gd name="T109" fmla="*/ 7 h 1170"/>
                <a:gd name="T110" fmla="*/ 71 w 1092"/>
                <a:gd name="T111" fmla="*/ 6 h 1170"/>
                <a:gd name="T112" fmla="*/ 75 w 1092"/>
                <a:gd name="T113" fmla="*/ 9 h 1170"/>
                <a:gd name="T114" fmla="*/ 82 w 1092"/>
                <a:gd name="T115" fmla="*/ 12 h 1170"/>
                <a:gd name="T116" fmla="*/ 84 w 1092"/>
                <a:gd name="T117" fmla="*/ 17 h 1170"/>
                <a:gd name="T118" fmla="*/ 94 w 1092"/>
                <a:gd name="T119" fmla="*/ 23 h 1170"/>
                <a:gd name="T120" fmla="*/ 94 w 1092"/>
                <a:gd name="T121" fmla="*/ 34 h 1170"/>
                <a:gd name="T122" fmla="*/ 90 w 1092"/>
                <a:gd name="T123" fmla="*/ 41 h 1170"/>
                <a:gd name="T124" fmla="*/ 91 w 1092"/>
                <a:gd name="T125" fmla="*/ 51 h 11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92"/>
                <a:gd name="T190" fmla="*/ 0 h 1170"/>
                <a:gd name="T191" fmla="*/ 1092 w 1092"/>
                <a:gd name="T192" fmla="*/ 1170 h 117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92" h="1170">
                  <a:moveTo>
                    <a:pt x="1056" y="654"/>
                  </a:moveTo>
                  <a:lnTo>
                    <a:pt x="1062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0"/>
                  </a:lnTo>
                  <a:lnTo>
                    <a:pt x="1038" y="690"/>
                  </a:lnTo>
                  <a:lnTo>
                    <a:pt x="1032" y="690"/>
                  </a:lnTo>
                  <a:lnTo>
                    <a:pt x="1026" y="690"/>
                  </a:lnTo>
                  <a:lnTo>
                    <a:pt x="1020" y="690"/>
                  </a:lnTo>
                  <a:lnTo>
                    <a:pt x="1002" y="690"/>
                  </a:lnTo>
                  <a:lnTo>
                    <a:pt x="990" y="690"/>
                  </a:lnTo>
                  <a:lnTo>
                    <a:pt x="972" y="696"/>
                  </a:lnTo>
                  <a:lnTo>
                    <a:pt x="966" y="696"/>
                  </a:lnTo>
                  <a:lnTo>
                    <a:pt x="960" y="696"/>
                  </a:lnTo>
                  <a:lnTo>
                    <a:pt x="954" y="708"/>
                  </a:lnTo>
                  <a:lnTo>
                    <a:pt x="954" y="714"/>
                  </a:lnTo>
                  <a:lnTo>
                    <a:pt x="942" y="714"/>
                  </a:lnTo>
                  <a:lnTo>
                    <a:pt x="930" y="732"/>
                  </a:lnTo>
                  <a:lnTo>
                    <a:pt x="918" y="744"/>
                  </a:lnTo>
                  <a:lnTo>
                    <a:pt x="918" y="750"/>
                  </a:lnTo>
                  <a:lnTo>
                    <a:pt x="888" y="762"/>
                  </a:lnTo>
                  <a:lnTo>
                    <a:pt x="870" y="762"/>
                  </a:lnTo>
                  <a:lnTo>
                    <a:pt x="846" y="774"/>
                  </a:lnTo>
                  <a:lnTo>
                    <a:pt x="828" y="780"/>
                  </a:lnTo>
                  <a:lnTo>
                    <a:pt x="828" y="774"/>
                  </a:lnTo>
                  <a:lnTo>
                    <a:pt x="816" y="768"/>
                  </a:lnTo>
                  <a:lnTo>
                    <a:pt x="816" y="780"/>
                  </a:lnTo>
                  <a:lnTo>
                    <a:pt x="804" y="780"/>
                  </a:lnTo>
                  <a:lnTo>
                    <a:pt x="804" y="786"/>
                  </a:lnTo>
                  <a:lnTo>
                    <a:pt x="792" y="792"/>
                  </a:lnTo>
                  <a:lnTo>
                    <a:pt x="792" y="804"/>
                  </a:lnTo>
                  <a:lnTo>
                    <a:pt x="780" y="816"/>
                  </a:lnTo>
                  <a:lnTo>
                    <a:pt x="774" y="822"/>
                  </a:lnTo>
                  <a:lnTo>
                    <a:pt x="762" y="828"/>
                  </a:lnTo>
                  <a:lnTo>
                    <a:pt x="756" y="822"/>
                  </a:lnTo>
                  <a:lnTo>
                    <a:pt x="750" y="798"/>
                  </a:lnTo>
                  <a:lnTo>
                    <a:pt x="738" y="792"/>
                  </a:lnTo>
                  <a:lnTo>
                    <a:pt x="720" y="786"/>
                  </a:lnTo>
                  <a:lnTo>
                    <a:pt x="708" y="786"/>
                  </a:lnTo>
                  <a:lnTo>
                    <a:pt x="696" y="798"/>
                  </a:lnTo>
                  <a:lnTo>
                    <a:pt x="690" y="810"/>
                  </a:lnTo>
                  <a:lnTo>
                    <a:pt x="684" y="828"/>
                  </a:lnTo>
                  <a:lnTo>
                    <a:pt x="690" y="840"/>
                  </a:lnTo>
                  <a:lnTo>
                    <a:pt x="708" y="858"/>
                  </a:lnTo>
                  <a:lnTo>
                    <a:pt x="720" y="894"/>
                  </a:lnTo>
                  <a:lnTo>
                    <a:pt x="714" y="906"/>
                  </a:lnTo>
                  <a:lnTo>
                    <a:pt x="714" y="918"/>
                  </a:lnTo>
                  <a:lnTo>
                    <a:pt x="738" y="948"/>
                  </a:lnTo>
                  <a:lnTo>
                    <a:pt x="774" y="972"/>
                  </a:lnTo>
                  <a:lnTo>
                    <a:pt x="780" y="984"/>
                  </a:lnTo>
                  <a:lnTo>
                    <a:pt x="792" y="996"/>
                  </a:lnTo>
                  <a:lnTo>
                    <a:pt x="792" y="1026"/>
                  </a:lnTo>
                  <a:lnTo>
                    <a:pt x="780" y="1044"/>
                  </a:lnTo>
                  <a:lnTo>
                    <a:pt x="774" y="1050"/>
                  </a:lnTo>
                  <a:lnTo>
                    <a:pt x="768" y="1062"/>
                  </a:lnTo>
                  <a:lnTo>
                    <a:pt x="768" y="1068"/>
                  </a:lnTo>
                  <a:lnTo>
                    <a:pt x="762" y="1074"/>
                  </a:lnTo>
                  <a:lnTo>
                    <a:pt x="762" y="1080"/>
                  </a:lnTo>
                  <a:lnTo>
                    <a:pt x="756" y="1080"/>
                  </a:lnTo>
                  <a:lnTo>
                    <a:pt x="744" y="1086"/>
                  </a:lnTo>
                  <a:lnTo>
                    <a:pt x="744" y="1092"/>
                  </a:lnTo>
                  <a:lnTo>
                    <a:pt x="738" y="1092"/>
                  </a:lnTo>
                  <a:lnTo>
                    <a:pt x="726" y="1098"/>
                  </a:lnTo>
                  <a:lnTo>
                    <a:pt x="720" y="1104"/>
                  </a:lnTo>
                  <a:lnTo>
                    <a:pt x="714" y="1104"/>
                  </a:lnTo>
                  <a:lnTo>
                    <a:pt x="702" y="1116"/>
                  </a:lnTo>
                  <a:lnTo>
                    <a:pt x="696" y="1122"/>
                  </a:lnTo>
                  <a:lnTo>
                    <a:pt x="696" y="1134"/>
                  </a:lnTo>
                  <a:lnTo>
                    <a:pt x="690" y="1134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72" y="1146"/>
                  </a:lnTo>
                  <a:lnTo>
                    <a:pt x="672" y="1152"/>
                  </a:lnTo>
                  <a:lnTo>
                    <a:pt x="660" y="1152"/>
                  </a:lnTo>
                  <a:lnTo>
                    <a:pt x="642" y="1152"/>
                  </a:lnTo>
                  <a:lnTo>
                    <a:pt x="636" y="1152"/>
                  </a:lnTo>
                  <a:lnTo>
                    <a:pt x="630" y="1158"/>
                  </a:lnTo>
                  <a:lnTo>
                    <a:pt x="624" y="1164"/>
                  </a:lnTo>
                  <a:lnTo>
                    <a:pt x="618" y="1170"/>
                  </a:lnTo>
                  <a:lnTo>
                    <a:pt x="612" y="1170"/>
                  </a:lnTo>
                  <a:lnTo>
                    <a:pt x="600" y="1170"/>
                  </a:lnTo>
                  <a:lnTo>
                    <a:pt x="594" y="1170"/>
                  </a:lnTo>
                  <a:lnTo>
                    <a:pt x="588" y="1170"/>
                  </a:lnTo>
                  <a:lnTo>
                    <a:pt x="582" y="1170"/>
                  </a:lnTo>
                  <a:lnTo>
                    <a:pt x="582" y="1164"/>
                  </a:lnTo>
                  <a:lnTo>
                    <a:pt x="576" y="1158"/>
                  </a:lnTo>
                  <a:lnTo>
                    <a:pt x="570" y="1158"/>
                  </a:lnTo>
                  <a:lnTo>
                    <a:pt x="570" y="1152"/>
                  </a:lnTo>
                  <a:lnTo>
                    <a:pt x="570" y="1146"/>
                  </a:lnTo>
                  <a:lnTo>
                    <a:pt x="570" y="1140"/>
                  </a:lnTo>
                  <a:lnTo>
                    <a:pt x="564" y="1140"/>
                  </a:lnTo>
                  <a:lnTo>
                    <a:pt x="564" y="1134"/>
                  </a:lnTo>
                  <a:lnTo>
                    <a:pt x="564" y="1128"/>
                  </a:lnTo>
                  <a:lnTo>
                    <a:pt x="576" y="1104"/>
                  </a:lnTo>
                  <a:lnTo>
                    <a:pt x="582" y="1086"/>
                  </a:lnTo>
                  <a:lnTo>
                    <a:pt x="570" y="1068"/>
                  </a:lnTo>
                  <a:lnTo>
                    <a:pt x="534" y="1056"/>
                  </a:lnTo>
                  <a:lnTo>
                    <a:pt x="516" y="1026"/>
                  </a:lnTo>
                  <a:lnTo>
                    <a:pt x="492" y="1020"/>
                  </a:lnTo>
                  <a:lnTo>
                    <a:pt x="492" y="1014"/>
                  </a:lnTo>
                  <a:lnTo>
                    <a:pt x="480" y="1008"/>
                  </a:lnTo>
                  <a:lnTo>
                    <a:pt x="474" y="996"/>
                  </a:lnTo>
                  <a:lnTo>
                    <a:pt x="444" y="984"/>
                  </a:lnTo>
                  <a:lnTo>
                    <a:pt x="426" y="978"/>
                  </a:lnTo>
                  <a:lnTo>
                    <a:pt x="420" y="972"/>
                  </a:lnTo>
                  <a:lnTo>
                    <a:pt x="408" y="984"/>
                  </a:lnTo>
                  <a:lnTo>
                    <a:pt x="402" y="984"/>
                  </a:lnTo>
                  <a:lnTo>
                    <a:pt x="396" y="984"/>
                  </a:lnTo>
                  <a:lnTo>
                    <a:pt x="390" y="984"/>
                  </a:lnTo>
                  <a:lnTo>
                    <a:pt x="384" y="990"/>
                  </a:lnTo>
                  <a:lnTo>
                    <a:pt x="378" y="990"/>
                  </a:lnTo>
                  <a:lnTo>
                    <a:pt x="372" y="990"/>
                  </a:lnTo>
                  <a:lnTo>
                    <a:pt x="372" y="996"/>
                  </a:lnTo>
                  <a:lnTo>
                    <a:pt x="366" y="996"/>
                  </a:lnTo>
                  <a:lnTo>
                    <a:pt x="360" y="1002"/>
                  </a:lnTo>
                  <a:lnTo>
                    <a:pt x="360" y="1008"/>
                  </a:lnTo>
                  <a:lnTo>
                    <a:pt x="354" y="1008"/>
                  </a:lnTo>
                  <a:lnTo>
                    <a:pt x="342" y="1014"/>
                  </a:lnTo>
                  <a:lnTo>
                    <a:pt x="336" y="1020"/>
                  </a:lnTo>
                  <a:lnTo>
                    <a:pt x="336" y="1014"/>
                  </a:lnTo>
                  <a:lnTo>
                    <a:pt x="330" y="1014"/>
                  </a:lnTo>
                  <a:lnTo>
                    <a:pt x="330" y="1008"/>
                  </a:lnTo>
                  <a:lnTo>
                    <a:pt x="330" y="1002"/>
                  </a:lnTo>
                  <a:lnTo>
                    <a:pt x="324" y="1002"/>
                  </a:lnTo>
                  <a:lnTo>
                    <a:pt x="324" y="996"/>
                  </a:lnTo>
                  <a:lnTo>
                    <a:pt x="324" y="990"/>
                  </a:lnTo>
                  <a:lnTo>
                    <a:pt x="318" y="990"/>
                  </a:lnTo>
                  <a:lnTo>
                    <a:pt x="306" y="996"/>
                  </a:lnTo>
                  <a:lnTo>
                    <a:pt x="300" y="996"/>
                  </a:lnTo>
                  <a:lnTo>
                    <a:pt x="294" y="996"/>
                  </a:lnTo>
                  <a:lnTo>
                    <a:pt x="288" y="1002"/>
                  </a:lnTo>
                  <a:lnTo>
                    <a:pt x="282" y="990"/>
                  </a:lnTo>
                  <a:lnTo>
                    <a:pt x="276" y="984"/>
                  </a:lnTo>
                  <a:lnTo>
                    <a:pt x="270" y="990"/>
                  </a:lnTo>
                  <a:lnTo>
                    <a:pt x="270" y="996"/>
                  </a:lnTo>
                  <a:lnTo>
                    <a:pt x="270" y="1002"/>
                  </a:lnTo>
                  <a:lnTo>
                    <a:pt x="264" y="1008"/>
                  </a:lnTo>
                  <a:lnTo>
                    <a:pt x="252" y="996"/>
                  </a:lnTo>
                  <a:lnTo>
                    <a:pt x="246" y="996"/>
                  </a:lnTo>
                  <a:lnTo>
                    <a:pt x="234" y="1002"/>
                  </a:lnTo>
                  <a:lnTo>
                    <a:pt x="222" y="1002"/>
                  </a:lnTo>
                  <a:lnTo>
                    <a:pt x="210" y="1002"/>
                  </a:lnTo>
                  <a:lnTo>
                    <a:pt x="198" y="996"/>
                  </a:lnTo>
                  <a:lnTo>
                    <a:pt x="198" y="1002"/>
                  </a:lnTo>
                  <a:lnTo>
                    <a:pt x="198" y="1008"/>
                  </a:lnTo>
                  <a:lnTo>
                    <a:pt x="192" y="1020"/>
                  </a:lnTo>
                  <a:lnTo>
                    <a:pt x="198" y="1020"/>
                  </a:lnTo>
                  <a:lnTo>
                    <a:pt x="204" y="1020"/>
                  </a:lnTo>
                  <a:lnTo>
                    <a:pt x="210" y="1026"/>
                  </a:lnTo>
                  <a:lnTo>
                    <a:pt x="216" y="1026"/>
                  </a:lnTo>
                  <a:lnTo>
                    <a:pt x="216" y="1032"/>
                  </a:lnTo>
                  <a:lnTo>
                    <a:pt x="210" y="1032"/>
                  </a:lnTo>
                  <a:lnTo>
                    <a:pt x="210" y="1038"/>
                  </a:lnTo>
                  <a:lnTo>
                    <a:pt x="204" y="1038"/>
                  </a:lnTo>
                  <a:lnTo>
                    <a:pt x="204" y="1044"/>
                  </a:lnTo>
                  <a:lnTo>
                    <a:pt x="198" y="1044"/>
                  </a:lnTo>
                  <a:lnTo>
                    <a:pt x="192" y="1044"/>
                  </a:lnTo>
                  <a:lnTo>
                    <a:pt x="186" y="1050"/>
                  </a:lnTo>
                  <a:lnTo>
                    <a:pt x="186" y="1056"/>
                  </a:lnTo>
                  <a:lnTo>
                    <a:pt x="180" y="1056"/>
                  </a:lnTo>
                  <a:lnTo>
                    <a:pt x="180" y="1062"/>
                  </a:lnTo>
                  <a:lnTo>
                    <a:pt x="174" y="1062"/>
                  </a:lnTo>
                  <a:lnTo>
                    <a:pt x="168" y="1062"/>
                  </a:lnTo>
                  <a:lnTo>
                    <a:pt x="162" y="1062"/>
                  </a:lnTo>
                  <a:lnTo>
                    <a:pt x="156" y="1050"/>
                  </a:lnTo>
                  <a:lnTo>
                    <a:pt x="150" y="1044"/>
                  </a:lnTo>
                  <a:lnTo>
                    <a:pt x="150" y="1038"/>
                  </a:lnTo>
                  <a:lnTo>
                    <a:pt x="144" y="1032"/>
                  </a:lnTo>
                  <a:lnTo>
                    <a:pt x="144" y="1026"/>
                  </a:lnTo>
                  <a:lnTo>
                    <a:pt x="144" y="1014"/>
                  </a:lnTo>
                  <a:lnTo>
                    <a:pt x="150" y="1008"/>
                  </a:lnTo>
                  <a:lnTo>
                    <a:pt x="150" y="1002"/>
                  </a:lnTo>
                  <a:lnTo>
                    <a:pt x="156" y="984"/>
                  </a:lnTo>
                  <a:lnTo>
                    <a:pt x="162" y="978"/>
                  </a:lnTo>
                  <a:lnTo>
                    <a:pt x="162" y="972"/>
                  </a:lnTo>
                  <a:lnTo>
                    <a:pt x="150" y="966"/>
                  </a:lnTo>
                  <a:lnTo>
                    <a:pt x="144" y="966"/>
                  </a:lnTo>
                  <a:lnTo>
                    <a:pt x="138" y="966"/>
                  </a:lnTo>
                  <a:lnTo>
                    <a:pt x="138" y="954"/>
                  </a:lnTo>
                  <a:lnTo>
                    <a:pt x="132" y="954"/>
                  </a:lnTo>
                  <a:lnTo>
                    <a:pt x="138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8" y="924"/>
                  </a:lnTo>
                  <a:lnTo>
                    <a:pt x="132" y="930"/>
                  </a:lnTo>
                  <a:lnTo>
                    <a:pt x="132" y="924"/>
                  </a:lnTo>
                  <a:lnTo>
                    <a:pt x="126" y="918"/>
                  </a:lnTo>
                  <a:lnTo>
                    <a:pt x="132" y="918"/>
                  </a:lnTo>
                  <a:lnTo>
                    <a:pt x="132" y="912"/>
                  </a:lnTo>
                  <a:lnTo>
                    <a:pt x="126" y="912"/>
                  </a:lnTo>
                  <a:lnTo>
                    <a:pt x="120" y="912"/>
                  </a:lnTo>
                  <a:lnTo>
                    <a:pt x="120" y="918"/>
                  </a:lnTo>
                  <a:lnTo>
                    <a:pt x="114" y="918"/>
                  </a:lnTo>
                  <a:lnTo>
                    <a:pt x="114" y="912"/>
                  </a:lnTo>
                  <a:lnTo>
                    <a:pt x="108" y="912"/>
                  </a:lnTo>
                  <a:lnTo>
                    <a:pt x="102" y="912"/>
                  </a:lnTo>
                  <a:lnTo>
                    <a:pt x="108" y="906"/>
                  </a:lnTo>
                  <a:lnTo>
                    <a:pt x="102" y="906"/>
                  </a:lnTo>
                  <a:lnTo>
                    <a:pt x="96" y="906"/>
                  </a:lnTo>
                  <a:lnTo>
                    <a:pt x="96" y="912"/>
                  </a:lnTo>
                  <a:lnTo>
                    <a:pt x="90" y="918"/>
                  </a:lnTo>
                  <a:lnTo>
                    <a:pt x="90" y="912"/>
                  </a:lnTo>
                  <a:lnTo>
                    <a:pt x="84" y="912"/>
                  </a:lnTo>
                  <a:lnTo>
                    <a:pt x="84" y="918"/>
                  </a:lnTo>
                  <a:lnTo>
                    <a:pt x="78" y="918"/>
                  </a:lnTo>
                  <a:lnTo>
                    <a:pt x="78" y="912"/>
                  </a:lnTo>
                  <a:lnTo>
                    <a:pt x="78" y="906"/>
                  </a:lnTo>
                  <a:lnTo>
                    <a:pt x="72" y="900"/>
                  </a:lnTo>
                  <a:lnTo>
                    <a:pt x="78" y="900"/>
                  </a:lnTo>
                  <a:lnTo>
                    <a:pt x="72" y="900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8" y="888"/>
                  </a:lnTo>
                  <a:lnTo>
                    <a:pt x="72" y="888"/>
                  </a:lnTo>
                  <a:lnTo>
                    <a:pt x="72" y="882"/>
                  </a:lnTo>
                  <a:lnTo>
                    <a:pt x="66" y="876"/>
                  </a:lnTo>
                  <a:lnTo>
                    <a:pt x="60" y="882"/>
                  </a:lnTo>
                  <a:lnTo>
                    <a:pt x="54" y="876"/>
                  </a:lnTo>
                  <a:lnTo>
                    <a:pt x="54" y="882"/>
                  </a:lnTo>
                  <a:lnTo>
                    <a:pt x="48" y="882"/>
                  </a:lnTo>
                  <a:lnTo>
                    <a:pt x="42" y="870"/>
                  </a:lnTo>
                  <a:lnTo>
                    <a:pt x="42" y="864"/>
                  </a:lnTo>
                  <a:lnTo>
                    <a:pt x="36" y="858"/>
                  </a:lnTo>
                  <a:lnTo>
                    <a:pt x="36" y="852"/>
                  </a:lnTo>
                  <a:lnTo>
                    <a:pt x="30" y="852"/>
                  </a:lnTo>
                  <a:lnTo>
                    <a:pt x="30" y="846"/>
                  </a:lnTo>
                  <a:lnTo>
                    <a:pt x="24" y="846"/>
                  </a:lnTo>
                  <a:lnTo>
                    <a:pt x="18" y="840"/>
                  </a:lnTo>
                  <a:lnTo>
                    <a:pt x="12" y="834"/>
                  </a:lnTo>
                  <a:lnTo>
                    <a:pt x="0" y="828"/>
                  </a:lnTo>
                  <a:lnTo>
                    <a:pt x="0" y="822"/>
                  </a:lnTo>
                  <a:lnTo>
                    <a:pt x="0" y="816"/>
                  </a:lnTo>
                  <a:lnTo>
                    <a:pt x="0" y="810"/>
                  </a:lnTo>
                  <a:lnTo>
                    <a:pt x="6" y="804"/>
                  </a:lnTo>
                  <a:lnTo>
                    <a:pt x="12" y="804"/>
                  </a:lnTo>
                  <a:lnTo>
                    <a:pt x="12" y="798"/>
                  </a:lnTo>
                  <a:lnTo>
                    <a:pt x="12" y="792"/>
                  </a:lnTo>
                  <a:lnTo>
                    <a:pt x="6" y="792"/>
                  </a:lnTo>
                  <a:lnTo>
                    <a:pt x="6" y="786"/>
                  </a:lnTo>
                  <a:lnTo>
                    <a:pt x="6" y="780"/>
                  </a:lnTo>
                  <a:lnTo>
                    <a:pt x="18" y="780"/>
                  </a:lnTo>
                  <a:lnTo>
                    <a:pt x="18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0" y="774"/>
                  </a:lnTo>
                  <a:lnTo>
                    <a:pt x="36" y="768"/>
                  </a:lnTo>
                  <a:lnTo>
                    <a:pt x="42" y="768"/>
                  </a:lnTo>
                  <a:lnTo>
                    <a:pt x="60" y="750"/>
                  </a:lnTo>
                  <a:lnTo>
                    <a:pt x="60" y="744"/>
                  </a:lnTo>
                  <a:lnTo>
                    <a:pt x="54" y="738"/>
                  </a:lnTo>
                  <a:lnTo>
                    <a:pt x="60" y="732"/>
                  </a:lnTo>
                  <a:lnTo>
                    <a:pt x="54" y="732"/>
                  </a:lnTo>
                  <a:lnTo>
                    <a:pt x="60" y="726"/>
                  </a:lnTo>
                  <a:lnTo>
                    <a:pt x="66" y="720"/>
                  </a:lnTo>
                  <a:lnTo>
                    <a:pt x="72" y="714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84" y="696"/>
                  </a:lnTo>
                  <a:lnTo>
                    <a:pt x="90" y="684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66"/>
                  </a:lnTo>
                  <a:lnTo>
                    <a:pt x="90" y="660"/>
                  </a:lnTo>
                  <a:lnTo>
                    <a:pt x="84" y="654"/>
                  </a:lnTo>
                  <a:lnTo>
                    <a:pt x="84" y="648"/>
                  </a:lnTo>
                  <a:lnTo>
                    <a:pt x="78" y="636"/>
                  </a:lnTo>
                  <a:lnTo>
                    <a:pt x="66" y="630"/>
                  </a:lnTo>
                  <a:lnTo>
                    <a:pt x="66" y="624"/>
                  </a:lnTo>
                  <a:lnTo>
                    <a:pt x="60" y="624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60" y="600"/>
                  </a:lnTo>
                  <a:lnTo>
                    <a:pt x="66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6" y="588"/>
                  </a:lnTo>
                  <a:lnTo>
                    <a:pt x="66" y="582"/>
                  </a:lnTo>
                  <a:lnTo>
                    <a:pt x="72" y="582"/>
                  </a:lnTo>
                  <a:lnTo>
                    <a:pt x="78" y="576"/>
                  </a:lnTo>
                  <a:lnTo>
                    <a:pt x="72" y="576"/>
                  </a:lnTo>
                  <a:lnTo>
                    <a:pt x="66" y="570"/>
                  </a:lnTo>
                  <a:lnTo>
                    <a:pt x="72" y="564"/>
                  </a:lnTo>
                  <a:lnTo>
                    <a:pt x="78" y="558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90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102" y="516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0" y="504"/>
                  </a:lnTo>
                  <a:lnTo>
                    <a:pt x="120" y="498"/>
                  </a:lnTo>
                  <a:lnTo>
                    <a:pt x="120" y="492"/>
                  </a:lnTo>
                  <a:lnTo>
                    <a:pt x="126" y="480"/>
                  </a:lnTo>
                  <a:lnTo>
                    <a:pt x="132" y="474"/>
                  </a:lnTo>
                  <a:lnTo>
                    <a:pt x="132" y="468"/>
                  </a:lnTo>
                  <a:lnTo>
                    <a:pt x="138" y="462"/>
                  </a:lnTo>
                  <a:lnTo>
                    <a:pt x="138" y="456"/>
                  </a:lnTo>
                  <a:lnTo>
                    <a:pt x="138" y="450"/>
                  </a:lnTo>
                  <a:lnTo>
                    <a:pt x="144" y="444"/>
                  </a:lnTo>
                  <a:lnTo>
                    <a:pt x="162" y="438"/>
                  </a:lnTo>
                  <a:lnTo>
                    <a:pt x="186" y="438"/>
                  </a:lnTo>
                  <a:lnTo>
                    <a:pt x="210" y="444"/>
                  </a:lnTo>
                  <a:lnTo>
                    <a:pt x="276" y="450"/>
                  </a:lnTo>
                  <a:lnTo>
                    <a:pt x="342" y="450"/>
                  </a:lnTo>
                  <a:lnTo>
                    <a:pt x="348" y="450"/>
                  </a:lnTo>
                  <a:lnTo>
                    <a:pt x="354" y="450"/>
                  </a:lnTo>
                  <a:lnTo>
                    <a:pt x="360" y="456"/>
                  </a:lnTo>
                  <a:lnTo>
                    <a:pt x="354" y="462"/>
                  </a:lnTo>
                  <a:lnTo>
                    <a:pt x="354" y="468"/>
                  </a:lnTo>
                  <a:lnTo>
                    <a:pt x="354" y="474"/>
                  </a:lnTo>
                  <a:lnTo>
                    <a:pt x="348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48" y="498"/>
                  </a:lnTo>
                  <a:lnTo>
                    <a:pt x="342" y="510"/>
                  </a:lnTo>
                  <a:lnTo>
                    <a:pt x="348" y="528"/>
                  </a:lnTo>
                  <a:lnTo>
                    <a:pt x="348" y="534"/>
                  </a:lnTo>
                  <a:lnTo>
                    <a:pt x="354" y="552"/>
                  </a:lnTo>
                  <a:lnTo>
                    <a:pt x="366" y="546"/>
                  </a:lnTo>
                  <a:lnTo>
                    <a:pt x="372" y="540"/>
                  </a:lnTo>
                  <a:lnTo>
                    <a:pt x="384" y="540"/>
                  </a:lnTo>
                  <a:lnTo>
                    <a:pt x="396" y="534"/>
                  </a:lnTo>
                  <a:lnTo>
                    <a:pt x="402" y="534"/>
                  </a:lnTo>
                  <a:lnTo>
                    <a:pt x="414" y="546"/>
                  </a:lnTo>
                  <a:lnTo>
                    <a:pt x="432" y="540"/>
                  </a:lnTo>
                  <a:lnTo>
                    <a:pt x="450" y="534"/>
                  </a:lnTo>
                  <a:lnTo>
                    <a:pt x="450" y="528"/>
                  </a:lnTo>
                  <a:lnTo>
                    <a:pt x="456" y="528"/>
                  </a:lnTo>
                  <a:lnTo>
                    <a:pt x="456" y="522"/>
                  </a:lnTo>
                  <a:lnTo>
                    <a:pt x="456" y="516"/>
                  </a:lnTo>
                  <a:lnTo>
                    <a:pt x="462" y="516"/>
                  </a:lnTo>
                  <a:lnTo>
                    <a:pt x="468" y="510"/>
                  </a:lnTo>
                  <a:lnTo>
                    <a:pt x="468" y="504"/>
                  </a:lnTo>
                  <a:lnTo>
                    <a:pt x="474" y="504"/>
                  </a:lnTo>
                  <a:lnTo>
                    <a:pt x="480" y="504"/>
                  </a:lnTo>
                  <a:lnTo>
                    <a:pt x="486" y="498"/>
                  </a:lnTo>
                  <a:lnTo>
                    <a:pt x="492" y="498"/>
                  </a:lnTo>
                  <a:lnTo>
                    <a:pt x="486" y="480"/>
                  </a:lnTo>
                  <a:lnTo>
                    <a:pt x="492" y="462"/>
                  </a:lnTo>
                  <a:lnTo>
                    <a:pt x="498" y="444"/>
                  </a:lnTo>
                  <a:lnTo>
                    <a:pt x="498" y="426"/>
                  </a:lnTo>
                  <a:lnTo>
                    <a:pt x="498" y="420"/>
                  </a:lnTo>
                  <a:lnTo>
                    <a:pt x="504" y="426"/>
                  </a:lnTo>
                  <a:lnTo>
                    <a:pt x="504" y="420"/>
                  </a:lnTo>
                  <a:lnTo>
                    <a:pt x="510" y="420"/>
                  </a:lnTo>
                  <a:lnTo>
                    <a:pt x="510" y="414"/>
                  </a:lnTo>
                  <a:lnTo>
                    <a:pt x="510" y="408"/>
                  </a:lnTo>
                  <a:lnTo>
                    <a:pt x="504" y="402"/>
                  </a:lnTo>
                  <a:lnTo>
                    <a:pt x="504" y="396"/>
                  </a:lnTo>
                  <a:lnTo>
                    <a:pt x="504" y="384"/>
                  </a:lnTo>
                  <a:lnTo>
                    <a:pt x="504" y="378"/>
                  </a:lnTo>
                  <a:lnTo>
                    <a:pt x="504" y="360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510" y="348"/>
                  </a:lnTo>
                  <a:lnTo>
                    <a:pt x="510" y="336"/>
                  </a:lnTo>
                  <a:lnTo>
                    <a:pt x="516" y="330"/>
                  </a:lnTo>
                  <a:lnTo>
                    <a:pt x="522" y="324"/>
                  </a:lnTo>
                  <a:lnTo>
                    <a:pt x="528" y="318"/>
                  </a:lnTo>
                  <a:lnTo>
                    <a:pt x="534" y="312"/>
                  </a:lnTo>
                  <a:lnTo>
                    <a:pt x="534" y="300"/>
                  </a:lnTo>
                  <a:lnTo>
                    <a:pt x="540" y="294"/>
                  </a:lnTo>
                  <a:lnTo>
                    <a:pt x="546" y="288"/>
                  </a:lnTo>
                  <a:lnTo>
                    <a:pt x="552" y="276"/>
                  </a:lnTo>
                  <a:lnTo>
                    <a:pt x="558" y="264"/>
                  </a:lnTo>
                  <a:lnTo>
                    <a:pt x="558" y="258"/>
                  </a:lnTo>
                  <a:lnTo>
                    <a:pt x="558" y="252"/>
                  </a:lnTo>
                  <a:lnTo>
                    <a:pt x="558" y="246"/>
                  </a:lnTo>
                  <a:lnTo>
                    <a:pt x="564" y="246"/>
                  </a:lnTo>
                  <a:lnTo>
                    <a:pt x="564" y="240"/>
                  </a:lnTo>
                  <a:lnTo>
                    <a:pt x="570" y="234"/>
                  </a:lnTo>
                  <a:lnTo>
                    <a:pt x="564" y="216"/>
                  </a:lnTo>
                  <a:lnTo>
                    <a:pt x="564" y="210"/>
                  </a:lnTo>
                  <a:lnTo>
                    <a:pt x="570" y="210"/>
                  </a:lnTo>
                  <a:lnTo>
                    <a:pt x="570" y="204"/>
                  </a:lnTo>
                  <a:lnTo>
                    <a:pt x="570" y="198"/>
                  </a:lnTo>
                  <a:lnTo>
                    <a:pt x="582" y="180"/>
                  </a:lnTo>
                  <a:lnTo>
                    <a:pt x="582" y="174"/>
                  </a:lnTo>
                  <a:lnTo>
                    <a:pt x="582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606" y="150"/>
                  </a:lnTo>
                  <a:lnTo>
                    <a:pt x="612" y="150"/>
                  </a:lnTo>
                  <a:lnTo>
                    <a:pt x="618" y="150"/>
                  </a:lnTo>
                  <a:lnTo>
                    <a:pt x="624" y="138"/>
                  </a:lnTo>
                  <a:lnTo>
                    <a:pt x="618" y="132"/>
                  </a:lnTo>
                  <a:lnTo>
                    <a:pt x="618" y="126"/>
                  </a:lnTo>
                  <a:lnTo>
                    <a:pt x="618" y="120"/>
                  </a:lnTo>
                  <a:lnTo>
                    <a:pt x="618" y="114"/>
                  </a:lnTo>
                  <a:lnTo>
                    <a:pt x="612" y="108"/>
                  </a:lnTo>
                  <a:lnTo>
                    <a:pt x="612" y="102"/>
                  </a:lnTo>
                  <a:lnTo>
                    <a:pt x="618" y="90"/>
                  </a:lnTo>
                  <a:lnTo>
                    <a:pt x="624" y="84"/>
                  </a:lnTo>
                  <a:lnTo>
                    <a:pt x="618" y="84"/>
                  </a:lnTo>
                  <a:lnTo>
                    <a:pt x="618" y="78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0" y="72"/>
                  </a:lnTo>
                  <a:lnTo>
                    <a:pt x="600" y="66"/>
                  </a:lnTo>
                  <a:lnTo>
                    <a:pt x="600" y="60"/>
                  </a:lnTo>
                  <a:lnTo>
                    <a:pt x="600" y="48"/>
                  </a:lnTo>
                  <a:lnTo>
                    <a:pt x="612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36"/>
                  </a:lnTo>
                  <a:lnTo>
                    <a:pt x="630" y="30"/>
                  </a:lnTo>
                  <a:lnTo>
                    <a:pt x="636" y="24"/>
                  </a:lnTo>
                  <a:lnTo>
                    <a:pt x="642" y="24"/>
                  </a:lnTo>
                  <a:lnTo>
                    <a:pt x="648" y="24"/>
                  </a:lnTo>
                  <a:lnTo>
                    <a:pt x="648" y="18"/>
                  </a:lnTo>
                  <a:lnTo>
                    <a:pt x="654" y="12"/>
                  </a:lnTo>
                  <a:lnTo>
                    <a:pt x="660" y="0"/>
                  </a:lnTo>
                  <a:lnTo>
                    <a:pt x="678" y="0"/>
                  </a:lnTo>
                  <a:lnTo>
                    <a:pt x="696" y="0"/>
                  </a:lnTo>
                  <a:lnTo>
                    <a:pt x="702" y="0"/>
                  </a:lnTo>
                  <a:lnTo>
                    <a:pt x="714" y="0"/>
                  </a:lnTo>
                  <a:lnTo>
                    <a:pt x="720" y="6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44" y="24"/>
                  </a:lnTo>
                  <a:lnTo>
                    <a:pt x="744" y="30"/>
                  </a:lnTo>
                  <a:lnTo>
                    <a:pt x="732" y="42"/>
                  </a:lnTo>
                  <a:lnTo>
                    <a:pt x="726" y="42"/>
                  </a:lnTo>
                  <a:lnTo>
                    <a:pt x="720" y="42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54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90"/>
                  </a:lnTo>
                  <a:lnTo>
                    <a:pt x="726" y="84"/>
                  </a:lnTo>
                  <a:lnTo>
                    <a:pt x="738" y="84"/>
                  </a:lnTo>
                  <a:lnTo>
                    <a:pt x="750" y="96"/>
                  </a:lnTo>
                  <a:lnTo>
                    <a:pt x="768" y="96"/>
                  </a:lnTo>
                  <a:lnTo>
                    <a:pt x="768" y="90"/>
                  </a:lnTo>
                  <a:lnTo>
                    <a:pt x="774" y="84"/>
                  </a:lnTo>
                  <a:lnTo>
                    <a:pt x="780" y="78"/>
                  </a:lnTo>
                  <a:lnTo>
                    <a:pt x="786" y="78"/>
                  </a:lnTo>
                  <a:lnTo>
                    <a:pt x="792" y="72"/>
                  </a:lnTo>
                  <a:lnTo>
                    <a:pt x="804" y="72"/>
                  </a:lnTo>
                  <a:lnTo>
                    <a:pt x="804" y="66"/>
                  </a:lnTo>
                  <a:lnTo>
                    <a:pt x="810" y="66"/>
                  </a:lnTo>
                  <a:lnTo>
                    <a:pt x="810" y="72"/>
                  </a:lnTo>
                  <a:lnTo>
                    <a:pt x="816" y="66"/>
                  </a:lnTo>
                  <a:lnTo>
                    <a:pt x="828" y="66"/>
                  </a:lnTo>
                  <a:lnTo>
                    <a:pt x="834" y="72"/>
                  </a:lnTo>
                  <a:lnTo>
                    <a:pt x="840" y="72"/>
                  </a:lnTo>
                  <a:lnTo>
                    <a:pt x="840" y="78"/>
                  </a:lnTo>
                  <a:lnTo>
                    <a:pt x="840" y="84"/>
                  </a:lnTo>
                  <a:lnTo>
                    <a:pt x="852" y="84"/>
                  </a:lnTo>
                  <a:lnTo>
                    <a:pt x="858" y="96"/>
                  </a:lnTo>
                  <a:lnTo>
                    <a:pt x="864" y="108"/>
                  </a:lnTo>
                  <a:lnTo>
                    <a:pt x="876" y="114"/>
                  </a:lnTo>
                  <a:lnTo>
                    <a:pt x="894" y="114"/>
                  </a:lnTo>
                  <a:lnTo>
                    <a:pt x="906" y="114"/>
                  </a:lnTo>
                  <a:lnTo>
                    <a:pt x="906" y="126"/>
                  </a:lnTo>
                  <a:lnTo>
                    <a:pt x="912" y="144"/>
                  </a:lnTo>
                  <a:lnTo>
                    <a:pt x="930" y="138"/>
                  </a:lnTo>
                  <a:lnTo>
                    <a:pt x="936" y="138"/>
                  </a:lnTo>
                  <a:lnTo>
                    <a:pt x="942" y="144"/>
                  </a:lnTo>
                  <a:lnTo>
                    <a:pt x="948" y="150"/>
                  </a:lnTo>
                  <a:lnTo>
                    <a:pt x="954" y="156"/>
                  </a:lnTo>
                  <a:lnTo>
                    <a:pt x="954" y="168"/>
                  </a:lnTo>
                  <a:lnTo>
                    <a:pt x="954" y="174"/>
                  </a:lnTo>
                  <a:lnTo>
                    <a:pt x="960" y="180"/>
                  </a:lnTo>
                  <a:lnTo>
                    <a:pt x="966" y="186"/>
                  </a:lnTo>
                  <a:lnTo>
                    <a:pt x="960" y="186"/>
                  </a:lnTo>
                  <a:lnTo>
                    <a:pt x="966" y="192"/>
                  </a:lnTo>
                  <a:lnTo>
                    <a:pt x="966" y="198"/>
                  </a:lnTo>
                  <a:lnTo>
                    <a:pt x="978" y="204"/>
                  </a:lnTo>
                  <a:lnTo>
                    <a:pt x="1050" y="186"/>
                  </a:lnTo>
                  <a:lnTo>
                    <a:pt x="1056" y="198"/>
                  </a:lnTo>
                  <a:lnTo>
                    <a:pt x="1068" y="210"/>
                  </a:lnTo>
                  <a:lnTo>
                    <a:pt x="1074" y="216"/>
                  </a:lnTo>
                  <a:lnTo>
                    <a:pt x="1080" y="252"/>
                  </a:lnTo>
                  <a:lnTo>
                    <a:pt x="1086" y="270"/>
                  </a:lnTo>
                  <a:lnTo>
                    <a:pt x="1092" y="282"/>
                  </a:lnTo>
                  <a:lnTo>
                    <a:pt x="1086" y="300"/>
                  </a:lnTo>
                  <a:lnTo>
                    <a:pt x="1074" y="330"/>
                  </a:lnTo>
                  <a:lnTo>
                    <a:pt x="1068" y="336"/>
                  </a:lnTo>
                  <a:lnTo>
                    <a:pt x="1062" y="348"/>
                  </a:lnTo>
                  <a:lnTo>
                    <a:pt x="1062" y="360"/>
                  </a:lnTo>
                  <a:lnTo>
                    <a:pt x="1068" y="378"/>
                  </a:lnTo>
                  <a:lnTo>
                    <a:pt x="1074" y="390"/>
                  </a:lnTo>
                  <a:lnTo>
                    <a:pt x="1068" y="396"/>
                  </a:lnTo>
                  <a:lnTo>
                    <a:pt x="1068" y="408"/>
                  </a:lnTo>
                  <a:lnTo>
                    <a:pt x="1062" y="414"/>
                  </a:lnTo>
                  <a:lnTo>
                    <a:pt x="1050" y="432"/>
                  </a:lnTo>
                  <a:lnTo>
                    <a:pt x="1044" y="450"/>
                  </a:lnTo>
                  <a:lnTo>
                    <a:pt x="1038" y="456"/>
                  </a:lnTo>
                  <a:lnTo>
                    <a:pt x="1026" y="468"/>
                  </a:lnTo>
                  <a:lnTo>
                    <a:pt x="1026" y="474"/>
                  </a:lnTo>
                  <a:lnTo>
                    <a:pt x="1026" y="480"/>
                  </a:lnTo>
                  <a:lnTo>
                    <a:pt x="1032" y="492"/>
                  </a:lnTo>
                  <a:lnTo>
                    <a:pt x="1044" y="504"/>
                  </a:lnTo>
                  <a:lnTo>
                    <a:pt x="1044" y="516"/>
                  </a:lnTo>
                  <a:lnTo>
                    <a:pt x="1038" y="528"/>
                  </a:lnTo>
                  <a:lnTo>
                    <a:pt x="1032" y="546"/>
                  </a:lnTo>
                  <a:lnTo>
                    <a:pt x="1032" y="570"/>
                  </a:lnTo>
                  <a:lnTo>
                    <a:pt x="1050" y="594"/>
                  </a:lnTo>
                  <a:lnTo>
                    <a:pt x="1056" y="624"/>
                  </a:lnTo>
                  <a:lnTo>
                    <a:pt x="1056" y="65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9" name="Freeform 24">
              <a:extLst>
                <a:ext uri="{FF2B5EF4-FFF2-40B4-BE49-F238E27FC236}">
                  <a16:creationId xmlns:a16="http://schemas.microsoft.com/office/drawing/2014/main" id="{CAE689DA-332A-4F73-BDE6-8865C9170AA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84829" y="3213406"/>
              <a:ext cx="851989" cy="744754"/>
            </a:xfrm>
            <a:custGeom>
              <a:avLst/>
              <a:gdLst>
                <a:gd name="T0" fmla="*/ 116 w 1602"/>
                <a:gd name="T1" fmla="*/ 91 h 1404"/>
                <a:gd name="T2" fmla="*/ 111 w 1602"/>
                <a:gd name="T3" fmla="*/ 95 h 1404"/>
                <a:gd name="T4" fmla="*/ 102 w 1602"/>
                <a:gd name="T5" fmla="*/ 101 h 1404"/>
                <a:gd name="T6" fmla="*/ 99 w 1602"/>
                <a:gd name="T7" fmla="*/ 103 h 1404"/>
                <a:gd name="T8" fmla="*/ 96 w 1602"/>
                <a:gd name="T9" fmla="*/ 106 h 1404"/>
                <a:gd name="T10" fmla="*/ 93 w 1602"/>
                <a:gd name="T11" fmla="*/ 108 h 1404"/>
                <a:gd name="T12" fmla="*/ 88 w 1602"/>
                <a:gd name="T13" fmla="*/ 106 h 1404"/>
                <a:gd name="T14" fmla="*/ 86 w 1602"/>
                <a:gd name="T15" fmla="*/ 108 h 1404"/>
                <a:gd name="T16" fmla="*/ 81 w 1602"/>
                <a:gd name="T17" fmla="*/ 119 h 1404"/>
                <a:gd name="T18" fmla="*/ 71 w 1602"/>
                <a:gd name="T19" fmla="*/ 109 h 1404"/>
                <a:gd name="T20" fmla="*/ 72 w 1602"/>
                <a:gd name="T21" fmla="*/ 101 h 1404"/>
                <a:gd name="T22" fmla="*/ 74 w 1602"/>
                <a:gd name="T23" fmla="*/ 93 h 1404"/>
                <a:gd name="T24" fmla="*/ 73 w 1602"/>
                <a:gd name="T25" fmla="*/ 82 h 1404"/>
                <a:gd name="T26" fmla="*/ 64 w 1602"/>
                <a:gd name="T27" fmla="*/ 79 h 1404"/>
                <a:gd name="T28" fmla="*/ 59 w 1602"/>
                <a:gd name="T29" fmla="*/ 75 h 1404"/>
                <a:gd name="T30" fmla="*/ 54 w 1602"/>
                <a:gd name="T31" fmla="*/ 71 h 1404"/>
                <a:gd name="T32" fmla="*/ 51 w 1602"/>
                <a:gd name="T33" fmla="*/ 70 h 1404"/>
                <a:gd name="T34" fmla="*/ 45 w 1602"/>
                <a:gd name="T35" fmla="*/ 71 h 1404"/>
                <a:gd name="T36" fmla="*/ 43 w 1602"/>
                <a:gd name="T37" fmla="*/ 68 h 1404"/>
                <a:gd name="T38" fmla="*/ 43 w 1602"/>
                <a:gd name="T39" fmla="*/ 64 h 1404"/>
                <a:gd name="T40" fmla="*/ 36 w 1602"/>
                <a:gd name="T41" fmla="*/ 66 h 1404"/>
                <a:gd name="T42" fmla="*/ 31 w 1602"/>
                <a:gd name="T43" fmla="*/ 55 h 1404"/>
                <a:gd name="T44" fmla="*/ 25 w 1602"/>
                <a:gd name="T45" fmla="*/ 53 h 1404"/>
                <a:gd name="T46" fmla="*/ 19 w 1602"/>
                <a:gd name="T47" fmla="*/ 51 h 1404"/>
                <a:gd name="T48" fmla="*/ 17 w 1602"/>
                <a:gd name="T49" fmla="*/ 43 h 1404"/>
                <a:gd name="T50" fmla="*/ 17 w 1602"/>
                <a:gd name="T51" fmla="*/ 39 h 1404"/>
                <a:gd name="T52" fmla="*/ 12 w 1602"/>
                <a:gd name="T53" fmla="*/ 39 h 1404"/>
                <a:gd name="T54" fmla="*/ 10 w 1602"/>
                <a:gd name="T55" fmla="*/ 35 h 1404"/>
                <a:gd name="T56" fmla="*/ 5 w 1602"/>
                <a:gd name="T57" fmla="*/ 30 h 1404"/>
                <a:gd name="T58" fmla="*/ 3 w 1602"/>
                <a:gd name="T59" fmla="*/ 27 h 1404"/>
                <a:gd name="T60" fmla="*/ 2 w 1602"/>
                <a:gd name="T61" fmla="*/ 25 h 1404"/>
                <a:gd name="T62" fmla="*/ 0 w 1602"/>
                <a:gd name="T63" fmla="*/ 22 h 1404"/>
                <a:gd name="T64" fmla="*/ 8 w 1602"/>
                <a:gd name="T65" fmla="*/ 14 h 1404"/>
                <a:gd name="T66" fmla="*/ 16 w 1602"/>
                <a:gd name="T67" fmla="*/ 16 h 1404"/>
                <a:gd name="T68" fmla="*/ 31 w 1602"/>
                <a:gd name="T69" fmla="*/ 18 h 1404"/>
                <a:gd name="T70" fmla="*/ 43 w 1602"/>
                <a:gd name="T71" fmla="*/ 17 h 1404"/>
                <a:gd name="T72" fmla="*/ 47 w 1602"/>
                <a:gd name="T73" fmla="*/ 6 h 1404"/>
                <a:gd name="T74" fmla="*/ 52 w 1602"/>
                <a:gd name="T75" fmla="*/ 0 h 1404"/>
                <a:gd name="T76" fmla="*/ 55 w 1602"/>
                <a:gd name="T77" fmla="*/ 3 h 1404"/>
                <a:gd name="T78" fmla="*/ 59 w 1602"/>
                <a:gd name="T79" fmla="*/ 9 h 1404"/>
                <a:gd name="T80" fmla="*/ 62 w 1602"/>
                <a:gd name="T81" fmla="*/ 16 h 1404"/>
                <a:gd name="T82" fmla="*/ 66 w 1602"/>
                <a:gd name="T83" fmla="*/ 20 h 1404"/>
                <a:gd name="T84" fmla="*/ 70 w 1602"/>
                <a:gd name="T85" fmla="*/ 25 h 1404"/>
                <a:gd name="T86" fmla="*/ 74 w 1602"/>
                <a:gd name="T87" fmla="*/ 30 h 1404"/>
                <a:gd name="T88" fmla="*/ 76 w 1602"/>
                <a:gd name="T89" fmla="*/ 27 h 1404"/>
                <a:gd name="T90" fmla="*/ 78 w 1602"/>
                <a:gd name="T91" fmla="*/ 27 h 1404"/>
                <a:gd name="T92" fmla="*/ 78 w 1602"/>
                <a:gd name="T93" fmla="*/ 23 h 1404"/>
                <a:gd name="T94" fmla="*/ 82 w 1602"/>
                <a:gd name="T95" fmla="*/ 20 h 1404"/>
                <a:gd name="T96" fmla="*/ 82 w 1602"/>
                <a:gd name="T97" fmla="*/ 18 h 1404"/>
                <a:gd name="T98" fmla="*/ 90 w 1602"/>
                <a:gd name="T99" fmla="*/ 24 h 1404"/>
                <a:gd name="T100" fmla="*/ 90 w 1602"/>
                <a:gd name="T101" fmla="*/ 45 h 1404"/>
                <a:gd name="T102" fmla="*/ 104 w 1602"/>
                <a:gd name="T103" fmla="*/ 41 h 1404"/>
                <a:gd name="T104" fmla="*/ 117 w 1602"/>
                <a:gd name="T105" fmla="*/ 39 h 1404"/>
                <a:gd name="T106" fmla="*/ 125 w 1602"/>
                <a:gd name="T107" fmla="*/ 39 h 1404"/>
                <a:gd name="T108" fmla="*/ 127 w 1602"/>
                <a:gd name="T109" fmla="*/ 43 h 1404"/>
                <a:gd name="T110" fmla="*/ 131 w 1602"/>
                <a:gd name="T111" fmla="*/ 53 h 1404"/>
                <a:gd name="T112" fmla="*/ 133 w 1602"/>
                <a:gd name="T113" fmla="*/ 60 h 1404"/>
                <a:gd name="T114" fmla="*/ 138 w 1602"/>
                <a:gd name="T115" fmla="*/ 73 h 1404"/>
                <a:gd name="T116" fmla="*/ 136 w 1602"/>
                <a:gd name="T117" fmla="*/ 80 h 1404"/>
                <a:gd name="T118" fmla="*/ 129 w 1602"/>
                <a:gd name="T119" fmla="*/ 87 h 1404"/>
                <a:gd name="T120" fmla="*/ 123 w 1602"/>
                <a:gd name="T121" fmla="*/ 95 h 14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02"/>
                <a:gd name="T184" fmla="*/ 0 h 1404"/>
                <a:gd name="T185" fmla="*/ 1602 w 1602"/>
                <a:gd name="T186" fmla="*/ 1404 h 14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02" h="1404">
                  <a:moveTo>
                    <a:pt x="1392" y="1080"/>
                  </a:moveTo>
                  <a:lnTo>
                    <a:pt x="1380" y="1074"/>
                  </a:lnTo>
                  <a:lnTo>
                    <a:pt x="1368" y="1056"/>
                  </a:lnTo>
                  <a:lnTo>
                    <a:pt x="1356" y="1044"/>
                  </a:lnTo>
                  <a:lnTo>
                    <a:pt x="1344" y="1038"/>
                  </a:lnTo>
                  <a:lnTo>
                    <a:pt x="1338" y="1038"/>
                  </a:lnTo>
                  <a:lnTo>
                    <a:pt x="1332" y="1038"/>
                  </a:lnTo>
                  <a:lnTo>
                    <a:pt x="1326" y="1044"/>
                  </a:lnTo>
                  <a:lnTo>
                    <a:pt x="1320" y="1044"/>
                  </a:lnTo>
                  <a:lnTo>
                    <a:pt x="1314" y="1044"/>
                  </a:lnTo>
                  <a:lnTo>
                    <a:pt x="1296" y="1056"/>
                  </a:lnTo>
                  <a:lnTo>
                    <a:pt x="1296" y="1080"/>
                  </a:lnTo>
                  <a:lnTo>
                    <a:pt x="1290" y="1080"/>
                  </a:lnTo>
                  <a:lnTo>
                    <a:pt x="1284" y="1086"/>
                  </a:lnTo>
                  <a:lnTo>
                    <a:pt x="1278" y="1086"/>
                  </a:lnTo>
                  <a:lnTo>
                    <a:pt x="1278" y="1092"/>
                  </a:lnTo>
                  <a:lnTo>
                    <a:pt x="1272" y="1092"/>
                  </a:lnTo>
                  <a:lnTo>
                    <a:pt x="1266" y="1086"/>
                  </a:lnTo>
                  <a:lnTo>
                    <a:pt x="1260" y="1086"/>
                  </a:lnTo>
                  <a:lnTo>
                    <a:pt x="1260" y="1098"/>
                  </a:lnTo>
                  <a:lnTo>
                    <a:pt x="1248" y="1098"/>
                  </a:lnTo>
                  <a:lnTo>
                    <a:pt x="1212" y="1116"/>
                  </a:lnTo>
                  <a:lnTo>
                    <a:pt x="1206" y="1158"/>
                  </a:lnTo>
                  <a:lnTo>
                    <a:pt x="1176" y="1164"/>
                  </a:lnTo>
                  <a:lnTo>
                    <a:pt x="1158" y="1164"/>
                  </a:lnTo>
                  <a:lnTo>
                    <a:pt x="1152" y="1164"/>
                  </a:lnTo>
                  <a:lnTo>
                    <a:pt x="1152" y="1170"/>
                  </a:lnTo>
                  <a:lnTo>
                    <a:pt x="1152" y="1176"/>
                  </a:lnTo>
                  <a:lnTo>
                    <a:pt x="1146" y="1176"/>
                  </a:lnTo>
                  <a:lnTo>
                    <a:pt x="1140" y="1176"/>
                  </a:lnTo>
                  <a:lnTo>
                    <a:pt x="1134" y="1182"/>
                  </a:lnTo>
                  <a:lnTo>
                    <a:pt x="1134" y="1188"/>
                  </a:lnTo>
                  <a:lnTo>
                    <a:pt x="1128" y="1194"/>
                  </a:lnTo>
                  <a:lnTo>
                    <a:pt x="1122" y="1194"/>
                  </a:lnTo>
                  <a:lnTo>
                    <a:pt x="1116" y="1194"/>
                  </a:lnTo>
                  <a:lnTo>
                    <a:pt x="1110" y="1200"/>
                  </a:lnTo>
                  <a:lnTo>
                    <a:pt x="1110" y="1206"/>
                  </a:lnTo>
                  <a:lnTo>
                    <a:pt x="1104" y="1212"/>
                  </a:lnTo>
                  <a:lnTo>
                    <a:pt x="1104" y="1218"/>
                  </a:lnTo>
                  <a:lnTo>
                    <a:pt x="1098" y="1224"/>
                  </a:lnTo>
                  <a:lnTo>
                    <a:pt x="1092" y="1230"/>
                  </a:lnTo>
                  <a:lnTo>
                    <a:pt x="1086" y="1230"/>
                  </a:lnTo>
                  <a:lnTo>
                    <a:pt x="1080" y="1230"/>
                  </a:lnTo>
                  <a:lnTo>
                    <a:pt x="1080" y="1242"/>
                  </a:lnTo>
                  <a:lnTo>
                    <a:pt x="1074" y="1242"/>
                  </a:lnTo>
                  <a:lnTo>
                    <a:pt x="1068" y="1242"/>
                  </a:lnTo>
                  <a:lnTo>
                    <a:pt x="1068" y="1236"/>
                  </a:lnTo>
                  <a:lnTo>
                    <a:pt x="1062" y="1242"/>
                  </a:lnTo>
                  <a:lnTo>
                    <a:pt x="1056" y="1236"/>
                  </a:lnTo>
                  <a:lnTo>
                    <a:pt x="1050" y="1242"/>
                  </a:lnTo>
                  <a:lnTo>
                    <a:pt x="1050" y="1236"/>
                  </a:lnTo>
                  <a:lnTo>
                    <a:pt x="1044" y="1194"/>
                  </a:lnTo>
                  <a:lnTo>
                    <a:pt x="1032" y="1194"/>
                  </a:lnTo>
                  <a:lnTo>
                    <a:pt x="1032" y="1200"/>
                  </a:lnTo>
                  <a:lnTo>
                    <a:pt x="1026" y="1200"/>
                  </a:lnTo>
                  <a:lnTo>
                    <a:pt x="1014" y="1218"/>
                  </a:lnTo>
                  <a:lnTo>
                    <a:pt x="1014" y="1224"/>
                  </a:lnTo>
                  <a:lnTo>
                    <a:pt x="1014" y="1236"/>
                  </a:lnTo>
                  <a:lnTo>
                    <a:pt x="1014" y="1242"/>
                  </a:lnTo>
                  <a:lnTo>
                    <a:pt x="1008" y="1242"/>
                  </a:lnTo>
                  <a:lnTo>
                    <a:pt x="1002" y="1236"/>
                  </a:lnTo>
                  <a:lnTo>
                    <a:pt x="1002" y="1230"/>
                  </a:lnTo>
                  <a:lnTo>
                    <a:pt x="996" y="1236"/>
                  </a:lnTo>
                  <a:lnTo>
                    <a:pt x="990" y="1236"/>
                  </a:lnTo>
                  <a:lnTo>
                    <a:pt x="990" y="1230"/>
                  </a:lnTo>
                  <a:lnTo>
                    <a:pt x="984" y="1236"/>
                  </a:lnTo>
                  <a:lnTo>
                    <a:pt x="978" y="1248"/>
                  </a:lnTo>
                  <a:lnTo>
                    <a:pt x="972" y="1254"/>
                  </a:lnTo>
                  <a:lnTo>
                    <a:pt x="966" y="1260"/>
                  </a:lnTo>
                  <a:lnTo>
                    <a:pt x="930" y="1284"/>
                  </a:lnTo>
                  <a:lnTo>
                    <a:pt x="942" y="1356"/>
                  </a:lnTo>
                  <a:lnTo>
                    <a:pt x="930" y="1368"/>
                  </a:lnTo>
                  <a:lnTo>
                    <a:pt x="852" y="1404"/>
                  </a:lnTo>
                  <a:lnTo>
                    <a:pt x="834" y="1392"/>
                  </a:lnTo>
                  <a:lnTo>
                    <a:pt x="834" y="1362"/>
                  </a:lnTo>
                  <a:lnTo>
                    <a:pt x="828" y="1332"/>
                  </a:lnTo>
                  <a:lnTo>
                    <a:pt x="810" y="1308"/>
                  </a:lnTo>
                  <a:lnTo>
                    <a:pt x="810" y="1284"/>
                  </a:lnTo>
                  <a:lnTo>
                    <a:pt x="816" y="1266"/>
                  </a:lnTo>
                  <a:lnTo>
                    <a:pt x="822" y="1254"/>
                  </a:lnTo>
                  <a:lnTo>
                    <a:pt x="822" y="1242"/>
                  </a:lnTo>
                  <a:lnTo>
                    <a:pt x="810" y="1230"/>
                  </a:lnTo>
                  <a:lnTo>
                    <a:pt x="804" y="1218"/>
                  </a:lnTo>
                  <a:lnTo>
                    <a:pt x="804" y="1212"/>
                  </a:lnTo>
                  <a:lnTo>
                    <a:pt x="804" y="1206"/>
                  </a:lnTo>
                  <a:lnTo>
                    <a:pt x="816" y="1194"/>
                  </a:lnTo>
                  <a:lnTo>
                    <a:pt x="822" y="1188"/>
                  </a:lnTo>
                  <a:lnTo>
                    <a:pt x="828" y="1170"/>
                  </a:lnTo>
                  <a:lnTo>
                    <a:pt x="840" y="1152"/>
                  </a:lnTo>
                  <a:lnTo>
                    <a:pt x="846" y="1146"/>
                  </a:lnTo>
                  <a:lnTo>
                    <a:pt x="846" y="1134"/>
                  </a:lnTo>
                  <a:lnTo>
                    <a:pt x="852" y="1128"/>
                  </a:lnTo>
                  <a:lnTo>
                    <a:pt x="846" y="1116"/>
                  </a:lnTo>
                  <a:lnTo>
                    <a:pt x="840" y="1098"/>
                  </a:lnTo>
                  <a:lnTo>
                    <a:pt x="840" y="1086"/>
                  </a:lnTo>
                  <a:lnTo>
                    <a:pt x="846" y="1074"/>
                  </a:lnTo>
                  <a:lnTo>
                    <a:pt x="852" y="1068"/>
                  </a:lnTo>
                  <a:lnTo>
                    <a:pt x="864" y="1038"/>
                  </a:lnTo>
                  <a:lnTo>
                    <a:pt x="870" y="1020"/>
                  </a:lnTo>
                  <a:lnTo>
                    <a:pt x="864" y="1008"/>
                  </a:lnTo>
                  <a:lnTo>
                    <a:pt x="858" y="990"/>
                  </a:lnTo>
                  <a:lnTo>
                    <a:pt x="852" y="954"/>
                  </a:lnTo>
                  <a:lnTo>
                    <a:pt x="846" y="948"/>
                  </a:lnTo>
                  <a:lnTo>
                    <a:pt x="834" y="936"/>
                  </a:lnTo>
                  <a:lnTo>
                    <a:pt x="828" y="924"/>
                  </a:lnTo>
                  <a:lnTo>
                    <a:pt x="756" y="942"/>
                  </a:lnTo>
                  <a:lnTo>
                    <a:pt x="744" y="936"/>
                  </a:lnTo>
                  <a:lnTo>
                    <a:pt x="744" y="930"/>
                  </a:lnTo>
                  <a:lnTo>
                    <a:pt x="738" y="924"/>
                  </a:lnTo>
                  <a:lnTo>
                    <a:pt x="744" y="924"/>
                  </a:lnTo>
                  <a:lnTo>
                    <a:pt x="738" y="918"/>
                  </a:lnTo>
                  <a:lnTo>
                    <a:pt x="732" y="912"/>
                  </a:lnTo>
                  <a:lnTo>
                    <a:pt x="732" y="906"/>
                  </a:lnTo>
                  <a:lnTo>
                    <a:pt x="732" y="894"/>
                  </a:lnTo>
                  <a:lnTo>
                    <a:pt x="726" y="888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6"/>
                  </a:lnTo>
                  <a:lnTo>
                    <a:pt x="690" y="882"/>
                  </a:lnTo>
                  <a:lnTo>
                    <a:pt x="684" y="864"/>
                  </a:lnTo>
                  <a:lnTo>
                    <a:pt x="684" y="852"/>
                  </a:lnTo>
                  <a:lnTo>
                    <a:pt x="672" y="852"/>
                  </a:lnTo>
                  <a:lnTo>
                    <a:pt x="654" y="852"/>
                  </a:lnTo>
                  <a:lnTo>
                    <a:pt x="642" y="846"/>
                  </a:lnTo>
                  <a:lnTo>
                    <a:pt x="636" y="834"/>
                  </a:lnTo>
                  <a:lnTo>
                    <a:pt x="630" y="822"/>
                  </a:lnTo>
                  <a:lnTo>
                    <a:pt x="618" y="822"/>
                  </a:lnTo>
                  <a:lnTo>
                    <a:pt x="618" y="816"/>
                  </a:lnTo>
                  <a:lnTo>
                    <a:pt x="618" y="810"/>
                  </a:lnTo>
                  <a:lnTo>
                    <a:pt x="612" y="810"/>
                  </a:lnTo>
                  <a:lnTo>
                    <a:pt x="606" y="804"/>
                  </a:lnTo>
                  <a:lnTo>
                    <a:pt x="594" y="804"/>
                  </a:lnTo>
                  <a:lnTo>
                    <a:pt x="588" y="810"/>
                  </a:lnTo>
                  <a:lnTo>
                    <a:pt x="588" y="804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70" y="810"/>
                  </a:lnTo>
                  <a:lnTo>
                    <a:pt x="564" y="816"/>
                  </a:lnTo>
                  <a:lnTo>
                    <a:pt x="558" y="816"/>
                  </a:lnTo>
                  <a:lnTo>
                    <a:pt x="552" y="822"/>
                  </a:lnTo>
                  <a:lnTo>
                    <a:pt x="546" y="828"/>
                  </a:lnTo>
                  <a:lnTo>
                    <a:pt x="546" y="834"/>
                  </a:lnTo>
                  <a:lnTo>
                    <a:pt x="528" y="834"/>
                  </a:lnTo>
                  <a:lnTo>
                    <a:pt x="516" y="822"/>
                  </a:lnTo>
                  <a:lnTo>
                    <a:pt x="504" y="822"/>
                  </a:lnTo>
                  <a:lnTo>
                    <a:pt x="492" y="82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6" y="792"/>
                  </a:lnTo>
                  <a:lnTo>
                    <a:pt x="492" y="786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504" y="780"/>
                  </a:lnTo>
                  <a:lnTo>
                    <a:pt x="510" y="780"/>
                  </a:lnTo>
                  <a:lnTo>
                    <a:pt x="522" y="768"/>
                  </a:lnTo>
                  <a:lnTo>
                    <a:pt x="522" y="762"/>
                  </a:lnTo>
                  <a:lnTo>
                    <a:pt x="504" y="756"/>
                  </a:lnTo>
                  <a:lnTo>
                    <a:pt x="498" y="756"/>
                  </a:lnTo>
                  <a:lnTo>
                    <a:pt x="498" y="744"/>
                  </a:lnTo>
                  <a:lnTo>
                    <a:pt x="492" y="738"/>
                  </a:lnTo>
                  <a:lnTo>
                    <a:pt x="480" y="738"/>
                  </a:lnTo>
                  <a:lnTo>
                    <a:pt x="474" y="738"/>
                  </a:lnTo>
                  <a:lnTo>
                    <a:pt x="456" y="738"/>
                  </a:lnTo>
                  <a:lnTo>
                    <a:pt x="438" y="738"/>
                  </a:lnTo>
                  <a:lnTo>
                    <a:pt x="432" y="750"/>
                  </a:lnTo>
                  <a:lnTo>
                    <a:pt x="426" y="756"/>
                  </a:lnTo>
                  <a:lnTo>
                    <a:pt x="426" y="762"/>
                  </a:lnTo>
                  <a:lnTo>
                    <a:pt x="420" y="762"/>
                  </a:lnTo>
                  <a:lnTo>
                    <a:pt x="408" y="744"/>
                  </a:lnTo>
                  <a:lnTo>
                    <a:pt x="408" y="732"/>
                  </a:lnTo>
                  <a:lnTo>
                    <a:pt x="390" y="714"/>
                  </a:lnTo>
                  <a:lnTo>
                    <a:pt x="384" y="702"/>
                  </a:lnTo>
                  <a:lnTo>
                    <a:pt x="384" y="690"/>
                  </a:lnTo>
                  <a:lnTo>
                    <a:pt x="372" y="690"/>
                  </a:lnTo>
                  <a:lnTo>
                    <a:pt x="366" y="660"/>
                  </a:lnTo>
                  <a:lnTo>
                    <a:pt x="354" y="630"/>
                  </a:lnTo>
                  <a:lnTo>
                    <a:pt x="348" y="630"/>
                  </a:lnTo>
                  <a:lnTo>
                    <a:pt x="336" y="630"/>
                  </a:lnTo>
                  <a:lnTo>
                    <a:pt x="330" y="630"/>
                  </a:lnTo>
                  <a:lnTo>
                    <a:pt x="318" y="630"/>
                  </a:lnTo>
                  <a:lnTo>
                    <a:pt x="312" y="624"/>
                  </a:lnTo>
                  <a:lnTo>
                    <a:pt x="306" y="624"/>
                  </a:lnTo>
                  <a:lnTo>
                    <a:pt x="294" y="618"/>
                  </a:lnTo>
                  <a:lnTo>
                    <a:pt x="288" y="612"/>
                  </a:lnTo>
                  <a:lnTo>
                    <a:pt x="276" y="600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58" y="588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8"/>
                  </a:lnTo>
                  <a:lnTo>
                    <a:pt x="216" y="582"/>
                  </a:lnTo>
                  <a:lnTo>
                    <a:pt x="210" y="588"/>
                  </a:lnTo>
                  <a:lnTo>
                    <a:pt x="198" y="582"/>
                  </a:lnTo>
                  <a:lnTo>
                    <a:pt x="180" y="582"/>
                  </a:lnTo>
                  <a:lnTo>
                    <a:pt x="174" y="552"/>
                  </a:lnTo>
                  <a:lnTo>
                    <a:pt x="168" y="504"/>
                  </a:lnTo>
                  <a:lnTo>
                    <a:pt x="186" y="504"/>
                  </a:lnTo>
                  <a:lnTo>
                    <a:pt x="192" y="504"/>
                  </a:lnTo>
                  <a:lnTo>
                    <a:pt x="192" y="498"/>
                  </a:lnTo>
                  <a:lnTo>
                    <a:pt x="192" y="492"/>
                  </a:lnTo>
                  <a:lnTo>
                    <a:pt x="192" y="486"/>
                  </a:lnTo>
                  <a:lnTo>
                    <a:pt x="198" y="486"/>
                  </a:lnTo>
                  <a:lnTo>
                    <a:pt x="198" y="480"/>
                  </a:lnTo>
                  <a:lnTo>
                    <a:pt x="204" y="474"/>
                  </a:lnTo>
                  <a:lnTo>
                    <a:pt x="210" y="468"/>
                  </a:lnTo>
                  <a:lnTo>
                    <a:pt x="198" y="462"/>
                  </a:lnTo>
                  <a:lnTo>
                    <a:pt x="192" y="444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32"/>
                  </a:lnTo>
                  <a:lnTo>
                    <a:pt x="168" y="438"/>
                  </a:lnTo>
                  <a:lnTo>
                    <a:pt x="150" y="450"/>
                  </a:lnTo>
                  <a:lnTo>
                    <a:pt x="144" y="456"/>
                  </a:lnTo>
                  <a:lnTo>
                    <a:pt x="132" y="456"/>
                  </a:lnTo>
                  <a:lnTo>
                    <a:pt x="126" y="468"/>
                  </a:lnTo>
                  <a:lnTo>
                    <a:pt x="114" y="468"/>
                  </a:lnTo>
                  <a:lnTo>
                    <a:pt x="108" y="468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14"/>
                  </a:lnTo>
                  <a:lnTo>
                    <a:pt x="108" y="396"/>
                  </a:lnTo>
                  <a:lnTo>
                    <a:pt x="120" y="396"/>
                  </a:lnTo>
                  <a:lnTo>
                    <a:pt x="126" y="384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84" y="354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0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60" y="318"/>
                  </a:lnTo>
                  <a:lnTo>
                    <a:pt x="42" y="324"/>
                  </a:lnTo>
                  <a:lnTo>
                    <a:pt x="36" y="318"/>
                  </a:lnTo>
                  <a:lnTo>
                    <a:pt x="36" y="312"/>
                  </a:lnTo>
                  <a:lnTo>
                    <a:pt x="36" y="306"/>
                  </a:lnTo>
                  <a:lnTo>
                    <a:pt x="36" y="300"/>
                  </a:lnTo>
                  <a:lnTo>
                    <a:pt x="30" y="300"/>
                  </a:lnTo>
                  <a:lnTo>
                    <a:pt x="30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24" y="276"/>
                  </a:lnTo>
                  <a:lnTo>
                    <a:pt x="18" y="276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18" y="234"/>
                  </a:lnTo>
                  <a:lnTo>
                    <a:pt x="30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42" y="192"/>
                  </a:lnTo>
                  <a:lnTo>
                    <a:pt x="66" y="186"/>
                  </a:lnTo>
                  <a:lnTo>
                    <a:pt x="90" y="156"/>
                  </a:lnTo>
                  <a:lnTo>
                    <a:pt x="102" y="144"/>
                  </a:lnTo>
                  <a:lnTo>
                    <a:pt x="138" y="150"/>
                  </a:lnTo>
                  <a:lnTo>
                    <a:pt x="162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0" y="180"/>
                  </a:lnTo>
                  <a:lnTo>
                    <a:pt x="174" y="180"/>
                  </a:lnTo>
                  <a:lnTo>
                    <a:pt x="180" y="186"/>
                  </a:lnTo>
                  <a:lnTo>
                    <a:pt x="186" y="186"/>
                  </a:lnTo>
                  <a:lnTo>
                    <a:pt x="198" y="192"/>
                  </a:lnTo>
                  <a:lnTo>
                    <a:pt x="216" y="198"/>
                  </a:lnTo>
                  <a:lnTo>
                    <a:pt x="252" y="204"/>
                  </a:lnTo>
                  <a:lnTo>
                    <a:pt x="258" y="210"/>
                  </a:lnTo>
                  <a:lnTo>
                    <a:pt x="306" y="216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84" y="210"/>
                  </a:lnTo>
                  <a:lnTo>
                    <a:pt x="408" y="222"/>
                  </a:lnTo>
                  <a:lnTo>
                    <a:pt x="438" y="228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86" y="222"/>
                  </a:lnTo>
                  <a:lnTo>
                    <a:pt x="492" y="210"/>
                  </a:lnTo>
                  <a:lnTo>
                    <a:pt x="492" y="198"/>
                  </a:lnTo>
                  <a:lnTo>
                    <a:pt x="486" y="180"/>
                  </a:lnTo>
                  <a:lnTo>
                    <a:pt x="492" y="162"/>
                  </a:lnTo>
                  <a:lnTo>
                    <a:pt x="510" y="96"/>
                  </a:lnTo>
                  <a:lnTo>
                    <a:pt x="516" y="84"/>
                  </a:lnTo>
                  <a:lnTo>
                    <a:pt x="522" y="84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34" y="72"/>
                  </a:lnTo>
                  <a:lnTo>
                    <a:pt x="534" y="60"/>
                  </a:lnTo>
                  <a:lnTo>
                    <a:pt x="540" y="36"/>
                  </a:lnTo>
                  <a:lnTo>
                    <a:pt x="546" y="6"/>
                  </a:lnTo>
                  <a:lnTo>
                    <a:pt x="558" y="6"/>
                  </a:lnTo>
                  <a:lnTo>
                    <a:pt x="564" y="0"/>
                  </a:lnTo>
                  <a:lnTo>
                    <a:pt x="582" y="0"/>
                  </a:lnTo>
                  <a:lnTo>
                    <a:pt x="588" y="0"/>
                  </a:lnTo>
                  <a:lnTo>
                    <a:pt x="594" y="6"/>
                  </a:lnTo>
                  <a:lnTo>
                    <a:pt x="600" y="12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24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36" y="36"/>
                  </a:lnTo>
                  <a:lnTo>
                    <a:pt x="642" y="36"/>
                  </a:lnTo>
                  <a:lnTo>
                    <a:pt x="642" y="42"/>
                  </a:lnTo>
                  <a:lnTo>
                    <a:pt x="648" y="54"/>
                  </a:lnTo>
                  <a:lnTo>
                    <a:pt x="660" y="72"/>
                  </a:lnTo>
                  <a:lnTo>
                    <a:pt x="666" y="78"/>
                  </a:lnTo>
                  <a:lnTo>
                    <a:pt x="672" y="90"/>
                  </a:lnTo>
                  <a:lnTo>
                    <a:pt x="678" y="102"/>
                  </a:lnTo>
                  <a:lnTo>
                    <a:pt x="678" y="114"/>
                  </a:lnTo>
                  <a:lnTo>
                    <a:pt x="684" y="132"/>
                  </a:lnTo>
                  <a:lnTo>
                    <a:pt x="684" y="144"/>
                  </a:lnTo>
                  <a:lnTo>
                    <a:pt x="690" y="162"/>
                  </a:lnTo>
                  <a:lnTo>
                    <a:pt x="696" y="168"/>
                  </a:lnTo>
                  <a:lnTo>
                    <a:pt x="696" y="180"/>
                  </a:lnTo>
                  <a:lnTo>
                    <a:pt x="702" y="186"/>
                  </a:lnTo>
                  <a:lnTo>
                    <a:pt x="708" y="186"/>
                  </a:lnTo>
                  <a:lnTo>
                    <a:pt x="714" y="198"/>
                  </a:lnTo>
                  <a:lnTo>
                    <a:pt x="720" y="198"/>
                  </a:lnTo>
                  <a:lnTo>
                    <a:pt x="732" y="204"/>
                  </a:lnTo>
                  <a:lnTo>
                    <a:pt x="738" y="210"/>
                  </a:lnTo>
                  <a:lnTo>
                    <a:pt x="738" y="216"/>
                  </a:lnTo>
                  <a:lnTo>
                    <a:pt x="744" y="222"/>
                  </a:lnTo>
                  <a:lnTo>
                    <a:pt x="750" y="228"/>
                  </a:lnTo>
                  <a:lnTo>
                    <a:pt x="756" y="228"/>
                  </a:lnTo>
                  <a:lnTo>
                    <a:pt x="768" y="240"/>
                  </a:lnTo>
                  <a:lnTo>
                    <a:pt x="774" y="252"/>
                  </a:lnTo>
                  <a:lnTo>
                    <a:pt x="780" y="258"/>
                  </a:lnTo>
                  <a:lnTo>
                    <a:pt x="786" y="258"/>
                  </a:lnTo>
                  <a:lnTo>
                    <a:pt x="798" y="264"/>
                  </a:lnTo>
                  <a:lnTo>
                    <a:pt x="798" y="270"/>
                  </a:lnTo>
                  <a:lnTo>
                    <a:pt x="798" y="276"/>
                  </a:lnTo>
                  <a:lnTo>
                    <a:pt x="810" y="288"/>
                  </a:lnTo>
                  <a:lnTo>
                    <a:pt x="816" y="288"/>
                  </a:lnTo>
                  <a:lnTo>
                    <a:pt x="816" y="300"/>
                  </a:lnTo>
                  <a:lnTo>
                    <a:pt x="816" y="306"/>
                  </a:lnTo>
                  <a:lnTo>
                    <a:pt x="822" y="318"/>
                  </a:lnTo>
                  <a:lnTo>
                    <a:pt x="828" y="324"/>
                  </a:lnTo>
                  <a:lnTo>
                    <a:pt x="834" y="330"/>
                  </a:lnTo>
                  <a:lnTo>
                    <a:pt x="846" y="336"/>
                  </a:lnTo>
                  <a:lnTo>
                    <a:pt x="846" y="342"/>
                  </a:lnTo>
                  <a:lnTo>
                    <a:pt x="852" y="348"/>
                  </a:lnTo>
                  <a:lnTo>
                    <a:pt x="852" y="354"/>
                  </a:lnTo>
                  <a:lnTo>
                    <a:pt x="858" y="354"/>
                  </a:lnTo>
                  <a:lnTo>
                    <a:pt x="858" y="348"/>
                  </a:lnTo>
                  <a:lnTo>
                    <a:pt x="864" y="342"/>
                  </a:lnTo>
                  <a:lnTo>
                    <a:pt x="864" y="336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76" y="306"/>
                  </a:lnTo>
                  <a:lnTo>
                    <a:pt x="870" y="300"/>
                  </a:lnTo>
                  <a:lnTo>
                    <a:pt x="870" y="294"/>
                  </a:lnTo>
                  <a:lnTo>
                    <a:pt x="876" y="294"/>
                  </a:lnTo>
                  <a:lnTo>
                    <a:pt x="882" y="300"/>
                  </a:lnTo>
                  <a:lnTo>
                    <a:pt x="888" y="300"/>
                  </a:lnTo>
                  <a:lnTo>
                    <a:pt x="888" y="306"/>
                  </a:lnTo>
                  <a:lnTo>
                    <a:pt x="894" y="300"/>
                  </a:lnTo>
                  <a:lnTo>
                    <a:pt x="900" y="294"/>
                  </a:lnTo>
                  <a:lnTo>
                    <a:pt x="894" y="288"/>
                  </a:lnTo>
                  <a:lnTo>
                    <a:pt x="888" y="282"/>
                  </a:lnTo>
                  <a:lnTo>
                    <a:pt x="888" y="276"/>
                  </a:lnTo>
                  <a:lnTo>
                    <a:pt x="894" y="276"/>
                  </a:lnTo>
                  <a:lnTo>
                    <a:pt x="900" y="276"/>
                  </a:lnTo>
                  <a:lnTo>
                    <a:pt x="900" y="270"/>
                  </a:lnTo>
                  <a:lnTo>
                    <a:pt x="906" y="264"/>
                  </a:lnTo>
                  <a:lnTo>
                    <a:pt x="906" y="258"/>
                  </a:lnTo>
                  <a:lnTo>
                    <a:pt x="918" y="264"/>
                  </a:lnTo>
                  <a:lnTo>
                    <a:pt x="918" y="258"/>
                  </a:lnTo>
                  <a:lnTo>
                    <a:pt x="924" y="252"/>
                  </a:lnTo>
                  <a:lnTo>
                    <a:pt x="930" y="252"/>
                  </a:lnTo>
                  <a:lnTo>
                    <a:pt x="930" y="246"/>
                  </a:lnTo>
                  <a:lnTo>
                    <a:pt x="936" y="234"/>
                  </a:lnTo>
                  <a:lnTo>
                    <a:pt x="942" y="228"/>
                  </a:lnTo>
                  <a:lnTo>
                    <a:pt x="942" y="222"/>
                  </a:lnTo>
                  <a:lnTo>
                    <a:pt x="948" y="222"/>
                  </a:lnTo>
                  <a:lnTo>
                    <a:pt x="948" y="216"/>
                  </a:lnTo>
                  <a:lnTo>
                    <a:pt x="942" y="216"/>
                  </a:lnTo>
                  <a:lnTo>
                    <a:pt x="936" y="216"/>
                  </a:lnTo>
                  <a:lnTo>
                    <a:pt x="936" y="210"/>
                  </a:lnTo>
                  <a:lnTo>
                    <a:pt x="942" y="210"/>
                  </a:lnTo>
                  <a:lnTo>
                    <a:pt x="972" y="210"/>
                  </a:lnTo>
                  <a:lnTo>
                    <a:pt x="1032" y="216"/>
                  </a:lnTo>
                  <a:lnTo>
                    <a:pt x="1068" y="216"/>
                  </a:lnTo>
                  <a:lnTo>
                    <a:pt x="1056" y="234"/>
                  </a:lnTo>
                  <a:lnTo>
                    <a:pt x="1050" y="240"/>
                  </a:lnTo>
                  <a:lnTo>
                    <a:pt x="1044" y="246"/>
                  </a:lnTo>
                  <a:lnTo>
                    <a:pt x="1038" y="246"/>
                  </a:lnTo>
                  <a:lnTo>
                    <a:pt x="1026" y="282"/>
                  </a:lnTo>
                  <a:lnTo>
                    <a:pt x="1032" y="306"/>
                  </a:lnTo>
                  <a:lnTo>
                    <a:pt x="1044" y="324"/>
                  </a:lnTo>
                  <a:lnTo>
                    <a:pt x="1044" y="342"/>
                  </a:lnTo>
                  <a:lnTo>
                    <a:pt x="1062" y="366"/>
                  </a:lnTo>
                  <a:lnTo>
                    <a:pt x="1056" y="396"/>
                  </a:lnTo>
                  <a:lnTo>
                    <a:pt x="1038" y="462"/>
                  </a:lnTo>
                  <a:lnTo>
                    <a:pt x="1038" y="498"/>
                  </a:lnTo>
                  <a:lnTo>
                    <a:pt x="1038" y="522"/>
                  </a:lnTo>
                  <a:lnTo>
                    <a:pt x="1038" y="534"/>
                  </a:lnTo>
                  <a:lnTo>
                    <a:pt x="1056" y="522"/>
                  </a:lnTo>
                  <a:lnTo>
                    <a:pt x="1098" y="504"/>
                  </a:lnTo>
                  <a:lnTo>
                    <a:pt x="1104" y="498"/>
                  </a:lnTo>
                  <a:lnTo>
                    <a:pt x="1128" y="492"/>
                  </a:lnTo>
                  <a:lnTo>
                    <a:pt x="1152" y="480"/>
                  </a:lnTo>
                  <a:lnTo>
                    <a:pt x="1170" y="474"/>
                  </a:lnTo>
                  <a:lnTo>
                    <a:pt x="1188" y="468"/>
                  </a:lnTo>
                  <a:lnTo>
                    <a:pt x="1200" y="462"/>
                  </a:lnTo>
                  <a:lnTo>
                    <a:pt x="1224" y="450"/>
                  </a:lnTo>
                  <a:lnTo>
                    <a:pt x="1248" y="450"/>
                  </a:lnTo>
                  <a:lnTo>
                    <a:pt x="1266" y="450"/>
                  </a:lnTo>
                  <a:lnTo>
                    <a:pt x="1296" y="456"/>
                  </a:lnTo>
                  <a:lnTo>
                    <a:pt x="1308" y="456"/>
                  </a:lnTo>
                  <a:lnTo>
                    <a:pt x="1326" y="456"/>
                  </a:lnTo>
                  <a:lnTo>
                    <a:pt x="1338" y="456"/>
                  </a:lnTo>
                  <a:lnTo>
                    <a:pt x="1350" y="462"/>
                  </a:lnTo>
                  <a:lnTo>
                    <a:pt x="1356" y="462"/>
                  </a:lnTo>
                  <a:lnTo>
                    <a:pt x="1374" y="456"/>
                  </a:lnTo>
                  <a:lnTo>
                    <a:pt x="1386" y="456"/>
                  </a:lnTo>
                  <a:lnTo>
                    <a:pt x="1392" y="456"/>
                  </a:lnTo>
                  <a:lnTo>
                    <a:pt x="1398" y="456"/>
                  </a:lnTo>
                  <a:lnTo>
                    <a:pt x="1422" y="456"/>
                  </a:lnTo>
                  <a:lnTo>
                    <a:pt x="1440" y="456"/>
                  </a:lnTo>
                  <a:lnTo>
                    <a:pt x="1446" y="456"/>
                  </a:lnTo>
                  <a:lnTo>
                    <a:pt x="1476" y="456"/>
                  </a:lnTo>
                  <a:lnTo>
                    <a:pt x="1470" y="468"/>
                  </a:lnTo>
                  <a:lnTo>
                    <a:pt x="1470" y="474"/>
                  </a:lnTo>
                  <a:lnTo>
                    <a:pt x="1470" y="486"/>
                  </a:lnTo>
                  <a:lnTo>
                    <a:pt x="1464" y="492"/>
                  </a:lnTo>
                  <a:lnTo>
                    <a:pt x="1464" y="498"/>
                  </a:lnTo>
                  <a:lnTo>
                    <a:pt x="1458" y="498"/>
                  </a:lnTo>
                  <a:lnTo>
                    <a:pt x="1458" y="510"/>
                  </a:lnTo>
                  <a:lnTo>
                    <a:pt x="1452" y="522"/>
                  </a:lnTo>
                  <a:lnTo>
                    <a:pt x="1458" y="528"/>
                  </a:lnTo>
                  <a:lnTo>
                    <a:pt x="1464" y="546"/>
                  </a:lnTo>
                  <a:lnTo>
                    <a:pt x="1470" y="552"/>
                  </a:lnTo>
                  <a:lnTo>
                    <a:pt x="1476" y="564"/>
                  </a:lnTo>
                  <a:lnTo>
                    <a:pt x="1488" y="588"/>
                  </a:lnTo>
                  <a:lnTo>
                    <a:pt x="1506" y="606"/>
                  </a:lnTo>
                  <a:lnTo>
                    <a:pt x="1506" y="612"/>
                  </a:lnTo>
                  <a:lnTo>
                    <a:pt x="1518" y="618"/>
                  </a:lnTo>
                  <a:lnTo>
                    <a:pt x="1512" y="630"/>
                  </a:lnTo>
                  <a:lnTo>
                    <a:pt x="1518" y="642"/>
                  </a:lnTo>
                  <a:lnTo>
                    <a:pt x="1518" y="648"/>
                  </a:lnTo>
                  <a:lnTo>
                    <a:pt x="1530" y="666"/>
                  </a:lnTo>
                  <a:lnTo>
                    <a:pt x="1518" y="672"/>
                  </a:lnTo>
                  <a:lnTo>
                    <a:pt x="1524" y="696"/>
                  </a:lnTo>
                  <a:lnTo>
                    <a:pt x="1518" y="732"/>
                  </a:lnTo>
                  <a:lnTo>
                    <a:pt x="1524" y="762"/>
                  </a:lnTo>
                  <a:lnTo>
                    <a:pt x="1524" y="780"/>
                  </a:lnTo>
                  <a:lnTo>
                    <a:pt x="1524" y="810"/>
                  </a:lnTo>
                  <a:lnTo>
                    <a:pt x="1530" y="834"/>
                  </a:lnTo>
                  <a:lnTo>
                    <a:pt x="1536" y="846"/>
                  </a:lnTo>
                  <a:lnTo>
                    <a:pt x="1542" y="846"/>
                  </a:lnTo>
                  <a:lnTo>
                    <a:pt x="1584" y="840"/>
                  </a:lnTo>
                  <a:lnTo>
                    <a:pt x="1590" y="846"/>
                  </a:lnTo>
                  <a:lnTo>
                    <a:pt x="1596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90" y="864"/>
                  </a:lnTo>
                  <a:lnTo>
                    <a:pt x="1578" y="882"/>
                  </a:lnTo>
                  <a:lnTo>
                    <a:pt x="1572" y="906"/>
                  </a:lnTo>
                  <a:lnTo>
                    <a:pt x="1560" y="924"/>
                  </a:lnTo>
                  <a:lnTo>
                    <a:pt x="1560" y="936"/>
                  </a:lnTo>
                  <a:lnTo>
                    <a:pt x="1548" y="960"/>
                  </a:lnTo>
                  <a:lnTo>
                    <a:pt x="1542" y="978"/>
                  </a:lnTo>
                  <a:lnTo>
                    <a:pt x="1536" y="990"/>
                  </a:lnTo>
                  <a:lnTo>
                    <a:pt x="1530" y="990"/>
                  </a:lnTo>
                  <a:lnTo>
                    <a:pt x="1506" y="996"/>
                  </a:lnTo>
                  <a:lnTo>
                    <a:pt x="1494" y="1002"/>
                  </a:lnTo>
                  <a:lnTo>
                    <a:pt x="1482" y="1002"/>
                  </a:lnTo>
                  <a:lnTo>
                    <a:pt x="1464" y="1008"/>
                  </a:lnTo>
                  <a:lnTo>
                    <a:pt x="1446" y="1026"/>
                  </a:lnTo>
                  <a:lnTo>
                    <a:pt x="1440" y="1026"/>
                  </a:lnTo>
                  <a:lnTo>
                    <a:pt x="1434" y="1038"/>
                  </a:lnTo>
                  <a:lnTo>
                    <a:pt x="1428" y="1044"/>
                  </a:lnTo>
                  <a:lnTo>
                    <a:pt x="1428" y="1062"/>
                  </a:lnTo>
                  <a:lnTo>
                    <a:pt x="1428" y="1086"/>
                  </a:lnTo>
                  <a:lnTo>
                    <a:pt x="1416" y="1092"/>
                  </a:lnTo>
                  <a:lnTo>
                    <a:pt x="1410" y="1080"/>
                  </a:lnTo>
                  <a:lnTo>
                    <a:pt x="1392" y="10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0" name="Freeform 25">
              <a:extLst>
                <a:ext uri="{FF2B5EF4-FFF2-40B4-BE49-F238E27FC236}">
                  <a16:creationId xmlns:a16="http://schemas.microsoft.com/office/drawing/2014/main" id="{39FDFF90-5ACF-4D65-81AD-C44D2CBE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70228" y="3063559"/>
              <a:ext cx="644023" cy="704498"/>
            </a:xfrm>
            <a:custGeom>
              <a:avLst/>
              <a:gdLst>
                <a:gd name="T0" fmla="*/ 74 w 1212"/>
                <a:gd name="T1" fmla="*/ 113 h 1326"/>
                <a:gd name="T2" fmla="*/ 60 w 1212"/>
                <a:gd name="T3" fmla="*/ 116 h 1326"/>
                <a:gd name="T4" fmla="*/ 62 w 1212"/>
                <a:gd name="T5" fmla="*/ 110 h 1326"/>
                <a:gd name="T6" fmla="*/ 60 w 1212"/>
                <a:gd name="T7" fmla="*/ 105 h 1326"/>
                <a:gd name="T8" fmla="*/ 52 w 1212"/>
                <a:gd name="T9" fmla="*/ 96 h 1326"/>
                <a:gd name="T10" fmla="*/ 47 w 1212"/>
                <a:gd name="T11" fmla="*/ 98 h 1326"/>
                <a:gd name="T12" fmla="*/ 44 w 1212"/>
                <a:gd name="T13" fmla="*/ 93 h 1326"/>
                <a:gd name="T14" fmla="*/ 40 w 1212"/>
                <a:gd name="T15" fmla="*/ 96 h 1326"/>
                <a:gd name="T16" fmla="*/ 35 w 1212"/>
                <a:gd name="T17" fmla="*/ 102 h 1326"/>
                <a:gd name="T18" fmla="*/ 27 w 1212"/>
                <a:gd name="T19" fmla="*/ 100 h 1326"/>
                <a:gd name="T20" fmla="*/ 23 w 1212"/>
                <a:gd name="T21" fmla="*/ 96 h 1326"/>
                <a:gd name="T22" fmla="*/ 20 w 1212"/>
                <a:gd name="T23" fmla="*/ 90 h 1326"/>
                <a:gd name="T24" fmla="*/ 18 w 1212"/>
                <a:gd name="T25" fmla="*/ 89 h 1326"/>
                <a:gd name="T26" fmla="*/ 18 w 1212"/>
                <a:gd name="T27" fmla="*/ 85 h 1326"/>
                <a:gd name="T28" fmla="*/ 19 w 1212"/>
                <a:gd name="T29" fmla="*/ 83 h 1326"/>
                <a:gd name="T30" fmla="*/ 19 w 1212"/>
                <a:gd name="T31" fmla="*/ 82 h 1326"/>
                <a:gd name="T32" fmla="*/ 20 w 1212"/>
                <a:gd name="T33" fmla="*/ 79 h 1326"/>
                <a:gd name="T34" fmla="*/ 19 w 1212"/>
                <a:gd name="T35" fmla="*/ 75 h 1326"/>
                <a:gd name="T36" fmla="*/ 17 w 1212"/>
                <a:gd name="T37" fmla="*/ 77 h 1326"/>
                <a:gd name="T38" fmla="*/ 14 w 1212"/>
                <a:gd name="T39" fmla="*/ 76 h 1326"/>
                <a:gd name="T40" fmla="*/ 12 w 1212"/>
                <a:gd name="T41" fmla="*/ 71 h 1326"/>
                <a:gd name="T42" fmla="*/ 8 w 1212"/>
                <a:gd name="T43" fmla="*/ 69 h 1326"/>
                <a:gd name="T44" fmla="*/ 0 w 1212"/>
                <a:gd name="T45" fmla="*/ 72 h 1326"/>
                <a:gd name="T46" fmla="*/ 2 w 1212"/>
                <a:gd name="T47" fmla="*/ 67 h 1326"/>
                <a:gd name="T48" fmla="*/ 3 w 1212"/>
                <a:gd name="T49" fmla="*/ 61 h 1326"/>
                <a:gd name="T50" fmla="*/ 4 w 1212"/>
                <a:gd name="T51" fmla="*/ 56 h 1326"/>
                <a:gd name="T52" fmla="*/ 4 w 1212"/>
                <a:gd name="T53" fmla="*/ 52 h 1326"/>
                <a:gd name="T54" fmla="*/ 2 w 1212"/>
                <a:gd name="T55" fmla="*/ 47 h 1326"/>
                <a:gd name="T56" fmla="*/ 2 w 1212"/>
                <a:gd name="T57" fmla="*/ 42 h 1326"/>
                <a:gd name="T58" fmla="*/ 5 w 1212"/>
                <a:gd name="T59" fmla="*/ 39 h 1326"/>
                <a:gd name="T60" fmla="*/ 5 w 1212"/>
                <a:gd name="T61" fmla="*/ 35 h 1326"/>
                <a:gd name="T62" fmla="*/ 7 w 1212"/>
                <a:gd name="T63" fmla="*/ 31 h 1326"/>
                <a:gd name="T64" fmla="*/ 14 w 1212"/>
                <a:gd name="T65" fmla="*/ 31 h 1326"/>
                <a:gd name="T66" fmla="*/ 18 w 1212"/>
                <a:gd name="T67" fmla="*/ 27 h 1326"/>
                <a:gd name="T68" fmla="*/ 22 w 1212"/>
                <a:gd name="T69" fmla="*/ 24 h 1326"/>
                <a:gd name="T70" fmla="*/ 27 w 1212"/>
                <a:gd name="T71" fmla="*/ 20 h 1326"/>
                <a:gd name="T72" fmla="*/ 35 w 1212"/>
                <a:gd name="T73" fmla="*/ 21 h 1326"/>
                <a:gd name="T74" fmla="*/ 61 w 1212"/>
                <a:gd name="T75" fmla="*/ 8 h 1326"/>
                <a:gd name="T76" fmla="*/ 73 w 1212"/>
                <a:gd name="T77" fmla="*/ 4 h 1326"/>
                <a:gd name="T78" fmla="*/ 86 w 1212"/>
                <a:gd name="T79" fmla="*/ 12 h 1326"/>
                <a:gd name="T80" fmla="*/ 92 w 1212"/>
                <a:gd name="T81" fmla="*/ 13 h 1326"/>
                <a:gd name="T82" fmla="*/ 86 w 1212"/>
                <a:gd name="T83" fmla="*/ 18 h 1326"/>
                <a:gd name="T84" fmla="*/ 88 w 1212"/>
                <a:gd name="T85" fmla="*/ 33 h 1326"/>
                <a:gd name="T86" fmla="*/ 97 w 1212"/>
                <a:gd name="T87" fmla="*/ 49 h 1326"/>
                <a:gd name="T88" fmla="*/ 102 w 1212"/>
                <a:gd name="T89" fmla="*/ 57 h 1326"/>
                <a:gd name="T90" fmla="*/ 104 w 1212"/>
                <a:gd name="T91" fmla="*/ 67 h 1326"/>
                <a:gd name="T92" fmla="*/ 101 w 1212"/>
                <a:gd name="T93" fmla="*/ 69 h 1326"/>
                <a:gd name="T94" fmla="*/ 97 w 1212"/>
                <a:gd name="T95" fmla="*/ 69 h 1326"/>
                <a:gd name="T96" fmla="*/ 96 w 1212"/>
                <a:gd name="T97" fmla="*/ 71 h 1326"/>
                <a:gd name="T98" fmla="*/ 93 w 1212"/>
                <a:gd name="T99" fmla="*/ 70 h 1326"/>
                <a:gd name="T100" fmla="*/ 86 w 1212"/>
                <a:gd name="T101" fmla="*/ 69 h 1326"/>
                <a:gd name="T102" fmla="*/ 82 w 1212"/>
                <a:gd name="T103" fmla="*/ 73 h 1326"/>
                <a:gd name="T104" fmla="*/ 79 w 1212"/>
                <a:gd name="T105" fmla="*/ 74 h 1326"/>
                <a:gd name="T106" fmla="*/ 78 w 1212"/>
                <a:gd name="T107" fmla="*/ 79 h 1326"/>
                <a:gd name="T108" fmla="*/ 78 w 1212"/>
                <a:gd name="T109" fmla="*/ 83 h 1326"/>
                <a:gd name="T110" fmla="*/ 82 w 1212"/>
                <a:gd name="T111" fmla="*/ 87 h 1326"/>
                <a:gd name="T112" fmla="*/ 83 w 1212"/>
                <a:gd name="T113" fmla="*/ 90 h 1326"/>
                <a:gd name="T114" fmla="*/ 82 w 1212"/>
                <a:gd name="T115" fmla="*/ 94 h 1326"/>
                <a:gd name="T116" fmla="*/ 82 w 1212"/>
                <a:gd name="T117" fmla="*/ 98 h 1326"/>
                <a:gd name="T118" fmla="*/ 82 w 1212"/>
                <a:gd name="T119" fmla="*/ 104 h 1326"/>
                <a:gd name="T120" fmla="*/ 78 w 1212"/>
                <a:gd name="T121" fmla="*/ 110 h 132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12"/>
                <a:gd name="T184" fmla="*/ 0 h 1326"/>
                <a:gd name="T185" fmla="*/ 1212 w 1212"/>
                <a:gd name="T186" fmla="*/ 1326 h 132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12" h="1326">
                  <a:moveTo>
                    <a:pt x="906" y="1290"/>
                  </a:moveTo>
                  <a:lnTo>
                    <a:pt x="906" y="1296"/>
                  </a:lnTo>
                  <a:lnTo>
                    <a:pt x="900" y="1296"/>
                  </a:lnTo>
                  <a:lnTo>
                    <a:pt x="876" y="1290"/>
                  </a:lnTo>
                  <a:lnTo>
                    <a:pt x="870" y="1290"/>
                  </a:lnTo>
                  <a:lnTo>
                    <a:pt x="864" y="1296"/>
                  </a:lnTo>
                  <a:lnTo>
                    <a:pt x="852" y="1296"/>
                  </a:lnTo>
                  <a:lnTo>
                    <a:pt x="840" y="1302"/>
                  </a:lnTo>
                  <a:lnTo>
                    <a:pt x="834" y="1308"/>
                  </a:lnTo>
                  <a:lnTo>
                    <a:pt x="822" y="1320"/>
                  </a:lnTo>
                  <a:lnTo>
                    <a:pt x="816" y="1320"/>
                  </a:lnTo>
                  <a:lnTo>
                    <a:pt x="732" y="1320"/>
                  </a:lnTo>
                  <a:lnTo>
                    <a:pt x="696" y="1320"/>
                  </a:lnTo>
                  <a:lnTo>
                    <a:pt x="690" y="1326"/>
                  </a:lnTo>
                  <a:lnTo>
                    <a:pt x="678" y="1326"/>
                  </a:lnTo>
                  <a:lnTo>
                    <a:pt x="672" y="1308"/>
                  </a:lnTo>
                  <a:lnTo>
                    <a:pt x="696" y="1302"/>
                  </a:lnTo>
                  <a:lnTo>
                    <a:pt x="708" y="1296"/>
                  </a:lnTo>
                  <a:lnTo>
                    <a:pt x="720" y="1284"/>
                  </a:lnTo>
                  <a:lnTo>
                    <a:pt x="714" y="1278"/>
                  </a:lnTo>
                  <a:lnTo>
                    <a:pt x="714" y="1266"/>
                  </a:lnTo>
                  <a:lnTo>
                    <a:pt x="708" y="1260"/>
                  </a:lnTo>
                  <a:lnTo>
                    <a:pt x="708" y="1254"/>
                  </a:lnTo>
                  <a:lnTo>
                    <a:pt x="708" y="1248"/>
                  </a:lnTo>
                  <a:lnTo>
                    <a:pt x="702" y="1236"/>
                  </a:lnTo>
                  <a:lnTo>
                    <a:pt x="702" y="1230"/>
                  </a:lnTo>
                  <a:lnTo>
                    <a:pt x="702" y="1218"/>
                  </a:lnTo>
                  <a:lnTo>
                    <a:pt x="696" y="1200"/>
                  </a:lnTo>
                  <a:lnTo>
                    <a:pt x="696" y="1182"/>
                  </a:lnTo>
                  <a:lnTo>
                    <a:pt x="666" y="1182"/>
                  </a:lnTo>
                  <a:lnTo>
                    <a:pt x="672" y="1134"/>
                  </a:lnTo>
                  <a:lnTo>
                    <a:pt x="666" y="1128"/>
                  </a:lnTo>
                  <a:lnTo>
                    <a:pt x="660" y="1092"/>
                  </a:lnTo>
                  <a:lnTo>
                    <a:pt x="654" y="1098"/>
                  </a:lnTo>
                  <a:lnTo>
                    <a:pt x="594" y="1098"/>
                  </a:lnTo>
                  <a:lnTo>
                    <a:pt x="576" y="1098"/>
                  </a:lnTo>
                  <a:lnTo>
                    <a:pt x="570" y="1104"/>
                  </a:lnTo>
                  <a:lnTo>
                    <a:pt x="564" y="1110"/>
                  </a:lnTo>
                  <a:lnTo>
                    <a:pt x="558" y="1110"/>
                  </a:lnTo>
                  <a:lnTo>
                    <a:pt x="552" y="1110"/>
                  </a:lnTo>
                  <a:lnTo>
                    <a:pt x="546" y="1110"/>
                  </a:lnTo>
                  <a:lnTo>
                    <a:pt x="546" y="1116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10" y="1128"/>
                  </a:lnTo>
                  <a:lnTo>
                    <a:pt x="522" y="1104"/>
                  </a:lnTo>
                  <a:lnTo>
                    <a:pt x="510" y="1098"/>
                  </a:lnTo>
                  <a:lnTo>
                    <a:pt x="510" y="1074"/>
                  </a:lnTo>
                  <a:lnTo>
                    <a:pt x="504" y="1068"/>
                  </a:lnTo>
                  <a:lnTo>
                    <a:pt x="498" y="1068"/>
                  </a:lnTo>
                  <a:lnTo>
                    <a:pt x="492" y="1068"/>
                  </a:lnTo>
                  <a:lnTo>
                    <a:pt x="474" y="1080"/>
                  </a:lnTo>
                  <a:lnTo>
                    <a:pt x="474" y="1086"/>
                  </a:lnTo>
                  <a:lnTo>
                    <a:pt x="474" y="1092"/>
                  </a:lnTo>
                  <a:lnTo>
                    <a:pt x="468" y="1098"/>
                  </a:lnTo>
                  <a:lnTo>
                    <a:pt x="462" y="1104"/>
                  </a:lnTo>
                  <a:lnTo>
                    <a:pt x="456" y="1110"/>
                  </a:lnTo>
                  <a:lnTo>
                    <a:pt x="456" y="1122"/>
                  </a:lnTo>
                  <a:lnTo>
                    <a:pt x="456" y="1128"/>
                  </a:lnTo>
                  <a:lnTo>
                    <a:pt x="450" y="1140"/>
                  </a:lnTo>
                  <a:lnTo>
                    <a:pt x="444" y="1146"/>
                  </a:lnTo>
                  <a:lnTo>
                    <a:pt x="426" y="1170"/>
                  </a:lnTo>
                  <a:lnTo>
                    <a:pt x="408" y="1176"/>
                  </a:lnTo>
                  <a:lnTo>
                    <a:pt x="402" y="1170"/>
                  </a:lnTo>
                  <a:lnTo>
                    <a:pt x="396" y="1170"/>
                  </a:lnTo>
                  <a:lnTo>
                    <a:pt x="396" y="1158"/>
                  </a:lnTo>
                  <a:lnTo>
                    <a:pt x="384" y="1152"/>
                  </a:lnTo>
                  <a:lnTo>
                    <a:pt x="372" y="1140"/>
                  </a:lnTo>
                  <a:lnTo>
                    <a:pt x="354" y="1140"/>
                  </a:lnTo>
                  <a:lnTo>
                    <a:pt x="306" y="1146"/>
                  </a:lnTo>
                  <a:lnTo>
                    <a:pt x="294" y="1134"/>
                  </a:lnTo>
                  <a:lnTo>
                    <a:pt x="294" y="1128"/>
                  </a:lnTo>
                  <a:lnTo>
                    <a:pt x="288" y="1122"/>
                  </a:lnTo>
                  <a:lnTo>
                    <a:pt x="276" y="1122"/>
                  </a:lnTo>
                  <a:lnTo>
                    <a:pt x="276" y="1110"/>
                  </a:lnTo>
                  <a:lnTo>
                    <a:pt x="276" y="1104"/>
                  </a:lnTo>
                  <a:lnTo>
                    <a:pt x="270" y="1098"/>
                  </a:lnTo>
                  <a:lnTo>
                    <a:pt x="264" y="1086"/>
                  </a:lnTo>
                  <a:lnTo>
                    <a:pt x="264" y="1074"/>
                  </a:lnTo>
                  <a:lnTo>
                    <a:pt x="258" y="1068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34" y="1038"/>
                  </a:lnTo>
                  <a:lnTo>
                    <a:pt x="228" y="1038"/>
                  </a:lnTo>
                  <a:lnTo>
                    <a:pt x="222" y="1038"/>
                  </a:lnTo>
                  <a:lnTo>
                    <a:pt x="216" y="1038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0"/>
                  </a:lnTo>
                  <a:lnTo>
                    <a:pt x="204" y="1014"/>
                  </a:lnTo>
                  <a:lnTo>
                    <a:pt x="204" y="1008"/>
                  </a:lnTo>
                  <a:lnTo>
                    <a:pt x="198" y="1002"/>
                  </a:lnTo>
                  <a:lnTo>
                    <a:pt x="198" y="996"/>
                  </a:lnTo>
                  <a:lnTo>
                    <a:pt x="198" y="990"/>
                  </a:lnTo>
                  <a:lnTo>
                    <a:pt x="204" y="990"/>
                  </a:lnTo>
                  <a:lnTo>
                    <a:pt x="204" y="984"/>
                  </a:lnTo>
                  <a:lnTo>
                    <a:pt x="210" y="978"/>
                  </a:lnTo>
                  <a:lnTo>
                    <a:pt x="210" y="972"/>
                  </a:lnTo>
                  <a:lnTo>
                    <a:pt x="210" y="966"/>
                  </a:lnTo>
                  <a:lnTo>
                    <a:pt x="216" y="960"/>
                  </a:lnTo>
                  <a:lnTo>
                    <a:pt x="216" y="954"/>
                  </a:lnTo>
                  <a:lnTo>
                    <a:pt x="210" y="954"/>
                  </a:lnTo>
                  <a:lnTo>
                    <a:pt x="204" y="954"/>
                  </a:lnTo>
                  <a:lnTo>
                    <a:pt x="216" y="954"/>
                  </a:lnTo>
                  <a:lnTo>
                    <a:pt x="216" y="948"/>
                  </a:lnTo>
                  <a:lnTo>
                    <a:pt x="210" y="948"/>
                  </a:lnTo>
                  <a:lnTo>
                    <a:pt x="210" y="942"/>
                  </a:lnTo>
                  <a:lnTo>
                    <a:pt x="216" y="942"/>
                  </a:lnTo>
                  <a:lnTo>
                    <a:pt x="222" y="942"/>
                  </a:lnTo>
                  <a:lnTo>
                    <a:pt x="222" y="936"/>
                  </a:lnTo>
                  <a:lnTo>
                    <a:pt x="216" y="936"/>
                  </a:lnTo>
                  <a:lnTo>
                    <a:pt x="210" y="936"/>
                  </a:lnTo>
                  <a:lnTo>
                    <a:pt x="210" y="930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22" y="918"/>
                  </a:lnTo>
                  <a:lnTo>
                    <a:pt x="228" y="912"/>
                  </a:lnTo>
                  <a:lnTo>
                    <a:pt x="228" y="906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2" y="888"/>
                  </a:lnTo>
                  <a:lnTo>
                    <a:pt x="222" y="882"/>
                  </a:lnTo>
                  <a:lnTo>
                    <a:pt x="222" y="876"/>
                  </a:lnTo>
                  <a:lnTo>
                    <a:pt x="222" y="858"/>
                  </a:lnTo>
                  <a:lnTo>
                    <a:pt x="216" y="858"/>
                  </a:lnTo>
                  <a:lnTo>
                    <a:pt x="216" y="852"/>
                  </a:lnTo>
                  <a:lnTo>
                    <a:pt x="210" y="852"/>
                  </a:lnTo>
                  <a:lnTo>
                    <a:pt x="210" y="840"/>
                  </a:lnTo>
                  <a:lnTo>
                    <a:pt x="198" y="840"/>
                  </a:lnTo>
                  <a:lnTo>
                    <a:pt x="198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0" y="894"/>
                  </a:lnTo>
                  <a:lnTo>
                    <a:pt x="180" y="906"/>
                  </a:lnTo>
                  <a:lnTo>
                    <a:pt x="156" y="912"/>
                  </a:lnTo>
                  <a:lnTo>
                    <a:pt x="156" y="894"/>
                  </a:lnTo>
                  <a:lnTo>
                    <a:pt x="156" y="882"/>
                  </a:lnTo>
                  <a:lnTo>
                    <a:pt x="156" y="876"/>
                  </a:lnTo>
                  <a:lnTo>
                    <a:pt x="150" y="876"/>
                  </a:lnTo>
                  <a:lnTo>
                    <a:pt x="144" y="876"/>
                  </a:lnTo>
                  <a:lnTo>
                    <a:pt x="138" y="870"/>
                  </a:lnTo>
                  <a:lnTo>
                    <a:pt x="132" y="864"/>
                  </a:lnTo>
                  <a:lnTo>
                    <a:pt x="138" y="840"/>
                  </a:lnTo>
                  <a:lnTo>
                    <a:pt x="132" y="840"/>
                  </a:lnTo>
                  <a:lnTo>
                    <a:pt x="138" y="810"/>
                  </a:lnTo>
                  <a:lnTo>
                    <a:pt x="144" y="804"/>
                  </a:lnTo>
                  <a:lnTo>
                    <a:pt x="144" y="798"/>
                  </a:lnTo>
                  <a:lnTo>
                    <a:pt x="156" y="798"/>
                  </a:lnTo>
                  <a:lnTo>
                    <a:pt x="156" y="792"/>
                  </a:lnTo>
                  <a:lnTo>
                    <a:pt x="120" y="792"/>
                  </a:lnTo>
                  <a:lnTo>
                    <a:pt x="108" y="786"/>
                  </a:lnTo>
                  <a:lnTo>
                    <a:pt x="96" y="786"/>
                  </a:lnTo>
                  <a:lnTo>
                    <a:pt x="96" y="780"/>
                  </a:lnTo>
                  <a:lnTo>
                    <a:pt x="78" y="780"/>
                  </a:lnTo>
                  <a:lnTo>
                    <a:pt x="72" y="804"/>
                  </a:lnTo>
                  <a:lnTo>
                    <a:pt x="60" y="816"/>
                  </a:lnTo>
                  <a:lnTo>
                    <a:pt x="36" y="828"/>
                  </a:lnTo>
                  <a:lnTo>
                    <a:pt x="18" y="840"/>
                  </a:lnTo>
                  <a:lnTo>
                    <a:pt x="0" y="822"/>
                  </a:lnTo>
                  <a:lnTo>
                    <a:pt x="6" y="816"/>
                  </a:lnTo>
                  <a:lnTo>
                    <a:pt x="12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18" y="786"/>
                  </a:lnTo>
                  <a:lnTo>
                    <a:pt x="24" y="780"/>
                  </a:lnTo>
                  <a:lnTo>
                    <a:pt x="24" y="768"/>
                  </a:lnTo>
                  <a:lnTo>
                    <a:pt x="24" y="762"/>
                  </a:lnTo>
                  <a:lnTo>
                    <a:pt x="24" y="750"/>
                  </a:lnTo>
                  <a:lnTo>
                    <a:pt x="36" y="714"/>
                  </a:lnTo>
                  <a:lnTo>
                    <a:pt x="36" y="708"/>
                  </a:lnTo>
                  <a:lnTo>
                    <a:pt x="42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6" y="690"/>
                  </a:lnTo>
                  <a:lnTo>
                    <a:pt x="42" y="684"/>
                  </a:lnTo>
                  <a:lnTo>
                    <a:pt x="42" y="672"/>
                  </a:lnTo>
                  <a:lnTo>
                    <a:pt x="42" y="666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48" y="648"/>
                  </a:lnTo>
                  <a:lnTo>
                    <a:pt x="54" y="642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54" y="612"/>
                  </a:lnTo>
                  <a:lnTo>
                    <a:pt x="48" y="606"/>
                  </a:lnTo>
                  <a:lnTo>
                    <a:pt x="48" y="600"/>
                  </a:lnTo>
                  <a:lnTo>
                    <a:pt x="42" y="600"/>
                  </a:lnTo>
                  <a:lnTo>
                    <a:pt x="36" y="594"/>
                  </a:lnTo>
                  <a:lnTo>
                    <a:pt x="36" y="588"/>
                  </a:lnTo>
                  <a:lnTo>
                    <a:pt x="30" y="582"/>
                  </a:lnTo>
                  <a:lnTo>
                    <a:pt x="30" y="570"/>
                  </a:lnTo>
                  <a:lnTo>
                    <a:pt x="18" y="552"/>
                  </a:lnTo>
                  <a:lnTo>
                    <a:pt x="18" y="546"/>
                  </a:lnTo>
                  <a:lnTo>
                    <a:pt x="18" y="540"/>
                  </a:lnTo>
                  <a:lnTo>
                    <a:pt x="18" y="528"/>
                  </a:lnTo>
                  <a:lnTo>
                    <a:pt x="18" y="522"/>
                  </a:lnTo>
                  <a:lnTo>
                    <a:pt x="24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30" y="474"/>
                  </a:lnTo>
                  <a:lnTo>
                    <a:pt x="36" y="474"/>
                  </a:lnTo>
                  <a:lnTo>
                    <a:pt x="42" y="468"/>
                  </a:lnTo>
                  <a:lnTo>
                    <a:pt x="48" y="468"/>
                  </a:lnTo>
                  <a:lnTo>
                    <a:pt x="48" y="462"/>
                  </a:lnTo>
                  <a:lnTo>
                    <a:pt x="48" y="456"/>
                  </a:lnTo>
                  <a:lnTo>
                    <a:pt x="54" y="450"/>
                  </a:lnTo>
                  <a:lnTo>
                    <a:pt x="60" y="438"/>
                  </a:lnTo>
                  <a:lnTo>
                    <a:pt x="54" y="438"/>
                  </a:lnTo>
                  <a:lnTo>
                    <a:pt x="54" y="432"/>
                  </a:ln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54" y="402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6" y="384"/>
                  </a:lnTo>
                  <a:lnTo>
                    <a:pt x="72" y="372"/>
                  </a:lnTo>
                  <a:lnTo>
                    <a:pt x="78" y="366"/>
                  </a:lnTo>
                  <a:lnTo>
                    <a:pt x="84" y="360"/>
                  </a:lnTo>
                  <a:lnTo>
                    <a:pt x="102" y="360"/>
                  </a:lnTo>
                  <a:lnTo>
                    <a:pt x="114" y="36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8" y="360"/>
                  </a:lnTo>
                  <a:lnTo>
                    <a:pt x="156" y="360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74" y="342"/>
                  </a:lnTo>
                  <a:lnTo>
                    <a:pt x="180" y="342"/>
                  </a:lnTo>
                  <a:lnTo>
                    <a:pt x="186" y="336"/>
                  </a:lnTo>
                  <a:lnTo>
                    <a:pt x="192" y="330"/>
                  </a:lnTo>
                  <a:lnTo>
                    <a:pt x="204" y="312"/>
                  </a:lnTo>
                  <a:lnTo>
                    <a:pt x="210" y="312"/>
                  </a:lnTo>
                  <a:lnTo>
                    <a:pt x="216" y="306"/>
                  </a:lnTo>
                  <a:lnTo>
                    <a:pt x="216" y="300"/>
                  </a:lnTo>
                  <a:lnTo>
                    <a:pt x="222" y="288"/>
                  </a:lnTo>
                  <a:lnTo>
                    <a:pt x="234" y="288"/>
                  </a:lnTo>
                  <a:lnTo>
                    <a:pt x="240" y="282"/>
                  </a:lnTo>
                  <a:lnTo>
                    <a:pt x="246" y="282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70" y="270"/>
                  </a:lnTo>
                  <a:lnTo>
                    <a:pt x="276" y="264"/>
                  </a:lnTo>
                  <a:lnTo>
                    <a:pt x="282" y="26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8" y="234"/>
                  </a:lnTo>
                  <a:lnTo>
                    <a:pt x="330" y="234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72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14" y="240"/>
                  </a:lnTo>
                  <a:lnTo>
                    <a:pt x="444" y="216"/>
                  </a:lnTo>
                  <a:lnTo>
                    <a:pt x="480" y="204"/>
                  </a:lnTo>
                  <a:lnTo>
                    <a:pt x="600" y="150"/>
                  </a:lnTo>
                  <a:lnTo>
                    <a:pt x="648" y="126"/>
                  </a:lnTo>
                  <a:lnTo>
                    <a:pt x="702" y="96"/>
                  </a:lnTo>
                  <a:lnTo>
                    <a:pt x="708" y="54"/>
                  </a:lnTo>
                  <a:lnTo>
                    <a:pt x="720" y="24"/>
                  </a:lnTo>
                  <a:lnTo>
                    <a:pt x="738" y="12"/>
                  </a:lnTo>
                  <a:lnTo>
                    <a:pt x="768" y="0"/>
                  </a:lnTo>
                  <a:lnTo>
                    <a:pt x="792" y="6"/>
                  </a:lnTo>
                  <a:lnTo>
                    <a:pt x="804" y="12"/>
                  </a:lnTo>
                  <a:lnTo>
                    <a:pt x="834" y="48"/>
                  </a:lnTo>
                  <a:lnTo>
                    <a:pt x="834" y="60"/>
                  </a:lnTo>
                  <a:lnTo>
                    <a:pt x="852" y="84"/>
                  </a:lnTo>
                  <a:lnTo>
                    <a:pt x="864" y="96"/>
                  </a:lnTo>
                  <a:lnTo>
                    <a:pt x="888" y="102"/>
                  </a:lnTo>
                  <a:lnTo>
                    <a:pt x="978" y="120"/>
                  </a:lnTo>
                  <a:lnTo>
                    <a:pt x="984" y="126"/>
                  </a:lnTo>
                  <a:lnTo>
                    <a:pt x="984" y="132"/>
                  </a:lnTo>
                  <a:lnTo>
                    <a:pt x="996" y="138"/>
                  </a:lnTo>
                  <a:lnTo>
                    <a:pt x="1038" y="126"/>
                  </a:lnTo>
                  <a:lnTo>
                    <a:pt x="1056" y="114"/>
                  </a:lnTo>
                  <a:lnTo>
                    <a:pt x="1068" y="126"/>
                  </a:lnTo>
                  <a:lnTo>
                    <a:pt x="1074" y="132"/>
                  </a:lnTo>
                  <a:lnTo>
                    <a:pt x="1068" y="138"/>
                  </a:lnTo>
                  <a:lnTo>
                    <a:pt x="1056" y="150"/>
                  </a:lnTo>
                  <a:lnTo>
                    <a:pt x="1038" y="162"/>
                  </a:lnTo>
                  <a:lnTo>
                    <a:pt x="1038" y="168"/>
                  </a:lnTo>
                  <a:lnTo>
                    <a:pt x="1020" y="174"/>
                  </a:lnTo>
                  <a:lnTo>
                    <a:pt x="1014" y="180"/>
                  </a:lnTo>
                  <a:lnTo>
                    <a:pt x="1008" y="186"/>
                  </a:lnTo>
                  <a:lnTo>
                    <a:pt x="1002" y="198"/>
                  </a:lnTo>
                  <a:lnTo>
                    <a:pt x="984" y="204"/>
                  </a:lnTo>
                  <a:lnTo>
                    <a:pt x="984" y="246"/>
                  </a:lnTo>
                  <a:lnTo>
                    <a:pt x="978" y="270"/>
                  </a:lnTo>
                  <a:lnTo>
                    <a:pt x="990" y="306"/>
                  </a:lnTo>
                  <a:lnTo>
                    <a:pt x="990" y="324"/>
                  </a:lnTo>
                  <a:lnTo>
                    <a:pt x="1002" y="336"/>
                  </a:lnTo>
                  <a:lnTo>
                    <a:pt x="1020" y="372"/>
                  </a:lnTo>
                  <a:lnTo>
                    <a:pt x="1014" y="378"/>
                  </a:lnTo>
                  <a:lnTo>
                    <a:pt x="1014" y="384"/>
                  </a:lnTo>
                  <a:lnTo>
                    <a:pt x="1020" y="384"/>
                  </a:lnTo>
                  <a:lnTo>
                    <a:pt x="1020" y="396"/>
                  </a:lnTo>
                  <a:lnTo>
                    <a:pt x="1062" y="468"/>
                  </a:lnTo>
                  <a:lnTo>
                    <a:pt x="1092" y="522"/>
                  </a:lnTo>
                  <a:lnTo>
                    <a:pt x="1110" y="546"/>
                  </a:lnTo>
                  <a:lnTo>
                    <a:pt x="1122" y="564"/>
                  </a:lnTo>
                  <a:lnTo>
                    <a:pt x="1134" y="576"/>
                  </a:lnTo>
                  <a:lnTo>
                    <a:pt x="1146" y="582"/>
                  </a:lnTo>
                  <a:lnTo>
                    <a:pt x="1146" y="588"/>
                  </a:lnTo>
                  <a:lnTo>
                    <a:pt x="1164" y="600"/>
                  </a:lnTo>
                  <a:lnTo>
                    <a:pt x="1170" y="612"/>
                  </a:lnTo>
                  <a:lnTo>
                    <a:pt x="1170" y="624"/>
                  </a:lnTo>
                  <a:lnTo>
                    <a:pt x="1176" y="654"/>
                  </a:lnTo>
                  <a:lnTo>
                    <a:pt x="1176" y="666"/>
                  </a:lnTo>
                  <a:lnTo>
                    <a:pt x="1182" y="684"/>
                  </a:lnTo>
                  <a:lnTo>
                    <a:pt x="1194" y="696"/>
                  </a:lnTo>
                  <a:lnTo>
                    <a:pt x="1212" y="696"/>
                  </a:lnTo>
                  <a:lnTo>
                    <a:pt x="1206" y="762"/>
                  </a:lnTo>
                  <a:lnTo>
                    <a:pt x="1200" y="768"/>
                  </a:lnTo>
                  <a:lnTo>
                    <a:pt x="1194" y="768"/>
                  </a:lnTo>
                  <a:lnTo>
                    <a:pt x="1194" y="774"/>
                  </a:lnTo>
                  <a:lnTo>
                    <a:pt x="1188" y="774"/>
                  </a:lnTo>
                  <a:lnTo>
                    <a:pt x="1182" y="780"/>
                  </a:lnTo>
                  <a:lnTo>
                    <a:pt x="1176" y="780"/>
                  </a:lnTo>
                  <a:lnTo>
                    <a:pt x="1170" y="780"/>
                  </a:lnTo>
                  <a:lnTo>
                    <a:pt x="1164" y="786"/>
                  </a:lnTo>
                  <a:lnTo>
                    <a:pt x="1158" y="786"/>
                  </a:lnTo>
                  <a:lnTo>
                    <a:pt x="1152" y="786"/>
                  </a:lnTo>
                  <a:lnTo>
                    <a:pt x="1140" y="786"/>
                  </a:lnTo>
                  <a:lnTo>
                    <a:pt x="1134" y="786"/>
                  </a:lnTo>
                  <a:lnTo>
                    <a:pt x="1134" y="780"/>
                  </a:lnTo>
                  <a:lnTo>
                    <a:pt x="1122" y="780"/>
                  </a:lnTo>
                  <a:lnTo>
                    <a:pt x="1116" y="786"/>
                  </a:lnTo>
                  <a:lnTo>
                    <a:pt x="1116" y="792"/>
                  </a:lnTo>
                  <a:lnTo>
                    <a:pt x="1122" y="804"/>
                  </a:lnTo>
                  <a:lnTo>
                    <a:pt x="1128" y="804"/>
                  </a:lnTo>
                  <a:lnTo>
                    <a:pt x="1128" y="816"/>
                  </a:lnTo>
                  <a:lnTo>
                    <a:pt x="1122" y="822"/>
                  </a:lnTo>
                  <a:lnTo>
                    <a:pt x="1116" y="816"/>
                  </a:lnTo>
                  <a:lnTo>
                    <a:pt x="1110" y="816"/>
                  </a:lnTo>
                  <a:lnTo>
                    <a:pt x="1104" y="816"/>
                  </a:lnTo>
                  <a:lnTo>
                    <a:pt x="1098" y="816"/>
                  </a:lnTo>
                  <a:lnTo>
                    <a:pt x="1098" y="822"/>
                  </a:lnTo>
                  <a:lnTo>
                    <a:pt x="1092" y="834"/>
                  </a:lnTo>
                  <a:lnTo>
                    <a:pt x="1092" y="840"/>
                  </a:lnTo>
                  <a:lnTo>
                    <a:pt x="1074" y="840"/>
                  </a:lnTo>
                  <a:lnTo>
                    <a:pt x="1074" y="828"/>
                  </a:lnTo>
                  <a:lnTo>
                    <a:pt x="1062" y="804"/>
                  </a:lnTo>
                  <a:lnTo>
                    <a:pt x="1056" y="792"/>
                  </a:lnTo>
                  <a:lnTo>
                    <a:pt x="1056" y="786"/>
                  </a:lnTo>
                  <a:lnTo>
                    <a:pt x="1026" y="780"/>
                  </a:lnTo>
                  <a:lnTo>
                    <a:pt x="1026" y="768"/>
                  </a:lnTo>
                  <a:lnTo>
                    <a:pt x="1008" y="768"/>
                  </a:lnTo>
                  <a:lnTo>
                    <a:pt x="1002" y="780"/>
                  </a:lnTo>
                  <a:lnTo>
                    <a:pt x="996" y="792"/>
                  </a:lnTo>
                  <a:lnTo>
                    <a:pt x="978" y="798"/>
                  </a:lnTo>
                  <a:lnTo>
                    <a:pt x="972" y="810"/>
                  </a:lnTo>
                  <a:lnTo>
                    <a:pt x="972" y="822"/>
                  </a:lnTo>
                  <a:lnTo>
                    <a:pt x="978" y="828"/>
                  </a:lnTo>
                  <a:lnTo>
                    <a:pt x="978" y="834"/>
                  </a:lnTo>
                  <a:lnTo>
                    <a:pt x="960" y="840"/>
                  </a:lnTo>
                  <a:lnTo>
                    <a:pt x="936" y="840"/>
                  </a:lnTo>
                  <a:lnTo>
                    <a:pt x="918" y="846"/>
                  </a:lnTo>
                  <a:lnTo>
                    <a:pt x="912" y="840"/>
                  </a:lnTo>
                  <a:lnTo>
                    <a:pt x="912" y="834"/>
                  </a:lnTo>
                  <a:lnTo>
                    <a:pt x="906" y="834"/>
                  </a:lnTo>
                  <a:lnTo>
                    <a:pt x="906" y="840"/>
                  </a:lnTo>
                  <a:lnTo>
                    <a:pt x="900" y="846"/>
                  </a:lnTo>
                  <a:lnTo>
                    <a:pt x="906" y="852"/>
                  </a:lnTo>
                  <a:lnTo>
                    <a:pt x="900" y="864"/>
                  </a:lnTo>
                  <a:lnTo>
                    <a:pt x="900" y="876"/>
                  </a:lnTo>
                  <a:lnTo>
                    <a:pt x="900" y="882"/>
                  </a:lnTo>
                  <a:lnTo>
                    <a:pt x="894" y="888"/>
                  </a:lnTo>
                  <a:lnTo>
                    <a:pt x="900" y="900"/>
                  </a:lnTo>
                  <a:lnTo>
                    <a:pt x="900" y="906"/>
                  </a:lnTo>
                  <a:lnTo>
                    <a:pt x="894" y="906"/>
                  </a:lnTo>
                  <a:lnTo>
                    <a:pt x="894" y="912"/>
                  </a:lnTo>
                  <a:lnTo>
                    <a:pt x="900" y="918"/>
                  </a:lnTo>
                  <a:lnTo>
                    <a:pt x="900" y="924"/>
                  </a:lnTo>
                  <a:lnTo>
                    <a:pt x="900" y="948"/>
                  </a:lnTo>
                  <a:lnTo>
                    <a:pt x="888" y="948"/>
                  </a:lnTo>
                  <a:lnTo>
                    <a:pt x="888" y="954"/>
                  </a:lnTo>
                  <a:lnTo>
                    <a:pt x="894" y="954"/>
                  </a:lnTo>
                  <a:lnTo>
                    <a:pt x="900" y="960"/>
                  </a:lnTo>
                  <a:lnTo>
                    <a:pt x="900" y="972"/>
                  </a:lnTo>
                  <a:lnTo>
                    <a:pt x="906" y="984"/>
                  </a:lnTo>
                  <a:lnTo>
                    <a:pt x="912" y="984"/>
                  </a:lnTo>
                  <a:lnTo>
                    <a:pt x="918" y="990"/>
                  </a:lnTo>
                  <a:lnTo>
                    <a:pt x="936" y="990"/>
                  </a:lnTo>
                  <a:lnTo>
                    <a:pt x="936" y="996"/>
                  </a:lnTo>
                  <a:lnTo>
                    <a:pt x="942" y="996"/>
                  </a:lnTo>
                  <a:lnTo>
                    <a:pt x="942" y="1002"/>
                  </a:lnTo>
                  <a:lnTo>
                    <a:pt x="942" y="1008"/>
                  </a:lnTo>
                  <a:lnTo>
                    <a:pt x="948" y="1008"/>
                  </a:lnTo>
                  <a:lnTo>
                    <a:pt x="948" y="1014"/>
                  </a:lnTo>
                  <a:lnTo>
                    <a:pt x="948" y="1020"/>
                  </a:lnTo>
                  <a:lnTo>
                    <a:pt x="954" y="1032"/>
                  </a:lnTo>
                  <a:lnTo>
                    <a:pt x="948" y="1038"/>
                  </a:lnTo>
                  <a:lnTo>
                    <a:pt x="954" y="1044"/>
                  </a:lnTo>
                  <a:lnTo>
                    <a:pt x="954" y="1056"/>
                  </a:lnTo>
                  <a:lnTo>
                    <a:pt x="960" y="1056"/>
                  </a:lnTo>
                  <a:lnTo>
                    <a:pt x="960" y="1062"/>
                  </a:lnTo>
                  <a:lnTo>
                    <a:pt x="954" y="1068"/>
                  </a:lnTo>
                  <a:lnTo>
                    <a:pt x="948" y="1074"/>
                  </a:lnTo>
                  <a:lnTo>
                    <a:pt x="948" y="1080"/>
                  </a:lnTo>
                  <a:lnTo>
                    <a:pt x="948" y="1086"/>
                  </a:lnTo>
                  <a:lnTo>
                    <a:pt x="942" y="1092"/>
                  </a:lnTo>
                  <a:lnTo>
                    <a:pt x="942" y="1098"/>
                  </a:lnTo>
                  <a:lnTo>
                    <a:pt x="942" y="1104"/>
                  </a:lnTo>
                  <a:lnTo>
                    <a:pt x="942" y="1110"/>
                  </a:lnTo>
                  <a:lnTo>
                    <a:pt x="936" y="1116"/>
                  </a:lnTo>
                  <a:lnTo>
                    <a:pt x="936" y="1122"/>
                  </a:lnTo>
                  <a:lnTo>
                    <a:pt x="936" y="1128"/>
                  </a:lnTo>
                  <a:lnTo>
                    <a:pt x="936" y="1134"/>
                  </a:lnTo>
                  <a:lnTo>
                    <a:pt x="942" y="1146"/>
                  </a:lnTo>
                  <a:lnTo>
                    <a:pt x="936" y="1158"/>
                  </a:lnTo>
                  <a:lnTo>
                    <a:pt x="936" y="1170"/>
                  </a:lnTo>
                  <a:lnTo>
                    <a:pt x="936" y="1194"/>
                  </a:lnTo>
                  <a:lnTo>
                    <a:pt x="930" y="1200"/>
                  </a:lnTo>
                  <a:lnTo>
                    <a:pt x="930" y="1212"/>
                  </a:lnTo>
                  <a:lnTo>
                    <a:pt x="918" y="1218"/>
                  </a:lnTo>
                  <a:lnTo>
                    <a:pt x="918" y="1230"/>
                  </a:lnTo>
                  <a:lnTo>
                    <a:pt x="906" y="1230"/>
                  </a:lnTo>
                  <a:lnTo>
                    <a:pt x="900" y="1254"/>
                  </a:lnTo>
                  <a:lnTo>
                    <a:pt x="900" y="1260"/>
                  </a:lnTo>
                  <a:lnTo>
                    <a:pt x="900" y="1266"/>
                  </a:lnTo>
                  <a:lnTo>
                    <a:pt x="900" y="1272"/>
                  </a:lnTo>
                  <a:lnTo>
                    <a:pt x="900" y="1278"/>
                  </a:lnTo>
                  <a:lnTo>
                    <a:pt x="900" y="1284"/>
                  </a:lnTo>
                  <a:lnTo>
                    <a:pt x="906" y="129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1" name="Freeform 26">
              <a:extLst>
                <a:ext uri="{FF2B5EF4-FFF2-40B4-BE49-F238E27FC236}">
                  <a16:creationId xmlns:a16="http://schemas.microsoft.com/office/drawing/2014/main" id="{25725EFE-FE00-49A8-A87A-6752B785C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79173" y="3477313"/>
              <a:ext cx="650731" cy="559125"/>
            </a:xfrm>
            <a:custGeom>
              <a:avLst/>
              <a:gdLst>
                <a:gd name="T0" fmla="*/ 95 w 1224"/>
                <a:gd name="T1" fmla="*/ 89 h 1050"/>
                <a:gd name="T2" fmla="*/ 90 w 1224"/>
                <a:gd name="T3" fmla="*/ 84 h 1050"/>
                <a:gd name="T4" fmla="*/ 84 w 1224"/>
                <a:gd name="T5" fmla="*/ 83 h 1050"/>
                <a:gd name="T6" fmla="*/ 82 w 1224"/>
                <a:gd name="T7" fmla="*/ 80 h 1050"/>
                <a:gd name="T8" fmla="*/ 85 w 1224"/>
                <a:gd name="T9" fmla="*/ 77 h 1050"/>
                <a:gd name="T10" fmla="*/ 81 w 1224"/>
                <a:gd name="T11" fmla="*/ 76 h 1050"/>
                <a:gd name="T12" fmla="*/ 77 w 1224"/>
                <a:gd name="T13" fmla="*/ 77 h 1050"/>
                <a:gd name="T14" fmla="*/ 78 w 1224"/>
                <a:gd name="T15" fmla="*/ 73 h 1050"/>
                <a:gd name="T16" fmla="*/ 59 w 1224"/>
                <a:gd name="T17" fmla="*/ 71 h 1050"/>
                <a:gd name="T18" fmla="*/ 41 w 1224"/>
                <a:gd name="T19" fmla="*/ 73 h 1050"/>
                <a:gd name="T20" fmla="*/ 33 w 1224"/>
                <a:gd name="T21" fmla="*/ 71 h 1050"/>
                <a:gd name="T22" fmla="*/ 30 w 1224"/>
                <a:gd name="T23" fmla="*/ 75 h 1050"/>
                <a:gd name="T24" fmla="*/ 27 w 1224"/>
                <a:gd name="T25" fmla="*/ 80 h 1050"/>
                <a:gd name="T26" fmla="*/ 12 w 1224"/>
                <a:gd name="T27" fmla="*/ 81 h 1050"/>
                <a:gd name="T28" fmla="*/ 9 w 1224"/>
                <a:gd name="T29" fmla="*/ 84 h 1050"/>
                <a:gd name="T30" fmla="*/ 6 w 1224"/>
                <a:gd name="T31" fmla="*/ 83 h 1050"/>
                <a:gd name="T32" fmla="*/ 1 w 1224"/>
                <a:gd name="T33" fmla="*/ 83 h 1050"/>
                <a:gd name="T34" fmla="*/ 3 w 1224"/>
                <a:gd name="T35" fmla="*/ 77 h 1050"/>
                <a:gd name="T36" fmla="*/ 5 w 1224"/>
                <a:gd name="T37" fmla="*/ 70 h 1050"/>
                <a:gd name="T38" fmla="*/ 2 w 1224"/>
                <a:gd name="T39" fmla="*/ 65 h 1050"/>
                <a:gd name="T40" fmla="*/ 3 w 1224"/>
                <a:gd name="T41" fmla="*/ 58 h 1050"/>
                <a:gd name="T42" fmla="*/ 4 w 1224"/>
                <a:gd name="T43" fmla="*/ 51 h 1050"/>
                <a:gd name="T44" fmla="*/ 3 w 1224"/>
                <a:gd name="T45" fmla="*/ 47 h 1050"/>
                <a:gd name="T46" fmla="*/ 4 w 1224"/>
                <a:gd name="T47" fmla="*/ 39 h 1050"/>
                <a:gd name="T48" fmla="*/ 6 w 1224"/>
                <a:gd name="T49" fmla="*/ 29 h 1050"/>
                <a:gd name="T50" fmla="*/ 3 w 1224"/>
                <a:gd name="T51" fmla="*/ 22 h 1050"/>
                <a:gd name="T52" fmla="*/ 2 w 1224"/>
                <a:gd name="T53" fmla="*/ 14 h 1050"/>
                <a:gd name="T54" fmla="*/ 0 w 1224"/>
                <a:gd name="T55" fmla="*/ 6 h 1050"/>
                <a:gd name="T56" fmla="*/ 9 w 1224"/>
                <a:gd name="T57" fmla="*/ 1 h 1050"/>
                <a:gd name="T58" fmla="*/ 11 w 1224"/>
                <a:gd name="T59" fmla="*/ 8 h 1050"/>
                <a:gd name="T60" fmla="*/ 15 w 1224"/>
                <a:gd name="T61" fmla="*/ 9 h 1050"/>
                <a:gd name="T62" fmla="*/ 18 w 1224"/>
                <a:gd name="T63" fmla="*/ 8 h 1050"/>
                <a:gd name="T64" fmla="*/ 18 w 1224"/>
                <a:gd name="T65" fmla="*/ 13 h 1050"/>
                <a:gd name="T66" fmla="*/ 17 w 1224"/>
                <a:gd name="T67" fmla="*/ 15 h 1050"/>
                <a:gd name="T68" fmla="*/ 17 w 1224"/>
                <a:gd name="T69" fmla="*/ 17 h 1050"/>
                <a:gd name="T70" fmla="*/ 17 w 1224"/>
                <a:gd name="T71" fmla="*/ 21 h 1050"/>
                <a:gd name="T72" fmla="*/ 21 w 1224"/>
                <a:gd name="T73" fmla="*/ 25 h 1050"/>
                <a:gd name="T74" fmla="*/ 24 w 1224"/>
                <a:gd name="T75" fmla="*/ 31 h 1050"/>
                <a:gd name="T76" fmla="*/ 35 w 1224"/>
                <a:gd name="T77" fmla="*/ 34 h 1050"/>
                <a:gd name="T78" fmla="*/ 40 w 1224"/>
                <a:gd name="T79" fmla="*/ 27 h 1050"/>
                <a:gd name="T80" fmla="*/ 46 w 1224"/>
                <a:gd name="T81" fmla="*/ 30 h 1050"/>
                <a:gd name="T82" fmla="*/ 51 w 1224"/>
                <a:gd name="T83" fmla="*/ 27 h 1050"/>
                <a:gd name="T84" fmla="*/ 59 w 1224"/>
                <a:gd name="T85" fmla="*/ 39 h 1050"/>
                <a:gd name="T86" fmla="*/ 59 w 1224"/>
                <a:gd name="T87" fmla="*/ 45 h 1050"/>
                <a:gd name="T88" fmla="*/ 72 w 1224"/>
                <a:gd name="T89" fmla="*/ 45 h 1050"/>
                <a:gd name="T90" fmla="*/ 79 w 1224"/>
                <a:gd name="T91" fmla="*/ 44 h 1050"/>
                <a:gd name="T92" fmla="*/ 87 w 1224"/>
                <a:gd name="T93" fmla="*/ 48 h 1050"/>
                <a:gd name="T94" fmla="*/ 93 w 1224"/>
                <a:gd name="T95" fmla="*/ 50 h 1050"/>
                <a:gd name="T96" fmla="*/ 98 w 1224"/>
                <a:gd name="T97" fmla="*/ 51 h 1050"/>
                <a:gd name="T98" fmla="*/ 106 w 1224"/>
                <a:gd name="T99" fmla="*/ 50 h 1050"/>
                <a:gd name="T100" fmla="*/ 104 w 1224"/>
                <a:gd name="T101" fmla="*/ 54 h 1050"/>
                <a:gd name="T102" fmla="*/ 104 w 1224"/>
                <a:gd name="T103" fmla="*/ 60 h 1050"/>
                <a:gd name="T104" fmla="*/ 101 w 1224"/>
                <a:gd name="T105" fmla="*/ 63 h 1050"/>
                <a:gd name="T106" fmla="*/ 98 w 1224"/>
                <a:gd name="T107" fmla="*/ 66 h 1050"/>
                <a:gd name="T108" fmla="*/ 95 w 1224"/>
                <a:gd name="T109" fmla="*/ 68 h 1050"/>
                <a:gd name="T110" fmla="*/ 93 w 1224"/>
                <a:gd name="T111" fmla="*/ 72 h 1050"/>
                <a:gd name="T112" fmla="*/ 98 w 1224"/>
                <a:gd name="T113" fmla="*/ 75 h 1050"/>
                <a:gd name="T114" fmla="*/ 102 w 1224"/>
                <a:gd name="T115" fmla="*/ 77 h 1050"/>
                <a:gd name="T116" fmla="*/ 107 w 1224"/>
                <a:gd name="T117" fmla="*/ 76 h 1050"/>
                <a:gd name="T118" fmla="*/ 104 w 1224"/>
                <a:gd name="T119" fmla="*/ 84 h 1050"/>
                <a:gd name="T120" fmla="*/ 103 w 1224"/>
                <a:gd name="T121" fmla="*/ 87 h 1050"/>
                <a:gd name="T122" fmla="*/ 104 w 1224"/>
                <a:gd name="T123" fmla="*/ 91 h 105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24"/>
                <a:gd name="T187" fmla="*/ 0 h 1050"/>
                <a:gd name="T188" fmla="*/ 1224 w 1224"/>
                <a:gd name="T189" fmla="*/ 1050 h 105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24" h="1050">
                  <a:moveTo>
                    <a:pt x="1128" y="1032"/>
                  </a:moveTo>
                  <a:lnTo>
                    <a:pt x="1122" y="1026"/>
                  </a:lnTo>
                  <a:lnTo>
                    <a:pt x="1116" y="1026"/>
                  </a:lnTo>
                  <a:lnTo>
                    <a:pt x="1110" y="1026"/>
                  </a:lnTo>
                  <a:lnTo>
                    <a:pt x="1104" y="1026"/>
                  </a:lnTo>
                  <a:lnTo>
                    <a:pt x="1104" y="1020"/>
                  </a:lnTo>
                  <a:lnTo>
                    <a:pt x="1098" y="1020"/>
                  </a:lnTo>
                  <a:lnTo>
                    <a:pt x="1092" y="1020"/>
                  </a:lnTo>
                  <a:lnTo>
                    <a:pt x="1086" y="1020"/>
                  </a:lnTo>
                  <a:lnTo>
                    <a:pt x="1080" y="1014"/>
                  </a:lnTo>
                  <a:lnTo>
                    <a:pt x="1068" y="1014"/>
                  </a:lnTo>
                  <a:lnTo>
                    <a:pt x="1062" y="1014"/>
                  </a:lnTo>
                  <a:lnTo>
                    <a:pt x="1062" y="1008"/>
                  </a:lnTo>
                  <a:lnTo>
                    <a:pt x="1062" y="990"/>
                  </a:lnTo>
                  <a:lnTo>
                    <a:pt x="1062" y="984"/>
                  </a:lnTo>
                  <a:lnTo>
                    <a:pt x="1062" y="972"/>
                  </a:lnTo>
                  <a:lnTo>
                    <a:pt x="1044" y="966"/>
                  </a:lnTo>
                  <a:lnTo>
                    <a:pt x="1026" y="966"/>
                  </a:lnTo>
                  <a:lnTo>
                    <a:pt x="1014" y="966"/>
                  </a:lnTo>
                  <a:lnTo>
                    <a:pt x="996" y="966"/>
                  </a:lnTo>
                  <a:lnTo>
                    <a:pt x="996" y="972"/>
                  </a:lnTo>
                  <a:lnTo>
                    <a:pt x="990" y="972"/>
                  </a:lnTo>
                  <a:lnTo>
                    <a:pt x="984" y="966"/>
                  </a:lnTo>
                  <a:lnTo>
                    <a:pt x="978" y="966"/>
                  </a:lnTo>
                  <a:lnTo>
                    <a:pt x="978" y="960"/>
                  </a:lnTo>
                  <a:lnTo>
                    <a:pt x="972" y="954"/>
                  </a:lnTo>
                  <a:lnTo>
                    <a:pt x="966" y="954"/>
                  </a:lnTo>
                  <a:lnTo>
                    <a:pt x="960" y="954"/>
                  </a:lnTo>
                  <a:lnTo>
                    <a:pt x="954" y="954"/>
                  </a:lnTo>
                  <a:lnTo>
                    <a:pt x="954" y="948"/>
                  </a:lnTo>
                  <a:lnTo>
                    <a:pt x="942" y="942"/>
                  </a:lnTo>
                  <a:lnTo>
                    <a:pt x="936" y="942"/>
                  </a:lnTo>
                  <a:lnTo>
                    <a:pt x="936" y="936"/>
                  </a:lnTo>
                  <a:lnTo>
                    <a:pt x="936" y="930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42" y="918"/>
                  </a:lnTo>
                  <a:lnTo>
                    <a:pt x="948" y="918"/>
                  </a:lnTo>
                  <a:lnTo>
                    <a:pt x="960" y="918"/>
                  </a:lnTo>
                  <a:lnTo>
                    <a:pt x="966" y="912"/>
                  </a:lnTo>
                  <a:lnTo>
                    <a:pt x="978" y="906"/>
                  </a:lnTo>
                  <a:lnTo>
                    <a:pt x="978" y="900"/>
                  </a:lnTo>
                  <a:lnTo>
                    <a:pt x="978" y="894"/>
                  </a:lnTo>
                  <a:lnTo>
                    <a:pt x="978" y="888"/>
                  </a:lnTo>
                  <a:lnTo>
                    <a:pt x="972" y="888"/>
                  </a:lnTo>
                  <a:lnTo>
                    <a:pt x="978" y="888"/>
                  </a:lnTo>
                  <a:lnTo>
                    <a:pt x="978" y="882"/>
                  </a:lnTo>
                  <a:lnTo>
                    <a:pt x="972" y="876"/>
                  </a:lnTo>
                  <a:lnTo>
                    <a:pt x="966" y="870"/>
                  </a:lnTo>
                  <a:lnTo>
                    <a:pt x="954" y="876"/>
                  </a:lnTo>
                  <a:lnTo>
                    <a:pt x="948" y="876"/>
                  </a:lnTo>
                  <a:lnTo>
                    <a:pt x="942" y="870"/>
                  </a:lnTo>
                  <a:lnTo>
                    <a:pt x="936" y="876"/>
                  </a:lnTo>
                  <a:lnTo>
                    <a:pt x="930" y="876"/>
                  </a:lnTo>
                  <a:lnTo>
                    <a:pt x="924" y="882"/>
                  </a:lnTo>
                  <a:lnTo>
                    <a:pt x="912" y="888"/>
                  </a:lnTo>
                  <a:lnTo>
                    <a:pt x="906" y="894"/>
                  </a:lnTo>
                  <a:lnTo>
                    <a:pt x="900" y="900"/>
                  </a:lnTo>
                  <a:lnTo>
                    <a:pt x="894" y="888"/>
                  </a:lnTo>
                  <a:lnTo>
                    <a:pt x="888" y="894"/>
                  </a:lnTo>
                  <a:lnTo>
                    <a:pt x="882" y="888"/>
                  </a:lnTo>
                  <a:lnTo>
                    <a:pt x="876" y="894"/>
                  </a:lnTo>
                  <a:lnTo>
                    <a:pt x="876" y="888"/>
                  </a:lnTo>
                  <a:lnTo>
                    <a:pt x="876" y="882"/>
                  </a:lnTo>
                  <a:lnTo>
                    <a:pt x="876" y="876"/>
                  </a:lnTo>
                  <a:lnTo>
                    <a:pt x="870" y="858"/>
                  </a:lnTo>
                  <a:lnTo>
                    <a:pt x="864" y="858"/>
                  </a:lnTo>
                  <a:lnTo>
                    <a:pt x="870" y="852"/>
                  </a:lnTo>
                  <a:lnTo>
                    <a:pt x="870" y="846"/>
                  </a:lnTo>
                  <a:lnTo>
                    <a:pt x="876" y="846"/>
                  </a:lnTo>
                  <a:lnTo>
                    <a:pt x="882" y="846"/>
                  </a:lnTo>
                  <a:lnTo>
                    <a:pt x="888" y="840"/>
                  </a:lnTo>
                  <a:lnTo>
                    <a:pt x="894" y="834"/>
                  </a:lnTo>
                  <a:lnTo>
                    <a:pt x="894" y="828"/>
                  </a:lnTo>
                  <a:lnTo>
                    <a:pt x="894" y="816"/>
                  </a:lnTo>
                  <a:lnTo>
                    <a:pt x="858" y="810"/>
                  </a:lnTo>
                  <a:lnTo>
                    <a:pt x="858" y="816"/>
                  </a:lnTo>
                  <a:lnTo>
                    <a:pt x="852" y="816"/>
                  </a:lnTo>
                  <a:lnTo>
                    <a:pt x="780" y="816"/>
                  </a:lnTo>
                  <a:lnTo>
                    <a:pt x="750" y="816"/>
                  </a:lnTo>
                  <a:lnTo>
                    <a:pt x="684" y="816"/>
                  </a:lnTo>
                  <a:lnTo>
                    <a:pt x="636" y="816"/>
                  </a:lnTo>
                  <a:lnTo>
                    <a:pt x="612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0" y="816"/>
                  </a:lnTo>
                  <a:lnTo>
                    <a:pt x="480" y="822"/>
                  </a:lnTo>
                  <a:lnTo>
                    <a:pt x="480" y="834"/>
                  </a:lnTo>
                  <a:lnTo>
                    <a:pt x="474" y="840"/>
                  </a:lnTo>
                  <a:lnTo>
                    <a:pt x="468" y="840"/>
                  </a:lnTo>
                  <a:lnTo>
                    <a:pt x="432" y="840"/>
                  </a:lnTo>
                  <a:lnTo>
                    <a:pt x="426" y="834"/>
                  </a:lnTo>
                  <a:lnTo>
                    <a:pt x="420" y="834"/>
                  </a:lnTo>
                  <a:lnTo>
                    <a:pt x="420" y="828"/>
                  </a:lnTo>
                  <a:lnTo>
                    <a:pt x="414" y="822"/>
                  </a:lnTo>
                  <a:lnTo>
                    <a:pt x="408" y="822"/>
                  </a:lnTo>
                  <a:lnTo>
                    <a:pt x="396" y="822"/>
                  </a:lnTo>
                  <a:lnTo>
                    <a:pt x="396" y="816"/>
                  </a:lnTo>
                  <a:lnTo>
                    <a:pt x="384" y="816"/>
                  </a:lnTo>
                  <a:lnTo>
                    <a:pt x="372" y="810"/>
                  </a:lnTo>
                  <a:lnTo>
                    <a:pt x="372" y="804"/>
                  </a:lnTo>
                  <a:lnTo>
                    <a:pt x="366" y="804"/>
                  </a:lnTo>
                  <a:lnTo>
                    <a:pt x="360" y="804"/>
                  </a:lnTo>
                  <a:lnTo>
                    <a:pt x="348" y="828"/>
                  </a:lnTo>
                  <a:lnTo>
                    <a:pt x="348" y="834"/>
                  </a:lnTo>
                  <a:lnTo>
                    <a:pt x="348" y="852"/>
                  </a:lnTo>
                  <a:lnTo>
                    <a:pt x="348" y="858"/>
                  </a:lnTo>
                  <a:lnTo>
                    <a:pt x="342" y="864"/>
                  </a:lnTo>
                  <a:lnTo>
                    <a:pt x="342" y="870"/>
                  </a:lnTo>
                  <a:lnTo>
                    <a:pt x="330" y="876"/>
                  </a:lnTo>
                  <a:lnTo>
                    <a:pt x="324" y="888"/>
                  </a:lnTo>
                  <a:lnTo>
                    <a:pt x="324" y="894"/>
                  </a:lnTo>
                  <a:lnTo>
                    <a:pt x="330" y="900"/>
                  </a:lnTo>
                  <a:lnTo>
                    <a:pt x="330" y="906"/>
                  </a:lnTo>
                  <a:lnTo>
                    <a:pt x="324" y="906"/>
                  </a:lnTo>
                  <a:lnTo>
                    <a:pt x="318" y="912"/>
                  </a:lnTo>
                  <a:lnTo>
                    <a:pt x="312" y="918"/>
                  </a:lnTo>
                  <a:lnTo>
                    <a:pt x="306" y="924"/>
                  </a:lnTo>
                  <a:lnTo>
                    <a:pt x="288" y="924"/>
                  </a:lnTo>
                  <a:lnTo>
                    <a:pt x="282" y="924"/>
                  </a:lnTo>
                  <a:lnTo>
                    <a:pt x="276" y="930"/>
                  </a:lnTo>
                  <a:lnTo>
                    <a:pt x="270" y="930"/>
                  </a:lnTo>
                  <a:lnTo>
                    <a:pt x="264" y="930"/>
                  </a:lnTo>
                  <a:lnTo>
                    <a:pt x="198" y="930"/>
                  </a:lnTo>
                  <a:lnTo>
                    <a:pt x="132" y="930"/>
                  </a:lnTo>
                  <a:lnTo>
                    <a:pt x="132" y="936"/>
                  </a:lnTo>
                  <a:lnTo>
                    <a:pt x="132" y="942"/>
                  </a:lnTo>
                  <a:lnTo>
                    <a:pt x="132" y="948"/>
                  </a:lnTo>
                  <a:lnTo>
                    <a:pt x="126" y="948"/>
                  </a:lnTo>
                  <a:lnTo>
                    <a:pt x="120" y="948"/>
                  </a:lnTo>
                  <a:lnTo>
                    <a:pt x="120" y="954"/>
                  </a:lnTo>
                  <a:lnTo>
                    <a:pt x="114" y="954"/>
                  </a:lnTo>
                  <a:lnTo>
                    <a:pt x="114" y="960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02" y="966"/>
                  </a:lnTo>
                  <a:lnTo>
                    <a:pt x="102" y="972"/>
                  </a:lnTo>
                  <a:lnTo>
                    <a:pt x="96" y="972"/>
                  </a:lnTo>
                  <a:lnTo>
                    <a:pt x="96" y="966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78" y="960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60"/>
                  </a:lnTo>
                  <a:lnTo>
                    <a:pt x="54" y="966"/>
                  </a:lnTo>
                  <a:lnTo>
                    <a:pt x="48" y="966"/>
                  </a:lnTo>
                  <a:lnTo>
                    <a:pt x="42" y="966"/>
                  </a:lnTo>
                  <a:lnTo>
                    <a:pt x="36" y="966"/>
                  </a:lnTo>
                  <a:lnTo>
                    <a:pt x="30" y="966"/>
                  </a:lnTo>
                  <a:lnTo>
                    <a:pt x="24" y="960"/>
                  </a:lnTo>
                  <a:lnTo>
                    <a:pt x="18" y="960"/>
                  </a:lnTo>
                  <a:lnTo>
                    <a:pt x="12" y="960"/>
                  </a:lnTo>
                  <a:lnTo>
                    <a:pt x="12" y="948"/>
                  </a:lnTo>
                  <a:lnTo>
                    <a:pt x="18" y="942"/>
                  </a:lnTo>
                  <a:lnTo>
                    <a:pt x="18" y="936"/>
                  </a:lnTo>
                  <a:lnTo>
                    <a:pt x="18" y="930"/>
                  </a:lnTo>
                  <a:lnTo>
                    <a:pt x="18" y="924"/>
                  </a:lnTo>
                  <a:lnTo>
                    <a:pt x="18" y="912"/>
                  </a:lnTo>
                  <a:lnTo>
                    <a:pt x="24" y="906"/>
                  </a:lnTo>
                  <a:lnTo>
                    <a:pt x="30" y="900"/>
                  </a:lnTo>
                  <a:lnTo>
                    <a:pt x="36" y="894"/>
                  </a:lnTo>
                  <a:lnTo>
                    <a:pt x="36" y="882"/>
                  </a:lnTo>
                  <a:lnTo>
                    <a:pt x="30" y="876"/>
                  </a:lnTo>
                  <a:lnTo>
                    <a:pt x="30" y="870"/>
                  </a:lnTo>
                  <a:lnTo>
                    <a:pt x="24" y="858"/>
                  </a:lnTo>
                  <a:lnTo>
                    <a:pt x="24" y="846"/>
                  </a:lnTo>
                  <a:lnTo>
                    <a:pt x="36" y="822"/>
                  </a:lnTo>
                  <a:lnTo>
                    <a:pt x="42" y="816"/>
                  </a:lnTo>
                  <a:lnTo>
                    <a:pt x="48" y="816"/>
                  </a:lnTo>
                  <a:lnTo>
                    <a:pt x="60" y="804"/>
                  </a:lnTo>
                  <a:lnTo>
                    <a:pt x="60" y="786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54" y="762"/>
                  </a:lnTo>
                  <a:lnTo>
                    <a:pt x="42" y="762"/>
                  </a:lnTo>
                  <a:lnTo>
                    <a:pt x="36" y="762"/>
                  </a:lnTo>
                  <a:lnTo>
                    <a:pt x="30" y="762"/>
                  </a:lnTo>
                  <a:lnTo>
                    <a:pt x="30" y="756"/>
                  </a:lnTo>
                  <a:lnTo>
                    <a:pt x="24" y="750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702"/>
                  </a:lnTo>
                  <a:lnTo>
                    <a:pt x="36" y="684"/>
                  </a:lnTo>
                  <a:lnTo>
                    <a:pt x="36" y="678"/>
                  </a:lnTo>
                  <a:lnTo>
                    <a:pt x="36" y="666"/>
                  </a:lnTo>
                  <a:lnTo>
                    <a:pt x="36" y="654"/>
                  </a:lnTo>
                  <a:lnTo>
                    <a:pt x="18" y="654"/>
                  </a:lnTo>
                  <a:lnTo>
                    <a:pt x="18" y="648"/>
                  </a:lnTo>
                  <a:lnTo>
                    <a:pt x="18" y="618"/>
                  </a:lnTo>
                  <a:lnTo>
                    <a:pt x="18" y="612"/>
                  </a:lnTo>
                  <a:lnTo>
                    <a:pt x="24" y="612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54" y="588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76"/>
                  </a:lnTo>
                  <a:lnTo>
                    <a:pt x="48" y="564"/>
                  </a:lnTo>
                  <a:lnTo>
                    <a:pt x="42" y="564"/>
                  </a:lnTo>
                  <a:lnTo>
                    <a:pt x="36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6" y="540"/>
                  </a:lnTo>
                  <a:lnTo>
                    <a:pt x="48" y="534"/>
                  </a:lnTo>
                  <a:lnTo>
                    <a:pt x="54" y="528"/>
                  </a:lnTo>
                  <a:lnTo>
                    <a:pt x="60" y="504"/>
                  </a:lnTo>
                  <a:lnTo>
                    <a:pt x="60" y="492"/>
                  </a:lnTo>
                  <a:lnTo>
                    <a:pt x="54" y="492"/>
                  </a:lnTo>
                  <a:lnTo>
                    <a:pt x="54" y="480"/>
                  </a:lnTo>
                  <a:lnTo>
                    <a:pt x="48" y="456"/>
                  </a:lnTo>
                  <a:lnTo>
                    <a:pt x="42" y="450"/>
                  </a:lnTo>
                  <a:lnTo>
                    <a:pt x="36" y="444"/>
                  </a:lnTo>
                  <a:lnTo>
                    <a:pt x="36" y="420"/>
                  </a:lnTo>
                  <a:lnTo>
                    <a:pt x="36" y="408"/>
                  </a:lnTo>
                  <a:lnTo>
                    <a:pt x="36" y="37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60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6" y="300"/>
                  </a:lnTo>
                  <a:lnTo>
                    <a:pt x="60" y="294"/>
                  </a:lnTo>
                  <a:lnTo>
                    <a:pt x="60" y="288"/>
                  </a:lnTo>
                  <a:lnTo>
                    <a:pt x="54" y="282"/>
                  </a:lnTo>
                  <a:lnTo>
                    <a:pt x="42" y="276"/>
                  </a:lnTo>
                  <a:lnTo>
                    <a:pt x="36" y="276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0" y="252"/>
                  </a:lnTo>
                  <a:lnTo>
                    <a:pt x="24" y="246"/>
                  </a:lnTo>
                  <a:lnTo>
                    <a:pt x="24" y="240"/>
                  </a:lnTo>
                  <a:lnTo>
                    <a:pt x="24" y="228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62"/>
                  </a:lnTo>
                  <a:lnTo>
                    <a:pt x="24" y="144"/>
                  </a:lnTo>
                  <a:lnTo>
                    <a:pt x="24" y="132"/>
                  </a:lnTo>
                  <a:lnTo>
                    <a:pt x="24" y="114"/>
                  </a:lnTo>
                  <a:lnTo>
                    <a:pt x="24" y="102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18" y="48"/>
                  </a:lnTo>
                  <a:lnTo>
                    <a:pt x="42" y="36"/>
                  </a:lnTo>
                  <a:lnTo>
                    <a:pt x="54" y="24"/>
                  </a:lnTo>
                  <a:lnTo>
                    <a:pt x="60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10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14" y="60"/>
                  </a:lnTo>
                  <a:lnTo>
                    <a:pt x="120" y="60"/>
                  </a:lnTo>
                  <a:lnTo>
                    <a:pt x="114" y="84"/>
                  </a:lnTo>
                  <a:lnTo>
                    <a:pt x="120" y="90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38" y="114"/>
                  </a:lnTo>
                  <a:lnTo>
                    <a:pt x="138" y="132"/>
                  </a:lnTo>
                  <a:lnTo>
                    <a:pt x="162" y="126"/>
                  </a:lnTo>
                  <a:lnTo>
                    <a:pt x="162" y="114"/>
                  </a:lnTo>
                  <a:lnTo>
                    <a:pt x="174" y="108"/>
                  </a:lnTo>
                  <a:lnTo>
                    <a:pt x="174" y="102"/>
                  </a:lnTo>
                  <a:lnTo>
                    <a:pt x="180" y="96"/>
                  </a:lnTo>
                  <a:lnTo>
                    <a:pt x="180" y="60"/>
                  </a:lnTo>
                  <a:lnTo>
                    <a:pt x="192" y="60"/>
                  </a:lnTo>
                  <a:lnTo>
                    <a:pt x="192" y="72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04" y="108"/>
                  </a:lnTo>
                  <a:lnTo>
                    <a:pt x="204" y="114"/>
                  </a:lnTo>
                  <a:lnTo>
                    <a:pt x="204" y="120"/>
                  </a:lnTo>
                  <a:lnTo>
                    <a:pt x="204" y="126"/>
                  </a:lnTo>
                  <a:lnTo>
                    <a:pt x="210" y="126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8" y="174"/>
                  </a:lnTo>
                  <a:lnTo>
                    <a:pt x="198" y="180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86" y="204"/>
                  </a:lnTo>
                  <a:lnTo>
                    <a:pt x="186" y="210"/>
                  </a:lnTo>
                  <a:lnTo>
                    <a:pt x="180" y="210"/>
                  </a:lnTo>
                  <a:lnTo>
                    <a:pt x="180" y="216"/>
                  </a:lnTo>
                  <a:lnTo>
                    <a:pt x="180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92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8" y="258"/>
                  </a:lnTo>
                  <a:lnTo>
                    <a:pt x="204" y="258"/>
                  </a:lnTo>
                  <a:lnTo>
                    <a:pt x="210" y="258"/>
                  </a:lnTo>
                  <a:lnTo>
                    <a:pt x="216" y="258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34" y="276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46" y="306"/>
                  </a:lnTo>
                  <a:lnTo>
                    <a:pt x="252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42"/>
                  </a:lnTo>
                  <a:lnTo>
                    <a:pt x="270" y="342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88" y="366"/>
                  </a:lnTo>
                  <a:lnTo>
                    <a:pt x="336" y="360"/>
                  </a:lnTo>
                  <a:lnTo>
                    <a:pt x="354" y="360"/>
                  </a:lnTo>
                  <a:lnTo>
                    <a:pt x="366" y="372"/>
                  </a:lnTo>
                  <a:lnTo>
                    <a:pt x="378" y="378"/>
                  </a:lnTo>
                  <a:lnTo>
                    <a:pt x="378" y="390"/>
                  </a:lnTo>
                  <a:lnTo>
                    <a:pt x="384" y="390"/>
                  </a:lnTo>
                  <a:lnTo>
                    <a:pt x="390" y="396"/>
                  </a:lnTo>
                  <a:lnTo>
                    <a:pt x="408" y="390"/>
                  </a:lnTo>
                  <a:lnTo>
                    <a:pt x="426" y="366"/>
                  </a:lnTo>
                  <a:lnTo>
                    <a:pt x="432" y="360"/>
                  </a:lnTo>
                  <a:lnTo>
                    <a:pt x="438" y="348"/>
                  </a:lnTo>
                  <a:lnTo>
                    <a:pt x="438" y="342"/>
                  </a:lnTo>
                  <a:lnTo>
                    <a:pt x="438" y="330"/>
                  </a:lnTo>
                  <a:lnTo>
                    <a:pt x="444" y="324"/>
                  </a:lnTo>
                  <a:lnTo>
                    <a:pt x="450" y="318"/>
                  </a:lnTo>
                  <a:lnTo>
                    <a:pt x="456" y="312"/>
                  </a:lnTo>
                  <a:lnTo>
                    <a:pt x="456" y="306"/>
                  </a:lnTo>
                  <a:lnTo>
                    <a:pt x="456" y="300"/>
                  </a:lnTo>
                  <a:lnTo>
                    <a:pt x="474" y="288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92" y="294"/>
                  </a:lnTo>
                  <a:lnTo>
                    <a:pt x="492" y="318"/>
                  </a:lnTo>
                  <a:lnTo>
                    <a:pt x="504" y="324"/>
                  </a:lnTo>
                  <a:lnTo>
                    <a:pt x="492" y="348"/>
                  </a:lnTo>
                  <a:lnTo>
                    <a:pt x="522" y="348"/>
                  </a:lnTo>
                  <a:lnTo>
                    <a:pt x="528" y="342"/>
                  </a:lnTo>
                  <a:lnTo>
                    <a:pt x="528" y="336"/>
                  </a:lnTo>
                  <a:lnTo>
                    <a:pt x="528" y="330"/>
                  </a:lnTo>
                  <a:lnTo>
                    <a:pt x="534" y="330"/>
                  </a:lnTo>
                  <a:lnTo>
                    <a:pt x="540" y="330"/>
                  </a:lnTo>
                  <a:lnTo>
                    <a:pt x="546" y="330"/>
                  </a:lnTo>
                  <a:lnTo>
                    <a:pt x="552" y="324"/>
                  </a:lnTo>
                  <a:lnTo>
                    <a:pt x="558" y="318"/>
                  </a:lnTo>
                  <a:lnTo>
                    <a:pt x="576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8" y="348"/>
                  </a:lnTo>
                  <a:lnTo>
                    <a:pt x="654" y="354"/>
                  </a:lnTo>
                  <a:lnTo>
                    <a:pt x="648" y="402"/>
                  </a:lnTo>
                  <a:lnTo>
                    <a:pt x="678" y="402"/>
                  </a:lnTo>
                  <a:lnTo>
                    <a:pt x="678" y="420"/>
                  </a:lnTo>
                  <a:lnTo>
                    <a:pt x="684" y="438"/>
                  </a:lnTo>
                  <a:lnTo>
                    <a:pt x="684" y="450"/>
                  </a:lnTo>
                  <a:lnTo>
                    <a:pt x="684" y="456"/>
                  </a:lnTo>
                  <a:lnTo>
                    <a:pt x="690" y="468"/>
                  </a:lnTo>
                  <a:lnTo>
                    <a:pt x="690" y="474"/>
                  </a:lnTo>
                  <a:lnTo>
                    <a:pt x="690" y="480"/>
                  </a:lnTo>
                  <a:lnTo>
                    <a:pt x="696" y="486"/>
                  </a:lnTo>
                  <a:lnTo>
                    <a:pt x="696" y="498"/>
                  </a:lnTo>
                  <a:lnTo>
                    <a:pt x="702" y="504"/>
                  </a:lnTo>
                  <a:lnTo>
                    <a:pt x="690" y="516"/>
                  </a:lnTo>
                  <a:lnTo>
                    <a:pt x="678" y="522"/>
                  </a:lnTo>
                  <a:lnTo>
                    <a:pt x="654" y="528"/>
                  </a:lnTo>
                  <a:lnTo>
                    <a:pt x="660" y="546"/>
                  </a:lnTo>
                  <a:lnTo>
                    <a:pt x="672" y="546"/>
                  </a:lnTo>
                  <a:lnTo>
                    <a:pt x="678" y="540"/>
                  </a:lnTo>
                  <a:lnTo>
                    <a:pt x="714" y="540"/>
                  </a:lnTo>
                  <a:lnTo>
                    <a:pt x="798" y="540"/>
                  </a:lnTo>
                  <a:lnTo>
                    <a:pt x="804" y="540"/>
                  </a:lnTo>
                  <a:lnTo>
                    <a:pt x="816" y="528"/>
                  </a:lnTo>
                  <a:lnTo>
                    <a:pt x="822" y="522"/>
                  </a:lnTo>
                  <a:lnTo>
                    <a:pt x="834" y="516"/>
                  </a:lnTo>
                  <a:lnTo>
                    <a:pt x="846" y="516"/>
                  </a:lnTo>
                  <a:lnTo>
                    <a:pt x="852" y="510"/>
                  </a:lnTo>
                  <a:lnTo>
                    <a:pt x="858" y="510"/>
                  </a:lnTo>
                  <a:lnTo>
                    <a:pt x="882" y="516"/>
                  </a:lnTo>
                  <a:lnTo>
                    <a:pt x="888" y="516"/>
                  </a:lnTo>
                  <a:lnTo>
                    <a:pt x="888" y="510"/>
                  </a:lnTo>
                  <a:lnTo>
                    <a:pt x="894" y="510"/>
                  </a:lnTo>
                  <a:lnTo>
                    <a:pt x="906" y="504"/>
                  </a:lnTo>
                  <a:lnTo>
                    <a:pt x="918" y="498"/>
                  </a:lnTo>
                  <a:lnTo>
                    <a:pt x="930" y="492"/>
                  </a:lnTo>
                  <a:lnTo>
                    <a:pt x="936" y="492"/>
                  </a:lnTo>
                  <a:lnTo>
                    <a:pt x="948" y="492"/>
                  </a:lnTo>
                  <a:lnTo>
                    <a:pt x="954" y="528"/>
                  </a:lnTo>
                  <a:lnTo>
                    <a:pt x="954" y="564"/>
                  </a:lnTo>
                  <a:lnTo>
                    <a:pt x="972" y="564"/>
                  </a:lnTo>
                  <a:lnTo>
                    <a:pt x="978" y="558"/>
                  </a:lnTo>
                  <a:lnTo>
                    <a:pt x="990" y="552"/>
                  </a:lnTo>
                  <a:lnTo>
                    <a:pt x="1002" y="540"/>
                  </a:lnTo>
                  <a:lnTo>
                    <a:pt x="1026" y="534"/>
                  </a:lnTo>
                  <a:lnTo>
                    <a:pt x="1032" y="540"/>
                  </a:lnTo>
                  <a:lnTo>
                    <a:pt x="1044" y="546"/>
                  </a:lnTo>
                  <a:lnTo>
                    <a:pt x="1062" y="552"/>
                  </a:lnTo>
                  <a:lnTo>
                    <a:pt x="1068" y="552"/>
                  </a:lnTo>
                  <a:lnTo>
                    <a:pt x="1068" y="570"/>
                  </a:lnTo>
                  <a:lnTo>
                    <a:pt x="1068" y="576"/>
                  </a:lnTo>
                  <a:lnTo>
                    <a:pt x="1068" y="582"/>
                  </a:lnTo>
                  <a:lnTo>
                    <a:pt x="1068" y="588"/>
                  </a:lnTo>
                  <a:lnTo>
                    <a:pt x="1068" y="594"/>
                  </a:lnTo>
                  <a:lnTo>
                    <a:pt x="1080" y="600"/>
                  </a:lnTo>
                  <a:lnTo>
                    <a:pt x="1086" y="606"/>
                  </a:lnTo>
                  <a:lnTo>
                    <a:pt x="1092" y="594"/>
                  </a:lnTo>
                  <a:lnTo>
                    <a:pt x="1104" y="588"/>
                  </a:lnTo>
                  <a:lnTo>
                    <a:pt x="1116" y="588"/>
                  </a:lnTo>
                  <a:lnTo>
                    <a:pt x="1122" y="588"/>
                  </a:lnTo>
                  <a:lnTo>
                    <a:pt x="1122" y="594"/>
                  </a:lnTo>
                  <a:lnTo>
                    <a:pt x="1128" y="594"/>
                  </a:lnTo>
                  <a:lnTo>
                    <a:pt x="1134" y="594"/>
                  </a:lnTo>
                  <a:lnTo>
                    <a:pt x="1140" y="594"/>
                  </a:lnTo>
                  <a:lnTo>
                    <a:pt x="1146" y="588"/>
                  </a:lnTo>
                  <a:lnTo>
                    <a:pt x="1158" y="582"/>
                  </a:lnTo>
                  <a:lnTo>
                    <a:pt x="1164" y="576"/>
                  </a:lnTo>
                  <a:lnTo>
                    <a:pt x="1176" y="576"/>
                  </a:lnTo>
                  <a:lnTo>
                    <a:pt x="1194" y="576"/>
                  </a:lnTo>
                  <a:lnTo>
                    <a:pt x="1218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24" y="594"/>
                  </a:lnTo>
                  <a:lnTo>
                    <a:pt x="1212" y="600"/>
                  </a:lnTo>
                  <a:lnTo>
                    <a:pt x="1206" y="606"/>
                  </a:lnTo>
                  <a:lnTo>
                    <a:pt x="1200" y="606"/>
                  </a:lnTo>
                  <a:lnTo>
                    <a:pt x="1200" y="612"/>
                  </a:lnTo>
                  <a:lnTo>
                    <a:pt x="1194" y="612"/>
                  </a:lnTo>
                  <a:lnTo>
                    <a:pt x="1194" y="618"/>
                  </a:lnTo>
                  <a:lnTo>
                    <a:pt x="1194" y="624"/>
                  </a:lnTo>
                  <a:lnTo>
                    <a:pt x="1194" y="630"/>
                  </a:lnTo>
                  <a:lnTo>
                    <a:pt x="1194" y="648"/>
                  </a:lnTo>
                  <a:lnTo>
                    <a:pt x="1194" y="660"/>
                  </a:lnTo>
                  <a:lnTo>
                    <a:pt x="1194" y="666"/>
                  </a:lnTo>
                  <a:lnTo>
                    <a:pt x="1194" y="672"/>
                  </a:lnTo>
                  <a:lnTo>
                    <a:pt x="1194" y="678"/>
                  </a:lnTo>
                  <a:lnTo>
                    <a:pt x="1188" y="684"/>
                  </a:lnTo>
                  <a:lnTo>
                    <a:pt x="1188" y="690"/>
                  </a:lnTo>
                  <a:lnTo>
                    <a:pt x="1188" y="696"/>
                  </a:lnTo>
                  <a:lnTo>
                    <a:pt x="1188" y="702"/>
                  </a:lnTo>
                  <a:lnTo>
                    <a:pt x="1188" y="708"/>
                  </a:lnTo>
                  <a:lnTo>
                    <a:pt x="1188" y="714"/>
                  </a:lnTo>
                  <a:lnTo>
                    <a:pt x="1182" y="720"/>
                  </a:lnTo>
                  <a:lnTo>
                    <a:pt x="1170" y="720"/>
                  </a:lnTo>
                  <a:lnTo>
                    <a:pt x="1158" y="726"/>
                  </a:lnTo>
                  <a:lnTo>
                    <a:pt x="1152" y="726"/>
                  </a:lnTo>
                  <a:lnTo>
                    <a:pt x="1152" y="732"/>
                  </a:lnTo>
                  <a:lnTo>
                    <a:pt x="1146" y="738"/>
                  </a:lnTo>
                  <a:lnTo>
                    <a:pt x="1140" y="738"/>
                  </a:lnTo>
                  <a:lnTo>
                    <a:pt x="1140" y="744"/>
                  </a:lnTo>
                  <a:lnTo>
                    <a:pt x="1134" y="744"/>
                  </a:lnTo>
                  <a:lnTo>
                    <a:pt x="1128" y="744"/>
                  </a:lnTo>
                  <a:lnTo>
                    <a:pt x="1122" y="750"/>
                  </a:lnTo>
                  <a:lnTo>
                    <a:pt x="1128" y="750"/>
                  </a:lnTo>
                  <a:lnTo>
                    <a:pt x="1122" y="756"/>
                  </a:lnTo>
                  <a:lnTo>
                    <a:pt x="1116" y="756"/>
                  </a:lnTo>
                  <a:lnTo>
                    <a:pt x="1110" y="762"/>
                  </a:lnTo>
                  <a:lnTo>
                    <a:pt x="1104" y="762"/>
                  </a:lnTo>
                  <a:lnTo>
                    <a:pt x="1104" y="768"/>
                  </a:lnTo>
                  <a:lnTo>
                    <a:pt x="1098" y="768"/>
                  </a:lnTo>
                  <a:lnTo>
                    <a:pt x="1098" y="774"/>
                  </a:lnTo>
                  <a:lnTo>
                    <a:pt x="1092" y="774"/>
                  </a:lnTo>
                  <a:lnTo>
                    <a:pt x="1092" y="780"/>
                  </a:lnTo>
                  <a:lnTo>
                    <a:pt x="1086" y="780"/>
                  </a:lnTo>
                  <a:lnTo>
                    <a:pt x="1086" y="786"/>
                  </a:lnTo>
                  <a:lnTo>
                    <a:pt x="1080" y="786"/>
                  </a:lnTo>
                  <a:lnTo>
                    <a:pt x="1080" y="792"/>
                  </a:lnTo>
                  <a:lnTo>
                    <a:pt x="1080" y="798"/>
                  </a:lnTo>
                  <a:lnTo>
                    <a:pt x="1080" y="804"/>
                  </a:lnTo>
                  <a:lnTo>
                    <a:pt x="1086" y="810"/>
                  </a:lnTo>
                  <a:lnTo>
                    <a:pt x="1080" y="816"/>
                  </a:lnTo>
                  <a:lnTo>
                    <a:pt x="1080" y="822"/>
                  </a:lnTo>
                  <a:lnTo>
                    <a:pt x="1074" y="822"/>
                  </a:lnTo>
                  <a:lnTo>
                    <a:pt x="1068" y="828"/>
                  </a:lnTo>
                  <a:lnTo>
                    <a:pt x="1074" y="828"/>
                  </a:lnTo>
                  <a:lnTo>
                    <a:pt x="1074" y="834"/>
                  </a:lnTo>
                  <a:lnTo>
                    <a:pt x="1080" y="846"/>
                  </a:lnTo>
                  <a:lnTo>
                    <a:pt x="1086" y="846"/>
                  </a:lnTo>
                  <a:lnTo>
                    <a:pt x="1092" y="852"/>
                  </a:lnTo>
                  <a:lnTo>
                    <a:pt x="1092" y="858"/>
                  </a:lnTo>
                  <a:lnTo>
                    <a:pt x="1098" y="858"/>
                  </a:lnTo>
                  <a:lnTo>
                    <a:pt x="1110" y="864"/>
                  </a:lnTo>
                  <a:lnTo>
                    <a:pt x="1116" y="864"/>
                  </a:lnTo>
                  <a:lnTo>
                    <a:pt x="1122" y="864"/>
                  </a:lnTo>
                  <a:lnTo>
                    <a:pt x="1128" y="864"/>
                  </a:lnTo>
                  <a:lnTo>
                    <a:pt x="1134" y="876"/>
                  </a:lnTo>
                  <a:lnTo>
                    <a:pt x="1140" y="882"/>
                  </a:lnTo>
                  <a:lnTo>
                    <a:pt x="1140" y="888"/>
                  </a:lnTo>
                  <a:lnTo>
                    <a:pt x="1152" y="918"/>
                  </a:lnTo>
                  <a:lnTo>
                    <a:pt x="1158" y="894"/>
                  </a:lnTo>
                  <a:lnTo>
                    <a:pt x="1164" y="888"/>
                  </a:lnTo>
                  <a:lnTo>
                    <a:pt x="1164" y="882"/>
                  </a:lnTo>
                  <a:lnTo>
                    <a:pt x="1176" y="864"/>
                  </a:lnTo>
                  <a:lnTo>
                    <a:pt x="1182" y="858"/>
                  </a:lnTo>
                  <a:lnTo>
                    <a:pt x="1188" y="846"/>
                  </a:lnTo>
                  <a:lnTo>
                    <a:pt x="1200" y="840"/>
                  </a:lnTo>
                  <a:lnTo>
                    <a:pt x="1212" y="840"/>
                  </a:lnTo>
                  <a:lnTo>
                    <a:pt x="1218" y="846"/>
                  </a:lnTo>
                  <a:lnTo>
                    <a:pt x="1224" y="858"/>
                  </a:lnTo>
                  <a:lnTo>
                    <a:pt x="1224" y="864"/>
                  </a:lnTo>
                  <a:lnTo>
                    <a:pt x="1224" y="876"/>
                  </a:lnTo>
                  <a:lnTo>
                    <a:pt x="1212" y="912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00" y="930"/>
                  </a:lnTo>
                  <a:lnTo>
                    <a:pt x="1200" y="942"/>
                  </a:lnTo>
                  <a:lnTo>
                    <a:pt x="1194" y="948"/>
                  </a:lnTo>
                  <a:lnTo>
                    <a:pt x="1194" y="960"/>
                  </a:lnTo>
                  <a:lnTo>
                    <a:pt x="1194" y="966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70" y="984"/>
                  </a:lnTo>
                  <a:lnTo>
                    <a:pt x="1164" y="984"/>
                  </a:lnTo>
                  <a:lnTo>
                    <a:pt x="1158" y="984"/>
                  </a:lnTo>
                  <a:lnTo>
                    <a:pt x="1146" y="984"/>
                  </a:lnTo>
                  <a:lnTo>
                    <a:pt x="1140" y="990"/>
                  </a:lnTo>
                  <a:lnTo>
                    <a:pt x="1140" y="996"/>
                  </a:lnTo>
                  <a:lnTo>
                    <a:pt x="1152" y="996"/>
                  </a:lnTo>
                  <a:lnTo>
                    <a:pt x="1176" y="1002"/>
                  </a:lnTo>
                  <a:lnTo>
                    <a:pt x="1194" y="1008"/>
                  </a:lnTo>
                  <a:lnTo>
                    <a:pt x="1206" y="1008"/>
                  </a:lnTo>
                  <a:lnTo>
                    <a:pt x="1218" y="1014"/>
                  </a:lnTo>
                  <a:lnTo>
                    <a:pt x="1212" y="1038"/>
                  </a:lnTo>
                  <a:lnTo>
                    <a:pt x="1212" y="1044"/>
                  </a:lnTo>
                  <a:lnTo>
                    <a:pt x="1206" y="1044"/>
                  </a:lnTo>
                  <a:lnTo>
                    <a:pt x="1206" y="1050"/>
                  </a:lnTo>
                  <a:lnTo>
                    <a:pt x="1194" y="1050"/>
                  </a:lnTo>
                  <a:lnTo>
                    <a:pt x="1188" y="1044"/>
                  </a:lnTo>
                  <a:lnTo>
                    <a:pt x="1158" y="1020"/>
                  </a:lnTo>
                  <a:lnTo>
                    <a:pt x="1152" y="1020"/>
                  </a:lnTo>
                  <a:lnTo>
                    <a:pt x="1140" y="1020"/>
                  </a:lnTo>
                  <a:lnTo>
                    <a:pt x="1134" y="1020"/>
                  </a:lnTo>
                  <a:lnTo>
                    <a:pt x="1134" y="1026"/>
                  </a:lnTo>
                  <a:lnTo>
                    <a:pt x="1134" y="1032"/>
                  </a:lnTo>
                  <a:lnTo>
                    <a:pt x="1128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2" name="Freeform 27">
              <a:extLst>
                <a:ext uri="{FF2B5EF4-FFF2-40B4-BE49-F238E27FC236}">
                  <a16:creationId xmlns:a16="http://schemas.microsoft.com/office/drawing/2014/main" id="{CE95C9DF-B651-4085-946F-65424BC51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2063" y="3421400"/>
              <a:ext cx="342138" cy="377969"/>
            </a:xfrm>
            <a:custGeom>
              <a:avLst/>
              <a:gdLst>
                <a:gd name="T0" fmla="*/ 43 w 642"/>
                <a:gd name="T1" fmla="*/ 41 h 708"/>
                <a:gd name="T2" fmla="*/ 39 w 642"/>
                <a:gd name="T3" fmla="*/ 41 h 708"/>
                <a:gd name="T4" fmla="*/ 38 w 642"/>
                <a:gd name="T5" fmla="*/ 47 h 708"/>
                <a:gd name="T6" fmla="*/ 38 w 642"/>
                <a:gd name="T7" fmla="*/ 49 h 708"/>
                <a:gd name="T8" fmla="*/ 38 w 642"/>
                <a:gd name="T9" fmla="*/ 50 h 708"/>
                <a:gd name="T10" fmla="*/ 36 w 642"/>
                <a:gd name="T11" fmla="*/ 52 h 708"/>
                <a:gd name="T12" fmla="*/ 35 w 642"/>
                <a:gd name="T13" fmla="*/ 53 h 708"/>
                <a:gd name="T14" fmla="*/ 33 w 642"/>
                <a:gd name="T15" fmla="*/ 55 h 708"/>
                <a:gd name="T16" fmla="*/ 32 w 642"/>
                <a:gd name="T17" fmla="*/ 56 h 708"/>
                <a:gd name="T18" fmla="*/ 31 w 642"/>
                <a:gd name="T19" fmla="*/ 59 h 708"/>
                <a:gd name="T20" fmla="*/ 26 w 642"/>
                <a:gd name="T21" fmla="*/ 59 h 708"/>
                <a:gd name="T22" fmla="*/ 23 w 642"/>
                <a:gd name="T23" fmla="*/ 61 h 708"/>
                <a:gd name="T24" fmla="*/ 20 w 642"/>
                <a:gd name="T25" fmla="*/ 61 h 708"/>
                <a:gd name="T26" fmla="*/ 17 w 642"/>
                <a:gd name="T27" fmla="*/ 59 h 708"/>
                <a:gd name="T28" fmla="*/ 15 w 642"/>
                <a:gd name="T29" fmla="*/ 56 h 708"/>
                <a:gd name="T30" fmla="*/ 9 w 642"/>
                <a:gd name="T31" fmla="*/ 58 h 708"/>
                <a:gd name="T32" fmla="*/ 6 w 642"/>
                <a:gd name="T33" fmla="*/ 52 h 708"/>
                <a:gd name="T34" fmla="*/ 2 w 642"/>
                <a:gd name="T35" fmla="*/ 53 h 708"/>
                <a:gd name="T36" fmla="*/ 1 w 642"/>
                <a:gd name="T37" fmla="*/ 51 h 708"/>
                <a:gd name="T38" fmla="*/ 4 w 642"/>
                <a:gd name="T39" fmla="*/ 47 h 708"/>
                <a:gd name="T40" fmla="*/ 5 w 642"/>
                <a:gd name="T41" fmla="*/ 41 h 708"/>
                <a:gd name="T42" fmla="*/ 5 w 642"/>
                <a:gd name="T43" fmla="*/ 38 h 708"/>
                <a:gd name="T44" fmla="*/ 5 w 642"/>
                <a:gd name="T45" fmla="*/ 35 h 708"/>
                <a:gd name="T46" fmla="*/ 6 w 642"/>
                <a:gd name="T47" fmla="*/ 33 h 708"/>
                <a:gd name="T48" fmla="*/ 5 w 642"/>
                <a:gd name="T49" fmla="*/ 29 h 708"/>
                <a:gd name="T50" fmla="*/ 4 w 642"/>
                <a:gd name="T51" fmla="*/ 28 h 708"/>
                <a:gd name="T52" fmla="*/ 1 w 642"/>
                <a:gd name="T53" fmla="*/ 26 h 708"/>
                <a:gd name="T54" fmla="*/ 1 w 642"/>
                <a:gd name="T55" fmla="*/ 24 h 708"/>
                <a:gd name="T56" fmla="*/ 1 w 642"/>
                <a:gd name="T57" fmla="*/ 20 h 708"/>
                <a:gd name="T58" fmla="*/ 1 w 642"/>
                <a:gd name="T59" fmla="*/ 16 h 708"/>
                <a:gd name="T60" fmla="*/ 2 w 642"/>
                <a:gd name="T61" fmla="*/ 14 h 708"/>
                <a:gd name="T62" fmla="*/ 8 w 642"/>
                <a:gd name="T63" fmla="*/ 14 h 708"/>
                <a:gd name="T64" fmla="*/ 9 w 642"/>
                <a:gd name="T65" fmla="*/ 10 h 708"/>
                <a:gd name="T66" fmla="*/ 15 w 642"/>
                <a:gd name="T67" fmla="*/ 9 h 708"/>
                <a:gd name="T68" fmla="*/ 18 w 642"/>
                <a:gd name="T69" fmla="*/ 14 h 708"/>
                <a:gd name="T70" fmla="*/ 20 w 642"/>
                <a:gd name="T71" fmla="*/ 12 h 708"/>
                <a:gd name="T72" fmla="*/ 20 w 642"/>
                <a:gd name="T73" fmla="*/ 11 h 708"/>
                <a:gd name="T74" fmla="*/ 21 w 642"/>
                <a:gd name="T75" fmla="*/ 9 h 708"/>
                <a:gd name="T76" fmla="*/ 24 w 642"/>
                <a:gd name="T77" fmla="*/ 9 h 708"/>
                <a:gd name="T78" fmla="*/ 27 w 642"/>
                <a:gd name="T79" fmla="*/ 8 h 708"/>
                <a:gd name="T80" fmla="*/ 33 w 642"/>
                <a:gd name="T81" fmla="*/ 2 h 708"/>
                <a:gd name="T82" fmla="*/ 42 w 642"/>
                <a:gd name="T83" fmla="*/ 2 h 708"/>
                <a:gd name="T84" fmla="*/ 49 w 642"/>
                <a:gd name="T85" fmla="*/ 1 h 708"/>
                <a:gd name="T86" fmla="*/ 53 w 642"/>
                <a:gd name="T87" fmla="*/ 4 h 708"/>
                <a:gd name="T88" fmla="*/ 55 w 642"/>
                <a:gd name="T89" fmla="*/ 4 h 708"/>
                <a:gd name="T90" fmla="*/ 55 w 642"/>
                <a:gd name="T91" fmla="*/ 7 h 708"/>
                <a:gd name="T92" fmla="*/ 52 w 642"/>
                <a:gd name="T93" fmla="*/ 9 h 708"/>
                <a:gd name="T94" fmla="*/ 49 w 642"/>
                <a:gd name="T95" fmla="*/ 12 h 708"/>
                <a:gd name="T96" fmla="*/ 47 w 642"/>
                <a:gd name="T97" fmla="*/ 14 h 708"/>
                <a:gd name="T98" fmla="*/ 47 w 642"/>
                <a:gd name="T99" fmla="*/ 17 h 708"/>
                <a:gd name="T100" fmla="*/ 45 w 642"/>
                <a:gd name="T101" fmla="*/ 26 h 708"/>
                <a:gd name="T102" fmla="*/ 50 w 642"/>
                <a:gd name="T103" fmla="*/ 37 h 70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42"/>
                <a:gd name="T157" fmla="*/ 0 h 708"/>
                <a:gd name="T158" fmla="*/ 642 w 642"/>
                <a:gd name="T159" fmla="*/ 708 h 70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42" h="708">
                  <a:moveTo>
                    <a:pt x="576" y="468"/>
                  </a:moveTo>
                  <a:lnTo>
                    <a:pt x="564" y="468"/>
                  </a:lnTo>
                  <a:lnTo>
                    <a:pt x="516" y="468"/>
                  </a:lnTo>
                  <a:lnTo>
                    <a:pt x="498" y="474"/>
                  </a:lnTo>
                  <a:lnTo>
                    <a:pt x="492" y="468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68" y="474"/>
                  </a:lnTo>
                  <a:lnTo>
                    <a:pt x="456" y="468"/>
                  </a:lnTo>
                  <a:lnTo>
                    <a:pt x="444" y="474"/>
                  </a:lnTo>
                  <a:lnTo>
                    <a:pt x="438" y="492"/>
                  </a:lnTo>
                  <a:lnTo>
                    <a:pt x="438" y="504"/>
                  </a:lnTo>
                  <a:lnTo>
                    <a:pt x="432" y="516"/>
                  </a:lnTo>
                  <a:lnTo>
                    <a:pt x="432" y="528"/>
                  </a:lnTo>
                  <a:lnTo>
                    <a:pt x="432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52"/>
                  </a:lnTo>
                  <a:lnTo>
                    <a:pt x="432" y="558"/>
                  </a:lnTo>
                  <a:lnTo>
                    <a:pt x="438" y="564"/>
                  </a:lnTo>
                  <a:lnTo>
                    <a:pt x="444" y="564"/>
                  </a:lnTo>
                  <a:lnTo>
                    <a:pt x="438" y="564"/>
                  </a:lnTo>
                  <a:lnTo>
                    <a:pt x="438" y="570"/>
                  </a:lnTo>
                  <a:lnTo>
                    <a:pt x="432" y="570"/>
                  </a:lnTo>
                  <a:lnTo>
                    <a:pt x="432" y="576"/>
                  </a:lnTo>
                  <a:lnTo>
                    <a:pt x="426" y="588"/>
                  </a:lnTo>
                  <a:lnTo>
                    <a:pt x="420" y="594"/>
                  </a:lnTo>
                  <a:lnTo>
                    <a:pt x="420" y="600"/>
                  </a:lnTo>
                  <a:lnTo>
                    <a:pt x="414" y="600"/>
                  </a:lnTo>
                  <a:lnTo>
                    <a:pt x="414" y="606"/>
                  </a:lnTo>
                  <a:lnTo>
                    <a:pt x="408" y="606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396" y="612"/>
                  </a:lnTo>
                  <a:lnTo>
                    <a:pt x="390" y="612"/>
                  </a:lnTo>
                  <a:lnTo>
                    <a:pt x="390" y="618"/>
                  </a:lnTo>
                  <a:lnTo>
                    <a:pt x="384" y="618"/>
                  </a:lnTo>
                  <a:lnTo>
                    <a:pt x="378" y="618"/>
                  </a:lnTo>
                  <a:lnTo>
                    <a:pt x="378" y="624"/>
                  </a:lnTo>
                  <a:lnTo>
                    <a:pt x="384" y="630"/>
                  </a:lnTo>
                  <a:lnTo>
                    <a:pt x="384" y="636"/>
                  </a:lnTo>
                  <a:lnTo>
                    <a:pt x="378" y="630"/>
                  </a:lnTo>
                  <a:lnTo>
                    <a:pt x="372" y="636"/>
                  </a:lnTo>
                  <a:lnTo>
                    <a:pt x="372" y="642"/>
                  </a:lnTo>
                  <a:lnTo>
                    <a:pt x="366" y="642"/>
                  </a:lnTo>
                  <a:lnTo>
                    <a:pt x="360" y="654"/>
                  </a:lnTo>
                  <a:lnTo>
                    <a:pt x="354" y="666"/>
                  </a:lnTo>
                  <a:lnTo>
                    <a:pt x="354" y="672"/>
                  </a:lnTo>
                  <a:lnTo>
                    <a:pt x="354" y="678"/>
                  </a:lnTo>
                  <a:lnTo>
                    <a:pt x="354" y="684"/>
                  </a:lnTo>
                  <a:lnTo>
                    <a:pt x="348" y="678"/>
                  </a:lnTo>
                  <a:lnTo>
                    <a:pt x="324" y="678"/>
                  </a:lnTo>
                  <a:lnTo>
                    <a:pt x="306" y="678"/>
                  </a:lnTo>
                  <a:lnTo>
                    <a:pt x="294" y="678"/>
                  </a:lnTo>
                  <a:lnTo>
                    <a:pt x="288" y="684"/>
                  </a:lnTo>
                  <a:lnTo>
                    <a:pt x="276" y="690"/>
                  </a:lnTo>
                  <a:lnTo>
                    <a:pt x="270" y="696"/>
                  </a:lnTo>
                  <a:lnTo>
                    <a:pt x="264" y="696"/>
                  </a:lnTo>
                  <a:lnTo>
                    <a:pt x="258" y="696"/>
                  </a:lnTo>
                  <a:lnTo>
                    <a:pt x="252" y="696"/>
                  </a:lnTo>
                  <a:lnTo>
                    <a:pt x="252" y="690"/>
                  </a:lnTo>
                  <a:lnTo>
                    <a:pt x="246" y="690"/>
                  </a:lnTo>
                  <a:lnTo>
                    <a:pt x="234" y="690"/>
                  </a:lnTo>
                  <a:lnTo>
                    <a:pt x="222" y="696"/>
                  </a:lnTo>
                  <a:lnTo>
                    <a:pt x="216" y="708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8" y="690"/>
                  </a:lnTo>
                  <a:lnTo>
                    <a:pt x="198" y="684"/>
                  </a:lnTo>
                  <a:lnTo>
                    <a:pt x="198" y="678"/>
                  </a:lnTo>
                  <a:lnTo>
                    <a:pt x="198" y="672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74" y="648"/>
                  </a:lnTo>
                  <a:lnTo>
                    <a:pt x="162" y="642"/>
                  </a:lnTo>
                  <a:lnTo>
                    <a:pt x="156" y="636"/>
                  </a:lnTo>
                  <a:lnTo>
                    <a:pt x="132" y="642"/>
                  </a:lnTo>
                  <a:lnTo>
                    <a:pt x="120" y="654"/>
                  </a:lnTo>
                  <a:lnTo>
                    <a:pt x="108" y="660"/>
                  </a:lnTo>
                  <a:lnTo>
                    <a:pt x="102" y="666"/>
                  </a:lnTo>
                  <a:lnTo>
                    <a:pt x="84" y="666"/>
                  </a:lnTo>
                  <a:lnTo>
                    <a:pt x="84" y="630"/>
                  </a:lnTo>
                  <a:lnTo>
                    <a:pt x="78" y="594"/>
                  </a:lnTo>
                  <a:lnTo>
                    <a:pt x="66" y="594"/>
                  </a:lnTo>
                  <a:lnTo>
                    <a:pt x="60" y="594"/>
                  </a:lnTo>
                  <a:lnTo>
                    <a:pt x="48" y="600"/>
                  </a:lnTo>
                  <a:lnTo>
                    <a:pt x="36" y="606"/>
                  </a:lnTo>
                  <a:lnTo>
                    <a:pt x="24" y="612"/>
                  </a:lnTo>
                  <a:lnTo>
                    <a:pt x="18" y="612"/>
                  </a:lnTo>
                  <a:lnTo>
                    <a:pt x="12" y="606"/>
                  </a:lnTo>
                  <a:lnTo>
                    <a:pt x="12" y="600"/>
                  </a:lnTo>
                  <a:lnTo>
                    <a:pt x="12" y="594"/>
                  </a:lnTo>
                  <a:lnTo>
                    <a:pt x="12" y="588"/>
                  </a:lnTo>
                  <a:lnTo>
                    <a:pt x="12" y="582"/>
                  </a:lnTo>
                  <a:lnTo>
                    <a:pt x="12" y="576"/>
                  </a:lnTo>
                  <a:lnTo>
                    <a:pt x="18" y="552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42" y="534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48" y="492"/>
                  </a:lnTo>
                  <a:lnTo>
                    <a:pt x="48" y="480"/>
                  </a:lnTo>
                  <a:lnTo>
                    <a:pt x="54" y="468"/>
                  </a:lnTo>
                  <a:lnTo>
                    <a:pt x="48" y="456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66" y="390"/>
                  </a:lnTo>
                  <a:lnTo>
                    <a:pt x="72" y="384"/>
                  </a:lnTo>
                  <a:lnTo>
                    <a:pt x="72" y="378"/>
                  </a:lnTo>
                  <a:lnTo>
                    <a:pt x="66" y="378"/>
                  </a:lnTo>
                  <a:lnTo>
                    <a:pt x="66" y="366"/>
                  </a:lnTo>
                  <a:lnTo>
                    <a:pt x="60" y="360"/>
                  </a:lnTo>
                  <a:lnTo>
                    <a:pt x="66" y="354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48" y="312"/>
                  </a:lnTo>
                  <a:lnTo>
                    <a:pt x="30" y="312"/>
                  </a:lnTo>
                  <a:lnTo>
                    <a:pt x="24" y="306"/>
                  </a:lnTo>
                  <a:lnTo>
                    <a:pt x="18" y="306"/>
                  </a:lnTo>
                  <a:lnTo>
                    <a:pt x="12" y="294"/>
                  </a:lnTo>
                  <a:lnTo>
                    <a:pt x="12" y="282"/>
                  </a:lnTo>
                  <a:lnTo>
                    <a:pt x="6" y="276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12" y="270"/>
                  </a:lnTo>
                  <a:lnTo>
                    <a:pt x="12" y="246"/>
                  </a:lnTo>
                  <a:lnTo>
                    <a:pt x="12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8" y="174"/>
                  </a:lnTo>
                  <a:lnTo>
                    <a:pt x="12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48" y="162"/>
                  </a:lnTo>
                  <a:lnTo>
                    <a:pt x="72" y="162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84" y="132"/>
                  </a:lnTo>
                  <a:lnTo>
                    <a:pt x="90" y="120"/>
                  </a:lnTo>
                  <a:lnTo>
                    <a:pt x="108" y="114"/>
                  </a:lnTo>
                  <a:lnTo>
                    <a:pt x="114" y="102"/>
                  </a:lnTo>
                  <a:lnTo>
                    <a:pt x="120" y="90"/>
                  </a:lnTo>
                  <a:lnTo>
                    <a:pt x="138" y="90"/>
                  </a:lnTo>
                  <a:lnTo>
                    <a:pt x="138" y="102"/>
                  </a:lnTo>
                  <a:lnTo>
                    <a:pt x="168" y="108"/>
                  </a:lnTo>
                  <a:lnTo>
                    <a:pt x="168" y="114"/>
                  </a:lnTo>
                  <a:lnTo>
                    <a:pt x="174" y="126"/>
                  </a:lnTo>
                  <a:lnTo>
                    <a:pt x="186" y="150"/>
                  </a:lnTo>
                  <a:lnTo>
                    <a:pt x="186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34" y="144"/>
                  </a:lnTo>
                  <a:lnTo>
                    <a:pt x="240" y="138"/>
                  </a:lnTo>
                  <a:lnTo>
                    <a:pt x="240" y="126"/>
                  </a:lnTo>
                  <a:lnTo>
                    <a:pt x="234" y="126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34" y="102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82" y="102"/>
                  </a:lnTo>
                  <a:lnTo>
                    <a:pt x="288" y="102"/>
                  </a:lnTo>
                  <a:lnTo>
                    <a:pt x="294" y="102"/>
                  </a:lnTo>
                  <a:lnTo>
                    <a:pt x="300" y="96"/>
                  </a:lnTo>
                  <a:lnTo>
                    <a:pt x="306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84"/>
                  </a:lnTo>
                  <a:lnTo>
                    <a:pt x="324" y="18"/>
                  </a:lnTo>
                  <a:lnTo>
                    <a:pt x="360" y="18"/>
                  </a:lnTo>
                  <a:lnTo>
                    <a:pt x="378" y="18"/>
                  </a:lnTo>
                  <a:lnTo>
                    <a:pt x="378" y="30"/>
                  </a:lnTo>
                  <a:lnTo>
                    <a:pt x="390" y="30"/>
                  </a:lnTo>
                  <a:lnTo>
                    <a:pt x="432" y="30"/>
                  </a:lnTo>
                  <a:lnTo>
                    <a:pt x="456" y="24"/>
                  </a:lnTo>
                  <a:lnTo>
                    <a:pt x="480" y="24"/>
                  </a:lnTo>
                  <a:lnTo>
                    <a:pt x="498" y="30"/>
                  </a:lnTo>
                  <a:lnTo>
                    <a:pt x="522" y="18"/>
                  </a:lnTo>
                  <a:lnTo>
                    <a:pt x="528" y="0"/>
                  </a:lnTo>
                  <a:lnTo>
                    <a:pt x="558" y="6"/>
                  </a:lnTo>
                  <a:lnTo>
                    <a:pt x="558" y="12"/>
                  </a:lnTo>
                  <a:lnTo>
                    <a:pt x="570" y="18"/>
                  </a:lnTo>
                  <a:lnTo>
                    <a:pt x="576" y="24"/>
                  </a:lnTo>
                  <a:lnTo>
                    <a:pt x="588" y="36"/>
                  </a:lnTo>
                  <a:lnTo>
                    <a:pt x="594" y="48"/>
                  </a:lnTo>
                  <a:lnTo>
                    <a:pt x="606" y="48"/>
                  </a:lnTo>
                  <a:lnTo>
                    <a:pt x="606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42"/>
                  </a:lnTo>
                  <a:lnTo>
                    <a:pt x="636" y="42"/>
                  </a:lnTo>
                  <a:lnTo>
                    <a:pt x="636" y="48"/>
                  </a:lnTo>
                  <a:lnTo>
                    <a:pt x="642" y="54"/>
                  </a:lnTo>
                  <a:lnTo>
                    <a:pt x="636" y="60"/>
                  </a:lnTo>
                  <a:lnTo>
                    <a:pt x="636" y="66"/>
                  </a:lnTo>
                  <a:lnTo>
                    <a:pt x="636" y="78"/>
                  </a:lnTo>
                  <a:lnTo>
                    <a:pt x="624" y="84"/>
                  </a:lnTo>
                  <a:lnTo>
                    <a:pt x="618" y="90"/>
                  </a:lnTo>
                  <a:lnTo>
                    <a:pt x="612" y="90"/>
                  </a:lnTo>
                  <a:lnTo>
                    <a:pt x="600" y="102"/>
                  </a:lnTo>
                  <a:lnTo>
                    <a:pt x="594" y="108"/>
                  </a:lnTo>
                  <a:lnTo>
                    <a:pt x="582" y="114"/>
                  </a:lnTo>
                  <a:lnTo>
                    <a:pt x="570" y="132"/>
                  </a:lnTo>
                  <a:lnTo>
                    <a:pt x="564" y="132"/>
                  </a:lnTo>
                  <a:lnTo>
                    <a:pt x="564" y="138"/>
                  </a:lnTo>
                  <a:lnTo>
                    <a:pt x="558" y="144"/>
                  </a:lnTo>
                  <a:lnTo>
                    <a:pt x="558" y="150"/>
                  </a:lnTo>
                  <a:lnTo>
                    <a:pt x="552" y="150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0" y="162"/>
                  </a:lnTo>
                  <a:lnTo>
                    <a:pt x="534" y="168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6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28" y="234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16" y="294"/>
                  </a:lnTo>
                  <a:lnTo>
                    <a:pt x="516" y="312"/>
                  </a:lnTo>
                  <a:lnTo>
                    <a:pt x="528" y="318"/>
                  </a:lnTo>
                  <a:lnTo>
                    <a:pt x="540" y="360"/>
                  </a:lnTo>
                  <a:lnTo>
                    <a:pt x="558" y="408"/>
                  </a:lnTo>
                  <a:lnTo>
                    <a:pt x="570" y="426"/>
                  </a:lnTo>
                  <a:lnTo>
                    <a:pt x="576" y="432"/>
                  </a:lnTo>
                  <a:lnTo>
                    <a:pt x="576" y="438"/>
                  </a:lnTo>
                  <a:lnTo>
                    <a:pt x="576" y="444"/>
                  </a:lnTo>
                  <a:lnTo>
                    <a:pt x="576" y="46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3" name="Freeform 28">
              <a:extLst>
                <a:ext uri="{FF2B5EF4-FFF2-40B4-BE49-F238E27FC236}">
                  <a16:creationId xmlns:a16="http://schemas.microsoft.com/office/drawing/2014/main" id="{CF9B4F31-BF73-448E-83AA-188F6CF1BDC5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4879" y="3432583"/>
              <a:ext cx="324248" cy="270616"/>
            </a:xfrm>
            <a:custGeom>
              <a:avLst/>
              <a:gdLst>
                <a:gd name="T0" fmla="*/ 5 w 606"/>
                <a:gd name="T1" fmla="*/ 36 h 510"/>
                <a:gd name="T2" fmla="*/ 4 w 606"/>
                <a:gd name="T3" fmla="*/ 34 h 510"/>
                <a:gd name="T4" fmla="*/ 0 w 606"/>
                <a:gd name="T5" fmla="*/ 25 h 510"/>
                <a:gd name="T6" fmla="*/ 1 w 606"/>
                <a:gd name="T7" fmla="*/ 20 h 510"/>
                <a:gd name="T8" fmla="*/ 2 w 606"/>
                <a:gd name="T9" fmla="*/ 15 h 510"/>
                <a:gd name="T10" fmla="*/ 2 w 606"/>
                <a:gd name="T11" fmla="*/ 13 h 510"/>
                <a:gd name="T12" fmla="*/ 3 w 606"/>
                <a:gd name="T13" fmla="*/ 12 h 510"/>
                <a:gd name="T14" fmla="*/ 4 w 606"/>
                <a:gd name="T15" fmla="*/ 11 h 510"/>
                <a:gd name="T16" fmla="*/ 4 w 606"/>
                <a:gd name="T17" fmla="*/ 10 h 510"/>
                <a:gd name="T18" fmla="*/ 7 w 606"/>
                <a:gd name="T19" fmla="*/ 8 h 510"/>
                <a:gd name="T20" fmla="*/ 9 w 606"/>
                <a:gd name="T21" fmla="*/ 6 h 510"/>
                <a:gd name="T22" fmla="*/ 11 w 606"/>
                <a:gd name="T23" fmla="*/ 4 h 510"/>
                <a:gd name="T24" fmla="*/ 12 w 606"/>
                <a:gd name="T25" fmla="*/ 3 h 510"/>
                <a:gd name="T26" fmla="*/ 13 w 606"/>
                <a:gd name="T27" fmla="*/ 4 h 510"/>
                <a:gd name="T28" fmla="*/ 15 w 606"/>
                <a:gd name="T29" fmla="*/ 2 h 510"/>
                <a:gd name="T30" fmla="*/ 17 w 606"/>
                <a:gd name="T31" fmla="*/ 2 h 510"/>
                <a:gd name="T32" fmla="*/ 19 w 606"/>
                <a:gd name="T33" fmla="*/ 5 h 510"/>
                <a:gd name="T34" fmla="*/ 22 w 606"/>
                <a:gd name="T35" fmla="*/ 5 h 510"/>
                <a:gd name="T36" fmla="*/ 25 w 606"/>
                <a:gd name="T37" fmla="*/ 6 h 510"/>
                <a:gd name="T38" fmla="*/ 29 w 606"/>
                <a:gd name="T39" fmla="*/ 1 h 510"/>
                <a:gd name="T40" fmla="*/ 38 w 606"/>
                <a:gd name="T41" fmla="*/ 0 h 510"/>
                <a:gd name="T42" fmla="*/ 38 w 606"/>
                <a:gd name="T43" fmla="*/ 5 h 510"/>
                <a:gd name="T44" fmla="*/ 41 w 606"/>
                <a:gd name="T45" fmla="*/ 4 h 510"/>
                <a:gd name="T46" fmla="*/ 45 w 606"/>
                <a:gd name="T47" fmla="*/ 2 h 510"/>
                <a:gd name="T48" fmla="*/ 46 w 606"/>
                <a:gd name="T49" fmla="*/ 2 h 510"/>
                <a:gd name="T50" fmla="*/ 47 w 606"/>
                <a:gd name="T51" fmla="*/ 5 h 510"/>
                <a:gd name="T52" fmla="*/ 45 w 606"/>
                <a:gd name="T53" fmla="*/ 6 h 510"/>
                <a:gd name="T54" fmla="*/ 45 w 606"/>
                <a:gd name="T55" fmla="*/ 7 h 510"/>
                <a:gd name="T56" fmla="*/ 43 w 606"/>
                <a:gd name="T57" fmla="*/ 8 h 510"/>
                <a:gd name="T58" fmla="*/ 45 w 606"/>
                <a:gd name="T59" fmla="*/ 15 h 510"/>
                <a:gd name="T60" fmla="*/ 49 w 606"/>
                <a:gd name="T61" fmla="*/ 15 h 510"/>
                <a:gd name="T62" fmla="*/ 51 w 606"/>
                <a:gd name="T63" fmla="*/ 15 h 510"/>
                <a:gd name="T64" fmla="*/ 53 w 606"/>
                <a:gd name="T65" fmla="*/ 16 h 510"/>
                <a:gd name="T66" fmla="*/ 52 w 606"/>
                <a:gd name="T67" fmla="*/ 20 h 510"/>
                <a:gd name="T68" fmla="*/ 48 w 606"/>
                <a:gd name="T69" fmla="*/ 23 h 510"/>
                <a:gd name="T70" fmla="*/ 45 w 606"/>
                <a:gd name="T71" fmla="*/ 25 h 510"/>
                <a:gd name="T72" fmla="*/ 44 w 606"/>
                <a:gd name="T73" fmla="*/ 28 h 510"/>
                <a:gd name="T74" fmla="*/ 43 w 606"/>
                <a:gd name="T75" fmla="*/ 33 h 510"/>
                <a:gd name="T76" fmla="*/ 39 w 606"/>
                <a:gd name="T77" fmla="*/ 38 h 510"/>
                <a:gd name="T78" fmla="*/ 37 w 606"/>
                <a:gd name="T79" fmla="*/ 41 h 510"/>
                <a:gd name="T80" fmla="*/ 31 w 606"/>
                <a:gd name="T81" fmla="*/ 44 h 510"/>
                <a:gd name="T82" fmla="*/ 28 w 606"/>
                <a:gd name="T83" fmla="*/ 43 h 510"/>
                <a:gd name="T84" fmla="*/ 28 w 606"/>
                <a:gd name="T85" fmla="*/ 41 h 510"/>
                <a:gd name="T86" fmla="*/ 28 w 606"/>
                <a:gd name="T87" fmla="*/ 40 h 510"/>
                <a:gd name="T88" fmla="*/ 27 w 606"/>
                <a:gd name="T89" fmla="*/ 38 h 510"/>
                <a:gd name="T90" fmla="*/ 27 w 606"/>
                <a:gd name="T91" fmla="*/ 36 h 510"/>
                <a:gd name="T92" fmla="*/ 24 w 606"/>
                <a:gd name="T93" fmla="*/ 35 h 510"/>
                <a:gd name="T94" fmla="*/ 16 w 606"/>
                <a:gd name="T95" fmla="*/ 34 h 510"/>
                <a:gd name="T96" fmla="*/ 13 w 606"/>
                <a:gd name="T97" fmla="*/ 34 h 510"/>
                <a:gd name="T98" fmla="*/ 9 w 606"/>
                <a:gd name="T99" fmla="*/ 36 h 510"/>
                <a:gd name="T100" fmla="*/ 8 w 606"/>
                <a:gd name="T101" fmla="*/ 38 h 510"/>
                <a:gd name="T102" fmla="*/ 7 w 606"/>
                <a:gd name="T103" fmla="*/ 39 h 51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06"/>
                <a:gd name="T157" fmla="*/ 0 h 510"/>
                <a:gd name="T158" fmla="*/ 606 w 606"/>
                <a:gd name="T159" fmla="*/ 510 h 51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06" h="510">
                  <a:moveTo>
                    <a:pt x="60" y="450"/>
                  </a:move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42" y="390"/>
                  </a:lnTo>
                  <a:lnTo>
                    <a:pt x="24" y="342"/>
                  </a:lnTo>
                  <a:lnTo>
                    <a:pt x="12" y="300"/>
                  </a:lnTo>
                  <a:lnTo>
                    <a:pt x="0" y="294"/>
                  </a:lnTo>
                  <a:lnTo>
                    <a:pt x="0" y="276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24" y="192"/>
                  </a:lnTo>
                  <a:lnTo>
                    <a:pt x="24" y="180"/>
                  </a:lnTo>
                  <a:lnTo>
                    <a:pt x="24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6" y="96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108" y="66"/>
                  </a:lnTo>
                  <a:lnTo>
                    <a:pt x="120" y="60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36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62" y="36"/>
                  </a:lnTo>
                  <a:lnTo>
                    <a:pt x="162" y="30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0" y="54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46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76" y="66"/>
                  </a:lnTo>
                  <a:lnTo>
                    <a:pt x="312" y="66"/>
                  </a:lnTo>
                  <a:lnTo>
                    <a:pt x="318" y="60"/>
                  </a:lnTo>
                  <a:lnTo>
                    <a:pt x="330" y="12"/>
                  </a:lnTo>
                  <a:lnTo>
                    <a:pt x="414" y="6"/>
                  </a:lnTo>
                  <a:lnTo>
                    <a:pt x="420" y="0"/>
                  </a:lnTo>
                  <a:lnTo>
                    <a:pt x="426" y="6"/>
                  </a:lnTo>
                  <a:lnTo>
                    <a:pt x="426" y="12"/>
                  </a:lnTo>
                  <a:lnTo>
                    <a:pt x="426" y="54"/>
                  </a:lnTo>
                  <a:lnTo>
                    <a:pt x="432" y="54"/>
                  </a:lnTo>
                  <a:lnTo>
                    <a:pt x="444" y="54"/>
                  </a:lnTo>
                  <a:lnTo>
                    <a:pt x="450" y="42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86" y="24"/>
                  </a:lnTo>
                  <a:lnTo>
                    <a:pt x="504" y="18"/>
                  </a:lnTo>
                  <a:lnTo>
                    <a:pt x="510" y="12"/>
                  </a:lnTo>
                  <a:lnTo>
                    <a:pt x="516" y="18"/>
                  </a:lnTo>
                  <a:lnTo>
                    <a:pt x="522" y="24"/>
                  </a:lnTo>
                  <a:lnTo>
                    <a:pt x="510" y="30"/>
                  </a:lnTo>
                  <a:lnTo>
                    <a:pt x="516" y="48"/>
                  </a:lnTo>
                  <a:lnTo>
                    <a:pt x="528" y="54"/>
                  </a:lnTo>
                  <a:lnTo>
                    <a:pt x="522" y="60"/>
                  </a:lnTo>
                  <a:lnTo>
                    <a:pt x="516" y="66"/>
                  </a:lnTo>
                  <a:lnTo>
                    <a:pt x="516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0" y="84"/>
                  </a:lnTo>
                  <a:lnTo>
                    <a:pt x="510" y="90"/>
                  </a:lnTo>
                  <a:lnTo>
                    <a:pt x="504" y="90"/>
                  </a:lnTo>
                  <a:lnTo>
                    <a:pt x="486" y="90"/>
                  </a:lnTo>
                  <a:lnTo>
                    <a:pt x="492" y="138"/>
                  </a:lnTo>
                  <a:lnTo>
                    <a:pt x="498" y="168"/>
                  </a:lnTo>
                  <a:lnTo>
                    <a:pt x="516" y="168"/>
                  </a:lnTo>
                  <a:lnTo>
                    <a:pt x="528" y="174"/>
                  </a:lnTo>
                  <a:lnTo>
                    <a:pt x="534" y="168"/>
                  </a:lnTo>
                  <a:lnTo>
                    <a:pt x="558" y="174"/>
                  </a:lnTo>
                  <a:lnTo>
                    <a:pt x="564" y="168"/>
                  </a:lnTo>
                  <a:lnTo>
                    <a:pt x="570" y="168"/>
                  </a:lnTo>
                  <a:lnTo>
                    <a:pt x="576" y="174"/>
                  </a:lnTo>
                  <a:lnTo>
                    <a:pt x="588" y="168"/>
                  </a:lnTo>
                  <a:lnTo>
                    <a:pt x="594" y="168"/>
                  </a:lnTo>
                  <a:lnTo>
                    <a:pt x="594" y="186"/>
                  </a:lnTo>
                  <a:lnTo>
                    <a:pt x="606" y="198"/>
                  </a:lnTo>
                  <a:lnTo>
                    <a:pt x="600" y="210"/>
                  </a:lnTo>
                  <a:lnTo>
                    <a:pt x="588" y="234"/>
                  </a:lnTo>
                  <a:lnTo>
                    <a:pt x="564" y="246"/>
                  </a:lnTo>
                  <a:lnTo>
                    <a:pt x="546" y="258"/>
                  </a:lnTo>
                  <a:lnTo>
                    <a:pt x="540" y="270"/>
                  </a:lnTo>
                  <a:lnTo>
                    <a:pt x="534" y="294"/>
                  </a:lnTo>
                  <a:lnTo>
                    <a:pt x="528" y="300"/>
                  </a:lnTo>
                  <a:lnTo>
                    <a:pt x="516" y="294"/>
                  </a:lnTo>
                  <a:lnTo>
                    <a:pt x="510" y="300"/>
                  </a:lnTo>
                  <a:lnTo>
                    <a:pt x="498" y="318"/>
                  </a:lnTo>
                  <a:lnTo>
                    <a:pt x="492" y="324"/>
                  </a:lnTo>
                  <a:lnTo>
                    <a:pt x="486" y="336"/>
                  </a:lnTo>
                  <a:lnTo>
                    <a:pt x="486" y="354"/>
                  </a:lnTo>
                  <a:lnTo>
                    <a:pt x="486" y="384"/>
                  </a:lnTo>
                  <a:lnTo>
                    <a:pt x="474" y="408"/>
                  </a:lnTo>
                  <a:lnTo>
                    <a:pt x="450" y="426"/>
                  </a:lnTo>
                  <a:lnTo>
                    <a:pt x="444" y="444"/>
                  </a:lnTo>
                  <a:lnTo>
                    <a:pt x="426" y="474"/>
                  </a:lnTo>
                  <a:lnTo>
                    <a:pt x="420" y="486"/>
                  </a:lnTo>
                  <a:lnTo>
                    <a:pt x="414" y="486"/>
                  </a:lnTo>
                  <a:lnTo>
                    <a:pt x="414" y="498"/>
                  </a:lnTo>
                  <a:lnTo>
                    <a:pt x="378" y="504"/>
                  </a:lnTo>
                  <a:lnTo>
                    <a:pt x="348" y="510"/>
                  </a:lnTo>
                  <a:lnTo>
                    <a:pt x="330" y="510"/>
                  </a:lnTo>
                  <a:lnTo>
                    <a:pt x="324" y="504"/>
                  </a:lnTo>
                  <a:lnTo>
                    <a:pt x="318" y="504"/>
                  </a:lnTo>
                  <a:lnTo>
                    <a:pt x="312" y="504"/>
                  </a:lnTo>
                  <a:lnTo>
                    <a:pt x="312" y="498"/>
                  </a:lnTo>
                  <a:lnTo>
                    <a:pt x="312" y="486"/>
                  </a:lnTo>
                  <a:lnTo>
                    <a:pt x="312" y="480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56"/>
                  </a:lnTo>
                  <a:lnTo>
                    <a:pt x="312" y="450"/>
                  </a:lnTo>
                  <a:lnTo>
                    <a:pt x="306" y="444"/>
                  </a:lnTo>
                  <a:lnTo>
                    <a:pt x="306" y="438"/>
                  </a:lnTo>
                  <a:lnTo>
                    <a:pt x="300" y="426"/>
                  </a:lnTo>
                  <a:lnTo>
                    <a:pt x="300" y="420"/>
                  </a:lnTo>
                  <a:lnTo>
                    <a:pt x="294" y="414"/>
                  </a:lnTo>
                  <a:lnTo>
                    <a:pt x="294" y="408"/>
                  </a:lnTo>
                  <a:lnTo>
                    <a:pt x="270" y="408"/>
                  </a:lnTo>
                  <a:lnTo>
                    <a:pt x="246" y="408"/>
                  </a:lnTo>
                  <a:lnTo>
                    <a:pt x="222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56" y="402"/>
                  </a:lnTo>
                  <a:lnTo>
                    <a:pt x="144" y="396"/>
                  </a:lnTo>
                  <a:lnTo>
                    <a:pt x="126" y="396"/>
                  </a:lnTo>
                  <a:lnTo>
                    <a:pt x="108" y="408"/>
                  </a:lnTo>
                  <a:lnTo>
                    <a:pt x="102" y="414"/>
                  </a:lnTo>
                  <a:lnTo>
                    <a:pt x="102" y="420"/>
                  </a:lnTo>
                  <a:lnTo>
                    <a:pt x="96" y="426"/>
                  </a:lnTo>
                  <a:lnTo>
                    <a:pt x="96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78" y="450"/>
                  </a:lnTo>
                  <a:lnTo>
                    <a:pt x="60" y="45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4" name="Freeform 29">
              <a:extLst>
                <a:ext uri="{FF2B5EF4-FFF2-40B4-BE49-F238E27FC236}">
                  <a16:creationId xmlns:a16="http://schemas.microsoft.com/office/drawing/2014/main" id="{B6AC2B96-1504-4082-8778-17130FDA021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401" y="3537698"/>
              <a:ext cx="559048" cy="641876"/>
            </a:xfrm>
            <a:custGeom>
              <a:avLst/>
              <a:gdLst>
                <a:gd name="T0" fmla="*/ 39 w 1056"/>
                <a:gd name="T1" fmla="*/ 94 h 1206"/>
                <a:gd name="T2" fmla="*/ 35 w 1056"/>
                <a:gd name="T3" fmla="*/ 103 h 1206"/>
                <a:gd name="T4" fmla="*/ 29 w 1056"/>
                <a:gd name="T5" fmla="*/ 99 h 1206"/>
                <a:gd name="T6" fmla="*/ 23 w 1056"/>
                <a:gd name="T7" fmla="*/ 94 h 1206"/>
                <a:gd name="T8" fmla="*/ 21 w 1056"/>
                <a:gd name="T9" fmla="*/ 91 h 1206"/>
                <a:gd name="T10" fmla="*/ 18 w 1056"/>
                <a:gd name="T11" fmla="*/ 89 h 1206"/>
                <a:gd name="T12" fmla="*/ 15 w 1056"/>
                <a:gd name="T13" fmla="*/ 86 h 1206"/>
                <a:gd name="T14" fmla="*/ 11 w 1056"/>
                <a:gd name="T15" fmla="*/ 83 h 1206"/>
                <a:gd name="T16" fmla="*/ 8 w 1056"/>
                <a:gd name="T17" fmla="*/ 81 h 1206"/>
                <a:gd name="T18" fmla="*/ 6 w 1056"/>
                <a:gd name="T19" fmla="*/ 79 h 1206"/>
                <a:gd name="T20" fmla="*/ 13 w 1056"/>
                <a:gd name="T21" fmla="*/ 78 h 1206"/>
                <a:gd name="T22" fmla="*/ 8 w 1056"/>
                <a:gd name="T23" fmla="*/ 75 h 1206"/>
                <a:gd name="T24" fmla="*/ 13 w 1056"/>
                <a:gd name="T25" fmla="*/ 71 h 1206"/>
                <a:gd name="T26" fmla="*/ 10 w 1056"/>
                <a:gd name="T27" fmla="*/ 63 h 1206"/>
                <a:gd name="T28" fmla="*/ 6 w 1056"/>
                <a:gd name="T29" fmla="*/ 66 h 1206"/>
                <a:gd name="T30" fmla="*/ 1 w 1056"/>
                <a:gd name="T31" fmla="*/ 63 h 1206"/>
                <a:gd name="T32" fmla="*/ 1 w 1056"/>
                <a:gd name="T33" fmla="*/ 59 h 1206"/>
                <a:gd name="T34" fmla="*/ 3 w 1056"/>
                <a:gd name="T35" fmla="*/ 57 h 1206"/>
                <a:gd name="T36" fmla="*/ 6 w 1056"/>
                <a:gd name="T37" fmla="*/ 55 h 1206"/>
                <a:gd name="T38" fmla="*/ 10 w 1056"/>
                <a:gd name="T39" fmla="*/ 51 h 1206"/>
                <a:gd name="T40" fmla="*/ 11 w 1056"/>
                <a:gd name="T41" fmla="*/ 46 h 1206"/>
                <a:gd name="T42" fmla="*/ 14 w 1056"/>
                <a:gd name="T43" fmla="*/ 42 h 1206"/>
                <a:gd name="T44" fmla="*/ 15 w 1056"/>
                <a:gd name="T45" fmla="*/ 36 h 1206"/>
                <a:gd name="T46" fmla="*/ 17 w 1056"/>
                <a:gd name="T47" fmla="*/ 34 h 1206"/>
                <a:gd name="T48" fmla="*/ 20 w 1056"/>
                <a:gd name="T49" fmla="*/ 31 h 1206"/>
                <a:gd name="T50" fmla="*/ 21 w 1056"/>
                <a:gd name="T51" fmla="*/ 29 h 1206"/>
                <a:gd name="T52" fmla="*/ 23 w 1056"/>
                <a:gd name="T53" fmla="*/ 22 h 1206"/>
                <a:gd name="T54" fmla="*/ 35 w 1056"/>
                <a:gd name="T55" fmla="*/ 22 h 1206"/>
                <a:gd name="T56" fmla="*/ 41 w 1056"/>
                <a:gd name="T57" fmla="*/ 18 h 1206"/>
                <a:gd name="T58" fmla="*/ 54 w 1056"/>
                <a:gd name="T59" fmla="*/ 20 h 1206"/>
                <a:gd name="T60" fmla="*/ 54 w 1056"/>
                <a:gd name="T61" fmla="*/ 26 h 1206"/>
                <a:gd name="T62" fmla="*/ 64 w 1056"/>
                <a:gd name="T63" fmla="*/ 25 h 1206"/>
                <a:gd name="T64" fmla="*/ 71 w 1056"/>
                <a:gd name="T65" fmla="*/ 10 h 1206"/>
                <a:gd name="T66" fmla="*/ 80 w 1056"/>
                <a:gd name="T67" fmla="*/ 1 h 1206"/>
                <a:gd name="T68" fmla="*/ 86 w 1056"/>
                <a:gd name="T69" fmla="*/ 2 h 1206"/>
                <a:gd name="T70" fmla="*/ 91 w 1056"/>
                <a:gd name="T71" fmla="*/ 13 h 1206"/>
                <a:gd name="T72" fmla="*/ 88 w 1056"/>
                <a:gd name="T73" fmla="*/ 17 h 1206"/>
                <a:gd name="T74" fmla="*/ 89 w 1056"/>
                <a:gd name="T75" fmla="*/ 21 h 1206"/>
                <a:gd name="T76" fmla="*/ 86 w 1056"/>
                <a:gd name="T77" fmla="*/ 25 h 1206"/>
                <a:gd name="T78" fmla="*/ 85 w 1056"/>
                <a:gd name="T79" fmla="*/ 31 h 1206"/>
                <a:gd name="T80" fmla="*/ 83 w 1056"/>
                <a:gd name="T81" fmla="*/ 36 h 1206"/>
                <a:gd name="T82" fmla="*/ 80 w 1056"/>
                <a:gd name="T83" fmla="*/ 42 h 1206"/>
                <a:gd name="T84" fmla="*/ 80 w 1056"/>
                <a:gd name="T85" fmla="*/ 47 h 1206"/>
                <a:gd name="T86" fmla="*/ 77 w 1056"/>
                <a:gd name="T87" fmla="*/ 55 h 1206"/>
                <a:gd name="T88" fmla="*/ 75 w 1056"/>
                <a:gd name="T89" fmla="*/ 57 h 1206"/>
                <a:gd name="T90" fmla="*/ 66 w 1056"/>
                <a:gd name="T91" fmla="*/ 57 h 1206"/>
                <a:gd name="T92" fmla="*/ 66 w 1056"/>
                <a:gd name="T93" fmla="*/ 51 h 1206"/>
                <a:gd name="T94" fmla="*/ 48 w 1056"/>
                <a:gd name="T95" fmla="*/ 50 h 1206"/>
                <a:gd name="T96" fmla="*/ 46 w 1056"/>
                <a:gd name="T97" fmla="*/ 55 h 1206"/>
                <a:gd name="T98" fmla="*/ 42 w 1056"/>
                <a:gd name="T99" fmla="*/ 59 h 1206"/>
                <a:gd name="T100" fmla="*/ 41 w 1056"/>
                <a:gd name="T101" fmla="*/ 62 h 1206"/>
                <a:gd name="T102" fmla="*/ 43 w 1056"/>
                <a:gd name="T103" fmla="*/ 67 h 1206"/>
                <a:gd name="T104" fmla="*/ 42 w 1056"/>
                <a:gd name="T105" fmla="*/ 72 h 1206"/>
                <a:gd name="T106" fmla="*/ 39 w 1056"/>
                <a:gd name="T107" fmla="*/ 77 h 1206"/>
                <a:gd name="T108" fmla="*/ 36 w 1056"/>
                <a:gd name="T109" fmla="*/ 80 h 1206"/>
                <a:gd name="T110" fmla="*/ 37 w 1056"/>
                <a:gd name="T111" fmla="*/ 83 h 1206"/>
                <a:gd name="T112" fmla="*/ 40 w 1056"/>
                <a:gd name="T113" fmla="*/ 87 h 1206"/>
                <a:gd name="T114" fmla="*/ 42 w 1056"/>
                <a:gd name="T115" fmla="*/ 89 h 12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56"/>
                <a:gd name="T175" fmla="*/ 0 h 1206"/>
                <a:gd name="T176" fmla="*/ 1056 w 1056"/>
                <a:gd name="T177" fmla="*/ 1206 h 12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56" h="1206">
                  <a:moveTo>
                    <a:pt x="492" y="1032"/>
                  </a:moveTo>
                  <a:lnTo>
                    <a:pt x="486" y="1038"/>
                  </a:lnTo>
                  <a:lnTo>
                    <a:pt x="486" y="1044"/>
                  </a:lnTo>
                  <a:lnTo>
                    <a:pt x="480" y="1044"/>
                  </a:lnTo>
                  <a:lnTo>
                    <a:pt x="474" y="1056"/>
                  </a:lnTo>
                  <a:lnTo>
                    <a:pt x="462" y="1068"/>
                  </a:lnTo>
                  <a:lnTo>
                    <a:pt x="456" y="1080"/>
                  </a:lnTo>
                  <a:lnTo>
                    <a:pt x="450" y="1080"/>
                  </a:lnTo>
                  <a:lnTo>
                    <a:pt x="450" y="1086"/>
                  </a:lnTo>
                  <a:lnTo>
                    <a:pt x="450" y="1092"/>
                  </a:lnTo>
                  <a:lnTo>
                    <a:pt x="444" y="1104"/>
                  </a:lnTo>
                  <a:lnTo>
                    <a:pt x="444" y="1116"/>
                  </a:lnTo>
                  <a:lnTo>
                    <a:pt x="438" y="1128"/>
                  </a:lnTo>
                  <a:lnTo>
                    <a:pt x="432" y="1134"/>
                  </a:lnTo>
                  <a:lnTo>
                    <a:pt x="432" y="1140"/>
                  </a:lnTo>
                  <a:lnTo>
                    <a:pt x="420" y="1152"/>
                  </a:lnTo>
                  <a:lnTo>
                    <a:pt x="420" y="1158"/>
                  </a:lnTo>
                  <a:lnTo>
                    <a:pt x="408" y="1182"/>
                  </a:lnTo>
                  <a:lnTo>
                    <a:pt x="396" y="1194"/>
                  </a:lnTo>
                  <a:lnTo>
                    <a:pt x="390" y="1206"/>
                  </a:lnTo>
                  <a:lnTo>
                    <a:pt x="390" y="1200"/>
                  </a:lnTo>
                  <a:lnTo>
                    <a:pt x="384" y="1194"/>
                  </a:lnTo>
                  <a:lnTo>
                    <a:pt x="378" y="1188"/>
                  </a:lnTo>
                  <a:lnTo>
                    <a:pt x="366" y="1176"/>
                  </a:lnTo>
                  <a:lnTo>
                    <a:pt x="366" y="1170"/>
                  </a:lnTo>
                  <a:lnTo>
                    <a:pt x="348" y="1152"/>
                  </a:lnTo>
                  <a:lnTo>
                    <a:pt x="336" y="1140"/>
                  </a:lnTo>
                  <a:lnTo>
                    <a:pt x="330" y="1134"/>
                  </a:lnTo>
                  <a:lnTo>
                    <a:pt x="324" y="1128"/>
                  </a:lnTo>
                  <a:lnTo>
                    <a:pt x="318" y="1122"/>
                  </a:lnTo>
                  <a:lnTo>
                    <a:pt x="312" y="1116"/>
                  </a:lnTo>
                  <a:lnTo>
                    <a:pt x="306" y="1110"/>
                  </a:lnTo>
                  <a:lnTo>
                    <a:pt x="300" y="1104"/>
                  </a:lnTo>
                  <a:lnTo>
                    <a:pt x="294" y="1098"/>
                  </a:lnTo>
                  <a:lnTo>
                    <a:pt x="276" y="1080"/>
                  </a:lnTo>
                  <a:lnTo>
                    <a:pt x="270" y="1080"/>
                  </a:lnTo>
                  <a:lnTo>
                    <a:pt x="270" y="1074"/>
                  </a:lnTo>
                  <a:lnTo>
                    <a:pt x="264" y="1068"/>
                  </a:lnTo>
                  <a:lnTo>
                    <a:pt x="258" y="1062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40" y="1050"/>
                  </a:lnTo>
                  <a:lnTo>
                    <a:pt x="234" y="1044"/>
                  </a:lnTo>
                  <a:lnTo>
                    <a:pt x="228" y="1044"/>
                  </a:lnTo>
                  <a:lnTo>
                    <a:pt x="222" y="1038"/>
                  </a:lnTo>
                  <a:lnTo>
                    <a:pt x="222" y="1032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6"/>
                  </a:lnTo>
                  <a:lnTo>
                    <a:pt x="204" y="1020"/>
                  </a:lnTo>
                  <a:lnTo>
                    <a:pt x="204" y="1014"/>
                  </a:lnTo>
                  <a:lnTo>
                    <a:pt x="198" y="1014"/>
                  </a:lnTo>
                  <a:lnTo>
                    <a:pt x="192" y="1014"/>
                  </a:lnTo>
                  <a:lnTo>
                    <a:pt x="192" y="1008"/>
                  </a:lnTo>
                  <a:lnTo>
                    <a:pt x="186" y="1008"/>
                  </a:lnTo>
                  <a:lnTo>
                    <a:pt x="186" y="1002"/>
                  </a:lnTo>
                  <a:lnTo>
                    <a:pt x="180" y="1002"/>
                  </a:lnTo>
                  <a:lnTo>
                    <a:pt x="174" y="996"/>
                  </a:lnTo>
                  <a:lnTo>
                    <a:pt x="168" y="996"/>
                  </a:lnTo>
                  <a:lnTo>
                    <a:pt x="168" y="990"/>
                  </a:lnTo>
                  <a:lnTo>
                    <a:pt x="162" y="990"/>
                  </a:lnTo>
                  <a:lnTo>
                    <a:pt x="162" y="984"/>
                  </a:lnTo>
                  <a:lnTo>
                    <a:pt x="150" y="978"/>
                  </a:lnTo>
                  <a:lnTo>
                    <a:pt x="144" y="972"/>
                  </a:lnTo>
                  <a:lnTo>
                    <a:pt x="138" y="972"/>
                  </a:lnTo>
                  <a:lnTo>
                    <a:pt x="138" y="966"/>
                  </a:lnTo>
                  <a:lnTo>
                    <a:pt x="132" y="966"/>
                  </a:lnTo>
                  <a:lnTo>
                    <a:pt x="126" y="960"/>
                  </a:lnTo>
                  <a:lnTo>
                    <a:pt x="126" y="954"/>
                  </a:lnTo>
                  <a:lnTo>
                    <a:pt x="120" y="954"/>
                  </a:lnTo>
                  <a:lnTo>
                    <a:pt x="114" y="948"/>
                  </a:lnTo>
                  <a:lnTo>
                    <a:pt x="108" y="948"/>
                  </a:lnTo>
                  <a:lnTo>
                    <a:pt x="108" y="942"/>
                  </a:lnTo>
                  <a:lnTo>
                    <a:pt x="102" y="942"/>
                  </a:lnTo>
                  <a:lnTo>
                    <a:pt x="96" y="942"/>
                  </a:lnTo>
                  <a:lnTo>
                    <a:pt x="96" y="936"/>
                  </a:lnTo>
                  <a:lnTo>
                    <a:pt x="90" y="936"/>
                  </a:lnTo>
                  <a:lnTo>
                    <a:pt x="90" y="930"/>
                  </a:lnTo>
                  <a:lnTo>
                    <a:pt x="84" y="930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18"/>
                  </a:lnTo>
                  <a:lnTo>
                    <a:pt x="66" y="918"/>
                  </a:lnTo>
                  <a:lnTo>
                    <a:pt x="66" y="912"/>
                  </a:lnTo>
                  <a:lnTo>
                    <a:pt x="66" y="906"/>
                  </a:lnTo>
                  <a:lnTo>
                    <a:pt x="72" y="906"/>
                  </a:lnTo>
                  <a:lnTo>
                    <a:pt x="84" y="906"/>
                  </a:lnTo>
                  <a:lnTo>
                    <a:pt x="90" y="906"/>
                  </a:lnTo>
                  <a:lnTo>
                    <a:pt x="120" y="930"/>
                  </a:lnTo>
                  <a:lnTo>
                    <a:pt x="126" y="936"/>
                  </a:lnTo>
                  <a:lnTo>
                    <a:pt x="138" y="936"/>
                  </a:lnTo>
                  <a:lnTo>
                    <a:pt x="138" y="930"/>
                  </a:lnTo>
                  <a:lnTo>
                    <a:pt x="144" y="930"/>
                  </a:lnTo>
                  <a:lnTo>
                    <a:pt x="144" y="924"/>
                  </a:lnTo>
                  <a:lnTo>
                    <a:pt x="150" y="900"/>
                  </a:lnTo>
                  <a:lnTo>
                    <a:pt x="138" y="894"/>
                  </a:lnTo>
                  <a:lnTo>
                    <a:pt x="126" y="894"/>
                  </a:lnTo>
                  <a:lnTo>
                    <a:pt x="108" y="888"/>
                  </a:lnTo>
                  <a:lnTo>
                    <a:pt x="84" y="882"/>
                  </a:lnTo>
                  <a:lnTo>
                    <a:pt x="72" y="882"/>
                  </a:lnTo>
                  <a:lnTo>
                    <a:pt x="72" y="876"/>
                  </a:lnTo>
                  <a:lnTo>
                    <a:pt x="78" y="870"/>
                  </a:lnTo>
                  <a:lnTo>
                    <a:pt x="90" y="870"/>
                  </a:lnTo>
                  <a:lnTo>
                    <a:pt x="96" y="870"/>
                  </a:lnTo>
                  <a:lnTo>
                    <a:pt x="102" y="870"/>
                  </a:lnTo>
                  <a:lnTo>
                    <a:pt x="114" y="870"/>
                  </a:lnTo>
                  <a:lnTo>
                    <a:pt x="120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34"/>
                  </a:lnTo>
                  <a:lnTo>
                    <a:pt x="132" y="828"/>
                  </a:lnTo>
                  <a:lnTo>
                    <a:pt x="132" y="816"/>
                  </a:lnTo>
                  <a:lnTo>
                    <a:pt x="150" y="816"/>
                  </a:lnTo>
                  <a:lnTo>
                    <a:pt x="150" y="804"/>
                  </a:lnTo>
                  <a:lnTo>
                    <a:pt x="144" y="798"/>
                  </a:lnTo>
                  <a:lnTo>
                    <a:pt x="156" y="762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32"/>
                  </a:lnTo>
                  <a:lnTo>
                    <a:pt x="144" y="726"/>
                  </a:lnTo>
                  <a:lnTo>
                    <a:pt x="132" y="726"/>
                  </a:lnTo>
                  <a:lnTo>
                    <a:pt x="120" y="732"/>
                  </a:lnTo>
                  <a:lnTo>
                    <a:pt x="114" y="744"/>
                  </a:lnTo>
                  <a:lnTo>
                    <a:pt x="108" y="750"/>
                  </a:lnTo>
                  <a:lnTo>
                    <a:pt x="96" y="768"/>
                  </a:lnTo>
                  <a:lnTo>
                    <a:pt x="96" y="774"/>
                  </a:lnTo>
                  <a:lnTo>
                    <a:pt x="90" y="780"/>
                  </a:lnTo>
                  <a:lnTo>
                    <a:pt x="84" y="804"/>
                  </a:lnTo>
                  <a:lnTo>
                    <a:pt x="72" y="774"/>
                  </a:lnTo>
                  <a:lnTo>
                    <a:pt x="72" y="768"/>
                  </a:lnTo>
                  <a:lnTo>
                    <a:pt x="66" y="762"/>
                  </a:lnTo>
                  <a:lnTo>
                    <a:pt x="60" y="750"/>
                  </a:lnTo>
                  <a:lnTo>
                    <a:pt x="54" y="750"/>
                  </a:lnTo>
                  <a:lnTo>
                    <a:pt x="48" y="750"/>
                  </a:lnTo>
                  <a:lnTo>
                    <a:pt x="42" y="750"/>
                  </a:lnTo>
                  <a:lnTo>
                    <a:pt x="30" y="744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12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2" y="702"/>
                  </a:lnTo>
                  <a:lnTo>
                    <a:pt x="18" y="696"/>
                  </a:lnTo>
                  <a:lnTo>
                    <a:pt x="12" y="690"/>
                  </a:lnTo>
                  <a:lnTo>
                    <a:pt x="12" y="684"/>
                  </a:lnTo>
                  <a:lnTo>
                    <a:pt x="12" y="678"/>
                  </a:lnTo>
                  <a:lnTo>
                    <a:pt x="12" y="672"/>
                  </a:lnTo>
                  <a:lnTo>
                    <a:pt x="18" y="672"/>
                  </a:lnTo>
                  <a:lnTo>
                    <a:pt x="18" y="666"/>
                  </a:lnTo>
                  <a:lnTo>
                    <a:pt x="24" y="666"/>
                  </a:lnTo>
                  <a:lnTo>
                    <a:pt x="24" y="660"/>
                  </a:lnTo>
                  <a:lnTo>
                    <a:pt x="30" y="660"/>
                  </a:lnTo>
                  <a:lnTo>
                    <a:pt x="30" y="654"/>
                  </a:lnTo>
                  <a:lnTo>
                    <a:pt x="36" y="654"/>
                  </a:lnTo>
                  <a:lnTo>
                    <a:pt x="36" y="648"/>
                  </a:lnTo>
                  <a:lnTo>
                    <a:pt x="42" y="648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60" y="630"/>
                  </a:lnTo>
                  <a:lnTo>
                    <a:pt x="66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78" y="624"/>
                  </a:lnTo>
                  <a:lnTo>
                    <a:pt x="84" y="618"/>
                  </a:lnTo>
                  <a:lnTo>
                    <a:pt x="84" y="612"/>
                  </a:lnTo>
                  <a:lnTo>
                    <a:pt x="90" y="612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20" y="588"/>
                  </a:lnTo>
                  <a:lnTo>
                    <a:pt x="120" y="582"/>
                  </a:lnTo>
                  <a:lnTo>
                    <a:pt x="120" y="576"/>
                  </a:lnTo>
                  <a:lnTo>
                    <a:pt x="120" y="570"/>
                  </a:lnTo>
                  <a:lnTo>
                    <a:pt x="126" y="564"/>
                  </a:lnTo>
                  <a:lnTo>
                    <a:pt x="126" y="558"/>
                  </a:lnTo>
                  <a:lnTo>
                    <a:pt x="126" y="552"/>
                  </a:lnTo>
                  <a:lnTo>
                    <a:pt x="126" y="546"/>
                  </a:lnTo>
                  <a:lnTo>
                    <a:pt x="126" y="534"/>
                  </a:lnTo>
                  <a:lnTo>
                    <a:pt x="126" y="516"/>
                  </a:lnTo>
                  <a:lnTo>
                    <a:pt x="126" y="510"/>
                  </a:lnTo>
                  <a:lnTo>
                    <a:pt x="126" y="504"/>
                  </a:lnTo>
                  <a:lnTo>
                    <a:pt x="126" y="498"/>
                  </a:lnTo>
                  <a:lnTo>
                    <a:pt x="132" y="498"/>
                  </a:lnTo>
                  <a:lnTo>
                    <a:pt x="132" y="492"/>
                  </a:lnTo>
                  <a:lnTo>
                    <a:pt x="138" y="492"/>
                  </a:lnTo>
                  <a:lnTo>
                    <a:pt x="144" y="486"/>
                  </a:lnTo>
                  <a:lnTo>
                    <a:pt x="156" y="480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6" y="462"/>
                  </a:lnTo>
                  <a:lnTo>
                    <a:pt x="156" y="456"/>
                  </a:lnTo>
                  <a:lnTo>
                    <a:pt x="156" y="450"/>
                  </a:lnTo>
                  <a:lnTo>
                    <a:pt x="162" y="438"/>
                  </a:lnTo>
                  <a:lnTo>
                    <a:pt x="168" y="426"/>
                  </a:lnTo>
                  <a:lnTo>
                    <a:pt x="174" y="426"/>
                  </a:lnTo>
                  <a:lnTo>
                    <a:pt x="174" y="420"/>
                  </a:lnTo>
                  <a:lnTo>
                    <a:pt x="180" y="414"/>
                  </a:lnTo>
                  <a:lnTo>
                    <a:pt x="186" y="420"/>
                  </a:lnTo>
                  <a:lnTo>
                    <a:pt x="186" y="414"/>
                  </a:lnTo>
                  <a:lnTo>
                    <a:pt x="180" y="408"/>
                  </a:lnTo>
                  <a:lnTo>
                    <a:pt x="180" y="402"/>
                  </a:lnTo>
                  <a:lnTo>
                    <a:pt x="186" y="402"/>
                  </a:lnTo>
                  <a:lnTo>
                    <a:pt x="192" y="402"/>
                  </a:lnTo>
                  <a:lnTo>
                    <a:pt x="192" y="396"/>
                  </a:lnTo>
                  <a:lnTo>
                    <a:pt x="198" y="396"/>
                  </a:lnTo>
                  <a:lnTo>
                    <a:pt x="204" y="396"/>
                  </a:lnTo>
                  <a:lnTo>
                    <a:pt x="210" y="396"/>
                  </a:lnTo>
                  <a:lnTo>
                    <a:pt x="210" y="390"/>
                  </a:lnTo>
                  <a:lnTo>
                    <a:pt x="216" y="390"/>
                  </a:lnTo>
                  <a:lnTo>
                    <a:pt x="216" y="384"/>
                  </a:lnTo>
                  <a:lnTo>
                    <a:pt x="222" y="384"/>
                  </a:lnTo>
                  <a:lnTo>
                    <a:pt x="222" y="378"/>
                  </a:lnTo>
                  <a:lnTo>
                    <a:pt x="228" y="372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0" y="348"/>
                  </a:lnTo>
                  <a:lnTo>
                    <a:pt x="234" y="342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46" y="330"/>
                  </a:lnTo>
                  <a:lnTo>
                    <a:pt x="246" y="324"/>
                  </a:lnTo>
                  <a:lnTo>
                    <a:pt x="234" y="318"/>
                  </a:lnTo>
                  <a:lnTo>
                    <a:pt x="234" y="312"/>
                  </a:lnTo>
                  <a:lnTo>
                    <a:pt x="234" y="300"/>
                  </a:lnTo>
                  <a:lnTo>
                    <a:pt x="240" y="288"/>
                  </a:lnTo>
                  <a:lnTo>
                    <a:pt x="240" y="276"/>
                  </a:lnTo>
                  <a:lnTo>
                    <a:pt x="246" y="258"/>
                  </a:lnTo>
                  <a:lnTo>
                    <a:pt x="258" y="252"/>
                  </a:lnTo>
                  <a:lnTo>
                    <a:pt x="270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294" y="252"/>
                  </a:lnTo>
                  <a:lnTo>
                    <a:pt x="300" y="258"/>
                  </a:lnTo>
                  <a:lnTo>
                    <a:pt x="318" y="252"/>
                  </a:lnTo>
                  <a:lnTo>
                    <a:pt x="366" y="252"/>
                  </a:lnTo>
                  <a:lnTo>
                    <a:pt x="378" y="252"/>
                  </a:lnTo>
                  <a:lnTo>
                    <a:pt x="396" y="252"/>
                  </a:lnTo>
                  <a:lnTo>
                    <a:pt x="408" y="252"/>
                  </a:lnTo>
                  <a:lnTo>
                    <a:pt x="408" y="246"/>
                  </a:lnTo>
                  <a:lnTo>
                    <a:pt x="414" y="240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20" y="216"/>
                  </a:lnTo>
                  <a:lnTo>
                    <a:pt x="426" y="210"/>
                  </a:lnTo>
                  <a:lnTo>
                    <a:pt x="444" y="198"/>
                  </a:lnTo>
                  <a:lnTo>
                    <a:pt x="462" y="198"/>
                  </a:lnTo>
                  <a:lnTo>
                    <a:pt x="474" y="204"/>
                  </a:lnTo>
                  <a:lnTo>
                    <a:pt x="498" y="198"/>
                  </a:lnTo>
                  <a:lnTo>
                    <a:pt x="498" y="204"/>
                  </a:lnTo>
                  <a:lnTo>
                    <a:pt x="540" y="210"/>
                  </a:lnTo>
                  <a:lnTo>
                    <a:pt x="564" y="210"/>
                  </a:lnTo>
                  <a:lnTo>
                    <a:pt x="588" y="210"/>
                  </a:lnTo>
                  <a:lnTo>
                    <a:pt x="612" y="210"/>
                  </a:lnTo>
                  <a:lnTo>
                    <a:pt x="612" y="216"/>
                  </a:lnTo>
                  <a:lnTo>
                    <a:pt x="618" y="222"/>
                  </a:lnTo>
                  <a:lnTo>
                    <a:pt x="618" y="228"/>
                  </a:lnTo>
                  <a:lnTo>
                    <a:pt x="624" y="240"/>
                  </a:lnTo>
                  <a:lnTo>
                    <a:pt x="624" y="246"/>
                  </a:lnTo>
                  <a:lnTo>
                    <a:pt x="630" y="252"/>
                  </a:lnTo>
                  <a:lnTo>
                    <a:pt x="630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0" y="282"/>
                  </a:lnTo>
                  <a:lnTo>
                    <a:pt x="630" y="288"/>
                  </a:lnTo>
                  <a:lnTo>
                    <a:pt x="630" y="300"/>
                  </a:lnTo>
                  <a:lnTo>
                    <a:pt x="630" y="306"/>
                  </a:lnTo>
                  <a:lnTo>
                    <a:pt x="636" y="306"/>
                  </a:lnTo>
                  <a:lnTo>
                    <a:pt x="642" y="306"/>
                  </a:lnTo>
                  <a:lnTo>
                    <a:pt x="648" y="312"/>
                  </a:lnTo>
                  <a:lnTo>
                    <a:pt x="666" y="312"/>
                  </a:lnTo>
                  <a:lnTo>
                    <a:pt x="696" y="306"/>
                  </a:lnTo>
                  <a:lnTo>
                    <a:pt x="732" y="300"/>
                  </a:lnTo>
                  <a:lnTo>
                    <a:pt x="732" y="288"/>
                  </a:lnTo>
                  <a:lnTo>
                    <a:pt x="738" y="288"/>
                  </a:lnTo>
                  <a:lnTo>
                    <a:pt x="744" y="276"/>
                  </a:lnTo>
                  <a:lnTo>
                    <a:pt x="762" y="246"/>
                  </a:lnTo>
                  <a:lnTo>
                    <a:pt x="768" y="228"/>
                  </a:lnTo>
                  <a:lnTo>
                    <a:pt x="792" y="210"/>
                  </a:lnTo>
                  <a:lnTo>
                    <a:pt x="804" y="186"/>
                  </a:lnTo>
                  <a:lnTo>
                    <a:pt x="804" y="156"/>
                  </a:lnTo>
                  <a:lnTo>
                    <a:pt x="804" y="138"/>
                  </a:lnTo>
                  <a:lnTo>
                    <a:pt x="810" y="126"/>
                  </a:lnTo>
                  <a:lnTo>
                    <a:pt x="816" y="120"/>
                  </a:lnTo>
                  <a:lnTo>
                    <a:pt x="828" y="102"/>
                  </a:lnTo>
                  <a:lnTo>
                    <a:pt x="834" y="96"/>
                  </a:lnTo>
                  <a:lnTo>
                    <a:pt x="846" y="102"/>
                  </a:lnTo>
                  <a:lnTo>
                    <a:pt x="852" y="96"/>
                  </a:lnTo>
                  <a:lnTo>
                    <a:pt x="858" y="72"/>
                  </a:lnTo>
                  <a:lnTo>
                    <a:pt x="864" y="60"/>
                  </a:lnTo>
                  <a:lnTo>
                    <a:pt x="882" y="48"/>
                  </a:lnTo>
                  <a:lnTo>
                    <a:pt x="906" y="36"/>
                  </a:lnTo>
                  <a:lnTo>
                    <a:pt x="918" y="12"/>
                  </a:lnTo>
                  <a:lnTo>
                    <a:pt x="924" y="0"/>
                  </a:lnTo>
                  <a:lnTo>
                    <a:pt x="930" y="6"/>
                  </a:lnTo>
                  <a:lnTo>
                    <a:pt x="942" y="12"/>
                  </a:lnTo>
                  <a:lnTo>
                    <a:pt x="948" y="12"/>
                  </a:lnTo>
                  <a:lnTo>
                    <a:pt x="954" y="18"/>
                  </a:lnTo>
                  <a:lnTo>
                    <a:pt x="966" y="18"/>
                  </a:lnTo>
                  <a:lnTo>
                    <a:pt x="972" y="18"/>
                  </a:lnTo>
                  <a:lnTo>
                    <a:pt x="984" y="18"/>
                  </a:lnTo>
                  <a:lnTo>
                    <a:pt x="990" y="18"/>
                  </a:lnTo>
                  <a:lnTo>
                    <a:pt x="1002" y="48"/>
                  </a:lnTo>
                  <a:lnTo>
                    <a:pt x="1008" y="78"/>
                  </a:lnTo>
                  <a:lnTo>
                    <a:pt x="1020" y="78"/>
                  </a:lnTo>
                  <a:lnTo>
                    <a:pt x="1020" y="90"/>
                  </a:lnTo>
                  <a:lnTo>
                    <a:pt x="1026" y="102"/>
                  </a:lnTo>
                  <a:lnTo>
                    <a:pt x="1044" y="120"/>
                  </a:lnTo>
                  <a:lnTo>
                    <a:pt x="1044" y="132"/>
                  </a:lnTo>
                  <a:lnTo>
                    <a:pt x="1056" y="150"/>
                  </a:lnTo>
                  <a:lnTo>
                    <a:pt x="1050" y="150"/>
                  </a:lnTo>
                  <a:lnTo>
                    <a:pt x="1044" y="156"/>
                  </a:lnTo>
                  <a:lnTo>
                    <a:pt x="1044" y="162"/>
                  </a:lnTo>
                  <a:lnTo>
                    <a:pt x="1038" y="162"/>
                  </a:lnTo>
                  <a:lnTo>
                    <a:pt x="1032" y="162"/>
                  </a:lnTo>
                  <a:lnTo>
                    <a:pt x="1026" y="168"/>
                  </a:lnTo>
                  <a:lnTo>
                    <a:pt x="1014" y="174"/>
                  </a:lnTo>
                  <a:lnTo>
                    <a:pt x="1014" y="186"/>
                  </a:lnTo>
                  <a:lnTo>
                    <a:pt x="1014" y="192"/>
                  </a:lnTo>
                  <a:lnTo>
                    <a:pt x="1014" y="198"/>
                  </a:lnTo>
                  <a:lnTo>
                    <a:pt x="1020" y="204"/>
                  </a:lnTo>
                  <a:lnTo>
                    <a:pt x="1026" y="204"/>
                  </a:lnTo>
                  <a:lnTo>
                    <a:pt x="1032" y="204"/>
                  </a:lnTo>
                  <a:lnTo>
                    <a:pt x="1032" y="210"/>
                  </a:lnTo>
                  <a:lnTo>
                    <a:pt x="1038" y="210"/>
                  </a:lnTo>
                  <a:lnTo>
                    <a:pt x="1032" y="216"/>
                  </a:lnTo>
                  <a:lnTo>
                    <a:pt x="1026" y="228"/>
                  </a:lnTo>
                  <a:lnTo>
                    <a:pt x="1026" y="234"/>
                  </a:lnTo>
                  <a:lnTo>
                    <a:pt x="1032" y="240"/>
                  </a:lnTo>
                  <a:lnTo>
                    <a:pt x="1032" y="246"/>
                  </a:lnTo>
                  <a:lnTo>
                    <a:pt x="1032" y="252"/>
                  </a:lnTo>
                  <a:lnTo>
                    <a:pt x="1032" y="258"/>
                  </a:lnTo>
                  <a:lnTo>
                    <a:pt x="1038" y="264"/>
                  </a:lnTo>
                  <a:lnTo>
                    <a:pt x="1032" y="276"/>
                  </a:lnTo>
                  <a:lnTo>
                    <a:pt x="1026" y="276"/>
                  </a:lnTo>
                  <a:lnTo>
                    <a:pt x="1020" y="276"/>
                  </a:lnTo>
                  <a:lnTo>
                    <a:pt x="996" y="282"/>
                  </a:lnTo>
                  <a:lnTo>
                    <a:pt x="996" y="288"/>
                  </a:lnTo>
                  <a:lnTo>
                    <a:pt x="996" y="294"/>
                  </a:lnTo>
                  <a:lnTo>
                    <a:pt x="996" y="300"/>
                  </a:lnTo>
                  <a:lnTo>
                    <a:pt x="996" y="306"/>
                  </a:lnTo>
                  <a:lnTo>
                    <a:pt x="984" y="324"/>
                  </a:lnTo>
                  <a:lnTo>
                    <a:pt x="984" y="330"/>
                  </a:lnTo>
                  <a:lnTo>
                    <a:pt x="984" y="336"/>
                  </a:lnTo>
                  <a:lnTo>
                    <a:pt x="978" y="336"/>
                  </a:lnTo>
                  <a:lnTo>
                    <a:pt x="978" y="342"/>
                  </a:lnTo>
                  <a:lnTo>
                    <a:pt x="984" y="360"/>
                  </a:lnTo>
                  <a:lnTo>
                    <a:pt x="978" y="366"/>
                  </a:lnTo>
                  <a:lnTo>
                    <a:pt x="978" y="372"/>
                  </a:lnTo>
                  <a:lnTo>
                    <a:pt x="972" y="372"/>
                  </a:lnTo>
                  <a:lnTo>
                    <a:pt x="972" y="378"/>
                  </a:lnTo>
                  <a:lnTo>
                    <a:pt x="972" y="384"/>
                  </a:lnTo>
                  <a:lnTo>
                    <a:pt x="972" y="390"/>
                  </a:lnTo>
                  <a:lnTo>
                    <a:pt x="966" y="402"/>
                  </a:lnTo>
                  <a:lnTo>
                    <a:pt x="960" y="414"/>
                  </a:lnTo>
                  <a:lnTo>
                    <a:pt x="954" y="420"/>
                  </a:lnTo>
                  <a:lnTo>
                    <a:pt x="948" y="426"/>
                  </a:lnTo>
                  <a:lnTo>
                    <a:pt x="948" y="438"/>
                  </a:lnTo>
                  <a:lnTo>
                    <a:pt x="942" y="444"/>
                  </a:lnTo>
                  <a:lnTo>
                    <a:pt x="936" y="450"/>
                  </a:lnTo>
                  <a:lnTo>
                    <a:pt x="930" y="456"/>
                  </a:lnTo>
                  <a:lnTo>
                    <a:pt x="924" y="462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18" y="522"/>
                  </a:lnTo>
                  <a:lnTo>
                    <a:pt x="918" y="528"/>
                  </a:lnTo>
                  <a:lnTo>
                    <a:pt x="924" y="534"/>
                  </a:lnTo>
                  <a:lnTo>
                    <a:pt x="924" y="540"/>
                  </a:lnTo>
                  <a:lnTo>
                    <a:pt x="924" y="546"/>
                  </a:lnTo>
                  <a:lnTo>
                    <a:pt x="918" y="546"/>
                  </a:lnTo>
                  <a:lnTo>
                    <a:pt x="918" y="552"/>
                  </a:lnTo>
                  <a:lnTo>
                    <a:pt x="912" y="546"/>
                  </a:lnTo>
                  <a:lnTo>
                    <a:pt x="912" y="552"/>
                  </a:lnTo>
                  <a:lnTo>
                    <a:pt x="912" y="570"/>
                  </a:lnTo>
                  <a:lnTo>
                    <a:pt x="906" y="588"/>
                  </a:lnTo>
                  <a:lnTo>
                    <a:pt x="900" y="606"/>
                  </a:lnTo>
                  <a:lnTo>
                    <a:pt x="906" y="624"/>
                  </a:lnTo>
                  <a:lnTo>
                    <a:pt x="900" y="624"/>
                  </a:lnTo>
                  <a:lnTo>
                    <a:pt x="894" y="630"/>
                  </a:lnTo>
                  <a:lnTo>
                    <a:pt x="888" y="630"/>
                  </a:lnTo>
                  <a:lnTo>
                    <a:pt x="882" y="630"/>
                  </a:lnTo>
                  <a:lnTo>
                    <a:pt x="882" y="636"/>
                  </a:lnTo>
                  <a:lnTo>
                    <a:pt x="876" y="642"/>
                  </a:lnTo>
                  <a:lnTo>
                    <a:pt x="870" y="642"/>
                  </a:lnTo>
                  <a:lnTo>
                    <a:pt x="870" y="648"/>
                  </a:lnTo>
                  <a:lnTo>
                    <a:pt x="870" y="654"/>
                  </a:lnTo>
                  <a:lnTo>
                    <a:pt x="864" y="654"/>
                  </a:lnTo>
                  <a:lnTo>
                    <a:pt x="864" y="660"/>
                  </a:lnTo>
                  <a:lnTo>
                    <a:pt x="846" y="666"/>
                  </a:lnTo>
                  <a:lnTo>
                    <a:pt x="828" y="672"/>
                  </a:lnTo>
                  <a:lnTo>
                    <a:pt x="816" y="660"/>
                  </a:lnTo>
                  <a:lnTo>
                    <a:pt x="810" y="660"/>
                  </a:lnTo>
                  <a:lnTo>
                    <a:pt x="798" y="666"/>
                  </a:lnTo>
                  <a:lnTo>
                    <a:pt x="786" y="666"/>
                  </a:lnTo>
                  <a:lnTo>
                    <a:pt x="780" y="672"/>
                  </a:lnTo>
                  <a:lnTo>
                    <a:pt x="768" y="678"/>
                  </a:lnTo>
                  <a:lnTo>
                    <a:pt x="762" y="660"/>
                  </a:lnTo>
                  <a:lnTo>
                    <a:pt x="762" y="654"/>
                  </a:lnTo>
                  <a:lnTo>
                    <a:pt x="756" y="636"/>
                  </a:lnTo>
                  <a:lnTo>
                    <a:pt x="762" y="624"/>
                  </a:lnTo>
                  <a:lnTo>
                    <a:pt x="756" y="606"/>
                  </a:lnTo>
                  <a:lnTo>
                    <a:pt x="756" y="600"/>
                  </a:lnTo>
                  <a:lnTo>
                    <a:pt x="762" y="594"/>
                  </a:lnTo>
                  <a:lnTo>
                    <a:pt x="768" y="600"/>
                  </a:lnTo>
                  <a:lnTo>
                    <a:pt x="768" y="594"/>
                  </a:lnTo>
                  <a:lnTo>
                    <a:pt x="768" y="588"/>
                  </a:lnTo>
                  <a:lnTo>
                    <a:pt x="774" y="582"/>
                  </a:lnTo>
                  <a:lnTo>
                    <a:pt x="768" y="576"/>
                  </a:lnTo>
                  <a:lnTo>
                    <a:pt x="762" y="576"/>
                  </a:lnTo>
                  <a:lnTo>
                    <a:pt x="756" y="576"/>
                  </a:lnTo>
                  <a:lnTo>
                    <a:pt x="690" y="576"/>
                  </a:lnTo>
                  <a:lnTo>
                    <a:pt x="624" y="570"/>
                  </a:lnTo>
                  <a:lnTo>
                    <a:pt x="600" y="564"/>
                  </a:lnTo>
                  <a:lnTo>
                    <a:pt x="576" y="564"/>
                  </a:lnTo>
                  <a:lnTo>
                    <a:pt x="558" y="570"/>
                  </a:lnTo>
                  <a:lnTo>
                    <a:pt x="552" y="576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46" y="594"/>
                  </a:lnTo>
                  <a:lnTo>
                    <a:pt x="546" y="600"/>
                  </a:lnTo>
                  <a:lnTo>
                    <a:pt x="540" y="606"/>
                  </a:lnTo>
                  <a:lnTo>
                    <a:pt x="534" y="618"/>
                  </a:lnTo>
                  <a:lnTo>
                    <a:pt x="534" y="624"/>
                  </a:lnTo>
                  <a:lnTo>
                    <a:pt x="534" y="630"/>
                  </a:lnTo>
                  <a:lnTo>
                    <a:pt x="534" y="636"/>
                  </a:lnTo>
                  <a:lnTo>
                    <a:pt x="528" y="636"/>
                  </a:lnTo>
                  <a:lnTo>
                    <a:pt x="516" y="642"/>
                  </a:lnTo>
                  <a:lnTo>
                    <a:pt x="516" y="648"/>
                  </a:lnTo>
                  <a:lnTo>
                    <a:pt x="510" y="648"/>
                  </a:lnTo>
                  <a:lnTo>
                    <a:pt x="504" y="654"/>
                  </a:lnTo>
                  <a:lnTo>
                    <a:pt x="492" y="666"/>
                  </a:lnTo>
                  <a:lnTo>
                    <a:pt x="492" y="672"/>
                  </a:lnTo>
                  <a:lnTo>
                    <a:pt x="492" y="684"/>
                  </a:lnTo>
                  <a:lnTo>
                    <a:pt x="486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92" y="702"/>
                  </a:lnTo>
                  <a:lnTo>
                    <a:pt x="486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74" y="720"/>
                  </a:lnTo>
                  <a:lnTo>
                    <a:pt x="480" y="726"/>
                  </a:lnTo>
                  <a:lnTo>
                    <a:pt x="474" y="726"/>
                  </a:lnTo>
                  <a:lnTo>
                    <a:pt x="474" y="738"/>
                  </a:lnTo>
                  <a:lnTo>
                    <a:pt x="474" y="744"/>
                  </a:lnTo>
                  <a:lnTo>
                    <a:pt x="474" y="750"/>
                  </a:lnTo>
                  <a:lnTo>
                    <a:pt x="480" y="750"/>
                  </a:lnTo>
                  <a:lnTo>
                    <a:pt x="480" y="756"/>
                  </a:lnTo>
                  <a:lnTo>
                    <a:pt x="492" y="762"/>
                  </a:lnTo>
                  <a:lnTo>
                    <a:pt x="498" y="774"/>
                  </a:lnTo>
                  <a:lnTo>
                    <a:pt x="498" y="780"/>
                  </a:lnTo>
                  <a:lnTo>
                    <a:pt x="504" y="786"/>
                  </a:lnTo>
                  <a:lnTo>
                    <a:pt x="510" y="792"/>
                  </a:lnTo>
                  <a:lnTo>
                    <a:pt x="504" y="798"/>
                  </a:lnTo>
                  <a:lnTo>
                    <a:pt x="504" y="804"/>
                  </a:lnTo>
                  <a:lnTo>
                    <a:pt x="504" y="810"/>
                  </a:lnTo>
                  <a:lnTo>
                    <a:pt x="498" y="822"/>
                  </a:lnTo>
                  <a:lnTo>
                    <a:pt x="492" y="828"/>
                  </a:lnTo>
                  <a:lnTo>
                    <a:pt x="492" y="834"/>
                  </a:lnTo>
                  <a:lnTo>
                    <a:pt x="486" y="840"/>
                  </a:lnTo>
                  <a:lnTo>
                    <a:pt x="480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74" y="858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876"/>
                  </a:lnTo>
                  <a:lnTo>
                    <a:pt x="456" y="894"/>
                  </a:lnTo>
                  <a:lnTo>
                    <a:pt x="450" y="894"/>
                  </a:lnTo>
                  <a:lnTo>
                    <a:pt x="444" y="900"/>
                  </a:lnTo>
                  <a:lnTo>
                    <a:pt x="444" y="894"/>
                  </a:lnTo>
                  <a:lnTo>
                    <a:pt x="438" y="894"/>
                  </a:lnTo>
                  <a:lnTo>
                    <a:pt x="432" y="900"/>
                  </a:lnTo>
                  <a:lnTo>
                    <a:pt x="432" y="906"/>
                  </a:lnTo>
                  <a:lnTo>
                    <a:pt x="420" y="906"/>
                  </a:lnTo>
                  <a:lnTo>
                    <a:pt x="420" y="912"/>
                  </a:lnTo>
                  <a:lnTo>
                    <a:pt x="420" y="918"/>
                  </a:lnTo>
                  <a:lnTo>
                    <a:pt x="426" y="918"/>
                  </a:lnTo>
                  <a:lnTo>
                    <a:pt x="426" y="924"/>
                  </a:lnTo>
                  <a:lnTo>
                    <a:pt x="426" y="930"/>
                  </a:lnTo>
                  <a:lnTo>
                    <a:pt x="420" y="930"/>
                  </a:lnTo>
                  <a:lnTo>
                    <a:pt x="414" y="936"/>
                  </a:lnTo>
                  <a:lnTo>
                    <a:pt x="414" y="942"/>
                  </a:lnTo>
                  <a:lnTo>
                    <a:pt x="414" y="948"/>
                  </a:lnTo>
                  <a:lnTo>
                    <a:pt x="414" y="954"/>
                  </a:lnTo>
                  <a:lnTo>
                    <a:pt x="426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44" y="972"/>
                  </a:lnTo>
                  <a:lnTo>
                    <a:pt x="444" y="978"/>
                  </a:lnTo>
                  <a:lnTo>
                    <a:pt x="450" y="978"/>
                  </a:lnTo>
                  <a:lnTo>
                    <a:pt x="450" y="984"/>
                  </a:lnTo>
                  <a:lnTo>
                    <a:pt x="456" y="990"/>
                  </a:lnTo>
                  <a:lnTo>
                    <a:pt x="456" y="996"/>
                  </a:lnTo>
                  <a:lnTo>
                    <a:pt x="462" y="1008"/>
                  </a:lnTo>
                  <a:lnTo>
                    <a:pt x="468" y="1008"/>
                  </a:lnTo>
                  <a:lnTo>
                    <a:pt x="468" y="1002"/>
                  </a:lnTo>
                  <a:lnTo>
                    <a:pt x="474" y="1008"/>
                  </a:lnTo>
                  <a:lnTo>
                    <a:pt x="480" y="1002"/>
                  </a:lnTo>
                  <a:lnTo>
                    <a:pt x="486" y="1008"/>
                  </a:lnTo>
                  <a:lnTo>
                    <a:pt x="486" y="1014"/>
                  </a:lnTo>
                  <a:lnTo>
                    <a:pt x="492" y="1014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86" y="1026"/>
                  </a:lnTo>
                  <a:lnTo>
                    <a:pt x="492" y="1026"/>
                  </a:lnTo>
                  <a:lnTo>
                    <a:pt x="486" y="1026"/>
                  </a:lnTo>
                  <a:lnTo>
                    <a:pt x="492" y="103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5" name="Freeform 30">
              <a:extLst>
                <a:ext uri="{FF2B5EF4-FFF2-40B4-BE49-F238E27FC236}">
                  <a16:creationId xmlns:a16="http://schemas.microsoft.com/office/drawing/2014/main" id="{85C7B827-0C1A-4D72-AEBD-F01CFE7EC12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3645" y="3904484"/>
              <a:ext cx="559048" cy="111825"/>
            </a:xfrm>
            <a:custGeom>
              <a:avLst/>
              <a:gdLst>
                <a:gd name="T0" fmla="*/ 69 w 1056"/>
                <a:gd name="T1" fmla="*/ 7 h 210"/>
                <a:gd name="T2" fmla="*/ 63 w 1056"/>
                <a:gd name="T3" fmla="*/ 5 h 210"/>
                <a:gd name="T4" fmla="*/ 57 w 1056"/>
                <a:gd name="T5" fmla="*/ 5 h 210"/>
                <a:gd name="T6" fmla="*/ 54 w 1056"/>
                <a:gd name="T7" fmla="*/ 6 h 210"/>
                <a:gd name="T8" fmla="*/ 51 w 1056"/>
                <a:gd name="T9" fmla="*/ 7 h 210"/>
                <a:gd name="T10" fmla="*/ 46 w 1056"/>
                <a:gd name="T11" fmla="*/ 9 h 210"/>
                <a:gd name="T12" fmla="*/ 42 w 1056"/>
                <a:gd name="T13" fmla="*/ 8 h 210"/>
                <a:gd name="T14" fmla="*/ 42 w 1056"/>
                <a:gd name="T15" fmla="*/ 5 h 210"/>
                <a:gd name="T16" fmla="*/ 41 w 1056"/>
                <a:gd name="T17" fmla="*/ 7 h 210"/>
                <a:gd name="T18" fmla="*/ 38 w 1056"/>
                <a:gd name="T19" fmla="*/ 10 h 210"/>
                <a:gd name="T20" fmla="*/ 37 w 1056"/>
                <a:gd name="T21" fmla="*/ 12 h 210"/>
                <a:gd name="T22" fmla="*/ 37 w 1056"/>
                <a:gd name="T23" fmla="*/ 15 h 210"/>
                <a:gd name="T24" fmla="*/ 37 w 1056"/>
                <a:gd name="T25" fmla="*/ 16 h 210"/>
                <a:gd name="T26" fmla="*/ 38 w 1056"/>
                <a:gd name="T27" fmla="*/ 16 h 210"/>
                <a:gd name="T28" fmla="*/ 34 w 1056"/>
                <a:gd name="T29" fmla="*/ 16 h 210"/>
                <a:gd name="T30" fmla="*/ 26 w 1056"/>
                <a:gd name="T31" fmla="*/ 16 h 210"/>
                <a:gd name="T32" fmla="*/ 20 w 1056"/>
                <a:gd name="T33" fmla="*/ 17 h 210"/>
                <a:gd name="T34" fmla="*/ 13 w 1056"/>
                <a:gd name="T35" fmla="*/ 17 h 210"/>
                <a:gd name="T36" fmla="*/ 6 w 1056"/>
                <a:gd name="T37" fmla="*/ 17 h 210"/>
                <a:gd name="T38" fmla="*/ 1 w 1056"/>
                <a:gd name="T39" fmla="*/ 18 h 210"/>
                <a:gd name="T40" fmla="*/ 3 w 1056"/>
                <a:gd name="T41" fmla="*/ 14 h 210"/>
                <a:gd name="T42" fmla="*/ 8 w 1056"/>
                <a:gd name="T43" fmla="*/ 15 h 210"/>
                <a:gd name="T44" fmla="*/ 11 w 1056"/>
                <a:gd name="T45" fmla="*/ 12 h 210"/>
                <a:gd name="T46" fmla="*/ 26 w 1056"/>
                <a:gd name="T47" fmla="*/ 10 h 210"/>
                <a:gd name="T48" fmla="*/ 29 w 1056"/>
                <a:gd name="T49" fmla="*/ 5 h 210"/>
                <a:gd name="T50" fmla="*/ 34 w 1056"/>
                <a:gd name="T51" fmla="*/ 1 h 210"/>
                <a:gd name="T52" fmla="*/ 41 w 1056"/>
                <a:gd name="T53" fmla="*/ 3 h 210"/>
                <a:gd name="T54" fmla="*/ 73 w 1056"/>
                <a:gd name="T55" fmla="*/ 1 h 210"/>
                <a:gd name="T56" fmla="*/ 75 w 1056"/>
                <a:gd name="T57" fmla="*/ 4 h 210"/>
                <a:gd name="T58" fmla="*/ 85 w 1056"/>
                <a:gd name="T59" fmla="*/ 15 h 210"/>
                <a:gd name="T60" fmla="*/ 91 w 1056"/>
                <a:gd name="T61" fmla="*/ 18 h 210"/>
                <a:gd name="T62" fmla="*/ 85 w 1056"/>
                <a:gd name="T63" fmla="*/ 18 h 210"/>
                <a:gd name="T64" fmla="*/ 79 w 1056"/>
                <a:gd name="T65" fmla="*/ 16 h 210"/>
                <a:gd name="T66" fmla="*/ 74 w 1056"/>
                <a:gd name="T67" fmla="*/ 16 h 210"/>
                <a:gd name="T68" fmla="*/ 69 w 1056"/>
                <a:gd name="T69" fmla="*/ 15 h 210"/>
                <a:gd name="T70" fmla="*/ 65 w 1056"/>
                <a:gd name="T71" fmla="*/ 14 h 210"/>
                <a:gd name="T72" fmla="*/ 59 w 1056"/>
                <a:gd name="T73" fmla="*/ 15 h 210"/>
                <a:gd name="T74" fmla="*/ 54 w 1056"/>
                <a:gd name="T75" fmla="*/ 15 h 210"/>
                <a:gd name="T76" fmla="*/ 49 w 1056"/>
                <a:gd name="T77" fmla="*/ 15 h 210"/>
                <a:gd name="T78" fmla="*/ 42 w 1056"/>
                <a:gd name="T79" fmla="*/ 15 h 210"/>
                <a:gd name="T80" fmla="*/ 38 w 1056"/>
                <a:gd name="T81" fmla="*/ 16 h 210"/>
                <a:gd name="T82" fmla="*/ 41 w 1056"/>
                <a:gd name="T83" fmla="*/ 14 h 210"/>
                <a:gd name="T84" fmla="*/ 42 w 1056"/>
                <a:gd name="T85" fmla="*/ 13 h 210"/>
                <a:gd name="T86" fmla="*/ 45 w 1056"/>
                <a:gd name="T87" fmla="*/ 13 h 210"/>
                <a:gd name="T88" fmla="*/ 48 w 1056"/>
                <a:gd name="T89" fmla="*/ 12 h 210"/>
                <a:gd name="T90" fmla="*/ 51 w 1056"/>
                <a:gd name="T91" fmla="*/ 11 h 210"/>
                <a:gd name="T92" fmla="*/ 54 w 1056"/>
                <a:gd name="T93" fmla="*/ 9 h 210"/>
                <a:gd name="T94" fmla="*/ 57 w 1056"/>
                <a:gd name="T95" fmla="*/ 8 h 210"/>
                <a:gd name="T96" fmla="*/ 60 w 1056"/>
                <a:gd name="T97" fmla="*/ 5 h 210"/>
                <a:gd name="T98" fmla="*/ 65 w 1056"/>
                <a:gd name="T99" fmla="*/ 5 h 210"/>
                <a:gd name="T100" fmla="*/ 72 w 1056"/>
                <a:gd name="T101" fmla="*/ 7 h 210"/>
                <a:gd name="T102" fmla="*/ 77 w 1056"/>
                <a:gd name="T103" fmla="*/ 11 h 210"/>
                <a:gd name="T104" fmla="*/ 69 w 1056"/>
                <a:gd name="T105" fmla="*/ 10 h 210"/>
                <a:gd name="T106" fmla="*/ 72 w 1056"/>
                <a:gd name="T107" fmla="*/ 12 h 210"/>
                <a:gd name="T108" fmla="*/ 78 w 1056"/>
                <a:gd name="T109" fmla="*/ 15 h 210"/>
                <a:gd name="T110" fmla="*/ 84 w 1056"/>
                <a:gd name="T111" fmla="*/ 14 h 210"/>
                <a:gd name="T112" fmla="*/ 84 w 1056"/>
                <a:gd name="T113" fmla="*/ 14 h 210"/>
                <a:gd name="T114" fmla="*/ 78 w 1056"/>
                <a:gd name="T115" fmla="*/ 13 h 210"/>
                <a:gd name="T116" fmla="*/ 76 w 1056"/>
                <a:gd name="T117" fmla="*/ 14 h 210"/>
                <a:gd name="T118" fmla="*/ 38 w 1056"/>
                <a:gd name="T119" fmla="*/ 12 h 210"/>
                <a:gd name="T120" fmla="*/ 41 w 1056"/>
                <a:gd name="T121" fmla="*/ 12 h 210"/>
                <a:gd name="T122" fmla="*/ 40 w 1056"/>
                <a:gd name="T123" fmla="*/ 14 h 2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6"/>
                <a:gd name="T187" fmla="*/ 0 h 210"/>
                <a:gd name="T188" fmla="*/ 1056 w 1056"/>
                <a:gd name="T189" fmla="*/ 210 h 21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6" h="210">
                  <a:moveTo>
                    <a:pt x="870" y="90"/>
                  </a:moveTo>
                  <a:lnTo>
                    <a:pt x="864" y="90"/>
                  </a:lnTo>
                  <a:lnTo>
                    <a:pt x="852" y="84"/>
                  </a:lnTo>
                  <a:lnTo>
                    <a:pt x="846" y="84"/>
                  </a:lnTo>
                  <a:lnTo>
                    <a:pt x="846" y="78"/>
                  </a:lnTo>
                  <a:lnTo>
                    <a:pt x="840" y="78"/>
                  </a:lnTo>
                  <a:lnTo>
                    <a:pt x="834" y="78"/>
                  </a:lnTo>
                  <a:lnTo>
                    <a:pt x="834" y="72"/>
                  </a:lnTo>
                  <a:lnTo>
                    <a:pt x="804" y="78"/>
                  </a:lnTo>
                  <a:lnTo>
                    <a:pt x="798" y="78"/>
                  </a:lnTo>
                  <a:lnTo>
                    <a:pt x="792" y="72"/>
                  </a:lnTo>
                  <a:lnTo>
                    <a:pt x="780" y="60"/>
                  </a:lnTo>
                  <a:lnTo>
                    <a:pt x="768" y="54"/>
                  </a:lnTo>
                  <a:lnTo>
                    <a:pt x="756" y="54"/>
                  </a:lnTo>
                  <a:lnTo>
                    <a:pt x="750" y="54"/>
                  </a:lnTo>
                  <a:lnTo>
                    <a:pt x="750" y="48"/>
                  </a:lnTo>
                  <a:lnTo>
                    <a:pt x="744" y="48"/>
                  </a:lnTo>
                  <a:lnTo>
                    <a:pt x="738" y="48"/>
                  </a:lnTo>
                  <a:lnTo>
                    <a:pt x="732" y="48"/>
                  </a:lnTo>
                  <a:lnTo>
                    <a:pt x="732" y="54"/>
                  </a:lnTo>
                  <a:lnTo>
                    <a:pt x="726" y="48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48"/>
                  </a:lnTo>
                  <a:lnTo>
                    <a:pt x="702" y="48"/>
                  </a:lnTo>
                  <a:lnTo>
                    <a:pt x="696" y="48"/>
                  </a:lnTo>
                  <a:lnTo>
                    <a:pt x="684" y="48"/>
                  </a:lnTo>
                  <a:lnTo>
                    <a:pt x="678" y="48"/>
                  </a:lnTo>
                  <a:lnTo>
                    <a:pt x="672" y="48"/>
                  </a:lnTo>
                  <a:lnTo>
                    <a:pt x="666" y="54"/>
                  </a:lnTo>
                  <a:lnTo>
                    <a:pt x="660" y="54"/>
                  </a:lnTo>
                  <a:lnTo>
                    <a:pt x="660" y="48"/>
                  </a:lnTo>
                  <a:lnTo>
                    <a:pt x="654" y="48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42" y="54"/>
                  </a:lnTo>
                  <a:lnTo>
                    <a:pt x="63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30" y="66"/>
                  </a:lnTo>
                  <a:lnTo>
                    <a:pt x="624" y="66"/>
                  </a:lnTo>
                  <a:lnTo>
                    <a:pt x="618" y="66"/>
                  </a:lnTo>
                  <a:lnTo>
                    <a:pt x="618" y="72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6" y="84"/>
                  </a:lnTo>
                  <a:lnTo>
                    <a:pt x="600" y="84"/>
                  </a:lnTo>
                  <a:lnTo>
                    <a:pt x="594" y="90"/>
                  </a:lnTo>
                  <a:lnTo>
                    <a:pt x="588" y="90"/>
                  </a:lnTo>
                  <a:lnTo>
                    <a:pt x="588" y="84"/>
                  </a:lnTo>
                  <a:lnTo>
                    <a:pt x="582" y="84"/>
                  </a:lnTo>
                  <a:lnTo>
                    <a:pt x="576" y="84"/>
                  </a:lnTo>
                  <a:lnTo>
                    <a:pt x="570" y="84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58" y="96"/>
                  </a:lnTo>
                  <a:lnTo>
                    <a:pt x="552" y="96"/>
                  </a:lnTo>
                  <a:lnTo>
                    <a:pt x="546" y="102"/>
                  </a:lnTo>
                  <a:lnTo>
                    <a:pt x="540" y="102"/>
                  </a:lnTo>
                  <a:lnTo>
                    <a:pt x="534" y="102"/>
                  </a:lnTo>
                  <a:lnTo>
                    <a:pt x="528" y="102"/>
                  </a:lnTo>
                  <a:lnTo>
                    <a:pt x="528" y="108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16" y="102"/>
                  </a:lnTo>
                  <a:lnTo>
                    <a:pt x="510" y="102"/>
                  </a:lnTo>
                  <a:lnTo>
                    <a:pt x="504" y="102"/>
                  </a:lnTo>
                  <a:lnTo>
                    <a:pt x="498" y="102"/>
                  </a:lnTo>
                  <a:lnTo>
                    <a:pt x="498" y="96"/>
                  </a:lnTo>
                  <a:lnTo>
                    <a:pt x="492" y="96"/>
                  </a:lnTo>
                  <a:lnTo>
                    <a:pt x="492" y="90"/>
                  </a:lnTo>
                  <a:lnTo>
                    <a:pt x="492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498" y="66"/>
                  </a:lnTo>
                  <a:lnTo>
                    <a:pt x="504" y="60"/>
                  </a:lnTo>
                  <a:lnTo>
                    <a:pt x="498" y="60"/>
                  </a:lnTo>
                  <a:lnTo>
                    <a:pt x="498" y="54"/>
                  </a:lnTo>
                  <a:lnTo>
                    <a:pt x="492" y="54"/>
                  </a:lnTo>
                  <a:lnTo>
                    <a:pt x="492" y="60"/>
                  </a:lnTo>
                  <a:lnTo>
                    <a:pt x="486" y="60"/>
                  </a:lnTo>
                  <a:lnTo>
                    <a:pt x="486" y="66"/>
                  </a:lnTo>
                  <a:lnTo>
                    <a:pt x="480" y="66"/>
                  </a:lnTo>
                  <a:lnTo>
                    <a:pt x="474" y="72"/>
                  </a:lnTo>
                  <a:lnTo>
                    <a:pt x="474" y="66"/>
                  </a:lnTo>
                  <a:lnTo>
                    <a:pt x="474" y="72"/>
                  </a:lnTo>
                  <a:lnTo>
                    <a:pt x="468" y="72"/>
                  </a:lnTo>
                  <a:lnTo>
                    <a:pt x="468" y="78"/>
                  </a:lnTo>
                  <a:lnTo>
                    <a:pt x="468" y="84"/>
                  </a:lnTo>
                  <a:lnTo>
                    <a:pt x="462" y="90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0" y="84"/>
                  </a:lnTo>
                  <a:lnTo>
                    <a:pt x="450" y="90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44" y="102"/>
                  </a:lnTo>
                  <a:lnTo>
                    <a:pt x="444" y="108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38" y="126"/>
                  </a:lnTo>
                  <a:lnTo>
                    <a:pt x="438" y="132"/>
                  </a:lnTo>
                  <a:lnTo>
                    <a:pt x="438" y="138"/>
                  </a:lnTo>
                  <a:lnTo>
                    <a:pt x="438" y="144"/>
                  </a:lnTo>
                  <a:lnTo>
                    <a:pt x="432" y="144"/>
                  </a:lnTo>
                  <a:lnTo>
                    <a:pt x="432" y="150"/>
                  </a:lnTo>
                  <a:lnTo>
                    <a:pt x="432" y="144"/>
                  </a:lnTo>
                  <a:lnTo>
                    <a:pt x="426" y="144"/>
                  </a:lnTo>
                  <a:lnTo>
                    <a:pt x="426" y="150"/>
                  </a:lnTo>
                  <a:lnTo>
                    <a:pt x="426" y="156"/>
                  </a:lnTo>
                  <a:lnTo>
                    <a:pt x="432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2"/>
                  </a:lnTo>
                  <a:lnTo>
                    <a:pt x="432" y="168"/>
                  </a:lnTo>
                  <a:lnTo>
                    <a:pt x="426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44" y="168"/>
                  </a:lnTo>
                  <a:lnTo>
                    <a:pt x="444" y="174"/>
                  </a:lnTo>
                  <a:lnTo>
                    <a:pt x="444" y="180"/>
                  </a:lnTo>
                  <a:lnTo>
                    <a:pt x="444" y="186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2" y="192"/>
                  </a:lnTo>
                  <a:lnTo>
                    <a:pt x="426" y="192"/>
                  </a:lnTo>
                  <a:lnTo>
                    <a:pt x="420" y="186"/>
                  </a:lnTo>
                  <a:lnTo>
                    <a:pt x="414" y="186"/>
                  </a:lnTo>
                  <a:lnTo>
                    <a:pt x="408" y="186"/>
                  </a:lnTo>
                  <a:lnTo>
                    <a:pt x="402" y="186"/>
                  </a:lnTo>
                  <a:lnTo>
                    <a:pt x="396" y="186"/>
                  </a:lnTo>
                  <a:lnTo>
                    <a:pt x="390" y="186"/>
                  </a:lnTo>
                  <a:lnTo>
                    <a:pt x="384" y="186"/>
                  </a:lnTo>
                  <a:lnTo>
                    <a:pt x="378" y="186"/>
                  </a:lnTo>
                  <a:lnTo>
                    <a:pt x="372" y="186"/>
                  </a:lnTo>
                  <a:lnTo>
                    <a:pt x="354" y="186"/>
                  </a:lnTo>
                  <a:lnTo>
                    <a:pt x="342" y="186"/>
                  </a:lnTo>
                  <a:lnTo>
                    <a:pt x="324" y="186"/>
                  </a:lnTo>
                  <a:lnTo>
                    <a:pt x="312" y="186"/>
                  </a:lnTo>
                  <a:lnTo>
                    <a:pt x="306" y="186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82" y="186"/>
                  </a:lnTo>
                  <a:lnTo>
                    <a:pt x="270" y="186"/>
                  </a:lnTo>
                  <a:lnTo>
                    <a:pt x="264" y="186"/>
                  </a:lnTo>
                  <a:lnTo>
                    <a:pt x="258" y="192"/>
                  </a:lnTo>
                  <a:lnTo>
                    <a:pt x="258" y="186"/>
                  </a:lnTo>
                  <a:lnTo>
                    <a:pt x="246" y="186"/>
                  </a:lnTo>
                  <a:lnTo>
                    <a:pt x="240" y="186"/>
                  </a:lnTo>
                  <a:lnTo>
                    <a:pt x="234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2"/>
                  </a:lnTo>
                  <a:lnTo>
                    <a:pt x="204" y="192"/>
                  </a:lnTo>
                  <a:lnTo>
                    <a:pt x="198" y="192"/>
                  </a:lnTo>
                  <a:lnTo>
                    <a:pt x="192" y="192"/>
                  </a:lnTo>
                  <a:lnTo>
                    <a:pt x="180" y="192"/>
                  </a:lnTo>
                  <a:lnTo>
                    <a:pt x="168" y="192"/>
                  </a:lnTo>
                  <a:lnTo>
                    <a:pt x="162" y="192"/>
                  </a:lnTo>
                  <a:lnTo>
                    <a:pt x="150" y="192"/>
                  </a:lnTo>
                  <a:lnTo>
                    <a:pt x="138" y="192"/>
                  </a:lnTo>
                  <a:lnTo>
                    <a:pt x="132" y="192"/>
                  </a:lnTo>
                  <a:lnTo>
                    <a:pt x="120" y="192"/>
                  </a:lnTo>
                  <a:lnTo>
                    <a:pt x="114" y="192"/>
                  </a:lnTo>
                  <a:lnTo>
                    <a:pt x="108" y="192"/>
                  </a:lnTo>
                  <a:lnTo>
                    <a:pt x="102" y="192"/>
                  </a:lnTo>
                  <a:lnTo>
                    <a:pt x="90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2" y="198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36" y="198"/>
                  </a:lnTo>
                  <a:lnTo>
                    <a:pt x="30" y="204"/>
                  </a:lnTo>
                  <a:lnTo>
                    <a:pt x="24" y="204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6" y="210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54" y="156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56"/>
                  </a:lnTo>
                  <a:lnTo>
                    <a:pt x="78" y="162"/>
                  </a:lnTo>
                  <a:lnTo>
                    <a:pt x="84" y="162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9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0" y="126"/>
                  </a:lnTo>
                  <a:lnTo>
                    <a:pt x="276" y="120"/>
                  </a:lnTo>
                  <a:lnTo>
                    <a:pt x="282" y="120"/>
                  </a:lnTo>
                  <a:lnTo>
                    <a:pt x="300" y="120"/>
                  </a:lnTo>
                  <a:lnTo>
                    <a:pt x="306" y="114"/>
                  </a:lnTo>
                  <a:lnTo>
                    <a:pt x="312" y="108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8"/>
                  </a:lnTo>
                  <a:lnTo>
                    <a:pt x="342" y="30"/>
                  </a:lnTo>
                  <a:lnTo>
                    <a:pt x="342" y="24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8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24"/>
                  </a:lnTo>
                  <a:lnTo>
                    <a:pt x="414" y="30"/>
                  </a:lnTo>
                  <a:lnTo>
                    <a:pt x="420" y="30"/>
                  </a:lnTo>
                  <a:lnTo>
                    <a:pt x="42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74" y="30"/>
                  </a:lnTo>
                  <a:lnTo>
                    <a:pt x="474" y="18"/>
                  </a:lnTo>
                  <a:lnTo>
                    <a:pt x="474" y="12"/>
                  </a:lnTo>
                  <a:lnTo>
                    <a:pt x="480" y="12"/>
                  </a:lnTo>
                  <a:lnTo>
                    <a:pt x="486" y="12"/>
                  </a:lnTo>
                  <a:lnTo>
                    <a:pt x="606" y="12"/>
                  </a:lnTo>
                  <a:lnTo>
                    <a:pt x="630" y="12"/>
                  </a:lnTo>
                  <a:lnTo>
                    <a:pt x="678" y="12"/>
                  </a:lnTo>
                  <a:lnTo>
                    <a:pt x="744" y="12"/>
                  </a:lnTo>
                  <a:lnTo>
                    <a:pt x="774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2" y="6"/>
                  </a:lnTo>
                  <a:lnTo>
                    <a:pt x="888" y="12"/>
                  </a:lnTo>
                  <a:lnTo>
                    <a:pt x="888" y="24"/>
                  </a:lnTo>
                  <a:lnTo>
                    <a:pt x="888" y="30"/>
                  </a:lnTo>
                  <a:lnTo>
                    <a:pt x="882" y="36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64" y="42"/>
                  </a:lnTo>
                  <a:lnTo>
                    <a:pt x="864" y="48"/>
                  </a:lnTo>
                  <a:lnTo>
                    <a:pt x="858" y="54"/>
                  </a:lnTo>
                  <a:lnTo>
                    <a:pt x="864" y="54"/>
                  </a:lnTo>
                  <a:lnTo>
                    <a:pt x="870" y="72"/>
                  </a:lnTo>
                  <a:lnTo>
                    <a:pt x="870" y="78"/>
                  </a:lnTo>
                  <a:lnTo>
                    <a:pt x="870" y="84"/>
                  </a:lnTo>
                  <a:lnTo>
                    <a:pt x="870" y="90"/>
                  </a:lnTo>
                  <a:close/>
                  <a:moveTo>
                    <a:pt x="972" y="156"/>
                  </a:moveTo>
                  <a:lnTo>
                    <a:pt x="972" y="162"/>
                  </a:lnTo>
                  <a:lnTo>
                    <a:pt x="978" y="162"/>
                  </a:lnTo>
                  <a:lnTo>
                    <a:pt x="984" y="168"/>
                  </a:lnTo>
                  <a:lnTo>
                    <a:pt x="990" y="168"/>
                  </a:lnTo>
                  <a:lnTo>
                    <a:pt x="990" y="162"/>
                  </a:lnTo>
                  <a:lnTo>
                    <a:pt x="1008" y="162"/>
                  </a:lnTo>
                  <a:lnTo>
                    <a:pt x="1020" y="162"/>
                  </a:lnTo>
                  <a:lnTo>
                    <a:pt x="1038" y="162"/>
                  </a:lnTo>
                  <a:lnTo>
                    <a:pt x="1056" y="168"/>
                  </a:lnTo>
                  <a:lnTo>
                    <a:pt x="1056" y="180"/>
                  </a:lnTo>
                  <a:lnTo>
                    <a:pt x="1056" y="186"/>
                  </a:lnTo>
                  <a:lnTo>
                    <a:pt x="1056" y="204"/>
                  </a:lnTo>
                  <a:lnTo>
                    <a:pt x="1050" y="204"/>
                  </a:lnTo>
                  <a:lnTo>
                    <a:pt x="1044" y="204"/>
                  </a:lnTo>
                  <a:lnTo>
                    <a:pt x="1038" y="204"/>
                  </a:lnTo>
                  <a:lnTo>
                    <a:pt x="1032" y="204"/>
                  </a:lnTo>
                  <a:lnTo>
                    <a:pt x="1026" y="204"/>
                  </a:lnTo>
                  <a:lnTo>
                    <a:pt x="1020" y="204"/>
                  </a:lnTo>
                  <a:lnTo>
                    <a:pt x="1014" y="204"/>
                  </a:lnTo>
                  <a:lnTo>
                    <a:pt x="1008" y="204"/>
                  </a:lnTo>
                  <a:lnTo>
                    <a:pt x="1002" y="204"/>
                  </a:lnTo>
                  <a:lnTo>
                    <a:pt x="996" y="204"/>
                  </a:lnTo>
                  <a:lnTo>
                    <a:pt x="984" y="204"/>
                  </a:lnTo>
                  <a:lnTo>
                    <a:pt x="984" y="198"/>
                  </a:lnTo>
                  <a:lnTo>
                    <a:pt x="978" y="198"/>
                  </a:lnTo>
                  <a:lnTo>
                    <a:pt x="966" y="198"/>
                  </a:lnTo>
                  <a:lnTo>
                    <a:pt x="948" y="192"/>
                  </a:lnTo>
                  <a:lnTo>
                    <a:pt x="942" y="192"/>
                  </a:lnTo>
                  <a:lnTo>
                    <a:pt x="936" y="192"/>
                  </a:lnTo>
                  <a:lnTo>
                    <a:pt x="924" y="192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12" y="186"/>
                  </a:lnTo>
                  <a:lnTo>
                    <a:pt x="906" y="186"/>
                  </a:lnTo>
                  <a:lnTo>
                    <a:pt x="900" y="186"/>
                  </a:lnTo>
                  <a:lnTo>
                    <a:pt x="894" y="186"/>
                  </a:lnTo>
                  <a:lnTo>
                    <a:pt x="888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76" y="180"/>
                  </a:lnTo>
                  <a:lnTo>
                    <a:pt x="870" y="180"/>
                  </a:lnTo>
                  <a:lnTo>
                    <a:pt x="864" y="180"/>
                  </a:lnTo>
                  <a:lnTo>
                    <a:pt x="858" y="180"/>
                  </a:lnTo>
                  <a:lnTo>
                    <a:pt x="852" y="180"/>
                  </a:lnTo>
                  <a:lnTo>
                    <a:pt x="852" y="174"/>
                  </a:lnTo>
                  <a:lnTo>
                    <a:pt x="846" y="174"/>
                  </a:lnTo>
                  <a:lnTo>
                    <a:pt x="840" y="174"/>
                  </a:lnTo>
                  <a:lnTo>
                    <a:pt x="834" y="174"/>
                  </a:lnTo>
                  <a:lnTo>
                    <a:pt x="828" y="174"/>
                  </a:lnTo>
                  <a:lnTo>
                    <a:pt x="822" y="174"/>
                  </a:lnTo>
                  <a:lnTo>
                    <a:pt x="816" y="174"/>
                  </a:lnTo>
                  <a:lnTo>
                    <a:pt x="810" y="168"/>
                  </a:lnTo>
                  <a:lnTo>
                    <a:pt x="804" y="168"/>
                  </a:lnTo>
                  <a:lnTo>
                    <a:pt x="798" y="168"/>
                  </a:lnTo>
                  <a:lnTo>
                    <a:pt x="792" y="168"/>
                  </a:lnTo>
                  <a:lnTo>
                    <a:pt x="786" y="168"/>
                  </a:lnTo>
                  <a:lnTo>
                    <a:pt x="780" y="168"/>
                  </a:lnTo>
                  <a:lnTo>
                    <a:pt x="774" y="168"/>
                  </a:lnTo>
                  <a:lnTo>
                    <a:pt x="768" y="168"/>
                  </a:lnTo>
                  <a:lnTo>
                    <a:pt x="762" y="168"/>
                  </a:lnTo>
                  <a:lnTo>
                    <a:pt x="756" y="168"/>
                  </a:lnTo>
                  <a:lnTo>
                    <a:pt x="750" y="168"/>
                  </a:lnTo>
                  <a:lnTo>
                    <a:pt x="750" y="162"/>
                  </a:lnTo>
                  <a:lnTo>
                    <a:pt x="744" y="168"/>
                  </a:lnTo>
                  <a:lnTo>
                    <a:pt x="738" y="162"/>
                  </a:lnTo>
                  <a:lnTo>
                    <a:pt x="732" y="162"/>
                  </a:lnTo>
                  <a:lnTo>
                    <a:pt x="726" y="162"/>
                  </a:lnTo>
                  <a:lnTo>
                    <a:pt x="714" y="162"/>
                  </a:lnTo>
                  <a:lnTo>
                    <a:pt x="702" y="162"/>
                  </a:lnTo>
                  <a:lnTo>
                    <a:pt x="696" y="168"/>
                  </a:lnTo>
                  <a:lnTo>
                    <a:pt x="690" y="168"/>
                  </a:lnTo>
                  <a:lnTo>
                    <a:pt x="684" y="168"/>
                  </a:lnTo>
                  <a:lnTo>
                    <a:pt x="678" y="168"/>
                  </a:lnTo>
                  <a:lnTo>
                    <a:pt x="672" y="168"/>
                  </a:lnTo>
                  <a:lnTo>
                    <a:pt x="666" y="168"/>
                  </a:lnTo>
                  <a:lnTo>
                    <a:pt x="660" y="168"/>
                  </a:lnTo>
                  <a:lnTo>
                    <a:pt x="654" y="168"/>
                  </a:lnTo>
                  <a:lnTo>
                    <a:pt x="648" y="174"/>
                  </a:lnTo>
                  <a:lnTo>
                    <a:pt x="648" y="168"/>
                  </a:lnTo>
                  <a:lnTo>
                    <a:pt x="642" y="174"/>
                  </a:lnTo>
                  <a:lnTo>
                    <a:pt x="636" y="174"/>
                  </a:lnTo>
                  <a:lnTo>
                    <a:pt x="630" y="174"/>
                  </a:lnTo>
                  <a:lnTo>
                    <a:pt x="624" y="174"/>
                  </a:lnTo>
                  <a:lnTo>
                    <a:pt x="618" y="174"/>
                  </a:lnTo>
                  <a:lnTo>
                    <a:pt x="612" y="174"/>
                  </a:lnTo>
                  <a:lnTo>
                    <a:pt x="606" y="174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74"/>
                  </a:lnTo>
                  <a:lnTo>
                    <a:pt x="582" y="174"/>
                  </a:lnTo>
                  <a:lnTo>
                    <a:pt x="576" y="174"/>
                  </a:lnTo>
                  <a:lnTo>
                    <a:pt x="570" y="174"/>
                  </a:lnTo>
                  <a:lnTo>
                    <a:pt x="564" y="174"/>
                  </a:lnTo>
                  <a:lnTo>
                    <a:pt x="558" y="174"/>
                  </a:lnTo>
                  <a:lnTo>
                    <a:pt x="552" y="174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0" y="174"/>
                  </a:lnTo>
                  <a:lnTo>
                    <a:pt x="504" y="174"/>
                  </a:lnTo>
                  <a:lnTo>
                    <a:pt x="498" y="174"/>
                  </a:lnTo>
                  <a:lnTo>
                    <a:pt x="492" y="174"/>
                  </a:lnTo>
                  <a:lnTo>
                    <a:pt x="486" y="174"/>
                  </a:lnTo>
                  <a:lnTo>
                    <a:pt x="480" y="174"/>
                  </a:lnTo>
                  <a:lnTo>
                    <a:pt x="474" y="174"/>
                  </a:lnTo>
                  <a:lnTo>
                    <a:pt x="468" y="174"/>
                  </a:lnTo>
                  <a:lnTo>
                    <a:pt x="462" y="174"/>
                  </a:lnTo>
                  <a:lnTo>
                    <a:pt x="456" y="174"/>
                  </a:lnTo>
                  <a:lnTo>
                    <a:pt x="450" y="180"/>
                  </a:lnTo>
                  <a:lnTo>
                    <a:pt x="450" y="186"/>
                  </a:lnTo>
                  <a:lnTo>
                    <a:pt x="450" y="192"/>
                  </a:lnTo>
                  <a:lnTo>
                    <a:pt x="444" y="192"/>
                  </a:lnTo>
                  <a:lnTo>
                    <a:pt x="444" y="186"/>
                  </a:lnTo>
                  <a:lnTo>
                    <a:pt x="444" y="180"/>
                  </a:lnTo>
                  <a:lnTo>
                    <a:pt x="450" y="180"/>
                  </a:lnTo>
                  <a:lnTo>
                    <a:pt x="450" y="174"/>
                  </a:lnTo>
                  <a:lnTo>
                    <a:pt x="450" y="168"/>
                  </a:lnTo>
                  <a:lnTo>
                    <a:pt x="450" y="162"/>
                  </a:lnTo>
                  <a:lnTo>
                    <a:pt x="456" y="162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62" y="162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74" y="168"/>
                  </a:lnTo>
                  <a:lnTo>
                    <a:pt x="480" y="168"/>
                  </a:lnTo>
                  <a:lnTo>
                    <a:pt x="480" y="162"/>
                  </a:lnTo>
                  <a:lnTo>
                    <a:pt x="480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56"/>
                  </a:lnTo>
                  <a:lnTo>
                    <a:pt x="492" y="156"/>
                  </a:lnTo>
                  <a:lnTo>
                    <a:pt x="486" y="150"/>
                  </a:lnTo>
                  <a:lnTo>
                    <a:pt x="492" y="150"/>
                  </a:lnTo>
                  <a:lnTo>
                    <a:pt x="498" y="150"/>
                  </a:lnTo>
                  <a:lnTo>
                    <a:pt x="498" y="156"/>
                  </a:lnTo>
                  <a:lnTo>
                    <a:pt x="504" y="156"/>
                  </a:lnTo>
                  <a:lnTo>
                    <a:pt x="504" y="162"/>
                  </a:lnTo>
                  <a:lnTo>
                    <a:pt x="504" y="156"/>
                  </a:lnTo>
                  <a:lnTo>
                    <a:pt x="510" y="156"/>
                  </a:lnTo>
                  <a:lnTo>
                    <a:pt x="510" y="150"/>
                  </a:lnTo>
                  <a:lnTo>
                    <a:pt x="516" y="150"/>
                  </a:lnTo>
                  <a:lnTo>
                    <a:pt x="522" y="150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28" y="150"/>
                  </a:lnTo>
                  <a:lnTo>
                    <a:pt x="528" y="144"/>
                  </a:lnTo>
                  <a:lnTo>
                    <a:pt x="540" y="144"/>
                  </a:lnTo>
                  <a:lnTo>
                    <a:pt x="546" y="144"/>
                  </a:lnTo>
                  <a:lnTo>
                    <a:pt x="552" y="138"/>
                  </a:lnTo>
                  <a:lnTo>
                    <a:pt x="552" y="132"/>
                  </a:lnTo>
                  <a:lnTo>
                    <a:pt x="558" y="132"/>
                  </a:lnTo>
                  <a:lnTo>
                    <a:pt x="558" y="126"/>
                  </a:lnTo>
                  <a:lnTo>
                    <a:pt x="558" y="120"/>
                  </a:lnTo>
                  <a:lnTo>
                    <a:pt x="558" y="114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6" y="114"/>
                  </a:lnTo>
                  <a:lnTo>
                    <a:pt x="582" y="120"/>
                  </a:lnTo>
                  <a:lnTo>
                    <a:pt x="588" y="120"/>
                  </a:lnTo>
                  <a:lnTo>
                    <a:pt x="588" y="126"/>
                  </a:lnTo>
                  <a:lnTo>
                    <a:pt x="588" y="120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600" y="114"/>
                  </a:lnTo>
                  <a:lnTo>
                    <a:pt x="606" y="114"/>
                  </a:lnTo>
                  <a:lnTo>
                    <a:pt x="618" y="114"/>
                  </a:lnTo>
                  <a:lnTo>
                    <a:pt x="618" y="108"/>
                  </a:lnTo>
                  <a:lnTo>
                    <a:pt x="624" y="108"/>
                  </a:lnTo>
                  <a:lnTo>
                    <a:pt x="624" y="102"/>
                  </a:lnTo>
                  <a:lnTo>
                    <a:pt x="630" y="102"/>
                  </a:lnTo>
                  <a:lnTo>
                    <a:pt x="636" y="102"/>
                  </a:lnTo>
                  <a:lnTo>
                    <a:pt x="636" y="108"/>
                  </a:lnTo>
                  <a:lnTo>
                    <a:pt x="642" y="108"/>
                  </a:lnTo>
                  <a:lnTo>
                    <a:pt x="648" y="108"/>
                  </a:lnTo>
                  <a:lnTo>
                    <a:pt x="648" y="102"/>
                  </a:lnTo>
                  <a:lnTo>
                    <a:pt x="654" y="102"/>
                  </a:lnTo>
                  <a:lnTo>
                    <a:pt x="660" y="102"/>
                  </a:lnTo>
                  <a:lnTo>
                    <a:pt x="660" y="96"/>
                  </a:lnTo>
                  <a:lnTo>
                    <a:pt x="660" y="90"/>
                  </a:lnTo>
                  <a:lnTo>
                    <a:pt x="666" y="90"/>
                  </a:lnTo>
                  <a:lnTo>
                    <a:pt x="666" y="84"/>
                  </a:lnTo>
                  <a:lnTo>
                    <a:pt x="672" y="78"/>
                  </a:lnTo>
                  <a:lnTo>
                    <a:pt x="672" y="72"/>
                  </a:lnTo>
                  <a:lnTo>
                    <a:pt x="678" y="66"/>
                  </a:lnTo>
                  <a:lnTo>
                    <a:pt x="684" y="66"/>
                  </a:lnTo>
                  <a:lnTo>
                    <a:pt x="684" y="60"/>
                  </a:lnTo>
                  <a:lnTo>
                    <a:pt x="690" y="60"/>
                  </a:lnTo>
                  <a:lnTo>
                    <a:pt x="696" y="60"/>
                  </a:lnTo>
                  <a:lnTo>
                    <a:pt x="702" y="60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66"/>
                  </a:lnTo>
                  <a:lnTo>
                    <a:pt x="720" y="66"/>
                  </a:lnTo>
                  <a:lnTo>
                    <a:pt x="720" y="60"/>
                  </a:lnTo>
                  <a:lnTo>
                    <a:pt x="726" y="60"/>
                  </a:lnTo>
                  <a:lnTo>
                    <a:pt x="732" y="60"/>
                  </a:lnTo>
                  <a:lnTo>
                    <a:pt x="744" y="60"/>
                  </a:lnTo>
                  <a:lnTo>
                    <a:pt x="750" y="54"/>
                  </a:lnTo>
                  <a:lnTo>
                    <a:pt x="762" y="60"/>
                  </a:lnTo>
                  <a:lnTo>
                    <a:pt x="774" y="60"/>
                  </a:lnTo>
                  <a:lnTo>
                    <a:pt x="774" y="66"/>
                  </a:lnTo>
                  <a:lnTo>
                    <a:pt x="780" y="72"/>
                  </a:lnTo>
                  <a:lnTo>
                    <a:pt x="786" y="78"/>
                  </a:lnTo>
                  <a:lnTo>
                    <a:pt x="792" y="78"/>
                  </a:lnTo>
                  <a:lnTo>
                    <a:pt x="810" y="84"/>
                  </a:lnTo>
                  <a:lnTo>
                    <a:pt x="822" y="84"/>
                  </a:lnTo>
                  <a:lnTo>
                    <a:pt x="828" y="84"/>
                  </a:lnTo>
                  <a:lnTo>
                    <a:pt x="834" y="84"/>
                  </a:lnTo>
                  <a:lnTo>
                    <a:pt x="840" y="96"/>
                  </a:lnTo>
                  <a:lnTo>
                    <a:pt x="846" y="102"/>
                  </a:lnTo>
                  <a:lnTo>
                    <a:pt x="858" y="102"/>
                  </a:lnTo>
                  <a:lnTo>
                    <a:pt x="864" y="102"/>
                  </a:lnTo>
                  <a:lnTo>
                    <a:pt x="876" y="96"/>
                  </a:lnTo>
                  <a:lnTo>
                    <a:pt x="882" y="102"/>
                  </a:lnTo>
                  <a:lnTo>
                    <a:pt x="888" y="108"/>
                  </a:lnTo>
                  <a:lnTo>
                    <a:pt x="888" y="114"/>
                  </a:lnTo>
                  <a:lnTo>
                    <a:pt x="888" y="120"/>
                  </a:lnTo>
                  <a:lnTo>
                    <a:pt x="888" y="126"/>
                  </a:lnTo>
                  <a:lnTo>
                    <a:pt x="888" y="132"/>
                  </a:lnTo>
                  <a:lnTo>
                    <a:pt x="882" y="132"/>
                  </a:lnTo>
                  <a:lnTo>
                    <a:pt x="864" y="126"/>
                  </a:lnTo>
                  <a:lnTo>
                    <a:pt x="852" y="120"/>
                  </a:lnTo>
                  <a:lnTo>
                    <a:pt x="840" y="126"/>
                  </a:lnTo>
                  <a:lnTo>
                    <a:pt x="834" y="120"/>
                  </a:lnTo>
                  <a:lnTo>
                    <a:pt x="828" y="120"/>
                  </a:lnTo>
                  <a:lnTo>
                    <a:pt x="822" y="120"/>
                  </a:lnTo>
                  <a:lnTo>
                    <a:pt x="810" y="114"/>
                  </a:lnTo>
                  <a:lnTo>
                    <a:pt x="804" y="114"/>
                  </a:lnTo>
                  <a:lnTo>
                    <a:pt x="798" y="114"/>
                  </a:lnTo>
                  <a:lnTo>
                    <a:pt x="792" y="114"/>
                  </a:lnTo>
                  <a:lnTo>
                    <a:pt x="786" y="114"/>
                  </a:lnTo>
                  <a:lnTo>
                    <a:pt x="780" y="114"/>
                  </a:lnTo>
                  <a:lnTo>
                    <a:pt x="780" y="126"/>
                  </a:lnTo>
                  <a:lnTo>
                    <a:pt x="786" y="126"/>
                  </a:lnTo>
                  <a:lnTo>
                    <a:pt x="798" y="126"/>
                  </a:lnTo>
                  <a:lnTo>
                    <a:pt x="804" y="126"/>
                  </a:lnTo>
                  <a:lnTo>
                    <a:pt x="822" y="132"/>
                  </a:lnTo>
                  <a:lnTo>
                    <a:pt x="828" y="132"/>
                  </a:lnTo>
                  <a:lnTo>
                    <a:pt x="834" y="132"/>
                  </a:lnTo>
                  <a:lnTo>
                    <a:pt x="840" y="144"/>
                  </a:lnTo>
                  <a:lnTo>
                    <a:pt x="846" y="150"/>
                  </a:lnTo>
                  <a:lnTo>
                    <a:pt x="858" y="150"/>
                  </a:lnTo>
                  <a:lnTo>
                    <a:pt x="864" y="162"/>
                  </a:lnTo>
                  <a:lnTo>
                    <a:pt x="870" y="162"/>
                  </a:lnTo>
                  <a:lnTo>
                    <a:pt x="876" y="168"/>
                  </a:lnTo>
                  <a:lnTo>
                    <a:pt x="888" y="168"/>
                  </a:lnTo>
                  <a:lnTo>
                    <a:pt x="894" y="174"/>
                  </a:lnTo>
                  <a:lnTo>
                    <a:pt x="900" y="174"/>
                  </a:lnTo>
                  <a:lnTo>
                    <a:pt x="918" y="174"/>
                  </a:lnTo>
                  <a:lnTo>
                    <a:pt x="924" y="174"/>
                  </a:lnTo>
                  <a:lnTo>
                    <a:pt x="930" y="174"/>
                  </a:lnTo>
                  <a:lnTo>
                    <a:pt x="942" y="174"/>
                  </a:lnTo>
                  <a:lnTo>
                    <a:pt x="954" y="174"/>
                  </a:lnTo>
                  <a:lnTo>
                    <a:pt x="960" y="174"/>
                  </a:lnTo>
                  <a:lnTo>
                    <a:pt x="966" y="174"/>
                  </a:lnTo>
                  <a:lnTo>
                    <a:pt x="966" y="168"/>
                  </a:lnTo>
                  <a:lnTo>
                    <a:pt x="972" y="162"/>
                  </a:lnTo>
                  <a:lnTo>
                    <a:pt x="972" y="156"/>
                  </a:lnTo>
                  <a:close/>
                  <a:moveTo>
                    <a:pt x="942" y="174"/>
                  </a:moveTo>
                  <a:lnTo>
                    <a:pt x="936" y="174"/>
                  </a:lnTo>
                  <a:lnTo>
                    <a:pt x="936" y="168"/>
                  </a:lnTo>
                  <a:lnTo>
                    <a:pt x="936" y="162"/>
                  </a:lnTo>
                  <a:lnTo>
                    <a:pt x="948" y="162"/>
                  </a:lnTo>
                  <a:lnTo>
                    <a:pt x="948" y="156"/>
                  </a:lnTo>
                  <a:lnTo>
                    <a:pt x="954" y="156"/>
                  </a:lnTo>
                  <a:lnTo>
                    <a:pt x="960" y="156"/>
                  </a:lnTo>
                  <a:lnTo>
                    <a:pt x="966" y="156"/>
                  </a:lnTo>
                  <a:lnTo>
                    <a:pt x="966" y="162"/>
                  </a:lnTo>
                  <a:lnTo>
                    <a:pt x="960" y="168"/>
                  </a:lnTo>
                  <a:lnTo>
                    <a:pt x="942" y="174"/>
                  </a:lnTo>
                  <a:close/>
                  <a:moveTo>
                    <a:pt x="900" y="168"/>
                  </a:moveTo>
                  <a:lnTo>
                    <a:pt x="894" y="168"/>
                  </a:lnTo>
                  <a:lnTo>
                    <a:pt x="882" y="156"/>
                  </a:lnTo>
                  <a:lnTo>
                    <a:pt x="882" y="150"/>
                  </a:lnTo>
                  <a:lnTo>
                    <a:pt x="888" y="156"/>
                  </a:lnTo>
                  <a:lnTo>
                    <a:pt x="894" y="150"/>
                  </a:lnTo>
                  <a:lnTo>
                    <a:pt x="900" y="150"/>
                  </a:lnTo>
                  <a:lnTo>
                    <a:pt x="906" y="150"/>
                  </a:lnTo>
                  <a:lnTo>
                    <a:pt x="912" y="150"/>
                  </a:lnTo>
                  <a:lnTo>
                    <a:pt x="924" y="150"/>
                  </a:lnTo>
                  <a:lnTo>
                    <a:pt x="924" y="156"/>
                  </a:lnTo>
                  <a:lnTo>
                    <a:pt x="924" y="162"/>
                  </a:lnTo>
                  <a:lnTo>
                    <a:pt x="924" y="168"/>
                  </a:lnTo>
                  <a:lnTo>
                    <a:pt x="918" y="168"/>
                  </a:lnTo>
                  <a:lnTo>
                    <a:pt x="906" y="168"/>
                  </a:lnTo>
                  <a:lnTo>
                    <a:pt x="900" y="168"/>
                  </a:lnTo>
                  <a:close/>
                  <a:moveTo>
                    <a:pt x="870" y="162"/>
                  </a:moveTo>
                  <a:lnTo>
                    <a:pt x="876" y="162"/>
                  </a:lnTo>
                  <a:lnTo>
                    <a:pt x="876" y="168"/>
                  </a:lnTo>
                  <a:lnTo>
                    <a:pt x="870" y="168"/>
                  </a:lnTo>
                  <a:lnTo>
                    <a:pt x="870" y="162"/>
                  </a:lnTo>
                  <a:close/>
                  <a:moveTo>
                    <a:pt x="450" y="162"/>
                  </a:moveTo>
                  <a:lnTo>
                    <a:pt x="444" y="162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2" y="150"/>
                  </a:lnTo>
                  <a:lnTo>
                    <a:pt x="438" y="150"/>
                  </a:lnTo>
                  <a:lnTo>
                    <a:pt x="438" y="144"/>
                  </a:lnTo>
                  <a:lnTo>
                    <a:pt x="438" y="150"/>
                  </a:lnTo>
                  <a:lnTo>
                    <a:pt x="444" y="150"/>
                  </a:lnTo>
                  <a:lnTo>
                    <a:pt x="450" y="150"/>
                  </a:lnTo>
                  <a:lnTo>
                    <a:pt x="450" y="156"/>
                  </a:lnTo>
                  <a:lnTo>
                    <a:pt x="456" y="156"/>
                  </a:lnTo>
                  <a:lnTo>
                    <a:pt x="456" y="150"/>
                  </a:lnTo>
                  <a:lnTo>
                    <a:pt x="456" y="156"/>
                  </a:lnTo>
                  <a:lnTo>
                    <a:pt x="462" y="150"/>
                  </a:lnTo>
                  <a:lnTo>
                    <a:pt x="462" y="144"/>
                  </a:lnTo>
                  <a:lnTo>
                    <a:pt x="468" y="144"/>
                  </a:lnTo>
                  <a:lnTo>
                    <a:pt x="468" y="150"/>
                  </a:lnTo>
                  <a:lnTo>
                    <a:pt x="474" y="150"/>
                  </a:lnTo>
                  <a:lnTo>
                    <a:pt x="480" y="150"/>
                  </a:lnTo>
                  <a:lnTo>
                    <a:pt x="480" y="156"/>
                  </a:lnTo>
                  <a:lnTo>
                    <a:pt x="480" y="162"/>
                  </a:lnTo>
                  <a:lnTo>
                    <a:pt x="474" y="162"/>
                  </a:lnTo>
                  <a:lnTo>
                    <a:pt x="474" y="168"/>
                  </a:lnTo>
                  <a:lnTo>
                    <a:pt x="474" y="162"/>
                  </a:lnTo>
                  <a:lnTo>
                    <a:pt x="468" y="162"/>
                  </a:lnTo>
                  <a:lnTo>
                    <a:pt x="462" y="162"/>
                  </a:lnTo>
                  <a:lnTo>
                    <a:pt x="456" y="162"/>
                  </a:lnTo>
                  <a:lnTo>
                    <a:pt x="450" y="16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6" name="Freeform 31">
              <a:extLst>
                <a:ext uri="{FF2B5EF4-FFF2-40B4-BE49-F238E27FC236}">
                  <a16:creationId xmlns:a16="http://schemas.microsoft.com/office/drawing/2014/main" id="{0989F057-38E8-4AA5-8B73-27F6355E235C}"/>
                </a:ext>
              </a:extLst>
            </p:cNvPr>
            <p:cNvSpPr>
              <a:spLocks/>
            </p:cNvSpPr>
            <p:nvPr/>
          </p:nvSpPr>
          <p:spPr bwMode="gray">
            <a:xfrm>
              <a:off x="792590" y="2728084"/>
              <a:ext cx="1182944" cy="740282"/>
            </a:xfrm>
            <a:custGeom>
              <a:avLst/>
              <a:gdLst>
                <a:gd name="T0" fmla="*/ 138 w 2226"/>
                <a:gd name="T1" fmla="*/ 121 h 1392"/>
                <a:gd name="T2" fmla="*/ 133 w 2226"/>
                <a:gd name="T3" fmla="*/ 119 h 1392"/>
                <a:gd name="T4" fmla="*/ 128 w 2226"/>
                <a:gd name="T5" fmla="*/ 117 h 1392"/>
                <a:gd name="T6" fmla="*/ 119 w 2226"/>
                <a:gd name="T7" fmla="*/ 116 h 1392"/>
                <a:gd name="T8" fmla="*/ 101 w 2226"/>
                <a:gd name="T9" fmla="*/ 116 h 1392"/>
                <a:gd name="T10" fmla="*/ 94 w 2226"/>
                <a:gd name="T11" fmla="*/ 104 h 1392"/>
                <a:gd name="T12" fmla="*/ 82 w 2226"/>
                <a:gd name="T13" fmla="*/ 83 h 1392"/>
                <a:gd name="T14" fmla="*/ 87 w 2226"/>
                <a:gd name="T15" fmla="*/ 69 h 1392"/>
                <a:gd name="T16" fmla="*/ 82 w 2226"/>
                <a:gd name="T17" fmla="*/ 65 h 1392"/>
                <a:gd name="T18" fmla="*/ 59 w 2226"/>
                <a:gd name="T19" fmla="*/ 57 h 1392"/>
                <a:gd name="T20" fmla="*/ 29 w 2226"/>
                <a:gd name="T21" fmla="*/ 77 h 1392"/>
                <a:gd name="T22" fmla="*/ 20 w 2226"/>
                <a:gd name="T23" fmla="*/ 78 h 1392"/>
                <a:gd name="T24" fmla="*/ 15 w 2226"/>
                <a:gd name="T25" fmla="*/ 82 h 1392"/>
                <a:gd name="T26" fmla="*/ 8 w 2226"/>
                <a:gd name="T27" fmla="*/ 86 h 1392"/>
                <a:gd name="T28" fmla="*/ 1 w 2226"/>
                <a:gd name="T29" fmla="*/ 88 h 1392"/>
                <a:gd name="T30" fmla="*/ 0 w 2226"/>
                <a:gd name="T31" fmla="*/ 82 h 1392"/>
                <a:gd name="T32" fmla="*/ 0 w 2226"/>
                <a:gd name="T33" fmla="*/ 76 h 1392"/>
                <a:gd name="T34" fmla="*/ 2 w 2226"/>
                <a:gd name="T35" fmla="*/ 70 h 1392"/>
                <a:gd name="T36" fmla="*/ 3 w 2226"/>
                <a:gd name="T37" fmla="*/ 65 h 1392"/>
                <a:gd name="T38" fmla="*/ 2 w 2226"/>
                <a:gd name="T39" fmla="*/ 63 h 1392"/>
                <a:gd name="T40" fmla="*/ 9 w 2226"/>
                <a:gd name="T41" fmla="*/ 60 h 1392"/>
                <a:gd name="T42" fmla="*/ 17 w 2226"/>
                <a:gd name="T43" fmla="*/ 59 h 1392"/>
                <a:gd name="T44" fmla="*/ 22 w 2226"/>
                <a:gd name="T45" fmla="*/ 51 h 1392"/>
                <a:gd name="T46" fmla="*/ 23 w 2226"/>
                <a:gd name="T47" fmla="*/ 43 h 1392"/>
                <a:gd name="T48" fmla="*/ 27 w 2226"/>
                <a:gd name="T49" fmla="*/ 34 h 1392"/>
                <a:gd name="T50" fmla="*/ 30 w 2226"/>
                <a:gd name="T51" fmla="*/ 27 h 1392"/>
                <a:gd name="T52" fmla="*/ 33 w 2226"/>
                <a:gd name="T53" fmla="*/ 22 h 1392"/>
                <a:gd name="T54" fmla="*/ 42 w 2226"/>
                <a:gd name="T55" fmla="*/ 17 h 1392"/>
                <a:gd name="T56" fmla="*/ 47 w 2226"/>
                <a:gd name="T57" fmla="*/ 14 h 1392"/>
                <a:gd name="T58" fmla="*/ 49 w 2226"/>
                <a:gd name="T59" fmla="*/ 5 h 1392"/>
                <a:gd name="T60" fmla="*/ 53 w 2226"/>
                <a:gd name="T61" fmla="*/ 0 h 1392"/>
                <a:gd name="T62" fmla="*/ 55 w 2226"/>
                <a:gd name="T63" fmla="*/ 4 h 1392"/>
                <a:gd name="T64" fmla="*/ 59 w 2226"/>
                <a:gd name="T65" fmla="*/ 7 h 1392"/>
                <a:gd name="T66" fmla="*/ 63 w 2226"/>
                <a:gd name="T67" fmla="*/ 7 h 1392"/>
                <a:gd name="T68" fmla="*/ 66 w 2226"/>
                <a:gd name="T69" fmla="*/ 9 h 1392"/>
                <a:gd name="T70" fmla="*/ 67 w 2226"/>
                <a:gd name="T71" fmla="*/ 12 h 1392"/>
                <a:gd name="T72" fmla="*/ 67 w 2226"/>
                <a:gd name="T73" fmla="*/ 13 h 1392"/>
                <a:gd name="T74" fmla="*/ 70 w 2226"/>
                <a:gd name="T75" fmla="*/ 15 h 1392"/>
                <a:gd name="T76" fmla="*/ 74 w 2226"/>
                <a:gd name="T77" fmla="*/ 17 h 1392"/>
                <a:gd name="T78" fmla="*/ 78 w 2226"/>
                <a:gd name="T79" fmla="*/ 18 h 1392"/>
                <a:gd name="T80" fmla="*/ 97 w 2226"/>
                <a:gd name="T81" fmla="*/ 40 h 1392"/>
                <a:gd name="T82" fmla="*/ 102 w 2226"/>
                <a:gd name="T83" fmla="*/ 44 h 1392"/>
                <a:gd name="T84" fmla="*/ 110 w 2226"/>
                <a:gd name="T85" fmla="*/ 49 h 1392"/>
                <a:gd name="T86" fmla="*/ 113 w 2226"/>
                <a:gd name="T87" fmla="*/ 53 h 1392"/>
                <a:gd name="T88" fmla="*/ 118 w 2226"/>
                <a:gd name="T89" fmla="*/ 57 h 1392"/>
                <a:gd name="T90" fmla="*/ 124 w 2226"/>
                <a:gd name="T91" fmla="*/ 54 h 1392"/>
                <a:gd name="T92" fmla="*/ 133 w 2226"/>
                <a:gd name="T93" fmla="*/ 58 h 1392"/>
                <a:gd name="T94" fmla="*/ 137 w 2226"/>
                <a:gd name="T95" fmla="*/ 64 h 1392"/>
                <a:gd name="T96" fmla="*/ 145 w 2226"/>
                <a:gd name="T97" fmla="*/ 65 h 1392"/>
                <a:gd name="T98" fmla="*/ 152 w 2226"/>
                <a:gd name="T99" fmla="*/ 67 h 1392"/>
                <a:gd name="T100" fmla="*/ 161 w 2226"/>
                <a:gd name="T101" fmla="*/ 72 h 1392"/>
                <a:gd name="T102" fmla="*/ 168 w 2226"/>
                <a:gd name="T103" fmla="*/ 76 h 1392"/>
                <a:gd name="T104" fmla="*/ 177 w 2226"/>
                <a:gd name="T105" fmla="*/ 78 h 1392"/>
                <a:gd name="T106" fmla="*/ 184 w 2226"/>
                <a:gd name="T107" fmla="*/ 78 h 1392"/>
                <a:gd name="T108" fmla="*/ 190 w 2226"/>
                <a:gd name="T109" fmla="*/ 81 h 1392"/>
                <a:gd name="T110" fmla="*/ 192 w 2226"/>
                <a:gd name="T111" fmla="*/ 86 h 1392"/>
                <a:gd name="T112" fmla="*/ 187 w 2226"/>
                <a:gd name="T113" fmla="*/ 99 h 1392"/>
                <a:gd name="T114" fmla="*/ 165 w 2226"/>
                <a:gd name="T115" fmla="*/ 97 h 1392"/>
                <a:gd name="T116" fmla="*/ 155 w 2226"/>
                <a:gd name="T117" fmla="*/ 92 h 1392"/>
                <a:gd name="T118" fmla="*/ 146 w 2226"/>
                <a:gd name="T119" fmla="*/ 102 h 1392"/>
                <a:gd name="T120" fmla="*/ 149 w 2226"/>
                <a:gd name="T121" fmla="*/ 106 h 1392"/>
                <a:gd name="T122" fmla="*/ 151 w 2226"/>
                <a:gd name="T123" fmla="*/ 108 h 1392"/>
                <a:gd name="T124" fmla="*/ 157 w 2226"/>
                <a:gd name="T125" fmla="*/ 113 h 13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1392"/>
                <a:gd name="T191" fmla="*/ 2226 w 2226"/>
                <a:gd name="T192" fmla="*/ 1392 h 13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1392">
                  <a:moveTo>
                    <a:pt x="1782" y="1326"/>
                  </a:moveTo>
                  <a:lnTo>
                    <a:pt x="1776" y="1332"/>
                  </a:lnTo>
                  <a:lnTo>
                    <a:pt x="1692" y="1338"/>
                  </a:lnTo>
                  <a:lnTo>
                    <a:pt x="1680" y="1386"/>
                  </a:lnTo>
                  <a:lnTo>
                    <a:pt x="1674" y="1392"/>
                  </a:lnTo>
                  <a:lnTo>
                    <a:pt x="1638" y="1392"/>
                  </a:lnTo>
                  <a:lnTo>
                    <a:pt x="1620" y="1392"/>
                  </a:lnTo>
                  <a:lnTo>
                    <a:pt x="1614" y="1392"/>
                  </a:lnTo>
                  <a:lnTo>
                    <a:pt x="1608" y="1386"/>
                  </a:lnTo>
                  <a:lnTo>
                    <a:pt x="1584" y="1386"/>
                  </a:lnTo>
                  <a:lnTo>
                    <a:pt x="1578" y="1386"/>
                  </a:lnTo>
                  <a:lnTo>
                    <a:pt x="1572" y="1380"/>
                  </a:lnTo>
                  <a:lnTo>
                    <a:pt x="1578" y="1356"/>
                  </a:lnTo>
                  <a:lnTo>
                    <a:pt x="1572" y="1356"/>
                  </a:lnTo>
                  <a:lnTo>
                    <a:pt x="1560" y="1350"/>
                  </a:lnTo>
                  <a:lnTo>
                    <a:pt x="1554" y="1350"/>
                  </a:lnTo>
                  <a:lnTo>
                    <a:pt x="1542" y="1350"/>
                  </a:lnTo>
                  <a:lnTo>
                    <a:pt x="1530" y="1350"/>
                  </a:lnTo>
                  <a:lnTo>
                    <a:pt x="1524" y="1356"/>
                  </a:lnTo>
                  <a:lnTo>
                    <a:pt x="1524" y="1362"/>
                  </a:lnTo>
                  <a:lnTo>
                    <a:pt x="1512" y="1374"/>
                  </a:lnTo>
                  <a:lnTo>
                    <a:pt x="1506" y="1374"/>
                  </a:lnTo>
                  <a:lnTo>
                    <a:pt x="1500" y="1368"/>
                  </a:lnTo>
                  <a:lnTo>
                    <a:pt x="1500" y="1362"/>
                  </a:lnTo>
                  <a:lnTo>
                    <a:pt x="1488" y="1362"/>
                  </a:lnTo>
                  <a:lnTo>
                    <a:pt x="1482" y="1356"/>
                  </a:lnTo>
                  <a:lnTo>
                    <a:pt x="1482" y="1350"/>
                  </a:lnTo>
                  <a:lnTo>
                    <a:pt x="1476" y="1350"/>
                  </a:lnTo>
                  <a:lnTo>
                    <a:pt x="1470" y="1344"/>
                  </a:lnTo>
                  <a:lnTo>
                    <a:pt x="1464" y="1344"/>
                  </a:lnTo>
                  <a:lnTo>
                    <a:pt x="1452" y="1350"/>
                  </a:lnTo>
                  <a:lnTo>
                    <a:pt x="1452" y="1356"/>
                  </a:lnTo>
                  <a:lnTo>
                    <a:pt x="1440" y="1356"/>
                  </a:lnTo>
                  <a:lnTo>
                    <a:pt x="1434" y="1344"/>
                  </a:lnTo>
                  <a:lnTo>
                    <a:pt x="1422" y="1332"/>
                  </a:lnTo>
                  <a:lnTo>
                    <a:pt x="1416" y="1326"/>
                  </a:lnTo>
                  <a:lnTo>
                    <a:pt x="1404" y="1320"/>
                  </a:lnTo>
                  <a:lnTo>
                    <a:pt x="1404" y="1314"/>
                  </a:lnTo>
                  <a:lnTo>
                    <a:pt x="1374" y="1308"/>
                  </a:lnTo>
                  <a:lnTo>
                    <a:pt x="1368" y="1326"/>
                  </a:lnTo>
                  <a:lnTo>
                    <a:pt x="1344" y="1338"/>
                  </a:lnTo>
                  <a:lnTo>
                    <a:pt x="1326" y="1332"/>
                  </a:lnTo>
                  <a:lnTo>
                    <a:pt x="1302" y="1332"/>
                  </a:lnTo>
                  <a:lnTo>
                    <a:pt x="1278" y="1338"/>
                  </a:lnTo>
                  <a:lnTo>
                    <a:pt x="1236" y="1338"/>
                  </a:lnTo>
                  <a:lnTo>
                    <a:pt x="1224" y="1338"/>
                  </a:lnTo>
                  <a:lnTo>
                    <a:pt x="1224" y="1326"/>
                  </a:lnTo>
                  <a:lnTo>
                    <a:pt x="1206" y="1326"/>
                  </a:lnTo>
                  <a:lnTo>
                    <a:pt x="1170" y="1326"/>
                  </a:lnTo>
                  <a:lnTo>
                    <a:pt x="1152" y="1326"/>
                  </a:lnTo>
                  <a:lnTo>
                    <a:pt x="1140" y="1314"/>
                  </a:lnTo>
                  <a:lnTo>
                    <a:pt x="1134" y="1296"/>
                  </a:lnTo>
                  <a:lnTo>
                    <a:pt x="1134" y="1284"/>
                  </a:lnTo>
                  <a:lnTo>
                    <a:pt x="1128" y="1254"/>
                  </a:lnTo>
                  <a:lnTo>
                    <a:pt x="1128" y="1242"/>
                  </a:lnTo>
                  <a:lnTo>
                    <a:pt x="1122" y="1230"/>
                  </a:lnTo>
                  <a:lnTo>
                    <a:pt x="1104" y="1218"/>
                  </a:lnTo>
                  <a:lnTo>
                    <a:pt x="1104" y="1212"/>
                  </a:lnTo>
                  <a:lnTo>
                    <a:pt x="1092" y="1206"/>
                  </a:lnTo>
                  <a:lnTo>
                    <a:pt x="1080" y="1194"/>
                  </a:lnTo>
                  <a:lnTo>
                    <a:pt x="1068" y="1176"/>
                  </a:lnTo>
                  <a:lnTo>
                    <a:pt x="1050" y="1152"/>
                  </a:lnTo>
                  <a:lnTo>
                    <a:pt x="1020" y="1098"/>
                  </a:lnTo>
                  <a:lnTo>
                    <a:pt x="978" y="1026"/>
                  </a:lnTo>
                  <a:lnTo>
                    <a:pt x="978" y="1014"/>
                  </a:lnTo>
                  <a:lnTo>
                    <a:pt x="972" y="1014"/>
                  </a:lnTo>
                  <a:lnTo>
                    <a:pt x="972" y="1008"/>
                  </a:lnTo>
                  <a:lnTo>
                    <a:pt x="978" y="1002"/>
                  </a:lnTo>
                  <a:lnTo>
                    <a:pt x="960" y="966"/>
                  </a:lnTo>
                  <a:lnTo>
                    <a:pt x="948" y="954"/>
                  </a:lnTo>
                  <a:lnTo>
                    <a:pt x="948" y="936"/>
                  </a:lnTo>
                  <a:lnTo>
                    <a:pt x="936" y="900"/>
                  </a:lnTo>
                  <a:lnTo>
                    <a:pt x="942" y="876"/>
                  </a:lnTo>
                  <a:lnTo>
                    <a:pt x="942" y="834"/>
                  </a:lnTo>
                  <a:lnTo>
                    <a:pt x="960" y="828"/>
                  </a:lnTo>
                  <a:lnTo>
                    <a:pt x="966" y="816"/>
                  </a:lnTo>
                  <a:lnTo>
                    <a:pt x="972" y="810"/>
                  </a:lnTo>
                  <a:lnTo>
                    <a:pt x="978" y="804"/>
                  </a:lnTo>
                  <a:lnTo>
                    <a:pt x="996" y="798"/>
                  </a:lnTo>
                  <a:lnTo>
                    <a:pt x="996" y="792"/>
                  </a:lnTo>
                  <a:lnTo>
                    <a:pt x="1014" y="780"/>
                  </a:lnTo>
                  <a:lnTo>
                    <a:pt x="1026" y="768"/>
                  </a:lnTo>
                  <a:lnTo>
                    <a:pt x="1032" y="762"/>
                  </a:lnTo>
                  <a:lnTo>
                    <a:pt x="1026" y="756"/>
                  </a:lnTo>
                  <a:lnTo>
                    <a:pt x="1014" y="744"/>
                  </a:lnTo>
                  <a:lnTo>
                    <a:pt x="996" y="756"/>
                  </a:lnTo>
                  <a:lnTo>
                    <a:pt x="954" y="768"/>
                  </a:lnTo>
                  <a:lnTo>
                    <a:pt x="942" y="762"/>
                  </a:lnTo>
                  <a:lnTo>
                    <a:pt x="942" y="756"/>
                  </a:lnTo>
                  <a:lnTo>
                    <a:pt x="936" y="750"/>
                  </a:lnTo>
                  <a:lnTo>
                    <a:pt x="846" y="732"/>
                  </a:lnTo>
                  <a:lnTo>
                    <a:pt x="822" y="726"/>
                  </a:lnTo>
                  <a:lnTo>
                    <a:pt x="810" y="714"/>
                  </a:lnTo>
                  <a:lnTo>
                    <a:pt x="792" y="690"/>
                  </a:lnTo>
                  <a:lnTo>
                    <a:pt x="792" y="678"/>
                  </a:lnTo>
                  <a:lnTo>
                    <a:pt x="762" y="642"/>
                  </a:lnTo>
                  <a:lnTo>
                    <a:pt x="750" y="636"/>
                  </a:lnTo>
                  <a:lnTo>
                    <a:pt x="726" y="630"/>
                  </a:lnTo>
                  <a:lnTo>
                    <a:pt x="696" y="642"/>
                  </a:lnTo>
                  <a:lnTo>
                    <a:pt x="678" y="654"/>
                  </a:lnTo>
                  <a:lnTo>
                    <a:pt x="666" y="684"/>
                  </a:lnTo>
                  <a:lnTo>
                    <a:pt x="660" y="726"/>
                  </a:lnTo>
                  <a:lnTo>
                    <a:pt x="606" y="756"/>
                  </a:lnTo>
                  <a:lnTo>
                    <a:pt x="558" y="780"/>
                  </a:lnTo>
                  <a:lnTo>
                    <a:pt x="438" y="834"/>
                  </a:lnTo>
                  <a:lnTo>
                    <a:pt x="402" y="846"/>
                  </a:lnTo>
                  <a:lnTo>
                    <a:pt x="372" y="870"/>
                  </a:lnTo>
                  <a:lnTo>
                    <a:pt x="360" y="876"/>
                  </a:lnTo>
                  <a:lnTo>
                    <a:pt x="354" y="876"/>
                  </a:lnTo>
                  <a:lnTo>
                    <a:pt x="330" y="882"/>
                  </a:lnTo>
                  <a:lnTo>
                    <a:pt x="306" y="882"/>
                  </a:lnTo>
                  <a:lnTo>
                    <a:pt x="300" y="876"/>
                  </a:lnTo>
                  <a:lnTo>
                    <a:pt x="294" y="876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76" y="864"/>
                  </a:lnTo>
                  <a:lnTo>
                    <a:pt x="270" y="870"/>
                  </a:lnTo>
                  <a:lnTo>
                    <a:pt x="264" y="870"/>
                  </a:lnTo>
                  <a:lnTo>
                    <a:pt x="240" y="894"/>
                  </a:lnTo>
                  <a:lnTo>
                    <a:pt x="234" y="894"/>
                  </a:lnTo>
                  <a:lnTo>
                    <a:pt x="228" y="900"/>
                  </a:lnTo>
                  <a:lnTo>
                    <a:pt x="222" y="906"/>
                  </a:lnTo>
                  <a:lnTo>
                    <a:pt x="210" y="912"/>
                  </a:lnTo>
                  <a:lnTo>
                    <a:pt x="204" y="912"/>
                  </a:lnTo>
                  <a:lnTo>
                    <a:pt x="198" y="912"/>
                  </a:lnTo>
                  <a:lnTo>
                    <a:pt x="192" y="918"/>
                  </a:lnTo>
                  <a:lnTo>
                    <a:pt x="180" y="918"/>
                  </a:lnTo>
                  <a:lnTo>
                    <a:pt x="174" y="930"/>
                  </a:lnTo>
                  <a:lnTo>
                    <a:pt x="174" y="936"/>
                  </a:lnTo>
                  <a:lnTo>
                    <a:pt x="168" y="942"/>
                  </a:lnTo>
                  <a:lnTo>
                    <a:pt x="162" y="942"/>
                  </a:lnTo>
                  <a:lnTo>
                    <a:pt x="150" y="960"/>
                  </a:lnTo>
                  <a:lnTo>
                    <a:pt x="144" y="966"/>
                  </a:lnTo>
                  <a:lnTo>
                    <a:pt x="138" y="972"/>
                  </a:lnTo>
                  <a:lnTo>
                    <a:pt x="132" y="972"/>
                  </a:lnTo>
                  <a:lnTo>
                    <a:pt x="126" y="984"/>
                  </a:lnTo>
                  <a:lnTo>
                    <a:pt x="120" y="984"/>
                  </a:lnTo>
                  <a:lnTo>
                    <a:pt x="114" y="990"/>
                  </a:lnTo>
                  <a:lnTo>
                    <a:pt x="96" y="990"/>
                  </a:lnTo>
                  <a:lnTo>
                    <a:pt x="90" y="990"/>
                  </a:lnTo>
                  <a:lnTo>
                    <a:pt x="78" y="990"/>
                  </a:lnTo>
                  <a:lnTo>
                    <a:pt x="72" y="990"/>
                  </a:lnTo>
                  <a:lnTo>
                    <a:pt x="60" y="990"/>
                  </a:lnTo>
                  <a:lnTo>
                    <a:pt x="42" y="990"/>
                  </a:lnTo>
                  <a:lnTo>
                    <a:pt x="36" y="996"/>
                  </a:lnTo>
                  <a:lnTo>
                    <a:pt x="30" y="1002"/>
                  </a:lnTo>
                  <a:lnTo>
                    <a:pt x="24" y="1014"/>
                  </a:lnTo>
                  <a:lnTo>
                    <a:pt x="24" y="1020"/>
                  </a:lnTo>
                  <a:lnTo>
                    <a:pt x="18" y="1020"/>
                  </a:lnTo>
                  <a:lnTo>
                    <a:pt x="12" y="1014"/>
                  </a:lnTo>
                  <a:lnTo>
                    <a:pt x="12" y="1008"/>
                  </a:lnTo>
                  <a:lnTo>
                    <a:pt x="12" y="990"/>
                  </a:lnTo>
                  <a:lnTo>
                    <a:pt x="12" y="984"/>
                  </a:lnTo>
                  <a:lnTo>
                    <a:pt x="12" y="972"/>
                  </a:lnTo>
                  <a:lnTo>
                    <a:pt x="12" y="966"/>
                  </a:lnTo>
                  <a:lnTo>
                    <a:pt x="6" y="966"/>
                  </a:lnTo>
                  <a:lnTo>
                    <a:pt x="6" y="960"/>
                  </a:lnTo>
                  <a:lnTo>
                    <a:pt x="6" y="954"/>
                  </a:lnTo>
                  <a:lnTo>
                    <a:pt x="6" y="948"/>
                  </a:lnTo>
                  <a:lnTo>
                    <a:pt x="6" y="942"/>
                  </a:lnTo>
                  <a:lnTo>
                    <a:pt x="12" y="930"/>
                  </a:lnTo>
                  <a:lnTo>
                    <a:pt x="6" y="924"/>
                  </a:lnTo>
                  <a:lnTo>
                    <a:pt x="6" y="918"/>
                  </a:lnTo>
                  <a:lnTo>
                    <a:pt x="6" y="912"/>
                  </a:lnTo>
                  <a:lnTo>
                    <a:pt x="6" y="906"/>
                  </a:lnTo>
                  <a:lnTo>
                    <a:pt x="6" y="900"/>
                  </a:lnTo>
                  <a:lnTo>
                    <a:pt x="0" y="894"/>
                  </a:lnTo>
                  <a:lnTo>
                    <a:pt x="0" y="888"/>
                  </a:lnTo>
                  <a:lnTo>
                    <a:pt x="0" y="882"/>
                  </a:lnTo>
                  <a:lnTo>
                    <a:pt x="6" y="876"/>
                  </a:lnTo>
                  <a:lnTo>
                    <a:pt x="6" y="870"/>
                  </a:lnTo>
                  <a:lnTo>
                    <a:pt x="18" y="864"/>
                  </a:lnTo>
                  <a:lnTo>
                    <a:pt x="18" y="858"/>
                  </a:lnTo>
                  <a:lnTo>
                    <a:pt x="18" y="846"/>
                  </a:lnTo>
                  <a:lnTo>
                    <a:pt x="18" y="834"/>
                  </a:lnTo>
                  <a:lnTo>
                    <a:pt x="18" y="828"/>
                  </a:lnTo>
                  <a:lnTo>
                    <a:pt x="24" y="828"/>
                  </a:lnTo>
                  <a:lnTo>
                    <a:pt x="24" y="810"/>
                  </a:lnTo>
                  <a:lnTo>
                    <a:pt x="24" y="804"/>
                  </a:lnTo>
                  <a:lnTo>
                    <a:pt x="18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24" y="792"/>
                  </a:lnTo>
                  <a:lnTo>
                    <a:pt x="30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6" y="762"/>
                  </a:lnTo>
                  <a:lnTo>
                    <a:pt x="36" y="756"/>
                  </a:lnTo>
                  <a:lnTo>
                    <a:pt x="30" y="756"/>
                  </a:lnTo>
                  <a:lnTo>
                    <a:pt x="30" y="750"/>
                  </a:lnTo>
                  <a:lnTo>
                    <a:pt x="36" y="750"/>
                  </a:lnTo>
                  <a:lnTo>
                    <a:pt x="36" y="744"/>
                  </a:lnTo>
                  <a:lnTo>
                    <a:pt x="30" y="744"/>
                  </a:lnTo>
                  <a:lnTo>
                    <a:pt x="30" y="738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0" y="732"/>
                  </a:lnTo>
                  <a:lnTo>
                    <a:pt x="36" y="726"/>
                  </a:lnTo>
                  <a:lnTo>
                    <a:pt x="30" y="726"/>
                  </a:lnTo>
                  <a:lnTo>
                    <a:pt x="24" y="726"/>
                  </a:lnTo>
                  <a:lnTo>
                    <a:pt x="30" y="720"/>
                  </a:lnTo>
                  <a:lnTo>
                    <a:pt x="30" y="714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696"/>
                  </a:lnTo>
                  <a:lnTo>
                    <a:pt x="66" y="702"/>
                  </a:lnTo>
                  <a:lnTo>
                    <a:pt x="78" y="702"/>
                  </a:lnTo>
                  <a:lnTo>
                    <a:pt x="84" y="702"/>
                  </a:lnTo>
                  <a:lnTo>
                    <a:pt x="96" y="696"/>
                  </a:lnTo>
                  <a:lnTo>
                    <a:pt x="102" y="690"/>
                  </a:lnTo>
                  <a:lnTo>
                    <a:pt x="102" y="684"/>
                  </a:lnTo>
                  <a:lnTo>
                    <a:pt x="114" y="684"/>
                  </a:lnTo>
                  <a:lnTo>
                    <a:pt x="144" y="684"/>
                  </a:lnTo>
                  <a:lnTo>
                    <a:pt x="150" y="690"/>
                  </a:lnTo>
                  <a:lnTo>
                    <a:pt x="162" y="696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6" y="690"/>
                  </a:lnTo>
                  <a:lnTo>
                    <a:pt x="192" y="690"/>
                  </a:lnTo>
                  <a:lnTo>
                    <a:pt x="198" y="684"/>
                  </a:lnTo>
                  <a:lnTo>
                    <a:pt x="204" y="684"/>
                  </a:lnTo>
                  <a:lnTo>
                    <a:pt x="210" y="684"/>
                  </a:lnTo>
                  <a:lnTo>
                    <a:pt x="222" y="678"/>
                  </a:lnTo>
                  <a:lnTo>
                    <a:pt x="228" y="678"/>
                  </a:lnTo>
                  <a:lnTo>
                    <a:pt x="228" y="660"/>
                  </a:lnTo>
                  <a:lnTo>
                    <a:pt x="234" y="642"/>
                  </a:lnTo>
                  <a:lnTo>
                    <a:pt x="246" y="618"/>
                  </a:lnTo>
                  <a:lnTo>
                    <a:pt x="252" y="618"/>
                  </a:lnTo>
                  <a:lnTo>
                    <a:pt x="252" y="600"/>
                  </a:lnTo>
                  <a:lnTo>
                    <a:pt x="252" y="588"/>
                  </a:lnTo>
                  <a:lnTo>
                    <a:pt x="252" y="582"/>
                  </a:lnTo>
                  <a:lnTo>
                    <a:pt x="258" y="576"/>
                  </a:lnTo>
                  <a:lnTo>
                    <a:pt x="270" y="564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70" y="522"/>
                  </a:lnTo>
                  <a:lnTo>
                    <a:pt x="270" y="510"/>
                  </a:lnTo>
                  <a:lnTo>
                    <a:pt x="270" y="498"/>
                  </a:lnTo>
                  <a:lnTo>
                    <a:pt x="258" y="468"/>
                  </a:lnTo>
                  <a:lnTo>
                    <a:pt x="252" y="456"/>
                  </a:lnTo>
                  <a:lnTo>
                    <a:pt x="258" y="444"/>
                  </a:lnTo>
                  <a:lnTo>
                    <a:pt x="264" y="432"/>
                  </a:lnTo>
                  <a:lnTo>
                    <a:pt x="270" y="426"/>
                  </a:lnTo>
                  <a:lnTo>
                    <a:pt x="276" y="420"/>
                  </a:lnTo>
                  <a:lnTo>
                    <a:pt x="288" y="420"/>
                  </a:lnTo>
                  <a:lnTo>
                    <a:pt x="288" y="414"/>
                  </a:lnTo>
                  <a:lnTo>
                    <a:pt x="294" y="414"/>
                  </a:lnTo>
                  <a:lnTo>
                    <a:pt x="306" y="390"/>
                  </a:lnTo>
                  <a:lnTo>
                    <a:pt x="312" y="384"/>
                  </a:lnTo>
                  <a:lnTo>
                    <a:pt x="318" y="378"/>
                  </a:lnTo>
                  <a:lnTo>
                    <a:pt x="318" y="372"/>
                  </a:lnTo>
                  <a:lnTo>
                    <a:pt x="324" y="366"/>
                  </a:lnTo>
                  <a:lnTo>
                    <a:pt x="330" y="354"/>
                  </a:lnTo>
                  <a:lnTo>
                    <a:pt x="336" y="348"/>
                  </a:lnTo>
                  <a:lnTo>
                    <a:pt x="336" y="330"/>
                  </a:lnTo>
                  <a:lnTo>
                    <a:pt x="342" y="324"/>
                  </a:lnTo>
                  <a:lnTo>
                    <a:pt x="342" y="318"/>
                  </a:lnTo>
                  <a:lnTo>
                    <a:pt x="348" y="318"/>
                  </a:lnTo>
                  <a:lnTo>
                    <a:pt x="360" y="318"/>
                  </a:lnTo>
                  <a:lnTo>
                    <a:pt x="372" y="318"/>
                  </a:lnTo>
                  <a:lnTo>
                    <a:pt x="384" y="306"/>
                  </a:lnTo>
                  <a:lnTo>
                    <a:pt x="396" y="300"/>
                  </a:lnTo>
                  <a:lnTo>
                    <a:pt x="396" y="294"/>
                  </a:lnTo>
                  <a:lnTo>
                    <a:pt x="396" y="288"/>
                  </a:lnTo>
                  <a:lnTo>
                    <a:pt x="390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2"/>
                  </a:lnTo>
                  <a:lnTo>
                    <a:pt x="378" y="246"/>
                  </a:lnTo>
                  <a:lnTo>
                    <a:pt x="384" y="228"/>
                  </a:lnTo>
                  <a:lnTo>
                    <a:pt x="390" y="216"/>
                  </a:lnTo>
                  <a:lnTo>
                    <a:pt x="402" y="210"/>
                  </a:lnTo>
                  <a:lnTo>
                    <a:pt x="408" y="210"/>
                  </a:lnTo>
                  <a:lnTo>
                    <a:pt x="420" y="204"/>
                  </a:lnTo>
                  <a:lnTo>
                    <a:pt x="444" y="198"/>
                  </a:lnTo>
                  <a:lnTo>
                    <a:pt x="462" y="192"/>
                  </a:lnTo>
                  <a:lnTo>
                    <a:pt x="474" y="186"/>
                  </a:lnTo>
                  <a:lnTo>
                    <a:pt x="480" y="192"/>
                  </a:lnTo>
                  <a:lnTo>
                    <a:pt x="492" y="192"/>
                  </a:lnTo>
                  <a:lnTo>
                    <a:pt x="498" y="192"/>
                  </a:lnTo>
                  <a:lnTo>
                    <a:pt x="504" y="192"/>
                  </a:lnTo>
                  <a:lnTo>
                    <a:pt x="510" y="192"/>
                  </a:lnTo>
                  <a:lnTo>
                    <a:pt x="516" y="186"/>
                  </a:lnTo>
                  <a:lnTo>
                    <a:pt x="522" y="180"/>
                  </a:lnTo>
                  <a:lnTo>
                    <a:pt x="522" y="174"/>
                  </a:lnTo>
                  <a:lnTo>
                    <a:pt x="528" y="168"/>
                  </a:lnTo>
                  <a:lnTo>
                    <a:pt x="534" y="168"/>
                  </a:lnTo>
                  <a:lnTo>
                    <a:pt x="534" y="156"/>
                  </a:lnTo>
                  <a:lnTo>
                    <a:pt x="534" y="150"/>
                  </a:lnTo>
                  <a:lnTo>
                    <a:pt x="552" y="138"/>
                  </a:lnTo>
                  <a:lnTo>
                    <a:pt x="558" y="126"/>
                  </a:lnTo>
                  <a:lnTo>
                    <a:pt x="558" y="114"/>
                  </a:lnTo>
                  <a:lnTo>
                    <a:pt x="564" y="102"/>
                  </a:lnTo>
                  <a:lnTo>
                    <a:pt x="564" y="96"/>
                  </a:lnTo>
                  <a:lnTo>
                    <a:pt x="564" y="90"/>
                  </a:lnTo>
                  <a:lnTo>
                    <a:pt x="564" y="72"/>
                  </a:lnTo>
                  <a:lnTo>
                    <a:pt x="564" y="60"/>
                  </a:lnTo>
                  <a:lnTo>
                    <a:pt x="564" y="54"/>
                  </a:lnTo>
                  <a:lnTo>
                    <a:pt x="570" y="42"/>
                  </a:lnTo>
                  <a:lnTo>
                    <a:pt x="576" y="42"/>
                  </a:lnTo>
                  <a:lnTo>
                    <a:pt x="582" y="36"/>
                  </a:lnTo>
                  <a:lnTo>
                    <a:pt x="594" y="36"/>
                  </a:lnTo>
                  <a:lnTo>
                    <a:pt x="594" y="30"/>
                  </a:lnTo>
                  <a:lnTo>
                    <a:pt x="600" y="24"/>
                  </a:lnTo>
                  <a:lnTo>
                    <a:pt x="600" y="12"/>
                  </a:lnTo>
                  <a:lnTo>
                    <a:pt x="606" y="6"/>
                  </a:lnTo>
                  <a:lnTo>
                    <a:pt x="606" y="0"/>
                  </a:lnTo>
                  <a:lnTo>
                    <a:pt x="612" y="0"/>
                  </a:lnTo>
                  <a:lnTo>
                    <a:pt x="618" y="0"/>
                  </a:lnTo>
                  <a:lnTo>
                    <a:pt x="624" y="6"/>
                  </a:lnTo>
                  <a:lnTo>
                    <a:pt x="624" y="12"/>
                  </a:lnTo>
                  <a:lnTo>
                    <a:pt x="624" y="18"/>
                  </a:lnTo>
                  <a:lnTo>
                    <a:pt x="624" y="24"/>
                  </a:lnTo>
                  <a:lnTo>
                    <a:pt x="624" y="30"/>
                  </a:lnTo>
                  <a:lnTo>
                    <a:pt x="630" y="30"/>
                  </a:lnTo>
                  <a:lnTo>
                    <a:pt x="630" y="36"/>
                  </a:lnTo>
                  <a:lnTo>
                    <a:pt x="630" y="42"/>
                  </a:lnTo>
                  <a:lnTo>
                    <a:pt x="630" y="48"/>
                  </a:lnTo>
                  <a:lnTo>
                    <a:pt x="636" y="54"/>
                  </a:lnTo>
                  <a:lnTo>
                    <a:pt x="642" y="48"/>
                  </a:lnTo>
                  <a:lnTo>
                    <a:pt x="648" y="48"/>
                  </a:lnTo>
                  <a:lnTo>
                    <a:pt x="648" y="60"/>
                  </a:lnTo>
                  <a:lnTo>
                    <a:pt x="654" y="66"/>
                  </a:lnTo>
                  <a:lnTo>
                    <a:pt x="660" y="72"/>
                  </a:lnTo>
                  <a:lnTo>
                    <a:pt x="666" y="72"/>
                  </a:lnTo>
                  <a:lnTo>
                    <a:pt x="666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72" y="66"/>
                  </a:lnTo>
                  <a:lnTo>
                    <a:pt x="678" y="66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6" y="66"/>
                  </a:lnTo>
                  <a:lnTo>
                    <a:pt x="696" y="72"/>
                  </a:lnTo>
                  <a:lnTo>
                    <a:pt x="702" y="72"/>
                  </a:lnTo>
                  <a:lnTo>
                    <a:pt x="708" y="72"/>
                  </a:lnTo>
                  <a:lnTo>
                    <a:pt x="720" y="66"/>
                  </a:lnTo>
                  <a:lnTo>
                    <a:pt x="726" y="78"/>
                  </a:lnTo>
                  <a:lnTo>
                    <a:pt x="744" y="84"/>
                  </a:lnTo>
                  <a:lnTo>
                    <a:pt x="744" y="90"/>
                  </a:lnTo>
                  <a:lnTo>
                    <a:pt x="744" y="96"/>
                  </a:lnTo>
                  <a:lnTo>
                    <a:pt x="738" y="96"/>
                  </a:lnTo>
                  <a:lnTo>
                    <a:pt x="738" y="102"/>
                  </a:lnTo>
                  <a:lnTo>
                    <a:pt x="732" y="102"/>
                  </a:lnTo>
                  <a:lnTo>
                    <a:pt x="732" y="108"/>
                  </a:lnTo>
                  <a:lnTo>
                    <a:pt x="738" y="108"/>
                  </a:lnTo>
                  <a:lnTo>
                    <a:pt x="744" y="114"/>
                  </a:lnTo>
                  <a:lnTo>
                    <a:pt x="750" y="108"/>
                  </a:lnTo>
                  <a:lnTo>
                    <a:pt x="756" y="108"/>
                  </a:lnTo>
                  <a:lnTo>
                    <a:pt x="762" y="108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80" y="120"/>
                  </a:lnTo>
                  <a:lnTo>
                    <a:pt x="774" y="120"/>
                  </a:lnTo>
                  <a:lnTo>
                    <a:pt x="768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74" y="138"/>
                  </a:lnTo>
                  <a:lnTo>
                    <a:pt x="774" y="132"/>
                  </a:lnTo>
                  <a:lnTo>
                    <a:pt x="780" y="132"/>
                  </a:lnTo>
                  <a:lnTo>
                    <a:pt x="786" y="132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44"/>
                  </a:lnTo>
                  <a:lnTo>
                    <a:pt x="786" y="150"/>
                  </a:lnTo>
                  <a:lnTo>
                    <a:pt x="780" y="150"/>
                  </a:lnTo>
                  <a:lnTo>
                    <a:pt x="774" y="150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74" y="162"/>
                  </a:lnTo>
                  <a:lnTo>
                    <a:pt x="780" y="162"/>
                  </a:lnTo>
                  <a:lnTo>
                    <a:pt x="786" y="168"/>
                  </a:lnTo>
                  <a:lnTo>
                    <a:pt x="792" y="162"/>
                  </a:lnTo>
                  <a:lnTo>
                    <a:pt x="798" y="168"/>
                  </a:lnTo>
                  <a:lnTo>
                    <a:pt x="798" y="174"/>
                  </a:lnTo>
                  <a:lnTo>
                    <a:pt x="804" y="168"/>
                  </a:lnTo>
                  <a:lnTo>
                    <a:pt x="810" y="168"/>
                  </a:lnTo>
                  <a:lnTo>
                    <a:pt x="810" y="174"/>
                  </a:lnTo>
                  <a:lnTo>
                    <a:pt x="816" y="168"/>
                  </a:lnTo>
                  <a:lnTo>
                    <a:pt x="822" y="162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74"/>
                  </a:lnTo>
                  <a:lnTo>
                    <a:pt x="834" y="192"/>
                  </a:lnTo>
                  <a:lnTo>
                    <a:pt x="834" y="198"/>
                  </a:lnTo>
                  <a:lnTo>
                    <a:pt x="840" y="192"/>
                  </a:lnTo>
                  <a:lnTo>
                    <a:pt x="846" y="192"/>
                  </a:lnTo>
                  <a:lnTo>
                    <a:pt x="852" y="186"/>
                  </a:lnTo>
                  <a:lnTo>
                    <a:pt x="858" y="192"/>
                  </a:lnTo>
                  <a:lnTo>
                    <a:pt x="864" y="192"/>
                  </a:lnTo>
                  <a:lnTo>
                    <a:pt x="870" y="198"/>
                  </a:lnTo>
                  <a:lnTo>
                    <a:pt x="876" y="180"/>
                  </a:lnTo>
                  <a:lnTo>
                    <a:pt x="882" y="180"/>
                  </a:lnTo>
                  <a:lnTo>
                    <a:pt x="888" y="180"/>
                  </a:lnTo>
                  <a:lnTo>
                    <a:pt x="894" y="186"/>
                  </a:lnTo>
                  <a:lnTo>
                    <a:pt x="888" y="198"/>
                  </a:lnTo>
                  <a:lnTo>
                    <a:pt x="894" y="204"/>
                  </a:lnTo>
                  <a:lnTo>
                    <a:pt x="906" y="210"/>
                  </a:lnTo>
                  <a:lnTo>
                    <a:pt x="918" y="246"/>
                  </a:lnTo>
                  <a:lnTo>
                    <a:pt x="930" y="258"/>
                  </a:lnTo>
                  <a:lnTo>
                    <a:pt x="942" y="282"/>
                  </a:lnTo>
                  <a:lnTo>
                    <a:pt x="966" y="288"/>
                  </a:lnTo>
                  <a:lnTo>
                    <a:pt x="972" y="300"/>
                  </a:lnTo>
                  <a:lnTo>
                    <a:pt x="972" y="318"/>
                  </a:lnTo>
                  <a:lnTo>
                    <a:pt x="996" y="336"/>
                  </a:lnTo>
                  <a:lnTo>
                    <a:pt x="1050" y="390"/>
                  </a:lnTo>
                  <a:lnTo>
                    <a:pt x="1116" y="462"/>
                  </a:lnTo>
                  <a:lnTo>
                    <a:pt x="1122" y="468"/>
                  </a:lnTo>
                  <a:lnTo>
                    <a:pt x="1128" y="474"/>
                  </a:lnTo>
                  <a:lnTo>
                    <a:pt x="1140" y="474"/>
                  </a:lnTo>
                  <a:lnTo>
                    <a:pt x="1152" y="486"/>
                  </a:lnTo>
                  <a:lnTo>
                    <a:pt x="1152" y="492"/>
                  </a:lnTo>
                  <a:lnTo>
                    <a:pt x="1158" y="492"/>
                  </a:lnTo>
                  <a:lnTo>
                    <a:pt x="1164" y="492"/>
                  </a:lnTo>
                  <a:lnTo>
                    <a:pt x="1170" y="504"/>
                  </a:lnTo>
                  <a:lnTo>
                    <a:pt x="1176" y="504"/>
                  </a:lnTo>
                  <a:lnTo>
                    <a:pt x="1176" y="510"/>
                  </a:lnTo>
                  <a:lnTo>
                    <a:pt x="1200" y="516"/>
                  </a:lnTo>
                  <a:lnTo>
                    <a:pt x="1200" y="522"/>
                  </a:lnTo>
                  <a:lnTo>
                    <a:pt x="1212" y="534"/>
                  </a:lnTo>
                  <a:lnTo>
                    <a:pt x="1218" y="540"/>
                  </a:lnTo>
                  <a:lnTo>
                    <a:pt x="1224" y="552"/>
                  </a:lnTo>
                  <a:lnTo>
                    <a:pt x="1230" y="552"/>
                  </a:lnTo>
                  <a:lnTo>
                    <a:pt x="1242" y="552"/>
                  </a:lnTo>
                  <a:lnTo>
                    <a:pt x="1248" y="558"/>
                  </a:lnTo>
                  <a:lnTo>
                    <a:pt x="1254" y="558"/>
                  </a:lnTo>
                  <a:lnTo>
                    <a:pt x="1260" y="564"/>
                  </a:lnTo>
                  <a:lnTo>
                    <a:pt x="1266" y="564"/>
                  </a:lnTo>
                  <a:lnTo>
                    <a:pt x="1272" y="564"/>
                  </a:lnTo>
                  <a:lnTo>
                    <a:pt x="1284" y="564"/>
                  </a:lnTo>
                  <a:lnTo>
                    <a:pt x="1290" y="570"/>
                  </a:lnTo>
                  <a:lnTo>
                    <a:pt x="1296" y="576"/>
                  </a:lnTo>
                  <a:lnTo>
                    <a:pt x="1302" y="588"/>
                  </a:lnTo>
                  <a:lnTo>
                    <a:pt x="1296" y="594"/>
                  </a:lnTo>
                  <a:lnTo>
                    <a:pt x="1296" y="600"/>
                  </a:lnTo>
                  <a:lnTo>
                    <a:pt x="1296" y="606"/>
                  </a:lnTo>
                  <a:lnTo>
                    <a:pt x="1290" y="612"/>
                  </a:lnTo>
                  <a:lnTo>
                    <a:pt x="1290" y="624"/>
                  </a:lnTo>
                  <a:lnTo>
                    <a:pt x="1290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308" y="654"/>
                  </a:lnTo>
                  <a:lnTo>
                    <a:pt x="1320" y="654"/>
                  </a:lnTo>
                  <a:lnTo>
                    <a:pt x="1326" y="660"/>
                  </a:lnTo>
                  <a:lnTo>
                    <a:pt x="1338" y="654"/>
                  </a:lnTo>
                  <a:lnTo>
                    <a:pt x="1344" y="654"/>
                  </a:lnTo>
                  <a:lnTo>
                    <a:pt x="1356" y="654"/>
                  </a:lnTo>
                  <a:lnTo>
                    <a:pt x="1362" y="648"/>
                  </a:lnTo>
                  <a:lnTo>
                    <a:pt x="1368" y="642"/>
                  </a:lnTo>
                  <a:lnTo>
                    <a:pt x="1374" y="636"/>
                  </a:lnTo>
                  <a:lnTo>
                    <a:pt x="1380" y="636"/>
                  </a:lnTo>
                  <a:lnTo>
                    <a:pt x="1392" y="636"/>
                  </a:lnTo>
                  <a:lnTo>
                    <a:pt x="1398" y="636"/>
                  </a:lnTo>
                  <a:lnTo>
                    <a:pt x="1404" y="636"/>
                  </a:lnTo>
                  <a:lnTo>
                    <a:pt x="1410" y="630"/>
                  </a:lnTo>
                  <a:lnTo>
                    <a:pt x="1410" y="624"/>
                  </a:lnTo>
                  <a:lnTo>
                    <a:pt x="1422" y="618"/>
                  </a:lnTo>
                  <a:lnTo>
                    <a:pt x="1428" y="618"/>
                  </a:lnTo>
                  <a:lnTo>
                    <a:pt x="1440" y="612"/>
                  </a:lnTo>
                  <a:lnTo>
                    <a:pt x="1446" y="612"/>
                  </a:lnTo>
                  <a:lnTo>
                    <a:pt x="1458" y="612"/>
                  </a:lnTo>
                  <a:lnTo>
                    <a:pt x="1470" y="624"/>
                  </a:lnTo>
                  <a:lnTo>
                    <a:pt x="1488" y="642"/>
                  </a:lnTo>
                  <a:lnTo>
                    <a:pt x="1500" y="648"/>
                  </a:lnTo>
                  <a:lnTo>
                    <a:pt x="1512" y="654"/>
                  </a:lnTo>
                  <a:lnTo>
                    <a:pt x="1518" y="660"/>
                  </a:lnTo>
                  <a:lnTo>
                    <a:pt x="1524" y="660"/>
                  </a:lnTo>
                  <a:lnTo>
                    <a:pt x="1530" y="660"/>
                  </a:lnTo>
                  <a:lnTo>
                    <a:pt x="1536" y="666"/>
                  </a:lnTo>
                  <a:lnTo>
                    <a:pt x="1542" y="672"/>
                  </a:lnTo>
                  <a:lnTo>
                    <a:pt x="1548" y="672"/>
                  </a:lnTo>
                  <a:lnTo>
                    <a:pt x="1554" y="684"/>
                  </a:lnTo>
                  <a:lnTo>
                    <a:pt x="1554" y="690"/>
                  </a:lnTo>
                  <a:lnTo>
                    <a:pt x="1566" y="702"/>
                  </a:lnTo>
                  <a:lnTo>
                    <a:pt x="1572" y="720"/>
                  </a:lnTo>
                  <a:lnTo>
                    <a:pt x="1572" y="726"/>
                  </a:lnTo>
                  <a:lnTo>
                    <a:pt x="1578" y="732"/>
                  </a:lnTo>
                  <a:lnTo>
                    <a:pt x="1584" y="738"/>
                  </a:lnTo>
                  <a:lnTo>
                    <a:pt x="1590" y="738"/>
                  </a:lnTo>
                  <a:lnTo>
                    <a:pt x="1596" y="738"/>
                  </a:lnTo>
                  <a:lnTo>
                    <a:pt x="1602" y="744"/>
                  </a:lnTo>
                  <a:lnTo>
                    <a:pt x="1608" y="744"/>
                  </a:lnTo>
                  <a:lnTo>
                    <a:pt x="1614" y="744"/>
                  </a:lnTo>
                  <a:lnTo>
                    <a:pt x="1626" y="744"/>
                  </a:lnTo>
                  <a:lnTo>
                    <a:pt x="1638" y="744"/>
                  </a:lnTo>
                  <a:lnTo>
                    <a:pt x="1650" y="744"/>
                  </a:lnTo>
                  <a:lnTo>
                    <a:pt x="1662" y="744"/>
                  </a:lnTo>
                  <a:lnTo>
                    <a:pt x="1668" y="744"/>
                  </a:lnTo>
                  <a:lnTo>
                    <a:pt x="1674" y="744"/>
                  </a:lnTo>
                  <a:lnTo>
                    <a:pt x="1686" y="744"/>
                  </a:lnTo>
                  <a:lnTo>
                    <a:pt x="1698" y="750"/>
                  </a:lnTo>
                  <a:lnTo>
                    <a:pt x="1704" y="750"/>
                  </a:lnTo>
                  <a:lnTo>
                    <a:pt x="1716" y="756"/>
                  </a:lnTo>
                  <a:lnTo>
                    <a:pt x="1722" y="756"/>
                  </a:lnTo>
                  <a:lnTo>
                    <a:pt x="1728" y="756"/>
                  </a:lnTo>
                  <a:lnTo>
                    <a:pt x="1734" y="762"/>
                  </a:lnTo>
                  <a:lnTo>
                    <a:pt x="1740" y="768"/>
                  </a:lnTo>
                  <a:lnTo>
                    <a:pt x="1758" y="780"/>
                  </a:lnTo>
                  <a:lnTo>
                    <a:pt x="1770" y="780"/>
                  </a:lnTo>
                  <a:lnTo>
                    <a:pt x="1776" y="780"/>
                  </a:lnTo>
                  <a:lnTo>
                    <a:pt x="1782" y="780"/>
                  </a:lnTo>
                  <a:lnTo>
                    <a:pt x="1800" y="798"/>
                  </a:lnTo>
                  <a:lnTo>
                    <a:pt x="1818" y="810"/>
                  </a:lnTo>
                  <a:lnTo>
                    <a:pt x="1830" y="816"/>
                  </a:lnTo>
                  <a:lnTo>
                    <a:pt x="1836" y="822"/>
                  </a:lnTo>
                  <a:lnTo>
                    <a:pt x="1836" y="828"/>
                  </a:lnTo>
                  <a:lnTo>
                    <a:pt x="1842" y="828"/>
                  </a:lnTo>
                  <a:lnTo>
                    <a:pt x="1848" y="834"/>
                  </a:lnTo>
                  <a:lnTo>
                    <a:pt x="1854" y="840"/>
                  </a:lnTo>
                  <a:lnTo>
                    <a:pt x="1860" y="846"/>
                  </a:lnTo>
                  <a:lnTo>
                    <a:pt x="1872" y="852"/>
                  </a:lnTo>
                  <a:lnTo>
                    <a:pt x="1884" y="852"/>
                  </a:lnTo>
                  <a:lnTo>
                    <a:pt x="1896" y="852"/>
                  </a:lnTo>
                  <a:lnTo>
                    <a:pt x="1902" y="846"/>
                  </a:lnTo>
                  <a:lnTo>
                    <a:pt x="1908" y="852"/>
                  </a:lnTo>
                  <a:lnTo>
                    <a:pt x="1920" y="858"/>
                  </a:lnTo>
                  <a:lnTo>
                    <a:pt x="1926" y="870"/>
                  </a:lnTo>
                  <a:lnTo>
                    <a:pt x="1938" y="888"/>
                  </a:lnTo>
                  <a:lnTo>
                    <a:pt x="1944" y="900"/>
                  </a:lnTo>
                  <a:lnTo>
                    <a:pt x="1950" y="900"/>
                  </a:lnTo>
                  <a:lnTo>
                    <a:pt x="1962" y="906"/>
                  </a:lnTo>
                  <a:lnTo>
                    <a:pt x="1968" y="906"/>
                  </a:lnTo>
                  <a:lnTo>
                    <a:pt x="1980" y="906"/>
                  </a:lnTo>
                  <a:lnTo>
                    <a:pt x="1998" y="906"/>
                  </a:lnTo>
                  <a:lnTo>
                    <a:pt x="2010" y="900"/>
                  </a:lnTo>
                  <a:lnTo>
                    <a:pt x="2022" y="900"/>
                  </a:lnTo>
                  <a:lnTo>
                    <a:pt x="2028" y="900"/>
                  </a:lnTo>
                  <a:lnTo>
                    <a:pt x="2034" y="906"/>
                  </a:lnTo>
                  <a:lnTo>
                    <a:pt x="2046" y="906"/>
                  </a:lnTo>
                  <a:lnTo>
                    <a:pt x="2052" y="900"/>
                  </a:lnTo>
                  <a:lnTo>
                    <a:pt x="2058" y="900"/>
                  </a:lnTo>
                  <a:lnTo>
                    <a:pt x="2064" y="900"/>
                  </a:lnTo>
                  <a:lnTo>
                    <a:pt x="2070" y="900"/>
                  </a:lnTo>
                  <a:lnTo>
                    <a:pt x="2076" y="900"/>
                  </a:lnTo>
                  <a:lnTo>
                    <a:pt x="2076" y="906"/>
                  </a:lnTo>
                  <a:lnTo>
                    <a:pt x="2088" y="906"/>
                  </a:lnTo>
                  <a:lnTo>
                    <a:pt x="2106" y="900"/>
                  </a:lnTo>
                  <a:lnTo>
                    <a:pt x="2118" y="900"/>
                  </a:lnTo>
                  <a:lnTo>
                    <a:pt x="2130" y="900"/>
                  </a:lnTo>
                  <a:lnTo>
                    <a:pt x="2142" y="900"/>
                  </a:lnTo>
                  <a:lnTo>
                    <a:pt x="2148" y="906"/>
                  </a:lnTo>
                  <a:lnTo>
                    <a:pt x="2154" y="906"/>
                  </a:lnTo>
                  <a:lnTo>
                    <a:pt x="2160" y="906"/>
                  </a:lnTo>
                  <a:lnTo>
                    <a:pt x="2166" y="906"/>
                  </a:lnTo>
                  <a:lnTo>
                    <a:pt x="2178" y="918"/>
                  </a:lnTo>
                  <a:lnTo>
                    <a:pt x="2178" y="924"/>
                  </a:lnTo>
                  <a:lnTo>
                    <a:pt x="2184" y="924"/>
                  </a:lnTo>
                  <a:lnTo>
                    <a:pt x="2190" y="924"/>
                  </a:lnTo>
                  <a:lnTo>
                    <a:pt x="2196" y="924"/>
                  </a:lnTo>
                  <a:lnTo>
                    <a:pt x="2202" y="918"/>
                  </a:lnTo>
                  <a:lnTo>
                    <a:pt x="2208" y="918"/>
                  </a:lnTo>
                  <a:lnTo>
                    <a:pt x="2214" y="918"/>
                  </a:lnTo>
                  <a:lnTo>
                    <a:pt x="2226" y="918"/>
                  </a:lnTo>
                  <a:lnTo>
                    <a:pt x="2220" y="948"/>
                  </a:lnTo>
                  <a:lnTo>
                    <a:pt x="2214" y="972"/>
                  </a:lnTo>
                  <a:lnTo>
                    <a:pt x="2214" y="984"/>
                  </a:lnTo>
                  <a:lnTo>
                    <a:pt x="2208" y="990"/>
                  </a:lnTo>
                  <a:lnTo>
                    <a:pt x="2208" y="996"/>
                  </a:lnTo>
                  <a:lnTo>
                    <a:pt x="2202" y="996"/>
                  </a:lnTo>
                  <a:lnTo>
                    <a:pt x="2196" y="996"/>
                  </a:lnTo>
                  <a:lnTo>
                    <a:pt x="2190" y="1008"/>
                  </a:lnTo>
                  <a:lnTo>
                    <a:pt x="2172" y="1074"/>
                  </a:lnTo>
                  <a:lnTo>
                    <a:pt x="2166" y="1092"/>
                  </a:lnTo>
                  <a:lnTo>
                    <a:pt x="2172" y="1110"/>
                  </a:lnTo>
                  <a:lnTo>
                    <a:pt x="2172" y="1122"/>
                  </a:lnTo>
                  <a:lnTo>
                    <a:pt x="2166" y="1134"/>
                  </a:lnTo>
                  <a:lnTo>
                    <a:pt x="2148" y="1140"/>
                  </a:lnTo>
                  <a:lnTo>
                    <a:pt x="2148" y="1134"/>
                  </a:lnTo>
                  <a:lnTo>
                    <a:pt x="2118" y="1140"/>
                  </a:lnTo>
                  <a:lnTo>
                    <a:pt x="2088" y="1134"/>
                  </a:lnTo>
                  <a:lnTo>
                    <a:pt x="2064" y="1122"/>
                  </a:lnTo>
                  <a:lnTo>
                    <a:pt x="2034" y="1122"/>
                  </a:lnTo>
                  <a:lnTo>
                    <a:pt x="2022" y="1128"/>
                  </a:lnTo>
                  <a:lnTo>
                    <a:pt x="1986" y="1128"/>
                  </a:lnTo>
                  <a:lnTo>
                    <a:pt x="1938" y="1122"/>
                  </a:lnTo>
                  <a:lnTo>
                    <a:pt x="1932" y="1116"/>
                  </a:lnTo>
                  <a:lnTo>
                    <a:pt x="1896" y="1110"/>
                  </a:lnTo>
                  <a:lnTo>
                    <a:pt x="1878" y="1104"/>
                  </a:lnTo>
                  <a:lnTo>
                    <a:pt x="1866" y="1098"/>
                  </a:lnTo>
                  <a:lnTo>
                    <a:pt x="1860" y="1098"/>
                  </a:lnTo>
                  <a:lnTo>
                    <a:pt x="1854" y="1092"/>
                  </a:lnTo>
                  <a:lnTo>
                    <a:pt x="1860" y="1092"/>
                  </a:lnTo>
                  <a:lnTo>
                    <a:pt x="1860" y="1086"/>
                  </a:lnTo>
                  <a:lnTo>
                    <a:pt x="1854" y="1086"/>
                  </a:lnTo>
                  <a:lnTo>
                    <a:pt x="1842" y="1080"/>
                  </a:lnTo>
                  <a:lnTo>
                    <a:pt x="1818" y="1062"/>
                  </a:lnTo>
                  <a:lnTo>
                    <a:pt x="1782" y="1056"/>
                  </a:lnTo>
                  <a:lnTo>
                    <a:pt x="1770" y="1068"/>
                  </a:lnTo>
                  <a:lnTo>
                    <a:pt x="1746" y="1098"/>
                  </a:lnTo>
                  <a:lnTo>
                    <a:pt x="1722" y="1104"/>
                  </a:lnTo>
                  <a:lnTo>
                    <a:pt x="1710" y="1122"/>
                  </a:lnTo>
                  <a:lnTo>
                    <a:pt x="1710" y="1128"/>
                  </a:lnTo>
                  <a:lnTo>
                    <a:pt x="1710" y="1140"/>
                  </a:lnTo>
                  <a:lnTo>
                    <a:pt x="1698" y="1146"/>
                  </a:lnTo>
                  <a:lnTo>
                    <a:pt x="1686" y="1152"/>
                  </a:lnTo>
                  <a:lnTo>
                    <a:pt x="1680" y="1164"/>
                  </a:lnTo>
                  <a:lnTo>
                    <a:pt x="1680" y="1170"/>
                  </a:lnTo>
                  <a:lnTo>
                    <a:pt x="1686" y="1170"/>
                  </a:lnTo>
                  <a:lnTo>
                    <a:pt x="1686" y="1176"/>
                  </a:lnTo>
                  <a:lnTo>
                    <a:pt x="1698" y="1188"/>
                  </a:lnTo>
                  <a:lnTo>
                    <a:pt x="1704" y="1188"/>
                  </a:lnTo>
                  <a:lnTo>
                    <a:pt x="1698" y="1194"/>
                  </a:lnTo>
                  <a:lnTo>
                    <a:pt x="1704" y="1194"/>
                  </a:lnTo>
                  <a:lnTo>
                    <a:pt x="1704" y="1200"/>
                  </a:lnTo>
                  <a:lnTo>
                    <a:pt x="1704" y="1206"/>
                  </a:lnTo>
                  <a:lnTo>
                    <a:pt x="1704" y="1212"/>
                  </a:lnTo>
                  <a:lnTo>
                    <a:pt x="1704" y="1218"/>
                  </a:lnTo>
                  <a:lnTo>
                    <a:pt x="1710" y="1218"/>
                  </a:lnTo>
                  <a:lnTo>
                    <a:pt x="1710" y="1212"/>
                  </a:lnTo>
                  <a:lnTo>
                    <a:pt x="1716" y="1212"/>
                  </a:lnTo>
                  <a:lnTo>
                    <a:pt x="1716" y="1218"/>
                  </a:lnTo>
                  <a:lnTo>
                    <a:pt x="1716" y="1224"/>
                  </a:lnTo>
                  <a:lnTo>
                    <a:pt x="1716" y="1230"/>
                  </a:lnTo>
                  <a:lnTo>
                    <a:pt x="1722" y="1236"/>
                  </a:lnTo>
                  <a:lnTo>
                    <a:pt x="1740" y="1230"/>
                  </a:lnTo>
                  <a:lnTo>
                    <a:pt x="1734" y="1236"/>
                  </a:lnTo>
                  <a:lnTo>
                    <a:pt x="1734" y="1242"/>
                  </a:lnTo>
                  <a:lnTo>
                    <a:pt x="1734" y="1248"/>
                  </a:lnTo>
                  <a:lnTo>
                    <a:pt x="1734" y="1254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52" y="1266"/>
                  </a:lnTo>
                  <a:lnTo>
                    <a:pt x="1764" y="1266"/>
                  </a:lnTo>
                  <a:lnTo>
                    <a:pt x="1788" y="1260"/>
                  </a:lnTo>
                  <a:lnTo>
                    <a:pt x="1800" y="1260"/>
                  </a:lnTo>
                  <a:lnTo>
                    <a:pt x="1806" y="1272"/>
                  </a:lnTo>
                  <a:lnTo>
                    <a:pt x="1806" y="1296"/>
                  </a:lnTo>
                  <a:lnTo>
                    <a:pt x="1800" y="1308"/>
                  </a:lnTo>
                  <a:lnTo>
                    <a:pt x="1788" y="1308"/>
                  </a:lnTo>
                  <a:lnTo>
                    <a:pt x="1782" y="13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7" name="Freeform 32">
              <a:extLst>
                <a:ext uri="{FF2B5EF4-FFF2-40B4-BE49-F238E27FC236}">
                  <a16:creationId xmlns:a16="http://schemas.microsoft.com/office/drawing/2014/main" id="{1EF84438-BF7A-47D2-9156-E231EA2A279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3295" y="2316568"/>
              <a:ext cx="1290281" cy="1084704"/>
            </a:xfrm>
            <a:custGeom>
              <a:avLst/>
              <a:gdLst>
                <a:gd name="T0" fmla="*/ 177 w 2430"/>
                <a:gd name="T1" fmla="*/ 169 h 2040"/>
                <a:gd name="T2" fmla="*/ 174 w 2430"/>
                <a:gd name="T3" fmla="*/ 173 h 2040"/>
                <a:gd name="T4" fmla="*/ 169 w 2430"/>
                <a:gd name="T5" fmla="*/ 171 h 2040"/>
                <a:gd name="T6" fmla="*/ 160 w 2430"/>
                <a:gd name="T7" fmla="*/ 163 h 2040"/>
                <a:gd name="T8" fmla="*/ 154 w 2430"/>
                <a:gd name="T9" fmla="*/ 149 h 2040"/>
                <a:gd name="T10" fmla="*/ 144 w 2430"/>
                <a:gd name="T11" fmla="*/ 147 h 2040"/>
                <a:gd name="T12" fmla="*/ 133 w 2430"/>
                <a:gd name="T13" fmla="*/ 146 h 2040"/>
                <a:gd name="T14" fmla="*/ 121 w 2430"/>
                <a:gd name="T15" fmla="*/ 145 h 2040"/>
                <a:gd name="T16" fmla="*/ 110 w 2430"/>
                <a:gd name="T17" fmla="*/ 137 h 2040"/>
                <a:gd name="T18" fmla="*/ 97 w 2430"/>
                <a:gd name="T19" fmla="*/ 131 h 2040"/>
                <a:gd name="T20" fmla="*/ 87 w 2430"/>
                <a:gd name="T21" fmla="*/ 125 h 2040"/>
                <a:gd name="T22" fmla="*/ 75 w 2430"/>
                <a:gd name="T23" fmla="*/ 122 h 2040"/>
                <a:gd name="T24" fmla="*/ 65 w 2430"/>
                <a:gd name="T25" fmla="*/ 122 h 2040"/>
                <a:gd name="T26" fmla="*/ 59 w 2430"/>
                <a:gd name="T27" fmla="*/ 115 h 2040"/>
                <a:gd name="T28" fmla="*/ 50 w 2430"/>
                <a:gd name="T29" fmla="*/ 107 h 2040"/>
                <a:gd name="T30" fmla="*/ 28 w 2430"/>
                <a:gd name="T31" fmla="*/ 84 h 2040"/>
                <a:gd name="T32" fmla="*/ 22 w 2430"/>
                <a:gd name="T33" fmla="*/ 82 h 2040"/>
                <a:gd name="T34" fmla="*/ 20 w 2430"/>
                <a:gd name="T35" fmla="*/ 79 h 2040"/>
                <a:gd name="T36" fmla="*/ 16 w 2430"/>
                <a:gd name="T37" fmla="*/ 76 h 2040"/>
                <a:gd name="T38" fmla="*/ 11 w 2430"/>
                <a:gd name="T39" fmla="*/ 74 h 2040"/>
                <a:gd name="T40" fmla="*/ 7 w 2430"/>
                <a:gd name="T41" fmla="*/ 69 h 2040"/>
                <a:gd name="T42" fmla="*/ 0 w 2430"/>
                <a:gd name="T43" fmla="*/ 60 h 2040"/>
                <a:gd name="T44" fmla="*/ 10 w 2430"/>
                <a:gd name="T45" fmla="*/ 53 h 2040"/>
                <a:gd name="T46" fmla="*/ 15 w 2430"/>
                <a:gd name="T47" fmla="*/ 40 h 2040"/>
                <a:gd name="T48" fmla="*/ 9 w 2430"/>
                <a:gd name="T49" fmla="*/ 29 h 2040"/>
                <a:gd name="T50" fmla="*/ 7 w 2430"/>
                <a:gd name="T51" fmla="*/ 16 h 2040"/>
                <a:gd name="T52" fmla="*/ 18 w 2430"/>
                <a:gd name="T53" fmla="*/ 21 h 2040"/>
                <a:gd name="T54" fmla="*/ 48 w 2430"/>
                <a:gd name="T55" fmla="*/ 27 h 2040"/>
                <a:gd name="T56" fmla="*/ 62 w 2430"/>
                <a:gd name="T57" fmla="*/ 25 h 2040"/>
                <a:gd name="T58" fmla="*/ 59 w 2430"/>
                <a:gd name="T59" fmla="*/ 42 h 2040"/>
                <a:gd name="T60" fmla="*/ 54 w 2430"/>
                <a:gd name="T61" fmla="*/ 65 h 2040"/>
                <a:gd name="T62" fmla="*/ 65 w 2430"/>
                <a:gd name="T63" fmla="*/ 60 h 2040"/>
                <a:gd name="T64" fmla="*/ 68 w 2430"/>
                <a:gd name="T65" fmla="*/ 40 h 2040"/>
                <a:gd name="T66" fmla="*/ 75 w 2430"/>
                <a:gd name="T67" fmla="*/ 36 h 2040"/>
                <a:gd name="T68" fmla="*/ 83 w 2430"/>
                <a:gd name="T69" fmla="*/ 29 h 2040"/>
                <a:gd name="T70" fmla="*/ 81 w 2430"/>
                <a:gd name="T71" fmla="*/ 17 h 2040"/>
                <a:gd name="T72" fmla="*/ 66 w 2430"/>
                <a:gd name="T73" fmla="*/ 7 h 2040"/>
                <a:gd name="T74" fmla="*/ 80 w 2430"/>
                <a:gd name="T75" fmla="*/ 5 h 2040"/>
                <a:gd name="T76" fmla="*/ 89 w 2430"/>
                <a:gd name="T77" fmla="*/ 1 h 2040"/>
                <a:gd name="T78" fmla="*/ 101 w 2430"/>
                <a:gd name="T79" fmla="*/ 10 h 2040"/>
                <a:gd name="T80" fmla="*/ 103 w 2430"/>
                <a:gd name="T81" fmla="*/ 18 h 2040"/>
                <a:gd name="T82" fmla="*/ 110 w 2430"/>
                <a:gd name="T83" fmla="*/ 23 h 2040"/>
                <a:gd name="T84" fmla="*/ 121 w 2430"/>
                <a:gd name="T85" fmla="*/ 20 h 2040"/>
                <a:gd name="T86" fmla="*/ 129 w 2430"/>
                <a:gd name="T87" fmla="*/ 15 h 2040"/>
                <a:gd name="T88" fmla="*/ 142 w 2430"/>
                <a:gd name="T89" fmla="*/ 23 h 2040"/>
                <a:gd name="T90" fmla="*/ 141 w 2430"/>
                <a:gd name="T91" fmla="*/ 30 h 2040"/>
                <a:gd name="T92" fmla="*/ 140 w 2430"/>
                <a:gd name="T93" fmla="*/ 38 h 2040"/>
                <a:gd name="T94" fmla="*/ 139 w 2430"/>
                <a:gd name="T95" fmla="*/ 46 h 2040"/>
                <a:gd name="T96" fmla="*/ 147 w 2430"/>
                <a:gd name="T97" fmla="*/ 54 h 2040"/>
                <a:gd name="T98" fmla="*/ 152 w 2430"/>
                <a:gd name="T99" fmla="*/ 50 h 2040"/>
                <a:gd name="T100" fmla="*/ 159 w 2430"/>
                <a:gd name="T101" fmla="*/ 43 h 2040"/>
                <a:gd name="T102" fmla="*/ 174 w 2430"/>
                <a:gd name="T103" fmla="*/ 41 h 2040"/>
                <a:gd name="T104" fmla="*/ 190 w 2430"/>
                <a:gd name="T105" fmla="*/ 57 h 2040"/>
                <a:gd name="T106" fmla="*/ 187 w 2430"/>
                <a:gd name="T107" fmla="*/ 66 h 2040"/>
                <a:gd name="T108" fmla="*/ 183 w 2430"/>
                <a:gd name="T109" fmla="*/ 72 h 2040"/>
                <a:gd name="T110" fmla="*/ 194 w 2430"/>
                <a:gd name="T111" fmla="*/ 73 h 2040"/>
                <a:gd name="T112" fmla="*/ 202 w 2430"/>
                <a:gd name="T113" fmla="*/ 74 h 2040"/>
                <a:gd name="T114" fmla="*/ 204 w 2430"/>
                <a:gd name="T115" fmla="*/ 89 h 2040"/>
                <a:gd name="T116" fmla="*/ 208 w 2430"/>
                <a:gd name="T117" fmla="*/ 99 h 2040"/>
                <a:gd name="T118" fmla="*/ 203 w 2430"/>
                <a:gd name="T119" fmla="*/ 103 h 2040"/>
                <a:gd name="T120" fmla="*/ 209 w 2430"/>
                <a:gd name="T121" fmla="*/ 111 h 2040"/>
                <a:gd name="T122" fmla="*/ 204 w 2430"/>
                <a:gd name="T123" fmla="*/ 124 h 2040"/>
                <a:gd name="T124" fmla="*/ 190 w 2430"/>
                <a:gd name="T125" fmla="*/ 117 h 20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30"/>
                <a:gd name="T190" fmla="*/ 0 h 2040"/>
                <a:gd name="T191" fmla="*/ 2430 w 2430"/>
                <a:gd name="T192" fmla="*/ 2040 h 20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30" h="2040">
                  <a:moveTo>
                    <a:pt x="2076" y="1896"/>
                  </a:moveTo>
                  <a:lnTo>
                    <a:pt x="2070" y="1896"/>
                  </a:lnTo>
                  <a:lnTo>
                    <a:pt x="2070" y="1902"/>
                  </a:lnTo>
                  <a:lnTo>
                    <a:pt x="2076" y="1902"/>
                  </a:lnTo>
                  <a:lnTo>
                    <a:pt x="2082" y="1902"/>
                  </a:lnTo>
                  <a:lnTo>
                    <a:pt x="2082" y="1908"/>
                  </a:lnTo>
                  <a:lnTo>
                    <a:pt x="2076" y="1908"/>
                  </a:lnTo>
                  <a:lnTo>
                    <a:pt x="2076" y="1914"/>
                  </a:lnTo>
                  <a:lnTo>
                    <a:pt x="2070" y="1920"/>
                  </a:lnTo>
                  <a:lnTo>
                    <a:pt x="2064" y="1932"/>
                  </a:lnTo>
                  <a:lnTo>
                    <a:pt x="2064" y="1938"/>
                  </a:lnTo>
                  <a:lnTo>
                    <a:pt x="2058" y="1938"/>
                  </a:lnTo>
                  <a:lnTo>
                    <a:pt x="2052" y="1944"/>
                  </a:lnTo>
                  <a:lnTo>
                    <a:pt x="2052" y="1950"/>
                  </a:lnTo>
                  <a:lnTo>
                    <a:pt x="2040" y="1944"/>
                  </a:lnTo>
                  <a:lnTo>
                    <a:pt x="2040" y="1950"/>
                  </a:lnTo>
                  <a:lnTo>
                    <a:pt x="2034" y="1956"/>
                  </a:lnTo>
                  <a:lnTo>
                    <a:pt x="2034" y="1962"/>
                  </a:lnTo>
                  <a:lnTo>
                    <a:pt x="2028" y="1962"/>
                  </a:lnTo>
                  <a:lnTo>
                    <a:pt x="2022" y="1962"/>
                  </a:lnTo>
                  <a:lnTo>
                    <a:pt x="2022" y="1968"/>
                  </a:lnTo>
                  <a:lnTo>
                    <a:pt x="2028" y="1974"/>
                  </a:lnTo>
                  <a:lnTo>
                    <a:pt x="2034" y="1980"/>
                  </a:lnTo>
                  <a:lnTo>
                    <a:pt x="2028" y="1986"/>
                  </a:lnTo>
                  <a:lnTo>
                    <a:pt x="2022" y="1992"/>
                  </a:lnTo>
                  <a:lnTo>
                    <a:pt x="2022" y="1986"/>
                  </a:lnTo>
                  <a:lnTo>
                    <a:pt x="2016" y="1986"/>
                  </a:lnTo>
                  <a:lnTo>
                    <a:pt x="2010" y="1980"/>
                  </a:lnTo>
                  <a:lnTo>
                    <a:pt x="2004" y="1980"/>
                  </a:lnTo>
                  <a:lnTo>
                    <a:pt x="2004" y="1986"/>
                  </a:lnTo>
                  <a:lnTo>
                    <a:pt x="2010" y="1992"/>
                  </a:lnTo>
                  <a:lnTo>
                    <a:pt x="2010" y="1998"/>
                  </a:lnTo>
                  <a:lnTo>
                    <a:pt x="2004" y="2004"/>
                  </a:lnTo>
                  <a:lnTo>
                    <a:pt x="1998" y="2004"/>
                  </a:lnTo>
                  <a:lnTo>
                    <a:pt x="1998" y="2022"/>
                  </a:lnTo>
                  <a:lnTo>
                    <a:pt x="1998" y="2028"/>
                  </a:lnTo>
                  <a:lnTo>
                    <a:pt x="1992" y="2034"/>
                  </a:lnTo>
                  <a:lnTo>
                    <a:pt x="1992" y="2040"/>
                  </a:lnTo>
                  <a:lnTo>
                    <a:pt x="1986" y="2040"/>
                  </a:lnTo>
                  <a:lnTo>
                    <a:pt x="1986" y="2034"/>
                  </a:lnTo>
                  <a:lnTo>
                    <a:pt x="1980" y="2028"/>
                  </a:lnTo>
                  <a:lnTo>
                    <a:pt x="1980" y="2022"/>
                  </a:lnTo>
                  <a:lnTo>
                    <a:pt x="1968" y="2016"/>
                  </a:lnTo>
                  <a:lnTo>
                    <a:pt x="1962" y="2010"/>
                  </a:lnTo>
                  <a:lnTo>
                    <a:pt x="1956" y="2004"/>
                  </a:lnTo>
                  <a:lnTo>
                    <a:pt x="1950" y="1992"/>
                  </a:lnTo>
                  <a:lnTo>
                    <a:pt x="1950" y="1986"/>
                  </a:lnTo>
                  <a:lnTo>
                    <a:pt x="1950" y="1974"/>
                  </a:lnTo>
                  <a:lnTo>
                    <a:pt x="1944" y="1974"/>
                  </a:lnTo>
                  <a:lnTo>
                    <a:pt x="1932" y="1962"/>
                  </a:lnTo>
                  <a:lnTo>
                    <a:pt x="1932" y="1956"/>
                  </a:lnTo>
                  <a:lnTo>
                    <a:pt x="1932" y="1950"/>
                  </a:lnTo>
                  <a:lnTo>
                    <a:pt x="1920" y="1944"/>
                  </a:lnTo>
                  <a:lnTo>
                    <a:pt x="1914" y="1944"/>
                  </a:lnTo>
                  <a:lnTo>
                    <a:pt x="1908" y="1938"/>
                  </a:lnTo>
                  <a:lnTo>
                    <a:pt x="1902" y="1926"/>
                  </a:lnTo>
                  <a:lnTo>
                    <a:pt x="1890" y="1914"/>
                  </a:lnTo>
                  <a:lnTo>
                    <a:pt x="1884" y="1914"/>
                  </a:lnTo>
                  <a:lnTo>
                    <a:pt x="1878" y="1908"/>
                  </a:lnTo>
                  <a:lnTo>
                    <a:pt x="1872" y="1902"/>
                  </a:lnTo>
                  <a:lnTo>
                    <a:pt x="1872" y="1896"/>
                  </a:lnTo>
                  <a:lnTo>
                    <a:pt x="1866" y="1890"/>
                  </a:lnTo>
                  <a:lnTo>
                    <a:pt x="1854" y="1884"/>
                  </a:lnTo>
                  <a:lnTo>
                    <a:pt x="1848" y="1884"/>
                  </a:lnTo>
                  <a:lnTo>
                    <a:pt x="1842" y="1872"/>
                  </a:lnTo>
                  <a:lnTo>
                    <a:pt x="1836" y="1872"/>
                  </a:lnTo>
                  <a:lnTo>
                    <a:pt x="1830" y="1866"/>
                  </a:lnTo>
                  <a:lnTo>
                    <a:pt x="1830" y="1854"/>
                  </a:lnTo>
                  <a:lnTo>
                    <a:pt x="1824" y="1848"/>
                  </a:lnTo>
                  <a:lnTo>
                    <a:pt x="1818" y="1830"/>
                  </a:lnTo>
                  <a:lnTo>
                    <a:pt x="1818" y="1818"/>
                  </a:lnTo>
                  <a:lnTo>
                    <a:pt x="1812" y="1800"/>
                  </a:lnTo>
                  <a:lnTo>
                    <a:pt x="1812" y="1788"/>
                  </a:lnTo>
                  <a:lnTo>
                    <a:pt x="1806" y="1776"/>
                  </a:lnTo>
                  <a:lnTo>
                    <a:pt x="1800" y="1764"/>
                  </a:lnTo>
                  <a:lnTo>
                    <a:pt x="1794" y="1758"/>
                  </a:lnTo>
                  <a:lnTo>
                    <a:pt x="1782" y="1740"/>
                  </a:lnTo>
                  <a:lnTo>
                    <a:pt x="1776" y="1728"/>
                  </a:lnTo>
                  <a:lnTo>
                    <a:pt x="1776" y="1722"/>
                  </a:lnTo>
                  <a:lnTo>
                    <a:pt x="1770" y="1722"/>
                  </a:lnTo>
                  <a:lnTo>
                    <a:pt x="1770" y="1716"/>
                  </a:lnTo>
                  <a:lnTo>
                    <a:pt x="1764" y="1716"/>
                  </a:lnTo>
                  <a:lnTo>
                    <a:pt x="1758" y="1710"/>
                  </a:lnTo>
                  <a:lnTo>
                    <a:pt x="1752" y="1704"/>
                  </a:lnTo>
                  <a:lnTo>
                    <a:pt x="1746" y="1704"/>
                  </a:lnTo>
                  <a:lnTo>
                    <a:pt x="1740" y="1704"/>
                  </a:lnTo>
                  <a:lnTo>
                    <a:pt x="1734" y="1704"/>
                  </a:lnTo>
                  <a:lnTo>
                    <a:pt x="1734" y="1698"/>
                  </a:lnTo>
                  <a:lnTo>
                    <a:pt x="1728" y="1692"/>
                  </a:lnTo>
                  <a:lnTo>
                    <a:pt x="1722" y="1686"/>
                  </a:lnTo>
                  <a:lnTo>
                    <a:pt x="1716" y="1686"/>
                  </a:lnTo>
                  <a:lnTo>
                    <a:pt x="1698" y="1686"/>
                  </a:lnTo>
                  <a:lnTo>
                    <a:pt x="1692" y="1692"/>
                  </a:lnTo>
                  <a:lnTo>
                    <a:pt x="1680" y="1692"/>
                  </a:lnTo>
                  <a:lnTo>
                    <a:pt x="1668" y="1692"/>
                  </a:lnTo>
                  <a:lnTo>
                    <a:pt x="1662" y="1692"/>
                  </a:lnTo>
                  <a:lnTo>
                    <a:pt x="1656" y="1692"/>
                  </a:lnTo>
                  <a:lnTo>
                    <a:pt x="1650" y="1698"/>
                  </a:lnTo>
                  <a:lnTo>
                    <a:pt x="1644" y="1698"/>
                  </a:lnTo>
                  <a:lnTo>
                    <a:pt x="1638" y="1698"/>
                  </a:lnTo>
                  <a:lnTo>
                    <a:pt x="1632" y="1698"/>
                  </a:lnTo>
                  <a:lnTo>
                    <a:pt x="1632" y="1692"/>
                  </a:lnTo>
                  <a:lnTo>
                    <a:pt x="1620" y="1680"/>
                  </a:lnTo>
                  <a:lnTo>
                    <a:pt x="1614" y="1680"/>
                  </a:lnTo>
                  <a:lnTo>
                    <a:pt x="1608" y="1680"/>
                  </a:lnTo>
                  <a:lnTo>
                    <a:pt x="1602" y="1680"/>
                  </a:lnTo>
                  <a:lnTo>
                    <a:pt x="1596" y="1674"/>
                  </a:lnTo>
                  <a:lnTo>
                    <a:pt x="1584" y="1674"/>
                  </a:lnTo>
                  <a:lnTo>
                    <a:pt x="1572" y="1674"/>
                  </a:lnTo>
                  <a:lnTo>
                    <a:pt x="1560" y="1674"/>
                  </a:lnTo>
                  <a:lnTo>
                    <a:pt x="1542" y="1680"/>
                  </a:lnTo>
                  <a:lnTo>
                    <a:pt x="1530" y="1680"/>
                  </a:lnTo>
                  <a:lnTo>
                    <a:pt x="1530" y="1674"/>
                  </a:lnTo>
                  <a:lnTo>
                    <a:pt x="1524" y="1674"/>
                  </a:lnTo>
                  <a:lnTo>
                    <a:pt x="1518" y="1674"/>
                  </a:lnTo>
                  <a:lnTo>
                    <a:pt x="1512" y="1674"/>
                  </a:lnTo>
                  <a:lnTo>
                    <a:pt x="1506" y="1674"/>
                  </a:lnTo>
                  <a:lnTo>
                    <a:pt x="1500" y="1680"/>
                  </a:lnTo>
                  <a:lnTo>
                    <a:pt x="1488" y="1680"/>
                  </a:lnTo>
                  <a:lnTo>
                    <a:pt x="1482" y="1674"/>
                  </a:lnTo>
                  <a:lnTo>
                    <a:pt x="1476" y="1674"/>
                  </a:lnTo>
                  <a:lnTo>
                    <a:pt x="1464" y="1674"/>
                  </a:lnTo>
                  <a:lnTo>
                    <a:pt x="1452" y="1680"/>
                  </a:lnTo>
                  <a:lnTo>
                    <a:pt x="1434" y="1680"/>
                  </a:lnTo>
                  <a:lnTo>
                    <a:pt x="1422" y="1680"/>
                  </a:lnTo>
                  <a:lnTo>
                    <a:pt x="1416" y="1680"/>
                  </a:lnTo>
                  <a:lnTo>
                    <a:pt x="1404" y="1674"/>
                  </a:lnTo>
                  <a:lnTo>
                    <a:pt x="1398" y="1674"/>
                  </a:lnTo>
                  <a:lnTo>
                    <a:pt x="1392" y="1662"/>
                  </a:lnTo>
                  <a:lnTo>
                    <a:pt x="1380" y="1644"/>
                  </a:lnTo>
                  <a:lnTo>
                    <a:pt x="1374" y="1632"/>
                  </a:lnTo>
                  <a:lnTo>
                    <a:pt x="1362" y="1626"/>
                  </a:lnTo>
                  <a:lnTo>
                    <a:pt x="1356" y="1620"/>
                  </a:lnTo>
                  <a:lnTo>
                    <a:pt x="1350" y="1626"/>
                  </a:lnTo>
                  <a:lnTo>
                    <a:pt x="1338" y="1626"/>
                  </a:lnTo>
                  <a:lnTo>
                    <a:pt x="1326" y="1626"/>
                  </a:lnTo>
                  <a:lnTo>
                    <a:pt x="1314" y="1620"/>
                  </a:lnTo>
                  <a:lnTo>
                    <a:pt x="1308" y="1614"/>
                  </a:lnTo>
                  <a:lnTo>
                    <a:pt x="1302" y="1608"/>
                  </a:lnTo>
                  <a:lnTo>
                    <a:pt x="1296" y="1602"/>
                  </a:lnTo>
                  <a:lnTo>
                    <a:pt x="1290" y="1602"/>
                  </a:lnTo>
                  <a:lnTo>
                    <a:pt x="1290" y="1596"/>
                  </a:lnTo>
                  <a:lnTo>
                    <a:pt x="1284" y="1590"/>
                  </a:lnTo>
                  <a:lnTo>
                    <a:pt x="1272" y="1584"/>
                  </a:lnTo>
                  <a:lnTo>
                    <a:pt x="1254" y="1572"/>
                  </a:lnTo>
                  <a:lnTo>
                    <a:pt x="1236" y="1554"/>
                  </a:lnTo>
                  <a:lnTo>
                    <a:pt x="1230" y="1554"/>
                  </a:lnTo>
                  <a:lnTo>
                    <a:pt x="1224" y="1554"/>
                  </a:lnTo>
                  <a:lnTo>
                    <a:pt x="1212" y="1554"/>
                  </a:lnTo>
                  <a:lnTo>
                    <a:pt x="1194" y="1542"/>
                  </a:lnTo>
                  <a:lnTo>
                    <a:pt x="1188" y="1536"/>
                  </a:lnTo>
                  <a:lnTo>
                    <a:pt x="1182" y="1530"/>
                  </a:lnTo>
                  <a:lnTo>
                    <a:pt x="1176" y="1530"/>
                  </a:lnTo>
                  <a:lnTo>
                    <a:pt x="1170" y="1530"/>
                  </a:lnTo>
                  <a:lnTo>
                    <a:pt x="1158" y="1524"/>
                  </a:lnTo>
                  <a:lnTo>
                    <a:pt x="1152" y="1524"/>
                  </a:lnTo>
                  <a:lnTo>
                    <a:pt x="1140" y="1518"/>
                  </a:lnTo>
                  <a:lnTo>
                    <a:pt x="1128" y="1518"/>
                  </a:lnTo>
                  <a:lnTo>
                    <a:pt x="1122" y="1518"/>
                  </a:lnTo>
                  <a:lnTo>
                    <a:pt x="1116" y="1518"/>
                  </a:lnTo>
                  <a:lnTo>
                    <a:pt x="1104" y="1518"/>
                  </a:lnTo>
                  <a:lnTo>
                    <a:pt x="1092" y="1518"/>
                  </a:lnTo>
                  <a:lnTo>
                    <a:pt x="1080" y="1518"/>
                  </a:lnTo>
                  <a:lnTo>
                    <a:pt x="1068" y="1518"/>
                  </a:lnTo>
                  <a:lnTo>
                    <a:pt x="1062" y="1518"/>
                  </a:lnTo>
                  <a:lnTo>
                    <a:pt x="1056" y="1518"/>
                  </a:lnTo>
                  <a:lnTo>
                    <a:pt x="1050" y="1512"/>
                  </a:lnTo>
                  <a:lnTo>
                    <a:pt x="1044" y="1512"/>
                  </a:lnTo>
                  <a:lnTo>
                    <a:pt x="1038" y="1512"/>
                  </a:lnTo>
                  <a:lnTo>
                    <a:pt x="1032" y="1506"/>
                  </a:lnTo>
                  <a:lnTo>
                    <a:pt x="1026" y="1500"/>
                  </a:lnTo>
                  <a:lnTo>
                    <a:pt x="1026" y="1494"/>
                  </a:lnTo>
                  <a:lnTo>
                    <a:pt x="1020" y="1476"/>
                  </a:lnTo>
                  <a:lnTo>
                    <a:pt x="1008" y="1464"/>
                  </a:lnTo>
                  <a:lnTo>
                    <a:pt x="1008" y="1458"/>
                  </a:lnTo>
                  <a:lnTo>
                    <a:pt x="1002" y="1446"/>
                  </a:lnTo>
                  <a:lnTo>
                    <a:pt x="996" y="1446"/>
                  </a:lnTo>
                  <a:lnTo>
                    <a:pt x="990" y="1440"/>
                  </a:lnTo>
                  <a:lnTo>
                    <a:pt x="984" y="1434"/>
                  </a:lnTo>
                  <a:lnTo>
                    <a:pt x="978" y="1434"/>
                  </a:lnTo>
                  <a:lnTo>
                    <a:pt x="972" y="1434"/>
                  </a:lnTo>
                  <a:lnTo>
                    <a:pt x="966" y="1428"/>
                  </a:lnTo>
                  <a:lnTo>
                    <a:pt x="954" y="1422"/>
                  </a:lnTo>
                  <a:lnTo>
                    <a:pt x="942" y="1416"/>
                  </a:lnTo>
                  <a:lnTo>
                    <a:pt x="924" y="1398"/>
                  </a:lnTo>
                  <a:lnTo>
                    <a:pt x="912" y="1386"/>
                  </a:lnTo>
                  <a:lnTo>
                    <a:pt x="900" y="1386"/>
                  </a:lnTo>
                  <a:lnTo>
                    <a:pt x="894" y="1386"/>
                  </a:lnTo>
                  <a:lnTo>
                    <a:pt x="882" y="1392"/>
                  </a:lnTo>
                  <a:lnTo>
                    <a:pt x="876" y="1392"/>
                  </a:lnTo>
                  <a:lnTo>
                    <a:pt x="864" y="1398"/>
                  </a:lnTo>
                  <a:lnTo>
                    <a:pt x="864" y="1404"/>
                  </a:lnTo>
                  <a:lnTo>
                    <a:pt x="858" y="1410"/>
                  </a:lnTo>
                  <a:lnTo>
                    <a:pt x="852" y="1410"/>
                  </a:lnTo>
                  <a:lnTo>
                    <a:pt x="846" y="1410"/>
                  </a:lnTo>
                  <a:lnTo>
                    <a:pt x="834" y="1410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10" y="1428"/>
                  </a:lnTo>
                  <a:lnTo>
                    <a:pt x="798" y="1428"/>
                  </a:lnTo>
                  <a:lnTo>
                    <a:pt x="792" y="1428"/>
                  </a:lnTo>
                  <a:lnTo>
                    <a:pt x="780" y="1434"/>
                  </a:lnTo>
                  <a:lnTo>
                    <a:pt x="774" y="1428"/>
                  </a:lnTo>
                  <a:lnTo>
                    <a:pt x="762" y="1428"/>
                  </a:lnTo>
                  <a:lnTo>
                    <a:pt x="756" y="1422"/>
                  </a:lnTo>
                  <a:lnTo>
                    <a:pt x="750" y="1416"/>
                  </a:lnTo>
                  <a:lnTo>
                    <a:pt x="744" y="1410"/>
                  </a:lnTo>
                  <a:lnTo>
                    <a:pt x="744" y="1398"/>
                  </a:lnTo>
                  <a:lnTo>
                    <a:pt x="744" y="1386"/>
                  </a:lnTo>
                  <a:lnTo>
                    <a:pt x="750" y="1380"/>
                  </a:lnTo>
                  <a:lnTo>
                    <a:pt x="750" y="1374"/>
                  </a:lnTo>
                  <a:lnTo>
                    <a:pt x="750" y="1368"/>
                  </a:lnTo>
                  <a:lnTo>
                    <a:pt x="756" y="1362"/>
                  </a:lnTo>
                  <a:lnTo>
                    <a:pt x="750" y="1350"/>
                  </a:lnTo>
                  <a:lnTo>
                    <a:pt x="744" y="1344"/>
                  </a:lnTo>
                  <a:lnTo>
                    <a:pt x="738" y="1338"/>
                  </a:lnTo>
                  <a:lnTo>
                    <a:pt x="726" y="1338"/>
                  </a:lnTo>
                  <a:lnTo>
                    <a:pt x="720" y="1338"/>
                  </a:lnTo>
                  <a:lnTo>
                    <a:pt x="714" y="1338"/>
                  </a:lnTo>
                  <a:lnTo>
                    <a:pt x="708" y="1332"/>
                  </a:lnTo>
                  <a:lnTo>
                    <a:pt x="702" y="1332"/>
                  </a:lnTo>
                  <a:lnTo>
                    <a:pt x="696" y="1326"/>
                  </a:lnTo>
                  <a:lnTo>
                    <a:pt x="684" y="1326"/>
                  </a:lnTo>
                  <a:lnTo>
                    <a:pt x="678" y="1326"/>
                  </a:lnTo>
                  <a:lnTo>
                    <a:pt x="672" y="1314"/>
                  </a:lnTo>
                  <a:lnTo>
                    <a:pt x="666" y="1308"/>
                  </a:lnTo>
                  <a:lnTo>
                    <a:pt x="654" y="1296"/>
                  </a:lnTo>
                  <a:lnTo>
                    <a:pt x="654" y="1290"/>
                  </a:lnTo>
                  <a:lnTo>
                    <a:pt x="630" y="1284"/>
                  </a:lnTo>
                  <a:lnTo>
                    <a:pt x="630" y="1278"/>
                  </a:lnTo>
                  <a:lnTo>
                    <a:pt x="624" y="1278"/>
                  </a:lnTo>
                  <a:lnTo>
                    <a:pt x="618" y="1266"/>
                  </a:lnTo>
                  <a:lnTo>
                    <a:pt x="612" y="1266"/>
                  </a:lnTo>
                  <a:lnTo>
                    <a:pt x="606" y="1266"/>
                  </a:lnTo>
                  <a:lnTo>
                    <a:pt x="606" y="1260"/>
                  </a:lnTo>
                  <a:lnTo>
                    <a:pt x="594" y="1248"/>
                  </a:lnTo>
                  <a:lnTo>
                    <a:pt x="582" y="1248"/>
                  </a:lnTo>
                  <a:lnTo>
                    <a:pt x="576" y="1242"/>
                  </a:lnTo>
                  <a:lnTo>
                    <a:pt x="570" y="1236"/>
                  </a:lnTo>
                  <a:lnTo>
                    <a:pt x="504" y="1164"/>
                  </a:lnTo>
                  <a:lnTo>
                    <a:pt x="450" y="1110"/>
                  </a:lnTo>
                  <a:lnTo>
                    <a:pt x="426" y="1092"/>
                  </a:lnTo>
                  <a:lnTo>
                    <a:pt x="426" y="1074"/>
                  </a:lnTo>
                  <a:lnTo>
                    <a:pt x="420" y="1062"/>
                  </a:lnTo>
                  <a:lnTo>
                    <a:pt x="396" y="1056"/>
                  </a:lnTo>
                  <a:lnTo>
                    <a:pt x="384" y="1032"/>
                  </a:lnTo>
                  <a:lnTo>
                    <a:pt x="372" y="1020"/>
                  </a:lnTo>
                  <a:lnTo>
                    <a:pt x="360" y="984"/>
                  </a:lnTo>
                  <a:lnTo>
                    <a:pt x="348" y="978"/>
                  </a:lnTo>
                  <a:lnTo>
                    <a:pt x="342" y="972"/>
                  </a:lnTo>
                  <a:lnTo>
                    <a:pt x="348" y="960"/>
                  </a:lnTo>
                  <a:lnTo>
                    <a:pt x="342" y="954"/>
                  </a:lnTo>
                  <a:lnTo>
                    <a:pt x="336" y="954"/>
                  </a:lnTo>
                  <a:lnTo>
                    <a:pt x="330" y="954"/>
                  </a:lnTo>
                  <a:lnTo>
                    <a:pt x="324" y="972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0" y="966"/>
                  </a:lnTo>
                  <a:lnTo>
                    <a:pt x="294" y="966"/>
                  </a:lnTo>
                  <a:lnTo>
                    <a:pt x="288" y="972"/>
                  </a:lnTo>
                  <a:lnTo>
                    <a:pt x="288" y="966"/>
                  </a:lnTo>
                  <a:lnTo>
                    <a:pt x="282" y="948"/>
                  </a:lnTo>
                  <a:lnTo>
                    <a:pt x="282" y="942"/>
                  </a:lnTo>
                  <a:lnTo>
                    <a:pt x="276" y="942"/>
                  </a:lnTo>
                  <a:lnTo>
                    <a:pt x="276" y="936"/>
                  </a:lnTo>
                  <a:lnTo>
                    <a:pt x="270" y="942"/>
                  </a:lnTo>
                  <a:lnTo>
                    <a:pt x="264" y="948"/>
                  </a:lnTo>
                  <a:lnTo>
                    <a:pt x="264" y="942"/>
                  </a:lnTo>
                  <a:lnTo>
                    <a:pt x="258" y="942"/>
                  </a:lnTo>
                  <a:lnTo>
                    <a:pt x="252" y="948"/>
                  </a:lnTo>
                  <a:lnTo>
                    <a:pt x="252" y="942"/>
                  </a:lnTo>
                  <a:lnTo>
                    <a:pt x="246" y="936"/>
                  </a:lnTo>
                  <a:lnTo>
                    <a:pt x="240" y="942"/>
                  </a:lnTo>
                  <a:lnTo>
                    <a:pt x="234" y="936"/>
                  </a:lnTo>
                  <a:lnTo>
                    <a:pt x="228" y="936"/>
                  </a:lnTo>
                  <a:lnTo>
                    <a:pt x="222" y="936"/>
                  </a:lnTo>
                  <a:lnTo>
                    <a:pt x="222" y="930"/>
                  </a:lnTo>
                  <a:lnTo>
                    <a:pt x="222" y="924"/>
                  </a:lnTo>
                  <a:lnTo>
                    <a:pt x="228" y="924"/>
                  </a:lnTo>
                  <a:lnTo>
                    <a:pt x="234" y="924"/>
                  </a:lnTo>
                  <a:lnTo>
                    <a:pt x="240" y="924"/>
                  </a:lnTo>
                  <a:lnTo>
                    <a:pt x="240" y="918"/>
                  </a:lnTo>
                  <a:lnTo>
                    <a:pt x="246" y="918"/>
                  </a:lnTo>
                  <a:lnTo>
                    <a:pt x="246" y="912"/>
                  </a:lnTo>
                  <a:lnTo>
                    <a:pt x="240" y="906"/>
                  </a:lnTo>
                  <a:lnTo>
                    <a:pt x="234" y="906"/>
                  </a:lnTo>
                  <a:lnTo>
                    <a:pt x="228" y="906"/>
                  </a:lnTo>
                  <a:lnTo>
                    <a:pt x="228" y="912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8" y="894"/>
                  </a:lnTo>
                  <a:lnTo>
                    <a:pt x="234" y="894"/>
                  </a:lnTo>
                  <a:lnTo>
                    <a:pt x="228" y="888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198" y="888"/>
                  </a:lnTo>
                  <a:lnTo>
                    <a:pt x="192" y="882"/>
                  </a:lnTo>
                  <a:lnTo>
                    <a:pt x="186" y="882"/>
                  </a:lnTo>
                  <a:lnTo>
                    <a:pt x="186" y="876"/>
                  </a:lnTo>
                  <a:lnTo>
                    <a:pt x="192" y="876"/>
                  </a:lnTo>
                  <a:lnTo>
                    <a:pt x="192" y="870"/>
                  </a:lnTo>
                  <a:lnTo>
                    <a:pt x="198" y="870"/>
                  </a:lnTo>
                  <a:lnTo>
                    <a:pt x="198" y="864"/>
                  </a:lnTo>
                  <a:lnTo>
                    <a:pt x="198" y="858"/>
                  </a:lnTo>
                  <a:lnTo>
                    <a:pt x="180" y="852"/>
                  </a:lnTo>
                  <a:lnTo>
                    <a:pt x="174" y="840"/>
                  </a:lnTo>
                  <a:lnTo>
                    <a:pt x="162" y="846"/>
                  </a:lnTo>
                  <a:lnTo>
                    <a:pt x="156" y="846"/>
                  </a:lnTo>
                  <a:lnTo>
                    <a:pt x="150" y="846"/>
                  </a:lnTo>
                  <a:lnTo>
                    <a:pt x="150" y="840"/>
                  </a:lnTo>
                  <a:lnTo>
                    <a:pt x="138" y="834"/>
                  </a:lnTo>
                  <a:lnTo>
                    <a:pt x="132" y="834"/>
                  </a:lnTo>
                  <a:lnTo>
                    <a:pt x="132" y="840"/>
                  </a:lnTo>
                  <a:lnTo>
                    <a:pt x="126" y="840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58"/>
                  </a:lnTo>
                  <a:lnTo>
                    <a:pt x="120" y="846"/>
                  </a:lnTo>
                  <a:lnTo>
                    <a:pt x="114" y="846"/>
                  </a:lnTo>
                  <a:lnTo>
                    <a:pt x="108" y="840"/>
                  </a:lnTo>
                  <a:lnTo>
                    <a:pt x="102" y="834"/>
                  </a:lnTo>
                  <a:lnTo>
                    <a:pt x="102" y="822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78" y="804"/>
                  </a:lnTo>
                  <a:lnTo>
                    <a:pt x="78" y="798"/>
                  </a:lnTo>
                  <a:lnTo>
                    <a:pt x="78" y="792"/>
                  </a:lnTo>
                  <a:lnTo>
                    <a:pt x="78" y="786"/>
                  </a:lnTo>
                  <a:lnTo>
                    <a:pt x="78" y="780"/>
                  </a:lnTo>
                  <a:lnTo>
                    <a:pt x="72" y="774"/>
                  </a:lnTo>
                  <a:lnTo>
                    <a:pt x="66" y="774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60" y="762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6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2" y="666"/>
                  </a:lnTo>
                  <a:lnTo>
                    <a:pt x="18" y="648"/>
                  </a:lnTo>
                  <a:lnTo>
                    <a:pt x="24" y="636"/>
                  </a:lnTo>
                  <a:lnTo>
                    <a:pt x="30" y="630"/>
                  </a:lnTo>
                  <a:lnTo>
                    <a:pt x="30" y="624"/>
                  </a:lnTo>
                  <a:lnTo>
                    <a:pt x="30" y="612"/>
                  </a:lnTo>
                  <a:lnTo>
                    <a:pt x="30" y="606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66" y="582"/>
                  </a:lnTo>
                  <a:lnTo>
                    <a:pt x="72" y="588"/>
                  </a:lnTo>
                  <a:lnTo>
                    <a:pt x="84" y="594"/>
                  </a:lnTo>
                  <a:lnTo>
                    <a:pt x="90" y="600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14" y="612"/>
                  </a:lnTo>
                  <a:lnTo>
                    <a:pt x="120" y="612"/>
                  </a:lnTo>
                  <a:lnTo>
                    <a:pt x="126" y="618"/>
                  </a:lnTo>
                  <a:lnTo>
                    <a:pt x="138" y="594"/>
                  </a:lnTo>
                  <a:lnTo>
                    <a:pt x="138" y="582"/>
                  </a:lnTo>
                  <a:lnTo>
                    <a:pt x="138" y="570"/>
                  </a:lnTo>
                  <a:lnTo>
                    <a:pt x="138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50" y="528"/>
                  </a:lnTo>
                  <a:lnTo>
                    <a:pt x="156" y="510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62"/>
                  </a:lnTo>
                  <a:lnTo>
                    <a:pt x="168" y="450"/>
                  </a:lnTo>
                  <a:lnTo>
                    <a:pt x="168" y="444"/>
                  </a:lnTo>
                  <a:lnTo>
                    <a:pt x="162" y="432"/>
                  </a:lnTo>
                  <a:lnTo>
                    <a:pt x="162" y="426"/>
                  </a:lnTo>
                  <a:lnTo>
                    <a:pt x="156" y="420"/>
                  </a:lnTo>
                  <a:lnTo>
                    <a:pt x="144" y="414"/>
                  </a:lnTo>
                  <a:lnTo>
                    <a:pt x="132" y="402"/>
                  </a:lnTo>
                  <a:lnTo>
                    <a:pt x="126" y="390"/>
                  </a:lnTo>
                  <a:lnTo>
                    <a:pt x="120" y="384"/>
                  </a:lnTo>
                  <a:lnTo>
                    <a:pt x="120" y="372"/>
                  </a:lnTo>
                  <a:lnTo>
                    <a:pt x="114" y="360"/>
                  </a:lnTo>
                  <a:lnTo>
                    <a:pt x="108" y="360"/>
                  </a:lnTo>
                  <a:lnTo>
                    <a:pt x="108" y="354"/>
                  </a:lnTo>
                  <a:lnTo>
                    <a:pt x="102" y="348"/>
                  </a:lnTo>
                  <a:lnTo>
                    <a:pt x="102" y="342"/>
                  </a:lnTo>
                  <a:lnTo>
                    <a:pt x="108" y="330"/>
                  </a:lnTo>
                  <a:lnTo>
                    <a:pt x="114" y="312"/>
                  </a:lnTo>
                  <a:lnTo>
                    <a:pt x="114" y="300"/>
                  </a:lnTo>
                  <a:lnTo>
                    <a:pt x="120" y="288"/>
                  </a:lnTo>
                  <a:lnTo>
                    <a:pt x="120" y="282"/>
                  </a:lnTo>
                  <a:lnTo>
                    <a:pt x="114" y="270"/>
                  </a:lnTo>
                  <a:lnTo>
                    <a:pt x="114" y="258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84" y="222"/>
                  </a:lnTo>
                  <a:lnTo>
                    <a:pt x="84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84" y="186"/>
                  </a:lnTo>
                  <a:lnTo>
                    <a:pt x="84" y="180"/>
                  </a:lnTo>
                  <a:lnTo>
                    <a:pt x="108" y="174"/>
                  </a:lnTo>
                  <a:lnTo>
                    <a:pt x="132" y="186"/>
                  </a:lnTo>
                  <a:lnTo>
                    <a:pt x="138" y="192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56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74" y="204"/>
                  </a:lnTo>
                  <a:lnTo>
                    <a:pt x="180" y="216"/>
                  </a:lnTo>
                  <a:lnTo>
                    <a:pt x="186" y="228"/>
                  </a:lnTo>
                  <a:lnTo>
                    <a:pt x="192" y="234"/>
                  </a:lnTo>
                  <a:lnTo>
                    <a:pt x="198" y="234"/>
                  </a:lnTo>
                  <a:lnTo>
                    <a:pt x="204" y="240"/>
                  </a:lnTo>
                  <a:lnTo>
                    <a:pt x="210" y="240"/>
                  </a:lnTo>
                  <a:lnTo>
                    <a:pt x="216" y="240"/>
                  </a:lnTo>
                  <a:lnTo>
                    <a:pt x="222" y="240"/>
                  </a:lnTo>
                  <a:lnTo>
                    <a:pt x="228" y="246"/>
                  </a:lnTo>
                  <a:lnTo>
                    <a:pt x="234" y="246"/>
                  </a:lnTo>
                  <a:lnTo>
                    <a:pt x="240" y="246"/>
                  </a:lnTo>
                  <a:lnTo>
                    <a:pt x="252" y="252"/>
                  </a:lnTo>
                  <a:lnTo>
                    <a:pt x="330" y="246"/>
                  </a:lnTo>
                  <a:lnTo>
                    <a:pt x="360" y="228"/>
                  </a:lnTo>
                  <a:lnTo>
                    <a:pt x="396" y="228"/>
                  </a:lnTo>
                  <a:lnTo>
                    <a:pt x="402" y="240"/>
                  </a:lnTo>
                  <a:lnTo>
                    <a:pt x="432" y="240"/>
                  </a:lnTo>
                  <a:lnTo>
                    <a:pt x="450" y="258"/>
                  </a:lnTo>
                  <a:lnTo>
                    <a:pt x="468" y="258"/>
                  </a:lnTo>
                  <a:lnTo>
                    <a:pt x="474" y="294"/>
                  </a:lnTo>
                  <a:lnTo>
                    <a:pt x="558" y="318"/>
                  </a:lnTo>
                  <a:lnTo>
                    <a:pt x="588" y="318"/>
                  </a:lnTo>
                  <a:lnTo>
                    <a:pt x="588" y="312"/>
                  </a:lnTo>
                  <a:lnTo>
                    <a:pt x="594" y="306"/>
                  </a:lnTo>
                  <a:lnTo>
                    <a:pt x="600" y="306"/>
                  </a:lnTo>
                  <a:lnTo>
                    <a:pt x="612" y="300"/>
                  </a:lnTo>
                  <a:lnTo>
                    <a:pt x="618" y="300"/>
                  </a:lnTo>
                  <a:lnTo>
                    <a:pt x="630" y="300"/>
                  </a:lnTo>
                  <a:lnTo>
                    <a:pt x="642" y="306"/>
                  </a:lnTo>
                  <a:lnTo>
                    <a:pt x="660" y="306"/>
                  </a:lnTo>
                  <a:lnTo>
                    <a:pt x="666" y="306"/>
                  </a:lnTo>
                  <a:lnTo>
                    <a:pt x="672" y="306"/>
                  </a:lnTo>
                  <a:lnTo>
                    <a:pt x="684" y="300"/>
                  </a:lnTo>
                  <a:lnTo>
                    <a:pt x="696" y="294"/>
                  </a:lnTo>
                  <a:lnTo>
                    <a:pt x="702" y="288"/>
                  </a:lnTo>
                  <a:lnTo>
                    <a:pt x="714" y="282"/>
                  </a:lnTo>
                  <a:lnTo>
                    <a:pt x="714" y="288"/>
                  </a:lnTo>
                  <a:lnTo>
                    <a:pt x="726" y="300"/>
                  </a:lnTo>
                  <a:lnTo>
                    <a:pt x="732" y="306"/>
                  </a:lnTo>
                  <a:lnTo>
                    <a:pt x="732" y="318"/>
                  </a:lnTo>
                  <a:lnTo>
                    <a:pt x="732" y="330"/>
                  </a:lnTo>
                  <a:lnTo>
                    <a:pt x="726" y="342"/>
                  </a:lnTo>
                  <a:lnTo>
                    <a:pt x="720" y="354"/>
                  </a:lnTo>
                  <a:lnTo>
                    <a:pt x="720" y="360"/>
                  </a:lnTo>
                  <a:lnTo>
                    <a:pt x="714" y="372"/>
                  </a:lnTo>
                  <a:lnTo>
                    <a:pt x="714" y="378"/>
                  </a:lnTo>
                  <a:lnTo>
                    <a:pt x="714" y="408"/>
                  </a:lnTo>
                  <a:lnTo>
                    <a:pt x="708" y="420"/>
                  </a:lnTo>
                  <a:lnTo>
                    <a:pt x="714" y="432"/>
                  </a:lnTo>
                  <a:lnTo>
                    <a:pt x="708" y="450"/>
                  </a:lnTo>
                  <a:lnTo>
                    <a:pt x="708" y="468"/>
                  </a:lnTo>
                  <a:lnTo>
                    <a:pt x="696" y="480"/>
                  </a:lnTo>
                  <a:lnTo>
                    <a:pt x="684" y="486"/>
                  </a:lnTo>
                  <a:lnTo>
                    <a:pt x="672" y="492"/>
                  </a:lnTo>
                  <a:lnTo>
                    <a:pt x="660" y="498"/>
                  </a:lnTo>
                  <a:lnTo>
                    <a:pt x="654" y="510"/>
                  </a:lnTo>
                  <a:lnTo>
                    <a:pt x="648" y="516"/>
                  </a:lnTo>
                  <a:lnTo>
                    <a:pt x="642" y="522"/>
                  </a:lnTo>
                  <a:lnTo>
                    <a:pt x="630" y="522"/>
                  </a:lnTo>
                  <a:lnTo>
                    <a:pt x="624" y="528"/>
                  </a:lnTo>
                  <a:lnTo>
                    <a:pt x="618" y="540"/>
                  </a:lnTo>
                  <a:lnTo>
                    <a:pt x="618" y="558"/>
                  </a:lnTo>
                  <a:lnTo>
                    <a:pt x="612" y="576"/>
                  </a:lnTo>
                  <a:lnTo>
                    <a:pt x="612" y="684"/>
                  </a:lnTo>
                  <a:lnTo>
                    <a:pt x="618" y="696"/>
                  </a:lnTo>
                  <a:lnTo>
                    <a:pt x="636" y="696"/>
                  </a:lnTo>
                  <a:lnTo>
                    <a:pt x="636" y="720"/>
                  </a:lnTo>
                  <a:lnTo>
                    <a:pt x="636" y="732"/>
                  </a:lnTo>
                  <a:lnTo>
                    <a:pt x="618" y="750"/>
                  </a:lnTo>
                  <a:lnTo>
                    <a:pt x="606" y="762"/>
                  </a:lnTo>
                  <a:lnTo>
                    <a:pt x="600" y="774"/>
                  </a:lnTo>
                  <a:lnTo>
                    <a:pt x="594" y="798"/>
                  </a:lnTo>
                  <a:lnTo>
                    <a:pt x="606" y="798"/>
                  </a:lnTo>
                  <a:lnTo>
                    <a:pt x="660" y="792"/>
                  </a:lnTo>
                  <a:lnTo>
                    <a:pt x="696" y="798"/>
                  </a:lnTo>
                  <a:lnTo>
                    <a:pt x="720" y="798"/>
                  </a:lnTo>
                  <a:lnTo>
                    <a:pt x="720" y="786"/>
                  </a:lnTo>
                  <a:lnTo>
                    <a:pt x="720" y="774"/>
                  </a:lnTo>
                  <a:lnTo>
                    <a:pt x="702" y="762"/>
                  </a:lnTo>
                  <a:lnTo>
                    <a:pt x="702" y="750"/>
                  </a:lnTo>
                  <a:lnTo>
                    <a:pt x="702" y="726"/>
                  </a:lnTo>
                  <a:lnTo>
                    <a:pt x="714" y="714"/>
                  </a:lnTo>
                  <a:lnTo>
                    <a:pt x="720" y="702"/>
                  </a:lnTo>
                  <a:lnTo>
                    <a:pt x="720" y="696"/>
                  </a:lnTo>
                  <a:lnTo>
                    <a:pt x="744" y="690"/>
                  </a:lnTo>
                  <a:lnTo>
                    <a:pt x="744" y="696"/>
                  </a:lnTo>
                  <a:lnTo>
                    <a:pt x="756" y="696"/>
                  </a:lnTo>
                  <a:lnTo>
                    <a:pt x="762" y="690"/>
                  </a:lnTo>
                  <a:lnTo>
                    <a:pt x="768" y="690"/>
                  </a:lnTo>
                  <a:lnTo>
                    <a:pt x="774" y="696"/>
                  </a:lnTo>
                  <a:lnTo>
                    <a:pt x="780" y="696"/>
                  </a:lnTo>
                  <a:lnTo>
                    <a:pt x="786" y="696"/>
                  </a:lnTo>
                  <a:lnTo>
                    <a:pt x="804" y="684"/>
                  </a:lnTo>
                  <a:lnTo>
                    <a:pt x="810" y="684"/>
                  </a:lnTo>
                  <a:lnTo>
                    <a:pt x="810" y="654"/>
                  </a:lnTo>
                  <a:lnTo>
                    <a:pt x="816" y="588"/>
                  </a:lnTo>
                  <a:lnTo>
                    <a:pt x="804" y="582"/>
                  </a:lnTo>
                  <a:lnTo>
                    <a:pt x="798" y="552"/>
                  </a:lnTo>
                  <a:lnTo>
                    <a:pt x="798" y="480"/>
                  </a:lnTo>
                  <a:lnTo>
                    <a:pt x="780" y="468"/>
                  </a:lnTo>
                  <a:lnTo>
                    <a:pt x="780" y="462"/>
                  </a:lnTo>
                  <a:lnTo>
                    <a:pt x="774" y="450"/>
                  </a:lnTo>
                  <a:lnTo>
                    <a:pt x="762" y="444"/>
                  </a:lnTo>
                  <a:lnTo>
                    <a:pt x="762" y="438"/>
                  </a:lnTo>
                  <a:lnTo>
                    <a:pt x="768" y="432"/>
                  </a:lnTo>
                  <a:lnTo>
                    <a:pt x="774" y="426"/>
                  </a:lnTo>
                  <a:lnTo>
                    <a:pt x="780" y="426"/>
                  </a:lnTo>
                  <a:lnTo>
                    <a:pt x="780" y="414"/>
                  </a:lnTo>
                  <a:lnTo>
                    <a:pt x="834" y="414"/>
                  </a:lnTo>
                  <a:lnTo>
                    <a:pt x="834" y="426"/>
                  </a:lnTo>
                  <a:lnTo>
                    <a:pt x="840" y="432"/>
                  </a:lnTo>
                  <a:lnTo>
                    <a:pt x="846" y="432"/>
                  </a:lnTo>
                  <a:lnTo>
                    <a:pt x="852" y="432"/>
                  </a:lnTo>
                  <a:lnTo>
                    <a:pt x="858" y="432"/>
                  </a:lnTo>
                  <a:lnTo>
                    <a:pt x="870" y="432"/>
                  </a:lnTo>
                  <a:lnTo>
                    <a:pt x="870" y="426"/>
                  </a:lnTo>
                  <a:lnTo>
                    <a:pt x="870" y="420"/>
                  </a:lnTo>
                  <a:lnTo>
                    <a:pt x="876" y="420"/>
                  </a:lnTo>
                  <a:lnTo>
                    <a:pt x="882" y="420"/>
                  </a:lnTo>
                  <a:lnTo>
                    <a:pt x="894" y="414"/>
                  </a:lnTo>
                  <a:lnTo>
                    <a:pt x="900" y="414"/>
                  </a:lnTo>
                  <a:lnTo>
                    <a:pt x="906" y="408"/>
                  </a:lnTo>
                  <a:lnTo>
                    <a:pt x="918" y="408"/>
                  </a:lnTo>
                  <a:lnTo>
                    <a:pt x="924" y="402"/>
                  </a:lnTo>
                  <a:lnTo>
                    <a:pt x="930" y="384"/>
                  </a:lnTo>
                  <a:lnTo>
                    <a:pt x="948" y="396"/>
                  </a:lnTo>
                  <a:lnTo>
                    <a:pt x="954" y="384"/>
                  </a:lnTo>
                  <a:lnTo>
                    <a:pt x="960" y="384"/>
                  </a:lnTo>
                  <a:lnTo>
                    <a:pt x="972" y="384"/>
                  </a:lnTo>
                  <a:lnTo>
                    <a:pt x="978" y="378"/>
                  </a:lnTo>
                  <a:lnTo>
                    <a:pt x="972" y="366"/>
                  </a:lnTo>
                  <a:lnTo>
                    <a:pt x="966" y="342"/>
                  </a:lnTo>
                  <a:lnTo>
                    <a:pt x="960" y="330"/>
                  </a:lnTo>
                  <a:lnTo>
                    <a:pt x="942" y="324"/>
                  </a:lnTo>
                  <a:lnTo>
                    <a:pt x="936" y="318"/>
                  </a:lnTo>
                  <a:lnTo>
                    <a:pt x="936" y="294"/>
                  </a:lnTo>
                  <a:lnTo>
                    <a:pt x="942" y="294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282"/>
                  </a:lnTo>
                  <a:lnTo>
                    <a:pt x="954" y="276"/>
                  </a:lnTo>
                  <a:lnTo>
                    <a:pt x="960" y="276"/>
                  </a:lnTo>
                  <a:lnTo>
                    <a:pt x="966" y="276"/>
                  </a:lnTo>
                  <a:lnTo>
                    <a:pt x="960" y="258"/>
                  </a:lnTo>
                  <a:lnTo>
                    <a:pt x="954" y="240"/>
                  </a:lnTo>
                  <a:lnTo>
                    <a:pt x="948" y="204"/>
                  </a:lnTo>
                  <a:lnTo>
                    <a:pt x="954" y="204"/>
                  </a:lnTo>
                  <a:lnTo>
                    <a:pt x="960" y="198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00" y="186"/>
                  </a:lnTo>
                  <a:lnTo>
                    <a:pt x="876" y="180"/>
                  </a:lnTo>
                  <a:lnTo>
                    <a:pt x="858" y="180"/>
                  </a:lnTo>
                  <a:lnTo>
                    <a:pt x="852" y="168"/>
                  </a:lnTo>
                  <a:lnTo>
                    <a:pt x="834" y="156"/>
                  </a:lnTo>
                  <a:lnTo>
                    <a:pt x="822" y="156"/>
                  </a:lnTo>
                  <a:lnTo>
                    <a:pt x="804" y="156"/>
                  </a:lnTo>
                  <a:lnTo>
                    <a:pt x="804" y="150"/>
                  </a:lnTo>
                  <a:lnTo>
                    <a:pt x="792" y="144"/>
                  </a:lnTo>
                  <a:lnTo>
                    <a:pt x="762" y="138"/>
                  </a:lnTo>
                  <a:lnTo>
                    <a:pt x="768" y="120"/>
                  </a:lnTo>
                  <a:lnTo>
                    <a:pt x="756" y="120"/>
                  </a:lnTo>
                  <a:lnTo>
                    <a:pt x="744" y="108"/>
                  </a:lnTo>
                  <a:lnTo>
                    <a:pt x="744" y="96"/>
                  </a:lnTo>
                  <a:lnTo>
                    <a:pt x="762" y="84"/>
                  </a:lnTo>
                  <a:lnTo>
                    <a:pt x="768" y="84"/>
                  </a:lnTo>
                  <a:lnTo>
                    <a:pt x="768" y="72"/>
                  </a:lnTo>
                  <a:lnTo>
                    <a:pt x="780" y="66"/>
                  </a:lnTo>
                  <a:lnTo>
                    <a:pt x="798" y="54"/>
                  </a:lnTo>
                  <a:lnTo>
                    <a:pt x="792" y="54"/>
                  </a:lnTo>
                  <a:lnTo>
                    <a:pt x="798" y="36"/>
                  </a:lnTo>
                  <a:lnTo>
                    <a:pt x="804" y="36"/>
                  </a:lnTo>
                  <a:lnTo>
                    <a:pt x="816" y="30"/>
                  </a:lnTo>
                  <a:lnTo>
                    <a:pt x="828" y="30"/>
                  </a:lnTo>
                  <a:lnTo>
                    <a:pt x="846" y="12"/>
                  </a:lnTo>
                  <a:lnTo>
                    <a:pt x="876" y="0"/>
                  </a:lnTo>
                  <a:lnTo>
                    <a:pt x="882" y="6"/>
                  </a:lnTo>
                  <a:lnTo>
                    <a:pt x="900" y="6"/>
                  </a:lnTo>
                  <a:lnTo>
                    <a:pt x="912" y="36"/>
                  </a:lnTo>
                  <a:lnTo>
                    <a:pt x="918" y="42"/>
                  </a:lnTo>
                  <a:lnTo>
                    <a:pt x="924" y="54"/>
                  </a:lnTo>
                  <a:lnTo>
                    <a:pt x="930" y="54"/>
                  </a:lnTo>
                  <a:lnTo>
                    <a:pt x="930" y="78"/>
                  </a:lnTo>
                  <a:lnTo>
                    <a:pt x="954" y="72"/>
                  </a:lnTo>
                  <a:lnTo>
                    <a:pt x="954" y="60"/>
                  </a:lnTo>
                  <a:lnTo>
                    <a:pt x="966" y="66"/>
                  </a:lnTo>
                  <a:lnTo>
                    <a:pt x="966" y="78"/>
                  </a:lnTo>
                  <a:lnTo>
                    <a:pt x="960" y="84"/>
                  </a:lnTo>
                  <a:lnTo>
                    <a:pt x="954" y="102"/>
                  </a:lnTo>
                  <a:lnTo>
                    <a:pt x="972" y="102"/>
                  </a:lnTo>
                  <a:lnTo>
                    <a:pt x="978" y="84"/>
                  </a:lnTo>
                  <a:lnTo>
                    <a:pt x="984" y="72"/>
                  </a:lnTo>
                  <a:lnTo>
                    <a:pt x="990" y="72"/>
                  </a:lnTo>
                  <a:lnTo>
                    <a:pt x="996" y="18"/>
                  </a:lnTo>
                  <a:lnTo>
                    <a:pt x="990" y="12"/>
                  </a:lnTo>
                  <a:lnTo>
                    <a:pt x="1014" y="12"/>
                  </a:lnTo>
                  <a:lnTo>
                    <a:pt x="1026" y="12"/>
                  </a:lnTo>
                  <a:lnTo>
                    <a:pt x="1026" y="24"/>
                  </a:lnTo>
                  <a:lnTo>
                    <a:pt x="1050" y="24"/>
                  </a:lnTo>
                  <a:lnTo>
                    <a:pt x="1050" y="36"/>
                  </a:lnTo>
                  <a:lnTo>
                    <a:pt x="1062" y="66"/>
                  </a:lnTo>
                  <a:lnTo>
                    <a:pt x="1074" y="66"/>
                  </a:lnTo>
                  <a:lnTo>
                    <a:pt x="1080" y="60"/>
                  </a:lnTo>
                  <a:lnTo>
                    <a:pt x="1074" y="24"/>
                  </a:lnTo>
                  <a:lnTo>
                    <a:pt x="1086" y="18"/>
                  </a:lnTo>
                  <a:lnTo>
                    <a:pt x="1086" y="12"/>
                  </a:lnTo>
                  <a:lnTo>
                    <a:pt x="1104" y="6"/>
                  </a:lnTo>
                  <a:lnTo>
                    <a:pt x="1122" y="0"/>
                  </a:lnTo>
                  <a:lnTo>
                    <a:pt x="1134" y="6"/>
                  </a:lnTo>
                  <a:lnTo>
                    <a:pt x="1134" y="42"/>
                  </a:lnTo>
                  <a:lnTo>
                    <a:pt x="1140" y="72"/>
                  </a:lnTo>
                  <a:lnTo>
                    <a:pt x="1158" y="114"/>
                  </a:lnTo>
                  <a:lnTo>
                    <a:pt x="1170" y="114"/>
                  </a:lnTo>
                  <a:lnTo>
                    <a:pt x="1170" y="126"/>
                  </a:lnTo>
                  <a:lnTo>
                    <a:pt x="1182" y="126"/>
                  </a:lnTo>
                  <a:lnTo>
                    <a:pt x="1182" y="138"/>
                  </a:lnTo>
                  <a:lnTo>
                    <a:pt x="1194" y="144"/>
                  </a:lnTo>
                  <a:lnTo>
                    <a:pt x="1194" y="156"/>
                  </a:lnTo>
                  <a:lnTo>
                    <a:pt x="1188" y="156"/>
                  </a:lnTo>
                  <a:lnTo>
                    <a:pt x="1194" y="162"/>
                  </a:lnTo>
                  <a:lnTo>
                    <a:pt x="1194" y="168"/>
                  </a:lnTo>
                  <a:lnTo>
                    <a:pt x="1188" y="168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82" y="180"/>
                  </a:lnTo>
                  <a:lnTo>
                    <a:pt x="1188" y="186"/>
                  </a:lnTo>
                  <a:lnTo>
                    <a:pt x="1188" y="192"/>
                  </a:lnTo>
                  <a:lnTo>
                    <a:pt x="1182" y="198"/>
                  </a:lnTo>
                  <a:lnTo>
                    <a:pt x="1182" y="204"/>
                  </a:lnTo>
                  <a:lnTo>
                    <a:pt x="1182" y="210"/>
                  </a:lnTo>
                  <a:lnTo>
                    <a:pt x="1188" y="210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2"/>
                  </a:lnTo>
                  <a:lnTo>
                    <a:pt x="1194" y="264"/>
                  </a:lnTo>
                  <a:lnTo>
                    <a:pt x="1200" y="264"/>
                  </a:lnTo>
                  <a:lnTo>
                    <a:pt x="1212" y="264"/>
                  </a:lnTo>
                  <a:lnTo>
                    <a:pt x="1212" y="258"/>
                  </a:lnTo>
                  <a:lnTo>
                    <a:pt x="1224" y="258"/>
                  </a:lnTo>
                  <a:lnTo>
                    <a:pt x="1248" y="252"/>
                  </a:lnTo>
                  <a:lnTo>
                    <a:pt x="1248" y="264"/>
                  </a:lnTo>
                  <a:lnTo>
                    <a:pt x="1254" y="264"/>
                  </a:lnTo>
                  <a:lnTo>
                    <a:pt x="1254" y="270"/>
                  </a:lnTo>
                  <a:lnTo>
                    <a:pt x="1260" y="270"/>
                  </a:lnTo>
                  <a:lnTo>
                    <a:pt x="1266" y="270"/>
                  </a:lnTo>
                  <a:lnTo>
                    <a:pt x="1272" y="270"/>
                  </a:lnTo>
                  <a:lnTo>
                    <a:pt x="1272" y="264"/>
                  </a:lnTo>
                  <a:lnTo>
                    <a:pt x="1272" y="258"/>
                  </a:lnTo>
                  <a:lnTo>
                    <a:pt x="1278" y="258"/>
                  </a:lnTo>
                  <a:lnTo>
                    <a:pt x="1278" y="252"/>
                  </a:lnTo>
                  <a:lnTo>
                    <a:pt x="1290" y="252"/>
                  </a:lnTo>
                  <a:lnTo>
                    <a:pt x="1296" y="246"/>
                  </a:lnTo>
                  <a:lnTo>
                    <a:pt x="1308" y="246"/>
                  </a:lnTo>
                  <a:lnTo>
                    <a:pt x="1308" y="240"/>
                  </a:lnTo>
                  <a:lnTo>
                    <a:pt x="1320" y="240"/>
                  </a:lnTo>
                  <a:lnTo>
                    <a:pt x="1326" y="246"/>
                  </a:lnTo>
                  <a:lnTo>
                    <a:pt x="1338" y="246"/>
                  </a:lnTo>
                  <a:lnTo>
                    <a:pt x="1338" y="240"/>
                  </a:lnTo>
                  <a:lnTo>
                    <a:pt x="1350" y="240"/>
                  </a:lnTo>
                  <a:lnTo>
                    <a:pt x="1386" y="234"/>
                  </a:lnTo>
                  <a:lnTo>
                    <a:pt x="1398" y="228"/>
                  </a:lnTo>
                  <a:lnTo>
                    <a:pt x="1404" y="216"/>
                  </a:lnTo>
                  <a:lnTo>
                    <a:pt x="1416" y="204"/>
                  </a:lnTo>
                  <a:lnTo>
                    <a:pt x="1434" y="192"/>
                  </a:lnTo>
                  <a:lnTo>
                    <a:pt x="1446" y="198"/>
                  </a:lnTo>
                  <a:lnTo>
                    <a:pt x="1446" y="204"/>
                  </a:lnTo>
                  <a:lnTo>
                    <a:pt x="1452" y="210"/>
                  </a:lnTo>
                  <a:lnTo>
                    <a:pt x="1464" y="222"/>
                  </a:lnTo>
                  <a:lnTo>
                    <a:pt x="1464" y="228"/>
                  </a:lnTo>
                  <a:lnTo>
                    <a:pt x="1464" y="234"/>
                  </a:lnTo>
                  <a:lnTo>
                    <a:pt x="1470" y="240"/>
                  </a:lnTo>
                  <a:lnTo>
                    <a:pt x="1476" y="228"/>
                  </a:lnTo>
                  <a:lnTo>
                    <a:pt x="1476" y="222"/>
                  </a:lnTo>
                  <a:lnTo>
                    <a:pt x="1482" y="210"/>
                  </a:lnTo>
                  <a:lnTo>
                    <a:pt x="1488" y="192"/>
                  </a:lnTo>
                  <a:lnTo>
                    <a:pt x="1488" y="186"/>
                  </a:lnTo>
                  <a:lnTo>
                    <a:pt x="1488" y="180"/>
                  </a:lnTo>
                  <a:lnTo>
                    <a:pt x="1500" y="180"/>
                  </a:lnTo>
                  <a:lnTo>
                    <a:pt x="1500" y="174"/>
                  </a:lnTo>
                  <a:lnTo>
                    <a:pt x="1518" y="162"/>
                  </a:lnTo>
                  <a:lnTo>
                    <a:pt x="1536" y="150"/>
                  </a:lnTo>
                  <a:lnTo>
                    <a:pt x="1554" y="168"/>
                  </a:lnTo>
                  <a:lnTo>
                    <a:pt x="1572" y="180"/>
                  </a:lnTo>
                  <a:lnTo>
                    <a:pt x="1596" y="216"/>
                  </a:lnTo>
                  <a:lnTo>
                    <a:pt x="1602" y="216"/>
                  </a:lnTo>
                  <a:lnTo>
                    <a:pt x="1614" y="228"/>
                  </a:lnTo>
                  <a:lnTo>
                    <a:pt x="1614" y="234"/>
                  </a:lnTo>
                  <a:lnTo>
                    <a:pt x="1620" y="240"/>
                  </a:lnTo>
                  <a:lnTo>
                    <a:pt x="1620" y="246"/>
                  </a:lnTo>
                  <a:lnTo>
                    <a:pt x="1626" y="252"/>
                  </a:lnTo>
                  <a:lnTo>
                    <a:pt x="1632" y="258"/>
                  </a:lnTo>
                  <a:lnTo>
                    <a:pt x="1632" y="264"/>
                  </a:lnTo>
                  <a:lnTo>
                    <a:pt x="1638" y="264"/>
                  </a:lnTo>
                  <a:lnTo>
                    <a:pt x="1638" y="270"/>
                  </a:lnTo>
                  <a:lnTo>
                    <a:pt x="1638" y="276"/>
                  </a:lnTo>
                  <a:lnTo>
                    <a:pt x="1638" y="282"/>
                  </a:lnTo>
                  <a:lnTo>
                    <a:pt x="1644" y="288"/>
                  </a:lnTo>
                  <a:lnTo>
                    <a:pt x="1644" y="294"/>
                  </a:lnTo>
                  <a:lnTo>
                    <a:pt x="1644" y="300"/>
                  </a:lnTo>
                  <a:lnTo>
                    <a:pt x="1644" y="306"/>
                  </a:lnTo>
                  <a:lnTo>
                    <a:pt x="1650" y="306"/>
                  </a:lnTo>
                  <a:lnTo>
                    <a:pt x="1650" y="312"/>
                  </a:lnTo>
                  <a:lnTo>
                    <a:pt x="1650" y="318"/>
                  </a:lnTo>
                  <a:lnTo>
                    <a:pt x="1650" y="324"/>
                  </a:lnTo>
                  <a:lnTo>
                    <a:pt x="1644" y="330"/>
                  </a:lnTo>
                  <a:lnTo>
                    <a:pt x="1626" y="330"/>
                  </a:lnTo>
                  <a:lnTo>
                    <a:pt x="1626" y="336"/>
                  </a:lnTo>
                  <a:lnTo>
                    <a:pt x="1626" y="342"/>
                  </a:lnTo>
                  <a:lnTo>
                    <a:pt x="1626" y="348"/>
                  </a:lnTo>
                  <a:lnTo>
                    <a:pt x="1620" y="354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14" y="390"/>
                  </a:lnTo>
                  <a:lnTo>
                    <a:pt x="1614" y="396"/>
                  </a:lnTo>
                  <a:lnTo>
                    <a:pt x="1614" y="402"/>
                  </a:lnTo>
                  <a:lnTo>
                    <a:pt x="1614" y="408"/>
                  </a:lnTo>
                  <a:lnTo>
                    <a:pt x="1614" y="414"/>
                  </a:lnTo>
                  <a:lnTo>
                    <a:pt x="1602" y="420"/>
                  </a:lnTo>
                  <a:lnTo>
                    <a:pt x="1602" y="426"/>
                  </a:lnTo>
                  <a:lnTo>
                    <a:pt x="1608" y="432"/>
                  </a:lnTo>
                  <a:lnTo>
                    <a:pt x="1614" y="426"/>
                  </a:lnTo>
                  <a:lnTo>
                    <a:pt x="1620" y="438"/>
                  </a:lnTo>
                  <a:lnTo>
                    <a:pt x="1626" y="438"/>
                  </a:lnTo>
                  <a:lnTo>
                    <a:pt x="1632" y="444"/>
                  </a:lnTo>
                  <a:lnTo>
                    <a:pt x="1626" y="456"/>
                  </a:lnTo>
                  <a:lnTo>
                    <a:pt x="1626" y="468"/>
                  </a:lnTo>
                  <a:lnTo>
                    <a:pt x="1620" y="474"/>
                  </a:lnTo>
                  <a:lnTo>
                    <a:pt x="1614" y="474"/>
                  </a:lnTo>
                  <a:lnTo>
                    <a:pt x="1614" y="486"/>
                  </a:lnTo>
                  <a:lnTo>
                    <a:pt x="1614" y="492"/>
                  </a:lnTo>
                  <a:lnTo>
                    <a:pt x="1620" y="492"/>
                  </a:lnTo>
                  <a:lnTo>
                    <a:pt x="1626" y="498"/>
                  </a:lnTo>
                  <a:lnTo>
                    <a:pt x="1626" y="504"/>
                  </a:lnTo>
                  <a:lnTo>
                    <a:pt x="1626" y="510"/>
                  </a:lnTo>
                  <a:lnTo>
                    <a:pt x="1620" y="516"/>
                  </a:lnTo>
                  <a:lnTo>
                    <a:pt x="1620" y="522"/>
                  </a:lnTo>
                  <a:lnTo>
                    <a:pt x="1614" y="522"/>
                  </a:lnTo>
                  <a:lnTo>
                    <a:pt x="1608" y="528"/>
                  </a:lnTo>
                  <a:lnTo>
                    <a:pt x="1602" y="522"/>
                  </a:lnTo>
                  <a:lnTo>
                    <a:pt x="1602" y="528"/>
                  </a:lnTo>
                  <a:lnTo>
                    <a:pt x="1602" y="540"/>
                  </a:lnTo>
                  <a:lnTo>
                    <a:pt x="1602" y="558"/>
                  </a:lnTo>
                  <a:lnTo>
                    <a:pt x="1602" y="564"/>
                  </a:lnTo>
                  <a:lnTo>
                    <a:pt x="1602" y="570"/>
                  </a:lnTo>
                  <a:lnTo>
                    <a:pt x="1602" y="576"/>
                  </a:lnTo>
                  <a:lnTo>
                    <a:pt x="1596" y="576"/>
                  </a:lnTo>
                  <a:lnTo>
                    <a:pt x="1632" y="582"/>
                  </a:lnTo>
                  <a:lnTo>
                    <a:pt x="1644" y="618"/>
                  </a:lnTo>
                  <a:lnTo>
                    <a:pt x="1650" y="648"/>
                  </a:lnTo>
                  <a:lnTo>
                    <a:pt x="1662" y="636"/>
                  </a:lnTo>
                  <a:lnTo>
                    <a:pt x="1668" y="636"/>
                  </a:lnTo>
                  <a:lnTo>
                    <a:pt x="1674" y="636"/>
                  </a:lnTo>
                  <a:lnTo>
                    <a:pt x="1680" y="630"/>
                  </a:lnTo>
                  <a:lnTo>
                    <a:pt x="1686" y="630"/>
                  </a:lnTo>
                  <a:lnTo>
                    <a:pt x="1692" y="630"/>
                  </a:lnTo>
                  <a:lnTo>
                    <a:pt x="1698" y="630"/>
                  </a:lnTo>
                  <a:lnTo>
                    <a:pt x="1704" y="630"/>
                  </a:lnTo>
                  <a:lnTo>
                    <a:pt x="1704" y="624"/>
                  </a:lnTo>
                  <a:lnTo>
                    <a:pt x="1710" y="624"/>
                  </a:lnTo>
                  <a:lnTo>
                    <a:pt x="1716" y="624"/>
                  </a:lnTo>
                  <a:lnTo>
                    <a:pt x="1722" y="624"/>
                  </a:lnTo>
                  <a:lnTo>
                    <a:pt x="1728" y="624"/>
                  </a:lnTo>
                  <a:lnTo>
                    <a:pt x="1722" y="618"/>
                  </a:lnTo>
                  <a:lnTo>
                    <a:pt x="1728" y="606"/>
                  </a:lnTo>
                  <a:lnTo>
                    <a:pt x="1734" y="606"/>
                  </a:lnTo>
                  <a:lnTo>
                    <a:pt x="1740" y="600"/>
                  </a:lnTo>
                  <a:lnTo>
                    <a:pt x="1746" y="594"/>
                  </a:lnTo>
                  <a:lnTo>
                    <a:pt x="1752" y="588"/>
                  </a:lnTo>
                  <a:lnTo>
                    <a:pt x="1752" y="582"/>
                  </a:lnTo>
                  <a:lnTo>
                    <a:pt x="1758" y="576"/>
                  </a:lnTo>
                  <a:lnTo>
                    <a:pt x="1764" y="576"/>
                  </a:lnTo>
                  <a:lnTo>
                    <a:pt x="1770" y="570"/>
                  </a:lnTo>
                  <a:lnTo>
                    <a:pt x="1776" y="564"/>
                  </a:lnTo>
                  <a:lnTo>
                    <a:pt x="1788" y="558"/>
                  </a:lnTo>
                  <a:lnTo>
                    <a:pt x="1788" y="546"/>
                  </a:lnTo>
                  <a:lnTo>
                    <a:pt x="1788" y="540"/>
                  </a:lnTo>
                  <a:lnTo>
                    <a:pt x="1794" y="540"/>
                  </a:lnTo>
                  <a:lnTo>
                    <a:pt x="1788" y="534"/>
                  </a:lnTo>
                  <a:lnTo>
                    <a:pt x="1788" y="528"/>
                  </a:lnTo>
                  <a:lnTo>
                    <a:pt x="1794" y="516"/>
                  </a:lnTo>
                  <a:lnTo>
                    <a:pt x="1800" y="510"/>
                  </a:lnTo>
                  <a:lnTo>
                    <a:pt x="1812" y="510"/>
                  </a:lnTo>
                  <a:lnTo>
                    <a:pt x="1818" y="504"/>
                  </a:lnTo>
                  <a:lnTo>
                    <a:pt x="1824" y="504"/>
                  </a:lnTo>
                  <a:lnTo>
                    <a:pt x="1830" y="498"/>
                  </a:lnTo>
                  <a:lnTo>
                    <a:pt x="1836" y="498"/>
                  </a:lnTo>
                  <a:lnTo>
                    <a:pt x="1848" y="492"/>
                  </a:lnTo>
                  <a:lnTo>
                    <a:pt x="1848" y="480"/>
                  </a:lnTo>
                  <a:lnTo>
                    <a:pt x="1854" y="480"/>
                  </a:lnTo>
                  <a:lnTo>
                    <a:pt x="1890" y="504"/>
                  </a:lnTo>
                  <a:lnTo>
                    <a:pt x="1908" y="534"/>
                  </a:lnTo>
                  <a:lnTo>
                    <a:pt x="1902" y="534"/>
                  </a:lnTo>
                  <a:lnTo>
                    <a:pt x="1920" y="528"/>
                  </a:lnTo>
                  <a:lnTo>
                    <a:pt x="1920" y="516"/>
                  </a:lnTo>
                  <a:lnTo>
                    <a:pt x="1944" y="516"/>
                  </a:lnTo>
                  <a:lnTo>
                    <a:pt x="2004" y="516"/>
                  </a:lnTo>
                  <a:lnTo>
                    <a:pt x="2010" y="510"/>
                  </a:lnTo>
                  <a:lnTo>
                    <a:pt x="2004" y="510"/>
                  </a:lnTo>
                  <a:lnTo>
                    <a:pt x="2010" y="498"/>
                  </a:lnTo>
                  <a:lnTo>
                    <a:pt x="2004" y="486"/>
                  </a:lnTo>
                  <a:lnTo>
                    <a:pt x="2004" y="480"/>
                  </a:lnTo>
                  <a:lnTo>
                    <a:pt x="2004" y="474"/>
                  </a:lnTo>
                  <a:lnTo>
                    <a:pt x="2004" y="462"/>
                  </a:lnTo>
                  <a:lnTo>
                    <a:pt x="2004" y="456"/>
                  </a:lnTo>
                  <a:lnTo>
                    <a:pt x="2058" y="462"/>
                  </a:lnTo>
                  <a:lnTo>
                    <a:pt x="2076" y="474"/>
                  </a:lnTo>
                  <a:lnTo>
                    <a:pt x="2082" y="522"/>
                  </a:lnTo>
                  <a:lnTo>
                    <a:pt x="2088" y="516"/>
                  </a:lnTo>
                  <a:lnTo>
                    <a:pt x="2094" y="522"/>
                  </a:lnTo>
                  <a:lnTo>
                    <a:pt x="2100" y="528"/>
                  </a:lnTo>
                  <a:lnTo>
                    <a:pt x="2130" y="540"/>
                  </a:lnTo>
                  <a:lnTo>
                    <a:pt x="2160" y="564"/>
                  </a:lnTo>
                  <a:lnTo>
                    <a:pt x="2166" y="600"/>
                  </a:lnTo>
                  <a:lnTo>
                    <a:pt x="2160" y="618"/>
                  </a:lnTo>
                  <a:lnTo>
                    <a:pt x="2142" y="636"/>
                  </a:lnTo>
                  <a:lnTo>
                    <a:pt x="2148" y="648"/>
                  </a:lnTo>
                  <a:lnTo>
                    <a:pt x="2154" y="660"/>
                  </a:lnTo>
                  <a:lnTo>
                    <a:pt x="2196" y="654"/>
                  </a:lnTo>
                  <a:lnTo>
                    <a:pt x="2214" y="660"/>
                  </a:lnTo>
                  <a:lnTo>
                    <a:pt x="2214" y="666"/>
                  </a:lnTo>
                  <a:lnTo>
                    <a:pt x="2220" y="672"/>
                  </a:lnTo>
                  <a:lnTo>
                    <a:pt x="2214" y="678"/>
                  </a:lnTo>
                  <a:lnTo>
                    <a:pt x="2214" y="684"/>
                  </a:lnTo>
                  <a:lnTo>
                    <a:pt x="2214" y="690"/>
                  </a:lnTo>
                  <a:lnTo>
                    <a:pt x="2208" y="690"/>
                  </a:lnTo>
                  <a:lnTo>
                    <a:pt x="2202" y="696"/>
                  </a:lnTo>
                  <a:lnTo>
                    <a:pt x="2196" y="702"/>
                  </a:lnTo>
                  <a:lnTo>
                    <a:pt x="2190" y="708"/>
                  </a:lnTo>
                  <a:lnTo>
                    <a:pt x="2190" y="720"/>
                  </a:lnTo>
                  <a:lnTo>
                    <a:pt x="2184" y="720"/>
                  </a:lnTo>
                  <a:lnTo>
                    <a:pt x="2178" y="726"/>
                  </a:lnTo>
                  <a:lnTo>
                    <a:pt x="2166" y="732"/>
                  </a:lnTo>
                  <a:lnTo>
                    <a:pt x="2160" y="744"/>
                  </a:lnTo>
                  <a:lnTo>
                    <a:pt x="2154" y="756"/>
                  </a:lnTo>
                  <a:lnTo>
                    <a:pt x="2148" y="762"/>
                  </a:lnTo>
                  <a:lnTo>
                    <a:pt x="2124" y="762"/>
                  </a:lnTo>
                  <a:lnTo>
                    <a:pt x="2124" y="768"/>
                  </a:lnTo>
                  <a:lnTo>
                    <a:pt x="2118" y="768"/>
                  </a:lnTo>
                  <a:lnTo>
                    <a:pt x="2124" y="774"/>
                  </a:lnTo>
                  <a:lnTo>
                    <a:pt x="2118" y="774"/>
                  </a:lnTo>
                  <a:lnTo>
                    <a:pt x="2112" y="774"/>
                  </a:lnTo>
                  <a:lnTo>
                    <a:pt x="2106" y="780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06" y="798"/>
                  </a:lnTo>
                  <a:lnTo>
                    <a:pt x="2106" y="810"/>
                  </a:lnTo>
                  <a:lnTo>
                    <a:pt x="2112" y="828"/>
                  </a:lnTo>
                  <a:lnTo>
                    <a:pt x="2112" y="834"/>
                  </a:lnTo>
                  <a:lnTo>
                    <a:pt x="2112" y="840"/>
                  </a:lnTo>
                  <a:lnTo>
                    <a:pt x="2112" y="834"/>
                  </a:lnTo>
                  <a:lnTo>
                    <a:pt x="2124" y="834"/>
                  </a:lnTo>
                  <a:lnTo>
                    <a:pt x="2130" y="834"/>
                  </a:lnTo>
                  <a:lnTo>
                    <a:pt x="2136" y="840"/>
                  </a:lnTo>
                  <a:lnTo>
                    <a:pt x="2142" y="840"/>
                  </a:lnTo>
                  <a:lnTo>
                    <a:pt x="2154" y="852"/>
                  </a:lnTo>
                  <a:lnTo>
                    <a:pt x="2160" y="852"/>
                  </a:lnTo>
                  <a:lnTo>
                    <a:pt x="2172" y="846"/>
                  </a:lnTo>
                  <a:lnTo>
                    <a:pt x="2178" y="846"/>
                  </a:lnTo>
                  <a:lnTo>
                    <a:pt x="2184" y="846"/>
                  </a:lnTo>
                  <a:lnTo>
                    <a:pt x="2190" y="846"/>
                  </a:lnTo>
                  <a:lnTo>
                    <a:pt x="2196" y="852"/>
                  </a:lnTo>
                  <a:lnTo>
                    <a:pt x="2196" y="858"/>
                  </a:lnTo>
                  <a:lnTo>
                    <a:pt x="2202" y="852"/>
                  </a:lnTo>
                  <a:lnTo>
                    <a:pt x="2208" y="846"/>
                  </a:lnTo>
                  <a:lnTo>
                    <a:pt x="2214" y="846"/>
                  </a:lnTo>
                  <a:lnTo>
                    <a:pt x="2226" y="846"/>
                  </a:lnTo>
                  <a:lnTo>
                    <a:pt x="2232" y="852"/>
                  </a:lnTo>
                  <a:lnTo>
                    <a:pt x="2238" y="852"/>
                  </a:lnTo>
                  <a:lnTo>
                    <a:pt x="2244" y="858"/>
                  </a:lnTo>
                  <a:lnTo>
                    <a:pt x="2250" y="858"/>
                  </a:lnTo>
                  <a:lnTo>
                    <a:pt x="2256" y="858"/>
                  </a:lnTo>
                  <a:lnTo>
                    <a:pt x="2262" y="858"/>
                  </a:lnTo>
                  <a:lnTo>
                    <a:pt x="2268" y="852"/>
                  </a:lnTo>
                  <a:lnTo>
                    <a:pt x="2274" y="852"/>
                  </a:lnTo>
                  <a:lnTo>
                    <a:pt x="2280" y="852"/>
                  </a:lnTo>
                  <a:lnTo>
                    <a:pt x="2286" y="852"/>
                  </a:lnTo>
                  <a:lnTo>
                    <a:pt x="2298" y="858"/>
                  </a:lnTo>
                  <a:lnTo>
                    <a:pt x="2304" y="858"/>
                  </a:lnTo>
                  <a:lnTo>
                    <a:pt x="2310" y="858"/>
                  </a:lnTo>
                  <a:lnTo>
                    <a:pt x="2316" y="852"/>
                  </a:lnTo>
                  <a:lnTo>
                    <a:pt x="2322" y="858"/>
                  </a:lnTo>
                  <a:lnTo>
                    <a:pt x="2328" y="858"/>
                  </a:lnTo>
                  <a:lnTo>
                    <a:pt x="2328" y="852"/>
                  </a:lnTo>
                  <a:lnTo>
                    <a:pt x="2364" y="858"/>
                  </a:lnTo>
                  <a:lnTo>
                    <a:pt x="2376" y="876"/>
                  </a:lnTo>
                  <a:lnTo>
                    <a:pt x="2382" y="936"/>
                  </a:lnTo>
                  <a:lnTo>
                    <a:pt x="2388" y="966"/>
                  </a:lnTo>
                  <a:lnTo>
                    <a:pt x="2382" y="972"/>
                  </a:lnTo>
                  <a:lnTo>
                    <a:pt x="2382" y="978"/>
                  </a:lnTo>
                  <a:lnTo>
                    <a:pt x="2382" y="984"/>
                  </a:lnTo>
                  <a:lnTo>
                    <a:pt x="2388" y="990"/>
                  </a:lnTo>
                  <a:lnTo>
                    <a:pt x="2382" y="990"/>
                  </a:lnTo>
                  <a:lnTo>
                    <a:pt x="2382" y="996"/>
                  </a:lnTo>
                  <a:lnTo>
                    <a:pt x="2376" y="996"/>
                  </a:lnTo>
                  <a:lnTo>
                    <a:pt x="2376" y="1020"/>
                  </a:lnTo>
                  <a:lnTo>
                    <a:pt x="2370" y="1032"/>
                  </a:lnTo>
                  <a:lnTo>
                    <a:pt x="2352" y="1032"/>
                  </a:lnTo>
                  <a:lnTo>
                    <a:pt x="2346" y="1020"/>
                  </a:lnTo>
                  <a:lnTo>
                    <a:pt x="2328" y="1032"/>
                  </a:lnTo>
                  <a:lnTo>
                    <a:pt x="2316" y="1038"/>
                  </a:lnTo>
                  <a:lnTo>
                    <a:pt x="2328" y="1044"/>
                  </a:lnTo>
                  <a:lnTo>
                    <a:pt x="2340" y="1056"/>
                  </a:lnTo>
                  <a:lnTo>
                    <a:pt x="2376" y="1062"/>
                  </a:lnTo>
                  <a:lnTo>
                    <a:pt x="2376" y="1068"/>
                  </a:lnTo>
                  <a:lnTo>
                    <a:pt x="2382" y="1086"/>
                  </a:lnTo>
                  <a:lnTo>
                    <a:pt x="2376" y="1086"/>
                  </a:lnTo>
                  <a:lnTo>
                    <a:pt x="2370" y="1086"/>
                  </a:lnTo>
                  <a:lnTo>
                    <a:pt x="2364" y="1086"/>
                  </a:lnTo>
                  <a:lnTo>
                    <a:pt x="2364" y="1098"/>
                  </a:lnTo>
                  <a:lnTo>
                    <a:pt x="2388" y="1104"/>
                  </a:lnTo>
                  <a:lnTo>
                    <a:pt x="2400" y="1122"/>
                  </a:lnTo>
                  <a:lnTo>
                    <a:pt x="2400" y="1134"/>
                  </a:lnTo>
                  <a:lnTo>
                    <a:pt x="2400" y="1146"/>
                  </a:lnTo>
                  <a:lnTo>
                    <a:pt x="2394" y="1146"/>
                  </a:lnTo>
                  <a:lnTo>
                    <a:pt x="2394" y="1152"/>
                  </a:lnTo>
                  <a:lnTo>
                    <a:pt x="2388" y="1152"/>
                  </a:lnTo>
                  <a:lnTo>
                    <a:pt x="2388" y="1146"/>
                  </a:lnTo>
                  <a:lnTo>
                    <a:pt x="2382" y="1152"/>
                  </a:lnTo>
                  <a:lnTo>
                    <a:pt x="2376" y="1152"/>
                  </a:lnTo>
                  <a:lnTo>
                    <a:pt x="2370" y="1158"/>
                  </a:lnTo>
                  <a:lnTo>
                    <a:pt x="2370" y="1164"/>
                  </a:lnTo>
                  <a:lnTo>
                    <a:pt x="2364" y="1170"/>
                  </a:lnTo>
                  <a:lnTo>
                    <a:pt x="2370" y="1170"/>
                  </a:lnTo>
                  <a:lnTo>
                    <a:pt x="2376" y="1170"/>
                  </a:lnTo>
                  <a:lnTo>
                    <a:pt x="2370" y="1176"/>
                  </a:lnTo>
                  <a:lnTo>
                    <a:pt x="2364" y="1176"/>
                  </a:lnTo>
                  <a:lnTo>
                    <a:pt x="2358" y="1182"/>
                  </a:lnTo>
                  <a:lnTo>
                    <a:pt x="2352" y="1182"/>
                  </a:lnTo>
                  <a:lnTo>
                    <a:pt x="2346" y="1188"/>
                  </a:lnTo>
                  <a:lnTo>
                    <a:pt x="2340" y="1182"/>
                  </a:lnTo>
                  <a:lnTo>
                    <a:pt x="2334" y="1182"/>
                  </a:lnTo>
                  <a:lnTo>
                    <a:pt x="2334" y="1188"/>
                  </a:lnTo>
                  <a:lnTo>
                    <a:pt x="2328" y="1194"/>
                  </a:lnTo>
                  <a:lnTo>
                    <a:pt x="2328" y="1200"/>
                  </a:lnTo>
                  <a:lnTo>
                    <a:pt x="2322" y="1224"/>
                  </a:lnTo>
                  <a:lnTo>
                    <a:pt x="2328" y="1230"/>
                  </a:lnTo>
                  <a:lnTo>
                    <a:pt x="2358" y="1230"/>
                  </a:lnTo>
                  <a:lnTo>
                    <a:pt x="2358" y="1242"/>
                  </a:lnTo>
                  <a:lnTo>
                    <a:pt x="2358" y="1254"/>
                  </a:lnTo>
                  <a:lnTo>
                    <a:pt x="2346" y="1254"/>
                  </a:lnTo>
                  <a:lnTo>
                    <a:pt x="2346" y="1278"/>
                  </a:lnTo>
                  <a:lnTo>
                    <a:pt x="2358" y="1278"/>
                  </a:lnTo>
                  <a:lnTo>
                    <a:pt x="2358" y="1284"/>
                  </a:lnTo>
                  <a:lnTo>
                    <a:pt x="2376" y="1284"/>
                  </a:lnTo>
                  <a:lnTo>
                    <a:pt x="2388" y="1278"/>
                  </a:lnTo>
                  <a:lnTo>
                    <a:pt x="2406" y="1278"/>
                  </a:lnTo>
                  <a:lnTo>
                    <a:pt x="2430" y="1284"/>
                  </a:lnTo>
                  <a:lnTo>
                    <a:pt x="2430" y="1302"/>
                  </a:lnTo>
                  <a:lnTo>
                    <a:pt x="2430" y="1314"/>
                  </a:lnTo>
                  <a:lnTo>
                    <a:pt x="2424" y="1326"/>
                  </a:lnTo>
                  <a:lnTo>
                    <a:pt x="2412" y="1326"/>
                  </a:lnTo>
                  <a:lnTo>
                    <a:pt x="2412" y="1344"/>
                  </a:lnTo>
                  <a:lnTo>
                    <a:pt x="2406" y="1344"/>
                  </a:lnTo>
                  <a:lnTo>
                    <a:pt x="2400" y="1362"/>
                  </a:lnTo>
                  <a:lnTo>
                    <a:pt x="2394" y="1368"/>
                  </a:lnTo>
                  <a:lnTo>
                    <a:pt x="2388" y="1374"/>
                  </a:lnTo>
                  <a:lnTo>
                    <a:pt x="2382" y="1380"/>
                  </a:lnTo>
                  <a:lnTo>
                    <a:pt x="2376" y="1386"/>
                  </a:lnTo>
                  <a:lnTo>
                    <a:pt x="2376" y="1392"/>
                  </a:lnTo>
                  <a:lnTo>
                    <a:pt x="2370" y="1404"/>
                  </a:lnTo>
                  <a:lnTo>
                    <a:pt x="2364" y="1416"/>
                  </a:lnTo>
                  <a:lnTo>
                    <a:pt x="2346" y="1434"/>
                  </a:lnTo>
                  <a:lnTo>
                    <a:pt x="2328" y="1440"/>
                  </a:lnTo>
                  <a:lnTo>
                    <a:pt x="2328" y="1446"/>
                  </a:lnTo>
                  <a:lnTo>
                    <a:pt x="2322" y="1452"/>
                  </a:lnTo>
                  <a:lnTo>
                    <a:pt x="2316" y="1452"/>
                  </a:lnTo>
                  <a:lnTo>
                    <a:pt x="2304" y="1446"/>
                  </a:lnTo>
                  <a:lnTo>
                    <a:pt x="2298" y="1446"/>
                  </a:lnTo>
                  <a:lnTo>
                    <a:pt x="2298" y="1434"/>
                  </a:lnTo>
                  <a:lnTo>
                    <a:pt x="2292" y="1434"/>
                  </a:lnTo>
                  <a:lnTo>
                    <a:pt x="2286" y="1428"/>
                  </a:lnTo>
                  <a:lnTo>
                    <a:pt x="2274" y="1416"/>
                  </a:lnTo>
                  <a:lnTo>
                    <a:pt x="2256" y="1404"/>
                  </a:lnTo>
                  <a:lnTo>
                    <a:pt x="2244" y="1386"/>
                  </a:lnTo>
                  <a:lnTo>
                    <a:pt x="2220" y="1368"/>
                  </a:lnTo>
                  <a:lnTo>
                    <a:pt x="2208" y="1362"/>
                  </a:lnTo>
                  <a:lnTo>
                    <a:pt x="2202" y="1350"/>
                  </a:lnTo>
                  <a:lnTo>
                    <a:pt x="2196" y="1350"/>
                  </a:lnTo>
                  <a:lnTo>
                    <a:pt x="2190" y="1356"/>
                  </a:lnTo>
                  <a:lnTo>
                    <a:pt x="2184" y="1356"/>
                  </a:lnTo>
                  <a:lnTo>
                    <a:pt x="2094" y="1350"/>
                  </a:lnTo>
                  <a:lnTo>
                    <a:pt x="2058" y="1350"/>
                  </a:lnTo>
                  <a:lnTo>
                    <a:pt x="2034" y="1890"/>
                  </a:lnTo>
                  <a:lnTo>
                    <a:pt x="2064" y="1890"/>
                  </a:lnTo>
                  <a:lnTo>
                    <a:pt x="2070" y="1896"/>
                  </a:lnTo>
                  <a:lnTo>
                    <a:pt x="2076" y="18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8" name="Freeform 33">
              <a:extLst>
                <a:ext uri="{FF2B5EF4-FFF2-40B4-BE49-F238E27FC236}">
                  <a16:creationId xmlns:a16="http://schemas.microsoft.com/office/drawing/2014/main" id="{0E96F118-1F4D-4E52-AF27-149259451CD6}"/>
                </a:ext>
              </a:extLst>
            </p:cNvPr>
            <p:cNvSpPr>
              <a:spLocks/>
            </p:cNvSpPr>
            <p:nvPr/>
          </p:nvSpPr>
          <p:spPr bwMode="gray">
            <a:xfrm>
              <a:off x="1266662" y="1459989"/>
              <a:ext cx="903421" cy="778302"/>
            </a:xfrm>
            <a:custGeom>
              <a:avLst/>
              <a:gdLst>
                <a:gd name="T0" fmla="*/ 143 w 1698"/>
                <a:gd name="T1" fmla="*/ 43 h 1464"/>
                <a:gd name="T2" fmla="*/ 131 w 1698"/>
                <a:gd name="T3" fmla="*/ 44 h 1464"/>
                <a:gd name="T4" fmla="*/ 126 w 1698"/>
                <a:gd name="T5" fmla="*/ 41 h 1464"/>
                <a:gd name="T6" fmla="*/ 119 w 1698"/>
                <a:gd name="T7" fmla="*/ 45 h 1464"/>
                <a:gd name="T8" fmla="*/ 111 w 1698"/>
                <a:gd name="T9" fmla="*/ 46 h 1464"/>
                <a:gd name="T10" fmla="*/ 107 w 1698"/>
                <a:gd name="T11" fmla="*/ 50 h 1464"/>
                <a:gd name="T12" fmla="*/ 107 w 1698"/>
                <a:gd name="T13" fmla="*/ 60 h 1464"/>
                <a:gd name="T14" fmla="*/ 104 w 1698"/>
                <a:gd name="T15" fmla="*/ 62 h 1464"/>
                <a:gd name="T16" fmla="*/ 97 w 1698"/>
                <a:gd name="T17" fmla="*/ 59 h 1464"/>
                <a:gd name="T18" fmla="*/ 92 w 1698"/>
                <a:gd name="T19" fmla="*/ 59 h 1464"/>
                <a:gd name="T20" fmla="*/ 90 w 1698"/>
                <a:gd name="T21" fmla="*/ 62 h 1464"/>
                <a:gd name="T22" fmla="*/ 93 w 1698"/>
                <a:gd name="T23" fmla="*/ 77 h 1464"/>
                <a:gd name="T24" fmla="*/ 85 w 1698"/>
                <a:gd name="T25" fmla="*/ 88 h 1464"/>
                <a:gd name="T26" fmla="*/ 70 w 1698"/>
                <a:gd name="T27" fmla="*/ 89 h 1464"/>
                <a:gd name="T28" fmla="*/ 65 w 1698"/>
                <a:gd name="T29" fmla="*/ 88 h 1464"/>
                <a:gd name="T30" fmla="*/ 50 w 1698"/>
                <a:gd name="T31" fmla="*/ 88 h 1464"/>
                <a:gd name="T32" fmla="*/ 48 w 1698"/>
                <a:gd name="T33" fmla="*/ 107 h 1464"/>
                <a:gd name="T34" fmla="*/ 47 w 1698"/>
                <a:gd name="T35" fmla="*/ 120 h 1464"/>
                <a:gd name="T36" fmla="*/ 43 w 1698"/>
                <a:gd name="T37" fmla="*/ 121 h 1464"/>
                <a:gd name="T38" fmla="*/ 40 w 1698"/>
                <a:gd name="T39" fmla="*/ 120 h 1464"/>
                <a:gd name="T40" fmla="*/ 35 w 1698"/>
                <a:gd name="T41" fmla="*/ 122 h 1464"/>
                <a:gd name="T42" fmla="*/ 29 w 1698"/>
                <a:gd name="T43" fmla="*/ 123 h 1464"/>
                <a:gd name="T44" fmla="*/ 24 w 1698"/>
                <a:gd name="T45" fmla="*/ 125 h 1464"/>
                <a:gd name="T46" fmla="*/ 20 w 1698"/>
                <a:gd name="T47" fmla="*/ 125 h 1464"/>
                <a:gd name="T48" fmla="*/ 18 w 1698"/>
                <a:gd name="T49" fmla="*/ 122 h 1464"/>
                <a:gd name="T50" fmla="*/ 26 w 1698"/>
                <a:gd name="T51" fmla="*/ 108 h 1464"/>
                <a:gd name="T52" fmla="*/ 24 w 1698"/>
                <a:gd name="T53" fmla="*/ 89 h 1464"/>
                <a:gd name="T54" fmla="*/ 28 w 1698"/>
                <a:gd name="T55" fmla="*/ 85 h 1464"/>
                <a:gd name="T56" fmla="*/ 32 w 1698"/>
                <a:gd name="T57" fmla="*/ 80 h 1464"/>
                <a:gd name="T58" fmla="*/ 36 w 1698"/>
                <a:gd name="T59" fmla="*/ 86 h 1464"/>
                <a:gd name="T60" fmla="*/ 39 w 1698"/>
                <a:gd name="T61" fmla="*/ 80 h 1464"/>
                <a:gd name="T62" fmla="*/ 41 w 1698"/>
                <a:gd name="T63" fmla="*/ 73 h 1464"/>
                <a:gd name="T64" fmla="*/ 38 w 1698"/>
                <a:gd name="T65" fmla="*/ 64 h 1464"/>
                <a:gd name="T66" fmla="*/ 39 w 1698"/>
                <a:gd name="T67" fmla="*/ 59 h 1464"/>
                <a:gd name="T68" fmla="*/ 32 w 1698"/>
                <a:gd name="T69" fmla="*/ 54 h 1464"/>
                <a:gd name="T70" fmla="*/ 32 w 1698"/>
                <a:gd name="T71" fmla="*/ 45 h 1464"/>
                <a:gd name="T72" fmla="*/ 31 w 1698"/>
                <a:gd name="T73" fmla="*/ 41 h 1464"/>
                <a:gd name="T74" fmla="*/ 24 w 1698"/>
                <a:gd name="T75" fmla="*/ 43 h 1464"/>
                <a:gd name="T76" fmla="*/ 17 w 1698"/>
                <a:gd name="T77" fmla="*/ 40 h 1464"/>
                <a:gd name="T78" fmla="*/ 11 w 1698"/>
                <a:gd name="T79" fmla="*/ 38 h 1464"/>
                <a:gd name="T80" fmla="*/ 2 w 1698"/>
                <a:gd name="T81" fmla="*/ 36 h 1464"/>
                <a:gd name="T82" fmla="*/ 0 w 1698"/>
                <a:gd name="T83" fmla="*/ 24 h 1464"/>
                <a:gd name="T84" fmla="*/ 11 w 1698"/>
                <a:gd name="T85" fmla="*/ 18 h 1464"/>
                <a:gd name="T86" fmla="*/ 19 w 1698"/>
                <a:gd name="T87" fmla="*/ 10 h 1464"/>
                <a:gd name="T88" fmla="*/ 28 w 1698"/>
                <a:gd name="T89" fmla="*/ 9 h 1464"/>
                <a:gd name="T90" fmla="*/ 40 w 1698"/>
                <a:gd name="T91" fmla="*/ 6 h 1464"/>
                <a:gd name="T92" fmla="*/ 49 w 1698"/>
                <a:gd name="T93" fmla="*/ 8 h 1464"/>
                <a:gd name="T94" fmla="*/ 56 w 1698"/>
                <a:gd name="T95" fmla="*/ 8 h 1464"/>
                <a:gd name="T96" fmla="*/ 64 w 1698"/>
                <a:gd name="T97" fmla="*/ 7 h 1464"/>
                <a:gd name="T98" fmla="*/ 74 w 1698"/>
                <a:gd name="T99" fmla="*/ 1 h 1464"/>
                <a:gd name="T100" fmla="*/ 83 w 1698"/>
                <a:gd name="T101" fmla="*/ 3 h 1464"/>
                <a:gd name="T102" fmla="*/ 99 w 1698"/>
                <a:gd name="T103" fmla="*/ 9 h 1464"/>
                <a:gd name="T104" fmla="*/ 112 w 1698"/>
                <a:gd name="T105" fmla="*/ 14 h 1464"/>
                <a:gd name="T106" fmla="*/ 119 w 1698"/>
                <a:gd name="T107" fmla="*/ 12 h 1464"/>
                <a:gd name="T108" fmla="*/ 128 w 1698"/>
                <a:gd name="T109" fmla="*/ 17 h 1464"/>
                <a:gd name="T110" fmla="*/ 141 w 1698"/>
                <a:gd name="T111" fmla="*/ 29 h 1464"/>
                <a:gd name="T112" fmla="*/ 145 w 1698"/>
                <a:gd name="T113" fmla="*/ 35 h 14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98"/>
                <a:gd name="T172" fmla="*/ 0 h 1464"/>
                <a:gd name="T173" fmla="*/ 1698 w 1698"/>
                <a:gd name="T174" fmla="*/ 1464 h 14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98" h="1464">
                  <a:moveTo>
                    <a:pt x="1698" y="462"/>
                  </a:moveTo>
                  <a:lnTo>
                    <a:pt x="1686" y="468"/>
                  </a:lnTo>
                  <a:lnTo>
                    <a:pt x="1680" y="474"/>
                  </a:lnTo>
                  <a:lnTo>
                    <a:pt x="1674" y="480"/>
                  </a:lnTo>
                  <a:lnTo>
                    <a:pt x="1668" y="480"/>
                  </a:lnTo>
                  <a:lnTo>
                    <a:pt x="1662" y="486"/>
                  </a:lnTo>
                  <a:lnTo>
                    <a:pt x="1656" y="492"/>
                  </a:lnTo>
                  <a:lnTo>
                    <a:pt x="1644" y="498"/>
                  </a:lnTo>
                  <a:lnTo>
                    <a:pt x="1626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0" y="516"/>
                  </a:lnTo>
                  <a:lnTo>
                    <a:pt x="1590" y="522"/>
                  </a:lnTo>
                  <a:lnTo>
                    <a:pt x="1566" y="522"/>
                  </a:lnTo>
                  <a:lnTo>
                    <a:pt x="1506" y="510"/>
                  </a:lnTo>
                  <a:lnTo>
                    <a:pt x="1500" y="510"/>
                  </a:lnTo>
                  <a:lnTo>
                    <a:pt x="1488" y="504"/>
                  </a:lnTo>
                  <a:lnTo>
                    <a:pt x="1482" y="498"/>
                  </a:lnTo>
                  <a:lnTo>
                    <a:pt x="1476" y="498"/>
                  </a:lnTo>
                  <a:lnTo>
                    <a:pt x="1476" y="492"/>
                  </a:lnTo>
                  <a:lnTo>
                    <a:pt x="1470" y="492"/>
                  </a:lnTo>
                  <a:lnTo>
                    <a:pt x="1464" y="486"/>
                  </a:lnTo>
                  <a:lnTo>
                    <a:pt x="1452" y="486"/>
                  </a:lnTo>
                  <a:lnTo>
                    <a:pt x="1446" y="474"/>
                  </a:lnTo>
                  <a:lnTo>
                    <a:pt x="1434" y="468"/>
                  </a:lnTo>
                  <a:lnTo>
                    <a:pt x="1416" y="468"/>
                  </a:lnTo>
                  <a:lnTo>
                    <a:pt x="1392" y="468"/>
                  </a:lnTo>
                  <a:lnTo>
                    <a:pt x="1374" y="474"/>
                  </a:lnTo>
                  <a:lnTo>
                    <a:pt x="1368" y="474"/>
                  </a:lnTo>
                  <a:lnTo>
                    <a:pt x="1368" y="486"/>
                  </a:lnTo>
                  <a:lnTo>
                    <a:pt x="1368" y="498"/>
                  </a:lnTo>
                  <a:lnTo>
                    <a:pt x="1368" y="522"/>
                  </a:lnTo>
                  <a:lnTo>
                    <a:pt x="1368" y="534"/>
                  </a:lnTo>
                  <a:lnTo>
                    <a:pt x="1362" y="546"/>
                  </a:lnTo>
                  <a:lnTo>
                    <a:pt x="1356" y="546"/>
                  </a:lnTo>
                  <a:lnTo>
                    <a:pt x="1344" y="540"/>
                  </a:lnTo>
                  <a:lnTo>
                    <a:pt x="1338" y="534"/>
                  </a:lnTo>
                  <a:lnTo>
                    <a:pt x="1308" y="522"/>
                  </a:lnTo>
                  <a:lnTo>
                    <a:pt x="1296" y="522"/>
                  </a:lnTo>
                  <a:lnTo>
                    <a:pt x="1278" y="528"/>
                  </a:lnTo>
                  <a:lnTo>
                    <a:pt x="1260" y="534"/>
                  </a:lnTo>
                  <a:lnTo>
                    <a:pt x="1242" y="546"/>
                  </a:lnTo>
                  <a:lnTo>
                    <a:pt x="1236" y="552"/>
                  </a:lnTo>
                  <a:lnTo>
                    <a:pt x="1224" y="558"/>
                  </a:lnTo>
                  <a:lnTo>
                    <a:pt x="1218" y="558"/>
                  </a:lnTo>
                  <a:lnTo>
                    <a:pt x="1218" y="564"/>
                  </a:lnTo>
                  <a:lnTo>
                    <a:pt x="1224" y="570"/>
                  </a:lnTo>
                  <a:lnTo>
                    <a:pt x="1224" y="582"/>
                  </a:lnTo>
                  <a:lnTo>
                    <a:pt x="1224" y="594"/>
                  </a:lnTo>
                  <a:lnTo>
                    <a:pt x="1212" y="618"/>
                  </a:lnTo>
                  <a:lnTo>
                    <a:pt x="1212" y="624"/>
                  </a:lnTo>
                  <a:lnTo>
                    <a:pt x="1212" y="630"/>
                  </a:lnTo>
                  <a:lnTo>
                    <a:pt x="1212" y="636"/>
                  </a:lnTo>
                  <a:lnTo>
                    <a:pt x="1218" y="654"/>
                  </a:lnTo>
                  <a:lnTo>
                    <a:pt x="1224" y="672"/>
                  </a:lnTo>
                  <a:lnTo>
                    <a:pt x="1230" y="696"/>
                  </a:lnTo>
                  <a:lnTo>
                    <a:pt x="1236" y="708"/>
                  </a:lnTo>
                  <a:lnTo>
                    <a:pt x="1236" y="714"/>
                  </a:lnTo>
                  <a:lnTo>
                    <a:pt x="1236" y="720"/>
                  </a:lnTo>
                  <a:lnTo>
                    <a:pt x="1218" y="726"/>
                  </a:lnTo>
                  <a:lnTo>
                    <a:pt x="1212" y="726"/>
                  </a:lnTo>
                  <a:lnTo>
                    <a:pt x="1206" y="726"/>
                  </a:lnTo>
                  <a:lnTo>
                    <a:pt x="1194" y="720"/>
                  </a:lnTo>
                  <a:lnTo>
                    <a:pt x="1194" y="714"/>
                  </a:lnTo>
                  <a:lnTo>
                    <a:pt x="1176" y="714"/>
                  </a:lnTo>
                  <a:lnTo>
                    <a:pt x="1164" y="708"/>
                  </a:lnTo>
                  <a:lnTo>
                    <a:pt x="1158" y="708"/>
                  </a:lnTo>
                  <a:lnTo>
                    <a:pt x="1140" y="702"/>
                  </a:lnTo>
                  <a:lnTo>
                    <a:pt x="1134" y="696"/>
                  </a:lnTo>
                  <a:lnTo>
                    <a:pt x="1128" y="690"/>
                  </a:lnTo>
                  <a:lnTo>
                    <a:pt x="1116" y="678"/>
                  </a:lnTo>
                  <a:lnTo>
                    <a:pt x="1110" y="678"/>
                  </a:lnTo>
                  <a:lnTo>
                    <a:pt x="1104" y="672"/>
                  </a:lnTo>
                  <a:lnTo>
                    <a:pt x="1092" y="672"/>
                  </a:lnTo>
                  <a:lnTo>
                    <a:pt x="1086" y="672"/>
                  </a:lnTo>
                  <a:lnTo>
                    <a:pt x="1080" y="672"/>
                  </a:lnTo>
                  <a:lnTo>
                    <a:pt x="1074" y="672"/>
                  </a:lnTo>
                  <a:lnTo>
                    <a:pt x="1068" y="672"/>
                  </a:lnTo>
                  <a:lnTo>
                    <a:pt x="1062" y="678"/>
                  </a:lnTo>
                  <a:lnTo>
                    <a:pt x="1056" y="678"/>
                  </a:lnTo>
                  <a:lnTo>
                    <a:pt x="1056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6"/>
                  </a:lnTo>
                  <a:lnTo>
                    <a:pt x="1032" y="708"/>
                  </a:lnTo>
                  <a:lnTo>
                    <a:pt x="1026" y="708"/>
                  </a:lnTo>
                  <a:lnTo>
                    <a:pt x="1032" y="714"/>
                  </a:lnTo>
                  <a:lnTo>
                    <a:pt x="1026" y="720"/>
                  </a:lnTo>
                  <a:lnTo>
                    <a:pt x="1020" y="720"/>
                  </a:lnTo>
                  <a:lnTo>
                    <a:pt x="1014" y="732"/>
                  </a:lnTo>
                  <a:lnTo>
                    <a:pt x="1014" y="744"/>
                  </a:lnTo>
                  <a:lnTo>
                    <a:pt x="1038" y="810"/>
                  </a:lnTo>
                  <a:lnTo>
                    <a:pt x="1050" y="834"/>
                  </a:lnTo>
                  <a:lnTo>
                    <a:pt x="1056" y="858"/>
                  </a:lnTo>
                  <a:lnTo>
                    <a:pt x="1062" y="876"/>
                  </a:lnTo>
                  <a:lnTo>
                    <a:pt x="1068" y="882"/>
                  </a:lnTo>
                  <a:lnTo>
                    <a:pt x="1062" y="972"/>
                  </a:lnTo>
                  <a:lnTo>
                    <a:pt x="1056" y="972"/>
                  </a:lnTo>
                  <a:lnTo>
                    <a:pt x="1050" y="996"/>
                  </a:lnTo>
                  <a:lnTo>
                    <a:pt x="1044" y="1014"/>
                  </a:lnTo>
                  <a:lnTo>
                    <a:pt x="1008" y="1014"/>
                  </a:lnTo>
                  <a:lnTo>
                    <a:pt x="1008" y="1008"/>
                  </a:lnTo>
                  <a:lnTo>
                    <a:pt x="990" y="1008"/>
                  </a:lnTo>
                  <a:lnTo>
                    <a:pt x="972" y="1014"/>
                  </a:lnTo>
                  <a:lnTo>
                    <a:pt x="948" y="1020"/>
                  </a:lnTo>
                  <a:lnTo>
                    <a:pt x="918" y="1026"/>
                  </a:lnTo>
                  <a:lnTo>
                    <a:pt x="840" y="1032"/>
                  </a:lnTo>
                  <a:lnTo>
                    <a:pt x="834" y="1032"/>
                  </a:lnTo>
                  <a:lnTo>
                    <a:pt x="834" y="1026"/>
                  </a:lnTo>
                  <a:lnTo>
                    <a:pt x="822" y="1026"/>
                  </a:lnTo>
                  <a:lnTo>
                    <a:pt x="816" y="1032"/>
                  </a:lnTo>
                  <a:lnTo>
                    <a:pt x="804" y="1032"/>
                  </a:lnTo>
                  <a:lnTo>
                    <a:pt x="798" y="1026"/>
                  </a:lnTo>
                  <a:lnTo>
                    <a:pt x="780" y="1026"/>
                  </a:lnTo>
                  <a:lnTo>
                    <a:pt x="762" y="1026"/>
                  </a:lnTo>
                  <a:lnTo>
                    <a:pt x="756" y="1026"/>
                  </a:lnTo>
                  <a:lnTo>
                    <a:pt x="750" y="1026"/>
                  </a:lnTo>
                  <a:lnTo>
                    <a:pt x="756" y="1020"/>
                  </a:lnTo>
                  <a:lnTo>
                    <a:pt x="750" y="1020"/>
                  </a:lnTo>
                  <a:lnTo>
                    <a:pt x="744" y="1014"/>
                  </a:lnTo>
                  <a:lnTo>
                    <a:pt x="684" y="1020"/>
                  </a:lnTo>
                  <a:lnTo>
                    <a:pt x="648" y="1020"/>
                  </a:lnTo>
                  <a:lnTo>
                    <a:pt x="630" y="1020"/>
                  </a:lnTo>
                  <a:lnTo>
                    <a:pt x="618" y="1020"/>
                  </a:lnTo>
                  <a:lnTo>
                    <a:pt x="606" y="1014"/>
                  </a:lnTo>
                  <a:lnTo>
                    <a:pt x="582" y="1014"/>
                  </a:lnTo>
                  <a:lnTo>
                    <a:pt x="576" y="1014"/>
                  </a:lnTo>
                  <a:lnTo>
                    <a:pt x="570" y="1014"/>
                  </a:lnTo>
                  <a:lnTo>
                    <a:pt x="564" y="1020"/>
                  </a:lnTo>
                  <a:lnTo>
                    <a:pt x="558" y="1026"/>
                  </a:lnTo>
                  <a:lnTo>
                    <a:pt x="552" y="1032"/>
                  </a:lnTo>
                  <a:lnTo>
                    <a:pt x="552" y="1038"/>
                  </a:lnTo>
                  <a:lnTo>
                    <a:pt x="558" y="1194"/>
                  </a:lnTo>
                  <a:lnTo>
                    <a:pt x="558" y="1206"/>
                  </a:lnTo>
                  <a:lnTo>
                    <a:pt x="552" y="1218"/>
                  </a:lnTo>
                  <a:lnTo>
                    <a:pt x="552" y="1236"/>
                  </a:lnTo>
                  <a:lnTo>
                    <a:pt x="546" y="1272"/>
                  </a:lnTo>
                  <a:lnTo>
                    <a:pt x="546" y="1308"/>
                  </a:lnTo>
                  <a:lnTo>
                    <a:pt x="540" y="1332"/>
                  </a:lnTo>
                  <a:lnTo>
                    <a:pt x="546" y="1356"/>
                  </a:lnTo>
                  <a:lnTo>
                    <a:pt x="546" y="1362"/>
                  </a:lnTo>
                  <a:lnTo>
                    <a:pt x="546" y="1374"/>
                  </a:lnTo>
                  <a:lnTo>
                    <a:pt x="546" y="1380"/>
                  </a:lnTo>
                  <a:lnTo>
                    <a:pt x="540" y="1380"/>
                  </a:lnTo>
                  <a:lnTo>
                    <a:pt x="522" y="1380"/>
                  </a:lnTo>
                  <a:lnTo>
                    <a:pt x="516" y="1380"/>
                  </a:lnTo>
                  <a:lnTo>
                    <a:pt x="516" y="1386"/>
                  </a:lnTo>
                  <a:lnTo>
                    <a:pt x="516" y="1392"/>
                  </a:lnTo>
                  <a:lnTo>
                    <a:pt x="510" y="1392"/>
                  </a:lnTo>
                  <a:lnTo>
                    <a:pt x="504" y="1386"/>
                  </a:lnTo>
                  <a:lnTo>
                    <a:pt x="498" y="1392"/>
                  </a:lnTo>
                  <a:lnTo>
                    <a:pt x="492" y="1398"/>
                  </a:lnTo>
                  <a:lnTo>
                    <a:pt x="486" y="1398"/>
                  </a:lnTo>
                  <a:lnTo>
                    <a:pt x="486" y="1392"/>
                  </a:lnTo>
                  <a:lnTo>
                    <a:pt x="486" y="1380"/>
                  </a:lnTo>
                  <a:lnTo>
                    <a:pt x="486" y="1374"/>
                  </a:lnTo>
                  <a:lnTo>
                    <a:pt x="480" y="1374"/>
                  </a:lnTo>
                  <a:lnTo>
                    <a:pt x="474" y="1374"/>
                  </a:lnTo>
                  <a:lnTo>
                    <a:pt x="468" y="1380"/>
                  </a:lnTo>
                  <a:lnTo>
                    <a:pt x="462" y="1380"/>
                  </a:lnTo>
                  <a:lnTo>
                    <a:pt x="456" y="1380"/>
                  </a:lnTo>
                  <a:lnTo>
                    <a:pt x="450" y="1386"/>
                  </a:lnTo>
                  <a:lnTo>
                    <a:pt x="444" y="1386"/>
                  </a:lnTo>
                  <a:lnTo>
                    <a:pt x="444" y="1392"/>
                  </a:lnTo>
                  <a:lnTo>
                    <a:pt x="432" y="1398"/>
                  </a:lnTo>
                  <a:lnTo>
                    <a:pt x="426" y="1404"/>
                  </a:lnTo>
                  <a:lnTo>
                    <a:pt x="420" y="1404"/>
                  </a:lnTo>
                  <a:lnTo>
                    <a:pt x="408" y="1404"/>
                  </a:lnTo>
                  <a:lnTo>
                    <a:pt x="378" y="1410"/>
                  </a:lnTo>
                  <a:lnTo>
                    <a:pt x="372" y="1410"/>
                  </a:lnTo>
                  <a:lnTo>
                    <a:pt x="360" y="1410"/>
                  </a:lnTo>
                  <a:lnTo>
                    <a:pt x="354" y="1416"/>
                  </a:lnTo>
                  <a:lnTo>
                    <a:pt x="348" y="1416"/>
                  </a:lnTo>
                  <a:lnTo>
                    <a:pt x="342" y="1410"/>
                  </a:lnTo>
                  <a:lnTo>
                    <a:pt x="336" y="1410"/>
                  </a:lnTo>
                  <a:lnTo>
                    <a:pt x="336" y="1416"/>
                  </a:lnTo>
                  <a:lnTo>
                    <a:pt x="330" y="1422"/>
                  </a:lnTo>
                  <a:lnTo>
                    <a:pt x="324" y="1422"/>
                  </a:lnTo>
                  <a:lnTo>
                    <a:pt x="318" y="1422"/>
                  </a:lnTo>
                  <a:lnTo>
                    <a:pt x="312" y="1428"/>
                  </a:lnTo>
                  <a:lnTo>
                    <a:pt x="312" y="1434"/>
                  </a:lnTo>
                  <a:lnTo>
                    <a:pt x="300" y="1428"/>
                  </a:lnTo>
                  <a:lnTo>
                    <a:pt x="288" y="1434"/>
                  </a:lnTo>
                  <a:lnTo>
                    <a:pt x="282" y="1440"/>
                  </a:lnTo>
                  <a:lnTo>
                    <a:pt x="282" y="1446"/>
                  </a:lnTo>
                  <a:lnTo>
                    <a:pt x="276" y="1446"/>
                  </a:lnTo>
                  <a:lnTo>
                    <a:pt x="276" y="1452"/>
                  </a:lnTo>
                  <a:lnTo>
                    <a:pt x="270" y="1452"/>
                  </a:lnTo>
                  <a:lnTo>
                    <a:pt x="258" y="1464"/>
                  </a:lnTo>
                  <a:lnTo>
                    <a:pt x="240" y="1458"/>
                  </a:lnTo>
                  <a:lnTo>
                    <a:pt x="234" y="1452"/>
                  </a:lnTo>
                  <a:lnTo>
                    <a:pt x="234" y="1446"/>
                  </a:lnTo>
                  <a:lnTo>
                    <a:pt x="228" y="1446"/>
                  </a:lnTo>
                  <a:lnTo>
                    <a:pt x="222" y="1440"/>
                  </a:lnTo>
                  <a:lnTo>
                    <a:pt x="216" y="1440"/>
                  </a:lnTo>
                  <a:lnTo>
                    <a:pt x="210" y="1428"/>
                  </a:lnTo>
                  <a:lnTo>
                    <a:pt x="210" y="1422"/>
                  </a:lnTo>
                  <a:lnTo>
                    <a:pt x="198" y="1416"/>
                  </a:lnTo>
                  <a:lnTo>
                    <a:pt x="204" y="1410"/>
                  </a:lnTo>
                  <a:lnTo>
                    <a:pt x="210" y="1404"/>
                  </a:lnTo>
                  <a:lnTo>
                    <a:pt x="210" y="1398"/>
                  </a:lnTo>
                  <a:lnTo>
                    <a:pt x="252" y="1368"/>
                  </a:lnTo>
                  <a:lnTo>
                    <a:pt x="276" y="1350"/>
                  </a:lnTo>
                  <a:lnTo>
                    <a:pt x="300" y="1338"/>
                  </a:lnTo>
                  <a:lnTo>
                    <a:pt x="294" y="1314"/>
                  </a:lnTo>
                  <a:lnTo>
                    <a:pt x="288" y="1308"/>
                  </a:lnTo>
                  <a:lnTo>
                    <a:pt x="300" y="1266"/>
                  </a:lnTo>
                  <a:lnTo>
                    <a:pt x="300" y="1242"/>
                  </a:lnTo>
                  <a:lnTo>
                    <a:pt x="300" y="1206"/>
                  </a:lnTo>
                  <a:lnTo>
                    <a:pt x="300" y="1164"/>
                  </a:lnTo>
                  <a:lnTo>
                    <a:pt x="294" y="1134"/>
                  </a:lnTo>
                  <a:lnTo>
                    <a:pt x="282" y="1086"/>
                  </a:lnTo>
                  <a:lnTo>
                    <a:pt x="276" y="1074"/>
                  </a:lnTo>
                  <a:lnTo>
                    <a:pt x="276" y="1056"/>
                  </a:lnTo>
                  <a:lnTo>
                    <a:pt x="270" y="1038"/>
                  </a:lnTo>
                  <a:lnTo>
                    <a:pt x="270" y="1020"/>
                  </a:lnTo>
                  <a:lnTo>
                    <a:pt x="282" y="1020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94" y="1002"/>
                  </a:lnTo>
                  <a:lnTo>
                    <a:pt x="306" y="996"/>
                  </a:lnTo>
                  <a:lnTo>
                    <a:pt x="312" y="990"/>
                  </a:lnTo>
                  <a:lnTo>
                    <a:pt x="318" y="990"/>
                  </a:lnTo>
                  <a:lnTo>
                    <a:pt x="324" y="984"/>
                  </a:lnTo>
                  <a:lnTo>
                    <a:pt x="324" y="978"/>
                  </a:lnTo>
                  <a:lnTo>
                    <a:pt x="324" y="972"/>
                  </a:lnTo>
                  <a:lnTo>
                    <a:pt x="324" y="954"/>
                  </a:lnTo>
                  <a:lnTo>
                    <a:pt x="336" y="948"/>
                  </a:lnTo>
                  <a:lnTo>
                    <a:pt x="342" y="936"/>
                  </a:lnTo>
                  <a:lnTo>
                    <a:pt x="348" y="924"/>
                  </a:lnTo>
                  <a:lnTo>
                    <a:pt x="354" y="924"/>
                  </a:lnTo>
                  <a:lnTo>
                    <a:pt x="372" y="924"/>
                  </a:lnTo>
                  <a:lnTo>
                    <a:pt x="372" y="930"/>
                  </a:lnTo>
                  <a:lnTo>
                    <a:pt x="378" y="930"/>
                  </a:lnTo>
                  <a:lnTo>
                    <a:pt x="378" y="936"/>
                  </a:lnTo>
                  <a:lnTo>
                    <a:pt x="384" y="936"/>
                  </a:lnTo>
                  <a:lnTo>
                    <a:pt x="384" y="942"/>
                  </a:lnTo>
                  <a:lnTo>
                    <a:pt x="402" y="942"/>
                  </a:lnTo>
                  <a:lnTo>
                    <a:pt x="402" y="996"/>
                  </a:lnTo>
                  <a:lnTo>
                    <a:pt x="414" y="996"/>
                  </a:lnTo>
                  <a:lnTo>
                    <a:pt x="420" y="996"/>
                  </a:lnTo>
                  <a:lnTo>
                    <a:pt x="426" y="996"/>
                  </a:lnTo>
                  <a:lnTo>
                    <a:pt x="432" y="996"/>
                  </a:lnTo>
                  <a:lnTo>
                    <a:pt x="438" y="996"/>
                  </a:lnTo>
                  <a:lnTo>
                    <a:pt x="438" y="942"/>
                  </a:lnTo>
                  <a:lnTo>
                    <a:pt x="444" y="930"/>
                  </a:lnTo>
                  <a:lnTo>
                    <a:pt x="444" y="924"/>
                  </a:lnTo>
                  <a:lnTo>
                    <a:pt x="444" y="918"/>
                  </a:lnTo>
                  <a:lnTo>
                    <a:pt x="462" y="918"/>
                  </a:lnTo>
                  <a:lnTo>
                    <a:pt x="474" y="906"/>
                  </a:lnTo>
                  <a:lnTo>
                    <a:pt x="480" y="900"/>
                  </a:lnTo>
                  <a:lnTo>
                    <a:pt x="486" y="888"/>
                  </a:lnTo>
                  <a:lnTo>
                    <a:pt x="492" y="876"/>
                  </a:lnTo>
                  <a:lnTo>
                    <a:pt x="492" y="858"/>
                  </a:lnTo>
                  <a:lnTo>
                    <a:pt x="480" y="858"/>
                  </a:lnTo>
                  <a:lnTo>
                    <a:pt x="474" y="840"/>
                  </a:lnTo>
                  <a:lnTo>
                    <a:pt x="450" y="834"/>
                  </a:lnTo>
                  <a:lnTo>
                    <a:pt x="438" y="816"/>
                  </a:lnTo>
                  <a:lnTo>
                    <a:pt x="432" y="792"/>
                  </a:lnTo>
                  <a:lnTo>
                    <a:pt x="432" y="786"/>
                  </a:lnTo>
                  <a:lnTo>
                    <a:pt x="432" y="774"/>
                  </a:lnTo>
                  <a:lnTo>
                    <a:pt x="432" y="762"/>
                  </a:lnTo>
                  <a:lnTo>
                    <a:pt x="438" y="750"/>
                  </a:lnTo>
                  <a:lnTo>
                    <a:pt x="438" y="738"/>
                  </a:lnTo>
                  <a:lnTo>
                    <a:pt x="444" y="732"/>
                  </a:lnTo>
                  <a:lnTo>
                    <a:pt x="450" y="732"/>
                  </a:lnTo>
                  <a:lnTo>
                    <a:pt x="456" y="732"/>
                  </a:lnTo>
                  <a:lnTo>
                    <a:pt x="456" y="726"/>
                  </a:lnTo>
                  <a:lnTo>
                    <a:pt x="456" y="714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44" y="684"/>
                  </a:lnTo>
                  <a:lnTo>
                    <a:pt x="438" y="666"/>
                  </a:lnTo>
                  <a:lnTo>
                    <a:pt x="426" y="666"/>
                  </a:lnTo>
                  <a:lnTo>
                    <a:pt x="432" y="666"/>
                  </a:lnTo>
                  <a:lnTo>
                    <a:pt x="420" y="666"/>
                  </a:lnTo>
                  <a:lnTo>
                    <a:pt x="414" y="660"/>
                  </a:lnTo>
                  <a:lnTo>
                    <a:pt x="396" y="654"/>
                  </a:lnTo>
                  <a:lnTo>
                    <a:pt x="384" y="642"/>
                  </a:lnTo>
                  <a:lnTo>
                    <a:pt x="366" y="624"/>
                  </a:lnTo>
                  <a:lnTo>
                    <a:pt x="354" y="606"/>
                  </a:lnTo>
                  <a:lnTo>
                    <a:pt x="342" y="588"/>
                  </a:lnTo>
                  <a:lnTo>
                    <a:pt x="342" y="582"/>
                  </a:lnTo>
                  <a:lnTo>
                    <a:pt x="360" y="564"/>
                  </a:lnTo>
                  <a:lnTo>
                    <a:pt x="372" y="540"/>
                  </a:lnTo>
                  <a:lnTo>
                    <a:pt x="366" y="528"/>
                  </a:lnTo>
                  <a:lnTo>
                    <a:pt x="366" y="522"/>
                  </a:lnTo>
                  <a:lnTo>
                    <a:pt x="372" y="516"/>
                  </a:lnTo>
                  <a:lnTo>
                    <a:pt x="384" y="504"/>
                  </a:lnTo>
                  <a:lnTo>
                    <a:pt x="378" y="492"/>
                  </a:lnTo>
                  <a:lnTo>
                    <a:pt x="378" y="486"/>
                  </a:lnTo>
                  <a:lnTo>
                    <a:pt x="378" y="480"/>
                  </a:lnTo>
                  <a:lnTo>
                    <a:pt x="378" y="474"/>
                  </a:lnTo>
                  <a:lnTo>
                    <a:pt x="378" y="468"/>
                  </a:lnTo>
                  <a:lnTo>
                    <a:pt x="366" y="468"/>
                  </a:lnTo>
                  <a:lnTo>
                    <a:pt x="360" y="474"/>
                  </a:lnTo>
                  <a:lnTo>
                    <a:pt x="354" y="480"/>
                  </a:lnTo>
                  <a:lnTo>
                    <a:pt x="348" y="486"/>
                  </a:lnTo>
                  <a:lnTo>
                    <a:pt x="348" y="492"/>
                  </a:lnTo>
                  <a:lnTo>
                    <a:pt x="336" y="510"/>
                  </a:lnTo>
                  <a:lnTo>
                    <a:pt x="300" y="516"/>
                  </a:lnTo>
                  <a:lnTo>
                    <a:pt x="300" y="510"/>
                  </a:lnTo>
                  <a:lnTo>
                    <a:pt x="282" y="504"/>
                  </a:lnTo>
                  <a:lnTo>
                    <a:pt x="282" y="498"/>
                  </a:lnTo>
                  <a:lnTo>
                    <a:pt x="264" y="486"/>
                  </a:lnTo>
                  <a:lnTo>
                    <a:pt x="258" y="492"/>
                  </a:lnTo>
                  <a:lnTo>
                    <a:pt x="234" y="492"/>
                  </a:lnTo>
                  <a:lnTo>
                    <a:pt x="222" y="486"/>
                  </a:lnTo>
                  <a:lnTo>
                    <a:pt x="204" y="480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92" y="462"/>
                  </a:lnTo>
                  <a:lnTo>
                    <a:pt x="186" y="462"/>
                  </a:lnTo>
                  <a:lnTo>
                    <a:pt x="180" y="468"/>
                  </a:lnTo>
                  <a:lnTo>
                    <a:pt x="150" y="450"/>
                  </a:lnTo>
                  <a:lnTo>
                    <a:pt x="144" y="438"/>
                  </a:lnTo>
                  <a:lnTo>
                    <a:pt x="138" y="438"/>
                  </a:lnTo>
                  <a:lnTo>
                    <a:pt x="132" y="432"/>
                  </a:lnTo>
                  <a:lnTo>
                    <a:pt x="126" y="432"/>
                  </a:lnTo>
                  <a:lnTo>
                    <a:pt x="120" y="432"/>
                  </a:lnTo>
                  <a:lnTo>
                    <a:pt x="102" y="426"/>
                  </a:lnTo>
                  <a:lnTo>
                    <a:pt x="96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2" y="414"/>
                  </a:lnTo>
                  <a:lnTo>
                    <a:pt x="60" y="414"/>
                  </a:lnTo>
                  <a:lnTo>
                    <a:pt x="30" y="414"/>
                  </a:lnTo>
                  <a:lnTo>
                    <a:pt x="24" y="414"/>
                  </a:lnTo>
                  <a:lnTo>
                    <a:pt x="12" y="414"/>
                  </a:lnTo>
                  <a:lnTo>
                    <a:pt x="0" y="420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0" y="336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30" y="270"/>
                  </a:lnTo>
                  <a:lnTo>
                    <a:pt x="42" y="270"/>
                  </a:lnTo>
                  <a:lnTo>
                    <a:pt x="54" y="264"/>
                  </a:lnTo>
                  <a:lnTo>
                    <a:pt x="78" y="240"/>
                  </a:lnTo>
                  <a:lnTo>
                    <a:pt x="102" y="216"/>
                  </a:lnTo>
                  <a:lnTo>
                    <a:pt x="114" y="210"/>
                  </a:lnTo>
                  <a:lnTo>
                    <a:pt x="120" y="204"/>
                  </a:lnTo>
                  <a:lnTo>
                    <a:pt x="126" y="198"/>
                  </a:lnTo>
                  <a:lnTo>
                    <a:pt x="138" y="18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38"/>
                  </a:lnTo>
                  <a:lnTo>
                    <a:pt x="210" y="126"/>
                  </a:lnTo>
                  <a:lnTo>
                    <a:pt x="216" y="120"/>
                  </a:lnTo>
                  <a:lnTo>
                    <a:pt x="222" y="120"/>
                  </a:lnTo>
                  <a:lnTo>
                    <a:pt x="258" y="114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300" y="102"/>
                  </a:lnTo>
                  <a:lnTo>
                    <a:pt x="312" y="102"/>
                  </a:lnTo>
                  <a:lnTo>
                    <a:pt x="318" y="102"/>
                  </a:lnTo>
                  <a:lnTo>
                    <a:pt x="348" y="96"/>
                  </a:lnTo>
                  <a:lnTo>
                    <a:pt x="366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408" y="84"/>
                  </a:lnTo>
                  <a:lnTo>
                    <a:pt x="420" y="84"/>
                  </a:lnTo>
                  <a:lnTo>
                    <a:pt x="462" y="72"/>
                  </a:lnTo>
                  <a:lnTo>
                    <a:pt x="474" y="72"/>
                  </a:lnTo>
                  <a:lnTo>
                    <a:pt x="474" y="78"/>
                  </a:lnTo>
                  <a:lnTo>
                    <a:pt x="492" y="90"/>
                  </a:lnTo>
                  <a:lnTo>
                    <a:pt x="498" y="90"/>
                  </a:lnTo>
                  <a:lnTo>
                    <a:pt x="522" y="96"/>
                  </a:lnTo>
                  <a:lnTo>
                    <a:pt x="540" y="96"/>
                  </a:lnTo>
                  <a:lnTo>
                    <a:pt x="546" y="96"/>
                  </a:lnTo>
                  <a:lnTo>
                    <a:pt x="558" y="96"/>
                  </a:lnTo>
                  <a:lnTo>
                    <a:pt x="564" y="96"/>
                  </a:lnTo>
                  <a:lnTo>
                    <a:pt x="576" y="96"/>
                  </a:lnTo>
                  <a:lnTo>
                    <a:pt x="588" y="96"/>
                  </a:lnTo>
                  <a:lnTo>
                    <a:pt x="612" y="90"/>
                  </a:lnTo>
                  <a:lnTo>
                    <a:pt x="624" y="90"/>
                  </a:lnTo>
                  <a:lnTo>
                    <a:pt x="636" y="90"/>
                  </a:lnTo>
                  <a:lnTo>
                    <a:pt x="642" y="90"/>
                  </a:lnTo>
                  <a:lnTo>
                    <a:pt x="648" y="96"/>
                  </a:lnTo>
                  <a:lnTo>
                    <a:pt x="660" y="96"/>
                  </a:lnTo>
                  <a:lnTo>
                    <a:pt x="666" y="96"/>
                  </a:lnTo>
                  <a:lnTo>
                    <a:pt x="672" y="96"/>
                  </a:lnTo>
                  <a:lnTo>
                    <a:pt x="684" y="96"/>
                  </a:lnTo>
                  <a:lnTo>
                    <a:pt x="708" y="96"/>
                  </a:lnTo>
                  <a:lnTo>
                    <a:pt x="714" y="96"/>
                  </a:lnTo>
                  <a:lnTo>
                    <a:pt x="726" y="96"/>
                  </a:lnTo>
                  <a:lnTo>
                    <a:pt x="738" y="84"/>
                  </a:lnTo>
                  <a:lnTo>
                    <a:pt x="744" y="78"/>
                  </a:lnTo>
                  <a:lnTo>
                    <a:pt x="756" y="66"/>
                  </a:lnTo>
                  <a:lnTo>
                    <a:pt x="774" y="42"/>
                  </a:lnTo>
                  <a:lnTo>
                    <a:pt x="780" y="30"/>
                  </a:lnTo>
                  <a:lnTo>
                    <a:pt x="816" y="24"/>
                  </a:lnTo>
                  <a:lnTo>
                    <a:pt x="840" y="18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64" y="6"/>
                  </a:lnTo>
                  <a:lnTo>
                    <a:pt x="870" y="6"/>
                  </a:lnTo>
                  <a:lnTo>
                    <a:pt x="894" y="0"/>
                  </a:lnTo>
                  <a:lnTo>
                    <a:pt x="900" y="6"/>
                  </a:lnTo>
                  <a:lnTo>
                    <a:pt x="930" y="18"/>
                  </a:lnTo>
                  <a:lnTo>
                    <a:pt x="942" y="24"/>
                  </a:lnTo>
                  <a:lnTo>
                    <a:pt x="954" y="30"/>
                  </a:lnTo>
                  <a:lnTo>
                    <a:pt x="1026" y="60"/>
                  </a:lnTo>
                  <a:lnTo>
                    <a:pt x="1032" y="60"/>
                  </a:lnTo>
                  <a:lnTo>
                    <a:pt x="1038" y="66"/>
                  </a:lnTo>
                  <a:lnTo>
                    <a:pt x="1068" y="72"/>
                  </a:lnTo>
                  <a:lnTo>
                    <a:pt x="1098" y="84"/>
                  </a:lnTo>
                  <a:lnTo>
                    <a:pt x="1122" y="90"/>
                  </a:lnTo>
                  <a:lnTo>
                    <a:pt x="1122" y="96"/>
                  </a:lnTo>
                  <a:lnTo>
                    <a:pt x="1140" y="102"/>
                  </a:lnTo>
                  <a:lnTo>
                    <a:pt x="1182" y="114"/>
                  </a:lnTo>
                  <a:lnTo>
                    <a:pt x="1188" y="114"/>
                  </a:lnTo>
                  <a:lnTo>
                    <a:pt x="1200" y="120"/>
                  </a:lnTo>
                  <a:lnTo>
                    <a:pt x="1212" y="126"/>
                  </a:lnTo>
                  <a:lnTo>
                    <a:pt x="1224" y="126"/>
                  </a:lnTo>
                  <a:lnTo>
                    <a:pt x="1248" y="138"/>
                  </a:lnTo>
                  <a:lnTo>
                    <a:pt x="1272" y="150"/>
                  </a:lnTo>
                  <a:lnTo>
                    <a:pt x="1284" y="156"/>
                  </a:lnTo>
                  <a:lnTo>
                    <a:pt x="1290" y="162"/>
                  </a:lnTo>
                  <a:lnTo>
                    <a:pt x="1296" y="162"/>
                  </a:lnTo>
                  <a:lnTo>
                    <a:pt x="1308" y="156"/>
                  </a:lnTo>
                  <a:lnTo>
                    <a:pt x="1320" y="150"/>
                  </a:lnTo>
                  <a:lnTo>
                    <a:pt x="1326" y="150"/>
                  </a:lnTo>
                  <a:lnTo>
                    <a:pt x="1338" y="144"/>
                  </a:lnTo>
                  <a:lnTo>
                    <a:pt x="1362" y="144"/>
                  </a:lnTo>
                  <a:lnTo>
                    <a:pt x="1368" y="144"/>
                  </a:lnTo>
                  <a:lnTo>
                    <a:pt x="1374" y="144"/>
                  </a:lnTo>
                  <a:lnTo>
                    <a:pt x="1386" y="150"/>
                  </a:lnTo>
                  <a:lnTo>
                    <a:pt x="1392" y="150"/>
                  </a:lnTo>
                  <a:lnTo>
                    <a:pt x="1398" y="150"/>
                  </a:lnTo>
                  <a:lnTo>
                    <a:pt x="1416" y="162"/>
                  </a:lnTo>
                  <a:lnTo>
                    <a:pt x="1458" y="186"/>
                  </a:lnTo>
                  <a:lnTo>
                    <a:pt x="1464" y="186"/>
                  </a:lnTo>
                  <a:lnTo>
                    <a:pt x="1470" y="192"/>
                  </a:lnTo>
                  <a:lnTo>
                    <a:pt x="1482" y="204"/>
                  </a:lnTo>
                  <a:lnTo>
                    <a:pt x="1512" y="234"/>
                  </a:lnTo>
                  <a:lnTo>
                    <a:pt x="1554" y="276"/>
                  </a:lnTo>
                  <a:lnTo>
                    <a:pt x="1560" y="276"/>
                  </a:lnTo>
                  <a:lnTo>
                    <a:pt x="1566" y="282"/>
                  </a:lnTo>
                  <a:lnTo>
                    <a:pt x="1578" y="294"/>
                  </a:lnTo>
                  <a:lnTo>
                    <a:pt x="1602" y="318"/>
                  </a:lnTo>
                  <a:lnTo>
                    <a:pt x="1614" y="330"/>
                  </a:lnTo>
                  <a:lnTo>
                    <a:pt x="1620" y="336"/>
                  </a:lnTo>
                  <a:lnTo>
                    <a:pt x="1626" y="342"/>
                  </a:lnTo>
                  <a:lnTo>
                    <a:pt x="1632" y="354"/>
                  </a:lnTo>
                  <a:lnTo>
                    <a:pt x="1644" y="366"/>
                  </a:lnTo>
                  <a:lnTo>
                    <a:pt x="1650" y="378"/>
                  </a:lnTo>
                  <a:lnTo>
                    <a:pt x="1650" y="384"/>
                  </a:lnTo>
                  <a:lnTo>
                    <a:pt x="1656" y="384"/>
                  </a:lnTo>
                  <a:lnTo>
                    <a:pt x="1662" y="402"/>
                  </a:lnTo>
                  <a:lnTo>
                    <a:pt x="1668" y="408"/>
                  </a:lnTo>
                  <a:lnTo>
                    <a:pt x="1674" y="426"/>
                  </a:lnTo>
                  <a:lnTo>
                    <a:pt x="1686" y="438"/>
                  </a:lnTo>
                  <a:lnTo>
                    <a:pt x="1698" y="46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9" name="Freeform 34">
              <a:extLst>
                <a:ext uri="{FF2B5EF4-FFF2-40B4-BE49-F238E27FC236}">
                  <a16:creationId xmlns:a16="http://schemas.microsoft.com/office/drawing/2014/main" id="{94603F24-8CF7-4226-A433-00D18CA7D9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1988" y="1681402"/>
              <a:ext cx="869877" cy="1060101"/>
            </a:xfrm>
            <a:custGeom>
              <a:avLst/>
              <a:gdLst>
                <a:gd name="T0" fmla="*/ 4 w 1638"/>
                <a:gd name="T1" fmla="*/ 111 h 1998"/>
                <a:gd name="T2" fmla="*/ 6 w 1638"/>
                <a:gd name="T3" fmla="*/ 87 h 1998"/>
                <a:gd name="T4" fmla="*/ 10 w 1638"/>
                <a:gd name="T5" fmla="*/ 80 h 1998"/>
                <a:gd name="T6" fmla="*/ 10 w 1638"/>
                <a:gd name="T7" fmla="*/ 71 h 1998"/>
                <a:gd name="T8" fmla="*/ 9 w 1638"/>
                <a:gd name="T9" fmla="*/ 56 h 1998"/>
                <a:gd name="T10" fmla="*/ 8 w 1638"/>
                <a:gd name="T11" fmla="*/ 40 h 1998"/>
                <a:gd name="T12" fmla="*/ 20 w 1638"/>
                <a:gd name="T13" fmla="*/ 30 h 1998"/>
                <a:gd name="T14" fmla="*/ 30 w 1638"/>
                <a:gd name="T15" fmla="*/ 19 h 1998"/>
                <a:gd name="T16" fmla="*/ 35 w 1638"/>
                <a:gd name="T17" fmla="*/ 2 h 1998"/>
                <a:gd name="T18" fmla="*/ 47 w 1638"/>
                <a:gd name="T19" fmla="*/ 2 h 1998"/>
                <a:gd name="T20" fmla="*/ 56 w 1638"/>
                <a:gd name="T21" fmla="*/ 7 h 1998"/>
                <a:gd name="T22" fmla="*/ 67 w 1638"/>
                <a:gd name="T23" fmla="*/ 5 h 1998"/>
                <a:gd name="T24" fmla="*/ 65 w 1638"/>
                <a:gd name="T25" fmla="*/ 15 h 1998"/>
                <a:gd name="T26" fmla="*/ 74 w 1638"/>
                <a:gd name="T27" fmla="*/ 24 h 1998"/>
                <a:gd name="T28" fmla="*/ 73 w 1638"/>
                <a:gd name="T29" fmla="*/ 33 h 1998"/>
                <a:gd name="T30" fmla="*/ 74 w 1638"/>
                <a:gd name="T31" fmla="*/ 44 h 1998"/>
                <a:gd name="T32" fmla="*/ 68 w 1638"/>
                <a:gd name="T33" fmla="*/ 45 h 1998"/>
                <a:gd name="T34" fmla="*/ 63 w 1638"/>
                <a:gd name="T35" fmla="*/ 50 h 1998"/>
                <a:gd name="T36" fmla="*/ 61 w 1638"/>
                <a:gd name="T37" fmla="*/ 62 h 1998"/>
                <a:gd name="T38" fmla="*/ 53 w 1638"/>
                <a:gd name="T39" fmla="*/ 86 h 1998"/>
                <a:gd name="T40" fmla="*/ 59 w 1638"/>
                <a:gd name="T41" fmla="*/ 90 h 1998"/>
                <a:gd name="T42" fmla="*/ 65 w 1638"/>
                <a:gd name="T43" fmla="*/ 86 h 1998"/>
                <a:gd name="T44" fmla="*/ 74 w 1638"/>
                <a:gd name="T45" fmla="*/ 84 h 1998"/>
                <a:gd name="T46" fmla="*/ 79 w 1638"/>
                <a:gd name="T47" fmla="*/ 85 h 1998"/>
                <a:gd name="T48" fmla="*/ 84 w 1638"/>
                <a:gd name="T49" fmla="*/ 84 h 1998"/>
                <a:gd name="T50" fmla="*/ 91 w 1638"/>
                <a:gd name="T51" fmla="*/ 84 h 1998"/>
                <a:gd name="T52" fmla="*/ 94 w 1638"/>
                <a:gd name="T53" fmla="*/ 81 h 1998"/>
                <a:gd name="T54" fmla="*/ 100 w 1638"/>
                <a:gd name="T55" fmla="*/ 81 h 1998"/>
                <a:gd name="T56" fmla="*/ 102 w 1638"/>
                <a:gd name="T57" fmla="*/ 84 h 1998"/>
                <a:gd name="T58" fmla="*/ 108 w 1638"/>
                <a:gd name="T59" fmla="*/ 85 h 1998"/>
                <a:gd name="T60" fmla="*/ 113 w 1638"/>
                <a:gd name="T61" fmla="*/ 88 h 1998"/>
                <a:gd name="T62" fmla="*/ 116 w 1638"/>
                <a:gd name="T63" fmla="*/ 88 h 1998"/>
                <a:gd name="T64" fmla="*/ 123 w 1638"/>
                <a:gd name="T65" fmla="*/ 87 h 1998"/>
                <a:gd name="T66" fmla="*/ 128 w 1638"/>
                <a:gd name="T67" fmla="*/ 86 h 1998"/>
                <a:gd name="T68" fmla="*/ 132 w 1638"/>
                <a:gd name="T69" fmla="*/ 90 h 1998"/>
                <a:gd name="T70" fmla="*/ 138 w 1638"/>
                <a:gd name="T71" fmla="*/ 96 h 1998"/>
                <a:gd name="T72" fmla="*/ 138 w 1638"/>
                <a:gd name="T73" fmla="*/ 110 h 1998"/>
                <a:gd name="T74" fmla="*/ 137 w 1638"/>
                <a:gd name="T75" fmla="*/ 118 h 1998"/>
                <a:gd name="T76" fmla="*/ 133 w 1638"/>
                <a:gd name="T77" fmla="*/ 124 h 1998"/>
                <a:gd name="T78" fmla="*/ 122 w 1638"/>
                <a:gd name="T79" fmla="*/ 125 h 1998"/>
                <a:gd name="T80" fmla="*/ 116 w 1638"/>
                <a:gd name="T81" fmla="*/ 127 h 1998"/>
                <a:gd name="T82" fmla="*/ 108 w 1638"/>
                <a:gd name="T83" fmla="*/ 123 h 1998"/>
                <a:gd name="T84" fmla="*/ 109 w 1638"/>
                <a:gd name="T85" fmla="*/ 119 h 1998"/>
                <a:gd name="T86" fmla="*/ 104 w 1638"/>
                <a:gd name="T87" fmla="*/ 104 h 1998"/>
                <a:gd name="T88" fmla="*/ 94 w 1638"/>
                <a:gd name="T89" fmla="*/ 105 h 1998"/>
                <a:gd name="T90" fmla="*/ 88 w 1638"/>
                <a:gd name="T91" fmla="*/ 109 h 1998"/>
                <a:gd name="T92" fmla="*/ 76 w 1638"/>
                <a:gd name="T93" fmla="*/ 107 h 1998"/>
                <a:gd name="T94" fmla="*/ 72 w 1638"/>
                <a:gd name="T95" fmla="*/ 114 h 1998"/>
                <a:gd name="T96" fmla="*/ 86 w 1638"/>
                <a:gd name="T97" fmla="*/ 121 h 1998"/>
                <a:gd name="T98" fmla="*/ 87 w 1638"/>
                <a:gd name="T99" fmla="*/ 129 h 1998"/>
                <a:gd name="T100" fmla="*/ 86 w 1638"/>
                <a:gd name="T101" fmla="*/ 137 h 1998"/>
                <a:gd name="T102" fmla="*/ 79 w 1638"/>
                <a:gd name="T103" fmla="*/ 141 h 1998"/>
                <a:gd name="T104" fmla="*/ 73 w 1638"/>
                <a:gd name="T105" fmla="*/ 144 h 1998"/>
                <a:gd name="T106" fmla="*/ 72 w 1638"/>
                <a:gd name="T107" fmla="*/ 164 h 1998"/>
                <a:gd name="T108" fmla="*/ 68 w 1638"/>
                <a:gd name="T109" fmla="*/ 172 h 1998"/>
                <a:gd name="T110" fmla="*/ 59 w 1638"/>
                <a:gd name="T111" fmla="*/ 164 h 1998"/>
                <a:gd name="T112" fmla="*/ 65 w 1638"/>
                <a:gd name="T113" fmla="*/ 146 h 1998"/>
                <a:gd name="T114" fmla="*/ 69 w 1638"/>
                <a:gd name="T115" fmla="*/ 133 h 1998"/>
                <a:gd name="T116" fmla="*/ 61 w 1638"/>
                <a:gd name="T117" fmla="*/ 131 h 1998"/>
                <a:gd name="T118" fmla="*/ 43 w 1638"/>
                <a:gd name="T119" fmla="*/ 125 h 1998"/>
                <a:gd name="T120" fmla="*/ 23 w 1638"/>
                <a:gd name="T121" fmla="*/ 125 h 1998"/>
                <a:gd name="T122" fmla="*/ 17 w 1638"/>
                <a:gd name="T123" fmla="*/ 121 h 19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638"/>
                <a:gd name="T187" fmla="*/ 0 h 1998"/>
                <a:gd name="T188" fmla="*/ 1638 w 1638"/>
                <a:gd name="T189" fmla="*/ 1998 h 19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638" h="1998">
                  <a:moveTo>
                    <a:pt x="144" y="1380"/>
                  </a:moveTo>
                  <a:lnTo>
                    <a:pt x="150" y="1368"/>
                  </a:lnTo>
                  <a:lnTo>
                    <a:pt x="150" y="1362"/>
                  </a:lnTo>
                  <a:lnTo>
                    <a:pt x="150" y="1356"/>
                  </a:lnTo>
                  <a:lnTo>
                    <a:pt x="144" y="1356"/>
                  </a:lnTo>
                  <a:lnTo>
                    <a:pt x="138" y="1356"/>
                  </a:lnTo>
                  <a:lnTo>
                    <a:pt x="126" y="1356"/>
                  </a:lnTo>
                  <a:lnTo>
                    <a:pt x="114" y="1344"/>
                  </a:lnTo>
                  <a:lnTo>
                    <a:pt x="84" y="1320"/>
                  </a:lnTo>
                  <a:lnTo>
                    <a:pt x="54" y="1296"/>
                  </a:lnTo>
                  <a:lnTo>
                    <a:pt x="48" y="1290"/>
                  </a:lnTo>
                  <a:lnTo>
                    <a:pt x="42" y="1278"/>
                  </a:lnTo>
                  <a:lnTo>
                    <a:pt x="30" y="1272"/>
                  </a:lnTo>
                  <a:lnTo>
                    <a:pt x="0" y="1248"/>
                  </a:lnTo>
                  <a:lnTo>
                    <a:pt x="6" y="1230"/>
                  </a:lnTo>
                  <a:lnTo>
                    <a:pt x="12" y="1194"/>
                  </a:lnTo>
                  <a:lnTo>
                    <a:pt x="18" y="1170"/>
                  </a:lnTo>
                  <a:lnTo>
                    <a:pt x="30" y="1134"/>
                  </a:lnTo>
                  <a:lnTo>
                    <a:pt x="36" y="1086"/>
                  </a:lnTo>
                  <a:lnTo>
                    <a:pt x="42" y="1050"/>
                  </a:lnTo>
                  <a:lnTo>
                    <a:pt x="48" y="1044"/>
                  </a:lnTo>
                  <a:lnTo>
                    <a:pt x="54" y="1026"/>
                  </a:lnTo>
                  <a:lnTo>
                    <a:pt x="60" y="1014"/>
                  </a:lnTo>
                  <a:lnTo>
                    <a:pt x="66" y="1002"/>
                  </a:lnTo>
                  <a:lnTo>
                    <a:pt x="66" y="996"/>
                  </a:lnTo>
                  <a:lnTo>
                    <a:pt x="72" y="996"/>
                  </a:lnTo>
                  <a:lnTo>
                    <a:pt x="72" y="990"/>
                  </a:lnTo>
                  <a:lnTo>
                    <a:pt x="78" y="990"/>
                  </a:lnTo>
                  <a:lnTo>
                    <a:pt x="90" y="978"/>
                  </a:lnTo>
                  <a:lnTo>
                    <a:pt x="96" y="966"/>
                  </a:lnTo>
                  <a:lnTo>
                    <a:pt x="102" y="966"/>
                  </a:lnTo>
                  <a:lnTo>
                    <a:pt x="114" y="954"/>
                  </a:lnTo>
                  <a:lnTo>
                    <a:pt x="120" y="954"/>
                  </a:lnTo>
                  <a:lnTo>
                    <a:pt x="120" y="948"/>
                  </a:lnTo>
                  <a:lnTo>
                    <a:pt x="114" y="930"/>
                  </a:lnTo>
                  <a:lnTo>
                    <a:pt x="114" y="924"/>
                  </a:lnTo>
                  <a:lnTo>
                    <a:pt x="108" y="918"/>
                  </a:lnTo>
                  <a:lnTo>
                    <a:pt x="102" y="912"/>
                  </a:lnTo>
                  <a:lnTo>
                    <a:pt x="90" y="906"/>
                  </a:lnTo>
                  <a:lnTo>
                    <a:pt x="84" y="900"/>
                  </a:lnTo>
                  <a:lnTo>
                    <a:pt x="84" y="888"/>
                  </a:lnTo>
                  <a:lnTo>
                    <a:pt x="84" y="882"/>
                  </a:lnTo>
                  <a:lnTo>
                    <a:pt x="78" y="858"/>
                  </a:lnTo>
                  <a:lnTo>
                    <a:pt x="78" y="852"/>
                  </a:lnTo>
                  <a:lnTo>
                    <a:pt x="84" y="846"/>
                  </a:lnTo>
                  <a:lnTo>
                    <a:pt x="84" y="840"/>
                  </a:lnTo>
                  <a:lnTo>
                    <a:pt x="96" y="828"/>
                  </a:lnTo>
                  <a:lnTo>
                    <a:pt x="114" y="816"/>
                  </a:lnTo>
                  <a:lnTo>
                    <a:pt x="114" y="810"/>
                  </a:lnTo>
                  <a:lnTo>
                    <a:pt x="114" y="804"/>
                  </a:lnTo>
                  <a:lnTo>
                    <a:pt x="108" y="780"/>
                  </a:lnTo>
                  <a:lnTo>
                    <a:pt x="96" y="756"/>
                  </a:lnTo>
                  <a:lnTo>
                    <a:pt x="96" y="750"/>
                  </a:lnTo>
                  <a:lnTo>
                    <a:pt x="90" y="720"/>
                  </a:lnTo>
                  <a:lnTo>
                    <a:pt x="90" y="708"/>
                  </a:lnTo>
                  <a:lnTo>
                    <a:pt x="90" y="690"/>
                  </a:lnTo>
                  <a:lnTo>
                    <a:pt x="96" y="672"/>
                  </a:lnTo>
                  <a:lnTo>
                    <a:pt x="90" y="666"/>
                  </a:lnTo>
                  <a:lnTo>
                    <a:pt x="96" y="666"/>
                  </a:lnTo>
                  <a:lnTo>
                    <a:pt x="102" y="642"/>
                  </a:lnTo>
                  <a:lnTo>
                    <a:pt x="108" y="624"/>
                  </a:lnTo>
                  <a:lnTo>
                    <a:pt x="102" y="618"/>
                  </a:lnTo>
                  <a:lnTo>
                    <a:pt x="102" y="588"/>
                  </a:lnTo>
                  <a:lnTo>
                    <a:pt x="102" y="564"/>
                  </a:lnTo>
                  <a:lnTo>
                    <a:pt x="102" y="546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0"/>
                  </a:lnTo>
                  <a:lnTo>
                    <a:pt x="96" y="498"/>
                  </a:lnTo>
                  <a:lnTo>
                    <a:pt x="96" y="486"/>
                  </a:lnTo>
                  <a:lnTo>
                    <a:pt x="96" y="474"/>
                  </a:lnTo>
                  <a:lnTo>
                    <a:pt x="96" y="462"/>
                  </a:lnTo>
                  <a:lnTo>
                    <a:pt x="114" y="450"/>
                  </a:lnTo>
                  <a:lnTo>
                    <a:pt x="126" y="438"/>
                  </a:lnTo>
                  <a:lnTo>
                    <a:pt x="132" y="432"/>
                  </a:lnTo>
                  <a:lnTo>
                    <a:pt x="144" y="426"/>
                  </a:lnTo>
                  <a:lnTo>
                    <a:pt x="144" y="420"/>
                  </a:lnTo>
                  <a:lnTo>
                    <a:pt x="156" y="414"/>
                  </a:lnTo>
                  <a:lnTo>
                    <a:pt x="162" y="408"/>
                  </a:lnTo>
                  <a:lnTo>
                    <a:pt x="180" y="396"/>
                  </a:lnTo>
                  <a:lnTo>
                    <a:pt x="210" y="372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34" y="348"/>
                  </a:lnTo>
                  <a:lnTo>
                    <a:pt x="240" y="348"/>
                  </a:lnTo>
                  <a:lnTo>
                    <a:pt x="246" y="342"/>
                  </a:lnTo>
                  <a:lnTo>
                    <a:pt x="276" y="318"/>
                  </a:lnTo>
                  <a:lnTo>
                    <a:pt x="282" y="312"/>
                  </a:lnTo>
                  <a:lnTo>
                    <a:pt x="288" y="306"/>
                  </a:lnTo>
                  <a:lnTo>
                    <a:pt x="300" y="288"/>
                  </a:lnTo>
                  <a:lnTo>
                    <a:pt x="306" y="276"/>
                  </a:lnTo>
                  <a:lnTo>
                    <a:pt x="324" y="246"/>
                  </a:lnTo>
                  <a:lnTo>
                    <a:pt x="330" y="240"/>
                  </a:lnTo>
                  <a:lnTo>
                    <a:pt x="336" y="234"/>
                  </a:lnTo>
                  <a:lnTo>
                    <a:pt x="342" y="228"/>
                  </a:lnTo>
                  <a:lnTo>
                    <a:pt x="342" y="216"/>
                  </a:lnTo>
                  <a:lnTo>
                    <a:pt x="354" y="204"/>
                  </a:lnTo>
                  <a:lnTo>
                    <a:pt x="360" y="204"/>
                  </a:lnTo>
                  <a:lnTo>
                    <a:pt x="366" y="186"/>
                  </a:lnTo>
                  <a:lnTo>
                    <a:pt x="384" y="162"/>
                  </a:lnTo>
                  <a:lnTo>
                    <a:pt x="390" y="144"/>
                  </a:lnTo>
                  <a:lnTo>
                    <a:pt x="396" y="114"/>
                  </a:lnTo>
                  <a:lnTo>
                    <a:pt x="396" y="102"/>
                  </a:lnTo>
                  <a:lnTo>
                    <a:pt x="402" y="90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08" y="36"/>
                  </a:lnTo>
                  <a:lnTo>
                    <a:pt x="408" y="24"/>
                  </a:lnTo>
                  <a:lnTo>
                    <a:pt x="408" y="6"/>
                  </a:lnTo>
                  <a:lnTo>
                    <a:pt x="420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68" y="0"/>
                  </a:lnTo>
                  <a:lnTo>
                    <a:pt x="480" y="0"/>
                  </a:lnTo>
                  <a:lnTo>
                    <a:pt x="492" y="0"/>
                  </a:lnTo>
                  <a:lnTo>
                    <a:pt x="498" y="0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8" y="18"/>
                  </a:lnTo>
                  <a:lnTo>
                    <a:pt x="534" y="18"/>
                  </a:lnTo>
                  <a:lnTo>
                    <a:pt x="540" y="18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8" y="36"/>
                  </a:lnTo>
                  <a:lnTo>
                    <a:pt x="588" y="54"/>
                  </a:lnTo>
                  <a:lnTo>
                    <a:pt x="594" y="48"/>
                  </a:lnTo>
                  <a:lnTo>
                    <a:pt x="600" y="48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12" y="66"/>
                  </a:lnTo>
                  <a:lnTo>
                    <a:pt x="630" y="72"/>
                  </a:lnTo>
                  <a:lnTo>
                    <a:pt x="642" y="78"/>
                  </a:lnTo>
                  <a:lnTo>
                    <a:pt x="666" y="78"/>
                  </a:lnTo>
                  <a:lnTo>
                    <a:pt x="672" y="72"/>
                  </a:lnTo>
                  <a:lnTo>
                    <a:pt x="690" y="84"/>
                  </a:lnTo>
                  <a:lnTo>
                    <a:pt x="690" y="90"/>
                  </a:lnTo>
                  <a:lnTo>
                    <a:pt x="708" y="96"/>
                  </a:lnTo>
                  <a:lnTo>
                    <a:pt x="708" y="102"/>
                  </a:lnTo>
                  <a:lnTo>
                    <a:pt x="744" y="96"/>
                  </a:lnTo>
                  <a:lnTo>
                    <a:pt x="756" y="78"/>
                  </a:lnTo>
                  <a:lnTo>
                    <a:pt x="756" y="72"/>
                  </a:lnTo>
                  <a:lnTo>
                    <a:pt x="762" y="66"/>
                  </a:lnTo>
                  <a:lnTo>
                    <a:pt x="768" y="60"/>
                  </a:lnTo>
                  <a:lnTo>
                    <a:pt x="774" y="54"/>
                  </a:lnTo>
                  <a:lnTo>
                    <a:pt x="786" y="54"/>
                  </a:lnTo>
                  <a:lnTo>
                    <a:pt x="786" y="60"/>
                  </a:lnTo>
                  <a:lnTo>
                    <a:pt x="786" y="66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92" y="90"/>
                  </a:lnTo>
                  <a:lnTo>
                    <a:pt x="780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26"/>
                  </a:lnTo>
                  <a:lnTo>
                    <a:pt x="768" y="150"/>
                  </a:lnTo>
                  <a:lnTo>
                    <a:pt x="750" y="168"/>
                  </a:lnTo>
                  <a:lnTo>
                    <a:pt x="750" y="174"/>
                  </a:lnTo>
                  <a:lnTo>
                    <a:pt x="762" y="192"/>
                  </a:lnTo>
                  <a:lnTo>
                    <a:pt x="774" y="210"/>
                  </a:lnTo>
                  <a:lnTo>
                    <a:pt x="792" y="228"/>
                  </a:lnTo>
                  <a:lnTo>
                    <a:pt x="804" y="240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40" y="252"/>
                  </a:lnTo>
                  <a:lnTo>
                    <a:pt x="834" y="252"/>
                  </a:lnTo>
                  <a:lnTo>
                    <a:pt x="846" y="252"/>
                  </a:lnTo>
                  <a:lnTo>
                    <a:pt x="852" y="270"/>
                  </a:lnTo>
                  <a:lnTo>
                    <a:pt x="858" y="282"/>
                  </a:lnTo>
                  <a:lnTo>
                    <a:pt x="858" y="288"/>
                  </a:lnTo>
                  <a:lnTo>
                    <a:pt x="864" y="300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58" y="318"/>
                  </a:lnTo>
                  <a:lnTo>
                    <a:pt x="852" y="318"/>
                  </a:lnTo>
                  <a:lnTo>
                    <a:pt x="846" y="324"/>
                  </a:lnTo>
                  <a:lnTo>
                    <a:pt x="846" y="336"/>
                  </a:lnTo>
                  <a:lnTo>
                    <a:pt x="840" y="348"/>
                  </a:lnTo>
                  <a:lnTo>
                    <a:pt x="840" y="360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46" y="402"/>
                  </a:lnTo>
                  <a:lnTo>
                    <a:pt x="858" y="420"/>
                  </a:lnTo>
                  <a:lnTo>
                    <a:pt x="882" y="426"/>
                  </a:lnTo>
                  <a:lnTo>
                    <a:pt x="888" y="444"/>
                  </a:lnTo>
                  <a:lnTo>
                    <a:pt x="900" y="444"/>
                  </a:lnTo>
                  <a:lnTo>
                    <a:pt x="900" y="462"/>
                  </a:lnTo>
                  <a:lnTo>
                    <a:pt x="894" y="474"/>
                  </a:lnTo>
                  <a:lnTo>
                    <a:pt x="888" y="486"/>
                  </a:lnTo>
                  <a:lnTo>
                    <a:pt x="882" y="492"/>
                  </a:lnTo>
                  <a:lnTo>
                    <a:pt x="870" y="504"/>
                  </a:lnTo>
                  <a:lnTo>
                    <a:pt x="852" y="504"/>
                  </a:lnTo>
                  <a:lnTo>
                    <a:pt x="852" y="510"/>
                  </a:lnTo>
                  <a:lnTo>
                    <a:pt x="852" y="516"/>
                  </a:lnTo>
                  <a:lnTo>
                    <a:pt x="846" y="528"/>
                  </a:lnTo>
                  <a:lnTo>
                    <a:pt x="846" y="582"/>
                  </a:lnTo>
                  <a:lnTo>
                    <a:pt x="840" y="582"/>
                  </a:lnTo>
                  <a:lnTo>
                    <a:pt x="834" y="582"/>
                  </a:lnTo>
                  <a:lnTo>
                    <a:pt x="828" y="582"/>
                  </a:lnTo>
                  <a:lnTo>
                    <a:pt x="822" y="582"/>
                  </a:lnTo>
                  <a:lnTo>
                    <a:pt x="810" y="582"/>
                  </a:lnTo>
                  <a:lnTo>
                    <a:pt x="810" y="528"/>
                  </a:lnTo>
                  <a:lnTo>
                    <a:pt x="792" y="528"/>
                  </a:lnTo>
                  <a:lnTo>
                    <a:pt x="792" y="522"/>
                  </a:lnTo>
                  <a:lnTo>
                    <a:pt x="786" y="522"/>
                  </a:lnTo>
                  <a:lnTo>
                    <a:pt x="786" y="516"/>
                  </a:lnTo>
                  <a:lnTo>
                    <a:pt x="780" y="516"/>
                  </a:lnTo>
                  <a:lnTo>
                    <a:pt x="780" y="510"/>
                  </a:lnTo>
                  <a:lnTo>
                    <a:pt x="762" y="510"/>
                  </a:lnTo>
                  <a:lnTo>
                    <a:pt x="756" y="510"/>
                  </a:lnTo>
                  <a:lnTo>
                    <a:pt x="750" y="522"/>
                  </a:lnTo>
                  <a:lnTo>
                    <a:pt x="744" y="534"/>
                  </a:lnTo>
                  <a:lnTo>
                    <a:pt x="732" y="540"/>
                  </a:lnTo>
                  <a:lnTo>
                    <a:pt x="732" y="558"/>
                  </a:lnTo>
                  <a:lnTo>
                    <a:pt x="732" y="564"/>
                  </a:lnTo>
                  <a:lnTo>
                    <a:pt x="732" y="570"/>
                  </a:lnTo>
                  <a:lnTo>
                    <a:pt x="726" y="576"/>
                  </a:lnTo>
                  <a:lnTo>
                    <a:pt x="720" y="576"/>
                  </a:lnTo>
                  <a:lnTo>
                    <a:pt x="714" y="582"/>
                  </a:lnTo>
                  <a:lnTo>
                    <a:pt x="702" y="588"/>
                  </a:lnTo>
                  <a:lnTo>
                    <a:pt x="696" y="594"/>
                  </a:lnTo>
                  <a:lnTo>
                    <a:pt x="690" y="600"/>
                  </a:lnTo>
                  <a:lnTo>
                    <a:pt x="690" y="606"/>
                  </a:lnTo>
                  <a:lnTo>
                    <a:pt x="678" y="606"/>
                  </a:lnTo>
                  <a:lnTo>
                    <a:pt x="678" y="624"/>
                  </a:lnTo>
                  <a:lnTo>
                    <a:pt x="684" y="642"/>
                  </a:lnTo>
                  <a:lnTo>
                    <a:pt x="684" y="660"/>
                  </a:lnTo>
                  <a:lnTo>
                    <a:pt x="690" y="672"/>
                  </a:lnTo>
                  <a:lnTo>
                    <a:pt x="702" y="720"/>
                  </a:lnTo>
                  <a:lnTo>
                    <a:pt x="708" y="750"/>
                  </a:lnTo>
                  <a:lnTo>
                    <a:pt x="708" y="792"/>
                  </a:lnTo>
                  <a:lnTo>
                    <a:pt x="708" y="828"/>
                  </a:lnTo>
                  <a:lnTo>
                    <a:pt x="708" y="852"/>
                  </a:lnTo>
                  <a:lnTo>
                    <a:pt x="696" y="894"/>
                  </a:lnTo>
                  <a:lnTo>
                    <a:pt x="702" y="900"/>
                  </a:lnTo>
                  <a:lnTo>
                    <a:pt x="708" y="924"/>
                  </a:lnTo>
                  <a:lnTo>
                    <a:pt x="684" y="936"/>
                  </a:lnTo>
                  <a:lnTo>
                    <a:pt x="660" y="954"/>
                  </a:lnTo>
                  <a:lnTo>
                    <a:pt x="618" y="984"/>
                  </a:lnTo>
                  <a:lnTo>
                    <a:pt x="618" y="990"/>
                  </a:lnTo>
                  <a:lnTo>
                    <a:pt x="612" y="996"/>
                  </a:lnTo>
                  <a:lnTo>
                    <a:pt x="606" y="1002"/>
                  </a:lnTo>
                  <a:lnTo>
                    <a:pt x="618" y="1008"/>
                  </a:lnTo>
                  <a:lnTo>
                    <a:pt x="618" y="1014"/>
                  </a:lnTo>
                  <a:lnTo>
                    <a:pt x="624" y="1026"/>
                  </a:lnTo>
                  <a:lnTo>
                    <a:pt x="630" y="1026"/>
                  </a:lnTo>
                  <a:lnTo>
                    <a:pt x="636" y="1032"/>
                  </a:lnTo>
                  <a:lnTo>
                    <a:pt x="642" y="1032"/>
                  </a:lnTo>
                  <a:lnTo>
                    <a:pt x="642" y="1038"/>
                  </a:lnTo>
                  <a:lnTo>
                    <a:pt x="648" y="1044"/>
                  </a:lnTo>
                  <a:lnTo>
                    <a:pt x="666" y="1050"/>
                  </a:lnTo>
                  <a:lnTo>
                    <a:pt x="678" y="1038"/>
                  </a:lnTo>
                  <a:lnTo>
                    <a:pt x="684" y="1038"/>
                  </a:lnTo>
                  <a:lnTo>
                    <a:pt x="684" y="1032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20"/>
                  </a:lnTo>
                  <a:lnTo>
                    <a:pt x="708" y="1014"/>
                  </a:lnTo>
                  <a:lnTo>
                    <a:pt x="720" y="1020"/>
                  </a:lnTo>
                  <a:lnTo>
                    <a:pt x="720" y="1014"/>
                  </a:lnTo>
                  <a:lnTo>
                    <a:pt x="726" y="1008"/>
                  </a:lnTo>
                  <a:lnTo>
                    <a:pt x="732" y="1008"/>
                  </a:lnTo>
                  <a:lnTo>
                    <a:pt x="738" y="1008"/>
                  </a:lnTo>
                  <a:lnTo>
                    <a:pt x="744" y="1002"/>
                  </a:lnTo>
                  <a:lnTo>
                    <a:pt x="744" y="996"/>
                  </a:lnTo>
                  <a:lnTo>
                    <a:pt x="750" y="996"/>
                  </a:lnTo>
                  <a:lnTo>
                    <a:pt x="756" y="1002"/>
                  </a:lnTo>
                  <a:lnTo>
                    <a:pt x="762" y="1002"/>
                  </a:lnTo>
                  <a:lnTo>
                    <a:pt x="768" y="996"/>
                  </a:lnTo>
                  <a:lnTo>
                    <a:pt x="780" y="996"/>
                  </a:lnTo>
                  <a:lnTo>
                    <a:pt x="786" y="996"/>
                  </a:lnTo>
                  <a:lnTo>
                    <a:pt x="816" y="990"/>
                  </a:lnTo>
                  <a:lnTo>
                    <a:pt x="828" y="990"/>
                  </a:lnTo>
                  <a:lnTo>
                    <a:pt x="834" y="990"/>
                  </a:lnTo>
                  <a:lnTo>
                    <a:pt x="840" y="984"/>
                  </a:lnTo>
                  <a:lnTo>
                    <a:pt x="852" y="978"/>
                  </a:lnTo>
                  <a:lnTo>
                    <a:pt x="852" y="972"/>
                  </a:lnTo>
                  <a:lnTo>
                    <a:pt x="858" y="972"/>
                  </a:lnTo>
                  <a:lnTo>
                    <a:pt x="864" y="966"/>
                  </a:lnTo>
                  <a:lnTo>
                    <a:pt x="870" y="966"/>
                  </a:lnTo>
                  <a:lnTo>
                    <a:pt x="876" y="966"/>
                  </a:lnTo>
                  <a:lnTo>
                    <a:pt x="882" y="960"/>
                  </a:lnTo>
                  <a:lnTo>
                    <a:pt x="888" y="960"/>
                  </a:lnTo>
                  <a:lnTo>
                    <a:pt x="894" y="960"/>
                  </a:lnTo>
                  <a:lnTo>
                    <a:pt x="894" y="966"/>
                  </a:lnTo>
                  <a:lnTo>
                    <a:pt x="894" y="978"/>
                  </a:lnTo>
                  <a:lnTo>
                    <a:pt x="894" y="984"/>
                  </a:lnTo>
                  <a:lnTo>
                    <a:pt x="900" y="984"/>
                  </a:lnTo>
                  <a:lnTo>
                    <a:pt x="906" y="978"/>
                  </a:lnTo>
                  <a:lnTo>
                    <a:pt x="912" y="972"/>
                  </a:lnTo>
                  <a:lnTo>
                    <a:pt x="918" y="978"/>
                  </a:lnTo>
                  <a:lnTo>
                    <a:pt x="924" y="978"/>
                  </a:lnTo>
                  <a:lnTo>
                    <a:pt x="924" y="972"/>
                  </a:lnTo>
                  <a:lnTo>
                    <a:pt x="924" y="966"/>
                  </a:lnTo>
                  <a:lnTo>
                    <a:pt x="930" y="966"/>
                  </a:lnTo>
                  <a:lnTo>
                    <a:pt x="948" y="966"/>
                  </a:lnTo>
                  <a:lnTo>
                    <a:pt x="954" y="966"/>
                  </a:lnTo>
                  <a:lnTo>
                    <a:pt x="954" y="960"/>
                  </a:lnTo>
                  <a:lnTo>
                    <a:pt x="960" y="960"/>
                  </a:lnTo>
                  <a:lnTo>
                    <a:pt x="966" y="960"/>
                  </a:lnTo>
                  <a:lnTo>
                    <a:pt x="966" y="966"/>
                  </a:lnTo>
                  <a:lnTo>
                    <a:pt x="978" y="972"/>
                  </a:lnTo>
                  <a:lnTo>
                    <a:pt x="978" y="978"/>
                  </a:lnTo>
                  <a:lnTo>
                    <a:pt x="978" y="984"/>
                  </a:lnTo>
                  <a:lnTo>
                    <a:pt x="984" y="978"/>
                  </a:lnTo>
                  <a:lnTo>
                    <a:pt x="990" y="978"/>
                  </a:lnTo>
                  <a:lnTo>
                    <a:pt x="996" y="984"/>
                  </a:lnTo>
                  <a:lnTo>
                    <a:pt x="1002" y="990"/>
                  </a:lnTo>
                  <a:lnTo>
                    <a:pt x="1008" y="972"/>
                  </a:lnTo>
                  <a:lnTo>
                    <a:pt x="1026" y="972"/>
                  </a:lnTo>
                  <a:lnTo>
                    <a:pt x="1032" y="972"/>
                  </a:lnTo>
                  <a:lnTo>
                    <a:pt x="1038" y="972"/>
                  </a:lnTo>
                  <a:lnTo>
                    <a:pt x="1050" y="972"/>
                  </a:lnTo>
                  <a:lnTo>
                    <a:pt x="1056" y="972"/>
                  </a:lnTo>
                  <a:lnTo>
                    <a:pt x="1062" y="966"/>
                  </a:lnTo>
                  <a:lnTo>
                    <a:pt x="1074" y="966"/>
                  </a:lnTo>
                  <a:lnTo>
                    <a:pt x="1074" y="960"/>
                  </a:lnTo>
                  <a:lnTo>
                    <a:pt x="1080" y="954"/>
                  </a:lnTo>
                  <a:lnTo>
                    <a:pt x="1080" y="948"/>
                  </a:lnTo>
                  <a:lnTo>
                    <a:pt x="1074" y="948"/>
                  </a:lnTo>
                  <a:lnTo>
                    <a:pt x="1068" y="948"/>
                  </a:lnTo>
                  <a:lnTo>
                    <a:pt x="1062" y="942"/>
                  </a:lnTo>
                  <a:lnTo>
                    <a:pt x="1068" y="936"/>
                  </a:lnTo>
                  <a:lnTo>
                    <a:pt x="1074" y="936"/>
                  </a:lnTo>
                  <a:lnTo>
                    <a:pt x="1080" y="936"/>
                  </a:lnTo>
                  <a:lnTo>
                    <a:pt x="1086" y="942"/>
                  </a:lnTo>
                  <a:lnTo>
                    <a:pt x="1092" y="942"/>
                  </a:lnTo>
                  <a:lnTo>
                    <a:pt x="1098" y="948"/>
                  </a:lnTo>
                  <a:lnTo>
                    <a:pt x="1104" y="954"/>
                  </a:lnTo>
                  <a:lnTo>
                    <a:pt x="1110" y="954"/>
                  </a:lnTo>
                  <a:lnTo>
                    <a:pt x="1116" y="948"/>
                  </a:lnTo>
                  <a:lnTo>
                    <a:pt x="1122" y="942"/>
                  </a:lnTo>
                  <a:lnTo>
                    <a:pt x="1128" y="942"/>
                  </a:lnTo>
                  <a:lnTo>
                    <a:pt x="1134" y="942"/>
                  </a:lnTo>
                  <a:lnTo>
                    <a:pt x="1140" y="948"/>
                  </a:lnTo>
                  <a:lnTo>
                    <a:pt x="1146" y="942"/>
                  </a:lnTo>
                  <a:lnTo>
                    <a:pt x="1152" y="942"/>
                  </a:lnTo>
                  <a:lnTo>
                    <a:pt x="1152" y="930"/>
                  </a:lnTo>
                  <a:lnTo>
                    <a:pt x="1164" y="936"/>
                  </a:lnTo>
                  <a:lnTo>
                    <a:pt x="1158" y="942"/>
                  </a:lnTo>
                  <a:lnTo>
                    <a:pt x="1158" y="948"/>
                  </a:lnTo>
                  <a:lnTo>
                    <a:pt x="1146" y="954"/>
                  </a:lnTo>
                  <a:lnTo>
                    <a:pt x="1152" y="954"/>
                  </a:lnTo>
                  <a:lnTo>
                    <a:pt x="1158" y="954"/>
                  </a:lnTo>
                  <a:lnTo>
                    <a:pt x="1158" y="948"/>
                  </a:lnTo>
                  <a:lnTo>
                    <a:pt x="1164" y="948"/>
                  </a:lnTo>
                  <a:lnTo>
                    <a:pt x="1170" y="948"/>
                  </a:lnTo>
                  <a:lnTo>
                    <a:pt x="1176" y="954"/>
                  </a:lnTo>
                  <a:lnTo>
                    <a:pt x="1176" y="966"/>
                  </a:lnTo>
                  <a:lnTo>
                    <a:pt x="1182" y="972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88" y="984"/>
                  </a:lnTo>
                  <a:lnTo>
                    <a:pt x="1194" y="984"/>
                  </a:lnTo>
                  <a:lnTo>
                    <a:pt x="1200" y="984"/>
                  </a:lnTo>
                  <a:lnTo>
                    <a:pt x="1212" y="984"/>
                  </a:lnTo>
                  <a:lnTo>
                    <a:pt x="1218" y="990"/>
                  </a:lnTo>
                  <a:lnTo>
                    <a:pt x="1224" y="990"/>
                  </a:lnTo>
                  <a:lnTo>
                    <a:pt x="1224" y="984"/>
                  </a:lnTo>
                  <a:lnTo>
                    <a:pt x="1230" y="990"/>
                  </a:lnTo>
                  <a:lnTo>
                    <a:pt x="1236" y="984"/>
                  </a:lnTo>
                  <a:lnTo>
                    <a:pt x="1242" y="984"/>
                  </a:lnTo>
                  <a:lnTo>
                    <a:pt x="1248" y="990"/>
                  </a:lnTo>
                  <a:lnTo>
                    <a:pt x="1254" y="990"/>
                  </a:lnTo>
                  <a:lnTo>
                    <a:pt x="1254" y="996"/>
                  </a:lnTo>
                  <a:lnTo>
                    <a:pt x="1254" y="1002"/>
                  </a:lnTo>
                  <a:lnTo>
                    <a:pt x="1254" y="1008"/>
                  </a:lnTo>
                  <a:lnTo>
                    <a:pt x="1260" y="1014"/>
                  </a:lnTo>
                  <a:lnTo>
                    <a:pt x="1266" y="1014"/>
                  </a:lnTo>
                  <a:lnTo>
                    <a:pt x="1272" y="1014"/>
                  </a:lnTo>
                  <a:lnTo>
                    <a:pt x="1278" y="1020"/>
                  </a:lnTo>
                  <a:lnTo>
                    <a:pt x="1284" y="1020"/>
                  </a:lnTo>
                  <a:lnTo>
                    <a:pt x="1290" y="1014"/>
                  </a:lnTo>
                  <a:lnTo>
                    <a:pt x="1290" y="1008"/>
                  </a:lnTo>
                  <a:lnTo>
                    <a:pt x="1296" y="1008"/>
                  </a:lnTo>
                  <a:lnTo>
                    <a:pt x="1302" y="1014"/>
                  </a:lnTo>
                  <a:lnTo>
                    <a:pt x="1308" y="1014"/>
                  </a:lnTo>
                  <a:lnTo>
                    <a:pt x="1314" y="1008"/>
                  </a:lnTo>
                  <a:lnTo>
                    <a:pt x="1320" y="1008"/>
                  </a:lnTo>
                  <a:lnTo>
                    <a:pt x="1320" y="1002"/>
                  </a:lnTo>
                  <a:lnTo>
                    <a:pt x="1320" y="996"/>
                  </a:lnTo>
                  <a:lnTo>
                    <a:pt x="1332" y="1002"/>
                  </a:lnTo>
                  <a:lnTo>
                    <a:pt x="1332" y="1008"/>
                  </a:lnTo>
                  <a:lnTo>
                    <a:pt x="1326" y="1014"/>
                  </a:lnTo>
                  <a:lnTo>
                    <a:pt x="1332" y="1014"/>
                  </a:lnTo>
                  <a:lnTo>
                    <a:pt x="1338" y="1014"/>
                  </a:lnTo>
                  <a:lnTo>
                    <a:pt x="1338" y="1008"/>
                  </a:lnTo>
                  <a:lnTo>
                    <a:pt x="1344" y="1008"/>
                  </a:lnTo>
                  <a:lnTo>
                    <a:pt x="1350" y="1008"/>
                  </a:lnTo>
                  <a:lnTo>
                    <a:pt x="1356" y="1014"/>
                  </a:lnTo>
                  <a:lnTo>
                    <a:pt x="1356" y="1008"/>
                  </a:lnTo>
                  <a:lnTo>
                    <a:pt x="1362" y="1014"/>
                  </a:lnTo>
                  <a:lnTo>
                    <a:pt x="1392" y="1014"/>
                  </a:lnTo>
                  <a:lnTo>
                    <a:pt x="1398" y="1014"/>
                  </a:lnTo>
                  <a:lnTo>
                    <a:pt x="1404" y="1008"/>
                  </a:lnTo>
                  <a:lnTo>
                    <a:pt x="1404" y="1014"/>
                  </a:lnTo>
                  <a:lnTo>
                    <a:pt x="1410" y="1008"/>
                  </a:lnTo>
                  <a:lnTo>
                    <a:pt x="1416" y="1008"/>
                  </a:lnTo>
                  <a:lnTo>
                    <a:pt x="1422" y="1002"/>
                  </a:lnTo>
                  <a:lnTo>
                    <a:pt x="1428" y="1002"/>
                  </a:lnTo>
                  <a:lnTo>
                    <a:pt x="1428" y="996"/>
                  </a:lnTo>
                  <a:lnTo>
                    <a:pt x="1428" y="990"/>
                  </a:lnTo>
                  <a:lnTo>
                    <a:pt x="1440" y="1002"/>
                  </a:lnTo>
                  <a:lnTo>
                    <a:pt x="1446" y="1002"/>
                  </a:lnTo>
                  <a:lnTo>
                    <a:pt x="1452" y="1002"/>
                  </a:lnTo>
                  <a:lnTo>
                    <a:pt x="1446" y="996"/>
                  </a:lnTo>
                  <a:lnTo>
                    <a:pt x="1452" y="996"/>
                  </a:lnTo>
                  <a:lnTo>
                    <a:pt x="1458" y="996"/>
                  </a:lnTo>
                  <a:lnTo>
                    <a:pt x="1464" y="996"/>
                  </a:lnTo>
                  <a:lnTo>
                    <a:pt x="1464" y="1002"/>
                  </a:lnTo>
                  <a:lnTo>
                    <a:pt x="1476" y="1014"/>
                  </a:lnTo>
                  <a:lnTo>
                    <a:pt x="1476" y="1008"/>
                  </a:lnTo>
                  <a:lnTo>
                    <a:pt x="1482" y="1008"/>
                  </a:lnTo>
                  <a:lnTo>
                    <a:pt x="1488" y="1020"/>
                  </a:lnTo>
                  <a:lnTo>
                    <a:pt x="1494" y="1020"/>
                  </a:lnTo>
                  <a:lnTo>
                    <a:pt x="1500" y="1014"/>
                  </a:lnTo>
                  <a:lnTo>
                    <a:pt x="1500" y="1020"/>
                  </a:lnTo>
                  <a:lnTo>
                    <a:pt x="1506" y="1026"/>
                  </a:lnTo>
                  <a:lnTo>
                    <a:pt x="1512" y="1032"/>
                  </a:lnTo>
                  <a:lnTo>
                    <a:pt x="1518" y="1032"/>
                  </a:lnTo>
                  <a:lnTo>
                    <a:pt x="1518" y="1038"/>
                  </a:lnTo>
                  <a:lnTo>
                    <a:pt x="1518" y="1044"/>
                  </a:lnTo>
                  <a:lnTo>
                    <a:pt x="1524" y="1044"/>
                  </a:lnTo>
                  <a:lnTo>
                    <a:pt x="1524" y="1050"/>
                  </a:lnTo>
                  <a:lnTo>
                    <a:pt x="1530" y="1056"/>
                  </a:lnTo>
                  <a:lnTo>
                    <a:pt x="1548" y="1062"/>
                  </a:lnTo>
                  <a:lnTo>
                    <a:pt x="1560" y="1074"/>
                  </a:lnTo>
                  <a:lnTo>
                    <a:pt x="1560" y="1080"/>
                  </a:lnTo>
                  <a:lnTo>
                    <a:pt x="1560" y="1086"/>
                  </a:lnTo>
                  <a:lnTo>
                    <a:pt x="1566" y="1086"/>
                  </a:lnTo>
                  <a:lnTo>
                    <a:pt x="1572" y="1098"/>
                  </a:lnTo>
                  <a:lnTo>
                    <a:pt x="1572" y="1104"/>
                  </a:lnTo>
                  <a:lnTo>
                    <a:pt x="1584" y="1110"/>
                  </a:lnTo>
                  <a:lnTo>
                    <a:pt x="1590" y="1116"/>
                  </a:lnTo>
                  <a:lnTo>
                    <a:pt x="1596" y="1116"/>
                  </a:lnTo>
                  <a:lnTo>
                    <a:pt x="1608" y="1122"/>
                  </a:lnTo>
                  <a:lnTo>
                    <a:pt x="1620" y="1140"/>
                  </a:lnTo>
                  <a:lnTo>
                    <a:pt x="1626" y="1158"/>
                  </a:lnTo>
                  <a:lnTo>
                    <a:pt x="1638" y="1200"/>
                  </a:lnTo>
                  <a:lnTo>
                    <a:pt x="1638" y="1218"/>
                  </a:lnTo>
                  <a:lnTo>
                    <a:pt x="1620" y="1230"/>
                  </a:lnTo>
                  <a:lnTo>
                    <a:pt x="1554" y="1230"/>
                  </a:lnTo>
                  <a:lnTo>
                    <a:pt x="1560" y="1248"/>
                  </a:lnTo>
                  <a:lnTo>
                    <a:pt x="1584" y="1260"/>
                  </a:lnTo>
                  <a:lnTo>
                    <a:pt x="1584" y="1266"/>
                  </a:lnTo>
                  <a:lnTo>
                    <a:pt x="1578" y="1272"/>
                  </a:lnTo>
                  <a:lnTo>
                    <a:pt x="1572" y="1272"/>
                  </a:lnTo>
                  <a:lnTo>
                    <a:pt x="1566" y="1278"/>
                  </a:lnTo>
                  <a:lnTo>
                    <a:pt x="1566" y="1284"/>
                  </a:lnTo>
                  <a:lnTo>
                    <a:pt x="1560" y="1290"/>
                  </a:lnTo>
                  <a:lnTo>
                    <a:pt x="1554" y="1290"/>
                  </a:lnTo>
                  <a:lnTo>
                    <a:pt x="1554" y="1296"/>
                  </a:lnTo>
                  <a:lnTo>
                    <a:pt x="1554" y="1302"/>
                  </a:lnTo>
                  <a:lnTo>
                    <a:pt x="1560" y="1332"/>
                  </a:lnTo>
                  <a:lnTo>
                    <a:pt x="1566" y="1356"/>
                  </a:lnTo>
                  <a:lnTo>
                    <a:pt x="1572" y="1356"/>
                  </a:lnTo>
                  <a:lnTo>
                    <a:pt x="1572" y="1362"/>
                  </a:lnTo>
                  <a:lnTo>
                    <a:pt x="1578" y="1362"/>
                  </a:lnTo>
                  <a:lnTo>
                    <a:pt x="1560" y="1374"/>
                  </a:lnTo>
                  <a:lnTo>
                    <a:pt x="1560" y="1380"/>
                  </a:lnTo>
                  <a:lnTo>
                    <a:pt x="1548" y="1380"/>
                  </a:lnTo>
                  <a:lnTo>
                    <a:pt x="1548" y="1386"/>
                  </a:lnTo>
                  <a:lnTo>
                    <a:pt x="1548" y="1392"/>
                  </a:lnTo>
                  <a:lnTo>
                    <a:pt x="1542" y="1410"/>
                  </a:lnTo>
                  <a:lnTo>
                    <a:pt x="1536" y="1422"/>
                  </a:lnTo>
                  <a:lnTo>
                    <a:pt x="1536" y="1428"/>
                  </a:lnTo>
                  <a:lnTo>
                    <a:pt x="1530" y="1440"/>
                  </a:lnTo>
                  <a:lnTo>
                    <a:pt x="1524" y="1434"/>
                  </a:lnTo>
                  <a:lnTo>
                    <a:pt x="1524" y="1428"/>
                  </a:lnTo>
                  <a:lnTo>
                    <a:pt x="1524" y="1422"/>
                  </a:lnTo>
                  <a:lnTo>
                    <a:pt x="1512" y="1410"/>
                  </a:lnTo>
                  <a:lnTo>
                    <a:pt x="1506" y="1404"/>
                  </a:lnTo>
                  <a:lnTo>
                    <a:pt x="1506" y="1398"/>
                  </a:lnTo>
                  <a:lnTo>
                    <a:pt x="1494" y="1392"/>
                  </a:lnTo>
                  <a:lnTo>
                    <a:pt x="1476" y="1404"/>
                  </a:lnTo>
                  <a:lnTo>
                    <a:pt x="1464" y="1416"/>
                  </a:lnTo>
                  <a:lnTo>
                    <a:pt x="1458" y="1428"/>
                  </a:lnTo>
                  <a:lnTo>
                    <a:pt x="1446" y="1434"/>
                  </a:lnTo>
                  <a:lnTo>
                    <a:pt x="1410" y="1440"/>
                  </a:lnTo>
                  <a:lnTo>
                    <a:pt x="1398" y="1440"/>
                  </a:lnTo>
                  <a:lnTo>
                    <a:pt x="1398" y="1446"/>
                  </a:lnTo>
                  <a:lnTo>
                    <a:pt x="1386" y="1446"/>
                  </a:lnTo>
                  <a:lnTo>
                    <a:pt x="1380" y="1440"/>
                  </a:lnTo>
                  <a:lnTo>
                    <a:pt x="1368" y="1440"/>
                  </a:lnTo>
                  <a:lnTo>
                    <a:pt x="1368" y="1446"/>
                  </a:lnTo>
                  <a:lnTo>
                    <a:pt x="1356" y="1446"/>
                  </a:lnTo>
                  <a:lnTo>
                    <a:pt x="1350" y="1452"/>
                  </a:lnTo>
                  <a:lnTo>
                    <a:pt x="1338" y="1452"/>
                  </a:lnTo>
                  <a:lnTo>
                    <a:pt x="1338" y="1458"/>
                  </a:lnTo>
                  <a:lnTo>
                    <a:pt x="1332" y="1458"/>
                  </a:lnTo>
                  <a:lnTo>
                    <a:pt x="1332" y="1464"/>
                  </a:lnTo>
                  <a:lnTo>
                    <a:pt x="1332" y="1470"/>
                  </a:lnTo>
                  <a:lnTo>
                    <a:pt x="1326" y="1470"/>
                  </a:lnTo>
                  <a:lnTo>
                    <a:pt x="1320" y="1470"/>
                  </a:lnTo>
                  <a:lnTo>
                    <a:pt x="1314" y="1470"/>
                  </a:lnTo>
                  <a:lnTo>
                    <a:pt x="1314" y="1464"/>
                  </a:lnTo>
                  <a:lnTo>
                    <a:pt x="1308" y="1464"/>
                  </a:lnTo>
                  <a:lnTo>
                    <a:pt x="1308" y="1452"/>
                  </a:lnTo>
                  <a:lnTo>
                    <a:pt x="1284" y="1458"/>
                  </a:lnTo>
                  <a:lnTo>
                    <a:pt x="1272" y="1458"/>
                  </a:lnTo>
                  <a:lnTo>
                    <a:pt x="1272" y="1464"/>
                  </a:lnTo>
                  <a:lnTo>
                    <a:pt x="1260" y="1464"/>
                  </a:lnTo>
                  <a:lnTo>
                    <a:pt x="1254" y="1464"/>
                  </a:lnTo>
                  <a:lnTo>
                    <a:pt x="1242" y="1422"/>
                  </a:lnTo>
                  <a:lnTo>
                    <a:pt x="1242" y="1416"/>
                  </a:lnTo>
                  <a:lnTo>
                    <a:pt x="1242" y="1410"/>
                  </a:lnTo>
                  <a:lnTo>
                    <a:pt x="1248" y="1410"/>
                  </a:lnTo>
                  <a:lnTo>
                    <a:pt x="1242" y="1410"/>
                  </a:lnTo>
                  <a:lnTo>
                    <a:pt x="1242" y="1404"/>
                  </a:lnTo>
                  <a:lnTo>
                    <a:pt x="1242" y="1398"/>
                  </a:lnTo>
                  <a:lnTo>
                    <a:pt x="1248" y="1392"/>
                  </a:lnTo>
                  <a:lnTo>
                    <a:pt x="1248" y="1386"/>
                  </a:lnTo>
                  <a:lnTo>
                    <a:pt x="1242" y="1380"/>
                  </a:lnTo>
                  <a:lnTo>
                    <a:pt x="1248" y="1380"/>
                  </a:lnTo>
                  <a:lnTo>
                    <a:pt x="1248" y="1374"/>
                  </a:lnTo>
                  <a:lnTo>
                    <a:pt x="1248" y="1368"/>
                  </a:lnTo>
                  <a:lnTo>
                    <a:pt x="1254" y="1368"/>
                  </a:lnTo>
                  <a:lnTo>
                    <a:pt x="1254" y="1362"/>
                  </a:lnTo>
                  <a:lnTo>
                    <a:pt x="1248" y="1356"/>
                  </a:lnTo>
                  <a:lnTo>
                    <a:pt x="1254" y="1356"/>
                  </a:lnTo>
                  <a:lnTo>
                    <a:pt x="1254" y="1344"/>
                  </a:lnTo>
                  <a:lnTo>
                    <a:pt x="1242" y="1338"/>
                  </a:lnTo>
                  <a:lnTo>
                    <a:pt x="1242" y="1326"/>
                  </a:lnTo>
                  <a:lnTo>
                    <a:pt x="1230" y="1326"/>
                  </a:lnTo>
                  <a:lnTo>
                    <a:pt x="1230" y="1314"/>
                  </a:lnTo>
                  <a:lnTo>
                    <a:pt x="1218" y="1314"/>
                  </a:lnTo>
                  <a:lnTo>
                    <a:pt x="1200" y="1272"/>
                  </a:lnTo>
                  <a:lnTo>
                    <a:pt x="1194" y="1242"/>
                  </a:lnTo>
                  <a:lnTo>
                    <a:pt x="1194" y="1206"/>
                  </a:lnTo>
                  <a:lnTo>
                    <a:pt x="1182" y="1200"/>
                  </a:lnTo>
                  <a:lnTo>
                    <a:pt x="1164" y="1206"/>
                  </a:lnTo>
                  <a:lnTo>
                    <a:pt x="1146" y="1212"/>
                  </a:lnTo>
                  <a:lnTo>
                    <a:pt x="1146" y="1218"/>
                  </a:lnTo>
                  <a:lnTo>
                    <a:pt x="1134" y="1224"/>
                  </a:lnTo>
                  <a:lnTo>
                    <a:pt x="1140" y="1260"/>
                  </a:lnTo>
                  <a:lnTo>
                    <a:pt x="1134" y="1266"/>
                  </a:lnTo>
                  <a:lnTo>
                    <a:pt x="1122" y="1266"/>
                  </a:lnTo>
                  <a:lnTo>
                    <a:pt x="1110" y="1236"/>
                  </a:lnTo>
                  <a:lnTo>
                    <a:pt x="1110" y="1224"/>
                  </a:lnTo>
                  <a:lnTo>
                    <a:pt x="1086" y="1224"/>
                  </a:lnTo>
                  <a:lnTo>
                    <a:pt x="1086" y="1212"/>
                  </a:lnTo>
                  <a:lnTo>
                    <a:pt x="1074" y="1212"/>
                  </a:lnTo>
                  <a:lnTo>
                    <a:pt x="1050" y="1212"/>
                  </a:lnTo>
                  <a:lnTo>
                    <a:pt x="1056" y="1218"/>
                  </a:lnTo>
                  <a:lnTo>
                    <a:pt x="1050" y="1272"/>
                  </a:lnTo>
                  <a:lnTo>
                    <a:pt x="1044" y="1272"/>
                  </a:lnTo>
                  <a:lnTo>
                    <a:pt x="1038" y="1284"/>
                  </a:lnTo>
                  <a:lnTo>
                    <a:pt x="1032" y="1302"/>
                  </a:lnTo>
                  <a:lnTo>
                    <a:pt x="1014" y="1302"/>
                  </a:lnTo>
                  <a:lnTo>
                    <a:pt x="1020" y="1284"/>
                  </a:lnTo>
                  <a:lnTo>
                    <a:pt x="1026" y="1278"/>
                  </a:lnTo>
                  <a:lnTo>
                    <a:pt x="1026" y="1266"/>
                  </a:lnTo>
                  <a:lnTo>
                    <a:pt x="1014" y="1260"/>
                  </a:lnTo>
                  <a:lnTo>
                    <a:pt x="1014" y="1272"/>
                  </a:lnTo>
                  <a:lnTo>
                    <a:pt x="990" y="1278"/>
                  </a:lnTo>
                  <a:lnTo>
                    <a:pt x="990" y="1254"/>
                  </a:lnTo>
                  <a:lnTo>
                    <a:pt x="984" y="1254"/>
                  </a:lnTo>
                  <a:lnTo>
                    <a:pt x="978" y="1242"/>
                  </a:lnTo>
                  <a:lnTo>
                    <a:pt x="972" y="1236"/>
                  </a:lnTo>
                  <a:lnTo>
                    <a:pt x="960" y="1206"/>
                  </a:lnTo>
                  <a:lnTo>
                    <a:pt x="942" y="1206"/>
                  </a:lnTo>
                  <a:lnTo>
                    <a:pt x="936" y="1200"/>
                  </a:lnTo>
                  <a:lnTo>
                    <a:pt x="906" y="1212"/>
                  </a:lnTo>
                  <a:lnTo>
                    <a:pt x="888" y="1230"/>
                  </a:lnTo>
                  <a:lnTo>
                    <a:pt x="876" y="1230"/>
                  </a:lnTo>
                  <a:lnTo>
                    <a:pt x="864" y="1236"/>
                  </a:lnTo>
                  <a:lnTo>
                    <a:pt x="858" y="1236"/>
                  </a:lnTo>
                  <a:lnTo>
                    <a:pt x="852" y="1254"/>
                  </a:lnTo>
                  <a:lnTo>
                    <a:pt x="858" y="1254"/>
                  </a:lnTo>
                  <a:lnTo>
                    <a:pt x="840" y="1266"/>
                  </a:lnTo>
                  <a:lnTo>
                    <a:pt x="828" y="1272"/>
                  </a:lnTo>
                  <a:lnTo>
                    <a:pt x="828" y="1284"/>
                  </a:lnTo>
                  <a:lnTo>
                    <a:pt x="822" y="1284"/>
                  </a:lnTo>
                  <a:lnTo>
                    <a:pt x="804" y="1296"/>
                  </a:lnTo>
                  <a:lnTo>
                    <a:pt x="804" y="1308"/>
                  </a:lnTo>
                  <a:lnTo>
                    <a:pt x="816" y="1320"/>
                  </a:lnTo>
                  <a:lnTo>
                    <a:pt x="828" y="1320"/>
                  </a:lnTo>
                  <a:lnTo>
                    <a:pt x="822" y="1338"/>
                  </a:lnTo>
                  <a:lnTo>
                    <a:pt x="852" y="1344"/>
                  </a:lnTo>
                  <a:lnTo>
                    <a:pt x="864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94" y="1356"/>
                  </a:lnTo>
                  <a:lnTo>
                    <a:pt x="912" y="1368"/>
                  </a:lnTo>
                  <a:lnTo>
                    <a:pt x="918" y="1380"/>
                  </a:lnTo>
                  <a:lnTo>
                    <a:pt x="936" y="1380"/>
                  </a:lnTo>
                  <a:lnTo>
                    <a:pt x="960" y="1386"/>
                  </a:lnTo>
                  <a:lnTo>
                    <a:pt x="990" y="1386"/>
                  </a:lnTo>
                  <a:lnTo>
                    <a:pt x="990" y="1392"/>
                  </a:lnTo>
                  <a:lnTo>
                    <a:pt x="1020" y="1398"/>
                  </a:lnTo>
                  <a:lnTo>
                    <a:pt x="1014" y="1404"/>
                  </a:lnTo>
                  <a:lnTo>
                    <a:pt x="1008" y="1404"/>
                  </a:lnTo>
                  <a:lnTo>
                    <a:pt x="1014" y="1440"/>
                  </a:lnTo>
                  <a:lnTo>
                    <a:pt x="1020" y="1458"/>
                  </a:lnTo>
                  <a:lnTo>
                    <a:pt x="1026" y="1476"/>
                  </a:lnTo>
                  <a:lnTo>
                    <a:pt x="1020" y="1476"/>
                  </a:lnTo>
                  <a:lnTo>
                    <a:pt x="1014" y="1476"/>
                  </a:lnTo>
                  <a:lnTo>
                    <a:pt x="1014" y="1482"/>
                  </a:lnTo>
                  <a:lnTo>
                    <a:pt x="1014" y="1488"/>
                  </a:lnTo>
                  <a:lnTo>
                    <a:pt x="1002" y="1488"/>
                  </a:lnTo>
                  <a:lnTo>
                    <a:pt x="1002" y="1494"/>
                  </a:lnTo>
                  <a:lnTo>
                    <a:pt x="996" y="1494"/>
                  </a:lnTo>
                  <a:lnTo>
                    <a:pt x="996" y="1518"/>
                  </a:lnTo>
                  <a:lnTo>
                    <a:pt x="1002" y="1524"/>
                  </a:lnTo>
                  <a:lnTo>
                    <a:pt x="1020" y="1530"/>
                  </a:lnTo>
                  <a:lnTo>
                    <a:pt x="1026" y="1542"/>
                  </a:lnTo>
                  <a:lnTo>
                    <a:pt x="1032" y="1566"/>
                  </a:lnTo>
                  <a:lnTo>
                    <a:pt x="1038" y="1578"/>
                  </a:lnTo>
                  <a:lnTo>
                    <a:pt x="1032" y="1584"/>
                  </a:lnTo>
                  <a:lnTo>
                    <a:pt x="1020" y="1584"/>
                  </a:lnTo>
                  <a:lnTo>
                    <a:pt x="1014" y="1584"/>
                  </a:lnTo>
                  <a:lnTo>
                    <a:pt x="1008" y="1596"/>
                  </a:lnTo>
                  <a:lnTo>
                    <a:pt x="990" y="1584"/>
                  </a:lnTo>
                  <a:lnTo>
                    <a:pt x="984" y="1602"/>
                  </a:lnTo>
                  <a:lnTo>
                    <a:pt x="978" y="1608"/>
                  </a:lnTo>
                  <a:lnTo>
                    <a:pt x="966" y="1608"/>
                  </a:lnTo>
                  <a:lnTo>
                    <a:pt x="960" y="1614"/>
                  </a:lnTo>
                  <a:lnTo>
                    <a:pt x="954" y="1614"/>
                  </a:lnTo>
                  <a:lnTo>
                    <a:pt x="942" y="1620"/>
                  </a:lnTo>
                  <a:lnTo>
                    <a:pt x="936" y="1620"/>
                  </a:lnTo>
                  <a:lnTo>
                    <a:pt x="930" y="1620"/>
                  </a:lnTo>
                  <a:lnTo>
                    <a:pt x="930" y="1626"/>
                  </a:lnTo>
                  <a:lnTo>
                    <a:pt x="930" y="1632"/>
                  </a:lnTo>
                  <a:lnTo>
                    <a:pt x="918" y="1632"/>
                  </a:lnTo>
                  <a:lnTo>
                    <a:pt x="912" y="1632"/>
                  </a:lnTo>
                  <a:lnTo>
                    <a:pt x="906" y="1632"/>
                  </a:lnTo>
                  <a:lnTo>
                    <a:pt x="900" y="1632"/>
                  </a:lnTo>
                  <a:lnTo>
                    <a:pt x="894" y="1626"/>
                  </a:lnTo>
                  <a:lnTo>
                    <a:pt x="894" y="1614"/>
                  </a:lnTo>
                  <a:lnTo>
                    <a:pt x="840" y="1614"/>
                  </a:lnTo>
                  <a:lnTo>
                    <a:pt x="840" y="1626"/>
                  </a:lnTo>
                  <a:lnTo>
                    <a:pt x="834" y="1626"/>
                  </a:lnTo>
                  <a:lnTo>
                    <a:pt x="828" y="1632"/>
                  </a:lnTo>
                  <a:lnTo>
                    <a:pt x="822" y="1638"/>
                  </a:lnTo>
                  <a:lnTo>
                    <a:pt x="822" y="1644"/>
                  </a:lnTo>
                  <a:lnTo>
                    <a:pt x="834" y="1650"/>
                  </a:lnTo>
                  <a:lnTo>
                    <a:pt x="840" y="1662"/>
                  </a:lnTo>
                  <a:lnTo>
                    <a:pt x="840" y="1668"/>
                  </a:lnTo>
                  <a:lnTo>
                    <a:pt x="858" y="1680"/>
                  </a:lnTo>
                  <a:lnTo>
                    <a:pt x="858" y="1752"/>
                  </a:lnTo>
                  <a:lnTo>
                    <a:pt x="864" y="1782"/>
                  </a:lnTo>
                  <a:lnTo>
                    <a:pt x="876" y="1788"/>
                  </a:lnTo>
                  <a:lnTo>
                    <a:pt x="870" y="1854"/>
                  </a:lnTo>
                  <a:lnTo>
                    <a:pt x="870" y="1884"/>
                  </a:lnTo>
                  <a:lnTo>
                    <a:pt x="864" y="1884"/>
                  </a:lnTo>
                  <a:lnTo>
                    <a:pt x="846" y="1896"/>
                  </a:lnTo>
                  <a:lnTo>
                    <a:pt x="840" y="1896"/>
                  </a:lnTo>
                  <a:lnTo>
                    <a:pt x="834" y="1896"/>
                  </a:lnTo>
                  <a:lnTo>
                    <a:pt x="828" y="1890"/>
                  </a:lnTo>
                  <a:lnTo>
                    <a:pt x="822" y="1890"/>
                  </a:lnTo>
                  <a:lnTo>
                    <a:pt x="816" y="1896"/>
                  </a:lnTo>
                  <a:lnTo>
                    <a:pt x="804" y="1896"/>
                  </a:lnTo>
                  <a:lnTo>
                    <a:pt x="804" y="1890"/>
                  </a:lnTo>
                  <a:lnTo>
                    <a:pt x="780" y="1896"/>
                  </a:lnTo>
                  <a:lnTo>
                    <a:pt x="780" y="1902"/>
                  </a:lnTo>
                  <a:lnTo>
                    <a:pt x="774" y="1914"/>
                  </a:lnTo>
                  <a:lnTo>
                    <a:pt x="762" y="1926"/>
                  </a:lnTo>
                  <a:lnTo>
                    <a:pt x="762" y="1950"/>
                  </a:lnTo>
                  <a:lnTo>
                    <a:pt x="762" y="1962"/>
                  </a:lnTo>
                  <a:lnTo>
                    <a:pt x="780" y="1974"/>
                  </a:lnTo>
                  <a:lnTo>
                    <a:pt x="780" y="1986"/>
                  </a:lnTo>
                  <a:lnTo>
                    <a:pt x="780" y="1998"/>
                  </a:lnTo>
                  <a:lnTo>
                    <a:pt x="756" y="1998"/>
                  </a:lnTo>
                  <a:lnTo>
                    <a:pt x="720" y="1992"/>
                  </a:lnTo>
                  <a:lnTo>
                    <a:pt x="666" y="1998"/>
                  </a:lnTo>
                  <a:lnTo>
                    <a:pt x="654" y="1998"/>
                  </a:lnTo>
                  <a:lnTo>
                    <a:pt x="660" y="1974"/>
                  </a:lnTo>
                  <a:lnTo>
                    <a:pt x="666" y="1962"/>
                  </a:lnTo>
                  <a:lnTo>
                    <a:pt x="678" y="1950"/>
                  </a:lnTo>
                  <a:lnTo>
                    <a:pt x="696" y="1932"/>
                  </a:lnTo>
                  <a:lnTo>
                    <a:pt x="696" y="1920"/>
                  </a:lnTo>
                  <a:lnTo>
                    <a:pt x="696" y="1896"/>
                  </a:lnTo>
                  <a:lnTo>
                    <a:pt x="678" y="1896"/>
                  </a:lnTo>
                  <a:lnTo>
                    <a:pt x="672" y="1884"/>
                  </a:lnTo>
                  <a:lnTo>
                    <a:pt x="672" y="1776"/>
                  </a:lnTo>
                  <a:lnTo>
                    <a:pt x="678" y="1758"/>
                  </a:lnTo>
                  <a:lnTo>
                    <a:pt x="678" y="1740"/>
                  </a:lnTo>
                  <a:lnTo>
                    <a:pt x="684" y="1728"/>
                  </a:lnTo>
                  <a:lnTo>
                    <a:pt x="690" y="1722"/>
                  </a:lnTo>
                  <a:lnTo>
                    <a:pt x="702" y="1722"/>
                  </a:lnTo>
                  <a:lnTo>
                    <a:pt x="708" y="1716"/>
                  </a:lnTo>
                  <a:lnTo>
                    <a:pt x="714" y="1710"/>
                  </a:lnTo>
                  <a:lnTo>
                    <a:pt x="720" y="1698"/>
                  </a:lnTo>
                  <a:lnTo>
                    <a:pt x="732" y="1692"/>
                  </a:lnTo>
                  <a:lnTo>
                    <a:pt x="744" y="1686"/>
                  </a:lnTo>
                  <a:lnTo>
                    <a:pt x="756" y="1680"/>
                  </a:lnTo>
                  <a:lnTo>
                    <a:pt x="768" y="1668"/>
                  </a:lnTo>
                  <a:lnTo>
                    <a:pt x="768" y="1650"/>
                  </a:lnTo>
                  <a:lnTo>
                    <a:pt x="774" y="1632"/>
                  </a:lnTo>
                  <a:lnTo>
                    <a:pt x="768" y="1620"/>
                  </a:lnTo>
                  <a:lnTo>
                    <a:pt x="774" y="1608"/>
                  </a:lnTo>
                  <a:lnTo>
                    <a:pt x="774" y="1578"/>
                  </a:lnTo>
                  <a:lnTo>
                    <a:pt x="774" y="1572"/>
                  </a:lnTo>
                  <a:lnTo>
                    <a:pt x="780" y="1560"/>
                  </a:lnTo>
                  <a:lnTo>
                    <a:pt x="780" y="1554"/>
                  </a:lnTo>
                  <a:lnTo>
                    <a:pt x="786" y="1542"/>
                  </a:lnTo>
                  <a:lnTo>
                    <a:pt x="792" y="1530"/>
                  </a:lnTo>
                  <a:lnTo>
                    <a:pt x="792" y="1518"/>
                  </a:lnTo>
                  <a:lnTo>
                    <a:pt x="792" y="1506"/>
                  </a:lnTo>
                  <a:lnTo>
                    <a:pt x="786" y="1500"/>
                  </a:lnTo>
                  <a:lnTo>
                    <a:pt x="774" y="1488"/>
                  </a:lnTo>
                  <a:lnTo>
                    <a:pt x="774" y="1482"/>
                  </a:lnTo>
                  <a:lnTo>
                    <a:pt x="762" y="1488"/>
                  </a:lnTo>
                  <a:lnTo>
                    <a:pt x="756" y="1494"/>
                  </a:lnTo>
                  <a:lnTo>
                    <a:pt x="744" y="1500"/>
                  </a:lnTo>
                  <a:lnTo>
                    <a:pt x="732" y="1506"/>
                  </a:lnTo>
                  <a:lnTo>
                    <a:pt x="726" y="1506"/>
                  </a:lnTo>
                  <a:lnTo>
                    <a:pt x="720" y="1506"/>
                  </a:lnTo>
                  <a:lnTo>
                    <a:pt x="702" y="1506"/>
                  </a:lnTo>
                  <a:lnTo>
                    <a:pt x="690" y="1500"/>
                  </a:lnTo>
                  <a:lnTo>
                    <a:pt x="678" y="1500"/>
                  </a:lnTo>
                  <a:lnTo>
                    <a:pt x="672" y="1500"/>
                  </a:lnTo>
                  <a:lnTo>
                    <a:pt x="660" y="1506"/>
                  </a:lnTo>
                  <a:lnTo>
                    <a:pt x="654" y="1506"/>
                  </a:lnTo>
                  <a:lnTo>
                    <a:pt x="648" y="1512"/>
                  </a:lnTo>
                  <a:lnTo>
                    <a:pt x="648" y="1518"/>
                  </a:lnTo>
                  <a:lnTo>
                    <a:pt x="618" y="1518"/>
                  </a:lnTo>
                  <a:lnTo>
                    <a:pt x="534" y="1494"/>
                  </a:lnTo>
                  <a:lnTo>
                    <a:pt x="528" y="1458"/>
                  </a:lnTo>
                  <a:lnTo>
                    <a:pt x="510" y="1458"/>
                  </a:lnTo>
                  <a:lnTo>
                    <a:pt x="492" y="1440"/>
                  </a:lnTo>
                  <a:lnTo>
                    <a:pt x="462" y="1440"/>
                  </a:lnTo>
                  <a:lnTo>
                    <a:pt x="456" y="1428"/>
                  </a:lnTo>
                  <a:lnTo>
                    <a:pt x="420" y="1428"/>
                  </a:lnTo>
                  <a:lnTo>
                    <a:pt x="390" y="1446"/>
                  </a:lnTo>
                  <a:lnTo>
                    <a:pt x="312" y="1452"/>
                  </a:lnTo>
                  <a:lnTo>
                    <a:pt x="300" y="1446"/>
                  </a:lnTo>
                  <a:lnTo>
                    <a:pt x="294" y="1446"/>
                  </a:lnTo>
                  <a:lnTo>
                    <a:pt x="288" y="1446"/>
                  </a:lnTo>
                  <a:lnTo>
                    <a:pt x="282" y="1440"/>
                  </a:lnTo>
                  <a:lnTo>
                    <a:pt x="276" y="1440"/>
                  </a:lnTo>
                  <a:lnTo>
                    <a:pt x="270" y="1440"/>
                  </a:lnTo>
                  <a:lnTo>
                    <a:pt x="264" y="1440"/>
                  </a:lnTo>
                  <a:lnTo>
                    <a:pt x="258" y="1434"/>
                  </a:lnTo>
                  <a:lnTo>
                    <a:pt x="252" y="1434"/>
                  </a:lnTo>
                  <a:lnTo>
                    <a:pt x="246" y="1428"/>
                  </a:lnTo>
                  <a:lnTo>
                    <a:pt x="240" y="1416"/>
                  </a:lnTo>
                  <a:lnTo>
                    <a:pt x="234" y="1404"/>
                  </a:lnTo>
                  <a:lnTo>
                    <a:pt x="228" y="1398"/>
                  </a:lnTo>
                  <a:lnTo>
                    <a:pt x="222" y="1398"/>
                  </a:lnTo>
                  <a:lnTo>
                    <a:pt x="216" y="1404"/>
                  </a:lnTo>
                  <a:lnTo>
                    <a:pt x="210" y="1404"/>
                  </a:lnTo>
                  <a:lnTo>
                    <a:pt x="204" y="1404"/>
                  </a:lnTo>
                  <a:lnTo>
                    <a:pt x="204" y="1398"/>
                  </a:lnTo>
                  <a:lnTo>
                    <a:pt x="198" y="1392"/>
                  </a:lnTo>
                  <a:lnTo>
                    <a:pt x="192" y="1386"/>
                  </a:lnTo>
                  <a:lnTo>
                    <a:pt x="168" y="1374"/>
                  </a:lnTo>
                  <a:lnTo>
                    <a:pt x="144" y="13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0" name="Freeform 35">
              <a:extLst>
                <a:ext uri="{FF2B5EF4-FFF2-40B4-BE49-F238E27FC236}">
                  <a16:creationId xmlns:a16="http://schemas.microsoft.com/office/drawing/2014/main" id="{F64BF16E-9D62-438E-A1CC-CD4088AC7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2895" y="1706004"/>
              <a:ext cx="767013" cy="785011"/>
            </a:xfrm>
            <a:custGeom>
              <a:avLst/>
              <a:gdLst>
                <a:gd name="T0" fmla="*/ 102 w 1440"/>
                <a:gd name="T1" fmla="*/ 104 h 1476"/>
                <a:gd name="T2" fmla="*/ 99 w 1440"/>
                <a:gd name="T3" fmla="*/ 108 h 1476"/>
                <a:gd name="T4" fmla="*/ 98 w 1440"/>
                <a:gd name="T5" fmla="*/ 112 h 1476"/>
                <a:gd name="T6" fmla="*/ 96 w 1440"/>
                <a:gd name="T7" fmla="*/ 116 h 1476"/>
                <a:gd name="T8" fmla="*/ 91 w 1440"/>
                <a:gd name="T9" fmla="*/ 118 h 1476"/>
                <a:gd name="T10" fmla="*/ 87 w 1440"/>
                <a:gd name="T11" fmla="*/ 120 h 1476"/>
                <a:gd name="T12" fmla="*/ 75 w 1440"/>
                <a:gd name="T13" fmla="*/ 120 h 1476"/>
                <a:gd name="T14" fmla="*/ 72 w 1440"/>
                <a:gd name="T15" fmla="*/ 123 h 1476"/>
                <a:gd name="T16" fmla="*/ 69 w 1440"/>
                <a:gd name="T17" fmla="*/ 128 h 1476"/>
                <a:gd name="T18" fmla="*/ 67 w 1440"/>
                <a:gd name="T19" fmla="*/ 127 h 1476"/>
                <a:gd name="T20" fmla="*/ 66 w 1440"/>
                <a:gd name="T21" fmla="*/ 123 h 1476"/>
                <a:gd name="T22" fmla="*/ 63 w 1440"/>
                <a:gd name="T23" fmla="*/ 119 h 1476"/>
                <a:gd name="T24" fmla="*/ 54 w 1440"/>
                <a:gd name="T25" fmla="*/ 114 h 1476"/>
                <a:gd name="T26" fmla="*/ 55 w 1440"/>
                <a:gd name="T27" fmla="*/ 106 h 1476"/>
                <a:gd name="T28" fmla="*/ 60 w 1440"/>
                <a:gd name="T29" fmla="*/ 100 h 1476"/>
                <a:gd name="T30" fmla="*/ 55 w 1440"/>
                <a:gd name="T31" fmla="*/ 91 h 1476"/>
                <a:gd name="T32" fmla="*/ 51 w 1440"/>
                <a:gd name="T33" fmla="*/ 86 h 1476"/>
                <a:gd name="T34" fmla="*/ 47 w 1440"/>
                <a:gd name="T35" fmla="*/ 85 h 1476"/>
                <a:gd name="T36" fmla="*/ 44 w 1440"/>
                <a:gd name="T37" fmla="*/ 82 h 1476"/>
                <a:gd name="T38" fmla="*/ 41 w 1440"/>
                <a:gd name="T39" fmla="*/ 83 h 1476"/>
                <a:gd name="T40" fmla="*/ 36 w 1440"/>
                <a:gd name="T41" fmla="*/ 83 h 1476"/>
                <a:gd name="T42" fmla="*/ 33 w 1440"/>
                <a:gd name="T43" fmla="*/ 83 h 1476"/>
                <a:gd name="T44" fmla="*/ 30 w 1440"/>
                <a:gd name="T45" fmla="*/ 83 h 1476"/>
                <a:gd name="T46" fmla="*/ 27 w 1440"/>
                <a:gd name="T47" fmla="*/ 83 h 1476"/>
                <a:gd name="T48" fmla="*/ 24 w 1440"/>
                <a:gd name="T49" fmla="*/ 82 h 1476"/>
                <a:gd name="T50" fmla="*/ 21 w 1440"/>
                <a:gd name="T51" fmla="*/ 80 h 1476"/>
                <a:gd name="T52" fmla="*/ 18 w 1440"/>
                <a:gd name="T53" fmla="*/ 79 h 1476"/>
                <a:gd name="T54" fmla="*/ 17 w 1440"/>
                <a:gd name="T55" fmla="*/ 78 h 1476"/>
                <a:gd name="T56" fmla="*/ 12 w 1440"/>
                <a:gd name="T57" fmla="*/ 78 h 1476"/>
                <a:gd name="T58" fmla="*/ 12 w 1440"/>
                <a:gd name="T59" fmla="*/ 78 h 1476"/>
                <a:gd name="T60" fmla="*/ 7 w 1440"/>
                <a:gd name="T61" fmla="*/ 80 h 1476"/>
                <a:gd name="T62" fmla="*/ 3 w 1440"/>
                <a:gd name="T63" fmla="*/ 81 h 1476"/>
                <a:gd name="T64" fmla="*/ 0 w 1440"/>
                <a:gd name="T65" fmla="*/ 76 h 1476"/>
                <a:gd name="T66" fmla="*/ 1 w 1440"/>
                <a:gd name="T67" fmla="*/ 50 h 1476"/>
                <a:gd name="T68" fmla="*/ 8 w 1440"/>
                <a:gd name="T69" fmla="*/ 48 h 1476"/>
                <a:gd name="T70" fmla="*/ 20 w 1440"/>
                <a:gd name="T71" fmla="*/ 49 h 1476"/>
                <a:gd name="T72" fmla="*/ 26 w 1440"/>
                <a:gd name="T73" fmla="*/ 50 h 1476"/>
                <a:gd name="T74" fmla="*/ 44 w 1440"/>
                <a:gd name="T75" fmla="*/ 47 h 1476"/>
                <a:gd name="T76" fmla="*/ 41 w 1440"/>
                <a:gd name="T77" fmla="*/ 24 h 1476"/>
                <a:gd name="T78" fmla="*/ 44 w 1440"/>
                <a:gd name="T79" fmla="*/ 20 h 1476"/>
                <a:gd name="T80" fmla="*/ 47 w 1440"/>
                <a:gd name="T81" fmla="*/ 18 h 1476"/>
                <a:gd name="T82" fmla="*/ 54 w 1440"/>
                <a:gd name="T83" fmla="*/ 21 h 1476"/>
                <a:gd name="T84" fmla="*/ 61 w 1440"/>
                <a:gd name="T85" fmla="*/ 23 h 1476"/>
                <a:gd name="T86" fmla="*/ 59 w 1440"/>
                <a:gd name="T87" fmla="*/ 14 h 1476"/>
                <a:gd name="T88" fmla="*/ 61 w 1440"/>
                <a:gd name="T89" fmla="*/ 8 h 1476"/>
                <a:gd name="T90" fmla="*/ 71 w 1440"/>
                <a:gd name="T91" fmla="*/ 7 h 1476"/>
                <a:gd name="T92" fmla="*/ 75 w 1440"/>
                <a:gd name="T93" fmla="*/ 0 h 1476"/>
                <a:gd name="T94" fmla="*/ 82 w 1440"/>
                <a:gd name="T95" fmla="*/ 3 h 1476"/>
                <a:gd name="T96" fmla="*/ 93 w 1440"/>
                <a:gd name="T97" fmla="*/ 5 h 1476"/>
                <a:gd name="T98" fmla="*/ 100 w 1440"/>
                <a:gd name="T99" fmla="*/ 1 h 1476"/>
                <a:gd name="T100" fmla="*/ 104 w 1440"/>
                <a:gd name="T101" fmla="*/ 4 h 1476"/>
                <a:gd name="T102" fmla="*/ 110 w 1440"/>
                <a:gd name="T103" fmla="*/ 10 h 1476"/>
                <a:gd name="T104" fmla="*/ 115 w 1440"/>
                <a:gd name="T105" fmla="*/ 23 h 1476"/>
                <a:gd name="T106" fmla="*/ 117 w 1440"/>
                <a:gd name="T107" fmla="*/ 42 h 1476"/>
                <a:gd name="T108" fmla="*/ 121 w 1440"/>
                <a:gd name="T109" fmla="*/ 52 h 1476"/>
                <a:gd name="T110" fmla="*/ 118 w 1440"/>
                <a:gd name="T111" fmla="*/ 62 h 1476"/>
                <a:gd name="T112" fmla="*/ 124 w 1440"/>
                <a:gd name="T113" fmla="*/ 66 h 1476"/>
                <a:gd name="T114" fmla="*/ 121 w 1440"/>
                <a:gd name="T115" fmla="*/ 71 h 1476"/>
                <a:gd name="T116" fmla="*/ 115 w 1440"/>
                <a:gd name="T117" fmla="*/ 76 h 1476"/>
                <a:gd name="T118" fmla="*/ 109 w 1440"/>
                <a:gd name="T119" fmla="*/ 76 h 1476"/>
                <a:gd name="T120" fmla="*/ 105 w 1440"/>
                <a:gd name="T121" fmla="*/ 86 h 1476"/>
                <a:gd name="T122" fmla="*/ 107 w 1440"/>
                <a:gd name="T123" fmla="*/ 97 h 147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40"/>
                <a:gd name="T187" fmla="*/ 0 h 1476"/>
                <a:gd name="T188" fmla="*/ 1440 w 1440"/>
                <a:gd name="T189" fmla="*/ 1476 h 147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40" h="1476">
                  <a:moveTo>
                    <a:pt x="1212" y="1164"/>
                  </a:moveTo>
                  <a:lnTo>
                    <a:pt x="1206" y="1170"/>
                  </a:lnTo>
                  <a:lnTo>
                    <a:pt x="1200" y="1176"/>
                  </a:lnTo>
                  <a:lnTo>
                    <a:pt x="1194" y="1176"/>
                  </a:lnTo>
                  <a:lnTo>
                    <a:pt x="1188" y="1188"/>
                  </a:lnTo>
                  <a:lnTo>
                    <a:pt x="1182" y="1194"/>
                  </a:lnTo>
                  <a:lnTo>
                    <a:pt x="1176" y="1194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64" y="1206"/>
                  </a:lnTo>
                  <a:lnTo>
                    <a:pt x="1158" y="1206"/>
                  </a:lnTo>
                  <a:lnTo>
                    <a:pt x="1152" y="1212"/>
                  </a:lnTo>
                  <a:lnTo>
                    <a:pt x="1146" y="1212"/>
                  </a:lnTo>
                  <a:lnTo>
                    <a:pt x="1140" y="1224"/>
                  </a:lnTo>
                  <a:lnTo>
                    <a:pt x="1134" y="1230"/>
                  </a:lnTo>
                  <a:lnTo>
                    <a:pt x="1128" y="1236"/>
                  </a:lnTo>
                  <a:lnTo>
                    <a:pt x="1128" y="1242"/>
                  </a:lnTo>
                  <a:lnTo>
                    <a:pt x="1128" y="1254"/>
                  </a:lnTo>
                  <a:lnTo>
                    <a:pt x="1128" y="1260"/>
                  </a:lnTo>
                  <a:lnTo>
                    <a:pt x="1122" y="1260"/>
                  </a:lnTo>
                  <a:lnTo>
                    <a:pt x="1122" y="1266"/>
                  </a:lnTo>
                  <a:lnTo>
                    <a:pt x="1128" y="1278"/>
                  </a:lnTo>
                  <a:lnTo>
                    <a:pt x="1122" y="1278"/>
                  </a:lnTo>
                  <a:lnTo>
                    <a:pt x="1122" y="1284"/>
                  </a:lnTo>
                  <a:lnTo>
                    <a:pt x="1128" y="1290"/>
                  </a:lnTo>
                  <a:lnTo>
                    <a:pt x="1122" y="1296"/>
                  </a:lnTo>
                  <a:lnTo>
                    <a:pt x="1122" y="1302"/>
                  </a:lnTo>
                  <a:lnTo>
                    <a:pt x="1116" y="1302"/>
                  </a:lnTo>
                  <a:lnTo>
                    <a:pt x="1110" y="1314"/>
                  </a:lnTo>
                  <a:lnTo>
                    <a:pt x="1110" y="1320"/>
                  </a:lnTo>
                  <a:lnTo>
                    <a:pt x="1110" y="1326"/>
                  </a:lnTo>
                  <a:lnTo>
                    <a:pt x="1098" y="1332"/>
                  </a:lnTo>
                  <a:lnTo>
                    <a:pt x="1092" y="1338"/>
                  </a:lnTo>
                  <a:lnTo>
                    <a:pt x="1092" y="1344"/>
                  </a:lnTo>
                  <a:lnTo>
                    <a:pt x="1086" y="1350"/>
                  </a:lnTo>
                  <a:lnTo>
                    <a:pt x="1080" y="1350"/>
                  </a:lnTo>
                  <a:lnTo>
                    <a:pt x="1074" y="1350"/>
                  </a:lnTo>
                  <a:lnTo>
                    <a:pt x="1068" y="1356"/>
                  </a:lnTo>
                  <a:lnTo>
                    <a:pt x="1062" y="1356"/>
                  </a:lnTo>
                  <a:lnTo>
                    <a:pt x="1044" y="1356"/>
                  </a:lnTo>
                  <a:lnTo>
                    <a:pt x="1038" y="1362"/>
                  </a:lnTo>
                  <a:lnTo>
                    <a:pt x="1032" y="1368"/>
                  </a:lnTo>
                  <a:lnTo>
                    <a:pt x="1026" y="1368"/>
                  </a:lnTo>
                  <a:lnTo>
                    <a:pt x="1020" y="1374"/>
                  </a:lnTo>
                  <a:lnTo>
                    <a:pt x="1008" y="1374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74"/>
                  </a:lnTo>
                  <a:lnTo>
                    <a:pt x="978" y="1380"/>
                  </a:lnTo>
                  <a:lnTo>
                    <a:pt x="972" y="1380"/>
                  </a:lnTo>
                  <a:lnTo>
                    <a:pt x="954" y="1368"/>
                  </a:lnTo>
                  <a:lnTo>
                    <a:pt x="930" y="1368"/>
                  </a:lnTo>
                  <a:lnTo>
                    <a:pt x="918" y="1368"/>
                  </a:lnTo>
                  <a:lnTo>
                    <a:pt x="906" y="1368"/>
                  </a:lnTo>
                  <a:lnTo>
                    <a:pt x="894" y="1368"/>
                  </a:lnTo>
                  <a:lnTo>
                    <a:pt x="864" y="1374"/>
                  </a:lnTo>
                  <a:lnTo>
                    <a:pt x="852" y="1374"/>
                  </a:lnTo>
                  <a:lnTo>
                    <a:pt x="846" y="1386"/>
                  </a:lnTo>
                  <a:lnTo>
                    <a:pt x="846" y="1392"/>
                  </a:lnTo>
                  <a:lnTo>
                    <a:pt x="840" y="1398"/>
                  </a:lnTo>
                  <a:lnTo>
                    <a:pt x="840" y="1404"/>
                  </a:lnTo>
                  <a:lnTo>
                    <a:pt x="834" y="1416"/>
                  </a:lnTo>
                  <a:lnTo>
                    <a:pt x="828" y="1416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04" y="1428"/>
                  </a:lnTo>
                  <a:lnTo>
                    <a:pt x="804" y="1434"/>
                  </a:lnTo>
                  <a:lnTo>
                    <a:pt x="804" y="1440"/>
                  </a:lnTo>
                  <a:lnTo>
                    <a:pt x="798" y="1446"/>
                  </a:lnTo>
                  <a:lnTo>
                    <a:pt x="798" y="1458"/>
                  </a:lnTo>
                  <a:lnTo>
                    <a:pt x="792" y="1464"/>
                  </a:lnTo>
                  <a:lnTo>
                    <a:pt x="786" y="1476"/>
                  </a:lnTo>
                  <a:lnTo>
                    <a:pt x="780" y="1470"/>
                  </a:lnTo>
                  <a:lnTo>
                    <a:pt x="774" y="1470"/>
                  </a:lnTo>
                  <a:lnTo>
                    <a:pt x="768" y="1470"/>
                  </a:lnTo>
                  <a:lnTo>
                    <a:pt x="762" y="1476"/>
                  </a:lnTo>
                  <a:lnTo>
                    <a:pt x="762" y="1470"/>
                  </a:lnTo>
                  <a:lnTo>
                    <a:pt x="762" y="1464"/>
                  </a:lnTo>
                  <a:lnTo>
                    <a:pt x="762" y="1458"/>
                  </a:lnTo>
                  <a:lnTo>
                    <a:pt x="756" y="1458"/>
                  </a:lnTo>
                  <a:lnTo>
                    <a:pt x="756" y="1452"/>
                  </a:lnTo>
                  <a:lnTo>
                    <a:pt x="756" y="1446"/>
                  </a:lnTo>
                  <a:lnTo>
                    <a:pt x="756" y="1440"/>
                  </a:lnTo>
                  <a:lnTo>
                    <a:pt x="750" y="1434"/>
                  </a:lnTo>
                  <a:lnTo>
                    <a:pt x="750" y="1428"/>
                  </a:lnTo>
                  <a:lnTo>
                    <a:pt x="750" y="1422"/>
                  </a:lnTo>
                  <a:lnTo>
                    <a:pt x="750" y="1416"/>
                  </a:lnTo>
                  <a:lnTo>
                    <a:pt x="744" y="1416"/>
                  </a:lnTo>
                  <a:lnTo>
                    <a:pt x="744" y="1410"/>
                  </a:lnTo>
                  <a:lnTo>
                    <a:pt x="738" y="1404"/>
                  </a:lnTo>
                  <a:lnTo>
                    <a:pt x="732" y="1398"/>
                  </a:lnTo>
                  <a:lnTo>
                    <a:pt x="732" y="1392"/>
                  </a:lnTo>
                  <a:lnTo>
                    <a:pt x="726" y="1386"/>
                  </a:lnTo>
                  <a:lnTo>
                    <a:pt x="726" y="1380"/>
                  </a:lnTo>
                  <a:lnTo>
                    <a:pt x="714" y="1368"/>
                  </a:lnTo>
                  <a:lnTo>
                    <a:pt x="708" y="1368"/>
                  </a:lnTo>
                  <a:lnTo>
                    <a:pt x="684" y="1332"/>
                  </a:lnTo>
                  <a:lnTo>
                    <a:pt x="666" y="1320"/>
                  </a:lnTo>
                  <a:lnTo>
                    <a:pt x="648" y="1302"/>
                  </a:lnTo>
                  <a:lnTo>
                    <a:pt x="630" y="1314"/>
                  </a:lnTo>
                  <a:lnTo>
                    <a:pt x="624" y="1314"/>
                  </a:lnTo>
                  <a:lnTo>
                    <a:pt x="624" y="1308"/>
                  </a:lnTo>
                  <a:lnTo>
                    <a:pt x="618" y="1308"/>
                  </a:lnTo>
                  <a:lnTo>
                    <a:pt x="612" y="1284"/>
                  </a:lnTo>
                  <a:lnTo>
                    <a:pt x="606" y="1254"/>
                  </a:lnTo>
                  <a:lnTo>
                    <a:pt x="606" y="1248"/>
                  </a:lnTo>
                  <a:lnTo>
                    <a:pt x="606" y="1242"/>
                  </a:lnTo>
                  <a:lnTo>
                    <a:pt x="612" y="1242"/>
                  </a:lnTo>
                  <a:lnTo>
                    <a:pt x="618" y="1236"/>
                  </a:lnTo>
                  <a:lnTo>
                    <a:pt x="618" y="1230"/>
                  </a:lnTo>
                  <a:lnTo>
                    <a:pt x="624" y="1224"/>
                  </a:lnTo>
                  <a:lnTo>
                    <a:pt x="630" y="1224"/>
                  </a:lnTo>
                  <a:lnTo>
                    <a:pt x="636" y="1218"/>
                  </a:lnTo>
                  <a:lnTo>
                    <a:pt x="636" y="1212"/>
                  </a:lnTo>
                  <a:lnTo>
                    <a:pt x="612" y="1200"/>
                  </a:lnTo>
                  <a:lnTo>
                    <a:pt x="606" y="1182"/>
                  </a:lnTo>
                  <a:lnTo>
                    <a:pt x="672" y="1182"/>
                  </a:lnTo>
                  <a:lnTo>
                    <a:pt x="690" y="1170"/>
                  </a:lnTo>
                  <a:lnTo>
                    <a:pt x="690" y="1152"/>
                  </a:lnTo>
                  <a:lnTo>
                    <a:pt x="678" y="1110"/>
                  </a:lnTo>
                  <a:lnTo>
                    <a:pt x="672" y="1092"/>
                  </a:lnTo>
                  <a:lnTo>
                    <a:pt x="660" y="1074"/>
                  </a:lnTo>
                  <a:lnTo>
                    <a:pt x="648" y="1068"/>
                  </a:lnTo>
                  <a:lnTo>
                    <a:pt x="642" y="1068"/>
                  </a:lnTo>
                  <a:lnTo>
                    <a:pt x="636" y="1062"/>
                  </a:lnTo>
                  <a:lnTo>
                    <a:pt x="624" y="1056"/>
                  </a:lnTo>
                  <a:lnTo>
                    <a:pt x="624" y="1050"/>
                  </a:lnTo>
                  <a:lnTo>
                    <a:pt x="618" y="1038"/>
                  </a:lnTo>
                  <a:lnTo>
                    <a:pt x="612" y="1038"/>
                  </a:lnTo>
                  <a:lnTo>
                    <a:pt x="612" y="1032"/>
                  </a:lnTo>
                  <a:lnTo>
                    <a:pt x="612" y="1026"/>
                  </a:lnTo>
                  <a:lnTo>
                    <a:pt x="600" y="1014"/>
                  </a:lnTo>
                  <a:lnTo>
                    <a:pt x="582" y="1008"/>
                  </a:lnTo>
                  <a:lnTo>
                    <a:pt x="576" y="1002"/>
                  </a:lnTo>
                  <a:lnTo>
                    <a:pt x="576" y="996"/>
                  </a:lnTo>
                  <a:lnTo>
                    <a:pt x="570" y="996"/>
                  </a:lnTo>
                  <a:lnTo>
                    <a:pt x="570" y="990"/>
                  </a:lnTo>
                  <a:lnTo>
                    <a:pt x="570" y="984"/>
                  </a:lnTo>
                  <a:lnTo>
                    <a:pt x="564" y="984"/>
                  </a:lnTo>
                  <a:lnTo>
                    <a:pt x="558" y="978"/>
                  </a:lnTo>
                  <a:lnTo>
                    <a:pt x="552" y="972"/>
                  </a:lnTo>
                  <a:lnTo>
                    <a:pt x="552" y="966"/>
                  </a:lnTo>
                  <a:lnTo>
                    <a:pt x="546" y="972"/>
                  </a:lnTo>
                  <a:lnTo>
                    <a:pt x="540" y="972"/>
                  </a:lnTo>
                  <a:lnTo>
                    <a:pt x="534" y="960"/>
                  </a:lnTo>
                  <a:lnTo>
                    <a:pt x="528" y="960"/>
                  </a:lnTo>
                  <a:lnTo>
                    <a:pt x="528" y="966"/>
                  </a:lnTo>
                  <a:lnTo>
                    <a:pt x="516" y="954"/>
                  </a:lnTo>
                  <a:lnTo>
                    <a:pt x="516" y="948"/>
                  </a:lnTo>
                  <a:lnTo>
                    <a:pt x="510" y="948"/>
                  </a:lnTo>
                  <a:lnTo>
                    <a:pt x="504" y="948"/>
                  </a:lnTo>
                  <a:lnTo>
                    <a:pt x="498" y="948"/>
                  </a:lnTo>
                  <a:lnTo>
                    <a:pt x="504" y="954"/>
                  </a:lnTo>
                  <a:lnTo>
                    <a:pt x="498" y="954"/>
                  </a:lnTo>
                  <a:lnTo>
                    <a:pt x="492" y="954"/>
                  </a:lnTo>
                  <a:lnTo>
                    <a:pt x="480" y="942"/>
                  </a:lnTo>
                  <a:lnTo>
                    <a:pt x="480" y="948"/>
                  </a:lnTo>
                  <a:lnTo>
                    <a:pt x="480" y="954"/>
                  </a:lnTo>
                  <a:lnTo>
                    <a:pt x="474" y="954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56" y="966"/>
                  </a:lnTo>
                  <a:lnTo>
                    <a:pt x="456" y="960"/>
                  </a:lnTo>
                  <a:lnTo>
                    <a:pt x="450" y="966"/>
                  </a:lnTo>
                  <a:lnTo>
                    <a:pt x="444" y="966"/>
                  </a:lnTo>
                  <a:lnTo>
                    <a:pt x="414" y="966"/>
                  </a:lnTo>
                  <a:lnTo>
                    <a:pt x="408" y="960"/>
                  </a:lnTo>
                  <a:lnTo>
                    <a:pt x="408" y="966"/>
                  </a:lnTo>
                  <a:lnTo>
                    <a:pt x="402" y="960"/>
                  </a:lnTo>
                  <a:lnTo>
                    <a:pt x="396" y="960"/>
                  </a:lnTo>
                  <a:lnTo>
                    <a:pt x="390" y="960"/>
                  </a:lnTo>
                  <a:lnTo>
                    <a:pt x="390" y="966"/>
                  </a:lnTo>
                  <a:lnTo>
                    <a:pt x="384" y="966"/>
                  </a:lnTo>
                  <a:lnTo>
                    <a:pt x="378" y="966"/>
                  </a:lnTo>
                  <a:lnTo>
                    <a:pt x="384" y="960"/>
                  </a:lnTo>
                  <a:lnTo>
                    <a:pt x="384" y="954"/>
                  </a:lnTo>
                  <a:lnTo>
                    <a:pt x="372" y="948"/>
                  </a:lnTo>
                  <a:lnTo>
                    <a:pt x="372" y="954"/>
                  </a:lnTo>
                  <a:lnTo>
                    <a:pt x="372" y="960"/>
                  </a:lnTo>
                  <a:lnTo>
                    <a:pt x="366" y="960"/>
                  </a:lnTo>
                  <a:lnTo>
                    <a:pt x="360" y="966"/>
                  </a:lnTo>
                  <a:lnTo>
                    <a:pt x="354" y="966"/>
                  </a:lnTo>
                  <a:lnTo>
                    <a:pt x="348" y="960"/>
                  </a:lnTo>
                  <a:lnTo>
                    <a:pt x="342" y="960"/>
                  </a:lnTo>
                  <a:lnTo>
                    <a:pt x="342" y="966"/>
                  </a:lnTo>
                  <a:lnTo>
                    <a:pt x="336" y="972"/>
                  </a:lnTo>
                  <a:lnTo>
                    <a:pt x="330" y="972"/>
                  </a:lnTo>
                  <a:lnTo>
                    <a:pt x="324" y="966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6" y="954"/>
                  </a:lnTo>
                  <a:lnTo>
                    <a:pt x="306" y="948"/>
                  </a:lnTo>
                  <a:lnTo>
                    <a:pt x="306" y="942"/>
                  </a:lnTo>
                  <a:lnTo>
                    <a:pt x="300" y="942"/>
                  </a:lnTo>
                  <a:lnTo>
                    <a:pt x="294" y="936"/>
                  </a:lnTo>
                  <a:lnTo>
                    <a:pt x="288" y="936"/>
                  </a:lnTo>
                  <a:lnTo>
                    <a:pt x="282" y="942"/>
                  </a:lnTo>
                  <a:lnTo>
                    <a:pt x="276" y="936"/>
                  </a:lnTo>
                  <a:lnTo>
                    <a:pt x="276" y="942"/>
                  </a:lnTo>
                  <a:lnTo>
                    <a:pt x="270" y="942"/>
                  </a:lnTo>
                  <a:lnTo>
                    <a:pt x="264" y="936"/>
                  </a:lnTo>
                  <a:lnTo>
                    <a:pt x="252" y="936"/>
                  </a:lnTo>
                  <a:lnTo>
                    <a:pt x="246" y="936"/>
                  </a:lnTo>
                  <a:lnTo>
                    <a:pt x="240" y="936"/>
                  </a:lnTo>
                  <a:lnTo>
                    <a:pt x="234" y="936"/>
                  </a:lnTo>
                  <a:lnTo>
                    <a:pt x="240" y="924"/>
                  </a:lnTo>
                  <a:lnTo>
                    <a:pt x="234" y="924"/>
                  </a:lnTo>
                  <a:lnTo>
                    <a:pt x="228" y="918"/>
                  </a:lnTo>
                  <a:lnTo>
                    <a:pt x="228" y="906"/>
                  </a:lnTo>
                  <a:lnTo>
                    <a:pt x="222" y="900"/>
                  </a:lnTo>
                  <a:lnTo>
                    <a:pt x="216" y="900"/>
                  </a:lnTo>
                  <a:lnTo>
                    <a:pt x="210" y="900"/>
                  </a:lnTo>
                  <a:lnTo>
                    <a:pt x="210" y="906"/>
                  </a:lnTo>
                  <a:lnTo>
                    <a:pt x="204" y="906"/>
                  </a:lnTo>
                  <a:lnTo>
                    <a:pt x="198" y="906"/>
                  </a:lnTo>
                  <a:lnTo>
                    <a:pt x="210" y="900"/>
                  </a:lnTo>
                  <a:lnTo>
                    <a:pt x="210" y="894"/>
                  </a:lnTo>
                  <a:lnTo>
                    <a:pt x="216" y="888"/>
                  </a:lnTo>
                  <a:lnTo>
                    <a:pt x="204" y="882"/>
                  </a:lnTo>
                  <a:lnTo>
                    <a:pt x="204" y="894"/>
                  </a:lnTo>
                  <a:lnTo>
                    <a:pt x="198" y="894"/>
                  </a:lnTo>
                  <a:lnTo>
                    <a:pt x="192" y="900"/>
                  </a:lnTo>
                  <a:lnTo>
                    <a:pt x="186" y="894"/>
                  </a:lnTo>
                  <a:lnTo>
                    <a:pt x="180" y="894"/>
                  </a:lnTo>
                  <a:lnTo>
                    <a:pt x="174" y="894"/>
                  </a:lnTo>
                  <a:lnTo>
                    <a:pt x="168" y="900"/>
                  </a:lnTo>
                  <a:lnTo>
                    <a:pt x="162" y="906"/>
                  </a:lnTo>
                  <a:lnTo>
                    <a:pt x="156" y="906"/>
                  </a:lnTo>
                  <a:lnTo>
                    <a:pt x="150" y="900"/>
                  </a:lnTo>
                  <a:lnTo>
                    <a:pt x="144" y="894"/>
                  </a:lnTo>
                  <a:lnTo>
                    <a:pt x="138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0" y="888"/>
                  </a:lnTo>
                  <a:lnTo>
                    <a:pt x="114" y="894"/>
                  </a:lnTo>
                  <a:lnTo>
                    <a:pt x="120" y="900"/>
                  </a:lnTo>
                  <a:lnTo>
                    <a:pt x="126" y="900"/>
                  </a:lnTo>
                  <a:lnTo>
                    <a:pt x="132" y="900"/>
                  </a:lnTo>
                  <a:lnTo>
                    <a:pt x="132" y="906"/>
                  </a:lnTo>
                  <a:lnTo>
                    <a:pt x="126" y="912"/>
                  </a:lnTo>
                  <a:lnTo>
                    <a:pt x="126" y="918"/>
                  </a:lnTo>
                  <a:lnTo>
                    <a:pt x="114" y="918"/>
                  </a:lnTo>
                  <a:lnTo>
                    <a:pt x="108" y="924"/>
                  </a:lnTo>
                  <a:lnTo>
                    <a:pt x="102" y="924"/>
                  </a:lnTo>
                  <a:lnTo>
                    <a:pt x="90" y="924"/>
                  </a:lnTo>
                  <a:lnTo>
                    <a:pt x="84" y="924"/>
                  </a:lnTo>
                  <a:lnTo>
                    <a:pt x="78" y="924"/>
                  </a:lnTo>
                  <a:lnTo>
                    <a:pt x="60" y="924"/>
                  </a:lnTo>
                  <a:lnTo>
                    <a:pt x="54" y="942"/>
                  </a:lnTo>
                  <a:lnTo>
                    <a:pt x="48" y="936"/>
                  </a:lnTo>
                  <a:lnTo>
                    <a:pt x="42" y="930"/>
                  </a:lnTo>
                  <a:lnTo>
                    <a:pt x="36" y="930"/>
                  </a:lnTo>
                  <a:lnTo>
                    <a:pt x="30" y="936"/>
                  </a:lnTo>
                  <a:lnTo>
                    <a:pt x="30" y="930"/>
                  </a:lnTo>
                  <a:lnTo>
                    <a:pt x="30" y="924"/>
                  </a:lnTo>
                  <a:lnTo>
                    <a:pt x="18" y="918"/>
                  </a:lnTo>
                  <a:lnTo>
                    <a:pt x="18" y="912"/>
                  </a:lnTo>
                  <a:lnTo>
                    <a:pt x="12" y="912"/>
                  </a:lnTo>
                  <a:lnTo>
                    <a:pt x="6" y="912"/>
                  </a:lnTo>
                  <a:lnTo>
                    <a:pt x="6" y="900"/>
                  </a:lnTo>
                  <a:lnTo>
                    <a:pt x="6" y="894"/>
                  </a:lnTo>
                  <a:lnTo>
                    <a:pt x="0" y="870"/>
                  </a:lnTo>
                  <a:lnTo>
                    <a:pt x="6" y="846"/>
                  </a:lnTo>
                  <a:lnTo>
                    <a:pt x="6" y="810"/>
                  </a:lnTo>
                  <a:lnTo>
                    <a:pt x="12" y="774"/>
                  </a:lnTo>
                  <a:lnTo>
                    <a:pt x="12" y="756"/>
                  </a:lnTo>
                  <a:lnTo>
                    <a:pt x="18" y="744"/>
                  </a:lnTo>
                  <a:lnTo>
                    <a:pt x="18" y="732"/>
                  </a:lnTo>
                  <a:lnTo>
                    <a:pt x="12" y="576"/>
                  </a:lnTo>
                  <a:lnTo>
                    <a:pt x="12" y="570"/>
                  </a:lnTo>
                  <a:lnTo>
                    <a:pt x="18" y="564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42" y="552"/>
                  </a:lnTo>
                  <a:lnTo>
                    <a:pt x="66" y="552"/>
                  </a:lnTo>
                  <a:lnTo>
                    <a:pt x="78" y="558"/>
                  </a:lnTo>
                  <a:lnTo>
                    <a:pt x="90" y="558"/>
                  </a:lnTo>
                  <a:lnTo>
                    <a:pt x="108" y="558"/>
                  </a:lnTo>
                  <a:lnTo>
                    <a:pt x="144" y="558"/>
                  </a:lnTo>
                  <a:lnTo>
                    <a:pt x="204" y="552"/>
                  </a:lnTo>
                  <a:lnTo>
                    <a:pt x="210" y="558"/>
                  </a:lnTo>
                  <a:lnTo>
                    <a:pt x="216" y="558"/>
                  </a:lnTo>
                  <a:lnTo>
                    <a:pt x="210" y="564"/>
                  </a:lnTo>
                  <a:lnTo>
                    <a:pt x="216" y="564"/>
                  </a:lnTo>
                  <a:lnTo>
                    <a:pt x="222" y="564"/>
                  </a:lnTo>
                  <a:lnTo>
                    <a:pt x="240" y="564"/>
                  </a:lnTo>
                  <a:lnTo>
                    <a:pt x="258" y="564"/>
                  </a:lnTo>
                  <a:lnTo>
                    <a:pt x="264" y="570"/>
                  </a:lnTo>
                  <a:lnTo>
                    <a:pt x="276" y="570"/>
                  </a:lnTo>
                  <a:lnTo>
                    <a:pt x="282" y="564"/>
                  </a:lnTo>
                  <a:lnTo>
                    <a:pt x="294" y="564"/>
                  </a:lnTo>
                  <a:lnTo>
                    <a:pt x="294" y="570"/>
                  </a:lnTo>
                  <a:lnTo>
                    <a:pt x="300" y="570"/>
                  </a:lnTo>
                  <a:lnTo>
                    <a:pt x="378" y="564"/>
                  </a:lnTo>
                  <a:lnTo>
                    <a:pt x="408" y="558"/>
                  </a:lnTo>
                  <a:lnTo>
                    <a:pt x="432" y="552"/>
                  </a:lnTo>
                  <a:lnTo>
                    <a:pt x="450" y="546"/>
                  </a:lnTo>
                  <a:lnTo>
                    <a:pt x="468" y="546"/>
                  </a:lnTo>
                  <a:lnTo>
                    <a:pt x="468" y="552"/>
                  </a:lnTo>
                  <a:lnTo>
                    <a:pt x="504" y="552"/>
                  </a:lnTo>
                  <a:lnTo>
                    <a:pt x="510" y="534"/>
                  </a:lnTo>
                  <a:lnTo>
                    <a:pt x="516" y="510"/>
                  </a:lnTo>
                  <a:lnTo>
                    <a:pt x="522" y="510"/>
                  </a:lnTo>
                  <a:lnTo>
                    <a:pt x="528" y="420"/>
                  </a:lnTo>
                  <a:lnTo>
                    <a:pt x="522" y="414"/>
                  </a:lnTo>
                  <a:lnTo>
                    <a:pt x="516" y="396"/>
                  </a:lnTo>
                  <a:lnTo>
                    <a:pt x="510" y="372"/>
                  </a:lnTo>
                  <a:lnTo>
                    <a:pt x="498" y="348"/>
                  </a:lnTo>
                  <a:lnTo>
                    <a:pt x="474" y="282"/>
                  </a:lnTo>
                  <a:lnTo>
                    <a:pt x="474" y="270"/>
                  </a:lnTo>
                  <a:lnTo>
                    <a:pt x="480" y="258"/>
                  </a:lnTo>
                  <a:lnTo>
                    <a:pt x="486" y="258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92" y="246"/>
                  </a:lnTo>
                  <a:lnTo>
                    <a:pt x="504" y="234"/>
                  </a:lnTo>
                  <a:lnTo>
                    <a:pt x="510" y="228"/>
                  </a:lnTo>
                  <a:lnTo>
                    <a:pt x="516" y="228"/>
                  </a:lnTo>
                  <a:lnTo>
                    <a:pt x="516" y="222"/>
                  </a:lnTo>
                  <a:lnTo>
                    <a:pt x="516" y="216"/>
                  </a:lnTo>
                  <a:lnTo>
                    <a:pt x="522" y="216"/>
                  </a:lnTo>
                  <a:lnTo>
                    <a:pt x="528" y="210"/>
                  </a:lnTo>
                  <a:lnTo>
                    <a:pt x="534" y="210"/>
                  </a:lnTo>
                  <a:lnTo>
                    <a:pt x="540" y="210"/>
                  </a:lnTo>
                  <a:lnTo>
                    <a:pt x="546" y="210"/>
                  </a:lnTo>
                  <a:lnTo>
                    <a:pt x="552" y="210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16"/>
                  </a:lnTo>
                  <a:lnTo>
                    <a:pt x="588" y="228"/>
                  </a:lnTo>
                  <a:lnTo>
                    <a:pt x="594" y="234"/>
                  </a:lnTo>
                  <a:lnTo>
                    <a:pt x="600" y="240"/>
                  </a:lnTo>
                  <a:lnTo>
                    <a:pt x="618" y="246"/>
                  </a:lnTo>
                  <a:lnTo>
                    <a:pt x="624" y="246"/>
                  </a:lnTo>
                  <a:lnTo>
                    <a:pt x="636" y="252"/>
                  </a:lnTo>
                  <a:lnTo>
                    <a:pt x="654" y="252"/>
                  </a:lnTo>
                  <a:lnTo>
                    <a:pt x="654" y="258"/>
                  </a:lnTo>
                  <a:lnTo>
                    <a:pt x="666" y="264"/>
                  </a:lnTo>
                  <a:lnTo>
                    <a:pt x="672" y="264"/>
                  </a:lnTo>
                  <a:lnTo>
                    <a:pt x="678" y="264"/>
                  </a:lnTo>
                  <a:lnTo>
                    <a:pt x="696" y="258"/>
                  </a:lnTo>
                  <a:lnTo>
                    <a:pt x="696" y="252"/>
                  </a:lnTo>
                  <a:lnTo>
                    <a:pt x="696" y="246"/>
                  </a:lnTo>
                  <a:lnTo>
                    <a:pt x="690" y="234"/>
                  </a:lnTo>
                  <a:lnTo>
                    <a:pt x="684" y="210"/>
                  </a:lnTo>
                  <a:lnTo>
                    <a:pt x="678" y="192"/>
                  </a:lnTo>
                  <a:lnTo>
                    <a:pt x="672" y="174"/>
                  </a:lnTo>
                  <a:lnTo>
                    <a:pt x="672" y="168"/>
                  </a:lnTo>
                  <a:lnTo>
                    <a:pt x="672" y="162"/>
                  </a:lnTo>
                  <a:lnTo>
                    <a:pt x="672" y="156"/>
                  </a:lnTo>
                  <a:lnTo>
                    <a:pt x="684" y="132"/>
                  </a:lnTo>
                  <a:lnTo>
                    <a:pt x="684" y="120"/>
                  </a:lnTo>
                  <a:lnTo>
                    <a:pt x="684" y="108"/>
                  </a:lnTo>
                  <a:lnTo>
                    <a:pt x="678" y="102"/>
                  </a:lnTo>
                  <a:lnTo>
                    <a:pt x="678" y="96"/>
                  </a:lnTo>
                  <a:lnTo>
                    <a:pt x="684" y="96"/>
                  </a:lnTo>
                  <a:lnTo>
                    <a:pt x="696" y="90"/>
                  </a:lnTo>
                  <a:lnTo>
                    <a:pt x="702" y="84"/>
                  </a:lnTo>
                  <a:lnTo>
                    <a:pt x="720" y="72"/>
                  </a:lnTo>
                  <a:lnTo>
                    <a:pt x="738" y="66"/>
                  </a:lnTo>
                  <a:lnTo>
                    <a:pt x="756" y="60"/>
                  </a:lnTo>
                  <a:lnTo>
                    <a:pt x="768" y="60"/>
                  </a:lnTo>
                  <a:lnTo>
                    <a:pt x="798" y="72"/>
                  </a:lnTo>
                  <a:lnTo>
                    <a:pt x="804" y="78"/>
                  </a:lnTo>
                  <a:lnTo>
                    <a:pt x="816" y="84"/>
                  </a:lnTo>
                  <a:lnTo>
                    <a:pt x="822" y="84"/>
                  </a:lnTo>
                  <a:lnTo>
                    <a:pt x="828" y="72"/>
                  </a:lnTo>
                  <a:lnTo>
                    <a:pt x="828" y="60"/>
                  </a:lnTo>
                  <a:lnTo>
                    <a:pt x="828" y="36"/>
                  </a:lnTo>
                  <a:lnTo>
                    <a:pt x="828" y="24"/>
                  </a:lnTo>
                  <a:lnTo>
                    <a:pt x="828" y="12"/>
                  </a:lnTo>
                  <a:lnTo>
                    <a:pt x="834" y="12"/>
                  </a:lnTo>
                  <a:lnTo>
                    <a:pt x="852" y="6"/>
                  </a:lnTo>
                  <a:lnTo>
                    <a:pt x="876" y="6"/>
                  </a:lnTo>
                  <a:lnTo>
                    <a:pt x="894" y="6"/>
                  </a:lnTo>
                  <a:lnTo>
                    <a:pt x="906" y="12"/>
                  </a:lnTo>
                  <a:lnTo>
                    <a:pt x="912" y="24"/>
                  </a:lnTo>
                  <a:lnTo>
                    <a:pt x="924" y="24"/>
                  </a:lnTo>
                  <a:lnTo>
                    <a:pt x="930" y="30"/>
                  </a:lnTo>
                  <a:lnTo>
                    <a:pt x="936" y="30"/>
                  </a:lnTo>
                  <a:lnTo>
                    <a:pt x="936" y="36"/>
                  </a:lnTo>
                  <a:lnTo>
                    <a:pt x="942" y="36"/>
                  </a:lnTo>
                  <a:lnTo>
                    <a:pt x="948" y="42"/>
                  </a:lnTo>
                  <a:lnTo>
                    <a:pt x="960" y="48"/>
                  </a:lnTo>
                  <a:lnTo>
                    <a:pt x="966" y="48"/>
                  </a:lnTo>
                  <a:lnTo>
                    <a:pt x="1026" y="60"/>
                  </a:lnTo>
                  <a:lnTo>
                    <a:pt x="1050" y="60"/>
                  </a:lnTo>
                  <a:lnTo>
                    <a:pt x="1050" y="54"/>
                  </a:lnTo>
                  <a:lnTo>
                    <a:pt x="1062" y="54"/>
                  </a:lnTo>
                  <a:lnTo>
                    <a:pt x="1074" y="48"/>
                  </a:lnTo>
                  <a:lnTo>
                    <a:pt x="1086" y="42"/>
                  </a:lnTo>
                  <a:lnTo>
                    <a:pt x="1104" y="36"/>
                  </a:lnTo>
                  <a:lnTo>
                    <a:pt x="1116" y="30"/>
                  </a:lnTo>
                  <a:lnTo>
                    <a:pt x="1122" y="24"/>
                  </a:lnTo>
                  <a:lnTo>
                    <a:pt x="1128" y="18"/>
                  </a:lnTo>
                  <a:lnTo>
                    <a:pt x="1134" y="18"/>
                  </a:lnTo>
                  <a:lnTo>
                    <a:pt x="1140" y="12"/>
                  </a:lnTo>
                  <a:lnTo>
                    <a:pt x="1146" y="6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24"/>
                  </a:lnTo>
                  <a:lnTo>
                    <a:pt x="1176" y="36"/>
                  </a:lnTo>
                  <a:lnTo>
                    <a:pt x="1188" y="42"/>
                  </a:lnTo>
                  <a:lnTo>
                    <a:pt x="1200" y="54"/>
                  </a:lnTo>
                  <a:lnTo>
                    <a:pt x="1224" y="84"/>
                  </a:lnTo>
                  <a:lnTo>
                    <a:pt x="1224" y="90"/>
                  </a:lnTo>
                  <a:lnTo>
                    <a:pt x="1236" y="96"/>
                  </a:lnTo>
                  <a:lnTo>
                    <a:pt x="1236" y="108"/>
                  </a:lnTo>
                  <a:lnTo>
                    <a:pt x="1248" y="114"/>
                  </a:lnTo>
                  <a:lnTo>
                    <a:pt x="1254" y="114"/>
                  </a:lnTo>
                  <a:lnTo>
                    <a:pt x="1260" y="114"/>
                  </a:lnTo>
                  <a:lnTo>
                    <a:pt x="1296" y="114"/>
                  </a:lnTo>
                  <a:lnTo>
                    <a:pt x="1302" y="114"/>
                  </a:lnTo>
                  <a:lnTo>
                    <a:pt x="1320" y="108"/>
                  </a:lnTo>
                  <a:lnTo>
                    <a:pt x="1326" y="108"/>
                  </a:lnTo>
                  <a:lnTo>
                    <a:pt x="1326" y="138"/>
                  </a:lnTo>
                  <a:lnTo>
                    <a:pt x="1326" y="210"/>
                  </a:lnTo>
                  <a:lnTo>
                    <a:pt x="1320" y="252"/>
                  </a:lnTo>
                  <a:lnTo>
                    <a:pt x="1320" y="270"/>
                  </a:lnTo>
                  <a:lnTo>
                    <a:pt x="1320" y="288"/>
                  </a:lnTo>
                  <a:lnTo>
                    <a:pt x="1320" y="318"/>
                  </a:lnTo>
                  <a:lnTo>
                    <a:pt x="1326" y="354"/>
                  </a:lnTo>
                  <a:lnTo>
                    <a:pt x="1326" y="372"/>
                  </a:lnTo>
                  <a:lnTo>
                    <a:pt x="1332" y="420"/>
                  </a:lnTo>
                  <a:lnTo>
                    <a:pt x="1332" y="450"/>
                  </a:lnTo>
                  <a:lnTo>
                    <a:pt x="1338" y="480"/>
                  </a:lnTo>
                  <a:lnTo>
                    <a:pt x="1344" y="486"/>
                  </a:lnTo>
                  <a:lnTo>
                    <a:pt x="1338" y="492"/>
                  </a:lnTo>
                  <a:lnTo>
                    <a:pt x="1344" y="492"/>
                  </a:lnTo>
                  <a:lnTo>
                    <a:pt x="1344" y="498"/>
                  </a:lnTo>
                  <a:lnTo>
                    <a:pt x="1350" y="498"/>
                  </a:lnTo>
                  <a:lnTo>
                    <a:pt x="1350" y="522"/>
                  </a:lnTo>
                  <a:lnTo>
                    <a:pt x="1362" y="564"/>
                  </a:lnTo>
                  <a:lnTo>
                    <a:pt x="1368" y="582"/>
                  </a:lnTo>
                  <a:lnTo>
                    <a:pt x="1380" y="600"/>
                  </a:lnTo>
                  <a:lnTo>
                    <a:pt x="1386" y="636"/>
                  </a:lnTo>
                  <a:lnTo>
                    <a:pt x="1380" y="660"/>
                  </a:lnTo>
                  <a:lnTo>
                    <a:pt x="1380" y="678"/>
                  </a:lnTo>
                  <a:lnTo>
                    <a:pt x="1380" y="684"/>
                  </a:lnTo>
                  <a:lnTo>
                    <a:pt x="1374" y="684"/>
                  </a:lnTo>
                  <a:lnTo>
                    <a:pt x="1368" y="690"/>
                  </a:lnTo>
                  <a:lnTo>
                    <a:pt x="1356" y="702"/>
                  </a:lnTo>
                  <a:lnTo>
                    <a:pt x="1350" y="708"/>
                  </a:lnTo>
                  <a:lnTo>
                    <a:pt x="1356" y="714"/>
                  </a:lnTo>
                  <a:lnTo>
                    <a:pt x="1368" y="726"/>
                  </a:lnTo>
                  <a:lnTo>
                    <a:pt x="1380" y="738"/>
                  </a:lnTo>
                  <a:lnTo>
                    <a:pt x="1386" y="744"/>
                  </a:lnTo>
                  <a:lnTo>
                    <a:pt x="1392" y="744"/>
                  </a:lnTo>
                  <a:lnTo>
                    <a:pt x="1410" y="750"/>
                  </a:lnTo>
                  <a:lnTo>
                    <a:pt x="1416" y="756"/>
                  </a:lnTo>
                  <a:lnTo>
                    <a:pt x="1422" y="756"/>
                  </a:lnTo>
                  <a:lnTo>
                    <a:pt x="1422" y="762"/>
                  </a:lnTo>
                  <a:lnTo>
                    <a:pt x="1428" y="774"/>
                  </a:lnTo>
                  <a:lnTo>
                    <a:pt x="1428" y="780"/>
                  </a:lnTo>
                  <a:lnTo>
                    <a:pt x="1434" y="780"/>
                  </a:lnTo>
                  <a:lnTo>
                    <a:pt x="1440" y="798"/>
                  </a:lnTo>
                  <a:lnTo>
                    <a:pt x="1422" y="816"/>
                  </a:lnTo>
                  <a:lnTo>
                    <a:pt x="1386" y="810"/>
                  </a:lnTo>
                  <a:lnTo>
                    <a:pt x="1380" y="816"/>
                  </a:lnTo>
                  <a:lnTo>
                    <a:pt x="1374" y="840"/>
                  </a:lnTo>
                  <a:lnTo>
                    <a:pt x="1350" y="852"/>
                  </a:lnTo>
                  <a:lnTo>
                    <a:pt x="1350" y="858"/>
                  </a:lnTo>
                  <a:lnTo>
                    <a:pt x="1350" y="864"/>
                  </a:lnTo>
                  <a:lnTo>
                    <a:pt x="1344" y="864"/>
                  </a:lnTo>
                  <a:lnTo>
                    <a:pt x="1338" y="870"/>
                  </a:lnTo>
                  <a:lnTo>
                    <a:pt x="1332" y="876"/>
                  </a:lnTo>
                  <a:lnTo>
                    <a:pt x="1314" y="876"/>
                  </a:lnTo>
                  <a:lnTo>
                    <a:pt x="1314" y="870"/>
                  </a:lnTo>
                  <a:lnTo>
                    <a:pt x="1308" y="870"/>
                  </a:lnTo>
                  <a:lnTo>
                    <a:pt x="1302" y="864"/>
                  </a:lnTo>
                  <a:lnTo>
                    <a:pt x="1296" y="864"/>
                  </a:lnTo>
                  <a:lnTo>
                    <a:pt x="1284" y="870"/>
                  </a:lnTo>
                  <a:lnTo>
                    <a:pt x="1266" y="870"/>
                  </a:lnTo>
                  <a:lnTo>
                    <a:pt x="1260" y="870"/>
                  </a:lnTo>
                  <a:lnTo>
                    <a:pt x="1248" y="876"/>
                  </a:lnTo>
                  <a:lnTo>
                    <a:pt x="1236" y="876"/>
                  </a:lnTo>
                  <a:lnTo>
                    <a:pt x="1230" y="882"/>
                  </a:lnTo>
                  <a:lnTo>
                    <a:pt x="1224" y="894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18" y="942"/>
                  </a:lnTo>
                  <a:lnTo>
                    <a:pt x="1212" y="948"/>
                  </a:lnTo>
                  <a:lnTo>
                    <a:pt x="1200" y="984"/>
                  </a:lnTo>
                  <a:lnTo>
                    <a:pt x="1194" y="1008"/>
                  </a:lnTo>
                  <a:lnTo>
                    <a:pt x="1218" y="1038"/>
                  </a:lnTo>
                  <a:lnTo>
                    <a:pt x="1224" y="1044"/>
                  </a:lnTo>
                  <a:lnTo>
                    <a:pt x="1224" y="1062"/>
                  </a:lnTo>
                  <a:lnTo>
                    <a:pt x="1236" y="1080"/>
                  </a:lnTo>
                  <a:lnTo>
                    <a:pt x="1236" y="1086"/>
                  </a:lnTo>
                  <a:lnTo>
                    <a:pt x="1230" y="1092"/>
                  </a:lnTo>
                  <a:lnTo>
                    <a:pt x="1224" y="1110"/>
                  </a:lnTo>
                  <a:lnTo>
                    <a:pt x="1218" y="1122"/>
                  </a:lnTo>
                  <a:lnTo>
                    <a:pt x="1224" y="1140"/>
                  </a:lnTo>
                  <a:lnTo>
                    <a:pt x="1218" y="1146"/>
                  </a:lnTo>
                  <a:lnTo>
                    <a:pt x="1218" y="1152"/>
                  </a:lnTo>
                  <a:lnTo>
                    <a:pt x="1212" y="116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1" name="Freeform 36">
              <a:extLst>
                <a:ext uri="{FF2B5EF4-FFF2-40B4-BE49-F238E27FC236}">
                  <a16:creationId xmlns:a16="http://schemas.microsoft.com/office/drawing/2014/main" id="{B9C0D6BE-CB1C-4E69-B224-1ABF097AA8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90208" y="1647855"/>
              <a:ext cx="742415" cy="758173"/>
            </a:xfrm>
            <a:custGeom>
              <a:avLst/>
              <a:gdLst>
                <a:gd name="T0" fmla="*/ 75 w 1398"/>
                <a:gd name="T1" fmla="*/ 48 h 1428"/>
                <a:gd name="T2" fmla="*/ 68 w 1398"/>
                <a:gd name="T3" fmla="*/ 54 h 1428"/>
                <a:gd name="T4" fmla="*/ 57 w 1398"/>
                <a:gd name="T5" fmla="*/ 59 h 1428"/>
                <a:gd name="T6" fmla="*/ 55 w 1398"/>
                <a:gd name="T7" fmla="*/ 68 h 1428"/>
                <a:gd name="T8" fmla="*/ 55 w 1398"/>
                <a:gd name="T9" fmla="*/ 77 h 1428"/>
                <a:gd name="T10" fmla="*/ 57 w 1398"/>
                <a:gd name="T11" fmla="*/ 81 h 1428"/>
                <a:gd name="T12" fmla="*/ 56 w 1398"/>
                <a:gd name="T13" fmla="*/ 86 h 1428"/>
                <a:gd name="T14" fmla="*/ 57 w 1398"/>
                <a:gd name="T15" fmla="*/ 89 h 1428"/>
                <a:gd name="T16" fmla="*/ 58 w 1398"/>
                <a:gd name="T17" fmla="*/ 92 h 1428"/>
                <a:gd name="T18" fmla="*/ 58 w 1398"/>
                <a:gd name="T19" fmla="*/ 96 h 1428"/>
                <a:gd name="T20" fmla="*/ 49 w 1398"/>
                <a:gd name="T21" fmla="*/ 100 h 1428"/>
                <a:gd name="T22" fmla="*/ 47 w 1398"/>
                <a:gd name="T23" fmla="*/ 108 h 1428"/>
                <a:gd name="T24" fmla="*/ 48 w 1398"/>
                <a:gd name="T25" fmla="*/ 113 h 1428"/>
                <a:gd name="T26" fmla="*/ 43 w 1398"/>
                <a:gd name="T27" fmla="*/ 114 h 1428"/>
                <a:gd name="T28" fmla="*/ 39 w 1398"/>
                <a:gd name="T29" fmla="*/ 113 h 1428"/>
                <a:gd name="T30" fmla="*/ 33 w 1398"/>
                <a:gd name="T31" fmla="*/ 109 h 1428"/>
                <a:gd name="T32" fmla="*/ 29 w 1398"/>
                <a:gd name="T33" fmla="*/ 114 h 1428"/>
                <a:gd name="T34" fmla="*/ 22 w 1398"/>
                <a:gd name="T35" fmla="*/ 115 h 1428"/>
                <a:gd name="T36" fmla="*/ 21 w 1398"/>
                <a:gd name="T37" fmla="*/ 121 h 1428"/>
                <a:gd name="T38" fmla="*/ 12 w 1398"/>
                <a:gd name="T39" fmla="*/ 119 h 1428"/>
                <a:gd name="T40" fmla="*/ 9 w 1398"/>
                <a:gd name="T41" fmla="*/ 113 h 1428"/>
                <a:gd name="T42" fmla="*/ 2 w 1398"/>
                <a:gd name="T43" fmla="*/ 109 h 1428"/>
                <a:gd name="T44" fmla="*/ 4 w 1398"/>
                <a:gd name="T45" fmla="*/ 103 h 1428"/>
                <a:gd name="T46" fmla="*/ 2 w 1398"/>
                <a:gd name="T47" fmla="*/ 91 h 1428"/>
                <a:gd name="T48" fmla="*/ 6 w 1398"/>
                <a:gd name="T49" fmla="*/ 85 h 1428"/>
                <a:gd name="T50" fmla="*/ 10 w 1398"/>
                <a:gd name="T51" fmla="*/ 85 h 1428"/>
                <a:gd name="T52" fmla="*/ 15 w 1398"/>
                <a:gd name="T53" fmla="*/ 82 h 1428"/>
                <a:gd name="T54" fmla="*/ 20 w 1398"/>
                <a:gd name="T55" fmla="*/ 77 h 1428"/>
                <a:gd name="T56" fmla="*/ 16 w 1398"/>
                <a:gd name="T57" fmla="*/ 73 h 1428"/>
                <a:gd name="T58" fmla="*/ 16 w 1398"/>
                <a:gd name="T59" fmla="*/ 69 h 1428"/>
                <a:gd name="T60" fmla="*/ 14 w 1398"/>
                <a:gd name="T61" fmla="*/ 54 h 1428"/>
                <a:gd name="T62" fmla="*/ 12 w 1398"/>
                <a:gd name="T63" fmla="*/ 48 h 1428"/>
                <a:gd name="T64" fmla="*/ 11 w 1398"/>
                <a:gd name="T65" fmla="*/ 31 h 1428"/>
                <a:gd name="T66" fmla="*/ 14 w 1398"/>
                <a:gd name="T67" fmla="*/ 18 h 1428"/>
                <a:gd name="T68" fmla="*/ 19 w 1398"/>
                <a:gd name="T69" fmla="*/ 15 h 1428"/>
                <a:gd name="T70" fmla="*/ 26 w 1398"/>
                <a:gd name="T71" fmla="*/ 13 h 1428"/>
                <a:gd name="T72" fmla="*/ 34 w 1398"/>
                <a:gd name="T73" fmla="*/ 12 h 1428"/>
                <a:gd name="T74" fmla="*/ 39 w 1398"/>
                <a:gd name="T75" fmla="*/ 9 h 1428"/>
                <a:gd name="T76" fmla="*/ 43 w 1398"/>
                <a:gd name="T77" fmla="*/ 7 h 1428"/>
                <a:gd name="T78" fmla="*/ 48 w 1398"/>
                <a:gd name="T79" fmla="*/ 3 h 1428"/>
                <a:gd name="T80" fmla="*/ 54 w 1398"/>
                <a:gd name="T81" fmla="*/ 0 h 1428"/>
                <a:gd name="T82" fmla="*/ 58 w 1398"/>
                <a:gd name="T83" fmla="*/ 0 h 1428"/>
                <a:gd name="T84" fmla="*/ 66 w 1398"/>
                <a:gd name="T85" fmla="*/ 2 h 1428"/>
                <a:gd name="T86" fmla="*/ 70 w 1398"/>
                <a:gd name="T87" fmla="*/ 3 h 1428"/>
                <a:gd name="T88" fmla="*/ 75 w 1398"/>
                <a:gd name="T89" fmla="*/ 6 h 1428"/>
                <a:gd name="T90" fmla="*/ 80 w 1398"/>
                <a:gd name="T91" fmla="*/ 9 h 1428"/>
                <a:gd name="T92" fmla="*/ 83 w 1398"/>
                <a:gd name="T93" fmla="*/ 12 h 1428"/>
                <a:gd name="T94" fmla="*/ 87 w 1398"/>
                <a:gd name="T95" fmla="*/ 15 h 1428"/>
                <a:gd name="T96" fmla="*/ 94 w 1398"/>
                <a:gd name="T97" fmla="*/ 15 h 1428"/>
                <a:gd name="T98" fmla="*/ 99 w 1398"/>
                <a:gd name="T99" fmla="*/ 21 h 1428"/>
                <a:gd name="T100" fmla="*/ 103 w 1398"/>
                <a:gd name="T101" fmla="*/ 23 h 1428"/>
                <a:gd name="T102" fmla="*/ 110 w 1398"/>
                <a:gd name="T103" fmla="*/ 26 h 1428"/>
                <a:gd name="T104" fmla="*/ 116 w 1398"/>
                <a:gd name="T105" fmla="*/ 27 h 1428"/>
                <a:gd name="T106" fmla="*/ 120 w 1398"/>
                <a:gd name="T107" fmla="*/ 27 h 1428"/>
                <a:gd name="T108" fmla="*/ 116 w 1398"/>
                <a:gd name="T109" fmla="*/ 35 h 1428"/>
                <a:gd name="T110" fmla="*/ 104 w 1398"/>
                <a:gd name="T111" fmla="*/ 37 h 1428"/>
                <a:gd name="T112" fmla="*/ 97 w 1398"/>
                <a:gd name="T113" fmla="*/ 34 h 1428"/>
                <a:gd name="T114" fmla="*/ 91 w 1398"/>
                <a:gd name="T115" fmla="*/ 29 h 1428"/>
                <a:gd name="T116" fmla="*/ 75 w 1398"/>
                <a:gd name="T117" fmla="*/ 29 h 1428"/>
                <a:gd name="T118" fmla="*/ 72 w 1398"/>
                <a:gd name="T119" fmla="*/ 39 h 1428"/>
                <a:gd name="T120" fmla="*/ 80 w 1398"/>
                <a:gd name="T121" fmla="*/ 41 h 142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98"/>
                <a:gd name="T184" fmla="*/ 0 h 1428"/>
                <a:gd name="T185" fmla="*/ 1398 w 1398"/>
                <a:gd name="T186" fmla="*/ 1428 h 142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98" h="1428">
                  <a:moveTo>
                    <a:pt x="924" y="474"/>
                  </a:moveTo>
                  <a:lnTo>
                    <a:pt x="900" y="480"/>
                  </a:lnTo>
                  <a:lnTo>
                    <a:pt x="864" y="486"/>
                  </a:lnTo>
                  <a:lnTo>
                    <a:pt x="864" y="504"/>
                  </a:lnTo>
                  <a:lnTo>
                    <a:pt x="858" y="522"/>
                  </a:lnTo>
                  <a:lnTo>
                    <a:pt x="864" y="528"/>
                  </a:lnTo>
                  <a:lnTo>
                    <a:pt x="864" y="552"/>
                  </a:lnTo>
                  <a:lnTo>
                    <a:pt x="852" y="552"/>
                  </a:lnTo>
                  <a:lnTo>
                    <a:pt x="846" y="564"/>
                  </a:lnTo>
                  <a:lnTo>
                    <a:pt x="840" y="582"/>
                  </a:lnTo>
                  <a:lnTo>
                    <a:pt x="834" y="594"/>
                  </a:lnTo>
                  <a:lnTo>
                    <a:pt x="828" y="606"/>
                  </a:lnTo>
                  <a:lnTo>
                    <a:pt x="828" y="618"/>
                  </a:lnTo>
                  <a:lnTo>
                    <a:pt x="786" y="630"/>
                  </a:lnTo>
                  <a:lnTo>
                    <a:pt x="774" y="636"/>
                  </a:lnTo>
                  <a:lnTo>
                    <a:pt x="762" y="642"/>
                  </a:lnTo>
                  <a:lnTo>
                    <a:pt x="744" y="648"/>
                  </a:lnTo>
                  <a:lnTo>
                    <a:pt x="714" y="660"/>
                  </a:lnTo>
                  <a:lnTo>
                    <a:pt x="696" y="666"/>
                  </a:lnTo>
                  <a:lnTo>
                    <a:pt x="666" y="672"/>
                  </a:lnTo>
                  <a:lnTo>
                    <a:pt x="654" y="684"/>
                  </a:lnTo>
                  <a:lnTo>
                    <a:pt x="648" y="684"/>
                  </a:lnTo>
                  <a:lnTo>
                    <a:pt x="642" y="696"/>
                  </a:lnTo>
                  <a:lnTo>
                    <a:pt x="636" y="696"/>
                  </a:lnTo>
                  <a:lnTo>
                    <a:pt x="630" y="714"/>
                  </a:lnTo>
                  <a:lnTo>
                    <a:pt x="624" y="738"/>
                  </a:lnTo>
                  <a:lnTo>
                    <a:pt x="624" y="762"/>
                  </a:lnTo>
                  <a:lnTo>
                    <a:pt x="630" y="780"/>
                  </a:lnTo>
                  <a:lnTo>
                    <a:pt x="636" y="804"/>
                  </a:lnTo>
                  <a:lnTo>
                    <a:pt x="642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6" y="834"/>
                  </a:lnTo>
                  <a:lnTo>
                    <a:pt x="636" y="870"/>
                  </a:lnTo>
                  <a:lnTo>
                    <a:pt x="636" y="882"/>
                  </a:lnTo>
                  <a:lnTo>
                    <a:pt x="636" y="906"/>
                  </a:lnTo>
                  <a:lnTo>
                    <a:pt x="630" y="906"/>
                  </a:lnTo>
                  <a:lnTo>
                    <a:pt x="636" y="918"/>
                  </a:lnTo>
                  <a:lnTo>
                    <a:pt x="642" y="918"/>
                  </a:lnTo>
                  <a:lnTo>
                    <a:pt x="642" y="930"/>
                  </a:lnTo>
                  <a:lnTo>
                    <a:pt x="648" y="936"/>
                  </a:lnTo>
                  <a:lnTo>
                    <a:pt x="654" y="936"/>
                  </a:lnTo>
                  <a:lnTo>
                    <a:pt x="654" y="942"/>
                  </a:lnTo>
                  <a:lnTo>
                    <a:pt x="654" y="948"/>
                  </a:lnTo>
                  <a:lnTo>
                    <a:pt x="648" y="954"/>
                  </a:lnTo>
                  <a:lnTo>
                    <a:pt x="648" y="960"/>
                  </a:lnTo>
                  <a:lnTo>
                    <a:pt x="648" y="966"/>
                  </a:lnTo>
                  <a:lnTo>
                    <a:pt x="648" y="972"/>
                  </a:lnTo>
                  <a:lnTo>
                    <a:pt x="648" y="990"/>
                  </a:lnTo>
                  <a:lnTo>
                    <a:pt x="654" y="996"/>
                  </a:lnTo>
                  <a:lnTo>
                    <a:pt x="648" y="1002"/>
                  </a:lnTo>
                  <a:lnTo>
                    <a:pt x="648" y="1008"/>
                  </a:lnTo>
                  <a:lnTo>
                    <a:pt x="654" y="1014"/>
                  </a:lnTo>
                  <a:lnTo>
                    <a:pt x="654" y="1020"/>
                  </a:lnTo>
                  <a:lnTo>
                    <a:pt x="654" y="1026"/>
                  </a:lnTo>
                  <a:lnTo>
                    <a:pt x="660" y="1026"/>
                  </a:lnTo>
                  <a:lnTo>
                    <a:pt x="660" y="1032"/>
                  </a:lnTo>
                  <a:lnTo>
                    <a:pt x="660" y="1038"/>
                  </a:lnTo>
                  <a:lnTo>
                    <a:pt x="666" y="1044"/>
                  </a:lnTo>
                  <a:lnTo>
                    <a:pt x="672" y="1050"/>
                  </a:lnTo>
                  <a:lnTo>
                    <a:pt x="672" y="1056"/>
                  </a:lnTo>
                  <a:lnTo>
                    <a:pt x="672" y="1062"/>
                  </a:lnTo>
                  <a:lnTo>
                    <a:pt x="672" y="1068"/>
                  </a:lnTo>
                  <a:lnTo>
                    <a:pt x="672" y="1074"/>
                  </a:lnTo>
                  <a:lnTo>
                    <a:pt x="678" y="1074"/>
                  </a:lnTo>
                  <a:lnTo>
                    <a:pt x="678" y="1080"/>
                  </a:lnTo>
                  <a:lnTo>
                    <a:pt x="678" y="1086"/>
                  </a:lnTo>
                  <a:lnTo>
                    <a:pt x="672" y="1092"/>
                  </a:lnTo>
                  <a:lnTo>
                    <a:pt x="672" y="1098"/>
                  </a:lnTo>
                  <a:lnTo>
                    <a:pt x="672" y="1104"/>
                  </a:lnTo>
                  <a:lnTo>
                    <a:pt x="666" y="1116"/>
                  </a:lnTo>
                  <a:lnTo>
                    <a:pt x="624" y="1122"/>
                  </a:lnTo>
                  <a:lnTo>
                    <a:pt x="576" y="1134"/>
                  </a:lnTo>
                  <a:lnTo>
                    <a:pt x="570" y="1140"/>
                  </a:lnTo>
                  <a:lnTo>
                    <a:pt x="570" y="1146"/>
                  </a:lnTo>
                  <a:lnTo>
                    <a:pt x="564" y="1146"/>
                  </a:lnTo>
                  <a:lnTo>
                    <a:pt x="564" y="1152"/>
                  </a:lnTo>
                  <a:lnTo>
                    <a:pt x="564" y="1164"/>
                  </a:lnTo>
                  <a:lnTo>
                    <a:pt x="564" y="1170"/>
                  </a:lnTo>
                  <a:lnTo>
                    <a:pt x="564" y="1176"/>
                  </a:lnTo>
                  <a:lnTo>
                    <a:pt x="546" y="1176"/>
                  </a:lnTo>
                  <a:lnTo>
                    <a:pt x="540" y="1212"/>
                  </a:lnTo>
                  <a:lnTo>
                    <a:pt x="540" y="1230"/>
                  </a:lnTo>
                  <a:lnTo>
                    <a:pt x="546" y="1242"/>
                  </a:lnTo>
                  <a:lnTo>
                    <a:pt x="546" y="1254"/>
                  </a:lnTo>
                  <a:lnTo>
                    <a:pt x="558" y="1266"/>
                  </a:lnTo>
                  <a:lnTo>
                    <a:pt x="576" y="1272"/>
                  </a:lnTo>
                  <a:lnTo>
                    <a:pt x="570" y="1278"/>
                  </a:lnTo>
                  <a:lnTo>
                    <a:pt x="576" y="1284"/>
                  </a:lnTo>
                  <a:lnTo>
                    <a:pt x="570" y="1296"/>
                  </a:lnTo>
                  <a:lnTo>
                    <a:pt x="558" y="1302"/>
                  </a:lnTo>
                  <a:lnTo>
                    <a:pt x="540" y="1308"/>
                  </a:lnTo>
                  <a:lnTo>
                    <a:pt x="522" y="1314"/>
                  </a:lnTo>
                  <a:lnTo>
                    <a:pt x="516" y="1314"/>
                  </a:lnTo>
                  <a:lnTo>
                    <a:pt x="510" y="1314"/>
                  </a:lnTo>
                  <a:lnTo>
                    <a:pt x="504" y="1314"/>
                  </a:lnTo>
                  <a:lnTo>
                    <a:pt x="498" y="1320"/>
                  </a:lnTo>
                  <a:lnTo>
                    <a:pt x="492" y="1320"/>
                  </a:lnTo>
                  <a:lnTo>
                    <a:pt x="492" y="1326"/>
                  </a:lnTo>
                  <a:lnTo>
                    <a:pt x="486" y="1326"/>
                  </a:lnTo>
                  <a:lnTo>
                    <a:pt x="480" y="1326"/>
                  </a:lnTo>
                  <a:lnTo>
                    <a:pt x="480" y="1320"/>
                  </a:lnTo>
                  <a:lnTo>
                    <a:pt x="468" y="1314"/>
                  </a:lnTo>
                  <a:lnTo>
                    <a:pt x="462" y="1308"/>
                  </a:lnTo>
                  <a:lnTo>
                    <a:pt x="456" y="1302"/>
                  </a:lnTo>
                  <a:lnTo>
                    <a:pt x="444" y="1296"/>
                  </a:lnTo>
                  <a:lnTo>
                    <a:pt x="420" y="1290"/>
                  </a:lnTo>
                  <a:lnTo>
                    <a:pt x="414" y="1278"/>
                  </a:lnTo>
                  <a:lnTo>
                    <a:pt x="408" y="1278"/>
                  </a:lnTo>
                  <a:lnTo>
                    <a:pt x="408" y="1266"/>
                  </a:lnTo>
                  <a:lnTo>
                    <a:pt x="402" y="1260"/>
                  </a:lnTo>
                  <a:lnTo>
                    <a:pt x="384" y="1260"/>
                  </a:lnTo>
                  <a:lnTo>
                    <a:pt x="372" y="1266"/>
                  </a:lnTo>
                  <a:lnTo>
                    <a:pt x="360" y="1272"/>
                  </a:lnTo>
                  <a:lnTo>
                    <a:pt x="348" y="1272"/>
                  </a:lnTo>
                  <a:lnTo>
                    <a:pt x="342" y="1284"/>
                  </a:lnTo>
                  <a:lnTo>
                    <a:pt x="336" y="1290"/>
                  </a:lnTo>
                  <a:lnTo>
                    <a:pt x="336" y="1308"/>
                  </a:lnTo>
                  <a:lnTo>
                    <a:pt x="336" y="1314"/>
                  </a:lnTo>
                  <a:lnTo>
                    <a:pt x="336" y="1320"/>
                  </a:lnTo>
                  <a:lnTo>
                    <a:pt x="330" y="1326"/>
                  </a:lnTo>
                  <a:lnTo>
                    <a:pt x="330" y="1332"/>
                  </a:lnTo>
                  <a:lnTo>
                    <a:pt x="330" y="1338"/>
                  </a:lnTo>
                  <a:lnTo>
                    <a:pt x="300" y="1338"/>
                  </a:lnTo>
                  <a:lnTo>
                    <a:pt x="288" y="1338"/>
                  </a:lnTo>
                  <a:lnTo>
                    <a:pt x="258" y="1326"/>
                  </a:lnTo>
                  <a:lnTo>
                    <a:pt x="246" y="1332"/>
                  </a:lnTo>
                  <a:lnTo>
                    <a:pt x="240" y="1338"/>
                  </a:lnTo>
                  <a:lnTo>
                    <a:pt x="234" y="1338"/>
                  </a:lnTo>
                  <a:lnTo>
                    <a:pt x="228" y="1350"/>
                  </a:lnTo>
                  <a:lnTo>
                    <a:pt x="228" y="1374"/>
                  </a:lnTo>
                  <a:lnTo>
                    <a:pt x="234" y="1392"/>
                  </a:lnTo>
                  <a:lnTo>
                    <a:pt x="246" y="1398"/>
                  </a:lnTo>
                  <a:lnTo>
                    <a:pt x="246" y="1410"/>
                  </a:lnTo>
                  <a:lnTo>
                    <a:pt x="216" y="1428"/>
                  </a:lnTo>
                  <a:lnTo>
                    <a:pt x="198" y="1428"/>
                  </a:lnTo>
                  <a:lnTo>
                    <a:pt x="192" y="1422"/>
                  </a:lnTo>
                  <a:lnTo>
                    <a:pt x="174" y="1410"/>
                  </a:lnTo>
                  <a:lnTo>
                    <a:pt x="156" y="1386"/>
                  </a:lnTo>
                  <a:lnTo>
                    <a:pt x="132" y="1374"/>
                  </a:lnTo>
                  <a:lnTo>
                    <a:pt x="108" y="1368"/>
                  </a:lnTo>
                  <a:lnTo>
                    <a:pt x="84" y="1368"/>
                  </a:lnTo>
                  <a:lnTo>
                    <a:pt x="96" y="1356"/>
                  </a:lnTo>
                  <a:lnTo>
                    <a:pt x="102" y="1344"/>
                  </a:lnTo>
                  <a:lnTo>
                    <a:pt x="102" y="1332"/>
                  </a:lnTo>
                  <a:lnTo>
                    <a:pt x="108" y="1320"/>
                  </a:lnTo>
                  <a:lnTo>
                    <a:pt x="108" y="1302"/>
                  </a:lnTo>
                  <a:lnTo>
                    <a:pt x="96" y="1278"/>
                  </a:lnTo>
                  <a:lnTo>
                    <a:pt x="66" y="1284"/>
                  </a:lnTo>
                  <a:lnTo>
                    <a:pt x="54" y="1278"/>
                  </a:lnTo>
                  <a:lnTo>
                    <a:pt x="36" y="1278"/>
                  </a:lnTo>
                  <a:lnTo>
                    <a:pt x="18" y="1284"/>
                  </a:lnTo>
                  <a:lnTo>
                    <a:pt x="18" y="1272"/>
                  </a:lnTo>
                  <a:lnTo>
                    <a:pt x="24" y="1260"/>
                  </a:lnTo>
                  <a:lnTo>
                    <a:pt x="24" y="1254"/>
                  </a:lnTo>
                  <a:lnTo>
                    <a:pt x="30" y="1248"/>
                  </a:lnTo>
                  <a:lnTo>
                    <a:pt x="24" y="1230"/>
                  </a:lnTo>
                  <a:lnTo>
                    <a:pt x="30" y="1218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30" y="1170"/>
                  </a:lnTo>
                  <a:lnTo>
                    <a:pt x="30" y="1152"/>
                  </a:lnTo>
                  <a:lnTo>
                    <a:pt x="24" y="1146"/>
                  </a:lnTo>
                  <a:lnTo>
                    <a:pt x="0" y="1116"/>
                  </a:lnTo>
                  <a:lnTo>
                    <a:pt x="6" y="1092"/>
                  </a:lnTo>
                  <a:lnTo>
                    <a:pt x="18" y="1056"/>
                  </a:lnTo>
                  <a:lnTo>
                    <a:pt x="24" y="1050"/>
                  </a:lnTo>
                  <a:lnTo>
                    <a:pt x="24" y="1038"/>
                  </a:lnTo>
                  <a:lnTo>
                    <a:pt x="24" y="1026"/>
                  </a:lnTo>
                  <a:lnTo>
                    <a:pt x="30" y="1002"/>
                  </a:lnTo>
                  <a:lnTo>
                    <a:pt x="36" y="990"/>
                  </a:lnTo>
                  <a:lnTo>
                    <a:pt x="42" y="984"/>
                  </a:lnTo>
                  <a:lnTo>
                    <a:pt x="54" y="984"/>
                  </a:lnTo>
                  <a:lnTo>
                    <a:pt x="66" y="978"/>
                  </a:lnTo>
                  <a:lnTo>
                    <a:pt x="72" y="978"/>
                  </a:lnTo>
                  <a:lnTo>
                    <a:pt x="90" y="978"/>
                  </a:lnTo>
                  <a:lnTo>
                    <a:pt x="102" y="972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78"/>
                  </a:lnTo>
                  <a:lnTo>
                    <a:pt x="120" y="984"/>
                  </a:lnTo>
                  <a:lnTo>
                    <a:pt x="138" y="984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6" y="972"/>
                  </a:lnTo>
                  <a:lnTo>
                    <a:pt x="156" y="966"/>
                  </a:lnTo>
                  <a:lnTo>
                    <a:pt x="156" y="960"/>
                  </a:lnTo>
                  <a:lnTo>
                    <a:pt x="180" y="948"/>
                  </a:lnTo>
                  <a:lnTo>
                    <a:pt x="186" y="924"/>
                  </a:lnTo>
                  <a:lnTo>
                    <a:pt x="192" y="918"/>
                  </a:lnTo>
                  <a:lnTo>
                    <a:pt x="228" y="924"/>
                  </a:lnTo>
                  <a:lnTo>
                    <a:pt x="246" y="906"/>
                  </a:lnTo>
                  <a:lnTo>
                    <a:pt x="240" y="888"/>
                  </a:lnTo>
                  <a:lnTo>
                    <a:pt x="234" y="888"/>
                  </a:lnTo>
                  <a:lnTo>
                    <a:pt x="234" y="882"/>
                  </a:lnTo>
                  <a:lnTo>
                    <a:pt x="228" y="870"/>
                  </a:lnTo>
                  <a:lnTo>
                    <a:pt x="228" y="864"/>
                  </a:lnTo>
                  <a:lnTo>
                    <a:pt x="222" y="864"/>
                  </a:lnTo>
                  <a:lnTo>
                    <a:pt x="216" y="858"/>
                  </a:lnTo>
                  <a:lnTo>
                    <a:pt x="198" y="852"/>
                  </a:lnTo>
                  <a:lnTo>
                    <a:pt x="192" y="852"/>
                  </a:lnTo>
                  <a:lnTo>
                    <a:pt x="186" y="846"/>
                  </a:lnTo>
                  <a:lnTo>
                    <a:pt x="174" y="834"/>
                  </a:lnTo>
                  <a:lnTo>
                    <a:pt x="162" y="822"/>
                  </a:lnTo>
                  <a:lnTo>
                    <a:pt x="156" y="816"/>
                  </a:lnTo>
                  <a:lnTo>
                    <a:pt x="162" y="810"/>
                  </a:lnTo>
                  <a:lnTo>
                    <a:pt x="174" y="798"/>
                  </a:lnTo>
                  <a:lnTo>
                    <a:pt x="180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68"/>
                  </a:lnTo>
                  <a:lnTo>
                    <a:pt x="192" y="744"/>
                  </a:lnTo>
                  <a:lnTo>
                    <a:pt x="186" y="708"/>
                  </a:lnTo>
                  <a:lnTo>
                    <a:pt x="174" y="690"/>
                  </a:lnTo>
                  <a:lnTo>
                    <a:pt x="168" y="672"/>
                  </a:lnTo>
                  <a:lnTo>
                    <a:pt x="156" y="630"/>
                  </a:lnTo>
                  <a:lnTo>
                    <a:pt x="156" y="606"/>
                  </a:lnTo>
                  <a:lnTo>
                    <a:pt x="150" y="606"/>
                  </a:lnTo>
                  <a:lnTo>
                    <a:pt x="150" y="600"/>
                  </a:lnTo>
                  <a:lnTo>
                    <a:pt x="144" y="600"/>
                  </a:lnTo>
                  <a:lnTo>
                    <a:pt x="150" y="594"/>
                  </a:lnTo>
                  <a:lnTo>
                    <a:pt x="144" y="588"/>
                  </a:lnTo>
                  <a:lnTo>
                    <a:pt x="138" y="558"/>
                  </a:lnTo>
                  <a:lnTo>
                    <a:pt x="138" y="528"/>
                  </a:lnTo>
                  <a:lnTo>
                    <a:pt x="132" y="480"/>
                  </a:lnTo>
                  <a:lnTo>
                    <a:pt x="132" y="462"/>
                  </a:lnTo>
                  <a:lnTo>
                    <a:pt x="126" y="426"/>
                  </a:lnTo>
                  <a:lnTo>
                    <a:pt x="126" y="396"/>
                  </a:lnTo>
                  <a:lnTo>
                    <a:pt x="126" y="378"/>
                  </a:lnTo>
                  <a:lnTo>
                    <a:pt x="126" y="360"/>
                  </a:lnTo>
                  <a:lnTo>
                    <a:pt x="132" y="318"/>
                  </a:lnTo>
                  <a:lnTo>
                    <a:pt x="132" y="24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2" y="210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92" y="198"/>
                  </a:lnTo>
                  <a:lnTo>
                    <a:pt x="198" y="198"/>
                  </a:lnTo>
                  <a:lnTo>
                    <a:pt x="216" y="180"/>
                  </a:lnTo>
                  <a:lnTo>
                    <a:pt x="222" y="174"/>
                  </a:lnTo>
                  <a:lnTo>
                    <a:pt x="222" y="168"/>
                  </a:lnTo>
                  <a:lnTo>
                    <a:pt x="228" y="168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44"/>
                  </a:lnTo>
                  <a:lnTo>
                    <a:pt x="258" y="144"/>
                  </a:lnTo>
                  <a:lnTo>
                    <a:pt x="276" y="150"/>
                  </a:lnTo>
                  <a:lnTo>
                    <a:pt x="300" y="150"/>
                  </a:lnTo>
                  <a:lnTo>
                    <a:pt x="312" y="150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8" y="156"/>
                  </a:lnTo>
                  <a:lnTo>
                    <a:pt x="354" y="150"/>
                  </a:lnTo>
                  <a:lnTo>
                    <a:pt x="372" y="144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08" y="126"/>
                  </a:lnTo>
                  <a:lnTo>
                    <a:pt x="414" y="120"/>
                  </a:lnTo>
                  <a:lnTo>
                    <a:pt x="420" y="120"/>
                  </a:lnTo>
                  <a:lnTo>
                    <a:pt x="426" y="120"/>
                  </a:lnTo>
                  <a:lnTo>
                    <a:pt x="432" y="114"/>
                  </a:lnTo>
                  <a:lnTo>
                    <a:pt x="450" y="102"/>
                  </a:lnTo>
                  <a:lnTo>
                    <a:pt x="456" y="96"/>
                  </a:lnTo>
                  <a:lnTo>
                    <a:pt x="468" y="90"/>
                  </a:lnTo>
                  <a:lnTo>
                    <a:pt x="474" y="90"/>
                  </a:lnTo>
                  <a:lnTo>
                    <a:pt x="480" y="84"/>
                  </a:lnTo>
                  <a:lnTo>
                    <a:pt x="486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504" y="72"/>
                  </a:lnTo>
                  <a:lnTo>
                    <a:pt x="510" y="66"/>
                  </a:lnTo>
                  <a:lnTo>
                    <a:pt x="516" y="66"/>
                  </a:lnTo>
                  <a:lnTo>
                    <a:pt x="522" y="60"/>
                  </a:lnTo>
                  <a:lnTo>
                    <a:pt x="552" y="42"/>
                  </a:lnTo>
                  <a:lnTo>
                    <a:pt x="558" y="36"/>
                  </a:lnTo>
                  <a:lnTo>
                    <a:pt x="576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94" y="18"/>
                  </a:lnTo>
                  <a:lnTo>
                    <a:pt x="600" y="12"/>
                  </a:lnTo>
                  <a:lnTo>
                    <a:pt x="612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6"/>
                  </a:lnTo>
                  <a:lnTo>
                    <a:pt x="648" y="6"/>
                  </a:lnTo>
                  <a:lnTo>
                    <a:pt x="660" y="6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38" y="18"/>
                  </a:lnTo>
                  <a:lnTo>
                    <a:pt x="744" y="18"/>
                  </a:lnTo>
                  <a:lnTo>
                    <a:pt x="756" y="18"/>
                  </a:lnTo>
                  <a:lnTo>
                    <a:pt x="762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80" y="24"/>
                  </a:lnTo>
                  <a:lnTo>
                    <a:pt x="792" y="24"/>
                  </a:lnTo>
                  <a:lnTo>
                    <a:pt x="792" y="30"/>
                  </a:lnTo>
                  <a:lnTo>
                    <a:pt x="810" y="30"/>
                  </a:lnTo>
                  <a:lnTo>
                    <a:pt x="822" y="36"/>
                  </a:lnTo>
                  <a:lnTo>
                    <a:pt x="834" y="42"/>
                  </a:lnTo>
                  <a:lnTo>
                    <a:pt x="840" y="48"/>
                  </a:lnTo>
                  <a:lnTo>
                    <a:pt x="846" y="54"/>
                  </a:lnTo>
                  <a:lnTo>
                    <a:pt x="852" y="60"/>
                  </a:lnTo>
                  <a:lnTo>
                    <a:pt x="858" y="66"/>
                  </a:lnTo>
                  <a:lnTo>
                    <a:pt x="864" y="66"/>
                  </a:lnTo>
                  <a:lnTo>
                    <a:pt x="864" y="72"/>
                  </a:lnTo>
                  <a:lnTo>
                    <a:pt x="876" y="78"/>
                  </a:lnTo>
                  <a:lnTo>
                    <a:pt x="900" y="84"/>
                  </a:lnTo>
                  <a:lnTo>
                    <a:pt x="906" y="90"/>
                  </a:lnTo>
                  <a:lnTo>
                    <a:pt x="912" y="90"/>
                  </a:lnTo>
                  <a:lnTo>
                    <a:pt x="912" y="96"/>
                  </a:lnTo>
                  <a:lnTo>
                    <a:pt x="924" y="108"/>
                  </a:lnTo>
                  <a:lnTo>
                    <a:pt x="930" y="108"/>
                  </a:lnTo>
                  <a:lnTo>
                    <a:pt x="936" y="114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60" y="138"/>
                  </a:lnTo>
                  <a:lnTo>
                    <a:pt x="966" y="144"/>
                  </a:lnTo>
                  <a:lnTo>
                    <a:pt x="972" y="156"/>
                  </a:lnTo>
                  <a:lnTo>
                    <a:pt x="978" y="162"/>
                  </a:lnTo>
                  <a:lnTo>
                    <a:pt x="984" y="162"/>
                  </a:lnTo>
                  <a:lnTo>
                    <a:pt x="990" y="168"/>
                  </a:lnTo>
                  <a:lnTo>
                    <a:pt x="996" y="174"/>
                  </a:lnTo>
                  <a:lnTo>
                    <a:pt x="1002" y="180"/>
                  </a:lnTo>
                  <a:lnTo>
                    <a:pt x="1008" y="180"/>
                  </a:lnTo>
                  <a:lnTo>
                    <a:pt x="1020" y="180"/>
                  </a:lnTo>
                  <a:lnTo>
                    <a:pt x="1038" y="174"/>
                  </a:lnTo>
                  <a:lnTo>
                    <a:pt x="1050" y="174"/>
                  </a:lnTo>
                  <a:lnTo>
                    <a:pt x="1056" y="174"/>
                  </a:lnTo>
                  <a:lnTo>
                    <a:pt x="1068" y="180"/>
                  </a:lnTo>
                  <a:lnTo>
                    <a:pt x="1080" y="180"/>
                  </a:lnTo>
                  <a:lnTo>
                    <a:pt x="1086" y="186"/>
                  </a:lnTo>
                  <a:lnTo>
                    <a:pt x="1098" y="192"/>
                  </a:lnTo>
                  <a:lnTo>
                    <a:pt x="1116" y="204"/>
                  </a:lnTo>
                  <a:lnTo>
                    <a:pt x="1122" y="210"/>
                  </a:lnTo>
                  <a:lnTo>
                    <a:pt x="1134" y="222"/>
                  </a:lnTo>
                  <a:lnTo>
                    <a:pt x="1146" y="234"/>
                  </a:lnTo>
                  <a:lnTo>
                    <a:pt x="1146" y="240"/>
                  </a:lnTo>
                  <a:lnTo>
                    <a:pt x="1152" y="246"/>
                  </a:lnTo>
                  <a:lnTo>
                    <a:pt x="1152" y="252"/>
                  </a:lnTo>
                  <a:lnTo>
                    <a:pt x="1152" y="258"/>
                  </a:lnTo>
                  <a:lnTo>
                    <a:pt x="1164" y="258"/>
                  </a:lnTo>
                  <a:lnTo>
                    <a:pt x="1170" y="264"/>
                  </a:lnTo>
                  <a:lnTo>
                    <a:pt x="1182" y="270"/>
                  </a:lnTo>
                  <a:lnTo>
                    <a:pt x="1188" y="270"/>
                  </a:lnTo>
                  <a:lnTo>
                    <a:pt x="1194" y="270"/>
                  </a:lnTo>
                  <a:lnTo>
                    <a:pt x="1206" y="276"/>
                  </a:lnTo>
                  <a:lnTo>
                    <a:pt x="1224" y="282"/>
                  </a:lnTo>
                  <a:lnTo>
                    <a:pt x="1236" y="282"/>
                  </a:lnTo>
                  <a:lnTo>
                    <a:pt x="1242" y="288"/>
                  </a:lnTo>
                  <a:lnTo>
                    <a:pt x="1254" y="288"/>
                  </a:lnTo>
                  <a:lnTo>
                    <a:pt x="1266" y="294"/>
                  </a:lnTo>
                  <a:lnTo>
                    <a:pt x="1272" y="294"/>
                  </a:lnTo>
                  <a:lnTo>
                    <a:pt x="1284" y="300"/>
                  </a:lnTo>
                  <a:lnTo>
                    <a:pt x="1290" y="300"/>
                  </a:lnTo>
                  <a:lnTo>
                    <a:pt x="1296" y="300"/>
                  </a:lnTo>
                  <a:lnTo>
                    <a:pt x="1302" y="306"/>
                  </a:lnTo>
                  <a:lnTo>
                    <a:pt x="1326" y="312"/>
                  </a:lnTo>
                  <a:lnTo>
                    <a:pt x="1338" y="312"/>
                  </a:lnTo>
                  <a:lnTo>
                    <a:pt x="1338" y="318"/>
                  </a:lnTo>
                  <a:lnTo>
                    <a:pt x="1344" y="318"/>
                  </a:lnTo>
                  <a:lnTo>
                    <a:pt x="1350" y="318"/>
                  </a:lnTo>
                  <a:lnTo>
                    <a:pt x="1362" y="324"/>
                  </a:lnTo>
                  <a:lnTo>
                    <a:pt x="1368" y="318"/>
                  </a:lnTo>
                  <a:lnTo>
                    <a:pt x="1374" y="318"/>
                  </a:lnTo>
                  <a:lnTo>
                    <a:pt x="1386" y="318"/>
                  </a:lnTo>
                  <a:lnTo>
                    <a:pt x="1398" y="324"/>
                  </a:lnTo>
                  <a:lnTo>
                    <a:pt x="1398" y="342"/>
                  </a:lnTo>
                  <a:lnTo>
                    <a:pt x="1356" y="342"/>
                  </a:lnTo>
                  <a:lnTo>
                    <a:pt x="1350" y="348"/>
                  </a:lnTo>
                  <a:lnTo>
                    <a:pt x="1350" y="372"/>
                  </a:lnTo>
                  <a:lnTo>
                    <a:pt x="1338" y="384"/>
                  </a:lnTo>
                  <a:lnTo>
                    <a:pt x="1332" y="408"/>
                  </a:lnTo>
                  <a:lnTo>
                    <a:pt x="1320" y="420"/>
                  </a:lnTo>
                  <a:lnTo>
                    <a:pt x="1254" y="426"/>
                  </a:lnTo>
                  <a:lnTo>
                    <a:pt x="1248" y="432"/>
                  </a:lnTo>
                  <a:lnTo>
                    <a:pt x="1230" y="432"/>
                  </a:lnTo>
                  <a:lnTo>
                    <a:pt x="1212" y="432"/>
                  </a:lnTo>
                  <a:lnTo>
                    <a:pt x="1212" y="426"/>
                  </a:lnTo>
                  <a:lnTo>
                    <a:pt x="1200" y="426"/>
                  </a:lnTo>
                  <a:lnTo>
                    <a:pt x="1182" y="414"/>
                  </a:lnTo>
                  <a:lnTo>
                    <a:pt x="1182" y="420"/>
                  </a:lnTo>
                  <a:lnTo>
                    <a:pt x="1164" y="420"/>
                  </a:lnTo>
                  <a:lnTo>
                    <a:pt x="1158" y="414"/>
                  </a:lnTo>
                  <a:lnTo>
                    <a:pt x="1152" y="408"/>
                  </a:lnTo>
                  <a:lnTo>
                    <a:pt x="1146" y="402"/>
                  </a:lnTo>
                  <a:lnTo>
                    <a:pt x="1122" y="396"/>
                  </a:lnTo>
                  <a:lnTo>
                    <a:pt x="1116" y="366"/>
                  </a:lnTo>
                  <a:lnTo>
                    <a:pt x="1116" y="348"/>
                  </a:lnTo>
                  <a:lnTo>
                    <a:pt x="1110" y="342"/>
                  </a:lnTo>
                  <a:lnTo>
                    <a:pt x="1104" y="336"/>
                  </a:lnTo>
                  <a:lnTo>
                    <a:pt x="1092" y="330"/>
                  </a:lnTo>
                  <a:lnTo>
                    <a:pt x="1074" y="330"/>
                  </a:lnTo>
                  <a:lnTo>
                    <a:pt x="1044" y="330"/>
                  </a:lnTo>
                  <a:lnTo>
                    <a:pt x="1014" y="336"/>
                  </a:lnTo>
                  <a:lnTo>
                    <a:pt x="984" y="342"/>
                  </a:lnTo>
                  <a:lnTo>
                    <a:pt x="978" y="330"/>
                  </a:lnTo>
                  <a:lnTo>
                    <a:pt x="966" y="324"/>
                  </a:lnTo>
                  <a:lnTo>
                    <a:pt x="888" y="336"/>
                  </a:lnTo>
                  <a:lnTo>
                    <a:pt x="888" y="330"/>
                  </a:lnTo>
                  <a:lnTo>
                    <a:pt x="870" y="336"/>
                  </a:lnTo>
                  <a:lnTo>
                    <a:pt x="858" y="336"/>
                  </a:lnTo>
                  <a:lnTo>
                    <a:pt x="852" y="354"/>
                  </a:lnTo>
                  <a:lnTo>
                    <a:pt x="852" y="402"/>
                  </a:lnTo>
                  <a:lnTo>
                    <a:pt x="840" y="414"/>
                  </a:lnTo>
                  <a:lnTo>
                    <a:pt x="834" y="420"/>
                  </a:lnTo>
                  <a:lnTo>
                    <a:pt x="834" y="444"/>
                  </a:lnTo>
                  <a:lnTo>
                    <a:pt x="834" y="450"/>
                  </a:lnTo>
                  <a:lnTo>
                    <a:pt x="852" y="456"/>
                  </a:lnTo>
                  <a:lnTo>
                    <a:pt x="864" y="462"/>
                  </a:lnTo>
                  <a:lnTo>
                    <a:pt x="894" y="456"/>
                  </a:lnTo>
                  <a:lnTo>
                    <a:pt x="900" y="468"/>
                  </a:lnTo>
                  <a:lnTo>
                    <a:pt x="918" y="462"/>
                  </a:lnTo>
                  <a:lnTo>
                    <a:pt x="924" y="468"/>
                  </a:lnTo>
                  <a:lnTo>
                    <a:pt x="924" y="47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2" name="Freeform 37">
              <a:extLst>
                <a:ext uri="{FF2B5EF4-FFF2-40B4-BE49-F238E27FC236}">
                  <a16:creationId xmlns:a16="http://schemas.microsoft.com/office/drawing/2014/main" id="{DED8A1FF-B656-4D37-BD26-5B0A7B1A4A6D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441" y="1898343"/>
              <a:ext cx="567992" cy="686605"/>
            </a:xfrm>
            <a:custGeom>
              <a:avLst/>
              <a:gdLst>
                <a:gd name="T0" fmla="*/ 79 w 1068"/>
                <a:gd name="T1" fmla="*/ 72 h 1290"/>
                <a:gd name="T2" fmla="*/ 75 w 1068"/>
                <a:gd name="T3" fmla="*/ 73 h 1290"/>
                <a:gd name="T4" fmla="*/ 72 w 1068"/>
                <a:gd name="T5" fmla="*/ 76 h 1290"/>
                <a:gd name="T6" fmla="*/ 70 w 1068"/>
                <a:gd name="T7" fmla="*/ 78 h 1290"/>
                <a:gd name="T8" fmla="*/ 67 w 1068"/>
                <a:gd name="T9" fmla="*/ 82 h 1290"/>
                <a:gd name="T10" fmla="*/ 61 w 1068"/>
                <a:gd name="T11" fmla="*/ 86 h 1290"/>
                <a:gd name="T12" fmla="*/ 60 w 1068"/>
                <a:gd name="T13" fmla="*/ 93 h 1290"/>
                <a:gd name="T14" fmla="*/ 59 w 1068"/>
                <a:gd name="T15" fmla="*/ 97 h 1290"/>
                <a:gd name="T16" fmla="*/ 61 w 1068"/>
                <a:gd name="T17" fmla="*/ 101 h 1290"/>
                <a:gd name="T18" fmla="*/ 63 w 1068"/>
                <a:gd name="T19" fmla="*/ 104 h 1290"/>
                <a:gd name="T20" fmla="*/ 62 w 1068"/>
                <a:gd name="T21" fmla="*/ 108 h 1290"/>
                <a:gd name="T22" fmla="*/ 60 w 1068"/>
                <a:gd name="T23" fmla="*/ 111 h 1290"/>
                <a:gd name="T24" fmla="*/ 56 w 1068"/>
                <a:gd name="T25" fmla="*/ 111 h 1290"/>
                <a:gd name="T26" fmla="*/ 53 w 1068"/>
                <a:gd name="T27" fmla="*/ 110 h 1290"/>
                <a:gd name="T28" fmla="*/ 50 w 1068"/>
                <a:gd name="T29" fmla="*/ 109 h 1290"/>
                <a:gd name="T30" fmla="*/ 47 w 1068"/>
                <a:gd name="T31" fmla="*/ 110 h 1290"/>
                <a:gd name="T32" fmla="*/ 51 w 1068"/>
                <a:gd name="T33" fmla="*/ 104 h 1290"/>
                <a:gd name="T34" fmla="*/ 50 w 1068"/>
                <a:gd name="T35" fmla="*/ 95 h 1290"/>
                <a:gd name="T36" fmla="*/ 51 w 1068"/>
                <a:gd name="T37" fmla="*/ 90 h 1290"/>
                <a:gd name="T38" fmla="*/ 47 w 1068"/>
                <a:gd name="T39" fmla="*/ 84 h 1290"/>
                <a:gd name="T40" fmla="*/ 42 w 1068"/>
                <a:gd name="T41" fmla="*/ 78 h 1290"/>
                <a:gd name="T42" fmla="*/ 33 w 1068"/>
                <a:gd name="T43" fmla="*/ 73 h 1290"/>
                <a:gd name="T44" fmla="*/ 26 w 1068"/>
                <a:gd name="T45" fmla="*/ 68 h 1290"/>
                <a:gd name="T46" fmla="*/ 22 w 1068"/>
                <a:gd name="T47" fmla="*/ 63 h 1290"/>
                <a:gd name="T48" fmla="*/ 11 w 1068"/>
                <a:gd name="T49" fmla="*/ 67 h 1290"/>
                <a:gd name="T50" fmla="*/ 0 w 1068"/>
                <a:gd name="T51" fmla="*/ 68 h 1290"/>
                <a:gd name="T52" fmla="*/ 2 w 1068"/>
                <a:gd name="T53" fmla="*/ 59 h 1290"/>
                <a:gd name="T54" fmla="*/ 12 w 1068"/>
                <a:gd name="T55" fmla="*/ 55 h 1290"/>
                <a:gd name="T56" fmla="*/ 12 w 1068"/>
                <a:gd name="T57" fmla="*/ 51 h 1290"/>
                <a:gd name="T58" fmla="*/ 10 w 1068"/>
                <a:gd name="T59" fmla="*/ 47 h 1290"/>
                <a:gd name="T60" fmla="*/ 9 w 1068"/>
                <a:gd name="T61" fmla="*/ 42 h 1290"/>
                <a:gd name="T62" fmla="*/ 8 w 1068"/>
                <a:gd name="T63" fmla="*/ 38 h 1290"/>
                <a:gd name="T64" fmla="*/ 8 w 1068"/>
                <a:gd name="T65" fmla="*/ 29 h 1290"/>
                <a:gd name="T66" fmla="*/ 10 w 1068"/>
                <a:gd name="T67" fmla="*/ 18 h 1290"/>
                <a:gd name="T68" fmla="*/ 25 w 1068"/>
                <a:gd name="T69" fmla="*/ 12 h 1290"/>
                <a:gd name="T70" fmla="*/ 27 w 1068"/>
                <a:gd name="T71" fmla="*/ 4 h 1290"/>
                <a:gd name="T72" fmla="*/ 35 w 1068"/>
                <a:gd name="T73" fmla="*/ 6 h 1290"/>
                <a:gd name="T74" fmla="*/ 39 w 1068"/>
                <a:gd name="T75" fmla="*/ 8 h 1290"/>
                <a:gd name="T76" fmla="*/ 41 w 1068"/>
                <a:gd name="T77" fmla="*/ 3 h 1290"/>
                <a:gd name="T78" fmla="*/ 45 w 1068"/>
                <a:gd name="T79" fmla="*/ 0 h 1290"/>
                <a:gd name="T80" fmla="*/ 51 w 1068"/>
                <a:gd name="T81" fmla="*/ 0 h 1290"/>
                <a:gd name="T82" fmla="*/ 56 w 1068"/>
                <a:gd name="T83" fmla="*/ 4 h 1290"/>
                <a:gd name="T84" fmla="*/ 62 w 1068"/>
                <a:gd name="T85" fmla="*/ 12 h 1290"/>
                <a:gd name="T86" fmla="*/ 58 w 1068"/>
                <a:gd name="T87" fmla="*/ 17 h 1290"/>
                <a:gd name="T88" fmla="*/ 60 w 1068"/>
                <a:gd name="T89" fmla="*/ 18 h 1290"/>
                <a:gd name="T90" fmla="*/ 64 w 1068"/>
                <a:gd name="T91" fmla="*/ 16 h 1290"/>
                <a:gd name="T92" fmla="*/ 68 w 1068"/>
                <a:gd name="T93" fmla="*/ 18 h 1290"/>
                <a:gd name="T94" fmla="*/ 71 w 1068"/>
                <a:gd name="T95" fmla="*/ 27 h 1290"/>
                <a:gd name="T96" fmla="*/ 74 w 1068"/>
                <a:gd name="T97" fmla="*/ 30 h 1290"/>
                <a:gd name="T98" fmla="*/ 82 w 1068"/>
                <a:gd name="T99" fmla="*/ 30 h 1290"/>
                <a:gd name="T100" fmla="*/ 87 w 1068"/>
                <a:gd name="T101" fmla="*/ 35 h 1290"/>
                <a:gd name="T102" fmla="*/ 85 w 1068"/>
                <a:gd name="T103" fmla="*/ 42 h 1290"/>
                <a:gd name="T104" fmla="*/ 81 w 1068"/>
                <a:gd name="T105" fmla="*/ 46 h 1290"/>
                <a:gd name="T106" fmla="*/ 86 w 1068"/>
                <a:gd name="T107" fmla="*/ 50 h 1290"/>
                <a:gd name="T108" fmla="*/ 89 w 1068"/>
                <a:gd name="T109" fmla="*/ 58 h 1290"/>
                <a:gd name="T110" fmla="*/ 92 w 1068"/>
                <a:gd name="T111" fmla="*/ 61 h 1290"/>
                <a:gd name="T112" fmla="*/ 86 w 1068"/>
                <a:gd name="T113" fmla="*/ 66 h 1290"/>
                <a:gd name="T114" fmla="*/ 85 w 1068"/>
                <a:gd name="T115" fmla="*/ 70 h 129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68"/>
                <a:gd name="T175" fmla="*/ 0 h 1290"/>
                <a:gd name="T176" fmla="*/ 1068 w 1068"/>
                <a:gd name="T177" fmla="*/ 1290 h 129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68" h="1290">
                  <a:moveTo>
                    <a:pt x="978" y="804"/>
                  </a:moveTo>
                  <a:lnTo>
                    <a:pt x="972" y="810"/>
                  </a:lnTo>
                  <a:lnTo>
                    <a:pt x="966" y="810"/>
                  </a:lnTo>
                  <a:lnTo>
                    <a:pt x="966" y="816"/>
                  </a:lnTo>
                  <a:lnTo>
                    <a:pt x="936" y="828"/>
                  </a:lnTo>
                  <a:lnTo>
                    <a:pt x="924" y="822"/>
                  </a:lnTo>
                  <a:lnTo>
                    <a:pt x="912" y="822"/>
                  </a:lnTo>
                  <a:lnTo>
                    <a:pt x="906" y="828"/>
                  </a:lnTo>
                  <a:lnTo>
                    <a:pt x="900" y="828"/>
                  </a:lnTo>
                  <a:lnTo>
                    <a:pt x="900" y="822"/>
                  </a:lnTo>
                  <a:lnTo>
                    <a:pt x="894" y="822"/>
                  </a:lnTo>
                  <a:lnTo>
                    <a:pt x="888" y="828"/>
                  </a:lnTo>
                  <a:lnTo>
                    <a:pt x="882" y="834"/>
                  </a:lnTo>
                  <a:lnTo>
                    <a:pt x="876" y="834"/>
                  </a:lnTo>
                  <a:lnTo>
                    <a:pt x="870" y="840"/>
                  </a:lnTo>
                  <a:lnTo>
                    <a:pt x="864" y="840"/>
                  </a:lnTo>
                  <a:lnTo>
                    <a:pt x="864" y="846"/>
                  </a:lnTo>
                  <a:lnTo>
                    <a:pt x="858" y="846"/>
                  </a:lnTo>
                  <a:lnTo>
                    <a:pt x="852" y="846"/>
                  </a:lnTo>
                  <a:lnTo>
                    <a:pt x="852" y="858"/>
                  </a:lnTo>
                  <a:lnTo>
                    <a:pt x="846" y="864"/>
                  </a:lnTo>
                  <a:lnTo>
                    <a:pt x="840" y="870"/>
                  </a:lnTo>
                  <a:lnTo>
                    <a:pt x="834" y="870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34" y="876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10" y="894"/>
                  </a:lnTo>
                  <a:lnTo>
                    <a:pt x="810" y="900"/>
                  </a:lnTo>
                  <a:lnTo>
                    <a:pt x="804" y="900"/>
                  </a:lnTo>
                  <a:lnTo>
                    <a:pt x="798" y="900"/>
                  </a:lnTo>
                  <a:lnTo>
                    <a:pt x="798" y="906"/>
                  </a:lnTo>
                  <a:lnTo>
                    <a:pt x="792" y="906"/>
                  </a:lnTo>
                  <a:lnTo>
                    <a:pt x="792" y="912"/>
                  </a:lnTo>
                  <a:lnTo>
                    <a:pt x="792" y="924"/>
                  </a:lnTo>
                  <a:lnTo>
                    <a:pt x="786" y="930"/>
                  </a:lnTo>
                  <a:lnTo>
                    <a:pt x="774" y="942"/>
                  </a:lnTo>
                  <a:lnTo>
                    <a:pt x="774" y="948"/>
                  </a:lnTo>
                  <a:lnTo>
                    <a:pt x="768" y="954"/>
                  </a:lnTo>
                  <a:lnTo>
                    <a:pt x="762" y="954"/>
                  </a:lnTo>
                  <a:lnTo>
                    <a:pt x="750" y="972"/>
                  </a:lnTo>
                  <a:lnTo>
                    <a:pt x="720" y="978"/>
                  </a:lnTo>
                  <a:lnTo>
                    <a:pt x="714" y="978"/>
                  </a:lnTo>
                  <a:lnTo>
                    <a:pt x="708" y="978"/>
                  </a:lnTo>
                  <a:lnTo>
                    <a:pt x="702" y="990"/>
                  </a:lnTo>
                  <a:lnTo>
                    <a:pt x="696" y="990"/>
                  </a:lnTo>
                  <a:lnTo>
                    <a:pt x="696" y="1008"/>
                  </a:lnTo>
                  <a:lnTo>
                    <a:pt x="690" y="1008"/>
                  </a:lnTo>
                  <a:lnTo>
                    <a:pt x="690" y="1014"/>
                  </a:lnTo>
                  <a:lnTo>
                    <a:pt x="684" y="1032"/>
                  </a:lnTo>
                  <a:lnTo>
                    <a:pt x="690" y="1050"/>
                  </a:lnTo>
                  <a:lnTo>
                    <a:pt x="690" y="1062"/>
                  </a:lnTo>
                  <a:lnTo>
                    <a:pt x="690" y="1068"/>
                  </a:lnTo>
                  <a:lnTo>
                    <a:pt x="690" y="1074"/>
                  </a:lnTo>
                  <a:lnTo>
                    <a:pt x="684" y="1074"/>
                  </a:lnTo>
                  <a:lnTo>
                    <a:pt x="684" y="1080"/>
                  </a:lnTo>
                  <a:lnTo>
                    <a:pt x="678" y="1086"/>
                  </a:lnTo>
                  <a:lnTo>
                    <a:pt x="678" y="1104"/>
                  </a:lnTo>
                  <a:lnTo>
                    <a:pt x="678" y="1110"/>
                  </a:lnTo>
                  <a:lnTo>
                    <a:pt x="678" y="1116"/>
                  </a:lnTo>
                  <a:lnTo>
                    <a:pt x="684" y="1116"/>
                  </a:lnTo>
                  <a:lnTo>
                    <a:pt x="678" y="1128"/>
                  </a:lnTo>
                  <a:lnTo>
                    <a:pt x="684" y="1128"/>
                  </a:lnTo>
                  <a:lnTo>
                    <a:pt x="690" y="1134"/>
                  </a:lnTo>
                  <a:lnTo>
                    <a:pt x="690" y="1140"/>
                  </a:lnTo>
                  <a:lnTo>
                    <a:pt x="696" y="1140"/>
                  </a:lnTo>
                  <a:lnTo>
                    <a:pt x="696" y="1146"/>
                  </a:lnTo>
                  <a:lnTo>
                    <a:pt x="696" y="1152"/>
                  </a:lnTo>
                  <a:lnTo>
                    <a:pt x="702" y="1152"/>
                  </a:lnTo>
                  <a:lnTo>
                    <a:pt x="708" y="1152"/>
                  </a:lnTo>
                  <a:lnTo>
                    <a:pt x="714" y="1158"/>
                  </a:lnTo>
                  <a:lnTo>
                    <a:pt x="714" y="1164"/>
                  </a:lnTo>
                  <a:lnTo>
                    <a:pt x="720" y="1170"/>
                  </a:lnTo>
                  <a:lnTo>
                    <a:pt x="720" y="1176"/>
                  </a:lnTo>
                  <a:lnTo>
                    <a:pt x="720" y="1182"/>
                  </a:lnTo>
                  <a:lnTo>
                    <a:pt x="726" y="1188"/>
                  </a:lnTo>
                  <a:lnTo>
                    <a:pt x="726" y="1194"/>
                  </a:lnTo>
                  <a:lnTo>
                    <a:pt x="732" y="1194"/>
                  </a:lnTo>
                  <a:lnTo>
                    <a:pt x="732" y="1200"/>
                  </a:lnTo>
                  <a:lnTo>
                    <a:pt x="738" y="1212"/>
                  </a:lnTo>
                  <a:lnTo>
                    <a:pt x="732" y="1218"/>
                  </a:lnTo>
                  <a:lnTo>
                    <a:pt x="732" y="1224"/>
                  </a:lnTo>
                  <a:lnTo>
                    <a:pt x="726" y="1230"/>
                  </a:lnTo>
                  <a:lnTo>
                    <a:pt x="720" y="1230"/>
                  </a:lnTo>
                  <a:lnTo>
                    <a:pt x="720" y="1236"/>
                  </a:lnTo>
                  <a:lnTo>
                    <a:pt x="720" y="1242"/>
                  </a:lnTo>
                  <a:lnTo>
                    <a:pt x="720" y="1248"/>
                  </a:lnTo>
                  <a:lnTo>
                    <a:pt x="714" y="1248"/>
                  </a:lnTo>
                  <a:lnTo>
                    <a:pt x="714" y="1254"/>
                  </a:lnTo>
                  <a:lnTo>
                    <a:pt x="708" y="1260"/>
                  </a:lnTo>
                  <a:lnTo>
                    <a:pt x="702" y="1272"/>
                  </a:lnTo>
                  <a:lnTo>
                    <a:pt x="696" y="1272"/>
                  </a:lnTo>
                  <a:lnTo>
                    <a:pt x="696" y="1278"/>
                  </a:lnTo>
                  <a:lnTo>
                    <a:pt x="690" y="1284"/>
                  </a:lnTo>
                  <a:lnTo>
                    <a:pt x="690" y="1290"/>
                  </a:lnTo>
                  <a:lnTo>
                    <a:pt x="684" y="1290"/>
                  </a:lnTo>
                  <a:lnTo>
                    <a:pt x="660" y="1284"/>
                  </a:lnTo>
                  <a:lnTo>
                    <a:pt x="660" y="1278"/>
                  </a:lnTo>
                  <a:lnTo>
                    <a:pt x="654" y="1272"/>
                  </a:lnTo>
                  <a:lnTo>
                    <a:pt x="648" y="1272"/>
                  </a:lnTo>
                  <a:lnTo>
                    <a:pt x="642" y="1272"/>
                  </a:lnTo>
                  <a:lnTo>
                    <a:pt x="642" y="1266"/>
                  </a:lnTo>
                  <a:lnTo>
                    <a:pt x="636" y="1266"/>
                  </a:lnTo>
                  <a:lnTo>
                    <a:pt x="630" y="1266"/>
                  </a:lnTo>
                  <a:lnTo>
                    <a:pt x="624" y="1266"/>
                  </a:lnTo>
                  <a:lnTo>
                    <a:pt x="624" y="1260"/>
                  </a:lnTo>
                  <a:lnTo>
                    <a:pt x="618" y="1260"/>
                  </a:lnTo>
                  <a:lnTo>
                    <a:pt x="612" y="1260"/>
                  </a:lnTo>
                  <a:lnTo>
                    <a:pt x="606" y="1260"/>
                  </a:lnTo>
                  <a:lnTo>
                    <a:pt x="600" y="1260"/>
                  </a:lnTo>
                  <a:lnTo>
                    <a:pt x="600" y="1254"/>
                  </a:lnTo>
                  <a:lnTo>
                    <a:pt x="594" y="1254"/>
                  </a:lnTo>
                  <a:lnTo>
                    <a:pt x="588" y="1248"/>
                  </a:lnTo>
                  <a:lnTo>
                    <a:pt x="588" y="1254"/>
                  </a:lnTo>
                  <a:lnTo>
                    <a:pt x="582" y="1254"/>
                  </a:lnTo>
                  <a:lnTo>
                    <a:pt x="582" y="1248"/>
                  </a:lnTo>
                  <a:lnTo>
                    <a:pt x="576" y="1248"/>
                  </a:lnTo>
                  <a:lnTo>
                    <a:pt x="576" y="1254"/>
                  </a:lnTo>
                  <a:lnTo>
                    <a:pt x="570" y="1248"/>
                  </a:lnTo>
                  <a:lnTo>
                    <a:pt x="564" y="1248"/>
                  </a:lnTo>
                  <a:lnTo>
                    <a:pt x="564" y="1254"/>
                  </a:lnTo>
                  <a:lnTo>
                    <a:pt x="558" y="1254"/>
                  </a:lnTo>
                  <a:lnTo>
                    <a:pt x="552" y="1254"/>
                  </a:lnTo>
                  <a:lnTo>
                    <a:pt x="552" y="1260"/>
                  </a:lnTo>
                  <a:lnTo>
                    <a:pt x="546" y="1260"/>
                  </a:lnTo>
                  <a:lnTo>
                    <a:pt x="540" y="1260"/>
                  </a:lnTo>
                  <a:lnTo>
                    <a:pt x="540" y="1254"/>
                  </a:lnTo>
                  <a:lnTo>
                    <a:pt x="534" y="1254"/>
                  </a:lnTo>
                  <a:lnTo>
                    <a:pt x="528" y="1224"/>
                  </a:lnTo>
                  <a:lnTo>
                    <a:pt x="534" y="1212"/>
                  </a:lnTo>
                  <a:lnTo>
                    <a:pt x="546" y="1206"/>
                  </a:lnTo>
                  <a:lnTo>
                    <a:pt x="582" y="1206"/>
                  </a:lnTo>
                  <a:lnTo>
                    <a:pt x="588" y="1188"/>
                  </a:lnTo>
                  <a:lnTo>
                    <a:pt x="582" y="1188"/>
                  </a:lnTo>
                  <a:lnTo>
                    <a:pt x="582" y="1182"/>
                  </a:lnTo>
                  <a:lnTo>
                    <a:pt x="576" y="1176"/>
                  </a:lnTo>
                  <a:lnTo>
                    <a:pt x="558" y="1128"/>
                  </a:lnTo>
                  <a:lnTo>
                    <a:pt x="558" y="1122"/>
                  </a:lnTo>
                  <a:lnTo>
                    <a:pt x="576" y="1098"/>
                  </a:lnTo>
                  <a:lnTo>
                    <a:pt x="576" y="1092"/>
                  </a:lnTo>
                  <a:lnTo>
                    <a:pt x="582" y="1092"/>
                  </a:lnTo>
                  <a:lnTo>
                    <a:pt x="582" y="1086"/>
                  </a:lnTo>
                  <a:lnTo>
                    <a:pt x="582" y="1080"/>
                  </a:lnTo>
                  <a:lnTo>
                    <a:pt x="582" y="1074"/>
                  </a:lnTo>
                  <a:lnTo>
                    <a:pt x="588" y="1074"/>
                  </a:lnTo>
                  <a:lnTo>
                    <a:pt x="588" y="1062"/>
                  </a:lnTo>
                  <a:lnTo>
                    <a:pt x="588" y="1056"/>
                  </a:lnTo>
                  <a:lnTo>
                    <a:pt x="588" y="1044"/>
                  </a:lnTo>
                  <a:lnTo>
                    <a:pt x="588" y="1038"/>
                  </a:lnTo>
                  <a:lnTo>
                    <a:pt x="588" y="1032"/>
                  </a:lnTo>
                  <a:lnTo>
                    <a:pt x="582" y="1026"/>
                  </a:lnTo>
                  <a:lnTo>
                    <a:pt x="582" y="1020"/>
                  </a:lnTo>
                  <a:lnTo>
                    <a:pt x="582" y="1008"/>
                  </a:lnTo>
                  <a:lnTo>
                    <a:pt x="576" y="990"/>
                  </a:lnTo>
                  <a:lnTo>
                    <a:pt x="570" y="972"/>
                  </a:lnTo>
                  <a:lnTo>
                    <a:pt x="552" y="972"/>
                  </a:lnTo>
                  <a:lnTo>
                    <a:pt x="540" y="960"/>
                  </a:lnTo>
                  <a:lnTo>
                    <a:pt x="534" y="954"/>
                  </a:lnTo>
                  <a:lnTo>
                    <a:pt x="534" y="948"/>
                  </a:lnTo>
                  <a:lnTo>
                    <a:pt x="516" y="948"/>
                  </a:lnTo>
                  <a:lnTo>
                    <a:pt x="522" y="936"/>
                  </a:lnTo>
                  <a:lnTo>
                    <a:pt x="522" y="930"/>
                  </a:lnTo>
                  <a:lnTo>
                    <a:pt x="504" y="918"/>
                  </a:lnTo>
                  <a:lnTo>
                    <a:pt x="492" y="906"/>
                  </a:lnTo>
                  <a:lnTo>
                    <a:pt x="486" y="894"/>
                  </a:lnTo>
                  <a:lnTo>
                    <a:pt x="468" y="876"/>
                  </a:lnTo>
                  <a:lnTo>
                    <a:pt x="450" y="876"/>
                  </a:lnTo>
                  <a:lnTo>
                    <a:pt x="414" y="882"/>
                  </a:lnTo>
                  <a:lnTo>
                    <a:pt x="402" y="870"/>
                  </a:lnTo>
                  <a:lnTo>
                    <a:pt x="390" y="864"/>
                  </a:lnTo>
                  <a:lnTo>
                    <a:pt x="384" y="852"/>
                  </a:lnTo>
                  <a:lnTo>
                    <a:pt x="378" y="840"/>
                  </a:lnTo>
                  <a:lnTo>
                    <a:pt x="378" y="834"/>
                  </a:lnTo>
                  <a:lnTo>
                    <a:pt x="360" y="822"/>
                  </a:lnTo>
                  <a:lnTo>
                    <a:pt x="342" y="828"/>
                  </a:lnTo>
                  <a:lnTo>
                    <a:pt x="324" y="816"/>
                  </a:lnTo>
                  <a:lnTo>
                    <a:pt x="318" y="816"/>
                  </a:lnTo>
                  <a:lnTo>
                    <a:pt x="306" y="810"/>
                  </a:lnTo>
                  <a:lnTo>
                    <a:pt x="306" y="804"/>
                  </a:lnTo>
                  <a:lnTo>
                    <a:pt x="300" y="804"/>
                  </a:lnTo>
                  <a:lnTo>
                    <a:pt x="300" y="780"/>
                  </a:lnTo>
                  <a:lnTo>
                    <a:pt x="300" y="774"/>
                  </a:lnTo>
                  <a:lnTo>
                    <a:pt x="306" y="774"/>
                  </a:lnTo>
                  <a:lnTo>
                    <a:pt x="312" y="756"/>
                  </a:lnTo>
                  <a:lnTo>
                    <a:pt x="312" y="732"/>
                  </a:lnTo>
                  <a:lnTo>
                    <a:pt x="300" y="720"/>
                  </a:lnTo>
                  <a:lnTo>
                    <a:pt x="288" y="702"/>
                  </a:lnTo>
                  <a:lnTo>
                    <a:pt x="276" y="702"/>
                  </a:lnTo>
                  <a:lnTo>
                    <a:pt x="258" y="714"/>
                  </a:lnTo>
                  <a:lnTo>
                    <a:pt x="246" y="726"/>
                  </a:lnTo>
                  <a:lnTo>
                    <a:pt x="222" y="726"/>
                  </a:lnTo>
                  <a:lnTo>
                    <a:pt x="192" y="726"/>
                  </a:lnTo>
                  <a:lnTo>
                    <a:pt x="174" y="738"/>
                  </a:lnTo>
                  <a:lnTo>
                    <a:pt x="162" y="750"/>
                  </a:lnTo>
                  <a:lnTo>
                    <a:pt x="144" y="762"/>
                  </a:lnTo>
                  <a:lnTo>
                    <a:pt x="138" y="768"/>
                  </a:lnTo>
                  <a:lnTo>
                    <a:pt x="126" y="774"/>
                  </a:lnTo>
                  <a:lnTo>
                    <a:pt x="114" y="780"/>
                  </a:lnTo>
                  <a:lnTo>
                    <a:pt x="108" y="786"/>
                  </a:lnTo>
                  <a:lnTo>
                    <a:pt x="102" y="786"/>
                  </a:lnTo>
                  <a:lnTo>
                    <a:pt x="54" y="786"/>
                  </a:lnTo>
                  <a:lnTo>
                    <a:pt x="48" y="792"/>
                  </a:lnTo>
                  <a:lnTo>
                    <a:pt x="36" y="798"/>
                  </a:lnTo>
                  <a:lnTo>
                    <a:pt x="18" y="792"/>
                  </a:lnTo>
                  <a:lnTo>
                    <a:pt x="6" y="780"/>
                  </a:lnTo>
                  <a:lnTo>
                    <a:pt x="6" y="768"/>
                  </a:lnTo>
                  <a:lnTo>
                    <a:pt x="0" y="756"/>
                  </a:lnTo>
                  <a:lnTo>
                    <a:pt x="0" y="738"/>
                  </a:lnTo>
                  <a:lnTo>
                    <a:pt x="6" y="702"/>
                  </a:lnTo>
                  <a:lnTo>
                    <a:pt x="24" y="702"/>
                  </a:lnTo>
                  <a:lnTo>
                    <a:pt x="24" y="696"/>
                  </a:lnTo>
                  <a:lnTo>
                    <a:pt x="24" y="690"/>
                  </a:lnTo>
                  <a:lnTo>
                    <a:pt x="24" y="678"/>
                  </a:lnTo>
                  <a:lnTo>
                    <a:pt x="24" y="672"/>
                  </a:lnTo>
                  <a:lnTo>
                    <a:pt x="30" y="672"/>
                  </a:lnTo>
                  <a:lnTo>
                    <a:pt x="30" y="666"/>
                  </a:lnTo>
                  <a:lnTo>
                    <a:pt x="36" y="660"/>
                  </a:lnTo>
                  <a:lnTo>
                    <a:pt x="84" y="648"/>
                  </a:lnTo>
                  <a:lnTo>
                    <a:pt x="126" y="642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32" y="618"/>
                  </a:lnTo>
                  <a:lnTo>
                    <a:pt x="138" y="612"/>
                  </a:lnTo>
                  <a:lnTo>
                    <a:pt x="138" y="606"/>
                  </a:lnTo>
                  <a:lnTo>
                    <a:pt x="138" y="600"/>
                  </a:lnTo>
                  <a:lnTo>
                    <a:pt x="132" y="600"/>
                  </a:lnTo>
                  <a:lnTo>
                    <a:pt x="132" y="594"/>
                  </a:lnTo>
                  <a:lnTo>
                    <a:pt x="132" y="588"/>
                  </a:lnTo>
                  <a:lnTo>
                    <a:pt x="132" y="582"/>
                  </a:lnTo>
                  <a:lnTo>
                    <a:pt x="132" y="576"/>
                  </a:lnTo>
                  <a:lnTo>
                    <a:pt x="126" y="570"/>
                  </a:lnTo>
                  <a:lnTo>
                    <a:pt x="120" y="564"/>
                  </a:lnTo>
                  <a:lnTo>
                    <a:pt x="120" y="558"/>
                  </a:lnTo>
                  <a:lnTo>
                    <a:pt x="120" y="552"/>
                  </a:lnTo>
                  <a:lnTo>
                    <a:pt x="114" y="552"/>
                  </a:lnTo>
                  <a:lnTo>
                    <a:pt x="114" y="546"/>
                  </a:lnTo>
                  <a:lnTo>
                    <a:pt x="114" y="540"/>
                  </a:lnTo>
                  <a:lnTo>
                    <a:pt x="108" y="534"/>
                  </a:lnTo>
                  <a:lnTo>
                    <a:pt x="108" y="528"/>
                  </a:lnTo>
                  <a:lnTo>
                    <a:pt x="114" y="522"/>
                  </a:lnTo>
                  <a:lnTo>
                    <a:pt x="108" y="516"/>
                  </a:lnTo>
                  <a:lnTo>
                    <a:pt x="108" y="498"/>
                  </a:lnTo>
                  <a:lnTo>
                    <a:pt x="108" y="492"/>
                  </a:lnTo>
                  <a:lnTo>
                    <a:pt x="108" y="486"/>
                  </a:lnTo>
                  <a:lnTo>
                    <a:pt x="108" y="480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08" y="462"/>
                  </a:lnTo>
                  <a:lnTo>
                    <a:pt x="102" y="456"/>
                  </a:lnTo>
                  <a:lnTo>
                    <a:pt x="102" y="444"/>
                  </a:lnTo>
                  <a:lnTo>
                    <a:pt x="96" y="444"/>
                  </a:lnTo>
                  <a:lnTo>
                    <a:pt x="90" y="432"/>
                  </a:lnTo>
                  <a:lnTo>
                    <a:pt x="96" y="432"/>
                  </a:lnTo>
                  <a:lnTo>
                    <a:pt x="96" y="408"/>
                  </a:lnTo>
                  <a:lnTo>
                    <a:pt x="96" y="396"/>
                  </a:lnTo>
                  <a:lnTo>
                    <a:pt x="96" y="360"/>
                  </a:lnTo>
                  <a:lnTo>
                    <a:pt x="96" y="354"/>
                  </a:lnTo>
                  <a:lnTo>
                    <a:pt x="102" y="354"/>
                  </a:lnTo>
                  <a:lnTo>
                    <a:pt x="102" y="348"/>
                  </a:lnTo>
                  <a:lnTo>
                    <a:pt x="96" y="330"/>
                  </a:lnTo>
                  <a:lnTo>
                    <a:pt x="90" y="306"/>
                  </a:lnTo>
                  <a:lnTo>
                    <a:pt x="84" y="288"/>
                  </a:lnTo>
                  <a:lnTo>
                    <a:pt x="84" y="264"/>
                  </a:lnTo>
                  <a:lnTo>
                    <a:pt x="90" y="240"/>
                  </a:lnTo>
                  <a:lnTo>
                    <a:pt x="96" y="222"/>
                  </a:lnTo>
                  <a:lnTo>
                    <a:pt x="102" y="222"/>
                  </a:lnTo>
                  <a:lnTo>
                    <a:pt x="108" y="210"/>
                  </a:lnTo>
                  <a:lnTo>
                    <a:pt x="114" y="210"/>
                  </a:lnTo>
                  <a:lnTo>
                    <a:pt x="126" y="198"/>
                  </a:lnTo>
                  <a:lnTo>
                    <a:pt x="156" y="192"/>
                  </a:lnTo>
                  <a:lnTo>
                    <a:pt x="174" y="186"/>
                  </a:lnTo>
                  <a:lnTo>
                    <a:pt x="204" y="174"/>
                  </a:lnTo>
                  <a:lnTo>
                    <a:pt x="222" y="168"/>
                  </a:lnTo>
                  <a:lnTo>
                    <a:pt x="234" y="162"/>
                  </a:lnTo>
                  <a:lnTo>
                    <a:pt x="246" y="156"/>
                  </a:lnTo>
                  <a:lnTo>
                    <a:pt x="288" y="144"/>
                  </a:lnTo>
                  <a:lnTo>
                    <a:pt x="288" y="132"/>
                  </a:lnTo>
                  <a:lnTo>
                    <a:pt x="294" y="120"/>
                  </a:lnTo>
                  <a:lnTo>
                    <a:pt x="300" y="108"/>
                  </a:lnTo>
                  <a:lnTo>
                    <a:pt x="306" y="90"/>
                  </a:lnTo>
                  <a:lnTo>
                    <a:pt x="312" y="78"/>
                  </a:lnTo>
                  <a:lnTo>
                    <a:pt x="324" y="78"/>
                  </a:lnTo>
                  <a:lnTo>
                    <a:pt x="324" y="54"/>
                  </a:lnTo>
                  <a:lnTo>
                    <a:pt x="318" y="48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60" y="6"/>
                  </a:lnTo>
                  <a:lnTo>
                    <a:pt x="384" y="0"/>
                  </a:lnTo>
                  <a:lnTo>
                    <a:pt x="390" y="6"/>
                  </a:lnTo>
                  <a:lnTo>
                    <a:pt x="390" y="18"/>
                  </a:lnTo>
                  <a:lnTo>
                    <a:pt x="390" y="54"/>
                  </a:lnTo>
                  <a:lnTo>
                    <a:pt x="396" y="66"/>
                  </a:lnTo>
                  <a:lnTo>
                    <a:pt x="414" y="84"/>
                  </a:lnTo>
                  <a:lnTo>
                    <a:pt x="426" y="90"/>
                  </a:lnTo>
                  <a:lnTo>
                    <a:pt x="432" y="96"/>
                  </a:lnTo>
                  <a:lnTo>
                    <a:pt x="426" y="102"/>
                  </a:lnTo>
                  <a:lnTo>
                    <a:pt x="438" y="102"/>
                  </a:lnTo>
                  <a:lnTo>
                    <a:pt x="444" y="108"/>
                  </a:lnTo>
                  <a:lnTo>
                    <a:pt x="444" y="102"/>
                  </a:lnTo>
                  <a:lnTo>
                    <a:pt x="450" y="90"/>
                  </a:lnTo>
                  <a:lnTo>
                    <a:pt x="450" y="84"/>
                  </a:lnTo>
                  <a:lnTo>
                    <a:pt x="450" y="78"/>
                  </a:lnTo>
                  <a:lnTo>
                    <a:pt x="456" y="72"/>
                  </a:lnTo>
                  <a:lnTo>
                    <a:pt x="462" y="66"/>
                  </a:lnTo>
                  <a:lnTo>
                    <a:pt x="462" y="60"/>
                  </a:lnTo>
                  <a:lnTo>
                    <a:pt x="462" y="54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74" y="24"/>
                  </a:lnTo>
                  <a:lnTo>
                    <a:pt x="480" y="18"/>
                  </a:lnTo>
                  <a:lnTo>
                    <a:pt x="486" y="12"/>
                  </a:lnTo>
                  <a:lnTo>
                    <a:pt x="492" y="12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2" y="6"/>
                  </a:lnTo>
                  <a:lnTo>
                    <a:pt x="534" y="6"/>
                  </a:lnTo>
                  <a:lnTo>
                    <a:pt x="540" y="6"/>
                  </a:lnTo>
                  <a:lnTo>
                    <a:pt x="546" y="6"/>
                  </a:lnTo>
                  <a:lnTo>
                    <a:pt x="564" y="0"/>
                  </a:lnTo>
                  <a:lnTo>
                    <a:pt x="570" y="0"/>
                  </a:lnTo>
                  <a:lnTo>
                    <a:pt x="576" y="6"/>
                  </a:lnTo>
                  <a:lnTo>
                    <a:pt x="582" y="6"/>
                  </a:lnTo>
                  <a:lnTo>
                    <a:pt x="594" y="6"/>
                  </a:lnTo>
                  <a:lnTo>
                    <a:pt x="600" y="6"/>
                  </a:lnTo>
                  <a:lnTo>
                    <a:pt x="606" y="6"/>
                  </a:lnTo>
                  <a:lnTo>
                    <a:pt x="624" y="0"/>
                  </a:lnTo>
                  <a:lnTo>
                    <a:pt x="636" y="0"/>
                  </a:lnTo>
                  <a:lnTo>
                    <a:pt x="636" y="6"/>
                  </a:lnTo>
                  <a:lnTo>
                    <a:pt x="654" y="18"/>
                  </a:lnTo>
                  <a:lnTo>
                    <a:pt x="654" y="30"/>
                  </a:lnTo>
                  <a:lnTo>
                    <a:pt x="642" y="42"/>
                  </a:lnTo>
                  <a:lnTo>
                    <a:pt x="630" y="66"/>
                  </a:lnTo>
                  <a:lnTo>
                    <a:pt x="636" y="84"/>
                  </a:lnTo>
                  <a:lnTo>
                    <a:pt x="636" y="96"/>
                  </a:lnTo>
                  <a:lnTo>
                    <a:pt x="648" y="102"/>
                  </a:lnTo>
                  <a:lnTo>
                    <a:pt x="672" y="114"/>
                  </a:lnTo>
                  <a:lnTo>
                    <a:pt x="702" y="120"/>
                  </a:lnTo>
                  <a:lnTo>
                    <a:pt x="714" y="126"/>
                  </a:lnTo>
                  <a:lnTo>
                    <a:pt x="720" y="144"/>
                  </a:lnTo>
                  <a:lnTo>
                    <a:pt x="720" y="156"/>
                  </a:lnTo>
                  <a:lnTo>
                    <a:pt x="708" y="156"/>
                  </a:lnTo>
                  <a:lnTo>
                    <a:pt x="702" y="162"/>
                  </a:lnTo>
                  <a:lnTo>
                    <a:pt x="702" y="174"/>
                  </a:lnTo>
                  <a:lnTo>
                    <a:pt x="696" y="174"/>
                  </a:lnTo>
                  <a:lnTo>
                    <a:pt x="690" y="180"/>
                  </a:lnTo>
                  <a:lnTo>
                    <a:pt x="678" y="186"/>
                  </a:lnTo>
                  <a:lnTo>
                    <a:pt x="672" y="192"/>
                  </a:lnTo>
                  <a:lnTo>
                    <a:pt x="654" y="210"/>
                  </a:lnTo>
                  <a:lnTo>
                    <a:pt x="654" y="216"/>
                  </a:lnTo>
                  <a:lnTo>
                    <a:pt x="648" y="246"/>
                  </a:lnTo>
                  <a:lnTo>
                    <a:pt x="660" y="246"/>
                  </a:lnTo>
                  <a:lnTo>
                    <a:pt x="666" y="234"/>
                  </a:lnTo>
                  <a:lnTo>
                    <a:pt x="678" y="240"/>
                  </a:lnTo>
                  <a:lnTo>
                    <a:pt x="684" y="228"/>
                  </a:lnTo>
                  <a:lnTo>
                    <a:pt x="690" y="210"/>
                  </a:lnTo>
                  <a:lnTo>
                    <a:pt x="696" y="204"/>
                  </a:lnTo>
                  <a:lnTo>
                    <a:pt x="702" y="204"/>
                  </a:lnTo>
                  <a:lnTo>
                    <a:pt x="708" y="192"/>
                  </a:lnTo>
                  <a:lnTo>
                    <a:pt x="714" y="192"/>
                  </a:lnTo>
                  <a:lnTo>
                    <a:pt x="714" y="186"/>
                  </a:lnTo>
                  <a:lnTo>
                    <a:pt x="726" y="186"/>
                  </a:lnTo>
                  <a:lnTo>
                    <a:pt x="732" y="186"/>
                  </a:lnTo>
                  <a:lnTo>
                    <a:pt x="738" y="186"/>
                  </a:lnTo>
                  <a:lnTo>
                    <a:pt x="744" y="216"/>
                  </a:lnTo>
                  <a:lnTo>
                    <a:pt x="750" y="210"/>
                  </a:lnTo>
                  <a:lnTo>
                    <a:pt x="750" y="204"/>
                  </a:lnTo>
                  <a:lnTo>
                    <a:pt x="756" y="192"/>
                  </a:lnTo>
                  <a:lnTo>
                    <a:pt x="762" y="192"/>
                  </a:lnTo>
                  <a:lnTo>
                    <a:pt x="768" y="192"/>
                  </a:lnTo>
                  <a:lnTo>
                    <a:pt x="780" y="186"/>
                  </a:lnTo>
                  <a:lnTo>
                    <a:pt x="786" y="204"/>
                  </a:lnTo>
                  <a:lnTo>
                    <a:pt x="774" y="210"/>
                  </a:lnTo>
                  <a:lnTo>
                    <a:pt x="774" y="234"/>
                  </a:lnTo>
                  <a:lnTo>
                    <a:pt x="780" y="246"/>
                  </a:lnTo>
                  <a:lnTo>
                    <a:pt x="804" y="264"/>
                  </a:lnTo>
                  <a:lnTo>
                    <a:pt x="816" y="276"/>
                  </a:lnTo>
                  <a:lnTo>
                    <a:pt x="822" y="288"/>
                  </a:lnTo>
                  <a:lnTo>
                    <a:pt x="822" y="312"/>
                  </a:lnTo>
                  <a:lnTo>
                    <a:pt x="816" y="312"/>
                  </a:lnTo>
                  <a:lnTo>
                    <a:pt x="810" y="318"/>
                  </a:lnTo>
                  <a:lnTo>
                    <a:pt x="810" y="348"/>
                  </a:lnTo>
                  <a:lnTo>
                    <a:pt x="816" y="348"/>
                  </a:lnTo>
                  <a:lnTo>
                    <a:pt x="816" y="342"/>
                  </a:lnTo>
                  <a:lnTo>
                    <a:pt x="834" y="342"/>
                  </a:lnTo>
                  <a:lnTo>
                    <a:pt x="834" y="348"/>
                  </a:lnTo>
                  <a:lnTo>
                    <a:pt x="846" y="348"/>
                  </a:lnTo>
                  <a:lnTo>
                    <a:pt x="846" y="342"/>
                  </a:lnTo>
                  <a:lnTo>
                    <a:pt x="882" y="342"/>
                  </a:lnTo>
                  <a:lnTo>
                    <a:pt x="894" y="366"/>
                  </a:lnTo>
                  <a:lnTo>
                    <a:pt x="900" y="372"/>
                  </a:lnTo>
                  <a:lnTo>
                    <a:pt x="906" y="384"/>
                  </a:lnTo>
                  <a:lnTo>
                    <a:pt x="924" y="384"/>
                  </a:lnTo>
                  <a:lnTo>
                    <a:pt x="930" y="372"/>
                  </a:lnTo>
                  <a:lnTo>
                    <a:pt x="936" y="372"/>
                  </a:lnTo>
                  <a:lnTo>
                    <a:pt x="942" y="348"/>
                  </a:lnTo>
                  <a:lnTo>
                    <a:pt x="954" y="348"/>
                  </a:lnTo>
                  <a:lnTo>
                    <a:pt x="954" y="342"/>
                  </a:lnTo>
                  <a:lnTo>
                    <a:pt x="984" y="342"/>
                  </a:lnTo>
                  <a:lnTo>
                    <a:pt x="978" y="390"/>
                  </a:lnTo>
                  <a:lnTo>
                    <a:pt x="984" y="390"/>
                  </a:lnTo>
                  <a:lnTo>
                    <a:pt x="990" y="396"/>
                  </a:lnTo>
                  <a:lnTo>
                    <a:pt x="996" y="396"/>
                  </a:lnTo>
                  <a:lnTo>
                    <a:pt x="1002" y="396"/>
                  </a:lnTo>
                  <a:lnTo>
                    <a:pt x="1002" y="408"/>
                  </a:lnTo>
                  <a:lnTo>
                    <a:pt x="990" y="414"/>
                  </a:lnTo>
                  <a:lnTo>
                    <a:pt x="984" y="426"/>
                  </a:lnTo>
                  <a:lnTo>
                    <a:pt x="990" y="444"/>
                  </a:lnTo>
                  <a:lnTo>
                    <a:pt x="996" y="450"/>
                  </a:lnTo>
                  <a:lnTo>
                    <a:pt x="990" y="462"/>
                  </a:lnTo>
                  <a:lnTo>
                    <a:pt x="990" y="468"/>
                  </a:lnTo>
                  <a:lnTo>
                    <a:pt x="984" y="480"/>
                  </a:lnTo>
                  <a:lnTo>
                    <a:pt x="978" y="486"/>
                  </a:lnTo>
                  <a:lnTo>
                    <a:pt x="972" y="486"/>
                  </a:lnTo>
                  <a:lnTo>
                    <a:pt x="966" y="492"/>
                  </a:lnTo>
                  <a:lnTo>
                    <a:pt x="966" y="498"/>
                  </a:lnTo>
                  <a:lnTo>
                    <a:pt x="954" y="510"/>
                  </a:lnTo>
                  <a:lnTo>
                    <a:pt x="948" y="510"/>
                  </a:lnTo>
                  <a:lnTo>
                    <a:pt x="942" y="516"/>
                  </a:lnTo>
                  <a:lnTo>
                    <a:pt x="936" y="528"/>
                  </a:lnTo>
                  <a:lnTo>
                    <a:pt x="936" y="534"/>
                  </a:lnTo>
                  <a:lnTo>
                    <a:pt x="936" y="546"/>
                  </a:lnTo>
                  <a:lnTo>
                    <a:pt x="936" y="558"/>
                  </a:lnTo>
                  <a:lnTo>
                    <a:pt x="948" y="558"/>
                  </a:lnTo>
                  <a:lnTo>
                    <a:pt x="954" y="558"/>
                  </a:lnTo>
                  <a:lnTo>
                    <a:pt x="996" y="558"/>
                  </a:lnTo>
                  <a:lnTo>
                    <a:pt x="1002" y="570"/>
                  </a:lnTo>
                  <a:lnTo>
                    <a:pt x="996" y="576"/>
                  </a:lnTo>
                  <a:lnTo>
                    <a:pt x="996" y="588"/>
                  </a:lnTo>
                  <a:lnTo>
                    <a:pt x="984" y="588"/>
                  </a:lnTo>
                  <a:lnTo>
                    <a:pt x="990" y="612"/>
                  </a:lnTo>
                  <a:lnTo>
                    <a:pt x="1014" y="606"/>
                  </a:lnTo>
                  <a:lnTo>
                    <a:pt x="1014" y="636"/>
                  </a:lnTo>
                  <a:lnTo>
                    <a:pt x="1014" y="648"/>
                  </a:lnTo>
                  <a:lnTo>
                    <a:pt x="1020" y="648"/>
                  </a:lnTo>
                  <a:lnTo>
                    <a:pt x="1026" y="660"/>
                  </a:lnTo>
                  <a:lnTo>
                    <a:pt x="1038" y="654"/>
                  </a:lnTo>
                  <a:lnTo>
                    <a:pt x="1050" y="654"/>
                  </a:lnTo>
                  <a:lnTo>
                    <a:pt x="1062" y="654"/>
                  </a:lnTo>
                  <a:lnTo>
                    <a:pt x="1068" y="660"/>
                  </a:lnTo>
                  <a:lnTo>
                    <a:pt x="1068" y="678"/>
                  </a:lnTo>
                  <a:lnTo>
                    <a:pt x="1068" y="684"/>
                  </a:lnTo>
                  <a:lnTo>
                    <a:pt x="1062" y="690"/>
                  </a:lnTo>
                  <a:lnTo>
                    <a:pt x="1056" y="696"/>
                  </a:lnTo>
                  <a:lnTo>
                    <a:pt x="1056" y="702"/>
                  </a:lnTo>
                  <a:lnTo>
                    <a:pt x="1038" y="714"/>
                  </a:lnTo>
                  <a:lnTo>
                    <a:pt x="1026" y="720"/>
                  </a:lnTo>
                  <a:lnTo>
                    <a:pt x="1008" y="726"/>
                  </a:lnTo>
                  <a:lnTo>
                    <a:pt x="1008" y="732"/>
                  </a:lnTo>
                  <a:lnTo>
                    <a:pt x="990" y="732"/>
                  </a:lnTo>
                  <a:lnTo>
                    <a:pt x="984" y="744"/>
                  </a:lnTo>
                  <a:lnTo>
                    <a:pt x="990" y="750"/>
                  </a:lnTo>
                  <a:lnTo>
                    <a:pt x="984" y="762"/>
                  </a:lnTo>
                  <a:lnTo>
                    <a:pt x="984" y="768"/>
                  </a:lnTo>
                  <a:lnTo>
                    <a:pt x="984" y="774"/>
                  </a:lnTo>
                  <a:lnTo>
                    <a:pt x="984" y="780"/>
                  </a:lnTo>
                  <a:lnTo>
                    <a:pt x="984" y="786"/>
                  </a:lnTo>
                  <a:lnTo>
                    <a:pt x="984" y="792"/>
                  </a:lnTo>
                  <a:lnTo>
                    <a:pt x="978" y="798"/>
                  </a:lnTo>
                  <a:lnTo>
                    <a:pt x="978" y="80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3" name="Freeform 38">
              <a:extLst>
                <a:ext uri="{FF2B5EF4-FFF2-40B4-BE49-F238E27FC236}">
                  <a16:creationId xmlns:a16="http://schemas.microsoft.com/office/drawing/2014/main" id="{819B99CE-D972-4530-8964-A992C1EC87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2825" y="1634436"/>
              <a:ext cx="959326" cy="959458"/>
            </a:xfrm>
            <a:custGeom>
              <a:avLst/>
              <a:gdLst>
                <a:gd name="T0" fmla="*/ 105 w 1806"/>
                <a:gd name="T1" fmla="*/ 155 h 1806"/>
                <a:gd name="T2" fmla="*/ 103 w 1806"/>
                <a:gd name="T3" fmla="*/ 155 h 1806"/>
                <a:gd name="T4" fmla="*/ 103 w 1806"/>
                <a:gd name="T5" fmla="*/ 150 h 1806"/>
                <a:gd name="T6" fmla="*/ 104 w 1806"/>
                <a:gd name="T7" fmla="*/ 141 h 1806"/>
                <a:gd name="T8" fmla="*/ 104 w 1806"/>
                <a:gd name="T9" fmla="*/ 136 h 1806"/>
                <a:gd name="T10" fmla="*/ 100 w 1806"/>
                <a:gd name="T11" fmla="*/ 131 h 1806"/>
                <a:gd name="T12" fmla="*/ 96 w 1806"/>
                <a:gd name="T13" fmla="*/ 127 h 1806"/>
                <a:gd name="T14" fmla="*/ 91 w 1806"/>
                <a:gd name="T15" fmla="*/ 121 h 1806"/>
                <a:gd name="T16" fmla="*/ 87 w 1806"/>
                <a:gd name="T17" fmla="*/ 120 h 1806"/>
                <a:gd name="T18" fmla="*/ 81 w 1806"/>
                <a:gd name="T19" fmla="*/ 117 h 1806"/>
                <a:gd name="T20" fmla="*/ 65 w 1806"/>
                <a:gd name="T21" fmla="*/ 113 h 1806"/>
                <a:gd name="T22" fmla="*/ 69 w 1806"/>
                <a:gd name="T23" fmla="*/ 105 h 1806"/>
                <a:gd name="T24" fmla="*/ 66 w 1806"/>
                <a:gd name="T25" fmla="*/ 89 h 1806"/>
                <a:gd name="T26" fmla="*/ 63 w 1806"/>
                <a:gd name="T27" fmla="*/ 84 h 1806"/>
                <a:gd name="T28" fmla="*/ 62 w 1806"/>
                <a:gd name="T29" fmla="*/ 74 h 1806"/>
                <a:gd name="T30" fmla="*/ 58 w 1806"/>
                <a:gd name="T31" fmla="*/ 52 h 1806"/>
                <a:gd name="T32" fmla="*/ 53 w 1806"/>
                <a:gd name="T33" fmla="*/ 49 h 1806"/>
                <a:gd name="T34" fmla="*/ 51 w 1806"/>
                <a:gd name="T35" fmla="*/ 36 h 1806"/>
                <a:gd name="T36" fmla="*/ 43 w 1806"/>
                <a:gd name="T37" fmla="*/ 32 h 1806"/>
                <a:gd name="T38" fmla="*/ 33 w 1806"/>
                <a:gd name="T39" fmla="*/ 30 h 1806"/>
                <a:gd name="T40" fmla="*/ 30 w 1806"/>
                <a:gd name="T41" fmla="*/ 21 h 1806"/>
                <a:gd name="T42" fmla="*/ 17 w 1806"/>
                <a:gd name="T43" fmla="*/ 25 h 1806"/>
                <a:gd name="T44" fmla="*/ 4 w 1806"/>
                <a:gd name="T45" fmla="*/ 33 h 1806"/>
                <a:gd name="T46" fmla="*/ 7 w 1806"/>
                <a:gd name="T47" fmla="*/ 26 h 1806"/>
                <a:gd name="T48" fmla="*/ 11 w 1806"/>
                <a:gd name="T49" fmla="*/ 20 h 1806"/>
                <a:gd name="T50" fmla="*/ 18 w 1806"/>
                <a:gd name="T51" fmla="*/ 12 h 1806"/>
                <a:gd name="T52" fmla="*/ 26 w 1806"/>
                <a:gd name="T53" fmla="*/ 8 h 1806"/>
                <a:gd name="T54" fmla="*/ 35 w 1806"/>
                <a:gd name="T55" fmla="*/ 6 h 1806"/>
                <a:gd name="T56" fmla="*/ 44 w 1806"/>
                <a:gd name="T57" fmla="*/ 5 h 1806"/>
                <a:gd name="T58" fmla="*/ 54 w 1806"/>
                <a:gd name="T59" fmla="*/ 2 h 1806"/>
                <a:gd name="T60" fmla="*/ 65 w 1806"/>
                <a:gd name="T61" fmla="*/ 0 h 1806"/>
                <a:gd name="T62" fmla="*/ 76 w 1806"/>
                <a:gd name="T63" fmla="*/ 0 h 1806"/>
                <a:gd name="T64" fmla="*/ 85 w 1806"/>
                <a:gd name="T65" fmla="*/ 0 h 1806"/>
                <a:gd name="T66" fmla="*/ 97 w 1806"/>
                <a:gd name="T67" fmla="*/ 0 h 1806"/>
                <a:gd name="T68" fmla="*/ 108 w 1806"/>
                <a:gd name="T69" fmla="*/ 3 h 1806"/>
                <a:gd name="T70" fmla="*/ 115 w 1806"/>
                <a:gd name="T71" fmla="*/ 5 h 1806"/>
                <a:gd name="T72" fmla="*/ 123 w 1806"/>
                <a:gd name="T73" fmla="*/ 7 h 1806"/>
                <a:gd name="T74" fmla="*/ 133 w 1806"/>
                <a:gd name="T75" fmla="*/ 14 h 1806"/>
                <a:gd name="T76" fmla="*/ 138 w 1806"/>
                <a:gd name="T77" fmla="*/ 16 h 1806"/>
                <a:gd name="T78" fmla="*/ 140 w 1806"/>
                <a:gd name="T79" fmla="*/ 14 h 1806"/>
                <a:gd name="T80" fmla="*/ 145 w 1806"/>
                <a:gd name="T81" fmla="*/ 16 h 1806"/>
                <a:gd name="T82" fmla="*/ 147 w 1806"/>
                <a:gd name="T83" fmla="*/ 16 h 1806"/>
                <a:gd name="T84" fmla="*/ 150 w 1806"/>
                <a:gd name="T85" fmla="*/ 17 h 1806"/>
                <a:gd name="T86" fmla="*/ 152 w 1806"/>
                <a:gd name="T87" fmla="*/ 18 h 1806"/>
                <a:gd name="T88" fmla="*/ 155 w 1806"/>
                <a:gd name="T89" fmla="*/ 37 h 1806"/>
                <a:gd name="T90" fmla="*/ 146 w 1806"/>
                <a:gd name="T91" fmla="*/ 66 h 1806"/>
                <a:gd name="T92" fmla="*/ 143 w 1806"/>
                <a:gd name="T93" fmla="*/ 88 h 1806"/>
                <a:gd name="T94" fmla="*/ 144 w 1806"/>
                <a:gd name="T95" fmla="*/ 98 h 1806"/>
                <a:gd name="T96" fmla="*/ 137 w 1806"/>
                <a:gd name="T97" fmla="*/ 118 h 1806"/>
                <a:gd name="T98" fmla="*/ 132 w 1806"/>
                <a:gd name="T99" fmla="*/ 129 h 1806"/>
                <a:gd name="T100" fmla="*/ 124 w 1806"/>
                <a:gd name="T101" fmla="*/ 135 h 1806"/>
                <a:gd name="T102" fmla="*/ 119 w 1806"/>
                <a:gd name="T103" fmla="*/ 136 h 1806"/>
                <a:gd name="T104" fmla="*/ 116 w 1806"/>
                <a:gd name="T105" fmla="*/ 137 h 1806"/>
                <a:gd name="T106" fmla="*/ 112 w 1806"/>
                <a:gd name="T107" fmla="*/ 139 h 1806"/>
                <a:gd name="T108" fmla="*/ 112 w 1806"/>
                <a:gd name="T109" fmla="*/ 141 h 1806"/>
                <a:gd name="T110" fmla="*/ 116 w 1806"/>
                <a:gd name="T111" fmla="*/ 146 h 1806"/>
                <a:gd name="T112" fmla="*/ 116 w 1806"/>
                <a:gd name="T113" fmla="*/ 151 h 1806"/>
                <a:gd name="T114" fmla="*/ 113 w 1806"/>
                <a:gd name="T115" fmla="*/ 153 h 18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6"/>
                <a:gd name="T175" fmla="*/ 0 h 1806"/>
                <a:gd name="T176" fmla="*/ 1806 w 1806"/>
                <a:gd name="T177" fmla="*/ 1806 h 18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6" h="1806">
                  <a:moveTo>
                    <a:pt x="1260" y="1776"/>
                  </a:moveTo>
                  <a:lnTo>
                    <a:pt x="1254" y="1776"/>
                  </a:lnTo>
                  <a:lnTo>
                    <a:pt x="1248" y="1776"/>
                  </a:lnTo>
                  <a:lnTo>
                    <a:pt x="1242" y="1782"/>
                  </a:lnTo>
                  <a:lnTo>
                    <a:pt x="1236" y="1782"/>
                  </a:lnTo>
                  <a:lnTo>
                    <a:pt x="1230" y="1788"/>
                  </a:lnTo>
                  <a:lnTo>
                    <a:pt x="1224" y="1782"/>
                  </a:lnTo>
                  <a:lnTo>
                    <a:pt x="1218" y="1782"/>
                  </a:lnTo>
                  <a:lnTo>
                    <a:pt x="1218" y="1788"/>
                  </a:lnTo>
                  <a:lnTo>
                    <a:pt x="1212" y="1788"/>
                  </a:lnTo>
                  <a:lnTo>
                    <a:pt x="1206" y="1788"/>
                  </a:lnTo>
                  <a:lnTo>
                    <a:pt x="1206" y="1794"/>
                  </a:lnTo>
                  <a:lnTo>
                    <a:pt x="1200" y="1806"/>
                  </a:lnTo>
                  <a:lnTo>
                    <a:pt x="1194" y="1800"/>
                  </a:lnTo>
                  <a:lnTo>
                    <a:pt x="1194" y="1794"/>
                  </a:lnTo>
                  <a:lnTo>
                    <a:pt x="1194" y="1788"/>
                  </a:lnTo>
                  <a:lnTo>
                    <a:pt x="1188" y="1788"/>
                  </a:lnTo>
                  <a:lnTo>
                    <a:pt x="1188" y="1782"/>
                  </a:lnTo>
                  <a:lnTo>
                    <a:pt x="1188" y="1776"/>
                  </a:lnTo>
                  <a:lnTo>
                    <a:pt x="1194" y="1770"/>
                  </a:lnTo>
                  <a:lnTo>
                    <a:pt x="1194" y="1764"/>
                  </a:lnTo>
                  <a:lnTo>
                    <a:pt x="1194" y="1758"/>
                  </a:lnTo>
                  <a:lnTo>
                    <a:pt x="1194" y="1752"/>
                  </a:lnTo>
                  <a:lnTo>
                    <a:pt x="1200" y="1746"/>
                  </a:lnTo>
                  <a:lnTo>
                    <a:pt x="1200" y="1740"/>
                  </a:lnTo>
                  <a:lnTo>
                    <a:pt x="1200" y="1734"/>
                  </a:lnTo>
                  <a:lnTo>
                    <a:pt x="1188" y="1722"/>
                  </a:lnTo>
                  <a:lnTo>
                    <a:pt x="1188" y="1716"/>
                  </a:lnTo>
                  <a:lnTo>
                    <a:pt x="1194" y="1704"/>
                  </a:lnTo>
                  <a:lnTo>
                    <a:pt x="1194" y="1692"/>
                  </a:lnTo>
                  <a:lnTo>
                    <a:pt x="1200" y="1680"/>
                  </a:lnTo>
                  <a:lnTo>
                    <a:pt x="1200" y="1662"/>
                  </a:lnTo>
                  <a:lnTo>
                    <a:pt x="1200" y="1650"/>
                  </a:lnTo>
                  <a:lnTo>
                    <a:pt x="1206" y="1644"/>
                  </a:lnTo>
                  <a:lnTo>
                    <a:pt x="1206" y="1638"/>
                  </a:lnTo>
                  <a:lnTo>
                    <a:pt x="1206" y="1626"/>
                  </a:lnTo>
                  <a:lnTo>
                    <a:pt x="1206" y="1620"/>
                  </a:lnTo>
                  <a:lnTo>
                    <a:pt x="1206" y="1614"/>
                  </a:lnTo>
                  <a:lnTo>
                    <a:pt x="1200" y="1608"/>
                  </a:lnTo>
                  <a:lnTo>
                    <a:pt x="1200" y="1602"/>
                  </a:lnTo>
                  <a:lnTo>
                    <a:pt x="1200" y="1596"/>
                  </a:lnTo>
                  <a:lnTo>
                    <a:pt x="1200" y="1590"/>
                  </a:lnTo>
                  <a:lnTo>
                    <a:pt x="1200" y="1572"/>
                  </a:lnTo>
                  <a:lnTo>
                    <a:pt x="1200" y="1566"/>
                  </a:lnTo>
                  <a:lnTo>
                    <a:pt x="1200" y="1560"/>
                  </a:lnTo>
                  <a:lnTo>
                    <a:pt x="1194" y="1554"/>
                  </a:lnTo>
                  <a:lnTo>
                    <a:pt x="1188" y="1548"/>
                  </a:lnTo>
                  <a:lnTo>
                    <a:pt x="1188" y="1542"/>
                  </a:lnTo>
                  <a:lnTo>
                    <a:pt x="1176" y="1536"/>
                  </a:lnTo>
                  <a:lnTo>
                    <a:pt x="1176" y="1530"/>
                  </a:lnTo>
                  <a:lnTo>
                    <a:pt x="1170" y="1524"/>
                  </a:lnTo>
                  <a:lnTo>
                    <a:pt x="1170" y="1518"/>
                  </a:lnTo>
                  <a:lnTo>
                    <a:pt x="1164" y="1512"/>
                  </a:lnTo>
                  <a:lnTo>
                    <a:pt x="1158" y="1506"/>
                  </a:lnTo>
                  <a:lnTo>
                    <a:pt x="1152" y="1500"/>
                  </a:lnTo>
                  <a:lnTo>
                    <a:pt x="1146" y="1494"/>
                  </a:lnTo>
                  <a:lnTo>
                    <a:pt x="1140" y="1488"/>
                  </a:lnTo>
                  <a:lnTo>
                    <a:pt x="1134" y="1482"/>
                  </a:lnTo>
                  <a:lnTo>
                    <a:pt x="1128" y="1476"/>
                  </a:lnTo>
                  <a:lnTo>
                    <a:pt x="1122" y="1470"/>
                  </a:lnTo>
                  <a:lnTo>
                    <a:pt x="1116" y="1464"/>
                  </a:lnTo>
                  <a:lnTo>
                    <a:pt x="1110" y="1464"/>
                  </a:lnTo>
                  <a:lnTo>
                    <a:pt x="1104" y="1458"/>
                  </a:lnTo>
                  <a:lnTo>
                    <a:pt x="1098" y="1464"/>
                  </a:lnTo>
                  <a:lnTo>
                    <a:pt x="1092" y="1464"/>
                  </a:lnTo>
                  <a:lnTo>
                    <a:pt x="1086" y="1446"/>
                  </a:lnTo>
                  <a:lnTo>
                    <a:pt x="1086" y="1440"/>
                  </a:lnTo>
                  <a:lnTo>
                    <a:pt x="1080" y="1416"/>
                  </a:lnTo>
                  <a:lnTo>
                    <a:pt x="1068" y="1404"/>
                  </a:lnTo>
                  <a:lnTo>
                    <a:pt x="1062" y="1398"/>
                  </a:lnTo>
                  <a:lnTo>
                    <a:pt x="1056" y="1398"/>
                  </a:lnTo>
                  <a:lnTo>
                    <a:pt x="1050" y="1398"/>
                  </a:lnTo>
                  <a:lnTo>
                    <a:pt x="1044" y="1398"/>
                  </a:lnTo>
                  <a:lnTo>
                    <a:pt x="1044" y="1392"/>
                  </a:lnTo>
                  <a:lnTo>
                    <a:pt x="1038" y="1392"/>
                  </a:lnTo>
                  <a:lnTo>
                    <a:pt x="1032" y="1392"/>
                  </a:lnTo>
                  <a:lnTo>
                    <a:pt x="1020" y="1386"/>
                  </a:lnTo>
                  <a:lnTo>
                    <a:pt x="1014" y="1386"/>
                  </a:lnTo>
                  <a:lnTo>
                    <a:pt x="1014" y="1380"/>
                  </a:lnTo>
                  <a:lnTo>
                    <a:pt x="1008" y="1380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62"/>
                  </a:lnTo>
                  <a:lnTo>
                    <a:pt x="984" y="1356"/>
                  </a:lnTo>
                  <a:lnTo>
                    <a:pt x="978" y="1356"/>
                  </a:lnTo>
                  <a:lnTo>
                    <a:pt x="972" y="1356"/>
                  </a:lnTo>
                  <a:lnTo>
                    <a:pt x="966" y="1356"/>
                  </a:lnTo>
                  <a:lnTo>
                    <a:pt x="966" y="1350"/>
                  </a:lnTo>
                  <a:lnTo>
                    <a:pt x="948" y="1350"/>
                  </a:lnTo>
                  <a:lnTo>
                    <a:pt x="936" y="1344"/>
                  </a:lnTo>
                  <a:lnTo>
                    <a:pt x="930" y="1338"/>
                  </a:lnTo>
                  <a:lnTo>
                    <a:pt x="918" y="1332"/>
                  </a:lnTo>
                  <a:lnTo>
                    <a:pt x="900" y="1326"/>
                  </a:lnTo>
                  <a:lnTo>
                    <a:pt x="864" y="1332"/>
                  </a:lnTo>
                  <a:lnTo>
                    <a:pt x="828" y="1332"/>
                  </a:lnTo>
                  <a:lnTo>
                    <a:pt x="792" y="1314"/>
                  </a:lnTo>
                  <a:lnTo>
                    <a:pt x="780" y="1314"/>
                  </a:lnTo>
                  <a:lnTo>
                    <a:pt x="780" y="1308"/>
                  </a:lnTo>
                  <a:lnTo>
                    <a:pt x="756" y="1296"/>
                  </a:lnTo>
                  <a:lnTo>
                    <a:pt x="756" y="1278"/>
                  </a:lnTo>
                  <a:lnTo>
                    <a:pt x="768" y="1278"/>
                  </a:lnTo>
                  <a:lnTo>
                    <a:pt x="774" y="1272"/>
                  </a:lnTo>
                  <a:lnTo>
                    <a:pt x="780" y="1266"/>
                  </a:lnTo>
                  <a:lnTo>
                    <a:pt x="786" y="1260"/>
                  </a:lnTo>
                  <a:lnTo>
                    <a:pt x="792" y="1254"/>
                  </a:lnTo>
                  <a:lnTo>
                    <a:pt x="798" y="1242"/>
                  </a:lnTo>
                  <a:lnTo>
                    <a:pt x="804" y="1242"/>
                  </a:lnTo>
                  <a:lnTo>
                    <a:pt x="804" y="1206"/>
                  </a:lnTo>
                  <a:lnTo>
                    <a:pt x="804" y="1182"/>
                  </a:lnTo>
                  <a:lnTo>
                    <a:pt x="804" y="1158"/>
                  </a:lnTo>
                  <a:lnTo>
                    <a:pt x="804" y="1134"/>
                  </a:lnTo>
                  <a:lnTo>
                    <a:pt x="798" y="1116"/>
                  </a:lnTo>
                  <a:lnTo>
                    <a:pt x="792" y="1092"/>
                  </a:lnTo>
                  <a:lnTo>
                    <a:pt x="786" y="1062"/>
                  </a:lnTo>
                  <a:lnTo>
                    <a:pt x="768" y="1032"/>
                  </a:lnTo>
                  <a:lnTo>
                    <a:pt x="762" y="1032"/>
                  </a:lnTo>
                  <a:lnTo>
                    <a:pt x="762" y="1020"/>
                  </a:lnTo>
                  <a:lnTo>
                    <a:pt x="762" y="1014"/>
                  </a:lnTo>
                  <a:lnTo>
                    <a:pt x="756" y="1008"/>
                  </a:lnTo>
                  <a:lnTo>
                    <a:pt x="750" y="1002"/>
                  </a:lnTo>
                  <a:lnTo>
                    <a:pt x="738" y="1002"/>
                  </a:lnTo>
                  <a:lnTo>
                    <a:pt x="738" y="990"/>
                  </a:lnTo>
                  <a:lnTo>
                    <a:pt x="726" y="990"/>
                  </a:lnTo>
                  <a:lnTo>
                    <a:pt x="726" y="978"/>
                  </a:lnTo>
                  <a:lnTo>
                    <a:pt x="732" y="972"/>
                  </a:lnTo>
                  <a:lnTo>
                    <a:pt x="732" y="966"/>
                  </a:lnTo>
                  <a:lnTo>
                    <a:pt x="726" y="966"/>
                  </a:lnTo>
                  <a:lnTo>
                    <a:pt x="732" y="948"/>
                  </a:lnTo>
                  <a:lnTo>
                    <a:pt x="726" y="942"/>
                  </a:lnTo>
                  <a:lnTo>
                    <a:pt x="726" y="930"/>
                  </a:lnTo>
                  <a:lnTo>
                    <a:pt x="720" y="924"/>
                  </a:lnTo>
                  <a:lnTo>
                    <a:pt x="714" y="912"/>
                  </a:lnTo>
                  <a:lnTo>
                    <a:pt x="714" y="882"/>
                  </a:lnTo>
                  <a:lnTo>
                    <a:pt x="714" y="870"/>
                  </a:lnTo>
                  <a:lnTo>
                    <a:pt x="714" y="858"/>
                  </a:lnTo>
                  <a:lnTo>
                    <a:pt x="714" y="846"/>
                  </a:lnTo>
                  <a:lnTo>
                    <a:pt x="708" y="822"/>
                  </a:lnTo>
                  <a:lnTo>
                    <a:pt x="702" y="798"/>
                  </a:lnTo>
                  <a:lnTo>
                    <a:pt x="696" y="792"/>
                  </a:lnTo>
                  <a:lnTo>
                    <a:pt x="684" y="726"/>
                  </a:lnTo>
                  <a:lnTo>
                    <a:pt x="678" y="666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66" y="600"/>
                  </a:lnTo>
                  <a:lnTo>
                    <a:pt x="660" y="594"/>
                  </a:lnTo>
                  <a:lnTo>
                    <a:pt x="654" y="594"/>
                  </a:lnTo>
                  <a:lnTo>
                    <a:pt x="636" y="582"/>
                  </a:lnTo>
                  <a:lnTo>
                    <a:pt x="630" y="576"/>
                  </a:lnTo>
                  <a:lnTo>
                    <a:pt x="624" y="576"/>
                  </a:lnTo>
                  <a:lnTo>
                    <a:pt x="618" y="570"/>
                  </a:lnTo>
                  <a:lnTo>
                    <a:pt x="612" y="564"/>
                  </a:lnTo>
                  <a:lnTo>
                    <a:pt x="606" y="558"/>
                  </a:lnTo>
                  <a:lnTo>
                    <a:pt x="606" y="564"/>
                  </a:lnTo>
                  <a:lnTo>
                    <a:pt x="600" y="564"/>
                  </a:lnTo>
                  <a:lnTo>
                    <a:pt x="594" y="558"/>
                  </a:lnTo>
                  <a:lnTo>
                    <a:pt x="594" y="540"/>
                  </a:lnTo>
                  <a:lnTo>
                    <a:pt x="594" y="528"/>
                  </a:lnTo>
                  <a:lnTo>
                    <a:pt x="594" y="516"/>
                  </a:lnTo>
                  <a:lnTo>
                    <a:pt x="594" y="510"/>
                  </a:lnTo>
                  <a:lnTo>
                    <a:pt x="594" y="492"/>
                  </a:lnTo>
                  <a:lnTo>
                    <a:pt x="594" y="456"/>
                  </a:lnTo>
                  <a:lnTo>
                    <a:pt x="588" y="414"/>
                  </a:lnTo>
                  <a:lnTo>
                    <a:pt x="588" y="408"/>
                  </a:lnTo>
                  <a:lnTo>
                    <a:pt x="582" y="396"/>
                  </a:lnTo>
                  <a:lnTo>
                    <a:pt x="582" y="384"/>
                  </a:lnTo>
                  <a:lnTo>
                    <a:pt x="582" y="372"/>
                  </a:lnTo>
                  <a:lnTo>
                    <a:pt x="564" y="372"/>
                  </a:lnTo>
                  <a:lnTo>
                    <a:pt x="552" y="366"/>
                  </a:lnTo>
                  <a:lnTo>
                    <a:pt x="552" y="372"/>
                  </a:lnTo>
                  <a:lnTo>
                    <a:pt x="498" y="372"/>
                  </a:lnTo>
                  <a:lnTo>
                    <a:pt x="498" y="366"/>
                  </a:lnTo>
                  <a:lnTo>
                    <a:pt x="474" y="360"/>
                  </a:lnTo>
                  <a:lnTo>
                    <a:pt x="456" y="354"/>
                  </a:lnTo>
                  <a:lnTo>
                    <a:pt x="438" y="348"/>
                  </a:lnTo>
                  <a:lnTo>
                    <a:pt x="426" y="354"/>
                  </a:lnTo>
                  <a:lnTo>
                    <a:pt x="408" y="360"/>
                  </a:lnTo>
                  <a:lnTo>
                    <a:pt x="378" y="360"/>
                  </a:lnTo>
                  <a:lnTo>
                    <a:pt x="378" y="354"/>
                  </a:lnTo>
                  <a:lnTo>
                    <a:pt x="378" y="348"/>
                  </a:lnTo>
                  <a:lnTo>
                    <a:pt x="378" y="342"/>
                  </a:lnTo>
                  <a:lnTo>
                    <a:pt x="390" y="330"/>
                  </a:lnTo>
                  <a:lnTo>
                    <a:pt x="396" y="312"/>
                  </a:lnTo>
                  <a:lnTo>
                    <a:pt x="396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8"/>
                  </a:lnTo>
                  <a:lnTo>
                    <a:pt x="372" y="234"/>
                  </a:lnTo>
                  <a:lnTo>
                    <a:pt x="354" y="234"/>
                  </a:lnTo>
                  <a:lnTo>
                    <a:pt x="342" y="246"/>
                  </a:lnTo>
                  <a:lnTo>
                    <a:pt x="330" y="252"/>
                  </a:lnTo>
                  <a:lnTo>
                    <a:pt x="318" y="252"/>
                  </a:lnTo>
                  <a:lnTo>
                    <a:pt x="276" y="258"/>
                  </a:lnTo>
                  <a:lnTo>
                    <a:pt x="276" y="264"/>
                  </a:lnTo>
                  <a:lnTo>
                    <a:pt x="252" y="270"/>
                  </a:lnTo>
                  <a:lnTo>
                    <a:pt x="240" y="270"/>
                  </a:lnTo>
                  <a:lnTo>
                    <a:pt x="228" y="276"/>
                  </a:lnTo>
                  <a:lnTo>
                    <a:pt x="210" y="282"/>
                  </a:lnTo>
                  <a:lnTo>
                    <a:pt x="198" y="288"/>
                  </a:lnTo>
                  <a:lnTo>
                    <a:pt x="186" y="294"/>
                  </a:lnTo>
                  <a:lnTo>
                    <a:pt x="174" y="330"/>
                  </a:lnTo>
                  <a:lnTo>
                    <a:pt x="162" y="342"/>
                  </a:lnTo>
                  <a:lnTo>
                    <a:pt x="156" y="354"/>
                  </a:lnTo>
                  <a:lnTo>
                    <a:pt x="150" y="360"/>
                  </a:lnTo>
                  <a:lnTo>
                    <a:pt x="150" y="366"/>
                  </a:lnTo>
                  <a:lnTo>
                    <a:pt x="108" y="372"/>
                  </a:lnTo>
                  <a:lnTo>
                    <a:pt x="60" y="378"/>
                  </a:lnTo>
                  <a:lnTo>
                    <a:pt x="42" y="378"/>
                  </a:lnTo>
                  <a:lnTo>
                    <a:pt x="12" y="378"/>
                  </a:lnTo>
                  <a:lnTo>
                    <a:pt x="6" y="378"/>
                  </a:lnTo>
                  <a:lnTo>
                    <a:pt x="0" y="366"/>
                  </a:lnTo>
                  <a:lnTo>
                    <a:pt x="12" y="360"/>
                  </a:lnTo>
                  <a:lnTo>
                    <a:pt x="24" y="348"/>
                  </a:lnTo>
                  <a:lnTo>
                    <a:pt x="30" y="342"/>
                  </a:lnTo>
                  <a:lnTo>
                    <a:pt x="36" y="330"/>
                  </a:lnTo>
                  <a:lnTo>
                    <a:pt x="72" y="300"/>
                  </a:lnTo>
                  <a:lnTo>
                    <a:pt x="78" y="294"/>
                  </a:lnTo>
                  <a:lnTo>
                    <a:pt x="78" y="288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96" y="270"/>
                  </a:lnTo>
                  <a:lnTo>
                    <a:pt x="102" y="264"/>
                  </a:lnTo>
                  <a:lnTo>
                    <a:pt x="108" y="258"/>
                  </a:lnTo>
                  <a:lnTo>
                    <a:pt x="114" y="246"/>
                  </a:lnTo>
                  <a:lnTo>
                    <a:pt x="120" y="240"/>
                  </a:lnTo>
                  <a:lnTo>
                    <a:pt x="126" y="234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0" y="210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86" y="174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22" y="138"/>
                  </a:lnTo>
                  <a:lnTo>
                    <a:pt x="234" y="132"/>
                  </a:lnTo>
                  <a:lnTo>
                    <a:pt x="246" y="126"/>
                  </a:lnTo>
                  <a:lnTo>
                    <a:pt x="246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88" y="102"/>
                  </a:lnTo>
                  <a:lnTo>
                    <a:pt x="300" y="96"/>
                  </a:lnTo>
                  <a:lnTo>
                    <a:pt x="306" y="90"/>
                  </a:lnTo>
                  <a:lnTo>
                    <a:pt x="318" y="90"/>
                  </a:lnTo>
                  <a:lnTo>
                    <a:pt x="324" y="84"/>
                  </a:lnTo>
                  <a:lnTo>
                    <a:pt x="348" y="72"/>
                  </a:lnTo>
                  <a:lnTo>
                    <a:pt x="354" y="72"/>
                  </a:lnTo>
                  <a:lnTo>
                    <a:pt x="384" y="66"/>
                  </a:lnTo>
                  <a:lnTo>
                    <a:pt x="390" y="66"/>
                  </a:lnTo>
                  <a:lnTo>
                    <a:pt x="396" y="66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66"/>
                  </a:lnTo>
                  <a:lnTo>
                    <a:pt x="438" y="66"/>
                  </a:lnTo>
                  <a:lnTo>
                    <a:pt x="468" y="66"/>
                  </a:lnTo>
                  <a:lnTo>
                    <a:pt x="480" y="66"/>
                  </a:lnTo>
                  <a:lnTo>
                    <a:pt x="486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22" y="60"/>
                  </a:lnTo>
                  <a:lnTo>
                    <a:pt x="534" y="54"/>
                  </a:lnTo>
                  <a:lnTo>
                    <a:pt x="564" y="42"/>
                  </a:lnTo>
                  <a:lnTo>
                    <a:pt x="570" y="42"/>
                  </a:lnTo>
                  <a:lnTo>
                    <a:pt x="582" y="36"/>
                  </a:lnTo>
                  <a:lnTo>
                    <a:pt x="588" y="36"/>
                  </a:lnTo>
                  <a:lnTo>
                    <a:pt x="600" y="30"/>
                  </a:lnTo>
                  <a:lnTo>
                    <a:pt x="606" y="30"/>
                  </a:lnTo>
                  <a:lnTo>
                    <a:pt x="618" y="24"/>
                  </a:lnTo>
                  <a:lnTo>
                    <a:pt x="642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72" y="12"/>
                  </a:lnTo>
                  <a:lnTo>
                    <a:pt x="696" y="12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50" y="6"/>
                  </a:lnTo>
                  <a:lnTo>
                    <a:pt x="768" y="6"/>
                  </a:lnTo>
                  <a:lnTo>
                    <a:pt x="774" y="6"/>
                  </a:lnTo>
                  <a:lnTo>
                    <a:pt x="786" y="6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6" y="6"/>
                  </a:lnTo>
                  <a:lnTo>
                    <a:pt x="846" y="6"/>
                  </a:lnTo>
                  <a:lnTo>
                    <a:pt x="852" y="0"/>
                  </a:lnTo>
                  <a:lnTo>
                    <a:pt x="876" y="0"/>
                  </a:lnTo>
                  <a:lnTo>
                    <a:pt x="876" y="6"/>
                  </a:lnTo>
                  <a:lnTo>
                    <a:pt x="888" y="0"/>
                  </a:lnTo>
                  <a:lnTo>
                    <a:pt x="900" y="0"/>
                  </a:lnTo>
                  <a:lnTo>
                    <a:pt x="906" y="0"/>
                  </a:lnTo>
                  <a:lnTo>
                    <a:pt x="912" y="0"/>
                  </a:lnTo>
                  <a:lnTo>
                    <a:pt x="948" y="0"/>
                  </a:lnTo>
                  <a:lnTo>
                    <a:pt x="954" y="0"/>
                  </a:lnTo>
                  <a:lnTo>
                    <a:pt x="972" y="0"/>
                  </a:lnTo>
                  <a:lnTo>
                    <a:pt x="978" y="0"/>
                  </a:lnTo>
                  <a:lnTo>
                    <a:pt x="996" y="0"/>
                  </a:lnTo>
                  <a:lnTo>
                    <a:pt x="1032" y="0"/>
                  </a:lnTo>
                  <a:lnTo>
                    <a:pt x="1044" y="0"/>
                  </a:lnTo>
                  <a:lnTo>
                    <a:pt x="1050" y="0"/>
                  </a:lnTo>
                  <a:lnTo>
                    <a:pt x="1056" y="6"/>
                  </a:lnTo>
                  <a:lnTo>
                    <a:pt x="1056" y="0"/>
                  </a:lnTo>
                  <a:lnTo>
                    <a:pt x="1074" y="0"/>
                  </a:lnTo>
                  <a:lnTo>
                    <a:pt x="1098" y="6"/>
                  </a:lnTo>
                  <a:lnTo>
                    <a:pt x="1116" y="6"/>
                  </a:lnTo>
                  <a:lnTo>
                    <a:pt x="1140" y="12"/>
                  </a:lnTo>
                  <a:lnTo>
                    <a:pt x="1152" y="12"/>
                  </a:lnTo>
                  <a:lnTo>
                    <a:pt x="1158" y="12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6" y="12"/>
                  </a:lnTo>
                  <a:lnTo>
                    <a:pt x="1194" y="18"/>
                  </a:lnTo>
                  <a:lnTo>
                    <a:pt x="1206" y="18"/>
                  </a:lnTo>
                  <a:lnTo>
                    <a:pt x="1242" y="36"/>
                  </a:lnTo>
                  <a:lnTo>
                    <a:pt x="1248" y="36"/>
                  </a:lnTo>
                  <a:lnTo>
                    <a:pt x="1254" y="36"/>
                  </a:lnTo>
                  <a:lnTo>
                    <a:pt x="1260" y="42"/>
                  </a:lnTo>
                  <a:lnTo>
                    <a:pt x="1272" y="48"/>
                  </a:lnTo>
                  <a:lnTo>
                    <a:pt x="1278" y="48"/>
                  </a:lnTo>
                  <a:lnTo>
                    <a:pt x="1284" y="48"/>
                  </a:lnTo>
                  <a:lnTo>
                    <a:pt x="1290" y="54"/>
                  </a:lnTo>
                  <a:lnTo>
                    <a:pt x="1308" y="60"/>
                  </a:lnTo>
                  <a:lnTo>
                    <a:pt x="1326" y="60"/>
                  </a:lnTo>
                  <a:lnTo>
                    <a:pt x="1338" y="66"/>
                  </a:lnTo>
                  <a:lnTo>
                    <a:pt x="1344" y="66"/>
                  </a:lnTo>
                  <a:lnTo>
                    <a:pt x="1350" y="66"/>
                  </a:lnTo>
                  <a:lnTo>
                    <a:pt x="1356" y="66"/>
                  </a:lnTo>
                  <a:lnTo>
                    <a:pt x="1362" y="72"/>
                  </a:lnTo>
                  <a:lnTo>
                    <a:pt x="1368" y="72"/>
                  </a:lnTo>
                  <a:lnTo>
                    <a:pt x="1380" y="72"/>
                  </a:lnTo>
                  <a:lnTo>
                    <a:pt x="1386" y="72"/>
                  </a:lnTo>
                  <a:lnTo>
                    <a:pt x="1422" y="84"/>
                  </a:lnTo>
                  <a:lnTo>
                    <a:pt x="1428" y="84"/>
                  </a:lnTo>
                  <a:lnTo>
                    <a:pt x="1446" y="90"/>
                  </a:lnTo>
                  <a:lnTo>
                    <a:pt x="1458" y="102"/>
                  </a:lnTo>
                  <a:lnTo>
                    <a:pt x="1494" y="126"/>
                  </a:lnTo>
                  <a:lnTo>
                    <a:pt x="1500" y="132"/>
                  </a:lnTo>
                  <a:lnTo>
                    <a:pt x="1512" y="138"/>
                  </a:lnTo>
                  <a:lnTo>
                    <a:pt x="1512" y="144"/>
                  </a:lnTo>
                  <a:lnTo>
                    <a:pt x="1518" y="150"/>
                  </a:lnTo>
                  <a:lnTo>
                    <a:pt x="1530" y="156"/>
                  </a:lnTo>
                  <a:lnTo>
                    <a:pt x="1530" y="162"/>
                  </a:lnTo>
                  <a:lnTo>
                    <a:pt x="1548" y="168"/>
                  </a:lnTo>
                  <a:lnTo>
                    <a:pt x="1566" y="180"/>
                  </a:lnTo>
                  <a:lnTo>
                    <a:pt x="1578" y="186"/>
                  </a:lnTo>
                  <a:lnTo>
                    <a:pt x="1578" y="180"/>
                  </a:lnTo>
                  <a:lnTo>
                    <a:pt x="1584" y="186"/>
                  </a:lnTo>
                  <a:lnTo>
                    <a:pt x="1584" y="174"/>
                  </a:lnTo>
                  <a:lnTo>
                    <a:pt x="1590" y="174"/>
                  </a:lnTo>
                  <a:lnTo>
                    <a:pt x="1590" y="180"/>
                  </a:lnTo>
                  <a:lnTo>
                    <a:pt x="1596" y="180"/>
                  </a:lnTo>
                  <a:lnTo>
                    <a:pt x="1596" y="174"/>
                  </a:lnTo>
                  <a:lnTo>
                    <a:pt x="1602" y="174"/>
                  </a:lnTo>
                  <a:lnTo>
                    <a:pt x="1608" y="174"/>
                  </a:lnTo>
                  <a:lnTo>
                    <a:pt x="1614" y="180"/>
                  </a:lnTo>
                  <a:lnTo>
                    <a:pt x="1620" y="174"/>
                  </a:lnTo>
                  <a:lnTo>
                    <a:pt x="1614" y="168"/>
                  </a:lnTo>
                  <a:lnTo>
                    <a:pt x="1614" y="162"/>
                  </a:lnTo>
                  <a:lnTo>
                    <a:pt x="1620" y="162"/>
                  </a:lnTo>
                  <a:lnTo>
                    <a:pt x="1626" y="162"/>
                  </a:lnTo>
                  <a:lnTo>
                    <a:pt x="1632" y="162"/>
                  </a:lnTo>
                  <a:lnTo>
                    <a:pt x="1638" y="168"/>
                  </a:lnTo>
                  <a:lnTo>
                    <a:pt x="1644" y="168"/>
                  </a:lnTo>
                  <a:lnTo>
                    <a:pt x="1650" y="174"/>
                  </a:lnTo>
                  <a:lnTo>
                    <a:pt x="1656" y="168"/>
                  </a:lnTo>
                  <a:lnTo>
                    <a:pt x="1668" y="168"/>
                  </a:lnTo>
                  <a:lnTo>
                    <a:pt x="1674" y="174"/>
                  </a:lnTo>
                  <a:lnTo>
                    <a:pt x="1674" y="180"/>
                  </a:lnTo>
                  <a:lnTo>
                    <a:pt x="1674" y="186"/>
                  </a:lnTo>
                  <a:lnTo>
                    <a:pt x="1680" y="186"/>
                  </a:lnTo>
                  <a:lnTo>
                    <a:pt x="1680" y="192"/>
                  </a:lnTo>
                  <a:lnTo>
                    <a:pt x="1686" y="192"/>
                  </a:lnTo>
                  <a:lnTo>
                    <a:pt x="1686" y="186"/>
                  </a:lnTo>
                  <a:lnTo>
                    <a:pt x="1680" y="186"/>
                  </a:lnTo>
                  <a:lnTo>
                    <a:pt x="1686" y="180"/>
                  </a:lnTo>
                  <a:lnTo>
                    <a:pt x="1692" y="180"/>
                  </a:lnTo>
                  <a:lnTo>
                    <a:pt x="1698" y="180"/>
                  </a:lnTo>
                  <a:lnTo>
                    <a:pt x="1704" y="180"/>
                  </a:lnTo>
                  <a:lnTo>
                    <a:pt x="1704" y="186"/>
                  </a:lnTo>
                  <a:lnTo>
                    <a:pt x="1710" y="186"/>
                  </a:lnTo>
                  <a:lnTo>
                    <a:pt x="1716" y="186"/>
                  </a:lnTo>
                  <a:lnTo>
                    <a:pt x="1716" y="192"/>
                  </a:lnTo>
                  <a:lnTo>
                    <a:pt x="1716" y="198"/>
                  </a:lnTo>
                  <a:lnTo>
                    <a:pt x="1722" y="192"/>
                  </a:lnTo>
                  <a:lnTo>
                    <a:pt x="1722" y="186"/>
                  </a:lnTo>
                  <a:lnTo>
                    <a:pt x="1728" y="192"/>
                  </a:lnTo>
                  <a:lnTo>
                    <a:pt x="1734" y="192"/>
                  </a:lnTo>
                  <a:lnTo>
                    <a:pt x="1734" y="186"/>
                  </a:lnTo>
                  <a:lnTo>
                    <a:pt x="1740" y="186"/>
                  </a:lnTo>
                  <a:lnTo>
                    <a:pt x="1740" y="192"/>
                  </a:lnTo>
                  <a:lnTo>
                    <a:pt x="1746" y="192"/>
                  </a:lnTo>
                  <a:lnTo>
                    <a:pt x="1758" y="192"/>
                  </a:lnTo>
                  <a:lnTo>
                    <a:pt x="1764" y="192"/>
                  </a:lnTo>
                  <a:lnTo>
                    <a:pt x="1764" y="198"/>
                  </a:lnTo>
                  <a:lnTo>
                    <a:pt x="1758" y="204"/>
                  </a:lnTo>
                  <a:lnTo>
                    <a:pt x="1752" y="210"/>
                  </a:lnTo>
                  <a:lnTo>
                    <a:pt x="1746" y="216"/>
                  </a:lnTo>
                  <a:lnTo>
                    <a:pt x="1746" y="222"/>
                  </a:lnTo>
                  <a:lnTo>
                    <a:pt x="1734" y="228"/>
                  </a:lnTo>
                  <a:lnTo>
                    <a:pt x="1734" y="234"/>
                  </a:lnTo>
                  <a:lnTo>
                    <a:pt x="1734" y="258"/>
                  </a:lnTo>
                  <a:lnTo>
                    <a:pt x="1740" y="330"/>
                  </a:lnTo>
                  <a:lnTo>
                    <a:pt x="1746" y="372"/>
                  </a:lnTo>
                  <a:lnTo>
                    <a:pt x="1788" y="426"/>
                  </a:lnTo>
                  <a:lnTo>
                    <a:pt x="1806" y="438"/>
                  </a:lnTo>
                  <a:lnTo>
                    <a:pt x="1794" y="480"/>
                  </a:lnTo>
                  <a:lnTo>
                    <a:pt x="1770" y="516"/>
                  </a:lnTo>
                  <a:lnTo>
                    <a:pt x="1746" y="546"/>
                  </a:lnTo>
                  <a:lnTo>
                    <a:pt x="1716" y="570"/>
                  </a:lnTo>
                  <a:lnTo>
                    <a:pt x="1680" y="594"/>
                  </a:lnTo>
                  <a:lnTo>
                    <a:pt x="1668" y="630"/>
                  </a:lnTo>
                  <a:lnTo>
                    <a:pt x="1680" y="684"/>
                  </a:lnTo>
                  <a:lnTo>
                    <a:pt x="1686" y="756"/>
                  </a:lnTo>
                  <a:lnTo>
                    <a:pt x="1662" y="870"/>
                  </a:lnTo>
                  <a:lnTo>
                    <a:pt x="1656" y="888"/>
                  </a:lnTo>
                  <a:lnTo>
                    <a:pt x="1650" y="972"/>
                  </a:lnTo>
                  <a:lnTo>
                    <a:pt x="1656" y="978"/>
                  </a:lnTo>
                  <a:lnTo>
                    <a:pt x="1650" y="984"/>
                  </a:lnTo>
                  <a:lnTo>
                    <a:pt x="1650" y="990"/>
                  </a:lnTo>
                  <a:lnTo>
                    <a:pt x="1650" y="1002"/>
                  </a:lnTo>
                  <a:lnTo>
                    <a:pt x="1656" y="1008"/>
                  </a:lnTo>
                  <a:lnTo>
                    <a:pt x="1656" y="1014"/>
                  </a:lnTo>
                  <a:lnTo>
                    <a:pt x="1662" y="1026"/>
                  </a:lnTo>
                  <a:lnTo>
                    <a:pt x="1650" y="1032"/>
                  </a:lnTo>
                  <a:lnTo>
                    <a:pt x="1638" y="1044"/>
                  </a:lnTo>
                  <a:lnTo>
                    <a:pt x="1626" y="1080"/>
                  </a:lnTo>
                  <a:lnTo>
                    <a:pt x="1614" y="1116"/>
                  </a:lnTo>
                  <a:lnTo>
                    <a:pt x="1614" y="1128"/>
                  </a:lnTo>
                  <a:lnTo>
                    <a:pt x="1626" y="1134"/>
                  </a:lnTo>
                  <a:lnTo>
                    <a:pt x="1644" y="1134"/>
                  </a:lnTo>
                  <a:lnTo>
                    <a:pt x="1662" y="1134"/>
                  </a:lnTo>
                  <a:lnTo>
                    <a:pt x="1680" y="1140"/>
                  </a:lnTo>
                  <a:lnTo>
                    <a:pt x="1698" y="1170"/>
                  </a:lnTo>
                  <a:lnTo>
                    <a:pt x="1704" y="1194"/>
                  </a:lnTo>
                  <a:lnTo>
                    <a:pt x="1692" y="1206"/>
                  </a:lnTo>
                  <a:lnTo>
                    <a:pt x="1662" y="1242"/>
                  </a:lnTo>
                  <a:lnTo>
                    <a:pt x="1632" y="1266"/>
                  </a:lnTo>
                  <a:lnTo>
                    <a:pt x="1620" y="1314"/>
                  </a:lnTo>
                  <a:lnTo>
                    <a:pt x="1584" y="1356"/>
                  </a:lnTo>
                  <a:lnTo>
                    <a:pt x="1578" y="1356"/>
                  </a:lnTo>
                  <a:lnTo>
                    <a:pt x="1578" y="1362"/>
                  </a:lnTo>
                  <a:lnTo>
                    <a:pt x="1572" y="1410"/>
                  </a:lnTo>
                  <a:lnTo>
                    <a:pt x="1584" y="1452"/>
                  </a:lnTo>
                  <a:lnTo>
                    <a:pt x="1608" y="1476"/>
                  </a:lnTo>
                  <a:lnTo>
                    <a:pt x="1596" y="1476"/>
                  </a:lnTo>
                  <a:lnTo>
                    <a:pt x="1584" y="1482"/>
                  </a:lnTo>
                  <a:lnTo>
                    <a:pt x="1560" y="1482"/>
                  </a:lnTo>
                  <a:lnTo>
                    <a:pt x="1536" y="1482"/>
                  </a:lnTo>
                  <a:lnTo>
                    <a:pt x="1524" y="1482"/>
                  </a:lnTo>
                  <a:lnTo>
                    <a:pt x="1506" y="1500"/>
                  </a:lnTo>
                  <a:lnTo>
                    <a:pt x="1482" y="1530"/>
                  </a:lnTo>
                  <a:lnTo>
                    <a:pt x="1452" y="1542"/>
                  </a:lnTo>
                  <a:lnTo>
                    <a:pt x="1446" y="1542"/>
                  </a:lnTo>
                  <a:lnTo>
                    <a:pt x="1440" y="1542"/>
                  </a:lnTo>
                  <a:lnTo>
                    <a:pt x="1440" y="1548"/>
                  </a:lnTo>
                  <a:lnTo>
                    <a:pt x="1434" y="1548"/>
                  </a:lnTo>
                  <a:lnTo>
                    <a:pt x="1428" y="1548"/>
                  </a:lnTo>
                  <a:lnTo>
                    <a:pt x="1428" y="1554"/>
                  </a:lnTo>
                  <a:lnTo>
                    <a:pt x="1422" y="1560"/>
                  </a:lnTo>
                  <a:lnTo>
                    <a:pt x="1416" y="1560"/>
                  </a:lnTo>
                  <a:lnTo>
                    <a:pt x="1410" y="1566"/>
                  </a:lnTo>
                  <a:lnTo>
                    <a:pt x="1410" y="1560"/>
                  </a:lnTo>
                  <a:lnTo>
                    <a:pt x="1404" y="1560"/>
                  </a:lnTo>
                  <a:lnTo>
                    <a:pt x="1392" y="1560"/>
                  </a:lnTo>
                  <a:lnTo>
                    <a:pt x="1386" y="1560"/>
                  </a:lnTo>
                  <a:lnTo>
                    <a:pt x="1380" y="1566"/>
                  </a:lnTo>
                  <a:lnTo>
                    <a:pt x="1374" y="1560"/>
                  </a:lnTo>
                  <a:lnTo>
                    <a:pt x="1368" y="1566"/>
                  </a:lnTo>
                  <a:lnTo>
                    <a:pt x="1362" y="1566"/>
                  </a:lnTo>
                  <a:lnTo>
                    <a:pt x="1362" y="1572"/>
                  </a:lnTo>
                  <a:lnTo>
                    <a:pt x="1356" y="1572"/>
                  </a:lnTo>
                  <a:lnTo>
                    <a:pt x="1356" y="1578"/>
                  </a:lnTo>
                  <a:lnTo>
                    <a:pt x="1350" y="1578"/>
                  </a:lnTo>
                  <a:lnTo>
                    <a:pt x="1350" y="1572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32" y="1584"/>
                  </a:lnTo>
                  <a:lnTo>
                    <a:pt x="1326" y="1590"/>
                  </a:lnTo>
                  <a:lnTo>
                    <a:pt x="1320" y="1584"/>
                  </a:lnTo>
                  <a:lnTo>
                    <a:pt x="1314" y="1590"/>
                  </a:lnTo>
                  <a:lnTo>
                    <a:pt x="1308" y="1596"/>
                  </a:lnTo>
                  <a:lnTo>
                    <a:pt x="1302" y="1596"/>
                  </a:lnTo>
                  <a:lnTo>
                    <a:pt x="1296" y="1596"/>
                  </a:lnTo>
                  <a:lnTo>
                    <a:pt x="1290" y="1596"/>
                  </a:lnTo>
                  <a:lnTo>
                    <a:pt x="1284" y="1596"/>
                  </a:lnTo>
                  <a:lnTo>
                    <a:pt x="1278" y="1602"/>
                  </a:lnTo>
                  <a:lnTo>
                    <a:pt x="1266" y="1602"/>
                  </a:lnTo>
                  <a:lnTo>
                    <a:pt x="1272" y="1608"/>
                  </a:lnTo>
                  <a:lnTo>
                    <a:pt x="1278" y="1608"/>
                  </a:lnTo>
                  <a:lnTo>
                    <a:pt x="1284" y="1608"/>
                  </a:lnTo>
                  <a:lnTo>
                    <a:pt x="1290" y="1614"/>
                  </a:lnTo>
                  <a:lnTo>
                    <a:pt x="1296" y="1620"/>
                  </a:lnTo>
                  <a:lnTo>
                    <a:pt x="1302" y="1626"/>
                  </a:lnTo>
                  <a:lnTo>
                    <a:pt x="1308" y="1632"/>
                  </a:lnTo>
                  <a:lnTo>
                    <a:pt x="1314" y="1638"/>
                  </a:lnTo>
                  <a:lnTo>
                    <a:pt x="1314" y="1644"/>
                  </a:lnTo>
                  <a:lnTo>
                    <a:pt x="1320" y="1644"/>
                  </a:lnTo>
                  <a:lnTo>
                    <a:pt x="1320" y="1650"/>
                  </a:lnTo>
                  <a:lnTo>
                    <a:pt x="1326" y="1656"/>
                  </a:lnTo>
                  <a:lnTo>
                    <a:pt x="1332" y="1668"/>
                  </a:lnTo>
                  <a:lnTo>
                    <a:pt x="1338" y="1680"/>
                  </a:lnTo>
                  <a:lnTo>
                    <a:pt x="1338" y="1698"/>
                  </a:lnTo>
                  <a:lnTo>
                    <a:pt x="1350" y="1710"/>
                  </a:lnTo>
                  <a:lnTo>
                    <a:pt x="1350" y="1716"/>
                  </a:lnTo>
                  <a:lnTo>
                    <a:pt x="1350" y="1722"/>
                  </a:lnTo>
                  <a:lnTo>
                    <a:pt x="1350" y="1728"/>
                  </a:lnTo>
                  <a:lnTo>
                    <a:pt x="1356" y="1728"/>
                  </a:lnTo>
                  <a:lnTo>
                    <a:pt x="1356" y="1734"/>
                  </a:lnTo>
                  <a:lnTo>
                    <a:pt x="1350" y="1734"/>
                  </a:lnTo>
                  <a:lnTo>
                    <a:pt x="1344" y="1740"/>
                  </a:lnTo>
                  <a:lnTo>
                    <a:pt x="1338" y="1740"/>
                  </a:lnTo>
                  <a:lnTo>
                    <a:pt x="1332" y="1746"/>
                  </a:lnTo>
                  <a:lnTo>
                    <a:pt x="1326" y="1746"/>
                  </a:lnTo>
                  <a:lnTo>
                    <a:pt x="1326" y="1752"/>
                  </a:lnTo>
                  <a:lnTo>
                    <a:pt x="1320" y="1752"/>
                  </a:lnTo>
                  <a:lnTo>
                    <a:pt x="1320" y="1758"/>
                  </a:lnTo>
                  <a:lnTo>
                    <a:pt x="1314" y="1758"/>
                  </a:lnTo>
                  <a:lnTo>
                    <a:pt x="1308" y="1758"/>
                  </a:lnTo>
                  <a:lnTo>
                    <a:pt x="1302" y="1758"/>
                  </a:lnTo>
                  <a:lnTo>
                    <a:pt x="1296" y="1758"/>
                  </a:lnTo>
                  <a:lnTo>
                    <a:pt x="1290" y="1764"/>
                  </a:lnTo>
                  <a:lnTo>
                    <a:pt x="1284" y="1770"/>
                  </a:lnTo>
                  <a:lnTo>
                    <a:pt x="1278" y="1770"/>
                  </a:lnTo>
                  <a:lnTo>
                    <a:pt x="1272" y="1770"/>
                  </a:lnTo>
                  <a:lnTo>
                    <a:pt x="1266" y="1770"/>
                  </a:lnTo>
                  <a:lnTo>
                    <a:pt x="1266" y="1776"/>
                  </a:lnTo>
                  <a:lnTo>
                    <a:pt x="1260" y="1776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4" name="Freeform 39">
              <a:extLst>
                <a:ext uri="{FF2B5EF4-FFF2-40B4-BE49-F238E27FC236}">
                  <a16:creationId xmlns:a16="http://schemas.microsoft.com/office/drawing/2014/main" id="{E01CDA8B-32C7-421A-B23E-968CAC7F78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2974" y="1759680"/>
              <a:ext cx="825155" cy="700024"/>
            </a:xfrm>
            <a:custGeom>
              <a:avLst/>
              <a:gdLst>
                <a:gd name="T0" fmla="*/ 60 w 1554"/>
                <a:gd name="T1" fmla="*/ 86 h 1320"/>
                <a:gd name="T2" fmla="*/ 66 w 1554"/>
                <a:gd name="T3" fmla="*/ 80 h 1320"/>
                <a:gd name="T4" fmla="*/ 61 w 1554"/>
                <a:gd name="T5" fmla="*/ 73 h 1320"/>
                <a:gd name="T6" fmla="*/ 57 w 1554"/>
                <a:gd name="T7" fmla="*/ 67 h 1320"/>
                <a:gd name="T8" fmla="*/ 60 w 1554"/>
                <a:gd name="T9" fmla="*/ 59 h 1320"/>
                <a:gd name="T10" fmla="*/ 56 w 1554"/>
                <a:gd name="T11" fmla="*/ 55 h 1320"/>
                <a:gd name="T12" fmla="*/ 45 w 1554"/>
                <a:gd name="T13" fmla="*/ 53 h 1320"/>
                <a:gd name="T14" fmla="*/ 42 w 1554"/>
                <a:gd name="T15" fmla="*/ 41 h 1320"/>
                <a:gd name="T16" fmla="*/ 37 w 1554"/>
                <a:gd name="T17" fmla="*/ 39 h 1320"/>
                <a:gd name="T18" fmla="*/ 31 w 1554"/>
                <a:gd name="T19" fmla="*/ 44 h 1320"/>
                <a:gd name="T20" fmla="*/ 37 w 1554"/>
                <a:gd name="T21" fmla="*/ 35 h 1320"/>
                <a:gd name="T22" fmla="*/ 30 w 1554"/>
                <a:gd name="T23" fmla="*/ 23 h 1320"/>
                <a:gd name="T24" fmla="*/ 21 w 1554"/>
                <a:gd name="T25" fmla="*/ 23 h 1320"/>
                <a:gd name="T26" fmla="*/ 15 w 1554"/>
                <a:gd name="T27" fmla="*/ 27 h 1320"/>
                <a:gd name="T28" fmla="*/ 11 w 1554"/>
                <a:gd name="T29" fmla="*/ 32 h 1320"/>
                <a:gd name="T30" fmla="*/ 6 w 1554"/>
                <a:gd name="T31" fmla="*/ 22 h 1320"/>
                <a:gd name="T32" fmla="*/ 3 w 1554"/>
                <a:gd name="T33" fmla="*/ 11 h 1320"/>
                <a:gd name="T34" fmla="*/ 24 w 1554"/>
                <a:gd name="T35" fmla="*/ 12 h 1320"/>
                <a:gd name="T36" fmla="*/ 33 w 1554"/>
                <a:gd name="T37" fmla="*/ 19 h 1320"/>
                <a:gd name="T38" fmla="*/ 49 w 1554"/>
                <a:gd name="T39" fmla="*/ 12 h 1320"/>
                <a:gd name="T40" fmla="*/ 58 w 1554"/>
                <a:gd name="T41" fmla="*/ 10 h 1320"/>
                <a:gd name="T42" fmla="*/ 68 w 1554"/>
                <a:gd name="T43" fmla="*/ 11 h 1320"/>
                <a:gd name="T44" fmla="*/ 79 w 1554"/>
                <a:gd name="T45" fmla="*/ 12 h 1320"/>
                <a:gd name="T46" fmla="*/ 96 w 1554"/>
                <a:gd name="T47" fmla="*/ 11 h 1320"/>
                <a:gd name="T48" fmla="*/ 107 w 1554"/>
                <a:gd name="T49" fmla="*/ 2 h 1320"/>
                <a:gd name="T50" fmla="*/ 117 w 1554"/>
                <a:gd name="T51" fmla="*/ 8 h 1320"/>
                <a:gd name="T52" fmla="*/ 126 w 1554"/>
                <a:gd name="T53" fmla="*/ 12 h 1320"/>
                <a:gd name="T54" fmla="*/ 134 w 1554"/>
                <a:gd name="T55" fmla="*/ 24 h 1320"/>
                <a:gd name="T56" fmla="*/ 133 w 1554"/>
                <a:gd name="T57" fmla="*/ 29 h 1320"/>
                <a:gd name="T58" fmla="*/ 129 w 1554"/>
                <a:gd name="T59" fmla="*/ 31 h 1320"/>
                <a:gd name="T60" fmla="*/ 125 w 1554"/>
                <a:gd name="T61" fmla="*/ 32 h 1320"/>
                <a:gd name="T62" fmla="*/ 115 w 1554"/>
                <a:gd name="T63" fmla="*/ 34 h 1320"/>
                <a:gd name="T64" fmla="*/ 113 w 1554"/>
                <a:gd name="T65" fmla="*/ 44 h 1320"/>
                <a:gd name="T66" fmla="*/ 111 w 1554"/>
                <a:gd name="T67" fmla="*/ 54 h 1320"/>
                <a:gd name="T68" fmla="*/ 107 w 1554"/>
                <a:gd name="T69" fmla="*/ 56 h 1320"/>
                <a:gd name="T70" fmla="*/ 102 w 1554"/>
                <a:gd name="T71" fmla="*/ 58 h 1320"/>
                <a:gd name="T72" fmla="*/ 99 w 1554"/>
                <a:gd name="T73" fmla="*/ 60 h 1320"/>
                <a:gd name="T74" fmla="*/ 93 w 1554"/>
                <a:gd name="T75" fmla="*/ 62 h 1320"/>
                <a:gd name="T76" fmla="*/ 87 w 1554"/>
                <a:gd name="T77" fmla="*/ 64 h 1320"/>
                <a:gd name="T78" fmla="*/ 84 w 1554"/>
                <a:gd name="T79" fmla="*/ 65 h 1320"/>
                <a:gd name="T80" fmla="*/ 81 w 1554"/>
                <a:gd name="T81" fmla="*/ 69 h 1320"/>
                <a:gd name="T82" fmla="*/ 83 w 1554"/>
                <a:gd name="T83" fmla="*/ 72 h 1320"/>
                <a:gd name="T84" fmla="*/ 92 w 1554"/>
                <a:gd name="T85" fmla="*/ 73 h 1320"/>
                <a:gd name="T86" fmla="*/ 93 w 1554"/>
                <a:gd name="T87" fmla="*/ 87 h 1320"/>
                <a:gd name="T88" fmla="*/ 104 w 1554"/>
                <a:gd name="T89" fmla="*/ 98 h 1320"/>
                <a:gd name="T90" fmla="*/ 108 w 1554"/>
                <a:gd name="T91" fmla="*/ 98 h 1320"/>
                <a:gd name="T92" fmla="*/ 112 w 1554"/>
                <a:gd name="T93" fmla="*/ 100 h 1320"/>
                <a:gd name="T94" fmla="*/ 118 w 1554"/>
                <a:gd name="T95" fmla="*/ 100 h 1320"/>
                <a:gd name="T96" fmla="*/ 122 w 1554"/>
                <a:gd name="T97" fmla="*/ 102 h 1320"/>
                <a:gd name="T98" fmla="*/ 118 w 1554"/>
                <a:gd name="T99" fmla="*/ 105 h 1320"/>
                <a:gd name="T100" fmla="*/ 114 w 1554"/>
                <a:gd name="T101" fmla="*/ 107 h 1320"/>
                <a:gd name="T102" fmla="*/ 113 w 1554"/>
                <a:gd name="T103" fmla="*/ 113 h 1320"/>
                <a:gd name="T104" fmla="*/ 104 w 1554"/>
                <a:gd name="T105" fmla="*/ 113 h 1320"/>
                <a:gd name="T106" fmla="*/ 93 w 1554"/>
                <a:gd name="T107" fmla="*/ 109 h 1320"/>
                <a:gd name="T108" fmla="*/ 96 w 1554"/>
                <a:gd name="T109" fmla="*/ 103 h 1320"/>
                <a:gd name="T110" fmla="*/ 95 w 1554"/>
                <a:gd name="T111" fmla="*/ 97 h 1320"/>
                <a:gd name="T112" fmla="*/ 87 w 1554"/>
                <a:gd name="T113" fmla="*/ 98 h 1320"/>
                <a:gd name="T114" fmla="*/ 81 w 1554"/>
                <a:gd name="T115" fmla="*/ 98 h 1320"/>
                <a:gd name="T116" fmla="*/ 78 w 1554"/>
                <a:gd name="T117" fmla="*/ 93 h 1320"/>
                <a:gd name="T118" fmla="*/ 65 w 1554"/>
                <a:gd name="T119" fmla="*/ 92 h 1320"/>
                <a:gd name="T120" fmla="*/ 59 w 1554"/>
                <a:gd name="T121" fmla="*/ 92 h 13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54"/>
                <a:gd name="T184" fmla="*/ 0 h 1320"/>
                <a:gd name="T185" fmla="*/ 1554 w 1554"/>
                <a:gd name="T186" fmla="*/ 1320 h 132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54" h="1320">
                  <a:moveTo>
                    <a:pt x="684" y="1068"/>
                  </a:moveTo>
                  <a:lnTo>
                    <a:pt x="684" y="1062"/>
                  </a:lnTo>
                  <a:lnTo>
                    <a:pt x="690" y="1056"/>
                  </a:lnTo>
                  <a:lnTo>
                    <a:pt x="690" y="1050"/>
                  </a:lnTo>
                  <a:lnTo>
                    <a:pt x="690" y="1044"/>
                  </a:lnTo>
                  <a:lnTo>
                    <a:pt x="690" y="1038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14"/>
                  </a:lnTo>
                  <a:lnTo>
                    <a:pt x="690" y="1008"/>
                  </a:lnTo>
                  <a:lnTo>
                    <a:pt x="696" y="996"/>
                  </a:lnTo>
                  <a:lnTo>
                    <a:pt x="714" y="996"/>
                  </a:lnTo>
                  <a:lnTo>
                    <a:pt x="714" y="990"/>
                  </a:lnTo>
                  <a:lnTo>
                    <a:pt x="732" y="984"/>
                  </a:lnTo>
                  <a:lnTo>
                    <a:pt x="744" y="978"/>
                  </a:lnTo>
                  <a:lnTo>
                    <a:pt x="762" y="966"/>
                  </a:lnTo>
                  <a:lnTo>
                    <a:pt x="762" y="960"/>
                  </a:lnTo>
                  <a:lnTo>
                    <a:pt x="768" y="954"/>
                  </a:lnTo>
                  <a:lnTo>
                    <a:pt x="774" y="948"/>
                  </a:lnTo>
                  <a:lnTo>
                    <a:pt x="774" y="942"/>
                  </a:lnTo>
                  <a:lnTo>
                    <a:pt x="774" y="924"/>
                  </a:lnTo>
                  <a:lnTo>
                    <a:pt x="768" y="918"/>
                  </a:lnTo>
                  <a:lnTo>
                    <a:pt x="756" y="918"/>
                  </a:lnTo>
                  <a:lnTo>
                    <a:pt x="744" y="918"/>
                  </a:lnTo>
                  <a:lnTo>
                    <a:pt x="732" y="924"/>
                  </a:lnTo>
                  <a:lnTo>
                    <a:pt x="726" y="912"/>
                  </a:lnTo>
                  <a:lnTo>
                    <a:pt x="720" y="912"/>
                  </a:lnTo>
                  <a:lnTo>
                    <a:pt x="720" y="900"/>
                  </a:lnTo>
                  <a:lnTo>
                    <a:pt x="720" y="870"/>
                  </a:lnTo>
                  <a:lnTo>
                    <a:pt x="696" y="876"/>
                  </a:lnTo>
                  <a:lnTo>
                    <a:pt x="690" y="852"/>
                  </a:lnTo>
                  <a:lnTo>
                    <a:pt x="702" y="852"/>
                  </a:lnTo>
                  <a:lnTo>
                    <a:pt x="702" y="840"/>
                  </a:lnTo>
                  <a:lnTo>
                    <a:pt x="708" y="834"/>
                  </a:lnTo>
                  <a:lnTo>
                    <a:pt x="702" y="822"/>
                  </a:lnTo>
                  <a:lnTo>
                    <a:pt x="660" y="822"/>
                  </a:lnTo>
                  <a:lnTo>
                    <a:pt x="654" y="822"/>
                  </a:lnTo>
                  <a:lnTo>
                    <a:pt x="642" y="822"/>
                  </a:lnTo>
                  <a:lnTo>
                    <a:pt x="642" y="810"/>
                  </a:lnTo>
                  <a:lnTo>
                    <a:pt x="642" y="798"/>
                  </a:lnTo>
                  <a:lnTo>
                    <a:pt x="642" y="792"/>
                  </a:lnTo>
                  <a:lnTo>
                    <a:pt x="648" y="780"/>
                  </a:lnTo>
                  <a:lnTo>
                    <a:pt x="654" y="774"/>
                  </a:lnTo>
                  <a:lnTo>
                    <a:pt x="660" y="774"/>
                  </a:lnTo>
                  <a:lnTo>
                    <a:pt x="672" y="762"/>
                  </a:lnTo>
                  <a:lnTo>
                    <a:pt x="672" y="756"/>
                  </a:lnTo>
                  <a:lnTo>
                    <a:pt x="678" y="750"/>
                  </a:lnTo>
                  <a:lnTo>
                    <a:pt x="684" y="750"/>
                  </a:lnTo>
                  <a:lnTo>
                    <a:pt x="690" y="744"/>
                  </a:lnTo>
                  <a:lnTo>
                    <a:pt x="696" y="732"/>
                  </a:lnTo>
                  <a:lnTo>
                    <a:pt x="696" y="726"/>
                  </a:lnTo>
                  <a:lnTo>
                    <a:pt x="702" y="714"/>
                  </a:lnTo>
                  <a:lnTo>
                    <a:pt x="696" y="708"/>
                  </a:lnTo>
                  <a:lnTo>
                    <a:pt x="690" y="690"/>
                  </a:lnTo>
                  <a:lnTo>
                    <a:pt x="696" y="678"/>
                  </a:lnTo>
                  <a:lnTo>
                    <a:pt x="708" y="672"/>
                  </a:lnTo>
                  <a:lnTo>
                    <a:pt x="708" y="660"/>
                  </a:lnTo>
                  <a:lnTo>
                    <a:pt x="702" y="660"/>
                  </a:lnTo>
                  <a:lnTo>
                    <a:pt x="696" y="660"/>
                  </a:lnTo>
                  <a:lnTo>
                    <a:pt x="690" y="654"/>
                  </a:lnTo>
                  <a:lnTo>
                    <a:pt x="684" y="654"/>
                  </a:lnTo>
                  <a:lnTo>
                    <a:pt x="690" y="606"/>
                  </a:lnTo>
                  <a:lnTo>
                    <a:pt x="660" y="606"/>
                  </a:lnTo>
                  <a:lnTo>
                    <a:pt x="660" y="612"/>
                  </a:lnTo>
                  <a:lnTo>
                    <a:pt x="648" y="612"/>
                  </a:lnTo>
                  <a:lnTo>
                    <a:pt x="642" y="636"/>
                  </a:lnTo>
                  <a:lnTo>
                    <a:pt x="636" y="636"/>
                  </a:lnTo>
                  <a:lnTo>
                    <a:pt x="630" y="648"/>
                  </a:lnTo>
                  <a:lnTo>
                    <a:pt x="612" y="648"/>
                  </a:lnTo>
                  <a:lnTo>
                    <a:pt x="606" y="636"/>
                  </a:lnTo>
                  <a:lnTo>
                    <a:pt x="600" y="630"/>
                  </a:lnTo>
                  <a:lnTo>
                    <a:pt x="588" y="606"/>
                  </a:lnTo>
                  <a:lnTo>
                    <a:pt x="552" y="606"/>
                  </a:lnTo>
                  <a:lnTo>
                    <a:pt x="552" y="612"/>
                  </a:lnTo>
                  <a:lnTo>
                    <a:pt x="540" y="612"/>
                  </a:lnTo>
                  <a:lnTo>
                    <a:pt x="540" y="606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16" y="612"/>
                  </a:lnTo>
                  <a:lnTo>
                    <a:pt x="516" y="582"/>
                  </a:lnTo>
                  <a:lnTo>
                    <a:pt x="522" y="576"/>
                  </a:lnTo>
                  <a:lnTo>
                    <a:pt x="528" y="576"/>
                  </a:lnTo>
                  <a:lnTo>
                    <a:pt x="528" y="552"/>
                  </a:lnTo>
                  <a:lnTo>
                    <a:pt x="522" y="540"/>
                  </a:lnTo>
                  <a:lnTo>
                    <a:pt x="510" y="528"/>
                  </a:lnTo>
                  <a:lnTo>
                    <a:pt x="486" y="510"/>
                  </a:lnTo>
                  <a:lnTo>
                    <a:pt x="480" y="498"/>
                  </a:lnTo>
                  <a:lnTo>
                    <a:pt x="480" y="474"/>
                  </a:lnTo>
                  <a:lnTo>
                    <a:pt x="492" y="468"/>
                  </a:lnTo>
                  <a:lnTo>
                    <a:pt x="486" y="450"/>
                  </a:lnTo>
                  <a:lnTo>
                    <a:pt x="474" y="456"/>
                  </a:lnTo>
                  <a:lnTo>
                    <a:pt x="468" y="456"/>
                  </a:lnTo>
                  <a:lnTo>
                    <a:pt x="462" y="456"/>
                  </a:lnTo>
                  <a:lnTo>
                    <a:pt x="456" y="468"/>
                  </a:lnTo>
                  <a:lnTo>
                    <a:pt x="456" y="474"/>
                  </a:lnTo>
                  <a:lnTo>
                    <a:pt x="450" y="480"/>
                  </a:lnTo>
                  <a:lnTo>
                    <a:pt x="444" y="450"/>
                  </a:lnTo>
                  <a:lnTo>
                    <a:pt x="438" y="450"/>
                  </a:lnTo>
                  <a:lnTo>
                    <a:pt x="432" y="450"/>
                  </a:lnTo>
                  <a:lnTo>
                    <a:pt x="420" y="450"/>
                  </a:lnTo>
                  <a:lnTo>
                    <a:pt x="420" y="456"/>
                  </a:lnTo>
                  <a:lnTo>
                    <a:pt x="414" y="456"/>
                  </a:lnTo>
                  <a:lnTo>
                    <a:pt x="408" y="468"/>
                  </a:lnTo>
                  <a:lnTo>
                    <a:pt x="402" y="468"/>
                  </a:lnTo>
                  <a:lnTo>
                    <a:pt x="396" y="474"/>
                  </a:lnTo>
                  <a:lnTo>
                    <a:pt x="390" y="492"/>
                  </a:lnTo>
                  <a:lnTo>
                    <a:pt x="384" y="504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54" y="510"/>
                  </a:lnTo>
                  <a:lnTo>
                    <a:pt x="360" y="480"/>
                  </a:lnTo>
                  <a:lnTo>
                    <a:pt x="360" y="474"/>
                  </a:lnTo>
                  <a:lnTo>
                    <a:pt x="378" y="456"/>
                  </a:lnTo>
                  <a:lnTo>
                    <a:pt x="384" y="450"/>
                  </a:lnTo>
                  <a:lnTo>
                    <a:pt x="396" y="444"/>
                  </a:lnTo>
                  <a:lnTo>
                    <a:pt x="402" y="438"/>
                  </a:lnTo>
                  <a:lnTo>
                    <a:pt x="408" y="438"/>
                  </a:lnTo>
                  <a:lnTo>
                    <a:pt x="408" y="426"/>
                  </a:lnTo>
                  <a:lnTo>
                    <a:pt x="414" y="420"/>
                  </a:lnTo>
                  <a:lnTo>
                    <a:pt x="426" y="420"/>
                  </a:lnTo>
                  <a:lnTo>
                    <a:pt x="426" y="408"/>
                  </a:lnTo>
                  <a:lnTo>
                    <a:pt x="420" y="390"/>
                  </a:lnTo>
                  <a:lnTo>
                    <a:pt x="408" y="384"/>
                  </a:lnTo>
                  <a:lnTo>
                    <a:pt x="378" y="378"/>
                  </a:lnTo>
                  <a:lnTo>
                    <a:pt x="354" y="366"/>
                  </a:lnTo>
                  <a:lnTo>
                    <a:pt x="342" y="360"/>
                  </a:lnTo>
                  <a:lnTo>
                    <a:pt x="342" y="348"/>
                  </a:lnTo>
                  <a:lnTo>
                    <a:pt x="336" y="330"/>
                  </a:lnTo>
                  <a:lnTo>
                    <a:pt x="348" y="306"/>
                  </a:lnTo>
                  <a:lnTo>
                    <a:pt x="360" y="294"/>
                  </a:lnTo>
                  <a:lnTo>
                    <a:pt x="360" y="282"/>
                  </a:lnTo>
                  <a:lnTo>
                    <a:pt x="342" y="270"/>
                  </a:lnTo>
                  <a:lnTo>
                    <a:pt x="342" y="264"/>
                  </a:lnTo>
                  <a:lnTo>
                    <a:pt x="330" y="264"/>
                  </a:lnTo>
                  <a:lnTo>
                    <a:pt x="312" y="270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88" y="270"/>
                  </a:lnTo>
                  <a:lnTo>
                    <a:pt x="282" y="270"/>
                  </a:lnTo>
                  <a:lnTo>
                    <a:pt x="276" y="264"/>
                  </a:lnTo>
                  <a:lnTo>
                    <a:pt x="270" y="264"/>
                  </a:lnTo>
                  <a:lnTo>
                    <a:pt x="252" y="270"/>
                  </a:lnTo>
                  <a:lnTo>
                    <a:pt x="246" y="270"/>
                  </a:lnTo>
                  <a:lnTo>
                    <a:pt x="240" y="270"/>
                  </a:lnTo>
                  <a:lnTo>
                    <a:pt x="228" y="270"/>
                  </a:lnTo>
                  <a:lnTo>
                    <a:pt x="216" y="276"/>
                  </a:lnTo>
                  <a:lnTo>
                    <a:pt x="210" y="270"/>
                  </a:lnTo>
                  <a:lnTo>
                    <a:pt x="204" y="270"/>
                  </a:lnTo>
                  <a:lnTo>
                    <a:pt x="198" y="276"/>
                  </a:lnTo>
                  <a:lnTo>
                    <a:pt x="192" y="276"/>
                  </a:lnTo>
                  <a:lnTo>
                    <a:pt x="186" y="282"/>
                  </a:lnTo>
                  <a:lnTo>
                    <a:pt x="180" y="288"/>
                  </a:lnTo>
                  <a:lnTo>
                    <a:pt x="174" y="300"/>
                  </a:lnTo>
                  <a:lnTo>
                    <a:pt x="168" y="306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8" y="330"/>
                  </a:lnTo>
                  <a:lnTo>
                    <a:pt x="162" y="336"/>
                  </a:lnTo>
                  <a:lnTo>
                    <a:pt x="156" y="342"/>
                  </a:lnTo>
                  <a:lnTo>
                    <a:pt x="156" y="348"/>
                  </a:lnTo>
                  <a:lnTo>
                    <a:pt x="156" y="354"/>
                  </a:lnTo>
                  <a:lnTo>
                    <a:pt x="150" y="366"/>
                  </a:lnTo>
                  <a:lnTo>
                    <a:pt x="150" y="372"/>
                  </a:lnTo>
                  <a:lnTo>
                    <a:pt x="144" y="366"/>
                  </a:lnTo>
                  <a:lnTo>
                    <a:pt x="132" y="366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20" y="348"/>
                  </a:lnTo>
                  <a:lnTo>
                    <a:pt x="102" y="330"/>
                  </a:lnTo>
                  <a:lnTo>
                    <a:pt x="96" y="318"/>
                  </a:lnTo>
                  <a:lnTo>
                    <a:pt x="96" y="282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0" y="258"/>
                  </a:lnTo>
                  <a:lnTo>
                    <a:pt x="84" y="252"/>
                  </a:lnTo>
                  <a:lnTo>
                    <a:pt x="66" y="258"/>
                  </a:lnTo>
                  <a:lnTo>
                    <a:pt x="60" y="246"/>
                  </a:lnTo>
                  <a:lnTo>
                    <a:pt x="30" y="252"/>
                  </a:lnTo>
                  <a:lnTo>
                    <a:pt x="18" y="246"/>
                  </a:lnTo>
                  <a:lnTo>
                    <a:pt x="0" y="240"/>
                  </a:lnTo>
                  <a:lnTo>
                    <a:pt x="0" y="234"/>
                  </a:lnTo>
                  <a:lnTo>
                    <a:pt x="0" y="210"/>
                  </a:lnTo>
                  <a:lnTo>
                    <a:pt x="6" y="204"/>
                  </a:lnTo>
                  <a:lnTo>
                    <a:pt x="18" y="192"/>
                  </a:lnTo>
                  <a:lnTo>
                    <a:pt x="18" y="144"/>
                  </a:lnTo>
                  <a:lnTo>
                    <a:pt x="24" y="126"/>
                  </a:lnTo>
                  <a:lnTo>
                    <a:pt x="36" y="126"/>
                  </a:lnTo>
                  <a:lnTo>
                    <a:pt x="54" y="120"/>
                  </a:lnTo>
                  <a:lnTo>
                    <a:pt x="54" y="126"/>
                  </a:lnTo>
                  <a:lnTo>
                    <a:pt x="132" y="114"/>
                  </a:lnTo>
                  <a:lnTo>
                    <a:pt x="144" y="120"/>
                  </a:lnTo>
                  <a:lnTo>
                    <a:pt x="150" y="132"/>
                  </a:lnTo>
                  <a:lnTo>
                    <a:pt x="180" y="126"/>
                  </a:lnTo>
                  <a:lnTo>
                    <a:pt x="210" y="120"/>
                  </a:lnTo>
                  <a:lnTo>
                    <a:pt x="240" y="120"/>
                  </a:lnTo>
                  <a:lnTo>
                    <a:pt x="258" y="120"/>
                  </a:lnTo>
                  <a:lnTo>
                    <a:pt x="270" y="126"/>
                  </a:lnTo>
                  <a:lnTo>
                    <a:pt x="276" y="132"/>
                  </a:lnTo>
                  <a:lnTo>
                    <a:pt x="282" y="138"/>
                  </a:lnTo>
                  <a:lnTo>
                    <a:pt x="282" y="156"/>
                  </a:lnTo>
                  <a:lnTo>
                    <a:pt x="288" y="186"/>
                  </a:lnTo>
                  <a:lnTo>
                    <a:pt x="312" y="192"/>
                  </a:lnTo>
                  <a:lnTo>
                    <a:pt x="318" y="198"/>
                  </a:lnTo>
                  <a:lnTo>
                    <a:pt x="324" y="204"/>
                  </a:lnTo>
                  <a:lnTo>
                    <a:pt x="330" y="210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66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86" y="210"/>
                  </a:lnTo>
                  <a:lnTo>
                    <a:pt x="498" y="198"/>
                  </a:lnTo>
                  <a:lnTo>
                    <a:pt x="504" y="174"/>
                  </a:lnTo>
                  <a:lnTo>
                    <a:pt x="516" y="162"/>
                  </a:lnTo>
                  <a:lnTo>
                    <a:pt x="516" y="138"/>
                  </a:lnTo>
                  <a:lnTo>
                    <a:pt x="522" y="132"/>
                  </a:lnTo>
                  <a:lnTo>
                    <a:pt x="564" y="132"/>
                  </a:lnTo>
                  <a:lnTo>
                    <a:pt x="564" y="114"/>
                  </a:lnTo>
                  <a:lnTo>
                    <a:pt x="582" y="114"/>
                  </a:lnTo>
                  <a:lnTo>
                    <a:pt x="594" y="114"/>
                  </a:lnTo>
                  <a:lnTo>
                    <a:pt x="606" y="114"/>
                  </a:lnTo>
                  <a:lnTo>
                    <a:pt x="612" y="114"/>
                  </a:lnTo>
                  <a:lnTo>
                    <a:pt x="630" y="114"/>
                  </a:lnTo>
                  <a:lnTo>
                    <a:pt x="636" y="114"/>
                  </a:lnTo>
                  <a:lnTo>
                    <a:pt x="648" y="114"/>
                  </a:lnTo>
                  <a:lnTo>
                    <a:pt x="654" y="114"/>
                  </a:lnTo>
                  <a:lnTo>
                    <a:pt x="660" y="120"/>
                  </a:lnTo>
                  <a:lnTo>
                    <a:pt x="672" y="120"/>
                  </a:lnTo>
                  <a:lnTo>
                    <a:pt x="684" y="120"/>
                  </a:lnTo>
                  <a:lnTo>
                    <a:pt x="690" y="120"/>
                  </a:lnTo>
                  <a:lnTo>
                    <a:pt x="702" y="120"/>
                  </a:lnTo>
                  <a:lnTo>
                    <a:pt x="708" y="120"/>
                  </a:lnTo>
                  <a:lnTo>
                    <a:pt x="726" y="126"/>
                  </a:lnTo>
                  <a:lnTo>
                    <a:pt x="732" y="126"/>
                  </a:lnTo>
                  <a:lnTo>
                    <a:pt x="738" y="126"/>
                  </a:lnTo>
                  <a:lnTo>
                    <a:pt x="750" y="126"/>
                  </a:lnTo>
                  <a:lnTo>
                    <a:pt x="756" y="126"/>
                  </a:lnTo>
                  <a:lnTo>
                    <a:pt x="768" y="126"/>
                  </a:lnTo>
                  <a:lnTo>
                    <a:pt x="780" y="126"/>
                  </a:lnTo>
                  <a:lnTo>
                    <a:pt x="786" y="120"/>
                  </a:lnTo>
                  <a:lnTo>
                    <a:pt x="792" y="120"/>
                  </a:lnTo>
                  <a:lnTo>
                    <a:pt x="810" y="120"/>
                  </a:lnTo>
                  <a:lnTo>
                    <a:pt x="822" y="120"/>
                  </a:lnTo>
                  <a:lnTo>
                    <a:pt x="846" y="126"/>
                  </a:lnTo>
                  <a:lnTo>
                    <a:pt x="858" y="126"/>
                  </a:lnTo>
                  <a:lnTo>
                    <a:pt x="870" y="132"/>
                  </a:lnTo>
                  <a:lnTo>
                    <a:pt x="882" y="132"/>
                  </a:lnTo>
                  <a:lnTo>
                    <a:pt x="894" y="132"/>
                  </a:lnTo>
                  <a:lnTo>
                    <a:pt x="900" y="132"/>
                  </a:lnTo>
                  <a:lnTo>
                    <a:pt x="912" y="132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36" y="132"/>
                  </a:lnTo>
                  <a:lnTo>
                    <a:pt x="960" y="132"/>
                  </a:lnTo>
                  <a:lnTo>
                    <a:pt x="966" y="144"/>
                  </a:lnTo>
                  <a:lnTo>
                    <a:pt x="972" y="144"/>
                  </a:lnTo>
                  <a:lnTo>
                    <a:pt x="1002" y="144"/>
                  </a:lnTo>
                  <a:lnTo>
                    <a:pt x="1020" y="144"/>
                  </a:lnTo>
                  <a:lnTo>
                    <a:pt x="1068" y="138"/>
                  </a:lnTo>
                  <a:lnTo>
                    <a:pt x="1110" y="132"/>
                  </a:lnTo>
                  <a:lnTo>
                    <a:pt x="1110" y="126"/>
                  </a:lnTo>
                  <a:lnTo>
                    <a:pt x="1116" y="120"/>
                  </a:lnTo>
                  <a:lnTo>
                    <a:pt x="1122" y="108"/>
                  </a:lnTo>
                  <a:lnTo>
                    <a:pt x="1134" y="96"/>
                  </a:lnTo>
                  <a:lnTo>
                    <a:pt x="1146" y="60"/>
                  </a:lnTo>
                  <a:lnTo>
                    <a:pt x="1158" y="54"/>
                  </a:lnTo>
                  <a:lnTo>
                    <a:pt x="1170" y="48"/>
                  </a:lnTo>
                  <a:lnTo>
                    <a:pt x="1188" y="42"/>
                  </a:lnTo>
                  <a:lnTo>
                    <a:pt x="1200" y="36"/>
                  </a:lnTo>
                  <a:lnTo>
                    <a:pt x="1212" y="36"/>
                  </a:lnTo>
                  <a:lnTo>
                    <a:pt x="1236" y="30"/>
                  </a:lnTo>
                  <a:lnTo>
                    <a:pt x="1236" y="24"/>
                  </a:lnTo>
                  <a:lnTo>
                    <a:pt x="1278" y="18"/>
                  </a:lnTo>
                  <a:lnTo>
                    <a:pt x="1290" y="18"/>
                  </a:lnTo>
                  <a:lnTo>
                    <a:pt x="1302" y="12"/>
                  </a:lnTo>
                  <a:lnTo>
                    <a:pt x="1314" y="0"/>
                  </a:lnTo>
                  <a:lnTo>
                    <a:pt x="1332" y="0"/>
                  </a:lnTo>
                  <a:lnTo>
                    <a:pt x="1338" y="24"/>
                  </a:lnTo>
                  <a:lnTo>
                    <a:pt x="1344" y="30"/>
                  </a:lnTo>
                  <a:lnTo>
                    <a:pt x="1350" y="42"/>
                  </a:lnTo>
                  <a:lnTo>
                    <a:pt x="1356" y="48"/>
                  </a:lnTo>
                  <a:lnTo>
                    <a:pt x="1356" y="78"/>
                  </a:lnTo>
                  <a:lnTo>
                    <a:pt x="1350" y="96"/>
                  </a:lnTo>
                  <a:lnTo>
                    <a:pt x="1338" y="108"/>
                  </a:lnTo>
                  <a:lnTo>
                    <a:pt x="1338" y="114"/>
                  </a:lnTo>
                  <a:lnTo>
                    <a:pt x="1338" y="120"/>
                  </a:lnTo>
                  <a:lnTo>
                    <a:pt x="1338" y="126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398" y="114"/>
                  </a:lnTo>
                  <a:lnTo>
                    <a:pt x="1416" y="120"/>
                  </a:lnTo>
                  <a:lnTo>
                    <a:pt x="1434" y="126"/>
                  </a:lnTo>
                  <a:lnTo>
                    <a:pt x="1458" y="132"/>
                  </a:lnTo>
                  <a:lnTo>
                    <a:pt x="1458" y="138"/>
                  </a:lnTo>
                  <a:lnTo>
                    <a:pt x="1512" y="138"/>
                  </a:lnTo>
                  <a:lnTo>
                    <a:pt x="1512" y="132"/>
                  </a:lnTo>
                  <a:lnTo>
                    <a:pt x="1524" y="138"/>
                  </a:lnTo>
                  <a:lnTo>
                    <a:pt x="1542" y="138"/>
                  </a:lnTo>
                  <a:lnTo>
                    <a:pt x="1542" y="150"/>
                  </a:lnTo>
                  <a:lnTo>
                    <a:pt x="1542" y="162"/>
                  </a:lnTo>
                  <a:lnTo>
                    <a:pt x="1548" y="174"/>
                  </a:lnTo>
                  <a:lnTo>
                    <a:pt x="1548" y="180"/>
                  </a:lnTo>
                  <a:lnTo>
                    <a:pt x="1554" y="222"/>
                  </a:lnTo>
                  <a:lnTo>
                    <a:pt x="1554" y="258"/>
                  </a:lnTo>
                  <a:lnTo>
                    <a:pt x="1554" y="276"/>
                  </a:lnTo>
                  <a:lnTo>
                    <a:pt x="1554" y="282"/>
                  </a:lnTo>
                  <a:lnTo>
                    <a:pt x="1554" y="294"/>
                  </a:lnTo>
                  <a:lnTo>
                    <a:pt x="1554" y="306"/>
                  </a:lnTo>
                  <a:lnTo>
                    <a:pt x="1554" y="324"/>
                  </a:lnTo>
                  <a:lnTo>
                    <a:pt x="1554" y="330"/>
                  </a:lnTo>
                  <a:lnTo>
                    <a:pt x="1548" y="330"/>
                  </a:lnTo>
                  <a:lnTo>
                    <a:pt x="1548" y="336"/>
                  </a:lnTo>
                  <a:lnTo>
                    <a:pt x="1548" y="342"/>
                  </a:lnTo>
                  <a:lnTo>
                    <a:pt x="1542" y="336"/>
                  </a:lnTo>
                  <a:lnTo>
                    <a:pt x="1542" y="330"/>
                  </a:lnTo>
                  <a:lnTo>
                    <a:pt x="1536" y="330"/>
                  </a:lnTo>
                  <a:lnTo>
                    <a:pt x="1530" y="330"/>
                  </a:lnTo>
                  <a:lnTo>
                    <a:pt x="1530" y="336"/>
                  </a:lnTo>
                  <a:lnTo>
                    <a:pt x="1536" y="342"/>
                  </a:lnTo>
                  <a:lnTo>
                    <a:pt x="1530" y="342"/>
                  </a:lnTo>
                  <a:lnTo>
                    <a:pt x="1518" y="348"/>
                  </a:lnTo>
                  <a:lnTo>
                    <a:pt x="1512" y="354"/>
                  </a:lnTo>
                  <a:lnTo>
                    <a:pt x="1506" y="354"/>
                  </a:lnTo>
                  <a:lnTo>
                    <a:pt x="1500" y="354"/>
                  </a:lnTo>
                  <a:lnTo>
                    <a:pt x="1494" y="354"/>
                  </a:lnTo>
                  <a:lnTo>
                    <a:pt x="1494" y="360"/>
                  </a:lnTo>
                  <a:lnTo>
                    <a:pt x="1488" y="360"/>
                  </a:lnTo>
                  <a:lnTo>
                    <a:pt x="1488" y="366"/>
                  </a:lnTo>
                  <a:lnTo>
                    <a:pt x="1488" y="372"/>
                  </a:lnTo>
                  <a:lnTo>
                    <a:pt x="1482" y="372"/>
                  </a:lnTo>
                  <a:lnTo>
                    <a:pt x="1476" y="372"/>
                  </a:lnTo>
                  <a:lnTo>
                    <a:pt x="1470" y="372"/>
                  </a:lnTo>
                  <a:lnTo>
                    <a:pt x="1470" y="378"/>
                  </a:lnTo>
                  <a:lnTo>
                    <a:pt x="1470" y="384"/>
                  </a:lnTo>
                  <a:lnTo>
                    <a:pt x="1470" y="390"/>
                  </a:lnTo>
                  <a:lnTo>
                    <a:pt x="1464" y="402"/>
                  </a:lnTo>
                  <a:lnTo>
                    <a:pt x="1446" y="402"/>
                  </a:lnTo>
                  <a:lnTo>
                    <a:pt x="1440" y="372"/>
                  </a:lnTo>
                  <a:lnTo>
                    <a:pt x="1410" y="372"/>
                  </a:lnTo>
                  <a:lnTo>
                    <a:pt x="1380" y="372"/>
                  </a:lnTo>
                  <a:lnTo>
                    <a:pt x="1374" y="372"/>
                  </a:lnTo>
                  <a:lnTo>
                    <a:pt x="1368" y="378"/>
                  </a:lnTo>
                  <a:lnTo>
                    <a:pt x="1362" y="378"/>
                  </a:lnTo>
                  <a:lnTo>
                    <a:pt x="1356" y="378"/>
                  </a:lnTo>
                  <a:lnTo>
                    <a:pt x="1350" y="384"/>
                  </a:lnTo>
                  <a:lnTo>
                    <a:pt x="1350" y="390"/>
                  </a:lnTo>
                  <a:lnTo>
                    <a:pt x="1344" y="390"/>
                  </a:lnTo>
                  <a:lnTo>
                    <a:pt x="1338" y="390"/>
                  </a:lnTo>
                  <a:lnTo>
                    <a:pt x="1332" y="390"/>
                  </a:lnTo>
                  <a:lnTo>
                    <a:pt x="1332" y="396"/>
                  </a:lnTo>
                  <a:lnTo>
                    <a:pt x="1332" y="390"/>
                  </a:lnTo>
                  <a:lnTo>
                    <a:pt x="1326" y="402"/>
                  </a:lnTo>
                  <a:lnTo>
                    <a:pt x="1320" y="402"/>
                  </a:lnTo>
                  <a:lnTo>
                    <a:pt x="1302" y="474"/>
                  </a:lnTo>
                  <a:lnTo>
                    <a:pt x="1308" y="480"/>
                  </a:lnTo>
                  <a:lnTo>
                    <a:pt x="1314" y="480"/>
                  </a:lnTo>
                  <a:lnTo>
                    <a:pt x="1308" y="498"/>
                  </a:lnTo>
                  <a:lnTo>
                    <a:pt x="1308" y="504"/>
                  </a:lnTo>
                  <a:lnTo>
                    <a:pt x="1314" y="510"/>
                  </a:lnTo>
                  <a:lnTo>
                    <a:pt x="1308" y="510"/>
                  </a:lnTo>
                  <a:lnTo>
                    <a:pt x="1308" y="516"/>
                  </a:lnTo>
                  <a:lnTo>
                    <a:pt x="1302" y="516"/>
                  </a:lnTo>
                  <a:lnTo>
                    <a:pt x="1296" y="510"/>
                  </a:lnTo>
                  <a:lnTo>
                    <a:pt x="1296" y="516"/>
                  </a:lnTo>
                  <a:lnTo>
                    <a:pt x="1290" y="540"/>
                  </a:lnTo>
                  <a:lnTo>
                    <a:pt x="1290" y="552"/>
                  </a:lnTo>
                  <a:lnTo>
                    <a:pt x="1284" y="558"/>
                  </a:lnTo>
                  <a:lnTo>
                    <a:pt x="1290" y="576"/>
                  </a:lnTo>
                  <a:lnTo>
                    <a:pt x="1290" y="600"/>
                  </a:lnTo>
                  <a:lnTo>
                    <a:pt x="1284" y="618"/>
                  </a:lnTo>
                  <a:lnTo>
                    <a:pt x="1290" y="624"/>
                  </a:lnTo>
                  <a:lnTo>
                    <a:pt x="1284" y="630"/>
                  </a:lnTo>
                  <a:lnTo>
                    <a:pt x="1278" y="630"/>
                  </a:lnTo>
                  <a:lnTo>
                    <a:pt x="1272" y="630"/>
                  </a:lnTo>
                  <a:lnTo>
                    <a:pt x="1266" y="636"/>
                  </a:lnTo>
                  <a:lnTo>
                    <a:pt x="1260" y="642"/>
                  </a:lnTo>
                  <a:lnTo>
                    <a:pt x="1260" y="636"/>
                  </a:lnTo>
                  <a:lnTo>
                    <a:pt x="1254" y="636"/>
                  </a:lnTo>
                  <a:lnTo>
                    <a:pt x="1248" y="636"/>
                  </a:lnTo>
                  <a:lnTo>
                    <a:pt x="1248" y="642"/>
                  </a:lnTo>
                  <a:lnTo>
                    <a:pt x="1242" y="642"/>
                  </a:lnTo>
                  <a:lnTo>
                    <a:pt x="1242" y="648"/>
                  </a:lnTo>
                  <a:lnTo>
                    <a:pt x="1236" y="654"/>
                  </a:lnTo>
                  <a:lnTo>
                    <a:pt x="1230" y="654"/>
                  </a:lnTo>
                  <a:lnTo>
                    <a:pt x="1224" y="654"/>
                  </a:lnTo>
                  <a:lnTo>
                    <a:pt x="1218" y="660"/>
                  </a:lnTo>
                  <a:lnTo>
                    <a:pt x="1212" y="660"/>
                  </a:lnTo>
                  <a:lnTo>
                    <a:pt x="1206" y="660"/>
                  </a:lnTo>
                  <a:lnTo>
                    <a:pt x="1200" y="660"/>
                  </a:lnTo>
                  <a:lnTo>
                    <a:pt x="1200" y="666"/>
                  </a:lnTo>
                  <a:lnTo>
                    <a:pt x="1194" y="666"/>
                  </a:lnTo>
                  <a:lnTo>
                    <a:pt x="1188" y="666"/>
                  </a:lnTo>
                  <a:lnTo>
                    <a:pt x="1182" y="672"/>
                  </a:lnTo>
                  <a:lnTo>
                    <a:pt x="1176" y="672"/>
                  </a:lnTo>
                  <a:lnTo>
                    <a:pt x="1170" y="672"/>
                  </a:lnTo>
                  <a:lnTo>
                    <a:pt x="1164" y="678"/>
                  </a:lnTo>
                  <a:lnTo>
                    <a:pt x="1170" y="678"/>
                  </a:lnTo>
                  <a:lnTo>
                    <a:pt x="1164" y="684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52" y="684"/>
                  </a:lnTo>
                  <a:lnTo>
                    <a:pt x="1152" y="690"/>
                  </a:lnTo>
                  <a:lnTo>
                    <a:pt x="1146" y="690"/>
                  </a:lnTo>
                  <a:lnTo>
                    <a:pt x="1140" y="690"/>
                  </a:lnTo>
                  <a:lnTo>
                    <a:pt x="1134" y="696"/>
                  </a:lnTo>
                  <a:lnTo>
                    <a:pt x="1128" y="696"/>
                  </a:lnTo>
                  <a:lnTo>
                    <a:pt x="1122" y="702"/>
                  </a:lnTo>
                  <a:lnTo>
                    <a:pt x="1116" y="702"/>
                  </a:lnTo>
                  <a:lnTo>
                    <a:pt x="1110" y="708"/>
                  </a:lnTo>
                  <a:lnTo>
                    <a:pt x="1104" y="708"/>
                  </a:lnTo>
                  <a:lnTo>
                    <a:pt x="1098" y="708"/>
                  </a:lnTo>
                  <a:lnTo>
                    <a:pt x="1092" y="708"/>
                  </a:lnTo>
                  <a:lnTo>
                    <a:pt x="1092" y="714"/>
                  </a:lnTo>
                  <a:lnTo>
                    <a:pt x="1086" y="720"/>
                  </a:lnTo>
                  <a:lnTo>
                    <a:pt x="1080" y="720"/>
                  </a:lnTo>
                  <a:lnTo>
                    <a:pt x="1074" y="720"/>
                  </a:lnTo>
                  <a:lnTo>
                    <a:pt x="1068" y="720"/>
                  </a:lnTo>
                  <a:lnTo>
                    <a:pt x="1062" y="720"/>
                  </a:lnTo>
                  <a:lnTo>
                    <a:pt x="1050" y="726"/>
                  </a:lnTo>
                  <a:lnTo>
                    <a:pt x="1044" y="726"/>
                  </a:lnTo>
                  <a:lnTo>
                    <a:pt x="1038" y="732"/>
                  </a:lnTo>
                  <a:lnTo>
                    <a:pt x="1026" y="732"/>
                  </a:lnTo>
                  <a:lnTo>
                    <a:pt x="1020" y="732"/>
                  </a:lnTo>
                  <a:lnTo>
                    <a:pt x="1014" y="738"/>
                  </a:lnTo>
                  <a:lnTo>
                    <a:pt x="1008" y="738"/>
                  </a:lnTo>
                  <a:lnTo>
                    <a:pt x="1002" y="738"/>
                  </a:lnTo>
                  <a:lnTo>
                    <a:pt x="996" y="738"/>
                  </a:lnTo>
                  <a:lnTo>
                    <a:pt x="990" y="738"/>
                  </a:lnTo>
                  <a:lnTo>
                    <a:pt x="990" y="732"/>
                  </a:lnTo>
                  <a:lnTo>
                    <a:pt x="984" y="732"/>
                  </a:lnTo>
                  <a:lnTo>
                    <a:pt x="978" y="738"/>
                  </a:lnTo>
                  <a:lnTo>
                    <a:pt x="978" y="744"/>
                  </a:lnTo>
                  <a:lnTo>
                    <a:pt x="984" y="744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8" y="756"/>
                  </a:lnTo>
                  <a:lnTo>
                    <a:pt x="972" y="756"/>
                  </a:lnTo>
                  <a:lnTo>
                    <a:pt x="972" y="762"/>
                  </a:lnTo>
                  <a:lnTo>
                    <a:pt x="966" y="768"/>
                  </a:lnTo>
                  <a:lnTo>
                    <a:pt x="966" y="762"/>
                  </a:lnTo>
                  <a:lnTo>
                    <a:pt x="960" y="762"/>
                  </a:lnTo>
                  <a:lnTo>
                    <a:pt x="954" y="768"/>
                  </a:lnTo>
                  <a:lnTo>
                    <a:pt x="954" y="774"/>
                  </a:lnTo>
                  <a:lnTo>
                    <a:pt x="948" y="774"/>
                  </a:lnTo>
                  <a:lnTo>
                    <a:pt x="948" y="780"/>
                  </a:lnTo>
                  <a:lnTo>
                    <a:pt x="948" y="786"/>
                  </a:lnTo>
                  <a:lnTo>
                    <a:pt x="942" y="786"/>
                  </a:lnTo>
                  <a:lnTo>
                    <a:pt x="942" y="792"/>
                  </a:lnTo>
                  <a:lnTo>
                    <a:pt x="936" y="792"/>
                  </a:lnTo>
                  <a:lnTo>
                    <a:pt x="942" y="798"/>
                  </a:lnTo>
                  <a:lnTo>
                    <a:pt x="942" y="804"/>
                  </a:lnTo>
                  <a:lnTo>
                    <a:pt x="942" y="810"/>
                  </a:lnTo>
                  <a:lnTo>
                    <a:pt x="948" y="810"/>
                  </a:lnTo>
                  <a:lnTo>
                    <a:pt x="942" y="816"/>
                  </a:lnTo>
                  <a:lnTo>
                    <a:pt x="948" y="816"/>
                  </a:lnTo>
                  <a:lnTo>
                    <a:pt x="948" y="822"/>
                  </a:lnTo>
                  <a:lnTo>
                    <a:pt x="954" y="822"/>
                  </a:lnTo>
                  <a:lnTo>
                    <a:pt x="960" y="828"/>
                  </a:lnTo>
                  <a:lnTo>
                    <a:pt x="960" y="834"/>
                  </a:lnTo>
                  <a:lnTo>
                    <a:pt x="966" y="834"/>
                  </a:lnTo>
                  <a:lnTo>
                    <a:pt x="960" y="840"/>
                  </a:lnTo>
                  <a:lnTo>
                    <a:pt x="966" y="846"/>
                  </a:lnTo>
                  <a:lnTo>
                    <a:pt x="966" y="840"/>
                  </a:lnTo>
                  <a:lnTo>
                    <a:pt x="972" y="840"/>
                  </a:lnTo>
                  <a:lnTo>
                    <a:pt x="990" y="840"/>
                  </a:lnTo>
                  <a:lnTo>
                    <a:pt x="1002" y="834"/>
                  </a:lnTo>
                  <a:lnTo>
                    <a:pt x="1020" y="828"/>
                  </a:lnTo>
                  <a:lnTo>
                    <a:pt x="1032" y="828"/>
                  </a:lnTo>
                  <a:lnTo>
                    <a:pt x="1050" y="828"/>
                  </a:lnTo>
                  <a:lnTo>
                    <a:pt x="1062" y="846"/>
                  </a:lnTo>
                  <a:lnTo>
                    <a:pt x="1074" y="876"/>
                  </a:lnTo>
                  <a:lnTo>
                    <a:pt x="1068" y="900"/>
                  </a:lnTo>
                  <a:lnTo>
                    <a:pt x="1074" y="912"/>
                  </a:lnTo>
                  <a:lnTo>
                    <a:pt x="1074" y="936"/>
                  </a:lnTo>
                  <a:lnTo>
                    <a:pt x="1068" y="942"/>
                  </a:lnTo>
                  <a:lnTo>
                    <a:pt x="1062" y="954"/>
                  </a:lnTo>
                  <a:lnTo>
                    <a:pt x="1056" y="978"/>
                  </a:lnTo>
                  <a:lnTo>
                    <a:pt x="1056" y="996"/>
                  </a:lnTo>
                  <a:lnTo>
                    <a:pt x="1068" y="990"/>
                  </a:lnTo>
                  <a:lnTo>
                    <a:pt x="1074" y="990"/>
                  </a:lnTo>
                  <a:lnTo>
                    <a:pt x="1074" y="1008"/>
                  </a:lnTo>
                  <a:lnTo>
                    <a:pt x="1080" y="1008"/>
                  </a:lnTo>
                  <a:lnTo>
                    <a:pt x="1092" y="1014"/>
                  </a:lnTo>
                  <a:lnTo>
                    <a:pt x="1110" y="1044"/>
                  </a:lnTo>
                  <a:lnTo>
                    <a:pt x="1110" y="1062"/>
                  </a:lnTo>
                  <a:lnTo>
                    <a:pt x="1128" y="1068"/>
                  </a:lnTo>
                  <a:lnTo>
                    <a:pt x="1128" y="1092"/>
                  </a:lnTo>
                  <a:lnTo>
                    <a:pt x="1134" y="1098"/>
                  </a:lnTo>
                  <a:lnTo>
                    <a:pt x="1158" y="1122"/>
                  </a:lnTo>
                  <a:lnTo>
                    <a:pt x="1188" y="1122"/>
                  </a:lnTo>
                  <a:lnTo>
                    <a:pt x="1188" y="1128"/>
                  </a:lnTo>
                  <a:lnTo>
                    <a:pt x="1200" y="1134"/>
                  </a:lnTo>
                  <a:lnTo>
                    <a:pt x="1206" y="1134"/>
                  </a:lnTo>
                  <a:lnTo>
                    <a:pt x="1206" y="1128"/>
                  </a:lnTo>
                  <a:lnTo>
                    <a:pt x="1212" y="1128"/>
                  </a:lnTo>
                  <a:lnTo>
                    <a:pt x="1218" y="1128"/>
                  </a:lnTo>
                  <a:lnTo>
                    <a:pt x="1224" y="1122"/>
                  </a:lnTo>
                  <a:lnTo>
                    <a:pt x="1224" y="1128"/>
                  </a:lnTo>
                  <a:lnTo>
                    <a:pt x="1230" y="1128"/>
                  </a:lnTo>
                  <a:lnTo>
                    <a:pt x="1236" y="1128"/>
                  </a:lnTo>
                  <a:lnTo>
                    <a:pt x="1236" y="1122"/>
                  </a:lnTo>
                  <a:lnTo>
                    <a:pt x="1242" y="1122"/>
                  </a:lnTo>
                  <a:lnTo>
                    <a:pt x="1248" y="1128"/>
                  </a:lnTo>
                  <a:lnTo>
                    <a:pt x="1254" y="1128"/>
                  </a:lnTo>
                  <a:lnTo>
                    <a:pt x="1260" y="1134"/>
                  </a:lnTo>
                  <a:lnTo>
                    <a:pt x="1260" y="1140"/>
                  </a:lnTo>
                  <a:lnTo>
                    <a:pt x="1266" y="1140"/>
                  </a:lnTo>
                  <a:lnTo>
                    <a:pt x="1272" y="1140"/>
                  </a:lnTo>
                  <a:lnTo>
                    <a:pt x="1278" y="1140"/>
                  </a:lnTo>
                  <a:lnTo>
                    <a:pt x="1284" y="1140"/>
                  </a:lnTo>
                  <a:lnTo>
                    <a:pt x="1290" y="1146"/>
                  </a:lnTo>
                  <a:lnTo>
                    <a:pt x="1290" y="1152"/>
                  </a:lnTo>
                  <a:lnTo>
                    <a:pt x="1296" y="1146"/>
                  </a:lnTo>
                  <a:lnTo>
                    <a:pt x="1296" y="1152"/>
                  </a:lnTo>
                  <a:lnTo>
                    <a:pt x="1308" y="1152"/>
                  </a:lnTo>
                  <a:lnTo>
                    <a:pt x="1314" y="1152"/>
                  </a:lnTo>
                  <a:lnTo>
                    <a:pt x="1320" y="1152"/>
                  </a:lnTo>
                  <a:lnTo>
                    <a:pt x="1332" y="1152"/>
                  </a:lnTo>
                  <a:lnTo>
                    <a:pt x="1338" y="1152"/>
                  </a:lnTo>
                  <a:lnTo>
                    <a:pt x="1344" y="1152"/>
                  </a:lnTo>
                  <a:lnTo>
                    <a:pt x="1344" y="1158"/>
                  </a:lnTo>
                  <a:lnTo>
                    <a:pt x="1350" y="1158"/>
                  </a:lnTo>
                  <a:lnTo>
                    <a:pt x="1356" y="1158"/>
                  </a:lnTo>
                  <a:lnTo>
                    <a:pt x="1362" y="1158"/>
                  </a:lnTo>
                  <a:lnTo>
                    <a:pt x="1368" y="1158"/>
                  </a:lnTo>
                  <a:lnTo>
                    <a:pt x="1374" y="1164"/>
                  </a:lnTo>
                  <a:lnTo>
                    <a:pt x="1380" y="1164"/>
                  </a:lnTo>
                  <a:lnTo>
                    <a:pt x="1386" y="1170"/>
                  </a:lnTo>
                  <a:lnTo>
                    <a:pt x="1392" y="1170"/>
                  </a:lnTo>
                  <a:lnTo>
                    <a:pt x="1398" y="1164"/>
                  </a:lnTo>
                  <a:lnTo>
                    <a:pt x="1404" y="1164"/>
                  </a:lnTo>
                  <a:lnTo>
                    <a:pt x="1410" y="1164"/>
                  </a:lnTo>
                  <a:lnTo>
                    <a:pt x="1416" y="1164"/>
                  </a:lnTo>
                  <a:lnTo>
                    <a:pt x="1416" y="1170"/>
                  </a:lnTo>
                  <a:lnTo>
                    <a:pt x="1422" y="1176"/>
                  </a:lnTo>
                  <a:lnTo>
                    <a:pt x="1416" y="1176"/>
                  </a:lnTo>
                  <a:lnTo>
                    <a:pt x="1416" y="1182"/>
                  </a:lnTo>
                  <a:lnTo>
                    <a:pt x="1410" y="1188"/>
                  </a:lnTo>
                  <a:lnTo>
                    <a:pt x="1404" y="1194"/>
                  </a:lnTo>
                  <a:lnTo>
                    <a:pt x="1404" y="1200"/>
                  </a:lnTo>
                  <a:lnTo>
                    <a:pt x="1404" y="1206"/>
                  </a:lnTo>
                  <a:lnTo>
                    <a:pt x="1398" y="1212"/>
                  </a:lnTo>
                  <a:lnTo>
                    <a:pt x="1398" y="1206"/>
                  </a:lnTo>
                  <a:lnTo>
                    <a:pt x="1392" y="1206"/>
                  </a:lnTo>
                  <a:lnTo>
                    <a:pt x="1386" y="1206"/>
                  </a:lnTo>
                  <a:lnTo>
                    <a:pt x="1380" y="1212"/>
                  </a:lnTo>
                  <a:lnTo>
                    <a:pt x="1374" y="1212"/>
                  </a:lnTo>
                  <a:lnTo>
                    <a:pt x="1368" y="1218"/>
                  </a:lnTo>
                  <a:lnTo>
                    <a:pt x="1362" y="1218"/>
                  </a:lnTo>
                  <a:lnTo>
                    <a:pt x="1362" y="1224"/>
                  </a:lnTo>
                  <a:lnTo>
                    <a:pt x="1356" y="1230"/>
                  </a:lnTo>
                  <a:lnTo>
                    <a:pt x="1350" y="1230"/>
                  </a:lnTo>
                  <a:lnTo>
                    <a:pt x="1344" y="1236"/>
                  </a:lnTo>
                  <a:lnTo>
                    <a:pt x="1338" y="1230"/>
                  </a:lnTo>
                  <a:lnTo>
                    <a:pt x="1332" y="1230"/>
                  </a:lnTo>
                  <a:lnTo>
                    <a:pt x="1326" y="1230"/>
                  </a:lnTo>
                  <a:lnTo>
                    <a:pt x="1320" y="1230"/>
                  </a:lnTo>
                  <a:lnTo>
                    <a:pt x="1314" y="1230"/>
                  </a:lnTo>
                  <a:lnTo>
                    <a:pt x="1296" y="1242"/>
                  </a:lnTo>
                  <a:lnTo>
                    <a:pt x="1296" y="1248"/>
                  </a:lnTo>
                  <a:lnTo>
                    <a:pt x="1290" y="1248"/>
                  </a:lnTo>
                  <a:lnTo>
                    <a:pt x="1290" y="1260"/>
                  </a:lnTo>
                  <a:lnTo>
                    <a:pt x="1278" y="1272"/>
                  </a:lnTo>
                  <a:lnTo>
                    <a:pt x="1278" y="1278"/>
                  </a:lnTo>
                  <a:lnTo>
                    <a:pt x="1278" y="1284"/>
                  </a:lnTo>
                  <a:lnTo>
                    <a:pt x="1278" y="1290"/>
                  </a:lnTo>
                  <a:lnTo>
                    <a:pt x="1284" y="1296"/>
                  </a:lnTo>
                  <a:lnTo>
                    <a:pt x="1302" y="1302"/>
                  </a:lnTo>
                  <a:lnTo>
                    <a:pt x="1308" y="1308"/>
                  </a:lnTo>
                  <a:lnTo>
                    <a:pt x="1308" y="1314"/>
                  </a:lnTo>
                  <a:lnTo>
                    <a:pt x="1302" y="1320"/>
                  </a:lnTo>
                  <a:lnTo>
                    <a:pt x="1278" y="1314"/>
                  </a:lnTo>
                  <a:lnTo>
                    <a:pt x="1266" y="1308"/>
                  </a:lnTo>
                  <a:lnTo>
                    <a:pt x="1260" y="1296"/>
                  </a:lnTo>
                  <a:lnTo>
                    <a:pt x="1236" y="1296"/>
                  </a:lnTo>
                  <a:lnTo>
                    <a:pt x="1224" y="1308"/>
                  </a:lnTo>
                  <a:lnTo>
                    <a:pt x="1218" y="1308"/>
                  </a:lnTo>
                  <a:lnTo>
                    <a:pt x="1218" y="1302"/>
                  </a:lnTo>
                  <a:lnTo>
                    <a:pt x="1212" y="1302"/>
                  </a:lnTo>
                  <a:lnTo>
                    <a:pt x="1206" y="1302"/>
                  </a:lnTo>
                  <a:lnTo>
                    <a:pt x="1170" y="1314"/>
                  </a:lnTo>
                  <a:lnTo>
                    <a:pt x="1134" y="1296"/>
                  </a:lnTo>
                  <a:lnTo>
                    <a:pt x="1122" y="1290"/>
                  </a:lnTo>
                  <a:lnTo>
                    <a:pt x="1104" y="1290"/>
                  </a:lnTo>
                  <a:lnTo>
                    <a:pt x="1098" y="1278"/>
                  </a:lnTo>
                  <a:lnTo>
                    <a:pt x="1092" y="1242"/>
                  </a:lnTo>
                  <a:lnTo>
                    <a:pt x="1086" y="1242"/>
                  </a:lnTo>
                  <a:lnTo>
                    <a:pt x="1086" y="1248"/>
                  </a:lnTo>
                  <a:lnTo>
                    <a:pt x="1086" y="1254"/>
                  </a:lnTo>
                  <a:lnTo>
                    <a:pt x="1080" y="1254"/>
                  </a:lnTo>
                  <a:lnTo>
                    <a:pt x="1080" y="1260"/>
                  </a:lnTo>
                  <a:lnTo>
                    <a:pt x="1074" y="1260"/>
                  </a:lnTo>
                  <a:lnTo>
                    <a:pt x="1068" y="1236"/>
                  </a:lnTo>
                  <a:lnTo>
                    <a:pt x="1068" y="1206"/>
                  </a:lnTo>
                  <a:lnTo>
                    <a:pt x="1080" y="1194"/>
                  </a:lnTo>
                  <a:lnTo>
                    <a:pt x="1086" y="1194"/>
                  </a:lnTo>
                  <a:lnTo>
                    <a:pt x="1092" y="1200"/>
                  </a:lnTo>
                  <a:lnTo>
                    <a:pt x="1098" y="1206"/>
                  </a:lnTo>
                  <a:lnTo>
                    <a:pt x="1104" y="1200"/>
                  </a:lnTo>
                  <a:lnTo>
                    <a:pt x="1104" y="1194"/>
                  </a:lnTo>
                  <a:lnTo>
                    <a:pt x="1110" y="1194"/>
                  </a:lnTo>
                  <a:lnTo>
                    <a:pt x="1110" y="1188"/>
                  </a:lnTo>
                  <a:lnTo>
                    <a:pt x="1116" y="1182"/>
                  </a:lnTo>
                  <a:lnTo>
                    <a:pt x="1110" y="1182"/>
                  </a:lnTo>
                  <a:lnTo>
                    <a:pt x="1110" y="1170"/>
                  </a:lnTo>
                  <a:lnTo>
                    <a:pt x="1110" y="1158"/>
                  </a:lnTo>
                  <a:lnTo>
                    <a:pt x="1110" y="1152"/>
                  </a:lnTo>
                  <a:lnTo>
                    <a:pt x="1104" y="1146"/>
                  </a:lnTo>
                  <a:lnTo>
                    <a:pt x="1098" y="1140"/>
                  </a:lnTo>
                  <a:lnTo>
                    <a:pt x="1098" y="1134"/>
                  </a:lnTo>
                  <a:lnTo>
                    <a:pt x="1098" y="1128"/>
                  </a:lnTo>
                  <a:lnTo>
                    <a:pt x="1092" y="1128"/>
                  </a:lnTo>
                  <a:lnTo>
                    <a:pt x="1092" y="1122"/>
                  </a:lnTo>
                  <a:lnTo>
                    <a:pt x="1092" y="1116"/>
                  </a:lnTo>
                  <a:lnTo>
                    <a:pt x="1092" y="1110"/>
                  </a:lnTo>
                  <a:lnTo>
                    <a:pt x="1056" y="1122"/>
                  </a:lnTo>
                  <a:lnTo>
                    <a:pt x="1038" y="1128"/>
                  </a:lnTo>
                  <a:lnTo>
                    <a:pt x="1032" y="1128"/>
                  </a:lnTo>
                  <a:lnTo>
                    <a:pt x="1026" y="1128"/>
                  </a:lnTo>
                  <a:lnTo>
                    <a:pt x="1020" y="1128"/>
                  </a:lnTo>
                  <a:lnTo>
                    <a:pt x="1014" y="1128"/>
                  </a:lnTo>
                  <a:lnTo>
                    <a:pt x="1014" y="1122"/>
                  </a:lnTo>
                  <a:lnTo>
                    <a:pt x="1008" y="1122"/>
                  </a:lnTo>
                  <a:lnTo>
                    <a:pt x="1002" y="1128"/>
                  </a:lnTo>
                  <a:lnTo>
                    <a:pt x="1002" y="1134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84" y="1140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66" y="1140"/>
                  </a:lnTo>
                  <a:lnTo>
                    <a:pt x="954" y="1140"/>
                  </a:lnTo>
                  <a:lnTo>
                    <a:pt x="954" y="1134"/>
                  </a:lnTo>
                  <a:lnTo>
                    <a:pt x="948" y="1134"/>
                  </a:lnTo>
                  <a:lnTo>
                    <a:pt x="942" y="1134"/>
                  </a:lnTo>
                  <a:lnTo>
                    <a:pt x="936" y="1134"/>
                  </a:lnTo>
                  <a:lnTo>
                    <a:pt x="930" y="1134"/>
                  </a:lnTo>
                  <a:lnTo>
                    <a:pt x="924" y="1134"/>
                  </a:lnTo>
                  <a:lnTo>
                    <a:pt x="918" y="1134"/>
                  </a:lnTo>
                  <a:lnTo>
                    <a:pt x="918" y="1128"/>
                  </a:lnTo>
                  <a:lnTo>
                    <a:pt x="918" y="1104"/>
                  </a:lnTo>
                  <a:lnTo>
                    <a:pt x="906" y="1104"/>
                  </a:lnTo>
                  <a:lnTo>
                    <a:pt x="900" y="1098"/>
                  </a:lnTo>
                  <a:lnTo>
                    <a:pt x="900" y="1092"/>
                  </a:lnTo>
                  <a:lnTo>
                    <a:pt x="900" y="1086"/>
                  </a:lnTo>
                  <a:lnTo>
                    <a:pt x="900" y="1080"/>
                  </a:lnTo>
                  <a:lnTo>
                    <a:pt x="894" y="1080"/>
                  </a:lnTo>
                  <a:lnTo>
                    <a:pt x="858" y="1074"/>
                  </a:lnTo>
                  <a:lnTo>
                    <a:pt x="852" y="1080"/>
                  </a:lnTo>
                  <a:lnTo>
                    <a:pt x="846" y="1086"/>
                  </a:lnTo>
                  <a:lnTo>
                    <a:pt x="840" y="1086"/>
                  </a:lnTo>
                  <a:lnTo>
                    <a:pt x="840" y="1092"/>
                  </a:lnTo>
                  <a:lnTo>
                    <a:pt x="834" y="1092"/>
                  </a:lnTo>
                  <a:lnTo>
                    <a:pt x="828" y="1098"/>
                  </a:lnTo>
                  <a:lnTo>
                    <a:pt x="822" y="1098"/>
                  </a:lnTo>
                  <a:lnTo>
                    <a:pt x="762" y="1074"/>
                  </a:lnTo>
                  <a:lnTo>
                    <a:pt x="756" y="1068"/>
                  </a:lnTo>
                  <a:lnTo>
                    <a:pt x="750" y="1068"/>
                  </a:lnTo>
                  <a:lnTo>
                    <a:pt x="744" y="1062"/>
                  </a:lnTo>
                  <a:lnTo>
                    <a:pt x="744" y="1068"/>
                  </a:lnTo>
                  <a:lnTo>
                    <a:pt x="744" y="1074"/>
                  </a:lnTo>
                  <a:lnTo>
                    <a:pt x="738" y="1074"/>
                  </a:lnTo>
                  <a:lnTo>
                    <a:pt x="738" y="1068"/>
                  </a:lnTo>
                  <a:lnTo>
                    <a:pt x="732" y="1068"/>
                  </a:lnTo>
                  <a:lnTo>
                    <a:pt x="726" y="1068"/>
                  </a:lnTo>
                  <a:lnTo>
                    <a:pt x="726" y="1074"/>
                  </a:lnTo>
                  <a:lnTo>
                    <a:pt x="720" y="1074"/>
                  </a:lnTo>
                  <a:lnTo>
                    <a:pt x="684" y="106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5" name="Freeform 40">
              <a:extLst>
                <a:ext uri="{FF2B5EF4-FFF2-40B4-BE49-F238E27FC236}">
                  <a16:creationId xmlns:a16="http://schemas.microsoft.com/office/drawing/2014/main" id="{37EC2F22-BDB9-4162-8FA4-08493F6898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3558" y="1520374"/>
              <a:ext cx="1057717" cy="1252440"/>
            </a:xfrm>
            <a:custGeom>
              <a:avLst/>
              <a:gdLst>
                <a:gd name="T0" fmla="*/ 98 w 1992"/>
                <a:gd name="T1" fmla="*/ 162 h 2358"/>
                <a:gd name="T2" fmla="*/ 93 w 1992"/>
                <a:gd name="T3" fmla="*/ 172 h 2358"/>
                <a:gd name="T4" fmla="*/ 82 w 1992"/>
                <a:gd name="T5" fmla="*/ 179 h 2358"/>
                <a:gd name="T6" fmla="*/ 70 w 1992"/>
                <a:gd name="T7" fmla="*/ 174 h 2358"/>
                <a:gd name="T8" fmla="*/ 62 w 1992"/>
                <a:gd name="T9" fmla="*/ 182 h 2358"/>
                <a:gd name="T10" fmla="*/ 45 w 1992"/>
                <a:gd name="T11" fmla="*/ 189 h 2358"/>
                <a:gd name="T12" fmla="*/ 24 w 1992"/>
                <a:gd name="T13" fmla="*/ 205 h 2358"/>
                <a:gd name="T14" fmla="*/ 17 w 1992"/>
                <a:gd name="T15" fmla="*/ 204 h 2358"/>
                <a:gd name="T16" fmla="*/ 7 w 1992"/>
                <a:gd name="T17" fmla="*/ 197 h 2358"/>
                <a:gd name="T18" fmla="*/ 1 w 1992"/>
                <a:gd name="T19" fmla="*/ 191 h 2358"/>
                <a:gd name="T20" fmla="*/ 4 w 1992"/>
                <a:gd name="T21" fmla="*/ 175 h 2358"/>
                <a:gd name="T22" fmla="*/ 7 w 1992"/>
                <a:gd name="T23" fmla="*/ 172 h 2358"/>
                <a:gd name="T24" fmla="*/ 11 w 1992"/>
                <a:gd name="T25" fmla="*/ 168 h 2358"/>
                <a:gd name="T26" fmla="*/ 5 w 1992"/>
                <a:gd name="T27" fmla="*/ 159 h 2358"/>
                <a:gd name="T28" fmla="*/ 10 w 1992"/>
                <a:gd name="T29" fmla="*/ 156 h 2358"/>
                <a:gd name="T30" fmla="*/ 15 w 1992"/>
                <a:gd name="T31" fmla="*/ 155 h 2358"/>
                <a:gd name="T32" fmla="*/ 24 w 1992"/>
                <a:gd name="T33" fmla="*/ 149 h 2358"/>
                <a:gd name="T34" fmla="*/ 38 w 1992"/>
                <a:gd name="T35" fmla="*/ 127 h 2358"/>
                <a:gd name="T36" fmla="*/ 38 w 1992"/>
                <a:gd name="T37" fmla="*/ 107 h 2358"/>
                <a:gd name="T38" fmla="*/ 45 w 1992"/>
                <a:gd name="T39" fmla="*/ 66 h 2358"/>
                <a:gd name="T40" fmla="*/ 47 w 1992"/>
                <a:gd name="T41" fmla="*/ 36 h 2358"/>
                <a:gd name="T42" fmla="*/ 51 w 1992"/>
                <a:gd name="T43" fmla="*/ 35 h 2358"/>
                <a:gd name="T44" fmla="*/ 55 w 1992"/>
                <a:gd name="T45" fmla="*/ 30 h 2358"/>
                <a:gd name="T46" fmla="*/ 56 w 1992"/>
                <a:gd name="T47" fmla="*/ 27 h 2358"/>
                <a:gd name="T48" fmla="*/ 60 w 1992"/>
                <a:gd name="T49" fmla="*/ 23 h 2358"/>
                <a:gd name="T50" fmla="*/ 63 w 1992"/>
                <a:gd name="T51" fmla="*/ 23 h 2358"/>
                <a:gd name="T52" fmla="*/ 70 w 1992"/>
                <a:gd name="T53" fmla="*/ 18 h 2358"/>
                <a:gd name="T54" fmla="*/ 71 w 1992"/>
                <a:gd name="T55" fmla="*/ 15 h 2358"/>
                <a:gd name="T56" fmla="*/ 72 w 1992"/>
                <a:gd name="T57" fmla="*/ 13 h 2358"/>
                <a:gd name="T58" fmla="*/ 77 w 1992"/>
                <a:gd name="T59" fmla="*/ 12 h 2358"/>
                <a:gd name="T60" fmla="*/ 83 w 1992"/>
                <a:gd name="T61" fmla="*/ 10 h 2358"/>
                <a:gd name="T62" fmla="*/ 87 w 1992"/>
                <a:gd name="T63" fmla="*/ 10 h 2358"/>
                <a:gd name="T64" fmla="*/ 89 w 1992"/>
                <a:gd name="T65" fmla="*/ 10 h 2358"/>
                <a:gd name="T66" fmla="*/ 93 w 1992"/>
                <a:gd name="T67" fmla="*/ 8 h 2358"/>
                <a:gd name="T68" fmla="*/ 95 w 1992"/>
                <a:gd name="T69" fmla="*/ 4 h 2358"/>
                <a:gd name="T70" fmla="*/ 99 w 1992"/>
                <a:gd name="T71" fmla="*/ 0 h 2358"/>
                <a:gd name="T72" fmla="*/ 111 w 1992"/>
                <a:gd name="T73" fmla="*/ 0 h 2358"/>
                <a:gd name="T74" fmla="*/ 121 w 1992"/>
                <a:gd name="T75" fmla="*/ 9 h 2358"/>
                <a:gd name="T76" fmla="*/ 128 w 1992"/>
                <a:gd name="T77" fmla="*/ 19 h 2358"/>
                <a:gd name="T78" fmla="*/ 138 w 1992"/>
                <a:gd name="T79" fmla="*/ 33 h 2358"/>
                <a:gd name="T80" fmla="*/ 142 w 1992"/>
                <a:gd name="T81" fmla="*/ 47 h 2358"/>
                <a:gd name="T82" fmla="*/ 145 w 1992"/>
                <a:gd name="T83" fmla="*/ 62 h 2358"/>
                <a:gd name="T84" fmla="*/ 145 w 1992"/>
                <a:gd name="T85" fmla="*/ 70 h 2358"/>
                <a:gd name="T86" fmla="*/ 147 w 1992"/>
                <a:gd name="T87" fmla="*/ 75 h 2358"/>
                <a:gd name="T88" fmla="*/ 153 w 1992"/>
                <a:gd name="T89" fmla="*/ 75 h 2358"/>
                <a:gd name="T90" fmla="*/ 160 w 1992"/>
                <a:gd name="T91" fmla="*/ 76 h 2358"/>
                <a:gd name="T92" fmla="*/ 164 w 1992"/>
                <a:gd name="T93" fmla="*/ 79 h 2358"/>
                <a:gd name="T94" fmla="*/ 168 w 1992"/>
                <a:gd name="T95" fmla="*/ 83 h 2358"/>
                <a:gd name="T96" fmla="*/ 172 w 1992"/>
                <a:gd name="T97" fmla="*/ 86 h 2358"/>
                <a:gd name="T98" fmla="*/ 170 w 1992"/>
                <a:gd name="T99" fmla="*/ 93 h 2358"/>
                <a:gd name="T100" fmla="*/ 170 w 1992"/>
                <a:gd name="T101" fmla="*/ 99 h 2358"/>
                <a:gd name="T102" fmla="*/ 169 w 1992"/>
                <a:gd name="T103" fmla="*/ 106 h 2358"/>
                <a:gd name="T104" fmla="*/ 166 w 1992"/>
                <a:gd name="T105" fmla="*/ 113 h 2358"/>
                <a:gd name="T106" fmla="*/ 170 w 1992"/>
                <a:gd name="T107" fmla="*/ 122 h 2358"/>
                <a:gd name="T108" fmla="*/ 159 w 1992"/>
                <a:gd name="T109" fmla="*/ 128 h 2358"/>
                <a:gd name="T110" fmla="*/ 148 w 1992"/>
                <a:gd name="T111" fmla="*/ 134 h 2358"/>
                <a:gd name="T112" fmla="*/ 139 w 1992"/>
                <a:gd name="T113" fmla="*/ 136 h 2358"/>
                <a:gd name="T114" fmla="*/ 132 w 1992"/>
                <a:gd name="T115" fmla="*/ 138 h 2358"/>
                <a:gd name="T116" fmla="*/ 128 w 1992"/>
                <a:gd name="T117" fmla="*/ 145 h 2358"/>
                <a:gd name="T118" fmla="*/ 124 w 1992"/>
                <a:gd name="T119" fmla="*/ 150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92"/>
                <a:gd name="T181" fmla="*/ 0 h 2358"/>
                <a:gd name="T182" fmla="*/ 1992 w 1992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92" h="2358">
                  <a:moveTo>
                    <a:pt x="1356" y="1782"/>
                  </a:moveTo>
                  <a:lnTo>
                    <a:pt x="1350" y="1788"/>
                  </a:lnTo>
                  <a:lnTo>
                    <a:pt x="1266" y="1788"/>
                  </a:lnTo>
                  <a:lnTo>
                    <a:pt x="1260" y="1800"/>
                  </a:lnTo>
                  <a:lnTo>
                    <a:pt x="1242" y="1806"/>
                  </a:lnTo>
                  <a:lnTo>
                    <a:pt x="1218" y="1812"/>
                  </a:lnTo>
                  <a:lnTo>
                    <a:pt x="1182" y="1812"/>
                  </a:lnTo>
                  <a:lnTo>
                    <a:pt x="1158" y="1806"/>
                  </a:lnTo>
                  <a:lnTo>
                    <a:pt x="1134" y="1800"/>
                  </a:lnTo>
                  <a:lnTo>
                    <a:pt x="1134" y="1806"/>
                  </a:lnTo>
                  <a:lnTo>
                    <a:pt x="1134" y="1830"/>
                  </a:lnTo>
                  <a:lnTo>
                    <a:pt x="1128" y="1842"/>
                  </a:lnTo>
                  <a:lnTo>
                    <a:pt x="1128" y="1854"/>
                  </a:lnTo>
                  <a:lnTo>
                    <a:pt x="1128" y="1860"/>
                  </a:lnTo>
                  <a:lnTo>
                    <a:pt x="1128" y="1866"/>
                  </a:lnTo>
                  <a:lnTo>
                    <a:pt x="1128" y="1872"/>
                  </a:lnTo>
                  <a:lnTo>
                    <a:pt x="1128" y="1884"/>
                  </a:lnTo>
                  <a:lnTo>
                    <a:pt x="1128" y="1890"/>
                  </a:lnTo>
                  <a:lnTo>
                    <a:pt x="1128" y="1896"/>
                  </a:lnTo>
                  <a:lnTo>
                    <a:pt x="1122" y="1902"/>
                  </a:lnTo>
                  <a:lnTo>
                    <a:pt x="1122" y="1920"/>
                  </a:lnTo>
                  <a:lnTo>
                    <a:pt x="1116" y="1920"/>
                  </a:lnTo>
                  <a:lnTo>
                    <a:pt x="1110" y="1926"/>
                  </a:lnTo>
                  <a:lnTo>
                    <a:pt x="1110" y="1932"/>
                  </a:lnTo>
                  <a:lnTo>
                    <a:pt x="1104" y="1938"/>
                  </a:lnTo>
                  <a:lnTo>
                    <a:pt x="1086" y="1962"/>
                  </a:lnTo>
                  <a:lnTo>
                    <a:pt x="1074" y="1974"/>
                  </a:lnTo>
                  <a:lnTo>
                    <a:pt x="1074" y="1980"/>
                  </a:lnTo>
                  <a:lnTo>
                    <a:pt x="1068" y="1986"/>
                  </a:lnTo>
                  <a:lnTo>
                    <a:pt x="1062" y="1998"/>
                  </a:lnTo>
                  <a:lnTo>
                    <a:pt x="1062" y="2004"/>
                  </a:lnTo>
                  <a:lnTo>
                    <a:pt x="1068" y="2004"/>
                  </a:lnTo>
                  <a:lnTo>
                    <a:pt x="1056" y="2034"/>
                  </a:lnTo>
                  <a:lnTo>
                    <a:pt x="1050" y="2076"/>
                  </a:lnTo>
                  <a:lnTo>
                    <a:pt x="1056" y="2100"/>
                  </a:lnTo>
                  <a:lnTo>
                    <a:pt x="1038" y="2106"/>
                  </a:lnTo>
                  <a:lnTo>
                    <a:pt x="1002" y="2106"/>
                  </a:lnTo>
                  <a:lnTo>
                    <a:pt x="978" y="2094"/>
                  </a:lnTo>
                  <a:lnTo>
                    <a:pt x="972" y="2082"/>
                  </a:lnTo>
                  <a:lnTo>
                    <a:pt x="966" y="2070"/>
                  </a:lnTo>
                  <a:lnTo>
                    <a:pt x="954" y="2064"/>
                  </a:lnTo>
                  <a:lnTo>
                    <a:pt x="942" y="2058"/>
                  </a:lnTo>
                  <a:lnTo>
                    <a:pt x="936" y="2058"/>
                  </a:lnTo>
                  <a:lnTo>
                    <a:pt x="918" y="2046"/>
                  </a:lnTo>
                  <a:lnTo>
                    <a:pt x="906" y="2028"/>
                  </a:lnTo>
                  <a:lnTo>
                    <a:pt x="900" y="2022"/>
                  </a:lnTo>
                  <a:lnTo>
                    <a:pt x="894" y="2022"/>
                  </a:lnTo>
                  <a:lnTo>
                    <a:pt x="882" y="2022"/>
                  </a:lnTo>
                  <a:lnTo>
                    <a:pt x="870" y="2016"/>
                  </a:lnTo>
                  <a:lnTo>
                    <a:pt x="864" y="2016"/>
                  </a:lnTo>
                  <a:lnTo>
                    <a:pt x="852" y="2010"/>
                  </a:lnTo>
                  <a:lnTo>
                    <a:pt x="846" y="2004"/>
                  </a:lnTo>
                  <a:lnTo>
                    <a:pt x="840" y="2004"/>
                  </a:lnTo>
                  <a:lnTo>
                    <a:pt x="828" y="1998"/>
                  </a:lnTo>
                  <a:lnTo>
                    <a:pt x="816" y="1998"/>
                  </a:lnTo>
                  <a:lnTo>
                    <a:pt x="810" y="1998"/>
                  </a:lnTo>
                  <a:lnTo>
                    <a:pt x="804" y="1998"/>
                  </a:lnTo>
                  <a:lnTo>
                    <a:pt x="798" y="1998"/>
                  </a:lnTo>
                  <a:lnTo>
                    <a:pt x="792" y="2004"/>
                  </a:lnTo>
                  <a:lnTo>
                    <a:pt x="786" y="2010"/>
                  </a:lnTo>
                  <a:lnTo>
                    <a:pt x="762" y="2010"/>
                  </a:lnTo>
                  <a:lnTo>
                    <a:pt x="756" y="2010"/>
                  </a:lnTo>
                  <a:lnTo>
                    <a:pt x="744" y="2022"/>
                  </a:lnTo>
                  <a:lnTo>
                    <a:pt x="738" y="2034"/>
                  </a:lnTo>
                  <a:lnTo>
                    <a:pt x="732" y="2040"/>
                  </a:lnTo>
                  <a:lnTo>
                    <a:pt x="732" y="2046"/>
                  </a:lnTo>
                  <a:lnTo>
                    <a:pt x="726" y="2058"/>
                  </a:lnTo>
                  <a:lnTo>
                    <a:pt x="720" y="2064"/>
                  </a:lnTo>
                  <a:lnTo>
                    <a:pt x="714" y="2070"/>
                  </a:lnTo>
                  <a:lnTo>
                    <a:pt x="708" y="2088"/>
                  </a:lnTo>
                  <a:lnTo>
                    <a:pt x="702" y="2100"/>
                  </a:lnTo>
                  <a:lnTo>
                    <a:pt x="690" y="2100"/>
                  </a:lnTo>
                  <a:lnTo>
                    <a:pt x="684" y="2094"/>
                  </a:lnTo>
                  <a:lnTo>
                    <a:pt x="666" y="2100"/>
                  </a:lnTo>
                  <a:lnTo>
                    <a:pt x="636" y="2106"/>
                  </a:lnTo>
                  <a:lnTo>
                    <a:pt x="636" y="2112"/>
                  </a:lnTo>
                  <a:lnTo>
                    <a:pt x="636" y="2118"/>
                  </a:lnTo>
                  <a:lnTo>
                    <a:pt x="636" y="2124"/>
                  </a:lnTo>
                  <a:lnTo>
                    <a:pt x="630" y="2124"/>
                  </a:lnTo>
                  <a:lnTo>
                    <a:pt x="630" y="2148"/>
                  </a:lnTo>
                  <a:lnTo>
                    <a:pt x="612" y="2160"/>
                  </a:lnTo>
                  <a:lnTo>
                    <a:pt x="576" y="2172"/>
                  </a:lnTo>
                  <a:lnTo>
                    <a:pt x="546" y="2172"/>
                  </a:lnTo>
                  <a:lnTo>
                    <a:pt x="516" y="2172"/>
                  </a:lnTo>
                  <a:lnTo>
                    <a:pt x="486" y="2172"/>
                  </a:lnTo>
                  <a:lnTo>
                    <a:pt x="462" y="2172"/>
                  </a:lnTo>
                  <a:lnTo>
                    <a:pt x="444" y="2196"/>
                  </a:lnTo>
                  <a:lnTo>
                    <a:pt x="432" y="2232"/>
                  </a:lnTo>
                  <a:lnTo>
                    <a:pt x="408" y="2238"/>
                  </a:lnTo>
                  <a:lnTo>
                    <a:pt x="390" y="2256"/>
                  </a:lnTo>
                  <a:lnTo>
                    <a:pt x="372" y="2274"/>
                  </a:lnTo>
                  <a:lnTo>
                    <a:pt x="360" y="2274"/>
                  </a:lnTo>
                  <a:lnTo>
                    <a:pt x="336" y="2328"/>
                  </a:lnTo>
                  <a:lnTo>
                    <a:pt x="324" y="2340"/>
                  </a:lnTo>
                  <a:lnTo>
                    <a:pt x="300" y="2346"/>
                  </a:lnTo>
                  <a:lnTo>
                    <a:pt x="294" y="2352"/>
                  </a:lnTo>
                  <a:lnTo>
                    <a:pt x="288" y="2352"/>
                  </a:lnTo>
                  <a:lnTo>
                    <a:pt x="282" y="2352"/>
                  </a:lnTo>
                  <a:lnTo>
                    <a:pt x="276" y="2352"/>
                  </a:lnTo>
                  <a:lnTo>
                    <a:pt x="270" y="2352"/>
                  </a:lnTo>
                  <a:lnTo>
                    <a:pt x="270" y="2346"/>
                  </a:lnTo>
                  <a:lnTo>
                    <a:pt x="264" y="2346"/>
                  </a:lnTo>
                  <a:lnTo>
                    <a:pt x="258" y="2352"/>
                  </a:lnTo>
                  <a:lnTo>
                    <a:pt x="252" y="2352"/>
                  </a:lnTo>
                  <a:lnTo>
                    <a:pt x="240" y="2352"/>
                  </a:lnTo>
                  <a:lnTo>
                    <a:pt x="228" y="2352"/>
                  </a:lnTo>
                  <a:lnTo>
                    <a:pt x="222" y="2352"/>
                  </a:lnTo>
                  <a:lnTo>
                    <a:pt x="216" y="2358"/>
                  </a:lnTo>
                  <a:lnTo>
                    <a:pt x="216" y="2352"/>
                  </a:lnTo>
                  <a:lnTo>
                    <a:pt x="210" y="2346"/>
                  </a:lnTo>
                  <a:lnTo>
                    <a:pt x="204" y="2346"/>
                  </a:lnTo>
                  <a:lnTo>
                    <a:pt x="198" y="2340"/>
                  </a:lnTo>
                  <a:lnTo>
                    <a:pt x="192" y="2340"/>
                  </a:lnTo>
                  <a:lnTo>
                    <a:pt x="186" y="2340"/>
                  </a:lnTo>
                  <a:lnTo>
                    <a:pt x="180" y="2340"/>
                  </a:lnTo>
                  <a:lnTo>
                    <a:pt x="174" y="2340"/>
                  </a:lnTo>
                  <a:lnTo>
                    <a:pt x="162" y="2328"/>
                  </a:lnTo>
                  <a:lnTo>
                    <a:pt x="156" y="2322"/>
                  </a:lnTo>
                  <a:lnTo>
                    <a:pt x="156" y="2316"/>
                  </a:lnTo>
                  <a:lnTo>
                    <a:pt x="156" y="2310"/>
                  </a:lnTo>
                  <a:lnTo>
                    <a:pt x="132" y="2286"/>
                  </a:lnTo>
                  <a:lnTo>
                    <a:pt x="120" y="2280"/>
                  </a:lnTo>
                  <a:lnTo>
                    <a:pt x="96" y="2274"/>
                  </a:lnTo>
                  <a:lnTo>
                    <a:pt x="84" y="2268"/>
                  </a:lnTo>
                  <a:lnTo>
                    <a:pt x="78" y="2268"/>
                  </a:lnTo>
                  <a:lnTo>
                    <a:pt x="78" y="2262"/>
                  </a:lnTo>
                  <a:lnTo>
                    <a:pt x="78" y="2256"/>
                  </a:lnTo>
                  <a:lnTo>
                    <a:pt x="78" y="2250"/>
                  </a:lnTo>
                  <a:lnTo>
                    <a:pt x="72" y="2250"/>
                  </a:lnTo>
                  <a:lnTo>
                    <a:pt x="66" y="2250"/>
                  </a:lnTo>
                  <a:lnTo>
                    <a:pt x="60" y="2250"/>
                  </a:lnTo>
                  <a:lnTo>
                    <a:pt x="48" y="2244"/>
                  </a:lnTo>
                  <a:lnTo>
                    <a:pt x="36" y="2238"/>
                  </a:lnTo>
                  <a:lnTo>
                    <a:pt x="36" y="2226"/>
                  </a:lnTo>
                  <a:lnTo>
                    <a:pt x="30" y="2226"/>
                  </a:lnTo>
                  <a:lnTo>
                    <a:pt x="30" y="2220"/>
                  </a:lnTo>
                  <a:lnTo>
                    <a:pt x="24" y="2208"/>
                  </a:lnTo>
                  <a:lnTo>
                    <a:pt x="18" y="2202"/>
                  </a:lnTo>
                  <a:lnTo>
                    <a:pt x="18" y="2196"/>
                  </a:lnTo>
                  <a:lnTo>
                    <a:pt x="12" y="2190"/>
                  </a:lnTo>
                  <a:lnTo>
                    <a:pt x="0" y="2190"/>
                  </a:lnTo>
                  <a:lnTo>
                    <a:pt x="6" y="2184"/>
                  </a:lnTo>
                  <a:lnTo>
                    <a:pt x="12" y="2178"/>
                  </a:lnTo>
                  <a:lnTo>
                    <a:pt x="18" y="2172"/>
                  </a:lnTo>
                  <a:lnTo>
                    <a:pt x="24" y="2166"/>
                  </a:lnTo>
                  <a:lnTo>
                    <a:pt x="30" y="2166"/>
                  </a:lnTo>
                  <a:lnTo>
                    <a:pt x="24" y="2160"/>
                  </a:lnTo>
                  <a:lnTo>
                    <a:pt x="30" y="2160"/>
                  </a:lnTo>
                  <a:lnTo>
                    <a:pt x="36" y="2154"/>
                  </a:lnTo>
                  <a:lnTo>
                    <a:pt x="36" y="2136"/>
                  </a:lnTo>
                  <a:lnTo>
                    <a:pt x="36" y="2118"/>
                  </a:lnTo>
                  <a:lnTo>
                    <a:pt x="48" y="2058"/>
                  </a:lnTo>
                  <a:lnTo>
                    <a:pt x="48" y="2022"/>
                  </a:lnTo>
                  <a:lnTo>
                    <a:pt x="48" y="2016"/>
                  </a:lnTo>
                  <a:lnTo>
                    <a:pt x="48" y="2010"/>
                  </a:lnTo>
                  <a:lnTo>
                    <a:pt x="48" y="2004"/>
                  </a:lnTo>
                  <a:lnTo>
                    <a:pt x="42" y="2004"/>
                  </a:lnTo>
                  <a:lnTo>
                    <a:pt x="42" y="1998"/>
                  </a:lnTo>
                  <a:lnTo>
                    <a:pt x="36" y="1992"/>
                  </a:lnTo>
                  <a:lnTo>
                    <a:pt x="42" y="1992"/>
                  </a:lnTo>
                  <a:lnTo>
                    <a:pt x="42" y="1986"/>
                  </a:lnTo>
                  <a:lnTo>
                    <a:pt x="48" y="1986"/>
                  </a:lnTo>
                  <a:lnTo>
                    <a:pt x="54" y="1986"/>
                  </a:lnTo>
                  <a:lnTo>
                    <a:pt x="60" y="1986"/>
                  </a:lnTo>
                  <a:lnTo>
                    <a:pt x="66" y="1980"/>
                  </a:lnTo>
                  <a:lnTo>
                    <a:pt x="72" y="1974"/>
                  </a:lnTo>
                  <a:lnTo>
                    <a:pt x="78" y="1974"/>
                  </a:lnTo>
                  <a:lnTo>
                    <a:pt x="84" y="1974"/>
                  </a:lnTo>
                  <a:lnTo>
                    <a:pt x="90" y="1974"/>
                  </a:lnTo>
                  <a:lnTo>
                    <a:pt x="96" y="1974"/>
                  </a:lnTo>
                  <a:lnTo>
                    <a:pt x="96" y="1968"/>
                  </a:lnTo>
                  <a:lnTo>
                    <a:pt x="102" y="1968"/>
                  </a:lnTo>
                  <a:lnTo>
                    <a:pt x="102" y="1962"/>
                  </a:lnTo>
                  <a:lnTo>
                    <a:pt x="108" y="1962"/>
                  </a:lnTo>
                  <a:lnTo>
                    <a:pt x="114" y="1956"/>
                  </a:lnTo>
                  <a:lnTo>
                    <a:pt x="120" y="1956"/>
                  </a:lnTo>
                  <a:lnTo>
                    <a:pt x="126" y="1950"/>
                  </a:lnTo>
                  <a:lnTo>
                    <a:pt x="132" y="1950"/>
                  </a:lnTo>
                  <a:lnTo>
                    <a:pt x="132" y="1944"/>
                  </a:lnTo>
                  <a:lnTo>
                    <a:pt x="126" y="1944"/>
                  </a:lnTo>
                  <a:lnTo>
                    <a:pt x="126" y="1938"/>
                  </a:lnTo>
                  <a:lnTo>
                    <a:pt x="126" y="1932"/>
                  </a:lnTo>
                  <a:lnTo>
                    <a:pt x="126" y="1926"/>
                  </a:lnTo>
                  <a:lnTo>
                    <a:pt x="114" y="1914"/>
                  </a:lnTo>
                  <a:lnTo>
                    <a:pt x="114" y="1896"/>
                  </a:lnTo>
                  <a:lnTo>
                    <a:pt x="108" y="1884"/>
                  </a:lnTo>
                  <a:lnTo>
                    <a:pt x="102" y="1872"/>
                  </a:lnTo>
                  <a:lnTo>
                    <a:pt x="96" y="1866"/>
                  </a:lnTo>
                  <a:lnTo>
                    <a:pt x="96" y="1860"/>
                  </a:lnTo>
                  <a:lnTo>
                    <a:pt x="90" y="1860"/>
                  </a:lnTo>
                  <a:lnTo>
                    <a:pt x="90" y="1854"/>
                  </a:lnTo>
                  <a:lnTo>
                    <a:pt x="84" y="1848"/>
                  </a:lnTo>
                  <a:lnTo>
                    <a:pt x="78" y="1842"/>
                  </a:lnTo>
                  <a:lnTo>
                    <a:pt x="72" y="1836"/>
                  </a:lnTo>
                  <a:lnTo>
                    <a:pt x="66" y="1830"/>
                  </a:lnTo>
                  <a:lnTo>
                    <a:pt x="60" y="1824"/>
                  </a:lnTo>
                  <a:lnTo>
                    <a:pt x="54" y="1824"/>
                  </a:lnTo>
                  <a:lnTo>
                    <a:pt x="48" y="1824"/>
                  </a:lnTo>
                  <a:lnTo>
                    <a:pt x="42" y="1818"/>
                  </a:lnTo>
                  <a:lnTo>
                    <a:pt x="54" y="1818"/>
                  </a:lnTo>
                  <a:lnTo>
                    <a:pt x="60" y="1812"/>
                  </a:lnTo>
                  <a:lnTo>
                    <a:pt x="66" y="1812"/>
                  </a:lnTo>
                  <a:lnTo>
                    <a:pt x="72" y="1812"/>
                  </a:lnTo>
                  <a:lnTo>
                    <a:pt x="78" y="1812"/>
                  </a:lnTo>
                  <a:lnTo>
                    <a:pt x="84" y="1812"/>
                  </a:lnTo>
                  <a:lnTo>
                    <a:pt x="90" y="1806"/>
                  </a:lnTo>
                  <a:lnTo>
                    <a:pt x="96" y="1800"/>
                  </a:lnTo>
                  <a:lnTo>
                    <a:pt x="102" y="1806"/>
                  </a:lnTo>
                  <a:lnTo>
                    <a:pt x="108" y="1800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26" y="1788"/>
                  </a:lnTo>
                  <a:lnTo>
                    <a:pt x="126" y="1794"/>
                  </a:lnTo>
                  <a:lnTo>
                    <a:pt x="132" y="1794"/>
                  </a:lnTo>
                  <a:lnTo>
                    <a:pt x="132" y="1788"/>
                  </a:lnTo>
                  <a:lnTo>
                    <a:pt x="138" y="1788"/>
                  </a:lnTo>
                  <a:lnTo>
                    <a:pt x="138" y="1782"/>
                  </a:lnTo>
                  <a:lnTo>
                    <a:pt x="144" y="1782"/>
                  </a:lnTo>
                  <a:lnTo>
                    <a:pt x="150" y="1776"/>
                  </a:lnTo>
                  <a:lnTo>
                    <a:pt x="156" y="1782"/>
                  </a:lnTo>
                  <a:lnTo>
                    <a:pt x="162" y="1776"/>
                  </a:lnTo>
                  <a:lnTo>
                    <a:pt x="168" y="1776"/>
                  </a:lnTo>
                  <a:lnTo>
                    <a:pt x="180" y="1776"/>
                  </a:lnTo>
                  <a:lnTo>
                    <a:pt x="186" y="1776"/>
                  </a:lnTo>
                  <a:lnTo>
                    <a:pt x="186" y="1782"/>
                  </a:lnTo>
                  <a:lnTo>
                    <a:pt x="192" y="1776"/>
                  </a:lnTo>
                  <a:lnTo>
                    <a:pt x="198" y="1776"/>
                  </a:lnTo>
                  <a:lnTo>
                    <a:pt x="204" y="1770"/>
                  </a:lnTo>
                  <a:lnTo>
                    <a:pt x="204" y="1764"/>
                  </a:lnTo>
                  <a:lnTo>
                    <a:pt x="210" y="1764"/>
                  </a:lnTo>
                  <a:lnTo>
                    <a:pt x="216" y="1764"/>
                  </a:lnTo>
                  <a:lnTo>
                    <a:pt x="216" y="1758"/>
                  </a:lnTo>
                  <a:lnTo>
                    <a:pt x="222" y="1758"/>
                  </a:lnTo>
                  <a:lnTo>
                    <a:pt x="228" y="1758"/>
                  </a:lnTo>
                  <a:lnTo>
                    <a:pt x="258" y="1746"/>
                  </a:lnTo>
                  <a:lnTo>
                    <a:pt x="282" y="1716"/>
                  </a:lnTo>
                  <a:lnTo>
                    <a:pt x="300" y="1698"/>
                  </a:lnTo>
                  <a:lnTo>
                    <a:pt x="312" y="1698"/>
                  </a:lnTo>
                  <a:lnTo>
                    <a:pt x="336" y="1698"/>
                  </a:lnTo>
                  <a:lnTo>
                    <a:pt x="360" y="1698"/>
                  </a:lnTo>
                  <a:lnTo>
                    <a:pt x="372" y="1692"/>
                  </a:lnTo>
                  <a:lnTo>
                    <a:pt x="384" y="1692"/>
                  </a:lnTo>
                  <a:lnTo>
                    <a:pt x="360" y="1668"/>
                  </a:lnTo>
                  <a:lnTo>
                    <a:pt x="348" y="1626"/>
                  </a:lnTo>
                  <a:lnTo>
                    <a:pt x="354" y="1578"/>
                  </a:lnTo>
                  <a:lnTo>
                    <a:pt x="354" y="1572"/>
                  </a:lnTo>
                  <a:lnTo>
                    <a:pt x="360" y="1572"/>
                  </a:lnTo>
                  <a:lnTo>
                    <a:pt x="396" y="1530"/>
                  </a:lnTo>
                  <a:lnTo>
                    <a:pt x="408" y="1482"/>
                  </a:lnTo>
                  <a:lnTo>
                    <a:pt x="438" y="1458"/>
                  </a:lnTo>
                  <a:lnTo>
                    <a:pt x="468" y="1422"/>
                  </a:lnTo>
                  <a:lnTo>
                    <a:pt x="480" y="1410"/>
                  </a:lnTo>
                  <a:lnTo>
                    <a:pt x="474" y="1386"/>
                  </a:lnTo>
                  <a:lnTo>
                    <a:pt x="456" y="1356"/>
                  </a:lnTo>
                  <a:lnTo>
                    <a:pt x="438" y="1350"/>
                  </a:lnTo>
                  <a:lnTo>
                    <a:pt x="420" y="1350"/>
                  </a:lnTo>
                  <a:lnTo>
                    <a:pt x="402" y="1350"/>
                  </a:lnTo>
                  <a:lnTo>
                    <a:pt x="390" y="1344"/>
                  </a:lnTo>
                  <a:lnTo>
                    <a:pt x="390" y="1332"/>
                  </a:lnTo>
                  <a:lnTo>
                    <a:pt x="402" y="1296"/>
                  </a:lnTo>
                  <a:lnTo>
                    <a:pt x="414" y="1260"/>
                  </a:lnTo>
                  <a:lnTo>
                    <a:pt x="426" y="1248"/>
                  </a:lnTo>
                  <a:lnTo>
                    <a:pt x="438" y="1242"/>
                  </a:lnTo>
                  <a:lnTo>
                    <a:pt x="432" y="1230"/>
                  </a:lnTo>
                  <a:lnTo>
                    <a:pt x="432" y="1224"/>
                  </a:lnTo>
                  <a:lnTo>
                    <a:pt x="426" y="1218"/>
                  </a:lnTo>
                  <a:lnTo>
                    <a:pt x="426" y="1206"/>
                  </a:lnTo>
                  <a:lnTo>
                    <a:pt x="426" y="1200"/>
                  </a:lnTo>
                  <a:lnTo>
                    <a:pt x="432" y="1194"/>
                  </a:lnTo>
                  <a:lnTo>
                    <a:pt x="426" y="1188"/>
                  </a:lnTo>
                  <a:lnTo>
                    <a:pt x="432" y="1104"/>
                  </a:lnTo>
                  <a:lnTo>
                    <a:pt x="438" y="1086"/>
                  </a:lnTo>
                  <a:lnTo>
                    <a:pt x="462" y="972"/>
                  </a:lnTo>
                  <a:lnTo>
                    <a:pt x="456" y="900"/>
                  </a:lnTo>
                  <a:lnTo>
                    <a:pt x="444" y="846"/>
                  </a:lnTo>
                  <a:lnTo>
                    <a:pt x="456" y="810"/>
                  </a:lnTo>
                  <a:lnTo>
                    <a:pt x="492" y="786"/>
                  </a:lnTo>
                  <a:lnTo>
                    <a:pt x="522" y="762"/>
                  </a:lnTo>
                  <a:lnTo>
                    <a:pt x="546" y="732"/>
                  </a:lnTo>
                  <a:lnTo>
                    <a:pt x="570" y="696"/>
                  </a:lnTo>
                  <a:lnTo>
                    <a:pt x="582" y="654"/>
                  </a:lnTo>
                  <a:lnTo>
                    <a:pt x="564" y="642"/>
                  </a:lnTo>
                  <a:lnTo>
                    <a:pt x="522" y="588"/>
                  </a:lnTo>
                  <a:lnTo>
                    <a:pt x="516" y="546"/>
                  </a:lnTo>
                  <a:lnTo>
                    <a:pt x="510" y="474"/>
                  </a:lnTo>
                  <a:lnTo>
                    <a:pt x="510" y="450"/>
                  </a:lnTo>
                  <a:lnTo>
                    <a:pt x="510" y="444"/>
                  </a:lnTo>
                  <a:lnTo>
                    <a:pt x="522" y="438"/>
                  </a:lnTo>
                  <a:lnTo>
                    <a:pt x="522" y="432"/>
                  </a:lnTo>
                  <a:lnTo>
                    <a:pt x="528" y="426"/>
                  </a:lnTo>
                  <a:lnTo>
                    <a:pt x="534" y="420"/>
                  </a:lnTo>
                  <a:lnTo>
                    <a:pt x="540" y="414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08"/>
                  </a:lnTo>
                  <a:lnTo>
                    <a:pt x="546" y="408"/>
                  </a:lnTo>
                  <a:lnTo>
                    <a:pt x="558" y="414"/>
                  </a:lnTo>
                  <a:lnTo>
                    <a:pt x="564" y="414"/>
                  </a:lnTo>
                  <a:lnTo>
                    <a:pt x="570" y="414"/>
                  </a:lnTo>
                  <a:lnTo>
                    <a:pt x="582" y="414"/>
                  </a:lnTo>
                  <a:lnTo>
                    <a:pt x="582" y="420"/>
                  </a:lnTo>
                  <a:lnTo>
                    <a:pt x="588" y="414"/>
                  </a:lnTo>
                  <a:lnTo>
                    <a:pt x="582" y="408"/>
                  </a:lnTo>
                  <a:lnTo>
                    <a:pt x="588" y="402"/>
                  </a:lnTo>
                  <a:lnTo>
                    <a:pt x="594" y="402"/>
                  </a:lnTo>
                  <a:lnTo>
                    <a:pt x="594" y="396"/>
                  </a:lnTo>
                  <a:lnTo>
                    <a:pt x="594" y="390"/>
                  </a:lnTo>
                  <a:lnTo>
                    <a:pt x="594" y="384"/>
                  </a:lnTo>
                  <a:lnTo>
                    <a:pt x="594" y="378"/>
                  </a:lnTo>
                  <a:lnTo>
                    <a:pt x="600" y="366"/>
                  </a:lnTo>
                  <a:lnTo>
                    <a:pt x="606" y="366"/>
                  </a:lnTo>
                  <a:lnTo>
                    <a:pt x="612" y="360"/>
                  </a:lnTo>
                  <a:lnTo>
                    <a:pt x="612" y="366"/>
                  </a:lnTo>
                  <a:lnTo>
                    <a:pt x="618" y="366"/>
                  </a:lnTo>
                  <a:lnTo>
                    <a:pt x="624" y="366"/>
                  </a:lnTo>
                  <a:lnTo>
                    <a:pt x="630" y="360"/>
                  </a:lnTo>
                  <a:lnTo>
                    <a:pt x="636" y="354"/>
                  </a:lnTo>
                  <a:lnTo>
                    <a:pt x="630" y="354"/>
                  </a:lnTo>
                  <a:lnTo>
                    <a:pt x="630" y="348"/>
                  </a:lnTo>
                  <a:lnTo>
                    <a:pt x="630" y="342"/>
                  </a:lnTo>
                  <a:lnTo>
                    <a:pt x="636" y="342"/>
                  </a:lnTo>
                  <a:lnTo>
                    <a:pt x="642" y="336"/>
                  </a:lnTo>
                  <a:lnTo>
                    <a:pt x="636" y="330"/>
                  </a:lnTo>
                  <a:lnTo>
                    <a:pt x="630" y="336"/>
                  </a:lnTo>
                  <a:lnTo>
                    <a:pt x="624" y="336"/>
                  </a:lnTo>
                  <a:lnTo>
                    <a:pt x="624" y="330"/>
                  </a:lnTo>
                  <a:lnTo>
                    <a:pt x="624" y="324"/>
                  </a:lnTo>
                  <a:lnTo>
                    <a:pt x="618" y="324"/>
                  </a:lnTo>
                  <a:lnTo>
                    <a:pt x="624" y="324"/>
                  </a:lnTo>
                  <a:lnTo>
                    <a:pt x="630" y="330"/>
                  </a:lnTo>
                  <a:lnTo>
                    <a:pt x="630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2" y="306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8" y="288"/>
                  </a:lnTo>
                  <a:lnTo>
                    <a:pt x="648" y="282"/>
                  </a:lnTo>
                  <a:lnTo>
                    <a:pt x="654" y="288"/>
                  </a:lnTo>
                  <a:lnTo>
                    <a:pt x="654" y="282"/>
                  </a:lnTo>
                  <a:lnTo>
                    <a:pt x="660" y="282"/>
                  </a:lnTo>
                  <a:lnTo>
                    <a:pt x="666" y="282"/>
                  </a:lnTo>
                  <a:lnTo>
                    <a:pt x="672" y="282"/>
                  </a:lnTo>
                  <a:lnTo>
                    <a:pt x="678" y="282"/>
                  </a:lnTo>
                  <a:lnTo>
                    <a:pt x="684" y="276"/>
                  </a:lnTo>
                  <a:lnTo>
                    <a:pt x="690" y="270"/>
                  </a:lnTo>
                  <a:lnTo>
                    <a:pt x="690" y="264"/>
                  </a:lnTo>
                  <a:lnTo>
                    <a:pt x="690" y="270"/>
                  </a:lnTo>
                  <a:lnTo>
                    <a:pt x="690" y="276"/>
                  </a:lnTo>
                  <a:lnTo>
                    <a:pt x="696" y="276"/>
                  </a:lnTo>
                  <a:lnTo>
                    <a:pt x="702" y="276"/>
                  </a:lnTo>
                  <a:lnTo>
                    <a:pt x="702" y="282"/>
                  </a:lnTo>
                  <a:lnTo>
                    <a:pt x="708" y="282"/>
                  </a:lnTo>
                  <a:lnTo>
                    <a:pt x="720" y="270"/>
                  </a:lnTo>
                  <a:lnTo>
                    <a:pt x="720" y="264"/>
                  </a:lnTo>
                  <a:lnTo>
                    <a:pt x="720" y="258"/>
                  </a:lnTo>
                  <a:lnTo>
                    <a:pt x="726" y="258"/>
                  </a:lnTo>
                  <a:lnTo>
                    <a:pt x="732" y="258"/>
                  </a:lnTo>
                  <a:lnTo>
                    <a:pt x="732" y="264"/>
                  </a:lnTo>
                  <a:lnTo>
                    <a:pt x="738" y="264"/>
                  </a:lnTo>
                  <a:lnTo>
                    <a:pt x="738" y="258"/>
                  </a:lnTo>
                  <a:lnTo>
                    <a:pt x="732" y="258"/>
                  </a:lnTo>
                  <a:lnTo>
                    <a:pt x="732" y="252"/>
                  </a:lnTo>
                  <a:lnTo>
                    <a:pt x="744" y="252"/>
                  </a:lnTo>
                  <a:lnTo>
                    <a:pt x="750" y="252"/>
                  </a:lnTo>
                  <a:lnTo>
                    <a:pt x="750" y="246"/>
                  </a:lnTo>
                  <a:lnTo>
                    <a:pt x="750" y="240"/>
                  </a:lnTo>
                  <a:lnTo>
                    <a:pt x="762" y="234"/>
                  </a:lnTo>
                  <a:lnTo>
                    <a:pt x="768" y="234"/>
                  </a:lnTo>
                  <a:lnTo>
                    <a:pt x="774" y="234"/>
                  </a:lnTo>
                  <a:lnTo>
                    <a:pt x="780" y="228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16"/>
                  </a:lnTo>
                  <a:lnTo>
                    <a:pt x="792" y="210"/>
                  </a:lnTo>
                  <a:lnTo>
                    <a:pt x="804" y="204"/>
                  </a:lnTo>
                  <a:lnTo>
                    <a:pt x="804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0" y="192"/>
                  </a:lnTo>
                  <a:lnTo>
                    <a:pt x="798" y="186"/>
                  </a:lnTo>
                  <a:lnTo>
                    <a:pt x="810" y="186"/>
                  </a:lnTo>
                  <a:lnTo>
                    <a:pt x="810" y="180"/>
                  </a:lnTo>
                  <a:lnTo>
                    <a:pt x="810" y="186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0" y="180"/>
                  </a:lnTo>
                  <a:lnTo>
                    <a:pt x="816" y="174"/>
                  </a:lnTo>
                  <a:lnTo>
                    <a:pt x="822" y="174"/>
                  </a:lnTo>
                  <a:lnTo>
                    <a:pt x="822" y="180"/>
                  </a:lnTo>
                  <a:lnTo>
                    <a:pt x="828" y="180"/>
                  </a:lnTo>
                  <a:lnTo>
                    <a:pt x="828" y="174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62"/>
                  </a:lnTo>
                  <a:lnTo>
                    <a:pt x="828" y="156"/>
                  </a:lnTo>
                  <a:lnTo>
                    <a:pt x="822" y="156"/>
                  </a:lnTo>
                  <a:lnTo>
                    <a:pt x="828" y="156"/>
                  </a:lnTo>
                  <a:lnTo>
                    <a:pt x="828" y="150"/>
                  </a:lnTo>
                  <a:lnTo>
                    <a:pt x="834" y="150"/>
                  </a:lnTo>
                  <a:lnTo>
                    <a:pt x="840" y="156"/>
                  </a:lnTo>
                  <a:lnTo>
                    <a:pt x="840" y="150"/>
                  </a:lnTo>
                  <a:lnTo>
                    <a:pt x="834" y="150"/>
                  </a:lnTo>
                  <a:lnTo>
                    <a:pt x="834" y="144"/>
                  </a:lnTo>
                  <a:lnTo>
                    <a:pt x="840" y="138"/>
                  </a:lnTo>
                  <a:lnTo>
                    <a:pt x="846" y="144"/>
                  </a:lnTo>
                  <a:lnTo>
                    <a:pt x="846" y="150"/>
                  </a:lnTo>
                  <a:lnTo>
                    <a:pt x="852" y="150"/>
                  </a:lnTo>
                  <a:lnTo>
                    <a:pt x="858" y="150"/>
                  </a:lnTo>
                  <a:lnTo>
                    <a:pt x="870" y="150"/>
                  </a:lnTo>
                  <a:lnTo>
                    <a:pt x="870" y="144"/>
                  </a:lnTo>
                  <a:lnTo>
                    <a:pt x="876" y="138"/>
                  </a:lnTo>
                  <a:lnTo>
                    <a:pt x="882" y="138"/>
                  </a:lnTo>
                  <a:lnTo>
                    <a:pt x="888" y="132"/>
                  </a:lnTo>
                  <a:lnTo>
                    <a:pt x="888" y="138"/>
                  </a:lnTo>
                  <a:lnTo>
                    <a:pt x="894" y="138"/>
                  </a:lnTo>
                  <a:lnTo>
                    <a:pt x="894" y="132"/>
                  </a:lnTo>
                  <a:lnTo>
                    <a:pt x="900" y="126"/>
                  </a:lnTo>
                  <a:lnTo>
                    <a:pt x="900" y="132"/>
                  </a:lnTo>
                  <a:lnTo>
                    <a:pt x="906" y="132"/>
                  </a:lnTo>
                  <a:lnTo>
                    <a:pt x="912" y="132"/>
                  </a:lnTo>
                  <a:lnTo>
                    <a:pt x="918" y="126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24" y="126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8" y="120"/>
                  </a:lnTo>
                  <a:lnTo>
                    <a:pt x="948" y="114"/>
                  </a:lnTo>
                  <a:lnTo>
                    <a:pt x="948" y="108"/>
                  </a:lnTo>
                  <a:lnTo>
                    <a:pt x="954" y="114"/>
                  </a:lnTo>
                  <a:lnTo>
                    <a:pt x="960" y="108"/>
                  </a:lnTo>
                  <a:lnTo>
                    <a:pt x="966" y="108"/>
                  </a:lnTo>
                  <a:lnTo>
                    <a:pt x="972" y="108"/>
                  </a:lnTo>
                  <a:lnTo>
                    <a:pt x="966" y="114"/>
                  </a:lnTo>
                  <a:lnTo>
                    <a:pt x="960" y="114"/>
                  </a:lnTo>
                  <a:lnTo>
                    <a:pt x="960" y="120"/>
                  </a:lnTo>
                  <a:lnTo>
                    <a:pt x="966" y="126"/>
                  </a:lnTo>
                  <a:lnTo>
                    <a:pt x="972" y="126"/>
                  </a:lnTo>
                  <a:lnTo>
                    <a:pt x="978" y="126"/>
                  </a:lnTo>
                  <a:lnTo>
                    <a:pt x="984" y="120"/>
                  </a:lnTo>
                  <a:lnTo>
                    <a:pt x="984" y="114"/>
                  </a:lnTo>
                  <a:lnTo>
                    <a:pt x="996" y="126"/>
                  </a:lnTo>
                  <a:lnTo>
                    <a:pt x="996" y="120"/>
                  </a:lnTo>
                  <a:lnTo>
                    <a:pt x="1002" y="120"/>
                  </a:lnTo>
                  <a:lnTo>
                    <a:pt x="996" y="114"/>
                  </a:lnTo>
                  <a:lnTo>
                    <a:pt x="1002" y="114"/>
                  </a:lnTo>
                  <a:lnTo>
                    <a:pt x="1008" y="114"/>
                  </a:lnTo>
                  <a:lnTo>
                    <a:pt x="1008" y="108"/>
                  </a:lnTo>
                  <a:lnTo>
                    <a:pt x="1014" y="108"/>
                  </a:lnTo>
                  <a:lnTo>
                    <a:pt x="1008" y="114"/>
                  </a:lnTo>
                  <a:lnTo>
                    <a:pt x="1008" y="120"/>
                  </a:lnTo>
                  <a:lnTo>
                    <a:pt x="1008" y="126"/>
                  </a:lnTo>
                  <a:lnTo>
                    <a:pt x="1014" y="126"/>
                  </a:lnTo>
                  <a:lnTo>
                    <a:pt x="1014" y="132"/>
                  </a:lnTo>
                  <a:lnTo>
                    <a:pt x="1020" y="132"/>
                  </a:lnTo>
                  <a:lnTo>
                    <a:pt x="1020" y="126"/>
                  </a:lnTo>
                  <a:lnTo>
                    <a:pt x="1020" y="120"/>
                  </a:lnTo>
                  <a:lnTo>
                    <a:pt x="1032" y="120"/>
                  </a:lnTo>
                  <a:lnTo>
                    <a:pt x="1038" y="120"/>
                  </a:lnTo>
                  <a:lnTo>
                    <a:pt x="1038" y="126"/>
                  </a:lnTo>
                  <a:lnTo>
                    <a:pt x="1044" y="132"/>
                  </a:lnTo>
                  <a:lnTo>
                    <a:pt x="1044" y="126"/>
                  </a:lnTo>
                  <a:lnTo>
                    <a:pt x="1050" y="120"/>
                  </a:lnTo>
                  <a:lnTo>
                    <a:pt x="1050" y="114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68" y="102"/>
                  </a:lnTo>
                  <a:lnTo>
                    <a:pt x="1074" y="96"/>
                  </a:lnTo>
                  <a:lnTo>
                    <a:pt x="1074" y="90"/>
                  </a:lnTo>
                  <a:lnTo>
                    <a:pt x="1068" y="90"/>
                  </a:lnTo>
                  <a:lnTo>
                    <a:pt x="1068" y="84"/>
                  </a:lnTo>
                  <a:lnTo>
                    <a:pt x="1080" y="84"/>
                  </a:lnTo>
                  <a:lnTo>
                    <a:pt x="1086" y="78"/>
                  </a:lnTo>
                  <a:lnTo>
                    <a:pt x="1086" y="72"/>
                  </a:lnTo>
                  <a:lnTo>
                    <a:pt x="1080" y="78"/>
                  </a:lnTo>
                  <a:lnTo>
                    <a:pt x="1080" y="72"/>
                  </a:lnTo>
                  <a:lnTo>
                    <a:pt x="1080" y="66"/>
                  </a:lnTo>
                  <a:lnTo>
                    <a:pt x="1074" y="66"/>
                  </a:lnTo>
                  <a:lnTo>
                    <a:pt x="1080" y="66"/>
                  </a:lnTo>
                  <a:lnTo>
                    <a:pt x="1080" y="60"/>
                  </a:lnTo>
                  <a:lnTo>
                    <a:pt x="1086" y="60"/>
                  </a:lnTo>
                  <a:lnTo>
                    <a:pt x="1086" y="54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2" y="42"/>
                  </a:lnTo>
                  <a:lnTo>
                    <a:pt x="1098" y="42"/>
                  </a:lnTo>
                  <a:lnTo>
                    <a:pt x="1104" y="36"/>
                  </a:lnTo>
                  <a:lnTo>
                    <a:pt x="1110" y="36"/>
                  </a:lnTo>
                  <a:lnTo>
                    <a:pt x="1110" y="30"/>
                  </a:lnTo>
                  <a:lnTo>
                    <a:pt x="1110" y="24"/>
                  </a:lnTo>
                  <a:lnTo>
                    <a:pt x="1116" y="24"/>
                  </a:lnTo>
                  <a:lnTo>
                    <a:pt x="1116" y="18"/>
                  </a:lnTo>
                  <a:lnTo>
                    <a:pt x="1122" y="18"/>
                  </a:lnTo>
                  <a:lnTo>
                    <a:pt x="1128" y="18"/>
                  </a:lnTo>
                  <a:lnTo>
                    <a:pt x="1134" y="12"/>
                  </a:lnTo>
                  <a:lnTo>
                    <a:pt x="1134" y="6"/>
                  </a:lnTo>
                  <a:lnTo>
                    <a:pt x="1140" y="6"/>
                  </a:lnTo>
                  <a:lnTo>
                    <a:pt x="1146" y="0"/>
                  </a:lnTo>
                  <a:lnTo>
                    <a:pt x="1152" y="0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70" y="0"/>
                  </a:lnTo>
                  <a:lnTo>
                    <a:pt x="1176" y="6"/>
                  </a:lnTo>
                  <a:lnTo>
                    <a:pt x="1182" y="6"/>
                  </a:lnTo>
                  <a:lnTo>
                    <a:pt x="1194" y="6"/>
                  </a:lnTo>
                  <a:lnTo>
                    <a:pt x="1200" y="6"/>
                  </a:lnTo>
                  <a:lnTo>
                    <a:pt x="1212" y="0"/>
                  </a:lnTo>
                  <a:lnTo>
                    <a:pt x="1212" y="6"/>
                  </a:lnTo>
                  <a:lnTo>
                    <a:pt x="1218" y="6"/>
                  </a:lnTo>
                  <a:lnTo>
                    <a:pt x="1266" y="6"/>
                  </a:lnTo>
                  <a:lnTo>
                    <a:pt x="1272" y="0"/>
                  </a:lnTo>
                  <a:lnTo>
                    <a:pt x="1278" y="6"/>
                  </a:lnTo>
                  <a:lnTo>
                    <a:pt x="1290" y="6"/>
                  </a:lnTo>
                  <a:lnTo>
                    <a:pt x="1296" y="6"/>
                  </a:lnTo>
                  <a:lnTo>
                    <a:pt x="1308" y="6"/>
                  </a:lnTo>
                  <a:lnTo>
                    <a:pt x="1314" y="6"/>
                  </a:lnTo>
                  <a:lnTo>
                    <a:pt x="1320" y="6"/>
                  </a:lnTo>
                  <a:lnTo>
                    <a:pt x="1326" y="12"/>
                  </a:lnTo>
                  <a:lnTo>
                    <a:pt x="1338" y="30"/>
                  </a:lnTo>
                  <a:lnTo>
                    <a:pt x="1344" y="36"/>
                  </a:lnTo>
                  <a:lnTo>
                    <a:pt x="1356" y="48"/>
                  </a:lnTo>
                  <a:lnTo>
                    <a:pt x="1362" y="60"/>
                  </a:lnTo>
                  <a:lnTo>
                    <a:pt x="1368" y="66"/>
                  </a:lnTo>
                  <a:lnTo>
                    <a:pt x="1374" y="72"/>
                  </a:lnTo>
                  <a:lnTo>
                    <a:pt x="1374" y="78"/>
                  </a:lnTo>
                  <a:lnTo>
                    <a:pt x="1398" y="108"/>
                  </a:lnTo>
                  <a:lnTo>
                    <a:pt x="1398" y="114"/>
                  </a:lnTo>
                  <a:lnTo>
                    <a:pt x="1404" y="114"/>
                  </a:lnTo>
                  <a:lnTo>
                    <a:pt x="1404" y="120"/>
                  </a:lnTo>
                  <a:lnTo>
                    <a:pt x="1410" y="132"/>
                  </a:lnTo>
                  <a:lnTo>
                    <a:pt x="1416" y="132"/>
                  </a:lnTo>
                  <a:lnTo>
                    <a:pt x="1416" y="138"/>
                  </a:lnTo>
                  <a:lnTo>
                    <a:pt x="1422" y="144"/>
                  </a:lnTo>
                  <a:lnTo>
                    <a:pt x="1428" y="150"/>
                  </a:lnTo>
                  <a:lnTo>
                    <a:pt x="1428" y="156"/>
                  </a:lnTo>
                  <a:lnTo>
                    <a:pt x="1458" y="192"/>
                  </a:lnTo>
                  <a:lnTo>
                    <a:pt x="1458" y="198"/>
                  </a:lnTo>
                  <a:lnTo>
                    <a:pt x="1464" y="204"/>
                  </a:lnTo>
                  <a:lnTo>
                    <a:pt x="1470" y="210"/>
                  </a:lnTo>
                  <a:lnTo>
                    <a:pt x="1476" y="216"/>
                  </a:lnTo>
                  <a:lnTo>
                    <a:pt x="1482" y="228"/>
                  </a:lnTo>
                  <a:lnTo>
                    <a:pt x="1488" y="234"/>
                  </a:lnTo>
                  <a:lnTo>
                    <a:pt x="1512" y="270"/>
                  </a:lnTo>
                  <a:lnTo>
                    <a:pt x="1512" y="276"/>
                  </a:lnTo>
                  <a:lnTo>
                    <a:pt x="1530" y="300"/>
                  </a:lnTo>
                  <a:lnTo>
                    <a:pt x="1536" y="306"/>
                  </a:lnTo>
                  <a:lnTo>
                    <a:pt x="1542" y="312"/>
                  </a:lnTo>
                  <a:lnTo>
                    <a:pt x="1542" y="318"/>
                  </a:lnTo>
                  <a:lnTo>
                    <a:pt x="1560" y="336"/>
                  </a:lnTo>
                  <a:lnTo>
                    <a:pt x="1566" y="348"/>
                  </a:lnTo>
                  <a:lnTo>
                    <a:pt x="1572" y="354"/>
                  </a:lnTo>
                  <a:lnTo>
                    <a:pt x="1578" y="360"/>
                  </a:lnTo>
                  <a:lnTo>
                    <a:pt x="1584" y="378"/>
                  </a:lnTo>
                  <a:lnTo>
                    <a:pt x="1590" y="378"/>
                  </a:lnTo>
                  <a:lnTo>
                    <a:pt x="1596" y="390"/>
                  </a:lnTo>
                  <a:lnTo>
                    <a:pt x="1602" y="396"/>
                  </a:lnTo>
                  <a:lnTo>
                    <a:pt x="1608" y="408"/>
                  </a:lnTo>
                  <a:lnTo>
                    <a:pt x="1614" y="408"/>
                  </a:lnTo>
                  <a:lnTo>
                    <a:pt x="1614" y="432"/>
                  </a:lnTo>
                  <a:lnTo>
                    <a:pt x="1620" y="438"/>
                  </a:lnTo>
                  <a:lnTo>
                    <a:pt x="1620" y="450"/>
                  </a:lnTo>
                  <a:lnTo>
                    <a:pt x="1620" y="462"/>
                  </a:lnTo>
                  <a:lnTo>
                    <a:pt x="1626" y="474"/>
                  </a:lnTo>
                  <a:lnTo>
                    <a:pt x="1626" y="480"/>
                  </a:lnTo>
                  <a:lnTo>
                    <a:pt x="1626" y="486"/>
                  </a:lnTo>
                  <a:lnTo>
                    <a:pt x="1632" y="522"/>
                  </a:lnTo>
                  <a:lnTo>
                    <a:pt x="1632" y="528"/>
                  </a:lnTo>
                  <a:lnTo>
                    <a:pt x="1632" y="534"/>
                  </a:lnTo>
                  <a:lnTo>
                    <a:pt x="1638" y="540"/>
                  </a:lnTo>
                  <a:lnTo>
                    <a:pt x="1638" y="558"/>
                  </a:lnTo>
                  <a:lnTo>
                    <a:pt x="1638" y="570"/>
                  </a:lnTo>
                  <a:lnTo>
                    <a:pt x="1644" y="582"/>
                  </a:lnTo>
                  <a:lnTo>
                    <a:pt x="1650" y="618"/>
                  </a:lnTo>
                  <a:lnTo>
                    <a:pt x="1650" y="624"/>
                  </a:lnTo>
                  <a:lnTo>
                    <a:pt x="1650" y="636"/>
                  </a:lnTo>
                  <a:lnTo>
                    <a:pt x="1656" y="642"/>
                  </a:lnTo>
                  <a:lnTo>
                    <a:pt x="1656" y="648"/>
                  </a:lnTo>
                  <a:lnTo>
                    <a:pt x="1656" y="654"/>
                  </a:lnTo>
                  <a:lnTo>
                    <a:pt x="1656" y="660"/>
                  </a:lnTo>
                  <a:lnTo>
                    <a:pt x="1662" y="696"/>
                  </a:lnTo>
                  <a:lnTo>
                    <a:pt x="1668" y="708"/>
                  </a:lnTo>
                  <a:lnTo>
                    <a:pt x="1668" y="714"/>
                  </a:lnTo>
                  <a:lnTo>
                    <a:pt x="1668" y="732"/>
                  </a:lnTo>
                  <a:lnTo>
                    <a:pt x="1668" y="744"/>
                  </a:lnTo>
                  <a:lnTo>
                    <a:pt x="1674" y="756"/>
                  </a:lnTo>
                  <a:lnTo>
                    <a:pt x="1680" y="762"/>
                  </a:lnTo>
                  <a:lnTo>
                    <a:pt x="1680" y="768"/>
                  </a:lnTo>
                  <a:lnTo>
                    <a:pt x="1680" y="774"/>
                  </a:lnTo>
                  <a:lnTo>
                    <a:pt x="1680" y="780"/>
                  </a:lnTo>
                  <a:lnTo>
                    <a:pt x="1674" y="786"/>
                  </a:lnTo>
                  <a:lnTo>
                    <a:pt x="1668" y="792"/>
                  </a:lnTo>
                  <a:lnTo>
                    <a:pt x="1668" y="798"/>
                  </a:lnTo>
                  <a:lnTo>
                    <a:pt x="1668" y="804"/>
                  </a:lnTo>
                  <a:lnTo>
                    <a:pt x="1674" y="804"/>
                  </a:lnTo>
                  <a:lnTo>
                    <a:pt x="1668" y="810"/>
                  </a:lnTo>
                  <a:lnTo>
                    <a:pt x="1674" y="810"/>
                  </a:lnTo>
                  <a:lnTo>
                    <a:pt x="1680" y="810"/>
                  </a:lnTo>
                  <a:lnTo>
                    <a:pt x="1680" y="816"/>
                  </a:lnTo>
                  <a:lnTo>
                    <a:pt x="1680" y="822"/>
                  </a:lnTo>
                  <a:lnTo>
                    <a:pt x="1674" y="822"/>
                  </a:lnTo>
                  <a:lnTo>
                    <a:pt x="1674" y="828"/>
                  </a:lnTo>
                  <a:lnTo>
                    <a:pt x="1668" y="828"/>
                  </a:lnTo>
                  <a:lnTo>
                    <a:pt x="1674" y="834"/>
                  </a:lnTo>
                  <a:lnTo>
                    <a:pt x="1668" y="834"/>
                  </a:lnTo>
                  <a:lnTo>
                    <a:pt x="1668" y="840"/>
                  </a:lnTo>
                  <a:lnTo>
                    <a:pt x="1674" y="840"/>
                  </a:lnTo>
                  <a:lnTo>
                    <a:pt x="1686" y="852"/>
                  </a:lnTo>
                  <a:lnTo>
                    <a:pt x="1692" y="858"/>
                  </a:lnTo>
                  <a:lnTo>
                    <a:pt x="1698" y="858"/>
                  </a:lnTo>
                  <a:lnTo>
                    <a:pt x="1698" y="864"/>
                  </a:lnTo>
                  <a:lnTo>
                    <a:pt x="1698" y="870"/>
                  </a:lnTo>
                  <a:lnTo>
                    <a:pt x="1704" y="864"/>
                  </a:lnTo>
                  <a:lnTo>
                    <a:pt x="1716" y="864"/>
                  </a:lnTo>
                  <a:lnTo>
                    <a:pt x="1722" y="864"/>
                  </a:lnTo>
                  <a:lnTo>
                    <a:pt x="1728" y="864"/>
                  </a:lnTo>
                  <a:lnTo>
                    <a:pt x="1734" y="864"/>
                  </a:lnTo>
                  <a:lnTo>
                    <a:pt x="1740" y="864"/>
                  </a:lnTo>
                  <a:lnTo>
                    <a:pt x="1746" y="876"/>
                  </a:lnTo>
                  <a:lnTo>
                    <a:pt x="1746" y="870"/>
                  </a:lnTo>
                  <a:lnTo>
                    <a:pt x="1740" y="864"/>
                  </a:lnTo>
                  <a:lnTo>
                    <a:pt x="1746" y="864"/>
                  </a:lnTo>
                  <a:lnTo>
                    <a:pt x="1752" y="870"/>
                  </a:lnTo>
                  <a:lnTo>
                    <a:pt x="1758" y="864"/>
                  </a:lnTo>
                  <a:lnTo>
                    <a:pt x="1764" y="864"/>
                  </a:lnTo>
                  <a:lnTo>
                    <a:pt x="1770" y="858"/>
                  </a:lnTo>
                  <a:lnTo>
                    <a:pt x="1782" y="864"/>
                  </a:lnTo>
                  <a:lnTo>
                    <a:pt x="1782" y="870"/>
                  </a:lnTo>
                  <a:lnTo>
                    <a:pt x="1788" y="864"/>
                  </a:lnTo>
                  <a:lnTo>
                    <a:pt x="1794" y="864"/>
                  </a:lnTo>
                  <a:lnTo>
                    <a:pt x="1800" y="870"/>
                  </a:lnTo>
                  <a:lnTo>
                    <a:pt x="1818" y="864"/>
                  </a:lnTo>
                  <a:lnTo>
                    <a:pt x="1824" y="870"/>
                  </a:lnTo>
                  <a:lnTo>
                    <a:pt x="1830" y="864"/>
                  </a:lnTo>
                  <a:lnTo>
                    <a:pt x="1836" y="864"/>
                  </a:lnTo>
                  <a:lnTo>
                    <a:pt x="1842" y="870"/>
                  </a:lnTo>
                  <a:lnTo>
                    <a:pt x="1842" y="876"/>
                  </a:lnTo>
                  <a:lnTo>
                    <a:pt x="1848" y="876"/>
                  </a:lnTo>
                  <a:lnTo>
                    <a:pt x="1848" y="870"/>
                  </a:lnTo>
                  <a:lnTo>
                    <a:pt x="1854" y="870"/>
                  </a:lnTo>
                  <a:lnTo>
                    <a:pt x="1860" y="870"/>
                  </a:lnTo>
                  <a:lnTo>
                    <a:pt x="1860" y="876"/>
                  </a:lnTo>
                  <a:lnTo>
                    <a:pt x="1866" y="876"/>
                  </a:lnTo>
                  <a:lnTo>
                    <a:pt x="1866" y="882"/>
                  </a:lnTo>
                  <a:lnTo>
                    <a:pt x="1872" y="882"/>
                  </a:lnTo>
                  <a:lnTo>
                    <a:pt x="1878" y="888"/>
                  </a:lnTo>
                  <a:lnTo>
                    <a:pt x="1890" y="888"/>
                  </a:lnTo>
                  <a:lnTo>
                    <a:pt x="1890" y="894"/>
                  </a:lnTo>
                  <a:lnTo>
                    <a:pt x="1890" y="900"/>
                  </a:lnTo>
                  <a:lnTo>
                    <a:pt x="1884" y="900"/>
                  </a:lnTo>
                  <a:lnTo>
                    <a:pt x="1884" y="906"/>
                  </a:lnTo>
                  <a:lnTo>
                    <a:pt x="1884" y="912"/>
                  </a:lnTo>
                  <a:lnTo>
                    <a:pt x="1890" y="912"/>
                  </a:lnTo>
                  <a:lnTo>
                    <a:pt x="1896" y="912"/>
                  </a:lnTo>
                  <a:lnTo>
                    <a:pt x="1902" y="912"/>
                  </a:lnTo>
                  <a:lnTo>
                    <a:pt x="1908" y="918"/>
                  </a:lnTo>
                  <a:lnTo>
                    <a:pt x="1908" y="924"/>
                  </a:lnTo>
                  <a:lnTo>
                    <a:pt x="1908" y="930"/>
                  </a:lnTo>
                  <a:lnTo>
                    <a:pt x="1908" y="936"/>
                  </a:lnTo>
                  <a:lnTo>
                    <a:pt x="1914" y="936"/>
                  </a:lnTo>
                  <a:lnTo>
                    <a:pt x="1914" y="942"/>
                  </a:lnTo>
                  <a:lnTo>
                    <a:pt x="1908" y="948"/>
                  </a:lnTo>
                  <a:lnTo>
                    <a:pt x="1914" y="948"/>
                  </a:lnTo>
                  <a:lnTo>
                    <a:pt x="1920" y="954"/>
                  </a:lnTo>
                  <a:lnTo>
                    <a:pt x="1926" y="954"/>
                  </a:lnTo>
                  <a:lnTo>
                    <a:pt x="1932" y="954"/>
                  </a:lnTo>
                  <a:lnTo>
                    <a:pt x="1938" y="954"/>
                  </a:lnTo>
                  <a:lnTo>
                    <a:pt x="1938" y="960"/>
                  </a:lnTo>
                  <a:lnTo>
                    <a:pt x="1944" y="966"/>
                  </a:lnTo>
                  <a:lnTo>
                    <a:pt x="1944" y="972"/>
                  </a:lnTo>
                  <a:lnTo>
                    <a:pt x="1944" y="978"/>
                  </a:lnTo>
                  <a:lnTo>
                    <a:pt x="1950" y="978"/>
                  </a:lnTo>
                  <a:lnTo>
                    <a:pt x="1950" y="984"/>
                  </a:lnTo>
                  <a:lnTo>
                    <a:pt x="1956" y="984"/>
                  </a:lnTo>
                  <a:lnTo>
                    <a:pt x="1962" y="984"/>
                  </a:lnTo>
                  <a:lnTo>
                    <a:pt x="1962" y="978"/>
                  </a:lnTo>
                  <a:lnTo>
                    <a:pt x="1968" y="978"/>
                  </a:lnTo>
                  <a:lnTo>
                    <a:pt x="1974" y="978"/>
                  </a:lnTo>
                  <a:lnTo>
                    <a:pt x="1980" y="972"/>
                  </a:lnTo>
                  <a:lnTo>
                    <a:pt x="1980" y="978"/>
                  </a:lnTo>
                  <a:lnTo>
                    <a:pt x="1980" y="984"/>
                  </a:lnTo>
                  <a:lnTo>
                    <a:pt x="1986" y="984"/>
                  </a:lnTo>
                  <a:lnTo>
                    <a:pt x="1992" y="990"/>
                  </a:lnTo>
                  <a:lnTo>
                    <a:pt x="1992" y="996"/>
                  </a:lnTo>
                  <a:lnTo>
                    <a:pt x="1992" y="1002"/>
                  </a:lnTo>
                  <a:lnTo>
                    <a:pt x="1974" y="1008"/>
                  </a:lnTo>
                  <a:lnTo>
                    <a:pt x="1974" y="1014"/>
                  </a:lnTo>
                  <a:lnTo>
                    <a:pt x="1974" y="1020"/>
                  </a:lnTo>
                  <a:lnTo>
                    <a:pt x="1974" y="1026"/>
                  </a:lnTo>
                  <a:lnTo>
                    <a:pt x="1968" y="1038"/>
                  </a:lnTo>
                  <a:lnTo>
                    <a:pt x="1968" y="1044"/>
                  </a:lnTo>
                  <a:lnTo>
                    <a:pt x="1974" y="1056"/>
                  </a:lnTo>
                  <a:lnTo>
                    <a:pt x="1968" y="1062"/>
                  </a:lnTo>
                  <a:lnTo>
                    <a:pt x="1962" y="1062"/>
                  </a:lnTo>
                  <a:lnTo>
                    <a:pt x="1956" y="1068"/>
                  </a:lnTo>
                  <a:lnTo>
                    <a:pt x="1956" y="1074"/>
                  </a:lnTo>
                  <a:lnTo>
                    <a:pt x="1956" y="1080"/>
                  </a:lnTo>
                  <a:lnTo>
                    <a:pt x="1956" y="1086"/>
                  </a:lnTo>
                  <a:lnTo>
                    <a:pt x="1956" y="1092"/>
                  </a:lnTo>
                  <a:lnTo>
                    <a:pt x="1962" y="1092"/>
                  </a:lnTo>
                  <a:lnTo>
                    <a:pt x="1962" y="1104"/>
                  </a:lnTo>
                  <a:lnTo>
                    <a:pt x="1968" y="1110"/>
                  </a:lnTo>
                  <a:lnTo>
                    <a:pt x="1968" y="1116"/>
                  </a:lnTo>
                  <a:lnTo>
                    <a:pt x="1974" y="1116"/>
                  </a:lnTo>
                  <a:lnTo>
                    <a:pt x="1974" y="1122"/>
                  </a:lnTo>
                  <a:lnTo>
                    <a:pt x="1980" y="1122"/>
                  </a:lnTo>
                  <a:lnTo>
                    <a:pt x="1974" y="1128"/>
                  </a:lnTo>
                  <a:lnTo>
                    <a:pt x="1968" y="1134"/>
                  </a:lnTo>
                  <a:lnTo>
                    <a:pt x="1962" y="1140"/>
                  </a:lnTo>
                  <a:lnTo>
                    <a:pt x="1962" y="1146"/>
                  </a:lnTo>
                  <a:lnTo>
                    <a:pt x="1968" y="1152"/>
                  </a:lnTo>
                  <a:lnTo>
                    <a:pt x="1968" y="1158"/>
                  </a:lnTo>
                  <a:lnTo>
                    <a:pt x="1962" y="1158"/>
                  </a:lnTo>
                  <a:lnTo>
                    <a:pt x="1962" y="1164"/>
                  </a:lnTo>
                  <a:lnTo>
                    <a:pt x="1956" y="1164"/>
                  </a:lnTo>
                  <a:lnTo>
                    <a:pt x="1956" y="1170"/>
                  </a:lnTo>
                  <a:lnTo>
                    <a:pt x="1944" y="1182"/>
                  </a:lnTo>
                  <a:lnTo>
                    <a:pt x="1944" y="1188"/>
                  </a:lnTo>
                  <a:lnTo>
                    <a:pt x="1950" y="1188"/>
                  </a:lnTo>
                  <a:lnTo>
                    <a:pt x="1944" y="1200"/>
                  </a:lnTo>
                  <a:lnTo>
                    <a:pt x="1944" y="1206"/>
                  </a:lnTo>
                  <a:lnTo>
                    <a:pt x="1944" y="1212"/>
                  </a:lnTo>
                  <a:lnTo>
                    <a:pt x="1944" y="1218"/>
                  </a:lnTo>
                  <a:lnTo>
                    <a:pt x="1944" y="1230"/>
                  </a:lnTo>
                  <a:lnTo>
                    <a:pt x="1944" y="1236"/>
                  </a:lnTo>
                  <a:lnTo>
                    <a:pt x="1944" y="1242"/>
                  </a:lnTo>
                  <a:lnTo>
                    <a:pt x="1938" y="1248"/>
                  </a:lnTo>
                  <a:lnTo>
                    <a:pt x="1938" y="1254"/>
                  </a:lnTo>
                  <a:lnTo>
                    <a:pt x="1932" y="1254"/>
                  </a:lnTo>
                  <a:lnTo>
                    <a:pt x="1926" y="1260"/>
                  </a:lnTo>
                  <a:lnTo>
                    <a:pt x="1920" y="1266"/>
                  </a:lnTo>
                  <a:lnTo>
                    <a:pt x="1914" y="1272"/>
                  </a:lnTo>
                  <a:lnTo>
                    <a:pt x="1908" y="1272"/>
                  </a:lnTo>
                  <a:lnTo>
                    <a:pt x="1908" y="1278"/>
                  </a:lnTo>
                  <a:lnTo>
                    <a:pt x="1914" y="1278"/>
                  </a:lnTo>
                  <a:lnTo>
                    <a:pt x="1914" y="1290"/>
                  </a:lnTo>
                  <a:lnTo>
                    <a:pt x="1920" y="1296"/>
                  </a:lnTo>
                  <a:lnTo>
                    <a:pt x="1938" y="1302"/>
                  </a:lnTo>
                  <a:lnTo>
                    <a:pt x="1944" y="1308"/>
                  </a:lnTo>
                  <a:lnTo>
                    <a:pt x="1950" y="1314"/>
                  </a:lnTo>
                  <a:lnTo>
                    <a:pt x="1956" y="1314"/>
                  </a:lnTo>
                  <a:lnTo>
                    <a:pt x="1962" y="1320"/>
                  </a:lnTo>
                  <a:lnTo>
                    <a:pt x="1962" y="1326"/>
                  </a:lnTo>
                  <a:lnTo>
                    <a:pt x="1968" y="1326"/>
                  </a:lnTo>
                  <a:lnTo>
                    <a:pt x="1968" y="1332"/>
                  </a:lnTo>
                  <a:lnTo>
                    <a:pt x="1968" y="1344"/>
                  </a:lnTo>
                  <a:lnTo>
                    <a:pt x="1968" y="1350"/>
                  </a:lnTo>
                  <a:lnTo>
                    <a:pt x="1968" y="1368"/>
                  </a:lnTo>
                  <a:lnTo>
                    <a:pt x="1962" y="1380"/>
                  </a:lnTo>
                  <a:lnTo>
                    <a:pt x="1968" y="1392"/>
                  </a:lnTo>
                  <a:lnTo>
                    <a:pt x="1962" y="1398"/>
                  </a:lnTo>
                  <a:lnTo>
                    <a:pt x="1956" y="1404"/>
                  </a:lnTo>
                  <a:lnTo>
                    <a:pt x="1950" y="1410"/>
                  </a:lnTo>
                  <a:lnTo>
                    <a:pt x="1944" y="1410"/>
                  </a:lnTo>
                  <a:lnTo>
                    <a:pt x="1932" y="1416"/>
                  </a:lnTo>
                  <a:lnTo>
                    <a:pt x="1926" y="1416"/>
                  </a:lnTo>
                  <a:lnTo>
                    <a:pt x="1896" y="1428"/>
                  </a:lnTo>
                  <a:lnTo>
                    <a:pt x="1884" y="1434"/>
                  </a:lnTo>
                  <a:lnTo>
                    <a:pt x="1878" y="1434"/>
                  </a:lnTo>
                  <a:lnTo>
                    <a:pt x="1866" y="1434"/>
                  </a:lnTo>
                  <a:lnTo>
                    <a:pt x="1854" y="1440"/>
                  </a:lnTo>
                  <a:lnTo>
                    <a:pt x="1848" y="1440"/>
                  </a:lnTo>
                  <a:lnTo>
                    <a:pt x="1842" y="1446"/>
                  </a:lnTo>
                  <a:lnTo>
                    <a:pt x="1842" y="1458"/>
                  </a:lnTo>
                  <a:lnTo>
                    <a:pt x="1836" y="1470"/>
                  </a:lnTo>
                  <a:lnTo>
                    <a:pt x="1830" y="1476"/>
                  </a:lnTo>
                  <a:lnTo>
                    <a:pt x="1824" y="1476"/>
                  </a:lnTo>
                  <a:lnTo>
                    <a:pt x="1806" y="1482"/>
                  </a:lnTo>
                  <a:lnTo>
                    <a:pt x="1800" y="1488"/>
                  </a:lnTo>
                  <a:lnTo>
                    <a:pt x="1794" y="1488"/>
                  </a:lnTo>
                  <a:lnTo>
                    <a:pt x="1788" y="1488"/>
                  </a:lnTo>
                  <a:lnTo>
                    <a:pt x="1776" y="1494"/>
                  </a:lnTo>
                  <a:lnTo>
                    <a:pt x="1764" y="1494"/>
                  </a:lnTo>
                  <a:lnTo>
                    <a:pt x="1758" y="1500"/>
                  </a:lnTo>
                  <a:lnTo>
                    <a:pt x="1746" y="1506"/>
                  </a:lnTo>
                  <a:lnTo>
                    <a:pt x="1728" y="1518"/>
                  </a:lnTo>
                  <a:lnTo>
                    <a:pt x="1716" y="1524"/>
                  </a:lnTo>
                  <a:lnTo>
                    <a:pt x="1710" y="1530"/>
                  </a:lnTo>
                  <a:lnTo>
                    <a:pt x="1704" y="1536"/>
                  </a:lnTo>
                  <a:lnTo>
                    <a:pt x="1698" y="1542"/>
                  </a:lnTo>
                  <a:lnTo>
                    <a:pt x="1692" y="1554"/>
                  </a:lnTo>
                  <a:lnTo>
                    <a:pt x="1686" y="1560"/>
                  </a:lnTo>
                  <a:lnTo>
                    <a:pt x="1680" y="1560"/>
                  </a:lnTo>
                  <a:lnTo>
                    <a:pt x="1674" y="1560"/>
                  </a:lnTo>
                  <a:lnTo>
                    <a:pt x="1656" y="1572"/>
                  </a:lnTo>
                  <a:lnTo>
                    <a:pt x="1650" y="1572"/>
                  </a:lnTo>
                  <a:lnTo>
                    <a:pt x="1644" y="1572"/>
                  </a:lnTo>
                  <a:lnTo>
                    <a:pt x="1638" y="1578"/>
                  </a:lnTo>
                  <a:lnTo>
                    <a:pt x="1632" y="1578"/>
                  </a:lnTo>
                  <a:lnTo>
                    <a:pt x="1626" y="1578"/>
                  </a:lnTo>
                  <a:lnTo>
                    <a:pt x="1620" y="1572"/>
                  </a:lnTo>
                  <a:lnTo>
                    <a:pt x="1614" y="1572"/>
                  </a:lnTo>
                  <a:lnTo>
                    <a:pt x="1608" y="1566"/>
                  </a:lnTo>
                  <a:lnTo>
                    <a:pt x="1602" y="1560"/>
                  </a:lnTo>
                  <a:lnTo>
                    <a:pt x="1596" y="1554"/>
                  </a:lnTo>
                  <a:lnTo>
                    <a:pt x="1590" y="1548"/>
                  </a:lnTo>
                  <a:lnTo>
                    <a:pt x="1578" y="1548"/>
                  </a:lnTo>
                  <a:lnTo>
                    <a:pt x="1572" y="1548"/>
                  </a:lnTo>
                  <a:lnTo>
                    <a:pt x="1566" y="1548"/>
                  </a:lnTo>
                  <a:lnTo>
                    <a:pt x="1554" y="1536"/>
                  </a:lnTo>
                  <a:lnTo>
                    <a:pt x="1548" y="1536"/>
                  </a:lnTo>
                  <a:lnTo>
                    <a:pt x="1542" y="1542"/>
                  </a:lnTo>
                  <a:lnTo>
                    <a:pt x="1536" y="1548"/>
                  </a:lnTo>
                  <a:lnTo>
                    <a:pt x="1536" y="1566"/>
                  </a:lnTo>
                  <a:lnTo>
                    <a:pt x="1530" y="1572"/>
                  </a:lnTo>
                  <a:lnTo>
                    <a:pt x="1524" y="1578"/>
                  </a:lnTo>
                  <a:lnTo>
                    <a:pt x="1518" y="1584"/>
                  </a:lnTo>
                  <a:lnTo>
                    <a:pt x="1512" y="1596"/>
                  </a:lnTo>
                  <a:lnTo>
                    <a:pt x="1506" y="1602"/>
                  </a:lnTo>
                  <a:lnTo>
                    <a:pt x="1506" y="1608"/>
                  </a:lnTo>
                  <a:lnTo>
                    <a:pt x="1506" y="1614"/>
                  </a:lnTo>
                  <a:lnTo>
                    <a:pt x="1500" y="1614"/>
                  </a:lnTo>
                  <a:lnTo>
                    <a:pt x="1500" y="1620"/>
                  </a:lnTo>
                  <a:lnTo>
                    <a:pt x="1500" y="1626"/>
                  </a:lnTo>
                  <a:lnTo>
                    <a:pt x="1494" y="1632"/>
                  </a:lnTo>
                  <a:lnTo>
                    <a:pt x="1488" y="1638"/>
                  </a:lnTo>
                  <a:lnTo>
                    <a:pt x="1482" y="1638"/>
                  </a:lnTo>
                  <a:lnTo>
                    <a:pt x="1482" y="1644"/>
                  </a:lnTo>
                  <a:lnTo>
                    <a:pt x="1482" y="1650"/>
                  </a:lnTo>
                  <a:lnTo>
                    <a:pt x="1482" y="1656"/>
                  </a:lnTo>
                  <a:lnTo>
                    <a:pt x="1476" y="1662"/>
                  </a:lnTo>
                  <a:lnTo>
                    <a:pt x="1470" y="1668"/>
                  </a:lnTo>
                  <a:lnTo>
                    <a:pt x="1464" y="1674"/>
                  </a:lnTo>
                  <a:lnTo>
                    <a:pt x="1464" y="1680"/>
                  </a:lnTo>
                  <a:lnTo>
                    <a:pt x="1458" y="1680"/>
                  </a:lnTo>
                  <a:lnTo>
                    <a:pt x="1452" y="1686"/>
                  </a:lnTo>
                  <a:lnTo>
                    <a:pt x="1446" y="1686"/>
                  </a:lnTo>
                  <a:lnTo>
                    <a:pt x="1440" y="1698"/>
                  </a:lnTo>
                  <a:lnTo>
                    <a:pt x="1440" y="1704"/>
                  </a:lnTo>
                  <a:lnTo>
                    <a:pt x="1434" y="1710"/>
                  </a:lnTo>
                  <a:lnTo>
                    <a:pt x="1434" y="1716"/>
                  </a:lnTo>
                  <a:lnTo>
                    <a:pt x="1428" y="1716"/>
                  </a:lnTo>
                  <a:lnTo>
                    <a:pt x="1428" y="1722"/>
                  </a:lnTo>
                  <a:lnTo>
                    <a:pt x="1428" y="1728"/>
                  </a:lnTo>
                  <a:lnTo>
                    <a:pt x="1422" y="1728"/>
                  </a:lnTo>
                  <a:lnTo>
                    <a:pt x="1422" y="1734"/>
                  </a:lnTo>
                  <a:lnTo>
                    <a:pt x="1416" y="1734"/>
                  </a:lnTo>
                  <a:lnTo>
                    <a:pt x="1410" y="1734"/>
                  </a:lnTo>
                  <a:lnTo>
                    <a:pt x="1392" y="1746"/>
                  </a:lnTo>
                  <a:lnTo>
                    <a:pt x="1386" y="1746"/>
                  </a:lnTo>
                  <a:lnTo>
                    <a:pt x="1368" y="1752"/>
                  </a:lnTo>
                  <a:lnTo>
                    <a:pt x="1362" y="1758"/>
                  </a:lnTo>
                  <a:lnTo>
                    <a:pt x="1362" y="1770"/>
                  </a:lnTo>
                  <a:lnTo>
                    <a:pt x="1356" y="178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</p:grpSp>
      <p:graphicFrame>
        <p:nvGraphicFramePr>
          <p:cNvPr id="357" name="Group 76">
            <a:extLst>
              <a:ext uri="{FF2B5EF4-FFF2-40B4-BE49-F238E27FC236}">
                <a16:creationId xmlns:a16="http://schemas.microsoft.com/office/drawing/2014/main" id="{57830D68-CF73-4A3E-9D36-141B03AADBF7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41338" y="3402013"/>
          <a:ext cx="3735387" cy="1827306"/>
        </p:xfrm>
        <a:graphic>
          <a:graphicData uri="http://schemas.openxmlformats.org/drawingml/2006/table">
            <a:tbl>
              <a:tblPr/>
              <a:tblGrid>
                <a:gridCol w="1316931">
                  <a:extLst>
                    <a:ext uri="{9D8B030D-6E8A-4147-A177-3AD203B41FA5}">
                      <a16:colId xmlns:a16="http://schemas.microsoft.com/office/drawing/2014/main" val="2027704273"/>
                    </a:ext>
                  </a:extLst>
                </a:gridCol>
                <a:gridCol w="603796">
                  <a:extLst>
                    <a:ext uri="{9D8B030D-6E8A-4147-A177-3AD203B41FA5}">
                      <a16:colId xmlns:a16="http://schemas.microsoft.com/office/drawing/2014/main" val="3432768286"/>
                    </a:ext>
                  </a:extLst>
                </a:gridCol>
                <a:gridCol w="744015">
                  <a:extLst>
                    <a:ext uri="{9D8B030D-6E8A-4147-A177-3AD203B41FA5}">
                      <a16:colId xmlns:a16="http://schemas.microsoft.com/office/drawing/2014/main" val="3730294207"/>
                    </a:ext>
                  </a:extLst>
                </a:gridCol>
                <a:gridCol w="1070645">
                  <a:extLst>
                    <a:ext uri="{9D8B030D-6E8A-4147-A177-3AD203B41FA5}">
                      <a16:colId xmlns:a16="http://schemas.microsoft.com/office/drawing/2014/main" val="2258321117"/>
                    </a:ext>
                  </a:extLst>
                </a:gridCol>
              </a:tblGrid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apital</a:t>
                      </a:r>
                      <a:endParaRPr kumimoji="0" lang="en-SG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292929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SG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Owerri</a:t>
                      </a:r>
                      <a:endParaRPr kumimoji="0" lang="en-SG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703009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nd Are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5,288 km</a:t>
                      </a:r>
                      <a:r>
                        <a:rPr kumimoji="0" lang="en-US" altLang="en-US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4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603614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Population (2017E)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5,381,708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15 of 37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505851"/>
                  </a:ext>
                </a:extLst>
              </a:tr>
              <a:tr h="203024">
                <a:tc row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Dem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0-14: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,940,164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6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130093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5-64: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3,208,508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60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387564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65+: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   233,036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[4%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38801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bour force 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,926,462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10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797882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limate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ropical savanna, monsoon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3942226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op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oastal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32899"/>
                  </a:ext>
                </a:extLst>
              </a:tr>
            </a:tbl>
          </a:graphicData>
        </a:graphic>
      </p:graphicFrame>
      <p:pic>
        <p:nvPicPr>
          <p:cNvPr id="23609" name="Picture 13">
            <a:extLst>
              <a:ext uri="{FF2B5EF4-FFF2-40B4-BE49-F238E27FC236}">
                <a16:creationId xmlns:a16="http://schemas.microsoft.com/office/drawing/2014/main" id="{952964D5-F0ED-4CAE-B71C-DB4A723FA5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0" y="3006725"/>
            <a:ext cx="1116013" cy="155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9" name="TextBox 378">
            <a:extLst>
              <a:ext uri="{FF2B5EF4-FFF2-40B4-BE49-F238E27FC236}">
                <a16:creationId xmlns:a16="http://schemas.microsoft.com/office/drawing/2014/main" id="{1B3FD4BF-4685-4C74-821F-10048D6246BF}"/>
              </a:ext>
            </a:extLst>
          </p:cNvPr>
          <p:cNvSpPr txBox="1"/>
          <p:nvPr/>
        </p:nvSpPr>
        <p:spPr>
          <a:xfrm>
            <a:off x="6124575" y="957263"/>
            <a:ext cx="3475038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mpetitive Advantages</a:t>
            </a: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455FE7A1-ADE5-4F7B-A489-00196671A53E}"/>
              </a:ext>
            </a:extLst>
          </p:cNvPr>
          <p:cNvSpPr/>
          <p:nvPr/>
        </p:nvSpPr>
        <p:spPr>
          <a:xfrm>
            <a:off x="4267248" y="1187511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6.9bn/$22.5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EBB25788-D073-4A78-9D6C-DF3836CFFFBB}"/>
              </a:ext>
            </a:extLst>
          </p:cNvPr>
          <p:cNvSpPr txBox="1"/>
          <p:nvPr/>
        </p:nvSpPr>
        <p:spPr>
          <a:xfrm>
            <a:off x="4267200" y="955675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GR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6F07DF39-553B-44F0-8864-1F897C2BD79A}"/>
              </a:ext>
            </a:extLst>
          </p:cNvPr>
          <p:cNvSpPr/>
          <p:nvPr/>
        </p:nvSpPr>
        <p:spPr>
          <a:xfrm>
            <a:off x="4267252" y="1809750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190bn/$623bn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2508695A-2D2C-45A3-80FE-9C2CB18200C2}"/>
              </a:ext>
            </a:extLst>
          </p:cNvPr>
          <p:cNvSpPr txBox="1"/>
          <p:nvPr/>
        </p:nvSpPr>
        <p:spPr>
          <a:xfrm>
            <a:off x="4267200" y="1576388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Budget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8)</a:t>
            </a: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86A33ABE-3AE3-40A7-A6A6-1B757A6A9B0F}"/>
              </a:ext>
            </a:extLst>
          </p:cNvPr>
          <p:cNvSpPr/>
          <p:nvPr/>
        </p:nvSpPr>
        <p:spPr>
          <a:xfrm>
            <a:off x="4256076" y="2667155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2.4trn /$7.7bn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1E919764-A18B-4532-A533-A84A31D7FEFE}"/>
              </a:ext>
            </a:extLst>
          </p:cNvPr>
          <p:cNvSpPr txBox="1"/>
          <p:nvPr/>
        </p:nvSpPr>
        <p:spPr>
          <a:xfrm>
            <a:off x="4256088" y="2185988"/>
            <a:ext cx="1811337" cy="50641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Household </a:t>
            </a:r>
          </a:p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nsumption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96" name="Plaque 95">
            <a:extLst>
              <a:ext uri="{FF2B5EF4-FFF2-40B4-BE49-F238E27FC236}">
                <a16:creationId xmlns:a16="http://schemas.microsoft.com/office/drawing/2014/main" id="{E3BE1182-17B4-4194-8641-F1EA2CCBB757}"/>
              </a:ext>
            </a:extLst>
          </p:cNvPr>
          <p:cNvSpPr/>
          <p:nvPr/>
        </p:nvSpPr>
        <p:spPr>
          <a:xfrm>
            <a:off x="5656263" y="2805113"/>
            <a:ext cx="411162" cy="153987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7 of 36</a:t>
            </a:r>
          </a:p>
        </p:txBody>
      </p:sp>
      <p:sp>
        <p:nvSpPr>
          <p:cNvPr id="99" name="Plaque 98">
            <a:extLst>
              <a:ext uri="{FF2B5EF4-FFF2-40B4-BE49-F238E27FC236}">
                <a16:creationId xmlns:a16="http://schemas.microsoft.com/office/drawing/2014/main" id="{8620E393-1C52-4CE1-9888-20922FA6DFEA}"/>
              </a:ext>
            </a:extLst>
          </p:cNvPr>
          <p:cNvSpPr/>
          <p:nvPr/>
        </p:nvSpPr>
        <p:spPr>
          <a:xfrm>
            <a:off x="5638800" y="1951087"/>
            <a:ext cx="428626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5 of 36</a:t>
            </a:r>
          </a:p>
        </p:txBody>
      </p:sp>
      <p:sp>
        <p:nvSpPr>
          <p:cNvPr id="100" name="Plaque 99">
            <a:extLst>
              <a:ext uri="{FF2B5EF4-FFF2-40B4-BE49-F238E27FC236}">
                <a16:creationId xmlns:a16="http://schemas.microsoft.com/office/drawing/2014/main" id="{3BFA6D28-9A42-4459-8BF1-090CE1B45216}"/>
              </a:ext>
            </a:extLst>
          </p:cNvPr>
          <p:cNvSpPr/>
          <p:nvPr/>
        </p:nvSpPr>
        <p:spPr>
          <a:xfrm>
            <a:off x="5638800" y="1333500"/>
            <a:ext cx="430213" cy="1539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latin typeface="Calibri" panose="020F0502020204030204" pitchFamily="34" charset="0"/>
                <a:cs typeface="Calibri" panose="020F0502020204030204" pitchFamily="34" charset="0"/>
              </a:rPr>
              <a:t>21 of 36</a:t>
            </a:r>
          </a:p>
        </p:txBody>
      </p:sp>
      <p:sp>
        <p:nvSpPr>
          <p:cNvPr id="101" name="Pentagon 19">
            <a:extLst>
              <a:ext uri="{FF2B5EF4-FFF2-40B4-BE49-F238E27FC236}">
                <a16:creationId xmlns:a16="http://schemas.microsoft.com/office/drawing/2014/main" id="{CCD74FA4-19D0-4356-90C9-B3B49BCC3F54}"/>
              </a:ext>
            </a:extLst>
          </p:cNvPr>
          <p:cNvSpPr>
            <a:spLocks/>
          </p:cNvSpPr>
          <p:nvPr/>
        </p:nvSpPr>
        <p:spPr bwMode="auto">
          <a:xfrm>
            <a:off x="688340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34 of 37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12EE735-1E43-4799-A46A-5D0787F375CE}"/>
              </a:ext>
            </a:extLst>
          </p:cNvPr>
          <p:cNvSpPr/>
          <p:nvPr/>
        </p:nvSpPr>
        <p:spPr>
          <a:xfrm>
            <a:off x="6880225" y="5726113"/>
            <a:ext cx="642938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Starting a Business</a:t>
            </a:r>
          </a:p>
        </p:txBody>
      </p:sp>
      <p:pic>
        <p:nvPicPr>
          <p:cNvPr id="23622" name="Picture 3">
            <a:extLst>
              <a:ext uri="{FF2B5EF4-FFF2-40B4-BE49-F238E27FC236}">
                <a16:creationId xmlns:a16="http://schemas.microsoft.com/office/drawing/2014/main" id="{53FAD0C6-8FFE-437B-B7E4-F2A938D3BE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350" y="5249863"/>
            <a:ext cx="41910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23" name="Freeform 15">
            <a:extLst>
              <a:ext uri="{FF2B5EF4-FFF2-40B4-BE49-F238E27FC236}">
                <a16:creationId xmlns:a16="http://schemas.microsoft.com/office/drawing/2014/main" id="{183A3C8B-011E-4D99-9165-3FF03A2D3207}"/>
              </a:ext>
            </a:extLst>
          </p:cNvPr>
          <p:cNvSpPr>
            <a:spLocks noEditPoints="1"/>
          </p:cNvSpPr>
          <p:nvPr/>
        </p:nvSpPr>
        <p:spPr bwMode="auto">
          <a:xfrm>
            <a:off x="9093200" y="5257800"/>
            <a:ext cx="276225" cy="347663"/>
          </a:xfrm>
          <a:custGeom>
            <a:avLst/>
            <a:gdLst>
              <a:gd name="T0" fmla="*/ 2147483646 w 3556"/>
              <a:gd name="T1" fmla="*/ 2147483646 h 3950"/>
              <a:gd name="T2" fmla="*/ 2147483646 w 3556"/>
              <a:gd name="T3" fmla="*/ 2147483646 h 3950"/>
              <a:gd name="T4" fmla="*/ 2147483646 w 3556"/>
              <a:gd name="T5" fmla="*/ 2147483646 h 3950"/>
              <a:gd name="T6" fmla="*/ 2147483646 w 3556"/>
              <a:gd name="T7" fmla="*/ 2147483646 h 3950"/>
              <a:gd name="T8" fmla="*/ 2147483646 w 3556"/>
              <a:gd name="T9" fmla="*/ 2147483646 h 3950"/>
              <a:gd name="T10" fmla="*/ 2147483646 w 3556"/>
              <a:gd name="T11" fmla="*/ 2147483646 h 3950"/>
              <a:gd name="T12" fmla="*/ 2147483646 w 3556"/>
              <a:gd name="T13" fmla="*/ 2147483646 h 3950"/>
              <a:gd name="T14" fmla="*/ 2147483646 w 3556"/>
              <a:gd name="T15" fmla="*/ 2147483646 h 3950"/>
              <a:gd name="T16" fmla="*/ 2147483646 w 3556"/>
              <a:gd name="T17" fmla="*/ 2147483646 h 3950"/>
              <a:gd name="T18" fmla="*/ 2147483646 w 3556"/>
              <a:gd name="T19" fmla="*/ 2147483646 h 3950"/>
              <a:gd name="T20" fmla="*/ 2147483646 w 3556"/>
              <a:gd name="T21" fmla="*/ 2147483646 h 3950"/>
              <a:gd name="T22" fmla="*/ 0 w 3556"/>
              <a:gd name="T23" fmla="*/ 2147483646 h 3950"/>
              <a:gd name="T24" fmla="*/ 2147483646 w 3556"/>
              <a:gd name="T25" fmla="*/ 2147483646 h 3950"/>
              <a:gd name="T26" fmla="*/ 2147483646 w 3556"/>
              <a:gd name="T27" fmla="*/ 2147483646 h 3950"/>
              <a:gd name="T28" fmla="*/ 2147483646 w 3556"/>
              <a:gd name="T29" fmla="*/ 2147483646 h 3950"/>
              <a:gd name="T30" fmla="*/ 2147483646 w 3556"/>
              <a:gd name="T31" fmla="*/ 2147483646 h 3950"/>
              <a:gd name="T32" fmla="*/ 2147483646 w 3556"/>
              <a:gd name="T33" fmla="*/ 2147483646 h 3950"/>
              <a:gd name="T34" fmla="*/ 2147483646 w 3556"/>
              <a:gd name="T35" fmla="*/ 2147483646 h 3950"/>
              <a:gd name="T36" fmla="*/ 2147483646 w 3556"/>
              <a:gd name="T37" fmla="*/ 2147483646 h 3950"/>
              <a:gd name="T38" fmla="*/ 2147483646 w 3556"/>
              <a:gd name="T39" fmla="*/ 2147483646 h 3950"/>
              <a:gd name="T40" fmla="*/ 2147483646 w 3556"/>
              <a:gd name="T41" fmla="*/ 2147483646 h 3950"/>
              <a:gd name="T42" fmla="*/ 2147483646 w 3556"/>
              <a:gd name="T43" fmla="*/ 2147483646 h 3950"/>
              <a:gd name="T44" fmla="*/ 2147483646 w 3556"/>
              <a:gd name="T45" fmla="*/ 2147483646 h 3950"/>
              <a:gd name="T46" fmla="*/ 2147483646 w 3556"/>
              <a:gd name="T47" fmla="*/ 2147483646 h 3950"/>
              <a:gd name="T48" fmla="*/ 2147483646 w 3556"/>
              <a:gd name="T49" fmla="*/ 2147483646 h 3950"/>
              <a:gd name="T50" fmla="*/ 2147483646 w 3556"/>
              <a:gd name="T51" fmla="*/ 2147483646 h 3950"/>
              <a:gd name="T52" fmla="*/ 2147483646 w 3556"/>
              <a:gd name="T53" fmla="*/ 2147483646 h 3950"/>
              <a:gd name="T54" fmla="*/ 2147483646 w 3556"/>
              <a:gd name="T55" fmla="*/ 2147483646 h 3950"/>
              <a:gd name="T56" fmla="*/ 2147483646 w 3556"/>
              <a:gd name="T57" fmla="*/ 2147483646 h 3950"/>
              <a:gd name="T58" fmla="*/ 2147483646 w 3556"/>
              <a:gd name="T59" fmla="*/ 2147483646 h 3950"/>
              <a:gd name="T60" fmla="*/ 2147483646 w 3556"/>
              <a:gd name="T61" fmla="*/ 2147483646 h 3950"/>
              <a:gd name="T62" fmla="*/ 2147483646 w 3556"/>
              <a:gd name="T63" fmla="*/ 2147483646 h 3950"/>
              <a:gd name="T64" fmla="*/ 2147483646 w 3556"/>
              <a:gd name="T65" fmla="*/ 2147483646 h 3950"/>
              <a:gd name="T66" fmla="*/ 2147483646 w 3556"/>
              <a:gd name="T67" fmla="*/ 2147483646 h 3950"/>
              <a:gd name="T68" fmla="*/ 2147483646 w 3556"/>
              <a:gd name="T69" fmla="*/ 2147483646 h 3950"/>
              <a:gd name="T70" fmla="*/ 2147483646 w 3556"/>
              <a:gd name="T71" fmla="*/ 2147483646 h 3950"/>
              <a:gd name="T72" fmla="*/ 2147483646 w 3556"/>
              <a:gd name="T73" fmla="*/ 2147483646 h 3950"/>
              <a:gd name="T74" fmla="*/ 2147483646 w 3556"/>
              <a:gd name="T75" fmla="*/ 2147483646 h 3950"/>
              <a:gd name="T76" fmla="*/ 2147483646 w 3556"/>
              <a:gd name="T77" fmla="*/ 2147483646 h 3950"/>
              <a:gd name="T78" fmla="*/ 2147483646 w 3556"/>
              <a:gd name="T79" fmla="*/ 2147483646 h 3950"/>
              <a:gd name="T80" fmla="*/ 2147483646 w 3556"/>
              <a:gd name="T81" fmla="*/ 0 h 3950"/>
              <a:gd name="T82" fmla="*/ 2147483646 w 3556"/>
              <a:gd name="T83" fmla="*/ 2147483646 h 3950"/>
              <a:gd name="T84" fmla="*/ 2147483646 w 3556"/>
              <a:gd name="T85" fmla="*/ 2147483646 h 3950"/>
              <a:gd name="T86" fmla="*/ 2147483646 w 3556"/>
              <a:gd name="T87" fmla="*/ 2147483646 h 395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556"/>
              <a:gd name="T133" fmla="*/ 0 h 3950"/>
              <a:gd name="T134" fmla="*/ 3556 w 3556"/>
              <a:gd name="T135" fmla="*/ 3950 h 395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556" h="3950">
                <a:moveTo>
                  <a:pt x="909" y="3917"/>
                </a:moveTo>
                <a:cubicBezTo>
                  <a:pt x="824" y="3832"/>
                  <a:pt x="894" y="3725"/>
                  <a:pt x="1036" y="3725"/>
                </a:cubicBezTo>
                <a:cubicBezTo>
                  <a:pt x="1119" y="3725"/>
                  <a:pt x="1129" y="3717"/>
                  <a:pt x="1129" y="3645"/>
                </a:cubicBezTo>
                <a:cubicBezTo>
                  <a:pt x="1129" y="3472"/>
                  <a:pt x="1135" y="3471"/>
                  <a:pt x="2192" y="3471"/>
                </a:cubicBezTo>
                <a:cubicBezTo>
                  <a:pt x="3086" y="3471"/>
                  <a:pt x="3155" y="3475"/>
                  <a:pt x="3199" y="3523"/>
                </a:cubicBezTo>
                <a:cubicBezTo>
                  <a:pt x="3225" y="3551"/>
                  <a:pt x="3246" y="3608"/>
                  <a:pt x="3246" y="3648"/>
                </a:cubicBezTo>
                <a:cubicBezTo>
                  <a:pt x="3246" y="3712"/>
                  <a:pt x="3259" y="3723"/>
                  <a:pt x="3349" y="3730"/>
                </a:cubicBezTo>
                <a:cubicBezTo>
                  <a:pt x="3470" y="3741"/>
                  <a:pt x="3530" y="3811"/>
                  <a:pt x="3482" y="3887"/>
                </a:cubicBezTo>
                <a:cubicBezTo>
                  <a:pt x="3453" y="3933"/>
                  <a:pt x="3356" y="3937"/>
                  <a:pt x="2197" y="3944"/>
                </a:cubicBezTo>
                <a:cubicBezTo>
                  <a:pt x="1245" y="3950"/>
                  <a:pt x="935" y="3943"/>
                  <a:pt x="909" y="3917"/>
                </a:cubicBezTo>
                <a:close/>
                <a:moveTo>
                  <a:pt x="87" y="3370"/>
                </a:moveTo>
                <a:cubicBezTo>
                  <a:pt x="24" y="3317"/>
                  <a:pt x="0" y="3272"/>
                  <a:pt x="0" y="3209"/>
                </a:cubicBezTo>
                <a:cubicBezTo>
                  <a:pt x="0" y="3132"/>
                  <a:pt x="86" y="3035"/>
                  <a:pt x="705" y="2414"/>
                </a:cubicBezTo>
                <a:lnTo>
                  <a:pt x="1411" y="1706"/>
                </a:lnTo>
                <a:lnTo>
                  <a:pt x="1235" y="1530"/>
                </a:lnTo>
                <a:lnTo>
                  <a:pt x="1059" y="1355"/>
                </a:lnTo>
                <a:lnTo>
                  <a:pt x="1510" y="903"/>
                </a:lnTo>
                <a:lnTo>
                  <a:pt x="1960" y="452"/>
                </a:lnTo>
                <a:lnTo>
                  <a:pt x="2135" y="624"/>
                </a:lnTo>
                <a:cubicBezTo>
                  <a:pt x="2305" y="793"/>
                  <a:pt x="2310" y="796"/>
                  <a:pt x="2374" y="751"/>
                </a:cubicBezTo>
                <a:cubicBezTo>
                  <a:pt x="2469" y="685"/>
                  <a:pt x="2547" y="695"/>
                  <a:pt x="2633" y="785"/>
                </a:cubicBezTo>
                <a:cubicBezTo>
                  <a:pt x="2720" y="875"/>
                  <a:pt x="2731" y="974"/>
                  <a:pt x="2662" y="1050"/>
                </a:cubicBezTo>
                <a:cubicBezTo>
                  <a:pt x="2616" y="1100"/>
                  <a:pt x="2624" y="1112"/>
                  <a:pt x="2823" y="1313"/>
                </a:cubicBezTo>
                <a:lnTo>
                  <a:pt x="3033" y="1524"/>
                </a:lnTo>
                <a:lnTo>
                  <a:pt x="2582" y="1975"/>
                </a:lnTo>
                <a:lnTo>
                  <a:pt x="2132" y="2427"/>
                </a:lnTo>
                <a:lnTo>
                  <a:pt x="1933" y="2229"/>
                </a:lnTo>
                <a:cubicBezTo>
                  <a:pt x="1824" y="2121"/>
                  <a:pt x="1722" y="2032"/>
                  <a:pt x="1707" y="2032"/>
                </a:cubicBezTo>
                <a:cubicBezTo>
                  <a:pt x="1693" y="2032"/>
                  <a:pt x="1362" y="2349"/>
                  <a:pt x="973" y="2737"/>
                </a:cubicBezTo>
                <a:cubicBezTo>
                  <a:pt x="584" y="3125"/>
                  <a:pt x="245" y="3443"/>
                  <a:pt x="220" y="3443"/>
                </a:cubicBezTo>
                <a:cubicBezTo>
                  <a:pt x="194" y="3443"/>
                  <a:pt x="135" y="3410"/>
                  <a:pt x="87" y="3370"/>
                </a:cubicBezTo>
                <a:close/>
                <a:moveTo>
                  <a:pt x="2258" y="2887"/>
                </a:moveTo>
                <a:cubicBezTo>
                  <a:pt x="2196" y="2865"/>
                  <a:pt x="2145" y="2792"/>
                  <a:pt x="2145" y="2725"/>
                </a:cubicBezTo>
                <a:cubicBezTo>
                  <a:pt x="2145" y="2686"/>
                  <a:pt x="2337" y="2474"/>
                  <a:pt x="2703" y="2109"/>
                </a:cubicBezTo>
                <a:cubicBezTo>
                  <a:pt x="3289" y="1523"/>
                  <a:pt x="3346" y="1485"/>
                  <a:pt x="3453" y="1604"/>
                </a:cubicBezTo>
                <a:cubicBezTo>
                  <a:pt x="3556" y="1717"/>
                  <a:pt x="3522" y="1766"/>
                  <a:pt x="2956" y="2331"/>
                </a:cubicBezTo>
                <a:cubicBezTo>
                  <a:pt x="2657" y="2630"/>
                  <a:pt x="2388" y="2880"/>
                  <a:pt x="2357" y="2888"/>
                </a:cubicBezTo>
                <a:cubicBezTo>
                  <a:pt x="2326" y="2895"/>
                  <a:pt x="2281" y="2895"/>
                  <a:pt x="2258" y="2887"/>
                </a:cubicBezTo>
                <a:close/>
                <a:moveTo>
                  <a:pt x="637" y="1282"/>
                </a:moveTo>
                <a:cubicBezTo>
                  <a:pt x="528" y="1172"/>
                  <a:pt x="568" y="1113"/>
                  <a:pt x="1137" y="544"/>
                </a:cubicBezTo>
                <a:cubicBezTo>
                  <a:pt x="1607" y="74"/>
                  <a:pt x="1693" y="0"/>
                  <a:pt x="1767" y="0"/>
                </a:cubicBezTo>
                <a:cubicBezTo>
                  <a:pt x="1862" y="0"/>
                  <a:pt x="1947" y="73"/>
                  <a:pt x="1947" y="156"/>
                </a:cubicBezTo>
                <a:cubicBezTo>
                  <a:pt x="1947" y="186"/>
                  <a:pt x="1715" y="442"/>
                  <a:pt x="1391" y="767"/>
                </a:cubicBezTo>
                <a:cubicBezTo>
                  <a:pt x="808" y="1353"/>
                  <a:pt x="749" y="1393"/>
                  <a:pt x="637" y="12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4" name="Group 118">
            <a:extLst>
              <a:ext uri="{FF2B5EF4-FFF2-40B4-BE49-F238E27FC236}">
                <a16:creationId xmlns:a16="http://schemas.microsoft.com/office/drawing/2014/main" id="{FB3D6A90-C4FD-433A-A1C1-A4B3864804A5}"/>
              </a:ext>
            </a:extLst>
          </p:cNvPr>
          <p:cNvGrpSpPr/>
          <p:nvPr/>
        </p:nvGrpSpPr>
        <p:grpSpPr>
          <a:xfrm>
            <a:off x="8409631" y="5248358"/>
            <a:ext cx="346498" cy="347472"/>
            <a:chOff x="1468138" y="5997240"/>
            <a:chExt cx="283642" cy="307072"/>
          </a:xfrm>
          <a:solidFill>
            <a:schemeClr val="bg1"/>
          </a:solidFill>
        </p:grpSpPr>
        <p:sp>
          <p:nvSpPr>
            <p:cNvPr id="120" name="Freeform 16">
              <a:extLst>
                <a:ext uri="{FF2B5EF4-FFF2-40B4-BE49-F238E27FC236}">
                  <a16:creationId xmlns:a16="http://schemas.microsoft.com/office/drawing/2014/main" id="{D6134FC8-4249-4088-8AE8-003C8AAC7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6136" y="6255221"/>
              <a:ext cx="26428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1 w 349"/>
                <a:gd name="T25" fmla="*/ 226 h 350"/>
                <a:gd name="T26" fmla="*/ 225 w 349"/>
                <a:gd name="T27" fmla="*/ 213 h 350"/>
                <a:gd name="T28" fmla="*/ 234 w 349"/>
                <a:gd name="T29" fmla="*/ 194 h 350"/>
                <a:gd name="T30" fmla="*/ 237 w 349"/>
                <a:gd name="T31" fmla="*/ 175 h 350"/>
                <a:gd name="T32" fmla="*/ 235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5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4 w 349"/>
                <a:gd name="T47" fmla="*/ 3 h 350"/>
                <a:gd name="T48" fmla="*/ 234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8 w 349"/>
                <a:gd name="T55" fmla="*/ 63 h 350"/>
                <a:gd name="T56" fmla="*/ 325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5 w 349"/>
                <a:gd name="T65" fmla="*/ 210 h 350"/>
                <a:gd name="T66" fmla="*/ 335 w 349"/>
                <a:gd name="T67" fmla="*/ 243 h 350"/>
                <a:gd name="T68" fmla="*/ 319 w 349"/>
                <a:gd name="T69" fmla="*/ 273 h 350"/>
                <a:gd name="T70" fmla="*/ 297 w 349"/>
                <a:gd name="T71" fmla="*/ 299 h 350"/>
                <a:gd name="T72" fmla="*/ 272 w 349"/>
                <a:gd name="T73" fmla="*/ 319 h 350"/>
                <a:gd name="T74" fmla="*/ 242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39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29 w 349"/>
                <a:gd name="T89" fmla="*/ 273 h 350"/>
                <a:gd name="T90" fmla="*/ 14 w 349"/>
                <a:gd name="T91" fmla="*/ 243 h 350"/>
                <a:gd name="T92" fmla="*/ 3 w 349"/>
                <a:gd name="T93" fmla="*/ 210 h 350"/>
                <a:gd name="T94" fmla="*/ 0 w 349"/>
                <a:gd name="T95" fmla="*/ 175 h 350"/>
                <a:gd name="T96" fmla="*/ 3 w 349"/>
                <a:gd name="T97" fmla="*/ 140 h 350"/>
                <a:gd name="T98" fmla="*/ 14 w 349"/>
                <a:gd name="T99" fmla="*/ 107 h 350"/>
                <a:gd name="T100" fmla="*/ 29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39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1" y="226"/>
                  </a:lnTo>
                  <a:lnTo>
                    <a:pt x="225" y="213"/>
                  </a:lnTo>
                  <a:lnTo>
                    <a:pt x="234" y="194"/>
                  </a:lnTo>
                  <a:lnTo>
                    <a:pt x="237" y="175"/>
                  </a:lnTo>
                  <a:lnTo>
                    <a:pt x="235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5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4" y="3"/>
                  </a:lnTo>
                  <a:lnTo>
                    <a:pt x="234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8" y="63"/>
                  </a:lnTo>
                  <a:lnTo>
                    <a:pt x="325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5" y="210"/>
                  </a:lnTo>
                  <a:lnTo>
                    <a:pt x="335" y="243"/>
                  </a:lnTo>
                  <a:lnTo>
                    <a:pt x="319" y="273"/>
                  </a:lnTo>
                  <a:lnTo>
                    <a:pt x="297" y="299"/>
                  </a:lnTo>
                  <a:lnTo>
                    <a:pt x="272" y="319"/>
                  </a:lnTo>
                  <a:lnTo>
                    <a:pt x="242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39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29" y="273"/>
                  </a:lnTo>
                  <a:lnTo>
                    <a:pt x="14" y="243"/>
                  </a:lnTo>
                  <a:lnTo>
                    <a:pt x="3" y="210"/>
                  </a:lnTo>
                  <a:lnTo>
                    <a:pt x="0" y="175"/>
                  </a:lnTo>
                  <a:lnTo>
                    <a:pt x="3" y="140"/>
                  </a:lnTo>
                  <a:lnTo>
                    <a:pt x="14" y="107"/>
                  </a:lnTo>
                  <a:lnTo>
                    <a:pt x="29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39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1" name="Freeform 17">
              <a:extLst>
                <a:ext uri="{FF2B5EF4-FFF2-40B4-BE49-F238E27FC236}">
                  <a16:creationId xmlns:a16="http://schemas.microsoft.com/office/drawing/2014/main" id="{67A5F0B0-C078-4A85-9E32-409FF0B3D5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2133" y="6255221"/>
              <a:ext cx="26656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2 w 349"/>
                <a:gd name="T25" fmla="*/ 226 h 350"/>
                <a:gd name="T26" fmla="*/ 226 w 349"/>
                <a:gd name="T27" fmla="*/ 213 h 350"/>
                <a:gd name="T28" fmla="*/ 235 w 349"/>
                <a:gd name="T29" fmla="*/ 194 h 350"/>
                <a:gd name="T30" fmla="*/ 237 w 349"/>
                <a:gd name="T31" fmla="*/ 175 h 350"/>
                <a:gd name="T32" fmla="*/ 236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7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5 w 349"/>
                <a:gd name="T47" fmla="*/ 3 h 350"/>
                <a:gd name="T48" fmla="*/ 235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9 w 349"/>
                <a:gd name="T55" fmla="*/ 63 h 350"/>
                <a:gd name="T56" fmla="*/ 326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6 w 349"/>
                <a:gd name="T65" fmla="*/ 210 h 350"/>
                <a:gd name="T66" fmla="*/ 336 w 349"/>
                <a:gd name="T67" fmla="*/ 243 h 350"/>
                <a:gd name="T68" fmla="*/ 319 w 349"/>
                <a:gd name="T69" fmla="*/ 273 h 350"/>
                <a:gd name="T70" fmla="*/ 298 w 349"/>
                <a:gd name="T71" fmla="*/ 299 h 350"/>
                <a:gd name="T72" fmla="*/ 272 w 349"/>
                <a:gd name="T73" fmla="*/ 319 h 350"/>
                <a:gd name="T74" fmla="*/ 243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40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30 w 349"/>
                <a:gd name="T89" fmla="*/ 273 h 350"/>
                <a:gd name="T90" fmla="*/ 14 w 349"/>
                <a:gd name="T91" fmla="*/ 243 h 350"/>
                <a:gd name="T92" fmla="*/ 4 w 349"/>
                <a:gd name="T93" fmla="*/ 210 h 350"/>
                <a:gd name="T94" fmla="*/ 0 w 349"/>
                <a:gd name="T95" fmla="*/ 175 h 350"/>
                <a:gd name="T96" fmla="*/ 4 w 349"/>
                <a:gd name="T97" fmla="*/ 140 h 350"/>
                <a:gd name="T98" fmla="*/ 14 w 349"/>
                <a:gd name="T99" fmla="*/ 107 h 350"/>
                <a:gd name="T100" fmla="*/ 30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40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7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7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5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19" y="273"/>
                  </a:lnTo>
                  <a:lnTo>
                    <a:pt x="298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2" name="Freeform 18">
              <a:extLst>
                <a:ext uri="{FF2B5EF4-FFF2-40B4-BE49-F238E27FC236}">
                  <a16:creationId xmlns:a16="http://schemas.microsoft.com/office/drawing/2014/main" id="{BF1784DA-3E40-44FD-998D-DB1DD379C0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8357" y="6255221"/>
              <a:ext cx="26428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7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1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7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8 w 350"/>
                <a:gd name="T31" fmla="*/ 175 h 350"/>
                <a:gd name="T32" fmla="*/ 236 w 350"/>
                <a:gd name="T33" fmla="*/ 158 h 350"/>
                <a:gd name="T34" fmla="*/ 229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7 w 350"/>
                <a:gd name="T53" fmla="*/ 41 h 350"/>
                <a:gd name="T54" fmla="*/ 309 w 350"/>
                <a:gd name="T55" fmla="*/ 63 h 350"/>
                <a:gd name="T56" fmla="*/ 326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2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7 w 350"/>
                <a:gd name="T85" fmla="*/ 319 h 350"/>
                <a:gd name="T86" fmla="*/ 51 w 350"/>
                <a:gd name="T87" fmla="*/ 299 h 350"/>
                <a:gd name="T88" fmla="*/ 30 w 350"/>
                <a:gd name="T89" fmla="*/ 273 h 350"/>
                <a:gd name="T90" fmla="*/ 14 w 350"/>
                <a:gd name="T91" fmla="*/ 243 h 350"/>
                <a:gd name="T92" fmla="*/ 4 w 350"/>
                <a:gd name="T93" fmla="*/ 210 h 350"/>
                <a:gd name="T94" fmla="*/ 0 w 350"/>
                <a:gd name="T95" fmla="*/ 175 h 350"/>
                <a:gd name="T96" fmla="*/ 4 w 350"/>
                <a:gd name="T97" fmla="*/ 140 h 350"/>
                <a:gd name="T98" fmla="*/ 14 w 350"/>
                <a:gd name="T99" fmla="*/ 107 h 350"/>
                <a:gd name="T100" fmla="*/ 30 w 350"/>
                <a:gd name="T101" fmla="*/ 78 h 350"/>
                <a:gd name="T102" fmla="*/ 51 w 350"/>
                <a:gd name="T103" fmla="*/ 52 h 350"/>
                <a:gd name="T104" fmla="*/ 77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8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3" name="Freeform 19">
              <a:extLst>
                <a:ext uri="{FF2B5EF4-FFF2-40B4-BE49-F238E27FC236}">
                  <a16:creationId xmlns:a16="http://schemas.microsoft.com/office/drawing/2014/main" id="{FF26547B-24B3-4108-8095-A2794E966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4353" y="6255221"/>
              <a:ext cx="26656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8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3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8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9 w 350"/>
                <a:gd name="T31" fmla="*/ 175 h 350"/>
                <a:gd name="T32" fmla="*/ 236 w 350"/>
                <a:gd name="T33" fmla="*/ 158 h 350"/>
                <a:gd name="T34" fmla="*/ 231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8 w 350"/>
                <a:gd name="T53" fmla="*/ 41 h 350"/>
                <a:gd name="T54" fmla="*/ 309 w 350"/>
                <a:gd name="T55" fmla="*/ 63 h 350"/>
                <a:gd name="T56" fmla="*/ 327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3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8 w 350"/>
                <a:gd name="T85" fmla="*/ 319 h 350"/>
                <a:gd name="T86" fmla="*/ 53 w 350"/>
                <a:gd name="T87" fmla="*/ 299 h 350"/>
                <a:gd name="T88" fmla="*/ 31 w 350"/>
                <a:gd name="T89" fmla="*/ 273 h 350"/>
                <a:gd name="T90" fmla="*/ 15 w 350"/>
                <a:gd name="T91" fmla="*/ 243 h 350"/>
                <a:gd name="T92" fmla="*/ 5 w 350"/>
                <a:gd name="T93" fmla="*/ 210 h 350"/>
                <a:gd name="T94" fmla="*/ 0 w 350"/>
                <a:gd name="T95" fmla="*/ 175 h 350"/>
                <a:gd name="T96" fmla="*/ 5 w 350"/>
                <a:gd name="T97" fmla="*/ 140 h 350"/>
                <a:gd name="T98" fmla="*/ 15 w 350"/>
                <a:gd name="T99" fmla="*/ 107 h 350"/>
                <a:gd name="T100" fmla="*/ 31 w 350"/>
                <a:gd name="T101" fmla="*/ 78 h 350"/>
                <a:gd name="T102" fmla="*/ 53 w 350"/>
                <a:gd name="T103" fmla="*/ 52 h 350"/>
                <a:gd name="T104" fmla="*/ 78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8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3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8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9" y="175"/>
                  </a:lnTo>
                  <a:lnTo>
                    <a:pt x="236" y="158"/>
                  </a:lnTo>
                  <a:lnTo>
                    <a:pt x="231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8" y="41"/>
                  </a:lnTo>
                  <a:lnTo>
                    <a:pt x="309" y="63"/>
                  </a:lnTo>
                  <a:lnTo>
                    <a:pt x="327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3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8" y="319"/>
                  </a:lnTo>
                  <a:lnTo>
                    <a:pt x="53" y="299"/>
                  </a:lnTo>
                  <a:lnTo>
                    <a:pt x="31" y="273"/>
                  </a:lnTo>
                  <a:lnTo>
                    <a:pt x="15" y="243"/>
                  </a:lnTo>
                  <a:lnTo>
                    <a:pt x="5" y="210"/>
                  </a:lnTo>
                  <a:lnTo>
                    <a:pt x="0" y="175"/>
                  </a:lnTo>
                  <a:lnTo>
                    <a:pt x="5" y="140"/>
                  </a:lnTo>
                  <a:lnTo>
                    <a:pt x="15" y="107"/>
                  </a:lnTo>
                  <a:lnTo>
                    <a:pt x="31" y="78"/>
                  </a:lnTo>
                  <a:lnTo>
                    <a:pt x="53" y="52"/>
                  </a:lnTo>
                  <a:lnTo>
                    <a:pt x="78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4" name="Freeform 20">
              <a:extLst>
                <a:ext uri="{FF2B5EF4-FFF2-40B4-BE49-F238E27FC236}">
                  <a16:creationId xmlns:a16="http://schemas.microsoft.com/office/drawing/2014/main" id="{6F553FA1-4728-401A-8C20-F18E165CA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80832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2 h 111"/>
                <a:gd name="T10" fmla="*/ 168 w 171"/>
                <a:gd name="T11" fmla="*/ 37 h 111"/>
                <a:gd name="T12" fmla="*/ 171 w 171"/>
                <a:gd name="T13" fmla="*/ 55 h 111"/>
                <a:gd name="T14" fmla="*/ 168 w 171"/>
                <a:gd name="T15" fmla="*/ 72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8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8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2 h 111"/>
                <a:gd name="T34" fmla="*/ 0 w 171"/>
                <a:gd name="T35" fmla="*/ 55 h 111"/>
                <a:gd name="T36" fmla="*/ 2 w 171"/>
                <a:gd name="T37" fmla="*/ 37 h 111"/>
                <a:gd name="T38" fmla="*/ 10 w 171"/>
                <a:gd name="T39" fmla="*/ 22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2"/>
                  </a:lnTo>
                  <a:lnTo>
                    <a:pt x="168" y="37"/>
                  </a:lnTo>
                  <a:lnTo>
                    <a:pt x="171" y="55"/>
                  </a:lnTo>
                  <a:lnTo>
                    <a:pt x="168" y="72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8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8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2"/>
                  </a:lnTo>
                  <a:lnTo>
                    <a:pt x="0" y="55"/>
                  </a:lnTo>
                  <a:lnTo>
                    <a:pt x="2" y="37"/>
                  </a:lnTo>
                  <a:lnTo>
                    <a:pt x="10" y="22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5" name="Freeform 21">
              <a:extLst>
                <a:ext uri="{FF2B5EF4-FFF2-40B4-BE49-F238E27FC236}">
                  <a16:creationId xmlns:a16="http://schemas.microsoft.com/office/drawing/2014/main" id="{2A783787-5E9B-43C9-9BF4-073950C97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95860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3 h 111"/>
                <a:gd name="T10" fmla="*/ 168 w 171"/>
                <a:gd name="T11" fmla="*/ 38 h 111"/>
                <a:gd name="T12" fmla="*/ 171 w 171"/>
                <a:gd name="T13" fmla="*/ 55 h 111"/>
                <a:gd name="T14" fmla="*/ 168 w 171"/>
                <a:gd name="T15" fmla="*/ 74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9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9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4 h 111"/>
                <a:gd name="T34" fmla="*/ 0 w 171"/>
                <a:gd name="T35" fmla="*/ 55 h 111"/>
                <a:gd name="T36" fmla="*/ 2 w 171"/>
                <a:gd name="T37" fmla="*/ 38 h 111"/>
                <a:gd name="T38" fmla="*/ 10 w 171"/>
                <a:gd name="T39" fmla="*/ 23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3"/>
                  </a:lnTo>
                  <a:lnTo>
                    <a:pt x="168" y="38"/>
                  </a:lnTo>
                  <a:lnTo>
                    <a:pt x="171" y="55"/>
                  </a:lnTo>
                  <a:lnTo>
                    <a:pt x="168" y="74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9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9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4"/>
                  </a:lnTo>
                  <a:lnTo>
                    <a:pt x="0" y="55"/>
                  </a:lnTo>
                  <a:lnTo>
                    <a:pt x="2" y="38"/>
                  </a:lnTo>
                  <a:lnTo>
                    <a:pt x="10" y="23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6" name="Freeform 22">
              <a:extLst>
                <a:ext uri="{FF2B5EF4-FFF2-40B4-BE49-F238E27FC236}">
                  <a16:creationId xmlns:a16="http://schemas.microsoft.com/office/drawing/2014/main" id="{6465D05A-ED22-49B3-924E-6DFC4C8C8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8138" y="5997240"/>
              <a:ext cx="283642" cy="307072"/>
            </a:xfrm>
            <a:custGeom>
              <a:avLst/>
              <a:gdLst>
                <a:gd name="T0" fmla="*/ 185 w 3736"/>
                <a:gd name="T1" fmla="*/ 3069 h 3678"/>
                <a:gd name="T2" fmla="*/ 125 w 3736"/>
                <a:gd name="T3" fmla="*/ 3352 h 3678"/>
                <a:gd name="T4" fmla="*/ 325 w 3736"/>
                <a:gd name="T5" fmla="*/ 3554 h 3678"/>
                <a:gd name="T6" fmla="*/ 2002 w 3736"/>
                <a:gd name="T7" fmla="*/ 3518 h 3678"/>
                <a:gd name="T8" fmla="*/ 2140 w 3736"/>
                <a:gd name="T9" fmla="*/ 3266 h 3678"/>
                <a:gd name="T10" fmla="*/ 2002 w 3736"/>
                <a:gd name="T11" fmla="*/ 3013 h 3678"/>
                <a:gd name="T12" fmla="*/ 943 w 3736"/>
                <a:gd name="T13" fmla="*/ 2853 h 3678"/>
                <a:gd name="T14" fmla="*/ 2970 w 3736"/>
                <a:gd name="T15" fmla="*/ 2765 h 3678"/>
                <a:gd name="T16" fmla="*/ 3240 w 3736"/>
                <a:gd name="T17" fmla="*/ 2787 h 3678"/>
                <a:gd name="T18" fmla="*/ 3506 w 3736"/>
                <a:gd name="T19" fmla="*/ 2599 h 3678"/>
                <a:gd name="T20" fmla="*/ 302 w 3736"/>
                <a:gd name="T21" fmla="*/ 2099 h 3678"/>
                <a:gd name="T22" fmla="*/ 333 w 3736"/>
                <a:gd name="T23" fmla="*/ 2613 h 3678"/>
                <a:gd name="T24" fmla="*/ 3524 w 3736"/>
                <a:gd name="T25" fmla="*/ 1966 h 3678"/>
                <a:gd name="T26" fmla="*/ 3542 w 3736"/>
                <a:gd name="T27" fmla="*/ 2077 h 3678"/>
                <a:gd name="T28" fmla="*/ 3622 w 3736"/>
                <a:gd name="T29" fmla="*/ 1998 h 3678"/>
                <a:gd name="T30" fmla="*/ 893 w 3736"/>
                <a:gd name="T31" fmla="*/ 1458 h 3678"/>
                <a:gd name="T32" fmla="*/ 1843 w 3736"/>
                <a:gd name="T33" fmla="*/ 2616 h 3678"/>
                <a:gd name="T34" fmla="*/ 1132 w 3736"/>
                <a:gd name="T35" fmla="*/ 2414 h 3678"/>
                <a:gd name="T36" fmla="*/ 954 w 3736"/>
                <a:gd name="T37" fmla="*/ 2256 h 3678"/>
                <a:gd name="T38" fmla="*/ 1082 w 3736"/>
                <a:gd name="T39" fmla="*/ 2271 h 3678"/>
                <a:gd name="T40" fmla="*/ 1271 w 3736"/>
                <a:gd name="T41" fmla="*/ 1557 h 3678"/>
                <a:gd name="T42" fmla="*/ 1360 w 3736"/>
                <a:gd name="T43" fmla="*/ 1601 h 3678"/>
                <a:gd name="T44" fmla="*/ 1958 w 3736"/>
                <a:gd name="T45" fmla="*/ 2171 h 3678"/>
                <a:gd name="T46" fmla="*/ 1525 w 3736"/>
                <a:gd name="T47" fmla="*/ 1457 h 3678"/>
                <a:gd name="T48" fmla="*/ 2749 w 3736"/>
                <a:gd name="T49" fmla="*/ 361 h 3678"/>
                <a:gd name="T50" fmla="*/ 3541 w 3736"/>
                <a:gd name="T51" fmla="*/ 1844 h 3678"/>
                <a:gd name="T52" fmla="*/ 1658 w 3736"/>
                <a:gd name="T53" fmla="*/ 1439 h 3678"/>
                <a:gd name="T54" fmla="*/ 2419 w 3736"/>
                <a:gd name="T55" fmla="*/ 427 h 3678"/>
                <a:gd name="T56" fmla="*/ 2498 w 3736"/>
                <a:gd name="T57" fmla="*/ 124 h 3678"/>
                <a:gd name="T58" fmla="*/ 2441 w 3736"/>
                <a:gd name="T59" fmla="*/ 287 h 3678"/>
                <a:gd name="T60" fmla="*/ 2599 w 3736"/>
                <a:gd name="T61" fmla="*/ 347 h 3678"/>
                <a:gd name="T62" fmla="*/ 2672 w 3736"/>
                <a:gd name="T63" fmla="*/ 256 h 3678"/>
                <a:gd name="T64" fmla="*/ 2625 w 3736"/>
                <a:gd name="T65" fmla="*/ 136 h 3678"/>
                <a:gd name="T66" fmla="*/ 2665 w 3736"/>
                <a:gd name="T67" fmla="*/ 28 h 3678"/>
                <a:gd name="T68" fmla="*/ 3734 w 3736"/>
                <a:gd name="T69" fmla="*/ 1986 h 3678"/>
                <a:gd name="T70" fmla="*/ 3646 w 3736"/>
                <a:gd name="T71" fmla="*/ 2170 h 3678"/>
                <a:gd name="T72" fmla="*/ 3580 w 3736"/>
                <a:gd name="T73" fmla="*/ 2724 h 3678"/>
                <a:gd name="T74" fmla="*/ 3180 w 3736"/>
                <a:gd name="T75" fmla="*/ 2918 h 3678"/>
                <a:gd name="T76" fmla="*/ 2865 w 3736"/>
                <a:gd name="T77" fmla="*/ 2826 h 3678"/>
                <a:gd name="T78" fmla="*/ 2459 w 3736"/>
                <a:gd name="T79" fmla="*/ 2397 h 3678"/>
                <a:gd name="T80" fmla="*/ 3431 w 3736"/>
                <a:gd name="T81" fmla="*/ 2200 h 3678"/>
                <a:gd name="T82" fmla="*/ 3506 w 3736"/>
                <a:gd name="T83" fmla="*/ 2183 h 3678"/>
                <a:gd name="T84" fmla="*/ 1983 w 3736"/>
                <a:gd name="T85" fmla="*/ 1926 h 3678"/>
                <a:gd name="T86" fmla="*/ 2073 w 3736"/>
                <a:gd name="T87" fmla="*/ 2433 h 3678"/>
                <a:gd name="T88" fmla="*/ 2059 w 3736"/>
                <a:gd name="T89" fmla="*/ 2469 h 3678"/>
                <a:gd name="T90" fmla="*/ 2043 w 3736"/>
                <a:gd name="T91" fmla="*/ 2482 h 3678"/>
                <a:gd name="T92" fmla="*/ 2024 w 3736"/>
                <a:gd name="T93" fmla="*/ 2489 h 3678"/>
                <a:gd name="T94" fmla="*/ 1942 w 3736"/>
                <a:gd name="T95" fmla="*/ 2705 h 3678"/>
                <a:gd name="T96" fmla="*/ 1890 w 3736"/>
                <a:gd name="T97" fmla="*/ 2857 h 3678"/>
                <a:gd name="T98" fmla="*/ 2177 w 3736"/>
                <a:gd name="T99" fmla="*/ 3030 h 3678"/>
                <a:gd name="T100" fmla="*/ 2238 w 3736"/>
                <a:gd name="T101" fmla="*/ 3367 h 3678"/>
                <a:gd name="T102" fmla="*/ 2032 w 3736"/>
                <a:gd name="T103" fmla="*/ 3630 h 3678"/>
                <a:gd name="T104" fmla="*/ 311 w 3736"/>
                <a:gd name="T105" fmla="*/ 3666 h 3678"/>
                <a:gd name="T106" fmla="*/ 49 w 3736"/>
                <a:gd name="T107" fmla="*/ 3460 h 3678"/>
                <a:gd name="T108" fmla="*/ 28 w 3736"/>
                <a:gd name="T109" fmla="*/ 3116 h 3678"/>
                <a:gd name="T110" fmla="*/ 263 w 3736"/>
                <a:gd name="T111" fmla="*/ 2882 h 3678"/>
                <a:gd name="T112" fmla="*/ 317 w 3736"/>
                <a:gd name="T113" fmla="*/ 2724 h 3678"/>
                <a:gd name="T114" fmla="*/ 178 w 3736"/>
                <a:gd name="T115" fmla="*/ 2553 h 3678"/>
                <a:gd name="T116" fmla="*/ 284 w 3736"/>
                <a:gd name="T117" fmla="*/ 1975 h 3678"/>
                <a:gd name="T118" fmla="*/ 740 w 3736"/>
                <a:gd name="T119" fmla="*/ 1477 h 3678"/>
                <a:gd name="T120" fmla="*/ 963 w 3736"/>
                <a:gd name="T121" fmla="*/ 1310 h 3678"/>
                <a:gd name="T122" fmla="*/ 2410 w 3736"/>
                <a:gd name="T123" fmla="*/ 48 h 3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6" h="3678">
                  <a:moveTo>
                    <a:pt x="413" y="2964"/>
                  </a:moveTo>
                  <a:lnTo>
                    <a:pt x="367" y="2968"/>
                  </a:lnTo>
                  <a:lnTo>
                    <a:pt x="325" y="2978"/>
                  </a:lnTo>
                  <a:lnTo>
                    <a:pt x="286" y="2993"/>
                  </a:lnTo>
                  <a:lnTo>
                    <a:pt x="248" y="3013"/>
                  </a:lnTo>
                  <a:lnTo>
                    <a:pt x="215" y="3039"/>
                  </a:lnTo>
                  <a:lnTo>
                    <a:pt x="185" y="3069"/>
                  </a:lnTo>
                  <a:lnTo>
                    <a:pt x="160" y="3102"/>
                  </a:lnTo>
                  <a:lnTo>
                    <a:pt x="139" y="3139"/>
                  </a:lnTo>
                  <a:lnTo>
                    <a:pt x="125" y="3179"/>
                  </a:lnTo>
                  <a:lnTo>
                    <a:pt x="114" y="3222"/>
                  </a:lnTo>
                  <a:lnTo>
                    <a:pt x="111" y="3266"/>
                  </a:lnTo>
                  <a:lnTo>
                    <a:pt x="114" y="3310"/>
                  </a:lnTo>
                  <a:lnTo>
                    <a:pt x="125" y="3352"/>
                  </a:lnTo>
                  <a:lnTo>
                    <a:pt x="139" y="3393"/>
                  </a:lnTo>
                  <a:lnTo>
                    <a:pt x="160" y="3430"/>
                  </a:lnTo>
                  <a:lnTo>
                    <a:pt x="185" y="3464"/>
                  </a:lnTo>
                  <a:lnTo>
                    <a:pt x="215" y="3493"/>
                  </a:lnTo>
                  <a:lnTo>
                    <a:pt x="248" y="3518"/>
                  </a:lnTo>
                  <a:lnTo>
                    <a:pt x="286" y="3538"/>
                  </a:lnTo>
                  <a:lnTo>
                    <a:pt x="325" y="3554"/>
                  </a:lnTo>
                  <a:lnTo>
                    <a:pt x="367" y="3563"/>
                  </a:lnTo>
                  <a:lnTo>
                    <a:pt x="413" y="3567"/>
                  </a:lnTo>
                  <a:lnTo>
                    <a:pt x="1838" y="3567"/>
                  </a:lnTo>
                  <a:lnTo>
                    <a:pt x="1882" y="3563"/>
                  </a:lnTo>
                  <a:lnTo>
                    <a:pt x="1925" y="3554"/>
                  </a:lnTo>
                  <a:lnTo>
                    <a:pt x="1965" y="3538"/>
                  </a:lnTo>
                  <a:lnTo>
                    <a:pt x="2002" y="3518"/>
                  </a:lnTo>
                  <a:lnTo>
                    <a:pt x="2035" y="3493"/>
                  </a:lnTo>
                  <a:lnTo>
                    <a:pt x="2065" y="3464"/>
                  </a:lnTo>
                  <a:lnTo>
                    <a:pt x="2091" y="3430"/>
                  </a:lnTo>
                  <a:lnTo>
                    <a:pt x="2111" y="3393"/>
                  </a:lnTo>
                  <a:lnTo>
                    <a:pt x="2126" y="3352"/>
                  </a:lnTo>
                  <a:lnTo>
                    <a:pt x="2136" y="3310"/>
                  </a:lnTo>
                  <a:lnTo>
                    <a:pt x="2140" y="3266"/>
                  </a:lnTo>
                  <a:lnTo>
                    <a:pt x="2136" y="3222"/>
                  </a:lnTo>
                  <a:lnTo>
                    <a:pt x="2126" y="3179"/>
                  </a:lnTo>
                  <a:lnTo>
                    <a:pt x="2111" y="3139"/>
                  </a:lnTo>
                  <a:lnTo>
                    <a:pt x="2091" y="3102"/>
                  </a:lnTo>
                  <a:lnTo>
                    <a:pt x="2065" y="3069"/>
                  </a:lnTo>
                  <a:lnTo>
                    <a:pt x="2035" y="3039"/>
                  </a:lnTo>
                  <a:lnTo>
                    <a:pt x="2002" y="3013"/>
                  </a:lnTo>
                  <a:lnTo>
                    <a:pt x="1965" y="2993"/>
                  </a:lnTo>
                  <a:lnTo>
                    <a:pt x="1925" y="2978"/>
                  </a:lnTo>
                  <a:lnTo>
                    <a:pt x="1882" y="2968"/>
                  </a:lnTo>
                  <a:lnTo>
                    <a:pt x="1838" y="2964"/>
                  </a:lnTo>
                  <a:lnTo>
                    <a:pt x="413" y="2964"/>
                  </a:lnTo>
                  <a:close/>
                  <a:moveTo>
                    <a:pt x="943" y="2727"/>
                  </a:moveTo>
                  <a:lnTo>
                    <a:pt x="943" y="2853"/>
                  </a:lnTo>
                  <a:lnTo>
                    <a:pt x="1307" y="2853"/>
                  </a:lnTo>
                  <a:lnTo>
                    <a:pt x="1307" y="2727"/>
                  </a:lnTo>
                  <a:lnTo>
                    <a:pt x="943" y="2727"/>
                  </a:lnTo>
                  <a:close/>
                  <a:moveTo>
                    <a:pt x="3407" y="2328"/>
                  </a:moveTo>
                  <a:lnTo>
                    <a:pt x="2754" y="2590"/>
                  </a:lnTo>
                  <a:lnTo>
                    <a:pt x="2936" y="2741"/>
                  </a:lnTo>
                  <a:lnTo>
                    <a:pt x="2970" y="2765"/>
                  </a:lnTo>
                  <a:lnTo>
                    <a:pt x="3005" y="2783"/>
                  </a:lnTo>
                  <a:lnTo>
                    <a:pt x="3042" y="2797"/>
                  </a:lnTo>
                  <a:lnTo>
                    <a:pt x="3081" y="2806"/>
                  </a:lnTo>
                  <a:lnTo>
                    <a:pt x="3121" y="2809"/>
                  </a:lnTo>
                  <a:lnTo>
                    <a:pt x="3161" y="2808"/>
                  </a:lnTo>
                  <a:lnTo>
                    <a:pt x="3201" y="2800"/>
                  </a:lnTo>
                  <a:lnTo>
                    <a:pt x="3240" y="2787"/>
                  </a:lnTo>
                  <a:lnTo>
                    <a:pt x="3429" y="2711"/>
                  </a:lnTo>
                  <a:lnTo>
                    <a:pt x="3452" y="2700"/>
                  </a:lnTo>
                  <a:lnTo>
                    <a:pt x="3470" y="2684"/>
                  </a:lnTo>
                  <a:lnTo>
                    <a:pt x="3485" y="2666"/>
                  </a:lnTo>
                  <a:lnTo>
                    <a:pt x="3496" y="2646"/>
                  </a:lnTo>
                  <a:lnTo>
                    <a:pt x="3504" y="2623"/>
                  </a:lnTo>
                  <a:lnTo>
                    <a:pt x="3506" y="2599"/>
                  </a:lnTo>
                  <a:lnTo>
                    <a:pt x="3504" y="2575"/>
                  </a:lnTo>
                  <a:lnTo>
                    <a:pt x="3497" y="2551"/>
                  </a:lnTo>
                  <a:lnTo>
                    <a:pt x="3407" y="2328"/>
                  </a:lnTo>
                  <a:close/>
                  <a:moveTo>
                    <a:pt x="353" y="2073"/>
                  </a:moveTo>
                  <a:lnTo>
                    <a:pt x="333" y="2076"/>
                  </a:lnTo>
                  <a:lnTo>
                    <a:pt x="315" y="2085"/>
                  </a:lnTo>
                  <a:lnTo>
                    <a:pt x="302" y="2099"/>
                  </a:lnTo>
                  <a:lnTo>
                    <a:pt x="292" y="2116"/>
                  </a:lnTo>
                  <a:lnTo>
                    <a:pt x="289" y="2136"/>
                  </a:lnTo>
                  <a:lnTo>
                    <a:pt x="289" y="2553"/>
                  </a:lnTo>
                  <a:lnTo>
                    <a:pt x="292" y="2572"/>
                  </a:lnTo>
                  <a:lnTo>
                    <a:pt x="302" y="2590"/>
                  </a:lnTo>
                  <a:lnTo>
                    <a:pt x="315" y="2604"/>
                  </a:lnTo>
                  <a:lnTo>
                    <a:pt x="333" y="2613"/>
                  </a:lnTo>
                  <a:lnTo>
                    <a:pt x="353" y="2616"/>
                  </a:lnTo>
                  <a:lnTo>
                    <a:pt x="713" y="2616"/>
                  </a:lnTo>
                  <a:lnTo>
                    <a:pt x="713" y="2073"/>
                  </a:lnTo>
                  <a:lnTo>
                    <a:pt x="353" y="2073"/>
                  </a:lnTo>
                  <a:close/>
                  <a:moveTo>
                    <a:pt x="3562" y="1955"/>
                  </a:moveTo>
                  <a:lnTo>
                    <a:pt x="3542" y="1957"/>
                  </a:lnTo>
                  <a:lnTo>
                    <a:pt x="3524" y="1966"/>
                  </a:lnTo>
                  <a:lnTo>
                    <a:pt x="3511" y="1980"/>
                  </a:lnTo>
                  <a:lnTo>
                    <a:pt x="3502" y="1998"/>
                  </a:lnTo>
                  <a:lnTo>
                    <a:pt x="3498" y="2017"/>
                  </a:lnTo>
                  <a:lnTo>
                    <a:pt x="3502" y="2038"/>
                  </a:lnTo>
                  <a:lnTo>
                    <a:pt x="3511" y="2055"/>
                  </a:lnTo>
                  <a:lnTo>
                    <a:pt x="3524" y="2068"/>
                  </a:lnTo>
                  <a:lnTo>
                    <a:pt x="3542" y="2077"/>
                  </a:lnTo>
                  <a:lnTo>
                    <a:pt x="3562" y="2081"/>
                  </a:lnTo>
                  <a:lnTo>
                    <a:pt x="3582" y="2077"/>
                  </a:lnTo>
                  <a:lnTo>
                    <a:pt x="3599" y="2068"/>
                  </a:lnTo>
                  <a:lnTo>
                    <a:pt x="3613" y="2055"/>
                  </a:lnTo>
                  <a:lnTo>
                    <a:pt x="3622" y="2038"/>
                  </a:lnTo>
                  <a:lnTo>
                    <a:pt x="3625" y="2017"/>
                  </a:lnTo>
                  <a:lnTo>
                    <a:pt x="3622" y="1998"/>
                  </a:lnTo>
                  <a:lnTo>
                    <a:pt x="3613" y="1980"/>
                  </a:lnTo>
                  <a:lnTo>
                    <a:pt x="3599" y="1966"/>
                  </a:lnTo>
                  <a:lnTo>
                    <a:pt x="3582" y="1957"/>
                  </a:lnTo>
                  <a:lnTo>
                    <a:pt x="3562" y="1955"/>
                  </a:lnTo>
                  <a:close/>
                  <a:moveTo>
                    <a:pt x="950" y="1428"/>
                  </a:moveTo>
                  <a:lnTo>
                    <a:pt x="921" y="1441"/>
                  </a:lnTo>
                  <a:lnTo>
                    <a:pt x="893" y="1458"/>
                  </a:lnTo>
                  <a:lnTo>
                    <a:pt x="871" y="1481"/>
                  </a:lnTo>
                  <a:lnTo>
                    <a:pt x="851" y="1507"/>
                  </a:lnTo>
                  <a:lnTo>
                    <a:pt x="837" y="1536"/>
                  </a:lnTo>
                  <a:lnTo>
                    <a:pt x="828" y="1568"/>
                  </a:lnTo>
                  <a:lnTo>
                    <a:pt x="824" y="1601"/>
                  </a:lnTo>
                  <a:lnTo>
                    <a:pt x="824" y="2616"/>
                  </a:lnTo>
                  <a:lnTo>
                    <a:pt x="1843" y="2616"/>
                  </a:lnTo>
                  <a:lnTo>
                    <a:pt x="1843" y="2489"/>
                  </a:lnTo>
                  <a:lnTo>
                    <a:pt x="1556" y="2489"/>
                  </a:lnTo>
                  <a:lnTo>
                    <a:pt x="1468" y="2487"/>
                  </a:lnTo>
                  <a:lnTo>
                    <a:pt x="1382" y="2478"/>
                  </a:lnTo>
                  <a:lnTo>
                    <a:pt x="1297" y="2462"/>
                  </a:lnTo>
                  <a:lnTo>
                    <a:pt x="1213" y="2441"/>
                  </a:lnTo>
                  <a:lnTo>
                    <a:pt x="1132" y="2414"/>
                  </a:lnTo>
                  <a:lnTo>
                    <a:pt x="1050" y="2382"/>
                  </a:lnTo>
                  <a:lnTo>
                    <a:pt x="1026" y="2369"/>
                  </a:lnTo>
                  <a:lnTo>
                    <a:pt x="1005" y="2352"/>
                  </a:lnTo>
                  <a:lnTo>
                    <a:pt x="985" y="2331"/>
                  </a:lnTo>
                  <a:lnTo>
                    <a:pt x="971" y="2309"/>
                  </a:lnTo>
                  <a:lnTo>
                    <a:pt x="960" y="2284"/>
                  </a:lnTo>
                  <a:lnTo>
                    <a:pt x="954" y="2256"/>
                  </a:lnTo>
                  <a:lnTo>
                    <a:pt x="950" y="2228"/>
                  </a:lnTo>
                  <a:lnTo>
                    <a:pt x="950" y="1428"/>
                  </a:lnTo>
                  <a:close/>
                  <a:moveTo>
                    <a:pt x="1062" y="1419"/>
                  </a:moveTo>
                  <a:lnTo>
                    <a:pt x="1062" y="2228"/>
                  </a:lnTo>
                  <a:lnTo>
                    <a:pt x="1065" y="2245"/>
                  </a:lnTo>
                  <a:lnTo>
                    <a:pt x="1071" y="2259"/>
                  </a:lnTo>
                  <a:lnTo>
                    <a:pt x="1082" y="2271"/>
                  </a:lnTo>
                  <a:lnTo>
                    <a:pt x="1095" y="2280"/>
                  </a:lnTo>
                  <a:lnTo>
                    <a:pt x="1171" y="2311"/>
                  </a:lnTo>
                  <a:lnTo>
                    <a:pt x="1248" y="2335"/>
                  </a:lnTo>
                  <a:lnTo>
                    <a:pt x="1248" y="1601"/>
                  </a:lnTo>
                  <a:lnTo>
                    <a:pt x="1251" y="1584"/>
                  </a:lnTo>
                  <a:lnTo>
                    <a:pt x="1259" y="1568"/>
                  </a:lnTo>
                  <a:lnTo>
                    <a:pt x="1271" y="1557"/>
                  </a:lnTo>
                  <a:lnTo>
                    <a:pt x="1286" y="1549"/>
                  </a:lnTo>
                  <a:lnTo>
                    <a:pt x="1304" y="1545"/>
                  </a:lnTo>
                  <a:lnTo>
                    <a:pt x="1321" y="1549"/>
                  </a:lnTo>
                  <a:lnTo>
                    <a:pt x="1337" y="1557"/>
                  </a:lnTo>
                  <a:lnTo>
                    <a:pt x="1348" y="1568"/>
                  </a:lnTo>
                  <a:lnTo>
                    <a:pt x="1356" y="1584"/>
                  </a:lnTo>
                  <a:lnTo>
                    <a:pt x="1360" y="1601"/>
                  </a:lnTo>
                  <a:lnTo>
                    <a:pt x="1360" y="2361"/>
                  </a:lnTo>
                  <a:lnTo>
                    <a:pt x="1424" y="2370"/>
                  </a:lnTo>
                  <a:lnTo>
                    <a:pt x="1490" y="2376"/>
                  </a:lnTo>
                  <a:lnTo>
                    <a:pt x="1556" y="2378"/>
                  </a:lnTo>
                  <a:lnTo>
                    <a:pt x="1961" y="2378"/>
                  </a:lnTo>
                  <a:lnTo>
                    <a:pt x="1961" y="2221"/>
                  </a:lnTo>
                  <a:lnTo>
                    <a:pt x="1958" y="2171"/>
                  </a:lnTo>
                  <a:lnTo>
                    <a:pt x="1949" y="2123"/>
                  </a:lnTo>
                  <a:lnTo>
                    <a:pt x="1936" y="2076"/>
                  </a:lnTo>
                  <a:lnTo>
                    <a:pt x="1915" y="2031"/>
                  </a:lnTo>
                  <a:lnTo>
                    <a:pt x="1890" y="1988"/>
                  </a:lnTo>
                  <a:lnTo>
                    <a:pt x="1566" y="1500"/>
                  </a:lnTo>
                  <a:lnTo>
                    <a:pt x="1547" y="1477"/>
                  </a:lnTo>
                  <a:lnTo>
                    <a:pt x="1525" y="1457"/>
                  </a:lnTo>
                  <a:lnTo>
                    <a:pt x="1500" y="1441"/>
                  </a:lnTo>
                  <a:lnTo>
                    <a:pt x="1473" y="1428"/>
                  </a:lnTo>
                  <a:lnTo>
                    <a:pt x="1445" y="1422"/>
                  </a:lnTo>
                  <a:lnTo>
                    <a:pt x="1414" y="1419"/>
                  </a:lnTo>
                  <a:lnTo>
                    <a:pt x="1062" y="1419"/>
                  </a:lnTo>
                  <a:close/>
                  <a:moveTo>
                    <a:pt x="2753" y="353"/>
                  </a:moveTo>
                  <a:lnTo>
                    <a:pt x="2749" y="361"/>
                  </a:lnTo>
                  <a:lnTo>
                    <a:pt x="2571" y="659"/>
                  </a:lnTo>
                  <a:lnTo>
                    <a:pt x="3419" y="1917"/>
                  </a:lnTo>
                  <a:lnTo>
                    <a:pt x="3437" y="1895"/>
                  </a:lnTo>
                  <a:lnTo>
                    <a:pt x="3460" y="1876"/>
                  </a:lnTo>
                  <a:lnTo>
                    <a:pt x="3485" y="1861"/>
                  </a:lnTo>
                  <a:lnTo>
                    <a:pt x="3512" y="1850"/>
                  </a:lnTo>
                  <a:lnTo>
                    <a:pt x="3541" y="1844"/>
                  </a:lnTo>
                  <a:lnTo>
                    <a:pt x="2753" y="353"/>
                  </a:lnTo>
                  <a:close/>
                  <a:moveTo>
                    <a:pt x="2334" y="320"/>
                  </a:moveTo>
                  <a:lnTo>
                    <a:pt x="1562" y="1348"/>
                  </a:lnTo>
                  <a:lnTo>
                    <a:pt x="1590" y="1366"/>
                  </a:lnTo>
                  <a:lnTo>
                    <a:pt x="1616" y="1387"/>
                  </a:lnTo>
                  <a:lnTo>
                    <a:pt x="1638" y="1411"/>
                  </a:lnTo>
                  <a:lnTo>
                    <a:pt x="1658" y="1439"/>
                  </a:lnTo>
                  <a:lnTo>
                    <a:pt x="1827" y="1690"/>
                  </a:lnTo>
                  <a:lnTo>
                    <a:pt x="2555" y="467"/>
                  </a:lnTo>
                  <a:lnTo>
                    <a:pt x="2551" y="467"/>
                  </a:lnTo>
                  <a:lnTo>
                    <a:pt x="2515" y="465"/>
                  </a:lnTo>
                  <a:lnTo>
                    <a:pt x="2481" y="457"/>
                  </a:lnTo>
                  <a:lnTo>
                    <a:pt x="2448" y="444"/>
                  </a:lnTo>
                  <a:lnTo>
                    <a:pt x="2419" y="427"/>
                  </a:lnTo>
                  <a:lnTo>
                    <a:pt x="2391" y="405"/>
                  </a:lnTo>
                  <a:lnTo>
                    <a:pt x="2369" y="380"/>
                  </a:lnTo>
                  <a:lnTo>
                    <a:pt x="2349" y="351"/>
                  </a:lnTo>
                  <a:lnTo>
                    <a:pt x="2334" y="320"/>
                  </a:lnTo>
                  <a:close/>
                  <a:moveTo>
                    <a:pt x="2551" y="111"/>
                  </a:moveTo>
                  <a:lnTo>
                    <a:pt x="2523" y="115"/>
                  </a:lnTo>
                  <a:lnTo>
                    <a:pt x="2498" y="124"/>
                  </a:lnTo>
                  <a:lnTo>
                    <a:pt x="2475" y="138"/>
                  </a:lnTo>
                  <a:lnTo>
                    <a:pt x="2456" y="157"/>
                  </a:lnTo>
                  <a:lnTo>
                    <a:pt x="2441" y="180"/>
                  </a:lnTo>
                  <a:lnTo>
                    <a:pt x="2432" y="205"/>
                  </a:lnTo>
                  <a:lnTo>
                    <a:pt x="2429" y="234"/>
                  </a:lnTo>
                  <a:lnTo>
                    <a:pt x="2432" y="262"/>
                  </a:lnTo>
                  <a:lnTo>
                    <a:pt x="2441" y="287"/>
                  </a:lnTo>
                  <a:lnTo>
                    <a:pt x="2456" y="311"/>
                  </a:lnTo>
                  <a:lnTo>
                    <a:pt x="2475" y="329"/>
                  </a:lnTo>
                  <a:lnTo>
                    <a:pt x="2498" y="344"/>
                  </a:lnTo>
                  <a:lnTo>
                    <a:pt x="2523" y="353"/>
                  </a:lnTo>
                  <a:lnTo>
                    <a:pt x="2551" y="356"/>
                  </a:lnTo>
                  <a:lnTo>
                    <a:pt x="2576" y="354"/>
                  </a:lnTo>
                  <a:lnTo>
                    <a:pt x="2599" y="347"/>
                  </a:lnTo>
                  <a:lnTo>
                    <a:pt x="2619" y="336"/>
                  </a:lnTo>
                  <a:lnTo>
                    <a:pt x="2638" y="321"/>
                  </a:lnTo>
                  <a:lnTo>
                    <a:pt x="2653" y="303"/>
                  </a:lnTo>
                  <a:lnTo>
                    <a:pt x="2656" y="298"/>
                  </a:lnTo>
                  <a:lnTo>
                    <a:pt x="2657" y="297"/>
                  </a:lnTo>
                  <a:lnTo>
                    <a:pt x="2666" y="278"/>
                  </a:lnTo>
                  <a:lnTo>
                    <a:pt x="2672" y="256"/>
                  </a:lnTo>
                  <a:lnTo>
                    <a:pt x="2674" y="234"/>
                  </a:lnTo>
                  <a:lnTo>
                    <a:pt x="2672" y="210"/>
                  </a:lnTo>
                  <a:lnTo>
                    <a:pt x="2665" y="187"/>
                  </a:lnTo>
                  <a:lnTo>
                    <a:pt x="2661" y="180"/>
                  </a:lnTo>
                  <a:lnTo>
                    <a:pt x="2658" y="174"/>
                  </a:lnTo>
                  <a:lnTo>
                    <a:pt x="2643" y="153"/>
                  </a:lnTo>
                  <a:lnTo>
                    <a:pt x="2625" y="136"/>
                  </a:lnTo>
                  <a:lnTo>
                    <a:pt x="2603" y="123"/>
                  </a:lnTo>
                  <a:lnTo>
                    <a:pt x="2579" y="115"/>
                  </a:lnTo>
                  <a:lnTo>
                    <a:pt x="2551" y="111"/>
                  </a:lnTo>
                  <a:close/>
                  <a:moveTo>
                    <a:pt x="2551" y="0"/>
                  </a:moveTo>
                  <a:lnTo>
                    <a:pt x="2591" y="3"/>
                  </a:lnTo>
                  <a:lnTo>
                    <a:pt x="2630" y="12"/>
                  </a:lnTo>
                  <a:lnTo>
                    <a:pt x="2665" y="28"/>
                  </a:lnTo>
                  <a:lnTo>
                    <a:pt x="2696" y="50"/>
                  </a:lnTo>
                  <a:lnTo>
                    <a:pt x="2724" y="75"/>
                  </a:lnTo>
                  <a:lnTo>
                    <a:pt x="2747" y="106"/>
                  </a:lnTo>
                  <a:lnTo>
                    <a:pt x="2766" y="138"/>
                  </a:lnTo>
                  <a:lnTo>
                    <a:pt x="3713" y="1930"/>
                  </a:lnTo>
                  <a:lnTo>
                    <a:pt x="3726" y="1957"/>
                  </a:lnTo>
                  <a:lnTo>
                    <a:pt x="3734" y="1986"/>
                  </a:lnTo>
                  <a:lnTo>
                    <a:pt x="3736" y="2017"/>
                  </a:lnTo>
                  <a:lnTo>
                    <a:pt x="3733" y="2050"/>
                  </a:lnTo>
                  <a:lnTo>
                    <a:pt x="3725" y="2080"/>
                  </a:lnTo>
                  <a:lnTo>
                    <a:pt x="3711" y="2108"/>
                  </a:lnTo>
                  <a:lnTo>
                    <a:pt x="3693" y="2132"/>
                  </a:lnTo>
                  <a:lnTo>
                    <a:pt x="3672" y="2153"/>
                  </a:lnTo>
                  <a:lnTo>
                    <a:pt x="3646" y="2170"/>
                  </a:lnTo>
                  <a:lnTo>
                    <a:pt x="3617" y="2183"/>
                  </a:lnTo>
                  <a:lnTo>
                    <a:pt x="3617" y="2612"/>
                  </a:lnTo>
                  <a:lnTo>
                    <a:pt x="3617" y="2620"/>
                  </a:lnTo>
                  <a:lnTo>
                    <a:pt x="3616" y="2626"/>
                  </a:lnTo>
                  <a:lnTo>
                    <a:pt x="3609" y="2660"/>
                  </a:lnTo>
                  <a:lnTo>
                    <a:pt x="3597" y="2693"/>
                  </a:lnTo>
                  <a:lnTo>
                    <a:pt x="3580" y="2724"/>
                  </a:lnTo>
                  <a:lnTo>
                    <a:pt x="3559" y="2752"/>
                  </a:lnTo>
                  <a:lnTo>
                    <a:pt x="3533" y="2777"/>
                  </a:lnTo>
                  <a:lnTo>
                    <a:pt x="3504" y="2799"/>
                  </a:lnTo>
                  <a:lnTo>
                    <a:pt x="3471" y="2815"/>
                  </a:lnTo>
                  <a:lnTo>
                    <a:pt x="3282" y="2891"/>
                  </a:lnTo>
                  <a:lnTo>
                    <a:pt x="3231" y="2908"/>
                  </a:lnTo>
                  <a:lnTo>
                    <a:pt x="3180" y="2918"/>
                  </a:lnTo>
                  <a:lnTo>
                    <a:pt x="3127" y="2920"/>
                  </a:lnTo>
                  <a:lnTo>
                    <a:pt x="3081" y="2918"/>
                  </a:lnTo>
                  <a:lnTo>
                    <a:pt x="3034" y="2910"/>
                  </a:lnTo>
                  <a:lnTo>
                    <a:pt x="2989" y="2896"/>
                  </a:lnTo>
                  <a:lnTo>
                    <a:pt x="2946" y="2878"/>
                  </a:lnTo>
                  <a:lnTo>
                    <a:pt x="2904" y="2855"/>
                  </a:lnTo>
                  <a:lnTo>
                    <a:pt x="2865" y="2826"/>
                  </a:lnTo>
                  <a:lnTo>
                    <a:pt x="2454" y="2487"/>
                  </a:lnTo>
                  <a:lnTo>
                    <a:pt x="2442" y="2474"/>
                  </a:lnTo>
                  <a:lnTo>
                    <a:pt x="2436" y="2458"/>
                  </a:lnTo>
                  <a:lnTo>
                    <a:pt x="2433" y="2441"/>
                  </a:lnTo>
                  <a:lnTo>
                    <a:pt x="2438" y="2424"/>
                  </a:lnTo>
                  <a:lnTo>
                    <a:pt x="2447" y="2409"/>
                  </a:lnTo>
                  <a:lnTo>
                    <a:pt x="2459" y="2397"/>
                  </a:lnTo>
                  <a:lnTo>
                    <a:pt x="2475" y="2390"/>
                  </a:lnTo>
                  <a:lnTo>
                    <a:pt x="2492" y="2388"/>
                  </a:lnTo>
                  <a:lnTo>
                    <a:pt x="2509" y="2393"/>
                  </a:lnTo>
                  <a:lnTo>
                    <a:pt x="2525" y="2402"/>
                  </a:lnTo>
                  <a:lnTo>
                    <a:pt x="2656" y="2509"/>
                  </a:lnTo>
                  <a:lnTo>
                    <a:pt x="3418" y="2203"/>
                  </a:lnTo>
                  <a:lnTo>
                    <a:pt x="3431" y="2200"/>
                  </a:lnTo>
                  <a:lnTo>
                    <a:pt x="3446" y="2200"/>
                  </a:lnTo>
                  <a:lnTo>
                    <a:pt x="3460" y="2204"/>
                  </a:lnTo>
                  <a:lnTo>
                    <a:pt x="3472" y="2211"/>
                  </a:lnTo>
                  <a:lnTo>
                    <a:pt x="3482" y="2221"/>
                  </a:lnTo>
                  <a:lnTo>
                    <a:pt x="3490" y="2235"/>
                  </a:lnTo>
                  <a:lnTo>
                    <a:pt x="3506" y="2275"/>
                  </a:lnTo>
                  <a:lnTo>
                    <a:pt x="3506" y="2183"/>
                  </a:lnTo>
                  <a:lnTo>
                    <a:pt x="3478" y="2170"/>
                  </a:lnTo>
                  <a:lnTo>
                    <a:pt x="3452" y="2152"/>
                  </a:lnTo>
                  <a:lnTo>
                    <a:pt x="3429" y="2131"/>
                  </a:lnTo>
                  <a:lnTo>
                    <a:pt x="3411" y="2106"/>
                  </a:lnTo>
                  <a:lnTo>
                    <a:pt x="2507" y="766"/>
                  </a:lnTo>
                  <a:lnTo>
                    <a:pt x="1895" y="1794"/>
                  </a:lnTo>
                  <a:lnTo>
                    <a:pt x="1983" y="1926"/>
                  </a:lnTo>
                  <a:lnTo>
                    <a:pt x="2010" y="1971"/>
                  </a:lnTo>
                  <a:lnTo>
                    <a:pt x="2032" y="2018"/>
                  </a:lnTo>
                  <a:lnTo>
                    <a:pt x="2050" y="2067"/>
                  </a:lnTo>
                  <a:lnTo>
                    <a:pt x="2063" y="2117"/>
                  </a:lnTo>
                  <a:lnTo>
                    <a:pt x="2069" y="2168"/>
                  </a:lnTo>
                  <a:lnTo>
                    <a:pt x="2073" y="2221"/>
                  </a:lnTo>
                  <a:lnTo>
                    <a:pt x="2073" y="2433"/>
                  </a:lnTo>
                  <a:lnTo>
                    <a:pt x="2072" y="2441"/>
                  </a:lnTo>
                  <a:lnTo>
                    <a:pt x="2069" y="2452"/>
                  </a:lnTo>
                  <a:lnTo>
                    <a:pt x="2066" y="2460"/>
                  </a:lnTo>
                  <a:lnTo>
                    <a:pt x="2064" y="2463"/>
                  </a:lnTo>
                  <a:lnTo>
                    <a:pt x="2063" y="2465"/>
                  </a:lnTo>
                  <a:lnTo>
                    <a:pt x="2060" y="2469"/>
                  </a:lnTo>
                  <a:lnTo>
                    <a:pt x="2059" y="2469"/>
                  </a:lnTo>
                  <a:lnTo>
                    <a:pt x="2058" y="2471"/>
                  </a:lnTo>
                  <a:lnTo>
                    <a:pt x="2056" y="2473"/>
                  </a:lnTo>
                  <a:lnTo>
                    <a:pt x="2055" y="2474"/>
                  </a:lnTo>
                  <a:lnTo>
                    <a:pt x="2052" y="2477"/>
                  </a:lnTo>
                  <a:lnTo>
                    <a:pt x="2050" y="2478"/>
                  </a:lnTo>
                  <a:lnTo>
                    <a:pt x="2048" y="2480"/>
                  </a:lnTo>
                  <a:lnTo>
                    <a:pt x="2043" y="2482"/>
                  </a:lnTo>
                  <a:lnTo>
                    <a:pt x="2039" y="2485"/>
                  </a:lnTo>
                  <a:lnTo>
                    <a:pt x="2039" y="2485"/>
                  </a:lnTo>
                  <a:lnTo>
                    <a:pt x="2035" y="2486"/>
                  </a:lnTo>
                  <a:lnTo>
                    <a:pt x="2033" y="2487"/>
                  </a:lnTo>
                  <a:lnTo>
                    <a:pt x="2031" y="2488"/>
                  </a:lnTo>
                  <a:lnTo>
                    <a:pt x="2027" y="2488"/>
                  </a:lnTo>
                  <a:lnTo>
                    <a:pt x="2024" y="2489"/>
                  </a:lnTo>
                  <a:lnTo>
                    <a:pt x="2023" y="2489"/>
                  </a:lnTo>
                  <a:lnTo>
                    <a:pt x="2019" y="2489"/>
                  </a:lnTo>
                  <a:lnTo>
                    <a:pt x="2017" y="2489"/>
                  </a:lnTo>
                  <a:lnTo>
                    <a:pt x="1954" y="2489"/>
                  </a:lnTo>
                  <a:lnTo>
                    <a:pt x="1954" y="2672"/>
                  </a:lnTo>
                  <a:lnTo>
                    <a:pt x="1950" y="2689"/>
                  </a:lnTo>
                  <a:lnTo>
                    <a:pt x="1942" y="2705"/>
                  </a:lnTo>
                  <a:lnTo>
                    <a:pt x="1931" y="2716"/>
                  </a:lnTo>
                  <a:lnTo>
                    <a:pt x="1915" y="2724"/>
                  </a:lnTo>
                  <a:lnTo>
                    <a:pt x="1898" y="2727"/>
                  </a:lnTo>
                  <a:lnTo>
                    <a:pt x="1418" y="2727"/>
                  </a:lnTo>
                  <a:lnTo>
                    <a:pt x="1418" y="2853"/>
                  </a:lnTo>
                  <a:lnTo>
                    <a:pt x="1838" y="2853"/>
                  </a:lnTo>
                  <a:lnTo>
                    <a:pt x="1890" y="2857"/>
                  </a:lnTo>
                  <a:lnTo>
                    <a:pt x="1940" y="2866"/>
                  </a:lnTo>
                  <a:lnTo>
                    <a:pt x="1988" y="2882"/>
                  </a:lnTo>
                  <a:lnTo>
                    <a:pt x="2032" y="2902"/>
                  </a:lnTo>
                  <a:lnTo>
                    <a:pt x="2074" y="2927"/>
                  </a:lnTo>
                  <a:lnTo>
                    <a:pt x="2112" y="2958"/>
                  </a:lnTo>
                  <a:lnTo>
                    <a:pt x="2146" y="2992"/>
                  </a:lnTo>
                  <a:lnTo>
                    <a:pt x="2177" y="3030"/>
                  </a:lnTo>
                  <a:lnTo>
                    <a:pt x="2202" y="3072"/>
                  </a:lnTo>
                  <a:lnTo>
                    <a:pt x="2222" y="3116"/>
                  </a:lnTo>
                  <a:lnTo>
                    <a:pt x="2238" y="3164"/>
                  </a:lnTo>
                  <a:lnTo>
                    <a:pt x="2247" y="3214"/>
                  </a:lnTo>
                  <a:lnTo>
                    <a:pt x="2251" y="3266"/>
                  </a:lnTo>
                  <a:lnTo>
                    <a:pt x="2247" y="3317"/>
                  </a:lnTo>
                  <a:lnTo>
                    <a:pt x="2238" y="3367"/>
                  </a:lnTo>
                  <a:lnTo>
                    <a:pt x="2222" y="3415"/>
                  </a:lnTo>
                  <a:lnTo>
                    <a:pt x="2202" y="3460"/>
                  </a:lnTo>
                  <a:lnTo>
                    <a:pt x="2177" y="3501"/>
                  </a:lnTo>
                  <a:lnTo>
                    <a:pt x="2146" y="3540"/>
                  </a:lnTo>
                  <a:lnTo>
                    <a:pt x="2112" y="3574"/>
                  </a:lnTo>
                  <a:lnTo>
                    <a:pt x="2074" y="3604"/>
                  </a:lnTo>
                  <a:lnTo>
                    <a:pt x="2032" y="3630"/>
                  </a:lnTo>
                  <a:lnTo>
                    <a:pt x="1988" y="3651"/>
                  </a:lnTo>
                  <a:lnTo>
                    <a:pt x="1940" y="3666"/>
                  </a:lnTo>
                  <a:lnTo>
                    <a:pt x="1890" y="3676"/>
                  </a:lnTo>
                  <a:lnTo>
                    <a:pt x="1838" y="3678"/>
                  </a:lnTo>
                  <a:lnTo>
                    <a:pt x="413" y="3678"/>
                  </a:lnTo>
                  <a:lnTo>
                    <a:pt x="360" y="3676"/>
                  </a:lnTo>
                  <a:lnTo>
                    <a:pt x="311" y="3666"/>
                  </a:lnTo>
                  <a:lnTo>
                    <a:pt x="263" y="3651"/>
                  </a:lnTo>
                  <a:lnTo>
                    <a:pt x="219" y="3630"/>
                  </a:lnTo>
                  <a:lnTo>
                    <a:pt x="177" y="3604"/>
                  </a:lnTo>
                  <a:lnTo>
                    <a:pt x="138" y="3574"/>
                  </a:lnTo>
                  <a:lnTo>
                    <a:pt x="104" y="3540"/>
                  </a:lnTo>
                  <a:lnTo>
                    <a:pt x="74" y="3501"/>
                  </a:lnTo>
                  <a:lnTo>
                    <a:pt x="49" y="3460"/>
                  </a:lnTo>
                  <a:lnTo>
                    <a:pt x="28" y="3415"/>
                  </a:lnTo>
                  <a:lnTo>
                    <a:pt x="12" y="3367"/>
                  </a:lnTo>
                  <a:lnTo>
                    <a:pt x="3" y="3317"/>
                  </a:lnTo>
                  <a:lnTo>
                    <a:pt x="0" y="3266"/>
                  </a:lnTo>
                  <a:lnTo>
                    <a:pt x="3" y="3214"/>
                  </a:lnTo>
                  <a:lnTo>
                    <a:pt x="12" y="3164"/>
                  </a:lnTo>
                  <a:lnTo>
                    <a:pt x="28" y="3116"/>
                  </a:lnTo>
                  <a:lnTo>
                    <a:pt x="49" y="3072"/>
                  </a:lnTo>
                  <a:lnTo>
                    <a:pt x="74" y="3030"/>
                  </a:lnTo>
                  <a:lnTo>
                    <a:pt x="104" y="2992"/>
                  </a:lnTo>
                  <a:lnTo>
                    <a:pt x="138" y="2958"/>
                  </a:lnTo>
                  <a:lnTo>
                    <a:pt x="177" y="2927"/>
                  </a:lnTo>
                  <a:lnTo>
                    <a:pt x="219" y="2902"/>
                  </a:lnTo>
                  <a:lnTo>
                    <a:pt x="263" y="2882"/>
                  </a:lnTo>
                  <a:lnTo>
                    <a:pt x="311" y="2866"/>
                  </a:lnTo>
                  <a:lnTo>
                    <a:pt x="360" y="2857"/>
                  </a:lnTo>
                  <a:lnTo>
                    <a:pt x="413" y="2853"/>
                  </a:lnTo>
                  <a:lnTo>
                    <a:pt x="832" y="2853"/>
                  </a:lnTo>
                  <a:lnTo>
                    <a:pt x="832" y="2727"/>
                  </a:lnTo>
                  <a:lnTo>
                    <a:pt x="353" y="2727"/>
                  </a:lnTo>
                  <a:lnTo>
                    <a:pt x="317" y="2724"/>
                  </a:lnTo>
                  <a:lnTo>
                    <a:pt x="284" y="2714"/>
                  </a:lnTo>
                  <a:lnTo>
                    <a:pt x="255" y="2698"/>
                  </a:lnTo>
                  <a:lnTo>
                    <a:pt x="229" y="2676"/>
                  </a:lnTo>
                  <a:lnTo>
                    <a:pt x="209" y="2650"/>
                  </a:lnTo>
                  <a:lnTo>
                    <a:pt x="192" y="2621"/>
                  </a:lnTo>
                  <a:lnTo>
                    <a:pt x="181" y="2588"/>
                  </a:lnTo>
                  <a:lnTo>
                    <a:pt x="178" y="2553"/>
                  </a:lnTo>
                  <a:lnTo>
                    <a:pt x="178" y="2136"/>
                  </a:lnTo>
                  <a:lnTo>
                    <a:pt x="181" y="2101"/>
                  </a:lnTo>
                  <a:lnTo>
                    <a:pt x="192" y="2068"/>
                  </a:lnTo>
                  <a:lnTo>
                    <a:pt x="209" y="2039"/>
                  </a:lnTo>
                  <a:lnTo>
                    <a:pt x="229" y="2013"/>
                  </a:lnTo>
                  <a:lnTo>
                    <a:pt x="255" y="1991"/>
                  </a:lnTo>
                  <a:lnTo>
                    <a:pt x="284" y="1975"/>
                  </a:lnTo>
                  <a:lnTo>
                    <a:pt x="317" y="1965"/>
                  </a:lnTo>
                  <a:lnTo>
                    <a:pt x="353" y="1962"/>
                  </a:lnTo>
                  <a:lnTo>
                    <a:pt x="713" y="1962"/>
                  </a:lnTo>
                  <a:lnTo>
                    <a:pt x="713" y="1601"/>
                  </a:lnTo>
                  <a:lnTo>
                    <a:pt x="717" y="1558"/>
                  </a:lnTo>
                  <a:lnTo>
                    <a:pt x="726" y="1517"/>
                  </a:lnTo>
                  <a:lnTo>
                    <a:pt x="740" y="1477"/>
                  </a:lnTo>
                  <a:lnTo>
                    <a:pt x="761" y="1442"/>
                  </a:lnTo>
                  <a:lnTo>
                    <a:pt x="785" y="1409"/>
                  </a:lnTo>
                  <a:lnTo>
                    <a:pt x="814" y="1380"/>
                  </a:lnTo>
                  <a:lnTo>
                    <a:pt x="847" y="1355"/>
                  </a:lnTo>
                  <a:lnTo>
                    <a:pt x="883" y="1335"/>
                  </a:lnTo>
                  <a:lnTo>
                    <a:pt x="922" y="1321"/>
                  </a:lnTo>
                  <a:lnTo>
                    <a:pt x="963" y="1310"/>
                  </a:lnTo>
                  <a:lnTo>
                    <a:pt x="1007" y="1308"/>
                  </a:lnTo>
                  <a:lnTo>
                    <a:pt x="1414" y="1308"/>
                  </a:lnTo>
                  <a:lnTo>
                    <a:pt x="1452" y="1310"/>
                  </a:lnTo>
                  <a:lnTo>
                    <a:pt x="2359" y="101"/>
                  </a:lnTo>
                  <a:lnTo>
                    <a:pt x="2359" y="101"/>
                  </a:lnTo>
                  <a:lnTo>
                    <a:pt x="2382" y="73"/>
                  </a:lnTo>
                  <a:lnTo>
                    <a:pt x="2410" y="48"/>
                  </a:lnTo>
                  <a:lnTo>
                    <a:pt x="2441" y="27"/>
                  </a:lnTo>
                  <a:lnTo>
                    <a:pt x="2475" y="12"/>
                  </a:lnTo>
                  <a:lnTo>
                    <a:pt x="2513" y="3"/>
                  </a:lnTo>
                  <a:lnTo>
                    <a:pt x="2551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</p:grpSp>
      <p:sp>
        <p:nvSpPr>
          <p:cNvPr id="23625" name="TextBox 158">
            <a:extLst>
              <a:ext uri="{FF2B5EF4-FFF2-40B4-BE49-F238E27FC236}">
                <a16:creationId xmlns:a16="http://schemas.microsoft.com/office/drawing/2014/main" id="{E039C87F-72AD-4054-B63A-554ACFFB9E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4663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6" name="TextBox 159">
            <a:extLst>
              <a:ext uri="{FF2B5EF4-FFF2-40B4-BE49-F238E27FC236}">
                <a16:creationId xmlns:a16="http://schemas.microsoft.com/office/drawing/2014/main" id="{C89D28E8-6E73-4458-A352-42A749EC09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3488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7" name="TextBox 127">
            <a:extLst>
              <a:ext uri="{FF2B5EF4-FFF2-40B4-BE49-F238E27FC236}">
                <a16:creationId xmlns:a16="http://schemas.microsoft.com/office/drawing/2014/main" id="{D2C4F5E9-E854-4896-8355-45DEC69063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7813" y="6378575"/>
            <a:ext cx="426243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Sources: National Bureau of Statistics, World Bank Report on Doing Business in Nigeria 2018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climate-data.org, State Government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Exchange rate= $1/N305 (Central Bank of Nigeria)</a:t>
            </a:r>
          </a:p>
        </p:txBody>
      </p:sp>
      <p:sp>
        <p:nvSpPr>
          <p:cNvPr id="23628" name="TextBox 128">
            <a:extLst>
              <a:ext uri="{FF2B5EF4-FFF2-40B4-BE49-F238E27FC236}">
                <a16:creationId xmlns:a16="http://schemas.microsoft.com/office/drawing/2014/main" id="{409BCC6F-A5F0-4C79-BB4A-38A1ABC14F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89547" y="3649889"/>
            <a:ext cx="56778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dirty="0">
                <a:latin typeface="Calibri" panose="020F0502020204030204" pitchFamily="34" charset="0"/>
              </a:rPr>
              <a:t>Tourism</a:t>
            </a:r>
            <a:endParaRPr lang="en-GB" altLang="en-US" sz="900" dirty="0">
              <a:latin typeface="Calibri" panose="020F0502020204030204" pitchFamily="34" charset="0"/>
            </a:endParaRPr>
          </a:p>
        </p:txBody>
      </p:sp>
      <p:sp>
        <p:nvSpPr>
          <p:cNvPr id="23629" name="TextBox 129">
            <a:extLst>
              <a:ext uri="{FF2B5EF4-FFF2-40B4-BE49-F238E27FC236}">
                <a16:creationId xmlns:a16="http://schemas.microsoft.com/office/drawing/2014/main" id="{489E7B41-20C9-4493-8E7D-07238EB8FA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2892" y="3654980"/>
            <a:ext cx="70243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dirty="0">
                <a:latin typeface="Calibri" panose="020F0502020204030204" pitchFamily="34" charset="0"/>
              </a:rPr>
              <a:t>Real Estate</a:t>
            </a:r>
            <a:endParaRPr lang="en-GB" altLang="en-US" sz="900" dirty="0">
              <a:latin typeface="Calibri" panose="020F0502020204030204" pitchFamily="34" charset="0"/>
            </a:endParaRPr>
          </a:p>
        </p:txBody>
      </p:sp>
      <p:sp>
        <p:nvSpPr>
          <p:cNvPr id="23630" name="TextBox 130">
            <a:extLst>
              <a:ext uri="{FF2B5EF4-FFF2-40B4-BE49-F238E27FC236}">
                <a16:creationId xmlns:a16="http://schemas.microsoft.com/office/drawing/2014/main" id="{048DE5D8-5309-42DA-9D97-2935A10CB7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31" name="TextBox 131">
            <a:extLst>
              <a:ext uri="{FF2B5EF4-FFF2-40B4-BE49-F238E27FC236}">
                <a16:creationId xmlns:a16="http://schemas.microsoft.com/office/drawing/2014/main" id="{FF8B6C80-43E2-43AF-A364-A31845F05C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5388" y="3656013"/>
            <a:ext cx="552450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Cassava</a:t>
            </a:r>
          </a:p>
        </p:txBody>
      </p:sp>
      <p:sp>
        <p:nvSpPr>
          <p:cNvPr id="23632" name="TextBox 132">
            <a:extLst>
              <a:ext uri="{FF2B5EF4-FFF2-40B4-BE49-F238E27FC236}">
                <a16:creationId xmlns:a16="http://schemas.microsoft.com/office/drawing/2014/main" id="{A1C640C1-61D1-4BA5-8A76-E684397E8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46689" y="3650683"/>
            <a:ext cx="57579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Palm Oil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238751" y="3833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23638" name="TextBox 141">
            <a:extLst>
              <a:ext uri="{FF2B5EF4-FFF2-40B4-BE49-F238E27FC236}">
                <a16:creationId xmlns:a16="http://schemas.microsoft.com/office/drawing/2014/main" id="{EE481231-8673-4FD7-B5CC-900AEE7A9F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70608" y="3652271"/>
            <a:ext cx="646331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dirty="0">
                <a:latin typeface="Calibri" panose="020F0502020204030204" pitchFamily="34" charset="0"/>
              </a:rPr>
              <a:t>Grain Mill</a:t>
            </a:r>
            <a:endParaRPr lang="en-GB" altLang="en-US" sz="900" dirty="0">
              <a:latin typeface="Calibri" panose="020F0502020204030204" pitchFamily="34" charset="0"/>
            </a:endParaRPr>
          </a:p>
        </p:txBody>
      </p:sp>
      <p:sp>
        <p:nvSpPr>
          <p:cNvPr id="23649" name="TextBox 165">
            <a:extLst>
              <a:ext uri="{FF2B5EF4-FFF2-40B4-BE49-F238E27FC236}">
                <a16:creationId xmlns:a16="http://schemas.microsoft.com/office/drawing/2014/main" id="{1242633E-9CB1-48ED-83F4-2223DFC7ED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81236" y="4459560"/>
            <a:ext cx="659155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Chemicals</a:t>
            </a:r>
          </a:p>
        </p:txBody>
      </p:sp>
      <p:sp>
        <p:nvSpPr>
          <p:cNvPr id="23650" name="TextBox 166">
            <a:extLst>
              <a:ext uri="{FF2B5EF4-FFF2-40B4-BE49-F238E27FC236}">
                <a16:creationId xmlns:a16="http://schemas.microsoft.com/office/drawing/2014/main" id="{6B51369B-8FA6-464A-B908-12B0FFE6B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94691" y="4458812"/>
            <a:ext cx="61747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dirty="0">
                <a:latin typeface="Calibri" panose="020F0502020204030204" pitchFamily="34" charset="0"/>
              </a:rPr>
              <a:t>Oil &amp; Gas</a:t>
            </a:r>
            <a:endParaRPr lang="en-GB" altLang="en-US" sz="900" dirty="0">
              <a:latin typeface="Calibri" panose="020F0502020204030204" pitchFamily="34" charset="0"/>
            </a:endParaRPr>
          </a:p>
        </p:txBody>
      </p:sp>
      <p:sp>
        <p:nvSpPr>
          <p:cNvPr id="23651" name="TextBox 167">
            <a:extLst>
              <a:ext uri="{FF2B5EF4-FFF2-40B4-BE49-F238E27FC236}">
                <a16:creationId xmlns:a16="http://schemas.microsoft.com/office/drawing/2014/main" id="{4F9404E1-8339-401B-8B10-4C7D1A8CEC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73111" y="4457881"/>
            <a:ext cx="819455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Cement Plant</a:t>
            </a:r>
          </a:p>
        </p:txBody>
      </p:sp>
      <p:sp>
        <p:nvSpPr>
          <p:cNvPr id="23652" name="TextBox 168">
            <a:extLst>
              <a:ext uri="{FF2B5EF4-FFF2-40B4-BE49-F238E27FC236}">
                <a16:creationId xmlns:a16="http://schemas.microsoft.com/office/drawing/2014/main" id="{1C04917D-B2C3-4C21-8CC2-A45C349B4B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65456" y="4457133"/>
            <a:ext cx="65274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Education</a:t>
            </a:r>
          </a:p>
        </p:txBody>
      </p:sp>
      <p:sp>
        <p:nvSpPr>
          <p:cNvPr id="23653" name="TextBox 169">
            <a:extLst>
              <a:ext uri="{FF2B5EF4-FFF2-40B4-BE49-F238E27FC236}">
                <a16:creationId xmlns:a16="http://schemas.microsoft.com/office/drawing/2014/main" id="{4BADA327-4F2D-4897-B7C0-4647A1484B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3926" y="4457973"/>
            <a:ext cx="49564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Health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8A28B48-1841-45BB-BFBC-EADE77B37C6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779712" y="2589213"/>
          <a:ext cx="1482725" cy="812800"/>
        </p:xfrm>
        <a:graphic>
          <a:graphicData uri="http://schemas.openxmlformats.org/drawingml/2006/table">
            <a:tbl>
              <a:tblPr/>
              <a:tblGrid>
                <a:gridCol w="11367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9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32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GB" sz="1000" b="1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Domestic</a:t>
                      </a:r>
                      <a:r>
                        <a:rPr lang="en-GB" sz="10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US" sz="1000" b="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International 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Railway</a:t>
                      </a:r>
                      <a:r>
                        <a:rPr lang="en-GB" sz="1000" b="1" kern="1200" baseline="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 Station</a:t>
                      </a:r>
                      <a:endParaRPr lang="en-GB" sz="1000" b="1" kern="1200" dirty="0">
                        <a:solidFill>
                          <a:srgbClr val="292929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32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Sea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7" name="TextBox 136">
            <a:extLst>
              <a:ext uri="{FF2B5EF4-FFF2-40B4-BE49-F238E27FC236}">
                <a16:creationId xmlns:a16="http://schemas.microsoft.com/office/drawing/2014/main" id="{2F4C4876-7073-4C13-A183-127A8909BDC0}"/>
              </a:ext>
            </a:extLst>
          </p:cNvPr>
          <p:cNvSpPr txBox="1"/>
          <p:nvPr/>
        </p:nvSpPr>
        <p:spPr>
          <a:xfrm>
            <a:off x="538163" y="5268913"/>
            <a:ext cx="373856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For further details</a:t>
            </a:r>
          </a:p>
        </p:txBody>
      </p:sp>
      <p:sp>
        <p:nvSpPr>
          <p:cNvPr id="23676" name="TextBox 156">
            <a:extLst>
              <a:ext uri="{FF2B5EF4-FFF2-40B4-BE49-F238E27FC236}">
                <a16:creationId xmlns:a16="http://schemas.microsoft.com/office/drawing/2014/main" id="{95D66AAF-6B48-4B9E-9E5B-F1BB063A89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6300" y="6342063"/>
            <a:ext cx="37306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Abbreviations: </a:t>
            </a:r>
            <a:r>
              <a:rPr lang="en-GB" altLang="en-US" sz="800" b="1" dirty="0">
                <a:latin typeface="Calibri" panose="020F0502020204030204" pitchFamily="34" charset="0"/>
              </a:rPr>
              <a:t>	NICPS</a:t>
            </a:r>
            <a:r>
              <a:rPr lang="en-GB" altLang="en-US" sz="800" dirty="0">
                <a:latin typeface="Calibri" panose="020F0502020204030204" pitchFamily="34" charset="0"/>
              </a:rPr>
              <a:t>: Nigerian Investment Certification Programme for States                  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	</a:t>
            </a:r>
            <a:r>
              <a:rPr lang="en-GB" altLang="en-US" sz="800" b="1" dirty="0">
                <a:latin typeface="Calibri" panose="020F0502020204030204" pitchFamily="34" charset="0"/>
              </a:rPr>
              <a:t>IGR</a:t>
            </a:r>
            <a:r>
              <a:rPr lang="en-GB" altLang="en-US" sz="800" dirty="0">
                <a:latin typeface="Calibri" panose="020F0502020204030204" pitchFamily="34" charset="0"/>
              </a:rPr>
              <a:t>:     Internal Generated Revenue</a:t>
            </a:r>
          </a:p>
        </p:txBody>
      </p:sp>
      <p:sp>
        <p:nvSpPr>
          <p:cNvPr id="23678" name="TextBox 152">
            <a:extLst>
              <a:ext uri="{FF2B5EF4-FFF2-40B4-BE49-F238E27FC236}">
                <a16:creationId xmlns:a16="http://schemas.microsoft.com/office/drawing/2014/main" id="{BFAF6896-F732-45FC-AC47-950DF99D9E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4575" y="1136113"/>
            <a:ext cx="3446463" cy="16927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15888" indent="-11588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</a:rPr>
              <a:t>Heartland of the Eastern Regi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163 oil wells across 12 location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Largest natural lake in Nigeria (</a:t>
            </a:r>
            <a:r>
              <a:rPr lang="en-GB" sz="1300" dirty="0" err="1">
                <a:latin typeface="Calibri" panose="020F0502020204030204" pitchFamily="34" charset="0"/>
              </a:rPr>
              <a:t>Oguta</a:t>
            </a:r>
            <a:r>
              <a:rPr lang="en-GB" sz="1300" dirty="0">
                <a:latin typeface="Calibri" panose="020F0502020204030204" pitchFamily="34" charset="0"/>
              </a:rPr>
              <a:t> Lake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Tourism (</a:t>
            </a:r>
            <a:r>
              <a:rPr lang="en-GB" sz="1300" dirty="0" err="1">
                <a:latin typeface="Calibri" panose="020F0502020204030204" pitchFamily="34" charset="0"/>
              </a:rPr>
              <a:t>Njaba</a:t>
            </a:r>
            <a:r>
              <a:rPr lang="en-GB" sz="1300" dirty="0">
                <a:latin typeface="Calibri" panose="020F0502020204030204" pitchFamily="34" charset="0"/>
              </a:rPr>
              <a:t> River-26km long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Largest oil palm plantation complex in West Afric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</a:rPr>
              <a:t>High deposits of natural resources (natural gas and gypsum)</a:t>
            </a:r>
            <a:endParaRPr lang="en-GB" sz="1300" dirty="0">
              <a:latin typeface="Calibri" panose="020F0502020204030204" pitchFamily="34" charset="0"/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D4E23C6-26A0-4545-B8F7-7007C8EEBFE4}"/>
              </a:ext>
            </a:extLst>
          </p:cNvPr>
          <p:cNvSpPr txBox="1"/>
          <p:nvPr/>
        </p:nvSpPr>
        <p:spPr>
          <a:xfrm>
            <a:off x="4338638" y="5265738"/>
            <a:ext cx="247491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id you know?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132" name="Text Placeholder 42">
            <a:extLst>
              <a:ext uri="{FF2B5EF4-FFF2-40B4-BE49-F238E27FC236}">
                <a16:creationId xmlns:a16="http://schemas.microsoft.com/office/drawing/2014/main" id="{D510D0DC-1548-4249-8DB1-9A1055126D07}"/>
              </a:ext>
            </a:extLst>
          </p:cNvPr>
          <p:cNvSpPr txBox="1">
            <a:spLocks/>
          </p:cNvSpPr>
          <p:nvPr/>
        </p:nvSpPr>
        <p:spPr>
          <a:xfrm>
            <a:off x="522288" y="5511800"/>
            <a:ext cx="3733800" cy="701675"/>
          </a:xfrm>
          <a:prstGeom prst="rect">
            <a:avLst/>
          </a:prstGeom>
        </p:spPr>
        <p:txBody>
          <a:bodyPr lIns="36576" tIns="0" rIns="36576" bIns="0"/>
          <a:lstStyle>
            <a:lvl1pPr marL="0" indent="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/>
              <a:buNone/>
              <a:defRPr sz="800" b="1" baseline="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6575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93763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 charset="0"/>
              <a:buChar char="►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50950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619250" indent="-188913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0764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25336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29908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34480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NIGERIAN INVESTMENT PROMOTION COMMISSION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>
                <a:solidFill>
                  <a:schemeClr val="tx1"/>
                </a:solidFill>
                <a:hlinkClick r:id="rId7"/>
              </a:rPr>
              <a:t>statesco@nipc.gov.ng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endParaRPr lang="en-US" sz="5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IMO STATE INVESTMENT PROMOTION AGENCY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 err="1">
                <a:solidFill>
                  <a:schemeClr val="tx1"/>
                </a:solidFill>
                <a:hlinkClick r:id="rId8"/>
              </a:rPr>
              <a:t>justus.onyekwere@outlook.com</a:t>
            </a:r>
            <a:r>
              <a:rPr lang="en-US" sz="1000" b="0" kern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FF015425-7997-4612-9D0E-1F6C433DFCC7}"/>
              </a:ext>
            </a:extLst>
          </p:cNvPr>
          <p:cNvSpPr/>
          <p:nvPr/>
        </p:nvSpPr>
        <p:spPr>
          <a:xfrm>
            <a:off x="6080877" y="3040856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4C0B7457-CABD-4AC8-8A1A-1FD468581E4D}"/>
              </a:ext>
            </a:extLst>
          </p:cNvPr>
          <p:cNvSpPr/>
          <p:nvPr/>
        </p:nvSpPr>
        <p:spPr>
          <a:xfrm>
            <a:off x="6784796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2D626A89-F50C-45A3-9271-5D3F2EEA9C83}"/>
              </a:ext>
            </a:extLst>
          </p:cNvPr>
          <p:cNvSpPr/>
          <p:nvPr/>
        </p:nvSpPr>
        <p:spPr>
          <a:xfrm>
            <a:off x="7518399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240713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A62E850A-D87D-46D0-9257-0071E677FCF0}"/>
              </a:ext>
            </a:extLst>
          </p:cNvPr>
          <p:cNvSpPr/>
          <p:nvPr/>
        </p:nvSpPr>
        <p:spPr>
          <a:xfrm>
            <a:off x="8947150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4D1FAA17-3EFF-404B-B4C4-B468BCE2E9A5}"/>
              </a:ext>
            </a:extLst>
          </p:cNvPr>
          <p:cNvSpPr/>
          <p:nvPr/>
        </p:nvSpPr>
        <p:spPr>
          <a:xfrm>
            <a:off x="6078265" y="3836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E861211D-5D09-4577-8A09-FD96D972A5D4}"/>
              </a:ext>
            </a:extLst>
          </p:cNvPr>
          <p:cNvSpPr/>
          <p:nvPr/>
        </p:nvSpPr>
        <p:spPr>
          <a:xfrm>
            <a:off x="6780509" y="3833831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D9F8790B-E97D-4D8F-AD51-26FAFBF8CA40}"/>
              </a:ext>
            </a:extLst>
          </p:cNvPr>
          <p:cNvSpPr/>
          <p:nvPr/>
        </p:nvSpPr>
        <p:spPr>
          <a:xfrm>
            <a:off x="8946402" y="3833630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3CBEFD1C-6360-47CD-AEDD-DFB49FC0E0C7}"/>
              </a:ext>
            </a:extLst>
          </p:cNvPr>
          <p:cNvSpPr/>
          <p:nvPr/>
        </p:nvSpPr>
        <p:spPr>
          <a:xfrm>
            <a:off x="7518603" y="3830834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pic>
        <p:nvPicPr>
          <p:cNvPr id="127" name="Picture 126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4094" y="3102925"/>
            <a:ext cx="348120" cy="4608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5" name="Picture 134"/>
          <p:cNvPicPr>
            <a:picLocks noChangeAspect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2712" y="3904955"/>
            <a:ext cx="333302" cy="403556"/>
          </a:xfrm>
          <a:prstGeom prst="rect">
            <a:avLst/>
          </a:prstGeom>
        </p:spPr>
      </p:pic>
      <p:pic>
        <p:nvPicPr>
          <p:cNvPr id="136" name="Picture 135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5321" y="3981966"/>
            <a:ext cx="405550" cy="340501"/>
          </a:xfrm>
          <a:prstGeom prst="rect">
            <a:avLst/>
          </a:prstGeom>
        </p:spPr>
      </p:pic>
      <p:pic>
        <p:nvPicPr>
          <p:cNvPr id="150" name="Picture 149">
            <a:extLst>
              <a:ext uri="{FF2B5EF4-FFF2-40B4-BE49-F238E27FC236}">
                <a16:creationId xmlns:a16="http://schemas.microsoft.com/office/drawing/2014/main" id="{F9088E82-D250-4DE2-9DF4-B28BB0A1F6D4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1957" y="3117628"/>
            <a:ext cx="423344" cy="411997"/>
          </a:xfrm>
          <a:prstGeom prst="rect">
            <a:avLst/>
          </a:prstGeom>
        </p:spPr>
      </p:pic>
      <p:pic>
        <p:nvPicPr>
          <p:cNvPr id="151" name="Picture 150">
            <a:extLst>
              <a:ext uri="{FF2B5EF4-FFF2-40B4-BE49-F238E27FC236}">
                <a16:creationId xmlns:a16="http://schemas.microsoft.com/office/drawing/2014/main" id="{70ABF470-1C16-49DF-9F5B-B622302C2838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029683" y="3905544"/>
            <a:ext cx="431749" cy="424135"/>
          </a:xfrm>
          <a:prstGeom prst="rect">
            <a:avLst/>
          </a:prstGeom>
        </p:spPr>
      </p:pic>
      <p:sp>
        <p:nvSpPr>
          <p:cNvPr id="154" name="TextBox 153">
            <a:extLst>
              <a:ext uri="{FF2B5EF4-FFF2-40B4-BE49-F238E27FC236}">
                <a16:creationId xmlns:a16="http://schemas.microsoft.com/office/drawing/2014/main" id="{D0A41506-8873-4C2F-B45B-4459F0229CA3}"/>
              </a:ext>
            </a:extLst>
          </p:cNvPr>
          <p:cNvSpPr txBox="1"/>
          <p:nvPr/>
        </p:nvSpPr>
        <p:spPr>
          <a:xfrm>
            <a:off x="4374578" y="4541674"/>
            <a:ext cx="17988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te Investment Certification Process Not Started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276725" y="5409965"/>
            <a:ext cx="2582341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Imo State is the location of the shrine of the famous deity, </a:t>
            </a:r>
            <a:r>
              <a:rPr lang="en-US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Amadioha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, the Igbo traditional god of lightning and thunder.</a:t>
            </a:r>
          </a:p>
        </p:txBody>
      </p:sp>
      <p:pic>
        <p:nvPicPr>
          <p:cNvPr id="118" name="Picture 117"/>
          <p:cNvPicPr>
            <a:picLocks noChangeAspect="1"/>
          </p:cNvPicPr>
          <p:nvPr/>
        </p:nvPicPr>
        <p:blipFill rotWithShape="1">
          <a:blip r:embed="rId1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24" t="4337" r="9291" b="18394"/>
          <a:stretch/>
        </p:blipFill>
        <p:spPr>
          <a:xfrm>
            <a:off x="6869436" y="3120842"/>
            <a:ext cx="441076" cy="419284"/>
          </a:xfrm>
          <a:prstGeom prst="rect">
            <a:avLst/>
          </a:prstGeom>
        </p:spPr>
      </p:pic>
      <p:pic>
        <p:nvPicPr>
          <p:cNvPr id="142" name="Picture 141"/>
          <p:cNvPicPr>
            <a:picLocks noChangeAspect="1"/>
          </p:cNvPicPr>
          <p:nvPr/>
        </p:nvPicPr>
        <p:blipFill rotWithShape="1">
          <a:blip r:embed="rId15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72" r="6398" b="16626"/>
          <a:stretch/>
        </p:blipFill>
        <p:spPr>
          <a:xfrm>
            <a:off x="9014756" y="3073277"/>
            <a:ext cx="472799" cy="451902"/>
          </a:xfrm>
          <a:prstGeom prst="rect">
            <a:avLst/>
          </a:prstGeom>
        </p:spPr>
      </p:pic>
      <p:pic>
        <p:nvPicPr>
          <p:cNvPr id="144" name="Picture 143"/>
          <p:cNvPicPr>
            <a:picLocks noChangeAspect="1"/>
          </p:cNvPicPr>
          <p:nvPr/>
        </p:nvPicPr>
        <p:blipFill rotWithShape="1">
          <a:blip r:embed="rId1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95" t="6105" r="11379" b="20321"/>
          <a:stretch/>
        </p:blipFill>
        <p:spPr>
          <a:xfrm>
            <a:off x="6139435" y="3888392"/>
            <a:ext cx="454796" cy="436681"/>
          </a:xfrm>
          <a:prstGeom prst="rect">
            <a:avLst/>
          </a:prstGeom>
        </p:spPr>
      </p:pic>
      <p:pic>
        <p:nvPicPr>
          <p:cNvPr id="148" name="Picture 147"/>
          <p:cNvPicPr>
            <a:picLocks noChangeAspect="1"/>
          </p:cNvPicPr>
          <p:nvPr/>
        </p:nvPicPr>
        <p:blipFill rotWithShape="1">
          <a:blip r:embed="rId17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90" t="4016" r="6399" b="19197"/>
          <a:stretch/>
        </p:blipFill>
        <p:spPr>
          <a:xfrm>
            <a:off x="8260809" y="3921909"/>
            <a:ext cx="538291" cy="47125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18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51" r="7040" b="15663"/>
          <a:stretch/>
        </p:blipFill>
        <p:spPr>
          <a:xfrm>
            <a:off x="7585045" y="3078305"/>
            <a:ext cx="500215" cy="485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88086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8A1A8B00-3BBF-448E-B6F1-5A3C627514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bnational: Doing Business in Nigeria 2018</a:t>
            </a:r>
            <a:endParaRPr lang="en-GB" dirty="0"/>
          </a:p>
        </p:txBody>
      </p:sp>
      <p:pic>
        <p:nvPicPr>
          <p:cNvPr id="89" name="Content Placeholder 88">
            <a:extLst>
              <a:ext uri="{FF2B5EF4-FFF2-40B4-BE49-F238E27FC236}">
                <a16:creationId xmlns:a16="http://schemas.microsoft.com/office/drawing/2014/main" id="{1CE71CFA-1992-4EE8-B97D-38DF072C0787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791" y="1009767"/>
            <a:ext cx="4443563" cy="5203835"/>
          </a:xfrm>
        </p:spPr>
      </p:pic>
      <p:sp>
        <p:nvSpPr>
          <p:cNvPr id="86" name="Rectangular Callout 39">
            <a:extLst>
              <a:ext uri="{FF2B5EF4-FFF2-40B4-BE49-F238E27FC236}">
                <a16:creationId xmlns:a16="http://schemas.microsoft.com/office/drawing/2014/main" id="{6D284840-B3A6-4827-9032-2CCF7D334D64}"/>
              </a:ext>
            </a:extLst>
          </p:cNvPr>
          <p:cNvSpPr/>
          <p:nvPr/>
        </p:nvSpPr>
        <p:spPr>
          <a:xfrm rot="10800000" flipV="1">
            <a:off x="316023" y="2043750"/>
            <a:ext cx="1724218" cy="486660"/>
          </a:xfrm>
          <a:prstGeom prst="wedgeRectCallout">
            <a:avLst>
              <a:gd name="adj1" fmla="val -80375"/>
              <a:gd name="adj2" fmla="val -153039"/>
            </a:avLst>
          </a:prstGeom>
          <a:solidFill>
            <a:sysClr val="window" lastClr="FFFFFF"/>
          </a:solidFill>
          <a:ln w="19050" cap="flat" cmpd="sng" algn="ctr">
            <a:solidFill>
              <a:srgbClr val="FF000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3169" tIns="33169" rIns="33169" bIns="33169" rtlCol="0" anchor="ctr"/>
          <a:lstStyle/>
          <a:p>
            <a:pPr marL="0" marR="0" lvl="0" indent="0" algn="ctr" defTabSz="912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… positive subnational </a:t>
            </a:r>
            <a:r>
              <a:rPr kumimoji="0" lang="en-US" sz="119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oing business scores</a:t>
            </a:r>
            <a:endParaRPr kumimoji="0" lang="en-US" sz="119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4990AB94-BC8B-491A-8F63-111E64AF2A0B}"/>
              </a:ext>
            </a:extLst>
          </p:cNvPr>
          <p:cNvGrpSpPr/>
          <p:nvPr/>
        </p:nvGrpSpPr>
        <p:grpSpPr>
          <a:xfrm>
            <a:off x="5485415" y="1112804"/>
            <a:ext cx="3849351" cy="3349698"/>
            <a:chOff x="1498600" y="576264"/>
            <a:chExt cx="7173913" cy="5743574"/>
          </a:xfrm>
          <a:solidFill>
            <a:schemeClr val="bg1">
              <a:lumMod val="95000"/>
            </a:schemeClr>
          </a:solidFill>
        </p:grpSpPr>
        <p:sp>
          <p:nvSpPr>
            <p:cNvPr id="91" name="Freeform 5">
              <a:extLst>
                <a:ext uri="{FF2B5EF4-FFF2-40B4-BE49-F238E27FC236}">
                  <a16:creationId xmlns:a16="http://schemas.microsoft.com/office/drawing/2014/main" id="{D86D3B80-2161-4F44-AC9C-08C43704F62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117851" y="5653088"/>
              <a:ext cx="733425" cy="666750"/>
            </a:xfrm>
            <a:custGeom>
              <a:avLst/>
              <a:gdLst>
                <a:gd name="T0" fmla="*/ 2147483647 w 786"/>
                <a:gd name="T1" fmla="*/ 2147483647 h 714"/>
                <a:gd name="T2" fmla="*/ 2147483647 w 786"/>
                <a:gd name="T3" fmla="*/ 2147483647 h 714"/>
                <a:gd name="T4" fmla="*/ 2147483647 w 786"/>
                <a:gd name="T5" fmla="*/ 2147483647 h 714"/>
                <a:gd name="T6" fmla="*/ 2147483647 w 786"/>
                <a:gd name="T7" fmla="*/ 2147483647 h 714"/>
                <a:gd name="T8" fmla="*/ 2147483647 w 786"/>
                <a:gd name="T9" fmla="*/ 2147483647 h 714"/>
                <a:gd name="T10" fmla="*/ 2147483647 w 786"/>
                <a:gd name="T11" fmla="*/ 2147483647 h 714"/>
                <a:gd name="T12" fmla="*/ 2147483647 w 786"/>
                <a:gd name="T13" fmla="*/ 2147483647 h 714"/>
                <a:gd name="T14" fmla="*/ 2147483647 w 786"/>
                <a:gd name="T15" fmla="*/ 2147483647 h 714"/>
                <a:gd name="T16" fmla="*/ 2147483647 w 786"/>
                <a:gd name="T17" fmla="*/ 0 h 714"/>
                <a:gd name="T18" fmla="*/ 2147483647 w 786"/>
                <a:gd name="T19" fmla="*/ 2147483647 h 714"/>
                <a:gd name="T20" fmla="*/ 2147483647 w 786"/>
                <a:gd name="T21" fmla="*/ 2147483647 h 714"/>
                <a:gd name="T22" fmla="*/ 2147483647 w 786"/>
                <a:gd name="T23" fmla="*/ 2147483647 h 714"/>
                <a:gd name="T24" fmla="*/ 2147483647 w 786"/>
                <a:gd name="T25" fmla="*/ 2147483647 h 714"/>
                <a:gd name="T26" fmla="*/ 2147483647 w 786"/>
                <a:gd name="T27" fmla="*/ 2147483647 h 714"/>
                <a:gd name="T28" fmla="*/ 2147483647 w 786"/>
                <a:gd name="T29" fmla="*/ 2147483647 h 714"/>
                <a:gd name="T30" fmla="*/ 2147483647 w 786"/>
                <a:gd name="T31" fmla="*/ 2147483647 h 714"/>
                <a:gd name="T32" fmla="*/ 2147483647 w 786"/>
                <a:gd name="T33" fmla="*/ 2147483647 h 714"/>
                <a:gd name="T34" fmla="*/ 2147483647 w 786"/>
                <a:gd name="T35" fmla="*/ 2147483647 h 714"/>
                <a:gd name="T36" fmla="*/ 2147483647 w 786"/>
                <a:gd name="T37" fmla="*/ 2147483647 h 714"/>
                <a:gd name="T38" fmla="*/ 2147483647 w 786"/>
                <a:gd name="T39" fmla="*/ 2147483647 h 714"/>
                <a:gd name="T40" fmla="*/ 2147483647 w 786"/>
                <a:gd name="T41" fmla="*/ 2147483647 h 714"/>
                <a:gd name="T42" fmla="*/ 2147483647 w 786"/>
                <a:gd name="T43" fmla="*/ 2147483647 h 714"/>
                <a:gd name="T44" fmla="*/ 2147483647 w 786"/>
                <a:gd name="T45" fmla="*/ 2147483647 h 714"/>
                <a:gd name="T46" fmla="*/ 2147483647 w 786"/>
                <a:gd name="T47" fmla="*/ 2147483647 h 714"/>
                <a:gd name="T48" fmla="*/ 2147483647 w 786"/>
                <a:gd name="T49" fmla="*/ 2147483647 h 714"/>
                <a:gd name="T50" fmla="*/ 2147483647 w 786"/>
                <a:gd name="T51" fmla="*/ 2147483647 h 714"/>
                <a:gd name="T52" fmla="*/ 2147483647 w 786"/>
                <a:gd name="T53" fmla="*/ 2147483647 h 714"/>
                <a:gd name="T54" fmla="*/ 2147483647 w 786"/>
                <a:gd name="T55" fmla="*/ 2147483647 h 714"/>
                <a:gd name="T56" fmla="*/ 2147483647 w 786"/>
                <a:gd name="T57" fmla="*/ 2147483647 h 714"/>
                <a:gd name="T58" fmla="*/ 2147483647 w 786"/>
                <a:gd name="T59" fmla="*/ 2147483647 h 714"/>
                <a:gd name="T60" fmla="*/ 2147483647 w 786"/>
                <a:gd name="T61" fmla="*/ 2147483647 h 714"/>
                <a:gd name="T62" fmla="*/ 2147483647 w 786"/>
                <a:gd name="T63" fmla="*/ 2147483647 h 714"/>
                <a:gd name="T64" fmla="*/ 2147483647 w 786"/>
                <a:gd name="T65" fmla="*/ 2147483647 h 714"/>
                <a:gd name="T66" fmla="*/ 2147483647 w 786"/>
                <a:gd name="T67" fmla="*/ 2147483647 h 714"/>
                <a:gd name="T68" fmla="*/ 2147483647 w 786"/>
                <a:gd name="T69" fmla="*/ 2147483647 h 714"/>
                <a:gd name="T70" fmla="*/ 2147483647 w 786"/>
                <a:gd name="T71" fmla="*/ 2147483647 h 714"/>
                <a:gd name="T72" fmla="*/ 2147483647 w 786"/>
                <a:gd name="T73" fmla="*/ 2147483647 h 714"/>
                <a:gd name="T74" fmla="*/ 2147483647 w 786"/>
                <a:gd name="T75" fmla="*/ 2147483647 h 714"/>
                <a:gd name="T76" fmla="*/ 2147483647 w 786"/>
                <a:gd name="T77" fmla="*/ 2147483647 h 714"/>
                <a:gd name="T78" fmla="*/ 2147483647 w 786"/>
                <a:gd name="T79" fmla="*/ 2147483647 h 714"/>
                <a:gd name="T80" fmla="*/ 2147483647 w 786"/>
                <a:gd name="T81" fmla="*/ 2147483647 h 714"/>
                <a:gd name="T82" fmla="*/ 2147483647 w 786"/>
                <a:gd name="T83" fmla="*/ 2147483647 h 714"/>
                <a:gd name="T84" fmla="*/ 2147483647 w 786"/>
                <a:gd name="T85" fmla="*/ 2147483647 h 714"/>
                <a:gd name="T86" fmla="*/ 2147483647 w 786"/>
                <a:gd name="T87" fmla="*/ 2147483647 h 714"/>
                <a:gd name="T88" fmla="*/ 2147483647 w 786"/>
                <a:gd name="T89" fmla="*/ 2147483647 h 714"/>
                <a:gd name="T90" fmla="*/ 2147483647 w 786"/>
                <a:gd name="T91" fmla="*/ 2147483647 h 714"/>
                <a:gd name="T92" fmla="*/ 2147483647 w 786"/>
                <a:gd name="T93" fmla="*/ 2147483647 h 714"/>
                <a:gd name="T94" fmla="*/ 2147483647 w 786"/>
                <a:gd name="T95" fmla="*/ 2147483647 h 714"/>
                <a:gd name="T96" fmla="*/ 2147483647 w 786"/>
                <a:gd name="T97" fmla="*/ 2147483647 h 714"/>
                <a:gd name="T98" fmla="*/ 2147483647 w 786"/>
                <a:gd name="T99" fmla="*/ 2147483647 h 714"/>
                <a:gd name="T100" fmla="*/ 2147483647 w 786"/>
                <a:gd name="T101" fmla="*/ 2147483647 h 714"/>
                <a:gd name="T102" fmla="*/ 2147483647 w 786"/>
                <a:gd name="T103" fmla="*/ 2147483647 h 714"/>
                <a:gd name="T104" fmla="*/ 2147483647 w 786"/>
                <a:gd name="T105" fmla="*/ 2147483647 h 714"/>
                <a:gd name="T106" fmla="*/ 0 w 786"/>
                <a:gd name="T107" fmla="*/ 2147483647 h 714"/>
                <a:gd name="T108" fmla="*/ 2147483647 w 786"/>
                <a:gd name="T109" fmla="*/ 2147483647 h 714"/>
                <a:gd name="T110" fmla="*/ 2147483647 w 786"/>
                <a:gd name="T111" fmla="*/ 2147483647 h 714"/>
                <a:gd name="T112" fmla="*/ 2147483647 w 786"/>
                <a:gd name="T113" fmla="*/ 2147483647 h 714"/>
                <a:gd name="T114" fmla="*/ 2147483647 w 786"/>
                <a:gd name="T115" fmla="*/ 2147483647 h 714"/>
                <a:gd name="T116" fmla="*/ 2147483647 w 786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86"/>
                <a:gd name="T178" fmla="*/ 0 h 714"/>
                <a:gd name="T179" fmla="*/ 786 w 786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86" h="714">
                  <a:moveTo>
                    <a:pt x="54" y="186"/>
                  </a:moveTo>
                  <a:lnTo>
                    <a:pt x="54" y="192"/>
                  </a:lnTo>
                  <a:lnTo>
                    <a:pt x="72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204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20" y="210"/>
                  </a:lnTo>
                  <a:lnTo>
                    <a:pt x="126" y="210"/>
                  </a:lnTo>
                  <a:lnTo>
                    <a:pt x="132" y="210"/>
                  </a:lnTo>
                  <a:lnTo>
                    <a:pt x="132" y="216"/>
                  </a:lnTo>
                  <a:lnTo>
                    <a:pt x="138" y="222"/>
                  </a:lnTo>
                  <a:lnTo>
                    <a:pt x="150" y="222"/>
                  </a:lnTo>
                  <a:lnTo>
                    <a:pt x="162" y="234"/>
                  </a:lnTo>
                  <a:lnTo>
                    <a:pt x="168" y="240"/>
                  </a:lnTo>
                  <a:lnTo>
                    <a:pt x="180" y="240"/>
                  </a:lnTo>
                  <a:lnTo>
                    <a:pt x="186" y="228"/>
                  </a:lnTo>
                  <a:lnTo>
                    <a:pt x="210" y="234"/>
                  </a:lnTo>
                  <a:lnTo>
                    <a:pt x="222" y="228"/>
                  </a:lnTo>
                  <a:lnTo>
                    <a:pt x="228" y="216"/>
                  </a:lnTo>
                  <a:lnTo>
                    <a:pt x="234" y="210"/>
                  </a:lnTo>
                  <a:lnTo>
                    <a:pt x="240" y="216"/>
                  </a:lnTo>
                  <a:lnTo>
                    <a:pt x="246" y="210"/>
                  </a:lnTo>
                  <a:lnTo>
                    <a:pt x="252" y="210"/>
                  </a:lnTo>
                  <a:lnTo>
                    <a:pt x="258" y="210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192"/>
                  </a:lnTo>
                  <a:lnTo>
                    <a:pt x="270" y="192"/>
                  </a:lnTo>
                  <a:lnTo>
                    <a:pt x="276" y="192"/>
                  </a:lnTo>
                  <a:lnTo>
                    <a:pt x="282" y="192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192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198"/>
                  </a:lnTo>
                  <a:lnTo>
                    <a:pt x="312" y="198"/>
                  </a:lnTo>
                  <a:lnTo>
                    <a:pt x="312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24" y="186"/>
                  </a:lnTo>
                  <a:lnTo>
                    <a:pt x="318" y="180"/>
                  </a:lnTo>
                  <a:lnTo>
                    <a:pt x="324" y="180"/>
                  </a:lnTo>
                  <a:lnTo>
                    <a:pt x="330" y="186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74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54" y="144"/>
                  </a:lnTo>
                  <a:lnTo>
                    <a:pt x="360" y="144"/>
                  </a:lnTo>
                  <a:lnTo>
                    <a:pt x="372" y="156"/>
                  </a:lnTo>
                  <a:lnTo>
                    <a:pt x="372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96" y="168"/>
                  </a:lnTo>
                  <a:lnTo>
                    <a:pt x="396" y="174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26" y="186"/>
                  </a:lnTo>
                  <a:lnTo>
                    <a:pt x="432" y="186"/>
                  </a:lnTo>
                  <a:lnTo>
                    <a:pt x="438" y="180"/>
                  </a:lnTo>
                  <a:lnTo>
                    <a:pt x="438" y="168"/>
                  </a:lnTo>
                  <a:lnTo>
                    <a:pt x="438" y="162"/>
                  </a:lnTo>
                  <a:lnTo>
                    <a:pt x="444" y="156"/>
                  </a:lnTo>
                  <a:lnTo>
                    <a:pt x="450" y="156"/>
                  </a:lnTo>
                  <a:lnTo>
                    <a:pt x="456" y="150"/>
                  </a:lnTo>
                  <a:lnTo>
                    <a:pt x="462" y="156"/>
                  </a:lnTo>
                  <a:lnTo>
                    <a:pt x="468" y="162"/>
                  </a:lnTo>
                  <a:lnTo>
                    <a:pt x="474" y="162"/>
                  </a:lnTo>
                  <a:lnTo>
                    <a:pt x="486" y="162"/>
                  </a:lnTo>
                  <a:lnTo>
                    <a:pt x="492" y="156"/>
                  </a:lnTo>
                  <a:lnTo>
                    <a:pt x="498" y="150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28" y="126"/>
                  </a:lnTo>
                  <a:lnTo>
                    <a:pt x="522" y="120"/>
                  </a:lnTo>
                  <a:lnTo>
                    <a:pt x="522" y="114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28" y="102"/>
                  </a:lnTo>
                  <a:lnTo>
                    <a:pt x="534" y="96"/>
                  </a:lnTo>
                  <a:lnTo>
                    <a:pt x="552" y="96"/>
                  </a:lnTo>
                  <a:lnTo>
                    <a:pt x="570" y="102"/>
                  </a:lnTo>
                  <a:lnTo>
                    <a:pt x="582" y="96"/>
                  </a:lnTo>
                  <a:lnTo>
                    <a:pt x="582" y="90"/>
                  </a:lnTo>
                  <a:lnTo>
                    <a:pt x="582" y="78"/>
                  </a:lnTo>
                  <a:lnTo>
                    <a:pt x="582" y="72"/>
                  </a:lnTo>
                  <a:lnTo>
                    <a:pt x="582" y="66"/>
                  </a:lnTo>
                  <a:lnTo>
                    <a:pt x="594" y="60"/>
                  </a:lnTo>
                  <a:lnTo>
                    <a:pt x="600" y="60"/>
                  </a:lnTo>
                  <a:lnTo>
                    <a:pt x="606" y="54"/>
                  </a:lnTo>
                  <a:lnTo>
                    <a:pt x="618" y="48"/>
                  </a:lnTo>
                  <a:lnTo>
                    <a:pt x="618" y="42"/>
                  </a:lnTo>
                  <a:lnTo>
                    <a:pt x="624" y="42"/>
                  </a:lnTo>
                  <a:lnTo>
                    <a:pt x="636" y="48"/>
                  </a:lnTo>
                  <a:lnTo>
                    <a:pt x="648" y="54"/>
                  </a:lnTo>
                  <a:lnTo>
                    <a:pt x="660" y="54"/>
                  </a:lnTo>
                  <a:lnTo>
                    <a:pt x="666" y="60"/>
                  </a:lnTo>
                  <a:lnTo>
                    <a:pt x="672" y="54"/>
                  </a:lnTo>
                  <a:lnTo>
                    <a:pt x="684" y="48"/>
                  </a:lnTo>
                  <a:lnTo>
                    <a:pt x="708" y="42"/>
                  </a:lnTo>
                  <a:lnTo>
                    <a:pt x="714" y="42"/>
                  </a:lnTo>
                  <a:lnTo>
                    <a:pt x="720" y="36"/>
                  </a:lnTo>
                  <a:lnTo>
                    <a:pt x="720" y="30"/>
                  </a:lnTo>
                  <a:lnTo>
                    <a:pt x="714" y="12"/>
                  </a:lnTo>
                  <a:lnTo>
                    <a:pt x="708" y="0"/>
                  </a:lnTo>
                  <a:lnTo>
                    <a:pt x="738" y="6"/>
                  </a:lnTo>
                  <a:lnTo>
                    <a:pt x="756" y="6"/>
                  </a:lnTo>
                  <a:lnTo>
                    <a:pt x="762" y="42"/>
                  </a:lnTo>
                  <a:lnTo>
                    <a:pt x="738" y="72"/>
                  </a:lnTo>
                  <a:lnTo>
                    <a:pt x="750" y="90"/>
                  </a:lnTo>
                  <a:lnTo>
                    <a:pt x="762" y="96"/>
                  </a:lnTo>
                  <a:lnTo>
                    <a:pt x="756" y="102"/>
                  </a:lnTo>
                  <a:lnTo>
                    <a:pt x="750" y="108"/>
                  </a:lnTo>
                  <a:lnTo>
                    <a:pt x="750" y="114"/>
                  </a:lnTo>
                  <a:lnTo>
                    <a:pt x="750" y="120"/>
                  </a:lnTo>
                  <a:lnTo>
                    <a:pt x="750" y="126"/>
                  </a:lnTo>
                  <a:lnTo>
                    <a:pt x="750" y="132"/>
                  </a:lnTo>
                  <a:lnTo>
                    <a:pt x="738" y="132"/>
                  </a:lnTo>
                  <a:lnTo>
                    <a:pt x="732" y="138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14" y="144"/>
                  </a:lnTo>
                  <a:lnTo>
                    <a:pt x="714" y="150"/>
                  </a:lnTo>
                  <a:lnTo>
                    <a:pt x="720" y="156"/>
                  </a:lnTo>
                  <a:lnTo>
                    <a:pt x="720" y="162"/>
                  </a:lnTo>
                  <a:lnTo>
                    <a:pt x="714" y="162"/>
                  </a:lnTo>
                  <a:lnTo>
                    <a:pt x="708" y="168"/>
                  </a:lnTo>
                  <a:lnTo>
                    <a:pt x="708" y="180"/>
                  </a:lnTo>
                  <a:lnTo>
                    <a:pt x="708" y="192"/>
                  </a:lnTo>
                  <a:lnTo>
                    <a:pt x="696" y="198"/>
                  </a:lnTo>
                  <a:lnTo>
                    <a:pt x="696" y="204"/>
                  </a:lnTo>
                  <a:lnTo>
                    <a:pt x="684" y="210"/>
                  </a:lnTo>
                  <a:lnTo>
                    <a:pt x="684" y="216"/>
                  </a:lnTo>
                  <a:lnTo>
                    <a:pt x="684" y="222"/>
                  </a:lnTo>
                  <a:lnTo>
                    <a:pt x="678" y="228"/>
                  </a:lnTo>
                  <a:lnTo>
                    <a:pt x="678" y="234"/>
                  </a:lnTo>
                  <a:lnTo>
                    <a:pt x="672" y="240"/>
                  </a:lnTo>
                  <a:lnTo>
                    <a:pt x="672" y="252"/>
                  </a:lnTo>
                  <a:lnTo>
                    <a:pt x="672" y="258"/>
                  </a:lnTo>
                  <a:lnTo>
                    <a:pt x="666" y="264"/>
                  </a:lnTo>
                  <a:lnTo>
                    <a:pt x="678" y="264"/>
                  </a:lnTo>
                  <a:lnTo>
                    <a:pt x="684" y="276"/>
                  </a:lnTo>
                  <a:lnTo>
                    <a:pt x="684" y="288"/>
                  </a:lnTo>
                  <a:lnTo>
                    <a:pt x="672" y="300"/>
                  </a:lnTo>
                  <a:lnTo>
                    <a:pt x="660" y="318"/>
                  </a:lnTo>
                  <a:lnTo>
                    <a:pt x="660" y="336"/>
                  </a:lnTo>
                  <a:lnTo>
                    <a:pt x="654" y="342"/>
                  </a:lnTo>
                  <a:lnTo>
                    <a:pt x="660" y="354"/>
                  </a:lnTo>
                  <a:lnTo>
                    <a:pt x="660" y="366"/>
                  </a:lnTo>
                  <a:lnTo>
                    <a:pt x="666" y="378"/>
                  </a:lnTo>
                  <a:lnTo>
                    <a:pt x="672" y="390"/>
                  </a:lnTo>
                  <a:lnTo>
                    <a:pt x="678" y="396"/>
                  </a:lnTo>
                  <a:lnTo>
                    <a:pt x="684" y="390"/>
                  </a:lnTo>
                  <a:lnTo>
                    <a:pt x="690" y="390"/>
                  </a:lnTo>
                  <a:lnTo>
                    <a:pt x="690" y="396"/>
                  </a:lnTo>
                  <a:lnTo>
                    <a:pt x="684" y="396"/>
                  </a:lnTo>
                  <a:lnTo>
                    <a:pt x="684" y="402"/>
                  </a:lnTo>
                  <a:lnTo>
                    <a:pt x="684" y="408"/>
                  </a:lnTo>
                  <a:lnTo>
                    <a:pt x="678" y="414"/>
                  </a:lnTo>
                  <a:lnTo>
                    <a:pt x="684" y="414"/>
                  </a:lnTo>
                  <a:lnTo>
                    <a:pt x="684" y="420"/>
                  </a:lnTo>
                  <a:lnTo>
                    <a:pt x="684" y="426"/>
                  </a:lnTo>
                  <a:lnTo>
                    <a:pt x="690" y="420"/>
                  </a:lnTo>
                  <a:lnTo>
                    <a:pt x="696" y="420"/>
                  </a:lnTo>
                  <a:lnTo>
                    <a:pt x="696" y="426"/>
                  </a:lnTo>
                  <a:lnTo>
                    <a:pt x="690" y="426"/>
                  </a:lnTo>
                  <a:lnTo>
                    <a:pt x="696" y="426"/>
                  </a:lnTo>
                  <a:lnTo>
                    <a:pt x="708" y="426"/>
                  </a:lnTo>
                  <a:lnTo>
                    <a:pt x="726" y="414"/>
                  </a:lnTo>
                  <a:lnTo>
                    <a:pt x="732" y="408"/>
                  </a:lnTo>
                  <a:lnTo>
                    <a:pt x="744" y="402"/>
                  </a:lnTo>
                  <a:lnTo>
                    <a:pt x="756" y="402"/>
                  </a:lnTo>
                  <a:lnTo>
                    <a:pt x="768" y="402"/>
                  </a:lnTo>
                  <a:lnTo>
                    <a:pt x="786" y="408"/>
                  </a:lnTo>
                  <a:lnTo>
                    <a:pt x="786" y="414"/>
                  </a:lnTo>
                  <a:lnTo>
                    <a:pt x="774" y="420"/>
                  </a:lnTo>
                  <a:lnTo>
                    <a:pt x="774" y="426"/>
                  </a:lnTo>
                  <a:lnTo>
                    <a:pt x="768" y="432"/>
                  </a:lnTo>
                  <a:lnTo>
                    <a:pt x="762" y="438"/>
                  </a:lnTo>
                  <a:lnTo>
                    <a:pt x="756" y="438"/>
                  </a:lnTo>
                  <a:lnTo>
                    <a:pt x="756" y="444"/>
                  </a:lnTo>
                  <a:lnTo>
                    <a:pt x="756" y="450"/>
                  </a:lnTo>
                  <a:lnTo>
                    <a:pt x="762" y="450"/>
                  </a:lnTo>
                  <a:lnTo>
                    <a:pt x="750" y="456"/>
                  </a:lnTo>
                  <a:lnTo>
                    <a:pt x="738" y="468"/>
                  </a:lnTo>
                  <a:lnTo>
                    <a:pt x="726" y="480"/>
                  </a:lnTo>
                  <a:lnTo>
                    <a:pt x="726" y="486"/>
                  </a:lnTo>
                  <a:lnTo>
                    <a:pt x="732" y="486"/>
                  </a:lnTo>
                  <a:lnTo>
                    <a:pt x="732" y="492"/>
                  </a:lnTo>
                  <a:lnTo>
                    <a:pt x="732" y="504"/>
                  </a:lnTo>
                  <a:lnTo>
                    <a:pt x="738" y="504"/>
                  </a:lnTo>
                  <a:lnTo>
                    <a:pt x="744" y="510"/>
                  </a:lnTo>
                  <a:lnTo>
                    <a:pt x="738" y="522"/>
                  </a:lnTo>
                  <a:lnTo>
                    <a:pt x="744" y="528"/>
                  </a:lnTo>
                  <a:lnTo>
                    <a:pt x="756" y="534"/>
                  </a:lnTo>
                  <a:lnTo>
                    <a:pt x="756" y="540"/>
                  </a:lnTo>
                  <a:lnTo>
                    <a:pt x="744" y="552"/>
                  </a:lnTo>
                  <a:lnTo>
                    <a:pt x="738" y="552"/>
                  </a:lnTo>
                  <a:lnTo>
                    <a:pt x="738" y="558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64"/>
                  </a:lnTo>
                  <a:lnTo>
                    <a:pt x="744" y="576"/>
                  </a:lnTo>
                  <a:lnTo>
                    <a:pt x="738" y="588"/>
                  </a:lnTo>
                  <a:lnTo>
                    <a:pt x="738" y="594"/>
                  </a:lnTo>
                  <a:lnTo>
                    <a:pt x="738" y="600"/>
                  </a:lnTo>
                  <a:lnTo>
                    <a:pt x="738" y="606"/>
                  </a:lnTo>
                  <a:lnTo>
                    <a:pt x="732" y="612"/>
                  </a:lnTo>
                  <a:lnTo>
                    <a:pt x="726" y="624"/>
                  </a:lnTo>
                  <a:lnTo>
                    <a:pt x="726" y="636"/>
                  </a:lnTo>
                  <a:lnTo>
                    <a:pt x="726" y="648"/>
                  </a:lnTo>
                  <a:lnTo>
                    <a:pt x="738" y="654"/>
                  </a:lnTo>
                  <a:lnTo>
                    <a:pt x="750" y="660"/>
                  </a:lnTo>
                  <a:lnTo>
                    <a:pt x="750" y="666"/>
                  </a:lnTo>
                  <a:lnTo>
                    <a:pt x="750" y="678"/>
                  </a:lnTo>
                  <a:lnTo>
                    <a:pt x="744" y="678"/>
                  </a:lnTo>
                  <a:lnTo>
                    <a:pt x="738" y="684"/>
                  </a:lnTo>
                  <a:lnTo>
                    <a:pt x="732" y="684"/>
                  </a:lnTo>
                  <a:lnTo>
                    <a:pt x="720" y="678"/>
                  </a:lnTo>
                  <a:lnTo>
                    <a:pt x="714" y="684"/>
                  </a:lnTo>
                  <a:lnTo>
                    <a:pt x="708" y="684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0" y="690"/>
                  </a:lnTo>
                  <a:lnTo>
                    <a:pt x="690" y="684"/>
                  </a:lnTo>
                  <a:lnTo>
                    <a:pt x="690" y="690"/>
                  </a:lnTo>
                  <a:lnTo>
                    <a:pt x="684" y="690"/>
                  </a:lnTo>
                  <a:lnTo>
                    <a:pt x="684" y="684"/>
                  </a:lnTo>
                  <a:lnTo>
                    <a:pt x="678" y="684"/>
                  </a:lnTo>
                  <a:lnTo>
                    <a:pt x="672" y="678"/>
                  </a:lnTo>
                  <a:lnTo>
                    <a:pt x="672" y="672"/>
                  </a:lnTo>
                  <a:lnTo>
                    <a:pt x="678" y="672"/>
                  </a:lnTo>
                  <a:lnTo>
                    <a:pt x="672" y="672"/>
                  </a:lnTo>
                  <a:lnTo>
                    <a:pt x="666" y="672"/>
                  </a:lnTo>
                  <a:lnTo>
                    <a:pt x="660" y="672"/>
                  </a:lnTo>
                  <a:lnTo>
                    <a:pt x="654" y="672"/>
                  </a:lnTo>
                  <a:lnTo>
                    <a:pt x="654" y="666"/>
                  </a:lnTo>
                  <a:lnTo>
                    <a:pt x="648" y="666"/>
                  </a:lnTo>
                  <a:lnTo>
                    <a:pt x="642" y="660"/>
                  </a:lnTo>
                  <a:lnTo>
                    <a:pt x="642" y="654"/>
                  </a:lnTo>
                  <a:lnTo>
                    <a:pt x="642" y="648"/>
                  </a:lnTo>
                  <a:lnTo>
                    <a:pt x="636" y="648"/>
                  </a:lnTo>
                  <a:lnTo>
                    <a:pt x="630" y="648"/>
                  </a:lnTo>
                  <a:lnTo>
                    <a:pt x="624" y="648"/>
                  </a:lnTo>
                  <a:lnTo>
                    <a:pt x="624" y="642"/>
                  </a:lnTo>
                  <a:lnTo>
                    <a:pt x="618" y="636"/>
                  </a:lnTo>
                  <a:lnTo>
                    <a:pt x="624" y="636"/>
                  </a:lnTo>
                  <a:lnTo>
                    <a:pt x="624" y="630"/>
                  </a:lnTo>
                  <a:lnTo>
                    <a:pt x="618" y="630"/>
                  </a:lnTo>
                  <a:lnTo>
                    <a:pt x="618" y="624"/>
                  </a:lnTo>
                  <a:lnTo>
                    <a:pt x="618" y="618"/>
                  </a:lnTo>
                  <a:lnTo>
                    <a:pt x="618" y="612"/>
                  </a:lnTo>
                  <a:lnTo>
                    <a:pt x="618" y="606"/>
                  </a:lnTo>
                  <a:lnTo>
                    <a:pt x="624" y="606"/>
                  </a:lnTo>
                  <a:lnTo>
                    <a:pt x="624" y="600"/>
                  </a:lnTo>
                  <a:lnTo>
                    <a:pt x="618" y="600"/>
                  </a:lnTo>
                  <a:lnTo>
                    <a:pt x="618" y="594"/>
                  </a:lnTo>
                  <a:lnTo>
                    <a:pt x="618" y="588"/>
                  </a:lnTo>
                  <a:lnTo>
                    <a:pt x="618" y="582"/>
                  </a:lnTo>
                  <a:lnTo>
                    <a:pt x="612" y="582"/>
                  </a:lnTo>
                  <a:lnTo>
                    <a:pt x="606" y="582"/>
                  </a:lnTo>
                  <a:lnTo>
                    <a:pt x="612" y="582"/>
                  </a:lnTo>
                  <a:lnTo>
                    <a:pt x="612" y="588"/>
                  </a:lnTo>
                  <a:lnTo>
                    <a:pt x="612" y="594"/>
                  </a:lnTo>
                  <a:lnTo>
                    <a:pt x="618" y="594"/>
                  </a:lnTo>
                  <a:lnTo>
                    <a:pt x="618" y="600"/>
                  </a:lnTo>
                  <a:lnTo>
                    <a:pt x="618" y="606"/>
                  </a:lnTo>
                  <a:lnTo>
                    <a:pt x="618" y="612"/>
                  </a:lnTo>
                  <a:lnTo>
                    <a:pt x="612" y="612"/>
                  </a:lnTo>
                  <a:lnTo>
                    <a:pt x="612" y="618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94" y="612"/>
                  </a:lnTo>
                  <a:lnTo>
                    <a:pt x="588" y="606"/>
                  </a:lnTo>
                  <a:lnTo>
                    <a:pt x="588" y="612"/>
                  </a:lnTo>
                  <a:lnTo>
                    <a:pt x="594" y="612"/>
                  </a:lnTo>
                  <a:lnTo>
                    <a:pt x="594" y="618"/>
                  </a:lnTo>
                  <a:lnTo>
                    <a:pt x="588" y="618"/>
                  </a:lnTo>
                  <a:lnTo>
                    <a:pt x="588" y="624"/>
                  </a:lnTo>
                  <a:lnTo>
                    <a:pt x="582" y="624"/>
                  </a:lnTo>
                  <a:lnTo>
                    <a:pt x="582" y="630"/>
                  </a:lnTo>
                  <a:lnTo>
                    <a:pt x="576" y="630"/>
                  </a:lnTo>
                  <a:lnTo>
                    <a:pt x="576" y="636"/>
                  </a:lnTo>
                  <a:lnTo>
                    <a:pt x="570" y="636"/>
                  </a:lnTo>
                  <a:lnTo>
                    <a:pt x="570" y="642"/>
                  </a:lnTo>
                  <a:lnTo>
                    <a:pt x="564" y="642"/>
                  </a:lnTo>
                  <a:lnTo>
                    <a:pt x="564" y="636"/>
                  </a:lnTo>
                  <a:lnTo>
                    <a:pt x="564" y="630"/>
                  </a:lnTo>
                  <a:lnTo>
                    <a:pt x="564" y="624"/>
                  </a:lnTo>
                  <a:lnTo>
                    <a:pt x="564" y="618"/>
                  </a:lnTo>
                  <a:lnTo>
                    <a:pt x="570" y="612"/>
                  </a:lnTo>
                  <a:lnTo>
                    <a:pt x="564" y="606"/>
                  </a:lnTo>
                  <a:lnTo>
                    <a:pt x="564" y="600"/>
                  </a:lnTo>
                  <a:lnTo>
                    <a:pt x="564" y="594"/>
                  </a:lnTo>
                  <a:lnTo>
                    <a:pt x="558" y="594"/>
                  </a:lnTo>
                  <a:lnTo>
                    <a:pt x="558" y="588"/>
                  </a:lnTo>
                  <a:lnTo>
                    <a:pt x="552" y="582"/>
                  </a:lnTo>
                  <a:lnTo>
                    <a:pt x="552" y="576"/>
                  </a:lnTo>
                  <a:lnTo>
                    <a:pt x="552" y="570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6" y="582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58" y="588"/>
                  </a:lnTo>
                  <a:lnTo>
                    <a:pt x="558" y="594"/>
                  </a:lnTo>
                  <a:lnTo>
                    <a:pt x="558" y="600"/>
                  </a:lnTo>
                  <a:lnTo>
                    <a:pt x="558" y="606"/>
                  </a:lnTo>
                  <a:lnTo>
                    <a:pt x="552" y="612"/>
                  </a:lnTo>
                  <a:lnTo>
                    <a:pt x="558" y="612"/>
                  </a:lnTo>
                  <a:lnTo>
                    <a:pt x="558" y="618"/>
                  </a:lnTo>
                  <a:lnTo>
                    <a:pt x="558" y="624"/>
                  </a:lnTo>
                  <a:lnTo>
                    <a:pt x="558" y="630"/>
                  </a:lnTo>
                  <a:lnTo>
                    <a:pt x="552" y="630"/>
                  </a:lnTo>
                  <a:lnTo>
                    <a:pt x="552" y="624"/>
                  </a:lnTo>
                  <a:lnTo>
                    <a:pt x="546" y="624"/>
                  </a:lnTo>
                  <a:lnTo>
                    <a:pt x="546" y="618"/>
                  </a:lnTo>
                  <a:lnTo>
                    <a:pt x="546" y="612"/>
                  </a:lnTo>
                  <a:lnTo>
                    <a:pt x="540" y="612"/>
                  </a:lnTo>
                  <a:lnTo>
                    <a:pt x="534" y="612"/>
                  </a:lnTo>
                  <a:lnTo>
                    <a:pt x="528" y="612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28" y="618"/>
                  </a:lnTo>
                  <a:lnTo>
                    <a:pt x="534" y="618"/>
                  </a:lnTo>
                  <a:lnTo>
                    <a:pt x="540" y="618"/>
                  </a:lnTo>
                  <a:lnTo>
                    <a:pt x="540" y="624"/>
                  </a:lnTo>
                  <a:lnTo>
                    <a:pt x="546" y="624"/>
                  </a:lnTo>
                  <a:lnTo>
                    <a:pt x="546" y="630"/>
                  </a:lnTo>
                  <a:lnTo>
                    <a:pt x="552" y="630"/>
                  </a:lnTo>
                  <a:lnTo>
                    <a:pt x="552" y="636"/>
                  </a:lnTo>
                  <a:lnTo>
                    <a:pt x="546" y="642"/>
                  </a:lnTo>
                  <a:lnTo>
                    <a:pt x="546" y="648"/>
                  </a:lnTo>
                  <a:lnTo>
                    <a:pt x="540" y="648"/>
                  </a:lnTo>
                  <a:lnTo>
                    <a:pt x="540" y="654"/>
                  </a:lnTo>
                  <a:lnTo>
                    <a:pt x="540" y="660"/>
                  </a:lnTo>
                  <a:lnTo>
                    <a:pt x="534" y="666"/>
                  </a:lnTo>
                  <a:lnTo>
                    <a:pt x="534" y="672"/>
                  </a:lnTo>
                  <a:lnTo>
                    <a:pt x="534" y="678"/>
                  </a:lnTo>
                  <a:lnTo>
                    <a:pt x="534" y="684"/>
                  </a:lnTo>
                  <a:lnTo>
                    <a:pt x="534" y="678"/>
                  </a:lnTo>
                  <a:lnTo>
                    <a:pt x="528" y="678"/>
                  </a:lnTo>
                  <a:lnTo>
                    <a:pt x="528" y="684"/>
                  </a:lnTo>
                  <a:lnTo>
                    <a:pt x="522" y="690"/>
                  </a:lnTo>
                  <a:lnTo>
                    <a:pt x="528" y="690"/>
                  </a:lnTo>
                  <a:lnTo>
                    <a:pt x="528" y="684"/>
                  </a:lnTo>
                  <a:lnTo>
                    <a:pt x="534" y="684"/>
                  </a:lnTo>
                  <a:lnTo>
                    <a:pt x="534" y="690"/>
                  </a:lnTo>
                  <a:lnTo>
                    <a:pt x="534" y="696"/>
                  </a:lnTo>
                  <a:lnTo>
                    <a:pt x="540" y="696"/>
                  </a:lnTo>
                  <a:lnTo>
                    <a:pt x="540" y="702"/>
                  </a:lnTo>
                  <a:lnTo>
                    <a:pt x="540" y="708"/>
                  </a:lnTo>
                  <a:lnTo>
                    <a:pt x="534" y="708"/>
                  </a:lnTo>
                  <a:lnTo>
                    <a:pt x="528" y="708"/>
                  </a:lnTo>
                  <a:lnTo>
                    <a:pt x="522" y="708"/>
                  </a:lnTo>
                  <a:lnTo>
                    <a:pt x="516" y="708"/>
                  </a:lnTo>
                  <a:lnTo>
                    <a:pt x="510" y="708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2" y="708"/>
                  </a:lnTo>
                  <a:lnTo>
                    <a:pt x="486" y="714"/>
                  </a:lnTo>
                  <a:lnTo>
                    <a:pt x="480" y="708"/>
                  </a:lnTo>
                  <a:lnTo>
                    <a:pt x="474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68" y="714"/>
                  </a:lnTo>
                  <a:lnTo>
                    <a:pt x="456" y="714"/>
                  </a:lnTo>
                  <a:lnTo>
                    <a:pt x="450" y="714"/>
                  </a:lnTo>
                  <a:lnTo>
                    <a:pt x="450" y="708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50" y="690"/>
                  </a:lnTo>
                  <a:lnTo>
                    <a:pt x="450" y="684"/>
                  </a:lnTo>
                  <a:lnTo>
                    <a:pt x="450" y="678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56" y="660"/>
                  </a:lnTo>
                  <a:lnTo>
                    <a:pt x="462" y="660"/>
                  </a:lnTo>
                  <a:lnTo>
                    <a:pt x="462" y="654"/>
                  </a:lnTo>
                  <a:lnTo>
                    <a:pt x="456" y="654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48"/>
                  </a:lnTo>
                  <a:lnTo>
                    <a:pt x="444" y="648"/>
                  </a:lnTo>
                  <a:lnTo>
                    <a:pt x="444" y="642"/>
                  </a:lnTo>
                  <a:lnTo>
                    <a:pt x="444" y="636"/>
                  </a:lnTo>
                  <a:lnTo>
                    <a:pt x="450" y="636"/>
                  </a:lnTo>
                  <a:lnTo>
                    <a:pt x="450" y="630"/>
                  </a:lnTo>
                  <a:lnTo>
                    <a:pt x="456" y="630"/>
                  </a:lnTo>
                  <a:lnTo>
                    <a:pt x="462" y="630"/>
                  </a:lnTo>
                  <a:lnTo>
                    <a:pt x="462" y="624"/>
                  </a:lnTo>
                  <a:lnTo>
                    <a:pt x="468" y="624"/>
                  </a:lnTo>
                  <a:lnTo>
                    <a:pt x="474" y="624"/>
                  </a:lnTo>
                  <a:lnTo>
                    <a:pt x="474" y="618"/>
                  </a:lnTo>
                  <a:lnTo>
                    <a:pt x="480" y="618"/>
                  </a:lnTo>
                  <a:lnTo>
                    <a:pt x="486" y="618"/>
                  </a:lnTo>
                  <a:lnTo>
                    <a:pt x="486" y="624"/>
                  </a:lnTo>
                  <a:lnTo>
                    <a:pt x="486" y="636"/>
                  </a:lnTo>
                  <a:lnTo>
                    <a:pt x="486" y="642"/>
                  </a:lnTo>
                  <a:lnTo>
                    <a:pt x="486" y="648"/>
                  </a:lnTo>
                  <a:lnTo>
                    <a:pt x="492" y="648"/>
                  </a:lnTo>
                  <a:lnTo>
                    <a:pt x="492" y="642"/>
                  </a:lnTo>
                  <a:lnTo>
                    <a:pt x="498" y="636"/>
                  </a:lnTo>
                  <a:lnTo>
                    <a:pt x="492" y="636"/>
                  </a:lnTo>
                  <a:lnTo>
                    <a:pt x="492" y="630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6" y="618"/>
                  </a:lnTo>
                  <a:lnTo>
                    <a:pt x="486" y="612"/>
                  </a:lnTo>
                  <a:lnTo>
                    <a:pt x="486" y="606"/>
                  </a:lnTo>
                  <a:lnTo>
                    <a:pt x="480" y="606"/>
                  </a:lnTo>
                  <a:lnTo>
                    <a:pt x="480" y="612"/>
                  </a:lnTo>
                  <a:lnTo>
                    <a:pt x="474" y="618"/>
                  </a:lnTo>
                  <a:lnTo>
                    <a:pt x="468" y="618"/>
                  </a:lnTo>
                  <a:lnTo>
                    <a:pt x="462" y="618"/>
                  </a:lnTo>
                  <a:lnTo>
                    <a:pt x="462" y="612"/>
                  </a:lnTo>
                  <a:lnTo>
                    <a:pt x="456" y="612"/>
                  </a:lnTo>
                  <a:lnTo>
                    <a:pt x="456" y="618"/>
                  </a:lnTo>
                  <a:lnTo>
                    <a:pt x="462" y="618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30"/>
                  </a:lnTo>
                  <a:lnTo>
                    <a:pt x="444" y="630"/>
                  </a:lnTo>
                  <a:lnTo>
                    <a:pt x="444" y="636"/>
                  </a:lnTo>
                  <a:lnTo>
                    <a:pt x="444" y="642"/>
                  </a:lnTo>
                  <a:lnTo>
                    <a:pt x="444" y="654"/>
                  </a:lnTo>
                  <a:lnTo>
                    <a:pt x="444" y="660"/>
                  </a:lnTo>
                  <a:lnTo>
                    <a:pt x="438" y="660"/>
                  </a:lnTo>
                  <a:lnTo>
                    <a:pt x="432" y="660"/>
                  </a:lnTo>
                  <a:lnTo>
                    <a:pt x="432" y="654"/>
                  </a:lnTo>
                  <a:lnTo>
                    <a:pt x="438" y="654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48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26" y="660"/>
                  </a:lnTo>
                  <a:lnTo>
                    <a:pt x="432" y="666"/>
                  </a:lnTo>
                  <a:lnTo>
                    <a:pt x="432" y="672"/>
                  </a:lnTo>
                  <a:lnTo>
                    <a:pt x="438" y="672"/>
                  </a:lnTo>
                  <a:lnTo>
                    <a:pt x="438" y="678"/>
                  </a:lnTo>
                  <a:lnTo>
                    <a:pt x="444" y="678"/>
                  </a:lnTo>
                  <a:lnTo>
                    <a:pt x="444" y="684"/>
                  </a:lnTo>
                  <a:lnTo>
                    <a:pt x="438" y="690"/>
                  </a:lnTo>
                  <a:lnTo>
                    <a:pt x="438" y="696"/>
                  </a:lnTo>
                  <a:lnTo>
                    <a:pt x="438" y="702"/>
                  </a:lnTo>
                  <a:lnTo>
                    <a:pt x="432" y="702"/>
                  </a:lnTo>
                  <a:lnTo>
                    <a:pt x="426" y="702"/>
                  </a:lnTo>
                  <a:lnTo>
                    <a:pt x="426" y="696"/>
                  </a:lnTo>
                  <a:lnTo>
                    <a:pt x="414" y="696"/>
                  </a:lnTo>
                  <a:lnTo>
                    <a:pt x="402" y="696"/>
                  </a:lnTo>
                  <a:lnTo>
                    <a:pt x="402" y="690"/>
                  </a:lnTo>
                  <a:lnTo>
                    <a:pt x="396" y="690"/>
                  </a:lnTo>
                  <a:lnTo>
                    <a:pt x="390" y="690"/>
                  </a:lnTo>
                  <a:lnTo>
                    <a:pt x="384" y="690"/>
                  </a:lnTo>
                  <a:lnTo>
                    <a:pt x="384" y="684"/>
                  </a:lnTo>
                  <a:lnTo>
                    <a:pt x="384" y="678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390" y="660"/>
                  </a:lnTo>
                  <a:lnTo>
                    <a:pt x="390" y="654"/>
                  </a:lnTo>
                  <a:lnTo>
                    <a:pt x="384" y="648"/>
                  </a:lnTo>
                  <a:lnTo>
                    <a:pt x="384" y="642"/>
                  </a:lnTo>
                  <a:lnTo>
                    <a:pt x="378" y="636"/>
                  </a:lnTo>
                  <a:lnTo>
                    <a:pt x="378" y="642"/>
                  </a:lnTo>
                  <a:lnTo>
                    <a:pt x="378" y="648"/>
                  </a:lnTo>
                  <a:lnTo>
                    <a:pt x="372" y="648"/>
                  </a:lnTo>
                  <a:lnTo>
                    <a:pt x="378" y="654"/>
                  </a:lnTo>
                  <a:lnTo>
                    <a:pt x="378" y="660"/>
                  </a:lnTo>
                  <a:lnTo>
                    <a:pt x="378" y="666"/>
                  </a:lnTo>
                  <a:lnTo>
                    <a:pt x="372" y="672"/>
                  </a:lnTo>
                  <a:lnTo>
                    <a:pt x="378" y="672"/>
                  </a:lnTo>
                  <a:lnTo>
                    <a:pt x="378" y="678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54" y="666"/>
                  </a:lnTo>
                  <a:lnTo>
                    <a:pt x="354" y="660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0" y="654"/>
                  </a:lnTo>
                  <a:lnTo>
                    <a:pt x="324" y="648"/>
                  </a:lnTo>
                  <a:lnTo>
                    <a:pt x="318" y="648"/>
                  </a:lnTo>
                  <a:lnTo>
                    <a:pt x="318" y="642"/>
                  </a:lnTo>
                  <a:lnTo>
                    <a:pt x="312" y="642"/>
                  </a:lnTo>
                  <a:lnTo>
                    <a:pt x="306" y="636"/>
                  </a:lnTo>
                  <a:lnTo>
                    <a:pt x="300" y="636"/>
                  </a:lnTo>
                  <a:lnTo>
                    <a:pt x="300" y="630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0" y="618"/>
                  </a:lnTo>
                  <a:lnTo>
                    <a:pt x="306" y="612"/>
                  </a:lnTo>
                  <a:lnTo>
                    <a:pt x="300" y="612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294" y="612"/>
                  </a:lnTo>
                  <a:lnTo>
                    <a:pt x="288" y="618"/>
                  </a:lnTo>
                  <a:lnTo>
                    <a:pt x="288" y="612"/>
                  </a:lnTo>
                  <a:lnTo>
                    <a:pt x="288" y="618"/>
                  </a:lnTo>
                  <a:lnTo>
                    <a:pt x="294" y="618"/>
                  </a:lnTo>
                  <a:lnTo>
                    <a:pt x="300" y="624"/>
                  </a:lnTo>
                  <a:lnTo>
                    <a:pt x="294" y="624"/>
                  </a:lnTo>
                  <a:lnTo>
                    <a:pt x="288" y="624"/>
                  </a:lnTo>
                  <a:lnTo>
                    <a:pt x="282" y="61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70" y="600"/>
                  </a:lnTo>
                  <a:lnTo>
                    <a:pt x="270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82" y="588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594"/>
                  </a:lnTo>
                  <a:lnTo>
                    <a:pt x="264" y="600"/>
                  </a:lnTo>
                  <a:lnTo>
                    <a:pt x="264" y="594"/>
                  </a:lnTo>
                  <a:lnTo>
                    <a:pt x="270" y="594"/>
                  </a:lnTo>
                  <a:lnTo>
                    <a:pt x="270" y="588"/>
                  </a:lnTo>
                  <a:lnTo>
                    <a:pt x="264" y="594"/>
                  </a:lnTo>
                  <a:lnTo>
                    <a:pt x="258" y="594"/>
                  </a:lnTo>
                  <a:lnTo>
                    <a:pt x="258" y="588"/>
                  </a:lnTo>
                  <a:lnTo>
                    <a:pt x="252" y="588"/>
                  </a:lnTo>
                  <a:lnTo>
                    <a:pt x="246" y="588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52" y="588"/>
                  </a:lnTo>
                  <a:lnTo>
                    <a:pt x="252" y="594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46" y="594"/>
                  </a:lnTo>
                  <a:lnTo>
                    <a:pt x="246" y="588"/>
                  </a:lnTo>
                  <a:lnTo>
                    <a:pt x="240" y="588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2" y="570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64"/>
                  </a:lnTo>
                  <a:lnTo>
                    <a:pt x="234" y="564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34" y="558"/>
                  </a:lnTo>
                  <a:lnTo>
                    <a:pt x="228" y="558"/>
                  </a:lnTo>
                  <a:lnTo>
                    <a:pt x="222" y="558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2" y="564"/>
                  </a:lnTo>
                  <a:lnTo>
                    <a:pt x="222" y="558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04" y="546"/>
                  </a:lnTo>
                  <a:lnTo>
                    <a:pt x="204" y="540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10" y="540"/>
                  </a:lnTo>
                  <a:lnTo>
                    <a:pt x="210" y="534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8"/>
                  </a:lnTo>
                  <a:lnTo>
                    <a:pt x="174" y="516"/>
                  </a:lnTo>
                  <a:lnTo>
                    <a:pt x="168" y="510"/>
                  </a:lnTo>
                  <a:lnTo>
                    <a:pt x="162" y="504"/>
                  </a:lnTo>
                  <a:lnTo>
                    <a:pt x="156" y="498"/>
                  </a:lnTo>
                  <a:lnTo>
                    <a:pt x="156" y="492"/>
                  </a:lnTo>
                  <a:lnTo>
                    <a:pt x="150" y="486"/>
                  </a:lnTo>
                  <a:lnTo>
                    <a:pt x="144" y="480"/>
                  </a:lnTo>
                  <a:lnTo>
                    <a:pt x="144" y="474"/>
                  </a:lnTo>
                  <a:lnTo>
                    <a:pt x="138" y="474"/>
                  </a:lnTo>
                  <a:lnTo>
                    <a:pt x="138" y="468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26" y="450"/>
                  </a:lnTo>
                  <a:lnTo>
                    <a:pt x="126" y="444"/>
                  </a:lnTo>
                  <a:lnTo>
                    <a:pt x="114" y="438"/>
                  </a:lnTo>
                  <a:lnTo>
                    <a:pt x="114" y="432"/>
                  </a:lnTo>
                  <a:lnTo>
                    <a:pt x="114" y="426"/>
                  </a:lnTo>
                  <a:lnTo>
                    <a:pt x="114" y="432"/>
                  </a:lnTo>
                  <a:lnTo>
                    <a:pt x="120" y="432"/>
                  </a:lnTo>
                  <a:lnTo>
                    <a:pt x="120" y="438"/>
                  </a:lnTo>
                  <a:lnTo>
                    <a:pt x="120" y="444"/>
                  </a:lnTo>
                  <a:lnTo>
                    <a:pt x="126" y="444"/>
                  </a:lnTo>
                  <a:lnTo>
                    <a:pt x="126" y="438"/>
                  </a:lnTo>
                  <a:lnTo>
                    <a:pt x="120" y="438"/>
                  </a:lnTo>
                  <a:lnTo>
                    <a:pt x="126" y="432"/>
                  </a:lnTo>
                  <a:lnTo>
                    <a:pt x="126" y="426"/>
                  </a:lnTo>
                  <a:lnTo>
                    <a:pt x="132" y="420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08" y="414"/>
                  </a:lnTo>
                  <a:lnTo>
                    <a:pt x="102" y="414"/>
                  </a:lnTo>
                  <a:lnTo>
                    <a:pt x="102" y="408"/>
                  </a:lnTo>
                  <a:lnTo>
                    <a:pt x="96" y="402"/>
                  </a:lnTo>
                  <a:lnTo>
                    <a:pt x="96" y="396"/>
                  </a:lnTo>
                  <a:lnTo>
                    <a:pt x="96" y="390"/>
                  </a:lnTo>
                  <a:lnTo>
                    <a:pt x="90" y="390"/>
                  </a:lnTo>
                  <a:lnTo>
                    <a:pt x="90" y="384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78" y="372"/>
                  </a:lnTo>
                  <a:lnTo>
                    <a:pt x="78" y="366"/>
                  </a:lnTo>
                  <a:lnTo>
                    <a:pt x="78" y="360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6" y="348"/>
                  </a:lnTo>
                  <a:lnTo>
                    <a:pt x="66" y="342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6" y="336"/>
                  </a:lnTo>
                  <a:lnTo>
                    <a:pt x="66" y="342"/>
                  </a:lnTo>
                  <a:lnTo>
                    <a:pt x="72" y="348"/>
                  </a:lnTo>
                  <a:lnTo>
                    <a:pt x="78" y="354"/>
                  </a:lnTo>
                  <a:lnTo>
                    <a:pt x="84" y="360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0" y="360"/>
                  </a:lnTo>
                  <a:lnTo>
                    <a:pt x="84" y="360"/>
                  </a:lnTo>
                  <a:lnTo>
                    <a:pt x="84" y="354"/>
                  </a:lnTo>
                  <a:lnTo>
                    <a:pt x="78" y="348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66" y="330"/>
                  </a:lnTo>
                  <a:lnTo>
                    <a:pt x="66" y="324"/>
                  </a:lnTo>
                  <a:lnTo>
                    <a:pt x="60" y="318"/>
                  </a:lnTo>
                  <a:lnTo>
                    <a:pt x="60" y="312"/>
                  </a:lnTo>
                  <a:lnTo>
                    <a:pt x="54" y="306"/>
                  </a:lnTo>
                  <a:lnTo>
                    <a:pt x="54" y="300"/>
                  </a:lnTo>
                  <a:lnTo>
                    <a:pt x="54" y="294"/>
                  </a:lnTo>
                  <a:lnTo>
                    <a:pt x="48" y="288"/>
                  </a:lnTo>
                  <a:lnTo>
                    <a:pt x="48" y="294"/>
                  </a:lnTo>
                  <a:lnTo>
                    <a:pt x="48" y="288"/>
                  </a:lnTo>
                  <a:lnTo>
                    <a:pt x="48" y="282"/>
                  </a:lnTo>
                  <a:lnTo>
                    <a:pt x="48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18" y="216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62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68"/>
                  </a:lnTo>
                  <a:lnTo>
                    <a:pt x="42" y="168"/>
                  </a:lnTo>
                  <a:lnTo>
                    <a:pt x="42" y="174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86"/>
                  </a:lnTo>
                  <a:close/>
                  <a:moveTo>
                    <a:pt x="642" y="660"/>
                  </a:moveTo>
                  <a:lnTo>
                    <a:pt x="642" y="666"/>
                  </a:lnTo>
                  <a:lnTo>
                    <a:pt x="648" y="666"/>
                  </a:lnTo>
                  <a:lnTo>
                    <a:pt x="648" y="672"/>
                  </a:lnTo>
                  <a:lnTo>
                    <a:pt x="648" y="678"/>
                  </a:lnTo>
                  <a:lnTo>
                    <a:pt x="654" y="678"/>
                  </a:lnTo>
                  <a:lnTo>
                    <a:pt x="654" y="684"/>
                  </a:lnTo>
                  <a:lnTo>
                    <a:pt x="660" y="684"/>
                  </a:lnTo>
                  <a:lnTo>
                    <a:pt x="660" y="690"/>
                  </a:lnTo>
                  <a:lnTo>
                    <a:pt x="654" y="690"/>
                  </a:lnTo>
                  <a:lnTo>
                    <a:pt x="648" y="690"/>
                  </a:lnTo>
                  <a:lnTo>
                    <a:pt x="636" y="696"/>
                  </a:lnTo>
                  <a:lnTo>
                    <a:pt x="630" y="696"/>
                  </a:lnTo>
                  <a:lnTo>
                    <a:pt x="624" y="696"/>
                  </a:lnTo>
                  <a:lnTo>
                    <a:pt x="618" y="696"/>
                  </a:lnTo>
                  <a:lnTo>
                    <a:pt x="612" y="696"/>
                  </a:lnTo>
                  <a:lnTo>
                    <a:pt x="594" y="696"/>
                  </a:lnTo>
                  <a:lnTo>
                    <a:pt x="588" y="696"/>
                  </a:lnTo>
                  <a:lnTo>
                    <a:pt x="582" y="696"/>
                  </a:lnTo>
                  <a:lnTo>
                    <a:pt x="570" y="702"/>
                  </a:lnTo>
                  <a:lnTo>
                    <a:pt x="564" y="702"/>
                  </a:lnTo>
                  <a:lnTo>
                    <a:pt x="558" y="702"/>
                  </a:lnTo>
                  <a:lnTo>
                    <a:pt x="552" y="702"/>
                  </a:lnTo>
                  <a:lnTo>
                    <a:pt x="552" y="696"/>
                  </a:lnTo>
                  <a:lnTo>
                    <a:pt x="546" y="696"/>
                  </a:lnTo>
                  <a:lnTo>
                    <a:pt x="546" y="690"/>
                  </a:lnTo>
                  <a:lnTo>
                    <a:pt x="552" y="684"/>
                  </a:lnTo>
                  <a:lnTo>
                    <a:pt x="552" y="678"/>
                  </a:lnTo>
                  <a:lnTo>
                    <a:pt x="558" y="672"/>
                  </a:lnTo>
                  <a:lnTo>
                    <a:pt x="558" y="666"/>
                  </a:lnTo>
                  <a:lnTo>
                    <a:pt x="564" y="666"/>
                  </a:lnTo>
                  <a:lnTo>
                    <a:pt x="570" y="666"/>
                  </a:lnTo>
                  <a:lnTo>
                    <a:pt x="570" y="654"/>
                  </a:lnTo>
                  <a:lnTo>
                    <a:pt x="570" y="648"/>
                  </a:lnTo>
                  <a:lnTo>
                    <a:pt x="582" y="642"/>
                  </a:lnTo>
                  <a:lnTo>
                    <a:pt x="582" y="636"/>
                  </a:lnTo>
                  <a:lnTo>
                    <a:pt x="588" y="636"/>
                  </a:lnTo>
                  <a:lnTo>
                    <a:pt x="588" y="630"/>
                  </a:lnTo>
                  <a:lnTo>
                    <a:pt x="594" y="624"/>
                  </a:lnTo>
                  <a:lnTo>
                    <a:pt x="594" y="618"/>
                  </a:lnTo>
                  <a:lnTo>
                    <a:pt x="600" y="618"/>
                  </a:lnTo>
                  <a:lnTo>
                    <a:pt x="600" y="612"/>
                  </a:lnTo>
                  <a:lnTo>
                    <a:pt x="606" y="612"/>
                  </a:lnTo>
                  <a:lnTo>
                    <a:pt x="606" y="618"/>
                  </a:lnTo>
                  <a:lnTo>
                    <a:pt x="612" y="618"/>
                  </a:lnTo>
                  <a:lnTo>
                    <a:pt x="618" y="618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18" y="636"/>
                  </a:lnTo>
                  <a:lnTo>
                    <a:pt x="618" y="642"/>
                  </a:lnTo>
                  <a:lnTo>
                    <a:pt x="618" y="648"/>
                  </a:lnTo>
                  <a:lnTo>
                    <a:pt x="624" y="648"/>
                  </a:lnTo>
                  <a:lnTo>
                    <a:pt x="630" y="648"/>
                  </a:lnTo>
                  <a:lnTo>
                    <a:pt x="636" y="654"/>
                  </a:lnTo>
                  <a:lnTo>
                    <a:pt x="642" y="654"/>
                  </a:lnTo>
                  <a:lnTo>
                    <a:pt x="642" y="66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27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92" name="Freeform 6">
              <a:extLst>
                <a:ext uri="{FF2B5EF4-FFF2-40B4-BE49-F238E27FC236}">
                  <a16:creationId xmlns:a16="http://schemas.microsoft.com/office/drawing/2014/main" id="{9A0F662F-35F5-48A6-BBAF-739B4F44F8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729039" y="5448300"/>
              <a:ext cx="712787" cy="844550"/>
            </a:xfrm>
            <a:custGeom>
              <a:avLst/>
              <a:gdLst>
                <a:gd name="T0" fmla="*/ 2147483647 w 762"/>
                <a:gd name="T1" fmla="*/ 2147483647 h 900"/>
                <a:gd name="T2" fmla="*/ 2147483647 w 762"/>
                <a:gd name="T3" fmla="*/ 2147483647 h 900"/>
                <a:gd name="T4" fmla="*/ 0 w 762"/>
                <a:gd name="T5" fmla="*/ 2147483647 h 900"/>
                <a:gd name="T6" fmla="*/ 2147483647 w 762"/>
                <a:gd name="T7" fmla="*/ 2147483647 h 900"/>
                <a:gd name="T8" fmla="*/ 2147483647 w 762"/>
                <a:gd name="T9" fmla="*/ 2147483647 h 900"/>
                <a:gd name="T10" fmla="*/ 2147483647 w 762"/>
                <a:gd name="T11" fmla="*/ 2147483647 h 900"/>
                <a:gd name="T12" fmla="*/ 2147483647 w 762"/>
                <a:gd name="T13" fmla="*/ 0 h 900"/>
                <a:gd name="T14" fmla="*/ 2147483647 w 762"/>
                <a:gd name="T15" fmla="*/ 2147483647 h 900"/>
                <a:gd name="T16" fmla="*/ 2147483647 w 762"/>
                <a:gd name="T17" fmla="*/ 2147483647 h 900"/>
                <a:gd name="T18" fmla="*/ 2147483647 w 762"/>
                <a:gd name="T19" fmla="*/ 2147483647 h 900"/>
                <a:gd name="T20" fmla="*/ 2147483647 w 762"/>
                <a:gd name="T21" fmla="*/ 2147483647 h 900"/>
                <a:gd name="T22" fmla="*/ 2147483647 w 762"/>
                <a:gd name="T23" fmla="*/ 2147483647 h 900"/>
                <a:gd name="T24" fmla="*/ 2147483647 w 762"/>
                <a:gd name="T25" fmla="*/ 2147483647 h 900"/>
                <a:gd name="T26" fmla="*/ 2147483647 w 762"/>
                <a:gd name="T27" fmla="*/ 2147483647 h 900"/>
                <a:gd name="T28" fmla="*/ 2147483647 w 762"/>
                <a:gd name="T29" fmla="*/ 2147483647 h 900"/>
                <a:gd name="T30" fmla="*/ 2147483647 w 762"/>
                <a:gd name="T31" fmla="*/ 2147483647 h 900"/>
                <a:gd name="T32" fmla="*/ 2147483647 w 762"/>
                <a:gd name="T33" fmla="*/ 2147483647 h 900"/>
                <a:gd name="T34" fmla="*/ 2147483647 w 762"/>
                <a:gd name="T35" fmla="*/ 2147483647 h 900"/>
                <a:gd name="T36" fmla="*/ 2147483647 w 762"/>
                <a:gd name="T37" fmla="*/ 2147483647 h 900"/>
                <a:gd name="T38" fmla="*/ 2147483647 w 762"/>
                <a:gd name="T39" fmla="*/ 2147483647 h 900"/>
                <a:gd name="T40" fmla="*/ 2147483647 w 762"/>
                <a:gd name="T41" fmla="*/ 2147483647 h 900"/>
                <a:gd name="T42" fmla="*/ 2147483647 w 762"/>
                <a:gd name="T43" fmla="*/ 2147483647 h 900"/>
                <a:gd name="T44" fmla="*/ 2147483647 w 762"/>
                <a:gd name="T45" fmla="*/ 2147483647 h 900"/>
                <a:gd name="T46" fmla="*/ 2147483647 w 762"/>
                <a:gd name="T47" fmla="*/ 2147483647 h 900"/>
                <a:gd name="T48" fmla="*/ 2147483647 w 762"/>
                <a:gd name="T49" fmla="*/ 2147483647 h 900"/>
                <a:gd name="T50" fmla="*/ 2147483647 w 762"/>
                <a:gd name="T51" fmla="*/ 2147483647 h 900"/>
                <a:gd name="T52" fmla="*/ 2147483647 w 762"/>
                <a:gd name="T53" fmla="*/ 2147483647 h 900"/>
                <a:gd name="T54" fmla="*/ 2147483647 w 762"/>
                <a:gd name="T55" fmla="*/ 2147483647 h 900"/>
                <a:gd name="T56" fmla="*/ 2147483647 w 762"/>
                <a:gd name="T57" fmla="*/ 2147483647 h 900"/>
                <a:gd name="T58" fmla="*/ 2147483647 w 762"/>
                <a:gd name="T59" fmla="*/ 2147483647 h 900"/>
                <a:gd name="T60" fmla="*/ 2147483647 w 762"/>
                <a:gd name="T61" fmla="*/ 2147483647 h 900"/>
                <a:gd name="T62" fmla="*/ 2147483647 w 762"/>
                <a:gd name="T63" fmla="*/ 2147483647 h 900"/>
                <a:gd name="T64" fmla="*/ 2147483647 w 762"/>
                <a:gd name="T65" fmla="*/ 2147483647 h 900"/>
                <a:gd name="T66" fmla="*/ 2147483647 w 762"/>
                <a:gd name="T67" fmla="*/ 2147483647 h 900"/>
                <a:gd name="T68" fmla="*/ 2147483647 w 762"/>
                <a:gd name="T69" fmla="*/ 2147483647 h 900"/>
                <a:gd name="T70" fmla="*/ 2147483647 w 762"/>
                <a:gd name="T71" fmla="*/ 2147483647 h 900"/>
                <a:gd name="T72" fmla="*/ 2147483647 w 762"/>
                <a:gd name="T73" fmla="*/ 2147483647 h 900"/>
                <a:gd name="T74" fmla="*/ 2147483647 w 762"/>
                <a:gd name="T75" fmla="*/ 2147483647 h 900"/>
                <a:gd name="T76" fmla="*/ 2147483647 w 762"/>
                <a:gd name="T77" fmla="*/ 2147483647 h 900"/>
                <a:gd name="T78" fmla="*/ 2147483647 w 762"/>
                <a:gd name="T79" fmla="*/ 2147483647 h 900"/>
                <a:gd name="T80" fmla="*/ 2147483647 w 762"/>
                <a:gd name="T81" fmla="*/ 2147483647 h 900"/>
                <a:gd name="T82" fmla="*/ 2147483647 w 762"/>
                <a:gd name="T83" fmla="*/ 2147483647 h 900"/>
                <a:gd name="T84" fmla="*/ 2147483647 w 762"/>
                <a:gd name="T85" fmla="*/ 2147483647 h 900"/>
                <a:gd name="T86" fmla="*/ 2147483647 w 762"/>
                <a:gd name="T87" fmla="*/ 2147483647 h 900"/>
                <a:gd name="T88" fmla="*/ 2147483647 w 762"/>
                <a:gd name="T89" fmla="*/ 2147483647 h 900"/>
                <a:gd name="T90" fmla="*/ 2147483647 w 762"/>
                <a:gd name="T91" fmla="*/ 2147483647 h 900"/>
                <a:gd name="T92" fmla="*/ 2147483647 w 762"/>
                <a:gd name="T93" fmla="*/ 2147483647 h 900"/>
                <a:gd name="T94" fmla="*/ 2147483647 w 762"/>
                <a:gd name="T95" fmla="*/ 2147483647 h 900"/>
                <a:gd name="T96" fmla="*/ 2147483647 w 762"/>
                <a:gd name="T97" fmla="*/ 2147483647 h 900"/>
                <a:gd name="T98" fmla="*/ 2147483647 w 762"/>
                <a:gd name="T99" fmla="*/ 2147483647 h 900"/>
                <a:gd name="T100" fmla="*/ 2147483647 w 762"/>
                <a:gd name="T101" fmla="*/ 2147483647 h 900"/>
                <a:gd name="T102" fmla="*/ 2147483647 w 762"/>
                <a:gd name="T103" fmla="*/ 2147483647 h 900"/>
                <a:gd name="T104" fmla="*/ 2147483647 w 762"/>
                <a:gd name="T105" fmla="*/ 2147483647 h 900"/>
                <a:gd name="T106" fmla="*/ 2147483647 w 762"/>
                <a:gd name="T107" fmla="*/ 2147483647 h 900"/>
                <a:gd name="T108" fmla="*/ 2147483647 w 762"/>
                <a:gd name="T109" fmla="*/ 2147483647 h 900"/>
                <a:gd name="T110" fmla="*/ 2147483647 w 762"/>
                <a:gd name="T111" fmla="*/ 2147483647 h 900"/>
                <a:gd name="T112" fmla="*/ 2147483647 w 762"/>
                <a:gd name="T113" fmla="*/ 2147483647 h 900"/>
                <a:gd name="T114" fmla="*/ 2147483647 w 762"/>
                <a:gd name="T115" fmla="*/ 2147483647 h 900"/>
                <a:gd name="T116" fmla="*/ 2147483647 w 762"/>
                <a:gd name="T117" fmla="*/ 2147483647 h 900"/>
                <a:gd name="T118" fmla="*/ 2147483647 w 762"/>
                <a:gd name="T119" fmla="*/ 2147483647 h 900"/>
                <a:gd name="T120" fmla="*/ 2147483647 w 762"/>
                <a:gd name="T121" fmla="*/ 2147483647 h 900"/>
                <a:gd name="T122" fmla="*/ 2147483647 w 762"/>
                <a:gd name="T123" fmla="*/ 2147483647 h 9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900"/>
                <a:gd name="T188" fmla="*/ 762 w 762"/>
                <a:gd name="T189" fmla="*/ 900 h 90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900">
                  <a:moveTo>
                    <a:pt x="90" y="768"/>
                  </a:moveTo>
                  <a:lnTo>
                    <a:pt x="102" y="756"/>
                  </a:lnTo>
                  <a:lnTo>
                    <a:pt x="102" y="750"/>
                  </a:lnTo>
                  <a:lnTo>
                    <a:pt x="90" y="744"/>
                  </a:lnTo>
                  <a:lnTo>
                    <a:pt x="84" y="738"/>
                  </a:lnTo>
                  <a:lnTo>
                    <a:pt x="90" y="726"/>
                  </a:lnTo>
                  <a:lnTo>
                    <a:pt x="84" y="720"/>
                  </a:lnTo>
                  <a:lnTo>
                    <a:pt x="78" y="720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72" y="702"/>
                  </a:lnTo>
                  <a:lnTo>
                    <a:pt x="72" y="696"/>
                  </a:lnTo>
                  <a:lnTo>
                    <a:pt x="84" y="684"/>
                  </a:lnTo>
                  <a:lnTo>
                    <a:pt x="96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102" y="654"/>
                  </a:lnTo>
                  <a:lnTo>
                    <a:pt x="108" y="654"/>
                  </a:lnTo>
                  <a:lnTo>
                    <a:pt x="114" y="648"/>
                  </a:lnTo>
                  <a:lnTo>
                    <a:pt x="120" y="642"/>
                  </a:lnTo>
                  <a:lnTo>
                    <a:pt x="120" y="636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14" y="618"/>
                  </a:lnTo>
                  <a:lnTo>
                    <a:pt x="102" y="618"/>
                  </a:lnTo>
                  <a:lnTo>
                    <a:pt x="90" y="618"/>
                  </a:lnTo>
                  <a:lnTo>
                    <a:pt x="78" y="624"/>
                  </a:lnTo>
                  <a:lnTo>
                    <a:pt x="72" y="630"/>
                  </a:lnTo>
                  <a:lnTo>
                    <a:pt x="54" y="642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42" y="642"/>
                  </a:lnTo>
                  <a:lnTo>
                    <a:pt x="42" y="636"/>
                  </a:lnTo>
                  <a:lnTo>
                    <a:pt x="36" y="636"/>
                  </a:lnTo>
                  <a:lnTo>
                    <a:pt x="30" y="642"/>
                  </a:lnTo>
                  <a:lnTo>
                    <a:pt x="30" y="636"/>
                  </a:lnTo>
                  <a:lnTo>
                    <a:pt x="30" y="630"/>
                  </a:lnTo>
                  <a:lnTo>
                    <a:pt x="24" y="630"/>
                  </a:lnTo>
                  <a:lnTo>
                    <a:pt x="30" y="624"/>
                  </a:lnTo>
                  <a:lnTo>
                    <a:pt x="30" y="618"/>
                  </a:lnTo>
                  <a:lnTo>
                    <a:pt x="30" y="612"/>
                  </a:lnTo>
                  <a:lnTo>
                    <a:pt x="36" y="612"/>
                  </a:lnTo>
                  <a:lnTo>
                    <a:pt x="36" y="606"/>
                  </a:lnTo>
                  <a:lnTo>
                    <a:pt x="30" y="606"/>
                  </a:lnTo>
                  <a:lnTo>
                    <a:pt x="24" y="612"/>
                  </a:lnTo>
                  <a:lnTo>
                    <a:pt x="18" y="606"/>
                  </a:lnTo>
                  <a:lnTo>
                    <a:pt x="12" y="594"/>
                  </a:lnTo>
                  <a:lnTo>
                    <a:pt x="6" y="582"/>
                  </a:lnTo>
                  <a:lnTo>
                    <a:pt x="6" y="570"/>
                  </a:lnTo>
                  <a:lnTo>
                    <a:pt x="0" y="558"/>
                  </a:lnTo>
                  <a:lnTo>
                    <a:pt x="6" y="552"/>
                  </a:lnTo>
                  <a:lnTo>
                    <a:pt x="6" y="534"/>
                  </a:lnTo>
                  <a:lnTo>
                    <a:pt x="18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12" y="480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54" y="408"/>
                  </a:lnTo>
                  <a:lnTo>
                    <a:pt x="54" y="396"/>
                  </a:lnTo>
                  <a:lnTo>
                    <a:pt x="54" y="384"/>
                  </a:lnTo>
                  <a:lnTo>
                    <a:pt x="60" y="378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66"/>
                  </a:lnTo>
                  <a:lnTo>
                    <a:pt x="60" y="360"/>
                  </a:lnTo>
                  <a:lnTo>
                    <a:pt x="66" y="360"/>
                  </a:lnTo>
                  <a:lnTo>
                    <a:pt x="72" y="354"/>
                  </a:lnTo>
                  <a:lnTo>
                    <a:pt x="78" y="354"/>
                  </a:lnTo>
                  <a:lnTo>
                    <a:pt x="84" y="348"/>
                  </a:lnTo>
                  <a:lnTo>
                    <a:pt x="96" y="348"/>
                  </a:lnTo>
                  <a:lnTo>
                    <a:pt x="96" y="342"/>
                  </a:lnTo>
                  <a:lnTo>
                    <a:pt x="96" y="336"/>
                  </a:lnTo>
                  <a:lnTo>
                    <a:pt x="96" y="330"/>
                  </a:lnTo>
                  <a:lnTo>
                    <a:pt x="96" y="324"/>
                  </a:lnTo>
                  <a:lnTo>
                    <a:pt x="102" y="318"/>
                  </a:lnTo>
                  <a:lnTo>
                    <a:pt x="108" y="312"/>
                  </a:lnTo>
                  <a:lnTo>
                    <a:pt x="96" y="306"/>
                  </a:lnTo>
                  <a:lnTo>
                    <a:pt x="84" y="288"/>
                  </a:lnTo>
                  <a:lnTo>
                    <a:pt x="108" y="258"/>
                  </a:lnTo>
                  <a:lnTo>
                    <a:pt x="102" y="222"/>
                  </a:lnTo>
                  <a:lnTo>
                    <a:pt x="84" y="222"/>
                  </a:lnTo>
                  <a:lnTo>
                    <a:pt x="54" y="216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2"/>
                  </a:lnTo>
                  <a:lnTo>
                    <a:pt x="72" y="192"/>
                  </a:lnTo>
                  <a:lnTo>
                    <a:pt x="84" y="186"/>
                  </a:lnTo>
                  <a:lnTo>
                    <a:pt x="90" y="186"/>
                  </a:lnTo>
                  <a:lnTo>
                    <a:pt x="90" y="174"/>
                  </a:lnTo>
                  <a:lnTo>
                    <a:pt x="84" y="162"/>
                  </a:lnTo>
                  <a:lnTo>
                    <a:pt x="84" y="150"/>
                  </a:lnTo>
                  <a:lnTo>
                    <a:pt x="84" y="126"/>
                  </a:lnTo>
                  <a:lnTo>
                    <a:pt x="84" y="114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8" y="96"/>
                  </a:lnTo>
                  <a:lnTo>
                    <a:pt x="120" y="90"/>
                  </a:lnTo>
                  <a:lnTo>
                    <a:pt x="126" y="78"/>
                  </a:lnTo>
                  <a:lnTo>
                    <a:pt x="138" y="66"/>
                  </a:lnTo>
                  <a:lnTo>
                    <a:pt x="138" y="48"/>
                  </a:lnTo>
                  <a:lnTo>
                    <a:pt x="138" y="42"/>
                  </a:lnTo>
                  <a:lnTo>
                    <a:pt x="126" y="30"/>
                  </a:lnTo>
                  <a:lnTo>
                    <a:pt x="120" y="18"/>
                  </a:lnTo>
                  <a:lnTo>
                    <a:pt x="132" y="12"/>
                  </a:lnTo>
                  <a:lnTo>
                    <a:pt x="144" y="0"/>
                  </a:lnTo>
                  <a:lnTo>
                    <a:pt x="150" y="6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6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74" y="66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68" y="72"/>
                  </a:lnTo>
                  <a:lnTo>
                    <a:pt x="156" y="150"/>
                  </a:lnTo>
                  <a:lnTo>
                    <a:pt x="168" y="144"/>
                  </a:lnTo>
                  <a:lnTo>
                    <a:pt x="180" y="150"/>
                  </a:lnTo>
                  <a:lnTo>
                    <a:pt x="186" y="150"/>
                  </a:lnTo>
                  <a:lnTo>
                    <a:pt x="186" y="144"/>
                  </a:lnTo>
                  <a:lnTo>
                    <a:pt x="192" y="150"/>
                  </a:lnTo>
                  <a:lnTo>
                    <a:pt x="222" y="150"/>
                  </a:lnTo>
                  <a:lnTo>
                    <a:pt x="222" y="168"/>
                  </a:lnTo>
                  <a:lnTo>
                    <a:pt x="222" y="186"/>
                  </a:lnTo>
                  <a:lnTo>
                    <a:pt x="234" y="198"/>
                  </a:lnTo>
                  <a:lnTo>
                    <a:pt x="234" y="234"/>
                  </a:lnTo>
                  <a:lnTo>
                    <a:pt x="228" y="270"/>
                  </a:lnTo>
                  <a:lnTo>
                    <a:pt x="246" y="282"/>
                  </a:lnTo>
                  <a:lnTo>
                    <a:pt x="258" y="294"/>
                  </a:lnTo>
                  <a:lnTo>
                    <a:pt x="270" y="300"/>
                  </a:lnTo>
                  <a:lnTo>
                    <a:pt x="294" y="300"/>
                  </a:lnTo>
                  <a:lnTo>
                    <a:pt x="288" y="306"/>
                  </a:lnTo>
                  <a:lnTo>
                    <a:pt x="300" y="312"/>
                  </a:lnTo>
                  <a:lnTo>
                    <a:pt x="306" y="318"/>
                  </a:lnTo>
                  <a:lnTo>
                    <a:pt x="324" y="324"/>
                  </a:lnTo>
                  <a:lnTo>
                    <a:pt x="354" y="318"/>
                  </a:lnTo>
                  <a:lnTo>
                    <a:pt x="354" y="312"/>
                  </a:lnTo>
                  <a:lnTo>
                    <a:pt x="366" y="312"/>
                  </a:lnTo>
                  <a:lnTo>
                    <a:pt x="384" y="312"/>
                  </a:lnTo>
                  <a:lnTo>
                    <a:pt x="390" y="306"/>
                  </a:lnTo>
                  <a:lnTo>
                    <a:pt x="396" y="306"/>
                  </a:lnTo>
                  <a:lnTo>
                    <a:pt x="408" y="306"/>
                  </a:lnTo>
                  <a:lnTo>
                    <a:pt x="426" y="312"/>
                  </a:lnTo>
                  <a:lnTo>
                    <a:pt x="456" y="324"/>
                  </a:lnTo>
                  <a:lnTo>
                    <a:pt x="504" y="330"/>
                  </a:lnTo>
                  <a:lnTo>
                    <a:pt x="510" y="336"/>
                  </a:lnTo>
                  <a:lnTo>
                    <a:pt x="534" y="336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58" y="330"/>
                  </a:lnTo>
                  <a:lnTo>
                    <a:pt x="564" y="330"/>
                  </a:lnTo>
                  <a:lnTo>
                    <a:pt x="570" y="354"/>
                  </a:lnTo>
                  <a:lnTo>
                    <a:pt x="564" y="378"/>
                  </a:lnTo>
                  <a:lnTo>
                    <a:pt x="558" y="396"/>
                  </a:lnTo>
                  <a:lnTo>
                    <a:pt x="546" y="414"/>
                  </a:lnTo>
                  <a:lnTo>
                    <a:pt x="546" y="438"/>
                  </a:lnTo>
                  <a:lnTo>
                    <a:pt x="540" y="456"/>
                  </a:lnTo>
                  <a:lnTo>
                    <a:pt x="540" y="474"/>
                  </a:lnTo>
                  <a:lnTo>
                    <a:pt x="528" y="480"/>
                  </a:lnTo>
                  <a:lnTo>
                    <a:pt x="522" y="492"/>
                  </a:lnTo>
                  <a:lnTo>
                    <a:pt x="504" y="498"/>
                  </a:lnTo>
                  <a:lnTo>
                    <a:pt x="498" y="498"/>
                  </a:lnTo>
                  <a:lnTo>
                    <a:pt x="492" y="504"/>
                  </a:lnTo>
                  <a:lnTo>
                    <a:pt x="486" y="510"/>
                  </a:lnTo>
                  <a:lnTo>
                    <a:pt x="480" y="510"/>
                  </a:lnTo>
                  <a:lnTo>
                    <a:pt x="480" y="516"/>
                  </a:lnTo>
                  <a:lnTo>
                    <a:pt x="474" y="522"/>
                  </a:lnTo>
                  <a:lnTo>
                    <a:pt x="474" y="528"/>
                  </a:lnTo>
                  <a:lnTo>
                    <a:pt x="474" y="534"/>
                  </a:lnTo>
                  <a:lnTo>
                    <a:pt x="480" y="540"/>
                  </a:lnTo>
                  <a:lnTo>
                    <a:pt x="492" y="540"/>
                  </a:lnTo>
                  <a:lnTo>
                    <a:pt x="498" y="546"/>
                  </a:lnTo>
                  <a:lnTo>
                    <a:pt x="504" y="552"/>
                  </a:lnTo>
                  <a:lnTo>
                    <a:pt x="510" y="552"/>
                  </a:lnTo>
                  <a:lnTo>
                    <a:pt x="516" y="558"/>
                  </a:lnTo>
                  <a:lnTo>
                    <a:pt x="528" y="558"/>
                  </a:lnTo>
                  <a:lnTo>
                    <a:pt x="534" y="552"/>
                  </a:lnTo>
                  <a:lnTo>
                    <a:pt x="540" y="552"/>
                  </a:lnTo>
                  <a:lnTo>
                    <a:pt x="546" y="552"/>
                  </a:lnTo>
                  <a:lnTo>
                    <a:pt x="558" y="546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70" y="546"/>
                  </a:lnTo>
                  <a:lnTo>
                    <a:pt x="570" y="540"/>
                  </a:lnTo>
                  <a:lnTo>
                    <a:pt x="570" y="546"/>
                  </a:lnTo>
                  <a:lnTo>
                    <a:pt x="576" y="546"/>
                  </a:lnTo>
                  <a:lnTo>
                    <a:pt x="582" y="546"/>
                  </a:lnTo>
                  <a:lnTo>
                    <a:pt x="588" y="540"/>
                  </a:lnTo>
                  <a:lnTo>
                    <a:pt x="594" y="546"/>
                  </a:lnTo>
                  <a:lnTo>
                    <a:pt x="606" y="546"/>
                  </a:lnTo>
                  <a:lnTo>
                    <a:pt x="612" y="546"/>
                  </a:lnTo>
                  <a:lnTo>
                    <a:pt x="612" y="552"/>
                  </a:lnTo>
                  <a:lnTo>
                    <a:pt x="618" y="552"/>
                  </a:lnTo>
                  <a:lnTo>
                    <a:pt x="624" y="552"/>
                  </a:lnTo>
                  <a:lnTo>
                    <a:pt x="630" y="552"/>
                  </a:lnTo>
                  <a:lnTo>
                    <a:pt x="648" y="546"/>
                  </a:lnTo>
                  <a:lnTo>
                    <a:pt x="654" y="546"/>
                  </a:lnTo>
                  <a:lnTo>
                    <a:pt x="654" y="552"/>
                  </a:lnTo>
                  <a:lnTo>
                    <a:pt x="660" y="558"/>
                  </a:lnTo>
                  <a:lnTo>
                    <a:pt x="666" y="564"/>
                  </a:lnTo>
                  <a:lnTo>
                    <a:pt x="672" y="564"/>
                  </a:lnTo>
                  <a:lnTo>
                    <a:pt x="678" y="564"/>
                  </a:lnTo>
                  <a:lnTo>
                    <a:pt x="696" y="576"/>
                  </a:lnTo>
                  <a:lnTo>
                    <a:pt x="696" y="582"/>
                  </a:lnTo>
                  <a:lnTo>
                    <a:pt x="708" y="588"/>
                  </a:lnTo>
                  <a:lnTo>
                    <a:pt x="708" y="594"/>
                  </a:lnTo>
                  <a:lnTo>
                    <a:pt x="720" y="606"/>
                  </a:lnTo>
                  <a:lnTo>
                    <a:pt x="720" y="618"/>
                  </a:lnTo>
                  <a:lnTo>
                    <a:pt x="720" y="624"/>
                  </a:lnTo>
                  <a:lnTo>
                    <a:pt x="726" y="630"/>
                  </a:lnTo>
                  <a:lnTo>
                    <a:pt x="732" y="636"/>
                  </a:lnTo>
                  <a:lnTo>
                    <a:pt x="732" y="642"/>
                  </a:lnTo>
                  <a:lnTo>
                    <a:pt x="732" y="648"/>
                  </a:lnTo>
                  <a:lnTo>
                    <a:pt x="726" y="654"/>
                  </a:lnTo>
                  <a:lnTo>
                    <a:pt x="720" y="660"/>
                  </a:lnTo>
                  <a:lnTo>
                    <a:pt x="714" y="666"/>
                  </a:lnTo>
                  <a:lnTo>
                    <a:pt x="714" y="672"/>
                  </a:lnTo>
                  <a:lnTo>
                    <a:pt x="714" y="678"/>
                  </a:lnTo>
                  <a:lnTo>
                    <a:pt x="720" y="678"/>
                  </a:lnTo>
                  <a:lnTo>
                    <a:pt x="720" y="684"/>
                  </a:lnTo>
                  <a:lnTo>
                    <a:pt x="714" y="690"/>
                  </a:lnTo>
                  <a:lnTo>
                    <a:pt x="714" y="696"/>
                  </a:lnTo>
                  <a:lnTo>
                    <a:pt x="714" y="702"/>
                  </a:lnTo>
                  <a:lnTo>
                    <a:pt x="714" y="708"/>
                  </a:lnTo>
                  <a:lnTo>
                    <a:pt x="720" y="708"/>
                  </a:lnTo>
                  <a:lnTo>
                    <a:pt x="720" y="720"/>
                  </a:lnTo>
                  <a:lnTo>
                    <a:pt x="720" y="726"/>
                  </a:lnTo>
                  <a:lnTo>
                    <a:pt x="726" y="726"/>
                  </a:lnTo>
                  <a:lnTo>
                    <a:pt x="726" y="732"/>
                  </a:lnTo>
                  <a:lnTo>
                    <a:pt x="732" y="732"/>
                  </a:lnTo>
                  <a:lnTo>
                    <a:pt x="732" y="738"/>
                  </a:lnTo>
                  <a:lnTo>
                    <a:pt x="726" y="738"/>
                  </a:lnTo>
                  <a:lnTo>
                    <a:pt x="720" y="738"/>
                  </a:lnTo>
                  <a:lnTo>
                    <a:pt x="720" y="744"/>
                  </a:lnTo>
                  <a:lnTo>
                    <a:pt x="720" y="750"/>
                  </a:lnTo>
                  <a:lnTo>
                    <a:pt x="714" y="750"/>
                  </a:lnTo>
                  <a:lnTo>
                    <a:pt x="714" y="756"/>
                  </a:lnTo>
                  <a:lnTo>
                    <a:pt x="720" y="756"/>
                  </a:lnTo>
                  <a:lnTo>
                    <a:pt x="714" y="762"/>
                  </a:lnTo>
                  <a:lnTo>
                    <a:pt x="720" y="762"/>
                  </a:lnTo>
                  <a:lnTo>
                    <a:pt x="726" y="768"/>
                  </a:lnTo>
                  <a:lnTo>
                    <a:pt x="726" y="774"/>
                  </a:lnTo>
                  <a:lnTo>
                    <a:pt x="732" y="774"/>
                  </a:lnTo>
                  <a:lnTo>
                    <a:pt x="732" y="780"/>
                  </a:lnTo>
                  <a:lnTo>
                    <a:pt x="726" y="780"/>
                  </a:lnTo>
                  <a:lnTo>
                    <a:pt x="726" y="786"/>
                  </a:lnTo>
                  <a:lnTo>
                    <a:pt x="720" y="786"/>
                  </a:lnTo>
                  <a:lnTo>
                    <a:pt x="726" y="786"/>
                  </a:lnTo>
                  <a:lnTo>
                    <a:pt x="732" y="780"/>
                  </a:lnTo>
                  <a:lnTo>
                    <a:pt x="738" y="780"/>
                  </a:lnTo>
                  <a:lnTo>
                    <a:pt x="744" y="780"/>
                  </a:lnTo>
                  <a:lnTo>
                    <a:pt x="744" y="786"/>
                  </a:lnTo>
                  <a:lnTo>
                    <a:pt x="750" y="786"/>
                  </a:lnTo>
                  <a:lnTo>
                    <a:pt x="744" y="786"/>
                  </a:lnTo>
                  <a:lnTo>
                    <a:pt x="744" y="792"/>
                  </a:lnTo>
                  <a:lnTo>
                    <a:pt x="744" y="786"/>
                  </a:lnTo>
                  <a:lnTo>
                    <a:pt x="738" y="792"/>
                  </a:lnTo>
                  <a:lnTo>
                    <a:pt x="744" y="792"/>
                  </a:lnTo>
                  <a:lnTo>
                    <a:pt x="750" y="792"/>
                  </a:lnTo>
                  <a:lnTo>
                    <a:pt x="750" y="786"/>
                  </a:lnTo>
                  <a:lnTo>
                    <a:pt x="756" y="786"/>
                  </a:lnTo>
                  <a:lnTo>
                    <a:pt x="756" y="792"/>
                  </a:lnTo>
                  <a:lnTo>
                    <a:pt x="762" y="792"/>
                  </a:lnTo>
                  <a:lnTo>
                    <a:pt x="756" y="798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0" y="810"/>
                  </a:lnTo>
                  <a:lnTo>
                    <a:pt x="756" y="810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6" y="816"/>
                  </a:lnTo>
                  <a:lnTo>
                    <a:pt x="750" y="816"/>
                  </a:lnTo>
                  <a:lnTo>
                    <a:pt x="738" y="810"/>
                  </a:lnTo>
                  <a:lnTo>
                    <a:pt x="732" y="810"/>
                  </a:lnTo>
                  <a:lnTo>
                    <a:pt x="732" y="816"/>
                  </a:lnTo>
                  <a:lnTo>
                    <a:pt x="726" y="810"/>
                  </a:lnTo>
                  <a:lnTo>
                    <a:pt x="714" y="816"/>
                  </a:lnTo>
                  <a:lnTo>
                    <a:pt x="708" y="816"/>
                  </a:lnTo>
                  <a:lnTo>
                    <a:pt x="702" y="816"/>
                  </a:lnTo>
                  <a:lnTo>
                    <a:pt x="696" y="816"/>
                  </a:lnTo>
                  <a:lnTo>
                    <a:pt x="690" y="822"/>
                  </a:lnTo>
                  <a:lnTo>
                    <a:pt x="684" y="822"/>
                  </a:lnTo>
                  <a:lnTo>
                    <a:pt x="678" y="822"/>
                  </a:lnTo>
                  <a:lnTo>
                    <a:pt x="672" y="822"/>
                  </a:lnTo>
                  <a:lnTo>
                    <a:pt x="666" y="822"/>
                  </a:lnTo>
                  <a:lnTo>
                    <a:pt x="666" y="828"/>
                  </a:lnTo>
                  <a:lnTo>
                    <a:pt x="654" y="828"/>
                  </a:lnTo>
                  <a:lnTo>
                    <a:pt x="648" y="828"/>
                  </a:lnTo>
                  <a:lnTo>
                    <a:pt x="642" y="828"/>
                  </a:lnTo>
                  <a:lnTo>
                    <a:pt x="630" y="828"/>
                  </a:lnTo>
                  <a:lnTo>
                    <a:pt x="624" y="822"/>
                  </a:lnTo>
                  <a:lnTo>
                    <a:pt x="618" y="822"/>
                  </a:lnTo>
                  <a:lnTo>
                    <a:pt x="612" y="822"/>
                  </a:lnTo>
                  <a:lnTo>
                    <a:pt x="606" y="822"/>
                  </a:lnTo>
                  <a:lnTo>
                    <a:pt x="600" y="822"/>
                  </a:lnTo>
                  <a:lnTo>
                    <a:pt x="594" y="822"/>
                  </a:lnTo>
                  <a:lnTo>
                    <a:pt x="594" y="816"/>
                  </a:lnTo>
                  <a:lnTo>
                    <a:pt x="594" y="810"/>
                  </a:lnTo>
                  <a:lnTo>
                    <a:pt x="600" y="804"/>
                  </a:lnTo>
                  <a:lnTo>
                    <a:pt x="600" y="798"/>
                  </a:lnTo>
                  <a:lnTo>
                    <a:pt x="600" y="792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2" y="786"/>
                  </a:lnTo>
                  <a:lnTo>
                    <a:pt x="618" y="786"/>
                  </a:lnTo>
                  <a:lnTo>
                    <a:pt x="624" y="786"/>
                  </a:lnTo>
                  <a:lnTo>
                    <a:pt x="624" y="780"/>
                  </a:lnTo>
                  <a:lnTo>
                    <a:pt x="630" y="780"/>
                  </a:lnTo>
                  <a:lnTo>
                    <a:pt x="630" y="774"/>
                  </a:lnTo>
                  <a:lnTo>
                    <a:pt x="636" y="774"/>
                  </a:lnTo>
                  <a:lnTo>
                    <a:pt x="642" y="780"/>
                  </a:lnTo>
                  <a:lnTo>
                    <a:pt x="642" y="786"/>
                  </a:lnTo>
                  <a:lnTo>
                    <a:pt x="642" y="792"/>
                  </a:lnTo>
                  <a:lnTo>
                    <a:pt x="648" y="792"/>
                  </a:lnTo>
                  <a:lnTo>
                    <a:pt x="648" y="786"/>
                  </a:lnTo>
                  <a:lnTo>
                    <a:pt x="642" y="786"/>
                  </a:lnTo>
                  <a:lnTo>
                    <a:pt x="642" y="780"/>
                  </a:lnTo>
                  <a:lnTo>
                    <a:pt x="642" y="774"/>
                  </a:lnTo>
                  <a:lnTo>
                    <a:pt x="648" y="768"/>
                  </a:lnTo>
                  <a:lnTo>
                    <a:pt x="642" y="768"/>
                  </a:lnTo>
                  <a:lnTo>
                    <a:pt x="648" y="768"/>
                  </a:lnTo>
                  <a:lnTo>
                    <a:pt x="648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66" y="762"/>
                  </a:lnTo>
                  <a:lnTo>
                    <a:pt x="672" y="756"/>
                  </a:lnTo>
                  <a:lnTo>
                    <a:pt x="666" y="756"/>
                  </a:lnTo>
                  <a:lnTo>
                    <a:pt x="660" y="756"/>
                  </a:lnTo>
                  <a:lnTo>
                    <a:pt x="660" y="750"/>
                  </a:lnTo>
                  <a:lnTo>
                    <a:pt x="654" y="750"/>
                  </a:lnTo>
                  <a:lnTo>
                    <a:pt x="648" y="750"/>
                  </a:lnTo>
                  <a:lnTo>
                    <a:pt x="648" y="756"/>
                  </a:lnTo>
                  <a:lnTo>
                    <a:pt x="642" y="756"/>
                  </a:lnTo>
                  <a:lnTo>
                    <a:pt x="642" y="750"/>
                  </a:lnTo>
                  <a:lnTo>
                    <a:pt x="642" y="744"/>
                  </a:lnTo>
                  <a:lnTo>
                    <a:pt x="642" y="750"/>
                  </a:lnTo>
                  <a:lnTo>
                    <a:pt x="636" y="750"/>
                  </a:lnTo>
                  <a:lnTo>
                    <a:pt x="636" y="744"/>
                  </a:lnTo>
                  <a:lnTo>
                    <a:pt x="630" y="744"/>
                  </a:lnTo>
                  <a:lnTo>
                    <a:pt x="630" y="738"/>
                  </a:lnTo>
                  <a:lnTo>
                    <a:pt x="630" y="744"/>
                  </a:lnTo>
                  <a:lnTo>
                    <a:pt x="630" y="750"/>
                  </a:lnTo>
                  <a:lnTo>
                    <a:pt x="636" y="750"/>
                  </a:lnTo>
                  <a:lnTo>
                    <a:pt x="636" y="756"/>
                  </a:lnTo>
                  <a:lnTo>
                    <a:pt x="630" y="756"/>
                  </a:lnTo>
                  <a:lnTo>
                    <a:pt x="636" y="762"/>
                  </a:lnTo>
                  <a:lnTo>
                    <a:pt x="630" y="762"/>
                  </a:lnTo>
                  <a:lnTo>
                    <a:pt x="624" y="762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24" y="786"/>
                  </a:lnTo>
                  <a:lnTo>
                    <a:pt x="618" y="786"/>
                  </a:lnTo>
                  <a:lnTo>
                    <a:pt x="618" y="78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12" y="774"/>
                  </a:lnTo>
                  <a:lnTo>
                    <a:pt x="612" y="780"/>
                  </a:lnTo>
                  <a:lnTo>
                    <a:pt x="606" y="780"/>
                  </a:lnTo>
                  <a:lnTo>
                    <a:pt x="600" y="780"/>
                  </a:lnTo>
                  <a:lnTo>
                    <a:pt x="600" y="774"/>
                  </a:lnTo>
                  <a:lnTo>
                    <a:pt x="594" y="768"/>
                  </a:lnTo>
                  <a:lnTo>
                    <a:pt x="594" y="762"/>
                  </a:lnTo>
                  <a:lnTo>
                    <a:pt x="594" y="756"/>
                  </a:lnTo>
                  <a:lnTo>
                    <a:pt x="594" y="762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594" y="780"/>
                  </a:lnTo>
                  <a:lnTo>
                    <a:pt x="588" y="780"/>
                  </a:lnTo>
                  <a:lnTo>
                    <a:pt x="582" y="780"/>
                  </a:lnTo>
                  <a:lnTo>
                    <a:pt x="576" y="780"/>
                  </a:lnTo>
                  <a:lnTo>
                    <a:pt x="570" y="780"/>
                  </a:lnTo>
                  <a:lnTo>
                    <a:pt x="564" y="780"/>
                  </a:lnTo>
                  <a:lnTo>
                    <a:pt x="564" y="786"/>
                  </a:lnTo>
                  <a:lnTo>
                    <a:pt x="558" y="786"/>
                  </a:lnTo>
                  <a:lnTo>
                    <a:pt x="552" y="786"/>
                  </a:lnTo>
                  <a:lnTo>
                    <a:pt x="552" y="780"/>
                  </a:lnTo>
                  <a:lnTo>
                    <a:pt x="552" y="774"/>
                  </a:lnTo>
                  <a:lnTo>
                    <a:pt x="552" y="768"/>
                  </a:lnTo>
                  <a:lnTo>
                    <a:pt x="546" y="768"/>
                  </a:lnTo>
                  <a:lnTo>
                    <a:pt x="540" y="762"/>
                  </a:lnTo>
                  <a:lnTo>
                    <a:pt x="540" y="756"/>
                  </a:lnTo>
                  <a:lnTo>
                    <a:pt x="534" y="756"/>
                  </a:lnTo>
                  <a:lnTo>
                    <a:pt x="534" y="750"/>
                  </a:lnTo>
                  <a:lnTo>
                    <a:pt x="534" y="744"/>
                  </a:lnTo>
                  <a:lnTo>
                    <a:pt x="528" y="738"/>
                  </a:lnTo>
                  <a:lnTo>
                    <a:pt x="522" y="738"/>
                  </a:lnTo>
                  <a:lnTo>
                    <a:pt x="522" y="732"/>
                  </a:lnTo>
                  <a:lnTo>
                    <a:pt x="510" y="726"/>
                  </a:lnTo>
                  <a:lnTo>
                    <a:pt x="510" y="720"/>
                  </a:lnTo>
                  <a:lnTo>
                    <a:pt x="504" y="720"/>
                  </a:lnTo>
                  <a:lnTo>
                    <a:pt x="504" y="714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8" y="702"/>
                  </a:lnTo>
                  <a:lnTo>
                    <a:pt x="498" y="696"/>
                  </a:lnTo>
                  <a:lnTo>
                    <a:pt x="492" y="690"/>
                  </a:lnTo>
                  <a:lnTo>
                    <a:pt x="492" y="684"/>
                  </a:lnTo>
                  <a:lnTo>
                    <a:pt x="486" y="684"/>
                  </a:lnTo>
                  <a:lnTo>
                    <a:pt x="486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74" y="678"/>
                  </a:lnTo>
                  <a:lnTo>
                    <a:pt x="468" y="678"/>
                  </a:lnTo>
                  <a:lnTo>
                    <a:pt x="462" y="678"/>
                  </a:lnTo>
                  <a:lnTo>
                    <a:pt x="462" y="672"/>
                  </a:lnTo>
                  <a:lnTo>
                    <a:pt x="456" y="672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44" y="666"/>
                  </a:lnTo>
                  <a:lnTo>
                    <a:pt x="438" y="660"/>
                  </a:lnTo>
                  <a:lnTo>
                    <a:pt x="438" y="648"/>
                  </a:lnTo>
                  <a:lnTo>
                    <a:pt x="438" y="642"/>
                  </a:lnTo>
                  <a:lnTo>
                    <a:pt x="438" y="636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36"/>
                  </a:lnTo>
                  <a:lnTo>
                    <a:pt x="420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60"/>
                  </a:lnTo>
                  <a:lnTo>
                    <a:pt x="432" y="666"/>
                  </a:lnTo>
                  <a:lnTo>
                    <a:pt x="438" y="666"/>
                  </a:lnTo>
                  <a:lnTo>
                    <a:pt x="438" y="672"/>
                  </a:lnTo>
                  <a:lnTo>
                    <a:pt x="444" y="672"/>
                  </a:lnTo>
                  <a:lnTo>
                    <a:pt x="444" y="678"/>
                  </a:lnTo>
                  <a:lnTo>
                    <a:pt x="450" y="678"/>
                  </a:lnTo>
                  <a:lnTo>
                    <a:pt x="456" y="678"/>
                  </a:lnTo>
                  <a:lnTo>
                    <a:pt x="456" y="684"/>
                  </a:lnTo>
                  <a:lnTo>
                    <a:pt x="462" y="684"/>
                  </a:lnTo>
                  <a:lnTo>
                    <a:pt x="468" y="684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80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86" y="708"/>
                  </a:lnTo>
                  <a:lnTo>
                    <a:pt x="492" y="714"/>
                  </a:lnTo>
                  <a:lnTo>
                    <a:pt x="492" y="720"/>
                  </a:lnTo>
                  <a:lnTo>
                    <a:pt x="492" y="726"/>
                  </a:lnTo>
                  <a:lnTo>
                    <a:pt x="498" y="732"/>
                  </a:lnTo>
                  <a:lnTo>
                    <a:pt x="492" y="738"/>
                  </a:lnTo>
                  <a:lnTo>
                    <a:pt x="492" y="744"/>
                  </a:lnTo>
                  <a:lnTo>
                    <a:pt x="492" y="750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68" y="738"/>
                  </a:lnTo>
                  <a:lnTo>
                    <a:pt x="468" y="744"/>
                  </a:lnTo>
                  <a:lnTo>
                    <a:pt x="474" y="750"/>
                  </a:lnTo>
                  <a:lnTo>
                    <a:pt x="480" y="756"/>
                  </a:lnTo>
                  <a:lnTo>
                    <a:pt x="486" y="756"/>
                  </a:lnTo>
                  <a:lnTo>
                    <a:pt x="492" y="762"/>
                  </a:lnTo>
                  <a:lnTo>
                    <a:pt x="498" y="768"/>
                  </a:lnTo>
                  <a:lnTo>
                    <a:pt x="492" y="774"/>
                  </a:lnTo>
                  <a:lnTo>
                    <a:pt x="492" y="780"/>
                  </a:lnTo>
                  <a:lnTo>
                    <a:pt x="498" y="780"/>
                  </a:lnTo>
                  <a:lnTo>
                    <a:pt x="492" y="786"/>
                  </a:lnTo>
                  <a:lnTo>
                    <a:pt x="492" y="792"/>
                  </a:lnTo>
                  <a:lnTo>
                    <a:pt x="492" y="79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0" y="810"/>
                  </a:lnTo>
                  <a:lnTo>
                    <a:pt x="480" y="804"/>
                  </a:lnTo>
                  <a:lnTo>
                    <a:pt x="474" y="804"/>
                  </a:lnTo>
                  <a:lnTo>
                    <a:pt x="474" y="798"/>
                  </a:lnTo>
                  <a:lnTo>
                    <a:pt x="474" y="804"/>
                  </a:lnTo>
                  <a:lnTo>
                    <a:pt x="468" y="804"/>
                  </a:lnTo>
                  <a:lnTo>
                    <a:pt x="468" y="810"/>
                  </a:lnTo>
                  <a:lnTo>
                    <a:pt x="462" y="810"/>
                  </a:lnTo>
                  <a:lnTo>
                    <a:pt x="456" y="810"/>
                  </a:lnTo>
                  <a:lnTo>
                    <a:pt x="450" y="810"/>
                  </a:lnTo>
                  <a:lnTo>
                    <a:pt x="450" y="816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50" y="822"/>
                  </a:lnTo>
                  <a:lnTo>
                    <a:pt x="450" y="816"/>
                  </a:lnTo>
                  <a:lnTo>
                    <a:pt x="444" y="816"/>
                  </a:lnTo>
                  <a:lnTo>
                    <a:pt x="438" y="810"/>
                  </a:lnTo>
                  <a:lnTo>
                    <a:pt x="432" y="810"/>
                  </a:lnTo>
                  <a:lnTo>
                    <a:pt x="426" y="804"/>
                  </a:lnTo>
                  <a:lnTo>
                    <a:pt x="426" y="798"/>
                  </a:lnTo>
                  <a:lnTo>
                    <a:pt x="420" y="798"/>
                  </a:lnTo>
                  <a:lnTo>
                    <a:pt x="426" y="798"/>
                  </a:lnTo>
                  <a:lnTo>
                    <a:pt x="426" y="792"/>
                  </a:lnTo>
                  <a:lnTo>
                    <a:pt x="426" y="786"/>
                  </a:lnTo>
                  <a:lnTo>
                    <a:pt x="432" y="786"/>
                  </a:lnTo>
                  <a:lnTo>
                    <a:pt x="432" y="780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0" y="756"/>
                  </a:lnTo>
                  <a:lnTo>
                    <a:pt x="420" y="750"/>
                  </a:lnTo>
                  <a:lnTo>
                    <a:pt x="414" y="750"/>
                  </a:lnTo>
                  <a:lnTo>
                    <a:pt x="420" y="750"/>
                  </a:lnTo>
                  <a:lnTo>
                    <a:pt x="420" y="744"/>
                  </a:lnTo>
                  <a:lnTo>
                    <a:pt x="414" y="744"/>
                  </a:lnTo>
                  <a:lnTo>
                    <a:pt x="414" y="738"/>
                  </a:lnTo>
                  <a:lnTo>
                    <a:pt x="414" y="732"/>
                  </a:lnTo>
                  <a:lnTo>
                    <a:pt x="408" y="732"/>
                  </a:lnTo>
                  <a:lnTo>
                    <a:pt x="408" y="726"/>
                  </a:lnTo>
                  <a:lnTo>
                    <a:pt x="402" y="726"/>
                  </a:lnTo>
                  <a:lnTo>
                    <a:pt x="396" y="726"/>
                  </a:lnTo>
                  <a:lnTo>
                    <a:pt x="390" y="726"/>
                  </a:lnTo>
                  <a:lnTo>
                    <a:pt x="390" y="720"/>
                  </a:lnTo>
                  <a:lnTo>
                    <a:pt x="390" y="714"/>
                  </a:lnTo>
                  <a:lnTo>
                    <a:pt x="384" y="708"/>
                  </a:lnTo>
                  <a:lnTo>
                    <a:pt x="384" y="702"/>
                  </a:lnTo>
                  <a:lnTo>
                    <a:pt x="378" y="702"/>
                  </a:lnTo>
                  <a:lnTo>
                    <a:pt x="378" y="696"/>
                  </a:lnTo>
                  <a:lnTo>
                    <a:pt x="378" y="690"/>
                  </a:lnTo>
                  <a:lnTo>
                    <a:pt x="372" y="684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66" y="666"/>
                  </a:lnTo>
                  <a:lnTo>
                    <a:pt x="366" y="660"/>
                  </a:lnTo>
                  <a:lnTo>
                    <a:pt x="366" y="654"/>
                  </a:lnTo>
                  <a:lnTo>
                    <a:pt x="360" y="648"/>
                  </a:lnTo>
                  <a:lnTo>
                    <a:pt x="360" y="654"/>
                  </a:lnTo>
                  <a:lnTo>
                    <a:pt x="360" y="660"/>
                  </a:lnTo>
                  <a:lnTo>
                    <a:pt x="360" y="666"/>
                  </a:lnTo>
                  <a:lnTo>
                    <a:pt x="360" y="672"/>
                  </a:lnTo>
                  <a:lnTo>
                    <a:pt x="360" y="678"/>
                  </a:lnTo>
                  <a:lnTo>
                    <a:pt x="366" y="678"/>
                  </a:lnTo>
                  <a:lnTo>
                    <a:pt x="366" y="684"/>
                  </a:lnTo>
                  <a:lnTo>
                    <a:pt x="366" y="690"/>
                  </a:lnTo>
                  <a:lnTo>
                    <a:pt x="372" y="696"/>
                  </a:lnTo>
                  <a:lnTo>
                    <a:pt x="372" y="702"/>
                  </a:lnTo>
                  <a:lnTo>
                    <a:pt x="372" y="708"/>
                  </a:lnTo>
                  <a:lnTo>
                    <a:pt x="372" y="714"/>
                  </a:lnTo>
                  <a:lnTo>
                    <a:pt x="366" y="714"/>
                  </a:lnTo>
                  <a:lnTo>
                    <a:pt x="360" y="714"/>
                  </a:lnTo>
                  <a:lnTo>
                    <a:pt x="354" y="714"/>
                  </a:lnTo>
                  <a:lnTo>
                    <a:pt x="348" y="714"/>
                  </a:lnTo>
                  <a:lnTo>
                    <a:pt x="348" y="708"/>
                  </a:lnTo>
                  <a:lnTo>
                    <a:pt x="342" y="708"/>
                  </a:lnTo>
                  <a:lnTo>
                    <a:pt x="342" y="702"/>
                  </a:lnTo>
                  <a:lnTo>
                    <a:pt x="342" y="696"/>
                  </a:lnTo>
                  <a:lnTo>
                    <a:pt x="336" y="696"/>
                  </a:lnTo>
                  <a:lnTo>
                    <a:pt x="336" y="690"/>
                  </a:lnTo>
                  <a:lnTo>
                    <a:pt x="336" y="684"/>
                  </a:lnTo>
                  <a:lnTo>
                    <a:pt x="330" y="684"/>
                  </a:lnTo>
                  <a:lnTo>
                    <a:pt x="330" y="678"/>
                  </a:lnTo>
                  <a:lnTo>
                    <a:pt x="324" y="672"/>
                  </a:lnTo>
                  <a:lnTo>
                    <a:pt x="324" y="666"/>
                  </a:lnTo>
                  <a:lnTo>
                    <a:pt x="318" y="666"/>
                  </a:lnTo>
                  <a:lnTo>
                    <a:pt x="318" y="672"/>
                  </a:lnTo>
                  <a:lnTo>
                    <a:pt x="324" y="672"/>
                  </a:lnTo>
                  <a:lnTo>
                    <a:pt x="324" y="678"/>
                  </a:lnTo>
                  <a:lnTo>
                    <a:pt x="324" y="684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30" y="696"/>
                  </a:lnTo>
                  <a:lnTo>
                    <a:pt x="336" y="702"/>
                  </a:lnTo>
                  <a:lnTo>
                    <a:pt x="342" y="708"/>
                  </a:lnTo>
                  <a:lnTo>
                    <a:pt x="342" y="714"/>
                  </a:lnTo>
                  <a:lnTo>
                    <a:pt x="348" y="720"/>
                  </a:lnTo>
                  <a:lnTo>
                    <a:pt x="342" y="720"/>
                  </a:lnTo>
                  <a:lnTo>
                    <a:pt x="336" y="720"/>
                  </a:lnTo>
                  <a:lnTo>
                    <a:pt x="330" y="720"/>
                  </a:lnTo>
                  <a:lnTo>
                    <a:pt x="330" y="726"/>
                  </a:lnTo>
                  <a:lnTo>
                    <a:pt x="336" y="726"/>
                  </a:lnTo>
                  <a:lnTo>
                    <a:pt x="330" y="732"/>
                  </a:lnTo>
                  <a:lnTo>
                    <a:pt x="330" y="738"/>
                  </a:lnTo>
                  <a:lnTo>
                    <a:pt x="330" y="744"/>
                  </a:lnTo>
                  <a:lnTo>
                    <a:pt x="336" y="744"/>
                  </a:lnTo>
                  <a:lnTo>
                    <a:pt x="342" y="744"/>
                  </a:lnTo>
                  <a:lnTo>
                    <a:pt x="348" y="744"/>
                  </a:lnTo>
                  <a:lnTo>
                    <a:pt x="348" y="750"/>
                  </a:lnTo>
                  <a:lnTo>
                    <a:pt x="354" y="750"/>
                  </a:lnTo>
                  <a:lnTo>
                    <a:pt x="360" y="756"/>
                  </a:lnTo>
                  <a:lnTo>
                    <a:pt x="360" y="762"/>
                  </a:lnTo>
                  <a:lnTo>
                    <a:pt x="366" y="762"/>
                  </a:lnTo>
                  <a:lnTo>
                    <a:pt x="366" y="768"/>
                  </a:lnTo>
                  <a:lnTo>
                    <a:pt x="366" y="774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72" y="792"/>
                  </a:lnTo>
                  <a:lnTo>
                    <a:pt x="372" y="798"/>
                  </a:lnTo>
                  <a:lnTo>
                    <a:pt x="372" y="804"/>
                  </a:lnTo>
                  <a:lnTo>
                    <a:pt x="378" y="804"/>
                  </a:lnTo>
                  <a:lnTo>
                    <a:pt x="378" y="810"/>
                  </a:lnTo>
                  <a:lnTo>
                    <a:pt x="378" y="816"/>
                  </a:lnTo>
                  <a:lnTo>
                    <a:pt x="372" y="816"/>
                  </a:lnTo>
                  <a:lnTo>
                    <a:pt x="378" y="816"/>
                  </a:lnTo>
                  <a:lnTo>
                    <a:pt x="378" y="822"/>
                  </a:lnTo>
                  <a:lnTo>
                    <a:pt x="378" y="828"/>
                  </a:lnTo>
                  <a:lnTo>
                    <a:pt x="378" y="834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0" y="864"/>
                  </a:lnTo>
                  <a:lnTo>
                    <a:pt x="384" y="864"/>
                  </a:lnTo>
                  <a:lnTo>
                    <a:pt x="384" y="870"/>
                  </a:lnTo>
                  <a:lnTo>
                    <a:pt x="378" y="864"/>
                  </a:lnTo>
                  <a:lnTo>
                    <a:pt x="372" y="864"/>
                  </a:lnTo>
                  <a:lnTo>
                    <a:pt x="366" y="858"/>
                  </a:lnTo>
                  <a:lnTo>
                    <a:pt x="366" y="852"/>
                  </a:lnTo>
                  <a:lnTo>
                    <a:pt x="360" y="852"/>
                  </a:lnTo>
                  <a:lnTo>
                    <a:pt x="360" y="858"/>
                  </a:lnTo>
                  <a:lnTo>
                    <a:pt x="366" y="858"/>
                  </a:lnTo>
                  <a:lnTo>
                    <a:pt x="366" y="864"/>
                  </a:lnTo>
                  <a:lnTo>
                    <a:pt x="360" y="864"/>
                  </a:lnTo>
                  <a:lnTo>
                    <a:pt x="354" y="864"/>
                  </a:lnTo>
                  <a:lnTo>
                    <a:pt x="354" y="870"/>
                  </a:lnTo>
                  <a:lnTo>
                    <a:pt x="354" y="864"/>
                  </a:lnTo>
                  <a:lnTo>
                    <a:pt x="348" y="864"/>
                  </a:lnTo>
                  <a:lnTo>
                    <a:pt x="342" y="864"/>
                  </a:lnTo>
                  <a:lnTo>
                    <a:pt x="342" y="858"/>
                  </a:lnTo>
                  <a:lnTo>
                    <a:pt x="336" y="858"/>
                  </a:lnTo>
                  <a:lnTo>
                    <a:pt x="330" y="858"/>
                  </a:lnTo>
                  <a:lnTo>
                    <a:pt x="324" y="858"/>
                  </a:lnTo>
                  <a:lnTo>
                    <a:pt x="318" y="858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0" y="852"/>
                  </a:lnTo>
                  <a:lnTo>
                    <a:pt x="294" y="852"/>
                  </a:lnTo>
                  <a:lnTo>
                    <a:pt x="294" y="846"/>
                  </a:lnTo>
                  <a:lnTo>
                    <a:pt x="288" y="840"/>
                  </a:lnTo>
                  <a:lnTo>
                    <a:pt x="288" y="828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2" y="816"/>
                  </a:lnTo>
                  <a:lnTo>
                    <a:pt x="282" y="810"/>
                  </a:lnTo>
                  <a:lnTo>
                    <a:pt x="276" y="810"/>
                  </a:lnTo>
                  <a:lnTo>
                    <a:pt x="276" y="804"/>
                  </a:lnTo>
                  <a:lnTo>
                    <a:pt x="276" y="798"/>
                  </a:lnTo>
                  <a:lnTo>
                    <a:pt x="276" y="792"/>
                  </a:lnTo>
                  <a:lnTo>
                    <a:pt x="270" y="786"/>
                  </a:lnTo>
                  <a:lnTo>
                    <a:pt x="270" y="780"/>
                  </a:lnTo>
                  <a:lnTo>
                    <a:pt x="270" y="774"/>
                  </a:lnTo>
                  <a:lnTo>
                    <a:pt x="264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64" y="750"/>
                  </a:lnTo>
                  <a:lnTo>
                    <a:pt x="264" y="744"/>
                  </a:lnTo>
                  <a:lnTo>
                    <a:pt x="264" y="738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26"/>
                  </a:lnTo>
                  <a:lnTo>
                    <a:pt x="276" y="720"/>
                  </a:lnTo>
                  <a:lnTo>
                    <a:pt x="282" y="720"/>
                  </a:lnTo>
                  <a:lnTo>
                    <a:pt x="282" y="714"/>
                  </a:lnTo>
                  <a:lnTo>
                    <a:pt x="282" y="708"/>
                  </a:lnTo>
                  <a:lnTo>
                    <a:pt x="276" y="708"/>
                  </a:lnTo>
                  <a:lnTo>
                    <a:pt x="276" y="702"/>
                  </a:lnTo>
                  <a:lnTo>
                    <a:pt x="270" y="702"/>
                  </a:lnTo>
                  <a:lnTo>
                    <a:pt x="270" y="696"/>
                  </a:lnTo>
                  <a:lnTo>
                    <a:pt x="264" y="690"/>
                  </a:lnTo>
                  <a:lnTo>
                    <a:pt x="258" y="690"/>
                  </a:lnTo>
                  <a:lnTo>
                    <a:pt x="258" y="684"/>
                  </a:lnTo>
                  <a:lnTo>
                    <a:pt x="252" y="684"/>
                  </a:lnTo>
                  <a:lnTo>
                    <a:pt x="252" y="678"/>
                  </a:lnTo>
                  <a:lnTo>
                    <a:pt x="246" y="678"/>
                  </a:lnTo>
                  <a:lnTo>
                    <a:pt x="240" y="678"/>
                  </a:lnTo>
                  <a:lnTo>
                    <a:pt x="240" y="684"/>
                  </a:lnTo>
                  <a:lnTo>
                    <a:pt x="246" y="684"/>
                  </a:lnTo>
                  <a:lnTo>
                    <a:pt x="252" y="690"/>
                  </a:lnTo>
                  <a:lnTo>
                    <a:pt x="258" y="690"/>
                  </a:lnTo>
                  <a:lnTo>
                    <a:pt x="258" y="696"/>
                  </a:lnTo>
                  <a:lnTo>
                    <a:pt x="258" y="702"/>
                  </a:lnTo>
                  <a:lnTo>
                    <a:pt x="264" y="702"/>
                  </a:lnTo>
                  <a:lnTo>
                    <a:pt x="270" y="708"/>
                  </a:lnTo>
                  <a:lnTo>
                    <a:pt x="270" y="714"/>
                  </a:lnTo>
                  <a:lnTo>
                    <a:pt x="270" y="720"/>
                  </a:lnTo>
                  <a:lnTo>
                    <a:pt x="276" y="720"/>
                  </a:lnTo>
                  <a:lnTo>
                    <a:pt x="270" y="720"/>
                  </a:lnTo>
                  <a:lnTo>
                    <a:pt x="270" y="726"/>
                  </a:lnTo>
                  <a:lnTo>
                    <a:pt x="264" y="726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52" y="738"/>
                  </a:lnTo>
                  <a:lnTo>
                    <a:pt x="252" y="744"/>
                  </a:lnTo>
                  <a:lnTo>
                    <a:pt x="252" y="750"/>
                  </a:lnTo>
                  <a:lnTo>
                    <a:pt x="252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58" y="774"/>
                  </a:lnTo>
                  <a:lnTo>
                    <a:pt x="258" y="780"/>
                  </a:lnTo>
                  <a:lnTo>
                    <a:pt x="264" y="786"/>
                  </a:lnTo>
                  <a:lnTo>
                    <a:pt x="264" y="792"/>
                  </a:lnTo>
                  <a:lnTo>
                    <a:pt x="264" y="798"/>
                  </a:lnTo>
                  <a:lnTo>
                    <a:pt x="270" y="810"/>
                  </a:lnTo>
                  <a:lnTo>
                    <a:pt x="270" y="816"/>
                  </a:lnTo>
                  <a:lnTo>
                    <a:pt x="270" y="822"/>
                  </a:lnTo>
                  <a:lnTo>
                    <a:pt x="276" y="822"/>
                  </a:lnTo>
                  <a:lnTo>
                    <a:pt x="276" y="828"/>
                  </a:lnTo>
                  <a:lnTo>
                    <a:pt x="276" y="834"/>
                  </a:lnTo>
                  <a:lnTo>
                    <a:pt x="276" y="840"/>
                  </a:lnTo>
                  <a:lnTo>
                    <a:pt x="276" y="846"/>
                  </a:lnTo>
                  <a:lnTo>
                    <a:pt x="282" y="852"/>
                  </a:lnTo>
                  <a:lnTo>
                    <a:pt x="282" y="858"/>
                  </a:lnTo>
                  <a:lnTo>
                    <a:pt x="294" y="864"/>
                  </a:lnTo>
                  <a:lnTo>
                    <a:pt x="300" y="870"/>
                  </a:lnTo>
                  <a:lnTo>
                    <a:pt x="300" y="876"/>
                  </a:lnTo>
                  <a:lnTo>
                    <a:pt x="288" y="876"/>
                  </a:lnTo>
                  <a:lnTo>
                    <a:pt x="282" y="876"/>
                  </a:lnTo>
                  <a:lnTo>
                    <a:pt x="276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2" y="882"/>
                  </a:lnTo>
                  <a:lnTo>
                    <a:pt x="246" y="882"/>
                  </a:lnTo>
                  <a:lnTo>
                    <a:pt x="240" y="882"/>
                  </a:lnTo>
                  <a:lnTo>
                    <a:pt x="234" y="882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204" y="876"/>
                  </a:lnTo>
                  <a:lnTo>
                    <a:pt x="198" y="876"/>
                  </a:lnTo>
                  <a:lnTo>
                    <a:pt x="198" y="870"/>
                  </a:lnTo>
                  <a:lnTo>
                    <a:pt x="198" y="852"/>
                  </a:lnTo>
                  <a:lnTo>
                    <a:pt x="198" y="846"/>
                  </a:lnTo>
                  <a:lnTo>
                    <a:pt x="204" y="846"/>
                  </a:lnTo>
                  <a:lnTo>
                    <a:pt x="198" y="840"/>
                  </a:lnTo>
                  <a:lnTo>
                    <a:pt x="198" y="834"/>
                  </a:lnTo>
                  <a:lnTo>
                    <a:pt x="198" y="828"/>
                  </a:lnTo>
                  <a:lnTo>
                    <a:pt x="198" y="822"/>
                  </a:lnTo>
                  <a:lnTo>
                    <a:pt x="198" y="816"/>
                  </a:lnTo>
                  <a:lnTo>
                    <a:pt x="198" y="810"/>
                  </a:lnTo>
                  <a:lnTo>
                    <a:pt x="192" y="810"/>
                  </a:lnTo>
                  <a:lnTo>
                    <a:pt x="192" y="804"/>
                  </a:lnTo>
                  <a:lnTo>
                    <a:pt x="192" y="798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2" y="774"/>
                  </a:lnTo>
                  <a:lnTo>
                    <a:pt x="192" y="768"/>
                  </a:lnTo>
                  <a:lnTo>
                    <a:pt x="198" y="768"/>
                  </a:lnTo>
                  <a:lnTo>
                    <a:pt x="198" y="762"/>
                  </a:lnTo>
                  <a:lnTo>
                    <a:pt x="198" y="756"/>
                  </a:lnTo>
                  <a:lnTo>
                    <a:pt x="204" y="756"/>
                  </a:lnTo>
                  <a:lnTo>
                    <a:pt x="204" y="750"/>
                  </a:lnTo>
                  <a:lnTo>
                    <a:pt x="210" y="744"/>
                  </a:lnTo>
                  <a:lnTo>
                    <a:pt x="210" y="738"/>
                  </a:lnTo>
                  <a:lnTo>
                    <a:pt x="210" y="732"/>
                  </a:lnTo>
                  <a:lnTo>
                    <a:pt x="210" y="726"/>
                  </a:lnTo>
                  <a:lnTo>
                    <a:pt x="210" y="720"/>
                  </a:lnTo>
                  <a:lnTo>
                    <a:pt x="204" y="714"/>
                  </a:lnTo>
                  <a:lnTo>
                    <a:pt x="204" y="720"/>
                  </a:lnTo>
                  <a:lnTo>
                    <a:pt x="204" y="732"/>
                  </a:lnTo>
                  <a:lnTo>
                    <a:pt x="204" y="738"/>
                  </a:lnTo>
                  <a:lnTo>
                    <a:pt x="198" y="738"/>
                  </a:lnTo>
                  <a:lnTo>
                    <a:pt x="198" y="744"/>
                  </a:lnTo>
                  <a:lnTo>
                    <a:pt x="198" y="750"/>
                  </a:lnTo>
                  <a:lnTo>
                    <a:pt x="192" y="756"/>
                  </a:lnTo>
                  <a:lnTo>
                    <a:pt x="186" y="762"/>
                  </a:lnTo>
                  <a:lnTo>
                    <a:pt x="186" y="768"/>
                  </a:lnTo>
                  <a:lnTo>
                    <a:pt x="186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98"/>
                  </a:lnTo>
                  <a:lnTo>
                    <a:pt x="186" y="804"/>
                  </a:lnTo>
                  <a:lnTo>
                    <a:pt x="186" y="810"/>
                  </a:lnTo>
                  <a:lnTo>
                    <a:pt x="192" y="816"/>
                  </a:lnTo>
                  <a:lnTo>
                    <a:pt x="192" y="828"/>
                  </a:lnTo>
                  <a:lnTo>
                    <a:pt x="192" y="834"/>
                  </a:lnTo>
                  <a:lnTo>
                    <a:pt x="186" y="834"/>
                  </a:lnTo>
                  <a:lnTo>
                    <a:pt x="186" y="828"/>
                  </a:lnTo>
                  <a:lnTo>
                    <a:pt x="180" y="822"/>
                  </a:lnTo>
                  <a:lnTo>
                    <a:pt x="180" y="816"/>
                  </a:lnTo>
                  <a:lnTo>
                    <a:pt x="180" y="810"/>
                  </a:lnTo>
                  <a:lnTo>
                    <a:pt x="174" y="810"/>
                  </a:lnTo>
                  <a:lnTo>
                    <a:pt x="174" y="804"/>
                  </a:lnTo>
                  <a:lnTo>
                    <a:pt x="174" y="798"/>
                  </a:lnTo>
                  <a:lnTo>
                    <a:pt x="174" y="792"/>
                  </a:lnTo>
                  <a:lnTo>
                    <a:pt x="168" y="786"/>
                  </a:lnTo>
                  <a:lnTo>
                    <a:pt x="168" y="780"/>
                  </a:lnTo>
                  <a:lnTo>
                    <a:pt x="162" y="780"/>
                  </a:lnTo>
                  <a:lnTo>
                    <a:pt x="168" y="774"/>
                  </a:lnTo>
                  <a:lnTo>
                    <a:pt x="168" y="768"/>
                  </a:lnTo>
                  <a:lnTo>
                    <a:pt x="174" y="768"/>
                  </a:lnTo>
                  <a:lnTo>
                    <a:pt x="168" y="768"/>
                  </a:lnTo>
                  <a:lnTo>
                    <a:pt x="162" y="774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50" y="774"/>
                  </a:lnTo>
                  <a:lnTo>
                    <a:pt x="144" y="774"/>
                  </a:lnTo>
                  <a:lnTo>
                    <a:pt x="144" y="768"/>
                  </a:lnTo>
                  <a:lnTo>
                    <a:pt x="144" y="762"/>
                  </a:lnTo>
                  <a:lnTo>
                    <a:pt x="138" y="756"/>
                  </a:lnTo>
                  <a:lnTo>
                    <a:pt x="132" y="756"/>
                  </a:lnTo>
                  <a:lnTo>
                    <a:pt x="138" y="756"/>
                  </a:lnTo>
                  <a:lnTo>
                    <a:pt x="138" y="762"/>
                  </a:lnTo>
                  <a:lnTo>
                    <a:pt x="138" y="768"/>
                  </a:lnTo>
                  <a:lnTo>
                    <a:pt x="144" y="768"/>
                  </a:lnTo>
                  <a:lnTo>
                    <a:pt x="144" y="774"/>
                  </a:lnTo>
                  <a:lnTo>
                    <a:pt x="150" y="780"/>
                  </a:lnTo>
                  <a:lnTo>
                    <a:pt x="156" y="780"/>
                  </a:lnTo>
                  <a:lnTo>
                    <a:pt x="156" y="786"/>
                  </a:lnTo>
                  <a:lnTo>
                    <a:pt x="162" y="786"/>
                  </a:lnTo>
                  <a:lnTo>
                    <a:pt x="168" y="792"/>
                  </a:lnTo>
                  <a:lnTo>
                    <a:pt x="168" y="798"/>
                  </a:lnTo>
                  <a:lnTo>
                    <a:pt x="168" y="804"/>
                  </a:lnTo>
                  <a:lnTo>
                    <a:pt x="174" y="810"/>
                  </a:lnTo>
                  <a:lnTo>
                    <a:pt x="174" y="816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68" y="828"/>
                  </a:lnTo>
                  <a:lnTo>
                    <a:pt x="168" y="834"/>
                  </a:lnTo>
                  <a:lnTo>
                    <a:pt x="174" y="840"/>
                  </a:lnTo>
                  <a:lnTo>
                    <a:pt x="180" y="840"/>
                  </a:lnTo>
                  <a:lnTo>
                    <a:pt x="180" y="846"/>
                  </a:lnTo>
                  <a:lnTo>
                    <a:pt x="186" y="846"/>
                  </a:lnTo>
                  <a:lnTo>
                    <a:pt x="186" y="852"/>
                  </a:lnTo>
                  <a:lnTo>
                    <a:pt x="186" y="858"/>
                  </a:lnTo>
                  <a:lnTo>
                    <a:pt x="186" y="864"/>
                  </a:lnTo>
                  <a:lnTo>
                    <a:pt x="192" y="864"/>
                  </a:lnTo>
                  <a:lnTo>
                    <a:pt x="192" y="870"/>
                  </a:lnTo>
                  <a:lnTo>
                    <a:pt x="192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6" y="888"/>
                  </a:lnTo>
                  <a:lnTo>
                    <a:pt x="180" y="888"/>
                  </a:lnTo>
                  <a:lnTo>
                    <a:pt x="174" y="888"/>
                  </a:lnTo>
                  <a:lnTo>
                    <a:pt x="168" y="894"/>
                  </a:lnTo>
                  <a:lnTo>
                    <a:pt x="162" y="894"/>
                  </a:lnTo>
                  <a:lnTo>
                    <a:pt x="156" y="894"/>
                  </a:lnTo>
                  <a:lnTo>
                    <a:pt x="150" y="894"/>
                  </a:lnTo>
                  <a:lnTo>
                    <a:pt x="144" y="894"/>
                  </a:lnTo>
                  <a:lnTo>
                    <a:pt x="144" y="900"/>
                  </a:lnTo>
                  <a:lnTo>
                    <a:pt x="138" y="894"/>
                  </a:lnTo>
                  <a:lnTo>
                    <a:pt x="138" y="900"/>
                  </a:lnTo>
                  <a:lnTo>
                    <a:pt x="132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6" y="882"/>
                  </a:lnTo>
                  <a:lnTo>
                    <a:pt x="126" y="876"/>
                  </a:lnTo>
                  <a:lnTo>
                    <a:pt x="120" y="876"/>
                  </a:lnTo>
                  <a:lnTo>
                    <a:pt x="126" y="870"/>
                  </a:lnTo>
                  <a:lnTo>
                    <a:pt x="126" y="864"/>
                  </a:lnTo>
                  <a:lnTo>
                    <a:pt x="126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26" y="828"/>
                  </a:lnTo>
                  <a:lnTo>
                    <a:pt x="126" y="822"/>
                  </a:lnTo>
                  <a:lnTo>
                    <a:pt x="126" y="816"/>
                  </a:lnTo>
                  <a:lnTo>
                    <a:pt x="126" y="810"/>
                  </a:lnTo>
                  <a:lnTo>
                    <a:pt x="126" y="804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20" y="792"/>
                  </a:lnTo>
                  <a:lnTo>
                    <a:pt x="114" y="792"/>
                  </a:lnTo>
                  <a:lnTo>
                    <a:pt x="114" y="786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96" y="780"/>
                  </a:lnTo>
                  <a:lnTo>
                    <a:pt x="96" y="774"/>
                  </a:lnTo>
                  <a:lnTo>
                    <a:pt x="90" y="774"/>
                  </a:lnTo>
                  <a:lnTo>
                    <a:pt x="90" y="768"/>
                  </a:lnTo>
                  <a:close/>
                  <a:moveTo>
                    <a:pt x="96" y="780"/>
                  </a:moveTo>
                  <a:lnTo>
                    <a:pt x="102" y="780"/>
                  </a:lnTo>
                  <a:lnTo>
                    <a:pt x="102" y="786"/>
                  </a:lnTo>
                  <a:lnTo>
                    <a:pt x="108" y="786"/>
                  </a:lnTo>
                  <a:lnTo>
                    <a:pt x="114" y="792"/>
                  </a:lnTo>
                  <a:lnTo>
                    <a:pt x="120" y="798"/>
                  </a:lnTo>
                  <a:lnTo>
                    <a:pt x="120" y="804"/>
                  </a:lnTo>
                  <a:lnTo>
                    <a:pt x="126" y="810"/>
                  </a:lnTo>
                  <a:lnTo>
                    <a:pt x="126" y="816"/>
                  </a:lnTo>
                  <a:lnTo>
                    <a:pt x="126" y="822"/>
                  </a:lnTo>
                  <a:lnTo>
                    <a:pt x="120" y="828"/>
                  </a:lnTo>
                  <a:lnTo>
                    <a:pt x="120" y="840"/>
                  </a:lnTo>
                  <a:lnTo>
                    <a:pt x="120" y="852"/>
                  </a:lnTo>
                  <a:lnTo>
                    <a:pt x="120" y="858"/>
                  </a:lnTo>
                  <a:lnTo>
                    <a:pt x="120" y="864"/>
                  </a:lnTo>
                  <a:lnTo>
                    <a:pt x="120" y="870"/>
                  </a:lnTo>
                  <a:lnTo>
                    <a:pt x="114" y="870"/>
                  </a:lnTo>
                  <a:lnTo>
                    <a:pt x="108" y="870"/>
                  </a:lnTo>
                  <a:lnTo>
                    <a:pt x="108" y="876"/>
                  </a:lnTo>
                  <a:lnTo>
                    <a:pt x="114" y="876"/>
                  </a:lnTo>
                  <a:lnTo>
                    <a:pt x="120" y="876"/>
                  </a:lnTo>
                  <a:lnTo>
                    <a:pt x="120" y="882"/>
                  </a:lnTo>
                  <a:lnTo>
                    <a:pt x="114" y="888"/>
                  </a:lnTo>
                  <a:lnTo>
                    <a:pt x="120" y="888"/>
                  </a:lnTo>
                  <a:lnTo>
                    <a:pt x="120" y="894"/>
                  </a:lnTo>
                  <a:lnTo>
                    <a:pt x="114" y="894"/>
                  </a:lnTo>
                  <a:lnTo>
                    <a:pt x="108" y="894"/>
                  </a:lnTo>
                  <a:lnTo>
                    <a:pt x="96" y="894"/>
                  </a:lnTo>
                  <a:lnTo>
                    <a:pt x="96" y="882"/>
                  </a:lnTo>
                  <a:lnTo>
                    <a:pt x="96" y="876"/>
                  </a:lnTo>
                  <a:lnTo>
                    <a:pt x="84" y="870"/>
                  </a:lnTo>
                  <a:lnTo>
                    <a:pt x="72" y="864"/>
                  </a:lnTo>
                  <a:lnTo>
                    <a:pt x="72" y="852"/>
                  </a:lnTo>
                  <a:lnTo>
                    <a:pt x="72" y="840"/>
                  </a:lnTo>
                  <a:lnTo>
                    <a:pt x="78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90" y="792"/>
                  </a:lnTo>
                  <a:lnTo>
                    <a:pt x="96" y="780"/>
                  </a:lnTo>
                  <a:close/>
                  <a:moveTo>
                    <a:pt x="492" y="810"/>
                  </a:moveTo>
                  <a:lnTo>
                    <a:pt x="498" y="810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510" y="792"/>
                  </a:lnTo>
                  <a:lnTo>
                    <a:pt x="516" y="786"/>
                  </a:lnTo>
                  <a:lnTo>
                    <a:pt x="522" y="780"/>
                  </a:lnTo>
                  <a:lnTo>
                    <a:pt x="522" y="774"/>
                  </a:lnTo>
                  <a:lnTo>
                    <a:pt x="528" y="768"/>
                  </a:lnTo>
                  <a:lnTo>
                    <a:pt x="528" y="762"/>
                  </a:lnTo>
                  <a:lnTo>
                    <a:pt x="534" y="762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46" y="780"/>
                  </a:lnTo>
                  <a:lnTo>
                    <a:pt x="552" y="786"/>
                  </a:lnTo>
                  <a:lnTo>
                    <a:pt x="558" y="786"/>
                  </a:lnTo>
                  <a:lnTo>
                    <a:pt x="564" y="786"/>
                  </a:lnTo>
                  <a:lnTo>
                    <a:pt x="576" y="786"/>
                  </a:lnTo>
                  <a:lnTo>
                    <a:pt x="582" y="786"/>
                  </a:lnTo>
                  <a:lnTo>
                    <a:pt x="588" y="786"/>
                  </a:lnTo>
                  <a:lnTo>
                    <a:pt x="594" y="786"/>
                  </a:lnTo>
                  <a:lnTo>
                    <a:pt x="588" y="792"/>
                  </a:lnTo>
                  <a:lnTo>
                    <a:pt x="588" y="798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82" y="822"/>
                  </a:lnTo>
                  <a:lnTo>
                    <a:pt x="588" y="828"/>
                  </a:lnTo>
                  <a:lnTo>
                    <a:pt x="588" y="834"/>
                  </a:lnTo>
                  <a:lnTo>
                    <a:pt x="582" y="840"/>
                  </a:lnTo>
                  <a:lnTo>
                    <a:pt x="570" y="840"/>
                  </a:lnTo>
                  <a:lnTo>
                    <a:pt x="558" y="846"/>
                  </a:lnTo>
                  <a:lnTo>
                    <a:pt x="552" y="846"/>
                  </a:lnTo>
                  <a:lnTo>
                    <a:pt x="534" y="852"/>
                  </a:lnTo>
                  <a:lnTo>
                    <a:pt x="522" y="858"/>
                  </a:lnTo>
                  <a:lnTo>
                    <a:pt x="510" y="858"/>
                  </a:lnTo>
                  <a:lnTo>
                    <a:pt x="498" y="864"/>
                  </a:lnTo>
                  <a:lnTo>
                    <a:pt x="474" y="864"/>
                  </a:lnTo>
                  <a:lnTo>
                    <a:pt x="468" y="858"/>
                  </a:lnTo>
                  <a:lnTo>
                    <a:pt x="468" y="852"/>
                  </a:lnTo>
                  <a:lnTo>
                    <a:pt x="468" y="846"/>
                  </a:lnTo>
                  <a:lnTo>
                    <a:pt x="474" y="840"/>
                  </a:lnTo>
                  <a:lnTo>
                    <a:pt x="474" y="834"/>
                  </a:lnTo>
                  <a:lnTo>
                    <a:pt x="480" y="828"/>
                  </a:lnTo>
                  <a:lnTo>
                    <a:pt x="492" y="822"/>
                  </a:lnTo>
                  <a:lnTo>
                    <a:pt x="492" y="810"/>
                  </a:lnTo>
                  <a:close/>
                  <a:moveTo>
                    <a:pt x="384" y="720"/>
                  </a:moveTo>
                  <a:lnTo>
                    <a:pt x="384" y="726"/>
                  </a:lnTo>
                  <a:lnTo>
                    <a:pt x="390" y="726"/>
                  </a:lnTo>
                  <a:lnTo>
                    <a:pt x="396" y="726"/>
                  </a:lnTo>
                  <a:lnTo>
                    <a:pt x="402" y="732"/>
                  </a:lnTo>
                  <a:lnTo>
                    <a:pt x="408" y="732"/>
                  </a:lnTo>
                  <a:lnTo>
                    <a:pt x="414" y="732"/>
                  </a:lnTo>
                  <a:lnTo>
                    <a:pt x="414" y="738"/>
                  </a:lnTo>
                  <a:lnTo>
                    <a:pt x="414" y="744"/>
                  </a:lnTo>
                  <a:lnTo>
                    <a:pt x="414" y="750"/>
                  </a:lnTo>
                  <a:lnTo>
                    <a:pt x="414" y="756"/>
                  </a:lnTo>
                  <a:lnTo>
                    <a:pt x="414" y="762"/>
                  </a:lnTo>
                  <a:lnTo>
                    <a:pt x="420" y="768"/>
                  </a:lnTo>
                  <a:lnTo>
                    <a:pt x="420" y="774"/>
                  </a:lnTo>
                  <a:lnTo>
                    <a:pt x="426" y="780"/>
                  </a:lnTo>
                  <a:lnTo>
                    <a:pt x="426" y="786"/>
                  </a:lnTo>
                  <a:lnTo>
                    <a:pt x="420" y="786"/>
                  </a:lnTo>
                  <a:lnTo>
                    <a:pt x="420" y="792"/>
                  </a:lnTo>
                  <a:lnTo>
                    <a:pt x="420" y="798"/>
                  </a:lnTo>
                  <a:lnTo>
                    <a:pt x="420" y="804"/>
                  </a:lnTo>
                  <a:lnTo>
                    <a:pt x="426" y="804"/>
                  </a:lnTo>
                  <a:lnTo>
                    <a:pt x="426" y="810"/>
                  </a:lnTo>
                  <a:lnTo>
                    <a:pt x="426" y="816"/>
                  </a:lnTo>
                  <a:lnTo>
                    <a:pt x="432" y="816"/>
                  </a:lnTo>
                  <a:lnTo>
                    <a:pt x="438" y="816"/>
                  </a:lnTo>
                  <a:lnTo>
                    <a:pt x="438" y="822"/>
                  </a:lnTo>
                  <a:lnTo>
                    <a:pt x="432" y="822"/>
                  </a:lnTo>
                  <a:lnTo>
                    <a:pt x="426" y="828"/>
                  </a:lnTo>
                  <a:lnTo>
                    <a:pt x="420" y="828"/>
                  </a:lnTo>
                  <a:lnTo>
                    <a:pt x="414" y="828"/>
                  </a:lnTo>
                  <a:lnTo>
                    <a:pt x="408" y="828"/>
                  </a:lnTo>
                  <a:lnTo>
                    <a:pt x="402" y="828"/>
                  </a:lnTo>
                  <a:lnTo>
                    <a:pt x="402" y="822"/>
                  </a:lnTo>
                  <a:lnTo>
                    <a:pt x="396" y="822"/>
                  </a:lnTo>
                  <a:lnTo>
                    <a:pt x="402" y="822"/>
                  </a:lnTo>
                  <a:lnTo>
                    <a:pt x="402" y="816"/>
                  </a:lnTo>
                  <a:lnTo>
                    <a:pt x="396" y="816"/>
                  </a:lnTo>
                  <a:lnTo>
                    <a:pt x="396" y="810"/>
                  </a:lnTo>
                  <a:lnTo>
                    <a:pt x="396" y="804"/>
                  </a:lnTo>
                  <a:lnTo>
                    <a:pt x="390" y="798"/>
                  </a:lnTo>
                  <a:lnTo>
                    <a:pt x="390" y="792"/>
                  </a:lnTo>
                  <a:lnTo>
                    <a:pt x="390" y="786"/>
                  </a:lnTo>
                  <a:lnTo>
                    <a:pt x="390" y="780"/>
                  </a:lnTo>
                  <a:lnTo>
                    <a:pt x="390" y="774"/>
                  </a:lnTo>
                  <a:lnTo>
                    <a:pt x="390" y="768"/>
                  </a:lnTo>
                  <a:lnTo>
                    <a:pt x="390" y="762"/>
                  </a:lnTo>
                  <a:lnTo>
                    <a:pt x="384" y="756"/>
                  </a:lnTo>
                  <a:lnTo>
                    <a:pt x="384" y="750"/>
                  </a:lnTo>
                  <a:lnTo>
                    <a:pt x="384" y="744"/>
                  </a:lnTo>
                  <a:lnTo>
                    <a:pt x="378" y="744"/>
                  </a:lnTo>
                  <a:lnTo>
                    <a:pt x="384" y="744"/>
                  </a:lnTo>
                  <a:lnTo>
                    <a:pt x="384" y="738"/>
                  </a:lnTo>
                  <a:lnTo>
                    <a:pt x="378" y="738"/>
                  </a:lnTo>
                  <a:lnTo>
                    <a:pt x="378" y="732"/>
                  </a:lnTo>
                  <a:lnTo>
                    <a:pt x="378" y="726"/>
                  </a:lnTo>
                  <a:lnTo>
                    <a:pt x="378" y="720"/>
                  </a:lnTo>
                  <a:lnTo>
                    <a:pt x="384" y="720"/>
                  </a:lnTo>
                  <a:close/>
                  <a:moveTo>
                    <a:pt x="330" y="738"/>
                  </a:moveTo>
                  <a:lnTo>
                    <a:pt x="336" y="732"/>
                  </a:lnTo>
                  <a:lnTo>
                    <a:pt x="336" y="726"/>
                  </a:lnTo>
                  <a:lnTo>
                    <a:pt x="342" y="720"/>
                  </a:lnTo>
                  <a:lnTo>
                    <a:pt x="348" y="720"/>
                  </a:lnTo>
                  <a:lnTo>
                    <a:pt x="360" y="720"/>
                  </a:lnTo>
                  <a:lnTo>
                    <a:pt x="366" y="726"/>
                  </a:lnTo>
                  <a:lnTo>
                    <a:pt x="372" y="732"/>
                  </a:lnTo>
                  <a:lnTo>
                    <a:pt x="372" y="738"/>
                  </a:lnTo>
                  <a:lnTo>
                    <a:pt x="366" y="750"/>
                  </a:lnTo>
                  <a:lnTo>
                    <a:pt x="372" y="756"/>
                  </a:lnTo>
                  <a:lnTo>
                    <a:pt x="372" y="762"/>
                  </a:lnTo>
                  <a:lnTo>
                    <a:pt x="372" y="768"/>
                  </a:lnTo>
                  <a:lnTo>
                    <a:pt x="372" y="774"/>
                  </a:lnTo>
                  <a:lnTo>
                    <a:pt x="372" y="780"/>
                  </a:lnTo>
                  <a:lnTo>
                    <a:pt x="372" y="774"/>
                  </a:lnTo>
                  <a:lnTo>
                    <a:pt x="366" y="768"/>
                  </a:lnTo>
                  <a:lnTo>
                    <a:pt x="366" y="762"/>
                  </a:lnTo>
                  <a:lnTo>
                    <a:pt x="366" y="756"/>
                  </a:lnTo>
                  <a:lnTo>
                    <a:pt x="360" y="756"/>
                  </a:lnTo>
                  <a:lnTo>
                    <a:pt x="360" y="750"/>
                  </a:lnTo>
                  <a:lnTo>
                    <a:pt x="354" y="750"/>
                  </a:lnTo>
                  <a:lnTo>
                    <a:pt x="348" y="744"/>
                  </a:lnTo>
                  <a:lnTo>
                    <a:pt x="342" y="744"/>
                  </a:lnTo>
                  <a:lnTo>
                    <a:pt x="336" y="744"/>
                  </a:lnTo>
                  <a:lnTo>
                    <a:pt x="330" y="73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27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93" name="Freeform 7">
              <a:extLst>
                <a:ext uri="{FF2B5EF4-FFF2-40B4-BE49-F238E27FC236}">
                  <a16:creationId xmlns:a16="http://schemas.microsoft.com/office/drawing/2014/main" id="{CBF25819-00D5-440C-8E40-7B1C70525AE2}"/>
                </a:ext>
              </a:extLst>
            </p:cNvPr>
            <p:cNvSpPr>
              <a:spLocks/>
            </p:cNvSpPr>
            <p:nvPr/>
          </p:nvSpPr>
          <p:spPr bwMode="gray">
            <a:xfrm>
              <a:off x="3875088" y="5329238"/>
              <a:ext cx="469900" cy="436562"/>
            </a:xfrm>
            <a:custGeom>
              <a:avLst/>
              <a:gdLst>
                <a:gd name="T0" fmla="*/ 33 w 504"/>
                <a:gd name="T1" fmla="*/ 41 h 468"/>
                <a:gd name="T2" fmla="*/ 26 w 504"/>
                <a:gd name="T3" fmla="*/ 39 h 468"/>
                <a:gd name="T4" fmla="*/ 21 w 504"/>
                <a:gd name="T5" fmla="*/ 38 h 468"/>
                <a:gd name="T6" fmla="*/ 18 w 504"/>
                <a:gd name="T7" fmla="*/ 38 h 468"/>
                <a:gd name="T8" fmla="*/ 15 w 504"/>
                <a:gd name="T9" fmla="*/ 39 h 468"/>
                <a:gd name="T10" fmla="*/ 12 w 504"/>
                <a:gd name="T11" fmla="*/ 38 h 468"/>
                <a:gd name="T12" fmla="*/ 9 w 504"/>
                <a:gd name="T13" fmla="*/ 37 h 468"/>
                <a:gd name="T14" fmla="*/ 7 w 504"/>
                <a:gd name="T15" fmla="*/ 32 h 468"/>
                <a:gd name="T16" fmla="*/ 6 w 504"/>
                <a:gd name="T17" fmla="*/ 26 h 468"/>
                <a:gd name="T18" fmla="*/ 3 w 504"/>
                <a:gd name="T19" fmla="*/ 24 h 468"/>
                <a:gd name="T20" fmla="*/ 1 w 504"/>
                <a:gd name="T21" fmla="*/ 24 h 468"/>
                <a:gd name="T22" fmla="*/ 2 w 504"/>
                <a:gd name="T23" fmla="*/ 18 h 468"/>
                <a:gd name="T24" fmla="*/ 1 w 504"/>
                <a:gd name="T25" fmla="*/ 17 h 468"/>
                <a:gd name="T26" fmla="*/ 0 w 504"/>
                <a:gd name="T27" fmla="*/ 17 h 468"/>
                <a:gd name="T28" fmla="*/ 0 w 504"/>
                <a:gd name="T29" fmla="*/ 15 h 468"/>
                <a:gd name="T30" fmla="*/ 2 w 504"/>
                <a:gd name="T31" fmla="*/ 12 h 468"/>
                <a:gd name="T32" fmla="*/ 4 w 504"/>
                <a:gd name="T33" fmla="*/ 10 h 468"/>
                <a:gd name="T34" fmla="*/ 6 w 504"/>
                <a:gd name="T35" fmla="*/ 8 h 468"/>
                <a:gd name="T36" fmla="*/ 8 w 504"/>
                <a:gd name="T37" fmla="*/ 8 h 468"/>
                <a:gd name="T38" fmla="*/ 10 w 504"/>
                <a:gd name="T39" fmla="*/ 9 h 468"/>
                <a:gd name="T40" fmla="*/ 12 w 504"/>
                <a:gd name="T41" fmla="*/ 10 h 468"/>
                <a:gd name="T42" fmla="*/ 12 w 504"/>
                <a:gd name="T43" fmla="*/ 11 h 468"/>
                <a:gd name="T44" fmla="*/ 14 w 504"/>
                <a:gd name="T45" fmla="*/ 8 h 468"/>
                <a:gd name="T46" fmla="*/ 15 w 504"/>
                <a:gd name="T47" fmla="*/ 7 h 468"/>
                <a:gd name="T48" fmla="*/ 17 w 504"/>
                <a:gd name="T49" fmla="*/ 6 h 468"/>
                <a:gd name="T50" fmla="*/ 19 w 504"/>
                <a:gd name="T51" fmla="*/ 3 h 468"/>
                <a:gd name="T52" fmla="*/ 20 w 504"/>
                <a:gd name="T53" fmla="*/ 2 h 468"/>
                <a:gd name="T54" fmla="*/ 22 w 504"/>
                <a:gd name="T55" fmla="*/ 1 h 468"/>
                <a:gd name="T56" fmla="*/ 27 w 504"/>
                <a:gd name="T57" fmla="*/ 1 h 468"/>
                <a:gd name="T58" fmla="*/ 30 w 504"/>
                <a:gd name="T59" fmla="*/ 2 h 468"/>
                <a:gd name="T60" fmla="*/ 31 w 504"/>
                <a:gd name="T61" fmla="*/ 2 h 468"/>
                <a:gd name="T62" fmla="*/ 34 w 504"/>
                <a:gd name="T63" fmla="*/ 0 h 468"/>
                <a:gd name="T64" fmla="*/ 37 w 504"/>
                <a:gd name="T65" fmla="*/ 1 h 468"/>
                <a:gd name="T66" fmla="*/ 41 w 504"/>
                <a:gd name="T67" fmla="*/ 2 h 468"/>
                <a:gd name="T68" fmla="*/ 42 w 504"/>
                <a:gd name="T69" fmla="*/ 4 h 468"/>
                <a:gd name="T70" fmla="*/ 42 w 504"/>
                <a:gd name="T71" fmla="*/ 10 h 468"/>
                <a:gd name="T72" fmla="*/ 41 w 504"/>
                <a:gd name="T73" fmla="*/ 14 h 468"/>
                <a:gd name="T74" fmla="*/ 42 w 504"/>
                <a:gd name="T75" fmla="*/ 15 h 468"/>
                <a:gd name="T76" fmla="*/ 44 w 504"/>
                <a:gd name="T77" fmla="*/ 18 h 468"/>
                <a:gd name="T78" fmla="*/ 43 w 504"/>
                <a:gd name="T79" fmla="*/ 19 h 468"/>
                <a:gd name="T80" fmla="*/ 42 w 504"/>
                <a:gd name="T81" fmla="*/ 21 h 468"/>
                <a:gd name="T82" fmla="*/ 42 w 504"/>
                <a:gd name="T83" fmla="*/ 23 h 468"/>
                <a:gd name="T84" fmla="*/ 39 w 504"/>
                <a:gd name="T85" fmla="*/ 27 h 468"/>
                <a:gd name="T86" fmla="*/ 38 w 504"/>
                <a:gd name="T87" fmla="*/ 29 h 468"/>
                <a:gd name="T88" fmla="*/ 38 w 504"/>
                <a:gd name="T89" fmla="*/ 31 h 468"/>
                <a:gd name="T90" fmla="*/ 36 w 504"/>
                <a:gd name="T91" fmla="*/ 32 h 468"/>
                <a:gd name="T92" fmla="*/ 35 w 504"/>
                <a:gd name="T93" fmla="*/ 34 h 468"/>
                <a:gd name="T94" fmla="*/ 34 w 504"/>
                <a:gd name="T95" fmla="*/ 38 h 46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04"/>
                <a:gd name="T145" fmla="*/ 0 h 468"/>
                <a:gd name="T146" fmla="*/ 504 w 504"/>
                <a:gd name="T147" fmla="*/ 468 h 46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04" h="468">
                  <a:moveTo>
                    <a:pt x="390" y="456"/>
                  </a:moveTo>
                  <a:lnTo>
                    <a:pt x="384" y="468"/>
                  </a:lnTo>
                  <a:lnTo>
                    <a:pt x="378" y="468"/>
                  </a:lnTo>
                  <a:lnTo>
                    <a:pt x="354" y="468"/>
                  </a:lnTo>
                  <a:lnTo>
                    <a:pt x="348" y="462"/>
                  </a:lnTo>
                  <a:lnTo>
                    <a:pt x="300" y="456"/>
                  </a:lnTo>
                  <a:lnTo>
                    <a:pt x="270" y="444"/>
                  </a:lnTo>
                  <a:lnTo>
                    <a:pt x="252" y="438"/>
                  </a:lnTo>
                  <a:lnTo>
                    <a:pt x="240" y="438"/>
                  </a:lnTo>
                  <a:lnTo>
                    <a:pt x="234" y="438"/>
                  </a:lnTo>
                  <a:lnTo>
                    <a:pt x="228" y="444"/>
                  </a:lnTo>
                  <a:lnTo>
                    <a:pt x="210" y="444"/>
                  </a:lnTo>
                  <a:lnTo>
                    <a:pt x="198" y="444"/>
                  </a:lnTo>
                  <a:lnTo>
                    <a:pt x="198" y="450"/>
                  </a:lnTo>
                  <a:lnTo>
                    <a:pt x="168" y="456"/>
                  </a:lnTo>
                  <a:lnTo>
                    <a:pt x="150" y="450"/>
                  </a:lnTo>
                  <a:lnTo>
                    <a:pt x="144" y="444"/>
                  </a:lnTo>
                  <a:lnTo>
                    <a:pt x="132" y="438"/>
                  </a:lnTo>
                  <a:lnTo>
                    <a:pt x="138" y="432"/>
                  </a:lnTo>
                  <a:lnTo>
                    <a:pt x="114" y="432"/>
                  </a:lnTo>
                  <a:lnTo>
                    <a:pt x="102" y="426"/>
                  </a:lnTo>
                  <a:lnTo>
                    <a:pt x="90" y="414"/>
                  </a:lnTo>
                  <a:lnTo>
                    <a:pt x="72" y="402"/>
                  </a:lnTo>
                  <a:lnTo>
                    <a:pt x="78" y="366"/>
                  </a:lnTo>
                  <a:lnTo>
                    <a:pt x="78" y="330"/>
                  </a:lnTo>
                  <a:lnTo>
                    <a:pt x="66" y="318"/>
                  </a:lnTo>
                  <a:lnTo>
                    <a:pt x="66" y="300"/>
                  </a:lnTo>
                  <a:lnTo>
                    <a:pt x="66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30" y="282"/>
                  </a:lnTo>
                  <a:lnTo>
                    <a:pt x="24" y="282"/>
                  </a:lnTo>
                  <a:lnTo>
                    <a:pt x="12" y="276"/>
                  </a:lnTo>
                  <a:lnTo>
                    <a:pt x="0" y="282"/>
                  </a:lnTo>
                  <a:lnTo>
                    <a:pt x="12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2" y="198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6" y="180"/>
                  </a:lnTo>
                  <a:lnTo>
                    <a:pt x="12" y="186"/>
                  </a:lnTo>
                  <a:lnTo>
                    <a:pt x="18" y="138"/>
                  </a:lnTo>
                  <a:lnTo>
                    <a:pt x="24" y="126"/>
                  </a:lnTo>
                  <a:lnTo>
                    <a:pt x="30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20" y="102"/>
                  </a:lnTo>
                  <a:lnTo>
                    <a:pt x="126" y="108"/>
                  </a:lnTo>
                  <a:lnTo>
                    <a:pt x="126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0"/>
                  </a:lnTo>
                  <a:lnTo>
                    <a:pt x="156" y="96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16" y="42"/>
                  </a:lnTo>
                  <a:lnTo>
                    <a:pt x="222" y="36"/>
                  </a:lnTo>
                  <a:lnTo>
                    <a:pt x="228" y="36"/>
                  </a:lnTo>
                  <a:lnTo>
                    <a:pt x="228" y="30"/>
                  </a:lnTo>
                  <a:lnTo>
                    <a:pt x="228" y="24"/>
                  </a:lnTo>
                  <a:lnTo>
                    <a:pt x="246" y="18"/>
                  </a:lnTo>
                  <a:lnTo>
                    <a:pt x="252" y="18"/>
                  </a:lnTo>
                  <a:lnTo>
                    <a:pt x="258" y="12"/>
                  </a:lnTo>
                  <a:lnTo>
                    <a:pt x="270" y="6"/>
                  </a:lnTo>
                  <a:lnTo>
                    <a:pt x="288" y="6"/>
                  </a:lnTo>
                  <a:lnTo>
                    <a:pt x="312" y="12"/>
                  </a:lnTo>
                  <a:lnTo>
                    <a:pt x="324" y="12"/>
                  </a:lnTo>
                  <a:lnTo>
                    <a:pt x="336" y="18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14" y="12"/>
                  </a:lnTo>
                  <a:lnTo>
                    <a:pt x="426" y="12"/>
                  </a:lnTo>
                  <a:lnTo>
                    <a:pt x="444" y="18"/>
                  </a:lnTo>
                  <a:lnTo>
                    <a:pt x="462" y="18"/>
                  </a:lnTo>
                  <a:lnTo>
                    <a:pt x="474" y="18"/>
                  </a:lnTo>
                  <a:lnTo>
                    <a:pt x="480" y="18"/>
                  </a:lnTo>
                  <a:lnTo>
                    <a:pt x="486" y="36"/>
                  </a:lnTo>
                  <a:lnTo>
                    <a:pt x="480" y="42"/>
                  </a:lnTo>
                  <a:lnTo>
                    <a:pt x="480" y="54"/>
                  </a:lnTo>
                  <a:lnTo>
                    <a:pt x="486" y="78"/>
                  </a:lnTo>
                  <a:lnTo>
                    <a:pt x="486" y="114"/>
                  </a:lnTo>
                  <a:lnTo>
                    <a:pt x="486" y="150"/>
                  </a:lnTo>
                  <a:lnTo>
                    <a:pt x="468" y="150"/>
                  </a:lnTo>
                  <a:lnTo>
                    <a:pt x="474" y="162"/>
                  </a:lnTo>
                  <a:lnTo>
                    <a:pt x="480" y="162"/>
                  </a:lnTo>
                  <a:lnTo>
                    <a:pt x="486" y="174"/>
                  </a:lnTo>
                  <a:lnTo>
                    <a:pt x="492" y="174"/>
                  </a:lnTo>
                  <a:lnTo>
                    <a:pt x="492" y="192"/>
                  </a:lnTo>
                  <a:lnTo>
                    <a:pt x="498" y="198"/>
                  </a:lnTo>
                  <a:lnTo>
                    <a:pt x="504" y="204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8" y="222"/>
                  </a:lnTo>
                  <a:lnTo>
                    <a:pt x="492" y="228"/>
                  </a:lnTo>
                  <a:lnTo>
                    <a:pt x="492" y="234"/>
                  </a:lnTo>
                  <a:lnTo>
                    <a:pt x="492" y="240"/>
                  </a:lnTo>
                  <a:lnTo>
                    <a:pt x="486" y="246"/>
                  </a:lnTo>
                  <a:lnTo>
                    <a:pt x="486" y="258"/>
                  </a:lnTo>
                  <a:lnTo>
                    <a:pt x="480" y="264"/>
                  </a:lnTo>
                  <a:lnTo>
                    <a:pt x="474" y="276"/>
                  </a:lnTo>
                  <a:lnTo>
                    <a:pt x="468" y="288"/>
                  </a:lnTo>
                  <a:lnTo>
                    <a:pt x="456" y="306"/>
                  </a:lnTo>
                  <a:lnTo>
                    <a:pt x="456" y="312"/>
                  </a:lnTo>
                  <a:lnTo>
                    <a:pt x="444" y="318"/>
                  </a:lnTo>
                  <a:lnTo>
                    <a:pt x="432" y="336"/>
                  </a:lnTo>
                  <a:lnTo>
                    <a:pt x="432" y="342"/>
                  </a:lnTo>
                  <a:lnTo>
                    <a:pt x="432" y="348"/>
                  </a:lnTo>
                  <a:lnTo>
                    <a:pt x="432" y="354"/>
                  </a:lnTo>
                  <a:lnTo>
                    <a:pt x="426" y="366"/>
                  </a:lnTo>
                  <a:lnTo>
                    <a:pt x="420" y="366"/>
                  </a:lnTo>
                  <a:lnTo>
                    <a:pt x="420" y="372"/>
                  </a:lnTo>
                  <a:lnTo>
                    <a:pt x="414" y="378"/>
                  </a:lnTo>
                  <a:lnTo>
                    <a:pt x="414" y="390"/>
                  </a:lnTo>
                  <a:lnTo>
                    <a:pt x="408" y="390"/>
                  </a:lnTo>
                  <a:lnTo>
                    <a:pt x="408" y="402"/>
                  </a:lnTo>
                  <a:lnTo>
                    <a:pt x="402" y="414"/>
                  </a:lnTo>
                  <a:lnTo>
                    <a:pt x="396" y="438"/>
                  </a:lnTo>
                  <a:lnTo>
                    <a:pt x="396" y="444"/>
                  </a:lnTo>
                  <a:lnTo>
                    <a:pt x="390" y="456"/>
                  </a:lnTo>
                  <a:close/>
                </a:path>
              </a:pathLst>
            </a:custGeom>
            <a:solidFill>
              <a:srgbClr val="F2F2F2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27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9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94" name="Freeform 8">
              <a:extLst>
                <a:ext uri="{FF2B5EF4-FFF2-40B4-BE49-F238E27FC236}">
                  <a16:creationId xmlns:a16="http://schemas.microsoft.com/office/drawing/2014/main" id="{A94BDA9E-CBC7-4D22-8E3B-359ABBC42C5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70363" y="5265738"/>
              <a:ext cx="501650" cy="722312"/>
            </a:xfrm>
            <a:custGeom>
              <a:avLst/>
              <a:gdLst>
                <a:gd name="T0" fmla="*/ 39 w 534"/>
                <a:gd name="T1" fmla="*/ 35 h 774"/>
                <a:gd name="T2" fmla="*/ 35 w 534"/>
                <a:gd name="T3" fmla="*/ 31 h 774"/>
                <a:gd name="T4" fmla="*/ 32 w 534"/>
                <a:gd name="T5" fmla="*/ 29 h 774"/>
                <a:gd name="T6" fmla="*/ 32 w 534"/>
                <a:gd name="T7" fmla="*/ 31 h 774"/>
                <a:gd name="T8" fmla="*/ 29 w 534"/>
                <a:gd name="T9" fmla="*/ 33 h 774"/>
                <a:gd name="T10" fmla="*/ 27 w 534"/>
                <a:gd name="T11" fmla="*/ 36 h 774"/>
                <a:gd name="T12" fmla="*/ 30 w 534"/>
                <a:gd name="T13" fmla="*/ 38 h 774"/>
                <a:gd name="T14" fmla="*/ 29 w 534"/>
                <a:gd name="T15" fmla="*/ 40 h 774"/>
                <a:gd name="T16" fmla="*/ 25 w 534"/>
                <a:gd name="T17" fmla="*/ 40 h 774"/>
                <a:gd name="T18" fmla="*/ 23 w 534"/>
                <a:gd name="T19" fmla="*/ 42 h 774"/>
                <a:gd name="T20" fmla="*/ 22 w 534"/>
                <a:gd name="T21" fmla="*/ 47 h 774"/>
                <a:gd name="T22" fmla="*/ 22 w 534"/>
                <a:gd name="T23" fmla="*/ 51 h 774"/>
                <a:gd name="T24" fmla="*/ 22 w 534"/>
                <a:gd name="T25" fmla="*/ 54 h 774"/>
                <a:gd name="T26" fmla="*/ 21 w 534"/>
                <a:gd name="T27" fmla="*/ 56 h 774"/>
                <a:gd name="T28" fmla="*/ 19 w 534"/>
                <a:gd name="T29" fmla="*/ 58 h 774"/>
                <a:gd name="T30" fmla="*/ 20 w 534"/>
                <a:gd name="T31" fmla="*/ 59 h 774"/>
                <a:gd name="T32" fmla="*/ 19 w 534"/>
                <a:gd name="T33" fmla="*/ 62 h 774"/>
                <a:gd name="T34" fmla="*/ 19 w 534"/>
                <a:gd name="T35" fmla="*/ 64 h 774"/>
                <a:gd name="T36" fmla="*/ 20 w 534"/>
                <a:gd name="T37" fmla="*/ 66 h 774"/>
                <a:gd name="T38" fmla="*/ 17 w 534"/>
                <a:gd name="T39" fmla="*/ 66 h 774"/>
                <a:gd name="T40" fmla="*/ 16 w 534"/>
                <a:gd name="T41" fmla="*/ 65 h 774"/>
                <a:gd name="T42" fmla="*/ 13 w 534"/>
                <a:gd name="T43" fmla="*/ 65 h 774"/>
                <a:gd name="T44" fmla="*/ 11 w 534"/>
                <a:gd name="T45" fmla="*/ 65 h 774"/>
                <a:gd name="T46" fmla="*/ 8 w 534"/>
                <a:gd name="T47" fmla="*/ 65 h 774"/>
                <a:gd name="T48" fmla="*/ 8 w 534"/>
                <a:gd name="T49" fmla="*/ 64 h 774"/>
                <a:gd name="T50" fmla="*/ 5 w 534"/>
                <a:gd name="T51" fmla="*/ 65 h 774"/>
                <a:gd name="T52" fmla="*/ 3 w 534"/>
                <a:gd name="T53" fmla="*/ 65 h 774"/>
                <a:gd name="T54" fmla="*/ 0 w 534"/>
                <a:gd name="T55" fmla="*/ 64 h 774"/>
                <a:gd name="T56" fmla="*/ 0 w 534"/>
                <a:gd name="T57" fmla="*/ 62 h 774"/>
                <a:gd name="T58" fmla="*/ 3 w 534"/>
                <a:gd name="T59" fmla="*/ 60 h 774"/>
                <a:gd name="T60" fmla="*/ 6 w 534"/>
                <a:gd name="T61" fmla="*/ 57 h 774"/>
                <a:gd name="T62" fmla="*/ 8 w 534"/>
                <a:gd name="T63" fmla="*/ 50 h 774"/>
                <a:gd name="T64" fmla="*/ 6 w 534"/>
                <a:gd name="T65" fmla="*/ 45 h 774"/>
                <a:gd name="T66" fmla="*/ 8 w 534"/>
                <a:gd name="T67" fmla="*/ 41 h 774"/>
                <a:gd name="T68" fmla="*/ 9 w 534"/>
                <a:gd name="T69" fmla="*/ 38 h 774"/>
                <a:gd name="T70" fmla="*/ 10 w 534"/>
                <a:gd name="T71" fmla="*/ 36 h 774"/>
                <a:gd name="T72" fmla="*/ 12 w 534"/>
                <a:gd name="T73" fmla="*/ 33 h 774"/>
                <a:gd name="T74" fmla="*/ 14 w 534"/>
                <a:gd name="T75" fmla="*/ 29 h 774"/>
                <a:gd name="T76" fmla="*/ 16 w 534"/>
                <a:gd name="T77" fmla="*/ 26 h 774"/>
                <a:gd name="T78" fmla="*/ 16 w 534"/>
                <a:gd name="T79" fmla="*/ 24 h 774"/>
                <a:gd name="T80" fmla="*/ 16 w 534"/>
                <a:gd name="T81" fmla="*/ 21 h 774"/>
                <a:gd name="T82" fmla="*/ 13 w 534"/>
                <a:gd name="T83" fmla="*/ 19 h 774"/>
                <a:gd name="T84" fmla="*/ 14 w 534"/>
                <a:gd name="T85" fmla="*/ 10 h 774"/>
                <a:gd name="T86" fmla="*/ 14 w 534"/>
                <a:gd name="T87" fmla="*/ 7 h 774"/>
                <a:gd name="T88" fmla="*/ 8 w 534"/>
                <a:gd name="T89" fmla="*/ 7 h 774"/>
                <a:gd name="T90" fmla="*/ 7 w 534"/>
                <a:gd name="T91" fmla="*/ 3 h 774"/>
                <a:gd name="T92" fmla="*/ 11 w 534"/>
                <a:gd name="T93" fmla="*/ 1 h 774"/>
                <a:gd name="T94" fmla="*/ 12 w 534"/>
                <a:gd name="T95" fmla="*/ 0 h 774"/>
                <a:gd name="T96" fmla="*/ 16 w 534"/>
                <a:gd name="T97" fmla="*/ 2 h 774"/>
                <a:gd name="T98" fmla="*/ 20 w 534"/>
                <a:gd name="T99" fmla="*/ 2 h 774"/>
                <a:gd name="T100" fmla="*/ 23 w 534"/>
                <a:gd name="T101" fmla="*/ 3 h 774"/>
                <a:gd name="T102" fmla="*/ 23 w 534"/>
                <a:gd name="T103" fmla="*/ 10 h 774"/>
                <a:gd name="T104" fmla="*/ 29 w 534"/>
                <a:gd name="T105" fmla="*/ 12 h 774"/>
                <a:gd name="T106" fmla="*/ 35 w 534"/>
                <a:gd name="T107" fmla="*/ 12 h 774"/>
                <a:gd name="T108" fmla="*/ 38 w 534"/>
                <a:gd name="T109" fmla="*/ 17 h 774"/>
                <a:gd name="T110" fmla="*/ 40 w 534"/>
                <a:gd name="T111" fmla="*/ 19 h 774"/>
                <a:gd name="T112" fmla="*/ 44 w 534"/>
                <a:gd name="T113" fmla="*/ 23 h 774"/>
                <a:gd name="T114" fmla="*/ 44 w 534"/>
                <a:gd name="T115" fmla="*/ 30 h 774"/>
                <a:gd name="T116" fmla="*/ 46 w 534"/>
                <a:gd name="T117" fmla="*/ 36 h 774"/>
                <a:gd name="T118" fmla="*/ 41 w 534"/>
                <a:gd name="T119" fmla="*/ 37 h 77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34"/>
                <a:gd name="T181" fmla="*/ 0 h 774"/>
                <a:gd name="T182" fmla="*/ 534 w 534"/>
                <a:gd name="T183" fmla="*/ 774 h 77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34" h="774">
                  <a:moveTo>
                    <a:pt x="462" y="426"/>
                  </a:moveTo>
                  <a:lnTo>
                    <a:pt x="462" y="414"/>
                  </a:lnTo>
                  <a:lnTo>
                    <a:pt x="450" y="402"/>
                  </a:lnTo>
                  <a:lnTo>
                    <a:pt x="444" y="396"/>
                  </a:lnTo>
                  <a:lnTo>
                    <a:pt x="420" y="396"/>
                  </a:lnTo>
                  <a:lnTo>
                    <a:pt x="408" y="390"/>
                  </a:lnTo>
                  <a:lnTo>
                    <a:pt x="402" y="366"/>
                  </a:lnTo>
                  <a:lnTo>
                    <a:pt x="390" y="354"/>
                  </a:lnTo>
                  <a:lnTo>
                    <a:pt x="384" y="336"/>
                  </a:lnTo>
                  <a:lnTo>
                    <a:pt x="378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8" y="348"/>
                  </a:lnTo>
                  <a:lnTo>
                    <a:pt x="360" y="354"/>
                  </a:lnTo>
                  <a:lnTo>
                    <a:pt x="360" y="390"/>
                  </a:lnTo>
                  <a:lnTo>
                    <a:pt x="348" y="390"/>
                  </a:lnTo>
                  <a:lnTo>
                    <a:pt x="342" y="384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90"/>
                  </a:lnTo>
                  <a:lnTo>
                    <a:pt x="312" y="402"/>
                  </a:lnTo>
                  <a:lnTo>
                    <a:pt x="306" y="420"/>
                  </a:lnTo>
                  <a:lnTo>
                    <a:pt x="324" y="414"/>
                  </a:lnTo>
                  <a:lnTo>
                    <a:pt x="330" y="414"/>
                  </a:lnTo>
                  <a:lnTo>
                    <a:pt x="336" y="420"/>
                  </a:lnTo>
                  <a:lnTo>
                    <a:pt x="336" y="432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6"/>
                  </a:lnTo>
                  <a:lnTo>
                    <a:pt x="318" y="456"/>
                  </a:lnTo>
                  <a:lnTo>
                    <a:pt x="300" y="456"/>
                  </a:lnTo>
                  <a:lnTo>
                    <a:pt x="288" y="462"/>
                  </a:lnTo>
                  <a:lnTo>
                    <a:pt x="276" y="462"/>
                  </a:lnTo>
                  <a:lnTo>
                    <a:pt x="270" y="462"/>
                  </a:lnTo>
                  <a:lnTo>
                    <a:pt x="270" y="468"/>
                  </a:lnTo>
                  <a:lnTo>
                    <a:pt x="252" y="468"/>
                  </a:lnTo>
                  <a:lnTo>
                    <a:pt x="258" y="480"/>
                  </a:lnTo>
                  <a:lnTo>
                    <a:pt x="258" y="492"/>
                  </a:lnTo>
                  <a:lnTo>
                    <a:pt x="258" y="498"/>
                  </a:lnTo>
                  <a:lnTo>
                    <a:pt x="258" y="510"/>
                  </a:lnTo>
                  <a:lnTo>
                    <a:pt x="252" y="540"/>
                  </a:lnTo>
                  <a:lnTo>
                    <a:pt x="246" y="564"/>
                  </a:lnTo>
                  <a:lnTo>
                    <a:pt x="246" y="570"/>
                  </a:lnTo>
                  <a:lnTo>
                    <a:pt x="252" y="576"/>
                  </a:lnTo>
                  <a:lnTo>
                    <a:pt x="246" y="582"/>
                  </a:lnTo>
                  <a:lnTo>
                    <a:pt x="252" y="600"/>
                  </a:lnTo>
                  <a:lnTo>
                    <a:pt x="258" y="606"/>
                  </a:lnTo>
                  <a:lnTo>
                    <a:pt x="258" y="612"/>
                  </a:lnTo>
                  <a:lnTo>
                    <a:pt x="252" y="618"/>
                  </a:lnTo>
                  <a:lnTo>
                    <a:pt x="246" y="624"/>
                  </a:lnTo>
                  <a:lnTo>
                    <a:pt x="246" y="630"/>
                  </a:lnTo>
                  <a:lnTo>
                    <a:pt x="246" y="636"/>
                  </a:lnTo>
                  <a:lnTo>
                    <a:pt x="240" y="642"/>
                  </a:lnTo>
                  <a:lnTo>
                    <a:pt x="234" y="654"/>
                  </a:lnTo>
                  <a:lnTo>
                    <a:pt x="228" y="654"/>
                  </a:lnTo>
                  <a:lnTo>
                    <a:pt x="222" y="660"/>
                  </a:lnTo>
                  <a:lnTo>
                    <a:pt x="216" y="666"/>
                  </a:lnTo>
                  <a:lnTo>
                    <a:pt x="210" y="666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22" y="684"/>
                  </a:lnTo>
                  <a:lnTo>
                    <a:pt x="222" y="690"/>
                  </a:lnTo>
                  <a:lnTo>
                    <a:pt x="222" y="696"/>
                  </a:lnTo>
                  <a:lnTo>
                    <a:pt x="222" y="702"/>
                  </a:lnTo>
                  <a:lnTo>
                    <a:pt x="216" y="708"/>
                  </a:lnTo>
                  <a:lnTo>
                    <a:pt x="210" y="720"/>
                  </a:lnTo>
                  <a:lnTo>
                    <a:pt x="216" y="732"/>
                  </a:lnTo>
                  <a:lnTo>
                    <a:pt x="210" y="732"/>
                  </a:lnTo>
                  <a:lnTo>
                    <a:pt x="216" y="738"/>
                  </a:lnTo>
                  <a:lnTo>
                    <a:pt x="216" y="744"/>
                  </a:lnTo>
                  <a:lnTo>
                    <a:pt x="222" y="750"/>
                  </a:lnTo>
                  <a:lnTo>
                    <a:pt x="228" y="756"/>
                  </a:lnTo>
                  <a:lnTo>
                    <a:pt x="222" y="762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04" y="762"/>
                  </a:lnTo>
                  <a:lnTo>
                    <a:pt x="198" y="762"/>
                  </a:lnTo>
                  <a:lnTo>
                    <a:pt x="192" y="762"/>
                  </a:lnTo>
                  <a:lnTo>
                    <a:pt x="186" y="756"/>
                  </a:lnTo>
                  <a:lnTo>
                    <a:pt x="180" y="750"/>
                  </a:lnTo>
                  <a:lnTo>
                    <a:pt x="180" y="744"/>
                  </a:lnTo>
                  <a:lnTo>
                    <a:pt x="174" y="744"/>
                  </a:lnTo>
                  <a:lnTo>
                    <a:pt x="156" y="750"/>
                  </a:lnTo>
                  <a:lnTo>
                    <a:pt x="150" y="750"/>
                  </a:lnTo>
                  <a:lnTo>
                    <a:pt x="144" y="750"/>
                  </a:lnTo>
                  <a:lnTo>
                    <a:pt x="138" y="750"/>
                  </a:lnTo>
                  <a:lnTo>
                    <a:pt x="138" y="744"/>
                  </a:lnTo>
                  <a:lnTo>
                    <a:pt x="132" y="744"/>
                  </a:lnTo>
                  <a:lnTo>
                    <a:pt x="120" y="744"/>
                  </a:lnTo>
                  <a:lnTo>
                    <a:pt x="114" y="738"/>
                  </a:lnTo>
                  <a:lnTo>
                    <a:pt x="108" y="744"/>
                  </a:lnTo>
                  <a:lnTo>
                    <a:pt x="102" y="744"/>
                  </a:lnTo>
                  <a:lnTo>
                    <a:pt x="96" y="744"/>
                  </a:lnTo>
                  <a:lnTo>
                    <a:pt x="96" y="738"/>
                  </a:lnTo>
                  <a:lnTo>
                    <a:pt x="96" y="744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44"/>
                  </a:lnTo>
                  <a:lnTo>
                    <a:pt x="72" y="750"/>
                  </a:lnTo>
                  <a:lnTo>
                    <a:pt x="66" y="750"/>
                  </a:lnTo>
                  <a:lnTo>
                    <a:pt x="60" y="750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0"/>
                  </a:lnTo>
                  <a:lnTo>
                    <a:pt x="30" y="750"/>
                  </a:lnTo>
                  <a:lnTo>
                    <a:pt x="24" y="744"/>
                  </a:lnTo>
                  <a:lnTo>
                    <a:pt x="18" y="738"/>
                  </a:lnTo>
                  <a:lnTo>
                    <a:pt x="6" y="738"/>
                  </a:lnTo>
                  <a:lnTo>
                    <a:pt x="0" y="732"/>
                  </a:lnTo>
                  <a:lnTo>
                    <a:pt x="0" y="726"/>
                  </a:lnTo>
                  <a:lnTo>
                    <a:pt x="0" y="720"/>
                  </a:lnTo>
                  <a:lnTo>
                    <a:pt x="6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8" y="702"/>
                  </a:lnTo>
                  <a:lnTo>
                    <a:pt x="24" y="696"/>
                  </a:lnTo>
                  <a:lnTo>
                    <a:pt x="30" y="696"/>
                  </a:lnTo>
                  <a:lnTo>
                    <a:pt x="48" y="690"/>
                  </a:lnTo>
                  <a:lnTo>
                    <a:pt x="54" y="678"/>
                  </a:lnTo>
                  <a:lnTo>
                    <a:pt x="66" y="672"/>
                  </a:lnTo>
                  <a:lnTo>
                    <a:pt x="66" y="654"/>
                  </a:lnTo>
                  <a:lnTo>
                    <a:pt x="72" y="636"/>
                  </a:lnTo>
                  <a:lnTo>
                    <a:pt x="72" y="612"/>
                  </a:lnTo>
                  <a:lnTo>
                    <a:pt x="84" y="594"/>
                  </a:lnTo>
                  <a:lnTo>
                    <a:pt x="90" y="576"/>
                  </a:lnTo>
                  <a:lnTo>
                    <a:pt x="96" y="552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72" y="522"/>
                  </a:lnTo>
                  <a:lnTo>
                    <a:pt x="78" y="510"/>
                  </a:lnTo>
                  <a:lnTo>
                    <a:pt x="78" y="504"/>
                  </a:lnTo>
                  <a:lnTo>
                    <a:pt x="84" y="480"/>
                  </a:lnTo>
                  <a:lnTo>
                    <a:pt x="90" y="468"/>
                  </a:lnTo>
                  <a:lnTo>
                    <a:pt x="90" y="456"/>
                  </a:lnTo>
                  <a:lnTo>
                    <a:pt x="96" y="456"/>
                  </a:lnTo>
                  <a:lnTo>
                    <a:pt x="96" y="444"/>
                  </a:lnTo>
                  <a:lnTo>
                    <a:pt x="102" y="438"/>
                  </a:lnTo>
                  <a:lnTo>
                    <a:pt x="102" y="432"/>
                  </a:lnTo>
                  <a:lnTo>
                    <a:pt x="108" y="432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14" y="408"/>
                  </a:lnTo>
                  <a:lnTo>
                    <a:pt x="114" y="402"/>
                  </a:lnTo>
                  <a:lnTo>
                    <a:pt x="126" y="384"/>
                  </a:lnTo>
                  <a:lnTo>
                    <a:pt x="138" y="378"/>
                  </a:lnTo>
                  <a:lnTo>
                    <a:pt x="138" y="372"/>
                  </a:lnTo>
                  <a:lnTo>
                    <a:pt x="150" y="354"/>
                  </a:lnTo>
                  <a:lnTo>
                    <a:pt x="156" y="342"/>
                  </a:lnTo>
                  <a:lnTo>
                    <a:pt x="162" y="330"/>
                  </a:lnTo>
                  <a:lnTo>
                    <a:pt x="168" y="324"/>
                  </a:lnTo>
                  <a:lnTo>
                    <a:pt x="168" y="312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74" y="294"/>
                  </a:lnTo>
                  <a:lnTo>
                    <a:pt x="180" y="288"/>
                  </a:lnTo>
                  <a:lnTo>
                    <a:pt x="180" y="276"/>
                  </a:lnTo>
                  <a:lnTo>
                    <a:pt x="186" y="276"/>
                  </a:lnTo>
                  <a:lnTo>
                    <a:pt x="186" y="270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40"/>
                  </a:lnTo>
                  <a:lnTo>
                    <a:pt x="168" y="240"/>
                  </a:lnTo>
                  <a:lnTo>
                    <a:pt x="162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68" y="216"/>
                  </a:lnTo>
                  <a:lnTo>
                    <a:pt x="168" y="180"/>
                  </a:lnTo>
                  <a:lnTo>
                    <a:pt x="168" y="144"/>
                  </a:lnTo>
                  <a:lnTo>
                    <a:pt x="162" y="120"/>
                  </a:lnTo>
                  <a:lnTo>
                    <a:pt x="162" y="108"/>
                  </a:lnTo>
                  <a:lnTo>
                    <a:pt x="168" y="102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44" y="84"/>
                  </a:lnTo>
                  <a:lnTo>
                    <a:pt x="126" y="84"/>
                  </a:lnTo>
                  <a:lnTo>
                    <a:pt x="108" y="78"/>
                  </a:lnTo>
                  <a:lnTo>
                    <a:pt x="96" y="78"/>
                  </a:lnTo>
                  <a:lnTo>
                    <a:pt x="78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8" y="36"/>
                  </a:lnTo>
                  <a:lnTo>
                    <a:pt x="96" y="24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56" y="0"/>
                  </a:lnTo>
                  <a:lnTo>
                    <a:pt x="156" y="6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18"/>
                  </a:lnTo>
                  <a:lnTo>
                    <a:pt x="198" y="18"/>
                  </a:lnTo>
                  <a:lnTo>
                    <a:pt x="210" y="18"/>
                  </a:lnTo>
                  <a:lnTo>
                    <a:pt x="222" y="18"/>
                  </a:lnTo>
                  <a:lnTo>
                    <a:pt x="234" y="12"/>
                  </a:lnTo>
                  <a:lnTo>
                    <a:pt x="252" y="18"/>
                  </a:lnTo>
                  <a:lnTo>
                    <a:pt x="252" y="24"/>
                  </a:lnTo>
                  <a:lnTo>
                    <a:pt x="258" y="36"/>
                  </a:lnTo>
                  <a:lnTo>
                    <a:pt x="258" y="66"/>
                  </a:lnTo>
                  <a:lnTo>
                    <a:pt x="252" y="84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82" y="126"/>
                  </a:lnTo>
                  <a:lnTo>
                    <a:pt x="294" y="132"/>
                  </a:lnTo>
                  <a:lnTo>
                    <a:pt x="306" y="138"/>
                  </a:lnTo>
                  <a:lnTo>
                    <a:pt x="324" y="138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60" y="144"/>
                  </a:lnTo>
                  <a:lnTo>
                    <a:pt x="396" y="144"/>
                  </a:lnTo>
                  <a:lnTo>
                    <a:pt x="408" y="150"/>
                  </a:lnTo>
                  <a:lnTo>
                    <a:pt x="414" y="180"/>
                  </a:lnTo>
                  <a:lnTo>
                    <a:pt x="420" y="186"/>
                  </a:lnTo>
                  <a:lnTo>
                    <a:pt x="426" y="192"/>
                  </a:lnTo>
                  <a:lnTo>
                    <a:pt x="426" y="198"/>
                  </a:lnTo>
                  <a:lnTo>
                    <a:pt x="432" y="198"/>
                  </a:lnTo>
                  <a:lnTo>
                    <a:pt x="438" y="210"/>
                  </a:lnTo>
                  <a:lnTo>
                    <a:pt x="450" y="216"/>
                  </a:lnTo>
                  <a:lnTo>
                    <a:pt x="468" y="228"/>
                  </a:lnTo>
                  <a:lnTo>
                    <a:pt x="492" y="234"/>
                  </a:lnTo>
                  <a:lnTo>
                    <a:pt x="492" y="246"/>
                  </a:lnTo>
                  <a:lnTo>
                    <a:pt x="492" y="270"/>
                  </a:lnTo>
                  <a:lnTo>
                    <a:pt x="486" y="294"/>
                  </a:lnTo>
                  <a:lnTo>
                    <a:pt x="486" y="312"/>
                  </a:lnTo>
                  <a:lnTo>
                    <a:pt x="486" y="330"/>
                  </a:lnTo>
                  <a:lnTo>
                    <a:pt x="492" y="348"/>
                  </a:lnTo>
                  <a:lnTo>
                    <a:pt x="498" y="360"/>
                  </a:lnTo>
                  <a:lnTo>
                    <a:pt x="510" y="366"/>
                  </a:lnTo>
                  <a:lnTo>
                    <a:pt x="516" y="384"/>
                  </a:lnTo>
                  <a:lnTo>
                    <a:pt x="522" y="414"/>
                  </a:lnTo>
                  <a:lnTo>
                    <a:pt x="528" y="414"/>
                  </a:lnTo>
                  <a:lnTo>
                    <a:pt x="534" y="426"/>
                  </a:lnTo>
                  <a:lnTo>
                    <a:pt x="528" y="432"/>
                  </a:lnTo>
                  <a:lnTo>
                    <a:pt x="468" y="426"/>
                  </a:lnTo>
                  <a:lnTo>
                    <a:pt x="462" y="426"/>
                  </a:lnTo>
                  <a:close/>
                </a:path>
              </a:pathLst>
            </a:custGeom>
            <a:solidFill>
              <a:srgbClr val="549E39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27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9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95" name="Freeform 9">
              <a:extLst>
                <a:ext uri="{FF2B5EF4-FFF2-40B4-BE49-F238E27FC236}">
                  <a16:creationId xmlns:a16="http://schemas.microsoft.com/office/drawing/2014/main" id="{4087F758-3DCB-41E0-8116-73EA63D5DE5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62450" y="5580063"/>
              <a:ext cx="515938" cy="615950"/>
            </a:xfrm>
            <a:custGeom>
              <a:avLst/>
              <a:gdLst>
                <a:gd name="T0" fmla="*/ 2147483647 w 552"/>
                <a:gd name="T1" fmla="*/ 2147483647 h 660"/>
                <a:gd name="T2" fmla="*/ 2147483647 w 552"/>
                <a:gd name="T3" fmla="*/ 2147483647 h 660"/>
                <a:gd name="T4" fmla="*/ 2147483647 w 552"/>
                <a:gd name="T5" fmla="*/ 2147483647 h 660"/>
                <a:gd name="T6" fmla="*/ 0 w 552"/>
                <a:gd name="T7" fmla="*/ 2147483647 h 660"/>
                <a:gd name="T8" fmla="*/ 2147483647 w 552"/>
                <a:gd name="T9" fmla="*/ 2147483647 h 660"/>
                <a:gd name="T10" fmla="*/ 2147483647 w 552"/>
                <a:gd name="T11" fmla="*/ 2147483647 h 660"/>
                <a:gd name="T12" fmla="*/ 2147483647 w 552"/>
                <a:gd name="T13" fmla="*/ 2147483647 h 660"/>
                <a:gd name="T14" fmla="*/ 2147483647 w 552"/>
                <a:gd name="T15" fmla="*/ 2147483647 h 660"/>
                <a:gd name="T16" fmla="*/ 2147483647 w 552"/>
                <a:gd name="T17" fmla="*/ 2147483647 h 660"/>
                <a:gd name="T18" fmla="*/ 2147483647 w 552"/>
                <a:gd name="T19" fmla="*/ 2147483647 h 660"/>
                <a:gd name="T20" fmla="*/ 2147483647 w 552"/>
                <a:gd name="T21" fmla="*/ 2147483647 h 660"/>
                <a:gd name="T22" fmla="*/ 2147483647 w 552"/>
                <a:gd name="T23" fmla="*/ 2147483647 h 660"/>
                <a:gd name="T24" fmla="*/ 2147483647 w 552"/>
                <a:gd name="T25" fmla="*/ 2147483647 h 660"/>
                <a:gd name="T26" fmla="*/ 2147483647 w 552"/>
                <a:gd name="T27" fmla="*/ 2147483647 h 660"/>
                <a:gd name="T28" fmla="*/ 2147483647 w 552"/>
                <a:gd name="T29" fmla="*/ 2147483647 h 660"/>
                <a:gd name="T30" fmla="*/ 2147483647 w 552"/>
                <a:gd name="T31" fmla="*/ 2147483647 h 660"/>
                <a:gd name="T32" fmla="*/ 2147483647 w 552"/>
                <a:gd name="T33" fmla="*/ 2147483647 h 660"/>
                <a:gd name="T34" fmla="*/ 2147483647 w 552"/>
                <a:gd name="T35" fmla="*/ 2147483647 h 660"/>
                <a:gd name="T36" fmla="*/ 2147483647 w 552"/>
                <a:gd name="T37" fmla="*/ 2147483647 h 660"/>
                <a:gd name="T38" fmla="*/ 2147483647 w 552"/>
                <a:gd name="T39" fmla="*/ 2147483647 h 660"/>
                <a:gd name="T40" fmla="*/ 2147483647 w 552"/>
                <a:gd name="T41" fmla="*/ 2147483647 h 660"/>
                <a:gd name="T42" fmla="*/ 2147483647 w 552"/>
                <a:gd name="T43" fmla="*/ 2147483647 h 660"/>
                <a:gd name="T44" fmla="*/ 2147483647 w 552"/>
                <a:gd name="T45" fmla="*/ 2147483647 h 660"/>
                <a:gd name="T46" fmla="*/ 2147483647 w 552"/>
                <a:gd name="T47" fmla="*/ 2147483647 h 660"/>
                <a:gd name="T48" fmla="*/ 2147483647 w 552"/>
                <a:gd name="T49" fmla="*/ 2147483647 h 660"/>
                <a:gd name="T50" fmla="*/ 2147483647 w 552"/>
                <a:gd name="T51" fmla="*/ 2147483647 h 660"/>
                <a:gd name="T52" fmla="*/ 2147483647 w 552"/>
                <a:gd name="T53" fmla="*/ 2147483647 h 660"/>
                <a:gd name="T54" fmla="*/ 2147483647 w 552"/>
                <a:gd name="T55" fmla="*/ 2147483647 h 660"/>
                <a:gd name="T56" fmla="*/ 2147483647 w 552"/>
                <a:gd name="T57" fmla="*/ 2147483647 h 660"/>
                <a:gd name="T58" fmla="*/ 2147483647 w 552"/>
                <a:gd name="T59" fmla="*/ 2147483647 h 660"/>
                <a:gd name="T60" fmla="*/ 2147483647 w 552"/>
                <a:gd name="T61" fmla="*/ 2147483647 h 660"/>
                <a:gd name="T62" fmla="*/ 2147483647 w 552"/>
                <a:gd name="T63" fmla="*/ 2147483647 h 660"/>
                <a:gd name="T64" fmla="*/ 2147483647 w 552"/>
                <a:gd name="T65" fmla="*/ 2147483647 h 660"/>
                <a:gd name="T66" fmla="*/ 2147483647 w 552"/>
                <a:gd name="T67" fmla="*/ 2147483647 h 660"/>
                <a:gd name="T68" fmla="*/ 2147483647 w 552"/>
                <a:gd name="T69" fmla="*/ 2147483647 h 660"/>
                <a:gd name="T70" fmla="*/ 2147483647 w 552"/>
                <a:gd name="T71" fmla="*/ 2147483647 h 660"/>
                <a:gd name="T72" fmla="*/ 2147483647 w 552"/>
                <a:gd name="T73" fmla="*/ 2147483647 h 660"/>
                <a:gd name="T74" fmla="*/ 2147483647 w 552"/>
                <a:gd name="T75" fmla="*/ 2147483647 h 660"/>
                <a:gd name="T76" fmla="*/ 2147483647 w 552"/>
                <a:gd name="T77" fmla="*/ 2147483647 h 660"/>
                <a:gd name="T78" fmla="*/ 2147483647 w 552"/>
                <a:gd name="T79" fmla="*/ 2147483647 h 660"/>
                <a:gd name="T80" fmla="*/ 2147483647 w 552"/>
                <a:gd name="T81" fmla="*/ 2147483647 h 660"/>
                <a:gd name="T82" fmla="*/ 2147483647 w 552"/>
                <a:gd name="T83" fmla="*/ 2147483647 h 660"/>
                <a:gd name="T84" fmla="*/ 2147483647 w 552"/>
                <a:gd name="T85" fmla="*/ 2147483647 h 660"/>
                <a:gd name="T86" fmla="*/ 2147483647 w 552"/>
                <a:gd name="T87" fmla="*/ 2147483647 h 660"/>
                <a:gd name="T88" fmla="*/ 2147483647 w 552"/>
                <a:gd name="T89" fmla="*/ 2147483647 h 660"/>
                <a:gd name="T90" fmla="*/ 2147483647 w 552"/>
                <a:gd name="T91" fmla="*/ 2147483647 h 660"/>
                <a:gd name="T92" fmla="*/ 2147483647 w 552"/>
                <a:gd name="T93" fmla="*/ 2147483647 h 660"/>
                <a:gd name="T94" fmla="*/ 2147483647 w 552"/>
                <a:gd name="T95" fmla="*/ 2147483647 h 660"/>
                <a:gd name="T96" fmla="*/ 2147483647 w 552"/>
                <a:gd name="T97" fmla="*/ 2147483647 h 660"/>
                <a:gd name="T98" fmla="*/ 2147483647 w 552"/>
                <a:gd name="T99" fmla="*/ 2147483647 h 660"/>
                <a:gd name="T100" fmla="*/ 2147483647 w 552"/>
                <a:gd name="T101" fmla="*/ 2147483647 h 660"/>
                <a:gd name="T102" fmla="*/ 2147483647 w 552"/>
                <a:gd name="T103" fmla="*/ 2147483647 h 660"/>
                <a:gd name="T104" fmla="*/ 2147483647 w 552"/>
                <a:gd name="T105" fmla="*/ 2147483647 h 660"/>
                <a:gd name="T106" fmla="*/ 2147483647 w 552"/>
                <a:gd name="T107" fmla="*/ 2147483647 h 660"/>
                <a:gd name="T108" fmla="*/ 2147483647 w 552"/>
                <a:gd name="T109" fmla="*/ 2147483647 h 66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52"/>
                <a:gd name="T166" fmla="*/ 0 h 660"/>
                <a:gd name="T167" fmla="*/ 552 w 552"/>
                <a:gd name="T168" fmla="*/ 660 h 66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52" h="660">
                  <a:moveTo>
                    <a:pt x="36" y="564"/>
                  </a:moveTo>
                  <a:lnTo>
                    <a:pt x="36" y="558"/>
                  </a:lnTo>
                  <a:lnTo>
                    <a:pt x="36" y="552"/>
                  </a:lnTo>
                  <a:lnTo>
                    <a:pt x="42" y="546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34"/>
                  </a:lnTo>
                  <a:lnTo>
                    <a:pt x="36" y="528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54" y="510"/>
                  </a:lnTo>
                  <a:lnTo>
                    <a:pt x="54" y="504"/>
                  </a:lnTo>
                  <a:lnTo>
                    <a:pt x="54" y="498"/>
                  </a:lnTo>
                  <a:lnTo>
                    <a:pt x="48" y="492"/>
                  </a:lnTo>
                  <a:lnTo>
                    <a:pt x="42" y="486"/>
                  </a:lnTo>
                  <a:lnTo>
                    <a:pt x="42" y="480"/>
                  </a:lnTo>
                  <a:lnTo>
                    <a:pt x="42" y="468"/>
                  </a:lnTo>
                  <a:lnTo>
                    <a:pt x="30" y="456"/>
                  </a:lnTo>
                  <a:lnTo>
                    <a:pt x="30" y="450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2"/>
                  </a:lnTo>
                  <a:lnTo>
                    <a:pt x="18" y="426"/>
                  </a:lnTo>
                  <a:lnTo>
                    <a:pt x="24" y="420"/>
                  </a:lnTo>
                  <a:lnTo>
                    <a:pt x="18" y="414"/>
                  </a:lnTo>
                  <a:lnTo>
                    <a:pt x="12" y="408"/>
                  </a:lnTo>
                  <a:lnTo>
                    <a:pt x="12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6" y="384"/>
                  </a:lnTo>
                  <a:lnTo>
                    <a:pt x="12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8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36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54" y="270"/>
                  </a:lnTo>
                  <a:lnTo>
                    <a:pt x="48" y="264"/>
                  </a:lnTo>
                  <a:lnTo>
                    <a:pt x="42" y="246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8" y="204"/>
                  </a:lnTo>
                  <a:lnTo>
                    <a:pt x="54" y="174"/>
                  </a:lnTo>
                  <a:lnTo>
                    <a:pt x="54" y="162"/>
                  </a:lnTo>
                  <a:lnTo>
                    <a:pt x="54" y="156"/>
                  </a:lnTo>
                  <a:lnTo>
                    <a:pt x="54" y="144"/>
                  </a:lnTo>
                  <a:lnTo>
                    <a:pt x="48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72" y="126"/>
                  </a:lnTo>
                  <a:lnTo>
                    <a:pt x="84" y="126"/>
                  </a:lnTo>
                  <a:lnTo>
                    <a:pt x="96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2" y="84"/>
                  </a:lnTo>
                  <a:lnTo>
                    <a:pt x="126" y="78"/>
                  </a:lnTo>
                  <a:lnTo>
                    <a:pt x="120" y="78"/>
                  </a:lnTo>
                  <a:lnTo>
                    <a:pt x="102" y="84"/>
                  </a:lnTo>
                  <a:lnTo>
                    <a:pt x="108" y="66"/>
                  </a:lnTo>
                  <a:lnTo>
                    <a:pt x="114" y="54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8" y="4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6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74" y="0"/>
                  </a:lnTo>
                  <a:lnTo>
                    <a:pt x="180" y="0"/>
                  </a:lnTo>
                  <a:lnTo>
                    <a:pt x="186" y="18"/>
                  </a:lnTo>
                  <a:lnTo>
                    <a:pt x="198" y="30"/>
                  </a:lnTo>
                  <a:lnTo>
                    <a:pt x="204" y="54"/>
                  </a:lnTo>
                  <a:lnTo>
                    <a:pt x="216" y="60"/>
                  </a:lnTo>
                  <a:lnTo>
                    <a:pt x="240" y="60"/>
                  </a:lnTo>
                  <a:lnTo>
                    <a:pt x="246" y="66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2" y="120"/>
                  </a:lnTo>
                  <a:lnTo>
                    <a:pt x="25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6" y="126"/>
                  </a:lnTo>
                  <a:lnTo>
                    <a:pt x="282" y="120"/>
                  </a:lnTo>
                  <a:lnTo>
                    <a:pt x="282" y="126"/>
                  </a:lnTo>
                  <a:lnTo>
                    <a:pt x="294" y="126"/>
                  </a:lnTo>
                  <a:lnTo>
                    <a:pt x="300" y="132"/>
                  </a:lnTo>
                  <a:lnTo>
                    <a:pt x="306" y="144"/>
                  </a:lnTo>
                  <a:lnTo>
                    <a:pt x="312" y="144"/>
                  </a:lnTo>
                  <a:lnTo>
                    <a:pt x="312" y="150"/>
                  </a:lnTo>
                  <a:lnTo>
                    <a:pt x="312" y="162"/>
                  </a:lnTo>
                  <a:lnTo>
                    <a:pt x="312" y="174"/>
                  </a:lnTo>
                  <a:lnTo>
                    <a:pt x="324" y="180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30" y="192"/>
                  </a:lnTo>
                  <a:lnTo>
                    <a:pt x="336" y="198"/>
                  </a:lnTo>
                  <a:lnTo>
                    <a:pt x="342" y="192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54" y="180"/>
                  </a:lnTo>
                  <a:lnTo>
                    <a:pt x="354" y="174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84" y="192"/>
                  </a:lnTo>
                  <a:lnTo>
                    <a:pt x="390" y="204"/>
                  </a:lnTo>
                  <a:lnTo>
                    <a:pt x="390" y="210"/>
                  </a:lnTo>
                  <a:lnTo>
                    <a:pt x="390" y="216"/>
                  </a:lnTo>
                  <a:lnTo>
                    <a:pt x="384" y="234"/>
                  </a:lnTo>
                  <a:lnTo>
                    <a:pt x="390" y="240"/>
                  </a:lnTo>
                  <a:lnTo>
                    <a:pt x="408" y="252"/>
                  </a:lnTo>
                  <a:lnTo>
                    <a:pt x="414" y="264"/>
                  </a:lnTo>
                  <a:lnTo>
                    <a:pt x="408" y="300"/>
                  </a:lnTo>
                  <a:lnTo>
                    <a:pt x="414" y="312"/>
                  </a:lnTo>
                  <a:lnTo>
                    <a:pt x="426" y="336"/>
                  </a:lnTo>
                  <a:lnTo>
                    <a:pt x="438" y="354"/>
                  </a:lnTo>
                  <a:lnTo>
                    <a:pt x="444" y="366"/>
                  </a:lnTo>
                  <a:lnTo>
                    <a:pt x="456" y="366"/>
                  </a:lnTo>
                  <a:lnTo>
                    <a:pt x="474" y="378"/>
                  </a:lnTo>
                  <a:lnTo>
                    <a:pt x="474" y="384"/>
                  </a:lnTo>
                  <a:lnTo>
                    <a:pt x="480" y="390"/>
                  </a:lnTo>
                  <a:lnTo>
                    <a:pt x="486" y="396"/>
                  </a:lnTo>
                  <a:lnTo>
                    <a:pt x="486" y="402"/>
                  </a:lnTo>
                  <a:lnTo>
                    <a:pt x="480" y="408"/>
                  </a:lnTo>
                  <a:lnTo>
                    <a:pt x="486" y="408"/>
                  </a:lnTo>
                  <a:lnTo>
                    <a:pt x="486" y="414"/>
                  </a:lnTo>
                  <a:lnTo>
                    <a:pt x="492" y="414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32"/>
                  </a:lnTo>
                  <a:lnTo>
                    <a:pt x="498" y="438"/>
                  </a:lnTo>
                  <a:lnTo>
                    <a:pt x="492" y="432"/>
                  </a:lnTo>
                  <a:lnTo>
                    <a:pt x="486" y="426"/>
                  </a:lnTo>
                  <a:lnTo>
                    <a:pt x="486" y="420"/>
                  </a:lnTo>
                  <a:lnTo>
                    <a:pt x="486" y="414"/>
                  </a:lnTo>
                  <a:lnTo>
                    <a:pt x="480" y="414"/>
                  </a:lnTo>
                  <a:lnTo>
                    <a:pt x="480" y="408"/>
                  </a:lnTo>
                  <a:lnTo>
                    <a:pt x="474" y="408"/>
                  </a:lnTo>
                  <a:lnTo>
                    <a:pt x="468" y="408"/>
                  </a:lnTo>
                  <a:lnTo>
                    <a:pt x="468" y="402"/>
                  </a:lnTo>
                  <a:lnTo>
                    <a:pt x="462" y="402"/>
                  </a:lnTo>
                  <a:lnTo>
                    <a:pt x="462" y="408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80" y="426"/>
                  </a:lnTo>
                  <a:lnTo>
                    <a:pt x="486" y="426"/>
                  </a:lnTo>
                  <a:lnTo>
                    <a:pt x="486" y="432"/>
                  </a:lnTo>
                  <a:lnTo>
                    <a:pt x="492" y="438"/>
                  </a:lnTo>
                  <a:lnTo>
                    <a:pt x="498" y="438"/>
                  </a:lnTo>
                  <a:lnTo>
                    <a:pt x="504" y="444"/>
                  </a:lnTo>
                  <a:lnTo>
                    <a:pt x="510" y="444"/>
                  </a:lnTo>
                  <a:lnTo>
                    <a:pt x="510" y="450"/>
                  </a:lnTo>
                  <a:lnTo>
                    <a:pt x="510" y="456"/>
                  </a:lnTo>
                  <a:lnTo>
                    <a:pt x="516" y="456"/>
                  </a:lnTo>
                  <a:lnTo>
                    <a:pt x="516" y="462"/>
                  </a:lnTo>
                  <a:lnTo>
                    <a:pt x="522" y="462"/>
                  </a:lnTo>
                  <a:lnTo>
                    <a:pt x="522" y="468"/>
                  </a:lnTo>
                  <a:lnTo>
                    <a:pt x="528" y="468"/>
                  </a:lnTo>
                  <a:lnTo>
                    <a:pt x="534" y="468"/>
                  </a:lnTo>
                  <a:lnTo>
                    <a:pt x="534" y="474"/>
                  </a:lnTo>
                  <a:lnTo>
                    <a:pt x="540" y="474"/>
                  </a:lnTo>
                  <a:lnTo>
                    <a:pt x="540" y="480"/>
                  </a:lnTo>
                  <a:lnTo>
                    <a:pt x="546" y="486"/>
                  </a:lnTo>
                  <a:lnTo>
                    <a:pt x="546" y="492"/>
                  </a:lnTo>
                  <a:lnTo>
                    <a:pt x="546" y="498"/>
                  </a:lnTo>
                  <a:lnTo>
                    <a:pt x="546" y="504"/>
                  </a:lnTo>
                  <a:lnTo>
                    <a:pt x="540" y="504"/>
                  </a:lnTo>
                  <a:lnTo>
                    <a:pt x="546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10"/>
                  </a:lnTo>
                  <a:lnTo>
                    <a:pt x="552" y="516"/>
                  </a:lnTo>
                  <a:lnTo>
                    <a:pt x="552" y="522"/>
                  </a:lnTo>
                  <a:lnTo>
                    <a:pt x="552" y="528"/>
                  </a:lnTo>
                  <a:lnTo>
                    <a:pt x="552" y="534"/>
                  </a:lnTo>
                  <a:lnTo>
                    <a:pt x="552" y="540"/>
                  </a:lnTo>
                  <a:lnTo>
                    <a:pt x="546" y="540"/>
                  </a:lnTo>
                  <a:lnTo>
                    <a:pt x="546" y="546"/>
                  </a:lnTo>
                  <a:lnTo>
                    <a:pt x="546" y="540"/>
                  </a:lnTo>
                  <a:lnTo>
                    <a:pt x="546" y="534"/>
                  </a:lnTo>
                  <a:lnTo>
                    <a:pt x="540" y="534"/>
                  </a:lnTo>
                  <a:lnTo>
                    <a:pt x="540" y="528"/>
                  </a:lnTo>
                  <a:lnTo>
                    <a:pt x="534" y="528"/>
                  </a:lnTo>
                  <a:lnTo>
                    <a:pt x="528" y="528"/>
                  </a:lnTo>
                  <a:lnTo>
                    <a:pt x="522" y="528"/>
                  </a:lnTo>
                  <a:lnTo>
                    <a:pt x="516" y="528"/>
                  </a:lnTo>
                  <a:lnTo>
                    <a:pt x="510" y="528"/>
                  </a:lnTo>
                  <a:lnTo>
                    <a:pt x="510" y="534"/>
                  </a:lnTo>
                  <a:lnTo>
                    <a:pt x="510" y="528"/>
                  </a:lnTo>
                  <a:lnTo>
                    <a:pt x="516" y="528"/>
                  </a:lnTo>
                  <a:lnTo>
                    <a:pt x="522" y="528"/>
                  </a:lnTo>
                  <a:lnTo>
                    <a:pt x="528" y="528"/>
                  </a:lnTo>
                  <a:lnTo>
                    <a:pt x="534" y="534"/>
                  </a:lnTo>
                  <a:lnTo>
                    <a:pt x="540" y="534"/>
                  </a:lnTo>
                  <a:lnTo>
                    <a:pt x="540" y="540"/>
                  </a:lnTo>
                  <a:lnTo>
                    <a:pt x="540" y="546"/>
                  </a:lnTo>
                  <a:lnTo>
                    <a:pt x="546" y="546"/>
                  </a:lnTo>
                  <a:lnTo>
                    <a:pt x="546" y="552"/>
                  </a:lnTo>
                  <a:lnTo>
                    <a:pt x="552" y="552"/>
                  </a:lnTo>
                  <a:lnTo>
                    <a:pt x="552" y="558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0" y="576"/>
                  </a:lnTo>
                  <a:lnTo>
                    <a:pt x="540" y="582"/>
                  </a:lnTo>
                  <a:lnTo>
                    <a:pt x="540" y="588"/>
                  </a:lnTo>
                  <a:lnTo>
                    <a:pt x="534" y="594"/>
                  </a:lnTo>
                  <a:lnTo>
                    <a:pt x="534" y="600"/>
                  </a:lnTo>
                  <a:lnTo>
                    <a:pt x="528" y="600"/>
                  </a:lnTo>
                  <a:lnTo>
                    <a:pt x="522" y="594"/>
                  </a:lnTo>
                  <a:lnTo>
                    <a:pt x="528" y="600"/>
                  </a:lnTo>
                  <a:lnTo>
                    <a:pt x="534" y="600"/>
                  </a:lnTo>
                  <a:lnTo>
                    <a:pt x="534" y="606"/>
                  </a:lnTo>
                  <a:lnTo>
                    <a:pt x="528" y="606"/>
                  </a:lnTo>
                  <a:lnTo>
                    <a:pt x="528" y="612"/>
                  </a:lnTo>
                  <a:lnTo>
                    <a:pt x="522" y="612"/>
                  </a:lnTo>
                  <a:lnTo>
                    <a:pt x="522" y="618"/>
                  </a:lnTo>
                  <a:lnTo>
                    <a:pt x="522" y="624"/>
                  </a:lnTo>
                  <a:lnTo>
                    <a:pt x="510" y="624"/>
                  </a:lnTo>
                  <a:lnTo>
                    <a:pt x="498" y="624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0" y="624"/>
                  </a:lnTo>
                  <a:lnTo>
                    <a:pt x="474" y="624"/>
                  </a:lnTo>
                  <a:lnTo>
                    <a:pt x="468" y="618"/>
                  </a:lnTo>
                  <a:lnTo>
                    <a:pt x="456" y="618"/>
                  </a:lnTo>
                  <a:lnTo>
                    <a:pt x="450" y="618"/>
                  </a:lnTo>
                  <a:lnTo>
                    <a:pt x="426" y="618"/>
                  </a:lnTo>
                  <a:lnTo>
                    <a:pt x="420" y="618"/>
                  </a:lnTo>
                  <a:lnTo>
                    <a:pt x="414" y="618"/>
                  </a:lnTo>
                  <a:lnTo>
                    <a:pt x="408" y="618"/>
                  </a:lnTo>
                  <a:lnTo>
                    <a:pt x="396" y="618"/>
                  </a:lnTo>
                  <a:lnTo>
                    <a:pt x="366" y="618"/>
                  </a:lnTo>
                  <a:lnTo>
                    <a:pt x="348" y="624"/>
                  </a:lnTo>
                  <a:lnTo>
                    <a:pt x="342" y="624"/>
                  </a:lnTo>
                  <a:lnTo>
                    <a:pt x="342" y="618"/>
                  </a:lnTo>
                  <a:lnTo>
                    <a:pt x="336" y="618"/>
                  </a:lnTo>
                  <a:lnTo>
                    <a:pt x="336" y="612"/>
                  </a:lnTo>
                  <a:lnTo>
                    <a:pt x="342" y="612"/>
                  </a:lnTo>
                  <a:lnTo>
                    <a:pt x="348" y="612"/>
                  </a:lnTo>
                  <a:lnTo>
                    <a:pt x="342" y="612"/>
                  </a:lnTo>
                  <a:lnTo>
                    <a:pt x="336" y="612"/>
                  </a:lnTo>
                  <a:lnTo>
                    <a:pt x="336" y="606"/>
                  </a:lnTo>
                  <a:lnTo>
                    <a:pt x="330" y="606"/>
                  </a:lnTo>
                  <a:lnTo>
                    <a:pt x="330" y="600"/>
                  </a:lnTo>
                  <a:lnTo>
                    <a:pt x="324" y="600"/>
                  </a:lnTo>
                  <a:lnTo>
                    <a:pt x="324" y="606"/>
                  </a:lnTo>
                  <a:lnTo>
                    <a:pt x="318" y="606"/>
                  </a:lnTo>
                  <a:lnTo>
                    <a:pt x="318" y="612"/>
                  </a:lnTo>
                  <a:lnTo>
                    <a:pt x="312" y="612"/>
                  </a:lnTo>
                  <a:lnTo>
                    <a:pt x="306" y="606"/>
                  </a:lnTo>
                  <a:lnTo>
                    <a:pt x="306" y="612"/>
                  </a:lnTo>
                  <a:lnTo>
                    <a:pt x="312" y="612"/>
                  </a:lnTo>
                  <a:lnTo>
                    <a:pt x="318" y="612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30" y="606"/>
                  </a:lnTo>
                  <a:lnTo>
                    <a:pt x="336" y="612"/>
                  </a:lnTo>
                  <a:lnTo>
                    <a:pt x="336" y="618"/>
                  </a:lnTo>
                  <a:lnTo>
                    <a:pt x="330" y="618"/>
                  </a:lnTo>
                  <a:lnTo>
                    <a:pt x="336" y="618"/>
                  </a:lnTo>
                  <a:lnTo>
                    <a:pt x="336" y="624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288" y="624"/>
                  </a:lnTo>
                  <a:lnTo>
                    <a:pt x="282" y="624"/>
                  </a:lnTo>
                  <a:lnTo>
                    <a:pt x="270" y="630"/>
                  </a:lnTo>
                  <a:lnTo>
                    <a:pt x="264" y="630"/>
                  </a:lnTo>
                  <a:lnTo>
                    <a:pt x="258" y="630"/>
                  </a:lnTo>
                  <a:lnTo>
                    <a:pt x="252" y="630"/>
                  </a:lnTo>
                  <a:lnTo>
                    <a:pt x="246" y="630"/>
                  </a:lnTo>
                  <a:lnTo>
                    <a:pt x="240" y="630"/>
                  </a:lnTo>
                  <a:lnTo>
                    <a:pt x="228" y="636"/>
                  </a:lnTo>
                  <a:lnTo>
                    <a:pt x="222" y="636"/>
                  </a:lnTo>
                  <a:lnTo>
                    <a:pt x="210" y="636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42"/>
                  </a:lnTo>
                  <a:lnTo>
                    <a:pt x="186" y="642"/>
                  </a:lnTo>
                  <a:lnTo>
                    <a:pt x="180" y="642"/>
                  </a:lnTo>
                  <a:lnTo>
                    <a:pt x="168" y="642"/>
                  </a:lnTo>
                  <a:lnTo>
                    <a:pt x="162" y="642"/>
                  </a:lnTo>
                  <a:lnTo>
                    <a:pt x="162" y="648"/>
                  </a:lnTo>
                  <a:lnTo>
                    <a:pt x="156" y="648"/>
                  </a:lnTo>
                  <a:lnTo>
                    <a:pt x="150" y="648"/>
                  </a:lnTo>
                  <a:lnTo>
                    <a:pt x="144" y="648"/>
                  </a:lnTo>
                  <a:lnTo>
                    <a:pt x="138" y="648"/>
                  </a:lnTo>
                  <a:lnTo>
                    <a:pt x="132" y="648"/>
                  </a:lnTo>
                  <a:lnTo>
                    <a:pt x="126" y="642"/>
                  </a:lnTo>
                  <a:lnTo>
                    <a:pt x="126" y="636"/>
                  </a:lnTo>
                  <a:lnTo>
                    <a:pt x="120" y="636"/>
                  </a:lnTo>
                  <a:lnTo>
                    <a:pt x="126" y="642"/>
                  </a:lnTo>
                  <a:lnTo>
                    <a:pt x="126" y="648"/>
                  </a:lnTo>
                  <a:lnTo>
                    <a:pt x="132" y="648"/>
                  </a:lnTo>
                  <a:lnTo>
                    <a:pt x="126" y="654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54"/>
                  </a:lnTo>
                  <a:lnTo>
                    <a:pt x="108" y="660"/>
                  </a:lnTo>
                  <a:lnTo>
                    <a:pt x="108" y="654"/>
                  </a:lnTo>
                  <a:lnTo>
                    <a:pt x="102" y="654"/>
                  </a:lnTo>
                  <a:lnTo>
                    <a:pt x="102" y="660"/>
                  </a:lnTo>
                  <a:lnTo>
                    <a:pt x="108" y="660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0" y="660"/>
                  </a:lnTo>
                  <a:lnTo>
                    <a:pt x="90" y="654"/>
                  </a:lnTo>
                  <a:lnTo>
                    <a:pt x="84" y="648"/>
                  </a:lnTo>
                  <a:lnTo>
                    <a:pt x="84" y="642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72" y="636"/>
                  </a:lnTo>
                  <a:lnTo>
                    <a:pt x="78" y="636"/>
                  </a:lnTo>
                  <a:lnTo>
                    <a:pt x="72" y="636"/>
                  </a:lnTo>
                  <a:lnTo>
                    <a:pt x="66" y="636"/>
                  </a:lnTo>
                  <a:lnTo>
                    <a:pt x="60" y="636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60" y="618"/>
                  </a:lnTo>
                  <a:lnTo>
                    <a:pt x="66" y="618"/>
                  </a:lnTo>
                  <a:lnTo>
                    <a:pt x="72" y="618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2" y="612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12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54" y="618"/>
                  </a:lnTo>
                  <a:lnTo>
                    <a:pt x="54" y="624"/>
                  </a:lnTo>
                  <a:lnTo>
                    <a:pt x="48" y="618"/>
                  </a:lnTo>
                  <a:lnTo>
                    <a:pt x="42" y="618"/>
                  </a:lnTo>
                  <a:lnTo>
                    <a:pt x="42" y="612"/>
                  </a:lnTo>
                  <a:lnTo>
                    <a:pt x="48" y="606"/>
                  </a:lnTo>
                  <a:lnTo>
                    <a:pt x="54" y="606"/>
                  </a:lnTo>
                  <a:lnTo>
                    <a:pt x="54" y="600"/>
                  </a:lnTo>
                  <a:lnTo>
                    <a:pt x="54" y="594"/>
                  </a:lnTo>
                  <a:lnTo>
                    <a:pt x="54" y="588"/>
                  </a:lnTo>
                  <a:lnTo>
                    <a:pt x="48" y="588"/>
                  </a:lnTo>
                  <a:lnTo>
                    <a:pt x="48" y="582"/>
                  </a:lnTo>
                  <a:lnTo>
                    <a:pt x="42" y="582"/>
                  </a:lnTo>
                  <a:lnTo>
                    <a:pt x="42" y="570"/>
                  </a:lnTo>
                  <a:lnTo>
                    <a:pt x="42" y="564"/>
                  </a:lnTo>
                  <a:lnTo>
                    <a:pt x="36" y="564"/>
                  </a:lnTo>
                  <a:close/>
                  <a:moveTo>
                    <a:pt x="498" y="420"/>
                  </a:moveTo>
                  <a:lnTo>
                    <a:pt x="504" y="426"/>
                  </a:lnTo>
                  <a:lnTo>
                    <a:pt x="510" y="432"/>
                  </a:lnTo>
                  <a:lnTo>
                    <a:pt x="516" y="432"/>
                  </a:lnTo>
                  <a:lnTo>
                    <a:pt x="516" y="438"/>
                  </a:lnTo>
                  <a:lnTo>
                    <a:pt x="510" y="438"/>
                  </a:lnTo>
                  <a:lnTo>
                    <a:pt x="504" y="438"/>
                  </a:lnTo>
                  <a:lnTo>
                    <a:pt x="504" y="432"/>
                  </a:lnTo>
                  <a:lnTo>
                    <a:pt x="498" y="432"/>
                  </a:lnTo>
                  <a:lnTo>
                    <a:pt x="498" y="426"/>
                  </a:lnTo>
                  <a:lnTo>
                    <a:pt x="498" y="42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27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96" name="Freeform 10">
              <a:extLst>
                <a:ext uri="{FF2B5EF4-FFF2-40B4-BE49-F238E27FC236}">
                  <a16:creationId xmlns:a16="http://schemas.microsoft.com/office/drawing/2014/main" id="{EE794357-14B8-44D5-9A2C-4BD364942553}"/>
                </a:ext>
              </a:extLst>
            </p:cNvPr>
            <p:cNvSpPr>
              <a:spLocks/>
            </p:cNvSpPr>
            <p:nvPr/>
          </p:nvSpPr>
          <p:spPr bwMode="gray">
            <a:xfrm>
              <a:off x="6670676" y="2347914"/>
              <a:ext cx="1406525" cy="2122487"/>
            </a:xfrm>
            <a:custGeom>
              <a:avLst/>
              <a:gdLst>
                <a:gd name="T0" fmla="*/ 24 w 1506"/>
                <a:gd name="T1" fmla="*/ 190 h 2274"/>
                <a:gd name="T2" fmla="*/ 25 w 1506"/>
                <a:gd name="T3" fmla="*/ 180 h 2274"/>
                <a:gd name="T4" fmla="*/ 21 w 1506"/>
                <a:gd name="T5" fmla="*/ 174 h 2274"/>
                <a:gd name="T6" fmla="*/ 17 w 1506"/>
                <a:gd name="T7" fmla="*/ 170 h 2274"/>
                <a:gd name="T8" fmla="*/ 12 w 1506"/>
                <a:gd name="T9" fmla="*/ 168 h 2274"/>
                <a:gd name="T10" fmla="*/ 10 w 1506"/>
                <a:gd name="T11" fmla="*/ 173 h 2274"/>
                <a:gd name="T12" fmla="*/ 7 w 1506"/>
                <a:gd name="T13" fmla="*/ 174 h 2274"/>
                <a:gd name="T14" fmla="*/ 0 w 1506"/>
                <a:gd name="T15" fmla="*/ 163 h 2274"/>
                <a:gd name="T16" fmla="*/ 16 w 1506"/>
                <a:gd name="T17" fmla="*/ 140 h 2274"/>
                <a:gd name="T18" fmla="*/ 19 w 1506"/>
                <a:gd name="T19" fmla="*/ 137 h 2274"/>
                <a:gd name="T20" fmla="*/ 24 w 1506"/>
                <a:gd name="T21" fmla="*/ 126 h 2274"/>
                <a:gd name="T22" fmla="*/ 23 w 1506"/>
                <a:gd name="T23" fmla="*/ 105 h 2274"/>
                <a:gd name="T24" fmla="*/ 14 w 1506"/>
                <a:gd name="T25" fmla="*/ 86 h 2274"/>
                <a:gd name="T26" fmla="*/ 8 w 1506"/>
                <a:gd name="T27" fmla="*/ 84 h 2274"/>
                <a:gd name="T28" fmla="*/ 5 w 1506"/>
                <a:gd name="T29" fmla="*/ 79 h 2274"/>
                <a:gd name="T30" fmla="*/ 16 w 1506"/>
                <a:gd name="T31" fmla="*/ 71 h 2274"/>
                <a:gd name="T32" fmla="*/ 28 w 1506"/>
                <a:gd name="T33" fmla="*/ 55 h 2274"/>
                <a:gd name="T34" fmla="*/ 29 w 1506"/>
                <a:gd name="T35" fmla="*/ 48 h 2274"/>
                <a:gd name="T36" fmla="*/ 35 w 1506"/>
                <a:gd name="T37" fmla="*/ 50 h 2274"/>
                <a:gd name="T38" fmla="*/ 42 w 1506"/>
                <a:gd name="T39" fmla="*/ 47 h 2274"/>
                <a:gd name="T40" fmla="*/ 63 w 1506"/>
                <a:gd name="T41" fmla="*/ 34 h 2274"/>
                <a:gd name="T42" fmla="*/ 74 w 1506"/>
                <a:gd name="T43" fmla="*/ 27 h 2274"/>
                <a:gd name="T44" fmla="*/ 81 w 1506"/>
                <a:gd name="T45" fmla="*/ 20 h 2274"/>
                <a:gd name="T46" fmla="*/ 89 w 1506"/>
                <a:gd name="T47" fmla="*/ 20 h 2274"/>
                <a:gd name="T48" fmla="*/ 98 w 1506"/>
                <a:gd name="T49" fmla="*/ 27 h 2274"/>
                <a:gd name="T50" fmla="*/ 106 w 1506"/>
                <a:gd name="T51" fmla="*/ 17 h 2274"/>
                <a:gd name="T52" fmla="*/ 111 w 1506"/>
                <a:gd name="T53" fmla="*/ 8 h 2274"/>
                <a:gd name="T54" fmla="*/ 121 w 1506"/>
                <a:gd name="T55" fmla="*/ 2 h 2274"/>
                <a:gd name="T56" fmla="*/ 129 w 1506"/>
                <a:gd name="T57" fmla="*/ 5 h 2274"/>
                <a:gd name="T58" fmla="*/ 125 w 1506"/>
                <a:gd name="T59" fmla="*/ 12 h 2274"/>
                <a:gd name="T60" fmla="*/ 122 w 1506"/>
                <a:gd name="T61" fmla="*/ 20 h 2274"/>
                <a:gd name="T62" fmla="*/ 122 w 1506"/>
                <a:gd name="T63" fmla="*/ 27 h 2274"/>
                <a:gd name="T64" fmla="*/ 120 w 1506"/>
                <a:gd name="T65" fmla="*/ 36 h 2274"/>
                <a:gd name="T66" fmla="*/ 116 w 1506"/>
                <a:gd name="T67" fmla="*/ 43 h 2274"/>
                <a:gd name="T68" fmla="*/ 109 w 1506"/>
                <a:gd name="T69" fmla="*/ 47 h 2274"/>
                <a:gd name="T70" fmla="*/ 108 w 1506"/>
                <a:gd name="T71" fmla="*/ 54 h 2274"/>
                <a:gd name="T72" fmla="*/ 106 w 1506"/>
                <a:gd name="T73" fmla="*/ 59 h 2274"/>
                <a:gd name="T74" fmla="*/ 109 w 1506"/>
                <a:gd name="T75" fmla="*/ 64 h 2274"/>
                <a:gd name="T76" fmla="*/ 106 w 1506"/>
                <a:gd name="T77" fmla="*/ 70 h 2274"/>
                <a:gd name="T78" fmla="*/ 105 w 1506"/>
                <a:gd name="T79" fmla="*/ 75 h 2274"/>
                <a:gd name="T80" fmla="*/ 101 w 1506"/>
                <a:gd name="T81" fmla="*/ 78 h 2274"/>
                <a:gd name="T82" fmla="*/ 92 w 1506"/>
                <a:gd name="T83" fmla="*/ 81 h 2274"/>
                <a:gd name="T84" fmla="*/ 85 w 1506"/>
                <a:gd name="T85" fmla="*/ 85 h 2274"/>
                <a:gd name="T86" fmla="*/ 87 w 1506"/>
                <a:gd name="T87" fmla="*/ 91 h 2274"/>
                <a:gd name="T88" fmla="*/ 86 w 1506"/>
                <a:gd name="T89" fmla="*/ 98 h 2274"/>
                <a:gd name="T90" fmla="*/ 86 w 1506"/>
                <a:gd name="T91" fmla="*/ 103 h 2274"/>
                <a:gd name="T92" fmla="*/ 82 w 1506"/>
                <a:gd name="T93" fmla="*/ 111 h 2274"/>
                <a:gd name="T94" fmla="*/ 81 w 1506"/>
                <a:gd name="T95" fmla="*/ 116 h 2274"/>
                <a:gd name="T96" fmla="*/ 78 w 1506"/>
                <a:gd name="T97" fmla="*/ 120 h 2274"/>
                <a:gd name="T98" fmla="*/ 76 w 1506"/>
                <a:gd name="T99" fmla="*/ 126 h 2274"/>
                <a:gd name="T100" fmla="*/ 68 w 1506"/>
                <a:gd name="T101" fmla="*/ 129 h 2274"/>
                <a:gd name="T102" fmla="*/ 62 w 1506"/>
                <a:gd name="T103" fmla="*/ 131 h 2274"/>
                <a:gd name="T104" fmla="*/ 58 w 1506"/>
                <a:gd name="T105" fmla="*/ 136 h 2274"/>
                <a:gd name="T106" fmla="*/ 51 w 1506"/>
                <a:gd name="T107" fmla="*/ 138 h 2274"/>
                <a:gd name="T108" fmla="*/ 51 w 1506"/>
                <a:gd name="T109" fmla="*/ 147 h 2274"/>
                <a:gd name="T110" fmla="*/ 49 w 1506"/>
                <a:gd name="T111" fmla="*/ 159 h 2274"/>
                <a:gd name="T112" fmla="*/ 48 w 1506"/>
                <a:gd name="T113" fmla="*/ 166 h 2274"/>
                <a:gd name="T114" fmla="*/ 41 w 1506"/>
                <a:gd name="T115" fmla="*/ 174 h 2274"/>
                <a:gd name="T116" fmla="*/ 39 w 1506"/>
                <a:gd name="T117" fmla="*/ 181 h 2274"/>
                <a:gd name="T118" fmla="*/ 37 w 1506"/>
                <a:gd name="T119" fmla="*/ 190 h 2274"/>
                <a:gd name="T120" fmla="*/ 29 w 1506"/>
                <a:gd name="T121" fmla="*/ 198 h 22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06"/>
                <a:gd name="T184" fmla="*/ 0 h 2274"/>
                <a:gd name="T185" fmla="*/ 1506 w 1506"/>
                <a:gd name="T186" fmla="*/ 2274 h 227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06" h="2274">
                  <a:moveTo>
                    <a:pt x="330" y="2274"/>
                  </a:moveTo>
                  <a:lnTo>
                    <a:pt x="318" y="2262"/>
                  </a:lnTo>
                  <a:lnTo>
                    <a:pt x="312" y="2238"/>
                  </a:lnTo>
                  <a:lnTo>
                    <a:pt x="312" y="2232"/>
                  </a:lnTo>
                  <a:lnTo>
                    <a:pt x="294" y="2214"/>
                  </a:lnTo>
                  <a:lnTo>
                    <a:pt x="288" y="2208"/>
                  </a:lnTo>
                  <a:lnTo>
                    <a:pt x="288" y="2202"/>
                  </a:lnTo>
                  <a:lnTo>
                    <a:pt x="276" y="2196"/>
                  </a:lnTo>
                  <a:lnTo>
                    <a:pt x="276" y="2190"/>
                  </a:lnTo>
                  <a:lnTo>
                    <a:pt x="282" y="2190"/>
                  </a:lnTo>
                  <a:lnTo>
                    <a:pt x="282" y="2184"/>
                  </a:lnTo>
                  <a:lnTo>
                    <a:pt x="276" y="2172"/>
                  </a:lnTo>
                  <a:lnTo>
                    <a:pt x="276" y="2166"/>
                  </a:lnTo>
                  <a:lnTo>
                    <a:pt x="282" y="2166"/>
                  </a:lnTo>
                  <a:lnTo>
                    <a:pt x="282" y="2154"/>
                  </a:lnTo>
                  <a:lnTo>
                    <a:pt x="276" y="2136"/>
                  </a:lnTo>
                  <a:lnTo>
                    <a:pt x="276" y="2112"/>
                  </a:lnTo>
                  <a:lnTo>
                    <a:pt x="282" y="2088"/>
                  </a:lnTo>
                  <a:lnTo>
                    <a:pt x="282" y="2082"/>
                  </a:lnTo>
                  <a:lnTo>
                    <a:pt x="282" y="2076"/>
                  </a:lnTo>
                  <a:lnTo>
                    <a:pt x="282" y="2070"/>
                  </a:lnTo>
                  <a:lnTo>
                    <a:pt x="288" y="2070"/>
                  </a:lnTo>
                  <a:lnTo>
                    <a:pt x="288" y="2064"/>
                  </a:lnTo>
                  <a:lnTo>
                    <a:pt x="282" y="2052"/>
                  </a:lnTo>
                  <a:lnTo>
                    <a:pt x="282" y="2046"/>
                  </a:lnTo>
                  <a:lnTo>
                    <a:pt x="276" y="2040"/>
                  </a:lnTo>
                  <a:lnTo>
                    <a:pt x="270" y="2034"/>
                  </a:lnTo>
                  <a:lnTo>
                    <a:pt x="264" y="2022"/>
                  </a:lnTo>
                  <a:lnTo>
                    <a:pt x="258" y="2022"/>
                  </a:lnTo>
                  <a:lnTo>
                    <a:pt x="258" y="2016"/>
                  </a:lnTo>
                  <a:lnTo>
                    <a:pt x="252" y="2016"/>
                  </a:lnTo>
                  <a:lnTo>
                    <a:pt x="246" y="2016"/>
                  </a:lnTo>
                  <a:lnTo>
                    <a:pt x="240" y="2010"/>
                  </a:lnTo>
                  <a:lnTo>
                    <a:pt x="234" y="2004"/>
                  </a:lnTo>
                  <a:lnTo>
                    <a:pt x="228" y="2004"/>
                  </a:lnTo>
                  <a:lnTo>
                    <a:pt x="228" y="1998"/>
                  </a:lnTo>
                  <a:lnTo>
                    <a:pt x="228" y="1992"/>
                  </a:lnTo>
                  <a:lnTo>
                    <a:pt x="222" y="1992"/>
                  </a:lnTo>
                  <a:lnTo>
                    <a:pt x="222" y="1986"/>
                  </a:lnTo>
                  <a:lnTo>
                    <a:pt x="216" y="1986"/>
                  </a:lnTo>
                  <a:lnTo>
                    <a:pt x="210" y="1980"/>
                  </a:lnTo>
                  <a:lnTo>
                    <a:pt x="216" y="1974"/>
                  </a:lnTo>
                  <a:lnTo>
                    <a:pt x="210" y="1968"/>
                  </a:lnTo>
                  <a:lnTo>
                    <a:pt x="198" y="1956"/>
                  </a:lnTo>
                  <a:lnTo>
                    <a:pt x="192" y="1956"/>
                  </a:lnTo>
                  <a:lnTo>
                    <a:pt x="186" y="1956"/>
                  </a:lnTo>
                  <a:lnTo>
                    <a:pt x="180" y="1944"/>
                  </a:lnTo>
                  <a:lnTo>
                    <a:pt x="180" y="1938"/>
                  </a:lnTo>
                  <a:lnTo>
                    <a:pt x="174" y="1932"/>
                  </a:lnTo>
                  <a:lnTo>
                    <a:pt x="168" y="1932"/>
                  </a:lnTo>
                  <a:lnTo>
                    <a:pt x="162" y="1932"/>
                  </a:lnTo>
                  <a:lnTo>
                    <a:pt x="150" y="1932"/>
                  </a:lnTo>
                  <a:lnTo>
                    <a:pt x="150" y="1926"/>
                  </a:lnTo>
                  <a:lnTo>
                    <a:pt x="150" y="1932"/>
                  </a:lnTo>
                  <a:lnTo>
                    <a:pt x="144" y="1932"/>
                  </a:lnTo>
                  <a:lnTo>
                    <a:pt x="138" y="1932"/>
                  </a:lnTo>
                  <a:lnTo>
                    <a:pt x="132" y="1932"/>
                  </a:lnTo>
                  <a:lnTo>
                    <a:pt x="132" y="1938"/>
                  </a:lnTo>
                  <a:lnTo>
                    <a:pt x="126" y="1944"/>
                  </a:lnTo>
                  <a:lnTo>
                    <a:pt x="126" y="1956"/>
                  </a:lnTo>
                  <a:lnTo>
                    <a:pt x="120" y="1968"/>
                  </a:lnTo>
                  <a:lnTo>
                    <a:pt x="120" y="1974"/>
                  </a:lnTo>
                  <a:lnTo>
                    <a:pt x="120" y="1980"/>
                  </a:lnTo>
                  <a:lnTo>
                    <a:pt x="126" y="1980"/>
                  </a:lnTo>
                  <a:lnTo>
                    <a:pt x="120" y="1986"/>
                  </a:lnTo>
                  <a:lnTo>
                    <a:pt x="120" y="1992"/>
                  </a:lnTo>
                  <a:lnTo>
                    <a:pt x="114" y="1992"/>
                  </a:lnTo>
                  <a:lnTo>
                    <a:pt x="114" y="1986"/>
                  </a:lnTo>
                  <a:lnTo>
                    <a:pt x="108" y="1992"/>
                  </a:lnTo>
                  <a:lnTo>
                    <a:pt x="108" y="1998"/>
                  </a:lnTo>
                  <a:lnTo>
                    <a:pt x="114" y="2004"/>
                  </a:lnTo>
                  <a:lnTo>
                    <a:pt x="108" y="2004"/>
                  </a:lnTo>
                  <a:lnTo>
                    <a:pt x="102" y="2010"/>
                  </a:lnTo>
                  <a:lnTo>
                    <a:pt x="102" y="2004"/>
                  </a:lnTo>
                  <a:lnTo>
                    <a:pt x="90" y="2004"/>
                  </a:lnTo>
                  <a:lnTo>
                    <a:pt x="84" y="2004"/>
                  </a:lnTo>
                  <a:lnTo>
                    <a:pt x="78" y="1998"/>
                  </a:lnTo>
                  <a:lnTo>
                    <a:pt x="78" y="1992"/>
                  </a:lnTo>
                  <a:lnTo>
                    <a:pt x="78" y="1986"/>
                  </a:lnTo>
                  <a:lnTo>
                    <a:pt x="72" y="1986"/>
                  </a:lnTo>
                  <a:lnTo>
                    <a:pt x="66" y="1980"/>
                  </a:lnTo>
                  <a:lnTo>
                    <a:pt x="66" y="1968"/>
                  </a:lnTo>
                  <a:lnTo>
                    <a:pt x="60" y="1956"/>
                  </a:lnTo>
                  <a:lnTo>
                    <a:pt x="60" y="1950"/>
                  </a:lnTo>
                  <a:lnTo>
                    <a:pt x="48" y="1944"/>
                  </a:lnTo>
                  <a:lnTo>
                    <a:pt x="30" y="1926"/>
                  </a:lnTo>
                  <a:lnTo>
                    <a:pt x="12" y="1890"/>
                  </a:lnTo>
                  <a:lnTo>
                    <a:pt x="6" y="1872"/>
                  </a:lnTo>
                  <a:lnTo>
                    <a:pt x="0" y="1854"/>
                  </a:lnTo>
                  <a:lnTo>
                    <a:pt x="6" y="1824"/>
                  </a:lnTo>
                  <a:lnTo>
                    <a:pt x="30" y="1794"/>
                  </a:lnTo>
                  <a:lnTo>
                    <a:pt x="66" y="1752"/>
                  </a:lnTo>
                  <a:lnTo>
                    <a:pt x="72" y="1752"/>
                  </a:lnTo>
                  <a:lnTo>
                    <a:pt x="78" y="1746"/>
                  </a:lnTo>
                  <a:lnTo>
                    <a:pt x="84" y="1746"/>
                  </a:lnTo>
                  <a:lnTo>
                    <a:pt x="90" y="1746"/>
                  </a:lnTo>
                  <a:lnTo>
                    <a:pt x="138" y="1674"/>
                  </a:lnTo>
                  <a:lnTo>
                    <a:pt x="186" y="1620"/>
                  </a:lnTo>
                  <a:lnTo>
                    <a:pt x="186" y="1614"/>
                  </a:lnTo>
                  <a:lnTo>
                    <a:pt x="186" y="1608"/>
                  </a:lnTo>
                  <a:lnTo>
                    <a:pt x="192" y="1608"/>
                  </a:lnTo>
                  <a:lnTo>
                    <a:pt x="192" y="1614"/>
                  </a:lnTo>
                  <a:lnTo>
                    <a:pt x="198" y="1614"/>
                  </a:lnTo>
                  <a:lnTo>
                    <a:pt x="198" y="1608"/>
                  </a:lnTo>
                  <a:lnTo>
                    <a:pt x="198" y="1602"/>
                  </a:lnTo>
                  <a:lnTo>
                    <a:pt x="204" y="1602"/>
                  </a:lnTo>
                  <a:lnTo>
                    <a:pt x="204" y="1596"/>
                  </a:lnTo>
                  <a:lnTo>
                    <a:pt x="210" y="1590"/>
                  </a:lnTo>
                  <a:lnTo>
                    <a:pt x="216" y="1590"/>
                  </a:lnTo>
                  <a:lnTo>
                    <a:pt x="216" y="1584"/>
                  </a:lnTo>
                  <a:lnTo>
                    <a:pt x="222" y="1584"/>
                  </a:lnTo>
                  <a:lnTo>
                    <a:pt x="228" y="1572"/>
                  </a:lnTo>
                  <a:lnTo>
                    <a:pt x="222" y="1572"/>
                  </a:lnTo>
                  <a:lnTo>
                    <a:pt x="228" y="1566"/>
                  </a:lnTo>
                  <a:lnTo>
                    <a:pt x="228" y="1560"/>
                  </a:lnTo>
                  <a:lnTo>
                    <a:pt x="252" y="1548"/>
                  </a:lnTo>
                  <a:lnTo>
                    <a:pt x="276" y="1530"/>
                  </a:lnTo>
                  <a:lnTo>
                    <a:pt x="282" y="1512"/>
                  </a:lnTo>
                  <a:lnTo>
                    <a:pt x="282" y="1506"/>
                  </a:lnTo>
                  <a:lnTo>
                    <a:pt x="282" y="1494"/>
                  </a:lnTo>
                  <a:lnTo>
                    <a:pt x="282" y="1452"/>
                  </a:lnTo>
                  <a:lnTo>
                    <a:pt x="288" y="1440"/>
                  </a:lnTo>
                  <a:lnTo>
                    <a:pt x="294" y="1440"/>
                  </a:lnTo>
                  <a:lnTo>
                    <a:pt x="294" y="1428"/>
                  </a:lnTo>
                  <a:lnTo>
                    <a:pt x="324" y="1368"/>
                  </a:lnTo>
                  <a:lnTo>
                    <a:pt x="330" y="1362"/>
                  </a:lnTo>
                  <a:lnTo>
                    <a:pt x="330" y="1356"/>
                  </a:lnTo>
                  <a:lnTo>
                    <a:pt x="360" y="1338"/>
                  </a:lnTo>
                  <a:lnTo>
                    <a:pt x="366" y="1296"/>
                  </a:lnTo>
                  <a:lnTo>
                    <a:pt x="354" y="1278"/>
                  </a:lnTo>
                  <a:lnTo>
                    <a:pt x="336" y="1230"/>
                  </a:lnTo>
                  <a:lnTo>
                    <a:pt x="270" y="1212"/>
                  </a:lnTo>
                  <a:lnTo>
                    <a:pt x="264" y="1212"/>
                  </a:lnTo>
                  <a:lnTo>
                    <a:pt x="252" y="1200"/>
                  </a:lnTo>
                  <a:lnTo>
                    <a:pt x="234" y="1188"/>
                  </a:lnTo>
                  <a:lnTo>
                    <a:pt x="222" y="1182"/>
                  </a:lnTo>
                  <a:lnTo>
                    <a:pt x="228" y="1104"/>
                  </a:lnTo>
                  <a:lnTo>
                    <a:pt x="228" y="1098"/>
                  </a:lnTo>
                  <a:lnTo>
                    <a:pt x="198" y="1038"/>
                  </a:lnTo>
                  <a:lnTo>
                    <a:pt x="192" y="1032"/>
                  </a:lnTo>
                  <a:lnTo>
                    <a:pt x="180" y="1020"/>
                  </a:lnTo>
                  <a:lnTo>
                    <a:pt x="168" y="996"/>
                  </a:lnTo>
                  <a:lnTo>
                    <a:pt x="162" y="990"/>
                  </a:lnTo>
                  <a:lnTo>
                    <a:pt x="156" y="990"/>
                  </a:lnTo>
                  <a:lnTo>
                    <a:pt x="150" y="990"/>
                  </a:lnTo>
                  <a:lnTo>
                    <a:pt x="132" y="990"/>
                  </a:lnTo>
                  <a:lnTo>
                    <a:pt x="120" y="984"/>
                  </a:lnTo>
                  <a:lnTo>
                    <a:pt x="120" y="990"/>
                  </a:lnTo>
                  <a:lnTo>
                    <a:pt x="114" y="990"/>
                  </a:lnTo>
                  <a:lnTo>
                    <a:pt x="102" y="984"/>
                  </a:lnTo>
                  <a:lnTo>
                    <a:pt x="96" y="984"/>
                  </a:lnTo>
                  <a:lnTo>
                    <a:pt x="96" y="978"/>
                  </a:lnTo>
                  <a:lnTo>
                    <a:pt x="90" y="978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84" y="960"/>
                  </a:lnTo>
                  <a:lnTo>
                    <a:pt x="84" y="954"/>
                  </a:lnTo>
                  <a:lnTo>
                    <a:pt x="78" y="948"/>
                  </a:lnTo>
                  <a:lnTo>
                    <a:pt x="72" y="948"/>
                  </a:lnTo>
                  <a:lnTo>
                    <a:pt x="72" y="942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06"/>
                  </a:lnTo>
                  <a:lnTo>
                    <a:pt x="60" y="888"/>
                  </a:lnTo>
                  <a:lnTo>
                    <a:pt x="54" y="882"/>
                  </a:lnTo>
                  <a:lnTo>
                    <a:pt x="60" y="882"/>
                  </a:lnTo>
                  <a:lnTo>
                    <a:pt x="72" y="876"/>
                  </a:lnTo>
                  <a:lnTo>
                    <a:pt x="78" y="876"/>
                  </a:lnTo>
                  <a:lnTo>
                    <a:pt x="90" y="870"/>
                  </a:lnTo>
                  <a:lnTo>
                    <a:pt x="90" y="864"/>
                  </a:lnTo>
                  <a:lnTo>
                    <a:pt x="96" y="840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80" y="822"/>
                  </a:lnTo>
                  <a:lnTo>
                    <a:pt x="204" y="798"/>
                  </a:lnTo>
                  <a:lnTo>
                    <a:pt x="222" y="786"/>
                  </a:lnTo>
                  <a:lnTo>
                    <a:pt x="252" y="780"/>
                  </a:lnTo>
                  <a:lnTo>
                    <a:pt x="264" y="762"/>
                  </a:lnTo>
                  <a:lnTo>
                    <a:pt x="276" y="762"/>
                  </a:lnTo>
                  <a:lnTo>
                    <a:pt x="288" y="744"/>
                  </a:lnTo>
                  <a:lnTo>
                    <a:pt x="306" y="738"/>
                  </a:lnTo>
                  <a:lnTo>
                    <a:pt x="318" y="732"/>
                  </a:lnTo>
                  <a:lnTo>
                    <a:pt x="324" y="648"/>
                  </a:lnTo>
                  <a:lnTo>
                    <a:pt x="324" y="636"/>
                  </a:lnTo>
                  <a:lnTo>
                    <a:pt x="324" y="630"/>
                  </a:lnTo>
                  <a:lnTo>
                    <a:pt x="330" y="624"/>
                  </a:lnTo>
                  <a:lnTo>
                    <a:pt x="324" y="618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24" y="588"/>
                  </a:lnTo>
                  <a:lnTo>
                    <a:pt x="318" y="576"/>
                  </a:lnTo>
                  <a:lnTo>
                    <a:pt x="318" y="570"/>
                  </a:lnTo>
                  <a:lnTo>
                    <a:pt x="324" y="570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30" y="558"/>
                  </a:lnTo>
                  <a:lnTo>
                    <a:pt x="336" y="558"/>
                  </a:lnTo>
                  <a:lnTo>
                    <a:pt x="342" y="558"/>
                  </a:lnTo>
                  <a:lnTo>
                    <a:pt x="348" y="558"/>
                  </a:lnTo>
                  <a:lnTo>
                    <a:pt x="354" y="564"/>
                  </a:lnTo>
                  <a:lnTo>
                    <a:pt x="360" y="564"/>
                  </a:lnTo>
                  <a:lnTo>
                    <a:pt x="366" y="570"/>
                  </a:lnTo>
                  <a:lnTo>
                    <a:pt x="366" y="576"/>
                  </a:lnTo>
                  <a:lnTo>
                    <a:pt x="372" y="570"/>
                  </a:lnTo>
                  <a:lnTo>
                    <a:pt x="378" y="570"/>
                  </a:lnTo>
                  <a:lnTo>
                    <a:pt x="390" y="570"/>
                  </a:lnTo>
                  <a:lnTo>
                    <a:pt x="402" y="570"/>
                  </a:lnTo>
                  <a:lnTo>
                    <a:pt x="408" y="570"/>
                  </a:lnTo>
                  <a:lnTo>
                    <a:pt x="414" y="564"/>
                  </a:lnTo>
                  <a:lnTo>
                    <a:pt x="420" y="564"/>
                  </a:lnTo>
                  <a:lnTo>
                    <a:pt x="420" y="570"/>
                  </a:lnTo>
                  <a:lnTo>
                    <a:pt x="426" y="570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44" y="570"/>
                  </a:lnTo>
                  <a:lnTo>
                    <a:pt x="450" y="564"/>
                  </a:lnTo>
                  <a:lnTo>
                    <a:pt x="474" y="558"/>
                  </a:lnTo>
                  <a:lnTo>
                    <a:pt x="486" y="54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40" y="474"/>
                  </a:lnTo>
                  <a:lnTo>
                    <a:pt x="558" y="456"/>
                  </a:lnTo>
                  <a:lnTo>
                    <a:pt x="582" y="450"/>
                  </a:lnTo>
                  <a:lnTo>
                    <a:pt x="594" y="414"/>
                  </a:lnTo>
                  <a:lnTo>
                    <a:pt x="612" y="390"/>
                  </a:lnTo>
                  <a:lnTo>
                    <a:pt x="636" y="390"/>
                  </a:lnTo>
                  <a:lnTo>
                    <a:pt x="666" y="390"/>
                  </a:lnTo>
                  <a:lnTo>
                    <a:pt x="696" y="390"/>
                  </a:lnTo>
                  <a:lnTo>
                    <a:pt x="726" y="390"/>
                  </a:lnTo>
                  <a:lnTo>
                    <a:pt x="762" y="378"/>
                  </a:lnTo>
                  <a:lnTo>
                    <a:pt x="780" y="366"/>
                  </a:lnTo>
                  <a:lnTo>
                    <a:pt x="780" y="342"/>
                  </a:lnTo>
                  <a:lnTo>
                    <a:pt x="786" y="342"/>
                  </a:lnTo>
                  <a:lnTo>
                    <a:pt x="786" y="336"/>
                  </a:lnTo>
                  <a:lnTo>
                    <a:pt x="786" y="330"/>
                  </a:lnTo>
                  <a:lnTo>
                    <a:pt x="786" y="324"/>
                  </a:lnTo>
                  <a:lnTo>
                    <a:pt x="816" y="318"/>
                  </a:lnTo>
                  <a:lnTo>
                    <a:pt x="834" y="312"/>
                  </a:lnTo>
                  <a:lnTo>
                    <a:pt x="840" y="318"/>
                  </a:lnTo>
                  <a:lnTo>
                    <a:pt x="852" y="318"/>
                  </a:lnTo>
                  <a:lnTo>
                    <a:pt x="858" y="306"/>
                  </a:lnTo>
                  <a:lnTo>
                    <a:pt x="864" y="288"/>
                  </a:lnTo>
                  <a:lnTo>
                    <a:pt x="870" y="282"/>
                  </a:lnTo>
                  <a:lnTo>
                    <a:pt x="876" y="276"/>
                  </a:lnTo>
                  <a:lnTo>
                    <a:pt x="882" y="264"/>
                  </a:lnTo>
                  <a:lnTo>
                    <a:pt x="882" y="258"/>
                  </a:lnTo>
                  <a:lnTo>
                    <a:pt x="888" y="252"/>
                  </a:lnTo>
                  <a:lnTo>
                    <a:pt x="894" y="240"/>
                  </a:lnTo>
                  <a:lnTo>
                    <a:pt x="906" y="228"/>
                  </a:lnTo>
                  <a:lnTo>
                    <a:pt x="912" y="228"/>
                  </a:lnTo>
                  <a:lnTo>
                    <a:pt x="936" y="228"/>
                  </a:lnTo>
                  <a:lnTo>
                    <a:pt x="942" y="222"/>
                  </a:lnTo>
                  <a:lnTo>
                    <a:pt x="948" y="216"/>
                  </a:lnTo>
                  <a:lnTo>
                    <a:pt x="954" y="216"/>
                  </a:lnTo>
                  <a:lnTo>
                    <a:pt x="960" y="216"/>
                  </a:lnTo>
                  <a:lnTo>
                    <a:pt x="966" y="216"/>
                  </a:lnTo>
                  <a:lnTo>
                    <a:pt x="978" y="216"/>
                  </a:lnTo>
                  <a:lnTo>
                    <a:pt x="990" y="222"/>
                  </a:lnTo>
                  <a:lnTo>
                    <a:pt x="996" y="222"/>
                  </a:lnTo>
                  <a:lnTo>
                    <a:pt x="1002" y="228"/>
                  </a:lnTo>
                  <a:lnTo>
                    <a:pt x="1014" y="234"/>
                  </a:lnTo>
                  <a:lnTo>
                    <a:pt x="1020" y="234"/>
                  </a:lnTo>
                  <a:lnTo>
                    <a:pt x="1032" y="240"/>
                  </a:lnTo>
                  <a:lnTo>
                    <a:pt x="1044" y="240"/>
                  </a:lnTo>
                  <a:lnTo>
                    <a:pt x="1050" y="240"/>
                  </a:lnTo>
                  <a:lnTo>
                    <a:pt x="1056" y="246"/>
                  </a:lnTo>
                  <a:lnTo>
                    <a:pt x="1068" y="264"/>
                  </a:lnTo>
                  <a:lnTo>
                    <a:pt x="1086" y="276"/>
                  </a:lnTo>
                  <a:lnTo>
                    <a:pt x="1092" y="276"/>
                  </a:lnTo>
                  <a:lnTo>
                    <a:pt x="1104" y="282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8" y="312"/>
                  </a:lnTo>
                  <a:lnTo>
                    <a:pt x="1152" y="324"/>
                  </a:lnTo>
                  <a:lnTo>
                    <a:pt x="1188" y="324"/>
                  </a:lnTo>
                  <a:lnTo>
                    <a:pt x="1206" y="318"/>
                  </a:lnTo>
                  <a:lnTo>
                    <a:pt x="1200" y="294"/>
                  </a:lnTo>
                  <a:lnTo>
                    <a:pt x="1206" y="252"/>
                  </a:lnTo>
                  <a:lnTo>
                    <a:pt x="1218" y="222"/>
                  </a:lnTo>
                  <a:lnTo>
                    <a:pt x="1212" y="222"/>
                  </a:lnTo>
                  <a:lnTo>
                    <a:pt x="1212" y="216"/>
                  </a:lnTo>
                  <a:lnTo>
                    <a:pt x="1218" y="204"/>
                  </a:lnTo>
                  <a:lnTo>
                    <a:pt x="1224" y="198"/>
                  </a:lnTo>
                  <a:lnTo>
                    <a:pt x="1224" y="192"/>
                  </a:lnTo>
                  <a:lnTo>
                    <a:pt x="1236" y="180"/>
                  </a:lnTo>
                  <a:lnTo>
                    <a:pt x="1254" y="156"/>
                  </a:lnTo>
                  <a:lnTo>
                    <a:pt x="1260" y="150"/>
                  </a:lnTo>
                  <a:lnTo>
                    <a:pt x="1260" y="144"/>
                  </a:lnTo>
                  <a:lnTo>
                    <a:pt x="1266" y="138"/>
                  </a:lnTo>
                  <a:lnTo>
                    <a:pt x="1272" y="138"/>
                  </a:lnTo>
                  <a:lnTo>
                    <a:pt x="1272" y="120"/>
                  </a:lnTo>
                  <a:lnTo>
                    <a:pt x="1278" y="114"/>
                  </a:lnTo>
                  <a:lnTo>
                    <a:pt x="1278" y="108"/>
                  </a:lnTo>
                  <a:lnTo>
                    <a:pt x="1278" y="102"/>
                  </a:lnTo>
                  <a:lnTo>
                    <a:pt x="1278" y="90"/>
                  </a:lnTo>
                  <a:lnTo>
                    <a:pt x="1278" y="84"/>
                  </a:lnTo>
                  <a:lnTo>
                    <a:pt x="1278" y="78"/>
                  </a:lnTo>
                  <a:lnTo>
                    <a:pt x="1278" y="72"/>
                  </a:lnTo>
                  <a:lnTo>
                    <a:pt x="1278" y="60"/>
                  </a:lnTo>
                  <a:lnTo>
                    <a:pt x="1284" y="48"/>
                  </a:lnTo>
                  <a:lnTo>
                    <a:pt x="1284" y="24"/>
                  </a:lnTo>
                  <a:lnTo>
                    <a:pt x="1284" y="18"/>
                  </a:lnTo>
                  <a:lnTo>
                    <a:pt x="1308" y="24"/>
                  </a:lnTo>
                  <a:lnTo>
                    <a:pt x="1332" y="30"/>
                  </a:lnTo>
                  <a:lnTo>
                    <a:pt x="1368" y="30"/>
                  </a:lnTo>
                  <a:lnTo>
                    <a:pt x="1392" y="24"/>
                  </a:lnTo>
                  <a:lnTo>
                    <a:pt x="1410" y="18"/>
                  </a:lnTo>
                  <a:lnTo>
                    <a:pt x="1416" y="6"/>
                  </a:lnTo>
                  <a:lnTo>
                    <a:pt x="1500" y="6"/>
                  </a:lnTo>
                  <a:lnTo>
                    <a:pt x="1506" y="0"/>
                  </a:lnTo>
                  <a:lnTo>
                    <a:pt x="1506" y="6"/>
                  </a:lnTo>
                  <a:lnTo>
                    <a:pt x="1506" y="18"/>
                  </a:lnTo>
                  <a:lnTo>
                    <a:pt x="1506" y="24"/>
                  </a:lnTo>
                  <a:lnTo>
                    <a:pt x="1500" y="30"/>
                  </a:lnTo>
                  <a:lnTo>
                    <a:pt x="1500" y="42"/>
                  </a:lnTo>
                  <a:lnTo>
                    <a:pt x="1494" y="54"/>
                  </a:lnTo>
                  <a:lnTo>
                    <a:pt x="1488" y="60"/>
                  </a:lnTo>
                  <a:lnTo>
                    <a:pt x="1482" y="60"/>
                  </a:lnTo>
                  <a:lnTo>
                    <a:pt x="1476" y="66"/>
                  </a:lnTo>
                  <a:lnTo>
                    <a:pt x="1476" y="72"/>
                  </a:lnTo>
                  <a:lnTo>
                    <a:pt x="1476" y="78"/>
                  </a:lnTo>
                  <a:lnTo>
                    <a:pt x="1470" y="78"/>
                  </a:lnTo>
                  <a:lnTo>
                    <a:pt x="1464" y="90"/>
                  </a:lnTo>
                  <a:lnTo>
                    <a:pt x="1458" y="96"/>
                  </a:lnTo>
                  <a:lnTo>
                    <a:pt x="1458" y="102"/>
                  </a:lnTo>
                  <a:lnTo>
                    <a:pt x="1452" y="120"/>
                  </a:lnTo>
                  <a:lnTo>
                    <a:pt x="1452" y="132"/>
                  </a:lnTo>
                  <a:lnTo>
                    <a:pt x="1446" y="144"/>
                  </a:lnTo>
                  <a:lnTo>
                    <a:pt x="1446" y="150"/>
                  </a:lnTo>
                  <a:lnTo>
                    <a:pt x="1440" y="150"/>
                  </a:lnTo>
                  <a:lnTo>
                    <a:pt x="1434" y="156"/>
                  </a:lnTo>
                  <a:lnTo>
                    <a:pt x="1428" y="168"/>
                  </a:lnTo>
                  <a:lnTo>
                    <a:pt x="1422" y="168"/>
                  </a:lnTo>
                  <a:lnTo>
                    <a:pt x="1416" y="174"/>
                  </a:lnTo>
                  <a:lnTo>
                    <a:pt x="1410" y="186"/>
                  </a:lnTo>
                  <a:lnTo>
                    <a:pt x="1410" y="204"/>
                  </a:lnTo>
                  <a:lnTo>
                    <a:pt x="1404" y="210"/>
                  </a:lnTo>
                  <a:lnTo>
                    <a:pt x="1404" y="216"/>
                  </a:lnTo>
                  <a:lnTo>
                    <a:pt x="1410" y="228"/>
                  </a:lnTo>
                  <a:lnTo>
                    <a:pt x="1410" y="234"/>
                  </a:lnTo>
                  <a:lnTo>
                    <a:pt x="1410" y="240"/>
                  </a:lnTo>
                  <a:lnTo>
                    <a:pt x="1416" y="252"/>
                  </a:lnTo>
                  <a:lnTo>
                    <a:pt x="1416" y="258"/>
                  </a:lnTo>
                  <a:lnTo>
                    <a:pt x="1422" y="264"/>
                  </a:lnTo>
                  <a:lnTo>
                    <a:pt x="1422" y="270"/>
                  </a:lnTo>
                  <a:lnTo>
                    <a:pt x="1422" y="282"/>
                  </a:lnTo>
                  <a:lnTo>
                    <a:pt x="1416" y="288"/>
                  </a:lnTo>
                  <a:lnTo>
                    <a:pt x="1410" y="294"/>
                  </a:lnTo>
                  <a:lnTo>
                    <a:pt x="1404" y="300"/>
                  </a:lnTo>
                  <a:lnTo>
                    <a:pt x="1404" y="306"/>
                  </a:lnTo>
                  <a:lnTo>
                    <a:pt x="1398" y="324"/>
                  </a:lnTo>
                  <a:lnTo>
                    <a:pt x="1404" y="330"/>
                  </a:lnTo>
                  <a:lnTo>
                    <a:pt x="1404" y="342"/>
                  </a:lnTo>
                  <a:lnTo>
                    <a:pt x="1392" y="354"/>
                  </a:lnTo>
                  <a:lnTo>
                    <a:pt x="1392" y="360"/>
                  </a:lnTo>
                  <a:lnTo>
                    <a:pt x="1392" y="372"/>
                  </a:lnTo>
                  <a:lnTo>
                    <a:pt x="1392" y="384"/>
                  </a:lnTo>
                  <a:lnTo>
                    <a:pt x="1392" y="396"/>
                  </a:lnTo>
                  <a:lnTo>
                    <a:pt x="1392" y="408"/>
                  </a:lnTo>
                  <a:lnTo>
                    <a:pt x="1386" y="414"/>
                  </a:lnTo>
                  <a:lnTo>
                    <a:pt x="1380" y="420"/>
                  </a:lnTo>
                  <a:lnTo>
                    <a:pt x="1380" y="426"/>
                  </a:lnTo>
                  <a:lnTo>
                    <a:pt x="1368" y="432"/>
                  </a:lnTo>
                  <a:lnTo>
                    <a:pt x="1362" y="444"/>
                  </a:lnTo>
                  <a:lnTo>
                    <a:pt x="1362" y="450"/>
                  </a:lnTo>
                  <a:lnTo>
                    <a:pt x="1362" y="462"/>
                  </a:lnTo>
                  <a:lnTo>
                    <a:pt x="1362" y="468"/>
                  </a:lnTo>
                  <a:lnTo>
                    <a:pt x="1362" y="474"/>
                  </a:lnTo>
                  <a:lnTo>
                    <a:pt x="1356" y="474"/>
                  </a:lnTo>
                  <a:lnTo>
                    <a:pt x="1350" y="480"/>
                  </a:lnTo>
                  <a:lnTo>
                    <a:pt x="1344" y="486"/>
                  </a:lnTo>
                  <a:lnTo>
                    <a:pt x="1338" y="498"/>
                  </a:lnTo>
                  <a:lnTo>
                    <a:pt x="1332" y="510"/>
                  </a:lnTo>
                  <a:lnTo>
                    <a:pt x="1320" y="510"/>
                  </a:lnTo>
                  <a:lnTo>
                    <a:pt x="1314" y="516"/>
                  </a:lnTo>
                  <a:lnTo>
                    <a:pt x="1302" y="522"/>
                  </a:lnTo>
                  <a:lnTo>
                    <a:pt x="1296" y="522"/>
                  </a:lnTo>
                  <a:lnTo>
                    <a:pt x="1284" y="516"/>
                  </a:lnTo>
                  <a:lnTo>
                    <a:pt x="1278" y="516"/>
                  </a:lnTo>
                  <a:lnTo>
                    <a:pt x="1272" y="522"/>
                  </a:lnTo>
                  <a:lnTo>
                    <a:pt x="1266" y="522"/>
                  </a:lnTo>
                  <a:lnTo>
                    <a:pt x="1266" y="528"/>
                  </a:lnTo>
                  <a:lnTo>
                    <a:pt x="1254" y="540"/>
                  </a:lnTo>
                  <a:lnTo>
                    <a:pt x="1248" y="546"/>
                  </a:lnTo>
                  <a:lnTo>
                    <a:pt x="1242" y="558"/>
                  </a:lnTo>
                  <a:lnTo>
                    <a:pt x="1230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30" y="594"/>
                  </a:lnTo>
                  <a:lnTo>
                    <a:pt x="1230" y="600"/>
                  </a:lnTo>
                  <a:lnTo>
                    <a:pt x="1236" y="606"/>
                  </a:lnTo>
                  <a:lnTo>
                    <a:pt x="1242" y="606"/>
                  </a:lnTo>
                  <a:lnTo>
                    <a:pt x="1242" y="612"/>
                  </a:lnTo>
                  <a:lnTo>
                    <a:pt x="1242" y="618"/>
                  </a:lnTo>
                  <a:lnTo>
                    <a:pt x="1242" y="624"/>
                  </a:lnTo>
                  <a:lnTo>
                    <a:pt x="1236" y="630"/>
                  </a:lnTo>
                  <a:lnTo>
                    <a:pt x="1230" y="642"/>
                  </a:lnTo>
                  <a:lnTo>
                    <a:pt x="1230" y="648"/>
                  </a:lnTo>
                  <a:lnTo>
                    <a:pt x="1218" y="654"/>
                  </a:lnTo>
                  <a:lnTo>
                    <a:pt x="1212" y="654"/>
                  </a:lnTo>
                  <a:lnTo>
                    <a:pt x="1212" y="660"/>
                  </a:lnTo>
                  <a:lnTo>
                    <a:pt x="1212" y="666"/>
                  </a:lnTo>
                  <a:lnTo>
                    <a:pt x="1212" y="672"/>
                  </a:lnTo>
                  <a:lnTo>
                    <a:pt x="1212" y="678"/>
                  </a:lnTo>
                  <a:lnTo>
                    <a:pt x="1218" y="684"/>
                  </a:lnTo>
                  <a:lnTo>
                    <a:pt x="1218" y="690"/>
                  </a:lnTo>
                  <a:lnTo>
                    <a:pt x="1224" y="696"/>
                  </a:lnTo>
                  <a:lnTo>
                    <a:pt x="1230" y="702"/>
                  </a:lnTo>
                  <a:lnTo>
                    <a:pt x="1236" y="696"/>
                  </a:lnTo>
                  <a:lnTo>
                    <a:pt x="1242" y="702"/>
                  </a:lnTo>
                  <a:lnTo>
                    <a:pt x="1248" y="708"/>
                  </a:lnTo>
                  <a:lnTo>
                    <a:pt x="1254" y="714"/>
                  </a:lnTo>
                  <a:lnTo>
                    <a:pt x="1254" y="720"/>
                  </a:lnTo>
                  <a:lnTo>
                    <a:pt x="1260" y="720"/>
                  </a:lnTo>
                  <a:lnTo>
                    <a:pt x="1254" y="732"/>
                  </a:lnTo>
                  <a:lnTo>
                    <a:pt x="1248" y="738"/>
                  </a:lnTo>
                  <a:lnTo>
                    <a:pt x="1242" y="744"/>
                  </a:lnTo>
                  <a:lnTo>
                    <a:pt x="1236" y="750"/>
                  </a:lnTo>
                  <a:lnTo>
                    <a:pt x="1236" y="756"/>
                  </a:lnTo>
                  <a:lnTo>
                    <a:pt x="1236" y="762"/>
                  </a:lnTo>
                  <a:lnTo>
                    <a:pt x="1236" y="768"/>
                  </a:lnTo>
                  <a:lnTo>
                    <a:pt x="1236" y="780"/>
                  </a:lnTo>
                  <a:lnTo>
                    <a:pt x="1230" y="780"/>
                  </a:lnTo>
                  <a:lnTo>
                    <a:pt x="1230" y="786"/>
                  </a:lnTo>
                  <a:lnTo>
                    <a:pt x="1230" y="792"/>
                  </a:lnTo>
                  <a:lnTo>
                    <a:pt x="1230" y="804"/>
                  </a:lnTo>
                  <a:lnTo>
                    <a:pt x="1224" y="810"/>
                  </a:lnTo>
                  <a:lnTo>
                    <a:pt x="1218" y="816"/>
                  </a:lnTo>
                  <a:lnTo>
                    <a:pt x="1224" y="822"/>
                  </a:lnTo>
                  <a:lnTo>
                    <a:pt x="1224" y="828"/>
                  </a:lnTo>
                  <a:lnTo>
                    <a:pt x="1218" y="834"/>
                  </a:lnTo>
                  <a:lnTo>
                    <a:pt x="1224" y="834"/>
                  </a:lnTo>
                  <a:lnTo>
                    <a:pt x="1224" y="840"/>
                  </a:lnTo>
                  <a:lnTo>
                    <a:pt x="1224" y="846"/>
                  </a:lnTo>
                  <a:lnTo>
                    <a:pt x="1224" y="852"/>
                  </a:lnTo>
                  <a:lnTo>
                    <a:pt x="1218" y="858"/>
                  </a:lnTo>
                  <a:lnTo>
                    <a:pt x="1218" y="870"/>
                  </a:lnTo>
                  <a:lnTo>
                    <a:pt x="1212" y="870"/>
                  </a:lnTo>
                  <a:lnTo>
                    <a:pt x="1212" y="876"/>
                  </a:lnTo>
                  <a:lnTo>
                    <a:pt x="1206" y="888"/>
                  </a:lnTo>
                  <a:lnTo>
                    <a:pt x="1200" y="882"/>
                  </a:lnTo>
                  <a:lnTo>
                    <a:pt x="1194" y="888"/>
                  </a:lnTo>
                  <a:lnTo>
                    <a:pt x="1188" y="894"/>
                  </a:lnTo>
                  <a:lnTo>
                    <a:pt x="1182" y="894"/>
                  </a:lnTo>
                  <a:lnTo>
                    <a:pt x="1182" y="900"/>
                  </a:lnTo>
                  <a:lnTo>
                    <a:pt x="1176" y="900"/>
                  </a:lnTo>
                  <a:lnTo>
                    <a:pt x="1170" y="894"/>
                  </a:lnTo>
                  <a:lnTo>
                    <a:pt x="1164" y="900"/>
                  </a:lnTo>
                  <a:lnTo>
                    <a:pt x="1158" y="900"/>
                  </a:lnTo>
                  <a:lnTo>
                    <a:pt x="1152" y="900"/>
                  </a:lnTo>
                  <a:lnTo>
                    <a:pt x="1140" y="900"/>
                  </a:lnTo>
                  <a:lnTo>
                    <a:pt x="1134" y="900"/>
                  </a:lnTo>
                  <a:lnTo>
                    <a:pt x="1128" y="906"/>
                  </a:lnTo>
                  <a:lnTo>
                    <a:pt x="1110" y="906"/>
                  </a:lnTo>
                  <a:lnTo>
                    <a:pt x="1104" y="906"/>
                  </a:lnTo>
                  <a:lnTo>
                    <a:pt x="1098" y="906"/>
                  </a:lnTo>
                  <a:lnTo>
                    <a:pt x="1092" y="912"/>
                  </a:lnTo>
                  <a:lnTo>
                    <a:pt x="1080" y="918"/>
                  </a:lnTo>
                  <a:lnTo>
                    <a:pt x="1068" y="930"/>
                  </a:lnTo>
                  <a:lnTo>
                    <a:pt x="1062" y="930"/>
                  </a:lnTo>
                  <a:lnTo>
                    <a:pt x="1056" y="930"/>
                  </a:lnTo>
                  <a:lnTo>
                    <a:pt x="1050" y="930"/>
                  </a:lnTo>
                  <a:lnTo>
                    <a:pt x="1050" y="936"/>
                  </a:lnTo>
                  <a:lnTo>
                    <a:pt x="1038" y="942"/>
                  </a:lnTo>
                  <a:lnTo>
                    <a:pt x="1032" y="948"/>
                  </a:lnTo>
                  <a:lnTo>
                    <a:pt x="1026" y="954"/>
                  </a:lnTo>
                  <a:lnTo>
                    <a:pt x="1020" y="960"/>
                  </a:lnTo>
                  <a:lnTo>
                    <a:pt x="1014" y="966"/>
                  </a:lnTo>
                  <a:lnTo>
                    <a:pt x="1002" y="966"/>
                  </a:lnTo>
                  <a:lnTo>
                    <a:pt x="990" y="978"/>
                  </a:lnTo>
                  <a:lnTo>
                    <a:pt x="984" y="978"/>
                  </a:lnTo>
                  <a:lnTo>
                    <a:pt x="978" y="984"/>
                  </a:lnTo>
                  <a:lnTo>
                    <a:pt x="972" y="984"/>
                  </a:lnTo>
                  <a:lnTo>
                    <a:pt x="978" y="990"/>
                  </a:lnTo>
                  <a:lnTo>
                    <a:pt x="972" y="996"/>
                  </a:lnTo>
                  <a:lnTo>
                    <a:pt x="978" y="1002"/>
                  </a:lnTo>
                  <a:lnTo>
                    <a:pt x="1002" y="1002"/>
                  </a:lnTo>
                  <a:lnTo>
                    <a:pt x="1002" y="1008"/>
                  </a:lnTo>
                  <a:lnTo>
                    <a:pt x="1008" y="1020"/>
                  </a:lnTo>
                  <a:lnTo>
                    <a:pt x="1002" y="1026"/>
                  </a:lnTo>
                  <a:lnTo>
                    <a:pt x="1002" y="1032"/>
                  </a:lnTo>
                  <a:lnTo>
                    <a:pt x="1002" y="1050"/>
                  </a:lnTo>
                  <a:lnTo>
                    <a:pt x="1002" y="1056"/>
                  </a:lnTo>
                  <a:lnTo>
                    <a:pt x="1008" y="1062"/>
                  </a:lnTo>
                  <a:lnTo>
                    <a:pt x="1008" y="1074"/>
                  </a:lnTo>
                  <a:lnTo>
                    <a:pt x="1008" y="1086"/>
                  </a:lnTo>
                  <a:lnTo>
                    <a:pt x="996" y="1092"/>
                  </a:lnTo>
                  <a:lnTo>
                    <a:pt x="996" y="1098"/>
                  </a:lnTo>
                  <a:lnTo>
                    <a:pt x="996" y="1104"/>
                  </a:lnTo>
                  <a:lnTo>
                    <a:pt x="990" y="1110"/>
                  </a:lnTo>
                  <a:lnTo>
                    <a:pt x="990" y="1116"/>
                  </a:lnTo>
                  <a:lnTo>
                    <a:pt x="996" y="1122"/>
                  </a:lnTo>
                  <a:lnTo>
                    <a:pt x="990" y="1128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96" y="1140"/>
                  </a:lnTo>
                  <a:lnTo>
                    <a:pt x="996" y="1146"/>
                  </a:lnTo>
                  <a:lnTo>
                    <a:pt x="996" y="1152"/>
                  </a:lnTo>
                  <a:lnTo>
                    <a:pt x="996" y="1158"/>
                  </a:lnTo>
                  <a:lnTo>
                    <a:pt x="996" y="1164"/>
                  </a:lnTo>
                  <a:lnTo>
                    <a:pt x="996" y="1170"/>
                  </a:lnTo>
                  <a:lnTo>
                    <a:pt x="996" y="1176"/>
                  </a:lnTo>
                  <a:lnTo>
                    <a:pt x="990" y="1182"/>
                  </a:lnTo>
                  <a:lnTo>
                    <a:pt x="990" y="1188"/>
                  </a:lnTo>
                  <a:lnTo>
                    <a:pt x="984" y="1200"/>
                  </a:lnTo>
                  <a:lnTo>
                    <a:pt x="990" y="1206"/>
                  </a:lnTo>
                  <a:lnTo>
                    <a:pt x="990" y="1212"/>
                  </a:lnTo>
                  <a:lnTo>
                    <a:pt x="990" y="1218"/>
                  </a:lnTo>
                  <a:lnTo>
                    <a:pt x="978" y="1230"/>
                  </a:lnTo>
                  <a:lnTo>
                    <a:pt x="972" y="1236"/>
                  </a:lnTo>
                  <a:lnTo>
                    <a:pt x="972" y="1242"/>
                  </a:lnTo>
                  <a:lnTo>
                    <a:pt x="966" y="1248"/>
                  </a:lnTo>
                  <a:lnTo>
                    <a:pt x="960" y="1260"/>
                  </a:lnTo>
                  <a:lnTo>
                    <a:pt x="954" y="1266"/>
                  </a:lnTo>
                  <a:lnTo>
                    <a:pt x="942" y="1278"/>
                  </a:lnTo>
                  <a:lnTo>
                    <a:pt x="936" y="1278"/>
                  </a:lnTo>
                  <a:lnTo>
                    <a:pt x="936" y="1284"/>
                  </a:lnTo>
                  <a:lnTo>
                    <a:pt x="936" y="1296"/>
                  </a:lnTo>
                  <a:lnTo>
                    <a:pt x="936" y="1302"/>
                  </a:lnTo>
                  <a:lnTo>
                    <a:pt x="942" y="1302"/>
                  </a:lnTo>
                  <a:lnTo>
                    <a:pt x="942" y="1308"/>
                  </a:lnTo>
                  <a:lnTo>
                    <a:pt x="936" y="1314"/>
                  </a:lnTo>
                  <a:lnTo>
                    <a:pt x="930" y="1320"/>
                  </a:lnTo>
                  <a:lnTo>
                    <a:pt x="930" y="1326"/>
                  </a:lnTo>
                  <a:lnTo>
                    <a:pt x="930" y="1332"/>
                  </a:lnTo>
                  <a:lnTo>
                    <a:pt x="936" y="1338"/>
                  </a:lnTo>
                  <a:lnTo>
                    <a:pt x="936" y="1344"/>
                  </a:lnTo>
                  <a:lnTo>
                    <a:pt x="942" y="1356"/>
                  </a:lnTo>
                  <a:lnTo>
                    <a:pt x="948" y="1368"/>
                  </a:lnTo>
                  <a:lnTo>
                    <a:pt x="942" y="1380"/>
                  </a:lnTo>
                  <a:lnTo>
                    <a:pt x="936" y="1386"/>
                  </a:lnTo>
                  <a:lnTo>
                    <a:pt x="930" y="1392"/>
                  </a:lnTo>
                  <a:lnTo>
                    <a:pt x="924" y="1392"/>
                  </a:lnTo>
                  <a:lnTo>
                    <a:pt x="918" y="1386"/>
                  </a:lnTo>
                  <a:lnTo>
                    <a:pt x="912" y="1386"/>
                  </a:lnTo>
                  <a:lnTo>
                    <a:pt x="906" y="1386"/>
                  </a:lnTo>
                  <a:lnTo>
                    <a:pt x="900" y="1386"/>
                  </a:lnTo>
                  <a:lnTo>
                    <a:pt x="900" y="1392"/>
                  </a:lnTo>
                  <a:lnTo>
                    <a:pt x="894" y="1392"/>
                  </a:lnTo>
                  <a:lnTo>
                    <a:pt x="888" y="1392"/>
                  </a:lnTo>
                  <a:lnTo>
                    <a:pt x="888" y="1398"/>
                  </a:lnTo>
                  <a:lnTo>
                    <a:pt x="882" y="1404"/>
                  </a:lnTo>
                  <a:lnTo>
                    <a:pt x="882" y="1416"/>
                  </a:lnTo>
                  <a:lnTo>
                    <a:pt x="882" y="1428"/>
                  </a:lnTo>
                  <a:lnTo>
                    <a:pt x="882" y="1434"/>
                  </a:lnTo>
                  <a:lnTo>
                    <a:pt x="870" y="1440"/>
                  </a:lnTo>
                  <a:lnTo>
                    <a:pt x="864" y="1452"/>
                  </a:lnTo>
                  <a:lnTo>
                    <a:pt x="870" y="1452"/>
                  </a:lnTo>
                  <a:lnTo>
                    <a:pt x="864" y="1458"/>
                  </a:lnTo>
                  <a:lnTo>
                    <a:pt x="858" y="1464"/>
                  </a:lnTo>
                  <a:lnTo>
                    <a:pt x="852" y="1464"/>
                  </a:lnTo>
                  <a:lnTo>
                    <a:pt x="846" y="1458"/>
                  </a:lnTo>
                  <a:lnTo>
                    <a:pt x="840" y="1458"/>
                  </a:lnTo>
                  <a:lnTo>
                    <a:pt x="828" y="1470"/>
                  </a:lnTo>
                  <a:lnTo>
                    <a:pt x="810" y="1482"/>
                  </a:lnTo>
                  <a:lnTo>
                    <a:pt x="804" y="1488"/>
                  </a:lnTo>
                  <a:lnTo>
                    <a:pt x="798" y="1488"/>
                  </a:lnTo>
                  <a:lnTo>
                    <a:pt x="792" y="1488"/>
                  </a:lnTo>
                  <a:lnTo>
                    <a:pt x="786" y="1488"/>
                  </a:lnTo>
                  <a:lnTo>
                    <a:pt x="768" y="1482"/>
                  </a:lnTo>
                  <a:lnTo>
                    <a:pt x="762" y="1476"/>
                  </a:lnTo>
                  <a:lnTo>
                    <a:pt x="744" y="1476"/>
                  </a:lnTo>
                  <a:lnTo>
                    <a:pt x="738" y="1476"/>
                  </a:lnTo>
                  <a:lnTo>
                    <a:pt x="732" y="1476"/>
                  </a:lnTo>
                  <a:lnTo>
                    <a:pt x="726" y="1482"/>
                  </a:lnTo>
                  <a:lnTo>
                    <a:pt x="726" y="1488"/>
                  </a:lnTo>
                  <a:lnTo>
                    <a:pt x="726" y="1494"/>
                  </a:lnTo>
                  <a:lnTo>
                    <a:pt x="726" y="1500"/>
                  </a:lnTo>
                  <a:lnTo>
                    <a:pt x="720" y="1500"/>
                  </a:lnTo>
                  <a:lnTo>
                    <a:pt x="720" y="1506"/>
                  </a:lnTo>
                  <a:lnTo>
                    <a:pt x="714" y="1512"/>
                  </a:lnTo>
                  <a:lnTo>
                    <a:pt x="714" y="1518"/>
                  </a:lnTo>
                  <a:lnTo>
                    <a:pt x="708" y="1518"/>
                  </a:lnTo>
                  <a:lnTo>
                    <a:pt x="708" y="1530"/>
                  </a:lnTo>
                  <a:lnTo>
                    <a:pt x="708" y="1536"/>
                  </a:lnTo>
                  <a:lnTo>
                    <a:pt x="708" y="1542"/>
                  </a:lnTo>
                  <a:lnTo>
                    <a:pt x="696" y="1554"/>
                  </a:lnTo>
                  <a:lnTo>
                    <a:pt x="690" y="1560"/>
                  </a:lnTo>
                  <a:lnTo>
                    <a:pt x="684" y="1566"/>
                  </a:lnTo>
                  <a:lnTo>
                    <a:pt x="672" y="1566"/>
                  </a:lnTo>
                  <a:lnTo>
                    <a:pt x="666" y="1566"/>
                  </a:lnTo>
                  <a:lnTo>
                    <a:pt x="660" y="1566"/>
                  </a:lnTo>
                  <a:lnTo>
                    <a:pt x="654" y="1572"/>
                  </a:lnTo>
                  <a:lnTo>
                    <a:pt x="654" y="1578"/>
                  </a:lnTo>
                  <a:lnTo>
                    <a:pt x="642" y="1578"/>
                  </a:lnTo>
                  <a:lnTo>
                    <a:pt x="630" y="1572"/>
                  </a:lnTo>
                  <a:lnTo>
                    <a:pt x="624" y="1572"/>
                  </a:lnTo>
                  <a:lnTo>
                    <a:pt x="618" y="1578"/>
                  </a:lnTo>
                  <a:lnTo>
                    <a:pt x="612" y="1584"/>
                  </a:lnTo>
                  <a:lnTo>
                    <a:pt x="606" y="1584"/>
                  </a:lnTo>
                  <a:lnTo>
                    <a:pt x="600" y="1590"/>
                  </a:lnTo>
                  <a:lnTo>
                    <a:pt x="594" y="1590"/>
                  </a:lnTo>
                  <a:lnTo>
                    <a:pt x="588" y="1590"/>
                  </a:lnTo>
                  <a:lnTo>
                    <a:pt x="582" y="1590"/>
                  </a:lnTo>
                  <a:lnTo>
                    <a:pt x="582" y="1596"/>
                  </a:lnTo>
                  <a:lnTo>
                    <a:pt x="576" y="1614"/>
                  </a:lnTo>
                  <a:lnTo>
                    <a:pt x="570" y="1632"/>
                  </a:lnTo>
                  <a:lnTo>
                    <a:pt x="570" y="1638"/>
                  </a:lnTo>
                  <a:lnTo>
                    <a:pt x="576" y="1644"/>
                  </a:lnTo>
                  <a:lnTo>
                    <a:pt x="576" y="1650"/>
                  </a:lnTo>
                  <a:lnTo>
                    <a:pt x="582" y="1662"/>
                  </a:lnTo>
                  <a:lnTo>
                    <a:pt x="582" y="1668"/>
                  </a:lnTo>
                  <a:lnTo>
                    <a:pt x="588" y="1692"/>
                  </a:lnTo>
                  <a:lnTo>
                    <a:pt x="594" y="1728"/>
                  </a:lnTo>
                  <a:lnTo>
                    <a:pt x="594" y="1752"/>
                  </a:lnTo>
                  <a:lnTo>
                    <a:pt x="594" y="1764"/>
                  </a:lnTo>
                  <a:lnTo>
                    <a:pt x="582" y="1770"/>
                  </a:lnTo>
                  <a:lnTo>
                    <a:pt x="582" y="1782"/>
                  </a:lnTo>
                  <a:lnTo>
                    <a:pt x="576" y="1788"/>
                  </a:lnTo>
                  <a:lnTo>
                    <a:pt x="570" y="1794"/>
                  </a:lnTo>
                  <a:lnTo>
                    <a:pt x="564" y="1806"/>
                  </a:lnTo>
                  <a:lnTo>
                    <a:pt x="564" y="1812"/>
                  </a:lnTo>
                  <a:lnTo>
                    <a:pt x="558" y="1812"/>
                  </a:lnTo>
                  <a:lnTo>
                    <a:pt x="564" y="1824"/>
                  </a:lnTo>
                  <a:lnTo>
                    <a:pt x="564" y="1830"/>
                  </a:lnTo>
                  <a:lnTo>
                    <a:pt x="564" y="1842"/>
                  </a:lnTo>
                  <a:lnTo>
                    <a:pt x="564" y="1848"/>
                  </a:lnTo>
                  <a:lnTo>
                    <a:pt x="564" y="1854"/>
                  </a:lnTo>
                  <a:lnTo>
                    <a:pt x="570" y="1860"/>
                  </a:lnTo>
                  <a:lnTo>
                    <a:pt x="570" y="1866"/>
                  </a:lnTo>
                  <a:lnTo>
                    <a:pt x="570" y="1872"/>
                  </a:lnTo>
                  <a:lnTo>
                    <a:pt x="570" y="1878"/>
                  </a:lnTo>
                  <a:lnTo>
                    <a:pt x="564" y="1890"/>
                  </a:lnTo>
                  <a:lnTo>
                    <a:pt x="558" y="1896"/>
                  </a:lnTo>
                  <a:lnTo>
                    <a:pt x="552" y="1908"/>
                  </a:lnTo>
                  <a:lnTo>
                    <a:pt x="546" y="1914"/>
                  </a:lnTo>
                  <a:lnTo>
                    <a:pt x="540" y="1920"/>
                  </a:lnTo>
                  <a:lnTo>
                    <a:pt x="534" y="1932"/>
                  </a:lnTo>
                  <a:lnTo>
                    <a:pt x="528" y="1944"/>
                  </a:lnTo>
                  <a:lnTo>
                    <a:pt x="516" y="1950"/>
                  </a:lnTo>
                  <a:lnTo>
                    <a:pt x="510" y="1956"/>
                  </a:lnTo>
                  <a:lnTo>
                    <a:pt x="498" y="1962"/>
                  </a:lnTo>
                  <a:lnTo>
                    <a:pt x="492" y="1974"/>
                  </a:lnTo>
                  <a:lnTo>
                    <a:pt x="486" y="1980"/>
                  </a:lnTo>
                  <a:lnTo>
                    <a:pt x="480" y="1998"/>
                  </a:lnTo>
                  <a:lnTo>
                    <a:pt x="474" y="2004"/>
                  </a:lnTo>
                  <a:lnTo>
                    <a:pt x="474" y="2010"/>
                  </a:lnTo>
                  <a:lnTo>
                    <a:pt x="474" y="2016"/>
                  </a:lnTo>
                  <a:lnTo>
                    <a:pt x="468" y="2016"/>
                  </a:lnTo>
                  <a:lnTo>
                    <a:pt x="468" y="2028"/>
                  </a:lnTo>
                  <a:lnTo>
                    <a:pt x="462" y="2034"/>
                  </a:lnTo>
                  <a:lnTo>
                    <a:pt x="456" y="2040"/>
                  </a:lnTo>
                  <a:lnTo>
                    <a:pt x="456" y="2052"/>
                  </a:lnTo>
                  <a:lnTo>
                    <a:pt x="450" y="2058"/>
                  </a:lnTo>
                  <a:lnTo>
                    <a:pt x="450" y="2070"/>
                  </a:lnTo>
                  <a:lnTo>
                    <a:pt x="450" y="2076"/>
                  </a:lnTo>
                  <a:lnTo>
                    <a:pt x="450" y="2082"/>
                  </a:lnTo>
                  <a:lnTo>
                    <a:pt x="444" y="2088"/>
                  </a:lnTo>
                  <a:lnTo>
                    <a:pt x="438" y="2094"/>
                  </a:lnTo>
                  <a:lnTo>
                    <a:pt x="444" y="2100"/>
                  </a:lnTo>
                  <a:lnTo>
                    <a:pt x="444" y="2124"/>
                  </a:lnTo>
                  <a:lnTo>
                    <a:pt x="444" y="2142"/>
                  </a:lnTo>
                  <a:lnTo>
                    <a:pt x="444" y="2160"/>
                  </a:lnTo>
                  <a:lnTo>
                    <a:pt x="450" y="2166"/>
                  </a:lnTo>
                  <a:lnTo>
                    <a:pt x="456" y="2178"/>
                  </a:lnTo>
                  <a:lnTo>
                    <a:pt x="438" y="2184"/>
                  </a:lnTo>
                  <a:lnTo>
                    <a:pt x="432" y="2184"/>
                  </a:lnTo>
                  <a:lnTo>
                    <a:pt x="426" y="2190"/>
                  </a:lnTo>
                  <a:lnTo>
                    <a:pt x="408" y="2190"/>
                  </a:lnTo>
                  <a:lnTo>
                    <a:pt x="402" y="2196"/>
                  </a:lnTo>
                  <a:lnTo>
                    <a:pt x="396" y="2196"/>
                  </a:lnTo>
                  <a:lnTo>
                    <a:pt x="384" y="2208"/>
                  </a:lnTo>
                  <a:lnTo>
                    <a:pt x="378" y="2220"/>
                  </a:lnTo>
                  <a:lnTo>
                    <a:pt x="366" y="2232"/>
                  </a:lnTo>
                  <a:lnTo>
                    <a:pt x="366" y="2238"/>
                  </a:lnTo>
                  <a:lnTo>
                    <a:pt x="360" y="2238"/>
                  </a:lnTo>
                  <a:lnTo>
                    <a:pt x="360" y="2244"/>
                  </a:lnTo>
                  <a:lnTo>
                    <a:pt x="354" y="2244"/>
                  </a:lnTo>
                  <a:lnTo>
                    <a:pt x="330" y="2274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27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9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97" name="Freeform 11">
              <a:extLst>
                <a:ext uri="{FF2B5EF4-FFF2-40B4-BE49-F238E27FC236}">
                  <a16:creationId xmlns:a16="http://schemas.microsoft.com/office/drawing/2014/main" id="{FD9802A9-AF75-40E9-8BF4-336404423F87}"/>
                </a:ext>
              </a:extLst>
            </p:cNvPr>
            <p:cNvSpPr>
              <a:spLocks/>
            </p:cNvSpPr>
            <p:nvPr/>
          </p:nvSpPr>
          <p:spPr bwMode="gray">
            <a:xfrm>
              <a:off x="5122863" y="1404939"/>
              <a:ext cx="1416050" cy="1825625"/>
            </a:xfrm>
            <a:custGeom>
              <a:avLst/>
              <a:gdLst>
                <a:gd name="T0" fmla="*/ 124 w 1512"/>
                <a:gd name="T1" fmla="*/ 76 h 1956"/>
                <a:gd name="T2" fmla="*/ 120 w 1512"/>
                <a:gd name="T3" fmla="*/ 80 h 1956"/>
                <a:gd name="T4" fmla="*/ 106 w 1512"/>
                <a:gd name="T5" fmla="*/ 84 h 1956"/>
                <a:gd name="T6" fmla="*/ 105 w 1512"/>
                <a:gd name="T7" fmla="*/ 91 h 1956"/>
                <a:gd name="T8" fmla="*/ 101 w 1512"/>
                <a:gd name="T9" fmla="*/ 99 h 1956"/>
                <a:gd name="T10" fmla="*/ 105 w 1512"/>
                <a:gd name="T11" fmla="*/ 107 h 1956"/>
                <a:gd name="T12" fmla="*/ 119 w 1512"/>
                <a:gd name="T13" fmla="*/ 116 h 1956"/>
                <a:gd name="T14" fmla="*/ 121 w 1512"/>
                <a:gd name="T15" fmla="*/ 128 h 1956"/>
                <a:gd name="T16" fmla="*/ 112 w 1512"/>
                <a:gd name="T17" fmla="*/ 136 h 1956"/>
                <a:gd name="T18" fmla="*/ 119 w 1512"/>
                <a:gd name="T19" fmla="*/ 143 h 1956"/>
                <a:gd name="T20" fmla="*/ 126 w 1512"/>
                <a:gd name="T21" fmla="*/ 148 h 1956"/>
                <a:gd name="T22" fmla="*/ 126 w 1512"/>
                <a:gd name="T23" fmla="*/ 160 h 1956"/>
                <a:gd name="T24" fmla="*/ 104 w 1512"/>
                <a:gd name="T25" fmla="*/ 170 h 1956"/>
                <a:gd name="T26" fmla="*/ 99 w 1512"/>
                <a:gd name="T27" fmla="*/ 164 h 1956"/>
                <a:gd name="T28" fmla="*/ 73 w 1512"/>
                <a:gd name="T29" fmla="*/ 152 h 1956"/>
                <a:gd name="T30" fmla="*/ 56 w 1512"/>
                <a:gd name="T31" fmla="*/ 165 h 1956"/>
                <a:gd name="T32" fmla="*/ 33 w 1512"/>
                <a:gd name="T33" fmla="*/ 162 h 1956"/>
                <a:gd name="T34" fmla="*/ 25 w 1512"/>
                <a:gd name="T35" fmla="*/ 155 h 1956"/>
                <a:gd name="T36" fmla="*/ 31 w 1512"/>
                <a:gd name="T37" fmla="*/ 142 h 1956"/>
                <a:gd name="T38" fmla="*/ 24 w 1512"/>
                <a:gd name="T39" fmla="*/ 137 h 1956"/>
                <a:gd name="T40" fmla="*/ 14 w 1512"/>
                <a:gd name="T41" fmla="*/ 136 h 1956"/>
                <a:gd name="T42" fmla="*/ 11 w 1512"/>
                <a:gd name="T43" fmla="*/ 125 h 1956"/>
                <a:gd name="T44" fmla="*/ 3 w 1512"/>
                <a:gd name="T45" fmla="*/ 116 h 1956"/>
                <a:gd name="T46" fmla="*/ 2 w 1512"/>
                <a:gd name="T47" fmla="*/ 106 h 1956"/>
                <a:gd name="T48" fmla="*/ 5 w 1512"/>
                <a:gd name="T49" fmla="*/ 101 h 1956"/>
                <a:gd name="T50" fmla="*/ 2 w 1512"/>
                <a:gd name="T51" fmla="*/ 95 h 1956"/>
                <a:gd name="T52" fmla="*/ 1 w 1512"/>
                <a:gd name="T53" fmla="*/ 88 h 1956"/>
                <a:gd name="T54" fmla="*/ 4 w 1512"/>
                <a:gd name="T55" fmla="*/ 80 h 1956"/>
                <a:gd name="T56" fmla="*/ 12 w 1512"/>
                <a:gd name="T57" fmla="*/ 73 h 1956"/>
                <a:gd name="T58" fmla="*/ 16 w 1512"/>
                <a:gd name="T59" fmla="*/ 68 h 1956"/>
                <a:gd name="T60" fmla="*/ 22 w 1512"/>
                <a:gd name="T61" fmla="*/ 66 h 1956"/>
                <a:gd name="T62" fmla="*/ 32 w 1512"/>
                <a:gd name="T63" fmla="*/ 65 h 1956"/>
                <a:gd name="T64" fmla="*/ 45 w 1512"/>
                <a:gd name="T65" fmla="*/ 66 h 1956"/>
                <a:gd name="T66" fmla="*/ 50 w 1512"/>
                <a:gd name="T67" fmla="*/ 70 h 1956"/>
                <a:gd name="T68" fmla="*/ 55 w 1512"/>
                <a:gd name="T69" fmla="*/ 70 h 1956"/>
                <a:gd name="T70" fmla="*/ 63 w 1512"/>
                <a:gd name="T71" fmla="*/ 71 h 1956"/>
                <a:gd name="T72" fmla="*/ 61 w 1512"/>
                <a:gd name="T73" fmla="*/ 75 h 1956"/>
                <a:gd name="T74" fmla="*/ 66 w 1512"/>
                <a:gd name="T75" fmla="*/ 84 h 1956"/>
                <a:gd name="T76" fmla="*/ 81 w 1512"/>
                <a:gd name="T77" fmla="*/ 85 h 1956"/>
                <a:gd name="T78" fmla="*/ 83 w 1512"/>
                <a:gd name="T79" fmla="*/ 79 h 1956"/>
                <a:gd name="T80" fmla="*/ 89 w 1512"/>
                <a:gd name="T81" fmla="*/ 77 h 1956"/>
                <a:gd name="T82" fmla="*/ 89 w 1512"/>
                <a:gd name="T83" fmla="*/ 73 h 1956"/>
                <a:gd name="T84" fmla="*/ 83 w 1512"/>
                <a:gd name="T85" fmla="*/ 72 h 1956"/>
                <a:gd name="T86" fmla="*/ 77 w 1512"/>
                <a:gd name="T87" fmla="*/ 70 h 1956"/>
                <a:gd name="T88" fmla="*/ 71 w 1512"/>
                <a:gd name="T89" fmla="*/ 70 h 1956"/>
                <a:gd name="T90" fmla="*/ 59 w 1512"/>
                <a:gd name="T91" fmla="*/ 58 h 1956"/>
                <a:gd name="T92" fmla="*/ 54 w 1512"/>
                <a:gd name="T93" fmla="*/ 45 h 1956"/>
                <a:gd name="T94" fmla="*/ 49 w 1512"/>
                <a:gd name="T95" fmla="*/ 42 h 1956"/>
                <a:gd name="T96" fmla="*/ 51 w 1512"/>
                <a:gd name="T97" fmla="*/ 39 h 1956"/>
                <a:gd name="T98" fmla="*/ 55 w 1512"/>
                <a:gd name="T99" fmla="*/ 36 h 1956"/>
                <a:gd name="T100" fmla="*/ 63 w 1512"/>
                <a:gd name="T101" fmla="*/ 34 h 1956"/>
                <a:gd name="T102" fmla="*/ 68 w 1512"/>
                <a:gd name="T103" fmla="*/ 32 h 1956"/>
                <a:gd name="T104" fmla="*/ 73 w 1512"/>
                <a:gd name="T105" fmla="*/ 29 h 1956"/>
                <a:gd name="T106" fmla="*/ 78 w 1512"/>
                <a:gd name="T107" fmla="*/ 27 h 1956"/>
                <a:gd name="T108" fmla="*/ 81 w 1512"/>
                <a:gd name="T109" fmla="*/ 17 h 1956"/>
                <a:gd name="T110" fmla="*/ 84 w 1512"/>
                <a:gd name="T111" fmla="*/ 6 h 1956"/>
                <a:gd name="T112" fmla="*/ 95 w 1512"/>
                <a:gd name="T113" fmla="*/ 6 h 1956"/>
                <a:gd name="T114" fmla="*/ 99 w 1512"/>
                <a:gd name="T115" fmla="*/ 3 h 1956"/>
                <a:gd name="T116" fmla="*/ 103 w 1512"/>
                <a:gd name="T117" fmla="*/ 0 h 1956"/>
                <a:gd name="T118" fmla="*/ 110 w 1512"/>
                <a:gd name="T119" fmla="*/ 4 h 1956"/>
                <a:gd name="T120" fmla="*/ 114 w 1512"/>
                <a:gd name="T121" fmla="*/ 33 h 1956"/>
                <a:gd name="T122" fmla="*/ 117 w 1512"/>
                <a:gd name="T123" fmla="*/ 41 h 1956"/>
                <a:gd name="T124" fmla="*/ 119 w 1512"/>
                <a:gd name="T125" fmla="*/ 62 h 195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12"/>
                <a:gd name="T190" fmla="*/ 0 h 1956"/>
                <a:gd name="T191" fmla="*/ 1512 w 1512"/>
                <a:gd name="T192" fmla="*/ 1956 h 195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12" h="1956">
                  <a:moveTo>
                    <a:pt x="1512" y="780"/>
                  </a:moveTo>
                  <a:lnTo>
                    <a:pt x="1482" y="786"/>
                  </a:lnTo>
                  <a:lnTo>
                    <a:pt x="1476" y="792"/>
                  </a:lnTo>
                  <a:lnTo>
                    <a:pt x="1476" y="798"/>
                  </a:lnTo>
                  <a:lnTo>
                    <a:pt x="1476" y="804"/>
                  </a:lnTo>
                  <a:lnTo>
                    <a:pt x="1476" y="816"/>
                  </a:lnTo>
                  <a:lnTo>
                    <a:pt x="1470" y="834"/>
                  </a:lnTo>
                  <a:lnTo>
                    <a:pt x="1464" y="840"/>
                  </a:lnTo>
                  <a:lnTo>
                    <a:pt x="1452" y="852"/>
                  </a:lnTo>
                  <a:lnTo>
                    <a:pt x="1440" y="864"/>
                  </a:lnTo>
                  <a:lnTo>
                    <a:pt x="1434" y="864"/>
                  </a:lnTo>
                  <a:lnTo>
                    <a:pt x="1434" y="870"/>
                  </a:lnTo>
                  <a:lnTo>
                    <a:pt x="1422" y="876"/>
                  </a:lnTo>
                  <a:lnTo>
                    <a:pt x="1410" y="894"/>
                  </a:lnTo>
                  <a:lnTo>
                    <a:pt x="1404" y="894"/>
                  </a:lnTo>
                  <a:lnTo>
                    <a:pt x="1404" y="900"/>
                  </a:lnTo>
                  <a:lnTo>
                    <a:pt x="1404" y="906"/>
                  </a:lnTo>
                  <a:lnTo>
                    <a:pt x="1410" y="918"/>
                  </a:lnTo>
                  <a:lnTo>
                    <a:pt x="1404" y="918"/>
                  </a:lnTo>
                  <a:lnTo>
                    <a:pt x="1392" y="924"/>
                  </a:lnTo>
                  <a:lnTo>
                    <a:pt x="1386" y="924"/>
                  </a:lnTo>
                  <a:lnTo>
                    <a:pt x="1380" y="924"/>
                  </a:lnTo>
                  <a:lnTo>
                    <a:pt x="1380" y="930"/>
                  </a:lnTo>
                  <a:lnTo>
                    <a:pt x="1374" y="930"/>
                  </a:lnTo>
                  <a:lnTo>
                    <a:pt x="1374" y="924"/>
                  </a:lnTo>
                  <a:lnTo>
                    <a:pt x="1374" y="918"/>
                  </a:lnTo>
                  <a:lnTo>
                    <a:pt x="1368" y="912"/>
                  </a:lnTo>
                  <a:lnTo>
                    <a:pt x="1368" y="906"/>
                  </a:lnTo>
                  <a:lnTo>
                    <a:pt x="1368" y="900"/>
                  </a:lnTo>
                  <a:lnTo>
                    <a:pt x="1368" y="894"/>
                  </a:lnTo>
                  <a:lnTo>
                    <a:pt x="1362" y="894"/>
                  </a:lnTo>
                  <a:lnTo>
                    <a:pt x="1326" y="894"/>
                  </a:lnTo>
                  <a:lnTo>
                    <a:pt x="1302" y="906"/>
                  </a:lnTo>
                  <a:lnTo>
                    <a:pt x="1284" y="918"/>
                  </a:lnTo>
                  <a:lnTo>
                    <a:pt x="1284" y="924"/>
                  </a:lnTo>
                  <a:lnTo>
                    <a:pt x="1278" y="930"/>
                  </a:lnTo>
                  <a:lnTo>
                    <a:pt x="1266" y="930"/>
                  </a:lnTo>
                  <a:lnTo>
                    <a:pt x="1236" y="954"/>
                  </a:lnTo>
                  <a:lnTo>
                    <a:pt x="1212" y="972"/>
                  </a:lnTo>
                  <a:lnTo>
                    <a:pt x="1218" y="996"/>
                  </a:lnTo>
                  <a:lnTo>
                    <a:pt x="1224" y="1008"/>
                  </a:lnTo>
                  <a:lnTo>
                    <a:pt x="1236" y="1014"/>
                  </a:lnTo>
                  <a:lnTo>
                    <a:pt x="1242" y="1026"/>
                  </a:lnTo>
                  <a:lnTo>
                    <a:pt x="1248" y="1038"/>
                  </a:lnTo>
                  <a:lnTo>
                    <a:pt x="1260" y="1050"/>
                  </a:lnTo>
                  <a:lnTo>
                    <a:pt x="1260" y="1056"/>
                  </a:lnTo>
                  <a:lnTo>
                    <a:pt x="1260" y="1074"/>
                  </a:lnTo>
                  <a:lnTo>
                    <a:pt x="1254" y="1074"/>
                  </a:lnTo>
                  <a:lnTo>
                    <a:pt x="1236" y="1056"/>
                  </a:lnTo>
                  <a:lnTo>
                    <a:pt x="1224" y="1050"/>
                  </a:lnTo>
                  <a:lnTo>
                    <a:pt x="1212" y="1050"/>
                  </a:lnTo>
                  <a:lnTo>
                    <a:pt x="1206" y="1050"/>
                  </a:lnTo>
                  <a:lnTo>
                    <a:pt x="1200" y="1056"/>
                  </a:lnTo>
                  <a:lnTo>
                    <a:pt x="1194" y="1062"/>
                  </a:lnTo>
                  <a:lnTo>
                    <a:pt x="1188" y="1068"/>
                  </a:lnTo>
                  <a:lnTo>
                    <a:pt x="1188" y="1074"/>
                  </a:lnTo>
                  <a:lnTo>
                    <a:pt x="1176" y="1086"/>
                  </a:lnTo>
                  <a:lnTo>
                    <a:pt x="1170" y="1086"/>
                  </a:lnTo>
                  <a:lnTo>
                    <a:pt x="1170" y="1092"/>
                  </a:lnTo>
                  <a:lnTo>
                    <a:pt x="1164" y="1098"/>
                  </a:lnTo>
                  <a:lnTo>
                    <a:pt x="1158" y="1110"/>
                  </a:lnTo>
                  <a:lnTo>
                    <a:pt x="1152" y="1116"/>
                  </a:lnTo>
                  <a:lnTo>
                    <a:pt x="1152" y="1122"/>
                  </a:lnTo>
                  <a:lnTo>
                    <a:pt x="1146" y="1128"/>
                  </a:lnTo>
                  <a:lnTo>
                    <a:pt x="1152" y="1140"/>
                  </a:lnTo>
                  <a:lnTo>
                    <a:pt x="1158" y="1140"/>
                  </a:lnTo>
                  <a:lnTo>
                    <a:pt x="1164" y="1146"/>
                  </a:lnTo>
                  <a:lnTo>
                    <a:pt x="1164" y="1152"/>
                  </a:lnTo>
                  <a:lnTo>
                    <a:pt x="1170" y="1164"/>
                  </a:lnTo>
                  <a:lnTo>
                    <a:pt x="1164" y="1176"/>
                  </a:lnTo>
                  <a:lnTo>
                    <a:pt x="1170" y="1182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82" y="1218"/>
                  </a:lnTo>
                  <a:lnTo>
                    <a:pt x="1188" y="1218"/>
                  </a:lnTo>
                  <a:lnTo>
                    <a:pt x="1194" y="1218"/>
                  </a:lnTo>
                  <a:lnTo>
                    <a:pt x="1194" y="1224"/>
                  </a:lnTo>
                  <a:lnTo>
                    <a:pt x="1200" y="1230"/>
                  </a:lnTo>
                  <a:lnTo>
                    <a:pt x="1200" y="1248"/>
                  </a:lnTo>
                  <a:lnTo>
                    <a:pt x="1212" y="1266"/>
                  </a:lnTo>
                  <a:lnTo>
                    <a:pt x="1218" y="1278"/>
                  </a:lnTo>
                  <a:lnTo>
                    <a:pt x="1224" y="1284"/>
                  </a:lnTo>
                  <a:lnTo>
                    <a:pt x="1236" y="1296"/>
                  </a:lnTo>
                  <a:lnTo>
                    <a:pt x="1242" y="1302"/>
                  </a:lnTo>
                  <a:lnTo>
                    <a:pt x="1242" y="1308"/>
                  </a:lnTo>
                  <a:lnTo>
                    <a:pt x="1272" y="1308"/>
                  </a:lnTo>
                  <a:lnTo>
                    <a:pt x="1296" y="1314"/>
                  </a:lnTo>
                  <a:lnTo>
                    <a:pt x="1320" y="1320"/>
                  </a:lnTo>
                  <a:lnTo>
                    <a:pt x="1338" y="1320"/>
                  </a:lnTo>
                  <a:lnTo>
                    <a:pt x="1356" y="1332"/>
                  </a:lnTo>
                  <a:lnTo>
                    <a:pt x="1368" y="1344"/>
                  </a:lnTo>
                  <a:lnTo>
                    <a:pt x="1374" y="1362"/>
                  </a:lnTo>
                  <a:lnTo>
                    <a:pt x="1368" y="1362"/>
                  </a:lnTo>
                  <a:lnTo>
                    <a:pt x="1368" y="1398"/>
                  </a:lnTo>
                  <a:lnTo>
                    <a:pt x="1368" y="1410"/>
                  </a:lnTo>
                  <a:lnTo>
                    <a:pt x="1368" y="1428"/>
                  </a:lnTo>
                  <a:lnTo>
                    <a:pt x="1368" y="1434"/>
                  </a:lnTo>
                  <a:lnTo>
                    <a:pt x="1368" y="1440"/>
                  </a:lnTo>
                  <a:lnTo>
                    <a:pt x="1374" y="1446"/>
                  </a:lnTo>
                  <a:lnTo>
                    <a:pt x="1374" y="1452"/>
                  </a:lnTo>
                  <a:lnTo>
                    <a:pt x="1380" y="1458"/>
                  </a:lnTo>
                  <a:lnTo>
                    <a:pt x="1386" y="1464"/>
                  </a:lnTo>
                  <a:lnTo>
                    <a:pt x="1386" y="1470"/>
                  </a:lnTo>
                  <a:lnTo>
                    <a:pt x="1380" y="1476"/>
                  </a:lnTo>
                  <a:lnTo>
                    <a:pt x="1374" y="1482"/>
                  </a:lnTo>
                  <a:lnTo>
                    <a:pt x="1362" y="1500"/>
                  </a:lnTo>
                  <a:lnTo>
                    <a:pt x="1362" y="1506"/>
                  </a:lnTo>
                  <a:lnTo>
                    <a:pt x="1362" y="1512"/>
                  </a:lnTo>
                  <a:lnTo>
                    <a:pt x="1362" y="1518"/>
                  </a:lnTo>
                  <a:lnTo>
                    <a:pt x="1362" y="1524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38" y="1548"/>
                  </a:lnTo>
                  <a:lnTo>
                    <a:pt x="1296" y="1548"/>
                  </a:lnTo>
                  <a:lnTo>
                    <a:pt x="1290" y="1554"/>
                  </a:lnTo>
                  <a:lnTo>
                    <a:pt x="1284" y="1560"/>
                  </a:lnTo>
                  <a:lnTo>
                    <a:pt x="1284" y="1566"/>
                  </a:lnTo>
                  <a:lnTo>
                    <a:pt x="1290" y="1578"/>
                  </a:lnTo>
                  <a:lnTo>
                    <a:pt x="1296" y="1590"/>
                  </a:lnTo>
                  <a:lnTo>
                    <a:pt x="1302" y="1590"/>
                  </a:lnTo>
                  <a:lnTo>
                    <a:pt x="1308" y="1596"/>
                  </a:lnTo>
                  <a:lnTo>
                    <a:pt x="1320" y="1602"/>
                  </a:lnTo>
                  <a:lnTo>
                    <a:pt x="1326" y="1602"/>
                  </a:lnTo>
                  <a:lnTo>
                    <a:pt x="1326" y="1608"/>
                  </a:lnTo>
                  <a:lnTo>
                    <a:pt x="1332" y="1614"/>
                  </a:lnTo>
                  <a:lnTo>
                    <a:pt x="1344" y="1620"/>
                  </a:lnTo>
                  <a:lnTo>
                    <a:pt x="1356" y="1626"/>
                  </a:lnTo>
                  <a:lnTo>
                    <a:pt x="1356" y="1632"/>
                  </a:lnTo>
                  <a:lnTo>
                    <a:pt x="1356" y="1638"/>
                  </a:lnTo>
                  <a:lnTo>
                    <a:pt x="1362" y="1644"/>
                  </a:lnTo>
                  <a:lnTo>
                    <a:pt x="1368" y="1644"/>
                  </a:lnTo>
                  <a:lnTo>
                    <a:pt x="1380" y="1650"/>
                  </a:lnTo>
                  <a:lnTo>
                    <a:pt x="1386" y="1650"/>
                  </a:lnTo>
                  <a:lnTo>
                    <a:pt x="1386" y="1656"/>
                  </a:lnTo>
                  <a:lnTo>
                    <a:pt x="1392" y="1656"/>
                  </a:lnTo>
                  <a:lnTo>
                    <a:pt x="1398" y="1662"/>
                  </a:lnTo>
                  <a:lnTo>
                    <a:pt x="1410" y="1674"/>
                  </a:lnTo>
                  <a:lnTo>
                    <a:pt x="1428" y="1680"/>
                  </a:lnTo>
                  <a:lnTo>
                    <a:pt x="1428" y="1686"/>
                  </a:lnTo>
                  <a:lnTo>
                    <a:pt x="1428" y="1698"/>
                  </a:lnTo>
                  <a:lnTo>
                    <a:pt x="1434" y="1704"/>
                  </a:lnTo>
                  <a:lnTo>
                    <a:pt x="1434" y="1710"/>
                  </a:lnTo>
                  <a:lnTo>
                    <a:pt x="1440" y="1710"/>
                  </a:lnTo>
                  <a:lnTo>
                    <a:pt x="1446" y="1710"/>
                  </a:lnTo>
                  <a:lnTo>
                    <a:pt x="1446" y="1716"/>
                  </a:lnTo>
                  <a:lnTo>
                    <a:pt x="1440" y="1722"/>
                  </a:lnTo>
                  <a:lnTo>
                    <a:pt x="1440" y="1728"/>
                  </a:lnTo>
                  <a:lnTo>
                    <a:pt x="1440" y="1734"/>
                  </a:lnTo>
                  <a:lnTo>
                    <a:pt x="1440" y="1740"/>
                  </a:lnTo>
                  <a:lnTo>
                    <a:pt x="1440" y="1746"/>
                  </a:lnTo>
                  <a:lnTo>
                    <a:pt x="1440" y="1788"/>
                  </a:lnTo>
                  <a:lnTo>
                    <a:pt x="1440" y="1800"/>
                  </a:lnTo>
                  <a:lnTo>
                    <a:pt x="1440" y="1806"/>
                  </a:lnTo>
                  <a:lnTo>
                    <a:pt x="1440" y="1836"/>
                  </a:lnTo>
                  <a:lnTo>
                    <a:pt x="1440" y="1848"/>
                  </a:lnTo>
                  <a:lnTo>
                    <a:pt x="1446" y="1848"/>
                  </a:lnTo>
                  <a:lnTo>
                    <a:pt x="1446" y="1854"/>
                  </a:lnTo>
                  <a:lnTo>
                    <a:pt x="1452" y="1848"/>
                  </a:lnTo>
                  <a:lnTo>
                    <a:pt x="1458" y="1854"/>
                  </a:lnTo>
                  <a:lnTo>
                    <a:pt x="1452" y="1860"/>
                  </a:lnTo>
                  <a:lnTo>
                    <a:pt x="1452" y="1866"/>
                  </a:lnTo>
                  <a:lnTo>
                    <a:pt x="1458" y="1872"/>
                  </a:lnTo>
                  <a:lnTo>
                    <a:pt x="1464" y="1884"/>
                  </a:lnTo>
                  <a:lnTo>
                    <a:pt x="1428" y="1878"/>
                  </a:lnTo>
                  <a:lnTo>
                    <a:pt x="1356" y="1890"/>
                  </a:lnTo>
                  <a:lnTo>
                    <a:pt x="1296" y="1926"/>
                  </a:lnTo>
                  <a:lnTo>
                    <a:pt x="1266" y="1944"/>
                  </a:lnTo>
                  <a:lnTo>
                    <a:pt x="1224" y="1944"/>
                  </a:lnTo>
                  <a:lnTo>
                    <a:pt x="1188" y="1956"/>
                  </a:lnTo>
                  <a:lnTo>
                    <a:pt x="1188" y="1950"/>
                  </a:lnTo>
                  <a:lnTo>
                    <a:pt x="1176" y="1944"/>
                  </a:lnTo>
                  <a:lnTo>
                    <a:pt x="1176" y="1938"/>
                  </a:lnTo>
                  <a:lnTo>
                    <a:pt x="1170" y="1938"/>
                  </a:lnTo>
                  <a:lnTo>
                    <a:pt x="1164" y="1932"/>
                  </a:lnTo>
                  <a:lnTo>
                    <a:pt x="1158" y="1926"/>
                  </a:lnTo>
                  <a:lnTo>
                    <a:pt x="1158" y="1920"/>
                  </a:lnTo>
                  <a:lnTo>
                    <a:pt x="1152" y="1920"/>
                  </a:lnTo>
                  <a:lnTo>
                    <a:pt x="1146" y="1914"/>
                  </a:lnTo>
                  <a:lnTo>
                    <a:pt x="1146" y="1908"/>
                  </a:lnTo>
                  <a:lnTo>
                    <a:pt x="1140" y="1908"/>
                  </a:lnTo>
                  <a:lnTo>
                    <a:pt x="1134" y="1902"/>
                  </a:lnTo>
                  <a:lnTo>
                    <a:pt x="1134" y="1896"/>
                  </a:lnTo>
                  <a:lnTo>
                    <a:pt x="1116" y="1896"/>
                  </a:lnTo>
                  <a:lnTo>
                    <a:pt x="1104" y="1884"/>
                  </a:lnTo>
                  <a:lnTo>
                    <a:pt x="1092" y="1860"/>
                  </a:lnTo>
                  <a:lnTo>
                    <a:pt x="1068" y="1854"/>
                  </a:lnTo>
                  <a:lnTo>
                    <a:pt x="1032" y="1842"/>
                  </a:lnTo>
                  <a:lnTo>
                    <a:pt x="1008" y="1836"/>
                  </a:lnTo>
                  <a:lnTo>
                    <a:pt x="978" y="1824"/>
                  </a:lnTo>
                  <a:lnTo>
                    <a:pt x="942" y="1818"/>
                  </a:lnTo>
                  <a:lnTo>
                    <a:pt x="924" y="1806"/>
                  </a:lnTo>
                  <a:lnTo>
                    <a:pt x="906" y="1788"/>
                  </a:lnTo>
                  <a:lnTo>
                    <a:pt x="894" y="1776"/>
                  </a:lnTo>
                  <a:lnTo>
                    <a:pt x="864" y="1758"/>
                  </a:lnTo>
                  <a:lnTo>
                    <a:pt x="834" y="1752"/>
                  </a:lnTo>
                  <a:lnTo>
                    <a:pt x="798" y="1746"/>
                  </a:lnTo>
                  <a:lnTo>
                    <a:pt x="792" y="1806"/>
                  </a:lnTo>
                  <a:lnTo>
                    <a:pt x="798" y="1812"/>
                  </a:lnTo>
                  <a:lnTo>
                    <a:pt x="810" y="1830"/>
                  </a:lnTo>
                  <a:lnTo>
                    <a:pt x="792" y="1842"/>
                  </a:lnTo>
                  <a:lnTo>
                    <a:pt x="768" y="1842"/>
                  </a:lnTo>
                  <a:lnTo>
                    <a:pt x="708" y="1848"/>
                  </a:lnTo>
                  <a:lnTo>
                    <a:pt x="690" y="1860"/>
                  </a:lnTo>
                  <a:lnTo>
                    <a:pt x="690" y="1866"/>
                  </a:lnTo>
                  <a:lnTo>
                    <a:pt x="678" y="1878"/>
                  </a:lnTo>
                  <a:lnTo>
                    <a:pt x="660" y="1884"/>
                  </a:lnTo>
                  <a:lnTo>
                    <a:pt x="660" y="1902"/>
                  </a:lnTo>
                  <a:lnTo>
                    <a:pt x="642" y="1902"/>
                  </a:lnTo>
                  <a:lnTo>
                    <a:pt x="582" y="1914"/>
                  </a:lnTo>
                  <a:lnTo>
                    <a:pt x="534" y="1908"/>
                  </a:lnTo>
                  <a:lnTo>
                    <a:pt x="510" y="1908"/>
                  </a:lnTo>
                  <a:lnTo>
                    <a:pt x="510" y="1896"/>
                  </a:lnTo>
                  <a:lnTo>
                    <a:pt x="492" y="1896"/>
                  </a:lnTo>
                  <a:lnTo>
                    <a:pt x="486" y="1902"/>
                  </a:lnTo>
                  <a:lnTo>
                    <a:pt x="474" y="1908"/>
                  </a:lnTo>
                  <a:lnTo>
                    <a:pt x="450" y="1908"/>
                  </a:lnTo>
                  <a:lnTo>
                    <a:pt x="432" y="1902"/>
                  </a:lnTo>
                  <a:lnTo>
                    <a:pt x="426" y="1896"/>
                  </a:lnTo>
                  <a:lnTo>
                    <a:pt x="402" y="1884"/>
                  </a:lnTo>
                  <a:lnTo>
                    <a:pt x="390" y="1872"/>
                  </a:lnTo>
                  <a:lnTo>
                    <a:pt x="384" y="1872"/>
                  </a:lnTo>
                  <a:lnTo>
                    <a:pt x="378" y="1872"/>
                  </a:lnTo>
                  <a:lnTo>
                    <a:pt x="378" y="1866"/>
                  </a:lnTo>
                  <a:lnTo>
                    <a:pt x="372" y="1860"/>
                  </a:lnTo>
                  <a:lnTo>
                    <a:pt x="372" y="1854"/>
                  </a:lnTo>
                  <a:lnTo>
                    <a:pt x="366" y="1842"/>
                  </a:lnTo>
                  <a:lnTo>
                    <a:pt x="366" y="1836"/>
                  </a:lnTo>
                  <a:lnTo>
                    <a:pt x="348" y="1830"/>
                  </a:lnTo>
                  <a:lnTo>
                    <a:pt x="348" y="1806"/>
                  </a:lnTo>
                  <a:lnTo>
                    <a:pt x="348" y="1800"/>
                  </a:lnTo>
                  <a:lnTo>
                    <a:pt x="348" y="1782"/>
                  </a:lnTo>
                  <a:lnTo>
                    <a:pt x="336" y="1788"/>
                  </a:lnTo>
                  <a:lnTo>
                    <a:pt x="312" y="1794"/>
                  </a:lnTo>
                  <a:lnTo>
                    <a:pt x="288" y="1788"/>
                  </a:lnTo>
                  <a:lnTo>
                    <a:pt x="264" y="1758"/>
                  </a:lnTo>
                  <a:lnTo>
                    <a:pt x="270" y="1758"/>
                  </a:lnTo>
                  <a:lnTo>
                    <a:pt x="270" y="1752"/>
                  </a:lnTo>
                  <a:lnTo>
                    <a:pt x="276" y="1752"/>
                  </a:lnTo>
                  <a:lnTo>
                    <a:pt x="282" y="1746"/>
                  </a:lnTo>
                  <a:lnTo>
                    <a:pt x="300" y="1746"/>
                  </a:lnTo>
                  <a:lnTo>
                    <a:pt x="312" y="1746"/>
                  </a:lnTo>
                  <a:lnTo>
                    <a:pt x="336" y="1710"/>
                  </a:lnTo>
                  <a:lnTo>
                    <a:pt x="342" y="1692"/>
                  </a:lnTo>
                  <a:lnTo>
                    <a:pt x="348" y="1680"/>
                  </a:lnTo>
                  <a:lnTo>
                    <a:pt x="342" y="1650"/>
                  </a:lnTo>
                  <a:lnTo>
                    <a:pt x="354" y="1644"/>
                  </a:lnTo>
                  <a:lnTo>
                    <a:pt x="354" y="1638"/>
                  </a:lnTo>
                  <a:lnTo>
                    <a:pt x="360" y="1632"/>
                  </a:lnTo>
                  <a:lnTo>
                    <a:pt x="354" y="1626"/>
                  </a:lnTo>
                  <a:lnTo>
                    <a:pt x="348" y="1626"/>
                  </a:lnTo>
                  <a:lnTo>
                    <a:pt x="348" y="1620"/>
                  </a:lnTo>
                  <a:lnTo>
                    <a:pt x="342" y="1620"/>
                  </a:lnTo>
                  <a:lnTo>
                    <a:pt x="348" y="1614"/>
                  </a:lnTo>
                  <a:lnTo>
                    <a:pt x="324" y="1566"/>
                  </a:lnTo>
                  <a:lnTo>
                    <a:pt x="318" y="1566"/>
                  </a:lnTo>
                  <a:lnTo>
                    <a:pt x="306" y="1572"/>
                  </a:lnTo>
                  <a:lnTo>
                    <a:pt x="300" y="1572"/>
                  </a:lnTo>
                  <a:lnTo>
                    <a:pt x="294" y="1578"/>
                  </a:lnTo>
                  <a:lnTo>
                    <a:pt x="288" y="1584"/>
                  </a:lnTo>
                  <a:lnTo>
                    <a:pt x="282" y="1584"/>
                  </a:lnTo>
                  <a:lnTo>
                    <a:pt x="282" y="1578"/>
                  </a:lnTo>
                  <a:lnTo>
                    <a:pt x="276" y="1578"/>
                  </a:lnTo>
                  <a:lnTo>
                    <a:pt x="270" y="1578"/>
                  </a:lnTo>
                  <a:lnTo>
                    <a:pt x="264" y="1578"/>
                  </a:lnTo>
                  <a:lnTo>
                    <a:pt x="258" y="1578"/>
                  </a:lnTo>
                  <a:lnTo>
                    <a:pt x="252" y="1578"/>
                  </a:lnTo>
                  <a:lnTo>
                    <a:pt x="252" y="1584"/>
                  </a:lnTo>
                  <a:lnTo>
                    <a:pt x="246" y="1584"/>
                  </a:lnTo>
                  <a:lnTo>
                    <a:pt x="210" y="1584"/>
                  </a:lnTo>
                  <a:lnTo>
                    <a:pt x="204" y="1584"/>
                  </a:lnTo>
                  <a:lnTo>
                    <a:pt x="192" y="1584"/>
                  </a:lnTo>
                  <a:lnTo>
                    <a:pt x="168" y="1596"/>
                  </a:lnTo>
                  <a:lnTo>
                    <a:pt x="156" y="1572"/>
                  </a:lnTo>
                  <a:lnTo>
                    <a:pt x="156" y="1566"/>
                  </a:lnTo>
                  <a:lnTo>
                    <a:pt x="156" y="1560"/>
                  </a:lnTo>
                  <a:lnTo>
                    <a:pt x="162" y="1548"/>
                  </a:lnTo>
                  <a:lnTo>
                    <a:pt x="162" y="1542"/>
                  </a:lnTo>
                  <a:lnTo>
                    <a:pt x="162" y="1536"/>
                  </a:lnTo>
                  <a:lnTo>
                    <a:pt x="168" y="1530"/>
                  </a:lnTo>
                  <a:lnTo>
                    <a:pt x="168" y="1524"/>
                  </a:lnTo>
                  <a:lnTo>
                    <a:pt x="168" y="1518"/>
                  </a:lnTo>
                  <a:lnTo>
                    <a:pt x="174" y="1518"/>
                  </a:lnTo>
                  <a:lnTo>
                    <a:pt x="174" y="1506"/>
                  </a:lnTo>
                  <a:lnTo>
                    <a:pt x="156" y="1470"/>
                  </a:lnTo>
                  <a:lnTo>
                    <a:pt x="138" y="1464"/>
                  </a:lnTo>
                  <a:lnTo>
                    <a:pt x="126" y="1446"/>
                  </a:lnTo>
                  <a:lnTo>
                    <a:pt x="126" y="1440"/>
                  </a:lnTo>
                  <a:lnTo>
                    <a:pt x="126" y="1434"/>
                  </a:lnTo>
                  <a:lnTo>
                    <a:pt x="120" y="1428"/>
                  </a:lnTo>
                  <a:lnTo>
                    <a:pt x="126" y="1398"/>
                  </a:lnTo>
                  <a:lnTo>
                    <a:pt x="120" y="1374"/>
                  </a:lnTo>
                  <a:lnTo>
                    <a:pt x="60" y="1374"/>
                  </a:lnTo>
                  <a:lnTo>
                    <a:pt x="60" y="1368"/>
                  </a:lnTo>
                  <a:lnTo>
                    <a:pt x="54" y="1362"/>
                  </a:lnTo>
                  <a:lnTo>
                    <a:pt x="48" y="1356"/>
                  </a:lnTo>
                  <a:lnTo>
                    <a:pt x="42" y="1356"/>
                  </a:lnTo>
                  <a:lnTo>
                    <a:pt x="42" y="1350"/>
                  </a:lnTo>
                  <a:lnTo>
                    <a:pt x="36" y="1344"/>
                  </a:lnTo>
                  <a:lnTo>
                    <a:pt x="36" y="1338"/>
                  </a:lnTo>
                  <a:lnTo>
                    <a:pt x="30" y="1332"/>
                  </a:lnTo>
                  <a:lnTo>
                    <a:pt x="30" y="1326"/>
                  </a:lnTo>
                  <a:lnTo>
                    <a:pt x="18" y="1326"/>
                  </a:lnTo>
                  <a:lnTo>
                    <a:pt x="18" y="1320"/>
                  </a:lnTo>
                  <a:lnTo>
                    <a:pt x="18" y="1326"/>
                  </a:lnTo>
                  <a:lnTo>
                    <a:pt x="6" y="1320"/>
                  </a:lnTo>
                  <a:lnTo>
                    <a:pt x="0" y="1314"/>
                  </a:lnTo>
                  <a:lnTo>
                    <a:pt x="12" y="1266"/>
                  </a:lnTo>
                  <a:lnTo>
                    <a:pt x="6" y="1242"/>
                  </a:lnTo>
                  <a:lnTo>
                    <a:pt x="12" y="1236"/>
                  </a:lnTo>
                  <a:lnTo>
                    <a:pt x="12" y="1230"/>
                  </a:lnTo>
                  <a:lnTo>
                    <a:pt x="18" y="1230"/>
                  </a:lnTo>
                  <a:lnTo>
                    <a:pt x="18" y="1224"/>
                  </a:lnTo>
                  <a:lnTo>
                    <a:pt x="24" y="1218"/>
                  </a:lnTo>
                  <a:lnTo>
                    <a:pt x="24" y="1212"/>
                  </a:lnTo>
                  <a:lnTo>
                    <a:pt x="30" y="1212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48" y="1188"/>
                  </a:lnTo>
                  <a:lnTo>
                    <a:pt x="48" y="1182"/>
                  </a:lnTo>
                  <a:lnTo>
                    <a:pt x="48" y="1176"/>
                  </a:lnTo>
                  <a:lnTo>
                    <a:pt x="48" y="1170"/>
                  </a:lnTo>
                  <a:lnTo>
                    <a:pt x="54" y="1170"/>
                  </a:lnTo>
                  <a:lnTo>
                    <a:pt x="60" y="1164"/>
                  </a:lnTo>
                  <a:lnTo>
                    <a:pt x="60" y="1158"/>
                  </a:lnTo>
                  <a:lnTo>
                    <a:pt x="66" y="1152"/>
                  </a:lnTo>
                  <a:lnTo>
                    <a:pt x="60" y="1140"/>
                  </a:lnTo>
                  <a:lnTo>
                    <a:pt x="60" y="1134"/>
                  </a:lnTo>
                  <a:lnTo>
                    <a:pt x="54" y="1134"/>
                  </a:lnTo>
                  <a:lnTo>
                    <a:pt x="54" y="1128"/>
                  </a:lnTo>
                  <a:lnTo>
                    <a:pt x="48" y="1122"/>
                  </a:lnTo>
                  <a:lnTo>
                    <a:pt x="48" y="1116"/>
                  </a:lnTo>
                  <a:lnTo>
                    <a:pt x="48" y="1110"/>
                  </a:lnTo>
                  <a:lnTo>
                    <a:pt x="42" y="1104"/>
                  </a:lnTo>
                  <a:lnTo>
                    <a:pt x="42" y="1098"/>
                  </a:lnTo>
                  <a:lnTo>
                    <a:pt x="36" y="1092"/>
                  </a:lnTo>
                  <a:lnTo>
                    <a:pt x="30" y="1092"/>
                  </a:lnTo>
                  <a:lnTo>
                    <a:pt x="24" y="1092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18" y="1080"/>
                  </a:lnTo>
                  <a:lnTo>
                    <a:pt x="18" y="1074"/>
                  </a:lnTo>
                  <a:lnTo>
                    <a:pt x="12" y="1068"/>
                  </a:lnTo>
                  <a:lnTo>
                    <a:pt x="6" y="1068"/>
                  </a:lnTo>
                  <a:lnTo>
                    <a:pt x="12" y="1056"/>
                  </a:lnTo>
                  <a:lnTo>
                    <a:pt x="6" y="1056"/>
                  </a:lnTo>
                  <a:lnTo>
                    <a:pt x="6" y="1050"/>
                  </a:lnTo>
                  <a:lnTo>
                    <a:pt x="6" y="1044"/>
                  </a:lnTo>
                  <a:lnTo>
                    <a:pt x="6" y="1026"/>
                  </a:lnTo>
                  <a:lnTo>
                    <a:pt x="12" y="1020"/>
                  </a:lnTo>
                  <a:lnTo>
                    <a:pt x="12" y="1014"/>
                  </a:lnTo>
                  <a:lnTo>
                    <a:pt x="18" y="1014"/>
                  </a:lnTo>
                  <a:lnTo>
                    <a:pt x="18" y="1008"/>
                  </a:lnTo>
                  <a:lnTo>
                    <a:pt x="18" y="1002"/>
                  </a:lnTo>
                  <a:lnTo>
                    <a:pt x="18" y="990"/>
                  </a:lnTo>
                  <a:lnTo>
                    <a:pt x="12" y="972"/>
                  </a:lnTo>
                  <a:lnTo>
                    <a:pt x="18" y="954"/>
                  </a:lnTo>
                  <a:lnTo>
                    <a:pt x="18" y="948"/>
                  </a:lnTo>
                  <a:lnTo>
                    <a:pt x="24" y="948"/>
                  </a:lnTo>
                  <a:lnTo>
                    <a:pt x="24" y="930"/>
                  </a:lnTo>
                  <a:lnTo>
                    <a:pt x="30" y="930"/>
                  </a:lnTo>
                  <a:lnTo>
                    <a:pt x="36" y="918"/>
                  </a:lnTo>
                  <a:lnTo>
                    <a:pt x="42" y="918"/>
                  </a:lnTo>
                  <a:lnTo>
                    <a:pt x="48" y="918"/>
                  </a:lnTo>
                  <a:lnTo>
                    <a:pt x="78" y="912"/>
                  </a:lnTo>
                  <a:lnTo>
                    <a:pt x="90" y="894"/>
                  </a:lnTo>
                  <a:lnTo>
                    <a:pt x="96" y="894"/>
                  </a:lnTo>
                  <a:lnTo>
                    <a:pt x="102" y="888"/>
                  </a:lnTo>
                  <a:lnTo>
                    <a:pt x="102" y="882"/>
                  </a:lnTo>
                  <a:lnTo>
                    <a:pt x="114" y="870"/>
                  </a:lnTo>
                  <a:lnTo>
                    <a:pt x="120" y="864"/>
                  </a:lnTo>
                  <a:lnTo>
                    <a:pt x="120" y="852"/>
                  </a:lnTo>
                  <a:lnTo>
                    <a:pt x="120" y="846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32" y="840"/>
                  </a:lnTo>
                  <a:lnTo>
                    <a:pt x="138" y="840"/>
                  </a:lnTo>
                  <a:lnTo>
                    <a:pt x="138" y="834"/>
                  </a:lnTo>
                  <a:lnTo>
                    <a:pt x="144" y="834"/>
                  </a:lnTo>
                  <a:lnTo>
                    <a:pt x="144" y="828"/>
                  </a:lnTo>
                  <a:lnTo>
                    <a:pt x="150" y="828"/>
                  </a:lnTo>
                  <a:lnTo>
                    <a:pt x="156" y="822"/>
                  </a:lnTo>
                  <a:lnTo>
                    <a:pt x="162" y="816"/>
                  </a:lnTo>
                  <a:lnTo>
                    <a:pt x="162" y="822"/>
                  </a:lnTo>
                  <a:lnTo>
                    <a:pt x="162" y="816"/>
                  </a:lnTo>
                  <a:lnTo>
                    <a:pt x="162" y="810"/>
                  </a:lnTo>
                  <a:lnTo>
                    <a:pt x="168" y="810"/>
                  </a:lnTo>
                  <a:lnTo>
                    <a:pt x="174" y="804"/>
                  </a:lnTo>
                  <a:lnTo>
                    <a:pt x="180" y="798"/>
                  </a:lnTo>
                  <a:lnTo>
                    <a:pt x="180" y="786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8" y="780"/>
                  </a:lnTo>
                  <a:lnTo>
                    <a:pt x="204" y="774"/>
                  </a:lnTo>
                  <a:lnTo>
                    <a:pt x="210" y="774"/>
                  </a:lnTo>
                  <a:lnTo>
                    <a:pt x="216" y="768"/>
                  </a:lnTo>
                  <a:lnTo>
                    <a:pt x="222" y="762"/>
                  </a:lnTo>
                  <a:lnTo>
                    <a:pt x="228" y="762"/>
                  </a:lnTo>
                  <a:lnTo>
                    <a:pt x="228" y="768"/>
                  </a:lnTo>
                  <a:lnTo>
                    <a:pt x="234" y="768"/>
                  </a:lnTo>
                  <a:lnTo>
                    <a:pt x="240" y="762"/>
                  </a:lnTo>
                  <a:lnTo>
                    <a:pt x="252" y="762"/>
                  </a:lnTo>
                  <a:lnTo>
                    <a:pt x="264" y="768"/>
                  </a:lnTo>
                  <a:lnTo>
                    <a:pt x="294" y="756"/>
                  </a:lnTo>
                  <a:lnTo>
                    <a:pt x="294" y="750"/>
                  </a:lnTo>
                  <a:lnTo>
                    <a:pt x="300" y="750"/>
                  </a:lnTo>
                  <a:lnTo>
                    <a:pt x="306" y="744"/>
                  </a:lnTo>
                  <a:lnTo>
                    <a:pt x="342" y="750"/>
                  </a:lnTo>
                  <a:lnTo>
                    <a:pt x="348" y="750"/>
                  </a:lnTo>
                  <a:lnTo>
                    <a:pt x="348" y="744"/>
                  </a:lnTo>
                  <a:lnTo>
                    <a:pt x="354" y="744"/>
                  </a:lnTo>
                  <a:lnTo>
                    <a:pt x="360" y="744"/>
                  </a:lnTo>
                  <a:lnTo>
                    <a:pt x="360" y="750"/>
                  </a:lnTo>
                  <a:lnTo>
                    <a:pt x="366" y="750"/>
                  </a:lnTo>
                  <a:lnTo>
                    <a:pt x="366" y="744"/>
                  </a:lnTo>
                  <a:lnTo>
                    <a:pt x="366" y="738"/>
                  </a:lnTo>
                  <a:lnTo>
                    <a:pt x="372" y="744"/>
                  </a:lnTo>
                  <a:lnTo>
                    <a:pt x="378" y="744"/>
                  </a:lnTo>
                  <a:lnTo>
                    <a:pt x="384" y="750"/>
                  </a:lnTo>
                  <a:lnTo>
                    <a:pt x="444" y="774"/>
                  </a:lnTo>
                  <a:lnTo>
                    <a:pt x="450" y="774"/>
                  </a:lnTo>
                  <a:lnTo>
                    <a:pt x="456" y="768"/>
                  </a:lnTo>
                  <a:lnTo>
                    <a:pt x="462" y="768"/>
                  </a:lnTo>
                  <a:lnTo>
                    <a:pt x="462" y="762"/>
                  </a:lnTo>
                  <a:lnTo>
                    <a:pt x="468" y="762"/>
                  </a:lnTo>
                  <a:lnTo>
                    <a:pt x="474" y="756"/>
                  </a:lnTo>
                  <a:lnTo>
                    <a:pt x="480" y="750"/>
                  </a:lnTo>
                  <a:lnTo>
                    <a:pt x="516" y="756"/>
                  </a:lnTo>
                  <a:lnTo>
                    <a:pt x="522" y="756"/>
                  </a:lnTo>
                  <a:lnTo>
                    <a:pt x="522" y="762"/>
                  </a:lnTo>
                  <a:lnTo>
                    <a:pt x="522" y="768"/>
                  </a:lnTo>
                  <a:lnTo>
                    <a:pt x="522" y="774"/>
                  </a:lnTo>
                  <a:lnTo>
                    <a:pt x="528" y="780"/>
                  </a:lnTo>
                  <a:lnTo>
                    <a:pt x="540" y="780"/>
                  </a:lnTo>
                  <a:lnTo>
                    <a:pt x="540" y="804"/>
                  </a:lnTo>
                  <a:lnTo>
                    <a:pt x="540" y="810"/>
                  </a:lnTo>
                  <a:lnTo>
                    <a:pt x="546" y="810"/>
                  </a:lnTo>
                  <a:lnTo>
                    <a:pt x="552" y="810"/>
                  </a:lnTo>
                  <a:lnTo>
                    <a:pt x="558" y="810"/>
                  </a:lnTo>
                  <a:lnTo>
                    <a:pt x="564" y="810"/>
                  </a:lnTo>
                  <a:lnTo>
                    <a:pt x="570" y="810"/>
                  </a:lnTo>
                  <a:lnTo>
                    <a:pt x="576" y="810"/>
                  </a:lnTo>
                  <a:lnTo>
                    <a:pt x="576" y="816"/>
                  </a:lnTo>
                  <a:lnTo>
                    <a:pt x="588" y="816"/>
                  </a:lnTo>
                  <a:lnTo>
                    <a:pt x="594" y="816"/>
                  </a:lnTo>
                  <a:lnTo>
                    <a:pt x="600" y="822"/>
                  </a:lnTo>
                  <a:lnTo>
                    <a:pt x="606" y="816"/>
                  </a:lnTo>
                  <a:lnTo>
                    <a:pt x="612" y="816"/>
                  </a:lnTo>
                  <a:lnTo>
                    <a:pt x="612" y="810"/>
                  </a:lnTo>
                  <a:lnTo>
                    <a:pt x="624" y="810"/>
                  </a:lnTo>
                  <a:lnTo>
                    <a:pt x="624" y="804"/>
                  </a:lnTo>
                  <a:lnTo>
                    <a:pt x="630" y="798"/>
                  </a:lnTo>
                  <a:lnTo>
                    <a:pt x="636" y="798"/>
                  </a:lnTo>
                  <a:lnTo>
                    <a:pt x="636" y="804"/>
                  </a:lnTo>
                  <a:lnTo>
                    <a:pt x="642" y="804"/>
                  </a:lnTo>
                  <a:lnTo>
                    <a:pt x="648" y="804"/>
                  </a:lnTo>
                  <a:lnTo>
                    <a:pt x="654" y="804"/>
                  </a:lnTo>
                  <a:lnTo>
                    <a:pt x="660" y="804"/>
                  </a:lnTo>
                  <a:lnTo>
                    <a:pt x="678" y="798"/>
                  </a:lnTo>
                  <a:lnTo>
                    <a:pt x="714" y="786"/>
                  </a:lnTo>
                  <a:lnTo>
                    <a:pt x="714" y="792"/>
                  </a:lnTo>
                  <a:lnTo>
                    <a:pt x="714" y="798"/>
                  </a:lnTo>
                  <a:lnTo>
                    <a:pt x="714" y="804"/>
                  </a:lnTo>
                  <a:lnTo>
                    <a:pt x="720" y="804"/>
                  </a:lnTo>
                  <a:lnTo>
                    <a:pt x="720" y="810"/>
                  </a:lnTo>
                  <a:lnTo>
                    <a:pt x="720" y="816"/>
                  </a:lnTo>
                  <a:lnTo>
                    <a:pt x="726" y="822"/>
                  </a:lnTo>
                  <a:lnTo>
                    <a:pt x="732" y="828"/>
                  </a:lnTo>
                  <a:lnTo>
                    <a:pt x="732" y="834"/>
                  </a:lnTo>
                  <a:lnTo>
                    <a:pt x="732" y="846"/>
                  </a:lnTo>
                  <a:lnTo>
                    <a:pt x="732" y="858"/>
                  </a:lnTo>
                  <a:lnTo>
                    <a:pt x="738" y="858"/>
                  </a:lnTo>
                  <a:lnTo>
                    <a:pt x="732" y="864"/>
                  </a:lnTo>
                  <a:lnTo>
                    <a:pt x="732" y="870"/>
                  </a:lnTo>
                  <a:lnTo>
                    <a:pt x="726" y="870"/>
                  </a:lnTo>
                  <a:lnTo>
                    <a:pt x="726" y="876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0" y="882"/>
                  </a:lnTo>
                  <a:lnTo>
                    <a:pt x="690" y="912"/>
                  </a:lnTo>
                  <a:lnTo>
                    <a:pt x="696" y="936"/>
                  </a:lnTo>
                  <a:lnTo>
                    <a:pt x="702" y="936"/>
                  </a:lnTo>
                  <a:lnTo>
                    <a:pt x="702" y="930"/>
                  </a:lnTo>
                  <a:lnTo>
                    <a:pt x="708" y="930"/>
                  </a:lnTo>
                  <a:lnTo>
                    <a:pt x="708" y="924"/>
                  </a:lnTo>
                  <a:lnTo>
                    <a:pt x="708" y="918"/>
                  </a:lnTo>
                  <a:lnTo>
                    <a:pt x="714" y="918"/>
                  </a:lnTo>
                  <a:lnTo>
                    <a:pt x="720" y="954"/>
                  </a:lnTo>
                  <a:lnTo>
                    <a:pt x="726" y="966"/>
                  </a:lnTo>
                  <a:lnTo>
                    <a:pt x="744" y="966"/>
                  </a:lnTo>
                  <a:lnTo>
                    <a:pt x="756" y="972"/>
                  </a:lnTo>
                  <a:lnTo>
                    <a:pt x="792" y="990"/>
                  </a:lnTo>
                  <a:lnTo>
                    <a:pt x="828" y="978"/>
                  </a:lnTo>
                  <a:lnTo>
                    <a:pt x="834" y="978"/>
                  </a:lnTo>
                  <a:lnTo>
                    <a:pt x="840" y="978"/>
                  </a:lnTo>
                  <a:lnTo>
                    <a:pt x="840" y="984"/>
                  </a:lnTo>
                  <a:lnTo>
                    <a:pt x="846" y="984"/>
                  </a:lnTo>
                  <a:lnTo>
                    <a:pt x="858" y="972"/>
                  </a:lnTo>
                  <a:lnTo>
                    <a:pt x="882" y="972"/>
                  </a:lnTo>
                  <a:lnTo>
                    <a:pt x="888" y="984"/>
                  </a:lnTo>
                  <a:lnTo>
                    <a:pt x="900" y="990"/>
                  </a:lnTo>
                  <a:lnTo>
                    <a:pt x="924" y="996"/>
                  </a:lnTo>
                  <a:lnTo>
                    <a:pt x="930" y="990"/>
                  </a:lnTo>
                  <a:lnTo>
                    <a:pt x="930" y="984"/>
                  </a:lnTo>
                  <a:lnTo>
                    <a:pt x="924" y="978"/>
                  </a:lnTo>
                  <a:lnTo>
                    <a:pt x="906" y="972"/>
                  </a:lnTo>
                  <a:lnTo>
                    <a:pt x="900" y="966"/>
                  </a:lnTo>
                  <a:lnTo>
                    <a:pt x="900" y="960"/>
                  </a:lnTo>
                  <a:lnTo>
                    <a:pt x="900" y="954"/>
                  </a:lnTo>
                  <a:lnTo>
                    <a:pt x="900" y="948"/>
                  </a:lnTo>
                  <a:lnTo>
                    <a:pt x="912" y="936"/>
                  </a:lnTo>
                  <a:lnTo>
                    <a:pt x="912" y="924"/>
                  </a:lnTo>
                  <a:lnTo>
                    <a:pt x="918" y="924"/>
                  </a:lnTo>
                  <a:lnTo>
                    <a:pt x="918" y="918"/>
                  </a:lnTo>
                  <a:lnTo>
                    <a:pt x="936" y="906"/>
                  </a:lnTo>
                  <a:lnTo>
                    <a:pt x="942" y="906"/>
                  </a:lnTo>
                  <a:lnTo>
                    <a:pt x="948" y="906"/>
                  </a:lnTo>
                  <a:lnTo>
                    <a:pt x="954" y="906"/>
                  </a:lnTo>
                  <a:lnTo>
                    <a:pt x="960" y="906"/>
                  </a:lnTo>
                  <a:lnTo>
                    <a:pt x="966" y="912"/>
                  </a:lnTo>
                  <a:lnTo>
                    <a:pt x="972" y="906"/>
                  </a:lnTo>
                  <a:lnTo>
                    <a:pt x="978" y="906"/>
                  </a:lnTo>
                  <a:lnTo>
                    <a:pt x="984" y="900"/>
                  </a:lnTo>
                  <a:lnTo>
                    <a:pt x="984" y="894"/>
                  </a:lnTo>
                  <a:lnTo>
                    <a:pt x="990" y="894"/>
                  </a:lnTo>
                  <a:lnTo>
                    <a:pt x="996" y="888"/>
                  </a:lnTo>
                  <a:lnTo>
                    <a:pt x="1002" y="888"/>
                  </a:lnTo>
                  <a:lnTo>
                    <a:pt x="1008" y="882"/>
                  </a:lnTo>
                  <a:lnTo>
                    <a:pt x="1014" y="882"/>
                  </a:lnTo>
                  <a:lnTo>
                    <a:pt x="1020" y="882"/>
                  </a:lnTo>
                  <a:lnTo>
                    <a:pt x="1020" y="888"/>
                  </a:lnTo>
                  <a:lnTo>
                    <a:pt x="1026" y="882"/>
                  </a:lnTo>
                  <a:lnTo>
                    <a:pt x="1026" y="876"/>
                  </a:lnTo>
                  <a:lnTo>
                    <a:pt x="1026" y="870"/>
                  </a:lnTo>
                  <a:lnTo>
                    <a:pt x="1032" y="864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44" y="852"/>
                  </a:lnTo>
                  <a:lnTo>
                    <a:pt x="1038" y="846"/>
                  </a:lnTo>
                  <a:lnTo>
                    <a:pt x="1038" y="840"/>
                  </a:lnTo>
                  <a:lnTo>
                    <a:pt x="1032" y="840"/>
                  </a:lnTo>
                  <a:lnTo>
                    <a:pt x="1026" y="840"/>
                  </a:lnTo>
                  <a:lnTo>
                    <a:pt x="1020" y="840"/>
                  </a:lnTo>
                  <a:lnTo>
                    <a:pt x="1014" y="846"/>
                  </a:lnTo>
                  <a:lnTo>
                    <a:pt x="1008" y="846"/>
                  </a:lnTo>
                  <a:lnTo>
                    <a:pt x="1002" y="840"/>
                  </a:lnTo>
                  <a:lnTo>
                    <a:pt x="996" y="840"/>
                  </a:lnTo>
                  <a:lnTo>
                    <a:pt x="990" y="834"/>
                  </a:lnTo>
                  <a:lnTo>
                    <a:pt x="984" y="834"/>
                  </a:lnTo>
                  <a:lnTo>
                    <a:pt x="978" y="834"/>
                  </a:lnTo>
                  <a:lnTo>
                    <a:pt x="972" y="834"/>
                  </a:lnTo>
                  <a:lnTo>
                    <a:pt x="966" y="834"/>
                  </a:lnTo>
                  <a:lnTo>
                    <a:pt x="966" y="828"/>
                  </a:lnTo>
                  <a:lnTo>
                    <a:pt x="960" y="828"/>
                  </a:lnTo>
                  <a:lnTo>
                    <a:pt x="954" y="828"/>
                  </a:lnTo>
                  <a:lnTo>
                    <a:pt x="942" y="828"/>
                  </a:lnTo>
                  <a:lnTo>
                    <a:pt x="936" y="828"/>
                  </a:lnTo>
                  <a:lnTo>
                    <a:pt x="930" y="828"/>
                  </a:lnTo>
                  <a:lnTo>
                    <a:pt x="918" y="828"/>
                  </a:lnTo>
                  <a:lnTo>
                    <a:pt x="918" y="822"/>
                  </a:lnTo>
                  <a:lnTo>
                    <a:pt x="912" y="828"/>
                  </a:lnTo>
                  <a:lnTo>
                    <a:pt x="912" y="822"/>
                  </a:lnTo>
                  <a:lnTo>
                    <a:pt x="906" y="816"/>
                  </a:lnTo>
                  <a:lnTo>
                    <a:pt x="900" y="816"/>
                  </a:lnTo>
                  <a:lnTo>
                    <a:pt x="894" y="816"/>
                  </a:lnTo>
                  <a:lnTo>
                    <a:pt x="888" y="816"/>
                  </a:lnTo>
                  <a:lnTo>
                    <a:pt x="882" y="816"/>
                  </a:lnTo>
                  <a:lnTo>
                    <a:pt x="882" y="810"/>
                  </a:lnTo>
                  <a:lnTo>
                    <a:pt x="876" y="804"/>
                  </a:lnTo>
                  <a:lnTo>
                    <a:pt x="870" y="804"/>
                  </a:lnTo>
                  <a:lnTo>
                    <a:pt x="864" y="798"/>
                  </a:lnTo>
                  <a:lnTo>
                    <a:pt x="858" y="798"/>
                  </a:lnTo>
                  <a:lnTo>
                    <a:pt x="858" y="804"/>
                  </a:lnTo>
                  <a:lnTo>
                    <a:pt x="852" y="804"/>
                  </a:lnTo>
                  <a:lnTo>
                    <a:pt x="846" y="804"/>
                  </a:lnTo>
                  <a:lnTo>
                    <a:pt x="846" y="798"/>
                  </a:lnTo>
                  <a:lnTo>
                    <a:pt x="840" y="804"/>
                  </a:lnTo>
                  <a:lnTo>
                    <a:pt x="834" y="804"/>
                  </a:lnTo>
                  <a:lnTo>
                    <a:pt x="828" y="804"/>
                  </a:lnTo>
                  <a:lnTo>
                    <a:pt x="828" y="810"/>
                  </a:lnTo>
                  <a:lnTo>
                    <a:pt x="822" y="810"/>
                  </a:lnTo>
                  <a:lnTo>
                    <a:pt x="810" y="804"/>
                  </a:lnTo>
                  <a:lnTo>
                    <a:pt x="810" y="798"/>
                  </a:lnTo>
                  <a:lnTo>
                    <a:pt x="780" y="798"/>
                  </a:lnTo>
                  <a:lnTo>
                    <a:pt x="756" y="774"/>
                  </a:lnTo>
                  <a:lnTo>
                    <a:pt x="750" y="768"/>
                  </a:lnTo>
                  <a:lnTo>
                    <a:pt x="750" y="744"/>
                  </a:lnTo>
                  <a:lnTo>
                    <a:pt x="732" y="738"/>
                  </a:lnTo>
                  <a:lnTo>
                    <a:pt x="732" y="720"/>
                  </a:lnTo>
                  <a:lnTo>
                    <a:pt x="714" y="690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6" y="666"/>
                  </a:lnTo>
                  <a:lnTo>
                    <a:pt x="690" y="666"/>
                  </a:lnTo>
                  <a:lnTo>
                    <a:pt x="678" y="672"/>
                  </a:lnTo>
                  <a:lnTo>
                    <a:pt x="678" y="654"/>
                  </a:lnTo>
                  <a:lnTo>
                    <a:pt x="684" y="630"/>
                  </a:lnTo>
                  <a:lnTo>
                    <a:pt x="690" y="618"/>
                  </a:lnTo>
                  <a:lnTo>
                    <a:pt x="696" y="612"/>
                  </a:lnTo>
                  <a:lnTo>
                    <a:pt x="696" y="588"/>
                  </a:lnTo>
                  <a:lnTo>
                    <a:pt x="690" y="576"/>
                  </a:lnTo>
                  <a:lnTo>
                    <a:pt x="696" y="552"/>
                  </a:lnTo>
                  <a:lnTo>
                    <a:pt x="684" y="522"/>
                  </a:lnTo>
                  <a:lnTo>
                    <a:pt x="672" y="504"/>
                  </a:lnTo>
                  <a:lnTo>
                    <a:pt x="654" y="504"/>
                  </a:lnTo>
                  <a:lnTo>
                    <a:pt x="642" y="504"/>
                  </a:lnTo>
                  <a:lnTo>
                    <a:pt x="624" y="510"/>
                  </a:lnTo>
                  <a:lnTo>
                    <a:pt x="612" y="516"/>
                  </a:lnTo>
                  <a:lnTo>
                    <a:pt x="594" y="516"/>
                  </a:lnTo>
                  <a:lnTo>
                    <a:pt x="588" y="516"/>
                  </a:lnTo>
                  <a:lnTo>
                    <a:pt x="588" y="522"/>
                  </a:lnTo>
                  <a:lnTo>
                    <a:pt x="582" y="516"/>
                  </a:lnTo>
                  <a:lnTo>
                    <a:pt x="588" y="510"/>
                  </a:lnTo>
                  <a:lnTo>
                    <a:pt x="582" y="510"/>
                  </a:lnTo>
                  <a:lnTo>
                    <a:pt x="582" y="504"/>
                  </a:lnTo>
                  <a:lnTo>
                    <a:pt x="576" y="498"/>
                  </a:lnTo>
                  <a:lnTo>
                    <a:pt x="570" y="498"/>
                  </a:lnTo>
                  <a:lnTo>
                    <a:pt x="570" y="492"/>
                  </a:lnTo>
                  <a:lnTo>
                    <a:pt x="564" y="492"/>
                  </a:lnTo>
                  <a:lnTo>
                    <a:pt x="570" y="486"/>
                  </a:lnTo>
                  <a:lnTo>
                    <a:pt x="564" y="486"/>
                  </a:lnTo>
                  <a:lnTo>
                    <a:pt x="564" y="480"/>
                  </a:lnTo>
                  <a:lnTo>
                    <a:pt x="564" y="474"/>
                  </a:lnTo>
                  <a:lnTo>
                    <a:pt x="558" y="468"/>
                  </a:lnTo>
                  <a:lnTo>
                    <a:pt x="564" y="468"/>
                  </a:lnTo>
                  <a:lnTo>
                    <a:pt x="564" y="462"/>
                  </a:lnTo>
                  <a:lnTo>
                    <a:pt x="570" y="462"/>
                  </a:lnTo>
                  <a:lnTo>
                    <a:pt x="570" y="456"/>
                  </a:lnTo>
                  <a:lnTo>
                    <a:pt x="570" y="450"/>
                  </a:lnTo>
                  <a:lnTo>
                    <a:pt x="576" y="450"/>
                  </a:lnTo>
                  <a:lnTo>
                    <a:pt x="576" y="444"/>
                  </a:lnTo>
                  <a:lnTo>
                    <a:pt x="582" y="438"/>
                  </a:lnTo>
                  <a:lnTo>
                    <a:pt x="588" y="438"/>
                  </a:lnTo>
                  <a:lnTo>
                    <a:pt x="588" y="444"/>
                  </a:lnTo>
                  <a:lnTo>
                    <a:pt x="594" y="438"/>
                  </a:lnTo>
                  <a:lnTo>
                    <a:pt x="594" y="432"/>
                  </a:lnTo>
                  <a:lnTo>
                    <a:pt x="600" y="432"/>
                  </a:lnTo>
                  <a:lnTo>
                    <a:pt x="600" y="426"/>
                  </a:lnTo>
                  <a:lnTo>
                    <a:pt x="600" y="420"/>
                  </a:lnTo>
                  <a:lnTo>
                    <a:pt x="606" y="420"/>
                  </a:lnTo>
                  <a:lnTo>
                    <a:pt x="600" y="420"/>
                  </a:lnTo>
                  <a:lnTo>
                    <a:pt x="600" y="414"/>
                  </a:lnTo>
                  <a:lnTo>
                    <a:pt x="606" y="408"/>
                  </a:lnTo>
                  <a:lnTo>
                    <a:pt x="612" y="408"/>
                  </a:lnTo>
                  <a:lnTo>
                    <a:pt x="612" y="414"/>
                  </a:lnTo>
                  <a:lnTo>
                    <a:pt x="618" y="414"/>
                  </a:lnTo>
                  <a:lnTo>
                    <a:pt x="624" y="414"/>
                  </a:lnTo>
                  <a:lnTo>
                    <a:pt x="630" y="414"/>
                  </a:lnTo>
                  <a:lnTo>
                    <a:pt x="636" y="414"/>
                  </a:lnTo>
                  <a:lnTo>
                    <a:pt x="642" y="408"/>
                  </a:lnTo>
                  <a:lnTo>
                    <a:pt x="648" y="408"/>
                  </a:lnTo>
                  <a:lnTo>
                    <a:pt x="660" y="408"/>
                  </a:lnTo>
                  <a:lnTo>
                    <a:pt x="666" y="402"/>
                  </a:lnTo>
                  <a:lnTo>
                    <a:pt x="672" y="402"/>
                  </a:lnTo>
                  <a:lnTo>
                    <a:pt x="684" y="396"/>
                  </a:lnTo>
                  <a:lnTo>
                    <a:pt x="690" y="396"/>
                  </a:lnTo>
                  <a:lnTo>
                    <a:pt x="696" y="396"/>
                  </a:lnTo>
                  <a:lnTo>
                    <a:pt x="702" y="396"/>
                  </a:lnTo>
                  <a:lnTo>
                    <a:pt x="708" y="396"/>
                  </a:lnTo>
                  <a:lnTo>
                    <a:pt x="714" y="390"/>
                  </a:lnTo>
                  <a:lnTo>
                    <a:pt x="714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32" y="384"/>
                  </a:lnTo>
                  <a:lnTo>
                    <a:pt x="738" y="378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56" y="372"/>
                  </a:lnTo>
                  <a:lnTo>
                    <a:pt x="762" y="366"/>
                  </a:lnTo>
                  <a:lnTo>
                    <a:pt x="768" y="366"/>
                  </a:lnTo>
                  <a:lnTo>
                    <a:pt x="774" y="366"/>
                  </a:lnTo>
                  <a:lnTo>
                    <a:pt x="774" y="360"/>
                  </a:lnTo>
                  <a:lnTo>
                    <a:pt x="780" y="366"/>
                  </a:lnTo>
                  <a:lnTo>
                    <a:pt x="786" y="366"/>
                  </a:lnTo>
                  <a:lnTo>
                    <a:pt x="786" y="360"/>
                  </a:lnTo>
                  <a:lnTo>
                    <a:pt x="792" y="354"/>
                  </a:lnTo>
                  <a:lnTo>
                    <a:pt x="786" y="354"/>
                  </a:lnTo>
                  <a:lnTo>
                    <a:pt x="792" y="348"/>
                  </a:lnTo>
                  <a:lnTo>
                    <a:pt x="798" y="348"/>
                  </a:lnTo>
                  <a:lnTo>
                    <a:pt x="804" y="348"/>
                  </a:lnTo>
                  <a:lnTo>
                    <a:pt x="810" y="342"/>
                  </a:lnTo>
                  <a:lnTo>
                    <a:pt x="816" y="342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28" y="336"/>
                  </a:lnTo>
                  <a:lnTo>
                    <a:pt x="834" y="336"/>
                  </a:lnTo>
                  <a:lnTo>
                    <a:pt x="840" y="336"/>
                  </a:lnTo>
                  <a:lnTo>
                    <a:pt x="846" y="330"/>
                  </a:lnTo>
                  <a:lnTo>
                    <a:pt x="852" y="330"/>
                  </a:lnTo>
                  <a:lnTo>
                    <a:pt x="858" y="330"/>
                  </a:lnTo>
                  <a:lnTo>
                    <a:pt x="864" y="324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0" y="312"/>
                  </a:lnTo>
                  <a:lnTo>
                    <a:pt x="876" y="312"/>
                  </a:lnTo>
                  <a:lnTo>
                    <a:pt x="882" y="312"/>
                  </a:lnTo>
                  <a:lnTo>
                    <a:pt x="882" y="318"/>
                  </a:lnTo>
                  <a:lnTo>
                    <a:pt x="888" y="312"/>
                  </a:lnTo>
                  <a:lnTo>
                    <a:pt x="894" y="306"/>
                  </a:lnTo>
                  <a:lnTo>
                    <a:pt x="900" y="306"/>
                  </a:lnTo>
                  <a:lnTo>
                    <a:pt x="906" y="306"/>
                  </a:lnTo>
                  <a:lnTo>
                    <a:pt x="912" y="300"/>
                  </a:lnTo>
                  <a:lnTo>
                    <a:pt x="906" y="294"/>
                  </a:lnTo>
                  <a:lnTo>
                    <a:pt x="912" y="276"/>
                  </a:lnTo>
                  <a:lnTo>
                    <a:pt x="912" y="252"/>
                  </a:lnTo>
                  <a:lnTo>
                    <a:pt x="906" y="234"/>
                  </a:lnTo>
                  <a:lnTo>
                    <a:pt x="912" y="228"/>
                  </a:lnTo>
                  <a:lnTo>
                    <a:pt x="912" y="216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24" y="192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36" y="186"/>
                  </a:lnTo>
                  <a:lnTo>
                    <a:pt x="930" y="180"/>
                  </a:lnTo>
                  <a:lnTo>
                    <a:pt x="930" y="174"/>
                  </a:lnTo>
                  <a:lnTo>
                    <a:pt x="936" y="156"/>
                  </a:lnTo>
                  <a:lnTo>
                    <a:pt x="930" y="156"/>
                  </a:lnTo>
                  <a:lnTo>
                    <a:pt x="924" y="150"/>
                  </a:lnTo>
                  <a:lnTo>
                    <a:pt x="942" y="78"/>
                  </a:lnTo>
                  <a:lnTo>
                    <a:pt x="948" y="78"/>
                  </a:lnTo>
                  <a:lnTo>
                    <a:pt x="954" y="66"/>
                  </a:lnTo>
                  <a:lnTo>
                    <a:pt x="954" y="72"/>
                  </a:lnTo>
                  <a:lnTo>
                    <a:pt x="954" y="66"/>
                  </a:lnTo>
                  <a:lnTo>
                    <a:pt x="960" y="66"/>
                  </a:lnTo>
                  <a:lnTo>
                    <a:pt x="966" y="66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54"/>
                  </a:lnTo>
                  <a:lnTo>
                    <a:pt x="990" y="54"/>
                  </a:lnTo>
                  <a:lnTo>
                    <a:pt x="996" y="48"/>
                  </a:lnTo>
                  <a:lnTo>
                    <a:pt x="1002" y="48"/>
                  </a:lnTo>
                  <a:lnTo>
                    <a:pt x="1032" y="48"/>
                  </a:lnTo>
                  <a:lnTo>
                    <a:pt x="1062" y="48"/>
                  </a:lnTo>
                  <a:lnTo>
                    <a:pt x="1068" y="78"/>
                  </a:lnTo>
                  <a:lnTo>
                    <a:pt x="1086" y="78"/>
                  </a:lnTo>
                  <a:lnTo>
                    <a:pt x="1092" y="66"/>
                  </a:lnTo>
                  <a:lnTo>
                    <a:pt x="1092" y="60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8" y="48"/>
                  </a:lnTo>
                  <a:lnTo>
                    <a:pt x="1104" y="48"/>
                  </a:lnTo>
                  <a:lnTo>
                    <a:pt x="1110" y="48"/>
                  </a:lnTo>
                  <a:lnTo>
                    <a:pt x="1110" y="42"/>
                  </a:lnTo>
                  <a:lnTo>
                    <a:pt x="1110" y="36"/>
                  </a:lnTo>
                  <a:lnTo>
                    <a:pt x="1116" y="36"/>
                  </a:lnTo>
                  <a:lnTo>
                    <a:pt x="1116" y="30"/>
                  </a:lnTo>
                  <a:lnTo>
                    <a:pt x="1122" y="30"/>
                  </a:lnTo>
                  <a:lnTo>
                    <a:pt x="1128" y="30"/>
                  </a:lnTo>
                  <a:lnTo>
                    <a:pt x="1134" y="30"/>
                  </a:lnTo>
                  <a:lnTo>
                    <a:pt x="1140" y="24"/>
                  </a:lnTo>
                  <a:lnTo>
                    <a:pt x="1152" y="18"/>
                  </a:lnTo>
                  <a:lnTo>
                    <a:pt x="1158" y="18"/>
                  </a:lnTo>
                  <a:lnTo>
                    <a:pt x="1152" y="12"/>
                  </a:lnTo>
                  <a:lnTo>
                    <a:pt x="1152" y="6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8"/>
                  </a:lnTo>
                  <a:lnTo>
                    <a:pt x="1170" y="12"/>
                  </a:lnTo>
                  <a:lnTo>
                    <a:pt x="1170" y="6"/>
                  </a:lnTo>
                  <a:lnTo>
                    <a:pt x="1176" y="6"/>
                  </a:lnTo>
                  <a:lnTo>
                    <a:pt x="1176" y="0"/>
                  </a:lnTo>
                  <a:lnTo>
                    <a:pt x="1182" y="6"/>
                  </a:lnTo>
                  <a:lnTo>
                    <a:pt x="1188" y="6"/>
                  </a:lnTo>
                  <a:lnTo>
                    <a:pt x="1188" y="0"/>
                  </a:lnTo>
                  <a:lnTo>
                    <a:pt x="1194" y="6"/>
                  </a:lnTo>
                  <a:lnTo>
                    <a:pt x="1200" y="12"/>
                  </a:lnTo>
                  <a:lnTo>
                    <a:pt x="1206" y="18"/>
                  </a:lnTo>
                  <a:lnTo>
                    <a:pt x="1212" y="18"/>
                  </a:lnTo>
                  <a:lnTo>
                    <a:pt x="1218" y="24"/>
                  </a:lnTo>
                  <a:lnTo>
                    <a:pt x="1236" y="36"/>
                  </a:lnTo>
                  <a:lnTo>
                    <a:pt x="1242" y="36"/>
                  </a:lnTo>
                  <a:lnTo>
                    <a:pt x="1248" y="42"/>
                  </a:lnTo>
                  <a:lnTo>
                    <a:pt x="1248" y="48"/>
                  </a:lnTo>
                  <a:lnTo>
                    <a:pt x="1260" y="48"/>
                  </a:lnTo>
                  <a:lnTo>
                    <a:pt x="1260" y="108"/>
                  </a:lnTo>
                  <a:lnTo>
                    <a:pt x="1266" y="168"/>
                  </a:lnTo>
                  <a:lnTo>
                    <a:pt x="1278" y="234"/>
                  </a:lnTo>
                  <a:lnTo>
                    <a:pt x="1284" y="240"/>
                  </a:lnTo>
                  <a:lnTo>
                    <a:pt x="1290" y="264"/>
                  </a:lnTo>
                  <a:lnTo>
                    <a:pt x="1296" y="288"/>
                  </a:lnTo>
                  <a:lnTo>
                    <a:pt x="1296" y="300"/>
                  </a:lnTo>
                  <a:lnTo>
                    <a:pt x="1296" y="312"/>
                  </a:lnTo>
                  <a:lnTo>
                    <a:pt x="1296" y="324"/>
                  </a:lnTo>
                  <a:lnTo>
                    <a:pt x="1296" y="354"/>
                  </a:lnTo>
                  <a:lnTo>
                    <a:pt x="1302" y="366"/>
                  </a:lnTo>
                  <a:lnTo>
                    <a:pt x="1308" y="372"/>
                  </a:lnTo>
                  <a:lnTo>
                    <a:pt x="1308" y="384"/>
                  </a:lnTo>
                  <a:lnTo>
                    <a:pt x="1314" y="390"/>
                  </a:lnTo>
                  <a:lnTo>
                    <a:pt x="1308" y="408"/>
                  </a:lnTo>
                  <a:lnTo>
                    <a:pt x="1314" y="408"/>
                  </a:lnTo>
                  <a:lnTo>
                    <a:pt x="1314" y="414"/>
                  </a:lnTo>
                  <a:lnTo>
                    <a:pt x="1308" y="420"/>
                  </a:lnTo>
                  <a:lnTo>
                    <a:pt x="1308" y="432"/>
                  </a:lnTo>
                  <a:lnTo>
                    <a:pt x="1320" y="432"/>
                  </a:lnTo>
                  <a:lnTo>
                    <a:pt x="1320" y="444"/>
                  </a:lnTo>
                  <a:lnTo>
                    <a:pt x="1332" y="444"/>
                  </a:lnTo>
                  <a:lnTo>
                    <a:pt x="1338" y="450"/>
                  </a:lnTo>
                  <a:lnTo>
                    <a:pt x="1344" y="456"/>
                  </a:lnTo>
                  <a:lnTo>
                    <a:pt x="1344" y="462"/>
                  </a:lnTo>
                  <a:lnTo>
                    <a:pt x="1344" y="474"/>
                  </a:lnTo>
                  <a:lnTo>
                    <a:pt x="1350" y="474"/>
                  </a:lnTo>
                  <a:lnTo>
                    <a:pt x="1368" y="504"/>
                  </a:lnTo>
                  <a:lnTo>
                    <a:pt x="1374" y="534"/>
                  </a:lnTo>
                  <a:lnTo>
                    <a:pt x="1380" y="558"/>
                  </a:lnTo>
                  <a:lnTo>
                    <a:pt x="1386" y="576"/>
                  </a:lnTo>
                  <a:lnTo>
                    <a:pt x="1386" y="600"/>
                  </a:lnTo>
                  <a:lnTo>
                    <a:pt x="1386" y="624"/>
                  </a:lnTo>
                  <a:lnTo>
                    <a:pt x="1386" y="648"/>
                  </a:lnTo>
                  <a:lnTo>
                    <a:pt x="1386" y="684"/>
                  </a:lnTo>
                  <a:lnTo>
                    <a:pt x="1380" y="684"/>
                  </a:lnTo>
                  <a:lnTo>
                    <a:pt x="1374" y="696"/>
                  </a:lnTo>
                  <a:lnTo>
                    <a:pt x="1368" y="702"/>
                  </a:lnTo>
                  <a:lnTo>
                    <a:pt x="1362" y="708"/>
                  </a:lnTo>
                  <a:lnTo>
                    <a:pt x="1356" y="714"/>
                  </a:lnTo>
                  <a:lnTo>
                    <a:pt x="1350" y="720"/>
                  </a:lnTo>
                  <a:lnTo>
                    <a:pt x="1338" y="720"/>
                  </a:lnTo>
                  <a:lnTo>
                    <a:pt x="1338" y="738"/>
                  </a:lnTo>
                  <a:lnTo>
                    <a:pt x="1362" y="750"/>
                  </a:lnTo>
                  <a:lnTo>
                    <a:pt x="1362" y="756"/>
                  </a:lnTo>
                  <a:lnTo>
                    <a:pt x="1374" y="756"/>
                  </a:lnTo>
                  <a:lnTo>
                    <a:pt x="1410" y="774"/>
                  </a:lnTo>
                  <a:lnTo>
                    <a:pt x="1446" y="774"/>
                  </a:lnTo>
                  <a:lnTo>
                    <a:pt x="1482" y="768"/>
                  </a:lnTo>
                  <a:lnTo>
                    <a:pt x="1500" y="774"/>
                  </a:lnTo>
                  <a:lnTo>
                    <a:pt x="1512" y="78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27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9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98" name="Freeform 12">
              <a:extLst>
                <a:ext uri="{FF2B5EF4-FFF2-40B4-BE49-F238E27FC236}">
                  <a16:creationId xmlns:a16="http://schemas.microsoft.com/office/drawing/2014/main" id="{95B4B06E-6DD4-45BC-BB04-AE227DBF8A5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94426" y="2133601"/>
              <a:ext cx="784225" cy="1058863"/>
            </a:xfrm>
            <a:custGeom>
              <a:avLst/>
              <a:gdLst>
                <a:gd name="T0" fmla="*/ 47 w 840"/>
                <a:gd name="T1" fmla="*/ 98 h 1134"/>
                <a:gd name="T2" fmla="*/ 41 w 840"/>
                <a:gd name="T3" fmla="*/ 98 h 1134"/>
                <a:gd name="T4" fmla="*/ 37 w 840"/>
                <a:gd name="T5" fmla="*/ 98 h 1134"/>
                <a:gd name="T6" fmla="*/ 29 w 840"/>
                <a:gd name="T7" fmla="*/ 97 h 1134"/>
                <a:gd name="T8" fmla="*/ 27 w 840"/>
                <a:gd name="T9" fmla="*/ 94 h 1134"/>
                <a:gd name="T10" fmla="*/ 26 w 840"/>
                <a:gd name="T11" fmla="*/ 93 h 1134"/>
                <a:gd name="T12" fmla="*/ 26 w 840"/>
                <a:gd name="T13" fmla="*/ 83 h 1134"/>
                <a:gd name="T14" fmla="*/ 26 w 840"/>
                <a:gd name="T15" fmla="*/ 81 h 1134"/>
                <a:gd name="T16" fmla="*/ 23 w 840"/>
                <a:gd name="T17" fmla="*/ 77 h 1134"/>
                <a:gd name="T18" fmla="*/ 19 w 840"/>
                <a:gd name="T19" fmla="*/ 75 h 1134"/>
                <a:gd name="T20" fmla="*/ 16 w 840"/>
                <a:gd name="T21" fmla="*/ 72 h 1134"/>
                <a:gd name="T22" fmla="*/ 13 w 840"/>
                <a:gd name="T23" fmla="*/ 70 h 1134"/>
                <a:gd name="T24" fmla="*/ 17 w 840"/>
                <a:gd name="T25" fmla="*/ 67 h 1134"/>
                <a:gd name="T26" fmla="*/ 19 w 840"/>
                <a:gd name="T27" fmla="*/ 63 h 1134"/>
                <a:gd name="T28" fmla="*/ 20 w 840"/>
                <a:gd name="T29" fmla="*/ 59 h 1134"/>
                <a:gd name="T30" fmla="*/ 19 w 840"/>
                <a:gd name="T31" fmla="*/ 55 h 1134"/>
                <a:gd name="T32" fmla="*/ 17 w 840"/>
                <a:gd name="T33" fmla="*/ 47 h 1134"/>
                <a:gd name="T34" fmla="*/ 8 w 840"/>
                <a:gd name="T35" fmla="*/ 45 h 1134"/>
                <a:gd name="T36" fmla="*/ 4 w 840"/>
                <a:gd name="T37" fmla="*/ 39 h 1134"/>
                <a:gd name="T38" fmla="*/ 2 w 840"/>
                <a:gd name="T39" fmla="*/ 35 h 1134"/>
                <a:gd name="T40" fmla="*/ 0 w 840"/>
                <a:gd name="T41" fmla="*/ 31 h 1134"/>
                <a:gd name="T42" fmla="*/ 2 w 840"/>
                <a:gd name="T43" fmla="*/ 27 h 1134"/>
                <a:gd name="T44" fmla="*/ 5 w 840"/>
                <a:gd name="T45" fmla="*/ 24 h 1134"/>
                <a:gd name="T46" fmla="*/ 10 w 840"/>
                <a:gd name="T47" fmla="*/ 26 h 1134"/>
                <a:gd name="T48" fmla="*/ 7 w 840"/>
                <a:gd name="T49" fmla="*/ 20 h 1134"/>
                <a:gd name="T50" fmla="*/ 12 w 840"/>
                <a:gd name="T51" fmla="*/ 12 h 1134"/>
                <a:gd name="T52" fmla="*/ 19 w 840"/>
                <a:gd name="T53" fmla="*/ 10 h 1134"/>
                <a:gd name="T54" fmla="*/ 20 w 840"/>
                <a:gd name="T55" fmla="*/ 13 h 1134"/>
                <a:gd name="T56" fmla="*/ 22 w 840"/>
                <a:gd name="T57" fmla="*/ 11 h 1134"/>
                <a:gd name="T58" fmla="*/ 25 w 840"/>
                <a:gd name="T59" fmla="*/ 7 h 1134"/>
                <a:gd name="T60" fmla="*/ 29 w 840"/>
                <a:gd name="T61" fmla="*/ 2 h 1134"/>
                <a:gd name="T62" fmla="*/ 33 w 840"/>
                <a:gd name="T63" fmla="*/ 1 h 1134"/>
                <a:gd name="T64" fmla="*/ 37 w 840"/>
                <a:gd name="T65" fmla="*/ 2 h 1134"/>
                <a:gd name="T66" fmla="*/ 39 w 840"/>
                <a:gd name="T67" fmla="*/ 4 h 1134"/>
                <a:gd name="T68" fmla="*/ 43 w 840"/>
                <a:gd name="T69" fmla="*/ 5 h 1134"/>
                <a:gd name="T70" fmla="*/ 46 w 840"/>
                <a:gd name="T71" fmla="*/ 11 h 1134"/>
                <a:gd name="T72" fmla="*/ 49 w 840"/>
                <a:gd name="T73" fmla="*/ 12 h 1134"/>
                <a:gd name="T74" fmla="*/ 52 w 840"/>
                <a:gd name="T75" fmla="*/ 15 h 1134"/>
                <a:gd name="T76" fmla="*/ 54 w 840"/>
                <a:gd name="T77" fmla="*/ 18 h 1134"/>
                <a:gd name="T78" fmla="*/ 55 w 840"/>
                <a:gd name="T79" fmla="*/ 22 h 1134"/>
                <a:gd name="T80" fmla="*/ 56 w 840"/>
                <a:gd name="T81" fmla="*/ 26 h 1134"/>
                <a:gd name="T82" fmla="*/ 55 w 840"/>
                <a:gd name="T83" fmla="*/ 32 h 1134"/>
                <a:gd name="T84" fmla="*/ 55 w 840"/>
                <a:gd name="T85" fmla="*/ 36 h 1134"/>
                <a:gd name="T86" fmla="*/ 54 w 840"/>
                <a:gd name="T87" fmla="*/ 39 h 1134"/>
                <a:gd name="T88" fmla="*/ 56 w 840"/>
                <a:gd name="T89" fmla="*/ 39 h 1134"/>
                <a:gd name="T90" fmla="*/ 58 w 840"/>
                <a:gd name="T91" fmla="*/ 39 h 1134"/>
                <a:gd name="T92" fmla="*/ 61 w 840"/>
                <a:gd name="T93" fmla="*/ 39 h 1134"/>
                <a:gd name="T94" fmla="*/ 60 w 840"/>
                <a:gd name="T95" fmla="*/ 49 h 1134"/>
                <a:gd name="T96" fmla="*/ 59 w 840"/>
                <a:gd name="T97" fmla="*/ 53 h 1134"/>
                <a:gd name="T98" fmla="*/ 59 w 840"/>
                <a:gd name="T99" fmla="*/ 56 h 1134"/>
                <a:gd name="T100" fmla="*/ 60 w 840"/>
                <a:gd name="T101" fmla="*/ 59 h 1134"/>
                <a:gd name="T102" fmla="*/ 64 w 840"/>
                <a:gd name="T103" fmla="*/ 61 h 1134"/>
                <a:gd name="T104" fmla="*/ 69 w 840"/>
                <a:gd name="T105" fmla="*/ 63 h 1134"/>
                <a:gd name="T106" fmla="*/ 72 w 840"/>
                <a:gd name="T107" fmla="*/ 69 h 1134"/>
                <a:gd name="T108" fmla="*/ 72 w 840"/>
                <a:gd name="T109" fmla="*/ 73 h 1134"/>
                <a:gd name="T110" fmla="*/ 72 w 840"/>
                <a:gd name="T111" fmla="*/ 83 h 1134"/>
                <a:gd name="T112" fmla="*/ 63 w 840"/>
                <a:gd name="T113" fmla="*/ 88 h 1134"/>
                <a:gd name="T114" fmla="*/ 52 w 840"/>
                <a:gd name="T115" fmla="*/ 95 h 11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40"/>
                <a:gd name="T175" fmla="*/ 0 h 1134"/>
                <a:gd name="T176" fmla="*/ 840 w 840"/>
                <a:gd name="T177" fmla="*/ 1134 h 11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40" h="1134">
                  <a:moveTo>
                    <a:pt x="564" y="1110"/>
                  </a:moveTo>
                  <a:lnTo>
                    <a:pt x="564" y="1104"/>
                  </a:lnTo>
                  <a:lnTo>
                    <a:pt x="558" y="1104"/>
                  </a:lnTo>
                  <a:lnTo>
                    <a:pt x="552" y="1110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28" y="1128"/>
                  </a:lnTo>
                  <a:lnTo>
                    <a:pt x="498" y="1128"/>
                  </a:lnTo>
                  <a:lnTo>
                    <a:pt x="492" y="1128"/>
                  </a:lnTo>
                  <a:lnTo>
                    <a:pt x="486" y="1128"/>
                  </a:lnTo>
                  <a:lnTo>
                    <a:pt x="480" y="1128"/>
                  </a:lnTo>
                  <a:lnTo>
                    <a:pt x="474" y="1134"/>
                  </a:lnTo>
                  <a:lnTo>
                    <a:pt x="468" y="1134"/>
                  </a:lnTo>
                  <a:lnTo>
                    <a:pt x="462" y="1134"/>
                  </a:lnTo>
                  <a:lnTo>
                    <a:pt x="456" y="1134"/>
                  </a:lnTo>
                  <a:lnTo>
                    <a:pt x="456" y="1128"/>
                  </a:lnTo>
                  <a:lnTo>
                    <a:pt x="450" y="1122"/>
                  </a:lnTo>
                  <a:lnTo>
                    <a:pt x="426" y="1128"/>
                  </a:lnTo>
                  <a:lnTo>
                    <a:pt x="414" y="1128"/>
                  </a:lnTo>
                  <a:lnTo>
                    <a:pt x="348" y="1134"/>
                  </a:lnTo>
                  <a:lnTo>
                    <a:pt x="348" y="1128"/>
                  </a:lnTo>
                  <a:lnTo>
                    <a:pt x="342" y="1128"/>
                  </a:lnTo>
                  <a:lnTo>
                    <a:pt x="336" y="1122"/>
                  </a:lnTo>
                  <a:lnTo>
                    <a:pt x="330" y="1122"/>
                  </a:lnTo>
                  <a:lnTo>
                    <a:pt x="324" y="1116"/>
                  </a:lnTo>
                  <a:lnTo>
                    <a:pt x="324" y="1110"/>
                  </a:lnTo>
                  <a:lnTo>
                    <a:pt x="318" y="1110"/>
                  </a:lnTo>
                  <a:lnTo>
                    <a:pt x="318" y="1104"/>
                  </a:lnTo>
                  <a:lnTo>
                    <a:pt x="312" y="1092"/>
                  </a:lnTo>
                  <a:lnTo>
                    <a:pt x="306" y="1086"/>
                  </a:lnTo>
                  <a:lnTo>
                    <a:pt x="306" y="1080"/>
                  </a:lnTo>
                  <a:lnTo>
                    <a:pt x="312" y="1074"/>
                  </a:lnTo>
                  <a:lnTo>
                    <a:pt x="306" y="1068"/>
                  </a:lnTo>
                  <a:lnTo>
                    <a:pt x="300" y="1074"/>
                  </a:lnTo>
                  <a:lnTo>
                    <a:pt x="300" y="1068"/>
                  </a:lnTo>
                  <a:lnTo>
                    <a:pt x="294" y="1068"/>
                  </a:lnTo>
                  <a:lnTo>
                    <a:pt x="294" y="1056"/>
                  </a:lnTo>
                  <a:lnTo>
                    <a:pt x="294" y="1026"/>
                  </a:lnTo>
                  <a:lnTo>
                    <a:pt x="294" y="1020"/>
                  </a:lnTo>
                  <a:lnTo>
                    <a:pt x="294" y="1008"/>
                  </a:lnTo>
                  <a:lnTo>
                    <a:pt x="294" y="966"/>
                  </a:lnTo>
                  <a:lnTo>
                    <a:pt x="294" y="960"/>
                  </a:lnTo>
                  <a:lnTo>
                    <a:pt x="294" y="954"/>
                  </a:lnTo>
                  <a:lnTo>
                    <a:pt x="294" y="948"/>
                  </a:lnTo>
                  <a:lnTo>
                    <a:pt x="294" y="942"/>
                  </a:lnTo>
                  <a:lnTo>
                    <a:pt x="300" y="936"/>
                  </a:lnTo>
                  <a:lnTo>
                    <a:pt x="300" y="930"/>
                  </a:lnTo>
                  <a:lnTo>
                    <a:pt x="294" y="930"/>
                  </a:lnTo>
                  <a:lnTo>
                    <a:pt x="288" y="930"/>
                  </a:lnTo>
                  <a:lnTo>
                    <a:pt x="288" y="924"/>
                  </a:lnTo>
                  <a:lnTo>
                    <a:pt x="282" y="918"/>
                  </a:lnTo>
                  <a:lnTo>
                    <a:pt x="282" y="906"/>
                  </a:lnTo>
                  <a:lnTo>
                    <a:pt x="282" y="900"/>
                  </a:lnTo>
                  <a:lnTo>
                    <a:pt x="264" y="894"/>
                  </a:lnTo>
                  <a:lnTo>
                    <a:pt x="252" y="882"/>
                  </a:lnTo>
                  <a:lnTo>
                    <a:pt x="246" y="876"/>
                  </a:lnTo>
                  <a:lnTo>
                    <a:pt x="240" y="876"/>
                  </a:lnTo>
                  <a:lnTo>
                    <a:pt x="240" y="870"/>
                  </a:lnTo>
                  <a:lnTo>
                    <a:pt x="234" y="870"/>
                  </a:lnTo>
                  <a:lnTo>
                    <a:pt x="222" y="864"/>
                  </a:lnTo>
                  <a:lnTo>
                    <a:pt x="216" y="864"/>
                  </a:lnTo>
                  <a:lnTo>
                    <a:pt x="210" y="858"/>
                  </a:lnTo>
                  <a:lnTo>
                    <a:pt x="210" y="852"/>
                  </a:lnTo>
                  <a:lnTo>
                    <a:pt x="210" y="846"/>
                  </a:lnTo>
                  <a:lnTo>
                    <a:pt x="198" y="840"/>
                  </a:lnTo>
                  <a:lnTo>
                    <a:pt x="186" y="834"/>
                  </a:lnTo>
                  <a:lnTo>
                    <a:pt x="180" y="828"/>
                  </a:lnTo>
                  <a:lnTo>
                    <a:pt x="180" y="822"/>
                  </a:lnTo>
                  <a:lnTo>
                    <a:pt x="174" y="822"/>
                  </a:lnTo>
                  <a:lnTo>
                    <a:pt x="162" y="816"/>
                  </a:lnTo>
                  <a:lnTo>
                    <a:pt x="156" y="810"/>
                  </a:lnTo>
                  <a:lnTo>
                    <a:pt x="150" y="810"/>
                  </a:lnTo>
                  <a:lnTo>
                    <a:pt x="144" y="798"/>
                  </a:lnTo>
                  <a:lnTo>
                    <a:pt x="138" y="786"/>
                  </a:lnTo>
                  <a:lnTo>
                    <a:pt x="138" y="780"/>
                  </a:lnTo>
                  <a:lnTo>
                    <a:pt x="144" y="774"/>
                  </a:lnTo>
                  <a:lnTo>
                    <a:pt x="150" y="768"/>
                  </a:lnTo>
                  <a:lnTo>
                    <a:pt x="192" y="768"/>
                  </a:lnTo>
                  <a:lnTo>
                    <a:pt x="210" y="762"/>
                  </a:lnTo>
                  <a:lnTo>
                    <a:pt x="216" y="756"/>
                  </a:lnTo>
                  <a:lnTo>
                    <a:pt x="216" y="744"/>
                  </a:lnTo>
                  <a:lnTo>
                    <a:pt x="216" y="738"/>
                  </a:lnTo>
                  <a:lnTo>
                    <a:pt x="216" y="732"/>
                  </a:lnTo>
                  <a:lnTo>
                    <a:pt x="216" y="726"/>
                  </a:lnTo>
                  <a:lnTo>
                    <a:pt x="216" y="720"/>
                  </a:lnTo>
                  <a:lnTo>
                    <a:pt x="228" y="702"/>
                  </a:lnTo>
                  <a:lnTo>
                    <a:pt x="234" y="696"/>
                  </a:lnTo>
                  <a:lnTo>
                    <a:pt x="240" y="690"/>
                  </a:lnTo>
                  <a:lnTo>
                    <a:pt x="240" y="684"/>
                  </a:lnTo>
                  <a:lnTo>
                    <a:pt x="234" y="678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0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22" y="630"/>
                  </a:lnTo>
                  <a:lnTo>
                    <a:pt x="222" y="618"/>
                  </a:lnTo>
                  <a:lnTo>
                    <a:pt x="222" y="582"/>
                  </a:lnTo>
                  <a:lnTo>
                    <a:pt x="228" y="582"/>
                  </a:lnTo>
                  <a:lnTo>
                    <a:pt x="222" y="564"/>
                  </a:lnTo>
                  <a:lnTo>
                    <a:pt x="210" y="552"/>
                  </a:lnTo>
                  <a:lnTo>
                    <a:pt x="192" y="540"/>
                  </a:lnTo>
                  <a:lnTo>
                    <a:pt x="174" y="540"/>
                  </a:lnTo>
                  <a:lnTo>
                    <a:pt x="150" y="534"/>
                  </a:lnTo>
                  <a:lnTo>
                    <a:pt x="126" y="528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90" y="516"/>
                  </a:lnTo>
                  <a:lnTo>
                    <a:pt x="78" y="504"/>
                  </a:lnTo>
                  <a:lnTo>
                    <a:pt x="72" y="498"/>
                  </a:lnTo>
                  <a:lnTo>
                    <a:pt x="66" y="486"/>
                  </a:lnTo>
                  <a:lnTo>
                    <a:pt x="54" y="468"/>
                  </a:lnTo>
                  <a:lnTo>
                    <a:pt x="54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42" y="438"/>
                  </a:lnTo>
                  <a:lnTo>
                    <a:pt x="36" y="438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24" y="384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2" y="360"/>
                  </a:lnTo>
                  <a:lnTo>
                    <a:pt x="6" y="360"/>
                  </a:lnTo>
                  <a:lnTo>
                    <a:pt x="0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0"/>
                  </a:lnTo>
                  <a:lnTo>
                    <a:pt x="18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8" y="270"/>
                  </a:lnTo>
                  <a:lnTo>
                    <a:pt x="90" y="276"/>
                  </a:lnTo>
                  <a:lnTo>
                    <a:pt x="108" y="294"/>
                  </a:lnTo>
                  <a:lnTo>
                    <a:pt x="114" y="294"/>
                  </a:lnTo>
                  <a:lnTo>
                    <a:pt x="114" y="276"/>
                  </a:lnTo>
                  <a:lnTo>
                    <a:pt x="114" y="270"/>
                  </a:lnTo>
                  <a:lnTo>
                    <a:pt x="102" y="258"/>
                  </a:lnTo>
                  <a:lnTo>
                    <a:pt x="96" y="246"/>
                  </a:lnTo>
                  <a:lnTo>
                    <a:pt x="90" y="234"/>
                  </a:lnTo>
                  <a:lnTo>
                    <a:pt x="78" y="228"/>
                  </a:lnTo>
                  <a:lnTo>
                    <a:pt x="72" y="216"/>
                  </a:lnTo>
                  <a:lnTo>
                    <a:pt x="66" y="192"/>
                  </a:lnTo>
                  <a:lnTo>
                    <a:pt x="90" y="174"/>
                  </a:lnTo>
                  <a:lnTo>
                    <a:pt x="120" y="150"/>
                  </a:lnTo>
                  <a:lnTo>
                    <a:pt x="132" y="150"/>
                  </a:lnTo>
                  <a:lnTo>
                    <a:pt x="138" y="144"/>
                  </a:lnTo>
                  <a:lnTo>
                    <a:pt x="138" y="138"/>
                  </a:lnTo>
                  <a:lnTo>
                    <a:pt x="156" y="126"/>
                  </a:lnTo>
                  <a:lnTo>
                    <a:pt x="180" y="114"/>
                  </a:lnTo>
                  <a:lnTo>
                    <a:pt x="216" y="114"/>
                  </a:lnTo>
                  <a:lnTo>
                    <a:pt x="222" y="114"/>
                  </a:lnTo>
                  <a:lnTo>
                    <a:pt x="222" y="120"/>
                  </a:lnTo>
                  <a:lnTo>
                    <a:pt x="222" y="126"/>
                  </a:lnTo>
                  <a:lnTo>
                    <a:pt x="222" y="132"/>
                  </a:lnTo>
                  <a:lnTo>
                    <a:pt x="228" y="138"/>
                  </a:lnTo>
                  <a:lnTo>
                    <a:pt x="228" y="144"/>
                  </a:lnTo>
                  <a:lnTo>
                    <a:pt x="228" y="150"/>
                  </a:lnTo>
                  <a:lnTo>
                    <a:pt x="234" y="150"/>
                  </a:lnTo>
                  <a:lnTo>
                    <a:pt x="234" y="144"/>
                  </a:lnTo>
                  <a:lnTo>
                    <a:pt x="240" y="144"/>
                  </a:lnTo>
                  <a:lnTo>
                    <a:pt x="246" y="144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58" y="126"/>
                  </a:lnTo>
                  <a:lnTo>
                    <a:pt x="258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76" y="96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6" y="72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36"/>
                  </a:lnTo>
                  <a:lnTo>
                    <a:pt x="330" y="24"/>
                  </a:lnTo>
                  <a:lnTo>
                    <a:pt x="330" y="18"/>
                  </a:lnTo>
                  <a:lnTo>
                    <a:pt x="330" y="12"/>
                  </a:lnTo>
                  <a:lnTo>
                    <a:pt x="336" y="6"/>
                  </a:lnTo>
                  <a:lnTo>
                    <a:pt x="366" y="0"/>
                  </a:lnTo>
                  <a:lnTo>
                    <a:pt x="372" y="6"/>
                  </a:lnTo>
                  <a:lnTo>
                    <a:pt x="384" y="12"/>
                  </a:lnTo>
                  <a:lnTo>
                    <a:pt x="402" y="12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18"/>
                  </a:lnTo>
                  <a:lnTo>
                    <a:pt x="420" y="18"/>
                  </a:lnTo>
                  <a:lnTo>
                    <a:pt x="426" y="24"/>
                  </a:lnTo>
                  <a:lnTo>
                    <a:pt x="432" y="30"/>
                  </a:lnTo>
                  <a:lnTo>
                    <a:pt x="438" y="36"/>
                  </a:lnTo>
                  <a:lnTo>
                    <a:pt x="444" y="42"/>
                  </a:lnTo>
                  <a:lnTo>
                    <a:pt x="450" y="42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16" y="78"/>
                  </a:lnTo>
                  <a:lnTo>
                    <a:pt x="522" y="102"/>
                  </a:lnTo>
                  <a:lnTo>
                    <a:pt x="522" y="108"/>
                  </a:lnTo>
                  <a:lnTo>
                    <a:pt x="528" y="126"/>
                  </a:lnTo>
                  <a:lnTo>
                    <a:pt x="534" y="126"/>
                  </a:lnTo>
                  <a:lnTo>
                    <a:pt x="540" y="120"/>
                  </a:lnTo>
                  <a:lnTo>
                    <a:pt x="546" y="126"/>
                  </a:lnTo>
                  <a:lnTo>
                    <a:pt x="552" y="126"/>
                  </a:lnTo>
                  <a:lnTo>
                    <a:pt x="558" y="132"/>
                  </a:lnTo>
                  <a:lnTo>
                    <a:pt x="564" y="138"/>
                  </a:lnTo>
                  <a:lnTo>
                    <a:pt x="570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594" y="168"/>
                  </a:lnTo>
                  <a:lnTo>
                    <a:pt x="600" y="174"/>
                  </a:lnTo>
                  <a:lnTo>
                    <a:pt x="606" y="180"/>
                  </a:lnTo>
                  <a:lnTo>
                    <a:pt x="606" y="186"/>
                  </a:lnTo>
                  <a:lnTo>
                    <a:pt x="612" y="192"/>
                  </a:lnTo>
                  <a:lnTo>
                    <a:pt x="612" y="198"/>
                  </a:lnTo>
                  <a:lnTo>
                    <a:pt x="624" y="204"/>
                  </a:lnTo>
                  <a:lnTo>
                    <a:pt x="624" y="210"/>
                  </a:lnTo>
                  <a:lnTo>
                    <a:pt x="630" y="216"/>
                  </a:lnTo>
                  <a:lnTo>
                    <a:pt x="636" y="222"/>
                  </a:lnTo>
                  <a:lnTo>
                    <a:pt x="636" y="228"/>
                  </a:lnTo>
                  <a:lnTo>
                    <a:pt x="636" y="234"/>
                  </a:lnTo>
                  <a:lnTo>
                    <a:pt x="636" y="252"/>
                  </a:lnTo>
                  <a:lnTo>
                    <a:pt x="636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42" y="276"/>
                  </a:lnTo>
                  <a:lnTo>
                    <a:pt x="642" y="282"/>
                  </a:lnTo>
                  <a:lnTo>
                    <a:pt x="642" y="288"/>
                  </a:lnTo>
                  <a:lnTo>
                    <a:pt x="642" y="300"/>
                  </a:lnTo>
                  <a:lnTo>
                    <a:pt x="642" y="306"/>
                  </a:lnTo>
                  <a:lnTo>
                    <a:pt x="636" y="312"/>
                  </a:lnTo>
                  <a:lnTo>
                    <a:pt x="636" y="324"/>
                  </a:lnTo>
                  <a:lnTo>
                    <a:pt x="636" y="342"/>
                  </a:lnTo>
                  <a:lnTo>
                    <a:pt x="630" y="354"/>
                  </a:lnTo>
                  <a:lnTo>
                    <a:pt x="630" y="366"/>
                  </a:lnTo>
                  <a:lnTo>
                    <a:pt x="624" y="378"/>
                  </a:lnTo>
                  <a:lnTo>
                    <a:pt x="624" y="384"/>
                  </a:lnTo>
                  <a:lnTo>
                    <a:pt x="636" y="396"/>
                  </a:lnTo>
                  <a:lnTo>
                    <a:pt x="636" y="402"/>
                  </a:lnTo>
                  <a:lnTo>
                    <a:pt x="636" y="408"/>
                  </a:lnTo>
                  <a:lnTo>
                    <a:pt x="630" y="414"/>
                  </a:lnTo>
                  <a:lnTo>
                    <a:pt x="630" y="420"/>
                  </a:lnTo>
                  <a:lnTo>
                    <a:pt x="630" y="426"/>
                  </a:lnTo>
                  <a:lnTo>
                    <a:pt x="630" y="432"/>
                  </a:lnTo>
                  <a:lnTo>
                    <a:pt x="624" y="438"/>
                  </a:lnTo>
                  <a:lnTo>
                    <a:pt x="624" y="444"/>
                  </a:lnTo>
                  <a:lnTo>
                    <a:pt x="624" y="450"/>
                  </a:lnTo>
                  <a:lnTo>
                    <a:pt x="630" y="450"/>
                  </a:lnTo>
                  <a:lnTo>
                    <a:pt x="630" y="456"/>
                  </a:lnTo>
                  <a:lnTo>
                    <a:pt x="630" y="462"/>
                  </a:lnTo>
                  <a:lnTo>
                    <a:pt x="636" y="468"/>
                  </a:lnTo>
                  <a:lnTo>
                    <a:pt x="642" y="456"/>
                  </a:lnTo>
                  <a:lnTo>
                    <a:pt x="642" y="450"/>
                  </a:lnTo>
                  <a:lnTo>
                    <a:pt x="648" y="450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60" y="444"/>
                  </a:lnTo>
                  <a:lnTo>
                    <a:pt x="666" y="450"/>
                  </a:lnTo>
                  <a:lnTo>
                    <a:pt x="672" y="444"/>
                  </a:lnTo>
                  <a:lnTo>
                    <a:pt x="678" y="444"/>
                  </a:lnTo>
                  <a:lnTo>
                    <a:pt x="684" y="438"/>
                  </a:lnTo>
                  <a:lnTo>
                    <a:pt x="690" y="438"/>
                  </a:lnTo>
                  <a:lnTo>
                    <a:pt x="696" y="438"/>
                  </a:lnTo>
                  <a:lnTo>
                    <a:pt x="702" y="444"/>
                  </a:lnTo>
                  <a:lnTo>
                    <a:pt x="702" y="450"/>
                  </a:lnTo>
                  <a:lnTo>
                    <a:pt x="708" y="450"/>
                  </a:lnTo>
                  <a:lnTo>
                    <a:pt x="708" y="456"/>
                  </a:lnTo>
                  <a:lnTo>
                    <a:pt x="708" y="462"/>
                  </a:lnTo>
                  <a:lnTo>
                    <a:pt x="708" y="468"/>
                  </a:lnTo>
                  <a:lnTo>
                    <a:pt x="708" y="504"/>
                  </a:lnTo>
                  <a:lnTo>
                    <a:pt x="696" y="564"/>
                  </a:lnTo>
                  <a:lnTo>
                    <a:pt x="696" y="582"/>
                  </a:lnTo>
                  <a:lnTo>
                    <a:pt x="696" y="600"/>
                  </a:lnTo>
                  <a:lnTo>
                    <a:pt x="690" y="606"/>
                  </a:lnTo>
                  <a:lnTo>
                    <a:pt x="684" y="606"/>
                  </a:lnTo>
                  <a:lnTo>
                    <a:pt x="690" y="612"/>
                  </a:lnTo>
                  <a:lnTo>
                    <a:pt x="684" y="612"/>
                  </a:lnTo>
                  <a:lnTo>
                    <a:pt x="678" y="618"/>
                  </a:lnTo>
                  <a:lnTo>
                    <a:pt x="672" y="624"/>
                  </a:lnTo>
                  <a:lnTo>
                    <a:pt x="666" y="630"/>
                  </a:lnTo>
                  <a:lnTo>
                    <a:pt x="660" y="636"/>
                  </a:lnTo>
                  <a:lnTo>
                    <a:pt x="672" y="636"/>
                  </a:lnTo>
                  <a:lnTo>
                    <a:pt x="678" y="642"/>
                  </a:lnTo>
                  <a:lnTo>
                    <a:pt x="678" y="648"/>
                  </a:lnTo>
                  <a:lnTo>
                    <a:pt x="684" y="654"/>
                  </a:lnTo>
                  <a:lnTo>
                    <a:pt x="690" y="666"/>
                  </a:lnTo>
                  <a:lnTo>
                    <a:pt x="690" y="672"/>
                  </a:lnTo>
                  <a:lnTo>
                    <a:pt x="696" y="672"/>
                  </a:lnTo>
                  <a:lnTo>
                    <a:pt x="696" y="684"/>
                  </a:lnTo>
                  <a:lnTo>
                    <a:pt x="708" y="690"/>
                  </a:lnTo>
                  <a:lnTo>
                    <a:pt x="720" y="696"/>
                  </a:lnTo>
                  <a:lnTo>
                    <a:pt x="726" y="696"/>
                  </a:lnTo>
                  <a:lnTo>
                    <a:pt x="732" y="696"/>
                  </a:lnTo>
                  <a:lnTo>
                    <a:pt x="738" y="696"/>
                  </a:lnTo>
                  <a:lnTo>
                    <a:pt x="738" y="702"/>
                  </a:lnTo>
                  <a:lnTo>
                    <a:pt x="738" y="708"/>
                  </a:lnTo>
                  <a:lnTo>
                    <a:pt x="738" y="714"/>
                  </a:lnTo>
                  <a:lnTo>
                    <a:pt x="744" y="714"/>
                  </a:lnTo>
                  <a:lnTo>
                    <a:pt x="756" y="720"/>
                  </a:lnTo>
                  <a:lnTo>
                    <a:pt x="780" y="726"/>
                  </a:lnTo>
                  <a:lnTo>
                    <a:pt x="792" y="732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22" y="774"/>
                  </a:lnTo>
                  <a:lnTo>
                    <a:pt x="834" y="786"/>
                  </a:lnTo>
                  <a:lnTo>
                    <a:pt x="834" y="792"/>
                  </a:lnTo>
                  <a:lnTo>
                    <a:pt x="834" y="798"/>
                  </a:lnTo>
                  <a:lnTo>
                    <a:pt x="828" y="798"/>
                  </a:lnTo>
                  <a:lnTo>
                    <a:pt x="828" y="804"/>
                  </a:lnTo>
                  <a:lnTo>
                    <a:pt x="834" y="816"/>
                  </a:lnTo>
                  <a:lnTo>
                    <a:pt x="834" y="834"/>
                  </a:lnTo>
                  <a:lnTo>
                    <a:pt x="834" y="840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34" y="858"/>
                  </a:lnTo>
                  <a:lnTo>
                    <a:pt x="834" y="864"/>
                  </a:lnTo>
                  <a:lnTo>
                    <a:pt x="834" y="876"/>
                  </a:lnTo>
                  <a:lnTo>
                    <a:pt x="828" y="960"/>
                  </a:lnTo>
                  <a:lnTo>
                    <a:pt x="816" y="966"/>
                  </a:lnTo>
                  <a:lnTo>
                    <a:pt x="798" y="972"/>
                  </a:lnTo>
                  <a:lnTo>
                    <a:pt x="786" y="990"/>
                  </a:lnTo>
                  <a:lnTo>
                    <a:pt x="774" y="990"/>
                  </a:lnTo>
                  <a:lnTo>
                    <a:pt x="762" y="1008"/>
                  </a:lnTo>
                  <a:lnTo>
                    <a:pt x="732" y="1014"/>
                  </a:lnTo>
                  <a:lnTo>
                    <a:pt x="714" y="1026"/>
                  </a:lnTo>
                  <a:lnTo>
                    <a:pt x="690" y="1050"/>
                  </a:lnTo>
                  <a:lnTo>
                    <a:pt x="654" y="1056"/>
                  </a:lnTo>
                  <a:lnTo>
                    <a:pt x="630" y="1056"/>
                  </a:lnTo>
                  <a:lnTo>
                    <a:pt x="606" y="1068"/>
                  </a:lnTo>
                  <a:lnTo>
                    <a:pt x="600" y="1092"/>
                  </a:lnTo>
                  <a:lnTo>
                    <a:pt x="600" y="1098"/>
                  </a:lnTo>
                  <a:lnTo>
                    <a:pt x="588" y="1104"/>
                  </a:lnTo>
                  <a:lnTo>
                    <a:pt x="582" y="1104"/>
                  </a:lnTo>
                  <a:lnTo>
                    <a:pt x="570" y="1110"/>
                  </a:lnTo>
                  <a:lnTo>
                    <a:pt x="564" y="111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27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9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99" name="Freeform 13">
              <a:extLst>
                <a:ext uri="{FF2B5EF4-FFF2-40B4-BE49-F238E27FC236}">
                  <a16:creationId xmlns:a16="http://schemas.microsoft.com/office/drawing/2014/main" id="{CA6E36E5-3BEA-4B50-9664-959D25593234}"/>
                </a:ext>
              </a:extLst>
            </p:cNvPr>
            <p:cNvSpPr>
              <a:spLocks/>
            </p:cNvSpPr>
            <p:nvPr/>
          </p:nvSpPr>
          <p:spPr bwMode="gray">
            <a:xfrm>
              <a:off x="3536950" y="2003425"/>
              <a:ext cx="1627188" cy="1485900"/>
            </a:xfrm>
            <a:custGeom>
              <a:avLst/>
              <a:gdLst>
                <a:gd name="T0" fmla="*/ 2147483647 w 1740"/>
                <a:gd name="T1" fmla="*/ 2147483647 h 1590"/>
                <a:gd name="T2" fmla="*/ 2147483647 w 1740"/>
                <a:gd name="T3" fmla="*/ 2147483647 h 1590"/>
                <a:gd name="T4" fmla="*/ 2147483647 w 1740"/>
                <a:gd name="T5" fmla="*/ 2147483647 h 1590"/>
                <a:gd name="T6" fmla="*/ 2147483647 w 1740"/>
                <a:gd name="T7" fmla="*/ 2147483647 h 1590"/>
                <a:gd name="T8" fmla="*/ 2147483647 w 1740"/>
                <a:gd name="T9" fmla="*/ 2147483647 h 1590"/>
                <a:gd name="T10" fmla="*/ 2147483647 w 1740"/>
                <a:gd name="T11" fmla="*/ 2147483647 h 1590"/>
                <a:gd name="T12" fmla="*/ 2147483647 w 1740"/>
                <a:gd name="T13" fmla="*/ 2147483647 h 1590"/>
                <a:gd name="T14" fmla="*/ 2147483647 w 1740"/>
                <a:gd name="T15" fmla="*/ 2147483647 h 1590"/>
                <a:gd name="T16" fmla="*/ 2147483647 w 1740"/>
                <a:gd name="T17" fmla="*/ 2147483647 h 1590"/>
                <a:gd name="T18" fmla="*/ 2147483647 w 1740"/>
                <a:gd name="T19" fmla="*/ 2147483647 h 1590"/>
                <a:gd name="T20" fmla="*/ 2147483647 w 1740"/>
                <a:gd name="T21" fmla="*/ 2147483647 h 1590"/>
                <a:gd name="T22" fmla="*/ 2147483647 w 1740"/>
                <a:gd name="T23" fmla="*/ 2147483647 h 1590"/>
                <a:gd name="T24" fmla="*/ 2147483647 w 1740"/>
                <a:gd name="T25" fmla="*/ 2147483647 h 1590"/>
                <a:gd name="T26" fmla="*/ 2147483647 w 1740"/>
                <a:gd name="T27" fmla="*/ 2147483647 h 1590"/>
                <a:gd name="T28" fmla="*/ 2147483647 w 1740"/>
                <a:gd name="T29" fmla="*/ 2147483647 h 1590"/>
                <a:gd name="T30" fmla="*/ 2147483647 w 1740"/>
                <a:gd name="T31" fmla="*/ 2147483647 h 1590"/>
                <a:gd name="T32" fmla="*/ 2147483647 w 1740"/>
                <a:gd name="T33" fmla="*/ 2147483647 h 1590"/>
                <a:gd name="T34" fmla="*/ 2147483647 w 1740"/>
                <a:gd name="T35" fmla="*/ 2147483647 h 1590"/>
                <a:gd name="T36" fmla="*/ 2147483647 w 1740"/>
                <a:gd name="T37" fmla="*/ 2147483647 h 1590"/>
                <a:gd name="T38" fmla="*/ 2147483647 w 1740"/>
                <a:gd name="T39" fmla="*/ 2147483647 h 1590"/>
                <a:gd name="T40" fmla="*/ 2147483647 w 1740"/>
                <a:gd name="T41" fmla="*/ 2147483647 h 1590"/>
                <a:gd name="T42" fmla="*/ 2147483647 w 1740"/>
                <a:gd name="T43" fmla="*/ 2147483647 h 1590"/>
                <a:gd name="T44" fmla="*/ 2147483647 w 1740"/>
                <a:gd name="T45" fmla="*/ 2147483647 h 1590"/>
                <a:gd name="T46" fmla="*/ 2147483647 w 1740"/>
                <a:gd name="T47" fmla="*/ 2147483647 h 1590"/>
                <a:gd name="T48" fmla="*/ 2147483647 w 1740"/>
                <a:gd name="T49" fmla="*/ 2147483647 h 1590"/>
                <a:gd name="T50" fmla="*/ 2147483647 w 1740"/>
                <a:gd name="T51" fmla="*/ 2147483647 h 1590"/>
                <a:gd name="T52" fmla="*/ 2147483647 w 1740"/>
                <a:gd name="T53" fmla="*/ 2147483647 h 1590"/>
                <a:gd name="T54" fmla="*/ 0 w 1740"/>
                <a:gd name="T55" fmla="*/ 2147483647 h 1590"/>
                <a:gd name="T56" fmla="*/ 2147483647 w 1740"/>
                <a:gd name="T57" fmla="*/ 2147483647 h 1590"/>
                <a:gd name="T58" fmla="*/ 0 w 1740"/>
                <a:gd name="T59" fmla="*/ 2147483647 h 1590"/>
                <a:gd name="T60" fmla="*/ 2147483647 w 1740"/>
                <a:gd name="T61" fmla="*/ 2147483647 h 1590"/>
                <a:gd name="T62" fmla="*/ 2147483647 w 1740"/>
                <a:gd name="T63" fmla="*/ 2147483647 h 1590"/>
                <a:gd name="T64" fmla="*/ 2147483647 w 1740"/>
                <a:gd name="T65" fmla="*/ 2147483647 h 1590"/>
                <a:gd name="T66" fmla="*/ 2147483647 w 1740"/>
                <a:gd name="T67" fmla="*/ 2147483647 h 1590"/>
                <a:gd name="T68" fmla="*/ 2147483647 w 1740"/>
                <a:gd name="T69" fmla="*/ 2147483647 h 1590"/>
                <a:gd name="T70" fmla="*/ 2147483647 w 1740"/>
                <a:gd name="T71" fmla="*/ 2147483647 h 1590"/>
                <a:gd name="T72" fmla="*/ 2147483647 w 1740"/>
                <a:gd name="T73" fmla="*/ 2147483647 h 1590"/>
                <a:gd name="T74" fmla="*/ 2147483647 w 1740"/>
                <a:gd name="T75" fmla="*/ 2147483647 h 1590"/>
                <a:gd name="T76" fmla="*/ 2147483647 w 1740"/>
                <a:gd name="T77" fmla="*/ 2147483647 h 1590"/>
                <a:gd name="T78" fmla="*/ 2147483647 w 1740"/>
                <a:gd name="T79" fmla="*/ 2147483647 h 1590"/>
                <a:gd name="T80" fmla="*/ 2147483647 w 1740"/>
                <a:gd name="T81" fmla="*/ 2147483647 h 1590"/>
                <a:gd name="T82" fmla="*/ 2147483647 w 1740"/>
                <a:gd name="T83" fmla="*/ 2147483647 h 1590"/>
                <a:gd name="T84" fmla="*/ 2147483647 w 1740"/>
                <a:gd name="T85" fmla="*/ 2147483647 h 1590"/>
                <a:gd name="T86" fmla="*/ 2147483647 w 1740"/>
                <a:gd name="T87" fmla="*/ 2147483647 h 1590"/>
                <a:gd name="T88" fmla="*/ 2147483647 w 1740"/>
                <a:gd name="T89" fmla="*/ 2147483647 h 1590"/>
                <a:gd name="T90" fmla="*/ 2147483647 w 1740"/>
                <a:gd name="T91" fmla="*/ 0 h 1590"/>
                <a:gd name="T92" fmla="*/ 2147483647 w 1740"/>
                <a:gd name="T93" fmla="*/ 2147483647 h 1590"/>
                <a:gd name="T94" fmla="*/ 2147483647 w 1740"/>
                <a:gd name="T95" fmla="*/ 2147483647 h 1590"/>
                <a:gd name="T96" fmla="*/ 2147483647 w 1740"/>
                <a:gd name="T97" fmla="*/ 2147483647 h 1590"/>
                <a:gd name="T98" fmla="*/ 2147483647 w 1740"/>
                <a:gd name="T99" fmla="*/ 2147483647 h 1590"/>
                <a:gd name="T100" fmla="*/ 2147483647 w 1740"/>
                <a:gd name="T101" fmla="*/ 2147483647 h 1590"/>
                <a:gd name="T102" fmla="*/ 2147483647 w 1740"/>
                <a:gd name="T103" fmla="*/ 2147483647 h 1590"/>
                <a:gd name="T104" fmla="*/ 2147483647 w 1740"/>
                <a:gd name="T105" fmla="*/ 2147483647 h 1590"/>
                <a:gd name="T106" fmla="*/ 2147483647 w 1740"/>
                <a:gd name="T107" fmla="*/ 2147483647 h 1590"/>
                <a:gd name="T108" fmla="*/ 2147483647 w 1740"/>
                <a:gd name="T109" fmla="*/ 2147483647 h 1590"/>
                <a:gd name="T110" fmla="*/ 2147483647 w 1740"/>
                <a:gd name="T111" fmla="*/ 2147483647 h 1590"/>
                <a:gd name="T112" fmla="*/ 2147483647 w 1740"/>
                <a:gd name="T113" fmla="*/ 2147483647 h 1590"/>
                <a:gd name="T114" fmla="*/ 2147483647 w 1740"/>
                <a:gd name="T115" fmla="*/ 2147483647 h 1590"/>
                <a:gd name="T116" fmla="*/ 2147483647 w 1740"/>
                <a:gd name="T117" fmla="*/ 2147483647 h 1590"/>
                <a:gd name="T118" fmla="*/ 2147483647 w 1740"/>
                <a:gd name="T119" fmla="*/ 2147483647 h 1590"/>
                <a:gd name="T120" fmla="*/ 2147483647 w 1740"/>
                <a:gd name="T121" fmla="*/ 2147483647 h 1590"/>
                <a:gd name="T122" fmla="*/ 2147483647 w 1740"/>
                <a:gd name="T123" fmla="*/ 2147483647 h 159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740"/>
                <a:gd name="T187" fmla="*/ 0 h 1590"/>
                <a:gd name="T188" fmla="*/ 1740 w 1740"/>
                <a:gd name="T189" fmla="*/ 1590 h 159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740" h="1590">
                  <a:moveTo>
                    <a:pt x="1638" y="1458"/>
                  </a:moveTo>
                  <a:lnTo>
                    <a:pt x="1638" y="1482"/>
                  </a:lnTo>
                  <a:lnTo>
                    <a:pt x="1638" y="1500"/>
                  </a:lnTo>
                  <a:lnTo>
                    <a:pt x="1626" y="1500"/>
                  </a:lnTo>
                  <a:lnTo>
                    <a:pt x="1620" y="1500"/>
                  </a:lnTo>
                  <a:lnTo>
                    <a:pt x="1614" y="1500"/>
                  </a:lnTo>
                  <a:lnTo>
                    <a:pt x="1614" y="1506"/>
                  </a:lnTo>
                  <a:lnTo>
                    <a:pt x="1614" y="1512"/>
                  </a:lnTo>
                  <a:lnTo>
                    <a:pt x="1620" y="1518"/>
                  </a:lnTo>
                  <a:lnTo>
                    <a:pt x="1614" y="1524"/>
                  </a:lnTo>
                  <a:lnTo>
                    <a:pt x="1590" y="1536"/>
                  </a:lnTo>
                  <a:lnTo>
                    <a:pt x="1584" y="1566"/>
                  </a:lnTo>
                  <a:lnTo>
                    <a:pt x="1578" y="1590"/>
                  </a:lnTo>
                  <a:lnTo>
                    <a:pt x="1548" y="1590"/>
                  </a:lnTo>
                  <a:lnTo>
                    <a:pt x="1542" y="1584"/>
                  </a:lnTo>
                  <a:lnTo>
                    <a:pt x="1542" y="1572"/>
                  </a:lnTo>
                  <a:lnTo>
                    <a:pt x="1536" y="1566"/>
                  </a:lnTo>
                  <a:lnTo>
                    <a:pt x="1536" y="1554"/>
                  </a:lnTo>
                  <a:lnTo>
                    <a:pt x="1536" y="1548"/>
                  </a:lnTo>
                  <a:lnTo>
                    <a:pt x="1506" y="1530"/>
                  </a:lnTo>
                  <a:lnTo>
                    <a:pt x="1488" y="1506"/>
                  </a:lnTo>
                  <a:lnTo>
                    <a:pt x="1464" y="1500"/>
                  </a:lnTo>
                  <a:lnTo>
                    <a:pt x="1470" y="1494"/>
                  </a:lnTo>
                  <a:lnTo>
                    <a:pt x="1470" y="1488"/>
                  </a:lnTo>
                  <a:lnTo>
                    <a:pt x="1470" y="1482"/>
                  </a:lnTo>
                  <a:lnTo>
                    <a:pt x="1428" y="1464"/>
                  </a:lnTo>
                  <a:lnTo>
                    <a:pt x="1404" y="1470"/>
                  </a:lnTo>
                  <a:lnTo>
                    <a:pt x="1398" y="1470"/>
                  </a:lnTo>
                  <a:lnTo>
                    <a:pt x="1392" y="1476"/>
                  </a:lnTo>
                  <a:lnTo>
                    <a:pt x="1386" y="1476"/>
                  </a:lnTo>
                  <a:lnTo>
                    <a:pt x="1386" y="1482"/>
                  </a:lnTo>
                  <a:lnTo>
                    <a:pt x="1392" y="1482"/>
                  </a:lnTo>
                  <a:lnTo>
                    <a:pt x="1386" y="1488"/>
                  </a:lnTo>
                  <a:lnTo>
                    <a:pt x="1386" y="1494"/>
                  </a:lnTo>
                  <a:lnTo>
                    <a:pt x="1380" y="1494"/>
                  </a:lnTo>
                  <a:lnTo>
                    <a:pt x="1380" y="1500"/>
                  </a:lnTo>
                  <a:lnTo>
                    <a:pt x="1380" y="1512"/>
                  </a:lnTo>
                  <a:lnTo>
                    <a:pt x="1380" y="1518"/>
                  </a:lnTo>
                  <a:lnTo>
                    <a:pt x="1380" y="1524"/>
                  </a:lnTo>
                  <a:lnTo>
                    <a:pt x="1380" y="1530"/>
                  </a:lnTo>
                  <a:lnTo>
                    <a:pt x="1374" y="1536"/>
                  </a:lnTo>
                  <a:lnTo>
                    <a:pt x="1374" y="1542"/>
                  </a:lnTo>
                  <a:lnTo>
                    <a:pt x="1368" y="1542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44" y="1554"/>
                  </a:lnTo>
                  <a:lnTo>
                    <a:pt x="1332" y="1560"/>
                  </a:lnTo>
                  <a:lnTo>
                    <a:pt x="1302" y="1554"/>
                  </a:lnTo>
                  <a:lnTo>
                    <a:pt x="1290" y="1554"/>
                  </a:lnTo>
                  <a:lnTo>
                    <a:pt x="1278" y="1542"/>
                  </a:lnTo>
                  <a:lnTo>
                    <a:pt x="1272" y="1530"/>
                  </a:lnTo>
                  <a:lnTo>
                    <a:pt x="1272" y="1524"/>
                  </a:lnTo>
                  <a:lnTo>
                    <a:pt x="1272" y="1518"/>
                  </a:lnTo>
                  <a:lnTo>
                    <a:pt x="1266" y="1518"/>
                  </a:lnTo>
                  <a:lnTo>
                    <a:pt x="1266" y="1512"/>
                  </a:lnTo>
                  <a:lnTo>
                    <a:pt x="1266" y="1506"/>
                  </a:lnTo>
                  <a:lnTo>
                    <a:pt x="1272" y="1506"/>
                  </a:lnTo>
                  <a:lnTo>
                    <a:pt x="1272" y="1500"/>
                  </a:lnTo>
                  <a:lnTo>
                    <a:pt x="1278" y="1500"/>
                  </a:lnTo>
                  <a:lnTo>
                    <a:pt x="1278" y="1494"/>
                  </a:lnTo>
                  <a:lnTo>
                    <a:pt x="1278" y="1488"/>
                  </a:lnTo>
                  <a:lnTo>
                    <a:pt x="1284" y="1488"/>
                  </a:lnTo>
                  <a:lnTo>
                    <a:pt x="1284" y="1482"/>
                  </a:lnTo>
                  <a:lnTo>
                    <a:pt x="1290" y="1476"/>
                  </a:lnTo>
                  <a:lnTo>
                    <a:pt x="1284" y="1470"/>
                  </a:lnTo>
                  <a:lnTo>
                    <a:pt x="1278" y="1458"/>
                  </a:lnTo>
                  <a:lnTo>
                    <a:pt x="1278" y="1452"/>
                  </a:lnTo>
                  <a:lnTo>
                    <a:pt x="1260" y="1428"/>
                  </a:lnTo>
                  <a:lnTo>
                    <a:pt x="1254" y="1416"/>
                  </a:lnTo>
                  <a:lnTo>
                    <a:pt x="1254" y="1410"/>
                  </a:lnTo>
                  <a:lnTo>
                    <a:pt x="1248" y="1398"/>
                  </a:lnTo>
                  <a:lnTo>
                    <a:pt x="1242" y="1398"/>
                  </a:lnTo>
                  <a:lnTo>
                    <a:pt x="1236" y="1398"/>
                  </a:lnTo>
                  <a:lnTo>
                    <a:pt x="1218" y="1386"/>
                  </a:lnTo>
                  <a:lnTo>
                    <a:pt x="1212" y="1362"/>
                  </a:lnTo>
                  <a:lnTo>
                    <a:pt x="1200" y="1344"/>
                  </a:lnTo>
                  <a:lnTo>
                    <a:pt x="1188" y="1338"/>
                  </a:lnTo>
                  <a:lnTo>
                    <a:pt x="1164" y="1338"/>
                  </a:lnTo>
                  <a:lnTo>
                    <a:pt x="1158" y="1344"/>
                  </a:lnTo>
                  <a:lnTo>
                    <a:pt x="1152" y="1350"/>
                  </a:lnTo>
                  <a:lnTo>
                    <a:pt x="1152" y="1356"/>
                  </a:lnTo>
                  <a:lnTo>
                    <a:pt x="1140" y="1362"/>
                  </a:lnTo>
                  <a:lnTo>
                    <a:pt x="1134" y="1380"/>
                  </a:lnTo>
                  <a:lnTo>
                    <a:pt x="1116" y="1398"/>
                  </a:lnTo>
                  <a:lnTo>
                    <a:pt x="1110" y="1416"/>
                  </a:lnTo>
                  <a:lnTo>
                    <a:pt x="1086" y="1416"/>
                  </a:lnTo>
                  <a:lnTo>
                    <a:pt x="1080" y="1410"/>
                  </a:lnTo>
                  <a:lnTo>
                    <a:pt x="1074" y="1410"/>
                  </a:lnTo>
                  <a:lnTo>
                    <a:pt x="1074" y="1404"/>
                  </a:lnTo>
                  <a:lnTo>
                    <a:pt x="1062" y="1404"/>
                  </a:lnTo>
                  <a:lnTo>
                    <a:pt x="1062" y="1380"/>
                  </a:lnTo>
                  <a:lnTo>
                    <a:pt x="1038" y="1380"/>
                  </a:lnTo>
                  <a:lnTo>
                    <a:pt x="1026" y="1350"/>
                  </a:lnTo>
                  <a:lnTo>
                    <a:pt x="996" y="1326"/>
                  </a:lnTo>
                  <a:lnTo>
                    <a:pt x="966" y="1314"/>
                  </a:lnTo>
                  <a:lnTo>
                    <a:pt x="954" y="1320"/>
                  </a:lnTo>
                  <a:lnTo>
                    <a:pt x="942" y="1338"/>
                  </a:lnTo>
                  <a:lnTo>
                    <a:pt x="930" y="1338"/>
                  </a:lnTo>
                  <a:lnTo>
                    <a:pt x="924" y="1350"/>
                  </a:lnTo>
                  <a:lnTo>
                    <a:pt x="906" y="1356"/>
                  </a:lnTo>
                  <a:lnTo>
                    <a:pt x="846" y="1356"/>
                  </a:lnTo>
                  <a:lnTo>
                    <a:pt x="834" y="1368"/>
                  </a:lnTo>
                  <a:lnTo>
                    <a:pt x="810" y="1362"/>
                  </a:lnTo>
                  <a:lnTo>
                    <a:pt x="792" y="1362"/>
                  </a:lnTo>
                  <a:lnTo>
                    <a:pt x="780" y="1368"/>
                  </a:lnTo>
                  <a:lnTo>
                    <a:pt x="762" y="1368"/>
                  </a:lnTo>
                  <a:lnTo>
                    <a:pt x="762" y="1362"/>
                  </a:lnTo>
                  <a:lnTo>
                    <a:pt x="750" y="1362"/>
                  </a:lnTo>
                  <a:lnTo>
                    <a:pt x="750" y="1338"/>
                  </a:lnTo>
                  <a:lnTo>
                    <a:pt x="762" y="1338"/>
                  </a:lnTo>
                  <a:lnTo>
                    <a:pt x="762" y="1326"/>
                  </a:lnTo>
                  <a:lnTo>
                    <a:pt x="762" y="1314"/>
                  </a:lnTo>
                  <a:lnTo>
                    <a:pt x="732" y="1314"/>
                  </a:lnTo>
                  <a:lnTo>
                    <a:pt x="726" y="1308"/>
                  </a:lnTo>
                  <a:lnTo>
                    <a:pt x="732" y="1284"/>
                  </a:lnTo>
                  <a:lnTo>
                    <a:pt x="732" y="1278"/>
                  </a:lnTo>
                  <a:lnTo>
                    <a:pt x="738" y="1272"/>
                  </a:lnTo>
                  <a:lnTo>
                    <a:pt x="738" y="1266"/>
                  </a:lnTo>
                  <a:lnTo>
                    <a:pt x="744" y="1266"/>
                  </a:lnTo>
                  <a:lnTo>
                    <a:pt x="750" y="1272"/>
                  </a:lnTo>
                  <a:lnTo>
                    <a:pt x="756" y="1266"/>
                  </a:lnTo>
                  <a:lnTo>
                    <a:pt x="762" y="1266"/>
                  </a:lnTo>
                  <a:lnTo>
                    <a:pt x="768" y="1260"/>
                  </a:lnTo>
                  <a:lnTo>
                    <a:pt x="774" y="1260"/>
                  </a:lnTo>
                  <a:lnTo>
                    <a:pt x="780" y="1254"/>
                  </a:lnTo>
                  <a:lnTo>
                    <a:pt x="774" y="1254"/>
                  </a:lnTo>
                  <a:lnTo>
                    <a:pt x="768" y="1254"/>
                  </a:lnTo>
                  <a:lnTo>
                    <a:pt x="774" y="1248"/>
                  </a:lnTo>
                  <a:lnTo>
                    <a:pt x="774" y="1242"/>
                  </a:lnTo>
                  <a:lnTo>
                    <a:pt x="780" y="1236"/>
                  </a:lnTo>
                  <a:lnTo>
                    <a:pt x="786" y="1236"/>
                  </a:lnTo>
                  <a:lnTo>
                    <a:pt x="792" y="1230"/>
                  </a:lnTo>
                  <a:lnTo>
                    <a:pt x="792" y="1236"/>
                  </a:lnTo>
                  <a:lnTo>
                    <a:pt x="798" y="1236"/>
                  </a:lnTo>
                  <a:lnTo>
                    <a:pt x="798" y="1230"/>
                  </a:lnTo>
                  <a:lnTo>
                    <a:pt x="804" y="1230"/>
                  </a:lnTo>
                  <a:lnTo>
                    <a:pt x="804" y="1218"/>
                  </a:lnTo>
                  <a:lnTo>
                    <a:pt x="804" y="1206"/>
                  </a:lnTo>
                  <a:lnTo>
                    <a:pt x="792" y="1188"/>
                  </a:lnTo>
                  <a:lnTo>
                    <a:pt x="768" y="1182"/>
                  </a:lnTo>
                  <a:lnTo>
                    <a:pt x="768" y="1170"/>
                  </a:lnTo>
                  <a:lnTo>
                    <a:pt x="774" y="1170"/>
                  </a:lnTo>
                  <a:lnTo>
                    <a:pt x="780" y="1170"/>
                  </a:lnTo>
                  <a:lnTo>
                    <a:pt x="786" y="1170"/>
                  </a:lnTo>
                  <a:lnTo>
                    <a:pt x="780" y="1152"/>
                  </a:lnTo>
                  <a:lnTo>
                    <a:pt x="780" y="1146"/>
                  </a:lnTo>
                  <a:lnTo>
                    <a:pt x="744" y="1140"/>
                  </a:lnTo>
                  <a:lnTo>
                    <a:pt x="732" y="1128"/>
                  </a:lnTo>
                  <a:lnTo>
                    <a:pt x="720" y="1122"/>
                  </a:lnTo>
                  <a:lnTo>
                    <a:pt x="732" y="1116"/>
                  </a:lnTo>
                  <a:lnTo>
                    <a:pt x="750" y="1104"/>
                  </a:lnTo>
                  <a:lnTo>
                    <a:pt x="756" y="1116"/>
                  </a:lnTo>
                  <a:lnTo>
                    <a:pt x="774" y="1116"/>
                  </a:lnTo>
                  <a:lnTo>
                    <a:pt x="780" y="1104"/>
                  </a:lnTo>
                  <a:lnTo>
                    <a:pt x="780" y="1080"/>
                  </a:lnTo>
                  <a:lnTo>
                    <a:pt x="786" y="1080"/>
                  </a:lnTo>
                  <a:lnTo>
                    <a:pt x="786" y="1074"/>
                  </a:lnTo>
                  <a:lnTo>
                    <a:pt x="792" y="1074"/>
                  </a:lnTo>
                  <a:lnTo>
                    <a:pt x="786" y="1068"/>
                  </a:lnTo>
                  <a:lnTo>
                    <a:pt x="786" y="1062"/>
                  </a:lnTo>
                  <a:lnTo>
                    <a:pt x="786" y="1056"/>
                  </a:lnTo>
                  <a:lnTo>
                    <a:pt x="792" y="1050"/>
                  </a:lnTo>
                  <a:lnTo>
                    <a:pt x="786" y="1020"/>
                  </a:lnTo>
                  <a:lnTo>
                    <a:pt x="780" y="960"/>
                  </a:lnTo>
                  <a:lnTo>
                    <a:pt x="768" y="942"/>
                  </a:lnTo>
                  <a:lnTo>
                    <a:pt x="732" y="936"/>
                  </a:lnTo>
                  <a:lnTo>
                    <a:pt x="732" y="942"/>
                  </a:lnTo>
                  <a:lnTo>
                    <a:pt x="726" y="942"/>
                  </a:lnTo>
                  <a:lnTo>
                    <a:pt x="720" y="936"/>
                  </a:lnTo>
                  <a:lnTo>
                    <a:pt x="714" y="942"/>
                  </a:lnTo>
                  <a:lnTo>
                    <a:pt x="708" y="942"/>
                  </a:lnTo>
                  <a:lnTo>
                    <a:pt x="702" y="942"/>
                  </a:lnTo>
                  <a:lnTo>
                    <a:pt x="690" y="936"/>
                  </a:lnTo>
                  <a:lnTo>
                    <a:pt x="684" y="936"/>
                  </a:lnTo>
                  <a:lnTo>
                    <a:pt x="678" y="936"/>
                  </a:lnTo>
                  <a:lnTo>
                    <a:pt x="672" y="936"/>
                  </a:lnTo>
                  <a:lnTo>
                    <a:pt x="666" y="942"/>
                  </a:lnTo>
                  <a:lnTo>
                    <a:pt x="660" y="942"/>
                  </a:lnTo>
                  <a:lnTo>
                    <a:pt x="654" y="942"/>
                  </a:lnTo>
                  <a:lnTo>
                    <a:pt x="648" y="942"/>
                  </a:lnTo>
                  <a:lnTo>
                    <a:pt x="642" y="936"/>
                  </a:lnTo>
                  <a:lnTo>
                    <a:pt x="636" y="936"/>
                  </a:lnTo>
                  <a:lnTo>
                    <a:pt x="630" y="930"/>
                  </a:lnTo>
                  <a:lnTo>
                    <a:pt x="618" y="930"/>
                  </a:lnTo>
                  <a:lnTo>
                    <a:pt x="612" y="930"/>
                  </a:lnTo>
                  <a:lnTo>
                    <a:pt x="606" y="936"/>
                  </a:lnTo>
                  <a:lnTo>
                    <a:pt x="600" y="942"/>
                  </a:lnTo>
                  <a:lnTo>
                    <a:pt x="600" y="936"/>
                  </a:lnTo>
                  <a:lnTo>
                    <a:pt x="594" y="930"/>
                  </a:lnTo>
                  <a:lnTo>
                    <a:pt x="588" y="930"/>
                  </a:lnTo>
                  <a:lnTo>
                    <a:pt x="582" y="930"/>
                  </a:lnTo>
                  <a:lnTo>
                    <a:pt x="576" y="930"/>
                  </a:lnTo>
                  <a:lnTo>
                    <a:pt x="564" y="936"/>
                  </a:lnTo>
                  <a:lnTo>
                    <a:pt x="558" y="936"/>
                  </a:lnTo>
                  <a:lnTo>
                    <a:pt x="546" y="924"/>
                  </a:lnTo>
                  <a:lnTo>
                    <a:pt x="540" y="924"/>
                  </a:lnTo>
                  <a:lnTo>
                    <a:pt x="534" y="918"/>
                  </a:lnTo>
                  <a:lnTo>
                    <a:pt x="528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6" y="918"/>
                  </a:lnTo>
                  <a:lnTo>
                    <a:pt x="516" y="912"/>
                  </a:lnTo>
                  <a:lnTo>
                    <a:pt x="510" y="894"/>
                  </a:lnTo>
                  <a:lnTo>
                    <a:pt x="510" y="882"/>
                  </a:lnTo>
                  <a:lnTo>
                    <a:pt x="510" y="876"/>
                  </a:lnTo>
                  <a:lnTo>
                    <a:pt x="516" y="870"/>
                  </a:lnTo>
                  <a:lnTo>
                    <a:pt x="510" y="864"/>
                  </a:lnTo>
                  <a:lnTo>
                    <a:pt x="516" y="858"/>
                  </a:lnTo>
                  <a:lnTo>
                    <a:pt x="522" y="858"/>
                  </a:lnTo>
                  <a:lnTo>
                    <a:pt x="528" y="858"/>
                  </a:lnTo>
                  <a:lnTo>
                    <a:pt x="522" y="852"/>
                  </a:lnTo>
                  <a:lnTo>
                    <a:pt x="528" y="852"/>
                  </a:lnTo>
                  <a:lnTo>
                    <a:pt x="528" y="846"/>
                  </a:lnTo>
                  <a:lnTo>
                    <a:pt x="552" y="846"/>
                  </a:lnTo>
                  <a:lnTo>
                    <a:pt x="558" y="840"/>
                  </a:lnTo>
                  <a:lnTo>
                    <a:pt x="564" y="828"/>
                  </a:lnTo>
                  <a:lnTo>
                    <a:pt x="570" y="816"/>
                  </a:lnTo>
                  <a:lnTo>
                    <a:pt x="582" y="810"/>
                  </a:lnTo>
                  <a:lnTo>
                    <a:pt x="588" y="804"/>
                  </a:lnTo>
                  <a:lnTo>
                    <a:pt x="594" y="804"/>
                  </a:lnTo>
                  <a:lnTo>
                    <a:pt x="594" y="792"/>
                  </a:lnTo>
                  <a:lnTo>
                    <a:pt x="600" y="786"/>
                  </a:lnTo>
                  <a:lnTo>
                    <a:pt x="606" y="780"/>
                  </a:lnTo>
                  <a:lnTo>
                    <a:pt x="612" y="774"/>
                  </a:lnTo>
                  <a:lnTo>
                    <a:pt x="618" y="774"/>
                  </a:lnTo>
                  <a:lnTo>
                    <a:pt x="618" y="768"/>
                  </a:lnTo>
                  <a:lnTo>
                    <a:pt x="618" y="762"/>
                  </a:lnTo>
                  <a:lnTo>
                    <a:pt x="624" y="756"/>
                  </a:lnTo>
                  <a:lnTo>
                    <a:pt x="618" y="750"/>
                  </a:lnTo>
                  <a:lnTo>
                    <a:pt x="618" y="744"/>
                  </a:lnTo>
                  <a:lnTo>
                    <a:pt x="600" y="738"/>
                  </a:lnTo>
                  <a:lnTo>
                    <a:pt x="558" y="744"/>
                  </a:lnTo>
                  <a:lnTo>
                    <a:pt x="552" y="732"/>
                  </a:lnTo>
                  <a:lnTo>
                    <a:pt x="546" y="720"/>
                  </a:lnTo>
                  <a:lnTo>
                    <a:pt x="564" y="702"/>
                  </a:lnTo>
                  <a:lnTo>
                    <a:pt x="570" y="684"/>
                  </a:lnTo>
                  <a:lnTo>
                    <a:pt x="564" y="648"/>
                  </a:lnTo>
                  <a:lnTo>
                    <a:pt x="534" y="624"/>
                  </a:lnTo>
                  <a:lnTo>
                    <a:pt x="504" y="612"/>
                  </a:lnTo>
                  <a:lnTo>
                    <a:pt x="498" y="606"/>
                  </a:lnTo>
                  <a:lnTo>
                    <a:pt x="492" y="600"/>
                  </a:lnTo>
                  <a:lnTo>
                    <a:pt x="486" y="606"/>
                  </a:lnTo>
                  <a:lnTo>
                    <a:pt x="480" y="558"/>
                  </a:lnTo>
                  <a:lnTo>
                    <a:pt x="462" y="546"/>
                  </a:lnTo>
                  <a:lnTo>
                    <a:pt x="408" y="540"/>
                  </a:lnTo>
                  <a:lnTo>
                    <a:pt x="408" y="546"/>
                  </a:lnTo>
                  <a:lnTo>
                    <a:pt x="408" y="558"/>
                  </a:lnTo>
                  <a:lnTo>
                    <a:pt x="408" y="564"/>
                  </a:lnTo>
                  <a:lnTo>
                    <a:pt x="408" y="570"/>
                  </a:lnTo>
                  <a:lnTo>
                    <a:pt x="414" y="582"/>
                  </a:lnTo>
                  <a:lnTo>
                    <a:pt x="408" y="594"/>
                  </a:lnTo>
                  <a:lnTo>
                    <a:pt x="414" y="594"/>
                  </a:lnTo>
                  <a:lnTo>
                    <a:pt x="408" y="600"/>
                  </a:lnTo>
                  <a:lnTo>
                    <a:pt x="348" y="600"/>
                  </a:lnTo>
                  <a:lnTo>
                    <a:pt x="324" y="600"/>
                  </a:lnTo>
                  <a:lnTo>
                    <a:pt x="324" y="612"/>
                  </a:lnTo>
                  <a:lnTo>
                    <a:pt x="306" y="618"/>
                  </a:lnTo>
                  <a:lnTo>
                    <a:pt x="312" y="618"/>
                  </a:lnTo>
                  <a:lnTo>
                    <a:pt x="294" y="588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76"/>
                  </a:lnTo>
                  <a:lnTo>
                    <a:pt x="240" y="582"/>
                  </a:lnTo>
                  <a:lnTo>
                    <a:pt x="234" y="582"/>
                  </a:lnTo>
                  <a:lnTo>
                    <a:pt x="228" y="588"/>
                  </a:lnTo>
                  <a:lnTo>
                    <a:pt x="222" y="588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8" y="600"/>
                  </a:lnTo>
                  <a:lnTo>
                    <a:pt x="192" y="612"/>
                  </a:lnTo>
                  <a:lnTo>
                    <a:pt x="192" y="618"/>
                  </a:lnTo>
                  <a:lnTo>
                    <a:pt x="198" y="624"/>
                  </a:lnTo>
                  <a:lnTo>
                    <a:pt x="192" y="624"/>
                  </a:lnTo>
                  <a:lnTo>
                    <a:pt x="192" y="630"/>
                  </a:lnTo>
                  <a:lnTo>
                    <a:pt x="192" y="642"/>
                  </a:lnTo>
                  <a:lnTo>
                    <a:pt x="180" y="648"/>
                  </a:lnTo>
                  <a:lnTo>
                    <a:pt x="174" y="654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6"/>
                  </a:lnTo>
                  <a:lnTo>
                    <a:pt x="156" y="672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90"/>
                  </a:lnTo>
                  <a:lnTo>
                    <a:pt x="132" y="690"/>
                  </a:lnTo>
                  <a:lnTo>
                    <a:pt x="126" y="702"/>
                  </a:lnTo>
                  <a:lnTo>
                    <a:pt x="132" y="708"/>
                  </a:lnTo>
                  <a:lnTo>
                    <a:pt x="126" y="708"/>
                  </a:lnTo>
                  <a:lnTo>
                    <a:pt x="120" y="708"/>
                  </a:lnTo>
                  <a:lnTo>
                    <a:pt x="114" y="708"/>
                  </a:lnTo>
                  <a:lnTo>
                    <a:pt x="108" y="708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78" y="720"/>
                  </a:lnTo>
                  <a:lnTo>
                    <a:pt x="72" y="720"/>
                  </a:lnTo>
                  <a:lnTo>
                    <a:pt x="66" y="720"/>
                  </a:lnTo>
                  <a:lnTo>
                    <a:pt x="54" y="732"/>
                  </a:lnTo>
                  <a:lnTo>
                    <a:pt x="48" y="702"/>
                  </a:lnTo>
                  <a:lnTo>
                    <a:pt x="36" y="666"/>
                  </a:lnTo>
                  <a:lnTo>
                    <a:pt x="0" y="660"/>
                  </a:lnTo>
                  <a:lnTo>
                    <a:pt x="6" y="660"/>
                  </a:lnTo>
                  <a:lnTo>
                    <a:pt x="6" y="654"/>
                  </a:lnTo>
                  <a:lnTo>
                    <a:pt x="6" y="648"/>
                  </a:lnTo>
                  <a:lnTo>
                    <a:pt x="6" y="642"/>
                  </a:lnTo>
                  <a:lnTo>
                    <a:pt x="6" y="624"/>
                  </a:lnTo>
                  <a:lnTo>
                    <a:pt x="6" y="612"/>
                  </a:lnTo>
                  <a:lnTo>
                    <a:pt x="6" y="606"/>
                  </a:lnTo>
                  <a:lnTo>
                    <a:pt x="12" y="612"/>
                  </a:lnTo>
                  <a:lnTo>
                    <a:pt x="18" y="606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30" y="594"/>
                  </a:lnTo>
                  <a:lnTo>
                    <a:pt x="30" y="588"/>
                  </a:lnTo>
                  <a:lnTo>
                    <a:pt x="30" y="582"/>
                  </a:lnTo>
                  <a:lnTo>
                    <a:pt x="24" y="576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18" y="558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36" y="528"/>
                  </a:lnTo>
                  <a:lnTo>
                    <a:pt x="30" y="522"/>
                  </a:lnTo>
                  <a:lnTo>
                    <a:pt x="24" y="522"/>
                  </a:lnTo>
                  <a:lnTo>
                    <a:pt x="18" y="510"/>
                  </a:lnTo>
                  <a:lnTo>
                    <a:pt x="12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8" y="474"/>
                  </a:lnTo>
                  <a:lnTo>
                    <a:pt x="12" y="468"/>
                  </a:lnTo>
                  <a:lnTo>
                    <a:pt x="12" y="462"/>
                  </a:lnTo>
                  <a:lnTo>
                    <a:pt x="18" y="456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0" y="420"/>
                  </a:lnTo>
                  <a:lnTo>
                    <a:pt x="30" y="414"/>
                  </a:lnTo>
                  <a:lnTo>
                    <a:pt x="48" y="414"/>
                  </a:lnTo>
                  <a:lnTo>
                    <a:pt x="54" y="408"/>
                  </a:lnTo>
                  <a:lnTo>
                    <a:pt x="60" y="402"/>
                  </a:lnTo>
                  <a:lnTo>
                    <a:pt x="66" y="402"/>
                  </a:lnTo>
                  <a:lnTo>
                    <a:pt x="72" y="402"/>
                  </a:lnTo>
                  <a:lnTo>
                    <a:pt x="78" y="408"/>
                  </a:lnTo>
                  <a:lnTo>
                    <a:pt x="84" y="396"/>
                  </a:lnTo>
                  <a:lnTo>
                    <a:pt x="90" y="390"/>
                  </a:lnTo>
                  <a:lnTo>
                    <a:pt x="90" y="378"/>
                  </a:lnTo>
                  <a:lnTo>
                    <a:pt x="96" y="372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8" y="354"/>
                  </a:lnTo>
                  <a:lnTo>
                    <a:pt x="114" y="348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32" y="336"/>
                  </a:lnTo>
                  <a:lnTo>
                    <a:pt x="132" y="330"/>
                  </a:lnTo>
                  <a:lnTo>
                    <a:pt x="138" y="324"/>
                  </a:lnTo>
                  <a:lnTo>
                    <a:pt x="138" y="318"/>
                  </a:lnTo>
                  <a:lnTo>
                    <a:pt x="144" y="306"/>
                  </a:lnTo>
                  <a:lnTo>
                    <a:pt x="156" y="306"/>
                  </a:lnTo>
                  <a:lnTo>
                    <a:pt x="186" y="300"/>
                  </a:lnTo>
                  <a:lnTo>
                    <a:pt x="198" y="300"/>
                  </a:lnTo>
                  <a:lnTo>
                    <a:pt x="210" y="300"/>
                  </a:lnTo>
                  <a:lnTo>
                    <a:pt x="222" y="300"/>
                  </a:lnTo>
                  <a:lnTo>
                    <a:pt x="246" y="300"/>
                  </a:lnTo>
                  <a:lnTo>
                    <a:pt x="264" y="312"/>
                  </a:lnTo>
                  <a:lnTo>
                    <a:pt x="270" y="312"/>
                  </a:lnTo>
                  <a:lnTo>
                    <a:pt x="282" y="306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300" y="306"/>
                  </a:lnTo>
                  <a:lnTo>
                    <a:pt x="312" y="306"/>
                  </a:lnTo>
                  <a:lnTo>
                    <a:pt x="318" y="300"/>
                  </a:lnTo>
                  <a:lnTo>
                    <a:pt x="324" y="300"/>
                  </a:lnTo>
                  <a:lnTo>
                    <a:pt x="330" y="294"/>
                  </a:lnTo>
                  <a:lnTo>
                    <a:pt x="336" y="288"/>
                  </a:lnTo>
                  <a:lnTo>
                    <a:pt x="354" y="288"/>
                  </a:lnTo>
                  <a:lnTo>
                    <a:pt x="360" y="288"/>
                  </a:lnTo>
                  <a:lnTo>
                    <a:pt x="366" y="282"/>
                  </a:lnTo>
                  <a:lnTo>
                    <a:pt x="372" y="282"/>
                  </a:lnTo>
                  <a:lnTo>
                    <a:pt x="378" y="282"/>
                  </a:lnTo>
                  <a:lnTo>
                    <a:pt x="384" y="276"/>
                  </a:lnTo>
                  <a:lnTo>
                    <a:pt x="384" y="270"/>
                  </a:lnTo>
                  <a:lnTo>
                    <a:pt x="390" y="264"/>
                  </a:lnTo>
                  <a:lnTo>
                    <a:pt x="402" y="258"/>
                  </a:lnTo>
                  <a:lnTo>
                    <a:pt x="402" y="252"/>
                  </a:lnTo>
                  <a:lnTo>
                    <a:pt x="402" y="246"/>
                  </a:lnTo>
                  <a:lnTo>
                    <a:pt x="408" y="234"/>
                  </a:lnTo>
                  <a:lnTo>
                    <a:pt x="414" y="234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14" y="216"/>
                  </a:lnTo>
                  <a:lnTo>
                    <a:pt x="414" y="210"/>
                  </a:lnTo>
                  <a:lnTo>
                    <a:pt x="420" y="210"/>
                  </a:lnTo>
                  <a:lnTo>
                    <a:pt x="414" y="198"/>
                  </a:lnTo>
                  <a:lnTo>
                    <a:pt x="414" y="192"/>
                  </a:lnTo>
                  <a:lnTo>
                    <a:pt x="420" y="192"/>
                  </a:lnTo>
                  <a:lnTo>
                    <a:pt x="420" y="186"/>
                  </a:lnTo>
                  <a:lnTo>
                    <a:pt x="420" y="174"/>
                  </a:lnTo>
                  <a:lnTo>
                    <a:pt x="420" y="168"/>
                  </a:lnTo>
                  <a:lnTo>
                    <a:pt x="426" y="162"/>
                  </a:lnTo>
                  <a:lnTo>
                    <a:pt x="432" y="156"/>
                  </a:lnTo>
                  <a:lnTo>
                    <a:pt x="438" y="144"/>
                  </a:lnTo>
                  <a:lnTo>
                    <a:pt x="444" y="144"/>
                  </a:lnTo>
                  <a:lnTo>
                    <a:pt x="450" y="138"/>
                  </a:lnTo>
                  <a:lnTo>
                    <a:pt x="456" y="138"/>
                  </a:lnTo>
                  <a:lnTo>
                    <a:pt x="462" y="132"/>
                  </a:lnTo>
                  <a:lnTo>
                    <a:pt x="462" y="126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0"/>
                  </a:lnTo>
                  <a:lnTo>
                    <a:pt x="486" y="108"/>
                  </a:lnTo>
                  <a:lnTo>
                    <a:pt x="492" y="108"/>
                  </a:lnTo>
                  <a:lnTo>
                    <a:pt x="498" y="102"/>
                  </a:lnTo>
                  <a:lnTo>
                    <a:pt x="504" y="96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40" y="102"/>
                  </a:lnTo>
                  <a:lnTo>
                    <a:pt x="552" y="108"/>
                  </a:lnTo>
                  <a:lnTo>
                    <a:pt x="582" y="102"/>
                  </a:lnTo>
                  <a:lnTo>
                    <a:pt x="594" y="126"/>
                  </a:lnTo>
                  <a:lnTo>
                    <a:pt x="594" y="144"/>
                  </a:lnTo>
                  <a:lnTo>
                    <a:pt x="588" y="156"/>
                  </a:lnTo>
                  <a:lnTo>
                    <a:pt x="588" y="168"/>
                  </a:lnTo>
                  <a:lnTo>
                    <a:pt x="582" y="180"/>
                  </a:lnTo>
                  <a:lnTo>
                    <a:pt x="570" y="192"/>
                  </a:lnTo>
                  <a:lnTo>
                    <a:pt x="594" y="192"/>
                  </a:lnTo>
                  <a:lnTo>
                    <a:pt x="618" y="198"/>
                  </a:lnTo>
                  <a:lnTo>
                    <a:pt x="642" y="210"/>
                  </a:lnTo>
                  <a:lnTo>
                    <a:pt x="660" y="234"/>
                  </a:lnTo>
                  <a:lnTo>
                    <a:pt x="678" y="246"/>
                  </a:lnTo>
                  <a:lnTo>
                    <a:pt x="684" y="252"/>
                  </a:lnTo>
                  <a:lnTo>
                    <a:pt x="702" y="252"/>
                  </a:lnTo>
                  <a:lnTo>
                    <a:pt x="732" y="234"/>
                  </a:lnTo>
                  <a:lnTo>
                    <a:pt x="732" y="222"/>
                  </a:lnTo>
                  <a:lnTo>
                    <a:pt x="720" y="216"/>
                  </a:lnTo>
                  <a:lnTo>
                    <a:pt x="714" y="198"/>
                  </a:lnTo>
                  <a:lnTo>
                    <a:pt x="714" y="174"/>
                  </a:lnTo>
                  <a:lnTo>
                    <a:pt x="720" y="162"/>
                  </a:lnTo>
                  <a:lnTo>
                    <a:pt x="726" y="162"/>
                  </a:lnTo>
                  <a:lnTo>
                    <a:pt x="732" y="156"/>
                  </a:lnTo>
                  <a:lnTo>
                    <a:pt x="744" y="150"/>
                  </a:lnTo>
                  <a:lnTo>
                    <a:pt x="774" y="162"/>
                  </a:lnTo>
                  <a:lnTo>
                    <a:pt x="786" y="162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16" y="150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2" y="132"/>
                  </a:lnTo>
                  <a:lnTo>
                    <a:pt x="822" y="114"/>
                  </a:lnTo>
                  <a:lnTo>
                    <a:pt x="828" y="108"/>
                  </a:lnTo>
                  <a:lnTo>
                    <a:pt x="834" y="96"/>
                  </a:lnTo>
                  <a:lnTo>
                    <a:pt x="846" y="96"/>
                  </a:lnTo>
                  <a:lnTo>
                    <a:pt x="858" y="90"/>
                  </a:lnTo>
                  <a:lnTo>
                    <a:pt x="870" y="84"/>
                  </a:lnTo>
                  <a:lnTo>
                    <a:pt x="888" y="84"/>
                  </a:lnTo>
                  <a:lnTo>
                    <a:pt x="894" y="90"/>
                  </a:lnTo>
                  <a:lnTo>
                    <a:pt x="894" y="102"/>
                  </a:lnTo>
                  <a:lnTo>
                    <a:pt x="900" y="102"/>
                  </a:lnTo>
                  <a:lnTo>
                    <a:pt x="906" y="114"/>
                  </a:lnTo>
                  <a:lnTo>
                    <a:pt x="930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54" y="138"/>
                  </a:lnTo>
                  <a:lnTo>
                    <a:pt x="966" y="144"/>
                  </a:lnTo>
                  <a:lnTo>
                    <a:pt x="966" y="150"/>
                  </a:lnTo>
                  <a:lnTo>
                    <a:pt x="972" y="150"/>
                  </a:lnTo>
                  <a:lnTo>
                    <a:pt x="978" y="150"/>
                  </a:lnTo>
                  <a:lnTo>
                    <a:pt x="978" y="144"/>
                  </a:lnTo>
                  <a:lnTo>
                    <a:pt x="984" y="144"/>
                  </a:lnTo>
                  <a:lnTo>
                    <a:pt x="990" y="138"/>
                  </a:lnTo>
                  <a:lnTo>
                    <a:pt x="996" y="138"/>
                  </a:lnTo>
                  <a:lnTo>
                    <a:pt x="1002" y="138"/>
                  </a:lnTo>
                  <a:lnTo>
                    <a:pt x="1008" y="138"/>
                  </a:lnTo>
                  <a:lnTo>
                    <a:pt x="1026" y="132"/>
                  </a:lnTo>
                  <a:lnTo>
                    <a:pt x="1044" y="126"/>
                  </a:lnTo>
                  <a:lnTo>
                    <a:pt x="1056" y="120"/>
                  </a:lnTo>
                  <a:lnTo>
                    <a:pt x="1062" y="108"/>
                  </a:lnTo>
                  <a:lnTo>
                    <a:pt x="1056" y="102"/>
                  </a:lnTo>
                  <a:lnTo>
                    <a:pt x="1062" y="96"/>
                  </a:lnTo>
                  <a:lnTo>
                    <a:pt x="1074" y="90"/>
                  </a:lnTo>
                  <a:lnTo>
                    <a:pt x="1080" y="84"/>
                  </a:lnTo>
                  <a:lnTo>
                    <a:pt x="1128" y="84"/>
                  </a:lnTo>
                  <a:lnTo>
                    <a:pt x="1134" y="84"/>
                  </a:lnTo>
                  <a:lnTo>
                    <a:pt x="1140" y="78"/>
                  </a:lnTo>
                  <a:lnTo>
                    <a:pt x="1152" y="72"/>
                  </a:lnTo>
                  <a:lnTo>
                    <a:pt x="1164" y="66"/>
                  </a:lnTo>
                  <a:lnTo>
                    <a:pt x="1170" y="60"/>
                  </a:lnTo>
                  <a:lnTo>
                    <a:pt x="1188" y="48"/>
                  </a:lnTo>
                  <a:lnTo>
                    <a:pt x="1200" y="36"/>
                  </a:lnTo>
                  <a:lnTo>
                    <a:pt x="1218" y="24"/>
                  </a:lnTo>
                  <a:lnTo>
                    <a:pt x="1248" y="24"/>
                  </a:lnTo>
                  <a:lnTo>
                    <a:pt x="1272" y="24"/>
                  </a:lnTo>
                  <a:lnTo>
                    <a:pt x="1284" y="12"/>
                  </a:lnTo>
                  <a:lnTo>
                    <a:pt x="1302" y="0"/>
                  </a:lnTo>
                  <a:lnTo>
                    <a:pt x="1314" y="0"/>
                  </a:lnTo>
                  <a:lnTo>
                    <a:pt x="1326" y="18"/>
                  </a:lnTo>
                  <a:lnTo>
                    <a:pt x="1338" y="30"/>
                  </a:lnTo>
                  <a:lnTo>
                    <a:pt x="1338" y="54"/>
                  </a:lnTo>
                  <a:lnTo>
                    <a:pt x="1332" y="72"/>
                  </a:lnTo>
                  <a:lnTo>
                    <a:pt x="1326" y="72"/>
                  </a:lnTo>
                  <a:lnTo>
                    <a:pt x="1326" y="78"/>
                  </a:lnTo>
                  <a:lnTo>
                    <a:pt x="1326" y="102"/>
                  </a:lnTo>
                  <a:lnTo>
                    <a:pt x="1332" y="102"/>
                  </a:lnTo>
                  <a:lnTo>
                    <a:pt x="1332" y="108"/>
                  </a:lnTo>
                  <a:lnTo>
                    <a:pt x="1344" y="114"/>
                  </a:lnTo>
                  <a:lnTo>
                    <a:pt x="1350" y="114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404" y="132"/>
                  </a:lnTo>
                  <a:lnTo>
                    <a:pt x="1404" y="138"/>
                  </a:lnTo>
                  <a:lnTo>
                    <a:pt x="1410" y="150"/>
                  </a:lnTo>
                  <a:lnTo>
                    <a:pt x="1416" y="162"/>
                  </a:lnTo>
                  <a:lnTo>
                    <a:pt x="1428" y="168"/>
                  </a:lnTo>
                  <a:lnTo>
                    <a:pt x="1440" y="180"/>
                  </a:lnTo>
                  <a:lnTo>
                    <a:pt x="1476" y="174"/>
                  </a:lnTo>
                  <a:lnTo>
                    <a:pt x="1494" y="174"/>
                  </a:lnTo>
                  <a:lnTo>
                    <a:pt x="1512" y="192"/>
                  </a:lnTo>
                  <a:lnTo>
                    <a:pt x="1518" y="204"/>
                  </a:lnTo>
                  <a:lnTo>
                    <a:pt x="1530" y="216"/>
                  </a:lnTo>
                  <a:lnTo>
                    <a:pt x="1548" y="228"/>
                  </a:lnTo>
                  <a:lnTo>
                    <a:pt x="1548" y="234"/>
                  </a:lnTo>
                  <a:lnTo>
                    <a:pt x="1542" y="246"/>
                  </a:lnTo>
                  <a:lnTo>
                    <a:pt x="1560" y="246"/>
                  </a:lnTo>
                  <a:lnTo>
                    <a:pt x="1560" y="252"/>
                  </a:lnTo>
                  <a:lnTo>
                    <a:pt x="1566" y="258"/>
                  </a:lnTo>
                  <a:lnTo>
                    <a:pt x="1578" y="270"/>
                  </a:lnTo>
                  <a:lnTo>
                    <a:pt x="1596" y="270"/>
                  </a:lnTo>
                  <a:lnTo>
                    <a:pt x="1602" y="288"/>
                  </a:lnTo>
                  <a:lnTo>
                    <a:pt x="1608" y="306"/>
                  </a:lnTo>
                  <a:lnTo>
                    <a:pt x="1608" y="318"/>
                  </a:lnTo>
                  <a:lnTo>
                    <a:pt x="1608" y="324"/>
                  </a:lnTo>
                  <a:lnTo>
                    <a:pt x="1614" y="330"/>
                  </a:lnTo>
                  <a:lnTo>
                    <a:pt x="1614" y="336"/>
                  </a:lnTo>
                  <a:lnTo>
                    <a:pt x="1614" y="342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08" y="390"/>
                  </a:lnTo>
                  <a:lnTo>
                    <a:pt x="1602" y="390"/>
                  </a:lnTo>
                  <a:lnTo>
                    <a:pt x="1602" y="396"/>
                  </a:lnTo>
                  <a:lnTo>
                    <a:pt x="1584" y="420"/>
                  </a:lnTo>
                  <a:lnTo>
                    <a:pt x="1584" y="426"/>
                  </a:lnTo>
                  <a:lnTo>
                    <a:pt x="1602" y="474"/>
                  </a:lnTo>
                  <a:lnTo>
                    <a:pt x="1608" y="480"/>
                  </a:lnTo>
                  <a:lnTo>
                    <a:pt x="1608" y="486"/>
                  </a:lnTo>
                  <a:lnTo>
                    <a:pt x="1614" y="486"/>
                  </a:lnTo>
                  <a:lnTo>
                    <a:pt x="1608" y="504"/>
                  </a:lnTo>
                  <a:lnTo>
                    <a:pt x="1572" y="504"/>
                  </a:lnTo>
                  <a:lnTo>
                    <a:pt x="1560" y="510"/>
                  </a:lnTo>
                  <a:lnTo>
                    <a:pt x="1554" y="522"/>
                  </a:lnTo>
                  <a:lnTo>
                    <a:pt x="1560" y="552"/>
                  </a:lnTo>
                  <a:lnTo>
                    <a:pt x="1566" y="552"/>
                  </a:lnTo>
                  <a:lnTo>
                    <a:pt x="1566" y="558"/>
                  </a:lnTo>
                  <a:lnTo>
                    <a:pt x="1572" y="558"/>
                  </a:lnTo>
                  <a:lnTo>
                    <a:pt x="1578" y="558"/>
                  </a:lnTo>
                  <a:lnTo>
                    <a:pt x="1578" y="552"/>
                  </a:lnTo>
                  <a:lnTo>
                    <a:pt x="1584" y="552"/>
                  </a:lnTo>
                  <a:lnTo>
                    <a:pt x="1590" y="552"/>
                  </a:lnTo>
                  <a:lnTo>
                    <a:pt x="1590" y="546"/>
                  </a:lnTo>
                  <a:lnTo>
                    <a:pt x="1596" y="546"/>
                  </a:lnTo>
                  <a:lnTo>
                    <a:pt x="1602" y="552"/>
                  </a:lnTo>
                  <a:lnTo>
                    <a:pt x="1602" y="546"/>
                  </a:lnTo>
                  <a:lnTo>
                    <a:pt x="1608" y="546"/>
                  </a:lnTo>
                  <a:lnTo>
                    <a:pt x="1608" y="552"/>
                  </a:lnTo>
                  <a:lnTo>
                    <a:pt x="1614" y="552"/>
                  </a:lnTo>
                  <a:lnTo>
                    <a:pt x="1614" y="546"/>
                  </a:lnTo>
                  <a:lnTo>
                    <a:pt x="1620" y="552"/>
                  </a:lnTo>
                  <a:lnTo>
                    <a:pt x="1626" y="552"/>
                  </a:lnTo>
                  <a:lnTo>
                    <a:pt x="1626" y="558"/>
                  </a:lnTo>
                  <a:lnTo>
                    <a:pt x="1632" y="558"/>
                  </a:lnTo>
                  <a:lnTo>
                    <a:pt x="1638" y="558"/>
                  </a:lnTo>
                  <a:lnTo>
                    <a:pt x="1644" y="558"/>
                  </a:lnTo>
                  <a:lnTo>
                    <a:pt x="1650" y="558"/>
                  </a:lnTo>
                  <a:lnTo>
                    <a:pt x="1650" y="564"/>
                  </a:lnTo>
                  <a:lnTo>
                    <a:pt x="1656" y="564"/>
                  </a:lnTo>
                  <a:lnTo>
                    <a:pt x="1662" y="564"/>
                  </a:lnTo>
                  <a:lnTo>
                    <a:pt x="1668" y="564"/>
                  </a:lnTo>
                  <a:lnTo>
                    <a:pt x="1668" y="570"/>
                  </a:lnTo>
                  <a:lnTo>
                    <a:pt x="1674" y="570"/>
                  </a:lnTo>
                  <a:lnTo>
                    <a:pt x="1680" y="570"/>
                  </a:lnTo>
                  <a:lnTo>
                    <a:pt x="1686" y="576"/>
                  </a:lnTo>
                  <a:lnTo>
                    <a:pt x="1686" y="582"/>
                  </a:lnTo>
                  <a:lnTo>
                    <a:pt x="1710" y="588"/>
                  </a:lnTo>
                  <a:lnTo>
                    <a:pt x="1710" y="594"/>
                  </a:lnTo>
                  <a:lnTo>
                    <a:pt x="1704" y="600"/>
                  </a:lnTo>
                  <a:lnTo>
                    <a:pt x="1710" y="624"/>
                  </a:lnTo>
                  <a:lnTo>
                    <a:pt x="1698" y="672"/>
                  </a:lnTo>
                  <a:lnTo>
                    <a:pt x="1704" y="678"/>
                  </a:lnTo>
                  <a:lnTo>
                    <a:pt x="1716" y="684"/>
                  </a:lnTo>
                  <a:lnTo>
                    <a:pt x="1716" y="678"/>
                  </a:lnTo>
                  <a:lnTo>
                    <a:pt x="1716" y="684"/>
                  </a:lnTo>
                  <a:lnTo>
                    <a:pt x="1728" y="684"/>
                  </a:lnTo>
                  <a:lnTo>
                    <a:pt x="1728" y="690"/>
                  </a:lnTo>
                  <a:lnTo>
                    <a:pt x="1734" y="696"/>
                  </a:lnTo>
                  <a:lnTo>
                    <a:pt x="1734" y="702"/>
                  </a:lnTo>
                  <a:lnTo>
                    <a:pt x="1740" y="708"/>
                  </a:lnTo>
                  <a:lnTo>
                    <a:pt x="1740" y="714"/>
                  </a:lnTo>
                  <a:lnTo>
                    <a:pt x="1710" y="714"/>
                  </a:lnTo>
                  <a:lnTo>
                    <a:pt x="1710" y="756"/>
                  </a:lnTo>
                  <a:lnTo>
                    <a:pt x="1704" y="762"/>
                  </a:lnTo>
                  <a:lnTo>
                    <a:pt x="1698" y="762"/>
                  </a:lnTo>
                  <a:lnTo>
                    <a:pt x="1698" y="768"/>
                  </a:lnTo>
                  <a:lnTo>
                    <a:pt x="1698" y="774"/>
                  </a:lnTo>
                  <a:lnTo>
                    <a:pt x="1692" y="780"/>
                  </a:lnTo>
                  <a:lnTo>
                    <a:pt x="1692" y="786"/>
                  </a:lnTo>
                  <a:lnTo>
                    <a:pt x="1686" y="786"/>
                  </a:lnTo>
                  <a:lnTo>
                    <a:pt x="1668" y="798"/>
                  </a:lnTo>
                  <a:lnTo>
                    <a:pt x="1662" y="810"/>
                  </a:lnTo>
                  <a:lnTo>
                    <a:pt x="1650" y="810"/>
                  </a:lnTo>
                  <a:lnTo>
                    <a:pt x="1644" y="816"/>
                  </a:lnTo>
                  <a:lnTo>
                    <a:pt x="1638" y="816"/>
                  </a:lnTo>
                  <a:lnTo>
                    <a:pt x="1626" y="852"/>
                  </a:lnTo>
                  <a:lnTo>
                    <a:pt x="1620" y="888"/>
                  </a:lnTo>
                  <a:lnTo>
                    <a:pt x="1626" y="888"/>
                  </a:lnTo>
                  <a:lnTo>
                    <a:pt x="1638" y="912"/>
                  </a:lnTo>
                  <a:lnTo>
                    <a:pt x="1644" y="918"/>
                  </a:lnTo>
                  <a:lnTo>
                    <a:pt x="1650" y="966"/>
                  </a:lnTo>
                  <a:lnTo>
                    <a:pt x="1626" y="972"/>
                  </a:lnTo>
                  <a:lnTo>
                    <a:pt x="1608" y="978"/>
                  </a:lnTo>
                  <a:lnTo>
                    <a:pt x="1614" y="984"/>
                  </a:lnTo>
                  <a:lnTo>
                    <a:pt x="1620" y="984"/>
                  </a:lnTo>
                  <a:lnTo>
                    <a:pt x="1620" y="1020"/>
                  </a:lnTo>
                  <a:lnTo>
                    <a:pt x="1614" y="1038"/>
                  </a:lnTo>
                  <a:lnTo>
                    <a:pt x="1620" y="1044"/>
                  </a:lnTo>
                  <a:lnTo>
                    <a:pt x="1626" y="1056"/>
                  </a:lnTo>
                  <a:lnTo>
                    <a:pt x="1626" y="1074"/>
                  </a:lnTo>
                  <a:lnTo>
                    <a:pt x="1620" y="1080"/>
                  </a:lnTo>
                  <a:lnTo>
                    <a:pt x="1620" y="1104"/>
                  </a:lnTo>
                  <a:lnTo>
                    <a:pt x="1620" y="1110"/>
                  </a:lnTo>
                  <a:lnTo>
                    <a:pt x="1614" y="1116"/>
                  </a:lnTo>
                  <a:lnTo>
                    <a:pt x="1608" y="1140"/>
                  </a:lnTo>
                  <a:lnTo>
                    <a:pt x="1602" y="1146"/>
                  </a:lnTo>
                  <a:lnTo>
                    <a:pt x="1602" y="1164"/>
                  </a:lnTo>
                  <a:lnTo>
                    <a:pt x="1596" y="1170"/>
                  </a:lnTo>
                  <a:lnTo>
                    <a:pt x="1590" y="1164"/>
                  </a:lnTo>
                  <a:lnTo>
                    <a:pt x="1584" y="1164"/>
                  </a:lnTo>
                  <a:lnTo>
                    <a:pt x="1578" y="1164"/>
                  </a:lnTo>
                  <a:lnTo>
                    <a:pt x="1578" y="1188"/>
                  </a:lnTo>
                  <a:lnTo>
                    <a:pt x="1584" y="1194"/>
                  </a:lnTo>
                  <a:lnTo>
                    <a:pt x="1590" y="1194"/>
                  </a:lnTo>
                  <a:lnTo>
                    <a:pt x="1590" y="1212"/>
                  </a:lnTo>
                  <a:lnTo>
                    <a:pt x="1584" y="1212"/>
                  </a:lnTo>
                  <a:lnTo>
                    <a:pt x="1584" y="1224"/>
                  </a:lnTo>
                  <a:lnTo>
                    <a:pt x="1578" y="1224"/>
                  </a:lnTo>
                  <a:lnTo>
                    <a:pt x="1578" y="1236"/>
                  </a:lnTo>
                  <a:lnTo>
                    <a:pt x="1584" y="1254"/>
                  </a:lnTo>
                  <a:lnTo>
                    <a:pt x="1584" y="1260"/>
                  </a:lnTo>
                  <a:lnTo>
                    <a:pt x="1590" y="1260"/>
                  </a:lnTo>
                  <a:lnTo>
                    <a:pt x="1590" y="1266"/>
                  </a:lnTo>
                  <a:lnTo>
                    <a:pt x="1596" y="1284"/>
                  </a:lnTo>
                  <a:lnTo>
                    <a:pt x="1602" y="1278"/>
                  </a:lnTo>
                  <a:lnTo>
                    <a:pt x="1608" y="1284"/>
                  </a:lnTo>
                  <a:lnTo>
                    <a:pt x="1632" y="1350"/>
                  </a:lnTo>
                  <a:lnTo>
                    <a:pt x="1638" y="1356"/>
                  </a:lnTo>
                  <a:lnTo>
                    <a:pt x="1644" y="1356"/>
                  </a:lnTo>
                  <a:lnTo>
                    <a:pt x="1650" y="1356"/>
                  </a:lnTo>
                  <a:lnTo>
                    <a:pt x="1656" y="1356"/>
                  </a:lnTo>
                  <a:lnTo>
                    <a:pt x="1662" y="1362"/>
                  </a:lnTo>
                  <a:lnTo>
                    <a:pt x="1668" y="1356"/>
                  </a:lnTo>
                  <a:lnTo>
                    <a:pt x="1668" y="1380"/>
                  </a:lnTo>
                  <a:lnTo>
                    <a:pt x="1662" y="1392"/>
                  </a:lnTo>
                  <a:lnTo>
                    <a:pt x="1656" y="1404"/>
                  </a:lnTo>
                  <a:lnTo>
                    <a:pt x="1656" y="1410"/>
                  </a:lnTo>
                  <a:lnTo>
                    <a:pt x="1656" y="1416"/>
                  </a:lnTo>
                  <a:lnTo>
                    <a:pt x="1650" y="1422"/>
                  </a:lnTo>
                  <a:lnTo>
                    <a:pt x="1650" y="1428"/>
                  </a:lnTo>
                  <a:lnTo>
                    <a:pt x="1644" y="1428"/>
                  </a:lnTo>
                  <a:lnTo>
                    <a:pt x="1644" y="1434"/>
                  </a:lnTo>
                  <a:lnTo>
                    <a:pt x="1638" y="1434"/>
                  </a:lnTo>
                  <a:lnTo>
                    <a:pt x="1638" y="1440"/>
                  </a:lnTo>
                  <a:lnTo>
                    <a:pt x="1632" y="1440"/>
                  </a:lnTo>
                  <a:lnTo>
                    <a:pt x="1638" y="1458"/>
                  </a:lnTo>
                  <a:close/>
                </a:path>
              </a:pathLst>
            </a:custGeom>
            <a:solidFill>
              <a:srgbClr val="549E39"/>
            </a:solidFill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27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9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100" name="Freeform 14">
              <a:extLst>
                <a:ext uri="{FF2B5EF4-FFF2-40B4-BE49-F238E27FC236}">
                  <a16:creationId xmlns:a16="http://schemas.microsoft.com/office/drawing/2014/main" id="{70CDA8E3-F844-4D52-928F-F5937599D96B}"/>
                </a:ext>
              </a:extLst>
            </p:cNvPr>
            <p:cNvSpPr>
              <a:spLocks/>
            </p:cNvSpPr>
            <p:nvPr/>
          </p:nvSpPr>
          <p:spPr bwMode="gray">
            <a:xfrm>
              <a:off x="3948113" y="3230563"/>
              <a:ext cx="582612" cy="628650"/>
            </a:xfrm>
            <a:custGeom>
              <a:avLst/>
              <a:gdLst>
                <a:gd name="T0" fmla="*/ 2147483647 w 624"/>
                <a:gd name="T1" fmla="*/ 2147483647 h 672"/>
                <a:gd name="T2" fmla="*/ 2147483647 w 624"/>
                <a:gd name="T3" fmla="*/ 2147483647 h 672"/>
                <a:gd name="T4" fmla="*/ 2147483647 w 624"/>
                <a:gd name="T5" fmla="*/ 2147483647 h 672"/>
                <a:gd name="T6" fmla="*/ 2147483647 w 624"/>
                <a:gd name="T7" fmla="*/ 2147483647 h 672"/>
                <a:gd name="T8" fmla="*/ 2147483647 w 624"/>
                <a:gd name="T9" fmla="*/ 2147483647 h 672"/>
                <a:gd name="T10" fmla="*/ 2147483647 w 624"/>
                <a:gd name="T11" fmla="*/ 2147483647 h 672"/>
                <a:gd name="T12" fmla="*/ 2147483647 w 624"/>
                <a:gd name="T13" fmla="*/ 2147483647 h 672"/>
                <a:gd name="T14" fmla="*/ 2147483647 w 624"/>
                <a:gd name="T15" fmla="*/ 2147483647 h 672"/>
                <a:gd name="T16" fmla="*/ 2147483647 w 624"/>
                <a:gd name="T17" fmla="*/ 2147483647 h 672"/>
                <a:gd name="T18" fmla="*/ 2147483647 w 624"/>
                <a:gd name="T19" fmla="*/ 2147483647 h 672"/>
                <a:gd name="T20" fmla="*/ 2147483647 w 624"/>
                <a:gd name="T21" fmla="*/ 2147483647 h 672"/>
                <a:gd name="T22" fmla="*/ 2147483647 w 624"/>
                <a:gd name="T23" fmla="*/ 2147483647 h 672"/>
                <a:gd name="T24" fmla="*/ 2147483647 w 624"/>
                <a:gd name="T25" fmla="*/ 2147483647 h 672"/>
                <a:gd name="T26" fmla="*/ 2147483647 w 624"/>
                <a:gd name="T27" fmla="*/ 2147483647 h 672"/>
                <a:gd name="T28" fmla="*/ 2147483647 w 624"/>
                <a:gd name="T29" fmla="*/ 2147483647 h 672"/>
                <a:gd name="T30" fmla="*/ 2147483647 w 624"/>
                <a:gd name="T31" fmla="*/ 2147483647 h 672"/>
                <a:gd name="T32" fmla="*/ 2147483647 w 624"/>
                <a:gd name="T33" fmla="*/ 2147483647 h 672"/>
                <a:gd name="T34" fmla="*/ 2147483647 w 624"/>
                <a:gd name="T35" fmla="*/ 2147483647 h 672"/>
                <a:gd name="T36" fmla="*/ 2147483647 w 624"/>
                <a:gd name="T37" fmla="*/ 2147483647 h 672"/>
                <a:gd name="T38" fmla="*/ 2147483647 w 624"/>
                <a:gd name="T39" fmla="*/ 2147483647 h 672"/>
                <a:gd name="T40" fmla="*/ 2147483647 w 624"/>
                <a:gd name="T41" fmla="*/ 2147483647 h 672"/>
                <a:gd name="T42" fmla="*/ 2147483647 w 624"/>
                <a:gd name="T43" fmla="*/ 2147483647 h 672"/>
                <a:gd name="T44" fmla="*/ 2147483647 w 624"/>
                <a:gd name="T45" fmla="*/ 2147483647 h 672"/>
                <a:gd name="T46" fmla="*/ 2147483647 w 624"/>
                <a:gd name="T47" fmla="*/ 2147483647 h 672"/>
                <a:gd name="T48" fmla="*/ 2147483647 w 624"/>
                <a:gd name="T49" fmla="*/ 0 h 672"/>
                <a:gd name="T50" fmla="*/ 2147483647 w 624"/>
                <a:gd name="T51" fmla="*/ 2147483647 h 672"/>
                <a:gd name="T52" fmla="*/ 2147483647 w 624"/>
                <a:gd name="T53" fmla="*/ 2147483647 h 672"/>
                <a:gd name="T54" fmla="*/ 2147483647 w 624"/>
                <a:gd name="T55" fmla="*/ 2147483647 h 672"/>
                <a:gd name="T56" fmla="*/ 2147483647 w 624"/>
                <a:gd name="T57" fmla="*/ 2147483647 h 672"/>
                <a:gd name="T58" fmla="*/ 2147483647 w 624"/>
                <a:gd name="T59" fmla="*/ 2147483647 h 672"/>
                <a:gd name="T60" fmla="*/ 2147483647 w 624"/>
                <a:gd name="T61" fmla="*/ 2147483647 h 672"/>
                <a:gd name="T62" fmla="*/ 2147483647 w 624"/>
                <a:gd name="T63" fmla="*/ 2147483647 h 672"/>
                <a:gd name="T64" fmla="*/ 2147483647 w 624"/>
                <a:gd name="T65" fmla="*/ 2147483647 h 672"/>
                <a:gd name="T66" fmla="*/ 2147483647 w 624"/>
                <a:gd name="T67" fmla="*/ 2147483647 h 672"/>
                <a:gd name="T68" fmla="*/ 2147483647 w 624"/>
                <a:gd name="T69" fmla="*/ 2147483647 h 672"/>
                <a:gd name="T70" fmla="*/ 2147483647 w 624"/>
                <a:gd name="T71" fmla="*/ 2147483647 h 672"/>
                <a:gd name="T72" fmla="*/ 2147483647 w 624"/>
                <a:gd name="T73" fmla="*/ 2147483647 h 672"/>
                <a:gd name="T74" fmla="*/ 2147483647 w 624"/>
                <a:gd name="T75" fmla="*/ 2147483647 h 672"/>
                <a:gd name="T76" fmla="*/ 2147483647 w 624"/>
                <a:gd name="T77" fmla="*/ 2147483647 h 672"/>
                <a:gd name="T78" fmla="*/ 2147483647 w 624"/>
                <a:gd name="T79" fmla="*/ 2147483647 h 67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24"/>
                <a:gd name="T121" fmla="*/ 0 h 672"/>
                <a:gd name="T122" fmla="*/ 624 w 624"/>
                <a:gd name="T123" fmla="*/ 672 h 67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24" h="672">
                  <a:moveTo>
                    <a:pt x="168" y="672"/>
                  </a:moveTo>
                  <a:lnTo>
                    <a:pt x="132" y="672"/>
                  </a:lnTo>
                  <a:lnTo>
                    <a:pt x="72" y="666"/>
                  </a:lnTo>
                  <a:lnTo>
                    <a:pt x="42" y="666"/>
                  </a:lnTo>
                  <a:lnTo>
                    <a:pt x="36" y="666"/>
                  </a:lnTo>
                  <a:lnTo>
                    <a:pt x="30" y="660"/>
                  </a:lnTo>
                  <a:lnTo>
                    <a:pt x="0" y="660"/>
                  </a:lnTo>
                  <a:lnTo>
                    <a:pt x="24" y="120"/>
                  </a:lnTo>
                  <a:lnTo>
                    <a:pt x="60" y="120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62" y="120"/>
                  </a:lnTo>
                  <a:lnTo>
                    <a:pt x="168" y="120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10" y="156"/>
                  </a:lnTo>
                  <a:lnTo>
                    <a:pt x="222" y="174"/>
                  </a:lnTo>
                  <a:lnTo>
                    <a:pt x="240" y="186"/>
                  </a:lnTo>
                  <a:lnTo>
                    <a:pt x="252" y="198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216"/>
                  </a:lnTo>
                  <a:lnTo>
                    <a:pt x="270" y="216"/>
                  </a:lnTo>
                  <a:lnTo>
                    <a:pt x="282" y="222"/>
                  </a:lnTo>
                  <a:lnTo>
                    <a:pt x="288" y="222"/>
                  </a:lnTo>
                  <a:lnTo>
                    <a:pt x="294" y="216"/>
                  </a:lnTo>
                  <a:lnTo>
                    <a:pt x="294" y="210"/>
                  </a:lnTo>
                  <a:lnTo>
                    <a:pt x="312" y="204"/>
                  </a:lnTo>
                  <a:lnTo>
                    <a:pt x="330" y="186"/>
                  </a:lnTo>
                  <a:lnTo>
                    <a:pt x="336" y="174"/>
                  </a:lnTo>
                  <a:lnTo>
                    <a:pt x="342" y="162"/>
                  </a:lnTo>
                  <a:lnTo>
                    <a:pt x="342" y="156"/>
                  </a:lnTo>
                  <a:lnTo>
                    <a:pt x="348" y="150"/>
                  </a:lnTo>
                  <a:lnTo>
                    <a:pt x="354" y="144"/>
                  </a:lnTo>
                  <a:lnTo>
                    <a:pt x="360" y="138"/>
                  </a:lnTo>
                  <a:lnTo>
                    <a:pt x="366" y="132"/>
                  </a:lnTo>
                  <a:lnTo>
                    <a:pt x="372" y="114"/>
                  </a:lnTo>
                  <a:lnTo>
                    <a:pt x="378" y="114"/>
                  </a:lnTo>
                  <a:lnTo>
                    <a:pt x="378" y="96"/>
                  </a:lnTo>
                  <a:lnTo>
                    <a:pt x="390" y="96"/>
                  </a:lnTo>
                  <a:lnTo>
                    <a:pt x="396" y="84"/>
                  </a:lnTo>
                  <a:lnTo>
                    <a:pt x="396" y="72"/>
                  </a:lnTo>
                  <a:lnTo>
                    <a:pt x="396" y="54"/>
                  </a:lnTo>
                  <a:lnTo>
                    <a:pt x="408" y="42"/>
                  </a:lnTo>
                  <a:lnTo>
                    <a:pt x="468" y="42"/>
                  </a:lnTo>
                  <a:lnTo>
                    <a:pt x="486" y="36"/>
                  </a:lnTo>
                  <a:lnTo>
                    <a:pt x="492" y="24"/>
                  </a:lnTo>
                  <a:lnTo>
                    <a:pt x="504" y="24"/>
                  </a:lnTo>
                  <a:lnTo>
                    <a:pt x="516" y="6"/>
                  </a:lnTo>
                  <a:lnTo>
                    <a:pt x="528" y="0"/>
                  </a:lnTo>
                  <a:lnTo>
                    <a:pt x="558" y="12"/>
                  </a:lnTo>
                  <a:lnTo>
                    <a:pt x="588" y="36"/>
                  </a:lnTo>
                  <a:lnTo>
                    <a:pt x="600" y="66"/>
                  </a:lnTo>
                  <a:lnTo>
                    <a:pt x="624" y="66"/>
                  </a:lnTo>
                  <a:lnTo>
                    <a:pt x="624" y="90"/>
                  </a:lnTo>
                  <a:lnTo>
                    <a:pt x="618" y="90"/>
                  </a:lnTo>
                  <a:lnTo>
                    <a:pt x="618" y="96"/>
                  </a:lnTo>
                  <a:lnTo>
                    <a:pt x="600" y="102"/>
                  </a:lnTo>
                  <a:lnTo>
                    <a:pt x="588" y="108"/>
                  </a:lnTo>
                  <a:lnTo>
                    <a:pt x="570" y="120"/>
                  </a:lnTo>
                  <a:lnTo>
                    <a:pt x="564" y="138"/>
                  </a:lnTo>
                  <a:lnTo>
                    <a:pt x="558" y="162"/>
                  </a:lnTo>
                  <a:lnTo>
                    <a:pt x="540" y="210"/>
                  </a:lnTo>
                  <a:lnTo>
                    <a:pt x="528" y="252"/>
                  </a:lnTo>
                  <a:lnTo>
                    <a:pt x="528" y="402"/>
                  </a:lnTo>
                  <a:lnTo>
                    <a:pt x="522" y="444"/>
                  </a:lnTo>
                  <a:lnTo>
                    <a:pt x="510" y="468"/>
                  </a:lnTo>
                  <a:lnTo>
                    <a:pt x="498" y="498"/>
                  </a:lnTo>
                  <a:lnTo>
                    <a:pt x="474" y="534"/>
                  </a:lnTo>
                  <a:lnTo>
                    <a:pt x="456" y="570"/>
                  </a:lnTo>
                  <a:lnTo>
                    <a:pt x="444" y="576"/>
                  </a:lnTo>
                  <a:lnTo>
                    <a:pt x="420" y="606"/>
                  </a:lnTo>
                  <a:lnTo>
                    <a:pt x="390" y="624"/>
                  </a:lnTo>
                  <a:lnTo>
                    <a:pt x="372" y="642"/>
                  </a:lnTo>
                  <a:lnTo>
                    <a:pt x="366" y="654"/>
                  </a:lnTo>
                  <a:lnTo>
                    <a:pt x="342" y="660"/>
                  </a:lnTo>
                  <a:lnTo>
                    <a:pt x="300" y="666"/>
                  </a:lnTo>
                  <a:lnTo>
                    <a:pt x="234" y="672"/>
                  </a:lnTo>
                  <a:lnTo>
                    <a:pt x="192" y="672"/>
                  </a:lnTo>
                  <a:lnTo>
                    <a:pt x="168" y="67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27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101" name="Freeform 15">
              <a:extLst>
                <a:ext uri="{FF2B5EF4-FFF2-40B4-BE49-F238E27FC236}">
                  <a16:creationId xmlns:a16="http://schemas.microsoft.com/office/drawing/2014/main" id="{742A5233-9793-4026-8721-93E0EA89624C}"/>
                </a:ext>
              </a:extLst>
            </p:cNvPr>
            <p:cNvSpPr>
              <a:spLocks/>
            </p:cNvSpPr>
            <p:nvPr/>
          </p:nvSpPr>
          <p:spPr bwMode="gray">
            <a:xfrm>
              <a:off x="4065589" y="3254375"/>
              <a:ext cx="1590675" cy="985838"/>
            </a:xfrm>
            <a:custGeom>
              <a:avLst/>
              <a:gdLst>
                <a:gd name="T0" fmla="*/ 2147483647 w 1704"/>
                <a:gd name="T1" fmla="*/ 2147483647 h 1056"/>
                <a:gd name="T2" fmla="*/ 2147483647 w 1704"/>
                <a:gd name="T3" fmla="*/ 2147483647 h 1056"/>
                <a:gd name="T4" fmla="*/ 2147483647 w 1704"/>
                <a:gd name="T5" fmla="*/ 2147483647 h 1056"/>
                <a:gd name="T6" fmla="*/ 2147483647 w 1704"/>
                <a:gd name="T7" fmla="*/ 2147483647 h 1056"/>
                <a:gd name="T8" fmla="*/ 0 w 1704"/>
                <a:gd name="T9" fmla="*/ 2147483647 h 1056"/>
                <a:gd name="T10" fmla="*/ 2147483647 w 1704"/>
                <a:gd name="T11" fmla="*/ 2147483647 h 1056"/>
                <a:gd name="T12" fmla="*/ 2147483647 w 1704"/>
                <a:gd name="T13" fmla="*/ 2147483647 h 1056"/>
                <a:gd name="T14" fmla="*/ 2147483647 w 1704"/>
                <a:gd name="T15" fmla="*/ 2147483647 h 1056"/>
                <a:gd name="T16" fmla="*/ 2147483647 w 1704"/>
                <a:gd name="T17" fmla="*/ 2147483647 h 1056"/>
                <a:gd name="T18" fmla="*/ 2147483647 w 1704"/>
                <a:gd name="T19" fmla="*/ 2147483647 h 1056"/>
                <a:gd name="T20" fmla="*/ 2147483647 w 1704"/>
                <a:gd name="T21" fmla="*/ 0 h 1056"/>
                <a:gd name="T22" fmla="*/ 2147483647 w 1704"/>
                <a:gd name="T23" fmla="*/ 2147483647 h 1056"/>
                <a:gd name="T24" fmla="*/ 2147483647 w 1704"/>
                <a:gd name="T25" fmla="*/ 2147483647 h 1056"/>
                <a:gd name="T26" fmla="*/ 2147483647 w 1704"/>
                <a:gd name="T27" fmla="*/ 2147483647 h 1056"/>
                <a:gd name="T28" fmla="*/ 2147483647 w 1704"/>
                <a:gd name="T29" fmla="*/ 2147483647 h 1056"/>
                <a:gd name="T30" fmla="*/ 2147483647 w 1704"/>
                <a:gd name="T31" fmla="*/ 2147483647 h 1056"/>
                <a:gd name="T32" fmla="*/ 2147483647 w 1704"/>
                <a:gd name="T33" fmla="*/ 2147483647 h 1056"/>
                <a:gd name="T34" fmla="*/ 2147483647 w 1704"/>
                <a:gd name="T35" fmla="*/ 2147483647 h 1056"/>
                <a:gd name="T36" fmla="*/ 2147483647 w 1704"/>
                <a:gd name="T37" fmla="*/ 2147483647 h 1056"/>
                <a:gd name="T38" fmla="*/ 2147483647 w 1704"/>
                <a:gd name="T39" fmla="*/ 2147483647 h 1056"/>
                <a:gd name="T40" fmla="*/ 2147483647 w 1704"/>
                <a:gd name="T41" fmla="*/ 2147483647 h 1056"/>
                <a:gd name="T42" fmla="*/ 2147483647 w 1704"/>
                <a:gd name="T43" fmla="*/ 2147483647 h 1056"/>
                <a:gd name="T44" fmla="*/ 2147483647 w 1704"/>
                <a:gd name="T45" fmla="*/ 2147483647 h 1056"/>
                <a:gd name="T46" fmla="*/ 2147483647 w 1704"/>
                <a:gd name="T47" fmla="*/ 2147483647 h 1056"/>
                <a:gd name="T48" fmla="*/ 2147483647 w 1704"/>
                <a:gd name="T49" fmla="*/ 2147483647 h 1056"/>
                <a:gd name="T50" fmla="*/ 2147483647 w 1704"/>
                <a:gd name="T51" fmla="*/ 2147483647 h 1056"/>
                <a:gd name="T52" fmla="*/ 2147483647 w 1704"/>
                <a:gd name="T53" fmla="*/ 2147483647 h 1056"/>
                <a:gd name="T54" fmla="*/ 2147483647 w 1704"/>
                <a:gd name="T55" fmla="*/ 2147483647 h 1056"/>
                <a:gd name="T56" fmla="*/ 2147483647 w 1704"/>
                <a:gd name="T57" fmla="*/ 2147483647 h 1056"/>
                <a:gd name="T58" fmla="*/ 2147483647 w 1704"/>
                <a:gd name="T59" fmla="*/ 2147483647 h 1056"/>
                <a:gd name="T60" fmla="*/ 2147483647 w 1704"/>
                <a:gd name="T61" fmla="*/ 2147483647 h 1056"/>
                <a:gd name="T62" fmla="*/ 2147483647 w 1704"/>
                <a:gd name="T63" fmla="*/ 2147483647 h 1056"/>
                <a:gd name="T64" fmla="*/ 2147483647 w 1704"/>
                <a:gd name="T65" fmla="*/ 2147483647 h 1056"/>
                <a:gd name="T66" fmla="*/ 2147483647 w 1704"/>
                <a:gd name="T67" fmla="*/ 2147483647 h 1056"/>
                <a:gd name="T68" fmla="*/ 2147483647 w 1704"/>
                <a:gd name="T69" fmla="*/ 2147483647 h 1056"/>
                <a:gd name="T70" fmla="*/ 2147483647 w 1704"/>
                <a:gd name="T71" fmla="*/ 2147483647 h 1056"/>
                <a:gd name="T72" fmla="*/ 2147483647 w 1704"/>
                <a:gd name="T73" fmla="*/ 2147483647 h 1056"/>
                <a:gd name="T74" fmla="*/ 2147483647 w 1704"/>
                <a:gd name="T75" fmla="*/ 2147483647 h 1056"/>
                <a:gd name="T76" fmla="*/ 2147483647 w 1704"/>
                <a:gd name="T77" fmla="*/ 2147483647 h 1056"/>
                <a:gd name="T78" fmla="*/ 2147483647 w 1704"/>
                <a:gd name="T79" fmla="*/ 2147483647 h 1056"/>
                <a:gd name="T80" fmla="*/ 2147483647 w 1704"/>
                <a:gd name="T81" fmla="*/ 2147483647 h 1056"/>
                <a:gd name="T82" fmla="*/ 2147483647 w 1704"/>
                <a:gd name="T83" fmla="*/ 2147483647 h 1056"/>
                <a:gd name="T84" fmla="*/ 2147483647 w 1704"/>
                <a:gd name="T85" fmla="*/ 2147483647 h 1056"/>
                <a:gd name="T86" fmla="*/ 2147483647 w 1704"/>
                <a:gd name="T87" fmla="*/ 2147483647 h 1056"/>
                <a:gd name="T88" fmla="*/ 2147483647 w 1704"/>
                <a:gd name="T89" fmla="*/ 2147483647 h 1056"/>
                <a:gd name="T90" fmla="*/ 2147483647 w 1704"/>
                <a:gd name="T91" fmla="*/ 2147483647 h 1056"/>
                <a:gd name="T92" fmla="*/ 2147483647 w 1704"/>
                <a:gd name="T93" fmla="*/ 2147483647 h 1056"/>
                <a:gd name="T94" fmla="*/ 2147483647 w 1704"/>
                <a:gd name="T95" fmla="*/ 2147483647 h 1056"/>
                <a:gd name="T96" fmla="*/ 2147483647 w 1704"/>
                <a:gd name="T97" fmla="*/ 2147483647 h 1056"/>
                <a:gd name="T98" fmla="*/ 2147483647 w 1704"/>
                <a:gd name="T99" fmla="*/ 2147483647 h 1056"/>
                <a:gd name="T100" fmla="*/ 2147483647 w 1704"/>
                <a:gd name="T101" fmla="*/ 2147483647 h 1056"/>
                <a:gd name="T102" fmla="*/ 2147483647 w 1704"/>
                <a:gd name="T103" fmla="*/ 2147483647 h 1056"/>
                <a:gd name="T104" fmla="*/ 2147483647 w 1704"/>
                <a:gd name="T105" fmla="*/ 2147483647 h 1056"/>
                <a:gd name="T106" fmla="*/ 2147483647 w 1704"/>
                <a:gd name="T107" fmla="*/ 2147483647 h 1056"/>
                <a:gd name="T108" fmla="*/ 2147483647 w 1704"/>
                <a:gd name="T109" fmla="*/ 2147483647 h 1056"/>
                <a:gd name="T110" fmla="*/ 2147483647 w 1704"/>
                <a:gd name="T111" fmla="*/ 2147483647 h 1056"/>
                <a:gd name="T112" fmla="*/ 2147483647 w 1704"/>
                <a:gd name="T113" fmla="*/ 2147483647 h 10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04"/>
                <a:gd name="T172" fmla="*/ 0 h 1056"/>
                <a:gd name="T173" fmla="*/ 1704 w 1704"/>
                <a:gd name="T174" fmla="*/ 1056 h 10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04" h="1056">
                  <a:moveTo>
                    <a:pt x="450" y="888"/>
                  </a:moveTo>
                  <a:lnTo>
                    <a:pt x="420" y="888"/>
                  </a:lnTo>
                  <a:lnTo>
                    <a:pt x="414" y="888"/>
                  </a:lnTo>
                  <a:lnTo>
                    <a:pt x="396" y="888"/>
                  </a:lnTo>
                  <a:lnTo>
                    <a:pt x="372" y="888"/>
                  </a:lnTo>
                  <a:lnTo>
                    <a:pt x="366" y="888"/>
                  </a:lnTo>
                  <a:lnTo>
                    <a:pt x="360" y="888"/>
                  </a:lnTo>
                  <a:lnTo>
                    <a:pt x="348" y="888"/>
                  </a:lnTo>
                  <a:lnTo>
                    <a:pt x="330" y="894"/>
                  </a:lnTo>
                  <a:lnTo>
                    <a:pt x="324" y="894"/>
                  </a:lnTo>
                  <a:lnTo>
                    <a:pt x="312" y="888"/>
                  </a:lnTo>
                  <a:lnTo>
                    <a:pt x="300" y="888"/>
                  </a:lnTo>
                  <a:lnTo>
                    <a:pt x="282" y="888"/>
                  </a:lnTo>
                  <a:lnTo>
                    <a:pt x="270" y="888"/>
                  </a:lnTo>
                  <a:lnTo>
                    <a:pt x="240" y="882"/>
                  </a:lnTo>
                  <a:lnTo>
                    <a:pt x="222" y="882"/>
                  </a:lnTo>
                  <a:lnTo>
                    <a:pt x="198" y="882"/>
                  </a:lnTo>
                  <a:lnTo>
                    <a:pt x="174" y="894"/>
                  </a:lnTo>
                  <a:lnTo>
                    <a:pt x="162" y="900"/>
                  </a:lnTo>
                  <a:lnTo>
                    <a:pt x="144" y="906"/>
                  </a:lnTo>
                  <a:lnTo>
                    <a:pt x="126" y="912"/>
                  </a:lnTo>
                  <a:lnTo>
                    <a:pt x="102" y="924"/>
                  </a:lnTo>
                  <a:lnTo>
                    <a:pt x="78" y="930"/>
                  </a:lnTo>
                  <a:lnTo>
                    <a:pt x="72" y="936"/>
                  </a:lnTo>
                  <a:lnTo>
                    <a:pt x="30" y="954"/>
                  </a:lnTo>
                  <a:lnTo>
                    <a:pt x="12" y="966"/>
                  </a:lnTo>
                  <a:lnTo>
                    <a:pt x="12" y="954"/>
                  </a:lnTo>
                  <a:lnTo>
                    <a:pt x="12" y="930"/>
                  </a:lnTo>
                  <a:lnTo>
                    <a:pt x="12" y="894"/>
                  </a:lnTo>
                  <a:lnTo>
                    <a:pt x="30" y="828"/>
                  </a:lnTo>
                  <a:lnTo>
                    <a:pt x="36" y="798"/>
                  </a:lnTo>
                  <a:lnTo>
                    <a:pt x="18" y="774"/>
                  </a:lnTo>
                  <a:lnTo>
                    <a:pt x="18" y="756"/>
                  </a:lnTo>
                  <a:lnTo>
                    <a:pt x="6" y="738"/>
                  </a:lnTo>
                  <a:lnTo>
                    <a:pt x="0" y="714"/>
                  </a:lnTo>
                  <a:lnTo>
                    <a:pt x="12" y="678"/>
                  </a:lnTo>
                  <a:lnTo>
                    <a:pt x="18" y="678"/>
                  </a:lnTo>
                  <a:lnTo>
                    <a:pt x="24" y="672"/>
                  </a:lnTo>
                  <a:lnTo>
                    <a:pt x="30" y="666"/>
                  </a:lnTo>
                  <a:lnTo>
                    <a:pt x="42" y="648"/>
                  </a:lnTo>
                  <a:lnTo>
                    <a:pt x="66" y="648"/>
                  </a:lnTo>
                  <a:lnTo>
                    <a:pt x="108" y="648"/>
                  </a:lnTo>
                  <a:lnTo>
                    <a:pt x="174" y="642"/>
                  </a:lnTo>
                  <a:lnTo>
                    <a:pt x="216" y="636"/>
                  </a:lnTo>
                  <a:lnTo>
                    <a:pt x="240" y="630"/>
                  </a:lnTo>
                  <a:lnTo>
                    <a:pt x="246" y="618"/>
                  </a:lnTo>
                  <a:lnTo>
                    <a:pt x="264" y="600"/>
                  </a:lnTo>
                  <a:lnTo>
                    <a:pt x="294" y="582"/>
                  </a:lnTo>
                  <a:lnTo>
                    <a:pt x="318" y="552"/>
                  </a:lnTo>
                  <a:lnTo>
                    <a:pt x="330" y="546"/>
                  </a:lnTo>
                  <a:lnTo>
                    <a:pt x="348" y="510"/>
                  </a:lnTo>
                  <a:lnTo>
                    <a:pt x="372" y="474"/>
                  </a:lnTo>
                  <a:lnTo>
                    <a:pt x="384" y="444"/>
                  </a:lnTo>
                  <a:lnTo>
                    <a:pt x="396" y="420"/>
                  </a:lnTo>
                  <a:lnTo>
                    <a:pt x="402" y="378"/>
                  </a:lnTo>
                  <a:lnTo>
                    <a:pt x="402" y="228"/>
                  </a:lnTo>
                  <a:lnTo>
                    <a:pt x="414" y="186"/>
                  </a:lnTo>
                  <a:lnTo>
                    <a:pt x="432" y="138"/>
                  </a:lnTo>
                  <a:lnTo>
                    <a:pt x="438" y="114"/>
                  </a:lnTo>
                  <a:lnTo>
                    <a:pt x="444" y="96"/>
                  </a:lnTo>
                  <a:lnTo>
                    <a:pt x="462" y="84"/>
                  </a:lnTo>
                  <a:lnTo>
                    <a:pt x="474" y="78"/>
                  </a:lnTo>
                  <a:lnTo>
                    <a:pt x="492" y="72"/>
                  </a:lnTo>
                  <a:lnTo>
                    <a:pt x="492" y="66"/>
                  </a:lnTo>
                  <a:lnTo>
                    <a:pt x="498" y="66"/>
                  </a:lnTo>
                  <a:lnTo>
                    <a:pt x="510" y="66"/>
                  </a:lnTo>
                  <a:lnTo>
                    <a:pt x="510" y="72"/>
                  </a:lnTo>
                  <a:lnTo>
                    <a:pt x="516" y="72"/>
                  </a:lnTo>
                  <a:lnTo>
                    <a:pt x="522" y="78"/>
                  </a:lnTo>
                  <a:lnTo>
                    <a:pt x="546" y="78"/>
                  </a:lnTo>
                  <a:lnTo>
                    <a:pt x="552" y="60"/>
                  </a:lnTo>
                  <a:lnTo>
                    <a:pt x="570" y="42"/>
                  </a:lnTo>
                  <a:lnTo>
                    <a:pt x="576" y="24"/>
                  </a:lnTo>
                  <a:lnTo>
                    <a:pt x="588" y="18"/>
                  </a:lnTo>
                  <a:lnTo>
                    <a:pt x="588" y="12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624" y="0"/>
                  </a:lnTo>
                  <a:lnTo>
                    <a:pt x="636" y="6"/>
                  </a:lnTo>
                  <a:lnTo>
                    <a:pt x="648" y="24"/>
                  </a:lnTo>
                  <a:lnTo>
                    <a:pt x="654" y="48"/>
                  </a:lnTo>
                  <a:lnTo>
                    <a:pt x="672" y="60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0" y="72"/>
                  </a:lnTo>
                  <a:lnTo>
                    <a:pt x="690" y="78"/>
                  </a:lnTo>
                  <a:lnTo>
                    <a:pt x="696" y="90"/>
                  </a:lnTo>
                  <a:lnTo>
                    <a:pt x="714" y="114"/>
                  </a:lnTo>
                  <a:lnTo>
                    <a:pt x="714" y="120"/>
                  </a:lnTo>
                  <a:lnTo>
                    <a:pt x="720" y="132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20" y="150"/>
                  </a:lnTo>
                  <a:lnTo>
                    <a:pt x="714" y="150"/>
                  </a:lnTo>
                  <a:lnTo>
                    <a:pt x="714" y="156"/>
                  </a:lnTo>
                  <a:lnTo>
                    <a:pt x="714" y="162"/>
                  </a:lnTo>
                  <a:lnTo>
                    <a:pt x="708" y="162"/>
                  </a:lnTo>
                  <a:lnTo>
                    <a:pt x="708" y="168"/>
                  </a:lnTo>
                  <a:lnTo>
                    <a:pt x="702" y="168"/>
                  </a:lnTo>
                  <a:lnTo>
                    <a:pt x="702" y="174"/>
                  </a:lnTo>
                  <a:lnTo>
                    <a:pt x="702" y="180"/>
                  </a:lnTo>
                  <a:lnTo>
                    <a:pt x="708" y="180"/>
                  </a:lnTo>
                  <a:lnTo>
                    <a:pt x="708" y="186"/>
                  </a:lnTo>
                  <a:lnTo>
                    <a:pt x="708" y="192"/>
                  </a:lnTo>
                  <a:lnTo>
                    <a:pt x="714" y="204"/>
                  </a:lnTo>
                  <a:lnTo>
                    <a:pt x="726" y="216"/>
                  </a:lnTo>
                  <a:lnTo>
                    <a:pt x="738" y="216"/>
                  </a:lnTo>
                  <a:lnTo>
                    <a:pt x="768" y="222"/>
                  </a:lnTo>
                  <a:lnTo>
                    <a:pt x="780" y="216"/>
                  </a:lnTo>
                  <a:lnTo>
                    <a:pt x="792" y="204"/>
                  </a:lnTo>
                  <a:lnTo>
                    <a:pt x="798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6" y="192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6" y="174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22" y="156"/>
                  </a:lnTo>
                  <a:lnTo>
                    <a:pt x="822" y="150"/>
                  </a:lnTo>
                  <a:lnTo>
                    <a:pt x="828" y="144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8" y="138"/>
                  </a:lnTo>
                  <a:lnTo>
                    <a:pt x="834" y="132"/>
                  </a:lnTo>
                  <a:lnTo>
                    <a:pt x="840" y="132"/>
                  </a:lnTo>
                  <a:lnTo>
                    <a:pt x="864" y="126"/>
                  </a:lnTo>
                  <a:lnTo>
                    <a:pt x="906" y="144"/>
                  </a:lnTo>
                  <a:lnTo>
                    <a:pt x="906" y="150"/>
                  </a:lnTo>
                  <a:lnTo>
                    <a:pt x="906" y="156"/>
                  </a:lnTo>
                  <a:lnTo>
                    <a:pt x="900" y="162"/>
                  </a:lnTo>
                  <a:lnTo>
                    <a:pt x="924" y="168"/>
                  </a:lnTo>
                  <a:lnTo>
                    <a:pt x="942" y="192"/>
                  </a:lnTo>
                  <a:lnTo>
                    <a:pt x="972" y="210"/>
                  </a:lnTo>
                  <a:lnTo>
                    <a:pt x="972" y="216"/>
                  </a:lnTo>
                  <a:lnTo>
                    <a:pt x="972" y="228"/>
                  </a:lnTo>
                  <a:lnTo>
                    <a:pt x="978" y="234"/>
                  </a:lnTo>
                  <a:lnTo>
                    <a:pt x="978" y="246"/>
                  </a:lnTo>
                  <a:lnTo>
                    <a:pt x="984" y="252"/>
                  </a:lnTo>
                  <a:lnTo>
                    <a:pt x="1014" y="252"/>
                  </a:lnTo>
                  <a:lnTo>
                    <a:pt x="1020" y="228"/>
                  </a:lnTo>
                  <a:lnTo>
                    <a:pt x="1026" y="198"/>
                  </a:lnTo>
                  <a:lnTo>
                    <a:pt x="1050" y="186"/>
                  </a:lnTo>
                  <a:lnTo>
                    <a:pt x="1056" y="180"/>
                  </a:lnTo>
                  <a:lnTo>
                    <a:pt x="1050" y="174"/>
                  </a:lnTo>
                  <a:lnTo>
                    <a:pt x="1050" y="168"/>
                  </a:lnTo>
                  <a:lnTo>
                    <a:pt x="1050" y="162"/>
                  </a:lnTo>
                  <a:lnTo>
                    <a:pt x="1056" y="162"/>
                  </a:lnTo>
                  <a:lnTo>
                    <a:pt x="1062" y="162"/>
                  </a:lnTo>
                  <a:lnTo>
                    <a:pt x="1074" y="162"/>
                  </a:lnTo>
                  <a:lnTo>
                    <a:pt x="1074" y="144"/>
                  </a:lnTo>
                  <a:lnTo>
                    <a:pt x="1074" y="120"/>
                  </a:lnTo>
                  <a:lnTo>
                    <a:pt x="1092" y="120"/>
                  </a:lnTo>
                  <a:lnTo>
                    <a:pt x="1098" y="126"/>
                  </a:lnTo>
                  <a:lnTo>
                    <a:pt x="1134" y="132"/>
                  </a:lnTo>
                  <a:lnTo>
                    <a:pt x="1146" y="132"/>
                  </a:lnTo>
                  <a:lnTo>
                    <a:pt x="1158" y="150"/>
                  </a:lnTo>
                  <a:lnTo>
                    <a:pt x="1158" y="156"/>
                  </a:lnTo>
                  <a:lnTo>
                    <a:pt x="1158" y="162"/>
                  </a:lnTo>
                  <a:lnTo>
                    <a:pt x="1158" y="180"/>
                  </a:lnTo>
                  <a:lnTo>
                    <a:pt x="1158" y="186"/>
                  </a:lnTo>
                  <a:lnTo>
                    <a:pt x="1164" y="192"/>
                  </a:lnTo>
                  <a:lnTo>
                    <a:pt x="1176" y="198"/>
                  </a:lnTo>
                  <a:lnTo>
                    <a:pt x="1182" y="198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8"/>
                  </a:lnTo>
                  <a:lnTo>
                    <a:pt x="1188" y="234"/>
                  </a:lnTo>
                  <a:lnTo>
                    <a:pt x="1212" y="234"/>
                  </a:lnTo>
                  <a:lnTo>
                    <a:pt x="1242" y="234"/>
                  </a:lnTo>
                  <a:lnTo>
                    <a:pt x="1248" y="234"/>
                  </a:lnTo>
                  <a:lnTo>
                    <a:pt x="1278" y="240"/>
                  </a:lnTo>
                  <a:lnTo>
                    <a:pt x="1320" y="234"/>
                  </a:lnTo>
                  <a:lnTo>
                    <a:pt x="1332" y="228"/>
                  </a:lnTo>
                  <a:lnTo>
                    <a:pt x="1344" y="228"/>
                  </a:lnTo>
                  <a:lnTo>
                    <a:pt x="1350" y="234"/>
                  </a:lnTo>
                  <a:lnTo>
                    <a:pt x="1350" y="240"/>
                  </a:lnTo>
                  <a:lnTo>
                    <a:pt x="1356" y="246"/>
                  </a:lnTo>
                  <a:lnTo>
                    <a:pt x="1350" y="252"/>
                  </a:lnTo>
                  <a:lnTo>
                    <a:pt x="1356" y="264"/>
                  </a:lnTo>
                  <a:lnTo>
                    <a:pt x="1356" y="270"/>
                  </a:lnTo>
                  <a:lnTo>
                    <a:pt x="1356" y="276"/>
                  </a:lnTo>
                  <a:lnTo>
                    <a:pt x="1356" y="282"/>
                  </a:lnTo>
                  <a:lnTo>
                    <a:pt x="1356" y="288"/>
                  </a:lnTo>
                  <a:lnTo>
                    <a:pt x="1350" y="294"/>
                  </a:lnTo>
                  <a:lnTo>
                    <a:pt x="1344" y="300"/>
                  </a:lnTo>
                  <a:lnTo>
                    <a:pt x="1344" y="306"/>
                  </a:lnTo>
                  <a:lnTo>
                    <a:pt x="1338" y="312"/>
                  </a:lnTo>
                  <a:lnTo>
                    <a:pt x="1326" y="342"/>
                  </a:lnTo>
                  <a:lnTo>
                    <a:pt x="1320" y="348"/>
                  </a:lnTo>
                  <a:lnTo>
                    <a:pt x="1314" y="354"/>
                  </a:lnTo>
                  <a:lnTo>
                    <a:pt x="1290" y="354"/>
                  </a:lnTo>
                  <a:lnTo>
                    <a:pt x="1284" y="360"/>
                  </a:lnTo>
                  <a:lnTo>
                    <a:pt x="1278" y="378"/>
                  </a:lnTo>
                  <a:lnTo>
                    <a:pt x="1278" y="384"/>
                  </a:lnTo>
                  <a:lnTo>
                    <a:pt x="1272" y="390"/>
                  </a:lnTo>
                  <a:lnTo>
                    <a:pt x="1266" y="396"/>
                  </a:lnTo>
                  <a:lnTo>
                    <a:pt x="1260" y="396"/>
                  </a:lnTo>
                  <a:lnTo>
                    <a:pt x="1248" y="402"/>
                  </a:lnTo>
                  <a:lnTo>
                    <a:pt x="1242" y="408"/>
                  </a:lnTo>
                  <a:lnTo>
                    <a:pt x="1242" y="414"/>
                  </a:lnTo>
                  <a:lnTo>
                    <a:pt x="1242" y="420"/>
                  </a:lnTo>
                  <a:lnTo>
                    <a:pt x="1236" y="432"/>
                  </a:lnTo>
                  <a:lnTo>
                    <a:pt x="1242" y="432"/>
                  </a:lnTo>
                  <a:lnTo>
                    <a:pt x="1242" y="444"/>
                  </a:lnTo>
                  <a:lnTo>
                    <a:pt x="1242" y="456"/>
                  </a:lnTo>
                  <a:lnTo>
                    <a:pt x="1248" y="456"/>
                  </a:lnTo>
                  <a:lnTo>
                    <a:pt x="1254" y="462"/>
                  </a:lnTo>
                  <a:lnTo>
                    <a:pt x="1248" y="468"/>
                  </a:lnTo>
                  <a:lnTo>
                    <a:pt x="1254" y="468"/>
                  </a:lnTo>
                  <a:lnTo>
                    <a:pt x="1266" y="474"/>
                  </a:lnTo>
                  <a:lnTo>
                    <a:pt x="1266" y="480"/>
                  </a:lnTo>
                  <a:lnTo>
                    <a:pt x="1266" y="486"/>
                  </a:lnTo>
                  <a:lnTo>
                    <a:pt x="1272" y="486"/>
                  </a:lnTo>
                  <a:lnTo>
                    <a:pt x="1272" y="492"/>
                  </a:lnTo>
                  <a:lnTo>
                    <a:pt x="1290" y="510"/>
                  </a:lnTo>
                  <a:lnTo>
                    <a:pt x="1296" y="516"/>
                  </a:lnTo>
                  <a:lnTo>
                    <a:pt x="1302" y="540"/>
                  </a:lnTo>
                  <a:lnTo>
                    <a:pt x="1302" y="546"/>
                  </a:lnTo>
                  <a:lnTo>
                    <a:pt x="1302" y="558"/>
                  </a:lnTo>
                  <a:lnTo>
                    <a:pt x="1302" y="570"/>
                  </a:lnTo>
                  <a:lnTo>
                    <a:pt x="1302" y="576"/>
                  </a:lnTo>
                  <a:lnTo>
                    <a:pt x="1344" y="570"/>
                  </a:lnTo>
                  <a:lnTo>
                    <a:pt x="1350" y="582"/>
                  </a:lnTo>
                  <a:lnTo>
                    <a:pt x="1368" y="594"/>
                  </a:lnTo>
                  <a:lnTo>
                    <a:pt x="1374" y="600"/>
                  </a:lnTo>
                  <a:lnTo>
                    <a:pt x="1380" y="600"/>
                  </a:lnTo>
                  <a:lnTo>
                    <a:pt x="1380" y="618"/>
                  </a:lnTo>
                  <a:lnTo>
                    <a:pt x="1386" y="624"/>
                  </a:lnTo>
                  <a:lnTo>
                    <a:pt x="1404" y="624"/>
                  </a:lnTo>
                  <a:lnTo>
                    <a:pt x="1410" y="612"/>
                  </a:lnTo>
                  <a:lnTo>
                    <a:pt x="1428" y="606"/>
                  </a:lnTo>
                  <a:lnTo>
                    <a:pt x="1488" y="606"/>
                  </a:lnTo>
                  <a:lnTo>
                    <a:pt x="1506" y="606"/>
                  </a:lnTo>
                  <a:lnTo>
                    <a:pt x="1512" y="600"/>
                  </a:lnTo>
                  <a:lnTo>
                    <a:pt x="1524" y="594"/>
                  </a:lnTo>
                  <a:lnTo>
                    <a:pt x="1554" y="594"/>
                  </a:lnTo>
                  <a:lnTo>
                    <a:pt x="1578" y="606"/>
                  </a:lnTo>
                  <a:lnTo>
                    <a:pt x="1596" y="624"/>
                  </a:lnTo>
                  <a:lnTo>
                    <a:pt x="1650" y="642"/>
                  </a:lnTo>
                  <a:lnTo>
                    <a:pt x="1686" y="648"/>
                  </a:lnTo>
                  <a:lnTo>
                    <a:pt x="1698" y="654"/>
                  </a:lnTo>
                  <a:lnTo>
                    <a:pt x="1698" y="660"/>
                  </a:lnTo>
                  <a:lnTo>
                    <a:pt x="1692" y="666"/>
                  </a:lnTo>
                  <a:lnTo>
                    <a:pt x="1692" y="672"/>
                  </a:lnTo>
                  <a:lnTo>
                    <a:pt x="1698" y="678"/>
                  </a:lnTo>
                  <a:lnTo>
                    <a:pt x="1698" y="684"/>
                  </a:lnTo>
                  <a:lnTo>
                    <a:pt x="1692" y="684"/>
                  </a:lnTo>
                  <a:lnTo>
                    <a:pt x="1692" y="690"/>
                  </a:lnTo>
                  <a:lnTo>
                    <a:pt x="1698" y="696"/>
                  </a:lnTo>
                  <a:lnTo>
                    <a:pt x="1698" y="702"/>
                  </a:lnTo>
                  <a:lnTo>
                    <a:pt x="1698" y="708"/>
                  </a:lnTo>
                  <a:lnTo>
                    <a:pt x="1704" y="714"/>
                  </a:lnTo>
                  <a:lnTo>
                    <a:pt x="1704" y="720"/>
                  </a:lnTo>
                  <a:lnTo>
                    <a:pt x="1704" y="726"/>
                  </a:lnTo>
                  <a:lnTo>
                    <a:pt x="1704" y="732"/>
                  </a:lnTo>
                  <a:lnTo>
                    <a:pt x="1704" y="738"/>
                  </a:lnTo>
                  <a:lnTo>
                    <a:pt x="1698" y="726"/>
                  </a:lnTo>
                  <a:lnTo>
                    <a:pt x="1668" y="720"/>
                  </a:lnTo>
                  <a:lnTo>
                    <a:pt x="1626" y="714"/>
                  </a:lnTo>
                  <a:lnTo>
                    <a:pt x="1614" y="708"/>
                  </a:lnTo>
                  <a:lnTo>
                    <a:pt x="1578" y="696"/>
                  </a:lnTo>
                  <a:lnTo>
                    <a:pt x="1566" y="696"/>
                  </a:lnTo>
                  <a:lnTo>
                    <a:pt x="1548" y="702"/>
                  </a:lnTo>
                  <a:lnTo>
                    <a:pt x="1542" y="714"/>
                  </a:lnTo>
                  <a:lnTo>
                    <a:pt x="1536" y="732"/>
                  </a:lnTo>
                  <a:lnTo>
                    <a:pt x="1530" y="750"/>
                  </a:lnTo>
                  <a:lnTo>
                    <a:pt x="1536" y="750"/>
                  </a:lnTo>
                  <a:lnTo>
                    <a:pt x="1542" y="756"/>
                  </a:lnTo>
                  <a:lnTo>
                    <a:pt x="1542" y="762"/>
                  </a:lnTo>
                  <a:lnTo>
                    <a:pt x="1548" y="762"/>
                  </a:lnTo>
                  <a:lnTo>
                    <a:pt x="1554" y="762"/>
                  </a:lnTo>
                  <a:lnTo>
                    <a:pt x="1554" y="768"/>
                  </a:lnTo>
                  <a:lnTo>
                    <a:pt x="1560" y="774"/>
                  </a:lnTo>
                  <a:lnTo>
                    <a:pt x="1566" y="774"/>
                  </a:lnTo>
                  <a:lnTo>
                    <a:pt x="1584" y="792"/>
                  </a:lnTo>
                  <a:lnTo>
                    <a:pt x="1584" y="810"/>
                  </a:lnTo>
                  <a:lnTo>
                    <a:pt x="1572" y="816"/>
                  </a:lnTo>
                  <a:lnTo>
                    <a:pt x="1578" y="834"/>
                  </a:lnTo>
                  <a:lnTo>
                    <a:pt x="1578" y="846"/>
                  </a:lnTo>
                  <a:lnTo>
                    <a:pt x="1584" y="858"/>
                  </a:lnTo>
                  <a:lnTo>
                    <a:pt x="1590" y="864"/>
                  </a:lnTo>
                  <a:lnTo>
                    <a:pt x="1590" y="876"/>
                  </a:lnTo>
                  <a:lnTo>
                    <a:pt x="1578" y="888"/>
                  </a:lnTo>
                  <a:lnTo>
                    <a:pt x="1560" y="906"/>
                  </a:lnTo>
                  <a:lnTo>
                    <a:pt x="1536" y="930"/>
                  </a:lnTo>
                  <a:lnTo>
                    <a:pt x="1530" y="930"/>
                  </a:lnTo>
                  <a:lnTo>
                    <a:pt x="1506" y="942"/>
                  </a:lnTo>
                  <a:lnTo>
                    <a:pt x="1488" y="948"/>
                  </a:lnTo>
                  <a:lnTo>
                    <a:pt x="1476" y="954"/>
                  </a:lnTo>
                  <a:lnTo>
                    <a:pt x="1458" y="960"/>
                  </a:lnTo>
                  <a:lnTo>
                    <a:pt x="1452" y="966"/>
                  </a:lnTo>
                  <a:lnTo>
                    <a:pt x="1446" y="966"/>
                  </a:lnTo>
                  <a:lnTo>
                    <a:pt x="1434" y="972"/>
                  </a:lnTo>
                  <a:lnTo>
                    <a:pt x="1434" y="954"/>
                  </a:lnTo>
                  <a:lnTo>
                    <a:pt x="1422" y="942"/>
                  </a:lnTo>
                  <a:lnTo>
                    <a:pt x="1398" y="924"/>
                  </a:lnTo>
                  <a:lnTo>
                    <a:pt x="1398" y="912"/>
                  </a:lnTo>
                  <a:lnTo>
                    <a:pt x="1398" y="906"/>
                  </a:lnTo>
                  <a:lnTo>
                    <a:pt x="1398" y="900"/>
                  </a:lnTo>
                  <a:lnTo>
                    <a:pt x="1380" y="900"/>
                  </a:lnTo>
                  <a:lnTo>
                    <a:pt x="1380" y="894"/>
                  </a:lnTo>
                  <a:lnTo>
                    <a:pt x="1368" y="888"/>
                  </a:lnTo>
                  <a:lnTo>
                    <a:pt x="1362" y="882"/>
                  </a:lnTo>
                  <a:lnTo>
                    <a:pt x="1356" y="876"/>
                  </a:lnTo>
                  <a:lnTo>
                    <a:pt x="1350" y="864"/>
                  </a:lnTo>
                  <a:lnTo>
                    <a:pt x="1344" y="858"/>
                  </a:lnTo>
                  <a:lnTo>
                    <a:pt x="1314" y="870"/>
                  </a:lnTo>
                  <a:lnTo>
                    <a:pt x="1272" y="876"/>
                  </a:lnTo>
                  <a:lnTo>
                    <a:pt x="1218" y="870"/>
                  </a:lnTo>
                  <a:lnTo>
                    <a:pt x="1200" y="864"/>
                  </a:lnTo>
                  <a:lnTo>
                    <a:pt x="1182" y="864"/>
                  </a:lnTo>
                  <a:lnTo>
                    <a:pt x="1134" y="858"/>
                  </a:lnTo>
                  <a:lnTo>
                    <a:pt x="1110" y="840"/>
                  </a:lnTo>
                  <a:lnTo>
                    <a:pt x="1086" y="828"/>
                  </a:lnTo>
                  <a:lnTo>
                    <a:pt x="1044" y="816"/>
                  </a:lnTo>
                  <a:lnTo>
                    <a:pt x="1014" y="816"/>
                  </a:lnTo>
                  <a:lnTo>
                    <a:pt x="990" y="822"/>
                  </a:lnTo>
                  <a:lnTo>
                    <a:pt x="948" y="858"/>
                  </a:lnTo>
                  <a:lnTo>
                    <a:pt x="930" y="864"/>
                  </a:lnTo>
                  <a:lnTo>
                    <a:pt x="924" y="876"/>
                  </a:lnTo>
                  <a:lnTo>
                    <a:pt x="918" y="906"/>
                  </a:lnTo>
                  <a:lnTo>
                    <a:pt x="924" y="930"/>
                  </a:lnTo>
                  <a:lnTo>
                    <a:pt x="948" y="984"/>
                  </a:lnTo>
                  <a:lnTo>
                    <a:pt x="954" y="1008"/>
                  </a:lnTo>
                  <a:lnTo>
                    <a:pt x="948" y="1014"/>
                  </a:lnTo>
                  <a:lnTo>
                    <a:pt x="954" y="1014"/>
                  </a:lnTo>
                  <a:lnTo>
                    <a:pt x="954" y="1032"/>
                  </a:lnTo>
                  <a:lnTo>
                    <a:pt x="966" y="1044"/>
                  </a:lnTo>
                  <a:lnTo>
                    <a:pt x="960" y="1056"/>
                  </a:lnTo>
                  <a:lnTo>
                    <a:pt x="954" y="1056"/>
                  </a:lnTo>
                  <a:lnTo>
                    <a:pt x="948" y="1056"/>
                  </a:lnTo>
                  <a:lnTo>
                    <a:pt x="942" y="1056"/>
                  </a:lnTo>
                  <a:lnTo>
                    <a:pt x="936" y="1050"/>
                  </a:lnTo>
                  <a:lnTo>
                    <a:pt x="930" y="1044"/>
                  </a:lnTo>
                  <a:lnTo>
                    <a:pt x="924" y="1044"/>
                  </a:lnTo>
                  <a:lnTo>
                    <a:pt x="918" y="1038"/>
                  </a:lnTo>
                  <a:lnTo>
                    <a:pt x="912" y="1038"/>
                  </a:lnTo>
                  <a:lnTo>
                    <a:pt x="906" y="1032"/>
                  </a:lnTo>
                  <a:lnTo>
                    <a:pt x="900" y="1032"/>
                  </a:lnTo>
                  <a:lnTo>
                    <a:pt x="888" y="1026"/>
                  </a:lnTo>
                  <a:lnTo>
                    <a:pt x="882" y="1026"/>
                  </a:lnTo>
                  <a:lnTo>
                    <a:pt x="876" y="1026"/>
                  </a:lnTo>
                  <a:lnTo>
                    <a:pt x="864" y="1014"/>
                  </a:lnTo>
                  <a:lnTo>
                    <a:pt x="846" y="1008"/>
                  </a:lnTo>
                  <a:lnTo>
                    <a:pt x="840" y="996"/>
                  </a:lnTo>
                  <a:lnTo>
                    <a:pt x="840" y="990"/>
                  </a:lnTo>
                  <a:lnTo>
                    <a:pt x="834" y="990"/>
                  </a:lnTo>
                  <a:lnTo>
                    <a:pt x="828" y="990"/>
                  </a:lnTo>
                  <a:lnTo>
                    <a:pt x="816" y="990"/>
                  </a:lnTo>
                  <a:lnTo>
                    <a:pt x="810" y="990"/>
                  </a:lnTo>
                  <a:lnTo>
                    <a:pt x="804" y="984"/>
                  </a:lnTo>
                  <a:lnTo>
                    <a:pt x="792" y="978"/>
                  </a:lnTo>
                  <a:lnTo>
                    <a:pt x="786" y="972"/>
                  </a:lnTo>
                  <a:lnTo>
                    <a:pt x="780" y="972"/>
                  </a:lnTo>
                  <a:lnTo>
                    <a:pt x="768" y="966"/>
                  </a:lnTo>
                  <a:lnTo>
                    <a:pt x="762" y="966"/>
                  </a:lnTo>
                  <a:lnTo>
                    <a:pt x="756" y="966"/>
                  </a:lnTo>
                  <a:lnTo>
                    <a:pt x="750" y="966"/>
                  </a:lnTo>
                  <a:lnTo>
                    <a:pt x="744" y="966"/>
                  </a:lnTo>
                  <a:lnTo>
                    <a:pt x="738" y="960"/>
                  </a:lnTo>
                  <a:lnTo>
                    <a:pt x="732" y="954"/>
                  </a:lnTo>
                  <a:lnTo>
                    <a:pt x="720" y="954"/>
                  </a:lnTo>
                  <a:lnTo>
                    <a:pt x="714" y="948"/>
                  </a:lnTo>
                  <a:lnTo>
                    <a:pt x="708" y="948"/>
                  </a:lnTo>
                  <a:lnTo>
                    <a:pt x="696" y="948"/>
                  </a:lnTo>
                  <a:lnTo>
                    <a:pt x="684" y="942"/>
                  </a:lnTo>
                  <a:lnTo>
                    <a:pt x="678" y="936"/>
                  </a:lnTo>
                  <a:lnTo>
                    <a:pt x="660" y="930"/>
                  </a:lnTo>
                  <a:lnTo>
                    <a:pt x="642" y="924"/>
                  </a:lnTo>
                  <a:lnTo>
                    <a:pt x="636" y="924"/>
                  </a:lnTo>
                  <a:lnTo>
                    <a:pt x="630" y="924"/>
                  </a:lnTo>
                  <a:lnTo>
                    <a:pt x="618" y="924"/>
                  </a:lnTo>
                  <a:lnTo>
                    <a:pt x="618" y="918"/>
                  </a:lnTo>
                  <a:lnTo>
                    <a:pt x="606" y="918"/>
                  </a:lnTo>
                  <a:lnTo>
                    <a:pt x="600" y="918"/>
                  </a:lnTo>
                  <a:lnTo>
                    <a:pt x="594" y="918"/>
                  </a:lnTo>
                  <a:lnTo>
                    <a:pt x="594" y="912"/>
                  </a:lnTo>
                  <a:lnTo>
                    <a:pt x="588" y="912"/>
                  </a:lnTo>
                  <a:lnTo>
                    <a:pt x="582" y="912"/>
                  </a:lnTo>
                  <a:lnTo>
                    <a:pt x="582" y="918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58" y="918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12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00"/>
                  </a:lnTo>
                  <a:lnTo>
                    <a:pt x="516" y="900"/>
                  </a:lnTo>
                  <a:lnTo>
                    <a:pt x="510" y="900"/>
                  </a:lnTo>
                  <a:lnTo>
                    <a:pt x="486" y="894"/>
                  </a:lnTo>
                  <a:lnTo>
                    <a:pt x="474" y="888"/>
                  </a:lnTo>
                  <a:lnTo>
                    <a:pt x="468" y="888"/>
                  </a:lnTo>
                  <a:lnTo>
                    <a:pt x="450" y="88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27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102" name="Freeform 16">
              <a:extLst>
                <a:ext uri="{FF2B5EF4-FFF2-40B4-BE49-F238E27FC236}">
                  <a16:creationId xmlns:a16="http://schemas.microsoft.com/office/drawing/2014/main" id="{DC50CFFE-A8D7-4EEA-8DF1-55C71D1FEA98}"/>
                </a:ext>
              </a:extLst>
            </p:cNvPr>
            <p:cNvSpPr>
              <a:spLocks/>
            </p:cNvSpPr>
            <p:nvPr/>
          </p:nvSpPr>
          <p:spPr bwMode="gray">
            <a:xfrm>
              <a:off x="5013325" y="2670176"/>
              <a:ext cx="1271588" cy="1222375"/>
            </a:xfrm>
            <a:custGeom>
              <a:avLst/>
              <a:gdLst>
                <a:gd name="T0" fmla="*/ 2147483647 w 1362"/>
                <a:gd name="T1" fmla="*/ 2147483647 h 1308"/>
                <a:gd name="T2" fmla="*/ 2147483647 w 1362"/>
                <a:gd name="T3" fmla="*/ 2147483647 h 1308"/>
                <a:gd name="T4" fmla="*/ 2147483647 w 1362"/>
                <a:gd name="T5" fmla="*/ 2147483647 h 1308"/>
                <a:gd name="T6" fmla="*/ 2147483647 w 1362"/>
                <a:gd name="T7" fmla="*/ 2147483647 h 1308"/>
                <a:gd name="T8" fmla="*/ 2147483647 w 1362"/>
                <a:gd name="T9" fmla="*/ 2147483647 h 1308"/>
                <a:gd name="T10" fmla="*/ 2147483647 w 1362"/>
                <a:gd name="T11" fmla="*/ 2147483647 h 1308"/>
                <a:gd name="T12" fmla="*/ 2147483647 w 1362"/>
                <a:gd name="T13" fmla="*/ 2147483647 h 1308"/>
                <a:gd name="T14" fmla="*/ 2147483647 w 1362"/>
                <a:gd name="T15" fmla="*/ 2147483647 h 1308"/>
                <a:gd name="T16" fmla="*/ 2147483647 w 1362"/>
                <a:gd name="T17" fmla="*/ 2147483647 h 1308"/>
                <a:gd name="T18" fmla="*/ 2147483647 w 1362"/>
                <a:gd name="T19" fmla="*/ 2147483647 h 1308"/>
                <a:gd name="T20" fmla="*/ 2147483647 w 1362"/>
                <a:gd name="T21" fmla="*/ 2147483647 h 1308"/>
                <a:gd name="T22" fmla="*/ 2147483647 w 1362"/>
                <a:gd name="T23" fmla="*/ 2147483647 h 1308"/>
                <a:gd name="T24" fmla="*/ 2147483647 w 1362"/>
                <a:gd name="T25" fmla="*/ 2147483647 h 1308"/>
                <a:gd name="T26" fmla="*/ 2147483647 w 1362"/>
                <a:gd name="T27" fmla="*/ 2147483647 h 1308"/>
                <a:gd name="T28" fmla="*/ 2147483647 w 1362"/>
                <a:gd name="T29" fmla="*/ 2147483647 h 1308"/>
                <a:gd name="T30" fmla="*/ 2147483647 w 1362"/>
                <a:gd name="T31" fmla="*/ 2147483647 h 1308"/>
                <a:gd name="T32" fmla="*/ 0 w 1362"/>
                <a:gd name="T33" fmla="*/ 2147483647 h 1308"/>
                <a:gd name="T34" fmla="*/ 0 w 1362"/>
                <a:gd name="T35" fmla="*/ 2147483647 h 1308"/>
                <a:gd name="T36" fmla="*/ 2147483647 w 1362"/>
                <a:gd name="T37" fmla="*/ 2147483647 h 1308"/>
                <a:gd name="T38" fmla="*/ 2147483647 w 1362"/>
                <a:gd name="T39" fmla="*/ 2147483647 h 1308"/>
                <a:gd name="T40" fmla="*/ 2147483647 w 1362"/>
                <a:gd name="T41" fmla="*/ 2147483647 h 1308"/>
                <a:gd name="T42" fmla="*/ 2147483647 w 1362"/>
                <a:gd name="T43" fmla="*/ 2147483647 h 1308"/>
                <a:gd name="T44" fmla="*/ 2147483647 w 1362"/>
                <a:gd name="T45" fmla="*/ 2147483647 h 1308"/>
                <a:gd name="T46" fmla="*/ 2147483647 w 1362"/>
                <a:gd name="T47" fmla="*/ 0 h 1308"/>
                <a:gd name="T48" fmla="*/ 2147483647 w 1362"/>
                <a:gd name="T49" fmla="*/ 2147483647 h 1308"/>
                <a:gd name="T50" fmla="*/ 2147483647 w 1362"/>
                <a:gd name="T51" fmla="*/ 2147483647 h 1308"/>
                <a:gd name="T52" fmla="*/ 2147483647 w 1362"/>
                <a:gd name="T53" fmla="*/ 2147483647 h 1308"/>
                <a:gd name="T54" fmla="*/ 2147483647 w 1362"/>
                <a:gd name="T55" fmla="*/ 2147483647 h 1308"/>
                <a:gd name="T56" fmla="*/ 2147483647 w 1362"/>
                <a:gd name="T57" fmla="*/ 2147483647 h 1308"/>
                <a:gd name="T58" fmla="*/ 2147483647 w 1362"/>
                <a:gd name="T59" fmla="*/ 2147483647 h 1308"/>
                <a:gd name="T60" fmla="*/ 2147483647 w 1362"/>
                <a:gd name="T61" fmla="*/ 2147483647 h 1308"/>
                <a:gd name="T62" fmla="*/ 2147483647 w 1362"/>
                <a:gd name="T63" fmla="*/ 2147483647 h 1308"/>
                <a:gd name="T64" fmla="*/ 2147483647 w 1362"/>
                <a:gd name="T65" fmla="*/ 2147483647 h 1308"/>
                <a:gd name="T66" fmla="*/ 2147483647 w 1362"/>
                <a:gd name="T67" fmla="*/ 2147483647 h 1308"/>
                <a:gd name="T68" fmla="*/ 2147483647 w 1362"/>
                <a:gd name="T69" fmla="*/ 2147483647 h 1308"/>
                <a:gd name="T70" fmla="*/ 2147483647 w 1362"/>
                <a:gd name="T71" fmla="*/ 2147483647 h 1308"/>
                <a:gd name="T72" fmla="*/ 2147483647 w 1362"/>
                <a:gd name="T73" fmla="*/ 2147483647 h 1308"/>
                <a:gd name="T74" fmla="*/ 2147483647 w 1362"/>
                <a:gd name="T75" fmla="*/ 2147483647 h 1308"/>
                <a:gd name="T76" fmla="*/ 2147483647 w 1362"/>
                <a:gd name="T77" fmla="*/ 2147483647 h 1308"/>
                <a:gd name="T78" fmla="*/ 2147483647 w 1362"/>
                <a:gd name="T79" fmla="*/ 2147483647 h 1308"/>
                <a:gd name="T80" fmla="*/ 2147483647 w 1362"/>
                <a:gd name="T81" fmla="*/ 2147483647 h 1308"/>
                <a:gd name="T82" fmla="*/ 2147483647 w 1362"/>
                <a:gd name="T83" fmla="*/ 2147483647 h 1308"/>
                <a:gd name="T84" fmla="*/ 2147483647 w 1362"/>
                <a:gd name="T85" fmla="*/ 2147483647 h 1308"/>
                <a:gd name="T86" fmla="*/ 2147483647 w 1362"/>
                <a:gd name="T87" fmla="*/ 2147483647 h 1308"/>
                <a:gd name="T88" fmla="*/ 2147483647 w 1362"/>
                <a:gd name="T89" fmla="*/ 2147483647 h 1308"/>
                <a:gd name="T90" fmla="*/ 2147483647 w 1362"/>
                <a:gd name="T91" fmla="*/ 2147483647 h 1308"/>
                <a:gd name="T92" fmla="*/ 2147483647 w 1362"/>
                <a:gd name="T93" fmla="*/ 2147483647 h 1308"/>
                <a:gd name="T94" fmla="*/ 2147483647 w 1362"/>
                <a:gd name="T95" fmla="*/ 2147483647 h 1308"/>
                <a:gd name="T96" fmla="*/ 2147483647 w 1362"/>
                <a:gd name="T97" fmla="*/ 2147483647 h 1308"/>
                <a:gd name="T98" fmla="*/ 2147483647 w 1362"/>
                <a:gd name="T99" fmla="*/ 2147483647 h 1308"/>
                <a:gd name="T100" fmla="*/ 2147483647 w 1362"/>
                <a:gd name="T101" fmla="*/ 2147483647 h 1308"/>
                <a:gd name="T102" fmla="*/ 2147483647 w 1362"/>
                <a:gd name="T103" fmla="*/ 2147483647 h 1308"/>
                <a:gd name="T104" fmla="*/ 2147483647 w 1362"/>
                <a:gd name="T105" fmla="*/ 2147483647 h 1308"/>
                <a:gd name="T106" fmla="*/ 2147483647 w 1362"/>
                <a:gd name="T107" fmla="*/ 2147483647 h 1308"/>
                <a:gd name="T108" fmla="*/ 2147483647 w 1362"/>
                <a:gd name="T109" fmla="*/ 2147483647 h 130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62"/>
                <a:gd name="T166" fmla="*/ 0 h 1308"/>
                <a:gd name="T167" fmla="*/ 1362 w 1362"/>
                <a:gd name="T168" fmla="*/ 1308 h 130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62" h="1308">
                  <a:moveTo>
                    <a:pt x="684" y="1278"/>
                  </a:moveTo>
                  <a:lnTo>
                    <a:pt x="672" y="1272"/>
                  </a:lnTo>
                  <a:lnTo>
                    <a:pt x="636" y="1266"/>
                  </a:lnTo>
                  <a:lnTo>
                    <a:pt x="582" y="1248"/>
                  </a:lnTo>
                  <a:lnTo>
                    <a:pt x="564" y="1230"/>
                  </a:lnTo>
                  <a:lnTo>
                    <a:pt x="540" y="1218"/>
                  </a:lnTo>
                  <a:lnTo>
                    <a:pt x="510" y="1218"/>
                  </a:lnTo>
                  <a:lnTo>
                    <a:pt x="498" y="1224"/>
                  </a:lnTo>
                  <a:lnTo>
                    <a:pt x="492" y="1230"/>
                  </a:lnTo>
                  <a:lnTo>
                    <a:pt x="474" y="1230"/>
                  </a:lnTo>
                  <a:lnTo>
                    <a:pt x="414" y="1230"/>
                  </a:lnTo>
                  <a:lnTo>
                    <a:pt x="396" y="1236"/>
                  </a:lnTo>
                  <a:lnTo>
                    <a:pt x="390" y="1248"/>
                  </a:lnTo>
                  <a:lnTo>
                    <a:pt x="372" y="1248"/>
                  </a:lnTo>
                  <a:lnTo>
                    <a:pt x="366" y="1242"/>
                  </a:lnTo>
                  <a:lnTo>
                    <a:pt x="366" y="1224"/>
                  </a:lnTo>
                  <a:lnTo>
                    <a:pt x="360" y="1224"/>
                  </a:lnTo>
                  <a:lnTo>
                    <a:pt x="354" y="1218"/>
                  </a:lnTo>
                  <a:lnTo>
                    <a:pt x="336" y="1206"/>
                  </a:lnTo>
                  <a:lnTo>
                    <a:pt x="330" y="1194"/>
                  </a:lnTo>
                  <a:lnTo>
                    <a:pt x="288" y="1200"/>
                  </a:lnTo>
                  <a:lnTo>
                    <a:pt x="288" y="1194"/>
                  </a:lnTo>
                  <a:lnTo>
                    <a:pt x="288" y="1182"/>
                  </a:lnTo>
                  <a:lnTo>
                    <a:pt x="288" y="1170"/>
                  </a:lnTo>
                  <a:lnTo>
                    <a:pt x="288" y="1164"/>
                  </a:lnTo>
                  <a:lnTo>
                    <a:pt x="282" y="1140"/>
                  </a:lnTo>
                  <a:lnTo>
                    <a:pt x="276" y="1134"/>
                  </a:lnTo>
                  <a:lnTo>
                    <a:pt x="258" y="1116"/>
                  </a:lnTo>
                  <a:lnTo>
                    <a:pt x="258" y="1110"/>
                  </a:lnTo>
                  <a:lnTo>
                    <a:pt x="252" y="1110"/>
                  </a:lnTo>
                  <a:lnTo>
                    <a:pt x="252" y="1104"/>
                  </a:lnTo>
                  <a:lnTo>
                    <a:pt x="252" y="1098"/>
                  </a:lnTo>
                  <a:lnTo>
                    <a:pt x="240" y="1092"/>
                  </a:lnTo>
                  <a:lnTo>
                    <a:pt x="234" y="1092"/>
                  </a:lnTo>
                  <a:lnTo>
                    <a:pt x="240" y="1086"/>
                  </a:lnTo>
                  <a:lnTo>
                    <a:pt x="234" y="1080"/>
                  </a:lnTo>
                  <a:lnTo>
                    <a:pt x="228" y="1080"/>
                  </a:lnTo>
                  <a:lnTo>
                    <a:pt x="228" y="1068"/>
                  </a:lnTo>
                  <a:lnTo>
                    <a:pt x="228" y="1056"/>
                  </a:lnTo>
                  <a:lnTo>
                    <a:pt x="222" y="1056"/>
                  </a:lnTo>
                  <a:lnTo>
                    <a:pt x="228" y="1044"/>
                  </a:lnTo>
                  <a:lnTo>
                    <a:pt x="228" y="1038"/>
                  </a:lnTo>
                  <a:lnTo>
                    <a:pt x="228" y="1032"/>
                  </a:lnTo>
                  <a:lnTo>
                    <a:pt x="234" y="1026"/>
                  </a:lnTo>
                  <a:lnTo>
                    <a:pt x="246" y="1020"/>
                  </a:lnTo>
                  <a:lnTo>
                    <a:pt x="252" y="1020"/>
                  </a:lnTo>
                  <a:lnTo>
                    <a:pt x="258" y="1014"/>
                  </a:lnTo>
                  <a:lnTo>
                    <a:pt x="264" y="1008"/>
                  </a:lnTo>
                  <a:lnTo>
                    <a:pt x="264" y="1002"/>
                  </a:lnTo>
                  <a:lnTo>
                    <a:pt x="270" y="984"/>
                  </a:lnTo>
                  <a:lnTo>
                    <a:pt x="276" y="978"/>
                  </a:lnTo>
                  <a:lnTo>
                    <a:pt x="300" y="978"/>
                  </a:lnTo>
                  <a:lnTo>
                    <a:pt x="306" y="972"/>
                  </a:lnTo>
                  <a:lnTo>
                    <a:pt x="312" y="966"/>
                  </a:lnTo>
                  <a:lnTo>
                    <a:pt x="324" y="936"/>
                  </a:lnTo>
                  <a:lnTo>
                    <a:pt x="330" y="930"/>
                  </a:lnTo>
                  <a:lnTo>
                    <a:pt x="330" y="924"/>
                  </a:lnTo>
                  <a:lnTo>
                    <a:pt x="336" y="918"/>
                  </a:lnTo>
                  <a:lnTo>
                    <a:pt x="342" y="912"/>
                  </a:lnTo>
                  <a:lnTo>
                    <a:pt x="342" y="906"/>
                  </a:lnTo>
                  <a:lnTo>
                    <a:pt x="342" y="900"/>
                  </a:lnTo>
                  <a:lnTo>
                    <a:pt x="342" y="894"/>
                  </a:lnTo>
                  <a:lnTo>
                    <a:pt x="342" y="888"/>
                  </a:lnTo>
                  <a:lnTo>
                    <a:pt x="336" y="876"/>
                  </a:lnTo>
                  <a:lnTo>
                    <a:pt x="342" y="870"/>
                  </a:lnTo>
                  <a:lnTo>
                    <a:pt x="336" y="864"/>
                  </a:lnTo>
                  <a:lnTo>
                    <a:pt x="336" y="858"/>
                  </a:lnTo>
                  <a:lnTo>
                    <a:pt x="330" y="852"/>
                  </a:lnTo>
                  <a:lnTo>
                    <a:pt x="318" y="852"/>
                  </a:lnTo>
                  <a:lnTo>
                    <a:pt x="306" y="858"/>
                  </a:lnTo>
                  <a:lnTo>
                    <a:pt x="264" y="864"/>
                  </a:lnTo>
                  <a:lnTo>
                    <a:pt x="234" y="858"/>
                  </a:lnTo>
                  <a:lnTo>
                    <a:pt x="228" y="858"/>
                  </a:lnTo>
                  <a:lnTo>
                    <a:pt x="198" y="858"/>
                  </a:lnTo>
                  <a:lnTo>
                    <a:pt x="174" y="858"/>
                  </a:lnTo>
                  <a:lnTo>
                    <a:pt x="168" y="852"/>
                  </a:lnTo>
                  <a:lnTo>
                    <a:pt x="168" y="840"/>
                  </a:lnTo>
                  <a:lnTo>
                    <a:pt x="168" y="834"/>
                  </a:lnTo>
                  <a:lnTo>
                    <a:pt x="168" y="822"/>
                  </a:lnTo>
                  <a:lnTo>
                    <a:pt x="162" y="822"/>
                  </a:lnTo>
                  <a:lnTo>
                    <a:pt x="150" y="816"/>
                  </a:lnTo>
                  <a:lnTo>
                    <a:pt x="144" y="810"/>
                  </a:lnTo>
                  <a:lnTo>
                    <a:pt x="144" y="804"/>
                  </a:lnTo>
                  <a:lnTo>
                    <a:pt x="144" y="786"/>
                  </a:lnTo>
                  <a:lnTo>
                    <a:pt x="144" y="780"/>
                  </a:lnTo>
                  <a:lnTo>
                    <a:pt x="144" y="774"/>
                  </a:lnTo>
                  <a:lnTo>
                    <a:pt x="132" y="756"/>
                  </a:lnTo>
                  <a:lnTo>
                    <a:pt x="120" y="756"/>
                  </a:lnTo>
                  <a:lnTo>
                    <a:pt x="84" y="750"/>
                  </a:lnTo>
                  <a:lnTo>
                    <a:pt x="78" y="744"/>
                  </a:lnTo>
                  <a:lnTo>
                    <a:pt x="60" y="744"/>
                  </a:lnTo>
                  <a:lnTo>
                    <a:pt x="54" y="726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66" y="720"/>
                  </a:lnTo>
                  <a:lnTo>
                    <a:pt x="66" y="714"/>
                  </a:lnTo>
                  <a:lnTo>
                    <a:pt x="72" y="714"/>
                  </a:lnTo>
                  <a:lnTo>
                    <a:pt x="72" y="708"/>
                  </a:lnTo>
                  <a:lnTo>
                    <a:pt x="78" y="702"/>
                  </a:lnTo>
                  <a:lnTo>
                    <a:pt x="78" y="696"/>
                  </a:lnTo>
                  <a:lnTo>
                    <a:pt x="78" y="690"/>
                  </a:lnTo>
                  <a:lnTo>
                    <a:pt x="84" y="678"/>
                  </a:lnTo>
                  <a:lnTo>
                    <a:pt x="90" y="666"/>
                  </a:lnTo>
                  <a:lnTo>
                    <a:pt x="90" y="642"/>
                  </a:lnTo>
                  <a:lnTo>
                    <a:pt x="84" y="648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66" y="642"/>
                  </a:lnTo>
                  <a:lnTo>
                    <a:pt x="60" y="642"/>
                  </a:lnTo>
                  <a:lnTo>
                    <a:pt x="54" y="636"/>
                  </a:lnTo>
                  <a:lnTo>
                    <a:pt x="30" y="570"/>
                  </a:lnTo>
                  <a:lnTo>
                    <a:pt x="24" y="564"/>
                  </a:lnTo>
                  <a:lnTo>
                    <a:pt x="18" y="570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6"/>
                  </a:lnTo>
                  <a:lnTo>
                    <a:pt x="6" y="540"/>
                  </a:lnTo>
                  <a:lnTo>
                    <a:pt x="0" y="522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2" y="480"/>
                  </a:lnTo>
                  <a:lnTo>
                    <a:pt x="6" y="480"/>
                  </a:lnTo>
                  <a:lnTo>
                    <a:pt x="0" y="474"/>
                  </a:lnTo>
                  <a:lnTo>
                    <a:pt x="0" y="450"/>
                  </a:lnTo>
                  <a:lnTo>
                    <a:pt x="6" y="450"/>
                  </a:lnTo>
                  <a:lnTo>
                    <a:pt x="12" y="450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32"/>
                  </a:lnTo>
                  <a:lnTo>
                    <a:pt x="30" y="426"/>
                  </a:lnTo>
                  <a:lnTo>
                    <a:pt x="36" y="402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2" y="366"/>
                  </a:lnTo>
                  <a:lnTo>
                    <a:pt x="48" y="360"/>
                  </a:lnTo>
                  <a:lnTo>
                    <a:pt x="48" y="342"/>
                  </a:lnTo>
                  <a:lnTo>
                    <a:pt x="42" y="330"/>
                  </a:lnTo>
                  <a:lnTo>
                    <a:pt x="36" y="324"/>
                  </a:lnTo>
                  <a:lnTo>
                    <a:pt x="42" y="306"/>
                  </a:lnTo>
                  <a:lnTo>
                    <a:pt x="42" y="270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48" y="258"/>
                  </a:lnTo>
                  <a:lnTo>
                    <a:pt x="72" y="252"/>
                  </a:lnTo>
                  <a:lnTo>
                    <a:pt x="66" y="204"/>
                  </a:lnTo>
                  <a:lnTo>
                    <a:pt x="60" y="198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8" y="13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84" y="96"/>
                  </a:lnTo>
                  <a:lnTo>
                    <a:pt x="90" y="84"/>
                  </a:lnTo>
                  <a:lnTo>
                    <a:pt x="108" y="72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20" y="60"/>
                  </a:lnTo>
                  <a:lnTo>
                    <a:pt x="120" y="54"/>
                  </a:lnTo>
                  <a:lnTo>
                    <a:pt x="120" y="48"/>
                  </a:lnTo>
                  <a:lnTo>
                    <a:pt x="126" y="48"/>
                  </a:lnTo>
                  <a:lnTo>
                    <a:pt x="132" y="42"/>
                  </a:lnTo>
                  <a:lnTo>
                    <a:pt x="132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240" y="18"/>
                  </a:lnTo>
                  <a:lnTo>
                    <a:pt x="246" y="42"/>
                  </a:lnTo>
                  <a:lnTo>
                    <a:pt x="240" y="72"/>
                  </a:lnTo>
                  <a:lnTo>
                    <a:pt x="246" y="78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8" y="108"/>
                  </a:lnTo>
                  <a:lnTo>
                    <a:pt x="276" y="114"/>
                  </a:lnTo>
                  <a:lnTo>
                    <a:pt x="294" y="150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82" y="186"/>
                  </a:lnTo>
                  <a:lnTo>
                    <a:pt x="282" y="192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76" y="216"/>
                  </a:lnTo>
                  <a:lnTo>
                    <a:pt x="288" y="240"/>
                  </a:lnTo>
                  <a:lnTo>
                    <a:pt x="312" y="228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66" y="228"/>
                  </a:lnTo>
                  <a:lnTo>
                    <a:pt x="372" y="228"/>
                  </a:lnTo>
                  <a:lnTo>
                    <a:pt x="372" y="222"/>
                  </a:lnTo>
                  <a:lnTo>
                    <a:pt x="378" y="222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6" y="222"/>
                  </a:lnTo>
                  <a:lnTo>
                    <a:pt x="402" y="222"/>
                  </a:lnTo>
                  <a:lnTo>
                    <a:pt x="402" y="228"/>
                  </a:lnTo>
                  <a:lnTo>
                    <a:pt x="408" y="228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26" y="216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68" y="258"/>
                  </a:lnTo>
                  <a:lnTo>
                    <a:pt x="462" y="264"/>
                  </a:lnTo>
                  <a:lnTo>
                    <a:pt x="468" y="264"/>
                  </a:lnTo>
                  <a:lnTo>
                    <a:pt x="468" y="270"/>
                  </a:lnTo>
                  <a:lnTo>
                    <a:pt x="474" y="270"/>
                  </a:lnTo>
                  <a:lnTo>
                    <a:pt x="480" y="276"/>
                  </a:lnTo>
                  <a:lnTo>
                    <a:pt x="474" y="282"/>
                  </a:lnTo>
                  <a:lnTo>
                    <a:pt x="474" y="288"/>
                  </a:lnTo>
                  <a:lnTo>
                    <a:pt x="462" y="294"/>
                  </a:lnTo>
                  <a:lnTo>
                    <a:pt x="468" y="324"/>
                  </a:lnTo>
                  <a:lnTo>
                    <a:pt x="462" y="336"/>
                  </a:lnTo>
                  <a:lnTo>
                    <a:pt x="456" y="354"/>
                  </a:lnTo>
                  <a:lnTo>
                    <a:pt x="432" y="390"/>
                  </a:lnTo>
                  <a:lnTo>
                    <a:pt x="420" y="390"/>
                  </a:lnTo>
                  <a:lnTo>
                    <a:pt x="402" y="390"/>
                  </a:lnTo>
                  <a:lnTo>
                    <a:pt x="396" y="396"/>
                  </a:lnTo>
                  <a:lnTo>
                    <a:pt x="390" y="396"/>
                  </a:lnTo>
                  <a:lnTo>
                    <a:pt x="390" y="402"/>
                  </a:lnTo>
                  <a:lnTo>
                    <a:pt x="384" y="402"/>
                  </a:lnTo>
                  <a:lnTo>
                    <a:pt x="408" y="432"/>
                  </a:lnTo>
                  <a:lnTo>
                    <a:pt x="432" y="438"/>
                  </a:lnTo>
                  <a:lnTo>
                    <a:pt x="456" y="432"/>
                  </a:lnTo>
                  <a:lnTo>
                    <a:pt x="468" y="426"/>
                  </a:lnTo>
                  <a:lnTo>
                    <a:pt x="468" y="444"/>
                  </a:lnTo>
                  <a:lnTo>
                    <a:pt x="468" y="450"/>
                  </a:lnTo>
                  <a:lnTo>
                    <a:pt x="468" y="474"/>
                  </a:lnTo>
                  <a:lnTo>
                    <a:pt x="486" y="480"/>
                  </a:lnTo>
                  <a:lnTo>
                    <a:pt x="486" y="486"/>
                  </a:lnTo>
                  <a:lnTo>
                    <a:pt x="492" y="498"/>
                  </a:lnTo>
                  <a:lnTo>
                    <a:pt x="492" y="504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504" y="516"/>
                  </a:lnTo>
                  <a:lnTo>
                    <a:pt x="510" y="516"/>
                  </a:lnTo>
                  <a:lnTo>
                    <a:pt x="522" y="528"/>
                  </a:lnTo>
                  <a:lnTo>
                    <a:pt x="546" y="540"/>
                  </a:lnTo>
                  <a:lnTo>
                    <a:pt x="552" y="546"/>
                  </a:lnTo>
                  <a:lnTo>
                    <a:pt x="570" y="552"/>
                  </a:lnTo>
                  <a:lnTo>
                    <a:pt x="594" y="552"/>
                  </a:lnTo>
                  <a:lnTo>
                    <a:pt x="606" y="546"/>
                  </a:lnTo>
                  <a:lnTo>
                    <a:pt x="612" y="540"/>
                  </a:lnTo>
                  <a:lnTo>
                    <a:pt x="630" y="540"/>
                  </a:lnTo>
                  <a:lnTo>
                    <a:pt x="630" y="552"/>
                  </a:lnTo>
                  <a:lnTo>
                    <a:pt x="654" y="552"/>
                  </a:lnTo>
                  <a:lnTo>
                    <a:pt x="702" y="558"/>
                  </a:lnTo>
                  <a:lnTo>
                    <a:pt x="762" y="546"/>
                  </a:lnTo>
                  <a:lnTo>
                    <a:pt x="780" y="546"/>
                  </a:lnTo>
                  <a:lnTo>
                    <a:pt x="780" y="528"/>
                  </a:lnTo>
                  <a:lnTo>
                    <a:pt x="798" y="522"/>
                  </a:lnTo>
                  <a:lnTo>
                    <a:pt x="810" y="510"/>
                  </a:lnTo>
                  <a:lnTo>
                    <a:pt x="810" y="504"/>
                  </a:lnTo>
                  <a:lnTo>
                    <a:pt x="828" y="492"/>
                  </a:lnTo>
                  <a:lnTo>
                    <a:pt x="888" y="486"/>
                  </a:lnTo>
                  <a:lnTo>
                    <a:pt x="912" y="486"/>
                  </a:lnTo>
                  <a:lnTo>
                    <a:pt x="930" y="474"/>
                  </a:lnTo>
                  <a:lnTo>
                    <a:pt x="918" y="456"/>
                  </a:lnTo>
                  <a:lnTo>
                    <a:pt x="912" y="450"/>
                  </a:lnTo>
                  <a:lnTo>
                    <a:pt x="918" y="390"/>
                  </a:lnTo>
                  <a:lnTo>
                    <a:pt x="954" y="396"/>
                  </a:lnTo>
                  <a:lnTo>
                    <a:pt x="984" y="402"/>
                  </a:lnTo>
                  <a:lnTo>
                    <a:pt x="1014" y="420"/>
                  </a:lnTo>
                  <a:lnTo>
                    <a:pt x="1026" y="432"/>
                  </a:lnTo>
                  <a:lnTo>
                    <a:pt x="1044" y="450"/>
                  </a:lnTo>
                  <a:lnTo>
                    <a:pt x="1062" y="462"/>
                  </a:lnTo>
                  <a:lnTo>
                    <a:pt x="1098" y="468"/>
                  </a:lnTo>
                  <a:lnTo>
                    <a:pt x="1128" y="480"/>
                  </a:lnTo>
                  <a:lnTo>
                    <a:pt x="1152" y="486"/>
                  </a:lnTo>
                  <a:lnTo>
                    <a:pt x="1188" y="498"/>
                  </a:lnTo>
                  <a:lnTo>
                    <a:pt x="1212" y="504"/>
                  </a:lnTo>
                  <a:lnTo>
                    <a:pt x="1224" y="528"/>
                  </a:lnTo>
                  <a:lnTo>
                    <a:pt x="1236" y="540"/>
                  </a:lnTo>
                  <a:lnTo>
                    <a:pt x="1254" y="540"/>
                  </a:lnTo>
                  <a:lnTo>
                    <a:pt x="1254" y="546"/>
                  </a:lnTo>
                  <a:lnTo>
                    <a:pt x="1260" y="552"/>
                  </a:lnTo>
                  <a:lnTo>
                    <a:pt x="1266" y="552"/>
                  </a:lnTo>
                  <a:lnTo>
                    <a:pt x="1266" y="558"/>
                  </a:lnTo>
                  <a:lnTo>
                    <a:pt x="1272" y="564"/>
                  </a:lnTo>
                  <a:lnTo>
                    <a:pt x="1278" y="564"/>
                  </a:lnTo>
                  <a:lnTo>
                    <a:pt x="1278" y="570"/>
                  </a:lnTo>
                  <a:lnTo>
                    <a:pt x="1284" y="576"/>
                  </a:lnTo>
                  <a:lnTo>
                    <a:pt x="1290" y="582"/>
                  </a:lnTo>
                  <a:lnTo>
                    <a:pt x="1296" y="582"/>
                  </a:lnTo>
                  <a:lnTo>
                    <a:pt x="1296" y="588"/>
                  </a:lnTo>
                  <a:lnTo>
                    <a:pt x="1308" y="594"/>
                  </a:lnTo>
                  <a:lnTo>
                    <a:pt x="1308" y="600"/>
                  </a:lnTo>
                  <a:lnTo>
                    <a:pt x="1308" y="606"/>
                  </a:lnTo>
                  <a:lnTo>
                    <a:pt x="1314" y="612"/>
                  </a:lnTo>
                  <a:lnTo>
                    <a:pt x="1308" y="618"/>
                  </a:lnTo>
                  <a:lnTo>
                    <a:pt x="1314" y="618"/>
                  </a:lnTo>
                  <a:lnTo>
                    <a:pt x="1314" y="624"/>
                  </a:lnTo>
                  <a:lnTo>
                    <a:pt x="1308" y="624"/>
                  </a:lnTo>
                  <a:lnTo>
                    <a:pt x="1302" y="630"/>
                  </a:lnTo>
                  <a:lnTo>
                    <a:pt x="1302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296" y="654"/>
                  </a:lnTo>
                  <a:lnTo>
                    <a:pt x="1302" y="660"/>
                  </a:lnTo>
                  <a:lnTo>
                    <a:pt x="1302" y="666"/>
                  </a:lnTo>
                  <a:lnTo>
                    <a:pt x="1308" y="666"/>
                  </a:lnTo>
                  <a:lnTo>
                    <a:pt x="1308" y="672"/>
                  </a:lnTo>
                  <a:lnTo>
                    <a:pt x="1308" y="678"/>
                  </a:lnTo>
                  <a:lnTo>
                    <a:pt x="1308" y="684"/>
                  </a:lnTo>
                  <a:lnTo>
                    <a:pt x="1308" y="690"/>
                  </a:lnTo>
                  <a:lnTo>
                    <a:pt x="1302" y="696"/>
                  </a:lnTo>
                  <a:lnTo>
                    <a:pt x="1302" y="702"/>
                  </a:lnTo>
                  <a:lnTo>
                    <a:pt x="1308" y="702"/>
                  </a:lnTo>
                  <a:lnTo>
                    <a:pt x="1302" y="708"/>
                  </a:lnTo>
                  <a:lnTo>
                    <a:pt x="1308" y="714"/>
                  </a:lnTo>
                  <a:lnTo>
                    <a:pt x="1308" y="720"/>
                  </a:lnTo>
                  <a:lnTo>
                    <a:pt x="1308" y="726"/>
                  </a:lnTo>
                  <a:lnTo>
                    <a:pt x="1308" y="732"/>
                  </a:lnTo>
                  <a:lnTo>
                    <a:pt x="1314" y="732"/>
                  </a:lnTo>
                  <a:lnTo>
                    <a:pt x="1314" y="738"/>
                  </a:lnTo>
                  <a:lnTo>
                    <a:pt x="1320" y="744"/>
                  </a:lnTo>
                  <a:lnTo>
                    <a:pt x="1326" y="750"/>
                  </a:lnTo>
                  <a:lnTo>
                    <a:pt x="1320" y="750"/>
                  </a:lnTo>
                  <a:lnTo>
                    <a:pt x="1320" y="756"/>
                  </a:lnTo>
                  <a:lnTo>
                    <a:pt x="1314" y="756"/>
                  </a:lnTo>
                  <a:lnTo>
                    <a:pt x="1314" y="762"/>
                  </a:lnTo>
                  <a:lnTo>
                    <a:pt x="1314" y="768"/>
                  </a:lnTo>
                  <a:lnTo>
                    <a:pt x="1320" y="768"/>
                  </a:lnTo>
                  <a:lnTo>
                    <a:pt x="1320" y="762"/>
                  </a:lnTo>
                  <a:lnTo>
                    <a:pt x="1320" y="768"/>
                  </a:lnTo>
                  <a:lnTo>
                    <a:pt x="1326" y="774"/>
                  </a:lnTo>
                  <a:lnTo>
                    <a:pt x="1332" y="774"/>
                  </a:lnTo>
                  <a:lnTo>
                    <a:pt x="1332" y="780"/>
                  </a:lnTo>
                  <a:lnTo>
                    <a:pt x="1332" y="786"/>
                  </a:lnTo>
                  <a:lnTo>
                    <a:pt x="1332" y="792"/>
                  </a:lnTo>
                  <a:lnTo>
                    <a:pt x="1338" y="786"/>
                  </a:lnTo>
                  <a:lnTo>
                    <a:pt x="1338" y="792"/>
                  </a:lnTo>
                  <a:lnTo>
                    <a:pt x="1344" y="798"/>
                  </a:lnTo>
                  <a:lnTo>
                    <a:pt x="1344" y="804"/>
                  </a:lnTo>
                  <a:lnTo>
                    <a:pt x="1344" y="810"/>
                  </a:lnTo>
                  <a:lnTo>
                    <a:pt x="1344" y="816"/>
                  </a:lnTo>
                  <a:lnTo>
                    <a:pt x="1344" y="822"/>
                  </a:lnTo>
                  <a:lnTo>
                    <a:pt x="1338" y="828"/>
                  </a:lnTo>
                  <a:lnTo>
                    <a:pt x="1332" y="828"/>
                  </a:lnTo>
                  <a:lnTo>
                    <a:pt x="1338" y="840"/>
                  </a:lnTo>
                  <a:lnTo>
                    <a:pt x="1344" y="846"/>
                  </a:lnTo>
                  <a:lnTo>
                    <a:pt x="1344" y="852"/>
                  </a:lnTo>
                  <a:lnTo>
                    <a:pt x="1350" y="852"/>
                  </a:lnTo>
                  <a:lnTo>
                    <a:pt x="1356" y="858"/>
                  </a:lnTo>
                  <a:lnTo>
                    <a:pt x="1362" y="858"/>
                  </a:lnTo>
                  <a:lnTo>
                    <a:pt x="1362" y="870"/>
                  </a:lnTo>
                  <a:lnTo>
                    <a:pt x="1356" y="870"/>
                  </a:lnTo>
                  <a:lnTo>
                    <a:pt x="1356" y="876"/>
                  </a:lnTo>
                  <a:lnTo>
                    <a:pt x="1350" y="876"/>
                  </a:lnTo>
                  <a:lnTo>
                    <a:pt x="1344" y="876"/>
                  </a:lnTo>
                  <a:lnTo>
                    <a:pt x="1344" y="882"/>
                  </a:lnTo>
                  <a:lnTo>
                    <a:pt x="1338" y="882"/>
                  </a:lnTo>
                  <a:lnTo>
                    <a:pt x="1338" y="888"/>
                  </a:lnTo>
                  <a:lnTo>
                    <a:pt x="1338" y="894"/>
                  </a:lnTo>
                  <a:lnTo>
                    <a:pt x="1344" y="900"/>
                  </a:lnTo>
                  <a:lnTo>
                    <a:pt x="1344" y="906"/>
                  </a:lnTo>
                  <a:lnTo>
                    <a:pt x="1338" y="906"/>
                  </a:lnTo>
                  <a:lnTo>
                    <a:pt x="1332" y="912"/>
                  </a:lnTo>
                  <a:lnTo>
                    <a:pt x="1332" y="918"/>
                  </a:lnTo>
                  <a:lnTo>
                    <a:pt x="1326" y="918"/>
                  </a:lnTo>
                  <a:lnTo>
                    <a:pt x="1332" y="924"/>
                  </a:lnTo>
                  <a:lnTo>
                    <a:pt x="1284" y="942"/>
                  </a:lnTo>
                  <a:lnTo>
                    <a:pt x="1236" y="948"/>
                  </a:lnTo>
                  <a:lnTo>
                    <a:pt x="1194" y="966"/>
                  </a:lnTo>
                  <a:lnTo>
                    <a:pt x="1170" y="1002"/>
                  </a:lnTo>
                  <a:lnTo>
                    <a:pt x="1134" y="1020"/>
                  </a:lnTo>
                  <a:lnTo>
                    <a:pt x="1116" y="1032"/>
                  </a:lnTo>
                  <a:lnTo>
                    <a:pt x="1098" y="1050"/>
                  </a:lnTo>
                  <a:lnTo>
                    <a:pt x="1074" y="1074"/>
                  </a:lnTo>
                  <a:lnTo>
                    <a:pt x="1008" y="1134"/>
                  </a:lnTo>
                  <a:lnTo>
                    <a:pt x="990" y="1158"/>
                  </a:lnTo>
                  <a:lnTo>
                    <a:pt x="978" y="1182"/>
                  </a:lnTo>
                  <a:lnTo>
                    <a:pt x="960" y="1194"/>
                  </a:lnTo>
                  <a:lnTo>
                    <a:pt x="942" y="1212"/>
                  </a:lnTo>
                  <a:lnTo>
                    <a:pt x="912" y="1242"/>
                  </a:lnTo>
                  <a:lnTo>
                    <a:pt x="888" y="1254"/>
                  </a:lnTo>
                  <a:lnTo>
                    <a:pt x="864" y="1278"/>
                  </a:lnTo>
                  <a:lnTo>
                    <a:pt x="828" y="1296"/>
                  </a:lnTo>
                  <a:lnTo>
                    <a:pt x="774" y="1308"/>
                  </a:lnTo>
                  <a:lnTo>
                    <a:pt x="732" y="1302"/>
                  </a:lnTo>
                  <a:lnTo>
                    <a:pt x="702" y="1284"/>
                  </a:lnTo>
                  <a:lnTo>
                    <a:pt x="684" y="127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27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103" name="Freeform 17">
              <a:extLst>
                <a:ext uri="{FF2B5EF4-FFF2-40B4-BE49-F238E27FC236}">
                  <a16:creationId xmlns:a16="http://schemas.microsoft.com/office/drawing/2014/main" id="{80CBCF74-C516-47BF-A542-2D22566C137A}"/>
                </a:ext>
              </a:extLst>
            </p:cNvPr>
            <p:cNvSpPr>
              <a:spLocks/>
            </p:cNvSpPr>
            <p:nvPr/>
          </p:nvSpPr>
          <p:spPr bwMode="gray">
            <a:xfrm>
              <a:off x="5405438" y="3159126"/>
              <a:ext cx="1606550" cy="1825625"/>
            </a:xfrm>
            <a:custGeom>
              <a:avLst/>
              <a:gdLst>
                <a:gd name="T0" fmla="*/ 144 w 1722"/>
                <a:gd name="T1" fmla="*/ 131 h 1956"/>
                <a:gd name="T2" fmla="*/ 142 w 1722"/>
                <a:gd name="T3" fmla="*/ 139 h 1956"/>
                <a:gd name="T4" fmla="*/ 137 w 1722"/>
                <a:gd name="T5" fmla="*/ 143 h 1956"/>
                <a:gd name="T6" fmla="*/ 133 w 1722"/>
                <a:gd name="T7" fmla="*/ 147 h 1956"/>
                <a:gd name="T8" fmla="*/ 132 w 1722"/>
                <a:gd name="T9" fmla="*/ 152 h 1956"/>
                <a:gd name="T10" fmla="*/ 130 w 1722"/>
                <a:gd name="T11" fmla="*/ 159 h 1956"/>
                <a:gd name="T12" fmla="*/ 127 w 1722"/>
                <a:gd name="T13" fmla="*/ 164 h 1956"/>
                <a:gd name="T14" fmla="*/ 123 w 1722"/>
                <a:gd name="T15" fmla="*/ 168 h 1956"/>
                <a:gd name="T16" fmla="*/ 117 w 1722"/>
                <a:gd name="T17" fmla="*/ 169 h 1956"/>
                <a:gd name="T18" fmla="*/ 110 w 1722"/>
                <a:gd name="T19" fmla="*/ 168 h 1956"/>
                <a:gd name="T20" fmla="*/ 104 w 1722"/>
                <a:gd name="T21" fmla="*/ 166 h 1956"/>
                <a:gd name="T22" fmla="*/ 101 w 1722"/>
                <a:gd name="T23" fmla="*/ 159 h 1956"/>
                <a:gd name="T24" fmla="*/ 95 w 1722"/>
                <a:gd name="T25" fmla="*/ 156 h 1956"/>
                <a:gd name="T26" fmla="*/ 89 w 1722"/>
                <a:gd name="T27" fmla="*/ 151 h 1956"/>
                <a:gd name="T28" fmla="*/ 87 w 1722"/>
                <a:gd name="T29" fmla="*/ 144 h 1956"/>
                <a:gd name="T30" fmla="*/ 82 w 1722"/>
                <a:gd name="T31" fmla="*/ 141 h 1956"/>
                <a:gd name="T32" fmla="*/ 76 w 1722"/>
                <a:gd name="T33" fmla="*/ 134 h 1956"/>
                <a:gd name="T34" fmla="*/ 74 w 1722"/>
                <a:gd name="T35" fmla="*/ 143 h 1956"/>
                <a:gd name="T36" fmla="*/ 68 w 1722"/>
                <a:gd name="T37" fmla="*/ 147 h 1956"/>
                <a:gd name="T38" fmla="*/ 54 w 1722"/>
                <a:gd name="T39" fmla="*/ 144 h 1956"/>
                <a:gd name="T40" fmla="*/ 51 w 1722"/>
                <a:gd name="T41" fmla="*/ 142 h 1956"/>
                <a:gd name="T42" fmla="*/ 42 w 1722"/>
                <a:gd name="T43" fmla="*/ 151 h 1956"/>
                <a:gd name="T44" fmla="*/ 33 w 1722"/>
                <a:gd name="T45" fmla="*/ 154 h 1956"/>
                <a:gd name="T46" fmla="*/ 31 w 1722"/>
                <a:gd name="T47" fmla="*/ 159 h 1956"/>
                <a:gd name="T48" fmla="*/ 29 w 1722"/>
                <a:gd name="T49" fmla="*/ 166 h 1956"/>
                <a:gd name="T50" fmla="*/ 25 w 1722"/>
                <a:gd name="T51" fmla="*/ 169 h 1956"/>
                <a:gd name="T52" fmla="*/ 27 w 1722"/>
                <a:gd name="T53" fmla="*/ 154 h 1956"/>
                <a:gd name="T54" fmla="*/ 37 w 1722"/>
                <a:gd name="T55" fmla="*/ 133 h 1956"/>
                <a:gd name="T56" fmla="*/ 36 w 1722"/>
                <a:gd name="T57" fmla="*/ 109 h 1956"/>
                <a:gd name="T58" fmla="*/ 27 w 1722"/>
                <a:gd name="T59" fmla="*/ 101 h 1956"/>
                <a:gd name="T60" fmla="*/ 5 w 1722"/>
                <a:gd name="T61" fmla="*/ 98 h 1956"/>
                <a:gd name="T62" fmla="*/ 2 w 1722"/>
                <a:gd name="T63" fmla="*/ 93 h 1956"/>
                <a:gd name="T64" fmla="*/ 12 w 1722"/>
                <a:gd name="T65" fmla="*/ 82 h 1956"/>
                <a:gd name="T66" fmla="*/ 9 w 1722"/>
                <a:gd name="T67" fmla="*/ 74 h 1956"/>
                <a:gd name="T68" fmla="*/ 23 w 1722"/>
                <a:gd name="T69" fmla="*/ 72 h 1956"/>
                <a:gd name="T70" fmla="*/ 22 w 1722"/>
                <a:gd name="T71" fmla="*/ 67 h 1956"/>
                <a:gd name="T72" fmla="*/ 48 w 1722"/>
                <a:gd name="T73" fmla="*/ 57 h 1956"/>
                <a:gd name="T74" fmla="*/ 78 w 1722"/>
                <a:gd name="T75" fmla="*/ 34 h 1956"/>
                <a:gd name="T76" fmla="*/ 81 w 1722"/>
                <a:gd name="T77" fmla="*/ 31 h 1956"/>
                <a:gd name="T78" fmla="*/ 80 w 1722"/>
                <a:gd name="T79" fmla="*/ 26 h 1956"/>
                <a:gd name="T80" fmla="*/ 78 w 1722"/>
                <a:gd name="T81" fmla="*/ 21 h 1956"/>
                <a:gd name="T82" fmla="*/ 77 w 1722"/>
                <a:gd name="T83" fmla="*/ 18 h 1956"/>
                <a:gd name="T84" fmla="*/ 77 w 1722"/>
                <a:gd name="T85" fmla="*/ 12 h 1956"/>
                <a:gd name="T86" fmla="*/ 77 w 1722"/>
                <a:gd name="T87" fmla="*/ 7 h 1956"/>
                <a:gd name="T88" fmla="*/ 102 w 1722"/>
                <a:gd name="T89" fmla="*/ 2 h 1956"/>
                <a:gd name="T90" fmla="*/ 115 w 1722"/>
                <a:gd name="T91" fmla="*/ 3 h 1956"/>
                <a:gd name="T92" fmla="*/ 123 w 1722"/>
                <a:gd name="T93" fmla="*/ 3 h 1956"/>
                <a:gd name="T94" fmla="*/ 125 w 1722"/>
                <a:gd name="T95" fmla="*/ 9 h 1956"/>
                <a:gd name="T96" fmla="*/ 133 w 1722"/>
                <a:gd name="T97" fmla="*/ 13 h 1956"/>
                <a:gd name="T98" fmla="*/ 149 w 1722"/>
                <a:gd name="T99" fmla="*/ 37 h 1956"/>
                <a:gd name="T100" fmla="*/ 141 w 1722"/>
                <a:gd name="T101" fmla="*/ 57 h 1956"/>
                <a:gd name="T102" fmla="*/ 135 w 1722"/>
                <a:gd name="T103" fmla="*/ 63 h 1956"/>
                <a:gd name="T104" fmla="*/ 124 w 1722"/>
                <a:gd name="T105" fmla="*/ 77 h 1956"/>
                <a:gd name="T106" fmla="*/ 123 w 1722"/>
                <a:gd name="T107" fmla="*/ 96 h 1956"/>
                <a:gd name="T108" fmla="*/ 127 w 1722"/>
                <a:gd name="T109" fmla="*/ 97 h 1956"/>
                <a:gd name="T110" fmla="*/ 129 w 1722"/>
                <a:gd name="T111" fmla="*/ 92 h 1956"/>
                <a:gd name="T112" fmla="*/ 134 w 1722"/>
                <a:gd name="T113" fmla="*/ 94 h 1956"/>
                <a:gd name="T114" fmla="*/ 138 w 1722"/>
                <a:gd name="T115" fmla="*/ 99 h 1956"/>
                <a:gd name="T116" fmla="*/ 142 w 1722"/>
                <a:gd name="T117" fmla="*/ 104 h 1956"/>
                <a:gd name="T118" fmla="*/ 141 w 1722"/>
                <a:gd name="T119" fmla="*/ 115 h 19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722"/>
                <a:gd name="T181" fmla="*/ 0 h 1956"/>
                <a:gd name="T182" fmla="*/ 1722 w 1722"/>
                <a:gd name="T183" fmla="*/ 1956 h 19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722" h="1956">
                  <a:moveTo>
                    <a:pt x="1686" y="1404"/>
                  </a:moveTo>
                  <a:lnTo>
                    <a:pt x="1680" y="1416"/>
                  </a:lnTo>
                  <a:lnTo>
                    <a:pt x="1674" y="1422"/>
                  </a:lnTo>
                  <a:lnTo>
                    <a:pt x="1674" y="1428"/>
                  </a:lnTo>
                  <a:lnTo>
                    <a:pt x="1668" y="1428"/>
                  </a:lnTo>
                  <a:lnTo>
                    <a:pt x="1668" y="1434"/>
                  </a:lnTo>
                  <a:lnTo>
                    <a:pt x="1662" y="1446"/>
                  </a:lnTo>
                  <a:lnTo>
                    <a:pt x="1656" y="1464"/>
                  </a:lnTo>
                  <a:lnTo>
                    <a:pt x="1656" y="1476"/>
                  </a:lnTo>
                  <a:lnTo>
                    <a:pt x="1656" y="1488"/>
                  </a:lnTo>
                  <a:lnTo>
                    <a:pt x="1662" y="1500"/>
                  </a:lnTo>
                  <a:lnTo>
                    <a:pt x="1662" y="1506"/>
                  </a:lnTo>
                  <a:lnTo>
                    <a:pt x="1662" y="1524"/>
                  </a:lnTo>
                  <a:lnTo>
                    <a:pt x="1668" y="1542"/>
                  </a:lnTo>
                  <a:lnTo>
                    <a:pt x="1674" y="1560"/>
                  </a:lnTo>
                  <a:lnTo>
                    <a:pt x="1680" y="1578"/>
                  </a:lnTo>
                  <a:lnTo>
                    <a:pt x="1686" y="1578"/>
                  </a:lnTo>
                  <a:lnTo>
                    <a:pt x="1686" y="1584"/>
                  </a:lnTo>
                  <a:lnTo>
                    <a:pt x="1686" y="1590"/>
                  </a:lnTo>
                  <a:lnTo>
                    <a:pt x="1686" y="1596"/>
                  </a:lnTo>
                  <a:lnTo>
                    <a:pt x="1680" y="1596"/>
                  </a:lnTo>
                  <a:lnTo>
                    <a:pt x="1674" y="1602"/>
                  </a:lnTo>
                  <a:lnTo>
                    <a:pt x="1662" y="1602"/>
                  </a:lnTo>
                  <a:lnTo>
                    <a:pt x="1638" y="1596"/>
                  </a:lnTo>
                  <a:lnTo>
                    <a:pt x="1632" y="1596"/>
                  </a:lnTo>
                  <a:lnTo>
                    <a:pt x="1626" y="1602"/>
                  </a:lnTo>
                  <a:lnTo>
                    <a:pt x="1620" y="1602"/>
                  </a:lnTo>
                  <a:lnTo>
                    <a:pt x="1614" y="1602"/>
                  </a:lnTo>
                  <a:lnTo>
                    <a:pt x="1602" y="1602"/>
                  </a:lnTo>
                  <a:lnTo>
                    <a:pt x="1602" y="1608"/>
                  </a:lnTo>
                  <a:lnTo>
                    <a:pt x="1602" y="1620"/>
                  </a:lnTo>
                  <a:lnTo>
                    <a:pt x="1596" y="1620"/>
                  </a:lnTo>
                  <a:lnTo>
                    <a:pt x="1590" y="1620"/>
                  </a:lnTo>
                  <a:lnTo>
                    <a:pt x="1584" y="1626"/>
                  </a:lnTo>
                  <a:lnTo>
                    <a:pt x="1584" y="1632"/>
                  </a:lnTo>
                  <a:lnTo>
                    <a:pt x="1578" y="1644"/>
                  </a:lnTo>
                  <a:lnTo>
                    <a:pt x="1572" y="1644"/>
                  </a:lnTo>
                  <a:lnTo>
                    <a:pt x="1566" y="1644"/>
                  </a:lnTo>
                  <a:lnTo>
                    <a:pt x="1566" y="1650"/>
                  </a:lnTo>
                  <a:lnTo>
                    <a:pt x="1560" y="1650"/>
                  </a:lnTo>
                  <a:lnTo>
                    <a:pt x="1554" y="1650"/>
                  </a:lnTo>
                  <a:lnTo>
                    <a:pt x="1548" y="1650"/>
                  </a:lnTo>
                  <a:lnTo>
                    <a:pt x="1548" y="1656"/>
                  </a:lnTo>
                  <a:lnTo>
                    <a:pt x="1542" y="1668"/>
                  </a:lnTo>
                  <a:lnTo>
                    <a:pt x="1542" y="1674"/>
                  </a:lnTo>
                  <a:lnTo>
                    <a:pt x="1542" y="1692"/>
                  </a:lnTo>
                  <a:lnTo>
                    <a:pt x="1536" y="1698"/>
                  </a:lnTo>
                  <a:lnTo>
                    <a:pt x="1530" y="1698"/>
                  </a:lnTo>
                  <a:lnTo>
                    <a:pt x="1524" y="1698"/>
                  </a:lnTo>
                  <a:lnTo>
                    <a:pt x="1518" y="1704"/>
                  </a:lnTo>
                  <a:lnTo>
                    <a:pt x="1512" y="1710"/>
                  </a:lnTo>
                  <a:lnTo>
                    <a:pt x="1506" y="1722"/>
                  </a:lnTo>
                  <a:lnTo>
                    <a:pt x="1500" y="1728"/>
                  </a:lnTo>
                  <a:lnTo>
                    <a:pt x="1500" y="1734"/>
                  </a:lnTo>
                  <a:lnTo>
                    <a:pt x="1512" y="1734"/>
                  </a:lnTo>
                  <a:lnTo>
                    <a:pt x="1518" y="1740"/>
                  </a:lnTo>
                  <a:lnTo>
                    <a:pt x="1518" y="1746"/>
                  </a:lnTo>
                  <a:lnTo>
                    <a:pt x="1518" y="1752"/>
                  </a:lnTo>
                  <a:lnTo>
                    <a:pt x="1518" y="1758"/>
                  </a:lnTo>
                  <a:lnTo>
                    <a:pt x="1524" y="1758"/>
                  </a:lnTo>
                  <a:lnTo>
                    <a:pt x="1524" y="1764"/>
                  </a:lnTo>
                  <a:lnTo>
                    <a:pt x="1530" y="1770"/>
                  </a:lnTo>
                  <a:lnTo>
                    <a:pt x="1518" y="1770"/>
                  </a:lnTo>
                  <a:lnTo>
                    <a:pt x="1512" y="1782"/>
                  </a:lnTo>
                  <a:lnTo>
                    <a:pt x="1512" y="1788"/>
                  </a:lnTo>
                  <a:lnTo>
                    <a:pt x="1518" y="1788"/>
                  </a:lnTo>
                  <a:lnTo>
                    <a:pt x="1524" y="1800"/>
                  </a:lnTo>
                  <a:lnTo>
                    <a:pt x="1524" y="1806"/>
                  </a:lnTo>
                  <a:lnTo>
                    <a:pt x="1518" y="1812"/>
                  </a:lnTo>
                  <a:lnTo>
                    <a:pt x="1512" y="1818"/>
                  </a:lnTo>
                  <a:lnTo>
                    <a:pt x="1506" y="1818"/>
                  </a:lnTo>
                  <a:lnTo>
                    <a:pt x="1500" y="1824"/>
                  </a:lnTo>
                  <a:lnTo>
                    <a:pt x="1500" y="1836"/>
                  </a:lnTo>
                  <a:lnTo>
                    <a:pt x="1500" y="1842"/>
                  </a:lnTo>
                  <a:lnTo>
                    <a:pt x="1500" y="1848"/>
                  </a:lnTo>
                  <a:lnTo>
                    <a:pt x="1500" y="1854"/>
                  </a:lnTo>
                  <a:lnTo>
                    <a:pt x="1494" y="1860"/>
                  </a:lnTo>
                  <a:lnTo>
                    <a:pt x="1488" y="1860"/>
                  </a:lnTo>
                  <a:lnTo>
                    <a:pt x="1488" y="1866"/>
                  </a:lnTo>
                  <a:lnTo>
                    <a:pt x="1482" y="1872"/>
                  </a:lnTo>
                  <a:lnTo>
                    <a:pt x="1482" y="1878"/>
                  </a:lnTo>
                  <a:lnTo>
                    <a:pt x="1482" y="1884"/>
                  </a:lnTo>
                  <a:lnTo>
                    <a:pt x="1476" y="1890"/>
                  </a:lnTo>
                  <a:lnTo>
                    <a:pt x="1470" y="1890"/>
                  </a:lnTo>
                  <a:lnTo>
                    <a:pt x="1470" y="1896"/>
                  </a:lnTo>
                  <a:lnTo>
                    <a:pt x="1464" y="1896"/>
                  </a:lnTo>
                  <a:lnTo>
                    <a:pt x="1458" y="1896"/>
                  </a:lnTo>
                  <a:lnTo>
                    <a:pt x="1452" y="1896"/>
                  </a:lnTo>
                  <a:lnTo>
                    <a:pt x="1440" y="1890"/>
                  </a:lnTo>
                  <a:lnTo>
                    <a:pt x="1434" y="1896"/>
                  </a:lnTo>
                  <a:lnTo>
                    <a:pt x="1428" y="1896"/>
                  </a:lnTo>
                  <a:lnTo>
                    <a:pt x="1422" y="1896"/>
                  </a:lnTo>
                  <a:lnTo>
                    <a:pt x="1422" y="1902"/>
                  </a:lnTo>
                  <a:lnTo>
                    <a:pt x="1416" y="1902"/>
                  </a:lnTo>
                  <a:lnTo>
                    <a:pt x="1422" y="1914"/>
                  </a:lnTo>
                  <a:lnTo>
                    <a:pt x="1422" y="1932"/>
                  </a:lnTo>
                  <a:lnTo>
                    <a:pt x="1416" y="1938"/>
                  </a:lnTo>
                  <a:lnTo>
                    <a:pt x="1422" y="1938"/>
                  </a:lnTo>
                  <a:lnTo>
                    <a:pt x="1404" y="1938"/>
                  </a:lnTo>
                  <a:lnTo>
                    <a:pt x="1392" y="1944"/>
                  </a:lnTo>
                  <a:lnTo>
                    <a:pt x="1386" y="1944"/>
                  </a:lnTo>
                  <a:lnTo>
                    <a:pt x="1374" y="1944"/>
                  </a:lnTo>
                  <a:lnTo>
                    <a:pt x="1368" y="1950"/>
                  </a:lnTo>
                  <a:lnTo>
                    <a:pt x="1374" y="1956"/>
                  </a:lnTo>
                  <a:lnTo>
                    <a:pt x="1368" y="1956"/>
                  </a:lnTo>
                  <a:lnTo>
                    <a:pt x="1356" y="1956"/>
                  </a:lnTo>
                  <a:lnTo>
                    <a:pt x="1350" y="1956"/>
                  </a:lnTo>
                  <a:lnTo>
                    <a:pt x="1350" y="1950"/>
                  </a:lnTo>
                  <a:lnTo>
                    <a:pt x="1344" y="1944"/>
                  </a:lnTo>
                  <a:lnTo>
                    <a:pt x="1332" y="1938"/>
                  </a:lnTo>
                  <a:lnTo>
                    <a:pt x="1326" y="1938"/>
                  </a:lnTo>
                  <a:lnTo>
                    <a:pt x="1320" y="1938"/>
                  </a:lnTo>
                  <a:lnTo>
                    <a:pt x="1314" y="1944"/>
                  </a:lnTo>
                  <a:lnTo>
                    <a:pt x="1308" y="1944"/>
                  </a:lnTo>
                  <a:lnTo>
                    <a:pt x="1302" y="1944"/>
                  </a:lnTo>
                  <a:lnTo>
                    <a:pt x="1296" y="1938"/>
                  </a:lnTo>
                  <a:lnTo>
                    <a:pt x="1284" y="1938"/>
                  </a:lnTo>
                  <a:lnTo>
                    <a:pt x="1278" y="1938"/>
                  </a:lnTo>
                  <a:lnTo>
                    <a:pt x="1272" y="1938"/>
                  </a:lnTo>
                  <a:lnTo>
                    <a:pt x="1266" y="1932"/>
                  </a:lnTo>
                  <a:lnTo>
                    <a:pt x="1260" y="1932"/>
                  </a:lnTo>
                  <a:lnTo>
                    <a:pt x="1254" y="1920"/>
                  </a:lnTo>
                  <a:lnTo>
                    <a:pt x="1248" y="1920"/>
                  </a:lnTo>
                  <a:lnTo>
                    <a:pt x="1242" y="1920"/>
                  </a:lnTo>
                  <a:lnTo>
                    <a:pt x="1236" y="1926"/>
                  </a:lnTo>
                  <a:lnTo>
                    <a:pt x="1236" y="1932"/>
                  </a:lnTo>
                  <a:lnTo>
                    <a:pt x="1230" y="1932"/>
                  </a:lnTo>
                  <a:lnTo>
                    <a:pt x="1224" y="1932"/>
                  </a:lnTo>
                  <a:lnTo>
                    <a:pt x="1218" y="1938"/>
                  </a:lnTo>
                  <a:lnTo>
                    <a:pt x="1212" y="1932"/>
                  </a:lnTo>
                  <a:lnTo>
                    <a:pt x="1206" y="1926"/>
                  </a:lnTo>
                  <a:lnTo>
                    <a:pt x="1206" y="1908"/>
                  </a:lnTo>
                  <a:lnTo>
                    <a:pt x="1206" y="1884"/>
                  </a:lnTo>
                  <a:lnTo>
                    <a:pt x="1206" y="1866"/>
                  </a:lnTo>
                  <a:lnTo>
                    <a:pt x="1212" y="1848"/>
                  </a:lnTo>
                  <a:lnTo>
                    <a:pt x="1212" y="1842"/>
                  </a:lnTo>
                  <a:lnTo>
                    <a:pt x="1206" y="1836"/>
                  </a:lnTo>
                  <a:lnTo>
                    <a:pt x="1200" y="1830"/>
                  </a:lnTo>
                  <a:lnTo>
                    <a:pt x="1194" y="1824"/>
                  </a:lnTo>
                  <a:lnTo>
                    <a:pt x="1188" y="1824"/>
                  </a:lnTo>
                  <a:lnTo>
                    <a:pt x="1182" y="1824"/>
                  </a:lnTo>
                  <a:lnTo>
                    <a:pt x="1176" y="1824"/>
                  </a:lnTo>
                  <a:lnTo>
                    <a:pt x="1170" y="1818"/>
                  </a:lnTo>
                  <a:lnTo>
                    <a:pt x="1164" y="1830"/>
                  </a:lnTo>
                  <a:lnTo>
                    <a:pt x="1152" y="1836"/>
                  </a:lnTo>
                  <a:lnTo>
                    <a:pt x="1146" y="1842"/>
                  </a:lnTo>
                  <a:lnTo>
                    <a:pt x="1140" y="1842"/>
                  </a:lnTo>
                  <a:lnTo>
                    <a:pt x="1134" y="1842"/>
                  </a:lnTo>
                  <a:lnTo>
                    <a:pt x="1128" y="1842"/>
                  </a:lnTo>
                  <a:lnTo>
                    <a:pt x="1116" y="1836"/>
                  </a:lnTo>
                  <a:lnTo>
                    <a:pt x="1110" y="1842"/>
                  </a:lnTo>
                  <a:lnTo>
                    <a:pt x="1092" y="1830"/>
                  </a:lnTo>
                  <a:lnTo>
                    <a:pt x="1092" y="1824"/>
                  </a:lnTo>
                  <a:lnTo>
                    <a:pt x="1092" y="1806"/>
                  </a:lnTo>
                  <a:lnTo>
                    <a:pt x="1092" y="1800"/>
                  </a:lnTo>
                  <a:lnTo>
                    <a:pt x="1092" y="1794"/>
                  </a:lnTo>
                  <a:lnTo>
                    <a:pt x="1086" y="1788"/>
                  </a:lnTo>
                  <a:lnTo>
                    <a:pt x="1080" y="1794"/>
                  </a:lnTo>
                  <a:lnTo>
                    <a:pt x="1074" y="1788"/>
                  </a:lnTo>
                  <a:lnTo>
                    <a:pt x="1068" y="1770"/>
                  </a:lnTo>
                  <a:lnTo>
                    <a:pt x="1056" y="1764"/>
                  </a:lnTo>
                  <a:lnTo>
                    <a:pt x="1050" y="1764"/>
                  </a:lnTo>
                  <a:lnTo>
                    <a:pt x="1044" y="1764"/>
                  </a:lnTo>
                  <a:lnTo>
                    <a:pt x="1038" y="1758"/>
                  </a:lnTo>
                  <a:lnTo>
                    <a:pt x="1032" y="1752"/>
                  </a:lnTo>
                  <a:lnTo>
                    <a:pt x="1032" y="1746"/>
                  </a:lnTo>
                  <a:lnTo>
                    <a:pt x="1032" y="1740"/>
                  </a:lnTo>
                  <a:lnTo>
                    <a:pt x="1032" y="1734"/>
                  </a:lnTo>
                  <a:lnTo>
                    <a:pt x="1026" y="1734"/>
                  </a:lnTo>
                  <a:lnTo>
                    <a:pt x="1032" y="1728"/>
                  </a:lnTo>
                  <a:lnTo>
                    <a:pt x="1032" y="1722"/>
                  </a:lnTo>
                  <a:lnTo>
                    <a:pt x="1044" y="1686"/>
                  </a:lnTo>
                  <a:lnTo>
                    <a:pt x="1044" y="1680"/>
                  </a:lnTo>
                  <a:lnTo>
                    <a:pt x="1032" y="1674"/>
                  </a:lnTo>
                  <a:lnTo>
                    <a:pt x="1026" y="1674"/>
                  </a:lnTo>
                  <a:lnTo>
                    <a:pt x="1026" y="1668"/>
                  </a:lnTo>
                  <a:lnTo>
                    <a:pt x="1020" y="1662"/>
                  </a:lnTo>
                  <a:lnTo>
                    <a:pt x="1014" y="1668"/>
                  </a:lnTo>
                  <a:lnTo>
                    <a:pt x="1008" y="1662"/>
                  </a:lnTo>
                  <a:lnTo>
                    <a:pt x="1002" y="1662"/>
                  </a:lnTo>
                  <a:lnTo>
                    <a:pt x="1002" y="1668"/>
                  </a:lnTo>
                  <a:lnTo>
                    <a:pt x="996" y="1668"/>
                  </a:lnTo>
                  <a:lnTo>
                    <a:pt x="996" y="1662"/>
                  </a:lnTo>
                  <a:lnTo>
                    <a:pt x="984" y="1662"/>
                  </a:lnTo>
                  <a:lnTo>
                    <a:pt x="984" y="1656"/>
                  </a:lnTo>
                  <a:lnTo>
                    <a:pt x="978" y="1650"/>
                  </a:lnTo>
                  <a:lnTo>
                    <a:pt x="978" y="1644"/>
                  </a:lnTo>
                  <a:lnTo>
                    <a:pt x="966" y="1650"/>
                  </a:lnTo>
                  <a:lnTo>
                    <a:pt x="960" y="1638"/>
                  </a:lnTo>
                  <a:lnTo>
                    <a:pt x="954" y="1632"/>
                  </a:lnTo>
                  <a:lnTo>
                    <a:pt x="948" y="1632"/>
                  </a:lnTo>
                  <a:lnTo>
                    <a:pt x="942" y="1626"/>
                  </a:lnTo>
                  <a:lnTo>
                    <a:pt x="942" y="1614"/>
                  </a:lnTo>
                  <a:lnTo>
                    <a:pt x="930" y="1608"/>
                  </a:lnTo>
                  <a:lnTo>
                    <a:pt x="924" y="1614"/>
                  </a:lnTo>
                  <a:lnTo>
                    <a:pt x="912" y="1608"/>
                  </a:lnTo>
                  <a:lnTo>
                    <a:pt x="888" y="1590"/>
                  </a:lnTo>
                  <a:lnTo>
                    <a:pt x="894" y="1578"/>
                  </a:lnTo>
                  <a:lnTo>
                    <a:pt x="894" y="1572"/>
                  </a:lnTo>
                  <a:lnTo>
                    <a:pt x="894" y="1566"/>
                  </a:lnTo>
                  <a:lnTo>
                    <a:pt x="894" y="1548"/>
                  </a:lnTo>
                  <a:lnTo>
                    <a:pt x="888" y="1548"/>
                  </a:lnTo>
                  <a:lnTo>
                    <a:pt x="882" y="1542"/>
                  </a:lnTo>
                  <a:lnTo>
                    <a:pt x="876" y="1542"/>
                  </a:lnTo>
                  <a:lnTo>
                    <a:pt x="876" y="1536"/>
                  </a:lnTo>
                  <a:lnTo>
                    <a:pt x="870" y="1542"/>
                  </a:lnTo>
                  <a:lnTo>
                    <a:pt x="870" y="1554"/>
                  </a:lnTo>
                  <a:lnTo>
                    <a:pt x="870" y="1566"/>
                  </a:lnTo>
                  <a:lnTo>
                    <a:pt x="870" y="1578"/>
                  </a:lnTo>
                  <a:lnTo>
                    <a:pt x="870" y="1584"/>
                  </a:lnTo>
                  <a:lnTo>
                    <a:pt x="864" y="1584"/>
                  </a:lnTo>
                  <a:lnTo>
                    <a:pt x="870" y="1602"/>
                  </a:lnTo>
                  <a:lnTo>
                    <a:pt x="864" y="1608"/>
                  </a:lnTo>
                  <a:lnTo>
                    <a:pt x="870" y="1614"/>
                  </a:lnTo>
                  <a:lnTo>
                    <a:pt x="864" y="1644"/>
                  </a:lnTo>
                  <a:lnTo>
                    <a:pt x="858" y="1650"/>
                  </a:lnTo>
                  <a:lnTo>
                    <a:pt x="858" y="1656"/>
                  </a:lnTo>
                  <a:lnTo>
                    <a:pt x="852" y="1662"/>
                  </a:lnTo>
                  <a:lnTo>
                    <a:pt x="852" y="1680"/>
                  </a:lnTo>
                  <a:lnTo>
                    <a:pt x="846" y="1686"/>
                  </a:lnTo>
                  <a:lnTo>
                    <a:pt x="834" y="1692"/>
                  </a:lnTo>
                  <a:lnTo>
                    <a:pt x="828" y="1692"/>
                  </a:lnTo>
                  <a:lnTo>
                    <a:pt x="822" y="1698"/>
                  </a:lnTo>
                  <a:lnTo>
                    <a:pt x="822" y="1704"/>
                  </a:lnTo>
                  <a:lnTo>
                    <a:pt x="816" y="1704"/>
                  </a:lnTo>
                  <a:lnTo>
                    <a:pt x="804" y="1692"/>
                  </a:lnTo>
                  <a:lnTo>
                    <a:pt x="786" y="1698"/>
                  </a:lnTo>
                  <a:lnTo>
                    <a:pt x="780" y="1698"/>
                  </a:lnTo>
                  <a:lnTo>
                    <a:pt x="756" y="1698"/>
                  </a:lnTo>
                  <a:lnTo>
                    <a:pt x="744" y="1698"/>
                  </a:lnTo>
                  <a:lnTo>
                    <a:pt x="738" y="1698"/>
                  </a:lnTo>
                  <a:lnTo>
                    <a:pt x="732" y="1704"/>
                  </a:lnTo>
                  <a:lnTo>
                    <a:pt x="726" y="1704"/>
                  </a:lnTo>
                  <a:lnTo>
                    <a:pt x="678" y="1710"/>
                  </a:lnTo>
                  <a:lnTo>
                    <a:pt x="642" y="1710"/>
                  </a:lnTo>
                  <a:lnTo>
                    <a:pt x="618" y="1680"/>
                  </a:lnTo>
                  <a:lnTo>
                    <a:pt x="618" y="1674"/>
                  </a:lnTo>
                  <a:lnTo>
                    <a:pt x="618" y="1668"/>
                  </a:lnTo>
                  <a:lnTo>
                    <a:pt x="624" y="1662"/>
                  </a:lnTo>
                  <a:lnTo>
                    <a:pt x="624" y="1656"/>
                  </a:lnTo>
                  <a:lnTo>
                    <a:pt x="624" y="1650"/>
                  </a:lnTo>
                  <a:lnTo>
                    <a:pt x="618" y="1650"/>
                  </a:lnTo>
                  <a:lnTo>
                    <a:pt x="618" y="1644"/>
                  </a:lnTo>
                  <a:lnTo>
                    <a:pt x="618" y="1638"/>
                  </a:lnTo>
                  <a:lnTo>
                    <a:pt x="618" y="1632"/>
                  </a:lnTo>
                  <a:lnTo>
                    <a:pt x="618" y="1626"/>
                  </a:lnTo>
                  <a:lnTo>
                    <a:pt x="612" y="1626"/>
                  </a:lnTo>
                  <a:lnTo>
                    <a:pt x="612" y="1620"/>
                  </a:lnTo>
                  <a:lnTo>
                    <a:pt x="606" y="1614"/>
                  </a:lnTo>
                  <a:lnTo>
                    <a:pt x="594" y="1626"/>
                  </a:lnTo>
                  <a:lnTo>
                    <a:pt x="594" y="1632"/>
                  </a:lnTo>
                  <a:lnTo>
                    <a:pt x="588" y="1638"/>
                  </a:lnTo>
                  <a:lnTo>
                    <a:pt x="582" y="1638"/>
                  </a:lnTo>
                  <a:lnTo>
                    <a:pt x="564" y="1656"/>
                  </a:lnTo>
                  <a:lnTo>
                    <a:pt x="558" y="1662"/>
                  </a:lnTo>
                  <a:lnTo>
                    <a:pt x="552" y="1662"/>
                  </a:lnTo>
                  <a:lnTo>
                    <a:pt x="540" y="1674"/>
                  </a:lnTo>
                  <a:lnTo>
                    <a:pt x="534" y="1680"/>
                  </a:lnTo>
                  <a:lnTo>
                    <a:pt x="522" y="1692"/>
                  </a:lnTo>
                  <a:lnTo>
                    <a:pt x="516" y="1704"/>
                  </a:lnTo>
                  <a:lnTo>
                    <a:pt x="510" y="1704"/>
                  </a:lnTo>
                  <a:lnTo>
                    <a:pt x="504" y="1704"/>
                  </a:lnTo>
                  <a:lnTo>
                    <a:pt x="486" y="1722"/>
                  </a:lnTo>
                  <a:lnTo>
                    <a:pt x="480" y="1740"/>
                  </a:lnTo>
                  <a:lnTo>
                    <a:pt x="474" y="1740"/>
                  </a:lnTo>
                  <a:lnTo>
                    <a:pt x="468" y="1746"/>
                  </a:lnTo>
                  <a:lnTo>
                    <a:pt x="456" y="1758"/>
                  </a:lnTo>
                  <a:lnTo>
                    <a:pt x="444" y="1770"/>
                  </a:lnTo>
                  <a:lnTo>
                    <a:pt x="438" y="1782"/>
                  </a:lnTo>
                  <a:lnTo>
                    <a:pt x="426" y="1788"/>
                  </a:lnTo>
                  <a:lnTo>
                    <a:pt x="420" y="1788"/>
                  </a:lnTo>
                  <a:lnTo>
                    <a:pt x="420" y="1782"/>
                  </a:lnTo>
                  <a:lnTo>
                    <a:pt x="414" y="1782"/>
                  </a:lnTo>
                  <a:lnTo>
                    <a:pt x="390" y="1782"/>
                  </a:lnTo>
                  <a:lnTo>
                    <a:pt x="390" y="1776"/>
                  </a:lnTo>
                  <a:lnTo>
                    <a:pt x="384" y="1776"/>
                  </a:lnTo>
                  <a:lnTo>
                    <a:pt x="378" y="1776"/>
                  </a:lnTo>
                  <a:lnTo>
                    <a:pt x="372" y="1776"/>
                  </a:lnTo>
                  <a:lnTo>
                    <a:pt x="366" y="1770"/>
                  </a:lnTo>
                  <a:lnTo>
                    <a:pt x="366" y="1776"/>
                  </a:lnTo>
                  <a:lnTo>
                    <a:pt x="360" y="1788"/>
                  </a:lnTo>
                  <a:lnTo>
                    <a:pt x="360" y="1794"/>
                  </a:lnTo>
                  <a:lnTo>
                    <a:pt x="360" y="1800"/>
                  </a:lnTo>
                  <a:lnTo>
                    <a:pt x="354" y="1806"/>
                  </a:lnTo>
                  <a:lnTo>
                    <a:pt x="354" y="1812"/>
                  </a:lnTo>
                  <a:lnTo>
                    <a:pt x="354" y="1824"/>
                  </a:lnTo>
                  <a:lnTo>
                    <a:pt x="348" y="1830"/>
                  </a:lnTo>
                  <a:lnTo>
                    <a:pt x="354" y="1836"/>
                  </a:lnTo>
                  <a:lnTo>
                    <a:pt x="348" y="1842"/>
                  </a:lnTo>
                  <a:lnTo>
                    <a:pt x="354" y="1848"/>
                  </a:lnTo>
                  <a:lnTo>
                    <a:pt x="348" y="1854"/>
                  </a:lnTo>
                  <a:lnTo>
                    <a:pt x="354" y="1854"/>
                  </a:lnTo>
                  <a:lnTo>
                    <a:pt x="348" y="1860"/>
                  </a:lnTo>
                  <a:lnTo>
                    <a:pt x="348" y="1866"/>
                  </a:lnTo>
                  <a:lnTo>
                    <a:pt x="342" y="1866"/>
                  </a:lnTo>
                  <a:lnTo>
                    <a:pt x="342" y="1872"/>
                  </a:lnTo>
                  <a:lnTo>
                    <a:pt x="342" y="1878"/>
                  </a:lnTo>
                  <a:lnTo>
                    <a:pt x="342" y="1884"/>
                  </a:lnTo>
                  <a:lnTo>
                    <a:pt x="336" y="1896"/>
                  </a:lnTo>
                  <a:lnTo>
                    <a:pt x="330" y="1914"/>
                  </a:lnTo>
                  <a:lnTo>
                    <a:pt x="324" y="1920"/>
                  </a:lnTo>
                  <a:lnTo>
                    <a:pt x="324" y="1926"/>
                  </a:lnTo>
                  <a:lnTo>
                    <a:pt x="318" y="1944"/>
                  </a:lnTo>
                  <a:lnTo>
                    <a:pt x="318" y="1950"/>
                  </a:lnTo>
                  <a:lnTo>
                    <a:pt x="312" y="1956"/>
                  </a:lnTo>
                  <a:lnTo>
                    <a:pt x="312" y="1950"/>
                  </a:lnTo>
                  <a:lnTo>
                    <a:pt x="306" y="1950"/>
                  </a:lnTo>
                  <a:lnTo>
                    <a:pt x="306" y="1956"/>
                  </a:lnTo>
                  <a:lnTo>
                    <a:pt x="300" y="1950"/>
                  </a:lnTo>
                  <a:lnTo>
                    <a:pt x="294" y="1956"/>
                  </a:lnTo>
                  <a:lnTo>
                    <a:pt x="288" y="1950"/>
                  </a:lnTo>
                  <a:lnTo>
                    <a:pt x="288" y="1944"/>
                  </a:lnTo>
                  <a:lnTo>
                    <a:pt x="282" y="1938"/>
                  </a:lnTo>
                  <a:lnTo>
                    <a:pt x="282" y="1932"/>
                  </a:lnTo>
                  <a:lnTo>
                    <a:pt x="282" y="1890"/>
                  </a:lnTo>
                  <a:lnTo>
                    <a:pt x="288" y="1860"/>
                  </a:lnTo>
                  <a:lnTo>
                    <a:pt x="294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300" y="1818"/>
                  </a:lnTo>
                  <a:lnTo>
                    <a:pt x="306" y="1794"/>
                  </a:lnTo>
                  <a:lnTo>
                    <a:pt x="306" y="1788"/>
                  </a:lnTo>
                  <a:lnTo>
                    <a:pt x="306" y="1782"/>
                  </a:lnTo>
                  <a:lnTo>
                    <a:pt x="312" y="1776"/>
                  </a:lnTo>
                  <a:lnTo>
                    <a:pt x="306" y="1776"/>
                  </a:lnTo>
                  <a:lnTo>
                    <a:pt x="312" y="1770"/>
                  </a:lnTo>
                  <a:lnTo>
                    <a:pt x="312" y="1740"/>
                  </a:lnTo>
                  <a:lnTo>
                    <a:pt x="318" y="1722"/>
                  </a:lnTo>
                  <a:lnTo>
                    <a:pt x="312" y="1722"/>
                  </a:lnTo>
                  <a:lnTo>
                    <a:pt x="300" y="1716"/>
                  </a:lnTo>
                  <a:lnTo>
                    <a:pt x="306" y="1716"/>
                  </a:lnTo>
                  <a:lnTo>
                    <a:pt x="312" y="1710"/>
                  </a:lnTo>
                  <a:lnTo>
                    <a:pt x="324" y="1674"/>
                  </a:lnTo>
                  <a:lnTo>
                    <a:pt x="366" y="1590"/>
                  </a:lnTo>
                  <a:lnTo>
                    <a:pt x="408" y="1548"/>
                  </a:lnTo>
                  <a:lnTo>
                    <a:pt x="426" y="1530"/>
                  </a:lnTo>
                  <a:lnTo>
                    <a:pt x="432" y="1500"/>
                  </a:lnTo>
                  <a:lnTo>
                    <a:pt x="426" y="1494"/>
                  </a:lnTo>
                  <a:lnTo>
                    <a:pt x="426" y="1482"/>
                  </a:lnTo>
                  <a:lnTo>
                    <a:pt x="432" y="1464"/>
                  </a:lnTo>
                  <a:lnTo>
                    <a:pt x="438" y="1428"/>
                  </a:lnTo>
                  <a:lnTo>
                    <a:pt x="462" y="1398"/>
                  </a:lnTo>
                  <a:lnTo>
                    <a:pt x="468" y="1362"/>
                  </a:lnTo>
                  <a:lnTo>
                    <a:pt x="462" y="1314"/>
                  </a:lnTo>
                  <a:lnTo>
                    <a:pt x="444" y="1284"/>
                  </a:lnTo>
                  <a:lnTo>
                    <a:pt x="432" y="1260"/>
                  </a:lnTo>
                  <a:lnTo>
                    <a:pt x="426" y="1260"/>
                  </a:lnTo>
                  <a:lnTo>
                    <a:pt x="420" y="1254"/>
                  </a:lnTo>
                  <a:lnTo>
                    <a:pt x="408" y="1260"/>
                  </a:lnTo>
                  <a:lnTo>
                    <a:pt x="402" y="1260"/>
                  </a:lnTo>
                  <a:lnTo>
                    <a:pt x="402" y="1254"/>
                  </a:lnTo>
                  <a:lnTo>
                    <a:pt x="396" y="1254"/>
                  </a:lnTo>
                  <a:lnTo>
                    <a:pt x="396" y="1248"/>
                  </a:lnTo>
                  <a:lnTo>
                    <a:pt x="384" y="1248"/>
                  </a:lnTo>
                  <a:lnTo>
                    <a:pt x="372" y="1230"/>
                  </a:lnTo>
                  <a:lnTo>
                    <a:pt x="360" y="1212"/>
                  </a:lnTo>
                  <a:lnTo>
                    <a:pt x="348" y="1188"/>
                  </a:lnTo>
                  <a:lnTo>
                    <a:pt x="324" y="1170"/>
                  </a:lnTo>
                  <a:lnTo>
                    <a:pt x="318" y="1170"/>
                  </a:lnTo>
                  <a:lnTo>
                    <a:pt x="312" y="1158"/>
                  </a:lnTo>
                  <a:lnTo>
                    <a:pt x="312" y="1152"/>
                  </a:lnTo>
                  <a:lnTo>
                    <a:pt x="306" y="1146"/>
                  </a:lnTo>
                  <a:lnTo>
                    <a:pt x="270" y="1122"/>
                  </a:lnTo>
                  <a:lnTo>
                    <a:pt x="240" y="1122"/>
                  </a:lnTo>
                  <a:lnTo>
                    <a:pt x="180" y="1116"/>
                  </a:lnTo>
                  <a:lnTo>
                    <a:pt x="174" y="1122"/>
                  </a:lnTo>
                  <a:lnTo>
                    <a:pt x="174" y="1128"/>
                  </a:lnTo>
                  <a:lnTo>
                    <a:pt x="168" y="1122"/>
                  </a:lnTo>
                  <a:lnTo>
                    <a:pt x="162" y="1116"/>
                  </a:lnTo>
                  <a:lnTo>
                    <a:pt x="144" y="1122"/>
                  </a:lnTo>
                  <a:lnTo>
                    <a:pt x="120" y="1122"/>
                  </a:lnTo>
                  <a:lnTo>
                    <a:pt x="54" y="1134"/>
                  </a:lnTo>
                  <a:lnTo>
                    <a:pt x="24" y="1152"/>
                  </a:lnTo>
                  <a:lnTo>
                    <a:pt x="6" y="1146"/>
                  </a:lnTo>
                  <a:lnTo>
                    <a:pt x="0" y="1134"/>
                  </a:lnTo>
                  <a:lnTo>
                    <a:pt x="0" y="1128"/>
                  </a:lnTo>
                  <a:lnTo>
                    <a:pt x="18" y="1110"/>
                  </a:lnTo>
                  <a:lnTo>
                    <a:pt x="24" y="1104"/>
                  </a:lnTo>
                  <a:lnTo>
                    <a:pt x="24" y="1098"/>
                  </a:lnTo>
                  <a:lnTo>
                    <a:pt x="30" y="1086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24" y="1074"/>
                  </a:lnTo>
                  <a:lnTo>
                    <a:pt x="18" y="1068"/>
                  </a:lnTo>
                  <a:lnTo>
                    <a:pt x="24" y="1062"/>
                  </a:lnTo>
                  <a:lnTo>
                    <a:pt x="42" y="1056"/>
                  </a:lnTo>
                  <a:lnTo>
                    <a:pt x="54" y="1050"/>
                  </a:lnTo>
                  <a:lnTo>
                    <a:pt x="72" y="1044"/>
                  </a:lnTo>
                  <a:lnTo>
                    <a:pt x="96" y="1032"/>
                  </a:lnTo>
                  <a:lnTo>
                    <a:pt x="102" y="1032"/>
                  </a:lnTo>
                  <a:lnTo>
                    <a:pt x="126" y="1008"/>
                  </a:lnTo>
                  <a:lnTo>
                    <a:pt x="144" y="990"/>
                  </a:lnTo>
                  <a:lnTo>
                    <a:pt x="156" y="978"/>
                  </a:lnTo>
                  <a:lnTo>
                    <a:pt x="156" y="966"/>
                  </a:lnTo>
                  <a:lnTo>
                    <a:pt x="150" y="960"/>
                  </a:lnTo>
                  <a:lnTo>
                    <a:pt x="144" y="948"/>
                  </a:lnTo>
                  <a:lnTo>
                    <a:pt x="144" y="936"/>
                  </a:lnTo>
                  <a:lnTo>
                    <a:pt x="138" y="918"/>
                  </a:lnTo>
                  <a:lnTo>
                    <a:pt x="150" y="912"/>
                  </a:lnTo>
                  <a:lnTo>
                    <a:pt x="150" y="894"/>
                  </a:lnTo>
                  <a:lnTo>
                    <a:pt x="132" y="876"/>
                  </a:lnTo>
                  <a:lnTo>
                    <a:pt x="126" y="876"/>
                  </a:lnTo>
                  <a:lnTo>
                    <a:pt x="120" y="870"/>
                  </a:lnTo>
                  <a:lnTo>
                    <a:pt x="120" y="864"/>
                  </a:lnTo>
                  <a:lnTo>
                    <a:pt x="114" y="864"/>
                  </a:lnTo>
                  <a:lnTo>
                    <a:pt x="108" y="864"/>
                  </a:lnTo>
                  <a:lnTo>
                    <a:pt x="108" y="858"/>
                  </a:lnTo>
                  <a:lnTo>
                    <a:pt x="102" y="852"/>
                  </a:lnTo>
                  <a:lnTo>
                    <a:pt x="96" y="852"/>
                  </a:lnTo>
                  <a:lnTo>
                    <a:pt x="102" y="834"/>
                  </a:lnTo>
                  <a:lnTo>
                    <a:pt x="108" y="816"/>
                  </a:lnTo>
                  <a:lnTo>
                    <a:pt x="114" y="804"/>
                  </a:lnTo>
                  <a:lnTo>
                    <a:pt x="132" y="798"/>
                  </a:lnTo>
                  <a:lnTo>
                    <a:pt x="144" y="798"/>
                  </a:lnTo>
                  <a:lnTo>
                    <a:pt x="180" y="810"/>
                  </a:lnTo>
                  <a:lnTo>
                    <a:pt x="192" y="816"/>
                  </a:lnTo>
                  <a:lnTo>
                    <a:pt x="234" y="822"/>
                  </a:lnTo>
                  <a:lnTo>
                    <a:pt x="264" y="828"/>
                  </a:lnTo>
                  <a:lnTo>
                    <a:pt x="270" y="840"/>
                  </a:lnTo>
                  <a:lnTo>
                    <a:pt x="270" y="834"/>
                  </a:lnTo>
                  <a:lnTo>
                    <a:pt x="270" y="828"/>
                  </a:lnTo>
                  <a:lnTo>
                    <a:pt x="270" y="822"/>
                  </a:lnTo>
                  <a:lnTo>
                    <a:pt x="270" y="816"/>
                  </a:lnTo>
                  <a:lnTo>
                    <a:pt x="264" y="810"/>
                  </a:lnTo>
                  <a:lnTo>
                    <a:pt x="264" y="804"/>
                  </a:lnTo>
                  <a:lnTo>
                    <a:pt x="264" y="798"/>
                  </a:lnTo>
                  <a:lnTo>
                    <a:pt x="258" y="792"/>
                  </a:lnTo>
                  <a:lnTo>
                    <a:pt x="258" y="786"/>
                  </a:lnTo>
                  <a:lnTo>
                    <a:pt x="264" y="786"/>
                  </a:lnTo>
                  <a:lnTo>
                    <a:pt x="264" y="780"/>
                  </a:lnTo>
                  <a:lnTo>
                    <a:pt x="258" y="774"/>
                  </a:lnTo>
                  <a:lnTo>
                    <a:pt x="258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82" y="762"/>
                  </a:lnTo>
                  <a:lnTo>
                    <a:pt x="312" y="780"/>
                  </a:lnTo>
                  <a:lnTo>
                    <a:pt x="354" y="786"/>
                  </a:lnTo>
                  <a:lnTo>
                    <a:pt x="408" y="774"/>
                  </a:lnTo>
                  <a:lnTo>
                    <a:pt x="444" y="756"/>
                  </a:lnTo>
                  <a:lnTo>
                    <a:pt x="468" y="732"/>
                  </a:lnTo>
                  <a:lnTo>
                    <a:pt x="492" y="720"/>
                  </a:lnTo>
                  <a:lnTo>
                    <a:pt x="522" y="690"/>
                  </a:lnTo>
                  <a:lnTo>
                    <a:pt x="540" y="672"/>
                  </a:lnTo>
                  <a:lnTo>
                    <a:pt x="558" y="660"/>
                  </a:lnTo>
                  <a:lnTo>
                    <a:pt x="570" y="636"/>
                  </a:lnTo>
                  <a:lnTo>
                    <a:pt x="588" y="612"/>
                  </a:lnTo>
                  <a:lnTo>
                    <a:pt x="654" y="552"/>
                  </a:lnTo>
                  <a:lnTo>
                    <a:pt x="678" y="528"/>
                  </a:lnTo>
                  <a:lnTo>
                    <a:pt x="696" y="510"/>
                  </a:lnTo>
                  <a:lnTo>
                    <a:pt x="714" y="498"/>
                  </a:lnTo>
                  <a:lnTo>
                    <a:pt x="750" y="480"/>
                  </a:lnTo>
                  <a:lnTo>
                    <a:pt x="774" y="444"/>
                  </a:lnTo>
                  <a:lnTo>
                    <a:pt x="816" y="426"/>
                  </a:lnTo>
                  <a:lnTo>
                    <a:pt x="864" y="420"/>
                  </a:lnTo>
                  <a:lnTo>
                    <a:pt x="912" y="402"/>
                  </a:lnTo>
                  <a:lnTo>
                    <a:pt x="906" y="396"/>
                  </a:lnTo>
                  <a:lnTo>
                    <a:pt x="912" y="396"/>
                  </a:lnTo>
                  <a:lnTo>
                    <a:pt x="912" y="390"/>
                  </a:lnTo>
                  <a:lnTo>
                    <a:pt x="918" y="384"/>
                  </a:lnTo>
                  <a:lnTo>
                    <a:pt x="924" y="384"/>
                  </a:lnTo>
                  <a:lnTo>
                    <a:pt x="924" y="378"/>
                  </a:lnTo>
                  <a:lnTo>
                    <a:pt x="918" y="372"/>
                  </a:lnTo>
                  <a:lnTo>
                    <a:pt x="918" y="366"/>
                  </a:lnTo>
                  <a:lnTo>
                    <a:pt x="918" y="360"/>
                  </a:lnTo>
                  <a:lnTo>
                    <a:pt x="924" y="360"/>
                  </a:lnTo>
                  <a:lnTo>
                    <a:pt x="924" y="354"/>
                  </a:lnTo>
                  <a:lnTo>
                    <a:pt x="930" y="354"/>
                  </a:lnTo>
                  <a:lnTo>
                    <a:pt x="936" y="354"/>
                  </a:lnTo>
                  <a:lnTo>
                    <a:pt x="936" y="348"/>
                  </a:lnTo>
                  <a:lnTo>
                    <a:pt x="942" y="348"/>
                  </a:lnTo>
                  <a:lnTo>
                    <a:pt x="942" y="336"/>
                  </a:lnTo>
                  <a:lnTo>
                    <a:pt x="936" y="336"/>
                  </a:lnTo>
                  <a:lnTo>
                    <a:pt x="930" y="330"/>
                  </a:lnTo>
                  <a:lnTo>
                    <a:pt x="924" y="330"/>
                  </a:lnTo>
                  <a:lnTo>
                    <a:pt x="924" y="324"/>
                  </a:lnTo>
                  <a:lnTo>
                    <a:pt x="918" y="318"/>
                  </a:lnTo>
                  <a:lnTo>
                    <a:pt x="912" y="306"/>
                  </a:lnTo>
                  <a:lnTo>
                    <a:pt x="918" y="306"/>
                  </a:lnTo>
                  <a:lnTo>
                    <a:pt x="924" y="300"/>
                  </a:lnTo>
                  <a:lnTo>
                    <a:pt x="924" y="294"/>
                  </a:lnTo>
                  <a:lnTo>
                    <a:pt x="924" y="288"/>
                  </a:lnTo>
                  <a:lnTo>
                    <a:pt x="924" y="282"/>
                  </a:lnTo>
                  <a:lnTo>
                    <a:pt x="924" y="276"/>
                  </a:lnTo>
                  <a:lnTo>
                    <a:pt x="918" y="270"/>
                  </a:lnTo>
                  <a:lnTo>
                    <a:pt x="918" y="264"/>
                  </a:lnTo>
                  <a:lnTo>
                    <a:pt x="912" y="270"/>
                  </a:lnTo>
                  <a:lnTo>
                    <a:pt x="912" y="264"/>
                  </a:lnTo>
                  <a:lnTo>
                    <a:pt x="912" y="258"/>
                  </a:lnTo>
                  <a:lnTo>
                    <a:pt x="912" y="252"/>
                  </a:lnTo>
                  <a:lnTo>
                    <a:pt x="906" y="252"/>
                  </a:lnTo>
                  <a:lnTo>
                    <a:pt x="900" y="246"/>
                  </a:lnTo>
                  <a:lnTo>
                    <a:pt x="900" y="240"/>
                  </a:lnTo>
                  <a:lnTo>
                    <a:pt x="900" y="246"/>
                  </a:lnTo>
                  <a:lnTo>
                    <a:pt x="894" y="246"/>
                  </a:lnTo>
                  <a:lnTo>
                    <a:pt x="894" y="240"/>
                  </a:lnTo>
                  <a:lnTo>
                    <a:pt x="894" y="234"/>
                  </a:lnTo>
                  <a:lnTo>
                    <a:pt x="900" y="234"/>
                  </a:lnTo>
                  <a:lnTo>
                    <a:pt x="900" y="228"/>
                  </a:lnTo>
                  <a:lnTo>
                    <a:pt x="906" y="228"/>
                  </a:lnTo>
                  <a:lnTo>
                    <a:pt x="900" y="222"/>
                  </a:lnTo>
                  <a:lnTo>
                    <a:pt x="894" y="216"/>
                  </a:lnTo>
                  <a:lnTo>
                    <a:pt x="894" y="210"/>
                  </a:lnTo>
                  <a:lnTo>
                    <a:pt x="888" y="210"/>
                  </a:lnTo>
                  <a:lnTo>
                    <a:pt x="888" y="204"/>
                  </a:lnTo>
                  <a:lnTo>
                    <a:pt x="888" y="198"/>
                  </a:lnTo>
                  <a:lnTo>
                    <a:pt x="888" y="192"/>
                  </a:lnTo>
                  <a:lnTo>
                    <a:pt x="882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82" y="174"/>
                  </a:lnTo>
                  <a:lnTo>
                    <a:pt x="888" y="168"/>
                  </a:lnTo>
                  <a:lnTo>
                    <a:pt x="888" y="162"/>
                  </a:lnTo>
                  <a:lnTo>
                    <a:pt x="888" y="156"/>
                  </a:lnTo>
                  <a:lnTo>
                    <a:pt x="888" y="150"/>
                  </a:lnTo>
                  <a:lnTo>
                    <a:pt x="888" y="144"/>
                  </a:lnTo>
                  <a:lnTo>
                    <a:pt x="882" y="144"/>
                  </a:lnTo>
                  <a:lnTo>
                    <a:pt x="882" y="138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76" y="120"/>
                  </a:lnTo>
                  <a:lnTo>
                    <a:pt x="882" y="114"/>
                  </a:lnTo>
                  <a:lnTo>
                    <a:pt x="882" y="108"/>
                  </a:lnTo>
                  <a:lnTo>
                    <a:pt x="888" y="102"/>
                  </a:lnTo>
                  <a:lnTo>
                    <a:pt x="894" y="102"/>
                  </a:lnTo>
                  <a:lnTo>
                    <a:pt x="894" y="96"/>
                  </a:lnTo>
                  <a:lnTo>
                    <a:pt x="888" y="96"/>
                  </a:lnTo>
                  <a:lnTo>
                    <a:pt x="894" y="90"/>
                  </a:lnTo>
                  <a:lnTo>
                    <a:pt x="888" y="84"/>
                  </a:lnTo>
                  <a:lnTo>
                    <a:pt x="888" y="78"/>
                  </a:lnTo>
                  <a:lnTo>
                    <a:pt x="924" y="66"/>
                  </a:lnTo>
                  <a:lnTo>
                    <a:pt x="966" y="66"/>
                  </a:lnTo>
                  <a:lnTo>
                    <a:pt x="996" y="48"/>
                  </a:lnTo>
                  <a:lnTo>
                    <a:pt x="1056" y="12"/>
                  </a:lnTo>
                  <a:lnTo>
                    <a:pt x="1128" y="0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0" y="18"/>
                  </a:lnTo>
                  <a:lnTo>
                    <a:pt x="1176" y="24"/>
                  </a:lnTo>
                  <a:lnTo>
                    <a:pt x="1182" y="24"/>
                  </a:lnTo>
                  <a:lnTo>
                    <a:pt x="1188" y="30"/>
                  </a:lnTo>
                  <a:lnTo>
                    <a:pt x="1194" y="30"/>
                  </a:lnTo>
                  <a:lnTo>
                    <a:pt x="1194" y="36"/>
                  </a:lnTo>
                  <a:lnTo>
                    <a:pt x="1260" y="30"/>
                  </a:lnTo>
                  <a:lnTo>
                    <a:pt x="1272" y="30"/>
                  </a:lnTo>
                  <a:lnTo>
                    <a:pt x="1296" y="24"/>
                  </a:lnTo>
                  <a:lnTo>
                    <a:pt x="1302" y="30"/>
                  </a:lnTo>
                  <a:lnTo>
                    <a:pt x="1302" y="36"/>
                  </a:lnTo>
                  <a:lnTo>
                    <a:pt x="1308" y="36"/>
                  </a:lnTo>
                  <a:lnTo>
                    <a:pt x="1314" y="36"/>
                  </a:lnTo>
                  <a:lnTo>
                    <a:pt x="1320" y="36"/>
                  </a:lnTo>
                  <a:lnTo>
                    <a:pt x="1326" y="30"/>
                  </a:lnTo>
                  <a:lnTo>
                    <a:pt x="1332" y="30"/>
                  </a:lnTo>
                  <a:lnTo>
                    <a:pt x="1338" y="30"/>
                  </a:lnTo>
                  <a:lnTo>
                    <a:pt x="1344" y="30"/>
                  </a:lnTo>
                  <a:lnTo>
                    <a:pt x="1374" y="30"/>
                  </a:lnTo>
                  <a:lnTo>
                    <a:pt x="1386" y="30"/>
                  </a:lnTo>
                  <a:lnTo>
                    <a:pt x="1392" y="24"/>
                  </a:lnTo>
                  <a:lnTo>
                    <a:pt x="1398" y="12"/>
                  </a:lnTo>
                  <a:lnTo>
                    <a:pt x="1404" y="6"/>
                  </a:lnTo>
                  <a:lnTo>
                    <a:pt x="1410" y="6"/>
                  </a:lnTo>
                  <a:lnTo>
                    <a:pt x="1410" y="12"/>
                  </a:lnTo>
                  <a:lnTo>
                    <a:pt x="1416" y="18"/>
                  </a:lnTo>
                  <a:lnTo>
                    <a:pt x="1416" y="36"/>
                  </a:lnTo>
                  <a:lnTo>
                    <a:pt x="1434" y="54"/>
                  </a:lnTo>
                  <a:lnTo>
                    <a:pt x="1434" y="60"/>
                  </a:lnTo>
                  <a:lnTo>
                    <a:pt x="1434" y="66"/>
                  </a:lnTo>
                  <a:lnTo>
                    <a:pt x="1434" y="72"/>
                  </a:lnTo>
                  <a:lnTo>
                    <a:pt x="1428" y="72"/>
                  </a:lnTo>
                  <a:lnTo>
                    <a:pt x="1428" y="78"/>
                  </a:lnTo>
                  <a:lnTo>
                    <a:pt x="1434" y="78"/>
                  </a:lnTo>
                  <a:lnTo>
                    <a:pt x="1440" y="84"/>
                  </a:lnTo>
                  <a:lnTo>
                    <a:pt x="1440" y="90"/>
                  </a:lnTo>
                  <a:lnTo>
                    <a:pt x="1440" y="96"/>
                  </a:lnTo>
                  <a:lnTo>
                    <a:pt x="1446" y="96"/>
                  </a:lnTo>
                  <a:lnTo>
                    <a:pt x="1446" y="108"/>
                  </a:lnTo>
                  <a:lnTo>
                    <a:pt x="1452" y="108"/>
                  </a:lnTo>
                  <a:lnTo>
                    <a:pt x="1452" y="114"/>
                  </a:lnTo>
                  <a:lnTo>
                    <a:pt x="1458" y="114"/>
                  </a:lnTo>
                  <a:lnTo>
                    <a:pt x="1470" y="120"/>
                  </a:lnTo>
                  <a:lnTo>
                    <a:pt x="1476" y="120"/>
                  </a:lnTo>
                  <a:lnTo>
                    <a:pt x="1476" y="114"/>
                  </a:lnTo>
                  <a:lnTo>
                    <a:pt x="1488" y="120"/>
                  </a:lnTo>
                  <a:lnTo>
                    <a:pt x="1506" y="120"/>
                  </a:lnTo>
                  <a:lnTo>
                    <a:pt x="1512" y="120"/>
                  </a:lnTo>
                  <a:lnTo>
                    <a:pt x="1518" y="120"/>
                  </a:lnTo>
                  <a:lnTo>
                    <a:pt x="1524" y="126"/>
                  </a:lnTo>
                  <a:lnTo>
                    <a:pt x="1536" y="150"/>
                  </a:lnTo>
                  <a:lnTo>
                    <a:pt x="1548" y="162"/>
                  </a:lnTo>
                  <a:lnTo>
                    <a:pt x="1554" y="168"/>
                  </a:lnTo>
                  <a:lnTo>
                    <a:pt x="1584" y="228"/>
                  </a:lnTo>
                  <a:lnTo>
                    <a:pt x="1584" y="234"/>
                  </a:lnTo>
                  <a:lnTo>
                    <a:pt x="1578" y="312"/>
                  </a:lnTo>
                  <a:lnTo>
                    <a:pt x="1590" y="318"/>
                  </a:lnTo>
                  <a:lnTo>
                    <a:pt x="1608" y="330"/>
                  </a:lnTo>
                  <a:lnTo>
                    <a:pt x="1620" y="342"/>
                  </a:lnTo>
                  <a:lnTo>
                    <a:pt x="1626" y="342"/>
                  </a:lnTo>
                  <a:lnTo>
                    <a:pt x="1692" y="360"/>
                  </a:lnTo>
                  <a:lnTo>
                    <a:pt x="1710" y="408"/>
                  </a:lnTo>
                  <a:lnTo>
                    <a:pt x="1722" y="426"/>
                  </a:lnTo>
                  <a:lnTo>
                    <a:pt x="1716" y="468"/>
                  </a:lnTo>
                  <a:lnTo>
                    <a:pt x="1686" y="486"/>
                  </a:lnTo>
                  <a:lnTo>
                    <a:pt x="1686" y="492"/>
                  </a:lnTo>
                  <a:lnTo>
                    <a:pt x="1680" y="498"/>
                  </a:lnTo>
                  <a:lnTo>
                    <a:pt x="1650" y="558"/>
                  </a:lnTo>
                  <a:lnTo>
                    <a:pt x="1650" y="570"/>
                  </a:lnTo>
                  <a:lnTo>
                    <a:pt x="1644" y="570"/>
                  </a:lnTo>
                  <a:lnTo>
                    <a:pt x="1638" y="582"/>
                  </a:lnTo>
                  <a:lnTo>
                    <a:pt x="1638" y="624"/>
                  </a:lnTo>
                  <a:lnTo>
                    <a:pt x="1638" y="636"/>
                  </a:lnTo>
                  <a:lnTo>
                    <a:pt x="1638" y="642"/>
                  </a:lnTo>
                  <a:lnTo>
                    <a:pt x="1632" y="660"/>
                  </a:lnTo>
                  <a:lnTo>
                    <a:pt x="1608" y="678"/>
                  </a:lnTo>
                  <a:lnTo>
                    <a:pt x="1584" y="690"/>
                  </a:lnTo>
                  <a:lnTo>
                    <a:pt x="1584" y="696"/>
                  </a:lnTo>
                  <a:lnTo>
                    <a:pt x="1578" y="702"/>
                  </a:lnTo>
                  <a:lnTo>
                    <a:pt x="1584" y="702"/>
                  </a:lnTo>
                  <a:lnTo>
                    <a:pt x="1578" y="714"/>
                  </a:lnTo>
                  <a:lnTo>
                    <a:pt x="1572" y="714"/>
                  </a:lnTo>
                  <a:lnTo>
                    <a:pt x="1572" y="720"/>
                  </a:lnTo>
                  <a:lnTo>
                    <a:pt x="1566" y="720"/>
                  </a:lnTo>
                  <a:lnTo>
                    <a:pt x="1560" y="726"/>
                  </a:lnTo>
                  <a:lnTo>
                    <a:pt x="1560" y="732"/>
                  </a:lnTo>
                  <a:lnTo>
                    <a:pt x="1554" y="732"/>
                  </a:lnTo>
                  <a:lnTo>
                    <a:pt x="1554" y="738"/>
                  </a:lnTo>
                  <a:lnTo>
                    <a:pt x="1554" y="744"/>
                  </a:lnTo>
                  <a:lnTo>
                    <a:pt x="1548" y="744"/>
                  </a:lnTo>
                  <a:lnTo>
                    <a:pt x="1548" y="738"/>
                  </a:lnTo>
                  <a:lnTo>
                    <a:pt x="1542" y="738"/>
                  </a:lnTo>
                  <a:lnTo>
                    <a:pt x="1542" y="744"/>
                  </a:lnTo>
                  <a:lnTo>
                    <a:pt x="1542" y="750"/>
                  </a:lnTo>
                  <a:lnTo>
                    <a:pt x="1494" y="804"/>
                  </a:lnTo>
                  <a:lnTo>
                    <a:pt x="1446" y="876"/>
                  </a:lnTo>
                  <a:lnTo>
                    <a:pt x="1440" y="876"/>
                  </a:lnTo>
                  <a:lnTo>
                    <a:pt x="1434" y="876"/>
                  </a:lnTo>
                  <a:lnTo>
                    <a:pt x="1428" y="882"/>
                  </a:lnTo>
                  <a:lnTo>
                    <a:pt x="1422" y="882"/>
                  </a:lnTo>
                  <a:lnTo>
                    <a:pt x="1386" y="924"/>
                  </a:lnTo>
                  <a:lnTo>
                    <a:pt x="1362" y="954"/>
                  </a:lnTo>
                  <a:lnTo>
                    <a:pt x="1356" y="984"/>
                  </a:lnTo>
                  <a:lnTo>
                    <a:pt x="1362" y="1002"/>
                  </a:lnTo>
                  <a:lnTo>
                    <a:pt x="1368" y="1020"/>
                  </a:lnTo>
                  <a:lnTo>
                    <a:pt x="1386" y="1056"/>
                  </a:lnTo>
                  <a:lnTo>
                    <a:pt x="1404" y="1074"/>
                  </a:lnTo>
                  <a:lnTo>
                    <a:pt x="1416" y="1080"/>
                  </a:lnTo>
                  <a:lnTo>
                    <a:pt x="1416" y="1086"/>
                  </a:lnTo>
                  <a:lnTo>
                    <a:pt x="1422" y="1098"/>
                  </a:lnTo>
                  <a:lnTo>
                    <a:pt x="1422" y="1110"/>
                  </a:lnTo>
                  <a:lnTo>
                    <a:pt x="1428" y="1116"/>
                  </a:lnTo>
                  <a:lnTo>
                    <a:pt x="1434" y="1116"/>
                  </a:lnTo>
                  <a:lnTo>
                    <a:pt x="1434" y="1122"/>
                  </a:lnTo>
                  <a:lnTo>
                    <a:pt x="1434" y="1128"/>
                  </a:lnTo>
                  <a:lnTo>
                    <a:pt x="1440" y="1134"/>
                  </a:lnTo>
                  <a:lnTo>
                    <a:pt x="1446" y="1134"/>
                  </a:lnTo>
                  <a:lnTo>
                    <a:pt x="1458" y="1134"/>
                  </a:lnTo>
                  <a:lnTo>
                    <a:pt x="1458" y="1140"/>
                  </a:lnTo>
                  <a:lnTo>
                    <a:pt x="1464" y="1134"/>
                  </a:lnTo>
                  <a:lnTo>
                    <a:pt x="1470" y="1134"/>
                  </a:lnTo>
                  <a:lnTo>
                    <a:pt x="1464" y="1128"/>
                  </a:lnTo>
                  <a:lnTo>
                    <a:pt x="1464" y="1122"/>
                  </a:lnTo>
                  <a:lnTo>
                    <a:pt x="1470" y="1116"/>
                  </a:lnTo>
                  <a:lnTo>
                    <a:pt x="1470" y="1122"/>
                  </a:lnTo>
                  <a:lnTo>
                    <a:pt x="1476" y="1122"/>
                  </a:lnTo>
                  <a:lnTo>
                    <a:pt x="1476" y="1116"/>
                  </a:lnTo>
                  <a:lnTo>
                    <a:pt x="1482" y="1110"/>
                  </a:lnTo>
                  <a:lnTo>
                    <a:pt x="1476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82" y="1086"/>
                  </a:lnTo>
                  <a:lnTo>
                    <a:pt x="1482" y="1074"/>
                  </a:lnTo>
                  <a:lnTo>
                    <a:pt x="1488" y="1068"/>
                  </a:lnTo>
                  <a:lnTo>
                    <a:pt x="1488" y="1062"/>
                  </a:lnTo>
                  <a:lnTo>
                    <a:pt x="1494" y="1062"/>
                  </a:lnTo>
                  <a:lnTo>
                    <a:pt x="1500" y="1062"/>
                  </a:lnTo>
                  <a:lnTo>
                    <a:pt x="1506" y="1062"/>
                  </a:lnTo>
                  <a:lnTo>
                    <a:pt x="1506" y="1056"/>
                  </a:lnTo>
                  <a:lnTo>
                    <a:pt x="1506" y="1062"/>
                  </a:lnTo>
                  <a:lnTo>
                    <a:pt x="1518" y="1062"/>
                  </a:lnTo>
                  <a:lnTo>
                    <a:pt x="1524" y="1062"/>
                  </a:lnTo>
                  <a:lnTo>
                    <a:pt x="1530" y="1062"/>
                  </a:lnTo>
                  <a:lnTo>
                    <a:pt x="1536" y="1068"/>
                  </a:lnTo>
                  <a:lnTo>
                    <a:pt x="1536" y="1074"/>
                  </a:lnTo>
                  <a:lnTo>
                    <a:pt x="1542" y="1086"/>
                  </a:lnTo>
                  <a:lnTo>
                    <a:pt x="1548" y="1086"/>
                  </a:lnTo>
                  <a:lnTo>
                    <a:pt x="1554" y="1086"/>
                  </a:lnTo>
                  <a:lnTo>
                    <a:pt x="1566" y="1098"/>
                  </a:lnTo>
                  <a:lnTo>
                    <a:pt x="1572" y="1104"/>
                  </a:lnTo>
                  <a:lnTo>
                    <a:pt x="1566" y="1110"/>
                  </a:lnTo>
                  <a:lnTo>
                    <a:pt x="1572" y="1116"/>
                  </a:lnTo>
                  <a:lnTo>
                    <a:pt x="1578" y="1116"/>
                  </a:lnTo>
                  <a:lnTo>
                    <a:pt x="1578" y="1122"/>
                  </a:lnTo>
                  <a:lnTo>
                    <a:pt x="1584" y="1122"/>
                  </a:lnTo>
                  <a:lnTo>
                    <a:pt x="1584" y="1128"/>
                  </a:lnTo>
                  <a:lnTo>
                    <a:pt x="1584" y="1134"/>
                  </a:lnTo>
                  <a:lnTo>
                    <a:pt x="1590" y="1134"/>
                  </a:lnTo>
                  <a:lnTo>
                    <a:pt x="1596" y="1140"/>
                  </a:lnTo>
                  <a:lnTo>
                    <a:pt x="1602" y="1146"/>
                  </a:lnTo>
                  <a:lnTo>
                    <a:pt x="1608" y="1146"/>
                  </a:lnTo>
                  <a:lnTo>
                    <a:pt x="1614" y="1146"/>
                  </a:lnTo>
                  <a:lnTo>
                    <a:pt x="1614" y="1152"/>
                  </a:lnTo>
                  <a:lnTo>
                    <a:pt x="1620" y="1152"/>
                  </a:lnTo>
                  <a:lnTo>
                    <a:pt x="1626" y="1164"/>
                  </a:lnTo>
                  <a:lnTo>
                    <a:pt x="1632" y="1170"/>
                  </a:lnTo>
                  <a:lnTo>
                    <a:pt x="1638" y="1176"/>
                  </a:lnTo>
                  <a:lnTo>
                    <a:pt x="1638" y="1182"/>
                  </a:lnTo>
                  <a:lnTo>
                    <a:pt x="1644" y="1194"/>
                  </a:lnTo>
                  <a:lnTo>
                    <a:pt x="1644" y="1200"/>
                  </a:lnTo>
                  <a:lnTo>
                    <a:pt x="1638" y="1200"/>
                  </a:lnTo>
                  <a:lnTo>
                    <a:pt x="1638" y="1206"/>
                  </a:lnTo>
                  <a:lnTo>
                    <a:pt x="1638" y="1212"/>
                  </a:lnTo>
                  <a:lnTo>
                    <a:pt x="1638" y="1218"/>
                  </a:lnTo>
                  <a:lnTo>
                    <a:pt x="1632" y="1242"/>
                  </a:lnTo>
                  <a:lnTo>
                    <a:pt x="1632" y="1266"/>
                  </a:lnTo>
                  <a:lnTo>
                    <a:pt x="1638" y="1284"/>
                  </a:lnTo>
                  <a:lnTo>
                    <a:pt x="1638" y="1296"/>
                  </a:lnTo>
                  <a:lnTo>
                    <a:pt x="1632" y="1296"/>
                  </a:lnTo>
                  <a:lnTo>
                    <a:pt x="1632" y="1302"/>
                  </a:lnTo>
                  <a:lnTo>
                    <a:pt x="1638" y="1314"/>
                  </a:lnTo>
                  <a:lnTo>
                    <a:pt x="1638" y="1320"/>
                  </a:lnTo>
                  <a:lnTo>
                    <a:pt x="1632" y="1320"/>
                  </a:lnTo>
                  <a:lnTo>
                    <a:pt x="1632" y="1326"/>
                  </a:lnTo>
                  <a:lnTo>
                    <a:pt x="1644" y="1332"/>
                  </a:lnTo>
                  <a:lnTo>
                    <a:pt x="1644" y="1338"/>
                  </a:lnTo>
                  <a:lnTo>
                    <a:pt x="1650" y="1344"/>
                  </a:lnTo>
                  <a:lnTo>
                    <a:pt x="1668" y="1362"/>
                  </a:lnTo>
                  <a:lnTo>
                    <a:pt x="1668" y="1368"/>
                  </a:lnTo>
                  <a:lnTo>
                    <a:pt x="1674" y="1392"/>
                  </a:lnTo>
                  <a:lnTo>
                    <a:pt x="1686" y="1404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27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9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104" name="Freeform 18">
              <a:extLst>
                <a:ext uri="{FF2B5EF4-FFF2-40B4-BE49-F238E27FC236}">
                  <a16:creationId xmlns:a16="http://schemas.microsoft.com/office/drawing/2014/main" id="{E9E2B927-16E9-495D-82DC-22602CD90D1A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8488" y="4016376"/>
              <a:ext cx="1433512" cy="1008063"/>
            </a:xfrm>
            <a:custGeom>
              <a:avLst/>
              <a:gdLst>
                <a:gd name="T0" fmla="*/ 2147483647 w 1536"/>
                <a:gd name="T1" fmla="*/ 2147483647 h 1080"/>
                <a:gd name="T2" fmla="*/ 2147483647 w 1536"/>
                <a:gd name="T3" fmla="*/ 2147483647 h 1080"/>
                <a:gd name="T4" fmla="*/ 2147483647 w 1536"/>
                <a:gd name="T5" fmla="*/ 2147483647 h 1080"/>
                <a:gd name="T6" fmla="*/ 2147483647 w 1536"/>
                <a:gd name="T7" fmla="*/ 2147483647 h 1080"/>
                <a:gd name="T8" fmla="*/ 2147483647 w 1536"/>
                <a:gd name="T9" fmla="*/ 2147483647 h 1080"/>
                <a:gd name="T10" fmla="*/ 2147483647 w 1536"/>
                <a:gd name="T11" fmla="*/ 2147483647 h 1080"/>
                <a:gd name="T12" fmla="*/ 2147483647 w 1536"/>
                <a:gd name="T13" fmla="*/ 2147483647 h 1080"/>
                <a:gd name="T14" fmla="*/ 2147483647 w 1536"/>
                <a:gd name="T15" fmla="*/ 2147483647 h 1080"/>
                <a:gd name="T16" fmla="*/ 2147483647 w 1536"/>
                <a:gd name="T17" fmla="*/ 2147483647 h 1080"/>
                <a:gd name="T18" fmla="*/ 2147483647 w 1536"/>
                <a:gd name="T19" fmla="*/ 2147483647 h 1080"/>
                <a:gd name="T20" fmla="*/ 2147483647 w 1536"/>
                <a:gd name="T21" fmla="*/ 2147483647 h 1080"/>
                <a:gd name="T22" fmla="*/ 2147483647 w 1536"/>
                <a:gd name="T23" fmla="*/ 2147483647 h 1080"/>
                <a:gd name="T24" fmla="*/ 2147483647 w 1536"/>
                <a:gd name="T25" fmla="*/ 2147483647 h 1080"/>
                <a:gd name="T26" fmla="*/ 2147483647 w 1536"/>
                <a:gd name="T27" fmla="*/ 2147483647 h 1080"/>
                <a:gd name="T28" fmla="*/ 2147483647 w 1536"/>
                <a:gd name="T29" fmla="*/ 2147483647 h 1080"/>
                <a:gd name="T30" fmla="*/ 2147483647 w 1536"/>
                <a:gd name="T31" fmla="*/ 2147483647 h 1080"/>
                <a:gd name="T32" fmla="*/ 2147483647 w 1536"/>
                <a:gd name="T33" fmla="*/ 2147483647 h 1080"/>
                <a:gd name="T34" fmla="*/ 2147483647 w 1536"/>
                <a:gd name="T35" fmla="*/ 2147483647 h 1080"/>
                <a:gd name="T36" fmla="*/ 2147483647 w 1536"/>
                <a:gd name="T37" fmla="*/ 2147483647 h 1080"/>
                <a:gd name="T38" fmla="*/ 2147483647 w 1536"/>
                <a:gd name="T39" fmla="*/ 2147483647 h 1080"/>
                <a:gd name="T40" fmla="*/ 2147483647 w 1536"/>
                <a:gd name="T41" fmla="*/ 2147483647 h 1080"/>
                <a:gd name="T42" fmla="*/ 2147483647 w 1536"/>
                <a:gd name="T43" fmla="*/ 2147483647 h 1080"/>
                <a:gd name="T44" fmla="*/ 2147483647 w 1536"/>
                <a:gd name="T45" fmla="*/ 2147483647 h 1080"/>
                <a:gd name="T46" fmla="*/ 2147483647 w 1536"/>
                <a:gd name="T47" fmla="*/ 2147483647 h 1080"/>
                <a:gd name="T48" fmla="*/ 2147483647 w 1536"/>
                <a:gd name="T49" fmla="*/ 2147483647 h 1080"/>
                <a:gd name="T50" fmla="*/ 2147483647 w 1536"/>
                <a:gd name="T51" fmla="*/ 2147483647 h 1080"/>
                <a:gd name="T52" fmla="*/ 2147483647 w 1536"/>
                <a:gd name="T53" fmla="*/ 2147483647 h 1080"/>
                <a:gd name="T54" fmla="*/ 2147483647 w 1536"/>
                <a:gd name="T55" fmla="*/ 2147483647 h 1080"/>
                <a:gd name="T56" fmla="*/ 2147483647 w 1536"/>
                <a:gd name="T57" fmla="*/ 2147483647 h 1080"/>
                <a:gd name="T58" fmla="*/ 2147483647 w 1536"/>
                <a:gd name="T59" fmla="*/ 2147483647 h 1080"/>
                <a:gd name="T60" fmla="*/ 2147483647 w 1536"/>
                <a:gd name="T61" fmla="*/ 2147483647 h 1080"/>
                <a:gd name="T62" fmla="*/ 2147483647 w 1536"/>
                <a:gd name="T63" fmla="*/ 2147483647 h 1080"/>
                <a:gd name="T64" fmla="*/ 2147483647 w 1536"/>
                <a:gd name="T65" fmla="*/ 2147483647 h 1080"/>
                <a:gd name="T66" fmla="*/ 2147483647 w 1536"/>
                <a:gd name="T67" fmla="*/ 2147483647 h 1080"/>
                <a:gd name="T68" fmla="*/ 2147483647 w 1536"/>
                <a:gd name="T69" fmla="*/ 2147483647 h 1080"/>
                <a:gd name="T70" fmla="*/ 2147483647 w 1536"/>
                <a:gd name="T71" fmla="*/ 2147483647 h 1080"/>
                <a:gd name="T72" fmla="*/ 2147483647 w 1536"/>
                <a:gd name="T73" fmla="*/ 2147483647 h 1080"/>
                <a:gd name="T74" fmla="*/ 2147483647 w 1536"/>
                <a:gd name="T75" fmla="*/ 2147483647 h 1080"/>
                <a:gd name="T76" fmla="*/ 2147483647 w 1536"/>
                <a:gd name="T77" fmla="*/ 2147483647 h 1080"/>
                <a:gd name="T78" fmla="*/ 2147483647 w 1536"/>
                <a:gd name="T79" fmla="*/ 2147483647 h 1080"/>
                <a:gd name="T80" fmla="*/ 2147483647 w 1536"/>
                <a:gd name="T81" fmla="*/ 2147483647 h 1080"/>
                <a:gd name="T82" fmla="*/ 2147483647 w 1536"/>
                <a:gd name="T83" fmla="*/ 2147483647 h 1080"/>
                <a:gd name="T84" fmla="*/ 2147483647 w 1536"/>
                <a:gd name="T85" fmla="*/ 2147483647 h 1080"/>
                <a:gd name="T86" fmla="*/ 2147483647 w 1536"/>
                <a:gd name="T87" fmla="*/ 2147483647 h 1080"/>
                <a:gd name="T88" fmla="*/ 2147483647 w 1536"/>
                <a:gd name="T89" fmla="*/ 2147483647 h 1080"/>
                <a:gd name="T90" fmla="*/ 2147483647 w 1536"/>
                <a:gd name="T91" fmla="*/ 0 h 1080"/>
                <a:gd name="T92" fmla="*/ 2147483647 w 1536"/>
                <a:gd name="T93" fmla="*/ 2147483647 h 1080"/>
                <a:gd name="T94" fmla="*/ 2147483647 w 1536"/>
                <a:gd name="T95" fmla="*/ 2147483647 h 1080"/>
                <a:gd name="T96" fmla="*/ 2147483647 w 1536"/>
                <a:gd name="T97" fmla="*/ 2147483647 h 1080"/>
                <a:gd name="T98" fmla="*/ 2147483647 w 1536"/>
                <a:gd name="T99" fmla="*/ 2147483647 h 1080"/>
                <a:gd name="T100" fmla="*/ 2147483647 w 1536"/>
                <a:gd name="T101" fmla="*/ 2147483647 h 1080"/>
                <a:gd name="T102" fmla="*/ 2147483647 w 1536"/>
                <a:gd name="T103" fmla="*/ 2147483647 h 1080"/>
                <a:gd name="T104" fmla="*/ 2147483647 w 1536"/>
                <a:gd name="T105" fmla="*/ 2147483647 h 1080"/>
                <a:gd name="T106" fmla="*/ 2147483647 w 1536"/>
                <a:gd name="T107" fmla="*/ 2147483647 h 1080"/>
                <a:gd name="T108" fmla="*/ 2147483647 w 1536"/>
                <a:gd name="T109" fmla="*/ 2147483647 h 1080"/>
                <a:gd name="T110" fmla="*/ 2147483647 w 1536"/>
                <a:gd name="T111" fmla="*/ 2147483647 h 1080"/>
                <a:gd name="T112" fmla="*/ 2147483647 w 1536"/>
                <a:gd name="T113" fmla="*/ 2147483647 h 1080"/>
                <a:gd name="T114" fmla="*/ 2147483647 w 1536"/>
                <a:gd name="T115" fmla="*/ 2147483647 h 1080"/>
                <a:gd name="T116" fmla="*/ 2147483647 w 1536"/>
                <a:gd name="T117" fmla="*/ 2147483647 h 108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536"/>
                <a:gd name="T178" fmla="*/ 0 h 1080"/>
                <a:gd name="T179" fmla="*/ 1536 w 1536"/>
                <a:gd name="T180" fmla="*/ 1080 h 108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536" h="1080">
                  <a:moveTo>
                    <a:pt x="1350" y="1020"/>
                  </a:moveTo>
                  <a:lnTo>
                    <a:pt x="1350" y="1026"/>
                  </a:lnTo>
                  <a:lnTo>
                    <a:pt x="1344" y="1026"/>
                  </a:lnTo>
                  <a:lnTo>
                    <a:pt x="1338" y="1032"/>
                  </a:lnTo>
                  <a:lnTo>
                    <a:pt x="1332" y="1026"/>
                  </a:lnTo>
                  <a:lnTo>
                    <a:pt x="1326" y="1026"/>
                  </a:lnTo>
                  <a:lnTo>
                    <a:pt x="1320" y="1020"/>
                  </a:lnTo>
                  <a:lnTo>
                    <a:pt x="1314" y="1026"/>
                  </a:lnTo>
                  <a:lnTo>
                    <a:pt x="1314" y="1032"/>
                  </a:lnTo>
                  <a:lnTo>
                    <a:pt x="1308" y="1038"/>
                  </a:lnTo>
                  <a:lnTo>
                    <a:pt x="1308" y="1044"/>
                  </a:lnTo>
                  <a:lnTo>
                    <a:pt x="1308" y="1050"/>
                  </a:lnTo>
                  <a:lnTo>
                    <a:pt x="1308" y="1056"/>
                  </a:lnTo>
                  <a:lnTo>
                    <a:pt x="1308" y="1062"/>
                  </a:lnTo>
                  <a:lnTo>
                    <a:pt x="1296" y="1068"/>
                  </a:lnTo>
                  <a:lnTo>
                    <a:pt x="1284" y="1074"/>
                  </a:lnTo>
                  <a:lnTo>
                    <a:pt x="1272" y="1080"/>
                  </a:lnTo>
                  <a:lnTo>
                    <a:pt x="1260" y="1080"/>
                  </a:lnTo>
                  <a:lnTo>
                    <a:pt x="1254" y="1074"/>
                  </a:lnTo>
                  <a:lnTo>
                    <a:pt x="1236" y="1074"/>
                  </a:lnTo>
                  <a:lnTo>
                    <a:pt x="1230" y="1074"/>
                  </a:lnTo>
                  <a:lnTo>
                    <a:pt x="1236" y="1074"/>
                  </a:lnTo>
                  <a:lnTo>
                    <a:pt x="1236" y="1068"/>
                  </a:lnTo>
                  <a:lnTo>
                    <a:pt x="1236" y="1062"/>
                  </a:lnTo>
                  <a:lnTo>
                    <a:pt x="1236" y="1056"/>
                  </a:lnTo>
                  <a:lnTo>
                    <a:pt x="1242" y="1050"/>
                  </a:lnTo>
                  <a:lnTo>
                    <a:pt x="1242" y="1044"/>
                  </a:lnTo>
                  <a:lnTo>
                    <a:pt x="1242" y="1038"/>
                  </a:lnTo>
                  <a:lnTo>
                    <a:pt x="1248" y="1032"/>
                  </a:lnTo>
                  <a:lnTo>
                    <a:pt x="1236" y="1026"/>
                  </a:lnTo>
                  <a:lnTo>
                    <a:pt x="1218" y="1020"/>
                  </a:lnTo>
                  <a:lnTo>
                    <a:pt x="1224" y="1014"/>
                  </a:lnTo>
                  <a:lnTo>
                    <a:pt x="1218" y="1008"/>
                  </a:lnTo>
                  <a:lnTo>
                    <a:pt x="1218" y="1002"/>
                  </a:lnTo>
                  <a:lnTo>
                    <a:pt x="1212" y="1008"/>
                  </a:lnTo>
                  <a:lnTo>
                    <a:pt x="1206" y="1002"/>
                  </a:lnTo>
                  <a:lnTo>
                    <a:pt x="1212" y="1002"/>
                  </a:lnTo>
                  <a:lnTo>
                    <a:pt x="1212" y="996"/>
                  </a:lnTo>
                  <a:lnTo>
                    <a:pt x="1200" y="990"/>
                  </a:lnTo>
                  <a:lnTo>
                    <a:pt x="1200" y="984"/>
                  </a:lnTo>
                  <a:lnTo>
                    <a:pt x="1188" y="984"/>
                  </a:lnTo>
                  <a:lnTo>
                    <a:pt x="1176" y="978"/>
                  </a:lnTo>
                  <a:lnTo>
                    <a:pt x="1164" y="960"/>
                  </a:lnTo>
                  <a:lnTo>
                    <a:pt x="1152" y="936"/>
                  </a:lnTo>
                  <a:lnTo>
                    <a:pt x="1146" y="936"/>
                  </a:lnTo>
                  <a:lnTo>
                    <a:pt x="1128" y="900"/>
                  </a:lnTo>
                  <a:lnTo>
                    <a:pt x="1038" y="912"/>
                  </a:lnTo>
                  <a:lnTo>
                    <a:pt x="1038" y="918"/>
                  </a:lnTo>
                  <a:lnTo>
                    <a:pt x="1032" y="924"/>
                  </a:lnTo>
                  <a:lnTo>
                    <a:pt x="1026" y="918"/>
                  </a:lnTo>
                  <a:lnTo>
                    <a:pt x="1020" y="924"/>
                  </a:lnTo>
                  <a:lnTo>
                    <a:pt x="1008" y="936"/>
                  </a:lnTo>
                  <a:lnTo>
                    <a:pt x="990" y="936"/>
                  </a:lnTo>
                  <a:lnTo>
                    <a:pt x="990" y="942"/>
                  </a:lnTo>
                  <a:lnTo>
                    <a:pt x="996" y="942"/>
                  </a:lnTo>
                  <a:lnTo>
                    <a:pt x="984" y="948"/>
                  </a:lnTo>
                  <a:lnTo>
                    <a:pt x="972" y="948"/>
                  </a:lnTo>
                  <a:lnTo>
                    <a:pt x="960" y="948"/>
                  </a:lnTo>
                  <a:lnTo>
                    <a:pt x="948" y="942"/>
                  </a:lnTo>
                  <a:lnTo>
                    <a:pt x="948" y="936"/>
                  </a:lnTo>
                  <a:lnTo>
                    <a:pt x="942" y="936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30" y="924"/>
                  </a:lnTo>
                  <a:lnTo>
                    <a:pt x="936" y="918"/>
                  </a:lnTo>
                  <a:lnTo>
                    <a:pt x="918" y="918"/>
                  </a:lnTo>
                  <a:lnTo>
                    <a:pt x="918" y="900"/>
                  </a:lnTo>
                  <a:lnTo>
                    <a:pt x="924" y="900"/>
                  </a:lnTo>
                  <a:lnTo>
                    <a:pt x="924" y="894"/>
                  </a:lnTo>
                  <a:lnTo>
                    <a:pt x="924" y="870"/>
                  </a:lnTo>
                  <a:lnTo>
                    <a:pt x="924" y="864"/>
                  </a:lnTo>
                  <a:lnTo>
                    <a:pt x="918" y="858"/>
                  </a:lnTo>
                  <a:lnTo>
                    <a:pt x="918" y="852"/>
                  </a:lnTo>
                  <a:lnTo>
                    <a:pt x="906" y="840"/>
                  </a:lnTo>
                  <a:lnTo>
                    <a:pt x="894" y="834"/>
                  </a:lnTo>
                  <a:lnTo>
                    <a:pt x="876" y="822"/>
                  </a:lnTo>
                  <a:lnTo>
                    <a:pt x="870" y="828"/>
                  </a:lnTo>
                  <a:lnTo>
                    <a:pt x="858" y="816"/>
                  </a:lnTo>
                  <a:lnTo>
                    <a:pt x="810" y="798"/>
                  </a:lnTo>
                  <a:lnTo>
                    <a:pt x="774" y="792"/>
                  </a:lnTo>
                  <a:lnTo>
                    <a:pt x="732" y="798"/>
                  </a:lnTo>
                  <a:lnTo>
                    <a:pt x="726" y="804"/>
                  </a:lnTo>
                  <a:lnTo>
                    <a:pt x="714" y="810"/>
                  </a:lnTo>
                  <a:lnTo>
                    <a:pt x="702" y="810"/>
                  </a:lnTo>
                  <a:lnTo>
                    <a:pt x="690" y="810"/>
                  </a:lnTo>
                  <a:lnTo>
                    <a:pt x="696" y="816"/>
                  </a:lnTo>
                  <a:lnTo>
                    <a:pt x="696" y="822"/>
                  </a:lnTo>
                  <a:lnTo>
                    <a:pt x="702" y="822"/>
                  </a:lnTo>
                  <a:lnTo>
                    <a:pt x="708" y="822"/>
                  </a:lnTo>
                  <a:lnTo>
                    <a:pt x="708" y="828"/>
                  </a:lnTo>
                  <a:lnTo>
                    <a:pt x="708" y="834"/>
                  </a:lnTo>
                  <a:lnTo>
                    <a:pt x="714" y="834"/>
                  </a:lnTo>
                  <a:lnTo>
                    <a:pt x="708" y="846"/>
                  </a:lnTo>
                  <a:lnTo>
                    <a:pt x="708" y="852"/>
                  </a:lnTo>
                  <a:lnTo>
                    <a:pt x="702" y="852"/>
                  </a:lnTo>
                  <a:lnTo>
                    <a:pt x="696" y="858"/>
                  </a:lnTo>
                  <a:lnTo>
                    <a:pt x="690" y="864"/>
                  </a:lnTo>
                  <a:lnTo>
                    <a:pt x="666" y="870"/>
                  </a:lnTo>
                  <a:lnTo>
                    <a:pt x="660" y="876"/>
                  </a:lnTo>
                  <a:lnTo>
                    <a:pt x="642" y="876"/>
                  </a:lnTo>
                  <a:lnTo>
                    <a:pt x="606" y="882"/>
                  </a:lnTo>
                  <a:lnTo>
                    <a:pt x="588" y="882"/>
                  </a:lnTo>
                  <a:lnTo>
                    <a:pt x="582" y="876"/>
                  </a:lnTo>
                  <a:lnTo>
                    <a:pt x="576" y="876"/>
                  </a:lnTo>
                  <a:lnTo>
                    <a:pt x="564" y="876"/>
                  </a:lnTo>
                  <a:lnTo>
                    <a:pt x="552" y="882"/>
                  </a:lnTo>
                  <a:lnTo>
                    <a:pt x="540" y="894"/>
                  </a:lnTo>
                  <a:lnTo>
                    <a:pt x="534" y="906"/>
                  </a:lnTo>
                  <a:lnTo>
                    <a:pt x="528" y="912"/>
                  </a:lnTo>
                  <a:lnTo>
                    <a:pt x="516" y="924"/>
                  </a:lnTo>
                  <a:lnTo>
                    <a:pt x="486" y="930"/>
                  </a:lnTo>
                  <a:lnTo>
                    <a:pt x="474" y="912"/>
                  </a:lnTo>
                  <a:lnTo>
                    <a:pt x="474" y="906"/>
                  </a:lnTo>
                  <a:lnTo>
                    <a:pt x="468" y="906"/>
                  </a:lnTo>
                  <a:lnTo>
                    <a:pt x="468" y="900"/>
                  </a:lnTo>
                  <a:lnTo>
                    <a:pt x="462" y="894"/>
                  </a:lnTo>
                  <a:lnTo>
                    <a:pt x="456" y="894"/>
                  </a:lnTo>
                  <a:lnTo>
                    <a:pt x="462" y="888"/>
                  </a:lnTo>
                  <a:lnTo>
                    <a:pt x="468" y="888"/>
                  </a:lnTo>
                  <a:lnTo>
                    <a:pt x="462" y="882"/>
                  </a:lnTo>
                  <a:lnTo>
                    <a:pt x="462" y="876"/>
                  </a:lnTo>
                  <a:lnTo>
                    <a:pt x="456" y="870"/>
                  </a:lnTo>
                  <a:lnTo>
                    <a:pt x="456" y="864"/>
                  </a:lnTo>
                  <a:lnTo>
                    <a:pt x="450" y="858"/>
                  </a:lnTo>
                  <a:lnTo>
                    <a:pt x="444" y="858"/>
                  </a:lnTo>
                  <a:lnTo>
                    <a:pt x="444" y="852"/>
                  </a:lnTo>
                  <a:lnTo>
                    <a:pt x="438" y="852"/>
                  </a:lnTo>
                  <a:lnTo>
                    <a:pt x="438" y="858"/>
                  </a:lnTo>
                  <a:lnTo>
                    <a:pt x="402" y="870"/>
                  </a:lnTo>
                  <a:lnTo>
                    <a:pt x="390" y="882"/>
                  </a:lnTo>
                  <a:lnTo>
                    <a:pt x="384" y="900"/>
                  </a:lnTo>
                  <a:lnTo>
                    <a:pt x="342" y="900"/>
                  </a:lnTo>
                  <a:lnTo>
                    <a:pt x="324" y="900"/>
                  </a:lnTo>
                  <a:lnTo>
                    <a:pt x="294" y="906"/>
                  </a:lnTo>
                  <a:lnTo>
                    <a:pt x="282" y="948"/>
                  </a:lnTo>
                  <a:lnTo>
                    <a:pt x="282" y="978"/>
                  </a:lnTo>
                  <a:lnTo>
                    <a:pt x="270" y="1008"/>
                  </a:lnTo>
                  <a:lnTo>
                    <a:pt x="240" y="1014"/>
                  </a:lnTo>
                  <a:lnTo>
                    <a:pt x="216" y="996"/>
                  </a:lnTo>
                  <a:lnTo>
                    <a:pt x="204" y="984"/>
                  </a:lnTo>
                  <a:lnTo>
                    <a:pt x="192" y="966"/>
                  </a:lnTo>
                  <a:lnTo>
                    <a:pt x="186" y="948"/>
                  </a:lnTo>
                  <a:lnTo>
                    <a:pt x="174" y="948"/>
                  </a:lnTo>
                  <a:lnTo>
                    <a:pt x="174" y="936"/>
                  </a:lnTo>
                  <a:lnTo>
                    <a:pt x="186" y="924"/>
                  </a:lnTo>
                  <a:lnTo>
                    <a:pt x="198" y="906"/>
                  </a:lnTo>
                  <a:lnTo>
                    <a:pt x="204" y="888"/>
                  </a:lnTo>
                  <a:lnTo>
                    <a:pt x="222" y="870"/>
                  </a:lnTo>
                  <a:lnTo>
                    <a:pt x="234" y="858"/>
                  </a:lnTo>
                  <a:lnTo>
                    <a:pt x="234" y="852"/>
                  </a:lnTo>
                  <a:lnTo>
                    <a:pt x="222" y="852"/>
                  </a:lnTo>
                  <a:lnTo>
                    <a:pt x="228" y="810"/>
                  </a:lnTo>
                  <a:lnTo>
                    <a:pt x="222" y="798"/>
                  </a:lnTo>
                  <a:lnTo>
                    <a:pt x="216" y="798"/>
                  </a:lnTo>
                  <a:lnTo>
                    <a:pt x="216" y="792"/>
                  </a:lnTo>
                  <a:lnTo>
                    <a:pt x="210" y="792"/>
                  </a:lnTo>
                  <a:lnTo>
                    <a:pt x="204" y="798"/>
                  </a:lnTo>
                  <a:lnTo>
                    <a:pt x="204" y="792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0" y="786"/>
                  </a:lnTo>
                  <a:lnTo>
                    <a:pt x="174" y="792"/>
                  </a:lnTo>
                  <a:lnTo>
                    <a:pt x="162" y="792"/>
                  </a:lnTo>
                  <a:lnTo>
                    <a:pt x="156" y="792"/>
                  </a:lnTo>
                  <a:lnTo>
                    <a:pt x="156" y="798"/>
                  </a:lnTo>
                  <a:lnTo>
                    <a:pt x="138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6" y="804"/>
                  </a:lnTo>
                  <a:lnTo>
                    <a:pt x="102" y="810"/>
                  </a:lnTo>
                  <a:lnTo>
                    <a:pt x="90" y="810"/>
                  </a:lnTo>
                  <a:lnTo>
                    <a:pt x="72" y="798"/>
                  </a:lnTo>
                  <a:lnTo>
                    <a:pt x="66" y="780"/>
                  </a:lnTo>
                  <a:lnTo>
                    <a:pt x="60" y="780"/>
                  </a:lnTo>
                  <a:lnTo>
                    <a:pt x="60" y="768"/>
                  </a:lnTo>
                  <a:lnTo>
                    <a:pt x="54" y="768"/>
                  </a:lnTo>
                  <a:lnTo>
                    <a:pt x="24" y="756"/>
                  </a:lnTo>
                  <a:lnTo>
                    <a:pt x="18" y="744"/>
                  </a:lnTo>
                  <a:lnTo>
                    <a:pt x="12" y="738"/>
                  </a:lnTo>
                  <a:lnTo>
                    <a:pt x="18" y="732"/>
                  </a:lnTo>
                  <a:lnTo>
                    <a:pt x="12" y="726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8" y="696"/>
                  </a:lnTo>
                  <a:lnTo>
                    <a:pt x="24" y="708"/>
                  </a:lnTo>
                  <a:lnTo>
                    <a:pt x="36" y="702"/>
                  </a:lnTo>
                  <a:lnTo>
                    <a:pt x="36" y="678"/>
                  </a:lnTo>
                  <a:lnTo>
                    <a:pt x="36" y="660"/>
                  </a:lnTo>
                  <a:lnTo>
                    <a:pt x="42" y="654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72" y="624"/>
                  </a:lnTo>
                  <a:lnTo>
                    <a:pt x="90" y="618"/>
                  </a:lnTo>
                  <a:lnTo>
                    <a:pt x="102" y="618"/>
                  </a:lnTo>
                  <a:lnTo>
                    <a:pt x="114" y="612"/>
                  </a:lnTo>
                  <a:lnTo>
                    <a:pt x="138" y="606"/>
                  </a:lnTo>
                  <a:lnTo>
                    <a:pt x="144" y="606"/>
                  </a:lnTo>
                  <a:lnTo>
                    <a:pt x="150" y="594"/>
                  </a:lnTo>
                  <a:lnTo>
                    <a:pt x="156" y="576"/>
                  </a:lnTo>
                  <a:lnTo>
                    <a:pt x="168" y="552"/>
                  </a:lnTo>
                  <a:lnTo>
                    <a:pt x="168" y="540"/>
                  </a:lnTo>
                  <a:lnTo>
                    <a:pt x="180" y="522"/>
                  </a:lnTo>
                  <a:lnTo>
                    <a:pt x="186" y="498"/>
                  </a:lnTo>
                  <a:lnTo>
                    <a:pt x="198" y="480"/>
                  </a:lnTo>
                  <a:lnTo>
                    <a:pt x="204" y="486"/>
                  </a:lnTo>
                  <a:lnTo>
                    <a:pt x="210" y="480"/>
                  </a:lnTo>
                  <a:lnTo>
                    <a:pt x="204" y="474"/>
                  </a:lnTo>
                  <a:lnTo>
                    <a:pt x="198" y="462"/>
                  </a:lnTo>
                  <a:lnTo>
                    <a:pt x="192" y="456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50"/>
                  </a:lnTo>
                  <a:lnTo>
                    <a:pt x="132" y="426"/>
                  </a:lnTo>
                  <a:lnTo>
                    <a:pt x="132" y="396"/>
                  </a:lnTo>
                  <a:lnTo>
                    <a:pt x="132" y="378"/>
                  </a:lnTo>
                  <a:lnTo>
                    <a:pt x="126" y="348"/>
                  </a:lnTo>
                  <a:lnTo>
                    <a:pt x="132" y="312"/>
                  </a:lnTo>
                  <a:lnTo>
                    <a:pt x="126" y="288"/>
                  </a:lnTo>
                  <a:lnTo>
                    <a:pt x="138" y="282"/>
                  </a:lnTo>
                  <a:lnTo>
                    <a:pt x="126" y="264"/>
                  </a:lnTo>
                  <a:lnTo>
                    <a:pt x="126" y="258"/>
                  </a:lnTo>
                  <a:lnTo>
                    <a:pt x="120" y="246"/>
                  </a:lnTo>
                  <a:lnTo>
                    <a:pt x="126" y="234"/>
                  </a:lnTo>
                  <a:lnTo>
                    <a:pt x="114" y="228"/>
                  </a:lnTo>
                  <a:lnTo>
                    <a:pt x="114" y="222"/>
                  </a:lnTo>
                  <a:lnTo>
                    <a:pt x="96" y="204"/>
                  </a:lnTo>
                  <a:lnTo>
                    <a:pt x="84" y="180"/>
                  </a:lnTo>
                  <a:lnTo>
                    <a:pt x="78" y="168"/>
                  </a:lnTo>
                  <a:lnTo>
                    <a:pt x="72" y="162"/>
                  </a:lnTo>
                  <a:lnTo>
                    <a:pt x="66" y="144"/>
                  </a:lnTo>
                  <a:lnTo>
                    <a:pt x="60" y="138"/>
                  </a:lnTo>
                  <a:lnTo>
                    <a:pt x="66" y="126"/>
                  </a:lnTo>
                  <a:lnTo>
                    <a:pt x="66" y="114"/>
                  </a:lnTo>
                  <a:lnTo>
                    <a:pt x="72" y="114"/>
                  </a:lnTo>
                  <a:lnTo>
                    <a:pt x="72" y="108"/>
                  </a:lnTo>
                  <a:lnTo>
                    <a:pt x="78" y="102"/>
                  </a:lnTo>
                  <a:lnTo>
                    <a:pt x="78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120" y="78"/>
                  </a:lnTo>
                  <a:lnTo>
                    <a:pt x="144" y="84"/>
                  </a:lnTo>
                  <a:lnTo>
                    <a:pt x="150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74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92" y="102"/>
                  </a:lnTo>
                  <a:lnTo>
                    <a:pt x="198" y="96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16" y="96"/>
                  </a:lnTo>
                  <a:lnTo>
                    <a:pt x="222" y="96"/>
                  </a:lnTo>
                  <a:lnTo>
                    <a:pt x="228" y="96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94" y="114"/>
                  </a:lnTo>
                  <a:lnTo>
                    <a:pt x="312" y="120"/>
                  </a:lnTo>
                  <a:lnTo>
                    <a:pt x="318" y="126"/>
                  </a:lnTo>
                  <a:lnTo>
                    <a:pt x="330" y="132"/>
                  </a:lnTo>
                  <a:lnTo>
                    <a:pt x="342" y="132"/>
                  </a:lnTo>
                  <a:lnTo>
                    <a:pt x="348" y="132"/>
                  </a:lnTo>
                  <a:lnTo>
                    <a:pt x="354" y="138"/>
                  </a:lnTo>
                  <a:lnTo>
                    <a:pt x="366" y="138"/>
                  </a:lnTo>
                  <a:lnTo>
                    <a:pt x="372" y="144"/>
                  </a:lnTo>
                  <a:lnTo>
                    <a:pt x="378" y="150"/>
                  </a:lnTo>
                  <a:lnTo>
                    <a:pt x="384" y="150"/>
                  </a:lnTo>
                  <a:lnTo>
                    <a:pt x="390" y="150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14" y="156"/>
                  </a:lnTo>
                  <a:lnTo>
                    <a:pt x="420" y="156"/>
                  </a:lnTo>
                  <a:lnTo>
                    <a:pt x="426" y="162"/>
                  </a:lnTo>
                  <a:lnTo>
                    <a:pt x="438" y="168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62" y="174"/>
                  </a:lnTo>
                  <a:lnTo>
                    <a:pt x="468" y="174"/>
                  </a:lnTo>
                  <a:lnTo>
                    <a:pt x="474" y="174"/>
                  </a:lnTo>
                  <a:lnTo>
                    <a:pt x="474" y="180"/>
                  </a:lnTo>
                  <a:lnTo>
                    <a:pt x="480" y="192"/>
                  </a:lnTo>
                  <a:lnTo>
                    <a:pt x="498" y="198"/>
                  </a:lnTo>
                  <a:lnTo>
                    <a:pt x="510" y="210"/>
                  </a:lnTo>
                  <a:lnTo>
                    <a:pt x="516" y="210"/>
                  </a:lnTo>
                  <a:lnTo>
                    <a:pt x="522" y="210"/>
                  </a:lnTo>
                  <a:lnTo>
                    <a:pt x="534" y="216"/>
                  </a:lnTo>
                  <a:lnTo>
                    <a:pt x="540" y="216"/>
                  </a:lnTo>
                  <a:lnTo>
                    <a:pt x="546" y="222"/>
                  </a:lnTo>
                  <a:lnTo>
                    <a:pt x="552" y="222"/>
                  </a:lnTo>
                  <a:lnTo>
                    <a:pt x="558" y="228"/>
                  </a:lnTo>
                  <a:lnTo>
                    <a:pt x="564" y="228"/>
                  </a:lnTo>
                  <a:lnTo>
                    <a:pt x="570" y="234"/>
                  </a:lnTo>
                  <a:lnTo>
                    <a:pt x="576" y="240"/>
                  </a:lnTo>
                  <a:lnTo>
                    <a:pt x="582" y="240"/>
                  </a:lnTo>
                  <a:lnTo>
                    <a:pt x="588" y="240"/>
                  </a:lnTo>
                  <a:lnTo>
                    <a:pt x="594" y="240"/>
                  </a:lnTo>
                  <a:lnTo>
                    <a:pt x="600" y="228"/>
                  </a:lnTo>
                  <a:lnTo>
                    <a:pt x="588" y="216"/>
                  </a:lnTo>
                  <a:lnTo>
                    <a:pt x="588" y="198"/>
                  </a:lnTo>
                  <a:lnTo>
                    <a:pt x="582" y="198"/>
                  </a:lnTo>
                  <a:lnTo>
                    <a:pt x="588" y="192"/>
                  </a:lnTo>
                  <a:lnTo>
                    <a:pt x="582" y="168"/>
                  </a:lnTo>
                  <a:lnTo>
                    <a:pt x="558" y="114"/>
                  </a:lnTo>
                  <a:lnTo>
                    <a:pt x="552" y="90"/>
                  </a:lnTo>
                  <a:lnTo>
                    <a:pt x="558" y="60"/>
                  </a:lnTo>
                  <a:lnTo>
                    <a:pt x="564" y="48"/>
                  </a:lnTo>
                  <a:lnTo>
                    <a:pt x="582" y="42"/>
                  </a:lnTo>
                  <a:lnTo>
                    <a:pt x="624" y="6"/>
                  </a:lnTo>
                  <a:lnTo>
                    <a:pt x="648" y="0"/>
                  </a:lnTo>
                  <a:lnTo>
                    <a:pt x="678" y="0"/>
                  </a:lnTo>
                  <a:lnTo>
                    <a:pt x="720" y="12"/>
                  </a:lnTo>
                  <a:lnTo>
                    <a:pt x="744" y="24"/>
                  </a:lnTo>
                  <a:lnTo>
                    <a:pt x="768" y="42"/>
                  </a:lnTo>
                  <a:lnTo>
                    <a:pt x="816" y="48"/>
                  </a:lnTo>
                  <a:lnTo>
                    <a:pt x="834" y="48"/>
                  </a:lnTo>
                  <a:lnTo>
                    <a:pt x="852" y="54"/>
                  </a:lnTo>
                  <a:lnTo>
                    <a:pt x="906" y="60"/>
                  </a:lnTo>
                  <a:lnTo>
                    <a:pt x="948" y="54"/>
                  </a:lnTo>
                  <a:lnTo>
                    <a:pt x="978" y="42"/>
                  </a:lnTo>
                  <a:lnTo>
                    <a:pt x="984" y="48"/>
                  </a:lnTo>
                  <a:lnTo>
                    <a:pt x="990" y="60"/>
                  </a:lnTo>
                  <a:lnTo>
                    <a:pt x="996" y="66"/>
                  </a:lnTo>
                  <a:lnTo>
                    <a:pt x="1002" y="72"/>
                  </a:lnTo>
                  <a:lnTo>
                    <a:pt x="1014" y="78"/>
                  </a:lnTo>
                  <a:lnTo>
                    <a:pt x="1014" y="84"/>
                  </a:lnTo>
                  <a:lnTo>
                    <a:pt x="1032" y="84"/>
                  </a:lnTo>
                  <a:lnTo>
                    <a:pt x="1032" y="90"/>
                  </a:lnTo>
                  <a:lnTo>
                    <a:pt x="1032" y="96"/>
                  </a:lnTo>
                  <a:lnTo>
                    <a:pt x="1032" y="108"/>
                  </a:lnTo>
                  <a:lnTo>
                    <a:pt x="1056" y="126"/>
                  </a:lnTo>
                  <a:lnTo>
                    <a:pt x="1068" y="138"/>
                  </a:lnTo>
                  <a:lnTo>
                    <a:pt x="1068" y="156"/>
                  </a:lnTo>
                  <a:lnTo>
                    <a:pt x="1080" y="150"/>
                  </a:lnTo>
                  <a:lnTo>
                    <a:pt x="1086" y="150"/>
                  </a:lnTo>
                  <a:lnTo>
                    <a:pt x="1092" y="156"/>
                  </a:lnTo>
                  <a:lnTo>
                    <a:pt x="1092" y="162"/>
                  </a:lnTo>
                  <a:lnTo>
                    <a:pt x="1092" y="168"/>
                  </a:lnTo>
                  <a:lnTo>
                    <a:pt x="1098" y="168"/>
                  </a:lnTo>
                  <a:lnTo>
                    <a:pt x="1092" y="180"/>
                  </a:lnTo>
                  <a:lnTo>
                    <a:pt x="1092" y="186"/>
                  </a:lnTo>
                  <a:lnTo>
                    <a:pt x="1086" y="192"/>
                  </a:lnTo>
                  <a:lnTo>
                    <a:pt x="1068" y="210"/>
                  </a:lnTo>
                  <a:lnTo>
                    <a:pt x="1068" y="216"/>
                  </a:lnTo>
                  <a:lnTo>
                    <a:pt x="1074" y="228"/>
                  </a:lnTo>
                  <a:lnTo>
                    <a:pt x="1092" y="234"/>
                  </a:lnTo>
                  <a:lnTo>
                    <a:pt x="1122" y="216"/>
                  </a:lnTo>
                  <a:lnTo>
                    <a:pt x="1188" y="204"/>
                  </a:lnTo>
                  <a:lnTo>
                    <a:pt x="1212" y="204"/>
                  </a:lnTo>
                  <a:lnTo>
                    <a:pt x="1230" y="198"/>
                  </a:lnTo>
                  <a:lnTo>
                    <a:pt x="1236" y="204"/>
                  </a:lnTo>
                  <a:lnTo>
                    <a:pt x="1242" y="210"/>
                  </a:lnTo>
                  <a:lnTo>
                    <a:pt x="1242" y="204"/>
                  </a:lnTo>
                  <a:lnTo>
                    <a:pt x="1248" y="198"/>
                  </a:lnTo>
                  <a:lnTo>
                    <a:pt x="1308" y="204"/>
                  </a:lnTo>
                  <a:lnTo>
                    <a:pt x="1338" y="204"/>
                  </a:lnTo>
                  <a:lnTo>
                    <a:pt x="1374" y="228"/>
                  </a:lnTo>
                  <a:lnTo>
                    <a:pt x="1380" y="234"/>
                  </a:lnTo>
                  <a:lnTo>
                    <a:pt x="1380" y="240"/>
                  </a:lnTo>
                  <a:lnTo>
                    <a:pt x="1386" y="252"/>
                  </a:lnTo>
                  <a:lnTo>
                    <a:pt x="1392" y="252"/>
                  </a:lnTo>
                  <a:lnTo>
                    <a:pt x="1416" y="270"/>
                  </a:lnTo>
                  <a:lnTo>
                    <a:pt x="1428" y="294"/>
                  </a:lnTo>
                  <a:lnTo>
                    <a:pt x="1440" y="312"/>
                  </a:lnTo>
                  <a:lnTo>
                    <a:pt x="1452" y="330"/>
                  </a:lnTo>
                  <a:lnTo>
                    <a:pt x="1464" y="330"/>
                  </a:lnTo>
                  <a:lnTo>
                    <a:pt x="1464" y="336"/>
                  </a:lnTo>
                  <a:lnTo>
                    <a:pt x="1470" y="336"/>
                  </a:lnTo>
                  <a:lnTo>
                    <a:pt x="1470" y="342"/>
                  </a:lnTo>
                  <a:lnTo>
                    <a:pt x="1476" y="342"/>
                  </a:lnTo>
                  <a:lnTo>
                    <a:pt x="1488" y="336"/>
                  </a:lnTo>
                  <a:lnTo>
                    <a:pt x="1494" y="342"/>
                  </a:lnTo>
                  <a:lnTo>
                    <a:pt x="1500" y="342"/>
                  </a:lnTo>
                  <a:lnTo>
                    <a:pt x="1512" y="366"/>
                  </a:lnTo>
                  <a:lnTo>
                    <a:pt x="1530" y="396"/>
                  </a:lnTo>
                  <a:lnTo>
                    <a:pt x="1536" y="444"/>
                  </a:lnTo>
                  <a:lnTo>
                    <a:pt x="1530" y="480"/>
                  </a:lnTo>
                  <a:lnTo>
                    <a:pt x="1506" y="510"/>
                  </a:lnTo>
                  <a:lnTo>
                    <a:pt x="1500" y="546"/>
                  </a:lnTo>
                  <a:lnTo>
                    <a:pt x="1494" y="564"/>
                  </a:lnTo>
                  <a:lnTo>
                    <a:pt x="1494" y="576"/>
                  </a:lnTo>
                  <a:lnTo>
                    <a:pt x="1500" y="582"/>
                  </a:lnTo>
                  <a:lnTo>
                    <a:pt x="1494" y="612"/>
                  </a:lnTo>
                  <a:lnTo>
                    <a:pt x="1476" y="630"/>
                  </a:lnTo>
                  <a:lnTo>
                    <a:pt x="1434" y="672"/>
                  </a:lnTo>
                  <a:lnTo>
                    <a:pt x="1392" y="756"/>
                  </a:lnTo>
                  <a:lnTo>
                    <a:pt x="1380" y="792"/>
                  </a:lnTo>
                  <a:lnTo>
                    <a:pt x="1374" y="798"/>
                  </a:lnTo>
                  <a:lnTo>
                    <a:pt x="1368" y="798"/>
                  </a:lnTo>
                  <a:lnTo>
                    <a:pt x="1380" y="804"/>
                  </a:lnTo>
                  <a:lnTo>
                    <a:pt x="1386" y="804"/>
                  </a:lnTo>
                  <a:lnTo>
                    <a:pt x="1380" y="822"/>
                  </a:lnTo>
                  <a:lnTo>
                    <a:pt x="1380" y="852"/>
                  </a:lnTo>
                  <a:lnTo>
                    <a:pt x="1374" y="858"/>
                  </a:lnTo>
                  <a:lnTo>
                    <a:pt x="1380" y="858"/>
                  </a:lnTo>
                  <a:lnTo>
                    <a:pt x="1374" y="864"/>
                  </a:lnTo>
                  <a:lnTo>
                    <a:pt x="1374" y="870"/>
                  </a:lnTo>
                  <a:lnTo>
                    <a:pt x="1374" y="876"/>
                  </a:lnTo>
                  <a:lnTo>
                    <a:pt x="1368" y="900"/>
                  </a:lnTo>
                  <a:lnTo>
                    <a:pt x="1362" y="906"/>
                  </a:lnTo>
                  <a:lnTo>
                    <a:pt x="1362" y="918"/>
                  </a:lnTo>
                  <a:lnTo>
                    <a:pt x="1362" y="924"/>
                  </a:lnTo>
                  <a:lnTo>
                    <a:pt x="1356" y="942"/>
                  </a:lnTo>
                  <a:lnTo>
                    <a:pt x="1350" y="972"/>
                  </a:lnTo>
                  <a:lnTo>
                    <a:pt x="1350" y="1014"/>
                  </a:lnTo>
                  <a:lnTo>
                    <a:pt x="1350" y="1020"/>
                  </a:lnTo>
                  <a:close/>
                </a:path>
              </a:pathLst>
            </a:custGeom>
            <a:solidFill>
              <a:srgbClr val="F2F2F2"/>
            </a:solidFill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27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105" name="Freeform 19">
              <a:extLst>
                <a:ext uri="{FF2B5EF4-FFF2-40B4-BE49-F238E27FC236}">
                  <a16:creationId xmlns:a16="http://schemas.microsoft.com/office/drawing/2014/main" id="{AA79AA5B-BD03-4F7B-8566-5DE292FEE24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595814" y="4754563"/>
              <a:ext cx="979487" cy="1441450"/>
            </a:xfrm>
            <a:custGeom>
              <a:avLst/>
              <a:gdLst>
                <a:gd name="T0" fmla="*/ 2147483647 w 1044"/>
                <a:gd name="T1" fmla="*/ 2147483647 h 1542"/>
                <a:gd name="T2" fmla="*/ 2147483647 w 1044"/>
                <a:gd name="T3" fmla="*/ 2147483647 h 1542"/>
                <a:gd name="T4" fmla="*/ 0 w 1044"/>
                <a:gd name="T5" fmla="*/ 2147483647 h 1542"/>
                <a:gd name="T6" fmla="*/ 2147483647 w 1044"/>
                <a:gd name="T7" fmla="*/ 2147483647 h 1542"/>
                <a:gd name="T8" fmla="*/ 2147483647 w 1044"/>
                <a:gd name="T9" fmla="*/ 2147483647 h 1542"/>
                <a:gd name="T10" fmla="*/ 2147483647 w 1044"/>
                <a:gd name="T11" fmla="*/ 2147483647 h 1542"/>
                <a:gd name="T12" fmla="*/ 2147483647 w 1044"/>
                <a:gd name="T13" fmla="*/ 2147483647 h 1542"/>
                <a:gd name="T14" fmla="*/ 2147483647 w 1044"/>
                <a:gd name="T15" fmla="*/ 2147483647 h 1542"/>
                <a:gd name="T16" fmla="*/ 2147483647 w 1044"/>
                <a:gd name="T17" fmla="*/ 2147483647 h 1542"/>
                <a:gd name="T18" fmla="*/ 2147483647 w 1044"/>
                <a:gd name="T19" fmla="*/ 2147483647 h 1542"/>
                <a:gd name="T20" fmla="*/ 2147483647 w 1044"/>
                <a:gd name="T21" fmla="*/ 2147483647 h 1542"/>
                <a:gd name="T22" fmla="*/ 2147483647 w 1044"/>
                <a:gd name="T23" fmla="*/ 2147483647 h 1542"/>
                <a:gd name="T24" fmla="*/ 2147483647 w 1044"/>
                <a:gd name="T25" fmla="*/ 2147483647 h 1542"/>
                <a:gd name="T26" fmla="*/ 2147483647 w 1044"/>
                <a:gd name="T27" fmla="*/ 2147483647 h 1542"/>
                <a:gd name="T28" fmla="*/ 2147483647 w 1044"/>
                <a:gd name="T29" fmla="*/ 2147483647 h 1542"/>
                <a:gd name="T30" fmla="*/ 2147483647 w 1044"/>
                <a:gd name="T31" fmla="*/ 2147483647 h 1542"/>
                <a:gd name="T32" fmla="*/ 2147483647 w 1044"/>
                <a:gd name="T33" fmla="*/ 2147483647 h 1542"/>
                <a:gd name="T34" fmla="*/ 2147483647 w 1044"/>
                <a:gd name="T35" fmla="*/ 2147483647 h 1542"/>
                <a:gd name="T36" fmla="*/ 2147483647 w 1044"/>
                <a:gd name="T37" fmla="*/ 2147483647 h 1542"/>
                <a:gd name="T38" fmla="*/ 2147483647 w 1044"/>
                <a:gd name="T39" fmla="*/ 2147483647 h 1542"/>
                <a:gd name="T40" fmla="*/ 2147483647 w 1044"/>
                <a:gd name="T41" fmla="*/ 2147483647 h 1542"/>
                <a:gd name="T42" fmla="*/ 2147483647 w 1044"/>
                <a:gd name="T43" fmla="*/ 2147483647 h 1542"/>
                <a:gd name="T44" fmla="*/ 2147483647 w 1044"/>
                <a:gd name="T45" fmla="*/ 2147483647 h 1542"/>
                <a:gd name="T46" fmla="*/ 2147483647 w 1044"/>
                <a:gd name="T47" fmla="*/ 2147483647 h 1542"/>
                <a:gd name="T48" fmla="*/ 2147483647 w 1044"/>
                <a:gd name="T49" fmla="*/ 2147483647 h 1542"/>
                <a:gd name="T50" fmla="*/ 2147483647 w 1044"/>
                <a:gd name="T51" fmla="*/ 2147483647 h 1542"/>
                <a:gd name="T52" fmla="*/ 2147483647 w 1044"/>
                <a:gd name="T53" fmla="*/ 2147483647 h 1542"/>
                <a:gd name="T54" fmla="*/ 2147483647 w 1044"/>
                <a:gd name="T55" fmla="*/ 2147483647 h 1542"/>
                <a:gd name="T56" fmla="*/ 2147483647 w 1044"/>
                <a:gd name="T57" fmla="*/ 2147483647 h 1542"/>
                <a:gd name="T58" fmla="*/ 2147483647 w 1044"/>
                <a:gd name="T59" fmla="*/ 2147483647 h 1542"/>
                <a:gd name="T60" fmla="*/ 2147483647 w 1044"/>
                <a:gd name="T61" fmla="*/ 2147483647 h 1542"/>
                <a:gd name="T62" fmla="*/ 2147483647 w 1044"/>
                <a:gd name="T63" fmla="*/ 2147483647 h 1542"/>
                <a:gd name="T64" fmla="*/ 2147483647 w 1044"/>
                <a:gd name="T65" fmla="*/ 2147483647 h 1542"/>
                <a:gd name="T66" fmla="*/ 2147483647 w 1044"/>
                <a:gd name="T67" fmla="*/ 2147483647 h 1542"/>
                <a:gd name="T68" fmla="*/ 2147483647 w 1044"/>
                <a:gd name="T69" fmla="*/ 2147483647 h 1542"/>
                <a:gd name="T70" fmla="*/ 2147483647 w 1044"/>
                <a:gd name="T71" fmla="*/ 2147483647 h 1542"/>
                <a:gd name="T72" fmla="*/ 2147483647 w 1044"/>
                <a:gd name="T73" fmla="*/ 2147483647 h 1542"/>
                <a:gd name="T74" fmla="*/ 2147483647 w 1044"/>
                <a:gd name="T75" fmla="*/ 2147483647 h 1542"/>
                <a:gd name="T76" fmla="*/ 2147483647 w 1044"/>
                <a:gd name="T77" fmla="*/ 2147483647 h 1542"/>
                <a:gd name="T78" fmla="*/ 2147483647 w 1044"/>
                <a:gd name="T79" fmla="*/ 2147483647 h 1542"/>
                <a:gd name="T80" fmla="*/ 2147483647 w 1044"/>
                <a:gd name="T81" fmla="*/ 2147483647 h 1542"/>
                <a:gd name="T82" fmla="*/ 2147483647 w 1044"/>
                <a:gd name="T83" fmla="*/ 2147483647 h 1542"/>
                <a:gd name="T84" fmla="*/ 2147483647 w 1044"/>
                <a:gd name="T85" fmla="*/ 2147483647 h 1542"/>
                <a:gd name="T86" fmla="*/ 2147483647 w 1044"/>
                <a:gd name="T87" fmla="*/ 2147483647 h 1542"/>
                <a:gd name="T88" fmla="*/ 2147483647 w 1044"/>
                <a:gd name="T89" fmla="*/ 2147483647 h 1542"/>
                <a:gd name="T90" fmla="*/ 2147483647 w 1044"/>
                <a:gd name="T91" fmla="*/ 2147483647 h 1542"/>
                <a:gd name="T92" fmla="*/ 2147483647 w 1044"/>
                <a:gd name="T93" fmla="*/ 2147483647 h 1542"/>
                <a:gd name="T94" fmla="*/ 2147483647 w 1044"/>
                <a:gd name="T95" fmla="*/ 2147483647 h 1542"/>
                <a:gd name="T96" fmla="*/ 2147483647 w 1044"/>
                <a:gd name="T97" fmla="*/ 2147483647 h 1542"/>
                <a:gd name="T98" fmla="*/ 2147483647 w 1044"/>
                <a:gd name="T99" fmla="*/ 2147483647 h 1542"/>
                <a:gd name="T100" fmla="*/ 2147483647 w 1044"/>
                <a:gd name="T101" fmla="*/ 2147483647 h 1542"/>
                <a:gd name="T102" fmla="*/ 2147483647 w 1044"/>
                <a:gd name="T103" fmla="*/ 2147483647 h 1542"/>
                <a:gd name="T104" fmla="*/ 2147483647 w 1044"/>
                <a:gd name="T105" fmla="*/ 2147483647 h 1542"/>
                <a:gd name="T106" fmla="*/ 2147483647 w 1044"/>
                <a:gd name="T107" fmla="*/ 2147483647 h 1542"/>
                <a:gd name="T108" fmla="*/ 2147483647 w 1044"/>
                <a:gd name="T109" fmla="*/ 2147483647 h 1542"/>
                <a:gd name="T110" fmla="*/ 2147483647 w 1044"/>
                <a:gd name="T111" fmla="*/ 2147483647 h 1542"/>
                <a:gd name="T112" fmla="*/ 2147483647 w 1044"/>
                <a:gd name="T113" fmla="*/ 2147483647 h 1542"/>
                <a:gd name="T114" fmla="*/ 2147483647 w 1044"/>
                <a:gd name="T115" fmla="*/ 2147483647 h 1542"/>
                <a:gd name="T116" fmla="*/ 2147483647 w 1044"/>
                <a:gd name="T117" fmla="*/ 2147483647 h 1542"/>
                <a:gd name="T118" fmla="*/ 2147483647 w 1044"/>
                <a:gd name="T119" fmla="*/ 2147483647 h 1542"/>
                <a:gd name="T120" fmla="*/ 2147483647 w 1044"/>
                <a:gd name="T121" fmla="*/ 2147483647 h 1542"/>
                <a:gd name="T122" fmla="*/ 2147483647 w 1044"/>
                <a:gd name="T123" fmla="*/ 2147483647 h 15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4"/>
                <a:gd name="T187" fmla="*/ 0 h 1542"/>
                <a:gd name="T188" fmla="*/ 1044 w 1044"/>
                <a:gd name="T189" fmla="*/ 1542 h 154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4" h="1542">
                  <a:moveTo>
                    <a:pt x="234" y="1278"/>
                  </a:moveTo>
                  <a:lnTo>
                    <a:pt x="228" y="1272"/>
                  </a:lnTo>
                  <a:lnTo>
                    <a:pt x="222" y="1266"/>
                  </a:lnTo>
                  <a:lnTo>
                    <a:pt x="222" y="1260"/>
                  </a:lnTo>
                  <a:lnTo>
                    <a:pt x="204" y="1248"/>
                  </a:lnTo>
                  <a:lnTo>
                    <a:pt x="192" y="1248"/>
                  </a:lnTo>
                  <a:lnTo>
                    <a:pt x="186" y="1236"/>
                  </a:lnTo>
                  <a:lnTo>
                    <a:pt x="174" y="1218"/>
                  </a:lnTo>
                  <a:lnTo>
                    <a:pt x="162" y="1194"/>
                  </a:lnTo>
                  <a:lnTo>
                    <a:pt x="156" y="1182"/>
                  </a:lnTo>
                  <a:lnTo>
                    <a:pt x="162" y="1146"/>
                  </a:lnTo>
                  <a:lnTo>
                    <a:pt x="156" y="1134"/>
                  </a:lnTo>
                  <a:lnTo>
                    <a:pt x="138" y="1122"/>
                  </a:lnTo>
                  <a:lnTo>
                    <a:pt x="132" y="1116"/>
                  </a:lnTo>
                  <a:lnTo>
                    <a:pt x="138" y="1098"/>
                  </a:lnTo>
                  <a:lnTo>
                    <a:pt x="138" y="1092"/>
                  </a:lnTo>
                  <a:lnTo>
                    <a:pt x="138" y="1086"/>
                  </a:lnTo>
                  <a:lnTo>
                    <a:pt x="132" y="1074"/>
                  </a:lnTo>
                  <a:lnTo>
                    <a:pt x="126" y="1074"/>
                  </a:lnTo>
                  <a:lnTo>
                    <a:pt x="126" y="1068"/>
                  </a:lnTo>
                  <a:lnTo>
                    <a:pt x="120" y="1062"/>
                  </a:lnTo>
                  <a:lnTo>
                    <a:pt x="120" y="1056"/>
                  </a:lnTo>
                  <a:lnTo>
                    <a:pt x="114" y="1050"/>
                  </a:lnTo>
                  <a:lnTo>
                    <a:pt x="108" y="1050"/>
                  </a:lnTo>
                  <a:lnTo>
                    <a:pt x="102" y="1056"/>
                  </a:lnTo>
                  <a:lnTo>
                    <a:pt x="102" y="1062"/>
                  </a:lnTo>
                  <a:lnTo>
                    <a:pt x="96" y="1062"/>
                  </a:lnTo>
                  <a:lnTo>
                    <a:pt x="96" y="1068"/>
                  </a:lnTo>
                  <a:lnTo>
                    <a:pt x="96" y="1074"/>
                  </a:lnTo>
                  <a:lnTo>
                    <a:pt x="90" y="1074"/>
                  </a:lnTo>
                  <a:lnTo>
                    <a:pt x="84" y="1080"/>
                  </a:lnTo>
                  <a:lnTo>
                    <a:pt x="78" y="1074"/>
                  </a:lnTo>
                  <a:lnTo>
                    <a:pt x="72" y="1074"/>
                  </a:lnTo>
                  <a:lnTo>
                    <a:pt x="72" y="1068"/>
                  </a:lnTo>
                  <a:lnTo>
                    <a:pt x="72" y="1062"/>
                  </a:lnTo>
                  <a:lnTo>
                    <a:pt x="60" y="1056"/>
                  </a:lnTo>
                  <a:lnTo>
                    <a:pt x="60" y="1044"/>
                  </a:lnTo>
                  <a:lnTo>
                    <a:pt x="60" y="1032"/>
                  </a:lnTo>
                  <a:lnTo>
                    <a:pt x="60" y="1026"/>
                  </a:lnTo>
                  <a:lnTo>
                    <a:pt x="54" y="1026"/>
                  </a:lnTo>
                  <a:lnTo>
                    <a:pt x="48" y="1014"/>
                  </a:lnTo>
                  <a:lnTo>
                    <a:pt x="42" y="1008"/>
                  </a:lnTo>
                  <a:lnTo>
                    <a:pt x="30" y="1008"/>
                  </a:lnTo>
                  <a:lnTo>
                    <a:pt x="30" y="1002"/>
                  </a:lnTo>
                  <a:lnTo>
                    <a:pt x="24" y="1008"/>
                  </a:lnTo>
                  <a:lnTo>
                    <a:pt x="12" y="1008"/>
                  </a:lnTo>
                  <a:lnTo>
                    <a:pt x="6" y="1008"/>
                  </a:lnTo>
                  <a:lnTo>
                    <a:pt x="0" y="1008"/>
                  </a:lnTo>
                  <a:lnTo>
                    <a:pt x="0" y="1002"/>
                  </a:lnTo>
                  <a:lnTo>
                    <a:pt x="6" y="990"/>
                  </a:lnTo>
                  <a:lnTo>
                    <a:pt x="6" y="984"/>
                  </a:lnTo>
                  <a:lnTo>
                    <a:pt x="0" y="978"/>
                  </a:lnTo>
                  <a:lnTo>
                    <a:pt x="6" y="972"/>
                  </a:lnTo>
                  <a:lnTo>
                    <a:pt x="12" y="972"/>
                  </a:lnTo>
                  <a:lnTo>
                    <a:pt x="72" y="978"/>
                  </a:lnTo>
                  <a:lnTo>
                    <a:pt x="78" y="972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30"/>
                  </a:lnTo>
                  <a:lnTo>
                    <a:pt x="54" y="912"/>
                  </a:lnTo>
                  <a:lnTo>
                    <a:pt x="42" y="906"/>
                  </a:lnTo>
                  <a:lnTo>
                    <a:pt x="36" y="894"/>
                  </a:lnTo>
                  <a:lnTo>
                    <a:pt x="30" y="876"/>
                  </a:lnTo>
                  <a:lnTo>
                    <a:pt x="30" y="858"/>
                  </a:lnTo>
                  <a:lnTo>
                    <a:pt x="30" y="840"/>
                  </a:lnTo>
                  <a:lnTo>
                    <a:pt x="36" y="816"/>
                  </a:lnTo>
                  <a:lnTo>
                    <a:pt x="36" y="792"/>
                  </a:lnTo>
                  <a:lnTo>
                    <a:pt x="36" y="780"/>
                  </a:lnTo>
                  <a:lnTo>
                    <a:pt x="12" y="774"/>
                  </a:lnTo>
                  <a:lnTo>
                    <a:pt x="24" y="756"/>
                  </a:lnTo>
                  <a:lnTo>
                    <a:pt x="24" y="744"/>
                  </a:lnTo>
                  <a:lnTo>
                    <a:pt x="30" y="738"/>
                  </a:lnTo>
                  <a:lnTo>
                    <a:pt x="30" y="732"/>
                  </a:lnTo>
                  <a:lnTo>
                    <a:pt x="36" y="720"/>
                  </a:lnTo>
                  <a:lnTo>
                    <a:pt x="42" y="714"/>
                  </a:lnTo>
                  <a:lnTo>
                    <a:pt x="54" y="708"/>
                  </a:lnTo>
                  <a:lnTo>
                    <a:pt x="60" y="702"/>
                  </a:lnTo>
                  <a:lnTo>
                    <a:pt x="48" y="690"/>
                  </a:lnTo>
                  <a:lnTo>
                    <a:pt x="48" y="684"/>
                  </a:lnTo>
                  <a:lnTo>
                    <a:pt x="48" y="678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66"/>
                  </a:lnTo>
                  <a:lnTo>
                    <a:pt x="72" y="654"/>
                  </a:lnTo>
                  <a:lnTo>
                    <a:pt x="72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84" y="630"/>
                  </a:lnTo>
                  <a:lnTo>
                    <a:pt x="90" y="630"/>
                  </a:lnTo>
                  <a:lnTo>
                    <a:pt x="96" y="630"/>
                  </a:lnTo>
                  <a:lnTo>
                    <a:pt x="96" y="624"/>
                  </a:lnTo>
                  <a:lnTo>
                    <a:pt x="90" y="624"/>
                  </a:lnTo>
                  <a:lnTo>
                    <a:pt x="84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90" y="600"/>
                  </a:lnTo>
                  <a:lnTo>
                    <a:pt x="84" y="600"/>
                  </a:lnTo>
                  <a:lnTo>
                    <a:pt x="78" y="594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126" y="564"/>
                  </a:lnTo>
                  <a:lnTo>
                    <a:pt x="144" y="564"/>
                  </a:lnTo>
                  <a:lnTo>
                    <a:pt x="156" y="582"/>
                  </a:lnTo>
                  <a:lnTo>
                    <a:pt x="162" y="600"/>
                  </a:lnTo>
                  <a:lnTo>
                    <a:pt x="180" y="588"/>
                  </a:lnTo>
                  <a:lnTo>
                    <a:pt x="192" y="588"/>
                  </a:lnTo>
                  <a:lnTo>
                    <a:pt x="198" y="588"/>
                  </a:lnTo>
                  <a:lnTo>
                    <a:pt x="210" y="582"/>
                  </a:lnTo>
                  <a:lnTo>
                    <a:pt x="216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58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46" y="558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58" y="570"/>
                  </a:lnTo>
                  <a:lnTo>
                    <a:pt x="264" y="570"/>
                  </a:lnTo>
                  <a:lnTo>
                    <a:pt x="270" y="564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46"/>
                  </a:lnTo>
                  <a:lnTo>
                    <a:pt x="276" y="540"/>
                  </a:lnTo>
                  <a:lnTo>
                    <a:pt x="276" y="534"/>
                  </a:lnTo>
                  <a:lnTo>
                    <a:pt x="276" y="528"/>
                  </a:lnTo>
                  <a:lnTo>
                    <a:pt x="282" y="528"/>
                  </a:lnTo>
                  <a:lnTo>
                    <a:pt x="282" y="522"/>
                  </a:lnTo>
                  <a:lnTo>
                    <a:pt x="282" y="516"/>
                  </a:lnTo>
                  <a:lnTo>
                    <a:pt x="282" y="510"/>
                  </a:lnTo>
                  <a:lnTo>
                    <a:pt x="282" y="504"/>
                  </a:lnTo>
                  <a:lnTo>
                    <a:pt x="282" y="492"/>
                  </a:lnTo>
                  <a:lnTo>
                    <a:pt x="288" y="486"/>
                  </a:lnTo>
                  <a:lnTo>
                    <a:pt x="300" y="480"/>
                  </a:lnTo>
                  <a:lnTo>
                    <a:pt x="306" y="462"/>
                  </a:lnTo>
                  <a:lnTo>
                    <a:pt x="318" y="444"/>
                  </a:lnTo>
                  <a:lnTo>
                    <a:pt x="330" y="444"/>
                  </a:lnTo>
                  <a:lnTo>
                    <a:pt x="330" y="432"/>
                  </a:lnTo>
                  <a:lnTo>
                    <a:pt x="342" y="432"/>
                  </a:lnTo>
                  <a:lnTo>
                    <a:pt x="354" y="402"/>
                  </a:lnTo>
                  <a:lnTo>
                    <a:pt x="348" y="390"/>
                  </a:lnTo>
                  <a:lnTo>
                    <a:pt x="336" y="384"/>
                  </a:lnTo>
                  <a:lnTo>
                    <a:pt x="336" y="360"/>
                  </a:lnTo>
                  <a:lnTo>
                    <a:pt x="336" y="354"/>
                  </a:lnTo>
                  <a:lnTo>
                    <a:pt x="336" y="342"/>
                  </a:lnTo>
                  <a:lnTo>
                    <a:pt x="342" y="336"/>
                  </a:lnTo>
                  <a:lnTo>
                    <a:pt x="342" y="324"/>
                  </a:lnTo>
                  <a:lnTo>
                    <a:pt x="372" y="324"/>
                  </a:lnTo>
                  <a:lnTo>
                    <a:pt x="378" y="324"/>
                  </a:lnTo>
                  <a:lnTo>
                    <a:pt x="378" y="318"/>
                  </a:lnTo>
                  <a:lnTo>
                    <a:pt x="372" y="312"/>
                  </a:lnTo>
                  <a:lnTo>
                    <a:pt x="378" y="312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84" y="300"/>
                  </a:lnTo>
                  <a:lnTo>
                    <a:pt x="384" y="294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66" y="294"/>
                  </a:lnTo>
                  <a:lnTo>
                    <a:pt x="366" y="288"/>
                  </a:lnTo>
                  <a:lnTo>
                    <a:pt x="372" y="288"/>
                  </a:lnTo>
                  <a:lnTo>
                    <a:pt x="372" y="282"/>
                  </a:lnTo>
                  <a:lnTo>
                    <a:pt x="366" y="276"/>
                  </a:lnTo>
                  <a:lnTo>
                    <a:pt x="360" y="270"/>
                  </a:lnTo>
                  <a:lnTo>
                    <a:pt x="360" y="264"/>
                  </a:lnTo>
                  <a:lnTo>
                    <a:pt x="354" y="264"/>
                  </a:lnTo>
                  <a:lnTo>
                    <a:pt x="348" y="258"/>
                  </a:lnTo>
                  <a:lnTo>
                    <a:pt x="354" y="258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40"/>
                  </a:lnTo>
                  <a:lnTo>
                    <a:pt x="354" y="240"/>
                  </a:lnTo>
                  <a:lnTo>
                    <a:pt x="342" y="234"/>
                  </a:lnTo>
                  <a:lnTo>
                    <a:pt x="342" y="228"/>
                  </a:lnTo>
                  <a:lnTo>
                    <a:pt x="348" y="228"/>
                  </a:lnTo>
                  <a:lnTo>
                    <a:pt x="342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6" y="216"/>
                  </a:lnTo>
                  <a:lnTo>
                    <a:pt x="330" y="222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24" y="210"/>
                  </a:lnTo>
                  <a:lnTo>
                    <a:pt x="318" y="210"/>
                  </a:lnTo>
                  <a:lnTo>
                    <a:pt x="318" y="204"/>
                  </a:lnTo>
                  <a:lnTo>
                    <a:pt x="312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294" y="192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300" y="174"/>
                  </a:lnTo>
                  <a:lnTo>
                    <a:pt x="300" y="168"/>
                  </a:lnTo>
                  <a:lnTo>
                    <a:pt x="300" y="162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88" y="150"/>
                  </a:lnTo>
                  <a:lnTo>
                    <a:pt x="288" y="144"/>
                  </a:lnTo>
                  <a:lnTo>
                    <a:pt x="282" y="144"/>
                  </a:lnTo>
                  <a:lnTo>
                    <a:pt x="282" y="138"/>
                  </a:lnTo>
                  <a:lnTo>
                    <a:pt x="312" y="132"/>
                  </a:lnTo>
                  <a:lnTo>
                    <a:pt x="324" y="120"/>
                  </a:lnTo>
                  <a:lnTo>
                    <a:pt x="330" y="114"/>
                  </a:lnTo>
                  <a:lnTo>
                    <a:pt x="336" y="102"/>
                  </a:lnTo>
                  <a:lnTo>
                    <a:pt x="348" y="90"/>
                  </a:lnTo>
                  <a:lnTo>
                    <a:pt x="360" y="84"/>
                  </a:lnTo>
                  <a:lnTo>
                    <a:pt x="372" y="84"/>
                  </a:lnTo>
                  <a:lnTo>
                    <a:pt x="378" y="84"/>
                  </a:lnTo>
                  <a:lnTo>
                    <a:pt x="384" y="90"/>
                  </a:lnTo>
                  <a:lnTo>
                    <a:pt x="402" y="90"/>
                  </a:lnTo>
                  <a:lnTo>
                    <a:pt x="438" y="84"/>
                  </a:lnTo>
                  <a:lnTo>
                    <a:pt x="456" y="84"/>
                  </a:lnTo>
                  <a:lnTo>
                    <a:pt x="462" y="78"/>
                  </a:lnTo>
                  <a:lnTo>
                    <a:pt x="486" y="72"/>
                  </a:lnTo>
                  <a:lnTo>
                    <a:pt x="492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04" y="54"/>
                  </a:lnTo>
                  <a:lnTo>
                    <a:pt x="510" y="42"/>
                  </a:lnTo>
                  <a:lnTo>
                    <a:pt x="504" y="42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498" y="30"/>
                  </a:lnTo>
                  <a:lnTo>
                    <a:pt x="492" y="30"/>
                  </a:lnTo>
                  <a:lnTo>
                    <a:pt x="492" y="24"/>
                  </a:lnTo>
                  <a:lnTo>
                    <a:pt x="486" y="18"/>
                  </a:lnTo>
                  <a:lnTo>
                    <a:pt x="498" y="18"/>
                  </a:lnTo>
                  <a:lnTo>
                    <a:pt x="510" y="18"/>
                  </a:lnTo>
                  <a:lnTo>
                    <a:pt x="522" y="12"/>
                  </a:lnTo>
                  <a:lnTo>
                    <a:pt x="528" y="6"/>
                  </a:lnTo>
                  <a:lnTo>
                    <a:pt x="570" y="0"/>
                  </a:lnTo>
                  <a:lnTo>
                    <a:pt x="606" y="6"/>
                  </a:lnTo>
                  <a:lnTo>
                    <a:pt x="654" y="24"/>
                  </a:lnTo>
                  <a:lnTo>
                    <a:pt x="666" y="36"/>
                  </a:lnTo>
                  <a:lnTo>
                    <a:pt x="672" y="30"/>
                  </a:lnTo>
                  <a:lnTo>
                    <a:pt x="690" y="42"/>
                  </a:lnTo>
                  <a:lnTo>
                    <a:pt x="702" y="48"/>
                  </a:lnTo>
                  <a:lnTo>
                    <a:pt x="714" y="60"/>
                  </a:lnTo>
                  <a:lnTo>
                    <a:pt x="714" y="66"/>
                  </a:lnTo>
                  <a:lnTo>
                    <a:pt x="720" y="72"/>
                  </a:lnTo>
                  <a:lnTo>
                    <a:pt x="720" y="78"/>
                  </a:lnTo>
                  <a:lnTo>
                    <a:pt x="720" y="102"/>
                  </a:lnTo>
                  <a:lnTo>
                    <a:pt x="720" y="108"/>
                  </a:lnTo>
                  <a:lnTo>
                    <a:pt x="714" y="108"/>
                  </a:lnTo>
                  <a:lnTo>
                    <a:pt x="714" y="126"/>
                  </a:lnTo>
                  <a:lnTo>
                    <a:pt x="732" y="126"/>
                  </a:lnTo>
                  <a:lnTo>
                    <a:pt x="726" y="132"/>
                  </a:lnTo>
                  <a:lnTo>
                    <a:pt x="738" y="132"/>
                  </a:lnTo>
                  <a:lnTo>
                    <a:pt x="738" y="138"/>
                  </a:lnTo>
                  <a:lnTo>
                    <a:pt x="738" y="144"/>
                  </a:lnTo>
                  <a:lnTo>
                    <a:pt x="744" y="144"/>
                  </a:lnTo>
                  <a:lnTo>
                    <a:pt x="744" y="150"/>
                  </a:lnTo>
                  <a:lnTo>
                    <a:pt x="756" y="156"/>
                  </a:lnTo>
                  <a:lnTo>
                    <a:pt x="768" y="156"/>
                  </a:lnTo>
                  <a:lnTo>
                    <a:pt x="780" y="156"/>
                  </a:lnTo>
                  <a:lnTo>
                    <a:pt x="792" y="150"/>
                  </a:lnTo>
                  <a:lnTo>
                    <a:pt x="786" y="150"/>
                  </a:lnTo>
                  <a:lnTo>
                    <a:pt x="786" y="144"/>
                  </a:lnTo>
                  <a:lnTo>
                    <a:pt x="804" y="144"/>
                  </a:lnTo>
                  <a:lnTo>
                    <a:pt x="816" y="132"/>
                  </a:lnTo>
                  <a:lnTo>
                    <a:pt x="822" y="126"/>
                  </a:lnTo>
                  <a:lnTo>
                    <a:pt x="828" y="132"/>
                  </a:lnTo>
                  <a:lnTo>
                    <a:pt x="834" y="126"/>
                  </a:lnTo>
                  <a:lnTo>
                    <a:pt x="834" y="120"/>
                  </a:lnTo>
                  <a:lnTo>
                    <a:pt x="924" y="108"/>
                  </a:lnTo>
                  <a:lnTo>
                    <a:pt x="942" y="144"/>
                  </a:lnTo>
                  <a:lnTo>
                    <a:pt x="948" y="144"/>
                  </a:lnTo>
                  <a:lnTo>
                    <a:pt x="960" y="168"/>
                  </a:lnTo>
                  <a:lnTo>
                    <a:pt x="972" y="186"/>
                  </a:lnTo>
                  <a:lnTo>
                    <a:pt x="984" y="192"/>
                  </a:lnTo>
                  <a:lnTo>
                    <a:pt x="996" y="192"/>
                  </a:lnTo>
                  <a:lnTo>
                    <a:pt x="996" y="198"/>
                  </a:lnTo>
                  <a:lnTo>
                    <a:pt x="1008" y="204"/>
                  </a:lnTo>
                  <a:lnTo>
                    <a:pt x="1008" y="210"/>
                  </a:lnTo>
                  <a:lnTo>
                    <a:pt x="1002" y="210"/>
                  </a:lnTo>
                  <a:lnTo>
                    <a:pt x="1008" y="216"/>
                  </a:lnTo>
                  <a:lnTo>
                    <a:pt x="1014" y="210"/>
                  </a:lnTo>
                  <a:lnTo>
                    <a:pt x="1014" y="216"/>
                  </a:lnTo>
                  <a:lnTo>
                    <a:pt x="1020" y="222"/>
                  </a:lnTo>
                  <a:lnTo>
                    <a:pt x="1014" y="228"/>
                  </a:lnTo>
                  <a:lnTo>
                    <a:pt x="1032" y="234"/>
                  </a:lnTo>
                  <a:lnTo>
                    <a:pt x="1044" y="240"/>
                  </a:lnTo>
                  <a:lnTo>
                    <a:pt x="1038" y="246"/>
                  </a:lnTo>
                  <a:lnTo>
                    <a:pt x="1038" y="252"/>
                  </a:lnTo>
                  <a:lnTo>
                    <a:pt x="1038" y="258"/>
                  </a:lnTo>
                  <a:lnTo>
                    <a:pt x="1032" y="264"/>
                  </a:lnTo>
                  <a:lnTo>
                    <a:pt x="1032" y="270"/>
                  </a:lnTo>
                  <a:lnTo>
                    <a:pt x="1032" y="276"/>
                  </a:lnTo>
                  <a:lnTo>
                    <a:pt x="1032" y="282"/>
                  </a:lnTo>
                  <a:lnTo>
                    <a:pt x="1026" y="282"/>
                  </a:lnTo>
                  <a:lnTo>
                    <a:pt x="1026" y="288"/>
                  </a:lnTo>
                  <a:lnTo>
                    <a:pt x="1026" y="294"/>
                  </a:lnTo>
                  <a:lnTo>
                    <a:pt x="1026" y="300"/>
                  </a:lnTo>
                  <a:lnTo>
                    <a:pt x="1026" y="306"/>
                  </a:lnTo>
                  <a:lnTo>
                    <a:pt x="1020" y="318"/>
                  </a:lnTo>
                  <a:lnTo>
                    <a:pt x="1020" y="324"/>
                  </a:lnTo>
                  <a:lnTo>
                    <a:pt x="1014" y="324"/>
                  </a:lnTo>
                  <a:lnTo>
                    <a:pt x="1014" y="330"/>
                  </a:lnTo>
                  <a:lnTo>
                    <a:pt x="1014" y="336"/>
                  </a:lnTo>
                  <a:lnTo>
                    <a:pt x="1008" y="366"/>
                  </a:lnTo>
                  <a:lnTo>
                    <a:pt x="1002" y="366"/>
                  </a:lnTo>
                  <a:lnTo>
                    <a:pt x="984" y="354"/>
                  </a:lnTo>
                  <a:lnTo>
                    <a:pt x="978" y="354"/>
                  </a:lnTo>
                  <a:lnTo>
                    <a:pt x="972" y="354"/>
                  </a:lnTo>
                  <a:lnTo>
                    <a:pt x="966" y="348"/>
                  </a:lnTo>
                  <a:lnTo>
                    <a:pt x="954" y="348"/>
                  </a:lnTo>
                  <a:lnTo>
                    <a:pt x="948" y="348"/>
                  </a:lnTo>
                  <a:lnTo>
                    <a:pt x="948" y="360"/>
                  </a:lnTo>
                  <a:lnTo>
                    <a:pt x="948" y="366"/>
                  </a:lnTo>
                  <a:lnTo>
                    <a:pt x="948" y="372"/>
                  </a:lnTo>
                  <a:lnTo>
                    <a:pt x="948" y="378"/>
                  </a:lnTo>
                  <a:lnTo>
                    <a:pt x="948" y="384"/>
                  </a:lnTo>
                  <a:lnTo>
                    <a:pt x="942" y="384"/>
                  </a:lnTo>
                  <a:lnTo>
                    <a:pt x="942" y="390"/>
                  </a:lnTo>
                  <a:lnTo>
                    <a:pt x="936" y="390"/>
                  </a:lnTo>
                  <a:lnTo>
                    <a:pt x="942" y="390"/>
                  </a:lnTo>
                  <a:lnTo>
                    <a:pt x="936" y="396"/>
                  </a:lnTo>
                  <a:lnTo>
                    <a:pt x="930" y="402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2" y="432"/>
                  </a:lnTo>
                  <a:lnTo>
                    <a:pt x="900" y="450"/>
                  </a:lnTo>
                  <a:lnTo>
                    <a:pt x="894" y="456"/>
                  </a:lnTo>
                  <a:lnTo>
                    <a:pt x="888" y="456"/>
                  </a:lnTo>
                  <a:lnTo>
                    <a:pt x="882" y="456"/>
                  </a:lnTo>
                  <a:lnTo>
                    <a:pt x="876" y="456"/>
                  </a:lnTo>
                  <a:lnTo>
                    <a:pt x="864" y="462"/>
                  </a:lnTo>
                  <a:lnTo>
                    <a:pt x="852" y="474"/>
                  </a:lnTo>
                  <a:lnTo>
                    <a:pt x="846" y="480"/>
                  </a:lnTo>
                  <a:lnTo>
                    <a:pt x="840" y="486"/>
                  </a:lnTo>
                  <a:lnTo>
                    <a:pt x="834" y="498"/>
                  </a:lnTo>
                  <a:lnTo>
                    <a:pt x="828" y="510"/>
                  </a:lnTo>
                  <a:lnTo>
                    <a:pt x="816" y="522"/>
                  </a:lnTo>
                  <a:lnTo>
                    <a:pt x="798" y="540"/>
                  </a:lnTo>
                  <a:lnTo>
                    <a:pt x="780" y="558"/>
                  </a:lnTo>
                  <a:lnTo>
                    <a:pt x="774" y="558"/>
                  </a:lnTo>
                  <a:lnTo>
                    <a:pt x="756" y="576"/>
                  </a:lnTo>
                  <a:lnTo>
                    <a:pt x="732" y="600"/>
                  </a:lnTo>
                  <a:lnTo>
                    <a:pt x="726" y="600"/>
                  </a:lnTo>
                  <a:lnTo>
                    <a:pt x="720" y="606"/>
                  </a:lnTo>
                  <a:lnTo>
                    <a:pt x="714" y="612"/>
                  </a:lnTo>
                  <a:lnTo>
                    <a:pt x="690" y="630"/>
                  </a:lnTo>
                  <a:lnTo>
                    <a:pt x="678" y="636"/>
                  </a:lnTo>
                  <a:lnTo>
                    <a:pt x="672" y="642"/>
                  </a:lnTo>
                  <a:lnTo>
                    <a:pt x="660" y="660"/>
                  </a:lnTo>
                  <a:lnTo>
                    <a:pt x="642" y="666"/>
                  </a:lnTo>
                  <a:lnTo>
                    <a:pt x="636" y="678"/>
                  </a:lnTo>
                  <a:lnTo>
                    <a:pt x="630" y="678"/>
                  </a:lnTo>
                  <a:lnTo>
                    <a:pt x="630" y="684"/>
                  </a:lnTo>
                  <a:lnTo>
                    <a:pt x="630" y="690"/>
                  </a:lnTo>
                  <a:lnTo>
                    <a:pt x="636" y="696"/>
                  </a:lnTo>
                  <a:lnTo>
                    <a:pt x="642" y="696"/>
                  </a:lnTo>
                  <a:lnTo>
                    <a:pt x="648" y="702"/>
                  </a:lnTo>
                  <a:lnTo>
                    <a:pt x="648" y="708"/>
                  </a:lnTo>
                  <a:lnTo>
                    <a:pt x="642" y="708"/>
                  </a:lnTo>
                  <a:lnTo>
                    <a:pt x="636" y="714"/>
                  </a:lnTo>
                  <a:lnTo>
                    <a:pt x="636" y="720"/>
                  </a:lnTo>
                  <a:lnTo>
                    <a:pt x="642" y="726"/>
                  </a:lnTo>
                  <a:lnTo>
                    <a:pt x="636" y="738"/>
                  </a:lnTo>
                  <a:lnTo>
                    <a:pt x="618" y="756"/>
                  </a:lnTo>
                  <a:lnTo>
                    <a:pt x="612" y="750"/>
                  </a:lnTo>
                  <a:lnTo>
                    <a:pt x="612" y="756"/>
                  </a:lnTo>
                  <a:lnTo>
                    <a:pt x="618" y="762"/>
                  </a:lnTo>
                  <a:lnTo>
                    <a:pt x="618" y="768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36" y="786"/>
                  </a:lnTo>
                  <a:lnTo>
                    <a:pt x="642" y="792"/>
                  </a:lnTo>
                  <a:lnTo>
                    <a:pt x="642" y="798"/>
                  </a:lnTo>
                  <a:lnTo>
                    <a:pt x="648" y="804"/>
                  </a:lnTo>
                  <a:lnTo>
                    <a:pt x="654" y="810"/>
                  </a:lnTo>
                  <a:lnTo>
                    <a:pt x="660" y="816"/>
                  </a:lnTo>
                  <a:lnTo>
                    <a:pt x="666" y="816"/>
                  </a:lnTo>
                  <a:lnTo>
                    <a:pt x="666" y="822"/>
                  </a:lnTo>
                  <a:lnTo>
                    <a:pt x="672" y="828"/>
                  </a:lnTo>
                  <a:lnTo>
                    <a:pt x="672" y="840"/>
                  </a:lnTo>
                  <a:lnTo>
                    <a:pt x="672" y="846"/>
                  </a:lnTo>
                  <a:lnTo>
                    <a:pt x="666" y="852"/>
                  </a:lnTo>
                  <a:lnTo>
                    <a:pt x="660" y="864"/>
                  </a:lnTo>
                  <a:lnTo>
                    <a:pt x="654" y="876"/>
                  </a:lnTo>
                  <a:lnTo>
                    <a:pt x="648" y="882"/>
                  </a:lnTo>
                  <a:lnTo>
                    <a:pt x="642" y="888"/>
                  </a:lnTo>
                  <a:lnTo>
                    <a:pt x="642" y="894"/>
                  </a:lnTo>
                  <a:lnTo>
                    <a:pt x="642" y="906"/>
                  </a:lnTo>
                  <a:lnTo>
                    <a:pt x="630" y="918"/>
                  </a:lnTo>
                  <a:lnTo>
                    <a:pt x="630" y="924"/>
                  </a:lnTo>
                  <a:lnTo>
                    <a:pt x="624" y="930"/>
                  </a:lnTo>
                  <a:lnTo>
                    <a:pt x="630" y="936"/>
                  </a:lnTo>
                  <a:lnTo>
                    <a:pt x="630" y="942"/>
                  </a:lnTo>
                  <a:lnTo>
                    <a:pt x="630" y="948"/>
                  </a:lnTo>
                  <a:lnTo>
                    <a:pt x="630" y="954"/>
                  </a:lnTo>
                  <a:lnTo>
                    <a:pt x="630" y="960"/>
                  </a:lnTo>
                  <a:lnTo>
                    <a:pt x="624" y="966"/>
                  </a:lnTo>
                  <a:lnTo>
                    <a:pt x="618" y="990"/>
                  </a:lnTo>
                  <a:lnTo>
                    <a:pt x="618" y="1008"/>
                  </a:lnTo>
                  <a:lnTo>
                    <a:pt x="612" y="1026"/>
                  </a:lnTo>
                  <a:lnTo>
                    <a:pt x="612" y="1038"/>
                  </a:lnTo>
                  <a:lnTo>
                    <a:pt x="612" y="1050"/>
                  </a:lnTo>
                  <a:lnTo>
                    <a:pt x="612" y="1056"/>
                  </a:lnTo>
                  <a:lnTo>
                    <a:pt x="612" y="1062"/>
                  </a:lnTo>
                  <a:lnTo>
                    <a:pt x="612" y="1068"/>
                  </a:lnTo>
                  <a:lnTo>
                    <a:pt x="612" y="1086"/>
                  </a:lnTo>
                  <a:lnTo>
                    <a:pt x="612" y="1092"/>
                  </a:lnTo>
                  <a:lnTo>
                    <a:pt x="606" y="1098"/>
                  </a:lnTo>
                  <a:lnTo>
                    <a:pt x="600" y="1110"/>
                  </a:lnTo>
                  <a:lnTo>
                    <a:pt x="600" y="1116"/>
                  </a:lnTo>
                  <a:lnTo>
                    <a:pt x="594" y="1122"/>
                  </a:lnTo>
                  <a:lnTo>
                    <a:pt x="594" y="1128"/>
                  </a:lnTo>
                  <a:lnTo>
                    <a:pt x="588" y="1134"/>
                  </a:lnTo>
                  <a:lnTo>
                    <a:pt x="582" y="1140"/>
                  </a:lnTo>
                  <a:lnTo>
                    <a:pt x="570" y="1140"/>
                  </a:lnTo>
                  <a:lnTo>
                    <a:pt x="564" y="1146"/>
                  </a:lnTo>
                  <a:lnTo>
                    <a:pt x="570" y="1146"/>
                  </a:lnTo>
                  <a:lnTo>
                    <a:pt x="564" y="1152"/>
                  </a:lnTo>
                  <a:lnTo>
                    <a:pt x="558" y="1158"/>
                  </a:lnTo>
                  <a:lnTo>
                    <a:pt x="552" y="1164"/>
                  </a:lnTo>
                  <a:lnTo>
                    <a:pt x="552" y="1170"/>
                  </a:lnTo>
                  <a:lnTo>
                    <a:pt x="546" y="1176"/>
                  </a:lnTo>
                  <a:lnTo>
                    <a:pt x="546" y="1182"/>
                  </a:lnTo>
                  <a:lnTo>
                    <a:pt x="546" y="1188"/>
                  </a:lnTo>
                  <a:lnTo>
                    <a:pt x="540" y="1188"/>
                  </a:lnTo>
                  <a:lnTo>
                    <a:pt x="540" y="1194"/>
                  </a:lnTo>
                  <a:lnTo>
                    <a:pt x="528" y="1206"/>
                  </a:lnTo>
                  <a:lnTo>
                    <a:pt x="528" y="1212"/>
                  </a:lnTo>
                  <a:lnTo>
                    <a:pt x="534" y="1212"/>
                  </a:lnTo>
                  <a:lnTo>
                    <a:pt x="540" y="1218"/>
                  </a:lnTo>
                  <a:lnTo>
                    <a:pt x="534" y="1218"/>
                  </a:lnTo>
                  <a:lnTo>
                    <a:pt x="528" y="1218"/>
                  </a:lnTo>
                  <a:lnTo>
                    <a:pt x="528" y="1224"/>
                  </a:lnTo>
                  <a:lnTo>
                    <a:pt x="522" y="1230"/>
                  </a:lnTo>
                  <a:lnTo>
                    <a:pt x="516" y="1236"/>
                  </a:lnTo>
                  <a:lnTo>
                    <a:pt x="522" y="1236"/>
                  </a:lnTo>
                  <a:lnTo>
                    <a:pt x="516" y="1242"/>
                  </a:lnTo>
                  <a:lnTo>
                    <a:pt x="510" y="1242"/>
                  </a:lnTo>
                  <a:lnTo>
                    <a:pt x="504" y="1248"/>
                  </a:lnTo>
                  <a:lnTo>
                    <a:pt x="510" y="1260"/>
                  </a:lnTo>
                  <a:lnTo>
                    <a:pt x="504" y="1266"/>
                  </a:lnTo>
                  <a:lnTo>
                    <a:pt x="492" y="1266"/>
                  </a:lnTo>
                  <a:lnTo>
                    <a:pt x="486" y="1272"/>
                  </a:lnTo>
                  <a:lnTo>
                    <a:pt x="486" y="1278"/>
                  </a:lnTo>
                  <a:lnTo>
                    <a:pt x="480" y="1278"/>
                  </a:lnTo>
                  <a:lnTo>
                    <a:pt x="480" y="1284"/>
                  </a:lnTo>
                  <a:lnTo>
                    <a:pt x="480" y="1290"/>
                  </a:lnTo>
                  <a:lnTo>
                    <a:pt x="480" y="1296"/>
                  </a:lnTo>
                  <a:lnTo>
                    <a:pt x="492" y="1302"/>
                  </a:lnTo>
                  <a:lnTo>
                    <a:pt x="492" y="1308"/>
                  </a:lnTo>
                  <a:lnTo>
                    <a:pt x="492" y="1320"/>
                  </a:lnTo>
                  <a:lnTo>
                    <a:pt x="492" y="1332"/>
                  </a:lnTo>
                  <a:lnTo>
                    <a:pt x="498" y="1344"/>
                  </a:lnTo>
                  <a:lnTo>
                    <a:pt x="498" y="1350"/>
                  </a:lnTo>
                  <a:lnTo>
                    <a:pt x="498" y="1356"/>
                  </a:lnTo>
                  <a:lnTo>
                    <a:pt x="504" y="1362"/>
                  </a:lnTo>
                  <a:lnTo>
                    <a:pt x="498" y="1362"/>
                  </a:lnTo>
                  <a:lnTo>
                    <a:pt x="498" y="1368"/>
                  </a:lnTo>
                  <a:lnTo>
                    <a:pt x="492" y="1368"/>
                  </a:lnTo>
                  <a:lnTo>
                    <a:pt x="492" y="1374"/>
                  </a:lnTo>
                  <a:lnTo>
                    <a:pt x="492" y="1380"/>
                  </a:lnTo>
                  <a:lnTo>
                    <a:pt x="498" y="1380"/>
                  </a:lnTo>
                  <a:lnTo>
                    <a:pt x="504" y="1380"/>
                  </a:lnTo>
                  <a:lnTo>
                    <a:pt x="498" y="1386"/>
                  </a:lnTo>
                  <a:lnTo>
                    <a:pt x="498" y="1392"/>
                  </a:lnTo>
                  <a:lnTo>
                    <a:pt x="498" y="1398"/>
                  </a:lnTo>
                  <a:lnTo>
                    <a:pt x="498" y="1404"/>
                  </a:lnTo>
                  <a:lnTo>
                    <a:pt x="498" y="1410"/>
                  </a:lnTo>
                  <a:lnTo>
                    <a:pt x="498" y="1416"/>
                  </a:lnTo>
                  <a:lnTo>
                    <a:pt x="492" y="1416"/>
                  </a:lnTo>
                  <a:lnTo>
                    <a:pt x="498" y="1416"/>
                  </a:lnTo>
                  <a:lnTo>
                    <a:pt x="504" y="1416"/>
                  </a:lnTo>
                  <a:lnTo>
                    <a:pt x="504" y="1422"/>
                  </a:lnTo>
                  <a:lnTo>
                    <a:pt x="510" y="1428"/>
                  </a:lnTo>
                  <a:lnTo>
                    <a:pt x="510" y="1434"/>
                  </a:lnTo>
                  <a:lnTo>
                    <a:pt x="510" y="1440"/>
                  </a:lnTo>
                  <a:lnTo>
                    <a:pt x="516" y="1446"/>
                  </a:lnTo>
                  <a:lnTo>
                    <a:pt x="516" y="1452"/>
                  </a:lnTo>
                  <a:lnTo>
                    <a:pt x="516" y="1458"/>
                  </a:lnTo>
                  <a:lnTo>
                    <a:pt x="516" y="1464"/>
                  </a:lnTo>
                  <a:lnTo>
                    <a:pt x="516" y="1482"/>
                  </a:lnTo>
                  <a:lnTo>
                    <a:pt x="516" y="1488"/>
                  </a:lnTo>
                  <a:lnTo>
                    <a:pt x="522" y="1488"/>
                  </a:lnTo>
                  <a:lnTo>
                    <a:pt x="522" y="1494"/>
                  </a:lnTo>
                  <a:lnTo>
                    <a:pt x="522" y="1500"/>
                  </a:lnTo>
                  <a:lnTo>
                    <a:pt x="516" y="1506"/>
                  </a:lnTo>
                  <a:lnTo>
                    <a:pt x="510" y="1500"/>
                  </a:lnTo>
                  <a:lnTo>
                    <a:pt x="504" y="1500"/>
                  </a:lnTo>
                  <a:lnTo>
                    <a:pt x="504" y="1494"/>
                  </a:lnTo>
                  <a:lnTo>
                    <a:pt x="504" y="1488"/>
                  </a:lnTo>
                  <a:lnTo>
                    <a:pt x="504" y="1482"/>
                  </a:lnTo>
                  <a:lnTo>
                    <a:pt x="504" y="1488"/>
                  </a:lnTo>
                  <a:lnTo>
                    <a:pt x="504" y="1494"/>
                  </a:lnTo>
                  <a:lnTo>
                    <a:pt x="504" y="1500"/>
                  </a:lnTo>
                  <a:lnTo>
                    <a:pt x="498" y="1500"/>
                  </a:lnTo>
                  <a:lnTo>
                    <a:pt x="492" y="1500"/>
                  </a:lnTo>
                  <a:lnTo>
                    <a:pt x="492" y="1494"/>
                  </a:lnTo>
                  <a:lnTo>
                    <a:pt x="492" y="1488"/>
                  </a:lnTo>
                  <a:lnTo>
                    <a:pt x="492" y="1494"/>
                  </a:lnTo>
                  <a:lnTo>
                    <a:pt x="492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00"/>
                  </a:lnTo>
                  <a:lnTo>
                    <a:pt x="510" y="1500"/>
                  </a:lnTo>
                  <a:lnTo>
                    <a:pt x="510" y="1506"/>
                  </a:lnTo>
                  <a:lnTo>
                    <a:pt x="516" y="1506"/>
                  </a:lnTo>
                  <a:lnTo>
                    <a:pt x="510" y="1506"/>
                  </a:lnTo>
                  <a:lnTo>
                    <a:pt x="510" y="1512"/>
                  </a:lnTo>
                  <a:lnTo>
                    <a:pt x="516" y="1506"/>
                  </a:lnTo>
                  <a:lnTo>
                    <a:pt x="522" y="1506"/>
                  </a:lnTo>
                  <a:lnTo>
                    <a:pt x="528" y="1506"/>
                  </a:lnTo>
                  <a:lnTo>
                    <a:pt x="528" y="1500"/>
                  </a:lnTo>
                  <a:lnTo>
                    <a:pt x="534" y="1500"/>
                  </a:lnTo>
                  <a:lnTo>
                    <a:pt x="534" y="1506"/>
                  </a:lnTo>
                  <a:lnTo>
                    <a:pt x="540" y="1512"/>
                  </a:lnTo>
                  <a:lnTo>
                    <a:pt x="540" y="1518"/>
                  </a:lnTo>
                  <a:lnTo>
                    <a:pt x="546" y="1518"/>
                  </a:lnTo>
                  <a:lnTo>
                    <a:pt x="540" y="1518"/>
                  </a:lnTo>
                  <a:lnTo>
                    <a:pt x="540" y="1524"/>
                  </a:lnTo>
                  <a:lnTo>
                    <a:pt x="534" y="1524"/>
                  </a:lnTo>
                  <a:lnTo>
                    <a:pt x="540" y="1524"/>
                  </a:lnTo>
                  <a:lnTo>
                    <a:pt x="546" y="1524"/>
                  </a:lnTo>
                  <a:lnTo>
                    <a:pt x="546" y="1530"/>
                  </a:lnTo>
                  <a:lnTo>
                    <a:pt x="540" y="1530"/>
                  </a:lnTo>
                  <a:lnTo>
                    <a:pt x="540" y="1536"/>
                  </a:lnTo>
                  <a:lnTo>
                    <a:pt x="534" y="1542"/>
                  </a:lnTo>
                  <a:lnTo>
                    <a:pt x="528" y="1542"/>
                  </a:lnTo>
                  <a:lnTo>
                    <a:pt x="522" y="1542"/>
                  </a:lnTo>
                  <a:lnTo>
                    <a:pt x="516" y="1542"/>
                  </a:lnTo>
                  <a:lnTo>
                    <a:pt x="510" y="1542"/>
                  </a:lnTo>
                  <a:lnTo>
                    <a:pt x="504" y="1542"/>
                  </a:lnTo>
                  <a:lnTo>
                    <a:pt x="492" y="1542"/>
                  </a:lnTo>
                  <a:lnTo>
                    <a:pt x="486" y="1536"/>
                  </a:lnTo>
                  <a:lnTo>
                    <a:pt x="480" y="1536"/>
                  </a:lnTo>
                  <a:lnTo>
                    <a:pt x="468" y="1536"/>
                  </a:lnTo>
                  <a:lnTo>
                    <a:pt x="468" y="1542"/>
                  </a:lnTo>
                  <a:lnTo>
                    <a:pt x="462" y="1542"/>
                  </a:lnTo>
                  <a:lnTo>
                    <a:pt x="456" y="1542"/>
                  </a:lnTo>
                  <a:lnTo>
                    <a:pt x="450" y="1542"/>
                  </a:lnTo>
                  <a:lnTo>
                    <a:pt x="444" y="1542"/>
                  </a:lnTo>
                  <a:lnTo>
                    <a:pt x="444" y="1536"/>
                  </a:lnTo>
                  <a:lnTo>
                    <a:pt x="450" y="1536"/>
                  </a:lnTo>
                  <a:lnTo>
                    <a:pt x="456" y="1536"/>
                  </a:lnTo>
                  <a:lnTo>
                    <a:pt x="450" y="1536"/>
                  </a:lnTo>
                  <a:lnTo>
                    <a:pt x="444" y="1536"/>
                  </a:lnTo>
                  <a:lnTo>
                    <a:pt x="444" y="1530"/>
                  </a:lnTo>
                  <a:lnTo>
                    <a:pt x="450" y="1530"/>
                  </a:lnTo>
                  <a:lnTo>
                    <a:pt x="456" y="1524"/>
                  </a:lnTo>
                  <a:lnTo>
                    <a:pt x="456" y="1518"/>
                  </a:lnTo>
                  <a:lnTo>
                    <a:pt x="462" y="1518"/>
                  </a:lnTo>
                  <a:lnTo>
                    <a:pt x="462" y="1524"/>
                  </a:lnTo>
                  <a:lnTo>
                    <a:pt x="468" y="1524"/>
                  </a:lnTo>
                  <a:lnTo>
                    <a:pt x="474" y="1524"/>
                  </a:lnTo>
                  <a:lnTo>
                    <a:pt x="474" y="1518"/>
                  </a:lnTo>
                  <a:lnTo>
                    <a:pt x="480" y="1518"/>
                  </a:lnTo>
                  <a:lnTo>
                    <a:pt x="474" y="1518"/>
                  </a:lnTo>
                  <a:lnTo>
                    <a:pt x="474" y="1524"/>
                  </a:lnTo>
                  <a:lnTo>
                    <a:pt x="468" y="1524"/>
                  </a:lnTo>
                  <a:lnTo>
                    <a:pt x="462" y="1518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62" y="1512"/>
                  </a:lnTo>
                  <a:lnTo>
                    <a:pt x="462" y="1506"/>
                  </a:lnTo>
                  <a:lnTo>
                    <a:pt x="456" y="1506"/>
                  </a:lnTo>
                  <a:lnTo>
                    <a:pt x="456" y="1512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50" y="1518"/>
                  </a:lnTo>
                  <a:lnTo>
                    <a:pt x="444" y="1518"/>
                  </a:lnTo>
                  <a:lnTo>
                    <a:pt x="444" y="1524"/>
                  </a:lnTo>
                  <a:lnTo>
                    <a:pt x="438" y="1524"/>
                  </a:lnTo>
                  <a:lnTo>
                    <a:pt x="438" y="1530"/>
                  </a:lnTo>
                  <a:lnTo>
                    <a:pt x="432" y="1530"/>
                  </a:lnTo>
                  <a:lnTo>
                    <a:pt x="432" y="1536"/>
                  </a:lnTo>
                  <a:lnTo>
                    <a:pt x="426" y="1530"/>
                  </a:lnTo>
                  <a:lnTo>
                    <a:pt x="420" y="1530"/>
                  </a:lnTo>
                  <a:lnTo>
                    <a:pt x="414" y="1530"/>
                  </a:lnTo>
                  <a:lnTo>
                    <a:pt x="414" y="1524"/>
                  </a:lnTo>
                  <a:lnTo>
                    <a:pt x="408" y="1518"/>
                  </a:lnTo>
                  <a:lnTo>
                    <a:pt x="414" y="1512"/>
                  </a:lnTo>
                  <a:lnTo>
                    <a:pt x="408" y="1512"/>
                  </a:lnTo>
                  <a:lnTo>
                    <a:pt x="408" y="1506"/>
                  </a:lnTo>
                  <a:lnTo>
                    <a:pt x="408" y="1500"/>
                  </a:lnTo>
                  <a:lnTo>
                    <a:pt x="408" y="1494"/>
                  </a:lnTo>
                  <a:lnTo>
                    <a:pt x="408" y="1488"/>
                  </a:lnTo>
                  <a:lnTo>
                    <a:pt x="408" y="1494"/>
                  </a:lnTo>
                  <a:lnTo>
                    <a:pt x="414" y="1494"/>
                  </a:lnTo>
                  <a:lnTo>
                    <a:pt x="420" y="1494"/>
                  </a:lnTo>
                  <a:lnTo>
                    <a:pt x="420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82"/>
                  </a:lnTo>
                  <a:lnTo>
                    <a:pt x="426" y="1476"/>
                  </a:lnTo>
                  <a:lnTo>
                    <a:pt x="432" y="1476"/>
                  </a:lnTo>
                  <a:lnTo>
                    <a:pt x="432" y="1470"/>
                  </a:lnTo>
                  <a:lnTo>
                    <a:pt x="438" y="1470"/>
                  </a:lnTo>
                  <a:lnTo>
                    <a:pt x="444" y="1464"/>
                  </a:lnTo>
                  <a:lnTo>
                    <a:pt x="450" y="1458"/>
                  </a:lnTo>
                  <a:lnTo>
                    <a:pt x="456" y="1458"/>
                  </a:lnTo>
                  <a:lnTo>
                    <a:pt x="462" y="1452"/>
                  </a:lnTo>
                  <a:lnTo>
                    <a:pt x="468" y="1452"/>
                  </a:lnTo>
                  <a:lnTo>
                    <a:pt x="468" y="1446"/>
                  </a:lnTo>
                  <a:lnTo>
                    <a:pt x="462" y="1440"/>
                  </a:lnTo>
                  <a:lnTo>
                    <a:pt x="456" y="1434"/>
                  </a:lnTo>
                  <a:lnTo>
                    <a:pt x="456" y="1428"/>
                  </a:lnTo>
                  <a:lnTo>
                    <a:pt x="456" y="1422"/>
                  </a:lnTo>
                  <a:lnTo>
                    <a:pt x="456" y="1416"/>
                  </a:lnTo>
                  <a:lnTo>
                    <a:pt x="450" y="1410"/>
                  </a:lnTo>
                  <a:lnTo>
                    <a:pt x="444" y="1410"/>
                  </a:lnTo>
                  <a:lnTo>
                    <a:pt x="450" y="1410"/>
                  </a:lnTo>
                  <a:lnTo>
                    <a:pt x="450" y="1404"/>
                  </a:lnTo>
                  <a:lnTo>
                    <a:pt x="456" y="1404"/>
                  </a:lnTo>
                  <a:lnTo>
                    <a:pt x="462" y="1404"/>
                  </a:lnTo>
                  <a:lnTo>
                    <a:pt x="468" y="1398"/>
                  </a:lnTo>
                  <a:lnTo>
                    <a:pt x="462" y="1398"/>
                  </a:lnTo>
                  <a:lnTo>
                    <a:pt x="462" y="1392"/>
                  </a:lnTo>
                  <a:lnTo>
                    <a:pt x="456" y="1392"/>
                  </a:lnTo>
                  <a:lnTo>
                    <a:pt x="456" y="1386"/>
                  </a:lnTo>
                  <a:lnTo>
                    <a:pt x="462" y="1386"/>
                  </a:lnTo>
                  <a:lnTo>
                    <a:pt x="468" y="1386"/>
                  </a:lnTo>
                  <a:lnTo>
                    <a:pt x="474" y="1386"/>
                  </a:lnTo>
                  <a:lnTo>
                    <a:pt x="468" y="1386"/>
                  </a:lnTo>
                  <a:lnTo>
                    <a:pt x="462" y="1386"/>
                  </a:lnTo>
                  <a:lnTo>
                    <a:pt x="456" y="1380"/>
                  </a:lnTo>
                  <a:lnTo>
                    <a:pt x="456" y="1374"/>
                  </a:lnTo>
                  <a:lnTo>
                    <a:pt x="462" y="1374"/>
                  </a:lnTo>
                  <a:lnTo>
                    <a:pt x="462" y="1368"/>
                  </a:lnTo>
                  <a:lnTo>
                    <a:pt x="456" y="1374"/>
                  </a:lnTo>
                  <a:lnTo>
                    <a:pt x="456" y="1368"/>
                  </a:lnTo>
                  <a:lnTo>
                    <a:pt x="456" y="1362"/>
                  </a:lnTo>
                  <a:lnTo>
                    <a:pt x="450" y="1362"/>
                  </a:lnTo>
                  <a:lnTo>
                    <a:pt x="450" y="1356"/>
                  </a:lnTo>
                  <a:lnTo>
                    <a:pt x="450" y="1350"/>
                  </a:lnTo>
                  <a:lnTo>
                    <a:pt x="450" y="1344"/>
                  </a:lnTo>
                  <a:lnTo>
                    <a:pt x="456" y="1344"/>
                  </a:lnTo>
                  <a:lnTo>
                    <a:pt x="456" y="1338"/>
                  </a:lnTo>
                  <a:lnTo>
                    <a:pt x="462" y="1338"/>
                  </a:lnTo>
                  <a:lnTo>
                    <a:pt x="462" y="1332"/>
                  </a:lnTo>
                  <a:lnTo>
                    <a:pt x="456" y="1332"/>
                  </a:lnTo>
                  <a:lnTo>
                    <a:pt x="456" y="1326"/>
                  </a:lnTo>
                  <a:lnTo>
                    <a:pt x="450" y="1326"/>
                  </a:lnTo>
                  <a:lnTo>
                    <a:pt x="444" y="1326"/>
                  </a:lnTo>
                  <a:lnTo>
                    <a:pt x="444" y="1332"/>
                  </a:lnTo>
                  <a:lnTo>
                    <a:pt x="438" y="1332"/>
                  </a:lnTo>
                  <a:lnTo>
                    <a:pt x="438" y="1338"/>
                  </a:lnTo>
                  <a:lnTo>
                    <a:pt x="432" y="1338"/>
                  </a:lnTo>
                  <a:lnTo>
                    <a:pt x="432" y="1344"/>
                  </a:lnTo>
                  <a:lnTo>
                    <a:pt x="432" y="1350"/>
                  </a:lnTo>
                  <a:lnTo>
                    <a:pt x="426" y="1356"/>
                  </a:lnTo>
                  <a:lnTo>
                    <a:pt x="426" y="1368"/>
                  </a:lnTo>
                  <a:lnTo>
                    <a:pt x="426" y="1374"/>
                  </a:lnTo>
                  <a:lnTo>
                    <a:pt x="426" y="1380"/>
                  </a:lnTo>
                  <a:lnTo>
                    <a:pt x="432" y="1386"/>
                  </a:lnTo>
                  <a:lnTo>
                    <a:pt x="432" y="1392"/>
                  </a:lnTo>
                  <a:lnTo>
                    <a:pt x="432" y="1398"/>
                  </a:lnTo>
                  <a:lnTo>
                    <a:pt x="426" y="1398"/>
                  </a:lnTo>
                  <a:lnTo>
                    <a:pt x="420" y="1398"/>
                  </a:lnTo>
                  <a:lnTo>
                    <a:pt x="414" y="1398"/>
                  </a:lnTo>
                  <a:lnTo>
                    <a:pt x="420" y="1398"/>
                  </a:lnTo>
                  <a:lnTo>
                    <a:pt x="414" y="1404"/>
                  </a:lnTo>
                  <a:lnTo>
                    <a:pt x="420" y="1404"/>
                  </a:lnTo>
                  <a:lnTo>
                    <a:pt x="414" y="1404"/>
                  </a:lnTo>
                  <a:lnTo>
                    <a:pt x="408" y="1404"/>
                  </a:lnTo>
                  <a:lnTo>
                    <a:pt x="402" y="1410"/>
                  </a:lnTo>
                  <a:lnTo>
                    <a:pt x="402" y="1404"/>
                  </a:lnTo>
                  <a:lnTo>
                    <a:pt x="396" y="1404"/>
                  </a:lnTo>
                  <a:lnTo>
                    <a:pt x="390" y="1404"/>
                  </a:lnTo>
                  <a:lnTo>
                    <a:pt x="384" y="1404"/>
                  </a:lnTo>
                  <a:lnTo>
                    <a:pt x="384" y="1398"/>
                  </a:lnTo>
                  <a:lnTo>
                    <a:pt x="384" y="1392"/>
                  </a:lnTo>
                  <a:lnTo>
                    <a:pt x="390" y="1392"/>
                  </a:lnTo>
                  <a:lnTo>
                    <a:pt x="390" y="1386"/>
                  </a:lnTo>
                  <a:lnTo>
                    <a:pt x="390" y="1380"/>
                  </a:lnTo>
                  <a:lnTo>
                    <a:pt x="396" y="1380"/>
                  </a:lnTo>
                  <a:lnTo>
                    <a:pt x="402" y="1380"/>
                  </a:lnTo>
                  <a:lnTo>
                    <a:pt x="408" y="1380"/>
                  </a:lnTo>
                  <a:lnTo>
                    <a:pt x="408" y="1374"/>
                  </a:lnTo>
                  <a:lnTo>
                    <a:pt x="414" y="1374"/>
                  </a:lnTo>
                  <a:lnTo>
                    <a:pt x="414" y="1368"/>
                  </a:lnTo>
                  <a:lnTo>
                    <a:pt x="414" y="1362"/>
                  </a:lnTo>
                  <a:lnTo>
                    <a:pt x="414" y="1368"/>
                  </a:lnTo>
                  <a:lnTo>
                    <a:pt x="414" y="1374"/>
                  </a:lnTo>
                  <a:lnTo>
                    <a:pt x="408" y="1374"/>
                  </a:lnTo>
                  <a:lnTo>
                    <a:pt x="402" y="1380"/>
                  </a:lnTo>
                  <a:lnTo>
                    <a:pt x="396" y="1380"/>
                  </a:lnTo>
                  <a:lnTo>
                    <a:pt x="396" y="1374"/>
                  </a:lnTo>
                  <a:lnTo>
                    <a:pt x="390" y="1374"/>
                  </a:lnTo>
                  <a:lnTo>
                    <a:pt x="390" y="1368"/>
                  </a:lnTo>
                  <a:lnTo>
                    <a:pt x="384" y="1368"/>
                  </a:lnTo>
                  <a:lnTo>
                    <a:pt x="384" y="1374"/>
                  </a:lnTo>
                  <a:lnTo>
                    <a:pt x="378" y="1374"/>
                  </a:lnTo>
                  <a:lnTo>
                    <a:pt x="378" y="1380"/>
                  </a:lnTo>
                  <a:lnTo>
                    <a:pt x="372" y="1380"/>
                  </a:lnTo>
                  <a:lnTo>
                    <a:pt x="366" y="1386"/>
                  </a:lnTo>
                  <a:lnTo>
                    <a:pt x="360" y="1386"/>
                  </a:lnTo>
                  <a:lnTo>
                    <a:pt x="354" y="1386"/>
                  </a:lnTo>
                  <a:lnTo>
                    <a:pt x="354" y="1380"/>
                  </a:lnTo>
                  <a:lnTo>
                    <a:pt x="348" y="1380"/>
                  </a:lnTo>
                  <a:lnTo>
                    <a:pt x="342" y="1380"/>
                  </a:lnTo>
                  <a:lnTo>
                    <a:pt x="342" y="1374"/>
                  </a:lnTo>
                  <a:lnTo>
                    <a:pt x="336" y="1368"/>
                  </a:lnTo>
                  <a:lnTo>
                    <a:pt x="342" y="1368"/>
                  </a:lnTo>
                  <a:lnTo>
                    <a:pt x="342" y="1362"/>
                  </a:lnTo>
                  <a:lnTo>
                    <a:pt x="348" y="1362"/>
                  </a:lnTo>
                  <a:lnTo>
                    <a:pt x="354" y="1362"/>
                  </a:lnTo>
                  <a:lnTo>
                    <a:pt x="354" y="1356"/>
                  </a:lnTo>
                  <a:lnTo>
                    <a:pt x="348" y="1356"/>
                  </a:lnTo>
                  <a:lnTo>
                    <a:pt x="348" y="1350"/>
                  </a:lnTo>
                  <a:lnTo>
                    <a:pt x="348" y="1344"/>
                  </a:lnTo>
                  <a:lnTo>
                    <a:pt x="354" y="1338"/>
                  </a:lnTo>
                  <a:lnTo>
                    <a:pt x="354" y="1332"/>
                  </a:lnTo>
                  <a:lnTo>
                    <a:pt x="354" y="1326"/>
                  </a:lnTo>
                  <a:lnTo>
                    <a:pt x="354" y="1320"/>
                  </a:lnTo>
                  <a:lnTo>
                    <a:pt x="354" y="1314"/>
                  </a:lnTo>
                  <a:lnTo>
                    <a:pt x="354" y="1308"/>
                  </a:lnTo>
                  <a:lnTo>
                    <a:pt x="348" y="1308"/>
                  </a:lnTo>
                  <a:lnTo>
                    <a:pt x="348" y="1302"/>
                  </a:lnTo>
                  <a:lnTo>
                    <a:pt x="342" y="1296"/>
                  </a:lnTo>
                  <a:lnTo>
                    <a:pt x="336" y="1296"/>
                  </a:lnTo>
                  <a:lnTo>
                    <a:pt x="336" y="1290"/>
                  </a:lnTo>
                  <a:lnTo>
                    <a:pt x="330" y="1290"/>
                  </a:lnTo>
                  <a:lnTo>
                    <a:pt x="324" y="1290"/>
                  </a:lnTo>
                  <a:lnTo>
                    <a:pt x="324" y="1284"/>
                  </a:lnTo>
                  <a:lnTo>
                    <a:pt x="318" y="1284"/>
                  </a:lnTo>
                  <a:lnTo>
                    <a:pt x="318" y="1278"/>
                  </a:lnTo>
                  <a:lnTo>
                    <a:pt x="312" y="1278"/>
                  </a:lnTo>
                  <a:lnTo>
                    <a:pt x="312" y="1272"/>
                  </a:lnTo>
                  <a:lnTo>
                    <a:pt x="312" y="1278"/>
                  </a:lnTo>
                  <a:lnTo>
                    <a:pt x="318" y="1284"/>
                  </a:lnTo>
                  <a:lnTo>
                    <a:pt x="324" y="1290"/>
                  </a:lnTo>
                  <a:lnTo>
                    <a:pt x="330" y="1290"/>
                  </a:lnTo>
                  <a:lnTo>
                    <a:pt x="330" y="1296"/>
                  </a:lnTo>
                  <a:lnTo>
                    <a:pt x="336" y="1296"/>
                  </a:lnTo>
                  <a:lnTo>
                    <a:pt x="336" y="1302"/>
                  </a:lnTo>
                  <a:lnTo>
                    <a:pt x="342" y="1302"/>
                  </a:lnTo>
                  <a:lnTo>
                    <a:pt x="348" y="1302"/>
                  </a:lnTo>
                  <a:lnTo>
                    <a:pt x="348" y="1308"/>
                  </a:lnTo>
                  <a:lnTo>
                    <a:pt x="348" y="1314"/>
                  </a:lnTo>
                  <a:lnTo>
                    <a:pt x="354" y="1314"/>
                  </a:lnTo>
                  <a:lnTo>
                    <a:pt x="354" y="1320"/>
                  </a:lnTo>
                  <a:lnTo>
                    <a:pt x="354" y="1326"/>
                  </a:lnTo>
                  <a:lnTo>
                    <a:pt x="348" y="1326"/>
                  </a:lnTo>
                  <a:lnTo>
                    <a:pt x="348" y="1332"/>
                  </a:lnTo>
                  <a:lnTo>
                    <a:pt x="348" y="1338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2" y="1350"/>
                  </a:lnTo>
                  <a:lnTo>
                    <a:pt x="336" y="1350"/>
                  </a:lnTo>
                  <a:lnTo>
                    <a:pt x="330" y="1350"/>
                  </a:lnTo>
                  <a:lnTo>
                    <a:pt x="330" y="1356"/>
                  </a:lnTo>
                  <a:lnTo>
                    <a:pt x="330" y="1350"/>
                  </a:lnTo>
                  <a:lnTo>
                    <a:pt x="324" y="1350"/>
                  </a:lnTo>
                  <a:lnTo>
                    <a:pt x="318" y="1344"/>
                  </a:lnTo>
                  <a:lnTo>
                    <a:pt x="318" y="1350"/>
                  </a:lnTo>
                  <a:lnTo>
                    <a:pt x="312" y="1344"/>
                  </a:lnTo>
                  <a:lnTo>
                    <a:pt x="312" y="1338"/>
                  </a:lnTo>
                  <a:lnTo>
                    <a:pt x="306" y="1338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6" y="1326"/>
                  </a:lnTo>
                  <a:lnTo>
                    <a:pt x="306" y="1320"/>
                  </a:lnTo>
                  <a:lnTo>
                    <a:pt x="306" y="1326"/>
                  </a:lnTo>
                  <a:lnTo>
                    <a:pt x="312" y="1326"/>
                  </a:lnTo>
                  <a:lnTo>
                    <a:pt x="312" y="1320"/>
                  </a:lnTo>
                  <a:lnTo>
                    <a:pt x="306" y="1320"/>
                  </a:lnTo>
                  <a:lnTo>
                    <a:pt x="300" y="1320"/>
                  </a:lnTo>
                  <a:lnTo>
                    <a:pt x="294" y="1320"/>
                  </a:lnTo>
                  <a:lnTo>
                    <a:pt x="294" y="1314"/>
                  </a:lnTo>
                  <a:lnTo>
                    <a:pt x="288" y="1314"/>
                  </a:lnTo>
                  <a:lnTo>
                    <a:pt x="288" y="1308"/>
                  </a:lnTo>
                  <a:lnTo>
                    <a:pt x="288" y="1302"/>
                  </a:lnTo>
                  <a:lnTo>
                    <a:pt x="294" y="1302"/>
                  </a:lnTo>
                  <a:lnTo>
                    <a:pt x="294" y="1296"/>
                  </a:lnTo>
                  <a:lnTo>
                    <a:pt x="288" y="1296"/>
                  </a:lnTo>
                  <a:lnTo>
                    <a:pt x="288" y="1290"/>
                  </a:lnTo>
                  <a:lnTo>
                    <a:pt x="288" y="1296"/>
                  </a:lnTo>
                  <a:lnTo>
                    <a:pt x="294" y="1302"/>
                  </a:lnTo>
                  <a:lnTo>
                    <a:pt x="288" y="1302"/>
                  </a:lnTo>
                  <a:lnTo>
                    <a:pt x="282" y="1296"/>
                  </a:lnTo>
                  <a:lnTo>
                    <a:pt x="276" y="1296"/>
                  </a:lnTo>
                  <a:lnTo>
                    <a:pt x="276" y="1290"/>
                  </a:lnTo>
                  <a:lnTo>
                    <a:pt x="270" y="1290"/>
                  </a:lnTo>
                  <a:lnTo>
                    <a:pt x="264" y="1284"/>
                  </a:lnTo>
                  <a:lnTo>
                    <a:pt x="264" y="1278"/>
                  </a:lnTo>
                  <a:lnTo>
                    <a:pt x="264" y="1272"/>
                  </a:lnTo>
                  <a:lnTo>
                    <a:pt x="264" y="1266"/>
                  </a:lnTo>
                  <a:lnTo>
                    <a:pt x="258" y="1266"/>
                  </a:lnTo>
                  <a:lnTo>
                    <a:pt x="252" y="1266"/>
                  </a:lnTo>
                  <a:lnTo>
                    <a:pt x="246" y="1260"/>
                  </a:lnTo>
                  <a:lnTo>
                    <a:pt x="240" y="1254"/>
                  </a:lnTo>
                  <a:lnTo>
                    <a:pt x="240" y="1260"/>
                  </a:lnTo>
                  <a:lnTo>
                    <a:pt x="240" y="1266"/>
                  </a:lnTo>
                  <a:lnTo>
                    <a:pt x="240" y="1272"/>
                  </a:lnTo>
                  <a:lnTo>
                    <a:pt x="246" y="1272"/>
                  </a:lnTo>
                  <a:lnTo>
                    <a:pt x="246" y="1278"/>
                  </a:lnTo>
                  <a:lnTo>
                    <a:pt x="246" y="1284"/>
                  </a:lnTo>
                  <a:lnTo>
                    <a:pt x="252" y="1284"/>
                  </a:lnTo>
                  <a:lnTo>
                    <a:pt x="252" y="1290"/>
                  </a:lnTo>
                  <a:lnTo>
                    <a:pt x="258" y="1296"/>
                  </a:lnTo>
                  <a:lnTo>
                    <a:pt x="264" y="1302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58" y="1314"/>
                  </a:lnTo>
                  <a:lnTo>
                    <a:pt x="258" y="1308"/>
                  </a:lnTo>
                  <a:lnTo>
                    <a:pt x="252" y="1308"/>
                  </a:lnTo>
                  <a:lnTo>
                    <a:pt x="252" y="1302"/>
                  </a:lnTo>
                  <a:lnTo>
                    <a:pt x="246" y="1302"/>
                  </a:lnTo>
                  <a:lnTo>
                    <a:pt x="246" y="1296"/>
                  </a:lnTo>
                  <a:lnTo>
                    <a:pt x="240" y="1296"/>
                  </a:lnTo>
                  <a:lnTo>
                    <a:pt x="240" y="1290"/>
                  </a:lnTo>
                  <a:lnTo>
                    <a:pt x="234" y="1284"/>
                  </a:lnTo>
                  <a:lnTo>
                    <a:pt x="234" y="1278"/>
                  </a:lnTo>
                  <a:close/>
                  <a:moveTo>
                    <a:pt x="444" y="1332"/>
                  </a:moveTo>
                  <a:lnTo>
                    <a:pt x="450" y="1326"/>
                  </a:lnTo>
                  <a:lnTo>
                    <a:pt x="456" y="1326"/>
                  </a:lnTo>
                  <a:lnTo>
                    <a:pt x="456" y="1332"/>
                  </a:lnTo>
                  <a:lnTo>
                    <a:pt x="456" y="1338"/>
                  </a:lnTo>
                  <a:lnTo>
                    <a:pt x="450" y="1338"/>
                  </a:lnTo>
                  <a:lnTo>
                    <a:pt x="444" y="1338"/>
                  </a:lnTo>
                  <a:lnTo>
                    <a:pt x="444" y="1332"/>
                  </a:lnTo>
                  <a:close/>
                  <a:moveTo>
                    <a:pt x="444" y="1368"/>
                  </a:moveTo>
                  <a:lnTo>
                    <a:pt x="456" y="1368"/>
                  </a:lnTo>
                  <a:lnTo>
                    <a:pt x="456" y="1374"/>
                  </a:lnTo>
                  <a:lnTo>
                    <a:pt x="444" y="1374"/>
                  </a:lnTo>
                  <a:lnTo>
                    <a:pt x="444" y="1368"/>
                  </a:lnTo>
                  <a:close/>
                  <a:moveTo>
                    <a:pt x="444" y="1386"/>
                  </a:moveTo>
                  <a:lnTo>
                    <a:pt x="444" y="1380"/>
                  </a:lnTo>
                  <a:lnTo>
                    <a:pt x="444" y="1374"/>
                  </a:lnTo>
                  <a:lnTo>
                    <a:pt x="444" y="1380"/>
                  </a:lnTo>
                  <a:lnTo>
                    <a:pt x="450" y="1380"/>
                  </a:lnTo>
                  <a:lnTo>
                    <a:pt x="456" y="1380"/>
                  </a:lnTo>
                  <a:lnTo>
                    <a:pt x="456" y="1386"/>
                  </a:lnTo>
                  <a:lnTo>
                    <a:pt x="456" y="1392"/>
                  </a:lnTo>
                  <a:lnTo>
                    <a:pt x="462" y="1392"/>
                  </a:lnTo>
                  <a:lnTo>
                    <a:pt x="462" y="1398"/>
                  </a:lnTo>
                  <a:lnTo>
                    <a:pt x="462" y="1404"/>
                  </a:lnTo>
                  <a:lnTo>
                    <a:pt x="456" y="1404"/>
                  </a:lnTo>
                  <a:lnTo>
                    <a:pt x="450" y="1404"/>
                  </a:lnTo>
                  <a:lnTo>
                    <a:pt x="450" y="1398"/>
                  </a:lnTo>
                  <a:lnTo>
                    <a:pt x="444" y="1398"/>
                  </a:lnTo>
                  <a:lnTo>
                    <a:pt x="444" y="1392"/>
                  </a:lnTo>
                  <a:lnTo>
                    <a:pt x="444" y="1386"/>
                  </a:lnTo>
                  <a:close/>
                  <a:moveTo>
                    <a:pt x="438" y="1362"/>
                  </a:moveTo>
                  <a:lnTo>
                    <a:pt x="444" y="1356"/>
                  </a:lnTo>
                  <a:lnTo>
                    <a:pt x="450" y="1356"/>
                  </a:lnTo>
                  <a:lnTo>
                    <a:pt x="450" y="1362"/>
                  </a:lnTo>
                  <a:lnTo>
                    <a:pt x="450" y="1368"/>
                  </a:lnTo>
                  <a:lnTo>
                    <a:pt x="444" y="1368"/>
                  </a:lnTo>
                  <a:lnTo>
                    <a:pt x="444" y="1362"/>
                  </a:lnTo>
                  <a:lnTo>
                    <a:pt x="438" y="1362"/>
                  </a:lnTo>
                  <a:close/>
                  <a:moveTo>
                    <a:pt x="438" y="1350"/>
                  </a:moveTo>
                  <a:lnTo>
                    <a:pt x="438" y="1344"/>
                  </a:lnTo>
                  <a:lnTo>
                    <a:pt x="438" y="1338"/>
                  </a:lnTo>
                  <a:lnTo>
                    <a:pt x="444" y="1338"/>
                  </a:lnTo>
                  <a:lnTo>
                    <a:pt x="450" y="1338"/>
                  </a:lnTo>
                  <a:lnTo>
                    <a:pt x="456" y="1338"/>
                  </a:lnTo>
                  <a:lnTo>
                    <a:pt x="450" y="1344"/>
                  </a:lnTo>
                  <a:lnTo>
                    <a:pt x="444" y="1350"/>
                  </a:lnTo>
                  <a:lnTo>
                    <a:pt x="438" y="1350"/>
                  </a:lnTo>
                  <a:close/>
                  <a:moveTo>
                    <a:pt x="432" y="1380"/>
                  </a:moveTo>
                  <a:lnTo>
                    <a:pt x="432" y="1368"/>
                  </a:lnTo>
                  <a:lnTo>
                    <a:pt x="432" y="1362"/>
                  </a:lnTo>
                  <a:lnTo>
                    <a:pt x="432" y="1356"/>
                  </a:lnTo>
                  <a:lnTo>
                    <a:pt x="438" y="1356"/>
                  </a:lnTo>
                  <a:lnTo>
                    <a:pt x="438" y="1362"/>
                  </a:lnTo>
                  <a:lnTo>
                    <a:pt x="438" y="1368"/>
                  </a:lnTo>
                  <a:lnTo>
                    <a:pt x="438" y="1374"/>
                  </a:lnTo>
                  <a:lnTo>
                    <a:pt x="438" y="1380"/>
                  </a:lnTo>
                  <a:lnTo>
                    <a:pt x="438" y="1386"/>
                  </a:lnTo>
                  <a:lnTo>
                    <a:pt x="438" y="1380"/>
                  </a:lnTo>
                  <a:lnTo>
                    <a:pt x="432" y="1380"/>
                  </a:lnTo>
                  <a:close/>
                  <a:moveTo>
                    <a:pt x="246" y="1272"/>
                  </a:moveTo>
                  <a:lnTo>
                    <a:pt x="252" y="1272"/>
                  </a:lnTo>
                  <a:lnTo>
                    <a:pt x="252" y="1278"/>
                  </a:lnTo>
                  <a:lnTo>
                    <a:pt x="246" y="1278"/>
                  </a:lnTo>
                  <a:lnTo>
                    <a:pt x="246" y="1272"/>
                  </a:lnTo>
                  <a:close/>
                  <a:moveTo>
                    <a:pt x="426" y="1416"/>
                  </a:moveTo>
                  <a:lnTo>
                    <a:pt x="432" y="1410"/>
                  </a:lnTo>
                  <a:lnTo>
                    <a:pt x="438" y="1410"/>
                  </a:lnTo>
                  <a:lnTo>
                    <a:pt x="438" y="1416"/>
                  </a:lnTo>
                  <a:lnTo>
                    <a:pt x="438" y="1422"/>
                  </a:lnTo>
                  <a:lnTo>
                    <a:pt x="432" y="1422"/>
                  </a:lnTo>
                  <a:lnTo>
                    <a:pt x="426" y="1422"/>
                  </a:lnTo>
                  <a:lnTo>
                    <a:pt x="426" y="1416"/>
                  </a:lnTo>
                  <a:close/>
                  <a:moveTo>
                    <a:pt x="246" y="1266"/>
                  </a:moveTo>
                  <a:lnTo>
                    <a:pt x="252" y="1266"/>
                  </a:lnTo>
                  <a:lnTo>
                    <a:pt x="258" y="1272"/>
                  </a:lnTo>
                  <a:lnTo>
                    <a:pt x="258" y="1278"/>
                  </a:lnTo>
                  <a:lnTo>
                    <a:pt x="258" y="1284"/>
                  </a:lnTo>
                  <a:lnTo>
                    <a:pt x="252" y="1284"/>
                  </a:lnTo>
                  <a:lnTo>
                    <a:pt x="252" y="1278"/>
                  </a:lnTo>
                  <a:lnTo>
                    <a:pt x="252" y="1272"/>
                  </a:lnTo>
                  <a:lnTo>
                    <a:pt x="252" y="1266"/>
                  </a:lnTo>
                  <a:lnTo>
                    <a:pt x="246" y="1266"/>
                  </a:lnTo>
                  <a:close/>
                  <a:moveTo>
                    <a:pt x="408" y="1458"/>
                  </a:moveTo>
                  <a:lnTo>
                    <a:pt x="408" y="1452"/>
                  </a:lnTo>
                  <a:lnTo>
                    <a:pt x="414" y="1452"/>
                  </a:lnTo>
                  <a:lnTo>
                    <a:pt x="414" y="1446"/>
                  </a:lnTo>
                  <a:lnTo>
                    <a:pt x="414" y="1440"/>
                  </a:lnTo>
                  <a:lnTo>
                    <a:pt x="420" y="1440"/>
                  </a:lnTo>
                  <a:lnTo>
                    <a:pt x="420" y="1434"/>
                  </a:lnTo>
                  <a:lnTo>
                    <a:pt x="420" y="1428"/>
                  </a:lnTo>
                  <a:lnTo>
                    <a:pt x="420" y="1422"/>
                  </a:lnTo>
                  <a:lnTo>
                    <a:pt x="426" y="1422"/>
                  </a:lnTo>
                  <a:lnTo>
                    <a:pt x="432" y="1428"/>
                  </a:lnTo>
                  <a:lnTo>
                    <a:pt x="438" y="1428"/>
                  </a:lnTo>
                  <a:lnTo>
                    <a:pt x="438" y="1434"/>
                  </a:lnTo>
                  <a:lnTo>
                    <a:pt x="438" y="1428"/>
                  </a:lnTo>
                  <a:lnTo>
                    <a:pt x="438" y="1422"/>
                  </a:lnTo>
                  <a:lnTo>
                    <a:pt x="444" y="1416"/>
                  </a:lnTo>
                  <a:lnTo>
                    <a:pt x="444" y="1410"/>
                  </a:lnTo>
                  <a:lnTo>
                    <a:pt x="450" y="1416"/>
                  </a:lnTo>
                  <a:lnTo>
                    <a:pt x="456" y="1416"/>
                  </a:lnTo>
                  <a:lnTo>
                    <a:pt x="456" y="1422"/>
                  </a:lnTo>
                  <a:lnTo>
                    <a:pt x="456" y="1428"/>
                  </a:lnTo>
                  <a:lnTo>
                    <a:pt x="456" y="1434"/>
                  </a:lnTo>
                  <a:lnTo>
                    <a:pt x="456" y="1440"/>
                  </a:lnTo>
                  <a:lnTo>
                    <a:pt x="462" y="1440"/>
                  </a:lnTo>
                  <a:lnTo>
                    <a:pt x="462" y="1446"/>
                  </a:lnTo>
                  <a:lnTo>
                    <a:pt x="462" y="1452"/>
                  </a:lnTo>
                  <a:lnTo>
                    <a:pt x="456" y="1452"/>
                  </a:lnTo>
                  <a:lnTo>
                    <a:pt x="450" y="1452"/>
                  </a:lnTo>
                  <a:lnTo>
                    <a:pt x="444" y="1446"/>
                  </a:lnTo>
                  <a:lnTo>
                    <a:pt x="444" y="1452"/>
                  </a:lnTo>
                  <a:lnTo>
                    <a:pt x="450" y="1452"/>
                  </a:lnTo>
                  <a:lnTo>
                    <a:pt x="450" y="1458"/>
                  </a:lnTo>
                  <a:lnTo>
                    <a:pt x="444" y="1458"/>
                  </a:lnTo>
                  <a:lnTo>
                    <a:pt x="438" y="1464"/>
                  </a:lnTo>
                  <a:lnTo>
                    <a:pt x="438" y="1458"/>
                  </a:lnTo>
                  <a:lnTo>
                    <a:pt x="432" y="1458"/>
                  </a:lnTo>
                  <a:lnTo>
                    <a:pt x="426" y="1458"/>
                  </a:lnTo>
                  <a:lnTo>
                    <a:pt x="432" y="1458"/>
                  </a:lnTo>
                  <a:lnTo>
                    <a:pt x="438" y="1464"/>
                  </a:lnTo>
                  <a:lnTo>
                    <a:pt x="432" y="1464"/>
                  </a:lnTo>
                  <a:lnTo>
                    <a:pt x="432" y="1470"/>
                  </a:lnTo>
                  <a:lnTo>
                    <a:pt x="426" y="1470"/>
                  </a:lnTo>
                  <a:lnTo>
                    <a:pt x="420" y="1476"/>
                  </a:lnTo>
                  <a:lnTo>
                    <a:pt x="420" y="1470"/>
                  </a:lnTo>
                  <a:lnTo>
                    <a:pt x="414" y="1470"/>
                  </a:lnTo>
                  <a:lnTo>
                    <a:pt x="414" y="1464"/>
                  </a:lnTo>
                  <a:lnTo>
                    <a:pt x="414" y="1458"/>
                  </a:lnTo>
                  <a:lnTo>
                    <a:pt x="408" y="1458"/>
                  </a:lnTo>
                  <a:close/>
                  <a:moveTo>
                    <a:pt x="270" y="1326"/>
                  </a:moveTo>
                  <a:lnTo>
                    <a:pt x="270" y="1320"/>
                  </a:lnTo>
                  <a:lnTo>
                    <a:pt x="276" y="1320"/>
                  </a:lnTo>
                  <a:lnTo>
                    <a:pt x="282" y="1326"/>
                  </a:lnTo>
                  <a:lnTo>
                    <a:pt x="288" y="1326"/>
                  </a:lnTo>
                  <a:lnTo>
                    <a:pt x="288" y="1332"/>
                  </a:lnTo>
                  <a:lnTo>
                    <a:pt x="288" y="1338"/>
                  </a:lnTo>
                  <a:lnTo>
                    <a:pt x="288" y="1344"/>
                  </a:lnTo>
                  <a:lnTo>
                    <a:pt x="282" y="1344"/>
                  </a:lnTo>
                  <a:lnTo>
                    <a:pt x="282" y="1338"/>
                  </a:lnTo>
                  <a:lnTo>
                    <a:pt x="276" y="1338"/>
                  </a:lnTo>
                  <a:lnTo>
                    <a:pt x="276" y="1332"/>
                  </a:lnTo>
                  <a:lnTo>
                    <a:pt x="270" y="1332"/>
                  </a:lnTo>
                  <a:lnTo>
                    <a:pt x="270" y="1326"/>
                  </a:lnTo>
                  <a:close/>
                  <a:moveTo>
                    <a:pt x="288" y="1458"/>
                  </a:moveTo>
                  <a:lnTo>
                    <a:pt x="294" y="1458"/>
                  </a:lnTo>
                  <a:lnTo>
                    <a:pt x="294" y="1452"/>
                  </a:lnTo>
                  <a:lnTo>
                    <a:pt x="294" y="1446"/>
                  </a:lnTo>
                  <a:lnTo>
                    <a:pt x="300" y="1446"/>
                  </a:lnTo>
                  <a:lnTo>
                    <a:pt x="300" y="1440"/>
                  </a:lnTo>
                  <a:lnTo>
                    <a:pt x="306" y="1440"/>
                  </a:lnTo>
                  <a:lnTo>
                    <a:pt x="306" y="1446"/>
                  </a:lnTo>
                  <a:lnTo>
                    <a:pt x="312" y="1452"/>
                  </a:lnTo>
                  <a:lnTo>
                    <a:pt x="306" y="1452"/>
                  </a:lnTo>
                  <a:lnTo>
                    <a:pt x="306" y="1458"/>
                  </a:lnTo>
                  <a:lnTo>
                    <a:pt x="312" y="1464"/>
                  </a:lnTo>
                  <a:lnTo>
                    <a:pt x="306" y="1464"/>
                  </a:lnTo>
                  <a:lnTo>
                    <a:pt x="306" y="1470"/>
                  </a:lnTo>
                  <a:lnTo>
                    <a:pt x="300" y="1476"/>
                  </a:lnTo>
                  <a:lnTo>
                    <a:pt x="294" y="1476"/>
                  </a:lnTo>
                  <a:lnTo>
                    <a:pt x="294" y="1470"/>
                  </a:lnTo>
                  <a:lnTo>
                    <a:pt x="288" y="1470"/>
                  </a:lnTo>
                  <a:lnTo>
                    <a:pt x="288" y="1464"/>
                  </a:lnTo>
                  <a:lnTo>
                    <a:pt x="288" y="1458"/>
                  </a:lnTo>
                  <a:close/>
                  <a:moveTo>
                    <a:pt x="270" y="1296"/>
                  </a:moveTo>
                  <a:lnTo>
                    <a:pt x="276" y="1296"/>
                  </a:lnTo>
                  <a:lnTo>
                    <a:pt x="282" y="1296"/>
                  </a:lnTo>
                  <a:lnTo>
                    <a:pt x="288" y="1296"/>
                  </a:lnTo>
                  <a:lnTo>
                    <a:pt x="288" y="1302"/>
                  </a:lnTo>
                  <a:lnTo>
                    <a:pt x="282" y="1308"/>
                  </a:lnTo>
                  <a:lnTo>
                    <a:pt x="276" y="1308"/>
                  </a:lnTo>
                  <a:lnTo>
                    <a:pt x="276" y="1302"/>
                  </a:lnTo>
                  <a:lnTo>
                    <a:pt x="270" y="129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27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106" name="Freeform 20">
              <a:extLst>
                <a:ext uri="{FF2B5EF4-FFF2-40B4-BE49-F238E27FC236}">
                  <a16:creationId xmlns:a16="http://schemas.microsoft.com/office/drawing/2014/main" id="{05B9FE33-EB01-49C9-AFF1-8AD736966C76}"/>
                </a:ext>
              </a:extLst>
            </p:cNvPr>
            <p:cNvSpPr>
              <a:spLocks/>
            </p:cNvSpPr>
            <p:nvPr/>
          </p:nvSpPr>
          <p:spPr bwMode="gray">
            <a:xfrm>
              <a:off x="4043363" y="4629150"/>
              <a:ext cx="582612" cy="700088"/>
            </a:xfrm>
            <a:custGeom>
              <a:avLst/>
              <a:gdLst>
                <a:gd name="T0" fmla="*/ 30 w 624"/>
                <a:gd name="T1" fmla="*/ 61 h 750"/>
                <a:gd name="T2" fmla="*/ 27 w 624"/>
                <a:gd name="T3" fmla="*/ 62 h 750"/>
                <a:gd name="T4" fmla="*/ 23 w 624"/>
                <a:gd name="T5" fmla="*/ 59 h 750"/>
                <a:gd name="T6" fmla="*/ 20 w 624"/>
                <a:gd name="T7" fmla="*/ 58 h 750"/>
                <a:gd name="T8" fmla="*/ 19 w 624"/>
                <a:gd name="T9" fmla="*/ 56 h 750"/>
                <a:gd name="T10" fmla="*/ 17 w 624"/>
                <a:gd name="T11" fmla="*/ 55 h 750"/>
                <a:gd name="T12" fmla="*/ 16 w 624"/>
                <a:gd name="T13" fmla="*/ 51 h 750"/>
                <a:gd name="T14" fmla="*/ 14 w 624"/>
                <a:gd name="T15" fmla="*/ 48 h 750"/>
                <a:gd name="T16" fmla="*/ 12 w 624"/>
                <a:gd name="T17" fmla="*/ 46 h 750"/>
                <a:gd name="T18" fmla="*/ 12 w 624"/>
                <a:gd name="T19" fmla="*/ 44 h 750"/>
                <a:gd name="T20" fmla="*/ 11 w 624"/>
                <a:gd name="T21" fmla="*/ 41 h 750"/>
                <a:gd name="T22" fmla="*/ 8 w 624"/>
                <a:gd name="T23" fmla="*/ 38 h 750"/>
                <a:gd name="T24" fmla="*/ 6 w 624"/>
                <a:gd name="T25" fmla="*/ 38 h 750"/>
                <a:gd name="T26" fmla="*/ 6 w 624"/>
                <a:gd name="T27" fmla="*/ 35 h 750"/>
                <a:gd name="T28" fmla="*/ 7 w 624"/>
                <a:gd name="T29" fmla="*/ 31 h 750"/>
                <a:gd name="T30" fmla="*/ 10 w 624"/>
                <a:gd name="T31" fmla="*/ 27 h 750"/>
                <a:gd name="T32" fmla="*/ 8 w 624"/>
                <a:gd name="T33" fmla="*/ 23 h 750"/>
                <a:gd name="T34" fmla="*/ 6 w 624"/>
                <a:gd name="T35" fmla="*/ 23 h 750"/>
                <a:gd name="T36" fmla="*/ 3 w 624"/>
                <a:gd name="T37" fmla="*/ 22 h 750"/>
                <a:gd name="T38" fmla="*/ 0 w 624"/>
                <a:gd name="T39" fmla="*/ 22 h 750"/>
                <a:gd name="T40" fmla="*/ 0 w 624"/>
                <a:gd name="T41" fmla="*/ 19 h 750"/>
                <a:gd name="T42" fmla="*/ 1 w 624"/>
                <a:gd name="T43" fmla="*/ 18 h 750"/>
                <a:gd name="T44" fmla="*/ 2 w 624"/>
                <a:gd name="T45" fmla="*/ 14 h 750"/>
                <a:gd name="T46" fmla="*/ 4 w 624"/>
                <a:gd name="T47" fmla="*/ 17 h 750"/>
                <a:gd name="T48" fmla="*/ 6 w 624"/>
                <a:gd name="T49" fmla="*/ 17 h 750"/>
                <a:gd name="T50" fmla="*/ 7 w 624"/>
                <a:gd name="T51" fmla="*/ 17 h 750"/>
                <a:gd name="T52" fmla="*/ 9 w 624"/>
                <a:gd name="T53" fmla="*/ 15 h 750"/>
                <a:gd name="T54" fmla="*/ 10 w 624"/>
                <a:gd name="T55" fmla="*/ 14 h 750"/>
                <a:gd name="T56" fmla="*/ 11 w 624"/>
                <a:gd name="T57" fmla="*/ 12 h 750"/>
                <a:gd name="T58" fmla="*/ 13 w 624"/>
                <a:gd name="T59" fmla="*/ 12 h 750"/>
                <a:gd name="T60" fmla="*/ 18 w 624"/>
                <a:gd name="T61" fmla="*/ 10 h 750"/>
                <a:gd name="T62" fmla="*/ 22 w 624"/>
                <a:gd name="T63" fmla="*/ 4 h 750"/>
                <a:gd name="T64" fmla="*/ 24 w 624"/>
                <a:gd name="T65" fmla="*/ 4 h 750"/>
                <a:gd name="T66" fmla="*/ 26 w 624"/>
                <a:gd name="T67" fmla="*/ 2 h 750"/>
                <a:gd name="T68" fmla="*/ 29 w 624"/>
                <a:gd name="T69" fmla="*/ 0 h 750"/>
                <a:gd name="T70" fmla="*/ 32 w 624"/>
                <a:gd name="T71" fmla="*/ 2 h 750"/>
                <a:gd name="T72" fmla="*/ 34 w 624"/>
                <a:gd name="T73" fmla="*/ 5 h 750"/>
                <a:gd name="T74" fmla="*/ 35 w 624"/>
                <a:gd name="T75" fmla="*/ 8 h 750"/>
                <a:gd name="T76" fmla="*/ 39 w 624"/>
                <a:gd name="T77" fmla="*/ 11 h 750"/>
                <a:gd name="T78" fmla="*/ 42 w 624"/>
                <a:gd name="T79" fmla="*/ 14 h 750"/>
                <a:gd name="T80" fmla="*/ 46 w 624"/>
                <a:gd name="T81" fmla="*/ 12 h 750"/>
                <a:gd name="T82" fmla="*/ 49 w 624"/>
                <a:gd name="T83" fmla="*/ 12 h 750"/>
                <a:gd name="T84" fmla="*/ 51 w 624"/>
                <a:gd name="T85" fmla="*/ 12 h 750"/>
                <a:gd name="T86" fmla="*/ 53 w 624"/>
                <a:gd name="T87" fmla="*/ 12 h 750"/>
                <a:gd name="T88" fmla="*/ 53 w 624"/>
                <a:gd name="T89" fmla="*/ 17 h 750"/>
                <a:gd name="T90" fmla="*/ 51 w 624"/>
                <a:gd name="T91" fmla="*/ 20 h 750"/>
                <a:gd name="T92" fmla="*/ 49 w 624"/>
                <a:gd name="T93" fmla="*/ 26 h 750"/>
                <a:gd name="T94" fmla="*/ 47 w 624"/>
                <a:gd name="T95" fmla="*/ 26 h 750"/>
                <a:gd name="T96" fmla="*/ 44 w 624"/>
                <a:gd name="T97" fmla="*/ 26 h 750"/>
                <a:gd name="T98" fmla="*/ 43 w 624"/>
                <a:gd name="T99" fmla="*/ 27 h 750"/>
                <a:gd name="T100" fmla="*/ 45 w 624"/>
                <a:gd name="T101" fmla="*/ 32 h 750"/>
                <a:gd name="T102" fmla="*/ 44 w 624"/>
                <a:gd name="T103" fmla="*/ 43 h 750"/>
                <a:gd name="T104" fmla="*/ 44 w 624"/>
                <a:gd name="T105" fmla="*/ 47 h 750"/>
                <a:gd name="T106" fmla="*/ 44 w 624"/>
                <a:gd name="T107" fmla="*/ 54 h 750"/>
                <a:gd name="T108" fmla="*/ 41 w 624"/>
                <a:gd name="T109" fmla="*/ 60 h 750"/>
                <a:gd name="T110" fmla="*/ 42 w 624"/>
                <a:gd name="T111" fmla="*/ 62 h 750"/>
                <a:gd name="T112" fmla="*/ 43 w 624"/>
                <a:gd name="T113" fmla="*/ 65 h 750"/>
                <a:gd name="T114" fmla="*/ 39 w 624"/>
                <a:gd name="T115" fmla="*/ 63 h 750"/>
                <a:gd name="T116" fmla="*/ 35 w 624"/>
                <a:gd name="T117" fmla="*/ 62 h 75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24"/>
                <a:gd name="T178" fmla="*/ 0 h 750"/>
                <a:gd name="T179" fmla="*/ 624 w 624"/>
                <a:gd name="T180" fmla="*/ 750 h 75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24" h="750">
                  <a:moveTo>
                    <a:pt x="390" y="702"/>
                  </a:moveTo>
                  <a:lnTo>
                    <a:pt x="372" y="696"/>
                  </a:lnTo>
                  <a:lnTo>
                    <a:pt x="360" y="702"/>
                  </a:lnTo>
                  <a:lnTo>
                    <a:pt x="348" y="702"/>
                  </a:lnTo>
                  <a:lnTo>
                    <a:pt x="336" y="702"/>
                  </a:lnTo>
                  <a:lnTo>
                    <a:pt x="330" y="702"/>
                  </a:lnTo>
                  <a:lnTo>
                    <a:pt x="318" y="708"/>
                  </a:lnTo>
                  <a:lnTo>
                    <a:pt x="306" y="708"/>
                  </a:lnTo>
                  <a:lnTo>
                    <a:pt x="294" y="690"/>
                  </a:lnTo>
                  <a:lnTo>
                    <a:pt x="294" y="684"/>
                  </a:lnTo>
                  <a:lnTo>
                    <a:pt x="276" y="684"/>
                  </a:lnTo>
                  <a:lnTo>
                    <a:pt x="270" y="678"/>
                  </a:lnTo>
                  <a:lnTo>
                    <a:pt x="240" y="672"/>
                  </a:lnTo>
                  <a:lnTo>
                    <a:pt x="234" y="672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6"/>
                  </a:lnTo>
                  <a:lnTo>
                    <a:pt x="216" y="660"/>
                  </a:lnTo>
                  <a:lnTo>
                    <a:pt x="216" y="654"/>
                  </a:lnTo>
                  <a:lnTo>
                    <a:pt x="216" y="642"/>
                  </a:lnTo>
                  <a:lnTo>
                    <a:pt x="210" y="642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36"/>
                  </a:lnTo>
                  <a:lnTo>
                    <a:pt x="192" y="624"/>
                  </a:lnTo>
                  <a:lnTo>
                    <a:pt x="186" y="612"/>
                  </a:lnTo>
                  <a:lnTo>
                    <a:pt x="186" y="600"/>
                  </a:lnTo>
                  <a:lnTo>
                    <a:pt x="186" y="588"/>
                  </a:lnTo>
                  <a:lnTo>
                    <a:pt x="180" y="582"/>
                  </a:lnTo>
                  <a:lnTo>
                    <a:pt x="180" y="570"/>
                  </a:lnTo>
                  <a:lnTo>
                    <a:pt x="174" y="558"/>
                  </a:lnTo>
                  <a:lnTo>
                    <a:pt x="162" y="558"/>
                  </a:lnTo>
                  <a:lnTo>
                    <a:pt x="144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38" y="534"/>
                  </a:lnTo>
                  <a:lnTo>
                    <a:pt x="138" y="528"/>
                  </a:lnTo>
                  <a:lnTo>
                    <a:pt x="132" y="522"/>
                  </a:lnTo>
                  <a:lnTo>
                    <a:pt x="144" y="522"/>
                  </a:lnTo>
                  <a:lnTo>
                    <a:pt x="144" y="510"/>
                  </a:lnTo>
                  <a:lnTo>
                    <a:pt x="144" y="504"/>
                  </a:lnTo>
                  <a:lnTo>
                    <a:pt x="138" y="492"/>
                  </a:lnTo>
                  <a:lnTo>
                    <a:pt x="138" y="474"/>
                  </a:lnTo>
                  <a:lnTo>
                    <a:pt x="126" y="468"/>
                  </a:lnTo>
                  <a:lnTo>
                    <a:pt x="120" y="456"/>
                  </a:lnTo>
                  <a:lnTo>
                    <a:pt x="114" y="450"/>
                  </a:lnTo>
                  <a:lnTo>
                    <a:pt x="108" y="438"/>
                  </a:lnTo>
                  <a:lnTo>
                    <a:pt x="96" y="432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60" y="426"/>
                  </a:lnTo>
                  <a:lnTo>
                    <a:pt x="66" y="420"/>
                  </a:lnTo>
                  <a:lnTo>
                    <a:pt x="66" y="408"/>
                  </a:lnTo>
                  <a:lnTo>
                    <a:pt x="72" y="408"/>
                  </a:lnTo>
                  <a:lnTo>
                    <a:pt x="72" y="384"/>
                  </a:lnTo>
                  <a:lnTo>
                    <a:pt x="72" y="366"/>
                  </a:lnTo>
                  <a:lnTo>
                    <a:pt x="78" y="354"/>
                  </a:lnTo>
                  <a:lnTo>
                    <a:pt x="84" y="354"/>
                  </a:lnTo>
                  <a:lnTo>
                    <a:pt x="90" y="348"/>
                  </a:lnTo>
                  <a:lnTo>
                    <a:pt x="102" y="336"/>
                  </a:lnTo>
                  <a:lnTo>
                    <a:pt x="114" y="324"/>
                  </a:lnTo>
                  <a:lnTo>
                    <a:pt x="120" y="312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20" y="276"/>
                  </a:lnTo>
                  <a:lnTo>
                    <a:pt x="96" y="270"/>
                  </a:lnTo>
                  <a:lnTo>
                    <a:pt x="84" y="270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72" y="264"/>
                  </a:lnTo>
                  <a:lnTo>
                    <a:pt x="60" y="252"/>
                  </a:lnTo>
                  <a:lnTo>
                    <a:pt x="42" y="252"/>
                  </a:lnTo>
                  <a:lnTo>
                    <a:pt x="42" y="258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18" y="252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42" y="156"/>
                  </a:lnTo>
                  <a:lnTo>
                    <a:pt x="48" y="198"/>
                  </a:lnTo>
                  <a:lnTo>
                    <a:pt x="48" y="204"/>
                  </a:lnTo>
                  <a:lnTo>
                    <a:pt x="54" y="198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204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192"/>
                  </a:lnTo>
                  <a:lnTo>
                    <a:pt x="96" y="186"/>
                  </a:lnTo>
                  <a:lnTo>
                    <a:pt x="102" y="180"/>
                  </a:lnTo>
                  <a:lnTo>
                    <a:pt x="102" y="174"/>
                  </a:lnTo>
                  <a:lnTo>
                    <a:pt x="108" y="168"/>
                  </a:lnTo>
                  <a:lnTo>
                    <a:pt x="108" y="162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0"/>
                  </a:lnTo>
                  <a:lnTo>
                    <a:pt x="132" y="144"/>
                  </a:lnTo>
                  <a:lnTo>
                    <a:pt x="138" y="138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0" y="132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74" y="126"/>
                  </a:lnTo>
                  <a:lnTo>
                    <a:pt x="204" y="120"/>
                  </a:lnTo>
                  <a:lnTo>
                    <a:pt x="210" y="78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54"/>
                  </a:lnTo>
                  <a:lnTo>
                    <a:pt x="276" y="54"/>
                  </a:lnTo>
                  <a:lnTo>
                    <a:pt x="276" y="48"/>
                  </a:lnTo>
                  <a:lnTo>
                    <a:pt x="282" y="48"/>
                  </a:lnTo>
                  <a:lnTo>
                    <a:pt x="288" y="42"/>
                  </a:lnTo>
                  <a:lnTo>
                    <a:pt x="294" y="42"/>
                  </a:lnTo>
                  <a:lnTo>
                    <a:pt x="294" y="18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0"/>
                  </a:lnTo>
                  <a:lnTo>
                    <a:pt x="336" y="0"/>
                  </a:lnTo>
                  <a:lnTo>
                    <a:pt x="342" y="0"/>
                  </a:lnTo>
                  <a:lnTo>
                    <a:pt x="354" y="6"/>
                  </a:lnTo>
                  <a:lnTo>
                    <a:pt x="366" y="18"/>
                  </a:lnTo>
                  <a:lnTo>
                    <a:pt x="378" y="36"/>
                  </a:lnTo>
                  <a:lnTo>
                    <a:pt x="390" y="42"/>
                  </a:lnTo>
                  <a:lnTo>
                    <a:pt x="390" y="48"/>
                  </a:lnTo>
                  <a:lnTo>
                    <a:pt x="396" y="60"/>
                  </a:lnTo>
                  <a:lnTo>
                    <a:pt x="402" y="72"/>
                  </a:lnTo>
                  <a:lnTo>
                    <a:pt x="408" y="78"/>
                  </a:lnTo>
                  <a:lnTo>
                    <a:pt x="402" y="84"/>
                  </a:lnTo>
                  <a:lnTo>
                    <a:pt x="408" y="90"/>
                  </a:lnTo>
                  <a:lnTo>
                    <a:pt x="414" y="102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50" y="126"/>
                  </a:lnTo>
                  <a:lnTo>
                    <a:pt x="456" y="126"/>
                  </a:lnTo>
                  <a:lnTo>
                    <a:pt x="462" y="144"/>
                  </a:lnTo>
                  <a:lnTo>
                    <a:pt x="480" y="156"/>
                  </a:lnTo>
                  <a:lnTo>
                    <a:pt x="492" y="156"/>
                  </a:lnTo>
                  <a:lnTo>
                    <a:pt x="516" y="150"/>
                  </a:lnTo>
                  <a:lnTo>
                    <a:pt x="516" y="144"/>
                  </a:lnTo>
                  <a:lnTo>
                    <a:pt x="516" y="138"/>
                  </a:lnTo>
                  <a:lnTo>
                    <a:pt x="528" y="138"/>
                  </a:lnTo>
                  <a:lnTo>
                    <a:pt x="546" y="144"/>
                  </a:lnTo>
                  <a:lnTo>
                    <a:pt x="546" y="138"/>
                  </a:lnTo>
                  <a:lnTo>
                    <a:pt x="552" y="138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76" y="138"/>
                  </a:lnTo>
                  <a:lnTo>
                    <a:pt x="582" y="138"/>
                  </a:lnTo>
                  <a:lnTo>
                    <a:pt x="588" y="138"/>
                  </a:lnTo>
                  <a:lnTo>
                    <a:pt x="594" y="138"/>
                  </a:lnTo>
                  <a:lnTo>
                    <a:pt x="594" y="144"/>
                  </a:lnTo>
                  <a:lnTo>
                    <a:pt x="600" y="138"/>
                  </a:lnTo>
                  <a:lnTo>
                    <a:pt x="606" y="138"/>
                  </a:lnTo>
                  <a:lnTo>
                    <a:pt x="606" y="144"/>
                  </a:lnTo>
                  <a:lnTo>
                    <a:pt x="612" y="144"/>
                  </a:lnTo>
                  <a:lnTo>
                    <a:pt x="618" y="156"/>
                  </a:lnTo>
                  <a:lnTo>
                    <a:pt x="612" y="198"/>
                  </a:lnTo>
                  <a:lnTo>
                    <a:pt x="624" y="198"/>
                  </a:lnTo>
                  <a:lnTo>
                    <a:pt x="624" y="204"/>
                  </a:lnTo>
                  <a:lnTo>
                    <a:pt x="612" y="216"/>
                  </a:lnTo>
                  <a:lnTo>
                    <a:pt x="594" y="234"/>
                  </a:lnTo>
                  <a:lnTo>
                    <a:pt x="588" y="252"/>
                  </a:lnTo>
                  <a:lnTo>
                    <a:pt x="576" y="270"/>
                  </a:lnTo>
                  <a:lnTo>
                    <a:pt x="564" y="282"/>
                  </a:lnTo>
                  <a:lnTo>
                    <a:pt x="564" y="294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8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34" y="294"/>
                  </a:lnTo>
                  <a:lnTo>
                    <a:pt x="522" y="300"/>
                  </a:lnTo>
                  <a:lnTo>
                    <a:pt x="510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498" y="324"/>
                  </a:lnTo>
                  <a:lnTo>
                    <a:pt x="504" y="336"/>
                  </a:lnTo>
                  <a:lnTo>
                    <a:pt x="510" y="348"/>
                  </a:lnTo>
                  <a:lnTo>
                    <a:pt x="516" y="366"/>
                  </a:lnTo>
                  <a:lnTo>
                    <a:pt x="522" y="432"/>
                  </a:lnTo>
                  <a:lnTo>
                    <a:pt x="522" y="456"/>
                  </a:lnTo>
                  <a:lnTo>
                    <a:pt x="504" y="492"/>
                  </a:lnTo>
                  <a:lnTo>
                    <a:pt x="504" y="498"/>
                  </a:lnTo>
                  <a:lnTo>
                    <a:pt x="498" y="504"/>
                  </a:lnTo>
                  <a:lnTo>
                    <a:pt x="498" y="522"/>
                  </a:lnTo>
                  <a:lnTo>
                    <a:pt x="504" y="534"/>
                  </a:lnTo>
                  <a:lnTo>
                    <a:pt x="510" y="546"/>
                  </a:lnTo>
                  <a:lnTo>
                    <a:pt x="516" y="558"/>
                  </a:lnTo>
                  <a:lnTo>
                    <a:pt x="516" y="588"/>
                  </a:lnTo>
                  <a:lnTo>
                    <a:pt x="516" y="600"/>
                  </a:lnTo>
                  <a:lnTo>
                    <a:pt x="510" y="618"/>
                  </a:lnTo>
                  <a:lnTo>
                    <a:pt x="504" y="636"/>
                  </a:lnTo>
                  <a:lnTo>
                    <a:pt x="504" y="642"/>
                  </a:lnTo>
                  <a:lnTo>
                    <a:pt x="474" y="654"/>
                  </a:lnTo>
                  <a:lnTo>
                    <a:pt x="474" y="690"/>
                  </a:lnTo>
                  <a:lnTo>
                    <a:pt x="474" y="696"/>
                  </a:lnTo>
                  <a:lnTo>
                    <a:pt x="480" y="702"/>
                  </a:lnTo>
                  <a:lnTo>
                    <a:pt x="486" y="708"/>
                  </a:lnTo>
                  <a:lnTo>
                    <a:pt x="492" y="708"/>
                  </a:lnTo>
                  <a:lnTo>
                    <a:pt x="498" y="726"/>
                  </a:lnTo>
                  <a:lnTo>
                    <a:pt x="504" y="726"/>
                  </a:lnTo>
                  <a:lnTo>
                    <a:pt x="504" y="738"/>
                  </a:lnTo>
                  <a:lnTo>
                    <a:pt x="498" y="744"/>
                  </a:lnTo>
                  <a:lnTo>
                    <a:pt x="486" y="750"/>
                  </a:lnTo>
                  <a:lnTo>
                    <a:pt x="474" y="744"/>
                  </a:lnTo>
                  <a:lnTo>
                    <a:pt x="462" y="744"/>
                  </a:lnTo>
                  <a:lnTo>
                    <a:pt x="456" y="732"/>
                  </a:lnTo>
                  <a:lnTo>
                    <a:pt x="444" y="732"/>
                  </a:lnTo>
                  <a:lnTo>
                    <a:pt x="432" y="726"/>
                  </a:lnTo>
                  <a:lnTo>
                    <a:pt x="420" y="720"/>
                  </a:lnTo>
                  <a:lnTo>
                    <a:pt x="408" y="708"/>
                  </a:lnTo>
                  <a:lnTo>
                    <a:pt x="402" y="708"/>
                  </a:lnTo>
                  <a:lnTo>
                    <a:pt x="390" y="702"/>
                  </a:lnTo>
                  <a:close/>
                </a:path>
              </a:pathLst>
            </a:custGeom>
            <a:solidFill>
              <a:srgbClr val="549E39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27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9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107" name="Freeform 21">
              <a:extLst>
                <a:ext uri="{FF2B5EF4-FFF2-40B4-BE49-F238E27FC236}">
                  <a16:creationId xmlns:a16="http://schemas.microsoft.com/office/drawing/2014/main" id="{3403524A-1B7E-4D05-BB67-89BF6D7A6E0F}"/>
                </a:ext>
              </a:extLst>
            </p:cNvPr>
            <p:cNvSpPr>
              <a:spLocks/>
            </p:cNvSpPr>
            <p:nvPr/>
          </p:nvSpPr>
          <p:spPr bwMode="gray">
            <a:xfrm>
              <a:off x="4408489" y="4811713"/>
              <a:ext cx="547687" cy="666750"/>
            </a:xfrm>
            <a:custGeom>
              <a:avLst/>
              <a:gdLst>
                <a:gd name="T0" fmla="*/ 15 w 588"/>
                <a:gd name="T1" fmla="*/ 59 h 714"/>
                <a:gd name="T2" fmla="*/ 14 w 588"/>
                <a:gd name="T3" fmla="*/ 58 h 714"/>
                <a:gd name="T4" fmla="*/ 9 w 588"/>
                <a:gd name="T5" fmla="*/ 54 h 714"/>
                <a:gd name="T6" fmla="*/ 4 w 588"/>
                <a:gd name="T7" fmla="*/ 54 h 714"/>
                <a:gd name="T8" fmla="*/ 0 w 588"/>
                <a:gd name="T9" fmla="*/ 50 h 714"/>
                <a:gd name="T10" fmla="*/ 0 w 588"/>
                <a:gd name="T11" fmla="*/ 44 h 714"/>
                <a:gd name="T12" fmla="*/ 4 w 588"/>
                <a:gd name="T13" fmla="*/ 46 h 714"/>
                <a:gd name="T14" fmla="*/ 7 w 588"/>
                <a:gd name="T15" fmla="*/ 47 h 714"/>
                <a:gd name="T16" fmla="*/ 10 w 588"/>
                <a:gd name="T17" fmla="*/ 46 h 714"/>
                <a:gd name="T18" fmla="*/ 8 w 588"/>
                <a:gd name="T19" fmla="*/ 44 h 714"/>
                <a:gd name="T20" fmla="*/ 10 w 588"/>
                <a:gd name="T21" fmla="*/ 39 h 714"/>
                <a:gd name="T22" fmla="*/ 11 w 588"/>
                <a:gd name="T23" fmla="*/ 34 h 714"/>
                <a:gd name="T24" fmla="*/ 9 w 588"/>
                <a:gd name="T25" fmla="*/ 28 h 714"/>
                <a:gd name="T26" fmla="*/ 11 w 588"/>
                <a:gd name="T27" fmla="*/ 22 h 714"/>
                <a:gd name="T28" fmla="*/ 10 w 588"/>
                <a:gd name="T29" fmla="*/ 12 h 714"/>
                <a:gd name="T30" fmla="*/ 9 w 588"/>
                <a:gd name="T31" fmla="*/ 9 h 714"/>
                <a:gd name="T32" fmla="*/ 12 w 588"/>
                <a:gd name="T33" fmla="*/ 8 h 714"/>
                <a:gd name="T34" fmla="*/ 14 w 588"/>
                <a:gd name="T35" fmla="*/ 7 h 714"/>
                <a:gd name="T36" fmla="*/ 17 w 588"/>
                <a:gd name="T37" fmla="*/ 10 h 714"/>
                <a:gd name="T38" fmla="*/ 23 w 588"/>
                <a:gd name="T39" fmla="*/ 14 h 714"/>
                <a:gd name="T40" fmla="*/ 28 w 588"/>
                <a:gd name="T41" fmla="*/ 4 h 714"/>
                <a:gd name="T42" fmla="*/ 35 w 588"/>
                <a:gd name="T43" fmla="*/ 2 h 714"/>
                <a:gd name="T44" fmla="*/ 38 w 588"/>
                <a:gd name="T45" fmla="*/ 0 h 714"/>
                <a:gd name="T46" fmla="*/ 40 w 588"/>
                <a:gd name="T47" fmla="*/ 2 h 714"/>
                <a:gd name="T48" fmla="*/ 39 w 588"/>
                <a:gd name="T49" fmla="*/ 4 h 714"/>
                <a:gd name="T50" fmla="*/ 41 w 588"/>
                <a:gd name="T51" fmla="*/ 5 h 714"/>
                <a:gd name="T52" fmla="*/ 42 w 588"/>
                <a:gd name="T53" fmla="*/ 7 h 714"/>
                <a:gd name="T54" fmla="*/ 43 w 588"/>
                <a:gd name="T55" fmla="*/ 9 h 714"/>
                <a:gd name="T56" fmla="*/ 43 w 588"/>
                <a:gd name="T57" fmla="*/ 10 h 714"/>
                <a:gd name="T58" fmla="*/ 43 w 588"/>
                <a:gd name="T59" fmla="*/ 12 h 714"/>
                <a:gd name="T60" fmla="*/ 44 w 588"/>
                <a:gd name="T61" fmla="*/ 12 h 714"/>
                <a:gd name="T62" fmla="*/ 46 w 588"/>
                <a:gd name="T63" fmla="*/ 13 h 714"/>
                <a:gd name="T64" fmla="*/ 47 w 588"/>
                <a:gd name="T65" fmla="*/ 14 h 714"/>
                <a:gd name="T66" fmla="*/ 48 w 588"/>
                <a:gd name="T67" fmla="*/ 15 h 714"/>
                <a:gd name="T68" fmla="*/ 49 w 588"/>
                <a:gd name="T69" fmla="*/ 15 h 714"/>
                <a:gd name="T70" fmla="*/ 48 w 588"/>
                <a:gd name="T71" fmla="*/ 17 h 714"/>
                <a:gd name="T72" fmla="*/ 49 w 588"/>
                <a:gd name="T73" fmla="*/ 19 h 714"/>
                <a:gd name="T74" fmla="*/ 49 w 588"/>
                <a:gd name="T75" fmla="*/ 20 h 714"/>
                <a:gd name="T76" fmla="*/ 51 w 588"/>
                <a:gd name="T77" fmla="*/ 21 h 714"/>
                <a:gd name="T78" fmla="*/ 50 w 588"/>
                <a:gd name="T79" fmla="*/ 22 h 714"/>
                <a:gd name="T80" fmla="*/ 47 w 588"/>
                <a:gd name="T81" fmla="*/ 23 h 714"/>
                <a:gd name="T82" fmla="*/ 47 w 588"/>
                <a:gd name="T83" fmla="*/ 26 h 714"/>
                <a:gd name="T84" fmla="*/ 47 w 588"/>
                <a:gd name="T85" fmla="*/ 32 h 714"/>
                <a:gd name="T86" fmla="*/ 44 w 588"/>
                <a:gd name="T87" fmla="*/ 35 h 714"/>
                <a:gd name="T88" fmla="*/ 42 w 588"/>
                <a:gd name="T89" fmla="*/ 39 h 714"/>
                <a:gd name="T90" fmla="*/ 42 w 588"/>
                <a:gd name="T91" fmla="*/ 41 h 714"/>
                <a:gd name="T92" fmla="*/ 42 w 588"/>
                <a:gd name="T93" fmla="*/ 42 h 714"/>
                <a:gd name="T94" fmla="*/ 41 w 588"/>
                <a:gd name="T95" fmla="*/ 44 h 714"/>
                <a:gd name="T96" fmla="*/ 39 w 588"/>
                <a:gd name="T97" fmla="*/ 43 h 714"/>
                <a:gd name="T98" fmla="*/ 37 w 588"/>
                <a:gd name="T99" fmla="*/ 44 h 714"/>
                <a:gd name="T100" fmla="*/ 35 w 588"/>
                <a:gd name="T101" fmla="*/ 46 h 714"/>
                <a:gd name="T102" fmla="*/ 31 w 588"/>
                <a:gd name="T103" fmla="*/ 45 h 714"/>
                <a:gd name="T104" fmla="*/ 24 w 588"/>
                <a:gd name="T105" fmla="*/ 45 h 714"/>
                <a:gd name="T106" fmla="*/ 25 w 588"/>
                <a:gd name="T107" fmla="*/ 47 h 714"/>
                <a:gd name="T108" fmla="*/ 25 w 588"/>
                <a:gd name="T109" fmla="*/ 49 h 714"/>
                <a:gd name="T110" fmla="*/ 25 w 588"/>
                <a:gd name="T111" fmla="*/ 50 h 714"/>
                <a:gd name="T112" fmla="*/ 24 w 588"/>
                <a:gd name="T113" fmla="*/ 51 h 714"/>
                <a:gd name="T114" fmla="*/ 22 w 588"/>
                <a:gd name="T115" fmla="*/ 53 h 714"/>
                <a:gd name="T116" fmla="*/ 23 w 588"/>
                <a:gd name="T117" fmla="*/ 56 h 714"/>
                <a:gd name="T118" fmla="*/ 20 w 588"/>
                <a:gd name="T119" fmla="*/ 58 h 714"/>
                <a:gd name="T120" fmla="*/ 19 w 588"/>
                <a:gd name="T121" fmla="*/ 62 h 7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8"/>
                <a:gd name="T184" fmla="*/ 0 h 714"/>
                <a:gd name="T185" fmla="*/ 588 w 588"/>
                <a:gd name="T186" fmla="*/ 714 h 7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8" h="714">
                  <a:moveTo>
                    <a:pt x="216" y="714"/>
                  </a:moveTo>
                  <a:lnTo>
                    <a:pt x="198" y="702"/>
                  </a:lnTo>
                  <a:lnTo>
                    <a:pt x="186" y="696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74" y="678"/>
                  </a:lnTo>
                  <a:lnTo>
                    <a:pt x="168" y="672"/>
                  </a:lnTo>
                  <a:lnTo>
                    <a:pt x="162" y="666"/>
                  </a:lnTo>
                  <a:lnTo>
                    <a:pt x="156" y="636"/>
                  </a:lnTo>
                  <a:lnTo>
                    <a:pt x="144" y="630"/>
                  </a:lnTo>
                  <a:lnTo>
                    <a:pt x="108" y="630"/>
                  </a:lnTo>
                  <a:lnTo>
                    <a:pt x="102" y="624"/>
                  </a:lnTo>
                  <a:lnTo>
                    <a:pt x="96" y="624"/>
                  </a:lnTo>
                  <a:lnTo>
                    <a:pt x="72" y="624"/>
                  </a:lnTo>
                  <a:lnTo>
                    <a:pt x="54" y="624"/>
                  </a:lnTo>
                  <a:lnTo>
                    <a:pt x="42" y="618"/>
                  </a:lnTo>
                  <a:lnTo>
                    <a:pt x="30" y="612"/>
                  </a:lnTo>
                  <a:lnTo>
                    <a:pt x="6" y="606"/>
                  </a:lnTo>
                  <a:lnTo>
                    <a:pt x="0" y="606"/>
                  </a:lnTo>
                  <a:lnTo>
                    <a:pt x="0" y="570"/>
                  </a:lnTo>
                  <a:lnTo>
                    <a:pt x="6" y="552"/>
                  </a:lnTo>
                  <a:lnTo>
                    <a:pt x="6" y="522"/>
                  </a:lnTo>
                  <a:lnTo>
                    <a:pt x="0" y="510"/>
                  </a:lnTo>
                  <a:lnTo>
                    <a:pt x="0" y="504"/>
                  </a:lnTo>
                  <a:lnTo>
                    <a:pt x="12" y="510"/>
                  </a:lnTo>
                  <a:lnTo>
                    <a:pt x="18" y="510"/>
                  </a:lnTo>
                  <a:lnTo>
                    <a:pt x="30" y="522"/>
                  </a:lnTo>
                  <a:lnTo>
                    <a:pt x="42" y="528"/>
                  </a:lnTo>
                  <a:lnTo>
                    <a:pt x="54" y="534"/>
                  </a:lnTo>
                  <a:lnTo>
                    <a:pt x="66" y="534"/>
                  </a:lnTo>
                  <a:lnTo>
                    <a:pt x="72" y="546"/>
                  </a:lnTo>
                  <a:lnTo>
                    <a:pt x="84" y="546"/>
                  </a:lnTo>
                  <a:lnTo>
                    <a:pt x="96" y="552"/>
                  </a:lnTo>
                  <a:lnTo>
                    <a:pt x="108" y="546"/>
                  </a:lnTo>
                  <a:lnTo>
                    <a:pt x="114" y="540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90" y="504"/>
                  </a:lnTo>
                  <a:lnTo>
                    <a:pt x="84" y="498"/>
                  </a:lnTo>
                  <a:lnTo>
                    <a:pt x="84" y="492"/>
                  </a:lnTo>
                  <a:lnTo>
                    <a:pt x="84" y="456"/>
                  </a:lnTo>
                  <a:lnTo>
                    <a:pt x="114" y="444"/>
                  </a:lnTo>
                  <a:lnTo>
                    <a:pt x="114" y="438"/>
                  </a:lnTo>
                  <a:lnTo>
                    <a:pt x="120" y="420"/>
                  </a:lnTo>
                  <a:lnTo>
                    <a:pt x="126" y="402"/>
                  </a:lnTo>
                  <a:lnTo>
                    <a:pt x="126" y="390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14" y="336"/>
                  </a:lnTo>
                  <a:lnTo>
                    <a:pt x="108" y="324"/>
                  </a:lnTo>
                  <a:lnTo>
                    <a:pt x="108" y="306"/>
                  </a:lnTo>
                  <a:lnTo>
                    <a:pt x="114" y="300"/>
                  </a:lnTo>
                  <a:lnTo>
                    <a:pt x="114" y="294"/>
                  </a:lnTo>
                  <a:lnTo>
                    <a:pt x="132" y="258"/>
                  </a:lnTo>
                  <a:lnTo>
                    <a:pt x="132" y="234"/>
                  </a:lnTo>
                  <a:lnTo>
                    <a:pt x="126" y="168"/>
                  </a:lnTo>
                  <a:lnTo>
                    <a:pt x="120" y="150"/>
                  </a:lnTo>
                  <a:lnTo>
                    <a:pt x="114" y="138"/>
                  </a:lnTo>
                  <a:lnTo>
                    <a:pt x="108" y="126"/>
                  </a:lnTo>
                  <a:lnTo>
                    <a:pt x="108" y="120"/>
                  </a:lnTo>
                  <a:lnTo>
                    <a:pt x="108" y="114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20" y="96"/>
                  </a:lnTo>
                  <a:lnTo>
                    <a:pt x="132" y="102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56" y="90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96"/>
                  </a:lnTo>
                  <a:lnTo>
                    <a:pt x="186" y="96"/>
                  </a:lnTo>
                  <a:lnTo>
                    <a:pt x="192" y="114"/>
                  </a:lnTo>
                  <a:lnTo>
                    <a:pt x="204" y="132"/>
                  </a:lnTo>
                  <a:lnTo>
                    <a:pt x="216" y="144"/>
                  </a:lnTo>
                  <a:lnTo>
                    <a:pt x="240" y="162"/>
                  </a:lnTo>
                  <a:lnTo>
                    <a:pt x="270" y="156"/>
                  </a:lnTo>
                  <a:lnTo>
                    <a:pt x="282" y="126"/>
                  </a:lnTo>
                  <a:lnTo>
                    <a:pt x="282" y="96"/>
                  </a:lnTo>
                  <a:lnTo>
                    <a:pt x="294" y="54"/>
                  </a:lnTo>
                  <a:lnTo>
                    <a:pt x="324" y="48"/>
                  </a:lnTo>
                  <a:lnTo>
                    <a:pt x="342" y="48"/>
                  </a:lnTo>
                  <a:lnTo>
                    <a:pt x="384" y="48"/>
                  </a:lnTo>
                  <a:lnTo>
                    <a:pt x="390" y="30"/>
                  </a:lnTo>
                  <a:lnTo>
                    <a:pt x="402" y="18"/>
                  </a:lnTo>
                  <a:lnTo>
                    <a:pt x="438" y="6"/>
                  </a:lnTo>
                  <a:lnTo>
                    <a:pt x="438" y="0"/>
                  </a:lnTo>
                  <a:lnTo>
                    <a:pt x="444" y="0"/>
                  </a:lnTo>
                  <a:lnTo>
                    <a:pt x="444" y="6"/>
                  </a:lnTo>
                  <a:lnTo>
                    <a:pt x="450" y="6"/>
                  </a:lnTo>
                  <a:lnTo>
                    <a:pt x="456" y="12"/>
                  </a:lnTo>
                  <a:lnTo>
                    <a:pt x="456" y="18"/>
                  </a:lnTo>
                  <a:lnTo>
                    <a:pt x="462" y="24"/>
                  </a:lnTo>
                  <a:lnTo>
                    <a:pt x="462" y="30"/>
                  </a:lnTo>
                  <a:lnTo>
                    <a:pt x="468" y="36"/>
                  </a:lnTo>
                  <a:lnTo>
                    <a:pt x="462" y="36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74" y="60"/>
                  </a:lnTo>
                  <a:lnTo>
                    <a:pt x="486" y="78"/>
                  </a:lnTo>
                  <a:lnTo>
                    <a:pt x="486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8" y="102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498" y="114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504" y="126"/>
                  </a:lnTo>
                  <a:lnTo>
                    <a:pt x="498" y="132"/>
                  </a:lnTo>
                  <a:lnTo>
                    <a:pt x="504" y="138"/>
                  </a:lnTo>
                  <a:lnTo>
                    <a:pt x="504" y="132"/>
                  </a:lnTo>
                  <a:lnTo>
                    <a:pt x="510" y="132"/>
                  </a:lnTo>
                  <a:lnTo>
                    <a:pt x="510" y="138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56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6" y="168"/>
                  </a:lnTo>
                  <a:lnTo>
                    <a:pt x="552" y="168"/>
                  </a:lnTo>
                  <a:lnTo>
                    <a:pt x="546" y="168"/>
                  </a:lnTo>
                  <a:lnTo>
                    <a:pt x="546" y="174"/>
                  </a:lnTo>
                  <a:lnTo>
                    <a:pt x="558" y="180"/>
                  </a:lnTo>
                  <a:lnTo>
                    <a:pt x="564" y="180"/>
                  </a:lnTo>
                  <a:lnTo>
                    <a:pt x="564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52" y="198"/>
                  </a:lnTo>
                  <a:lnTo>
                    <a:pt x="558" y="204"/>
                  </a:lnTo>
                  <a:lnTo>
                    <a:pt x="564" y="204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22"/>
                  </a:lnTo>
                  <a:lnTo>
                    <a:pt x="576" y="228"/>
                  </a:lnTo>
                  <a:lnTo>
                    <a:pt x="570" y="228"/>
                  </a:lnTo>
                  <a:lnTo>
                    <a:pt x="570" y="234"/>
                  </a:lnTo>
                  <a:lnTo>
                    <a:pt x="576" y="234"/>
                  </a:lnTo>
                  <a:lnTo>
                    <a:pt x="582" y="234"/>
                  </a:lnTo>
                  <a:lnTo>
                    <a:pt x="588" y="234"/>
                  </a:lnTo>
                  <a:lnTo>
                    <a:pt x="588" y="240"/>
                  </a:lnTo>
                  <a:lnTo>
                    <a:pt x="588" y="246"/>
                  </a:lnTo>
                  <a:lnTo>
                    <a:pt x="588" y="252"/>
                  </a:lnTo>
                  <a:lnTo>
                    <a:pt x="582" y="252"/>
                  </a:lnTo>
                  <a:lnTo>
                    <a:pt x="576" y="252"/>
                  </a:lnTo>
                  <a:lnTo>
                    <a:pt x="582" y="258"/>
                  </a:lnTo>
                  <a:lnTo>
                    <a:pt x="582" y="264"/>
                  </a:lnTo>
                  <a:lnTo>
                    <a:pt x="576" y="264"/>
                  </a:lnTo>
                  <a:lnTo>
                    <a:pt x="546" y="264"/>
                  </a:lnTo>
                  <a:lnTo>
                    <a:pt x="546" y="276"/>
                  </a:lnTo>
                  <a:lnTo>
                    <a:pt x="540" y="282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40" y="324"/>
                  </a:lnTo>
                  <a:lnTo>
                    <a:pt x="552" y="330"/>
                  </a:lnTo>
                  <a:lnTo>
                    <a:pt x="558" y="342"/>
                  </a:lnTo>
                  <a:lnTo>
                    <a:pt x="546" y="372"/>
                  </a:lnTo>
                  <a:lnTo>
                    <a:pt x="534" y="372"/>
                  </a:lnTo>
                  <a:lnTo>
                    <a:pt x="534" y="384"/>
                  </a:lnTo>
                  <a:lnTo>
                    <a:pt x="522" y="384"/>
                  </a:lnTo>
                  <a:lnTo>
                    <a:pt x="510" y="402"/>
                  </a:lnTo>
                  <a:lnTo>
                    <a:pt x="504" y="420"/>
                  </a:lnTo>
                  <a:lnTo>
                    <a:pt x="492" y="426"/>
                  </a:lnTo>
                  <a:lnTo>
                    <a:pt x="486" y="432"/>
                  </a:lnTo>
                  <a:lnTo>
                    <a:pt x="486" y="444"/>
                  </a:lnTo>
                  <a:lnTo>
                    <a:pt x="486" y="450"/>
                  </a:lnTo>
                  <a:lnTo>
                    <a:pt x="486" y="456"/>
                  </a:lnTo>
                  <a:lnTo>
                    <a:pt x="486" y="462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80" y="474"/>
                  </a:lnTo>
                  <a:lnTo>
                    <a:pt x="480" y="480"/>
                  </a:lnTo>
                  <a:lnTo>
                    <a:pt x="480" y="486"/>
                  </a:lnTo>
                  <a:lnTo>
                    <a:pt x="480" y="492"/>
                  </a:lnTo>
                  <a:lnTo>
                    <a:pt x="480" y="498"/>
                  </a:lnTo>
                  <a:lnTo>
                    <a:pt x="474" y="504"/>
                  </a:lnTo>
                  <a:lnTo>
                    <a:pt x="468" y="510"/>
                  </a:lnTo>
                  <a:lnTo>
                    <a:pt x="462" y="510"/>
                  </a:lnTo>
                  <a:lnTo>
                    <a:pt x="456" y="504"/>
                  </a:lnTo>
                  <a:lnTo>
                    <a:pt x="456" y="498"/>
                  </a:lnTo>
                  <a:lnTo>
                    <a:pt x="450" y="498"/>
                  </a:lnTo>
                  <a:lnTo>
                    <a:pt x="444" y="498"/>
                  </a:lnTo>
                  <a:lnTo>
                    <a:pt x="438" y="498"/>
                  </a:lnTo>
                  <a:lnTo>
                    <a:pt x="432" y="498"/>
                  </a:lnTo>
                  <a:lnTo>
                    <a:pt x="426" y="504"/>
                  </a:lnTo>
                  <a:lnTo>
                    <a:pt x="426" y="510"/>
                  </a:lnTo>
                  <a:lnTo>
                    <a:pt x="420" y="516"/>
                  </a:lnTo>
                  <a:lnTo>
                    <a:pt x="414" y="522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84" y="528"/>
                  </a:lnTo>
                  <a:lnTo>
                    <a:pt x="366" y="540"/>
                  </a:lnTo>
                  <a:lnTo>
                    <a:pt x="360" y="522"/>
                  </a:lnTo>
                  <a:lnTo>
                    <a:pt x="348" y="504"/>
                  </a:lnTo>
                  <a:lnTo>
                    <a:pt x="330" y="504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34"/>
                  </a:lnTo>
                  <a:lnTo>
                    <a:pt x="288" y="540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2" y="540"/>
                  </a:lnTo>
                  <a:lnTo>
                    <a:pt x="282" y="546"/>
                  </a:lnTo>
                  <a:lnTo>
                    <a:pt x="288" y="552"/>
                  </a:lnTo>
                  <a:lnTo>
                    <a:pt x="294" y="564"/>
                  </a:lnTo>
                  <a:lnTo>
                    <a:pt x="300" y="564"/>
                  </a:lnTo>
                  <a:lnTo>
                    <a:pt x="300" y="570"/>
                  </a:lnTo>
                  <a:lnTo>
                    <a:pt x="294" y="570"/>
                  </a:lnTo>
                  <a:lnTo>
                    <a:pt x="288" y="570"/>
                  </a:lnTo>
                  <a:lnTo>
                    <a:pt x="288" y="576"/>
                  </a:lnTo>
                  <a:lnTo>
                    <a:pt x="288" y="582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606"/>
                  </a:lnTo>
                  <a:lnTo>
                    <a:pt x="264" y="612"/>
                  </a:lnTo>
                  <a:lnTo>
                    <a:pt x="258" y="612"/>
                  </a:lnTo>
                  <a:lnTo>
                    <a:pt x="252" y="612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52" y="630"/>
                  </a:lnTo>
                  <a:lnTo>
                    <a:pt x="264" y="642"/>
                  </a:lnTo>
                  <a:lnTo>
                    <a:pt x="258" y="648"/>
                  </a:lnTo>
                  <a:lnTo>
                    <a:pt x="246" y="654"/>
                  </a:lnTo>
                  <a:lnTo>
                    <a:pt x="240" y="660"/>
                  </a:lnTo>
                  <a:lnTo>
                    <a:pt x="234" y="672"/>
                  </a:lnTo>
                  <a:lnTo>
                    <a:pt x="234" y="678"/>
                  </a:lnTo>
                  <a:lnTo>
                    <a:pt x="228" y="684"/>
                  </a:lnTo>
                  <a:lnTo>
                    <a:pt x="228" y="696"/>
                  </a:lnTo>
                  <a:lnTo>
                    <a:pt x="216" y="714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27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9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108" name="Freeform 22">
              <a:extLst>
                <a:ext uri="{FF2B5EF4-FFF2-40B4-BE49-F238E27FC236}">
                  <a16:creationId xmlns:a16="http://schemas.microsoft.com/office/drawing/2014/main" id="{1DF9C569-21F1-47E1-8187-E032EC787BFF}"/>
                </a:ext>
              </a:extLst>
            </p:cNvPr>
            <p:cNvSpPr>
              <a:spLocks/>
            </p:cNvSpPr>
            <p:nvPr/>
          </p:nvSpPr>
          <p:spPr bwMode="gray">
            <a:xfrm>
              <a:off x="3862388" y="4805363"/>
              <a:ext cx="438150" cy="652462"/>
            </a:xfrm>
            <a:custGeom>
              <a:avLst/>
              <a:gdLst>
                <a:gd name="T0" fmla="*/ 0 w 468"/>
                <a:gd name="T1" fmla="*/ 61 h 696"/>
                <a:gd name="T2" fmla="*/ 1 w 468"/>
                <a:gd name="T3" fmla="*/ 58 h 696"/>
                <a:gd name="T4" fmla="*/ 2 w 468"/>
                <a:gd name="T5" fmla="*/ 54 h 696"/>
                <a:gd name="T6" fmla="*/ 3 w 468"/>
                <a:gd name="T7" fmla="*/ 51 h 696"/>
                <a:gd name="T8" fmla="*/ 4 w 468"/>
                <a:gd name="T9" fmla="*/ 48 h 696"/>
                <a:gd name="T10" fmla="*/ 6 w 468"/>
                <a:gd name="T11" fmla="*/ 44 h 696"/>
                <a:gd name="T12" fmla="*/ 5 w 468"/>
                <a:gd name="T13" fmla="*/ 41 h 696"/>
                <a:gd name="T14" fmla="*/ 7 w 468"/>
                <a:gd name="T15" fmla="*/ 38 h 696"/>
                <a:gd name="T16" fmla="*/ 8 w 468"/>
                <a:gd name="T17" fmla="*/ 36 h 696"/>
                <a:gd name="T18" fmla="*/ 7 w 468"/>
                <a:gd name="T19" fmla="*/ 33 h 696"/>
                <a:gd name="T20" fmla="*/ 6 w 468"/>
                <a:gd name="T21" fmla="*/ 29 h 696"/>
                <a:gd name="T22" fmla="*/ 4 w 468"/>
                <a:gd name="T23" fmla="*/ 22 h 696"/>
                <a:gd name="T24" fmla="*/ 2 w 468"/>
                <a:gd name="T25" fmla="*/ 14 h 696"/>
                <a:gd name="T26" fmla="*/ 12 w 468"/>
                <a:gd name="T27" fmla="*/ 11 h 696"/>
                <a:gd name="T28" fmla="*/ 14 w 468"/>
                <a:gd name="T29" fmla="*/ 2 h 696"/>
                <a:gd name="T30" fmla="*/ 16 w 468"/>
                <a:gd name="T31" fmla="*/ 0 h 696"/>
                <a:gd name="T32" fmla="*/ 17 w 468"/>
                <a:gd name="T33" fmla="*/ 0 h 696"/>
                <a:gd name="T34" fmla="*/ 18 w 468"/>
                <a:gd name="T35" fmla="*/ 1 h 696"/>
                <a:gd name="T36" fmla="*/ 17 w 468"/>
                <a:gd name="T37" fmla="*/ 2 h 696"/>
                <a:gd name="T38" fmla="*/ 17 w 468"/>
                <a:gd name="T39" fmla="*/ 4 h 696"/>
                <a:gd name="T40" fmla="*/ 17 w 468"/>
                <a:gd name="T41" fmla="*/ 6 h 696"/>
                <a:gd name="T42" fmla="*/ 20 w 468"/>
                <a:gd name="T43" fmla="*/ 6 h 696"/>
                <a:gd name="T44" fmla="*/ 22 w 468"/>
                <a:gd name="T45" fmla="*/ 5 h 696"/>
                <a:gd name="T46" fmla="*/ 24 w 468"/>
                <a:gd name="T47" fmla="*/ 7 h 696"/>
                <a:gd name="T48" fmla="*/ 28 w 468"/>
                <a:gd name="T49" fmla="*/ 7 h 696"/>
                <a:gd name="T50" fmla="*/ 28 w 468"/>
                <a:gd name="T51" fmla="*/ 11 h 696"/>
                <a:gd name="T52" fmla="*/ 25 w 468"/>
                <a:gd name="T53" fmla="*/ 14 h 696"/>
                <a:gd name="T54" fmla="*/ 23 w 468"/>
                <a:gd name="T55" fmla="*/ 15 h 696"/>
                <a:gd name="T56" fmla="*/ 23 w 468"/>
                <a:gd name="T57" fmla="*/ 19 h 696"/>
                <a:gd name="T58" fmla="*/ 23 w 468"/>
                <a:gd name="T59" fmla="*/ 21 h 696"/>
                <a:gd name="T60" fmla="*/ 24 w 468"/>
                <a:gd name="T61" fmla="*/ 21 h 696"/>
                <a:gd name="T62" fmla="*/ 27 w 468"/>
                <a:gd name="T63" fmla="*/ 23 h 696"/>
                <a:gd name="T64" fmla="*/ 29 w 468"/>
                <a:gd name="T65" fmla="*/ 24 h 696"/>
                <a:gd name="T66" fmla="*/ 29 w 468"/>
                <a:gd name="T67" fmla="*/ 28 h 696"/>
                <a:gd name="T68" fmla="*/ 29 w 468"/>
                <a:gd name="T69" fmla="*/ 29 h 696"/>
                <a:gd name="T70" fmla="*/ 29 w 468"/>
                <a:gd name="T71" fmla="*/ 32 h 696"/>
                <a:gd name="T72" fmla="*/ 32 w 468"/>
                <a:gd name="T73" fmla="*/ 32 h 696"/>
                <a:gd name="T74" fmla="*/ 33 w 468"/>
                <a:gd name="T75" fmla="*/ 35 h 696"/>
                <a:gd name="T76" fmla="*/ 34 w 468"/>
                <a:gd name="T77" fmla="*/ 38 h 696"/>
                <a:gd name="T78" fmla="*/ 35 w 468"/>
                <a:gd name="T79" fmla="*/ 39 h 696"/>
                <a:gd name="T80" fmla="*/ 36 w 468"/>
                <a:gd name="T81" fmla="*/ 40 h 696"/>
                <a:gd name="T82" fmla="*/ 37 w 468"/>
                <a:gd name="T83" fmla="*/ 41 h 696"/>
                <a:gd name="T84" fmla="*/ 38 w 468"/>
                <a:gd name="T85" fmla="*/ 42 h 696"/>
                <a:gd name="T86" fmla="*/ 41 w 468"/>
                <a:gd name="T87" fmla="*/ 44 h 696"/>
                <a:gd name="T88" fmla="*/ 40 w 468"/>
                <a:gd name="T89" fmla="*/ 44 h 696"/>
                <a:gd name="T90" fmla="*/ 37 w 468"/>
                <a:gd name="T91" fmla="*/ 45 h 696"/>
                <a:gd name="T92" fmla="*/ 36 w 468"/>
                <a:gd name="T93" fmla="*/ 48 h 696"/>
                <a:gd name="T94" fmla="*/ 34 w 468"/>
                <a:gd name="T95" fmla="*/ 49 h 696"/>
                <a:gd name="T96" fmla="*/ 32 w 468"/>
                <a:gd name="T97" fmla="*/ 51 h 696"/>
                <a:gd name="T98" fmla="*/ 31 w 468"/>
                <a:gd name="T99" fmla="*/ 51 h 696"/>
                <a:gd name="T100" fmla="*/ 26 w 468"/>
                <a:gd name="T101" fmla="*/ 49 h 696"/>
                <a:gd name="T102" fmla="*/ 23 w 468"/>
                <a:gd name="T103" fmla="*/ 51 h 696"/>
                <a:gd name="T104" fmla="*/ 21 w 468"/>
                <a:gd name="T105" fmla="*/ 51 h 696"/>
                <a:gd name="T106" fmla="*/ 20 w 468"/>
                <a:gd name="T107" fmla="*/ 52 h 696"/>
                <a:gd name="T108" fmla="*/ 17 w 468"/>
                <a:gd name="T109" fmla="*/ 55 h 696"/>
                <a:gd name="T110" fmla="*/ 15 w 468"/>
                <a:gd name="T111" fmla="*/ 56 h 696"/>
                <a:gd name="T112" fmla="*/ 15 w 468"/>
                <a:gd name="T113" fmla="*/ 59 h 696"/>
                <a:gd name="T114" fmla="*/ 14 w 468"/>
                <a:gd name="T115" fmla="*/ 59 h 696"/>
                <a:gd name="T116" fmla="*/ 12 w 468"/>
                <a:gd name="T117" fmla="*/ 59 h 696"/>
                <a:gd name="T118" fmla="*/ 11 w 468"/>
                <a:gd name="T119" fmla="*/ 57 h 696"/>
                <a:gd name="T120" fmla="*/ 9 w 468"/>
                <a:gd name="T121" fmla="*/ 57 h 696"/>
                <a:gd name="T122" fmla="*/ 6 w 468"/>
                <a:gd name="T123" fmla="*/ 58 h 696"/>
                <a:gd name="T124" fmla="*/ 4 w 468"/>
                <a:gd name="T125" fmla="*/ 60 h 69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8"/>
                <a:gd name="T190" fmla="*/ 0 h 696"/>
                <a:gd name="T191" fmla="*/ 468 w 468"/>
                <a:gd name="T192" fmla="*/ 696 h 69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8" h="696">
                  <a:moveTo>
                    <a:pt x="30" y="696"/>
                  </a:moveTo>
                  <a:lnTo>
                    <a:pt x="18" y="696"/>
                  </a:lnTo>
                  <a:lnTo>
                    <a:pt x="6" y="696"/>
                  </a:lnTo>
                  <a:lnTo>
                    <a:pt x="0" y="690"/>
                  </a:lnTo>
                  <a:lnTo>
                    <a:pt x="6" y="678"/>
                  </a:lnTo>
                  <a:lnTo>
                    <a:pt x="12" y="666"/>
                  </a:lnTo>
                  <a:lnTo>
                    <a:pt x="18" y="654"/>
                  </a:lnTo>
                  <a:lnTo>
                    <a:pt x="18" y="642"/>
                  </a:lnTo>
                  <a:lnTo>
                    <a:pt x="18" y="618"/>
                  </a:lnTo>
                  <a:lnTo>
                    <a:pt x="24" y="606"/>
                  </a:lnTo>
                  <a:lnTo>
                    <a:pt x="30" y="594"/>
                  </a:lnTo>
                  <a:lnTo>
                    <a:pt x="30" y="582"/>
                  </a:lnTo>
                  <a:lnTo>
                    <a:pt x="36" y="576"/>
                  </a:lnTo>
                  <a:lnTo>
                    <a:pt x="42" y="564"/>
                  </a:lnTo>
                  <a:lnTo>
                    <a:pt x="48" y="546"/>
                  </a:lnTo>
                  <a:lnTo>
                    <a:pt x="48" y="528"/>
                  </a:lnTo>
                  <a:lnTo>
                    <a:pt x="60" y="516"/>
                  </a:lnTo>
                  <a:lnTo>
                    <a:pt x="66" y="504"/>
                  </a:lnTo>
                  <a:lnTo>
                    <a:pt x="66" y="492"/>
                  </a:lnTo>
                  <a:lnTo>
                    <a:pt x="60" y="480"/>
                  </a:lnTo>
                  <a:lnTo>
                    <a:pt x="54" y="468"/>
                  </a:lnTo>
                  <a:lnTo>
                    <a:pt x="60" y="456"/>
                  </a:lnTo>
                  <a:lnTo>
                    <a:pt x="72" y="450"/>
                  </a:lnTo>
                  <a:lnTo>
                    <a:pt x="84" y="438"/>
                  </a:lnTo>
                  <a:lnTo>
                    <a:pt x="90" y="426"/>
                  </a:lnTo>
                  <a:lnTo>
                    <a:pt x="90" y="420"/>
                  </a:lnTo>
                  <a:lnTo>
                    <a:pt x="90" y="408"/>
                  </a:lnTo>
                  <a:lnTo>
                    <a:pt x="90" y="402"/>
                  </a:lnTo>
                  <a:lnTo>
                    <a:pt x="84" y="396"/>
                  </a:lnTo>
                  <a:lnTo>
                    <a:pt x="78" y="378"/>
                  </a:lnTo>
                  <a:lnTo>
                    <a:pt x="72" y="360"/>
                  </a:lnTo>
                  <a:lnTo>
                    <a:pt x="66" y="348"/>
                  </a:lnTo>
                  <a:lnTo>
                    <a:pt x="72" y="336"/>
                  </a:lnTo>
                  <a:lnTo>
                    <a:pt x="66" y="306"/>
                  </a:lnTo>
                  <a:lnTo>
                    <a:pt x="54" y="276"/>
                  </a:lnTo>
                  <a:lnTo>
                    <a:pt x="42" y="252"/>
                  </a:lnTo>
                  <a:lnTo>
                    <a:pt x="36" y="222"/>
                  </a:lnTo>
                  <a:lnTo>
                    <a:pt x="30" y="192"/>
                  </a:lnTo>
                  <a:lnTo>
                    <a:pt x="24" y="162"/>
                  </a:lnTo>
                  <a:lnTo>
                    <a:pt x="42" y="174"/>
                  </a:lnTo>
                  <a:lnTo>
                    <a:pt x="120" y="138"/>
                  </a:lnTo>
                  <a:lnTo>
                    <a:pt x="132" y="126"/>
                  </a:lnTo>
                  <a:lnTo>
                    <a:pt x="120" y="54"/>
                  </a:lnTo>
                  <a:lnTo>
                    <a:pt x="156" y="30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0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8" y="18"/>
                  </a:lnTo>
                  <a:lnTo>
                    <a:pt x="198" y="24"/>
                  </a:lnTo>
                  <a:lnTo>
                    <a:pt x="198" y="30"/>
                  </a:lnTo>
                  <a:lnTo>
                    <a:pt x="198" y="42"/>
                  </a:lnTo>
                  <a:lnTo>
                    <a:pt x="198" y="48"/>
                  </a:lnTo>
                  <a:lnTo>
                    <a:pt x="192" y="60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28" y="60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34" y="60"/>
                  </a:lnTo>
                  <a:lnTo>
                    <a:pt x="252" y="60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312" y="84"/>
                  </a:lnTo>
                  <a:lnTo>
                    <a:pt x="318" y="96"/>
                  </a:lnTo>
                  <a:lnTo>
                    <a:pt x="318" y="102"/>
                  </a:lnTo>
                  <a:lnTo>
                    <a:pt x="312" y="120"/>
                  </a:lnTo>
                  <a:lnTo>
                    <a:pt x="306" y="132"/>
                  </a:lnTo>
                  <a:lnTo>
                    <a:pt x="294" y="144"/>
                  </a:lnTo>
                  <a:lnTo>
                    <a:pt x="282" y="156"/>
                  </a:lnTo>
                  <a:lnTo>
                    <a:pt x="276" y="162"/>
                  </a:lnTo>
                  <a:lnTo>
                    <a:pt x="270" y="162"/>
                  </a:lnTo>
                  <a:lnTo>
                    <a:pt x="264" y="174"/>
                  </a:lnTo>
                  <a:lnTo>
                    <a:pt x="264" y="192"/>
                  </a:lnTo>
                  <a:lnTo>
                    <a:pt x="264" y="216"/>
                  </a:lnTo>
                  <a:lnTo>
                    <a:pt x="258" y="216"/>
                  </a:lnTo>
                  <a:lnTo>
                    <a:pt x="258" y="228"/>
                  </a:lnTo>
                  <a:lnTo>
                    <a:pt x="252" y="234"/>
                  </a:lnTo>
                  <a:lnTo>
                    <a:pt x="258" y="240"/>
                  </a:lnTo>
                  <a:lnTo>
                    <a:pt x="264" y="240"/>
                  </a:lnTo>
                  <a:lnTo>
                    <a:pt x="270" y="240"/>
                  </a:lnTo>
                  <a:lnTo>
                    <a:pt x="276" y="240"/>
                  </a:lnTo>
                  <a:lnTo>
                    <a:pt x="288" y="240"/>
                  </a:lnTo>
                  <a:lnTo>
                    <a:pt x="300" y="246"/>
                  </a:lnTo>
                  <a:lnTo>
                    <a:pt x="306" y="258"/>
                  </a:lnTo>
                  <a:lnTo>
                    <a:pt x="312" y="264"/>
                  </a:lnTo>
                  <a:lnTo>
                    <a:pt x="318" y="276"/>
                  </a:lnTo>
                  <a:lnTo>
                    <a:pt x="330" y="282"/>
                  </a:lnTo>
                  <a:lnTo>
                    <a:pt x="330" y="300"/>
                  </a:lnTo>
                  <a:lnTo>
                    <a:pt x="336" y="312"/>
                  </a:lnTo>
                  <a:lnTo>
                    <a:pt x="336" y="318"/>
                  </a:lnTo>
                  <a:lnTo>
                    <a:pt x="336" y="330"/>
                  </a:lnTo>
                  <a:lnTo>
                    <a:pt x="324" y="330"/>
                  </a:lnTo>
                  <a:lnTo>
                    <a:pt x="330" y="336"/>
                  </a:lnTo>
                  <a:lnTo>
                    <a:pt x="330" y="342"/>
                  </a:lnTo>
                  <a:lnTo>
                    <a:pt x="336" y="348"/>
                  </a:lnTo>
                  <a:lnTo>
                    <a:pt x="330" y="360"/>
                  </a:lnTo>
                  <a:lnTo>
                    <a:pt x="336" y="372"/>
                  </a:lnTo>
                  <a:lnTo>
                    <a:pt x="354" y="366"/>
                  </a:lnTo>
                  <a:lnTo>
                    <a:pt x="366" y="366"/>
                  </a:lnTo>
                  <a:lnTo>
                    <a:pt x="372" y="378"/>
                  </a:lnTo>
                  <a:lnTo>
                    <a:pt x="372" y="390"/>
                  </a:lnTo>
                  <a:lnTo>
                    <a:pt x="378" y="396"/>
                  </a:lnTo>
                  <a:lnTo>
                    <a:pt x="378" y="408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44"/>
                  </a:lnTo>
                  <a:lnTo>
                    <a:pt x="390" y="444"/>
                  </a:lnTo>
                  <a:lnTo>
                    <a:pt x="396" y="444"/>
                  </a:lnTo>
                  <a:lnTo>
                    <a:pt x="402" y="450"/>
                  </a:lnTo>
                  <a:lnTo>
                    <a:pt x="408" y="450"/>
                  </a:lnTo>
                  <a:lnTo>
                    <a:pt x="408" y="462"/>
                  </a:lnTo>
                  <a:lnTo>
                    <a:pt x="408" y="468"/>
                  </a:lnTo>
                  <a:lnTo>
                    <a:pt x="414" y="474"/>
                  </a:lnTo>
                  <a:lnTo>
                    <a:pt x="420" y="474"/>
                  </a:lnTo>
                  <a:lnTo>
                    <a:pt x="420" y="480"/>
                  </a:lnTo>
                  <a:lnTo>
                    <a:pt x="426" y="480"/>
                  </a:lnTo>
                  <a:lnTo>
                    <a:pt x="432" y="480"/>
                  </a:lnTo>
                  <a:lnTo>
                    <a:pt x="462" y="486"/>
                  </a:lnTo>
                  <a:lnTo>
                    <a:pt x="468" y="492"/>
                  </a:lnTo>
                  <a:lnTo>
                    <a:pt x="468" y="498"/>
                  </a:lnTo>
                  <a:lnTo>
                    <a:pt x="462" y="498"/>
                  </a:lnTo>
                  <a:lnTo>
                    <a:pt x="456" y="498"/>
                  </a:lnTo>
                  <a:lnTo>
                    <a:pt x="456" y="504"/>
                  </a:lnTo>
                  <a:lnTo>
                    <a:pt x="456" y="510"/>
                  </a:lnTo>
                  <a:lnTo>
                    <a:pt x="450" y="516"/>
                  </a:lnTo>
                  <a:lnTo>
                    <a:pt x="426" y="516"/>
                  </a:lnTo>
                  <a:lnTo>
                    <a:pt x="408" y="528"/>
                  </a:lnTo>
                  <a:lnTo>
                    <a:pt x="408" y="546"/>
                  </a:lnTo>
                  <a:lnTo>
                    <a:pt x="414" y="552"/>
                  </a:lnTo>
                  <a:lnTo>
                    <a:pt x="408" y="558"/>
                  </a:lnTo>
                  <a:lnTo>
                    <a:pt x="402" y="564"/>
                  </a:lnTo>
                  <a:lnTo>
                    <a:pt x="384" y="564"/>
                  </a:lnTo>
                  <a:lnTo>
                    <a:pt x="372" y="564"/>
                  </a:lnTo>
                  <a:lnTo>
                    <a:pt x="372" y="576"/>
                  </a:lnTo>
                  <a:lnTo>
                    <a:pt x="366" y="576"/>
                  </a:lnTo>
                  <a:lnTo>
                    <a:pt x="366" y="582"/>
                  </a:lnTo>
                  <a:lnTo>
                    <a:pt x="360" y="582"/>
                  </a:lnTo>
                  <a:lnTo>
                    <a:pt x="348" y="576"/>
                  </a:lnTo>
                  <a:lnTo>
                    <a:pt x="336" y="570"/>
                  </a:lnTo>
                  <a:lnTo>
                    <a:pt x="324" y="570"/>
                  </a:lnTo>
                  <a:lnTo>
                    <a:pt x="300" y="564"/>
                  </a:lnTo>
                  <a:lnTo>
                    <a:pt x="282" y="564"/>
                  </a:lnTo>
                  <a:lnTo>
                    <a:pt x="270" y="570"/>
                  </a:lnTo>
                  <a:lnTo>
                    <a:pt x="264" y="576"/>
                  </a:lnTo>
                  <a:lnTo>
                    <a:pt x="258" y="576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34" y="594"/>
                  </a:lnTo>
                  <a:lnTo>
                    <a:pt x="228" y="600"/>
                  </a:lnTo>
                  <a:lnTo>
                    <a:pt x="210" y="618"/>
                  </a:lnTo>
                  <a:lnTo>
                    <a:pt x="210" y="624"/>
                  </a:lnTo>
                  <a:lnTo>
                    <a:pt x="192" y="630"/>
                  </a:lnTo>
                  <a:lnTo>
                    <a:pt x="186" y="630"/>
                  </a:lnTo>
                  <a:lnTo>
                    <a:pt x="180" y="636"/>
                  </a:lnTo>
                  <a:lnTo>
                    <a:pt x="174" y="642"/>
                  </a:lnTo>
                  <a:lnTo>
                    <a:pt x="168" y="642"/>
                  </a:lnTo>
                  <a:lnTo>
                    <a:pt x="168" y="654"/>
                  </a:lnTo>
                  <a:lnTo>
                    <a:pt x="168" y="678"/>
                  </a:lnTo>
                  <a:lnTo>
                    <a:pt x="162" y="684"/>
                  </a:lnTo>
                  <a:lnTo>
                    <a:pt x="156" y="684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72"/>
                  </a:lnTo>
                  <a:lnTo>
                    <a:pt x="138" y="672"/>
                  </a:lnTo>
                  <a:lnTo>
                    <a:pt x="138" y="666"/>
                  </a:lnTo>
                  <a:lnTo>
                    <a:pt x="132" y="660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48"/>
                  </a:lnTo>
                  <a:lnTo>
                    <a:pt x="102" y="654"/>
                  </a:lnTo>
                  <a:lnTo>
                    <a:pt x="90" y="654"/>
                  </a:lnTo>
                  <a:lnTo>
                    <a:pt x="84" y="654"/>
                  </a:lnTo>
                  <a:lnTo>
                    <a:pt x="72" y="660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36" y="684"/>
                  </a:lnTo>
                  <a:lnTo>
                    <a:pt x="30" y="696"/>
                  </a:lnTo>
                  <a:close/>
                </a:path>
              </a:pathLst>
            </a:custGeom>
            <a:solidFill>
              <a:srgbClr val="549E39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27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9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109" name="Freeform 23">
              <a:extLst>
                <a:ext uri="{FF2B5EF4-FFF2-40B4-BE49-F238E27FC236}">
                  <a16:creationId xmlns:a16="http://schemas.microsoft.com/office/drawing/2014/main" id="{0CAA7F12-9F11-4D65-AA78-AC3B6884EE6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74963" y="4955280"/>
              <a:ext cx="1073150" cy="890588"/>
            </a:xfrm>
            <a:custGeom>
              <a:avLst/>
              <a:gdLst>
                <a:gd name="T0" fmla="*/ 2147483647 w 1146"/>
                <a:gd name="T1" fmla="*/ 2147483647 h 954"/>
                <a:gd name="T2" fmla="*/ 2147483647 w 1146"/>
                <a:gd name="T3" fmla="*/ 2147483647 h 954"/>
                <a:gd name="T4" fmla="*/ 2147483647 w 1146"/>
                <a:gd name="T5" fmla="*/ 2147483647 h 954"/>
                <a:gd name="T6" fmla="*/ 2147483647 w 1146"/>
                <a:gd name="T7" fmla="*/ 2147483647 h 954"/>
                <a:gd name="T8" fmla="*/ 2147483647 w 1146"/>
                <a:gd name="T9" fmla="*/ 2147483647 h 954"/>
                <a:gd name="T10" fmla="*/ 2147483647 w 1146"/>
                <a:gd name="T11" fmla="*/ 2147483647 h 954"/>
                <a:gd name="T12" fmla="*/ 2147483647 w 1146"/>
                <a:gd name="T13" fmla="*/ 2147483647 h 954"/>
                <a:gd name="T14" fmla="*/ 2147483647 w 1146"/>
                <a:gd name="T15" fmla="*/ 2147483647 h 954"/>
                <a:gd name="T16" fmla="*/ 2147483647 w 1146"/>
                <a:gd name="T17" fmla="*/ 2147483647 h 954"/>
                <a:gd name="T18" fmla="*/ 2147483647 w 1146"/>
                <a:gd name="T19" fmla="*/ 2147483647 h 954"/>
                <a:gd name="T20" fmla="*/ 2147483647 w 1146"/>
                <a:gd name="T21" fmla="*/ 2147483647 h 954"/>
                <a:gd name="T22" fmla="*/ 2147483647 w 1146"/>
                <a:gd name="T23" fmla="*/ 2147483647 h 954"/>
                <a:gd name="T24" fmla="*/ 2147483647 w 1146"/>
                <a:gd name="T25" fmla="*/ 2147483647 h 954"/>
                <a:gd name="T26" fmla="*/ 2147483647 w 1146"/>
                <a:gd name="T27" fmla="*/ 2147483647 h 954"/>
                <a:gd name="T28" fmla="*/ 2147483647 w 1146"/>
                <a:gd name="T29" fmla="*/ 2147483647 h 954"/>
                <a:gd name="T30" fmla="*/ 2147483647 w 1146"/>
                <a:gd name="T31" fmla="*/ 2147483647 h 954"/>
                <a:gd name="T32" fmla="*/ 2147483647 w 1146"/>
                <a:gd name="T33" fmla="*/ 2147483647 h 954"/>
                <a:gd name="T34" fmla="*/ 2147483647 w 1146"/>
                <a:gd name="T35" fmla="*/ 2147483647 h 954"/>
                <a:gd name="T36" fmla="*/ 2147483647 w 1146"/>
                <a:gd name="T37" fmla="*/ 2147483647 h 954"/>
                <a:gd name="T38" fmla="*/ 2147483647 w 1146"/>
                <a:gd name="T39" fmla="*/ 2147483647 h 954"/>
                <a:gd name="T40" fmla="*/ 2147483647 w 1146"/>
                <a:gd name="T41" fmla="*/ 2147483647 h 954"/>
                <a:gd name="T42" fmla="*/ 2147483647 w 1146"/>
                <a:gd name="T43" fmla="*/ 2147483647 h 954"/>
                <a:gd name="T44" fmla="*/ 2147483647 w 1146"/>
                <a:gd name="T45" fmla="*/ 2147483647 h 954"/>
                <a:gd name="T46" fmla="*/ 2147483647 w 1146"/>
                <a:gd name="T47" fmla="*/ 2147483647 h 954"/>
                <a:gd name="T48" fmla="*/ 2147483647 w 1146"/>
                <a:gd name="T49" fmla="*/ 2147483647 h 954"/>
                <a:gd name="T50" fmla="*/ 2147483647 w 1146"/>
                <a:gd name="T51" fmla="*/ 2147483647 h 954"/>
                <a:gd name="T52" fmla="*/ 2147483647 w 1146"/>
                <a:gd name="T53" fmla="*/ 2147483647 h 954"/>
                <a:gd name="T54" fmla="*/ 2147483647 w 1146"/>
                <a:gd name="T55" fmla="*/ 2147483647 h 954"/>
                <a:gd name="T56" fmla="*/ 2147483647 w 1146"/>
                <a:gd name="T57" fmla="*/ 2147483647 h 954"/>
                <a:gd name="T58" fmla="*/ 2147483647 w 1146"/>
                <a:gd name="T59" fmla="*/ 2147483647 h 954"/>
                <a:gd name="T60" fmla="*/ 2147483647 w 1146"/>
                <a:gd name="T61" fmla="*/ 2147483647 h 954"/>
                <a:gd name="T62" fmla="*/ 2147483647 w 1146"/>
                <a:gd name="T63" fmla="*/ 2147483647 h 954"/>
                <a:gd name="T64" fmla="*/ 2147483647 w 1146"/>
                <a:gd name="T65" fmla="*/ 2147483647 h 954"/>
                <a:gd name="T66" fmla="*/ 2147483647 w 1146"/>
                <a:gd name="T67" fmla="*/ 2147483647 h 954"/>
                <a:gd name="T68" fmla="*/ 2147483647 w 1146"/>
                <a:gd name="T69" fmla="*/ 2147483647 h 954"/>
                <a:gd name="T70" fmla="*/ 2147483647 w 1146"/>
                <a:gd name="T71" fmla="*/ 2147483647 h 954"/>
                <a:gd name="T72" fmla="*/ 2147483647 w 1146"/>
                <a:gd name="T73" fmla="*/ 2147483647 h 954"/>
                <a:gd name="T74" fmla="*/ 2147483647 w 1146"/>
                <a:gd name="T75" fmla="*/ 2147483647 h 954"/>
                <a:gd name="T76" fmla="*/ 2147483647 w 1146"/>
                <a:gd name="T77" fmla="*/ 2147483647 h 954"/>
                <a:gd name="T78" fmla="*/ 2147483647 w 1146"/>
                <a:gd name="T79" fmla="*/ 2147483647 h 954"/>
                <a:gd name="T80" fmla="*/ 2147483647 w 1146"/>
                <a:gd name="T81" fmla="*/ 2147483647 h 954"/>
                <a:gd name="T82" fmla="*/ 2147483647 w 1146"/>
                <a:gd name="T83" fmla="*/ 2147483647 h 954"/>
                <a:gd name="T84" fmla="*/ 2147483647 w 1146"/>
                <a:gd name="T85" fmla="*/ 2147483647 h 954"/>
                <a:gd name="T86" fmla="*/ 2147483647 w 1146"/>
                <a:gd name="T87" fmla="*/ 2147483647 h 954"/>
                <a:gd name="T88" fmla="*/ 2147483647 w 1146"/>
                <a:gd name="T89" fmla="*/ 2147483647 h 954"/>
                <a:gd name="T90" fmla="*/ 2147483647 w 1146"/>
                <a:gd name="T91" fmla="*/ 2147483647 h 954"/>
                <a:gd name="T92" fmla="*/ 2147483647 w 1146"/>
                <a:gd name="T93" fmla="*/ 2147483647 h 954"/>
                <a:gd name="T94" fmla="*/ 2147483647 w 1146"/>
                <a:gd name="T95" fmla="*/ 2147483647 h 954"/>
                <a:gd name="T96" fmla="*/ 2147483647 w 1146"/>
                <a:gd name="T97" fmla="*/ 2147483647 h 954"/>
                <a:gd name="T98" fmla="*/ 2147483647 w 1146"/>
                <a:gd name="T99" fmla="*/ 2147483647 h 954"/>
                <a:gd name="T100" fmla="*/ 2147483647 w 1146"/>
                <a:gd name="T101" fmla="*/ 2147483647 h 954"/>
                <a:gd name="T102" fmla="*/ 2147483647 w 1146"/>
                <a:gd name="T103" fmla="*/ 2147483647 h 954"/>
                <a:gd name="T104" fmla="*/ 2147483647 w 1146"/>
                <a:gd name="T105" fmla="*/ 2147483647 h 954"/>
                <a:gd name="T106" fmla="*/ 2147483647 w 1146"/>
                <a:gd name="T107" fmla="*/ 2147483647 h 954"/>
                <a:gd name="T108" fmla="*/ 2147483647 w 1146"/>
                <a:gd name="T109" fmla="*/ 2147483647 h 954"/>
                <a:gd name="T110" fmla="*/ 2147483647 w 1146"/>
                <a:gd name="T111" fmla="*/ 2147483647 h 954"/>
                <a:gd name="T112" fmla="*/ 2147483647 w 1146"/>
                <a:gd name="T113" fmla="*/ 2147483647 h 954"/>
                <a:gd name="T114" fmla="*/ 2147483647 w 1146"/>
                <a:gd name="T115" fmla="*/ 2147483647 h 954"/>
                <a:gd name="T116" fmla="*/ 2147483647 w 1146"/>
                <a:gd name="T117" fmla="*/ 2147483647 h 954"/>
                <a:gd name="T118" fmla="*/ 2147483647 w 1146"/>
                <a:gd name="T119" fmla="*/ 2147483647 h 954"/>
                <a:gd name="T120" fmla="*/ 2147483647 w 1146"/>
                <a:gd name="T121" fmla="*/ 2147483647 h 954"/>
                <a:gd name="T122" fmla="*/ 2147483647 w 1146"/>
                <a:gd name="T123" fmla="*/ 2147483647 h 95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46"/>
                <a:gd name="T187" fmla="*/ 0 h 954"/>
                <a:gd name="T188" fmla="*/ 1146 w 1146"/>
                <a:gd name="T189" fmla="*/ 954 h 95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46" h="954">
                  <a:moveTo>
                    <a:pt x="1056" y="498"/>
                  </a:moveTo>
                  <a:lnTo>
                    <a:pt x="1044" y="510"/>
                  </a:lnTo>
                  <a:lnTo>
                    <a:pt x="1032" y="516"/>
                  </a:lnTo>
                  <a:lnTo>
                    <a:pt x="1038" y="528"/>
                  </a:lnTo>
                  <a:lnTo>
                    <a:pt x="1050" y="540"/>
                  </a:lnTo>
                  <a:lnTo>
                    <a:pt x="1050" y="546"/>
                  </a:lnTo>
                  <a:lnTo>
                    <a:pt x="1050" y="564"/>
                  </a:lnTo>
                  <a:lnTo>
                    <a:pt x="1038" y="576"/>
                  </a:lnTo>
                  <a:lnTo>
                    <a:pt x="1032" y="588"/>
                  </a:lnTo>
                  <a:lnTo>
                    <a:pt x="1020" y="594"/>
                  </a:lnTo>
                  <a:lnTo>
                    <a:pt x="1008" y="594"/>
                  </a:lnTo>
                  <a:lnTo>
                    <a:pt x="1002" y="600"/>
                  </a:lnTo>
                  <a:lnTo>
                    <a:pt x="996" y="612"/>
                  </a:lnTo>
                  <a:lnTo>
                    <a:pt x="996" y="624"/>
                  </a:lnTo>
                  <a:lnTo>
                    <a:pt x="996" y="648"/>
                  </a:lnTo>
                  <a:lnTo>
                    <a:pt x="996" y="660"/>
                  </a:lnTo>
                  <a:lnTo>
                    <a:pt x="1002" y="672"/>
                  </a:lnTo>
                  <a:lnTo>
                    <a:pt x="1002" y="684"/>
                  </a:lnTo>
                  <a:lnTo>
                    <a:pt x="996" y="684"/>
                  </a:lnTo>
                  <a:lnTo>
                    <a:pt x="984" y="690"/>
                  </a:lnTo>
                  <a:lnTo>
                    <a:pt x="972" y="690"/>
                  </a:lnTo>
                  <a:lnTo>
                    <a:pt x="966" y="696"/>
                  </a:lnTo>
                  <a:lnTo>
                    <a:pt x="966" y="702"/>
                  </a:lnTo>
                  <a:lnTo>
                    <a:pt x="966" y="714"/>
                  </a:lnTo>
                  <a:lnTo>
                    <a:pt x="972" y="726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2" y="756"/>
                  </a:lnTo>
                  <a:lnTo>
                    <a:pt x="966" y="756"/>
                  </a:lnTo>
                  <a:lnTo>
                    <a:pt x="942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18" y="768"/>
                  </a:lnTo>
                  <a:lnTo>
                    <a:pt x="906" y="768"/>
                  </a:lnTo>
                  <a:lnTo>
                    <a:pt x="894" y="762"/>
                  </a:lnTo>
                  <a:lnTo>
                    <a:pt x="882" y="756"/>
                  </a:lnTo>
                  <a:lnTo>
                    <a:pt x="876" y="756"/>
                  </a:lnTo>
                  <a:lnTo>
                    <a:pt x="876" y="762"/>
                  </a:lnTo>
                  <a:lnTo>
                    <a:pt x="864" y="768"/>
                  </a:lnTo>
                  <a:lnTo>
                    <a:pt x="858" y="774"/>
                  </a:lnTo>
                  <a:lnTo>
                    <a:pt x="852" y="774"/>
                  </a:lnTo>
                  <a:lnTo>
                    <a:pt x="840" y="780"/>
                  </a:lnTo>
                  <a:lnTo>
                    <a:pt x="840" y="786"/>
                  </a:lnTo>
                  <a:lnTo>
                    <a:pt x="840" y="792"/>
                  </a:lnTo>
                  <a:lnTo>
                    <a:pt x="840" y="804"/>
                  </a:lnTo>
                  <a:lnTo>
                    <a:pt x="840" y="810"/>
                  </a:lnTo>
                  <a:lnTo>
                    <a:pt x="828" y="816"/>
                  </a:lnTo>
                  <a:lnTo>
                    <a:pt x="810" y="810"/>
                  </a:lnTo>
                  <a:lnTo>
                    <a:pt x="792" y="810"/>
                  </a:lnTo>
                  <a:lnTo>
                    <a:pt x="786" y="816"/>
                  </a:lnTo>
                  <a:lnTo>
                    <a:pt x="780" y="816"/>
                  </a:lnTo>
                  <a:lnTo>
                    <a:pt x="780" y="822"/>
                  </a:lnTo>
                  <a:lnTo>
                    <a:pt x="780" y="828"/>
                  </a:lnTo>
                  <a:lnTo>
                    <a:pt x="780" y="834"/>
                  </a:lnTo>
                  <a:lnTo>
                    <a:pt x="786" y="840"/>
                  </a:lnTo>
                  <a:lnTo>
                    <a:pt x="786" y="846"/>
                  </a:lnTo>
                  <a:lnTo>
                    <a:pt x="786" y="852"/>
                  </a:lnTo>
                  <a:lnTo>
                    <a:pt x="780" y="858"/>
                  </a:lnTo>
                  <a:lnTo>
                    <a:pt x="768" y="858"/>
                  </a:lnTo>
                  <a:lnTo>
                    <a:pt x="762" y="864"/>
                  </a:lnTo>
                  <a:lnTo>
                    <a:pt x="756" y="864"/>
                  </a:lnTo>
                  <a:lnTo>
                    <a:pt x="750" y="870"/>
                  </a:lnTo>
                  <a:lnTo>
                    <a:pt x="744" y="876"/>
                  </a:lnTo>
                  <a:lnTo>
                    <a:pt x="732" y="876"/>
                  </a:lnTo>
                  <a:lnTo>
                    <a:pt x="726" y="876"/>
                  </a:lnTo>
                  <a:lnTo>
                    <a:pt x="720" y="870"/>
                  </a:lnTo>
                  <a:lnTo>
                    <a:pt x="714" y="864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6" y="876"/>
                  </a:lnTo>
                  <a:lnTo>
                    <a:pt x="696" y="882"/>
                  </a:lnTo>
                  <a:lnTo>
                    <a:pt x="696" y="894"/>
                  </a:lnTo>
                  <a:lnTo>
                    <a:pt x="690" y="900"/>
                  </a:lnTo>
                  <a:lnTo>
                    <a:pt x="684" y="900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54" y="888"/>
                  </a:lnTo>
                  <a:lnTo>
                    <a:pt x="654" y="882"/>
                  </a:lnTo>
                  <a:lnTo>
                    <a:pt x="642" y="876"/>
                  </a:lnTo>
                  <a:lnTo>
                    <a:pt x="636" y="876"/>
                  </a:lnTo>
                  <a:lnTo>
                    <a:pt x="630" y="876"/>
                  </a:lnTo>
                  <a:lnTo>
                    <a:pt x="630" y="870"/>
                  </a:lnTo>
                  <a:lnTo>
                    <a:pt x="618" y="858"/>
                  </a:lnTo>
                  <a:lnTo>
                    <a:pt x="612" y="858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06" y="876"/>
                  </a:lnTo>
                  <a:lnTo>
                    <a:pt x="606" y="882"/>
                  </a:lnTo>
                  <a:lnTo>
                    <a:pt x="606" y="888"/>
                  </a:lnTo>
                  <a:lnTo>
                    <a:pt x="600" y="894"/>
                  </a:lnTo>
                  <a:lnTo>
                    <a:pt x="594" y="894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76" y="894"/>
                  </a:lnTo>
                  <a:lnTo>
                    <a:pt x="582" y="900"/>
                  </a:lnTo>
                  <a:lnTo>
                    <a:pt x="576" y="906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64" y="918"/>
                  </a:lnTo>
                  <a:lnTo>
                    <a:pt x="558" y="918"/>
                  </a:lnTo>
                  <a:lnTo>
                    <a:pt x="558" y="912"/>
                  </a:lnTo>
                  <a:lnTo>
                    <a:pt x="552" y="906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06"/>
                  </a:lnTo>
                  <a:lnTo>
                    <a:pt x="534" y="906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0" y="924"/>
                  </a:lnTo>
                  <a:lnTo>
                    <a:pt x="504" y="924"/>
                  </a:lnTo>
                  <a:lnTo>
                    <a:pt x="498" y="930"/>
                  </a:lnTo>
                  <a:lnTo>
                    <a:pt x="492" y="924"/>
                  </a:lnTo>
                  <a:lnTo>
                    <a:pt x="486" y="930"/>
                  </a:lnTo>
                  <a:lnTo>
                    <a:pt x="480" y="942"/>
                  </a:lnTo>
                  <a:lnTo>
                    <a:pt x="468" y="948"/>
                  </a:lnTo>
                  <a:lnTo>
                    <a:pt x="444" y="942"/>
                  </a:lnTo>
                  <a:lnTo>
                    <a:pt x="438" y="954"/>
                  </a:lnTo>
                  <a:lnTo>
                    <a:pt x="426" y="954"/>
                  </a:lnTo>
                  <a:lnTo>
                    <a:pt x="420" y="948"/>
                  </a:lnTo>
                  <a:lnTo>
                    <a:pt x="408" y="936"/>
                  </a:lnTo>
                  <a:lnTo>
                    <a:pt x="396" y="936"/>
                  </a:lnTo>
                  <a:lnTo>
                    <a:pt x="390" y="930"/>
                  </a:lnTo>
                  <a:lnTo>
                    <a:pt x="390" y="924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66" y="924"/>
                  </a:lnTo>
                  <a:lnTo>
                    <a:pt x="360" y="924"/>
                  </a:lnTo>
                  <a:lnTo>
                    <a:pt x="348" y="918"/>
                  </a:lnTo>
                  <a:lnTo>
                    <a:pt x="342" y="906"/>
                  </a:lnTo>
                  <a:lnTo>
                    <a:pt x="336" y="906"/>
                  </a:lnTo>
                  <a:lnTo>
                    <a:pt x="330" y="906"/>
                  </a:lnTo>
                  <a:lnTo>
                    <a:pt x="312" y="906"/>
                  </a:lnTo>
                  <a:lnTo>
                    <a:pt x="312" y="900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888"/>
                  </a:lnTo>
                  <a:lnTo>
                    <a:pt x="312" y="882"/>
                  </a:lnTo>
                  <a:lnTo>
                    <a:pt x="306" y="876"/>
                  </a:lnTo>
                  <a:lnTo>
                    <a:pt x="312" y="876"/>
                  </a:lnTo>
                  <a:lnTo>
                    <a:pt x="312" y="870"/>
                  </a:lnTo>
                  <a:lnTo>
                    <a:pt x="318" y="876"/>
                  </a:lnTo>
                  <a:lnTo>
                    <a:pt x="318" y="870"/>
                  </a:lnTo>
                  <a:lnTo>
                    <a:pt x="324" y="876"/>
                  </a:lnTo>
                  <a:lnTo>
                    <a:pt x="330" y="876"/>
                  </a:lnTo>
                  <a:lnTo>
                    <a:pt x="336" y="876"/>
                  </a:lnTo>
                  <a:lnTo>
                    <a:pt x="342" y="876"/>
                  </a:lnTo>
                  <a:lnTo>
                    <a:pt x="336" y="876"/>
                  </a:lnTo>
                  <a:lnTo>
                    <a:pt x="330" y="870"/>
                  </a:lnTo>
                  <a:lnTo>
                    <a:pt x="324" y="870"/>
                  </a:lnTo>
                  <a:lnTo>
                    <a:pt x="318" y="870"/>
                  </a:lnTo>
                  <a:lnTo>
                    <a:pt x="312" y="870"/>
                  </a:lnTo>
                  <a:lnTo>
                    <a:pt x="318" y="864"/>
                  </a:lnTo>
                  <a:lnTo>
                    <a:pt x="318" y="858"/>
                  </a:lnTo>
                  <a:lnTo>
                    <a:pt x="318" y="852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6" y="846"/>
                  </a:lnTo>
                  <a:lnTo>
                    <a:pt x="312" y="828"/>
                  </a:lnTo>
                  <a:lnTo>
                    <a:pt x="312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06" y="816"/>
                  </a:lnTo>
                  <a:lnTo>
                    <a:pt x="306" y="810"/>
                  </a:lnTo>
                  <a:lnTo>
                    <a:pt x="306" y="816"/>
                  </a:lnTo>
                  <a:lnTo>
                    <a:pt x="312" y="822"/>
                  </a:lnTo>
                  <a:lnTo>
                    <a:pt x="306" y="822"/>
                  </a:lnTo>
                  <a:lnTo>
                    <a:pt x="306" y="828"/>
                  </a:lnTo>
                  <a:lnTo>
                    <a:pt x="306" y="834"/>
                  </a:lnTo>
                  <a:lnTo>
                    <a:pt x="300" y="840"/>
                  </a:lnTo>
                  <a:lnTo>
                    <a:pt x="300" y="846"/>
                  </a:lnTo>
                  <a:lnTo>
                    <a:pt x="306" y="852"/>
                  </a:lnTo>
                  <a:lnTo>
                    <a:pt x="306" y="858"/>
                  </a:lnTo>
                  <a:lnTo>
                    <a:pt x="312" y="858"/>
                  </a:lnTo>
                  <a:lnTo>
                    <a:pt x="312" y="864"/>
                  </a:lnTo>
                  <a:lnTo>
                    <a:pt x="306" y="864"/>
                  </a:lnTo>
                  <a:lnTo>
                    <a:pt x="300" y="864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82" y="870"/>
                  </a:lnTo>
                  <a:lnTo>
                    <a:pt x="276" y="870"/>
                  </a:lnTo>
                  <a:lnTo>
                    <a:pt x="270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8" y="870"/>
                  </a:lnTo>
                  <a:lnTo>
                    <a:pt x="252" y="870"/>
                  </a:lnTo>
                  <a:lnTo>
                    <a:pt x="252" y="864"/>
                  </a:lnTo>
                  <a:lnTo>
                    <a:pt x="246" y="858"/>
                  </a:lnTo>
                  <a:lnTo>
                    <a:pt x="246" y="852"/>
                  </a:lnTo>
                  <a:lnTo>
                    <a:pt x="246" y="846"/>
                  </a:lnTo>
                  <a:lnTo>
                    <a:pt x="246" y="840"/>
                  </a:lnTo>
                  <a:lnTo>
                    <a:pt x="246" y="834"/>
                  </a:lnTo>
                  <a:lnTo>
                    <a:pt x="246" y="828"/>
                  </a:lnTo>
                  <a:lnTo>
                    <a:pt x="246" y="822"/>
                  </a:lnTo>
                  <a:lnTo>
                    <a:pt x="240" y="816"/>
                  </a:lnTo>
                  <a:lnTo>
                    <a:pt x="240" y="810"/>
                  </a:lnTo>
                  <a:lnTo>
                    <a:pt x="240" y="804"/>
                  </a:lnTo>
                  <a:lnTo>
                    <a:pt x="240" y="798"/>
                  </a:lnTo>
                  <a:lnTo>
                    <a:pt x="234" y="798"/>
                  </a:lnTo>
                  <a:lnTo>
                    <a:pt x="234" y="792"/>
                  </a:lnTo>
                  <a:lnTo>
                    <a:pt x="234" y="786"/>
                  </a:lnTo>
                  <a:lnTo>
                    <a:pt x="234" y="780"/>
                  </a:lnTo>
                  <a:lnTo>
                    <a:pt x="228" y="780"/>
                  </a:lnTo>
                  <a:lnTo>
                    <a:pt x="228" y="774"/>
                  </a:lnTo>
                  <a:lnTo>
                    <a:pt x="228" y="768"/>
                  </a:lnTo>
                  <a:lnTo>
                    <a:pt x="222" y="762"/>
                  </a:lnTo>
                  <a:lnTo>
                    <a:pt x="222" y="756"/>
                  </a:lnTo>
                  <a:lnTo>
                    <a:pt x="222" y="750"/>
                  </a:lnTo>
                  <a:lnTo>
                    <a:pt x="222" y="744"/>
                  </a:lnTo>
                  <a:lnTo>
                    <a:pt x="222" y="738"/>
                  </a:lnTo>
                  <a:lnTo>
                    <a:pt x="216" y="732"/>
                  </a:lnTo>
                  <a:lnTo>
                    <a:pt x="222" y="732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32"/>
                  </a:lnTo>
                  <a:lnTo>
                    <a:pt x="246" y="732"/>
                  </a:lnTo>
                  <a:lnTo>
                    <a:pt x="246" y="738"/>
                  </a:lnTo>
                  <a:lnTo>
                    <a:pt x="252" y="738"/>
                  </a:lnTo>
                  <a:lnTo>
                    <a:pt x="258" y="738"/>
                  </a:lnTo>
                  <a:lnTo>
                    <a:pt x="258" y="732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8" y="732"/>
                  </a:lnTo>
                  <a:lnTo>
                    <a:pt x="294" y="732"/>
                  </a:lnTo>
                  <a:lnTo>
                    <a:pt x="300" y="732"/>
                  </a:lnTo>
                  <a:lnTo>
                    <a:pt x="300" y="738"/>
                  </a:lnTo>
                  <a:lnTo>
                    <a:pt x="306" y="738"/>
                  </a:lnTo>
                  <a:lnTo>
                    <a:pt x="306" y="744"/>
                  </a:lnTo>
                  <a:lnTo>
                    <a:pt x="306" y="750"/>
                  </a:lnTo>
                  <a:lnTo>
                    <a:pt x="312" y="750"/>
                  </a:lnTo>
                  <a:lnTo>
                    <a:pt x="312" y="756"/>
                  </a:lnTo>
                  <a:lnTo>
                    <a:pt x="318" y="756"/>
                  </a:lnTo>
                  <a:lnTo>
                    <a:pt x="318" y="750"/>
                  </a:lnTo>
                  <a:lnTo>
                    <a:pt x="312" y="750"/>
                  </a:lnTo>
                  <a:lnTo>
                    <a:pt x="312" y="744"/>
                  </a:lnTo>
                  <a:lnTo>
                    <a:pt x="318" y="738"/>
                  </a:lnTo>
                  <a:lnTo>
                    <a:pt x="324" y="738"/>
                  </a:lnTo>
                  <a:lnTo>
                    <a:pt x="330" y="738"/>
                  </a:lnTo>
                  <a:lnTo>
                    <a:pt x="336" y="738"/>
                  </a:lnTo>
                  <a:lnTo>
                    <a:pt x="342" y="738"/>
                  </a:lnTo>
                  <a:lnTo>
                    <a:pt x="348" y="732"/>
                  </a:lnTo>
                  <a:lnTo>
                    <a:pt x="354" y="732"/>
                  </a:lnTo>
                  <a:lnTo>
                    <a:pt x="360" y="732"/>
                  </a:lnTo>
                  <a:lnTo>
                    <a:pt x="360" y="726"/>
                  </a:lnTo>
                  <a:lnTo>
                    <a:pt x="366" y="726"/>
                  </a:lnTo>
                  <a:lnTo>
                    <a:pt x="366" y="720"/>
                  </a:lnTo>
                  <a:lnTo>
                    <a:pt x="366" y="714"/>
                  </a:lnTo>
                  <a:lnTo>
                    <a:pt x="360" y="708"/>
                  </a:lnTo>
                  <a:lnTo>
                    <a:pt x="354" y="708"/>
                  </a:lnTo>
                  <a:lnTo>
                    <a:pt x="348" y="702"/>
                  </a:lnTo>
                  <a:lnTo>
                    <a:pt x="354" y="702"/>
                  </a:lnTo>
                  <a:lnTo>
                    <a:pt x="354" y="696"/>
                  </a:lnTo>
                  <a:lnTo>
                    <a:pt x="348" y="696"/>
                  </a:lnTo>
                  <a:lnTo>
                    <a:pt x="348" y="690"/>
                  </a:lnTo>
                  <a:lnTo>
                    <a:pt x="342" y="690"/>
                  </a:lnTo>
                  <a:lnTo>
                    <a:pt x="342" y="684"/>
                  </a:lnTo>
                  <a:lnTo>
                    <a:pt x="342" y="678"/>
                  </a:lnTo>
                  <a:lnTo>
                    <a:pt x="342" y="666"/>
                  </a:lnTo>
                  <a:lnTo>
                    <a:pt x="342" y="660"/>
                  </a:lnTo>
                  <a:lnTo>
                    <a:pt x="348" y="654"/>
                  </a:lnTo>
                  <a:lnTo>
                    <a:pt x="348" y="642"/>
                  </a:lnTo>
                  <a:lnTo>
                    <a:pt x="354" y="642"/>
                  </a:lnTo>
                  <a:lnTo>
                    <a:pt x="360" y="642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66" y="642"/>
                  </a:lnTo>
                  <a:lnTo>
                    <a:pt x="372" y="642"/>
                  </a:lnTo>
                  <a:lnTo>
                    <a:pt x="378" y="642"/>
                  </a:lnTo>
                  <a:lnTo>
                    <a:pt x="384" y="642"/>
                  </a:lnTo>
                  <a:lnTo>
                    <a:pt x="390" y="642"/>
                  </a:lnTo>
                  <a:lnTo>
                    <a:pt x="396" y="642"/>
                  </a:lnTo>
                  <a:lnTo>
                    <a:pt x="396" y="636"/>
                  </a:lnTo>
                  <a:lnTo>
                    <a:pt x="402" y="636"/>
                  </a:lnTo>
                  <a:lnTo>
                    <a:pt x="408" y="636"/>
                  </a:lnTo>
                  <a:lnTo>
                    <a:pt x="402" y="636"/>
                  </a:lnTo>
                  <a:lnTo>
                    <a:pt x="402" y="630"/>
                  </a:lnTo>
                  <a:lnTo>
                    <a:pt x="408" y="630"/>
                  </a:lnTo>
                  <a:lnTo>
                    <a:pt x="408" y="624"/>
                  </a:lnTo>
                  <a:lnTo>
                    <a:pt x="408" y="618"/>
                  </a:lnTo>
                  <a:lnTo>
                    <a:pt x="414" y="618"/>
                  </a:lnTo>
                  <a:lnTo>
                    <a:pt x="420" y="618"/>
                  </a:lnTo>
                  <a:lnTo>
                    <a:pt x="426" y="624"/>
                  </a:lnTo>
                  <a:lnTo>
                    <a:pt x="432" y="624"/>
                  </a:lnTo>
                  <a:lnTo>
                    <a:pt x="438" y="624"/>
                  </a:lnTo>
                  <a:lnTo>
                    <a:pt x="438" y="618"/>
                  </a:lnTo>
                  <a:lnTo>
                    <a:pt x="444" y="618"/>
                  </a:lnTo>
                  <a:lnTo>
                    <a:pt x="450" y="618"/>
                  </a:lnTo>
                  <a:lnTo>
                    <a:pt x="444" y="618"/>
                  </a:lnTo>
                  <a:lnTo>
                    <a:pt x="438" y="618"/>
                  </a:lnTo>
                  <a:lnTo>
                    <a:pt x="438" y="612"/>
                  </a:lnTo>
                  <a:lnTo>
                    <a:pt x="438" y="618"/>
                  </a:lnTo>
                  <a:lnTo>
                    <a:pt x="432" y="624"/>
                  </a:lnTo>
                  <a:lnTo>
                    <a:pt x="426" y="618"/>
                  </a:lnTo>
                  <a:lnTo>
                    <a:pt x="420" y="612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402" y="624"/>
                  </a:lnTo>
                  <a:lnTo>
                    <a:pt x="396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78" y="630"/>
                  </a:lnTo>
                  <a:lnTo>
                    <a:pt x="378" y="636"/>
                  </a:lnTo>
                  <a:lnTo>
                    <a:pt x="372" y="630"/>
                  </a:lnTo>
                  <a:lnTo>
                    <a:pt x="366" y="630"/>
                  </a:lnTo>
                  <a:lnTo>
                    <a:pt x="360" y="630"/>
                  </a:lnTo>
                  <a:lnTo>
                    <a:pt x="354" y="630"/>
                  </a:lnTo>
                  <a:lnTo>
                    <a:pt x="354" y="636"/>
                  </a:lnTo>
                  <a:lnTo>
                    <a:pt x="348" y="636"/>
                  </a:lnTo>
                  <a:lnTo>
                    <a:pt x="348" y="642"/>
                  </a:lnTo>
                  <a:lnTo>
                    <a:pt x="342" y="642"/>
                  </a:lnTo>
                  <a:lnTo>
                    <a:pt x="342" y="648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6" y="660"/>
                  </a:lnTo>
                  <a:lnTo>
                    <a:pt x="336" y="666"/>
                  </a:lnTo>
                  <a:lnTo>
                    <a:pt x="330" y="672"/>
                  </a:lnTo>
                  <a:lnTo>
                    <a:pt x="330" y="678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24" y="696"/>
                  </a:lnTo>
                  <a:lnTo>
                    <a:pt x="324" y="702"/>
                  </a:lnTo>
                  <a:lnTo>
                    <a:pt x="318" y="702"/>
                  </a:lnTo>
                  <a:lnTo>
                    <a:pt x="318" y="708"/>
                  </a:lnTo>
                  <a:lnTo>
                    <a:pt x="312" y="708"/>
                  </a:lnTo>
                  <a:lnTo>
                    <a:pt x="312" y="702"/>
                  </a:lnTo>
                  <a:lnTo>
                    <a:pt x="306" y="702"/>
                  </a:lnTo>
                  <a:lnTo>
                    <a:pt x="300" y="702"/>
                  </a:lnTo>
                  <a:lnTo>
                    <a:pt x="294" y="696"/>
                  </a:lnTo>
                  <a:lnTo>
                    <a:pt x="288" y="696"/>
                  </a:lnTo>
                  <a:lnTo>
                    <a:pt x="282" y="690"/>
                  </a:lnTo>
                  <a:lnTo>
                    <a:pt x="288" y="684"/>
                  </a:lnTo>
                  <a:lnTo>
                    <a:pt x="294" y="684"/>
                  </a:lnTo>
                  <a:lnTo>
                    <a:pt x="294" y="678"/>
                  </a:lnTo>
                  <a:lnTo>
                    <a:pt x="300" y="678"/>
                  </a:lnTo>
                  <a:lnTo>
                    <a:pt x="294" y="678"/>
                  </a:lnTo>
                  <a:lnTo>
                    <a:pt x="294" y="672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94" y="672"/>
                  </a:lnTo>
                  <a:lnTo>
                    <a:pt x="288" y="678"/>
                  </a:lnTo>
                  <a:lnTo>
                    <a:pt x="282" y="684"/>
                  </a:lnTo>
                  <a:lnTo>
                    <a:pt x="282" y="678"/>
                  </a:lnTo>
                  <a:lnTo>
                    <a:pt x="276" y="678"/>
                  </a:lnTo>
                  <a:lnTo>
                    <a:pt x="282" y="684"/>
                  </a:lnTo>
                  <a:lnTo>
                    <a:pt x="282" y="690"/>
                  </a:lnTo>
                  <a:lnTo>
                    <a:pt x="282" y="696"/>
                  </a:lnTo>
                  <a:lnTo>
                    <a:pt x="288" y="702"/>
                  </a:lnTo>
                  <a:lnTo>
                    <a:pt x="294" y="708"/>
                  </a:lnTo>
                  <a:lnTo>
                    <a:pt x="294" y="714"/>
                  </a:lnTo>
                  <a:lnTo>
                    <a:pt x="288" y="714"/>
                  </a:lnTo>
                  <a:lnTo>
                    <a:pt x="282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64" y="714"/>
                  </a:lnTo>
                  <a:lnTo>
                    <a:pt x="258" y="714"/>
                  </a:lnTo>
                  <a:lnTo>
                    <a:pt x="252" y="714"/>
                  </a:lnTo>
                  <a:lnTo>
                    <a:pt x="246" y="714"/>
                  </a:lnTo>
                  <a:lnTo>
                    <a:pt x="240" y="714"/>
                  </a:lnTo>
                  <a:lnTo>
                    <a:pt x="240" y="708"/>
                  </a:lnTo>
                  <a:lnTo>
                    <a:pt x="234" y="708"/>
                  </a:lnTo>
                  <a:lnTo>
                    <a:pt x="228" y="708"/>
                  </a:lnTo>
                  <a:lnTo>
                    <a:pt x="222" y="702"/>
                  </a:lnTo>
                  <a:lnTo>
                    <a:pt x="216" y="702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2" y="690"/>
                  </a:lnTo>
                  <a:lnTo>
                    <a:pt x="186" y="690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68" y="684"/>
                  </a:lnTo>
                  <a:lnTo>
                    <a:pt x="168" y="678"/>
                  </a:lnTo>
                  <a:lnTo>
                    <a:pt x="156" y="672"/>
                  </a:lnTo>
                  <a:lnTo>
                    <a:pt x="150" y="660"/>
                  </a:lnTo>
                  <a:lnTo>
                    <a:pt x="126" y="630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12"/>
                  </a:lnTo>
                  <a:lnTo>
                    <a:pt x="126" y="606"/>
                  </a:lnTo>
                  <a:lnTo>
                    <a:pt x="126" y="600"/>
                  </a:lnTo>
                  <a:lnTo>
                    <a:pt x="132" y="594"/>
                  </a:lnTo>
                  <a:lnTo>
                    <a:pt x="138" y="594"/>
                  </a:lnTo>
                  <a:lnTo>
                    <a:pt x="144" y="588"/>
                  </a:lnTo>
                  <a:lnTo>
                    <a:pt x="144" y="582"/>
                  </a:lnTo>
                  <a:lnTo>
                    <a:pt x="150" y="582"/>
                  </a:lnTo>
                  <a:lnTo>
                    <a:pt x="150" y="576"/>
                  </a:lnTo>
                  <a:lnTo>
                    <a:pt x="156" y="576"/>
                  </a:lnTo>
                  <a:lnTo>
                    <a:pt x="156" y="582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8" y="576"/>
                  </a:lnTo>
                  <a:lnTo>
                    <a:pt x="174" y="576"/>
                  </a:lnTo>
                  <a:lnTo>
                    <a:pt x="180" y="582"/>
                  </a:lnTo>
                  <a:lnTo>
                    <a:pt x="192" y="582"/>
                  </a:lnTo>
                  <a:lnTo>
                    <a:pt x="198" y="582"/>
                  </a:lnTo>
                  <a:lnTo>
                    <a:pt x="204" y="582"/>
                  </a:lnTo>
                  <a:lnTo>
                    <a:pt x="210" y="582"/>
                  </a:lnTo>
                  <a:lnTo>
                    <a:pt x="216" y="588"/>
                  </a:lnTo>
                  <a:lnTo>
                    <a:pt x="222" y="588"/>
                  </a:lnTo>
                  <a:lnTo>
                    <a:pt x="234" y="588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46" y="594"/>
                  </a:lnTo>
                  <a:lnTo>
                    <a:pt x="252" y="588"/>
                  </a:lnTo>
                  <a:lnTo>
                    <a:pt x="258" y="588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52" y="600"/>
                  </a:lnTo>
                  <a:lnTo>
                    <a:pt x="246" y="600"/>
                  </a:lnTo>
                  <a:lnTo>
                    <a:pt x="246" y="606"/>
                  </a:lnTo>
                  <a:lnTo>
                    <a:pt x="246" y="600"/>
                  </a:lnTo>
                  <a:lnTo>
                    <a:pt x="252" y="600"/>
                  </a:lnTo>
                  <a:lnTo>
                    <a:pt x="258" y="594"/>
                  </a:lnTo>
                  <a:lnTo>
                    <a:pt x="264" y="594"/>
                  </a:lnTo>
                  <a:lnTo>
                    <a:pt x="264" y="588"/>
                  </a:lnTo>
                  <a:lnTo>
                    <a:pt x="270" y="588"/>
                  </a:lnTo>
                  <a:lnTo>
                    <a:pt x="270" y="582"/>
                  </a:lnTo>
                  <a:lnTo>
                    <a:pt x="270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76" y="564"/>
                  </a:lnTo>
                  <a:lnTo>
                    <a:pt x="270" y="558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58"/>
                  </a:lnTo>
                  <a:lnTo>
                    <a:pt x="282" y="558"/>
                  </a:lnTo>
                  <a:lnTo>
                    <a:pt x="288" y="558"/>
                  </a:lnTo>
                  <a:lnTo>
                    <a:pt x="294" y="558"/>
                  </a:lnTo>
                  <a:lnTo>
                    <a:pt x="300" y="558"/>
                  </a:lnTo>
                  <a:lnTo>
                    <a:pt x="306" y="558"/>
                  </a:lnTo>
                  <a:lnTo>
                    <a:pt x="312" y="558"/>
                  </a:lnTo>
                  <a:lnTo>
                    <a:pt x="318" y="558"/>
                  </a:lnTo>
                  <a:lnTo>
                    <a:pt x="318" y="564"/>
                  </a:lnTo>
                  <a:lnTo>
                    <a:pt x="324" y="564"/>
                  </a:lnTo>
                  <a:lnTo>
                    <a:pt x="324" y="570"/>
                  </a:lnTo>
                  <a:lnTo>
                    <a:pt x="330" y="570"/>
                  </a:lnTo>
                  <a:lnTo>
                    <a:pt x="336" y="570"/>
                  </a:lnTo>
                  <a:lnTo>
                    <a:pt x="342" y="570"/>
                  </a:lnTo>
                  <a:lnTo>
                    <a:pt x="348" y="570"/>
                  </a:lnTo>
                  <a:lnTo>
                    <a:pt x="354" y="570"/>
                  </a:lnTo>
                  <a:lnTo>
                    <a:pt x="360" y="570"/>
                  </a:lnTo>
                  <a:lnTo>
                    <a:pt x="366" y="570"/>
                  </a:lnTo>
                  <a:lnTo>
                    <a:pt x="360" y="570"/>
                  </a:lnTo>
                  <a:lnTo>
                    <a:pt x="360" y="564"/>
                  </a:lnTo>
                  <a:lnTo>
                    <a:pt x="354" y="564"/>
                  </a:lnTo>
                  <a:lnTo>
                    <a:pt x="348" y="564"/>
                  </a:lnTo>
                  <a:lnTo>
                    <a:pt x="342" y="564"/>
                  </a:lnTo>
                  <a:lnTo>
                    <a:pt x="342" y="570"/>
                  </a:lnTo>
                  <a:lnTo>
                    <a:pt x="336" y="564"/>
                  </a:lnTo>
                  <a:lnTo>
                    <a:pt x="336" y="570"/>
                  </a:lnTo>
                  <a:lnTo>
                    <a:pt x="336" y="564"/>
                  </a:lnTo>
                  <a:lnTo>
                    <a:pt x="330" y="564"/>
                  </a:lnTo>
                  <a:lnTo>
                    <a:pt x="324" y="558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18" y="558"/>
                  </a:lnTo>
                  <a:lnTo>
                    <a:pt x="312" y="552"/>
                  </a:lnTo>
                  <a:lnTo>
                    <a:pt x="312" y="558"/>
                  </a:lnTo>
                  <a:lnTo>
                    <a:pt x="312" y="552"/>
                  </a:lnTo>
                  <a:lnTo>
                    <a:pt x="306" y="552"/>
                  </a:lnTo>
                  <a:lnTo>
                    <a:pt x="300" y="546"/>
                  </a:lnTo>
                  <a:lnTo>
                    <a:pt x="294" y="546"/>
                  </a:lnTo>
                  <a:lnTo>
                    <a:pt x="288" y="546"/>
                  </a:lnTo>
                  <a:lnTo>
                    <a:pt x="282" y="546"/>
                  </a:lnTo>
                  <a:lnTo>
                    <a:pt x="276" y="546"/>
                  </a:lnTo>
                  <a:lnTo>
                    <a:pt x="276" y="552"/>
                  </a:lnTo>
                  <a:lnTo>
                    <a:pt x="270" y="552"/>
                  </a:lnTo>
                  <a:lnTo>
                    <a:pt x="270" y="558"/>
                  </a:lnTo>
                  <a:lnTo>
                    <a:pt x="270" y="564"/>
                  </a:lnTo>
                  <a:lnTo>
                    <a:pt x="264" y="570"/>
                  </a:lnTo>
                  <a:lnTo>
                    <a:pt x="258" y="576"/>
                  </a:lnTo>
                  <a:lnTo>
                    <a:pt x="258" y="582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34" y="576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16" y="552"/>
                  </a:lnTo>
                  <a:lnTo>
                    <a:pt x="216" y="546"/>
                  </a:lnTo>
                  <a:lnTo>
                    <a:pt x="216" y="540"/>
                  </a:lnTo>
                  <a:lnTo>
                    <a:pt x="222" y="534"/>
                  </a:lnTo>
                  <a:lnTo>
                    <a:pt x="222" y="528"/>
                  </a:lnTo>
                  <a:lnTo>
                    <a:pt x="228" y="522"/>
                  </a:lnTo>
                  <a:lnTo>
                    <a:pt x="228" y="516"/>
                  </a:lnTo>
                  <a:lnTo>
                    <a:pt x="228" y="510"/>
                  </a:lnTo>
                  <a:lnTo>
                    <a:pt x="234" y="510"/>
                  </a:lnTo>
                  <a:lnTo>
                    <a:pt x="240" y="516"/>
                  </a:lnTo>
                  <a:lnTo>
                    <a:pt x="246" y="522"/>
                  </a:lnTo>
                  <a:lnTo>
                    <a:pt x="246" y="516"/>
                  </a:lnTo>
                  <a:lnTo>
                    <a:pt x="240" y="516"/>
                  </a:lnTo>
                  <a:lnTo>
                    <a:pt x="240" y="510"/>
                  </a:lnTo>
                  <a:lnTo>
                    <a:pt x="234" y="510"/>
                  </a:lnTo>
                  <a:lnTo>
                    <a:pt x="234" y="504"/>
                  </a:lnTo>
                  <a:lnTo>
                    <a:pt x="228" y="504"/>
                  </a:lnTo>
                  <a:lnTo>
                    <a:pt x="222" y="504"/>
                  </a:lnTo>
                  <a:lnTo>
                    <a:pt x="222" y="498"/>
                  </a:lnTo>
                  <a:lnTo>
                    <a:pt x="222" y="504"/>
                  </a:lnTo>
                  <a:lnTo>
                    <a:pt x="222" y="510"/>
                  </a:lnTo>
                  <a:lnTo>
                    <a:pt x="222" y="516"/>
                  </a:lnTo>
                  <a:lnTo>
                    <a:pt x="216" y="522"/>
                  </a:lnTo>
                  <a:lnTo>
                    <a:pt x="216" y="528"/>
                  </a:lnTo>
                  <a:lnTo>
                    <a:pt x="210" y="528"/>
                  </a:lnTo>
                  <a:lnTo>
                    <a:pt x="216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04" y="546"/>
                  </a:lnTo>
                  <a:lnTo>
                    <a:pt x="204" y="552"/>
                  </a:lnTo>
                  <a:lnTo>
                    <a:pt x="204" y="558"/>
                  </a:lnTo>
                  <a:lnTo>
                    <a:pt x="204" y="564"/>
                  </a:lnTo>
                  <a:lnTo>
                    <a:pt x="198" y="570"/>
                  </a:lnTo>
                  <a:lnTo>
                    <a:pt x="192" y="564"/>
                  </a:lnTo>
                  <a:lnTo>
                    <a:pt x="186" y="564"/>
                  </a:lnTo>
                  <a:lnTo>
                    <a:pt x="180" y="564"/>
                  </a:lnTo>
                  <a:lnTo>
                    <a:pt x="174" y="564"/>
                  </a:lnTo>
                  <a:lnTo>
                    <a:pt x="168" y="564"/>
                  </a:lnTo>
                  <a:lnTo>
                    <a:pt x="162" y="564"/>
                  </a:lnTo>
                  <a:lnTo>
                    <a:pt x="156" y="570"/>
                  </a:lnTo>
                  <a:lnTo>
                    <a:pt x="150" y="570"/>
                  </a:lnTo>
                  <a:lnTo>
                    <a:pt x="150" y="564"/>
                  </a:lnTo>
                  <a:lnTo>
                    <a:pt x="150" y="570"/>
                  </a:lnTo>
                  <a:lnTo>
                    <a:pt x="150" y="576"/>
                  </a:lnTo>
                  <a:lnTo>
                    <a:pt x="144" y="576"/>
                  </a:lnTo>
                  <a:lnTo>
                    <a:pt x="138" y="576"/>
                  </a:lnTo>
                  <a:lnTo>
                    <a:pt x="132" y="582"/>
                  </a:lnTo>
                  <a:lnTo>
                    <a:pt x="126" y="582"/>
                  </a:lnTo>
                  <a:lnTo>
                    <a:pt x="120" y="582"/>
                  </a:lnTo>
                  <a:lnTo>
                    <a:pt x="114" y="576"/>
                  </a:lnTo>
                  <a:lnTo>
                    <a:pt x="108" y="564"/>
                  </a:lnTo>
                  <a:lnTo>
                    <a:pt x="102" y="558"/>
                  </a:lnTo>
                  <a:lnTo>
                    <a:pt x="96" y="552"/>
                  </a:lnTo>
                  <a:lnTo>
                    <a:pt x="90" y="546"/>
                  </a:lnTo>
                  <a:lnTo>
                    <a:pt x="90" y="540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2"/>
                  </a:lnTo>
                  <a:lnTo>
                    <a:pt x="78" y="516"/>
                  </a:lnTo>
                  <a:lnTo>
                    <a:pt x="72" y="510"/>
                  </a:lnTo>
                  <a:lnTo>
                    <a:pt x="66" y="504"/>
                  </a:lnTo>
                  <a:lnTo>
                    <a:pt x="66" y="498"/>
                  </a:lnTo>
                  <a:lnTo>
                    <a:pt x="66" y="492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6" y="474"/>
                  </a:lnTo>
                  <a:lnTo>
                    <a:pt x="72" y="474"/>
                  </a:lnTo>
                  <a:lnTo>
                    <a:pt x="72" y="468"/>
                  </a:lnTo>
                  <a:lnTo>
                    <a:pt x="78" y="462"/>
                  </a:lnTo>
                  <a:lnTo>
                    <a:pt x="78" y="456"/>
                  </a:lnTo>
                  <a:lnTo>
                    <a:pt x="84" y="456"/>
                  </a:lnTo>
                  <a:lnTo>
                    <a:pt x="84" y="450"/>
                  </a:lnTo>
                  <a:lnTo>
                    <a:pt x="84" y="444"/>
                  </a:lnTo>
                  <a:lnTo>
                    <a:pt x="90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02" y="450"/>
                  </a:lnTo>
                  <a:lnTo>
                    <a:pt x="108" y="450"/>
                  </a:lnTo>
                  <a:lnTo>
                    <a:pt x="108" y="456"/>
                  </a:lnTo>
                  <a:lnTo>
                    <a:pt x="108" y="462"/>
                  </a:lnTo>
                  <a:lnTo>
                    <a:pt x="114" y="462"/>
                  </a:lnTo>
                  <a:lnTo>
                    <a:pt x="114" y="468"/>
                  </a:lnTo>
                  <a:lnTo>
                    <a:pt x="114" y="474"/>
                  </a:lnTo>
                  <a:lnTo>
                    <a:pt x="114" y="480"/>
                  </a:lnTo>
                  <a:lnTo>
                    <a:pt x="114" y="486"/>
                  </a:lnTo>
                  <a:lnTo>
                    <a:pt x="120" y="486"/>
                  </a:lnTo>
                  <a:lnTo>
                    <a:pt x="126" y="486"/>
                  </a:lnTo>
                  <a:lnTo>
                    <a:pt x="132" y="486"/>
                  </a:lnTo>
                  <a:lnTo>
                    <a:pt x="126" y="480"/>
                  </a:lnTo>
                  <a:lnTo>
                    <a:pt x="120" y="480"/>
                  </a:lnTo>
                  <a:lnTo>
                    <a:pt x="114" y="480"/>
                  </a:lnTo>
                  <a:lnTo>
                    <a:pt x="120" y="480"/>
                  </a:lnTo>
                  <a:lnTo>
                    <a:pt x="120" y="474"/>
                  </a:lnTo>
                  <a:lnTo>
                    <a:pt x="120" y="468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108" y="450"/>
                  </a:lnTo>
                  <a:lnTo>
                    <a:pt x="108" y="444"/>
                  </a:lnTo>
                  <a:lnTo>
                    <a:pt x="114" y="438"/>
                  </a:lnTo>
                  <a:lnTo>
                    <a:pt x="120" y="438"/>
                  </a:lnTo>
                  <a:lnTo>
                    <a:pt x="120" y="432"/>
                  </a:lnTo>
                  <a:lnTo>
                    <a:pt x="132" y="426"/>
                  </a:lnTo>
                  <a:lnTo>
                    <a:pt x="138" y="420"/>
                  </a:lnTo>
                  <a:lnTo>
                    <a:pt x="144" y="420"/>
                  </a:lnTo>
                  <a:lnTo>
                    <a:pt x="144" y="414"/>
                  </a:lnTo>
                  <a:lnTo>
                    <a:pt x="144" y="420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6" y="414"/>
                  </a:lnTo>
                  <a:lnTo>
                    <a:pt x="162" y="414"/>
                  </a:lnTo>
                  <a:lnTo>
                    <a:pt x="162" y="408"/>
                  </a:lnTo>
                  <a:lnTo>
                    <a:pt x="168" y="408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86" y="396"/>
                  </a:lnTo>
                  <a:lnTo>
                    <a:pt x="186" y="390"/>
                  </a:lnTo>
                  <a:lnTo>
                    <a:pt x="192" y="390"/>
                  </a:lnTo>
                  <a:lnTo>
                    <a:pt x="198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210" y="378"/>
                  </a:lnTo>
                  <a:lnTo>
                    <a:pt x="210" y="372"/>
                  </a:lnTo>
                  <a:lnTo>
                    <a:pt x="216" y="372"/>
                  </a:lnTo>
                  <a:lnTo>
                    <a:pt x="222" y="366"/>
                  </a:lnTo>
                  <a:lnTo>
                    <a:pt x="228" y="360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6" y="348"/>
                  </a:lnTo>
                  <a:lnTo>
                    <a:pt x="252" y="348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0" y="342"/>
                  </a:lnTo>
                  <a:lnTo>
                    <a:pt x="234" y="342"/>
                  </a:lnTo>
                  <a:lnTo>
                    <a:pt x="228" y="336"/>
                  </a:lnTo>
                  <a:lnTo>
                    <a:pt x="222" y="336"/>
                  </a:lnTo>
                  <a:lnTo>
                    <a:pt x="216" y="336"/>
                  </a:lnTo>
                  <a:lnTo>
                    <a:pt x="222" y="324"/>
                  </a:lnTo>
                  <a:lnTo>
                    <a:pt x="222" y="318"/>
                  </a:lnTo>
                  <a:lnTo>
                    <a:pt x="222" y="312"/>
                  </a:lnTo>
                  <a:lnTo>
                    <a:pt x="234" y="318"/>
                  </a:lnTo>
                  <a:lnTo>
                    <a:pt x="246" y="318"/>
                  </a:lnTo>
                  <a:lnTo>
                    <a:pt x="258" y="318"/>
                  </a:lnTo>
                  <a:lnTo>
                    <a:pt x="270" y="312"/>
                  </a:lnTo>
                  <a:lnTo>
                    <a:pt x="276" y="312"/>
                  </a:lnTo>
                  <a:lnTo>
                    <a:pt x="288" y="324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94" y="306"/>
                  </a:lnTo>
                  <a:lnTo>
                    <a:pt x="300" y="300"/>
                  </a:lnTo>
                  <a:lnTo>
                    <a:pt x="306" y="306"/>
                  </a:lnTo>
                  <a:lnTo>
                    <a:pt x="312" y="318"/>
                  </a:lnTo>
                  <a:lnTo>
                    <a:pt x="318" y="312"/>
                  </a:lnTo>
                  <a:lnTo>
                    <a:pt x="324" y="312"/>
                  </a:lnTo>
                  <a:lnTo>
                    <a:pt x="330" y="312"/>
                  </a:lnTo>
                  <a:lnTo>
                    <a:pt x="342" y="306"/>
                  </a:lnTo>
                  <a:lnTo>
                    <a:pt x="348" y="306"/>
                  </a:lnTo>
                  <a:lnTo>
                    <a:pt x="348" y="312"/>
                  </a:lnTo>
                  <a:lnTo>
                    <a:pt x="348" y="318"/>
                  </a:lnTo>
                  <a:lnTo>
                    <a:pt x="354" y="318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60" y="336"/>
                  </a:lnTo>
                  <a:lnTo>
                    <a:pt x="366" y="330"/>
                  </a:lnTo>
                  <a:lnTo>
                    <a:pt x="378" y="324"/>
                  </a:lnTo>
                  <a:lnTo>
                    <a:pt x="384" y="324"/>
                  </a:lnTo>
                  <a:lnTo>
                    <a:pt x="384" y="318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6"/>
                  </a:lnTo>
                  <a:lnTo>
                    <a:pt x="402" y="306"/>
                  </a:lnTo>
                  <a:lnTo>
                    <a:pt x="408" y="306"/>
                  </a:lnTo>
                  <a:lnTo>
                    <a:pt x="414" y="300"/>
                  </a:lnTo>
                  <a:lnTo>
                    <a:pt x="420" y="300"/>
                  </a:lnTo>
                  <a:lnTo>
                    <a:pt x="426" y="300"/>
                  </a:lnTo>
                  <a:lnTo>
                    <a:pt x="432" y="300"/>
                  </a:lnTo>
                  <a:lnTo>
                    <a:pt x="444" y="288"/>
                  </a:lnTo>
                  <a:lnTo>
                    <a:pt x="450" y="294"/>
                  </a:lnTo>
                  <a:lnTo>
                    <a:pt x="468" y="300"/>
                  </a:lnTo>
                  <a:lnTo>
                    <a:pt x="498" y="312"/>
                  </a:lnTo>
                  <a:lnTo>
                    <a:pt x="504" y="324"/>
                  </a:lnTo>
                  <a:lnTo>
                    <a:pt x="516" y="330"/>
                  </a:lnTo>
                  <a:lnTo>
                    <a:pt x="516" y="336"/>
                  </a:lnTo>
                  <a:lnTo>
                    <a:pt x="540" y="342"/>
                  </a:lnTo>
                  <a:lnTo>
                    <a:pt x="558" y="372"/>
                  </a:lnTo>
                  <a:lnTo>
                    <a:pt x="594" y="384"/>
                  </a:lnTo>
                  <a:lnTo>
                    <a:pt x="606" y="402"/>
                  </a:lnTo>
                  <a:lnTo>
                    <a:pt x="600" y="420"/>
                  </a:lnTo>
                  <a:lnTo>
                    <a:pt x="588" y="444"/>
                  </a:lnTo>
                  <a:lnTo>
                    <a:pt x="588" y="450"/>
                  </a:lnTo>
                  <a:lnTo>
                    <a:pt x="588" y="456"/>
                  </a:lnTo>
                  <a:lnTo>
                    <a:pt x="594" y="456"/>
                  </a:lnTo>
                  <a:lnTo>
                    <a:pt x="594" y="462"/>
                  </a:lnTo>
                  <a:lnTo>
                    <a:pt x="594" y="468"/>
                  </a:lnTo>
                  <a:lnTo>
                    <a:pt x="594" y="474"/>
                  </a:lnTo>
                  <a:lnTo>
                    <a:pt x="600" y="474"/>
                  </a:lnTo>
                  <a:lnTo>
                    <a:pt x="606" y="480"/>
                  </a:lnTo>
                  <a:lnTo>
                    <a:pt x="606" y="486"/>
                  </a:lnTo>
                  <a:lnTo>
                    <a:pt x="612" y="486"/>
                  </a:lnTo>
                  <a:lnTo>
                    <a:pt x="618" y="486"/>
                  </a:lnTo>
                  <a:lnTo>
                    <a:pt x="624" y="486"/>
                  </a:lnTo>
                  <a:lnTo>
                    <a:pt x="636" y="486"/>
                  </a:lnTo>
                  <a:lnTo>
                    <a:pt x="642" y="486"/>
                  </a:lnTo>
                  <a:lnTo>
                    <a:pt x="648" y="480"/>
                  </a:lnTo>
                  <a:lnTo>
                    <a:pt x="654" y="474"/>
                  </a:lnTo>
                  <a:lnTo>
                    <a:pt x="660" y="468"/>
                  </a:lnTo>
                  <a:lnTo>
                    <a:pt x="666" y="468"/>
                  </a:lnTo>
                  <a:lnTo>
                    <a:pt x="684" y="468"/>
                  </a:lnTo>
                  <a:lnTo>
                    <a:pt x="696" y="468"/>
                  </a:lnTo>
                  <a:lnTo>
                    <a:pt x="696" y="462"/>
                  </a:lnTo>
                  <a:lnTo>
                    <a:pt x="702" y="456"/>
                  </a:lnTo>
                  <a:lnTo>
                    <a:pt x="708" y="450"/>
                  </a:lnTo>
                  <a:lnTo>
                    <a:pt x="714" y="450"/>
                  </a:lnTo>
                  <a:lnTo>
                    <a:pt x="720" y="450"/>
                  </a:lnTo>
                  <a:lnTo>
                    <a:pt x="720" y="438"/>
                  </a:lnTo>
                  <a:lnTo>
                    <a:pt x="726" y="432"/>
                  </a:lnTo>
                  <a:lnTo>
                    <a:pt x="738" y="420"/>
                  </a:lnTo>
                  <a:lnTo>
                    <a:pt x="744" y="420"/>
                  </a:lnTo>
                  <a:lnTo>
                    <a:pt x="750" y="414"/>
                  </a:lnTo>
                  <a:lnTo>
                    <a:pt x="762" y="408"/>
                  </a:lnTo>
                  <a:lnTo>
                    <a:pt x="768" y="408"/>
                  </a:lnTo>
                  <a:lnTo>
                    <a:pt x="768" y="402"/>
                  </a:lnTo>
                  <a:lnTo>
                    <a:pt x="780" y="396"/>
                  </a:lnTo>
                  <a:lnTo>
                    <a:pt x="786" y="396"/>
                  </a:lnTo>
                  <a:lnTo>
                    <a:pt x="786" y="390"/>
                  </a:lnTo>
                  <a:lnTo>
                    <a:pt x="792" y="384"/>
                  </a:lnTo>
                  <a:lnTo>
                    <a:pt x="792" y="378"/>
                  </a:lnTo>
                  <a:lnTo>
                    <a:pt x="798" y="366"/>
                  </a:lnTo>
                  <a:lnTo>
                    <a:pt x="804" y="360"/>
                  </a:lnTo>
                  <a:lnTo>
                    <a:pt x="816" y="342"/>
                  </a:lnTo>
                  <a:lnTo>
                    <a:pt x="816" y="312"/>
                  </a:lnTo>
                  <a:lnTo>
                    <a:pt x="804" y="300"/>
                  </a:lnTo>
                  <a:lnTo>
                    <a:pt x="798" y="288"/>
                  </a:lnTo>
                  <a:lnTo>
                    <a:pt x="762" y="264"/>
                  </a:lnTo>
                  <a:lnTo>
                    <a:pt x="738" y="234"/>
                  </a:lnTo>
                  <a:lnTo>
                    <a:pt x="738" y="222"/>
                  </a:lnTo>
                  <a:lnTo>
                    <a:pt x="744" y="210"/>
                  </a:lnTo>
                  <a:lnTo>
                    <a:pt x="732" y="174"/>
                  </a:lnTo>
                  <a:lnTo>
                    <a:pt x="714" y="156"/>
                  </a:lnTo>
                  <a:lnTo>
                    <a:pt x="708" y="144"/>
                  </a:lnTo>
                  <a:lnTo>
                    <a:pt x="714" y="126"/>
                  </a:lnTo>
                  <a:lnTo>
                    <a:pt x="720" y="114"/>
                  </a:lnTo>
                  <a:lnTo>
                    <a:pt x="732" y="102"/>
                  </a:lnTo>
                  <a:lnTo>
                    <a:pt x="744" y="102"/>
                  </a:lnTo>
                  <a:lnTo>
                    <a:pt x="762" y="108"/>
                  </a:lnTo>
                  <a:lnTo>
                    <a:pt x="774" y="114"/>
                  </a:lnTo>
                  <a:lnTo>
                    <a:pt x="780" y="138"/>
                  </a:lnTo>
                  <a:lnTo>
                    <a:pt x="786" y="144"/>
                  </a:lnTo>
                  <a:lnTo>
                    <a:pt x="798" y="138"/>
                  </a:lnTo>
                  <a:lnTo>
                    <a:pt x="804" y="132"/>
                  </a:lnTo>
                  <a:lnTo>
                    <a:pt x="816" y="120"/>
                  </a:lnTo>
                  <a:lnTo>
                    <a:pt x="816" y="108"/>
                  </a:lnTo>
                  <a:lnTo>
                    <a:pt x="828" y="102"/>
                  </a:lnTo>
                  <a:lnTo>
                    <a:pt x="828" y="96"/>
                  </a:lnTo>
                  <a:lnTo>
                    <a:pt x="840" y="96"/>
                  </a:lnTo>
                  <a:lnTo>
                    <a:pt x="840" y="84"/>
                  </a:lnTo>
                  <a:lnTo>
                    <a:pt x="852" y="90"/>
                  </a:lnTo>
                  <a:lnTo>
                    <a:pt x="852" y="96"/>
                  </a:lnTo>
                  <a:lnTo>
                    <a:pt x="870" y="90"/>
                  </a:lnTo>
                  <a:lnTo>
                    <a:pt x="894" y="78"/>
                  </a:lnTo>
                  <a:lnTo>
                    <a:pt x="912" y="78"/>
                  </a:lnTo>
                  <a:lnTo>
                    <a:pt x="942" y="66"/>
                  </a:lnTo>
                  <a:lnTo>
                    <a:pt x="942" y="60"/>
                  </a:lnTo>
                  <a:lnTo>
                    <a:pt x="954" y="48"/>
                  </a:lnTo>
                  <a:lnTo>
                    <a:pt x="966" y="30"/>
                  </a:lnTo>
                  <a:lnTo>
                    <a:pt x="978" y="30"/>
                  </a:lnTo>
                  <a:lnTo>
                    <a:pt x="978" y="24"/>
                  </a:lnTo>
                  <a:lnTo>
                    <a:pt x="984" y="12"/>
                  </a:lnTo>
                  <a:lnTo>
                    <a:pt x="990" y="12"/>
                  </a:lnTo>
                  <a:lnTo>
                    <a:pt x="996" y="12"/>
                  </a:lnTo>
                  <a:lnTo>
                    <a:pt x="1014" y="6"/>
                  </a:lnTo>
                  <a:lnTo>
                    <a:pt x="1026" y="6"/>
                  </a:lnTo>
                  <a:lnTo>
                    <a:pt x="1044" y="6"/>
                  </a:lnTo>
                  <a:lnTo>
                    <a:pt x="1050" y="6"/>
                  </a:lnTo>
                  <a:lnTo>
                    <a:pt x="1056" y="6"/>
                  </a:lnTo>
                  <a:lnTo>
                    <a:pt x="1062" y="6"/>
                  </a:lnTo>
                  <a:lnTo>
                    <a:pt x="1068" y="6"/>
                  </a:lnTo>
                  <a:lnTo>
                    <a:pt x="1074" y="6"/>
                  </a:lnTo>
                  <a:lnTo>
                    <a:pt x="1080" y="6"/>
                  </a:lnTo>
                  <a:lnTo>
                    <a:pt x="1086" y="0"/>
                  </a:lnTo>
                  <a:lnTo>
                    <a:pt x="1092" y="30"/>
                  </a:lnTo>
                  <a:lnTo>
                    <a:pt x="1098" y="60"/>
                  </a:lnTo>
                  <a:lnTo>
                    <a:pt x="1110" y="84"/>
                  </a:lnTo>
                  <a:lnTo>
                    <a:pt x="1122" y="114"/>
                  </a:lnTo>
                  <a:lnTo>
                    <a:pt x="1128" y="144"/>
                  </a:lnTo>
                  <a:lnTo>
                    <a:pt x="1122" y="156"/>
                  </a:lnTo>
                  <a:lnTo>
                    <a:pt x="1128" y="168"/>
                  </a:lnTo>
                  <a:lnTo>
                    <a:pt x="1134" y="186"/>
                  </a:lnTo>
                  <a:lnTo>
                    <a:pt x="1140" y="204"/>
                  </a:lnTo>
                  <a:lnTo>
                    <a:pt x="1146" y="210"/>
                  </a:lnTo>
                  <a:lnTo>
                    <a:pt x="1146" y="216"/>
                  </a:lnTo>
                  <a:lnTo>
                    <a:pt x="1146" y="228"/>
                  </a:lnTo>
                  <a:lnTo>
                    <a:pt x="1146" y="234"/>
                  </a:lnTo>
                  <a:lnTo>
                    <a:pt x="1140" y="246"/>
                  </a:lnTo>
                  <a:lnTo>
                    <a:pt x="1128" y="258"/>
                  </a:lnTo>
                  <a:lnTo>
                    <a:pt x="1116" y="264"/>
                  </a:lnTo>
                  <a:lnTo>
                    <a:pt x="1110" y="276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2" y="312"/>
                  </a:lnTo>
                  <a:lnTo>
                    <a:pt x="1116" y="324"/>
                  </a:lnTo>
                  <a:lnTo>
                    <a:pt x="1104" y="336"/>
                  </a:lnTo>
                  <a:lnTo>
                    <a:pt x="1104" y="354"/>
                  </a:lnTo>
                  <a:lnTo>
                    <a:pt x="1098" y="372"/>
                  </a:lnTo>
                  <a:lnTo>
                    <a:pt x="1092" y="384"/>
                  </a:lnTo>
                  <a:lnTo>
                    <a:pt x="1086" y="390"/>
                  </a:lnTo>
                  <a:lnTo>
                    <a:pt x="1086" y="402"/>
                  </a:lnTo>
                  <a:lnTo>
                    <a:pt x="1080" y="414"/>
                  </a:lnTo>
                  <a:lnTo>
                    <a:pt x="1074" y="426"/>
                  </a:lnTo>
                  <a:lnTo>
                    <a:pt x="1074" y="450"/>
                  </a:lnTo>
                  <a:lnTo>
                    <a:pt x="1074" y="462"/>
                  </a:lnTo>
                  <a:lnTo>
                    <a:pt x="1068" y="474"/>
                  </a:lnTo>
                  <a:lnTo>
                    <a:pt x="1062" y="486"/>
                  </a:lnTo>
                  <a:lnTo>
                    <a:pt x="1056" y="498"/>
                  </a:lnTo>
                  <a:close/>
                  <a:moveTo>
                    <a:pt x="186" y="378"/>
                  </a:moveTo>
                  <a:lnTo>
                    <a:pt x="186" y="384"/>
                  </a:lnTo>
                  <a:lnTo>
                    <a:pt x="180" y="390"/>
                  </a:lnTo>
                  <a:lnTo>
                    <a:pt x="174" y="396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14"/>
                  </a:lnTo>
                  <a:lnTo>
                    <a:pt x="126" y="414"/>
                  </a:lnTo>
                  <a:lnTo>
                    <a:pt x="120" y="414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2" y="426"/>
                  </a:lnTo>
                  <a:lnTo>
                    <a:pt x="102" y="432"/>
                  </a:lnTo>
                  <a:lnTo>
                    <a:pt x="96" y="432"/>
                  </a:lnTo>
                  <a:lnTo>
                    <a:pt x="90" y="432"/>
                  </a:lnTo>
                  <a:lnTo>
                    <a:pt x="84" y="438"/>
                  </a:lnTo>
                  <a:lnTo>
                    <a:pt x="78" y="438"/>
                  </a:lnTo>
                  <a:lnTo>
                    <a:pt x="78" y="444"/>
                  </a:lnTo>
                  <a:lnTo>
                    <a:pt x="72" y="444"/>
                  </a:lnTo>
                  <a:lnTo>
                    <a:pt x="72" y="450"/>
                  </a:lnTo>
                  <a:lnTo>
                    <a:pt x="66" y="456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48" y="468"/>
                  </a:lnTo>
                  <a:lnTo>
                    <a:pt x="42" y="468"/>
                  </a:lnTo>
                  <a:lnTo>
                    <a:pt x="42" y="462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8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0" y="396"/>
                  </a:lnTo>
                  <a:lnTo>
                    <a:pt x="6" y="384"/>
                  </a:lnTo>
                  <a:lnTo>
                    <a:pt x="18" y="372"/>
                  </a:lnTo>
                  <a:lnTo>
                    <a:pt x="30" y="348"/>
                  </a:lnTo>
                  <a:lnTo>
                    <a:pt x="30" y="342"/>
                  </a:lnTo>
                  <a:lnTo>
                    <a:pt x="42" y="330"/>
                  </a:lnTo>
                  <a:lnTo>
                    <a:pt x="42" y="324"/>
                  </a:lnTo>
                  <a:lnTo>
                    <a:pt x="48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60" y="282"/>
                  </a:lnTo>
                  <a:lnTo>
                    <a:pt x="60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2" y="258"/>
                  </a:lnTo>
                  <a:lnTo>
                    <a:pt x="84" y="246"/>
                  </a:lnTo>
                  <a:lnTo>
                    <a:pt x="90" y="234"/>
                  </a:lnTo>
                  <a:lnTo>
                    <a:pt x="96" y="234"/>
                  </a:lnTo>
                  <a:lnTo>
                    <a:pt x="96" y="228"/>
                  </a:lnTo>
                  <a:lnTo>
                    <a:pt x="102" y="222"/>
                  </a:lnTo>
                  <a:lnTo>
                    <a:pt x="102" y="228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14" y="228"/>
                  </a:lnTo>
                  <a:lnTo>
                    <a:pt x="114" y="234"/>
                  </a:lnTo>
                  <a:lnTo>
                    <a:pt x="120" y="228"/>
                  </a:lnTo>
                  <a:lnTo>
                    <a:pt x="120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26" y="228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8" y="234"/>
                  </a:lnTo>
                  <a:lnTo>
                    <a:pt x="144" y="234"/>
                  </a:lnTo>
                  <a:lnTo>
                    <a:pt x="144" y="228"/>
                  </a:lnTo>
                  <a:lnTo>
                    <a:pt x="150" y="228"/>
                  </a:lnTo>
                  <a:lnTo>
                    <a:pt x="156" y="228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46"/>
                  </a:lnTo>
                  <a:lnTo>
                    <a:pt x="162" y="240"/>
                  </a:lnTo>
                  <a:lnTo>
                    <a:pt x="162" y="246"/>
                  </a:lnTo>
                  <a:lnTo>
                    <a:pt x="162" y="258"/>
                  </a:lnTo>
                  <a:lnTo>
                    <a:pt x="162" y="264"/>
                  </a:lnTo>
                  <a:lnTo>
                    <a:pt x="156" y="270"/>
                  </a:lnTo>
                  <a:lnTo>
                    <a:pt x="162" y="270"/>
                  </a:lnTo>
                  <a:lnTo>
                    <a:pt x="162" y="282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86" y="288"/>
                  </a:lnTo>
                  <a:lnTo>
                    <a:pt x="186" y="294"/>
                  </a:lnTo>
                  <a:lnTo>
                    <a:pt x="180" y="300"/>
                  </a:lnTo>
                  <a:lnTo>
                    <a:pt x="174" y="318"/>
                  </a:lnTo>
                  <a:lnTo>
                    <a:pt x="174" y="324"/>
                  </a:lnTo>
                  <a:lnTo>
                    <a:pt x="168" y="330"/>
                  </a:lnTo>
                  <a:lnTo>
                    <a:pt x="168" y="342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74" y="360"/>
                  </a:lnTo>
                  <a:lnTo>
                    <a:pt x="180" y="366"/>
                  </a:lnTo>
                  <a:lnTo>
                    <a:pt x="186" y="37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27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110" name="Freeform 24">
              <a:extLst>
                <a:ext uri="{FF2B5EF4-FFF2-40B4-BE49-F238E27FC236}">
                  <a16:creationId xmlns:a16="http://schemas.microsoft.com/office/drawing/2014/main" id="{FF6A9124-AD23-4622-A813-41B9387CEF20}"/>
                </a:ext>
              </a:extLst>
            </p:cNvPr>
            <p:cNvSpPr>
              <a:spLocks/>
            </p:cNvSpPr>
            <p:nvPr/>
          </p:nvSpPr>
          <p:spPr bwMode="gray">
            <a:xfrm>
              <a:off x="2898776" y="4346575"/>
              <a:ext cx="1020763" cy="1092200"/>
            </a:xfrm>
            <a:custGeom>
              <a:avLst/>
              <a:gdLst>
                <a:gd name="T0" fmla="*/ 2147483647 w 1092"/>
                <a:gd name="T1" fmla="*/ 2147483647 h 1170"/>
                <a:gd name="T2" fmla="*/ 2147483647 w 1092"/>
                <a:gd name="T3" fmla="*/ 2147483647 h 1170"/>
                <a:gd name="T4" fmla="*/ 2147483647 w 1092"/>
                <a:gd name="T5" fmla="*/ 2147483647 h 1170"/>
                <a:gd name="T6" fmla="*/ 2147483647 w 1092"/>
                <a:gd name="T7" fmla="*/ 2147483647 h 1170"/>
                <a:gd name="T8" fmla="*/ 2147483647 w 1092"/>
                <a:gd name="T9" fmla="*/ 2147483647 h 1170"/>
                <a:gd name="T10" fmla="*/ 2147483647 w 1092"/>
                <a:gd name="T11" fmla="*/ 2147483647 h 1170"/>
                <a:gd name="T12" fmla="*/ 2147483647 w 1092"/>
                <a:gd name="T13" fmla="*/ 2147483647 h 1170"/>
                <a:gd name="T14" fmla="*/ 2147483647 w 1092"/>
                <a:gd name="T15" fmla="*/ 2147483647 h 1170"/>
                <a:gd name="T16" fmla="*/ 2147483647 w 1092"/>
                <a:gd name="T17" fmla="*/ 2147483647 h 1170"/>
                <a:gd name="T18" fmla="*/ 2147483647 w 1092"/>
                <a:gd name="T19" fmla="*/ 2147483647 h 1170"/>
                <a:gd name="T20" fmla="*/ 2147483647 w 1092"/>
                <a:gd name="T21" fmla="*/ 2147483647 h 1170"/>
                <a:gd name="T22" fmla="*/ 2147483647 w 1092"/>
                <a:gd name="T23" fmla="*/ 2147483647 h 1170"/>
                <a:gd name="T24" fmla="*/ 2147483647 w 1092"/>
                <a:gd name="T25" fmla="*/ 2147483647 h 1170"/>
                <a:gd name="T26" fmla="*/ 2147483647 w 1092"/>
                <a:gd name="T27" fmla="*/ 2147483647 h 1170"/>
                <a:gd name="T28" fmla="*/ 2147483647 w 1092"/>
                <a:gd name="T29" fmla="*/ 2147483647 h 1170"/>
                <a:gd name="T30" fmla="*/ 2147483647 w 1092"/>
                <a:gd name="T31" fmla="*/ 2147483647 h 1170"/>
                <a:gd name="T32" fmla="*/ 2147483647 w 1092"/>
                <a:gd name="T33" fmla="*/ 2147483647 h 1170"/>
                <a:gd name="T34" fmla="*/ 2147483647 w 1092"/>
                <a:gd name="T35" fmla="*/ 2147483647 h 1170"/>
                <a:gd name="T36" fmla="*/ 2147483647 w 1092"/>
                <a:gd name="T37" fmla="*/ 2147483647 h 1170"/>
                <a:gd name="T38" fmla="*/ 2147483647 w 1092"/>
                <a:gd name="T39" fmla="*/ 2147483647 h 1170"/>
                <a:gd name="T40" fmla="*/ 2147483647 w 1092"/>
                <a:gd name="T41" fmla="*/ 2147483647 h 1170"/>
                <a:gd name="T42" fmla="*/ 2147483647 w 1092"/>
                <a:gd name="T43" fmla="*/ 2147483647 h 1170"/>
                <a:gd name="T44" fmla="*/ 2147483647 w 1092"/>
                <a:gd name="T45" fmla="*/ 2147483647 h 1170"/>
                <a:gd name="T46" fmla="*/ 2147483647 w 1092"/>
                <a:gd name="T47" fmla="*/ 2147483647 h 1170"/>
                <a:gd name="T48" fmla="*/ 2147483647 w 1092"/>
                <a:gd name="T49" fmla="*/ 2147483647 h 1170"/>
                <a:gd name="T50" fmla="*/ 2147483647 w 1092"/>
                <a:gd name="T51" fmla="*/ 2147483647 h 1170"/>
                <a:gd name="T52" fmla="*/ 2147483647 w 1092"/>
                <a:gd name="T53" fmla="*/ 2147483647 h 1170"/>
                <a:gd name="T54" fmla="*/ 2147483647 w 1092"/>
                <a:gd name="T55" fmla="*/ 2147483647 h 1170"/>
                <a:gd name="T56" fmla="*/ 0 w 1092"/>
                <a:gd name="T57" fmla="*/ 2147483647 h 1170"/>
                <a:gd name="T58" fmla="*/ 0 w 1092"/>
                <a:gd name="T59" fmla="*/ 2147483647 h 1170"/>
                <a:gd name="T60" fmla="*/ 2147483647 w 1092"/>
                <a:gd name="T61" fmla="*/ 2147483647 h 1170"/>
                <a:gd name="T62" fmla="*/ 2147483647 w 1092"/>
                <a:gd name="T63" fmla="*/ 2147483647 h 1170"/>
                <a:gd name="T64" fmla="*/ 2147483647 w 1092"/>
                <a:gd name="T65" fmla="*/ 2147483647 h 1170"/>
                <a:gd name="T66" fmla="*/ 2147483647 w 1092"/>
                <a:gd name="T67" fmla="*/ 2147483647 h 1170"/>
                <a:gd name="T68" fmla="*/ 2147483647 w 1092"/>
                <a:gd name="T69" fmla="*/ 2147483647 h 1170"/>
                <a:gd name="T70" fmla="*/ 2147483647 w 1092"/>
                <a:gd name="T71" fmla="*/ 2147483647 h 1170"/>
                <a:gd name="T72" fmla="*/ 2147483647 w 1092"/>
                <a:gd name="T73" fmla="*/ 2147483647 h 1170"/>
                <a:gd name="T74" fmla="*/ 2147483647 w 1092"/>
                <a:gd name="T75" fmla="*/ 2147483647 h 1170"/>
                <a:gd name="T76" fmla="*/ 2147483647 w 1092"/>
                <a:gd name="T77" fmla="*/ 2147483647 h 1170"/>
                <a:gd name="T78" fmla="*/ 2147483647 w 1092"/>
                <a:gd name="T79" fmla="*/ 2147483647 h 1170"/>
                <a:gd name="T80" fmla="*/ 2147483647 w 1092"/>
                <a:gd name="T81" fmla="*/ 2147483647 h 1170"/>
                <a:gd name="T82" fmla="*/ 2147483647 w 1092"/>
                <a:gd name="T83" fmla="*/ 2147483647 h 1170"/>
                <a:gd name="T84" fmla="*/ 2147483647 w 1092"/>
                <a:gd name="T85" fmla="*/ 2147483647 h 1170"/>
                <a:gd name="T86" fmla="*/ 2147483647 w 1092"/>
                <a:gd name="T87" fmla="*/ 2147483647 h 1170"/>
                <a:gd name="T88" fmla="*/ 2147483647 w 1092"/>
                <a:gd name="T89" fmla="*/ 2147483647 h 1170"/>
                <a:gd name="T90" fmla="*/ 2147483647 w 1092"/>
                <a:gd name="T91" fmla="*/ 2147483647 h 1170"/>
                <a:gd name="T92" fmla="*/ 2147483647 w 1092"/>
                <a:gd name="T93" fmla="*/ 2147483647 h 1170"/>
                <a:gd name="T94" fmla="*/ 2147483647 w 1092"/>
                <a:gd name="T95" fmla="*/ 2147483647 h 1170"/>
                <a:gd name="T96" fmla="*/ 2147483647 w 1092"/>
                <a:gd name="T97" fmla="*/ 2147483647 h 1170"/>
                <a:gd name="T98" fmla="*/ 2147483647 w 1092"/>
                <a:gd name="T99" fmla="*/ 2147483647 h 1170"/>
                <a:gd name="T100" fmla="*/ 2147483647 w 1092"/>
                <a:gd name="T101" fmla="*/ 2147483647 h 1170"/>
                <a:gd name="T102" fmla="*/ 2147483647 w 1092"/>
                <a:gd name="T103" fmla="*/ 0 h 1170"/>
                <a:gd name="T104" fmla="*/ 2147483647 w 1092"/>
                <a:gd name="T105" fmla="*/ 2147483647 h 1170"/>
                <a:gd name="T106" fmla="*/ 2147483647 w 1092"/>
                <a:gd name="T107" fmla="*/ 2147483647 h 1170"/>
                <a:gd name="T108" fmla="*/ 2147483647 w 1092"/>
                <a:gd name="T109" fmla="*/ 2147483647 h 1170"/>
                <a:gd name="T110" fmla="*/ 2147483647 w 1092"/>
                <a:gd name="T111" fmla="*/ 2147483647 h 1170"/>
                <a:gd name="T112" fmla="*/ 2147483647 w 1092"/>
                <a:gd name="T113" fmla="*/ 2147483647 h 1170"/>
                <a:gd name="T114" fmla="*/ 2147483647 w 1092"/>
                <a:gd name="T115" fmla="*/ 2147483647 h 1170"/>
                <a:gd name="T116" fmla="*/ 2147483647 w 1092"/>
                <a:gd name="T117" fmla="*/ 2147483647 h 1170"/>
                <a:gd name="T118" fmla="*/ 2147483647 w 1092"/>
                <a:gd name="T119" fmla="*/ 2147483647 h 1170"/>
                <a:gd name="T120" fmla="*/ 2147483647 w 1092"/>
                <a:gd name="T121" fmla="*/ 2147483647 h 1170"/>
                <a:gd name="T122" fmla="*/ 2147483647 w 1092"/>
                <a:gd name="T123" fmla="*/ 2147483647 h 1170"/>
                <a:gd name="T124" fmla="*/ 2147483647 w 1092"/>
                <a:gd name="T125" fmla="*/ 2147483647 h 11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92"/>
                <a:gd name="T190" fmla="*/ 0 h 1170"/>
                <a:gd name="T191" fmla="*/ 1092 w 1092"/>
                <a:gd name="T192" fmla="*/ 1170 h 117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92" h="1170">
                  <a:moveTo>
                    <a:pt x="1056" y="654"/>
                  </a:moveTo>
                  <a:lnTo>
                    <a:pt x="1062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0"/>
                  </a:lnTo>
                  <a:lnTo>
                    <a:pt x="1038" y="690"/>
                  </a:lnTo>
                  <a:lnTo>
                    <a:pt x="1032" y="690"/>
                  </a:lnTo>
                  <a:lnTo>
                    <a:pt x="1026" y="690"/>
                  </a:lnTo>
                  <a:lnTo>
                    <a:pt x="1020" y="690"/>
                  </a:lnTo>
                  <a:lnTo>
                    <a:pt x="1002" y="690"/>
                  </a:lnTo>
                  <a:lnTo>
                    <a:pt x="990" y="690"/>
                  </a:lnTo>
                  <a:lnTo>
                    <a:pt x="972" y="696"/>
                  </a:lnTo>
                  <a:lnTo>
                    <a:pt x="966" y="696"/>
                  </a:lnTo>
                  <a:lnTo>
                    <a:pt x="960" y="696"/>
                  </a:lnTo>
                  <a:lnTo>
                    <a:pt x="954" y="708"/>
                  </a:lnTo>
                  <a:lnTo>
                    <a:pt x="954" y="714"/>
                  </a:lnTo>
                  <a:lnTo>
                    <a:pt x="942" y="714"/>
                  </a:lnTo>
                  <a:lnTo>
                    <a:pt x="930" y="732"/>
                  </a:lnTo>
                  <a:lnTo>
                    <a:pt x="918" y="744"/>
                  </a:lnTo>
                  <a:lnTo>
                    <a:pt x="918" y="750"/>
                  </a:lnTo>
                  <a:lnTo>
                    <a:pt x="888" y="762"/>
                  </a:lnTo>
                  <a:lnTo>
                    <a:pt x="870" y="762"/>
                  </a:lnTo>
                  <a:lnTo>
                    <a:pt x="846" y="774"/>
                  </a:lnTo>
                  <a:lnTo>
                    <a:pt x="828" y="780"/>
                  </a:lnTo>
                  <a:lnTo>
                    <a:pt x="828" y="774"/>
                  </a:lnTo>
                  <a:lnTo>
                    <a:pt x="816" y="768"/>
                  </a:lnTo>
                  <a:lnTo>
                    <a:pt x="816" y="780"/>
                  </a:lnTo>
                  <a:lnTo>
                    <a:pt x="804" y="780"/>
                  </a:lnTo>
                  <a:lnTo>
                    <a:pt x="804" y="786"/>
                  </a:lnTo>
                  <a:lnTo>
                    <a:pt x="792" y="792"/>
                  </a:lnTo>
                  <a:lnTo>
                    <a:pt x="792" y="804"/>
                  </a:lnTo>
                  <a:lnTo>
                    <a:pt x="780" y="816"/>
                  </a:lnTo>
                  <a:lnTo>
                    <a:pt x="774" y="822"/>
                  </a:lnTo>
                  <a:lnTo>
                    <a:pt x="762" y="828"/>
                  </a:lnTo>
                  <a:lnTo>
                    <a:pt x="756" y="822"/>
                  </a:lnTo>
                  <a:lnTo>
                    <a:pt x="750" y="798"/>
                  </a:lnTo>
                  <a:lnTo>
                    <a:pt x="738" y="792"/>
                  </a:lnTo>
                  <a:lnTo>
                    <a:pt x="720" y="786"/>
                  </a:lnTo>
                  <a:lnTo>
                    <a:pt x="708" y="786"/>
                  </a:lnTo>
                  <a:lnTo>
                    <a:pt x="696" y="798"/>
                  </a:lnTo>
                  <a:lnTo>
                    <a:pt x="690" y="810"/>
                  </a:lnTo>
                  <a:lnTo>
                    <a:pt x="684" y="828"/>
                  </a:lnTo>
                  <a:lnTo>
                    <a:pt x="690" y="840"/>
                  </a:lnTo>
                  <a:lnTo>
                    <a:pt x="708" y="858"/>
                  </a:lnTo>
                  <a:lnTo>
                    <a:pt x="720" y="894"/>
                  </a:lnTo>
                  <a:lnTo>
                    <a:pt x="714" y="906"/>
                  </a:lnTo>
                  <a:lnTo>
                    <a:pt x="714" y="918"/>
                  </a:lnTo>
                  <a:lnTo>
                    <a:pt x="738" y="948"/>
                  </a:lnTo>
                  <a:lnTo>
                    <a:pt x="774" y="972"/>
                  </a:lnTo>
                  <a:lnTo>
                    <a:pt x="780" y="984"/>
                  </a:lnTo>
                  <a:lnTo>
                    <a:pt x="792" y="996"/>
                  </a:lnTo>
                  <a:lnTo>
                    <a:pt x="792" y="1026"/>
                  </a:lnTo>
                  <a:lnTo>
                    <a:pt x="780" y="1044"/>
                  </a:lnTo>
                  <a:lnTo>
                    <a:pt x="774" y="1050"/>
                  </a:lnTo>
                  <a:lnTo>
                    <a:pt x="768" y="1062"/>
                  </a:lnTo>
                  <a:lnTo>
                    <a:pt x="768" y="1068"/>
                  </a:lnTo>
                  <a:lnTo>
                    <a:pt x="762" y="1074"/>
                  </a:lnTo>
                  <a:lnTo>
                    <a:pt x="762" y="1080"/>
                  </a:lnTo>
                  <a:lnTo>
                    <a:pt x="756" y="1080"/>
                  </a:lnTo>
                  <a:lnTo>
                    <a:pt x="744" y="1086"/>
                  </a:lnTo>
                  <a:lnTo>
                    <a:pt x="744" y="1092"/>
                  </a:lnTo>
                  <a:lnTo>
                    <a:pt x="738" y="1092"/>
                  </a:lnTo>
                  <a:lnTo>
                    <a:pt x="726" y="1098"/>
                  </a:lnTo>
                  <a:lnTo>
                    <a:pt x="720" y="1104"/>
                  </a:lnTo>
                  <a:lnTo>
                    <a:pt x="714" y="1104"/>
                  </a:lnTo>
                  <a:lnTo>
                    <a:pt x="702" y="1116"/>
                  </a:lnTo>
                  <a:lnTo>
                    <a:pt x="696" y="1122"/>
                  </a:lnTo>
                  <a:lnTo>
                    <a:pt x="696" y="1134"/>
                  </a:lnTo>
                  <a:lnTo>
                    <a:pt x="690" y="1134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72" y="1146"/>
                  </a:lnTo>
                  <a:lnTo>
                    <a:pt x="672" y="1152"/>
                  </a:lnTo>
                  <a:lnTo>
                    <a:pt x="660" y="1152"/>
                  </a:lnTo>
                  <a:lnTo>
                    <a:pt x="642" y="1152"/>
                  </a:lnTo>
                  <a:lnTo>
                    <a:pt x="636" y="1152"/>
                  </a:lnTo>
                  <a:lnTo>
                    <a:pt x="630" y="1158"/>
                  </a:lnTo>
                  <a:lnTo>
                    <a:pt x="624" y="1164"/>
                  </a:lnTo>
                  <a:lnTo>
                    <a:pt x="618" y="1170"/>
                  </a:lnTo>
                  <a:lnTo>
                    <a:pt x="612" y="1170"/>
                  </a:lnTo>
                  <a:lnTo>
                    <a:pt x="600" y="1170"/>
                  </a:lnTo>
                  <a:lnTo>
                    <a:pt x="594" y="1170"/>
                  </a:lnTo>
                  <a:lnTo>
                    <a:pt x="588" y="1170"/>
                  </a:lnTo>
                  <a:lnTo>
                    <a:pt x="582" y="1170"/>
                  </a:lnTo>
                  <a:lnTo>
                    <a:pt x="582" y="1164"/>
                  </a:lnTo>
                  <a:lnTo>
                    <a:pt x="576" y="1158"/>
                  </a:lnTo>
                  <a:lnTo>
                    <a:pt x="570" y="1158"/>
                  </a:lnTo>
                  <a:lnTo>
                    <a:pt x="570" y="1152"/>
                  </a:lnTo>
                  <a:lnTo>
                    <a:pt x="570" y="1146"/>
                  </a:lnTo>
                  <a:lnTo>
                    <a:pt x="570" y="1140"/>
                  </a:lnTo>
                  <a:lnTo>
                    <a:pt x="564" y="1140"/>
                  </a:lnTo>
                  <a:lnTo>
                    <a:pt x="564" y="1134"/>
                  </a:lnTo>
                  <a:lnTo>
                    <a:pt x="564" y="1128"/>
                  </a:lnTo>
                  <a:lnTo>
                    <a:pt x="576" y="1104"/>
                  </a:lnTo>
                  <a:lnTo>
                    <a:pt x="582" y="1086"/>
                  </a:lnTo>
                  <a:lnTo>
                    <a:pt x="570" y="1068"/>
                  </a:lnTo>
                  <a:lnTo>
                    <a:pt x="534" y="1056"/>
                  </a:lnTo>
                  <a:lnTo>
                    <a:pt x="516" y="1026"/>
                  </a:lnTo>
                  <a:lnTo>
                    <a:pt x="492" y="1020"/>
                  </a:lnTo>
                  <a:lnTo>
                    <a:pt x="492" y="1014"/>
                  </a:lnTo>
                  <a:lnTo>
                    <a:pt x="480" y="1008"/>
                  </a:lnTo>
                  <a:lnTo>
                    <a:pt x="474" y="996"/>
                  </a:lnTo>
                  <a:lnTo>
                    <a:pt x="444" y="984"/>
                  </a:lnTo>
                  <a:lnTo>
                    <a:pt x="426" y="978"/>
                  </a:lnTo>
                  <a:lnTo>
                    <a:pt x="420" y="972"/>
                  </a:lnTo>
                  <a:lnTo>
                    <a:pt x="408" y="984"/>
                  </a:lnTo>
                  <a:lnTo>
                    <a:pt x="402" y="984"/>
                  </a:lnTo>
                  <a:lnTo>
                    <a:pt x="396" y="984"/>
                  </a:lnTo>
                  <a:lnTo>
                    <a:pt x="390" y="984"/>
                  </a:lnTo>
                  <a:lnTo>
                    <a:pt x="384" y="990"/>
                  </a:lnTo>
                  <a:lnTo>
                    <a:pt x="378" y="990"/>
                  </a:lnTo>
                  <a:lnTo>
                    <a:pt x="372" y="990"/>
                  </a:lnTo>
                  <a:lnTo>
                    <a:pt x="372" y="996"/>
                  </a:lnTo>
                  <a:lnTo>
                    <a:pt x="366" y="996"/>
                  </a:lnTo>
                  <a:lnTo>
                    <a:pt x="360" y="1002"/>
                  </a:lnTo>
                  <a:lnTo>
                    <a:pt x="360" y="1008"/>
                  </a:lnTo>
                  <a:lnTo>
                    <a:pt x="354" y="1008"/>
                  </a:lnTo>
                  <a:lnTo>
                    <a:pt x="342" y="1014"/>
                  </a:lnTo>
                  <a:lnTo>
                    <a:pt x="336" y="1020"/>
                  </a:lnTo>
                  <a:lnTo>
                    <a:pt x="336" y="1014"/>
                  </a:lnTo>
                  <a:lnTo>
                    <a:pt x="330" y="1014"/>
                  </a:lnTo>
                  <a:lnTo>
                    <a:pt x="330" y="1008"/>
                  </a:lnTo>
                  <a:lnTo>
                    <a:pt x="330" y="1002"/>
                  </a:lnTo>
                  <a:lnTo>
                    <a:pt x="324" y="1002"/>
                  </a:lnTo>
                  <a:lnTo>
                    <a:pt x="324" y="996"/>
                  </a:lnTo>
                  <a:lnTo>
                    <a:pt x="324" y="990"/>
                  </a:lnTo>
                  <a:lnTo>
                    <a:pt x="318" y="990"/>
                  </a:lnTo>
                  <a:lnTo>
                    <a:pt x="306" y="996"/>
                  </a:lnTo>
                  <a:lnTo>
                    <a:pt x="300" y="996"/>
                  </a:lnTo>
                  <a:lnTo>
                    <a:pt x="294" y="996"/>
                  </a:lnTo>
                  <a:lnTo>
                    <a:pt x="288" y="1002"/>
                  </a:lnTo>
                  <a:lnTo>
                    <a:pt x="282" y="990"/>
                  </a:lnTo>
                  <a:lnTo>
                    <a:pt x="276" y="984"/>
                  </a:lnTo>
                  <a:lnTo>
                    <a:pt x="270" y="990"/>
                  </a:lnTo>
                  <a:lnTo>
                    <a:pt x="270" y="996"/>
                  </a:lnTo>
                  <a:lnTo>
                    <a:pt x="270" y="1002"/>
                  </a:lnTo>
                  <a:lnTo>
                    <a:pt x="264" y="1008"/>
                  </a:lnTo>
                  <a:lnTo>
                    <a:pt x="252" y="996"/>
                  </a:lnTo>
                  <a:lnTo>
                    <a:pt x="246" y="996"/>
                  </a:lnTo>
                  <a:lnTo>
                    <a:pt x="234" y="1002"/>
                  </a:lnTo>
                  <a:lnTo>
                    <a:pt x="222" y="1002"/>
                  </a:lnTo>
                  <a:lnTo>
                    <a:pt x="210" y="1002"/>
                  </a:lnTo>
                  <a:lnTo>
                    <a:pt x="198" y="996"/>
                  </a:lnTo>
                  <a:lnTo>
                    <a:pt x="198" y="1002"/>
                  </a:lnTo>
                  <a:lnTo>
                    <a:pt x="198" y="1008"/>
                  </a:lnTo>
                  <a:lnTo>
                    <a:pt x="192" y="1020"/>
                  </a:lnTo>
                  <a:lnTo>
                    <a:pt x="198" y="1020"/>
                  </a:lnTo>
                  <a:lnTo>
                    <a:pt x="204" y="1020"/>
                  </a:lnTo>
                  <a:lnTo>
                    <a:pt x="210" y="1026"/>
                  </a:lnTo>
                  <a:lnTo>
                    <a:pt x="216" y="1026"/>
                  </a:lnTo>
                  <a:lnTo>
                    <a:pt x="216" y="1032"/>
                  </a:lnTo>
                  <a:lnTo>
                    <a:pt x="210" y="1032"/>
                  </a:lnTo>
                  <a:lnTo>
                    <a:pt x="210" y="1038"/>
                  </a:lnTo>
                  <a:lnTo>
                    <a:pt x="204" y="1038"/>
                  </a:lnTo>
                  <a:lnTo>
                    <a:pt x="204" y="1044"/>
                  </a:lnTo>
                  <a:lnTo>
                    <a:pt x="198" y="1044"/>
                  </a:lnTo>
                  <a:lnTo>
                    <a:pt x="192" y="1044"/>
                  </a:lnTo>
                  <a:lnTo>
                    <a:pt x="186" y="1050"/>
                  </a:lnTo>
                  <a:lnTo>
                    <a:pt x="186" y="1056"/>
                  </a:lnTo>
                  <a:lnTo>
                    <a:pt x="180" y="1056"/>
                  </a:lnTo>
                  <a:lnTo>
                    <a:pt x="180" y="1062"/>
                  </a:lnTo>
                  <a:lnTo>
                    <a:pt x="174" y="1062"/>
                  </a:lnTo>
                  <a:lnTo>
                    <a:pt x="168" y="1062"/>
                  </a:lnTo>
                  <a:lnTo>
                    <a:pt x="162" y="1062"/>
                  </a:lnTo>
                  <a:lnTo>
                    <a:pt x="156" y="1050"/>
                  </a:lnTo>
                  <a:lnTo>
                    <a:pt x="150" y="1044"/>
                  </a:lnTo>
                  <a:lnTo>
                    <a:pt x="150" y="1038"/>
                  </a:lnTo>
                  <a:lnTo>
                    <a:pt x="144" y="1032"/>
                  </a:lnTo>
                  <a:lnTo>
                    <a:pt x="144" y="1026"/>
                  </a:lnTo>
                  <a:lnTo>
                    <a:pt x="144" y="1014"/>
                  </a:lnTo>
                  <a:lnTo>
                    <a:pt x="150" y="1008"/>
                  </a:lnTo>
                  <a:lnTo>
                    <a:pt x="150" y="1002"/>
                  </a:lnTo>
                  <a:lnTo>
                    <a:pt x="156" y="984"/>
                  </a:lnTo>
                  <a:lnTo>
                    <a:pt x="162" y="978"/>
                  </a:lnTo>
                  <a:lnTo>
                    <a:pt x="162" y="972"/>
                  </a:lnTo>
                  <a:lnTo>
                    <a:pt x="150" y="966"/>
                  </a:lnTo>
                  <a:lnTo>
                    <a:pt x="144" y="966"/>
                  </a:lnTo>
                  <a:lnTo>
                    <a:pt x="138" y="966"/>
                  </a:lnTo>
                  <a:lnTo>
                    <a:pt x="138" y="954"/>
                  </a:lnTo>
                  <a:lnTo>
                    <a:pt x="132" y="954"/>
                  </a:lnTo>
                  <a:lnTo>
                    <a:pt x="138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8" y="924"/>
                  </a:lnTo>
                  <a:lnTo>
                    <a:pt x="132" y="930"/>
                  </a:lnTo>
                  <a:lnTo>
                    <a:pt x="132" y="924"/>
                  </a:lnTo>
                  <a:lnTo>
                    <a:pt x="126" y="918"/>
                  </a:lnTo>
                  <a:lnTo>
                    <a:pt x="132" y="918"/>
                  </a:lnTo>
                  <a:lnTo>
                    <a:pt x="132" y="912"/>
                  </a:lnTo>
                  <a:lnTo>
                    <a:pt x="126" y="912"/>
                  </a:lnTo>
                  <a:lnTo>
                    <a:pt x="120" y="912"/>
                  </a:lnTo>
                  <a:lnTo>
                    <a:pt x="120" y="918"/>
                  </a:lnTo>
                  <a:lnTo>
                    <a:pt x="114" y="918"/>
                  </a:lnTo>
                  <a:lnTo>
                    <a:pt x="114" y="912"/>
                  </a:lnTo>
                  <a:lnTo>
                    <a:pt x="108" y="912"/>
                  </a:lnTo>
                  <a:lnTo>
                    <a:pt x="102" y="912"/>
                  </a:lnTo>
                  <a:lnTo>
                    <a:pt x="108" y="906"/>
                  </a:lnTo>
                  <a:lnTo>
                    <a:pt x="102" y="906"/>
                  </a:lnTo>
                  <a:lnTo>
                    <a:pt x="96" y="906"/>
                  </a:lnTo>
                  <a:lnTo>
                    <a:pt x="96" y="912"/>
                  </a:lnTo>
                  <a:lnTo>
                    <a:pt x="90" y="918"/>
                  </a:lnTo>
                  <a:lnTo>
                    <a:pt x="90" y="912"/>
                  </a:lnTo>
                  <a:lnTo>
                    <a:pt x="84" y="912"/>
                  </a:lnTo>
                  <a:lnTo>
                    <a:pt x="84" y="918"/>
                  </a:lnTo>
                  <a:lnTo>
                    <a:pt x="78" y="918"/>
                  </a:lnTo>
                  <a:lnTo>
                    <a:pt x="78" y="912"/>
                  </a:lnTo>
                  <a:lnTo>
                    <a:pt x="78" y="906"/>
                  </a:lnTo>
                  <a:lnTo>
                    <a:pt x="72" y="900"/>
                  </a:lnTo>
                  <a:lnTo>
                    <a:pt x="78" y="900"/>
                  </a:lnTo>
                  <a:lnTo>
                    <a:pt x="72" y="900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8" y="888"/>
                  </a:lnTo>
                  <a:lnTo>
                    <a:pt x="72" y="888"/>
                  </a:lnTo>
                  <a:lnTo>
                    <a:pt x="72" y="882"/>
                  </a:lnTo>
                  <a:lnTo>
                    <a:pt x="66" y="876"/>
                  </a:lnTo>
                  <a:lnTo>
                    <a:pt x="60" y="882"/>
                  </a:lnTo>
                  <a:lnTo>
                    <a:pt x="54" y="876"/>
                  </a:lnTo>
                  <a:lnTo>
                    <a:pt x="54" y="882"/>
                  </a:lnTo>
                  <a:lnTo>
                    <a:pt x="48" y="882"/>
                  </a:lnTo>
                  <a:lnTo>
                    <a:pt x="42" y="870"/>
                  </a:lnTo>
                  <a:lnTo>
                    <a:pt x="42" y="864"/>
                  </a:lnTo>
                  <a:lnTo>
                    <a:pt x="36" y="858"/>
                  </a:lnTo>
                  <a:lnTo>
                    <a:pt x="36" y="852"/>
                  </a:lnTo>
                  <a:lnTo>
                    <a:pt x="30" y="852"/>
                  </a:lnTo>
                  <a:lnTo>
                    <a:pt x="30" y="846"/>
                  </a:lnTo>
                  <a:lnTo>
                    <a:pt x="24" y="846"/>
                  </a:lnTo>
                  <a:lnTo>
                    <a:pt x="18" y="840"/>
                  </a:lnTo>
                  <a:lnTo>
                    <a:pt x="12" y="834"/>
                  </a:lnTo>
                  <a:lnTo>
                    <a:pt x="0" y="828"/>
                  </a:lnTo>
                  <a:lnTo>
                    <a:pt x="0" y="822"/>
                  </a:lnTo>
                  <a:lnTo>
                    <a:pt x="0" y="816"/>
                  </a:lnTo>
                  <a:lnTo>
                    <a:pt x="0" y="810"/>
                  </a:lnTo>
                  <a:lnTo>
                    <a:pt x="6" y="804"/>
                  </a:lnTo>
                  <a:lnTo>
                    <a:pt x="12" y="804"/>
                  </a:lnTo>
                  <a:lnTo>
                    <a:pt x="12" y="798"/>
                  </a:lnTo>
                  <a:lnTo>
                    <a:pt x="12" y="792"/>
                  </a:lnTo>
                  <a:lnTo>
                    <a:pt x="6" y="792"/>
                  </a:lnTo>
                  <a:lnTo>
                    <a:pt x="6" y="786"/>
                  </a:lnTo>
                  <a:lnTo>
                    <a:pt x="6" y="780"/>
                  </a:lnTo>
                  <a:lnTo>
                    <a:pt x="18" y="780"/>
                  </a:lnTo>
                  <a:lnTo>
                    <a:pt x="18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0" y="774"/>
                  </a:lnTo>
                  <a:lnTo>
                    <a:pt x="36" y="768"/>
                  </a:lnTo>
                  <a:lnTo>
                    <a:pt x="42" y="768"/>
                  </a:lnTo>
                  <a:lnTo>
                    <a:pt x="60" y="750"/>
                  </a:lnTo>
                  <a:lnTo>
                    <a:pt x="60" y="744"/>
                  </a:lnTo>
                  <a:lnTo>
                    <a:pt x="54" y="738"/>
                  </a:lnTo>
                  <a:lnTo>
                    <a:pt x="60" y="732"/>
                  </a:lnTo>
                  <a:lnTo>
                    <a:pt x="54" y="732"/>
                  </a:lnTo>
                  <a:lnTo>
                    <a:pt x="60" y="726"/>
                  </a:lnTo>
                  <a:lnTo>
                    <a:pt x="66" y="720"/>
                  </a:lnTo>
                  <a:lnTo>
                    <a:pt x="72" y="714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84" y="696"/>
                  </a:lnTo>
                  <a:lnTo>
                    <a:pt x="90" y="684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66"/>
                  </a:lnTo>
                  <a:lnTo>
                    <a:pt x="90" y="660"/>
                  </a:lnTo>
                  <a:lnTo>
                    <a:pt x="84" y="654"/>
                  </a:lnTo>
                  <a:lnTo>
                    <a:pt x="84" y="648"/>
                  </a:lnTo>
                  <a:lnTo>
                    <a:pt x="78" y="636"/>
                  </a:lnTo>
                  <a:lnTo>
                    <a:pt x="66" y="630"/>
                  </a:lnTo>
                  <a:lnTo>
                    <a:pt x="66" y="624"/>
                  </a:lnTo>
                  <a:lnTo>
                    <a:pt x="60" y="624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60" y="600"/>
                  </a:lnTo>
                  <a:lnTo>
                    <a:pt x="66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6" y="588"/>
                  </a:lnTo>
                  <a:lnTo>
                    <a:pt x="66" y="582"/>
                  </a:lnTo>
                  <a:lnTo>
                    <a:pt x="72" y="582"/>
                  </a:lnTo>
                  <a:lnTo>
                    <a:pt x="78" y="576"/>
                  </a:lnTo>
                  <a:lnTo>
                    <a:pt x="72" y="576"/>
                  </a:lnTo>
                  <a:lnTo>
                    <a:pt x="66" y="570"/>
                  </a:lnTo>
                  <a:lnTo>
                    <a:pt x="72" y="564"/>
                  </a:lnTo>
                  <a:lnTo>
                    <a:pt x="78" y="558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90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102" y="516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0" y="504"/>
                  </a:lnTo>
                  <a:lnTo>
                    <a:pt x="120" y="498"/>
                  </a:lnTo>
                  <a:lnTo>
                    <a:pt x="120" y="492"/>
                  </a:lnTo>
                  <a:lnTo>
                    <a:pt x="126" y="480"/>
                  </a:lnTo>
                  <a:lnTo>
                    <a:pt x="132" y="474"/>
                  </a:lnTo>
                  <a:lnTo>
                    <a:pt x="132" y="468"/>
                  </a:lnTo>
                  <a:lnTo>
                    <a:pt x="138" y="462"/>
                  </a:lnTo>
                  <a:lnTo>
                    <a:pt x="138" y="456"/>
                  </a:lnTo>
                  <a:lnTo>
                    <a:pt x="138" y="450"/>
                  </a:lnTo>
                  <a:lnTo>
                    <a:pt x="144" y="444"/>
                  </a:lnTo>
                  <a:lnTo>
                    <a:pt x="162" y="438"/>
                  </a:lnTo>
                  <a:lnTo>
                    <a:pt x="186" y="438"/>
                  </a:lnTo>
                  <a:lnTo>
                    <a:pt x="210" y="444"/>
                  </a:lnTo>
                  <a:lnTo>
                    <a:pt x="276" y="450"/>
                  </a:lnTo>
                  <a:lnTo>
                    <a:pt x="342" y="450"/>
                  </a:lnTo>
                  <a:lnTo>
                    <a:pt x="348" y="450"/>
                  </a:lnTo>
                  <a:lnTo>
                    <a:pt x="354" y="450"/>
                  </a:lnTo>
                  <a:lnTo>
                    <a:pt x="360" y="456"/>
                  </a:lnTo>
                  <a:lnTo>
                    <a:pt x="354" y="462"/>
                  </a:lnTo>
                  <a:lnTo>
                    <a:pt x="354" y="468"/>
                  </a:lnTo>
                  <a:lnTo>
                    <a:pt x="354" y="474"/>
                  </a:lnTo>
                  <a:lnTo>
                    <a:pt x="348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48" y="498"/>
                  </a:lnTo>
                  <a:lnTo>
                    <a:pt x="342" y="510"/>
                  </a:lnTo>
                  <a:lnTo>
                    <a:pt x="348" y="528"/>
                  </a:lnTo>
                  <a:lnTo>
                    <a:pt x="348" y="534"/>
                  </a:lnTo>
                  <a:lnTo>
                    <a:pt x="354" y="552"/>
                  </a:lnTo>
                  <a:lnTo>
                    <a:pt x="366" y="546"/>
                  </a:lnTo>
                  <a:lnTo>
                    <a:pt x="372" y="540"/>
                  </a:lnTo>
                  <a:lnTo>
                    <a:pt x="384" y="540"/>
                  </a:lnTo>
                  <a:lnTo>
                    <a:pt x="396" y="534"/>
                  </a:lnTo>
                  <a:lnTo>
                    <a:pt x="402" y="534"/>
                  </a:lnTo>
                  <a:lnTo>
                    <a:pt x="414" y="546"/>
                  </a:lnTo>
                  <a:lnTo>
                    <a:pt x="432" y="540"/>
                  </a:lnTo>
                  <a:lnTo>
                    <a:pt x="450" y="534"/>
                  </a:lnTo>
                  <a:lnTo>
                    <a:pt x="450" y="528"/>
                  </a:lnTo>
                  <a:lnTo>
                    <a:pt x="456" y="528"/>
                  </a:lnTo>
                  <a:lnTo>
                    <a:pt x="456" y="522"/>
                  </a:lnTo>
                  <a:lnTo>
                    <a:pt x="456" y="516"/>
                  </a:lnTo>
                  <a:lnTo>
                    <a:pt x="462" y="516"/>
                  </a:lnTo>
                  <a:lnTo>
                    <a:pt x="468" y="510"/>
                  </a:lnTo>
                  <a:lnTo>
                    <a:pt x="468" y="504"/>
                  </a:lnTo>
                  <a:lnTo>
                    <a:pt x="474" y="504"/>
                  </a:lnTo>
                  <a:lnTo>
                    <a:pt x="480" y="504"/>
                  </a:lnTo>
                  <a:lnTo>
                    <a:pt x="486" y="498"/>
                  </a:lnTo>
                  <a:lnTo>
                    <a:pt x="492" y="498"/>
                  </a:lnTo>
                  <a:lnTo>
                    <a:pt x="486" y="480"/>
                  </a:lnTo>
                  <a:lnTo>
                    <a:pt x="492" y="462"/>
                  </a:lnTo>
                  <a:lnTo>
                    <a:pt x="498" y="444"/>
                  </a:lnTo>
                  <a:lnTo>
                    <a:pt x="498" y="426"/>
                  </a:lnTo>
                  <a:lnTo>
                    <a:pt x="498" y="420"/>
                  </a:lnTo>
                  <a:lnTo>
                    <a:pt x="504" y="426"/>
                  </a:lnTo>
                  <a:lnTo>
                    <a:pt x="504" y="420"/>
                  </a:lnTo>
                  <a:lnTo>
                    <a:pt x="510" y="420"/>
                  </a:lnTo>
                  <a:lnTo>
                    <a:pt x="510" y="414"/>
                  </a:lnTo>
                  <a:lnTo>
                    <a:pt x="510" y="408"/>
                  </a:lnTo>
                  <a:lnTo>
                    <a:pt x="504" y="402"/>
                  </a:lnTo>
                  <a:lnTo>
                    <a:pt x="504" y="396"/>
                  </a:lnTo>
                  <a:lnTo>
                    <a:pt x="504" y="384"/>
                  </a:lnTo>
                  <a:lnTo>
                    <a:pt x="504" y="378"/>
                  </a:lnTo>
                  <a:lnTo>
                    <a:pt x="504" y="360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510" y="348"/>
                  </a:lnTo>
                  <a:lnTo>
                    <a:pt x="510" y="336"/>
                  </a:lnTo>
                  <a:lnTo>
                    <a:pt x="516" y="330"/>
                  </a:lnTo>
                  <a:lnTo>
                    <a:pt x="522" y="324"/>
                  </a:lnTo>
                  <a:lnTo>
                    <a:pt x="528" y="318"/>
                  </a:lnTo>
                  <a:lnTo>
                    <a:pt x="534" y="312"/>
                  </a:lnTo>
                  <a:lnTo>
                    <a:pt x="534" y="300"/>
                  </a:lnTo>
                  <a:lnTo>
                    <a:pt x="540" y="294"/>
                  </a:lnTo>
                  <a:lnTo>
                    <a:pt x="546" y="288"/>
                  </a:lnTo>
                  <a:lnTo>
                    <a:pt x="552" y="276"/>
                  </a:lnTo>
                  <a:lnTo>
                    <a:pt x="558" y="264"/>
                  </a:lnTo>
                  <a:lnTo>
                    <a:pt x="558" y="258"/>
                  </a:lnTo>
                  <a:lnTo>
                    <a:pt x="558" y="252"/>
                  </a:lnTo>
                  <a:lnTo>
                    <a:pt x="558" y="246"/>
                  </a:lnTo>
                  <a:lnTo>
                    <a:pt x="564" y="246"/>
                  </a:lnTo>
                  <a:lnTo>
                    <a:pt x="564" y="240"/>
                  </a:lnTo>
                  <a:lnTo>
                    <a:pt x="570" y="234"/>
                  </a:lnTo>
                  <a:lnTo>
                    <a:pt x="564" y="216"/>
                  </a:lnTo>
                  <a:lnTo>
                    <a:pt x="564" y="210"/>
                  </a:lnTo>
                  <a:lnTo>
                    <a:pt x="570" y="210"/>
                  </a:lnTo>
                  <a:lnTo>
                    <a:pt x="570" y="204"/>
                  </a:lnTo>
                  <a:lnTo>
                    <a:pt x="570" y="198"/>
                  </a:lnTo>
                  <a:lnTo>
                    <a:pt x="582" y="180"/>
                  </a:lnTo>
                  <a:lnTo>
                    <a:pt x="582" y="174"/>
                  </a:lnTo>
                  <a:lnTo>
                    <a:pt x="582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606" y="150"/>
                  </a:lnTo>
                  <a:lnTo>
                    <a:pt x="612" y="150"/>
                  </a:lnTo>
                  <a:lnTo>
                    <a:pt x="618" y="150"/>
                  </a:lnTo>
                  <a:lnTo>
                    <a:pt x="624" y="138"/>
                  </a:lnTo>
                  <a:lnTo>
                    <a:pt x="618" y="132"/>
                  </a:lnTo>
                  <a:lnTo>
                    <a:pt x="618" y="126"/>
                  </a:lnTo>
                  <a:lnTo>
                    <a:pt x="618" y="120"/>
                  </a:lnTo>
                  <a:lnTo>
                    <a:pt x="618" y="114"/>
                  </a:lnTo>
                  <a:lnTo>
                    <a:pt x="612" y="108"/>
                  </a:lnTo>
                  <a:lnTo>
                    <a:pt x="612" y="102"/>
                  </a:lnTo>
                  <a:lnTo>
                    <a:pt x="618" y="90"/>
                  </a:lnTo>
                  <a:lnTo>
                    <a:pt x="624" y="84"/>
                  </a:lnTo>
                  <a:lnTo>
                    <a:pt x="618" y="84"/>
                  </a:lnTo>
                  <a:lnTo>
                    <a:pt x="618" y="78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0" y="72"/>
                  </a:lnTo>
                  <a:lnTo>
                    <a:pt x="600" y="66"/>
                  </a:lnTo>
                  <a:lnTo>
                    <a:pt x="600" y="60"/>
                  </a:lnTo>
                  <a:lnTo>
                    <a:pt x="600" y="48"/>
                  </a:lnTo>
                  <a:lnTo>
                    <a:pt x="612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36"/>
                  </a:lnTo>
                  <a:lnTo>
                    <a:pt x="630" y="30"/>
                  </a:lnTo>
                  <a:lnTo>
                    <a:pt x="636" y="24"/>
                  </a:lnTo>
                  <a:lnTo>
                    <a:pt x="642" y="24"/>
                  </a:lnTo>
                  <a:lnTo>
                    <a:pt x="648" y="24"/>
                  </a:lnTo>
                  <a:lnTo>
                    <a:pt x="648" y="18"/>
                  </a:lnTo>
                  <a:lnTo>
                    <a:pt x="654" y="12"/>
                  </a:lnTo>
                  <a:lnTo>
                    <a:pt x="660" y="0"/>
                  </a:lnTo>
                  <a:lnTo>
                    <a:pt x="678" y="0"/>
                  </a:lnTo>
                  <a:lnTo>
                    <a:pt x="696" y="0"/>
                  </a:lnTo>
                  <a:lnTo>
                    <a:pt x="702" y="0"/>
                  </a:lnTo>
                  <a:lnTo>
                    <a:pt x="714" y="0"/>
                  </a:lnTo>
                  <a:lnTo>
                    <a:pt x="720" y="6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44" y="24"/>
                  </a:lnTo>
                  <a:lnTo>
                    <a:pt x="744" y="30"/>
                  </a:lnTo>
                  <a:lnTo>
                    <a:pt x="732" y="42"/>
                  </a:lnTo>
                  <a:lnTo>
                    <a:pt x="726" y="42"/>
                  </a:lnTo>
                  <a:lnTo>
                    <a:pt x="720" y="42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54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90"/>
                  </a:lnTo>
                  <a:lnTo>
                    <a:pt x="726" y="84"/>
                  </a:lnTo>
                  <a:lnTo>
                    <a:pt x="738" y="84"/>
                  </a:lnTo>
                  <a:lnTo>
                    <a:pt x="750" y="96"/>
                  </a:lnTo>
                  <a:lnTo>
                    <a:pt x="768" y="96"/>
                  </a:lnTo>
                  <a:lnTo>
                    <a:pt x="768" y="90"/>
                  </a:lnTo>
                  <a:lnTo>
                    <a:pt x="774" y="84"/>
                  </a:lnTo>
                  <a:lnTo>
                    <a:pt x="780" y="78"/>
                  </a:lnTo>
                  <a:lnTo>
                    <a:pt x="786" y="78"/>
                  </a:lnTo>
                  <a:lnTo>
                    <a:pt x="792" y="72"/>
                  </a:lnTo>
                  <a:lnTo>
                    <a:pt x="804" y="72"/>
                  </a:lnTo>
                  <a:lnTo>
                    <a:pt x="804" y="66"/>
                  </a:lnTo>
                  <a:lnTo>
                    <a:pt x="810" y="66"/>
                  </a:lnTo>
                  <a:lnTo>
                    <a:pt x="810" y="72"/>
                  </a:lnTo>
                  <a:lnTo>
                    <a:pt x="816" y="66"/>
                  </a:lnTo>
                  <a:lnTo>
                    <a:pt x="828" y="66"/>
                  </a:lnTo>
                  <a:lnTo>
                    <a:pt x="834" y="72"/>
                  </a:lnTo>
                  <a:lnTo>
                    <a:pt x="840" y="72"/>
                  </a:lnTo>
                  <a:lnTo>
                    <a:pt x="840" y="78"/>
                  </a:lnTo>
                  <a:lnTo>
                    <a:pt x="840" y="84"/>
                  </a:lnTo>
                  <a:lnTo>
                    <a:pt x="852" y="84"/>
                  </a:lnTo>
                  <a:lnTo>
                    <a:pt x="858" y="96"/>
                  </a:lnTo>
                  <a:lnTo>
                    <a:pt x="864" y="108"/>
                  </a:lnTo>
                  <a:lnTo>
                    <a:pt x="876" y="114"/>
                  </a:lnTo>
                  <a:lnTo>
                    <a:pt x="894" y="114"/>
                  </a:lnTo>
                  <a:lnTo>
                    <a:pt x="906" y="114"/>
                  </a:lnTo>
                  <a:lnTo>
                    <a:pt x="906" y="126"/>
                  </a:lnTo>
                  <a:lnTo>
                    <a:pt x="912" y="144"/>
                  </a:lnTo>
                  <a:lnTo>
                    <a:pt x="930" y="138"/>
                  </a:lnTo>
                  <a:lnTo>
                    <a:pt x="936" y="138"/>
                  </a:lnTo>
                  <a:lnTo>
                    <a:pt x="942" y="144"/>
                  </a:lnTo>
                  <a:lnTo>
                    <a:pt x="948" y="150"/>
                  </a:lnTo>
                  <a:lnTo>
                    <a:pt x="954" y="156"/>
                  </a:lnTo>
                  <a:lnTo>
                    <a:pt x="954" y="168"/>
                  </a:lnTo>
                  <a:lnTo>
                    <a:pt x="954" y="174"/>
                  </a:lnTo>
                  <a:lnTo>
                    <a:pt x="960" y="180"/>
                  </a:lnTo>
                  <a:lnTo>
                    <a:pt x="966" y="186"/>
                  </a:lnTo>
                  <a:lnTo>
                    <a:pt x="960" y="186"/>
                  </a:lnTo>
                  <a:lnTo>
                    <a:pt x="966" y="192"/>
                  </a:lnTo>
                  <a:lnTo>
                    <a:pt x="966" y="198"/>
                  </a:lnTo>
                  <a:lnTo>
                    <a:pt x="978" y="204"/>
                  </a:lnTo>
                  <a:lnTo>
                    <a:pt x="1050" y="186"/>
                  </a:lnTo>
                  <a:lnTo>
                    <a:pt x="1056" y="198"/>
                  </a:lnTo>
                  <a:lnTo>
                    <a:pt x="1068" y="210"/>
                  </a:lnTo>
                  <a:lnTo>
                    <a:pt x="1074" y="216"/>
                  </a:lnTo>
                  <a:lnTo>
                    <a:pt x="1080" y="252"/>
                  </a:lnTo>
                  <a:lnTo>
                    <a:pt x="1086" y="270"/>
                  </a:lnTo>
                  <a:lnTo>
                    <a:pt x="1092" y="282"/>
                  </a:lnTo>
                  <a:lnTo>
                    <a:pt x="1086" y="300"/>
                  </a:lnTo>
                  <a:lnTo>
                    <a:pt x="1074" y="330"/>
                  </a:lnTo>
                  <a:lnTo>
                    <a:pt x="1068" y="336"/>
                  </a:lnTo>
                  <a:lnTo>
                    <a:pt x="1062" y="348"/>
                  </a:lnTo>
                  <a:lnTo>
                    <a:pt x="1062" y="360"/>
                  </a:lnTo>
                  <a:lnTo>
                    <a:pt x="1068" y="378"/>
                  </a:lnTo>
                  <a:lnTo>
                    <a:pt x="1074" y="390"/>
                  </a:lnTo>
                  <a:lnTo>
                    <a:pt x="1068" y="396"/>
                  </a:lnTo>
                  <a:lnTo>
                    <a:pt x="1068" y="408"/>
                  </a:lnTo>
                  <a:lnTo>
                    <a:pt x="1062" y="414"/>
                  </a:lnTo>
                  <a:lnTo>
                    <a:pt x="1050" y="432"/>
                  </a:lnTo>
                  <a:lnTo>
                    <a:pt x="1044" y="450"/>
                  </a:lnTo>
                  <a:lnTo>
                    <a:pt x="1038" y="456"/>
                  </a:lnTo>
                  <a:lnTo>
                    <a:pt x="1026" y="468"/>
                  </a:lnTo>
                  <a:lnTo>
                    <a:pt x="1026" y="474"/>
                  </a:lnTo>
                  <a:lnTo>
                    <a:pt x="1026" y="480"/>
                  </a:lnTo>
                  <a:lnTo>
                    <a:pt x="1032" y="492"/>
                  </a:lnTo>
                  <a:lnTo>
                    <a:pt x="1044" y="504"/>
                  </a:lnTo>
                  <a:lnTo>
                    <a:pt x="1044" y="516"/>
                  </a:lnTo>
                  <a:lnTo>
                    <a:pt x="1038" y="528"/>
                  </a:lnTo>
                  <a:lnTo>
                    <a:pt x="1032" y="546"/>
                  </a:lnTo>
                  <a:lnTo>
                    <a:pt x="1032" y="570"/>
                  </a:lnTo>
                  <a:lnTo>
                    <a:pt x="1050" y="594"/>
                  </a:lnTo>
                  <a:lnTo>
                    <a:pt x="1056" y="624"/>
                  </a:lnTo>
                  <a:lnTo>
                    <a:pt x="1056" y="654"/>
                  </a:lnTo>
                  <a:close/>
                </a:path>
              </a:pathLst>
            </a:custGeom>
            <a:solidFill>
              <a:srgbClr val="F2F2F2"/>
            </a:solidFill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27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111" name="Freeform 25">
              <a:extLst>
                <a:ext uri="{FF2B5EF4-FFF2-40B4-BE49-F238E27FC236}">
                  <a16:creationId xmlns:a16="http://schemas.microsoft.com/office/drawing/2014/main" id="{8E0DA7D1-098E-490D-8246-DCD155669F38}"/>
                </a:ext>
              </a:extLst>
            </p:cNvPr>
            <p:cNvSpPr>
              <a:spLocks/>
            </p:cNvSpPr>
            <p:nvPr/>
          </p:nvSpPr>
          <p:spPr bwMode="gray">
            <a:xfrm>
              <a:off x="3105151" y="3656013"/>
              <a:ext cx="1497013" cy="1312862"/>
            </a:xfrm>
            <a:custGeom>
              <a:avLst/>
              <a:gdLst>
                <a:gd name="T0" fmla="*/ 2147483647 w 1602"/>
                <a:gd name="T1" fmla="*/ 2147483647 h 1404"/>
                <a:gd name="T2" fmla="*/ 2147483647 w 1602"/>
                <a:gd name="T3" fmla="*/ 2147483647 h 1404"/>
                <a:gd name="T4" fmla="*/ 2147483647 w 1602"/>
                <a:gd name="T5" fmla="*/ 2147483647 h 1404"/>
                <a:gd name="T6" fmla="*/ 2147483647 w 1602"/>
                <a:gd name="T7" fmla="*/ 2147483647 h 1404"/>
                <a:gd name="T8" fmla="*/ 2147483647 w 1602"/>
                <a:gd name="T9" fmla="*/ 2147483647 h 1404"/>
                <a:gd name="T10" fmla="*/ 2147483647 w 1602"/>
                <a:gd name="T11" fmla="*/ 2147483647 h 1404"/>
                <a:gd name="T12" fmla="*/ 2147483647 w 1602"/>
                <a:gd name="T13" fmla="*/ 2147483647 h 1404"/>
                <a:gd name="T14" fmla="*/ 2147483647 w 1602"/>
                <a:gd name="T15" fmla="*/ 2147483647 h 1404"/>
                <a:gd name="T16" fmla="*/ 2147483647 w 1602"/>
                <a:gd name="T17" fmla="*/ 2147483647 h 1404"/>
                <a:gd name="T18" fmla="*/ 2147483647 w 1602"/>
                <a:gd name="T19" fmla="*/ 2147483647 h 1404"/>
                <a:gd name="T20" fmla="*/ 2147483647 w 1602"/>
                <a:gd name="T21" fmla="*/ 2147483647 h 1404"/>
                <a:gd name="T22" fmla="*/ 2147483647 w 1602"/>
                <a:gd name="T23" fmla="*/ 2147483647 h 1404"/>
                <a:gd name="T24" fmla="*/ 2147483647 w 1602"/>
                <a:gd name="T25" fmla="*/ 2147483647 h 1404"/>
                <a:gd name="T26" fmla="*/ 2147483647 w 1602"/>
                <a:gd name="T27" fmla="*/ 2147483647 h 1404"/>
                <a:gd name="T28" fmla="*/ 2147483647 w 1602"/>
                <a:gd name="T29" fmla="*/ 2147483647 h 1404"/>
                <a:gd name="T30" fmla="*/ 2147483647 w 1602"/>
                <a:gd name="T31" fmla="*/ 2147483647 h 1404"/>
                <a:gd name="T32" fmla="*/ 2147483647 w 1602"/>
                <a:gd name="T33" fmla="*/ 2147483647 h 1404"/>
                <a:gd name="T34" fmla="*/ 2147483647 w 1602"/>
                <a:gd name="T35" fmla="*/ 2147483647 h 1404"/>
                <a:gd name="T36" fmla="*/ 2147483647 w 1602"/>
                <a:gd name="T37" fmla="*/ 2147483647 h 1404"/>
                <a:gd name="T38" fmla="*/ 2147483647 w 1602"/>
                <a:gd name="T39" fmla="*/ 2147483647 h 1404"/>
                <a:gd name="T40" fmla="*/ 2147483647 w 1602"/>
                <a:gd name="T41" fmla="*/ 2147483647 h 1404"/>
                <a:gd name="T42" fmla="*/ 2147483647 w 1602"/>
                <a:gd name="T43" fmla="*/ 2147483647 h 1404"/>
                <a:gd name="T44" fmla="*/ 2147483647 w 1602"/>
                <a:gd name="T45" fmla="*/ 2147483647 h 1404"/>
                <a:gd name="T46" fmla="*/ 2147483647 w 1602"/>
                <a:gd name="T47" fmla="*/ 2147483647 h 1404"/>
                <a:gd name="T48" fmla="*/ 2147483647 w 1602"/>
                <a:gd name="T49" fmla="*/ 2147483647 h 1404"/>
                <a:gd name="T50" fmla="*/ 2147483647 w 1602"/>
                <a:gd name="T51" fmla="*/ 2147483647 h 1404"/>
                <a:gd name="T52" fmla="*/ 2147483647 w 1602"/>
                <a:gd name="T53" fmla="*/ 2147483647 h 1404"/>
                <a:gd name="T54" fmla="*/ 2147483647 w 1602"/>
                <a:gd name="T55" fmla="*/ 2147483647 h 1404"/>
                <a:gd name="T56" fmla="*/ 2147483647 w 1602"/>
                <a:gd name="T57" fmla="*/ 2147483647 h 1404"/>
                <a:gd name="T58" fmla="*/ 2147483647 w 1602"/>
                <a:gd name="T59" fmla="*/ 2147483647 h 1404"/>
                <a:gd name="T60" fmla="*/ 2147483647 w 1602"/>
                <a:gd name="T61" fmla="*/ 2147483647 h 1404"/>
                <a:gd name="T62" fmla="*/ 0 w 1602"/>
                <a:gd name="T63" fmla="*/ 2147483647 h 1404"/>
                <a:gd name="T64" fmla="*/ 2147483647 w 1602"/>
                <a:gd name="T65" fmla="*/ 2147483647 h 1404"/>
                <a:gd name="T66" fmla="*/ 2147483647 w 1602"/>
                <a:gd name="T67" fmla="*/ 2147483647 h 1404"/>
                <a:gd name="T68" fmla="*/ 2147483647 w 1602"/>
                <a:gd name="T69" fmla="*/ 2147483647 h 1404"/>
                <a:gd name="T70" fmla="*/ 2147483647 w 1602"/>
                <a:gd name="T71" fmla="*/ 2147483647 h 1404"/>
                <a:gd name="T72" fmla="*/ 2147483647 w 1602"/>
                <a:gd name="T73" fmla="*/ 2147483647 h 1404"/>
                <a:gd name="T74" fmla="*/ 2147483647 w 1602"/>
                <a:gd name="T75" fmla="*/ 0 h 1404"/>
                <a:gd name="T76" fmla="*/ 2147483647 w 1602"/>
                <a:gd name="T77" fmla="*/ 2147483647 h 1404"/>
                <a:gd name="T78" fmla="*/ 2147483647 w 1602"/>
                <a:gd name="T79" fmla="*/ 2147483647 h 1404"/>
                <a:gd name="T80" fmla="*/ 2147483647 w 1602"/>
                <a:gd name="T81" fmla="*/ 2147483647 h 1404"/>
                <a:gd name="T82" fmla="*/ 2147483647 w 1602"/>
                <a:gd name="T83" fmla="*/ 2147483647 h 1404"/>
                <a:gd name="T84" fmla="*/ 2147483647 w 1602"/>
                <a:gd name="T85" fmla="*/ 2147483647 h 1404"/>
                <a:gd name="T86" fmla="*/ 2147483647 w 1602"/>
                <a:gd name="T87" fmla="*/ 2147483647 h 1404"/>
                <a:gd name="T88" fmla="*/ 2147483647 w 1602"/>
                <a:gd name="T89" fmla="*/ 2147483647 h 1404"/>
                <a:gd name="T90" fmla="*/ 2147483647 w 1602"/>
                <a:gd name="T91" fmla="*/ 2147483647 h 1404"/>
                <a:gd name="T92" fmla="*/ 2147483647 w 1602"/>
                <a:gd name="T93" fmla="*/ 2147483647 h 1404"/>
                <a:gd name="T94" fmla="*/ 2147483647 w 1602"/>
                <a:gd name="T95" fmla="*/ 2147483647 h 1404"/>
                <a:gd name="T96" fmla="*/ 2147483647 w 1602"/>
                <a:gd name="T97" fmla="*/ 2147483647 h 1404"/>
                <a:gd name="T98" fmla="*/ 2147483647 w 1602"/>
                <a:gd name="T99" fmla="*/ 2147483647 h 1404"/>
                <a:gd name="T100" fmla="*/ 2147483647 w 1602"/>
                <a:gd name="T101" fmla="*/ 2147483647 h 1404"/>
                <a:gd name="T102" fmla="*/ 2147483647 w 1602"/>
                <a:gd name="T103" fmla="*/ 2147483647 h 1404"/>
                <a:gd name="T104" fmla="*/ 2147483647 w 1602"/>
                <a:gd name="T105" fmla="*/ 2147483647 h 1404"/>
                <a:gd name="T106" fmla="*/ 2147483647 w 1602"/>
                <a:gd name="T107" fmla="*/ 2147483647 h 1404"/>
                <a:gd name="T108" fmla="*/ 2147483647 w 1602"/>
                <a:gd name="T109" fmla="*/ 2147483647 h 1404"/>
                <a:gd name="T110" fmla="*/ 2147483647 w 1602"/>
                <a:gd name="T111" fmla="*/ 2147483647 h 1404"/>
                <a:gd name="T112" fmla="*/ 2147483647 w 1602"/>
                <a:gd name="T113" fmla="*/ 2147483647 h 1404"/>
                <a:gd name="T114" fmla="*/ 2147483647 w 1602"/>
                <a:gd name="T115" fmla="*/ 2147483647 h 1404"/>
                <a:gd name="T116" fmla="*/ 2147483647 w 1602"/>
                <a:gd name="T117" fmla="*/ 2147483647 h 1404"/>
                <a:gd name="T118" fmla="*/ 2147483647 w 1602"/>
                <a:gd name="T119" fmla="*/ 2147483647 h 1404"/>
                <a:gd name="T120" fmla="*/ 2147483647 w 1602"/>
                <a:gd name="T121" fmla="*/ 2147483647 h 14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02"/>
                <a:gd name="T184" fmla="*/ 0 h 1404"/>
                <a:gd name="T185" fmla="*/ 1602 w 1602"/>
                <a:gd name="T186" fmla="*/ 1404 h 14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02" h="1404">
                  <a:moveTo>
                    <a:pt x="1392" y="1080"/>
                  </a:moveTo>
                  <a:lnTo>
                    <a:pt x="1380" y="1074"/>
                  </a:lnTo>
                  <a:lnTo>
                    <a:pt x="1368" y="1056"/>
                  </a:lnTo>
                  <a:lnTo>
                    <a:pt x="1356" y="1044"/>
                  </a:lnTo>
                  <a:lnTo>
                    <a:pt x="1344" y="1038"/>
                  </a:lnTo>
                  <a:lnTo>
                    <a:pt x="1338" y="1038"/>
                  </a:lnTo>
                  <a:lnTo>
                    <a:pt x="1332" y="1038"/>
                  </a:lnTo>
                  <a:lnTo>
                    <a:pt x="1326" y="1044"/>
                  </a:lnTo>
                  <a:lnTo>
                    <a:pt x="1320" y="1044"/>
                  </a:lnTo>
                  <a:lnTo>
                    <a:pt x="1314" y="1044"/>
                  </a:lnTo>
                  <a:lnTo>
                    <a:pt x="1296" y="1056"/>
                  </a:lnTo>
                  <a:lnTo>
                    <a:pt x="1296" y="1080"/>
                  </a:lnTo>
                  <a:lnTo>
                    <a:pt x="1290" y="1080"/>
                  </a:lnTo>
                  <a:lnTo>
                    <a:pt x="1284" y="1086"/>
                  </a:lnTo>
                  <a:lnTo>
                    <a:pt x="1278" y="1086"/>
                  </a:lnTo>
                  <a:lnTo>
                    <a:pt x="1278" y="1092"/>
                  </a:lnTo>
                  <a:lnTo>
                    <a:pt x="1272" y="1092"/>
                  </a:lnTo>
                  <a:lnTo>
                    <a:pt x="1266" y="1086"/>
                  </a:lnTo>
                  <a:lnTo>
                    <a:pt x="1260" y="1086"/>
                  </a:lnTo>
                  <a:lnTo>
                    <a:pt x="1260" y="1098"/>
                  </a:lnTo>
                  <a:lnTo>
                    <a:pt x="1248" y="1098"/>
                  </a:lnTo>
                  <a:lnTo>
                    <a:pt x="1212" y="1116"/>
                  </a:lnTo>
                  <a:lnTo>
                    <a:pt x="1206" y="1158"/>
                  </a:lnTo>
                  <a:lnTo>
                    <a:pt x="1176" y="1164"/>
                  </a:lnTo>
                  <a:lnTo>
                    <a:pt x="1158" y="1164"/>
                  </a:lnTo>
                  <a:lnTo>
                    <a:pt x="1152" y="1164"/>
                  </a:lnTo>
                  <a:lnTo>
                    <a:pt x="1152" y="1170"/>
                  </a:lnTo>
                  <a:lnTo>
                    <a:pt x="1152" y="1176"/>
                  </a:lnTo>
                  <a:lnTo>
                    <a:pt x="1146" y="1176"/>
                  </a:lnTo>
                  <a:lnTo>
                    <a:pt x="1140" y="1176"/>
                  </a:lnTo>
                  <a:lnTo>
                    <a:pt x="1134" y="1182"/>
                  </a:lnTo>
                  <a:lnTo>
                    <a:pt x="1134" y="1188"/>
                  </a:lnTo>
                  <a:lnTo>
                    <a:pt x="1128" y="1194"/>
                  </a:lnTo>
                  <a:lnTo>
                    <a:pt x="1122" y="1194"/>
                  </a:lnTo>
                  <a:lnTo>
                    <a:pt x="1116" y="1194"/>
                  </a:lnTo>
                  <a:lnTo>
                    <a:pt x="1110" y="1200"/>
                  </a:lnTo>
                  <a:lnTo>
                    <a:pt x="1110" y="1206"/>
                  </a:lnTo>
                  <a:lnTo>
                    <a:pt x="1104" y="1212"/>
                  </a:lnTo>
                  <a:lnTo>
                    <a:pt x="1104" y="1218"/>
                  </a:lnTo>
                  <a:lnTo>
                    <a:pt x="1098" y="1224"/>
                  </a:lnTo>
                  <a:lnTo>
                    <a:pt x="1092" y="1230"/>
                  </a:lnTo>
                  <a:lnTo>
                    <a:pt x="1086" y="1230"/>
                  </a:lnTo>
                  <a:lnTo>
                    <a:pt x="1080" y="1230"/>
                  </a:lnTo>
                  <a:lnTo>
                    <a:pt x="1080" y="1242"/>
                  </a:lnTo>
                  <a:lnTo>
                    <a:pt x="1074" y="1242"/>
                  </a:lnTo>
                  <a:lnTo>
                    <a:pt x="1068" y="1242"/>
                  </a:lnTo>
                  <a:lnTo>
                    <a:pt x="1068" y="1236"/>
                  </a:lnTo>
                  <a:lnTo>
                    <a:pt x="1062" y="1242"/>
                  </a:lnTo>
                  <a:lnTo>
                    <a:pt x="1056" y="1236"/>
                  </a:lnTo>
                  <a:lnTo>
                    <a:pt x="1050" y="1242"/>
                  </a:lnTo>
                  <a:lnTo>
                    <a:pt x="1050" y="1236"/>
                  </a:lnTo>
                  <a:lnTo>
                    <a:pt x="1044" y="1194"/>
                  </a:lnTo>
                  <a:lnTo>
                    <a:pt x="1032" y="1194"/>
                  </a:lnTo>
                  <a:lnTo>
                    <a:pt x="1032" y="1200"/>
                  </a:lnTo>
                  <a:lnTo>
                    <a:pt x="1026" y="1200"/>
                  </a:lnTo>
                  <a:lnTo>
                    <a:pt x="1014" y="1218"/>
                  </a:lnTo>
                  <a:lnTo>
                    <a:pt x="1014" y="1224"/>
                  </a:lnTo>
                  <a:lnTo>
                    <a:pt x="1014" y="1236"/>
                  </a:lnTo>
                  <a:lnTo>
                    <a:pt x="1014" y="1242"/>
                  </a:lnTo>
                  <a:lnTo>
                    <a:pt x="1008" y="1242"/>
                  </a:lnTo>
                  <a:lnTo>
                    <a:pt x="1002" y="1236"/>
                  </a:lnTo>
                  <a:lnTo>
                    <a:pt x="1002" y="1230"/>
                  </a:lnTo>
                  <a:lnTo>
                    <a:pt x="996" y="1236"/>
                  </a:lnTo>
                  <a:lnTo>
                    <a:pt x="990" y="1236"/>
                  </a:lnTo>
                  <a:lnTo>
                    <a:pt x="990" y="1230"/>
                  </a:lnTo>
                  <a:lnTo>
                    <a:pt x="984" y="1236"/>
                  </a:lnTo>
                  <a:lnTo>
                    <a:pt x="978" y="1248"/>
                  </a:lnTo>
                  <a:lnTo>
                    <a:pt x="972" y="1254"/>
                  </a:lnTo>
                  <a:lnTo>
                    <a:pt x="966" y="1260"/>
                  </a:lnTo>
                  <a:lnTo>
                    <a:pt x="930" y="1284"/>
                  </a:lnTo>
                  <a:lnTo>
                    <a:pt x="942" y="1356"/>
                  </a:lnTo>
                  <a:lnTo>
                    <a:pt x="930" y="1368"/>
                  </a:lnTo>
                  <a:lnTo>
                    <a:pt x="852" y="1404"/>
                  </a:lnTo>
                  <a:lnTo>
                    <a:pt x="834" y="1392"/>
                  </a:lnTo>
                  <a:lnTo>
                    <a:pt x="834" y="1362"/>
                  </a:lnTo>
                  <a:lnTo>
                    <a:pt x="828" y="1332"/>
                  </a:lnTo>
                  <a:lnTo>
                    <a:pt x="810" y="1308"/>
                  </a:lnTo>
                  <a:lnTo>
                    <a:pt x="810" y="1284"/>
                  </a:lnTo>
                  <a:lnTo>
                    <a:pt x="816" y="1266"/>
                  </a:lnTo>
                  <a:lnTo>
                    <a:pt x="822" y="1254"/>
                  </a:lnTo>
                  <a:lnTo>
                    <a:pt x="822" y="1242"/>
                  </a:lnTo>
                  <a:lnTo>
                    <a:pt x="810" y="1230"/>
                  </a:lnTo>
                  <a:lnTo>
                    <a:pt x="804" y="1218"/>
                  </a:lnTo>
                  <a:lnTo>
                    <a:pt x="804" y="1212"/>
                  </a:lnTo>
                  <a:lnTo>
                    <a:pt x="804" y="1206"/>
                  </a:lnTo>
                  <a:lnTo>
                    <a:pt x="816" y="1194"/>
                  </a:lnTo>
                  <a:lnTo>
                    <a:pt x="822" y="1188"/>
                  </a:lnTo>
                  <a:lnTo>
                    <a:pt x="828" y="1170"/>
                  </a:lnTo>
                  <a:lnTo>
                    <a:pt x="840" y="1152"/>
                  </a:lnTo>
                  <a:lnTo>
                    <a:pt x="846" y="1146"/>
                  </a:lnTo>
                  <a:lnTo>
                    <a:pt x="846" y="1134"/>
                  </a:lnTo>
                  <a:lnTo>
                    <a:pt x="852" y="1128"/>
                  </a:lnTo>
                  <a:lnTo>
                    <a:pt x="846" y="1116"/>
                  </a:lnTo>
                  <a:lnTo>
                    <a:pt x="840" y="1098"/>
                  </a:lnTo>
                  <a:lnTo>
                    <a:pt x="840" y="1086"/>
                  </a:lnTo>
                  <a:lnTo>
                    <a:pt x="846" y="1074"/>
                  </a:lnTo>
                  <a:lnTo>
                    <a:pt x="852" y="1068"/>
                  </a:lnTo>
                  <a:lnTo>
                    <a:pt x="864" y="1038"/>
                  </a:lnTo>
                  <a:lnTo>
                    <a:pt x="870" y="1020"/>
                  </a:lnTo>
                  <a:lnTo>
                    <a:pt x="864" y="1008"/>
                  </a:lnTo>
                  <a:lnTo>
                    <a:pt x="858" y="990"/>
                  </a:lnTo>
                  <a:lnTo>
                    <a:pt x="852" y="954"/>
                  </a:lnTo>
                  <a:lnTo>
                    <a:pt x="846" y="948"/>
                  </a:lnTo>
                  <a:lnTo>
                    <a:pt x="834" y="936"/>
                  </a:lnTo>
                  <a:lnTo>
                    <a:pt x="828" y="924"/>
                  </a:lnTo>
                  <a:lnTo>
                    <a:pt x="756" y="942"/>
                  </a:lnTo>
                  <a:lnTo>
                    <a:pt x="744" y="936"/>
                  </a:lnTo>
                  <a:lnTo>
                    <a:pt x="744" y="930"/>
                  </a:lnTo>
                  <a:lnTo>
                    <a:pt x="738" y="924"/>
                  </a:lnTo>
                  <a:lnTo>
                    <a:pt x="744" y="924"/>
                  </a:lnTo>
                  <a:lnTo>
                    <a:pt x="738" y="918"/>
                  </a:lnTo>
                  <a:lnTo>
                    <a:pt x="732" y="912"/>
                  </a:lnTo>
                  <a:lnTo>
                    <a:pt x="732" y="906"/>
                  </a:lnTo>
                  <a:lnTo>
                    <a:pt x="732" y="894"/>
                  </a:lnTo>
                  <a:lnTo>
                    <a:pt x="726" y="888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6"/>
                  </a:lnTo>
                  <a:lnTo>
                    <a:pt x="690" y="882"/>
                  </a:lnTo>
                  <a:lnTo>
                    <a:pt x="684" y="864"/>
                  </a:lnTo>
                  <a:lnTo>
                    <a:pt x="684" y="852"/>
                  </a:lnTo>
                  <a:lnTo>
                    <a:pt x="672" y="852"/>
                  </a:lnTo>
                  <a:lnTo>
                    <a:pt x="654" y="852"/>
                  </a:lnTo>
                  <a:lnTo>
                    <a:pt x="642" y="846"/>
                  </a:lnTo>
                  <a:lnTo>
                    <a:pt x="636" y="834"/>
                  </a:lnTo>
                  <a:lnTo>
                    <a:pt x="630" y="822"/>
                  </a:lnTo>
                  <a:lnTo>
                    <a:pt x="618" y="822"/>
                  </a:lnTo>
                  <a:lnTo>
                    <a:pt x="618" y="816"/>
                  </a:lnTo>
                  <a:lnTo>
                    <a:pt x="618" y="810"/>
                  </a:lnTo>
                  <a:lnTo>
                    <a:pt x="612" y="810"/>
                  </a:lnTo>
                  <a:lnTo>
                    <a:pt x="606" y="804"/>
                  </a:lnTo>
                  <a:lnTo>
                    <a:pt x="594" y="804"/>
                  </a:lnTo>
                  <a:lnTo>
                    <a:pt x="588" y="810"/>
                  </a:lnTo>
                  <a:lnTo>
                    <a:pt x="588" y="804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70" y="810"/>
                  </a:lnTo>
                  <a:lnTo>
                    <a:pt x="564" y="816"/>
                  </a:lnTo>
                  <a:lnTo>
                    <a:pt x="558" y="816"/>
                  </a:lnTo>
                  <a:lnTo>
                    <a:pt x="552" y="822"/>
                  </a:lnTo>
                  <a:lnTo>
                    <a:pt x="546" y="828"/>
                  </a:lnTo>
                  <a:lnTo>
                    <a:pt x="546" y="834"/>
                  </a:lnTo>
                  <a:lnTo>
                    <a:pt x="528" y="834"/>
                  </a:lnTo>
                  <a:lnTo>
                    <a:pt x="516" y="822"/>
                  </a:lnTo>
                  <a:lnTo>
                    <a:pt x="504" y="822"/>
                  </a:lnTo>
                  <a:lnTo>
                    <a:pt x="492" y="82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6" y="792"/>
                  </a:lnTo>
                  <a:lnTo>
                    <a:pt x="492" y="786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504" y="780"/>
                  </a:lnTo>
                  <a:lnTo>
                    <a:pt x="510" y="780"/>
                  </a:lnTo>
                  <a:lnTo>
                    <a:pt x="522" y="768"/>
                  </a:lnTo>
                  <a:lnTo>
                    <a:pt x="522" y="762"/>
                  </a:lnTo>
                  <a:lnTo>
                    <a:pt x="504" y="756"/>
                  </a:lnTo>
                  <a:lnTo>
                    <a:pt x="498" y="756"/>
                  </a:lnTo>
                  <a:lnTo>
                    <a:pt x="498" y="744"/>
                  </a:lnTo>
                  <a:lnTo>
                    <a:pt x="492" y="738"/>
                  </a:lnTo>
                  <a:lnTo>
                    <a:pt x="480" y="738"/>
                  </a:lnTo>
                  <a:lnTo>
                    <a:pt x="474" y="738"/>
                  </a:lnTo>
                  <a:lnTo>
                    <a:pt x="456" y="738"/>
                  </a:lnTo>
                  <a:lnTo>
                    <a:pt x="438" y="738"/>
                  </a:lnTo>
                  <a:lnTo>
                    <a:pt x="432" y="750"/>
                  </a:lnTo>
                  <a:lnTo>
                    <a:pt x="426" y="756"/>
                  </a:lnTo>
                  <a:lnTo>
                    <a:pt x="426" y="762"/>
                  </a:lnTo>
                  <a:lnTo>
                    <a:pt x="420" y="762"/>
                  </a:lnTo>
                  <a:lnTo>
                    <a:pt x="408" y="744"/>
                  </a:lnTo>
                  <a:lnTo>
                    <a:pt x="408" y="732"/>
                  </a:lnTo>
                  <a:lnTo>
                    <a:pt x="390" y="714"/>
                  </a:lnTo>
                  <a:lnTo>
                    <a:pt x="384" y="702"/>
                  </a:lnTo>
                  <a:lnTo>
                    <a:pt x="384" y="690"/>
                  </a:lnTo>
                  <a:lnTo>
                    <a:pt x="372" y="690"/>
                  </a:lnTo>
                  <a:lnTo>
                    <a:pt x="366" y="660"/>
                  </a:lnTo>
                  <a:lnTo>
                    <a:pt x="354" y="630"/>
                  </a:lnTo>
                  <a:lnTo>
                    <a:pt x="348" y="630"/>
                  </a:lnTo>
                  <a:lnTo>
                    <a:pt x="336" y="630"/>
                  </a:lnTo>
                  <a:lnTo>
                    <a:pt x="330" y="630"/>
                  </a:lnTo>
                  <a:lnTo>
                    <a:pt x="318" y="630"/>
                  </a:lnTo>
                  <a:lnTo>
                    <a:pt x="312" y="624"/>
                  </a:lnTo>
                  <a:lnTo>
                    <a:pt x="306" y="624"/>
                  </a:lnTo>
                  <a:lnTo>
                    <a:pt x="294" y="618"/>
                  </a:lnTo>
                  <a:lnTo>
                    <a:pt x="288" y="612"/>
                  </a:lnTo>
                  <a:lnTo>
                    <a:pt x="276" y="600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58" y="588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8"/>
                  </a:lnTo>
                  <a:lnTo>
                    <a:pt x="216" y="582"/>
                  </a:lnTo>
                  <a:lnTo>
                    <a:pt x="210" y="588"/>
                  </a:lnTo>
                  <a:lnTo>
                    <a:pt x="198" y="582"/>
                  </a:lnTo>
                  <a:lnTo>
                    <a:pt x="180" y="582"/>
                  </a:lnTo>
                  <a:lnTo>
                    <a:pt x="174" y="552"/>
                  </a:lnTo>
                  <a:lnTo>
                    <a:pt x="168" y="504"/>
                  </a:lnTo>
                  <a:lnTo>
                    <a:pt x="186" y="504"/>
                  </a:lnTo>
                  <a:lnTo>
                    <a:pt x="192" y="504"/>
                  </a:lnTo>
                  <a:lnTo>
                    <a:pt x="192" y="498"/>
                  </a:lnTo>
                  <a:lnTo>
                    <a:pt x="192" y="492"/>
                  </a:lnTo>
                  <a:lnTo>
                    <a:pt x="192" y="486"/>
                  </a:lnTo>
                  <a:lnTo>
                    <a:pt x="198" y="486"/>
                  </a:lnTo>
                  <a:lnTo>
                    <a:pt x="198" y="480"/>
                  </a:lnTo>
                  <a:lnTo>
                    <a:pt x="204" y="474"/>
                  </a:lnTo>
                  <a:lnTo>
                    <a:pt x="210" y="468"/>
                  </a:lnTo>
                  <a:lnTo>
                    <a:pt x="198" y="462"/>
                  </a:lnTo>
                  <a:lnTo>
                    <a:pt x="192" y="444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32"/>
                  </a:lnTo>
                  <a:lnTo>
                    <a:pt x="168" y="438"/>
                  </a:lnTo>
                  <a:lnTo>
                    <a:pt x="150" y="450"/>
                  </a:lnTo>
                  <a:lnTo>
                    <a:pt x="144" y="456"/>
                  </a:lnTo>
                  <a:lnTo>
                    <a:pt x="132" y="456"/>
                  </a:lnTo>
                  <a:lnTo>
                    <a:pt x="126" y="468"/>
                  </a:lnTo>
                  <a:lnTo>
                    <a:pt x="114" y="468"/>
                  </a:lnTo>
                  <a:lnTo>
                    <a:pt x="108" y="468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14"/>
                  </a:lnTo>
                  <a:lnTo>
                    <a:pt x="108" y="396"/>
                  </a:lnTo>
                  <a:lnTo>
                    <a:pt x="120" y="396"/>
                  </a:lnTo>
                  <a:lnTo>
                    <a:pt x="126" y="384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84" y="354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0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60" y="318"/>
                  </a:lnTo>
                  <a:lnTo>
                    <a:pt x="42" y="324"/>
                  </a:lnTo>
                  <a:lnTo>
                    <a:pt x="36" y="318"/>
                  </a:lnTo>
                  <a:lnTo>
                    <a:pt x="36" y="312"/>
                  </a:lnTo>
                  <a:lnTo>
                    <a:pt x="36" y="306"/>
                  </a:lnTo>
                  <a:lnTo>
                    <a:pt x="36" y="300"/>
                  </a:lnTo>
                  <a:lnTo>
                    <a:pt x="30" y="300"/>
                  </a:lnTo>
                  <a:lnTo>
                    <a:pt x="30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24" y="276"/>
                  </a:lnTo>
                  <a:lnTo>
                    <a:pt x="18" y="276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18" y="234"/>
                  </a:lnTo>
                  <a:lnTo>
                    <a:pt x="30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42" y="192"/>
                  </a:lnTo>
                  <a:lnTo>
                    <a:pt x="66" y="186"/>
                  </a:lnTo>
                  <a:lnTo>
                    <a:pt x="90" y="156"/>
                  </a:lnTo>
                  <a:lnTo>
                    <a:pt x="102" y="144"/>
                  </a:lnTo>
                  <a:lnTo>
                    <a:pt x="138" y="150"/>
                  </a:lnTo>
                  <a:lnTo>
                    <a:pt x="162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0" y="180"/>
                  </a:lnTo>
                  <a:lnTo>
                    <a:pt x="174" y="180"/>
                  </a:lnTo>
                  <a:lnTo>
                    <a:pt x="180" y="186"/>
                  </a:lnTo>
                  <a:lnTo>
                    <a:pt x="186" y="186"/>
                  </a:lnTo>
                  <a:lnTo>
                    <a:pt x="198" y="192"/>
                  </a:lnTo>
                  <a:lnTo>
                    <a:pt x="216" y="198"/>
                  </a:lnTo>
                  <a:lnTo>
                    <a:pt x="252" y="204"/>
                  </a:lnTo>
                  <a:lnTo>
                    <a:pt x="258" y="210"/>
                  </a:lnTo>
                  <a:lnTo>
                    <a:pt x="306" y="216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84" y="210"/>
                  </a:lnTo>
                  <a:lnTo>
                    <a:pt x="408" y="222"/>
                  </a:lnTo>
                  <a:lnTo>
                    <a:pt x="438" y="228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86" y="222"/>
                  </a:lnTo>
                  <a:lnTo>
                    <a:pt x="492" y="210"/>
                  </a:lnTo>
                  <a:lnTo>
                    <a:pt x="492" y="198"/>
                  </a:lnTo>
                  <a:lnTo>
                    <a:pt x="486" y="180"/>
                  </a:lnTo>
                  <a:lnTo>
                    <a:pt x="492" y="162"/>
                  </a:lnTo>
                  <a:lnTo>
                    <a:pt x="510" y="96"/>
                  </a:lnTo>
                  <a:lnTo>
                    <a:pt x="516" y="84"/>
                  </a:lnTo>
                  <a:lnTo>
                    <a:pt x="522" y="84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34" y="72"/>
                  </a:lnTo>
                  <a:lnTo>
                    <a:pt x="534" y="60"/>
                  </a:lnTo>
                  <a:lnTo>
                    <a:pt x="540" y="36"/>
                  </a:lnTo>
                  <a:lnTo>
                    <a:pt x="546" y="6"/>
                  </a:lnTo>
                  <a:lnTo>
                    <a:pt x="558" y="6"/>
                  </a:lnTo>
                  <a:lnTo>
                    <a:pt x="564" y="0"/>
                  </a:lnTo>
                  <a:lnTo>
                    <a:pt x="582" y="0"/>
                  </a:lnTo>
                  <a:lnTo>
                    <a:pt x="588" y="0"/>
                  </a:lnTo>
                  <a:lnTo>
                    <a:pt x="594" y="6"/>
                  </a:lnTo>
                  <a:lnTo>
                    <a:pt x="600" y="12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24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36" y="36"/>
                  </a:lnTo>
                  <a:lnTo>
                    <a:pt x="642" y="36"/>
                  </a:lnTo>
                  <a:lnTo>
                    <a:pt x="642" y="42"/>
                  </a:lnTo>
                  <a:lnTo>
                    <a:pt x="648" y="54"/>
                  </a:lnTo>
                  <a:lnTo>
                    <a:pt x="660" y="72"/>
                  </a:lnTo>
                  <a:lnTo>
                    <a:pt x="666" y="78"/>
                  </a:lnTo>
                  <a:lnTo>
                    <a:pt x="672" y="90"/>
                  </a:lnTo>
                  <a:lnTo>
                    <a:pt x="678" y="102"/>
                  </a:lnTo>
                  <a:lnTo>
                    <a:pt x="678" y="114"/>
                  </a:lnTo>
                  <a:lnTo>
                    <a:pt x="684" y="132"/>
                  </a:lnTo>
                  <a:lnTo>
                    <a:pt x="684" y="144"/>
                  </a:lnTo>
                  <a:lnTo>
                    <a:pt x="690" y="162"/>
                  </a:lnTo>
                  <a:lnTo>
                    <a:pt x="696" y="168"/>
                  </a:lnTo>
                  <a:lnTo>
                    <a:pt x="696" y="180"/>
                  </a:lnTo>
                  <a:lnTo>
                    <a:pt x="702" y="186"/>
                  </a:lnTo>
                  <a:lnTo>
                    <a:pt x="708" y="186"/>
                  </a:lnTo>
                  <a:lnTo>
                    <a:pt x="714" y="198"/>
                  </a:lnTo>
                  <a:lnTo>
                    <a:pt x="720" y="198"/>
                  </a:lnTo>
                  <a:lnTo>
                    <a:pt x="732" y="204"/>
                  </a:lnTo>
                  <a:lnTo>
                    <a:pt x="738" y="210"/>
                  </a:lnTo>
                  <a:lnTo>
                    <a:pt x="738" y="216"/>
                  </a:lnTo>
                  <a:lnTo>
                    <a:pt x="744" y="222"/>
                  </a:lnTo>
                  <a:lnTo>
                    <a:pt x="750" y="228"/>
                  </a:lnTo>
                  <a:lnTo>
                    <a:pt x="756" y="228"/>
                  </a:lnTo>
                  <a:lnTo>
                    <a:pt x="768" y="240"/>
                  </a:lnTo>
                  <a:lnTo>
                    <a:pt x="774" y="252"/>
                  </a:lnTo>
                  <a:lnTo>
                    <a:pt x="780" y="258"/>
                  </a:lnTo>
                  <a:lnTo>
                    <a:pt x="786" y="258"/>
                  </a:lnTo>
                  <a:lnTo>
                    <a:pt x="798" y="264"/>
                  </a:lnTo>
                  <a:lnTo>
                    <a:pt x="798" y="270"/>
                  </a:lnTo>
                  <a:lnTo>
                    <a:pt x="798" y="276"/>
                  </a:lnTo>
                  <a:lnTo>
                    <a:pt x="810" y="288"/>
                  </a:lnTo>
                  <a:lnTo>
                    <a:pt x="816" y="288"/>
                  </a:lnTo>
                  <a:lnTo>
                    <a:pt x="816" y="300"/>
                  </a:lnTo>
                  <a:lnTo>
                    <a:pt x="816" y="306"/>
                  </a:lnTo>
                  <a:lnTo>
                    <a:pt x="822" y="318"/>
                  </a:lnTo>
                  <a:lnTo>
                    <a:pt x="828" y="324"/>
                  </a:lnTo>
                  <a:lnTo>
                    <a:pt x="834" y="330"/>
                  </a:lnTo>
                  <a:lnTo>
                    <a:pt x="846" y="336"/>
                  </a:lnTo>
                  <a:lnTo>
                    <a:pt x="846" y="342"/>
                  </a:lnTo>
                  <a:lnTo>
                    <a:pt x="852" y="348"/>
                  </a:lnTo>
                  <a:lnTo>
                    <a:pt x="852" y="354"/>
                  </a:lnTo>
                  <a:lnTo>
                    <a:pt x="858" y="354"/>
                  </a:lnTo>
                  <a:lnTo>
                    <a:pt x="858" y="348"/>
                  </a:lnTo>
                  <a:lnTo>
                    <a:pt x="864" y="342"/>
                  </a:lnTo>
                  <a:lnTo>
                    <a:pt x="864" y="336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76" y="306"/>
                  </a:lnTo>
                  <a:lnTo>
                    <a:pt x="870" y="300"/>
                  </a:lnTo>
                  <a:lnTo>
                    <a:pt x="870" y="294"/>
                  </a:lnTo>
                  <a:lnTo>
                    <a:pt x="876" y="294"/>
                  </a:lnTo>
                  <a:lnTo>
                    <a:pt x="882" y="300"/>
                  </a:lnTo>
                  <a:lnTo>
                    <a:pt x="888" y="300"/>
                  </a:lnTo>
                  <a:lnTo>
                    <a:pt x="888" y="306"/>
                  </a:lnTo>
                  <a:lnTo>
                    <a:pt x="894" y="300"/>
                  </a:lnTo>
                  <a:lnTo>
                    <a:pt x="900" y="294"/>
                  </a:lnTo>
                  <a:lnTo>
                    <a:pt x="894" y="288"/>
                  </a:lnTo>
                  <a:lnTo>
                    <a:pt x="888" y="282"/>
                  </a:lnTo>
                  <a:lnTo>
                    <a:pt x="888" y="276"/>
                  </a:lnTo>
                  <a:lnTo>
                    <a:pt x="894" y="276"/>
                  </a:lnTo>
                  <a:lnTo>
                    <a:pt x="900" y="276"/>
                  </a:lnTo>
                  <a:lnTo>
                    <a:pt x="900" y="270"/>
                  </a:lnTo>
                  <a:lnTo>
                    <a:pt x="906" y="264"/>
                  </a:lnTo>
                  <a:lnTo>
                    <a:pt x="906" y="258"/>
                  </a:lnTo>
                  <a:lnTo>
                    <a:pt x="918" y="264"/>
                  </a:lnTo>
                  <a:lnTo>
                    <a:pt x="918" y="258"/>
                  </a:lnTo>
                  <a:lnTo>
                    <a:pt x="924" y="252"/>
                  </a:lnTo>
                  <a:lnTo>
                    <a:pt x="930" y="252"/>
                  </a:lnTo>
                  <a:lnTo>
                    <a:pt x="930" y="246"/>
                  </a:lnTo>
                  <a:lnTo>
                    <a:pt x="936" y="234"/>
                  </a:lnTo>
                  <a:lnTo>
                    <a:pt x="942" y="228"/>
                  </a:lnTo>
                  <a:lnTo>
                    <a:pt x="942" y="222"/>
                  </a:lnTo>
                  <a:lnTo>
                    <a:pt x="948" y="222"/>
                  </a:lnTo>
                  <a:lnTo>
                    <a:pt x="948" y="216"/>
                  </a:lnTo>
                  <a:lnTo>
                    <a:pt x="942" y="216"/>
                  </a:lnTo>
                  <a:lnTo>
                    <a:pt x="936" y="216"/>
                  </a:lnTo>
                  <a:lnTo>
                    <a:pt x="936" y="210"/>
                  </a:lnTo>
                  <a:lnTo>
                    <a:pt x="942" y="210"/>
                  </a:lnTo>
                  <a:lnTo>
                    <a:pt x="972" y="210"/>
                  </a:lnTo>
                  <a:lnTo>
                    <a:pt x="1032" y="216"/>
                  </a:lnTo>
                  <a:lnTo>
                    <a:pt x="1068" y="216"/>
                  </a:lnTo>
                  <a:lnTo>
                    <a:pt x="1056" y="234"/>
                  </a:lnTo>
                  <a:lnTo>
                    <a:pt x="1050" y="240"/>
                  </a:lnTo>
                  <a:lnTo>
                    <a:pt x="1044" y="246"/>
                  </a:lnTo>
                  <a:lnTo>
                    <a:pt x="1038" y="246"/>
                  </a:lnTo>
                  <a:lnTo>
                    <a:pt x="1026" y="282"/>
                  </a:lnTo>
                  <a:lnTo>
                    <a:pt x="1032" y="306"/>
                  </a:lnTo>
                  <a:lnTo>
                    <a:pt x="1044" y="324"/>
                  </a:lnTo>
                  <a:lnTo>
                    <a:pt x="1044" y="342"/>
                  </a:lnTo>
                  <a:lnTo>
                    <a:pt x="1062" y="366"/>
                  </a:lnTo>
                  <a:lnTo>
                    <a:pt x="1056" y="396"/>
                  </a:lnTo>
                  <a:lnTo>
                    <a:pt x="1038" y="462"/>
                  </a:lnTo>
                  <a:lnTo>
                    <a:pt x="1038" y="498"/>
                  </a:lnTo>
                  <a:lnTo>
                    <a:pt x="1038" y="522"/>
                  </a:lnTo>
                  <a:lnTo>
                    <a:pt x="1038" y="534"/>
                  </a:lnTo>
                  <a:lnTo>
                    <a:pt x="1056" y="522"/>
                  </a:lnTo>
                  <a:lnTo>
                    <a:pt x="1098" y="504"/>
                  </a:lnTo>
                  <a:lnTo>
                    <a:pt x="1104" y="498"/>
                  </a:lnTo>
                  <a:lnTo>
                    <a:pt x="1128" y="492"/>
                  </a:lnTo>
                  <a:lnTo>
                    <a:pt x="1152" y="480"/>
                  </a:lnTo>
                  <a:lnTo>
                    <a:pt x="1170" y="474"/>
                  </a:lnTo>
                  <a:lnTo>
                    <a:pt x="1188" y="468"/>
                  </a:lnTo>
                  <a:lnTo>
                    <a:pt x="1200" y="462"/>
                  </a:lnTo>
                  <a:lnTo>
                    <a:pt x="1224" y="450"/>
                  </a:lnTo>
                  <a:lnTo>
                    <a:pt x="1248" y="450"/>
                  </a:lnTo>
                  <a:lnTo>
                    <a:pt x="1266" y="450"/>
                  </a:lnTo>
                  <a:lnTo>
                    <a:pt x="1296" y="456"/>
                  </a:lnTo>
                  <a:lnTo>
                    <a:pt x="1308" y="456"/>
                  </a:lnTo>
                  <a:lnTo>
                    <a:pt x="1326" y="456"/>
                  </a:lnTo>
                  <a:lnTo>
                    <a:pt x="1338" y="456"/>
                  </a:lnTo>
                  <a:lnTo>
                    <a:pt x="1350" y="462"/>
                  </a:lnTo>
                  <a:lnTo>
                    <a:pt x="1356" y="462"/>
                  </a:lnTo>
                  <a:lnTo>
                    <a:pt x="1374" y="456"/>
                  </a:lnTo>
                  <a:lnTo>
                    <a:pt x="1386" y="456"/>
                  </a:lnTo>
                  <a:lnTo>
                    <a:pt x="1392" y="456"/>
                  </a:lnTo>
                  <a:lnTo>
                    <a:pt x="1398" y="456"/>
                  </a:lnTo>
                  <a:lnTo>
                    <a:pt x="1422" y="456"/>
                  </a:lnTo>
                  <a:lnTo>
                    <a:pt x="1440" y="456"/>
                  </a:lnTo>
                  <a:lnTo>
                    <a:pt x="1446" y="456"/>
                  </a:lnTo>
                  <a:lnTo>
                    <a:pt x="1476" y="456"/>
                  </a:lnTo>
                  <a:lnTo>
                    <a:pt x="1470" y="468"/>
                  </a:lnTo>
                  <a:lnTo>
                    <a:pt x="1470" y="474"/>
                  </a:lnTo>
                  <a:lnTo>
                    <a:pt x="1470" y="486"/>
                  </a:lnTo>
                  <a:lnTo>
                    <a:pt x="1464" y="492"/>
                  </a:lnTo>
                  <a:lnTo>
                    <a:pt x="1464" y="498"/>
                  </a:lnTo>
                  <a:lnTo>
                    <a:pt x="1458" y="498"/>
                  </a:lnTo>
                  <a:lnTo>
                    <a:pt x="1458" y="510"/>
                  </a:lnTo>
                  <a:lnTo>
                    <a:pt x="1452" y="522"/>
                  </a:lnTo>
                  <a:lnTo>
                    <a:pt x="1458" y="528"/>
                  </a:lnTo>
                  <a:lnTo>
                    <a:pt x="1464" y="546"/>
                  </a:lnTo>
                  <a:lnTo>
                    <a:pt x="1470" y="552"/>
                  </a:lnTo>
                  <a:lnTo>
                    <a:pt x="1476" y="564"/>
                  </a:lnTo>
                  <a:lnTo>
                    <a:pt x="1488" y="588"/>
                  </a:lnTo>
                  <a:lnTo>
                    <a:pt x="1506" y="606"/>
                  </a:lnTo>
                  <a:lnTo>
                    <a:pt x="1506" y="612"/>
                  </a:lnTo>
                  <a:lnTo>
                    <a:pt x="1518" y="618"/>
                  </a:lnTo>
                  <a:lnTo>
                    <a:pt x="1512" y="630"/>
                  </a:lnTo>
                  <a:lnTo>
                    <a:pt x="1518" y="642"/>
                  </a:lnTo>
                  <a:lnTo>
                    <a:pt x="1518" y="648"/>
                  </a:lnTo>
                  <a:lnTo>
                    <a:pt x="1530" y="666"/>
                  </a:lnTo>
                  <a:lnTo>
                    <a:pt x="1518" y="672"/>
                  </a:lnTo>
                  <a:lnTo>
                    <a:pt x="1524" y="696"/>
                  </a:lnTo>
                  <a:lnTo>
                    <a:pt x="1518" y="732"/>
                  </a:lnTo>
                  <a:lnTo>
                    <a:pt x="1524" y="762"/>
                  </a:lnTo>
                  <a:lnTo>
                    <a:pt x="1524" y="780"/>
                  </a:lnTo>
                  <a:lnTo>
                    <a:pt x="1524" y="810"/>
                  </a:lnTo>
                  <a:lnTo>
                    <a:pt x="1530" y="834"/>
                  </a:lnTo>
                  <a:lnTo>
                    <a:pt x="1536" y="846"/>
                  </a:lnTo>
                  <a:lnTo>
                    <a:pt x="1542" y="846"/>
                  </a:lnTo>
                  <a:lnTo>
                    <a:pt x="1584" y="840"/>
                  </a:lnTo>
                  <a:lnTo>
                    <a:pt x="1590" y="846"/>
                  </a:lnTo>
                  <a:lnTo>
                    <a:pt x="1596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90" y="864"/>
                  </a:lnTo>
                  <a:lnTo>
                    <a:pt x="1578" y="882"/>
                  </a:lnTo>
                  <a:lnTo>
                    <a:pt x="1572" y="906"/>
                  </a:lnTo>
                  <a:lnTo>
                    <a:pt x="1560" y="924"/>
                  </a:lnTo>
                  <a:lnTo>
                    <a:pt x="1560" y="936"/>
                  </a:lnTo>
                  <a:lnTo>
                    <a:pt x="1548" y="960"/>
                  </a:lnTo>
                  <a:lnTo>
                    <a:pt x="1542" y="978"/>
                  </a:lnTo>
                  <a:lnTo>
                    <a:pt x="1536" y="990"/>
                  </a:lnTo>
                  <a:lnTo>
                    <a:pt x="1530" y="990"/>
                  </a:lnTo>
                  <a:lnTo>
                    <a:pt x="1506" y="996"/>
                  </a:lnTo>
                  <a:lnTo>
                    <a:pt x="1494" y="1002"/>
                  </a:lnTo>
                  <a:lnTo>
                    <a:pt x="1482" y="1002"/>
                  </a:lnTo>
                  <a:lnTo>
                    <a:pt x="1464" y="1008"/>
                  </a:lnTo>
                  <a:lnTo>
                    <a:pt x="1446" y="1026"/>
                  </a:lnTo>
                  <a:lnTo>
                    <a:pt x="1440" y="1026"/>
                  </a:lnTo>
                  <a:lnTo>
                    <a:pt x="1434" y="1038"/>
                  </a:lnTo>
                  <a:lnTo>
                    <a:pt x="1428" y="1044"/>
                  </a:lnTo>
                  <a:lnTo>
                    <a:pt x="1428" y="1062"/>
                  </a:lnTo>
                  <a:lnTo>
                    <a:pt x="1428" y="1086"/>
                  </a:lnTo>
                  <a:lnTo>
                    <a:pt x="1416" y="1092"/>
                  </a:lnTo>
                  <a:lnTo>
                    <a:pt x="1410" y="1080"/>
                  </a:lnTo>
                  <a:lnTo>
                    <a:pt x="1392" y="108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27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112" name="Freeform 26">
              <a:extLst>
                <a:ext uri="{FF2B5EF4-FFF2-40B4-BE49-F238E27FC236}">
                  <a16:creationId xmlns:a16="http://schemas.microsoft.com/office/drawing/2014/main" id="{C8A7E599-969E-4B43-89BB-DD16861906AC}"/>
                </a:ext>
              </a:extLst>
            </p:cNvPr>
            <p:cNvSpPr>
              <a:spLocks/>
            </p:cNvSpPr>
            <p:nvPr/>
          </p:nvSpPr>
          <p:spPr bwMode="gray">
            <a:xfrm>
              <a:off x="1498600" y="3392489"/>
              <a:ext cx="1131888" cy="1239837"/>
            </a:xfrm>
            <a:custGeom>
              <a:avLst/>
              <a:gdLst>
                <a:gd name="T0" fmla="*/ 2147483647 w 1212"/>
                <a:gd name="T1" fmla="*/ 2147483647 h 1326"/>
                <a:gd name="T2" fmla="*/ 2147483647 w 1212"/>
                <a:gd name="T3" fmla="*/ 2147483647 h 1326"/>
                <a:gd name="T4" fmla="*/ 2147483647 w 1212"/>
                <a:gd name="T5" fmla="*/ 2147483647 h 1326"/>
                <a:gd name="T6" fmla="*/ 2147483647 w 1212"/>
                <a:gd name="T7" fmla="*/ 2147483647 h 1326"/>
                <a:gd name="T8" fmla="*/ 2147483647 w 1212"/>
                <a:gd name="T9" fmla="*/ 2147483647 h 1326"/>
                <a:gd name="T10" fmla="*/ 2147483647 w 1212"/>
                <a:gd name="T11" fmla="*/ 2147483647 h 1326"/>
                <a:gd name="T12" fmla="*/ 2147483647 w 1212"/>
                <a:gd name="T13" fmla="*/ 2147483647 h 1326"/>
                <a:gd name="T14" fmla="*/ 2147483647 w 1212"/>
                <a:gd name="T15" fmla="*/ 2147483647 h 1326"/>
                <a:gd name="T16" fmla="*/ 2147483647 w 1212"/>
                <a:gd name="T17" fmla="*/ 2147483647 h 1326"/>
                <a:gd name="T18" fmla="*/ 2147483647 w 1212"/>
                <a:gd name="T19" fmla="*/ 2147483647 h 1326"/>
                <a:gd name="T20" fmla="*/ 2147483647 w 1212"/>
                <a:gd name="T21" fmla="*/ 2147483647 h 1326"/>
                <a:gd name="T22" fmla="*/ 2147483647 w 1212"/>
                <a:gd name="T23" fmla="*/ 2147483647 h 1326"/>
                <a:gd name="T24" fmla="*/ 2147483647 w 1212"/>
                <a:gd name="T25" fmla="*/ 2147483647 h 1326"/>
                <a:gd name="T26" fmla="*/ 2147483647 w 1212"/>
                <a:gd name="T27" fmla="*/ 2147483647 h 1326"/>
                <a:gd name="T28" fmla="*/ 2147483647 w 1212"/>
                <a:gd name="T29" fmla="*/ 2147483647 h 1326"/>
                <a:gd name="T30" fmla="*/ 2147483647 w 1212"/>
                <a:gd name="T31" fmla="*/ 2147483647 h 1326"/>
                <a:gd name="T32" fmla="*/ 2147483647 w 1212"/>
                <a:gd name="T33" fmla="*/ 2147483647 h 1326"/>
                <a:gd name="T34" fmla="*/ 2147483647 w 1212"/>
                <a:gd name="T35" fmla="*/ 2147483647 h 1326"/>
                <a:gd name="T36" fmla="*/ 2147483647 w 1212"/>
                <a:gd name="T37" fmla="*/ 2147483647 h 1326"/>
                <a:gd name="T38" fmla="*/ 2147483647 w 1212"/>
                <a:gd name="T39" fmla="*/ 2147483647 h 1326"/>
                <a:gd name="T40" fmla="*/ 2147483647 w 1212"/>
                <a:gd name="T41" fmla="*/ 2147483647 h 1326"/>
                <a:gd name="T42" fmla="*/ 2147483647 w 1212"/>
                <a:gd name="T43" fmla="*/ 2147483647 h 1326"/>
                <a:gd name="T44" fmla="*/ 0 w 1212"/>
                <a:gd name="T45" fmla="*/ 2147483647 h 1326"/>
                <a:gd name="T46" fmla="*/ 2147483647 w 1212"/>
                <a:gd name="T47" fmla="*/ 2147483647 h 1326"/>
                <a:gd name="T48" fmla="*/ 2147483647 w 1212"/>
                <a:gd name="T49" fmla="*/ 2147483647 h 1326"/>
                <a:gd name="T50" fmla="*/ 2147483647 w 1212"/>
                <a:gd name="T51" fmla="*/ 2147483647 h 1326"/>
                <a:gd name="T52" fmla="*/ 2147483647 w 1212"/>
                <a:gd name="T53" fmla="*/ 2147483647 h 1326"/>
                <a:gd name="T54" fmla="*/ 2147483647 w 1212"/>
                <a:gd name="T55" fmla="*/ 2147483647 h 1326"/>
                <a:gd name="T56" fmla="*/ 2147483647 w 1212"/>
                <a:gd name="T57" fmla="*/ 2147483647 h 1326"/>
                <a:gd name="T58" fmla="*/ 2147483647 w 1212"/>
                <a:gd name="T59" fmla="*/ 2147483647 h 1326"/>
                <a:gd name="T60" fmla="*/ 2147483647 w 1212"/>
                <a:gd name="T61" fmla="*/ 2147483647 h 1326"/>
                <a:gd name="T62" fmla="*/ 2147483647 w 1212"/>
                <a:gd name="T63" fmla="*/ 2147483647 h 1326"/>
                <a:gd name="T64" fmla="*/ 2147483647 w 1212"/>
                <a:gd name="T65" fmla="*/ 2147483647 h 1326"/>
                <a:gd name="T66" fmla="*/ 2147483647 w 1212"/>
                <a:gd name="T67" fmla="*/ 2147483647 h 1326"/>
                <a:gd name="T68" fmla="*/ 2147483647 w 1212"/>
                <a:gd name="T69" fmla="*/ 2147483647 h 1326"/>
                <a:gd name="T70" fmla="*/ 2147483647 w 1212"/>
                <a:gd name="T71" fmla="*/ 2147483647 h 1326"/>
                <a:gd name="T72" fmla="*/ 2147483647 w 1212"/>
                <a:gd name="T73" fmla="*/ 2147483647 h 1326"/>
                <a:gd name="T74" fmla="*/ 2147483647 w 1212"/>
                <a:gd name="T75" fmla="*/ 2147483647 h 1326"/>
                <a:gd name="T76" fmla="*/ 2147483647 w 1212"/>
                <a:gd name="T77" fmla="*/ 2147483647 h 1326"/>
                <a:gd name="T78" fmla="*/ 2147483647 w 1212"/>
                <a:gd name="T79" fmla="*/ 2147483647 h 1326"/>
                <a:gd name="T80" fmla="*/ 2147483647 w 1212"/>
                <a:gd name="T81" fmla="*/ 2147483647 h 1326"/>
                <a:gd name="T82" fmla="*/ 2147483647 w 1212"/>
                <a:gd name="T83" fmla="*/ 2147483647 h 1326"/>
                <a:gd name="T84" fmla="*/ 2147483647 w 1212"/>
                <a:gd name="T85" fmla="*/ 2147483647 h 1326"/>
                <a:gd name="T86" fmla="*/ 2147483647 w 1212"/>
                <a:gd name="T87" fmla="*/ 2147483647 h 1326"/>
                <a:gd name="T88" fmla="*/ 2147483647 w 1212"/>
                <a:gd name="T89" fmla="*/ 2147483647 h 1326"/>
                <a:gd name="T90" fmla="*/ 2147483647 w 1212"/>
                <a:gd name="T91" fmla="*/ 2147483647 h 1326"/>
                <a:gd name="T92" fmla="*/ 2147483647 w 1212"/>
                <a:gd name="T93" fmla="*/ 2147483647 h 1326"/>
                <a:gd name="T94" fmla="*/ 2147483647 w 1212"/>
                <a:gd name="T95" fmla="*/ 2147483647 h 1326"/>
                <a:gd name="T96" fmla="*/ 2147483647 w 1212"/>
                <a:gd name="T97" fmla="*/ 2147483647 h 1326"/>
                <a:gd name="T98" fmla="*/ 2147483647 w 1212"/>
                <a:gd name="T99" fmla="*/ 2147483647 h 1326"/>
                <a:gd name="T100" fmla="*/ 2147483647 w 1212"/>
                <a:gd name="T101" fmla="*/ 2147483647 h 1326"/>
                <a:gd name="T102" fmla="*/ 2147483647 w 1212"/>
                <a:gd name="T103" fmla="*/ 2147483647 h 1326"/>
                <a:gd name="T104" fmla="*/ 2147483647 w 1212"/>
                <a:gd name="T105" fmla="*/ 2147483647 h 1326"/>
                <a:gd name="T106" fmla="*/ 2147483647 w 1212"/>
                <a:gd name="T107" fmla="*/ 2147483647 h 1326"/>
                <a:gd name="T108" fmla="*/ 2147483647 w 1212"/>
                <a:gd name="T109" fmla="*/ 2147483647 h 1326"/>
                <a:gd name="T110" fmla="*/ 2147483647 w 1212"/>
                <a:gd name="T111" fmla="*/ 2147483647 h 1326"/>
                <a:gd name="T112" fmla="*/ 2147483647 w 1212"/>
                <a:gd name="T113" fmla="*/ 2147483647 h 1326"/>
                <a:gd name="T114" fmla="*/ 2147483647 w 1212"/>
                <a:gd name="T115" fmla="*/ 2147483647 h 1326"/>
                <a:gd name="T116" fmla="*/ 2147483647 w 1212"/>
                <a:gd name="T117" fmla="*/ 2147483647 h 1326"/>
                <a:gd name="T118" fmla="*/ 2147483647 w 1212"/>
                <a:gd name="T119" fmla="*/ 2147483647 h 1326"/>
                <a:gd name="T120" fmla="*/ 2147483647 w 1212"/>
                <a:gd name="T121" fmla="*/ 2147483647 h 132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12"/>
                <a:gd name="T184" fmla="*/ 0 h 1326"/>
                <a:gd name="T185" fmla="*/ 1212 w 1212"/>
                <a:gd name="T186" fmla="*/ 1326 h 132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12" h="1326">
                  <a:moveTo>
                    <a:pt x="906" y="1290"/>
                  </a:moveTo>
                  <a:lnTo>
                    <a:pt x="906" y="1296"/>
                  </a:lnTo>
                  <a:lnTo>
                    <a:pt x="900" y="1296"/>
                  </a:lnTo>
                  <a:lnTo>
                    <a:pt x="876" y="1290"/>
                  </a:lnTo>
                  <a:lnTo>
                    <a:pt x="870" y="1290"/>
                  </a:lnTo>
                  <a:lnTo>
                    <a:pt x="864" y="1296"/>
                  </a:lnTo>
                  <a:lnTo>
                    <a:pt x="852" y="1296"/>
                  </a:lnTo>
                  <a:lnTo>
                    <a:pt x="840" y="1302"/>
                  </a:lnTo>
                  <a:lnTo>
                    <a:pt x="834" y="1308"/>
                  </a:lnTo>
                  <a:lnTo>
                    <a:pt x="822" y="1320"/>
                  </a:lnTo>
                  <a:lnTo>
                    <a:pt x="816" y="1320"/>
                  </a:lnTo>
                  <a:lnTo>
                    <a:pt x="732" y="1320"/>
                  </a:lnTo>
                  <a:lnTo>
                    <a:pt x="696" y="1320"/>
                  </a:lnTo>
                  <a:lnTo>
                    <a:pt x="690" y="1326"/>
                  </a:lnTo>
                  <a:lnTo>
                    <a:pt x="678" y="1326"/>
                  </a:lnTo>
                  <a:lnTo>
                    <a:pt x="672" y="1308"/>
                  </a:lnTo>
                  <a:lnTo>
                    <a:pt x="696" y="1302"/>
                  </a:lnTo>
                  <a:lnTo>
                    <a:pt x="708" y="1296"/>
                  </a:lnTo>
                  <a:lnTo>
                    <a:pt x="720" y="1284"/>
                  </a:lnTo>
                  <a:lnTo>
                    <a:pt x="714" y="1278"/>
                  </a:lnTo>
                  <a:lnTo>
                    <a:pt x="714" y="1266"/>
                  </a:lnTo>
                  <a:lnTo>
                    <a:pt x="708" y="1260"/>
                  </a:lnTo>
                  <a:lnTo>
                    <a:pt x="708" y="1254"/>
                  </a:lnTo>
                  <a:lnTo>
                    <a:pt x="708" y="1248"/>
                  </a:lnTo>
                  <a:lnTo>
                    <a:pt x="702" y="1236"/>
                  </a:lnTo>
                  <a:lnTo>
                    <a:pt x="702" y="1230"/>
                  </a:lnTo>
                  <a:lnTo>
                    <a:pt x="702" y="1218"/>
                  </a:lnTo>
                  <a:lnTo>
                    <a:pt x="696" y="1200"/>
                  </a:lnTo>
                  <a:lnTo>
                    <a:pt x="696" y="1182"/>
                  </a:lnTo>
                  <a:lnTo>
                    <a:pt x="666" y="1182"/>
                  </a:lnTo>
                  <a:lnTo>
                    <a:pt x="672" y="1134"/>
                  </a:lnTo>
                  <a:lnTo>
                    <a:pt x="666" y="1128"/>
                  </a:lnTo>
                  <a:lnTo>
                    <a:pt x="660" y="1092"/>
                  </a:lnTo>
                  <a:lnTo>
                    <a:pt x="654" y="1098"/>
                  </a:lnTo>
                  <a:lnTo>
                    <a:pt x="594" y="1098"/>
                  </a:lnTo>
                  <a:lnTo>
                    <a:pt x="576" y="1098"/>
                  </a:lnTo>
                  <a:lnTo>
                    <a:pt x="570" y="1104"/>
                  </a:lnTo>
                  <a:lnTo>
                    <a:pt x="564" y="1110"/>
                  </a:lnTo>
                  <a:lnTo>
                    <a:pt x="558" y="1110"/>
                  </a:lnTo>
                  <a:lnTo>
                    <a:pt x="552" y="1110"/>
                  </a:lnTo>
                  <a:lnTo>
                    <a:pt x="546" y="1110"/>
                  </a:lnTo>
                  <a:lnTo>
                    <a:pt x="546" y="1116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10" y="1128"/>
                  </a:lnTo>
                  <a:lnTo>
                    <a:pt x="522" y="1104"/>
                  </a:lnTo>
                  <a:lnTo>
                    <a:pt x="510" y="1098"/>
                  </a:lnTo>
                  <a:lnTo>
                    <a:pt x="510" y="1074"/>
                  </a:lnTo>
                  <a:lnTo>
                    <a:pt x="504" y="1068"/>
                  </a:lnTo>
                  <a:lnTo>
                    <a:pt x="498" y="1068"/>
                  </a:lnTo>
                  <a:lnTo>
                    <a:pt x="492" y="1068"/>
                  </a:lnTo>
                  <a:lnTo>
                    <a:pt x="474" y="1080"/>
                  </a:lnTo>
                  <a:lnTo>
                    <a:pt x="474" y="1086"/>
                  </a:lnTo>
                  <a:lnTo>
                    <a:pt x="474" y="1092"/>
                  </a:lnTo>
                  <a:lnTo>
                    <a:pt x="468" y="1098"/>
                  </a:lnTo>
                  <a:lnTo>
                    <a:pt x="462" y="1104"/>
                  </a:lnTo>
                  <a:lnTo>
                    <a:pt x="456" y="1110"/>
                  </a:lnTo>
                  <a:lnTo>
                    <a:pt x="456" y="1122"/>
                  </a:lnTo>
                  <a:lnTo>
                    <a:pt x="456" y="1128"/>
                  </a:lnTo>
                  <a:lnTo>
                    <a:pt x="450" y="1140"/>
                  </a:lnTo>
                  <a:lnTo>
                    <a:pt x="444" y="1146"/>
                  </a:lnTo>
                  <a:lnTo>
                    <a:pt x="426" y="1170"/>
                  </a:lnTo>
                  <a:lnTo>
                    <a:pt x="408" y="1176"/>
                  </a:lnTo>
                  <a:lnTo>
                    <a:pt x="402" y="1170"/>
                  </a:lnTo>
                  <a:lnTo>
                    <a:pt x="396" y="1170"/>
                  </a:lnTo>
                  <a:lnTo>
                    <a:pt x="396" y="1158"/>
                  </a:lnTo>
                  <a:lnTo>
                    <a:pt x="384" y="1152"/>
                  </a:lnTo>
                  <a:lnTo>
                    <a:pt x="372" y="1140"/>
                  </a:lnTo>
                  <a:lnTo>
                    <a:pt x="354" y="1140"/>
                  </a:lnTo>
                  <a:lnTo>
                    <a:pt x="306" y="1146"/>
                  </a:lnTo>
                  <a:lnTo>
                    <a:pt x="294" y="1134"/>
                  </a:lnTo>
                  <a:lnTo>
                    <a:pt x="294" y="1128"/>
                  </a:lnTo>
                  <a:lnTo>
                    <a:pt x="288" y="1122"/>
                  </a:lnTo>
                  <a:lnTo>
                    <a:pt x="276" y="1122"/>
                  </a:lnTo>
                  <a:lnTo>
                    <a:pt x="276" y="1110"/>
                  </a:lnTo>
                  <a:lnTo>
                    <a:pt x="276" y="1104"/>
                  </a:lnTo>
                  <a:lnTo>
                    <a:pt x="270" y="1098"/>
                  </a:lnTo>
                  <a:lnTo>
                    <a:pt x="264" y="1086"/>
                  </a:lnTo>
                  <a:lnTo>
                    <a:pt x="264" y="1074"/>
                  </a:lnTo>
                  <a:lnTo>
                    <a:pt x="258" y="1068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34" y="1038"/>
                  </a:lnTo>
                  <a:lnTo>
                    <a:pt x="228" y="1038"/>
                  </a:lnTo>
                  <a:lnTo>
                    <a:pt x="222" y="1038"/>
                  </a:lnTo>
                  <a:lnTo>
                    <a:pt x="216" y="1038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0"/>
                  </a:lnTo>
                  <a:lnTo>
                    <a:pt x="204" y="1014"/>
                  </a:lnTo>
                  <a:lnTo>
                    <a:pt x="204" y="1008"/>
                  </a:lnTo>
                  <a:lnTo>
                    <a:pt x="198" y="1002"/>
                  </a:lnTo>
                  <a:lnTo>
                    <a:pt x="198" y="996"/>
                  </a:lnTo>
                  <a:lnTo>
                    <a:pt x="198" y="990"/>
                  </a:lnTo>
                  <a:lnTo>
                    <a:pt x="204" y="990"/>
                  </a:lnTo>
                  <a:lnTo>
                    <a:pt x="204" y="984"/>
                  </a:lnTo>
                  <a:lnTo>
                    <a:pt x="210" y="978"/>
                  </a:lnTo>
                  <a:lnTo>
                    <a:pt x="210" y="972"/>
                  </a:lnTo>
                  <a:lnTo>
                    <a:pt x="210" y="966"/>
                  </a:lnTo>
                  <a:lnTo>
                    <a:pt x="216" y="960"/>
                  </a:lnTo>
                  <a:lnTo>
                    <a:pt x="216" y="954"/>
                  </a:lnTo>
                  <a:lnTo>
                    <a:pt x="210" y="954"/>
                  </a:lnTo>
                  <a:lnTo>
                    <a:pt x="204" y="954"/>
                  </a:lnTo>
                  <a:lnTo>
                    <a:pt x="216" y="954"/>
                  </a:lnTo>
                  <a:lnTo>
                    <a:pt x="216" y="948"/>
                  </a:lnTo>
                  <a:lnTo>
                    <a:pt x="210" y="948"/>
                  </a:lnTo>
                  <a:lnTo>
                    <a:pt x="210" y="942"/>
                  </a:lnTo>
                  <a:lnTo>
                    <a:pt x="216" y="942"/>
                  </a:lnTo>
                  <a:lnTo>
                    <a:pt x="222" y="942"/>
                  </a:lnTo>
                  <a:lnTo>
                    <a:pt x="222" y="936"/>
                  </a:lnTo>
                  <a:lnTo>
                    <a:pt x="216" y="936"/>
                  </a:lnTo>
                  <a:lnTo>
                    <a:pt x="210" y="936"/>
                  </a:lnTo>
                  <a:lnTo>
                    <a:pt x="210" y="930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22" y="918"/>
                  </a:lnTo>
                  <a:lnTo>
                    <a:pt x="228" y="912"/>
                  </a:lnTo>
                  <a:lnTo>
                    <a:pt x="228" y="906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2" y="888"/>
                  </a:lnTo>
                  <a:lnTo>
                    <a:pt x="222" y="882"/>
                  </a:lnTo>
                  <a:lnTo>
                    <a:pt x="222" y="876"/>
                  </a:lnTo>
                  <a:lnTo>
                    <a:pt x="222" y="858"/>
                  </a:lnTo>
                  <a:lnTo>
                    <a:pt x="216" y="858"/>
                  </a:lnTo>
                  <a:lnTo>
                    <a:pt x="216" y="852"/>
                  </a:lnTo>
                  <a:lnTo>
                    <a:pt x="210" y="852"/>
                  </a:lnTo>
                  <a:lnTo>
                    <a:pt x="210" y="840"/>
                  </a:lnTo>
                  <a:lnTo>
                    <a:pt x="198" y="840"/>
                  </a:lnTo>
                  <a:lnTo>
                    <a:pt x="198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0" y="894"/>
                  </a:lnTo>
                  <a:lnTo>
                    <a:pt x="180" y="906"/>
                  </a:lnTo>
                  <a:lnTo>
                    <a:pt x="156" y="912"/>
                  </a:lnTo>
                  <a:lnTo>
                    <a:pt x="156" y="894"/>
                  </a:lnTo>
                  <a:lnTo>
                    <a:pt x="156" y="882"/>
                  </a:lnTo>
                  <a:lnTo>
                    <a:pt x="156" y="876"/>
                  </a:lnTo>
                  <a:lnTo>
                    <a:pt x="150" y="876"/>
                  </a:lnTo>
                  <a:lnTo>
                    <a:pt x="144" y="876"/>
                  </a:lnTo>
                  <a:lnTo>
                    <a:pt x="138" y="870"/>
                  </a:lnTo>
                  <a:lnTo>
                    <a:pt x="132" y="864"/>
                  </a:lnTo>
                  <a:lnTo>
                    <a:pt x="138" y="840"/>
                  </a:lnTo>
                  <a:lnTo>
                    <a:pt x="132" y="840"/>
                  </a:lnTo>
                  <a:lnTo>
                    <a:pt x="138" y="810"/>
                  </a:lnTo>
                  <a:lnTo>
                    <a:pt x="144" y="804"/>
                  </a:lnTo>
                  <a:lnTo>
                    <a:pt x="144" y="798"/>
                  </a:lnTo>
                  <a:lnTo>
                    <a:pt x="156" y="798"/>
                  </a:lnTo>
                  <a:lnTo>
                    <a:pt x="156" y="792"/>
                  </a:lnTo>
                  <a:lnTo>
                    <a:pt x="120" y="792"/>
                  </a:lnTo>
                  <a:lnTo>
                    <a:pt x="108" y="786"/>
                  </a:lnTo>
                  <a:lnTo>
                    <a:pt x="96" y="786"/>
                  </a:lnTo>
                  <a:lnTo>
                    <a:pt x="96" y="780"/>
                  </a:lnTo>
                  <a:lnTo>
                    <a:pt x="78" y="780"/>
                  </a:lnTo>
                  <a:lnTo>
                    <a:pt x="72" y="804"/>
                  </a:lnTo>
                  <a:lnTo>
                    <a:pt x="60" y="816"/>
                  </a:lnTo>
                  <a:lnTo>
                    <a:pt x="36" y="828"/>
                  </a:lnTo>
                  <a:lnTo>
                    <a:pt x="18" y="840"/>
                  </a:lnTo>
                  <a:lnTo>
                    <a:pt x="0" y="822"/>
                  </a:lnTo>
                  <a:lnTo>
                    <a:pt x="6" y="816"/>
                  </a:lnTo>
                  <a:lnTo>
                    <a:pt x="12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18" y="786"/>
                  </a:lnTo>
                  <a:lnTo>
                    <a:pt x="24" y="780"/>
                  </a:lnTo>
                  <a:lnTo>
                    <a:pt x="24" y="768"/>
                  </a:lnTo>
                  <a:lnTo>
                    <a:pt x="24" y="762"/>
                  </a:lnTo>
                  <a:lnTo>
                    <a:pt x="24" y="750"/>
                  </a:lnTo>
                  <a:lnTo>
                    <a:pt x="36" y="714"/>
                  </a:lnTo>
                  <a:lnTo>
                    <a:pt x="36" y="708"/>
                  </a:lnTo>
                  <a:lnTo>
                    <a:pt x="42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6" y="690"/>
                  </a:lnTo>
                  <a:lnTo>
                    <a:pt x="42" y="684"/>
                  </a:lnTo>
                  <a:lnTo>
                    <a:pt x="42" y="672"/>
                  </a:lnTo>
                  <a:lnTo>
                    <a:pt x="42" y="666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48" y="648"/>
                  </a:lnTo>
                  <a:lnTo>
                    <a:pt x="54" y="642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54" y="612"/>
                  </a:lnTo>
                  <a:lnTo>
                    <a:pt x="48" y="606"/>
                  </a:lnTo>
                  <a:lnTo>
                    <a:pt x="48" y="600"/>
                  </a:lnTo>
                  <a:lnTo>
                    <a:pt x="42" y="600"/>
                  </a:lnTo>
                  <a:lnTo>
                    <a:pt x="36" y="594"/>
                  </a:lnTo>
                  <a:lnTo>
                    <a:pt x="36" y="588"/>
                  </a:lnTo>
                  <a:lnTo>
                    <a:pt x="30" y="582"/>
                  </a:lnTo>
                  <a:lnTo>
                    <a:pt x="30" y="570"/>
                  </a:lnTo>
                  <a:lnTo>
                    <a:pt x="18" y="552"/>
                  </a:lnTo>
                  <a:lnTo>
                    <a:pt x="18" y="546"/>
                  </a:lnTo>
                  <a:lnTo>
                    <a:pt x="18" y="540"/>
                  </a:lnTo>
                  <a:lnTo>
                    <a:pt x="18" y="528"/>
                  </a:lnTo>
                  <a:lnTo>
                    <a:pt x="18" y="522"/>
                  </a:lnTo>
                  <a:lnTo>
                    <a:pt x="24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30" y="474"/>
                  </a:lnTo>
                  <a:lnTo>
                    <a:pt x="36" y="474"/>
                  </a:lnTo>
                  <a:lnTo>
                    <a:pt x="42" y="468"/>
                  </a:lnTo>
                  <a:lnTo>
                    <a:pt x="48" y="468"/>
                  </a:lnTo>
                  <a:lnTo>
                    <a:pt x="48" y="462"/>
                  </a:lnTo>
                  <a:lnTo>
                    <a:pt x="48" y="456"/>
                  </a:lnTo>
                  <a:lnTo>
                    <a:pt x="54" y="450"/>
                  </a:lnTo>
                  <a:lnTo>
                    <a:pt x="60" y="438"/>
                  </a:lnTo>
                  <a:lnTo>
                    <a:pt x="54" y="438"/>
                  </a:lnTo>
                  <a:lnTo>
                    <a:pt x="54" y="432"/>
                  </a:ln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54" y="402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6" y="384"/>
                  </a:lnTo>
                  <a:lnTo>
                    <a:pt x="72" y="372"/>
                  </a:lnTo>
                  <a:lnTo>
                    <a:pt x="78" y="366"/>
                  </a:lnTo>
                  <a:lnTo>
                    <a:pt x="84" y="360"/>
                  </a:lnTo>
                  <a:lnTo>
                    <a:pt x="102" y="360"/>
                  </a:lnTo>
                  <a:lnTo>
                    <a:pt x="114" y="36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8" y="360"/>
                  </a:lnTo>
                  <a:lnTo>
                    <a:pt x="156" y="360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74" y="342"/>
                  </a:lnTo>
                  <a:lnTo>
                    <a:pt x="180" y="342"/>
                  </a:lnTo>
                  <a:lnTo>
                    <a:pt x="186" y="336"/>
                  </a:lnTo>
                  <a:lnTo>
                    <a:pt x="192" y="330"/>
                  </a:lnTo>
                  <a:lnTo>
                    <a:pt x="204" y="312"/>
                  </a:lnTo>
                  <a:lnTo>
                    <a:pt x="210" y="312"/>
                  </a:lnTo>
                  <a:lnTo>
                    <a:pt x="216" y="306"/>
                  </a:lnTo>
                  <a:lnTo>
                    <a:pt x="216" y="300"/>
                  </a:lnTo>
                  <a:lnTo>
                    <a:pt x="222" y="288"/>
                  </a:lnTo>
                  <a:lnTo>
                    <a:pt x="234" y="288"/>
                  </a:lnTo>
                  <a:lnTo>
                    <a:pt x="240" y="282"/>
                  </a:lnTo>
                  <a:lnTo>
                    <a:pt x="246" y="282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70" y="270"/>
                  </a:lnTo>
                  <a:lnTo>
                    <a:pt x="276" y="264"/>
                  </a:lnTo>
                  <a:lnTo>
                    <a:pt x="282" y="26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8" y="234"/>
                  </a:lnTo>
                  <a:lnTo>
                    <a:pt x="330" y="234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72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14" y="240"/>
                  </a:lnTo>
                  <a:lnTo>
                    <a:pt x="444" y="216"/>
                  </a:lnTo>
                  <a:lnTo>
                    <a:pt x="480" y="204"/>
                  </a:lnTo>
                  <a:lnTo>
                    <a:pt x="600" y="150"/>
                  </a:lnTo>
                  <a:lnTo>
                    <a:pt x="648" y="126"/>
                  </a:lnTo>
                  <a:lnTo>
                    <a:pt x="702" y="96"/>
                  </a:lnTo>
                  <a:lnTo>
                    <a:pt x="708" y="54"/>
                  </a:lnTo>
                  <a:lnTo>
                    <a:pt x="720" y="24"/>
                  </a:lnTo>
                  <a:lnTo>
                    <a:pt x="738" y="12"/>
                  </a:lnTo>
                  <a:lnTo>
                    <a:pt x="768" y="0"/>
                  </a:lnTo>
                  <a:lnTo>
                    <a:pt x="792" y="6"/>
                  </a:lnTo>
                  <a:lnTo>
                    <a:pt x="804" y="12"/>
                  </a:lnTo>
                  <a:lnTo>
                    <a:pt x="834" y="48"/>
                  </a:lnTo>
                  <a:lnTo>
                    <a:pt x="834" y="60"/>
                  </a:lnTo>
                  <a:lnTo>
                    <a:pt x="852" y="84"/>
                  </a:lnTo>
                  <a:lnTo>
                    <a:pt x="864" y="96"/>
                  </a:lnTo>
                  <a:lnTo>
                    <a:pt x="888" y="102"/>
                  </a:lnTo>
                  <a:lnTo>
                    <a:pt x="978" y="120"/>
                  </a:lnTo>
                  <a:lnTo>
                    <a:pt x="984" y="126"/>
                  </a:lnTo>
                  <a:lnTo>
                    <a:pt x="984" y="132"/>
                  </a:lnTo>
                  <a:lnTo>
                    <a:pt x="996" y="138"/>
                  </a:lnTo>
                  <a:lnTo>
                    <a:pt x="1038" y="126"/>
                  </a:lnTo>
                  <a:lnTo>
                    <a:pt x="1056" y="114"/>
                  </a:lnTo>
                  <a:lnTo>
                    <a:pt x="1068" y="126"/>
                  </a:lnTo>
                  <a:lnTo>
                    <a:pt x="1074" y="132"/>
                  </a:lnTo>
                  <a:lnTo>
                    <a:pt x="1068" y="138"/>
                  </a:lnTo>
                  <a:lnTo>
                    <a:pt x="1056" y="150"/>
                  </a:lnTo>
                  <a:lnTo>
                    <a:pt x="1038" y="162"/>
                  </a:lnTo>
                  <a:lnTo>
                    <a:pt x="1038" y="168"/>
                  </a:lnTo>
                  <a:lnTo>
                    <a:pt x="1020" y="174"/>
                  </a:lnTo>
                  <a:lnTo>
                    <a:pt x="1014" y="180"/>
                  </a:lnTo>
                  <a:lnTo>
                    <a:pt x="1008" y="186"/>
                  </a:lnTo>
                  <a:lnTo>
                    <a:pt x="1002" y="198"/>
                  </a:lnTo>
                  <a:lnTo>
                    <a:pt x="984" y="204"/>
                  </a:lnTo>
                  <a:lnTo>
                    <a:pt x="984" y="246"/>
                  </a:lnTo>
                  <a:lnTo>
                    <a:pt x="978" y="270"/>
                  </a:lnTo>
                  <a:lnTo>
                    <a:pt x="990" y="306"/>
                  </a:lnTo>
                  <a:lnTo>
                    <a:pt x="990" y="324"/>
                  </a:lnTo>
                  <a:lnTo>
                    <a:pt x="1002" y="336"/>
                  </a:lnTo>
                  <a:lnTo>
                    <a:pt x="1020" y="372"/>
                  </a:lnTo>
                  <a:lnTo>
                    <a:pt x="1014" y="378"/>
                  </a:lnTo>
                  <a:lnTo>
                    <a:pt x="1014" y="384"/>
                  </a:lnTo>
                  <a:lnTo>
                    <a:pt x="1020" y="384"/>
                  </a:lnTo>
                  <a:lnTo>
                    <a:pt x="1020" y="396"/>
                  </a:lnTo>
                  <a:lnTo>
                    <a:pt x="1062" y="468"/>
                  </a:lnTo>
                  <a:lnTo>
                    <a:pt x="1092" y="522"/>
                  </a:lnTo>
                  <a:lnTo>
                    <a:pt x="1110" y="546"/>
                  </a:lnTo>
                  <a:lnTo>
                    <a:pt x="1122" y="564"/>
                  </a:lnTo>
                  <a:lnTo>
                    <a:pt x="1134" y="576"/>
                  </a:lnTo>
                  <a:lnTo>
                    <a:pt x="1146" y="582"/>
                  </a:lnTo>
                  <a:lnTo>
                    <a:pt x="1146" y="588"/>
                  </a:lnTo>
                  <a:lnTo>
                    <a:pt x="1164" y="600"/>
                  </a:lnTo>
                  <a:lnTo>
                    <a:pt x="1170" y="612"/>
                  </a:lnTo>
                  <a:lnTo>
                    <a:pt x="1170" y="624"/>
                  </a:lnTo>
                  <a:lnTo>
                    <a:pt x="1176" y="654"/>
                  </a:lnTo>
                  <a:lnTo>
                    <a:pt x="1176" y="666"/>
                  </a:lnTo>
                  <a:lnTo>
                    <a:pt x="1182" y="684"/>
                  </a:lnTo>
                  <a:lnTo>
                    <a:pt x="1194" y="696"/>
                  </a:lnTo>
                  <a:lnTo>
                    <a:pt x="1212" y="696"/>
                  </a:lnTo>
                  <a:lnTo>
                    <a:pt x="1206" y="762"/>
                  </a:lnTo>
                  <a:lnTo>
                    <a:pt x="1200" y="768"/>
                  </a:lnTo>
                  <a:lnTo>
                    <a:pt x="1194" y="768"/>
                  </a:lnTo>
                  <a:lnTo>
                    <a:pt x="1194" y="774"/>
                  </a:lnTo>
                  <a:lnTo>
                    <a:pt x="1188" y="774"/>
                  </a:lnTo>
                  <a:lnTo>
                    <a:pt x="1182" y="780"/>
                  </a:lnTo>
                  <a:lnTo>
                    <a:pt x="1176" y="780"/>
                  </a:lnTo>
                  <a:lnTo>
                    <a:pt x="1170" y="780"/>
                  </a:lnTo>
                  <a:lnTo>
                    <a:pt x="1164" y="786"/>
                  </a:lnTo>
                  <a:lnTo>
                    <a:pt x="1158" y="786"/>
                  </a:lnTo>
                  <a:lnTo>
                    <a:pt x="1152" y="786"/>
                  </a:lnTo>
                  <a:lnTo>
                    <a:pt x="1140" y="786"/>
                  </a:lnTo>
                  <a:lnTo>
                    <a:pt x="1134" y="786"/>
                  </a:lnTo>
                  <a:lnTo>
                    <a:pt x="1134" y="780"/>
                  </a:lnTo>
                  <a:lnTo>
                    <a:pt x="1122" y="780"/>
                  </a:lnTo>
                  <a:lnTo>
                    <a:pt x="1116" y="786"/>
                  </a:lnTo>
                  <a:lnTo>
                    <a:pt x="1116" y="792"/>
                  </a:lnTo>
                  <a:lnTo>
                    <a:pt x="1122" y="804"/>
                  </a:lnTo>
                  <a:lnTo>
                    <a:pt x="1128" y="804"/>
                  </a:lnTo>
                  <a:lnTo>
                    <a:pt x="1128" y="816"/>
                  </a:lnTo>
                  <a:lnTo>
                    <a:pt x="1122" y="822"/>
                  </a:lnTo>
                  <a:lnTo>
                    <a:pt x="1116" y="816"/>
                  </a:lnTo>
                  <a:lnTo>
                    <a:pt x="1110" y="816"/>
                  </a:lnTo>
                  <a:lnTo>
                    <a:pt x="1104" y="816"/>
                  </a:lnTo>
                  <a:lnTo>
                    <a:pt x="1098" y="816"/>
                  </a:lnTo>
                  <a:lnTo>
                    <a:pt x="1098" y="822"/>
                  </a:lnTo>
                  <a:lnTo>
                    <a:pt x="1092" y="834"/>
                  </a:lnTo>
                  <a:lnTo>
                    <a:pt x="1092" y="840"/>
                  </a:lnTo>
                  <a:lnTo>
                    <a:pt x="1074" y="840"/>
                  </a:lnTo>
                  <a:lnTo>
                    <a:pt x="1074" y="828"/>
                  </a:lnTo>
                  <a:lnTo>
                    <a:pt x="1062" y="804"/>
                  </a:lnTo>
                  <a:lnTo>
                    <a:pt x="1056" y="792"/>
                  </a:lnTo>
                  <a:lnTo>
                    <a:pt x="1056" y="786"/>
                  </a:lnTo>
                  <a:lnTo>
                    <a:pt x="1026" y="780"/>
                  </a:lnTo>
                  <a:lnTo>
                    <a:pt x="1026" y="768"/>
                  </a:lnTo>
                  <a:lnTo>
                    <a:pt x="1008" y="768"/>
                  </a:lnTo>
                  <a:lnTo>
                    <a:pt x="1002" y="780"/>
                  </a:lnTo>
                  <a:lnTo>
                    <a:pt x="996" y="792"/>
                  </a:lnTo>
                  <a:lnTo>
                    <a:pt x="978" y="798"/>
                  </a:lnTo>
                  <a:lnTo>
                    <a:pt x="972" y="810"/>
                  </a:lnTo>
                  <a:lnTo>
                    <a:pt x="972" y="822"/>
                  </a:lnTo>
                  <a:lnTo>
                    <a:pt x="978" y="828"/>
                  </a:lnTo>
                  <a:lnTo>
                    <a:pt x="978" y="834"/>
                  </a:lnTo>
                  <a:lnTo>
                    <a:pt x="960" y="840"/>
                  </a:lnTo>
                  <a:lnTo>
                    <a:pt x="936" y="840"/>
                  </a:lnTo>
                  <a:lnTo>
                    <a:pt x="918" y="846"/>
                  </a:lnTo>
                  <a:lnTo>
                    <a:pt x="912" y="840"/>
                  </a:lnTo>
                  <a:lnTo>
                    <a:pt x="912" y="834"/>
                  </a:lnTo>
                  <a:lnTo>
                    <a:pt x="906" y="834"/>
                  </a:lnTo>
                  <a:lnTo>
                    <a:pt x="906" y="840"/>
                  </a:lnTo>
                  <a:lnTo>
                    <a:pt x="900" y="846"/>
                  </a:lnTo>
                  <a:lnTo>
                    <a:pt x="906" y="852"/>
                  </a:lnTo>
                  <a:lnTo>
                    <a:pt x="900" y="864"/>
                  </a:lnTo>
                  <a:lnTo>
                    <a:pt x="900" y="876"/>
                  </a:lnTo>
                  <a:lnTo>
                    <a:pt x="900" y="882"/>
                  </a:lnTo>
                  <a:lnTo>
                    <a:pt x="894" y="888"/>
                  </a:lnTo>
                  <a:lnTo>
                    <a:pt x="900" y="900"/>
                  </a:lnTo>
                  <a:lnTo>
                    <a:pt x="900" y="906"/>
                  </a:lnTo>
                  <a:lnTo>
                    <a:pt x="894" y="906"/>
                  </a:lnTo>
                  <a:lnTo>
                    <a:pt x="894" y="912"/>
                  </a:lnTo>
                  <a:lnTo>
                    <a:pt x="900" y="918"/>
                  </a:lnTo>
                  <a:lnTo>
                    <a:pt x="900" y="924"/>
                  </a:lnTo>
                  <a:lnTo>
                    <a:pt x="900" y="948"/>
                  </a:lnTo>
                  <a:lnTo>
                    <a:pt x="888" y="948"/>
                  </a:lnTo>
                  <a:lnTo>
                    <a:pt x="888" y="954"/>
                  </a:lnTo>
                  <a:lnTo>
                    <a:pt x="894" y="954"/>
                  </a:lnTo>
                  <a:lnTo>
                    <a:pt x="900" y="960"/>
                  </a:lnTo>
                  <a:lnTo>
                    <a:pt x="900" y="972"/>
                  </a:lnTo>
                  <a:lnTo>
                    <a:pt x="906" y="984"/>
                  </a:lnTo>
                  <a:lnTo>
                    <a:pt x="912" y="984"/>
                  </a:lnTo>
                  <a:lnTo>
                    <a:pt x="918" y="990"/>
                  </a:lnTo>
                  <a:lnTo>
                    <a:pt x="936" y="990"/>
                  </a:lnTo>
                  <a:lnTo>
                    <a:pt x="936" y="996"/>
                  </a:lnTo>
                  <a:lnTo>
                    <a:pt x="942" y="996"/>
                  </a:lnTo>
                  <a:lnTo>
                    <a:pt x="942" y="1002"/>
                  </a:lnTo>
                  <a:lnTo>
                    <a:pt x="942" y="1008"/>
                  </a:lnTo>
                  <a:lnTo>
                    <a:pt x="948" y="1008"/>
                  </a:lnTo>
                  <a:lnTo>
                    <a:pt x="948" y="1014"/>
                  </a:lnTo>
                  <a:lnTo>
                    <a:pt x="948" y="1020"/>
                  </a:lnTo>
                  <a:lnTo>
                    <a:pt x="954" y="1032"/>
                  </a:lnTo>
                  <a:lnTo>
                    <a:pt x="948" y="1038"/>
                  </a:lnTo>
                  <a:lnTo>
                    <a:pt x="954" y="1044"/>
                  </a:lnTo>
                  <a:lnTo>
                    <a:pt x="954" y="1056"/>
                  </a:lnTo>
                  <a:lnTo>
                    <a:pt x="960" y="1056"/>
                  </a:lnTo>
                  <a:lnTo>
                    <a:pt x="960" y="1062"/>
                  </a:lnTo>
                  <a:lnTo>
                    <a:pt x="954" y="1068"/>
                  </a:lnTo>
                  <a:lnTo>
                    <a:pt x="948" y="1074"/>
                  </a:lnTo>
                  <a:lnTo>
                    <a:pt x="948" y="1080"/>
                  </a:lnTo>
                  <a:lnTo>
                    <a:pt x="948" y="1086"/>
                  </a:lnTo>
                  <a:lnTo>
                    <a:pt x="942" y="1092"/>
                  </a:lnTo>
                  <a:lnTo>
                    <a:pt x="942" y="1098"/>
                  </a:lnTo>
                  <a:lnTo>
                    <a:pt x="942" y="1104"/>
                  </a:lnTo>
                  <a:lnTo>
                    <a:pt x="942" y="1110"/>
                  </a:lnTo>
                  <a:lnTo>
                    <a:pt x="936" y="1116"/>
                  </a:lnTo>
                  <a:lnTo>
                    <a:pt x="936" y="1122"/>
                  </a:lnTo>
                  <a:lnTo>
                    <a:pt x="936" y="1128"/>
                  </a:lnTo>
                  <a:lnTo>
                    <a:pt x="936" y="1134"/>
                  </a:lnTo>
                  <a:lnTo>
                    <a:pt x="942" y="1146"/>
                  </a:lnTo>
                  <a:lnTo>
                    <a:pt x="936" y="1158"/>
                  </a:lnTo>
                  <a:lnTo>
                    <a:pt x="936" y="1170"/>
                  </a:lnTo>
                  <a:lnTo>
                    <a:pt x="936" y="1194"/>
                  </a:lnTo>
                  <a:lnTo>
                    <a:pt x="930" y="1200"/>
                  </a:lnTo>
                  <a:lnTo>
                    <a:pt x="930" y="1212"/>
                  </a:lnTo>
                  <a:lnTo>
                    <a:pt x="918" y="1218"/>
                  </a:lnTo>
                  <a:lnTo>
                    <a:pt x="918" y="1230"/>
                  </a:lnTo>
                  <a:lnTo>
                    <a:pt x="906" y="1230"/>
                  </a:lnTo>
                  <a:lnTo>
                    <a:pt x="900" y="1254"/>
                  </a:lnTo>
                  <a:lnTo>
                    <a:pt x="900" y="1260"/>
                  </a:lnTo>
                  <a:lnTo>
                    <a:pt x="900" y="1266"/>
                  </a:lnTo>
                  <a:lnTo>
                    <a:pt x="900" y="1272"/>
                  </a:lnTo>
                  <a:lnTo>
                    <a:pt x="900" y="1278"/>
                  </a:lnTo>
                  <a:lnTo>
                    <a:pt x="900" y="1284"/>
                  </a:lnTo>
                  <a:lnTo>
                    <a:pt x="906" y="129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27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113" name="Freeform 27">
              <a:extLst>
                <a:ext uri="{FF2B5EF4-FFF2-40B4-BE49-F238E27FC236}">
                  <a16:creationId xmlns:a16="http://schemas.microsoft.com/office/drawing/2014/main" id="{CD7D2482-5A17-4926-B8BD-ADBBF239A402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2889" y="4122739"/>
              <a:ext cx="1146175" cy="981075"/>
            </a:xfrm>
            <a:custGeom>
              <a:avLst/>
              <a:gdLst>
                <a:gd name="T0" fmla="*/ 2147483647 w 1224"/>
                <a:gd name="T1" fmla="*/ 2147483647 h 1050"/>
                <a:gd name="T2" fmla="*/ 2147483647 w 1224"/>
                <a:gd name="T3" fmla="*/ 2147483647 h 1050"/>
                <a:gd name="T4" fmla="*/ 2147483647 w 1224"/>
                <a:gd name="T5" fmla="*/ 2147483647 h 1050"/>
                <a:gd name="T6" fmla="*/ 2147483647 w 1224"/>
                <a:gd name="T7" fmla="*/ 2147483647 h 1050"/>
                <a:gd name="T8" fmla="*/ 2147483647 w 1224"/>
                <a:gd name="T9" fmla="*/ 2147483647 h 1050"/>
                <a:gd name="T10" fmla="*/ 2147483647 w 1224"/>
                <a:gd name="T11" fmla="*/ 2147483647 h 1050"/>
                <a:gd name="T12" fmla="*/ 2147483647 w 1224"/>
                <a:gd name="T13" fmla="*/ 2147483647 h 1050"/>
                <a:gd name="T14" fmla="*/ 2147483647 w 1224"/>
                <a:gd name="T15" fmla="*/ 2147483647 h 1050"/>
                <a:gd name="T16" fmla="*/ 2147483647 w 1224"/>
                <a:gd name="T17" fmla="*/ 2147483647 h 1050"/>
                <a:gd name="T18" fmla="*/ 2147483647 w 1224"/>
                <a:gd name="T19" fmla="*/ 2147483647 h 1050"/>
                <a:gd name="T20" fmla="*/ 2147483647 w 1224"/>
                <a:gd name="T21" fmla="*/ 2147483647 h 1050"/>
                <a:gd name="T22" fmla="*/ 2147483647 w 1224"/>
                <a:gd name="T23" fmla="*/ 2147483647 h 1050"/>
                <a:gd name="T24" fmla="*/ 2147483647 w 1224"/>
                <a:gd name="T25" fmla="*/ 2147483647 h 1050"/>
                <a:gd name="T26" fmla="*/ 2147483647 w 1224"/>
                <a:gd name="T27" fmla="*/ 2147483647 h 1050"/>
                <a:gd name="T28" fmla="*/ 2147483647 w 1224"/>
                <a:gd name="T29" fmla="*/ 2147483647 h 1050"/>
                <a:gd name="T30" fmla="*/ 2147483647 w 1224"/>
                <a:gd name="T31" fmla="*/ 2147483647 h 1050"/>
                <a:gd name="T32" fmla="*/ 2147483647 w 1224"/>
                <a:gd name="T33" fmla="*/ 2147483647 h 1050"/>
                <a:gd name="T34" fmla="*/ 2147483647 w 1224"/>
                <a:gd name="T35" fmla="*/ 2147483647 h 1050"/>
                <a:gd name="T36" fmla="*/ 2147483647 w 1224"/>
                <a:gd name="T37" fmla="*/ 2147483647 h 1050"/>
                <a:gd name="T38" fmla="*/ 2147483647 w 1224"/>
                <a:gd name="T39" fmla="*/ 2147483647 h 1050"/>
                <a:gd name="T40" fmla="*/ 2147483647 w 1224"/>
                <a:gd name="T41" fmla="*/ 2147483647 h 1050"/>
                <a:gd name="T42" fmla="*/ 2147483647 w 1224"/>
                <a:gd name="T43" fmla="*/ 2147483647 h 1050"/>
                <a:gd name="T44" fmla="*/ 2147483647 w 1224"/>
                <a:gd name="T45" fmla="*/ 2147483647 h 1050"/>
                <a:gd name="T46" fmla="*/ 2147483647 w 1224"/>
                <a:gd name="T47" fmla="*/ 2147483647 h 1050"/>
                <a:gd name="T48" fmla="*/ 2147483647 w 1224"/>
                <a:gd name="T49" fmla="*/ 2147483647 h 1050"/>
                <a:gd name="T50" fmla="*/ 2147483647 w 1224"/>
                <a:gd name="T51" fmla="*/ 2147483647 h 1050"/>
                <a:gd name="T52" fmla="*/ 2147483647 w 1224"/>
                <a:gd name="T53" fmla="*/ 2147483647 h 1050"/>
                <a:gd name="T54" fmla="*/ 0 w 1224"/>
                <a:gd name="T55" fmla="*/ 2147483647 h 1050"/>
                <a:gd name="T56" fmla="*/ 2147483647 w 1224"/>
                <a:gd name="T57" fmla="*/ 2147483647 h 1050"/>
                <a:gd name="T58" fmla="*/ 2147483647 w 1224"/>
                <a:gd name="T59" fmla="*/ 2147483647 h 1050"/>
                <a:gd name="T60" fmla="*/ 2147483647 w 1224"/>
                <a:gd name="T61" fmla="*/ 2147483647 h 1050"/>
                <a:gd name="T62" fmla="*/ 2147483647 w 1224"/>
                <a:gd name="T63" fmla="*/ 2147483647 h 1050"/>
                <a:gd name="T64" fmla="*/ 2147483647 w 1224"/>
                <a:gd name="T65" fmla="*/ 2147483647 h 1050"/>
                <a:gd name="T66" fmla="*/ 2147483647 w 1224"/>
                <a:gd name="T67" fmla="*/ 2147483647 h 1050"/>
                <a:gd name="T68" fmla="*/ 2147483647 w 1224"/>
                <a:gd name="T69" fmla="*/ 2147483647 h 1050"/>
                <a:gd name="T70" fmla="*/ 2147483647 w 1224"/>
                <a:gd name="T71" fmla="*/ 2147483647 h 1050"/>
                <a:gd name="T72" fmla="*/ 2147483647 w 1224"/>
                <a:gd name="T73" fmla="*/ 2147483647 h 1050"/>
                <a:gd name="T74" fmla="*/ 2147483647 w 1224"/>
                <a:gd name="T75" fmla="*/ 2147483647 h 1050"/>
                <a:gd name="T76" fmla="*/ 2147483647 w 1224"/>
                <a:gd name="T77" fmla="*/ 2147483647 h 1050"/>
                <a:gd name="T78" fmla="*/ 2147483647 w 1224"/>
                <a:gd name="T79" fmla="*/ 2147483647 h 1050"/>
                <a:gd name="T80" fmla="*/ 2147483647 w 1224"/>
                <a:gd name="T81" fmla="*/ 2147483647 h 1050"/>
                <a:gd name="T82" fmla="*/ 2147483647 w 1224"/>
                <a:gd name="T83" fmla="*/ 2147483647 h 1050"/>
                <a:gd name="T84" fmla="*/ 2147483647 w 1224"/>
                <a:gd name="T85" fmla="*/ 2147483647 h 1050"/>
                <a:gd name="T86" fmla="*/ 2147483647 w 1224"/>
                <a:gd name="T87" fmla="*/ 2147483647 h 1050"/>
                <a:gd name="T88" fmla="*/ 2147483647 w 1224"/>
                <a:gd name="T89" fmla="*/ 2147483647 h 1050"/>
                <a:gd name="T90" fmla="*/ 2147483647 w 1224"/>
                <a:gd name="T91" fmla="*/ 2147483647 h 1050"/>
                <a:gd name="T92" fmla="*/ 2147483647 w 1224"/>
                <a:gd name="T93" fmla="*/ 2147483647 h 1050"/>
                <a:gd name="T94" fmla="*/ 2147483647 w 1224"/>
                <a:gd name="T95" fmla="*/ 2147483647 h 1050"/>
                <a:gd name="T96" fmla="*/ 2147483647 w 1224"/>
                <a:gd name="T97" fmla="*/ 2147483647 h 1050"/>
                <a:gd name="T98" fmla="*/ 2147483647 w 1224"/>
                <a:gd name="T99" fmla="*/ 2147483647 h 1050"/>
                <a:gd name="T100" fmla="*/ 2147483647 w 1224"/>
                <a:gd name="T101" fmla="*/ 2147483647 h 1050"/>
                <a:gd name="T102" fmla="*/ 2147483647 w 1224"/>
                <a:gd name="T103" fmla="*/ 2147483647 h 1050"/>
                <a:gd name="T104" fmla="*/ 2147483647 w 1224"/>
                <a:gd name="T105" fmla="*/ 2147483647 h 1050"/>
                <a:gd name="T106" fmla="*/ 2147483647 w 1224"/>
                <a:gd name="T107" fmla="*/ 2147483647 h 1050"/>
                <a:gd name="T108" fmla="*/ 2147483647 w 1224"/>
                <a:gd name="T109" fmla="*/ 2147483647 h 1050"/>
                <a:gd name="T110" fmla="*/ 2147483647 w 1224"/>
                <a:gd name="T111" fmla="*/ 2147483647 h 1050"/>
                <a:gd name="T112" fmla="*/ 2147483647 w 1224"/>
                <a:gd name="T113" fmla="*/ 2147483647 h 1050"/>
                <a:gd name="T114" fmla="*/ 2147483647 w 1224"/>
                <a:gd name="T115" fmla="*/ 2147483647 h 1050"/>
                <a:gd name="T116" fmla="*/ 2147483647 w 1224"/>
                <a:gd name="T117" fmla="*/ 2147483647 h 1050"/>
                <a:gd name="T118" fmla="*/ 2147483647 w 1224"/>
                <a:gd name="T119" fmla="*/ 2147483647 h 1050"/>
                <a:gd name="T120" fmla="*/ 2147483647 w 1224"/>
                <a:gd name="T121" fmla="*/ 2147483647 h 1050"/>
                <a:gd name="T122" fmla="*/ 2147483647 w 1224"/>
                <a:gd name="T123" fmla="*/ 2147483647 h 105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24"/>
                <a:gd name="T187" fmla="*/ 0 h 1050"/>
                <a:gd name="T188" fmla="*/ 1224 w 1224"/>
                <a:gd name="T189" fmla="*/ 1050 h 105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24" h="1050">
                  <a:moveTo>
                    <a:pt x="1128" y="1032"/>
                  </a:moveTo>
                  <a:lnTo>
                    <a:pt x="1122" y="1026"/>
                  </a:lnTo>
                  <a:lnTo>
                    <a:pt x="1116" y="1026"/>
                  </a:lnTo>
                  <a:lnTo>
                    <a:pt x="1110" y="1026"/>
                  </a:lnTo>
                  <a:lnTo>
                    <a:pt x="1104" y="1026"/>
                  </a:lnTo>
                  <a:lnTo>
                    <a:pt x="1104" y="1020"/>
                  </a:lnTo>
                  <a:lnTo>
                    <a:pt x="1098" y="1020"/>
                  </a:lnTo>
                  <a:lnTo>
                    <a:pt x="1092" y="1020"/>
                  </a:lnTo>
                  <a:lnTo>
                    <a:pt x="1086" y="1020"/>
                  </a:lnTo>
                  <a:lnTo>
                    <a:pt x="1080" y="1014"/>
                  </a:lnTo>
                  <a:lnTo>
                    <a:pt x="1068" y="1014"/>
                  </a:lnTo>
                  <a:lnTo>
                    <a:pt x="1062" y="1014"/>
                  </a:lnTo>
                  <a:lnTo>
                    <a:pt x="1062" y="1008"/>
                  </a:lnTo>
                  <a:lnTo>
                    <a:pt x="1062" y="990"/>
                  </a:lnTo>
                  <a:lnTo>
                    <a:pt x="1062" y="984"/>
                  </a:lnTo>
                  <a:lnTo>
                    <a:pt x="1062" y="972"/>
                  </a:lnTo>
                  <a:lnTo>
                    <a:pt x="1044" y="966"/>
                  </a:lnTo>
                  <a:lnTo>
                    <a:pt x="1026" y="966"/>
                  </a:lnTo>
                  <a:lnTo>
                    <a:pt x="1014" y="966"/>
                  </a:lnTo>
                  <a:lnTo>
                    <a:pt x="996" y="966"/>
                  </a:lnTo>
                  <a:lnTo>
                    <a:pt x="996" y="972"/>
                  </a:lnTo>
                  <a:lnTo>
                    <a:pt x="990" y="972"/>
                  </a:lnTo>
                  <a:lnTo>
                    <a:pt x="984" y="966"/>
                  </a:lnTo>
                  <a:lnTo>
                    <a:pt x="978" y="966"/>
                  </a:lnTo>
                  <a:lnTo>
                    <a:pt x="978" y="960"/>
                  </a:lnTo>
                  <a:lnTo>
                    <a:pt x="972" y="954"/>
                  </a:lnTo>
                  <a:lnTo>
                    <a:pt x="966" y="954"/>
                  </a:lnTo>
                  <a:lnTo>
                    <a:pt x="960" y="954"/>
                  </a:lnTo>
                  <a:lnTo>
                    <a:pt x="954" y="954"/>
                  </a:lnTo>
                  <a:lnTo>
                    <a:pt x="954" y="948"/>
                  </a:lnTo>
                  <a:lnTo>
                    <a:pt x="942" y="942"/>
                  </a:lnTo>
                  <a:lnTo>
                    <a:pt x="936" y="942"/>
                  </a:lnTo>
                  <a:lnTo>
                    <a:pt x="936" y="936"/>
                  </a:lnTo>
                  <a:lnTo>
                    <a:pt x="936" y="930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42" y="918"/>
                  </a:lnTo>
                  <a:lnTo>
                    <a:pt x="948" y="918"/>
                  </a:lnTo>
                  <a:lnTo>
                    <a:pt x="960" y="918"/>
                  </a:lnTo>
                  <a:lnTo>
                    <a:pt x="966" y="912"/>
                  </a:lnTo>
                  <a:lnTo>
                    <a:pt x="978" y="906"/>
                  </a:lnTo>
                  <a:lnTo>
                    <a:pt x="978" y="900"/>
                  </a:lnTo>
                  <a:lnTo>
                    <a:pt x="978" y="894"/>
                  </a:lnTo>
                  <a:lnTo>
                    <a:pt x="978" y="888"/>
                  </a:lnTo>
                  <a:lnTo>
                    <a:pt x="972" y="888"/>
                  </a:lnTo>
                  <a:lnTo>
                    <a:pt x="978" y="888"/>
                  </a:lnTo>
                  <a:lnTo>
                    <a:pt x="978" y="882"/>
                  </a:lnTo>
                  <a:lnTo>
                    <a:pt x="972" y="876"/>
                  </a:lnTo>
                  <a:lnTo>
                    <a:pt x="966" y="870"/>
                  </a:lnTo>
                  <a:lnTo>
                    <a:pt x="954" y="876"/>
                  </a:lnTo>
                  <a:lnTo>
                    <a:pt x="948" y="876"/>
                  </a:lnTo>
                  <a:lnTo>
                    <a:pt x="942" y="870"/>
                  </a:lnTo>
                  <a:lnTo>
                    <a:pt x="936" y="876"/>
                  </a:lnTo>
                  <a:lnTo>
                    <a:pt x="930" y="876"/>
                  </a:lnTo>
                  <a:lnTo>
                    <a:pt x="924" y="882"/>
                  </a:lnTo>
                  <a:lnTo>
                    <a:pt x="912" y="888"/>
                  </a:lnTo>
                  <a:lnTo>
                    <a:pt x="906" y="894"/>
                  </a:lnTo>
                  <a:lnTo>
                    <a:pt x="900" y="900"/>
                  </a:lnTo>
                  <a:lnTo>
                    <a:pt x="894" y="888"/>
                  </a:lnTo>
                  <a:lnTo>
                    <a:pt x="888" y="894"/>
                  </a:lnTo>
                  <a:lnTo>
                    <a:pt x="882" y="888"/>
                  </a:lnTo>
                  <a:lnTo>
                    <a:pt x="876" y="894"/>
                  </a:lnTo>
                  <a:lnTo>
                    <a:pt x="876" y="888"/>
                  </a:lnTo>
                  <a:lnTo>
                    <a:pt x="876" y="882"/>
                  </a:lnTo>
                  <a:lnTo>
                    <a:pt x="876" y="876"/>
                  </a:lnTo>
                  <a:lnTo>
                    <a:pt x="870" y="858"/>
                  </a:lnTo>
                  <a:lnTo>
                    <a:pt x="864" y="858"/>
                  </a:lnTo>
                  <a:lnTo>
                    <a:pt x="870" y="852"/>
                  </a:lnTo>
                  <a:lnTo>
                    <a:pt x="870" y="846"/>
                  </a:lnTo>
                  <a:lnTo>
                    <a:pt x="876" y="846"/>
                  </a:lnTo>
                  <a:lnTo>
                    <a:pt x="882" y="846"/>
                  </a:lnTo>
                  <a:lnTo>
                    <a:pt x="888" y="840"/>
                  </a:lnTo>
                  <a:lnTo>
                    <a:pt x="894" y="834"/>
                  </a:lnTo>
                  <a:lnTo>
                    <a:pt x="894" y="828"/>
                  </a:lnTo>
                  <a:lnTo>
                    <a:pt x="894" y="816"/>
                  </a:lnTo>
                  <a:lnTo>
                    <a:pt x="858" y="810"/>
                  </a:lnTo>
                  <a:lnTo>
                    <a:pt x="858" y="816"/>
                  </a:lnTo>
                  <a:lnTo>
                    <a:pt x="852" y="816"/>
                  </a:lnTo>
                  <a:lnTo>
                    <a:pt x="780" y="816"/>
                  </a:lnTo>
                  <a:lnTo>
                    <a:pt x="750" y="816"/>
                  </a:lnTo>
                  <a:lnTo>
                    <a:pt x="684" y="816"/>
                  </a:lnTo>
                  <a:lnTo>
                    <a:pt x="636" y="816"/>
                  </a:lnTo>
                  <a:lnTo>
                    <a:pt x="612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0" y="816"/>
                  </a:lnTo>
                  <a:lnTo>
                    <a:pt x="480" y="822"/>
                  </a:lnTo>
                  <a:lnTo>
                    <a:pt x="480" y="834"/>
                  </a:lnTo>
                  <a:lnTo>
                    <a:pt x="474" y="840"/>
                  </a:lnTo>
                  <a:lnTo>
                    <a:pt x="468" y="840"/>
                  </a:lnTo>
                  <a:lnTo>
                    <a:pt x="432" y="840"/>
                  </a:lnTo>
                  <a:lnTo>
                    <a:pt x="426" y="834"/>
                  </a:lnTo>
                  <a:lnTo>
                    <a:pt x="420" y="834"/>
                  </a:lnTo>
                  <a:lnTo>
                    <a:pt x="420" y="828"/>
                  </a:lnTo>
                  <a:lnTo>
                    <a:pt x="414" y="822"/>
                  </a:lnTo>
                  <a:lnTo>
                    <a:pt x="408" y="822"/>
                  </a:lnTo>
                  <a:lnTo>
                    <a:pt x="396" y="822"/>
                  </a:lnTo>
                  <a:lnTo>
                    <a:pt x="396" y="816"/>
                  </a:lnTo>
                  <a:lnTo>
                    <a:pt x="384" y="816"/>
                  </a:lnTo>
                  <a:lnTo>
                    <a:pt x="372" y="810"/>
                  </a:lnTo>
                  <a:lnTo>
                    <a:pt x="372" y="804"/>
                  </a:lnTo>
                  <a:lnTo>
                    <a:pt x="366" y="804"/>
                  </a:lnTo>
                  <a:lnTo>
                    <a:pt x="360" y="804"/>
                  </a:lnTo>
                  <a:lnTo>
                    <a:pt x="348" y="828"/>
                  </a:lnTo>
                  <a:lnTo>
                    <a:pt x="348" y="834"/>
                  </a:lnTo>
                  <a:lnTo>
                    <a:pt x="348" y="852"/>
                  </a:lnTo>
                  <a:lnTo>
                    <a:pt x="348" y="858"/>
                  </a:lnTo>
                  <a:lnTo>
                    <a:pt x="342" y="864"/>
                  </a:lnTo>
                  <a:lnTo>
                    <a:pt x="342" y="870"/>
                  </a:lnTo>
                  <a:lnTo>
                    <a:pt x="330" y="876"/>
                  </a:lnTo>
                  <a:lnTo>
                    <a:pt x="324" y="888"/>
                  </a:lnTo>
                  <a:lnTo>
                    <a:pt x="324" y="894"/>
                  </a:lnTo>
                  <a:lnTo>
                    <a:pt x="330" y="900"/>
                  </a:lnTo>
                  <a:lnTo>
                    <a:pt x="330" y="906"/>
                  </a:lnTo>
                  <a:lnTo>
                    <a:pt x="324" y="906"/>
                  </a:lnTo>
                  <a:lnTo>
                    <a:pt x="318" y="912"/>
                  </a:lnTo>
                  <a:lnTo>
                    <a:pt x="312" y="918"/>
                  </a:lnTo>
                  <a:lnTo>
                    <a:pt x="306" y="924"/>
                  </a:lnTo>
                  <a:lnTo>
                    <a:pt x="288" y="924"/>
                  </a:lnTo>
                  <a:lnTo>
                    <a:pt x="282" y="924"/>
                  </a:lnTo>
                  <a:lnTo>
                    <a:pt x="276" y="930"/>
                  </a:lnTo>
                  <a:lnTo>
                    <a:pt x="270" y="930"/>
                  </a:lnTo>
                  <a:lnTo>
                    <a:pt x="264" y="930"/>
                  </a:lnTo>
                  <a:lnTo>
                    <a:pt x="198" y="930"/>
                  </a:lnTo>
                  <a:lnTo>
                    <a:pt x="132" y="930"/>
                  </a:lnTo>
                  <a:lnTo>
                    <a:pt x="132" y="936"/>
                  </a:lnTo>
                  <a:lnTo>
                    <a:pt x="132" y="942"/>
                  </a:lnTo>
                  <a:lnTo>
                    <a:pt x="132" y="948"/>
                  </a:lnTo>
                  <a:lnTo>
                    <a:pt x="126" y="948"/>
                  </a:lnTo>
                  <a:lnTo>
                    <a:pt x="120" y="948"/>
                  </a:lnTo>
                  <a:lnTo>
                    <a:pt x="120" y="954"/>
                  </a:lnTo>
                  <a:lnTo>
                    <a:pt x="114" y="954"/>
                  </a:lnTo>
                  <a:lnTo>
                    <a:pt x="114" y="960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02" y="966"/>
                  </a:lnTo>
                  <a:lnTo>
                    <a:pt x="102" y="972"/>
                  </a:lnTo>
                  <a:lnTo>
                    <a:pt x="96" y="972"/>
                  </a:lnTo>
                  <a:lnTo>
                    <a:pt x="96" y="966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78" y="960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60"/>
                  </a:lnTo>
                  <a:lnTo>
                    <a:pt x="54" y="966"/>
                  </a:lnTo>
                  <a:lnTo>
                    <a:pt x="48" y="966"/>
                  </a:lnTo>
                  <a:lnTo>
                    <a:pt x="42" y="966"/>
                  </a:lnTo>
                  <a:lnTo>
                    <a:pt x="36" y="966"/>
                  </a:lnTo>
                  <a:lnTo>
                    <a:pt x="30" y="966"/>
                  </a:lnTo>
                  <a:lnTo>
                    <a:pt x="24" y="960"/>
                  </a:lnTo>
                  <a:lnTo>
                    <a:pt x="18" y="960"/>
                  </a:lnTo>
                  <a:lnTo>
                    <a:pt x="12" y="960"/>
                  </a:lnTo>
                  <a:lnTo>
                    <a:pt x="12" y="948"/>
                  </a:lnTo>
                  <a:lnTo>
                    <a:pt x="18" y="942"/>
                  </a:lnTo>
                  <a:lnTo>
                    <a:pt x="18" y="936"/>
                  </a:lnTo>
                  <a:lnTo>
                    <a:pt x="18" y="930"/>
                  </a:lnTo>
                  <a:lnTo>
                    <a:pt x="18" y="924"/>
                  </a:lnTo>
                  <a:lnTo>
                    <a:pt x="18" y="912"/>
                  </a:lnTo>
                  <a:lnTo>
                    <a:pt x="24" y="906"/>
                  </a:lnTo>
                  <a:lnTo>
                    <a:pt x="30" y="900"/>
                  </a:lnTo>
                  <a:lnTo>
                    <a:pt x="36" y="894"/>
                  </a:lnTo>
                  <a:lnTo>
                    <a:pt x="36" y="882"/>
                  </a:lnTo>
                  <a:lnTo>
                    <a:pt x="30" y="876"/>
                  </a:lnTo>
                  <a:lnTo>
                    <a:pt x="30" y="870"/>
                  </a:lnTo>
                  <a:lnTo>
                    <a:pt x="24" y="858"/>
                  </a:lnTo>
                  <a:lnTo>
                    <a:pt x="24" y="846"/>
                  </a:lnTo>
                  <a:lnTo>
                    <a:pt x="36" y="822"/>
                  </a:lnTo>
                  <a:lnTo>
                    <a:pt x="42" y="816"/>
                  </a:lnTo>
                  <a:lnTo>
                    <a:pt x="48" y="816"/>
                  </a:lnTo>
                  <a:lnTo>
                    <a:pt x="60" y="804"/>
                  </a:lnTo>
                  <a:lnTo>
                    <a:pt x="60" y="786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54" y="762"/>
                  </a:lnTo>
                  <a:lnTo>
                    <a:pt x="42" y="762"/>
                  </a:lnTo>
                  <a:lnTo>
                    <a:pt x="36" y="762"/>
                  </a:lnTo>
                  <a:lnTo>
                    <a:pt x="30" y="762"/>
                  </a:lnTo>
                  <a:lnTo>
                    <a:pt x="30" y="756"/>
                  </a:lnTo>
                  <a:lnTo>
                    <a:pt x="24" y="750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702"/>
                  </a:lnTo>
                  <a:lnTo>
                    <a:pt x="36" y="684"/>
                  </a:lnTo>
                  <a:lnTo>
                    <a:pt x="36" y="678"/>
                  </a:lnTo>
                  <a:lnTo>
                    <a:pt x="36" y="666"/>
                  </a:lnTo>
                  <a:lnTo>
                    <a:pt x="36" y="654"/>
                  </a:lnTo>
                  <a:lnTo>
                    <a:pt x="18" y="654"/>
                  </a:lnTo>
                  <a:lnTo>
                    <a:pt x="18" y="648"/>
                  </a:lnTo>
                  <a:lnTo>
                    <a:pt x="18" y="618"/>
                  </a:lnTo>
                  <a:lnTo>
                    <a:pt x="18" y="612"/>
                  </a:lnTo>
                  <a:lnTo>
                    <a:pt x="24" y="612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54" y="588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76"/>
                  </a:lnTo>
                  <a:lnTo>
                    <a:pt x="48" y="564"/>
                  </a:lnTo>
                  <a:lnTo>
                    <a:pt x="42" y="564"/>
                  </a:lnTo>
                  <a:lnTo>
                    <a:pt x="36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6" y="540"/>
                  </a:lnTo>
                  <a:lnTo>
                    <a:pt x="48" y="534"/>
                  </a:lnTo>
                  <a:lnTo>
                    <a:pt x="54" y="528"/>
                  </a:lnTo>
                  <a:lnTo>
                    <a:pt x="60" y="504"/>
                  </a:lnTo>
                  <a:lnTo>
                    <a:pt x="60" y="492"/>
                  </a:lnTo>
                  <a:lnTo>
                    <a:pt x="54" y="492"/>
                  </a:lnTo>
                  <a:lnTo>
                    <a:pt x="54" y="480"/>
                  </a:lnTo>
                  <a:lnTo>
                    <a:pt x="48" y="456"/>
                  </a:lnTo>
                  <a:lnTo>
                    <a:pt x="42" y="450"/>
                  </a:lnTo>
                  <a:lnTo>
                    <a:pt x="36" y="444"/>
                  </a:lnTo>
                  <a:lnTo>
                    <a:pt x="36" y="420"/>
                  </a:lnTo>
                  <a:lnTo>
                    <a:pt x="36" y="408"/>
                  </a:lnTo>
                  <a:lnTo>
                    <a:pt x="36" y="37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60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6" y="300"/>
                  </a:lnTo>
                  <a:lnTo>
                    <a:pt x="60" y="294"/>
                  </a:lnTo>
                  <a:lnTo>
                    <a:pt x="60" y="288"/>
                  </a:lnTo>
                  <a:lnTo>
                    <a:pt x="54" y="282"/>
                  </a:lnTo>
                  <a:lnTo>
                    <a:pt x="42" y="276"/>
                  </a:lnTo>
                  <a:lnTo>
                    <a:pt x="36" y="276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0" y="252"/>
                  </a:lnTo>
                  <a:lnTo>
                    <a:pt x="24" y="246"/>
                  </a:lnTo>
                  <a:lnTo>
                    <a:pt x="24" y="240"/>
                  </a:lnTo>
                  <a:lnTo>
                    <a:pt x="24" y="228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62"/>
                  </a:lnTo>
                  <a:lnTo>
                    <a:pt x="24" y="144"/>
                  </a:lnTo>
                  <a:lnTo>
                    <a:pt x="24" y="132"/>
                  </a:lnTo>
                  <a:lnTo>
                    <a:pt x="24" y="114"/>
                  </a:lnTo>
                  <a:lnTo>
                    <a:pt x="24" y="102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18" y="48"/>
                  </a:lnTo>
                  <a:lnTo>
                    <a:pt x="42" y="36"/>
                  </a:lnTo>
                  <a:lnTo>
                    <a:pt x="54" y="24"/>
                  </a:lnTo>
                  <a:lnTo>
                    <a:pt x="60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10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14" y="60"/>
                  </a:lnTo>
                  <a:lnTo>
                    <a:pt x="120" y="60"/>
                  </a:lnTo>
                  <a:lnTo>
                    <a:pt x="114" y="84"/>
                  </a:lnTo>
                  <a:lnTo>
                    <a:pt x="120" y="90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38" y="114"/>
                  </a:lnTo>
                  <a:lnTo>
                    <a:pt x="138" y="132"/>
                  </a:lnTo>
                  <a:lnTo>
                    <a:pt x="162" y="126"/>
                  </a:lnTo>
                  <a:lnTo>
                    <a:pt x="162" y="114"/>
                  </a:lnTo>
                  <a:lnTo>
                    <a:pt x="174" y="108"/>
                  </a:lnTo>
                  <a:lnTo>
                    <a:pt x="174" y="102"/>
                  </a:lnTo>
                  <a:lnTo>
                    <a:pt x="180" y="96"/>
                  </a:lnTo>
                  <a:lnTo>
                    <a:pt x="180" y="60"/>
                  </a:lnTo>
                  <a:lnTo>
                    <a:pt x="192" y="60"/>
                  </a:lnTo>
                  <a:lnTo>
                    <a:pt x="192" y="72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04" y="108"/>
                  </a:lnTo>
                  <a:lnTo>
                    <a:pt x="204" y="114"/>
                  </a:lnTo>
                  <a:lnTo>
                    <a:pt x="204" y="120"/>
                  </a:lnTo>
                  <a:lnTo>
                    <a:pt x="204" y="126"/>
                  </a:lnTo>
                  <a:lnTo>
                    <a:pt x="210" y="126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8" y="174"/>
                  </a:lnTo>
                  <a:lnTo>
                    <a:pt x="198" y="180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86" y="204"/>
                  </a:lnTo>
                  <a:lnTo>
                    <a:pt x="186" y="210"/>
                  </a:lnTo>
                  <a:lnTo>
                    <a:pt x="180" y="210"/>
                  </a:lnTo>
                  <a:lnTo>
                    <a:pt x="180" y="216"/>
                  </a:lnTo>
                  <a:lnTo>
                    <a:pt x="180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92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8" y="258"/>
                  </a:lnTo>
                  <a:lnTo>
                    <a:pt x="204" y="258"/>
                  </a:lnTo>
                  <a:lnTo>
                    <a:pt x="210" y="258"/>
                  </a:lnTo>
                  <a:lnTo>
                    <a:pt x="216" y="258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34" y="276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46" y="306"/>
                  </a:lnTo>
                  <a:lnTo>
                    <a:pt x="252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42"/>
                  </a:lnTo>
                  <a:lnTo>
                    <a:pt x="270" y="342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88" y="366"/>
                  </a:lnTo>
                  <a:lnTo>
                    <a:pt x="336" y="360"/>
                  </a:lnTo>
                  <a:lnTo>
                    <a:pt x="354" y="360"/>
                  </a:lnTo>
                  <a:lnTo>
                    <a:pt x="366" y="372"/>
                  </a:lnTo>
                  <a:lnTo>
                    <a:pt x="378" y="378"/>
                  </a:lnTo>
                  <a:lnTo>
                    <a:pt x="378" y="390"/>
                  </a:lnTo>
                  <a:lnTo>
                    <a:pt x="384" y="390"/>
                  </a:lnTo>
                  <a:lnTo>
                    <a:pt x="390" y="396"/>
                  </a:lnTo>
                  <a:lnTo>
                    <a:pt x="408" y="390"/>
                  </a:lnTo>
                  <a:lnTo>
                    <a:pt x="426" y="366"/>
                  </a:lnTo>
                  <a:lnTo>
                    <a:pt x="432" y="360"/>
                  </a:lnTo>
                  <a:lnTo>
                    <a:pt x="438" y="348"/>
                  </a:lnTo>
                  <a:lnTo>
                    <a:pt x="438" y="342"/>
                  </a:lnTo>
                  <a:lnTo>
                    <a:pt x="438" y="330"/>
                  </a:lnTo>
                  <a:lnTo>
                    <a:pt x="444" y="324"/>
                  </a:lnTo>
                  <a:lnTo>
                    <a:pt x="450" y="318"/>
                  </a:lnTo>
                  <a:lnTo>
                    <a:pt x="456" y="312"/>
                  </a:lnTo>
                  <a:lnTo>
                    <a:pt x="456" y="306"/>
                  </a:lnTo>
                  <a:lnTo>
                    <a:pt x="456" y="300"/>
                  </a:lnTo>
                  <a:lnTo>
                    <a:pt x="474" y="288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92" y="294"/>
                  </a:lnTo>
                  <a:lnTo>
                    <a:pt x="492" y="318"/>
                  </a:lnTo>
                  <a:lnTo>
                    <a:pt x="504" y="324"/>
                  </a:lnTo>
                  <a:lnTo>
                    <a:pt x="492" y="348"/>
                  </a:lnTo>
                  <a:lnTo>
                    <a:pt x="522" y="348"/>
                  </a:lnTo>
                  <a:lnTo>
                    <a:pt x="528" y="342"/>
                  </a:lnTo>
                  <a:lnTo>
                    <a:pt x="528" y="336"/>
                  </a:lnTo>
                  <a:lnTo>
                    <a:pt x="528" y="330"/>
                  </a:lnTo>
                  <a:lnTo>
                    <a:pt x="534" y="330"/>
                  </a:lnTo>
                  <a:lnTo>
                    <a:pt x="540" y="330"/>
                  </a:lnTo>
                  <a:lnTo>
                    <a:pt x="546" y="330"/>
                  </a:lnTo>
                  <a:lnTo>
                    <a:pt x="552" y="324"/>
                  </a:lnTo>
                  <a:lnTo>
                    <a:pt x="558" y="318"/>
                  </a:lnTo>
                  <a:lnTo>
                    <a:pt x="576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8" y="348"/>
                  </a:lnTo>
                  <a:lnTo>
                    <a:pt x="654" y="354"/>
                  </a:lnTo>
                  <a:lnTo>
                    <a:pt x="648" y="402"/>
                  </a:lnTo>
                  <a:lnTo>
                    <a:pt x="678" y="402"/>
                  </a:lnTo>
                  <a:lnTo>
                    <a:pt x="678" y="420"/>
                  </a:lnTo>
                  <a:lnTo>
                    <a:pt x="684" y="438"/>
                  </a:lnTo>
                  <a:lnTo>
                    <a:pt x="684" y="450"/>
                  </a:lnTo>
                  <a:lnTo>
                    <a:pt x="684" y="456"/>
                  </a:lnTo>
                  <a:lnTo>
                    <a:pt x="690" y="468"/>
                  </a:lnTo>
                  <a:lnTo>
                    <a:pt x="690" y="474"/>
                  </a:lnTo>
                  <a:lnTo>
                    <a:pt x="690" y="480"/>
                  </a:lnTo>
                  <a:lnTo>
                    <a:pt x="696" y="486"/>
                  </a:lnTo>
                  <a:lnTo>
                    <a:pt x="696" y="498"/>
                  </a:lnTo>
                  <a:lnTo>
                    <a:pt x="702" y="504"/>
                  </a:lnTo>
                  <a:lnTo>
                    <a:pt x="690" y="516"/>
                  </a:lnTo>
                  <a:lnTo>
                    <a:pt x="678" y="522"/>
                  </a:lnTo>
                  <a:lnTo>
                    <a:pt x="654" y="528"/>
                  </a:lnTo>
                  <a:lnTo>
                    <a:pt x="660" y="546"/>
                  </a:lnTo>
                  <a:lnTo>
                    <a:pt x="672" y="546"/>
                  </a:lnTo>
                  <a:lnTo>
                    <a:pt x="678" y="540"/>
                  </a:lnTo>
                  <a:lnTo>
                    <a:pt x="714" y="540"/>
                  </a:lnTo>
                  <a:lnTo>
                    <a:pt x="798" y="540"/>
                  </a:lnTo>
                  <a:lnTo>
                    <a:pt x="804" y="540"/>
                  </a:lnTo>
                  <a:lnTo>
                    <a:pt x="816" y="528"/>
                  </a:lnTo>
                  <a:lnTo>
                    <a:pt x="822" y="522"/>
                  </a:lnTo>
                  <a:lnTo>
                    <a:pt x="834" y="516"/>
                  </a:lnTo>
                  <a:lnTo>
                    <a:pt x="846" y="516"/>
                  </a:lnTo>
                  <a:lnTo>
                    <a:pt x="852" y="510"/>
                  </a:lnTo>
                  <a:lnTo>
                    <a:pt x="858" y="510"/>
                  </a:lnTo>
                  <a:lnTo>
                    <a:pt x="882" y="516"/>
                  </a:lnTo>
                  <a:lnTo>
                    <a:pt x="888" y="516"/>
                  </a:lnTo>
                  <a:lnTo>
                    <a:pt x="888" y="510"/>
                  </a:lnTo>
                  <a:lnTo>
                    <a:pt x="894" y="510"/>
                  </a:lnTo>
                  <a:lnTo>
                    <a:pt x="906" y="504"/>
                  </a:lnTo>
                  <a:lnTo>
                    <a:pt x="918" y="498"/>
                  </a:lnTo>
                  <a:lnTo>
                    <a:pt x="930" y="492"/>
                  </a:lnTo>
                  <a:lnTo>
                    <a:pt x="936" y="492"/>
                  </a:lnTo>
                  <a:lnTo>
                    <a:pt x="948" y="492"/>
                  </a:lnTo>
                  <a:lnTo>
                    <a:pt x="954" y="528"/>
                  </a:lnTo>
                  <a:lnTo>
                    <a:pt x="954" y="564"/>
                  </a:lnTo>
                  <a:lnTo>
                    <a:pt x="972" y="564"/>
                  </a:lnTo>
                  <a:lnTo>
                    <a:pt x="978" y="558"/>
                  </a:lnTo>
                  <a:lnTo>
                    <a:pt x="990" y="552"/>
                  </a:lnTo>
                  <a:lnTo>
                    <a:pt x="1002" y="540"/>
                  </a:lnTo>
                  <a:lnTo>
                    <a:pt x="1026" y="534"/>
                  </a:lnTo>
                  <a:lnTo>
                    <a:pt x="1032" y="540"/>
                  </a:lnTo>
                  <a:lnTo>
                    <a:pt x="1044" y="546"/>
                  </a:lnTo>
                  <a:lnTo>
                    <a:pt x="1062" y="552"/>
                  </a:lnTo>
                  <a:lnTo>
                    <a:pt x="1068" y="552"/>
                  </a:lnTo>
                  <a:lnTo>
                    <a:pt x="1068" y="570"/>
                  </a:lnTo>
                  <a:lnTo>
                    <a:pt x="1068" y="576"/>
                  </a:lnTo>
                  <a:lnTo>
                    <a:pt x="1068" y="582"/>
                  </a:lnTo>
                  <a:lnTo>
                    <a:pt x="1068" y="588"/>
                  </a:lnTo>
                  <a:lnTo>
                    <a:pt x="1068" y="594"/>
                  </a:lnTo>
                  <a:lnTo>
                    <a:pt x="1080" y="600"/>
                  </a:lnTo>
                  <a:lnTo>
                    <a:pt x="1086" y="606"/>
                  </a:lnTo>
                  <a:lnTo>
                    <a:pt x="1092" y="594"/>
                  </a:lnTo>
                  <a:lnTo>
                    <a:pt x="1104" y="588"/>
                  </a:lnTo>
                  <a:lnTo>
                    <a:pt x="1116" y="588"/>
                  </a:lnTo>
                  <a:lnTo>
                    <a:pt x="1122" y="588"/>
                  </a:lnTo>
                  <a:lnTo>
                    <a:pt x="1122" y="594"/>
                  </a:lnTo>
                  <a:lnTo>
                    <a:pt x="1128" y="594"/>
                  </a:lnTo>
                  <a:lnTo>
                    <a:pt x="1134" y="594"/>
                  </a:lnTo>
                  <a:lnTo>
                    <a:pt x="1140" y="594"/>
                  </a:lnTo>
                  <a:lnTo>
                    <a:pt x="1146" y="588"/>
                  </a:lnTo>
                  <a:lnTo>
                    <a:pt x="1158" y="582"/>
                  </a:lnTo>
                  <a:lnTo>
                    <a:pt x="1164" y="576"/>
                  </a:lnTo>
                  <a:lnTo>
                    <a:pt x="1176" y="576"/>
                  </a:lnTo>
                  <a:lnTo>
                    <a:pt x="1194" y="576"/>
                  </a:lnTo>
                  <a:lnTo>
                    <a:pt x="1218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24" y="594"/>
                  </a:lnTo>
                  <a:lnTo>
                    <a:pt x="1212" y="600"/>
                  </a:lnTo>
                  <a:lnTo>
                    <a:pt x="1206" y="606"/>
                  </a:lnTo>
                  <a:lnTo>
                    <a:pt x="1200" y="606"/>
                  </a:lnTo>
                  <a:lnTo>
                    <a:pt x="1200" y="612"/>
                  </a:lnTo>
                  <a:lnTo>
                    <a:pt x="1194" y="612"/>
                  </a:lnTo>
                  <a:lnTo>
                    <a:pt x="1194" y="618"/>
                  </a:lnTo>
                  <a:lnTo>
                    <a:pt x="1194" y="624"/>
                  </a:lnTo>
                  <a:lnTo>
                    <a:pt x="1194" y="630"/>
                  </a:lnTo>
                  <a:lnTo>
                    <a:pt x="1194" y="648"/>
                  </a:lnTo>
                  <a:lnTo>
                    <a:pt x="1194" y="660"/>
                  </a:lnTo>
                  <a:lnTo>
                    <a:pt x="1194" y="666"/>
                  </a:lnTo>
                  <a:lnTo>
                    <a:pt x="1194" y="672"/>
                  </a:lnTo>
                  <a:lnTo>
                    <a:pt x="1194" y="678"/>
                  </a:lnTo>
                  <a:lnTo>
                    <a:pt x="1188" y="684"/>
                  </a:lnTo>
                  <a:lnTo>
                    <a:pt x="1188" y="690"/>
                  </a:lnTo>
                  <a:lnTo>
                    <a:pt x="1188" y="696"/>
                  </a:lnTo>
                  <a:lnTo>
                    <a:pt x="1188" y="702"/>
                  </a:lnTo>
                  <a:lnTo>
                    <a:pt x="1188" y="708"/>
                  </a:lnTo>
                  <a:lnTo>
                    <a:pt x="1188" y="714"/>
                  </a:lnTo>
                  <a:lnTo>
                    <a:pt x="1182" y="720"/>
                  </a:lnTo>
                  <a:lnTo>
                    <a:pt x="1170" y="720"/>
                  </a:lnTo>
                  <a:lnTo>
                    <a:pt x="1158" y="726"/>
                  </a:lnTo>
                  <a:lnTo>
                    <a:pt x="1152" y="726"/>
                  </a:lnTo>
                  <a:lnTo>
                    <a:pt x="1152" y="732"/>
                  </a:lnTo>
                  <a:lnTo>
                    <a:pt x="1146" y="738"/>
                  </a:lnTo>
                  <a:lnTo>
                    <a:pt x="1140" y="738"/>
                  </a:lnTo>
                  <a:lnTo>
                    <a:pt x="1140" y="744"/>
                  </a:lnTo>
                  <a:lnTo>
                    <a:pt x="1134" y="744"/>
                  </a:lnTo>
                  <a:lnTo>
                    <a:pt x="1128" y="744"/>
                  </a:lnTo>
                  <a:lnTo>
                    <a:pt x="1122" y="750"/>
                  </a:lnTo>
                  <a:lnTo>
                    <a:pt x="1128" y="750"/>
                  </a:lnTo>
                  <a:lnTo>
                    <a:pt x="1122" y="756"/>
                  </a:lnTo>
                  <a:lnTo>
                    <a:pt x="1116" y="756"/>
                  </a:lnTo>
                  <a:lnTo>
                    <a:pt x="1110" y="762"/>
                  </a:lnTo>
                  <a:lnTo>
                    <a:pt x="1104" y="762"/>
                  </a:lnTo>
                  <a:lnTo>
                    <a:pt x="1104" y="768"/>
                  </a:lnTo>
                  <a:lnTo>
                    <a:pt x="1098" y="768"/>
                  </a:lnTo>
                  <a:lnTo>
                    <a:pt x="1098" y="774"/>
                  </a:lnTo>
                  <a:lnTo>
                    <a:pt x="1092" y="774"/>
                  </a:lnTo>
                  <a:lnTo>
                    <a:pt x="1092" y="780"/>
                  </a:lnTo>
                  <a:lnTo>
                    <a:pt x="1086" y="780"/>
                  </a:lnTo>
                  <a:lnTo>
                    <a:pt x="1086" y="786"/>
                  </a:lnTo>
                  <a:lnTo>
                    <a:pt x="1080" y="786"/>
                  </a:lnTo>
                  <a:lnTo>
                    <a:pt x="1080" y="792"/>
                  </a:lnTo>
                  <a:lnTo>
                    <a:pt x="1080" y="798"/>
                  </a:lnTo>
                  <a:lnTo>
                    <a:pt x="1080" y="804"/>
                  </a:lnTo>
                  <a:lnTo>
                    <a:pt x="1086" y="810"/>
                  </a:lnTo>
                  <a:lnTo>
                    <a:pt x="1080" y="816"/>
                  </a:lnTo>
                  <a:lnTo>
                    <a:pt x="1080" y="822"/>
                  </a:lnTo>
                  <a:lnTo>
                    <a:pt x="1074" y="822"/>
                  </a:lnTo>
                  <a:lnTo>
                    <a:pt x="1068" y="828"/>
                  </a:lnTo>
                  <a:lnTo>
                    <a:pt x="1074" y="828"/>
                  </a:lnTo>
                  <a:lnTo>
                    <a:pt x="1074" y="834"/>
                  </a:lnTo>
                  <a:lnTo>
                    <a:pt x="1080" y="846"/>
                  </a:lnTo>
                  <a:lnTo>
                    <a:pt x="1086" y="846"/>
                  </a:lnTo>
                  <a:lnTo>
                    <a:pt x="1092" y="852"/>
                  </a:lnTo>
                  <a:lnTo>
                    <a:pt x="1092" y="858"/>
                  </a:lnTo>
                  <a:lnTo>
                    <a:pt x="1098" y="858"/>
                  </a:lnTo>
                  <a:lnTo>
                    <a:pt x="1110" y="864"/>
                  </a:lnTo>
                  <a:lnTo>
                    <a:pt x="1116" y="864"/>
                  </a:lnTo>
                  <a:lnTo>
                    <a:pt x="1122" y="864"/>
                  </a:lnTo>
                  <a:lnTo>
                    <a:pt x="1128" y="864"/>
                  </a:lnTo>
                  <a:lnTo>
                    <a:pt x="1134" y="876"/>
                  </a:lnTo>
                  <a:lnTo>
                    <a:pt x="1140" y="882"/>
                  </a:lnTo>
                  <a:lnTo>
                    <a:pt x="1140" y="888"/>
                  </a:lnTo>
                  <a:lnTo>
                    <a:pt x="1152" y="918"/>
                  </a:lnTo>
                  <a:lnTo>
                    <a:pt x="1158" y="894"/>
                  </a:lnTo>
                  <a:lnTo>
                    <a:pt x="1164" y="888"/>
                  </a:lnTo>
                  <a:lnTo>
                    <a:pt x="1164" y="882"/>
                  </a:lnTo>
                  <a:lnTo>
                    <a:pt x="1176" y="864"/>
                  </a:lnTo>
                  <a:lnTo>
                    <a:pt x="1182" y="858"/>
                  </a:lnTo>
                  <a:lnTo>
                    <a:pt x="1188" y="846"/>
                  </a:lnTo>
                  <a:lnTo>
                    <a:pt x="1200" y="840"/>
                  </a:lnTo>
                  <a:lnTo>
                    <a:pt x="1212" y="840"/>
                  </a:lnTo>
                  <a:lnTo>
                    <a:pt x="1218" y="846"/>
                  </a:lnTo>
                  <a:lnTo>
                    <a:pt x="1224" y="858"/>
                  </a:lnTo>
                  <a:lnTo>
                    <a:pt x="1224" y="864"/>
                  </a:lnTo>
                  <a:lnTo>
                    <a:pt x="1224" y="876"/>
                  </a:lnTo>
                  <a:lnTo>
                    <a:pt x="1212" y="912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00" y="930"/>
                  </a:lnTo>
                  <a:lnTo>
                    <a:pt x="1200" y="942"/>
                  </a:lnTo>
                  <a:lnTo>
                    <a:pt x="1194" y="948"/>
                  </a:lnTo>
                  <a:lnTo>
                    <a:pt x="1194" y="960"/>
                  </a:lnTo>
                  <a:lnTo>
                    <a:pt x="1194" y="966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70" y="984"/>
                  </a:lnTo>
                  <a:lnTo>
                    <a:pt x="1164" y="984"/>
                  </a:lnTo>
                  <a:lnTo>
                    <a:pt x="1158" y="984"/>
                  </a:lnTo>
                  <a:lnTo>
                    <a:pt x="1146" y="984"/>
                  </a:lnTo>
                  <a:lnTo>
                    <a:pt x="1140" y="990"/>
                  </a:lnTo>
                  <a:lnTo>
                    <a:pt x="1140" y="996"/>
                  </a:lnTo>
                  <a:lnTo>
                    <a:pt x="1152" y="996"/>
                  </a:lnTo>
                  <a:lnTo>
                    <a:pt x="1176" y="1002"/>
                  </a:lnTo>
                  <a:lnTo>
                    <a:pt x="1194" y="1008"/>
                  </a:lnTo>
                  <a:lnTo>
                    <a:pt x="1206" y="1008"/>
                  </a:lnTo>
                  <a:lnTo>
                    <a:pt x="1218" y="1014"/>
                  </a:lnTo>
                  <a:lnTo>
                    <a:pt x="1212" y="1038"/>
                  </a:lnTo>
                  <a:lnTo>
                    <a:pt x="1212" y="1044"/>
                  </a:lnTo>
                  <a:lnTo>
                    <a:pt x="1206" y="1044"/>
                  </a:lnTo>
                  <a:lnTo>
                    <a:pt x="1206" y="1050"/>
                  </a:lnTo>
                  <a:lnTo>
                    <a:pt x="1194" y="1050"/>
                  </a:lnTo>
                  <a:lnTo>
                    <a:pt x="1188" y="1044"/>
                  </a:lnTo>
                  <a:lnTo>
                    <a:pt x="1158" y="1020"/>
                  </a:lnTo>
                  <a:lnTo>
                    <a:pt x="1152" y="1020"/>
                  </a:lnTo>
                  <a:lnTo>
                    <a:pt x="1140" y="1020"/>
                  </a:lnTo>
                  <a:lnTo>
                    <a:pt x="1134" y="1020"/>
                  </a:lnTo>
                  <a:lnTo>
                    <a:pt x="1134" y="1026"/>
                  </a:lnTo>
                  <a:lnTo>
                    <a:pt x="1134" y="1032"/>
                  </a:lnTo>
                  <a:lnTo>
                    <a:pt x="1128" y="103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27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114" name="Freeform 28">
              <a:extLst>
                <a:ext uri="{FF2B5EF4-FFF2-40B4-BE49-F238E27FC236}">
                  <a16:creationId xmlns:a16="http://schemas.microsoft.com/office/drawing/2014/main" id="{189656FD-86EC-4FE0-B875-E4A98FF1A1CF}"/>
                </a:ext>
              </a:extLst>
            </p:cNvPr>
            <p:cNvSpPr>
              <a:spLocks/>
            </p:cNvSpPr>
            <p:nvPr/>
          </p:nvSpPr>
          <p:spPr bwMode="gray">
            <a:xfrm>
              <a:off x="2327276" y="4025900"/>
              <a:ext cx="601663" cy="661988"/>
            </a:xfrm>
            <a:custGeom>
              <a:avLst/>
              <a:gdLst>
                <a:gd name="T0" fmla="*/ 2147483647 w 642"/>
                <a:gd name="T1" fmla="*/ 2147483647 h 708"/>
                <a:gd name="T2" fmla="*/ 2147483647 w 642"/>
                <a:gd name="T3" fmla="*/ 2147483647 h 708"/>
                <a:gd name="T4" fmla="*/ 2147483647 w 642"/>
                <a:gd name="T5" fmla="*/ 2147483647 h 708"/>
                <a:gd name="T6" fmla="*/ 2147483647 w 642"/>
                <a:gd name="T7" fmla="*/ 2147483647 h 708"/>
                <a:gd name="T8" fmla="*/ 2147483647 w 642"/>
                <a:gd name="T9" fmla="*/ 2147483647 h 708"/>
                <a:gd name="T10" fmla="*/ 2147483647 w 642"/>
                <a:gd name="T11" fmla="*/ 2147483647 h 708"/>
                <a:gd name="T12" fmla="*/ 2147483647 w 642"/>
                <a:gd name="T13" fmla="*/ 2147483647 h 708"/>
                <a:gd name="T14" fmla="*/ 2147483647 w 642"/>
                <a:gd name="T15" fmla="*/ 2147483647 h 708"/>
                <a:gd name="T16" fmla="*/ 2147483647 w 642"/>
                <a:gd name="T17" fmla="*/ 2147483647 h 708"/>
                <a:gd name="T18" fmla="*/ 2147483647 w 642"/>
                <a:gd name="T19" fmla="*/ 2147483647 h 708"/>
                <a:gd name="T20" fmla="*/ 2147483647 w 642"/>
                <a:gd name="T21" fmla="*/ 2147483647 h 708"/>
                <a:gd name="T22" fmla="*/ 2147483647 w 642"/>
                <a:gd name="T23" fmla="*/ 2147483647 h 708"/>
                <a:gd name="T24" fmla="*/ 2147483647 w 642"/>
                <a:gd name="T25" fmla="*/ 2147483647 h 708"/>
                <a:gd name="T26" fmla="*/ 2147483647 w 642"/>
                <a:gd name="T27" fmla="*/ 2147483647 h 708"/>
                <a:gd name="T28" fmla="*/ 2147483647 w 642"/>
                <a:gd name="T29" fmla="*/ 2147483647 h 708"/>
                <a:gd name="T30" fmla="*/ 2147483647 w 642"/>
                <a:gd name="T31" fmla="*/ 2147483647 h 708"/>
                <a:gd name="T32" fmla="*/ 2147483647 w 642"/>
                <a:gd name="T33" fmla="*/ 2147483647 h 708"/>
                <a:gd name="T34" fmla="*/ 2147483647 w 642"/>
                <a:gd name="T35" fmla="*/ 2147483647 h 708"/>
                <a:gd name="T36" fmla="*/ 2147483647 w 642"/>
                <a:gd name="T37" fmla="*/ 2147483647 h 708"/>
                <a:gd name="T38" fmla="*/ 2147483647 w 642"/>
                <a:gd name="T39" fmla="*/ 2147483647 h 708"/>
                <a:gd name="T40" fmla="*/ 2147483647 w 642"/>
                <a:gd name="T41" fmla="*/ 2147483647 h 708"/>
                <a:gd name="T42" fmla="*/ 2147483647 w 642"/>
                <a:gd name="T43" fmla="*/ 2147483647 h 708"/>
                <a:gd name="T44" fmla="*/ 2147483647 w 642"/>
                <a:gd name="T45" fmla="*/ 2147483647 h 708"/>
                <a:gd name="T46" fmla="*/ 2147483647 w 642"/>
                <a:gd name="T47" fmla="*/ 2147483647 h 708"/>
                <a:gd name="T48" fmla="*/ 2147483647 w 642"/>
                <a:gd name="T49" fmla="*/ 2147483647 h 708"/>
                <a:gd name="T50" fmla="*/ 2147483647 w 642"/>
                <a:gd name="T51" fmla="*/ 2147483647 h 708"/>
                <a:gd name="T52" fmla="*/ 2147483647 w 642"/>
                <a:gd name="T53" fmla="*/ 2147483647 h 708"/>
                <a:gd name="T54" fmla="*/ 2147483647 w 642"/>
                <a:gd name="T55" fmla="*/ 2147483647 h 708"/>
                <a:gd name="T56" fmla="*/ 2147483647 w 642"/>
                <a:gd name="T57" fmla="*/ 2147483647 h 708"/>
                <a:gd name="T58" fmla="*/ 2147483647 w 642"/>
                <a:gd name="T59" fmla="*/ 2147483647 h 708"/>
                <a:gd name="T60" fmla="*/ 2147483647 w 642"/>
                <a:gd name="T61" fmla="*/ 2147483647 h 708"/>
                <a:gd name="T62" fmla="*/ 2147483647 w 642"/>
                <a:gd name="T63" fmla="*/ 2147483647 h 708"/>
                <a:gd name="T64" fmla="*/ 2147483647 w 642"/>
                <a:gd name="T65" fmla="*/ 2147483647 h 708"/>
                <a:gd name="T66" fmla="*/ 2147483647 w 642"/>
                <a:gd name="T67" fmla="*/ 2147483647 h 708"/>
                <a:gd name="T68" fmla="*/ 2147483647 w 642"/>
                <a:gd name="T69" fmla="*/ 2147483647 h 708"/>
                <a:gd name="T70" fmla="*/ 2147483647 w 642"/>
                <a:gd name="T71" fmla="*/ 2147483647 h 708"/>
                <a:gd name="T72" fmla="*/ 2147483647 w 642"/>
                <a:gd name="T73" fmla="*/ 2147483647 h 708"/>
                <a:gd name="T74" fmla="*/ 2147483647 w 642"/>
                <a:gd name="T75" fmla="*/ 2147483647 h 708"/>
                <a:gd name="T76" fmla="*/ 2147483647 w 642"/>
                <a:gd name="T77" fmla="*/ 2147483647 h 708"/>
                <a:gd name="T78" fmla="*/ 2147483647 w 642"/>
                <a:gd name="T79" fmla="*/ 2147483647 h 708"/>
                <a:gd name="T80" fmla="*/ 2147483647 w 642"/>
                <a:gd name="T81" fmla="*/ 2147483647 h 708"/>
                <a:gd name="T82" fmla="*/ 2147483647 w 642"/>
                <a:gd name="T83" fmla="*/ 2147483647 h 708"/>
                <a:gd name="T84" fmla="*/ 2147483647 w 642"/>
                <a:gd name="T85" fmla="*/ 2147483647 h 708"/>
                <a:gd name="T86" fmla="*/ 2147483647 w 642"/>
                <a:gd name="T87" fmla="*/ 2147483647 h 708"/>
                <a:gd name="T88" fmla="*/ 2147483647 w 642"/>
                <a:gd name="T89" fmla="*/ 2147483647 h 708"/>
                <a:gd name="T90" fmla="*/ 2147483647 w 642"/>
                <a:gd name="T91" fmla="*/ 2147483647 h 708"/>
                <a:gd name="T92" fmla="*/ 2147483647 w 642"/>
                <a:gd name="T93" fmla="*/ 2147483647 h 708"/>
                <a:gd name="T94" fmla="*/ 2147483647 w 642"/>
                <a:gd name="T95" fmla="*/ 2147483647 h 708"/>
                <a:gd name="T96" fmla="*/ 2147483647 w 642"/>
                <a:gd name="T97" fmla="*/ 2147483647 h 708"/>
                <a:gd name="T98" fmla="*/ 2147483647 w 642"/>
                <a:gd name="T99" fmla="*/ 2147483647 h 708"/>
                <a:gd name="T100" fmla="*/ 2147483647 w 642"/>
                <a:gd name="T101" fmla="*/ 2147483647 h 708"/>
                <a:gd name="T102" fmla="*/ 2147483647 w 642"/>
                <a:gd name="T103" fmla="*/ 2147483647 h 70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42"/>
                <a:gd name="T157" fmla="*/ 0 h 708"/>
                <a:gd name="T158" fmla="*/ 642 w 642"/>
                <a:gd name="T159" fmla="*/ 708 h 70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42" h="708">
                  <a:moveTo>
                    <a:pt x="576" y="468"/>
                  </a:moveTo>
                  <a:lnTo>
                    <a:pt x="564" y="468"/>
                  </a:lnTo>
                  <a:lnTo>
                    <a:pt x="516" y="468"/>
                  </a:lnTo>
                  <a:lnTo>
                    <a:pt x="498" y="474"/>
                  </a:lnTo>
                  <a:lnTo>
                    <a:pt x="492" y="468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68" y="474"/>
                  </a:lnTo>
                  <a:lnTo>
                    <a:pt x="456" y="468"/>
                  </a:lnTo>
                  <a:lnTo>
                    <a:pt x="444" y="474"/>
                  </a:lnTo>
                  <a:lnTo>
                    <a:pt x="438" y="492"/>
                  </a:lnTo>
                  <a:lnTo>
                    <a:pt x="438" y="504"/>
                  </a:lnTo>
                  <a:lnTo>
                    <a:pt x="432" y="516"/>
                  </a:lnTo>
                  <a:lnTo>
                    <a:pt x="432" y="528"/>
                  </a:lnTo>
                  <a:lnTo>
                    <a:pt x="432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52"/>
                  </a:lnTo>
                  <a:lnTo>
                    <a:pt x="432" y="558"/>
                  </a:lnTo>
                  <a:lnTo>
                    <a:pt x="438" y="564"/>
                  </a:lnTo>
                  <a:lnTo>
                    <a:pt x="444" y="564"/>
                  </a:lnTo>
                  <a:lnTo>
                    <a:pt x="438" y="564"/>
                  </a:lnTo>
                  <a:lnTo>
                    <a:pt x="438" y="570"/>
                  </a:lnTo>
                  <a:lnTo>
                    <a:pt x="432" y="570"/>
                  </a:lnTo>
                  <a:lnTo>
                    <a:pt x="432" y="576"/>
                  </a:lnTo>
                  <a:lnTo>
                    <a:pt x="426" y="588"/>
                  </a:lnTo>
                  <a:lnTo>
                    <a:pt x="420" y="594"/>
                  </a:lnTo>
                  <a:lnTo>
                    <a:pt x="420" y="600"/>
                  </a:lnTo>
                  <a:lnTo>
                    <a:pt x="414" y="600"/>
                  </a:lnTo>
                  <a:lnTo>
                    <a:pt x="414" y="606"/>
                  </a:lnTo>
                  <a:lnTo>
                    <a:pt x="408" y="606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396" y="612"/>
                  </a:lnTo>
                  <a:lnTo>
                    <a:pt x="390" y="612"/>
                  </a:lnTo>
                  <a:lnTo>
                    <a:pt x="390" y="618"/>
                  </a:lnTo>
                  <a:lnTo>
                    <a:pt x="384" y="618"/>
                  </a:lnTo>
                  <a:lnTo>
                    <a:pt x="378" y="618"/>
                  </a:lnTo>
                  <a:lnTo>
                    <a:pt x="378" y="624"/>
                  </a:lnTo>
                  <a:lnTo>
                    <a:pt x="384" y="630"/>
                  </a:lnTo>
                  <a:lnTo>
                    <a:pt x="384" y="636"/>
                  </a:lnTo>
                  <a:lnTo>
                    <a:pt x="378" y="630"/>
                  </a:lnTo>
                  <a:lnTo>
                    <a:pt x="372" y="636"/>
                  </a:lnTo>
                  <a:lnTo>
                    <a:pt x="372" y="642"/>
                  </a:lnTo>
                  <a:lnTo>
                    <a:pt x="366" y="642"/>
                  </a:lnTo>
                  <a:lnTo>
                    <a:pt x="360" y="654"/>
                  </a:lnTo>
                  <a:lnTo>
                    <a:pt x="354" y="666"/>
                  </a:lnTo>
                  <a:lnTo>
                    <a:pt x="354" y="672"/>
                  </a:lnTo>
                  <a:lnTo>
                    <a:pt x="354" y="678"/>
                  </a:lnTo>
                  <a:lnTo>
                    <a:pt x="354" y="684"/>
                  </a:lnTo>
                  <a:lnTo>
                    <a:pt x="348" y="678"/>
                  </a:lnTo>
                  <a:lnTo>
                    <a:pt x="324" y="678"/>
                  </a:lnTo>
                  <a:lnTo>
                    <a:pt x="306" y="678"/>
                  </a:lnTo>
                  <a:lnTo>
                    <a:pt x="294" y="678"/>
                  </a:lnTo>
                  <a:lnTo>
                    <a:pt x="288" y="684"/>
                  </a:lnTo>
                  <a:lnTo>
                    <a:pt x="276" y="690"/>
                  </a:lnTo>
                  <a:lnTo>
                    <a:pt x="270" y="696"/>
                  </a:lnTo>
                  <a:lnTo>
                    <a:pt x="264" y="696"/>
                  </a:lnTo>
                  <a:lnTo>
                    <a:pt x="258" y="696"/>
                  </a:lnTo>
                  <a:lnTo>
                    <a:pt x="252" y="696"/>
                  </a:lnTo>
                  <a:lnTo>
                    <a:pt x="252" y="690"/>
                  </a:lnTo>
                  <a:lnTo>
                    <a:pt x="246" y="690"/>
                  </a:lnTo>
                  <a:lnTo>
                    <a:pt x="234" y="690"/>
                  </a:lnTo>
                  <a:lnTo>
                    <a:pt x="222" y="696"/>
                  </a:lnTo>
                  <a:lnTo>
                    <a:pt x="216" y="708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8" y="690"/>
                  </a:lnTo>
                  <a:lnTo>
                    <a:pt x="198" y="684"/>
                  </a:lnTo>
                  <a:lnTo>
                    <a:pt x="198" y="678"/>
                  </a:lnTo>
                  <a:lnTo>
                    <a:pt x="198" y="672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74" y="648"/>
                  </a:lnTo>
                  <a:lnTo>
                    <a:pt x="162" y="642"/>
                  </a:lnTo>
                  <a:lnTo>
                    <a:pt x="156" y="636"/>
                  </a:lnTo>
                  <a:lnTo>
                    <a:pt x="132" y="642"/>
                  </a:lnTo>
                  <a:lnTo>
                    <a:pt x="120" y="654"/>
                  </a:lnTo>
                  <a:lnTo>
                    <a:pt x="108" y="660"/>
                  </a:lnTo>
                  <a:lnTo>
                    <a:pt x="102" y="666"/>
                  </a:lnTo>
                  <a:lnTo>
                    <a:pt x="84" y="666"/>
                  </a:lnTo>
                  <a:lnTo>
                    <a:pt x="84" y="630"/>
                  </a:lnTo>
                  <a:lnTo>
                    <a:pt x="78" y="594"/>
                  </a:lnTo>
                  <a:lnTo>
                    <a:pt x="66" y="594"/>
                  </a:lnTo>
                  <a:lnTo>
                    <a:pt x="60" y="594"/>
                  </a:lnTo>
                  <a:lnTo>
                    <a:pt x="48" y="600"/>
                  </a:lnTo>
                  <a:lnTo>
                    <a:pt x="36" y="606"/>
                  </a:lnTo>
                  <a:lnTo>
                    <a:pt x="24" y="612"/>
                  </a:lnTo>
                  <a:lnTo>
                    <a:pt x="18" y="612"/>
                  </a:lnTo>
                  <a:lnTo>
                    <a:pt x="12" y="606"/>
                  </a:lnTo>
                  <a:lnTo>
                    <a:pt x="12" y="600"/>
                  </a:lnTo>
                  <a:lnTo>
                    <a:pt x="12" y="594"/>
                  </a:lnTo>
                  <a:lnTo>
                    <a:pt x="12" y="588"/>
                  </a:lnTo>
                  <a:lnTo>
                    <a:pt x="12" y="582"/>
                  </a:lnTo>
                  <a:lnTo>
                    <a:pt x="12" y="576"/>
                  </a:lnTo>
                  <a:lnTo>
                    <a:pt x="18" y="552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42" y="534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48" y="492"/>
                  </a:lnTo>
                  <a:lnTo>
                    <a:pt x="48" y="480"/>
                  </a:lnTo>
                  <a:lnTo>
                    <a:pt x="54" y="468"/>
                  </a:lnTo>
                  <a:lnTo>
                    <a:pt x="48" y="456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66" y="390"/>
                  </a:lnTo>
                  <a:lnTo>
                    <a:pt x="72" y="384"/>
                  </a:lnTo>
                  <a:lnTo>
                    <a:pt x="72" y="378"/>
                  </a:lnTo>
                  <a:lnTo>
                    <a:pt x="66" y="378"/>
                  </a:lnTo>
                  <a:lnTo>
                    <a:pt x="66" y="366"/>
                  </a:lnTo>
                  <a:lnTo>
                    <a:pt x="60" y="360"/>
                  </a:lnTo>
                  <a:lnTo>
                    <a:pt x="66" y="354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48" y="312"/>
                  </a:lnTo>
                  <a:lnTo>
                    <a:pt x="30" y="312"/>
                  </a:lnTo>
                  <a:lnTo>
                    <a:pt x="24" y="306"/>
                  </a:lnTo>
                  <a:lnTo>
                    <a:pt x="18" y="306"/>
                  </a:lnTo>
                  <a:lnTo>
                    <a:pt x="12" y="294"/>
                  </a:lnTo>
                  <a:lnTo>
                    <a:pt x="12" y="282"/>
                  </a:lnTo>
                  <a:lnTo>
                    <a:pt x="6" y="276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12" y="270"/>
                  </a:lnTo>
                  <a:lnTo>
                    <a:pt x="12" y="246"/>
                  </a:lnTo>
                  <a:lnTo>
                    <a:pt x="12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8" y="174"/>
                  </a:lnTo>
                  <a:lnTo>
                    <a:pt x="12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48" y="162"/>
                  </a:lnTo>
                  <a:lnTo>
                    <a:pt x="72" y="162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84" y="132"/>
                  </a:lnTo>
                  <a:lnTo>
                    <a:pt x="90" y="120"/>
                  </a:lnTo>
                  <a:lnTo>
                    <a:pt x="108" y="114"/>
                  </a:lnTo>
                  <a:lnTo>
                    <a:pt x="114" y="102"/>
                  </a:lnTo>
                  <a:lnTo>
                    <a:pt x="120" y="90"/>
                  </a:lnTo>
                  <a:lnTo>
                    <a:pt x="138" y="90"/>
                  </a:lnTo>
                  <a:lnTo>
                    <a:pt x="138" y="102"/>
                  </a:lnTo>
                  <a:lnTo>
                    <a:pt x="168" y="108"/>
                  </a:lnTo>
                  <a:lnTo>
                    <a:pt x="168" y="114"/>
                  </a:lnTo>
                  <a:lnTo>
                    <a:pt x="174" y="126"/>
                  </a:lnTo>
                  <a:lnTo>
                    <a:pt x="186" y="150"/>
                  </a:lnTo>
                  <a:lnTo>
                    <a:pt x="186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34" y="144"/>
                  </a:lnTo>
                  <a:lnTo>
                    <a:pt x="240" y="138"/>
                  </a:lnTo>
                  <a:lnTo>
                    <a:pt x="240" y="126"/>
                  </a:lnTo>
                  <a:lnTo>
                    <a:pt x="234" y="126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34" y="102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82" y="102"/>
                  </a:lnTo>
                  <a:lnTo>
                    <a:pt x="288" y="102"/>
                  </a:lnTo>
                  <a:lnTo>
                    <a:pt x="294" y="102"/>
                  </a:lnTo>
                  <a:lnTo>
                    <a:pt x="300" y="96"/>
                  </a:lnTo>
                  <a:lnTo>
                    <a:pt x="306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84"/>
                  </a:lnTo>
                  <a:lnTo>
                    <a:pt x="324" y="18"/>
                  </a:lnTo>
                  <a:lnTo>
                    <a:pt x="360" y="18"/>
                  </a:lnTo>
                  <a:lnTo>
                    <a:pt x="378" y="18"/>
                  </a:lnTo>
                  <a:lnTo>
                    <a:pt x="378" y="30"/>
                  </a:lnTo>
                  <a:lnTo>
                    <a:pt x="390" y="30"/>
                  </a:lnTo>
                  <a:lnTo>
                    <a:pt x="432" y="30"/>
                  </a:lnTo>
                  <a:lnTo>
                    <a:pt x="456" y="24"/>
                  </a:lnTo>
                  <a:lnTo>
                    <a:pt x="480" y="24"/>
                  </a:lnTo>
                  <a:lnTo>
                    <a:pt x="498" y="30"/>
                  </a:lnTo>
                  <a:lnTo>
                    <a:pt x="522" y="18"/>
                  </a:lnTo>
                  <a:lnTo>
                    <a:pt x="528" y="0"/>
                  </a:lnTo>
                  <a:lnTo>
                    <a:pt x="558" y="6"/>
                  </a:lnTo>
                  <a:lnTo>
                    <a:pt x="558" y="12"/>
                  </a:lnTo>
                  <a:lnTo>
                    <a:pt x="570" y="18"/>
                  </a:lnTo>
                  <a:lnTo>
                    <a:pt x="576" y="24"/>
                  </a:lnTo>
                  <a:lnTo>
                    <a:pt x="588" y="36"/>
                  </a:lnTo>
                  <a:lnTo>
                    <a:pt x="594" y="48"/>
                  </a:lnTo>
                  <a:lnTo>
                    <a:pt x="606" y="48"/>
                  </a:lnTo>
                  <a:lnTo>
                    <a:pt x="606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42"/>
                  </a:lnTo>
                  <a:lnTo>
                    <a:pt x="636" y="42"/>
                  </a:lnTo>
                  <a:lnTo>
                    <a:pt x="636" y="48"/>
                  </a:lnTo>
                  <a:lnTo>
                    <a:pt x="642" y="54"/>
                  </a:lnTo>
                  <a:lnTo>
                    <a:pt x="636" y="60"/>
                  </a:lnTo>
                  <a:lnTo>
                    <a:pt x="636" y="66"/>
                  </a:lnTo>
                  <a:lnTo>
                    <a:pt x="636" y="78"/>
                  </a:lnTo>
                  <a:lnTo>
                    <a:pt x="624" y="84"/>
                  </a:lnTo>
                  <a:lnTo>
                    <a:pt x="618" y="90"/>
                  </a:lnTo>
                  <a:lnTo>
                    <a:pt x="612" y="90"/>
                  </a:lnTo>
                  <a:lnTo>
                    <a:pt x="600" y="102"/>
                  </a:lnTo>
                  <a:lnTo>
                    <a:pt x="594" y="108"/>
                  </a:lnTo>
                  <a:lnTo>
                    <a:pt x="582" y="114"/>
                  </a:lnTo>
                  <a:lnTo>
                    <a:pt x="570" y="132"/>
                  </a:lnTo>
                  <a:lnTo>
                    <a:pt x="564" y="132"/>
                  </a:lnTo>
                  <a:lnTo>
                    <a:pt x="564" y="138"/>
                  </a:lnTo>
                  <a:lnTo>
                    <a:pt x="558" y="144"/>
                  </a:lnTo>
                  <a:lnTo>
                    <a:pt x="558" y="150"/>
                  </a:lnTo>
                  <a:lnTo>
                    <a:pt x="552" y="150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0" y="162"/>
                  </a:lnTo>
                  <a:lnTo>
                    <a:pt x="534" y="168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6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28" y="234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16" y="294"/>
                  </a:lnTo>
                  <a:lnTo>
                    <a:pt x="516" y="312"/>
                  </a:lnTo>
                  <a:lnTo>
                    <a:pt x="528" y="318"/>
                  </a:lnTo>
                  <a:lnTo>
                    <a:pt x="540" y="360"/>
                  </a:lnTo>
                  <a:lnTo>
                    <a:pt x="558" y="408"/>
                  </a:lnTo>
                  <a:lnTo>
                    <a:pt x="570" y="426"/>
                  </a:lnTo>
                  <a:lnTo>
                    <a:pt x="576" y="432"/>
                  </a:lnTo>
                  <a:lnTo>
                    <a:pt x="576" y="438"/>
                  </a:lnTo>
                  <a:lnTo>
                    <a:pt x="576" y="444"/>
                  </a:lnTo>
                  <a:lnTo>
                    <a:pt x="576" y="46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27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115" name="Freeform 29">
              <a:extLst>
                <a:ext uri="{FF2B5EF4-FFF2-40B4-BE49-F238E27FC236}">
                  <a16:creationId xmlns:a16="http://schemas.microsoft.com/office/drawing/2014/main" id="{229BB5C2-3C7D-42EC-82D0-501CE3ABAC00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8288" y="4044951"/>
              <a:ext cx="569912" cy="474663"/>
            </a:xfrm>
            <a:custGeom>
              <a:avLst/>
              <a:gdLst>
                <a:gd name="T0" fmla="*/ 2147483647 w 606"/>
                <a:gd name="T1" fmla="*/ 2147483647 h 510"/>
                <a:gd name="T2" fmla="*/ 2147483647 w 606"/>
                <a:gd name="T3" fmla="*/ 2147483647 h 510"/>
                <a:gd name="T4" fmla="*/ 0 w 606"/>
                <a:gd name="T5" fmla="*/ 2147483647 h 510"/>
                <a:gd name="T6" fmla="*/ 2147483647 w 606"/>
                <a:gd name="T7" fmla="*/ 2147483647 h 510"/>
                <a:gd name="T8" fmla="*/ 2147483647 w 606"/>
                <a:gd name="T9" fmla="*/ 2147483647 h 510"/>
                <a:gd name="T10" fmla="*/ 2147483647 w 606"/>
                <a:gd name="T11" fmla="*/ 2147483647 h 510"/>
                <a:gd name="T12" fmla="*/ 2147483647 w 606"/>
                <a:gd name="T13" fmla="*/ 2147483647 h 510"/>
                <a:gd name="T14" fmla="*/ 2147483647 w 606"/>
                <a:gd name="T15" fmla="*/ 2147483647 h 510"/>
                <a:gd name="T16" fmla="*/ 2147483647 w 606"/>
                <a:gd name="T17" fmla="*/ 2147483647 h 510"/>
                <a:gd name="T18" fmla="*/ 2147483647 w 606"/>
                <a:gd name="T19" fmla="*/ 2147483647 h 510"/>
                <a:gd name="T20" fmla="*/ 2147483647 w 606"/>
                <a:gd name="T21" fmla="*/ 2147483647 h 510"/>
                <a:gd name="T22" fmla="*/ 2147483647 w 606"/>
                <a:gd name="T23" fmla="*/ 2147483647 h 510"/>
                <a:gd name="T24" fmla="*/ 2147483647 w 606"/>
                <a:gd name="T25" fmla="*/ 2147483647 h 510"/>
                <a:gd name="T26" fmla="*/ 2147483647 w 606"/>
                <a:gd name="T27" fmla="*/ 2147483647 h 510"/>
                <a:gd name="T28" fmla="*/ 2147483647 w 606"/>
                <a:gd name="T29" fmla="*/ 2147483647 h 510"/>
                <a:gd name="T30" fmla="*/ 2147483647 w 606"/>
                <a:gd name="T31" fmla="*/ 2147483647 h 510"/>
                <a:gd name="T32" fmla="*/ 2147483647 w 606"/>
                <a:gd name="T33" fmla="*/ 2147483647 h 510"/>
                <a:gd name="T34" fmla="*/ 2147483647 w 606"/>
                <a:gd name="T35" fmla="*/ 2147483647 h 510"/>
                <a:gd name="T36" fmla="*/ 2147483647 w 606"/>
                <a:gd name="T37" fmla="*/ 2147483647 h 510"/>
                <a:gd name="T38" fmla="*/ 2147483647 w 606"/>
                <a:gd name="T39" fmla="*/ 2147483647 h 510"/>
                <a:gd name="T40" fmla="*/ 2147483647 w 606"/>
                <a:gd name="T41" fmla="*/ 0 h 510"/>
                <a:gd name="T42" fmla="*/ 2147483647 w 606"/>
                <a:gd name="T43" fmla="*/ 2147483647 h 510"/>
                <a:gd name="T44" fmla="*/ 2147483647 w 606"/>
                <a:gd name="T45" fmla="*/ 2147483647 h 510"/>
                <a:gd name="T46" fmla="*/ 2147483647 w 606"/>
                <a:gd name="T47" fmla="*/ 2147483647 h 510"/>
                <a:gd name="T48" fmla="*/ 2147483647 w 606"/>
                <a:gd name="T49" fmla="*/ 2147483647 h 510"/>
                <a:gd name="T50" fmla="*/ 2147483647 w 606"/>
                <a:gd name="T51" fmla="*/ 2147483647 h 510"/>
                <a:gd name="T52" fmla="*/ 2147483647 w 606"/>
                <a:gd name="T53" fmla="*/ 2147483647 h 510"/>
                <a:gd name="T54" fmla="*/ 2147483647 w 606"/>
                <a:gd name="T55" fmla="*/ 2147483647 h 510"/>
                <a:gd name="T56" fmla="*/ 2147483647 w 606"/>
                <a:gd name="T57" fmla="*/ 2147483647 h 510"/>
                <a:gd name="T58" fmla="*/ 2147483647 w 606"/>
                <a:gd name="T59" fmla="*/ 2147483647 h 510"/>
                <a:gd name="T60" fmla="*/ 2147483647 w 606"/>
                <a:gd name="T61" fmla="*/ 2147483647 h 510"/>
                <a:gd name="T62" fmla="*/ 2147483647 w 606"/>
                <a:gd name="T63" fmla="*/ 2147483647 h 510"/>
                <a:gd name="T64" fmla="*/ 2147483647 w 606"/>
                <a:gd name="T65" fmla="*/ 2147483647 h 510"/>
                <a:gd name="T66" fmla="*/ 2147483647 w 606"/>
                <a:gd name="T67" fmla="*/ 2147483647 h 510"/>
                <a:gd name="T68" fmla="*/ 2147483647 w 606"/>
                <a:gd name="T69" fmla="*/ 2147483647 h 510"/>
                <a:gd name="T70" fmla="*/ 2147483647 w 606"/>
                <a:gd name="T71" fmla="*/ 2147483647 h 510"/>
                <a:gd name="T72" fmla="*/ 2147483647 w 606"/>
                <a:gd name="T73" fmla="*/ 2147483647 h 510"/>
                <a:gd name="T74" fmla="*/ 2147483647 w 606"/>
                <a:gd name="T75" fmla="*/ 2147483647 h 510"/>
                <a:gd name="T76" fmla="*/ 2147483647 w 606"/>
                <a:gd name="T77" fmla="*/ 2147483647 h 510"/>
                <a:gd name="T78" fmla="*/ 2147483647 w 606"/>
                <a:gd name="T79" fmla="*/ 2147483647 h 510"/>
                <a:gd name="T80" fmla="*/ 2147483647 w 606"/>
                <a:gd name="T81" fmla="*/ 2147483647 h 510"/>
                <a:gd name="T82" fmla="*/ 2147483647 w 606"/>
                <a:gd name="T83" fmla="*/ 2147483647 h 510"/>
                <a:gd name="T84" fmla="*/ 2147483647 w 606"/>
                <a:gd name="T85" fmla="*/ 2147483647 h 510"/>
                <a:gd name="T86" fmla="*/ 2147483647 w 606"/>
                <a:gd name="T87" fmla="*/ 2147483647 h 510"/>
                <a:gd name="T88" fmla="*/ 2147483647 w 606"/>
                <a:gd name="T89" fmla="*/ 2147483647 h 510"/>
                <a:gd name="T90" fmla="*/ 2147483647 w 606"/>
                <a:gd name="T91" fmla="*/ 2147483647 h 510"/>
                <a:gd name="T92" fmla="*/ 2147483647 w 606"/>
                <a:gd name="T93" fmla="*/ 2147483647 h 510"/>
                <a:gd name="T94" fmla="*/ 2147483647 w 606"/>
                <a:gd name="T95" fmla="*/ 2147483647 h 510"/>
                <a:gd name="T96" fmla="*/ 2147483647 w 606"/>
                <a:gd name="T97" fmla="*/ 2147483647 h 510"/>
                <a:gd name="T98" fmla="*/ 2147483647 w 606"/>
                <a:gd name="T99" fmla="*/ 2147483647 h 510"/>
                <a:gd name="T100" fmla="*/ 2147483647 w 606"/>
                <a:gd name="T101" fmla="*/ 2147483647 h 510"/>
                <a:gd name="T102" fmla="*/ 2147483647 w 606"/>
                <a:gd name="T103" fmla="*/ 2147483647 h 51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06"/>
                <a:gd name="T157" fmla="*/ 0 h 510"/>
                <a:gd name="T158" fmla="*/ 606 w 606"/>
                <a:gd name="T159" fmla="*/ 510 h 51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06" h="510">
                  <a:moveTo>
                    <a:pt x="60" y="450"/>
                  </a:move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42" y="390"/>
                  </a:lnTo>
                  <a:lnTo>
                    <a:pt x="24" y="342"/>
                  </a:lnTo>
                  <a:lnTo>
                    <a:pt x="12" y="300"/>
                  </a:lnTo>
                  <a:lnTo>
                    <a:pt x="0" y="294"/>
                  </a:lnTo>
                  <a:lnTo>
                    <a:pt x="0" y="276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24" y="192"/>
                  </a:lnTo>
                  <a:lnTo>
                    <a:pt x="24" y="180"/>
                  </a:lnTo>
                  <a:lnTo>
                    <a:pt x="24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6" y="96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108" y="66"/>
                  </a:lnTo>
                  <a:lnTo>
                    <a:pt x="120" y="60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36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62" y="36"/>
                  </a:lnTo>
                  <a:lnTo>
                    <a:pt x="162" y="30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0" y="54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46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76" y="66"/>
                  </a:lnTo>
                  <a:lnTo>
                    <a:pt x="312" y="66"/>
                  </a:lnTo>
                  <a:lnTo>
                    <a:pt x="318" y="60"/>
                  </a:lnTo>
                  <a:lnTo>
                    <a:pt x="330" y="12"/>
                  </a:lnTo>
                  <a:lnTo>
                    <a:pt x="414" y="6"/>
                  </a:lnTo>
                  <a:lnTo>
                    <a:pt x="420" y="0"/>
                  </a:lnTo>
                  <a:lnTo>
                    <a:pt x="426" y="6"/>
                  </a:lnTo>
                  <a:lnTo>
                    <a:pt x="426" y="12"/>
                  </a:lnTo>
                  <a:lnTo>
                    <a:pt x="426" y="54"/>
                  </a:lnTo>
                  <a:lnTo>
                    <a:pt x="432" y="54"/>
                  </a:lnTo>
                  <a:lnTo>
                    <a:pt x="444" y="54"/>
                  </a:lnTo>
                  <a:lnTo>
                    <a:pt x="450" y="42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86" y="24"/>
                  </a:lnTo>
                  <a:lnTo>
                    <a:pt x="504" y="18"/>
                  </a:lnTo>
                  <a:lnTo>
                    <a:pt x="510" y="12"/>
                  </a:lnTo>
                  <a:lnTo>
                    <a:pt x="516" y="18"/>
                  </a:lnTo>
                  <a:lnTo>
                    <a:pt x="522" y="24"/>
                  </a:lnTo>
                  <a:lnTo>
                    <a:pt x="510" y="30"/>
                  </a:lnTo>
                  <a:lnTo>
                    <a:pt x="516" y="48"/>
                  </a:lnTo>
                  <a:lnTo>
                    <a:pt x="528" y="54"/>
                  </a:lnTo>
                  <a:lnTo>
                    <a:pt x="522" y="60"/>
                  </a:lnTo>
                  <a:lnTo>
                    <a:pt x="516" y="66"/>
                  </a:lnTo>
                  <a:lnTo>
                    <a:pt x="516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0" y="84"/>
                  </a:lnTo>
                  <a:lnTo>
                    <a:pt x="510" y="90"/>
                  </a:lnTo>
                  <a:lnTo>
                    <a:pt x="504" y="90"/>
                  </a:lnTo>
                  <a:lnTo>
                    <a:pt x="486" y="90"/>
                  </a:lnTo>
                  <a:lnTo>
                    <a:pt x="492" y="138"/>
                  </a:lnTo>
                  <a:lnTo>
                    <a:pt x="498" y="168"/>
                  </a:lnTo>
                  <a:lnTo>
                    <a:pt x="516" y="168"/>
                  </a:lnTo>
                  <a:lnTo>
                    <a:pt x="528" y="174"/>
                  </a:lnTo>
                  <a:lnTo>
                    <a:pt x="534" y="168"/>
                  </a:lnTo>
                  <a:lnTo>
                    <a:pt x="558" y="174"/>
                  </a:lnTo>
                  <a:lnTo>
                    <a:pt x="564" y="168"/>
                  </a:lnTo>
                  <a:lnTo>
                    <a:pt x="570" y="168"/>
                  </a:lnTo>
                  <a:lnTo>
                    <a:pt x="576" y="174"/>
                  </a:lnTo>
                  <a:lnTo>
                    <a:pt x="588" y="168"/>
                  </a:lnTo>
                  <a:lnTo>
                    <a:pt x="594" y="168"/>
                  </a:lnTo>
                  <a:lnTo>
                    <a:pt x="594" y="186"/>
                  </a:lnTo>
                  <a:lnTo>
                    <a:pt x="606" y="198"/>
                  </a:lnTo>
                  <a:lnTo>
                    <a:pt x="600" y="210"/>
                  </a:lnTo>
                  <a:lnTo>
                    <a:pt x="588" y="234"/>
                  </a:lnTo>
                  <a:lnTo>
                    <a:pt x="564" y="246"/>
                  </a:lnTo>
                  <a:lnTo>
                    <a:pt x="546" y="258"/>
                  </a:lnTo>
                  <a:lnTo>
                    <a:pt x="540" y="270"/>
                  </a:lnTo>
                  <a:lnTo>
                    <a:pt x="534" y="294"/>
                  </a:lnTo>
                  <a:lnTo>
                    <a:pt x="528" y="300"/>
                  </a:lnTo>
                  <a:lnTo>
                    <a:pt x="516" y="294"/>
                  </a:lnTo>
                  <a:lnTo>
                    <a:pt x="510" y="300"/>
                  </a:lnTo>
                  <a:lnTo>
                    <a:pt x="498" y="318"/>
                  </a:lnTo>
                  <a:lnTo>
                    <a:pt x="492" y="324"/>
                  </a:lnTo>
                  <a:lnTo>
                    <a:pt x="486" y="336"/>
                  </a:lnTo>
                  <a:lnTo>
                    <a:pt x="486" y="354"/>
                  </a:lnTo>
                  <a:lnTo>
                    <a:pt x="486" y="384"/>
                  </a:lnTo>
                  <a:lnTo>
                    <a:pt x="474" y="408"/>
                  </a:lnTo>
                  <a:lnTo>
                    <a:pt x="450" y="426"/>
                  </a:lnTo>
                  <a:lnTo>
                    <a:pt x="444" y="444"/>
                  </a:lnTo>
                  <a:lnTo>
                    <a:pt x="426" y="474"/>
                  </a:lnTo>
                  <a:lnTo>
                    <a:pt x="420" y="486"/>
                  </a:lnTo>
                  <a:lnTo>
                    <a:pt x="414" y="486"/>
                  </a:lnTo>
                  <a:lnTo>
                    <a:pt x="414" y="498"/>
                  </a:lnTo>
                  <a:lnTo>
                    <a:pt x="378" y="504"/>
                  </a:lnTo>
                  <a:lnTo>
                    <a:pt x="348" y="510"/>
                  </a:lnTo>
                  <a:lnTo>
                    <a:pt x="330" y="510"/>
                  </a:lnTo>
                  <a:lnTo>
                    <a:pt x="324" y="504"/>
                  </a:lnTo>
                  <a:lnTo>
                    <a:pt x="318" y="504"/>
                  </a:lnTo>
                  <a:lnTo>
                    <a:pt x="312" y="504"/>
                  </a:lnTo>
                  <a:lnTo>
                    <a:pt x="312" y="498"/>
                  </a:lnTo>
                  <a:lnTo>
                    <a:pt x="312" y="486"/>
                  </a:lnTo>
                  <a:lnTo>
                    <a:pt x="312" y="480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56"/>
                  </a:lnTo>
                  <a:lnTo>
                    <a:pt x="312" y="450"/>
                  </a:lnTo>
                  <a:lnTo>
                    <a:pt x="306" y="444"/>
                  </a:lnTo>
                  <a:lnTo>
                    <a:pt x="306" y="438"/>
                  </a:lnTo>
                  <a:lnTo>
                    <a:pt x="300" y="426"/>
                  </a:lnTo>
                  <a:lnTo>
                    <a:pt x="300" y="420"/>
                  </a:lnTo>
                  <a:lnTo>
                    <a:pt x="294" y="414"/>
                  </a:lnTo>
                  <a:lnTo>
                    <a:pt x="294" y="408"/>
                  </a:lnTo>
                  <a:lnTo>
                    <a:pt x="270" y="408"/>
                  </a:lnTo>
                  <a:lnTo>
                    <a:pt x="246" y="408"/>
                  </a:lnTo>
                  <a:lnTo>
                    <a:pt x="222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56" y="402"/>
                  </a:lnTo>
                  <a:lnTo>
                    <a:pt x="144" y="396"/>
                  </a:lnTo>
                  <a:lnTo>
                    <a:pt x="126" y="396"/>
                  </a:lnTo>
                  <a:lnTo>
                    <a:pt x="108" y="408"/>
                  </a:lnTo>
                  <a:lnTo>
                    <a:pt x="102" y="414"/>
                  </a:lnTo>
                  <a:lnTo>
                    <a:pt x="102" y="420"/>
                  </a:lnTo>
                  <a:lnTo>
                    <a:pt x="96" y="426"/>
                  </a:lnTo>
                  <a:lnTo>
                    <a:pt x="96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78" y="450"/>
                  </a:lnTo>
                  <a:lnTo>
                    <a:pt x="60" y="45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27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116" name="Freeform 30">
              <a:extLst>
                <a:ext uri="{FF2B5EF4-FFF2-40B4-BE49-F238E27FC236}">
                  <a16:creationId xmlns:a16="http://schemas.microsoft.com/office/drawing/2014/main" id="{913A9355-F15E-4083-916F-0EEB8ADCFDAE}"/>
                </a:ext>
              </a:extLst>
            </p:cNvPr>
            <p:cNvSpPr>
              <a:spLocks/>
            </p:cNvSpPr>
            <p:nvPr/>
          </p:nvSpPr>
          <p:spPr bwMode="gray">
            <a:xfrm>
              <a:off x="2514600" y="4230689"/>
              <a:ext cx="985838" cy="1125537"/>
            </a:xfrm>
            <a:custGeom>
              <a:avLst/>
              <a:gdLst>
                <a:gd name="T0" fmla="*/ 2147483647 w 1056"/>
                <a:gd name="T1" fmla="*/ 2147483647 h 1206"/>
                <a:gd name="T2" fmla="*/ 2147483647 w 1056"/>
                <a:gd name="T3" fmla="*/ 2147483647 h 1206"/>
                <a:gd name="T4" fmla="*/ 2147483647 w 1056"/>
                <a:gd name="T5" fmla="*/ 2147483647 h 1206"/>
                <a:gd name="T6" fmla="*/ 2147483647 w 1056"/>
                <a:gd name="T7" fmla="*/ 2147483647 h 1206"/>
                <a:gd name="T8" fmla="*/ 2147483647 w 1056"/>
                <a:gd name="T9" fmla="*/ 2147483647 h 1206"/>
                <a:gd name="T10" fmla="*/ 2147483647 w 1056"/>
                <a:gd name="T11" fmla="*/ 2147483647 h 1206"/>
                <a:gd name="T12" fmla="*/ 2147483647 w 1056"/>
                <a:gd name="T13" fmla="*/ 2147483647 h 1206"/>
                <a:gd name="T14" fmla="*/ 2147483647 w 1056"/>
                <a:gd name="T15" fmla="*/ 2147483647 h 1206"/>
                <a:gd name="T16" fmla="*/ 2147483647 w 1056"/>
                <a:gd name="T17" fmla="*/ 2147483647 h 1206"/>
                <a:gd name="T18" fmla="*/ 2147483647 w 1056"/>
                <a:gd name="T19" fmla="*/ 2147483647 h 1206"/>
                <a:gd name="T20" fmla="*/ 2147483647 w 1056"/>
                <a:gd name="T21" fmla="*/ 2147483647 h 1206"/>
                <a:gd name="T22" fmla="*/ 2147483647 w 1056"/>
                <a:gd name="T23" fmla="*/ 2147483647 h 1206"/>
                <a:gd name="T24" fmla="*/ 2147483647 w 1056"/>
                <a:gd name="T25" fmla="*/ 2147483647 h 1206"/>
                <a:gd name="T26" fmla="*/ 2147483647 w 1056"/>
                <a:gd name="T27" fmla="*/ 2147483647 h 1206"/>
                <a:gd name="T28" fmla="*/ 2147483647 w 1056"/>
                <a:gd name="T29" fmla="*/ 2147483647 h 1206"/>
                <a:gd name="T30" fmla="*/ 2147483647 w 1056"/>
                <a:gd name="T31" fmla="*/ 2147483647 h 1206"/>
                <a:gd name="T32" fmla="*/ 2147483647 w 1056"/>
                <a:gd name="T33" fmla="*/ 2147483647 h 1206"/>
                <a:gd name="T34" fmla="*/ 2147483647 w 1056"/>
                <a:gd name="T35" fmla="*/ 2147483647 h 1206"/>
                <a:gd name="T36" fmla="*/ 2147483647 w 1056"/>
                <a:gd name="T37" fmla="*/ 2147483647 h 1206"/>
                <a:gd name="T38" fmla="*/ 2147483647 w 1056"/>
                <a:gd name="T39" fmla="*/ 2147483647 h 1206"/>
                <a:gd name="T40" fmla="*/ 2147483647 w 1056"/>
                <a:gd name="T41" fmla="*/ 2147483647 h 1206"/>
                <a:gd name="T42" fmla="*/ 2147483647 w 1056"/>
                <a:gd name="T43" fmla="*/ 2147483647 h 1206"/>
                <a:gd name="T44" fmla="*/ 2147483647 w 1056"/>
                <a:gd name="T45" fmla="*/ 2147483647 h 1206"/>
                <a:gd name="T46" fmla="*/ 2147483647 w 1056"/>
                <a:gd name="T47" fmla="*/ 2147483647 h 1206"/>
                <a:gd name="T48" fmla="*/ 2147483647 w 1056"/>
                <a:gd name="T49" fmla="*/ 2147483647 h 1206"/>
                <a:gd name="T50" fmla="*/ 2147483647 w 1056"/>
                <a:gd name="T51" fmla="*/ 2147483647 h 1206"/>
                <a:gd name="T52" fmla="*/ 2147483647 w 1056"/>
                <a:gd name="T53" fmla="*/ 2147483647 h 1206"/>
                <a:gd name="T54" fmla="*/ 2147483647 w 1056"/>
                <a:gd name="T55" fmla="*/ 2147483647 h 1206"/>
                <a:gd name="T56" fmla="*/ 2147483647 w 1056"/>
                <a:gd name="T57" fmla="*/ 2147483647 h 1206"/>
                <a:gd name="T58" fmla="*/ 2147483647 w 1056"/>
                <a:gd name="T59" fmla="*/ 2147483647 h 1206"/>
                <a:gd name="T60" fmla="*/ 2147483647 w 1056"/>
                <a:gd name="T61" fmla="*/ 2147483647 h 1206"/>
                <a:gd name="T62" fmla="*/ 2147483647 w 1056"/>
                <a:gd name="T63" fmla="*/ 2147483647 h 1206"/>
                <a:gd name="T64" fmla="*/ 2147483647 w 1056"/>
                <a:gd name="T65" fmla="*/ 2147483647 h 1206"/>
                <a:gd name="T66" fmla="*/ 2147483647 w 1056"/>
                <a:gd name="T67" fmla="*/ 2147483647 h 1206"/>
                <a:gd name="T68" fmla="*/ 2147483647 w 1056"/>
                <a:gd name="T69" fmla="*/ 2147483647 h 1206"/>
                <a:gd name="T70" fmla="*/ 2147483647 w 1056"/>
                <a:gd name="T71" fmla="*/ 2147483647 h 1206"/>
                <a:gd name="T72" fmla="*/ 2147483647 w 1056"/>
                <a:gd name="T73" fmla="*/ 2147483647 h 1206"/>
                <a:gd name="T74" fmla="*/ 2147483647 w 1056"/>
                <a:gd name="T75" fmla="*/ 2147483647 h 1206"/>
                <a:gd name="T76" fmla="*/ 2147483647 w 1056"/>
                <a:gd name="T77" fmla="*/ 2147483647 h 1206"/>
                <a:gd name="T78" fmla="*/ 2147483647 w 1056"/>
                <a:gd name="T79" fmla="*/ 2147483647 h 1206"/>
                <a:gd name="T80" fmla="*/ 2147483647 w 1056"/>
                <a:gd name="T81" fmla="*/ 2147483647 h 1206"/>
                <a:gd name="T82" fmla="*/ 2147483647 w 1056"/>
                <a:gd name="T83" fmla="*/ 2147483647 h 1206"/>
                <a:gd name="T84" fmla="*/ 2147483647 w 1056"/>
                <a:gd name="T85" fmla="*/ 2147483647 h 1206"/>
                <a:gd name="T86" fmla="*/ 2147483647 w 1056"/>
                <a:gd name="T87" fmla="*/ 2147483647 h 1206"/>
                <a:gd name="T88" fmla="*/ 2147483647 w 1056"/>
                <a:gd name="T89" fmla="*/ 2147483647 h 1206"/>
                <a:gd name="T90" fmla="*/ 2147483647 w 1056"/>
                <a:gd name="T91" fmla="*/ 2147483647 h 1206"/>
                <a:gd name="T92" fmla="*/ 2147483647 w 1056"/>
                <a:gd name="T93" fmla="*/ 2147483647 h 1206"/>
                <a:gd name="T94" fmla="*/ 2147483647 w 1056"/>
                <a:gd name="T95" fmla="*/ 2147483647 h 1206"/>
                <a:gd name="T96" fmla="*/ 2147483647 w 1056"/>
                <a:gd name="T97" fmla="*/ 2147483647 h 1206"/>
                <a:gd name="T98" fmla="*/ 2147483647 w 1056"/>
                <a:gd name="T99" fmla="*/ 2147483647 h 1206"/>
                <a:gd name="T100" fmla="*/ 2147483647 w 1056"/>
                <a:gd name="T101" fmla="*/ 2147483647 h 1206"/>
                <a:gd name="T102" fmla="*/ 2147483647 w 1056"/>
                <a:gd name="T103" fmla="*/ 2147483647 h 1206"/>
                <a:gd name="T104" fmla="*/ 2147483647 w 1056"/>
                <a:gd name="T105" fmla="*/ 2147483647 h 1206"/>
                <a:gd name="T106" fmla="*/ 2147483647 w 1056"/>
                <a:gd name="T107" fmla="*/ 2147483647 h 1206"/>
                <a:gd name="T108" fmla="*/ 2147483647 w 1056"/>
                <a:gd name="T109" fmla="*/ 2147483647 h 1206"/>
                <a:gd name="T110" fmla="*/ 2147483647 w 1056"/>
                <a:gd name="T111" fmla="*/ 2147483647 h 1206"/>
                <a:gd name="T112" fmla="*/ 2147483647 w 1056"/>
                <a:gd name="T113" fmla="*/ 2147483647 h 1206"/>
                <a:gd name="T114" fmla="*/ 2147483647 w 1056"/>
                <a:gd name="T115" fmla="*/ 2147483647 h 12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56"/>
                <a:gd name="T175" fmla="*/ 0 h 1206"/>
                <a:gd name="T176" fmla="*/ 1056 w 1056"/>
                <a:gd name="T177" fmla="*/ 1206 h 12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56" h="1206">
                  <a:moveTo>
                    <a:pt x="492" y="1032"/>
                  </a:moveTo>
                  <a:lnTo>
                    <a:pt x="486" y="1038"/>
                  </a:lnTo>
                  <a:lnTo>
                    <a:pt x="486" y="1044"/>
                  </a:lnTo>
                  <a:lnTo>
                    <a:pt x="480" y="1044"/>
                  </a:lnTo>
                  <a:lnTo>
                    <a:pt x="474" y="1056"/>
                  </a:lnTo>
                  <a:lnTo>
                    <a:pt x="462" y="1068"/>
                  </a:lnTo>
                  <a:lnTo>
                    <a:pt x="456" y="1080"/>
                  </a:lnTo>
                  <a:lnTo>
                    <a:pt x="450" y="1080"/>
                  </a:lnTo>
                  <a:lnTo>
                    <a:pt x="450" y="1086"/>
                  </a:lnTo>
                  <a:lnTo>
                    <a:pt x="450" y="1092"/>
                  </a:lnTo>
                  <a:lnTo>
                    <a:pt x="444" y="1104"/>
                  </a:lnTo>
                  <a:lnTo>
                    <a:pt x="444" y="1116"/>
                  </a:lnTo>
                  <a:lnTo>
                    <a:pt x="438" y="1128"/>
                  </a:lnTo>
                  <a:lnTo>
                    <a:pt x="432" y="1134"/>
                  </a:lnTo>
                  <a:lnTo>
                    <a:pt x="432" y="1140"/>
                  </a:lnTo>
                  <a:lnTo>
                    <a:pt x="420" y="1152"/>
                  </a:lnTo>
                  <a:lnTo>
                    <a:pt x="420" y="1158"/>
                  </a:lnTo>
                  <a:lnTo>
                    <a:pt x="408" y="1182"/>
                  </a:lnTo>
                  <a:lnTo>
                    <a:pt x="396" y="1194"/>
                  </a:lnTo>
                  <a:lnTo>
                    <a:pt x="390" y="1206"/>
                  </a:lnTo>
                  <a:lnTo>
                    <a:pt x="390" y="1200"/>
                  </a:lnTo>
                  <a:lnTo>
                    <a:pt x="384" y="1194"/>
                  </a:lnTo>
                  <a:lnTo>
                    <a:pt x="378" y="1188"/>
                  </a:lnTo>
                  <a:lnTo>
                    <a:pt x="366" y="1176"/>
                  </a:lnTo>
                  <a:lnTo>
                    <a:pt x="366" y="1170"/>
                  </a:lnTo>
                  <a:lnTo>
                    <a:pt x="348" y="1152"/>
                  </a:lnTo>
                  <a:lnTo>
                    <a:pt x="336" y="1140"/>
                  </a:lnTo>
                  <a:lnTo>
                    <a:pt x="330" y="1134"/>
                  </a:lnTo>
                  <a:lnTo>
                    <a:pt x="324" y="1128"/>
                  </a:lnTo>
                  <a:lnTo>
                    <a:pt x="318" y="1122"/>
                  </a:lnTo>
                  <a:lnTo>
                    <a:pt x="312" y="1116"/>
                  </a:lnTo>
                  <a:lnTo>
                    <a:pt x="306" y="1110"/>
                  </a:lnTo>
                  <a:lnTo>
                    <a:pt x="300" y="1104"/>
                  </a:lnTo>
                  <a:lnTo>
                    <a:pt x="294" y="1098"/>
                  </a:lnTo>
                  <a:lnTo>
                    <a:pt x="276" y="1080"/>
                  </a:lnTo>
                  <a:lnTo>
                    <a:pt x="270" y="1080"/>
                  </a:lnTo>
                  <a:lnTo>
                    <a:pt x="270" y="1074"/>
                  </a:lnTo>
                  <a:lnTo>
                    <a:pt x="264" y="1068"/>
                  </a:lnTo>
                  <a:lnTo>
                    <a:pt x="258" y="1062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40" y="1050"/>
                  </a:lnTo>
                  <a:lnTo>
                    <a:pt x="234" y="1044"/>
                  </a:lnTo>
                  <a:lnTo>
                    <a:pt x="228" y="1044"/>
                  </a:lnTo>
                  <a:lnTo>
                    <a:pt x="222" y="1038"/>
                  </a:lnTo>
                  <a:lnTo>
                    <a:pt x="222" y="1032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6"/>
                  </a:lnTo>
                  <a:lnTo>
                    <a:pt x="204" y="1020"/>
                  </a:lnTo>
                  <a:lnTo>
                    <a:pt x="204" y="1014"/>
                  </a:lnTo>
                  <a:lnTo>
                    <a:pt x="198" y="1014"/>
                  </a:lnTo>
                  <a:lnTo>
                    <a:pt x="192" y="1014"/>
                  </a:lnTo>
                  <a:lnTo>
                    <a:pt x="192" y="1008"/>
                  </a:lnTo>
                  <a:lnTo>
                    <a:pt x="186" y="1008"/>
                  </a:lnTo>
                  <a:lnTo>
                    <a:pt x="186" y="1002"/>
                  </a:lnTo>
                  <a:lnTo>
                    <a:pt x="180" y="1002"/>
                  </a:lnTo>
                  <a:lnTo>
                    <a:pt x="174" y="996"/>
                  </a:lnTo>
                  <a:lnTo>
                    <a:pt x="168" y="996"/>
                  </a:lnTo>
                  <a:lnTo>
                    <a:pt x="168" y="990"/>
                  </a:lnTo>
                  <a:lnTo>
                    <a:pt x="162" y="990"/>
                  </a:lnTo>
                  <a:lnTo>
                    <a:pt x="162" y="984"/>
                  </a:lnTo>
                  <a:lnTo>
                    <a:pt x="150" y="978"/>
                  </a:lnTo>
                  <a:lnTo>
                    <a:pt x="144" y="972"/>
                  </a:lnTo>
                  <a:lnTo>
                    <a:pt x="138" y="972"/>
                  </a:lnTo>
                  <a:lnTo>
                    <a:pt x="138" y="966"/>
                  </a:lnTo>
                  <a:lnTo>
                    <a:pt x="132" y="966"/>
                  </a:lnTo>
                  <a:lnTo>
                    <a:pt x="126" y="960"/>
                  </a:lnTo>
                  <a:lnTo>
                    <a:pt x="126" y="954"/>
                  </a:lnTo>
                  <a:lnTo>
                    <a:pt x="120" y="954"/>
                  </a:lnTo>
                  <a:lnTo>
                    <a:pt x="114" y="948"/>
                  </a:lnTo>
                  <a:lnTo>
                    <a:pt x="108" y="948"/>
                  </a:lnTo>
                  <a:lnTo>
                    <a:pt x="108" y="942"/>
                  </a:lnTo>
                  <a:lnTo>
                    <a:pt x="102" y="942"/>
                  </a:lnTo>
                  <a:lnTo>
                    <a:pt x="96" y="942"/>
                  </a:lnTo>
                  <a:lnTo>
                    <a:pt x="96" y="936"/>
                  </a:lnTo>
                  <a:lnTo>
                    <a:pt x="90" y="936"/>
                  </a:lnTo>
                  <a:lnTo>
                    <a:pt x="90" y="930"/>
                  </a:lnTo>
                  <a:lnTo>
                    <a:pt x="84" y="930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18"/>
                  </a:lnTo>
                  <a:lnTo>
                    <a:pt x="66" y="918"/>
                  </a:lnTo>
                  <a:lnTo>
                    <a:pt x="66" y="912"/>
                  </a:lnTo>
                  <a:lnTo>
                    <a:pt x="66" y="906"/>
                  </a:lnTo>
                  <a:lnTo>
                    <a:pt x="72" y="906"/>
                  </a:lnTo>
                  <a:lnTo>
                    <a:pt x="84" y="906"/>
                  </a:lnTo>
                  <a:lnTo>
                    <a:pt x="90" y="906"/>
                  </a:lnTo>
                  <a:lnTo>
                    <a:pt x="120" y="930"/>
                  </a:lnTo>
                  <a:lnTo>
                    <a:pt x="126" y="936"/>
                  </a:lnTo>
                  <a:lnTo>
                    <a:pt x="138" y="936"/>
                  </a:lnTo>
                  <a:lnTo>
                    <a:pt x="138" y="930"/>
                  </a:lnTo>
                  <a:lnTo>
                    <a:pt x="144" y="930"/>
                  </a:lnTo>
                  <a:lnTo>
                    <a:pt x="144" y="924"/>
                  </a:lnTo>
                  <a:lnTo>
                    <a:pt x="150" y="900"/>
                  </a:lnTo>
                  <a:lnTo>
                    <a:pt x="138" y="894"/>
                  </a:lnTo>
                  <a:lnTo>
                    <a:pt x="126" y="894"/>
                  </a:lnTo>
                  <a:lnTo>
                    <a:pt x="108" y="888"/>
                  </a:lnTo>
                  <a:lnTo>
                    <a:pt x="84" y="882"/>
                  </a:lnTo>
                  <a:lnTo>
                    <a:pt x="72" y="882"/>
                  </a:lnTo>
                  <a:lnTo>
                    <a:pt x="72" y="876"/>
                  </a:lnTo>
                  <a:lnTo>
                    <a:pt x="78" y="870"/>
                  </a:lnTo>
                  <a:lnTo>
                    <a:pt x="90" y="870"/>
                  </a:lnTo>
                  <a:lnTo>
                    <a:pt x="96" y="870"/>
                  </a:lnTo>
                  <a:lnTo>
                    <a:pt x="102" y="870"/>
                  </a:lnTo>
                  <a:lnTo>
                    <a:pt x="114" y="870"/>
                  </a:lnTo>
                  <a:lnTo>
                    <a:pt x="120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34"/>
                  </a:lnTo>
                  <a:lnTo>
                    <a:pt x="132" y="828"/>
                  </a:lnTo>
                  <a:lnTo>
                    <a:pt x="132" y="816"/>
                  </a:lnTo>
                  <a:lnTo>
                    <a:pt x="150" y="816"/>
                  </a:lnTo>
                  <a:lnTo>
                    <a:pt x="150" y="804"/>
                  </a:lnTo>
                  <a:lnTo>
                    <a:pt x="144" y="798"/>
                  </a:lnTo>
                  <a:lnTo>
                    <a:pt x="156" y="762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32"/>
                  </a:lnTo>
                  <a:lnTo>
                    <a:pt x="144" y="726"/>
                  </a:lnTo>
                  <a:lnTo>
                    <a:pt x="132" y="726"/>
                  </a:lnTo>
                  <a:lnTo>
                    <a:pt x="120" y="732"/>
                  </a:lnTo>
                  <a:lnTo>
                    <a:pt x="114" y="744"/>
                  </a:lnTo>
                  <a:lnTo>
                    <a:pt x="108" y="750"/>
                  </a:lnTo>
                  <a:lnTo>
                    <a:pt x="96" y="768"/>
                  </a:lnTo>
                  <a:lnTo>
                    <a:pt x="96" y="774"/>
                  </a:lnTo>
                  <a:lnTo>
                    <a:pt x="90" y="780"/>
                  </a:lnTo>
                  <a:lnTo>
                    <a:pt x="84" y="804"/>
                  </a:lnTo>
                  <a:lnTo>
                    <a:pt x="72" y="774"/>
                  </a:lnTo>
                  <a:lnTo>
                    <a:pt x="72" y="768"/>
                  </a:lnTo>
                  <a:lnTo>
                    <a:pt x="66" y="762"/>
                  </a:lnTo>
                  <a:lnTo>
                    <a:pt x="60" y="750"/>
                  </a:lnTo>
                  <a:lnTo>
                    <a:pt x="54" y="750"/>
                  </a:lnTo>
                  <a:lnTo>
                    <a:pt x="48" y="750"/>
                  </a:lnTo>
                  <a:lnTo>
                    <a:pt x="42" y="750"/>
                  </a:lnTo>
                  <a:lnTo>
                    <a:pt x="30" y="744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12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2" y="702"/>
                  </a:lnTo>
                  <a:lnTo>
                    <a:pt x="18" y="696"/>
                  </a:lnTo>
                  <a:lnTo>
                    <a:pt x="12" y="690"/>
                  </a:lnTo>
                  <a:lnTo>
                    <a:pt x="12" y="684"/>
                  </a:lnTo>
                  <a:lnTo>
                    <a:pt x="12" y="678"/>
                  </a:lnTo>
                  <a:lnTo>
                    <a:pt x="12" y="672"/>
                  </a:lnTo>
                  <a:lnTo>
                    <a:pt x="18" y="672"/>
                  </a:lnTo>
                  <a:lnTo>
                    <a:pt x="18" y="666"/>
                  </a:lnTo>
                  <a:lnTo>
                    <a:pt x="24" y="666"/>
                  </a:lnTo>
                  <a:lnTo>
                    <a:pt x="24" y="660"/>
                  </a:lnTo>
                  <a:lnTo>
                    <a:pt x="30" y="660"/>
                  </a:lnTo>
                  <a:lnTo>
                    <a:pt x="30" y="654"/>
                  </a:lnTo>
                  <a:lnTo>
                    <a:pt x="36" y="654"/>
                  </a:lnTo>
                  <a:lnTo>
                    <a:pt x="36" y="648"/>
                  </a:lnTo>
                  <a:lnTo>
                    <a:pt x="42" y="648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60" y="630"/>
                  </a:lnTo>
                  <a:lnTo>
                    <a:pt x="66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78" y="624"/>
                  </a:lnTo>
                  <a:lnTo>
                    <a:pt x="84" y="618"/>
                  </a:lnTo>
                  <a:lnTo>
                    <a:pt x="84" y="612"/>
                  </a:lnTo>
                  <a:lnTo>
                    <a:pt x="90" y="612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20" y="588"/>
                  </a:lnTo>
                  <a:lnTo>
                    <a:pt x="120" y="582"/>
                  </a:lnTo>
                  <a:lnTo>
                    <a:pt x="120" y="576"/>
                  </a:lnTo>
                  <a:lnTo>
                    <a:pt x="120" y="570"/>
                  </a:lnTo>
                  <a:lnTo>
                    <a:pt x="126" y="564"/>
                  </a:lnTo>
                  <a:lnTo>
                    <a:pt x="126" y="558"/>
                  </a:lnTo>
                  <a:lnTo>
                    <a:pt x="126" y="552"/>
                  </a:lnTo>
                  <a:lnTo>
                    <a:pt x="126" y="546"/>
                  </a:lnTo>
                  <a:lnTo>
                    <a:pt x="126" y="534"/>
                  </a:lnTo>
                  <a:lnTo>
                    <a:pt x="126" y="516"/>
                  </a:lnTo>
                  <a:lnTo>
                    <a:pt x="126" y="510"/>
                  </a:lnTo>
                  <a:lnTo>
                    <a:pt x="126" y="504"/>
                  </a:lnTo>
                  <a:lnTo>
                    <a:pt x="126" y="498"/>
                  </a:lnTo>
                  <a:lnTo>
                    <a:pt x="132" y="498"/>
                  </a:lnTo>
                  <a:lnTo>
                    <a:pt x="132" y="492"/>
                  </a:lnTo>
                  <a:lnTo>
                    <a:pt x="138" y="492"/>
                  </a:lnTo>
                  <a:lnTo>
                    <a:pt x="144" y="486"/>
                  </a:lnTo>
                  <a:lnTo>
                    <a:pt x="156" y="480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6" y="462"/>
                  </a:lnTo>
                  <a:lnTo>
                    <a:pt x="156" y="456"/>
                  </a:lnTo>
                  <a:lnTo>
                    <a:pt x="156" y="450"/>
                  </a:lnTo>
                  <a:lnTo>
                    <a:pt x="162" y="438"/>
                  </a:lnTo>
                  <a:lnTo>
                    <a:pt x="168" y="426"/>
                  </a:lnTo>
                  <a:lnTo>
                    <a:pt x="174" y="426"/>
                  </a:lnTo>
                  <a:lnTo>
                    <a:pt x="174" y="420"/>
                  </a:lnTo>
                  <a:lnTo>
                    <a:pt x="180" y="414"/>
                  </a:lnTo>
                  <a:lnTo>
                    <a:pt x="186" y="420"/>
                  </a:lnTo>
                  <a:lnTo>
                    <a:pt x="186" y="414"/>
                  </a:lnTo>
                  <a:lnTo>
                    <a:pt x="180" y="408"/>
                  </a:lnTo>
                  <a:lnTo>
                    <a:pt x="180" y="402"/>
                  </a:lnTo>
                  <a:lnTo>
                    <a:pt x="186" y="402"/>
                  </a:lnTo>
                  <a:lnTo>
                    <a:pt x="192" y="402"/>
                  </a:lnTo>
                  <a:lnTo>
                    <a:pt x="192" y="396"/>
                  </a:lnTo>
                  <a:lnTo>
                    <a:pt x="198" y="396"/>
                  </a:lnTo>
                  <a:lnTo>
                    <a:pt x="204" y="396"/>
                  </a:lnTo>
                  <a:lnTo>
                    <a:pt x="210" y="396"/>
                  </a:lnTo>
                  <a:lnTo>
                    <a:pt x="210" y="390"/>
                  </a:lnTo>
                  <a:lnTo>
                    <a:pt x="216" y="390"/>
                  </a:lnTo>
                  <a:lnTo>
                    <a:pt x="216" y="384"/>
                  </a:lnTo>
                  <a:lnTo>
                    <a:pt x="222" y="384"/>
                  </a:lnTo>
                  <a:lnTo>
                    <a:pt x="222" y="378"/>
                  </a:lnTo>
                  <a:lnTo>
                    <a:pt x="228" y="372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0" y="348"/>
                  </a:lnTo>
                  <a:lnTo>
                    <a:pt x="234" y="342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46" y="330"/>
                  </a:lnTo>
                  <a:lnTo>
                    <a:pt x="246" y="324"/>
                  </a:lnTo>
                  <a:lnTo>
                    <a:pt x="234" y="318"/>
                  </a:lnTo>
                  <a:lnTo>
                    <a:pt x="234" y="312"/>
                  </a:lnTo>
                  <a:lnTo>
                    <a:pt x="234" y="300"/>
                  </a:lnTo>
                  <a:lnTo>
                    <a:pt x="240" y="288"/>
                  </a:lnTo>
                  <a:lnTo>
                    <a:pt x="240" y="276"/>
                  </a:lnTo>
                  <a:lnTo>
                    <a:pt x="246" y="258"/>
                  </a:lnTo>
                  <a:lnTo>
                    <a:pt x="258" y="252"/>
                  </a:lnTo>
                  <a:lnTo>
                    <a:pt x="270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294" y="252"/>
                  </a:lnTo>
                  <a:lnTo>
                    <a:pt x="300" y="258"/>
                  </a:lnTo>
                  <a:lnTo>
                    <a:pt x="318" y="252"/>
                  </a:lnTo>
                  <a:lnTo>
                    <a:pt x="366" y="252"/>
                  </a:lnTo>
                  <a:lnTo>
                    <a:pt x="378" y="252"/>
                  </a:lnTo>
                  <a:lnTo>
                    <a:pt x="396" y="252"/>
                  </a:lnTo>
                  <a:lnTo>
                    <a:pt x="408" y="252"/>
                  </a:lnTo>
                  <a:lnTo>
                    <a:pt x="408" y="246"/>
                  </a:lnTo>
                  <a:lnTo>
                    <a:pt x="414" y="240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20" y="216"/>
                  </a:lnTo>
                  <a:lnTo>
                    <a:pt x="426" y="210"/>
                  </a:lnTo>
                  <a:lnTo>
                    <a:pt x="444" y="198"/>
                  </a:lnTo>
                  <a:lnTo>
                    <a:pt x="462" y="198"/>
                  </a:lnTo>
                  <a:lnTo>
                    <a:pt x="474" y="204"/>
                  </a:lnTo>
                  <a:lnTo>
                    <a:pt x="498" y="198"/>
                  </a:lnTo>
                  <a:lnTo>
                    <a:pt x="498" y="204"/>
                  </a:lnTo>
                  <a:lnTo>
                    <a:pt x="540" y="210"/>
                  </a:lnTo>
                  <a:lnTo>
                    <a:pt x="564" y="210"/>
                  </a:lnTo>
                  <a:lnTo>
                    <a:pt x="588" y="210"/>
                  </a:lnTo>
                  <a:lnTo>
                    <a:pt x="612" y="210"/>
                  </a:lnTo>
                  <a:lnTo>
                    <a:pt x="612" y="216"/>
                  </a:lnTo>
                  <a:lnTo>
                    <a:pt x="618" y="222"/>
                  </a:lnTo>
                  <a:lnTo>
                    <a:pt x="618" y="228"/>
                  </a:lnTo>
                  <a:lnTo>
                    <a:pt x="624" y="240"/>
                  </a:lnTo>
                  <a:lnTo>
                    <a:pt x="624" y="246"/>
                  </a:lnTo>
                  <a:lnTo>
                    <a:pt x="630" y="252"/>
                  </a:lnTo>
                  <a:lnTo>
                    <a:pt x="630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0" y="282"/>
                  </a:lnTo>
                  <a:lnTo>
                    <a:pt x="630" y="288"/>
                  </a:lnTo>
                  <a:lnTo>
                    <a:pt x="630" y="300"/>
                  </a:lnTo>
                  <a:lnTo>
                    <a:pt x="630" y="306"/>
                  </a:lnTo>
                  <a:lnTo>
                    <a:pt x="636" y="306"/>
                  </a:lnTo>
                  <a:lnTo>
                    <a:pt x="642" y="306"/>
                  </a:lnTo>
                  <a:lnTo>
                    <a:pt x="648" y="312"/>
                  </a:lnTo>
                  <a:lnTo>
                    <a:pt x="666" y="312"/>
                  </a:lnTo>
                  <a:lnTo>
                    <a:pt x="696" y="306"/>
                  </a:lnTo>
                  <a:lnTo>
                    <a:pt x="732" y="300"/>
                  </a:lnTo>
                  <a:lnTo>
                    <a:pt x="732" y="288"/>
                  </a:lnTo>
                  <a:lnTo>
                    <a:pt x="738" y="288"/>
                  </a:lnTo>
                  <a:lnTo>
                    <a:pt x="744" y="276"/>
                  </a:lnTo>
                  <a:lnTo>
                    <a:pt x="762" y="246"/>
                  </a:lnTo>
                  <a:lnTo>
                    <a:pt x="768" y="228"/>
                  </a:lnTo>
                  <a:lnTo>
                    <a:pt x="792" y="210"/>
                  </a:lnTo>
                  <a:lnTo>
                    <a:pt x="804" y="186"/>
                  </a:lnTo>
                  <a:lnTo>
                    <a:pt x="804" y="156"/>
                  </a:lnTo>
                  <a:lnTo>
                    <a:pt x="804" y="138"/>
                  </a:lnTo>
                  <a:lnTo>
                    <a:pt x="810" y="126"/>
                  </a:lnTo>
                  <a:lnTo>
                    <a:pt x="816" y="120"/>
                  </a:lnTo>
                  <a:lnTo>
                    <a:pt x="828" y="102"/>
                  </a:lnTo>
                  <a:lnTo>
                    <a:pt x="834" y="96"/>
                  </a:lnTo>
                  <a:lnTo>
                    <a:pt x="846" y="102"/>
                  </a:lnTo>
                  <a:lnTo>
                    <a:pt x="852" y="96"/>
                  </a:lnTo>
                  <a:lnTo>
                    <a:pt x="858" y="72"/>
                  </a:lnTo>
                  <a:lnTo>
                    <a:pt x="864" y="60"/>
                  </a:lnTo>
                  <a:lnTo>
                    <a:pt x="882" y="48"/>
                  </a:lnTo>
                  <a:lnTo>
                    <a:pt x="906" y="36"/>
                  </a:lnTo>
                  <a:lnTo>
                    <a:pt x="918" y="12"/>
                  </a:lnTo>
                  <a:lnTo>
                    <a:pt x="924" y="0"/>
                  </a:lnTo>
                  <a:lnTo>
                    <a:pt x="930" y="6"/>
                  </a:lnTo>
                  <a:lnTo>
                    <a:pt x="942" y="12"/>
                  </a:lnTo>
                  <a:lnTo>
                    <a:pt x="948" y="12"/>
                  </a:lnTo>
                  <a:lnTo>
                    <a:pt x="954" y="18"/>
                  </a:lnTo>
                  <a:lnTo>
                    <a:pt x="966" y="18"/>
                  </a:lnTo>
                  <a:lnTo>
                    <a:pt x="972" y="18"/>
                  </a:lnTo>
                  <a:lnTo>
                    <a:pt x="984" y="18"/>
                  </a:lnTo>
                  <a:lnTo>
                    <a:pt x="990" y="18"/>
                  </a:lnTo>
                  <a:lnTo>
                    <a:pt x="1002" y="48"/>
                  </a:lnTo>
                  <a:lnTo>
                    <a:pt x="1008" y="78"/>
                  </a:lnTo>
                  <a:lnTo>
                    <a:pt x="1020" y="78"/>
                  </a:lnTo>
                  <a:lnTo>
                    <a:pt x="1020" y="90"/>
                  </a:lnTo>
                  <a:lnTo>
                    <a:pt x="1026" y="102"/>
                  </a:lnTo>
                  <a:lnTo>
                    <a:pt x="1044" y="120"/>
                  </a:lnTo>
                  <a:lnTo>
                    <a:pt x="1044" y="132"/>
                  </a:lnTo>
                  <a:lnTo>
                    <a:pt x="1056" y="150"/>
                  </a:lnTo>
                  <a:lnTo>
                    <a:pt x="1050" y="150"/>
                  </a:lnTo>
                  <a:lnTo>
                    <a:pt x="1044" y="156"/>
                  </a:lnTo>
                  <a:lnTo>
                    <a:pt x="1044" y="162"/>
                  </a:lnTo>
                  <a:lnTo>
                    <a:pt x="1038" y="162"/>
                  </a:lnTo>
                  <a:lnTo>
                    <a:pt x="1032" y="162"/>
                  </a:lnTo>
                  <a:lnTo>
                    <a:pt x="1026" y="168"/>
                  </a:lnTo>
                  <a:lnTo>
                    <a:pt x="1014" y="174"/>
                  </a:lnTo>
                  <a:lnTo>
                    <a:pt x="1014" y="186"/>
                  </a:lnTo>
                  <a:lnTo>
                    <a:pt x="1014" y="192"/>
                  </a:lnTo>
                  <a:lnTo>
                    <a:pt x="1014" y="198"/>
                  </a:lnTo>
                  <a:lnTo>
                    <a:pt x="1020" y="204"/>
                  </a:lnTo>
                  <a:lnTo>
                    <a:pt x="1026" y="204"/>
                  </a:lnTo>
                  <a:lnTo>
                    <a:pt x="1032" y="204"/>
                  </a:lnTo>
                  <a:lnTo>
                    <a:pt x="1032" y="210"/>
                  </a:lnTo>
                  <a:lnTo>
                    <a:pt x="1038" y="210"/>
                  </a:lnTo>
                  <a:lnTo>
                    <a:pt x="1032" y="216"/>
                  </a:lnTo>
                  <a:lnTo>
                    <a:pt x="1026" y="228"/>
                  </a:lnTo>
                  <a:lnTo>
                    <a:pt x="1026" y="234"/>
                  </a:lnTo>
                  <a:lnTo>
                    <a:pt x="1032" y="240"/>
                  </a:lnTo>
                  <a:lnTo>
                    <a:pt x="1032" y="246"/>
                  </a:lnTo>
                  <a:lnTo>
                    <a:pt x="1032" y="252"/>
                  </a:lnTo>
                  <a:lnTo>
                    <a:pt x="1032" y="258"/>
                  </a:lnTo>
                  <a:lnTo>
                    <a:pt x="1038" y="264"/>
                  </a:lnTo>
                  <a:lnTo>
                    <a:pt x="1032" y="276"/>
                  </a:lnTo>
                  <a:lnTo>
                    <a:pt x="1026" y="276"/>
                  </a:lnTo>
                  <a:lnTo>
                    <a:pt x="1020" y="276"/>
                  </a:lnTo>
                  <a:lnTo>
                    <a:pt x="996" y="282"/>
                  </a:lnTo>
                  <a:lnTo>
                    <a:pt x="996" y="288"/>
                  </a:lnTo>
                  <a:lnTo>
                    <a:pt x="996" y="294"/>
                  </a:lnTo>
                  <a:lnTo>
                    <a:pt x="996" y="300"/>
                  </a:lnTo>
                  <a:lnTo>
                    <a:pt x="996" y="306"/>
                  </a:lnTo>
                  <a:lnTo>
                    <a:pt x="984" y="324"/>
                  </a:lnTo>
                  <a:lnTo>
                    <a:pt x="984" y="330"/>
                  </a:lnTo>
                  <a:lnTo>
                    <a:pt x="984" y="336"/>
                  </a:lnTo>
                  <a:lnTo>
                    <a:pt x="978" y="336"/>
                  </a:lnTo>
                  <a:lnTo>
                    <a:pt x="978" y="342"/>
                  </a:lnTo>
                  <a:lnTo>
                    <a:pt x="984" y="360"/>
                  </a:lnTo>
                  <a:lnTo>
                    <a:pt x="978" y="366"/>
                  </a:lnTo>
                  <a:lnTo>
                    <a:pt x="978" y="372"/>
                  </a:lnTo>
                  <a:lnTo>
                    <a:pt x="972" y="372"/>
                  </a:lnTo>
                  <a:lnTo>
                    <a:pt x="972" y="378"/>
                  </a:lnTo>
                  <a:lnTo>
                    <a:pt x="972" y="384"/>
                  </a:lnTo>
                  <a:lnTo>
                    <a:pt x="972" y="390"/>
                  </a:lnTo>
                  <a:lnTo>
                    <a:pt x="966" y="402"/>
                  </a:lnTo>
                  <a:lnTo>
                    <a:pt x="960" y="414"/>
                  </a:lnTo>
                  <a:lnTo>
                    <a:pt x="954" y="420"/>
                  </a:lnTo>
                  <a:lnTo>
                    <a:pt x="948" y="426"/>
                  </a:lnTo>
                  <a:lnTo>
                    <a:pt x="948" y="438"/>
                  </a:lnTo>
                  <a:lnTo>
                    <a:pt x="942" y="444"/>
                  </a:lnTo>
                  <a:lnTo>
                    <a:pt x="936" y="450"/>
                  </a:lnTo>
                  <a:lnTo>
                    <a:pt x="930" y="456"/>
                  </a:lnTo>
                  <a:lnTo>
                    <a:pt x="924" y="462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18" y="522"/>
                  </a:lnTo>
                  <a:lnTo>
                    <a:pt x="918" y="528"/>
                  </a:lnTo>
                  <a:lnTo>
                    <a:pt x="924" y="534"/>
                  </a:lnTo>
                  <a:lnTo>
                    <a:pt x="924" y="540"/>
                  </a:lnTo>
                  <a:lnTo>
                    <a:pt x="924" y="546"/>
                  </a:lnTo>
                  <a:lnTo>
                    <a:pt x="918" y="546"/>
                  </a:lnTo>
                  <a:lnTo>
                    <a:pt x="918" y="552"/>
                  </a:lnTo>
                  <a:lnTo>
                    <a:pt x="912" y="546"/>
                  </a:lnTo>
                  <a:lnTo>
                    <a:pt x="912" y="552"/>
                  </a:lnTo>
                  <a:lnTo>
                    <a:pt x="912" y="570"/>
                  </a:lnTo>
                  <a:lnTo>
                    <a:pt x="906" y="588"/>
                  </a:lnTo>
                  <a:lnTo>
                    <a:pt x="900" y="606"/>
                  </a:lnTo>
                  <a:lnTo>
                    <a:pt x="906" y="624"/>
                  </a:lnTo>
                  <a:lnTo>
                    <a:pt x="900" y="624"/>
                  </a:lnTo>
                  <a:lnTo>
                    <a:pt x="894" y="630"/>
                  </a:lnTo>
                  <a:lnTo>
                    <a:pt x="888" y="630"/>
                  </a:lnTo>
                  <a:lnTo>
                    <a:pt x="882" y="630"/>
                  </a:lnTo>
                  <a:lnTo>
                    <a:pt x="882" y="636"/>
                  </a:lnTo>
                  <a:lnTo>
                    <a:pt x="876" y="642"/>
                  </a:lnTo>
                  <a:lnTo>
                    <a:pt x="870" y="642"/>
                  </a:lnTo>
                  <a:lnTo>
                    <a:pt x="870" y="648"/>
                  </a:lnTo>
                  <a:lnTo>
                    <a:pt x="870" y="654"/>
                  </a:lnTo>
                  <a:lnTo>
                    <a:pt x="864" y="654"/>
                  </a:lnTo>
                  <a:lnTo>
                    <a:pt x="864" y="660"/>
                  </a:lnTo>
                  <a:lnTo>
                    <a:pt x="846" y="666"/>
                  </a:lnTo>
                  <a:lnTo>
                    <a:pt x="828" y="672"/>
                  </a:lnTo>
                  <a:lnTo>
                    <a:pt x="816" y="660"/>
                  </a:lnTo>
                  <a:lnTo>
                    <a:pt x="810" y="660"/>
                  </a:lnTo>
                  <a:lnTo>
                    <a:pt x="798" y="666"/>
                  </a:lnTo>
                  <a:lnTo>
                    <a:pt x="786" y="666"/>
                  </a:lnTo>
                  <a:lnTo>
                    <a:pt x="780" y="672"/>
                  </a:lnTo>
                  <a:lnTo>
                    <a:pt x="768" y="678"/>
                  </a:lnTo>
                  <a:lnTo>
                    <a:pt x="762" y="660"/>
                  </a:lnTo>
                  <a:lnTo>
                    <a:pt x="762" y="654"/>
                  </a:lnTo>
                  <a:lnTo>
                    <a:pt x="756" y="636"/>
                  </a:lnTo>
                  <a:lnTo>
                    <a:pt x="762" y="624"/>
                  </a:lnTo>
                  <a:lnTo>
                    <a:pt x="756" y="606"/>
                  </a:lnTo>
                  <a:lnTo>
                    <a:pt x="756" y="600"/>
                  </a:lnTo>
                  <a:lnTo>
                    <a:pt x="762" y="594"/>
                  </a:lnTo>
                  <a:lnTo>
                    <a:pt x="768" y="600"/>
                  </a:lnTo>
                  <a:lnTo>
                    <a:pt x="768" y="594"/>
                  </a:lnTo>
                  <a:lnTo>
                    <a:pt x="768" y="588"/>
                  </a:lnTo>
                  <a:lnTo>
                    <a:pt x="774" y="582"/>
                  </a:lnTo>
                  <a:lnTo>
                    <a:pt x="768" y="576"/>
                  </a:lnTo>
                  <a:lnTo>
                    <a:pt x="762" y="576"/>
                  </a:lnTo>
                  <a:lnTo>
                    <a:pt x="756" y="576"/>
                  </a:lnTo>
                  <a:lnTo>
                    <a:pt x="690" y="576"/>
                  </a:lnTo>
                  <a:lnTo>
                    <a:pt x="624" y="570"/>
                  </a:lnTo>
                  <a:lnTo>
                    <a:pt x="600" y="564"/>
                  </a:lnTo>
                  <a:lnTo>
                    <a:pt x="576" y="564"/>
                  </a:lnTo>
                  <a:lnTo>
                    <a:pt x="558" y="570"/>
                  </a:lnTo>
                  <a:lnTo>
                    <a:pt x="552" y="576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46" y="594"/>
                  </a:lnTo>
                  <a:lnTo>
                    <a:pt x="546" y="600"/>
                  </a:lnTo>
                  <a:lnTo>
                    <a:pt x="540" y="606"/>
                  </a:lnTo>
                  <a:lnTo>
                    <a:pt x="534" y="618"/>
                  </a:lnTo>
                  <a:lnTo>
                    <a:pt x="534" y="624"/>
                  </a:lnTo>
                  <a:lnTo>
                    <a:pt x="534" y="630"/>
                  </a:lnTo>
                  <a:lnTo>
                    <a:pt x="534" y="636"/>
                  </a:lnTo>
                  <a:lnTo>
                    <a:pt x="528" y="636"/>
                  </a:lnTo>
                  <a:lnTo>
                    <a:pt x="516" y="642"/>
                  </a:lnTo>
                  <a:lnTo>
                    <a:pt x="516" y="648"/>
                  </a:lnTo>
                  <a:lnTo>
                    <a:pt x="510" y="648"/>
                  </a:lnTo>
                  <a:lnTo>
                    <a:pt x="504" y="654"/>
                  </a:lnTo>
                  <a:lnTo>
                    <a:pt x="492" y="666"/>
                  </a:lnTo>
                  <a:lnTo>
                    <a:pt x="492" y="672"/>
                  </a:lnTo>
                  <a:lnTo>
                    <a:pt x="492" y="684"/>
                  </a:lnTo>
                  <a:lnTo>
                    <a:pt x="486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92" y="702"/>
                  </a:lnTo>
                  <a:lnTo>
                    <a:pt x="486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74" y="720"/>
                  </a:lnTo>
                  <a:lnTo>
                    <a:pt x="480" y="726"/>
                  </a:lnTo>
                  <a:lnTo>
                    <a:pt x="474" y="726"/>
                  </a:lnTo>
                  <a:lnTo>
                    <a:pt x="474" y="738"/>
                  </a:lnTo>
                  <a:lnTo>
                    <a:pt x="474" y="744"/>
                  </a:lnTo>
                  <a:lnTo>
                    <a:pt x="474" y="750"/>
                  </a:lnTo>
                  <a:lnTo>
                    <a:pt x="480" y="750"/>
                  </a:lnTo>
                  <a:lnTo>
                    <a:pt x="480" y="756"/>
                  </a:lnTo>
                  <a:lnTo>
                    <a:pt x="492" y="762"/>
                  </a:lnTo>
                  <a:lnTo>
                    <a:pt x="498" y="774"/>
                  </a:lnTo>
                  <a:lnTo>
                    <a:pt x="498" y="780"/>
                  </a:lnTo>
                  <a:lnTo>
                    <a:pt x="504" y="786"/>
                  </a:lnTo>
                  <a:lnTo>
                    <a:pt x="510" y="792"/>
                  </a:lnTo>
                  <a:lnTo>
                    <a:pt x="504" y="798"/>
                  </a:lnTo>
                  <a:lnTo>
                    <a:pt x="504" y="804"/>
                  </a:lnTo>
                  <a:lnTo>
                    <a:pt x="504" y="810"/>
                  </a:lnTo>
                  <a:lnTo>
                    <a:pt x="498" y="822"/>
                  </a:lnTo>
                  <a:lnTo>
                    <a:pt x="492" y="828"/>
                  </a:lnTo>
                  <a:lnTo>
                    <a:pt x="492" y="834"/>
                  </a:lnTo>
                  <a:lnTo>
                    <a:pt x="486" y="840"/>
                  </a:lnTo>
                  <a:lnTo>
                    <a:pt x="480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74" y="858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876"/>
                  </a:lnTo>
                  <a:lnTo>
                    <a:pt x="456" y="894"/>
                  </a:lnTo>
                  <a:lnTo>
                    <a:pt x="450" y="894"/>
                  </a:lnTo>
                  <a:lnTo>
                    <a:pt x="444" y="900"/>
                  </a:lnTo>
                  <a:lnTo>
                    <a:pt x="444" y="894"/>
                  </a:lnTo>
                  <a:lnTo>
                    <a:pt x="438" y="894"/>
                  </a:lnTo>
                  <a:lnTo>
                    <a:pt x="432" y="900"/>
                  </a:lnTo>
                  <a:lnTo>
                    <a:pt x="432" y="906"/>
                  </a:lnTo>
                  <a:lnTo>
                    <a:pt x="420" y="906"/>
                  </a:lnTo>
                  <a:lnTo>
                    <a:pt x="420" y="912"/>
                  </a:lnTo>
                  <a:lnTo>
                    <a:pt x="420" y="918"/>
                  </a:lnTo>
                  <a:lnTo>
                    <a:pt x="426" y="918"/>
                  </a:lnTo>
                  <a:lnTo>
                    <a:pt x="426" y="924"/>
                  </a:lnTo>
                  <a:lnTo>
                    <a:pt x="426" y="930"/>
                  </a:lnTo>
                  <a:lnTo>
                    <a:pt x="420" y="930"/>
                  </a:lnTo>
                  <a:lnTo>
                    <a:pt x="414" y="936"/>
                  </a:lnTo>
                  <a:lnTo>
                    <a:pt x="414" y="942"/>
                  </a:lnTo>
                  <a:lnTo>
                    <a:pt x="414" y="948"/>
                  </a:lnTo>
                  <a:lnTo>
                    <a:pt x="414" y="954"/>
                  </a:lnTo>
                  <a:lnTo>
                    <a:pt x="426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44" y="972"/>
                  </a:lnTo>
                  <a:lnTo>
                    <a:pt x="444" y="978"/>
                  </a:lnTo>
                  <a:lnTo>
                    <a:pt x="450" y="978"/>
                  </a:lnTo>
                  <a:lnTo>
                    <a:pt x="450" y="984"/>
                  </a:lnTo>
                  <a:lnTo>
                    <a:pt x="456" y="990"/>
                  </a:lnTo>
                  <a:lnTo>
                    <a:pt x="456" y="996"/>
                  </a:lnTo>
                  <a:lnTo>
                    <a:pt x="462" y="1008"/>
                  </a:lnTo>
                  <a:lnTo>
                    <a:pt x="468" y="1008"/>
                  </a:lnTo>
                  <a:lnTo>
                    <a:pt x="468" y="1002"/>
                  </a:lnTo>
                  <a:lnTo>
                    <a:pt x="474" y="1008"/>
                  </a:lnTo>
                  <a:lnTo>
                    <a:pt x="480" y="1002"/>
                  </a:lnTo>
                  <a:lnTo>
                    <a:pt x="486" y="1008"/>
                  </a:lnTo>
                  <a:lnTo>
                    <a:pt x="486" y="1014"/>
                  </a:lnTo>
                  <a:lnTo>
                    <a:pt x="492" y="1014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86" y="1026"/>
                  </a:lnTo>
                  <a:lnTo>
                    <a:pt x="492" y="1026"/>
                  </a:lnTo>
                  <a:lnTo>
                    <a:pt x="486" y="1026"/>
                  </a:lnTo>
                  <a:lnTo>
                    <a:pt x="492" y="103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27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117" name="Freeform 31">
              <a:extLst>
                <a:ext uri="{FF2B5EF4-FFF2-40B4-BE49-F238E27FC236}">
                  <a16:creationId xmlns:a16="http://schemas.microsoft.com/office/drawing/2014/main" id="{0F3E58C5-DC50-46C0-B494-29E94ABA3AB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22413" y="4873626"/>
              <a:ext cx="984250" cy="195263"/>
            </a:xfrm>
            <a:custGeom>
              <a:avLst/>
              <a:gdLst>
                <a:gd name="T0" fmla="*/ 2147483647 w 1056"/>
                <a:gd name="T1" fmla="*/ 2147483647 h 210"/>
                <a:gd name="T2" fmla="*/ 2147483647 w 1056"/>
                <a:gd name="T3" fmla="*/ 2147483647 h 210"/>
                <a:gd name="T4" fmla="*/ 2147483647 w 1056"/>
                <a:gd name="T5" fmla="*/ 2147483647 h 210"/>
                <a:gd name="T6" fmla="*/ 2147483647 w 1056"/>
                <a:gd name="T7" fmla="*/ 2147483647 h 210"/>
                <a:gd name="T8" fmla="*/ 2147483647 w 1056"/>
                <a:gd name="T9" fmla="*/ 2147483647 h 210"/>
                <a:gd name="T10" fmla="*/ 2147483647 w 1056"/>
                <a:gd name="T11" fmla="*/ 2147483647 h 210"/>
                <a:gd name="T12" fmla="*/ 2147483647 w 1056"/>
                <a:gd name="T13" fmla="*/ 2147483647 h 210"/>
                <a:gd name="T14" fmla="*/ 2147483647 w 1056"/>
                <a:gd name="T15" fmla="*/ 2147483647 h 210"/>
                <a:gd name="T16" fmla="*/ 2147483647 w 1056"/>
                <a:gd name="T17" fmla="*/ 2147483647 h 210"/>
                <a:gd name="T18" fmla="*/ 2147483647 w 1056"/>
                <a:gd name="T19" fmla="*/ 2147483647 h 210"/>
                <a:gd name="T20" fmla="*/ 2147483647 w 1056"/>
                <a:gd name="T21" fmla="*/ 2147483647 h 210"/>
                <a:gd name="T22" fmla="*/ 2147483647 w 1056"/>
                <a:gd name="T23" fmla="*/ 2147483647 h 210"/>
                <a:gd name="T24" fmla="*/ 2147483647 w 1056"/>
                <a:gd name="T25" fmla="*/ 2147483647 h 210"/>
                <a:gd name="T26" fmla="*/ 2147483647 w 1056"/>
                <a:gd name="T27" fmla="*/ 2147483647 h 210"/>
                <a:gd name="T28" fmla="*/ 2147483647 w 1056"/>
                <a:gd name="T29" fmla="*/ 2147483647 h 210"/>
                <a:gd name="T30" fmla="*/ 2147483647 w 1056"/>
                <a:gd name="T31" fmla="*/ 2147483647 h 210"/>
                <a:gd name="T32" fmla="*/ 2147483647 w 1056"/>
                <a:gd name="T33" fmla="*/ 2147483647 h 210"/>
                <a:gd name="T34" fmla="*/ 2147483647 w 1056"/>
                <a:gd name="T35" fmla="*/ 2147483647 h 210"/>
                <a:gd name="T36" fmla="*/ 2147483647 w 1056"/>
                <a:gd name="T37" fmla="*/ 2147483647 h 210"/>
                <a:gd name="T38" fmla="*/ 2147483647 w 1056"/>
                <a:gd name="T39" fmla="*/ 2147483647 h 210"/>
                <a:gd name="T40" fmla="*/ 2147483647 w 1056"/>
                <a:gd name="T41" fmla="*/ 2147483647 h 210"/>
                <a:gd name="T42" fmla="*/ 2147483647 w 1056"/>
                <a:gd name="T43" fmla="*/ 2147483647 h 210"/>
                <a:gd name="T44" fmla="*/ 2147483647 w 1056"/>
                <a:gd name="T45" fmla="*/ 2147483647 h 210"/>
                <a:gd name="T46" fmla="*/ 2147483647 w 1056"/>
                <a:gd name="T47" fmla="*/ 2147483647 h 210"/>
                <a:gd name="T48" fmla="*/ 2147483647 w 1056"/>
                <a:gd name="T49" fmla="*/ 2147483647 h 210"/>
                <a:gd name="T50" fmla="*/ 2147483647 w 1056"/>
                <a:gd name="T51" fmla="*/ 2147483647 h 210"/>
                <a:gd name="T52" fmla="*/ 2147483647 w 1056"/>
                <a:gd name="T53" fmla="*/ 2147483647 h 210"/>
                <a:gd name="T54" fmla="*/ 2147483647 w 1056"/>
                <a:gd name="T55" fmla="*/ 2147483647 h 210"/>
                <a:gd name="T56" fmla="*/ 2147483647 w 1056"/>
                <a:gd name="T57" fmla="*/ 2147483647 h 210"/>
                <a:gd name="T58" fmla="*/ 2147483647 w 1056"/>
                <a:gd name="T59" fmla="*/ 2147483647 h 210"/>
                <a:gd name="T60" fmla="*/ 2147483647 w 1056"/>
                <a:gd name="T61" fmla="*/ 2147483647 h 210"/>
                <a:gd name="T62" fmla="*/ 2147483647 w 1056"/>
                <a:gd name="T63" fmla="*/ 2147483647 h 210"/>
                <a:gd name="T64" fmla="*/ 2147483647 w 1056"/>
                <a:gd name="T65" fmla="*/ 2147483647 h 210"/>
                <a:gd name="T66" fmla="*/ 2147483647 w 1056"/>
                <a:gd name="T67" fmla="*/ 2147483647 h 210"/>
                <a:gd name="T68" fmla="*/ 2147483647 w 1056"/>
                <a:gd name="T69" fmla="*/ 2147483647 h 210"/>
                <a:gd name="T70" fmla="*/ 2147483647 w 1056"/>
                <a:gd name="T71" fmla="*/ 2147483647 h 210"/>
                <a:gd name="T72" fmla="*/ 2147483647 w 1056"/>
                <a:gd name="T73" fmla="*/ 2147483647 h 210"/>
                <a:gd name="T74" fmla="*/ 2147483647 w 1056"/>
                <a:gd name="T75" fmla="*/ 2147483647 h 210"/>
                <a:gd name="T76" fmla="*/ 2147483647 w 1056"/>
                <a:gd name="T77" fmla="*/ 2147483647 h 210"/>
                <a:gd name="T78" fmla="*/ 2147483647 w 1056"/>
                <a:gd name="T79" fmla="*/ 2147483647 h 210"/>
                <a:gd name="T80" fmla="*/ 2147483647 w 1056"/>
                <a:gd name="T81" fmla="*/ 2147483647 h 210"/>
                <a:gd name="T82" fmla="*/ 2147483647 w 1056"/>
                <a:gd name="T83" fmla="*/ 2147483647 h 210"/>
                <a:gd name="T84" fmla="*/ 2147483647 w 1056"/>
                <a:gd name="T85" fmla="*/ 2147483647 h 210"/>
                <a:gd name="T86" fmla="*/ 2147483647 w 1056"/>
                <a:gd name="T87" fmla="*/ 2147483647 h 210"/>
                <a:gd name="T88" fmla="*/ 2147483647 w 1056"/>
                <a:gd name="T89" fmla="*/ 2147483647 h 210"/>
                <a:gd name="T90" fmla="*/ 2147483647 w 1056"/>
                <a:gd name="T91" fmla="*/ 2147483647 h 210"/>
                <a:gd name="T92" fmla="*/ 2147483647 w 1056"/>
                <a:gd name="T93" fmla="*/ 2147483647 h 210"/>
                <a:gd name="T94" fmla="*/ 2147483647 w 1056"/>
                <a:gd name="T95" fmla="*/ 2147483647 h 210"/>
                <a:gd name="T96" fmla="*/ 2147483647 w 1056"/>
                <a:gd name="T97" fmla="*/ 2147483647 h 210"/>
                <a:gd name="T98" fmla="*/ 2147483647 w 1056"/>
                <a:gd name="T99" fmla="*/ 2147483647 h 210"/>
                <a:gd name="T100" fmla="*/ 2147483647 w 1056"/>
                <a:gd name="T101" fmla="*/ 2147483647 h 210"/>
                <a:gd name="T102" fmla="*/ 2147483647 w 1056"/>
                <a:gd name="T103" fmla="*/ 2147483647 h 210"/>
                <a:gd name="T104" fmla="*/ 2147483647 w 1056"/>
                <a:gd name="T105" fmla="*/ 2147483647 h 210"/>
                <a:gd name="T106" fmla="*/ 2147483647 w 1056"/>
                <a:gd name="T107" fmla="*/ 2147483647 h 210"/>
                <a:gd name="T108" fmla="*/ 2147483647 w 1056"/>
                <a:gd name="T109" fmla="*/ 2147483647 h 210"/>
                <a:gd name="T110" fmla="*/ 2147483647 w 1056"/>
                <a:gd name="T111" fmla="*/ 2147483647 h 210"/>
                <a:gd name="T112" fmla="*/ 2147483647 w 1056"/>
                <a:gd name="T113" fmla="*/ 2147483647 h 210"/>
                <a:gd name="T114" fmla="*/ 2147483647 w 1056"/>
                <a:gd name="T115" fmla="*/ 2147483647 h 210"/>
                <a:gd name="T116" fmla="*/ 2147483647 w 1056"/>
                <a:gd name="T117" fmla="*/ 2147483647 h 210"/>
                <a:gd name="T118" fmla="*/ 2147483647 w 1056"/>
                <a:gd name="T119" fmla="*/ 2147483647 h 210"/>
                <a:gd name="T120" fmla="*/ 2147483647 w 1056"/>
                <a:gd name="T121" fmla="*/ 2147483647 h 210"/>
                <a:gd name="T122" fmla="*/ 2147483647 w 1056"/>
                <a:gd name="T123" fmla="*/ 2147483647 h 2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6"/>
                <a:gd name="T187" fmla="*/ 0 h 210"/>
                <a:gd name="T188" fmla="*/ 1056 w 1056"/>
                <a:gd name="T189" fmla="*/ 210 h 21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6" h="210">
                  <a:moveTo>
                    <a:pt x="870" y="90"/>
                  </a:moveTo>
                  <a:lnTo>
                    <a:pt x="864" y="90"/>
                  </a:lnTo>
                  <a:lnTo>
                    <a:pt x="852" y="84"/>
                  </a:lnTo>
                  <a:lnTo>
                    <a:pt x="846" y="84"/>
                  </a:lnTo>
                  <a:lnTo>
                    <a:pt x="846" y="78"/>
                  </a:lnTo>
                  <a:lnTo>
                    <a:pt x="840" y="78"/>
                  </a:lnTo>
                  <a:lnTo>
                    <a:pt x="834" y="78"/>
                  </a:lnTo>
                  <a:lnTo>
                    <a:pt x="834" y="72"/>
                  </a:lnTo>
                  <a:lnTo>
                    <a:pt x="804" y="78"/>
                  </a:lnTo>
                  <a:lnTo>
                    <a:pt x="798" y="78"/>
                  </a:lnTo>
                  <a:lnTo>
                    <a:pt x="792" y="72"/>
                  </a:lnTo>
                  <a:lnTo>
                    <a:pt x="780" y="60"/>
                  </a:lnTo>
                  <a:lnTo>
                    <a:pt x="768" y="54"/>
                  </a:lnTo>
                  <a:lnTo>
                    <a:pt x="756" y="54"/>
                  </a:lnTo>
                  <a:lnTo>
                    <a:pt x="750" y="54"/>
                  </a:lnTo>
                  <a:lnTo>
                    <a:pt x="750" y="48"/>
                  </a:lnTo>
                  <a:lnTo>
                    <a:pt x="744" y="48"/>
                  </a:lnTo>
                  <a:lnTo>
                    <a:pt x="738" y="48"/>
                  </a:lnTo>
                  <a:lnTo>
                    <a:pt x="732" y="48"/>
                  </a:lnTo>
                  <a:lnTo>
                    <a:pt x="732" y="54"/>
                  </a:lnTo>
                  <a:lnTo>
                    <a:pt x="726" y="48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48"/>
                  </a:lnTo>
                  <a:lnTo>
                    <a:pt x="702" y="48"/>
                  </a:lnTo>
                  <a:lnTo>
                    <a:pt x="696" y="48"/>
                  </a:lnTo>
                  <a:lnTo>
                    <a:pt x="684" y="48"/>
                  </a:lnTo>
                  <a:lnTo>
                    <a:pt x="678" y="48"/>
                  </a:lnTo>
                  <a:lnTo>
                    <a:pt x="672" y="48"/>
                  </a:lnTo>
                  <a:lnTo>
                    <a:pt x="666" y="54"/>
                  </a:lnTo>
                  <a:lnTo>
                    <a:pt x="660" y="54"/>
                  </a:lnTo>
                  <a:lnTo>
                    <a:pt x="660" y="48"/>
                  </a:lnTo>
                  <a:lnTo>
                    <a:pt x="654" y="48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42" y="54"/>
                  </a:lnTo>
                  <a:lnTo>
                    <a:pt x="63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30" y="66"/>
                  </a:lnTo>
                  <a:lnTo>
                    <a:pt x="624" y="66"/>
                  </a:lnTo>
                  <a:lnTo>
                    <a:pt x="618" y="66"/>
                  </a:lnTo>
                  <a:lnTo>
                    <a:pt x="618" y="72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6" y="84"/>
                  </a:lnTo>
                  <a:lnTo>
                    <a:pt x="600" y="84"/>
                  </a:lnTo>
                  <a:lnTo>
                    <a:pt x="594" y="90"/>
                  </a:lnTo>
                  <a:lnTo>
                    <a:pt x="588" y="90"/>
                  </a:lnTo>
                  <a:lnTo>
                    <a:pt x="588" y="84"/>
                  </a:lnTo>
                  <a:lnTo>
                    <a:pt x="582" y="84"/>
                  </a:lnTo>
                  <a:lnTo>
                    <a:pt x="576" y="84"/>
                  </a:lnTo>
                  <a:lnTo>
                    <a:pt x="570" y="84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58" y="96"/>
                  </a:lnTo>
                  <a:lnTo>
                    <a:pt x="552" y="96"/>
                  </a:lnTo>
                  <a:lnTo>
                    <a:pt x="546" y="102"/>
                  </a:lnTo>
                  <a:lnTo>
                    <a:pt x="540" y="102"/>
                  </a:lnTo>
                  <a:lnTo>
                    <a:pt x="534" y="102"/>
                  </a:lnTo>
                  <a:lnTo>
                    <a:pt x="528" y="102"/>
                  </a:lnTo>
                  <a:lnTo>
                    <a:pt x="528" y="108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16" y="102"/>
                  </a:lnTo>
                  <a:lnTo>
                    <a:pt x="510" y="102"/>
                  </a:lnTo>
                  <a:lnTo>
                    <a:pt x="504" y="102"/>
                  </a:lnTo>
                  <a:lnTo>
                    <a:pt x="498" y="102"/>
                  </a:lnTo>
                  <a:lnTo>
                    <a:pt x="498" y="96"/>
                  </a:lnTo>
                  <a:lnTo>
                    <a:pt x="492" y="96"/>
                  </a:lnTo>
                  <a:lnTo>
                    <a:pt x="492" y="90"/>
                  </a:lnTo>
                  <a:lnTo>
                    <a:pt x="492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498" y="66"/>
                  </a:lnTo>
                  <a:lnTo>
                    <a:pt x="504" y="60"/>
                  </a:lnTo>
                  <a:lnTo>
                    <a:pt x="498" y="60"/>
                  </a:lnTo>
                  <a:lnTo>
                    <a:pt x="498" y="54"/>
                  </a:lnTo>
                  <a:lnTo>
                    <a:pt x="492" y="54"/>
                  </a:lnTo>
                  <a:lnTo>
                    <a:pt x="492" y="60"/>
                  </a:lnTo>
                  <a:lnTo>
                    <a:pt x="486" y="60"/>
                  </a:lnTo>
                  <a:lnTo>
                    <a:pt x="486" y="66"/>
                  </a:lnTo>
                  <a:lnTo>
                    <a:pt x="480" y="66"/>
                  </a:lnTo>
                  <a:lnTo>
                    <a:pt x="474" y="72"/>
                  </a:lnTo>
                  <a:lnTo>
                    <a:pt x="474" y="66"/>
                  </a:lnTo>
                  <a:lnTo>
                    <a:pt x="474" y="72"/>
                  </a:lnTo>
                  <a:lnTo>
                    <a:pt x="468" y="72"/>
                  </a:lnTo>
                  <a:lnTo>
                    <a:pt x="468" y="78"/>
                  </a:lnTo>
                  <a:lnTo>
                    <a:pt x="468" y="84"/>
                  </a:lnTo>
                  <a:lnTo>
                    <a:pt x="462" y="90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0" y="84"/>
                  </a:lnTo>
                  <a:lnTo>
                    <a:pt x="450" y="90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44" y="102"/>
                  </a:lnTo>
                  <a:lnTo>
                    <a:pt x="444" y="108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38" y="126"/>
                  </a:lnTo>
                  <a:lnTo>
                    <a:pt x="438" y="132"/>
                  </a:lnTo>
                  <a:lnTo>
                    <a:pt x="438" y="138"/>
                  </a:lnTo>
                  <a:lnTo>
                    <a:pt x="438" y="144"/>
                  </a:lnTo>
                  <a:lnTo>
                    <a:pt x="432" y="144"/>
                  </a:lnTo>
                  <a:lnTo>
                    <a:pt x="432" y="150"/>
                  </a:lnTo>
                  <a:lnTo>
                    <a:pt x="432" y="144"/>
                  </a:lnTo>
                  <a:lnTo>
                    <a:pt x="426" y="144"/>
                  </a:lnTo>
                  <a:lnTo>
                    <a:pt x="426" y="150"/>
                  </a:lnTo>
                  <a:lnTo>
                    <a:pt x="426" y="156"/>
                  </a:lnTo>
                  <a:lnTo>
                    <a:pt x="432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2"/>
                  </a:lnTo>
                  <a:lnTo>
                    <a:pt x="432" y="168"/>
                  </a:lnTo>
                  <a:lnTo>
                    <a:pt x="426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44" y="168"/>
                  </a:lnTo>
                  <a:lnTo>
                    <a:pt x="444" y="174"/>
                  </a:lnTo>
                  <a:lnTo>
                    <a:pt x="444" y="180"/>
                  </a:lnTo>
                  <a:lnTo>
                    <a:pt x="444" y="186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2" y="192"/>
                  </a:lnTo>
                  <a:lnTo>
                    <a:pt x="426" y="192"/>
                  </a:lnTo>
                  <a:lnTo>
                    <a:pt x="420" y="186"/>
                  </a:lnTo>
                  <a:lnTo>
                    <a:pt x="414" y="186"/>
                  </a:lnTo>
                  <a:lnTo>
                    <a:pt x="408" y="186"/>
                  </a:lnTo>
                  <a:lnTo>
                    <a:pt x="402" y="186"/>
                  </a:lnTo>
                  <a:lnTo>
                    <a:pt x="396" y="186"/>
                  </a:lnTo>
                  <a:lnTo>
                    <a:pt x="390" y="186"/>
                  </a:lnTo>
                  <a:lnTo>
                    <a:pt x="384" y="186"/>
                  </a:lnTo>
                  <a:lnTo>
                    <a:pt x="378" y="186"/>
                  </a:lnTo>
                  <a:lnTo>
                    <a:pt x="372" y="186"/>
                  </a:lnTo>
                  <a:lnTo>
                    <a:pt x="354" y="186"/>
                  </a:lnTo>
                  <a:lnTo>
                    <a:pt x="342" y="186"/>
                  </a:lnTo>
                  <a:lnTo>
                    <a:pt x="324" y="186"/>
                  </a:lnTo>
                  <a:lnTo>
                    <a:pt x="312" y="186"/>
                  </a:lnTo>
                  <a:lnTo>
                    <a:pt x="306" y="186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82" y="186"/>
                  </a:lnTo>
                  <a:lnTo>
                    <a:pt x="270" y="186"/>
                  </a:lnTo>
                  <a:lnTo>
                    <a:pt x="264" y="186"/>
                  </a:lnTo>
                  <a:lnTo>
                    <a:pt x="258" y="192"/>
                  </a:lnTo>
                  <a:lnTo>
                    <a:pt x="258" y="186"/>
                  </a:lnTo>
                  <a:lnTo>
                    <a:pt x="246" y="186"/>
                  </a:lnTo>
                  <a:lnTo>
                    <a:pt x="240" y="186"/>
                  </a:lnTo>
                  <a:lnTo>
                    <a:pt x="234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2"/>
                  </a:lnTo>
                  <a:lnTo>
                    <a:pt x="204" y="192"/>
                  </a:lnTo>
                  <a:lnTo>
                    <a:pt x="198" y="192"/>
                  </a:lnTo>
                  <a:lnTo>
                    <a:pt x="192" y="192"/>
                  </a:lnTo>
                  <a:lnTo>
                    <a:pt x="180" y="192"/>
                  </a:lnTo>
                  <a:lnTo>
                    <a:pt x="168" y="192"/>
                  </a:lnTo>
                  <a:lnTo>
                    <a:pt x="162" y="192"/>
                  </a:lnTo>
                  <a:lnTo>
                    <a:pt x="150" y="192"/>
                  </a:lnTo>
                  <a:lnTo>
                    <a:pt x="138" y="192"/>
                  </a:lnTo>
                  <a:lnTo>
                    <a:pt x="132" y="192"/>
                  </a:lnTo>
                  <a:lnTo>
                    <a:pt x="120" y="192"/>
                  </a:lnTo>
                  <a:lnTo>
                    <a:pt x="114" y="192"/>
                  </a:lnTo>
                  <a:lnTo>
                    <a:pt x="108" y="192"/>
                  </a:lnTo>
                  <a:lnTo>
                    <a:pt x="102" y="192"/>
                  </a:lnTo>
                  <a:lnTo>
                    <a:pt x="90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2" y="198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36" y="198"/>
                  </a:lnTo>
                  <a:lnTo>
                    <a:pt x="30" y="204"/>
                  </a:lnTo>
                  <a:lnTo>
                    <a:pt x="24" y="204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6" y="210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54" y="156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56"/>
                  </a:lnTo>
                  <a:lnTo>
                    <a:pt x="78" y="162"/>
                  </a:lnTo>
                  <a:lnTo>
                    <a:pt x="84" y="162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9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0" y="126"/>
                  </a:lnTo>
                  <a:lnTo>
                    <a:pt x="276" y="120"/>
                  </a:lnTo>
                  <a:lnTo>
                    <a:pt x="282" y="120"/>
                  </a:lnTo>
                  <a:lnTo>
                    <a:pt x="300" y="120"/>
                  </a:lnTo>
                  <a:lnTo>
                    <a:pt x="306" y="114"/>
                  </a:lnTo>
                  <a:lnTo>
                    <a:pt x="312" y="108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8"/>
                  </a:lnTo>
                  <a:lnTo>
                    <a:pt x="342" y="30"/>
                  </a:lnTo>
                  <a:lnTo>
                    <a:pt x="342" y="24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8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24"/>
                  </a:lnTo>
                  <a:lnTo>
                    <a:pt x="414" y="30"/>
                  </a:lnTo>
                  <a:lnTo>
                    <a:pt x="420" y="30"/>
                  </a:lnTo>
                  <a:lnTo>
                    <a:pt x="42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74" y="30"/>
                  </a:lnTo>
                  <a:lnTo>
                    <a:pt x="474" y="18"/>
                  </a:lnTo>
                  <a:lnTo>
                    <a:pt x="474" y="12"/>
                  </a:lnTo>
                  <a:lnTo>
                    <a:pt x="480" y="12"/>
                  </a:lnTo>
                  <a:lnTo>
                    <a:pt x="486" y="12"/>
                  </a:lnTo>
                  <a:lnTo>
                    <a:pt x="606" y="12"/>
                  </a:lnTo>
                  <a:lnTo>
                    <a:pt x="630" y="12"/>
                  </a:lnTo>
                  <a:lnTo>
                    <a:pt x="678" y="12"/>
                  </a:lnTo>
                  <a:lnTo>
                    <a:pt x="744" y="12"/>
                  </a:lnTo>
                  <a:lnTo>
                    <a:pt x="774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2" y="6"/>
                  </a:lnTo>
                  <a:lnTo>
                    <a:pt x="888" y="12"/>
                  </a:lnTo>
                  <a:lnTo>
                    <a:pt x="888" y="24"/>
                  </a:lnTo>
                  <a:lnTo>
                    <a:pt x="888" y="30"/>
                  </a:lnTo>
                  <a:lnTo>
                    <a:pt x="882" y="36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64" y="42"/>
                  </a:lnTo>
                  <a:lnTo>
                    <a:pt x="864" y="48"/>
                  </a:lnTo>
                  <a:lnTo>
                    <a:pt x="858" y="54"/>
                  </a:lnTo>
                  <a:lnTo>
                    <a:pt x="864" y="54"/>
                  </a:lnTo>
                  <a:lnTo>
                    <a:pt x="870" y="72"/>
                  </a:lnTo>
                  <a:lnTo>
                    <a:pt x="870" y="78"/>
                  </a:lnTo>
                  <a:lnTo>
                    <a:pt x="870" y="84"/>
                  </a:lnTo>
                  <a:lnTo>
                    <a:pt x="870" y="90"/>
                  </a:lnTo>
                  <a:close/>
                  <a:moveTo>
                    <a:pt x="972" y="156"/>
                  </a:moveTo>
                  <a:lnTo>
                    <a:pt x="972" y="162"/>
                  </a:lnTo>
                  <a:lnTo>
                    <a:pt x="978" y="162"/>
                  </a:lnTo>
                  <a:lnTo>
                    <a:pt x="984" y="168"/>
                  </a:lnTo>
                  <a:lnTo>
                    <a:pt x="990" y="168"/>
                  </a:lnTo>
                  <a:lnTo>
                    <a:pt x="990" y="162"/>
                  </a:lnTo>
                  <a:lnTo>
                    <a:pt x="1008" y="162"/>
                  </a:lnTo>
                  <a:lnTo>
                    <a:pt x="1020" y="162"/>
                  </a:lnTo>
                  <a:lnTo>
                    <a:pt x="1038" y="162"/>
                  </a:lnTo>
                  <a:lnTo>
                    <a:pt x="1056" y="168"/>
                  </a:lnTo>
                  <a:lnTo>
                    <a:pt x="1056" y="180"/>
                  </a:lnTo>
                  <a:lnTo>
                    <a:pt x="1056" y="186"/>
                  </a:lnTo>
                  <a:lnTo>
                    <a:pt x="1056" y="204"/>
                  </a:lnTo>
                  <a:lnTo>
                    <a:pt x="1050" y="204"/>
                  </a:lnTo>
                  <a:lnTo>
                    <a:pt x="1044" y="204"/>
                  </a:lnTo>
                  <a:lnTo>
                    <a:pt x="1038" y="204"/>
                  </a:lnTo>
                  <a:lnTo>
                    <a:pt x="1032" y="204"/>
                  </a:lnTo>
                  <a:lnTo>
                    <a:pt x="1026" y="204"/>
                  </a:lnTo>
                  <a:lnTo>
                    <a:pt x="1020" y="204"/>
                  </a:lnTo>
                  <a:lnTo>
                    <a:pt x="1014" y="204"/>
                  </a:lnTo>
                  <a:lnTo>
                    <a:pt x="1008" y="204"/>
                  </a:lnTo>
                  <a:lnTo>
                    <a:pt x="1002" y="204"/>
                  </a:lnTo>
                  <a:lnTo>
                    <a:pt x="996" y="204"/>
                  </a:lnTo>
                  <a:lnTo>
                    <a:pt x="984" y="204"/>
                  </a:lnTo>
                  <a:lnTo>
                    <a:pt x="984" y="198"/>
                  </a:lnTo>
                  <a:lnTo>
                    <a:pt x="978" y="198"/>
                  </a:lnTo>
                  <a:lnTo>
                    <a:pt x="966" y="198"/>
                  </a:lnTo>
                  <a:lnTo>
                    <a:pt x="948" y="192"/>
                  </a:lnTo>
                  <a:lnTo>
                    <a:pt x="942" y="192"/>
                  </a:lnTo>
                  <a:lnTo>
                    <a:pt x="936" y="192"/>
                  </a:lnTo>
                  <a:lnTo>
                    <a:pt x="924" y="192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12" y="186"/>
                  </a:lnTo>
                  <a:lnTo>
                    <a:pt x="906" y="186"/>
                  </a:lnTo>
                  <a:lnTo>
                    <a:pt x="900" y="186"/>
                  </a:lnTo>
                  <a:lnTo>
                    <a:pt x="894" y="186"/>
                  </a:lnTo>
                  <a:lnTo>
                    <a:pt x="888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76" y="180"/>
                  </a:lnTo>
                  <a:lnTo>
                    <a:pt x="870" y="180"/>
                  </a:lnTo>
                  <a:lnTo>
                    <a:pt x="864" y="180"/>
                  </a:lnTo>
                  <a:lnTo>
                    <a:pt x="858" y="180"/>
                  </a:lnTo>
                  <a:lnTo>
                    <a:pt x="852" y="180"/>
                  </a:lnTo>
                  <a:lnTo>
                    <a:pt x="852" y="174"/>
                  </a:lnTo>
                  <a:lnTo>
                    <a:pt x="846" y="174"/>
                  </a:lnTo>
                  <a:lnTo>
                    <a:pt x="840" y="174"/>
                  </a:lnTo>
                  <a:lnTo>
                    <a:pt x="834" y="174"/>
                  </a:lnTo>
                  <a:lnTo>
                    <a:pt x="828" y="174"/>
                  </a:lnTo>
                  <a:lnTo>
                    <a:pt x="822" y="174"/>
                  </a:lnTo>
                  <a:lnTo>
                    <a:pt x="816" y="174"/>
                  </a:lnTo>
                  <a:lnTo>
                    <a:pt x="810" y="168"/>
                  </a:lnTo>
                  <a:lnTo>
                    <a:pt x="804" y="168"/>
                  </a:lnTo>
                  <a:lnTo>
                    <a:pt x="798" y="168"/>
                  </a:lnTo>
                  <a:lnTo>
                    <a:pt x="792" y="168"/>
                  </a:lnTo>
                  <a:lnTo>
                    <a:pt x="786" y="168"/>
                  </a:lnTo>
                  <a:lnTo>
                    <a:pt x="780" y="168"/>
                  </a:lnTo>
                  <a:lnTo>
                    <a:pt x="774" y="168"/>
                  </a:lnTo>
                  <a:lnTo>
                    <a:pt x="768" y="168"/>
                  </a:lnTo>
                  <a:lnTo>
                    <a:pt x="762" y="168"/>
                  </a:lnTo>
                  <a:lnTo>
                    <a:pt x="756" y="168"/>
                  </a:lnTo>
                  <a:lnTo>
                    <a:pt x="750" y="168"/>
                  </a:lnTo>
                  <a:lnTo>
                    <a:pt x="750" y="162"/>
                  </a:lnTo>
                  <a:lnTo>
                    <a:pt x="744" y="168"/>
                  </a:lnTo>
                  <a:lnTo>
                    <a:pt x="738" y="162"/>
                  </a:lnTo>
                  <a:lnTo>
                    <a:pt x="732" y="162"/>
                  </a:lnTo>
                  <a:lnTo>
                    <a:pt x="726" y="162"/>
                  </a:lnTo>
                  <a:lnTo>
                    <a:pt x="714" y="162"/>
                  </a:lnTo>
                  <a:lnTo>
                    <a:pt x="702" y="162"/>
                  </a:lnTo>
                  <a:lnTo>
                    <a:pt x="696" y="168"/>
                  </a:lnTo>
                  <a:lnTo>
                    <a:pt x="690" y="168"/>
                  </a:lnTo>
                  <a:lnTo>
                    <a:pt x="684" y="168"/>
                  </a:lnTo>
                  <a:lnTo>
                    <a:pt x="678" y="168"/>
                  </a:lnTo>
                  <a:lnTo>
                    <a:pt x="672" y="168"/>
                  </a:lnTo>
                  <a:lnTo>
                    <a:pt x="666" y="168"/>
                  </a:lnTo>
                  <a:lnTo>
                    <a:pt x="660" y="168"/>
                  </a:lnTo>
                  <a:lnTo>
                    <a:pt x="654" y="168"/>
                  </a:lnTo>
                  <a:lnTo>
                    <a:pt x="648" y="174"/>
                  </a:lnTo>
                  <a:lnTo>
                    <a:pt x="648" y="168"/>
                  </a:lnTo>
                  <a:lnTo>
                    <a:pt x="642" y="174"/>
                  </a:lnTo>
                  <a:lnTo>
                    <a:pt x="636" y="174"/>
                  </a:lnTo>
                  <a:lnTo>
                    <a:pt x="630" y="174"/>
                  </a:lnTo>
                  <a:lnTo>
                    <a:pt x="624" y="174"/>
                  </a:lnTo>
                  <a:lnTo>
                    <a:pt x="618" y="174"/>
                  </a:lnTo>
                  <a:lnTo>
                    <a:pt x="612" y="174"/>
                  </a:lnTo>
                  <a:lnTo>
                    <a:pt x="606" y="174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74"/>
                  </a:lnTo>
                  <a:lnTo>
                    <a:pt x="582" y="174"/>
                  </a:lnTo>
                  <a:lnTo>
                    <a:pt x="576" y="174"/>
                  </a:lnTo>
                  <a:lnTo>
                    <a:pt x="570" y="174"/>
                  </a:lnTo>
                  <a:lnTo>
                    <a:pt x="564" y="174"/>
                  </a:lnTo>
                  <a:lnTo>
                    <a:pt x="558" y="174"/>
                  </a:lnTo>
                  <a:lnTo>
                    <a:pt x="552" y="174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0" y="174"/>
                  </a:lnTo>
                  <a:lnTo>
                    <a:pt x="504" y="174"/>
                  </a:lnTo>
                  <a:lnTo>
                    <a:pt x="498" y="174"/>
                  </a:lnTo>
                  <a:lnTo>
                    <a:pt x="492" y="174"/>
                  </a:lnTo>
                  <a:lnTo>
                    <a:pt x="486" y="174"/>
                  </a:lnTo>
                  <a:lnTo>
                    <a:pt x="480" y="174"/>
                  </a:lnTo>
                  <a:lnTo>
                    <a:pt x="474" y="174"/>
                  </a:lnTo>
                  <a:lnTo>
                    <a:pt x="468" y="174"/>
                  </a:lnTo>
                  <a:lnTo>
                    <a:pt x="462" y="174"/>
                  </a:lnTo>
                  <a:lnTo>
                    <a:pt x="456" y="174"/>
                  </a:lnTo>
                  <a:lnTo>
                    <a:pt x="450" y="180"/>
                  </a:lnTo>
                  <a:lnTo>
                    <a:pt x="450" y="186"/>
                  </a:lnTo>
                  <a:lnTo>
                    <a:pt x="450" y="192"/>
                  </a:lnTo>
                  <a:lnTo>
                    <a:pt x="444" y="192"/>
                  </a:lnTo>
                  <a:lnTo>
                    <a:pt x="444" y="186"/>
                  </a:lnTo>
                  <a:lnTo>
                    <a:pt x="444" y="180"/>
                  </a:lnTo>
                  <a:lnTo>
                    <a:pt x="450" y="180"/>
                  </a:lnTo>
                  <a:lnTo>
                    <a:pt x="450" y="174"/>
                  </a:lnTo>
                  <a:lnTo>
                    <a:pt x="450" y="168"/>
                  </a:lnTo>
                  <a:lnTo>
                    <a:pt x="450" y="162"/>
                  </a:lnTo>
                  <a:lnTo>
                    <a:pt x="456" y="162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62" y="162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74" y="168"/>
                  </a:lnTo>
                  <a:lnTo>
                    <a:pt x="480" y="168"/>
                  </a:lnTo>
                  <a:lnTo>
                    <a:pt x="480" y="162"/>
                  </a:lnTo>
                  <a:lnTo>
                    <a:pt x="480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56"/>
                  </a:lnTo>
                  <a:lnTo>
                    <a:pt x="492" y="156"/>
                  </a:lnTo>
                  <a:lnTo>
                    <a:pt x="486" y="150"/>
                  </a:lnTo>
                  <a:lnTo>
                    <a:pt x="492" y="150"/>
                  </a:lnTo>
                  <a:lnTo>
                    <a:pt x="498" y="150"/>
                  </a:lnTo>
                  <a:lnTo>
                    <a:pt x="498" y="156"/>
                  </a:lnTo>
                  <a:lnTo>
                    <a:pt x="504" y="156"/>
                  </a:lnTo>
                  <a:lnTo>
                    <a:pt x="504" y="162"/>
                  </a:lnTo>
                  <a:lnTo>
                    <a:pt x="504" y="156"/>
                  </a:lnTo>
                  <a:lnTo>
                    <a:pt x="510" y="156"/>
                  </a:lnTo>
                  <a:lnTo>
                    <a:pt x="510" y="150"/>
                  </a:lnTo>
                  <a:lnTo>
                    <a:pt x="516" y="150"/>
                  </a:lnTo>
                  <a:lnTo>
                    <a:pt x="522" y="150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28" y="150"/>
                  </a:lnTo>
                  <a:lnTo>
                    <a:pt x="528" y="144"/>
                  </a:lnTo>
                  <a:lnTo>
                    <a:pt x="540" y="144"/>
                  </a:lnTo>
                  <a:lnTo>
                    <a:pt x="546" y="144"/>
                  </a:lnTo>
                  <a:lnTo>
                    <a:pt x="552" y="138"/>
                  </a:lnTo>
                  <a:lnTo>
                    <a:pt x="552" y="132"/>
                  </a:lnTo>
                  <a:lnTo>
                    <a:pt x="558" y="132"/>
                  </a:lnTo>
                  <a:lnTo>
                    <a:pt x="558" y="126"/>
                  </a:lnTo>
                  <a:lnTo>
                    <a:pt x="558" y="120"/>
                  </a:lnTo>
                  <a:lnTo>
                    <a:pt x="558" y="114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6" y="114"/>
                  </a:lnTo>
                  <a:lnTo>
                    <a:pt x="582" y="120"/>
                  </a:lnTo>
                  <a:lnTo>
                    <a:pt x="588" y="120"/>
                  </a:lnTo>
                  <a:lnTo>
                    <a:pt x="588" y="126"/>
                  </a:lnTo>
                  <a:lnTo>
                    <a:pt x="588" y="120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600" y="114"/>
                  </a:lnTo>
                  <a:lnTo>
                    <a:pt x="606" y="114"/>
                  </a:lnTo>
                  <a:lnTo>
                    <a:pt x="618" y="114"/>
                  </a:lnTo>
                  <a:lnTo>
                    <a:pt x="618" y="108"/>
                  </a:lnTo>
                  <a:lnTo>
                    <a:pt x="624" y="108"/>
                  </a:lnTo>
                  <a:lnTo>
                    <a:pt x="624" y="102"/>
                  </a:lnTo>
                  <a:lnTo>
                    <a:pt x="630" y="102"/>
                  </a:lnTo>
                  <a:lnTo>
                    <a:pt x="636" y="102"/>
                  </a:lnTo>
                  <a:lnTo>
                    <a:pt x="636" y="108"/>
                  </a:lnTo>
                  <a:lnTo>
                    <a:pt x="642" y="108"/>
                  </a:lnTo>
                  <a:lnTo>
                    <a:pt x="648" y="108"/>
                  </a:lnTo>
                  <a:lnTo>
                    <a:pt x="648" y="102"/>
                  </a:lnTo>
                  <a:lnTo>
                    <a:pt x="654" y="102"/>
                  </a:lnTo>
                  <a:lnTo>
                    <a:pt x="660" y="102"/>
                  </a:lnTo>
                  <a:lnTo>
                    <a:pt x="660" y="96"/>
                  </a:lnTo>
                  <a:lnTo>
                    <a:pt x="660" y="90"/>
                  </a:lnTo>
                  <a:lnTo>
                    <a:pt x="666" y="90"/>
                  </a:lnTo>
                  <a:lnTo>
                    <a:pt x="666" y="84"/>
                  </a:lnTo>
                  <a:lnTo>
                    <a:pt x="672" y="78"/>
                  </a:lnTo>
                  <a:lnTo>
                    <a:pt x="672" y="72"/>
                  </a:lnTo>
                  <a:lnTo>
                    <a:pt x="678" y="66"/>
                  </a:lnTo>
                  <a:lnTo>
                    <a:pt x="684" y="66"/>
                  </a:lnTo>
                  <a:lnTo>
                    <a:pt x="684" y="60"/>
                  </a:lnTo>
                  <a:lnTo>
                    <a:pt x="690" y="60"/>
                  </a:lnTo>
                  <a:lnTo>
                    <a:pt x="696" y="60"/>
                  </a:lnTo>
                  <a:lnTo>
                    <a:pt x="702" y="60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66"/>
                  </a:lnTo>
                  <a:lnTo>
                    <a:pt x="720" y="66"/>
                  </a:lnTo>
                  <a:lnTo>
                    <a:pt x="720" y="60"/>
                  </a:lnTo>
                  <a:lnTo>
                    <a:pt x="726" y="60"/>
                  </a:lnTo>
                  <a:lnTo>
                    <a:pt x="732" y="60"/>
                  </a:lnTo>
                  <a:lnTo>
                    <a:pt x="744" y="60"/>
                  </a:lnTo>
                  <a:lnTo>
                    <a:pt x="750" y="54"/>
                  </a:lnTo>
                  <a:lnTo>
                    <a:pt x="762" y="60"/>
                  </a:lnTo>
                  <a:lnTo>
                    <a:pt x="774" y="60"/>
                  </a:lnTo>
                  <a:lnTo>
                    <a:pt x="774" y="66"/>
                  </a:lnTo>
                  <a:lnTo>
                    <a:pt x="780" y="72"/>
                  </a:lnTo>
                  <a:lnTo>
                    <a:pt x="786" y="78"/>
                  </a:lnTo>
                  <a:lnTo>
                    <a:pt x="792" y="78"/>
                  </a:lnTo>
                  <a:lnTo>
                    <a:pt x="810" y="84"/>
                  </a:lnTo>
                  <a:lnTo>
                    <a:pt x="822" y="84"/>
                  </a:lnTo>
                  <a:lnTo>
                    <a:pt x="828" y="84"/>
                  </a:lnTo>
                  <a:lnTo>
                    <a:pt x="834" y="84"/>
                  </a:lnTo>
                  <a:lnTo>
                    <a:pt x="840" y="96"/>
                  </a:lnTo>
                  <a:lnTo>
                    <a:pt x="846" y="102"/>
                  </a:lnTo>
                  <a:lnTo>
                    <a:pt x="858" y="102"/>
                  </a:lnTo>
                  <a:lnTo>
                    <a:pt x="864" y="102"/>
                  </a:lnTo>
                  <a:lnTo>
                    <a:pt x="876" y="96"/>
                  </a:lnTo>
                  <a:lnTo>
                    <a:pt x="882" y="102"/>
                  </a:lnTo>
                  <a:lnTo>
                    <a:pt x="888" y="108"/>
                  </a:lnTo>
                  <a:lnTo>
                    <a:pt x="888" y="114"/>
                  </a:lnTo>
                  <a:lnTo>
                    <a:pt x="888" y="120"/>
                  </a:lnTo>
                  <a:lnTo>
                    <a:pt x="888" y="126"/>
                  </a:lnTo>
                  <a:lnTo>
                    <a:pt x="888" y="132"/>
                  </a:lnTo>
                  <a:lnTo>
                    <a:pt x="882" y="132"/>
                  </a:lnTo>
                  <a:lnTo>
                    <a:pt x="864" y="126"/>
                  </a:lnTo>
                  <a:lnTo>
                    <a:pt x="852" y="120"/>
                  </a:lnTo>
                  <a:lnTo>
                    <a:pt x="840" y="126"/>
                  </a:lnTo>
                  <a:lnTo>
                    <a:pt x="834" y="120"/>
                  </a:lnTo>
                  <a:lnTo>
                    <a:pt x="828" y="120"/>
                  </a:lnTo>
                  <a:lnTo>
                    <a:pt x="822" y="120"/>
                  </a:lnTo>
                  <a:lnTo>
                    <a:pt x="810" y="114"/>
                  </a:lnTo>
                  <a:lnTo>
                    <a:pt x="804" y="114"/>
                  </a:lnTo>
                  <a:lnTo>
                    <a:pt x="798" y="114"/>
                  </a:lnTo>
                  <a:lnTo>
                    <a:pt x="792" y="114"/>
                  </a:lnTo>
                  <a:lnTo>
                    <a:pt x="786" y="114"/>
                  </a:lnTo>
                  <a:lnTo>
                    <a:pt x="780" y="114"/>
                  </a:lnTo>
                  <a:lnTo>
                    <a:pt x="780" y="126"/>
                  </a:lnTo>
                  <a:lnTo>
                    <a:pt x="786" y="126"/>
                  </a:lnTo>
                  <a:lnTo>
                    <a:pt x="798" y="126"/>
                  </a:lnTo>
                  <a:lnTo>
                    <a:pt x="804" y="126"/>
                  </a:lnTo>
                  <a:lnTo>
                    <a:pt x="822" y="132"/>
                  </a:lnTo>
                  <a:lnTo>
                    <a:pt x="828" y="132"/>
                  </a:lnTo>
                  <a:lnTo>
                    <a:pt x="834" y="132"/>
                  </a:lnTo>
                  <a:lnTo>
                    <a:pt x="840" y="144"/>
                  </a:lnTo>
                  <a:lnTo>
                    <a:pt x="846" y="150"/>
                  </a:lnTo>
                  <a:lnTo>
                    <a:pt x="858" y="150"/>
                  </a:lnTo>
                  <a:lnTo>
                    <a:pt x="864" y="162"/>
                  </a:lnTo>
                  <a:lnTo>
                    <a:pt x="870" y="162"/>
                  </a:lnTo>
                  <a:lnTo>
                    <a:pt x="876" y="168"/>
                  </a:lnTo>
                  <a:lnTo>
                    <a:pt x="888" y="168"/>
                  </a:lnTo>
                  <a:lnTo>
                    <a:pt x="894" y="174"/>
                  </a:lnTo>
                  <a:lnTo>
                    <a:pt x="900" y="174"/>
                  </a:lnTo>
                  <a:lnTo>
                    <a:pt x="918" y="174"/>
                  </a:lnTo>
                  <a:lnTo>
                    <a:pt x="924" y="174"/>
                  </a:lnTo>
                  <a:lnTo>
                    <a:pt x="930" y="174"/>
                  </a:lnTo>
                  <a:lnTo>
                    <a:pt x="942" y="174"/>
                  </a:lnTo>
                  <a:lnTo>
                    <a:pt x="954" y="174"/>
                  </a:lnTo>
                  <a:lnTo>
                    <a:pt x="960" y="174"/>
                  </a:lnTo>
                  <a:lnTo>
                    <a:pt x="966" y="174"/>
                  </a:lnTo>
                  <a:lnTo>
                    <a:pt x="966" y="168"/>
                  </a:lnTo>
                  <a:lnTo>
                    <a:pt x="972" y="162"/>
                  </a:lnTo>
                  <a:lnTo>
                    <a:pt x="972" y="156"/>
                  </a:lnTo>
                  <a:close/>
                  <a:moveTo>
                    <a:pt x="942" y="174"/>
                  </a:moveTo>
                  <a:lnTo>
                    <a:pt x="936" y="174"/>
                  </a:lnTo>
                  <a:lnTo>
                    <a:pt x="936" y="168"/>
                  </a:lnTo>
                  <a:lnTo>
                    <a:pt x="936" y="162"/>
                  </a:lnTo>
                  <a:lnTo>
                    <a:pt x="948" y="162"/>
                  </a:lnTo>
                  <a:lnTo>
                    <a:pt x="948" y="156"/>
                  </a:lnTo>
                  <a:lnTo>
                    <a:pt x="954" y="156"/>
                  </a:lnTo>
                  <a:lnTo>
                    <a:pt x="960" y="156"/>
                  </a:lnTo>
                  <a:lnTo>
                    <a:pt x="966" y="156"/>
                  </a:lnTo>
                  <a:lnTo>
                    <a:pt x="966" y="162"/>
                  </a:lnTo>
                  <a:lnTo>
                    <a:pt x="960" y="168"/>
                  </a:lnTo>
                  <a:lnTo>
                    <a:pt x="942" y="174"/>
                  </a:lnTo>
                  <a:close/>
                  <a:moveTo>
                    <a:pt x="900" y="168"/>
                  </a:moveTo>
                  <a:lnTo>
                    <a:pt x="894" y="168"/>
                  </a:lnTo>
                  <a:lnTo>
                    <a:pt x="882" y="156"/>
                  </a:lnTo>
                  <a:lnTo>
                    <a:pt x="882" y="150"/>
                  </a:lnTo>
                  <a:lnTo>
                    <a:pt x="888" y="156"/>
                  </a:lnTo>
                  <a:lnTo>
                    <a:pt x="894" y="150"/>
                  </a:lnTo>
                  <a:lnTo>
                    <a:pt x="900" y="150"/>
                  </a:lnTo>
                  <a:lnTo>
                    <a:pt x="906" y="150"/>
                  </a:lnTo>
                  <a:lnTo>
                    <a:pt x="912" y="150"/>
                  </a:lnTo>
                  <a:lnTo>
                    <a:pt x="924" y="150"/>
                  </a:lnTo>
                  <a:lnTo>
                    <a:pt x="924" y="156"/>
                  </a:lnTo>
                  <a:lnTo>
                    <a:pt x="924" y="162"/>
                  </a:lnTo>
                  <a:lnTo>
                    <a:pt x="924" y="168"/>
                  </a:lnTo>
                  <a:lnTo>
                    <a:pt x="918" y="168"/>
                  </a:lnTo>
                  <a:lnTo>
                    <a:pt x="906" y="168"/>
                  </a:lnTo>
                  <a:lnTo>
                    <a:pt x="900" y="168"/>
                  </a:lnTo>
                  <a:close/>
                  <a:moveTo>
                    <a:pt x="870" y="162"/>
                  </a:moveTo>
                  <a:lnTo>
                    <a:pt x="876" y="162"/>
                  </a:lnTo>
                  <a:lnTo>
                    <a:pt x="876" y="168"/>
                  </a:lnTo>
                  <a:lnTo>
                    <a:pt x="870" y="168"/>
                  </a:lnTo>
                  <a:lnTo>
                    <a:pt x="870" y="162"/>
                  </a:lnTo>
                  <a:close/>
                  <a:moveTo>
                    <a:pt x="450" y="162"/>
                  </a:moveTo>
                  <a:lnTo>
                    <a:pt x="444" y="162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2" y="150"/>
                  </a:lnTo>
                  <a:lnTo>
                    <a:pt x="438" y="150"/>
                  </a:lnTo>
                  <a:lnTo>
                    <a:pt x="438" y="144"/>
                  </a:lnTo>
                  <a:lnTo>
                    <a:pt x="438" y="150"/>
                  </a:lnTo>
                  <a:lnTo>
                    <a:pt x="444" y="150"/>
                  </a:lnTo>
                  <a:lnTo>
                    <a:pt x="450" y="150"/>
                  </a:lnTo>
                  <a:lnTo>
                    <a:pt x="450" y="156"/>
                  </a:lnTo>
                  <a:lnTo>
                    <a:pt x="456" y="156"/>
                  </a:lnTo>
                  <a:lnTo>
                    <a:pt x="456" y="150"/>
                  </a:lnTo>
                  <a:lnTo>
                    <a:pt x="456" y="156"/>
                  </a:lnTo>
                  <a:lnTo>
                    <a:pt x="462" y="150"/>
                  </a:lnTo>
                  <a:lnTo>
                    <a:pt x="462" y="144"/>
                  </a:lnTo>
                  <a:lnTo>
                    <a:pt x="468" y="144"/>
                  </a:lnTo>
                  <a:lnTo>
                    <a:pt x="468" y="150"/>
                  </a:lnTo>
                  <a:lnTo>
                    <a:pt x="474" y="150"/>
                  </a:lnTo>
                  <a:lnTo>
                    <a:pt x="480" y="150"/>
                  </a:lnTo>
                  <a:lnTo>
                    <a:pt x="480" y="156"/>
                  </a:lnTo>
                  <a:lnTo>
                    <a:pt x="480" y="162"/>
                  </a:lnTo>
                  <a:lnTo>
                    <a:pt x="474" y="162"/>
                  </a:lnTo>
                  <a:lnTo>
                    <a:pt x="474" y="168"/>
                  </a:lnTo>
                  <a:lnTo>
                    <a:pt x="474" y="162"/>
                  </a:lnTo>
                  <a:lnTo>
                    <a:pt x="468" y="162"/>
                  </a:lnTo>
                  <a:lnTo>
                    <a:pt x="462" y="162"/>
                  </a:lnTo>
                  <a:lnTo>
                    <a:pt x="456" y="162"/>
                  </a:lnTo>
                  <a:lnTo>
                    <a:pt x="450" y="162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27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118" name="Freeform 32">
              <a:extLst>
                <a:ext uri="{FF2B5EF4-FFF2-40B4-BE49-F238E27FC236}">
                  <a16:creationId xmlns:a16="http://schemas.microsoft.com/office/drawing/2014/main" id="{50F80262-8225-4523-8AA1-23E1DD729E05}"/>
                </a:ext>
              </a:extLst>
            </p:cNvPr>
            <p:cNvSpPr>
              <a:spLocks/>
            </p:cNvSpPr>
            <p:nvPr/>
          </p:nvSpPr>
          <p:spPr bwMode="gray">
            <a:xfrm>
              <a:off x="1536701" y="2805113"/>
              <a:ext cx="2081213" cy="1300162"/>
            </a:xfrm>
            <a:custGeom>
              <a:avLst/>
              <a:gdLst>
                <a:gd name="T0" fmla="*/ 2147483647 w 2226"/>
                <a:gd name="T1" fmla="*/ 2147483647 h 1392"/>
                <a:gd name="T2" fmla="*/ 2147483647 w 2226"/>
                <a:gd name="T3" fmla="*/ 2147483647 h 1392"/>
                <a:gd name="T4" fmla="*/ 2147483647 w 2226"/>
                <a:gd name="T5" fmla="*/ 2147483647 h 1392"/>
                <a:gd name="T6" fmla="*/ 2147483647 w 2226"/>
                <a:gd name="T7" fmla="*/ 2147483647 h 1392"/>
                <a:gd name="T8" fmla="*/ 2147483647 w 2226"/>
                <a:gd name="T9" fmla="*/ 2147483647 h 1392"/>
                <a:gd name="T10" fmla="*/ 2147483647 w 2226"/>
                <a:gd name="T11" fmla="*/ 2147483647 h 1392"/>
                <a:gd name="T12" fmla="*/ 2147483647 w 2226"/>
                <a:gd name="T13" fmla="*/ 2147483647 h 1392"/>
                <a:gd name="T14" fmla="*/ 2147483647 w 2226"/>
                <a:gd name="T15" fmla="*/ 2147483647 h 1392"/>
                <a:gd name="T16" fmla="*/ 2147483647 w 2226"/>
                <a:gd name="T17" fmla="*/ 2147483647 h 1392"/>
                <a:gd name="T18" fmla="*/ 2147483647 w 2226"/>
                <a:gd name="T19" fmla="*/ 2147483647 h 1392"/>
                <a:gd name="T20" fmla="*/ 2147483647 w 2226"/>
                <a:gd name="T21" fmla="*/ 2147483647 h 1392"/>
                <a:gd name="T22" fmla="*/ 2147483647 w 2226"/>
                <a:gd name="T23" fmla="*/ 2147483647 h 1392"/>
                <a:gd name="T24" fmla="*/ 2147483647 w 2226"/>
                <a:gd name="T25" fmla="*/ 2147483647 h 1392"/>
                <a:gd name="T26" fmla="*/ 2147483647 w 2226"/>
                <a:gd name="T27" fmla="*/ 2147483647 h 1392"/>
                <a:gd name="T28" fmla="*/ 2147483647 w 2226"/>
                <a:gd name="T29" fmla="*/ 2147483647 h 1392"/>
                <a:gd name="T30" fmla="*/ 0 w 2226"/>
                <a:gd name="T31" fmla="*/ 2147483647 h 1392"/>
                <a:gd name="T32" fmla="*/ 0 w 2226"/>
                <a:gd name="T33" fmla="*/ 2147483647 h 1392"/>
                <a:gd name="T34" fmla="*/ 2147483647 w 2226"/>
                <a:gd name="T35" fmla="*/ 2147483647 h 1392"/>
                <a:gd name="T36" fmla="*/ 2147483647 w 2226"/>
                <a:gd name="T37" fmla="*/ 2147483647 h 1392"/>
                <a:gd name="T38" fmla="*/ 2147483647 w 2226"/>
                <a:gd name="T39" fmla="*/ 2147483647 h 1392"/>
                <a:gd name="T40" fmla="*/ 2147483647 w 2226"/>
                <a:gd name="T41" fmla="*/ 2147483647 h 1392"/>
                <a:gd name="T42" fmla="*/ 2147483647 w 2226"/>
                <a:gd name="T43" fmla="*/ 2147483647 h 1392"/>
                <a:gd name="T44" fmla="*/ 2147483647 w 2226"/>
                <a:gd name="T45" fmla="*/ 2147483647 h 1392"/>
                <a:gd name="T46" fmla="*/ 2147483647 w 2226"/>
                <a:gd name="T47" fmla="*/ 2147483647 h 1392"/>
                <a:gd name="T48" fmla="*/ 2147483647 w 2226"/>
                <a:gd name="T49" fmla="*/ 2147483647 h 1392"/>
                <a:gd name="T50" fmla="*/ 2147483647 w 2226"/>
                <a:gd name="T51" fmla="*/ 2147483647 h 1392"/>
                <a:gd name="T52" fmla="*/ 2147483647 w 2226"/>
                <a:gd name="T53" fmla="*/ 2147483647 h 1392"/>
                <a:gd name="T54" fmla="*/ 2147483647 w 2226"/>
                <a:gd name="T55" fmla="*/ 2147483647 h 1392"/>
                <a:gd name="T56" fmla="*/ 2147483647 w 2226"/>
                <a:gd name="T57" fmla="*/ 2147483647 h 1392"/>
                <a:gd name="T58" fmla="*/ 2147483647 w 2226"/>
                <a:gd name="T59" fmla="*/ 2147483647 h 1392"/>
                <a:gd name="T60" fmla="*/ 2147483647 w 2226"/>
                <a:gd name="T61" fmla="*/ 0 h 1392"/>
                <a:gd name="T62" fmla="*/ 2147483647 w 2226"/>
                <a:gd name="T63" fmla="*/ 2147483647 h 1392"/>
                <a:gd name="T64" fmla="*/ 2147483647 w 2226"/>
                <a:gd name="T65" fmla="*/ 2147483647 h 1392"/>
                <a:gd name="T66" fmla="*/ 2147483647 w 2226"/>
                <a:gd name="T67" fmla="*/ 2147483647 h 1392"/>
                <a:gd name="T68" fmla="*/ 2147483647 w 2226"/>
                <a:gd name="T69" fmla="*/ 2147483647 h 1392"/>
                <a:gd name="T70" fmla="*/ 2147483647 w 2226"/>
                <a:gd name="T71" fmla="*/ 2147483647 h 1392"/>
                <a:gd name="T72" fmla="*/ 2147483647 w 2226"/>
                <a:gd name="T73" fmla="*/ 2147483647 h 1392"/>
                <a:gd name="T74" fmla="*/ 2147483647 w 2226"/>
                <a:gd name="T75" fmla="*/ 2147483647 h 1392"/>
                <a:gd name="T76" fmla="*/ 2147483647 w 2226"/>
                <a:gd name="T77" fmla="*/ 2147483647 h 1392"/>
                <a:gd name="T78" fmla="*/ 2147483647 w 2226"/>
                <a:gd name="T79" fmla="*/ 2147483647 h 1392"/>
                <a:gd name="T80" fmla="*/ 2147483647 w 2226"/>
                <a:gd name="T81" fmla="*/ 2147483647 h 1392"/>
                <a:gd name="T82" fmla="*/ 2147483647 w 2226"/>
                <a:gd name="T83" fmla="*/ 2147483647 h 1392"/>
                <a:gd name="T84" fmla="*/ 2147483647 w 2226"/>
                <a:gd name="T85" fmla="*/ 2147483647 h 1392"/>
                <a:gd name="T86" fmla="*/ 2147483647 w 2226"/>
                <a:gd name="T87" fmla="*/ 2147483647 h 1392"/>
                <a:gd name="T88" fmla="*/ 2147483647 w 2226"/>
                <a:gd name="T89" fmla="*/ 2147483647 h 1392"/>
                <a:gd name="T90" fmla="*/ 2147483647 w 2226"/>
                <a:gd name="T91" fmla="*/ 2147483647 h 1392"/>
                <a:gd name="T92" fmla="*/ 2147483647 w 2226"/>
                <a:gd name="T93" fmla="*/ 2147483647 h 1392"/>
                <a:gd name="T94" fmla="*/ 2147483647 w 2226"/>
                <a:gd name="T95" fmla="*/ 2147483647 h 1392"/>
                <a:gd name="T96" fmla="*/ 2147483647 w 2226"/>
                <a:gd name="T97" fmla="*/ 2147483647 h 1392"/>
                <a:gd name="T98" fmla="*/ 2147483647 w 2226"/>
                <a:gd name="T99" fmla="*/ 2147483647 h 1392"/>
                <a:gd name="T100" fmla="*/ 2147483647 w 2226"/>
                <a:gd name="T101" fmla="*/ 2147483647 h 1392"/>
                <a:gd name="T102" fmla="*/ 2147483647 w 2226"/>
                <a:gd name="T103" fmla="*/ 2147483647 h 1392"/>
                <a:gd name="T104" fmla="*/ 2147483647 w 2226"/>
                <a:gd name="T105" fmla="*/ 2147483647 h 1392"/>
                <a:gd name="T106" fmla="*/ 2147483647 w 2226"/>
                <a:gd name="T107" fmla="*/ 2147483647 h 1392"/>
                <a:gd name="T108" fmla="*/ 2147483647 w 2226"/>
                <a:gd name="T109" fmla="*/ 2147483647 h 1392"/>
                <a:gd name="T110" fmla="*/ 2147483647 w 2226"/>
                <a:gd name="T111" fmla="*/ 2147483647 h 1392"/>
                <a:gd name="T112" fmla="*/ 2147483647 w 2226"/>
                <a:gd name="T113" fmla="*/ 2147483647 h 1392"/>
                <a:gd name="T114" fmla="*/ 2147483647 w 2226"/>
                <a:gd name="T115" fmla="*/ 2147483647 h 1392"/>
                <a:gd name="T116" fmla="*/ 2147483647 w 2226"/>
                <a:gd name="T117" fmla="*/ 2147483647 h 1392"/>
                <a:gd name="T118" fmla="*/ 2147483647 w 2226"/>
                <a:gd name="T119" fmla="*/ 2147483647 h 1392"/>
                <a:gd name="T120" fmla="*/ 2147483647 w 2226"/>
                <a:gd name="T121" fmla="*/ 2147483647 h 1392"/>
                <a:gd name="T122" fmla="*/ 2147483647 w 2226"/>
                <a:gd name="T123" fmla="*/ 2147483647 h 1392"/>
                <a:gd name="T124" fmla="*/ 2147483647 w 2226"/>
                <a:gd name="T125" fmla="*/ 2147483647 h 13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1392"/>
                <a:gd name="T191" fmla="*/ 2226 w 2226"/>
                <a:gd name="T192" fmla="*/ 1392 h 13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1392">
                  <a:moveTo>
                    <a:pt x="1782" y="1326"/>
                  </a:moveTo>
                  <a:lnTo>
                    <a:pt x="1776" y="1332"/>
                  </a:lnTo>
                  <a:lnTo>
                    <a:pt x="1692" y="1338"/>
                  </a:lnTo>
                  <a:lnTo>
                    <a:pt x="1680" y="1386"/>
                  </a:lnTo>
                  <a:lnTo>
                    <a:pt x="1674" y="1392"/>
                  </a:lnTo>
                  <a:lnTo>
                    <a:pt x="1638" y="1392"/>
                  </a:lnTo>
                  <a:lnTo>
                    <a:pt x="1620" y="1392"/>
                  </a:lnTo>
                  <a:lnTo>
                    <a:pt x="1614" y="1392"/>
                  </a:lnTo>
                  <a:lnTo>
                    <a:pt x="1608" y="1386"/>
                  </a:lnTo>
                  <a:lnTo>
                    <a:pt x="1584" y="1386"/>
                  </a:lnTo>
                  <a:lnTo>
                    <a:pt x="1578" y="1386"/>
                  </a:lnTo>
                  <a:lnTo>
                    <a:pt x="1572" y="1380"/>
                  </a:lnTo>
                  <a:lnTo>
                    <a:pt x="1578" y="1356"/>
                  </a:lnTo>
                  <a:lnTo>
                    <a:pt x="1572" y="1356"/>
                  </a:lnTo>
                  <a:lnTo>
                    <a:pt x="1560" y="1350"/>
                  </a:lnTo>
                  <a:lnTo>
                    <a:pt x="1554" y="1350"/>
                  </a:lnTo>
                  <a:lnTo>
                    <a:pt x="1542" y="1350"/>
                  </a:lnTo>
                  <a:lnTo>
                    <a:pt x="1530" y="1350"/>
                  </a:lnTo>
                  <a:lnTo>
                    <a:pt x="1524" y="1356"/>
                  </a:lnTo>
                  <a:lnTo>
                    <a:pt x="1524" y="1362"/>
                  </a:lnTo>
                  <a:lnTo>
                    <a:pt x="1512" y="1374"/>
                  </a:lnTo>
                  <a:lnTo>
                    <a:pt x="1506" y="1374"/>
                  </a:lnTo>
                  <a:lnTo>
                    <a:pt x="1500" y="1368"/>
                  </a:lnTo>
                  <a:lnTo>
                    <a:pt x="1500" y="1362"/>
                  </a:lnTo>
                  <a:lnTo>
                    <a:pt x="1488" y="1362"/>
                  </a:lnTo>
                  <a:lnTo>
                    <a:pt x="1482" y="1356"/>
                  </a:lnTo>
                  <a:lnTo>
                    <a:pt x="1482" y="1350"/>
                  </a:lnTo>
                  <a:lnTo>
                    <a:pt x="1476" y="1350"/>
                  </a:lnTo>
                  <a:lnTo>
                    <a:pt x="1470" y="1344"/>
                  </a:lnTo>
                  <a:lnTo>
                    <a:pt x="1464" y="1344"/>
                  </a:lnTo>
                  <a:lnTo>
                    <a:pt x="1452" y="1350"/>
                  </a:lnTo>
                  <a:lnTo>
                    <a:pt x="1452" y="1356"/>
                  </a:lnTo>
                  <a:lnTo>
                    <a:pt x="1440" y="1356"/>
                  </a:lnTo>
                  <a:lnTo>
                    <a:pt x="1434" y="1344"/>
                  </a:lnTo>
                  <a:lnTo>
                    <a:pt x="1422" y="1332"/>
                  </a:lnTo>
                  <a:lnTo>
                    <a:pt x="1416" y="1326"/>
                  </a:lnTo>
                  <a:lnTo>
                    <a:pt x="1404" y="1320"/>
                  </a:lnTo>
                  <a:lnTo>
                    <a:pt x="1404" y="1314"/>
                  </a:lnTo>
                  <a:lnTo>
                    <a:pt x="1374" y="1308"/>
                  </a:lnTo>
                  <a:lnTo>
                    <a:pt x="1368" y="1326"/>
                  </a:lnTo>
                  <a:lnTo>
                    <a:pt x="1344" y="1338"/>
                  </a:lnTo>
                  <a:lnTo>
                    <a:pt x="1326" y="1332"/>
                  </a:lnTo>
                  <a:lnTo>
                    <a:pt x="1302" y="1332"/>
                  </a:lnTo>
                  <a:lnTo>
                    <a:pt x="1278" y="1338"/>
                  </a:lnTo>
                  <a:lnTo>
                    <a:pt x="1236" y="1338"/>
                  </a:lnTo>
                  <a:lnTo>
                    <a:pt x="1224" y="1338"/>
                  </a:lnTo>
                  <a:lnTo>
                    <a:pt x="1224" y="1326"/>
                  </a:lnTo>
                  <a:lnTo>
                    <a:pt x="1206" y="1326"/>
                  </a:lnTo>
                  <a:lnTo>
                    <a:pt x="1170" y="1326"/>
                  </a:lnTo>
                  <a:lnTo>
                    <a:pt x="1152" y="1326"/>
                  </a:lnTo>
                  <a:lnTo>
                    <a:pt x="1140" y="1314"/>
                  </a:lnTo>
                  <a:lnTo>
                    <a:pt x="1134" y="1296"/>
                  </a:lnTo>
                  <a:lnTo>
                    <a:pt x="1134" y="1284"/>
                  </a:lnTo>
                  <a:lnTo>
                    <a:pt x="1128" y="1254"/>
                  </a:lnTo>
                  <a:lnTo>
                    <a:pt x="1128" y="1242"/>
                  </a:lnTo>
                  <a:lnTo>
                    <a:pt x="1122" y="1230"/>
                  </a:lnTo>
                  <a:lnTo>
                    <a:pt x="1104" y="1218"/>
                  </a:lnTo>
                  <a:lnTo>
                    <a:pt x="1104" y="1212"/>
                  </a:lnTo>
                  <a:lnTo>
                    <a:pt x="1092" y="1206"/>
                  </a:lnTo>
                  <a:lnTo>
                    <a:pt x="1080" y="1194"/>
                  </a:lnTo>
                  <a:lnTo>
                    <a:pt x="1068" y="1176"/>
                  </a:lnTo>
                  <a:lnTo>
                    <a:pt x="1050" y="1152"/>
                  </a:lnTo>
                  <a:lnTo>
                    <a:pt x="1020" y="1098"/>
                  </a:lnTo>
                  <a:lnTo>
                    <a:pt x="978" y="1026"/>
                  </a:lnTo>
                  <a:lnTo>
                    <a:pt x="978" y="1014"/>
                  </a:lnTo>
                  <a:lnTo>
                    <a:pt x="972" y="1014"/>
                  </a:lnTo>
                  <a:lnTo>
                    <a:pt x="972" y="1008"/>
                  </a:lnTo>
                  <a:lnTo>
                    <a:pt x="978" y="1002"/>
                  </a:lnTo>
                  <a:lnTo>
                    <a:pt x="960" y="966"/>
                  </a:lnTo>
                  <a:lnTo>
                    <a:pt x="948" y="954"/>
                  </a:lnTo>
                  <a:lnTo>
                    <a:pt x="948" y="936"/>
                  </a:lnTo>
                  <a:lnTo>
                    <a:pt x="936" y="900"/>
                  </a:lnTo>
                  <a:lnTo>
                    <a:pt x="942" y="876"/>
                  </a:lnTo>
                  <a:lnTo>
                    <a:pt x="942" y="834"/>
                  </a:lnTo>
                  <a:lnTo>
                    <a:pt x="960" y="828"/>
                  </a:lnTo>
                  <a:lnTo>
                    <a:pt x="966" y="816"/>
                  </a:lnTo>
                  <a:lnTo>
                    <a:pt x="972" y="810"/>
                  </a:lnTo>
                  <a:lnTo>
                    <a:pt x="978" y="804"/>
                  </a:lnTo>
                  <a:lnTo>
                    <a:pt x="996" y="798"/>
                  </a:lnTo>
                  <a:lnTo>
                    <a:pt x="996" y="792"/>
                  </a:lnTo>
                  <a:lnTo>
                    <a:pt x="1014" y="780"/>
                  </a:lnTo>
                  <a:lnTo>
                    <a:pt x="1026" y="768"/>
                  </a:lnTo>
                  <a:lnTo>
                    <a:pt x="1032" y="762"/>
                  </a:lnTo>
                  <a:lnTo>
                    <a:pt x="1026" y="756"/>
                  </a:lnTo>
                  <a:lnTo>
                    <a:pt x="1014" y="744"/>
                  </a:lnTo>
                  <a:lnTo>
                    <a:pt x="996" y="756"/>
                  </a:lnTo>
                  <a:lnTo>
                    <a:pt x="954" y="768"/>
                  </a:lnTo>
                  <a:lnTo>
                    <a:pt x="942" y="762"/>
                  </a:lnTo>
                  <a:lnTo>
                    <a:pt x="942" y="756"/>
                  </a:lnTo>
                  <a:lnTo>
                    <a:pt x="936" y="750"/>
                  </a:lnTo>
                  <a:lnTo>
                    <a:pt x="846" y="732"/>
                  </a:lnTo>
                  <a:lnTo>
                    <a:pt x="822" y="726"/>
                  </a:lnTo>
                  <a:lnTo>
                    <a:pt x="810" y="714"/>
                  </a:lnTo>
                  <a:lnTo>
                    <a:pt x="792" y="690"/>
                  </a:lnTo>
                  <a:lnTo>
                    <a:pt x="792" y="678"/>
                  </a:lnTo>
                  <a:lnTo>
                    <a:pt x="762" y="642"/>
                  </a:lnTo>
                  <a:lnTo>
                    <a:pt x="750" y="636"/>
                  </a:lnTo>
                  <a:lnTo>
                    <a:pt x="726" y="630"/>
                  </a:lnTo>
                  <a:lnTo>
                    <a:pt x="696" y="642"/>
                  </a:lnTo>
                  <a:lnTo>
                    <a:pt x="678" y="654"/>
                  </a:lnTo>
                  <a:lnTo>
                    <a:pt x="666" y="684"/>
                  </a:lnTo>
                  <a:lnTo>
                    <a:pt x="660" y="726"/>
                  </a:lnTo>
                  <a:lnTo>
                    <a:pt x="606" y="756"/>
                  </a:lnTo>
                  <a:lnTo>
                    <a:pt x="558" y="780"/>
                  </a:lnTo>
                  <a:lnTo>
                    <a:pt x="438" y="834"/>
                  </a:lnTo>
                  <a:lnTo>
                    <a:pt x="402" y="846"/>
                  </a:lnTo>
                  <a:lnTo>
                    <a:pt x="372" y="870"/>
                  </a:lnTo>
                  <a:lnTo>
                    <a:pt x="360" y="876"/>
                  </a:lnTo>
                  <a:lnTo>
                    <a:pt x="354" y="876"/>
                  </a:lnTo>
                  <a:lnTo>
                    <a:pt x="330" y="882"/>
                  </a:lnTo>
                  <a:lnTo>
                    <a:pt x="306" y="882"/>
                  </a:lnTo>
                  <a:lnTo>
                    <a:pt x="300" y="876"/>
                  </a:lnTo>
                  <a:lnTo>
                    <a:pt x="294" y="876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76" y="864"/>
                  </a:lnTo>
                  <a:lnTo>
                    <a:pt x="270" y="870"/>
                  </a:lnTo>
                  <a:lnTo>
                    <a:pt x="264" y="870"/>
                  </a:lnTo>
                  <a:lnTo>
                    <a:pt x="240" y="894"/>
                  </a:lnTo>
                  <a:lnTo>
                    <a:pt x="234" y="894"/>
                  </a:lnTo>
                  <a:lnTo>
                    <a:pt x="228" y="900"/>
                  </a:lnTo>
                  <a:lnTo>
                    <a:pt x="222" y="906"/>
                  </a:lnTo>
                  <a:lnTo>
                    <a:pt x="210" y="912"/>
                  </a:lnTo>
                  <a:lnTo>
                    <a:pt x="204" y="912"/>
                  </a:lnTo>
                  <a:lnTo>
                    <a:pt x="198" y="912"/>
                  </a:lnTo>
                  <a:lnTo>
                    <a:pt x="192" y="918"/>
                  </a:lnTo>
                  <a:lnTo>
                    <a:pt x="180" y="918"/>
                  </a:lnTo>
                  <a:lnTo>
                    <a:pt x="174" y="930"/>
                  </a:lnTo>
                  <a:lnTo>
                    <a:pt x="174" y="936"/>
                  </a:lnTo>
                  <a:lnTo>
                    <a:pt x="168" y="942"/>
                  </a:lnTo>
                  <a:lnTo>
                    <a:pt x="162" y="942"/>
                  </a:lnTo>
                  <a:lnTo>
                    <a:pt x="150" y="960"/>
                  </a:lnTo>
                  <a:lnTo>
                    <a:pt x="144" y="966"/>
                  </a:lnTo>
                  <a:lnTo>
                    <a:pt x="138" y="972"/>
                  </a:lnTo>
                  <a:lnTo>
                    <a:pt x="132" y="972"/>
                  </a:lnTo>
                  <a:lnTo>
                    <a:pt x="126" y="984"/>
                  </a:lnTo>
                  <a:lnTo>
                    <a:pt x="120" y="984"/>
                  </a:lnTo>
                  <a:lnTo>
                    <a:pt x="114" y="990"/>
                  </a:lnTo>
                  <a:lnTo>
                    <a:pt x="96" y="990"/>
                  </a:lnTo>
                  <a:lnTo>
                    <a:pt x="90" y="990"/>
                  </a:lnTo>
                  <a:lnTo>
                    <a:pt x="78" y="990"/>
                  </a:lnTo>
                  <a:lnTo>
                    <a:pt x="72" y="990"/>
                  </a:lnTo>
                  <a:lnTo>
                    <a:pt x="60" y="990"/>
                  </a:lnTo>
                  <a:lnTo>
                    <a:pt x="42" y="990"/>
                  </a:lnTo>
                  <a:lnTo>
                    <a:pt x="36" y="996"/>
                  </a:lnTo>
                  <a:lnTo>
                    <a:pt x="30" y="1002"/>
                  </a:lnTo>
                  <a:lnTo>
                    <a:pt x="24" y="1014"/>
                  </a:lnTo>
                  <a:lnTo>
                    <a:pt x="24" y="1020"/>
                  </a:lnTo>
                  <a:lnTo>
                    <a:pt x="18" y="1020"/>
                  </a:lnTo>
                  <a:lnTo>
                    <a:pt x="12" y="1014"/>
                  </a:lnTo>
                  <a:lnTo>
                    <a:pt x="12" y="1008"/>
                  </a:lnTo>
                  <a:lnTo>
                    <a:pt x="12" y="990"/>
                  </a:lnTo>
                  <a:lnTo>
                    <a:pt x="12" y="984"/>
                  </a:lnTo>
                  <a:lnTo>
                    <a:pt x="12" y="972"/>
                  </a:lnTo>
                  <a:lnTo>
                    <a:pt x="12" y="966"/>
                  </a:lnTo>
                  <a:lnTo>
                    <a:pt x="6" y="966"/>
                  </a:lnTo>
                  <a:lnTo>
                    <a:pt x="6" y="960"/>
                  </a:lnTo>
                  <a:lnTo>
                    <a:pt x="6" y="954"/>
                  </a:lnTo>
                  <a:lnTo>
                    <a:pt x="6" y="948"/>
                  </a:lnTo>
                  <a:lnTo>
                    <a:pt x="6" y="942"/>
                  </a:lnTo>
                  <a:lnTo>
                    <a:pt x="12" y="930"/>
                  </a:lnTo>
                  <a:lnTo>
                    <a:pt x="6" y="924"/>
                  </a:lnTo>
                  <a:lnTo>
                    <a:pt x="6" y="918"/>
                  </a:lnTo>
                  <a:lnTo>
                    <a:pt x="6" y="912"/>
                  </a:lnTo>
                  <a:lnTo>
                    <a:pt x="6" y="906"/>
                  </a:lnTo>
                  <a:lnTo>
                    <a:pt x="6" y="900"/>
                  </a:lnTo>
                  <a:lnTo>
                    <a:pt x="0" y="894"/>
                  </a:lnTo>
                  <a:lnTo>
                    <a:pt x="0" y="888"/>
                  </a:lnTo>
                  <a:lnTo>
                    <a:pt x="0" y="882"/>
                  </a:lnTo>
                  <a:lnTo>
                    <a:pt x="6" y="876"/>
                  </a:lnTo>
                  <a:lnTo>
                    <a:pt x="6" y="870"/>
                  </a:lnTo>
                  <a:lnTo>
                    <a:pt x="18" y="864"/>
                  </a:lnTo>
                  <a:lnTo>
                    <a:pt x="18" y="858"/>
                  </a:lnTo>
                  <a:lnTo>
                    <a:pt x="18" y="846"/>
                  </a:lnTo>
                  <a:lnTo>
                    <a:pt x="18" y="834"/>
                  </a:lnTo>
                  <a:lnTo>
                    <a:pt x="18" y="828"/>
                  </a:lnTo>
                  <a:lnTo>
                    <a:pt x="24" y="828"/>
                  </a:lnTo>
                  <a:lnTo>
                    <a:pt x="24" y="810"/>
                  </a:lnTo>
                  <a:lnTo>
                    <a:pt x="24" y="804"/>
                  </a:lnTo>
                  <a:lnTo>
                    <a:pt x="18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24" y="792"/>
                  </a:lnTo>
                  <a:lnTo>
                    <a:pt x="30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6" y="762"/>
                  </a:lnTo>
                  <a:lnTo>
                    <a:pt x="36" y="756"/>
                  </a:lnTo>
                  <a:lnTo>
                    <a:pt x="30" y="756"/>
                  </a:lnTo>
                  <a:lnTo>
                    <a:pt x="30" y="750"/>
                  </a:lnTo>
                  <a:lnTo>
                    <a:pt x="36" y="750"/>
                  </a:lnTo>
                  <a:lnTo>
                    <a:pt x="36" y="744"/>
                  </a:lnTo>
                  <a:lnTo>
                    <a:pt x="30" y="744"/>
                  </a:lnTo>
                  <a:lnTo>
                    <a:pt x="30" y="738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0" y="732"/>
                  </a:lnTo>
                  <a:lnTo>
                    <a:pt x="36" y="726"/>
                  </a:lnTo>
                  <a:lnTo>
                    <a:pt x="30" y="726"/>
                  </a:lnTo>
                  <a:lnTo>
                    <a:pt x="24" y="726"/>
                  </a:lnTo>
                  <a:lnTo>
                    <a:pt x="30" y="720"/>
                  </a:lnTo>
                  <a:lnTo>
                    <a:pt x="30" y="714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696"/>
                  </a:lnTo>
                  <a:lnTo>
                    <a:pt x="66" y="702"/>
                  </a:lnTo>
                  <a:lnTo>
                    <a:pt x="78" y="702"/>
                  </a:lnTo>
                  <a:lnTo>
                    <a:pt x="84" y="702"/>
                  </a:lnTo>
                  <a:lnTo>
                    <a:pt x="96" y="696"/>
                  </a:lnTo>
                  <a:lnTo>
                    <a:pt x="102" y="690"/>
                  </a:lnTo>
                  <a:lnTo>
                    <a:pt x="102" y="684"/>
                  </a:lnTo>
                  <a:lnTo>
                    <a:pt x="114" y="684"/>
                  </a:lnTo>
                  <a:lnTo>
                    <a:pt x="144" y="684"/>
                  </a:lnTo>
                  <a:lnTo>
                    <a:pt x="150" y="690"/>
                  </a:lnTo>
                  <a:lnTo>
                    <a:pt x="162" y="696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6" y="690"/>
                  </a:lnTo>
                  <a:lnTo>
                    <a:pt x="192" y="690"/>
                  </a:lnTo>
                  <a:lnTo>
                    <a:pt x="198" y="684"/>
                  </a:lnTo>
                  <a:lnTo>
                    <a:pt x="204" y="684"/>
                  </a:lnTo>
                  <a:lnTo>
                    <a:pt x="210" y="684"/>
                  </a:lnTo>
                  <a:lnTo>
                    <a:pt x="222" y="678"/>
                  </a:lnTo>
                  <a:lnTo>
                    <a:pt x="228" y="678"/>
                  </a:lnTo>
                  <a:lnTo>
                    <a:pt x="228" y="660"/>
                  </a:lnTo>
                  <a:lnTo>
                    <a:pt x="234" y="642"/>
                  </a:lnTo>
                  <a:lnTo>
                    <a:pt x="246" y="618"/>
                  </a:lnTo>
                  <a:lnTo>
                    <a:pt x="252" y="618"/>
                  </a:lnTo>
                  <a:lnTo>
                    <a:pt x="252" y="600"/>
                  </a:lnTo>
                  <a:lnTo>
                    <a:pt x="252" y="588"/>
                  </a:lnTo>
                  <a:lnTo>
                    <a:pt x="252" y="582"/>
                  </a:lnTo>
                  <a:lnTo>
                    <a:pt x="258" y="576"/>
                  </a:lnTo>
                  <a:lnTo>
                    <a:pt x="270" y="564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70" y="522"/>
                  </a:lnTo>
                  <a:lnTo>
                    <a:pt x="270" y="510"/>
                  </a:lnTo>
                  <a:lnTo>
                    <a:pt x="270" y="498"/>
                  </a:lnTo>
                  <a:lnTo>
                    <a:pt x="258" y="468"/>
                  </a:lnTo>
                  <a:lnTo>
                    <a:pt x="252" y="456"/>
                  </a:lnTo>
                  <a:lnTo>
                    <a:pt x="258" y="444"/>
                  </a:lnTo>
                  <a:lnTo>
                    <a:pt x="264" y="432"/>
                  </a:lnTo>
                  <a:lnTo>
                    <a:pt x="270" y="426"/>
                  </a:lnTo>
                  <a:lnTo>
                    <a:pt x="276" y="420"/>
                  </a:lnTo>
                  <a:lnTo>
                    <a:pt x="288" y="420"/>
                  </a:lnTo>
                  <a:lnTo>
                    <a:pt x="288" y="414"/>
                  </a:lnTo>
                  <a:lnTo>
                    <a:pt x="294" y="414"/>
                  </a:lnTo>
                  <a:lnTo>
                    <a:pt x="306" y="390"/>
                  </a:lnTo>
                  <a:lnTo>
                    <a:pt x="312" y="384"/>
                  </a:lnTo>
                  <a:lnTo>
                    <a:pt x="318" y="378"/>
                  </a:lnTo>
                  <a:lnTo>
                    <a:pt x="318" y="372"/>
                  </a:lnTo>
                  <a:lnTo>
                    <a:pt x="324" y="366"/>
                  </a:lnTo>
                  <a:lnTo>
                    <a:pt x="330" y="354"/>
                  </a:lnTo>
                  <a:lnTo>
                    <a:pt x="336" y="348"/>
                  </a:lnTo>
                  <a:lnTo>
                    <a:pt x="336" y="330"/>
                  </a:lnTo>
                  <a:lnTo>
                    <a:pt x="342" y="324"/>
                  </a:lnTo>
                  <a:lnTo>
                    <a:pt x="342" y="318"/>
                  </a:lnTo>
                  <a:lnTo>
                    <a:pt x="348" y="318"/>
                  </a:lnTo>
                  <a:lnTo>
                    <a:pt x="360" y="318"/>
                  </a:lnTo>
                  <a:lnTo>
                    <a:pt x="372" y="318"/>
                  </a:lnTo>
                  <a:lnTo>
                    <a:pt x="384" y="306"/>
                  </a:lnTo>
                  <a:lnTo>
                    <a:pt x="396" y="300"/>
                  </a:lnTo>
                  <a:lnTo>
                    <a:pt x="396" y="294"/>
                  </a:lnTo>
                  <a:lnTo>
                    <a:pt x="396" y="288"/>
                  </a:lnTo>
                  <a:lnTo>
                    <a:pt x="390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2"/>
                  </a:lnTo>
                  <a:lnTo>
                    <a:pt x="378" y="246"/>
                  </a:lnTo>
                  <a:lnTo>
                    <a:pt x="384" y="228"/>
                  </a:lnTo>
                  <a:lnTo>
                    <a:pt x="390" y="216"/>
                  </a:lnTo>
                  <a:lnTo>
                    <a:pt x="402" y="210"/>
                  </a:lnTo>
                  <a:lnTo>
                    <a:pt x="408" y="210"/>
                  </a:lnTo>
                  <a:lnTo>
                    <a:pt x="420" y="204"/>
                  </a:lnTo>
                  <a:lnTo>
                    <a:pt x="444" y="198"/>
                  </a:lnTo>
                  <a:lnTo>
                    <a:pt x="462" y="192"/>
                  </a:lnTo>
                  <a:lnTo>
                    <a:pt x="474" y="186"/>
                  </a:lnTo>
                  <a:lnTo>
                    <a:pt x="480" y="192"/>
                  </a:lnTo>
                  <a:lnTo>
                    <a:pt x="492" y="192"/>
                  </a:lnTo>
                  <a:lnTo>
                    <a:pt x="498" y="192"/>
                  </a:lnTo>
                  <a:lnTo>
                    <a:pt x="504" y="192"/>
                  </a:lnTo>
                  <a:lnTo>
                    <a:pt x="510" y="192"/>
                  </a:lnTo>
                  <a:lnTo>
                    <a:pt x="516" y="186"/>
                  </a:lnTo>
                  <a:lnTo>
                    <a:pt x="522" y="180"/>
                  </a:lnTo>
                  <a:lnTo>
                    <a:pt x="522" y="174"/>
                  </a:lnTo>
                  <a:lnTo>
                    <a:pt x="528" y="168"/>
                  </a:lnTo>
                  <a:lnTo>
                    <a:pt x="534" y="168"/>
                  </a:lnTo>
                  <a:lnTo>
                    <a:pt x="534" y="156"/>
                  </a:lnTo>
                  <a:lnTo>
                    <a:pt x="534" y="150"/>
                  </a:lnTo>
                  <a:lnTo>
                    <a:pt x="552" y="138"/>
                  </a:lnTo>
                  <a:lnTo>
                    <a:pt x="558" y="126"/>
                  </a:lnTo>
                  <a:lnTo>
                    <a:pt x="558" y="114"/>
                  </a:lnTo>
                  <a:lnTo>
                    <a:pt x="564" y="102"/>
                  </a:lnTo>
                  <a:lnTo>
                    <a:pt x="564" y="96"/>
                  </a:lnTo>
                  <a:lnTo>
                    <a:pt x="564" y="90"/>
                  </a:lnTo>
                  <a:lnTo>
                    <a:pt x="564" y="72"/>
                  </a:lnTo>
                  <a:lnTo>
                    <a:pt x="564" y="60"/>
                  </a:lnTo>
                  <a:lnTo>
                    <a:pt x="564" y="54"/>
                  </a:lnTo>
                  <a:lnTo>
                    <a:pt x="570" y="42"/>
                  </a:lnTo>
                  <a:lnTo>
                    <a:pt x="576" y="42"/>
                  </a:lnTo>
                  <a:lnTo>
                    <a:pt x="582" y="36"/>
                  </a:lnTo>
                  <a:lnTo>
                    <a:pt x="594" y="36"/>
                  </a:lnTo>
                  <a:lnTo>
                    <a:pt x="594" y="30"/>
                  </a:lnTo>
                  <a:lnTo>
                    <a:pt x="600" y="24"/>
                  </a:lnTo>
                  <a:lnTo>
                    <a:pt x="600" y="12"/>
                  </a:lnTo>
                  <a:lnTo>
                    <a:pt x="606" y="6"/>
                  </a:lnTo>
                  <a:lnTo>
                    <a:pt x="606" y="0"/>
                  </a:lnTo>
                  <a:lnTo>
                    <a:pt x="612" y="0"/>
                  </a:lnTo>
                  <a:lnTo>
                    <a:pt x="618" y="0"/>
                  </a:lnTo>
                  <a:lnTo>
                    <a:pt x="624" y="6"/>
                  </a:lnTo>
                  <a:lnTo>
                    <a:pt x="624" y="12"/>
                  </a:lnTo>
                  <a:lnTo>
                    <a:pt x="624" y="18"/>
                  </a:lnTo>
                  <a:lnTo>
                    <a:pt x="624" y="24"/>
                  </a:lnTo>
                  <a:lnTo>
                    <a:pt x="624" y="30"/>
                  </a:lnTo>
                  <a:lnTo>
                    <a:pt x="630" y="30"/>
                  </a:lnTo>
                  <a:lnTo>
                    <a:pt x="630" y="36"/>
                  </a:lnTo>
                  <a:lnTo>
                    <a:pt x="630" y="42"/>
                  </a:lnTo>
                  <a:lnTo>
                    <a:pt x="630" y="48"/>
                  </a:lnTo>
                  <a:lnTo>
                    <a:pt x="636" y="54"/>
                  </a:lnTo>
                  <a:lnTo>
                    <a:pt x="642" y="48"/>
                  </a:lnTo>
                  <a:lnTo>
                    <a:pt x="648" y="48"/>
                  </a:lnTo>
                  <a:lnTo>
                    <a:pt x="648" y="60"/>
                  </a:lnTo>
                  <a:lnTo>
                    <a:pt x="654" y="66"/>
                  </a:lnTo>
                  <a:lnTo>
                    <a:pt x="660" y="72"/>
                  </a:lnTo>
                  <a:lnTo>
                    <a:pt x="666" y="72"/>
                  </a:lnTo>
                  <a:lnTo>
                    <a:pt x="666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72" y="66"/>
                  </a:lnTo>
                  <a:lnTo>
                    <a:pt x="678" y="66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6" y="66"/>
                  </a:lnTo>
                  <a:lnTo>
                    <a:pt x="696" y="72"/>
                  </a:lnTo>
                  <a:lnTo>
                    <a:pt x="702" y="72"/>
                  </a:lnTo>
                  <a:lnTo>
                    <a:pt x="708" y="72"/>
                  </a:lnTo>
                  <a:lnTo>
                    <a:pt x="720" y="66"/>
                  </a:lnTo>
                  <a:lnTo>
                    <a:pt x="726" y="78"/>
                  </a:lnTo>
                  <a:lnTo>
                    <a:pt x="744" y="84"/>
                  </a:lnTo>
                  <a:lnTo>
                    <a:pt x="744" y="90"/>
                  </a:lnTo>
                  <a:lnTo>
                    <a:pt x="744" y="96"/>
                  </a:lnTo>
                  <a:lnTo>
                    <a:pt x="738" y="96"/>
                  </a:lnTo>
                  <a:lnTo>
                    <a:pt x="738" y="102"/>
                  </a:lnTo>
                  <a:lnTo>
                    <a:pt x="732" y="102"/>
                  </a:lnTo>
                  <a:lnTo>
                    <a:pt x="732" y="108"/>
                  </a:lnTo>
                  <a:lnTo>
                    <a:pt x="738" y="108"/>
                  </a:lnTo>
                  <a:lnTo>
                    <a:pt x="744" y="114"/>
                  </a:lnTo>
                  <a:lnTo>
                    <a:pt x="750" y="108"/>
                  </a:lnTo>
                  <a:lnTo>
                    <a:pt x="756" y="108"/>
                  </a:lnTo>
                  <a:lnTo>
                    <a:pt x="762" y="108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80" y="120"/>
                  </a:lnTo>
                  <a:lnTo>
                    <a:pt x="774" y="120"/>
                  </a:lnTo>
                  <a:lnTo>
                    <a:pt x="768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74" y="138"/>
                  </a:lnTo>
                  <a:lnTo>
                    <a:pt x="774" y="132"/>
                  </a:lnTo>
                  <a:lnTo>
                    <a:pt x="780" y="132"/>
                  </a:lnTo>
                  <a:lnTo>
                    <a:pt x="786" y="132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44"/>
                  </a:lnTo>
                  <a:lnTo>
                    <a:pt x="786" y="150"/>
                  </a:lnTo>
                  <a:lnTo>
                    <a:pt x="780" y="150"/>
                  </a:lnTo>
                  <a:lnTo>
                    <a:pt x="774" y="150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74" y="162"/>
                  </a:lnTo>
                  <a:lnTo>
                    <a:pt x="780" y="162"/>
                  </a:lnTo>
                  <a:lnTo>
                    <a:pt x="786" y="168"/>
                  </a:lnTo>
                  <a:lnTo>
                    <a:pt x="792" y="162"/>
                  </a:lnTo>
                  <a:lnTo>
                    <a:pt x="798" y="168"/>
                  </a:lnTo>
                  <a:lnTo>
                    <a:pt x="798" y="174"/>
                  </a:lnTo>
                  <a:lnTo>
                    <a:pt x="804" y="168"/>
                  </a:lnTo>
                  <a:lnTo>
                    <a:pt x="810" y="168"/>
                  </a:lnTo>
                  <a:lnTo>
                    <a:pt x="810" y="174"/>
                  </a:lnTo>
                  <a:lnTo>
                    <a:pt x="816" y="168"/>
                  </a:lnTo>
                  <a:lnTo>
                    <a:pt x="822" y="162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74"/>
                  </a:lnTo>
                  <a:lnTo>
                    <a:pt x="834" y="192"/>
                  </a:lnTo>
                  <a:lnTo>
                    <a:pt x="834" y="198"/>
                  </a:lnTo>
                  <a:lnTo>
                    <a:pt x="840" y="192"/>
                  </a:lnTo>
                  <a:lnTo>
                    <a:pt x="846" y="192"/>
                  </a:lnTo>
                  <a:lnTo>
                    <a:pt x="852" y="186"/>
                  </a:lnTo>
                  <a:lnTo>
                    <a:pt x="858" y="192"/>
                  </a:lnTo>
                  <a:lnTo>
                    <a:pt x="864" y="192"/>
                  </a:lnTo>
                  <a:lnTo>
                    <a:pt x="870" y="198"/>
                  </a:lnTo>
                  <a:lnTo>
                    <a:pt x="876" y="180"/>
                  </a:lnTo>
                  <a:lnTo>
                    <a:pt x="882" y="180"/>
                  </a:lnTo>
                  <a:lnTo>
                    <a:pt x="888" y="180"/>
                  </a:lnTo>
                  <a:lnTo>
                    <a:pt x="894" y="186"/>
                  </a:lnTo>
                  <a:lnTo>
                    <a:pt x="888" y="198"/>
                  </a:lnTo>
                  <a:lnTo>
                    <a:pt x="894" y="204"/>
                  </a:lnTo>
                  <a:lnTo>
                    <a:pt x="906" y="210"/>
                  </a:lnTo>
                  <a:lnTo>
                    <a:pt x="918" y="246"/>
                  </a:lnTo>
                  <a:lnTo>
                    <a:pt x="930" y="258"/>
                  </a:lnTo>
                  <a:lnTo>
                    <a:pt x="942" y="282"/>
                  </a:lnTo>
                  <a:lnTo>
                    <a:pt x="966" y="288"/>
                  </a:lnTo>
                  <a:lnTo>
                    <a:pt x="972" y="300"/>
                  </a:lnTo>
                  <a:lnTo>
                    <a:pt x="972" y="318"/>
                  </a:lnTo>
                  <a:lnTo>
                    <a:pt x="996" y="336"/>
                  </a:lnTo>
                  <a:lnTo>
                    <a:pt x="1050" y="390"/>
                  </a:lnTo>
                  <a:lnTo>
                    <a:pt x="1116" y="462"/>
                  </a:lnTo>
                  <a:lnTo>
                    <a:pt x="1122" y="468"/>
                  </a:lnTo>
                  <a:lnTo>
                    <a:pt x="1128" y="474"/>
                  </a:lnTo>
                  <a:lnTo>
                    <a:pt x="1140" y="474"/>
                  </a:lnTo>
                  <a:lnTo>
                    <a:pt x="1152" y="486"/>
                  </a:lnTo>
                  <a:lnTo>
                    <a:pt x="1152" y="492"/>
                  </a:lnTo>
                  <a:lnTo>
                    <a:pt x="1158" y="492"/>
                  </a:lnTo>
                  <a:lnTo>
                    <a:pt x="1164" y="492"/>
                  </a:lnTo>
                  <a:lnTo>
                    <a:pt x="1170" y="504"/>
                  </a:lnTo>
                  <a:lnTo>
                    <a:pt x="1176" y="504"/>
                  </a:lnTo>
                  <a:lnTo>
                    <a:pt x="1176" y="510"/>
                  </a:lnTo>
                  <a:lnTo>
                    <a:pt x="1200" y="516"/>
                  </a:lnTo>
                  <a:lnTo>
                    <a:pt x="1200" y="522"/>
                  </a:lnTo>
                  <a:lnTo>
                    <a:pt x="1212" y="534"/>
                  </a:lnTo>
                  <a:lnTo>
                    <a:pt x="1218" y="540"/>
                  </a:lnTo>
                  <a:lnTo>
                    <a:pt x="1224" y="552"/>
                  </a:lnTo>
                  <a:lnTo>
                    <a:pt x="1230" y="552"/>
                  </a:lnTo>
                  <a:lnTo>
                    <a:pt x="1242" y="552"/>
                  </a:lnTo>
                  <a:lnTo>
                    <a:pt x="1248" y="558"/>
                  </a:lnTo>
                  <a:lnTo>
                    <a:pt x="1254" y="558"/>
                  </a:lnTo>
                  <a:lnTo>
                    <a:pt x="1260" y="564"/>
                  </a:lnTo>
                  <a:lnTo>
                    <a:pt x="1266" y="564"/>
                  </a:lnTo>
                  <a:lnTo>
                    <a:pt x="1272" y="564"/>
                  </a:lnTo>
                  <a:lnTo>
                    <a:pt x="1284" y="564"/>
                  </a:lnTo>
                  <a:lnTo>
                    <a:pt x="1290" y="570"/>
                  </a:lnTo>
                  <a:lnTo>
                    <a:pt x="1296" y="576"/>
                  </a:lnTo>
                  <a:lnTo>
                    <a:pt x="1302" y="588"/>
                  </a:lnTo>
                  <a:lnTo>
                    <a:pt x="1296" y="594"/>
                  </a:lnTo>
                  <a:lnTo>
                    <a:pt x="1296" y="600"/>
                  </a:lnTo>
                  <a:lnTo>
                    <a:pt x="1296" y="606"/>
                  </a:lnTo>
                  <a:lnTo>
                    <a:pt x="1290" y="612"/>
                  </a:lnTo>
                  <a:lnTo>
                    <a:pt x="1290" y="624"/>
                  </a:lnTo>
                  <a:lnTo>
                    <a:pt x="1290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308" y="654"/>
                  </a:lnTo>
                  <a:lnTo>
                    <a:pt x="1320" y="654"/>
                  </a:lnTo>
                  <a:lnTo>
                    <a:pt x="1326" y="660"/>
                  </a:lnTo>
                  <a:lnTo>
                    <a:pt x="1338" y="654"/>
                  </a:lnTo>
                  <a:lnTo>
                    <a:pt x="1344" y="654"/>
                  </a:lnTo>
                  <a:lnTo>
                    <a:pt x="1356" y="654"/>
                  </a:lnTo>
                  <a:lnTo>
                    <a:pt x="1362" y="648"/>
                  </a:lnTo>
                  <a:lnTo>
                    <a:pt x="1368" y="642"/>
                  </a:lnTo>
                  <a:lnTo>
                    <a:pt x="1374" y="636"/>
                  </a:lnTo>
                  <a:lnTo>
                    <a:pt x="1380" y="636"/>
                  </a:lnTo>
                  <a:lnTo>
                    <a:pt x="1392" y="636"/>
                  </a:lnTo>
                  <a:lnTo>
                    <a:pt x="1398" y="636"/>
                  </a:lnTo>
                  <a:lnTo>
                    <a:pt x="1404" y="636"/>
                  </a:lnTo>
                  <a:lnTo>
                    <a:pt x="1410" y="630"/>
                  </a:lnTo>
                  <a:lnTo>
                    <a:pt x="1410" y="624"/>
                  </a:lnTo>
                  <a:lnTo>
                    <a:pt x="1422" y="618"/>
                  </a:lnTo>
                  <a:lnTo>
                    <a:pt x="1428" y="618"/>
                  </a:lnTo>
                  <a:lnTo>
                    <a:pt x="1440" y="612"/>
                  </a:lnTo>
                  <a:lnTo>
                    <a:pt x="1446" y="612"/>
                  </a:lnTo>
                  <a:lnTo>
                    <a:pt x="1458" y="612"/>
                  </a:lnTo>
                  <a:lnTo>
                    <a:pt x="1470" y="624"/>
                  </a:lnTo>
                  <a:lnTo>
                    <a:pt x="1488" y="642"/>
                  </a:lnTo>
                  <a:lnTo>
                    <a:pt x="1500" y="648"/>
                  </a:lnTo>
                  <a:lnTo>
                    <a:pt x="1512" y="654"/>
                  </a:lnTo>
                  <a:lnTo>
                    <a:pt x="1518" y="660"/>
                  </a:lnTo>
                  <a:lnTo>
                    <a:pt x="1524" y="660"/>
                  </a:lnTo>
                  <a:lnTo>
                    <a:pt x="1530" y="660"/>
                  </a:lnTo>
                  <a:lnTo>
                    <a:pt x="1536" y="666"/>
                  </a:lnTo>
                  <a:lnTo>
                    <a:pt x="1542" y="672"/>
                  </a:lnTo>
                  <a:lnTo>
                    <a:pt x="1548" y="672"/>
                  </a:lnTo>
                  <a:lnTo>
                    <a:pt x="1554" y="684"/>
                  </a:lnTo>
                  <a:lnTo>
                    <a:pt x="1554" y="690"/>
                  </a:lnTo>
                  <a:lnTo>
                    <a:pt x="1566" y="702"/>
                  </a:lnTo>
                  <a:lnTo>
                    <a:pt x="1572" y="720"/>
                  </a:lnTo>
                  <a:lnTo>
                    <a:pt x="1572" y="726"/>
                  </a:lnTo>
                  <a:lnTo>
                    <a:pt x="1578" y="732"/>
                  </a:lnTo>
                  <a:lnTo>
                    <a:pt x="1584" y="738"/>
                  </a:lnTo>
                  <a:lnTo>
                    <a:pt x="1590" y="738"/>
                  </a:lnTo>
                  <a:lnTo>
                    <a:pt x="1596" y="738"/>
                  </a:lnTo>
                  <a:lnTo>
                    <a:pt x="1602" y="744"/>
                  </a:lnTo>
                  <a:lnTo>
                    <a:pt x="1608" y="744"/>
                  </a:lnTo>
                  <a:lnTo>
                    <a:pt x="1614" y="744"/>
                  </a:lnTo>
                  <a:lnTo>
                    <a:pt x="1626" y="744"/>
                  </a:lnTo>
                  <a:lnTo>
                    <a:pt x="1638" y="744"/>
                  </a:lnTo>
                  <a:lnTo>
                    <a:pt x="1650" y="744"/>
                  </a:lnTo>
                  <a:lnTo>
                    <a:pt x="1662" y="744"/>
                  </a:lnTo>
                  <a:lnTo>
                    <a:pt x="1668" y="744"/>
                  </a:lnTo>
                  <a:lnTo>
                    <a:pt x="1674" y="744"/>
                  </a:lnTo>
                  <a:lnTo>
                    <a:pt x="1686" y="744"/>
                  </a:lnTo>
                  <a:lnTo>
                    <a:pt x="1698" y="750"/>
                  </a:lnTo>
                  <a:lnTo>
                    <a:pt x="1704" y="750"/>
                  </a:lnTo>
                  <a:lnTo>
                    <a:pt x="1716" y="756"/>
                  </a:lnTo>
                  <a:lnTo>
                    <a:pt x="1722" y="756"/>
                  </a:lnTo>
                  <a:lnTo>
                    <a:pt x="1728" y="756"/>
                  </a:lnTo>
                  <a:lnTo>
                    <a:pt x="1734" y="762"/>
                  </a:lnTo>
                  <a:lnTo>
                    <a:pt x="1740" y="768"/>
                  </a:lnTo>
                  <a:lnTo>
                    <a:pt x="1758" y="780"/>
                  </a:lnTo>
                  <a:lnTo>
                    <a:pt x="1770" y="780"/>
                  </a:lnTo>
                  <a:lnTo>
                    <a:pt x="1776" y="780"/>
                  </a:lnTo>
                  <a:lnTo>
                    <a:pt x="1782" y="780"/>
                  </a:lnTo>
                  <a:lnTo>
                    <a:pt x="1800" y="798"/>
                  </a:lnTo>
                  <a:lnTo>
                    <a:pt x="1818" y="810"/>
                  </a:lnTo>
                  <a:lnTo>
                    <a:pt x="1830" y="816"/>
                  </a:lnTo>
                  <a:lnTo>
                    <a:pt x="1836" y="822"/>
                  </a:lnTo>
                  <a:lnTo>
                    <a:pt x="1836" y="828"/>
                  </a:lnTo>
                  <a:lnTo>
                    <a:pt x="1842" y="828"/>
                  </a:lnTo>
                  <a:lnTo>
                    <a:pt x="1848" y="834"/>
                  </a:lnTo>
                  <a:lnTo>
                    <a:pt x="1854" y="840"/>
                  </a:lnTo>
                  <a:lnTo>
                    <a:pt x="1860" y="846"/>
                  </a:lnTo>
                  <a:lnTo>
                    <a:pt x="1872" y="852"/>
                  </a:lnTo>
                  <a:lnTo>
                    <a:pt x="1884" y="852"/>
                  </a:lnTo>
                  <a:lnTo>
                    <a:pt x="1896" y="852"/>
                  </a:lnTo>
                  <a:lnTo>
                    <a:pt x="1902" y="846"/>
                  </a:lnTo>
                  <a:lnTo>
                    <a:pt x="1908" y="852"/>
                  </a:lnTo>
                  <a:lnTo>
                    <a:pt x="1920" y="858"/>
                  </a:lnTo>
                  <a:lnTo>
                    <a:pt x="1926" y="870"/>
                  </a:lnTo>
                  <a:lnTo>
                    <a:pt x="1938" y="888"/>
                  </a:lnTo>
                  <a:lnTo>
                    <a:pt x="1944" y="900"/>
                  </a:lnTo>
                  <a:lnTo>
                    <a:pt x="1950" y="900"/>
                  </a:lnTo>
                  <a:lnTo>
                    <a:pt x="1962" y="906"/>
                  </a:lnTo>
                  <a:lnTo>
                    <a:pt x="1968" y="906"/>
                  </a:lnTo>
                  <a:lnTo>
                    <a:pt x="1980" y="906"/>
                  </a:lnTo>
                  <a:lnTo>
                    <a:pt x="1998" y="906"/>
                  </a:lnTo>
                  <a:lnTo>
                    <a:pt x="2010" y="900"/>
                  </a:lnTo>
                  <a:lnTo>
                    <a:pt x="2022" y="900"/>
                  </a:lnTo>
                  <a:lnTo>
                    <a:pt x="2028" y="900"/>
                  </a:lnTo>
                  <a:lnTo>
                    <a:pt x="2034" y="906"/>
                  </a:lnTo>
                  <a:lnTo>
                    <a:pt x="2046" y="906"/>
                  </a:lnTo>
                  <a:lnTo>
                    <a:pt x="2052" y="900"/>
                  </a:lnTo>
                  <a:lnTo>
                    <a:pt x="2058" y="900"/>
                  </a:lnTo>
                  <a:lnTo>
                    <a:pt x="2064" y="900"/>
                  </a:lnTo>
                  <a:lnTo>
                    <a:pt x="2070" y="900"/>
                  </a:lnTo>
                  <a:lnTo>
                    <a:pt x="2076" y="900"/>
                  </a:lnTo>
                  <a:lnTo>
                    <a:pt x="2076" y="906"/>
                  </a:lnTo>
                  <a:lnTo>
                    <a:pt x="2088" y="906"/>
                  </a:lnTo>
                  <a:lnTo>
                    <a:pt x="2106" y="900"/>
                  </a:lnTo>
                  <a:lnTo>
                    <a:pt x="2118" y="900"/>
                  </a:lnTo>
                  <a:lnTo>
                    <a:pt x="2130" y="900"/>
                  </a:lnTo>
                  <a:lnTo>
                    <a:pt x="2142" y="900"/>
                  </a:lnTo>
                  <a:lnTo>
                    <a:pt x="2148" y="906"/>
                  </a:lnTo>
                  <a:lnTo>
                    <a:pt x="2154" y="906"/>
                  </a:lnTo>
                  <a:lnTo>
                    <a:pt x="2160" y="906"/>
                  </a:lnTo>
                  <a:lnTo>
                    <a:pt x="2166" y="906"/>
                  </a:lnTo>
                  <a:lnTo>
                    <a:pt x="2178" y="918"/>
                  </a:lnTo>
                  <a:lnTo>
                    <a:pt x="2178" y="924"/>
                  </a:lnTo>
                  <a:lnTo>
                    <a:pt x="2184" y="924"/>
                  </a:lnTo>
                  <a:lnTo>
                    <a:pt x="2190" y="924"/>
                  </a:lnTo>
                  <a:lnTo>
                    <a:pt x="2196" y="924"/>
                  </a:lnTo>
                  <a:lnTo>
                    <a:pt x="2202" y="918"/>
                  </a:lnTo>
                  <a:lnTo>
                    <a:pt x="2208" y="918"/>
                  </a:lnTo>
                  <a:lnTo>
                    <a:pt x="2214" y="918"/>
                  </a:lnTo>
                  <a:lnTo>
                    <a:pt x="2226" y="918"/>
                  </a:lnTo>
                  <a:lnTo>
                    <a:pt x="2220" y="948"/>
                  </a:lnTo>
                  <a:lnTo>
                    <a:pt x="2214" y="972"/>
                  </a:lnTo>
                  <a:lnTo>
                    <a:pt x="2214" y="984"/>
                  </a:lnTo>
                  <a:lnTo>
                    <a:pt x="2208" y="990"/>
                  </a:lnTo>
                  <a:lnTo>
                    <a:pt x="2208" y="996"/>
                  </a:lnTo>
                  <a:lnTo>
                    <a:pt x="2202" y="996"/>
                  </a:lnTo>
                  <a:lnTo>
                    <a:pt x="2196" y="996"/>
                  </a:lnTo>
                  <a:lnTo>
                    <a:pt x="2190" y="1008"/>
                  </a:lnTo>
                  <a:lnTo>
                    <a:pt x="2172" y="1074"/>
                  </a:lnTo>
                  <a:lnTo>
                    <a:pt x="2166" y="1092"/>
                  </a:lnTo>
                  <a:lnTo>
                    <a:pt x="2172" y="1110"/>
                  </a:lnTo>
                  <a:lnTo>
                    <a:pt x="2172" y="1122"/>
                  </a:lnTo>
                  <a:lnTo>
                    <a:pt x="2166" y="1134"/>
                  </a:lnTo>
                  <a:lnTo>
                    <a:pt x="2148" y="1140"/>
                  </a:lnTo>
                  <a:lnTo>
                    <a:pt x="2148" y="1134"/>
                  </a:lnTo>
                  <a:lnTo>
                    <a:pt x="2118" y="1140"/>
                  </a:lnTo>
                  <a:lnTo>
                    <a:pt x="2088" y="1134"/>
                  </a:lnTo>
                  <a:lnTo>
                    <a:pt x="2064" y="1122"/>
                  </a:lnTo>
                  <a:lnTo>
                    <a:pt x="2034" y="1122"/>
                  </a:lnTo>
                  <a:lnTo>
                    <a:pt x="2022" y="1128"/>
                  </a:lnTo>
                  <a:lnTo>
                    <a:pt x="1986" y="1128"/>
                  </a:lnTo>
                  <a:lnTo>
                    <a:pt x="1938" y="1122"/>
                  </a:lnTo>
                  <a:lnTo>
                    <a:pt x="1932" y="1116"/>
                  </a:lnTo>
                  <a:lnTo>
                    <a:pt x="1896" y="1110"/>
                  </a:lnTo>
                  <a:lnTo>
                    <a:pt x="1878" y="1104"/>
                  </a:lnTo>
                  <a:lnTo>
                    <a:pt x="1866" y="1098"/>
                  </a:lnTo>
                  <a:lnTo>
                    <a:pt x="1860" y="1098"/>
                  </a:lnTo>
                  <a:lnTo>
                    <a:pt x="1854" y="1092"/>
                  </a:lnTo>
                  <a:lnTo>
                    <a:pt x="1860" y="1092"/>
                  </a:lnTo>
                  <a:lnTo>
                    <a:pt x="1860" y="1086"/>
                  </a:lnTo>
                  <a:lnTo>
                    <a:pt x="1854" y="1086"/>
                  </a:lnTo>
                  <a:lnTo>
                    <a:pt x="1842" y="1080"/>
                  </a:lnTo>
                  <a:lnTo>
                    <a:pt x="1818" y="1062"/>
                  </a:lnTo>
                  <a:lnTo>
                    <a:pt x="1782" y="1056"/>
                  </a:lnTo>
                  <a:lnTo>
                    <a:pt x="1770" y="1068"/>
                  </a:lnTo>
                  <a:lnTo>
                    <a:pt x="1746" y="1098"/>
                  </a:lnTo>
                  <a:lnTo>
                    <a:pt x="1722" y="1104"/>
                  </a:lnTo>
                  <a:lnTo>
                    <a:pt x="1710" y="1122"/>
                  </a:lnTo>
                  <a:lnTo>
                    <a:pt x="1710" y="1128"/>
                  </a:lnTo>
                  <a:lnTo>
                    <a:pt x="1710" y="1140"/>
                  </a:lnTo>
                  <a:lnTo>
                    <a:pt x="1698" y="1146"/>
                  </a:lnTo>
                  <a:lnTo>
                    <a:pt x="1686" y="1152"/>
                  </a:lnTo>
                  <a:lnTo>
                    <a:pt x="1680" y="1164"/>
                  </a:lnTo>
                  <a:lnTo>
                    <a:pt x="1680" y="1170"/>
                  </a:lnTo>
                  <a:lnTo>
                    <a:pt x="1686" y="1170"/>
                  </a:lnTo>
                  <a:lnTo>
                    <a:pt x="1686" y="1176"/>
                  </a:lnTo>
                  <a:lnTo>
                    <a:pt x="1698" y="1188"/>
                  </a:lnTo>
                  <a:lnTo>
                    <a:pt x="1704" y="1188"/>
                  </a:lnTo>
                  <a:lnTo>
                    <a:pt x="1698" y="1194"/>
                  </a:lnTo>
                  <a:lnTo>
                    <a:pt x="1704" y="1194"/>
                  </a:lnTo>
                  <a:lnTo>
                    <a:pt x="1704" y="1200"/>
                  </a:lnTo>
                  <a:lnTo>
                    <a:pt x="1704" y="1206"/>
                  </a:lnTo>
                  <a:lnTo>
                    <a:pt x="1704" y="1212"/>
                  </a:lnTo>
                  <a:lnTo>
                    <a:pt x="1704" y="1218"/>
                  </a:lnTo>
                  <a:lnTo>
                    <a:pt x="1710" y="1218"/>
                  </a:lnTo>
                  <a:lnTo>
                    <a:pt x="1710" y="1212"/>
                  </a:lnTo>
                  <a:lnTo>
                    <a:pt x="1716" y="1212"/>
                  </a:lnTo>
                  <a:lnTo>
                    <a:pt x="1716" y="1218"/>
                  </a:lnTo>
                  <a:lnTo>
                    <a:pt x="1716" y="1224"/>
                  </a:lnTo>
                  <a:lnTo>
                    <a:pt x="1716" y="1230"/>
                  </a:lnTo>
                  <a:lnTo>
                    <a:pt x="1722" y="1236"/>
                  </a:lnTo>
                  <a:lnTo>
                    <a:pt x="1740" y="1230"/>
                  </a:lnTo>
                  <a:lnTo>
                    <a:pt x="1734" y="1236"/>
                  </a:lnTo>
                  <a:lnTo>
                    <a:pt x="1734" y="1242"/>
                  </a:lnTo>
                  <a:lnTo>
                    <a:pt x="1734" y="1248"/>
                  </a:lnTo>
                  <a:lnTo>
                    <a:pt x="1734" y="1254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52" y="1266"/>
                  </a:lnTo>
                  <a:lnTo>
                    <a:pt x="1764" y="1266"/>
                  </a:lnTo>
                  <a:lnTo>
                    <a:pt x="1788" y="1260"/>
                  </a:lnTo>
                  <a:lnTo>
                    <a:pt x="1800" y="1260"/>
                  </a:lnTo>
                  <a:lnTo>
                    <a:pt x="1806" y="1272"/>
                  </a:lnTo>
                  <a:lnTo>
                    <a:pt x="1806" y="1296"/>
                  </a:lnTo>
                  <a:lnTo>
                    <a:pt x="1800" y="1308"/>
                  </a:lnTo>
                  <a:lnTo>
                    <a:pt x="1788" y="1308"/>
                  </a:lnTo>
                  <a:lnTo>
                    <a:pt x="1782" y="132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27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119" name="Freeform 33">
              <a:extLst>
                <a:ext uri="{FF2B5EF4-FFF2-40B4-BE49-F238E27FC236}">
                  <a16:creationId xmlns:a16="http://schemas.microsoft.com/office/drawing/2014/main" id="{6B05DBD5-CB16-4306-B1C1-A28032FF554F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9464" y="2084388"/>
              <a:ext cx="2268537" cy="1903412"/>
            </a:xfrm>
            <a:custGeom>
              <a:avLst/>
              <a:gdLst>
                <a:gd name="T0" fmla="*/ 2147483647 w 2430"/>
                <a:gd name="T1" fmla="*/ 2147483647 h 2040"/>
                <a:gd name="T2" fmla="*/ 2147483647 w 2430"/>
                <a:gd name="T3" fmla="*/ 2147483647 h 2040"/>
                <a:gd name="T4" fmla="*/ 2147483647 w 2430"/>
                <a:gd name="T5" fmla="*/ 2147483647 h 2040"/>
                <a:gd name="T6" fmla="*/ 2147483647 w 2430"/>
                <a:gd name="T7" fmla="*/ 2147483647 h 2040"/>
                <a:gd name="T8" fmla="*/ 2147483647 w 2430"/>
                <a:gd name="T9" fmla="*/ 2147483647 h 2040"/>
                <a:gd name="T10" fmla="*/ 2147483647 w 2430"/>
                <a:gd name="T11" fmla="*/ 2147483647 h 2040"/>
                <a:gd name="T12" fmla="*/ 2147483647 w 2430"/>
                <a:gd name="T13" fmla="*/ 2147483647 h 2040"/>
                <a:gd name="T14" fmla="*/ 2147483647 w 2430"/>
                <a:gd name="T15" fmla="*/ 2147483647 h 2040"/>
                <a:gd name="T16" fmla="*/ 2147483647 w 2430"/>
                <a:gd name="T17" fmla="*/ 2147483647 h 2040"/>
                <a:gd name="T18" fmla="*/ 2147483647 w 2430"/>
                <a:gd name="T19" fmla="*/ 2147483647 h 2040"/>
                <a:gd name="T20" fmla="*/ 2147483647 w 2430"/>
                <a:gd name="T21" fmla="*/ 2147483647 h 2040"/>
                <a:gd name="T22" fmla="*/ 2147483647 w 2430"/>
                <a:gd name="T23" fmla="*/ 2147483647 h 2040"/>
                <a:gd name="T24" fmla="*/ 2147483647 w 2430"/>
                <a:gd name="T25" fmla="*/ 2147483647 h 2040"/>
                <a:gd name="T26" fmla="*/ 2147483647 w 2430"/>
                <a:gd name="T27" fmla="*/ 2147483647 h 2040"/>
                <a:gd name="T28" fmla="*/ 2147483647 w 2430"/>
                <a:gd name="T29" fmla="*/ 2147483647 h 2040"/>
                <a:gd name="T30" fmla="*/ 2147483647 w 2430"/>
                <a:gd name="T31" fmla="*/ 2147483647 h 2040"/>
                <a:gd name="T32" fmla="*/ 2147483647 w 2430"/>
                <a:gd name="T33" fmla="*/ 2147483647 h 2040"/>
                <a:gd name="T34" fmla="*/ 2147483647 w 2430"/>
                <a:gd name="T35" fmla="*/ 2147483647 h 2040"/>
                <a:gd name="T36" fmla="*/ 2147483647 w 2430"/>
                <a:gd name="T37" fmla="*/ 2147483647 h 2040"/>
                <a:gd name="T38" fmla="*/ 2147483647 w 2430"/>
                <a:gd name="T39" fmla="*/ 2147483647 h 2040"/>
                <a:gd name="T40" fmla="*/ 2147483647 w 2430"/>
                <a:gd name="T41" fmla="*/ 2147483647 h 2040"/>
                <a:gd name="T42" fmla="*/ 0 w 2430"/>
                <a:gd name="T43" fmla="*/ 2147483647 h 2040"/>
                <a:gd name="T44" fmla="*/ 2147483647 w 2430"/>
                <a:gd name="T45" fmla="*/ 2147483647 h 2040"/>
                <a:gd name="T46" fmla="*/ 2147483647 w 2430"/>
                <a:gd name="T47" fmla="*/ 2147483647 h 2040"/>
                <a:gd name="T48" fmla="*/ 2147483647 w 2430"/>
                <a:gd name="T49" fmla="*/ 2147483647 h 2040"/>
                <a:gd name="T50" fmla="*/ 2147483647 w 2430"/>
                <a:gd name="T51" fmla="*/ 2147483647 h 2040"/>
                <a:gd name="T52" fmla="*/ 2147483647 w 2430"/>
                <a:gd name="T53" fmla="*/ 2147483647 h 2040"/>
                <a:gd name="T54" fmla="*/ 2147483647 w 2430"/>
                <a:gd name="T55" fmla="*/ 2147483647 h 2040"/>
                <a:gd name="T56" fmla="*/ 2147483647 w 2430"/>
                <a:gd name="T57" fmla="*/ 2147483647 h 2040"/>
                <a:gd name="T58" fmla="*/ 2147483647 w 2430"/>
                <a:gd name="T59" fmla="*/ 2147483647 h 2040"/>
                <a:gd name="T60" fmla="*/ 2147483647 w 2430"/>
                <a:gd name="T61" fmla="*/ 2147483647 h 2040"/>
                <a:gd name="T62" fmla="*/ 2147483647 w 2430"/>
                <a:gd name="T63" fmla="*/ 2147483647 h 2040"/>
                <a:gd name="T64" fmla="*/ 2147483647 w 2430"/>
                <a:gd name="T65" fmla="*/ 2147483647 h 2040"/>
                <a:gd name="T66" fmla="*/ 2147483647 w 2430"/>
                <a:gd name="T67" fmla="*/ 2147483647 h 2040"/>
                <a:gd name="T68" fmla="*/ 2147483647 w 2430"/>
                <a:gd name="T69" fmla="*/ 2147483647 h 2040"/>
                <a:gd name="T70" fmla="*/ 2147483647 w 2430"/>
                <a:gd name="T71" fmla="*/ 2147483647 h 2040"/>
                <a:gd name="T72" fmla="*/ 2147483647 w 2430"/>
                <a:gd name="T73" fmla="*/ 2147483647 h 2040"/>
                <a:gd name="T74" fmla="*/ 2147483647 w 2430"/>
                <a:gd name="T75" fmla="*/ 2147483647 h 2040"/>
                <a:gd name="T76" fmla="*/ 2147483647 w 2430"/>
                <a:gd name="T77" fmla="*/ 2147483647 h 2040"/>
                <a:gd name="T78" fmla="*/ 2147483647 w 2430"/>
                <a:gd name="T79" fmla="*/ 2147483647 h 2040"/>
                <a:gd name="T80" fmla="*/ 2147483647 w 2430"/>
                <a:gd name="T81" fmla="*/ 2147483647 h 2040"/>
                <a:gd name="T82" fmla="*/ 2147483647 w 2430"/>
                <a:gd name="T83" fmla="*/ 2147483647 h 2040"/>
                <a:gd name="T84" fmla="*/ 2147483647 w 2430"/>
                <a:gd name="T85" fmla="*/ 2147483647 h 2040"/>
                <a:gd name="T86" fmla="*/ 2147483647 w 2430"/>
                <a:gd name="T87" fmla="*/ 2147483647 h 2040"/>
                <a:gd name="T88" fmla="*/ 2147483647 w 2430"/>
                <a:gd name="T89" fmla="*/ 2147483647 h 2040"/>
                <a:gd name="T90" fmla="*/ 2147483647 w 2430"/>
                <a:gd name="T91" fmla="*/ 2147483647 h 2040"/>
                <a:gd name="T92" fmla="*/ 2147483647 w 2430"/>
                <a:gd name="T93" fmla="*/ 2147483647 h 2040"/>
                <a:gd name="T94" fmla="*/ 2147483647 w 2430"/>
                <a:gd name="T95" fmla="*/ 2147483647 h 2040"/>
                <a:gd name="T96" fmla="*/ 2147483647 w 2430"/>
                <a:gd name="T97" fmla="*/ 2147483647 h 2040"/>
                <a:gd name="T98" fmla="*/ 2147483647 w 2430"/>
                <a:gd name="T99" fmla="*/ 2147483647 h 2040"/>
                <a:gd name="T100" fmla="*/ 2147483647 w 2430"/>
                <a:gd name="T101" fmla="*/ 2147483647 h 2040"/>
                <a:gd name="T102" fmla="*/ 2147483647 w 2430"/>
                <a:gd name="T103" fmla="*/ 2147483647 h 2040"/>
                <a:gd name="T104" fmla="*/ 2147483647 w 2430"/>
                <a:gd name="T105" fmla="*/ 2147483647 h 2040"/>
                <a:gd name="T106" fmla="*/ 2147483647 w 2430"/>
                <a:gd name="T107" fmla="*/ 2147483647 h 2040"/>
                <a:gd name="T108" fmla="*/ 2147483647 w 2430"/>
                <a:gd name="T109" fmla="*/ 2147483647 h 2040"/>
                <a:gd name="T110" fmla="*/ 2147483647 w 2430"/>
                <a:gd name="T111" fmla="*/ 2147483647 h 2040"/>
                <a:gd name="T112" fmla="*/ 2147483647 w 2430"/>
                <a:gd name="T113" fmla="*/ 2147483647 h 2040"/>
                <a:gd name="T114" fmla="*/ 2147483647 w 2430"/>
                <a:gd name="T115" fmla="*/ 2147483647 h 2040"/>
                <a:gd name="T116" fmla="*/ 2147483647 w 2430"/>
                <a:gd name="T117" fmla="*/ 2147483647 h 2040"/>
                <a:gd name="T118" fmla="*/ 2147483647 w 2430"/>
                <a:gd name="T119" fmla="*/ 2147483647 h 2040"/>
                <a:gd name="T120" fmla="*/ 2147483647 w 2430"/>
                <a:gd name="T121" fmla="*/ 2147483647 h 2040"/>
                <a:gd name="T122" fmla="*/ 2147483647 w 2430"/>
                <a:gd name="T123" fmla="*/ 2147483647 h 2040"/>
                <a:gd name="T124" fmla="*/ 2147483647 w 2430"/>
                <a:gd name="T125" fmla="*/ 2147483647 h 20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30"/>
                <a:gd name="T190" fmla="*/ 0 h 2040"/>
                <a:gd name="T191" fmla="*/ 2430 w 2430"/>
                <a:gd name="T192" fmla="*/ 2040 h 20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30" h="2040">
                  <a:moveTo>
                    <a:pt x="2076" y="1896"/>
                  </a:moveTo>
                  <a:lnTo>
                    <a:pt x="2070" y="1896"/>
                  </a:lnTo>
                  <a:lnTo>
                    <a:pt x="2070" y="1902"/>
                  </a:lnTo>
                  <a:lnTo>
                    <a:pt x="2076" y="1902"/>
                  </a:lnTo>
                  <a:lnTo>
                    <a:pt x="2082" y="1902"/>
                  </a:lnTo>
                  <a:lnTo>
                    <a:pt x="2082" y="1908"/>
                  </a:lnTo>
                  <a:lnTo>
                    <a:pt x="2076" y="1908"/>
                  </a:lnTo>
                  <a:lnTo>
                    <a:pt x="2076" y="1914"/>
                  </a:lnTo>
                  <a:lnTo>
                    <a:pt x="2070" y="1920"/>
                  </a:lnTo>
                  <a:lnTo>
                    <a:pt x="2064" y="1932"/>
                  </a:lnTo>
                  <a:lnTo>
                    <a:pt x="2064" y="1938"/>
                  </a:lnTo>
                  <a:lnTo>
                    <a:pt x="2058" y="1938"/>
                  </a:lnTo>
                  <a:lnTo>
                    <a:pt x="2052" y="1944"/>
                  </a:lnTo>
                  <a:lnTo>
                    <a:pt x="2052" y="1950"/>
                  </a:lnTo>
                  <a:lnTo>
                    <a:pt x="2040" y="1944"/>
                  </a:lnTo>
                  <a:lnTo>
                    <a:pt x="2040" y="1950"/>
                  </a:lnTo>
                  <a:lnTo>
                    <a:pt x="2034" y="1956"/>
                  </a:lnTo>
                  <a:lnTo>
                    <a:pt x="2034" y="1962"/>
                  </a:lnTo>
                  <a:lnTo>
                    <a:pt x="2028" y="1962"/>
                  </a:lnTo>
                  <a:lnTo>
                    <a:pt x="2022" y="1962"/>
                  </a:lnTo>
                  <a:lnTo>
                    <a:pt x="2022" y="1968"/>
                  </a:lnTo>
                  <a:lnTo>
                    <a:pt x="2028" y="1974"/>
                  </a:lnTo>
                  <a:lnTo>
                    <a:pt x="2034" y="1980"/>
                  </a:lnTo>
                  <a:lnTo>
                    <a:pt x="2028" y="1986"/>
                  </a:lnTo>
                  <a:lnTo>
                    <a:pt x="2022" y="1992"/>
                  </a:lnTo>
                  <a:lnTo>
                    <a:pt x="2022" y="1986"/>
                  </a:lnTo>
                  <a:lnTo>
                    <a:pt x="2016" y="1986"/>
                  </a:lnTo>
                  <a:lnTo>
                    <a:pt x="2010" y="1980"/>
                  </a:lnTo>
                  <a:lnTo>
                    <a:pt x="2004" y="1980"/>
                  </a:lnTo>
                  <a:lnTo>
                    <a:pt x="2004" y="1986"/>
                  </a:lnTo>
                  <a:lnTo>
                    <a:pt x="2010" y="1992"/>
                  </a:lnTo>
                  <a:lnTo>
                    <a:pt x="2010" y="1998"/>
                  </a:lnTo>
                  <a:lnTo>
                    <a:pt x="2004" y="2004"/>
                  </a:lnTo>
                  <a:lnTo>
                    <a:pt x="1998" y="2004"/>
                  </a:lnTo>
                  <a:lnTo>
                    <a:pt x="1998" y="2022"/>
                  </a:lnTo>
                  <a:lnTo>
                    <a:pt x="1998" y="2028"/>
                  </a:lnTo>
                  <a:lnTo>
                    <a:pt x="1992" y="2034"/>
                  </a:lnTo>
                  <a:lnTo>
                    <a:pt x="1992" y="2040"/>
                  </a:lnTo>
                  <a:lnTo>
                    <a:pt x="1986" y="2040"/>
                  </a:lnTo>
                  <a:lnTo>
                    <a:pt x="1986" y="2034"/>
                  </a:lnTo>
                  <a:lnTo>
                    <a:pt x="1980" y="2028"/>
                  </a:lnTo>
                  <a:lnTo>
                    <a:pt x="1980" y="2022"/>
                  </a:lnTo>
                  <a:lnTo>
                    <a:pt x="1968" y="2016"/>
                  </a:lnTo>
                  <a:lnTo>
                    <a:pt x="1962" y="2010"/>
                  </a:lnTo>
                  <a:lnTo>
                    <a:pt x="1956" y="2004"/>
                  </a:lnTo>
                  <a:lnTo>
                    <a:pt x="1950" y="1992"/>
                  </a:lnTo>
                  <a:lnTo>
                    <a:pt x="1950" y="1986"/>
                  </a:lnTo>
                  <a:lnTo>
                    <a:pt x="1950" y="1974"/>
                  </a:lnTo>
                  <a:lnTo>
                    <a:pt x="1944" y="1974"/>
                  </a:lnTo>
                  <a:lnTo>
                    <a:pt x="1932" y="1962"/>
                  </a:lnTo>
                  <a:lnTo>
                    <a:pt x="1932" y="1956"/>
                  </a:lnTo>
                  <a:lnTo>
                    <a:pt x="1932" y="1950"/>
                  </a:lnTo>
                  <a:lnTo>
                    <a:pt x="1920" y="1944"/>
                  </a:lnTo>
                  <a:lnTo>
                    <a:pt x="1914" y="1944"/>
                  </a:lnTo>
                  <a:lnTo>
                    <a:pt x="1908" y="1938"/>
                  </a:lnTo>
                  <a:lnTo>
                    <a:pt x="1902" y="1926"/>
                  </a:lnTo>
                  <a:lnTo>
                    <a:pt x="1890" y="1914"/>
                  </a:lnTo>
                  <a:lnTo>
                    <a:pt x="1884" y="1914"/>
                  </a:lnTo>
                  <a:lnTo>
                    <a:pt x="1878" y="1908"/>
                  </a:lnTo>
                  <a:lnTo>
                    <a:pt x="1872" y="1902"/>
                  </a:lnTo>
                  <a:lnTo>
                    <a:pt x="1872" y="1896"/>
                  </a:lnTo>
                  <a:lnTo>
                    <a:pt x="1866" y="1890"/>
                  </a:lnTo>
                  <a:lnTo>
                    <a:pt x="1854" y="1884"/>
                  </a:lnTo>
                  <a:lnTo>
                    <a:pt x="1848" y="1884"/>
                  </a:lnTo>
                  <a:lnTo>
                    <a:pt x="1842" y="1872"/>
                  </a:lnTo>
                  <a:lnTo>
                    <a:pt x="1836" y="1872"/>
                  </a:lnTo>
                  <a:lnTo>
                    <a:pt x="1830" y="1866"/>
                  </a:lnTo>
                  <a:lnTo>
                    <a:pt x="1830" y="1854"/>
                  </a:lnTo>
                  <a:lnTo>
                    <a:pt x="1824" y="1848"/>
                  </a:lnTo>
                  <a:lnTo>
                    <a:pt x="1818" y="1830"/>
                  </a:lnTo>
                  <a:lnTo>
                    <a:pt x="1818" y="1818"/>
                  </a:lnTo>
                  <a:lnTo>
                    <a:pt x="1812" y="1800"/>
                  </a:lnTo>
                  <a:lnTo>
                    <a:pt x="1812" y="1788"/>
                  </a:lnTo>
                  <a:lnTo>
                    <a:pt x="1806" y="1776"/>
                  </a:lnTo>
                  <a:lnTo>
                    <a:pt x="1800" y="1764"/>
                  </a:lnTo>
                  <a:lnTo>
                    <a:pt x="1794" y="1758"/>
                  </a:lnTo>
                  <a:lnTo>
                    <a:pt x="1782" y="1740"/>
                  </a:lnTo>
                  <a:lnTo>
                    <a:pt x="1776" y="1728"/>
                  </a:lnTo>
                  <a:lnTo>
                    <a:pt x="1776" y="1722"/>
                  </a:lnTo>
                  <a:lnTo>
                    <a:pt x="1770" y="1722"/>
                  </a:lnTo>
                  <a:lnTo>
                    <a:pt x="1770" y="1716"/>
                  </a:lnTo>
                  <a:lnTo>
                    <a:pt x="1764" y="1716"/>
                  </a:lnTo>
                  <a:lnTo>
                    <a:pt x="1758" y="1710"/>
                  </a:lnTo>
                  <a:lnTo>
                    <a:pt x="1752" y="1704"/>
                  </a:lnTo>
                  <a:lnTo>
                    <a:pt x="1746" y="1704"/>
                  </a:lnTo>
                  <a:lnTo>
                    <a:pt x="1740" y="1704"/>
                  </a:lnTo>
                  <a:lnTo>
                    <a:pt x="1734" y="1704"/>
                  </a:lnTo>
                  <a:lnTo>
                    <a:pt x="1734" y="1698"/>
                  </a:lnTo>
                  <a:lnTo>
                    <a:pt x="1728" y="1692"/>
                  </a:lnTo>
                  <a:lnTo>
                    <a:pt x="1722" y="1686"/>
                  </a:lnTo>
                  <a:lnTo>
                    <a:pt x="1716" y="1686"/>
                  </a:lnTo>
                  <a:lnTo>
                    <a:pt x="1698" y="1686"/>
                  </a:lnTo>
                  <a:lnTo>
                    <a:pt x="1692" y="1692"/>
                  </a:lnTo>
                  <a:lnTo>
                    <a:pt x="1680" y="1692"/>
                  </a:lnTo>
                  <a:lnTo>
                    <a:pt x="1668" y="1692"/>
                  </a:lnTo>
                  <a:lnTo>
                    <a:pt x="1662" y="1692"/>
                  </a:lnTo>
                  <a:lnTo>
                    <a:pt x="1656" y="1692"/>
                  </a:lnTo>
                  <a:lnTo>
                    <a:pt x="1650" y="1698"/>
                  </a:lnTo>
                  <a:lnTo>
                    <a:pt x="1644" y="1698"/>
                  </a:lnTo>
                  <a:lnTo>
                    <a:pt x="1638" y="1698"/>
                  </a:lnTo>
                  <a:lnTo>
                    <a:pt x="1632" y="1698"/>
                  </a:lnTo>
                  <a:lnTo>
                    <a:pt x="1632" y="1692"/>
                  </a:lnTo>
                  <a:lnTo>
                    <a:pt x="1620" y="1680"/>
                  </a:lnTo>
                  <a:lnTo>
                    <a:pt x="1614" y="1680"/>
                  </a:lnTo>
                  <a:lnTo>
                    <a:pt x="1608" y="1680"/>
                  </a:lnTo>
                  <a:lnTo>
                    <a:pt x="1602" y="1680"/>
                  </a:lnTo>
                  <a:lnTo>
                    <a:pt x="1596" y="1674"/>
                  </a:lnTo>
                  <a:lnTo>
                    <a:pt x="1584" y="1674"/>
                  </a:lnTo>
                  <a:lnTo>
                    <a:pt x="1572" y="1674"/>
                  </a:lnTo>
                  <a:lnTo>
                    <a:pt x="1560" y="1674"/>
                  </a:lnTo>
                  <a:lnTo>
                    <a:pt x="1542" y="1680"/>
                  </a:lnTo>
                  <a:lnTo>
                    <a:pt x="1530" y="1680"/>
                  </a:lnTo>
                  <a:lnTo>
                    <a:pt x="1530" y="1674"/>
                  </a:lnTo>
                  <a:lnTo>
                    <a:pt x="1524" y="1674"/>
                  </a:lnTo>
                  <a:lnTo>
                    <a:pt x="1518" y="1674"/>
                  </a:lnTo>
                  <a:lnTo>
                    <a:pt x="1512" y="1674"/>
                  </a:lnTo>
                  <a:lnTo>
                    <a:pt x="1506" y="1674"/>
                  </a:lnTo>
                  <a:lnTo>
                    <a:pt x="1500" y="1680"/>
                  </a:lnTo>
                  <a:lnTo>
                    <a:pt x="1488" y="1680"/>
                  </a:lnTo>
                  <a:lnTo>
                    <a:pt x="1482" y="1674"/>
                  </a:lnTo>
                  <a:lnTo>
                    <a:pt x="1476" y="1674"/>
                  </a:lnTo>
                  <a:lnTo>
                    <a:pt x="1464" y="1674"/>
                  </a:lnTo>
                  <a:lnTo>
                    <a:pt x="1452" y="1680"/>
                  </a:lnTo>
                  <a:lnTo>
                    <a:pt x="1434" y="1680"/>
                  </a:lnTo>
                  <a:lnTo>
                    <a:pt x="1422" y="1680"/>
                  </a:lnTo>
                  <a:lnTo>
                    <a:pt x="1416" y="1680"/>
                  </a:lnTo>
                  <a:lnTo>
                    <a:pt x="1404" y="1674"/>
                  </a:lnTo>
                  <a:lnTo>
                    <a:pt x="1398" y="1674"/>
                  </a:lnTo>
                  <a:lnTo>
                    <a:pt x="1392" y="1662"/>
                  </a:lnTo>
                  <a:lnTo>
                    <a:pt x="1380" y="1644"/>
                  </a:lnTo>
                  <a:lnTo>
                    <a:pt x="1374" y="1632"/>
                  </a:lnTo>
                  <a:lnTo>
                    <a:pt x="1362" y="1626"/>
                  </a:lnTo>
                  <a:lnTo>
                    <a:pt x="1356" y="1620"/>
                  </a:lnTo>
                  <a:lnTo>
                    <a:pt x="1350" y="1626"/>
                  </a:lnTo>
                  <a:lnTo>
                    <a:pt x="1338" y="1626"/>
                  </a:lnTo>
                  <a:lnTo>
                    <a:pt x="1326" y="1626"/>
                  </a:lnTo>
                  <a:lnTo>
                    <a:pt x="1314" y="1620"/>
                  </a:lnTo>
                  <a:lnTo>
                    <a:pt x="1308" y="1614"/>
                  </a:lnTo>
                  <a:lnTo>
                    <a:pt x="1302" y="1608"/>
                  </a:lnTo>
                  <a:lnTo>
                    <a:pt x="1296" y="1602"/>
                  </a:lnTo>
                  <a:lnTo>
                    <a:pt x="1290" y="1602"/>
                  </a:lnTo>
                  <a:lnTo>
                    <a:pt x="1290" y="1596"/>
                  </a:lnTo>
                  <a:lnTo>
                    <a:pt x="1284" y="1590"/>
                  </a:lnTo>
                  <a:lnTo>
                    <a:pt x="1272" y="1584"/>
                  </a:lnTo>
                  <a:lnTo>
                    <a:pt x="1254" y="1572"/>
                  </a:lnTo>
                  <a:lnTo>
                    <a:pt x="1236" y="1554"/>
                  </a:lnTo>
                  <a:lnTo>
                    <a:pt x="1230" y="1554"/>
                  </a:lnTo>
                  <a:lnTo>
                    <a:pt x="1224" y="1554"/>
                  </a:lnTo>
                  <a:lnTo>
                    <a:pt x="1212" y="1554"/>
                  </a:lnTo>
                  <a:lnTo>
                    <a:pt x="1194" y="1542"/>
                  </a:lnTo>
                  <a:lnTo>
                    <a:pt x="1188" y="1536"/>
                  </a:lnTo>
                  <a:lnTo>
                    <a:pt x="1182" y="1530"/>
                  </a:lnTo>
                  <a:lnTo>
                    <a:pt x="1176" y="1530"/>
                  </a:lnTo>
                  <a:lnTo>
                    <a:pt x="1170" y="1530"/>
                  </a:lnTo>
                  <a:lnTo>
                    <a:pt x="1158" y="1524"/>
                  </a:lnTo>
                  <a:lnTo>
                    <a:pt x="1152" y="1524"/>
                  </a:lnTo>
                  <a:lnTo>
                    <a:pt x="1140" y="1518"/>
                  </a:lnTo>
                  <a:lnTo>
                    <a:pt x="1128" y="1518"/>
                  </a:lnTo>
                  <a:lnTo>
                    <a:pt x="1122" y="1518"/>
                  </a:lnTo>
                  <a:lnTo>
                    <a:pt x="1116" y="1518"/>
                  </a:lnTo>
                  <a:lnTo>
                    <a:pt x="1104" y="1518"/>
                  </a:lnTo>
                  <a:lnTo>
                    <a:pt x="1092" y="1518"/>
                  </a:lnTo>
                  <a:lnTo>
                    <a:pt x="1080" y="1518"/>
                  </a:lnTo>
                  <a:lnTo>
                    <a:pt x="1068" y="1518"/>
                  </a:lnTo>
                  <a:lnTo>
                    <a:pt x="1062" y="1518"/>
                  </a:lnTo>
                  <a:lnTo>
                    <a:pt x="1056" y="1518"/>
                  </a:lnTo>
                  <a:lnTo>
                    <a:pt x="1050" y="1512"/>
                  </a:lnTo>
                  <a:lnTo>
                    <a:pt x="1044" y="1512"/>
                  </a:lnTo>
                  <a:lnTo>
                    <a:pt x="1038" y="1512"/>
                  </a:lnTo>
                  <a:lnTo>
                    <a:pt x="1032" y="1506"/>
                  </a:lnTo>
                  <a:lnTo>
                    <a:pt x="1026" y="1500"/>
                  </a:lnTo>
                  <a:lnTo>
                    <a:pt x="1026" y="1494"/>
                  </a:lnTo>
                  <a:lnTo>
                    <a:pt x="1020" y="1476"/>
                  </a:lnTo>
                  <a:lnTo>
                    <a:pt x="1008" y="1464"/>
                  </a:lnTo>
                  <a:lnTo>
                    <a:pt x="1008" y="1458"/>
                  </a:lnTo>
                  <a:lnTo>
                    <a:pt x="1002" y="1446"/>
                  </a:lnTo>
                  <a:lnTo>
                    <a:pt x="996" y="1446"/>
                  </a:lnTo>
                  <a:lnTo>
                    <a:pt x="990" y="1440"/>
                  </a:lnTo>
                  <a:lnTo>
                    <a:pt x="984" y="1434"/>
                  </a:lnTo>
                  <a:lnTo>
                    <a:pt x="978" y="1434"/>
                  </a:lnTo>
                  <a:lnTo>
                    <a:pt x="972" y="1434"/>
                  </a:lnTo>
                  <a:lnTo>
                    <a:pt x="966" y="1428"/>
                  </a:lnTo>
                  <a:lnTo>
                    <a:pt x="954" y="1422"/>
                  </a:lnTo>
                  <a:lnTo>
                    <a:pt x="942" y="1416"/>
                  </a:lnTo>
                  <a:lnTo>
                    <a:pt x="924" y="1398"/>
                  </a:lnTo>
                  <a:lnTo>
                    <a:pt x="912" y="1386"/>
                  </a:lnTo>
                  <a:lnTo>
                    <a:pt x="900" y="1386"/>
                  </a:lnTo>
                  <a:lnTo>
                    <a:pt x="894" y="1386"/>
                  </a:lnTo>
                  <a:lnTo>
                    <a:pt x="882" y="1392"/>
                  </a:lnTo>
                  <a:lnTo>
                    <a:pt x="876" y="1392"/>
                  </a:lnTo>
                  <a:lnTo>
                    <a:pt x="864" y="1398"/>
                  </a:lnTo>
                  <a:lnTo>
                    <a:pt x="864" y="1404"/>
                  </a:lnTo>
                  <a:lnTo>
                    <a:pt x="858" y="1410"/>
                  </a:lnTo>
                  <a:lnTo>
                    <a:pt x="852" y="1410"/>
                  </a:lnTo>
                  <a:lnTo>
                    <a:pt x="846" y="1410"/>
                  </a:lnTo>
                  <a:lnTo>
                    <a:pt x="834" y="1410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10" y="1428"/>
                  </a:lnTo>
                  <a:lnTo>
                    <a:pt x="798" y="1428"/>
                  </a:lnTo>
                  <a:lnTo>
                    <a:pt x="792" y="1428"/>
                  </a:lnTo>
                  <a:lnTo>
                    <a:pt x="780" y="1434"/>
                  </a:lnTo>
                  <a:lnTo>
                    <a:pt x="774" y="1428"/>
                  </a:lnTo>
                  <a:lnTo>
                    <a:pt x="762" y="1428"/>
                  </a:lnTo>
                  <a:lnTo>
                    <a:pt x="756" y="1422"/>
                  </a:lnTo>
                  <a:lnTo>
                    <a:pt x="750" y="1416"/>
                  </a:lnTo>
                  <a:lnTo>
                    <a:pt x="744" y="1410"/>
                  </a:lnTo>
                  <a:lnTo>
                    <a:pt x="744" y="1398"/>
                  </a:lnTo>
                  <a:lnTo>
                    <a:pt x="744" y="1386"/>
                  </a:lnTo>
                  <a:lnTo>
                    <a:pt x="750" y="1380"/>
                  </a:lnTo>
                  <a:lnTo>
                    <a:pt x="750" y="1374"/>
                  </a:lnTo>
                  <a:lnTo>
                    <a:pt x="750" y="1368"/>
                  </a:lnTo>
                  <a:lnTo>
                    <a:pt x="756" y="1362"/>
                  </a:lnTo>
                  <a:lnTo>
                    <a:pt x="750" y="1350"/>
                  </a:lnTo>
                  <a:lnTo>
                    <a:pt x="744" y="1344"/>
                  </a:lnTo>
                  <a:lnTo>
                    <a:pt x="738" y="1338"/>
                  </a:lnTo>
                  <a:lnTo>
                    <a:pt x="726" y="1338"/>
                  </a:lnTo>
                  <a:lnTo>
                    <a:pt x="720" y="1338"/>
                  </a:lnTo>
                  <a:lnTo>
                    <a:pt x="714" y="1338"/>
                  </a:lnTo>
                  <a:lnTo>
                    <a:pt x="708" y="1332"/>
                  </a:lnTo>
                  <a:lnTo>
                    <a:pt x="702" y="1332"/>
                  </a:lnTo>
                  <a:lnTo>
                    <a:pt x="696" y="1326"/>
                  </a:lnTo>
                  <a:lnTo>
                    <a:pt x="684" y="1326"/>
                  </a:lnTo>
                  <a:lnTo>
                    <a:pt x="678" y="1326"/>
                  </a:lnTo>
                  <a:lnTo>
                    <a:pt x="672" y="1314"/>
                  </a:lnTo>
                  <a:lnTo>
                    <a:pt x="666" y="1308"/>
                  </a:lnTo>
                  <a:lnTo>
                    <a:pt x="654" y="1296"/>
                  </a:lnTo>
                  <a:lnTo>
                    <a:pt x="654" y="1290"/>
                  </a:lnTo>
                  <a:lnTo>
                    <a:pt x="630" y="1284"/>
                  </a:lnTo>
                  <a:lnTo>
                    <a:pt x="630" y="1278"/>
                  </a:lnTo>
                  <a:lnTo>
                    <a:pt x="624" y="1278"/>
                  </a:lnTo>
                  <a:lnTo>
                    <a:pt x="618" y="1266"/>
                  </a:lnTo>
                  <a:lnTo>
                    <a:pt x="612" y="1266"/>
                  </a:lnTo>
                  <a:lnTo>
                    <a:pt x="606" y="1266"/>
                  </a:lnTo>
                  <a:lnTo>
                    <a:pt x="606" y="1260"/>
                  </a:lnTo>
                  <a:lnTo>
                    <a:pt x="594" y="1248"/>
                  </a:lnTo>
                  <a:lnTo>
                    <a:pt x="582" y="1248"/>
                  </a:lnTo>
                  <a:lnTo>
                    <a:pt x="576" y="1242"/>
                  </a:lnTo>
                  <a:lnTo>
                    <a:pt x="570" y="1236"/>
                  </a:lnTo>
                  <a:lnTo>
                    <a:pt x="504" y="1164"/>
                  </a:lnTo>
                  <a:lnTo>
                    <a:pt x="450" y="1110"/>
                  </a:lnTo>
                  <a:lnTo>
                    <a:pt x="426" y="1092"/>
                  </a:lnTo>
                  <a:lnTo>
                    <a:pt x="426" y="1074"/>
                  </a:lnTo>
                  <a:lnTo>
                    <a:pt x="420" y="1062"/>
                  </a:lnTo>
                  <a:lnTo>
                    <a:pt x="396" y="1056"/>
                  </a:lnTo>
                  <a:lnTo>
                    <a:pt x="384" y="1032"/>
                  </a:lnTo>
                  <a:lnTo>
                    <a:pt x="372" y="1020"/>
                  </a:lnTo>
                  <a:lnTo>
                    <a:pt x="360" y="984"/>
                  </a:lnTo>
                  <a:lnTo>
                    <a:pt x="348" y="978"/>
                  </a:lnTo>
                  <a:lnTo>
                    <a:pt x="342" y="972"/>
                  </a:lnTo>
                  <a:lnTo>
                    <a:pt x="348" y="960"/>
                  </a:lnTo>
                  <a:lnTo>
                    <a:pt x="342" y="954"/>
                  </a:lnTo>
                  <a:lnTo>
                    <a:pt x="336" y="954"/>
                  </a:lnTo>
                  <a:lnTo>
                    <a:pt x="330" y="954"/>
                  </a:lnTo>
                  <a:lnTo>
                    <a:pt x="324" y="972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0" y="966"/>
                  </a:lnTo>
                  <a:lnTo>
                    <a:pt x="294" y="966"/>
                  </a:lnTo>
                  <a:lnTo>
                    <a:pt x="288" y="972"/>
                  </a:lnTo>
                  <a:lnTo>
                    <a:pt x="288" y="966"/>
                  </a:lnTo>
                  <a:lnTo>
                    <a:pt x="282" y="948"/>
                  </a:lnTo>
                  <a:lnTo>
                    <a:pt x="282" y="942"/>
                  </a:lnTo>
                  <a:lnTo>
                    <a:pt x="276" y="942"/>
                  </a:lnTo>
                  <a:lnTo>
                    <a:pt x="276" y="936"/>
                  </a:lnTo>
                  <a:lnTo>
                    <a:pt x="270" y="942"/>
                  </a:lnTo>
                  <a:lnTo>
                    <a:pt x="264" y="948"/>
                  </a:lnTo>
                  <a:lnTo>
                    <a:pt x="264" y="942"/>
                  </a:lnTo>
                  <a:lnTo>
                    <a:pt x="258" y="942"/>
                  </a:lnTo>
                  <a:lnTo>
                    <a:pt x="252" y="948"/>
                  </a:lnTo>
                  <a:lnTo>
                    <a:pt x="252" y="942"/>
                  </a:lnTo>
                  <a:lnTo>
                    <a:pt x="246" y="936"/>
                  </a:lnTo>
                  <a:lnTo>
                    <a:pt x="240" y="942"/>
                  </a:lnTo>
                  <a:lnTo>
                    <a:pt x="234" y="936"/>
                  </a:lnTo>
                  <a:lnTo>
                    <a:pt x="228" y="936"/>
                  </a:lnTo>
                  <a:lnTo>
                    <a:pt x="222" y="936"/>
                  </a:lnTo>
                  <a:lnTo>
                    <a:pt x="222" y="930"/>
                  </a:lnTo>
                  <a:lnTo>
                    <a:pt x="222" y="924"/>
                  </a:lnTo>
                  <a:lnTo>
                    <a:pt x="228" y="924"/>
                  </a:lnTo>
                  <a:lnTo>
                    <a:pt x="234" y="924"/>
                  </a:lnTo>
                  <a:lnTo>
                    <a:pt x="240" y="924"/>
                  </a:lnTo>
                  <a:lnTo>
                    <a:pt x="240" y="918"/>
                  </a:lnTo>
                  <a:lnTo>
                    <a:pt x="246" y="918"/>
                  </a:lnTo>
                  <a:lnTo>
                    <a:pt x="246" y="912"/>
                  </a:lnTo>
                  <a:lnTo>
                    <a:pt x="240" y="906"/>
                  </a:lnTo>
                  <a:lnTo>
                    <a:pt x="234" y="906"/>
                  </a:lnTo>
                  <a:lnTo>
                    <a:pt x="228" y="906"/>
                  </a:lnTo>
                  <a:lnTo>
                    <a:pt x="228" y="912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8" y="894"/>
                  </a:lnTo>
                  <a:lnTo>
                    <a:pt x="234" y="894"/>
                  </a:lnTo>
                  <a:lnTo>
                    <a:pt x="228" y="888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198" y="888"/>
                  </a:lnTo>
                  <a:lnTo>
                    <a:pt x="192" y="882"/>
                  </a:lnTo>
                  <a:lnTo>
                    <a:pt x="186" y="882"/>
                  </a:lnTo>
                  <a:lnTo>
                    <a:pt x="186" y="876"/>
                  </a:lnTo>
                  <a:lnTo>
                    <a:pt x="192" y="876"/>
                  </a:lnTo>
                  <a:lnTo>
                    <a:pt x="192" y="870"/>
                  </a:lnTo>
                  <a:lnTo>
                    <a:pt x="198" y="870"/>
                  </a:lnTo>
                  <a:lnTo>
                    <a:pt x="198" y="864"/>
                  </a:lnTo>
                  <a:lnTo>
                    <a:pt x="198" y="858"/>
                  </a:lnTo>
                  <a:lnTo>
                    <a:pt x="180" y="852"/>
                  </a:lnTo>
                  <a:lnTo>
                    <a:pt x="174" y="840"/>
                  </a:lnTo>
                  <a:lnTo>
                    <a:pt x="162" y="846"/>
                  </a:lnTo>
                  <a:lnTo>
                    <a:pt x="156" y="846"/>
                  </a:lnTo>
                  <a:lnTo>
                    <a:pt x="150" y="846"/>
                  </a:lnTo>
                  <a:lnTo>
                    <a:pt x="150" y="840"/>
                  </a:lnTo>
                  <a:lnTo>
                    <a:pt x="138" y="834"/>
                  </a:lnTo>
                  <a:lnTo>
                    <a:pt x="132" y="834"/>
                  </a:lnTo>
                  <a:lnTo>
                    <a:pt x="132" y="840"/>
                  </a:lnTo>
                  <a:lnTo>
                    <a:pt x="126" y="840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58"/>
                  </a:lnTo>
                  <a:lnTo>
                    <a:pt x="120" y="846"/>
                  </a:lnTo>
                  <a:lnTo>
                    <a:pt x="114" y="846"/>
                  </a:lnTo>
                  <a:lnTo>
                    <a:pt x="108" y="840"/>
                  </a:lnTo>
                  <a:lnTo>
                    <a:pt x="102" y="834"/>
                  </a:lnTo>
                  <a:lnTo>
                    <a:pt x="102" y="822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78" y="804"/>
                  </a:lnTo>
                  <a:lnTo>
                    <a:pt x="78" y="798"/>
                  </a:lnTo>
                  <a:lnTo>
                    <a:pt x="78" y="792"/>
                  </a:lnTo>
                  <a:lnTo>
                    <a:pt x="78" y="786"/>
                  </a:lnTo>
                  <a:lnTo>
                    <a:pt x="78" y="780"/>
                  </a:lnTo>
                  <a:lnTo>
                    <a:pt x="72" y="774"/>
                  </a:lnTo>
                  <a:lnTo>
                    <a:pt x="66" y="774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60" y="762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6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2" y="666"/>
                  </a:lnTo>
                  <a:lnTo>
                    <a:pt x="18" y="648"/>
                  </a:lnTo>
                  <a:lnTo>
                    <a:pt x="24" y="636"/>
                  </a:lnTo>
                  <a:lnTo>
                    <a:pt x="30" y="630"/>
                  </a:lnTo>
                  <a:lnTo>
                    <a:pt x="30" y="624"/>
                  </a:lnTo>
                  <a:lnTo>
                    <a:pt x="30" y="612"/>
                  </a:lnTo>
                  <a:lnTo>
                    <a:pt x="30" y="606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66" y="582"/>
                  </a:lnTo>
                  <a:lnTo>
                    <a:pt x="72" y="588"/>
                  </a:lnTo>
                  <a:lnTo>
                    <a:pt x="84" y="594"/>
                  </a:lnTo>
                  <a:lnTo>
                    <a:pt x="90" y="600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14" y="612"/>
                  </a:lnTo>
                  <a:lnTo>
                    <a:pt x="120" y="612"/>
                  </a:lnTo>
                  <a:lnTo>
                    <a:pt x="126" y="618"/>
                  </a:lnTo>
                  <a:lnTo>
                    <a:pt x="138" y="594"/>
                  </a:lnTo>
                  <a:lnTo>
                    <a:pt x="138" y="582"/>
                  </a:lnTo>
                  <a:lnTo>
                    <a:pt x="138" y="570"/>
                  </a:lnTo>
                  <a:lnTo>
                    <a:pt x="138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50" y="528"/>
                  </a:lnTo>
                  <a:lnTo>
                    <a:pt x="156" y="510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62"/>
                  </a:lnTo>
                  <a:lnTo>
                    <a:pt x="168" y="450"/>
                  </a:lnTo>
                  <a:lnTo>
                    <a:pt x="168" y="444"/>
                  </a:lnTo>
                  <a:lnTo>
                    <a:pt x="162" y="432"/>
                  </a:lnTo>
                  <a:lnTo>
                    <a:pt x="162" y="426"/>
                  </a:lnTo>
                  <a:lnTo>
                    <a:pt x="156" y="420"/>
                  </a:lnTo>
                  <a:lnTo>
                    <a:pt x="144" y="414"/>
                  </a:lnTo>
                  <a:lnTo>
                    <a:pt x="132" y="402"/>
                  </a:lnTo>
                  <a:lnTo>
                    <a:pt x="126" y="390"/>
                  </a:lnTo>
                  <a:lnTo>
                    <a:pt x="120" y="384"/>
                  </a:lnTo>
                  <a:lnTo>
                    <a:pt x="120" y="372"/>
                  </a:lnTo>
                  <a:lnTo>
                    <a:pt x="114" y="360"/>
                  </a:lnTo>
                  <a:lnTo>
                    <a:pt x="108" y="360"/>
                  </a:lnTo>
                  <a:lnTo>
                    <a:pt x="108" y="354"/>
                  </a:lnTo>
                  <a:lnTo>
                    <a:pt x="102" y="348"/>
                  </a:lnTo>
                  <a:lnTo>
                    <a:pt x="102" y="342"/>
                  </a:lnTo>
                  <a:lnTo>
                    <a:pt x="108" y="330"/>
                  </a:lnTo>
                  <a:lnTo>
                    <a:pt x="114" y="312"/>
                  </a:lnTo>
                  <a:lnTo>
                    <a:pt x="114" y="300"/>
                  </a:lnTo>
                  <a:lnTo>
                    <a:pt x="120" y="288"/>
                  </a:lnTo>
                  <a:lnTo>
                    <a:pt x="120" y="282"/>
                  </a:lnTo>
                  <a:lnTo>
                    <a:pt x="114" y="270"/>
                  </a:lnTo>
                  <a:lnTo>
                    <a:pt x="114" y="258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84" y="222"/>
                  </a:lnTo>
                  <a:lnTo>
                    <a:pt x="84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84" y="186"/>
                  </a:lnTo>
                  <a:lnTo>
                    <a:pt x="84" y="180"/>
                  </a:lnTo>
                  <a:lnTo>
                    <a:pt x="108" y="174"/>
                  </a:lnTo>
                  <a:lnTo>
                    <a:pt x="132" y="186"/>
                  </a:lnTo>
                  <a:lnTo>
                    <a:pt x="138" y="192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56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74" y="204"/>
                  </a:lnTo>
                  <a:lnTo>
                    <a:pt x="180" y="216"/>
                  </a:lnTo>
                  <a:lnTo>
                    <a:pt x="186" y="228"/>
                  </a:lnTo>
                  <a:lnTo>
                    <a:pt x="192" y="234"/>
                  </a:lnTo>
                  <a:lnTo>
                    <a:pt x="198" y="234"/>
                  </a:lnTo>
                  <a:lnTo>
                    <a:pt x="204" y="240"/>
                  </a:lnTo>
                  <a:lnTo>
                    <a:pt x="210" y="240"/>
                  </a:lnTo>
                  <a:lnTo>
                    <a:pt x="216" y="240"/>
                  </a:lnTo>
                  <a:lnTo>
                    <a:pt x="222" y="240"/>
                  </a:lnTo>
                  <a:lnTo>
                    <a:pt x="228" y="246"/>
                  </a:lnTo>
                  <a:lnTo>
                    <a:pt x="234" y="246"/>
                  </a:lnTo>
                  <a:lnTo>
                    <a:pt x="240" y="246"/>
                  </a:lnTo>
                  <a:lnTo>
                    <a:pt x="252" y="252"/>
                  </a:lnTo>
                  <a:lnTo>
                    <a:pt x="330" y="246"/>
                  </a:lnTo>
                  <a:lnTo>
                    <a:pt x="360" y="228"/>
                  </a:lnTo>
                  <a:lnTo>
                    <a:pt x="396" y="228"/>
                  </a:lnTo>
                  <a:lnTo>
                    <a:pt x="402" y="240"/>
                  </a:lnTo>
                  <a:lnTo>
                    <a:pt x="432" y="240"/>
                  </a:lnTo>
                  <a:lnTo>
                    <a:pt x="450" y="258"/>
                  </a:lnTo>
                  <a:lnTo>
                    <a:pt x="468" y="258"/>
                  </a:lnTo>
                  <a:lnTo>
                    <a:pt x="474" y="294"/>
                  </a:lnTo>
                  <a:lnTo>
                    <a:pt x="558" y="318"/>
                  </a:lnTo>
                  <a:lnTo>
                    <a:pt x="588" y="318"/>
                  </a:lnTo>
                  <a:lnTo>
                    <a:pt x="588" y="312"/>
                  </a:lnTo>
                  <a:lnTo>
                    <a:pt x="594" y="306"/>
                  </a:lnTo>
                  <a:lnTo>
                    <a:pt x="600" y="306"/>
                  </a:lnTo>
                  <a:lnTo>
                    <a:pt x="612" y="300"/>
                  </a:lnTo>
                  <a:lnTo>
                    <a:pt x="618" y="300"/>
                  </a:lnTo>
                  <a:lnTo>
                    <a:pt x="630" y="300"/>
                  </a:lnTo>
                  <a:lnTo>
                    <a:pt x="642" y="306"/>
                  </a:lnTo>
                  <a:lnTo>
                    <a:pt x="660" y="306"/>
                  </a:lnTo>
                  <a:lnTo>
                    <a:pt x="666" y="306"/>
                  </a:lnTo>
                  <a:lnTo>
                    <a:pt x="672" y="306"/>
                  </a:lnTo>
                  <a:lnTo>
                    <a:pt x="684" y="300"/>
                  </a:lnTo>
                  <a:lnTo>
                    <a:pt x="696" y="294"/>
                  </a:lnTo>
                  <a:lnTo>
                    <a:pt x="702" y="288"/>
                  </a:lnTo>
                  <a:lnTo>
                    <a:pt x="714" y="282"/>
                  </a:lnTo>
                  <a:lnTo>
                    <a:pt x="714" y="288"/>
                  </a:lnTo>
                  <a:lnTo>
                    <a:pt x="726" y="300"/>
                  </a:lnTo>
                  <a:lnTo>
                    <a:pt x="732" y="306"/>
                  </a:lnTo>
                  <a:lnTo>
                    <a:pt x="732" y="318"/>
                  </a:lnTo>
                  <a:lnTo>
                    <a:pt x="732" y="330"/>
                  </a:lnTo>
                  <a:lnTo>
                    <a:pt x="726" y="342"/>
                  </a:lnTo>
                  <a:lnTo>
                    <a:pt x="720" y="354"/>
                  </a:lnTo>
                  <a:lnTo>
                    <a:pt x="720" y="360"/>
                  </a:lnTo>
                  <a:lnTo>
                    <a:pt x="714" y="372"/>
                  </a:lnTo>
                  <a:lnTo>
                    <a:pt x="714" y="378"/>
                  </a:lnTo>
                  <a:lnTo>
                    <a:pt x="714" y="408"/>
                  </a:lnTo>
                  <a:lnTo>
                    <a:pt x="708" y="420"/>
                  </a:lnTo>
                  <a:lnTo>
                    <a:pt x="714" y="432"/>
                  </a:lnTo>
                  <a:lnTo>
                    <a:pt x="708" y="450"/>
                  </a:lnTo>
                  <a:lnTo>
                    <a:pt x="708" y="468"/>
                  </a:lnTo>
                  <a:lnTo>
                    <a:pt x="696" y="480"/>
                  </a:lnTo>
                  <a:lnTo>
                    <a:pt x="684" y="486"/>
                  </a:lnTo>
                  <a:lnTo>
                    <a:pt x="672" y="492"/>
                  </a:lnTo>
                  <a:lnTo>
                    <a:pt x="660" y="498"/>
                  </a:lnTo>
                  <a:lnTo>
                    <a:pt x="654" y="510"/>
                  </a:lnTo>
                  <a:lnTo>
                    <a:pt x="648" y="516"/>
                  </a:lnTo>
                  <a:lnTo>
                    <a:pt x="642" y="522"/>
                  </a:lnTo>
                  <a:lnTo>
                    <a:pt x="630" y="522"/>
                  </a:lnTo>
                  <a:lnTo>
                    <a:pt x="624" y="528"/>
                  </a:lnTo>
                  <a:lnTo>
                    <a:pt x="618" y="540"/>
                  </a:lnTo>
                  <a:lnTo>
                    <a:pt x="618" y="558"/>
                  </a:lnTo>
                  <a:lnTo>
                    <a:pt x="612" y="576"/>
                  </a:lnTo>
                  <a:lnTo>
                    <a:pt x="612" y="684"/>
                  </a:lnTo>
                  <a:lnTo>
                    <a:pt x="618" y="696"/>
                  </a:lnTo>
                  <a:lnTo>
                    <a:pt x="636" y="696"/>
                  </a:lnTo>
                  <a:lnTo>
                    <a:pt x="636" y="720"/>
                  </a:lnTo>
                  <a:lnTo>
                    <a:pt x="636" y="732"/>
                  </a:lnTo>
                  <a:lnTo>
                    <a:pt x="618" y="750"/>
                  </a:lnTo>
                  <a:lnTo>
                    <a:pt x="606" y="762"/>
                  </a:lnTo>
                  <a:lnTo>
                    <a:pt x="600" y="774"/>
                  </a:lnTo>
                  <a:lnTo>
                    <a:pt x="594" y="798"/>
                  </a:lnTo>
                  <a:lnTo>
                    <a:pt x="606" y="798"/>
                  </a:lnTo>
                  <a:lnTo>
                    <a:pt x="660" y="792"/>
                  </a:lnTo>
                  <a:lnTo>
                    <a:pt x="696" y="798"/>
                  </a:lnTo>
                  <a:lnTo>
                    <a:pt x="720" y="798"/>
                  </a:lnTo>
                  <a:lnTo>
                    <a:pt x="720" y="786"/>
                  </a:lnTo>
                  <a:lnTo>
                    <a:pt x="720" y="774"/>
                  </a:lnTo>
                  <a:lnTo>
                    <a:pt x="702" y="762"/>
                  </a:lnTo>
                  <a:lnTo>
                    <a:pt x="702" y="750"/>
                  </a:lnTo>
                  <a:lnTo>
                    <a:pt x="702" y="726"/>
                  </a:lnTo>
                  <a:lnTo>
                    <a:pt x="714" y="714"/>
                  </a:lnTo>
                  <a:lnTo>
                    <a:pt x="720" y="702"/>
                  </a:lnTo>
                  <a:lnTo>
                    <a:pt x="720" y="696"/>
                  </a:lnTo>
                  <a:lnTo>
                    <a:pt x="744" y="690"/>
                  </a:lnTo>
                  <a:lnTo>
                    <a:pt x="744" y="696"/>
                  </a:lnTo>
                  <a:lnTo>
                    <a:pt x="756" y="696"/>
                  </a:lnTo>
                  <a:lnTo>
                    <a:pt x="762" y="690"/>
                  </a:lnTo>
                  <a:lnTo>
                    <a:pt x="768" y="690"/>
                  </a:lnTo>
                  <a:lnTo>
                    <a:pt x="774" y="696"/>
                  </a:lnTo>
                  <a:lnTo>
                    <a:pt x="780" y="696"/>
                  </a:lnTo>
                  <a:lnTo>
                    <a:pt x="786" y="696"/>
                  </a:lnTo>
                  <a:lnTo>
                    <a:pt x="804" y="684"/>
                  </a:lnTo>
                  <a:lnTo>
                    <a:pt x="810" y="684"/>
                  </a:lnTo>
                  <a:lnTo>
                    <a:pt x="810" y="654"/>
                  </a:lnTo>
                  <a:lnTo>
                    <a:pt x="816" y="588"/>
                  </a:lnTo>
                  <a:lnTo>
                    <a:pt x="804" y="582"/>
                  </a:lnTo>
                  <a:lnTo>
                    <a:pt x="798" y="552"/>
                  </a:lnTo>
                  <a:lnTo>
                    <a:pt x="798" y="480"/>
                  </a:lnTo>
                  <a:lnTo>
                    <a:pt x="780" y="468"/>
                  </a:lnTo>
                  <a:lnTo>
                    <a:pt x="780" y="462"/>
                  </a:lnTo>
                  <a:lnTo>
                    <a:pt x="774" y="450"/>
                  </a:lnTo>
                  <a:lnTo>
                    <a:pt x="762" y="444"/>
                  </a:lnTo>
                  <a:lnTo>
                    <a:pt x="762" y="438"/>
                  </a:lnTo>
                  <a:lnTo>
                    <a:pt x="768" y="432"/>
                  </a:lnTo>
                  <a:lnTo>
                    <a:pt x="774" y="426"/>
                  </a:lnTo>
                  <a:lnTo>
                    <a:pt x="780" y="426"/>
                  </a:lnTo>
                  <a:lnTo>
                    <a:pt x="780" y="414"/>
                  </a:lnTo>
                  <a:lnTo>
                    <a:pt x="834" y="414"/>
                  </a:lnTo>
                  <a:lnTo>
                    <a:pt x="834" y="426"/>
                  </a:lnTo>
                  <a:lnTo>
                    <a:pt x="840" y="432"/>
                  </a:lnTo>
                  <a:lnTo>
                    <a:pt x="846" y="432"/>
                  </a:lnTo>
                  <a:lnTo>
                    <a:pt x="852" y="432"/>
                  </a:lnTo>
                  <a:lnTo>
                    <a:pt x="858" y="432"/>
                  </a:lnTo>
                  <a:lnTo>
                    <a:pt x="870" y="432"/>
                  </a:lnTo>
                  <a:lnTo>
                    <a:pt x="870" y="426"/>
                  </a:lnTo>
                  <a:lnTo>
                    <a:pt x="870" y="420"/>
                  </a:lnTo>
                  <a:lnTo>
                    <a:pt x="876" y="420"/>
                  </a:lnTo>
                  <a:lnTo>
                    <a:pt x="882" y="420"/>
                  </a:lnTo>
                  <a:lnTo>
                    <a:pt x="894" y="414"/>
                  </a:lnTo>
                  <a:lnTo>
                    <a:pt x="900" y="414"/>
                  </a:lnTo>
                  <a:lnTo>
                    <a:pt x="906" y="408"/>
                  </a:lnTo>
                  <a:lnTo>
                    <a:pt x="918" y="408"/>
                  </a:lnTo>
                  <a:lnTo>
                    <a:pt x="924" y="402"/>
                  </a:lnTo>
                  <a:lnTo>
                    <a:pt x="930" y="384"/>
                  </a:lnTo>
                  <a:lnTo>
                    <a:pt x="948" y="396"/>
                  </a:lnTo>
                  <a:lnTo>
                    <a:pt x="954" y="384"/>
                  </a:lnTo>
                  <a:lnTo>
                    <a:pt x="960" y="384"/>
                  </a:lnTo>
                  <a:lnTo>
                    <a:pt x="972" y="384"/>
                  </a:lnTo>
                  <a:lnTo>
                    <a:pt x="978" y="378"/>
                  </a:lnTo>
                  <a:lnTo>
                    <a:pt x="972" y="366"/>
                  </a:lnTo>
                  <a:lnTo>
                    <a:pt x="966" y="342"/>
                  </a:lnTo>
                  <a:lnTo>
                    <a:pt x="960" y="330"/>
                  </a:lnTo>
                  <a:lnTo>
                    <a:pt x="942" y="324"/>
                  </a:lnTo>
                  <a:lnTo>
                    <a:pt x="936" y="318"/>
                  </a:lnTo>
                  <a:lnTo>
                    <a:pt x="936" y="294"/>
                  </a:lnTo>
                  <a:lnTo>
                    <a:pt x="942" y="294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282"/>
                  </a:lnTo>
                  <a:lnTo>
                    <a:pt x="954" y="276"/>
                  </a:lnTo>
                  <a:lnTo>
                    <a:pt x="960" y="276"/>
                  </a:lnTo>
                  <a:lnTo>
                    <a:pt x="966" y="276"/>
                  </a:lnTo>
                  <a:lnTo>
                    <a:pt x="960" y="258"/>
                  </a:lnTo>
                  <a:lnTo>
                    <a:pt x="954" y="240"/>
                  </a:lnTo>
                  <a:lnTo>
                    <a:pt x="948" y="204"/>
                  </a:lnTo>
                  <a:lnTo>
                    <a:pt x="954" y="204"/>
                  </a:lnTo>
                  <a:lnTo>
                    <a:pt x="960" y="198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00" y="186"/>
                  </a:lnTo>
                  <a:lnTo>
                    <a:pt x="876" y="180"/>
                  </a:lnTo>
                  <a:lnTo>
                    <a:pt x="858" y="180"/>
                  </a:lnTo>
                  <a:lnTo>
                    <a:pt x="852" y="168"/>
                  </a:lnTo>
                  <a:lnTo>
                    <a:pt x="834" y="156"/>
                  </a:lnTo>
                  <a:lnTo>
                    <a:pt x="822" y="156"/>
                  </a:lnTo>
                  <a:lnTo>
                    <a:pt x="804" y="156"/>
                  </a:lnTo>
                  <a:lnTo>
                    <a:pt x="804" y="150"/>
                  </a:lnTo>
                  <a:lnTo>
                    <a:pt x="792" y="144"/>
                  </a:lnTo>
                  <a:lnTo>
                    <a:pt x="762" y="138"/>
                  </a:lnTo>
                  <a:lnTo>
                    <a:pt x="768" y="120"/>
                  </a:lnTo>
                  <a:lnTo>
                    <a:pt x="756" y="120"/>
                  </a:lnTo>
                  <a:lnTo>
                    <a:pt x="744" y="108"/>
                  </a:lnTo>
                  <a:lnTo>
                    <a:pt x="744" y="96"/>
                  </a:lnTo>
                  <a:lnTo>
                    <a:pt x="762" y="84"/>
                  </a:lnTo>
                  <a:lnTo>
                    <a:pt x="768" y="84"/>
                  </a:lnTo>
                  <a:lnTo>
                    <a:pt x="768" y="72"/>
                  </a:lnTo>
                  <a:lnTo>
                    <a:pt x="780" y="66"/>
                  </a:lnTo>
                  <a:lnTo>
                    <a:pt x="798" y="54"/>
                  </a:lnTo>
                  <a:lnTo>
                    <a:pt x="792" y="54"/>
                  </a:lnTo>
                  <a:lnTo>
                    <a:pt x="798" y="36"/>
                  </a:lnTo>
                  <a:lnTo>
                    <a:pt x="804" y="36"/>
                  </a:lnTo>
                  <a:lnTo>
                    <a:pt x="816" y="30"/>
                  </a:lnTo>
                  <a:lnTo>
                    <a:pt x="828" y="30"/>
                  </a:lnTo>
                  <a:lnTo>
                    <a:pt x="846" y="12"/>
                  </a:lnTo>
                  <a:lnTo>
                    <a:pt x="876" y="0"/>
                  </a:lnTo>
                  <a:lnTo>
                    <a:pt x="882" y="6"/>
                  </a:lnTo>
                  <a:lnTo>
                    <a:pt x="900" y="6"/>
                  </a:lnTo>
                  <a:lnTo>
                    <a:pt x="912" y="36"/>
                  </a:lnTo>
                  <a:lnTo>
                    <a:pt x="918" y="42"/>
                  </a:lnTo>
                  <a:lnTo>
                    <a:pt x="924" y="54"/>
                  </a:lnTo>
                  <a:lnTo>
                    <a:pt x="930" y="54"/>
                  </a:lnTo>
                  <a:lnTo>
                    <a:pt x="930" y="78"/>
                  </a:lnTo>
                  <a:lnTo>
                    <a:pt x="954" y="72"/>
                  </a:lnTo>
                  <a:lnTo>
                    <a:pt x="954" y="60"/>
                  </a:lnTo>
                  <a:lnTo>
                    <a:pt x="966" y="66"/>
                  </a:lnTo>
                  <a:lnTo>
                    <a:pt x="966" y="78"/>
                  </a:lnTo>
                  <a:lnTo>
                    <a:pt x="960" y="84"/>
                  </a:lnTo>
                  <a:lnTo>
                    <a:pt x="954" y="102"/>
                  </a:lnTo>
                  <a:lnTo>
                    <a:pt x="972" y="102"/>
                  </a:lnTo>
                  <a:lnTo>
                    <a:pt x="978" y="84"/>
                  </a:lnTo>
                  <a:lnTo>
                    <a:pt x="984" y="72"/>
                  </a:lnTo>
                  <a:lnTo>
                    <a:pt x="990" y="72"/>
                  </a:lnTo>
                  <a:lnTo>
                    <a:pt x="996" y="18"/>
                  </a:lnTo>
                  <a:lnTo>
                    <a:pt x="990" y="12"/>
                  </a:lnTo>
                  <a:lnTo>
                    <a:pt x="1014" y="12"/>
                  </a:lnTo>
                  <a:lnTo>
                    <a:pt x="1026" y="12"/>
                  </a:lnTo>
                  <a:lnTo>
                    <a:pt x="1026" y="24"/>
                  </a:lnTo>
                  <a:lnTo>
                    <a:pt x="1050" y="24"/>
                  </a:lnTo>
                  <a:lnTo>
                    <a:pt x="1050" y="36"/>
                  </a:lnTo>
                  <a:lnTo>
                    <a:pt x="1062" y="66"/>
                  </a:lnTo>
                  <a:lnTo>
                    <a:pt x="1074" y="66"/>
                  </a:lnTo>
                  <a:lnTo>
                    <a:pt x="1080" y="60"/>
                  </a:lnTo>
                  <a:lnTo>
                    <a:pt x="1074" y="24"/>
                  </a:lnTo>
                  <a:lnTo>
                    <a:pt x="1086" y="18"/>
                  </a:lnTo>
                  <a:lnTo>
                    <a:pt x="1086" y="12"/>
                  </a:lnTo>
                  <a:lnTo>
                    <a:pt x="1104" y="6"/>
                  </a:lnTo>
                  <a:lnTo>
                    <a:pt x="1122" y="0"/>
                  </a:lnTo>
                  <a:lnTo>
                    <a:pt x="1134" y="6"/>
                  </a:lnTo>
                  <a:lnTo>
                    <a:pt x="1134" y="42"/>
                  </a:lnTo>
                  <a:lnTo>
                    <a:pt x="1140" y="72"/>
                  </a:lnTo>
                  <a:lnTo>
                    <a:pt x="1158" y="114"/>
                  </a:lnTo>
                  <a:lnTo>
                    <a:pt x="1170" y="114"/>
                  </a:lnTo>
                  <a:lnTo>
                    <a:pt x="1170" y="126"/>
                  </a:lnTo>
                  <a:lnTo>
                    <a:pt x="1182" y="126"/>
                  </a:lnTo>
                  <a:lnTo>
                    <a:pt x="1182" y="138"/>
                  </a:lnTo>
                  <a:lnTo>
                    <a:pt x="1194" y="144"/>
                  </a:lnTo>
                  <a:lnTo>
                    <a:pt x="1194" y="156"/>
                  </a:lnTo>
                  <a:lnTo>
                    <a:pt x="1188" y="156"/>
                  </a:lnTo>
                  <a:lnTo>
                    <a:pt x="1194" y="162"/>
                  </a:lnTo>
                  <a:lnTo>
                    <a:pt x="1194" y="168"/>
                  </a:lnTo>
                  <a:lnTo>
                    <a:pt x="1188" y="168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82" y="180"/>
                  </a:lnTo>
                  <a:lnTo>
                    <a:pt x="1188" y="186"/>
                  </a:lnTo>
                  <a:lnTo>
                    <a:pt x="1188" y="192"/>
                  </a:lnTo>
                  <a:lnTo>
                    <a:pt x="1182" y="198"/>
                  </a:lnTo>
                  <a:lnTo>
                    <a:pt x="1182" y="204"/>
                  </a:lnTo>
                  <a:lnTo>
                    <a:pt x="1182" y="210"/>
                  </a:lnTo>
                  <a:lnTo>
                    <a:pt x="1188" y="210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2"/>
                  </a:lnTo>
                  <a:lnTo>
                    <a:pt x="1194" y="264"/>
                  </a:lnTo>
                  <a:lnTo>
                    <a:pt x="1200" y="264"/>
                  </a:lnTo>
                  <a:lnTo>
                    <a:pt x="1212" y="264"/>
                  </a:lnTo>
                  <a:lnTo>
                    <a:pt x="1212" y="258"/>
                  </a:lnTo>
                  <a:lnTo>
                    <a:pt x="1224" y="258"/>
                  </a:lnTo>
                  <a:lnTo>
                    <a:pt x="1248" y="252"/>
                  </a:lnTo>
                  <a:lnTo>
                    <a:pt x="1248" y="264"/>
                  </a:lnTo>
                  <a:lnTo>
                    <a:pt x="1254" y="264"/>
                  </a:lnTo>
                  <a:lnTo>
                    <a:pt x="1254" y="270"/>
                  </a:lnTo>
                  <a:lnTo>
                    <a:pt x="1260" y="270"/>
                  </a:lnTo>
                  <a:lnTo>
                    <a:pt x="1266" y="270"/>
                  </a:lnTo>
                  <a:lnTo>
                    <a:pt x="1272" y="270"/>
                  </a:lnTo>
                  <a:lnTo>
                    <a:pt x="1272" y="264"/>
                  </a:lnTo>
                  <a:lnTo>
                    <a:pt x="1272" y="258"/>
                  </a:lnTo>
                  <a:lnTo>
                    <a:pt x="1278" y="258"/>
                  </a:lnTo>
                  <a:lnTo>
                    <a:pt x="1278" y="252"/>
                  </a:lnTo>
                  <a:lnTo>
                    <a:pt x="1290" y="252"/>
                  </a:lnTo>
                  <a:lnTo>
                    <a:pt x="1296" y="246"/>
                  </a:lnTo>
                  <a:lnTo>
                    <a:pt x="1308" y="246"/>
                  </a:lnTo>
                  <a:lnTo>
                    <a:pt x="1308" y="240"/>
                  </a:lnTo>
                  <a:lnTo>
                    <a:pt x="1320" y="240"/>
                  </a:lnTo>
                  <a:lnTo>
                    <a:pt x="1326" y="246"/>
                  </a:lnTo>
                  <a:lnTo>
                    <a:pt x="1338" y="246"/>
                  </a:lnTo>
                  <a:lnTo>
                    <a:pt x="1338" y="240"/>
                  </a:lnTo>
                  <a:lnTo>
                    <a:pt x="1350" y="240"/>
                  </a:lnTo>
                  <a:lnTo>
                    <a:pt x="1386" y="234"/>
                  </a:lnTo>
                  <a:lnTo>
                    <a:pt x="1398" y="228"/>
                  </a:lnTo>
                  <a:lnTo>
                    <a:pt x="1404" y="216"/>
                  </a:lnTo>
                  <a:lnTo>
                    <a:pt x="1416" y="204"/>
                  </a:lnTo>
                  <a:lnTo>
                    <a:pt x="1434" y="192"/>
                  </a:lnTo>
                  <a:lnTo>
                    <a:pt x="1446" y="198"/>
                  </a:lnTo>
                  <a:lnTo>
                    <a:pt x="1446" y="204"/>
                  </a:lnTo>
                  <a:lnTo>
                    <a:pt x="1452" y="210"/>
                  </a:lnTo>
                  <a:lnTo>
                    <a:pt x="1464" y="222"/>
                  </a:lnTo>
                  <a:lnTo>
                    <a:pt x="1464" y="228"/>
                  </a:lnTo>
                  <a:lnTo>
                    <a:pt x="1464" y="234"/>
                  </a:lnTo>
                  <a:lnTo>
                    <a:pt x="1470" y="240"/>
                  </a:lnTo>
                  <a:lnTo>
                    <a:pt x="1476" y="228"/>
                  </a:lnTo>
                  <a:lnTo>
                    <a:pt x="1476" y="222"/>
                  </a:lnTo>
                  <a:lnTo>
                    <a:pt x="1482" y="210"/>
                  </a:lnTo>
                  <a:lnTo>
                    <a:pt x="1488" y="192"/>
                  </a:lnTo>
                  <a:lnTo>
                    <a:pt x="1488" y="186"/>
                  </a:lnTo>
                  <a:lnTo>
                    <a:pt x="1488" y="180"/>
                  </a:lnTo>
                  <a:lnTo>
                    <a:pt x="1500" y="180"/>
                  </a:lnTo>
                  <a:lnTo>
                    <a:pt x="1500" y="174"/>
                  </a:lnTo>
                  <a:lnTo>
                    <a:pt x="1518" y="162"/>
                  </a:lnTo>
                  <a:lnTo>
                    <a:pt x="1536" y="150"/>
                  </a:lnTo>
                  <a:lnTo>
                    <a:pt x="1554" y="168"/>
                  </a:lnTo>
                  <a:lnTo>
                    <a:pt x="1572" y="180"/>
                  </a:lnTo>
                  <a:lnTo>
                    <a:pt x="1596" y="216"/>
                  </a:lnTo>
                  <a:lnTo>
                    <a:pt x="1602" y="216"/>
                  </a:lnTo>
                  <a:lnTo>
                    <a:pt x="1614" y="228"/>
                  </a:lnTo>
                  <a:lnTo>
                    <a:pt x="1614" y="234"/>
                  </a:lnTo>
                  <a:lnTo>
                    <a:pt x="1620" y="240"/>
                  </a:lnTo>
                  <a:lnTo>
                    <a:pt x="1620" y="246"/>
                  </a:lnTo>
                  <a:lnTo>
                    <a:pt x="1626" y="252"/>
                  </a:lnTo>
                  <a:lnTo>
                    <a:pt x="1632" y="258"/>
                  </a:lnTo>
                  <a:lnTo>
                    <a:pt x="1632" y="264"/>
                  </a:lnTo>
                  <a:lnTo>
                    <a:pt x="1638" y="264"/>
                  </a:lnTo>
                  <a:lnTo>
                    <a:pt x="1638" y="270"/>
                  </a:lnTo>
                  <a:lnTo>
                    <a:pt x="1638" y="276"/>
                  </a:lnTo>
                  <a:lnTo>
                    <a:pt x="1638" y="282"/>
                  </a:lnTo>
                  <a:lnTo>
                    <a:pt x="1644" y="288"/>
                  </a:lnTo>
                  <a:lnTo>
                    <a:pt x="1644" y="294"/>
                  </a:lnTo>
                  <a:lnTo>
                    <a:pt x="1644" y="300"/>
                  </a:lnTo>
                  <a:lnTo>
                    <a:pt x="1644" y="306"/>
                  </a:lnTo>
                  <a:lnTo>
                    <a:pt x="1650" y="306"/>
                  </a:lnTo>
                  <a:lnTo>
                    <a:pt x="1650" y="312"/>
                  </a:lnTo>
                  <a:lnTo>
                    <a:pt x="1650" y="318"/>
                  </a:lnTo>
                  <a:lnTo>
                    <a:pt x="1650" y="324"/>
                  </a:lnTo>
                  <a:lnTo>
                    <a:pt x="1644" y="330"/>
                  </a:lnTo>
                  <a:lnTo>
                    <a:pt x="1626" y="330"/>
                  </a:lnTo>
                  <a:lnTo>
                    <a:pt x="1626" y="336"/>
                  </a:lnTo>
                  <a:lnTo>
                    <a:pt x="1626" y="342"/>
                  </a:lnTo>
                  <a:lnTo>
                    <a:pt x="1626" y="348"/>
                  </a:lnTo>
                  <a:lnTo>
                    <a:pt x="1620" y="354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14" y="390"/>
                  </a:lnTo>
                  <a:lnTo>
                    <a:pt x="1614" y="396"/>
                  </a:lnTo>
                  <a:lnTo>
                    <a:pt x="1614" y="402"/>
                  </a:lnTo>
                  <a:lnTo>
                    <a:pt x="1614" y="408"/>
                  </a:lnTo>
                  <a:lnTo>
                    <a:pt x="1614" y="414"/>
                  </a:lnTo>
                  <a:lnTo>
                    <a:pt x="1602" y="420"/>
                  </a:lnTo>
                  <a:lnTo>
                    <a:pt x="1602" y="426"/>
                  </a:lnTo>
                  <a:lnTo>
                    <a:pt x="1608" y="432"/>
                  </a:lnTo>
                  <a:lnTo>
                    <a:pt x="1614" y="426"/>
                  </a:lnTo>
                  <a:lnTo>
                    <a:pt x="1620" y="438"/>
                  </a:lnTo>
                  <a:lnTo>
                    <a:pt x="1626" y="438"/>
                  </a:lnTo>
                  <a:lnTo>
                    <a:pt x="1632" y="444"/>
                  </a:lnTo>
                  <a:lnTo>
                    <a:pt x="1626" y="456"/>
                  </a:lnTo>
                  <a:lnTo>
                    <a:pt x="1626" y="468"/>
                  </a:lnTo>
                  <a:lnTo>
                    <a:pt x="1620" y="474"/>
                  </a:lnTo>
                  <a:lnTo>
                    <a:pt x="1614" y="474"/>
                  </a:lnTo>
                  <a:lnTo>
                    <a:pt x="1614" y="486"/>
                  </a:lnTo>
                  <a:lnTo>
                    <a:pt x="1614" y="492"/>
                  </a:lnTo>
                  <a:lnTo>
                    <a:pt x="1620" y="492"/>
                  </a:lnTo>
                  <a:lnTo>
                    <a:pt x="1626" y="498"/>
                  </a:lnTo>
                  <a:lnTo>
                    <a:pt x="1626" y="504"/>
                  </a:lnTo>
                  <a:lnTo>
                    <a:pt x="1626" y="510"/>
                  </a:lnTo>
                  <a:lnTo>
                    <a:pt x="1620" y="516"/>
                  </a:lnTo>
                  <a:lnTo>
                    <a:pt x="1620" y="522"/>
                  </a:lnTo>
                  <a:lnTo>
                    <a:pt x="1614" y="522"/>
                  </a:lnTo>
                  <a:lnTo>
                    <a:pt x="1608" y="528"/>
                  </a:lnTo>
                  <a:lnTo>
                    <a:pt x="1602" y="522"/>
                  </a:lnTo>
                  <a:lnTo>
                    <a:pt x="1602" y="528"/>
                  </a:lnTo>
                  <a:lnTo>
                    <a:pt x="1602" y="540"/>
                  </a:lnTo>
                  <a:lnTo>
                    <a:pt x="1602" y="558"/>
                  </a:lnTo>
                  <a:lnTo>
                    <a:pt x="1602" y="564"/>
                  </a:lnTo>
                  <a:lnTo>
                    <a:pt x="1602" y="570"/>
                  </a:lnTo>
                  <a:lnTo>
                    <a:pt x="1602" y="576"/>
                  </a:lnTo>
                  <a:lnTo>
                    <a:pt x="1596" y="576"/>
                  </a:lnTo>
                  <a:lnTo>
                    <a:pt x="1632" y="582"/>
                  </a:lnTo>
                  <a:lnTo>
                    <a:pt x="1644" y="618"/>
                  </a:lnTo>
                  <a:lnTo>
                    <a:pt x="1650" y="648"/>
                  </a:lnTo>
                  <a:lnTo>
                    <a:pt x="1662" y="636"/>
                  </a:lnTo>
                  <a:lnTo>
                    <a:pt x="1668" y="636"/>
                  </a:lnTo>
                  <a:lnTo>
                    <a:pt x="1674" y="636"/>
                  </a:lnTo>
                  <a:lnTo>
                    <a:pt x="1680" y="630"/>
                  </a:lnTo>
                  <a:lnTo>
                    <a:pt x="1686" y="630"/>
                  </a:lnTo>
                  <a:lnTo>
                    <a:pt x="1692" y="630"/>
                  </a:lnTo>
                  <a:lnTo>
                    <a:pt x="1698" y="630"/>
                  </a:lnTo>
                  <a:lnTo>
                    <a:pt x="1704" y="630"/>
                  </a:lnTo>
                  <a:lnTo>
                    <a:pt x="1704" y="624"/>
                  </a:lnTo>
                  <a:lnTo>
                    <a:pt x="1710" y="624"/>
                  </a:lnTo>
                  <a:lnTo>
                    <a:pt x="1716" y="624"/>
                  </a:lnTo>
                  <a:lnTo>
                    <a:pt x="1722" y="624"/>
                  </a:lnTo>
                  <a:lnTo>
                    <a:pt x="1728" y="624"/>
                  </a:lnTo>
                  <a:lnTo>
                    <a:pt x="1722" y="618"/>
                  </a:lnTo>
                  <a:lnTo>
                    <a:pt x="1728" y="606"/>
                  </a:lnTo>
                  <a:lnTo>
                    <a:pt x="1734" y="606"/>
                  </a:lnTo>
                  <a:lnTo>
                    <a:pt x="1740" y="600"/>
                  </a:lnTo>
                  <a:lnTo>
                    <a:pt x="1746" y="594"/>
                  </a:lnTo>
                  <a:lnTo>
                    <a:pt x="1752" y="588"/>
                  </a:lnTo>
                  <a:lnTo>
                    <a:pt x="1752" y="582"/>
                  </a:lnTo>
                  <a:lnTo>
                    <a:pt x="1758" y="576"/>
                  </a:lnTo>
                  <a:lnTo>
                    <a:pt x="1764" y="576"/>
                  </a:lnTo>
                  <a:lnTo>
                    <a:pt x="1770" y="570"/>
                  </a:lnTo>
                  <a:lnTo>
                    <a:pt x="1776" y="564"/>
                  </a:lnTo>
                  <a:lnTo>
                    <a:pt x="1788" y="558"/>
                  </a:lnTo>
                  <a:lnTo>
                    <a:pt x="1788" y="546"/>
                  </a:lnTo>
                  <a:lnTo>
                    <a:pt x="1788" y="540"/>
                  </a:lnTo>
                  <a:lnTo>
                    <a:pt x="1794" y="540"/>
                  </a:lnTo>
                  <a:lnTo>
                    <a:pt x="1788" y="534"/>
                  </a:lnTo>
                  <a:lnTo>
                    <a:pt x="1788" y="528"/>
                  </a:lnTo>
                  <a:lnTo>
                    <a:pt x="1794" y="516"/>
                  </a:lnTo>
                  <a:lnTo>
                    <a:pt x="1800" y="510"/>
                  </a:lnTo>
                  <a:lnTo>
                    <a:pt x="1812" y="510"/>
                  </a:lnTo>
                  <a:lnTo>
                    <a:pt x="1818" y="504"/>
                  </a:lnTo>
                  <a:lnTo>
                    <a:pt x="1824" y="504"/>
                  </a:lnTo>
                  <a:lnTo>
                    <a:pt x="1830" y="498"/>
                  </a:lnTo>
                  <a:lnTo>
                    <a:pt x="1836" y="498"/>
                  </a:lnTo>
                  <a:lnTo>
                    <a:pt x="1848" y="492"/>
                  </a:lnTo>
                  <a:lnTo>
                    <a:pt x="1848" y="480"/>
                  </a:lnTo>
                  <a:lnTo>
                    <a:pt x="1854" y="480"/>
                  </a:lnTo>
                  <a:lnTo>
                    <a:pt x="1890" y="504"/>
                  </a:lnTo>
                  <a:lnTo>
                    <a:pt x="1908" y="534"/>
                  </a:lnTo>
                  <a:lnTo>
                    <a:pt x="1902" y="534"/>
                  </a:lnTo>
                  <a:lnTo>
                    <a:pt x="1920" y="528"/>
                  </a:lnTo>
                  <a:lnTo>
                    <a:pt x="1920" y="516"/>
                  </a:lnTo>
                  <a:lnTo>
                    <a:pt x="1944" y="516"/>
                  </a:lnTo>
                  <a:lnTo>
                    <a:pt x="2004" y="516"/>
                  </a:lnTo>
                  <a:lnTo>
                    <a:pt x="2010" y="510"/>
                  </a:lnTo>
                  <a:lnTo>
                    <a:pt x="2004" y="510"/>
                  </a:lnTo>
                  <a:lnTo>
                    <a:pt x="2010" y="498"/>
                  </a:lnTo>
                  <a:lnTo>
                    <a:pt x="2004" y="486"/>
                  </a:lnTo>
                  <a:lnTo>
                    <a:pt x="2004" y="480"/>
                  </a:lnTo>
                  <a:lnTo>
                    <a:pt x="2004" y="474"/>
                  </a:lnTo>
                  <a:lnTo>
                    <a:pt x="2004" y="462"/>
                  </a:lnTo>
                  <a:lnTo>
                    <a:pt x="2004" y="456"/>
                  </a:lnTo>
                  <a:lnTo>
                    <a:pt x="2058" y="462"/>
                  </a:lnTo>
                  <a:lnTo>
                    <a:pt x="2076" y="474"/>
                  </a:lnTo>
                  <a:lnTo>
                    <a:pt x="2082" y="522"/>
                  </a:lnTo>
                  <a:lnTo>
                    <a:pt x="2088" y="516"/>
                  </a:lnTo>
                  <a:lnTo>
                    <a:pt x="2094" y="522"/>
                  </a:lnTo>
                  <a:lnTo>
                    <a:pt x="2100" y="528"/>
                  </a:lnTo>
                  <a:lnTo>
                    <a:pt x="2130" y="540"/>
                  </a:lnTo>
                  <a:lnTo>
                    <a:pt x="2160" y="564"/>
                  </a:lnTo>
                  <a:lnTo>
                    <a:pt x="2166" y="600"/>
                  </a:lnTo>
                  <a:lnTo>
                    <a:pt x="2160" y="618"/>
                  </a:lnTo>
                  <a:lnTo>
                    <a:pt x="2142" y="636"/>
                  </a:lnTo>
                  <a:lnTo>
                    <a:pt x="2148" y="648"/>
                  </a:lnTo>
                  <a:lnTo>
                    <a:pt x="2154" y="660"/>
                  </a:lnTo>
                  <a:lnTo>
                    <a:pt x="2196" y="654"/>
                  </a:lnTo>
                  <a:lnTo>
                    <a:pt x="2214" y="660"/>
                  </a:lnTo>
                  <a:lnTo>
                    <a:pt x="2214" y="666"/>
                  </a:lnTo>
                  <a:lnTo>
                    <a:pt x="2220" y="672"/>
                  </a:lnTo>
                  <a:lnTo>
                    <a:pt x="2214" y="678"/>
                  </a:lnTo>
                  <a:lnTo>
                    <a:pt x="2214" y="684"/>
                  </a:lnTo>
                  <a:lnTo>
                    <a:pt x="2214" y="690"/>
                  </a:lnTo>
                  <a:lnTo>
                    <a:pt x="2208" y="690"/>
                  </a:lnTo>
                  <a:lnTo>
                    <a:pt x="2202" y="696"/>
                  </a:lnTo>
                  <a:lnTo>
                    <a:pt x="2196" y="702"/>
                  </a:lnTo>
                  <a:lnTo>
                    <a:pt x="2190" y="708"/>
                  </a:lnTo>
                  <a:lnTo>
                    <a:pt x="2190" y="720"/>
                  </a:lnTo>
                  <a:lnTo>
                    <a:pt x="2184" y="720"/>
                  </a:lnTo>
                  <a:lnTo>
                    <a:pt x="2178" y="726"/>
                  </a:lnTo>
                  <a:lnTo>
                    <a:pt x="2166" y="732"/>
                  </a:lnTo>
                  <a:lnTo>
                    <a:pt x="2160" y="744"/>
                  </a:lnTo>
                  <a:lnTo>
                    <a:pt x="2154" y="756"/>
                  </a:lnTo>
                  <a:lnTo>
                    <a:pt x="2148" y="762"/>
                  </a:lnTo>
                  <a:lnTo>
                    <a:pt x="2124" y="762"/>
                  </a:lnTo>
                  <a:lnTo>
                    <a:pt x="2124" y="768"/>
                  </a:lnTo>
                  <a:lnTo>
                    <a:pt x="2118" y="768"/>
                  </a:lnTo>
                  <a:lnTo>
                    <a:pt x="2124" y="774"/>
                  </a:lnTo>
                  <a:lnTo>
                    <a:pt x="2118" y="774"/>
                  </a:lnTo>
                  <a:lnTo>
                    <a:pt x="2112" y="774"/>
                  </a:lnTo>
                  <a:lnTo>
                    <a:pt x="2106" y="780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06" y="798"/>
                  </a:lnTo>
                  <a:lnTo>
                    <a:pt x="2106" y="810"/>
                  </a:lnTo>
                  <a:lnTo>
                    <a:pt x="2112" y="828"/>
                  </a:lnTo>
                  <a:lnTo>
                    <a:pt x="2112" y="834"/>
                  </a:lnTo>
                  <a:lnTo>
                    <a:pt x="2112" y="840"/>
                  </a:lnTo>
                  <a:lnTo>
                    <a:pt x="2112" y="834"/>
                  </a:lnTo>
                  <a:lnTo>
                    <a:pt x="2124" y="834"/>
                  </a:lnTo>
                  <a:lnTo>
                    <a:pt x="2130" y="834"/>
                  </a:lnTo>
                  <a:lnTo>
                    <a:pt x="2136" y="840"/>
                  </a:lnTo>
                  <a:lnTo>
                    <a:pt x="2142" y="840"/>
                  </a:lnTo>
                  <a:lnTo>
                    <a:pt x="2154" y="852"/>
                  </a:lnTo>
                  <a:lnTo>
                    <a:pt x="2160" y="852"/>
                  </a:lnTo>
                  <a:lnTo>
                    <a:pt x="2172" y="846"/>
                  </a:lnTo>
                  <a:lnTo>
                    <a:pt x="2178" y="846"/>
                  </a:lnTo>
                  <a:lnTo>
                    <a:pt x="2184" y="846"/>
                  </a:lnTo>
                  <a:lnTo>
                    <a:pt x="2190" y="846"/>
                  </a:lnTo>
                  <a:lnTo>
                    <a:pt x="2196" y="852"/>
                  </a:lnTo>
                  <a:lnTo>
                    <a:pt x="2196" y="858"/>
                  </a:lnTo>
                  <a:lnTo>
                    <a:pt x="2202" y="852"/>
                  </a:lnTo>
                  <a:lnTo>
                    <a:pt x="2208" y="846"/>
                  </a:lnTo>
                  <a:lnTo>
                    <a:pt x="2214" y="846"/>
                  </a:lnTo>
                  <a:lnTo>
                    <a:pt x="2226" y="846"/>
                  </a:lnTo>
                  <a:lnTo>
                    <a:pt x="2232" y="852"/>
                  </a:lnTo>
                  <a:lnTo>
                    <a:pt x="2238" y="852"/>
                  </a:lnTo>
                  <a:lnTo>
                    <a:pt x="2244" y="858"/>
                  </a:lnTo>
                  <a:lnTo>
                    <a:pt x="2250" y="858"/>
                  </a:lnTo>
                  <a:lnTo>
                    <a:pt x="2256" y="858"/>
                  </a:lnTo>
                  <a:lnTo>
                    <a:pt x="2262" y="858"/>
                  </a:lnTo>
                  <a:lnTo>
                    <a:pt x="2268" y="852"/>
                  </a:lnTo>
                  <a:lnTo>
                    <a:pt x="2274" y="852"/>
                  </a:lnTo>
                  <a:lnTo>
                    <a:pt x="2280" y="852"/>
                  </a:lnTo>
                  <a:lnTo>
                    <a:pt x="2286" y="852"/>
                  </a:lnTo>
                  <a:lnTo>
                    <a:pt x="2298" y="858"/>
                  </a:lnTo>
                  <a:lnTo>
                    <a:pt x="2304" y="858"/>
                  </a:lnTo>
                  <a:lnTo>
                    <a:pt x="2310" y="858"/>
                  </a:lnTo>
                  <a:lnTo>
                    <a:pt x="2316" y="852"/>
                  </a:lnTo>
                  <a:lnTo>
                    <a:pt x="2322" y="858"/>
                  </a:lnTo>
                  <a:lnTo>
                    <a:pt x="2328" y="858"/>
                  </a:lnTo>
                  <a:lnTo>
                    <a:pt x="2328" y="852"/>
                  </a:lnTo>
                  <a:lnTo>
                    <a:pt x="2364" y="858"/>
                  </a:lnTo>
                  <a:lnTo>
                    <a:pt x="2376" y="876"/>
                  </a:lnTo>
                  <a:lnTo>
                    <a:pt x="2382" y="936"/>
                  </a:lnTo>
                  <a:lnTo>
                    <a:pt x="2388" y="966"/>
                  </a:lnTo>
                  <a:lnTo>
                    <a:pt x="2382" y="972"/>
                  </a:lnTo>
                  <a:lnTo>
                    <a:pt x="2382" y="978"/>
                  </a:lnTo>
                  <a:lnTo>
                    <a:pt x="2382" y="984"/>
                  </a:lnTo>
                  <a:lnTo>
                    <a:pt x="2388" y="990"/>
                  </a:lnTo>
                  <a:lnTo>
                    <a:pt x="2382" y="990"/>
                  </a:lnTo>
                  <a:lnTo>
                    <a:pt x="2382" y="996"/>
                  </a:lnTo>
                  <a:lnTo>
                    <a:pt x="2376" y="996"/>
                  </a:lnTo>
                  <a:lnTo>
                    <a:pt x="2376" y="1020"/>
                  </a:lnTo>
                  <a:lnTo>
                    <a:pt x="2370" y="1032"/>
                  </a:lnTo>
                  <a:lnTo>
                    <a:pt x="2352" y="1032"/>
                  </a:lnTo>
                  <a:lnTo>
                    <a:pt x="2346" y="1020"/>
                  </a:lnTo>
                  <a:lnTo>
                    <a:pt x="2328" y="1032"/>
                  </a:lnTo>
                  <a:lnTo>
                    <a:pt x="2316" y="1038"/>
                  </a:lnTo>
                  <a:lnTo>
                    <a:pt x="2328" y="1044"/>
                  </a:lnTo>
                  <a:lnTo>
                    <a:pt x="2340" y="1056"/>
                  </a:lnTo>
                  <a:lnTo>
                    <a:pt x="2376" y="1062"/>
                  </a:lnTo>
                  <a:lnTo>
                    <a:pt x="2376" y="1068"/>
                  </a:lnTo>
                  <a:lnTo>
                    <a:pt x="2382" y="1086"/>
                  </a:lnTo>
                  <a:lnTo>
                    <a:pt x="2376" y="1086"/>
                  </a:lnTo>
                  <a:lnTo>
                    <a:pt x="2370" y="1086"/>
                  </a:lnTo>
                  <a:lnTo>
                    <a:pt x="2364" y="1086"/>
                  </a:lnTo>
                  <a:lnTo>
                    <a:pt x="2364" y="1098"/>
                  </a:lnTo>
                  <a:lnTo>
                    <a:pt x="2388" y="1104"/>
                  </a:lnTo>
                  <a:lnTo>
                    <a:pt x="2400" y="1122"/>
                  </a:lnTo>
                  <a:lnTo>
                    <a:pt x="2400" y="1134"/>
                  </a:lnTo>
                  <a:lnTo>
                    <a:pt x="2400" y="1146"/>
                  </a:lnTo>
                  <a:lnTo>
                    <a:pt x="2394" y="1146"/>
                  </a:lnTo>
                  <a:lnTo>
                    <a:pt x="2394" y="1152"/>
                  </a:lnTo>
                  <a:lnTo>
                    <a:pt x="2388" y="1152"/>
                  </a:lnTo>
                  <a:lnTo>
                    <a:pt x="2388" y="1146"/>
                  </a:lnTo>
                  <a:lnTo>
                    <a:pt x="2382" y="1152"/>
                  </a:lnTo>
                  <a:lnTo>
                    <a:pt x="2376" y="1152"/>
                  </a:lnTo>
                  <a:lnTo>
                    <a:pt x="2370" y="1158"/>
                  </a:lnTo>
                  <a:lnTo>
                    <a:pt x="2370" y="1164"/>
                  </a:lnTo>
                  <a:lnTo>
                    <a:pt x="2364" y="1170"/>
                  </a:lnTo>
                  <a:lnTo>
                    <a:pt x="2370" y="1170"/>
                  </a:lnTo>
                  <a:lnTo>
                    <a:pt x="2376" y="1170"/>
                  </a:lnTo>
                  <a:lnTo>
                    <a:pt x="2370" y="1176"/>
                  </a:lnTo>
                  <a:lnTo>
                    <a:pt x="2364" y="1176"/>
                  </a:lnTo>
                  <a:lnTo>
                    <a:pt x="2358" y="1182"/>
                  </a:lnTo>
                  <a:lnTo>
                    <a:pt x="2352" y="1182"/>
                  </a:lnTo>
                  <a:lnTo>
                    <a:pt x="2346" y="1188"/>
                  </a:lnTo>
                  <a:lnTo>
                    <a:pt x="2340" y="1182"/>
                  </a:lnTo>
                  <a:lnTo>
                    <a:pt x="2334" y="1182"/>
                  </a:lnTo>
                  <a:lnTo>
                    <a:pt x="2334" y="1188"/>
                  </a:lnTo>
                  <a:lnTo>
                    <a:pt x="2328" y="1194"/>
                  </a:lnTo>
                  <a:lnTo>
                    <a:pt x="2328" y="1200"/>
                  </a:lnTo>
                  <a:lnTo>
                    <a:pt x="2322" y="1224"/>
                  </a:lnTo>
                  <a:lnTo>
                    <a:pt x="2328" y="1230"/>
                  </a:lnTo>
                  <a:lnTo>
                    <a:pt x="2358" y="1230"/>
                  </a:lnTo>
                  <a:lnTo>
                    <a:pt x="2358" y="1242"/>
                  </a:lnTo>
                  <a:lnTo>
                    <a:pt x="2358" y="1254"/>
                  </a:lnTo>
                  <a:lnTo>
                    <a:pt x="2346" y="1254"/>
                  </a:lnTo>
                  <a:lnTo>
                    <a:pt x="2346" y="1278"/>
                  </a:lnTo>
                  <a:lnTo>
                    <a:pt x="2358" y="1278"/>
                  </a:lnTo>
                  <a:lnTo>
                    <a:pt x="2358" y="1284"/>
                  </a:lnTo>
                  <a:lnTo>
                    <a:pt x="2376" y="1284"/>
                  </a:lnTo>
                  <a:lnTo>
                    <a:pt x="2388" y="1278"/>
                  </a:lnTo>
                  <a:lnTo>
                    <a:pt x="2406" y="1278"/>
                  </a:lnTo>
                  <a:lnTo>
                    <a:pt x="2430" y="1284"/>
                  </a:lnTo>
                  <a:lnTo>
                    <a:pt x="2430" y="1302"/>
                  </a:lnTo>
                  <a:lnTo>
                    <a:pt x="2430" y="1314"/>
                  </a:lnTo>
                  <a:lnTo>
                    <a:pt x="2424" y="1326"/>
                  </a:lnTo>
                  <a:lnTo>
                    <a:pt x="2412" y="1326"/>
                  </a:lnTo>
                  <a:lnTo>
                    <a:pt x="2412" y="1344"/>
                  </a:lnTo>
                  <a:lnTo>
                    <a:pt x="2406" y="1344"/>
                  </a:lnTo>
                  <a:lnTo>
                    <a:pt x="2400" y="1362"/>
                  </a:lnTo>
                  <a:lnTo>
                    <a:pt x="2394" y="1368"/>
                  </a:lnTo>
                  <a:lnTo>
                    <a:pt x="2388" y="1374"/>
                  </a:lnTo>
                  <a:lnTo>
                    <a:pt x="2382" y="1380"/>
                  </a:lnTo>
                  <a:lnTo>
                    <a:pt x="2376" y="1386"/>
                  </a:lnTo>
                  <a:lnTo>
                    <a:pt x="2376" y="1392"/>
                  </a:lnTo>
                  <a:lnTo>
                    <a:pt x="2370" y="1404"/>
                  </a:lnTo>
                  <a:lnTo>
                    <a:pt x="2364" y="1416"/>
                  </a:lnTo>
                  <a:lnTo>
                    <a:pt x="2346" y="1434"/>
                  </a:lnTo>
                  <a:lnTo>
                    <a:pt x="2328" y="1440"/>
                  </a:lnTo>
                  <a:lnTo>
                    <a:pt x="2328" y="1446"/>
                  </a:lnTo>
                  <a:lnTo>
                    <a:pt x="2322" y="1452"/>
                  </a:lnTo>
                  <a:lnTo>
                    <a:pt x="2316" y="1452"/>
                  </a:lnTo>
                  <a:lnTo>
                    <a:pt x="2304" y="1446"/>
                  </a:lnTo>
                  <a:lnTo>
                    <a:pt x="2298" y="1446"/>
                  </a:lnTo>
                  <a:lnTo>
                    <a:pt x="2298" y="1434"/>
                  </a:lnTo>
                  <a:lnTo>
                    <a:pt x="2292" y="1434"/>
                  </a:lnTo>
                  <a:lnTo>
                    <a:pt x="2286" y="1428"/>
                  </a:lnTo>
                  <a:lnTo>
                    <a:pt x="2274" y="1416"/>
                  </a:lnTo>
                  <a:lnTo>
                    <a:pt x="2256" y="1404"/>
                  </a:lnTo>
                  <a:lnTo>
                    <a:pt x="2244" y="1386"/>
                  </a:lnTo>
                  <a:lnTo>
                    <a:pt x="2220" y="1368"/>
                  </a:lnTo>
                  <a:lnTo>
                    <a:pt x="2208" y="1362"/>
                  </a:lnTo>
                  <a:lnTo>
                    <a:pt x="2202" y="1350"/>
                  </a:lnTo>
                  <a:lnTo>
                    <a:pt x="2196" y="1350"/>
                  </a:lnTo>
                  <a:lnTo>
                    <a:pt x="2190" y="1356"/>
                  </a:lnTo>
                  <a:lnTo>
                    <a:pt x="2184" y="1356"/>
                  </a:lnTo>
                  <a:lnTo>
                    <a:pt x="2094" y="1350"/>
                  </a:lnTo>
                  <a:lnTo>
                    <a:pt x="2058" y="1350"/>
                  </a:lnTo>
                  <a:lnTo>
                    <a:pt x="2034" y="1890"/>
                  </a:lnTo>
                  <a:lnTo>
                    <a:pt x="2064" y="1890"/>
                  </a:lnTo>
                  <a:lnTo>
                    <a:pt x="2070" y="1896"/>
                  </a:lnTo>
                  <a:lnTo>
                    <a:pt x="2076" y="189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27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120" name="Freeform 34">
              <a:extLst>
                <a:ext uri="{FF2B5EF4-FFF2-40B4-BE49-F238E27FC236}">
                  <a16:creationId xmlns:a16="http://schemas.microsoft.com/office/drawing/2014/main" id="{52008E9D-5D9A-425B-9055-BACDC73AB614}"/>
                </a:ext>
              </a:extLst>
            </p:cNvPr>
            <p:cNvSpPr>
              <a:spLocks/>
            </p:cNvSpPr>
            <p:nvPr/>
          </p:nvSpPr>
          <p:spPr bwMode="gray">
            <a:xfrm>
              <a:off x="2371725" y="576264"/>
              <a:ext cx="1587500" cy="1366837"/>
            </a:xfrm>
            <a:custGeom>
              <a:avLst/>
              <a:gdLst>
                <a:gd name="T0" fmla="*/ 2147483647 w 1698"/>
                <a:gd name="T1" fmla="*/ 2147483647 h 1464"/>
                <a:gd name="T2" fmla="*/ 2147483647 w 1698"/>
                <a:gd name="T3" fmla="*/ 2147483647 h 1464"/>
                <a:gd name="T4" fmla="*/ 2147483647 w 1698"/>
                <a:gd name="T5" fmla="*/ 2147483647 h 1464"/>
                <a:gd name="T6" fmla="*/ 2147483647 w 1698"/>
                <a:gd name="T7" fmla="*/ 2147483647 h 1464"/>
                <a:gd name="T8" fmla="*/ 2147483647 w 1698"/>
                <a:gd name="T9" fmla="*/ 2147483647 h 1464"/>
                <a:gd name="T10" fmla="*/ 2147483647 w 1698"/>
                <a:gd name="T11" fmla="*/ 2147483647 h 1464"/>
                <a:gd name="T12" fmla="*/ 2147483647 w 1698"/>
                <a:gd name="T13" fmla="*/ 2147483647 h 1464"/>
                <a:gd name="T14" fmla="*/ 2147483647 w 1698"/>
                <a:gd name="T15" fmla="*/ 2147483647 h 1464"/>
                <a:gd name="T16" fmla="*/ 2147483647 w 1698"/>
                <a:gd name="T17" fmla="*/ 2147483647 h 1464"/>
                <a:gd name="T18" fmla="*/ 2147483647 w 1698"/>
                <a:gd name="T19" fmla="*/ 2147483647 h 1464"/>
                <a:gd name="T20" fmla="*/ 2147483647 w 1698"/>
                <a:gd name="T21" fmla="*/ 2147483647 h 1464"/>
                <a:gd name="T22" fmla="*/ 2147483647 w 1698"/>
                <a:gd name="T23" fmla="*/ 2147483647 h 1464"/>
                <a:gd name="T24" fmla="*/ 2147483647 w 1698"/>
                <a:gd name="T25" fmla="*/ 2147483647 h 1464"/>
                <a:gd name="T26" fmla="*/ 2147483647 w 1698"/>
                <a:gd name="T27" fmla="*/ 2147483647 h 1464"/>
                <a:gd name="T28" fmla="*/ 2147483647 w 1698"/>
                <a:gd name="T29" fmla="*/ 2147483647 h 1464"/>
                <a:gd name="T30" fmla="*/ 2147483647 w 1698"/>
                <a:gd name="T31" fmla="*/ 2147483647 h 1464"/>
                <a:gd name="T32" fmla="*/ 2147483647 w 1698"/>
                <a:gd name="T33" fmla="*/ 2147483647 h 1464"/>
                <a:gd name="T34" fmla="*/ 2147483647 w 1698"/>
                <a:gd name="T35" fmla="*/ 2147483647 h 1464"/>
                <a:gd name="T36" fmla="*/ 2147483647 w 1698"/>
                <a:gd name="T37" fmla="*/ 2147483647 h 1464"/>
                <a:gd name="T38" fmla="*/ 2147483647 w 1698"/>
                <a:gd name="T39" fmla="*/ 2147483647 h 1464"/>
                <a:gd name="T40" fmla="*/ 2147483647 w 1698"/>
                <a:gd name="T41" fmla="*/ 2147483647 h 1464"/>
                <a:gd name="T42" fmla="*/ 2147483647 w 1698"/>
                <a:gd name="T43" fmla="*/ 2147483647 h 1464"/>
                <a:gd name="T44" fmla="*/ 2147483647 w 1698"/>
                <a:gd name="T45" fmla="*/ 2147483647 h 1464"/>
                <a:gd name="T46" fmla="*/ 2147483647 w 1698"/>
                <a:gd name="T47" fmla="*/ 2147483647 h 1464"/>
                <a:gd name="T48" fmla="*/ 2147483647 w 1698"/>
                <a:gd name="T49" fmla="*/ 2147483647 h 1464"/>
                <a:gd name="T50" fmla="*/ 2147483647 w 1698"/>
                <a:gd name="T51" fmla="*/ 2147483647 h 1464"/>
                <a:gd name="T52" fmla="*/ 2147483647 w 1698"/>
                <a:gd name="T53" fmla="*/ 2147483647 h 1464"/>
                <a:gd name="T54" fmla="*/ 2147483647 w 1698"/>
                <a:gd name="T55" fmla="*/ 2147483647 h 1464"/>
                <a:gd name="T56" fmla="*/ 2147483647 w 1698"/>
                <a:gd name="T57" fmla="*/ 2147483647 h 1464"/>
                <a:gd name="T58" fmla="*/ 2147483647 w 1698"/>
                <a:gd name="T59" fmla="*/ 2147483647 h 1464"/>
                <a:gd name="T60" fmla="*/ 2147483647 w 1698"/>
                <a:gd name="T61" fmla="*/ 2147483647 h 1464"/>
                <a:gd name="T62" fmla="*/ 2147483647 w 1698"/>
                <a:gd name="T63" fmla="*/ 2147483647 h 1464"/>
                <a:gd name="T64" fmla="*/ 2147483647 w 1698"/>
                <a:gd name="T65" fmla="*/ 2147483647 h 1464"/>
                <a:gd name="T66" fmla="*/ 2147483647 w 1698"/>
                <a:gd name="T67" fmla="*/ 2147483647 h 1464"/>
                <a:gd name="T68" fmla="*/ 2147483647 w 1698"/>
                <a:gd name="T69" fmla="*/ 2147483647 h 1464"/>
                <a:gd name="T70" fmla="*/ 2147483647 w 1698"/>
                <a:gd name="T71" fmla="*/ 2147483647 h 1464"/>
                <a:gd name="T72" fmla="*/ 2147483647 w 1698"/>
                <a:gd name="T73" fmla="*/ 2147483647 h 1464"/>
                <a:gd name="T74" fmla="*/ 2147483647 w 1698"/>
                <a:gd name="T75" fmla="*/ 2147483647 h 1464"/>
                <a:gd name="T76" fmla="*/ 2147483647 w 1698"/>
                <a:gd name="T77" fmla="*/ 2147483647 h 1464"/>
                <a:gd name="T78" fmla="*/ 2147483647 w 1698"/>
                <a:gd name="T79" fmla="*/ 2147483647 h 1464"/>
                <a:gd name="T80" fmla="*/ 2147483647 w 1698"/>
                <a:gd name="T81" fmla="*/ 2147483647 h 1464"/>
                <a:gd name="T82" fmla="*/ 0 w 1698"/>
                <a:gd name="T83" fmla="*/ 2147483647 h 1464"/>
                <a:gd name="T84" fmla="*/ 2147483647 w 1698"/>
                <a:gd name="T85" fmla="*/ 2147483647 h 1464"/>
                <a:gd name="T86" fmla="*/ 2147483647 w 1698"/>
                <a:gd name="T87" fmla="*/ 2147483647 h 1464"/>
                <a:gd name="T88" fmla="*/ 2147483647 w 1698"/>
                <a:gd name="T89" fmla="*/ 2147483647 h 1464"/>
                <a:gd name="T90" fmla="*/ 2147483647 w 1698"/>
                <a:gd name="T91" fmla="*/ 2147483647 h 1464"/>
                <a:gd name="T92" fmla="*/ 2147483647 w 1698"/>
                <a:gd name="T93" fmla="*/ 2147483647 h 1464"/>
                <a:gd name="T94" fmla="*/ 2147483647 w 1698"/>
                <a:gd name="T95" fmla="*/ 2147483647 h 1464"/>
                <a:gd name="T96" fmla="*/ 2147483647 w 1698"/>
                <a:gd name="T97" fmla="*/ 2147483647 h 1464"/>
                <a:gd name="T98" fmla="*/ 2147483647 w 1698"/>
                <a:gd name="T99" fmla="*/ 2147483647 h 1464"/>
                <a:gd name="T100" fmla="*/ 2147483647 w 1698"/>
                <a:gd name="T101" fmla="*/ 2147483647 h 1464"/>
                <a:gd name="T102" fmla="*/ 2147483647 w 1698"/>
                <a:gd name="T103" fmla="*/ 2147483647 h 1464"/>
                <a:gd name="T104" fmla="*/ 2147483647 w 1698"/>
                <a:gd name="T105" fmla="*/ 2147483647 h 1464"/>
                <a:gd name="T106" fmla="*/ 2147483647 w 1698"/>
                <a:gd name="T107" fmla="*/ 2147483647 h 1464"/>
                <a:gd name="T108" fmla="*/ 2147483647 w 1698"/>
                <a:gd name="T109" fmla="*/ 2147483647 h 1464"/>
                <a:gd name="T110" fmla="*/ 2147483647 w 1698"/>
                <a:gd name="T111" fmla="*/ 2147483647 h 1464"/>
                <a:gd name="T112" fmla="*/ 2147483647 w 1698"/>
                <a:gd name="T113" fmla="*/ 2147483647 h 14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98"/>
                <a:gd name="T172" fmla="*/ 0 h 1464"/>
                <a:gd name="T173" fmla="*/ 1698 w 1698"/>
                <a:gd name="T174" fmla="*/ 1464 h 14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98" h="1464">
                  <a:moveTo>
                    <a:pt x="1698" y="462"/>
                  </a:moveTo>
                  <a:lnTo>
                    <a:pt x="1686" y="468"/>
                  </a:lnTo>
                  <a:lnTo>
                    <a:pt x="1680" y="474"/>
                  </a:lnTo>
                  <a:lnTo>
                    <a:pt x="1674" y="480"/>
                  </a:lnTo>
                  <a:lnTo>
                    <a:pt x="1668" y="480"/>
                  </a:lnTo>
                  <a:lnTo>
                    <a:pt x="1662" y="486"/>
                  </a:lnTo>
                  <a:lnTo>
                    <a:pt x="1656" y="492"/>
                  </a:lnTo>
                  <a:lnTo>
                    <a:pt x="1644" y="498"/>
                  </a:lnTo>
                  <a:lnTo>
                    <a:pt x="1626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0" y="516"/>
                  </a:lnTo>
                  <a:lnTo>
                    <a:pt x="1590" y="522"/>
                  </a:lnTo>
                  <a:lnTo>
                    <a:pt x="1566" y="522"/>
                  </a:lnTo>
                  <a:lnTo>
                    <a:pt x="1506" y="510"/>
                  </a:lnTo>
                  <a:lnTo>
                    <a:pt x="1500" y="510"/>
                  </a:lnTo>
                  <a:lnTo>
                    <a:pt x="1488" y="504"/>
                  </a:lnTo>
                  <a:lnTo>
                    <a:pt x="1482" y="498"/>
                  </a:lnTo>
                  <a:lnTo>
                    <a:pt x="1476" y="498"/>
                  </a:lnTo>
                  <a:lnTo>
                    <a:pt x="1476" y="492"/>
                  </a:lnTo>
                  <a:lnTo>
                    <a:pt x="1470" y="492"/>
                  </a:lnTo>
                  <a:lnTo>
                    <a:pt x="1464" y="486"/>
                  </a:lnTo>
                  <a:lnTo>
                    <a:pt x="1452" y="486"/>
                  </a:lnTo>
                  <a:lnTo>
                    <a:pt x="1446" y="474"/>
                  </a:lnTo>
                  <a:lnTo>
                    <a:pt x="1434" y="468"/>
                  </a:lnTo>
                  <a:lnTo>
                    <a:pt x="1416" y="468"/>
                  </a:lnTo>
                  <a:lnTo>
                    <a:pt x="1392" y="468"/>
                  </a:lnTo>
                  <a:lnTo>
                    <a:pt x="1374" y="474"/>
                  </a:lnTo>
                  <a:lnTo>
                    <a:pt x="1368" y="474"/>
                  </a:lnTo>
                  <a:lnTo>
                    <a:pt x="1368" y="486"/>
                  </a:lnTo>
                  <a:lnTo>
                    <a:pt x="1368" y="498"/>
                  </a:lnTo>
                  <a:lnTo>
                    <a:pt x="1368" y="522"/>
                  </a:lnTo>
                  <a:lnTo>
                    <a:pt x="1368" y="534"/>
                  </a:lnTo>
                  <a:lnTo>
                    <a:pt x="1362" y="546"/>
                  </a:lnTo>
                  <a:lnTo>
                    <a:pt x="1356" y="546"/>
                  </a:lnTo>
                  <a:lnTo>
                    <a:pt x="1344" y="540"/>
                  </a:lnTo>
                  <a:lnTo>
                    <a:pt x="1338" y="534"/>
                  </a:lnTo>
                  <a:lnTo>
                    <a:pt x="1308" y="522"/>
                  </a:lnTo>
                  <a:lnTo>
                    <a:pt x="1296" y="522"/>
                  </a:lnTo>
                  <a:lnTo>
                    <a:pt x="1278" y="528"/>
                  </a:lnTo>
                  <a:lnTo>
                    <a:pt x="1260" y="534"/>
                  </a:lnTo>
                  <a:lnTo>
                    <a:pt x="1242" y="546"/>
                  </a:lnTo>
                  <a:lnTo>
                    <a:pt x="1236" y="552"/>
                  </a:lnTo>
                  <a:lnTo>
                    <a:pt x="1224" y="558"/>
                  </a:lnTo>
                  <a:lnTo>
                    <a:pt x="1218" y="558"/>
                  </a:lnTo>
                  <a:lnTo>
                    <a:pt x="1218" y="564"/>
                  </a:lnTo>
                  <a:lnTo>
                    <a:pt x="1224" y="570"/>
                  </a:lnTo>
                  <a:lnTo>
                    <a:pt x="1224" y="582"/>
                  </a:lnTo>
                  <a:lnTo>
                    <a:pt x="1224" y="594"/>
                  </a:lnTo>
                  <a:lnTo>
                    <a:pt x="1212" y="618"/>
                  </a:lnTo>
                  <a:lnTo>
                    <a:pt x="1212" y="624"/>
                  </a:lnTo>
                  <a:lnTo>
                    <a:pt x="1212" y="630"/>
                  </a:lnTo>
                  <a:lnTo>
                    <a:pt x="1212" y="636"/>
                  </a:lnTo>
                  <a:lnTo>
                    <a:pt x="1218" y="654"/>
                  </a:lnTo>
                  <a:lnTo>
                    <a:pt x="1224" y="672"/>
                  </a:lnTo>
                  <a:lnTo>
                    <a:pt x="1230" y="696"/>
                  </a:lnTo>
                  <a:lnTo>
                    <a:pt x="1236" y="708"/>
                  </a:lnTo>
                  <a:lnTo>
                    <a:pt x="1236" y="714"/>
                  </a:lnTo>
                  <a:lnTo>
                    <a:pt x="1236" y="720"/>
                  </a:lnTo>
                  <a:lnTo>
                    <a:pt x="1218" y="726"/>
                  </a:lnTo>
                  <a:lnTo>
                    <a:pt x="1212" y="726"/>
                  </a:lnTo>
                  <a:lnTo>
                    <a:pt x="1206" y="726"/>
                  </a:lnTo>
                  <a:lnTo>
                    <a:pt x="1194" y="720"/>
                  </a:lnTo>
                  <a:lnTo>
                    <a:pt x="1194" y="714"/>
                  </a:lnTo>
                  <a:lnTo>
                    <a:pt x="1176" y="714"/>
                  </a:lnTo>
                  <a:lnTo>
                    <a:pt x="1164" y="708"/>
                  </a:lnTo>
                  <a:lnTo>
                    <a:pt x="1158" y="708"/>
                  </a:lnTo>
                  <a:lnTo>
                    <a:pt x="1140" y="702"/>
                  </a:lnTo>
                  <a:lnTo>
                    <a:pt x="1134" y="696"/>
                  </a:lnTo>
                  <a:lnTo>
                    <a:pt x="1128" y="690"/>
                  </a:lnTo>
                  <a:lnTo>
                    <a:pt x="1116" y="678"/>
                  </a:lnTo>
                  <a:lnTo>
                    <a:pt x="1110" y="678"/>
                  </a:lnTo>
                  <a:lnTo>
                    <a:pt x="1104" y="672"/>
                  </a:lnTo>
                  <a:lnTo>
                    <a:pt x="1092" y="672"/>
                  </a:lnTo>
                  <a:lnTo>
                    <a:pt x="1086" y="672"/>
                  </a:lnTo>
                  <a:lnTo>
                    <a:pt x="1080" y="672"/>
                  </a:lnTo>
                  <a:lnTo>
                    <a:pt x="1074" y="672"/>
                  </a:lnTo>
                  <a:lnTo>
                    <a:pt x="1068" y="672"/>
                  </a:lnTo>
                  <a:lnTo>
                    <a:pt x="1062" y="678"/>
                  </a:lnTo>
                  <a:lnTo>
                    <a:pt x="1056" y="678"/>
                  </a:lnTo>
                  <a:lnTo>
                    <a:pt x="1056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6"/>
                  </a:lnTo>
                  <a:lnTo>
                    <a:pt x="1032" y="708"/>
                  </a:lnTo>
                  <a:lnTo>
                    <a:pt x="1026" y="708"/>
                  </a:lnTo>
                  <a:lnTo>
                    <a:pt x="1032" y="714"/>
                  </a:lnTo>
                  <a:lnTo>
                    <a:pt x="1026" y="720"/>
                  </a:lnTo>
                  <a:lnTo>
                    <a:pt x="1020" y="720"/>
                  </a:lnTo>
                  <a:lnTo>
                    <a:pt x="1014" y="732"/>
                  </a:lnTo>
                  <a:lnTo>
                    <a:pt x="1014" y="744"/>
                  </a:lnTo>
                  <a:lnTo>
                    <a:pt x="1038" y="810"/>
                  </a:lnTo>
                  <a:lnTo>
                    <a:pt x="1050" y="834"/>
                  </a:lnTo>
                  <a:lnTo>
                    <a:pt x="1056" y="858"/>
                  </a:lnTo>
                  <a:lnTo>
                    <a:pt x="1062" y="876"/>
                  </a:lnTo>
                  <a:lnTo>
                    <a:pt x="1068" y="882"/>
                  </a:lnTo>
                  <a:lnTo>
                    <a:pt x="1062" y="972"/>
                  </a:lnTo>
                  <a:lnTo>
                    <a:pt x="1056" y="972"/>
                  </a:lnTo>
                  <a:lnTo>
                    <a:pt x="1050" y="996"/>
                  </a:lnTo>
                  <a:lnTo>
                    <a:pt x="1044" y="1014"/>
                  </a:lnTo>
                  <a:lnTo>
                    <a:pt x="1008" y="1014"/>
                  </a:lnTo>
                  <a:lnTo>
                    <a:pt x="1008" y="1008"/>
                  </a:lnTo>
                  <a:lnTo>
                    <a:pt x="990" y="1008"/>
                  </a:lnTo>
                  <a:lnTo>
                    <a:pt x="972" y="1014"/>
                  </a:lnTo>
                  <a:lnTo>
                    <a:pt x="948" y="1020"/>
                  </a:lnTo>
                  <a:lnTo>
                    <a:pt x="918" y="1026"/>
                  </a:lnTo>
                  <a:lnTo>
                    <a:pt x="840" y="1032"/>
                  </a:lnTo>
                  <a:lnTo>
                    <a:pt x="834" y="1032"/>
                  </a:lnTo>
                  <a:lnTo>
                    <a:pt x="834" y="1026"/>
                  </a:lnTo>
                  <a:lnTo>
                    <a:pt x="822" y="1026"/>
                  </a:lnTo>
                  <a:lnTo>
                    <a:pt x="816" y="1032"/>
                  </a:lnTo>
                  <a:lnTo>
                    <a:pt x="804" y="1032"/>
                  </a:lnTo>
                  <a:lnTo>
                    <a:pt x="798" y="1026"/>
                  </a:lnTo>
                  <a:lnTo>
                    <a:pt x="780" y="1026"/>
                  </a:lnTo>
                  <a:lnTo>
                    <a:pt x="762" y="1026"/>
                  </a:lnTo>
                  <a:lnTo>
                    <a:pt x="756" y="1026"/>
                  </a:lnTo>
                  <a:lnTo>
                    <a:pt x="750" y="1026"/>
                  </a:lnTo>
                  <a:lnTo>
                    <a:pt x="756" y="1020"/>
                  </a:lnTo>
                  <a:lnTo>
                    <a:pt x="750" y="1020"/>
                  </a:lnTo>
                  <a:lnTo>
                    <a:pt x="744" y="1014"/>
                  </a:lnTo>
                  <a:lnTo>
                    <a:pt x="684" y="1020"/>
                  </a:lnTo>
                  <a:lnTo>
                    <a:pt x="648" y="1020"/>
                  </a:lnTo>
                  <a:lnTo>
                    <a:pt x="630" y="1020"/>
                  </a:lnTo>
                  <a:lnTo>
                    <a:pt x="618" y="1020"/>
                  </a:lnTo>
                  <a:lnTo>
                    <a:pt x="606" y="1014"/>
                  </a:lnTo>
                  <a:lnTo>
                    <a:pt x="582" y="1014"/>
                  </a:lnTo>
                  <a:lnTo>
                    <a:pt x="576" y="1014"/>
                  </a:lnTo>
                  <a:lnTo>
                    <a:pt x="570" y="1014"/>
                  </a:lnTo>
                  <a:lnTo>
                    <a:pt x="564" y="1020"/>
                  </a:lnTo>
                  <a:lnTo>
                    <a:pt x="558" y="1026"/>
                  </a:lnTo>
                  <a:lnTo>
                    <a:pt x="552" y="1032"/>
                  </a:lnTo>
                  <a:lnTo>
                    <a:pt x="552" y="1038"/>
                  </a:lnTo>
                  <a:lnTo>
                    <a:pt x="558" y="1194"/>
                  </a:lnTo>
                  <a:lnTo>
                    <a:pt x="558" y="1206"/>
                  </a:lnTo>
                  <a:lnTo>
                    <a:pt x="552" y="1218"/>
                  </a:lnTo>
                  <a:lnTo>
                    <a:pt x="552" y="1236"/>
                  </a:lnTo>
                  <a:lnTo>
                    <a:pt x="546" y="1272"/>
                  </a:lnTo>
                  <a:lnTo>
                    <a:pt x="546" y="1308"/>
                  </a:lnTo>
                  <a:lnTo>
                    <a:pt x="540" y="1332"/>
                  </a:lnTo>
                  <a:lnTo>
                    <a:pt x="546" y="1356"/>
                  </a:lnTo>
                  <a:lnTo>
                    <a:pt x="546" y="1362"/>
                  </a:lnTo>
                  <a:lnTo>
                    <a:pt x="546" y="1374"/>
                  </a:lnTo>
                  <a:lnTo>
                    <a:pt x="546" y="1380"/>
                  </a:lnTo>
                  <a:lnTo>
                    <a:pt x="540" y="1380"/>
                  </a:lnTo>
                  <a:lnTo>
                    <a:pt x="522" y="1380"/>
                  </a:lnTo>
                  <a:lnTo>
                    <a:pt x="516" y="1380"/>
                  </a:lnTo>
                  <a:lnTo>
                    <a:pt x="516" y="1386"/>
                  </a:lnTo>
                  <a:lnTo>
                    <a:pt x="516" y="1392"/>
                  </a:lnTo>
                  <a:lnTo>
                    <a:pt x="510" y="1392"/>
                  </a:lnTo>
                  <a:lnTo>
                    <a:pt x="504" y="1386"/>
                  </a:lnTo>
                  <a:lnTo>
                    <a:pt x="498" y="1392"/>
                  </a:lnTo>
                  <a:lnTo>
                    <a:pt x="492" y="1398"/>
                  </a:lnTo>
                  <a:lnTo>
                    <a:pt x="486" y="1398"/>
                  </a:lnTo>
                  <a:lnTo>
                    <a:pt x="486" y="1392"/>
                  </a:lnTo>
                  <a:lnTo>
                    <a:pt x="486" y="1380"/>
                  </a:lnTo>
                  <a:lnTo>
                    <a:pt x="486" y="1374"/>
                  </a:lnTo>
                  <a:lnTo>
                    <a:pt x="480" y="1374"/>
                  </a:lnTo>
                  <a:lnTo>
                    <a:pt x="474" y="1374"/>
                  </a:lnTo>
                  <a:lnTo>
                    <a:pt x="468" y="1380"/>
                  </a:lnTo>
                  <a:lnTo>
                    <a:pt x="462" y="1380"/>
                  </a:lnTo>
                  <a:lnTo>
                    <a:pt x="456" y="1380"/>
                  </a:lnTo>
                  <a:lnTo>
                    <a:pt x="450" y="1386"/>
                  </a:lnTo>
                  <a:lnTo>
                    <a:pt x="444" y="1386"/>
                  </a:lnTo>
                  <a:lnTo>
                    <a:pt x="444" y="1392"/>
                  </a:lnTo>
                  <a:lnTo>
                    <a:pt x="432" y="1398"/>
                  </a:lnTo>
                  <a:lnTo>
                    <a:pt x="426" y="1404"/>
                  </a:lnTo>
                  <a:lnTo>
                    <a:pt x="420" y="1404"/>
                  </a:lnTo>
                  <a:lnTo>
                    <a:pt x="408" y="1404"/>
                  </a:lnTo>
                  <a:lnTo>
                    <a:pt x="378" y="1410"/>
                  </a:lnTo>
                  <a:lnTo>
                    <a:pt x="372" y="1410"/>
                  </a:lnTo>
                  <a:lnTo>
                    <a:pt x="360" y="1410"/>
                  </a:lnTo>
                  <a:lnTo>
                    <a:pt x="354" y="1416"/>
                  </a:lnTo>
                  <a:lnTo>
                    <a:pt x="348" y="1416"/>
                  </a:lnTo>
                  <a:lnTo>
                    <a:pt x="342" y="1410"/>
                  </a:lnTo>
                  <a:lnTo>
                    <a:pt x="336" y="1410"/>
                  </a:lnTo>
                  <a:lnTo>
                    <a:pt x="336" y="1416"/>
                  </a:lnTo>
                  <a:lnTo>
                    <a:pt x="330" y="1422"/>
                  </a:lnTo>
                  <a:lnTo>
                    <a:pt x="324" y="1422"/>
                  </a:lnTo>
                  <a:lnTo>
                    <a:pt x="318" y="1422"/>
                  </a:lnTo>
                  <a:lnTo>
                    <a:pt x="312" y="1428"/>
                  </a:lnTo>
                  <a:lnTo>
                    <a:pt x="312" y="1434"/>
                  </a:lnTo>
                  <a:lnTo>
                    <a:pt x="300" y="1428"/>
                  </a:lnTo>
                  <a:lnTo>
                    <a:pt x="288" y="1434"/>
                  </a:lnTo>
                  <a:lnTo>
                    <a:pt x="282" y="1440"/>
                  </a:lnTo>
                  <a:lnTo>
                    <a:pt x="282" y="1446"/>
                  </a:lnTo>
                  <a:lnTo>
                    <a:pt x="276" y="1446"/>
                  </a:lnTo>
                  <a:lnTo>
                    <a:pt x="276" y="1452"/>
                  </a:lnTo>
                  <a:lnTo>
                    <a:pt x="270" y="1452"/>
                  </a:lnTo>
                  <a:lnTo>
                    <a:pt x="258" y="1464"/>
                  </a:lnTo>
                  <a:lnTo>
                    <a:pt x="240" y="1458"/>
                  </a:lnTo>
                  <a:lnTo>
                    <a:pt x="234" y="1452"/>
                  </a:lnTo>
                  <a:lnTo>
                    <a:pt x="234" y="1446"/>
                  </a:lnTo>
                  <a:lnTo>
                    <a:pt x="228" y="1446"/>
                  </a:lnTo>
                  <a:lnTo>
                    <a:pt x="222" y="1440"/>
                  </a:lnTo>
                  <a:lnTo>
                    <a:pt x="216" y="1440"/>
                  </a:lnTo>
                  <a:lnTo>
                    <a:pt x="210" y="1428"/>
                  </a:lnTo>
                  <a:lnTo>
                    <a:pt x="210" y="1422"/>
                  </a:lnTo>
                  <a:lnTo>
                    <a:pt x="198" y="1416"/>
                  </a:lnTo>
                  <a:lnTo>
                    <a:pt x="204" y="1410"/>
                  </a:lnTo>
                  <a:lnTo>
                    <a:pt x="210" y="1404"/>
                  </a:lnTo>
                  <a:lnTo>
                    <a:pt x="210" y="1398"/>
                  </a:lnTo>
                  <a:lnTo>
                    <a:pt x="252" y="1368"/>
                  </a:lnTo>
                  <a:lnTo>
                    <a:pt x="276" y="1350"/>
                  </a:lnTo>
                  <a:lnTo>
                    <a:pt x="300" y="1338"/>
                  </a:lnTo>
                  <a:lnTo>
                    <a:pt x="294" y="1314"/>
                  </a:lnTo>
                  <a:lnTo>
                    <a:pt x="288" y="1308"/>
                  </a:lnTo>
                  <a:lnTo>
                    <a:pt x="300" y="1266"/>
                  </a:lnTo>
                  <a:lnTo>
                    <a:pt x="300" y="1242"/>
                  </a:lnTo>
                  <a:lnTo>
                    <a:pt x="300" y="1206"/>
                  </a:lnTo>
                  <a:lnTo>
                    <a:pt x="300" y="1164"/>
                  </a:lnTo>
                  <a:lnTo>
                    <a:pt x="294" y="1134"/>
                  </a:lnTo>
                  <a:lnTo>
                    <a:pt x="282" y="1086"/>
                  </a:lnTo>
                  <a:lnTo>
                    <a:pt x="276" y="1074"/>
                  </a:lnTo>
                  <a:lnTo>
                    <a:pt x="276" y="1056"/>
                  </a:lnTo>
                  <a:lnTo>
                    <a:pt x="270" y="1038"/>
                  </a:lnTo>
                  <a:lnTo>
                    <a:pt x="270" y="1020"/>
                  </a:lnTo>
                  <a:lnTo>
                    <a:pt x="282" y="1020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94" y="1002"/>
                  </a:lnTo>
                  <a:lnTo>
                    <a:pt x="306" y="996"/>
                  </a:lnTo>
                  <a:lnTo>
                    <a:pt x="312" y="990"/>
                  </a:lnTo>
                  <a:lnTo>
                    <a:pt x="318" y="990"/>
                  </a:lnTo>
                  <a:lnTo>
                    <a:pt x="324" y="984"/>
                  </a:lnTo>
                  <a:lnTo>
                    <a:pt x="324" y="978"/>
                  </a:lnTo>
                  <a:lnTo>
                    <a:pt x="324" y="972"/>
                  </a:lnTo>
                  <a:lnTo>
                    <a:pt x="324" y="954"/>
                  </a:lnTo>
                  <a:lnTo>
                    <a:pt x="336" y="948"/>
                  </a:lnTo>
                  <a:lnTo>
                    <a:pt x="342" y="936"/>
                  </a:lnTo>
                  <a:lnTo>
                    <a:pt x="348" y="924"/>
                  </a:lnTo>
                  <a:lnTo>
                    <a:pt x="354" y="924"/>
                  </a:lnTo>
                  <a:lnTo>
                    <a:pt x="372" y="924"/>
                  </a:lnTo>
                  <a:lnTo>
                    <a:pt x="372" y="930"/>
                  </a:lnTo>
                  <a:lnTo>
                    <a:pt x="378" y="930"/>
                  </a:lnTo>
                  <a:lnTo>
                    <a:pt x="378" y="936"/>
                  </a:lnTo>
                  <a:lnTo>
                    <a:pt x="384" y="936"/>
                  </a:lnTo>
                  <a:lnTo>
                    <a:pt x="384" y="942"/>
                  </a:lnTo>
                  <a:lnTo>
                    <a:pt x="402" y="942"/>
                  </a:lnTo>
                  <a:lnTo>
                    <a:pt x="402" y="996"/>
                  </a:lnTo>
                  <a:lnTo>
                    <a:pt x="414" y="996"/>
                  </a:lnTo>
                  <a:lnTo>
                    <a:pt x="420" y="996"/>
                  </a:lnTo>
                  <a:lnTo>
                    <a:pt x="426" y="996"/>
                  </a:lnTo>
                  <a:lnTo>
                    <a:pt x="432" y="996"/>
                  </a:lnTo>
                  <a:lnTo>
                    <a:pt x="438" y="996"/>
                  </a:lnTo>
                  <a:lnTo>
                    <a:pt x="438" y="942"/>
                  </a:lnTo>
                  <a:lnTo>
                    <a:pt x="444" y="930"/>
                  </a:lnTo>
                  <a:lnTo>
                    <a:pt x="444" y="924"/>
                  </a:lnTo>
                  <a:lnTo>
                    <a:pt x="444" y="918"/>
                  </a:lnTo>
                  <a:lnTo>
                    <a:pt x="462" y="918"/>
                  </a:lnTo>
                  <a:lnTo>
                    <a:pt x="474" y="906"/>
                  </a:lnTo>
                  <a:lnTo>
                    <a:pt x="480" y="900"/>
                  </a:lnTo>
                  <a:lnTo>
                    <a:pt x="486" y="888"/>
                  </a:lnTo>
                  <a:lnTo>
                    <a:pt x="492" y="876"/>
                  </a:lnTo>
                  <a:lnTo>
                    <a:pt x="492" y="858"/>
                  </a:lnTo>
                  <a:lnTo>
                    <a:pt x="480" y="858"/>
                  </a:lnTo>
                  <a:lnTo>
                    <a:pt x="474" y="840"/>
                  </a:lnTo>
                  <a:lnTo>
                    <a:pt x="450" y="834"/>
                  </a:lnTo>
                  <a:lnTo>
                    <a:pt x="438" y="816"/>
                  </a:lnTo>
                  <a:lnTo>
                    <a:pt x="432" y="792"/>
                  </a:lnTo>
                  <a:lnTo>
                    <a:pt x="432" y="786"/>
                  </a:lnTo>
                  <a:lnTo>
                    <a:pt x="432" y="774"/>
                  </a:lnTo>
                  <a:lnTo>
                    <a:pt x="432" y="762"/>
                  </a:lnTo>
                  <a:lnTo>
                    <a:pt x="438" y="750"/>
                  </a:lnTo>
                  <a:lnTo>
                    <a:pt x="438" y="738"/>
                  </a:lnTo>
                  <a:lnTo>
                    <a:pt x="444" y="732"/>
                  </a:lnTo>
                  <a:lnTo>
                    <a:pt x="450" y="732"/>
                  </a:lnTo>
                  <a:lnTo>
                    <a:pt x="456" y="732"/>
                  </a:lnTo>
                  <a:lnTo>
                    <a:pt x="456" y="726"/>
                  </a:lnTo>
                  <a:lnTo>
                    <a:pt x="456" y="714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44" y="684"/>
                  </a:lnTo>
                  <a:lnTo>
                    <a:pt x="438" y="666"/>
                  </a:lnTo>
                  <a:lnTo>
                    <a:pt x="426" y="666"/>
                  </a:lnTo>
                  <a:lnTo>
                    <a:pt x="432" y="666"/>
                  </a:lnTo>
                  <a:lnTo>
                    <a:pt x="420" y="666"/>
                  </a:lnTo>
                  <a:lnTo>
                    <a:pt x="414" y="660"/>
                  </a:lnTo>
                  <a:lnTo>
                    <a:pt x="396" y="654"/>
                  </a:lnTo>
                  <a:lnTo>
                    <a:pt x="384" y="642"/>
                  </a:lnTo>
                  <a:lnTo>
                    <a:pt x="366" y="624"/>
                  </a:lnTo>
                  <a:lnTo>
                    <a:pt x="354" y="606"/>
                  </a:lnTo>
                  <a:lnTo>
                    <a:pt x="342" y="588"/>
                  </a:lnTo>
                  <a:lnTo>
                    <a:pt x="342" y="582"/>
                  </a:lnTo>
                  <a:lnTo>
                    <a:pt x="360" y="564"/>
                  </a:lnTo>
                  <a:lnTo>
                    <a:pt x="372" y="540"/>
                  </a:lnTo>
                  <a:lnTo>
                    <a:pt x="366" y="528"/>
                  </a:lnTo>
                  <a:lnTo>
                    <a:pt x="366" y="522"/>
                  </a:lnTo>
                  <a:lnTo>
                    <a:pt x="372" y="516"/>
                  </a:lnTo>
                  <a:lnTo>
                    <a:pt x="384" y="504"/>
                  </a:lnTo>
                  <a:lnTo>
                    <a:pt x="378" y="492"/>
                  </a:lnTo>
                  <a:lnTo>
                    <a:pt x="378" y="486"/>
                  </a:lnTo>
                  <a:lnTo>
                    <a:pt x="378" y="480"/>
                  </a:lnTo>
                  <a:lnTo>
                    <a:pt x="378" y="474"/>
                  </a:lnTo>
                  <a:lnTo>
                    <a:pt x="378" y="468"/>
                  </a:lnTo>
                  <a:lnTo>
                    <a:pt x="366" y="468"/>
                  </a:lnTo>
                  <a:lnTo>
                    <a:pt x="360" y="474"/>
                  </a:lnTo>
                  <a:lnTo>
                    <a:pt x="354" y="480"/>
                  </a:lnTo>
                  <a:lnTo>
                    <a:pt x="348" y="486"/>
                  </a:lnTo>
                  <a:lnTo>
                    <a:pt x="348" y="492"/>
                  </a:lnTo>
                  <a:lnTo>
                    <a:pt x="336" y="510"/>
                  </a:lnTo>
                  <a:lnTo>
                    <a:pt x="300" y="516"/>
                  </a:lnTo>
                  <a:lnTo>
                    <a:pt x="300" y="510"/>
                  </a:lnTo>
                  <a:lnTo>
                    <a:pt x="282" y="504"/>
                  </a:lnTo>
                  <a:lnTo>
                    <a:pt x="282" y="498"/>
                  </a:lnTo>
                  <a:lnTo>
                    <a:pt x="264" y="486"/>
                  </a:lnTo>
                  <a:lnTo>
                    <a:pt x="258" y="492"/>
                  </a:lnTo>
                  <a:lnTo>
                    <a:pt x="234" y="492"/>
                  </a:lnTo>
                  <a:lnTo>
                    <a:pt x="222" y="486"/>
                  </a:lnTo>
                  <a:lnTo>
                    <a:pt x="204" y="480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92" y="462"/>
                  </a:lnTo>
                  <a:lnTo>
                    <a:pt x="186" y="462"/>
                  </a:lnTo>
                  <a:lnTo>
                    <a:pt x="180" y="468"/>
                  </a:lnTo>
                  <a:lnTo>
                    <a:pt x="150" y="450"/>
                  </a:lnTo>
                  <a:lnTo>
                    <a:pt x="144" y="438"/>
                  </a:lnTo>
                  <a:lnTo>
                    <a:pt x="138" y="438"/>
                  </a:lnTo>
                  <a:lnTo>
                    <a:pt x="132" y="432"/>
                  </a:lnTo>
                  <a:lnTo>
                    <a:pt x="126" y="432"/>
                  </a:lnTo>
                  <a:lnTo>
                    <a:pt x="120" y="432"/>
                  </a:lnTo>
                  <a:lnTo>
                    <a:pt x="102" y="426"/>
                  </a:lnTo>
                  <a:lnTo>
                    <a:pt x="96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2" y="414"/>
                  </a:lnTo>
                  <a:lnTo>
                    <a:pt x="60" y="414"/>
                  </a:lnTo>
                  <a:lnTo>
                    <a:pt x="30" y="414"/>
                  </a:lnTo>
                  <a:lnTo>
                    <a:pt x="24" y="414"/>
                  </a:lnTo>
                  <a:lnTo>
                    <a:pt x="12" y="414"/>
                  </a:lnTo>
                  <a:lnTo>
                    <a:pt x="0" y="420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0" y="336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30" y="270"/>
                  </a:lnTo>
                  <a:lnTo>
                    <a:pt x="42" y="270"/>
                  </a:lnTo>
                  <a:lnTo>
                    <a:pt x="54" y="264"/>
                  </a:lnTo>
                  <a:lnTo>
                    <a:pt x="78" y="240"/>
                  </a:lnTo>
                  <a:lnTo>
                    <a:pt x="102" y="216"/>
                  </a:lnTo>
                  <a:lnTo>
                    <a:pt x="114" y="210"/>
                  </a:lnTo>
                  <a:lnTo>
                    <a:pt x="120" y="204"/>
                  </a:lnTo>
                  <a:lnTo>
                    <a:pt x="126" y="198"/>
                  </a:lnTo>
                  <a:lnTo>
                    <a:pt x="138" y="18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38"/>
                  </a:lnTo>
                  <a:lnTo>
                    <a:pt x="210" y="126"/>
                  </a:lnTo>
                  <a:lnTo>
                    <a:pt x="216" y="120"/>
                  </a:lnTo>
                  <a:lnTo>
                    <a:pt x="222" y="120"/>
                  </a:lnTo>
                  <a:lnTo>
                    <a:pt x="258" y="114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300" y="102"/>
                  </a:lnTo>
                  <a:lnTo>
                    <a:pt x="312" y="102"/>
                  </a:lnTo>
                  <a:lnTo>
                    <a:pt x="318" y="102"/>
                  </a:lnTo>
                  <a:lnTo>
                    <a:pt x="348" y="96"/>
                  </a:lnTo>
                  <a:lnTo>
                    <a:pt x="366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408" y="84"/>
                  </a:lnTo>
                  <a:lnTo>
                    <a:pt x="420" y="84"/>
                  </a:lnTo>
                  <a:lnTo>
                    <a:pt x="462" y="72"/>
                  </a:lnTo>
                  <a:lnTo>
                    <a:pt x="474" y="72"/>
                  </a:lnTo>
                  <a:lnTo>
                    <a:pt x="474" y="78"/>
                  </a:lnTo>
                  <a:lnTo>
                    <a:pt x="492" y="90"/>
                  </a:lnTo>
                  <a:lnTo>
                    <a:pt x="498" y="90"/>
                  </a:lnTo>
                  <a:lnTo>
                    <a:pt x="522" y="96"/>
                  </a:lnTo>
                  <a:lnTo>
                    <a:pt x="540" y="96"/>
                  </a:lnTo>
                  <a:lnTo>
                    <a:pt x="546" y="96"/>
                  </a:lnTo>
                  <a:lnTo>
                    <a:pt x="558" y="96"/>
                  </a:lnTo>
                  <a:lnTo>
                    <a:pt x="564" y="96"/>
                  </a:lnTo>
                  <a:lnTo>
                    <a:pt x="576" y="96"/>
                  </a:lnTo>
                  <a:lnTo>
                    <a:pt x="588" y="96"/>
                  </a:lnTo>
                  <a:lnTo>
                    <a:pt x="612" y="90"/>
                  </a:lnTo>
                  <a:lnTo>
                    <a:pt x="624" y="90"/>
                  </a:lnTo>
                  <a:lnTo>
                    <a:pt x="636" y="90"/>
                  </a:lnTo>
                  <a:lnTo>
                    <a:pt x="642" y="90"/>
                  </a:lnTo>
                  <a:lnTo>
                    <a:pt x="648" y="96"/>
                  </a:lnTo>
                  <a:lnTo>
                    <a:pt x="660" y="96"/>
                  </a:lnTo>
                  <a:lnTo>
                    <a:pt x="666" y="96"/>
                  </a:lnTo>
                  <a:lnTo>
                    <a:pt x="672" y="96"/>
                  </a:lnTo>
                  <a:lnTo>
                    <a:pt x="684" y="96"/>
                  </a:lnTo>
                  <a:lnTo>
                    <a:pt x="708" y="96"/>
                  </a:lnTo>
                  <a:lnTo>
                    <a:pt x="714" y="96"/>
                  </a:lnTo>
                  <a:lnTo>
                    <a:pt x="726" y="96"/>
                  </a:lnTo>
                  <a:lnTo>
                    <a:pt x="738" y="84"/>
                  </a:lnTo>
                  <a:lnTo>
                    <a:pt x="744" y="78"/>
                  </a:lnTo>
                  <a:lnTo>
                    <a:pt x="756" y="66"/>
                  </a:lnTo>
                  <a:lnTo>
                    <a:pt x="774" y="42"/>
                  </a:lnTo>
                  <a:lnTo>
                    <a:pt x="780" y="30"/>
                  </a:lnTo>
                  <a:lnTo>
                    <a:pt x="816" y="24"/>
                  </a:lnTo>
                  <a:lnTo>
                    <a:pt x="840" y="18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64" y="6"/>
                  </a:lnTo>
                  <a:lnTo>
                    <a:pt x="870" y="6"/>
                  </a:lnTo>
                  <a:lnTo>
                    <a:pt x="894" y="0"/>
                  </a:lnTo>
                  <a:lnTo>
                    <a:pt x="900" y="6"/>
                  </a:lnTo>
                  <a:lnTo>
                    <a:pt x="930" y="18"/>
                  </a:lnTo>
                  <a:lnTo>
                    <a:pt x="942" y="24"/>
                  </a:lnTo>
                  <a:lnTo>
                    <a:pt x="954" y="30"/>
                  </a:lnTo>
                  <a:lnTo>
                    <a:pt x="1026" y="60"/>
                  </a:lnTo>
                  <a:lnTo>
                    <a:pt x="1032" y="60"/>
                  </a:lnTo>
                  <a:lnTo>
                    <a:pt x="1038" y="66"/>
                  </a:lnTo>
                  <a:lnTo>
                    <a:pt x="1068" y="72"/>
                  </a:lnTo>
                  <a:lnTo>
                    <a:pt x="1098" y="84"/>
                  </a:lnTo>
                  <a:lnTo>
                    <a:pt x="1122" y="90"/>
                  </a:lnTo>
                  <a:lnTo>
                    <a:pt x="1122" y="96"/>
                  </a:lnTo>
                  <a:lnTo>
                    <a:pt x="1140" y="102"/>
                  </a:lnTo>
                  <a:lnTo>
                    <a:pt x="1182" y="114"/>
                  </a:lnTo>
                  <a:lnTo>
                    <a:pt x="1188" y="114"/>
                  </a:lnTo>
                  <a:lnTo>
                    <a:pt x="1200" y="120"/>
                  </a:lnTo>
                  <a:lnTo>
                    <a:pt x="1212" y="126"/>
                  </a:lnTo>
                  <a:lnTo>
                    <a:pt x="1224" y="126"/>
                  </a:lnTo>
                  <a:lnTo>
                    <a:pt x="1248" y="138"/>
                  </a:lnTo>
                  <a:lnTo>
                    <a:pt x="1272" y="150"/>
                  </a:lnTo>
                  <a:lnTo>
                    <a:pt x="1284" y="156"/>
                  </a:lnTo>
                  <a:lnTo>
                    <a:pt x="1290" y="162"/>
                  </a:lnTo>
                  <a:lnTo>
                    <a:pt x="1296" y="162"/>
                  </a:lnTo>
                  <a:lnTo>
                    <a:pt x="1308" y="156"/>
                  </a:lnTo>
                  <a:lnTo>
                    <a:pt x="1320" y="150"/>
                  </a:lnTo>
                  <a:lnTo>
                    <a:pt x="1326" y="150"/>
                  </a:lnTo>
                  <a:lnTo>
                    <a:pt x="1338" y="144"/>
                  </a:lnTo>
                  <a:lnTo>
                    <a:pt x="1362" y="144"/>
                  </a:lnTo>
                  <a:lnTo>
                    <a:pt x="1368" y="144"/>
                  </a:lnTo>
                  <a:lnTo>
                    <a:pt x="1374" y="144"/>
                  </a:lnTo>
                  <a:lnTo>
                    <a:pt x="1386" y="150"/>
                  </a:lnTo>
                  <a:lnTo>
                    <a:pt x="1392" y="150"/>
                  </a:lnTo>
                  <a:lnTo>
                    <a:pt x="1398" y="150"/>
                  </a:lnTo>
                  <a:lnTo>
                    <a:pt x="1416" y="162"/>
                  </a:lnTo>
                  <a:lnTo>
                    <a:pt x="1458" y="186"/>
                  </a:lnTo>
                  <a:lnTo>
                    <a:pt x="1464" y="186"/>
                  </a:lnTo>
                  <a:lnTo>
                    <a:pt x="1470" y="192"/>
                  </a:lnTo>
                  <a:lnTo>
                    <a:pt x="1482" y="204"/>
                  </a:lnTo>
                  <a:lnTo>
                    <a:pt x="1512" y="234"/>
                  </a:lnTo>
                  <a:lnTo>
                    <a:pt x="1554" y="276"/>
                  </a:lnTo>
                  <a:lnTo>
                    <a:pt x="1560" y="276"/>
                  </a:lnTo>
                  <a:lnTo>
                    <a:pt x="1566" y="282"/>
                  </a:lnTo>
                  <a:lnTo>
                    <a:pt x="1578" y="294"/>
                  </a:lnTo>
                  <a:lnTo>
                    <a:pt x="1602" y="318"/>
                  </a:lnTo>
                  <a:lnTo>
                    <a:pt x="1614" y="330"/>
                  </a:lnTo>
                  <a:lnTo>
                    <a:pt x="1620" y="336"/>
                  </a:lnTo>
                  <a:lnTo>
                    <a:pt x="1626" y="342"/>
                  </a:lnTo>
                  <a:lnTo>
                    <a:pt x="1632" y="354"/>
                  </a:lnTo>
                  <a:lnTo>
                    <a:pt x="1644" y="366"/>
                  </a:lnTo>
                  <a:lnTo>
                    <a:pt x="1650" y="378"/>
                  </a:lnTo>
                  <a:lnTo>
                    <a:pt x="1650" y="384"/>
                  </a:lnTo>
                  <a:lnTo>
                    <a:pt x="1656" y="384"/>
                  </a:lnTo>
                  <a:lnTo>
                    <a:pt x="1662" y="402"/>
                  </a:lnTo>
                  <a:lnTo>
                    <a:pt x="1668" y="408"/>
                  </a:lnTo>
                  <a:lnTo>
                    <a:pt x="1674" y="426"/>
                  </a:lnTo>
                  <a:lnTo>
                    <a:pt x="1686" y="438"/>
                  </a:lnTo>
                  <a:lnTo>
                    <a:pt x="1698" y="46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27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121" name="Freeform 35">
              <a:extLst>
                <a:ext uri="{FF2B5EF4-FFF2-40B4-BE49-F238E27FC236}">
                  <a16:creationId xmlns:a16="http://schemas.microsoft.com/office/drawing/2014/main" id="{2AF4DA4B-1E6B-4B2E-8707-AFD987344CA5}"/>
                </a:ext>
              </a:extLst>
            </p:cNvPr>
            <p:cNvSpPr>
              <a:spLocks/>
            </p:cNvSpPr>
            <p:nvPr/>
          </p:nvSpPr>
          <p:spPr bwMode="gray">
            <a:xfrm>
              <a:off x="1992313" y="963614"/>
              <a:ext cx="1530350" cy="1863725"/>
            </a:xfrm>
            <a:custGeom>
              <a:avLst/>
              <a:gdLst>
                <a:gd name="T0" fmla="*/ 2147483647 w 1638"/>
                <a:gd name="T1" fmla="*/ 2147483647 h 1998"/>
                <a:gd name="T2" fmla="*/ 2147483647 w 1638"/>
                <a:gd name="T3" fmla="*/ 2147483647 h 1998"/>
                <a:gd name="T4" fmla="*/ 2147483647 w 1638"/>
                <a:gd name="T5" fmla="*/ 2147483647 h 1998"/>
                <a:gd name="T6" fmla="*/ 2147483647 w 1638"/>
                <a:gd name="T7" fmla="*/ 2147483647 h 1998"/>
                <a:gd name="T8" fmla="*/ 2147483647 w 1638"/>
                <a:gd name="T9" fmla="*/ 2147483647 h 1998"/>
                <a:gd name="T10" fmla="*/ 2147483647 w 1638"/>
                <a:gd name="T11" fmla="*/ 2147483647 h 1998"/>
                <a:gd name="T12" fmla="*/ 2147483647 w 1638"/>
                <a:gd name="T13" fmla="*/ 2147483647 h 1998"/>
                <a:gd name="T14" fmla="*/ 2147483647 w 1638"/>
                <a:gd name="T15" fmla="*/ 2147483647 h 1998"/>
                <a:gd name="T16" fmla="*/ 2147483647 w 1638"/>
                <a:gd name="T17" fmla="*/ 2147483647 h 1998"/>
                <a:gd name="T18" fmla="*/ 2147483647 w 1638"/>
                <a:gd name="T19" fmla="*/ 2147483647 h 1998"/>
                <a:gd name="T20" fmla="*/ 2147483647 w 1638"/>
                <a:gd name="T21" fmla="*/ 2147483647 h 1998"/>
                <a:gd name="T22" fmla="*/ 2147483647 w 1638"/>
                <a:gd name="T23" fmla="*/ 2147483647 h 1998"/>
                <a:gd name="T24" fmla="*/ 2147483647 w 1638"/>
                <a:gd name="T25" fmla="*/ 2147483647 h 1998"/>
                <a:gd name="T26" fmla="*/ 2147483647 w 1638"/>
                <a:gd name="T27" fmla="*/ 2147483647 h 1998"/>
                <a:gd name="T28" fmla="*/ 2147483647 w 1638"/>
                <a:gd name="T29" fmla="*/ 2147483647 h 1998"/>
                <a:gd name="T30" fmla="*/ 2147483647 w 1638"/>
                <a:gd name="T31" fmla="*/ 2147483647 h 1998"/>
                <a:gd name="T32" fmla="*/ 2147483647 w 1638"/>
                <a:gd name="T33" fmla="*/ 2147483647 h 1998"/>
                <a:gd name="T34" fmla="*/ 2147483647 w 1638"/>
                <a:gd name="T35" fmla="*/ 2147483647 h 1998"/>
                <a:gd name="T36" fmla="*/ 2147483647 w 1638"/>
                <a:gd name="T37" fmla="*/ 2147483647 h 1998"/>
                <a:gd name="T38" fmla="*/ 2147483647 w 1638"/>
                <a:gd name="T39" fmla="*/ 2147483647 h 1998"/>
                <a:gd name="T40" fmla="*/ 2147483647 w 1638"/>
                <a:gd name="T41" fmla="*/ 2147483647 h 1998"/>
                <a:gd name="T42" fmla="*/ 2147483647 w 1638"/>
                <a:gd name="T43" fmla="*/ 2147483647 h 1998"/>
                <a:gd name="T44" fmla="*/ 2147483647 w 1638"/>
                <a:gd name="T45" fmla="*/ 2147483647 h 1998"/>
                <a:gd name="T46" fmla="*/ 2147483647 w 1638"/>
                <a:gd name="T47" fmla="*/ 2147483647 h 1998"/>
                <a:gd name="T48" fmla="*/ 2147483647 w 1638"/>
                <a:gd name="T49" fmla="*/ 2147483647 h 1998"/>
                <a:gd name="T50" fmla="*/ 2147483647 w 1638"/>
                <a:gd name="T51" fmla="*/ 2147483647 h 1998"/>
                <a:gd name="T52" fmla="*/ 2147483647 w 1638"/>
                <a:gd name="T53" fmla="*/ 2147483647 h 1998"/>
                <a:gd name="T54" fmla="*/ 2147483647 w 1638"/>
                <a:gd name="T55" fmla="*/ 2147483647 h 1998"/>
                <a:gd name="T56" fmla="*/ 2147483647 w 1638"/>
                <a:gd name="T57" fmla="*/ 2147483647 h 1998"/>
                <a:gd name="T58" fmla="*/ 2147483647 w 1638"/>
                <a:gd name="T59" fmla="*/ 2147483647 h 1998"/>
                <a:gd name="T60" fmla="*/ 2147483647 w 1638"/>
                <a:gd name="T61" fmla="*/ 2147483647 h 1998"/>
                <a:gd name="T62" fmla="*/ 2147483647 w 1638"/>
                <a:gd name="T63" fmla="*/ 2147483647 h 1998"/>
                <a:gd name="T64" fmla="*/ 2147483647 w 1638"/>
                <a:gd name="T65" fmla="*/ 2147483647 h 1998"/>
                <a:gd name="T66" fmla="*/ 2147483647 w 1638"/>
                <a:gd name="T67" fmla="*/ 2147483647 h 1998"/>
                <a:gd name="T68" fmla="*/ 2147483647 w 1638"/>
                <a:gd name="T69" fmla="*/ 2147483647 h 1998"/>
                <a:gd name="T70" fmla="*/ 2147483647 w 1638"/>
                <a:gd name="T71" fmla="*/ 2147483647 h 1998"/>
                <a:gd name="T72" fmla="*/ 2147483647 w 1638"/>
                <a:gd name="T73" fmla="*/ 2147483647 h 1998"/>
                <a:gd name="T74" fmla="*/ 2147483647 w 1638"/>
                <a:gd name="T75" fmla="*/ 2147483647 h 1998"/>
                <a:gd name="T76" fmla="*/ 2147483647 w 1638"/>
                <a:gd name="T77" fmla="*/ 2147483647 h 1998"/>
                <a:gd name="T78" fmla="*/ 2147483647 w 1638"/>
                <a:gd name="T79" fmla="*/ 2147483647 h 1998"/>
                <a:gd name="T80" fmla="*/ 2147483647 w 1638"/>
                <a:gd name="T81" fmla="*/ 2147483647 h 1998"/>
                <a:gd name="T82" fmla="*/ 2147483647 w 1638"/>
                <a:gd name="T83" fmla="*/ 2147483647 h 1998"/>
                <a:gd name="T84" fmla="*/ 2147483647 w 1638"/>
                <a:gd name="T85" fmla="*/ 2147483647 h 1998"/>
                <a:gd name="T86" fmla="*/ 2147483647 w 1638"/>
                <a:gd name="T87" fmla="*/ 2147483647 h 1998"/>
                <a:gd name="T88" fmla="*/ 2147483647 w 1638"/>
                <a:gd name="T89" fmla="*/ 2147483647 h 1998"/>
                <a:gd name="T90" fmla="*/ 2147483647 w 1638"/>
                <a:gd name="T91" fmla="*/ 2147483647 h 1998"/>
                <a:gd name="T92" fmla="*/ 2147483647 w 1638"/>
                <a:gd name="T93" fmla="*/ 2147483647 h 1998"/>
                <a:gd name="T94" fmla="*/ 2147483647 w 1638"/>
                <a:gd name="T95" fmla="*/ 2147483647 h 1998"/>
                <a:gd name="T96" fmla="*/ 2147483647 w 1638"/>
                <a:gd name="T97" fmla="*/ 2147483647 h 1998"/>
                <a:gd name="T98" fmla="*/ 2147483647 w 1638"/>
                <a:gd name="T99" fmla="*/ 2147483647 h 1998"/>
                <a:gd name="T100" fmla="*/ 2147483647 w 1638"/>
                <a:gd name="T101" fmla="*/ 2147483647 h 1998"/>
                <a:gd name="T102" fmla="*/ 2147483647 w 1638"/>
                <a:gd name="T103" fmla="*/ 2147483647 h 1998"/>
                <a:gd name="T104" fmla="*/ 2147483647 w 1638"/>
                <a:gd name="T105" fmla="*/ 2147483647 h 1998"/>
                <a:gd name="T106" fmla="*/ 2147483647 w 1638"/>
                <a:gd name="T107" fmla="*/ 2147483647 h 1998"/>
                <a:gd name="T108" fmla="*/ 2147483647 w 1638"/>
                <a:gd name="T109" fmla="*/ 2147483647 h 1998"/>
                <a:gd name="T110" fmla="*/ 2147483647 w 1638"/>
                <a:gd name="T111" fmla="*/ 2147483647 h 1998"/>
                <a:gd name="T112" fmla="*/ 2147483647 w 1638"/>
                <a:gd name="T113" fmla="*/ 2147483647 h 1998"/>
                <a:gd name="T114" fmla="*/ 2147483647 w 1638"/>
                <a:gd name="T115" fmla="*/ 2147483647 h 1998"/>
                <a:gd name="T116" fmla="*/ 2147483647 w 1638"/>
                <a:gd name="T117" fmla="*/ 2147483647 h 1998"/>
                <a:gd name="T118" fmla="*/ 2147483647 w 1638"/>
                <a:gd name="T119" fmla="*/ 2147483647 h 1998"/>
                <a:gd name="T120" fmla="*/ 2147483647 w 1638"/>
                <a:gd name="T121" fmla="*/ 2147483647 h 1998"/>
                <a:gd name="T122" fmla="*/ 2147483647 w 1638"/>
                <a:gd name="T123" fmla="*/ 2147483647 h 19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638"/>
                <a:gd name="T187" fmla="*/ 0 h 1998"/>
                <a:gd name="T188" fmla="*/ 1638 w 1638"/>
                <a:gd name="T189" fmla="*/ 1998 h 19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638" h="1998">
                  <a:moveTo>
                    <a:pt x="144" y="1380"/>
                  </a:moveTo>
                  <a:lnTo>
                    <a:pt x="150" y="1368"/>
                  </a:lnTo>
                  <a:lnTo>
                    <a:pt x="150" y="1362"/>
                  </a:lnTo>
                  <a:lnTo>
                    <a:pt x="150" y="1356"/>
                  </a:lnTo>
                  <a:lnTo>
                    <a:pt x="144" y="1356"/>
                  </a:lnTo>
                  <a:lnTo>
                    <a:pt x="138" y="1356"/>
                  </a:lnTo>
                  <a:lnTo>
                    <a:pt x="126" y="1356"/>
                  </a:lnTo>
                  <a:lnTo>
                    <a:pt x="114" y="1344"/>
                  </a:lnTo>
                  <a:lnTo>
                    <a:pt x="84" y="1320"/>
                  </a:lnTo>
                  <a:lnTo>
                    <a:pt x="54" y="1296"/>
                  </a:lnTo>
                  <a:lnTo>
                    <a:pt x="48" y="1290"/>
                  </a:lnTo>
                  <a:lnTo>
                    <a:pt x="42" y="1278"/>
                  </a:lnTo>
                  <a:lnTo>
                    <a:pt x="30" y="1272"/>
                  </a:lnTo>
                  <a:lnTo>
                    <a:pt x="0" y="1248"/>
                  </a:lnTo>
                  <a:lnTo>
                    <a:pt x="6" y="1230"/>
                  </a:lnTo>
                  <a:lnTo>
                    <a:pt x="12" y="1194"/>
                  </a:lnTo>
                  <a:lnTo>
                    <a:pt x="18" y="1170"/>
                  </a:lnTo>
                  <a:lnTo>
                    <a:pt x="30" y="1134"/>
                  </a:lnTo>
                  <a:lnTo>
                    <a:pt x="36" y="1086"/>
                  </a:lnTo>
                  <a:lnTo>
                    <a:pt x="42" y="1050"/>
                  </a:lnTo>
                  <a:lnTo>
                    <a:pt x="48" y="1044"/>
                  </a:lnTo>
                  <a:lnTo>
                    <a:pt x="54" y="1026"/>
                  </a:lnTo>
                  <a:lnTo>
                    <a:pt x="60" y="1014"/>
                  </a:lnTo>
                  <a:lnTo>
                    <a:pt x="66" y="1002"/>
                  </a:lnTo>
                  <a:lnTo>
                    <a:pt x="66" y="996"/>
                  </a:lnTo>
                  <a:lnTo>
                    <a:pt x="72" y="996"/>
                  </a:lnTo>
                  <a:lnTo>
                    <a:pt x="72" y="990"/>
                  </a:lnTo>
                  <a:lnTo>
                    <a:pt x="78" y="990"/>
                  </a:lnTo>
                  <a:lnTo>
                    <a:pt x="90" y="978"/>
                  </a:lnTo>
                  <a:lnTo>
                    <a:pt x="96" y="966"/>
                  </a:lnTo>
                  <a:lnTo>
                    <a:pt x="102" y="966"/>
                  </a:lnTo>
                  <a:lnTo>
                    <a:pt x="114" y="954"/>
                  </a:lnTo>
                  <a:lnTo>
                    <a:pt x="120" y="954"/>
                  </a:lnTo>
                  <a:lnTo>
                    <a:pt x="120" y="948"/>
                  </a:lnTo>
                  <a:lnTo>
                    <a:pt x="114" y="930"/>
                  </a:lnTo>
                  <a:lnTo>
                    <a:pt x="114" y="924"/>
                  </a:lnTo>
                  <a:lnTo>
                    <a:pt x="108" y="918"/>
                  </a:lnTo>
                  <a:lnTo>
                    <a:pt x="102" y="912"/>
                  </a:lnTo>
                  <a:lnTo>
                    <a:pt x="90" y="906"/>
                  </a:lnTo>
                  <a:lnTo>
                    <a:pt x="84" y="900"/>
                  </a:lnTo>
                  <a:lnTo>
                    <a:pt x="84" y="888"/>
                  </a:lnTo>
                  <a:lnTo>
                    <a:pt x="84" y="882"/>
                  </a:lnTo>
                  <a:lnTo>
                    <a:pt x="78" y="858"/>
                  </a:lnTo>
                  <a:lnTo>
                    <a:pt x="78" y="852"/>
                  </a:lnTo>
                  <a:lnTo>
                    <a:pt x="84" y="846"/>
                  </a:lnTo>
                  <a:lnTo>
                    <a:pt x="84" y="840"/>
                  </a:lnTo>
                  <a:lnTo>
                    <a:pt x="96" y="828"/>
                  </a:lnTo>
                  <a:lnTo>
                    <a:pt x="114" y="816"/>
                  </a:lnTo>
                  <a:lnTo>
                    <a:pt x="114" y="810"/>
                  </a:lnTo>
                  <a:lnTo>
                    <a:pt x="114" y="804"/>
                  </a:lnTo>
                  <a:lnTo>
                    <a:pt x="108" y="780"/>
                  </a:lnTo>
                  <a:lnTo>
                    <a:pt x="96" y="756"/>
                  </a:lnTo>
                  <a:lnTo>
                    <a:pt x="96" y="750"/>
                  </a:lnTo>
                  <a:lnTo>
                    <a:pt x="90" y="720"/>
                  </a:lnTo>
                  <a:lnTo>
                    <a:pt x="90" y="708"/>
                  </a:lnTo>
                  <a:lnTo>
                    <a:pt x="90" y="690"/>
                  </a:lnTo>
                  <a:lnTo>
                    <a:pt x="96" y="672"/>
                  </a:lnTo>
                  <a:lnTo>
                    <a:pt x="90" y="666"/>
                  </a:lnTo>
                  <a:lnTo>
                    <a:pt x="96" y="666"/>
                  </a:lnTo>
                  <a:lnTo>
                    <a:pt x="102" y="642"/>
                  </a:lnTo>
                  <a:lnTo>
                    <a:pt x="108" y="624"/>
                  </a:lnTo>
                  <a:lnTo>
                    <a:pt x="102" y="618"/>
                  </a:lnTo>
                  <a:lnTo>
                    <a:pt x="102" y="588"/>
                  </a:lnTo>
                  <a:lnTo>
                    <a:pt x="102" y="564"/>
                  </a:lnTo>
                  <a:lnTo>
                    <a:pt x="102" y="546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0"/>
                  </a:lnTo>
                  <a:lnTo>
                    <a:pt x="96" y="498"/>
                  </a:lnTo>
                  <a:lnTo>
                    <a:pt x="96" y="486"/>
                  </a:lnTo>
                  <a:lnTo>
                    <a:pt x="96" y="474"/>
                  </a:lnTo>
                  <a:lnTo>
                    <a:pt x="96" y="462"/>
                  </a:lnTo>
                  <a:lnTo>
                    <a:pt x="114" y="450"/>
                  </a:lnTo>
                  <a:lnTo>
                    <a:pt x="126" y="438"/>
                  </a:lnTo>
                  <a:lnTo>
                    <a:pt x="132" y="432"/>
                  </a:lnTo>
                  <a:lnTo>
                    <a:pt x="144" y="426"/>
                  </a:lnTo>
                  <a:lnTo>
                    <a:pt x="144" y="420"/>
                  </a:lnTo>
                  <a:lnTo>
                    <a:pt x="156" y="414"/>
                  </a:lnTo>
                  <a:lnTo>
                    <a:pt x="162" y="408"/>
                  </a:lnTo>
                  <a:lnTo>
                    <a:pt x="180" y="396"/>
                  </a:lnTo>
                  <a:lnTo>
                    <a:pt x="210" y="372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34" y="348"/>
                  </a:lnTo>
                  <a:lnTo>
                    <a:pt x="240" y="348"/>
                  </a:lnTo>
                  <a:lnTo>
                    <a:pt x="246" y="342"/>
                  </a:lnTo>
                  <a:lnTo>
                    <a:pt x="276" y="318"/>
                  </a:lnTo>
                  <a:lnTo>
                    <a:pt x="282" y="312"/>
                  </a:lnTo>
                  <a:lnTo>
                    <a:pt x="288" y="306"/>
                  </a:lnTo>
                  <a:lnTo>
                    <a:pt x="300" y="288"/>
                  </a:lnTo>
                  <a:lnTo>
                    <a:pt x="306" y="276"/>
                  </a:lnTo>
                  <a:lnTo>
                    <a:pt x="324" y="246"/>
                  </a:lnTo>
                  <a:lnTo>
                    <a:pt x="330" y="240"/>
                  </a:lnTo>
                  <a:lnTo>
                    <a:pt x="336" y="234"/>
                  </a:lnTo>
                  <a:lnTo>
                    <a:pt x="342" y="228"/>
                  </a:lnTo>
                  <a:lnTo>
                    <a:pt x="342" y="216"/>
                  </a:lnTo>
                  <a:lnTo>
                    <a:pt x="354" y="204"/>
                  </a:lnTo>
                  <a:lnTo>
                    <a:pt x="360" y="204"/>
                  </a:lnTo>
                  <a:lnTo>
                    <a:pt x="366" y="186"/>
                  </a:lnTo>
                  <a:lnTo>
                    <a:pt x="384" y="162"/>
                  </a:lnTo>
                  <a:lnTo>
                    <a:pt x="390" y="144"/>
                  </a:lnTo>
                  <a:lnTo>
                    <a:pt x="396" y="114"/>
                  </a:lnTo>
                  <a:lnTo>
                    <a:pt x="396" y="102"/>
                  </a:lnTo>
                  <a:lnTo>
                    <a:pt x="402" y="90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08" y="36"/>
                  </a:lnTo>
                  <a:lnTo>
                    <a:pt x="408" y="24"/>
                  </a:lnTo>
                  <a:lnTo>
                    <a:pt x="408" y="6"/>
                  </a:lnTo>
                  <a:lnTo>
                    <a:pt x="420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68" y="0"/>
                  </a:lnTo>
                  <a:lnTo>
                    <a:pt x="480" y="0"/>
                  </a:lnTo>
                  <a:lnTo>
                    <a:pt x="492" y="0"/>
                  </a:lnTo>
                  <a:lnTo>
                    <a:pt x="498" y="0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8" y="18"/>
                  </a:lnTo>
                  <a:lnTo>
                    <a:pt x="534" y="18"/>
                  </a:lnTo>
                  <a:lnTo>
                    <a:pt x="540" y="18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8" y="36"/>
                  </a:lnTo>
                  <a:lnTo>
                    <a:pt x="588" y="54"/>
                  </a:lnTo>
                  <a:lnTo>
                    <a:pt x="594" y="48"/>
                  </a:lnTo>
                  <a:lnTo>
                    <a:pt x="600" y="48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12" y="66"/>
                  </a:lnTo>
                  <a:lnTo>
                    <a:pt x="630" y="72"/>
                  </a:lnTo>
                  <a:lnTo>
                    <a:pt x="642" y="78"/>
                  </a:lnTo>
                  <a:lnTo>
                    <a:pt x="666" y="78"/>
                  </a:lnTo>
                  <a:lnTo>
                    <a:pt x="672" y="72"/>
                  </a:lnTo>
                  <a:lnTo>
                    <a:pt x="690" y="84"/>
                  </a:lnTo>
                  <a:lnTo>
                    <a:pt x="690" y="90"/>
                  </a:lnTo>
                  <a:lnTo>
                    <a:pt x="708" y="96"/>
                  </a:lnTo>
                  <a:lnTo>
                    <a:pt x="708" y="102"/>
                  </a:lnTo>
                  <a:lnTo>
                    <a:pt x="744" y="96"/>
                  </a:lnTo>
                  <a:lnTo>
                    <a:pt x="756" y="78"/>
                  </a:lnTo>
                  <a:lnTo>
                    <a:pt x="756" y="72"/>
                  </a:lnTo>
                  <a:lnTo>
                    <a:pt x="762" y="66"/>
                  </a:lnTo>
                  <a:lnTo>
                    <a:pt x="768" y="60"/>
                  </a:lnTo>
                  <a:lnTo>
                    <a:pt x="774" y="54"/>
                  </a:lnTo>
                  <a:lnTo>
                    <a:pt x="786" y="54"/>
                  </a:lnTo>
                  <a:lnTo>
                    <a:pt x="786" y="60"/>
                  </a:lnTo>
                  <a:lnTo>
                    <a:pt x="786" y="66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92" y="90"/>
                  </a:lnTo>
                  <a:lnTo>
                    <a:pt x="780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26"/>
                  </a:lnTo>
                  <a:lnTo>
                    <a:pt x="768" y="150"/>
                  </a:lnTo>
                  <a:lnTo>
                    <a:pt x="750" y="168"/>
                  </a:lnTo>
                  <a:lnTo>
                    <a:pt x="750" y="174"/>
                  </a:lnTo>
                  <a:lnTo>
                    <a:pt x="762" y="192"/>
                  </a:lnTo>
                  <a:lnTo>
                    <a:pt x="774" y="210"/>
                  </a:lnTo>
                  <a:lnTo>
                    <a:pt x="792" y="228"/>
                  </a:lnTo>
                  <a:lnTo>
                    <a:pt x="804" y="240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40" y="252"/>
                  </a:lnTo>
                  <a:lnTo>
                    <a:pt x="834" y="252"/>
                  </a:lnTo>
                  <a:lnTo>
                    <a:pt x="846" y="252"/>
                  </a:lnTo>
                  <a:lnTo>
                    <a:pt x="852" y="270"/>
                  </a:lnTo>
                  <a:lnTo>
                    <a:pt x="858" y="282"/>
                  </a:lnTo>
                  <a:lnTo>
                    <a:pt x="858" y="288"/>
                  </a:lnTo>
                  <a:lnTo>
                    <a:pt x="864" y="300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58" y="318"/>
                  </a:lnTo>
                  <a:lnTo>
                    <a:pt x="852" y="318"/>
                  </a:lnTo>
                  <a:lnTo>
                    <a:pt x="846" y="324"/>
                  </a:lnTo>
                  <a:lnTo>
                    <a:pt x="846" y="336"/>
                  </a:lnTo>
                  <a:lnTo>
                    <a:pt x="840" y="348"/>
                  </a:lnTo>
                  <a:lnTo>
                    <a:pt x="840" y="360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46" y="402"/>
                  </a:lnTo>
                  <a:lnTo>
                    <a:pt x="858" y="420"/>
                  </a:lnTo>
                  <a:lnTo>
                    <a:pt x="882" y="426"/>
                  </a:lnTo>
                  <a:lnTo>
                    <a:pt x="888" y="444"/>
                  </a:lnTo>
                  <a:lnTo>
                    <a:pt x="900" y="444"/>
                  </a:lnTo>
                  <a:lnTo>
                    <a:pt x="900" y="462"/>
                  </a:lnTo>
                  <a:lnTo>
                    <a:pt x="894" y="474"/>
                  </a:lnTo>
                  <a:lnTo>
                    <a:pt x="888" y="486"/>
                  </a:lnTo>
                  <a:lnTo>
                    <a:pt x="882" y="492"/>
                  </a:lnTo>
                  <a:lnTo>
                    <a:pt x="870" y="504"/>
                  </a:lnTo>
                  <a:lnTo>
                    <a:pt x="852" y="504"/>
                  </a:lnTo>
                  <a:lnTo>
                    <a:pt x="852" y="510"/>
                  </a:lnTo>
                  <a:lnTo>
                    <a:pt x="852" y="516"/>
                  </a:lnTo>
                  <a:lnTo>
                    <a:pt x="846" y="528"/>
                  </a:lnTo>
                  <a:lnTo>
                    <a:pt x="846" y="582"/>
                  </a:lnTo>
                  <a:lnTo>
                    <a:pt x="840" y="582"/>
                  </a:lnTo>
                  <a:lnTo>
                    <a:pt x="834" y="582"/>
                  </a:lnTo>
                  <a:lnTo>
                    <a:pt x="828" y="582"/>
                  </a:lnTo>
                  <a:lnTo>
                    <a:pt x="822" y="582"/>
                  </a:lnTo>
                  <a:lnTo>
                    <a:pt x="810" y="582"/>
                  </a:lnTo>
                  <a:lnTo>
                    <a:pt x="810" y="528"/>
                  </a:lnTo>
                  <a:lnTo>
                    <a:pt x="792" y="528"/>
                  </a:lnTo>
                  <a:lnTo>
                    <a:pt x="792" y="522"/>
                  </a:lnTo>
                  <a:lnTo>
                    <a:pt x="786" y="522"/>
                  </a:lnTo>
                  <a:lnTo>
                    <a:pt x="786" y="516"/>
                  </a:lnTo>
                  <a:lnTo>
                    <a:pt x="780" y="516"/>
                  </a:lnTo>
                  <a:lnTo>
                    <a:pt x="780" y="510"/>
                  </a:lnTo>
                  <a:lnTo>
                    <a:pt x="762" y="510"/>
                  </a:lnTo>
                  <a:lnTo>
                    <a:pt x="756" y="510"/>
                  </a:lnTo>
                  <a:lnTo>
                    <a:pt x="750" y="522"/>
                  </a:lnTo>
                  <a:lnTo>
                    <a:pt x="744" y="534"/>
                  </a:lnTo>
                  <a:lnTo>
                    <a:pt x="732" y="540"/>
                  </a:lnTo>
                  <a:lnTo>
                    <a:pt x="732" y="558"/>
                  </a:lnTo>
                  <a:lnTo>
                    <a:pt x="732" y="564"/>
                  </a:lnTo>
                  <a:lnTo>
                    <a:pt x="732" y="570"/>
                  </a:lnTo>
                  <a:lnTo>
                    <a:pt x="726" y="576"/>
                  </a:lnTo>
                  <a:lnTo>
                    <a:pt x="720" y="576"/>
                  </a:lnTo>
                  <a:lnTo>
                    <a:pt x="714" y="582"/>
                  </a:lnTo>
                  <a:lnTo>
                    <a:pt x="702" y="588"/>
                  </a:lnTo>
                  <a:lnTo>
                    <a:pt x="696" y="594"/>
                  </a:lnTo>
                  <a:lnTo>
                    <a:pt x="690" y="600"/>
                  </a:lnTo>
                  <a:lnTo>
                    <a:pt x="690" y="606"/>
                  </a:lnTo>
                  <a:lnTo>
                    <a:pt x="678" y="606"/>
                  </a:lnTo>
                  <a:lnTo>
                    <a:pt x="678" y="624"/>
                  </a:lnTo>
                  <a:lnTo>
                    <a:pt x="684" y="642"/>
                  </a:lnTo>
                  <a:lnTo>
                    <a:pt x="684" y="660"/>
                  </a:lnTo>
                  <a:lnTo>
                    <a:pt x="690" y="672"/>
                  </a:lnTo>
                  <a:lnTo>
                    <a:pt x="702" y="720"/>
                  </a:lnTo>
                  <a:lnTo>
                    <a:pt x="708" y="750"/>
                  </a:lnTo>
                  <a:lnTo>
                    <a:pt x="708" y="792"/>
                  </a:lnTo>
                  <a:lnTo>
                    <a:pt x="708" y="828"/>
                  </a:lnTo>
                  <a:lnTo>
                    <a:pt x="708" y="852"/>
                  </a:lnTo>
                  <a:lnTo>
                    <a:pt x="696" y="894"/>
                  </a:lnTo>
                  <a:lnTo>
                    <a:pt x="702" y="900"/>
                  </a:lnTo>
                  <a:lnTo>
                    <a:pt x="708" y="924"/>
                  </a:lnTo>
                  <a:lnTo>
                    <a:pt x="684" y="936"/>
                  </a:lnTo>
                  <a:lnTo>
                    <a:pt x="660" y="954"/>
                  </a:lnTo>
                  <a:lnTo>
                    <a:pt x="618" y="984"/>
                  </a:lnTo>
                  <a:lnTo>
                    <a:pt x="618" y="990"/>
                  </a:lnTo>
                  <a:lnTo>
                    <a:pt x="612" y="996"/>
                  </a:lnTo>
                  <a:lnTo>
                    <a:pt x="606" y="1002"/>
                  </a:lnTo>
                  <a:lnTo>
                    <a:pt x="618" y="1008"/>
                  </a:lnTo>
                  <a:lnTo>
                    <a:pt x="618" y="1014"/>
                  </a:lnTo>
                  <a:lnTo>
                    <a:pt x="624" y="1026"/>
                  </a:lnTo>
                  <a:lnTo>
                    <a:pt x="630" y="1026"/>
                  </a:lnTo>
                  <a:lnTo>
                    <a:pt x="636" y="1032"/>
                  </a:lnTo>
                  <a:lnTo>
                    <a:pt x="642" y="1032"/>
                  </a:lnTo>
                  <a:lnTo>
                    <a:pt x="642" y="1038"/>
                  </a:lnTo>
                  <a:lnTo>
                    <a:pt x="648" y="1044"/>
                  </a:lnTo>
                  <a:lnTo>
                    <a:pt x="666" y="1050"/>
                  </a:lnTo>
                  <a:lnTo>
                    <a:pt x="678" y="1038"/>
                  </a:lnTo>
                  <a:lnTo>
                    <a:pt x="684" y="1038"/>
                  </a:lnTo>
                  <a:lnTo>
                    <a:pt x="684" y="1032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20"/>
                  </a:lnTo>
                  <a:lnTo>
                    <a:pt x="708" y="1014"/>
                  </a:lnTo>
                  <a:lnTo>
                    <a:pt x="720" y="1020"/>
                  </a:lnTo>
                  <a:lnTo>
                    <a:pt x="720" y="1014"/>
                  </a:lnTo>
                  <a:lnTo>
                    <a:pt x="726" y="1008"/>
                  </a:lnTo>
                  <a:lnTo>
                    <a:pt x="732" y="1008"/>
                  </a:lnTo>
                  <a:lnTo>
                    <a:pt x="738" y="1008"/>
                  </a:lnTo>
                  <a:lnTo>
                    <a:pt x="744" y="1002"/>
                  </a:lnTo>
                  <a:lnTo>
                    <a:pt x="744" y="996"/>
                  </a:lnTo>
                  <a:lnTo>
                    <a:pt x="750" y="996"/>
                  </a:lnTo>
                  <a:lnTo>
                    <a:pt x="756" y="1002"/>
                  </a:lnTo>
                  <a:lnTo>
                    <a:pt x="762" y="1002"/>
                  </a:lnTo>
                  <a:lnTo>
                    <a:pt x="768" y="996"/>
                  </a:lnTo>
                  <a:lnTo>
                    <a:pt x="780" y="996"/>
                  </a:lnTo>
                  <a:lnTo>
                    <a:pt x="786" y="996"/>
                  </a:lnTo>
                  <a:lnTo>
                    <a:pt x="816" y="990"/>
                  </a:lnTo>
                  <a:lnTo>
                    <a:pt x="828" y="990"/>
                  </a:lnTo>
                  <a:lnTo>
                    <a:pt x="834" y="990"/>
                  </a:lnTo>
                  <a:lnTo>
                    <a:pt x="840" y="984"/>
                  </a:lnTo>
                  <a:lnTo>
                    <a:pt x="852" y="978"/>
                  </a:lnTo>
                  <a:lnTo>
                    <a:pt x="852" y="972"/>
                  </a:lnTo>
                  <a:lnTo>
                    <a:pt x="858" y="972"/>
                  </a:lnTo>
                  <a:lnTo>
                    <a:pt x="864" y="966"/>
                  </a:lnTo>
                  <a:lnTo>
                    <a:pt x="870" y="966"/>
                  </a:lnTo>
                  <a:lnTo>
                    <a:pt x="876" y="966"/>
                  </a:lnTo>
                  <a:lnTo>
                    <a:pt x="882" y="960"/>
                  </a:lnTo>
                  <a:lnTo>
                    <a:pt x="888" y="960"/>
                  </a:lnTo>
                  <a:lnTo>
                    <a:pt x="894" y="960"/>
                  </a:lnTo>
                  <a:lnTo>
                    <a:pt x="894" y="966"/>
                  </a:lnTo>
                  <a:lnTo>
                    <a:pt x="894" y="978"/>
                  </a:lnTo>
                  <a:lnTo>
                    <a:pt x="894" y="984"/>
                  </a:lnTo>
                  <a:lnTo>
                    <a:pt x="900" y="984"/>
                  </a:lnTo>
                  <a:lnTo>
                    <a:pt x="906" y="978"/>
                  </a:lnTo>
                  <a:lnTo>
                    <a:pt x="912" y="972"/>
                  </a:lnTo>
                  <a:lnTo>
                    <a:pt x="918" y="978"/>
                  </a:lnTo>
                  <a:lnTo>
                    <a:pt x="924" y="978"/>
                  </a:lnTo>
                  <a:lnTo>
                    <a:pt x="924" y="972"/>
                  </a:lnTo>
                  <a:lnTo>
                    <a:pt x="924" y="966"/>
                  </a:lnTo>
                  <a:lnTo>
                    <a:pt x="930" y="966"/>
                  </a:lnTo>
                  <a:lnTo>
                    <a:pt x="948" y="966"/>
                  </a:lnTo>
                  <a:lnTo>
                    <a:pt x="954" y="966"/>
                  </a:lnTo>
                  <a:lnTo>
                    <a:pt x="954" y="960"/>
                  </a:lnTo>
                  <a:lnTo>
                    <a:pt x="960" y="960"/>
                  </a:lnTo>
                  <a:lnTo>
                    <a:pt x="966" y="960"/>
                  </a:lnTo>
                  <a:lnTo>
                    <a:pt x="966" y="966"/>
                  </a:lnTo>
                  <a:lnTo>
                    <a:pt x="978" y="972"/>
                  </a:lnTo>
                  <a:lnTo>
                    <a:pt x="978" y="978"/>
                  </a:lnTo>
                  <a:lnTo>
                    <a:pt x="978" y="984"/>
                  </a:lnTo>
                  <a:lnTo>
                    <a:pt x="984" y="978"/>
                  </a:lnTo>
                  <a:lnTo>
                    <a:pt x="990" y="978"/>
                  </a:lnTo>
                  <a:lnTo>
                    <a:pt x="996" y="984"/>
                  </a:lnTo>
                  <a:lnTo>
                    <a:pt x="1002" y="990"/>
                  </a:lnTo>
                  <a:lnTo>
                    <a:pt x="1008" y="972"/>
                  </a:lnTo>
                  <a:lnTo>
                    <a:pt x="1026" y="972"/>
                  </a:lnTo>
                  <a:lnTo>
                    <a:pt x="1032" y="972"/>
                  </a:lnTo>
                  <a:lnTo>
                    <a:pt x="1038" y="972"/>
                  </a:lnTo>
                  <a:lnTo>
                    <a:pt x="1050" y="972"/>
                  </a:lnTo>
                  <a:lnTo>
                    <a:pt x="1056" y="972"/>
                  </a:lnTo>
                  <a:lnTo>
                    <a:pt x="1062" y="966"/>
                  </a:lnTo>
                  <a:lnTo>
                    <a:pt x="1074" y="966"/>
                  </a:lnTo>
                  <a:lnTo>
                    <a:pt x="1074" y="960"/>
                  </a:lnTo>
                  <a:lnTo>
                    <a:pt x="1080" y="954"/>
                  </a:lnTo>
                  <a:lnTo>
                    <a:pt x="1080" y="948"/>
                  </a:lnTo>
                  <a:lnTo>
                    <a:pt x="1074" y="948"/>
                  </a:lnTo>
                  <a:lnTo>
                    <a:pt x="1068" y="948"/>
                  </a:lnTo>
                  <a:lnTo>
                    <a:pt x="1062" y="942"/>
                  </a:lnTo>
                  <a:lnTo>
                    <a:pt x="1068" y="936"/>
                  </a:lnTo>
                  <a:lnTo>
                    <a:pt x="1074" y="936"/>
                  </a:lnTo>
                  <a:lnTo>
                    <a:pt x="1080" y="936"/>
                  </a:lnTo>
                  <a:lnTo>
                    <a:pt x="1086" y="942"/>
                  </a:lnTo>
                  <a:lnTo>
                    <a:pt x="1092" y="942"/>
                  </a:lnTo>
                  <a:lnTo>
                    <a:pt x="1098" y="948"/>
                  </a:lnTo>
                  <a:lnTo>
                    <a:pt x="1104" y="954"/>
                  </a:lnTo>
                  <a:lnTo>
                    <a:pt x="1110" y="954"/>
                  </a:lnTo>
                  <a:lnTo>
                    <a:pt x="1116" y="948"/>
                  </a:lnTo>
                  <a:lnTo>
                    <a:pt x="1122" y="942"/>
                  </a:lnTo>
                  <a:lnTo>
                    <a:pt x="1128" y="942"/>
                  </a:lnTo>
                  <a:lnTo>
                    <a:pt x="1134" y="942"/>
                  </a:lnTo>
                  <a:lnTo>
                    <a:pt x="1140" y="948"/>
                  </a:lnTo>
                  <a:lnTo>
                    <a:pt x="1146" y="942"/>
                  </a:lnTo>
                  <a:lnTo>
                    <a:pt x="1152" y="942"/>
                  </a:lnTo>
                  <a:lnTo>
                    <a:pt x="1152" y="930"/>
                  </a:lnTo>
                  <a:lnTo>
                    <a:pt x="1164" y="936"/>
                  </a:lnTo>
                  <a:lnTo>
                    <a:pt x="1158" y="942"/>
                  </a:lnTo>
                  <a:lnTo>
                    <a:pt x="1158" y="948"/>
                  </a:lnTo>
                  <a:lnTo>
                    <a:pt x="1146" y="954"/>
                  </a:lnTo>
                  <a:lnTo>
                    <a:pt x="1152" y="954"/>
                  </a:lnTo>
                  <a:lnTo>
                    <a:pt x="1158" y="954"/>
                  </a:lnTo>
                  <a:lnTo>
                    <a:pt x="1158" y="948"/>
                  </a:lnTo>
                  <a:lnTo>
                    <a:pt x="1164" y="948"/>
                  </a:lnTo>
                  <a:lnTo>
                    <a:pt x="1170" y="948"/>
                  </a:lnTo>
                  <a:lnTo>
                    <a:pt x="1176" y="954"/>
                  </a:lnTo>
                  <a:lnTo>
                    <a:pt x="1176" y="966"/>
                  </a:lnTo>
                  <a:lnTo>
                    <a:pt x="1182" y="972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88" y="984"/>
                  </a:lnTo>
                  <a:lnTo>
                    <a:pt x="1194" y="984"/>
                  </a:lnTo>
                  <a:lnTo>
                    <a:pt x="1200" y="984"/>
                  </a:lnTo>
                  <a:lnTo>
                    <a:pt x="1212" y="984"/>
                  </a:lnTo>
                  <a:lnTo>
                    <a:pt x="1218" y="990"/>
                  </a:lnTo>
                  <a:lnTo>
                    <a:pt x="1224" y="990"/>
                  </a:lnTo>
                  <a:lnTo>
                    <a:pt x="1224" y="984"/>
                  </a:lnTo>
                  <a:lnTo>
                    <a:pt x="1230" y="990"/>
                  </a:lnTo>
                  <a:lnTo>
                    <a:pt x="1236" y="984"/>
                  </a:lnTo>
                  <a:lnTo>
                    <a:pt x="1242" y="984"/>
                  </a:lnTo>
                  <a:lnTo>
                    <a:pt x="1248" y="990"/>
                  </a:lnTo>
                  <a:lnTo>
                    <a:pt x="1254" y="990"/>
                  </a:lnTo>
                  <a:lnTo>
                    <a:pt x="1254" y="996"/>
                  </a:lnTo>
                  <a:lnTo>
                    <a:pt x="1254" y="1002"/>
                  </a:lnTo>
                  <a:lnTo>
                    <a:pt x="1254" y="1008"/>
                  </a:lnTo>
                  <a:lnTo>
                    <a:pt x="1260" y="1014"/>
                  </a:lnTo>
                  <a:lnTo>
                    <a:pt x="1266" y="1014"/>
                  </a:lnTo>
                  <a:lnTo>
                    <a:pt x="1272" y="1014"/>
                  </a:lnTo>
                  <a:lnTo>
                    <a:pt x="1278" y="1020"/>
                  </a:lnTo>
                  <a:lnTo>
                    <a:pt x="1284" y="1020"/>
                  </a:lnTo>
                  <a:lnTo>
                    <a:pt x="1290" y="1014"/>
                  </a:lnTo>
                  <a:lnTo>
                    <a:pt x="1290" y="1008"/>
                  </a:lnTo>
                  <a:lnTo>
                    <a:pt x="1296" y="1008"/>
                  </a:lnTo>
                  <a:lnTo>
                    <a:pt x="1302" y="1014"/>
                  </a:lnTo>
                  <a:lnTo>
                    <a:pt x="1308" y="1014"/>
                  </a:lnTo>
                  <a:lnTo>
                    <a:pt x="1314" y="1008"/>
                  </a:lnTo>
                  <a:lnTo>
                    <a:pt x="1320" y="1008"/>
                  </a:lnTo>
                  <a:lnTo>
                    <a:pt x="1320" y="1002"/>
                  </a:lnTo>
                  <a:lnTo>
                    <a:pt x="1320" y="996"/>
                  </a:lnTo>
                  <a:lnTo>
                    <a:pt x="1332" y="1002"/>
                  </a:lnTo>
                  <a:lnTo>
                    <a:pt x="1332" y="1008"/>
                  </a:lnTo>
                  <a:lnTo>
                    <a:pt x="1326" y="1014"/>
                  </a:lnTo>
                  <a:lnTo>
                    <a:pt x="1332" y="1014"/>
                  </a:lnTo>
                  <a:lnTo>
                    <a:pt x="1338" y="1014"/>
                  </a:lnTo>
                  <a:lnTo>
                    <a:pt x="1338" y="1008"/>
                  </a:lnTo>
                  <a:lnTo>
                    <a:pt x="1344" y="1008"/>
                  </a:lnTo>
                  <a:lnTo>
                    <a:pt x="1350" y="1008"/>
                  </a:lnTo>
                  <a:lnTo>
                    <a:pt x="1356" y="1014"/>
                  </a:lnTo>
                  <a:lnTo>
                    <a:pt x="1356" y="1008"/>
                  </a:lnTo>
                  <a:lnTo>
                    <a:pt x="1362" y="1014"/>
                  </a:lnTo>
                  <a:lnTo>
                    <a:pt x="1392" y="1014"/>
                  </a:lnTo>
                  <a:lnTo>
                    <a:pt x="1398" y="1014"/>
                  </a:lnTo>
                  <a:lnTo>
                    <a:pt x="1404" y="1008"/>
                  </a:lnTo>
                  <a:lnTo>
                    <a:pt x="1404" y="1014"/>
                  </a:lnTo>
                  <a:lnTo>
                    <a:pt x="1410" y="1008"/>
                  </a:lnTo>
                  <a:lnTo>
                    <a:pt x="1416" y="1008"/>
                  </a:lnTo>
                  <a:lnTo>
                    <a:pt x="1422" y="1002"/>
                  </a:lnTo>
                  <a:lnTo>
                    <a:pt x="1428" y="1002"/>
                  </a:lnTo>
                  <a:lnTo>
                    <a:pt x="1428" y="996"/>
                  </a:lnTo>
                  <a:lnTo>
                    <a:pt x="1428" y="990"/>
                  </a:lnTo>
                  <a:lnTo>
                    <a:pt x="1440" y="1002"/>
                  </a:lnTo>
                  <a:lnTo>
                    <a:pt x="1446" y="1002"/>
                  </a:lnTo>
                  <a:lnTo>
                    <a:pt x="1452" y="1002"/>
                  </a:lnTo>
                  <a:lnTo>
                    <a:pt x="1446" y="996"/>
                  </a:lnTo>
                  <a:lnTo>
                    <a:pt x="1452" y="996"/>
                  </a:lnTo>
                  <a:lnTo>
                    <a:pt x="1458" y="996"/>
                  </a:lnTo>
                  <a:lnTo>
                    <a:pt x="1464" y="996"/>
                  </a:lnTo>
                  <a:lnTo>
                    <a:pt x="1464" y="1002"/>
                  </a:lnTo>
                  <a:lnTo>
                    <a:pt x="1476" y="1014"/>
                  </a:lnTo>
                  <a:lnTo>
                    <a:pt x="1476" y="1008"/>
                  </a:lnTo>
                  <a:lnTo>
                    <a:pt x="1482" y="1008"/>
                  </a:lnTo>
                  <a:lnTo>
                    <a:pt x="1488" y="1020"/>
                  </a:lnTo>
                  <a:lnTo>
                    <a:pt x="1494" y="1020"/>
                  </a:lnTo>
                  <a:lnTo>
                    <a:pt x="1500" y="1014"/>
                  </a:lnTo>
                  <a:lnTo>
                    <a:pt x="1500" y="1020"/>
                  </a:lnTo>
                  <a:lnTo>
                    <a:pt x="1506" y="1026"/>
                  </a:lnTo>
                  <a:lnTo>
                    <a:pt x="1512" y="1032"/>
                  </a:lnTo>
                  <a:lnTo>
                    <a:pt x="1518" y="1032"/>
                  </a:lnTo>
                  <a:lnTo>
                    <a:pt x="1518" y="1038"/>
                  </a:lnTo>
                  <a:lnTo>
                    <a:pt x="1518" y="1044"/>
                  </a:lnTo>
                  <a:lnTo>
                    <a:pt x="1524" y="1044"/>
                  </a:lnTo>
                  <a:lnTo>
                    <a:pt x="1524" y="1050"/>
                  </a:lnTo>
                  <a:lnTo>
                    <a:pt x="1530" y="1056"/>
                  </a:lnTo>
                  <a:lnTo>
                    <a:pt x="1548" y="1062"/>
                  </a:lnTo>
                  <a:lnTo>
                    <a:pt x="1560" y="1074"/>
                  </a:lnTo>
                  <a:lnTo>
                    <a:pt x="1560" y="1080"/>
                  </a:lnTo>
                  <a:lnTo>
                    <a:pt x="1560" y="1086"/>
                  </a:lnTo>
                  <a:lnTo>
                    <a:pt x="1566" y="1086"/>
                  </a:lnTo>
                  <a:lnTo>
                    <a:pt x="1572" y="1098"/>
                  </a:lnTo>
                  <a:lnTo>
                    <a:pt x="1572" y="1104"/>
                  </a:lnTo>
                  <a:lnTo>
                    <a:pt x="1584" y="1110"/>
                  </a:lnTo>
                  <a:lnTo>
                    <a:pt x="1590" y="1116"/>
                  </a:lnTo>
                  <a:lnTo>
                    <a:pt x="1596" y="1116"/>
                  </a:lnTo>
                  <a:lnTo>
                    <a:pt x="1608" y="1122"/>
                  </a:lnTo>
                  <a:lnTo>
                    <a:pt x="1620" y="1140"/>
                  </a:lnTo>
                  <a:lnTo>
                    <a:pt x="1626" y="1158"/>
                  </a:lnTo>
                  <a:lnTo>
                    <a:pt x="1638" y="1200"/>
                  </a:lnTo>
                  <a:lnTo>
                    <a:pt x="1638" y="1218"/>
                  </a:lnTo>
                  <a:lnTo>
                    <a:pt x="1620" y="1230"/>
                  </a:lnTo>
                  <a:lnTo>
                    <a:pt x="1554" y="1230"/>
                  </a:lnTo>
                  <a:lnTo>
                    <a:pt x="1560" y="1248"/>
                  </a:lnTo>
                  <a:lnTo>
                    <a:pt x="1584" y="1260"/>
                  </a:lnTo>
                  <a:lnTo>
                    <a:pt x="1584" y="1266"/>
                  </a:lnTo>
                  <a:lnTo>
                    <a:pt x="1578" y="1272"/>
                  </a:lnTo>
                  <a:lnTo>
                    <a:pt x="1572" y="1272"/>
                  </a:lnTo>
                  <a:lnTo>
                    <a:pt x="1566" y="1278"/>
                  </a:lnTo>
                  <a:lnTo>
                    <a:pt x="1566" y="1284"/>
                  </a:lnTo>
                  <a:lnTo>
                    <a:pt x="1560" y="1290"/>
                  </a:lnTo>
                  <a:lnTo>
                    <a:pt x="1554" y="1290"/>
                  </a:lnTo>
                  <a:lnTo>
                    <a:pt x="1554" y="1296"/>
                  </a:lnTo>
                  <a:lnTo>
                    <a:pt x="1554" y="1302"/>
                  </a:lnTo>
                  <a:lnTo>
                    <a:pt x="1560" y="1332"/>
                  </a:lnTo>
                  <a:lnTo>
                    <a:pt x="1566" y="1356"/>
                  </a:lnTo>
                  <a:lnTo>
                    <a:pt x="1572" y="1356"/>
                  </a:lnTo>
                  <a:lnTo>
                    <a:pt x="1572" y="1362"/>
                  </a:lnTo>
                  <a:lnTo>
                    <a:pt x="1578" y="1362"/>
                  </a:lnTo>
                  <a:lnTo>
                    <a:pt x="1560" y="1374"/>
                  </a:lnTo>
                  <a:lnTo>
                    <a:pt x="1560" y="1380"/>
                  </a:lnTo>
                  <a:lnTo>
                    <a:pt x="1548" y="1380"/>
                  </a:lnTo>
                  <a:lnTo>
                    <a:pt x="1548" y="1386"/>
                  </a:lnTo>
                  <a:lnTo>
                    <a:pt x="1548" y="1392"/>
                  </a:lnTo>
                  <a:lnTo>
                    <a:pt x="1542" y="1410"/>
                  </a:lnTo>
                  <a:lnTo>
                    <a:pt x="1536" y="1422"/>
                  </a:lnTo>
                  <a:lnTo>
                    <a:pt x="1536" y="1428"/>
                  </a:lnTo>
                  <a:lnTo>
                    <a:pt x="1530" y="1440"/>
                  </a:lnTo>
                  <a:lnTo>
                    <a:pt x="1524" y="1434"/>
                  </a:lnTo>
                  <a:lnTo>
                    <a:pt x="1524" y="1428"/>
                  </a:lnTo>
                  <a:lnTo>
                    <a:pt x="1524" y="1422"/>
                  </a:lnTo>
                  <a:lnTo>
                    <a:pt x="1512" y="1410"/>
                  </a:lnTo>
                  <a:lnTo>
                    <a:pt x="1506" y="1404"/>
                  </a:lnTo>
                  <a:lnTo>
                    <a:pt x="1506" y="1398"/>
                  </a:lnTo>
                  <a:lnTo>
                    <a:pt x="1494" y="1392"/>
                  </a:lnTo>
                  <a:lnTo>
                    <a:pt x="1476" y="1404"/>
                  </a:lnTo>
                  <a:lnTo>
                    <a:pt x="1464" y="1416"/>
                  </a:lnTo>
                  <a:lnTo>
                    <a:pt x="1458" y="1428"/>
                  </a:lnTo>
                  <a:lnTo>
                    <a:pt x="1446" y="1434"/>
                  </a:lnTo>
                  <a:lnTo>
                    <a:pt x="1410" y="1440"/>
                  </a:lnTo>
                  <a:lnTo>
                    <a:pt x="1398" y="1440"/>
                  </a:lnTo>
                  <a:lnTo>
                    <a:pt x="1398" y="1446"/>
                  </a:lnTo>
                  <a:lnTo>
                    <a:pt x="1386" y="1446"/>
                  </a:lnTo>
                  <a:lnTo>
                    <a:pt x="1380" y="1440"/>
                  </a:lnTo>
                  <a:lnTo>
                    <a:pt x="1368" y="1440"/>
                  </a:lnTo>
                  <a:lnTo>
                    <a:pt x="1368" y="1446"/>
                  </a:lnTo>
                  <a:lnTo>
                    <a:pt x="1356" y="1446"/>
                  </a:lnTo>
                  <a:lnTo>
                    <a:pt x="1350" y="1452"/>
                  </a:lnTo>
                  <a:lnTo>
                    <a:pt x="1338" y="1452"/>
                  </a:lnTo>
                  <a:lnTo>
                    <a:pt x="1338" y="1458"/>
                  </a:lnTo>
                  <a:lnTo>
                    <a:pt x="1332" y="1458"/>
                  </a:lnTo>
                  <a:lnTo>
                    <a:pt x="1332" y="1464"/>
                  </a:lnTo>
                  <a:lnTo>
                    <a:pt x="1332" y="1470"/>
                  </a:lnTo>
                  <a:lnTo>
                    <a:pt x="1326" y="1470"/>
                  </a:lnTo>
                  <a:lnTo>
                    <a:pt x="1320" y="1470"/>
                  </a:lnTo>
                  <a:lnTo>
                    <a:pt x="1314" y="1470"/>
                  </a:lnTo>
                  <a:lnTo>
                    <a:pt x="1314" y="1464"/>
                  </a:lnTo>
                  <a:lnTo>
                    <a:pt x="1308" y="1464"/>
                  </a:lnTo>
                  <a:lnTo>
                    <a:pt x="1308" y="1452"/>
                  </a:lnTo>
                  <a:lnTo>
                    <a:pt x="1284" y="1458"/>
                  </a:lnTo>
                  <a:lnTo>
                    <a:pt x="1272" y="1458"/>
                  </a:lnTo>
                  <a:lnTo>
                    <a:pt x="1272" y="1464"/>
                  </a:lnTo>
                  <a:lnTo>
                    <a:pt x="1260" y="1464"/>
                  </a:lnTo>
                  <a:lnTo>
                    <a:pt x="1254" y="1464"/>
                  </a:lnTo>
                  <a:lnTo>
                    <a:pt x="1242" y="1422"/>
                  </a:lnTo>
                  <a:lnTo>
                    <a:pt x="1242" y="1416"/>
                  </a:lnTo>
                  <a:lnTo>
                    <a:pt x="1242" y="1410"/>
                  </a:lnTo>
                  <a:lnTo>
                    <a:pt x="1248" y="1410"/>
                  </a:lnTo>
                  <a:lnTo>
                    <a:pt x="1242" y="1410"/>
                  </a:lnTo>
                  <a:lnTo>
                    <a:pt x="1242" y="1404"/>
                  </a:lnTo>
                  <a:lnTo>
                    <a:pt x="1242" y="1398"/>
                  </a:lnTo>
                  <a:lnTo>
                    <a:pt x="1248" y="1392"/>
                  </a:lnTo>
                  <a:lnTo>
                    <a:pt x="1248" y="1386"/>
                  </a:lnTo>
                  <a:lnTo>
                    <a:pt x="1242" y="1380"/>
                  </a:lnTo>
                  <a:lnTo>
                    <a:pt x="1248" y="1380"/>
                  </a:lnTo>
                  <a:lnTo>
                    <a:pt x="1248" y="1374"/>
                  </a:lnTo>
                  <a:lnTo>
                    <a:pt x="1248" y="1368"/>
                  </a:lnTo>
                  <a:lnTo>
                    <a:pt x="1254" y="1368"/>
                  </a:lnTo>
                  <a:lnTo>
                    <a:pt x="1254" y="1362"/>
                  </a:lnTo>
                  <a:lnTo>
                    <a:pt x="1248" y="1356"/>
                  </a:lnTo>
                  <a:lnTo>
                    <a:pt x="1254" y="1356"/>
                  </a:lnTo>
                  <a:lnTo>
                    <a:pt x="1254" y="1344"/>
                  </a:lnTo>
                  <a:lnTo>
                    <a:pt x="1242" y="1338"/>
                  </a:lnTo>
                  <a:lnTo>
                    <a:pt x="1242" y="1326"/>
                  </a:lnTo>
                  <a:lnTo>
                    <a:pt x="1230" y="1326"/>
                  </a:lnTo>
                  <a:lnTo>
                    <a:pt x="1230" y="1314"/>
                  </a:lnTo>
                  <a:lnTo>
                    <a:pt x="1218" y="1314"/>
                  </a:lnTo>
                  <a:lnTo>
                    <a:pt x="1200" y="1272"/>
                  </a:lnTo>
                  <a:lnTo>
                    <a:pt x="1194" y="1242"/>
                  </a:lnTo>
                  <a:lnTo>
                    <a:pt x="1194" y="1206"/>
                  </a:lnTo>
                  <a:lnTo>
                    <a:pt x="1182" y="1200"/>
                  </a:lnTo>
                  <a:lnTo>
                    <a:pt x="1164" y="1206"/>
                  </a:lnTo>
                  <a:lnTo>
                    <a:pt x="1146" y="1212"/>
                  </a:lnTo>
                  <a:lnTo>
                    <a:pt x="1146" y="1218"/>
                  </a:lnTo>
                  <a:lnTo>
                    <a:pt x="1134" y="1224"/>
                  </a:lnTo>
                  <a:lnTo>
                    <a:pt x="1140" y="1260"/>
                  </a:lnTo>
                  <a:lnTo>
                    <a:pt x="1134" y="1266"/>
                  </a:lnTo>
                  <a:lnTo>
                    <a:pt x="1122" y="1266"/>
                  </a:lnTo>
                  <a:lnTo>
                    <a:pt x="1110" y="1236"/>
                  </a:lnTo>
                  <a:lnTo>
                    <a:pt x="1110" y="1224"/>
                  </a:lnTo>
                  <a:lnTo>
                    <a:pt x="1086" y="1224"/>
                  </a:lnTo>
                  <a:lnTo>
                    <a:pt x="1086" y="1212"/>
                  </a:lnTo>
                  <a:lnTo>
                    <a:pt x="1074" y="1212"/>
                  </a:lnTo>
                  <a:lnTo>
                    <a:pt x="1050" y="1212"/>
                  </a:lnTo>
                  <a:lnTo>
                    <a:pt x="1056" y="1218"/>
                  </a:lnTo>
                  <a:lnTo>
                    <a:pt x="1050" y="1272"/>
                  </a:lnTo>
                  <a:lnTo>
                    <a:pt x="1044" y="1272"/>
                  </a:lnTo>
                  <a:lnTo>
                    <a:pt x="1038" y="1284"/>
                  </a:lnTo>
                  <a:lnTo>
                    <a:pt x="1032" y="1302"/>
                  </a:lnTo>
                  <a:lnTo>
                    <a:pt x="1014" y="1302"/>
                  </a:lnTo>
                  <a:lnTo>
                    <a:pt x="1020" y="1284"/>
                  </a:lnTo>
                  <a:lnTo>
                    <a:pt x="1026" y="1278"/>
                  </a:lnTo>
                  <a:lnTo>
                    <a:pt x="1026" y="1266"/>
                  </a:lnTo>
                  <a:lnTo>
                    <a:pt x="1014" y="1260"/>
                  </a:lnTo>
                  <a:lnTo>
                    <a:pt x="1014" y="1272"/>
                  </a:lnTo>
                  <a:lnTo>
                    <a:pt x="990" y="1278"/>
                  </a:lnTo>
                  <a:lnTo>
                    <a:pt x="990" y="1254"/>
                  </a:lnTo>
                  <a:lnTo>
                    <a:pt x="984" y="1254"/>
                  </a:lnTo>
                  <a:lnTo>
                    <a:pt x="978" y="1242"/>
                  </a:lnTo>
                  <a:lnTo>
                    <a:pt x="972" y="1236"/>
                  </a:lnTo>
                  <a:lnTo>
                    <a:pt x="960" y="1206"/>
                  </a:lnTo>
                  <a:lnTo>
                    <a:pt x="942" y="1206"/>
                  </a:lnTo>
                  <a:lnTo>
                    <a:pt x="936" y="1200"/>
                  </a:lnTo>
                  <a:lnTo>
                    <a:pt x="906" y="1212"/>
                  </a:lnTo>
                  <a:lnTo>
                    <a:pt x="888" y="1230"/>
                  </a:lnTo>
                  <a:lnTo>
                    <a:pt x="876" y="1230"/>
                  </a:lnTo>
                  <a:lnTo>
                    <a:pt x="864" y="1236"/>
                  </a:lnTo>
                  <a:lnTo>
                    <a:pt x="858" y="1236"/>
                  </a:lnTo>
                  <a:lnTo>
                    <a:pt x="852" y="1254"/>
                  </a:lnTo>
                  <a:lnTo>
                    <a:pt x="858" y="1254"/>
                  </a:lnTo>
                  <a:lnTo>
                    <a:pt x="840" y="1266"/>
                  </a:lnTo>
                  <a:lnTo>
                    <a:pt x="828" y="1272"/>
                  </a:lnTo>
                  <a:lnTo>
                    <a:pt x="828" y="1284"/>
                  </a:lnTo>
                  <a:lnTo>
                    <a:pt x="822" y="1284"/>
                  </a:lnTo>
                  <a:lnTo>
                    <a:pt x="804" y="1296"/>
                  </a:lnTo>
                  <a:lnTo>
                    <a:pt x="804" y="1308"/>
                  </a:lnTo>
                  <a:lnTo>
                    <a:pt x="816" y="1320"/>
                  </a:lnTo>
                  <a:lnTo>
                    <a:pt x="828" y="1320"/>
                  </a:lnTo>
                  <a:lnTo>
                    <a:pt x="822" y="1338"/>
                  </a:lnTo>
                  <a:lnTo>
                    <a:pt x="852" y="1344"/>
                  </a:lnTo>
                  <a:lnTo>
                    <a:pt x="864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94" y="1356"/>
                  </a:lnTo>
                  <a:lnTo>
                    <a:pt x="912" y="1368"/>
                  </a:lnTo>
                  <a:lnTo>
                    <a:pt x="918" y="1380"/>
                  </a:lnTo>
                  <a:lnTo>
                    <a:pt x="936" y="1380"/>
                  </a:lnTo>
                  <a:lnTo>
                    <a:pt x="960" y="1386"/>
                  </a:lnTo>
                  <a:lnTo>
                    <a:pt x="990" y="1386"/>
                  </a:lnTo>
                  <a:lnTo>
                    <a:pt x="990" y="1392"/>
                  </a:lnTo>
                  <a:lnTo>
                    <a:pt x="1020" y="1398"/>
                  </a:lnTo>
                  <a:lnTo>
                    <a:pt x="1014" y="1404"/>
                  </a:lnTo>
                  <a:lnTo>
                    <a:pt x="1008" y="1404"/>
                  </a:lnTo>
                  <a:lnTo>
                    <a:pt x="1014" y="1440"/>
                  </a:lnTo>
                  <a:lnTo>
                    <a:pt x="1020" y="1458"/>
                  </a:lnTo>
                  <a:lnTo>
                    <a:pt x="1026" y="1476"/>
                  </a:lnTo>
                  <a:lnTo>
                    <a:pt x="1020" y="1476"/>
                  </a:lnTo>
                  <a:lnTo>
                    <a:pt x="1014" y="1476"/>
                  </a:lnTo>
                  <a:lnTo>
                    <a:pt x="1014" y="1482"/>
                  </a:lnTo>
                  <a:lnTo>
                    <a:pt x="1014" y="1488"/>
                  </a:lnTo>
                  <a:lnTo>
                    <a:pt x="1002" y="1488"/>
                  </a:lnTo>
                  <a:lnTo>
                    <a:pt x="1002" y="1494"/>
                  </a:lnTo>
                  <a:lnTo>
                    <a:pt x="996" y="1494"/>
                  </a:lnTo>
                  <a:lnTo>
                    <a:pt x="996" y="1518"/>
                  </a:lnTo>
                  <a:lnTo>
                    <a:pt x="1002" y="1524"/>
                  </a:lnTo>
                  <a:lnTo>
                    <a:pt x="1020" y="1530"/>
                  </a:lnTo>
                  <a:lnTo>
                    <a:pt x="1026" y="1542"/>
                  </a:lnTo>
                  <a:lnTo>
                    <a:pt x="1032" y="1566"/>
                  </a:lnTo>
                  <a:lnTo>
                    <a:pt x="1038" y="1578"/>
                  </a:lnTo>
                  <a:lnTo>
                    <a:pt x="1032" y="1584"/>
                  </a:lnTo>
                  <a:lnTo>
                    <a:pt x="1020" y="1584"/>
                  </a:lnTo>
                  <a:lnTo>
                    <a:pt x="1014" y="1584"/>
                  </a:lnTo>
                  <a:lnTo>
                    <a:pt x="1008" y="1596"/>
                  </a:lnTo>
                  <a:lnTo>
                    <a:pt x="990" y="1584"/>
                  </a:lnTo>
                  <a:lnTo>
                    <a:pt x="984" y="1602"/>
                  </a:lnTo>
                  <a:lnTo>
                    <a:pt x="978" y="1608"/>
                  </a:lnTo>
                  <a:lnTo>
                    <a:pt x="966" y="1608"/>
                  </a:lnTo>
                  <a:lnTo>
                    <a:pt x="960" y="1614"/>
                  </a:lnTo>
                  <a:lnTo>
                    <a:pt x="954" y="1614"/>
                  </a:lnTo>
                  <a:lnTo>
                    <a:pt x="942" y="1620"/>
                  </a:lnTo>
                  <a:lnTo>
                    <a:pt x="936" y="1620"/>
                  </a:lnTo>
                  <a:lnTo>
                    <a:pt x="930" y="1620"/>
                  </a:lnTo>
                  <a:lnTo>
                    <a:pt x="930" y="1626"/>
                  </a:lnTo>
                  <a:lnTo>
                    <a:pt x="930" y="1632"/>
                  </a:lnTo>
                  <a:lnTo>
                    <a:pt x="918" y="1632"/>
                  </a:lnTo>
                  <a:lnTo>
                    <a:pt x="912" y="1632"/>
                  </a:lnTo>
                  <a:lnTo>
                    <a:pt x="906" y="1632"/>
                  </a:lnTo>
                  <a:lnTo>
                    <a:pt x="900" y="1632"/>
                  </a:lnTo>
                  <a:lnTo>
                    <a:pt x="894" y="1626"/>
                  </a:lnTo>
                  <a:lnTo>
                    <a:pt x="894" y="1614"/>
                  </a:lnTo>
                  <a:lnTo>
                    <a:pt x="840" y="1614"/>
                  </a:lnTo>
                  <a:lnTo>
                    <a:pt x="840" y="1626"/>
                  </a:lnTo>
                  <a:lnTo>
                    <a:pt x="834" y="1626"/>
                  </a:lnTo>
                  <a:lnTo>
                    <a:pt x="828" y="1632"/>
                  </a:lnTo>
                  <a:lnTo>
                    <a:pt x="822" y="1638"/>
                  </a:lnTo>
                  <a:lnTo>
                    <a:pt x="822" y="1644"/>
                  </a:lnTo>
                  <a:lnTo>
                    <a:pt x="834" y="1650"/>
                  </a:lnTo>
                  <a:lnTo>
                    <a:pt x="840" y="1662"/>
                  </a:lnTo>
                  <a:lnTo>
                    <a:pt x="840" y="1668"/>
                  </a:lnTo>
                  <a:lnTo>
                    <a:pt x="858" y="1680"/>
                  </a:lnTo>
                  <a:lnTo>
                    <a:pt x="858" y="1752"/>
                  </a:lnTo>
                  <a:lnTo>
                    <a:pt x="864" y="1782"/>
                  </a:lnTo>
                  <a:lnTo>
                    <a:pt x="876" y="1788"/>
                  </a:lnTo>
                  <a:lnTo>
                    <a:pt x="870" y="1854"/>
                  </a:lnTo>
                  <a:lnTo>
                    <a:pt x="870" y="1884"/>
                  </a:lnTo>
                  <a:lnTo>
                    <a:pt x="864" y="1884"/>
                  </a:lnTo>
                  <a:lnTo>
                    <a:pt x="846" y="1896"/>
                  </a:lnTo>
                  <a:lnTo>
                    <a:pt x="840" y="1896"/>
                  </a:lnTo>
                  <a:lnTo>
                    <a:pt x="834" y="1896"/>
                  </a:lnTo>
                  <a:lnTo>
                    <a:pt x="828" y="1890"/>
                  </a:lnTo>
                  <a:lnTo>
                    <a:pt x="822" y="1890"/>
                  </a:lnTo>
                  <a:lnTo>
                    <a:pt x="816" y="1896"/>
                  </a:lnTo>
                  <a:lnTo>
                    <a:pt x="804" y="1896"/>
                  </a:lnTo>
                  <a:lnTo>
                    <a:pt x="804" y="1890"/>
                  </a:lnTo>
                  <a:lnTo>
                    <a:pt x="780" y="1896"/>
                  </a:lnTo>
                  <a:lnTo>
                    <a:pt x="780" y="1902"/>
                  </a:lnTo>
                  <a:lnTo>
                    <a:pt x="774" y="1914"/>
                  </a:lnTo>
                  <a:lnTo>
                    <a:pt x="762" y="1926"/>
                  </a:lnTo>
                  <a:lnTo>
                    <a:pt x="762" y="1950"/>
                  </a:lnTo>
                  <a:lnTo>
                    <a:pt x="762" y="1962"/>
                  </a:lnTo>
                  <a:lnTo>
                    <a:pt x="780" y="1974"/>
                  </a:lnTo>
                  <a:lnTo>
                    <a:pt x="780" y="1986"/>
                  </a:lnTo>
                  <a:lnTo>
                    <a:pt x="780" y="1998"/>
                  </a:lnTo>
                  <a:lnTo>
                    <a:pt x="756" y="1998"/>
                  </a:lnTo>
                  <a:lnTo>
                    <a:pt x="720" y="1992"/>
                  </a:lnTo>
                  <a:lnTo>
                    <a:pt x="666" y="1998"/>
                  </a:lnTo>
                  <a:lnTo>
                    <a:pt x="654" y="1998"/>
                  </a:lnTo>
                  <a:lnTo>
                    <a:pt x="660" y="1974"/>
                  </a:lnTo>
                  <a:lnTo>
                    <a:pt x="666" y="1962"/>
                  </a:lnTo>
                  <a:lnTo>
                    <a:pt x="678" y="1950"/>
                  </a:lnTo>
                  <a:lnTo>
                    <a:pt x="696" y="1932"/>
                  </a:lnTo>
                  <a:lnTo>
                    <a:pt x="696" y="1920"/>
                  </a:lnTo>
                  <a:lnTo>
                    <a:pt x="696" y="1896"/>
                  </a:lnTo>
                  <a:lnTo>
                    <a:pt x="678" y="1896"/>
                  </a:lnTo>
                  <a:lnTo>
                    <a:pt x="672" y="1884"/>
                  </a:lnTo>
                  <a:lnTo>
                    <a:pt x="672" y="1776"/>
                  </a:lnTo>
                  <a:lnTo>
                    <a:pt x="678" y="1758"/>
                  </a:lnTo>
                  <a:lnTo>
                    <a:pt x="678" y="1740"/>
                  </a:lnTo>
                  <a:lnTo>
                    <a:pt x="684" y="1728"/>
                  </a:lnTo>
                  <a:lnTo>
                    <a:pt x="690" y="1722"/>
                  </a:lnTo>
                  <a:lnTo>
                    <a:pt x="702" y="1722"/>
                  </a:lnTo>
                  <a:lnTo>
                    <a:pt x="708" y="1716"/>
                  </a:lnTo>
                  <a:lnTo>
                    <a:pt x="714" y="1710"/>
                  </a:lnTo>
                  <a:lnTo>
                    <a:pt x="720" y="1698"/>
                  </a:lnTo>
                  <a:lnTo>
                    <a:pt x="732" y="1692"/>
                  </a:lnTo>
                  <a:lnTo>
                    <a:pt x="744" y="1686"/>
                  </a:lnTo>
                  <a:lnTo>
                    <a:pt x="756" y="1680"/>
                  </a:lnTo>
                  <a:lnTo>
                    <a:pt x="768" y="1668"/>
                  </a:lnTo>
                  <a:lnTo>
                    <a:pt x="768" y="1650"/>
                  </a:lnTo>
                  <a:lnTo>
                    <a:pt x="774" y="1632"/>
                  </a:lnTo>
                  <a:lnTo>
                    <a:pt x="768" y="1620"/>
                  </a:lnTo>
                  <a:lnTo>
                    <a:pt x="774" y="1608"/>
                  </a:lnTo>
                  <a:lnTo>
                    <a:pt x="774" y="1578"/>
                  </a:lnTo>
                  <a:lnTo>
                    <a:pt x="774" y="1572"/>
                  </a:lnTo>
                  <a:lnTo>
                    <a:pt x="780" y="1560"/>
                  </a:lnTo>
                  <a:lnTo>
                    <a:pt x="780" y="1554"/>
                  </a:lnTo>
                  <a:lnTo>
                    <a:pt x="786" y="1542"/>
                  </a:lnTo>
                  <a:lnTo>
                    <a:pt x="792" y="1530"/>
                  </a:lnTo>
                  <a:lnTo>
                    <a:pt x="792" y="1518"/>
                  </a:lnTo>
                  <a:lnTo>
                    <a:pt x="792" y="1506"/>
                  </a:lnTo>
                  <a:lnTo>
                    <a:pt x="786" y="1500"/>
                  </a:lnTo>
                  <a:lnTo>
                    <a:pt x="774" y="1488"/>
                  </a:lnTo>
                  <a:lnTo>
                    <a:pt x="774" y="1482"/>
                  </a:lnTo>
                  <a:lnTo>
                    <a:pt x="762" y="1488"/>
                  </a:lnTo>
                  <a:lnTo>
                    <a:pt x="756" y="1494"/>
                  </a:lnTo>
                  <a:lnTo>
                    <a:pt x="744" y="1500"/>
                  </a:lnTo>
                  <a:lnTo>
                    <a:pt x="732" y="1506"/>
                  </a:lnTo>
                  <a:lnTo>
                    <a:pt x="726" y="1506"/>
                  </a:lnTo>
                  <a:lnTo>
                    <a:pt x="720" y="1506"/>
                  </a:lnTo>
                  <a:lnTo>
                    <a:pt x="702" y="1506"/>
                  </a:lnTo>
                  <a:lnTo>
                    <a:pt x="690" y="1500"/>
                  </a:lnTo>
                  <a:lnTo>
                    <a:pt x="678" y="1500"/>
                  </a:lnTo>
                  <a:lnTo>
                    <a:pt x="672" y="1500"/>
                  </a:lnTo>
                  <a:lnTo>
                    <a:pt x="660" y="1506"/>
                  </a:lnTo>
                  <a:lnTo>
                    <a:pt x="654" y="1506"/>
                  </a:lnTo>
                  <a:lnTo>
                    <a:pt x="648" y="1512"/>
                  </a:lnTo>
                  <a:lnTo>
                    <a:pt x="648" y="1518"/>
                  </a:lnTo>
                  <a:lnTo>
                    <a:pt x="618" y="1518"/>
                  </a:lnTo>
                  <a:lnTo>
                    <a:pt x="534" y="1494"/>
                  </a:lnTo>
                  <a:lnTo>
                    <a:pt x="528" y="1458"/>
                  </a:lnTo>
                  <a:lnTo>
                    <a:pt x="510" y="1458"/>
                  </a:lnTo>
                  <a:lnTo>
                    <a:pt x="492" y="1440"/>
                  </a:lnTo>
                  <a:lnTo>
                    <a:pt x="462" y="1440"/>
                  </a:lnTo>
                  <a:lnTo>
                    <a:pt x="456" y="1428"/>
                  </a:lnTo>
                  <a:lnTo>
                    <a:pt x="420" y="1428"/>
                  </a:lnTo>
                  <a:lnTo>
                    <a:pt x="390" y="1446"/>
                  </a:lnTo>
                  <a:lnTo>
                    <a:pt x="312" y="1452"/>
                  </a:lnTo>
                  <a:lnTo>
                    <a:pt x="300" y="1446"/>
                  </a:lnTo>
                  <a:lnTo>
                    <a:pt x="294" y="1446"/>
                  </a:lnTo>
                  <a:lnTo>
                    <a:pt x="288" y="1446"/>
                  </a:lnTo>
                  <a:lnTo>
                    <a:pt x="282" y="1440"/>
                  </a:lnTo>
                  <a:lnTo>
                    <a:pt x="276" y="1440"/>
                  </a:lnTo>
                  <a:lnTo>
                    <a:pt x="270" y="1440"/>
                  </a:lnTo>
                  <a:lnTo>
                    <a:pt x="264" y="1440"/>
                  </a:lnTo>
                  <a:lnTo>
                    <a:pt x="258" y="1434"/>
                  </a:lnTo>
                  <a:lnTo>
                    <a:pt x="252" y="1434"/>
                  </a:lnTo>
                  <a:lnTo>
                    <a:pt x="246" y="1428"/>
                  </a:lnTo>
                  <a:lnTo>
                    <a:pt x="240" y="1416"/>
                  </a:lnTo>
                  <a:lnTo>
                    <a:pt x="234" y="1404"/>
                  </a:lnTo>
                  <a:lnTo>
                    <a:pt x="228" y="1398"/>
                  </a:lnTo>
                  <a:lnTo>
                    <a:pt x="222" y="1398"/>
                  </a:lnTo>
                  <a:lnTo>
                    <a:pt x="216" y="1404"/>
                  </a:lnTo>
                  <a:lnTo>
                    <a:pt x="210" y="1404"/>
                  </a:lnTo>
                  <a:lnTo>
                    <a:pt x="204" y="1404"/>
                  </a:lnTo>
                  <a:lnTo>
                    <a:pt x="204" y="1398"/>
                  </a:lnTo>
                  <a:lnTo>
                    <a:pt x="198" y="1392"/>
                  </a:lnTo>
                  <a:lnTo>
                    <a:pt x="192" y="1386"/>
                  </a:lnTo>
                  <a:lnTo>
                    <a:pt x="168" y="1374"/>
                  </a:lnTo>
                  <a:lnTo>
                    <a:pt x="144" y="138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27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9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122" name="Freeform 36">
              <a:extLst>
                <a:ext uri="{FF2B5EF4-FFF2-40B4-BE49-F238E27FC236}">
                  <a16:creationId xmlns:a16="http://schemas.microsoft.com/office/drawing/2014/main" id="{FF4F2307-D000-4D35-B07A-058E50BBF9B5}"/>
                </a:ext>
              </a:extLst>
            </p:cNvPr>
            <p:cNvSpPr>
              <a:spLocks/>
            </p:cNvSpPr>
            <p:nvPr/>
          </p:nvSpPr>
          <p:spPr bwMode="gray">
            <a:xfrm>
              <a:off x="2874964" y="1008064"/>
              <a:ext cx="1347787" cy="1379537"/>
            </a:xfrm>
            <a:custGeom>
              <a:avLst/>
              <a:gdLst>
                <a:gd name="T0" fmla="*/ 2147483647 w 1440"/>
                <a:gd name="T1" fmla="*/ 2147483647 h 1476"/>
                <a:gd name="T2" fmla="*/ 2147483647 w 1440"/>
                <a:gd name="T3" fmla="*/ 2147483647 h 1476"/>
                <a:gd name="T4" fmla="*/ 2147483647 w 1440"/>
                <a:gd name="T5" fmla="*/ 2147483647 h 1476"/>
                <a:gd name="T6" fmla="*/ 2147483647 w 1440"/>
                <a:gd name="T7" fmla="*/ 2147483647 h 1476"/>
                <a:gd name="T8" fmla="*/ 2147483647 w 1440"/>
                <a:gd name="T9" fmla="*/ 2147483647 h 1476"/>
                <a:gd name="T10" fmla="*/ 2147483647 w 1440"/>
                <a:gd name="T11" fmla="*/ 2147483647 h 1476"/>
                <a:gd name="T12" fmla="*/ 2147483647 w 1440"/>
                <a:gd name="T13" fmla="*/ 2147483647 h 1476"/>
                <a:gd name="T14" fmla="*/ 2147483647 w 1440"/>
                <a:gd name="T15" fmla="*/ 2147483647 h 1476"/>
                <a:gd name="T16" fmla="*/ 2147483647 w 1440"/>
                <a:gd name="T17" fmla="*/ 2147483647 h 1476"/>
                <a:gd name="T18" fmla="*/ 2147483647 w 1440"/>
                <a:gd name="T19" fmla="*/ 2147483647 h 1476"/>
                <a:gd name="T20" fmla="*/ 2147483647 w 1440"/>
                <a:gd name="T21" fmla="*/ 2147483647 h 1476"/>
                <a:gd name="T22" fmla="*/ 2147483647 w 1440"/>
                <a:gd name="T23" fmla="*/ 2147483647 h 1476"/>
                <a:gd name="T24" fmla="*/ 2147483647 w 1440"/>
                <a:gd name="T25" fmla="*/ 2147483647 h 1476"/>
                <a:gd name="T26" fmla="*/ 2147483647 w 1440"/>
                <a:gd name="T27" fmla="*/ 2147483647 h 1476"/>
                <a:gd name="T28" fmla="*/ 2147483647 w 1440"/>
                <a:gd name="T29" fmla="*/ 2147483647 h 1476"/>
                <a:gd name="T30" fmla="*/ 2147483647 w 1440"/>
                <a:gd name="T31" fmla="*/ 2147483647 h 1476"/>
                <a:gd name="T32" fmla="*/ 2147483647 w 1440"/>
                <a:gd name="T33" fmla="*/ 2147483647 h 1476"/>
                <a:gd name="T34" fmla="*/ 2147483647 w 1440"/>
                <a:gd name="T35" fmla="*/ 2147483647 h 1476"/>
                <a:gd name="T36" fmla="*/ 2147483647 w 1440"/>
                <a:gd name="T37" fmla="*/ 2147483647 h 1476"/>
                <a:gd name="T38" fmla="*/ 2147483647 w 1440"/>
                <a:gd name="T39" fmla="*/ 2147483647 h 1476"/>
                <a:gd name="T40" fmla="*/ 2147483647 w 1440"/>
                <a:gd name="T41" fmla="*/ 2147483647 h 1476"/>
                <a:gd name="T42" fmla="*/ 2147483647 w 1440"/>
                <a:gd name="T43" fmla="*/ 2147483647 h 1476"/>
                <a:gd name="T44" fmla="*/ 2147483647 w 1440"/>
                <a:gd name="T45" fmla="*/ 2147483647 h 1476"/>
                <a:gd name="T46" fmla="*/ 2147483647 w 1440"/>
                <a:gd name="T47" fmla="*/ 2147483647 h 1476"/>
                <a:gd name="T48" fmla="*/ 2147483647 w 1440"/>
                <a:gd name="T49" fmla="*/ 2147483647 h 1476"/>
                <a:gd name="T50" fmla="*/ 2147483647 w 1440"/>
                <a:gd name="T51" fmla="*/ 2147483647 h 1476"/>
                <a:gd name="T52" fmla="*/ 2147483647 w 1440"/>
                <a:gd name="T53" fmla="*/ 2147483647 h 1476"/>
                <a:gd name="T54" fmla="*/ 2147483647 w 1440"/>
                <a:gd name="T55" fmla="*/ 2147483647 h 1476"/>
                <a:gd name="T56" fmla="*/ 2147483647 w 1440"/>
                <a:gd name="T57" fmla="*/ 2147483647 h 1476"/>
                <a:gd name="T58" fmla="*/ 2147483647 w 1440"/>
                <a:gd name="T59" fmla="*/ 2147483647 h 1476"/>
                <a:gd name="T60" fmla="*/ 2147483647 w 1440"/>
                <a:gd name="T61" fmla="*/ 2147483647 h 1476"/>
                <a:gd name="T62" fmla="*/ 2147483647 w 1440"/>
                <a:gd name="T63" fmla="*/ 2147483647 h 1476"/>
                <a:gd name="T64" fmla="*/ 0 w 1440"/>
                <a:gd name="T65" fmla="*/ 2147483647 h 1476"/>
                <a:gd name="T66" fmla="*/ 2147483647 w 1440"/>
                <a:gd name="T67" fmla="*/ 2147483647 h 1476"/>
                <a:gd name="T68" fmla="*/ 2147483647 w 1440"/>
                <a:gd name="T69" fmla="*/ 2147483647 h 1476"/>
                <a:gd name="T70" fmla="*/ 2147483647 w 1440"/>
                <a:gd name="T71" fmla="*/ 2147483647 h 1476"/>
                <a:gd name="T72" fmla="*/ 2147483647 w 1440"/>
                <a:gd name="T73" fmla="*/ 2147483647 h 1476"/>
                <a:gd name="T74" fmla="*/ 2147483647 w 1440"/>
                <a:gd name="T75" fmla="*/ 2147483647 h 1476"/>
                <a:gd name="T76" fmla="*/ 2147483647 w 1440"/>
                <a:gd name="T77" fmla="*/ 2147483647 h 1476"/>
                <a:gd name="T78" fmla="*/ 2147483647 w 1440"/>
                <a:gd name="T79" fmla="*/ 2147483647 h 1476"/>
                <a:gd name="T80" fmla="*/ 2147483647 w 1440"/>
                <a:gd name="T81" fmla="*/ 2147483647 h 1476"/>
                <a:gd name="T82" fmla="*/ 2147483647 w 1440"/>
                <a:gd name="T83" fmla="*/ 2147483647 h 1476"/>
                <a:gd name="T84" fmla="*/ 2147483647 w 1440"/>
                <a:gd name="T85" fmla="*/ 2147483647 h 1476"/>
                <a:gd name="T86" fmla="*/ 2147483647 w 1440"/>
                <a:gd name="T87" fmla="*/ 2147483647 h 1476"/>
                <a:gd name="T88" fmla="*/ 2147483647 w 1440"/>
                <a:gd name="T89" fmla="*/ 2147483647 h 1476"/>
                <a:gd name="T90" fmla="*/ 2147483647 w 1440"/>
                <a:gd name="T91" fmla="*/ 2147483647 h 1476"/>
                <a:gd name="T92" fmla="*/ 2147483647 w 1440"/>
                <a:gd name="T93" fmla="*/ 0 h 1476"/>
                <a:gd name="T94" fmla="*/ 2147483647 w 1440"/>
                <a:gd name="T95" fmla="*/ 2147483647 h 1476"/>
                <a:gd name="T96" fmla="*/ 2147483647 w 1440"/>
                <a:gd name="T97" fmla="*/ 2147483647 h 1476"/>
                <a:gd name="T98" fmla="*/ 2147483647 w 1440"/>
                <a:gd name="T99" fmla="*/ 2147483647 h 1476"/>
                <a:gd name="T100" fmla="*/ 2147483647 w 1440"/>
                <a:gd name="T101" fmla="*/ 2147483647 h 1476"/>
                <a:gd name="T102" fmla="*/ 2147483647 w 1440"/>
                <a:gd name="T103" fmla="*/ 2147483647 h 1476"/>
                <a:gd name="T104" fmla="*/ 2147483647 w 1440"/>
                <a:gd name="T105" fmla="*/ 2147483647 h 1476"/>
                <a:gd name="T106" fmla="*/ 2147483647 w 1440"/>
                <a:gd name="T107" fmla="*/ 2147483647 h 1476"/>
                <a:gd name="T108" fmla="*/ 2147483647 w 1440"/>
                <a:gd name="T109" fmla="*/ 2147483647 h 1476"/>
                <a:gd name="T110" fmla="*/ 2147483647 w 1440"/>
                <a:gd name="T111" fmla="*/ 2147483647 h 1476"/>
                <a:gd name="T112" fmla="*/ 2147483647 w 1440"/>
                <a:gd name="T113" fmla="*/ 2147483647 h 1476"/>
                <a:gd name="T114" fmla="*/ 2147483647 w 1440"/>
                <a:gd name="T115" fmla="*/ 2147483647 h 1476"/>
                <a:gd name="T116" fmla="*/ 2147483647 w 1440"/>
                <a:gd name="T117" fmla="*/ 2147483647 h 1476"/>
                <a:gd name="T118" fmla="*/ 2147483647 w 1440"/>
                <a:gd name="T119" fmla="*/ 2147483647 h 1476"/>
                <a:gd name="T120" fmla="*/ 2147483647 w 1440"/>
                <a:gd name="T121" fmla="*/ 2147483647 h 1476"/>
                <a:gd name="T122" fmla="*/ 2147483647 w 1440"/>
                <a:gd name="T123" fmla="*/ 2147483647 h 147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40"/>
                <a:gd name="T187" fmla="*/ 0 h 1476"/>
                <a:gd name="T188" fmla="*/ 1440 w 1440"/>
                <a:gd name="T189" fmla="*/ 1476 h 147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40" h="1476">
                  <a:moveTo>
                    <a:pt x="1212" y="1164"/>
                  </a:moveTo>
                  <a:lnTo>
                    <a:pt x="1206" y="1170"/>
                  </a:lnTo>
                  <a:lnTo>
                    <a:pt x="1200" y="1176"/>
                  </a:lnTo>
                  <a:lnTo>
                    <a:pt x="1194" y="1176"/>
                  </a:lnTo>
                  <a:lnTo>
                    <a:pt x="1188" y="1188"/>
                  </a:lnTo>
                  <a:lnTo>
                    <a:pt x="1182" y="1194"/>
                  </a:lnTo>
                  <a:lnTo>
                    <a:pt x="1176" y="1194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64" y="1206"/>
                  </a:lnTo>
                  <a:lnTo>
                    <a:pt x="1158" y="1206"/>
                  </a:lnTo>
                  <a:lnTo>
                    <a:pt x="1152" y="1212"/>
                  </a:lnTo>
                  <a:lnTo>
                    <a:pt x="1146" y="1212"/>
                  </a:lnTo>
                  <a:lnTo>
                    <a:pt x="1140" y="1224"/>
                  </a:lnTo>
                  <a:lnTo>
                    <a:pt x="1134" y="1230"/>
                  </a:lnTo>
                  <a:lnTo>
                    <a:pt x="1128" y="1236"/>
                  </a:lnTo>
                  <a:lnTo>
                    <a:pt x="1128" y="1242"/>
                  </a:lnTo>
                  <a:lnTo>
                    <a:pt x="1128" y="1254"/>
                  </a:lnTo>
                  <a:lnTo>
                    <a:pt x="1128" y="1260"/>
                  </a:lnTo>
                  <a:lnTo>
                    <a:pt x="1122" y="1260"/>
                  </a:lnTo>
                  <a:lnTo>
                    <a:pt x="1122" y="1266"/>
                  </a:lnTo>
                  <a:lnTo>
                    <a:pt x="1128" y="1278"/>
                  </a:lnTo>
                  <a:lnTo>
                    <a:pt x="1122" y="1278"/>
                  </a:lnTo>
                  <a:lnTo>
                    <a:pt x="1122" y="1284"/>
                  </a:lnTo>
                  <a:lnTo>
                    <a:pt x="1128" y="1290"/>
                  </a:lnTo>
                  <a:lnTo>
                    <a:pt x="1122" y="1296"/>
                  </a:lnTo>
                  <a:lnTo>
                    <a:pt x="1122" y="1302"/>
                  </a:lnTo>
                  <a:lnTo>
                    <a:pt x="1116" y="1302"/>
                  </a:lnTo>
                  <a:lnTo>
                    <a:pt x="1110" y="1314"/>
                  </a:lnTo>
                  <a:lnTo>
                    <a:pt x="1110" y="1320"/>
                  </a:lnTo>
                  <a:lnTo>
                    <a:pt x="1110" y="1326"/>
                  </a:lnTo>
                  <a:lnTo>
                    <a:pt x="1098" y="1332"/>
                  </a:lnTo>
                  <a:lnTo>
                    <a:pt x="1092" y="1338"/>
                  </a:lnTo>
                  <a:lnTo>
                    <a:pt x="1092" y="1344"/>
                  </a:lnTo>
                  <a:lnTo>
                    <a:pt x="1086" y="1350"/>
                  </a:lnTo>
                  <a:lnTo>
                    <a:pt x="1080" y="1350"/>
                  </a:lnTo>
                  <a:lnTo>
                    <a:pt x="1074" y="1350"/>
                  </a:lnTo>
                  <a:lnTo>
                    <a:pt x="1068" y="1356"/>
                  </a:lnTo>
                  <a:lnTo>
                    <a:pt x="1062" y="1356"/>
                  </a:lnTo>
                  <a:lnTo>
                    <a:pt x="1044" y="1356"/>
                  </a:lnTo>
                  <a:lnTo>
                    <a:pt x="1038" y="1362"/>
                  </a:lnTo>
                  <a:lnTo>
                    <a:pt x="1032" y="1368"/>
                  </a:lnTo>
                  <a:lnTo>
                    <a:pt x="1026" y="1368"/>
                  </a:lnTo>
                  <a:lnTo>
                    <a:pt x="1020" y="1374"/>
                  </a:lnTo>
                  <a:lnTo>
                    <a:pt x="1008" y="1374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74"/>
                  </a:lnTo>
                  <a:lnTo>
                    <a:pt x="978" y="1380"/>
                  </a:lnTo>
                  <a:lnTo>
                    <a:pt x="972" y="1380"/>
                  </a:lnTo>
                  <a:lnTo>
                    <a:pt x="954" y="1368"/>
                  </a:lnTo>
                  <a:lnTo>
                    <a:pt x="930" y="1368"/>
                  </a:lnTo>
                  <a:lnTo>
                    <a:pt x="918" y="1368"/>
                  </a:lnTo>
                  <a:lnTo>
                    <a:pt x="906" y="1368"/>
                  </a:lnTo>
                  <a:lnTo>
                    <a:pt x="894" y="1368"/>
                  </a:lnTo>
                  <a:lnTo>
                    <a:pt x="864" y="1374"/>
                  </a:lnTo>
                  <a:lnTo>
                    <a:pt x="852" y="1374"/>
                  </a:lnTo>
                  <a:lnTo>
                    <a:pt x="846" y="1386"/>
                  </a:lnTo>
                  <a:lnTo>
                    <a:pt x="846" y="1392"/>
                  </a:lnTo>
                  <a:lnTo>
                    <a:pt x="840" y="1398"/>
                  </a:lnTo>
                  <a:lnTo>
                    <a:pt x="840" y="1404"/>
                  </a:lnTo>
                  <a:lnTo>
                    <a:pt x="834" y="1416"/>
                  </a:lnTo>
                  <a:lnTo>
                    <a:pt x="828" y="1416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04" y="1428"/>
                  </a:lnTo>
                  <a:lnTo>
                    <a:pt x="804" y="1434"/>
                  </a:lnTo>
                  <a:lnTo>
                    <a:pt x="804" y="1440"/>
                  </a:lnTo>
                  <a:lnTo>
                    <a:pt x="798" y="1446"/>
                  </a:lnTo>
                  <a:lnTo>
                    <a:pt x="798" y="1458"/>
                  </a:lnTo>
                  <a:lnTo>
                    <a:pt x="792" y="1464"/>
                  </a:lnTo>
                  <a:lnTo>
                    <a:pt x="786" y="1476"/>
                  </a:lnTo>
                  <a:lnTo>
                    <a:pt x="780" y="1470"/>
                  </a:lnTo>
                  <a:lnTo>
                    <a:pt x="774" y="1470"/>
                  </a:lnTo>
                  <a:lnTo>
                    <a:pt x="768" y="1470"/>
                  </a:lnTo>
                  <a:lnTo>
                    <a:pt x="762" y="1476"/>
                  </a:lnTo>
                  <a:lnTo>
                    <a:pt x="762" y="1470"/>
                  </a:lnTo>
                  <a:lnTo>
                    <a:pt x="762" y="1464"/>
                  </a:lnTo>
                  <a:lnTo>
                    <a:pt x="762" y="1458"/>
                  </a:lnTo>
                  <a:lnTo>
                    <a:pt x="756" y="1458"/>
                  </a:lnTo>
                  <a:lnTo>
                    <a:pt x="756" y="1452"/>
                  </a:lnTo>
                  <a:lnTo>
                    <a:pt x="756" y="1446"/>
                  </a:lnTo>
                  <a:lnTo>
                    <a:pt x="756" y="1440"/>
                  </a:lnTo>
                  <a:lnTo>
                    <a:pt x="750" y="1434"/>
                  </a:lnTo>
                  <a:lnTo>
                    <a:pt x="750" y="1428"/>
                  </a:lnTo>
                  <a:lnTo>
                    <a:pt x="750" y="1422"/>
                  </a:lnTo>
                  <a:lnTo>
                    <a:pt x="750" y="1416"/>
                  </a:lnTo>
                  <a:lnTo>
                    <a:pt x="744" y="1416"/>
                  </a:lnTo>
                  <a:lnTo>
                    <a:pt x="744" y="1410"/>
                  </a:lnTo>
                  <a:lnTo>
                    <a:pt x="738" y="1404"/>
                  </a:lnTo>
                  <a:lnTo>
                    <a:pt x="732" y="1398"/>
                  </a:lnTo>
                  <a:lnTo>
                    <a:pt x="732" y="1392"/>
                  </a:lnTo>
                  <a:lnTo>
                    <a:pt x="726" y="1386"/>
                  </a:lnTo>
                  <a:lnTo>
                    <a:pt x="726" y="1380"/>
                  </a:lnTo>
                  <a:lnTo>
                    <a:pt x="714" y="1368"/>
                  </a:lnTo>
                  <a:lnTo>
                    <a:pt x="708" y="1368"/>
                  </a:lnTo>
                  <a:lnTo>
                    <a:pt x="684" y="1332"/>
                  </a:lnTo>
                  <a:lnTo>
                    <a:pt x="666" y="1320"/>
                  </a:lnTo>
                  <a:lnTo>
                    <a:pt x="648" y="1302"/>
                  </a:lnTo>
                  <a:lnTo>
                    <a:pt x="630" y="1314"/>
                  </a:lnTo>
                  <a:lnTo>
                    <a:pt x="624" y="1314"/>
                  </a:lnTo>
                  <a:lnTo>
                    <a:pt x="624" y="1308"/>
                  </a:lnTo>
                  <a:lnTo>
                    <a:pt x="618" y="1308"/>
                  </a:lnTo>
                  <a:lnTo>
                    <a:pt x="612" y="1284"/>
                  </a:lnTo>
                  <a:lnTo>
                    <a:pt x="606" y="1254"/>
                  </a:lnTo>
                  <a:lnTo>
                    <a:pt x="606" y="1248"/>
                  </a:lnTo>
                  <a:lnTo>
                    <a:pt x="606" y="1242"/>
                  </a:lnTo>
                  <a:lnTo>
                    <a:pt x="612" y="1242"/>
                  </a:lnTo>
                  <a:lnTo>
                    <a:pt x="618" y="1236"/>
                  </a:lnTo>
                  <a:lnTo>
                    <a:pt x="618" y="1230"/>
                  </a:lnTo>
                  <a:lnTo>
                    <a:pt x="624" y="1224"/>
                  </a:lnTo>
                  <a:lnTo>
                    <a:pt x="630" y="1224"/>
                  </a:lnTo>
                  <a:lnTo>
                    <a:pt x="636" y="1218"/>
                  </a:lnTo>
                  <a:lnTo>
                    <a:pt x="636" y="1212"/>
                  </a:lnTo>
                  <a:lnTo>
                    <a:pt x="612" y="1200"/>
                  </a:lnTo>
                  <a:lnTo>
                    <a:pt x="606" y="1182"/>
                  </a:lnTo>
                  <a:lnTo>
                    <a:pt x="672" y="1182"/>
                  </a:lnTo>
                  <a:lnTo>
                    <a:pt x="690" y="1170"/>
                  </a:lnTo>
                  <a:lnTo>
                    <a:pt x="690" y="1152"/>
                  </a:lnTo>
                  <a:lnTo>
                    <a:pt x="678" y="1110"/>
                  </a:lnTo>
                  <a:lnTo>
                    <a:pt x="672" y="1092"/>
                  </a:lnTo>
                  <a:lnTo>
                    <a:pt x="660" y="1074"/>
                  </a:lnTo>
                  <a:lnTo>
                    <a:pt x="648" y="1068"/>
                  </a:lnTo>
                  <a:lnTo>
                    <a:pt x="642" y="1068"/>
                  </a:lnTo>
                  <a:lnTo>
                    <a:pt x="636" y="1062"/>
                  </a:lnTo>
                  <a:lnTo>
                    <a:pt x="624" y="1056"/>
                  </a:lnTo>
                  <a:lnTo>
                    <a:pt x="624" y="1050"/>
                  </a:lnTo>
                  <a:lnTo>
                    <a:pt x="618" y="1038"/>
                  </a:lnTo>
                  <a:lnTo>
                    <a:pt x="612" y="1038"/>
                  </a:lnTo>
                  <a:lnTo>
                    <a:pt x="612" y="1032"/>
                  </a:lnTo>
                  <a:lnTo>
                    <a:pt x="612" y="1026"/>
                  </a:lnTo>
                  <a:lnTo>
                    <a:pt x="600" y="1014"/>
                  </a:lnTo>
                  <a:lnTo>
                    <a:pt x="582" y="1008"/>
                  </a:lnTo>
                  <a:lnTo>
                    <a:pt x="576" y="1002"/>
                  </a:lnTo>
                  <a:lnTo>
                    <a:pt x="576" y="996"/>
                  </a:lnTo>
                  <a:lnTo>
                    <a:pt x="570" y="996"/>
                  </a:lnTo>
                  <a:lnTo>
                    <a:pt x="570" y="990"/>
                  </a:lnTo>
                  <a:lnTo>
                    <a:pt x="570" y="984"/>
                  </a:lnTo>
                  <a:lnTo>
                    <a:pt x="564" y="984"/>
                  </a:lnTo>
                  <a:lnTo>
                    <a:pt x="558" y="978"/>
                  </a:lnTo>
                  <a:lnTo>
                    <a:pt x="552" y="972"/>
                  </a:lnTo>
                  <a:lnTo>
                    <a:pt x="552" y="966"/>
                  </a:lnTo>
                  <a:lnTo>
                    <a:pt x="546" y="972"/>
                  </a:lnTo>
                  <a:lnTo>
                    <a:pt x="540" y="972"/>
                  </a:lnTo>
                  <a:lnTo>
                    <a:pt x="534" y="960"/>
                  </a:lnTo>
                  <a:lnTo>
                    <a:pt x="528" y="960"/>
                  </a:lnTo>
                  <a:lnTo>
                    <a:pt x="528" y="966"/>
                  </a:lnTo>
                  <a:lnTo>
                    <a:pt x="516" y="954"/>
                  </a:lnTo>
                  <a:lnTo>
                    <a:pt x="516" y="948"/>
                  </a:lnTo>
                  <a:lnTo>
                    <a:pt x="510" y="948"/>
                  </a:lnTo>
                  <a:lnTo>
                    <a:pt x="504" y="948"/>
                  </a:lnTo>
                  <a:lnTo>
                    <a:pt x="498" y="948"/>
                  </a:lnTo>
                  <a:lnTo>
                    <a:pt x="504" y="954"/>
                  </a:lnTo>
                  <a:lnTo>
                    <a:pt x="498" y="954"/>
                  </a:lnTo>
                  <a:lnTo>
                    <a:pt x="492" y="954"/>
                  </a:lnTo>
                  <a:lnTo>
                    <a:pt x="480" y="942"/>
                  </a:lnTo>
                  <a:lnTo>
                    <a:pt x="480" y="948"/>
                  </a:lnTo>
                  <a:lnTo>
                    <a:pt x="480" y="954"/>
                  </a:lnTo>
                  <a:lnTo>
                    <a:pt x="474" y="954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56" y="966"/>
                  </a:lnTo>
                  <a:lnTo>
                    <a:pt x="456" y="960"/>
                  </a:lnTo>
                  <a:lnTo>
                    <a:pt x="450" y="966"/>
                  </a:lnTo>
                  <a:lnTo>
                    <a:pt x="444" y="966"/>
                  </a:lnTo>
                  <a:lnTo>
                    <a:pt x="414" y="966"/>
                  </a:lnTo>
                  <a:lnTo>
                    <a:pt x="408" y="960"/>
                  </a:lnTo>
                  <a:lnTo>
                    <a:pt x="408" y="966"/>
                  </a:lnTo>
                  <a:lnTo>
                    <a:pt x="402" y="960"/>
                  </a:lnTo>
                  <a:lnTo>
                    <a:pt x="396" y="960"/>
                  </a:lnTo>
                  <a:lnTo>
                    <a:pt x="390" y="960"/>
                  </a:lnTo>
                  <a:lnTo>
                    <a:pt x="390" y="966"/>
                  </a:lnTo>
                  <a:lnTo>
                    <a:pt x="384" y="966"/>
                  </a:lnTo>
                  <a:lnTo>
                    <a:pt x="378" y="966"/>
                  </a:lnTo>
                  <a:lnTo>
                    <a:pt x="384" y="960"/>
                  </a:lnTo>
                  <a:lnTo>
                    <a:pt x="384" y="954"/>
                  </a:lnTo>
                  <a:lnTo>
                    <a:pt x="372" y="948"/>
                  </a:lnTo>
                  <a:lnTo>
                    <a:pt x="372" y="954"/>
                  </a:lnTo>
                  <a:lnTo>
                    <a:pt x="372" y="960"/>
                  </a:lnTo>
                  <a:lnTo>
                    <a:pt x="366" y="960"/>
                  </a:lnTo>
                  <a:lnTo>
                    <a:pt x="360" y="966"/>
                  </a:lnTo>
                  <a:lnTo>
                    <a:pt x="354" y="966"/>
                  </a:lnTo>
                  <a:lnTo>
                    <a:pt x="348" y="960"/>
                  </a:lnTo>
                  <a:lnTo>
                    <a:pt x="342" y="960"/>
                  </a:lnTo>
                  <a:lnTo>
                    <a:pt x="342" y="966"/>
                  </a:lnTo>
                  <a:lnTo>
                    <a:pt x="336" y="972"/>
                  </a:lnTo>
                  <a:lnTo>
                    <a:pt x="330" y="972"/>
                  </a:lnTo>
                  <a:lnTo>
                    <a:pt x="324" y="966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6" y="954"/>
                  </a:lnTo>
                  <a:lnTo>
                    <a:pt x="306" y="948"/>
                  </a:lnTo>
                  <a:lnTo>
                    <a:pt x="306" y="942"/>
                  </a:lnTo>
                  <a:lnTo>
                    <a:pt x="300" y="942"/>
                  </a:lnTo>
                  <a:lnTo>
                    <a:pt x="294" y="936"/>
                  </a:lnTo>
                  <a:lnTo>
                    <a:pt x="288" y="936"/>
                  </a:lnTo>
                  <a:lnTo>
                    <a:pt x="282" y="942"/>
                  </a:lnTo>
                  <a:lnTo>
                    <a:pt x="276" y="936"/>
                  </a:lnTo>
                  <a:lnTo>
                    <a:pt x="276" y="942"/>
                  </a:lnTo>
                  <a:lnTo>
                    <a:pt x="270" y="942"/>
                  </a:lnTo>
                  <a:lnTo>
                    <a:pt x="264" y="936"/>
                  </a:lnTo>
                  <a:lnTo>
                    <a:pt x="252" y="936"/>
                  </a:lnTo>
                  <a:lnTo>
                    <a:pt x="246" y="936"/>
                  </a:lnTo>
                  <a:lnTo>
                    <a:pt x="240" y="936"/>
                  </a:lnTo>
                  <a:lnTo>
                    <a:pt x="234" y="936"/>
                  </a:lnTo>
                  <a:lnTo>
                    <a:pt x="240" y="924"/>
                  </a:lnTo>
                  <a:lnTo>
                    <a:pt x="234" y="924"/>
                  </a:lnTo>
                  <a:lnTo>
                    <a:pt x="228" y="918"/>
                  </a:lnTo>
                  <a:lnTo>
                    <a:pt x="228" y="906"/>
                  </a:lnTo>
                  <a:lnTo>
                    <a:pt x="222" y="900"/>
                  </a:lnTo>
                  <a:lnTo>
                    <a:pt x="216" y="900"/>
                  </a:lnTo>
                  <a:lnTo>
                    <a:pt x="210" y="900"/>
                  </a:lnTo>
                  <a:lnTo>
                    <a:pt x="210" y="906"/>
                  </a:lnTo>
                  <a:lnTo>
                    <a:pt x="204" y="906"/>
                  </a:lnTo>
                  <a:lnTo>
                    <a:pt x="198" y="906"/>
                  </a:lnTo>
                  <a:lnTo>
                    <a:pt x="210" y="900"/>
                  </a:lnTo>
                  <a:lnTo>
                    <a:pt x="210" y="894"/>
                  </a:lnTo>
                  <a:lnTo>
                    <a:pt x="216" y="888"/>
                  </a:lnTo>
                  <a:lnTo>
                    <a:pt x="204" y="882"/>
                  </a:lnTo>
                  <a:lnTo>
                    <a:pt x="204" y="894"/>
                  </a:lnTo>
                  <a:lnTo>
                    <a:pt x="198" y="894"/>
                  </a:lnTo>
                  <a:lnTo>
                    <a:pt x="192" y="900"/>
                  </a:lnTo>
                  <a:lnTo>
                    <a:pt x="186" y="894"/>
                  </a:lnTo>
                  <a:lnTo>
                    <a:pt x="180" y="894"/>
                  </a:lnTo>
                  <a:lnTo>
                    <a:pt x="174" y="894"/>
                  </a:lnTo>
                  <a:lnTo>
                    <a:pt x="168" y="900"/>
                  </a:lnTo>
                  <a:lnTo>
                    <a:pt x="162" y="906"/>
                  </a:lnTo>
                  <a:lnTo>
                    <a:pt x="156" y="906"/>
                  </a:lnTo>
                  <a:lnTo>
                    <a:pt x="150" y="900"/>
                  </a:lnTo>
                  <a:lnTo>
                    <a:pt x="144" y="894"/>
                  </a:lnTo>
                  <a:lnTo>
                    <a:pt x="138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0" y="888"/>
                  </a:lnTo>
                  <a:lnTo>
                    <a:pt x="114" y="894"/>
                  </a:lnTo>
                  <a:lnTo>
                    <a:pt x="120" y="900"/>
                  </a:lnTo>
                  <a:lnTo>
                    <a:pt x="126" y="900"/>
                  </a:lnTo>
                  <a:lnTo>
                    <a:pt x="132" y="900"/>
                  </a:lnTo>
                  <a:lnTo>
                    <a:pt x="132" y="906"/>
                  </a:lnTo>
                  <a:lnTo>
                    <a:pt x="126" y="912"/>
                  </a:lnTo>
                  <a:lnTo>
                    <a:pt x="126" y="918"/>
                  </a:lnTo>
                  <a:lnTo>
                    <a:pt x="114" y="918"/>
                  </a:lnTo>
                  <a:lnTo>
                    <a:pt x="108" y="924"/>
                  </a:lnTo>
                  <a:lnTo>
                    <a:pt x="102" y="924"/>
                  </a:lnTo>
                  <a:lnTo>
                    <a:pt x="90" y="924"/>
                  </a:lnTo>
                  <a:lnTo>
                    <a:pt x="84" y="924"/>
                  </a:lnTo>
                  <a:lnTo>
                    <a:pt x="78" y="924"/>
                  </a:lnTo>
                  <a:lnTo>
                    <a:pt x="60" y="924"/>
                  </a:lnTo>
                  <a:lnTo>
                    <a:pt x="54" y="942"/>
                  </a:lnTo>
                  <a:lnTo>
                    <a:pt x="48" y="936"/>
                  </a:lnTo>
                  <a:lnTo>
                    <a:pt x="42" y="930"/>
                  </a:lnTo>
                  <a:lnTo>
                    <a:pt x="36" y="930"/>
                  </a:lnTo>
                  <a:lnTo>
                    <a:pt x="30" y="936"/>
                  </a:lnTo>
                  <a:lnTo>
                    <a:pt x="30" y="930"/>
                  </a:lnTo>
                  <a:lnTo>
                    <a:pt x="30" y="924"/>
                  </a:lnTo>
                  <a:lnTo>
                    <a:pt x="18" y="918"/>
                  </a:lnTo>
                  <a:lnTo>
                    <a:pt x="18" y="912"/>
                  </a:lnTo>
                  <a:lnTo>
                    <a:pt x="12" y="912"/>
                  </a:lnTo>
                  <a:lnTo>
                    <a:pt x="6" y="912"/>
                  </a:lnTo>
                  <a:lnTo>
                    <a:pt x="6" y="900"/>
                  </a:lnTo>
                  <a:lnTo>
                    <a:pt x="6" y="894"/>
                  </a:lnTo>
                  <a:lnTo>
                    <a:pt x="0" y="870"/>
                  </a:lnTo>
                  <a:lnTo>
                    <a:pt x="6" y="846"/>
                  </a:lnTo>
                  <a:lnTo>
                    <a:pt x="6" y="810"/>
                  </a:lnTo>
                  <a:lnTo>
                    <a:pt x="12" y="774"/>
                  </a:lnTo>
                  <a:lnTo>
                    <a:pt x="12" y="756"/>
                  </a:lnTo>
                  <a:lnTo>
                    <a:pt x="18" y="744"/>
                  </a:lnTo>
                  <a:lnTo>
                    <a:pt x="18" y="732"/>
                  </a:lnTo>
                  <a:lnTo>
                    <a:pt x="12" y="576"/>
                  </a:lnTo>
                  <a:lnTo>
                    <a:pt x="12" y="570"/>
                  </a:lnTo>
                  <a:lnTo>
                    <a:pt x="18" y="564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42" y="552"/>
                  </a:lnTo>
                  <a:lnTo>
                    <a:pt x="66" y="552"/>
                  </a:lnTo>
                  <a:lnTo>
                    <a:pt x="78" y="558"/>
                  </a:lnTo>
                  <a:lnTo>
                    <a:pt x="90" y="558"/>
                  </a:lnTo>
                  <a:lnTo>
                    <a:pt x="108" y="558"/>
                  </a:lnTo>
                  <a:lnTo>
                    <a:pt x="144" y="558"/>
                  </a:lnTo>
                  <a:lnTo>
                    <a:pt x="204" y="552"/>
                  </a:lnTo>
                  <a:lnTo>
                    <a:pt x="210" y="558"/>
                  </a:lnTo>
                  <a:lnTo>
                    <a:pt x="216" y="558"/>
                  </a:lnTo>
                  <a:lnTo>
                    <a:pt x="210" y="564"/>
                  </a:lnTo>
                  <a:lnTo>
                    <a:pt x="216" y="564"/>
                  </a:lnTo>
                  <a:lnTo>
                    <a:pt x="222" y="564"/>
                  </a:lnTo>
                  <a:lnTo>
                    <a:pt x="240" y="564"/>
                  </a:lnTo>
                  <a:lnTo>
                    <a:pt x="258" y="564"/>
                  </a:lnTo>
                  <a:lnTo>
                    <a:pt x="264" y="570"/>
                  </a:lnTo>
                  <a:lnTo>
                    <a:pt x="276" y="570"/>
                  </a:lnTo>
                  <a:lnTo>
                    <a:pt x="282" y="564"/>
                  </a:lnTo>
                  <a:lnTo>
                    <a:pt x="294" y="564"/>
                  </a:lnTo>
                  <a:lnTo>
                    <a:pt x="294" y="570"/>
                  </a:lnTo>
                  <a:lnTo>
                    <a:pt x="300" y="570"/>
                  </a:lnTo>
                  <a:lnTo>
                    <a:pt x="378" y="564"/>
                  </a:lnTo>
                  <a:lnTo>
                    <a:pt x="408" y="558"/>
                  </a:lnTo>
                  <a:lnTo>
                    <a:pt x="432" y="552"/>
                  </a:lnTo>
                  <a:lnTo>
                    <a:pt x="450" y="546"/>
                  </a:lnTo>
                  <a:lnTo>
                    <a:pt x="468" y="546"/>
                  </a:lnTo>
                  <a:lnTo>
                    <a:pt x="468" y="552"/>
                  </a:lnTo>
                  <a:lnTo>
                    <a:pt x="504" y="552"/>
                  </a:lnTo>
                  <a:lnTo>
                    <a:pt x="510" y="534"/>
                  </a:lnTo>
                  <a:lnTo>
                    <a:pt x="516" y="510"/>
                  </a:lnTo>
                  <a:lnTo>
                    <a:pt x="522" y="510"/>
                  </a:lnTo>
                  <a:lnTo>
                    <a:pt x="528" y="420"/>
                  </a:lnTo>
                  <a:lnTo>
                    <a:pt x="522" y="414"/>
                  </a:lnTo>
                  <a:lnTo>
                    <a:pt x="516" y="396"/>
                  </a:lnTo>
                  <a:lnTo>
                    <a:pt x="510" y="372"/>
                  </a:lnTo>
                  <a:lnTo>
                    <a:pt x="498" y="348"/>
                  </a:lnTo>
                  <a:lnTo>
                    <a:pt x="474" y="282"/>
                  </a:lnTo>
                  <a:lnTo>
                    <a:pt x="474" y="270"/>
                  </a:lnTo>
                  <a:lnTo>
                    <a:pt x="480" y="258"/>
                  </a:lnTo>
                  <a:lnTo>
                    <a:pt x="486" y="258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92" y="246"/>
                  </a:lnTo>
                  <a:lnTo>
                    <a:pt x="504" y="234"/>
                  </a:lnTo>
                  <a:lnTo>
                    <a:pt x="510" y="228"/>
                  </a:lnTo>
                  <a:lnTo>
                    <a:pt x="516" y="228"/>
                  </a:lnTo>
                  <a:lnTo>
                    <a:pt x="516" y="222"/>
                  </a:lnTo>
                  <a:lnTo>
                    <a:pt x="516" y="216"/>
                  </a:lnTo>
                  <a:lnTo>
                    <a:pt x="522" y="216"/>
                  </a:lnTo>
                  <a:lnTo>
                    <a:pt x="528" y="210"/>
                  </a:lnTo>
                  <a:lnTo>
                    <a:pt x="534" y="210"/>
                  </a:lnTo>
                  <a:lnTo>
                    <a:pt x="540" y="210"/>
                  </a:lnTo>
                  <a:lnTo>
                    <a:pt x="546" y="210"/>
                  </a:lnTo>
                  <a:lnTo>
                    <a:pt x="552" y="210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16"/>
                  </a:lnTo>
                  <a:lnTo>
                    <a:pt x="588" y="228"/>
                  </a:lnTo>
                  <a:lnTo>
                    <a:pt x="594" y="234"/>
                  </a:lnTo>
                  <a:lnTo>
                    <a:pt x="600" y="240"/>
                  </a:lnTo>
                  <a:lnTo>
                    <a:pt x="618" y="246"/>
                  </a:lnTo>
                  <a:lnTo>
                    <a:pt x="624" y="246"/>
                  </a:lnTo>
                  <a:lnTo>
                    <a:pt x="636" y="252"/>
                  </a:lnTo>
                  <a:lnTo>
                    <a:pt x="654" y="252"/>
                  </a:lnTo>
                  <a:lnTo>
                    <a:pt x="654" y="258"/>
                  </a:lnTo>
                  <a:lnTo>
                    <a:pt x="666" y="264"/>
                  </a:lnTo>
                  <a:lnTo>
                    <a:pt x="672" y="264"/>
                  </a:lnTo>
                  <a:lnTo>
                    <a:pt x="678" y="264"/>
                  </a:lnTo>
                  <a:lnTo>
                    <a:pt x="696" y="258"/>
                  </a:lnTo>
                  <a:lnTo>
                    <a:pt x="696" y="252"/>
                  </a:lnTo>
                  <a:lnTo>
                    <a:pt x="696" y="246"/>
                  </a:lnTo>
                  <a:lnTo>
                    <a:pt x="690" y="234"/>
                  </a:lnTo>
                  <a:lnTo>
                    <a:pt x="684" y="210"/>
                  </a:lnTo>
                  <a:lnTo>
                    <a:pt x="678" y="192"/>
                  </a:lnTo>
                  <a:lnTo>
                    <a:pt x="672" y="174"/>
                  </a:lnTo>
                  <a:lnTo>
                    <a:pt x="672" y="168"/>
                  </a:lnTo>
                  <a:lnTo>
                    <a:pt x="672" y="162"/>
                  </a:lnTo>
                  <a:lnTo>
                    <a:pt x="672" y="156"/>
                  </a:lnTo>
                  <a:lnTo>
                    <a:pt x="684" y="132"/>
                  </a:lnTo>
                  <a:lnTo>
                    <a:pt x="684" y="120"/>
                  </a:lnTo>
                  <a:lnTo>
                    <a:pt x="684" y="108"/>
                  </a:lnTo>
                  <a:lnTo>
                    <a:pt x="678" y="102"/>
                  </a:lnTo>
                  <a:lnTo>
                    <a:pt x="678" y="96"/>
                  </a:lnTo>
                  <a:lnTo>
                    <a:pt x="684" y="96"/>
                  </a:lnTo>
                  <a:lnTo>
                    <a:pt x="696" y="90"/>
                  </a:lnTo>
                  <a:lnTo>
                    <a:pt x="702" y="84"/>
                  </a:lnTo>
                  <a:lnTo>
                    <a:pt x="720" y="72"/>
                  </a:lnTo>
                  <a:lnTo>
                    <a:pt x="738" y="66"/>
                  </a:lnTo>
                  <a:lnTo>
                    <a:pt x="756" y="60"/>
                  </a:lnTo>
                  <a:lnTo>
                    <a:pt x="768" y="60"/>
                  </a:lnTo>
                  <a:lnTo>
                    <a:pt x="798" y="72"/>
                  </a:lnTo>
                  <a:lnTo>
                    <a:pt x="804" y="78"/>
                  </a:lnTo>
                  <a:lnTo>
                    <a:pt x="816" y="84"/>
                  </a:lnTo>
                  <a:lnTo>
                    <a:pt x="822" y="84"/>
                  </a:lnTo>
                  <a:lnTo>
                    <a:pt x="828" y="72"/>
                  </a:lnTo>
                  <a:lnTo>
                    <a:pt x="828" y="60"/>
                  </a:lnTo>
                  <a:lnTo>
                    <a:pt x="828" y="36"/>
                  </a:lnTo>
                  <a:lnTo>
                    <a:pt x="828" y="24"/>
                  </a:lnTo>
                  <a:lnTo>
                    <a:pt x="828" y="12"/>
                  </a:lnTo>
                  <a:lnTo>
                    <a:pt x="834" y="12"/>
                  </a:lnTo>
                  <a:lnTo>
                    <a:pt x="852" y="6"/>
                  </a:lnTo>
                  <a:lnTo>
                    <a:pt x="876" y="6"/>
                  </a:lnTo>
                  <a:lnTo>
                    <a:pt x="894" y="6"/>
                  </a:lnTo>
                  <a:lnTo>
                    <a:pt x="906" y="12"/>
                  </a:lnTo>
                  <a:lnTo>
                    <a:pt x="912" y="24"/>
                  </a:lnTo>
                  <a:lnTo>
                    <a:pt x="924" y="24"/>
                  </a:lnTo>
                  <a:lnTo>
                    <a:pt x="930" y="30"/>
                  </a:lnTo>
                  <a:lnTo>
                    <a:pt x="936" y="30"/>
                  </a:lnTo>
                  <a:lnTo>
                    <a:pt x="936" y="36"/>
                  </a:lnTo>
                  <a:lnTo>
                    <a:pt x="942" y="36"/>
                  </a:lnTo>
                  <a:lnTo>
                    <a:pt x="948" y="42"/>
                  </a:lnTo>
                  <a:lnTo>
                    <a:pt x="960" y="48"/>
                  </a:lnTo>
                  <a:lnTo>
                    <a:pt x="966" y="48"/>
                  </a:lnTo>
                  <a:lnTo>
                    <a:pt x="1026" y="60"/>
                  </a:lnTo>
                  <a:lnTo>
                    <a:pt x="1050" y="60"/>
                  </a:lnTo>
                  <a:lnTo>
                    <a:pt x="1050" y="54"/>
                  </a:lnTo>
                  <a:lnTo>
                    <a:pt x="1062" y="54"/>
                  </a:lnTo>
                  <a:lnTo>
                    <a:pt x="1074" y="48"/>
                  </a:lnTo>
                  <a:lnTo>
                    <a:pt x="1086" y="42"/>
                  </a:lnTo>
                  <a:lnTo>
                    <a:pt x="1104" y="36"/>
                  </a:lnTo>
                  <a:lnTo>
                    <a:pt x="1116" y="30"/>
                  </a:lnTo>
                  <a:lnTo>
                    <a:pt x="1122" y="24"/>
                  </a:lnTo>
                  <a:lnTo>
                    <a:pt x="1128" y="18"/>
                  </a:lnTo>
                  <a:lnTo>
                    <a:pt x="1134" y="18"/>
                  </a:lnTo>
                  <a:lnTo>
                    <a:pt x="1140" y="12"/>
                  </a:lnTo>
                  <a:lnTo>
                    <a:pt x="1146" y="6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24"/>
                  </a:lnTo>
                  <a:lnTo>
                    <a:pt x="1176" y="36"/>
                  </a:lnTo>
                  <a:lnTo>
                    <a:pt x="1188" y="42"/>
                  </a:lnTo>
                  <a:lnTo>
                    <a:pt x="1200" y="54"/>
                  </a:lnTo>
                  <a:lnTo>
                    <a:pt x="1224" y="84"/>
                  </a:lnTo>
                  <a:lnTo>
                    <a:pt x="1224" y="90"/>
                  </a:lnTo>
                  <a:lnTo>
                    <a:pt x="1236" y="96"/>
                  </a:lnTo>
                  <a:lnTo>
                    <a:pt x="1236" y="108"/>
                  </a:lnTo>
                  <a:lnTo>
                    <a:pt x="1248" y="114"/>
                  </a:lnTo>
                  <a:lnTo>
                    <a:pt x="1254" y="114"/>
                  </a:lnTo>
                  <a:lnTo>
                    <a:pt x="1260" y="114"/>
                  </a:lnTo>
                  <a:lnTo>
                    <a:pt x="1296" y="114"/>
                  </a:lnTo>
                  <a:lnTo>
                    <a:pt x="1302" y="114"/>
                  </a:lnTo>
                  <a:lnTo>
                    <a:pt x="1320" y="108"/>
                  </a:lnTo>
                  <a:lnTo>
                    <a:pt x="1326" y="108"/>
                  </a:lnTo>
                  <a:lnTo>
                    <a:pt x="1326" y="138"/>
                  </a:lnTo>
                  <a:lnTo>
                    <a:pt x="1326" y="210"/>
                  </a:lnTo>
                  <a:lnTo>
                    <a:pt x="1320" y="252"/>
                  </a:lnTo>
                  <a:lnTo>
                    <a:pt x="1320" y="270"/>
                  </a:lnTo>
                  <a:lnTo>
                    <a:pt x="1320" y="288"/>
                  </a:lnTo>
                  <a:lnTo>
                    <a:pt x="1320" y="318"/>
                  </a:lnTo>
                  <a:lnTo>
                    <a:pt x="1326" y="354"/>
                  </a:lnTo>
                  <a:lnTo>
                    <a:pt x="1326" y="372"/>
                  </a:lnTo>
                  <a:lnTo>
                    <a:pt x="1332" y="420"/>
                  </a:lnTo>
                  <a:lnTo>
                    <a:pt x="1332" y="450"/>
                  </a:lnTo>
                  <a:lnTo>
                    <a:pt x="1338" y="480"/>
                  </a:lnTo>
                  <a:lnTo>
                    <a:pt x="1344" y="486"/>
                  </a:lnTo>
                  <a:lnTo>
                    <a:pt x="1338" y="492"/>
                  </a:lnTo>
                  <a:lnTo>
                    <a:pt x="1344" y="492"/>
                  </a:lnTo>
                  <a:lnTo>
                    <a:pt x="1344" y="498"/>
                  </a:lnTo>
                  <a:lnTo>
                    <a:pt x="1350" y="498"/>
                  </a:lnTo>
                  <a:lnTo>
                    <a:pt x="1350" y="522"/>
                  </a:lnTo>
                  <a:lnTo>
                    <a:pt x="1362" y="564"/>
                  </a:lnTo>
                  <a:lnTo>
                    <a:pt x="1368" y="582"/>
                  </a:lnTo>
                  <a:lnTo>
                    <a:pt x="1380" y="600"/>
                  </a:lnTo>
                  <a:lnTo>
                    <a:pt x="1386" y="636"/>
                  </a:lnTo>
                  <a:lnTo>
                    <a:pt x="1380" y="660"/>
                  </a:lnTo>
                  <a:lnTo>
                    <a:pt x="1380" y="678"/>
                  </a:lnTo>
                  <a:lnTo>
                    <a:pt x="1380" y="684"/>
                  </a:lnTo>
                  <a:lnTo>
                    <a:pt x="1374" y="684"/>
                  </a:lnTo>
                  <a:lnTo>
                    <a:pt x="1368" y="690"/>
                  </a:lnTo>
                  <a:lnTo>
                    <a:pt x="1356" y="702"/>
                  </a:lnTo>
                  <a:lnTo>
                    <a:pt x="1350" y="708"/>
                  </a:lnTo>
                  <a:lnTo>
                    <a:pt x="1356" y="714"/>
                  </a:lnTo>
                  <a:lnTo>
                    <a:pt x="1368" y="726"/>
                  </a:lnTo>
                  <a:lnTo>
                    <a:pt x="1380" y="738"/>
                  </a:lnTo>
                  <a:lnTo>
                    <a:pt x="1386" y="744"/>
                  </a:lnTo>
                  <a:lnTo>
                    <a:pt x="1392" y="744"/>
                  </a:lnTo>
                  <a:lnTo>
                    <a:pt x="1410" y="750"/>
                  </a:lnTo>
                  <a:lnTo>
                    <a:pt x="1416" y="756"/>
                  </a:lnTo>
                  <a:lnTo>
                    <a:pt x="1422" y="756"/>
                  </a:lnTo>
                  <a:lnTo>
                    <a:pt x="1422" y="762"/>
                  </a:lnTo>
                  <a:lnTo>
                    <a:pt x="1428" y="774"/>
                  </a:lnTo>
                  <a:lnTo>
                    <a:pt x="1428" y="780"/>
                  </a:lnTo>
                  <a:lnTo>
                    <a:pt x="1434" y="780"/>
                  </a:lnTo>
                  <a:lnTo>
                    <a:pt x="1440" y="798"/>
                  </a:lnTo>
                  <a:lnTo>
                    <a:pt x="1422" y="816"/>
                  </a:lnTo>
                  <a:lnTo>
                    <a:pt x="1386" y="810"/>
                  </a:lnTo>
                  <a:lnTo>
                    <a:pt x="1380" y="816"/>
                  </a:lnTo>
                  <a:lnTo>
                    <a:pt x="1374" y="840"/>
                  </a:lnTo>
                  <a:lnTo>
                    <a:pt x="1350" y="852"/>
                  </a:lnTo>
                  <a:lnTo>
                    <a:pt x="1350" y="858"/>
                  </a:lnTo>
                  <a:lnTo>
                    <a:pt x="1350" y="864"/>
                  </a:lnTo>
                  <a:lnTo>
                    <a:pt x="1344" y="864"/>
                  </a:lnTo>
                  <a:lnTo>
                    <a:pt x="1338" y="870"/>
                  </a:lnTo>
                  <a:lnTo>
                    <a:pt x="1332" y="876"/>
                  </a:lnTo>
                  <a:lnTo>
                    <a:pt x="1314" y="876"/>
                  </a:lnTo>
                  <a:lnTo>
                    <a:pt x="1314" y="870"/>
                  </a:lnTo>
                  <a:lnTo>
                    <a:pt x="1308" y="870"/>
                  </a:lnTo>
                  <a:lnTo>
                    <a:pt x="1302" y="864"/>
                  </a:lnTo>
                  <a:lnTo>
                    <a:pt x="1296" y="864"/>
                  </a:lnTo>
                  <a:lnTo>
                    <a:pt x="1284" y="870"/>
                  </a:lnTo>
                  <a:lnTo>
                    <a:pt x="1266" y="870"/>
                  </a:lnTo>
                  <a:lnTo>
                    <a:pt x="1260" y="870"/>
                  </a:lnTo>
                  <a:lnTo>
                    <a:pt x="1248" y="876"/>
                  </a:lnTo>
                  <a:lnTo>
                    <a:pt x="1236" y="876"/>
                  </a:lnTo>
                  <a:lnTo>
                    <a:pt x="1230" y="882"/>
                  </a:lnTo>
                  <a:lnTo>
                    <a:pt x="1224" y="894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18" y="942"/>
                  </a:lnTo>
                  <a:lnTo>
                    <a:pt x="1212" y="948"/>
                  </a:lnTo>
                  <a:lnTo>
                    <a:pt x="1200" y="984"/>
                  </a:lnTo>
                  <a:lnTo>
                    <a:pt x="1194" y="1008"/>
                  </a:lnTo>
                  <a:lnTo>
                    <a:pt x="1218" y="1038"/>
                  </a:lnTo>
                  <a:lnTo>
                    <a:pt x="1224" y="1044"/>
                  </a:lnTo>
                  <a:lnTo>
                    <a:pt x="1224" y="1062"/>
                  </a:lnTo>
                  <a:lnTo>
                    <a:pt x="1236" y="1080"/>
                  </a:lnTo>
                  <a:lnTo>
                    <a:pt x="1236" y="1086"/>
                  </a:lnTo>
                  <a:lnTo>
                    <a:pt x="1230" y="1092"/>
                  </a:lnTo>
                  <a:lnTo>
                    <a:pt x="1224" y="1110"/>
                  </a:lnTo>
                  <a:lnTo>
                    <a:pt x="1218" y="1122"/>
                  </a:lnTo>
                  <a:lnTo>
                    <a:pt x="1224" y="1140"/>
                  </a:lnTo>
                  <a:lnTo>
                    <a:pt x="1218" y="1146"/>
                  </a:lnTo>
                  <a:lnTo>
                    <a:pt x="1218" y="1152"/>
                  </a:lnTo>
                  <a:lnTo>
                    <a:pt x="1212" y="116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27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123" name="Freeform 37">
              <a:extLst>
                <a:ext uri="{FF2B5EF4-FFF2-40B4-BE49-F238E27FC236}">
                  <a16:creationId xmlns:a16="http://schemas.microsoft.com/office/drawing/2014/main" id="{0008402B-D96B-46D1-83FD-4502B21B1D7E}"/>
                </a:ext>
              </a:extLst>
            </p:cNvPr>
            <p:cNvSpPr>
              <a:spLocks/>
            </p:cNvSpPr>
            <p:nvPr/>
          </p:nvSpPr>
          <p:spPr bwMode="gray">
            <a:xfrm>
              <a:off x="3992563" y="906463"/>
              <a:ext cx="1306512" cy="1333500"/>
            </a:xfrm>
            <a:custGeom>
              <a:avLst/>
              <a:gdLst>
                <a:gd name="T0" fmla="*/ 2147483647 w 1398"/>
                <a:gd name="T1" fmla="*/ 2147483647 h 1428"/>
                <a:gd name="T2" fmla="*/ 2147483647 w 1398"/>
                <a:gd name="T3" fmla="*/ 2147483647 h 1428"/>
                <a:gd name="T4" fmla="*/ 2147483647 w 1398"/>
                <a:gd name="T5" fmla="*/ 2147483647 h 1428"/>
                <a:gd name="T6" fmla="*/ 2147483647 w 1398"/>
                <a:gd name="T7" fmla="*/ 2147483647 h 1428"/>
                <a:gd name="T8" fmla="*/ 2147483647 w 1398"/>
                <a:gd name="T9" fmla="*/ 2147483647 h 1428"/>
                <a:gd name="T10" fmla="*/ 2147483647 w 1398"/>
                <a:gd name="T11" fmla="*/ 2147483647 h 1428"/>
                <a:gd name="T12" fmla="*/ 2147483647 w 1398"/>
                <a:gd name="T13" fmla="*/ 2147483647 h 1428"/>
                <a:gd name="T14" fmla="*/ 2147483647 w 1398"/>
                <a:gd name="T15" fmla="*/ 2147483647 h 1428"/>
                <a:gd name="T16" fmla="*/ 2147483647 w 1398"/>
                <a:gd name="T17" fmla="*/ 2147483647 h 1428"/>
                <a:gd name="T18" fmla="*/ 2147483647 w 1398"/>
                <a:gd name="T19" fmla="*/ 2147483647 h 1428"/>
                <a:gd name="T20" fmla="*/ 2147483647 w 1398"/>
                <a:gd name="T21" fmla="*/ 2147483647 h 1428"/>
                <a:gd name="T22" fmla="*/ 2147483647 w 1398"/>
                <a:gd name="T23" fmla="*/ 2147483647 h 1428"/>
                <a:gd name="T24" fmla="*/ 2147483647 w 1398"/>
                <a:gd name="T25" fmla="*/ 2147483647 h 1428"/>
                <a:gd name="T26" fmla="*/ 2147483647 w 1398"/>
                <a:gd name="T27" fmla="*/ 2147483647 h 1428"/>
                <a:gd name="T28" fmla="*/ 2147483647 w 1398"/>
                <a:gd name="T29" fmla="*/ 2147483647 h 1428"/>
                <a:gd name="T30" fmla="*/ 2147483647 w 1398"/>
                <a:gd name="T31" fmla="*/ 2147483647 h 1428"/>
                <a:gd name="T32" fmla="*/ 2147483647 w 1398"/>
                <a:gd name="T33" fmla="*/ 2147483647 h 1428"/>
                <a:gd name="T34" fmla="*/ 2147483647 w 1398"/>
                <a:gd name="T35" fmla="*/ 2147483647 h 1428"/>
                <a:gd name="T36" fmla="*/ 2147483647 w 1398"/>
                <a:gd name="T37" fmla="*/ 2147483647 h 1428"/>
                <a:gd name="T38" fmla="*/ 2147483647 w 1398"/>
                <a:gd name="T39" fmla="*/ 2147483647 h 1428"/>
                <a:gd name="T40" fmla="*/ 2147483647 w 1398"/>
                <a:gd name="T41" fmla="*/ 2147483647 h 1428"/>
                <a:gd name="T42" fmla="*/ 2147483647 w 1398"/>
                <a:gd name="T43" fmla="*/ 2147483647 h 1428"/>
                <a:gd name="T44" fmla="*/ 2147483647 w 1398"/>
                <a:gd name="T45" fmla="*/ 2147483647 h 1428"/>
                <a:gd name="T46" fmla="*/ 2147483647 w 1398"/>
                <a:gd name="T47" fmla="*/ 2147483647 h 1428"/>
                <a:gd name="T48" fmla="*/ 2147483647 w 1398"/>
                <a:gd name="T49" fmla="*/ 2147483647 h 1428"/>
                <a:gd name="T50" fmla="*/ 2147483647 w 1398"/>
                <a:gd name="T51" fmla="*/ 2147483647 h 1428"/>
                <a:gd name="T52" fmla="*/ 2147483647 w 1398"/>
                <a:gd name="T53" fmla="*/ 2147483647 h 1428"/>
                <a:gd name="T54" fmla="*/ 2147483647 w 1398"/>
                <a:gd name="T55" fmla="*/ 2147483647 h 1428"/>
                <a:gd name="T56" fmla="*/ 2147483647 w 1398"/>
                <a:gd name="T57" fmla="*/ 2147483647 h 1428"/>
                <a:gd name="T58" fmla="*/ 2147483647 w 1398"/>
                <a:gd name="T59" fmla="*/ 2147483647 h 1428"/>
                <a:gd name="T60" fmla="*/ 2147483647 w 1398"/>
                <a:gd name="T61" fmla="*/ 2147483647 h 1428"/>
                <a:gd name="T62" fmla="*/ 2147483647 w 1398"/>
                <a:gd name="T63" fmla="*/ 2147483647 h 1428"/>
                <a:gd name="T64" fmla="*/ 2147483647 w 1398"/>
                <a:gd name="T65" fmla="*/ 2147483647 h 1428"/>
                <a:gd name="T66" fmla="*/ 2147483647 w 1398"/>
                <a:gd name="T67" fmla="*/ 2147483647 h 1428"/>
                <a:gd name="T68" fmla="*/ 2147483647 w 1398"/>
                <a:gd name="T69" fmla="*/ 2147483647 h 1428"/>
                <a:gd name="T70" fmla="*/ 2147483647 w 1398"/>
                <a:gd name="T71" fmla="*/ 2147483647 h 1428"/>
                <a:gd name="T72" fmla="*/ 2147483647 w 1398"/>
                <a:gd name="T73" fmla="*/ 2147483647 h 1428"/>
                <a:gd name="T74" fmla="*/ 2147483647 w 1398"/>
                <a:gd name="T75" fmla="*/ 2147483647 h 1428"/>
                <a:gd name="T76" fmla="*/ 2147483647 w 1398"/>
                <a:gd name="T77" fmla="*/ 2147483647 h 1428"/>
                <a:gd name="T78" fmla="*/ 2147483647 w 1398"/>
                <a:gd name="T79" fmla="*/ 2147483647 h 1428"/>
                <a:gd name="T80" fmla="*/ 2147483647 w 1398"/>
                <a:gd name="T81" fmla="*/ 0 h 1428"/>
                <a:gd name="T82" fmla="*/ 2147483647 w 1398"/>
                <a:gd name="T83" fmla="*/ 0 h 1428"/>
                <a:gd name="T84" fmla="*/ 2147483647 w 1398"/>
                <a:gd name="T85" fmla="*/ 2147483647 h 1428"/>
                <a:gd name="T86" fmla="*/ 2147483647 w 1398"/>
                <a:gd name="T87" fmla="*/ 2147483647 h 1428"/>
                <a:gd name="T88" fmla="*/ 2147483647 w 1398"/>
                <a:gd name="T89" fmla="*/ 2147483647 h 1428"/>
                <a:gd name="T90" fmla="*/ 2147483647 w 1398"/>
                <a:gd name="T91" fmla="*/ 2147483647 h 1428"/>
                <a:gd name="T92" fmla="*/ 2147483647 w 1398"/>
                <a:gd name="T93" fmla="*/ 2147483647 h 1428"/>
                <a:gd name="T94" fmla="*/ 2147483647 w 1398"/>
                <a:gd name="T95" fmla="*/ 2147483647 h 1428"/>
                <a:gd name="T96" fmla="*/ 2147483647 w 1398"/>
                <a:gd name="T97" fmla="*/ 2147483647 h 1428"/>
                <a:gd name="T98" fmla="*/ 2147483647 w 1398"/>
                <a:gd name="T99" fmla="*/ 2147483647 h 1428"/>
                <a:gd name="T100" fmla="*/ 2147483647 w 1398"/>
                <a:gd name="T101" fmla="*/ 2147483647 h 1428"/>
                <a:gd name="T102" fmla="*/ 2147483647 w 1398"/>
                <a:gd name="T103" fmla="*/ 2147483647 h 1428"/>
                <a:gd name="T104" fmla="*/ 2147483647 w 1398"/>
                <a:gd name="T105" fmla="*/ 2147483647 h 1428"/>
                <a:gd name="T106" fmla="*/ 2147483647 w 1398"/>
                <a:gd name="T107" fmla="*/ 2147483647 h 1428"/>
                <a:gd name="T108" fmla="*/ 2147483647 w 1398"/>
                <a:gd name="T109" fmla="*/ 2147483647 h 1428"/>
                <a:gd name="T110" fmla="*/ 2147483647 w 1398"/>
                <a:gd name="T111" fmla="*/ 2147483647 h 1428"/>
                <a:gd name="T112" fmla="*/ 2147483647 w 1398"/>
                <a:gd name="T113" fmla="*/ 2147483647 h 1428"/>
                <a:gd name="T114" fmla="*/ 2147483647 w 1398"/>
                <a:gd name="T115" fmla="*/ 2147483647 h 1428"/>
                <a:gd name="T116" fmla="*/ 2147483647 w 1398"/>
                <a:gd name="T117" fmla="*/ 2147483647 h 1428"/>
                <a:gd name="T118" fmla="*/ 2147483647 w 1398"/>
                <a:gd name="T119" fmla="*/ 2147483647 h 1428"/>
                <a:gd name="T120" fmla="*/ 2147483647 w 1398"/>
                <a:gd name="T121" fmla="*/ 2147483647 h 142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98"/>
                <a:gd name="T184" fmla="*/ 0 h 1428"/>
                <a:gd name="T185" fmla="*/ 1398 w 1398"/>
                <a:gd name="T186" fmla="*/ 1428 h 142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98" h="1428">
                  <a:moveTo>
                    <a:pt x="924" y="474"/>
                  </a:moveTo>
                  <a:lnTo>
                    <a:pt x="900" y="480"/>
                  </a:lnTo>
                  <a:lnTo>
                    <a:pt x="864" y="486"/>
                  </a:lnTo>
                  <a:lnTo>
                    <a:pt x="864" y="504"/>
                  </a:lnTo>
                  <a:lnTo>
                    <a:pt x="858" y="522"/>
                  </a:lnTo>
                  <a:lnTo>
                    <a:pt x="864" y="528"/>
                  </a:lnTo>
                  <a:lnTo>
                    <a:pt x="864" y="552"/>
                  </a:lnTo>
                  <a:lnTo>
                    <a:pt x="852" y="552"/>
                  </a:lnTo>
                  <a:lnTo>
                    <a:pt x="846" y="564"/>
                  </a:lnTo>
                  <a:lnTo>
                    <a:pt x="840" y="582"/>
                  </a:lnTo>
                  <a:lnTo>
                    <a:pt x="834" y="594"/>
                  </a:lnTo>
                  <a:lnTo>
                    <a:pt x="828" y="606"/>
                  </a:lnTo>
                  <a:lnTo>
                    <a:pt x="828" y="618"/>
                  </a:lnTo>
                  <a:lnTo>
                    <a:pt x="786" y="630"/>
                  </a:lnTo>
                  <a:lnTo>
                    <a:pt x="774" y="636"/>
                  </a:lnTo>
                  <a:lnTo>
                    <a:pt x="762" y="642"/>
                  </a:lnTo>
                  <a:lnTo>
                    <a:pt x="744" y="648"/>
                  </a:lnTo>
                  <a:lnTo>
                    <a:pt x="714" y="660"/>
                  </a:lnTo>
                  <a:lnTo>
                    <a:pt x="696" y="666"/>
                  </a:lnTo>
                  <a:lnTo>
                    <a:pt x="666" y="672"/>
                  </a:lnTo>
                  <a:lnTo>
                    <a:pt x="654" y="684"/>
                  </a:lnTo>
                  <a:lnTo>
                    <a:pt x="648" y="684"/>
                  </a:lnTo>
                  <a:lnTo>
                    <a:pt x="642" y="696"/>
                  </a:lnTo>
                  <a:lnTo>
                    <a:pt x="636" y="696"/>
                  </a:lnTo>
                  <a:lnTo>
                    <a:pt x="630" y="714"/>
                  </a:lnTo>
                  <a:lnTo>
                    <a:pt x="624" y="738"/>
                  </a:lnTo>
                  <a:lnTo>
                    <a:pt x="624" y="762"/>
                  </a:lnTo>
                  <a:lnTo>
                    <a:pt x="630" y="780"/>
                  </a:lnTo>
                  <a:lnTo>
                    <a:pt x="636" y="804"/>
                  </a:lnTo>
                  <a:lnTo>
                    <a:pt x="642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6" y="834"/>
                  </a:lnTo>
                  <a:lnTo>
                    <a:pt x="636" y="870"/>
                  </a:lnTo>
                  <a:lnTo>
                    <a:pt x="636" y="882"/>
                  </a:lnTo>
                  <a:lnTo>
                    <a:pt x="636" y="906"/>
                  </a:lnTo>
                  <a:lnTo>
                    <a:pt x="630" y="906"/>
                  </a:lnTo>
                  <a:lnTo>
                    <a:pt x="636" y="918"/>
                  </a:lnTo>
                  <a:lnTo>
                    <a:pt x="642" y="918"/>
                  </a:lnTo>
                  <a:lnTo>
                    <a:pt x="642" y="930"/>
                  </a:lnTo>
                  <a:lnTo>
                    <a:pt x="648" y="936"/>
                  </a:lnTo>
                  <a:lnTo>
                    <a:pt x="654" y="936"/>
                  </a:lnTo>
                  <a:lnTo>
                    <a:pt x="654" y="942"/>
                  </a:lnTo>
                  <a:lnTo>
                    <a:pt x="654" y="948"/>
                  </a:lnTo>
                  <a:lnTo>
                    <a:pt x="648" y="954"/>
                  </a:lnTo>
                  <a:lnTo>
                    <a:pt x="648" y="960"/>
                  </a:lnTo>
                  <a:lnTo>
                    <a:pt x="648" y="966"/>
                  </a:lnTo>
                  <a:lnTo>
                    <a:pt x="648" y="972"/>
                  </a:lnTo>
                  <a:lnTo>
                    <a:pt x="648" y="990"/>
                  </a:lnTo>
                  <a:lnTo>
                    <a:pt x="654" y="996"/>
                  </a:lnTo>
                  <a:lnTo>
                    <a:pt x="648" y="1002"/>
                  </a:lnTo>
                  <a:lnTo>
                    <a:pt x="648" y="1008"/>
                  </a:lnTo>
                  <a:lnTo>
                    <a:pt x="654" y="1014"/>
                  </a:lnTo>
                  <a:lnTo>
                    <a:pt x="654" y="1020"/>
                  </a:lnTo>
                  <a:lnTo>
                    <a:pt x="654" y="1026"/>
                  </a:lnTo>
                  <a:lnTo>
                    <a:pt x="660" y="1026"/>
                  </a:lnTo>
                  <a:lnTo>
                    <a:pt x="660" y="1032"/>
                  </a:lnTo>
                  <a:lnTo>
                    <a:pt x="660" y="1038"/>
                  </a:lnTo>
                  <a:lnTo>
                    <a:pt x="666" y="1044"/>
                  </a:lnTo>
                  <a:lnTo>
                    <a:pt x="672" y="1050"/>
                  </a:lnTo>
                  <a:lnTo>
                    <a:pt x="672" y="1056"/>
                  </a:lnTo>
                  <a:lnTo>
                    <a:pt x="672" y="1062"/>
                  </a:lnTo>
                  <a:lnTo>
                    <a:pt x="672" y="1068"/>
                  </a:lnTo>
                  <a:lnTo>
                    <a:pt x="672" y="1074"/>
                  </a:lnTo>
                  <a:lnTo>
                    <a:pt x="678" y="1074"/>
                  </a:lnTo>
                  <a:lnTo>
                    <a:pt x="678" y="1080"/>
                  </a:lnTo>
                  <a:lnTo>
                    <a:pt x="678" y="1086"/>
                  </a:lnTo>
                  <a:lnTo>
                    <a:pt x="672" y="1092"/>
                  </a:lnTo>
                  <a:lnTo>
                    <a:pt x="672" y="1098"/>
                  </a:lnTo>
                  <a:lnTo>
                    <a:pt x="672" y="1104"/>
                  </a:lnTo>
                  <a:lnTo>
                    <a:pt x="666" y="1116"/>
                  </a:lnTo>
                  <a:lnTo>
                    <a:pt x="624" y="1122"/>
                  </a:lnTo>
                  <a:lnTo>
                    <a:pt x="576" y="1134"/>
                  </a:lnTo>
                  <a:lnTo>
                    <a:pt x="570" y="1140"/>
                  </a:lnTo>
                  <a:lnTo>
                    <a:pt x="570" y="1146"/>
                  </a:lnTo>
                  <a:lnTo>
                    <a:pt x="564" y="1146"/>
                  </a:lnTo>
                  <a:lnTo>
                    <a:pt x="564" y="1152"/>
                  </a:lnTo>
                  <a:lnTo>
                    <a:pt x="564" y="1164"/>
                  </a:lnTo>
                  <a:lnTo>
                    <a:pt x="564" y="1170"/>
                  </a:lnTo>
                  <a:lnTo>
                    <a:pt x="564" y="1176"/>
                  </a:lnTo>
                  <a:lnTo>
                    <a:pt x="546" y="1176"/>
                  </a:lnTo>
                  <a:lnTo>
                    <a:pt x="540" y="1212"/>
                  </a:lnTo>
                  <a:lnTo>
                    <a:pt x="540" y="1230"/>
                  </a:lnTo>
                  <a:lnTo>
                    <a:pt x="546" y="1242"/>
                  </a:lnTo>
                  <a:lnTo>
                    <a:pt x="546" y="1254"/>
                  </a:lnTo>
                  <a:lnTo>
                    <a:pt x="558" y="1266"/>
                  </a:lnTo>
                  <a:lnTo>
                    <a:pt x="576" y="1272"/>
                  </a:lnTo>
                  <a:lnTo>
                    <a:pt x="570" y="1278"/>
                  </a:lnTo>
                  <a:lnTo>
                    <a:pt x="576" y="1284"/>
                  </a:lnTo>
                  <a:lnTo>
                    <a:pt x="570" y="1296"/>
                  </a:lnTo>
                  <a:lnTo>
                    <a:pt x="558" y="1302"/>
                  </a:lnTo>
                  <a:lnTo>
                    <a:pt x="540" y="1308"/>
                  </a:lnTo>
                  <a:lnTo>
                    <a:pt x="522" y="1314"/>
                  </a:lnTo>
                  <a:lnTo>
                    <a:pt x="516" y="1314"/>
                  </a:lnTo>
                  <a:lnTo>
                    <a:pt x="510" y="1314"/>
                  </a:lnTo>
                  <a:lnTo>
                    <a:pt x="504" y="1314"/>
                  </a:lnTo>
                  <a:lnTo>
                    <a:pt x="498" y="1320"/>
                  </a:lnTo>
                  <a:lnTo>
                    <a:pt x="492" y="1320"/>
                  </a:lnTo>
                  <a:lnTo>
                    <a:pt x="492" y="1326"/>
                  </a:lnTo>
                  <a:lnTo>
                    <a:pt x="486" y="1326"/>
                  </a:lnTo>
                  <a:lnTo>
                    <a:pt x="480" y="1326"/>
                  </a:lnTo>
                  <a:lnTo>
                    <a:pt x="480" y="1320"/>
                  </a:lnTo>
                  <a:lnTo>
                    <a:pt x="468" y="1314"/>
                  </a:lnTo>
                  <a:lnTo>
                    <a:pt x="462" y="1308"/>
                  </a:lnTo>
                  <a:lnTo>
                    <a:pt x="456" y="1302"/>
                  </a:lnTo>
                  <a:lnTo>
                    <a:pt x="444" y="1296"/>
                  </a:lnTo>
                  <a:lnTo>
                    <a:pt x="420" y="1290"/>
                  </a:lnTo>
                  <a:lnTo>
                    <a:pt x="414" y="1278"/>
                  </a:lnTo>
                  <a:lnTo>
                    <a:pt x="408" y="1278"/>
                  </a:lnTo>
                  <a:lnTo>
                    <a:pt x="408" y="1266"/>
                  </a:lnTo>
                  <a:lnTo>
                    <a:pt x="402" y="1260"/>
                  </a:lnTo>
                  <a:lnTo>
                    <a:pt x="384" y="1260"/>
                  </a:lnTo>
                  <a:lnTo>
                    <a:pt x="372" y="1266"/>
                  </a:lnTo>
                  <a:lnTo>
                    <a:pt x="360" y="1272"/>
                  </a:lnTo>
                  <a:lnTo>
                    <a:pt x="348" y="1272"/>
                  </a:lnTo>
                  <a:lnTo>
                    <a:pt x="342" y="1284"/>
                  </a:lnTo>
                  <a:lnTo>
                    <a:pt x="336" y="1290"/>
                  </a:lnTo>
                  <a:lnTo>
                    <a:pt x="336" y="1308"/>
                  </a:lnTo>
                  <a:lnTo>
                    <a:pt x="336" y="1314"/>
                  </a:lnTo>
                  <a:lnTo>
                    <a:pt x="336" y="1320"/>
                  </a:lnTo>
                  <a:lnTo>
                    <a:pt x="330" y="1326"/>
                  </a:lnTo>
                  <a:lnTo>
                    <a:pt x="330" y="1332"/>
                  </a:lnTo>
                  <a:lnTo>
                    <a:pt x="330" y="1338"/>
                  </a:lnTo>
                  <a:lnTo>
                    <a:pt x="300" y="1338"/>
                  </a:lnTo>
                  <a:lnTo>
                    <a:pt x="288" y="1338"/>
                  </a:lnTo>
                  <a:lnTo>
                    <a:pt x="258" y="1326"/>
                  </a:lnTo>
                  <a:lnTo>
                    <a:pt x="246" y="1332"/>
                  </a:lnTo>
                  <a:lnTo>
                    <a:pt x="240" y="1338"/>
                  </a:lnTo>
                  <a:lnTo>
                    <a:pt x="234" y="1338"/>
                  </a:lnTo>
                  <a:lnTo>
                    <a:pt x="228" y="1350"/>
                  </a:lnTo>
                  <a:lnTo>
                    <a:pt x="228" y="1374"/>
                  </a:lnTo>
                  <a:lnTo>
                    <a:pt x="234" y="1392"/>
                  </a:lnTo>
                  <a:lnTo>
                    <a:pt x="246" y="1398"/>
                  </a:lnTo>
                  <a:lnTo>
                    <a:pt x="246" y="1410"/>
                  </a:lnTo>
                  <a:lnTo>
                    <a:pt x="216" y="1428"/>
                  </a:lnTo>
                  <a:lnTo>
                    <a:pt x="198" y="1428"/>
                  </a:lnTo>
                  <a:lnTo>
                    <a:pt x="192" y="1422"/>
                  </a:lnTo>
                  <a:lnTo>
                    <a:pt x="174" y="1410"/>
                  </a:lnTo>
                  <a:lnTo>
                    <a:pt x="156" y="1386"/>
                  </a:lnTo>
                  <a:lnTo>
                    <a:pt x="132" y="1374"/>
                  </a:lnTo>
                  <a:lnTo>
                    <a:pt x="108" y="1368"/>
                  </a:lnTo>
                  <a:lnTo>
                    <a:pt x="84" y="1368"/>
                  </a:lnTo>
                  <a:lnTo>
                    <a:pt x="96" y="1356"/>
                  </a:lnTo>
                  <a:lnTo>
                    <a:pt x="102" y="1344"/>
                  </a:lnTo>
                  <a:lnTo>
                    <a:pt x="102" y="1332"/>
                  </a:lnTo>
                  <a:lnTo>
                    <a:pt x="108" y="1320"/>
                  </a:lnTo>
                  <a:lnTo>
                    <a:pt x="108" y="1302"/>
                  </a:lnTo>
                  <a:lnTo>
                    <a:pt x="96" y="1278"/>
                  </a:lnTo>
                  <a:lnTo>
                    <a:pt x="66" y="1284"/>
                  </a:lnTo>
                  <a:lnTo>
                    <a:pt x="54" y="1278"/>
                  </a:lnTo>
                  <a:lnTo>
                    <a:pt x="36" y="1278"/>
                  </a:lnTo>
                  <a:lnTo>
                    <a:pt x="18" y="1284"/>
                  </a:lnTo>
                  <a:lnTo>
                    <a:pt x="18" y="1272"/>
                  </a:lnTo>
                  <a:lnTo>
                    <a:pt x="24" y="1260"/>
                  </a:lnTo>
                  <a:lnTo>
                    <a:pt x="24" y="1254"/>
                  </a:lnTo>
                  <a:lnTo>
                    <a:pt x="30" y="1248"/>
                  </a:lnTo>
                  <a:lnTo>
                    <a:pt x="24" y="1230"/>
                  </a:lnTo>
                  <a:lnTo>
                    <a:pt x="30" y="1218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30" y="1170"/>
                  </a:lnTo>
                  <a:lnTo>
                    <a:pt x="30" y="1152"/>
                  </a:lnTo>
                  <a:lnTo>
                    <a:pt x="24" y="1146"/>
                  </a:lnTo>
                  <a:lnTo>
                    <a:pt x="0" y="1116"/>
                  </a:lnTo>
                  <a:lnTo>
                    <a:pt x="6" y="1092"/>
                  </a:lnTo>
                  <a:lnTo>
                    <a:pt x="18" y="1056"/>
                  </a:lnTo>
                  <a:lnTo>
                    <a:pt x="24" y="1050"/>
                  </a:lnTo>
                  <a:lnTo>
                    <a:pt x="24" y="1038"/>
                  </a:lnTo>
                  <a:lnTo>
                    <a:pt x="24" y="1026"/>
                  </a:lnTo>
                  <a:lnTo>
                    <a:pt x="30" y="1002"/>
                  </a:lnTo>
                  <a:lnTo>
                    <a:pt x="36" y="990"/>
                  </a:lnTo>
                  <a:lnTo>
                    <a:pt x="42" y="984"/>
                  </a:lnTo>
                  <a:lnTo>
                    <a:pt x="54" y="984"/>
                  </a:lnTo>
                  <a:lnTo>
                    <a:pt x="66" y="978"/>
                  </a:lnTo>
                  <a:lnTo>
                    <a:pt x="72" y="978"/>
                  </a:lnTo>
                  <a:lnTo>
                    <a:pt x="90" y="978"/>
                  </a:lnTo>
                  <a:lnTo>
                    <a:pt x="102" y="972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78"/>
                  </a:lnTo>
                  <a:lnTo>
                    <a:pt x="120" y="984"/>
                  </a:lnTo>
                  <a:lnTo>
                    <a:pt x="138" y="984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6" y="972"/>
                  </a:lnTo>
                  <a:lnTo>
                    <a:pt x="156" y="966"/>
                  </a:lnTo>
                  <a:lnTo>
                    <a:pt x="156" y="960"/>
                  </a:lnTo>
                  <a:lnTo>
                    <a:pt x="180" y="948"/>
                  </a:lnTo>
                  <a:lnTo>
                    <a:pt x="186" y="924"/>
                  </a:lnTo>
                  <a:lnTo>
                    <a:pt x="192" y="918"/>
                  </a:lnTo>
                  <a:lnTo>
                    <a:pt x="228" y="924"/>
                  </a:lnTo>
                  <a:lnTo>
                    <a:pt x="246" y="906"/>
                  </a:lnTo>
                  <a:lnTo>
                    <a:pt x="240" y="888"/>
                  </a:lnTo>
                  <a:lnTo>
                    <a:pt x="234" y="888"/>
                  </a:lnTo>
                  <a:lnTo>
                    <a:pt x="234" y="882"/>
                  </a:lnTo>
                  <a:lnTo>
                    <a:pt x="228" y="870"/>
                  </a:lnTo>
                  <a:lnTo>
                    <a:pt x="228" y="864"/>
                  </a:lnTo>
                  <a:lnTo>
                    <a:pt x="222" y="864"/>
                  </a:lnTo>
                  <a:lnTo>
                    <a:pt x="216" y="858"/>
                  </a:lnTo>
                  <a:lnTo>
                    <a:pt x="198" y="852"/>
                  </a:lnTo>
                  <a:lnTo>
                    <a:pt x="192" y="852"/>
                  </a:lnTo>
                  <a:lnTo>
                    <a:pt x="186" y="846"/>
                  </a:lnTo>
                  <a:lnTo>
                    <a:pt x="174" y="834"/>
                  </a:lnTo>
                  <a:lnTo>
                    <a:pt x="162" y="822"/>
                  </a:lnTo>
                  <a:lnTo>
                    <a:pt x="156" y="816"/>
                  </a:lnTo>
                  <a:lnTo>
                    <a:pt x="162" y="810"/>
                  </a:lnTo>
                  <a:lnTo>
                    <a:pt x="174" y="798"/>
                  </a:lnTo>
                  <a:lnTo>
                    <a:pt x="180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68"/>
                  </a:lnTo>
                  <a:lnTo>
                    <a:pt x="192" y="744"/>
                  </a:lnTo>
                  <a:lnTo>
                    <a:pt x="186" y="708"/>
                  </a:lnTo>
                  <a:lnTo>
                    <a:pt x="174" y="690"/>
                  </a:lnTo>
                  <a:lnTo>
                    <a:pt x="168" y="672"/>
                  </a:lnTo>
                  <a:lnTo>
                    <a:pt x="156" y="630"/>
                  </a:lnTo>
                  <a:lnTo>
                    <a:pt x="156" y="606"/>
                  </a:lnTo>
                  <a:lnTo>
                    <a:pt x="150" y="606"/>
                  </a:lnTo>
                  <a:lnTo>
                    <a:pt x="150" y="600"/>
                  </a:lnTo>
                  <a:lnTo>
                    <a:pt x="144" y="600"/>
                  </a:lnTo>
                  <a:lnTo>
                    <a:pt x="150" y="594"/>
                  </a:lnTo>
                  <a:lnTo>
                    <a:pt x="144" y="588"/>
                  </a:lnTo>
                  <a:lnTo>
                    <a:pt x="138" y="558"/>
                  </a:lnTo>
                  <a:lnTo>
                    <a:pt x="138" y="528"/>
                  </a:lnTo>
                  <a:lnTo>
                    <a:pt x="132" y="480"/>
                  </a:lnTo>
                  <a:lnTo>
                    <a:pt x="132" y="462"/>
                  </a:lnTo>
                  <a:lnTo>
                    <a:pt x="126" y="426"/>
                  </a:lnTo>
                  <a:lnTo>
                    <a:pt x="126" y="396"/>
                  </a:lnTo>
                  <a:lnTo>
                    <a:pt x="126" y="378"/>
                  </a:lnTo>
                  <a:lnTo>
                    <a:pt x="126" y="360"/>
                  </a:lnTo>
                  <a:lnTo>
                    <a:pt x="132" y="318"/>
                  </a:lnTo>
                  <a:lnTo>
                    <a:pt x="132" y="24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2" y="210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92" y="198"/>
                  </a:lnTo>
                  <a:lnTo>
                    <a:pt x="198" y="198"/>
                  </a:lnTo>
                  <a:lnTo>
                    <a:pt x="216" y="180"/>
                  </a:lnTo>
                  <a:lnTo>
                    <a:pt x="222" y="174"/>
                  </a:lnTo>
                  <a:lnTo>
                    <a:pt x="222" y="168"/>
                  </a:lnTo>
                  <a:lnTo>
                    <a:pt x="228" y="168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44"/>
                  </a:lnTo>
                  <a:lnTo>
                    <a:pt x="258" y="144"/>
                  </a:lnTo>
                  <a:lnTo>
                    <a:pt x="276" y="150"/>
                  </a:lnTo>
                  <a:lnTo>
                    <a:pt x="300" y="150"/>
                  </a:lnTo>
                  <a:lnTo>
                    <a:pt x="312" y="150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8" y="156"/>
                  </a:lnTo>
                  <a:lnTo>
                    <a:pt x="354" y="150"/>
                  </a:lnTo>
                  <a:lnTo>
                    <a:pt x="372" y="144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08" y="126"/>
                  </a:lnTo>
                  <a:lnTo>
                    <a:pt x="414" y="120"/>
                  </a:lnTo>
                  <a:lnTo>
                    <a:pt x="420" y="120"/>
                  </a:lnTo>
                  <a:lnTo>
                    <a:pt x="426" y="120"/>
                  </a:lnTo>
                  <a:lnTo>
                    <a:pt x="432" y="114"/>
                  </a:lnTo>
                  <a:lnTo>
                    <a:pt x="450" y="102"/>
                  </a:lnTo>
                  <a:lnTo>
                    <a:pt x="456" y="96"/>
                  </a:lnTo>
                  <a:lnTo>
                    <a:pt x="468" y="90"/>
                  </a:lnTo>
                  <a:lnTo>
                    <a:pt x="474" y="90"/>
                  </a:lnTo>
                  <a:lnTo>
                    <a:pt x="480" y="84"/>
                  </a:lnTo>
                  <a:lnTo>
                    <a:pt x="486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504" y="72"/>
                  </a:lnTo>
                  <a:lnTo>
                    <a:pt x="510" y="66"/>
                  </a:lnTo>
                  <a:lnTo>
                    <a:pt x="516" y="66"/>
                  </a:lnTo>
                  <a:lnTo>
                    <a:pt x="522" y="60"/>
                  </a:lnTo>
                  <a:lnTo>
                    <a:pt x="552" y="42"/>
                  </a:lnTo>
                  <a:lnTo>
                    <a:pt x="558" y="36"/>
                  </a:lnTo>
                  <a:lnTo>
                    <a:pt x="576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94" y="18"/>
                  </a:lnTo>
                  <a:lnTo>
                    <a:pt x="600" y="12"/>
                  </a:lnTo>
                  <a:lnTo>
                    <a:pt x="612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6"/>
                  </a:lnTo>
                  <a:lnTo>
                    <a:pt x="648" y="6"/>
                  </a:lnTo>
                  <a:lnTo>
                    <a:pt x="660" y="6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38" y="18"/>
                  </a:lnTo>
                  <a:lnTo>
                    <a:pt x="744" y="18"/>
                  </a:lnTo>
                  <a:lnTo>
                    <a:pt x="756" y="18"/>
                  </a:lnTo>
                  <a:lnTo>
                    <a:pt x="762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80" y="24"/>
                  </a:lnTo>
                  <a:lnTo>
                    <a:pt x="792" y="24"/>
                  </a:lnTo>
                  <a:lnTo>
                    <a:pt x="792" y="30"/>
                  </a:lnTo>
                  <a:lnTo>
                    <a:pt x="810" y="30"/>
                  </a:lnTo>
                  <a:lnTo>
                    <a:pt x="822" y="36"/>
                  </a:lnTo>
                  <a:lnTo>
                    <a:pt x="834" y="42"/>
                  </a:lnTo>
                  <a:lnTo>
                    <a:pt x="840" y="48"/>
                  </a:lnTo>
                  <a:lnTo>
                    <a:pt x="846" y="54"/>
                  </a:lnTo>
                  <a:lnTo>
                    <a:pt x="852" y="60"/>
                  </a:lnTo>
                  <a:lnTo>
                    <a:pt x="858" y="66"/>
                  </a:lnTo>
                  <a:lnTo>
                    <a:pt x="864" y="66"/>
                  </a:lnTo>
                  <a:lnTo>
                    <a:pt x="864" y="72"/>
                  </a:lnTo>
                  <a:lnTo>
                    <a:pt x="876" y="78"/>
                  </a:lnTo>
                  <a:lnTo>
                    <a:pt x="900" y="84"/>
                  </a:lnTo>
                  <a:lnTo>
                    <a:pt x="906" y="90"/>
                  </a:lnTo>
                  <a:lnTo>
                    <a:pt x="912" y="90"/>
                  </a:lnTo>
                  <a:lnTo>
                    <a:pt x="912" y="96"/>
                  </a:lnTo>
                  <a:lnTo>
                    <a:pt x="924" y="108"/>
                  </a:lnTo>
                  <a:lnTo>
                    <a:pt x="930" y="108"/>
                  </a:lnTo>
                  <a:lnTo>
                    <a:pt x="936" y="114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60" y="138"/>
                  </a:lnTo>
                  <a:lnTo>
                    <a:pt x="966" y="144"/>
                  </a:lnTo>
                  <a:lnTo>
                    <a:pt x="972" y="156"/>
                  </a:lnTo>
                  <a:lnTo>
                    <a:pt x="978" y="162"/>
                  </a:lnTo>
                  <a:lnTo>
                    <a:pt x="984" y="162"/>
                  </a:lnTo>
                  <a:lnTo>
                    <a:pt x="990" y="168"/>
                  </a:lnTo>
                  <a:lnTo>
                    <a:pt x="996" y="174"/>
                  </a:lnTo>
                  <a:lnTo>
                    <a:pt x="1002" y="180"/>
                  </a:lnTo>
                  <a:lnTo>
                    <a:pt x="1008" y="180"/>
                  </a:lnTo>
                  <a:lnTo>
                    <a:pt x="1020" y="180"/>
                  </a:lnTo>
                  <a:lnTo>
                    <a:pt x="1038" y="174"/>
                  </a:lnTo>
                  <a:lnTo>
                    <a:pt x="1050" y="174"/>
                  </a:lnTo>
                  <a:lnTo>
                    <a:pt x="1056" y="174"/>
                  </a:lnTo>
                  <a:lnTo>
                    <a:pt x="1068" y="180"/>
                  </a:lnTo>
                  <a:lnTo>
                    <a:pt x="1080" y="180"/>
                  </a:lnTo>
                  <a:lnTo>
                    <a:pt x="1086" y="186"/>
                  </a:lnTo>
                  <a:lnTo>
                    <a:pt x="1098" y="192"/>
                  </a:lnTo>
                  <a:lnTo>
                    <a:pt x="1116" y="204"/>
                  </a:lnTo>
                  <a:lnTo>
                    <a:pt x="1122" y="210"/>
                  </a:lnTo>
                  <a:lnTo>
                    <a:pt x="1134" y="222"/>
                  </a:lnTo>
                  <a:lnTo>
                    <a:pt x="1146" y="234"/>
                  </a:lnTo>
                  <a:lnTo>
                    <a:pt x="1146" y="240"/>
                  </a:lnTo>
                  <a:lnTo>
                    <a:pt x="1152" y="246"/>
                  </a:lnTo>
                  <a:lnTo>
                    <a:pt x="1152" y="252"/>
                  </a:lnTo>
                  <a:lnTo>
                    <a:pt x="1152" y="258"/>
                  </a:lnTo>
                  <a:lnTo>
                    <a:pt x="1164" y="258"/>
                  </a:lnTo>
                  <a:lnTo>
                    <a:pt x="1170" y="264"/>
                  </a:lnTo>
                  <a:lnTo>
                    <a:pt x="1182" y="270"/>
                  </a:lnTo>
                  <a:lnTo>
                    <a:pt x="1188" y="270"/>
                  </a:lnTo>
                  <a:lnTo>
                    <a:pt x="1194" y="270"/>
                  </a:lnTo>
                  <a:lnTo>
                    <a:pt x="1206" y="276"/>
                  </a:lnTo>
                  <a:lnTo>
                    <a:pt x="1224" y="282"/>
                  </a:lnTo>
                  <a:lnTo>
                    <a:pt x="1236" y="282"/>
                  </a:lnTo>
                  <a:lnTo>
                    <a:pt x="1242" y="288"/>
                  </a:lnTo>
                  <a:lnTo>
                    <a:pt x="1254" y="288"/>
                  </a:lnTo>
                  <a:lnTo>
                    <a:pt x="1266" y="294"/>
                  </a:lnTo>
                  <a:lnTo>
                    <a:pt x="1272" y="294"/>
                  </a:lnTo>
                  <a:lnTo>
                    <a:pt x="1284" y="300"/>
                  </a:lnTo>
                  <a:lnTo>
                    <a:pt x="1290" y="300"/>
                  </a:lnTo>
                  <a:lnTo>
                    <a:pt x="1296" y="300"/>
                  </a:lnTo>
                  <a:lnTo>
                    <a:pt x="1302" y="306"/>
                  </a:lnTo>
                  <a:lnTo>
                    <a:pt x="1326" y="312"/>
                  </a:lnTo>
                  <a:lnTo>
                    <a:pt x="1338" y="312"/>
                  </a:lnTo>
                  <a:lnTo>
                    <a:pt x="1338" y="318"/>
                  </a:lnTo>
                  <a:lnTo>
                    <a:pt x="1344" y="318"/>
                  </a:lnTo>
                  <a:lnTo>
                    <a:pt x="1350" y="318"/>
                  </a:lnTo>
                  <a:lnTo>
                    <a:pt x="1362" y="324"/>
                  </a:lnTo>
                  <a:lnTo>
                    <a:pt x="1368" y="318"/>
                  </a:lnTo>
                  <a:lnTo>
                    <a:pt x="1374" y="318"/>
                  </a:lnTo>
                  <a:lnTo>
                    <a:pt x="1386" y="318"/>
                  </a:lnTo>
                  <a:lnTo>
                    <a:pt x="1398" y="324"/>
                  </a:lnTo>
                  <a:lnTo>
                    <a:pt x="1398" y="342"/>
                  </a:lnTo>
                  <a:lnTo>
                    <a:pt x="1356" y="342"/>
                  </a:lnTo>
                  <a:lnTo>
                    <a:pt x="1350" y="348"/>
                  </a:lnTo>
                  <a:lnTo>
                    <a:pt x="1350" y="372"/>
                  </a:lnTo>
                  <a:lnTo>
                    <a:pt x="1338" y="384"/>
                  </a:lnTo>
                  <a:lnTo>
                    <a:pt x="1332" y="408"/>
                  </a:lnTo>
                  <a:lnTo>
                    <a:pt x="1320" y="420"/>
                  </a:lnTo>
                  <a:lnTo>
                    <a:pt x="1254" y="426"/>
                  </a:lnTo>
                  <a:lnTo>
                    <a:pt x="1248" y="432"/>
                  </a:lnTo>
                  <a:lnTo>
                    <a:pt x="1230" y="432"/>
                  </a:lnTo>
                  <a:lnTo>
                    <a:pt x="1212" y="432"/>
                  </a:lnTo>
                  <a:lnTo>
                    <a:pt x="1212" y="426"/>
                  </a:lnTo>
                  <a:lnTo>
                    <a:pt x="1200" y="426"/>
                  </a:lnTo>
                  <a:lnTo>
                    <a:pt x="1182" y="414"/>
                  </a:lnTo>
                  <a:lnTo>
                    <a:pt x="1182" y="420"/>
                  </a:lnTo>
                  <a:lnTo>
                    <a:pt x="1164" y="420"/>
                  </a:lnTo>
                  <a:lnTo>
                    <a:pt x="1158" y="414"/>
                  </a:lnTo>
                  <a:lnTo>
                    <a:pt x="1152" y="408"/>
                  </a:lnTo>
                  <a:lnTo>
                    <a:pt x="1146" y="402"/>
                  </a:lnTo>
                  <a:lnTo>
                    <a:pt x="1122" y="396"/>
                  </a:lnTo>
                  <a:lnTo>
                    <a:pt x="1116" y="366"/>
                  </a:lnTo>
                  <a:lnTo>
                    <a:pt x="1116" y="348"/>
                  </a:lnTo>
                  <a:lnTo>
                    <a:pt x="1110" y="342"/>
                  </a:lnTo>
                  <a:lnTo>
                    <a:pt x="1104" y="336"/>
                  </a:lnTo>
                  <a:lnTo>
                    <a:pt x="1092" y="330"/>
                  </a:lnTo>
                  <a:lnTo>
                    <a:pt x="1074" y="330"/>
                  </a:lnTo>
                  <a:lnTo>
                    <a:pt x="1044" y="330"/>
                  </a:lnTo>
                  <a:lnTo>
                    <a:pt x="1014" y="336"/>
                  </a:lnTo>
                  <a:lnTo>
                    <a:pt x="984" y="342"/>
                  </a:lnTo>
                  <a:lnTo>
                    <a:pt x="978" y="330"/>
                  </a:lnTo>
                  <a:lnTo>
                    <a:pt x="966" y="324"/>
                  </a:lnTo>
                  <a:lnTo>
                    <a:pt x="888" y="336"/>
                  </a:lnTo>
                  <a:lnTo>
                    <a:pt x="888" y="330"/>
                  </a:lnTo>
                  <a:lnTo>
                    <a:pt x="870" y="336"/>
                  </a:lnTo>
                  <a:lnTo>
                    <a:pt x="858" y="336"/>
                  </a:lnTo>
                  <a:lnTo>
                    <a:pt x="852" y="354"/>
                  </a:lnTo>
                  <a:lnTo>
                    <a:pt x="852" y="402"/>
                  </a:lnTo>
                  <a:lnTo>
                    <a:pt x="840" y="414"/>
                  </a:lnTo>
                  <a:lnTo>
                    <a:pt x="834" y="420"/>
                  </a:lnTo>
                  <a:lnTo>
                    <a:pt x="834" y="444"/>
                  </a:lnTo>
                  <a:lnTo>
                    <a:pt x="834" y="450"/>
                  </a:lnTo>
                  <a:lnTo>
                    <a:pt x="852" y="456"/>
                  </a:lnTo>
                  <a:lnTo>
                    <a:pt x="864" y="462"/>
                  </a:lnTo>
                  <a:lnTo>
                    <a:pt x="894" y="456"/>
                  </a:lnTo>
                  <a:lnTo>
                    <a:pt x="900" y="468"/>
                  </a:lnTo>
                  <a:lnTo>
                    <a:pt x="918" y="462"/>
                  </a:lnTo>
                  <a:lnTo>
                    <a:pt x="924" y="468"/>
                  </a:lnTo>
                  <a:lnTo>
                    <a:pt x="924" y="47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27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124" name="Freeform 38">
              <a:extLst>
                <a:ext uri="{FF2B5EF4-FFF2-40B4-BE49-F238E27FC236}">
                  <a16:creationId xmlns:a16="http://schemas.microsoft.com/office/drawing/2014/main" id="{C621CA9C-E86D-4A50-B684-54B5D3AACBAF}"/>
                </a:ext>
              </a:extLst>
            </p:cNvPr>
            <p:cNvSpPr>
              <a:spLocks/>
            </p:cNvSpPr>
            <p:nvPr/>
          </p:nvSpPr>
          <p:spPr bwMode="gray">
            <a:xfrm>
              <a:off x="4497388" y="1347788"/>
              <a:ext cx="996950" cy="1206500"/>
            </a:xfrm>
            <a:custGeom>
              <a:avLst/>
              <a:gdLst>
                <a:gd name="T0" fmla="*/ 2147483647 w 1068"/>
                <a:gd name="T1" fmla="*/ 2147483647 h 1290"/>
                <a:gd name="T2" fmla="*/ 2147483647 w 1068"/>
                <a:gd name="T3" fmla="*/ 2147483647 h 1290"/>
                <a:gd name="T4" fmla="*/ 2147483647 w 1068"/>
                <a:gd name="T5" fmla="*/ 2147483647 h 1290"/>
                <a:gd name="T6" fmla="*/ 2147483647 w 1068"/>
                <a:gd name="T7" fmla="*/ 2147483647 h 1290"/>
                <a:gd name="T8" fmla="*/ 2147483647 w 1068"/>
                <a:gd name="T9" fmla="*/ 2147483647 h 1290"/>
                <a:gd name="T10" fmla="*/ 2147483647 w 1068"/>
                <a:gd name="T11" fmla="*/ 2147483647 h 1290"/>
                <a:gd name="T12" fmla="*/ 2147483647 w 1068"/>
                <a:gd name="T13" fmla="*/ 2147483647 h 1290"/>
                <a:gd name="T14" fmla="*/ 2147483647 w 1068"/>
                <a:gd name="T15" fmla="*/ 2147483647 h 1290"/>
                <a:gd name="T16" fmla="*/ 2147483647 w 1068"/>
                <a:gd name="T17" fmla="*/ 2147483647 h 1290"/>
                <a:gd name="T18" fmla="*/ 2147483647 w 1068"/>
                <a:gd name="T19" fmla="*/ 2147483647 h 1290"/>
                <a:gd name="T20" fmla="*/ 2147483647 w 1068"/>
                <a:gd name="T21" fmla="*/ 2147483647 h 1290"/>
                <a:gd name="T22" fmla="*/ 2147483647 w 1068"/>
                <a:gd name="T23" fmla="*/ 2147483647 h 1290"/>
                <a:gd name="T24" fmla="*/ 2147483647 w 1068"/>
                <a:gd name="T25" fmla="*/ 2147483647 h 1290"/>
                <a:gd name="T26" fmla="*/ 2147483647 w 1068"/>
                <a:gd name="T27" fmla="*/ 2147483647 h 1290"/>
                <a:gd name="T28" fmla="*/ 2147483647 w 1068"/>
                <a:gd name="T29" fmla="*/ 2147483647 h 1290"/>
                <a:gd name="T30" fmla="*/ 2147483647 w 1068"/>
                <a:gd name="T31" fmla="*/ 2147483647 h 1290"/>
                <a:gd name="T32" fmla="*/ 2147483647 w 1068"/>
                <a:gd name="T33" fmla="*/ 2147483647 h 1290"/>
                <a:gd name="T34" fmla="*/ 2147483647 w 1068"/>
                <a:gd name="T35" fmla="*/ 2147483647 h 1290"/>
                <a:gd name="T36" fmla="*/ 2147483647 w 1068"/>
                <a:gd name="T37" fmla="*/ 2147483647 h 1290"/>
                <a:gd name="T38" fmla="*/ 2147483647 w 1068"/>
                <a:gd name="T39" fmla="*/ 2147483647 h 1290"/>
                <a:gd name="T40" fmla="*/ 2147483647 w 1068"/>
                <a:gd name="T41" fmla="*/ 2147483647 h 1290"/>
                <a:gd name="T42" fmla="*/ 2147483647 w 1068"/>
                <a:gd name="T43" fmla="*/ 2147483647 h 1290"/>
                <a:gd name="T44" fmla="*/ 2147483647 w 1068"/>
                <a:gd name="T45" fmla="*/ 2147483647 h 1290"/>
                <a:gd name="T46" fmla="*/ 2147483647 w 1068"/>
                <a:gd name="T47" fmla="*/ 2147483647 h 1290"/>
                <a:gd name="T48" fmla="*/ 2147483647 w 1068"/>
                <a:gd name="T49" fmla="*/ 2147483647 h 1290"/>
                <a:gd name="T50" fmla="*/ 0 w 1068"/>
                <a:gd name="T51" fmla="*/ 2147483647 h 1290"/>
                <a:gd name="T52" fmla="*/ 2147483647 w 1068"/>
                <a:gd name="T53" fmla="*/ 2147483647 h 1290"/>
                <a:gd name="T54" fmla="*/ 2147483647 w 1068"/>
                <a:gd name="T55" fmla="*/ 2147483647 h 1290"/>
                <a:gd name="T56" fmla="*/ 2147483647 w 1068"/>
                <a:gd name="T57" fmla="*/ 2147483647 h 1290"/>
                <a:gd name="T58" fmla="*/ 2147483647 w 1068"/>
                <a:gd name="T59" fmla="*/ 2147483647 h 1290"/>
                <a:gd name="T60" fmla="*/ 2147483647 w 1068"/>
                <a:gd name="T61" fmla="*/ 2147483647 h 1290"/>
                <a:gd name="T62" fmla="*/ 2147483647 w 1068"/>
                <a:gd name="T63" fmla="*/ 2147483647 h 1290"/>
                <a:gd name="T64" fmla="*/ 2147483647 w 1068"/>
                <a:gd name="T65" fmla="*/ 2147483647 h 1290"/>
                <a:gd name="T66" fmla="*/ 2147483647 w 1068"/>
                <a:gd name="T67" fmla="*/ 2147483647 h 1290"/>
                <a:gd name="T68" fmla="*/ 2147483647 w 1068"/>
                <a:gd name="T69" fmla="*/ 2147483647 h 1290"/>
                <a:gd name="T70" fmla="*/ 2147483647 w 1068"/>
                <a:gd name="T71" fmla="*/ 2147483647 h 1290"/>
                <a:gd name="T72" fmla="*/ 2147483647 w 1068"/>
                <a:gd name="T73" fmla="*/ 2147483647 h 1290"/>
                <a:gd name="T74" fmla="*/ 2147483647 w 1068"/>
                <a:gd name="T75" fmla="*/ 2147483647 h 1290"/>
                <a:gd name="T76" fmla="*/ 2147483647 w 1068"/>
                <a:gd name="T77" fmla="*/ 2147483647 h 1290"/>
                <a:gd name="T78" fmla="*/ 2147483647 w 1068"/>
                <a:gd name="T79" fmla="*/ 0 h 1290"/>
                <a:gd name="T80" fmla="*/ 2147483647 w 1068"/>
                <a:gd name="T81" fmla="*/ 0 h 1290"/>
                <a:gd name="T82" fmla="*/ 2147483647 w 1068"/>
                <a:gd name="T83" fmla="*/ 2147483647 h 1290"/>
                <a:gd name="T84" fmla="*/ 2147483647 w 1068"/>
                <a:gd name="T85" fmla="*/ 2147483647 h 1290"/>
                <a:gd name="T86" fmla="*/ 2147483647 w 1068"/>
                <a:gd name="T87" fmla="*/ 2147483647 h 1290"/>
                <a:gd name="T88" fmla="*/ 2147483647 w 1068"/>
                <a:gd name="T89" fmla="*/ 2147483647 h 1290"/>
                <a:gd name="T90" fmla="*/ 2147483647 w 1068"/>
                <a:gd name="T91" fmla="*/ 2147483647 h 1290"/>
                <a:gd name="T92" fmla="*/ 2147483647 w 1068"/>
                <a:gd name="T93" fmla="*/ 2147483647 h 1290"/>
                <a:gd name="T94" fmla="*/ 2147483647 w 1068"/>
                <a:gd name="T95" fmla="*/ 2147483647 h 1290"/>
                <a:gd name="T96" fmla="*/ 2147483647 w 1068"/>
                <a:gd name="T97" fmla="*/ 2147483647 h 1290"/>
                <a:gd name="T98" fmla="*/ 2147483647 w 1068"/>
                <a:gd name="T99" fmla="*/ 2147483647 h 1290"/>
                <a:gd name="T100" fmla="*/ 2147483647 w 1068"/>
                <a:gd name="T101" fmla="*/ 2147483647 h 1290"/>
                <a:gd name="T102" fmla="*/ 2147483647 w 1068"/>
                <a:gd name="T103" fmla="*/ 2147483647 h 1290"/>
                <a:gd name="T104" fmla="*/ 2147483647 w 1068"/>
                <a:gd name="T105" fmla="*/ 2147483647 h 1290"/>
                <a:gd name="T106" fmla="*/ 2147483647 w 1068"/>
                <a:gd name="T107" fmla="*/ 2147483647 h 1290"/>
                <a:gd name="T108" fmla="*/ 2147483647 w 1068"/>
                <a:gd name="T109" fmla="*/ 2147483647 h 1290"/>
                <a:gd name="T110" fmla="*/ 2147483647 w 1068"/>
                <a:gd name="T111" fmla="*/ 2147483647 h 1290"/>
                <a:gd name="T112" fmla="*/ 2147483647 w 1068"/>
                <a:gd name="T113" fmla="*/ 2147483647 h 1290"/>
                <a:gd name="T114" fmla="*/ 2147483647 w 1068"/>
                <a:gd name="T115" fmla="*/ 2147483647 h 129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68"/>
                <a:gd name="T175" fmla="*/ 0 h 1290"/>
                <a:gd name="T176" fmla="*/ 1068 w 1068"/>
                <a:gd name="T177" fmla="*/ 1290 h 129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68" h="1290">
                  <a:moveTo>
                    <a:pt x="978" y="804"/>
                  </a:moveTo>
                  <a:lnTo>
                    <a:pt x="972" y="810"/>
                  </a:lnTo>
                  <a:lnTo>
                    <a:pt x="966" y="810"/>
                  </a:lnTo>
                  <a:lnTo>
                    <a:pt x="966" y="816"/>
                  </a:lnTo>
                  <a:lnTo>
                    <a:pt x="936" y="828"/>
                  </a:lnTo>
                  <a:lnTo>
                    <a:pt x="924" y="822"/>
                  </a:lnTo>
                  <a:lnTo>
                    <a:pt x="912" y="822"/>
                  </a:lnTo>
                  <a:lnTo>
                    <a:pt x="906" y="828"/>
                  </a:lnTo>
                  <a:lnTo>
                    <a:pt x="900" y="828"/>
                  </a:lnTo>
                  <a:lnTo>
                    <a:pt x="900" y="822"/>
                  </a:lnTo>
                  <a:lnTo>
                    <a:pt x="894" y="822"/>
                  </a:lnTo>
                  <a:lnTo>
                    <a:pt x="888" y="828"/>
                  </a:lnTo>
                  <a:lnTo>
                    <a:pt x="882" y="834"/>
                  </a:lnTo>
                  <a:lnTo>
                    <a:pt x="876" y="834"/>
                  </a:lnTo>
                  <a:lnTo>
                    <a:pt x="870" y="840"/>
                  </a:lnTo>
                  <a:lnTo>
                    <a:pt x="864" y="840"/>
                  </a:lnTo>
                  <a:lnTo>
                    <a:pt x="864" y="846"/>
                  </a:lnTo>
                  <a:lnTo>
                    <a:pt x="858" y="846"/>
                  </a:lnTo>
                  <a:lnTo>
                    <a:pt x="852" y="846"/>
                  </a:lnTo>
                  <a:lnTo>
                    <a:pt x="852" y="858"/>
                  </a:lnTo>
                  <a:lnTo>
                    <a:pt x="846" y="864"/>
                  </a:lnTo>
                  <a:lnTo>
                    <a:pt x="840" y="870"/>
                  </a:lnTo>
                  <a:lnTo>
                    <a:pt x="834" y="870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34" y="876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10" y="894"/>
                  </a:lnTo>
                  <a:lnTo>
                    <a:pt x="810" y="900"/>
                  </a:lnTo>
                  <a:lnTo>
                    <a:pt x="804" y="900"/>
                  </a:lnTo>
                  <a:lnTo>
                    <a:pt x="798" y="900"/>
                  </a:lnTo>
                  <a:lnTo>
                    <a:pt x="798" y="906"/>
                  </a:lnTo>
                  <a:lnTo>
                    <a:pt x="792" y="906"/>
                  </a:lnTo>
                  <a:lnTo>
                    <a:pt x="792" y="912"/>
                  </a:lnTo>
                  <a:lnTo>
                    <a:pt x="792" y="924"/>
                  </a:lnTo>
                  <a:lnTo>
                    <a:pt x="786" y="930"/>
                  </a:lnTo>
                  <a:lnTo>
                    <a:pt x="774" y="942"/>
                  </a:lnTo>
                  <a:lnTo>
                    <a:pt x="774" y="948"/>
                  </a:lnTo>
                  <a:lnTo>
                    <a:pt x="768" y="954"/>
                  </a:lnTo>
                  <a:lnTo>
                    <a:pt x="762" y="954"/>
                  </a:lnTo>
                  <a:lnTo>
                    <a:pt x="750" y="972"/>
                  </a:lnTo>
                  <a:lnTo>
                    <a:pt x="720" y="978"/>
                  </a:lnTo>
                  <a:lnTo>
                    <a:pt x="714" y="978"/>
                  </a:lnTo>
                  <a:lnTo>
                    <a:pt x="708" y="978"/>
                  </a:lnTo>
                  <a:lnTo>
                    <a:pt x="702" y="990"/>
                  </a:lnTo>
                  <a:lnTo>
                    <a:pt x="696" y="990"/>
                  </a:lnTo>
                  <a:lnTo>
                    <a:pt x="696" y="1008"/>
                  </a:lnTo>
                  <a:lnTo>
                    <a:pt x="690" y="1008"/>
                  </a:lnTo>
                  <a:lnTo>
                    <a:pt x="690" y="1014"/>
                  </a:lnTo>
                  <a:lnTo>
                    <a:pt x="684" y="1032"/>
                  </a:lnTo>
                  <a:lnTo>
                    <a:pt x="690" y="1050"/>
                  </a:lnTo>
                  <a:lnTo>
                    <a:pt x="690" y="1062"/>
                  </a:lnTo>
                  <a:lnTo>
                    <a:pt x="690" y="1068"/>
                  </a:lnTo>
                  <a:lnTo>
                    <a:pt x="690" y="1074"/>
                  </a:lnTo>
                  <a:lnTo>
                    <a:pt x="684" y="1074"/>
                  </a:lnTo>
                  <a:lnTo>
                    <a:pt x="684" y="1080"/>
                  </a:lnTo>
                  <a:lnTo>
                    <a:pt x="678" y="1086"/>
                  </a:lnTo>
                  <a:lnTo>
                    <a:pt x="678" y="1104"/>
                  </a:lnTo>
                  <a:lnTo>
                    <a:pt x="678" y="1110"/>
                  </a:lnTo>
                  <a:lnTo>
                    <a:pt x="678" y="1116"/>
                  </a:lnTo>
                  <a:lnTo>
                    <a:pt x="684" y="1116"/>
                  </a:lnTo>
                  <a:lnTo>
                    <a:pt x="678" y="1128"/>
                  </a:lnTo>
                  <a:lnTo>
                    <a:pt x="684" y="1128"/>
                  </a:lnTo>
                  <a:lnTo>
                    <a:pt x="690" y="1134"/>
                  </a:lnTo>
                  <a:lnTo>
                    <a:pt x="690" y="1140"/>
                  </a:lnTo>
                  <a:lnTo>
                    <a:pt x="696" y="1140"/>
                  </a:lnTo>
                  <a:lnTo>
                    <a:pt x="696" y="1146"/>
                  </a:lnTo>
                  <a:lnTo>
                    <a:pt x="696" y="1152"/>
                  </a:lnTo>
                  <a:lnTo>
                    <a:pt x="702" y="1152"/>
                  </a:lnTo>
                  <a:lnTo>
                    <a:pt x="708" y="1152"/>
                  </a:lnTo>
                  <a:lnTo>
                    <a:pt x="714" y="1158"/>
                  </a:lnTo>
                  <a:lnTo>
                    <a:pt x="714" y="1164"/>
                  </a:lnTo>
                  <a:lnTo>
                    <a:pt x="720" y="1170"/>
                  </a:lnTo>
                  <a:lnTo>
                    <a:pt x="720" y="1176"/>
                  </a:lnTo>
                  <a:lnTo>
                    <a:pt x="720" y="1182"/>
                  </a:lnTo>
                  <a:lnTo>
                    <a:pt x="726" y="1188"/>
                  </a:lnTo>
                  <a:lnTo>
                    <a:pt x="726" y="1194"/>
                  </a:lnTo>
                  <a:lnTo>
                    <a:pt x="732" y="1194"/>
                  </a:lnTo>
                  <a:lnTo>
                    <a:pt x="732" y="1200"/>
                  </a:lnTo>
                  <a:lnTo>
                    <a:pt x="738" y="1212"/>
                  </a:lnTo>
                  <a:lnTo>
                    <a:pt x="732" y="1218"/>
                  </a:lnTo>
                  <a:lnTo>
                    <a:pt x="732" y="1224"/>
                  </a:lnTo>
                  <a:lnTo>
                    <a:pt x="726" y="1230"/>
                  </a:lnTo>
                  <a:lnTo>
                    <a:pt x="720" y="1230"/>
                  </a:lnTo>
                  <a:lnTo>
                    <a:pt x="720" y="1236"/>
                  </a:lnTo>
                  <a:lnTo>
                    <a:pt x="720" y="1242"/>
                  </a:lnTo>
                  <a:lnTo>
                    <a:pt x="720" y="1248"/>
                  </a:lnTo>
                  <a:lnTo>
                    <a:pt x="714" y="1248"/>
                  </a:lnTo>
                  <a:lnTo>
                    <a:pt x="714" y="1254"/>
                  </a:lnTo>
                  <a:lnTo>
                    <a:pt x="708" y="1260"/>
                  </a:lnTo>
                  <a:lnTo>
                    <a:pt x="702" y="1272"/>
                  </a:lnTo>
                  <a:lnTo>
                    <a:pt x="696" y="1272"/>
                  </a:lnTo>
                  <a:lnTo>
                    <a:pt x="696" y="1278"/>
                  </a:lnTo>
                  <a:lnTo>
                    <a:pt x="690" y="1284"/>
                  </a:lnTo>
                  <a:lnTo>
                    <a:pt x="690" y="1290"/>
                  </a:lnTo>
                  <a:lnTo>
                    <a:pt x="684" y="1290"/>
                  </a:lnTo>
                  <a:lnTo>
                    <a:pt x="660" y="1284"/>
                  </a:lnTo>
                  <a:lnTo>
                    <a:pt x="660" y="1278"/>
                  </a:lnTo>
                  <a:lnTo>
                    <a:pt x="654" y="1272"/>
                  </a:lnTo>
                  <a:lnTo>
                    <a:pt x="648" y="1272"/>
                  </a:lnTo>
                  <a:lnTo>
                    <a:pt x="642" y="1272"/>
                  </a:lnTo>
                  <a:lnTo>
                    <a:pt x="642" y="1266"/>
                  </a:lnTo>
                  <a:lnTo>
                    <a:pt x="636" y="1266"/>
                  </a:lnTo>
                  <a:lnTo>
                    <a:pt x="630" y="1266"/>
                  </a:lnTo>
                  <a:lnTo>
                    <a:pt x="624" y="1266"/>
                  </a:lnTo>
                  <a:lnTo>
                    <a:pt x="624" y="1260"/>
                  </a:lnTo>
                  <a:lnTo>
                    <a:pt x="618" y="1260"/>
                  </a:lnTo>
                  <a:lnTo>
                    <a:pt x="612" y="1260"/>
                  </a:lnTo>
                  <a:lnTo>
                    <a:pt x="606" y="1260"/>
                  </a:lnTo>
                  <a:lnTo>
                    <a:pt x="600" y="1260"/>
                  </a:lnTo>
                  <a:lnTo>
                    <a:pt x="600" y="1254"/>
                  </a:lnTo>
                  <a:lnTo>
                    <a:pt x="594" y="1254"/>
                  </a:lnTo>
                  <a:lnTo>
                    <a:pt x="588" y="1248"/>
                  </a:lnTo>
                  <a:lnTo>
                    <a:pt x="588" y="1254"/>
                  </a:lnTo>
                  <a:lnTo>
                    <a:pt x="582" y="1254"/>
                  </a:lnTo>
                  <a:lnTo>
                    <a:pt x="582" y="1248"/>
                  </a:lnTo>
                  <a:lnTo>
                    <a:pt x="576" y="1248"/>
                  </a:lnTo>
                  <a:lnTo>
                    <a:pt x="576" y="1254"/>
                  </a:lnTo>
                  <a:lnTo>
                    <a:pt x="570" y="1248"/>
                  </a:lnTo>
                  <a:lnTo>
                    <a:pt x="564" y="1248"/>
                  </a:lnTo>
                  <a:lnTo>
                    <a:pt x="564" y="1254"/>
                  </a:lnTo>
                  <a:lnTo>
                    <a:pt x="558" y="1254"/>
                  </a:lnTo>
                  <a:lnTo>
                    <a:pt x="552" y="1254"/>
                  </a:lnTo>
                  <a:lnTo>
                    <a:pt x="552" y="1260"/>
                  </a:lnTo>
                  <a:lnTo>
                    <a:pt x="546" y="1260"/>
                  </a:lnTo>
                  <a:lnTo>
                    <a:pt x="540" y="1260"/>
                  </a:lnTo>
                  <a:lnTo>
                    <a:pt x="540" y="1254"/>
                  </a:lnTo>
                  <a:lnTo>
                    <a:pt x="534" y="1254"/>
                  </a:lnTo>
                  <a:lnTo>
                    <a:pt x="528" y="1224"/>
                  </a:lnTo>
                  <a:lnTo>
                    <a:pt x="534" y="1212"/>
                  </a:lnTo>
                  <a:lnTo>
                    <a:pt x="546" y="1206"/>
                  </a:lnTo>
                  <a:lnTo>
                    <a:pt x="582" y="1206"/>
                  </a:lnTo>
                  <a:lnTo>
                    <a:pt x="588" y="1188"/>
                  </a:lnTo>
                  <a:lnTo>
                    <a:pt x="582" y="1188"/>
                  </a:lnTo>
                  <a:lnTo>
                    <a:pt x="582" y="1182"/>
                  </a:lnTo>
                  <a:lnTo>
                    <a:pt x="576" y="1176"/>
                  </a:lnTo>
                  <a:lnTo>
                    <a:pt x="558" y="1128"/>
                  </a:lnTo>
                  <a:lnTo>
                    <a:pt x="558" y="1122"/>
                  </a:lnTo>
                  <a:lnTo>
                    <a:pt x="576" y="1098"/>
                  </a:lnTo>
                  <a:lnTo>
                    <a:pt x="576" y="1092"/>
                  </a:lnTo>
                  <a:lnTo>
                    <a:pt x="582" y="1092"/>
                  </a:lnTo>
                  <a:lnTo>
                    <a:pt x="582" y="1086"/>
                  </a:lnTo>
                  <a:lnTo>
                    <a:pt x="582" y="1080"/>
                  </a:lnTo>
                  <a:lnTo>
                    <a:pt x="582" y="1074"/>
                  </a:lnTo>
                  <a:lnTo>
                    <a:pt x="588" y="1074"/>
                  </a:lnTo>
                  <a:lnTo>
                    <a:pt x="588" y="1062"/>
                  </a:lnTo>
                  <a:lnTo>
                    <a:pt x="588" y="1056"/>
                  </a:lnTo>
                  <a:lnTo>
                    <a:pt x="588" y="1044"/>
                  </a:lnTo>
                  <a:lnTo>
                    <a:pt x="588" y="1038"/>
                  </a:lnTo>
                  <a:lnTo>
                    <a:pt x="588" y="1032"/>
                  </a:lnTo>
                  <a:lnTo>
                    <a:pt x="582" y="1026"/>
                  </a:lnTo>
                  <a:lnTo>
                    <a:pt x="582" y="1020"/>
                  </a:lnTo>
                  <a:lnTo>
                    <a:pt x="582" y="1008"/>
                  </a:lnTo>
                  <a:lnTo>
                    <a:pt x="576" y="990"/>
                  </a:lnTo>
                  <a:lnTo>
                    <a:pt x="570" y="972"/>
                  </a:lnTo>
                  <a:lnTo>
                    <a:pt x="552" y="972"/>
                  </a:lnTo>
                  <a:lnTo>
                    <a:pt x="540" y="960"/>
                  </a:lnTo>
                  <a:lnTo>
                    <a:pt x="534" y="954"/>
                  </a:lnTo>
                  <a:lnTo>
                    <a:pt x="534" y="948"/>
                  </a:lnTo>
                  <a:lnTo>
                    <a:pt x="516" y="948"/>
                  </a:lnTo>
                  <a:lnTo>
                    <a:pt x="522" y="936"/>
                  </a:lnTo>
                  <a:lnTo>
                    <a:pt x="522" y="930"/>
                  </a:lnTo>
                  <a:lnTo>
                    <a:pt x="504" y="918"/>
                  </a:lnTo>
                  <a:lnTo>
                    <a:pt x="492" y="906"/>
                  </a:lnTo>
                  <a:lnTo>
                    <a:pt x="486" y="894"/>
                  </a:lnTo>
                  <a:lnTo>
                    <a:pt x="468" y="876"/>
                  </a:lnTo>
                  <a:lnTo>
                    <a:pt x="450" y="876"/>
                  </a:lnTo>
                  <a:lnTo>
                    <a:pt x="414" y="882"/>
                  </a:lnTo>
                  <a:lnTo>
                    <a:pt x="402" y="870"/>
                  </a:lnTo>
                  <a:lnTo>
                    <a:pt x="390" y="864"/>
                  </a:lnTo>
                  <a:lnTo>
                    <a:pt x="384" y="852"/>
                  </a:lnTo>
                  <a:lnTo>
                    <a:pt x="378" y="840"/>
                  </a:lnTo>
                  <a:lnTo>
                    <a:pt x="378" y="834"/>
                  </a:lnTo>
                  <a:lnTo>
                    <a:pt x="360" y="822"/>
                  </a:lnTo>
                  <a:lnTo>
                    <a:pt x="342" y="828"/>
                  </a:lnTo>
                  <a:lnTo>
                    <a:pt x="324" y="816"/>
                  </a:lnTo>
                  <a:lnTo>
                    <a:pt x="318" y="816"/>
                  </a:lnTo>
                  <a:lnTo>
                    <a:pt x="306" y="810"/>
                  </a:lnTo>
                  <a:lnTo>
                    <a:pt x="306" y="804"/>
                  </a:lnTo>
                  <a:lnTo>
                    <a:pt x="300" y="804"/>
                  </a:lnTo>
                  <a:lnTo>
                    <a:pt x="300" y="780"/>
                  </a:lnTo>
                  <a:lnTo>
                    <a:pt x="300" y="774"/>
                  </a:lnTo>
                  <a:lnTo>
                    <a:pt x="306" y="774"/>
                  </a:lnTo>
                  <a:lnTo>
                    <a:pt x="312" y="756"/>
                  </a:lnTo>
                  <a:lnTo>
                    <a:pt x="312" y="732"/>
                  </a:lnTo>
                  <a:lnTo>
                    <a:pt x="300" y="720"/>
                  </a:lnTo>
                  <a:lnTo>
                    <a:pt x="288" y="702"/>
                  </a:lnTo>
                  <a:lnTo>
                    <a:pt x="276" y="702"/>
                  </a:lnTo>
                  <a:lnTo>
                    <a:pt x="258" y="714"/>
                  </a:lnTo>
                  <a:lnTo>
                    <a:pt x="246" y="726"/>
                  </a:lnTo>
                  <a:lnTo>
                    <a:pt x="222" y="726"/>
                  </a:lnTo>
                  <a:lnTo>
                    <a:pt x="192" y="726"/>
                  </a:lnTo>
                  <a:lnTo>
                    <a:pt x="174" y="738"/>
                  </a:lnTo>
                  <a:lnTo>
                    <a:pt x="162" y="750"/>
                  </a:lnTo>
                  <a:lnTo>
                    <a:pt x="144" y="762"/>
                  </a:lnTo>
                  <a:lnTo>
                    <a:pt x="138" y="768"/>
                  </a:lnTo>
                  <a:lnTo>
                    <a:pt x="126" y="774"/>
                  </a:lnTo>
                  <a:lnTo>
                    <a:pt x="114" y="780"/>
                  </a:lnTo>
                  <a:lnTo>
                    <a:pt x="108" y="786"/>
                  </a:lnTo>
                  <a:lnTo>
                    <a:pt x="102" y="786"/>
                  </a:lnTo>
                  <a:lnTo>
                    <a:pt x="54" y="786"/>
                  </a:lnTo>
                  <a:lnTo>
                    <a:pt x="48" y="792"/>
                  </a:lnTo>
                  <a:lnTo>
                    <a:pt x="36" y="798"/>
                  </a:lnTo>
                  <a:lnTo>
                    <a:pt x="18" y="792"/>
                  </a:lnTo>
                  <a:lnTo>
                    <a:pt x="6" y="780"/>
                  </a:lnTo>
                  <a:lnTo>
                    <a:pt x="6" y="768"/>
                  </a:lnTo>
                  <a:lnTo>
                    <a:pt x="0" y="756"/>
                  </a:lnTo>
                  <a:lnTo>
                    <a:pt x="0" y="738"/>
                  </a:lnTo>
                  <a:lnTo>
                    <a:pt x="6" y="702"/>
                  </a:lnTo>
                  <a:lnTo>
                    <a:pt x="24" y="702"/>
                  </a:lnTo>
                  <a:lnTo>
                    <a:pt x="24" y="696"/>
                  </a:lnTo>
                  <a:lnTo>
                    <a:pt x="24" y="690"/>
                  </a:lnTo>
                  <a:lnTo>
                    <a:pt x="24" y="678"/>
                  </a:lnTo>
                  <a:lnTo>
                    <a:pt x="24" y="672"/>
                  </a:lnTo>
                  <a:lnTo>
                    <a:pt x="30" y="672"/>
                  </a:lnTo>
                  <a:lnTo>
                    <a:pt x="30" y="666"/>
                  </a:lnTo>
                  <a:lnTo>
                    <a:pt x="36" y="660"/>
                  </a:lnTo>
                  <a:lnTo>
                    <a:pt x="84" y="648"/>
                  </a:lnTo>
                  <a:lnTo>
                    <a:pt x="126" y="642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32" y="618"/>
                  </a:lnTo>
                  <a:lnTo>
                    <a:pt x="138" y="612"/>
                  </a:lnTo>
                  <a:lnTo>
                    <a:pt x="138" y="606"/>
                  </a:lnTo>
                  <a:lnTo>
                    <a:pt x="138" y="600"/>
                  </a:lnTo>
                  <a:lnTo>
                    <a:pt x="132" y="600"/>
                  </a:lnTo>
                  <a:lnTo>
                    <a:pt x="132" y="594"/>
                  </a:lnTo>
                  <a:lnTo>
                    <a:pt x="132" y="588"/>
                  </a:lnTo>
                  <a:lnTo>
                    <a:pt x="132" y="582"/>
                  </a:lnTo>
                  <a:lnTo>
                    <a:pt x="132" y="576"/>
                  </a:lnTo>
                  <a:lnTo>
                    <a:pt x="126" y="570"/>
                  </a:lnTo>
                  <a:lnTo>
                    <a:pt x="120" y="564"/>
                  </a:lnTo>
                  <a:lnTo>
                    <a:pt x="120" y="558"/>
                  </a:lnTo>
                  <a:lnTo>
                    <a:pt x="120" y="552"/>
                  </a:lnTo>
                  <a:lnTo>
                    <a:pt x="114" y="552"/>
                  </a:lnTo>
                  <a:lnTo>
                    <a:pt x="114" y="546"/>
                  </a:lnTo>
                  <a:lnTo>
                    <a:pt x="114" y="540"/>
                  </a:lnTo>
                  <a:lnTo>
                    <a:pt x="108" y="534"/>
                  </a:lnTo>
                  <a:lnTo>
                    <a:pt x="108" y="528"/>
                  </a:lnTo>
                  <a:lnTo>
                    <a:pt x="114" y="522"/>
                  </a:lnTo>
                  <a:lnTo>
                    <a:pt x="108" y="516"/>
                  </a:lnTo>
                  <a:lnTo>
                    <a:pt x="108" y="498"/>
                  </a:lnTo>
                  <a:lnTo>
                    <a:pt x="108" y="492"/>
                  </a:lnTo>
                  <a:lnTo>
                    <a:pt x="108" y="486"/>
                  </a:lnTo>
                  <a:lnTo>
                    <a:pt x="108" y="480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08" y="462"/>
                  </a:lnTo>
                  <a:lnTo>
                    <a:pt x="102" y="456"/>
                  </a:lnTo>
                  <a:lnTo>
                    <a:pt x="102" y="444"/>
                  </a:lnTo>
                  <a:lnTo>
                    <a:pt x="96" y="444"/>
                  </a:lnTo>
                  <a:lnTo>
                    <a:pt x="90" y="432"/>
                  </a:lnTo>
                  <a:lnTo>
                    <a:pt x="96" y="432"/>
                  </a:lnTo>
                  <a:lnTo>
                    <a:pt x="96" y="408"/>
                  </a:lnTo>
                  <a:lnTo>
                    <a:pt x="96" y="396"/>
                  </a:lnTo>
                  <a:lnTo>
                    <a:pt x="96" y="360"/>
                  </a:lnTo>
                  <a:lnTo>
                    <a:pt x="96" y="354"/>
                  </a:lnTo>
                  <a:lnTo>
                    <a:pt x="102" y="354"/>
                  </a:lnTo>
                  <a:lnTo>
                    <a:pt x="102" y="348"/>
                  </a:lnTo>
                  <a:lnTo>
                    <a:pt x="96" y="330"/>
                  </a:lnTo>
                  <a:lnTo>
                    <a:pt x="90" y="306"/>
                  </a:lnTo>
                  <a:lnTo>
                    <a:pt x="84" y="288"/>
                  </a:lnTo>
                  <a:lnTo>
                    <a:pt x="84" y="264"/>
                  </a:lnTo>
                  <a:lnTo>
                    <a:pt x="90" y="240"/>
                  </a:lnTo>
                  <a:lnTo>
                    <a:pt x="96" y="222"/>
                  </a:lnTo>
                  <a:lnTo>
                    <a:pt x="102" y="222"/>
                  </a:lnTo>
                  <a:lnTo>
                    <a:pt x="108" y="210"/>
                  </a:lnTo>
                  <a:lnTo>
                    <a:pt x="114" y="210"/>
                  </a:lnTo>
                  <a:lnTo>
                    <a:pt x="126" y="198"/>
                  </a:lnTo>
                  <a:lnTo>
                    <a:pt x="156" y="192"/>
                  </a:lnTo>
                  <a:lnTo>
                    <a:pt x="174" y="186"/>
                  </a:lnTo>
                  <a:lnTo>
                    <a:pt x="204" y="174"/>
                  </a:lnTo>
                  <a:lnTo>
                    <a:pt x="222" y="168"/>
                  </a:lnTo>
                  <a:lnTo>
                    <a:pt x="234" y="162"/>
                  </a:lnTo>
                  <a:lnTo>
                    <a:pt x="246" y="156"/>
                  </a:lnTo>
                  <a:lnTo>
                    <a:pt x="288" y="144"/>
                  </a:lnTo>
                  <a:lnTo>
                    <a:pt x="288" y="132"/>
                  </a:lnTo>
                  <a:lnTo>
                    <a:pt x="294" y="120"/>
                  </a:lnTo>
                  <a:lnTo>
                    <a:pt x="300" y="108"/>
                  </a:lnTo>
                  <a:lnTo>
                    <a:pt x="306" y="90"/>
                  </a:lnTo>
                  <a:lnTo>
                    <a:pt x="312" y="78"/>
                  </a:lnTo>
                  <a:lnTo>
                    <a:pt x="324" y="78"/>
                  </a:lnTo>
                  <a:lnTo>
                    <a:pt x="324" y="54"/>
                  </a:lnTo>
                  <a:lnTo>
                    <a:pt x="318" y="48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60" y="6"/>
                  </a:lnTo>
                  <a:lnTo>
                    <a:pt x="384" y="0"/>
                  </a:lnTo>
                  <a:lnTo>
                    <a:pt x="390" y="6"/>
                  </a:lnTo>
                  <a:lnTo>
                    <a:pt x="390" y="18"/>
                  </a:lnTo>
                  <a:lnTo>
                    <a:pt x="390" y="54"/>
                  </a:lnTo>
                  <a:lnTo>
                    <a:pt x="396" y="66"/>
                  </a:lnTo>
                  <a:lnTo>
                    <a:pt x="414" y="84"/>
                  </a:lnTo>
                  <a:lnTo>
                    <a:pt x="426" y="90"/>
                  </a:lnTo>
                  <a:lnTo>
                    <a:pt x="432" y="96"/>
                  </a:lnTo>
                  <a:lnTo>
                    <a:pt x="426" y="102"/>
                  </a:lnTo>
                  <a:lnTo>
                    <a:pt x="438" y="102"/>
                  </a:lnTo>
                  <a:lnTo>
                    <a:pt x="444" y="108"/>
                  </a:lnTo>
                  <a:lnTo>
                    <a:pt x="444" y="102"/>
                  </a:lnTo>
                  <a:lnTo>
                    <a:pt x="450" y="90"/>
                  </a:lnTo>
                  <a:lnTo>
                    <a:pt x="450" y="84"/>
                  </a:lnTo>
                  <a:lnTo>
                    <a:pt x="450" y="78"/>
                  </a:lnTo>
                  <a:lnTo>
                    <a:pt x="456" y="72"/>
                  </a:lnTo>
                  <a:lnTo>
                    <a:pt x="462" y="66"/>
                  </a:lnTo>
                  <a:lnTo>
                    <a:pt x="462" y="60"/>
                  </a:lnTo>
                  <a:lnTo>
                    <a:pt x="462" y="54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74" y="24"/>
                  </a:lnTo>
                  <a:lnTo>
                    <a:pt x="480" y="18"/>
                  </a:lnTo>
                  <a:lnTo>
                    <a:pt x="486" y="12"/>
                  </a:lnTo>
                  <a:lnTo>
                    <a:pt x="492" y="12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2" y="6"/>
                  </a:lnTo>
                  <a:lnTo>
                    <a:pt x="534" y="6"/>
                  </a:lnTo>
                  <a:lnTo>
                    <a:pt x="540" y="6"/>
                  </a:lnTo>
                  <a:lnTo>
                    <a:pt x="546" y="6"/>
                  </a:lnTo>
                  <a:lnTo>
                    <a:pt x="564" y="0"/>
                  </a:lnTo>
                  <a:lnTo>
                    <a:pt x="570" y="0"/>
                  </a:lnTo>
                  <a:lnTo>
                    <a:pt x="576" y="6"/>
                  </a:lnTo>
                  <a:lnTo>
                    <a:pt x="582" y="6"/>
                  </a:lnTo>
                  <a:lnTo>
                    <a:pt x="594" y="6"/>
                  </a:lnTo>
                  <a:lnTo>
                    <a:pt x="600" y="6"/>
                  </a:lnTo>
                  <a:lnTo>
                    <a:pt x="606" y="6"/>
                  </a:lnTo>
                  <a:lnTo>
                    <a:pt x="624" y="0"/>
                  </a:lnTo>
                  <a:lnTo>
                    <a:pt x="636" y="0"/>
                  </a:lnTo>
                  <a:lnTo>
                    <a:pt x="636" y="6"/>
                  </a:lnTo>
                  <a:lnTo>
                    <a:pt x="654" y="18"/>
                  </a:lnTo>
                  <a:lnTo>
                    <a:pt x="654" y="30"/>
                  </a:lnTo>
                  <a:lnTo>
                    <a:pt x="642" y="42"/>
                  </a:lnTo>
                  <a:lnTo>
                    <a:pt x="630" y="66"/>
                  </a:lnTo>
                  <a:lnTo>
                    <a:pt x="636" y="84"/>
                  </a:lnTo>
                  <a:lnTo>
                    <a:pt x="636" y="96"/>
                  </a:lnTo>
                  <a:lnTo>
                    <a:pt x="648" y="102"/>
                  </a:lnTo>
                  <a:lnTo>
                    <a:pt x="672" y="114"/>
                  </a:lnTo>
                  <a:lnTo>
                    <a:pt x="702" y="120"/>
                  </a:lnTo>
                  <a:lnTo>
                    <a:pt x="714" y="126"/>
                  </a:lnTo>
                  <a:lnTo>
                    <a:pt x="720" y="144"/>
                  </a:lnTo>
                  <a:lnTo>
                    <a:pt x="720" y="156"/>
                  </a:lnTo>
                  <a:lnTo>
                    <a:pt x="708" y="156"/>
                  </a:lnTo>
                  <a:lnTo>
                    <a:pt x="702" y="162"/>
                  </a:lnTo>
                  <a:lnTo>
                    <a:pt x="702" y="174"/>
                  </a:lnTo>
                  <a:lnTo>
                    <a:pt x="696" y="174"/>
                  </a:lnTo>
                  <a:lnTo>
                    <a:pt x="690" y="180"/>
                  </a:lnTo>
                  <a:lnTo>
                    <a:pt x="678" y="186"/>
                  </a:lnTo>
                  <a:lnTo>
                    <a:pt x="672" y="192"/>
                  </a:lnTo>
                  <a:lnTo>
                    <a:pt x="654" y="210"/>
                  </a:lnTo>
                  <a:lnTo>
                    <a:pt x="654" y="216"/>
                  </a:lnTo>
                  <a:lnTo>
                    <a:pt x="648" y="246"/>
                  </a:lnTo>
                  <a:lnTo>
                    <a:pt x="660" y="246"/>
                  </a:lnTo>
                  <a:lnTo>
                    <a:pt x="666" y="234"/>
                  </a:lnTo>
                  <a:lnTo>
                    <a:pt x="678" y="240"/>
                  </a:lnTo>
                  <a:lnTo>
                    <a:pt x="684" y="228"/>
                  </a:lnTo>
                  <a:lnTo>
                    <a:pt x="690" y="210"/>
                  </a:lnTo>
                  <a:lnTo>
                    <a:pt x="696" y="204"/>
                  </a:lnTo>
                  <a:lnTo>
                    <a:pt x="702" y="204"/>
                  </a:lnTo>
                  <a:lnTo>
                    <a:pt x="708" y="192"/>
                  </a:lnTo>
                  <a:lnTo>
                    <a:pt x="714" y="192"/>
                  </a:lnTo>
                  <a:lnTo>
                    <a:pt x="714" y="186"/>
                  </a:lnTo>
                  <a:lnTo>
                    <a:pt x="726" y="186"/>
                  </a:lnTo>
                  <a:lnTo>
                    <a:pt x="732" y="186"/>
                  </a:lnTo>
                  <a:lnTo>
                    <a:pt x="738" y="186"/>
                  </a:lnTo>
                  <a:lnTo>
                    <a:pt x="744" y="216"/>
                  </a:lnTo>
                  <a:lnTo>
                    <a:pt x="750" y="210"/>
                  </a:lnTo>
                  <a:lnTo>
                    <a:pt x="750" y="204"/>
                  </a:lnTo>
                  <a:lnTo>
                    <a:pt x="756" y="192"/>
                  </a:lnTo>
                  <a:lnTo>
                    <a:pt x="762" y="192"/>
                  </a:lnTo>
                  <a:lnTo>
                    <a:pt x="768" y="192"/>
                  </a:lnTo>
                  <a:lnTo>
                    <a:pt x="780" y="186"/>
                  </a:lnTo>
                  <a:lnTo>
                    <a:pt x="786" y="204"/>
                  </a:lnTo>
                  <a:lnTo>
                    <a:pt x="774" y="210"/>
                  </a:lnTo>
                  <a:lnTo>
                    <a:pt x="774" y="234"/>
                  </a:lnTo>
                  <a:lnTo>
                    <a:pt x="780" y="246"/>
                  </a:lnTo>
                  <a:lnTo>
                    <a:pt x="804" y="264"/>
                  </a:lnTo>
                  <a:lnTo>
                    <a:pt x="816" y="276"/>
                  </a:lnTo>
                  <a:lnTo>
                    <a:pt x="822" y="288"/>
                  </a:lnTo>
                  <a:lnTo>
                    <a:pt x="822" y="312"/>
                  </a:lnTo>
                  <a:lnTo>
                    <a:pt x="816" y="312"/>
                  </a:lnTo>
                  <a:lnTo>
                    <a:pt x="810" y="318"/>
                  </a:lnTo>
                  <a:lnTo>
                    <a:pt x="810" y="348"/>
                  </a:lnTo>
                  <a:lnTo>
                    <a:pt x="816" y="348"/>
                  </a:lnTo>
                  <a:lnTo>
                    <a:pt x="816" y="342"/>
                  </a:lnTo>
                  <a:lnTo>
                    <a:pt x="834" y="342"/>
                  </a:lnTo>
                  <a:lnTo>
                    <a:pt x="834" y="348"/>
                  </a:lnTo>
                  <a:lnTo>
                    <a:pt x="846" y="348"/>
                  </a:lnTo>
                  <a:lnTo>
                    <a:pt x="846" y="342"/>
                  </a:lnTo>
                  <a:lnTo>
                    <a:pt x="882" y="342"/>
                  </a:lnTo>
                  <a:lnTo>
                    <a:pt x="894" y="366"/>
                  </a:lnTo>
                  <a:lnTo>
                    <a:pt x="900" y="372"/>
                  </a:lnTo>
                  <a:lnTo>
                    <a:pt x="906" y="384"/>
                  </a:lnTo>
                  <a:lnTo>
                    <a:pt x="924" y="384"/>
                  </a:lnTo>
                  <a:lnTo>
                    <a:pt x="930" y="372"/>
                  </a:lnTo>
                  <a:lnTo>
                    <a:pt x="936" y="372"/>
                  </a:lnTo>
                  <a:lnTo>
                    <a:pt x="942" y="348"/>
                  </a:lnTo>
                  <a:lnTo>
                    <a:pt x="954" y="348"/>
                  </a:lnTo>
                  <a:lnTo>
                    <a:pt x="954" y="342"/>
                  </a:lnTo>
                  <a:lnTo>
                    <a:pt x="984" y="342"/>
                  </a:lnTo>
                  <a:lnTo>
                    <a:pt x="978" y="390"/>
                  </a:lnTo>
                  <a:lnTo>
                    <a:pt x="984" y="390"/>
                  </a:lnTo>
                  <a:lnTo>
                    <a:pt x="990" y="396"/>
                  </a:lnTo>
                  <a:lnTo>
                    <a:pt x="996" y="396"/>
                  </a:lnTo>
                  <a:lnTo>
                    <a:pt x="1002" y="396"/>
                  </a:lnTo>
                  <a:lnTo>
                    <a:pt x="1002" y="408"/>
                  </a:lnTo>
                  <a:lnTo>
                    <a:pt x="990" y="414"/>
                  </a:lnTo>
                  <a:lnTo>
                    <a:pt x="984" y="426"/>
                  </a:lnTo>
                  <a:lnTo>
                    <a:pt x="990" y="444"/>
                  </a:lnTo>
                  <a:lnTo>
                    <a:pt x="996" y="450"/>
                  </a:lnTo>
                  <a:lnTo>
                    <a:pt x="990" y="462"/>
                  </a:lnTo>
                  <a:lnTo>
                    <a:pt x="990" y="468"/>
                  </a:lnTo>
                  <a:lnTo>
                    <a:pt x="984" y="480"/>
                  </a:lnTo>
                  <a:lnTo>
                    <a:pt x="978" y="486"/>
                  </a:lnTo>
                  <a:lnTo>
                    <a:pt x="972" y="486"/>
                  </a:lnTo>
                  <a:lnTo>
                    <a:pt x="966" y="492"/>
                  </a:lnTo>
                  <a:lnTo>
                    <a:pt x="966" y="498"/>
                  </a:lnTo>
                  <a:lnTo>
                    <a:pt x="954" y="510"/>
                  </a:lnTo>
                  <a:lnTo>
                    <a:pt x="948" y="510"/>
                  </a:lnTo>
                  <a:lnTo>
                    <a:pt x="942" y="516"/>
                  </a:lnTo>
                  <a:lnTo>
                    <a:pt x="936" y="528"/>
                  </a:lnTo>
                  <a:lnTo>
                    <a:pt x="936" y="534"/>
                  </a:lnTo>
                  <a:lnTo>
                    <a:pt x="936" y="546"/>
                  </a:lnTo>
                  <a:lnTo>
                    <a:pt x="936" y="558"/>
                  </a:lnTo>
                  <a:lnTo>
                    <a:pt x="948" y="558"/>
                  </a:lnTo>
                  <a:lnTo>
                    <a:pt x="954" y="558"/>
                  </a:lnTo>
                  <a:lnTo>
                    <a:pt x="996" y="558"/>
                  </a:lnTo>
                  <a:lnTo>
                    <a:pt x="1002" y="570"/>
                  </a:lnTo>
                  <a:lnTo>
                    <a:pt x="996" y="576"/>
                  </a:lnTo>
                  <a:lnTo>
                    <a:pt x="996" y="588"/>
                  </a:lnTo>
                  <a:lnTo>
                    <a:pt x="984" y="588"/>
                  </a:lnTo>
                  <a:lnTo>
                    <a:pt x="990" y="612"/>
                  </a:lnTo>
                  <a:lnTo>
                    <a:pt x="1014" y="606"/>
                  </a:lnTo>
                  <a:lnTo>
                    <a:pt x="1014" y="636"/>
                  </a:lnTo>
                  <a:lnTo>
                    <a:pt x="1014" y="648"/>
                  </a:lnTo>
                  <a:lnTo>
                    <a:pt x="1020" y="648"/>
                  </a:lnTo>
                  <a:lnTo>
                    <a:pt x="1026" y="660"/>
                  </a:lnTo>
                  <a:lnTo>
                    <a:pt x="1038" y="654"/>
                  </a:lnTo>
                  <a:lnTo>
                    <a:pt x="1050" y="654"/>
                  </a:lnTo>
                  <a:lnTo>
                    <a:pt x="1062" y="654"/>
                  </a:lnTo>
                  <a:lnTo>
                    <a:pt x="1068" y="660"/>
                  </a:lnTo>
                  <a:lnTo>
                    <a:pt x="1068" y="678"/>
                  </a:lnTo>
                  <a:lnTo>
                    <a:pt x="1068" y="684"/>
                  </a:lnTo>
                  <a:lnTo>
                    <a:pt x="1062" y="690"/>
                  </a:lnTo>
                  <a:lnTo>
                    <a:pt x="1056" y="696"/>
                  </a:lnTo>
                  <a:lnTo>
                    <a:pt x="1056" y="702"/>
                  </a:lnTo>
                  <a:lnTo>
                    <a:pt x="1038" y="714"/>
                  </a:lnTo>
                  <a:lnTo>
                    <a:pt x="1026" y="720"/>
                  </a:lnTo>
                  <a:lnTo>
                    <a:pt x="1008" y="726"/>
                  </a:lnTo>
                  <a:lnTo>
                    <a:pt x="1008" y="732"/>
                  </a:lnTo>
                  <a:lnTo>
                    <a:pt x="990" y="732"/>
                  </a:lnTo>
                  <a:lnTo>
                    <a:pt x="984" y="744"/>
                  </a:lnTo>
                  <a:lnTo>
                    <a:pt x="990" y="750"/>
                  </a:lnTo>
                  <a:lnTo>
                    <a:pt x="984" y="762"/>
                  </a:lnTo>
                  <a:lnTo>
                    <a:pt x="984" y="768"/>
                  </a:lnTo>
                  <a:lnTo>
                    <a:pt x="984" y="774"/>
                  </a:lnTo>
                  <a:lnTo>
                    <a:pt x="984" y="780"/>
                  </a:lnTo>
                  <a:lnTo>
                    <a:pt x="984" y="786"/>
                  </a:lnTo>
                  <a:lnTo>
                    <a:pt x="984" y="792"/>
                  </a:lnTo>
                  <a:lnTo>
                    <a:pt x="978" y="798"/>
                  </a:lnTo>
                  <a:lnTo>
                    <a:pt x="978" y="804"/>
                  </a:lnTo>
                  <a:close/>
                </a:path>
              </a:pathLst>
            </a:custGeom>
            <a:solidFill>
              <a:srgbClr val="F2F2F2"/>
            </a:solidFill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27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125" name="Freeform 39">
              <a:extLst>
                <a:ext uri="{FF2B5EF4-FFF2-40B4-BE49-F238E27FC236}">
                  <a16:creationId xmlns:a16="http://schemas.microsoft.com/office/drawing/2014/main" id="{882D6039-8A90-4EF0-9C8C-5FCF4BF7BBC2}"/>
                </a:ext>
              </a:extLst>
            </p:cNvPr>
            <p:cNvSpPr>
              <a:spLocks/>
            </p:cNvSpPr>
            <p:nvPr/>
          </p:nvSpPr>
          <p:spPr bwMode="gray">
            <a:xfrm>
              <a:off x="5668964" y="884239"/>
              <a:ext cx="1685925" cy="1685925"/>
            </a:xfrm>
            <a:custGeom>
              <a:avLst/>
              <a:gdLst>
                <a:gd name="T0" fmla="*/ 105 w 1806"/>
                <a:gd name="T1" fmla="*/ 155 h 1806"/>
                <a:gd name="T2" fmla="*/ 103 w 1806"/>
                <a:gd name="T3" fmla="*/ 155 h 1806"/>
                <a:gd name="T4" fmla="*/ 103 w 1806"/>
                <a:gd name="T5" fmla="*/ 150 h 1806"/>
                <a:gd name="T6" fmla="*/ 104 w 1806"/>
                <a:gd name="T7" fmla="*/ 141 h 1806"/>
                <a:gd name="T8" fmla="*/ 104 w 1806"/>
                <a:gd name="T9" fmla="*/ 136 h 1806"/>
                <a:gd name="T10" fmla="*/ 100 w 1806"/>
                <a:gd name="T11" fmla="*/ 131 h 1806"/>
                <a:gd name="T12" fmla="*/ 96 w 1806"/>
                <a:gd name="T13" fmla="*/ 127 h 1806"/>
                <a:gd name="T14" fmla="*/ 91 w 1806"/>
                <a:gd name="T15" fmla="*/ 121 h 1806"/>
                <a:gd name="T16" fmla="*/ 87 w 1806"/>
                <a:gd name="T17" fmla="*/ 120 h 1806"/>
                <a:gd name="T18" fmla="*/ 81 w 1806"/>
                <a:gd name="T19" fmla="*/ 117 h 1806"/>
                <a:gd name="T20" fmla="*/ 65 w 1806"/>
                <a:gd name="T21" fmla="*/ 113 h 1806"/>
                <a:gd name="T22" fmla="*/ 69 w 1806"/>
                <a:gd name="T23" fmla="*/ 105 h 1806"/>
                <a:gd name="T24" fmla="*/ 66 w 1806"/>
                <a:gd name="T25" fmla="*/ 89 h 1806"/>
                <a:gd name="T26" fmla="*/ 63 w 1806"/>
                <a:gd name="T27" fmla="*/ 84 h 1806"/>
                <a:gd name="T28" fmla="*/ 62 w 1806"/>
                <a:gd name="T29" fmla="*/ 74 h 1806"/>
                <a:gd name="T30" fmla="*/ 58 w 1806"/>
                <a:gd name="T31" fmla="*/ 52 h 1806"/>
                <a:gd name="T32" fmla="*/ 53 w 1806"/>
                <a:gd name="T33" fmla="*/ 49 h 1806"/>
                <a:gd name="T34" fmla="*/ 51 w 1806"/>
                <a:gd name="T35" fmla="*/ 36 h 1806"/>
                <a:gd name="T36" fmla="*/ 43 w 1806"/>
                <a:gd name="T37" fmla="*/ 32 h 1806"/>
                <a:gd name="T38" fmla="*/ 33 w 1806"/>
                <a:gd name="T39" fmla="*/ 30 h 1806"/>
                <a:gd name="T40" fmla="*/ 30 w 1806"/>
                <a:gd name="T41" fmla="*/ 21 h 1806"/>
                <a:gd name="T42" fmla="*/ 17 w 1806"/>
                <a:gd name="T43" fmla="*/ 25 h 1806"/>
                <a:gd name="T44" fmla="*/ 4 w 1806"/>
                <a:gd name="T45" fmla="*/ 33 h 1806"/>
                <a:gd name="T46" fmla="*/ 7 w 1806"/>
                <a:gd name="T47" fmla="*/ 26 h 1806"/>
                <a:gd name="T48" fmla="*/ 11 w 1806"/>
                <a:gd name="T49" fmla="*/ 20 h 1806"/>
                <a:gd name="T50" fmla="*/ 18 w 1806"/>
                <a:gd name="T51" fmla="*/ 12 h 1806"/>
                <a:gd name="T52" fmla="*/ 26 w 1806"/>
                <a:gd name="T53" fmla="*/ 8 h 1806"/>
                <a:gd name="T54" fmla="*/ 35 w 1806"/>
                <a:gd name="T55" fmla="*/ 6 h 1806"/>
                <a:gd name="T56" fmla="*/ 44 w 1806"/>
                <a:gd name="T57" fmla="*/ 5 h 1806"/>
                <a:gd name="T58" fmla="*/ 54 w 1806"/>
                <a:gd name="T59" fmla="*/ 2 h 1806"/>
                <a:gd name="T60" fmla="*/ 65 w 1806"/>
                <a:gd name="T61" fmla="*/ 0 h 1806"/>
                <a:gd name="T62" fmla="*/ 76 w 1806"/>
                <a:gd name="T63" fmla="*/ 0 h 1806"/>
                <a:gd name="T64" fmla="*/ 85 w 1806"/>
                <a:gd name="T65" fmla="*/ 0 h 1806"/>
                <a:gd name="T66" fmla="*/ 97 w 1806"/>
                <a:gd name="T67" fmla="*/ 0 h 1806"/>
                <a:gd name="T68" fmla="*/ 108 w 1806"/>
                <a:gd name="T69" fmla="*/ 3 h 1806"/>
                <a:gd name="T70" fmla="*/ 115 w 1806"/>
                <a:gd name="T71" fmla="*/ 5 h 1806"/>
                <a:gd name="T72" fmla="*/ 123 w 1806"/>
                <a:gd name="T73" fmla="*/ 7 h 1806"/>
                <a:gd name="T74" fmla="*/ 133 w 1806"/>
                <a:gd name="T75" fmla="*/ 14 h 1806"/>
                <a:gd name="T76" fmla="*/ 138 w 1806"/>
                <a:gd name="T77" fmla="*/ 16 h 1806"/>
                <a:gd name="T78" fmla="*/ 140 w 1806"/>
                <a:gd name="T79" fmla="*/ 14 h 1806"/>
                <a:gd name="T80" fmla="*/ 145 w 1806"/>
                <a:gd name="T81" fmla="*/ 16 h 1806"/>
                <a:gd name="T82" fmla="*/ 147 w 1806"/>
                <a:gd name="T83" fmla="*/ 16 h 1806"/>
                <a:gd name="T84" fmla="*/ 150 w 1806"/>
                <a:gd name="T85" fmla="*/ 17 h 1806"/>
                <a:gd name="T86" fmla="*/ 152 w 1806"/>
                <a:gd name="T87" fmla="*/ 18 h 1806"/>
                <a:gd name="T88" fmla="*/ 155 w 1806"/>
                <a:gd name="T89" fmla="*/ 37 h 1806"/>
                <a:gd name="T90" fmla="*/ 146 w 1806"/>
                <a:gd name="T91" fmla="*/ 66 h 1806"/>
                <a:gd name="T92" fmla="*/ 143 w 1806"/>
                <a:gd name="T93" fmla="*/ 88 h 1806"/>
                <a:gd name="T94" fmla="*/ 144 w 1806"/>
                <a:gd name="T95" fmla="*/ 98 h 1806"/>
                <a:gd name="T96" fmla="*/ 137 w 1806"/>
                <a:gd name="T97" fmla="*/ 118 h 1806"/>
                <a:gd name="T98" fmla="*/ 132 w 1806"/>
                <a:gd name="T99" fmla="*/ 129 h 1806"/>
                <a:gd name="T100" fmla="*/ 124 w 1806"/>
                <a:gd name="T101" fmla="*/ 135 h 1806"/>
                <a:gd name="T102" fmla="*/ 119 w 1806"/>
                <a:gd name="T103" fmla="*/ 136 h 1806"/>
                <a:gd name="T104" fmla="*/ 116 w 1806"/>
                <a:gd name="T105" fmla="*/ 137 h 1806"/>
                <a:gd name="T106" fmla="*/ 112 w 1806"/>
                <a:gd name="T107" fmla="*/ 139 h 1806"/>
                <a:gd name="T108" fmla="*/ 112 w 1806"/>
                <a:gd name="T109" fmla="*/ 141 h 1806"/>
                <a:gd name="T110" fmla="*/ 116 w 1806"/>
                <a:gd name="T111" fmla="*/ 146 h 1806"/>
                <a:gd name="T112" fmla="*/ 116 w 1806"/>
                <a:gd name="T113" fmla="*/ 151 h 1806"/>
                <a:gd name="T114" fmla="*/ 113 w 1806"/>
                <a:gd name="T115" fmla="*/ 153 h 18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6"/>
                <a:gd name="T175" fmla="*/ 0 h 1806"/>
                <a:gd name="T176" fmla="*/ 1806 w 1806"/>
                <a:gd name="T177" fmla="*/ 1806 h 18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6" h="1806">
                  <a:moveTo>
                    <a:pt x="1260" y="1776"/>
                  </a:moveTo>
                  <a:lnTo>
                    <a:pt x="1254" y="1776"/>
                  </a:lnTo>
                  <a:lnTo>
                    <a:pt x="1248" y="1776"/>
                  </a:lnTo>
                  <a:lnTo>
                    <a:pt x="1242" y="1782"/>
                  </a:lnTo>
                  <a:lnTo>
                    <a:pt x="1236" y="1782"/>
                  </a:lnTo>
                  <a:lnTo>
                    <a:pt x="1230" y="1788"/>
                  </a:lnTo>
                  <a:lnTo>
                    <a:pt x="1224" y="1782"/>
                  </a:lnTo>
                  <a:lnTo>
                    <a:pt x="1218" y="1782"/>
                  </a:lnTo>
                  <a:lnTo>
                    <a:pt x="1218" y="1788"/>
                  </a:lnTo>
                  <a:lnTo>
                    <a:pt x="1212" y="1788"/>
                  </a:lnTo>
                  <a:lnTo>
                    <a:pt x="1206" y="1788"/>
                  </a:lnTo>
                  <a:lnTo>
                    <a:pt x="1206" y="1794"/>
                  </a:lnTo>
                  <a:lnTo>
                    <a:pt x="1200" y="1806"/>
                  </a:lnTo>
                  <a:lnTo>
                    <a:pt x="1194" y="1800"/>
                  </a:lnTo>
                  <a:lnTo>
                    <a:pt x="1194" y="1794"/>
                  </a:lnTo>
                  <a:lnTo>
                    <a:pt x="1194" y="1788"/>
                  </a:lnTo>
                  <a:lnTo>
                    <a:pt x="1188" y="1788"/>
                  </a:lnTo>
                  <a:lnTo>
                    <a:pt x="1188" y="1782"/>
                  </a:lnTo>
                  <a:lnTo>
                    <a:pt x="1188" y="1776"/>
                  </a:lnTo>
                  <a:lnTo>
                    <a:pt x="1194" y="1770"/>
                  </a:lnTo>
                  <a:lnTo>
                    <a:pt x="1194" y="1764"/>
                  </a:lnTo>
                  <a:lnTo>
                    <a:pt x="1194" y="1758"/>
                  </a:lnTo>
                  <a:lnTo>
                    <a:pt x="1194" y="1752"/>
                  </a:lnTo>
                  <a:lnTo>
                    <a:pt x="1200" y="1746"/>
                  </a:lnTo>
                  <a:lnTo>
                    <a:pt x="1200" y="1740"/>
                  </a:lnTo>
                  <a:lnTo>
                    <a:pt x="1200" y="1734"/>
                  </a:lnTo>
                  <a:lnTo>
                    <a:pt x="1188" y="1722"/>
                  </a:lnTo>
                  <a:lnTo>
                    <a:pt x="1188" y="1716"/>
                  </a:lnTo>
                  <a:lnTo>
                    <a:pt x="1194" y="1704"/>
                  </a:lnTo>
                  <a:lnTo>
                    <a:pt x="1194" y="1692"/>
                  </a:lnTo>
                  <a:lnTo>
                    <a:pt x="1200" y="1680"/>
                  </a:lnTo>
                  <a:lnTo>
                    <a:pt x="1200" y="1662"/>
                  </a:lnTo>
                  <a:lnTo>
                    <a:pt x="1200" y="1650"/>
                  </a:lnTo>
                  <a:lnTo>
                    <a:pt x="1206" y="1644"/>
                  </a:lnTo>
                  <a:lnTo>
                    <a:pt x="1206" y="1638"/>
                  </a:lnTo>
                  <a:lnTo>
                    <a:pt x="1206" y="1626"/>
                  </a:lnTo>
                  <a:lnTo>
                    <a:pt x="1206" y="1620"/>
                  </a:lnTo>
                  <a:lnTo>
                    <a:pt x="1206" y="1614"/>
                  </a:lnTo>
                  <a:lnTo>
                    <a:pt x="1200" y="1608"/>
                  </a:lnTo>
                  <a:lnTo>
                    <a:pt x="1200" y="1602"/>
                  </a:lnTo>
                  <a:lnTo>
                    <a:pt x="1200" y="1596"/>
                  </a:lnTo>
                  <a:lnTo>
                    <a:pt x="1200" y="1590"/>
                  </a:lnTo>
                  <a:lnTo>
                    <a:pt x="1200" y="1572"/>
                  </a:lnTo>
                  <a:lnTo>
                    <a:pt x="1200" y="1566"/>
                  </a:lnTo>
                  <a:lnTo>
                    <a:pt x="1200" y="1560"/>
                  </a:lnTo>
                  <a:lnTo>
                    <a:pt x="1194" y="1554"/>
                  </a:lnTo>
                  <a:lnTo>
                    <a:pt x="1188" y="1548"/>
                  </a:lnTo>
                  <a:lnTo>
                    <a:pt x="1188" y="1542"/>
                  </a:lnTo>
                  <a:lnTo>
                    <a:pt x="1176" y="1536"/>
                  </a:lnTo>
                  <a:lnTo>
                    <a:pt x="1176" y="1530"/>
                  </a:lnTo>
                  <a:lnTo>
                    <a:pt x="1170" y="1524"/>
                  </a:lnTo>
                  <a:lnTo>
                    <a:pt x="1170" y="1518"/>
                  </a:lnTo>
                  <a:lnTo>
                    <a:pt x="1164" y="1512"/>
                  </a:lnTo>
                  <a:lnTo>
                    <a:pt x="1158" y="1506"/>
                  </a:lnTo>
                  <a:lnTo>
                    <a:pt x="1152" y="1500"/>
                  </a:lnTo>
                  <a:lnTo>
                    <a:pt x="1146" y="1494"/>
                  </a:lnTo>
                  <a:lnTo>
                    <a:pt x="1140" y="1488"/>
                  </a:lnTo>
                  <a:lnTo>
                    <a:pt x="1134" y="1482"/>
                  </a:lnTo>
                  <a:lnTo>
                    <a:pt x="1128" y="1476"/>
                  </a:lnTo>
                  <a:lnTo>
                    <a:pt x="1122" y="1470"/>
                  </a:lnTo>
                  <a:lnTo>
                    <a:pt x="1116" y="1464"/>
                  </a:lnTo>
                  <a:lnTo>
                    <a:pt x="1110" y="1464"/>
                  </a:lnTo>
                  <a:lnTo>
                    <a:pt x="1104" y="1458"/>
                  </a:lnTo>
                  <a:lnTo>
                    <a:pt x="1098" y="1464"/>
                  </a:lnTo>
                  <a:lnTo>
                    <a:pt x="1092" y="1464"/>
                  </a:lnTo>
                  <a:lnTo>
                    <a:pt x="1086" y="1446"/>
                  </a:lnTo>
                  <a:lnTo>
                    <a:pt x="1086" y="1440"/>
                  </a:lnTo>
                  <a:lnTo>
                    <a:pt x="1080" y="1416"/>
                  </a:lnTo>
                  <a:lnTo>
                    <a:pt x="1068" y="1404"/>
                  </a:lnTo>
                  <a:lnTo>
                    <a:pt x="1062" y="1398"/>
                  </a:lnTo>
                  <a:lnTo>
                    <a:pt x="1056" y="1398"/>
                  </a:lnTo>
                  <a:lnTo>
                    <a:pt x="1050" y="1398"/>
                  </a:lnTo>
                  <a:lnTo>
                    <a:pt x="1044" y="1398"/>
                  </a:lnTo>
                  <a:lnTo>
                    <a:pt x="1044" y="1392"/>
                  </a:lnTo>
                  <a:lnTo>
                    <a:pt x="1038" y="1392"/>
                  </a:lnTo>
                  <a:lnTo>
                    <a:pt x="1032" y="1392"/>
                  </a:lnTo>
                  <a:lnTo>
                    <a:pt x="1020" y="1386"/>
                  </a:lnTo>
                  <a:lnTo>
                    <a:pt x="1014" y="1386"/>
                  </a:lnTo>
                  <a:lnTo>
                    <a:pt x="1014" y="1380"/>
                  </a:lnTo>
                  <a:lnTo>
                    <a:pt x="1008" y="1380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62"/>
                  </a:lnTo>
                  <a:lnTo>
                    <a:pt x="984" y="1356"/>
                  </a:lnTo>
                  <a:lnTo>
                    <a:pt x="978" y="1356"/>
                  </a:lnTo>
                  <a:lnTo>
                    <a:pt x="972" y="1356"/>
                  </a:lnTo>
                  <a:lnTo>
                    <a:pt x="966" y="1356"/>
                  </a:lnTo>
                  <a:lnTo>
                    <a:pt x="966" y="1350"/>
                  </a:lnTo>
                  <a:lnTo>
                    <a:pt x="948" y="1350"/>
                  </a:lnTo>
                  <a:lnTo>
                    <a:pt x="936" y="1344"/>
                  </a:lnTo>
                  <a:lnTo>
                    <a:pt x="930" y="1338"/>
                  </a:lnTo>
                  <a:lnTo>
                    <a:pt x="918" y="1332"/>
                  </a:lnTo>
                  <a:lnTo>
                    <a:pt x="900" y="1326"/>
                  </a:lnTo>
                  <a:lnTo>
                    <a:pt x="864" y="1332"/>
                  </a:lnTo>
                  <a:lnTo>
                    <a:pt x="828" y="1332"/>
                  </a:lnTo>
                  <a:lnTo>
                    <a:pt x="792" y="1314"/>
                  </a:lnTo>
                  <a:lnTo>
                    <a:pt x="780" y="1314"/>
                  </a:lnTo>
                  <a:lnTo>
                    <a:pt x="780" y="1308"/>
                  </a:lnTo>
                  <a:lnTo>
                    <a:pt x="756" y="1296"/>
                  </a:lnTo>
                  <a:lnTo>
                    <a:pt x="756" y="1278"/>
                  </a:lnTo>
                  <a:lnTo>
                    <a:pt x="768" y="1278"/>
                  </a:lnTo>
                  <a:lnTo>
                    <a:pt x="774" y="1272"/>
                  </a:lnTo>
                  <a:lnTo>
                    <a:pt x="780" y="1266"/>
                  </a:lnTo>
                  <a:lnTo>
                    <a:pt x="786" y="1260"/>
                  </a:lnTo>
                  <a:lnTo>
                    <a:pt x="792" y="1254"/>
                  </a:lnTo>
                  <a:lnTo>
                    <a:pt x="798" y="1242"/>
                  </a:lnTo>
                  <a:lnTo>
                    <a:pt x="804" y="1242"/>
                  </a:lnTo>
                  <a:lnTo>
                    <a:pt x="804" y="1206"/>
                  </a:lnTo>
                  <a:lnTo>
                    <a:pt x="804" y="1182"/>
                  </a:lnTo>
                  <a:lnTo>
                    <a:pt x="804" y="1158"/>
                  </a:lnTo>
                  <a:lnTo>
                    <a:pt x="804" y="1134"/>
                  </a:lnTo>
                  <a:lnTo>
                    <a:pt x="798" y="1116"/>
                  </a:lnTo>
                  <a:lnTo>
                    <a:pt x="792" y="1092"/>
                  </a:lnTo>
                  <a:lnTo>
                    <a:pt x="786" y="1062"/>
                  </a:lnTo>
                  <a:lnTo>
                    <a:pt x="768" y="1032"/>
                  </a:lnTo>
                  <a:lnTo>
                    <a:pt x="762" y="1032"/>
                  </a:lnTo>
                  <a:lnTo>
                    <a:pt x="762" y="1020"/>
                  </a:lnTo>
                  <a:lnTo>
                    <a:pt x="762" y="1014"/>
                  </a:lnTo>
                  <a:lnTo>
                    <a:pt x="756" y="1008"/>
                  </a:lnTo>
                  <a:lnTo>
                    <a:pt x="750" y="1002"/>
                  </a:lnTo>
                  <a:lnTo>
                    <a:pt x="738" y="1002"/>
                  </a:lnTo>
                  <a:lnTo>
                    <a:pt x="738" y="990"/>
                  </a:lnTo>
                  <a:lnTo>
                    <a:pt x="726" y="990"/>
                  </a:lnTo>
                  <a:lnTo>
                    <a:pt x="726" y="978"/>
                  </a:lnTo>
                  <a:lnTo>
                    <a:pt x="732" y="972"/>
                  </a:lnTo>
                  <a:lnTo>
                    <a:pt x="732" y="966"/>
                  </a:lnTo>
                  <a:lnTo>
                    <a:pt x="726" y="966"/>
                  </a:lnTo>
                  <a:lnTo>
                    <a:pt x="732" y="948"/>
                  </a:lnTo>
                  <a:lnTo>
                    <a:pt x="726" y="942"/>
                  </a:lnTo>
                  <a:lnTo>
                    <a:pt x="726" y="930"/>
                  </a:lnTo>
                  <a:lnTo>
                    <a:pt x="720" y="924"/>
                  </a:lnTo>
                  <a:lnTo>
                    <a:pt x="714" y="912"/>
                  </a:lnTo>
                  <a:lnTo>
                    <a:pt x="714" y="882"/>
                  </a:lnTo>
                  <a:lnTo>
                    <a:pt x="714" y="870"/>
                  </a:lnTo>
                  <a:lnTo>
                    <a:pt x="714" y="858"/>
                  </a:lnTo>
                  <a:lnTo>
                    <a:pt x="714" y="846"/>
                  </a:lnTo>
                  <a:lnTo>
                    <a:pt x="708" y="822"/>
                  </a:lnTo>
                  <a:lnTo>
                    <a:pt x="702" y="798"/>
                  </a:lnTo>
                  <a:lnTo>
                    <a:pt x="696" y="792"/>
                  </a:lnTo>
                  <a:lnTo>
                    <a:pt x="684" y="726"/>
                  </a:lnTo>
                  <a:lnTo>
                    <a:pt x="678" y="666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66" y="600"/>
                  </a:lnTo>
                  <a:lnTo>
                    <a:pt x="660" y="594"/>
                  </a:lnTo>
                  <a:lnTo>
                    <a:pt x="654" y="594"/>
                  </a:lnTo>
                  <a:lnTo>
                    <a:pt x="636" y="582"/>
                  </a:lnTo>
                  <a:lnTo>
                    <a:pt x="630" y="576"/>
                  </a:lnTo>
                  <a:lnTo>
                    <a:pt x="624" y="576"/>
                  </a:lnTo>
                  <a:lnTo>
                    <a:pt x="618" y="570"/>
                  </a:lnTo>
                  <a:lnTo>
                    <a:pt x="612" y="564"/>
                  </a:lnTo>
                  <a:lnTo>
                    <a:pt x="606" y="558"/>
                  </a:lnTo>
                  <a:lnTo>
                    <a:pt x="606" y="564"/>
                  </a:lnTo>
                  <a:lnTo>
                    <a:pt x="600" y="564"/>
                  </a:lnTo>
                  <a:lnTo>
                    <a:pt x="594" y="558"/>
                  </a:lnTo>
                  <a:lnTo>
                    <a:pt x="594" y="540"/>
                  </a:lnTo>
                  <a:lnTo>
                    <a:pt x="594" y="528"/>
                  </a:lnTo>
                  <a:lnTo>
                    <a:pt x="594" y="516"/>
                  </a:lnTo>
                  <a:lnTo>
                    <a:pt x="594" y="510"/>
                  </a:lnTo>
                  <a:lnTo>
                    <a:pt x="594" y="492"/>
                  </a:lnTo>
                  <a:lnTo>
                    <a:pt x="594" y="456"/>
                  </a:lnTo>
                  <a:lnTo>
                    <a:pt x="588" y="414"/>
                  </a:lnTo>
                  <a:lnTo>
                    <a:pt x="588" y="408"/>
                  </a:lnTo>
                  <a:lnTo>
                    <a:pt x="582" y="396"/>
                  </a:lnTo>
                  <a:lnTo>
                    <a:pt x="582" y="384"/>
                  </a:lnTo>
                  <a:lnTo>
                    <a:pt x="582" y="372"/>
                  </a:lnTo>
                  <a:lnTo>
                    <a:pt x="564" y="372"/>
                  </a:lnTo>
                  <a:lnTo>
                    <a:pt x="552" y="366"/>
                  </a:lnTo>
                  <a:lnTo>
                    <a:pt x="552" y="372"/>
                  </a:lnTo>
                  <a:lnTo>
                    <a:pt x="498" y="372"/>
                  </a:lnTo>
                  <a:lnTo>
                    <a:pt x="498" y="366"/>
                  </a:lnTo>
                  <a:lnTo>
                    <a:pt x="474" y="360"/>
                  </a:lnTo>
                  <a:lnTo>
                    <a:pt x="456" y="354"/>
                  </a:lnTo>
                  <a:lnTo>
                    <a:pt x="438" y="348"/>
                  </a:lnTo>
                  <a:lnTo>
                    <a:pt x="426" y="354"/>
                  </a:lnTo>
                  <a:lnTo>
                    <a:pt x="408" y="360"/>
                  </a:lnTo>
                  <a:lnTo>
                    <a:pt x="378" y="360"/>
                  </a:lnTo>
                  <a:lnTo>
                    <a:pt x="378" y="354"/>
                  </a:lnTo>
                  <a:lnTo>
                    <a:pt x="378" y="348"/>
                  </a:lnTo>
                  <a:lnTo>
                    <a:pt x="378" y="342"/>
                  </a:lnTo>
                  <a:lnTo>
                    <a:pt x="390" y="330"/>
                  </a:lnTo>
                  <a:lnTo>
                    <a:pt x="396" y="312"/>
                  </a:lnTo>
                  <a:lnTo>
                    <a:pt x="396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8"/>
                  </a:lnTo>
                  <a:lnTo>
                    <a:pt x="372" y="234"/>
                  </a:lnTo>
                  <a:lnTo>
                    <a:pt x="354" y="234"/>
                  </a:lnTo>
                  <a:lnTo>
                    <a:pt x="342" y="246"/>
                  </a:lnTo>
                  <a:lnTo>
                    <a:pt x="330" y="252"/>
                  </a:lnTo>
                  <a:lnTo>
                    <a:pt x="318" y="252"/>
                  </a:lnTo>
                  <a:lnTo>
                    <a:pt x="276" y="258"/>
                  </a:lnTo>
                  <a:lnTo>
                    <a:pt x="276" y="264"/>
                  </a:lnTo>
                  <a:lnTo>
                    <a:pt x="252" y="270"/>
                  </a:lnTo>
                  <a:lnTo>
                    <a:pt x="240" y="270"/>
                  </a:lnTo>
                  <a:lnTo>
                    <a:pt x="228" y="276"/>
                  </a:lnTo>
                  <a:lnTo>
                    <a:pt x="210" y="282"/>
                  </a:lnTo>
                  <a:lnTo>
                    <a:pt x="198" y="288"/>
                  </a:lnTo>
                  <a:lnTo>
                    <a:pt x="186" y="294"/>
                  </a:lnTo>
                  <a:lnTo>
                    <a:pt x="174" y="330"/>
                  </a:lnTo>
                  <a:lnTo>
                    <a:pt x="162" y="342"/>
                  </a:lnTo>
                  <a:lnTo>
                    <a:pt x="156" y="354"/>
                  </a:lnTo>
                  <a:lnTo>
                    <a:pt x="150" y="360"/>
                  </a:lnTo>
                  <a:lnTo>
                    <a:pt x="150" y="366"/>
                  </a:lnTo>
                  <a:lnTo>
                    <a:pt x="108" y="372"/>
                  </a:lnTo>
                  <a:lnTo>
                    <a:pt x="60" y="378"/>
                  </a:lnTo>
                  <a:lnTo>
                    <a:pt x="42" y="378"/>
                  </a:lnTo>
                  <a:lnTo>
                    <a:pt x="12" y="378"/>
                  </a:lnTo>
                  <a:lnTo>
                    <a:pt x="6" y="378"/>
                  </a:lnTo>
                  <a:lnTo>
                    <a:pt x="0" y="366"/>
                  </a:lnTo>
                  <a:lnTo>
                    <a:pt x="12" y="360"/>
                  </a:lnTo>
                  <a:lnTo>
                    <a:pt x="24" y="348"/>
                  </a:lnTo>
                  <a:lnTo>
                    <a:pt x="30" y="342"/>
                  </a:lnTo>
                  <a:lnTo>
                    <a:pt x="36" y="330"/>
                  </a:lnTo>
                  <a:lnTo>
                    <a:pt x="72" y="300"/>
                  </a:lnTo>
                  <a:lnTo>
                    <a:pt x="78" y="294"/>
                  </a:lnTo>
                  <a:lnTo>
                    <a:pt x="78" y="288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96" y="270"/>
                  </a:lnTo>
                  <a:lnTo>
                    <a:pt x="102" y="264"/>
                  </a:lnTo>
                  <a:lnTo>
                    <a:pt x="108" y="258"/>
                  </a:lnTo>
                  <a:lnTo>
                    <a:pt x="114" y="246"/>
                  </a:lnTo>
                  <a:lnTo>
                    <a:pt x="120" y="240"/>
                  </a:lnTo>
                  <a:lnTo>
                    <a:pt x="126" y="234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0" y="210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86" y="174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22" y="138"/>
                  </a:lnTo>
                  <a:lnTo>
                    <a:pt x="234" y="132"/>
                  </a:lnTo>
                  <a:lnTo>
                    <a:pt x="246" y="126"/>
                  </a:lnTo>
                  <a:lnTo>
                    <a:pt x="246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88" y="102"/>
                  </a:lnTo>
                  <a:lnTo>
                    <a:pt x="300" y="96"/>
                  </a:lnTo>
                  <a:lnTo>
                    <a:pt x="306" y="90"/>
                  </a:lnTo>
                  <a:lnTo>
                    <a:pt x="318" y="90"/>
                  </a:lnTo>
                  <a:lnTo>
                    <a:pt x="324" y="84"/>
                  </a:lnTo>
                  <a:lnTo>
                    <a:pt x="348" y="72"/>
                  </a:lnTo>
                  <a:lnTo>
                    <a:pt x="354" y="72"/>
                  </a:lnTo>
                  <a:lnTo>
                    <a:pt x="384" y="66"/>
                  </a:lnTo>
                  <a:lnTo>
                    <a:pt x="390" y="66"/>
                  </a:lnTo>
                  <a:lnTo>
                    <a:pt x="396" y="66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66"/>
                  </a:lnTo>
                  <a:lnTo>
                    <a:pt x="438" y="66"/>
                  </a:lnTo>
                  <a:lnTo>
                    <a:pt x="468" y="66"/>
                  </a:lnTo>
                  <a:lnTo>
                    <a:pt x="480" y="66"/>
                  </a:lnTo>
                  <a:lnTo>
                    <a:pt x="486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22" y="60"/>
                  </a:lnTo>
                  <a:lnTo>
                    <a:pt x="534" y="54"/>
                  </a:lnTo>
                  <a:lnTo>
                    <a:pt x="564" y="42"/>
                  </a:lnTo>
                  <a:lnTo>
                    <a:pt x="570" y="42"/>
                  </a:lnTo>
                  <a:lnTo>
                    <a:pt x="582" y="36"/>
                  </a:lnTo>
                  <a:lnTo>
                    <a:pt x="588" y="36"/>
                  </a:lnTo>
                  <a:lnTo>
                    <a:pt x="600" y="30"/>
                  </a:lnTo>
                  <a:lnTo>
                    <a:pt x="606" y="30"/>
                  </a:lnTo>
                  <a:lnTo>
                    <a:pt x="618" y="24"/>
                  </a:lnTo>
                  <a:lnTo>
                    <a:pt x="642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72" y="12"/>
                  </a:lnTo>
                  <a:lnTo>
                    <a:pt x="696" y="12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50" y="6"/>
                  </a:lnTo>
                  <a:lnTo>
                    <a:pt x="768" y="6"/>
                  </a:lnTo>
                  <a:lnTo>
                    <a:pt x="774" y="6"/>
                  </a:lnTo>
                  <a:lnTo>
                    <a:pt x="786" y="6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6" y="6"/>
                  </a:lnTo>
                  <a:lnTo>
                    <a:pt x="846" y="6"/>
                  </a:lnTo>
                  <a:lnTo>
                    <a:pt x="852" y="0"/>
                  </a:lnTo>
                  <a:lnTo>
                    <a:pt x="876" y="0"/>
                  </a:lnTo>
                  <a:lnTo>
                    <a:pt x="876" y="6"/>
                  </a:lnTo>
                  <a:lnTo>
                    <a:pt x="888" y="0"/>
                  </a:lnTo>
                  <a:lnTo>
                    <a:pt x="900" y="0"/>
                  </a:lnTo>
                  <a:lnTo>
                    <a:pt x="906" y="0"/>
                  </a:lnTo>
                  <a:lnTo>
                    <a:pt x="912" y="0"/>
                  </a:lnTo>
                  <a:lnTo>
                    <a:pt x="948" y="0"/>
                  </a:lnTo>
                  <a:lnTo>
                    <a:pt x="954" y="0"/>
                  </a:lnTo>
                  <a:lnTo>
                    <a:pt x="972" y="0"/>
                  </a:lnTo>
                  <a:lnTo>
                    <a:pt x="978" y="0"/>
                  </a:lnTo>
                  <a:lnTo>
                    <a:pt x="996" y="0"/>
                  </a:lnTo>
                  <a:lnTo>
                    <a:pt x="1032" y="0"/>
                  </a:lnTo>
                  <a:lnTo>
                    <a:pt x="1044" y="0"/>
                  </a:lnTo>
                  <a:lnTo>
                    <a:pt x="1050" y="0"/>
                  </a:lnTo>
                  <a:lnTo>
                    <a:pt x="1056" y="6"/>
                  </a:lnTo>
                  <a:lnTo>
                    <a:pt x="1056" y="0"/>
                  </a:lnTo>
                  <a:lnTo>
                    <a:pt x="1074" y="0"/>
                  </a:lnTo>
                  <a:lnTo>
                    <a:pt x="1098" y="6"/>
                  </a:lnTo>
                  <a:lnTo>
                    <a:pt x="1116" y="6"/>
                  </a:lnTo>
                  <a:lnTo>
                    <a:pt x="1140" y="12"/>
                  </a:lnTo>
                  <a:lnTo>
                    <a:pt x="1152" y="12"/>
                  </a:lnTo>
                  <a:lnTo>
                    <a:pt x="1158" y="12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6" y="12"/>
                  </a:lnTo>
                  <a:lnTo>
                    <a:pt x="1194" y="18"/>
                  </a:lnTo>
                  <a:lnTo>
                    <a:pt x="1206" y="18"/>
                  </a:lnTo>
                  <a:lnTo>
                    <a:pt x="1242" y="36"/>
                  </a:lnTo>
                  <a:lnTo>
                    <a:pt x="1248" y="36"/>
                  </a:lnTo>
                  <a:lnTo>
                    <a:pt x="1254" y="36"/>
                  </a:lnTo>
                  <a:lnTo>
                    <a:pt x="1260" y="42"/>
                  </a:lnTo>
                  <a:lnTo>
                    <a:pt x="1272" y="48"/>
                  </a:lnTo>
                  <a:lnTo>
                    <a:pt x="1278" y="48"/>
                  </a:lnTo>
                  <a:lnTo>
                    <a:pt x="1284" y="48"/>
                  </a:lnTo>
                  <a:lnTo>
                    <a:pt x="1290" y="54"/>
                  </a:lnTo>
                  <a:lnTo>
                    <a:pt x="1308" y="60"/>
                  </a:lnTo>
                  <a:lnTo>
                    <a:pt x="1326" y="60"/>
                  </a:lnTo>
                  <a:lnTo>
                    <a:pt x="1338" y="66"/>
                  </a:lnTo>
                  <a:lnTo>
                    <a:pt x="1344" y="66"/>
                  </a:lnTo>
                  <a:lnTo>
                    <a:pt x="1350" y="66"/>
                  </a:lnTo>
                  <a:lnTo>
                    <a:pt x="1356" y="66"/>
                  </a:lnTo>
                  <a:lnTo>
                    <a:pt x="1362" y="72"/>
                  </a:lnTo>
                  <a:lnTo>
                    <a:pt x="1368" y="72"/>
                  </a:lnTo>
                  <a:lnTo>
                    <a:pt x="1380" y="72"/>
                  </a:lnTo>
                  <a:lnTo>
                    <a:pt x="1386" y="72"/>
                  </a:lnTo>
                  <a:lnTo>
                    <a:pt x="1422" y="84"/>
                  </a:lnTo>
                  <a:lnTo>
                    <a:pt x="1428" y="84"/>
                  </a:lnTo>
                  <a:lnTo>
                    <a:pt x="1446" y="90"/>
                  </a:lnTo>
                  <a:lnTo>
                    <a:pt x="1458" y="102"/>
                  </a:lnTo>
                  <a:lnTo>
                    <a:pt x="1494" y="126"/>
                  </a:lnTo>
                  <a:lnTo>
                    <a:pt x="1500" y="132"/>
                  </a:lnTo>
                  <a:lnTo>
                    <a:pt x="1512" y="138"/>
                  </a:lnTo>
                  <a:lnTo>
                    <a:pt x="1512" y="144"/>
                  </a:lnTo>
                  <a:lnTo>
                    <a:pt x="1518" y="150"/>
                  </a:lnTo>
                  <a:lnTo>
                    <a:pt x="1530" y="156"/>
                  </a:lnTo>
                  <a:lnTo>
                    <a:pt x="1530" y="162"/>
                  </a:lnTo>
                  <a:lnTo>
                    <a:pt x="1548" y="168"/>
                  </a:lnTo>
                  <a:lnTo>
                    <a:pt x="1566" y="180"/>
                  </a:lnTo>
                  <a:lnTo>
                    <a:pt x="1578" y="186"/>
                  </a:lnTo>
                  <a:lnTo>
                    <a:pt x="1578" y="180"/>
                  </a:lnTo>
                  <a:lnTo>
                    <a:pt x="1584" y="186"/>
                  </a:lnTo>
                  <a:lnTo>
                    <a:pt x="1584" y="174"/>
                  </a:lnTo>
                  <a:lnTo>
                    <a:pt x="1590" y="174"/>
                  </a:lnTo>
                  <a:lnTo>
                    <a:pt x="1590" y="180"/>
                  </a:lnTo>
                  <a:lnTo>
                    <a:pt x="1596" y="180"/>
                  </a:lnTo>
                  <a:lnTo>
                    <a:pt x="1596" y="174"/>
                  </a:lnTo>
                  <a:lnTo>
                    <a:pt x="1602" y="174"/>
                  </a:lnTo>
                  <a:lnTo>
                    <a:pt x="1608" y="174"/>
                  </a:lnTo>
                  <a:lnTo>
                    <a:pt x="1614" y="180"/>
                  </a:lnTo>
                  <a:lnTo>
                    <a:pt x="1620" y="174"/>
                  </a:lnTo>
                  <a:lnTo>
                    <a:pt x="1614" y="168"/>
                  </a:lnTo>
                  <a:lnTo>
                    <a:pt x="1614" y="162"/>
                  </a:lnTo>
                  <a:lnTo>
                    <a:pt x="1620" y="162"/>
                  </a:lnTo>
                  <a:lnTo>
                    <a:pt x="1626" y="162"/>
                  </a:lnTo>
                  <a:lnTo>
                    <a:pt x="1632" y="162"/>
                  </a:lnTo>
                  <a:lnTo>
                    <a:pt x="1638" y="168"/>
                  </a:lnTo>
                  <a:lnTo>
                    <a:pt x="1644" y="168"/>
                  </a:lnTo>
                  <a:lnTo>
                    <a:pt x="1650" y="174"/>
                  </a:lnTo>
                  <a:lnTo>
                    <a:pt x="1656" y="168"/>
                  </a:lnTo>
                  <a:lnTo>
                    <a:pt x="1668" y="168"/>
                  </a:lnTo>
                  <a:lnTo>
                    <a:pt x="1674" y="174"/>
                  </a:lnTo>
                  <a:lnTo>
                    <a:pt x="1674" y="180"/>
                  </a:lnTo>
                  <a:lnTo>
                    <a:pt x="1674" y="186"/>
                  </a:lnTo>
                  <a:lnTo>
                    <a:pt x="1680" y="186"/>
                  </a:lnTo>
                  <a:lnTo>
                    <a:pt x="1680" y="192"/>
                  </a:lnTo>
                  <a:lnTo>
                    <a:pt x="1686" y="192"/>
                  </a:lnTo>
                  <a:lnTo>
                    <a:pt x="1686" y="186"/>
                  </a:lnTo>
                  <a:lnTo>
                    <a:pt x="1680" y="186"/>
                  </a:lnTo>
                  <a:lnTo>
                    <a:pt x="1686" y="180"/>
                  </a:lnTo>
                  <a:lnTo>
                    <a:pt x="1692" y="180"/>
                  </a:lnTo>
                  <a:lnTo>
                    <a:pt x="1698" y="180"/>
                  </a:lnTo>
                  <a:lnTo>
                    <a:pt x="1704" y="180"/>
                  </a:lnTo>
                  <a:lnTo>
                    <a:pt x="1704" y="186"/>
                  </a:lnTo>
                  <a:lnTo>
                    <a:pt x="1710" y="186"/>
                  </a:lnTo>
                  <a:lnTo>
                    <a:pt x="1716" y="186"/>
                  </a:lnTo>
                  <a:lnTo>
                    <a:pt x="1716" y="192"/>
                  </a:lnTo>
                  <a:lnTo>
                    <a:pt x="1716" y="198"/>
                  </a:lnTo>
                  <a:lnTo>
                    <a:pt x="1722" y="192"/>
                  </a:lnTo>
                  <a:lnTo>
                    <a:pt x="1722" y="186"/>
                  </a:lnTo>
                  <a:lnTo>
                    <a:pt x="1728" y="192"/>
                  </a:lnTo>
                  <a:lnTo>
                    <a:pt x="1734" y="192"/>
                  </a:lnTo>
                  <a:lnTo>
                    <a:pt x="1734" y="186"/>
                  </a:lnTo>
                  <a:lnTo>
                    <a:pt x="1740" y="186"/>
                  </a:lnTo>
                  <a:lnTo>
                    <a:pt x="1740" y="192"/>
                  </a:lnTo>
                  <a:lnTo>
                    <a:pt x="1746" y="192"/>
                  </a:lnTo>
                  <a:lnTo>
                    <a:pt x="1758" y="192"/>
                  </a:lnTo>
                  <a:lnTo>
                    <a:pt x="1764" y="192"/>
                  </a:lnTo>
                  <a:lnTo>
                    <a:pt x="1764" y="198"/>
                  </a:lnTo>
                  <a:lnTo>
                    <a:pt x="1758" y="204"/>
                  </a:lnTo>
                  <a:lnTo>
                    <a:pt x="1752" y="210"/>
                  </a:lnTo>
                  <a:lnTo>
                    <a:pt x="1746" y="216"/>
                  </a:lnTo>
                  <a:lnTo>
                    <a:pt x="1746" y="222"/>
                  </a:lnTo>
                  <a:lnTo>
                    <a:pt x="1734" y="228"/>
                  </a:lnTo>
                  <a:lnTo>
                    <a:pt x="1734" y="234"/>
                  </a:lnTo>
                  <a:lnTo>
                    <a:pt x="1734" y="258"/>
                  </a:lnTo>
                  <a:lnTo>
                    <a:pt x="1740" y="330"/>
                  </a:lnTo>
                  <a:lnTo>
                    <a:pt x="1746" y="372"/>
                  </a:lnTo>
                  <a:lnTo>
                    <a:pt x="1788" y="426"/>
                  </a:lnTo>
                  <a:lnTo>
                    <a:pt x="1806" y="438"/>
                  </a:lnTo>
                  <a:lnTo>
                    <a:pt x="1794" y="480"/>
                  </a:lnTo>
                  <a:lnTo>
                    <a:pt x="1770" y="516"/>
                  </a:lnTo>
                  <a:lnTo>
                    <a:pt x="1746" y="546"/>
                  </a:lnTo>
                  <a:lnTo>
                    <a:pt x="1716" y="570"/>
                  </a:lnTo>
                  <a:lnTo>
                    <a:pt x="1680" y="594"/>
                  </a:lnTo>
                  <a:lnTo>
                    <a:pt x="1668" y="630"/>
                  </a:lnTo>
                  <a:lnTo>
                    <a:pt x="1680" y="684"/>
                  </a:lnTo>
                  <a:lnTo>
                    <a:pt x="1686" y="756"/>
                  </a:lnTo>
                  <a:lnTo>
                    <a:pt x="1662" y="870"/>
                  </a:lnTo>
                  <a:lnTo>
                    <a:pt x="1656" y="888"/>
                  </a:lnTo>
                  <a:lnTo>
                    <a:pt x="1650" y="972"/>
                  </a:lnTo>
                  <a:lnTo>
                    <a:pt x="1656" y="978"/>
                  </a:lnTo>
                  <a:lnTo>
                    <a:pt x="1650" y="984"/>
                  </a:lnTo>
                  <a:lnTo>
                    <a:pt x="1650" y="990"/>
                  </a:lnTo>
                  <a:lnTo>
                    <a:pt x="1650" y="1002"/>
                  </a:lnTo>
                  <a:lnTo>
                    <a:pt x="1656" y="1008"/>
                  </a:lnTo>
                  <a:lnTo>
                    <a:pt x="1656" y="1014"/>
                  </a:lnTo>
                  <a:lnTo>
                    <a:pt x="1662" y="1026"/>
                  </a:lnTo>
                  <a:lnTo>
                    <a:pt x="1650" y="1032"/>
                  </a:lnTo>
                  <a:lnTo>
                    <a:pt x="1638" y="1044"/>
                  </a:lnTo>
                  <a:lnTo>
                    <a:pt x="1626" y="1080"/>
                  </a:lnTo>
                  <a:lnTo>
                    <a:pt x="1614" y="1116"/>
                  </a:lnTo>
                  <a:lnTo>
                    <a:pt x="1614" y="1128"/>
                  </a:lnTo>
                  <a:lnTo>
                    <a:pt x="1626" y="1134"/>
                  </a:lnTo>
                  <a:lnTo>
                    <a:pt x="1644" y="1134"/>
                  </a:lnTo>
                  <a:lnTo>
                    <a:pt x="1662" y="1134"/>
                  </a:lnTo>
                  <a:lnTo>
                    <a:pt x="1680" y="1140"/>
                  </a:lnTo>
                  <a:lnTo>
                    <a:pt x="1698" y="1170"/>
                  </a:lnTo>
                  <a:lnTo>
                    <a:pt x="1704" y="1194"/>
                  </a:lnTo>
                  <a:lnTo>
                    <a:pt x="1692" y="1206"/>
                  </a:lnTo>
                  <a:lnTo>
                    <a:pt x="1662" y="1242"/>
                  </a:lnTo>
                  <a:lnTo>
                    <a:pt x="1632" y="1266"/>
                  </a:lnTo>
                  <a:lnTo>
                    <a:pt x="1620" y="1314"/>
                  </a:lnTo>
                  <a:lnTo>
                    <a:pt x="1584" y="1356"/>
                  </a:lnTo>
                  <a:lnTo>
                    <a:pt x="1578" y="1356"/>
                  </a:lnTo>
                  <a:lnTo>
                    <a:pt x="1578" y="1362"/>
                  </a:lnTo>
                  <a:lnTo>
                    <a:pt x="1572" y="1410"/>
                  </a:lnTo>
                  <a:lnTo>
                    <a:pt x="1584" y="1452"/>
                  </a:lnTo>
                  <a:lnTo>
                    <a:pt x="1608" y="1476"/>
                  </a:lnTo>
                  <a:lnTo>
                    <a:pt x="1596" y="1476"/>
                  </a:lnTo>
                  <a:lnTo>
                    <a:pt x="1584" y="1482"/>
                  </a:lnTo>
                  <a:lnTo>
                    <a:pt x="1560" y="1482"/>
                  </a:lnTo>
                  <a:lnTo>
                    <a:pt x="1536" y="1482"/>
                  </a:lnTo>
                  <a:lnTo>
                    <a:pt x="1524" y="1482"/>
                  </a:lnTo>
                  <a:lnTo>
                    <a:pt x="1506" y="1500"/>
                  </a:lnTo>
                  <a:lnTo>
                    <a:pt x="1482" y="1530"/>
                  </a:lnTo>
                  <a:lnTo>
                    <a:pt x="1452" y="1542"/>
                  </a:lnTo>
                  <a:lnTo>
                    <a:pt x="1446" y="1542"/>
                  </a:lnTo>
                  <a:lnTo>
                    <a:pt x="1440" y="1542"/>
                  </a:lnTo>
                  <a:lnTo>
                    <a:pt x="1440" y="1548"/>
                  </a:lnTo>
                  <a:lnTo>
                    <a:pt x="1434" y="1548"/>
                  </a:lnTo>
                  <a:lnTo>
                    <a:pt x="1428" y="1548"/>
                  </a:lnTo>
                  <a:lnTo>
                    <a:pt x="1428" y="1554"/>
                  </a:lnTo>
                  <a:lnTo>
                    <a:pt x="1422" y="1560"/>
                  </a:lnTo>
                  <a:lnTo>
                    <a:pt x="1416" y="1560"/>
                  </a:lnTo>
                  <a:lnTo>
                    <a:pt x="1410" y="1566"/>
                  </a:lnTo>
                  <a:lnTo>
                    <a:pt x="1410" y="1560"/>
                  </a:lnTo>
                  <a:lnTo>
                    <a:pt x="1404" y="1560"/>
                  </a:lnTo>
                  <a:lnTo>
                    <a:pt x="1392" y="1560"/>
                  </a:lnTo>
                  <a:lnTo>
                    <a:pt x="1386" y="1560"/>
                  </a:lnTo>
                  <a:lnTo>
                    <a:pt x="1380" y="1566"/>
                  </a:lnTo>
                  <a:lnTo>
                    <a:pt x="1374" y="1560"/>
                  </a:lnTo>
                  <a:lnTo>
                    <a:pt x="1368" y="1566"/>
                  </a:lnTo>
                  <a:lnTo>
                    <a:pt x="1362" y="1566"/>
                  </a:lnTo>
                  <a:lnTo>
                    <a:pt x="1362" y="1572"/>
                  </a:lnTo>
                  <a:lnTo>
                    <a:pt x="1356" y="1572"/>
                  </a:lnTo>
                  <a:lnTo>
                    <a:pt x="1356" y="1578"/>
                  </a:lnTo>
                  <a:lnTo>
                    <a:pt x="1350" y="1578"/>
                  </a:lnTo>
                  <a:lnTo>
                    <a:pt x="1350" y="1572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32" y="1584"/>
                  </a:lnTo>
                  <a:lnTo>
                    <a:pt x="1326" y="1590"/>
                  </a:lnTo>
                  <a:lnTo>
                    <a:pt x="1320" y="1584"/>
                  </a:lnTo>
                  <a:lnTo>
                    <a:pt x="1314" y="1590"/>
                  </a:lnTo>
                  <a:lnTo>
                    <a:pt x="1308" y="1596"/>
                  </a:lnTo>
                  <a:lnTo>
                    <a:pt x="1302" y="1596"/>
                  </a:lnTo>
                  <a:lnTo>
                    <a:pt x="1296" y="1596"/>
                  </a:lnTo>
                  <a:lnTo>
                    <a:pt x="1290" y="1596"/>
                  </a:lnTo>
                  <a:lnTo>
                    <a:pt x="1284" y="1596"/>
                  </a:lnTo>
                  <a:lnTo>
                    <a:pt x="1278" y="1602"/>
                  </a:lnTo>
                  <a:lnTo>
                    <a:pt x="1266" y="1602"/>
                  </a:lnTo>
                  <a:lnTo>
                    <a:pt x="1272" y="1608"/>
                  </a:lnTo>
                  <a:lnTo>
                    <a:pt x="1278" y="1608"/>
                  </a:lnTo>
                  <a:lnTo>
                    <a:pt x="1284" y="1608"/>
                  </a:lnTo>
                  <a:lnTo>
                    <a:pt x="1290" y="1614"/>
                  </a:lnTo>
                  <a:lnTo>
                    <a:pt x="1296" y="1620"/>
                  </a:lnTo>
                  <a:lnTo>
                    <a:pt x="1302" y="1626"/>
                  </a:lnTo>
                  <a:lnTo>
                    <a:pt x="1308" y="1632"/>
                  </a:lnTo>
                  <a:lnTo>
                    <a:pt x="1314" y="1638"/>
                  </a:lnTo>
                  <a:lnTo>
                    <a:pt x="1314" y="1644"/>
                  </a:lnTo>
                  <a:lnTo>
                    <a:pt x="1320" y="1644"/>
                  </a:lnTo>
                  <a:lnTo>
                    <a:pt x="1320" y="1650"/>
                  </a:lnTo>
                  <a:lnTo>
                    <a:pt x="1326" y="1656"/>
                  </a:lnTo>
                  <a:lnTo>
                    <a:pt x="1332" y="1668"/>
                  </a:lnTo>
                  <a:lnTo>
                    <a:pt x="1338" y="1680"/>
                  </a:lnTo>
                  <a:lnTo>
                    <a:pt x="1338" y="1698"/>
                  </a:lnTo>
                  <a:lnTo>
                    <a:pt x="1350" y="1710"/>
                  </a:lnTo>
                  <a:lnTo>
                    <a:pt x="1350" y="1716"/>
                  </a:lnTo>
                  <a:lnTo>
                    <a:pt x="1350" y="1722"/>
                  </a:lnTo>
                  <a:lnTo>
                    <a:pt x="1350" y="1728"/>
                  </a:lnTo>
                  <a:lnTo>
                    <a:pt x="1356" y="1728"/>
                  </a:lnTo>
                  <a:lnTo>
                    <a:pt x="1356" y="1734"/>
                  </a:lnTo>
                  <a:lnTo>
                    <a:pt x="1350" y="1734"/>
                  </a:lnTo>
                  <a:lnTo>
                    <a:pt x="1344" y="1740"/>
                  </a:lnTo>
                  <a:lnTo>
                    <a:pt x="1338" y="1740"/>
                  </a:lnTo>
                  <a:lnTo>
                    <a:pt x="1332" y="1746"/>
                  </a:lnTo>
                  <a:lnTo>
                    <a:pt x="1326" y="1746"/>
                  </a:lnTo>
                  <a:lnTo>
                    <a:pt x="1326" y="1752"/>
                  </a:lnTo>
                  <a:lnTo>
                    <a:pt x="1320" y="1752"/>
                  </a:lnTo>
                  <a:lnTo>
                    <a:pt x="1320" y="1758"/>
                  </a:lnTo>
                  <a:lnTo>
                    <a:pt x="1314" y="1758"/>
                  </a:lnTo>
                  <a:lnTo>
                    <a:pt x="1308" y="1758"/>
                  </a:lnTo>
                  <a:lnTo>
                    <a:pt x="1302" y="1758"/>
                  </a:lnTo>
                  <a:lnTo>
                    <a:pt x="1296" y="1758"/>
                  </a:lnTo>
                  <a:lnTo>
                    <a:pt x="1290" y="1764"/>
                  </a:lnTo>
                  <a:lnTo>
                    <a:pt x="1284" y="1770"/>
                  </a:lnTo>
                  <a:lnTo>
                    <a:pt x="1278" y="1770"/>
                  </a:lnTo>
                  <a:lnTo>
                    <a:pt x="1272" y="1770"/>
                  </a:lnTo>
                  <a:lnTo>
                    <a:pt x="1266" y="1770"/>
                  </a:lnTo>
                  <a:lnTo>
                    <a:pt x="1266" y="1776"/>
                  </a:lnTo>
                  <a:lnTo>
                    <a:pt x="1260" y="1776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27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9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126" name="Freeform 40">
              <a:extLst>
                <a:ext uri="{FF2B5EF4-FFF2-40B4-BE49-F238E27FC236}">
                  <a16:creationId xmlns:a16="http://schemas.microsoft.com/office/drawing/2014/main" id="{5AA087CF-5B4B-485A-A650-E68B8B91210C}"/>
                </a:ext>
              </a:extLst>
            </p:cNvPr>
            <p:cNvSpPr>
              <a:spLocks/>
            </p:cNvSpPr>
            <p:nvPr/>
          </p:nvSpPr>
          <p:spPr bwMode="gray">
            <a:xfrm>
              <a:off x="4773613" y="1103313"/>
              <a:ext cx="1447800" cy="1231900"/>
            </a:xfrm>
            <a:custGeom>
              <a:avLst/>
              <a:gdLst>
                <a:gd name="T0" fmla="*/ 2147483647 w 1554"/>
                <a:gd name="T1" fmla="*/ 2147483647 h 1320"/>
                <a:gd name="T2" fmla="*/ 2147483647 w 1554"/>
                <a:gd name="T3" fmla="*/ 2147483647 h 1320"/>
                <a:gd name="T4" fmla="*/ 2147483647 w 1554"/>
                <a:gd name="T5" fmla="*/ 2147483647 h 1320"/>
                <a:gd name="T6" fmla="*/ 2147483647 w 1554"/>
                <a:gd name="T7" fmla="*/ 2147483647 h 1320"/>
                <a:gd name="T8" fmla="*/ 2147483647 w 1554"/>
                <a:gd name="T9" fmla="*/ 2147483647 h 1320"/>
                <a:gd name="T10" fmla="*/ 2147483647 w 1554"/>
                <a:gd name="T11" fmla="*/ 2147483647 h 1320"/>
                <a:gd name="T12" fmla="*/ 2147483647 w 1554"/>
                <a:gd name="T13" fmla="*/ 2147483647 h 1320"/>
                <a:gd name="T14" fmla="*/ 2147483647 w 1554"/>
                <a:gd name="T15" fmla="*/ 2147483647 h 1320"/>
                <a:gd name="T16" fmla="*/ 2147483647 w 1554"/>
                <a:gd name="T17" fmla="*/ 2147483647 h 1320"/>
                <a:gd name="T18" fmla="*/ 2147483647 w 1554"/>
                <a:gd name="T19" fmla="*/ 2147483647 h 1320"/>
                <a:gd name="T20" fmla="*/ 2147483647 w 1554"/>
                <a:gd name="T21" fmla="*/ 2147483647 h 1320"/>
                <a:gd name="T22" fmla="*/ 2147483647 w 1554"/>
                <a:gd name="T23" fmla="*/ 2147483647 h 1320"/>
                <a:gd name="T24" fmla="*/ 2147483647 w 1554"/>
                <a:gd name="T25" fmla="*/ 2147483647 h 1320"/>
                <a:gd name="T26" fmla="*/ 2147483647 w 1554"/>
                <a:gd name="T27" fmla="*/ 2147483647 h 1320"/>
                <a:gd name="T28" fmla="*/ 2147483647 w 1554"/>
                <a:gd name="T29" fmla="*/ 2147483647 h 1320"/>
                <a:gd name="T30" fmla="*/ 2147483647 w 1554"/>
                <a:gd name="T31" fmla="*/ 2147483647 h 1320"/>
                <a:gd name="T32" fmla="*/ 2147483647 w 1554"/>
                <a:gd name="T33" fmla="*/ 2147483647 h 1320"/>
                <a:gd name="T34" fmla="*/ 2147483647 w 1554"/>
                <a:gd name="T35" fmla="*/ 2147483647 h 1320"/>
                <a:gd name="T36" fmla="*/ 2147483647 w 1554"/>
                <a:gd name="T37" fmla="*/ 2147483647 h 1320"/>
                <a:gd name="T38" fmla="*/ 2147483647 w 1554"/>
                <a:gd name="T39" fmla="*/ 2147483647 h 1320"/>
                <a:gd name="T40" fmla="*/ 2147483647 w 1554"/>
                <a:gd name="T41" fmla="*/ 2147483647 h 1320"/>
                <a:gd name="T42" fmla="*/ 2147483647 w 1554"/>
                <a:gd name="T43" fmla="*/ 2147483647 h 1320"/>
                <a:gd name="T44" fmla="*/ 2147483647 w 1554"/>
                <a:gd name="T45" fmla="*/ 2147483647 h 1320"/>
                <a:gd name="T46" fmla="*/ 2147483647 w 1554"/>
                <a:gd name="T47" fmla="*/ 2147483647 h 1320"/>
                <a:gd name="T48" fmla="*/ 2147483647 w 1554"/>
                <a:gd name="T49" fmla="*/ 2147483647 h 1320"/>
                <a:gd name="T50" fmla="*/ 2147483647 w 1554"/>
                <a:gd name="T51" fmla="*/ 2147483647 h 1320"/>
                <a:gd name="T52" fmla="*/ 2147483647 w 1554"/>
                <a:gd name="T53" fmla="*/ 2147483647 h 1320"/>
                <a:gd name="T54" fmla="*/ 2147483647 w 1554"/>
                <a:gd name="T55" fmla="*/ 2147483647 h 1320"/>
                <a:gd name="T56" fmla="*/ 2147483647 w 1554"/>
                <a:gd name="T57" fmla="*/ 2147483647 h 1320"/>
                <a:gd name="T58" fmla="*/ 2147483647 w 1554"/>
                <a:gd name="T59" fmla="*/ 2147483647 h 1320"/>
                <a:gd name="T60" fmla="*/ 2147483647 w 1554"/>
                <a:gd name="T61" fmla="*/ 2147483647 h 1320"/>
                <a:gd name="T62" fmla="*/ 2147483647 w 1554"/>
                <a:gd name="T63" fmla="*/ 2147483647 h 1320"/>
                <a:gd name="T64" fmla="*/ 2147483647 w 1554"/>
                <a:gd name="T65" fmla="*/ 2147483647 h 1320"/>
                <a:gd name="T66" fmla="*/ 2147483647 w 1554"/>
                <a:gd name="T67" fmla="*/ 2147483647 h 1320"/>
                <a:gd name="T68" fmla="*/ 2147483647 w 1554"/>
                <a:gd name="T69" fmla="*/ 2147483647 h 1320"/>
                <a:gd name="T70" fmla="*/ 2147483647 w 1554"/>
                <a:gd name="T71" fmla="*/ 2147483647 h 1320"/>
                <a:gd name="T72" fmla="*/ 2147483647 w 1554"/>
                <a:gd name="T73" fmla="*/ 2147483647 h 1320"/>
                <a:gd name="T74" fmla="*/ 2147483647 w 1554"/>
                <a:gd name="T75" fmla="*/ 2147483647 h 1320"/>
                <a:gd name="T76" fmla="*/ 2147483647 w 1554"/>
                <a:gd name="T77" fmla="*/ 2147483647 h 1320"/>
                <a:gd name="T78" fmla="*/ 2147483647 w 1554"/>
                <a:gd name="T79" fmla="*/ 2147483647 h 1320"/>
                <a:gd name="T80" fmla="*/ 2147483647 w 1554"/>
                <a:gd name="T81" fmla="*/ 2147483647 h 1320"/>
                <a:gd name="T82" fmla="*/ 2147483647 w 1554"/>
                <a:gd name="T83" fmla="*/ 2147483647 h 1320"/>
                <a:gd name="T84" fmla="*/ 2147483647 w 1554"/>
                <a:gd name="T85" fmla="*/ 2147483647 h 1320"/>
                <a:gd name="T86" fmla="*/ 2147483647 w 1554"/>
                <a:gd name="T87" fmla="*/ 2147483647 h 1320"/>
                <a:gd name="T88" fmla="*/ 2147483647 w 1554"/>
                <a:gd name="T89" fmla="*/ 2147483647 h 1320"/>
                <a:gd name="T90" fmla="*/ 2147483647 w 1554"/>
                <a:gd name="T91" fmla="*/ 2147483647 h 1320"/>
                <a:gd name="T92" fmla="*/ 2147483647 w 1554"/>
                <a:gd name="T93" fmla="*/ 2147483647 h 1320"/>
                <a:gd name="T94" fmla="*/ 2147483647 w 1554"/>
                <a:gd name="T95" fmla="*/ 2147483647 h 1320"/>
                <a:gd name="T96" fmla="*/ 2147483647 w 1554"/>
                <a:gd name="T97" fmla="*/ 2147483647 h 1320"/>
                <a:gd name="T98" fmla="*/ 2147483647 w 1554"/>
                <a:gd name="T99" fmla="*/ 2147483647 h 1320"/>
                <a:gd name="T100" fmla="*/ 2147483647 w 1554"/>
                <a:gd name="T101" fmla="*/ 2147483647 h 1320"/>
                <a:gd name="T102" fmla="*/ 2147483647 w 1554"/>
                <a:gd name="T103" fmla="*/ 2147483647 h 1320"/>
                <a:gd name="T104" fmla="*/ 2147483647 w 1554"/>
                <a:gd name="T105" fmla="*/ 2147483647 h 1320"/>
                <a:gd name="T106" fmla="*/ 2147483647 w 1554"/>
                <a:gd name="T107" fmla="*/ 2147483647 h 1320"/>
                <a:gd name="T108" fmla="*/ 2147483647 w 1554"/>
                <a:gd name="T109" fmla="*/ 2147483647 h 1320"/>
                <a:gd name="T110" fmla="*/ 2147483647 w 1554"/>
                <a:gd name="T111" fmla="*/ 2147483647 h 1320"/>
                <a:gd name="T112" fmla="*/ 2147483647 w 1554"/>
                <a:gd name="T113" fmla="*/ 2147483647 h 1320"/>
                <a:gd name="T114" fmla="*/ 2147483647 w 1554"/>
                <a:gd name="T115" fmla="*/ 2147483647 h 1320"/>
                <a:gd name="T116" fmla="*/ 2147483647 w 1554"/>
                <a:gd name="T117" fmla="*/ 2147483647 h 1320"/>
                <a:gd name="T118" fmla="*/ 2147483647 w 1554"/>
                <a:gd name="T119" fmla="*/ 2147483647 h 1320"/>
                <a:gd name="T120" fmla="*/ 2147483647 w 1554"/>
                <a:gd name="T121" fmla="*/ 2147483647 h 13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54"/>
                <a:gd name="T184" fmla="*/ 0 h 1320"/>
                <a:gd name="T185" fmla="*/ 1554 w 1554"/>
                <a:gd name="T186" fmla="*/ 1320 h 132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54" h="1320">
                  <a:moveTo>
                    <a:pt x="684" y="1068"/>
                  </a:moveTo>
                  <a:lnTo>
                    <a:pt x="684" y="1062"/>
                  </a:lnTo>
                  <a:lnTo>
                    <a:pt x="690" y="1056"/>
                  </a:lnTo>
                  <a:lnTo>
                    <a:pt x="690" y="1050"/>
                  </a:lnTo>
                  <a:lnTo>
                    <a:pt x="690" y="1044"/>
                  </a:lnTo>
                  <a:lnTo>
                    <a:pt x="690" y="1038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14"/>
                  </a:lnTo>
                  <a:lnTo>
                    <a:pt x="690" y="1008"/>
                  </a:lnTo>
                  <a:lnTo>
                    <a:pt x="696" y="996"/>
                  </a:lnTo>
                  <a:lnTo>
                    <a:pt x="714" y="996"/>
                  </a:lnTo>
                  <a:lnTo>
                    <a:pt x="714" y="990"/>
                  </a:lnTo>
                  <a:lnTo>
                    <a:pt x="732" y="984"/>
                  </a:lnTo>
                  <a:lnTo>
                    <a:pt x="744" y="978"/>
                  </a:lnTo>
                  <a:lnTo>
                    <a:pt x="762" y="966"/>
                  </a:lnTo>
                  <a:lnTo>
                    <a:pt x="762" y="960"/>
                  </a:lnTo>
                  <a:lnTo>
                    <a:pt x="768" y="954"/>
                  </a:lnTo>
                  <a:lnTo>
                    <a:pt x="774" y="948"/>
                  </a:lnTo>
                  <a:lnTo>
                    <a:pt x="774" y="942"/>
                  </a:lnTo>
                  <a:lnTo>
                    <a:pt x="774" y="924"/>
                  </a:lnTo>
                  <a:lnTo>
                    <a:pt x="768" y="918"/>
                  </a:lnTo>
                  <a:lnTo>
                    <a:pt x="756" y="918"/>
                  </a:lnTo>
                  <a:lnTo>
                    <a:pt x="744" y="918"/>
                  </a:lnTo>
                  <a:lnTo>
                    <a:pt x="732" y="924"/>
                  </a:lnTo>
                  <a:lnTo>
                    <a:pt x="726" y="912"/>
                  </a:lnTo>
                  <a:lnTo>
                    <a:pt x="720" y="912"/>
                  </a:lnTo>
                  <a:lnTo>
                    <a:pt x="720" y="900"/>
                  </a:lnTo>
                  <a:lnTo>
                    <a:pt x="720" y="870"/>
                  </a:lnTo>
                  <a:lnTo>
                    <a:pt x="696" y="876"/>
                  </a:lnTo>
                  <a:lnTo>
                    <a:pt x="690" y="852"/>
                  </a:lnTo>
                  <a:lnTo>
                    <a:pt x="702" y="852"/>
                  </a:lnTo>
                  <a:lnTo>
                    <a:pt x="702" y="840"/>
                  </a:lnTo>
                  <a:lnTo>
                    <a:pt x="708" y="834"/>
                  </a:lnTo>
                  <a:lnTo>
                    <a:pt x="702" y="822"/>
                  </a:lnTo>
                  <a:lnTo>
                    <a:pt x="660" y="822"/>
                  </a:lnTo>
                  <a:lnTo>
                    <a:pt x="654" y="822"/>
                  </a:lnTo>
                  <a:lnTo>
                    <a:pt x="642" y="822"/>
                  </a:lnTo>
                  <a:lnTo>
                    <a:pt x="642" y="810"/>
                  </a:lnTo>
                  <a:lnTo>
                    <a:pt x="642" y="798"/>
                  </a:lnTo>
                  <a:lnTo>
                    <a:pt x="642" y="792"/>
                  </a:lnTo>
                  <a:lnTo>
                    <a:pt x="648" y="780"/>
                  </a:lnTo>
                  <a:lnTo>
                    <a:pt x="654" y="774"/>
                  </a:lnTo>
                  <a:lnTo>
                    <a:pt x="660" y="774"/>
                  </a:lnTo>
                  <a:lnTo>
                    <a:pt x="672" y="762"/>
                  </a:lnTo>
                  <a:lnTo>
                    <a:pt x="672" y="756"/>
                  </a:lnTo>
                  <a:lnTo>
                    <a:pt x="678" y="750"/>
                  </a:lnTo>
                  <a:lnTo>
                    <a:pt x="684" y="750"/>
                  </a:lnTo>
                  <a:lnTo>
                    <a:pt x="690" y="744"/>
                  </a:lnTo>
                  <a:lnTo>
                    <a:pt x="696" y="732"/>
                  </a:lnTo>
                  <a:lnTo>
                    <a:pt x="696" y="726"/>
                  </a:lnTo>
                  <a:lnTo>
                    <a:pt x="702" y="714"/>
                  </a:lnTo>
                  <a:lnTo>
                    <a:pt x="696" y="708"/>
                  </a:lnTo>
                  <a:lnTo>
                    <a:pt x="690" y="690"/>
                  </a:lnTo>
                  <a:lnTo>
                    <a:pt x="696" y="678"/>
                  </a:lnTo>
                  <a:lnTo>
                    <a:pt x="708" y="672"/>
                  </a:lnTo>
                  <a:lnTo>
                    <a:pt x="708" y="660"/>
                  </a:lnTo>
                  <a:lnTo>
                    <a:pt x="702" y="660"/>
                  </a:lnTo>
                  <a:lnTo>
                    <a:pt x="696" y="660"/>
                  </a:lnTo>
                  <a:lnTo>
                    <a:pt x="690" y="654"/>
                  </a:lnTo>
                  <a:lnTo>
                    <a:pt x="684" y="654"/>
                  </a:lnTo>
                  <a:lnTo>
                    <a:pt x="690" y="606"/>
                  </a:lnTo>
                  <a:lnTo>
                    <a:pt x="660" y="606"/>
                  </a:lnTo>
                  <a:lnTo>
                    <a:pt x="660" y="612"/>
                  </a:lnTo>
                  <a:lnTo>
                    <a:pt x="648" y="612"/>
                  </a:lnTo>
                  <a:lnTo>
                    <a:pt x="642" y="636"/>
                  </a:lnTo>
                  <a:lnTo>
                    <a:pt x="636" y="636"/>
                  </a:lnTo>
                  <a:lnTo>
                    <a:pt x="630" y="648"/>
                  </a:lnTo>
                  <a:lnTo>
                    <a:pt x="612" y="648"/>
                  </a:lnTo>
                  <a:lnTo>
                    <a:pt x="606" y="636"/>
                  </a:lnTo>
                  <a:lnTo>
                    <a:pt x="600" y="630"/>
                  </a:lnTo>
                  <a:lnTo>
                    <a:pt x="588" y="606"/>
                  </a:lnTo>
                  <a:lnTo>
                    <a:pt x="552" y="606"/>
                  </a:lnTo>
                  <a:lnTo>
                    <a:pt x="552" y="612"/>
                  </a:lnTo>
                  <a:lnTo>
                    <a:pt x="540" y="612"/>
                  </a:lnTo>
                  <a:lnTo>
                    <a:pt x="540" y="606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16" y="612"/>
                  </a:lnTo>
                  <a:lnTo>
                    <a:pt x="516" y="582"/>
                  </a:lnTo>
                  <a:lnTo>
                    <a:pt x="522" y="576"/>
                  </a:lnTo>
                  <a:lnTo>
                    <a:pt x="528" y="576"/>
                  </a:lnTo>
                  <a:lnTo>
                    <a:pt x="528" y="552"/>
                  </a:lnTo>
                  <a:lnTo>
                    <a:pt x="522" y="540"/>
                  </a:lnTo>
                  <a:lnTo>
                    <a:pt x="510" y="528"/>
                  </a:lnTo>
                  <a:lnTo>
                    <a:pt x="486" y="510"/>
                  </a:lnTo>
                  <a:lnTo>
                    <a:pt x="480" y="498"/>
                  </a:lnTo>
                  <a:lnTo>
                    <a:pt x="480" y="474"/>
                  </a:lnTo>
                  <a:lnTo>
                    <a:pt x="492" y="468"/>
                  </a:lnTo>
                  <a:lnTo>
                    <a:pt x="486" y="450"/>
                  </a:lnTo>
                  <a:lnTo>
                    <a:pt x="474" y="456"/>
                  </a:lnTo>
                  <a:lnTo>
                    <a:pt x="468" y="456"/>
                  </a:lnTo>
                  <a:lnTo>
                    <a:pt x="462" y="456"/>
                  </a:lnTo>
                  <a:lnTo>
                    <a:pt x="456" y="468"/>
                  </a:lnTo>
                  <a:lnTo>
                    <a:pt x="456" y="474"/>
                  </a:lnTo>
                  <a:lnTo>
                    <a:pt x="450" y="480"/>
                  </a:lnTo>
                  <a:lnTo>
                    <a:pt x="444" y="450"/>
                  </a:lnTo>
                  <a:lnTo>
                    <a:pt x="438" y="450"/>
                  </a:lnTo>
                  <a:lnTo>
                    <a:pt x="432" y="450"/>
                  </a:lnTo>
                  <a:lnTo>
                    <a:pt x="420" y="450"/>
                  </a:lnTo>
                  <a:lnTo>
                    <a:pt x="420" y="456"/>
                  </a:lnTo>
                  <a:lnTo>
                    <a:pt x="414" y="456"/>
                  </a:lnTo>
                  <a:lnTo>
                    <a:pt x="408" y="468"/>
                  </a:lnTo>
                  <a:lnTo>
                    <a:pt x="402" y="468"/>
                  </a:lnTo>
                  <a:lnTo>
                    <a:pt x="396" y="474"/>
                  </a:lnTo>
                  <a:lnTo>
                    <a:pt x="390" y="492"/>
                  </a:lnTo>
                  <a:lnTo>
                    <a:pt x="384" y="504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54" y="510"/>
                  </a:lnTo>
                  <a:lnTo>
                    <a:pt x="360" y="480"/>
                  </a:lnTo>
                  <a:lnTo>
                    <a:pt x="360" y="474"/>
                  </a:lnTo>
                  <a:lnTo>
                    <a:pt x="378" y="456"/>
                  </a:lnTo>
                  <a:lnTo>
                    <a:pt x="384" y="450"/>
                  </a:lnTo>
                  <a:lnTo>
                    <a:pt x="396" y="444"/>
                  </a:lnTo>
                  <a:lnTo>
                    <a:pt x="402" y="438"/>
                  </a:lnTo>
                  <a:lnTo>
                    <a:pt x="408" y="438"/>
                  </a:lnTo>
                  <a:lnTo>
                    <a:pt x="408" y="426"/>
                  </a:lnTo>
                  <a:lnTo>
                    <a:pt x="414" y="420"/>
                  </a:lnTo>
                  <a:lnTo>
                    <a:pt x="426" y="420"/>
                  </a:lnTo>
                  <a:lnTo>
                    <a:pt x="426" y="408"/>
                  </a:lnTo>
                  <a:lnTo>
                    <a:pt x="420" y="390"/>
                  </a:lnTo>
                  <a:lnTo>
                    <a:pt x="408" y="384"/>
                  </a:lnTo>
                  <a:lnTo>
                    <a:pt x="378" y="378"/>
                  </a:lnTo>
                  <a:lnTo>
                    <a:pt x="354" y="366"/>
                  </a:lnTo>
                  <a:lnTo>
                    <a:pt x="342" y="360"/>
                  </a:lnTo>
                  <a:lnTo>
                    <a:pt x="342" y="348"/>
                  </a:lnTo>
                  <a:lnTo>
                    <a:pt x="336" y="330"/>
                  </a:lnTo>
                  <a:lnTo>
                    <a:pt x="348" y="306"/>
                  </a:lnTo>
                  <a:lnTo>
                    <a:pt x="360" y="294"/>
                  </a:lnTo>
                  <a:lnTo>
                    <a:pt x="360" y="282"/>
                  </a:lnTo>
                  <a:lnTo>
                    <a:pt x="342" y="270"/>
                  </a:lnTo>
                  <a:lnTo>
                    <a:pt x="342" y="264"/>
                  </a:lnTo>
                  <a:lnTo>
                    <a:pt x="330" y="264"/>
                  </a:lnTo>
                  <a:lnTo>
                    <a:pt x="312" y="270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88" y="270"/>
                  </a:lnTo>
                  <a:lnTo>
                    <a:pt x="282" y="270"/>
                  </a:lnTo>
                  <a:lnTo>
                    <a:pt x="276" y="264"/>
                  </a:lnTo>
                  <a:lnTo>
                    <a:pt x="270" y="264"/>
                  </a:lnTo>
                  <a:lnTo>
                    <a:pt x="252" y="270"/>
                  </a:lnTo>
                  <a:lnTo>
                    <a:pt x="246" y="270"/>
                  </a:lnTo>
                  <a:lnTo>
                    <a:pt x="240" y="270"/>
                  </a:lnTo>
                  <a:lnTo>
                    <a:pt x="228" y="270"/>
                  </a:lnTo>
                  <a:lnTo>
                    <a:pt x="216" y="276"/>
                  </a:lnTo>
                  <a:lnTo>
                    <a:pt x="210" y="270"/>
                  </a:lnTo>
                  <a:lnTo>
                    <a:pt x="204" y="270"/>
                  </a:lnTo>
                  <a:lnTo>
                    <a:pt x="198" y="276"/>
                  </a:lnTo>
                  <a:lnTo>
                    <a:pt x="192" y="276"/>
                  </a:lnTo>
                  <a:lnTo>
                    <a:pt x="186" y="282"/>
                  </a:lnTo>
                  <a:lnTo>
                    <a:pt x="180" y="288"/>
                  </a:lnTo>
                  <a:lnTo>
                    <a:pt x="174" y="300"/>
                  </a:lnTo>
                  <a:lnTo>
                    <a:pt x="168" y="306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8" y="330"/>
                  </a:lnTo>
                  <a:lnTo>
                    <a:pt x="162" y="336"/>
                  </a:lnTo>
                  <a:lnTo>
                    <a:pt x="156" y="342"/>
                  </a:lnTo>
                  <a:lnTo>
                    <a:pt x="156" y="348"/>
                  </a:lnTo>
                  <a:lnTo>
                    <a:pt x="156" y="354"/>
                  </a:lnTo>
                  <a:lnTo>
                    <a:pt x="150" y="366"/>
                  </a:lnTo>
                  <a:lnTo>
                    <a:pt x="150" y="372"/>
                  </a:lnTo>
                  <a:lnTo>
                    <a:pt x="144" y="366"/>
                  </a:lnTo>
                  <a:lnTo>
                    <a:pt x="132" y="366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20" y="348"/>
                  </a:lnTo>
                  <a:lnTo>
                    <a:pt x="102" y="330"/>
                  </a:lnTo>
                  <a:lnTo>
                    <a:pt x="96" y="318"/>
                  </a:lnTo>
                  <a:lnTo>
                    <a:pt x="96" y="282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0" y="258"/>
                  </a:lnTo>
                  <a:lnTo>
                    <a:pt x="84" y="252"/>
                  </a:lnTo>
                  <a:lnTo>
                    <a:pt x="66" y="258"/>
                  </a:lnTo>
                  <a:lnTo>
                    <a:pt x="60" y="246"/>
                  </a:lnTo>
                  <a:lnTo>
                    <a:pt x="30" y="252"/>
                  </a:lnTo>
                  <a:lnTo>
                    <a:pt x="18" y="246"/>
                  </a:lnTo>
                  <a:lnTo>
                    <a:pt x="0" y="240"/>
                  </a:lnTo>
                  <a:lnTo>
                    <a:pt x="0" y="234"/>
                  </a:lnTo>
                  <a:lnTo>
                    <a:pt x="0" y="210"/>
                  </a:lnTo>
                  <a:lnTo>
                    <a:pt x="6" y="204"/>
                  </a:lnTo>
                  <a:lnTo>
                    <a:pt x="18" y="192"/>
                  </a:lnTo>
                  <a:lnTo>
                    <a:pt x="18" y="144"/>
                  </a:lnTo>
                  <a:lnTo>
                    <a:pt x="24" y="126"/>
                  </a:lnTo>
                  <a:lnTo>
                    <a:pt x="36" y="126"/>
                  </a:lnTo>
                  <a:lnTo>
                    <a:pt x="54" y="120"/>
                  </a:lnTo>
                  <a:lnTo>
                    <a:pt x="54" y="126"/>
                  </a:lnTo>
                  <a:lnTo>
                    <a:pt x="132" y="114"/>
                  </a:lnTo>
                  <a:lnTo>
                    <a:pt x="144" y="120"/>
                  </a:lnTo>
                  <a:lnTo>
                    <a:pt x="150" y="132"/>
                  </a:lnTo>
                  <a:lnTo>
                    <a:pt x="180" y="126"/>
                  </a:lnTo>
                  <a:lnTo>
                    <a:pt x="210" y="120"/>
                  </a:lnTo>
                  <a:lnTo>
                    <a:pt x="240" y="120"/>
                  </a:lnTo>
                  <a:lnTo>
                    <a:pt x="258" y="120"/>
                  </a:lnTo>
                  <a:lnTo>
                    <a:pt x="270" y="126"/>
                  </a:lnTo>
                  <a:lnTo>
                    <a:pt x="276" y="132"/>
                  </a:lnTo>
                  <a:lnTo>
                    <a:pt x="282" y="138"/>
                  </a:lnTo>
                  <a:lnTo>
                    <a:pt x="282" y="156"/>
                  </a:lnTo>
                  <a:lnTo>
                    <a:pt x="288" y="186"/>
                  </a:lnTo>
                  <a:lnTo>
                    <a:pt x="312" y="192"/>
                  </a:lnTo>
                  <a:lnTo>
                    <a:pt x="318" y="198"/>
                  </a:lnTo>
                  <a:lnTo>
                    <a:pt x="324" y="204"/>
                  </a:lnTo>
                  <a:lnTo>
                    <a:pt x="330" y="210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66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86" y="210"/>
                  </a:lnTo>
                  <a:lnTo>
                    <a:pt x="498" y="198"/>
                  </a:lnTo>
                  <a:lnTo>
                    <a:pt x="504" y="174"/>
                  </a:lnTo>
                  <a:lnTo>
                    <a:pt x="516" y="162"/>
                  </a:lnTo>
                  <a:lnTo>
                    <a:pt x="516" y="138"/>
                  </a:lnTo>
                  <a:lnTo>
                    <a:pt x="522" y="132"/>
                  </a:lnTo>
                  <a:lnTo>
                    <a:pt x="564" y="132"/>
                  </a:lnTo>
                  <a:lnTo>
                    <a:pt x="564" y="114"/>
                  </a:lnTo>
                  <a:lnTo>
                    <a:pt x="582" y="114"/>
                  </a:lnTo>
                  <a:lnTo>
                    <a:pt x="594" y="114"/>
                  </a:lnTo>
                  <a:lnTo>
                    <a:pt x="606" y="114"/>
                  </a:lnTo>
                  <a:lnTo>
                    <a:pt x="612" y="114"/>
                  </a:lnTo>
                  <a:lnTo>
                    <a:pt x="630" y="114"/>
                  </a:lnTo>
                  <a:lnTo>
                    <a:pt x="636" y="114"/>
                  </a:lnTo>
                  <a:lnTo>
                    <a:pt x="648" y="114"/>
                  </a:lnTo>
                  <a:lnTo>
                    <a:pt x="654" y="114"/>
                  </a:lnTo>
                  <a:lnTo>
                    <a:pt x="660" y="120"/>
                  </a:lnTo>
                  <a:lnTo>
                    <a:pt x="672" y="120"/>
                  </a:lnTo>
                  <a:lnTo>
                    <a:pt x="684" y="120"/>
                  </a:lnTo>
                  <a:lnTo>
                    <a:pt x="690" y="120"/>
                  </a:lnTo>
                  <a:lnTo>
                    <a:pt x="702" y="120"/>
                  </a:lnTo>
                  <a:lnTo>
                    <a:pt x="708" y="120"/>
                  </a:lnTo>
                  <a:lnTo>
                    <a:pt x="726" y="126"/>
                  </a:lnTo>
                  <a:lnTo>
                    <a:pt x="732" y="126"/>
                  </a:lnTo>
                  <a:lnTo>
                    <a:pt x="738" y="126"/>
                  </a:lnTo>
                  <a:lnTo>
                    <a:pt x="750" y="126"/>
                  </a:lnTo>
                  <a:lnTo>
                    <a:pt x="756" y="126"/>
                  </a:lnTo>
                  <a:lnTo>
                    <a:pt x="768" y="126"/>
                  </a:lnTo>
                  <a:lnTo>
                    <a:pt x="780" y="126"/>
                  </a:lnTo>
                  <a:lnTo>
                    <a:pt x="786" y="120"/>
                  </a:lnTo>
                  <a:lnTo>
                    <a:pt x="792" y="120"/>
                  </a:lnTo>
                  <a:lnTo>
                    <a:pt x="810" y="120"/>
                  </a:lnTo>
                  <a:lnTo>
                    <a:pt x="822" y="120"/>
                  </a:lnTo>
                  <a:lnTo>
                    <a:pt x="846" y="126"/>
                  </a:lnTo>
                  <a:lnTo>
                    <a:pt x="858" y="126"/>
                  </a:lnTo>
                  <a:lnTo>
                    <a:pt x="870" y="132"/>
                  </a:lnTo>
                  <a:lnTo>
                    <a:pt x="882" y="132"/>
                  </a:lnTo>
                  <a:lnTo>
                    <a:pt x="894" y="132"/>
                  </a:lnTo>
                  <a:lnTo>
                    <a:pt x="900" y="132"/>
                  </a:lnTo>
                  <a:lnTo>
                    <a:pt x="912" y="132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36" y="132"/>
                  </a:lnTo>
                  <a:lnTo>
                    <a:pt x="960" y="132"/>
                  </a:lnTo>
                  <a:lnTo>
                    <a:pt x="966" y="144"/>
                  </a:lnTo>
                  <a:lnTo>
                    <a:pt x="972" y="144"/>
                  </a:lnTo>
                  <a:lnTo>
                    <a:pt x="1002" y="144"/>
                  </a:lnTo>
                  <a:lnTo>
                    <a:pt x="1020" y="144"/>
                  </a:lnTo>
                  <a:lnTo>
                    <a:pt x="1068" y="138"/>
                  </a:lnTo>
                  <a:lnTo>
                    <a:pt x="1110" y="132"/>
                  </a:lnTo>
                  <a:lnTo>
                    <a:pt x="1110" y="126"/>
                  </a:lnTo>
                  <a:lnTo>
                    <a:pt x="1116" y="120"/>
                  </a:lnTo>
                  <a:lnTo>
                    <a:pt x="1122" y="108"/>
                  </a:lnTo>
                  <a:lnTo>
                    <a:pt x="1134" y="96"/>
                  </a:lnTo>
                  <a:lnTo>
                    <a:pt x="1146" y="60"/>
                  </a:lnTo>
                  <a:lnTo>
                    <a:pt x="1158" y="54"/>
                  </a:lnTo>
                  <a:lnTo>
                    <a:pt x="1170" y="48"/>
                  </a:lnTo>
                  <a:lnTo>
                    <a:pt x="1188" y="42"/>
                  </a:lnTo>
                  <a:lnTo>
                    <a:pt x="1200" y="36"/>
                  </a:lnTo>
                  <a:lnTo>
                    <a:pt x="1212" y="36"/>
                  </a:lnTo>
                  <a:lnTo>
                    <a:pt x="1236" y="30"/>
                  </a:lnTo>
                  <a:lnTo>
                    <a:pt x="1236" y="24"/>
                  </a:lnTo>
                  <a:lnTo>
                    <a:pt x="1278" y="18"/>
                  </a:lnTo>
                  <a:lnTo>
                    <a:pt x="1290" y="18"/>
                  </a:lnTo>
                  <a:lnTo>
                    <a:pt x="1302" y="12"/>
                  </a:lnTo>
                  <a:lnTo>
                    <a:pt x="1314" y="0"/>
                  </a:lnTo>
                  <a:lnTo>
                    <a:pt x="1332" y="0"/>
                  </a:lnTo>
                  <a:lnTo>
                    <a:pt x="1338" y="24"/>
                  </a:lnTo>
                  <a:lnTo>
                    <a:pt x="1344" y="30"/>
                  </a:lnTo>
                  <a:lnTo>
                    <a:pt x="1350" y="42"/>
                  </a:lnTo>
                  <a:lnTo>
                    <a:pt x="1356" y="48"/>
                  </a:lnTo>
                  <a:lnTo>
                    <a:pt x="1356" y="78"/>
                  </a:lnTo>
                  <a:lnTo>
                    <a:pt x="1350" y="96"/>
                  </a:lnTo>
                  <a:lnTo>
                    <a:pt x="1338" y="108"/>
                  </a:lnTo>
                  <a:lnTo>
                    <a:pt x="1338" y="114"/>
                  </a:lnTo>
                  <a:lnTo>
                    <a:pt x="1338" y="120"/>
                  </a:lnTo>
                  <a:lnTo>
                    <a:pt x="1338" y="126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398" y="114"/>
                  </a:lnTo>
                  <a:lnTo>
                    <a:pt x="1416" y="120"/>
                  </a:lnTo>
                  <a:lnTo>
                    <a:pt x="1434" y="126"/>
                  </a:lnTo>
                  <a:lnTo>
                    <a:pt x="1458" y="132"/>
                  </a:lnTo>
                  <a:lnTo>
                    <a:pt x="1458" y="138"/>
                  </a:lnTo>
                  <a:lnTo>
                    <a:pt x="1512" y="138"/>
                  </a:lnTo>
                  <a:lnTo>
                    <a:pt x="1512" y="132"/>
                  </a:lnTo>
                  <a:lnTo>
                    <a:pt x="1524" y="138"/>
                  </a:lnTo>
                  <a:lnTo>
                    <a:pt x="1542" y="138"/>
                  </a:lnTo>
                  <a:lnTo>
                    <a:pt x="1542" y="150"/>
                  </a:lnTo>
                  <a:lnTo>
                    <a:pt x="1542" y="162"/>
                  </a:lnTo>
                  <a:lnTo>
                    <a:pt x="1548" y="174"/>
                  </a:lnTo>
                  <a:lnTo>
                    <a:pt x="1548" y="180"/>
                  </a:lnTo>
                  <a:lnTo>
                    <a:pt x="1554" y="222"/>
                  </a:lnTo>
                  <a:lnTo>
                    <a:pt x="1554" y="258"/>
                  </a:lnTo>
                  <a:lnTo>
                    <a:pt x="1554" y="276"/>
                  </a:lnTo>
                  <a:lnTo>
                    <a:pt x="1554" y="282"/>
                  </a:lnTo>
                  <a:lnTo>
                    <a:pt x="1554" y="294"/>
                  </a:lnTo>
                  <a:lnTo>
                    <a:pt x="1554" y="306"/>
                  </a:lnTo>
                  <a:lnTo>
                    <a:pt x="1554" y="324"/>
                  </a:lnTo>
                  <a:lnTo>
                    <a:pt x="1554" y="330"/>
                  </a:lnTo>
                  <a:lnTo>
                    <a:pt x="1548" y="330"/>
                  </a:lnTo>
                  <a:lnTo>
                    <a:pt x="1548" y="336"/>
                  </a:lnTo>
                  <a:lnTo>
                    <a:pt x="1548" y="342"/>
                  </a:lnTo>
                  <a:lnTo>
                    <a:pt x="1542" y="336"/>
                  </a:lnTo>
                  <a:lnTo>
                    <a:pt x="1542" y="330"/>
                  </a:lnTo>
                  <a:lnTo>
                    <a:pt x="1536" y="330"/>
                  </a:lnTo>
                  <a:lnTo>
                    <a:pt x="1530" y="330"/>
                  </a:lnTo>
                  <a:lnTo>
                    <a:pt x="1530" y="336"/>
                  </a:lnTo>
                  <a:lnTo>
                    <a:pt x="1536" y="342"/>
                  </a:lnTo>
                  <a:lnTo>
                    <a:pt x="1530" y="342"/>
                  </a:lnTo>
                  <a:lnTo>
                    <a:pt x="1518" y="348"/>
                  </a:lnTo>
                  <a:lnTo>
                    <a:pt x="1512" y="354"/>
                  </a:lnTo>
                  <a:lnTo>
                    <a:pt x="1506" y="354"/>
                  </a:lnTo>
                  <a:lnTo>
                    <a:pt x="1500" y="354"/>
                  </a:lnTo>
                  <a:lnTo>
                    <a:pt x="1494" y="354"/>
                  </a:lnTo>
                  <a:lnTo>
                    <a:pt x="1494" y="360"/>
                  </a:lnTo>
                  <a:lnTo>
                    <a:pt x="1488" y="360"/>
                  </a:lnTo>
                  <a:lnTo>
                    <a:pt x="1488" y="366"/>
                  </a:lnTo>
                  <a:lnTo>
                    <a:pt x="1488" y="372"/>
                  </a:lnTo>
                  <a:lnTo>
                    <a:pt x="1482" y="372"/>
                  </a:lnTo>
                  <a:lnTo>
                    <a:pt x="1476" y="372"/>
                  </a:lnTo>
                  <a:lnTo>
                    <a:pt x="1470" y="372"/>
                  </a:lnTo>
                  <a:lnTo>
                    <a:pt x="1470" y="378"/>
                  </a:lnTo>
                  <a:lnTo>
                    <a:pt x="1470" y="384"/>
                  </a:lnTo>
                  <a:lnTo>
                    <a:pt x="1470" y="390"/>
                  </a:lnTo>
                  <a:lnTo>
                    <a:pt x="1464" y="402"/>
                  </a:lnTo>
                  <a:lnTo>
                    <a:pt x="1446" y="402"/>
                  </a:lnTo>
                  <a:lnTo>
                    <a:pt x="1440" y="372"/>
                  </a:lnTo>
                  <a:lnTo>
                    <a:pt x="1410" y="372"/>
                  </a:lnTo>
                  <a:lnTo>
                    <a:pt x="1380" y="372"/>
                  </a:lnTo>
                  <a:lnTo>
                    <a:pt x="1374" y="372"/>
                  </a:lnTo>
                  <a:lnTo>
                    <a:pt x="1368" y="378"/>
                  </a:lnTo>
                  <a:lnTo>
                    <a:pt x="1362" y="378"/>
                  </a:lnTo>
                  <a:lnTo>
                    <a:pt x="1356" y="378"/>
                  </a:lnTo>
                  <a:lnTo>
                    <a:pt x="1350" y="384"/>
                  </a:lnTo>
                  <a:lnTo>
                    <a:pt x="1350" y="390"/>
                  </a:lnTo>
                  <a:lnTo>
                    <a:pt x="1344" y="390"/>
                  </a:lnTo>
                  <a:lnTo>
                    <a:pt x="1338" y="390"/>
                  </a:lnTo>
                  <a:lnTo>
                    <a:pt x="1332" y="390"/>
                  </a:lnTo>
                  <a:lnTo>
                    <a:pt x="1332" y="396"/>
                  </a:lnTo>
                  <a:lnTo>
                    <a:pt x="1332" y="390"/>
                  </a:lnTo>
                  <a:lnTo>
                    <a:pt x="1326" y="402"/>
                  </a:lnTo>
                  <a:lnTo>
                    <a:pt x="1320" y="402"/>
                  </a:lnTo>
                  <a:lnTo>
                    <a:pt x="1302" y="474"/>
                  </a:lnTo>
                  <a:lnTo>
                    <a:pt x="1308" y="480"/>
                  </a:lnTo>
                  <a:lnTo>
                    <a:pt x="1314" y="480"/>
                  </a:lnTo>
                  <a:lnTo>
                    <a:pt x="1308" y="498"/>
                  </a:lnTo>
                  <a:lnTo>
                    <a:pt x="1308" y="504"/>
                  </a:lnTo>
                  <a:lnTo>
                    <a:pt x="1314" y="510"/>
                  </a:lnTo>
                  <a:lnTo>
                    <a:pt x="1308" y="510"/>
                  </a:lnTo>
                  <a:lnTo>
                    <a:pt x="1308" y="516"/>
                  </a:lnTo>
                  <a:lnTo>
                    <a:pt x="1302" y="516"/>
                  </a:lnTo>
                  <a:lnTo>
                    <a:pt x="1296" y="510"/>
                  </a:lnTo>
                  <a:lnTo>
                    <a:pt x="1296" y="516"/>
                  </a:lnTo>
                  <a:lnTo>
                    <a:pt x="1290" y="540"/>
                  </a:lnTo>
                  <a:lnTo>
                    <a:pt x="1290" y="552"/>
                  </a:lnTo>
                  <a:lnTo>
                    <a:pt x="1284" y="558"/>
                  </a:lnTo>
                  <a:lnTo>
                    <a:pt x="1290" y="576"/>
                  </a:lnTo>
                  <a:lnTo>
                    <a:pt x="1290" y="600"/>
                  </a:lnTo>
                  <a:lnTo>
                    <a:pt x="1284" y="618"/>
                  </a:lnTo>
                  <a:lnTo>
                    <a:pt x="1290" y="624"/>
                  </a:lnTo>
                  <a:lnTo>
                    <a:pt x="1284" y="630"/>
                  </a:lnTo>
                  <a:lnTo>
                    <a:pt x="1278" y="630"/>
                  </a:lnTo>
                  <a:lnTo>
                    <a:pt x="1272" y="630"/>
                  </a:lnTo>
                  <a:lnTo>
                    <a:pt x="1266" y="636"/>
                  </a:lnTo>
                  <a:lnTo>
                    <a:pt x="1260" y="642"/>
                  </a:lnTo>
                  <a:lnTo>
                    <a:pt x="1260" y="636"/>
                  </a:lnTo>
                  <a:lnTo>
                    <a:pt x="1254" y="636"/>
                  </a:lnTo>
                  <a:lnTo>
                    <a:pt x="1248" y="636"/>
                  </a:lnTo>
                  <a:lnTo>
                    <a:pt x="1248" y="642"/>
                  </a:lnTo>
                  <a:lnTo>
                    <a:pt x="1242" y="642"/>
                  </a:lnTo>
                  <a:lnTo>
                    <a:pt x="1242" y="648"/>
                  </a:lnTo>
                  <a:lnTo>
                    <a:pt x="1236" y="654"/>
                  </a:lnTo>
                  <a:lnTo>
                    <a:pt x="1230" y="654"/>
                  </a:lnTo>
                  <a:lnTo>
                    <a:pt x="1224" y="654"/>
                  </a:lnTo>
                  <a:lnTo>
                    <a:pt x="1218" y="660"/>
                  </a:lnTo>
                  <a:lnTo>
                    <a:pt x="1212" y="660"/>
                  </a:lnTo>
                  <a:lnTo>
                    <a:pt x="1206" y="660"/>
                  </a:lnTo>
                  <a:lnTo>
                    <a:pt x="1200" y="660"/>
                  </a:lnTo>
                  <a:lnTo>
                    <a:pt x="1200" y="666"/>
                  </a:lnTo>
                  <a:lnTo>
                    <a:pt x="1194" y="666"/>
                  </a:lnTo>
                  <a:lnTo>
                    <a:pt x="1188" y="666"/>
                  </a:lnTo>
                  <a:lnTo>
                    <a:pt x="1182" y="672"/>
                  </a:lnTo>
                  <a:lnTo>
                    <a:pt x="1176" y="672"/>
                  </a:lnTo>
                  <a:lnTo>
                    <a:pt x="1170" y="672"/>
                  </a:lnTo>
                  <a:lnTo>
                    <a:pt x="1164" y="678"/>
                  </a:lnTo>
                  <a:lnTo>
                    <a:pt x="1170" y="678"/>
                  </a:lnTo>
                  <a:lnTo>
                    <a:pt x="1164" y="684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52" y="684"/>
                  </a:lnTo>
                  <a:lnTo>
                    <a:pt x="1152" y="690"/>
                  </a:lnTo>
                  <a:lnTo>
                    <a:pt x="1146" y="690"/>
                  </a:lnTo>
                  <a:lnTo>
                    <a:pt x="1140" y="690"/>
                  </a:lnTo>
                  <a:lnTo>
                    <a:pt x="1134" y="696"/>
                  </a:lnTo>
                  <a:lnTo>
                    <a:pt x="1128" y="696"/>
                  </a:lnTo>
                  <a:lnTo>
                    <a:pt x="1122" y="702"/>
                  </a:lnTo>
                  <a:lnTo>
                    <a:pt x="1116" y="702"/>
                  </a:lnTo>
                  <a:lnTo>
                    <a:pt x="1110" y="708"/>
                  </a:lnTo>
                  <a:lnTo>
                    <a:pt x="1104" y="708"/>
                  </a:lnTo>
                  <a:lnTo>
                    <a:pt x="1098" y="708"/>
                  </a:lnTo>
                  <a:lnTo>
                    <a:pt x="1092" y="708"/>
                  </a:lnTo>
                  <a:lnTo>
                    <a:pt x="1092" y="714"/>
                  </a:lnTo>
                  <a:lnTo>
                    <a:pt x="1086" y="720"/>
                  </a:lnTo>
                  <a:lnTo>
                    <a:pt x="1080" y="720"/>
                  </a:lnTo>
                  <a:lnTo>
                    <a:pt x="1074" y="720"/>
                  </a:lnTo>
                  <a:lnTo>
                    <a:pt x="1068" y="720"/>
                  </a:lnTo>
                  <a:lnTo>
                    <a:pt x="1062" y="720"/>
                  </a:lnTo>
                  <a:lnTo>
                    <a:pt x="1050" y="726"/>
                  </a:lnTo>
                  <a:lnTo>
                    <a:pt x="1044" y="726"/>
                  </a:lnTo>
                  <a:lnTo>
                    <a:pt x="1038" y="732"/>
                  </a:lnTo>
                  <a:lnTo>
                    <a:pt x="1026" y="732"/>
                  </a:lnTo>
                  <a:lnTo>
                    <a:pt x="1020" y="732"/>
                  </a:lnTo>
                  <a:lnTo>
                    <a:pt x="1014" y="738"/>
                  </a:lnTo>
                  <a:lnTo>
                    <a:pt x="1008" y="738"/>
                  </a:lnTo>
                  <a:lnTo>
                    <a:pt x="1002" y="738"/>
                  </a:lnTo>
                  <a:lnTo>
                    <a:pt x="996" y="738"/>
                  </a:lnTo>
                  <a:lnTo>
                    <a:pt x="990" y="738"/>
                  </a:lnTo>
                  <a:lnTo>
                    <a:pt x="990" y="732"/>
                  </a:lnTo>
                  <a:lnTo>
                    <a:pt x="984" y="732"/>
                  </a:lnTo>
                  <a:lnTo>
                    <a:pt x="978" y="738"/>
                  </a:lnTo>
                  <a:lnTo>
                    <a:pt x="978" y="744"/>
                  </a:lnTo>
                  <a:lnTo>
                    <a:pt x="984" y="744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8" y="756"/>
                  </a:lnTo>
                  <a:lnTo>
                    <a:pt x="972" y="756"/>
                  </a:lnTo>
                  <a:lnTo>
                    <a:pt x="972" y="762"/>
                  </a:lnTo>
                  <a:lnTo>
                    <a:pt x="966" y="768"/>
                  </a:lnTo>
                  <a:lnTo>
                    <a:pt x="966" y="762"/>
                  </a:lnTo>
                  <a:lnTo>
                    <a:pt x="960" y="762"/>
                  </a:lnTo>
                  <a:lnTo>
                    <a:pt x="954" y="768"/>
                  </a:lnTo>
                  <a:lnTo>
                    <a:pt x="954" y="774"/>
                  </a:lnTo>
                  <a:lnTo>
                    <a:pt x="948" y="774"/>
                  </a:lnTo>
                  <a:lnTo>
                    <a:pt x="948" y="780"/>
                  </a:lnTo>
                  <a:lnTo>
                    <a:pt x="948" y="786"/>
                  </a:lnTo>
                  <a:lnTo>
                    <a:pt x="942" y="786"/>
                  </a:lnTo>
                  <a:lnTo>
                    <a:pt x="942" y="792"/>
                  </a:lnTo>
                  <a:lnTo>
                    <a:pt x="936" y="792"/>
                  </a:lnTo>
                  <a:lnTo>
                    <a:pt x="942" y="798"/>
                  </a:lnTo>
                  <a:lnTo>
                    <a:pt x="942" y="804"/>
                  </a:lnTo>
                  <a:lnTo>
                    <a:pt x="942" y="810"/>
                  </a:lnTo>
                  <a:lnTo>
                    <a:pt x="948" y="810"/>
                  </a:lnTo>
                  <a:lnTo>
                    <a:pt x="942" y="816"/>
                  </a:lnTo>
                  <a:lnTo>
                    <a:pt x="948" y="816"/>
                  </a:lnTo>
                  <a:lnTo>
                    <a:pt x="948" y="822"/>
                  </a:lnTo>
                  <a:lnTo>
                    <a:pt x="954" y="822"/>
                  </a:lnTo>
                  <a:lnTo>
                    <a:pt x="960" y="828"/>
                  </a:lnTo>
                  <a:lnTo>
                    <a:pt x="960" y="834"/>
                  </a:lnTo>
                  <a:lnTo>
                    <a:pt x="966" y="834"/>
                  </a:lnTo>
                  <a:lnTo>
                    <a:pt x="960" y="840"/>
                  </a:lnTo>
                  <a:lnTo>
                    <a:pt x="966" y="846"/>
                  </a:lnTo>
                  <a:lnTo>
                    <a:pt x="966" y="840"/>
                  </a:lnTo>
                  <a:lnTo>
                    <a:pt x="972" y="840"/>
                  </a:lnTo>
                  <a:lnTo>
                    <a:pt x="990" y="840"/>
                  </a:lnTo>
                  <a:lnTo>
                    <a:pt x="1002" y="834"/>
                  </a:lnTo>
                  <a:lnTo>
                    <a:pt x="1020" y="828"/>
                  </a:lnTo>
                  <a:lnTo>
                    <a:pt x="1032" y="828"/>
                  </a:lnTo>
                  <a:lnTo>
                    <a:pt x="1050" y="828"/>
                  </a:lnTo>
                  <a:lnTo>
                    <a:pt x="1062" y="846"/>
                  </a:lnTo>
                  <a:lnTo>
                    <a:pt x="1074" y="876"/>
                  </a:lnTo>
                  <a:lnTo>
                    <a:pt x="1068" y="900"/>
                  </a:lnTo>
                  <a:lnTo>
                    <a:pt x="1074" y="912"/>
                  </a:lnTo>
                  <a:lnTo>
                    <a:pt x="1074" y="936"/>
                  </a:lnTo>
                  <a:lnTo>
                    <a:pt x="1068" y="942"/>
                  </a:lnTo>
                  <a:lnTo>
                    <a:pt x="1062" y="954"/>
                  </a:lnTo>
                  <a:lnTo>
                    <a:pt x="1056" y="978"/>
                  </a:lnTo>
                  <a:lnTo>
                    <a:pt x="1056" y="996"/>
                  </a:lnTo>
                  <a:lnTo>
                    <a:pt x="1068" y="990"/>
                  </a:lnTo>
                  <a:lnTo>
                    <a:pt x="1074" y="990"/>
                  </a:lnTo>
                  <a:lnTo>
                    <a:pt x="1074" y="1008"/>
                  </a:lnTo>
                  <a:lnTo>
                    <a:pt x="1080" y="1008"/>
                  </a:lnTo>
                  <a:lnTo>
                    <a:pt x="1092" y="1014"/>
                  </a:lnTo>
                  <a:lnTo>
                    <a:pt x="1110" y="1044"/>
                  </a:lnTo>
                  <a:lnTo>
                    <a:pt x="1110" y="1062"/>
                  </a:lnTo>
                  <a:lnTo>
                    <a:pt x="1128" y="1068"/>
                  </a:lnTo>
                  <a:lnTo>
                    <a:pt x="1128" y="1092"/>
                  </a:lnTo>
                  <a:lnTo>
                    <a:pt x="1134" y="1098"/>
                  </a:lnTo>
                  <a:lnTo>
                    <a:pt x="1158" y="1122"/>
                  </a:lnTo>
                  <a:lnTo>
                    <a:pt x="1188" y="1122"/>
                  </a:lnTo>
                  <a:lnTo>
                    <a:pt x="1188" y="1128"/>
                  </a:lnTo>
                  <a:lnTo>
                    <a:pt x="1200" y="1134"/>
                  </a:lnTo>
                  <a:lnTo>
                    <a:pt x="1206" y="1134"/>
                  </a:lnTo>
                  <a:lnTo>
                    <a:pt x="1206" y="1128"/>
                  </a:lnTo>
                  <a:lnTo>
                    <a:pt x="1212" y="1128"/>
                  </a:lnTo>
                  <a:lnTo>
                    <a:pt x="1218" y="1128"/>
                  </a:lnTo>
                  <a:lnTo>
                    <a:pt x="1224" y="1122"/>
                  </a:lnTo>
                  <a:lnTo>
                    <a:pt x="1224" y="1128"/>
                  </a:lnTo>
                  <a:lnTo>
                    <a:pt x="1230" y="1128"/>
                  </a:lnTo>
                  <a:lnTo>
                    <a:pt x="1236" y="1128"/>
                  </a:lnTo>
                  <a:lnTo>
                    <a:pt x="1236" y="1122"/>
                  </a:lnTo>
                  <a:lnTo>
                    <a:pt x="1242" y="1122"/>
                  </a:lnTo>
                  <a:lnTo>
                    <a:pt x="1248" y="1128"/>
                  </a:lnTo>
                  <a:lnTo>
                    <a:pt x="1254" y="1128"/>
                  </a:lnTo>
                  <a:lnTo>
                    <a:pt x="1260" y="1134"/>
                  </a:lnTo>
                  <a:lnTo>
                    <a:pt x="1260" y="1140"/>
                  </a:lnTo>
                  <a:lnTo>
                    <a:pt x="1266" y="1140"/>
                  </a:lnTo>
                  <a:lnTo>
                    <a:pt x="1272" y="1140"/>
                  </a:lnTo>
                  <a:lnTo>
                    <a:pt x="1278" y="1140"/>
                  </a:lnTo>
                  <a:lnTo>
                    <a:pt x="1284" y="1140"/>
                  </a:lnTo>
                  <a:lnTo>
                    <a:pt x="1290" y="1146"/>
                  </a:lnTo>
                  <a:lnTo>
                    <a:pt x="1290" y="1152"/>
                  </a:lnTo>
                  <a:lnTo>
                    <a:pt x="1296" y="1146"/>
                  </a:lnTo>
                  <a:lnTo>
                    <a:pt x="1296" y="1152"/>
                  </a:lnTo>
                  <a:lnTo>
                    <a:pt x="1308" y="1152"/>
                  </a:lnTo>
                  <a:lnTo>
                    <a:pt x="1314" y="1152"/>
                  </a:lnTo>
                  <a:lnTo>
                    <a:pt x="1320" y="1152"/>
                  </a:lnTo>
                  <a:lnTo>
                    <a:pt x="1332" y="1152"/>
                  </a:lnTo>
                  <a:lnTo>
                    <a:pt x="1338" y="1152"/>
                  </a:lnTo>
                  <a:lnTo>
                    <a:pt x="1344" y="1152"/>
                  </a:lnTo>
                  <a:lnTo>
                    <a:pt x="1344" y="1158"/>
                  </a:lnTo>
                  <a:lnTo>
                    <a:pt x="1350" y="1158"/>
                  </a:lnTo>
                  <a:lnTo>
                    <a:pt x="1356" y="1158"/>
                  </a:lnTo>
                  <a:lnTo>
                    <a:pt x="1362" y="1158"/>
                  </a:lnTo>
                  <a:lnTo>
                    <a:pt x="1368" y="1158"/>
                  </a:lnTo>
                  <a:lnTo>
                    <a:pt x="1374" y="1164"/>
                  </a:lnTo>
                  <a:lnTo>
                    <a:pt x="1380" y="1164"/>
                  </a:lnTo>
                  <a:lnTo>
                    <a:pt x="1386" y="1170"/>
                  </a:lnTo>
                  <a:lnTo>
                    <a:pt x="1392" y="1170"/>
                  </a:lnTo>
                  <a:lnTo>
                    <a:pt x="1398" y="1164"/>
                  </a:lnTo>
                  <a:lnTo>
                    <a:pt x="1404" y="1164"/>
                  </a:lnTo>
                  <a:lnTo>
                    <a:pt x="1410" y="1164"/>
                  </a:lnTo>
                  <a:lnTo>
                    <a:pt x="1416" y="1164"/>
                  </a:lnTo>
                  <a:lnTo>
                    <a:pt x="1416" y="1170"/>
                  </a:lnTo>
                  <a:lnTo>
                    <a:pt x="1422" y="1176"/>
                  </a:lnTo>
                  <a:lnTo>
                    <a:pt x="1416" y="1176"/>
                  </a:lnTo>
                  <a:lnTo>
                    <a:pt x="1416" y="1182"/>
                  </a:lnTo>
                  <a:lnTo>
                    <a:pt x="1410" y="1188"/>
                  </a:lnTo>
                  <a:lnTo>
                    <a:pt x="1404" y="1194"/>
                  </a:lnTo>
                  <a:lnTo>
                    <a:pt x="1404" y="1200"/>
                  </a:lnTo>
                  <a:lnTo>
                    <a:pt x="1404" y="1206"/>
                  </a:lnTo>
                  <a:lnTo>
                    <a:pt x="1398" y="1212"/>
                  </a:lnTo>
                  <a:lnTo>
                    <a:pt x="1398" y="1206"/>
                  </a:lnTo>
                  <a:lnTo>
                    <a:pt x="1392" y="1206"/>
                  </a:lnTo>
                  <a:lnTo>
                    <a:pt x="1386" y="1206"/>
                  </a:lnTo>
                  <a:lnTo>
                    <a:pt x="1380" y="1212"/>
                  </a:lnTo>
                  <a:lnTo>
                    <a:pt x="1374" y="1212"/>
                  </a:lnTo>
                  <a:lnTo>
                    <a:pt x="1368" y="1218"/>
                  </a:lnTo>
                  <a:lnTo>
                    <a:pt x="1362" y="1218"/>
                  </a:lnTo>
                  <a:lnTo>
                    <a:pt x="1362" y="1224"/>
                  </a:lnTo>
                  <a:lnTo>
                    <a:pt x="1356" y="1230"/>
                  </a:lnTo>
                  <a:lnTo>
                    <a:pt x="1350" y="1230"/>
                  </a:lnTo>
                  <a:lnTo>
                    <a:pt x="1344" y="1236"/>
                  </a:lnTo>
                  <a:lnTo>
                    <a:pt x="1338" y="1230"/>
                  </a:lnTo>
                  <a:lnTo>
                    <a:pt x="1332" y="1230"/>
                  </a:lnTo>
                  <a:lnTo>
                    <a:pt x="1326" y="1230"/>
                  </a:lnTo>
                  <a:lnTo>
                    <a:pt x="1320" y="1230"/>
                  </a:lnTo>
                  <a:lnTo>
                    <a:pt x="1314" y="1230"/>
                  </a:lnTo>
                  <a:lnTo>
                    <a:pt x="1296" y="1242"/>
                  </a:lnTo>
                  <a:lnTo>
                    <a:pt x="1296" y="1248"/>
                  </a:lnTo>
                  <a:lnTo>
                    <a:pt x="1290" y="1248"/>
                  </a:lnTo>
                  <a:lnTo>
                    <a:pt x="1290" y="1260"/>
                  </a:lnTo>
                  <a:lnTo>
                    <a:pt x="1278" y="1272"/>
                  </a:lnTo>
                  <a:lnTo>
                    <a:pt x="1278" y="1278"/>
                  </a:lnTo>
                  <a:lnTo>
                    <a:pt x="1278" y="1284"/>
                  </a:lnTo>
                  <a:lnTo>
                    <a:pt x="1278" y="1290"/>
                  </a:lnTo>
                  <a:lnTo>
                    <a:pt x="1284" y="1296"/>
                  </a:lnTo>
                  <a:lnTo>
                    <a:pt x="1302" y="1302"/>
                  </a:lnTo>
                  <a:lnTo>
                    <a:pt x="1308" y="1308"/>
                  </a:lnTo>
                  <a:lnTo>
                    <a:pt x="1308" y="1314"/>
                  </a:lnTo>
                  <a:lnTo>
                    <a:pt x="1302" y="1320"/>
                  </a:lnTo>
                  <a:lnTo>
                    <a:pt x="1278" y="1314"/>
                  </a:lnTo>
                  <a:lnTo>
                    <a:pt x="1266" y="1308"/>
                  </a:lnTo>
                  <a:lnTo>
                    <a:pt x="1260" y="1296"/>
                  </a:lnTo>
                  <a:lnTo>
                    <a:pt x="1236" y="1296"/>
                  </a:lnTo>
                  <a:lnTo>
                    <a:pt x="1224" y="1308"/>
                  </a:lnTo>
                  <a:lnTo>
                    <a:pt x="1218" y="1308"/>
                  </a:lnTo>
                  <a:lnTo>
                    <a:pt x="1218" y="1302"/>
                  </a:lnTo>
                  <a:lnTo>
                    <a:pt x="1212" y="1302"/>
                  </a:lnTo>
                  <a:lnTo>
                    <a:pt x="1206" y="1302"/>
                  </a:lnTo>
                  <a:lnTo>
                    <a:pt x="1170" y="1314"/>
                  </a:lnTo>
                  <a:lnTo>
                    <a:pt x="1134" y="1296"/>
                  </a:lnTo>
                  <a:lnTo>
                    <a:pt x="1122" y="1290"/>
                  </a:lnTo>
                  <a:lnTo>
                    <a:pt x="1104" y="1290"/>
                  </a:lnTo>
                  <a:lnTo>
                    <a:pt x="1098" y="1278"/>
                  </a:lnTo>
                  <a:lnTo>
                    <a:pt x="1092" y="1242"/>
                  </a:lnTo>
                  <a:lnTo>
                    <a:pt x="1086" y="1242"/>
                  </a:lnTo>
                  <a:lnTo>
                    <a:pt x="1086" y="1248"/>
                  </a:lnTo>
                  <a:lnTo>
                    <a:pt x="1086" y="1254"/>
                  </a:lnTo>
                  <a:lnTo>
                    <a:pt x="1080" y="1254"/>
                  </a:lnTo>
                  <a:lnTo>
                    <a:pt x="1080" y="1260"/>
                  </a:lnTo>
                  <a:lnTo>
                    <a:pt x="1074" y="1260"/>
                  </a:lnTo>
                  <a:lnTo>
                    <a:pt x="1068" y="1236"/>
                  </a:lnTo>
                  <a:lnTo>
                    <a:pt x="1068" y="1206"/>
                  </a:lnTo>
                  <a:lnTo>
                    <a:pt x="1080" y="1194"/>
                  </a:lnTo>
                  <a:lnTo>
                    <a:pt x="1086" y="1194"/>
                  </a:lnTo>
                  <a:lnTo>
                    <a:pt x="1092" y="1200"/>
                  </a:lnTo>
                  <a:lnTo>
                    <a:pt x="1098" y="1206"/>
                  </a:lnTo>
                  <a:lnTo>
                    <a:pt x="1104" y="1200"/>
                  </a:lnTo>
                  <a:lnTo>
                    <a:pt x="1104" y="1194"/>
                  </a:lnTo>
                  <a:lnTo>
                    <a:pt x="1110" y="1194"/>
                  </a:lnTo>
                  <a:lnTo>
                    <a:pt x="1110" y="1188"/>
                  </a:lnTo>
                  <a:lnTo>
                    <a:pt x="1116" y="1182"/>
                  </a:lnTo>
                  <a:lnTo>
                    <a:pt x="1110" y="1182"/>
                  </a:lnTo>
                  <a:lnTo>
                    <a:pt x="1110" y="1170"/>
                  </a:lnTo>
                  <a:lnTo>
                    <a:pt x="1110" y="1158"/>
                  </a:lnTo>
                  <a:lnTo>
                    <a:pt x="1110" y="1152"/>
                  </a:lnTo>
                  <a:lnTo>
                    <a:pt x="1104" y="1146"/>
                  </a:lnTo>
                  <a:lnTo>
                    <a:pt x="1098" y="1140"/>
                  </a:lnTo>
                  <a:lnTo>
                    <a:pt x="1098" y="1134"/>
                  </a:lnTo>
                  <a:lnTo>
                    <a:pt x="1098" y="1128"/>
                  </a:lnTo>
                  <a:lnTo>
                    <a:pt x="1092" y="1128"/>
                  </a:lnTo>
                  <a:lnTo>
                    <a:pt x="1092" y="1122"/>
                  </a:lnTo>
                  <a:lnTo>
                    <a:pt x="1092" y="1116"/>
                  </a:lnTo>
                  <a:lnTo>
                    <a:pt x="1092" y="1110"/>
                  </a:lnTo>
                  <a:lnTo>
                    <a:pt x="1056" y="1122"/>
                  </a:lnTo>
                  <a:lnTo>
                    <a:pt x="1038" y="1128"/>
                  </a:lnTo>
                  <a:lnTo>
                    <a:pt x="1032" y="1128"/>
                  </a:lnTo>
                  <a:lnTo>
                    <a:pt x="1026" y="1128"/>
                  </a:lnTo>
                  <a:lnTo>
                    <a:pt x="1020" y="1128"/>
                  </a:lnTo>
                  <a:lnTo>
                    <a:pt x="1014" y="1128"/>
                  </a:lnTo>
                  <a:lnTo>
                    <a:pt x="1014" y="1122"/>
                  </a:lnTo>
                  <a:lnTo>
                    <a:pt x="1008" y="1122"/>
                  </a:lnTo>
                  <a:lnTo>
                    <a:pt x="1002" y="1128"/>
                  </a:lnTo>
                  <a:lnTo>
                    <a:pt x="1002" y="1134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84" y="1140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66" y="1140"/>
                  </a:lnTo>
                  <a:lnTo>
                    <a:pt x="954" y="1140"/>
                  </a:lnTo>
                  <a:lnTo>
                    <a:pt x="954" y="1134"/>
                  </a:lnTo>
                  <a:lnTo>
                    <a:pt x="948" y="1134"/>
                  </a:lnTo>
                  <a:lnTo>
                    <a:pt x="942" y="1134"/>
                  </a:lnTo>
                  <a:lnTo>
                    <a:pt x="936" y="1134"/>
                  </a:lnTo>
                  <a:lnTo>
                    <a:pt x="930" y="1134"/>
                  </a:lnTo>
                  <a:lnTo>
                    <a:pt x="924" y="1134"/>
                  </a:lnTo>
                  <a:lnTo>
                    <a:pt x="918" y="1134"/>
                  </a:lnTo>
                  <a:lnTo>
                    <a:pt x="918" y="1128"/>
                  </a:lnTo>
                  <a:lnTo>
                    <a:pt x="918" y="1104"/>
                  </a:lnTo>
                  <a:lnTo>
                    <a:pt x="906" y="1104"/>
                  </a:lnTo>
                  <a:lnTo>
                    <a:pt x="900" y="1098"/>
                  </a:lnTo>
                  <a:lnTo>
                    <a:pt x="900" y="1092"/>
                  </a:lnTo>
                  <a:lnTo>
                    <a:pt x="900" y="1086"/>
                  </a:lnTo>
                  <a:lnTo>
                    <a:pt x="900" y="1080"/>
                  </a:lnTo>
                  <a:lnTo>
                    <a:pt x="894" y="1080"/>
                  </a:lnTo>
                  <a:lnTo>
                    <a:pt x="858" y="1074"/>
                  </a:lnTo>
                  <a:lnTo>
                    <a:pt x="852" y="1080"/>
                  </a:lnTo>
                  <a:lnTo>
                    <a:pt x="846" y="1086"/>
                  </a:lnTo>
                  <a:lnTo>
                    <a:pt x="840" y="1086"/>
                  </a:lnTo>
                  <a:lnTo>
                    <a:pt x="840" y="1092"/>
                  </a:lnTo>
                  <a:lnTo>
                    <a:pt x="834" y="1092"/>
                  </a:lnTo>
                  <a:lnTo>
                    <a:pt x="828" y="1098"/>
                  </a:lnTo>
                  <a:lnTo>
                    <a:pt x="822" y="1098"/>
                  </a:lnTo>
                  <a:lnTo>
                    <a:pt x="762" y="1074"/>
                  </a:lnTo>
                  <a:lnTo>
                    <a:pt x="756" y="1068"/>
                  </a:lnTo>
                  <a:lnTo>
                    <a:pt x="750" y="1068"/>
                  </a:lnTo>
                  <a:lnTo>
                    <a:pt x="744" y="1062"/>
                  </a:lnTo>
                  <a:lnTo>
                    <a:pt x="744" y="1068"/>
                  </a:lnTo>
                  <a:lnTo>
                    <a:pt x="744" y="1074"/>
                  </a:lnTo>
                  <a:lnTo>
                    <a:pt x="738" y="1074"/>
                  </a:lnTo>
                  <a:lnTo>
                    <a:pt x="738" y="1068"/>
                  </a:lnTo>
                  <a:lnTo>
                    <a:pt x="732" y="1068"/>
                  </a:lnTo>
                  <a:lnTo>
                    <a:pt x="726" y="1068"/>
                  </a:lnTo>
                  <a:lnTo>
                    <a:pt x="726" y="1074"/>
                  </a:lnTo>
                  <a:lnTo>
                    <a:pt x="720" y="1074"/>
                  </a:lnTo>
                  <a:lnTo>
                    <a:pt x="684" y="106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27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9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127" name="Freeform 41">
              <a:extLst>
                <a:ext uri="{FF2B5EF4-FFF2-40B4-BE49-F238E27FC236}">
                  <a16:creationId xmlns:a16="http://schemas.microsoft.com/office/drawing/2014/main" id="{E0C494F5-7B95-456D-8FB0-F15E6775F2CB}"/>
                </a:ext>
              </a:extLst>
            </p:cNvPr>
            <p:cNvSpPr>
              <a:spLocks/>
            </p:cNvSpPr>
            <p:nvPr/>
          </p:nvSpPr>
          <p:spPr bwMode="gray">
            <a:xfrm>
              <a:off x="6811963" y="681038"/>
              <a:ext cx="1860550" cy="2203450"/>
            </a:xfrm>
            <a:custGeom>
              <a:avLst/>
              <a:gdLst>
                <a:gd name="T0" fmla="*/ 98 w 1992"/>
                <a:gd name="T1" fmla="*/ 162 h 2358"/>
                <a:gd name="T2" fmla="*/ 93 w 1992"/>
                <a:gd name="T3" fmla="*/ 172 h 2358"/>
                <a:gd name="T4" fmla="*/ 82 w 1992"/>
                <a:gd name="T5" fmla="*/ 179 h 2358"/>
                <a:gd name="T6" fmla="*/ 70 w 1992"/>
                <a:gd name="T7" fmla="*/ 174 h 2358"/>
                <a:gd name="T8" fmla="*/ 62 w 1992"/>
                <a:gd name="T9" fmla="*/ 182 h 2358"/>
                <a:gd name="T10" fmla="*/ 45 w 1992"/>
                <a:gd name="T11" fmla="*/ 189 h 2358"/>
                <a:gd name="T12" fmla="*/ 24 w 1992"/>
                <a:gd name="T13" fmla="*/ 205 h 2358"/>
                <a:gd name="T14" fmla="*/ 17 w 1992"/>
                <a:gd name="T15" fmla="*/ 204 h 2358"/>
                <a:gd name="T16" fmla="*/ 7 w 1992"/>
                <a:gd name="T17" fmla="*/ 197 h 2358"/>
                <a:gd name="T18" fmla="*/ 1 w 1992"/>
                <a:gd name="T19" fmla="*/ 191 h 2358"/>
                <a:gd name="T20" fmla="*/ 4 w 1992"/>
                <a:gd name="T21" fmla="*/ 175 h 2358"/>
                <a:gd name="T22" fmla="*/ 7 w 1992"/>
                <a:gd name="T23" fmla="*/ 172 h 2358"/>
                <a:gd name="T24" fmla="*/ 11 w 1992"/>
                <a:gd name="T25" fmla="*/ 168 h 2358"/>
                <a:gd name="T26" fmla="*/ 5 w 1992"/>
                <a:gd name="T27" fmla="*/ 159 h 2358"/>
                <a:gd name="T28" fmla="*/ 10 w 1992"/>
                <a:gd name="T29" fmla="*/ 156 h 2358"/>
                <a:gd name="T30" fmla="*/ 15 w 1992"/>
                <a:gd name="T31" fmla="*/ 155 h 2358"/>
                <a:gd name="T32" fmla="*/ 24 w 1992"/>
                <a:gd name="T33" fmla="*/ 149 h 2358"/>
                <a:gd name="T34" fmla="*/ 38 w 1992"/>
                <a:gd name="T35" fmla="*/ 127 h 2358"/>
                <a:gd name="T36" fmla="*/ 38 w 1992"/>
                <a:gd name="T37" fmla="*/ 107 h 2358"/>
                <a:gd name="T38" fmla="*/ 45 w 1992"/>
                <a:gd name="T39" fmla="*/ 66 h 2358"/>
                <a:gd name="T40" fmla="*/ 47 w 1992"/>
                <a:gd name="T41" fmla="*/ 36 h 2358"/>
                <a:gd name="T42" fmla="*/ 51 w 1992"/>
                <a:gd name="T43" fmla="*/ 35 h 2358"/>
                <a:gd name="T44" fmla="*/ 55 w 1992"/>
                <a:gd name="T45" fmla="*/ 30 h 2358"/>
                <a:gd name="T46" fmla="*/ 56 w 1992"/>
                <a:gd name="T47" fmla="*/ 27 h 2358"/>
                <a:gd name="T48" fmla="*/ 60 w 1992"/>
                <a:gd name="T49" fmla="*/ 23 h 2358"/>
                <a:gd name="T50" fmla="*/ 63 w 1992"/>
                <a:gd name="T51" fmla="*/ 23 h 2358"/>
                <a:gd name="T52" fmla="*/ 70 w 1992"/>
                <a:gd name="T53" fmla="*/ 18 h 2358"/>
                <a:gd name="T54" fmla="*/ 71 w 1992"/>
                <a:gd name="T55" fmla="*/ 15 h 2358"/>
                <a:gd name="T56" fmla="*/ 72 w 1992"/>
                <a:gd name="T57" fmla="*/ 13 h 2358"/>
                <a:gd name="T58" fmla="*/ 77 w 1992"/>
                <a:gd name="T59" fmla="*/ 12 h 2358"/>
                <a:gd name="T60" fmla="*/ 83 w 1992"/>
                <a:gd name="T61" fmla="*/ 10 h 2358"/>
                <a:gd name="T62" fmla="*/ 87 w 1992"/>
                <a:gd name="T63" fmla="*/ 10 h 2358"/>
                <a:gd name="T64" fmla="*/ 89 w 1992"/>
                <a:gd name="T65" fmla="*/ 10 h 2358"/>
                <a:gd name="T66" fmla="*/ 93 w 1992"/>
                <a:gd name="T67" fmla="*/ 8 h 2358"/>
                <a:gd name="T68" fmla="*/ 95 w 1992"/>
                <a:gd name="T69" fmla="*/ 4 h 2358"/>
                <a:gd name="T70" fmla="*/ 99 w 1992"/>
                <a:gd name="T71" fmla="*/ 0 h 2358"/>
                <a:gd name="T72" fmla="*/ 111 w 1992"/>
                <a:gd name="T73" fmla="*/ 0 h 2358"/>
                <a:gd name="T74" fmla="*/ 121 w 1992"/>
                <a:gd name="T75" fmla="*/ 9 h 2358"/>
                <a:gd name="T76" fmla="*/ 128 w 1992"/>
                <a:gd name="T77" fmla="*/ 19 h 2358"/>
                <a:gd name="T78" fmla="*/ 138 w 1992"/>
                <a:gd name="T79" fmla="*/ 33 h 2358"/>
                <a:gd name="T80" fmla="*/ 142 w 1992"/>
                <a:gd name="T81" fmla="*/ 47 h 2358"/>
                <a:gd name="T82" fmla="*/ 145 w 1992"/>
                <a:gd name="T83" fmla="*/ 62 h 2358"/>
                <a:gd name="T84" fmla="*/ 145 w 1992"/>
                <a:gd name="T85" fmla="*/ 70 h 2358"/>
                <a:gd name="T86" fmla="*/ 147 w 1992"/>
                <a:gd name="T87" fmla="*/ 75 h 2358"/>
                <a:gd name="T88" fmla="*/ 153 w 1992"/>
                <a:gd name="T89" fmla="*/ 75 h 2358"/>
                <a:gd name="T90" fmla="*/ 160 w 1992"/>
                <a:gd name="T91" fmla="*/ 76 h 2358"/>
                <a:gd name="T92" fmla="*/ 164 w 1992"/>
                <a:gd name="T93" fmla="*/ 79 h 2358"/>
                <a:gd name="T94" fmla="*/ 168 w 1992"/>
                <a:gd name="T95" fmla="*/ 83 h 2358"/>
                <a:gd name="T96" fmla="*/ 172 w 1992"/>
                <a:gd name="T97" fmla="*/ 86 h 2358"/>
                <a:gd name="T98" fmla="*/ 170 w 1992"/>
                <a:gd name="T99" fmla="*/ 93 h 2358"/>
                <a:gd name="T100" fmla="*/ 170 w 1992"/>
                <a:gd name="T101" fmla="*/ 99 h 2358"/>
                <a:gd name="T102" fmla="*/ 169 w 1992"/>
                <a:gd name="T103" fmla="*/ 106 h 2358"/>
                <a:gd name="T104" fmla="*/ 166 w 1992"/>
                <a:gd name="T105" fmla="*/ 113 h 2358"/>
                <a:gd name="T106" fmla="*/ 170 w 1992"/>
                <a:gd name="T107" fmla="*/ 122 h 2358"/>
                <a:gd name="T108" fmla="*/ 159 w 1992"/>
                <a:gd name="T109" fmla="*/ 128 h 2358"/>
                <a:gd name="T110" fmla="*/ 148 w 1992"/>
                <a:gd name="T111" fmla="*/ 134 h 2358"/>
                <a:gd name="T112" fmla="*/ 139 w 1992"/>
                <a:gd name="T113" fmla="*/ 136 h 2358"/>
                <a:gd name="T114" fmla="*/ 132 w 1992"/>
                <a:gd name="T115" fmla="*/ 138 h 2358"/>
                <a:gd name="T116" fmla="*/ 128 w 1992"/>
                <a:gd name="T117" fmla="*/ 145 h 2358"/>
                <a:gd name="T118" fmla="*/ 124 w 1992"/>
                <a:gd name="T119" fmla="*/ 150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92"/>
                <a:gd name="T181" fmla="*/ 0 h 2358"/>
                <a:gd name="T182" fmla="*/ 1992 w 1992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92" h="2358">
                  <a:moveTo>
                    <a:pt x="1356" y="1782"/>
                  </a:moveTo>
                  <a:lnTo>
                    <a:pt x="1350" y="1788"/>
                  </a:lnTo>
                  <a:lnTo>
                    <a:pt x="1266" y="1788"/>
                  </a:lnTo>
                  <a:lnTo>
                    <a:pt x="1260" y="1800"/>
                  </a:lnTo>
                  <a:lnTo>
                    <a:pt x="1242" y="1806"/>
                  </a:lnTo>
                  <a:lnTo>
                    <a:pt x="1218" y="1812"/>
                  </a:lnTo>
                  <a:lnTo>
                    <a:pt x="1182" y="1812"/>
                  </a:lnTo>
                  <a:lnTo>
                    <a:pt x="1158" y="1806"/>
                  </a:lnTo>
                  <a:lnTo>
                    <a:pt x="1134" y="1800"/>
                  </a:lnTo>
                  <a:lnTo>
                    <a:pt x="1134" y="1806"/>
                  </a:lnTo>
                  <a:lnTo>
                    <a:pt x="1134" y="1830"/>
                  </a:lnTo>
                  <a:lnTo>
                    <a:pt x="1128" y="1842"/>
                  </a:lnTo>
                  <a:lnTo>
                    <a:pt x="1128" y="1854"/>
                  </a:lnTo>
                  <a:lnTo>
                    <a:pt x="1128" y="1860"/>
                  </a:lnTo>
                  <a:lnTo>
                    <a:pt x="1128" y="1866"/>
                  </a:lnTo>
                  <a:lnTo>
                    <a:pt x="1128" y="1872"/>
                  </a:lnTo>
                  <a:lnTo>
                    <a:pt x="1128" y="1884"/>
                  </a:lnTo>
                  <a:lnTo>
                    <a:pt x="1128" y="1890"/>
                  </a:lnTo>
                  <a:lnTo>
                    <a:pt x="1128" y="1896"/>
                  </a:lnTo>
                  <a:lnTo>
                    <a:pt x="1122" y="1902"/>
                  </a:lnTo>
                  <a:lnTo>
                    <a:pt x="1122" y="1920"/>
                  </a:lnTo>
                  <a:lnTo>
                    <a:pt x="1116" y="1920"/>
                  </a:lnTo>
                  <a:lnTo>
                    <a:pt x="1110" y="1926"/>
                  </a:lnTo>
                  <a:lnTo>
                    <a:pt x="1110" y="1932"/>
                  </a:lnTo>
                  <a:lnTo>
                    <a:pt x="1104" y="1938"/>
                  </a:lnTo>
                  <a:lnTo>
                    <a:pt x="1086" y="1962"/>
                  </a:lnTo>
                  <a:lnTo>
                    <a:pt x="1074" y="1974"/>
                  </a:lnTo>
                  <a:lnTo>
                    <a:pt x="1074" y="1980"/>
                  </a:lnTo>
                  <a:lnTo>
                    <a:pt x="1068" y="1986"/>
                  </a:lnTo>
                  <a:lnTo>
                    <a:pt x="1062" y="1998"/>
                  </a:lnTo>
                  <a:lnTo>
                    <a:pt x="1062" y="2004"/>
                  </a:lnTo>
                  <a:lnTo>
                    <a:pt x="1068" y="2004"/>
                  </a:lnTo>
                  <a:lnTo>
                    <a:pt x="1056" y="2034"/>
                  </a:lnTo>
                  <a:lnTo>
                    <a:pt x="1050" y="2076"/>
                  </a:lnTo>
                  <a:lnTo>
                    <a:pt x="1056" y="2100"/>
                  </a:lnTo>
                  <a:lnTo>
                    <a:pt x="1038" y="2106"/>
                  </a:lnTo>
                  <a:lnTo>
                    <a:pt x="1002" y="2106"/>
                  </a:lnTo>
                  <a:lnTo>
                    <a:pt x="978" y="2094"/>
                  </a:lnTo>
                  <a:lnTo>
                    <a:pt x="972" y="2082"/>
                  </a:lnTo>
                  <a:lnTo>
                    <a:pt x="966" y="2070"/>
                  </a:lnTo>
                  <a:lnTo>
                    <a:pt x="954" y="2064"/>
                  </a:lnTo>
                  <a:lnTo>
                    <a:pt x="942" y="2058"/>
                  </a:lnTo>
                  <a:lnTo>
                    <a:pt x="936" y="2058"/>
                  </a:lnTo>
                  <a:lnTo>
                    <a:pt x="918" y="2046"/>
                  </a:lnTo>
                  <a:lnTo>
                    <a:pt x="906" y="2028"/>
                  </a:lnTo>
                  <a:lnTo>
                    <a:pt x="900" y="2022"/>
                  </a:lnTo>
                  <a:lnTo>
                    <a:pt x="894" y="2022"/>
                  </a:lnTo>
                  <a:lnTo>
                    <a:pt x="882" y="2022"/>
                  </a:lnTo>
                  <a:lnTo>
                    <a:pt x="870" y="2016"/>
                  </a:lnTo>
                  <a:lnTo>
                    <a:pt x="864" y="2016"/>
                  </a:lnTo>
                  <a:lnTo>
                    <a:pt x="852" y="2010"/>
                  </a:lnTo>
                  <a:lnTo>
                    <a:pt x="846" y="2004"/>
                  </a:lnTo>
                  <a:lnTo>
                    <a:pt x="840" y="2004"/>
                  </a:lnTo>
                  <a:lnTo>
                    <a:pt x="828" y="1998"/>
                  </a:lnTo>
                  <a:lnTo>
                    <a:pt x="816" y="1998"/>
                  </a:lnTo>
                  <a:lnTo>
                    <a:pt x="810" y="1998"/>
                  </a:lnTo>
                  <a:lnTo>
                    <a:pt x="804" y="1998"/>
                  </a:lnTo>
                  <a:lnTo>
                    <a:pt x="798" y="1998"/>
                  </a:lnTo>
                  <a:lnTo>
                    <a:pt x="792" y="2004"/>
                  </a:lnTo>
                  <a:lnTo>
                    <a:pt x="786" y="2010"/>
                  </a:lnTo>
                  <a:lnTo>
                    <a:pt x="762" y="2010"/>
                  </a:lnTo>
                  <a:lnTo>
                    <a:pt x="756" y="2010"/>
                  </a:lnTo>
                  <a:lnTo>
                    <a:pt x="744" y="2022"/>
                  </a:lnTo>
                  <a:lnTo>
                    <a:pt x="738" y="2034"/>
                  </a:lnTo>
                  <a:lnTo>
                    <a:pt x="732" y="2040"/>
                  </a:lnTo>
                  <a:lnTo>
                    <a:pt x="732" y="2046"/>
                  </a:lnTo>
                  <a:lnTo>
                    <a:pt x="726" y="2058"/>
                  </a:lnTo>
                  <a:lnTo>
                    <a:pt x="720" y="2064"/>
                  </a:lnTo>
                  <a:lnTo>
                    <a:pt x="714" y="2070"/>
                  </a:lnTo>
                  <a:lnTo>
                    <a:pt x="708" y="2088"/>
                  </a:lnTo>
                  <a:lnTo>
                    <a:pt x="702" y="2100"/>
                  </a:lnTo>
                  <a:lnTo>
                    <a:pt x="690" y="2100"/>
                  </a:lnTo>
                  <a:lnTo>
                    <a:pt x="684" y="2094"/>
                  </a:lnTo>
                  <a:lnTo>
                    <a:pt x="666" y="2100"/>
                  </a:lnTo>
                  <a:lnTo>
                    <a:pt x="636" y="2106"/>
                  </a:lnTo>
                  <a:lnTo>
                    <a:pt x="636" y="2112"/>
                  </a:lnTo>
                  <a:lnTo>
                    <a:pt x="636" y="2118"/>
                  </a:lnTo>
                  <a:lnTo>
                    <a:pt x="636" y="2124"/>
                  </a:lnTo>
                  <a:lnTo>
                    <a:pt x="630" y="2124"/>
                  </a:lnTo>
                  <a:lnTo>
                    <a:pt x="630" y="2148"/>
                  </a:lnTo>
                  <a:lnTo>
                    <a:pt x="612" y="2160"/>
                  </a:lnTo>
                  <a:lnTo>
                    <a:pt x="576" y="2172"/>
                  </a:lnTo>
                  <a:lnTo>
                    <a:pt x="546" y="2172"/>
                  </a:lnTo>
                  <a:lnTo>
                    <a:pt x="516" y="2172"/>
                  </a:lnTo>
                  <a:lnTo>
                    <a:pt x="486" y="2172"/>
                  </a:lnTo>
                  <a:lnTo>
                    <a:pt x="462" y="2172"/>
                  </a:lnTo>
                  <a:lnTo>
                    <a:pt x="444" y="2196"/>
                  </a:lnTo>
                  <a:lnTo>
                    <a:pt x="432" y="2232"/>
                  </a:lnTo>
                  <a:lnTo>
                    <a:pt x="408" y="2238"/>
                  </a:lnTo>
                  <a:lnTo>
                    <a:pt x="390" y="2256"/>
                  </a:lnTo>
                  <a:lnTo>
                    <a:pt x="372" y="2274"/>
                  </a:lnTo>
                  <a:lnTo>
                    <a:pt x="360" y="2274"/>
                  </a:lnTo>
                  <a:lnTo>
                    <a:pt x="336" y="2328"/>
                  </a:lnTo>
                  <a:lnTo>
                    <a:pt x="324" y="2340"/>
                  </a:lnTo>
                  <a:lnTo>
                    <a:pt x="300" y="2346"/>
                  </a:lnTo>
                  <a:lnTo>
                    <a:pt x="294" y="2352"/>
                  </a:lnTo>
                  <a:lnTo>
                    <a:pt x="288" y="2352"/>
                  </a:lnTo>
                  <a:lnTo>
                    <a:pt x="282" y="2352"/>
                  </a:lnTo>
                  <a:lnTo>
                    <a:pt x="276" y="2352"/>
                  </a:lnTo>
                  <a:lnTo>
                    <a:pt x="270" y="2352"/>
                  </a:lnTo>
                  <a:lnTo>
                    <a:pt x="270" y="2346"/>
                  </a:lnTo>
                  <a:lnTo>
                    <a:pt x="264" y="2346"/>
                  </a:lnTo>
                  <a:lnTo>
                    <a:pt x="258" y="2352"/>
                  </a:lnTo>
                  <a:lnTo>
                    <a:pt x="252" y="2352"/>
                  </a:lnTo>
                  <a:lnTo>
                    <a:pt x="240" y="2352"/>
                  </a:lnTo>
                  <a:lnTo>
                    <a:pt x="228" y="2352"/>
                  </a:lnTo>
                  <a:lnTo>
                    <a:pt x="222" y="2352"/>
                  </a:lnTo>
                  <a:lnTo>
                    <a:pt x="216" y="2358"/>
                  </a:lnTo>
                  <a:lnTo>
                    <a:pt x="216" y="2352"/>
                  </a:lnTo>
                  <a:lnTo>
                    <a:pt x="210" y="2346"/>
                  </a:lnTo>
                  <a:lnTo>
                    <a:pt x="204" y="2346"/>
                  </a:lnTo>
                  <a:lnTo>
                    <a:pt x="198" y="2340"/>
                  </a:lnTo>
                  <a:lnTo>
                    <a:pt x="192" y="2340"/>
                  </a:lnTo>
                  <a:lnTo>
                    <a:pt x="186" y="2340"/>
                  </a:lnTo>
                  <a:lnTo>
                    <a:pt x="180" y="2340"/>
                  </a:lnTo>
                  <a:lnTo>
                    <a:pt x="174" y="2340"/>
                  </a:lnTo>
                  <a:lnTo>
                    <a:pt x="162" y="2328"/>
                  </a:lnTo>
                  <a:lnTo>
                    <a:pt x="156" y="2322"/>
                  </a:lnTo>
                  <a:lnTo>
                    <a:pt x="156" y="2316"/>
                  </a:lnTo>
                  <a:lnTo>
                    <a:pt x="156" y="2310"/>
                  </a:lnTo>
                  <a:lnTo>
                    <a:pt x="132" y="2286"/>
                  </a:lnTo>
                  <a:lnTo>
                    <a:pt x="120" y="2280"/>
                  </a:lnTo>
                  <a:lnTo>
                    <a:pt x="96" y="2274"/>
                  </a:lnTo>
                  <a:lnTo>
                    <a:pt x="84" y="2268"/>
                  </a:lnTo>
                  <a:lnTo>
                    <a:pt x="78" y="2268"/>
                  </a:lnTo>
                  <a:lnTo>
                    <a:pt x="78" y="2262"/>
                  </a:lnTo>
                  <a:lnTo>
                    <a:pt x="78" y="2256"/>
                  </a:lnTo>
                  <a:lnTo>
                    <a:pt x="78" y="2250"/>
                  </a:lnTo>
                  <a:lnTo>
                    <a:pt x="72" y="2250"/>
                  </a:lnTo>
                  <a:lnTo>
                    <a:pt x="66" y="2250"/>
                  </a:lnTo>
                  <a:lnTo>
                    <a:pt x="60" y="2250"/>
                  </a:lnTo>
                  <a:lnTo>
                    <a:pt x="48" y="2244"/>
                  </a:lnTo>
                  <a:lnTo>
                    <a:pt x="36" y="2238"/>
                  </a:lnTo>
                  <a:lnTo>
                    <a:pt x="36" y="2226"/>
                  </a:lnTo>
                  <a:lnTo>
                    <a:pt x="30" y="2226"/>
                  </a:lnTo>
                  <a:lnTo>
                    <a:pt x="30" y="2220"/>
                  </a:lnTo>
                  <a:lnTo>
                    <a:pt x="24" y="2208"/>
                  </a:lnTo>
                  <a:lnTo>
                    <a:pt x="18" y="2202"/>
                  </a:lnTo>
                  <a:lnTo>
                    <a:pt x="18" y="2196"/>
                  </a:lnTo>
                  <a:lnTo>
                    <a:pt x="12" y="2190"/>
                  </a:lnTo>
                  <a:lnTo>
                    <a:pt x="0" y="2190"/>
                  </a:lnTo>
                  <a:lnTo>
                    <a:pt x="6" y="2184"/>
                  </a:lnTo>
                  <a:lnTo>
                    <a:pt x="12" y="2178"/>
                  </a:lnTo>
                  <a:lnTo>
                    <a:pt x="18" y="2172"/>
                  </a:lnTo>
                  <a:lnTo>
                    <a:pt x="24" y="2166"/>
                  </a:lnTo>
                  <a:lnTo>
                    <a:pt x="30" y="2166"/>
                  </a:lnTo>
                  <a:lnTo>
                    <a:pt x="24" y="2160"/>
                  </a:lnTo>
                  <a:lnTo>
                    <a:pt x="30" y="2160"/>
                  </a:lnTo>
                  <a:lnTo>
                    <a:pt x="36" y="2154"/>
                  </a:lnTo>
                  <a:lnTo>
                    <a:pt x="36" y="2136"/>
                  </a:lnTo>
                  <a:lnTo>
                    <a:pt x="36" y="2118"/>
                  </a:lnTo>
                  <a:lnTo>
                    <a:pt x="48" y="2058"/>
                  </a:lnTo>
                  <a:lnTo>
                    <a:pt x="48" y="2022"/>
                  </a:lnTo>
                  <a:lnTo>
                    <a:pt x="48" y="2016"/>
                  </a:lnTo>
                  <a:lnTo>
                    <a:pt x="48" y="2010"/>
                  </a:lnTo>
                  <a:lnTo>
                    <a:pt x="48" y="2004"/>
                  </a:lnTo>
                  <a:lnTo>
                    <a:pt x="42" y="2004"/>
                  </a:lnTo>
                  <a:lnTo>
                    <a:pt x="42" y="1998"/>
                  </a:lnTo>
                  <a:lnTo>
                    <a:pt x="36" y="1992"/>
                  </a:lnTo>
                  <a:lnTo>
                    <a:pt x="42" y="1992"/>
                  </a:lnTo>
                  <a:lnTo>
                    <a:pt x="42" y="1986"/>
                  </a:lnTo>
                  <a:lnTo>
                    <a:pt x="48" y="1986"/>
                  </a:lnTo>
                  <a:lnTo>
                    <a:pt x="54" y="1986"/>
                  </a:lnTo>
                  <a:lnTo>
                    <a:pt x="60" y="1986"/>
                  </a:lnTo>
                  <a:lnTo>
                    <a:pt x="66" y="1980"/>
                  </a:lnTo>
                  <a:lnTo>
                    <a:pt x="72" y="1974"/>
                  </a:lnTo>
                  <a:lnTo>
                    <a:pt x="78" y="1974"/>
                  </a:lnTo>
                  <a:lnTo>
                    <a:pt x="84" y="1974"/>
                  </a:lnTo>
                  <a:lnTo>
                    <a:pt x="90" y="1974"/>
                  </a:lnTo>
                  <a:lnTo>
                    <a:pt x="96" y="1974"/>
                  </a:lnTo>
                  <a:lnTo>
                    <a:pt x="96" y="1968"/>
                  </a:lnTo>
                  <a:lnTo>
                    <a:pt x="102" y="1968"/>
                  </a:lnTo>
                  <a:lnTo>
                    <a:pt x="102" y="1962"/>
                  </a:lnTo>
                  <a:lnTo>
                    <a:pt x="108" y="1962"/>
                  </a:lnTo>
                  <a:lnTo>
                    <a:pt x="114" y="1956"/>
                  </a:lnTo>
                  <a:lnTo>
                    <a:pt x="120" y="1956"/>
                  </a:lnTo>
                  <a:lnTo>
                    <a:pt x="126" y="1950"/>
                  </a:lnTo>
                  <a:lnTo>
                    <a:pt x="132" y="1950"/>
                  </a:lnTo>
                  <a:lnTo>
                    <a:pt x="132" y="1944"/>
                  </a:lnTo>
                  <a:lnTo>
                    <a:pt x="126" y="1944"/>
                  </a:lnTo>
                  <a:lnTo>
                    <a:pt x="126" y="1938"/>
                  </a:lnTo>
                  <a:lnTo>
                    <a:pt x="126" y="1932"/>
                  </a:lnTo>
                  <a:lnTo>
                    <a:pt x="126" y="1926"/>
                  </a:lnTo>
                  <a:lnTo>
                    <a:pt x="114" y="1914"/>
                  </a:lnTo>
                  <a:lnTo>
                    <a:pt x="114" y="1896"/>
                  </a:lnTo>
                  <a:lnTo>
                    <a:pt x="108" y="1884"/>
                  </a:lnTo>
                  <a:lnTo>
                    <a:pt x="102" y="1872"/>
                  </a:lnTo>
                  <a:lnTo>
                    <a:pt x="96" y="1866"/>
                  </a:lnTo>
                  <a:lnTo>
                    <a:pt x="96" y="1860"/>
                  </a:lnTo>
                  <a:lnTo>
                    <a:pt x="90" y="1860"/>
                  </a:lnTo>
                  <a:lnTo>
                    <a:pt x="90" y="1854"/>
                  </a:lnTo>
                  <a:lnTo>
                    <a:pt x="84" y="1848"/>
                  </a:lnTo>
                  <a:lnTo>
                    <a:pt x="78" y="1842"/>
                  </a:lnTo>
                  <a:lnTo>
                    <a:pt x="72" y="1836"/>
                  </a:lnTo>
                  <a:lnTo>
                    <a:pt x="66" y="1830"/>
                  </a:lnTo>
                  <a:lnTo>
                    <a:pt x="60" y="1824"/>
                  </a:lnTo>
                  <a:lnTo>
                    <a:pt x="54" y="1824"/>
                  </a:lnTo>
                  <a:lnTo>
                    <a:pt x="48" y="1824"/>
                  </a:lnTo>
                  <a:lnTo>
                    <a:pt x="42" y="1818"/>
                  </a:lnTo>
                  <a:lnTo>
                    <a:pt x="54" y="1818"/>
                  </a:lnTo>
                  <a:lnTo>
                    <a:pt x="60" y="1812"/>
                  </a:lnTo>
                  <a:lnTo>
                    <a:pt x="66" y="1812"/>
                  </a:lnTo>
                  <a:lnTo>
                    <a:pt x="72" y="1812"/>
                  </a:lnTo>
                  <a:lnTo>
                    <a:pt x="78" y="1812"/>
                  </a:lnTo>
                  <a:lnTo>
                    <a:pt x="84" y="1812"/>
                  </a:lnTo>
                  <a:lnTo>
                    <a:pt x="90" y="1806"/>
                  </a:lnTo>
                  <a:lnTo>
                    <a:pt x="96" y="1800"/>
                  </a:lnTo>
                  <a:lnTo>
                    <a:pt x="102" y="1806"/>
                  </a:lnTo>
                  <a:lnTo>
                    <a:pt x="108" y="1800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26" y="1788"/>
                  </a:lnTo>
                  <a:lnTo>
                    <a:pt x="126" y="1794"/>
                  </a:lnTo>
                  <a:lnTo>
                    <a:pt x="132" y="1794"/>
                  </a:lnTo>
                  <a:lnTo>
                    <a:pt x="132" y="1788"/>
                  </a:lnTo>
                  <a:lnTo>
                    <a:pt x="138" y="1788"/>
                  </a:lnTo>
                  <a:lnTo>
                    <a:pt x="138" y="1782"/>
                  </a:lnTo>
                  <a:lnTo>
                    <a:pt x="144" y="1782"/>
                  </a:lnTo>
                  <a:lnTo>
                    <a:pt x="150" y="1776"/>
                  </a:lnTo>
                  <a:lnTo>
                    <a:pt x="156" y="1782"/>
                  </a:lnTo>
                  <a:lnTo>
                    <a:pt x="162" y="1776"/>
                  </a:lnTo>
                  <a:lnTo>
                    <a:pt x="168" y="1776"/>
                  </a:lnTo>
                  <a:lnTo>
                    <a:pt x="180" y="1776"/>
                  </a:lnTo>
                  <a:lnTo>
                    <a:pt x="186" y="1776"/>
                  </a:lnTo>
                  <a:lnTo>
                    <a:pt x="186" y="1782"/>
                  </a:lnTo>
                  <a:lnTo>
                    <a:pt x="192" y="1776"/>
                  </a:lnTo>
                  <a:lnTo>
                    <a:pt x="198" y="1776"/>
                  </a:lnTo>
                  <a:lnTo>
                    <a:pt x="204" y="1770"/>
                  </a:lnTo>
                  <a:lnTo>
                    <a:pt x="204" y="1764"/>
                  </a:lnTo>
                  <a:lnTo>
                    <a:pt x="210" y="1764"/>
                  </a:lnTo>
                  <a:lnTo>
                    <a:pt x="216" y="1764"/>
                  </a:lnTo>
                  <a:lnTo>
                    <a:pt x="216" y="1758"/>
                  </a:lnTo>
                  <a:lnTo>
                    <a:pt x="222" y="1758"/>
                  </a:lnTo>
                  <a:lnTo>
                    <a:pt x="228" y="1758"/>
                  </a:lnTo>
                  <a:lnTo>
                    <a:pt x="258" y="1746"/>
                  </a:lnTo>
                  <a:lnTo>
                    <a:pt x="282" y="1716"/>
                  </a:lnTo>
                  <a:lnTo>
                    <a:pt x="300" y="1698"/>
                  </a:lnTo>
                  <a:lnTo>
                    <a:pt x="312" y="1698"/>
                  </a:lnTo>
                  <a:lnTo>
                    <a:pt x="336" y="1698"/>
                  </a:lnTo>
                  <a:lnTo>
                    <a:pt x="360" y="1698"/>
                  </a:lnTo>
                  <a:lnTo>
                    <a:pt x="372" y="1692"/>
                  </a:lnTo>
                  <a:lnTo>
                    <a:pt x="384" y="1692"/>
                  </a:lnTo>
                  <a:lnTo>
                    <a:pt x="360" y="1668"/>
                  </a:lnTo>
                  <a:lnTo>
                    <a:pt x="348" y="1626"/>
                  </a:lnTo>
                  <a:lnTo>
                    <a:pt x="354" y="1578"/>
                  </a:lnTo>
                  <a:lnTo>
                    <a:pt x="354" y="1572"/>
                  </a:lnTo>
                  <a:lnTo>
                    <a:pt x="360" y="1572"/>
                  </a:lnTo>
                  <a:lnTo>
                    <a:pt x="396" y="1530"/>
                  </a:lnTo>
                  <a:lnTo>
                    <a:pt x="408" y="1482"/>
                  </a:lnTo>
                  <a:lnTo>
                    <a:pt x="438" y="1458"/>
                  </a:lnTo>
                  <a:lnTo>
                    <a:pt x="468" y="1422"/>
                  </a:lnTo>
                  <a:lnTo>
                    <a:pt x="480" y="1410"/>
                  </a:lnTo>
                  <a:lnTo>
                    <a:pt x="474" y="1386"/>
                  </a:lnTo>
                  <a:lnTo>
                    <a:pt x="456" y="1356"/>
                  </a:lnTo>
                  <a:lnTo>
                    <a:pt x="438" y="1350"/>
                  </a:lnTo>
                  <a:lnTo>
                    <a:pt x="420" y="1350"/>
                  </a:lnTo>
                  <a:lnTo>
                    <a:pt x="402" y="1350"/>
                  </a:lnTo>
                  <a:lnTo>
                    <a:pt x="390" y="1344"/>
                  </a:lnTo>
                  <a:lnTo>
                    <a:pt x="390" y="1332"/>
                  </a:lnTo>
                  <a:lnTo>
                    <a:pt x="402" y="1296"/>
                  </a:lnTo>
                  <a:lnTo>
                    <a:pt x="414" y="1260"/>
                  </a:lnTo>
                  <a:lnTo>
                    <a:pt x="426" y="1248"/>
                  </a:lnTo>
                  <a:lnTo>
                    <a:pt x="438" y="1242"/>
                  </a:lnTo>
                  <a:lnTo>
                    <a:pt x="432" y="1230"/>
                  </a:lnTo>
                  <a:lnTo>
                    <a:pt x="432" y="1224"/>
                  </a:lnTo>
                  <a:lnTo>
                    <a:pt x="426" y="1218"/>
                  </a:lnTo>
                  <a:lnTo>
                    <a:pt x="426" y="1206"/>
                  </a:lnTo>
                  <a:lnTo>
                    <a:pt x="426" y="1200"/>
                  </a:lnTo>
                  <a:lnTo>
                    <a:pt x="432" y="1194"/>
                  </a:lnTo>
                  <a:lnTo>
                    <a:pt x="426" y="1188"/>
                  </a:lnTo>
                  <a:lnTo>
                    <a:pt x="432" y="1104"/>
                  </a:lnTo>
                  <a:lnTo>
                    <a:pt x="438" y="1086"/>
                  </a:lnTo>
                  <a:lnTo>
                    <a:pt x="462" y="972"/>
                  </a:lnTo>
                  <a:lnTo>
                    <a:pt x="456" y="900"/>
                  </a:lnTo>
                  <a:lnTo>
                    <a:pt x="444" y="846"/>
                  </a:lnTo>
                  <a:lnTo>
                    <a:pt x="456" y="810"/>
                  </a:lnTo>
                  <a:lnTo>
                    <a:pt x="492" y="786"/>
                  </a:lnTo>
                  <a:lnTo>
                    <a:pt x="522" y="762"/>
                  </a:lnTo>
                  <a:lnTo>
                    <a:pt x="546" y="732"/>
                  </a:lnTo>
                  <a:lnTo>
                    <a:pt x="570" y="696"/>
                  </a:lnTo>
                  <a:lnTo>
                    <a:pt x="582" y="654"/>
                  </a:lnTo>
                  <a:lnTo>
                    <a:pt x="564" y="642"/>
                  </a:lnTo>
                  <a:lnTo>
                    <a:pt x="522" y="588"/>
                  </a:lnTo>
                  <a:lnTo>
                    <a:pt x="516" y="546"/>
                  </a:lnTo>
                  <a:lnTo>
                    <a:pt x="510" y="474"/>
                  </a:lnTo>
                  <a:lnTo>
                    <a:pt x="510" y="450"/>
                  </a:lnTo>
                  <a:lnTo>
                    <a:pt x="510" y="444"/>
                  </a:lnTo>
                  <a:lnTo>
                    <a:pt x="522" y="438"/>
                  </a:lnTo>
                  <a:lnTo>
                    <a:pt x="522" y="432"/>
                  </a:lnTo>
                  <a:lnTo>
                    <a:pt x="528" y="426"/>
                  </a:lnTo>
                  <a:lnTo>
                    <a:pt x="534" y="420"/>
                  </a:lnTo>
                  <a:lnTo>
                    <a:pt x="540" y="414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08"/>
                  </a:lnTo>
                  <a:lnTo>
                    <a:pt x="546" y="408"/>
                  </a:lnTo>
                  <a:lnTo>
                    <a:pt x="558" y="414"/>
                  </a:lnTo>
                  <a:lnTo>
                    <a:pt x="564" y="414"/>
                  </a:lnTo>
                  <a:lnTo>
                    <a:pt x="570" y="414"/>
                  </a:lnTo>
                  <a:lnTo>
                    <a:pt x="582" y="414"/>
                  </a:lnTo>
                  <a:lnTo>
                    <a:pt x="582" y="420"/>
                  </a:lnTo>
                  <a:lnTo>
                    <a:pt x="588" y="414"/>
                  </a:lnTo>
                  <a:lnTo>
                    <a:pt x="582" y="408"/>
                  </a:lnTo>
                  <a:lnTo>
                    <a:pt x="588" y="402"/>
                  </a:lnTo>
                  <a:lnTo>
                    <a:pt x="594" y="402"/>
                  </a:lnTo>
                  <a:lnTo>
                    <a:pt x="594" y="396"/>
                  </a:lnTo>
                  <a:lnTo>
                    <a:pt x="594" y="390"/>
                  </a:lnTo>
                  <a:lnTo>
                    <a:pt x="594" y="384"/>
                  </a:lnTo>
                  <a:lnTo>
                    <a:pt x="594" y="378"/>
                  </a:lnTo>
                  <a:lnTo>
                    <a:pt x="600" y="366"/>
                  </a:lnTo>
                  <a:lnTo>
                    <a:pt x="606" y="366"/>
                  </a:lnTo>
                  <a:lnTo>
                    <a:pt x="612" y="360"/>
                  </a:lnTo>
                  <a:lnTo>
                    <a:pt x="612" y="366"/>
                  </a:lnTo>
                  <a:lnTo>
                    <a:pt x="618" y="366"/>
                  </a:lnTo>
                  <a:lnTo>
                    <a:pt x="624" y="366"/>
                  </a:lnTo>
                  <a:lnTo>
                    <a:pt x="630" y="360"/>
                  </a:lnTo>
                  <a:lnTo>
                    <a:pt x="636" y="354"/>
                  </a:lnTo>
                  <a:lnTo>
                    <a:pt x="630" y="354"/>
                  </a:lnTo>
                  <a:lnTo>
                    <a:pt x="630" y="348"/>
                  </a:lnTo>
                  <a:lnTo>
                    <a:pt x="630" y="342"/>
                  </a:lnTo>
                  <a:lnTo>
                    <a:pt x="636" y="342"/>
                  </a:lnTo>
                  <a:lnTo>
                    <a:pt x="642" y="336"/>
                  </a:lnTo>
                  <a:lnTo>
                    <a:pt x="636" y="330"/>
                  </a:lnTo>
                  <a:lnTo>
                    <a:pt x="630" y="336"/>
                  </a:lnTo>
                  <a:lnTo>
                    <a:pt x="624" y="336"/>
                  </a:lnTo>
                  <a:lnTo>
                    <a:pt x="624" y="330"/>
                  </a:lnTo>
                  <a:lnTo>
                    <a:pt x="624" y="324"/>
                  </a:lnTo>
                  <a:lnTo>
                    <a:pt x="618" y="324"/>
                  </a:lnTo>
                  <a:lnTo>
                    <a:pt x="624" y="324"/>
                  </a:lnTo>
                  <a:lnTo>
                    <a:pt x="630" y="330"/>
                  </a:lnTo>
                  <a:lnTo>
                    <a:pt x="630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2" y="306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8" y="288"/>
                  </a:lnTo>
                  <a:lnTo>
                    <a:pt x="648" y="282"/>
                  </a:lnTo>
                  <a:lnTo>
                    <a:pt x="654" y="288"/>
                  </a:lnTo>
                  <a:lnTo>
                    <a:pt x="654" y="282"/>
                  </a:lnTo>
                  <a:lnTo>
                    <a:pt x="660" y="282"/>
                  </a:lnTo>
                  <a:lnTo>
                    <a:pt x="666" y="282"/>
                  </a:lnTo>
                  <a:lnTo>
                    <a:pt x="672" y="282"/>
                  </a:lnTo>
                  <a:lnTo>
                    <a:pt x="678" y="282"/>
                  </a:lnTo>
                  <a:lnTo>
                    <a:pt x="684" y="276"/>
                  </a:lnTo>
                  <a:lnTo>
                    <a:pt x="690" y="270"/>
                  </a:lnTo>
                  <a:lnTo>
                    <a:pt x="690" y="264"/>
                  </a:lnTo>
                  <a:lnTo>
                    <a:pt x="690" y="270"/>
                  </a:lnTo>
                  <a:lnTo>
                    <a:pt x="690" y="276"/>
                  </a:lnTo>
                  <a:lnTo>
                    <a:pt x="696" y="276"/>
                  </a:lnTo>
                  <a:lnTo>
                    <a:pt x="702" y="276"/>
                  </a:lnTo>
                  <a:lnTo>
                    <a:pt x="702" y="282"/>
                  </a:lnTo>
                  <a:lnTo>
                    <a:pt x="708" y="282"/>
                  </a:lnTo>
                  <a:lnTo>
                    <a:pt x="720" y="270"/>
                  </a:lnTo>
                  <a:lnTo>
                    <a:pt x="720" y="264"/>
                  </a:lnTo>
                  <a:lnTo>
                    <a:pt x="720" y="258"/>
                  </a:lnTo>
                  <a:lnTo>
                    <a:pt x="726" y="258"/>
                  </a:lnTo>
                  <a:lnTo>
                    <a:pt x="732" y="258"/>
                  </a:lnTo>
                  <a:lnTo>
                    <a:pt x="732" y="264"/>
                  </a:lnTo>
                  <a:lnTo>
                    <a:pt x="738" y="264"/>
                  </a:lnTo>
                  <a:lnTo>
                    <a:pt x="738" y="258"/>
                  </a:lnTo>
                  <a:lnTo>
                    <a:pt x="732" y="258"/>
                  </a:lnTo>
                  <a:lnTo>
                    <a:pt x="732" y="252"/>
                  </a:lnTo>
                  <a:lnTo>
                    <a:pt x="744" y="252"/>
                  </a:lnTo>
                  <a:lnTo>
                    <a:pt x="750" y="252"/>
                  </a:lnTo>
                  <a:lnTo>
                    <a:pt x="750" y="246"/>
                  </a:lnTo>
                  <a:lnTo>
                    <a:pt x="750" y="240"/>
                  </a:lnTo>
                  <a:lnTo>
                    <a:pt x="762" y="234"/>
                  </a:lnTo>
                  <a:lnTo>
                    <a:pt x="768" y="234"/>
                  </a:lnTo>
                  <a:lnTo>
                    <a:pt x="774" y="234"/>
                  </a:lnTo>
                  <a:lnTo>
                    <a:pt x="780" y="228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16"/>
                  </a:lnTo>
                  <a:lnTo>
                    <a:pt x="792" y="210"/>
                  </a:lnTo>
                  <a:lnTo>
                    <a:pt x="804" y="204"/>
                  </a:lnTo>
                  <a:lnTo>
                    <a:pt x="804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0" y="192"/>
                  </a:lnTo>
                  <a:lnTo>
                    <a:pt x="798" y="186"/>
                  </a:lnTo>
                  <a:lnTo>
                    <a:pt x="810" y="186"/>
                  </a:lnTo>
                  <a:lnTo>
                    <a:pt x="810" y="180"/>
                  </a:lnTo>
                  <a:lnTo>
                    <a:pt x="810" y="186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0" y="180"/>
                  </a:lnTo>
                  <a:lnTo>
                    <a:pt x="816" y="174"/>
                  </a:lnTo>
                  <a:lnTo>
                    <a:pt x="822" y="174"/>
                  </a:lnTo>
                  <a:lnTo>
                    <a:pt x="822" y="180"/>
                  </a:lnTo>
                  <a:lnTo>
                    <a:pt x="828" y="180"/>
                  </a:lnTo>
                  <a:lnTo>
                    <a:pt x="828" y="174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62"/>
                  </a:lnTo>
                  <a:lnTo>
                    <a:pt x="828" y="156"/>
                  </a:lnTo>
                  <a:lnTo>
                    <a:pt x="822" y="156"/>
                  </a:lnTo>
                  <a:lnTo>
                    <a:pt x="828" y="156"/>
                  </a:lnTo>
                  <a:lnTo>
                    <a:pt x="828" y="150"/>
                  </a:lnTo>
                  <a:lnTo>
                    <a:pt x="834" y="150"/>
                  </a:lnTo>
                  <a:lnTo>
                    <a:pt x="840" y="156"/>
                  </a:lnTo>
                  <a:lnTo>
                    <a:pt x="840" y="150"/>
                  </a:lnTo>
                  <a:lnTo>
                    <a:pt x="834" y="150"/>
                  </a:lnTo>
                  <a:lnTo>
                    <a:pt x="834" y="144"/>
                  </a:lnTo>
                  <a:lnTo>
                    <a:pt x="840" y="138"/>
                  </a:lnTo>
                  <a:lnTo>
                    <a:pt x="846" y="144"/>
                  </a:lnTo>
                  <a:lnTo>
                    <a:pt x="846" y="150"/>
                  </a:lnTo>
                  <a:lnTo>
                    <a:pt x="852" y="150"/>
                  </a:lnTo>
                  <a:lnTo>
                    <a:pt x="858" y="150"/>
                  </a:lnTo>
                  <a:lnTo>
                    <a:pt x="870" y="150"/>
                  </a:lnTo>
                  <a:lnTo>
                    <a:pt x="870" y="144"/>
                  </a:lnTo>
                  <a:lnTo>
                    <a:pt x="876" y="138"/>
                  </a:lnTo>
                  <a:lnTo>
                    <a:pt x="882" y="138"/>
                  </a:lnTo>
                  <a:lnTo>
                    <a:pt x="888" y="132"/>
                  </a:lnTo>
                  <a:lnTo>
                    <a:pt x="888" y="138"/>
                  </a:lnTo>
                  <a:lnTo>
                    <a:pt x="894" y="138"/>
                  </a:lnTo>
                  <a:lnTo>
                    <a:pt x="894" y="132"/>
                  </a:lnTo>
                  <a:lnTo>
                    <a:pt x="900" y="126"/>
                  </a:lnTo>
                  <a:lnTo>
                    <a:pt x="900" y="132"/>
                  </a:lnTo>
                  <a:lnTo>
                    <a:pt x="906" y="132"/>
                  </a:lnTo>
                  <a:lnTo>
                    <a:pt x="912" y="132"/>
                  </a:lnTo>
                  <a:lnTo>
                    <a:pt x="918" y="126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24" y="126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8" y="120"/>
                  </a:lnTo>
                  <a:lnTo>
                    <a:pt x="948" y="114"/>
                  </a:lnTo>
                  <a:lnTo>
                    <a:pt x="948" y="108"/>
                  </a:lnTo>
                  <a:lnTo>
                    <a:pt x="954" y="114"/>
                  </a:lnTo>
                  <a:lnTo>
                    <a:pt x="960" y="108"/>
                  </a:lnTo>
                  <a:lnTo>
                    <a:pt x="966" y="108"/>
                  </a:lnTo>
                  <a:lnTo>
                    <a:pt x="972" y="108"/>
                  </a:lnTo>
                  <a:lnTo>
                    <a:pt x="966" y="114"/>
                  </a:lnTo>
                  <a:lnTo>
                    <a:pt x="960" y="114"/>
                  </a:lnTo>
                  <a:lnTo>
                    <a:pt x="960" y="120"/>
                  </a:lnTo>
                  <a:lnTo>
                    <a:pt x="966" y="126"/>
                  </a:lnTo>
                  <a:lnTo>
                    <a:pt x="972" y="126"/>
                  </a:lnTo>
                  <a:lnTo>
                    <a:pt x="978" y="126"/>
                  </a:lnTo>
                  <a:lnTo>
                    <a:pt x="984" y="120"/>
                  </a:lnTo>
                  <a:lnTo>
                    <a:pt x="984" y="114"/>
                  </a:lnTo>
                  <a:lnTo>
                    <a:pt x="996" y="126"/>
                  </a:lnTo>
                  <a:lnTo>
                    <a:pt x="996" y="120"/>
                  </a:lnTo>
                  <a:lnTo>
                    <a:pt x="1002" y="120"/>
                  </a:lnTo>
                  <a:lnTo>
                    <a:pt x="996" y="114"/>
                  </a:lnTo>
                  <a:lnTo>
                    <a:pt x="1002" y="114"/>
                  </a:lnTo>
                  <a:lnTo>
                    <a:pt x="1008" y="114"/>
                  </a:lnTo>
                  <a:lnTo>
                    <a:pt x="1008" y="108"/>
                  </a:lnTo>
                  <a:lnTo>
                    <a:pt x="1014" y="108"/>
                  </a:lnTo>
                  <a:lnTo>
                    <a:pt x="1008" y="114"/>
                  </a:lnTo>
                  <a:lnTo>
                    <a:pt x="1008" y="120"/>
                  </a:lnTo>
                  <a:lnTo>
                    <a:pt x="1008" y="126"/>
                  </a:lnTo>
                  <a:lnTo>
                    <a:pt x="1014" y="126"/>
                  </a:lnTo>
                  <a:lnTo>
                    <a:pt x="1014" y="132"/>
                  </a:lnTo>
                  <a:lnTo>
                    <a:pt x="1020" y="132"/>
                  </a:lnTo>
                  <a:lnTo>
                    <a:pt x="1020" y="126"/>
                  </a:lnTo>
                  <a:lnTo>
                    <a:pt x="1020" y="120"/>
                  </a:lnTo>
                  <a:lnTo>
                    <a:pt x="1032" y="120"/>
                  </a:lnTo>
                  <a:lnTo>
                    <a:pt x="1038" y="120"/>
                  </a:lnTo>
                  <a:lnTo>
                    <a:pt x="1038" y="126"/>
                  </a:lnTo>
                  <a:lnTo>
                    <a:pt x="1044" y="132"/>
                  </a:lnTo>
                  <a:lnTo>
                    <a:pt x="1044" y="126"/>
                  </a:lnTo>
                  <a:lnTo>
                    <a:pt x="1050" y="120"/>
                  </a:lnTo>
                  <a:lnTo>
                    <a:pt x="1050" y="114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68" y="102"/>
                  </a:lnTo>
                  <a:lnTo>
                    <a:pt x="1074" y="96"/>
                  </a:lnTo>
                  <a:lnTo>
                    <a:pt x="1074" y="90"/>
                  </a:lnTo>
                  <a:lnTo>
                    <a:pt x="1068" y="90"/>
                  </a:lnTo>
                  <a:lnTo>
                    <a:pt x="1068" y="84"/>
                  </a:lnTo>
                  <a:lnTo>
                    <a:pt x="1080" y="84"/>
                  </a:lnTo>
                  <a:lnTo>
                    <a:pt x="1086" y="78"/>
                  </a:lnTo>
                  <a:lnTo>
                    <a:pt x="1086" y="72"/>
                  </a:lnTo>
                  <a:lnTo>
                    <a:pt x="1080" y="78"/>
                  </a:lnTo>
                  <a:lnTo>
                    <a:pt x="1080" y="72"/>
                  </a:lnTo>
                  <a:lnTo>
                    <a:pt x="1080" y="66"/>
                  </a:lnTo>
                  <a:lnTo>
                    <a:pt x="1074" y="66"/>
                  </a:lnTo>
                  <a:lnTo>
                    <a:pt x="1080" y="66"/>
                  </a:lnTo>
                  <a:lnTo>
                    <a:pt x="1080" y="60"/>
                  </a:lnTo>
                  <a:lnTo>
                    <a:pt x="1086" y="60"/>
                  </a:lnTo>
                  <a:lnTo>
                    <a:pt x="1086" y="54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2" y="42"/>
                  </a:lnTo>
                  <a:lnTo>
                    <a:pt x="1098" y="42"/>
                  </a:lnTo>
                  <a:lnTo>
                    <a:pt x="1104" y="36"/>
                  </a:lnTo>
                  <a:lnTo>
                    <a:pt x="1110" y="36"/>
                  </a:lnTo>
                  <a:lnTo>
                    <a:pt x="1110" y="30"/>
                  </a:lnTo>
                  <a:lnTo>
                    <a:pt x="1110" y="24"/>
                  </a:lnTo>
                  <a:lnTo>
                    <a:pt x="1116" y="24"/>
                  </a:lnTo>
                  <a:lnTo>
                    <a:pt x="1116" y="18"/>
                  </a:lnTo>
                  <a:lnTo>
                    <a:pt x="1122" y="18"/>
                  </a:lnTo>
                  <a:lnTo>
                    <a:pt x="1128" y="18"/>
                  </a:lnTo>
                  <a:lnTo>
                    <a:pt x="1134" y="12"/>
                  </a:lnTo>
                  <a:lnTo>
                    <a:pt x="1134" y="6"/>
                  </a:lnTo>
                  <a:lnTo>
                    <a:pt x="1140" y="6"/>
                  </a:lnTo>
                  <a:lnTo>
                    <a:pt x="1146" y="0"/>
                  </a:lnTo>
                  <a:lnTo>
                    <a:pt x="1152" y="0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70" y="0"/>
                  </a:lnTo>
                  <a:lnTo>
                    <a:pt x="1176" y="6"/>
                  </a:lnTo>
                  <a:lnTo>
                    <a:pt x="1182" y="6"/>
                  </a:lnTo>
                  <a:lnTo>
                    <a:pt x="1194" y="6"/>
                  </a:lnTo>
                  <a:lnTo>
                    <a:pt x="1200" y="6"/>
                  </a:lnTo>
                  <a:lnTo>
                    <a:pt x="1212" y="0"/>
                  </a:lnTo>
                  <a:lnTo>
                    <a:pt x="1212" y="6"/>
                  </a:lnTo>
                  <a:lnTo>
                    <a:pt x="1218" y="6"/>
                  </a:lnTo>
                  <a:lnTo>
                    <a:pt x="1266" y="6"/>
                  </a:lnTo>
                  <a:lnTo>
                    <a:pt x="1272" y="0"/>
                  </a:lnTo>
                  <a:lnTo>
                    <a:pt x="1278" y="6"/>
                  </a:lnTo>
                  <a:lnTo>
                    <a:pt x="1290" y="6"/>
                  </a:lnTo>
                  <a:lnTo>
                    <a:pt x="1296" y="6"/>
                  </a:lnTo>
                  <a:lnTo>
                    <a:pt x="1308" y="6"/>
                  </a:lnTo>
                  <a:lnTo>
                    <a:pt x="1314" y="6"/>
                  </a:lnTo>
                  <a:lnTo>
                    <a:pt x="1320" y="6"/>
                  </a:lnTo>
                  <a:lnTo>
                    <a:pt x="1326" y="12"/>
                  </a:lnTo>
                  <a:lnTo>
                    <a:pt x="1338" y="30"/>
                  </a:lnTo>
                  <a:lnTo>
                    <a:pt x="1344" y="36"/>
                  </a:lnTo>
                  <a:lnTo>
                    <a:pt x="1356" y="48"/>
                  </a:lnTo>
                  <a:lnTo>
                    <a:pt x="1362" y="60"/>
                  </a:lnTo>
                  <a:lnTo>
                    <a:pt x="1368" y="66"/>
                  </a:lnTo>
                  <a:lnTo>
                    <a:pt x="1374" y="72"/>
                  </a:lnTo>
                  <a:lnTo>
                    <a:pt x="1374" y="78"/>
                  </a:lnTo>
                  <a:lnTo>
                    <a:pt x="1398" y="108"/>
                  </a:lnTo>
                  <a:lnTo>
                    <a:pt x="1398" y="114"/>
                  </a:lnTo>
                  <a:lnTo>
                    <a:pt x="1404" y="114"/>
                  </a:lnTo>
                  <a:lnTo>
                    <a:pt x="1404" y="120"/>
                  </a:lnTo>
                  <a:lnTo>
                    <a:pt x="1410" y="132"/>
                  </a:lnTo>
                  <a:lnTo>
                    <a:pt x="1416" y="132"/>
                  </a:lnTo>
                  <a:lnTo>
                    <a:pt x="1416" y="138"/>
                  </a:lnTo>
                  <a:lnTo>
                    <a:pt x="1422" y="144"/>
                  </a:lnTo>
                  <a:lnTo>
                    <a:pt x="1428" y="150"/>
                  </a:lnTo>
                  <a:lnTo>
                    <a:pt x="1428" y="156"/>
                  </a:lnTo>
                  <a:lnTo>
                    <a:pt x="1458" y="192"/>
                  </a:lnTo>
                  <a:lnTo>
                    <a:pt x="1458" y="198"/>
                  </a:lnTo>
                  <a:lnTo>
                    <a:pt x="1464" y="204"/>
                  </a:lnTo>
                  <a:lnTo>
                    <a:pt x="1470" y="210"/>
                  </a:lnTo>
                  <a:lnTo>
                    <a:pt x="1476" y="216"/>
                  </a:lnTo>
                  <a:lnTo>
                    <a:pt x="1482" y="228"/>
                  </a:lnTo>
                  <a:lnTo>
                    <a:pt x="1488" y="234"/>
                  </a:lnTo>
                  <a:lnTo>
                    <a:pt x="1512" y="270"/>
                  </a:lnTo>
                  <a:lnTo>
                    <a:pt x="1512" y="276"/>
                  </a:lnTo>
                  <a:lnTo>
                    <a:pt x="1530" y="300"/>
                  </a:lnTo>
                  <a:lnTo>
                    <a:pt x="1536" y="306"/>
                  </a:lnTo>
                  <a:lnTo>
                    <a:pt x="1542" y="312"/>
                  </a:lnTo>
                  <a:lnTo>
                    <a:pt x="1542" y="318"/>
                  </a:lnTo>
                  <a:lnTo>
                    <a:pt x="1560" y="336"/>
                  </a:lnTo>
                  <a:lnTo>
                    <a:pt x="1566" y="348"/>
                  </a:lnTo>
                  <a:lnTo>
                    <a:pt x="1572" y="354"/>
                  </a:lnTo>
                  <a:lnTo>
                    <a:pt x="1578" y="360"/>
                  </a:lnTo>
                  <a:lnTo>
                    <a:pt x="1584" y="378"/>
                  </a:lnTo>
                  <a:lnTo>
                    <a:pt x="1590" y="378"/>
                  </a:lnTo>
                  <a:lnTo>
                    <a:pt x="1596" y="390"/>
                  </a:lnTo>
                  <a:lnTo>
                    <a:pt x="1602" y="396"/>
                  </a:lnTo>
                  <a:lnTo>
                    <a:pt x="1608" y="408"/>
                  </a:lnTo>
                  <a:lnTo>
                    <a:pt x="1614" y="408"/>
                  </a:lnTo>
                  <a:lnTo>
                    <a:pt x="1614" y="432"/>
                  </a:lnTo>
                  <a:lnTo>
                    <a:pt x="1620" y="438"/>
                  </a:lnTo>
                  <a:lnTo>
                    <a:pt x="1620" y="450"/>
                  </a:lnTo>
                  <a:lnTo>
                    <a:pt x="1620" y="462"/>
                  </a:lnTo>
                  <a:lnTo>
                    <a:pt x="1626" y="474"/>
                  </a:lnTo>
                  <a:lnTo>
                    <a:pt x="1626" y="480"/>
                  </a:lnTo>
                  <a:lnTo>
                    <a:pt x="1626" y="486"/>
                  </a:lnTo>
                  <a:lnTo>
                    <a:pt x="1632" y="522"/>
                  </a:lnTo>
                  <a:lnTo>
                    <a:pt x="1632" y="528"/>
                  </a:lnTo>
                  <a:lnTo>
                    <a:pt x="1632" y="534"/>
                  </a:lnTo>
                  <a:lnTo>
                    <a:pt x="1638" y="540"/>
                  </a:lnTo>
                  <a:lnTo>
                    <a:pt x="1638" y="558"/>
                  </a:lnTo>
                  <a:lnTo>
                    <a:pt x="1638" y="570"/>
                  </a:lnTo>
                  <a:lnTo>
                    <a:pt x="1644" y="582"/>
                  </a:lnTo>
                  <a:lnTo>
                    <a:pt x="1650" y="618"/>
                  </a:lnTo>
                  <a:lnTo>
                    <a:pt x="1650" y="624"/>
                  </a:lnTo>
                  <a:lnTo>
                    <a:pt x="1650" y="636"/>
                  </a:lnTo>
                  <a:lnTo>
                    <a:pt x="1656" y="642"/>
                  </a:lnTo>
                  <a:lnTo>
                    <a:pt x="1656" y="648"/>
                  </a:lnTo>
                  <a:lnTo>
                    <a:pt x="1656" y="654"/>
                  </a:lnTo>
                  <a:lnTo>
                    <a:pt x="1656" y="660"/>
                  </a:lnTo>
                  <a:lnTo>
                    <a:pt x="1662" y="696"/>
                  </a:lnTo>
                  <a:lnTo>
                    <a:pt x="1668" y="708"/>
                  </a:lnTo>
                  <a:lnTo>
                    <a:pt x="1668" y="714"/>
                  </a:lnTo>
                  <a:lnTo>
                    <a:pt x="1668" y="732"/>
                  </a:lnTo>
                  <a:lnTo>
                    <a:pt x="1668" y="744"/>
                  </a:lnTo>
                  <a:lnTo>
                    <a:pt x="1674" y="756"/>
                  </a:lnTo>
                  <a:lnTo>
                    <a:pt x="1680" y="762"/>
                  </a:lnTo>
                  <a:lnTo>
                    <a:pt x="1680" y="768"/>
                  </a:lnTo>
                  <a:lnTo>
                    <a:pt x="1680" y="774"/>
                  </a:lnTo>
                  <a:lnTo>
                    <a:pt x="1680" y="780"/>
                  </a:lnTo>
                  <a:lnTo>
                    <a:pt x="1674" y="786"/>
                  </a:lnTo>
                  <a:lnTo>
                    <a:pt x="1668" y="792"/>
                  </a:lnTo>
                  <a:lnTo>
                    <a:pt x="1668" y="798"/>
                  </a:lnTo>
                  <a:lnTo>
                    <a:pt x="1668" y="804"/>
                  </a:lnTo>
                  <a:lnTo>
                    <a:pt x="1674" y="804"/>
                  </a:lnTo>
                  <a:lnTo>
                    <a:pt x="1668" y="810"/>
                  </a:lnTo>
                  <a:lnTo>
                    <a:pt x="1674" y="810"/>
                  </a:lnTo>
                  <a:lnTo>
                    <a:pt x="1680" y="810"/>
                  </a:lnTo>
                  <a:lnTo>
                    <a:pt x="1680" y="816"/>
                  </a:lnTo>
                  <a:lnTo>
                    <a:pt x="1680" y="822"/>
                  </a:lnTo>
                  <a:lnTo>
                    <a:pt x="1674" y="822"/>
                  </a:lnTo>
                  <a:lnTo>
                    <a:pt x="1674" y="828"/>
                  </a:lnTo>
                  <a:lnTo>
                    <a:pt x="1668" y="828"/>
                  </a:lnTo>
                  <a:lnTo>
                    <a:pt x="1674" y="834"/>
                  </a:lnTo>
                  <a:lnTo>
                    <a:pt x="1668" y="834"/>
                  </a:lnTo>
                  <a:lnTo>
                    <a:pt x="1668" y="840"/>
                  </a:lnTo>
                  <a:lnTo>
                    <a:pt x="1674" y="840"/>
                  </a:lnTo>
                  <a:lnTo>
                    <a:pt x="1686" y="852"/>
                  </a:lnTo>
                  <a:lnTo>
                    <a:pt x="1692" y="858"/>
                  </a:lnTo>
                  <a:lnTo>
                    <a:pt x="1698" y="858"/>
                  </a:lnTo>
                  <a:lnTo>
                    <a:pt x="1698" y="864"/>
                  </a:lnTo>
                  <a:lnTo>
                    <a:pt x="1698" y="870"/>
                  </a:lnTo>
                  <a:lnTo>
                    <a:pt x="1704" y="864"/>
                  </a:lnTo>
                  <a:lnTo>
                    <a:pt x="1716" y="864"/>
                  </a:lnTo>
                  <a:lnTo>
                    <a:pt x="1722" y="864"/>
                  </a:lnTo>
                  <a:lnTo>
                    <a:pt x="1728" y="864"/>
                  </a:lnTo>
                  <a:lnTo>
                    <a:pt x="1734" y="864"/>
                  </a:lnTo>
                  <a:lnTo>
                    <a:pt x="1740" y="864"/>
                  </a:lnTo>
                  <a:lnTo>
                    <a:pt x="1746" y="876"/>
                  </a:lnTo>
                  <a:lnTo>
                    <a:pt x="1746" y="870"/>
                  </a:lnTo>
                  <a:lnTo>
                    <a:pt x="1740" y="864"/>
                  </a:lnTo>
                  <a:lnTo>
                    <a:pt x="1746" y="864"/>
                  </a:lnTo>
                  <a:lnTo>
                    <a:pt x="1752" y="870"/>
                  </a:lnTo>
                  <a:lnTo>
                    <a:pt x="1758" y="864"/>
                  </a:lnTo>
                  <a:lnTo>
                    <a:pt x="1764" y="864"/>
                  </a:lnTo>
                  <a:lnTo>
                    <a:pt x="1770" y="858"/>
                  </a:lnTo>
                  <a:lnTo>
                    <a:pt x="1782" y="864"/>
                  </a:lnTo>
                  <a:lnTo>
                    <a:pt x="1782" y="870"/>
                  </a:lnTo>
                  <a:lnTo>
                    <a:pt x="1788" y="864"/>
                  </a:lnTo>
                  <a:lnTo>
                    <a:pt x="1794" y="864"/>
                  </a:lnTo>
                  <a:lnTo>
                    <a:pt x="1800" y="870"/>
                  </a:lnTo>
                  <a:lnTo>
                    <a:pt x="1818" y="864"/>
                  </a:lnTo>
                  <a:lnTo>
                    <a:pt x="1824" y="870"/>
                  </a:lnTo>
                  <a:lnTo>
                    <a:pt x="1830" y="864"/>
                  </a:lnTo>
                  <a:lnTo>
                    <a:pt x="1836" y="864"/>
                  </a:lnTo>
                  <a:lnTo>
                    <a:pt x="1842" y="870"/>
                  </a:lnTo>
                  <a:lnTo>
                    <a:pt x="1842" y="876"/>
                  </a:lnTo>
                  <a:lnTo>
                    <a:pt x="1848" y="876"/>
                  </a:lnTo>
                  <a:lnTo>
                    <a:pt x="1848" y="870"/>
                  </a:lnTo>
                  <a:lnTo>
                    <a:pt x="1854" y="870"/>
                  </a:lnTo>
                  <a:lnTo>
                    <a:pt x="1860" y="870"/>
                  </a:lnTo>
                  <a:lnTo>
                    <a:pt x="1860" y="876"/>
                  </a:lnTo>
                  <a:lnTo>
                    <a:pt x="1866" y="876"/>
                  </a:lnTo>
                  <a:lnTo>
                    <a:pt x="1866" y="882"/>
                  </a:lnTo>
                  <a:lnTo>
                    <a:pt x="1872" y="882"/>
                  </a:lnTo>
                  <a:lnTo>
                    <a:pt x="1878" y="888"/>
                  </a:lnTo>
                  <a:lnTo>
                    <a:pt x="1890" y="888"/>
                  </a:lnTo>
                  <a:lnTo>
                    <a:pt x="1890" y="894"/>
                  </a:lnTo>
                  <a:lnTo>
                    <a:pt x="1890" y="900"/>
                  </a:lnTo>
                  <a:lnTo>
                    <a:pt x="1884" y="900"/>
                  </a:lnTo>
                  <a:lnTo>
                    <a:pt x="1884" y="906"/>
                  </a:lnTo>
                  <a:lnTo>
                    <a:pt x="1884" y="912"/>
                  </a:lnTo>
                  <a:lnTo>
                    <a:pt x="1890" y="912"/>
                  </a:lnTo>
                  <a:lnTo>
                    <a:pt x="1896" y="912"/>
                  </a:lnTo>
                  <a:lnTo>
                    <a:pt x="1902" y="912"/>
                  </a:lnTo>
                  <a:lnTo>
                    <a:pt x="1908" y="918"/>
                  </a:lnTo>
                  <a:lnTo>
                    <a:pt x="1908" y="924"/>
                  </a:lnTo>
                  <a:lnTo>
                    <a:pt x="1908" y="930"/>
                  </a:lnTo>
                  <a:lnTo>
                    <a:pt x="1908" y="936"/>
                  </a:lnTo>
                  <a:lnTo>
                    <a:pt x="1914" y="936"/>
                  </a:lnTo>
                  <a:lnTo>
                    <a:pt x="1914" y="942"/>
                  </a:lnTo>
                  <a:lnTo>
                    <a:pt x="1908" y="948"/>
                  </a:lnTo>
                  <a:lnTo>
                    <a:pt x="1914" y="948"/>
                  </a:lnTo>
                  <a:lnTo>
                    <a:pt x="1920" y="954"/>
                  </a:lnTo>
                  <a:lnTo>
                    <a:pt x="1926" y="954"/>
                  </a:lnTo>
                  <a:lnTo>
                    <a:pt x="1932" y="954"/>
                  </a:lnTo>
                  <a:lnTo>
                    <a:pt x="1938" y="954"/>
                  </a:lnTo>
                  <a:lnTo>
                    <a:pt x="1938" y="960"/>
                  </a:lnTo>
                  <a:lnTo>
                    <a:pt x="1944" y="966"/>
                  </a:lnTo>
                  <a:lnTo>
                    <a:pt x="1944" y="972"/>
                  </a:lnTo>
                  <a:lnTo>
                    <a:pt x="1944" y="978"/>
                  </a:lnTo>
                  <a:lnTo>
                    <a:pt x="1950" y="978"/>
                  </a:lnTo>
                  <a:lnTo>
                    <a:pt x="1950" y="984"/>
                  </a:lnTo>
                  <a:lnTo>
                    <a:pt x="1956" y="984"/>
                  </a:lnTo>
                  <a:lnTo>
                    <a:pt x="1962" y="984"/>
                  </a:lnTo>
                  <a:lnTo>
                    <a:pt x="1962" y="978"/>
                  </a:lnTo>
                  <a:lnTo>
                    <a:pt x="1968" y="978"/>
                  </a:lnTo>
                  <a:lnTo>
                    <a:pt x="1974" y="978"/>
                  </a:lnTo>
                  <a:lnTo>
                    <a:pt x="1980" y="972"/>
                  </a:lnTo>
                  <a:lnTo>
                    <a:pt x="1980" y="978"/>
                  </a:lnTo>
                  <a:lnTo>
                    <a:pt x="1980" y="984"/>
                  </a:lnTo>
                  <a:lnTo>
                    <a:pt x="1986" y="984"/>
                  </a:lnTo>
                  <a:lnTo>
                    <a:pt x="1992" y="990"/>
                  </a:lnTo>
                  <a:lnTo>
                    <a:pt x="1992" y="996"/>
                  </a:lnTo>
                  <a:lnTo>
                    <a:pt x="1992" y="1002"/>
                  </a:lnTo>
                  <a:lnTo>
                    <a:pt x="1974" y="1008"/>
                  </a:lnTo>
                  <a:lnTo>
                    <a:pt x="1974" y="1014"/>
                  </a:lnTo>
                  <a:lnTo>
                    <a:pt x="1974" y="1020"/>
                  </a:lnTo>
                  <a:lnTo>
                    <a:pt x="1974" y="1026"/>
                  </a:lnTo>
                  <a:lnTo>
                    <a:pt x="1968" y="1038"/>
                  </a:lnTo>
                  <a:lnTo>
                    <a:pt x="1968" y="1044"/>
                  </a:lnTo>
                  <a:lnTo>
                    <a:pt x="1974" y="1056"/>
                  </a:lnTo>
                  <a:lnTo>
                    <a:pt x="1968" y="1062"/>
                  </a:lnTo>
                  <a:lnTo>
                    <a:pt x="1962" y="1062"/>
                  </a:lnTo>
                  <a:lnTo>
                    <a:pt x="1956" y="1068"/>
                  </a:lnTo>
                  <a:lnTo>
                    <a:pt x="1956" y="1074"/>
                  </a:lnTo>
                  <a:lnTo>
                    <a:pt x="1956" y="1080"/>
                  </a:lnTo>
                  <a:lnTo>
                    <a:pt x="1956" y="1086"/>
                  </a:lnTo>
                  <a:lnTo>
                    <a:pt x="1956" y="1092"/>
                  </a:lnTo>
                  <a:lnTo>
                    <a:pt x="1962" y="1092"/>
                  </a:lnTo>
                  <a:lnTo>
                    <a:pt x="1962" y="1104"/>
                  </a:lnTo>
                  <a:lnTo>
                    <a:pt x="1968" y="1110"/>
                  </a:lnTo>
                  <a:lnTo>
                    <a:pt x="1968" y="1116"/>
                  </a:lnTo>
                  <a:lnTo>
                    <a:pt x="1974" y="1116"/>
                  </a:lnTo>
                  <a:lnTo>
                    <a:pt x="1974" y="1122"/>
                  </a:lnTo>
                  <a:lnTo>
                    <a:pt x="1980" y="1122"/>
                  </a:lnTo>
                  <a:lnTo>
                    <a:pt x="1974" y="1128"/>
                  </a:lnTo>
                  <a:lnTo>
                    <a:pt x="1968" y="1134"/>
                  </a:lnTo>
                  <a:lnTo>
                    <a:pt x="1962" y="1140"/>
                  </a:lnTo>
                  <a:lnTo>
                    <a:pt x="1962" y="1146"/>
                  </a:lnTo>
                  <a:lnTo>
                    <a:pt x="1968" y="1152"/>
                  </a:lnTo>
                  <a:lnTo>
                    <a:pt x="1968" y="1158"/>
                  </a:lnTo>
                  <a:lnTo>
                    <a:pt x="1962" y="1158"/>
                  </a:lnTo>
                  <a:lnTo>
                    <a:pt x="1962" y="1164"/>
                  </a:lnTo>
                  <a:lnTo>
                    <a:pt x="1956" y="1164"/>
                  </a:lnTo>
                  <a:lnTo>
                    <a:pt x="1956" y="1170"/>
                  </a:lnTo>
                  <a:lnTo>
                    <a:pt x="1944" y="1182"/>
                  </a:lnTo>
                  <a:lnTo>
                    <a:pt x="1944" y="1188"/>
                  </a:lnTo>
                  <a:lnTo>
                    <a:pt x="1950" y="1188"/>
                  </a:lnTo>
                  <a:lnTo>
                    <a:pt x="1944" y="1200"/>
                  </a:lnTo>
                  <a:lnTo>
                    <a:pt x="1944" y="1206"/>
                  </a:lnTo>
                  <a:lnTo>
                    <a:pt x="1944" y="1212"/>
                  </a:lnTo>
                  <a:lnTo>
                    <a:pt x="1944" y="1218"/>
                  </a:lnTo>
                  <a:lnTo>
                    <a:pt x="1944" y="1230"/>
                  </a:lnTo>
                  <a:lnTo>
                    <a:pt x="1944" y="1236"/>
                  </a:lnTo>
                  <a:lnTo>
                    <a:pt x="1944" y="1242"/>
                  </a:lnTo>
                  <a:lnTo>
                    <a:pt x="1938" y="1248"/>
                  </a:lnTo>
                  <a:lnTo>
                    <a:pt x="1938" y="1254"/>
                  </a:lnTo>
                  <a:lnTo>
                    <a:pt x="1932" y="1254"/>
                  </a:lnTo>
                  <a:lnTo>
                    <a:pt x="1926" y="1260"/>
                  </a:lnTo>
                  <a:lnTo>
                    <a:pt x="1920" y="1266"/>
                  </a:lnTo>
                  <a:lnTo>
                    <a:pt x="1914" y="1272"/>
                  </a:lnTo>
                  <a:lnTo>
                    <a:pt x="1908" y="1272"/>
                  </a:lnTo>
                  <a:lnTo>
                    <a:pt x="1908" y="1278"/>
                  </a:lnTo>
                  <a:lnTo>
                    <a:pt x="1914" y="1278"/>
                  </a:lnTo>
                  <a:lnTo>
                    <a:pt x="1914" y="1290"/>
                  </a:lnTo>
                  <a:lnTo>
                    <a:pt x="1920" y="1296"/>
                  </a:lnTo>
                  <a:lnTo>
                    <a:pt x="1938" y="1302"/>
                  </a:lnTo>
                  <a:lnTo>
                    <a:pt x="1944" y="1308"/>
                  </a:lnTo>
                  <a:lnTo>
                    <a:pt x="1950" y="1314"/>
                  </a:lnTo>
                  <a:lnTo>
                    <a:pt x="1956" y="1314"/>
                  </a:lnTo>
                  <a:lnTo>
                    <a:pt x="1962" y="1320"/>
                  </a:lnTo>
                  <a:lnTo>
                    <a:pt x="1962" y="1326"/>
                  </a:lnTo>
                  <a:lnTo>
                    <a:pt x="1968" y="1326"/>
                  </a:lnTo>
                  <a:lnTo>
                    <a:pt x="1968" y="1332"/>
                  </a:lnTo>
                  <a:lnTo>
                    <a:pt x="1968" y="1344"/>
                  </a:lnTo>
                  <a:lnTo>
                    <a:pt x="1968" y="1350"/>
                  </a:lnTo>
                  <a:lnTo>
                    <a:pt x="1968" y="1368"/>
                  </a:lnTo>
                  <a:lnTo>
                    <a:pt x="1962" y="1380"/>
                  </a:lnTo>
                  <a:lnTo>
                    <a:pt x="1968" y="1392"/>
                  </a:lnTo>
                  <a:lnTo>
                    <a:pt x="1962" y="1398"/>
                  </a:lnTo>
                  <a:lnTo>
                    <a:pt x="1956" y="1404"/>
                  </a:lnTo>
                  <a:lnTo>
                    <a:pt x="1950" y="1410"/>
                  </a:lnTo>
                  <a:lnTo>
                    <a:pt x="1944" y="1410"/>
                  </a:lnTo>
                  <a:lnTo>
                    <a:pt x="1932" y="1416"/>
                  </a:lnTo>
                  <a:lnTo>
                    <a:pt x="1926" y="1416"/>
                  </a:lnTo>
                  <a:lnTo>
                    <a:pt x="1896" y="1428"/>
                  </a:lnTo>
                  <a:lnTo>
                    <a:pt x="1884" y="1434"/>
                  </a:lnTo>
                  <a:lnTo>
                    <a:pt x="1878" y="1434"/>
                  </a:lnTo>
                  <a:lnTo>
                    <a:pt x="1866" y="1434"/>
                  </a:lnTo>
                  <a:lnTo>
                    <a:pt x="1854" y="1440"/>
                  </a:lnTo>
                  <a:lnTo>
                    <a:pt x="1848" y="1440"/>
                  </a:lnTo>
                  <a:lnTo>
                    <a:pt x="1842" y="1446"/>
                  </a:lnTo>
                  <a:lnTo>
                    <a:pt x="1842" y="1458"/>
                  </a:lnTo>
                  <a:lnTo>
                    <a:pt x="1836" y="1470"/>
                  </a:lnTo>
                  <a:lnTo>
                    <a:pt x="1830" y="1476"/>
                  </a:lnTo>
                  <a:lnTo>
                    <a:pt x="1824" y="1476"/>
                  </a:lnTo>
                  <a:lnTo>
                    <a:pt x="1806" y="1482"/>
                  </a:lnTo>
                  <a:lnTo>
                    <a:pt x="1800" y="1488"/>
                  </a:lnTo>
                  <a:lnTo>
                    <a:pt x="1794" y="1488"/>
                  </a:lnTo>
                  <a:lnTo>
                    <a:pt x="1788" y="1488"/>
                  </a:lnTo>
                  <a:lnTo>
                    <a:pt x="1776" y="1494"/>
                  </a:lnTo>
                  <a:lnTo>
                    <a:pt x="1764" y="1494"/>
                  </a:lnTo>
                  <a:lnTo>
                    <a:pt x="1758" y="1500"/>
                  </a:lnTo>
                  <a:lnTo>
                    <a:pt x="1746" y="1506"/>
                  </a:lnTo>
                  <a:lnTo>
                    <a:pt x="1728" y="1518"/>
                  </a:lnTo>
                  <a:lnTo>
                    <a:pt x="1716" y="1524"/>
                  </a:lnTo>
                  <a:lnTo>
                    <a:pt x="1710" y="1530"/>
                  </a:lnTo>
                  <a:lnTo>
                    <a:pt x="1704" y="1536"/>
                  </a:lnTo>
                  <a:lnTo>
                    <a:pt x="1698" y="1542"/>
                  </a:lnTo>
                  <a:lnTo>
                    <a:pt x="1692" y="1554"/>
                  </a:lnTo>
                  <a:lnTo>
                    <a:pt x="1686" y="1560"/>
                  </a:lnTo>
                  <a:lnTo>
                    <a:pt x="1680" y="1560"/>
                  </a:lnTo>
                  <a:lnTo>
                    <a:pt x="1674" y="1560"/>
                  </a:lnTo>
                  <a:lnTo>
                    <a:pt x="1656" y="1572"/>
                  </a:lnTo>
                  <a:lnTo>
                    <a:pt x="1650" y="1572"/>
                  </a:lnTo>
                  <a:lnTo>
                    <a:pt x="1644" y="1572"/>
                  </a:lnTo>
                  <a:lnTo>
                    <a:pt x="1638" y="1578"/>
                  </a:lnTo>
                  <a:lnTo>
                    <a:pt x="1632" y="1578"/>
                  </a:lnTo>
                  <a:lnTo>
                    <a:pt x="1626" y="1578"/>
                  </a:lnTo>
                  <a:lnTo>
                    <a:pt x="1620" y="1572"/>
                  </a:lnTo>
                  <a:lnTo>
                    <a:pt x="1614" y="1572"/>
                  </a:lnTo>
                  <a:lnTo>
                    <a:pt x="1608" y="1566"/>
                  </a:lnTo>
                  <a:lnTo>
                    <a:pt x="1602" y="1560"/>
                  </a:lnTo>
                  <a:lnTo>
                    <a:pt x="1596" y="1554"/>
                  </a:lnTo>
                  <a:lnTo>
                    <a:pt x="1590" y="1548"/>
                  </a:lnTo>
                  <a:lnTo>
                    <a:pt x="1578" y="1548"/>
                  </a:lnTo>
                  <a:lnTo>
                    <a:pt x="1572" y="1548"/>
                  </a:lnTo>
                  <a:lnTo>
                    <a:pt x="1566" y="1548"/>
                  </a:lnTo>
                  <a:lnTo>
                    <a:pt x="1554" y="1536"/>
                  </a:lnTo>
                  <a:lnTo>
                    <a:pt x="1548" y="1536"/>
                  </a:lnTo>
                  <a:lnTo>
                    <a:pt x="1542" y="1542"/>
                  </a:lnTo>
                  <a:lnTo>
                    <a:pt x="1536" y="1548"/>
                  </a:lnTo>
                  <a:lnTo>
                    <a:pt x="1536" y="1566"/>
                  </a:lnTo>
                  <a:lnTo>
                    <a:pt x="1530" y="1572"/>
                  </a:lnTo>
                  <a:lnTo>
                    <a:pt x="1524" y="1578"/>
                  </a:lnTo>
                  <a:lnTo>
                    <a:pt x="1518" y="1584"/>
                  </a:lnTo>
                  <a:lnTo>
                    <a:pt x="1512" y="1596"/>
                  </a:lnTo>
                  <a:lnTo>
                    <a:pt x="1506" y="1602"/>
                  </a:lnTo>
                  <a:lnTo>
                    <a:pt x="1506" y="1608"/>
                  </a:lnTo>
                  <a:lnTo>
                    <a:pt x="1506" y="1614"/>
                  </a:lnTo>
                  <a:lnTo>
                    <a:pt x="1500" y="1614"/>
                  </a:lnTo>
                  <a:lnTo>
                    <a:pt x="1500" y="1620"/>
                  </a:lnTo>
                  <a:lnTo>
                    <a:pt x="1500" y="1626"/>
                  </a:lnTo>
                  <a:lnTo>
                    <a:pt x="1494" y="1632"/>
                  </a:lnTo>
                  <a:lnTo>
                    <a:pt x="1488" y="1638"/>
                  </a:lnTo>
                  <a:lnTo>
                    <a:pt x="1482" y="1638"/>
                  </a:lnTo>
                  <a:lnTo>
                    <a:pt x="1482" y="1644"/>
                  </a:lnTo>
                  <a:lnTo>
                    <a:pt x="1482" y="1650"/>
                  </a:lnTo>
                  <a:lnTo>
                    <a:pt x="1482" y="1656"/>
                  </a:lnTo>
                  <a:lnTo>
                    <a:pt x="1476" y="1662"/>
                  </a:lnTo>
                  <a:lnTo>
                    <a:pt x="1470" y="1668"/>
                  </a:lnTo>
                  <a:lnTo>
                    <a:pt x="1464" y="1674"/>
                  </a:lnTo>
                  <a:lnTo>
                    <a:pt x="1464" y="1680"/>
                  </a:lnTo>
                  <a:lnTo>
                    <a:pt x="1458" y="1680"/>
                  </a:lnTo>
                  <a:lnTo>
                    <a:pt x="1452" y="1686"/>
                  </a:lnTo>
                  <a:lnTo>
                    <a:pt x="1446" y="1686"/>
                  </a:lnTo>
                  <a:lnTo>
                    <a:pt x="1440" y="1698"/>
                  </a:lnTo>
                  <a:lnTo>
                    <a:pt x="1440" y="1704"/>
                  </a:lnTo>
                  <a:lnTo>
                    <a:pt x="1434" y="1710"/>
                  </a:lnTo>
                  <a:lnTo>
                    <a:pt x="1434" y="1716"/>
                  </a:lnTo>
                  <a:lnTo>
                    <a:pt x="1428" y="1716"/>
                  </a:lnTo>
                  <a:lnTo>
                    <a:pt x="1428" y="1722"/>
                  </a:lnTo>
                  <a:lnTo>
                    <a:pt x="1428" y="1728"/>
                  </a:lnTo>
                  <a:lnTo>
                    <a:pt x="1422" y="1728"/>
                  </a:lnTo>
                  <a:lnTo>
                    <a:pt x="1422" y="1734"/>
                  </a:lnTo>
                  <a:lnTo>
                    <a:pt x="1416" y="1734"/>
                  </a:lnTo>
                  <a:lnTo>
                    <a:pt x="1410" y="1734"/>
                  </a:lnTo>
                  <a:lnTo>
                    <a:pt x="1392" y="1746"/>
                  </a:lnTo>
                  <a:lnTo>
                    <a:pt x="1386" y="1746"/>
                  </a:lnTo>
                  <a:lnTo>
                    <a:pt x="1368" y="1752"/>
                  </a:lnTo>
                  <a:lnTo>
                    <a:pt x="1362" y="1758"/>
                  </a:lnTo>
                  <a:lnTo>
                    <a:pt x="1362" y="1770"/>
                  </a:lnTo>
                  <a:lnTo>
                    <a:pt x="1356" y="1782"/>
                  </a:lnTo>
                  <a:close/>
                </a:path>
              </a:pathLst>
            </a:custGeom>
            <a:solidFill>
              <a:srgbClr val="F2F2F2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27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79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grpSp>
          <p:nvGrpSpPr>
            <p:cNvPr id="128" name="Group 88">
              <a:extLst>
                <a:ext uri="{FF2B5EF4-FFF2-40B4-BE49-F238E27FC236}">
                  <a16:creationId xmlns:a16="http://schemas.microsoft.com/office/drawing/2014/main" id="{653A7ACE-02DC-49D1-8B73-A0954753F2F8}"/>
                </a:ext>
              </a:extLst>
            </p:cNvPr>
            <p:cNvGrpSpPr>
              <a:grpSpLocks/>
            </p:cNvGrpSpPr>
            <p:nvPr>
              <p:custDataLst>
                <p:tags r:id="rId1"/>
              </p:custDataLst>
            </p:nvPr>
          </p:nvGrpSpPr>
          <p:grpSpPr bwMode="auto">
            <a:xfrm>
              <a:off x="1811022" y="917799"/>
              <a:ext cx="6230827" cy="5245643"/>
              <a:chOff x="1282" y="1016"/>
              <a:chExt cx="2955" cy="2488"/>
            </a:xfrm>
            <a:grpFill/>
          </p:grpSpPr>
          <p:sp>
            <p:nvSpPr>
              <p:cNvPr id="129" name="Rectangle 42">
                <a:extLst>
                  <a:ext uri="{FF2B5EF4-FFF2-40B4-BE49-F238E27FC236}">
                    <a16:creationId xmlns:a16="http://schemas.microsoft.com/office/drawing/2014/main" id="{6162B93E-DA2F-4F46-8015-D2A95AEE03A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326" y="2977"/>
                <a:ext cx="208" cy="10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wrap="none" lIns="0" tIns="0" rIns="0" bIns="0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275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98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+mn-ea"/>
                    <a:cs typeface="Calibri" pitchFamily="34" charset="0"/>
                  </a:rPr>
                  <a:t>Lagos</a:t>
                </a:r>
              </a:p>
            </p:txBody>
          </p:sp>
          <p:sp>
            <p:nvSpPr>
              <p:cNvPr id="130" name="Rectangle 43">
                <a:extLst>
                  <a:ext uri="{FF2B5EF4-FFF2-40B4-BE49-F238E27FC236}">
                    <a16:creationId xmlns:a16="http://schemas.microsoft.com/office/drawing/2014/main" id="{E3646275-0ECA-46C8-AB23-31D504FFDE4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982" y="3364"/>
                <a:ext cx="280" cy="10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wrap="none" lIns="0" tIns="0" rIns="0" bIns="0" anchor="ctr" anchorCtr="1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275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98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+mn-ea"/>
                    <a:cs typeface="Calibri" pitchFamily="34" charset="0"/>
                  </a:rPr>
                  <a:t>Bayelsa</a:t>
                </a:r>
                <a:endParaRPr kumimoji="0" lang="en-US" altLang="en-US" sz="798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endParaRPr>
              </a:p>
            </p:txBody>
          </p:sp>
          <p:sp>
            <p:nvSpPr>
              <p:cNvPr id="131" name="Rectangle 44">
                <a:extLst>
                  <a:ext uri="{FF2B5EF4-FFF2-40B4-BE49-F238E27FC236}">
                    <a16:creationId xmlns:a16="http://schemas.microsoft.com/office/drawing/2014/main" id="{50D31709-0413-4EE3-AEBF-11A4CA0E2A4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2240" y="3334"/>
                <a:ext cx="223" cy="10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wrap="none" lIns="0" tIns="0" rIns="0" bIns="0" anchor="ctr" anchorCtr="1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275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98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+mn-ea"/>
                    <a:cs typeface="Calibri" pitchFamily="34" charset="0"/>
                  </a:rPr>
                  <a:t>Rivers</a:t>
                </a:r>
              </a:p>
            </p:txBody>
          </p:sp>
          <p:sp>
            <p:nvSpPr>
              <p:cNvPr id="132" name="Rectangle 45">
                <a:extLst>
                  <a:ext uri="{FF2B5EF4-FFF2-40B4-BE49-F238E27FC236}">
                    <a16:creationId xmlns:a16="http://schemas.microsoft.com/office/drawing/2014/main" id="{B4DEA537-98D5-47C2-8A8B-569D72A2CF4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2307" y="3183"/>
                <a:ext cx="143" cy="1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wrap="none" lIns="0" tIns="0" rIns="0" bIns="0" anchor="ctr" anchorCtr="1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275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98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+mn-ea"/>
                    <a:cs typeface="Calibri" pitchFamily="34" charset="0"/>
                  </a:rPr>
                  <a:t>Imo</a:t>
                </a:r>
              </a:p>
            </p:txBody>
          </p:sp>
          <p:sp>
            <p:nvSpPr>
              <p:cNvPr id="133" name="Rectangle 46">
                <a:extLst>
                  <a:ext uri="{FF2B5EF4-FFF2-40B4-BE49-F238E27FC236}">
                    <a16:creationId xmlns:a16="http://schemas.microsoft.com/office/drawing/2014/main" id="{726E0E45-4029-48EE-A403-74F1CC9A63B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2492" y="3157"/>
                <a:ext cx="143" cy="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wrap="none" lIns="0" tIns="0" rIns="0" bIns="0" anchor="ctr" anchorCtr="1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275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+mn-ea"/>
                    <a:cs typeface="Calibri" pitchFamily="34" charset="0"/>
                  </a:rPr>
                  <a:t>Abia</a:t>
                </a:r>
              </a:p>
            </p:txBody>
          </p:sp>
          <p:sp>
            <p:nvSpPr>
              <p:cNvPr id="134" name="Rectangle 47">
                <a:extLst>
                  <a:ext uri="{FF2B5EF4-FFF2-40B4-BE49-F238E27FC236}">
                    <a16:creationId xmlns:a16="http://schemas.microsoft.com/office/drawing/2014/main" id="{952FE4D5-7472-44B2-B023-7AE25CA5B9E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2512" y="3304"/>
                <a:ext cx="202" cy="20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wrap="none" lIns="0" tIns="0" rIns="0" bIns="0" anchor="ctr" anchorCtr="1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275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98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+mn-ea"/>
                    <a:cs typeface="Calibri" pitchFamily="34" charset="0"/>
                  </a:rPr>
                  <a:t>Akwa</a:t>
                </a:r>
                <a:br>
                  <a:rPr kumimoji="0" lang="en-US" altLang="en-US" sz="798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+mn-ea"/>
                    <a:cs typeface="Calibri" pitchFamily="34" charset="0"/>
                  </a:rPr>
                </a:br>
                <a:r>
                  <a:rPr kumimoji="0" lang="en-US" altLang="en-US" sz="798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+mn-ea"/>
                    <a:cs typeface="Calibri" pitchFamily="34" charset="0"/>
                  </a:rPr>
                  <a:t>Ibom</a:t>
                </a:r>
                <a:endParaRPr kumimoji="0" lang="en-US" altLang="en-US" sz="798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endParaRPr>
              </a:p>
            </p:txBody>
          </p:sp>
          <p:sp>
            <p:nvSpPr>
              <p:cNvPr id="135" name="Rectangle 48">
                <a:extLst>
                  <a:ext uri="{FF2B5EF4-FFF2-40B4-BE49-F238E27FC236}">
                    <a16:creationId xmlns:a16="http://schemas.microsoft.com/office/drawing/2014/main" id="{AA149F64-E79F-4818-94F4-8D6BB486B20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733" y="2104"/>
                <a:ext cx="369" cy="10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wrap="none" lIns="0" tIns="0" rIns="0" bIns="0" anchor="ctr" anchorCtr="1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275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98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+mn-ea"/>
                    <a:cs typeface="Calibri" pitchFamily="34" charset="0"/>
                  </a:rPr>
                  <a:t>Adamawa</a:t>
                </a:r>
              </a:p>
            </p:txBody>
          </p:sp>
          <p:sp>
            <p:nvSpPr>
              <p:cNvPr id="136" name="Rectangle 49">
                <a:extLst>
                  <a:ext uri="{FF2B5EF4-FFF2-40B4-BE49-F238E27FC236}">
                    <a16:creationId xmlns:a16="http://schemas.microsoft.com/office/drawing/2014/main" id="{C6DE27FF-4738-4D07-A06B-0E93C43327D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107" y="1717"/>
                <a:ext cx="249" cy="10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wrap="none" lIns="0" tIns="0" rIns="0" bIns="0" anchor="ctr" anchorCtr="1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275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98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+mn-ea"/>
                    <a:cs typeface="Calibri" pitchFamily="34" charset="0"/>
                  </a:rPr>
                  <a:t>Bauchi</a:t>
                </a:r>
                <a:endParaRPr kumimoji="0" lang="en-US" altLang="en-US" sz="798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endParaRPr>
              </a:p>
            </p:txBody>
          </p:sp>
          <p:sp>
            <p:nvSpPr>
              <p:cNvPr id="137" name="Rectangle 50">
                <a:extLst>
                  <a:ext uri="{FF2B5EF4-FFF2-40B4-BE49-F238E27FC236}">
                    <a16:creationId xmlns:a16="http://schemas.microsoft.com/office/drawing/2014/main" id="{199085A4-710F-4BA1-82A7-3456A5E9486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488" y="1826"/>
                <a:ext cx="270" cy="10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wrap="none" lIns="0" tIns="0" rIns="0" bIns="0" anchor="ctr" anchorCtr="1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275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98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+mn-ea"/>
                    <a:cs typeface="Calibri" pitchFamily="34" charset="0"/>
                  </a:rPr>
                  <a:t>Gombe</a:t>
                </a:r>
                <a:endParaRPr kumimoji="0" lang="en-US" altLang="en-US" sz="798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endParaRPr>
              </a:p>
            </p:txBody>
          </p:sp>
          <p:sp>
            <p:nvSpPr>
              <p:cNvPr id="138" name="Rectangle 51">
                <a:extLst>
                  <a:ext uri="{FF2B5EF4-FFF2-40B4-BE49-F238E27FC236}">
                    <a16:creationId xmlns:a16="http://schemas.microsoft.com/office/drawing/2014/main" id="{288D901E-FDFE-42B0-8862-E075EA6A15A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2454" y="1796"/>
                <a:ext cx="279" cy="1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wrap="none" lIns="0" tIns="0" rIns="0" bIns="0" anchor="ctr" anchorCtr="1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275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98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+mn-ea"/>
                    <a:cs typeface="Calibri" pitchFamily="34" charset="0"/>
                  </a:rPr>
                  <a:t>Kaduna</a:t>
                </a:r>
              </a:p>
            </p:txBody>
          </p:sp>
          <p:sp>
            <p:nvSpPr>
              <p:cNvPr id="139" name="Rectangle 52">
                <a:extLst>
                  <a:ext uri="{FF2B5EF4-FFF2-40B4-BE49-F238E27FC236}">
                    <a16:creationId xmlns:a16="http://schemas.microsoft.com/office/drawing/2014/main" id="{6C72D40B-DFFB-408E-A4CF-1BFAB8C5F2B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2368" y="2250"/>
                <a:ext cx="133" cy="10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wrap="none" lIns="0" tIns="0" rIns="0" bIns="0" anchor="ctr" anchorCtr="1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275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98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+mn-ea"/>
                    <a:cs typeface="Calibri" pitchFamily="34" charset="0"/>
                  </a:rPr>
                  <a:t>FCT</a:t>
                </a:r>
              </a:p>
            </p:txBody>
          </p:sp>
          <p:sp>
            <p:nvSpPr>
              <p:cNvPr id="140" name="Rectangle 53">
                <a:extLst>
                  <a:ext uri="{FF2B5EF4-FFF2-40B4-BE49-F238E27FC236}">
                    <a16:creationId xmlns:a16="http://schemas.microsoft.com/office/drawing/2014/main" id="{DD16449A-471F-4935-88ED-F92452D9D74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2543" y="2354"/>
                <a:ext cx="400" cy="10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wrap="none" lIns="0" tIns="0" rIns="0" bIns="0" anchor="ctr" anchorCtr="1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275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98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+mn-ea"/>
                    <a:cs typeface="Calibri" pitchFamily="34" charset="0"/>
                  </a:rPr>
                  <a:t>Nassarawa</a:t>
                </a:r>
                <a:endParaRPr kumimoji="0" lang="en-US" altLang="en-US" sz="798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endParaRPr>
              </a:p>
            </p:txBody>
          </p:sp>
          <p:sp>
            <p:nvSpPr>
              <p:cNvPr id="141" name="Rectangle 54">
                <a:extLst>
                  <a:ext uri="{FF2B5EF4-FFF2-40B4-BE49-F238E27FC236}">
                    <a16:creationId xmlns:a16="http://schemas.microsoft.com/office/drawing/2014/main" id="{D30F0807-0C06-4F4F-A8A0-5E9D150DE33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2964" y="2150"/>
                <a:ext cx="279" cy="10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wrap="none" lIns="0" tIns="0" rIns="0" bIns="0" anchor="ctr" anchorCtr="1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275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98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+mn-ea"/>
                    <a:cs typeface="Calibri" pitchFamily="34" charset="0"/>
                  </a:rPr>
                  <a:t>Plateau</a:t>
                </a:r>
              </a:p>
            </p:txBody>
          </p:sp>
          <p:sp>
            <p:nvSpPr>
              <p:cNvPr id="142" name="Rectangle 55">
                <a:extLst>
                  <a:ext uri="{FF2B5EF4-FFF2-40B4-BE49-F238E27FC236}">
                    <a16:creationId xmlns:a16="http://schemas.microsoft.com/office/drawing/2014/main" id="{5DD78C4F-46EE-4436-8E6F-D7B85813EB3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331" y="2498"/>
                <a:ext cx="255" cy="10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wrap="none" lIns="0" tIns="0" rIns="0" bIns="0" anchor="ctr" anchorCtr="1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275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98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+mn-ea"/>
                    <a:cs typeface="Calibri" pitchFamily="34" charset="0"/>
                  </a:rPr>
                  <a:t>Taraba</a:t>
                </a:r>
                <a:endParaRPr kumimoji="0" lang="en-US" altLang="en-US" sz="798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endParaRPr>
              </a:p>
            </p:txBody>
          </p:sp>
          <p:sp>
            <p:nvSpPr>
              <p:cNvPr id="143" name="Rectangle 56">
                <a:extLst>
                  <a:ext uri="{FF2B5EF4-FFF2-40B4-BE49-F238E27FC236}">
                    <a16:creationId xmlns:a16="http://schemas.microsoft.com/office/drawing/2014/main" id="{855D4EED-EC0A-4376-912E-E60BC10E75E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2759" y="2688"/>
                <a:ext cx="236" cy="1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wrap="none" lIns="0" tIns="0" rIns="0" bIns="0" anchor="ctr" anchorCtr="1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275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98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+mn-ea"/>
                    <a:cs typeface="Calibri" pitchFamily="34" charset="0"/>
                  </a:rPr>
                  <a:t>Benue</a:t>
                </a:r>
              </a:p>
            </p:txBody>
          </p:sp>
          <p:sp>
            <p:nvSpPr>
              <p:cNvPr id="144" name="Rectangle 57">
                <a:extLst>
                  <a:ext uri="{FF2B5EF4-FFF2-40B4-BE49-F238E27FC236}">
                    <a16:creationId xmlns:a16="http://schemas.microsoft.com/office/drawing/2014/main" id="{B76ADE9A-71E5-446A-ADB7-20E3E374AB4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2681" y="3105"/>
                <a:ext cx="198" cy="20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wrap="none" lIns="0" tIns="0" rIns="0" bIns="0" anchor="ctr" anchorCtr="1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275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98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+mn-ea"/>
                    <a:cs typeface="Calibri" pitchFamily="34" charset="0"/>
                  </a:rPr>
                  <a:t>Cross</a:t>
                </a:r>
              </a:p>
              <a:p>
                <a:pPr marL="0" marR="0" lvl="0" indent="0" algn="l" defTabSz="91275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98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+mn-ea"/>
                    <a:cs typeface="Calibri" pitchFamily="34" charset="0"/>
                  </a:rPr>
                  <a:t>River</a:t>
                </a:r>
              </a:p>
            </p:txBody>
          </p:sp>
          <p:sp>
            <p:nvSpPr>
              <p:cNvPr id="145" name="Rectangle 58">
                <a:extLst>
                  <a:ext uri="{FF2B5EF4-FFF2-40B4-BE49-F238E27FC236}">
                    <a16:creationId xmlns:a16="http://schemas.microsoft.com/office/drawing/2014/main" id="{E653E105-BB4D-45FF-9076-572297B7CFE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 rot="16200000">
                <a:off x="2286" y="2900"/>
                <a:ext cx="361" cy="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wrap="square" lIns="0" tIns="0" rIns="0" bIns="0" anchor="ctr" anchorCtr="1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275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+mn-ea"/>
                    <a:cs typeface="Calibri" pitchFamily="34" charset="0"/>
                  </a:rPr>
                  <a:t>Enugu</a:t>
                </a:r>
              </a:p>
            </p:txBody>
          </p:sp>
          <p:sp>
            <p:nvSpPr>
              <p:cNvPr id="146" name="Rectangle 59">
                <a:extLst>
                  <a:ext uri="{FF2B5EF4-FFF2-40B4-BE49-F238E27FC236}">
                    <a16:creationId xmlns:a16="http://schemas.microsoft.com/office/drawing/2014/main" id="{81095829-A9F4-4C4A-8AD8-C857EFAE755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2592" y="2966"/>
                <a:ext cx="250" cy="10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wrap="none" lIns="0" tIns="0" rIns="0" bIns="0" anchor="ctr" anchorCtr="1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275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98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+mn-ea"/>
                    <a:cs typeface="Calibri" pitchFamily="34" charset="0"/>
                  </a:rPr>
                  <a:t>Ebonyi</a:t>
                </a:r>
                <a:endParaRPr kumimoji="0" lang="en-US" altLang="en-US" sz="798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endParaRPr>
              </a:p>
            </p:txBody>
          </p:sp>
          <p:sp>
            <p:nvSpPr>
              <p:cNvPr id="147" name="Rectangle 60">
                <a:extLst>
                  <a:ext uri="{FF2B5EF4-FFF2-40B4-BE49-F238E27FC236}">
                    <a16:creationId xmlns:a16="http://schemas.microsoft.com/office/drawing/2014/main" id="{6184702E-A034-4028-8E67-A32F366F3E7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 rot="16200000">
                <a:off x="2194" y="2966"/>
                <a:ext cx="282" cy="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wrap="square" lIns="0" tIns="0" rIns="0" bIns="0" anchor="ctr" anchorCtr="1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275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+mn-ea"/>
                    <a:cs typeface="Calibri" pitchFamily="34" charset="0"/>
                  </a:rPr>
                  <a:t>Anambra</a:t>
                </a:r>
              </a:p>
            </p:txBody>
          </p:sp>
          <p:sp>
            <p:nvSpPr>
              <p:cNvPr id="148" name="Rectangle 61">
                <a:extLst>
                  <a:ext uri="{FF2B5EF4-FFF2-40B4-BE49-F238E27FC236}">
                    <a16:creationId xmlns:a16="http://schemas.microsoft.com/office/drawing/2014/main" id="{E2BC096D-9FE2-4A0E-829B-937C3CA651E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2020" y="3185"/>
                <a:ext cx="195" cy="10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wrap="none" lIns="0" tIns="0" rIns="0" bIns="0" anchor="ctr" anchorCtr="1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275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98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+mn-ea"/>
                    <a:cs typeface="Calibri" pitchFamily="34" charset="0"/>
                  </a:rPr>
                  <a:t>Delta</a:t>
                </a:r>
              </a:p>
            </p:txBody>
          </p:sp>
          <p:sp>
            <p:nvSpPr>
              <p:cNvPr id="149" name="Rectangle 62">
                <a:extLst>
                  <a:ext uri="{FF2B5EF4-FFF2-40B4-BE49-F238E27FC236}">
                    <a16:creationId xmlns:a16="http://schemas.microsoft.com/office/drawing/2014/main" id="{53F231FF-A818-41AA-97FA-A240D7CF623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995" y="2886"/>
                <a:ext cx="140" cy="1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wrap="none" lIns="0" tIns="0" rIns="0" bIns="0" anchor="ctr" anchorCtr="1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275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98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+mn-ea"/>
                    <a:cs typeface="Calibri" pitchFamily="34" charset="0"/>
                  </a:rPr>
                  <a:t>Edo</a:t>
                </a:r>
              </a:p>
            </p:txBody>
          </p:sp>
          <p:sp>
            <p:nvSpPr>
              <p:cNvPr id="150" name="Rectangle 63">
                <a:extLst>
                  <a:ext uri="{FF2B5EF4-FFF2-40B4-BE49-F238E27FC236}">
                    <a16:creationId xmlns:a16="http://schemas.microsoft.com/office/drawing/2014/main" id="{ADE676D0-98AB-4E73-A1F8-280556C6D47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2346" y="2626"/>
                <a:ext cx="158" cy="10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wrap="none" lIns="0" tIns="0" rIns="0" bIns="0" anchor="ctr" anchorCtr="1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275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98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+mn-ea"/>
                    <a:cs typeface="Calibri" pitchFamily="34" charset="0"/>
                  </a:rPr>
                  <a:t>Kogi</a:t>
                </a:r>
                <a:endParaRPr kumimoji="0" lang="en-US" altLang="en-US" sz="798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endParaRPr>
              </a:p>
            </p:txBody>
          </p:sp>
          <p:sp>
            <p:nvSpPr>
              <p:cNvPr id="151" name="Rectangle 64">
                <a:extLst>
                  <a:ext uri="{FF2B5EF4-FFF2-40B4-BE49-F238E27FC236}">
                    <a16:creationId xmlns:a16="http://schemas.microsoft.com/office/drawing/2014/main" id="{9EC38EEF-8577-43FC-9A41-52B83D5E2B4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340" y="2453"/>
                <a:ext cx="148" cy="10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wrap="none" lIns="0" tIns="0" rIns="0" bIns="0" anchor="ctr" anchorCtr="1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275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98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+mn-ea"/>
                    <a:cs typeface="Calibri" pitchFamily="34" charset="0"/>
                  </a:rPr>
                  <a:t>Oyo</a:t>
                </a:r>
              </a:p>
            </p:txBody>
          </p:sp>
          <p:sp>
            <p:nvSpPr>
              <p:cNvPr id="152" name="Rectangle 65">
                <a:extLst>
                  <a:ext uri="{FF2B5EF4-FFF2-40B4-BE49-F238E27FC236}">
                    <a16:creationId xmlns:a16="http://schemas.microsoft.com/office/drawing/2014/main" id="{05A8E415-EBE4-4658-B975-D8620D891C7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282" y="2781"/>
                <a:ext cx="198" cy="10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wrap="none" lIns="0" tIns="0" rIns="0" bIns="0" anchor="ctr" anchorCtr="1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275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98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+mn-ea"/>
                    <a:cs typeface="Calibri" pitchFamily="34" charset="0"/>
                  </a:rPr>
                  <a:t>Ogun</a:t>
                </a:r>
                <a:endParaRPr kumimoji="0" lang="en-US" altLang="en-US" sz="798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endParaRPr>
              </a:p>
            </p:txBody>
          </p:sp>
          <p:sp>
            <p:nvSpPr>
              <p:cNvPr id="153" name="Rectangle 66">
                <a:extLst>
                  <a:ext uri="{FF2B5EF4-FFF2-40B4-BE49-F238E27FC236}">
                    <a16:creationId xmlns:a16="http://schemas.microsoft.com/office/drawing/2014/main" id="{900DCEC7-89E5-4CBC-ADF9-0EC3B1EA4BE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602" y="2579"/>
                <a:ext cx="191" cy="10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wrap="none" lIns="0" tIns="0" rIns="0" bIns="0" anchor="ctr" anchorCtr="1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275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98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+mn-ea"/>
                    <a:cs typeface="Calibri" pitchFamily="34" charset="0"/>
                  </a:rPr>
                  <a:t>Osun</a:t>
                </a:r>
                <a:endParaRPr kumimoji="0" lang="en-US" altLang="en-US" sz="798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endParaRPr>
              </a:p>
            </p:txBody>
          </p:sp>
          <p:sp>
            <p:nvSpPr>
              <p:cNvPr id="154" name="Rectangle 67">
                <a:extLst>
                  <a:ext uri="{FF2B5EF4-FFF2-40B4-BE49-F238E27FC236}">
                    <a16:creationId xmlns:a16="http://schemas.microsoft.com/office/drawing/2014/main" id="{995F69DC-6971-4DD5-B14C-1FDACC4182B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812" y="2562"/>
                <a:ext cx="157" cy="10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wrap="none" lIns="0" tIns="0" rIns="0" bIns="0" anchor="ctr" anchorCtr="1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275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98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+mn-ea"/>
                    <a:cs typeface="Calibri" pitchFamily="34" charset="0"/>
                  </a:rPr>
                  <a:t>Ekiti</a:t>
                </a:r>
                <a:endParaRPr kumimoji="0" lang="en-US" altLang="en-US" sz="798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endParaRPr>
              </a:p>
            </p:txBody>
          </p:sp>
          <p:sp>
            <p:nvSpPr>
              <p:cNvPr id="155" name="Rectangle 68">
                <a:extLst>
                  <a:ext uri="{FF2B5EF4-FFF2-40B4-BE49-F238E27FC236}">
                    <a16:creationId xmlns:a16="http://schemas.microsoft.com/office/drawing/2014/main" id="{C7BB73D5-A74F-4F2E-A365-E4672A24D4F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755" y="2729"/>
                <a:ext cx="204" cy="10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wrap="none" lIns="0" tIns="0" rIns="0" bIns="0" anchor="ctr" anchorCtr="1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275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98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+mn-ea"/>
                    <a:cs typeface="Calibri" pitchFamily="34" charset="0"/>
                  </a:rPr>
                  <a:t>Ondo</a:t>
                </a:r>
                <a:endParaRPr kumimoji="0" lang="en-US" altLang="en-US" sz="798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endParaRPr>
              </a:p>
            </p:txBody>
          </p:sp>
          <p:sp>
            <p:nvSpPr>
              <p:cNvPr id="156" name="Rectangle 69">
                <a:extLst>
                  <a:ext uri="{FF2B5EF4-FFF2-40B4-BE49-F238E27FC236}">
                    <a16:creationId xmlns:a16="http://schemas.microsoft.com/office/drawing/2014/main" id="{922B6F70-EBB1-43AA-8684-7B396AAD8CB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684" y="2290"/>
                <a:ext cx="231" cy="10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wrap="none" lIns="0" tIns="0" rIns="0" bIns="0" anchor="ctr" anchorCtr="1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275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98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+mn-ea"/>
                    <a:cs typeface="Calibri" pitchFamily="34" charset="0"/>
                  </a:rPr>
                  <a:t>Kwara</a:t>
                </a:r>
                <a:endParaRPr kumimoji="0" lang="en-US" altLang="en-US" sz="798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endParaRPr>
              </a:p>
            </p:txBody>
          </p:sp>
          <p:sp>
            <p:nvSpPr>
              <p:cNvPr id="157" name="Rectangle 70">
                <a:extLst>
                  <a:ext uri="{FF2B5EF4-FFF2-40B4-BE49-F238E27FC236}">
                    <a16:creationId xmlns:a16="http://schemas.microsoft.com/office/drawing/2014/main" id="{187A5AEB-092B-459F-92FE-582CB554303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884" y="1951"/>
                <a:ext cx="198" cy="10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wrap="none" lIns="0" tIns="0" rIns="0" bIns="0" anchor="ctr" anchorCtr="1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275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98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+mn-ea"/>
                    <a:cs typeface="Calibri" pitchFamily="34" charset="0"/>
                  </a:rPr>
                  <a:t>Niger</a:t>
                </a:r>
              </a:p>
            </p:txBody>
          </p:sp>
          <p:sp>
            <p:nvSpPr>
              <p:cNvPr id="158" name="Rectangle 71">
                <a:extLst>
                  <a:ext uri="{FF2B5EF4-FFF2-40B4-BE49-F238E27FC236}">
                    <a16:creationId xmlns:a16="http://schemas.microsoft.com/office/drawing/2014/main" id="{1D79BB7C-18AA-4F02-A741-994A0221ECD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776" y="1016"/>
                <a:ext cx="256" cy="10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wrap="none" lIns="0" tIns="0" rIns="0" bIns="0" anchor="ctr" anchorCtr="1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275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98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+mn-ea"/>
                    <a:cs typeface="Calibri" pitchFamily="34" charset="0"/>
                  </a:rPr>
                  <a:t>Sokoto</a:t>
                </a:r>
                <a:endParaRPr kumimoji="0" lang="en-US" altLang="en-US" sz="798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endParaRPr>
              </a:p>
            </p:txBody>
          </p:sp>
          <p:sp>
            <p:nvSpPr>
              <p:cNvPr id="159" name="Rectangle 72">
                <a:extLst>
                  <a:ext uri="{FF2B5EF4-FFF2-40B4-BE49-F238E27FC236}">
                    <a16:creationId xmlns:a16="http://schemas.microsoft.com/office/drawing/2014/main" id="{5F2EB313-08B1-4F59-A532-7E5216EBB87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481" y="1387"/>
                <a:ext cx="209" cy="10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wrap="none" lIns="0" tIns="0" rIns="0" bIns="0" anchor="ctr" anchorCtr="1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275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98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+mn-ea"/>
                    <a:cs typeface="Calibri" pitchFamily="34" charset="0"/>
                  </a:rPr>
                  <a:t>Kebbi</a:t>
                </a:r>
                <a:endParaRPr kumimoji="0" lang="en-US" altLang="en-US" sz="798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endParaRPr>
              </a:p>
            </p:txBody>
          </p:sp>
          <p:sp>
            <p:nvSpPr>
              <p:cNvPr id="160" name="Rectangle 73">
                <a:extLst>
                  <a:ext uri="{FF2B5EF4-FFF2-40B4-BE49-F238E27FC236}">
                    <a16:creationId xmlns:a16="http://schemas.microsoft.com/office/drawing/2014/main" id="{43F31658-3305-47BD-B486-49A648FAAC1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2024" y="1338"/>
                <a:ext cx="305" cy="10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wrap="none" lIns="0" tIns="0" rIns="0" bIns="0" anchor="ctr" anchorCtr="1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275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98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+mn-ea"/>
                    <a:cs typeface="Calibri" pitchFamily="34" charset="0"/>
                  </a:rPr>
                  <a:t>Zamfara</a:t>
                </a:r>
                <a:endParaRPr kumimoji="0" lang="en-US" altLang="en-US" sz="798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endParaRPr>
              </a:p>
            </p:txBody>
          </p:sp>
          <p:sp>
            <p:nvSpPr>
              <p:cNvPr id="161" name="Rectangle 74">
                <a:extLst>
                  <a:ext uri="{FF2B5EF4-FFF2-40B4-BE49-F238E27FC236}">
                    <a16:creationId xmlns:a16="http://schemas.microsoft.com/office/drawing/2014/main" id="{3629D5D2-6DA7-4EC6-A711-D465B7ECBE5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2420" y="1152"/>
                <a:ext cx="269" cy="10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wrap="none" lIns="0" tIns="0" rIns="0" bIns="0" anchor="ctr" anchorCtr="1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275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98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+mn-ea"/>
                    <a:cs typeface="Calibri" pitchFamily="34" charset="0"/>
                  </a:rPr>
                  <a:t>Katsina</a:t>
                </a:r>
                <a:endParaRPr kumimoji="0" lang="en-US" altLang="en-US" sz="798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endParaRPr>
              </a:p>
            </p:txBody>
          </p:sp>
          <p:sp>
            <p:nvSpPr>
              <p:cNvPr id="162" name="Rectangle 75">
                <a:extLst>
                  <a:ext uri="{FF2B5EF4-FFF2-40B4-BE49-F238E27FC236}">
                    <a16:creationId xmlns:a16="http://schemas.microsoft.com/office/drawing/2014/main" id="{455BC6EF-ED5E-4027-8DEF-E44F6184C01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2714" y="1435"/>
                <a:ext cx="187" cy="1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wrap="none" lIns="0" tIns="0" rIns="0" bIns="0" anchor="ctr" anchorCtr="1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275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98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+mn-ea"/>
                    <a:cs typeface="Calibri" pitchFamily="34" charset="0"/>
                  </a:rPr>
                  <a:t>Kano</a:t>
                </a:r>
              </a:p>
            </p:txBody>
          </p:sp>
          <p:sp>
            <p:nvSpPr>
              <p:cNvPr id="163" name="Rectangle 76">
                <a:extLst>
                  <a:ext uri="{FF2B5EF4-FFF2-40B4-BE49-F238E27FC236}">
                    <a16:creationId xmlns:a16="http://schemas.microsoft.com/office/drawing/2014/main" id="{4728CCB3-E5BD-463A-A84B-51285279C6E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526" y="1283"/>
                <a:ext cx="185" cy="10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wrap="none" lIns="0" tIns="0" rIns="0" bIns="0" anchor="ctr" anchorCtr="1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275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98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+mn-ea"/>
                    <a:cs typeface="Calibri" pitchFamily="34" charset="0"/>
                  </a:rPr>
                  <a:t>Yobe</a:t>
                </a:r>
                <a:endParaRPr kumimoji="0" lang="en-US" altLang="en-US" sz="798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endParaRPr>
              </a:p>
            </p:txBody>
          </p:sp>
          <p:sp>
            <p:nvSpPr>
              <p:cNvPr id="164" name="Rectangle 77">
                <a:extLst>
                  <a:ext uri="{FF2B5EF4-FFF2-40B4-BE49-F238E27FC236}">
                    <a16:creationId xmlns:a16="http://schemas.microsoft.com/office/drawing/2014/main" id="{6CD74CA7-3D42-41D9-9B55-9046175D7B2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018" y="1236"/>
                <a:ext cx="245" cy="10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wrap="none" lIns="0" tIns="0" rIns="0" bIns="0" anchor="ctr" anchorCtr="1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275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98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+mn-ea"/>
                    <a:cs typeface="Calibri" pitchFamily="34" charset="0"/>
                  </a:rPr>
                  <a:t>Jigawa</a:t>
                </a:r>
                <a:endParaRPr kumimoji="0" lang="en-US" altLang="en-US" sz="798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endParaRPr>
              </a:p>
            </p:txBody>
          </p:sp>
          <p:sp>
            <p:nvSpPr>
              <p:cNvPr id="165" name="Rectangle 78">
                <a:extLst>
                  <a:ext uri="{FF2B5EF4-FFF2-40B4-BE49-F238E27FC236}">
                    <a16:creationId xmlns:a16="http://schemas.microsoft.com/office/drawing/2014/main" id="{B5185942-156D-4F5B-9C2B-2EEFC2D99E8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012" y="1395"/>
                <a:ext cx="225" cy="1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wrap="none" lIns="0" tIns="0" rIns="0" bIns="0" anchor="ctr" anchorCtr="1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275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798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itchFamily="34" charset="0"/>
                    <a:ea typeface="+mn-ea"/>
                    <a:cs typeface="Calibri" pitchFamily="34" charset="0"/>
                  </a:rPr>
                  <a:t>Borno</a:t>
                </a:r>
                <a:endParaRPr kumimoji="0" lang="en-US" altLang="en-US" sz="798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endParaRPr>
              </a:p>
            </p:txBody>
          </p:sp>
        </p:grpSp>
      </p:grpSp>
      <p:sp>
        <p:nvSpPr>
          <p:cNvPr id="326" name="Rectangle 325">
            <a:extLst>
              <a:ext uri="{FF2B5EF4-FFF2-40B4-BE49-F238E27FC236}">
                <a16:creationId xmlns:a16="http://schemas.microsoft.com/office/drawing/2014/main" id="{E5DFBC36-DD9F-42EF-90F5-265D6FBDC368}"/>
              </a:ext>
            </a:extLst>
          </p:cNvPr>
          <p:cNvSpPr/>
          <p:nvPr/>
        </p:nvSpPr>
        <p:spPr>
          <a:xfrm>
            <a:off x="285929" y="6408587"/>
            <a:ext cx="3085848" cy="12299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spAutoFit/>
          </a:bodyPr>
          <a:lstStyle/>
          <a:p>
            <a:pPr marL="0" marR="0" lvl="0" indent="0" algn="l" defTabSz="91275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9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ource: World Bank, Doing Business in Nigeria 2018</a:t>
            </a:r>
          </a:p>
        </p:txBody>
      </p:sp>
      <p:sp>
        <p:nvSpPr>
          <p:cNvPr id="327" name="Rectangular Callout 39">
            <a:extLst>
              <a:ext uri="{FF2B5EF4-FFF2-40B4-BE49-F238E27FC236}">
                <a16:creationId xmlns:a16="http://schemas.microsoft.com/office/drawing/2014/main" id="{A72D59EA-05C2-4CBB-82EE-3BC24A025C7A}"/>
              </a:ext>
            </a:extLst>
          </p:cNvPr>
          <p:cNvSpPr/>
          <p:nvPr/>
        </p:nvSpPr>
        <p:spPr>
          <a:xfrm rot="10800000" flipV="1">
            <a:off x="5561472" y="4732222"/>
            <a:ext cx="3879012" cy="840666"/>
          </a:xfrm>
          <a:prstGeom prst="wedgeRectCallout">
            <a:avLst>
              <a:gd name="adj1" fmla="val -5689"/>
              <a:gd name="adj2" fmla="val -162991"/>
            </a:avLst>
          </a:prstGeom>
          <a:solidFill>
            <a:sysClr val="window" lastClr="FFFFFF"/>
          </a:solidFill>
          <a:ln w="19050" cap="flat" cmpd="sng" algn="ctr">
            <a:solidFill>
              <a:srgbClr val="FF000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3169" tIns="33169" rIns="33169" bIns="33169" rtlCol="0" anchor="ctr"/>
          <a:lstStyle/>
          <a:p>
            <a:pPr marL="0" marR="0" lvl="0" indent="0" algn="l" defTabSz="9127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98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Calibri" pitchFamily="34" charset="0"/>
              </a:rPr>
              <a:t>In the past 4 years, 29 Nigerian states implemented 43 reforms across the four areas benchmarked. </a:t>
            </a:r>
            <a:r>
              <a:rPr kumimoji="0" lang="en-US" sz="119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Calibri" pitchFamily="34" charset="0"/>
              </a:rPr>
              <a:t>Kaduna, Enugu, </a:t>
            </a:r>
            <a:r>
              <a:rPr kumimoji="0" lang="en-US" sz="1198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Calibri" pitchFamily="34" charset="0"/>
              </a:rPr>
              <a:t>Abia</a:t>
            </a:r>
            <a:r>
              <a:rPr kumimoji="0" lang="en-US" sz="119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Calibri" pitchFamily="34" charset="0"/>
              </a:rPr>
              <a:t>, Lagos and Anambra showed the largest advance toward the global good practice frontier</a:t>
            </a:r>
          </a:p>
        </p:txBody>
      </p:sp>
    </p:spTree>
    <p:extLst>
      <p:ext uri="{BB962C8B-B14F-4D97-AF65-F5344CB8AC3E}">
        <p14:creationId xmlns:p14="http://schemas.microsoft.com/office/powerpoint/2010/main" val="23438496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Pentagon 19">
            <a:extLst>
              <a:ext uri="{FF2B5EF4-FFF2-40B4-BE49-F238E27FC236}">
                <a16:creationId xmlns:a16="http://schemas.microsoft.com/office/drawing/2014/main" id="{CAD93C59-72A9-4F6D-A654-02B9F8A5EFF9}"/>
              </a:ext>
            </a:extLst>
          </p:cNvPr>
          <p:cNvSpPr>
            <a:spLocks/>
          </p:cNvSpPr>
          <p:nvPr/>
        </p:nvSpPr>
        <p:spPr bwMode="auto">
          <a:xfrm>
            <a:off x="756602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3 of 37</a:t>
            </a:r>
          </a:p>
        </p:txBody>
      </p:sp>
      <p:sp>
        <p:nvSpPr>
          <p:cNvPr id="376" name="Pentagon 19">
            <a:extLst>
              <a:ext uri="{FF2B5EF4-FFF2-40B4-BE49-F238E27FC236}">
                <a16:creationId xmlns:a16="http://schemas.microsoft.com/office/drawing/2014/main" id="{1BDC5465-6022-4404-B4D8-ED55CF961B8A}"/>
              </a:ext>
            </a:extLst>
          </p:cNvPr>
          <p:cNvSpPr>
            <a:spLocks/>
          </p:cNvSpPr>
          <p:nvPr/>
        </p:nvSpPr>
        <p:spPr bwMode="auto">
          <a:xfrm>
            <a:off x="824865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3 of 3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57F1EBC-D01A-4083-B657-63AFB1490839}"/>
              </a:ext>
            </a:extLst>
          </p:cNvPr>
          <p:cNvSpPr txBox="1"/>
          <p:nvPr/>
        </p:nvSpPr>
        <p:spPr>
          <a:xfrm>
            <a:off x="6122988" y="2749550"/>
            <a:ext cx="3475037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nvestment Opportunit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D251BD-538A-4F4F-847E-620EEDA298A0}"/>
              </a:ext>
            </a:extLst>
          </p:cNvPr>
          <p:cNvSpPr txBox="1"/>
          <p:nvPr/>
        </p:nvSpPr>
        <p:spPr>
          <a:xfrm>
            <a:off x="6881813" y="4632911"/>
            <a:ext cx="2697162" cy="33855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oing Business Ranking(2018)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1B8F13C-F732-4DA1-9250-DB02936E7688}"/>
              </a:ext>
            </a:extLst>
          </p:cNvPr>
          <p:cNvSpPr/>
          <p:nvPr/>
        </p:nvSpPr>
        <p:spPr>
          <a:xfrm>
            <a:off x="756602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Registering Propert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6BA1818-32ED-44D1-975C-958200BDD124}"/>
              </a:ext>
            </a:extLst>
          </p:cNvPr>
          <p:cNvSpPr/>
          <p:nvPr/>
        </p:nvSpPr>
        <p:spPr>
          <a:xfrm>
            <a:off x="8248650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Dealing with Construction Permits</a:t>
            </a:r>
          </a:p>
        </p:txBody>
      </p:sp>
      <p:sp>
        <p:nvSpPr>
          <p:cNvPr id="23560" name="TextBox 174">
            <a:extLst>
              <a:ext uri="{FF2B5EF4-FFF2-40B4-BE49-F238E27FC236}">
                <a16:creationId xmlns:a16="http://schemas.microsoft.com/office/drawing/2014/main" id="{1573FD4E-62B9-45E8-8F28-CED990ED2D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0B63A6C-2A5E-4CA3-BC66-4CBC6008BC9A}"/>
              </a:ext>
            </a:extLst>
          </p:cNvPr>
          <p:cNvSpPr/>
          <p:nvPr/>
        </p:nvSpPr>
        <p:spPr>
          <a:xfrm>
            <a:off x="893127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Enforcing Contracts</a:t>
            </a:r>
          </a:p>
        </p:txBody>
      </p:sp>
      <p:pic>
        <p:nvPicPr>
          <p:cNvPr id="23562" name="Picture 4">
            <a:extLst>
              <a:ext uri="{FF2B5EF4-FFF2-40B4-BE49-F238E27FC236}">
                <a16:creationId xmlns:a16="http://schemas.microsoft.com/office/drawing/2014/main" id="{7C8EEAB2-0239-4BB5-94B3-23E319AF1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513" y="5249863"/>
            <a:ext cx="439737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6" name="Pentagon 19">
            <a:extLst>
              <a:ext uri="{FF2B5EF4-FFF2-40B4-BE49-F238E27FC236}">
                <a16:creationId xmlns:a16="http://schemas.microsoft.com/office/drawing/2014/main" id="{5F8E9670-D71A-4765-B6B5-D711BC9AD6E1}"/>
              </a:ext>
            </a:extLst>
          </p:cNvPr>
          <p:cNvSpPr>
            <a:spLocks/>
          </p:cNvSpPr>
          <p:nvPr/>
        </p:nvSpPr>
        <p:spPr bwMode="auto">
          <a:xfrm>
            <a:off x="893127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3</a:t>
            </a:r>
            <a:r>
              <a:rPr lang="en-GB" sz="1000" baseline="3000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of 37</a:t>
            </a:r>
          </a:p>
        </p:txBody>
      </p:sp>
      <p:sp>
        <p:nvSpPr>
          <p:cNvPr id="23564" name="Title 3">
            <a:extLst>
              <a:ext uri="{FF2B5EF4-FFF2-40B4-BE49-F238E27FC236}">
                <a16:creationId xmlns:a16="http://schemas.microsoft.com/office/drawing/2014/main" id="{C62A749B-CFC7-4224-A789-D20A772AC33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77813" y="222250"/>
            <a:ext cx="8543925" cy="5619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en-GB" altLang="en-US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igawa</a:t>
            </a:r>
            <a:r>
              <a:rPr lang="en-GB" alt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State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6882DF2C-9120-4A66-8487-575D9494F4D6}"/>
              </a:ext>
            </a:extLst>
          </p:cNvPr>
          <p:cNvSpPr txBox="1"/>
          <p:nvPr/>
        </p:nvSpPr>
        <p:spPr>
          <a:xfrm rot="16200000">
            <a:off x="-2290084" y="3478372"/>
            <a:ext cx="5303837" cy="2743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The New World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grpSp>
        <p:nvGrpSpPr>
          <p:cNvPr id="23566" name="Group 9">
            <a:extLst>
              <a:ext uri="{FF2B5EF4-FFF2-40B4-BE49-F238E27FC236}">
                <a16:creationId xmlns:a16="http://schemas.microsoft.com/office/drawing/2014/main" id="{5B6131BD-3CE3-4FC4-B13A-FA9B797C1EF5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41338" y="963613"/>
            <a:ext cx="2897187" cy="2319337"/>
            <a:chOff x="770228" y="1459989"/>
            <a:chExt cx="4081047" cy="3267527"/>
          </a:xfrm>
        </p:grpSpPr>
        <p:sp>
          <p:nvSpPr>
            <p:cNvPr id="299" name="Freeform 4">
              <a:extLst>
                <a:ext uri="{FF2B5EF4-FFF2-40B4-BE49-F238E27FC236}">
                  <a16:creationId xmlns:a16="http://schemas.microsoft.com/office/drawing/2014/main" id="{B6150C82-CBE5-48B4-B60C-C210BB7B26A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91538" y="4349548"/>
              <a:ext cx="418167" cy="377968"/>
            </a:xfrm>
            <a:custGeom>
              <a:avLst/>
              <a:gdLst>
                <a:gd name="T0" fmla="*/ 12 w 786"/>
                <a:gd name="T1" fmla="*/ 19 h 714"/>
                <a:gd name="T2" fmla="*/ 22 w 786"/>
                <a:gd name="T3" fmla="*/ 18 h 714"/>
                <a:gd name="T4" fmla="*/ 27 w 786"/>
                <a:gd name="T5" fmla="*/ 17 h 714"/>
                <a:gd name="T6" fmla="*/ 30 w 786"/>
                <a:gd name="T7" fmla="*/ 14 h 714"/>
                <a:gd name="T8" fmla="*/ 37 w 786"/>
                <a:gd name="T9" fmla="*/ 16 h 714"/>
                <a:gd name="T10" fmla="*/ 43 w 786"/>
                <a:gd name="T11" fmla="*/ 13 h 714"/>
                <a:gd name="T12" fmla="*/ 48 w 786"/>
                <a:gd name="T13" fmla="*/ 8 h 714"/>
                <a:gd name="T14" fmla="*/ 55 w 786"/>
                <a:gd name="T15" fmla="*/ 4 h 714"/>
                <a:gd name="T16" fmla="*/ 66 w 786"/>
                <a:gd name="T17" fmla="*/ 0 h 714"/>
                <a:gd name="T18" fmla="*/ 63 w 786"/>
                <a:gd name="T19" fmla="*/ 12 h 714"/>
                <a:gd name="T20" fmla="*/ 59 w 786"/>
                <a:gd name="T21" fmla="*/ 19 h 714"/>
                <a:gd name="T22" fmla="*/ 57 w 786"/>
                <a:gd name="T23" fmla="*/ 29 h 714"/>
                <a:gd name="T24" fmla="*/ 59 w 786"/>
                <a:gd name="T25" fmla="*/ 36 h 714"/>
                <a:gd name="T26" fmla="*/ 66 w 786"/>
                <a:gd name="T27" fmla="*/ 35 h 714"/>
                <a:gd name="T28" fmla="*/ 64 w 786"/>
                <a:gd name="T29" fmla="*/ 41 h 714"/>
                <a:gd name="T30" fmla="*/ 64 w 786"/>
                <a:gd name="T31" fmla="*/ 48 h 714"/>
                <a:gd name="T32" fmla="*/ 63 w 786"/>
                <a:gd name="T33" fmla="*/ 56 h 714"/>
                <a:gd name="T34" fmla="*/ 60 w 786"/>
                <a:gd name="T35" fmla="*/ 60 h 714"/>
                <a:gd name="T36" fmla="*/ 57 w 786"/>
                <a:gd name="T37" fmla="*/ 58 h 714"/>
                <a:gd name="T38" fmla="*/ 54 w 786"/>
                <a:gd name="T39" fmla="*/ 54 h 714"/>
                <a:gd name="T40" fmla="*/ 53 w 786"/>
                <a:gd name="T41" fmla="*/ 51 h 714"/>
                <a:gd name="T42" fmla="*/ 51 w 786"/>
                <a:gd name="T43" fmla="*/ 53 h 714"/>
                <a:gd name="T44" fmla="*/ 49 w 786"/>
                <a:gd name="T45" fmla="*/ 54 h 714"/>
                <a:gd name="T46" fmla="*/ 47 w 786"/>
                <a:gd name="T47" fmla="*/ 50 h 714"/>
                <a:gd name="T48" fmla="*/ 48 w 786"/>
                <a:gd name="T49" fmla="*/ 54 h 714"/>
                <a:gd name="T50" fmla="*/ 47 w 786"/>
                <a:gd name="T51" fmla="*/ 54 h 714"/>
                <a:gd name="T52" fmla="*/ 46 w 786"/>
                <a:gd name="T53" fmla="*/ 59 h 714"/>
                <a:gd name="T54" fmla="*/ 47 w 786"/>
                <a:gd name="T55" fmla="*/ 62 h 714"/>
                <a:gd name="T56" fmla="*/ 42 w 786"/>
                <a:gd name="T57" fmla="*/ 62 h 714"/>
                <a:gd name="T58" fmla="*/ 39 w 786"/>
                <a:gd name="T59" fmla="*/ 57 h 714"/>
                <a:gd name="T60" fmla="*/ 40 w 786"/>
                <a:gd name="T61" fmla="*/ 54 h 714"/>
                <a:gd name="T62" fmla="*/ 43 w 786"/>
                <a:gd name="T63" fmla="*/ 55 h 714"/>
                <a:gd name="T64" fmla="*/ 40 w 786"/>
                <a:gd name="T65" fmla="*/ 53 h 714"/>
                <a:gd name="T66" fmla="*/ 38 w 786"/>
                <a:gd name="T67" fmla="*/ 57 h 714"/>
                <a:gd name="T68" fmla="*/ 37 w 786"/>
                <a:gd name="T69" fmla="*/ 57 h 714"/>
                <a:gd name="T70" fmla="*/ 37 w 786"/>
                <a:gd name="T71" fmla="*/ 60 h 714"/>
                <a:gd name="T72" fmla="*/ 33 w 786"/>
                <a:gd name="T73" fmla="*/ 56 h 714"/>
                <a:gd name="T74" fmla="*/ 32 w 786"/>
                <a:gd name="T75" fmla="*/ 58 h 714"/>
                <a:gd name="T76" fmla="*/ 26 w 786"/>
                <a:gd name="T77" fmla="*/ 54 h 714"/>
                <a:gd name="T78" fmla="*/ 26 w 786"/>
                <a:gd name="T79" fmla="*/ 54 h 714"/>
                <a:gd name="T80" fmla="*/ 24 w 786"/>
                <a:gd name="T81" fmla="*/ 51 h 714"/>
                <a:gd name="T82" fmla="*/ 22 w 786"/>
                <a:gd name="T83" fmla="*/ 51 h 714"/>
                <a:gd name="T84" fmla="*/ 20 w 786"/>
                <a:gd name="T85" fmla="*/ 50 h 714"/>
                <a:gd name="T86" fmla="*/ 20 w 786"/>
                <a:gd name="T87" fmla="*/ 48 h 714"/>
                <a:gd name="T88" fmla="*/ 18 w 786"/>
                <a:gd name="T89" fmla="*/ 47 h 714"/>
                <a:gd name="T90" fmla="*/ 15 w 786"/>
                <a:gd name="T91" fmla="*/ 45 h 714"/>
                <a:gd name="T92" fmla="*/ 11 w 786"/>
                <a:gd name="T93" fmla="*/ 39 h 714"/>
                <a:gd name="T94" fmla="*/ 12 w 786"/>
                <a:gd name="T95" fmla="*/ 36 h 714"/>
                <a:gd name="T96" fmla="*/ 7 w 786"/>
                <a:gd name="T97" fmla="*/ 33 h 714"/>
                <a:gd name="T98" fmla="*/ 5 w 786"/>
                <a:gd name="T99" fmla="*/ 28 h 714"/>
                <a:gd name="T100" fmla="*/ 7 w 786"/>
                <a:gd name="T101" fmla="*/ 30 h 714"/>
                <a:gd name="T102" fmla="*/ 4 w 786"/>
                <a:gd name="T103" fmla="*/ 24 h 714"/>
                <a:gd name="T104" fmla="*/ 2 w 786"/>
                <a:gd name="T105" fmla="*/ 20 h 714"/>
                <a:gd name="T106" fmla="*/ 0 w 786"/>
                <a:gd name="T107" fmla="*/ 15 h 714"/>
                <a:gd name="T108" fmla="*/ 4 w 786"/>
                <a:gd name="T109" fmla="*/ 16 h 714"/>
                <a:gd name="T110" fmla="*/ 55 w 786"/>
                <a:gd name="T111" fmla="*/ 60 h 714"/>
                <a:gd name="T112" fmla="*/ 47 w 786"/>
                <a:gd name="T113" fmla="*/ 60 h 714"/>
                <a:gd name="T114" fmla="*/ 51 w 786"/>
                <a:gd name="T115" fmla="*/ 54 h 714"/>
                <a:gd name="T116" fmla="*/ 54 w 786"/>
                <a:gd name="T117" fmla="*/ 56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86"/>
                <a:gd name="T178" fmla="*/ 0 h 714"/>
                <a:gd name="T179" fmla="*/ 786 w 786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86" h="714">
                  <a:moveTo>
                    <a:pt x="54" y="186"/>
                  </a:moveTo>
                  <a:lnTo>
                    <a:pt x="54" y="192"/>
                  </a:lnTo>
                  <a:lnTo>
                    <a:pt x="72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204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20" y="210"/>
                  </a:lnTo>
                  <a:lnTo>
                    <a:pt x="126" y="210"/>
                  </a:lnTo>
                  <a:lnTo>
                    <a:pt x="132" y="210"/>
                  </a:lnTo>
                  <a:lnTo>
                    <a:pt x="132" y="216"/>
                  </a:lnTo>
                  <a:lnTo>
                    <a:pt x="138" y="222"/>
                  </a:lnTo>
                  <a:lnTo>
                    <a:pt x="150" y="222"/>
                  </a:lnTo>
                  <a:lnTo>
                    <a:pt x="162" y="234"/>
                  </a:lnTo>
                  <a:lnTo>
                    <a:pt x="168" y="240"/>
                  </a:lnTo>
                  <a:lnTo>
                    <a:pt x="180" y="240"/>
                  </a:lnTo>
                  <a:lnTo>
                    <a:pt x="186" y="228"/>
                  </a:lnTo>
                  <a:lnTo>
                    <a:pt x="210" y="234"/>
                  </a:lnTo>
                  <a:lnTo>
                    <a:pt x="222" y="228"/>
                  </a:lnTo>
                  <a:lnTo>
                    <a:pt x="228" y="216"/>
                  </a:lnTo>
                  <a:lnTo>
                    <a:pt x="234" y="210"/>
                  </a:lnTo>
                  <a:lnTo>
                    <a:pt x="240" y="216"/>
                  </a:lnTo>
                  <a:lnTo>
                    <a:pt x="246" y="210"/>
                  </a:lnTo>
                  <a:lnTo>
                    <a:pt x="252" y="210"/>
                  </a:lnTo>
                  <a:lnTo>
                    <a:pt x="258" y="210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192"/>
                  </a:lnTo>
                  <a:lnTo>
                    <a:pt x="270" y="192"/>
                  </a:lnTo>
                  <a:lnTo>
                    <a:pt x="276" y="192"/>
                  </a:lnTo>
                  <a:lnTo>
                    <a:pt x="282" y="192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192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198"/>
                  </a:lnTo>
                  <a:lnTo>
                    <a:pt x="312" y="198"/>
                  </a:lnTo>
                  <a:lnTo>
                    <a:pt x="312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24" y="186"/>
                  </a:lnTo>
                  <a:lnTo>
                    <a:pt x="318" y="180"/>
                  </a:lnTo>
                  <a:lnTo>
                    <a:pt x="324" y="180"/>
                  </a:lnTo>
                  <a:lnTo>
                    <a:pt x="330" y="186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74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54" y="144"/>
                  </a:lnTo>
                  <a:lnTo>
                    <a:pt x="360" y="144"/>
                  </a:lnTo>
                  <a:lnTo>
                    <a:pt x="372" y="156"/>
                  </a:lnTo>
                  <a:lnTo>
                    <a:pt x="372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96" y="168"/>
                  </a:lnTo>
                  <a:lnTo>
                    <a:pt x="396" y="174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26" y="186"/>
                  </a:lnTo>
                  <a:lnTo>
                    <a:pt x="432" y="186"/>
                  </a:lnTo>
                  <a:lnTo>
                    <a:pt x="438" y="180"/>
                  </a:lnTo>
                  <a:lnTo>
                    <a:pt x="438" y="168"/>
                  </a:lnTo>
                  <a:lnTo>
                    <a:pt x="438" y="162"/>
                  </a:lnTo>
                  <a:lnTo>
                    <a:pt x="444" y="156"/>
                  </a:lnTo>
                  <a:lnTo>
                    <a:pt x="450" y="156"/>
                  </a:lnTo>
                  <a:lnTo>
                    <a:pt x="456" y="150"/>
                  </a:lnTo>
                  <a:lnTo>
                    <a:pt x="462" y="156"/>
                  </a:lnTo>
                  <a:lnTo>
                    <a:pt x="468" y="162"/>
                  </a:lnTo>
                  <a:lnTo>
                    <a:pt x="474" y="162"/>
                  </a:lnTo>
                  <a:lnTo>
                    <a:pt x="486" y="162"/>
                  </a:lnTo>
                  <a:lnTo>
                    <a:pt x="492" y="156"/>
                  </a:lnTo>
                  <a:lnTo>
                    <a:pt x="498" y="150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28" y="126"/>
                  </a:lnTo>
                  <a:lnTo>
                    <a:pt x="522" y="120"/>
                  </a:lnTo>
                  <a:lnTo>
                    <a:pt x="522" y="114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28" y="102"/>
                  </a:lnTo>
                  <a:lnTo>
                    <a:pt x="534" y="96"/>
                  </a:lnTo>
                  <a:lnTo>
                    <a:pt x="552" y="96"/>
                  </a:lnTo>
                  <a:lnTo>
                    <a:pt x="570" y="102"/>
                  </a:lnTo>
                  <a:lnTo>
                    <a:pt x="582" y="96"/>
                  </a:lnTo>
                  <a:lnTo>
                    <a:pt x="582" y="90"/>
                  </a:lnTo>
                  <a:lnTo>
                    <a:pt x="582" y="78"/>
                  </a:lnTo>
                  <a:lnTo>
                    <a:pt x="582" y="72"/>
                  </a:lnTo>
                  <a:lnTo>
                    <a:pt x="582" y="66"/>
                  </a:lnTo>
                  <a:lnTo>
                    <a:pt x="594" y="60"/>
                  </a:lnTo>
                  <a:lnTo>
                    <a:pt x="600" y="60"/>
                  </a:lnTo>
                  <a:lnTo>
                    <a:pt x="606" y="54"/>
                  </a:lnTo>
                  <a:lnTo>
                    <a:pt x="618" y="48"/>
                  </a:lnTo>
                  <a:lnTo>
                    <a:pt x="618" y="42"/>
                  </a:lnTo>
                  <a:lnTo>
                    <a:pt x="624" y="42"/>
                  </a:lnTo>
                  <a:lnTo>
                    <a:pt x="636" y="48"/>
                  </a:lnTo>
                  <a:lnTo>
                    <a:pt x="648" y="54"/>
                  </a:lnTo>
                  <a:lnTo>
                    <a:pt x="660" y="54"/>
                  </a:lnTo>
                  <a:lnTo>
                    <a:pt x="666" y="60"/>
                  </a:lnTo>
                  <a:lnTo>
                    <a:pt x="672" y="54"/>
                  </a:lnTo>
                  <a:lnTo>
                    <a:pt x="684" y="48"/>
                  </a:lnTo>
                  <a:lnTo>
                    <a:pt x="708" y="42"/>
                  </a:lnTo>
                  <a:lnTo>
                    <a:pt x="714" y="42"/>
                  </a:lnTo>
                  <a:lnTo>
                    <a:pt x="720" y="36"/>
                  </a:lnTo>
                  <a:lnTo>
                    <a:pt x="720" y="30"/>
                  </a:lnTo>
                  <a:lnTo>
                    <a:pt x="714" y="12"/>
                  </a:lnTo>
                  <a:lnTo>
                    <a:pt x="708" y="0"/>
                  </a:lnTo>
                  <a:lnTo>
                    <a:pt x="738" y="6"/>
                  </a:lnTo>
                  <a:lnTo>
                    <a:pt x="756" y="6"/>
                  </a:lnTo>
                  <a:lnTo>
                    <a:pt x="762" y="42"/>
                  </a:lnTo>
                  <a:lnTo>
                    <a:pt x="738" y="72"/>
                  </a:lnTo>
                  <a:lnTo>
                    <a:pt x="750" y="90"/>
                  </a:lnTo>
                  <a:lnTo>
                    <a:pt x="762" y="96"/>
                  </a:lnTo>
                  <a:lnTo>
                    <a:pt x="756" y="102"/>
                  </a:lnTo>
                  <a:lnTo>
                    <a:pt x="750" y="108"/>
                  </a:lnTo>
                  <a:lnTo>
                    <a:pt x="750" y="114"/>
                  </a:lnTo>
                  <a:lnTo>
                    <a:pt x="750" y="120"/>
                  </a:lnTo>
                  <a:lnTo>
                    <a:pt x="750" y="126"/>
                  </a:lnTo>
                  <a:lnTo>
                    <a:pt x="750" y="132"/>
                  </a:lnTo>
                  <a:lnTo>
                    <a:pt x="738" y="132"/>
                  </a:lnTo>
                  <a:lnTo>
                    <a:pt x="732" y="138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14" y="144"/>
                  </a:lnTo>
                  <a:lnTo>
                    <a:pt x="714" y="150"/>
                  </a:lnTo>
                  <a:lnTo>
                    <a:pt x="720" y="156"/>
                  </a:lnTo>
                  <a:lnTo>
                    <a:pt x="720" y="162"/>
                  </a:lnTo>
                  <a:lnTo>
                    <a:pt x="714" y="162"/>
                  </a:lnTo>
                  <a:lnTo>
                    <a:pt x="708" y="168"/>
                  </a:lnTo>
                  <a:lnTo>
                    <a:pt x="708" y="180"/>
                  </a:lnTo>
                  <a:lnTo>
                    <a:pt x="708" y="192"/>
                  </a:lnTo>
                  <a:lnTo>
                    <a:pt x="696" y="198"/>
                  </a:lnTo>
                  <a:lnTo>
                    <a:pt x="696" y="204"/>
                  </a:lnTo>
                  <a:lnTo>
                    <a:pt x="684" y="210"/>
                  </a:lnTo>
                  <a:lnTo>
                    <a:pt x="684" y="216"/>
                  </a:lnTo>
                  <a:lnTo>
                    <a:pt x="684" y="222"/>
                  </a:lnTo>
                  <a:lnTo>
                    <a:pt x="678" y="228"/>
                  </a:lnTo>
                  <a:lnTo>
                    <a:pt x="678" y="234"/>
                  </a:lnTo>
                  <a:lnTo>
                    <a:pt x="672" y="240"/>
                  </a:lnTo>
                  <a:lnTo>
                    <a:pt x="672" y="252"/>
                  </a:lnTo>
                  <a:lnTo>
                    <a:pt x="672" y="258"/>
                  </a:lnTo>
                  <a:lnTo>
                    <a:pt x="666" y="264"/>
                  </a:lnTo>
                  <a:lnTo>
                    <a:pt x="678" y="264"/>
                  </a:lnTo>
                  <a:lnTo>
                    <a:pt x="684" y="276"/>
                  </a:lnTo>
                  <a:lnTo>
                    <a:pt x="684" y="288"/>
                  </a:lnTo>
                  <a:lnTo>
                    <a:pt x="672" y="300"/>
                  </a:lnTo>
                  <a:lnTo>
                    <a:pt x="660" y="318"/>
                  </a:lnTo>
                  <a:lnTo>
                    <a:pt x="660" y="336"/>
                  </a:lnTo>
                  <a:lnTo>
                    <a:pt x="654" y="342"/>
                  </a:lnTo>
                  <a:lnTo>
                    <a:pt x="660" y="354"/>
                  </a:lnTo>
                  <a:lnTo>
                    <a:pt x="660" y="366"/>
                  </a:lnTo>
                  <a:lnTo>
                    <a:pt x="666" y="378"/>
                  </a:lnTo>
                  <a:lnTo>
                    <a:pt x="672" y="390"/>
                  </a:lnTo>
                  <a:lnTo>
                    <a:pt x="678" y="396"/>
                  </a:lnTo>
                  <a:lnTo>
                    <a:pt x="684" y="390"/>
                  </a:lnTo>
                  <a:lnTo>
                    <a:pt x="690" y="390"/>
                  </a:lnTo>
                  <a:lnTo>
                    <a:pt x="690" y="396"/>
                  </a:lnTo>
                  <a:lnTo>
                    <a:pt x="684" y="396"/>
                  </a:lnTo>
                  <a:lnTo>
                    <a:pt x="684" y="402"/>
                  </a:lnTo>
                  <a:lnTo>
                    <a:pt x="684" y="408"/>
                  </a:lnTo>
                  <a:lnTo>
                    <a:pt x="678" y="414"/>
                  </a:lnTo>
                  <a:lnTo>
                    <a:pt x="684" y="414"/>
                  </a:lnTo>
                  <a:lnTo>
                    <a:pt x="684" y="420"/>
                  </a:lnTo>
                  <a:lnTo>
                    <a:pt x="684" y="426"/>
                  </a:lnTo>
                  <a:lnTo>
                    <a:pt x="690" y="420"/>
                  </a:lnTo>
                  <a:lnTo>
                    <a:pt x="696" y="420"/>
                  </a:lnTo>
                  <a:lnTo>
                    <a:pt x="696" y="426"/>
                  </a:lnTo>
                  <a:lnTo>
                    <a:pt x="690" y="426"/>
                  </a:lnTo>
                  <a:lnTo>
                    <a:pt x="696" y="426"/>
                  </a:lnTo>
                  <a:lnTo>
                    <a:pt x="708" y="426"/>
                  </a:lnTo>
                  <a:lnTo>
                    <a:pt x="726" y="414"/>
                  </a:lnTo>
                  <a:lnTo>
                    <a:pt x="732" y="408"/>
                  </a:lnTo>
                  <a:lnTo>
                    <a:pt x="744" y="402"/>
                  </a:lnTo>
                  <a:lnTo>
                    <a:pt x="756" y="402"/>
                  </a:lnTo>
                  <a:lnTo>
                    <a:pt x="768" y="402"/>
                  </a:lnTo>
                  <a:lnTo>
                    <a:pt x="786" y="408"/>
                  </a:lnTo>
                  <a:lnTo>
                    <a:pt x="786" y="414"/>
                  </a:lnTo>
                  <a:lnTo>
                    <a:pt x="774" y="420"/>
                  </a:lnTo>
                  <a:lnTo>
                    <a:pt x="774" y="426"/>
                  </a:lnTo>
                  <a:lnTo>
                    <a:pt x="768" y="432"/>
                  </a:lnTo>
                  <a:lnTo>
                    <a:pt x="762" y="438"/>
                  </a:lnTo>
                  <a:lnTo>
                    <a:pt x="756" y="438"/>
                  </a:lnTo>
                  <a:lnTo>
                    <a:pt x="756" y="444"/>
                  </a:lnTo>
                  <a:lnTo>
                    <a:pt x="756" y="450"/>
                  </a:lnTo>
                  <a:lnTo>
                    <a:pt x="762" y="450"/>
                  </a:lnTo>
                  <a:lnTo>
                    <a:pt x="750" y="456"/>
                  </a:lnTo>
                  <a:lnTo>
                    <a:pt x="738" y="468"/>
                  </a:lnTo>
                  <a:lnTo>
                    <a:pt x="726" y="480"/>
                  </a:lnTo>
                  <a:lnTo>
                    <a:pt x="726" y="486"/>
                  </a:lnTo>
                  <a:lnTo>
                    <a:pt x="732" y="486"/>
                  </a:lnTo>
                  <a:lnTo>
                    <a:pt x="732" y="492"/>
                  </a:lnTo>
                  <a:lnTo>
                    <a:pt x="732" y="504"/>
                  </a:lnTo>
                  <a:lnTo>
                    <a:pt x="738" y="504"/>
                  </a:lnTo>
                  <a:lnTo>
                    <a:pt x="744" y="510"/>
                  </a:lnTo>
                  <a:lnTo>
                    <a:pt x="738" y="522"/>
                  </a:lnTo>
                  <a:lnTo>
                    <a:pt x="744" y="528"/>
                  </a:lnTo>
                  <a:lnTo>
                    <a:pt x="756" y="534"/>
                  </a:lnTo>
                  <a:lnTo>
                    <a:pt x="756" y="540"/>
                  </a:lnTo>
                  <a:lnTo>
                    <a:pt x="744" y="552"/>
                  </a:lnTo>
                  <a:lnTo>
                    <a:pt x="738" y="552"/>
                  </a:lnTo>
                  <a:lnTo>
                    <a:pt x="738" y="558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64"/>
                  </a:lnTo>
                  <a:lnTo>
                    <a:pt x="744" y="576"/>
                  </a:lnTo>
                  <a:lnTo>
                    <a:pt x="738" y="588"/>
                  </a:lnTo>
                  <a:lnTo>
                    <a:pt x="738" y="594"/>
                  </a:lnTo>
                  <a:lnTo>
                    <a:pt x="738" y="600"/>
                  </a:lnTo>
                  <a:lnTo>
                    <a:pt x="738" y="606"/>
                  </a:lnTo>
                  <a:lnTo>
                    <a:pt x="732" y="612"/>
                  </a:lnTo>
                  <a:lnTo>
                    <a:pt x="726" y="624"/>
                  </a:lnTo>
                  <a:lnTo>
                    <a:pt x="726" y="636"/>
                  </a:lnTo>
                  <a:lnTo>
                    <a:pt x="726" y="648"/>
                  </a:lnTo>
                  <a:lnTo>
                    <a:pt x="738" y="654"/>
                  </a:lnTo>
                  <a:lnTo>
                    <a:pt x="750" y="660"/>
                  </a:lnTo>
                  <a:lnTo>
                    <a:pt x="750" y="666"/>
                  </a:lnTo>
                  <a:lnTo>
                    <a:pt x="750" y="678"/>
                  </a:lnTo>
                  <a:lnTo>
                    <a:pt x="744" y="678"/>
                  </a:lnTo>
                  <a:lnTo>
                    <a:pt x="738" y="684"/>
                  </a:lnTo>
                  <a:lnTo>
                    <a:pt x="732" y="684"/>
                  </a:lnTo>
                  <a:lnTo>
                    <a:pt x="720" y="678"/>
                  </a:lnTo>
                  <a:lnTo>
                    <a:pt x="714" y="684"/>
                  </a:lnTo>
                  <a:lnTo>
                    <a:pt x="708" y="684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0" y="690"/>
                  </a:lnTo>
                  <a:lnTo>
                    <a:pt x="690" y="684"/>
                  </a:lnTo>
                  <a:lnTo>
                    <a:pt x="690" y="690"/>
                  </a:lnTo>
                  <a:lnTo>
                    <a:pt x="684" y="690"/>
                  </a:lnTo>
                  <a:lnTo>
                    <a:pt x="684" y="684"/>
                  </a:lnTo>
                  <a:lnTo>
                    <a:pt x="678" y="684"/>
                  </a:lnTo>
                  <a:lnTo>
                    <a:pt x="672" y="678"/>
                  </a:lnTo>
                  <a:lnTo>
                    <a:pt x="672" y="672"/>
                  </a:lnTo>
                  <a:lnTo>
                    <a:pt x="678" y="672"/>
                  </a:lnTo>
                  <a:lnTo>
                    <a:pt x="672" y="672"/>
                  </a:lnTo>
                  <a:lnTo>
                    <a:pt x="666" y="672"/>
                  </a:lnTo>
                  <a:lnTo>
                    <a:pt x="660" y="672"/>
                  </a:lnTo>
                  <a:lnTo>
                    <a:pt x="654" y="672"/>
                  </a:lnTo>
                  <a:lnTo>
                    <a:pt x="654" y="666"/>
                  </a:lnTo>
                  <a:lnTo>
                    <a:pt x="648" y="666"/>
                  </a:lnTo>
                  <a:lnTo>
                    <a:pt x="642" y="660"/>
                  </a:lnTo>
                  <a:lnTo>
                    <a:pt x="642" y="654"/>
                  </a:lnTo>
                  <a:lnTo>
                    <a:pt x="642" y="648"/>
                  </a:lnTo>
                  <a:lnTo>
                    <a:pt x="636" y="648"/>
                  </a:lnTo>
                  <a:lnTo>
                    <a:pt x="630" y="648"/>
                  </a:lnTo>
                  <a:lnTo>
                    <a:pt x="624" y="648"/>
                  </a:lnTo>
                  <a:lnTo>
                    <a:pt x="624" y="642"/>
                  </a:lnTo>
                  <a:lnTo>
                    <a:pt x="618" y="636"/>
                  </a:lnTo>
                  <a:lnTo>
                    <a:pt x="624" y="636"/>
                  </a:lnTo>
                  <a:lnTo>
                    <a:pt x="624" y="630"/>
                  </a:lnTo>
                  <a:lnTo>
                    <a:pt x="618" y="630"/>
                  </a:lnTo>
                  <a:lnTo>
                    <a:pt x="618" y="624"/>
                  </a:lnTo>
                  <a:lnTo>
                    <a:pt x="618" y="618"/>
                  </a:lnTo>
                  <a:lnTo>
                    <a:pt x="618" y="612"/>
                  </a:lnTo>
                  <a:lnTo>
                    <a:pt x="618" y="606"/>
                  </a:lnTo>
                  <a:lnTo>
                    <a:pt x="624" y="606"/>
                  </a:lnTo>
                  <a:lnTo>
                    <a:pt x="624" y="600"/>
                  </a:lnTo>
                  <a:lnTo>
                    <a:pt x="618" y="600"/>
                  </a:lnTo>
                  <a:lnTo>
                    <a:pt x="618" y="594"/>
                  </a:lnTo>
                  <a:lnTo>
                    <a:pt x="618" y="588"/>
                  </a:lnTo>
                  <a:lnTo>
                    <a:pt x="618" y="582"/>
                  </a:lnTo>
                  <a:lnTo>
                    <a:pt x="612" y="582"/>
                  </a:lnTo>
                  <a:lnTo>
                    <a:pt x="606" y="582"/>
                  </a:lnTo>
                  <a:lnTo>
                    <a:pt x="612" y="582"/>
                  </a:lnTo>
                  <a:lnTo>
                    <a:pt x="612" y="588"/>
                  </a:lnTo>
                  <a:lnTo>
                    <a:pt x="612" y="594"/>
                  </a:lnTo>
                  <a:lnTo>
                    <a:pt x="618" y="594"/>
                  </a:lnTo>
                  <a:lnTo>
                    <a:pt x="618" y="600"/>
                  </a:lnTo>
                  <a:lnTo>
                    <a:pt x="618" y="606"/>
                  </a:lnTo>
                  <a:lnTo>
                    <a:pt x="618" y="612"/>
                  </a:lnTo>
                  <a:lnTo>
                    <a:pt x="612" y="612"/>
                  </a:lnTo>
                  <a:lnTo>
                    <a:pt x="612" y="618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94" y="612"/>
                  </a:lnTo>
                  <a:lnTo>
                    <a:pt x="588" y="606"/>
                  </a:lnTo>
                  <a:lnTo>
                    <a:pt x="588" y="612"/>
                  </a:lnTo>
                  <a:lnTo>
                    <a:pt x="594" y="612"/>
                  </a:lnTo>
                  <a:lnTo>
                    <a:pt x="594" y="618"/>
                  </a:lnTo>
                  <a:lnTo>
                    <a:pt x="588" y="618"/>
                  </a:lnTo>
                  <a:lnTo>
                    <a:pt x="588" y="624"/>
                  </a:lnTo>
                  <a:lnTo>
                    <a:pt x="582" y="624"/>
                  </a:lnTo>
                  <a:lnTo>
                    <a:pt x="582" y="630"/>
                  </a:lnTo>
                  <a:lnTo>
                    <a:pt x="576" y="630"/>
                  </a:lnTo>
                  <a:lnTo>
                    <a:pt x="576" y="636"/>
                  </a:lnTo>
                  <a:lnTo>
                    <a:pt x="570" y="636"/>
                  </a:lnTo>
                  <a:lnTo>
                    <a:pt x="570" y="642"/>
                  </a:lnTo>
                  <a:lnTo>
                    <a:pt x="564" y="642"/>
                  </a:lnTo>
                  <a:lnTo>
                    <a:pt x="564" y="636"/>
                  </a:lnTo>
                  <a:lnTo>
                    <a:pt x="564" y="630"/>
                  </a:lnTo>
                  <a:lnTo>
                    <a:pt x="564" y="624"/>
                  </a:lnTo>
                  <a:lnTo>
                    <a:pt x="564" y="618"/>
                  </a:lnTo>
                  <a:lnTo>
                    <a:pt x="570" y="612"/>
                  </a:lnTo>
                  <a:lnTo>
                    <a:pt x="564" y="606"/>
                  </a:lnTo>
                  <a:lnTo>
                    <a:pt x="564" y="600"/>
                  </a:lnTo>
                  <a:lnTo>
                    <a:pt x="564" y="594"/>
                  </a:lnTo>
                  <a:lnTo>
                    <a:pt x="558" y="594"/>
                  </a:lnTo>
                  <a:lnTo>
                    <a:pt x="558" y="588"/>
                  </a:lnTo>
                  <a:lnTo>
                    <a:pt x="552" y="582"/>
                  </a:lnTo>
                  <a:lnTo>
                    <a:pt x="552" y="576"/>
                  </a:lnTo>
                  <a:lnTo>
                    <a:pt x="552" y="570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6" y="582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58" y="588"/>
                  </a:lnTo>
                  <a:lnTo>
                    <a:pt x="558" y="594"/>
                  </a:lnTo>
                  <a:lnTo>
                    <a:pt x="558" y="600"/>
                  </a:lnTo>
                  <a:lnTo>
                    <a:pt x="558" y="606"/>
                  </a:lnTo>
                  <a:lnTo>
                    <a:pt x="552" y="612"/>
                  </a:lnTo>
                  <a:lnTo>
                    <a:pt x="558" y="612"/>
                  </a:lnTo>
                  <a:lnTo>
                    <a:pt x="558" y="618"/>
                  </a:lnTo>
                  <a:lnTo>
                    <a:pt x="558" y="624"/>
                  </a:lnTo>
                  <a:lnTo>
                    <a:pt x="558" y="630"/>
                  </a:lnTo>
                  <a:lnTo>
                    <a:pt x="552" y="630"/>
                  </a:lnTo>
                  <a:lnTo>
                    <a:pt x="552" y="624"/>
                  </a:lnTo>
                  <a:lnTo>
                    <a:pt x="546" y="624"/>
                  </a:lnTo>
                  <a:lnTo>
                    <a:pt x="546" y="618"/>
                  </a:lnTo>
                  <a:lnTo>
                    <a:pt x="546" y="612"/>
                  </a:lnTo>
                  <a:lnTo>
                    <a:pt x="540" y="612"/>
                  </a:lnTo>
                  <a:lnTo>
                    <a:pt x="534" y="612"/>
                  </a:lnTo>
                  <a:lnTo>
                    <a:pt x="528" y="612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28" y="618"/>
                  </a:lnTo>
                  <a:lnTo>
                    <a:pt x="534" y="618"/>
                  </a:lnTo>
                  <a:lnTo>
                    <a:pt x="540" y="618"/>
                  </a:lnTo>
                  <a:lnTo>
                    <a:pt x="540" y="624"/>
                  </a:lnTo>
                  <a:lnTo>
                    <a:pt x="546" y="624"/>
                  </a:lnTo>
                  <a:lnTo>
                    <a:pt x="546" y="630"/>
                  </a:lnTo>
                  <a:lnTo>
                    <a:pt x="552" y="630"/>
                  </a:lnTo>
                  <a:lnTo>
                    <a:pt x="552" y="636"/>
                  </a:lnTo>
                  <a:lnTo>
                    <a:pt x="546" y="642"/>
                  </a:lnTo>
                  <a:lnTo>
                    <a:pt x="546" y="648"/>
                  </a:lnTo>
                  <a:lnTo>
                    <a:pt x="540" y="648"/>
                  </a:lnTo>
                  <a:lnTo>
                    <a:pt x="540" y="654"/>
                  </a:lnTo>
                  <a:lnTo>
                    <a:pt x="540" y="660"/>
                  </a:lnTo>
                  <a:lnTo>
                    <a:pt x="534" y="666"/>
                  </a:lnTo>
                  <a:lnTo>
                    <a:pt x="534" y="672"/>
                  </a:lnTo>
                  <a:lnTo>
                    <a:pt x="534" y="678"/>
                  </a:lnTo>
                  <a:lnTo>
                    <a:pt x="534" y="684"/>
                  </a:lnTo>
                  <a:lnTo>
                    <a:pt x="534" y="678"/>
                  </a:lnTo>
                  <a:lnTo>
                    <a:pt x="528" y="678"/>
                  </a:lnTo>
                  <a:lnTo>
                    <a:pt x="528" y="684"/>
                  </a:lnTo>
                  <a:lnTo>
                    <a:pt x="522" y="690"/>
                  </a:lnTo>
                  <a:lnTo>
                    <a:pt x="528" y="690"/>
                  </a:lnTo>
                  <a:lnTo>
                    <a:pt x="528" y="684"/>
                  </a:lnTo>
                  <a:lnTo>
                    <a:pt x="534" y="684"/>
                  </a:lnTo>
                  <a:lnTo>
                    <a:pt x="534" y="690"/>
                  </a:lnTo>
                  <a:lnTo>
                    <a:pt x="534" y="696"/>
                  </a:lnTo>
                  <a:lnTo>
                    <a:pt x="540" y="696"/>
                  </a:lnTo>
                  <a:lnTo>
                    <a:pt x="540" y="702"/>
                  </a:lnTo>
                  <a:lnTo>
                    <a:pt x="540" y="708"/>
                  </a:lnTo>
                  <a:lnTo>
                    <a:pt x="534" y="708"/>
                  </a:lnTo>
                  <a:lnTo>
                    <a:pt x="528" y="708"/>
                  </a:lnTo>
                  <a:lnTo>
                    <a:pt x="522" y="708"/>
                  </a:lnTo>
                  <a:lnTo>
                    <a:pt x="516" y="708"/>
                  </a:lnTo>
                  <a:lnTo>
                    <a:pt x="510" y="708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2" y="708"/>
                  </a:lnTo>
                  <a:lnTo>
                    <a:pt x="486" y="714"/>
                  </a:lnTo>
                  <a:lnTo>
                    <a:pt x="480" y="708"/>
                  </a:lnTo>
                  <a:lnTo>
                    <a:pt x="474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68" y="714"/>
                  </a:lnTo>
                  <a:lnTo>
                    <a:pt x="456" y="714"/>
                  </a:lnTo>
                  <a:lnTo>
                    <a:pt x="450" y="714"/>
                  </a:lnTo>
                  <a:lnTo>
                    <a:pt x="450" y="708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50" y="690"/>
                  </a:lnTo>
                  <a:lnTo>
                    <a:pt x="450" y="684"/>
                  </a:lnTo>
                  <a:lnTo>
                    <a:pt x="450" y="678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56" y="660"/>
                  </a:lnTo>
                  <a:lnTo>
                    <a:pt x="462" y="660"/>
                  </a:lnTo>
                  <a:lnTo>
                    <a:pt x="462" y="654"/>
                  </a:lnTo>
                  <a:lnTo>
                    <a:pt x="456" y="654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48"/>
                  </a:lnTo>
                  <a:lnTo>
                    <a:pt x="444" y="648"/>
                  </a:lnTo>
                  <a:lnTo>
                    <a:pt x="444" y="642"/>
                  </a:lnTo>
                  <a:lnTo>
                    <a:pt x="444" y="636"/>
                  </a:lnTo>
                  <a:lnTo>
                    <a:pt x="450" y="636"/>
                  </a:lnTo>
                  <a:lnTo>
                    <a:pt x="450" y="630"/>
                  </a:lnTo>
                  <a:lnTo>
                    <a:pt x="456" y="630"/>
                  </a:lnTo>
                  <a:lnTo>
                    <a:pt x="462" y="630"/>
                  </a:lnTo>
                  <a:lnTo>
                    <a:pt x="462" y="624"/>
                  </a:lnTo>
                  <a:lnTo>
                    <a:pt x="468" y="624"/>
                  </a:lnTo>
                  <a:lnTo>
                    <a:pt x="474" y="624"/>
                  </a:lnTo>
                  <a:lnTo>
                    <a:pt x="474" y="618"/>
                  </a:lnTo>
                  <a:lnTo>
                    <a:pt x="480" y="618"/>
                  </a:lnTo>
                  <a:lnTo>
                    <a:pt x="486" y="618"/>
                  </a:lnTo>
                  <a:lnTo>
                    <a:pt x="486" y="624"/>
                  </a:lnTo>
                  <a:lnTo>
                    <a:pt x="486" y="636"/>
                  </a:lnTo>
                  <a:lnTo>
                    <a:pt x="486" y="642"/>
                  </a:lnTo>
                  <a:lnTo>
                    <a:pt x="486" y="648"/>
                  </a:lnTo>
                  <a:lnTo>
                    <a:pt x="492" y="648"/>
                  </a:lnTo>
                  <a:lnTo>
                    <a:pt x="492" y="642"/>
                  </a:lnTo>
                  <a:lnTo>
                    <a:pt x="498" y="636"/>
                  </a:lnTo>
                  <a:lnTo>
                    <a:pt x="492" y="636"/>
                  </a:lnTo>
                  <a:lnTo>
                    <a:pt x="492" y="630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6" y="618"/>
                  </a:lnTo>
                  <a:lnTo>
                    <a:pt x="486" y="612"/>
                  </a:lnTo>
                  <a:lnTo>
                    <a:pt x="486" y="606"/>
                  </a:lnTo>
                  <a:lnTo>
                    <a:pt x="480" y="606"/>
                  </a:lnTo>
                  <a:lnTo>
                    <a:pt x="480" y="612"/>
                  </a:lnTo>
                  <a:lnTo>
                    <a:pt x="474" y="618"/>
                  </a:lnTo>
                  <a:lnTo>
                    <a:pt x="468" y="618"/>
                  </a:lnTo>
                  <a:lnTo>
                    <a:pt x="462" y="618"/>
                  </a:lnTo>
                  <a:lnTo>
                    <a:pt x="462" y="612"/>
                  </a:lnTo>
                  <a:lnTo>
                    <a:pt x="456" y="612"/>
                  </a:lnTo>
                  <a:lnTo>
                    <a:pt x="456" y="618"/>
                  </a:lnTo>
                  <a:lnTo>
                    <a:pt x="462" y="618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30"/>
                  </a:lnTo>
                  <a:lnTo>
                    <a:pt x="444" y="630"/>
                  </a:lnTo>
                  <a:lnTo>
                    <a:pt x="444" y="636"/>
                  </a:lnTo>
                  <a:lnTo>
                    <a:pt x="444" y="642"/>
                  </a:lnTo>
                  <a:lnTo>
                    <a:pt x="444" y="654"/>
                  </a:lnTo>
                  <a:lnTo>
                    <a:pt x="444" y="660"/>
                  </a:lnTo>
                  <a:lnTo>
                    <a:pt x="438" y="660"/>
                  </a:lnTo>
                  <a:lnTo>
                    <a:pt x="432" y="660"/>
                  </a:lnTo>
                  <a:lnTo>
                    <a:pt x="432" y="654"/>
                  </a:lnTo>
                  <a:lnTo>
                    <a:pt x="438" y="654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48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26" y="660"/>
                  </a:lnTo>
                  <a:lnTo>
                    <a:pt x="432" y="666"/>
                  </a:lnTo>
                  <a:lnTo>
                    <a:pt x="432" y="672"/>
                  </a:lnTo>
                  <a:lnTo>
                    <a:pt x="438" y="672"/>
                  </a:lnTo>
                  <a:lnTo>
                    <a:pt x="438" y="678"/>
                  </a:lnTo>
                  <a:lnTo>
                    <a:pt x="444" y="678"/>
                  </a:lnTo>
                  <a:lnTo>
                    <a:pt x="444" y="684"/>
                  </a:lnTo>
                  <a:lnTo>
                    <a:pt x="438" y="690"/>
                  </a:lnTo>
                  <a:lnTo>
                    <a:pt x="438" y="696"/>
                  </a:lnTo>
                  <a:lnTo>
                    <a:pt x="438" y="702"/>
                  </a:lnTo>
                  <a:lnTo>
                    <a:pt x="432" y="702"/>
                  </a:lnTo>
                  <a:lnTo>
                    <a:pt x="426" y="702"/>
                  </a:lnTo>
                  <a:lnTo>
                    <a:pt x="426" y="696"/>
                  </a:lnTo>
                  <a:lnTo>
                    <a:pt x="414" y="696"/>
                  </a:lnTo>
                  <a:lnTo>
                    <a:pt x="402" y="696"/>
                  </a:lnTo>
                  <a:lnTo>
                    <a:pt x="402" y="690"/>
                  </a:lnTo>
                  <a:lnTo>
                    <a:pt x="396" y="690"/>
                  </a:lnTo>
                  <a:lnTo>
                    <a:pt x="390" y="690"/>
                  </a:lnTo>
                  <a:lnTo>
                    <a:pt x="384" y="690"/>
                  </a:lnTo>
                  <a:lnTo>
                    <a:pt x="384" y="684"/>
                  </a:lnTo>
                  <a:lnTo>
                    <a:pt x="384" y="678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390" y="660"/>
                  </a:lnTo>
                  <a:lnTo>
                    <a:pt x="390" y="654"/>
                  </a:lnTo>
                  <a:lnTo>
                    <a:pt x="384" y="648"/>
                  </a:lnTo>
                  <a:lnTo>
                    <a:pt x="384" y="642"/>
                  </a:lnTo>
                  <a:lnTo>
                    <a:pt x="378" y="636"/>
                  </a:lnTo>
                  <a:lnTo>
                    <a:pt x="378" y="642"/>
                  </a:lnTo>
                  <a:lnTo>
                    <a:pt x="378" y="648"/>
                  </a:lnTo>
                  <a:lnTo>
                    <a:pt x="372" y="648"/>
                  </a:lnTo>
                  <a:lnTo>
                    <a:pt x="378" y="654"/>
                  </a:lnTo>
                  <a:lnTo>
                    <a:pt x="378" y="660"/>
                  </a:lnTo>
                  <a:lnTo>
                    <a:pt x="378" y="666"/>
                  </a:lnTo>
                  <a:lnTo>
                    <a:pt x="372" y="672"/>
                  </a:lnTo>
                  <a:lnTo>
                    <a:pt x="378" y="672"/>
                  </a:lnTo>
                  <a:lnTo>
                    <a:pt x="378" y="678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54" y="666"/>
                  </a:lnTo>
                  <a:lnTo>
                    <a:pt x="354" y="660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0" y="654"/>
                  </a:lnTo>
                  <a:lnTo>
                    <a:pt x="324" y="648"/>
                  </a:lnTo>
                  <a:lnTo>
                    <a:pt x="318" y="648"/>
                  </a:lnTo>
                  <a:lnTo>
                    <a:pt x="318" y="642"/>
                  </a:lnTo>
                  <a:lnTo>
                    <a:pt x="312" y="642"/>
                  </a:lnTo>
                  <a:lnTo>
                    <a:pt x="306" y="636"/>
                  </a:lnTo>
                  <a:lnTo>
                    <a:pt x="300" y="636"/>
                  </a:lnTo>
                  <a:lnTo>
                    <a:pt x="300" y="630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0" y="618"/>
                  </a:lnTo>
                  <a:lnTo>
                    <a:pt x="306" y="612"/>
                  </a:lnTo>
                  <a:lnTo>
                    <a:pt x="300" y="612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294" y="612"/>
                  </a:lnTo>
                  <a:lnTo>
                    <a:pt x="288" y="618"/>
                  </a:lnTo>
                  <a:lnTo>
                    <a:pt x="288" y="612"/>
                  </a:lnTo>
                  <a:lnTo>
                    <a:pt x="288" y="618"/>
                  </a:lnTo>
                  <a:lnTo>
                    <a:pt x="294" y="618"/>
                  </a:lnTo>
                  <a:lnTo>
                    <a:pt x="300" y="624"/>
                  </a:lnTo>
                  <a:lnTo>
                    <a:pt x="294" y="624"/>
                  </a:lnTo>
                  <a:lnTo>
                    <a:pt x="288" y="624"/>
                  </a:lnTo>
                  <a:lnTo>
                    <a:pt x="282" y="61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70" y="600"/>
                  </a:lnTo>
                  <a:lnTo>
                    <a:pt x="270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82" y="588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594"/>
                  </a:lnTo>
                  <a:lnTo>
                    <a:pt x="264" y="600"/>
                  </a:lnTo>
                  <a:lnTo>
                    <a:pt x="264" y="594"/>
                  </a:lnTo>
                  <a:lnTo>
                    <a:pt x="270" y="594"/>
                  </a:lnTo>
                  <a:lnTo>
                    <a:pt x="270" y="588"/>
                  </a:lnTo>
                  <a:lnTo>
                    <a:pt x="264" y="594"/>
                  </a:lnTo>
                  <a:lnTo>
                    <a:pt x="258" y="594"/>
                  </a:lnTo>
                  <a:lnTo>
                    <a:pt x="258" y="588"/>
                  </a:lnTo>
                  <a:lnTo>
                    <a:pt x="252" y="588"/>
                  </a:lnTo>
                  <a:lnTo>
                    <a:pt x="246" y="588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52" y="588"/>
                  </a:lnTo>
                  <a:lnTo>
                    <a:pt x="252" y="594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46" y="594"/>
                  </a:lnTo>
                  <a:lnTo>
                    <a:pt x="246" y="588"/>
                  </a:lnTo>
                  <a:lnTo>
                    <a:pt x="240" y="588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2" y="570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64"/>
                  </a:lnTo>
                  <a:lnTo>
                    <a:pt x="234" y="564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34" y="558"/>
                  </a:lnTo>
                  <a:lnTo>
                    <a:pt x="228" y="558"/>
                  </a:lnTo>
                  <a:lnTo>
                    <a:pt x="222" y="558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2" y="564"/>
                  </a:lnTo>
                  <a:lnTo>
                    <a:pt x="222" y="558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04" y="546"/>
                  </a:lnTo>
                  <a:lnTo>
                    <a:pt x="204" y="540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10" y="540"/>
                  </a:lnTo>
                  <a:lnTo>
                    <a:pt x="210" y="534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8"/>
                  </a:lnTo>
                  <a:lnTo>
                    <a:pt x="174" y="516"/>
                  </a:lnTo>
                  <a:lnTo>
                    <a:pt x="168" y="510"/>
                  </a:lnTo>
                  <a:lnTo>
                    <a:pt x="162" y="504"/>
                  </a:lnTo>
                  <a:lnTo>
                    <a:pt x="156" y="498"/>
                  </a:lnTo>
                  <a:lnTo>
                    <a:pt x="156" y="492"/>
                  </a:lnTo>
                  <a:lnTo>
                    <a:pt x="150" y="486"/>
                  </a:lnTo>
                  <a:lnTo>
                    <a:pt x="144" y="480"/>
                  </a:lnTo>
                  <a:lnTo>
                    <a:pt x="144" y="474"/>
                  </a:lnTo>
                  <a:lnTo>
                    <a:pt x="138" y="474"/>
                  </a:lnTo>
                  <a:lnTo>
                    <a:pt x="138" y="468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26" y="450"/>
                  </a:lnTo>
                  <a:lnTo>
                    <a:pt x="126" y="444"/>
                  </a:lnTo>
                  <a:lnTo>
                    <a:pt x="114" y="438"/>
                  </a:lnTo>
                  <a:lnTo>
                    <a:pt x="114" y="432"/>
                  </a:lnTo>
                  <a:lnTo>
                    <a:pt x="114" y="426"/>
                  </a:lnTo>
                  <a:lnTo>
                    <a:pt x="114" y="432"/>
                  </a:lnTo>
                  <a:lnTo>
                    <a:pt x="120" y="432"/>
                  </a:lnTo>
                  <a:lnTo>
                    <a:pt x="120" y="438"/>
                  </a:lnTo>
                  <a:lnTo>
                    <a:pt x="120" y="444"/>
                  </a:lnTo>
                  <a:lnTo>
                    <a:pt x="126" y="444"/>
                  </a:lnTo>
                  <a:lnTo>
                    <a:pt x="126" y="438"/>
                  </a:lnTo>
                  <a:lnTo>
                    <a:pt x="120" y="438"/>
                  </a:lnTo>
                  <a:lnTo>
                    <a:pt x="126" y="432"/>
                  </a:lnTo>
                  <a:lnTo>
                    <a:pt x="126" y="426"/>
                  </a:lnTo>
                  <a:lnTo>
                    <a:pt x="132" y="420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08" y="414"/>
                  </a:lnTo>
                  <a:lnTo>
                    <a:pt x="102" y="414"/>
                  </a:lnTo>
                  <a:lnTo>
                    <a:pt x="102" y="408"/>
                  </a:lnTo>
                  <a:lnTo>
                    <a:pt x="96" y="402"/>
                  </a:lnTo>
                  <a:lnTo>
                    <a:pt x="96" y="396"/>
                  </a:lnTo>
                  <a:lnTo>
                    <a:pt x="96" y="390"/>
                  </a:lnTo>
                  <a:lnTo>
                    <a:pt x="90" y="390"/>
                  </a:lnTo>
                  <a:lnTo>
                    <a:pt x="90" y="384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78" y="372"/>
                  </a:lnTo>
                  <a:lnTo>
                    <a:pt x="78" y="366"/>
                  </a:lnTo>
                  <a:lnTo>
                    <a:pt x="78" y="360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6" y="348"/>
                  </a:lnTo>
                  <a:lnTo>
                    <a:pt x="66" y="342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6" y="336"/>
                  </a:lnTo>
                  <a:lnTo>
                    <a:pt x="66" y="342"/>
                  </a:lnTo>
                  <a:lnTo>
                    <a:pt x="72" y="348"/>
                  </a:lnTo>
                  <a:lnTo>
                    <a:pt x="78" y="354"/>
                  </a:lnTo>
                  <a:lnTo>
                    <a:pt x="84" y="360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0" y="360"/>
                  </a:lnTo>
                  <a:lnTo>
                    <a:pt x="84" y="360"/>
                  </a:lnTo>
                  <a:lnTo>
                    <a:pt x="84" y="354"/>
                  </a:lnTo>
                  <a:lnTo>
                    <a:pt x="78" y="348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66" y="330"/>
                  </a:lnTo>
                  <a:lnTo>
                    <a:pt x="66" y="324"/>
                  </a:lnTo>
                  <a:lnTo>
                    <a:pt x="60" y="318"/>
                  </a:lnTo>
                  <a:lnTo>
                    <a:pt x="60" y="312"/>
                  </a:lnTo>
                  <a:lnTo>
                    <a:pt x="54" y="306"/>
                  </a:lnTo>
                  <a:lnTo>
                    <a:pt x="54" y="300"/>
                  </a:lnTo>
                  <a:lnTo>
                    <a:pt x="54" y="294"/>
                  </a:lnTo>
                  <a:lnTo>
                    <a:pt x="48" y="288"/>
                  </a:lnTo>
                  <a:lnTo>
                    <a:pt x="48" y="294"/>
                  </a:lnTo>
                  <a:lnTo>
                    <a:pt x="48" y="288"/>
                  </a:lnTo>
                  <a:lnTo>
                    <a:pt x="48" y="282"/>
                  </a:lnTo>
                  <a:lnTo>
                    <a:pt x="48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18" y="216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62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68"/>
                  </a:lnTo>
                  <a:lnTo>
                    <a:pt x="42" y="168"/>
                  </a:lnTo>
                  <a:lnTo>
                    <a:pt x="42" y="174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86"/>
                  </a:lnTo>
                  <a:close/>
                  <a:moveTo>
                    <a:pt x="642" y="660"/>
                  </a:moveTo>
                  <a:lnTo>
                    <a:pt x="642" y="666"/>
                  </a:lnTo>
                  <a:lnTo>
                    <a:pt x="648" y="666"/>
                  </a:lnTo>
                  <a:lnTo>
                    <a:pt x="648" y="672"/>
                  </a:lnTo>
                  <a:lnTo>
                    <a:pt x="648" y="678"/>
                  </a:lnTo>
                  <a:lnTo>
                    <a:pt x="654" y="678"/>
                  </a:lnTo>
                  <a:lnTo>
                    <a:pt x="654" y="684"/>
                  </a:lnTo>
                  <a:lnTo>
                    <a:pt x="660" y="684"/>
                  </a:lnTo>
                  <a:lnTo>
                    <a:pt x="660" y="690"/>
                  </a:lnTo>
                  <a:lnTo>
                    <a:pt x="654" y="690"/>
                  </a:lnTo>
                  <a:lnTo>
                    <a:pt x="648" y="690"/>
                  </a:lnTo>
                  <a:lnTo>
                    <a:pt x="636" y="696"/>
                  </a:lnTo>
                  <a:lnTo>
                    <a:pt x="630" y="696"/>
                  </a:lnTo>
                  <a:lnTo>
                    <a:pt x="624" y="696"/>
                  </a:lnTo>
                  <a:lnTo>
                    <a:pt x="618" y="696"/>
                  </a:lnTo>
                  <a:lnTo>
                    <a:pt x="612" y="696"/>
                  </a:lnTo>
                  <a:lnTo>
                    <a:pt x="594" y="696"/>
                  </a:lnTo>
                  <a:lnTo>
                    <a:pt x="588" y="696"/>
                  </a:lnTo>
                  <a:lnTo>
                    <a:pt x="582" y="696"/>
                  </a:lnTo>
                  <a:lnTo>
                    <a:pt x="570" y="702"/>
                  </a:lnTo>
                  <a:lnTo>
                    <a:pt x="564" y="702"/>
                  </a:lnTo>
                  <a:lnTo>
                    <a:pt x="558" y="702"/>
                  </a:lnTo>
                  <a:lnTo>
                    <a:pt x="552" y="702"/>
                  </a:lnTo>
                  <a:lnTo>
                    <a:pt x="552" y="696"/>
                  </a:lnTo>
                  <a:lnTo>
                    <a:pt x="546" y="696"/>
                  </a:lnTo>
                  <a:lnTo>
                    <a:pt x="546" y="690"/>
                  </a:lnTo>
                  <a:lnTo>
                    <a:pt x="552" y="684"/>
                  </a:lnTo>
                  <a:lnTo>
                    <a:pt x="552" y="678"/>
                  </a:lnTo>
                  <a:lnTo>
                    <a:pt x="558" y="672"/>
                  </a:lnTo>
                  <a:lnTo>
                    <a:pt x="558" y="666"/>
                  </a:lnTo>
                  <a:lnTo>
                    <a:pt x="564" y="666"/>
                  </a:lnTo>
                  <a:lnTo>
                    <a:pt x="570" y="666"/>
                  </a:lnTo>
                  <a:lnTo>
                    <a:pt x="570" y="654"/>
                  </a:lnTo>
                  <a:lnTo>
                    <a:pt x="570" y="648"/>
                  </a:lnTo>
                  <a:lnTo>
                    <a:pt x="582" y="642"/>
                  </a:lnTo>
                  <a:lnTo>
                    <a:pt x="582" y="636"/>
                  </a:lnTo>
                  <a:lnTo>
                    <a:pt x="588" y="636"/>
                  </a:lnTo>
                  <a:lnTo>
                    <a:pt x="588" y="630"/>
                  </a:lnTo>
                  <a:lnTo>
                    <a:pt x="594" y="624"/>
                  </a:lnTo>
                  <a:lnTo>
                    <a:pt x="594" y="618"/>
                  </a:lnTo>
                  <a:lnTo>
                    <a:pt x="600" y="618"/>
                  </a:lnTo>
                  <a:lnTo>
                    <a:pt x="600" y="612"/>
                  </a:lnTo>
                  <a:lnTo>
                    <a:pt x="606" y="612"/>
                  </a:lnTo>
                  <a:lnTo>
                    <a:pt x="606" y="618"/>
                  </a:lnTo>
                  <a:lnTo>
                    <a:pt x="612" y="618"/>
                  </a:lnTo>
                  <a:lnTo>
                    <a:pt x="618" y="618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18" y="636"/>
                  </a:lnTo>
                  <a:lnTo>
                    <a:pt x="618" y="642"/>
                  </a:lnTo>
                  <a:lnTo>
                    <a:pt x="618" y="648"/>
                  </a:lnTo>
                  <a:lnTo>
                    <a:pt x="624" y="648"/>
                  </a:lnTo>
                  <a:lnTo>
                    <a:pt x="630" y="648"/>
                  </a:lnTo>
                  <a:lnTo>
                    <a:pt x="636" y="654"/>
                  </a:lnTo>
                  <a:lnTo>
                    <a:pt x="642" y="654"/>
                  </a:lnTo>
                  <a:lnTo>
                    <a:pt x="642" y="66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0" name="Freeform 5">
              <a:extLst>
                <a:ext uri="{FF2B5EF4-FFF2-40B4-BE49-F238E27FC236}">
                  <a16:creationId xmlns:a16="http://schemas.microsoft.com/office/drawing/2014/main" id="{5577BDCA-F2C7-42E0-A391-018D79AA29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0384" y="4231013"/>
              <a:ext cx="404750" cy="480848"/>
            </a:xfrm>
            <a:custGeom>
              <a:avLst/>
              <a:gdLst>
                <a:gd name="T0" fmla="*/ 9 w 762"/>
                <a:gd name="T1" fmla="*/ 58 h 900"/>
                <a:gd name="T2" fmla="*/ 4 w 762"/>
                <a:gd name="T3" fmla="*/ 56 h 900"/>
                <a:gd name="T4" fmla="*/ 0 w 762"/>
                <a:gd name="T5" fmla="*/ 49 h 900"/>
                <a:gd name="T6" fmla="*/ 4 w 762"/>
                <a:gd name="T7" fmla="*/ 36 h 900"/>
                <a:gd name="T8" fmla="*/ 8 w 762"/>
                <a:gd name="T9" fmla="*/ 28 h 900"/>
                <a:gd name="T10" fmla="*/ 7 w 762"/>
                <a:gd name="T11" fmla="*/ 13 h 900"/>
                <a:gd name="T12" fmla="*/ 15 w 762"/>
                <a:gd name="T13" fmla="*/ 0 h 900"/>
                <a:gd name="T14" fmla="*/ 16 w 762"/>
                <a:gd name="T15" fmla="*/ 13 h 900"/>
                <a:gd name="T16" fmla="*/ 31 w 762"/>
                <a:gd name="T17" fmla="*/ 28 h 900"/>
                <a:gd name="T18" fmla="*/ 49 w 762"/>
                <a:gd name="T19" fmla="*/ 33 h 900"/>
                <a:gd name="T20" fmla="*/ 42 w 762"/>
                <a:gd name="T21" fmla="*/ 48 h 900"/>
                <a:gd name="T22" fmla="*/ 51 w 762"/>
                <a:gd name="T23" fmla="*/ 48 h 900"/>
                <a:gd name="T24" fmla="*/ 61 w 762"/>
                <a:gd name="T25" fmla="*/ 51 h 900"/>
                <a:gd name="T26" fmla="*/ 63 w 762"/>
                <a:gd name="T27" fmla="*/ 60 h 900"/>
                <a:gd name="T28" fmla="*/ 63 w 762"/>
                <a:gd name="T29" fmla="*/ 66 h 900"/>
                <a:gd name="T30" fmla="*/ 65 w 762"/>
                <a:gd name="T31" fmla="*/ 69 h 900"/>
                <a:gd name="T32" fmla="*/ 66 w 762"/>
                <a:gd name="T33" fmla="*/ 72 h 900"/>
                <a:gd name="T34" fmla="*/ 56 w 762"/>
                <a:gd name="T35" fmla="*/ 73 h 900"/>
                <a:gd name="T36" fmla="*/ 55 w 762"/>
                <a:gd name="T37" fmla="*/ 69 h 900"/>
                <a:gd name="T38" fmla="*/ 57 w 762"/>
                <a:gd name="T39" fmla="*/ 67 h 900"/>
                <a:gd name="T40" fmla="*/ 55 w 762"/>
                <a:gd name="T41" fmla="*/ 65 h 900"/>
                <a:gd name="T42" fmla="*/ 53 w 762"/>
                <a:gd name="T43" fmla="*/ 68 h 900"/>
                <a:gd name="T44" fmla="*/ 49 w 762"/>
                <a:gd name="T45" fmla="*/ 68 h 900"/>
                <a:gd name="T46" fmla="*/ 44 w 762"/>
                <a:gd name="T47" fmla="*/ 63 h 900"/>
                <a:gd name="T48" fmla="*/ 40 w 762"/>
                <a:gd name="T49" fmla="*/ 59 h 900"/>
                <a:gd name="T50" fmla="*/ 38 w 762"/>
                <a:gd name="T51" fmla="*/ 57 h 900"/>
                <a:gd name="T52" fmla="*/ 43 w 762"/>
                <a:gd name="T53" fmla="*/ 62 h 900"/>
                <a:gd name="T54" fmla="*/ 43 w 762"/>
                <a:gd name="T55" fmla="*/ 66 h 900"/>
                <a:gd name="T56" fmla="*/ 41 w 762"/>
                <a:gd name="T57" fmla="*/ 71 h 900"/>
                <a:gd name="T58" fmla="*/ 37 w 762"/>
                <a:gd name="T59" fmla="*/ 69 h 900"/>
                <a:gd name="T60" fmla="*/ 35 w 762"/>
                <a:gd name="T61" fmla="*/ 64 h 900"/>
                <a:gd name="T62" fmla="*/ 31 w 762"/>
                <a:gd name="T63" fmla="*/ 57 h 900"/>
                <a:gd name="T64" fmla="*/ 30 w 762"/>
                <a:gd name="T65" fmla="*/ 62 h 900"/>
                <a:gd name="T66" fmla="*/ 29 w 762"/>
                <a:gd name="T67" fmla="*/ 61 h 900"/>
                <a:gd name="T68" fmla="*/ 31 w 762"/>
                <a:gd name="T69" fmla="*/ 66 h 900"/>
                <a:gd name="T70" fmla="*/ 33 w 762"/>
                <a:gd name="T71" fmla="*/ 72 h 900"/>
                <a:gd name="T72" fmla="*/ 32 w 762"/>
                <a:gd name="T73" fmla="*/ 76 h 900"/>
                <a:gd name="T74" fmla="*/ 28 w 762"/>
                <a:gd name="T75" fmla="*/ 75 h 900"/>
                <a:gd name="T76" fmla="*/ 24 w 762"/>
                <a:gd name="T77" fmla="*/ 69 h 900"/>
                <a:gd name="T78" fmla="*/ 24 w 762"/>
                <a:gd name="T79" fmla="*/ 62 h 900"/>
                <a:gd name="T80" fmla="*/ 23 w 762"/>
                <a:gd name="T81" fmla="*/ 62 h 900"/>
                <a:gd name="T82" fmla="*/ 23 w 762"/>
                <a:gd name="T83" fmla="*/ 68 h 900"/>
                <a:gd name="T84" fmla="*/ 25 w 762"/>
                <a:gd name="T85" fmla="*/ 77 h 900"/>
                <a:gd name="T86" fmla="*/ 17 w 762"/>
                <a:gd name="T87" fmla="*/ 74 h 900"/>
                <a:gd name="T88" fmla="*/ 17 w 762"/>
                <a:gd name="T89" fmla="*/ 67 h 900"/>
                <a:gd name="T90" fmla="*/ 16 w 762"/>
                <a:gd name="T91" fmla="*/ 67 h 900"/>
                <a:gd name="T92" fmla="*/ 15 w 762"/>
                <a:gd name="T93" fmla="*/ 71 h 900"/>
                <a:gd name="T94" fmla="*/ 12 w 762"/>
                <a:gd name="T95" fmla="*/ 68 h 900"/>
                <a:gd name="T96" fmla="*/ 15 w 762"/>
                <a:gd name="T97" fmla="*/ 72 h 900"/>
                <a:gd name="T98" fmla="*/ 17 w 762"/>
                <a:gd name="T99" fmla="*/ 77 h 900"/>
                <a:gd name="T100" fmla="*/ 11 w 762"/>
                <a:gd name="T101" fmla="*/ 77 h 900"/>
                <a:gd name="T102" fmla="*/ 10 w 762"/>
                <a:gd name="T103" fmla="*/ 69 h 900"/>
                <a:gd name="T104" fmla="*/ 11 w 762"/>
                <a:gd name="T105" fmla="*/ 72 h 900"/>
                <a:gd name="T106" fmla="*/ 9 w 762"/>
                <a:gd name="T107" fmla="*/ 78 h 900"/>
                <a:gd name="T108" fmla="*/ 43 w 762"/>
                <a:gd name="T109" fmla="*/ 71 h 900"/>
                <a:gd name="T110" fmla="*/ 51 w 762"/>
                <a:gd name="T111" fmla="*/ 69 h 900"/>
                <a:gd name="T112" fmla="*/ 43 w 762"/>
                <a:gd name="T113" fmla="*/ 76 h 900"/>
                <a:gd name="T114" fmla="*/ 36 w 762"/>
                <a:gd name="T115" fmla="*/ 65 h 900"/>
                <a:gd name="T116" fmla="*/ 38 w 762"/>
                <a:gd name="T117" fmla="*/ 72 h 900"/>
                <a:gd name="T118" fmla="*/ 34 w 762"/>
                <a:gd name="T119" fmla="*/ 69 h 900"/>
                <a:gd name="T120" fmla="*/ 29 w 762"/>
                <a:gd name="T121" fmla="*/ 64 h 900"/>
                <a:gd name="T122" fmla="*/ 32 w 762"/>
                <a:gd name="T123" fmla="*/ 66 h 9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900"/>
                <a:gd name="T188" fmla="*/ 762 w 762"/>
                <a:gd name="T189" fmla="*/ 900 h 90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900">
                  <a:moveTo>
                    <a:pt x="90" y="768"/>
                  </a:moveTo>
                  <a:lnTo>
                    <a:pt x="102" y="756"/>
                  </a:lnTo>
                  <a:lnTo>
                    <a:pt x="102" y="750"/>
                  </a:lnTo>
                  <a:lnTo>
                    <a:pt x="90" y="744"/>
                  </a:lnTo>
                  <a:lnTo>
                    <a:pt x="84" y="738"/>
                  </a:lnTo>
                  <a:lnTo>
                    <a:pt x="90" y="726"/>
                  </a:lnTo>
                  <a:lnTo>
                    <a:pt x="84" y="720"/>
                  </a:lnTo>
                  <a:lnTo>
                    <a:pt x="78" y="720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72" y="702"/>
                  </a:lnTo>
                  <a:lnTo>
                    <a:pt x="72" y="696"/>
                  </a:lnTo>
                  <a:lnTo>
                    <a:pt x="84" y="684"/>
                  </a:lnTo>
                  <a:lnTo>
                    <a:pt x="96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102" y="654"/>
                  </a:lnTo>
                  <a:lnTo>
                    <a:pt x="108" y="654"/>
                  </a:lnTo>
                  <a:lnTo>
                    <a:pt x="114" y="648"/>
                  </a:lnTo>
                  <a:lnTo>
                    <a:pt x="120" y="642"/>
                  </a:lnTo>
                  <a:lnTo>
                    <a:pt x="120" y="636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14" y="618"/>
                  </a:lnTo>
                  <a:lnTo>
                    <a:pt x="102" y="618"/>
                  </a:lnTo>
                  <a:lnTo>
                    <a:pt x="90" y="618"/>
                  </a:lnTo>
                  <a:lnTo>
                    <a:pt x="78" y="624"/>
                  </a:lnTo>
                  <a:lnTo>
                    <a:pt x="72" y="630"/>
                  </a:lnTo>
                  <a:lnTo>
                    <a:pt x="54" y="642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42" y="642"/>
                  </a:lnTo>
                  <a:lnTo>
                    <a:pt x="42" y="636"/>
                  </a:lnTo>
                  <a:lnTo>
                    <a:pt x="36" y="636"/>
                  </a:lnTo>
                  <a:lnTo>
                    <a:pt x="30" y="642"/>
                  </a:lnTo>
                  <a:lnTo>
                    <a:pt x="30" y="636"/>
                  </a:lnTo>
                  <a:lnTo>
                    <a:pt x="30" y="630"/>
                  </a:lnTo>
                  <a:lnTo>
                    <a:pt x="24" y="630"/>
                  </a:lnTo>
                  <a:lnTo>
                    <a:pt x="30" y="624"/>
                  </a:lnTo>
                  <a:lnTo>
                    <a:pt x="30" y="618"/>
                  </a:lnTo>
                  <a:lnTo>
                    <a:pt x="30" y="612"/>
                  </a:lnTo>
                  <a:lnTo>
                    <a:pt x="36" y="612"/>
                  </a:lnTo>
                  <a:lnTo>
                    <a:pt x="36" y="606"/>
                  </a:lnTo>
                  <a:lnTo>
                    <a:pt x="30" y="606"/>
                  </a:lnTo>
                  <a:lnTo>
                    <a:pt x="24" y="612"/>
                  </a:lnTo>
                  <a:lnTo>
                    <a:pt x="18" y="606"/>
                  </a:lnTo>
                  <a:lnTo>
                    <a:pt x="12" y="594"/>
                  </a:lnTo>
                  <a:lnTo>
                    <a:pt x="6" y="582"/>
                  </a:lnTo>
                  <a:lnTo>
                    <a:pt x="6" y="570"/>
                  </a:lnTo>
                  <a:lnTo>
                    <a:pt x="0" y="558"/>
                  </a:lnTo>
                  <a:lnTo>
                    <a:pt x="6" y="552"/>
                  </a:lnTo>
                  <a:lnTo>
                    <a:pt x="6" y="534"/>
                  </a:lnTo>
                  <a:lnTo>
                    <a:pt x="18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12" y="480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54" y="408"/>
                  </a:lnTo>
                  <a:lnTo>
                    <a:pt x="54" y="396"/>
                  </a:lnTo>
                  <a:lnTo>
                    <a:pt x="54" y="384"/>
                  </a:lnTo>
                  <a:lnTo>
                    <a:pt x="60" y="378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66"/>
                  </a:lnTo>
                  <a:lnTo>
                    <a:pt x="60" y="360"/>
                  </a:lnTo>
                  <a:lnTo>
                    <a:pt x="66" y="360"/>
                  </a:lnTo>
                  <a:lnTo>
                    <a:pt x="72" y="354"/>
                  </a:lnTo>
                  <a:lnTo>
                    <a:pt x="78" y="354"/>
                  </a:lnTo>
                  <a:lnTo>
                    <a:pt x="84" y="348"/>
                  </a:lnTo>
                  <a:lnTo>
                    <a:pt x="96" y="348"/>
                  </a:lnTo>
                  <a:lnTo>
                    <a:pt x="96" y="342"/>
                  </a:lnTo>
                  <a:lnTo>
                    <a:pt x="96" y="336"/>
                  </a:lnTo>
                  <a:lnTo>
                    <a:pt x="96" y="330"/>
                  </a:lnTo>
                  <a:lnTo>
                    <a:pt x="96" y="324"/>
                  </a:lnTo>
                  <a:lnTo>
                    <a:pt x="102" y="318"/>
                  </a:lnTo>
                  <a:lnTo>
                    <a:pt x="108" y="312"/>
                  </a:lnTo>
                  <a:lnTo>
                    <a:pt x="96" y="306"/>
                  </a:lnTo>
                  <a:lnTo>
                    <a:pt x="84" y="288"/>
                  </a:lnTo>
                  <a:lnTo>
                    <a:pt x="108" y="258"/>
                  </a:lnTo>
                  <a:lnTo>
                    <a:pt x="102" y="222"/>
                  </a:lnTo>
                  <a:lnTo>
                    <a:pt x="84" y="222"/>
                  </a:lnTo>
                  <a:lnTo>
                    <a:pt x="54" y="216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2"/>
                  </a:lnTo>
                  <a:lnTo>
                    <a:pt x="72" y="192"/>
                  </a:lnTo>
                  <a:lnTo>
                    <a:pt x="84" y="186"/>
                  </a:lnTo>
                  <a:lnTo>
                    <a:pt x="90" y="186"/>
                  </a:lnTo>
                  <a:lnTo>
                    <a:pt x="90" y="174"/>
                  </a:lnTo>
                  <a:lnTo>
                    <a:pt x="84" y="162"/>
                  </a:lnTo>
                  <a:lnTo>
                    <a:pt x="84" y="150"/>
                  </a:lnTo>
                  <a:lnTo>
                    <a:pt x="84" y="126"/>
                  </a:lnTo>
                  <a:lnTo>
                    <a:pt x="84" y="114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8" y="96"/>
                  </a:lnTo>
                  <a:lnTo>
                    <a:pt x="120" y="90"/>
                  </a:lnTo>
                  <a:lnTo>
                    <a:pt x="126" y="78"/>
                  </a:lnTo>
                  <a:lnTo>
                    <a:pt x="138" y="66"/>
                  </a:lnTo>
                  <a:lnTo>
                    <a:pt x="138" y="48"/>
                  </a:lnTo>
                  <a:lnTo>
                    <a:pt x="138" y="42"/>
                  </a:lnTo>
                  <a:lnTo>
                    <a:pt x="126" y="30"/>
                  </a:lnTo>
                  <a:lnTo>
                    <a:pt x="120" y="18"/>
                  </a:lnTo>
                  <a:lnTo>
                    <a:pt x="132" y="12"/>
                  </a:lnTo>
                  <a:lnTo>
                    <a:pt x="144" y="0"/>
                  </a:lnTo>
                  <a:lnTo>
                    <a:pt x="150" y="6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6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74" y="66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68" y="72"/>
                  </a:lnTo>
                  <a:lnTo>
                    <a:pt x="156" y="150"/>
                  </a:lnTo>
                  <a:lnTo>
                    <a:pt x="168" y="144"/>
                  </a:lnTo>
                  <a:lnTo>
                    <a:pt x="180" y="150"/>
                  </a:lnTo>
                  <a:lnTo>
                    <a:pt x="186" y="150"/>
                  </a:lnTo>
                  <a:lnTo>
                    <a:pt x="186" y="144"/>
                  </a:lnTo>
                  <a:lnTo>
                    <a:pt x="192" y="150"/>
                  </a:lnTo>
                  <a:lnTo>
                    <a:pt x="222" y="150"/>
                  </a:lnTo>
                  <a:lnTo>
                    <a:pt x="222" y="168"/>
                  </a:lnTo>
                  <a:lnTo>
                    <a:pt x="222" y="186"/>
                  </a:lnTo>
                  <a:lnTo>
                    <a:pt x="234" y="198"/>
                  </a:lnTo>
                  <a:lnTo>
                    <a:pt x="234" y="234"/>
                  </a:lnTo>
                  <a:lnTo>
                    <a:pt x="228" y="270"/>
                  </a:lnTo>
                  <a:lnTo>
                    <a:pt x="246" y="282"/>
                  </a:lnTo>
                  <a:lnTo>
                    <a:pt x="258" y="294"/>
                  </a:lnTo>
                  <a:lnTo>
                    <a:pt x="270" y="300"/>
                  </a:lnTo>
                  <a:lnTo>
                    <a:pt x="294" y="300"/>
                  </a:lnTo>
                  <a:lnTo>
                    <a:pt x="288" y="306"/>
                  </a:lnTo>
                  <a:lnTo>
                    <a:pt x="300" y="312"/>
                  </a:lnTo>
                  <a:lnTo>
                    <a:pt x="306" y="318"/>
                  </a:lnTo>
                  <a:lnTo>
                    <a:pt x="324" y="324"/>
                  </a:lnTo>
                  <a:lnTo>
                    <a:pt x="354" y="318"/>
                  </a:lnTo>
                  <a:lnTo>
                    <a:pt x="354" y="312"/>
                  </a:lnTo>
                  <a:lnTo>
                    <a:pt x="366" y="312"/>
                  </a:lnTo>
                  <a:lnTo>
                    <a:pt x="384" y="312"/>
                  </a:lnTo>
                  <a:lnTo>
                    <a:pt x="390" y="306"/>
                  </a:lnTo>
                  <a:lnTo>
                    <a:pt x="396" y="306"/>
                  </a:lnTo>
                  <a:lnTo>
                    <a:pt x="408" y="306"/>
                  </a:lnTo>
                  <a:lnTo>
                    <a:pt x="426" y="312"/>
                  </a:lnTo>
                  <a:lnTo>
                    <a:pt x="456" y="324"/>
                  </a:lnTo>
                  <a:lnTo>
                    <a:pt x="504" y="330"/>
                  </a:lnTo>
                  <a:lnTo>
                    <a:pt x="510" y="336"/>
                  </a:lnTo>
                  <a:lnTo>
                    <a:pt x="534" y="336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58" y="330"/>
                  </a:lnTo>
                  <a:lnTo>
                    <a:pt x="564" y="330"/>
                  </a:lnTo>
                  <a:lnTo>
                    <a:pt x="570" y="354"/>
                  </a:lnTo>
                  <a:lnTo>
                    <a:pt x="564" y="378"/>
                  </a:lnTo>
                  <a:lnTo>
                    <a:pt x="558" y="396"/>
                  </a:lnTo>
                  <a:lnTo>
                    <a:pt x="546" y="414"/>
                  </a:lnTo>
                  <a:lnTo>
                    <a:pt x="546" y="438"/>
                  </a:lnTo>
                  <a:lnTo>
                    <a:pt x="540" y="456"/>
                  </a:lnTo>
                  <a:lnTo>
                    <a:pt x="540" y="474"/>
                  </a:lnTo>
                  <a:lnTo>
                    <a:pt x="528" y="480"/>
                  </a:lnTo>
                  <a:lnTo>
                    <a:pt x="522" y="492"/>
                  </a:lnTo>
                  <a:lnTo>
                    <a:pt x="504" y="498"/>
                  </a:lnTo>
                  <a:lnTo>
                    <a:pt x="498" y="498"/>
                  </a:lnTo>
                  <a:lnTo>
                    <a:pt x="492" y="504"/>
                  </a:lnTo>
                  <a:lnTo>
                    <a:pt x="486" y="510"/>
                  </a:lnTo>
                  <a:lnTo>
                    <a:pt x="480" y="510"/>
                  </a:lnTo>
                  <a:lnTo>
                    <a:pt x="480" y="516"/>
                  </a:lnTo>
                  <a:lnTo>
                    <a:pt x="474" y="522"/>
                  </a:lnTo>
                  <a:lnTo>
                    <a:pt x="474" y="528"/>
                  </a:lnTo>
                  <a:lnTo>
                    <a:pt x="474" y="534"/>
                  </a:lnTo>
                  <a:lnTo>
                    <a:pt x="480" y="540"/>
                  </a:lnTo>
                  <a:lnTo>
                    <a:pt x="492" y="540"/>
                  </a:lnTo>
                  <a:lnTo>
                    <a:pt x="498" y="546"/>
                  </a:lnTo>
                  <a:lnTo>
                    <a:pt x="504" y="552"/>
                  </a:lnTo>
                  <a:lnTo>
                    <a:pt x="510" y="552"/>
                  </a:lnTo>
                  <a:lnTo>
                    <a:pt x="516" y="558"/>
                  </a:lnTo>
                  <a:lnTo>
                    <a:pt x="528" y="558"/>
                  </a:lnTo>
                  <a:lnTo>
                    <a:pt x="534" y="552"/>
                  </a:lnTo>
                  <a:lnTo>
                    <a:pt x="540" y="552"/>
                  </a:lnTo>
                  <a:lnTo>
                    <a:pt x="546" y="552"/>
                  </a:lnTo>
                  <a:lnTo>
                    <a:pt x="558" y="546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70" y="546"/>
                  </a:lnTo>
                  <a:lnTo>
                    <a:pt x="570" y="540"/>
                  </a:lnTo>
                  <a:lnTo>
                    <a:pt x="570" y="546"/>
                  </a:lnTo>
                  <a:lnTo>
                    <a:pt x="576" y="546"/>
                  </a:lnTo>
                  <a:lnTo>
                    <a:pt x="582" y="546"/>
                  </a:lnTo>
                  <a:lnTo>
                    <a:pt x="588" y="540"/>
                  </a:lnTo>
                  <a:lnTo>
                    <a:pt x="594" y="546"/>
                  </a:lnTo>
                  <a:lnTo>
                    <a:pt x="606" y="546"/>
                  </a:lnTo>
                  <a:lnTo>
                    <a:pt x="612" y="546"/>
                  </a:lnTo>
                  <a:lnTo>
                    <a:pt x="612" y="552"/>
                  </a:lnTo>
                  <a:lnTo>
                    <a:pt x="618" y="552"/>
                  </a:lnTo>
                  <a:lnTo>
                    <a:pt x="624" y="552"/>
                  </a:lnTo>
                  <a:lnTo>
                    <a:pt x="630" y="552"/>
                  </a:lnTo>
                  <a:lnTo>
                    <a:pt x="648" y="546"/>
                  </a:lnTo>
                  <a:lnTo>
                    <a:pt x="654" y="546"/>
                  </a:lnTo>
                  <a:lnTo>
                    <a:pt x="654" y="552"/>
                  </a:lnTo>
                  <a:lnTo>
                    <a:pt x="660" y="558"/>
                  </a:lnTo>
                  <a:lnTo>
                    <a:pt x="666" y="564"/>
                  </a:lnTo>
                  <a:lnTo>
                    <a:pt x="672" y="564"/>
                  </a:lnTo>
                  <a:lnTo>
                    <a:pt x="678" y="564"/>
                  </a:lnTo>
                  <a:lnTo>
                    <a:pt x="696" y="576"/>
                  </a:lnTo>
                  <a:lnTo>
                    <a:pt x="696" y="582"/>
                  </a:lnTo>
                  <a:lnTo>
                    <a:pt x="708" y="588"/>
                  </a:lnTo>
                  <a:lnTo>
                    <a:pt x="708" y="594"/>
                  </a:lnTo>
                  <a:lnTo>
                    <a:pt x="720" y="606"/>
                  </a:lnTo>
                  <a:lnTo>
                    <a:pt x="720" y="618"/>
                  </a:lnTo>
                  <a:lnTo>
                    <a:pt x="720" y="624"/>
                  </a:lnTo>
                  <a:lnTo>
                    <a:pt x="726" y="630"/>
                  </a:lnTo>
                  <a:lnTo>
                    <a:pt x="732" y="636"/>
                  </a:lnTo>
                  <a:lnTo>
                    <a:pt x="732" y="642"/>
                  </a:lnTo>
                  <a:lnTo>
                    <a:pt x="732" y="648"/>
                  </a:lnTo>
                  <a:lnTo>
                    <a:pt x="726" y="654"/>
                  </a:lnTo>
                  <a:lnTo>
                    <a:pt x="720" y="660"/>
                  </a:lnTo>
                  <a:lnTo>
                    <a:pt x="714" y="666"/>
                  </a:lnTo>
                  <a:lnTo>
                    <a:pt x="714" y="672"/>
                  </a:lnTo>
                  <a:lnTo>
                    <a:pt x="714" y="678"/>
                  </a:lnTo>
                  <a:lnTo>
                    <a:pt x="720" y="678"/>
                  </a:lnTo>
                  <a:lnTo>
                    <a:pt x="720" y="684"/>
                  </a:lnTo>
                  <a:lnTo>
                    <a:pt x="714" y="690"/>
                  </a:lnTo>
                  <a:lnTo>
                    <a:pt x="714" y="696"/>
                  </a:lnTo>
                  <a:lnTo>
                    <a:pt x="714" y="702"/>
                  </a:lnTo>
                  <a:lnTo>
                    <a:pt x="714" y="708"/>
                  </a:lnTo>
                  <a:lnTo>
                    <a:pt x="720" y="708"/>
                  </a:lnTo>
                  <a:lnTo>
                    <a:pt x="720" y="720"/>
                  </a:lnTo>
                  <a:lnTo>
                    <a:pt x="720" y="726"/>
                  </a:lnTo>
                  <a:lnTo>
                    <a:pt x="726" y="726"/>
                  </a:lnTo>
                  <a:lnTo>
                    <a:pt x="726" y="732"/>
                  </a:lnTo>
                  <a:lnTo>
                    <a:pt x="732" y="732"/>
                  </a:lnTo>
                  <a:lnTo>
                    <a:pt x="732" y="738"/>
                  </a:lnTo>
                  <a:lnTo>
                    <a:pt x="726" y="738"/>
                  </a:lnTo>
                  <a:lnTo>
                    <a:pt x="720" y="738"/>
                  </a:lnTo>
                  <a:lnTo>
                    <a:pt x="720" y="744"/>
                  </a:lnTo>
                  <a:lnTo>
                    <a:pt x="720" y="750"/>
                  </a:lnTo>
                  <a:lnTo>
                    <a:pt x="714" y="750"/>
                  </a:lnTo>
                  <a:lnTo>
                    <a:pt x="714" y="756"/>
                  </a:lnTo>
                  <a:lnTo>
                    <a:pt x="720" y="756"/>
                  </a:lnTo>
                  <a:lnTo>
                    <a:pt x="714" y="762"/>
                  </a:lnTo>
                  <a:lnTo>
                    <a:pt x="720" y="762"/>
                  </a:lnTo>
                  <a:lnTo>
                    <a:pt x="726" y="768"/>
                  </a:lnTo>
                  <a:lnTo>
                    <a:pt x="726" y="774"/>
                  </a:lnTo>
                  <a:lnTo>
                    <a:pt x="732" y="774"/>
                  </a:lnTo>
                  <a:lnTo>
                    <a:pt x="732" y="780"/>
                  </a:lnTo>
                  <a:lnTo>
                    <a:pt x="726" y="780"/>
                  </a:lnTo>
                  <a:lnTo>
                    <a:pt x="726" y="786"/>
                  </a:lnTo>
                  <a:lnTo>
                    <a:pt x="720" y="786"/>
                  </a:lnTo>
                  <a:lnTo>
                    <a:pt x="726" y="786"/>
                  </a:lnTo>
                  <a:lnTo>
                    <a:pt x="732" y="780"/>
                  </a:lnTo>
                  <a:lnTo>
                    <a:pt x="738" y="780"/>
                  </a:lnTo>
                  <a:lnTo>
                    <a:pt x="744" y="780"/>
                  </a:lnTo>
                  <a:lnTo>
                    <a:pt x="744" y="786"/>
                  </a:lnTo>
                  <a:lnTo>
                    <a:pt x="750" y="786"/>
                  </a:lnTo>
                  <a:lnTo>
                    <a:pt x="744" y="786"/>
                  </a:lnTo>
                  <a:lnTo>
                    <a:pt x="744" y="792"/>
                  </a:lnTo>
                  <a:lnTo>
                    <a:pt x="744" y="786"/>
                  </a:lnTo>
                  <a:lnTo>
                    <a:pt x="738" y="792"/>
                  </a:lnTo>
                  <a:lnTo>
                    <a:pt x="744" y="792"/>
                  </a:lnTo>
                  <a:lnTo>
                    <a:pt x="750" y="792"/>
                  </a:lnTo>
                  <a:lnTo>
                    <a:pt x="750" y="786"/>
                  </a:lnTo>
                  <a:lnTo>
                    <a:pt x="756" y="786"/>
                  </a:lnTo>
                  <a:lnTo>
                    <a:pt x="756" y="792"/>
                  </a:lnTo>
                  <a:lnTo>
                    <a:pt x="762" y="792"/>
                  </a:lnTo>
                  <a:lnTo>
                    <a:pt x="756" y="798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0" y="810"/>
                  </a:lnTo>
                  <a:lnTo>
                    <a:pt x="756" y="810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6" y="816"/>
                  </a:lnTo>
                  <a:lnTo>
                    <a:pt x="750" y="816"/>
                  </a:lnTo>
                  <a:lnTo>
                    <a:pt x="738" y="810"/>
                  </a:lnTo>
                  <a:lnTo>
                    <a:pt x="732" y="810"/>
                  </a:lnTo>
                  <a:lnTo>
                    <a:pt x="732" y="816"/>
                  </a:lnTo>
                  <a:lnTo>
                    <a:pt x="726" y="810"/>
                  </a:lnTo>
                  <a:lnTo>
                    <a:pt x="714" y="816"/>
                  </a:lnTo>
                  <a:lnTo>
                    <a:pt x="708" y="816"/>
                  </a:lnTo>
                  <a:lnTo>
                    <a:pt x="702" y="816"/>
                  </a:lnTo>
                  <a:lnTo>
                    <a:pt x="696" y="816"/>
                  </a:lnTo>
                  <a:lnTo>
                    <a:pt x="690" y="822"/>
                  </a:lnTo>
                  <a:lnTo>
                    <a:pt x="684" y="822"/>
                  </a:lnTo>
                  <a:lnTo>
                    <a:pt x="678" y="822"/>
                  </a:lnTo>
                  <a:lnTo>
                    <a:pt x="672" y="822"/>
                  </a:lnTo>
                  <a:lnTo>
                    <a:pt x="666" y="822"/>
                  </a:lnTo>
                  <a:lnTo>
                    <a:pt x="666" y="828"/>
                  </a:lnTo>
                  <a:lnTo>
                    <a:pt x="654" y="828"/>
                  </a:lnTo>
                  <a:lnTo>
                    <a:pt x="648" y="828"/>
                  </a:lnTo>
                  <a:lnTo>
                    <a:pt x="642" y="828"/>
                  </a:lnTo>
                  <a:lnTo>
                    <a:pt x="630" y="828"/>
                  </a:lnTo>
                  <a:lnTo>
                    <a:pt x="624" y="822"/>
                  </a:lnTo>
                  <a:lnTo>
                    <a:pt x="618" y="822"/>
                  </a:lnTo>
                  <a:lnTo>
                    <a:pt x="612" y="822"/>
                  </a:lnTo>
                  <a:lnTo>
                    <a:pt x="606" y="822"/>
                  </a:lnTo>
                  <a:lnTo>
                    <a:pt x="600" y="822"/>
                  </a:lnTo>
                  <a:lnTo>
                    <a:pt x="594" y="822"/>
                  </a:lnTo>
                  <a:lnTo>
                    <a:pt x="594" y="816"/>
                  </a:lnTo>
                  <a:lnTo>
                    <a:pt x="594" y="810"/>
                  </a:lnTo>
                  <a:lnTo>
                    <a:pt x="600" y="804"/>
                  </a:lnTo>
                  <a:lnTo>
                    <a:pt x="600" y="798"/>
                  </a:lnTo>
                  <a:lnTo>
                    <a:pt x="600" y="792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2" y="786"/>
                  </a:lnTo>
                  <a:lnTo>
                    <a:pt x="618" y="786"/>
                  </a:lnTo>
                  <a:lnTo>
                    <a:pt x="624" y="786"/>
                  </a:lnTo>
                  <a:lnTo>
                    <a:pt x="624" y="780"/>
                  </a:lnTo>
                  <a:lnTo>
                    <a:pt x="630" y="780"/>
                  </a:lnTo>
                  <a:lnTo>
                    <a:pt x="630" y="774"/>
                  </a:lnTo>
                  <a:lnTo>
                    <a:pt x="636" y="774"/>
                  </a:lnTo>
                  <a:lnTo>
                    <a:pt x="642" y="780"/>
                  </a:lnTo>
                  <a:lnTo>
                    <a:pt x="642" y="786"/>
                  </a:lnTo>
                  <a:lnTo>
                    <a:pt x="642" y="792"/>
                  </a:lnTo>
                  <a:lnTo>
                    <a:pt x="648" y="792"/>
                  </a:lnTo>
                  <a:lnTo>
                    <a:pt x="648" y="786"/>
                  </a:lnTo>
                  <a:lnTo>
                    <a:pt x="642" y="786"/>
                  </a:lnTo>
                  <a:lnTo>
                    <a:pt x="642" y="780"/>
                  </a:lnTo>
                  <a:lnTo>
                    <a:pt x="642" y="774"/>
                  </a:lnTo>
                  <a:lnTo>
                    <a:pt x="648" y="768"/>
                  </a:lnTo>
                  <a:lnTo>
                    <a:pt x="642" y="768"/>
                  </a:lnTo>
                  <a:lnTo>
                    <a:pt x="648" y="768"/>
                  </a:lnTo>
                  <a:lnTo>
                    <a:pt x="648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66" y="762"/>
                  </a:lnTo>
                  <a:lnTo>
                    <a:pt x="672" y="756"/>
                  </a:lnTo>
                  <a:lnTo>
                    <a:pt x="666" y="756"/>
                  </a:lnTo>
                  <a:lnTo>
                    <a:pt x="660" y="756"/>
                  </a:lnTo>
                  <a:lnTo>
                    <a:pt x="660" y="750"/>
                  </a:lnTo>
                  <a:lnTo>
                    <a:pt x="654" y="750"/>
                  </a:lnTo>
                  <a:lnTo>
                    <a:pt x="648" y="750"/>
                  </a:lnTo>
                  <a:lnTo>
                    <a:pt x="648" y="756"/>
                  </a:lnTo>
                  <a:lnTo>
                    <a:pt x="642" y="756"/>
                  </a:lnTo>
                  <a:lnTo>
                    <a:pt x="642" y="750"/>
                  </a:lnTo>
                  <a:lnTo>
                    <a:pt x="642" y="744"/>
                  </a:lnTo>
                  <a:lnTo>
                    <a:pt x="642" y="750"/>
                  </a:lnTo>
                  <a:lnTo>
                    <a:pt x="636" y="750"/>
                  </a:lnTo>
                  <a:lnTo>
                    <a:pt x="636" y="744"/>
                  </a:lnTo>
                  <a:lnTo>
                    <a:pt x="630" y="744"/>
                  </a:lnTo>
                  <a:lnTo>
                    <a:pt x="630" y="738"/>
                  </a:lnTo>
                  <a:lnTo>
                    <a:pt x="630" y="744"/>
                  </a:lnTo>
                  <a:lnTo>
                    <a:pt x="630" y="750"/>
                  </a:lnTo>
                  <a:lnTo>
                    <a:pt x="636" y="750"/>
                  </a:lnTo>
                  <a:lnTo>
                    <a:pt x="636" y="756"/>
                  </a:lnTo>
                  <a:lnTo>
                    <a:pt x="630" y="756"/>
                  </a:lnTo>
                  <a:lnTo>
                    <a:pt x="636" y="762"/>
                  </a:lnTo>
                  <a:lnTo>
                    <a:pt x="630" y="762"/>
                  </a:lnTo>
                  <a:lnTo>
                    <a:pt x="624" y="762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24" y="786"/>
                  </a:lnTo>
                  <a:lnTo>
                    <a:pt x="618" y="786"/>
                  </a:lnTo>
                  <a:lnTo>
                    <a:pt x="618" y="78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12" y="774"/>
                  </a:lnTo>
                  <a:lnTo>
                    <a:pt x="612" y="780"/>
                  </a:lnTo>
                  <a:lnTo>
                    <a:pt x="606" y="780"/>
                  </a:lnTo>
                  <a:lnTo>
                    <a:pt x="600" y="780"/>
                  </a:lnTo>
                  <a:lnTo>
                    <a:pt x="600" y="774"/>
                  </a:lnTo>
                  <a:lnTo>
                    <a:pt x="594" y="768"/>
                  </a:lnTo>
                  <a:lnTo>
                    <a:pt x="594" y="762"/>
                  </a:lnTo>
                  <a:lnTo>
                    <a:pt x="594" y="756"/>
                  </a:lnTo>
                  <a:lnTo>
                    <a:pt x="594" y="762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594" y="780"/>
                  </a:lnTo>
                  <a:lnTo>
                    <a:pt x="588" y="780"/>
                  </a:lnTo>
                  <a:lnTo>
                    <a:pt x="582" y="780"/>
                  </a:lnTo>
                  <a:lnTo>
                    <a:pt x="576" y="780"/>
                  </a:lnTo>
                  <a:lnTo>
                    <a:pt x="570" y="780"/>
                  </a:lnTo>
                  <a:lnTo>
                    <a:pt x="564" y="780"/>
                  </a:lnTo>
                  <a:lnTo>
                    <a:pt x="564" y="786"/>
                  </a:lnTo>
                  <a:lnTo>
                    <a:pt x="558" y="786"/>
                  </a:lnTo>
                  <a:lnTo>
                    <a:pt x="552" y="786"/>
                  </a:lnTo>
                  <a:lnTo>
                    <a:pt x="552" y="780"/>
                  </a:lnTo>
                  <a:lnTo>
                    <a:pt x="552" y="774"/>
                  </a:lnTo>
                  <a:lnTo>
                    <a:pt x="552" y="768"/>
                  </a:lnTo>
                  <a:lnTo>
                    <a:pt x="546" y="768"/>
                  </a:lnTo>
                  <a:lnTo>
                    <a:pt x="540" y="762"/>
                  </a:lnTo>
                  <a:lnTo>
                    <a:pt x="540" y="756"/>
                  </a:lnTo>
                  <a:lnTo>
                    <a:pt x="534" y="756"/>
                  </a:lnTo>
                  <a:lnTo>
                    <a:pt x="534" y="750"/>
                  </a:lnTo>
                  <a:lnTo>
                    <a:pt x="534" y="744"/>
                  </a:lnTo>
                  <a:lnTo>
                    <a:pt x="528" y="738"/>
                  </a:lnTo>
                  <a:lnTo>
                    <a:pt x="522" y="738"/>
                  </a:lnTo>
                  <a:lnTo>
                    <a:pt x="522" y="732"/>
                  </a:lnTo>
                  <a:lnTo>
                    <a:pt x="510" y="726"/>
                  </a:lnTo>
                  <a:lnTo>
                    <a:pt x="510" y="720"/>
                  </a:lnTo>
                  <a:lnTo>
                    <a:pt x="504" y="720"/>
                  </a:lnTo>
                  <a:lnTo>
                    <a:pt x="504" y="714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8" y="702"/>
                  </a:lnTo>
                  <a:lnTo>
                    <a:pt x="498" y="696"/>
                  </a:lnTo>
                  <a:lnTo>
                    <a:pt x="492" y="690"/>
                  </a:lnTo>
                  <a:lnTo>
                    <a:pt x="492" y="684"/>
                  </a:lnTo>
                  <a:lnTo>
                    <a:pt x="486" y="684"/>
                  </a:lnTo>
                  <a:lnTo>
                    <a:pt x="486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74" y="678"/>
                  </a:lnTo>
                  <a:lnTo>
                    <a:pt x="468" y="678"/>
                  </a:lnTo>
                  <a:lnTo>
                    <a:pt x="462" y="678"/>
                  </a:lnTo>
                  <a:lnTo>
                    <a:pt x="462" y="672"/>
                  </a:lnTo>
                  <a:lnTo>
                    <a:pt x="456" y="672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44" y="666"/>
                  </a:lnTo>
                  <a:lnTo>
                    <a:pt x="438" y="660"/>
                  </a:lnTo>
                  <a:lnTo>
                    <a:pt x="438" y="648"/>
                  </a:lnTo>
                  <a:lnTo>
                    <a:pt x="438" y="642"/>
                  </a:lnTo>
                  <a:lnTo>
                    <a:pt x="438" y="636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36"/>
                  </a:lnTo>
                  <a:lnTo>
                    <a:pt x="420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60"/>
                  </a:lnTo>
                  <a:lnTo>
                    <a:pt x="432" y="666"/>
                  </a:lnTo>
                  <a:lnTo>
                    <a:pt x="438" y="666"/>
                  </a:lnTo>
                  <a:lnTo>
                    <a:pt x="438" y="672"/>
                  </a:lnTo>
                  <a:lnTo>
                    <a:pt x="444" y="672"/>
                  </a:lnTo>
                  <a:lnTo>
                    <a:pt x="444" y="678"/>
                  </a:lnTo>
                  <a:lnTo>
                    <a:pt x="450" y="678"/>
                  </a:lnTo>
                  <a:lnTo>
                    <a:pt x="456" y="678"/>
                  </a:lnTo>
                  <a:lnTo>
                    <a:pt x="456" y="684"/>
                  </a:lnTo>
                  <a:lnTo>
                    <a:pt x="462" y="684"/>
                  </a:lnTo>
                  <a:lnTo>
                    <a:pt x="468" y="684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80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86" y="708"/>
                  </a:lnTo>
                  <a:lnTo>
                    <a:pt x="492" y="714"/>
                  </a:lnTo>
                  <a:lnTo>
                    <a:pt x="492" y="720"/>
                  </a:lnTo>
                  <a:lnTo>
                    <a:pt x="492" y="726"/>
                  </a:lnTo>
                  <a:lnTo>
                    <a:pt x="498" y="732"/>
                  </a:lnTo>
                  <a:lnTo>
                    <a:pt x="492" y="738"/>
                  </a:lnTo>
                  <a:lnTo>
                    <a:pt x="492" y="744"/>
                  </a:lnTo>
                  <a:lnTo>
                    <a:pt x="492" y="750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68" y="738"/>
                  </a:lnTo>
                  <a:lnTo>
                    <a:pt x="468" y="744"/>
                  </a:lnTo>
                  <a:lnTo>
                    <a:pt x="474" y="750"/>
                  </a:lnTo>
                  <a:lnTo>
                    <a:pt x="480" y="756"/>
                  </a:lnTo>
                  <a:lnTo>
                    <a:pt x="486" y="756"/>
                  </a:lnTo>
                  <a:lnTo>
                    <a:pt x="492" y="762"/>
                  </a:lnTo>
                  <a:lnTo>
                    <a:pt x="498" y="768"/>
                  </a:lnTo>
                  <a:lnTo>
                    <a:pt x="492" y="774"/>
                  </a:lnTo>
                  <a:lnTo>
                    <a:pt x="492" y="780"/>
                  </a:lnTo>
                  <a:lnTo>
                    <a:pt x="498" y="780"/>
                  </a:lnTo>
                  <a:lnTo>
                    <a:pt x="492" y="786"/>
                  </a:lnTo>
                  <a:lnTo>
                    <a:pt x="492" y="792"/>
                  </a:lnTo>
                  <a:lnTo>
                    <a:pt x="492" y="79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0" y="810"/>
                  </a:lnTo>
                  <a:lnTo>
                    <a:pt x="480" y="804"/>
                  </a:lnTo>
                  <a:lnTo>
                    <a:pt x="474" y="804"/>
                  </a:lnTo>
                  <a:lnTo>
                    <a:pt x="474" y="798"/>
                  </a:lnTo>
                  <a:lnTo>
                    <a:pt x="474" y="804"/>
                  </a:lnTo>
                  <a:lnTo>
                    <a:pt x="468" y="804"/>
                  </a:lnTo>
                  <a:lnTo>
                    <a:pt x="468" y="810"/>
                  </a:lnTo>
                  <a:lnTo>
                    <a:pt x="462" y="810"/>
                  </a:lnTo>
                  <a:lnTo>
                    <a:pt x="456" y="810"/>
                  </a:lnTo>
                  <a:lnTo>
                    <a:pt x="450" y="810"/>
                  </a:lnTo>
                  <a:lnTo>
                    <a:pt x="450" y="816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50" y="822"/>
                  </a:lnTo>
                  <a:lnTo>
                    <a:pt x="450" y="816"/>
                  </a:lnTo>
                  <a:lnTo>
                    <a:pt x="444" y="816"/>
                  </a:lnTo>
                  <a:lnTo>
                    <a:pt x="438" y="810"/>
                  </a:lnTo>
                  <a:lnTo>
                    <a:pt x="432" y="810"/>
                  </a:lnTo>
                  <a:lnTo>
                    <a:pt x="426" y="804"/>
                  </a:lnTo>
                  <a:lnTo>
                    <a:pt x="426" y="798"/>
                  </a:lnTo>
                  <a:lnTo>
                    <a:pt x="420" y="798"/>
                  </a:lnTo>
                  <a:lnTo>
                    <a:pt x="426" y="798"/>
                  </a:lnTo>
                  <a:lnTo>
                    <a:pt x="426" y="792"/>
                  </a:lnTo>
                  <a:lnTo>
                    <a:pt x="426" y="786"/>
                  </a:lnTo>
                  <a:lnTo>
                    <a:pt x="432" y="786"/>
                  </a:lnTo>
                  <a:lnTo>
                    <a:pt x="432" y="780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0" y="756"/>
                  </a:lnTo>
                  <a:lnTo>
                    <a:pt x="420" y="750"/>
                  </a:lnTo>
                  <a:lnTo>
                    <a:pt x="414" y="750"/>
                  </a:lnTo>
                  <a:lnTo>
                    <a:pt x="420" y="750"/>
                  </a:lnTo>
                  <a:lnTo>
                    <a:pt x="420" y="744"/>
                  </a:lnTo>
                  <a:lnTo>
                    <a:pt x="414" y="744"/>
                  </a:lnTo>
                  <a:lnTo>
                    <a:pt x="414" y="738"/>
                  </a:lnTo>
                  <a:lnTo>
                    <a:pt x="414" y="732"/>
                  </a:lnTo>
                  <a:lnTo>
                    <a:pt x="408" y="732"/>
                  </a:lnTo>
                  <a:lnTo>
                    <a:pt x="408" y="726"/>
                  </a:lnTo>
                  <a:lnTo>
                    <a:pt x="402" y="726"/>
                  </a:lnTo>
                  <a:lnTo>
                    <a:pt x="396" y="726"/>
                  </a:lnTo>
                  <a:lnTo>
                    <a:pt x="390" y="726"/>
                  </a:lnTo>
                  <a:lnTo>
                    <a:pt x="390" y="720"/>
                  </a:lnTo>
                  <a:lnTo>
                    <a:pt x="390" y="714"/>
                  </a:lnTo>
                  <a:lnTo>
                    <a:pt x="384" y="708"/>
                  </a:lnTo>
                  <a:lnTo>
                    <a:pt x="384" y="702"/>
                  </a:lnTo>
                  <a:lnTo>
                    <a:pt x="378" y="702"/>
                  </a:lnTo>
                  <a:lnTo>
                    <a:pt x="378" y="696"/>
                  </a:lnTo>
                  <a:lnTo>
                    <a:pt x="378" y="690"/>
                  </a:lnTo>
                  <a:lnTo>
                    <a:pt x="372" y="684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66" y="666"/>
                  </a:lnTo>
                  <a:lnTo>
                    <a:pt x="366" y="660"/>
                  </a:lnTo>
                  <a:lnTo>
                    <a:pt x="366" y="654"/>
                  </a:lnTo>
                  <a:lnTo>
                    <a:pt x="360" y="648"/>
                  </a:lnTo>
                  <a:lnTo>
                    <a:pt x="360" y="654"/>
                  </a:lnTo>
                  <a:lnTo>
                    <a:pt x="360" y="660"/>
                  </a:lnTo>
                  <a:lnTo>
                    <a:pt x="360" y="666"/>
                  </a:lnTo>
                  <a:lnTo>
                    <a:pt x="360" y="672"/>
                  </a:lnTo>
                  <a:lnTo>
                    <a:pt x="360" y="678"/>
                  </a:lnTo>
                  <a:lnTo>
                    <a:pt x="366" y="678"/>
                  </a:lnTo>
                  <a:lnTo>
                    <a:pt x="366" y="684"/>
                  </a:lnTo>
                  <a:lnTo>
                    <a:pt x="366" y="690"/>
                  </a:lnTo>
                  <a:lnTo>
                    <a:pt x="372" y="696"/>
                  </a:lnTo>
                  <a:lnTo>
                    <a:pt x="372" y="702"/>
                  </a:lnTo>
                  <a:lnTo>
                    <a:pt x="372" y="708"/>
                  </a:lnTo>
                  <a:lnTo>
                    <a:pt x="372" y="714"/>
                  </a:lnTo>
                  <a:lnTo>
                    <a:pt x="366" y="714"/>
                  </a:lnTo>
                  <a:lnTo>
                    <a:pt x="360" y="714"/>
                  </a:lnTo>
                  <a:lnTo>
                    <a:pt x="354" y="714"/>
                  </a:lnTo>
                  <a:lnTo>
                    <a:pt x="348" y="714"/>
                  </a:lnTo>
                  <a:lnTo>
                    <a:pt x="348" y="708"/>
                  </a:lnTo>
                  <a:lnTo>
                    <a:pt x="342" y="708"/>
                  </a:lnTo>
                  <a:lnTo>
                    <a:pt x="342" y="702"/>
                  </a:lnTo>
                  <a:lnTo>
                    <a:pt x="342" y="696"/>
                  </a:lnTo>
                  <a:lnTo>
                    <a:pt x="336" y="696"/>
                  </a:lnTo>
                  <a:lnTo>
                    <a:pt x="336" y="690"/>
                  </a:lnTo>
                  <a:lnTo>
                    <a:pt x="336" y="684"/>
                  </a:lnTo>
                  <a:lnTo>
                    <a:pt x="330" y="684"/>
                  </a:lnTo>
                  <a:lnTo>
                    <a:pt x="330" y="678"/>
                  </a:lnTo>
                  <a:lnTo>
                    <a:pt x="324" y="672"/>
                  </a:lnTo>
                  <a:lnTo>
                    <a:pt x="324" y="666"/>
                  </a:lnTo>
                  <a:lnTo>
                    <a:pt x="318" y="666"/>
                  </a:lnTo>
                  <a:lnTo>
                    <a:pt x="318" y="672"/>
                  </a:lnTo>
                  <a:lnTo>
                    <a:pt x="324" y="672"/>
                  </a:lnTo>
                  <a:lnTo>
                    <a:pt x="324" y="678"/>
                  </a:lnTo>
                  <a:lnTo>
                    <a:pt x="324" y="684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30" y="696"/>
                  </a:lnTo>
                  <a:lnTo>
                    <a:pt x="336" y="702"/>
                  </a:lnTo>
                  <a:lnTo>
                    <a:pt x="342" y="708"/>
                  </a:lnTo>
                  <a:lnTo>
                    <a:pt x="342" y="714"/>
                  </a:lnTo>
                  <a:lnTo>
                    <a:pt x="348" y="720"/>
                  </a:lnTo>
                  <a:lnTo>
                    <a:pt x="342" y="720"/>
                  </a:lnTo>
                  <a:lnTo>
                    <a:pt x="336" y="720"/>
                  </a:lnTo>
                  <a:lnTo>
                    <a:pt x="330" y="720"/>
                  </a:lnTo>
                  <a:lnTo>
                    <a:pt x="330" y="726"/>
                  </a:lnTo>
                  <a:lnTo>
                    <a:pt x="336" y="726"/>
                  </a:lnTo>
                  <a:lnTo>
                    <a:pt x="330" y="732"/>
                  </a:lnTo>
                  <a:lnTo>
                    <a:pt x="330" y="738"/>
                  </a:lnTo>
                  <a:lnTo>
                    <a:pt x="330" y="744"/>
                  </a:lnTo>
                  <a:lnTo>
                    <a:pt x="336" y="744"/>
                  </a:lnTo>
                  <a:lnTo>
                    <a:pt x="342" y="744"/>
                  </a:lnTo>
                  <a:lnTo>
                    <a:pt x="348" y="744"/>
                  </a:lnTo>
                  <a:lnTo>
                    <a:pt x="348" y="750"/>
                  </a:lnTo>
                  <a:lnTo>
                    <a:pt x="354" y="750"/>
                  </a:lnTo>
                  <a:lnTo>
                    <a:pt x="360" y="756"/>
                  </a:lnTo>
                  <a:lnTo>
                    <a:pt x="360" y="762"/>
                  </a:lnTo>
                  <a:lnTo>
                    <a:pt x="366" y="762"/>
                  </a:lnTo>
                  <a:lnTo>
                    <a:pt x="366" y="768"/>
                  </a:lnTo>
                  <a:lnTo>
                    <a:pt x="366" y="774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72" y="792"/>
                  </a:lnTo>
                  <a:lnTo>
                    <a:pt x="372" y="798"/>
                  </a:lnTo>
                  <a:lnTo>
                    <a:pt x="372" y="804"/>
                  </a:lnTo>
                  <a:lnTo>
                    <a:pt x="378" y="804"/>
                  </a:lnTo>
                  <a:lnTo>
                    <a:pt x="378" y="810"/>
                  </a:lnTo>
                  <a:lnTo>
                    <a:pt x="378" y="816"/>
                  </a:lnTo>
                  <a:lnTo>
                    <a:pt x="372" y="816"/>
                  </a:lnTo>
                  <a:lnTo>
                    <a:pt x="378" y="816"/>
                  </a:lnTo>
                  <a:lnTo>
                    <a:pt x="378" y="822"/>
                  </a:lnTo>
                  <a:lnTo>
                    <a:pt x="378" y="828"/>
                  </a:lnTo>
                  <a:lnTo>
                    <a:pt x="378" y="834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0" y="864"/>
                  </a:lnTo>
                  <a:lnTo>
                    <a:pt x="384" y="864"/>
                  </a:lnTo>
                  <a:lnTo>
                    <a:pt x="384" y="870"/>
                  </a:lnTo>
                  <a:lnTo>
                    <a:pt x="378" y="864"/>
                  </a:lnTo>
                  <a:lnTo>
                    <a:pt x="372" y="864"/>
                  </a:lnTo>
                  <a:lnTo>
                    <a:pt x="366" y="858"/>
                  </a:lnTo>
                  <a:lnTo>
                    <a:pt x="366" y="852"/>
                  </a:lnTo>
                  <a:lnTo>
                    <a:pt x="360" y="852"/>
                  </a:lnTo>
                  <a:lnTo>
                    <a:pt x="360" y="858"/>
                  </a:lnTo>
                  <a:lnTo>
                    <a:pt x="366" y="858"/>
                  </a:lnTo>
                  <a:lnTo>
                    <a:pt x="366" y="864"/>
                  </a:lnTo>
                  <a:lnTo>
                    <a:pt x="360" y="864"/>
                  </a:lnTo>
                  <a:lnTo>
                    <a:pt x="354" y="864"/>
                  </a:lnTo>
                  <a:lnTo>
                    <a:pt x="354" y="870"/>
                  </a:lnTo>
                  <a:lnTo>
                    <a:pt x="354" y="864"/>
                  </a:lnTo>
                  <a:lnTo>
                    <a:pt x="348" y="864"/>
                  </a:lnTo>
                  <a:lnTo>
                    <a:pt x="342" y="864"/>
                  </a:lnTo>
                  <a:lnTo>
                    <a:pt x="342" y="858"/>
                  </a:lnTo>
                  <a:lnTo>
                    <a:pt x="336" y="858"/>
                  </a:lnTo>
                  <a:lnTo>
                    <a:pt x="330" y="858"/>
                  </a:lnTo>
                  <a:lnTo>
                    <a:pt x="324" y="858"/>
                  </a:lnTo>
                  <a:lnTo>
                    <a:pt x="318" y="858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0" y="852"/>
                  </a:lnTo>
                  <a:lnTo>
                    <a:pt x="294" y="852"/>
                  </a:lnTo>
                  <a:lnTo>
                    <a:pt x="294" y="846"/>
                  </a:lnTo>
                  <a:lnTo>
                    <a:pt x="288" y="840"/>
                  </a:lnTo>
                  <a:lnTo>
                    <a:pt x="288" y="828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2" y="816"/>
                  </a:lnTo>
                  <a:lnTo>
                    <a:pt x="282" y="810"/>
                  </a:lnTo>
                  <a:lnTo>
                    <a:pt x="276" y="810"/>
                  </a:lnTo>
                  <a:lnTo>
                    <a:pt x="276" y="804"/>
                  </a:lnTo>
                  <a:lnTo>
                    <a:pt x="276" y="798"/>
                  </a:lnTo>
                  <a:lnTo>
                    <a:pt x="276" y="792"/>
                  </a:lnTo>
                  <a:lnTo>
                    <a:pt x="270" y="786"/>
                  </a:lnTo>
                  <a:lnTo>
                    <a:pt x="270" y="780"/>
                  </a:lnTo>
                  <a:lnTo>
                    <a:pt x="270" y="774"/>
                  </a:lnTo>
                  <a:lnTo>
                    <a:pt x="264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64" y="750"/>
                  </a:lnTo>
                  <a:lnTo>
                    <a:pt x="264" y="744"/>
                  </a:lnTo>
                  <a:lnTo>
                    <a:pt x="264" y="738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26"/>
                  </a:lnTo>
                  <a:lnTo>
                    <a:pt x="276" y="720"/>
                  </a:lnTo>
                  <a:lnTo>
                    <a:pt x="282" y="720"/>
                  </a:lnTo>
                  <a:lnTo>
                    <a:pt x="282" y="714"/>
                  </a:lnTo>
                  <a:lnTo>
                    <a:pt x="282" y="708"/>
                  </a:lnTo>
                  <a:lnTo>
                    <a:pt x="276" y="708"/>
                  </a:lnTo>
                  <a:lnTo>
                    <a:pt x="276" y="702"/>
                  </a:lnTo>
                  <a:lnTo>
                    <a:pt x="270" y="702"/>
                  </a:lnTo>
                  <a:lnTo>
                    <a:pt x="270" y="696"/>
                  </a:lnTo>
                  <a:lnTo>
                    <a:pt x="264" y="690"/>
                  </a:lnTo>
                  <a:lnTo>
                    <a:pt x="258" y="690"/>
                  </a:lnTo>
                  <a:lnTo>
                    <a:pt x="258" y="684"/>
                  </a:lnTo>
                  <a:lnTo>
                    <a:pt x="252" y="684"/>
                  </a:lnTo>
                  <a:lnTo>
                    <a:pt x="252" y="678"/>
                  </a:lnTo>
                  <a:lnTo>
                    <a:pt x="246" y="678"/>
                  </a:lnTo>
                  <a:lnTo>
                    <a:pt x="240" y="678"/>
                  </a:lnTo>
                  <a:lnTo>
                    <a:pt x="240" y="684"/>
                  </a:lnTo>
                  <a:lnTo>
                    <a:pt x="246" y="684"/>
                  </a:lnTo>
                  <a:lnTo>
                    <a:pt x="252" y="690"/>
                  </a:lnTo>
                  <a:lnTo>
                    <a:pt x="258" y="690"/>
                  </a:lnTo>
                  <a:lnTo>
                    <a:pt x="258" y="696"/>
                  </a:lnTo>
                  <a:lnTo>
                    <a:pt x="258" y="702"/>
                  </a:lnTo>
                  <a:lnTo>
                    <a:pt x="264" y="702"/>
                  </a:lnTo>
                  <a:lnTo>
                    <a:pt x="270" y="708"/>
                  </a:lnTo>
                  <a:lnTo>
                    <a:pt x="270" y="714"/>
                  </a:lnTo>
                  <a:lnTo>
                    <a:pt x="270" y="720"/>
                  </a:lnTo>
                  <a:lnTo>
                    <a:pt x="276" y="720"/>
                  </a:lnTo>
                  <a:lnTo>
                    <a:pt x="270" y="720"/>
                  </a:lnTo>
                  <a:lnTo>
                    <a:pt x="270" y="726"/>
                  </a:lnTo>
                  <a:lnTo>
                    <a:pt x="264" y="726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52" y="738"/>
                  </a:lnTo>
                  <a:lnTo>
                    <a:pt x="252" y="744"/>
                  </a:lnTo>
                  <a:lnTo>
                    <a:pt x="252" y="750"/>
                  </a:lnTo>
                  <a:lnTo>
                    <a:pt x="252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58" y="774"/>
                  </a:lnTo>
                  <a:lnTo>
                    <a:pt x="258" y="780"/>
                  </a:lnTo>
                  <a:lnTo>
                    <a:pt x="264" y="786"/>
                  </a:lnTo>
                  <a:lnTo>
                    <a:pt x="264" y="792"/>
                  </a:lnTo>
                  <a:lnTo>
                    <a:pt x="264" y="798"/>
                  </a:lnTo>
                  <a:lnTo>
                    <a:pt x="270" y="810"/>
                  </a:lnTo>
                  <a:lnTo>
                    <a:pt x="270" y="816"/>
                  </a:lnTo>
                  <a:lnTo>
                    <a:pt x="270" y="822"/>
                  </a:lnTo>
                  <a:lnTo>
                    <a:pt x="276" y="822"/>
                  </a:lnTo>
                  <a:lnTo>
                    <a:pt x="276" y="828"/>
                  </a:lnTo>
                  <a:lnTo>
                    <a:pt x="276" y="834"/>
                  </a:lnTo>
                  <a:lnTo>
                    <a:pt x="276" y="840"/>
                  </a:lnTo>
                  <a:lnTo>
                    <a:pt x="276" y="846"/>
                  </a:lnTo>
                  <a:lnTo>
                    <a:pt x="282" y="852"/>
                  </a:lnTo>
                  <a:lnTo>
                    <a:pt x="282" y="858"/>
                  </a:lnTo>
                  <a:lnTo>
                    <a:pt x="294" y="864"/>
                  </a:lnTo>
                  <a:lnTo>
                    <a:pt x="300" y="870"/>
                  </a:lnTo>
                  <a:lnTo>
                    <a:pt x="300" y="876"/>
                  </a:lnTo>
                  <a:lnTo>
                    <a:pt x="288" y="876"/>
                  </a:lnTo>
                  <a:lnTo>
                    <a:pt x="282" y="876"/>
                  </a:lnTo>
                  <a:lnTo>
                    <a:pt x="276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2" y="882"/>
                  </a:lnTo>
                  <a:lnTo>
                    <a:pt x="246" y="882"/>
                  </a:lnTo>
                  <a:lnTo>
                    <a:pt x="240" y="882"/>
                  </a:lnTo>
                  <a:lnTo>
                    <a:pt x="234" y="882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204" y="876"/>
                  </a:lnTo>
                  <a:lnTo>
                    <a:pt x="198" y="876"/>
                  </a:lnTo>
                  <a:lnTo>
                    <a:pt x="198" y="870"/>
                  </a:lnTo>
                  <a:lnTo>
                    <a:pt x="198" y="852"/>
                  </a:lnTo>
                  <a:lnTo>
                    <a:pt x="198" y="846"/>
                  </a:lnTo>
                  <a:lnTo>
                    <a:pt x="204" y="846"/>
                  </a:lnTo>
                  <a:lnTo>
                    <a:pt x="198" y="840"/>
                  </a:lnTo>
                  <a:lnTo>
                    <a:pt x="198" y="834"/>
                  </a:lnTo>
                  <a:lnTo>
                    <a:pt x="198" y="828"/>
                  </a:lnTo>
                  <a:lnTo>
                    <a:pt x="198" y="822"/>
                  </a:lnTo>
                  <a:lnTo>
                    <a:pt x="198" y="816"/>
                  </a:lnTo>
                  <a:lnTo>
                    <a:pt x="198" y="810"/>
                  </a:lnTo>
                  <a:lnTo>
                    <a:pt x="192" y="810"/>
                  </a:lnTo>
                  <a:lnTo>
                    <a:pt x="192" y="804"/>
                  </a:lnTo>
                  <a:lnTo>
                    <a:pt x="192" y="798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2" y="774"/>
                  </a:lnTo>
                  <a:lnTo>
                    <a:pt x="192" y="768"/>
                  </a:lnTo>
                  <a:lnTo>
                    <a:pt x="198" y="768"/>
                  </a:lnTo>
                  <a:lnTo>
                    <a:pt x="198" y="762"/>
                  </a:lnTo>
                  <a:lnTo>
                    <a:pt x="198" y="756"/>
                  </a:lnTo>
                  <a:lnTo>
                    <a:pt x="204" y="756"/>
                  </a:lnTo>
                  <a:lnTo>
                    <a:pt x="204" y="750"/>
                  </a:lnTo>
                  <a:lnTo>
                    <a:pt x="210" y="744"/>
                  </a:lnTo>
                  <a:lnTo>
                    <a:pt x="210" y="738"/>
                  </a:lnTo>
                  <a:lnTo>
                    <a:pt x="210" y="732"/>
                  </a:lnTo>
                  <a:lnTo>
                    <a:pt x="210" y="726"/>
                  </a:lnTo>
                  <a:lnTo>
                    <a:pt x="210" y="720"/>
                  </a:lnTo>
                  <a:lnTo>
                    <a:pt x="204" y="714"/>
                  </a:lnTo>
                  <a:lnTo>
                    <a:pt x="204" y="720"/>
                  </a:lnTo>
                  <a:lnTo>
                    <a:pt x="204" y="732"/>
                  </a:lnTo>
                  <a:lnTo>
                    <a:pt x="204" y="738"/>
                  </a:lnTo>
                  <a:lnTo>
                    <a:pt x="198" y="738"/>
                  </a:lnTo>
                  <a:lnTo>
                    <a:pt x="198" y="744"/>
                  </a:lnTo>
                  <a:lnTo>
                    <a:pt x="198" y="750"/>
                  </a:lnTo>
                  <a:lnTo>
                    <a:pt x="192" y="756"/>
                  </a:lnTo>
                  <a:lnTo>
                    <a:pt x="186" y="762"/>
                  </a:lnTo>
                  <a:lnTo>
                    <a:pt x="186" y="768"/>
                  </a:lnTo>
                  <a:lnTo>
                    <a:pt x="186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98"/>
                  </a:lnTo>
                  <a:lnTo>
                    <a:pt x="186" y="804"/>
                  </a:lnTo>
                  <a:lnTo>
                    <a:pt x="186" y="810"/>
                  </a:lnTo>
                  <a:lnTo>
                    <a:pt x="192" y="816"/>
                  </a:lnTo>
                  <a:lnTo>
                    <a:pt x="192" y="828"/>
                  </a:lnTo>
                  <a:lnTo>
                    <a:pt x="192" y="834"/>
                  </a:lnTo>
                  <a:lnTo>
                    <a:pt x="186" y="834"/>
                  </a:lnTo>
                  <a:lnTo>
                    <a:pt x="186" y="828"/>
                  </a:lnTo>
                  <a:lnTo>
                    <a:pt x="180" y="822"/>
                  </a:lnTo>
                  <a:lnTo>
                    <a:pt x="180" y="816"/>
                  </a:lnTo>
                  <a:lnTo>
                    <a:pt x="180" y="810"/>
                  </a:lnTo>
                  <a:lnTo>
                    <a:pt x="174" y="810"/>
                  </a:lnTo>
                  <a:lnTo>
                    <a:pt x="174" y="804"/>
                  </a:lnTo>
                  <a:lnTo>
                    <a:pt x="174" y="798"/>
                  </a:lnTo>
                  <a:lnTo>
                    <a:pt x="174" y="792"/>
                  </a:lnTo>
                  <a:lnTo>
                    <a:pt x="168" y="786"/>
                  </a:lnTo>
                  <a:lnTo>
                    <a:pt x="168" y="780"/>
                  </a:lnTo>
                  <a:lnTo>
                    <a:pt x="162" y="780"/>
                  </a:lnTo>
                  <a:lnTo>
                    <a:pt x="168" y="774"/>
                  </a:lnTo>
                  <a:lnTo>
                    <a:pt x="168" y="768"/>
                  </a:lnTo>
                  <a:lnTo>
                    <a:pt x="174" y="768"/>
                  </a:lnTo>
                  <a:lnTo>
                    <a:pt x="168" y="768"/>
                  </a:lnTo>
                  <a:lnTo>
                    <a:pt x="162" y="774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50" y="774"/>
                  </a:lnTo>
                  <a:lnTo>
                    <a:pt x="144" y="774"/>
                  </a:lnTo>
                  <a:lnTo>
                    <a:pt x="144" y="768"/>
                  </a:lnTo>
                  <a:lnTo>
                    <a:pt x="144" y="762"/>
                  </a:lnTo>
                  <a:lnTo>
                    <a:pt x="138" y="756"/>
                  </a:lnTo>
                  <a:lnTo>
                    <a:pt x="132" y="756"/>
                  </a:lnTo>
                  <a:lnTo>
                    <a:pt x="138" y="756"/>
                  </a:lnTo>
                  <a:lnTo>
                    <a:pt x="138" y="762"/>
                  </a:lnTo>
                  <a:lnTo>
                    <a:pt x="138" y="768"/>
                  </a:lnTo>
                  <a:lnTo>
                    <a:pt x="144" y="768"/>
                  </a:lnTo>
                  <a:lnTo>
                    <a:pt x="144" y="774"/>
                  </a:lnTo>
                  <a:lnTo>
                    <a:pt x="150" y="780"/>
                  </a:lnTo>
                  <a:lnTo>
                    <a:pt x="156" y="780"/>
                  </a:lnTo>
                  <a:lnTo>
                    <a:pt x="156" y="786"/>
                  </a:lnTo>
                  <a:lnTo>
                    <a:pt x="162" y="786"/>
                  </a:lnTo>
                  <a:lnTo>
                    <a:pt x="168" y="792"/>
                  </a:lnTo>
                  <a:lnTo>
                    <a:pt x="168" y="798"/>
                  </a:lnTo>
                  <a:lnTo>
                    <a:pt x="168" y="804"/>
                  </a:lnTo>
                  <a:lnTo>
                    <a:pt x="174" y="810"/>
                  </a:lnTo>
                  <a:lnTo>
                    <a:pt x="174" y="816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68" y="828"/>
                  </a:lnTo>
                  <a:lnTo>
                    <a:pt x="168" y="834"/>
                  </a:lnTo>
                  <a:lnTo>
                    <a:pt x="174" y="840"/>
                  </a:lnTo>
                  <a:lnTo>
                    <a:pt x="180" y="840"/>
                  </a:lnTo>
                  <a:lnTo>
                    <a:pt x="180" y="846"/>
                  </a:lnTo>
                  <a:lnTo>
                    <a:pt x="186" y="846"/>
                  </a:lnTo>
                  <a:lnTo>
                    <a:pt x="186" y="852"/>
                  </a:lnTo>
                  <a:lnTo>
                    <a:pt x="186" y="858"/>
                  </a:lnTo>
                  <a:lnTo>
                    <a:pt x="186" y="864"/>
                  </a:lnTo>
                  <a:lnTo>
                    <a:pt x="192" y="864"/>
                  </a:lnTo>
                  <a:lnTo>
                    <a:pt x="192" y="870"/>
                  </a:lnTo>
                  <a:lnTo>
                    <a:pt x="192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6" y="888"/>
                  </a:lnTo>
                  <a:lnTo>
                    <a:pt x="180" y="888"/>
                  </a:lnTo>
                  <a:lnTo>
                    <a:pt x="174" y="888"/>
                  </a:lnTo>
                  <a:lnTo>
                    <a:pt x="168" y="894"/>
                  </a:lnTo>
                  <a:lnTo>
                    <a:pt x="162" y="894"/>
                  </a:lnTo>
                  <a:lnTo>
                    <a:pt x="156" y="894"/>
                  </a:lnTo>
                  <a:lnTo>
                    <a:pt x="150" y="894"/>
                  </a:lnTo>
                  <a:lnTo>
                    <a:pt x="144" y="894"/>
                  </a:lnTo>
                  <a:lnTo>
                    <a:pt x="144" y="900"/>
                  </a:lnTo>
                  <a:lnTo>
                    <a:pt x="138" y="894"/>
                  </a:lnTo>
                  <a:lnTo>
                    <a:pt x="138" y="900"/>
                  </a:lnTo>
                  <a:lnTo>
                    <a:pt x="132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6" y="882"/>
                  </a:lnTo>
                  <a:lnTo>
                    <a:pt x="126" y="876"/>
                  </a:lnTo>
                  <a:lnTo>
                    <a:pt x="120" y="876"/>
                  </a:lnTo>
                  <a:lnTo>
                    <a:pt x="126" y="870"/>
                  </a:lnTo>
                  <a:lnTo>
                    <a:pt x="126" y="864"/>
                  </a:lnTo>
                  <a:lnTo>
                    <a:pt x="126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26" y="828"/>
                  </a:lnTo>
                  <a:lnTo>
                    <a:pt x="126" y="822"/>
                  </a:lnTo>
                  <a:lnTo>
                    <a:pt x="126" y="816"/>
                  </a:lnTo>
                  <a:lnTo>
                    <a:pt x="126" y="810"/>
                  </a:lnTo>
                  <a:lnTo>
                    <a:pt x="126" y="804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20" y="792"/>
                  </a:lnTo>
                  <a:lnTo>
                    <a:pt x="114" y="792"/>
                  </a:lnTo>
                  <a:lnTo>
                    <a:pt x="114" y="786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96" y="780"/>
                  </a:lnTo>
                  <a:lnTo>
                    <a:pt x="96" y="774"/>
                  </a:lnTo>
                  <a:lnTo>
                    <a:pt x="90" y="774"/>
                  </a:lnTo>
                  <a:lnTo>
                    <a:pt x="90" y="768"/>
                  </a:lnTo>
                  <a:close/>
                  <a:moveTo>
                    <a:pt x="96" y="780"/>
                  </a:moveTo>
                  <a:lnTo>
                    <a:pt x="102" y="780"/>
                  </a:lnTo>
                  <a:lnTo>
                    <a:pt x="102" y="786"/>
                  </a:lnTo>
                  <a:lnTo>
                    <a:pt x="108" y="786"/>
                  </a:lnTo>
                  <a:lnTo>
                    <a:pt x="114" y="792"/>
                  </a:lnTo>
                  <a:lnTo>
                    <a:pt x="120" y="798"/>
                  </a:lnTo>
                  <a:lnTo>
                    <a:pt x="120" y="804"/>
                  </a:lnTo>
                  <a:lnTo>
                    <a:pt x="126" y="810"/>
                  </a:lnTo>
                  <a:lnTo>
                    <a:pt x="126" y="816"/>
                  </a:lnTo>
                  <a:lnTo>
                    <a:pt x="126" y="822"/>
                  </a:lnTo>
                  <a:lnTo>
                    <a:pt x="120" y="828"/>
                  </a:lnTo>
                  <a:lnTo>
                    <a:pt x="120" y="840"/>
                  </a:lnTo>
                  <a:lnTo>
                    <a:pt x="120" y="852"/>
                  </a:lnTo>
                  <a:lnTo>
                    <a:pt x="120" y="858"/>
                  </a:lnTo>
                  <a:lnTo>
                    <a:pt x="120" y="864"/>
                  </a:lnTo>
                  <a:lnTo>
                    <a:pt x="120" y="870"/>
                  </a:lnTo>
                  <a:lnTo>
                    <a:pt x="114" y="870"/>
                  </a:lnTo>
                  <a:lnTo>
                    <a:pt x="108" y="870"/>
                  </a:lnTo>
                  <a:lnTo>
                    <a:pt x="108" y="876"/>
                  </a:lnTo>
                  <a:lnTo>
                    <a:pt x="114" y="876"/>
                  </a:lnTo>
                  <a:lnTo>
                    <a:pt x="120" y="876"/>
                  </a:lnTo>
                  <a:lnTo>
                    <a:pt x="120" y="882"/>
                  </a:lnTo>
                  <a:lnTo>
                    <a:pt x="114" y="888"/>
                  </a:lnTo>
                  <a:lnTo>
                    <a:pt x="120" y="888"/>
                  </a:lnTo>
                  <a:lnTo>
                    <a:pt x="120" y="894"/>
                  </a:lnTo>
                  <a:lnTo>
                    <a:pt x="114" y="894"/>
                  </a:lnTo>
                  <a:lnTo>
                    <a:pt x="108" y="894"/>
                  </a:lnTo>
                  <a:lnTo>
                    <a:pt x="96" y="894"/>
                  </a:lnTo>
                  <a:lnTo>
                    <a:pt x="96" y="882"/>
                  </a:lnTo>
                  <a:lnTo>
                    <a:pt x="96" y="876"/>
                  </a:lnTo>
                  <a:lnTo>
                    <a:pt x="84" y="870"/>
                  </a:lnTo>
                  <a:lnTo>
                    <a:pt x="72" y="864"/>
                  </a:lnTo>
                  <a:lnTo>
                    <a:pt x="72" y="852"/>
                  </a:lnTo>
                  <a:lnTo>
                    <a:pt x="72" y="840"/>
                  </a:lnTo>
                  <a:lnTo>
                    <a:pt x="78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90" y="792"/>
                  </a:lnTo>
                  <a:lnTo>
                    <a:pt x="96" y="780"/>
                  </a:lnTo>
                  <a:close/>
                  <a:moveTo>
                    <a:pt x="492" y="810"/>
                  </a:moveTo>
                  <a:lnTo>
                    <a:pt x="498" y="810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510" y="792"/>
                  </a:lnTo>
                  <a:lnTo>
                    <a:pt x="516" y="786"/>
                  </a:lnTo>
                  <a:lnTo>
                    <a:pt x="522" y="780"/>
                  </a:lnTo>
                  <a:lnTo>
                    <a:pt x="522" y="774"/>
                  </a:lnTo>
                  <a:lnTo>
                    <a:pt x="528" y="768"/>
                  </a:lnTo>
                  <a:lnTo>
                    <a:pt x="528" y="762"/>
                  </a:lnTo>
                  <a:lnTo>
                    <a:pt x="534" y="762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46" y="780"/>
                  </a:lnTo>
                  <a:lnTo>
                    <a:pt x="552" y="786"/>
                  </a:lnTo>
                  <a:lnTo>
                    <a:pt x="558" y="786"/>
                  </a:lnTo>
                  <a:lnTo>
                    <a:pt x="564" y="786"/>
                  </a:lnTo>
                  <a:lnTo>
                    <a:pt x="576" y="786"/>
                  </a:lnTo>
                  <a:lnTo>
                    <a:pt x="582" y="786"/>
                  </a:lnTo>
                  <a:lnTo>
                    <a:pt x="588" y="786"/>
                  </a:lnTo>
                  <a:lnTo>
                    <a:pt x="594" y="786"/>
                  </a:lnTo>
                  <a:lnTo>
                    <a:pt x="588" y="792"/>
                  </a:lnTo>
                  <a:lnTo>
                    <a:pt x="588" y="798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82" y="822"/>
                  </a:lnTo>
                  <a:lnTo>
                    <a:pt x="588" y="828"/>
                  </a:lnTo>
                  <a:lnTo>
                    <a:pt x="588" y="834"/>
                  </a:lnTo>
                  <a:lnTo>
                    <a:pt x="582" y="840"/>
                  </a:lnTo>
                  <a:lnTo>
                    <a:pt x="570" y="840"/>
                  </a:lnTo>
                  <a:lnTo>
                    <a:pt x="558" y="846"/>
                  </a:lnTo>
                  <a:lnTo>
                    <a:pt x="552" y="846"/>
                  </a:lnTo>
                  <a:lnTo>
                    <a:pt x="534" y="852"/>
                  </a:lnTo>
                  <a:lnTo>
                    <a:pt x="522" y="858"/>
                  </a:lnTo>
                  <a:lnTo>
                    <a:pt x="510" y="858"/>
                  </a:lnTo>
                  <a:lnTo>
                    <a:pt x="498" y="864"/>
                  </a:lnTo>
                  <a:lnTo>
                    <a:pt x="474" y="864"/>
                  </a:lnTo>
                  <a:lnTo>
                    <a:pt x="468" y="858"/>
                  </a:lnTo>
                  <a:lnTo>
                    <a:pt x="468" y="852"/>
                  </a:lnTo>
                  <a:lnTo>
                    <a:pt x="468" y="846"/>
                  </a:lnTo>
                  <a:lnTo>
                    <a:pt x="474" y="840"/>
                  </a:lnTo>
                  <a:lnTo>
                    <a:pt x="474" y="834"/>
                  </a:lnTo>
                  <a:lnTo>
                    <a:pt x="480" y="828"/>
                  </a:lnTo>
                  <a:lnTo>
                    <a:pt x="492" y="822"/>
                  </a:lnTo>
                  <a:lnTo>
                    <a:pt x="492" y="810"/>
                  </a:lnTo>
                  <a:close/>
                  <a:moveTo>
                    <a:pt x="384" y="720"/>
                  </a:moveTo>
                  <a:lnTo>
                    <a:pt x="384" y="726"/>
                  </a:lnTo>
                  <a:lnTo>
                    <a:pt x="390" y="726"/>
                  </a:lnTo>
                  <a:lnTo>
                    <a:pt x="396" y="726"/>
                  </a:lnTo>
                  <a:lnTo>
                    <a:pt x="402" y="732"/>
                  </a:lnTo>
                  <a:lnTo>
                    <a:pt x="408" y="732"/>
                  </a:lnTo>
                  <a:lnTo>
                    <a:pt x="414" y="732"/>
                  </a:lnTo>
                  <a:lnTo>
                    <a:pt x="414" y="738"/>
                  </a:lnTo>
                  <a:lnTo>
                    <a:pt x="414" y="744"/>
                  </a:lnTo>
                  <a:lnTo>
                    <a:pt x="414" y="750"/>
                  </a:lnTo>
                  <a:lnTo>
                    <a:pt x="414" y="756"/>
                  </a:lnTo>
                  <a:lnTo>
                    <a:pt x="414" y="762"/>
                  </a:lnTo>
                  <a:lnTo>
                    <a:pt x="420" y="768"/>
                  </a:lnTo>
                  <a:lnTo>
                    <a:pt x="420" y="774"/>
                  </a:lnTo>
                  <a:lnTo>
                    <a:pt x="426" y="780"/>
                  </a:lnTo>
                  <a:lnTo>
                    <a:pt x="426" y="786"/>
                  </a:lnTo>
                  <a:lnTo>
                    <a:pt x="420" y="786"/>
                  </a:lnTo>
                  <a:lnTo>
                    <a:pt x="420" y="792"/>
                  </a:lnTo>
                  <a:lnTo>
                    <a:pt x="420" y="798"/>
                  </a:lnTo>
                  <a:lnTo>
                    <a:pt x="420" y="804"/>
                  </a:lnTo>
                  <a:lnTo>
                    <a:pt x="426" y="804"/>
                  </a:lnTo>
                  <a:lnTo>
                    <a:pt x="426" y="810"/>
                  </a:lnTo>
                  <a:lnTo>
                    <a:pt x="426" y="816"/>
                  </a:lnTo>
                  <a:lnTo>
                    <a:pt x="432" y="816"/>
                  </a:lnTo>
                  <a:lnTo>
                    <a:pt x="438" y="816"/>
                  </a:lnTo>
                  <a:lnTo>
                    <a:pt x="438" y="822"/>
                  </a:lnTo>
                  <a:lnTo>
                    <a:pt x="432" y="822"/>
                  </a:lnTo>
                  <a:lnTo>
                    <a:pt x="426" y="828"/>
                  </a:lnTo>
                  <a:lnTo>
                    <a:pt x="420" y="828"/>
                  </a:lnTo>
                  <a:lnTo>
                    <a:pt x="414" y="828"/>
                  </a:lnTo>
                  <a:lnTo>
                    <a:pt x="408" y="828"/>
                  </a:lnTo>
                  <a:lnTo>
                    <a:pt x="402" y="828"/>
                  </a:lnTo>
                  <a:lnTo>
                    <a:pt x="402" y="822"/>
                  </a:lnTo>
                  <a:lnTo>
                    <a:pt x="396" y="822"/>
                  </a:lnTo>
                  <a:lnTo>
                    <a:pt x="402" y="822"/>
                  </a:lnTo>
                  <a:lnTo>
                    <a:pt x="402" y="816"/>
                  </a:lnTo>
                  <a:lnTo>
                    <a:pt x="396" y="816"/>
                  </a:lnTo>
                  <a:lnTo>
                    <a:pt x="396" y="810"/>
                  </a:lnTo>
                  <a:lnTo>
                    <a:pt x="396" y="804"/>
                  </a:lnTo>
                  <a:lnTo>
                    <a:pt x="390" y="798"/>
                  </a:lnTo>
                  <a:lnTo>
                    <a:pt x="390" y="792"/>
                  </a:lnTo>
                  <a:lnTo>
                    <a:pt x="390" y="786"/>
                  </a:lnTo>
                  <a:lnTo>
                    <a:pt x="390" y="780"/>
                  </a:lnTo>
                  <a:lnTo>
                    <a:pt x="390" y="774"/>
                  </a:lnTo>
                  <a:lnTo>
                    <a:pt x="390" y="768"/>
                  </a:lnTo>
                  <a:lnTo>
                    <a:pt x="390" y="762"/>
                  </a:lnTo>
                  <a:lnTo>
                    <a:pt x="384" y="756"/>
                  </a:lnTo>
                  <a:lnTo>
                    <a:pt x="384" y="750"/>
                  </a:lnTo>
                  <a:lnTo>
                    <a:pt x="384" y="744"/>
                  </a:lnTo>
                  <a:lnTo>
                    <a:pt x="378" y="744"/>
                  </a:lnTo>
                  <a:lnTo>
                    <a:pt x="384" y="744"/>
                  </a:lnTo>
                  <a:lnTo>
                    <a:pt x="384" y="738"/>
                  </a:lnTo>
                  <a:lnTo>
                    <a:pt x="378" y="738"/>
                  </a:lnTo>
                  <a:lnTo>
                    <a:pt x="378" y="732"/>
                  </a:lnTo>
                  <a:lnTo>
                    <a:pt x="378" y="726"/>
                  </a:lnTo>
                  <a:lnTo>
                    <a:pt x="378" y="720"/>
                  </a:lnTo>
                  <a:lnTo>
                    <a:pt x="384" y="720"/>
                  </a:lnTo>
                  <a:close/>
                  <a:moveTo>
                    <a:pt x="330" y="738"/>
                  </a:moveTo>
                  <a:lnTo>
                    <a:pt x="336" y="732"/>
                  </a:lnTo>
                  <a:lnTo>
                    <a:pt x="336" y="726"/>
                  </a:lnTo>
                  <a:lnTo>
                    <a:pt x="342" y="720"/>
                  </a:lnTo>
                  <a:lnTo>
                    <a:pt x="348" y="720"/>
                  </a:lnTo>
                  <a:lnTo>
                    <a:pt x="360" y="720"/>
                  </a:lnTo>
                  <a:lnTo>
                    <a:pt x="366" y="726"/>
                  </a:lnTo>
                  <a:lnTo>
                    <a:pt x="372" y="732"/>
                  </a:lnTo>
                  <a:lnTo>
                    <a:pt x="372" y="738"/>
                  </a:lnTo>
                  <a:lnTo>
                    <a:pt x="366" y="750"/>
                  </a:lnTo>
                  <a:lnTo>
                    <a:pt x="372" y="756"/>
                  </a:lnTo>
                  <a:lnTo>
                    <a:pt x="372" y="762"/>
                  </a:lnTo>
                  <a:lnTo>
                    <a:pt x="372" y="768"/>
                  </a:lnTo>
                  <a:lnTo>
                    <a:pt x="372" y="774"/>
                  </a:lnTo>
                  <a:lnTo>
                    <a:pt x="372" y="780"/>
                  </a:lnTo>
                  <a:lnTo>
                    <a:pt x="372" y="774"/>
                  </a:lnTo>
                  <a:lnTo>
                    <a:pt x="366" y="768"/>
                  </a:lnTo>
                  <a:lnTo>
                    <a:pt x="366" y="762"/>
                  </a:lnTo>
                  <a:lnTo>
                    <a:pt x="366" y="756"/>
                  </a:lnTo>
                  <a:lnTo>
                    <a:pt x="360" y="756"/>
                  </a:lnTo>
                  <a:lnTo>
                    <a:pt x="360" y="750"/>
                  </a:lnTo>
                  <a:lnTo>
                    <a:pt x="354" y="750"/>
                  </a:lnTo>
                  <a:lnTo>
                    <a:pt x="348" y="744"/>
                  </a:lnTo>
                  <a:lnTo>
                    <a:pt x="342" y="744"/>
                  </a:lnTo>
                  <a:lnTo>
                    <a:pt x="336" y="744"/>
                  </a:lnTo>
                  <a:lnTo>
                    <a:pt x="330" y="73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1" name="Freeform 6">
              <a:extLst>
                <a:ext uri="{FF2B5EF4-FFF2-40B4-BE49-F238E27FC236}">
                  <a16:creationId xmlns:a16="http://schemas.microsoft.com/office/drawing/2014/main" id="{0656C385-F30A-4AC8-AE9F-B1F66208B38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3123" y="4163918"/>
              <a:ext cx="266107" cy="248252"/>
            </a:xfrm>
            <a:custGeom>
              <a:avLst/>
              <a:gdLst>
                <a:gd name="T0" fmla="*/ 33 w 504"/>
                <a:gd name="T1" fmla="*/ 41 h 468"/>
                <a:gd name="T2" fmla="*/ 26 w 504"/>
                <a:gd name="T3" fmla="*/ 39 h 468"/>
                <a:gd name="T4" fmla="*/ 21 w 504"/>
                <a:gd name="T5" fmla="*/ 38 h 468"/>
                <a:gd name="T6" fmla="*/ 18 w 504"/>
                <a:gd name="T7" fmla="*/ 38 h 468"/>
                <a:gd name="T8" fmla="*/ 15 w 504"/>
                <a:gd name="T9" fmla="*/ 39 h 468"/>
                <a:gd name="T10" fmla="*/ 12 w 504"/>
                <a:gd name="T11" fmla="*/ 38 h 468"/>
                <a:gd name="T12" fmla="*/ 9 w 504"/>
                <a:gd name="T13" fmla="*/ 37 h 468"/>
                <a:gd name="T14" fmla="*/ 7 w 504"/>
                <a:gd name="T15" fmla="*/ 32 h 468"/>
                <a:gd name="T16" fmla="*/ 6 w 504"/>
                <a:gd name="T17" fmla="*/ 26 h 468"/>
                <a:gd name="T18" fmla="*/ 3 w 504"/>
                <a:gd name="T19" fmla="*/ 24 h 468"/>
                <a:gd name="T20" fmla="*/ 1 w 504"/>
                <a:gd name="T21" fmla="*/ 24 h 468"/>
                <a:gd name="T22" fmla="*/ 2 w 504"/>
                <a:gd name="T23" fmla="*/ 18 h 468"/>
                <a:gd name="T24" fmla="*/ 1 w 504"/>
                <a:gd name="T25" fmla="*/ 17 h 468"/>
                <a:gd name="T26" fmla="*/ 0 w 504"/>
                <a:gd name="T27" fmla="*/ 17 h 468"/>
                <a:gd name="T28" fmla="*/ 0 w 504"/>
                <a:gd name="T29" fmla="*/ 15 h 468"/>
                <a:gd name="T30" fmla="*/ 2 w 504"/>
                <a:gd name="T31" fmla="*/ 12 h 468"/>
                <a:gd name="T32" fmla="*/ 4 w 504"/>
                <a:gd name="T33" fmla="*/ 10 h 468"/>
                <a:gd name="T34" fmla="*/ 6 w 504"/>
                <a:gd name="T35" fmla="*/ 8 h 468"/>
                <a:gd name="T36" fmla="*/ 8 w 504"/>
                <a:gd name="T37" fmla="*/ 8 h 468"/>
                <a:gd name="T38" fmla="*/ 10 w 504"/>
                <a:gd name="T39" fmla="*/ 9 h 468"/>
                <a:gd name="T40" fmla="*/ 12 w 504"/>
                <a:gd name="T41" fmla="*/ 10 h 468"/>
                <a:gd name="T42" fmla="*/ 12 w 504"/>
                <a:gd name="T43" fmla="*/ 11 h 468"/>
                <a:gd name="T44" fmla="*/ 14 w 504"/>
                <a:gd name="T45" fmla="*/ 8 h 468"/>
                <a:gd name="T46" fmla="*/ 15 w 504"/>
                <a:gd name="T47" fmla="*/ 7 h 468"/>
                <a:gd name="T48" fmla="*/ 17 w 504"/>
                <a:gd name="T49" fmla="*/ 6 h 468"/>
                <a:gd name="T50" fmla="*/ 19 w 504"/>
                <a:gd name="T51" fmla="*/ 3 h 468"/>
                <a:gd name="T52" fmla="*/ 20 w 504"/>
                <a:gd name="T53" fmla="*/ 2 h 468"/>
                <a:gd name="T54" fmla="*/ 22 w 504"/>
                <a:gd name="T55" fmla="*/ 1 h 468"/>
                <a:gd name="T56" fmla="*/ 27 w 504"/>
                <a:gd name="T57" fmla="*/ 1 h 468"/>
                <a:gd name="T58" fmla="*/ 30 w 504"/>
                <a:gd name="T59" fmla="*/ 2 h 468"/>
                <a:gd name="T60" fmla="*/ 31 w 504"/>
                <a:gd name="T61" fmla="*/ 2 h 468"/>
                <a:gd name="T62" fmla="*/ 34 w 504"/>
                <a:gd name="T63" fmla="*/ 0 h 468"/>
                <a:gd name="T64" fmla="*/ 37 w 504"/>
                <a:gd name="T65" fmla="*/ 1 h 468"/>
                <a:gd name="T66" fmla="*/ 41 w 504"/>
                <a:gd name="T67" fmla="*/ 2 h 468"/>
                <a:gd name="T68" fmla="*/ 42 w 504"/>
                <a:gd name="T69" fmla="*/ 4 h 468"/>
                <a:gd name="T70" fmla="*/ 42 w 504"/>
                <a:gd name="T71" fmla="*/ 10 h 468"/>
                <a:gd name="T72" fmla="*/ 41 w 504"/>
                <a:gd name="T73" fmla="*/ 14 h 468"/>
                <a:gd name="T74" fmla="*/ 42 w 504"/>
                <a:gd name="T75" fmla="*/ 15 h 468"/>
                <a:gd name="T76" fmla="*/ 44 w 504"/>
                <a:gd name="T77" fmla="*/ 18 h 468"/>
                <a:gd name="T78" fmla="*/ 43 w 504"/>
                <a:gd name="T79" fmla="*/ 19 h 468"/>
                <a:gd name="T80" fmla="*/ 42 w 504"/>
                <a:gd name="T81" fmla="*/ 21 h 468"/>
                <a:gd name="T82" fmla="*/ 42 w 504"/>
                <a:gd name="T83" fmla="*/ 23 h 468"/>
                <a:gd name="T84" fmla="*/ 39 w 504"/>
                <a:gd name="T85" fmla="*/ 27 h 468"/>
                <a:gd name="T86" fmla="*/ 38 w 504"/>
                <a:gd name="T87" fmla="*/ 29 h 468"/>
                <a:gd name="T88" fmla="*/ 38 w 504"/>
                <a:gd name="T89" fmla="*/ 31 h 468"/>
                <a:gd name="T90" fmla="*/ 36 w 504"/>
                <a:gd name="T91" fmla="*/ 32 h 468"/>
                <a:gd name="T92" fmla="*/ 35 w 504"/>
                <a:gd name="T93" fmla="*/ 34 h 468"/>
                <a:gd name="T94" fmla="*/ 34 w 504"/>
                <a:gd name="T95" fmla="*/ 38 h 46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04"/>
                <a:gd name="T145" fmla="*/ 0 h 468"/>
                <a:gd name="T146" fmla="*/ 504 w 504"/>
                <a:gd name="T147" fmla="*/ 468 h 46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04" h="468">
                  <a:moveTo>
                    <a:pt x="390" y="456"/>
                  </a:moveTo>
                  <a:lnTo>
                    <a:pt x="384" y="468"/>
                  </a:lnTo>
                  <a:lnTo>
                    <a:pt x="378" y="468"/>
                  </a:lnTo>
                  <a:lnTo>
                    <a:pt x="354" y="468"/>
                  </a:lnTo>
                  <a:lnTo>
                    <a:pt x="348" y="462"/>
                  </a:lnTo>
                  <a:lnTo>
                    <a:pt x="300" y="456"/>
                  </a:lnTo>
                  <a:lnTo>
                    <a:pt x="270" y="444"/>
                  </a:lnTo>
                  <a:lnTo>
                    <a:pt x="252" y="438"/>
                  </a:lnTo>
                  <a:lnTo>
                    <a:pt x="240" y="438"/>
                  </a:lnTo>
                  <a:lnTo>
                    <a:pt x="234" y="438"/>
                  </a:lnTo>
                  <a:lnTo>
                    <a:pt x="228" y="444"/>
                  </a:lnTo>
                  <a:lnTo>
                    <a:pt x="210" y="444"/>
                  </a:lnTo>
                  <a:lnTo>
                    <a:pt x="198" y="444"/>
                  </a:lnTo>
                  <a:lnTo>
                    <a:pt x="198" y="450"/>
                  </a:lnTo>
                  <a:lnTo>
                    <a:pt x="168" y="456"/>
                  </a:lnTo>
                  <a:lnTo>
                    <a:pt x="150" y="450"/>
                  </a:lnTo>
                  <a:lnTo>
                    <a:pt x="144" y="444"/>
                  </a:lnTo>
                  <a:lnTo>
                    <a:pt x="132" y="438"/>
                  </a:lnTo>
                  <a:lnTo>
                    <a:pt x="138" y="432"/>
                  </a:lnTo>
                  <a:lnTo>
                    <a:pt x="114" y="432"/>
                  </a:lnTo>
                  <a:lnTo>
                    <a:pt x="102" y="426"/>
                  </a:lnTo>
                  <a:lnTo>
                    <a:pt x="90" y="414"/>
                  </a:lnTo>
                  <a:lnTo>
                    <a:pt x="72" y="402"/>
                  </a:lnTo>
                  <a:lnTo>
                    <a:pt x="78" y="366"/>
                  </a:lnTo>
                  <a:lnTo>
                    <a:pt x="78" y="330"/>
                  </a:lnTo>
                  <a:lnTo>
                    <a:pt x="66" y="318"/>
                  </a:lnTo>
                  <a:lnTo>
                    <a:pt x="66" y="300"/>
                  </a:lnTo>
                  <a:lnTo>
                    <a:pt x="66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30" y="282"/>
                  </a:lnTo>
                  <a:lnTo>
                    <a:pt x="24" y="282"/>
                  </a:lnTo>
                  <a:lnTo>
                    <a:pt x="12" y="276"/>
                  </a:lnTo>
                  <a:lnTo>
                    <a:pt x="0" y="282"/>
                  </a:lnTo>
                  <a:lnTo>
                    <a:pt x="12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2" y="198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6" y="180"/>
                  </a:lnTo>
                  <a:lnTo>
                    <a:pt x="12" y="186"/>
                  </a:lnTo>
                  <a:lnTo>
                    <a:pt x="18" y="138"/>
                  </a:lnTo>
                  <a:lnTo>
                    <a:pt x="24" y="126"/>
                  </a:lnTo>
                  <a:lnTo>
                    <a:pt x="30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20" y="102"/>
                  </a:lnTo>
                  <a:lnTo>
                    <a:pt x="126" y="108"/>
                  </a:lnTo>
                  <a:lnTo>
                    <a:pt x="126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0"/>
                  </a:lnTo>
                  <a:lnTo>
                    <a:pt x="156" y="96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16" y="42"/>
                  </a:lnTo>
                  <a:lnTo>
                    <a:pt x="222" y="36"/>
                  </a:lnTo>
                  <a:lnTo>
                    <a:pt x="228" y="36"/>
                  </a:lnTo>
                  <a:lnTo>
                    <a:pt x="228" y="30"/>
                  </a:lnTo>
                  <a:lnTo>
                    <a:pt x="228" y="24"/>
                  </a:lnTo>
                  <a:lnTo>
                    <a:pt x="246" y="18"/>
                  </a:lnTo>
                  <a:lnTo>
                    <a:pt x="252" y="18"/>
                  </a:lnTo>
                  <a:lnTo>
                    <a:pt x="258" y="12"/>
                  </a:lnTo>
                  <a:lnTo>
                    <a:pt x="270" y="6"/>
                  </a:lnTo>
                  <a:lnTo>
                    <a:pt x="288" y="6"/>
                  </a:lnTo>
                  <a:lnTo>
                    <a:pt x="312" y="12"/>
                  </a:lnTo>
                  <a:lnTo>
                    <a:pt x="324" y="12"/>
                  </a:lnTo>
                  <a:lnTo>
                    <a:pt x="336" y="18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14" y="12"/>
                  </a:lnTo>
                  <a:lnTo>
                    <a:pt x="426" y="12"/>
                  </a:lnTo>
                  <a:lnTo>
                    <a:pt x="444" y="18"/>
                  </a:lnTo>
                  <a:lnTo>
                    <a:pt x="462" y="18"/>
                  </a:lnTo>
                  <a:lnTo>
                    <a:pt x="474" y="18"/>
                  </a:lnTo>
                  <a:lnTo>
                    <a:pt x="480" y="18"/>
                  </a:lnTo>
                  <a:lnTo>
                    <a:pt x="486" y="36"/>
                  </a:lnTo>
                  <a:lnTo>
                    <a:pt x="480" y="42"/>
                  </a:lnTo>
                  <a:lnTo>
                    <a:pt x="480" y="54"/>
                  </a:lnTo>
                  <a:lnTo>
                    <a:pt x="486" y="78"/>
                  </a:lnTo>
                  <a:lnTo>
                    <a:pt x="486" y="114"/>
                  </a:lnTo>
                  <a:lnTo>
                    <a:pt x="486" y="150"/>
                  </a:lnTo>
                  <a:lnTo>
                    <a:pt x="468" y="150"/>
                  </a:lnTo>
                  <a:lnTo>
                    <a:pt x="474" y="162"/>
                  </a:lnTo>
                  <a:lnTo>
                    <a:pt x="480" y="162"/>
                  </a:lnTo>
                  <a:lnTo>
                    <a:pt x="486" y="174"/>
                  </a:lnTo>
                  <a:lnTo>
                    <a:pt x="492" y="174"/>
                  </a:lnTo>
                  <a:lnTo>
                    <a:pt x="492" y="192"/>
                  </a:lnTo>
                  <a:lnTo>
                    <a:pt x="498" y="198"/>
                  </a:lnTo>
                  <a:lnTo>
                    <a:pt x="504" y="204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8" y="222"/>
                  </a:lnTo>
                  <a:lnTo>
                    <a:pt x="492" y="228"/>
                  </a:lnTo>
                  <a:lnTo>
                    <a:pt x="492" y="234"/>
                  </a:lnTo>
                  <a:lnTo>
                    <a:pt x="492" y="240"/>
                  </a:lnTo>
                  <a:lnTo>
                    <a:pt x="486" y="246"/>
                  </a:lnTo>
                  <a:lnTo>
                    <a:pt x="486" y="258"/>
                  </a:lnTo>
                  <a:lnTo>
                    <a:pt x="480" y="264"/>
                  </a:lnTo>
                  <a:lnTo>
                    <a:pt x="474" y="276"/>
                  </a:lnTo>
                  <a:lnTo>
                    <a:pt x="468" y="288"/>
                  </a:lnTo>
                  <a:lnTo>
                    <a:pt x="456" y="306"/>
                  </a:lnTo>
                  <a:lnTo>
                    <a:pt x="456" y="312"/>
                  </a:lnTo>
                  <a:lnTo>
                    <a:pt x="444" y="318"/>
                  </a:lnTo>
                  <a:lnTo>
                    <a:pt x="432" y="336"/>
                  </a:lnTo>
                  <a:lnTo>
                    <a:pt x="432" y="342"/>
                  </a:lnTo>
                  <a:lnTo>
                    <a:pt x="432" y="348"/>
                  </a:lnTo>
                  <a:lnTo>
                    <a:pt x="432" y="354"/>
                  </a:lnTo>
                  <a:lnTo>
                    <a:pt x="426" y="366"/>
                  </a:lnTo>
                  <a:lnTo>
                    <a:pt x="420" y="366"/>
                  </a:lnTo>
                  <a:lnTo>
                    <a:pt x="420" y="372"/>
                  </a:lnTo>
                  <a:lnTo>
                    <a:pt x="414" y="378"/>
                  </a:lnTo>
                  <a:lnTo>
                    <a:pt x="414" y="390"/>
                  </a:lnTo>
                  <a:lnTo>
                    <a:pt x="408" y="390"/>
                  </a:lnTo>
                  <a:lnTo>
                    <a:pt x="408" y="402"/>
                  </a:lnTo>
                  <a:lnTo>
                    <a:pt x="402" y="414"/>
                  </a:lnTo>
                  <a:lnTo>
                    <a:pt x="396" y="438"/>
                  </a:lnTo>
                  <a:lnTo>
                    <a:pt x="396" y="444"/>
                  </a:lnTo>
                  <a:lnTo>
                    <a:pt x="390" y="45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11" name="Freeform 7">
              <a:extLst>
                <a:ext uri="{FF2B5EF4-FFF2-40B4-BE49-F238E27FC236}">
                  <a16:creationId xmlns:a16="http://schemas.microsoft.com/office/drawing/2014/main" id="{0D8DE62D-4554-4314-9F3A-7208D89B4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90838" y="4128134"/>
              <a:ext cx="283995" cy="411516"/>
            </a:xfrm>
            <a:custGeom>
              <a:avLst/>
              <a:gdLst>
                <a:gd name="T0" fmla="*/ 39 w 534"/>
                <a:gd name="T1" fmla="*/ 35 h 774"/>
                <a:gd name="T2" fmla="*/ 35 w 534"/>
                <a:gd name="T3" fmla="*/ 31 h 774"/>
                <a:gd name="T4" fmla="*/ 32 w 534"/>
                <a:gd name="T5" fmla="*/ 29 h 774"/>
                <a:gd name="T6" fmla="*/ 32 w 534"/>
                <a:gd name="T7" fmla="*/ 31 h 774"/>
                <a:gd name="T8" fmla="*/ 29 w 534"/>
                <a:gd name="T9" fmla="*/ 33 h 774"/>
                <a:gd name="T10" fmla="*/ 27 w 534"/>
                <a:gd name="T11" fmla="*/ 36 h 774"/>
                <a:gd name="T12" fmla="*/ 30 w 534"/>
                <a:gd name="T13" fmla="*/ 38 h 774"/>
                <a:gd name="T14" fmla="*/ 29 w 534"/>
                <a:gd name="T15" fmla="*/ 40 h 774"/>
                <a:gd name="T16" fmla="*/ 25 w 534"/>
                <a:gd name="T17" fmla="*/ 40 h 774"/>
                <a:gd name="T18" fmla="*/ 23 w 534"/>
                <a:gd name="T19" fmla="*/ 42 h 774"/>
                <a:gd name="T20" fmla="*/ 22 w 534"/>
                <a:gd name="T21" fmla="*/ 47 h 774"/>
                <a:gd name="T22" fmla="*/ 22 w 534"/>
                <a:gd name="T23" fmla="*/ 51 h 774"/>
                <a:gd name="T24" fmla="*/ 22 w 534"/>
                <a:gd name="T25" fmla="*/ 54 h 774"/>
                <a:gd name="T26" fmla="*/ 21 w 534"/>
                <a:gd name="T27" fmla="*/ 56 h 774"/>
                <a:gd name="T28" fmla="*/ 19 w 534"/>
                <a:gd name="T29" fmla="*/ 58 h 774"/>
                <a:gd name="T30" fmla="*/ 20 w 534"/>
                <a:gd name="T31" fmla="*/ 59 h 774"/>
                <a:gd name="T32" fmla="*/ 19 w 534"/>
                <a:gd name="T33" fmla="*/ 62 h 774"/>
                <a:gd name="T34" fmla="*/ 19 w 534"/>
                <a:gd name="T35" fmla="*/ 64 h 774"/>
                <a:gd name="T36" fmla="*/ 20 w 534"/>
                <a:gd name="T37" fmla="*/ 66 h 774"/>
                <a:gd name="T38" fmla="*/ 17 w 534"/>
                <a:gd name="T39" fmla="*/ 66 h 774"/>
                <a:gd name="T40" fmla="*/ 16 w 534"/>
                <a:gd name="T41" fmla="*/ 65 h 774"/>
                <a:gd name="T42" fmla="*/ 13 w 534"/>
                <a:gd name="T43" fmla="*/ 65 h 774"/>
                <a:gd name="T44" fmla="*/ 11 w 534"/>
                <a:gd name="T45" fmla="*/ 65 h 774"/>
                <a:gd name="T46" fmla="*/ 8 w 534"/>
                <a:gd name="T47" fmla="*/ 65 h 774"/>
                <a:gd name="T48" fmla="*/ 8 w 534"/>
                <a:gd name="T49" fmla="*/ 64 h 774"/>
                <a:gd name="T50" fmla="*/ 5 w 534"/>
                <a:gd name="T51" fmla="*/ 65 h 774"/>
                <a:gd name="T52" fmla="*/ 3 w 534"/>
                <a:gd name="T53" fmla="*/ 65 h 774"/>
                <a:gd name="T54" fmla="*/ 0 w 534"/>
                <a:gd name="T55" fmla="*/ 64 h 774"/>
                <a:gd name="T56" fmla="*/ 0 w 534"/>
                <a:gd name="T57" fmla="*/ 62 h 774"/>
                <a:gd name="T58" fmla="*/ 3 w 534"/>
                <a:gd name="T59" fmla="*/ 60 h 774"/>
                <a:gd name="T60" fmla="*/ 6 w 534"/>
                <a:gd name="T61" fmla="*/ 57 h 774"/>
                <a:gd name="T62" fmla="*/ 8 w 534"/>
                <a:gd name="T63" fmla="*/ 50 h 774"/>
                <a:gd name="T64" fmla="*/ 6 w 534"/>
                <a:gd name="T65" fmla="*/ 45 h 774"/>
                <a:gd name="T66" fmla="*/ 8 w 534"/>
                <a:gd name="T67" fmla="*/ 41 h 774"/>
                <a:gd name="T68" fmla="*/ 9 w 534"/>
                <a:gd name="T69" fmla="*/ 38 h 774"/>
                <a:gd name="T70" fmla="*/ 10 w 534"/>
                <a:gd name="T71" fmla="*/ 36 h 774"/>
                <a:gd name="T72" fmla="*/ 12 w 534"/>
                <a:gd name="T73" fmla="*/ 33 h 774"/>
                <a:gd name="T74" fmla="*/ 14 w 534"/>
                <a:gd name="T75" fmla="*/ 29 h 774"/>
                <a:gd name="T76" fmla="*/ 16 w 534"/>
                <a:gd name="T77" fmla="*/ 26 h 774"/>
                <a:gd name="T78" fmla="*/ 16 w 534"/>
                <a:gd name="T79" fmla="*/ 24 h 774"/>
                <a:gd name="T80" fmla="*/ 16 w 534"/>
                <a:gd name="T81" fmla="*/ 21 h 774"/>
                <a:gd name="T82" fmla="*/ 13 w 534"/>
                <a:gd name="T83" fmla="*/ 19 h 774"/>
                <a:gd name="T84" fmla="*/ 14 w 534"/>
                <a:gd name="T85" fmla="*/ 10 h 774"/>
                <a:gd name="T86" fmla="*/ 14 w 534"/>
                <a:gd name="T87" fmla="*/ 7 h 774"/>
                <a:gd name="T88" fmla="*/ 8 w 534"/>
                <a:gd name="T89" fmla="*/ 7 h 774"/>
                <a:gd name="T90" fmla="*/ 7 w 534"/>
                <a:gd name="T91" fmla="*/ 3 h 774"/>
                <a:gd name="T92" fmla="*/ 11 w 534"/>
                <a:gd name="T93" fmla="*/ 1 h 774"/>
                <a:gd name="T94" fmla="*/ 12 w 534"/>
                <a:gd name="T95" fmla="*/ 0 h 774"/>
                <a:gd name="T96" fmla="*/ 16 w 534"/>
                <a:gd name="T97" fmla="*/ 2 h 774"/>
                <a:gd name="T98" fmla="*/ 20 w 534"/>
                <a:gd name="T99" fmla="*/ 2 h 774"/>
                <a:gd name="T100" fmla="*/ 23 w 534"/>
                <a:gd name="T101" fmla="*/ 3 h 774"/>
                <a:gd name="T102" fmla="*/ 23 w 534"/>
                <a:gd name="T103" fmla="*/ 10 h 774"/>
                <a:gd name="T104" fmla="*/ 29 w 534"/>
                <a:gd name="T105" fmla="*/ 12 h 774"/>
                <a:gd name="T106" fmla="*/ 35 w 534"/>
                <a:gd name="T107" fmla="*/ 12 h 774"/>
                <a:gd name="T108" fmla="*/ 38 w 534"/>
                <a:gd name="T109" fmla="*/ 17 h 774"/>
                <a:gd name="T110" fmla="*/ 40 w 534"/>
                <a:gd name="T111" fmla="*/ 19 h 774"/>
                <a:gd name="T112" fmla="*/ 44 w 534"/>
                <a:gd name="T113" fmla="*/ 23 h 774"/>
                <a:gd name="T114" fmla="*/ 44 w 534"/>
                <a:gd name="T115" fmla="*/ 30 h 774"/>
                <a:gd name="T116" fmla="*/ 46 w 534"/>
                <a:gd name="T117" fmla="*/ 36 h 774"/>
                <a:gd name="T118" fmla="*/ 41 w 534"/>
                <a:gd name="T119" fmla="*/ 37 h 77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34"/>
                <a:gd name="T181" fmla="*/ 0 h 774"/>
                <a:gd name="T182" fmla="*/ 534 w 534"/>
                <a:gd name="T183" fmla="*/ 774 h 77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34" h="774">
                  <a:moveTo>
                    <a:pt x="462" y="426"/>
                  </a:moveTo>
                  <a:lnTo>
                    <a:pt x="462" y="414"/>
                  </a:lnTo>
                  <a:lnTo>
                    <a:pt x="450" y="402"/>
                  </a:lnTo>
                  <a:lnTo>
                    <a:pt x="444" y="396"/>
                  </a:lnTo>
                  <a:lnTo>
                    <a:pt x="420" y="396"/>
                  </a:lnTo>
                  <a:lnTo>
                    <a:pt x="408" y="390"/>
                  </a:lnTo>
                  <a:lnTo>
                    <a:pt x="402" y="366"/>
                  </a:lnTo>
                  <a:lnTo>
                    <a:pt x="390" y="354"/>
                  </a:lnTo>
                  <a:lnTo>
                    <a:pt x="384" y="336"/>
                  </a:lnTo>
                  <a:lnTo>
                    <a:pt x="378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8" y="348"/>
                  </a:lnTo>
                  <a:lnTo>
                    <a:pt x="360" y="354"/>
                  </a:lnTo>
                  <a:lnTo>
                    <a:pt x="360" y="390"/>
                  </a:lnTo>
                  <a:lnTo>
                    <a:pt x="348" y="390"/>
                  </a:lnTo>
                  <a:lnTo>
                    <a:pt x="342" y="384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90"/>
                  </a:lnTo>
                  <a:lnTo>
                    <a:pt x="312" y="402"/>
                  </a:lnTo>
                  <a:lnTo>
                    <a:pt x="306" y="420"/>
                  </a:lnTo>
                  <a:lnTo>
                    <a:pt x="324" y="414"/>
                  </a:lnTo>
                  <a:lnTo>
                    <a:pt x="330" y="414"/>
                  </a:lnTo>
                  <a:lnTo>
                    <a:pt x="336" y="420"/>
                  </a:lnTo>
                  <a:lnTo>
                    <a:pt x="336" y="432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6"/>
                  </a:lnTo>
                  <a:lnTo>
                    <a:pt x="318" y="456"/>
                  </a:lnTo>
                  <a:lnTo>
                    <a:pt x="300" y="456"/>
                  </a:lnTo>
                  <a:lnTo>
                    <a:pt x="288" y="462"/>
                  </a:lnTo>
                  <a:lnTo>
                    <a:pt x="276" y="462"/>
                  </a:lnTo>
                  <a:lnTo>
                    <a:pt x="270" y="462"/>
                  </a:lnTo>
                  <a:lnTo>
                    <a:pt x="270" y="468"/>
                  </a:lnTo>
                  <a:lnTo>
                    <a:pt x="252" y="468"/>
                  </a:lnTo>
                  <a:lnTo>
                    <a:pt x="258" y="480"/>
                  </a:lnTo>
                  <a:lnTo>
                    <a:pt x="258" y="492"/>
                  </a:lnTo>
                  <a:lnTo>
                    <a:pt x="258" y="498"/>
                  </a:lnTo>
                  <a:lnTo>
                    <a:pt x="258" y="510"/>
                  </a:lnTo>
                  <a:lnTo>
                    <a:pt x="252" y="540"/>
                  </a:lnTo>
                  <a:lnTo>
                    <a:pt x="246" y="564"/>
                  </a:lnTo>
                  <a:lnTo>
                    <a:pt x="246" y="570"/>
                  </a:lnTo>
                  <a:lnTo>
                    <a:pt x="252" y="576"/>
                  </a:lnTo>
                  <a:lnTo>
                    <a:pt x="246" y="582"/>
                  </a:lnTo>
                  <a:lnTo>
                    <a:pt x="252" y="600"/>
                  </a:lnTo>
                  <a:lnTo>
                    <a:pt x="258" y="606"/>
                  </a:lnTo>
                  <a:lnTo>
                    <a:pt x="258" y="612"/>
                  </a:lnTo>
                  <a:lnTo>
                    <a:pt x="252" y="618"/>
                  </a:lnTo>
                  <a:lnTo>
                    <a:pt x="246" y="624"/>
                  </a:lnTo>
                  <a:lnTo>
                    <a:pt x="246" y="630"/>
                  </a:lnTo>
                  <a:lnTo>
                    <a:pt x="246" y="636"/>
                  </a:lnTo>
                  <a:lnTo>
                    <a:pt x="240" y="642"/>
                  </a:lnTo>
                  <a:lnTo>
                    <a:pt x="234" y="654"/>
                  </a:lnTo>
                  <a:lnTo>
                    <a:pt x="228" y="654"/>
                  </a:lnTo>
                  <a:lnTo>
                    <a:pt x="222" y="660"/>
                  </a:lnTo>
                  <a:lnTo>
                    <a:pt x="216" y="666"/>
                  </a:lnTo>
                  <a:lnTo>
                    <a:pt x="210" y="666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22" y="684"/>
                  </a:lnTo>
                  <a:lnTo>
                    <a:pt x="222" y="690"/>
                  </a:lnTo>
                  <a:lnTo>
                    <a:pt x="222" y="696"/>
                  </a:lnTo>
                  <a:lnTo>
                    <a:pt x="222" y="702"/>
                  </a:lnTo>
                  <a:lnTo>
                    <a:pt x="216" y="708"/>
                  </a:lnTo>
                  <a:lnTo>
                    <a:pt x="210" y="720"/>
                  </a:lnTo>
                  <a:lnTo>
                    <a:pt x="216" y="732"/>
                  </a:lnTo>
                  <a:lnTo>
                    <a:pt x="210" y="732"/>
                  </a:lnTo>
                  <a:lnTo>
                    <a:pt x="216" y="738"/>
                  </a:lnTo>
                  <a:lnTo>
                    <a:pt x="216" y="744"/>
                  </a:lnTo>
                  <a:lnTo>
                    <a:pt x="222" y="750"/>
                  </a:lnTo>
                  <a:lnTo>
                    <a:pt x="228" y="756"/>
                  </a:lnTo>
                  <a:lnTo>
                    <a:pt x="222" y="762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04" y="762"/>
                  </a:lnTo>
                  <a:lnTo>
                    <a:pt x="198" y="762"/>
                  </a:lnTo>
                  <a:lnTo>
                    <a:pt x="192" y="762"/>
                  </a:lnTo>
                  <a:lnTo>
                    <a:pt x="186" y="756"/>
                  </a:lnTo>
                  <a:lnTo>
                    <a:pt x="180" y="750"/>
                  </a:lnTo>
                  <a:lnTo>
                    <a:pt x="180" y="744"/>
                  </a:lnTo>
                  <a:lnTo>
                    <a:pt x="174" y="744"/>
                  </a:lnTo>
                  <a:lnTo>
                    <a:pt x="156" y="750"/>
                  </a:lnTo>
                  <a:lnTo>
                    <a:pt x="150" y="750"/>
                  </a:lnTo>
                  <a:lnTo>
                    <a:pt x="144" y="750"/>
                  </a:lnTo>
                  <a:lnTo>
                    <a:pt x="138" y="750"/>
                  </a:lnTo>
                  <a:lnTo>
                    <a:pt x="138" y="744"/>
                  </a:lnTo>
                  <a:lnTo>
                    <a:pt x="132" y="744"/>
                  </a:lnTo>
                  <a:lnTo>
                    <a:pt x="120" y="744"/>
                  </a:lnTo>
                  <a:lnTo>
                    <a:pt x="114" y="738"/>
                  </a:lnTo>
                  <a:lnTo>
                    <a:pt x="108" y="744"/>
                  </a:lnTo>
                  <a:lnTo>
                    <a:pt x="102" y="744"/>
                  </a:lnTo>
                  <a:lnTo>
                    <a:pt x="96" y="744"/>
                  </a:lnTo>
                  <a:lnTo>
                    <a:pt x="96" y="738"/>
                  </a:lnTo>
                  <a:lnTo>
                    <a:pt x="96" y="744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44"/>
                  </a:lnTo>
                  <a:lnTo>
                    <a:pt x="72" y="750"/>
                  </a:lnTo>
                  <a:lnTo>
                    <a:pt x="66" y="750"/>
                  </a:lnTo>
                  <a:lnTo>
                    <a:pt x="60" y="750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0"/>
                  </a:lnTo>
                  <a:lnTo>
                    <a:pt x="30" y="750"/>
                  </a:lnTo>
                  <a:lnTo>
                    <a:pt x="24" y="744"/>
                  </a:lnTo>
                  <a:lnTo>
                    <a:pt x="18" y="738"/>
                  </a:lnTo>
                  <a:lnTo>
                    <a:pt x="6" y="738"/>
                  </a:lnTo>
                  <a:lnTo>
                    <a:pt x="0" y="732"/>
                  </a:lnTo>
                  <a:lnTo>
                    <a:pt x="0" y="726"/>
                  </a:lnTo>
                  <a:lnTo>
                    <a:pt x="0" y="720"/>
                  </a:lnTo>
                  <a:lnTo>
                    <a:pt x="6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8" y="702"/>
                  </a:lnTo>
                  <a:lnTo>
                    <a:pt x="24" y="696"/>
                  </a:lnTo>
                  <a:lnTo>
                    <a:pt x="30" y="696"/>
                  </a:lnTo>
                  <a:lnTo>
                    <a:pt x="48" y="690"/>
                  </a:lnTo>
                  <a:lnTo>
                    <a:pt x="54" y="678"/>
                  </a:lnTo>
                  <a:lnTo>
                    <a:pt x="66" y="672"/>
                  </a:lnTo>
                  <a:lnTo>
                    <a:pt x="66" y="654"/>
                  </a:lnTo>
                  <a:lnTo>
                    <a:pt x="72" y="636"/>
                  </a:lnTo>
                  <a:lnTo>
                    <a:pt x="72" y="612"/>
                  </a:lnTo>
                  <a:lnTo>
                    <a:pt x="84" y="594"/>
                  </a:lnTo>
                  <a:lnTo>
                    <a:pt x="90" y="576"/>
                  </a:lnTo>
                  <a:lnTo>
                    <a:pt x="96" y="552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72" y="522"/>
                  </a:lnTo>
                  <a:lnTo>
                    <a:pt x="78" y="510"/>
                  </a:lnTo>
                  <a:lnTo>
                    <a:pt x="78" y="504"/>
                  </a:lnTo>
                  <a:lnTo>
                    <a:pt x="84" y="480"/>
                  </a:lnTo>
                  <a:lnTo>
                    <a:pt x="90" y="468"/>
                  </a:lnTo>
                  <a:lnTo>
                    <a:pt x="90" y="456"/>
                  </a:lnTo>
                  <a:lnTo>
                    <a:pt x="96" y="456"/>
                  </a:lnTo>
                  <a:lnTo>
                    <a:pt x="96" y="444"/>
                  </a:lnTo>
                  <a:lnTo>
                    <a:pt x="102" y="438"/>
                  </a:lnTo>
                  <a:lnTo>
                    <a:pt x="102" y="432"/>
                  </a:lnTo>
                  <a:lnTo>
                    <a:pt x="108" y="432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14" y="408"/>
                  </a:lnTo>
                  <a:lnTo>
                    <a:pt x="114" y="402"/>
                  </a:lnTo>
                  <a:lnTo>
                    <a:pt x="126" y="384"/>
                  </a:lnTo>
                  <a:lnTo>
                    <a:pt x="138" y="378"/>
                  </a:lnTo>
                  <a:lnTo>
                    <a:pt x="138" y="372"/>
                  </a:lnTo>
                  <a:lnTo>
                    <a:pt x="150" y="354"/>
                  </a:lnTo>
                  <a:lnTo>
                    <a:pt x="156" y="342"/>
                  </a:lnTo>
                  <a:lnTo>
                    <a:pt x="162" y="330"/>
                  </a:lnTo>
                  <a:lnTo>
                    <a:pt x="168" y="324"/>
                  </a:lnTo>
                  <a:lnTo>
                    <a:pt x="168" y="312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74" y="294"/>
                  </a:lnTo>
                  <a:lnTo>
                    <a:pt x="180" y="288"/>
                  </a:lnTo>
                  <a:lnTo>
                    <a:pt x="180" y="276"/>
                  </a:lnTo>
                  <a:lnTo>
                    <a:pt x="186" y="276"/>
                  </a:lnTo>
                  <a:lnTo>
                    <a:pt x="186" y="270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40"/>
                  </a:lnTo>
                  <a:lnTo>
                    <a:pt x="168" y="240"/>
                  </a:lnTo>
                  <a:lnTo>
                    <a:pt x="162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68" y="216"/>
                  </a:lnTo>
                  <a:lnTo>
                    <a:pt x="168" y="180"/>
                  </a:lnTo>
                  <a:lnTo>
                    <a:pt x="168" y="144"/>
                  </a:lnTo>
                  <a:lnTo>
                    <a:pt x="162" y="120"/>
                  </a:lnTo>
                  <a:lnTo>
                    <a:pt x="162" y="108"/>
                  </a:lnTo>
                  <a:lnTo>
                    <a:pt x="168" y="102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44" y="84"/>
                  </a:lnTo>
                  <a:lnTo>
                    <a:pt x="126" y="84"/>
                  </a:lnTo>
                  <a:lnTo>
                    <a:pt x="108" y="78"/>
                  </a:lnTo>
                  <a:lnTo>
                    <a:pt x="96" y="78"/>
                  </a:lnTo>
                  <a:lnTo>
                    <a:pt x="78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8" y="36"/>
                  </a:lnTo>
                  <a:lnTo>
                    <a:pt x="96" y="24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56" y="0"/>
                  </a:lnTo>
                  <a:lnTo>
                    <a:pt x="156" y="6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18"/>
                  </a:lnTo>
                  <a:lnTo>
                    <a:pt x="198" y="18"/>
                  </a:lnTo>
                  <a:lnTo>
                    <a:pt x="210" y="18"/>
                  </a:lnTo>
                  <a:lnTo>
                    <a:pt x="222" y="18"/>
                  </a:lnTo>
                  <a:lnTo>
                    <a:pt x="234" y="12"/>
                  </a:lnTo>
                  <a:lnTo>
                    <a:pt x="252" y="18"/>
                  </a:lnTo>
                  <a:lnTo>
                    <a:pt x="252" y="24"/>
                  </a:lnTo>
                  <a:lnTo>
                    <a:pt x="258" y="36"/>
                  </a:lnTo>
                  <a:lnTo>
                    <a:pt x="258" y="66"/>
                  </a:lnTo>
                  <a:lnTo>
                    <a:pt x="252" y="84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82" y="126"/>
                  </a:lnTo>
                  <a:lnTo>
                    <a:pt x="294" y="132"/>
                  </a:lnTo>
                  <a:lnTo>
                    <a:pt x="306" y="138"/>
                  </a:lnTo>
                  <a:lnTo>
                    <a:pt x="324" y="138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60" y="144"/>
                  </a:lnTo>
                  <a:lnTo>
                    <a:pt x="396" y="144"/>
                  </a:lnTo>
                  <a:lnTo>
                    <a:pt x="408" y="150"/>
                  </a:lnTo>
                  <a:lnTo>
                    <a:pt x="414" y="180"/>
                  </a:lnTo>
                  <a:lnTo>
                    <a:pt x="420" y="186"/>
                  </a:lnTo>
                  <a:lnTo>
                    <a:pt x="426" y="192"/>
                  </a:lnTo>
                  <a:lnTo>
                    <a:pt x="426" y="198"/>
                  </a:lnTo>
                  <a:lnTo>
                    <a:pt x="432" y="198"/>
                  </a:lnTo>
                  <a:lnTo>
                    <a:pt x="438" y="210"/>
                  </a:lnTo>
                  <a:lnTo>
                    <a:pt x="450" y="216"/>
                  </a:lnTo>
                  <a:lnTo>
                    <a:pt x="468" y="228"/>
                  </a:lnTo>
                  <a:lnTo>
                    <a:pt x="492" y="234"/>
                  </a:lnTo>
                  <a:lnTo>
                    <a:pt x="492" y="246"/>
                  </a:lnTo>
                  <a:lnTo>
                    <a:pt x="492" y="270"/>
                  </a:lnTo>
                  <a:lnTo>
                    <a:pt x="486" y="294"/>
                  </a:lnTo>
                  <a:lnTo>
                    <a:pt x="486" y="312"/>
                  </a:lnTo>
                  <a:lnTo>
                    <a:pt x="486" y="330"/>
                  </a:lnTo>
                  <a:lnTo>
                    <a:pt x="492" y="348"/>
                  </a:lnTo>
                  <a:lnTo>
                    <a:pt x="498" y="360"/>
                  </a:lnTo>
                  <a:lnTo>
                    <a:pt x="510" y="366"/>
                  </a:lnTo>
                  <a:lnTo>
                    <a:pt x="516" y="384"/>
                  </a:lnTo>
                  <a:lnTo>
                    <a:pt x="522" y="414"/>
                  </a:lnTo>
                  <a:lnTo>
                    <a:pt x="528" y="414"/>
                  </a:lnTo>
                  <a:lnTo>
                    <a:pt x="534" y="426"/>
                  </a:lnTo>
                  <a:lnTo>
                    <a:pt x="528" y="432"/>
                  </a:lnTo>
                  <a:lnTo>
                    <a:pt x="468" y="426"/>
                  </a:lnTo>
                  <a:lnTo>
                    <a:pt x="462" y="4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3" name="Freeform 8">
              <a:extLst>
                <a:ext uri="{FF2B5EF4-FFF2-40B4-BE49-F238E27FC236}">
                  <a16:creationId xmlns:a16="http://schemas.microsoft.com/office/drawing/2014/main" id="{D473457C-872E-4E31-888A-D60FD52063A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98175" y="4307054"/>
              <a:ext cx="295177" cy="348894"/>
            </a:xfrm>
            <a:custGeom>
              <a:avLst/>
              <a:gdLst>
                <a:gd name="T0" fmla="*/ 3 w 552"/>
                <a:gd name="T1" fmla="*/ 46 h 660"/>
                <a:gd name="T2" fmla="*/ 4 w 552"/>
                <a:gd name="T3" fmla="*/ 42 h 660"/>
                <a:gd name="T4" fmla="*/ 2 w 552"/>
                <a:gd name="T5" fmla="*/ 38 h 660"/>
                <a:gd name="T6" fmla="*/ 0 w 552"/>
                <a:gd name="T7" fmla="*/ 34 h 660"/>
                <a:gd name="T8" fmla="*/ 2 w 552"/>
                <a:gd name="T9" fmla="*/ 30 h 660"/>
                <a:gd name="T10" fmla="*/ 3 w 552"/>
                <a:gd name="T11" fmla="*/ 27 h 660"/>
                <a:gd name="T12" fmla="*/ 5 w 552"/>
                <a:gd name="T13" fmla="*/ 23 h 660"/>
                <a:gd name="T14" fmla="*/ 5 w 552"/>
                <a:gd name="T15" fmla="*/ 15 h 660"/>
                <a:gd name="T16" fmla="*/ 6 w 552"/>
                <a:gd name="T17" fmla="*/ 11 h 660"/>
                <a:gd name="T18" fmla="*/ 11 w 552"/>
                <a:gd name="T19" fmla="*/ 9 h 660"/>
                <a:gd name="T20" fmla="*/ 10 w 552"/>
                <a:gd name="T21" fmla="*/ 5 h 660"/>
                <a:gd name="T22" fmla="*/ 12 w 552"/>
                <a:gd name="T23" fmla="*/ 1 h 660"/>
                <a:gd name="T24" fmla="*/ 16 w 552"/>
                <a:gd name="T25" fmla="*/ 2 h 660"/>
                <a:gd name="T26" fmla="*/ 23 w 552"/>
                <a:gd name="T27" fmla="*/ 8 h 660"/>
                <a:gd name="T28" fmla="*/ 23 w 552"/>
                <a:gd name="T29" fmla="*/ 11 h 660"/>
                <a:gd name="T30" fmla="*/ 27 w 552"/>
                <a:gd name="T31" fmla="*/ 12 h 660"/>
                <a:gd name="T32" fmla="*/ 29 w 552"/>
                <a:gd name="T33" fmla="*/ 17 h 660"/>
                <a:gd name="T34" fmla="*/ 31 w 552"/>
                <a:gd name="T35" fmla="*/ 15 h 660"/>
                <a:gd name="T36" fmla="*/ 33 w 552"/>
                <a:gd name="T37" fmla="*/ 17 h 660"/>
                <a:gd name="T38" fmla="*/ 36 w 552"/>
                <a:gd name="T39" fmla="*/ 23 h 660"/>
                <a:gd name="T40" fmla="*/ 41 w 552"/>
                <a:gd name="T41" fmla="*/ 33 h 660"/>
                <a:gd name="T42" fmla="*/ 43 w 552"/>
                <a:gd name="T43" fmla="*/ 36 h 660"/>
                <a:gd name="T44" fmla="*/ 43 w 552"/>
                <a:gd name="T45" fmla="*/ 37 h 660"/>
                <a:gd name="T46" fmla="*/ 41 w 552"/>
                <a:gd name="T47" fmla="*/ 35 h 660"/>
                <a:gd name="T48" fmla="*/ 43 w 552"/>
                <a:gd name="T49" fmla="*/ 37 h 660"/>
                <a:gd name="T50" fmla="*/ 44 w 552"/>
                <a:gd name="T51" fmla="*/ 39 h 660"/>
                <a:gd name="T52" fmla="*/ 47 w 552"/>
                <a:gd name="T53" fmla="*/ 41 h 660"/>
                <a:gd name="T54" fmla="*/ 47 w 552"/>
                <a:gd name="T55" fmla="*/ 44 h 660"/>
                <a:gd name="T56" fmla="*/ 48 w 552"/>
                <a:gd name="T57" fmla="*/ 46 h 660"/>
                <a:gd name="T58" fmla="*/ 47 w 552"/>
                <a:gd name="T59" fmla="*/ 46 h 660"/>
                <a:gd name="T60" fmla="*/ 44 w 552"/>
                <a:gd name="T61" fmla="*/ 46 h 660"/>
                <a:gd name="T62" fmla="*/ 47 w 552"/>
                <a:gd name="T63" fmla="*/ 47 h 660"/>
                <a:gd name="T64" fmla="*/ 47 w 552"/>
                <a:gd name="T65" fmla="*/ 49 h 660"/>
                <a:gd name="T66" fmla="*/ 47 w 552"/>
                <a:gd name="T67" fmla="*/ 52 h 660"/>
                <a:gd name="T68" fmla="*/ 46 w 552"/>
                <a:gd name="T69" fmla="*/ 53 h 660"/>
                <a:gd name="T70" fmla="*/ 43 w 552"/>
                <a:gd name="T71" fmla="*/ 54 h 660"/>
                <a:gd name="T72" fmla="*/ 37 w 552"/>
                <a:gd name="T73" fmla="*/ 54 h 660"/>
                <a:gd name="T74" fmla="*/ 30 w 552"/>
                <a:gd name="T75" fmla="*/ 54 h 660"/>
                <a:gd name="T76" fmla="*/ 29 w 552"/>
                <a:gd name="T77" fmla="*/ 53 h 660"/>
                <a:gd name="T78" fmla="*/ 27 w 552"/>
                <a:gd name="T79" fmla="*/ 53 h 660"/>
                <a:gd name="T80" fmla="*/ 29 w 552"/>
                <a:gd name="T81" fmla="*/ 53 h 660"/>
                <a:gd name="T82" fmla="*/ 28 w 552"/>
                <a:gd name="T83" fmla="*/ 54 h 660"/>
                <a:gd name="T84" fmla="*/ 24 w 552"/>
                <a:gd name="T85" fmla="*/ 54 h 660"/>
                <a:gd name="T86" fmla="*/ 20 w 552"/>
                <a:gd name="T87" fmla="*/ 55 h 660"/>
                <a:gd name="T88" fmla="*/ 15 w 552"/>
                <a:gd name="T89" fmla="*/ 56 h 660"/>
                <a:gd name="T90" fmla="*/ 12 w 552"/>
                <a:gd name="T91" fmla="*/ 56 h 660"/>
                <a:gd name="T92" fmla="*/ 11 w 552"/>
                <a:gd name="T93" fmla="*/ 57 h 660"/>
                <a:gd name="T94" fmla="*/ 9 w 552"/>
                <a:gd name="T95" fmla="*/ 57 h 660"/>
                <a:gd name="T96" fmla="*/ 7 w 552"/>
                <a:gd name="T97" fmla="*/ 56 h 660"/>
                <a:gd name="T98" fmla="*/ 5 w 552"/>
                <a:gd name="T99" fmla="*/ 55 h 660"/>
                <a:gd name="T100" fmla="*/ 7 w 552"/>
                <a:gd name="T101" fmla="*/ 54 h 660"/>
                <a:gd name="T102" fmla="*/ 5 w 552"/>
                <a:gd name="T103" fmla="*/ 54 h 660"/>
                <a:gd name="T104" fmla="*/ 5 w 552"/>
                <a:gd name="T105" fmla="*/ 53 h 660"/>
                <a:gd name="T106" fmla="*/ 4 w 552"/>
                <a:gd name="T107" fmla="*/ 49 h 660"/>
                <a:gd name="T108" fmla="*/ 45 w 552"/>
                <a:gd name="T109" fmla="*/ 38 h 66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52"/>
                <a:gd name="T166" fmla="*/ 0 h 660"/>
                <a:gd name="T167" fmla="*/ 552 w 552"/>
                <a:gd name="T168" fmla="*/ 660 h 66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52" h="660">
                  <a:moveTo>
                    <a:pt x="36" y="564"/>
                  </a:moveTo>
                  <a:lnTo>
                    <a:pt x="36" y="558"/>
                  </a:lnTo>
                  <a:lnTo>
                    <a:pt x="36" y="552"/>
                  </a:lnTo>
                  <a:lnTo>
                    <a:pt x="42" y="546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34"/>
                  </a:lnTo>
                  <a:lnTo>
                    <a:pt x="36" y="528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54" y="510"/>
                  </a:lnTo>
                  <a:lnTo>
                    <a:pt x="54" y="504"/>
                  </a:lnTo>
                  <a:lnTo>
                    <a:pt x="54" y="498"/>
                  </a:lnTo>
                  <a:lnTo>
                    <a:pt x="48" y="492"/>
                  </a:lnTo>
                  <a:lnTo>
                    <a:pt x="42" y="486"/>
                  </a:lnTo>
                  <a:lnTo>
                    <a:pt x="42" y="480"/>
                  </a:lnTo>
                  <a:lnTo>
                    <a:pt x="42" y="468"/>
                  </a:lnTo>
                  <a:lnTo>
                    <a:pt x="30" y="456"/>
                  </a:lnTo>
                  <a:lnTo>
                    <a:pt x="30" y="450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2"/>
                  </a:lnTo>
                  <a:lnTo>
                    <a:pt x="18" y="426"/>
                  </a:lnTo>
                  <a:lnTo>
                    <a:pt x="24" y="420"/>
                  </a:lnTo>
                  <a:lnTo>
                    <a:pt x="18" y="414"/>
                  </a:lnTo>
                  <a:lnTo>
                    <a:pt x="12" y="408"/>
                  </a:lnTo>
                  <a:lnTo>
                    <a:pt x="12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6" y="384"/>
                  </a:lnTo>
                  <a:lnTo>
                    <a:pt x="12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8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36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54" y="270"/>
                  </a:lnTo>
                  <a:lnTo>
                    <a:pt x="48" y="264"/>
                  </a:lnTo>
                  <a:lnTo>
                    <a:pt x="42" y="246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8" y="204"/>
                  </a:lnTo>
                  <a:lnTo>
                    <a:pt x="54" y="174"/>
                  </a:lnTo>
                  <a:lnTo>
                    <a:pt x="54" y="162"/>
                  </a:lnTo>
                  <a:lnTo>
                    <a:pt x="54" y="156"/>
                  </a:lnTo>
                  <a:lnTo>
                    <a:pt x="54" y="144"/>
                  </a:lnTo>
                  <a:lnTo>
                    <a:pt x="48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72" y="126"/>
                  </a:lnTo>
                  <a:lnTo>
                    <a:pt x="84" y="126"/>
                  </a:lnTo>
                  <a:lnTo>
                    <a:pt x="96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2" y="84"/>
                  </a:lnTo>
                  <a:lnTo>
                    <a:pt x="126" y="78"/>
                  </a:lnTo>
                  <a:lnTo>
                    <a:pt x="120" y="78"/>
                  </a:lnTo>
                  <a:lnTo>
                    <a:pt x="102" y="84"/>
                  </a:lnTo>
                  <a:lnTo>
                    <a:pt x="108" y="66"/>
                  </a:lnTo>
                  <a:lnTo>
                    <a:pt x="114" y="54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8" y="4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6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74" y="0"/>
                  </a:lnTo>
                  <a:lnTo>
                    <a:pt x="180" y="0"/>
                  </a:lnTo>
                  <a:lnTo>
                    <a:pt x="186" y="18"/>
                  </a:lnTo>
                  <a:lnTo>
                    <a:pt x="198" y="30"/>
                  </a:lnTo>
                  <a:lnTo>
                    <a:pt x="204" y="54"/>
                  </a:lnTo>
                  <a:lnTo>
                    <a:pt x="216" y="60"/>
                  </a:lnTo>
                  <a:lnTo>
                    <a:pt x="240" y="60"/>
                  </a:lnTo>
                  <a:lnTo>
                    <a:pt x="246" y="66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2" y="120"/>
                  </a:lnTo>
                  <a:lnTo>
                    <a:pt x="25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6" y="126"/>
                  </a:lnTo>
                  <a:lnTo>
                    <a:pt x="282" y="120"/>
                  </a:lnTo>
                  <a:lnTo>
                    <a:pt x="282" y="126"/>
                  </a:lnTo>
                  <a:lnTo>
                    <a:pt x="294" y="126"/>
                  </a:lnTo>
                  <a:lnTo>
                    <a:pt x="300" y="132"/>
                  </a:lnTo>
                  <a:lnTo>
                    <a:pt x="306" y="144"/>
                  </a:lnTo>
                  <a:lnTo>
                    <a:pt x="312" y="144"/>
                  </a:lnTo>
                  <a:lnTo>
                    <a:pt x="312" y="150"/>
                  </a:lnTo>
                  <a:lnTo>
                    <a:pt x="312" y="162"/>
                  </a:lnTo>
                  <a:lnTo>
                    <a:pt x="312" y="174"/>
                  </a:lnTo>
                  <a:lnTo>
                    <a:pt x="324" y="180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30" y="192"/>
                  </a:lnTo>
                  <a:lnTo>
                    <a:pt x="336" y="198"/>
                  </a:lnTo>
                  <a:lnTo>
                    <a:pt x="342" y="192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54" y="180"/>
                  </a:lnTo>
                  <a:lnTo>
                    <a:pt x="354" y="174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84" y="192"/>
                  </a:lnTo>
                  <a:lnTo>
                    <a:pt x="390" y="204"/>
                  </a:lnTo>
                  <a:lnTo>
                    <a:pt x="390" y="210"/>
                  </a:lnTo>
                  <a:lnTo>
                    <a:pt x="390" y="216"/>
                  </a:lnTo>
                  <a:lnTo>
                    <a:pt x="384" y="234"/>
                  </a:lnTo>
                  <a:lnTo>
                    <a:pt x="390" y="240"/>
                  </a:lnTo>
                  <a:lnTo>
                    <a:pt x="408" y="252"/>
                  </a:lnTo>
                  <a:lnTo>
                    <a:pt x="414" y="264"/>
                  </a:lnTo>
                  <a:lnTo>
                    <a:pt x="408" y="300"/>
                  </a:lnTo>
                  <a:lnTo>
                    <a:pt x="414" y="312"/>
                  </a:lnTo>
                  <a:lnTo>
                    <a:pt x="426" y="336"/>
                  </a:lnTo>
                  <a:lnTo>
                    <a:pt x="438" y="354"/>
                  </a:lnTo>
                  <a:lnTo>
                    <a:pt x="444" y="366"/>
                  </a:lnTo>
                  <a:lnTo>
                    <a:pt x="456" y="366"/>
                  </a:lnTo>
                  <a:lnTo>
                    <a:pt x="474" y="378"/>
                  </a:lnTo>
                  <a:lnTo>
                    <a:pt x="474" y="384"/>
                  </a:lnTo>
                  <a:lnTo>
                    <a:pt x="480" y="390"/>
                  </a:lnTo>
                  <a:lnTo>
                    <a:pt x="486" y="396"/>
                  </a:lnTo>
                  <a:lnTo>
                    <a:pt x="486" y="402"/>
                  </a:lnTo>
                  <a:lnTo>
                    <a:pt x="480" y="408"/>
                  </a:lnTo>
                  <a:lnTo>
                    <a:pt x="486" y="408"/>
                  </a:lnTo>
                  <a:lnTo>
                    <a:pt x="486" y="414"/>
                  </a:lnTo>
                  <a:lnTo>
                    <a:pt x="492" y="414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32"/>
                  </a:lnTo>
                  <a:lnTo>
                    <a:pt x="498" y="438"/>
                  </a:lnTo>
                  <a:lnTo>
                    <a:pt x="492" y="432"/>
                  </a:lnTo>
                  <a:lnTo>
                    <a:pt x="486" y="426"/>
                  </a:lnTo>
                  <a:lnTo>
                    <a:pt x="486" y="420"/>
                  </a:lnTo>
                  <a:lnTo>
                    <a:pt x="486" y="414"/>
                  </a:lnTo>
                  <a:lnTo>
                    <a:pt x="480" y="414"/>
                  </a:lnTo>
                  <a:lnTo>
                    <a:pt x="480" y="408"/>
                  </a:lnTo>
                  <a:lnTo>
                    <a:pt x="474" y="408"/>
                  </a:lnTo>
                  <a:lnTo>
                    <a:pt x="468" y="408"/>
                  </a:lnTo>
                  <a:lnTo>
                    <a:pt x="468" y="402"/>
                  </a:lnTo>
                  <a:lnTo>
                    <a:pt x="462" y="402"/>
                  </a:lnTo>
                  <a:lnTo>
                    <a:pt x="462" y="408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80" y="426"/>
                  </a:lnTo>
                  <a:lnTo>
                    <a:pt x="486" y="426"/>
                  </a:lnTo>
                  <a:lnTo>
                    <a:pt x="486" y="432"/>
                  </a:lnTo>
                  <a:lnTo>
                    <a:pt x="492" y="438"/>
                  </a:lnTo>
                  <a:lnTo>
                    <a:pt x="498" y="438"/>
                  </a:lnTo>
                  <a:lnTo>
                    <a:pt x="504" y="444"/>
                  </a:lnTo>
                  <a:lnTo>
                    <a:pt x="510" y="444"/>
                  </a:lnTo>
                  <a:lnTo>
                    <a:pt x="510" y="450"/>
                  </a:lnTo>
                  <a:lnTo>
                    <a:pt x="510" y="456"/>
                  </a:lnTo>
                  <a:lnTo>
                    <a:pt x="516" y="456"/>
                  </a:lnTo>
                  <a:lnTo>
                    <a:pt x="516" y="462"/>
                  </a:lnTo>
                  <a:lnTo>
                    <a:pt x="522" y="462"/>
                  </a:lnTo>
                  <a:lnTo>
                    <a:pt x="522" y="468"/>
                  </a:lnTo>
                  <a:lnTo>
                    <a:pt x="528" y="468"/>
                  </a:lnTo>
                  <a:lnTo>
                    <a:pt x="534" y="468"/>
                  </a:lnTo>
                  <a:lnTo>
                    <a:pt x="534" y="474"/>
                  </a:lnTo>
                  <a:lnTo>
                    <a:pt x="540" y="474"/>
                  </a:lnTo>
                  <a:lnTo>
                    <a:pt x="540" y="480"/>
                  </a:lnTo>
                  <a:lnTo>
                    <a:pt x="546" y="486"/>
                  </a:lnTo>
                  <a:lnTo>
                    <a:pt x="546" y="492"/>
                  </a:lnTo>
                  <a:lnTo>
                    <a:pt x="546" y="498"/>
                  </a:lnTo>
                  <a:lnTo>
                    <a:pt x="546" y="504"/>
                  </a:lnTo>
                  <a:lnTo>
                    <a:pt x="540" y="504"/>
                  </a:lnTo>
                  <a:lnTo>
                    <a:pt x="546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10"/>
                  </a:lnTo>
                  <a:lnTo>
                    <a:pt x="552" y="516"/>
                  </a:lnTo>
                  <a:lnTo>
                    <a:pt x="552" y="522"/>
                  </a:lnTo>
                  <a:lnTo>
                    <a:pt x="552" y="528"/>
                  </a:lnTo>
                  <a:lnTo>
                    <a:pt x="552" y="534"/>
                  </a:lnTo>
                  <a:lnTo>
                    <a:pt x="552" y="540"/>
                  </a:lnTo>
                  <a:lnTo>
                    <a:pt x="546" y="540"/>
                  </a:lnTo>
                  <a:lnTo>
                    <a:pt x="546" y="546"/>
                  </a:lnTo>
                  <a:lnTo>
                    <a:pt x="546" y="540"/>
                  </a:lnTo>
                  <a:lnTo>
                    <a:pt x="546" y="534"/>
                  </a:lnTo>
                  <a:lnTo>
                    <a:pt x="540" y="534"/>
                  </a:lnTo>
                  <a:lnTo>
                    <a:pt x="540" y="528"/>
                  </a:lnTo>
                  <a:lnTo>
                    <a:pt x="534" y="528"/>
                  </a:lnTo>
                  <a:lnTo>
                    <a:pt x="528" y="528"/>
                  </a:lnTo>
                  <a:lnTo>
                    <a:pt x="522" y="528"/>
                  </a:lnTo>
                  <a:lnTo>
                    <a:pt x="516" y="528"/>
                  </a:lnTo>
                  <a:lnTo>
                    <a:pt x="510" y="528"/>
                  </a:lnTo>
                  <a:lnTo>
                    <a:pt x="510" y="534"/>
                  </a:lnTo>
                  <a:lnTo>
                    <a:pt x="510" y="528"/>
                  </a:lnTo>
                  <a:lnTo>
                    <a:pt x="516" y="528"/>
                  </a:lnTo>
                  <a:lnTo>
                    <a:pt x="522" y="528"/>
                  </a:lnTo>
                  <a:lnTo>
                    <a:pt x="528" y="528"/>
                  </a:lnTo>
                  <a:lnTo>
                    <a:pt x="534" y="534"/>
                  </a:lnTo>
                  <a:lnTo>
                    <a:pt x="540" y="534"/>
                  </a:lnTo>
                  <a:lnTo>
                    <a:pt x="540" y="540"/>
                  </a:lnTo>
                  <a:lnTo>
                    <a:pt x="540" y="546"/>
                  </a:lnTo>
                  <a:lnTo>
                    <a:pt x="546" y="546"/>
                  </a:lnTo>
                  <a:lnTo>
                    <a:pt x="546" y="552"/>
                  </a:lnTo>
                  <a:lnTo>
                    <a:pt x="552" y="552"/>
                  </a:lnTo>
                  <a:lnTo>
                    <a:pt x="552" y="558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0" y="576"/>
                  </a:lnTo>
                  <a:lnTo>
                    <a:pt x="540" y="582"/>
                  </a:lnTo>
                  <a:lnTo>
                    <a:pt x="540" y="588"/>
                  </a:lnTo>
                  <a:lnTo>
                    <a:pt x="534" y="594"/>
                  </a:lnTo>
                  <a:lnTo>
                    <a:pt x="534" y="600"/>
                  </a:lnTo>
                  <a:lnTo>
                    <a:pt x="528" y="600"/>
                  </a:lnTo>
                  <a:lnTo>
                    <a:pt x="522" y="594"/>
                  </a:lnTo>
                  <a:lnTo>
                    <a:pt x="528" y="600"/>
                  </a:lnTo>
                  <a:lnTo>
                    <a:pt x="534" y="600"/>
                  </a:lnTo>
                  <a:lnTo>
                    <a:pt x="534" y="606"/>
                  </a:lnTo>
                  <a:lnTo>
                    <a:pt x="528" y="606"/>
                  </a:lnTo>
                  <a:lnTo>
                    <a:pt x="528" y="612"/>
                  </a:lnTo>
                  <a:lnTo>
                    <a:pt x="522" y="612"/>
                  </a:lnTo>
                  <a:lnTo>
                    <a:pt x="522" y="618"/>
                  </a:lnTo>
                  <a:lnTo>
                    <a:pt x="522" y="624"/>
                  </a:lnTo>
                  <a:lnTo>
                    <a:pt x="510" y="624"/>
                  </a:lnTo>
                  <a:lnTo>
                    <a:pt x="498" y="624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0" y="624"/>
                  </a:lnTo>
                  <a:lnTo>
                    <a:pt x="474" y="624"/>
                  </a:lnTo>
                  <a:lnTo>
                    <a:pt x="468" y="618"/>
                  </a:lnTo>
                  <a:lnTo>
                    <a:pt x="456" y="618"/>
                  </a:lnTo>
                  <a:lnTo>
                    <a:pt x="450" y="618"/>
                  </a:lnTo>
                  <a:lnTo>
                    <a:pt x="426" y="618"/>
                  </a:lnTo>
                  <a:lnTo>
                    <a:pt x="420" y="618"/>
                  </a:lnTo>
                  <a:lnTo>
                    <a:pt x="414" y="618"/>
                  </a:lnTo>
                  <a:lnTo>
                    <a:pt x="408" y="618"/>
                  </a:lnTo>
                  <a:lnTo>
                    <a:pt x="396" y="618"/>
                  </a:lnTo>
                  <a:lnTo>
                    <a:pt x="366" y="618"/>
                  </a:lnTo>
                  <a:lnTo>
                    <a:pt x="348" y="624"/>
                  </a:lnTo>
                  <a:lnTo>
                    <a:pt x="342" y="624"/>
                  </a:lnTo>
                  <a:lnTo>
                    <a:pt x="342" y="618"/>
                  </a:lnTo>
                  <a:lnTo>
                    <a:pt x="336" y="618"/>
                  </a:lnTo>
                  <a:lnTo>
                    <a:pt x="336" y="612"/>
                  </a:lnTo>
                  <a:lnTo>
                    <a:pt x="342" y="612"/>
                  </a:lnTo>
                  <a:lnTo>
                    <a:pt x="348" y="612"/>
                  </a:lnTo>
                  <a:lnTo>
                    <a:pt x="342" y="612"/>
                  </a:lnTo>
                  <a:lnTo>
                    <a:pt x="336" y="612"/>
                  </a:lnTo>
                  <a:lnTo>
                    <a:pt x="336" y="606"/>
                  </a:lnTo>
                  <a:lnTo>
                    <a:pt x="330" y="606"/>
                  </a:lnTo>
                  <a:lnTo>
                    <a:pt x="330" y="600"/>
                  </a:lnTo>
                  <a:lnTo>
                    <a:pt x="324" y="600"/>
                  </a:lnTo>
                  <a:lnTo>
                    <a:pt x="324" y="606"/>
                  </a:lnTo>
                  <a:lnTo>
                    <a:pt x="318" y="606"/>
                  </a:lnTo>
                  <a:lnTo>
                    <a:pt x="318" y="612"/>
                  </a:lnTo>
                  <a:lnTo>
                    <a:pt x="312" y="612"/>
                  </a:lnTo>
                  <a:lnTo>
                    <a:pt x="306" y="606"/>
                  </a:lnTo>
                  <a:lnTo>
                    <a:pt x="306" y="612"/>
                  </a:lnTo>
                  <a:lnTo>
                    <a:pt x="312" y="612"/>
                  </a:lnTo>
                  <a:lnTo>
                    <a:pt x="318" y="612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30" y="606"/>
                  </a:lnTo>
                  <a:lnTo>
                    <a:pt x="336" y="612"/>
                  </a:lnTo>
                  <a:lnTo>
                    <a:pt x="336" y="618"/>
                  </a:lnTo>
                  <a:lnTo>
                    <a:pt x="330" y="618"/>
                  </a:lnTo>
                  <a:lnTo>
                    <a:pt x="336" y="618"/>
                  </a:lnTo>
                  <a:lnTo>
                    <a:pt x="336" y="624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288" y="624"/>
                  </a:lnTo>
                  <a:lnTo>
                    <a:pt x="282" y="624"/>
                  </a:lnTo>
                  <a:lnTo>
                    <a:pt x="270" y="630"/>
                  </a:lnTo>
                  <a:lnTo>
                    <a:pt x="264" y="630"/>
                  </a:lnTo>
                  <a:lnTo>
                    <a:pt x="258" y="630"/>
                  </a:lnTo>
                  <a:lnTo>
                    <a:pt x="252" y="630"/>
                  </a:lnTo>
                  <a:lnTo>
                    <a:pt x="246" y="630"/>
                  </a:lnTo>
                  <a:lnTo>
                    <a:pt x="240" y="630"/>
                  </a:lnTo>
                  <a:lnTo>
                    <a:pt x="228" y="636"/>
                  </a:lnTo>
                  <a:lnTo>
                    <a:pt x="222" y="636"/>
                  </a:lnTo>
                  <a:lnTo>
                    <a:pt x="210" y="636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42"/>
                  </a:lnTo>
                  <a:lnTo>
                    <a:pt x="186" y="642"/>
                  </a:lnTo>
                  <a:lnTo>
                    <a:pt x="180" y="642"/>
                  </a:lnTo>
                  <a:lnTo>
                    <a:pt x="168" y="642"/>
                  </a:lnTo>
                  <a:lnTo>
                    <a:pt x="162" y="642"/>
                  </a:lnTo>
                  <a:lnTo>
                    <a:pt x="162" y="648"/>
                  </a:lnTo>
                  <a:lnTo>
                    <a:pt x="156" y="648"/>
                  </a:lnTo>
                  <a:lnTo>
                    <a:pt x="150" y="648"/>
                  </a:lnTo>
                  <a:lnTo>
                    <a:pt x="144" y="648"/>
                  </a:lnTo>
                  <a:lnTo>
                    <a:pt x="138" y="648"/>
                  </a:lnTo>
                  <a:lnTo>
                    <a:pt x="132" y="648"/>
                  </a:lnTo>
                  <a:lnTo>
                    <a:pt x="126" y="642"/>
                  </a:lnTo>
                  <a:lnTo>
                    <a:pt x="126" y="636"/>
                  </a:lnTo>
                  <a:lnTo>
                    <a:pt x="120" y="636"/>
                  </a:lnTo>
                  <a:lnTo>
                    <a:pt x="126" y="642"/>
                  </a:lnTo>
                  <a:lnTo>
                    <a:pt x="126" y="648"/>
                  </a:lnTo>
                  <a:lnTo>
                    <a:pt x="132" y="648"/>
                  </a:lnTo>
                  <a:lnTo>
                    <a:pt x="126" y="654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54"/>
                  </a:lnTo>
                  <a:lnTo>
                    <a:pt x="108" y="660"/>
                  </a:lnTo>
                  <a:lnTo>
                    <a:pt x="108" y="654"/>
                  </a:lnTo>
                  <a:lnTo>
                    <a:pt x="102" y="654"/>
                  </a:lnTo>
                  <a:lnTo>
                    <a:pt x="102" y="660"/>
                  </a:lnTo>
                  <a:lnTo>
                    <a:pt x="108" y="660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0" y="660"/>
                  </a:lnTo>
                  <a:lnTo>
                    <a:pt x="90" y="654"/>
                  </a:lnTo>
                  <a:lnTo>
                    <a:pt x="84" y="648"/>
                  </a:lnTo>
                  <a:lnTo>
                    <a:pt x="84" y="642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72" y="636"/>
                  </a:lnTo>
                  <a:lnTo>
                    <a:pt x="78" y="636"/>
                  </a:lnTo>
                  <a:lnTo>
                    <a:pt x="72" y="636"/>
                  </a:lnTo>
                  <a:lnTo>
                    <a:pt x="66" y="636"/>
                  </a:lnTo>
                  <a:lnTo>
                    <a:pt x="60" y="636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60" y="618"/>
                  </a:lnTo>
                  <a:lnTo>
                    <a:pt x="66" y="618"/>
                  </a:lnTo>
                  <a:lnTo>
                    <a:pt x="72" y="618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2" y="612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12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54" y="618"/>
                  </a:lnTo>
                  <a:lnTo>
                    <a:pt x="54" y="624"/>
                  </a:lnTo>
                  <a:lnTo>
                    <a:pt x="48" y="618"/>
                  </a:lnTo>
                  <a:lnTo>
                    <a:pt x="42" y="618"/>
                  </a:lnTo>
                  <a:lnTo>
                    <a:pt x="42" y="612"/>
                  </a:lnTo>
                  <a:lnTo>
                    <a:pt x="48" y="606"/>
                  </a:lnTo>
                  <a:lnTo>
                    <a:pt x="54" y="606"/>
                  </a:lnTo>
                  <a:lnTo>
                    <a:pt x="54" y="600"/>
                  </a:lnTo>
                  <a:lnTo>
                    <a:pt x="54" y="594"/>
                  </a:lnTo>
                  <a:lnTo>
                    <a:pt x="54" y="588"/>
                  </a:lnTo>
                  <a:lnTo>
                    <a:pt x="48" y="588"/>
                  </a:lnTo>
                  <a:lnTo>
                    <a:pt x="48" y="582"/>
                  </a:lnTo>
                  <a:lnTo>
                    <a:pt x="42" y="582"/>
                  </a:lnTo>
                  <a:lnTo>
                    <a:pt x="42" y="570"/>
                  </a:lnTo>
                  <a:lnTo>
                    <a:pt x="42" y="564"/>
                  </a:lnTo>
                  <a:lnTo>
                    <a:pt x="36" y="564"/>
                  </a:lnTo>
                  <a:close/>
                  <a:moveTo>
                    <a:pt x="498" y="420"/>
                  </a:moveTo>
                  <a:lnTo>
                    <a:pt x="504" y="426"/>
                  </a:lnTo>
                  <a:lnTo>
                    <a:pt x="510" y="432"/>
                  </a:lnTo>
                  <a:lnTo>
                    <a:pt x="516" y="432"/>
                  </a:lnTo>
                  <a:lnTo>
                    <a:pt x="516" y="438"/>
                  </a:lnTo>
                  <a:lnTo>
                    <a:pt x="510" y="438"/>
                  </a:lnTo>
                  <a:lnTo>
                    <a:pt x="504" y="438"/>
                  </a:lnTo>
                  <a:lnTo>
                    <a:pt x="504" y="432"/>
                  </a:lnTo>
                  <a:lnTo>
                    <a:pt x="498" y="432"/>
                  </a:lnTo>
                  <a:lnTo>
                    <a:pt x="498" y="426"/>
                  </a:lnTo>
                  <a:lnTo>
                    <a:pt x="498" y="4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4" name="Freeform 9">
              <a:extLst>
                <a:ext uri="{FF2B5EF4-FFF2-40B4-BE49-F238E27FC236}">
                  <a16:creationId xmlns:a16="http://schemas.microsoft.com/office/drawing/2014/main" id="{E0116D32-BD2E-45EA-B818-A3082585D5F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3055" y="2468650"/>
              <a:ext cx="800556" cy="1207710"/>
            </a:xfrm>
            <a:custGeom>
              <a:avLst/>
              <a:gdLst>
                <a:gd name="T0" fmla="*/ 24 w 1506"/>
                <a:gd name="T1" fmla="*/ 190 h 2274"/>
                <a:gd name="T2" fmla="*/ 25 w 1506"/>
                <a:gd name="T3" fmla="*/ 180 h 2274"/>
                <a:gd name="T4" fmla="*/ 21 w 1506"/>
                <a:gd name="T5" fmla="*/ 174 h 2274"/>
                <a:gd name="T6" fmla="*/ 17 w 1506"/>
                <a:gd name="T7" fmla="*/ 170 h 2274"/>
                <a:gd name="T8" fmla="*/ 12 w 1506"/>
                <a:gd name="T9" fmla="*/ 168 h 2274"/>
                <a:gd name="T10" fmla="*/ 10 w 1506"/>
                <a:gd name="T11" fmla="*/ 173 h 2274"/>
                <a:gd name="T12" fmla="*/ 7 w 1506"/>
                <a:gd name="T13" fmla="*/ 174 h 2274"/>
                <a:gd name="T14" fmla="*/ 0 w 1506"/>
                <a:gd name="T15" fmla="*/ 163 h 2274"/>
                <a:gd name="T16" fmla="*/ 16 w 1506"/>
                <a:gd name="T17" fmla="*/ 140 h 2274"/>
                <a:gd name="T18" fmla="*/ 19 w 1506"/>
                <a:gd name="T19" fmla="*/ 137 h 2274"/>
                <a:gd name="T20" fmla="*/ 24 w 1506"/>
                <a:gd name="T21" fmla="*/ 126 h 2274"/>
                <a:gd name="T22" fmla="*/ 23 w 1506"/>
                <a:gd name="T23" fmla="*/ 105 h 2274"/>
                <a:gd name="T24" fmla="*/ 14 w 1506"/>
                <a:gd name="T25" fmla="*/ 86 h 2274"/>
                <a:gd name="T26" fmla="*/ 8 w 1506"/>
                <a:gd name="T27" fmla="*/ 84 h 2274"/>
                <a:gd name="T28" fmla="*/ 5 w 1506"/>
                <a:gd name="T29" fmla="*/ 79 h 2274"/>
                <a:gd name="T30" fmla="*/ 16 w 1506"/>
                <a:gd name="T31" fmla="*/ 71 h 2274"/>
                <a:gd name="T32" fmla="*/ 28 w 1506"/>
                <a:gd name="T33" fmla="*/ 55 h 2274"/>
                <a:gd name="T34" fmla="*/ 29 w 1506"/>
                <a:gd name="T35" fmla="*/ 48 h 2274"/>
                <a:gd name="T36" fmla="*/ 35 w 1506"/>
                <a:gd name="T37" fmla="*/ 50 h 2274"/>
                <a:gd name="T38" fmla="*/ 42 w 1506"/>
                <a:gd name="T39" fmla="*/ 47 h 2274"/>
                <a:gd name="T40" fmla="*/ 63 w 1506"/>
                <a:gd name="T41" fmla="*/ 34 h 2274"/>
                <a:gd name="T42" fmla="*/ 74 w 1506"/>
                <a:gd name="T43" fmla="*/ 27 h 2274"/>
                <a:gd name="T44" fmla="*/ 81 w 1506"/>
                <a:gd name="T45" fmla="*/ 20 h 2274"/>
                <a:gd name="T46" fmla="*/ 89 w 1506"/>
                <a:gd name="T47" fmla="*/ 20 h 2274"/>
                <a:gd name="T48" fmla="*/ 98 w 1506"/>
                <a:gd name="T49" fmla="*/ 27 h 2274"/>
                <a:gd name="T50" fmla="*/ 106 w 1506"/>
                <a:gd name="T51" fmla="*/ 17 h 2274"/>
                <a:gd name="T52" fmla="*/ 111 w 1506"/>
                <a:gd name="T53" fmla="*/ 8 h 2274"/>
                <a:gd name="T54" fmla="*/ 121 w 1506"/>
                <a:gd name="T55" fmla="*/ 2 h 2274"/>
                <a:gd name="T56" fmla="*/ 129 w 1506"/>
                <a:gd name="T57" fmla="*/ 5 h 2274"/>
                <a:gd name="T58" fmla="*/ 125 w 1506"/>
                <a:gd name="T59" fmla="*/ 12 h 2274"/>
                <a:gd name="T60" fmla="*/ 122 w 1506"/>
                <a:gd name="T61" fmla="*/ 20 h 2274"/>
                <a:gd name="T62" fmla="*/ 122 w 1506"/>
                <a:gd name="T63" fmla="*/ 27 h 2274"/>
                <a:gd name="T64" fmla="*/ 120 w 1506"/>
                <a:gd name="T65" fmla="*/ 36 h 2274"/>
                <a:gd name="T66" fmla="*/ 116 w 1506"/>
                <a:gd name="T67" fmla="*/ 43 h 2274"/>
                <a:gd name="T68" fmla="*/ 109 w 1506"/>
                <a:gd name="T69" fmla="*/ 47 h 2274"/>
                <a:gd name="T70" fmla="*/ 108 w 1506"/>
                <a:gd name="T71" fmla="*/ 54 h 2274"/>
                <a:gd name="T72" fmla="*/ 106 w 1506"/>
                <a:gd name="T73" fmla="*/ 59 h 2274"/>
                <a:gd name="T74" fmla="*/ 109 w 1506"/>
                <a:gd name="T75" fmla="*/ 64 h 2274"/>
                <a:gd name="T76" fmla="*/ 106 w 1506"/>
                <a:gd name="T77" fmla="*/ 70 h 2274"/>
                <a:gd name="T78" fmla="*/ 105 w 1506"/>
                <a:gd name="T79" fmla="*/ 75 h 2274"/>
                <a:gd name="T80" fmla="*/ 101 w 1506"/>
                <a:gd name="T81" fmla="*/ 78 h 2274"/>
                <a:gd name="T82" fmla="*/ 92 w 1506"/>
                <a:gd name="T83" fmla="*/ 81 h 2274"/>
                <a:gd name="T84" fmla="*/ 85 w 1506"/>
                <a:gd name="T85" fmla="*/ 85 h 2274"/>
                <a:gd name="T86" fmla="*/ 87 w 1506"/>
                <a:gd name="T87" fmla="*/ 91 h 2274"/>
                <a:gd name="T88" fmla="*/ 86 w 1506"/>
                <a:gd name="T89" fmla="*/ 98 h 2274"/>
                <a:gd name="T90" fmla="*/ 86 w 1506"/>
                <a:gd name="T91" fmla="*/ 103 h 2274"/>
                <a:gd name="T92" fmla="*/ 82 w 1506"/>
                <a:gd name="T93" fmla="*/ 111 h 2274"/>
                <a:gd name="T94" fmla="*/ 81 w 1506"/>
                <a:gd name="T95" fmla="*/ 116 h 2274"/>
                <a:gd name="T96" fmla="*/ 78 w 1506"/>
                <a:gd name="T97" fmla="*/ 120 h 2274"/>
                <a:gd name="T98" fmla="*/ 76 w 1506"/>
                <a:gd name="T99" fmla="*/ 126 h 2274"/>
                <a:gd name="T100" fmla="*/ 68 w 1506"/>
                <a:gd name="T101" fmla="*/ 129 h 2274"/>
                <a:gd name="T102" fmla="*/ 62 w 1506"/>
                <a:gd name="T103" fmla="*/ 131 h 2274"/>
                <a:gd name="T104" fmla="*/ 58 w 1506"/>
                <a:gd name="T105" fmla="*/ 136 h 2274"/>
                <a:gd name="T106" fmla="*/ 51 w 1506"/>
                <a:gd name="T107" fmla="*/ 138 h 2274"/>
                <a:gd name="T108" fmla="*/ 51 w 1506"/>
                <a:gd name="T109" fmla="*/ 147 h 2274"/>
                <a:gd name="T110" fmla="*/ 49 w 1506"/>
                <a:gd name="T111" fmla="*/ 159 h 2274"/>
                <a:gd name="T112" fmla="*/ 48 w 1506"/>
                <a:gd name="T113" fmla="*/ 166 h 2274"/>
                <a:gd name="T114" fmla="*/ 41 w 1506"/>
                <a:gd name="T115" fmla="*/ 174 h 2274"/>
                <a:gd name="T116" fmla="*/ 39 w 1506"/>
                <a:gd name="T117" fmla="*/ 181 h 2274"/>
                <a:gd name="T118" fmla="*/ 37 w 1506"/>
                <a:gd name="T119" fmla="*/ 190 h 2274"/>
                <a:gd name="T120" fmla="*/ 29 w 1506"/>
                <a:gd name="T121" fmla="*/ 198 h 22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06"/>
                <a:gd name="T184" fmla="*/ 0 h 2274"/>
                <a:gd name="T185" fmla="*/ 1506 w 1506"/>
                <a:gd name="T186" fmla="*/ 2274 h 227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06" h="2274">
                  <a:moveTo>
                    <a:pt x="330" y="2274"/>
                  </a:moveTo>
                  <a:lnTo>
                    <a:pt x="318" y="2262"/>
                  </a:lnTo>
                  <a:lnTo>
                    <a:pt x="312" y="2238"/>
                  </a:lnTo>
                  <a:lnTo>
                    <a:pt x="312" y="2232"/>
                  </a:lnTo>
                  <a:lnTo>
                    <a:pt x="294" y="2214"/>
                  </a:lnTo>
                  <a:lnTo>
                    <a:pt x="288" y="2208"/>
                  </a:lnTo>
                  <a:lnTo>
                    <a:pt x="288" y="2202"/>
                  </a:lnTo>
                  <a:lnTo>
                    <a:pt x="276" y="2196"/>
                  </a:lnTo>
                  <a:lnTo>
                    <a:pt x="276" y="2190"/>
                  </a:lnTo>
                  <a:lnTo>
                    <a:pt x="282" y="2190"/>
                  </a:lnTo>
                  <a:lnTo>
                    <a:pt x="282" y="2184"/>
                  </a:lnTo>
                  <a:lnTo>
                    <a:pt x="276" y="2172"/>
                  </a:lnTo>
                  <a:lnTo>
                    <a:pt x="276" y="2166"/>
                  </a:lnTo>
                  <a:lnTo>
                    <a:pt x="282" y="2166"/>
                  </a:lnTo>
                  <a:lnTo>
                    <a:pt x="282" y="2154"/>
                  </a:lnTo>
                  <a:lnTo>
                    <a:pt x="276" y="2136"/>
                  </a:lnTo>
                  <a:lnTo>
                    <a:pt x="276" y="2112"/>
                  </a:lnTo>
                  <a:lnTo>
                    <a:pt x="282" y="2088"/>
                  </a:lnTo>
                  <a:lnTo>
                    <a:pt x="282" y="2082"/>
                  </a:lnTo>
                  <a:lnTo>
                    <a:pt x="282" y="2076"/>
                  </a:lnTo>
                  <a:lnTo>
                    <a:pt x="282" y="2070"/>
                  </a:lnTo>
                  <a:lnTo>
                    <a:pt x="288" y="2070"/>
                  </a:lnTo>
                  <a:lnTo>
                    <a:pt x="288" y="2064"/>
                  </a:lnTo>
                  <a:lnTo>
                    <a:pt x="282" y="2052"/>
                  </a:lnTo>
                  <a:lnTo>
                    <a:pt x="282" y="2046"/>
                  </a:lnTo>
                  <a:lnTo>
                    <a:pt x="276" y="2040"/>
                  </a:lnTo>
                  <a:lnTo>
                    <a:pt x="270" y="2034"/>
                  </a:lnTo>
                  <a:lnTo>
                    <a:pt x="264" y="2022"/>
                  </a:lnTo>
                  <a:lnTo>
                    <a:pt x="258" y="2022"/>
                  </a:lnTo>
                  <a:lnTo>
                    <a:pt x="258" y="2016"/>
                  </a:lnTo>
                  <a:lnTo>
                    <a:pt x="252" y="2016"/>
                  </a:lnTo>
                  <a:lnTo>
                    <a:pt x="246" y="2016"/>
                  </a:lnTo>
                  <a:lnTo>
                    <a:pt x="240" y="2010"/>
                  </a:lnTo>
                  <a:lnTo>
                    <a:pt x="234" y="2004"/>
                  </a:lnTo>
                  <a:lnTo>
                    <a:pt x="228" y="2004"/>
                  </a:lnTo>
                  <a:lnTo>
                    <a:pt x="228" y="1998"/>
                  </a:lnTo>
                  <a:lnTo>
                    <a:pt x="228" y="1992"/>
                  </a:lnTo>
                  <a:lnTo>
                    <a:pt x="222" y="1992"/>
                  </a:lnTo>
                  <a:lnTo>
                    <a:pt x="222" y="1986"/>
                  </a:lnTo>
                  <a:lnTo>
                    <a:pt x="216" y="1986"/>
                  </a:lnTo>
                  <a:lnTo>
                    <a:pt x="210" y="1980"/>
                  </a:lnTo>
                  <a:lnTo>
                    <a:pt x="216" y="1974"/>
                  </a:lnTo>
                  <a:lnTo>
                    <a:pt x="210" y="1968"/>
                  </a:lnTo>
                  <a:lnTo>
                    <a:pt x="198" y="1956"/>
                  </a:lnTo>
                  <a:lnTo>
                    <a:pt x="192" y="1956"/>
                  </a:lnTo>
                  <a:lnTo>
                    <a:pt x="186" y="1956"/>
                  </a:lnTo>
                  <a:lnTo>
                    <a:pt x="180" y="1944"/>
                  </a:lnTo>
                  <a:lnTo>
                    <a:pt x="180" y="1938"/>
                  </a:lnTo>
                  <a:lnTo>
                    <a:pt x="174" y="1932"/>
                  </a:lnTo>
                  <a:lnTo>
                    <a:pt x="168" y="1932"/>
                  </a:lnTo>
                  <a:lnTo>
                    <a:pt x="162" y="1932"/>
                  </a:lnTo>
                  <a:lnTo>
                    <a:pt x="150" y="1932"/>
                  </a:lnTo>
                  <a:lnTo>
                    <a:pt x="150" y="1926"/>
                  </a:lnTo>
                  <a:lnTo>
                    <a:pt x="150" y="1932"/>
                  </a:lnTo>
                  <a:lnTo>
                    <a:pt x="144" y="1932"/>
                  </a:lnTo>
                  <a:lnTo>
                    <a:pt x="138" y="1932"/>
                  </a:lnTo>
                  <a:lnTo>
                    <a:pt x="132" y="1932"/>
                  </a:lnTo>
                  <a:lnTo>
                    <a:pt x="132" y="1938"/>
                  </a:lnTo>
                  <a:lnTo>
                    <a:pt x="126" y="1944"/>
                  </a:lnTo>
                  <a:lnTo>
                    <a:pt x="126" y="1956"/>
                  </a:lnTo>
                  <a:lnTo>
                    <a:pt x="120" y="1968"/>
                  </a:lnTo>
                  <a:lnTo>
                    <a:pt x="120" y="1974"/>
                  </a:lnTo>
                  <a:lnTo>
                    <a:pt x="120" y="1980"/>
                  </a:lnTo>
                  <a:lnTo>
                    <a:pt x="126" y="1980"/>
                  </a:lnTo>
                  <a:lnTo>
                    <a:pt x="120" y="1986"/>
                  </a:lnTo>
                  <a:lnTo>
                    <a:pt x="120" y="1992"/>
                  </a:lnTo>
                  <a:lnTo>
                    <a:pt x="114" y="1992"/>
                  </a:lnTo>
                  <a:lnTo>
                    <a:pt x="114" y="1986"/>
                  </a:lnTo>
                  <a:lnTo>
                    <a:pt x="108" y="1992"/>
                  </a:lnTo>
                  <a:lnTo>
                    <a:pt x="108" y="1998"/>
                  </a:lnTo>
                  <a:lnTo>
                    <a:pt x="114" y="2004"/>
                  </a:lnTo>
                  <a:lnTo>
                    <a:pt x="108" y="2004"/>
                  </a:lnTo>
                  <a:lnTo>
                    <a:pt x="102" y="2010"/>
                  </a:lnTo>
                  <a:lnTo>
                    <a:pt x="102" y="2004"/>
                  </a:lnTo>
                  <a:lnTo>
                    <a:pt x="90" y="2004"/>
                  </a:lnTo>
                  <a:lnTo>
                    <a:pt x="84" y="2004"/>
                  </a:lnTo>
                  <a:lnTo>
                    <a:pt x="78" y="1998"/>
                  </a:lnTo>
                  <a:lnTo>
                    <a:pt x="78" y="1992"/>
                  </a:lnTo>
                  <a:lnTo>
                    <a:pt x="78" y="1986"/>
                  </a:lnTo>
                  <a:lnTo>
                    <a:pt x="72" y="1986"/>
                  </a:lnTo>
                  <a:lnTo>
                    <a:pt x="66" y="1980"/>
                  </a:lnTo>
                  <a:lnTo>
                    <a:pt x="66" y="1968"/>
                  </a:lnTo>
                  <a:lnTo>
                    <a:pt x="60" y="1956"/>
                  </a:lnTo>
                  <a:lnTo>
                    <a:pt x="60" y="1950"/>
                  </a:lnTo>
                  <a:lnTo>
                    <a:pt x="48" y="1944"/>
                  </a:lnTo>
                  <a:lnTo>
                    <a:pt x="30" y="1926"/>
                  </a:lnTo>
                  <a:lnTo>
                    <a:pt x="12" y="1890"/>
                  </a:lnTo>
                  <a:lnTo>
                    <a:pt x="6" y="1872"/>
                  </a:lnTo>
                  <a:lnTo>
                    <a:pt x="0" y="1854"/>
                  </a:lnTo>
                  <a:lnTo>
                    <a:pt x="6" y="1824"/>
                  </a:lnTo>
                  <a:lnTo>
                    <a:pt x="30" y="1794"/>
                  </a:lnTo>
                  <a:lnTo>
                    <a:pt x="66" y="1752"/>
                  </a:lnTo>
                  <a:lnTo>
                    <a:pt x="72" y="1752"/>
                  </a:lnTo>
                  <a:lnTo>
                    <a:pt x="78" y="1746"/>
                  </a:lnTo>
                  <a:lnTo>
                    <a:pt x="84" y="1746"/>
                  </a:lnTo>
                  <a:lnTo>
                    <a:pt x="90" y="1746"/>
                  </a:lnTo>
                  <a:lnTo>
                    <a:pt x="138" y="1674"/>
                  </a:lnTo>
                  <a:lnTo>
                    <a:pt x="186" y="1620"/>
                  </a:lnTo>
                  <a:lnTo>
                    <a:pt x="186" y="1614"/>
                  </a:lnTo>
                  <a:lnTo>
                    <a:pt x="186" y="1608"/>
                  </a:lnTo>
                  <a:lnTo>
                    <a:pt x="192" y="1608"/>
                  </a:lnTo>
                  <a:lnTo>
                    <a:pt x="192" y="1614"/>
                  </a:lnTo>
                  <a:lnTo>
                    <a:pt x="198" y="1614"/>
                  </a:lnTo>
                  <a:lnTo>
                    <a:pt x="198" y="1608"/>
                  </a:lnTo>
                  <a:lnTo>
                    <a:pt x="198" y="1602"/>
                  </a:lnTo>
                  <a:lnTo>
                    <a:pt x="204" y="1602"/>
                  </a:lnTo>
                  <a:lnTo>
                    <a:pt x="204" y="1596"/>
                  </a:lnTo>
                  <a:lnTo>
                    <a:pt x="210" y="1590"/>
                  </a:lnTo>
                  <a:lnTo>
                    <a:pt x="216" y="1590"/>
                  </a:lnTo>
                  <a:lnTo>
                    <a:pt x="216" y="1584"/>
                  </a:lnTo>
                  <a:lnTo>
                    <a:pt x="222" y="1584"/>
                  </a:lnTo>
                  <a:lnTo>
                    <a:pt x="228" y="1572"/>
                  </a:lnTo>
                  <a:lnTo>
                    <a:pt x="222" y="1572"/>
                  </a:lnTo>
                  <a:lnTo>
                    <a:pt x="228" y="1566"/>
                  </a:lnTo>
                  <a:lnTo>
                    <a:pt x="228" y="1560"/>
                  </a:lnTo>
                  <a:lnTo>
                    <a:pt x="252" y="1548"/>
                  </a:lnTo>
                  <a:lnTo>
                    <a:pt x="276" y="1530"/>
                  </a:lnTo>
                  <a:lnTo>
                    <a:pt x="282" y="1512"/>
                  </a:lnTo>
                  <a:lnTo>
                    <a:pt x="282" y="1506"/>
                  </a:lnTo>
                  <a:lnTo>
                    <a:pt x="282" y="1494"/>
                  </a:lnTo>
                  <a:lnTo>
                    <a:pt x="282" y="1452"/>
                  </a:lnTo>
                  <a:lnTo>
                    <a:pt x="288" y="1440"/>
                  </a:lnTo>
                  <a:lnTo>
                    <a:pt x="294" y="1440"/>
                  </a:lnTo>
                  <a:lnTo>
                    <a:pt x="294" y="1428"/>
                  </a:lnTo>
                  <a:lnTo>
                    <a:pt x="324" y="1368"/>
                  </a:lnTo>
                  <a:lnTo>
                    <a:pt x="330" y="1362"/>
                  </a:lnTo>
                  <a:lnTo>
                    <a:pt x="330" y="1356"/>
                  </a:lnTo>
                  <a:lnTo>
                    <a:pt x="360" y="1338"/>
                  </a:lnTo>
                  <a:lnTo>
                    <a:pt x="366" y="1296"/>
                  </a:lnTo>
                  <a:lnTo>
                    <a:pt x="354" y="1278"/>
                  </a:lnTo>
                  <a:lnTo>
                    <a:pt x="336" y="1230"/>
                  </a:lnTo>
                  <a:lnTo>
                    <a:pt x="270" y="1212"/>
                  </a:lnTo>
                  <a:lnTo>
                    <a:pt x="264" y="1212"/>
                  </a:lnTo>
                  <a:lnTo>
                    <a:pt x="252" y="1200"/>
                  </a:lnTo>
                  <a:lnTo>
                    <a:pt x="234" y="1188"/>
                  </a:lnTo>
                  <a:lnTo>
                    <a:pt x="222" y="1182"/>
                  </a:lnTo>
                  <a:lnTo>
                    <a:pt x="228" y="1104"/>
                  </a:lnTo>
                  <a:lnTo>
                    <a:pt x="228" y="1098"/>
                  </a:lnTo>
                  <a:lnTo>
                    <a:pt x="198" y="1038"/>
                  </a:lnTo>
                  <a:lnTo>
                    <a:pt x="192" y="1032"/>
                  </a:lnTo>
                  <a:lnTo>
                    <a:pt x="180" y="1020"/>
                  </a:lnTo>
                  <a:lnTo>
                    <a:pt x="168" y="996"/>
                  </a:lnTo>
                  <a:lnTo>
                    <a:pt x="162" y="990"/>
                  </a:lnTo>
                  <a:lnTo>
                    <a:pt x="156" y="990"/>
                  </a:lnTo>
                  <a:lnTo>
                    <a:pt x="150" y="990"/>
                  </a:lnTo>
                  <a:lnTo>
                    <a:pt x="132" y="990"/>
                  </a:lnTo>
                  <a:lnTo>
                    <a:pt x="120" y="984"/>
                  </a:lnTo>
                  <a:lnTo>
                    <a:pt x="120" y="990"/>
                  </a:lnTo>
                  <a:lnTo>
                    <a:pt x="114" y="990"/>
                  </a:lnTo>
                  <a:lnTo>
                    <a:pt x="102" y="984"/>
                  </a:lnTo>
                  <a:lnTo>
                    <a:pt x="96" y="984"/>
                  </a:lnTo>
                  <a:lnTo>
                    <a:pt x="96" y="978"/>
                  </a:lnTo>
                  <a:lnTo>
                    <a:pt x="90" y="978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84" y="960"/>
                  </a:lnTo>
                  <a:lnTo>
                    <a:pt x="84" y="954"/>
                  </a:lnTo>
                  <a:lnTo>
                    <a:pt x="78" y="948"/>
                  </a:lnTo>
                  <a:lnTo>
                    <a:pt x="72" y="948"/>
                  </a:lnTo>
                  <a:lnTo>
                    <a:pt x="72" y="942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06"/>
                  </a:lnTo>
                  <a:lnTo>
                    <a:pt x="60" y="888"/>
                  </a:lnTo>
                  <a:lnTo>
                    <a:pt x="54" y="882"/>
                  </a:lnTo>
                  <a:lnTo>
                    <a:pt x="60" y="882"/>
                  </a:lnTo>
                  <a:lnTo>
                    <a:pt x="72" y="876"/>
                  </a:lnTo>
                  <a:lnTo>
                    <a:pt x="78" y="876"/>
                  </a:lnTo>
                  <a:lnTo>
                    <a:pt x="90" y="870"/>
                  </a:lnTo>
                  <a:lnTo>
                    <a:pt x="90" y="864"/>
                  </a:lnTo>
                  <a:lnTo>
                    <a:pt x="96" y="840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80" y="822"/>
                  </a:lnTo>
                  <a:lnTo>
                    <a:pt x="204" y="798"/>
                  </a:lnTo>
                  <a:lnTo>
                    <a:pt x="222" y="786"/>
                  </a:lnTo>
                  <a:lnTo>
                    <a:pt x="252" y="780"/>
                  </a:lnTo>
                  <a:lnTo>
                    <a:pt x="264" y="762"/>
                  </a:lnTo>
                  <a:lnTo>
                    <a:pt x="276" y="762"/>
                  </a:lnTo>
                  <a:lnTo>
                    <a:pt x="288" y="744"/>
                  </a:lnTo>
                  <a:lnTo>
                    <a:pt x="306" y="738"/>
                  </a:lnTo>
                  <a:lnTo>
                    <a:pt x="318" y="732"/>
                  </a:lnTo>
                  <a:lnTo>
                    <a:pt x="324" y="648"/>
                  </a:lnTo>
                  <a:lnTo>
                    <a:pt x="324" y="636"/>
                  </a:lnTo>
                  <a:lnTo>
                    <a:pt x="324" y="630"/>
                  </a:lnTo>
                  <a:lnTo>
                    <a:pt x="330" y="624"/>
                  </a:lnTo>
                  <a:lnTo>
                    <a:pt x="324" y="618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24" y="588"/>
                  </a:lnTo>
                  <a:lnTo>
                    <a:pt x="318" y="576"/>
                  </a:lnTo>
                  <a:lnTo>
                    <a:pt x="318" y="570"/>
                  </a:lnTo>
                  <a:lnTo>
                    <a:pt x="324" y="570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30" y="558"/>
                  </a:lnTo>
                  <a:lnTo>
                    <a:pt x="336" y="558"/>
                  </a:lnTo>
                  <a:lnTo>
                    <a:pt x="342" y="558"/>
                  </a:lnTo>
                  <a:lnTo>
                    <a:pt x="348" y="558"/>
                  </a:lnTo>
                  <a:lnTo>
                    <a:pt x="354" y="564"/>
                  </a:lnTo>
                  <a:lnTo>
                    <a:pt x="360" y="564"/>
                  </a:lnTo>
                  <a:lnTo>
                    <a:pt x="366" y="570"/>
                  </a:lnTo>
                  <a:lnTo>
                    <a:pt x="366" y="576"/>
                  </a:lnTo>
                  <a:lnTo>
                    <a:pt x="372" y="570"/>
                  </a:lnTo>
                  <a:lnTo>
                    <a:pt x="378" y="570"/>
                  </a:lnTo>
                  <a:lnTo>
                    <a:pt x="390" y="570"/>
                  </a:lnTo>
                  <a:lnTo>
                    <a:pt x="402" y="570"/>
                  </a:lnTo>
                  <a:lnTo>
                    <a:pt x="408" y="570"/>
                  </a:lnTo>
                  <a:lnTo>
                    <a:pt x="414" y="564"/>
                  </a:lnTo>
                  <a:lnTo>
                    <a:pt x="420" y="564"/>
                  </a:lnTo>
                  <a:lnTo>
                    <a:pt x="420" y="570"/>
                  </a:lnTo>
                  <a:lnTo>
                    <a:pt x="426" y="570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44" y="570"/>
                  </a:lnTo>
                  <a:lnTo>
                    <a:pt x="450" y="564"/>
                  </a:lnTo>
                  <a:lnTo>
                    <a:pt x="474" y="558"/>
                  </a:lnTo>
                  <a:lnTo>
                    <a:pt x="486" y="54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40" y="474"/>
                  </a:lnTo>
                  <a:lnTo>
                    <a:pt x="558" y="456"/>
                  </a:lnTo>
                  <a:lnTo>
                    <a:pt x="582" y="450"/>
                  </a:lnTo>
                  <a:lnTo>
                    <a:pt x="594" y="414"/>
                  </a:lnTo>
                  <a:lnTo>
                    <a:pt x="612" y="390"/>
                  </a:lnTo>
                  <a:lnTo>
                    <a:pt x="636" y="390"/>
                  </a:lnTo>
                  <a:lnTo>
                    <a:pt x="666" y="390"/>
                  </a:lnTo>
                  <a:lnTo>
                    <a:pt x="696" y="390"/>
                  </a:lnTo>
                  <a:lnTo>
                    <a:pt x="726" y="390"/>
                  </a:lnTo>
                  <a:lnTo>
                    <a:pt x="762" y="378"/>
                  </a:lnTo>
                  <a:lnTo>
                    <a:pt x="780" y="366"/>
                  </a:lnTo>
                  <a:lnTo>
                    <a:pt x="780" y="342"/>
                  </a:lnTo>
                  <a:lnTo>
                    <a:pt x="786" y="342"/>
                  </a:lnTo>
                  <a:lnTo>
                    <a:pt x="786" y="336"/>
                  </a:lnTo>
                  <a:lnTo>
                    <a:pt x="786" y="330"/>
                  </a:lnTo>
                  <a:lnTo>
                    <a:pt x="786" y="324"/>
                  </a:lnTo>
                  <a:lnTo>
                    <a:pt x="816" y="318"/>
                  </a:lnTo>
                  <a:lnTo>
                    <a:pt x="834" y="312"/>
                  </a:lnTo>
                  <a:lnTo>
                    <a:pt x="840" y="318"/>
                  </a:lnTo>
                  <a:lnTo>
                    <a:pt x="852" y="318"/>
                  </a:lnTo>
                  <a:lnTo>
                    <a:pt x="858" y="306"/>
                  </a:lnTo>
                  <a:lnTo>
                    <a:pt x="864" y="288"/>
                  </a:lnTo>
                  <a:lnTo>
                    <a:pt x="870" y="282"/>
                  </a:lnTo>
                  <a:lnTo>
                    <a:pt x="876" y="276"/>
                  </a:lnTo>
                  <a:lnTo>
                    <a:pt x="882" y="264"/>
                  </a:lnTo>
                  <a:lnTo>
                    <a:pt x="882" y="258"/>
                  </a:lnTo>
                  <a:lnTo>
                    <a:pt x="888" y="252"/>
                  </a:lnTo>
                  <a:lnTo>
                    <a:pt x="894" y="240"/>
                  </a:lnTo>
                  <a:lnTo>
                    <a:pt x="906" y="228"/>
                  </a:lnTo>
                  <a:lnTo>
                    <a:pt x="912" y="228"/>
                  </a:lnTo>
                  <a:lnTo>
                    <a:pt x="936" y="228"/>
                  </a:lnTo>
                  <a:lnTo>
                    <a:pt x="942" y="222"/>
                  </a:lnTo>
                  <a:lnTo>
                    <a:pt x="948" y="216"/>
                  </a:lnTo>
                  <a:lnTo>
                    <a:pt x="954" y="216"/>
                  </a:lnTo>
                  <a:lnTo>
                    <a:pt x="960" y="216"/>
                  </a:lnTo>
                  <a:lnTo>
                    <a:pt x="966" y="216"/>
                  </a:lnTo>
                  <a:lnTo>
                    <a:pt x="978" y="216"/>
                  </a:lnTo>
                  <a:lnTo>
                    <a:pt x="990" y="222"/>
                  </a:lnTo>
                  <a:lnTo>
                    <a:pt x="996" y="222"/>
                  </a:lnTo>
                  <a:lnTo>
                    <a:pt x="1002" y="228"/>
                  </a:lnTo>
                  <a:lnTo>
                    <a:pt x="1014" y="234"/>
                  </a:lnTo>
                  <a:lnTo>
                    <a:pt x="1020" y="234"/>
                  </a:lnTo>
                  <a:lnTo>
                    <a:pt x="1032" y="240"/>
                  </a:lnTo>
                  <a:lnTo>
                    <a:pt x="1044" y="240"/>
                  </a:lnTo>
                  <a:lnTo>
                    <a:pt x="1050" y="240"/>
                  </a:lnTo>
                  <a:lnTo>
                    <a:pt x="1056" y="246"/>
                  </a:lnTo>
                  <a:lnTo>
                    <a:pt x="1068" y="264"/>
                  </a:lnTo>
                  <a:lnTo>
                    <a:pt x="1086" y="276"/>
                  </a:lnTo>
                  <a:lnTo>
                    <a:pt x="1092" y="276"/>
                  </a:lnTo>
                  <a:lnTo>
                    <a:pt x="1104" y="282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8" y="312"/>
                  </a:lnTo>
                  <a:lnTo>
                    <a:pt x="1152" y="324"/>
                  </a:lnTo>
                  <a:lnTo>
                    <a:pt x="1188" y="324"/>
                  </a:lnTo>
                  <a:lnTo>
                    <a:pt x="1206" y="318"/>
                  </a:lnTo>
                  <a:lnTo>
                    <a:pt x="1200" y="294"/>
                  </a:lnTo>
                  <a:lnTo>
                    <a:pt x="1206" y="252"/>
                  </a:lnTo>
                  <a:lnTo>
                    <a:pt x="1218" y="222"/>
                  </a:lnTo>
                  <a:lnTo>
                    <a:pt x="1212" y="222"/>
                  </a:lnTo>
                  <a:lnTo>
                    <a:pt x="1212" y="216"/>
                  </a:lnTo>
                  <a:lnTo>
                    <a:pt x="1218" y="204"/>
                  </a:lnTo>
                  <a:lnTo>
                    <a:pt x="1224" y="198"/>
                  </a:lnTo>
                  <a:lnTo>
                    <a:pt x="1224" y="192"/>
                  </a:lnTo>
                  <a:lnTo>
                    <a:pt x="1236" y="180"/>
                  </a:lnTo>
                  <a:lnTo>
                    <a:pt x="1254" y="156"/>
                  </a:lnTo>
                  <a:lnTo>
                    <a:pt x="1260" y="150"/>
                  </a:lnTo>
                  <a:lnTo>
                    <a:pt x="1260" y="144"/>
                  </a:lnTo>
                  <a:lnTo>
                    <a:pt x="1266" y="138"/>
                  </a:lnTo>
                  <a:lnTo>
                    <a:pt x="1272" y="138"/>
                  </a:lnTo>
                  <a:lnTo>
                    <a:pt x="1272" y="120"/>
                  </a:lnTo>
                  <a:lnTo>
                    <a:pt x="1278" y="114"/>
                  </a:lnTo>
                  <a:lnTo>
                    <a:pt x="1278" y="108"/>
                  </a:lnTo>
                  <a:lnTo>
                    <a:pt x="1278" y="102"/>
                  </a:lnTo>
                  <a:lnTo>
                    <a:pt x="1278" y="90"/>
                  </a:lnTo>
                  <a:lnTo>
                    <a:pt x="1278" y="84"/>
                  </a:lnTo>
                  <a:lnTo>
                    <a:pt x="1278" y="78"/>
                  </a:lnTo>
                  <a:lnTo>
                    <a:pt x="1278" y="72"/>
                  </a:lnTo>
                  <a:lnTo>
                    <a:pt x="1278" y="60"/>
                  </a:lnTo>
                  <a:lnTo>
                    <a:pt x="1284" y="48"/>
                  </a:lnTo>
                  <a:lnTo>
                    <a:pt x="1284" y="24"/>
                  </a:lnTo>
                  <a:lnTo>
                    <a:pt x="1284" y="18"/>
                  </a:lnTo>
                  <a:lnTo>
                    <a:pt x="1308" y="24"/>
                  </a:lnTo>
                  <a:lnTo>
                    <a:pt x="1332" y="30"/>
                  </a:lnTo>
                  <a:lnTo>
                    <a:pt x="1368" y="30"/>
                  </a:lnTo>
                  <a:lnTo>
                    <a:pt x="1392" y="24"/>
                  </a:lnTo>
                  <a:lnTo>
                    <a:pt x="1410" y="18"/>
                  </a:lnTo>
                  <a:lnTo>
                    <a:pt x="1416" y="6"/>
                  </a:lnTo>
                  <a:lnTo>
                    <a:pt x="1500" y="6"/>
                  </a:lnTo>
                  <a:lnTo>
                    <a:pt x="1506" y="0"/>
                  </a:lnTo>
                  <a:lnTo>
                    <a:pt x="1506" y="6"/>
                  </a:lnTo>
                  <a:lnTo>
                    <a:pt x="1506" y="18"/>
                  </a:lnTo>
                  <a:lnTo>
                    <a:pt x="1506" y="24"/>
                  </a:lnTo>
                  <a:lnTo>
                    <a:pt x="1500" y="30"/>
                  </a:lnTo>
                  <a:lnTo>
                    <a:pt x="1500" y="42"/>
                  </a:lnTo>
                  <a:lnTo>
                    <a:pt x="1494" y="54"/>
                  </a:lnTo>
                  <a:lnTo>
                    <a:pt x="1488" y="60"/>
                  </a:lnTo>
                  <a:lnTo>
                    <a:pt x="1482" y="60"/>
                  </a:lnTo>
                  <a:lnTo>
                    <a:pt x="1476" y="66"/>
                  </a:lnTo>
                  <a:lnTo>
                    <a:pt x="1476" y="72"/>
                  </a:lnTo>
                  <a:lnTo>
                    <a:pt x="1476" y="78"/>
                  </a:lnTo>
                  <a:lnTo>
                    <a:pt x="1470" y="78"/>
                  </a:lnTo>
                  <a:lnTo>
                    <a:pt x="1464" y="90"/>
                  </a:lnTo>
                  <a:lnTo>
                    <a:pt x="1458" y="96"/>
                  </a:lnTo>
                  <a:lnTo>
                    <a:pt x="1458" y="102"/>
                  </a:lnTo>
                  <a:lnTo>
                    <a:pt x="1452" y="120"/>
                  </a:lnTo>
                  <a:lnTo>
                    <a:pt x="1452" y="132"/>
                  </a:lnTo>
                  <a:lnTo>
                    <a:pt x="1446" y="144"/>
                  </a:lnTo>
                  <a:lnTo>
                    <a:pt x="1446" y="150"/>
                  </a:lnTo>
                  <a:lnTo>
                    <a:pt x="1440" y="150"/>
                  </a:lnTo>
                  <a:lnTo>
                    <a:pt x="1434" y="156"/>
                  </a:lnTo>
                  <a:lnTo>
                    <a:pt x="1428" y="168"/>
                  </a:lnTo>
                  <a:lnTo>
                    <a:pt x="1422" y="168"/>
                  </a:lnTo>
                  <a:lnTo>
                    <a:pt x="1416" y="174"/>
                  </a:lnTo>
                  <a:lnTo>
                    <a:pt x="1410" y="186"/>
                  </a:lnTo>
                  <a:lnTo>
                    <a:pt x="1410" y="204"/>
                  </a:lnTo>
                  <a:lnTo>
                    <a:pt x="1404" y="210"/>
                  </a:lnTo>
                  <a:lnTo>
                    <a:pt x="1404" y="216"/>
                  </a:lnTo>
                  <a:lnTo>
                    <a:pt x="1410" y="228"/>
                  </a:lnTo>
                  <a:lnTo>
                    <a:pt x="1410" y="234"/>
                  </a:lnTo>
                  <a:lnTo>
                    <a:pt x="1410" y="240"/>
                  </a:lnTo>
                  <a:lnTo>
                    <a:pt x="1416" y="252"/>
                  </a:lnTo>
                  <a:lnTo>
                    <a:pt x="1416" y="258"/>
                  </a:lnTo>
                  <a:lnTo>
                    <a:pt x="1422" y="264"/>
                  </a:lnTo>
                  <a:lnTo>
                    <a:pt x="1422" y="270"/>
                  </a:lnTo>
                  <a:lnTo>
                    <a:pt x="1422" y="282"/>
                  </a:lnTo>
                  <a:lnTo>
                    <a:pt x="1416" y="288"/>
                  </a:lnTo>
                  <a:lnTo>
                    <a:pt x="1410" y="294"/>
                  </a:lnTo>
                  <a:lnTo>
                    <a:pt x="1404" y="300"/>
                  </a:lnTo>
                  <a:lnTo>
                    <a:pt x="1404" y="306"/>
                  </a:lnTo>
                  <a:lnTo>
                    <a:pt x="1398" y="324"/>
                  </a:lnTo>
                  <a:lnTo>
                    <a:pt x="1404" y="330"/>
                  </a:lnTo>
                  <a:lnTo>
                    <a:pt x="1404" y="342"/>
                  </a:lnTo>
                  <a:lnTo>
                    <a:pt x="1392" y="354"/>
                  </a:lnTo>
                  <a:lnTo>
                    <a:pt x="1392" y="360"/>
                  </a:lnTo>
                  <a:lnTo>
                    <a:pt x="1392" y="372"/>
                  </a:lnTo>
                  <a:lnTo>
                    <a:pt x="1392" y="384"/>
                  </a:lnTo>
                  <a:lnTo>
                    <a:pt x="1392" y="396"/>
                  </a:lnTo>
                  <a:lnTo>
                    <a:pt x="1392" y="408"/>
                  </a:lnTo>
                  <a:lnTo>
                    <a:pt x="1386" y="414"/>
                  </a:lnTo>
                  <a:lnTo>
                    <a:pt x="1380" y="420"/>
                  </a:lnTo>
                  <a:lnTo>
                    <a:pt x="1380" y="426"/>
                  </a:lnTo>
                  <a:lnTo>
                    <a:pt x="1368" y="432"/>
                  </a:lnTo>
                  <a:lnTo>
                    <a:pt x="1362" y="444"/>
                  </a:lnTo>
                  <a:lnTo>
                    <a:pt x="1362" y="450"/>
                  </a:lnTo>
                  <a:lnTo>
                    <a:pt x="1362" y="462"/>
                  </a:lnTo>
                  <a:lnTo>
                    <a:pt x="1362" y="468"/>
                  </a:lnTo>
                  <a:lnTo>
                    <a:pt x="1362" y="474"/>
                  </a:lnTo>
                  <a:lnTo>
                    <a:pt x="1356" y="474"/>
                  </a:lnTo>
                  <a:lnTo>
                    <a:pt x="1350" y="480"/>
                  </a:lnTo>
                  <a:lnTo>
                    <a:pt x="1344" y="486"/>
                  </a:lnTo>
                  <a:lnTo>
                    <a:pt x="1338" y="498"/>
                  </a:lnTo>
                  <a:lnTo>
                    <a:pt x="1332" y="510"/>
                  </a:lnTo>
                  <a:lnTo>
                    <a:pt x="1320" y="510"/>
                  </a:lnTo>
                  <a:lnTo>
                    <a:pt x="1314" y="516"/>
                  </a:lnTo>
                  <a:lnTo>
                    <a:pt x="1302" y="522"/>
                  </a:lnTo>
                  <a:lnTo>
                    <a:pt x="1296" y="522"/>
                  </a:lnTo>
                  <a:lnTo>
                    <a:pt x="1284" y="516"/>
                  </a:lnTo>
                  <a:lnTo>
                    <a:pt x="1278" y="516"/>
                  </a:lnTo>
                  <a:lnTo>
                    <a:pt x="1272" y="522"/>
                  </a:lnTo>
                  <a:lnTo>
                    <a:pt x="1266" y="522"/>
                  </a:lnTo>
                  <a:lnTo>
                    <a:pt x="1266" y="528"/>
                  </a:lnTo>
                  <a:lnTo>
                    <a:pt x="1254" y="540"/>
                  </a:lnTo>
                  <a:lnTo>
                    <a:pt x="1248" y="546"/>
                  </a:lnTo>
                  <a:lnTo>
                    <a:pt x="1242" y="558"/>
                  </a:lnTo>
                  <a:lnTo>
                    <a:pt x="1230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30" y="594"/>
                  </a:lnTo>
                  <a:lnTo>
                    <a:pt x="1230" y="600"/>
                  </a:lnTo>
                  <a:lnTo>
                    <a:pt x="1236" y="606"/>
                  </a:lnTo>
                  <a:lnTo>
                    <a:pt x="1242" y="606"/>
                  </a:lnTo>
                  <a:lnTo>
                    <a:pt x="1242" y="612"/>
                  </a:lnTo>
                  <a:lnTo>
                    <a:pt x="1242" y="618"/>
                  </a:lnTo>
                  <a:lnTo>
                    <a:pt x="1242" y="624"/>
                  </a:lnTo>
                  <a:lnTo>
                    <a:pt x="1236" y="630"/>
                  </a:lnTo>
                  <a:lnTo>
                    <a:pt x="1230" y="642"/>
                  </a:lnTo>
                  <a:lnTo>
                    <a:pt x="1230" y="648"/>
                  </a:lnTo>
                  <a:lnTo>
                    <a:pt x="1218" y="654"/>
                  </a:lnTo>
                  <a:lnTo>
                    <a:pt x="1212" y="654"/>
                  </a:lnTo>
                  <a:lnTo>
                    <a:pt x="1212" y="660"/>
                  </a:lnTo>
                  <a:lnTo>
                    <a:pt x="1212" y="666"/>
                  </a:lnTo>
                  <a:lnTo>
                    <a:pt x="1212" y="672"/>
                  </a:lnTo>
                  <a:lnTo>
                    <a:pt x="1212" y="678"/>
                  </a:lnTo>
                  <a:lnTo>
                    <a:pt x="1218" y="684"/>
                  </a:lnTo>
                  <a:lnTo>
                    <a:pt x="1218" y="690"/>
                  </a:lnTo>
                  <a:lnTo>
                    <a:pt x="1224" y="696"/>
                  </a:lnTo>
                  <a:lnTo>
                    <a:pt x="1230" y="702"/>
                  </a:lnTo>
                  <a:lnTo>
                    <a:pt x="1236" y="696"/>
                  </a:lnTo>
                  <a:lnTo>
                    <a:pt x="1242" y="702"/>
                  </a:lnTo>
                  <a:lnTo>
                    <a:pt x="1248" y="708"/>
                  </a:lnTo>
                  <a:lnTo>
                    <a:pt x="1254" y="714"/>
                  </a:lnTo>
                  <a:lnTo>
                    <a:pt x="1254" y="720"/>
                  </a:lnTo>
                  <a:lnTo>
                    <a:pt x="1260" y="720"/>
                  </a:lnTo>
                  <a:lnTo>
                    <a:pt x="1254" y="732"/>
                  </a:lnTo>
                  <a:lnTo>
                    <a:pt x="1248" y="738"/>
                  </a:lnTo>
                  <a:lnTo>
                    <a:pt x="1242" y="744"/>
                  </a:lnTo>
                  <a:lnTo>
                    <a:pt x="1236" y="750"/>
                  </a:lnTo>
                  <a:lnTo>
                    <a:pt x="1236" y="756"/>
                  </a:lnTo>
                  <a:lnTo>
                    <a:pt x="1236" y="762"/>
                  </a:lnTo>
                  <a:lnTo>
                    <a:pt x="1236" y="768"/>
                  </a:lnTo>
                  <a:lnTo>
                    <a:pt x="1236" y="780"/>
                  </a:lnTo>
                  <a:lnTo>
                    <a:pt x="1230" y="780"/>
                  </a:lnTo>
                  <a:lnTo>
                    <a:pt x="1230" y="786"/>
                  </a:lnTo>
                  <a:lnTo>
                    <a:pt x="1230" y="792"/>
                  </a:lnTo>
                  <a:lnTo>
                    <a:pt x="1230" y="804"/>
                  </a:lnTo>
                  <a:lnTo>
                    <a:pt x="1224" y="810"/>
                  </a:lnTo>
                  <a:lnTo>
                    <a:pt x="1218" y="816"/>
                  </a:lnTo>
                  <a:lnTo>
                    <a:pt x="1224" y="822"/>
                  </a:lnTo>
                  <a:lnTo>
                    <a:pt x="1224" y="828"/>
                  </a:lnTo>
                  <a:lnTo>
                    <a:pt x="1218" y="834"/>
                  </a:lnTo>
                  <a:lnTo>
                    <a:pt x="1224" y="834"/>
                  </a:lnTo>
                  <a:lnTo>
                    <a:pt x="1224" y="840"/>
                  </a:lnTo>
                  <a:lnTo>
                    <a:pt x="1224" y="846"/>
                  </a:lnTo>
                  <a:lnTo>
                    <a:pt x="1224" y="852"/>
                  </a:lnTo>
                  <a:lnTo>
                    <a:pt x="1218" y="858"/>
                  </a:lnTo>
                  <a:lnTo>
                    <a:pt x="1218" y="870"/>
                  </a:lnTo>
                  <a:lnTo>
                    <a:pt x="1212" y="870"/>
                  </a:lnTo>
                  <a:lnTo>
                    <a:pt x="1212" y="876"/>
                  </a:lnTo>
                  <a:lnTo>
                    <a:pt x="1206" y="888"/>
                  </a:lnTo>
                  <a:lnTo>
                    <a:pt x="1200" y="882"/>
                  </a:lnTo>
                  <a:lnTo>
                    <a:pt x="1194" y="888"/>
                  </a:lnTo>
                  <a:lnTo>
                    <a:pt x="1188" y="894"/>
                  </a:lnTo>
                  <a:lnTo>
                    <a:pt x="1182" y="894"/>
                  </a:lnTo>
                  <a:lnTo>
                    <a:pt x="1182" y="900"/>
                  </a:lnTo>
                  <a:lnTo>
                    <a:pt x="1176" y="900"/>
                  </a:lnTo>
                  <a:lnTo>
                    <a:pt x="1170" y="894"/>
                  </a:lnTo>
                  <a:lnTo>
                    <a:pt x="1164" y="900"/>
                  </a:lnTo>
                  <a:lnTo>
                    <a:pt x="1158" y="900"/>
                  </a:lnTo>
                  <a:lnTo>
                    <a:pt x="1152" y="900"/>
                  </a:lnTo>
                  <a:lnTo>
                    <a:pt x="1140" y="900"/>
                  </a:lnTo>
                  <a:lnTo>
                    <a:pt x="1134" y="900"/>
                  </a:lnTo>
                  <a:lnTo>
                    <a:pt x="1128" y="906"/>
                  </a:lnTo>
                  <a:lnTo>
                    <a:pt x="1110" y="906"/>
                  </a:lnTo>
                  <a:lnTo>
                    <a:pt x="1104" y="906"/>
                  </a:lnTo>
                  <a:lnTo>
                    <a:pt x="1098" y="906"/>
                  </a:lnTo>
                  <a:lnTo>
                    <a:pt x="1092" y="912"/>
                  </a:lnTo>
                  <a:lnTo>
                    <a:pt x="1080" y="918"/>
                  </a:lnTo>
                  <a:lnTo>
                    <a:pt x="1068" y="930"/>
                  </a:lnTo>
                  <a:lnTo>
                    <a:pt x="1062" y="930"/>
                  </a:lnTo>
                  <a:lnTo>
                    <a:pt x="1056" y="930"/>
                  </a:lnTo>
                  <a:lnTo>
                    <a:pt x="1050" y="930"/>
                  </a:lnTo>
                  <a:lnTo>
                    <a:pt x="1050" y="936"/>
                  </a:lnTo>
                  <a:lnTo>
                    <a:pt x="1038" y="942"/>
                  </a:lnTo>
                  <a:lnTo>
                    <a:pt x="1032" y="948"/>
                  </a:lnTo>
                  <a:lnTo>
                    <a:pt x="1026" y="954"/>
                  </a:lnTo>
                  <a:lnTo>
                    <a:pt x="1020" y="960"/>
                  </a:lnTo>
                  <a:lnTo>
                    <a:pt x="1014" y="966"/>
                  </a:lnTo>
                  <a:lnTo>
                    <a:pt x="1002" y="966"/>
                  </a:lnTo>
                  <a:lnTo>
                    <a:pt x="990" y="978"/>
                  </a:lnTo>
                  <a:lnTo>
                    <a:pt x="984" y="978"/>
                  </a:lnTo>
                  <a:lnTo>
                    <a:pt x="978" y="984"/>
                  </a:lnTo>
                  <a:lnTo>
                    <a:pt x="972" y="984"/>
                  </a:lnTo>
                  <a:lnTo>
                    <a:pt x="978" y="990"/>
                  </a:lnTo>
                  <a:lnTo>
                    <a:pt x="972" y="996"/>
                  </a:lnTo>
                  <a:lnTo>
                    <a:pt x="978" y="1002"/>
                  </a:lnTo>
                  <a:lnTo>
                    <a:pt x="1002" y="1002"/>
                  </a:lnTo>
                  <a:lnTo>
                    <a:pt x="1002" y="1008"/>
                  </a:lnTo>
                  <a:lnTo>
                    <a:pt x="1008" y="1020"/>
                  </a:lnTo>
                  <a:lnTo>
                    <a:pt x="1002" y="1026"/>
                  </a:lnTo>
                  <a:lnTo>
                    <a:pt x="1002" y="1032"/>
                  </a:lnTo>
                  <a:lnTo>
                    <a:pt x="1002" y="1050"/>
                  </a:lnTo>
                  <a:lnTo>
                    <a:pt x="1002" y="1056"/>
                  </a:lnTo>
                  <a:lnTo>
                    <a:pt x="1008" y="1062"/>
                  </a:lnTo>
                  <a:lnTo>
                    <a:pt x="1008" y="1074"/>
                  </a:lnTo>
                  <a:lnTo>
                    <a:pt x="1008" y="1086"/>
                  </a:lnTo>
                  <a:lnTo>
                    <a:pt x="996" y="1092"/>
                  </a:lnTo>
                  <a:lnTo>
                    <a:pt x="996" y="1098"/>
                  </a:lnTo>
                  <a:lnTo>
                    <a:pt x="996" y="1104"/>
                  </a:lnTo>
                  <a:lnTo>
                    <a:pt x="990" y="1110"/>
                  </a:lnTo>
                  <a:lnTo>
                    <a:pt x="990" y="1116"/>
                  </a:lnTo>
                  <a:lnTo>
                    <a:pt x="996" y="1122"/>
                  </a:lnTo>
                  <a:lnTo>
                    <a:pt x="990" y="1128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96" y="1140"/>
                  </a:lnTo>
                  <a:lnTo>
                    <a:pt x="996" y="1146"/>
                  </a:lnTo>
                  <a:lnTo>
                    <a:pt x="996" y="1152"/>
                  </a:lnTo>
                  <a:lnTo>
                    <a:pt x="996" y="1158"/>
                  </a:lnTo>
                  <a:lnTo>
                    <a:pt x="996" y="1164"/>
                  </a:lnTo>
                  <a:lnTo>
                    <a:pt x="996" y="1170"/>
                  </a:lnTo>
                  <a:lnTo>
                    <a:pt x="996" y="1176"/>
                  </a:lnTo>
                  <a:lnTo>
                    <a:pt x="990" y="1182"/>
                  </a:lnTo>
                  <a:lnTo>
                    <a:pt x="990" y="1188"/>
                  </a:lnTo>
                  <a:lnTo>
                    <a:pt x="984" y="1200"/>
                  </a:lnTo>
                  <a:lnTo>
                    <a:pt x="990" y="1206"/>
                  </a:lnTo>
                  <a:lnTo>
                    <a:pt x="990" y="1212"/>
                  </a:lnTo>
                  <a:lnTo>
                    <a:pt x="990" y="1218"/>
                  </a:lnTo>
                  <a:lnTo>
                    <a:pt x="978" y="1230"/>
                  </a:lnTo>
                  <a:lnTo>
                    <a:pt x="972" y="1236"/>
                  </a:lnTo>
                  <a:lnTo>
                    <a:pt x="972" y="1242"/>
                  </a:lnTo>
                  <a:lnTo>
                    <a:pt x="966" y="1248"/>
                  </a:lnTo>
                  <a:lnTo>
                    <a:pt x="960" y="1260"/>
                  </a:lnTo>
                  <a:lnTo>
                    <a:pt x="954" y="1266"/>
                  </a:lnTo>
                  <a:lnTo>
                    <a:pt x="942" y="1278"/>
                  </a:lnTo>
                  <a:lnTo>
                    <a:pt x="936" y="1278"/>
                  </a:lnTo>
                  <a:lnTo>
                    <a:pt x="936" y="1284"/>
                  </a:lnTo>
                  <a:lnTo>
                    <a:pt x="936" y="1296"/>
                  </a:lnTo>
                  <a:lnTo>
                    <a:pt x="936" y="1302"/>
                  </a:lnTo>
                  <a:lnTo>
                    <a:pt x="942" y="1302"/>
                  </a:lnTo>
                  <a:lnTo>
                    <a:pt x="942" y="1308"/>
                  </a:lnTo>
                  <a:lnTo>
                    <a:pt x="936" y="1314"/>
                  </a:lnTo>
                  <a:lnTo>
                    <a:pt x="930" y="1320"/>
                  </a:lnTo>
                  <a:lnTo>
                    <a:pt x="930" y="1326"/>
                  </a:lnTo>
                  <a:lnTo>
                    <a:pt x="930" y="1332"/>
                  </a:lnTo>
                  <a:lnTo>
                    <a:pt x="936" y="1338"/>
                  </a:lnTo>
                  <a:lnTo>
                    <a:pt x="936" y="1344"/>
                  </a:lnTo>
                  <a:lnTo>
                    <a:pt x="942" y="1356"/>
                  </a:lnTo>
                  <a:lnTo>
                    <a:pt x="948" y="1368"/>
                  </a:lnTo>
                  <a:lnTo>
                    <a:pt x="942" y="1380"/>
                  </a:lnTo>
                  <a:lnTo>
                    <a:pt x="936" y="1386"/>
                  </a:lnTo>
                  <a:lnTo>
                    <a:pt x="930" y="1392"/>
                  </a:lnTo>
                  <a:lnTo>
                    <a:pt x="924" y="1392"/>
                  </a:lnTo>
                  <a:lnTo>
                    <a:pt x="918" y="1386"/>
                  </a:lnTo>
                  <a:lnTo>
                    <a:pt x="912" y="1386"/>
                  </a:lnTo>
                  <a:lnTo>
                    <a:pt x="906" y="1386"/>
                  </a:lnTo>
                  <a:lnTo>
                    <a:pt x="900" y="1386"/>
                  </a:lnTo>
                  <a:lnTo>
                    <a:pt x="900" y="1392"/>
                  </a:lnTo>
                  <a:lnTo>
                    <a:pt x="894" y="1392"/>
                  </a:lnTo>
                  <a:lnTo>
                    <a:pt x="888" y="1392"/>
                  </a:lnTo>
                  <a:lnTo>
                    <a:pt x="888" y="1398"/>
                  </a:lnTo>
                  <a:lnTo>
                    <a:pt x="882" y="1404"/>
                  </a:lnTo>
                  <a:lnTo>
                    <a:pt x="882" y="1416"/>
                  </a:lnTo>
                  <a:lnTo>
                    <a:pt x="882" y="1428"/>
                  </a:lnTo>
                  <a:lnTo>
                    <a:pt x="882" y="1434"/>
                  </a:lnTo>
                  <a:lnTo>
                    <a:pt x="870" y="1440"/>
                  </a:lnTo>
                  <a:lnTo>
                    <a:pt x="864" y="1452"/>
                  </a:lnTo>
                  <a:lnTo>
                    <a:pt x="870" y="1452"/>
                  </a:lnTo>
                  <a:lnTo>
                    <a:pt x="864" y="1458"/>
                  </a:lnTo>
                  <a:lnTo>
                    <a:pt x="858" y="1464"/>
                  </a:lnTo>
                  <a:lnTo>
                    <a:pt x="852" y="1464"/>
                  </a:lnTo>
                  <a:lnTo>
                    <a:pt x="846" y="1458"/>
                  </a:lnTo>
                  <a:lnTo>
                    <a:pt x="840" y="1458"/>
                  </a:lnTo>
                  <a:lnTo>
                    <a:pt x="828" y="1470"/>
                  </a:lnTo>
                  <a:lnTo>
                    <a:pt x="810" y="1482"/>
                  </a:lnTo>
                  <a:lnTo>
                    <a:pt x="804" y="1488"/>
                  </a:lnTo>
                  <a:lnTo>
                    <a:pt x="798" y="1488"/>
                  </a:lnTo>
                  <a:lnTo>
                    <a:pt x="792" y="1488"/>
                  </a:lnTo>
                  <a:lnTo>
                    <a:pt x="786" y="1488"/>
                  </a:lnTo>
                  <a:lnTo>
                    <a:pt x="768" y="1482"/>
                  </a:lnTo>
                  <a:lnTo>
                    <a:pt x="762" y="1476"/>
                  </a:lnTo>
                  <a:lnTo>
                    <a:pt x="744" y="1476"/>
                  </a:lnTo>
                  <a:lnTo>
                    <a:pt x="738" y="1476"/>
                  </a:lnTo>
                  <a:lnTo>
                    <a:pt x="732" y="1476"/>
                  </a:lnTo>
                  <a:lnTo>
                    <a:pt x="726" y="1482"/>
                  </a:lnTo>
                  <a:lnTo>
                    <a:pt x="726" y="1488"/>
                  </a:lnTo>
                  <a:lnTo>
                    <a:pt x="726" y="1494"/>
                  </a:lnTo>
                  <a:lnTo>
                    <a:pt x="726" y="1500"/>
                  </a:lnTo>
                  <a:lnTo>
                    <a:pt x="720" y="1500"/>
                  </a:lnTo>
                  <a:lnTo>
                    <a:pt x="720" y="1506"/>
                  </a:lnTo>
                  <a:lnTo>
                    <a:pt x="714" y="1512"/>
                  </a:lnTo>
                  <a:lnTo>
                    <a:pt x="714" y="1518"/>
                  </a:lnTo>
                  <a:lnTo>
                    <a:pt x="708" y="1518"/>
                  </a:lnTo>
                  <a:lnTo>
                    <a:pt x="708" y="1530"/>
                  </a:lnTo>
                  <a:lnTo>
                    <a:pt x="708" y="1536"/>
                  </a:lnTo>
                  <a:lnTo>
                    <a:pt x="708" y="1542"/>
                  </a:lnTo>
                  <a:lnTo>
                    <a:pt x="696" y="1554"/>
                  </a:lnTo>
                  <a:lnTo>
                    <a:pt x="690" y="1560"/>
                  </a:lnTo>
                  <a:lnTo>
                    <a:pt x="684" y="1566"/>
                  </a:lnTo>
                  <a:lnTo>
                    <a:pt x="672" y="1566"/>
                  </a:lnTo>
                  <a:lnTo>
                    <a:pt x="666" y="1566"/>
                  </a:lnTo>
                  <a:lnTo>
                    <a:pt x="660" y="1566"/>
                  </a:lnTo>
                  <a:lnTo>
                    <a:pt x="654" y="1572"/>
                  </a:lnTo>
                  <a:lnTo>
                    <a:pt x="654" y="1578"/>
                  </a:lnTo>
                  <a:lnTo>
                    <a:pt x="642" y="1578"/>
                  </a:lnTo>
                  <a:lnTo>
                    <a:pt x="630" y="1572"/>
                  </a:lnTo>
                  <a:lnTo>
                    <a:pt x="624" y="1572"/>
                  </a:lnTo>
                  <a:lnTo>
                    <a:pt x="618" y="1578"/>
                  </a:lnTo>
                  <a:lnTo>
                    <a:pt x="612" y="1584"/>
                  </a:lnTo>
                  <a:lnTo>
                    <a:pt x="606" y="1584"/>
                  </a:lnTo>
                  <a:lnTo>
                    <a:pt x="600" y="1590"/>
                  </a:lnTo>
                  <a:lnTo>
                    <a:pt x="594" y="1590"/>
                  </a:lnTo>
                  <a:lnTo>
                    <a:pt x="588" y="1590"/>
                  </a:lnTo>
                  <a:lnTo>
                    <a:pt x="582" y="1590"/>
                  </a:lnTo>
                  <a:lnTo>
                    <a:pt x="582" y="1596"/>
                  </a:lnTo>
                  <a:lnTo>
                    <a:pt x="576" y="1614"/>
                  </a:lnTo>
                  <a:lnTo>
                    <a:pt x="570" y="1632"/>
                  </a:lnTo>
                  <a:lnTo>
                    <a:pt x="570" y="1638"/>
                  </a:lnTo>
                  <a:lnTo>
                    <a:pt x="576" y="1644"/>
                  </a:lnTo>
                  <a:lnTo>
                    <a:pt x="576" y="1650"/>
                  </a:lnTo>
                  <a:lnTo>
                    <a:pt x="582" y="1662"/>
                  </a:lnTo>
                  <a:lnTo>
                    <a:pt x="582" y="1668"/>
                  </a:lnTo>
                  <a:lnTo>
                    <a:pt x="588" y="1692"/>
                  </a:lnTo>
                  <a:lnTo>
                    <a:pt x="594" y="1728"/>
                  </a:lnTo>
                  <a:lnTo>
                    <a:pt x="594" y="1752"/>
                  </a:lnTo>
                  <a:lnTo>
                    <a:pt x="594" y="1764"/>
                  </a:lnTo>
                  <a:lnTo>
                    <a:pt x="582" y="1770"/>
                  </a:lnTo>
                  <a:lnTo>
                    <a:pt x="582" y="1782"/>
                  </a:lnTo>
                  <a:lnTo>
                    <a:pt x="576" y="1788"/>
                  </a:lnTo>
                  <a:lnTo>
                    <a:pt x="570" y="1794"/>
                  </a:lnTo>
                  <a:lnTo>
                    <a:pt x="564" y="1806"/>
                  </a:lnTo>
                  <a:lnTo>
                    <a:pt x="564" y="1812"/>
                  </a:lnTo>
                  <a:lnTo>
                    <a:pt x="558" y="1812"/>
                  </a:lnTo>
                  <a:lnTo>
                    <a:pt x="564" y="1824"/>
                  </a:lnTo>
                  <a:lnTo>
                    <a:pt x="564" y="1830"/>
                  </a:lnTo>
                  <a:lnTo>
                    <a:pt x="564" y="1842"/>
                  </a:lnTo>
                  <a:lnTo>
                    <a:pt x="564" y="1848"/>
                  </a:lnTo>
                  <a:lnTo>
                    <a:pt x="564" y="1854"/>
                  </a:lnTo>
                  <a:lnTo>
                    <a:pt x="570" y="1860"/>
                  </a:lnTo>
                  <a:lnTo>
                    <a:pt x="570" y="1866"/>
                  </a:lnTo>
                  <a:lnTo>
                    <a:pt x="570" y="1872"/>
                  </a:lnTo>
                  <a:lnTo>
                    <a:pt x="570" y="1878"/>
                  </a:lnTo>
                  <a:lnTo>
                    <a:pt x="564" y="1890"/>
                  </a:lnTo>
                  <a:lnTo>
                    <a:pt x="558" y="1896"/>
                  </a:lnTo>
                  <a:lnTo>
                    <a:pt x="552" y="1908"/>
                  </a:lnTo>
                  <a:lnTo>
                    <a:pt x="546" y="1914"/>
                  </a:lnTo>
                  <a:lnTo>
                    <a:pt x="540" y="1920"/>
                  </a:lnTo>
                  <a:lnTo>
                    <a:pt x="534" y="1932"/>
                  </a:lnTo>
                  <a:lnTo>
                    <a:pt x="528" y="1944"/>
                  </a:lnTo>
                  <a:lnTo>
                    <a:pt x="516" y="1950"/>
                  </a:lnTo>
                  <a:lnTo>
                    <a:pt x="510" y="1956"/>
                  </a:lnTo>
                  <a:lnTo>
                    <a:pt x="498" y="1962"/>
                  </a:lnTo>
                  <a:lnTo>
                    <a:pt x="492" y="1974"/>
                  </a:lnTo>
                  <a:lnTo>
                    <a:pt x="486" y="1980"/>
                  </a:lnTo>
                  <a:lnTo>
                    <a:pt x="480" y="1998"/>
                  </a:lnTo>
                  <a:lnTo>
                    <a:pt x="474" y="2004"/>
                  </a:lnTo>
                  <a:lnTo>
                    <a:pt x="474" y="2010"/>
                  </a:lnTo>
                  <a:lnTo>
                    <a:pt x="474" y="2016"/>
                  </a:lnTo>
                  <a:lnTo>
                    <a:pt x="468" y="2016"/>
                  </a:lnTo>
                  <a:lnTo>
                    <a:pt x="468" y="2028"/>
                  </a:lnTo>
                  <a:lnTo>
                    <a:pt x="462" y="2034"/>
                  </a:lnTo>
                  <a:lnTo>
                    <a:pt x="456" y="2040"/>
                  </a:lnTo>
                  <a:lnTo>
                    <a:pt x="456" y="2052"/>
                  </a:lnTo>
                  <a:lnTo>
                    <a:pt x="450" y="2058"/>
                  </a:lnTo>
                  <a:lnTo>
                    <a:pt x="450" y="2070"/>
                  </a:lnTo>
                  <a:lnTo>
                    <a:pt x="450" y="2076"/>
                  </a:lnTo>
                  <a:lnTo>
                    <a:pt x="450" y="2082"/>
                  </a:lnTo>
                  <a:lnTo>
                    <a:pt x="444" y="2088"/>
                  </a:lnTo>
                  <a:lnTo>
                    <a:pt x="438" y="2094"/>
                  </a:lnTo>
                  <a:lnTo>
                    <a:pt x="444" y="2100"/>
                  </a:lnTo>
                  <a:lnTo>
                    <a:pt x="444" y="2124"/>
                  </a:lnTo>
                  <a:lnTo>
                    <a:pt x="444" y="2142"/>
                  </a:lnTo>
                  <a:lnTo>
                    <a:pt x="444" y="2160"/>
                  </a:lnTo>
                  <a:lnTo>
                    <a:pt x="450" y="2166"/>
                  </a:lnTo>
                  <a:lnTo>
                    <a:pt x="456" y="2178"/>
                  </a:lnTo>
                  <a:lnTo>
                    <a:pt x="438" y="2184"/>
                  </a:lnTo>
                  <a:lnTo>
                    <a:pt x="432" y="2184"/>
                  </a:lnTo>
                  <a:lnTo>
                    <a:pt x="426" y="2190"/>
                  </a:lnTo>
                  <a:lnTo>
                    <a:pt x="408" y="2190"/>
                  </a:lnTo>
                  <a:lnTo>
                    <a:pt x="402" y="2196"/>
                  </a:lnTo>
                  <a:lnTo>
                    <a:pt x="396" y="2196"/>
                  </a:lnTo>
                  <a:lnTo>
                    <a:pt x="384" y="2208"/>
                  </a:lnTo>
                  <a:lnTo>
                    <a:pt x="378" y="2220"/>
                  </a:lnTo>
                  <a:lnTo>
                    <a:pt x="366" y="2232"/>
                  </a:lnTo>
                  <a:lnTo>
                    <a:pt x="366" y="2238"/>
                  </a:lnTo>
                  <a:lnTo>
                    <a:pt x="360" y="2238"/>
                  </a:lnTo>
                  <a:lnTo>
                    <a:pt x="360" y="2244"/>
                  </a:lnTo>
                  <a:lnTo>
                    <a:pt x="354" y="2244"/>
                  </a:lnTo>
                  <a:lnTo>
                    <a:pt x="330" y="227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5" name="Freeform 10">
              <a:extLst>
                <a:ext uri="{FF2B5EF4-FFF2-40B4-BE49-F238E27FC236}">
                  <a16:creationId xmlns:a16="http://schemas.microsoft.com/office/drawing/2014/main" id="{3AD2FC58-3490-4B7F-A8BE-621F3CDD69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1996" y="1931890"/>
              <a:ext cx="805029" cy="1037736"/>
            </a:xfrm>
            <a:custGeom>
              <a:avLst/>
              <a:gdLst>
                <a:gd name="T0" fmla="*/ 124 w 1512"/>
                <a:gd name="T1" fmla="*/ 76 h 1956"/>
                <a:gd name="T2" fmla="*/ 120 w 1512"/>
                <a:gd name="T3" fmla="*/ 80 h 1956"/>
                <a:gd name="T4" fmla="*/ 106 w 1512"/>
                <a:gd name="T5" fmla="*/ 84 h 1956"/>
                <a:gd name="T6" fmla="*/ 105 w 1512"/>
                <a:gd name="T7" fmla="*/ 91 h 1956"/>
                <a:gd name="T8" fmla="*/ 101 w 1512"/>
                <a:gd name="T9" fmla="*/ 99 h 1956"/>
                <a:gd name="T10" fmla="*/ 105 w 1512"/>
                <a:gd name="T11" fmla="*/ 107 h 1956"/>
                <a:gd name="T12" fmla="*/ 119 w 1512"/>
                <a:gd name="T13" fmla="*/ 116 h 1956"/>
                <a:gd name="T14" fmla="*/ 121 w 1512"/>
                <a:gd name="T15" fmla="*/ 128 h 1956"/>
                <a:gd name="T16" fmla="*/ 112 w 1512"/>
                <a:gd name="T17" fmla="*/ 136 h 1956"/>
                <a:gd name="T18" fmla="*/ 119 w 1512"/>
                <a:gd name="T19" fmla="*/ 143 h 1956"/>
                <a:gd name="T20" fmla="*/ 126 w 1512"/>
                <a:gd name="T21" fmla="*/ 148 h 1956"/>
                <a:gd name="T22" fmla="*/ 126 w 1512"/>
                <a:gd name="T23" fmla="*/ 160 h 1956"/>
                <a:gd name="T24" fmla="*/ 104 w 1512"/>
                <a:gd name="T25" fmla="*/ 170 h 1956"/>
                <a:gd name="T26" fmla="*/ 99 w 1512"/>
                <a:gd name="T27" fmla="*/ 164 h 1956"/>
                <a:gd name="T28" fmla="*/ 73 w 1512"/>
                <a:gd name="T29" fmla="*/ 152 h 1956"/>
                <a:gd name="T30" fmla="*/ 56 w 1512"/>
                <a:gd name="T31" fmla="*/ 165 h 1956"/>
                <a:gd name="T32" fmla="*/ 33 w 1512"/>
                <a:gd name="T33" fmla="*/ 162 h 1956"/>
                <a:gd name="T34" fmla="*/ 25 w 1512"/>
                <a:gd name="T35" fmla="*/ 155 h 1956"/>
                <a:gd name="T36" fmla="*/ 31 w 1512"/>
                <a:gd name="T37" fmla="*/ 142 h 1956"/>
                <a:gd name="T38" fmla="*/ 24 w 1512"/>
                <a:gd name="T39" fmla="*/ 137 h 1956"/>
                <a:gd name="T40" fmla="*/ 14 w 1512"/>
                <a:gd name="T41" fmla="*/ 136 h 1956"/>
                <a:gd name="T42" fmla="*/ 11 w 1512"/>
                <a:gd name="T43" fmla="*/ 125 h 1956"/>
                <a:gd name="T44" fmla="*/ 3 w 1512"/>
                <a:gd name="T45" fmla="*/ 116 h 1956"/>
                <a:gd name="T46" fmla="*/ 2 w 1512"/>
                <a:gd name="T47" fmla="*/ 106 h 1956"/>
                <a:gd name="T48" fmla="*/ 5 w 1512"/>
                <a:gd name="T49" fmla="*/ 101 h 1956"/>
                <a:gd name="T50" fmla="*/ 2 w 1512"/>
                <a:gd name="T51" fmla="*/ 95 h 1956"/>
                <a:gd name="T52" fmla="*/ 1 w 1512"/>
                <a:gd name="T53" fmla="*/ 88 h 1956"/>
                <a:gd name="T54" fmla="*/ 4 w 1512"/>
                <a:gd name="T55" fmla="*/ 80 h 1956"/>
                <a:gd name="T56" fmla="*/ 12 w 1512"/>
                <a:gd name="T57" fmla="*/ 73 h 1956"/>
                <a:gd name="T58" fmla="*/ 16 w 1512"/>
                <a:gd name="T59" fmla="*/ 68 h 1956"/>
                <a:gd name="T60" fmla="*/ 22 w 1512"/>
                <a:gd name="T61" fmla="*/ 66 h 1956"/>
                <a:gd name="T62" fmla="*/ 32 w 1512"/>
                <a:gd name="T63" fmla="*/ 65 h 1956"/>
                <a:gd name="T64" fmla="*/ 45 w 1512"/>
                <a:gd name="T65" fmla="*/ 66 h 1956"/>
                <a:gd name="T66" fmla="*/ 50 w 1512"/>
                <a:gd name="T67" fmla="*/ 70 h 1956"/>
                <a:gd name="T68" fmla="*/ 55 w 1512"/>
                <a:gd name="T69" fmla="*/ 70 h 1956"/>
                <a:gd name="T70" fmla="*/ 63 w 1512"/>
                <a:gd name="T71" fmla="*/ 71 h 1956"/>
                <a:gd name="T72" fmla="*/ 61 w 1512"/>
                <a:gd name="T73" fmla="*/ 75 h 1956"/>
                <a:gd name="T74" fmla="*/ 66 w 1512"/>
                <a:gd name="T75" fmla="*/ 84 h 1956"/>
                <a:gd name="T76" fmla="*/ 81 w 1512"/>
                <a:gd name="T77" fmla="*/ 85 h 1956"/>
                <a:gd name="T78" fmla="*/ 83 w 1512"/>
                <a:gd name="T79" fmla="*/ 79 h 1956"/>
                <a:gd name="T80" fmla="*/ 89 w 1512"/>
                <a:gd name="T81" fmla="*/ 77 h 1956"/>
                <a:gd name="T82" fmla="*/ 89 w 1512"/>
                <a:gd name="T83" fmla="*/ 73 h 1956"/>
                <a:gd name="T84" fmla="*/ 83 w 1512"/>
                <a:gd name="T85" fmla="*/ 72 h 1956"/>
                <a:gd name="T86" fmla="*/ 77 w 1512"/>
                <a:gd name="T87" fmla="*/ 70 h 1956"/>
                <a:gd name="T88" fmla="*/ 71 w 1512"/>
                <a:gd name="T89" fmla="*/ 70 h 1956"/>
                <a:gd name="T90" fmla="*/ 59 w 1512"/>
                <a:gd name="T91" fmla="*/ 58 h 1956"/>
                <a:gd name="T92" fmla="*/ 54 w 1512"/>
                <a:gd name="T93" fmla="*/ 45 h 1956"/>
                <a:gd name="T94" fmla="*/ 49 w 1512"/>
                <a:gd name="T95" fmla="*/ 42 h 1956"/>
                <a:gd name="T96" fmla="*/ 51 w 1512"/>
                <a:gd name="T97" fmla="*/ 39 h 1956"/>
                <a:gd name="T98" fmla="*/ 55 w 1512"/>
                <a:gd name="T99" fmla="*/ 36 h 1956"/>
                <a:gd name="T100" fmla="*/ 63 w 1512"/>
                <a:gd name="T101" fmla="*/ 34 h 1956"/>
                <a:gd name="T102" fmla="*/ 68 w 1512"/>
                <a:gd name="T103" fmla="*/ 32 h 1956"/>
                <a:gd name="T104" fmla="*/ 73 w 1512"/>
                <a:gd name="T105" fmla="*/ 29 h 1956"/>
                <a:gd name="T106" fmla="*/ 78 w 1512"/>
                <a:gd name="T107" fmla="*/ 27 h 1956"/>
                <a:gd name="T108" fmla="*/ 81 w 1512"/>
                <a:gd name="T109" fmla="*/ 17 h 1956"/>
                <a:gd name="T110" fmla="*/ 84 w 1512"/>
                <a:gd name="T111" fmla="*/ 6 h 1956"/>
                <a:gd name="T112" fmla="*/ 95 w 1512"/>
                <a:gd name="T113" fmla="*/ 6 h 1956"/>
                <a:gd name="T114" fmla="*/ 99 w 1512"/>
                <a:gd name="T115" fmla="*/ 3 h 1956"/>
                <a:gd name="T116" fmla="*/ 103 w 1512"/>
                <a:gd name="T117" fmla="*/ 0 h 1956"/>
                <a:gd name="T118" fmla="*/ 110 w 1512"/>
                <a:gd name="T119" fmla="*/ 4 h 1956"/>
                <a:gd name="T120" fmla="*/ 114 w 1512"/>
                <a:gd name="T121" fmla="*/ 33 h 1956"/>
                <a:gd name="T122" fmla="*/ 117 w 1512"/>
                <a:gd name="T123" fmla="*/ 41 h 1956"/>
                <a:gd name="T124" fmla="*/ 119 w 1512"/>
                <a:gd name="T125" fmla="*/ 62 h 195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12"/>
                <a:gd name="T190" fmla="*/ 0 h 1956"/>
                <a:gd name="T191" fmla="*/ 1512 w 1512"/>
                <a:gd name="T192" fmla="*/ 1956 h 195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12" h="1956">
                  <a:moveTo>
                    <a:pt x="1512" y="780"/>
                  </a:moveTo>
                  <a:lnTo>
                    <a:pt x="1482" y="786"/>
                  </a:lnTo>
                  <a:lnTo>
                    <a:pt x="1476" y="792"/>
                  </a:lnTo>
                  <a:lnTo>
                    <a:pt x="1476" y="798"/>
                  </a:lnTo>
                  <a:lnTo>
                    <a:pt x="1476" y="804"/>
                  </a:lnTo>
                  <a:lnTo>
                    <a:pt x="1476" y="816"/>
                  </a:lnTo>
                  <a:lnTo>
                    <a:pt x="1470" y="834"/>
                  </a:lnTo>
                  <a:lnTo>
                    <a:pt x="1464" y="840"/>
                  </a:lnTo>
                  <a:lnTo>
                    <a:pt x="1452" y="852"/>
                  </a:lnTo>
                  <a:lnTo>
                    <a:pt x="1440" y="864"/>
                  </a:lnTo>
                  <a:lnTo>
                    <a:pt x="1434" y="864"/>
                  </a:lnTo>
                  <a:lnTo>
                    <a:pt x="1434" y="870"/>
                  </a:lnTo>
                  <a:lnTo>
                    <a:pt x="1422" y="876"/>
                  </a:lnTo>
                  <a:lnTo>
                    <a:pt x="1410" y="894"/>
                  </a:lnTo>
                  <a:lnTo>
                    <a:pt x="1404" y="894"/>
                  </a:lnTo>
                  <a:lnTo>
                    <a:pt x="1404" y="900"/>
                  </a:lnTo>
                  <a:lnTo>
                    <a:pt x="1404" y="906"/>
                  </a:lnTo>
                  <a:lnTo>
                    <a:pt x="1410" y="918"/>
                  </a:lnTo>
                  <a:lnTo>
                    <a:pt x="1404" y="918"/>
                  </a:lnTo>
                  <a:lnTo>
                    <a:pt x="1392" y="924"/>
                  </a:lnTo>
                  <a:lnTo>
                    <a:pt x="1386" y="924"/>
                  </a:lnTo>
                  <a:lnTo>
                    <a:pt x="1380" y="924"/>
                  </a:lnTo>
                  <a:lnTo>
                    <a:pt x="1380" y="930"/>
                  </a:lnTo>
                  <a:lnTo>
                    <a:pt x="1374" y="930"/>
                  </a:lnTo>
                  <a:lnTo>
                    <a:pt x="1374" y="924"/>
                  </a:lnTo>
                  <a:lnTo>
                    <a:pt x="1374" y="918"/>
                  </a:lnTo>
                  <a:lnTo>
                    <a:pt x="1368" y="912"/>
                  </a:lnTo>
                  <a:lnTo>
                    <a:pt x="1368" y="906"/>
                  </a:lnTo>
                  <a:lnTo>
                    <a:pt x="1368" y="900"/>
                  </a:lnTo>
                  <a:lnTo>
                    <a:pt x="1368" y="894"/>
                  </a:lnTo>
                  <a:lnTo>
                    <a:pt x="1362" y="894"/>
                  </a:lnTo>
                  <a:lnTo>
                    <a:pt x="1326" y="894"/>
                  </a:lnTo>
                  <a:lnTo>
                    <a:pt x="1302" y="906"/>
                  </a:lnTo>
                  <a:lnTo>
                    <a:pt x="1284" y="918"/>
                  </a:lnTo>
                  <a:lnTo>
                    <a:pt x="1284" y="924"/>
                  </a:lnTo>
                  <a:lnTo>
                    <a:pt x="1278" y="930"/>
                  </a:lnTo>
                  <a:lnTo>
                    <a:pt x="1266" y="930"/>
                  </a:lnTo>
                  <a:lnTo>
                    <a:pt x="1236" y="954"/>
                  </a:lnTo>
                  <a:lnTo>
                    <a:pt x="1212" y="972"/>
                  </a:lnTo>
                  <a:lnTo>
                    <a:pt x="1218" y="996"/>
                  </a:lnTo>
                  <a:lnTo>
                    <a:pt x="1224" y="1008"/>
                  </a:lnTo>
                  <a:lnTo>
                    <a:pt x="1236" y="1014"/>
                  </a:lnTo>
                  <a:lnTo>
                    <a:pt x="1242" y="1026"/>
                  </a:lnTo>
                  <a:lnTo>
                    <a:pt x="1248" y="1038"/>
                  </a:lnTo>
                  <a:lnTo>
                    <a:pt x="1260" y="1050"/>
                  </a:lnTo>
                  <a:lnTo>
                    <a:pt x="1260" y="1056"/>
                  </a:lnTo>
                  <a:lnTo>
                    <a:pt x="1260" y="1074"/>
                  </a:lnTo>
                  <a:lnTo>
                    <a:pt x="1254" y="1074"/>
                  </a:lnTo>
                  <a:lnTo>
                    <a:pt x="1236" y="1056"/>
                  </a:lnTo>
                  <a:lnTo>
                    <a:pt x="1224" y="1050"/>
                  </a:lnTo>
                  <a:lnTo>
                    <a:pt x="1212" y="1050"/>
                  </a:lnTo>
                  <a:lnTo>
                    <a:pt x="1206" y="1050"/>
                  </a:lnTo>
                  <a:lnTo>
                    <a:pt x="1200" y="1056"/>
                  </a:lnTo>
                  <a:lnTo>
                    <a:pt x="1194" y="1062"/>
                  </a:lnTo>
                  <a:lnTo>
                    <a:pt x="1188" y="1068"/>
                  </a:lnTo>
                  <a:lnTo>
                    <a:pt x="1188" y="1074"/>
                  </a:lnTo>
                  <a:lnTo>
                    <a:pt x="1176" y="1086"/>
                  </a:lnTo>
                  <a:lnTo>
                    <a:pt x="1170" y="1086"/>
                  </a:lnTo>
                  <a:lnTo>
                    <a:pt x="1170" y="1092"/>
                  </a:lnTo>
                  <a:lnTo>
                    <a:pt x="1164" y="1098"/>
                  </a:lnTo>
                  <a:lnTo>
                    <a:pt x="1158" y="1110"/>
                  </a:lnTo>
                  <a:lnTo>
                    <a:pt x="1152" y="1116"/>
                  </a:lnTo>
                  <a:lnTo>
                    <a:pt x="1152" y="1122"/>
                  </a:lnTo>
                  <a:lnTo>
                    <a:pt x="1146" y="1128"/>
                  </a:lnTo>
                  <a:lnTo>
                    <a:pt x="1152" y="1140"/>
                  </a:lnTo>
                  <a:lnTo>
                    <a:pt x="1158" y="1140"/>
                  </a:lnTo>
                  <a:lnTo>
                    <a:pt x="1164" y="1146"/>
                  </a:lnTo>
                  <a:lnTo>
                    <a:pt x="1164" y="1152"/>
                  </a:lnTo>
                  <a:lnTo>
                    <a:pt x="1170" y="1164"/>
                  </a:lnTo>
                  <a:lnTo>
                    <a:pt x="1164" y="1176"/>
                  </a:lnTo>
                  <a:lnTo>
                    <a:pt x="1170" y="1182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82" y="1218"/>
                  </a:lnTo>
                  <a:lnTo>
                    <a:pt x="1188" y="1218"/>
                  </a:lnTo>
                  <a:lnTo>
                    <a:pt x="1194" y="1218"/>
                  </a:lnTo>
                  <a:lnTo>
                    <a:pt x="1194" y="1224"/>
                  </a:lnTo>
                  <a:lnTo>
                    <a:pt x="1200" y="1230"/>
                  </a:lnTo>
                  <a:lnTo>
                    <a:pt x="1200" y="1248"/>
                  </a:lnTo>
                  <a:lnTo>
                    <a:pt x="1212" y="1266"/>
                  </a:lnTo>
                  <a:lnTo>
                    <a:pt x="1218" y="1278"/>
                  </a:lnTo>
                  <a:lnTo>
                    <a:pt x="1224" y="1284"/>
                  </a:lnTo>
                  <a:lnTo>
                    <a:pt x="1236" y="1296"/>
                  </a:lnTo>
                  <a:lnTo>
                    <a:pt x="1242" y="1302"/>
                  </a:lnTo>
                  <a:lnTo>
                    <a:pt x="1242" y="1308"/>
                  </a:lnTo>
                  <a:lnTo>
                    <a:pt x="1272" y="1308"/>
                  </a:lnTo>
                  <a:lnTo>
                    <a:pt x="1296" y="1314"/>
                  </a:lnTo>
                  <a:lnTo>
                    <a:pt x="1320" y="1320"/>
                  </a:lnTo>
                  <a:lnTo>
                    <a:pt x="1338" y="1320"/>
                  </a:lnTo>
                  <a:lnTo>
                    <a:pt x="1356" y="1332"/>
                  </a:lnTo>
                  <a:lnTo>
                    <a:pt x="1368" y="1344"/>
                  </a:lnTo>
                  <a:lnTo>
                    <a:pt x="1374" y="1362"/>
                  </a:lnTo>
                  <a:lnTo>
                    <a:pt x="1368" y="1362"/>
                  </a:lnTo>
                  <a:lnTo>
                    <a:pt x="1368" y="1398"/>
                  </a:lnTo>
                  <a:lnTo>
                    <a:pt x="1368" y="1410"/>
                  </a:lnTo>
                  <a:lnTo>
                    <a:pt x="1368" y="1428"/>
                  </a:lnTo>
                  <a:lnTo>
                    <a:pt x="1368" y="1434"/>
                  </a:lnTo>
                  <a:lnTo>
                    <a:pt x="1368" y="1440"/>
                  </a:lnTo>
                  <a:lnTo>
                    <a:pt x="1374" y="1446"/>
                  </a:lnTo>
                  <a:lnTo>
                    <a:pt x="1374" y="1452"/>
                  </a:lnTo>
                  <a:lnTo>
                    <a:pt x="1380" y="1458"/>
                  </a:lnTo>
                  <a:lnTo>
                    <a:pt x="1386" y="1464"/>
                  </a:lnTo>
                  <a:lnTo>
                    <a:pt x="1386" y="1470"/>
                  </a:lnTo>
                  <a:lnTo>
                    <a:pt x="1380" y="1476"/>
                  </a:lnTo>
                  <a:lnTo>
                    <a:pt x="1374" y="1482"/>
                  </a:lnTo>
                  <a:lnTo>
                    <a:pt x="1362" y="1500"/>
                  </a:lnTo>
                  <a:lnTo>
                    <a:pt x="1362" y="1506"/>
                  </a:lnTo>
                  <a:lnTo>
                    <a:pt x="1362" y="1512"/>
                  </a:lnTo>
                  <a:lnTo>
                    <a:pt x="1362" y="1518"/>
                  </a:lnTo>
                  <a:lnTo>
                    <a:pt x="1362" y="1524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38" y="1548"/>
                  </a:lnTo>
                  <a:lnTo>
                    <a:pt x="1296" y="1548"/>
                  </a:lnTo>
                  <a:lnTo>
                    <a:pt x="1290" y="1554"/>
                  </a:lnTo>
                  <a:lnTo>
                    <a:pt x="1284" y="1560"/>
                  </a:lnTo>
                  <a:lnTo>
                    <a:pt x="1284" y="1566"/>
                  </a:lnTo>
                  <a:lnTo>
                    <a:pt x="1290" y="1578"/>
                  </a:lnTo>
                  <a:lnTo>
                    <a:pt x="1296" y="1590"/>
                  </a:lnTo>
                  <a:lnTo>
                    <a:pt x="1302" y="1590"/>
                  </a:lnTo>
                  <a:lnTo>
                    <a:pt x="1308" y="1596"/>
                  </a:lnTo>
                  <a:lnTo>
                    <a:pt x="1320" y="1602"/>
                  </a:lnTo>
                  <a:lnTo>
                    <a:pt x="1326" y="1602"/>
                  </a:lnTo>
                  <a:lnTo>
                    <a:pt x="1326" y="1608"/>
                  </a:lnTo>
                  <a:lnTo>
                    <a:pt x="1332" y="1614"/>
                  </a:lnTo>
                  <a:lnTo>
                    <a:pt x="1344" y="1620"/>
                  </a:lnTo>
                  <a:lnTo>
                    <a:pt x="1356" y="1626"/>
                  </a:lnTo>
                  <a:lnTo>
                    <a:pt x="1356" y="1632"/>
                  </a:lnTo>
                  <a:lnTo>
                    <a:pt x="1356" y="1638"/>
                  </a:lnTo>
                  <a:lnTo>
                    <a:pt x="1362" y="1644"/>
                  </a:lnTo>
                  <a:lnTo>
                    <a:pt x="1368" y="1644"/>
                  </a:lnTo>
                  <a:lnTo>
                    <a:pt x="1380" y="1650"/>
                  </a:lnTo>
                  <a:lnTo>
                    <a:pt x="1386" y="1650"/>
                  </a:lnTo>
                  <a:lnTo>
                    <a:pt x="1386" y="1656"/>
                  </a:lnTo>
                  <a:lnTo>
                    <a:pt x="1392" y="1656"/>
                  </a:lnTo>
                  <a:lnTo>
                    <a:pt x="1398" y="1662"/>
                  </a:lnTo>
                  <a:lnTo>
                    <a:pt x="1410" y="1674"/>
                  </a:lnTo>
                  <a:lnTo>
                    <a:pt x="1428" y="1680"/>
                  </a:lnTo>
                  <a:lnTo>
                    <a:pt x="1428" y="1686"/>
                  </a:lnTo>
                  <a:lnTo>
                    <a:pt x="1428" y="1698"/>
                  </a:lnTo>
                  <a:lnTo>
                    <a:pt x="1434" y="1704"/>
                  </a:lnTo>
                  <a:lnTo>
                    <a:pt x="1434" y="1710"/>
                  </a:lnTo>
                  <a:lnTo>
                    <a:pt x="1440" y="1710"/>
                  </a:lnTo>
                  <a:lnTo>
                    <a:pt x="1446" y="1710"/>
                  </a:lnTo>
                  <a:lnTo>
                    <a:pt x="1446" y="1716"/>
                  </a:lnTo>
                  <a:lnTo>
                    <a:pt x="1440" y="1722"/>
                  </a:lnTo>
                  <a:lnTo>
                    <a:pt x="1440" y="1728"/>
                  </a:lnTo>
                  <a:lnTo>
                    <a:pt x="1440" y="1734"/>
                  </a:lnTo>
                  <a:lnTo>
                    <a:pt x="1440" y="1740"/>
                  </a:lnTo>
                  <a:lnTo>
                    <a:pt x="1440" y="1746"/>
                  </a:lnTo>
                  <a:lnTo>
                    <a:pt x="1440" y="1788"/>
                  </a:lnTo>
                  <a:lnTo>
                    <a:pt x="1440" y="1800"/>
                  </a:lnTo>
                  <a:lnTo>
                    <a:pt x="1440" y="1806"/>
                  </a:lnTo>
                  <a:lnTo>
                    <a:pt x="1440" y="1836"/>
                  </a:lnTo>
                  <a:lnTo>
                    <a:pt x="1440" y="1848"/>
                  </a:lnTo>
                  <a:lnTo>
                    <a:pt x="1446" y="1848"/>
                  </a:lnTo>
                  <a:lnTo>
                    <a:pt x="1446" y="1854"/>
                  </a:lnTo>
                  <a:lnTo>
                    <a:pt x="1452" y="1848"/>
                  </a:lnTo>
                  <a:lnTo>
                    <a:pt x="1458" y="1854"/>
                  </a:lnTo>
                  <a:lnTo>
                    <a:pt x="1452" y="1860"/>
                  </a:lnTo>
                  <a:lnTo>
                    <a:pt x="1452" y="1866"/>
                  </a:lnTo>
                  <a:lnTo>
                    <a:pt x="1458" y="1872"/>
                  </a:lnTo>
                  <a:lnTo>
                    <a:pt x="1464" y="1884"/>
                  </a:lnTo>
                  <a:lnTo>
                    <a:pt x="1428" y="1878"/>
                  </a:lnTo>
                  <a:lnTo>
                    <a:pt x="1356" y="1890"/>
                  </a:lnTo>
                  <a:lnTo>
                    <a:pt x="1296" y="1926"/>
                  </a:lnTo>
                  <a:lnTo>
                    <a:pt x="1266" y="1944"/>
                  </a:lnTo>
                  <a:lnTo>
                    <a:pt x="1224" y="1944"/>
                  </a:lnTo>
                  <a:lnTo>
                    <a:pt x="1188" y="1956"/>
                  </a:lnTo>
                  <a:lnTo>
                    <a:pt x="1188" y="1950"/>
                  </a:lnTo>
                  <a:lnTo>
                    <a:pt x="1176" y="1944"/>
                  </a:lnTo>
                  <a:lnTo>
                    <a:pt x="1176" y="1938"/>
                  </a:lnTo>
                  <a:lnTo>
                    <a:pt x="1170" y="1938"/>
                  </a:lnTo>
                  <a:lnTo>
                    <a:pt x="1164" y="1932"/>
                  </a:lnTo>
                  <a:lnTo>
                    <a:pt x="1158" y="1926"/>
                  </a:lnTo>
                  <a:lnTo>
                    <a:pt x="1158" y="1920"/>
                  </a:lnTo>
                  <a:lnTo>
                    <a:pt x="1152" y="1920"/>
                  </a:lnTo>
                  <a:lnTo>
                    <a:pt x="1146" y="1914"/>
                  </a:lnTo>
                  <a:lnTo>
                    <a:pt x="1146" y="1908"/>
                  </a:lnTo>
                  <a:lnTo>
                    <a:pt x="1140" y="1908"/>
                  </a:lnTo>
                  <a:lnTo>
                    <a:pt x="1134" y="1902"/>
                  </a:lnTo>
                  <a:lnTo>
                    <a:pt x="1134" y="1896"/>
                  </a:lnTo>
                  <a:lnTo>
                    <a:pt x="1116" y="1896"/>
                  </a:lnTo>
                  <a:lnTo>
                    <a:pt x="1104" y="1884"/>
                  </a:lnTo>
                  <a:lnTo>
                    <a:pt x="1092" y="1860"/>
                  </a:lnTo>
                  <a:lnTo>
                    <a:pt x="1068" y="1854"/>
                  </a:lnTo>
                  <a:lnTo>
                    <a:pt x="1032" y="1842"/>
                  </a:lnTo>
                  <a:lnTo>
                    <a:pt x="1008" y="1836"/>
                  </a:lnTo>
                  <a:lnTo>
                    <a:pt x="978" y="1824"/>
                  </a:lnTo>
                  <a:lnTo>
                    <a:pt x="942" y="1818"/>
                  </a:lnTo>
                  <a:lnTo>
                    <a:pt x="924" y="1806"/>
                  </a:lnTo>
                  <a:lnTo>
                    <a:pt x="906" y="1788"/>
                  </a:lnTo>
                  <a:lnTo>
                    <a:pt x="894" y="1776"/>
                  </a:lnTo>
                  <a:lnTo>
                    <a:pt x="864" y="1758"/>
                  </a:lnTo>
                  <a:lnTo>
                    <a:pt x="834" y="1752"/>
                  </a:lnTo>
                  <a:lnTo>
                    <a:pt x="798" y="1746"/>
                  </a:lnTo>
                  <a:lnTo>
                    <a:pt x="792" y="1806"/>
                  </a:lnTo>
                  <a:lnTo>
                    <a:pt x="798" y="1812"/>
                  </a:lnTo>
                  <a:lnTo>
                    <a:pt x="810" y="1830"/>
                  </a:lnTo>
                  <a:lnTo>
                    <a:pt x="792" y="1842"/>
                  </a:lnTo>
                  <a:lnTo>
                    <a:pt x="768" y="1842"/>
                  </a:lnTo>
                  <a:lnTo>
                    <a:pt x="708" y="1848"/>
                  </a:lnTo>
                  <a:lnTo>
                    <a:pt x="690" y="1860"/>
                  </a:lnTo>
                  <a:lnTo>
                    <a:pt x="690" y="1866"/>
                  </a:lnTo>
                  <a:lnTo>
                    <a:pt x="678" y="1878"/>
                  </a:lnTo>
                  <a:lnTo>
                    <a:pt x="660" y="1884"/>
                  </a:lnTo>
                  <a:lnTo>
                    <a:pt x="660" y="1902"/>
                  </a:lnTo>
                  <a:lnTo>
                    <a:pt x="642" y="1902"/>
                  </a:lnTo>
                  <a:lnTo>
                    <a:pt x="582" y="1914"/>
                  </a:lnTo>
                  <a:lnTo>
                    <a:pt x="534" y="1908"/>
                  </a:lnTo>
                  <a:lnTo>
                    <a:pt x="510" y="1908"/>
                  </a:lnTo>
                  <a:lnTo>
                    <a:pt x="510" y="1896"/>
                  </a:lnTo>
                  <a:lnTo>
                    <a:pt x="492" y="1896"/>
                  </a:lnTo>
                  <a:lnTo>
                    <a:pt x="486" y="1902"/>
                  </a:lnTo>
                  <a:lnTo>
                    <a:pt x="474" y="1908"/>
                  </a:lnTo>
                  <a:lnTo>
                    <a:pt x="450" y="1908"/>
                  </a:lnTo>
                  <a:lnTo>
                    <a:pt x="432" y="1902"/>
                  </a:lnTo>
                  <a:lnTo>
                    <a:pt x="426" y="1896"/>
                  </a:lnTo>
                  <a:lnTo>
                    <a:pt x="402" y="1884"/>
                  </a:lnTo>
                  <a:lnTo>
                    <a:pt x="390" y="1872"/>
                  </a:lnTo>
                  <a:lnTo>
                    <a:pt x="384" y="1872"/>
                  </a:lnTo>
                  <a:lnTo>
                    <a:pt x="378" y="1872"/>
                  </a:lnTo>
                  <a:lnTo>
                    <a:pt x="378" y="1866"/>
                  </a:lnTo>
                  <a:lnTo>
                    <a:pt x="372" y="1860"/>
                  </a:lnTo>
                  <a:lnTo>
                    <a:pt x="372" y="1854"/>
                  </a:lnTo>
                  <a:lnTo>
                    <a:pt x="366" y="1842"/>
                  </a:lnTo>
                  <a:lnTo>
                    <a:pt x="366" y="1836"/>
                  </a:lnTo>
                  <a:lnTo>
                    <a:pt x="348" y="1830"/>
                  </a:lnTo>
                  <a:lnTo>
                    <a:pt x="348" y="1806"/>
                  </a:lnTo>
                  <a:lnTo>
                    <a:pt x="348" y="1800"/>
                  </a:lnTo>
                  <a:lnTo>
                    <a:pt x="348" y="1782"/>
                  </a:lnTo>
                  <a:lnTo>
                    <a:pt x="336" y="1788"/>
                  </a:lnTo>
                  <a:lnTo>
                    <a:pt x="312" y="1794"/>
                  </a:lnTo>
                  <a:lnTo>
                    <a:pt x="288" y="1788"/>
                  </a:lnTo>
                  <a:lnTo>
                    <a:pt x="264" y="1758"/>
                  </a:lnTo>
                  <a:lnTo>
                    <a:pt x="270" y="1758"/>
                  </a:lnTo>
                  <a:lnTo>
                    <a:pt x="270" y="1752"/>
                  </a:lnTo>
                  <a:lnTo>
                    <a:pt x="276" y="1752"/>
                  </a:lnTo>
                  <a:lnTo>
                    <a:pt x="282" y="1746"/>
                  </a:lnTo>
                  <a:lnTo>
                    <a:pt x="300" y="1746"/>
                  </a:lnTo>
                  <a:lnTo>
                    <a:pt x="312" y="1746"/>
                  </a:lnTo>
                  <a:lnTo>
                    <a:pt x="336" y="1710"/>
                  </a:lnTo>
                  <a:lnTo>
                    <a:pt x="342" y="1692"/>
                  </a:lnTo>
                  <a:lnTo>
                    <a:pt x="348" y="1680"/>
                  </a:lnTo>
                  <a:lnTo>
                    <a:pt x="342" y="1650"/>
                  </a:lnTo>
                  <a:lnTo>
                    <a:pt x="354" y="1644"/>
                  </a:lnTo>
                  <a:lnTo>
                    <a:pt x="354" y="1638"/>
                  </a:lnTo>
                  <a:lnTo>
                    <a:pt x="360" y="1632"/>
                  </a:lnTo>
                  <a:lnTo>
                    <a:pt x="354" y="1626"/>
                  </a:lnTo>
                  <a:lnTo>
                    <a:pt x="348" y="1626"/>
                  </a:lnTo>
                  <a:lnTo>
                    <a:pt x="348" y="1620"/>
                  </a:lnTo>
                  <a:lnTo>
                    <a:pt x="342" y="1620"/>
                  </a:lnTo>
                  <a:lnTo>
                    <a:pt x="348" y="1614"/>
                  </a:lnTo>
                  <a:lnTo>
                    <a:pt x="324" y="1566"/>
                  </a:lnTo>
                  <a:lnTo>
                    <a:pt x="318" y="1566"/>
                  </a:lnTo>
                  <a:lnTo>
                    <a:pt x="306" y="1572"/>
                  </a:lnTo>
                  <a:lnTo>
                    <a:pt x="300" y="1572"/>
                  </a:lnTo>
                  <a:lnTo>
                    <a:pt x="294" y="1578"/>
                  </a:lnTo>
                  <a:lnTo>
                    <a:pt x="288" y="1584"/>
                  </a:lnTo>
                  <a:lnTo>
                    <a:pt x="282" y="1584"/>
                  </a:lnTo>
                  <a:lnTo>
                    <a:pt x="282" y="1578"/>
                  </a:lnTo>
                  <a:lnTo>
                    <a:pt x="276" y="1578"/>
                  </a:lnTo>
                  <a:lnTo>
                    <a:pt x="270" y="1578"/>
                  </a:lnTo>
                  <a:lnTo>
                    <a:pt x="264" y="1578"/>
                  </a:lnTo>
                  <a:lnTo>
                    <a:pt x="258" y="1578"/>
                  </a:lnTo>
                  <a:lnTo>
                    <a:pt x="252" y="1578"/>
                  </a:lnTo>
                  <a:lnTo>
                    <a:pt x="252" y="1584"/>
                  </a:lnTo>
                  <a:lnTo>
                    <a:pt x="246" y="1584"/>
                  </a:lnTo>
                  <a:lnTo>
                    <a:pt x="210" y="1584"/>
                  </a:lnTo>
                  <a:lnTo>
                    <a:pt x="204" y="1584"/>
                  </a:lnTo>
                  <a:lnTo>
                    <a:pt x="192" y="1584"/>
                  </a:lnTo>
                  <a:lnTo>
                    <a:pt x="168" y="1596"/>
                  </a:lnTo>
                  <a:lnTo>
                    <a:pt x="156" y="1572"/>
                  </a:lnTo>
                  <a:lnTo>
                    <a:pt x="156" y="1566"/>
                  </a:lnTo>
                  <a:lnTo>
                    <a:pt x="156" y="1560"/>
                  </a:lnTo>
                  <a:lnTo>
                    <a:pt x="162" y="1548"/>
                  </a:lnTo>
                  <a:lnTo>
                    <a:pt x="162" y="1542"/>
                  </a:lnTo>
                  <a:lnTo>
                    <a:pt x="162" y="1536"/>
                  </a:lnTo>
                  <a:lnTo>
                    <a:pt x="168" y="1530"/>
                  </a:lnTo>
                  <a:lnTo>
                    <a:pt x="168" y="1524"/>
                  </a:lnTo>
                  <a:lnTo>
                    <a:pt x="168" y="1518"/>
                  </a:lnTo>
                  <a:lnTo>
                    <a:pt x="174" y="1518"/>
                  </a:lnTo>
                  <a:lnTo>
                    <a:pt x="174" y="1506"/>
                  </a:lnTo>
                  <a:lnTo>
                    <a:pt x="156" y="1470"/>
                  </a:lnTo>
                  <a:lnTo>
                    <a:pt x="138" y="1464"/>
                  </a:lnTo>
                  <a:lnTo>
                    <a:pt x="126" y="1446"/>
                  </a:lnTo>
                  <a:lnTo>
                    <a:pt x="126" y="1440"/>
                  </a:lnTo>
                  <a:lnTo>
                    <a:pt x="126" y="1434"/>
                  </a:lnTo>
                  <a:lnTo>
                    <a:pt x="120" y="1428"/>
                  </a:lnTo>
                  <a:lnTo>
                    <a:pt x="126" y="1398"/>
                  </a:lnTo>
                  <a:lnTo>
                    <a:pt x="120" y="1374"/>
                  </a:lnTo>
                  <a:lnTo>
                    <a:pt x="60" y="1374"/>
                  </a:lnTo>
                  <a:lnTo>
                    <a:pt x="60" y="1368"/>
                  </a:lnTo>
                  <a:lnTo>
                    <a:pt x="54" y="1362"/>
                  </a:lnTo>
                  <a:lnTo>
                    <a:pt x="48" y="1356"/>
                  </a:lnTo>
                  <a:lnTo>
                    <a:pt x="42" y="1356"/>
                  </a:lnTo>
                  <a:lnTo>
                    <a:pt x="42" y="1350"/>
                  </a:lnTo>
                  <a:lnTo>
                    <a:pt x="36" y="1344"/>
                  </a:lnTo>
                  <a:lnTo>
                    <a:pt x="36" y="1338"/>
                  </a:lnTo>
                  <a:lnTo>
                    <a:pt x="30" y="1332"/>
                  </a:lnTo>
                  <a:lnTo>
                    <a:pt x="30" y="1326"/>
                  </a:lnTo>
                  <a:lnTo>
                    <a:pt x="18" y="1326"/>
                  </a:lnTo>
                  <a:lnTo>
                    <a:pt x="18" y="1320"/>
                  </a:lnTo>
                  <a:lnTo>
                    <a:pt x="18" y="1326"/>
                  </a:lnTo>
                  <a:lnTo>
                    <a:pt x="6" y="1320"/>
                  </a:lnTo>
                  <a:lnTo>
                    <a:pt x="0" y="1314"/>
                  </a:lnTo>
                  <a:lnTo>
                    <a:pt x="12" y="1266"/>
                  </a:lnTo>
                  <a:lnTo>
                    <a:pt x="6" y="1242"/>
                  </a:lnTo>
                  <a:lnTo>
                    <a:pt x="12" y="1236"/>
                  </a:lnTo>
                  <a:lnTo>
                    <a:pt x="12" y="1230"/>
                  </a:lnTo>
                  <a:lnTo>
                    <a:pt x="18" y="1230"/>
                  </a:lnTo>
                  <a:lnTo>
                    <a:pt x="18" y="1224"/>
                  </a:lnTo>
                  <a:lnTo>
                    <a:pt x="24" y="1218"/>
                  </a:lnTo>
                  <a:lnTo>
                    <a:pt x="24" y="1212"/>
                  </a:lnTo>
                  <a:lnTo>
                    <a:pt x="30" y="1212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48" y="1188"/>
                  </a:lnTo>
                  <a:lnTo>
                    <a:pt x="48" y="1182"/>
                  </a:lnTo>
                  <a:lnTo>
                    <a:pt x="48" y="1176"/>
                  </a:lnTo>
                  <a:lnTo>
                    <a:pt x="48" y="1170"/>
                  </a:lnTo>
                  <a:lnTo>
                    <a:pt x="54" y="1170"/>
                  </a:lnTo>
                  <a:lnTo>
                    <a:pt x="60" y="1164"/>
                  </a:lnTo>
                  <a:lnTo>
                    <a:pt x="60" y="1158"/>
                  </a:lnTo>
                  <a:lnTo>
                    <a:pt x="66" y="1152"/>
                  </a:lnTo>
                  <a:lnTo>
                    <a:pt x="60" y="1140"/>
                  </a:lnTo>
                  <a:lnTo>
                    <a:pt x="60" y="1134"/>
                  </a:lnTo>
                  <a:lnTo>
                    <a:pt x="54" y="1134"/>
                  </a:lnTo>
                  <a:lnTo>
                    <a:pt x="54" y="1128"/>
                  </a:lnTo>
                  <a:lnTo>
                    <a:pt x="48" y="1122"/>
                  </a:lnTo>
                  <a:lnTo>
                    <a:pt x="48" y="1116"/>
                  </a:lnTo>
                  <a:lnTo>
                    <a:pt x="48" y="1110"/>
                  </a:lnTo>
                  <a:lnTo>
                    <a:pt x="42" y="1104"/>
                  </a:lnTo>
                  <a:lnTo>
                    <a:pt x="42" y="1098"/>
                  </a:lnTo>
                  <a:lnTo>
                    <a:pt x="36" y="1092"/>
                  </a:lnTo>
                  <a:lnTo>
                    <a:pt x="30" y="1092"/>
                  </a:lnTo>
                  <a:lnTo>
                    <a:pt x="24" y="1092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18" y="1080"/>
                  </a:lnTo>
                  <a:lnTo>
                    <a:pt x="18" y="1074"/>
                  </a:lnTo>
                  <a:lnTo>
                    <a:pt x="12" y="1068"/>
                  </a:lnTo>
                  <a:lnTo>
                    <a:pt x="6" y="1068"/>
                  </a:lnTo>
                  <a:lnTo>
                    <a:pt x="12" y="1056"/>
                  </a:lnTo>
                  <a:lnTo>
                    <a:pt x="6" y="1056"/>
                  </a:lnTo>
                  <a:lnTo>
                    <a:pt x="6" y="1050"/>
                  </a:lnTo>
                  <a:lnTo>
                    <a:pt x="6" y="1044"/>
                  </a:lnTo>
                  <a:lnTo>
                    <a:pt x="6" y="1026"/>
                  </a:lnTo>
                  <a:lnTo>
                    <a:pt x="12" y="1020"/>
                  </a:lnTo>
                  <a:lnTo>
                    <a:pt x="12" y="1014"/>
                  </a:lnTo>
                  <a:lnTo>
                    <a:pt x="18" y="1014"/>
                  </a:lnTo>
                  <a:lnTo>
                    <a:pt x="18" y="1008"/>
                  </a:lnTo>
                  <a:lnTo>
                    <a:pt x="18" y="1002"/>
                  </a:lnTo>
                  <a:lnTo>
                    <a:pt x="18" y="990"/>
                  </a:lnTo>
                  <a:lnTo>
                    <a:pt x="12" y="972"/>
                  </a:lnTo>
                  <a:lnTo>
                    <a:pt x="18" y="954"/>
                  </a:lnTo>
                  <a:lnTo>
                    <a:pt x="18" y="948"/>
                  </a:lnTo>
                  <a:lnTo>
                    <a:pt x="24" y="948"/>
                  </a:lnTo>
                  <a:lnTo>
                    <a:pt x="24" y="930"/>
                  </a:lnTo>
                  <a:lnTo>
                    <a:pt x="30" y="930"/>
                  </a:lnTo>
                  <a:lnTo>
                    <a:pt x="36" y="918"/>
                  </a:lnTo>
                  <a:lnTo>
                    <a:pt x="42" y="918"/>
                  </a:lnTo>
                  <a:lnTo>
                    <a:pt x="48" y="918"/>
                  </a:lnTo>
                  <a:lnTo>
                    <a:pt x="78" y="912"/>
                  </a:lnTo>
                  <a:lnTo>
                    <a:pt x="90" y="894"/>
                  </a:lnTo>
                  <a:lnTo>
                    <a:pt x="96" y="894"/>
                  </a:lnTo>
                  <a:lnTo>
                    <a:pt x="102" y="888"/>
                  </a:lnTo>
                  <a:lnTo>
                    <a:pt x="102" y="882"/>
                  </a:lnTo>
                  <a:lnTo>
                    <a:pt x="114" y="870"/>
                  </a:lnTo>
                  <a:lnTo>
                    <a:pt x="120" y="864"/>
                  </a:lnTo>
                  <a:lnTo>
                    <a:pt x="120" y="852"/>
                  </a:lnTo>
                  <a:lnTo>
                    <a:pt x="120" y="846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32" y="840"/>
                  </a:lnTo>
                  <a:lnTo>
                    <a:pt x="138" y="840"/>
                  </a:lnTo>
                  <a:lnTo>
                    <a:pt x="138" y="834"/>
                  </a:lnTo>
                  <a:lnTo>
                    <a:pt x="144" y="834"/>
                  </a:lnTo>
                  <a:lnTo>
                    <a:pt x="144" y="828"/>
                  </a:lnTo>
                  <a:lnTo>
                    <a:pt x="150" y="828"/>
                  </a:lnTo>
                  <a:lnTo>
                    <a:pt x="156" y="822"/>
                  </a:lnTo>
                  <a:lnTo>
                    <a:pt x="162" y="816"/>
                  </a:lnTo>
                  <a:lnTo>
                    <a:pt x="162" y="822"/>
                  </a:lnTo>
                  <a:lnTo>
                    <a:pt x="162" y="816"/>
                  </a:lnTo>
                  <a:lnTo>
                    <a:pt x="162" y="810"/>
                  </a:lnTo>
                  <a:lnTo>
                    <a:pt x="168" y="810"/>
                  </a:lnTo>
                  <a:lnTo>
                    <a:pt x="174" y="804"/>
                  </a:lnTo>
                  <a:lnTo>
                    <a:pt x="180" y="798"/>
                  </a:lnTo>
                  <a:lnTo>
                    <a:pt x="180" y="786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8" y="780"/>
                  </a:lnTo>
                  <a:lnTo>
                    <a:pt x="204" y="774"/>
                  </a:lnTo>
                  <a:lnTo>
                    <a:pt x="210" y="774"/>
                  </a:lnTo>
                  <a:lnTo>
                    <a:pt x="216" y="768"/>
                  </a:lnTo>
                  <a:lnTo>
                    <a:pt x="222" y="762"/>
                  </a:lnTo>
                  <a:lnTo>
                    <a:pt x="228" y="762"/>
                  </a:lnTo>
                  <a:lnTo>
                    <a:pt x="228" y="768"/>
                  </a:lnTo>
                  <a:lnTo>
                    <a:pt x="234" y="768"/>
                  </a:lnTo>
                  <a:lnTo>
                    <a:pt x="240" y="762"/>
                  </a:lnTo>
                  <a:lnTo>
                    <a:pt x="252" y="762"/>
                  </a:lnTo>
                  <a:lnTo>
                    <a:pt x="264" y="768"/>
                  </a:lnTo>
                  <a:lnTo>
                    <a:pt x="294" y="756"/>
                  </a:lnTo>
                  <a:lnTo>
                    <a:pt x="294" y="750"/>
                  </a:lnTo>
                  <a:lnTo>
                    <a:pt x="300" y="750"/>
                  </a:lnTo>
                  <a:lnTo>
                    <a:pt x="306" y="744"/>
                  </a:lnTo>
                  <a:lnTo>
                    <a:pt x="342" y="750"/>
                  </a:lnTo>
                  <a:lnTo>
                    <a:pt x="348" y="750"/>
                  </a:lnTo>
                  <a:lnTo>
                    <a:pt x="348" y="744"/>
                  </a:lnTo>
                  <a:lnTo>
                    <a:pt x="354" y="744"/>
                  </a:lnTo>
                  <a:lnTo>
                    <a:pt x="360" y="744"/>
                  </a:lnTo>
                  <a:lnTo>
                    <a:pt x="360" y="750"/>
                  </a:lnTo>
                  <a:lnTo>
                    <a:pt x="366" y="750"/>
                  </a:lnTo>
                  <a:lnTo>
                    <a:pt x="366" y="744"/>
                  </a:lnTo>
                  <a:lnTo>
                    <a:pt x="366" y="738"/>
                  </a:lnTo>
                  <a:lnTo>
                    <a:pt x="372" y="744"/>
                  </a:lnTo>
                  <a:lnTo>
                    <a:pt x="378" y="744"/>
                  </a:lnTo>
                  <a:lnTo>
                    <a:pt x="384" y="750"/>
                  </a:lnTo>
                  <a:lnTo>
                    <a:pt x="444" y="774"/>
                  </a:lnTo>
                  <a:lnTo>
                    <a:pt x="450" y="774"/>
                  </a:lnTo>
                  <a:lnTo>
                    <a:pt x="456" y="768"/>
                  </a:lnTo>
                  <a:lnTo>
                    <a:pt x="462" y="768"/>
                  </a:lnTo>
                  <a:lnTo>
                    <a:pt x="462" y="762"/>
                  </a:lnTo>
                  <a:lnTo>
                    <a:pt x="468" y="762"/>
                  </a:lnTo>
                  <a:lnTo>
                    <a:pt x="474" y="756"/>
                  </a:lnTo>
                  <a:lnTo>
                    <a:pt x="480" y="750"/>
                  </a:lnTo>
                  <a:lnTo>
                    <a:pt x="516" y="756"/>
                  </a:lnTo>
                  <a:lnTo>
                    <a:pt x="522" y="756"/>
                  </a:lnTo>
                  <a:lnTo>
                    <a:pt x="522" y="762"/>
                  </a:lnTo>
                  <a:lnTo>
                    <a:pt x="522" y="768"/>
                  </a:lnTo>
                  <a:lnTo>
                    <a:pt x="522" y="774"/>
                  </a:lnTo>
                  <a:lnTo>
                    <a:pt x="528" y="780"/>
                  </a:lnTo>
                  <a:lnTo>
                    <a:pt x="540" y="780"/>
                  </a:lnTo>
                  <a:lnTo>
                    <a:pt x="540" y="804"/>
                  </a:lnTo>
                  <a:lnTo>
                    <a:pt x="540" y="810"/>
                  </a:lnTo>
                  <a:lnTo>
                    <a:pt x="546" y="810"/>
                  </a:lnTo>
                  <a:lnTo>
                    <a:pt x="552" y="810"/>
                  </a:lnTo>
                  <a:lnTo>
                    <a:pt x="558" y="810"/>
                  </a:lnTo>
                  <a:lnTo>
                    <a:pt x="564" y="810"/>
                  </a:lnTo>
                  <a:lnTo>
                    <a:pt x="570" y="810"/>
                  </a:lnTo>
                  <a:lnTo>
                    <a:pt x="576" y="810"/>
                  </a:lnTo>
                  <a:lnTo>
                    <a:pt x="576" y="816"/>
                  </a:lnTo>
                  <a:lnTo>
                    <a:pt x="588" y="816"/>
                  </a:lnTo>
                  <a:lnTo>
                    <a:pt x="594" y="816"/>
                  </a:lnTo>
                  <a:lnTo>
                    <a:pt x="600" y="822"/>
                  </a:lnTo>
                  <a:lnTo>
                    <a:pt x="606" y="816"/>
                  </a:lnTo>
                  <a:lnTo>
                    <a:pt x="612" y="816"/>
                  </a:lnTo>
                  <a:lnTo>
                    <a:pt x="612" y="810"/>
                  </a:lnTo>
                  <a:lnTo>
                    <a:pt x="624" y="810"/>
                  </a:lnTo>
                  <a:lnTo>
                    <a:pt x="624" y="804"/>
                  </a:lnTo>
                  <a:lnTo>
                    <a:pt x="630" y="798"/>
                  </a:lnTo>
                  <a:lnTo>
                    <a:pt x="636" y="798"/>
                  </a:lnTo>
                  <a:lnTo>
                    <a:pt x="636" y="804"/>
                  </a:lnTo>
                  <a:lnTo>
                    <a:pt x="642" y="804"/>
                  </a:lnTo>
                  <a:lnTo>
                    <a:pt x="648" y="804"/>
                  </a:lnTo>
                  <a:lnTo>
                    <a:pt x="654" y="804"/>
                  </a:lnTo>
                  <a:lnTo>
                    <a:pt x="660" y="804"/>
                  </a:lnTo>
                  <a:lnTo>
                    <a:pt x="678" y="798"/>
                  </a:lnTo>
                  <a:lnTo>
                    <a:pt x="714" y="786"/>
                  </a:lnTo>
                  <a:lnTo>
                    <a:pt x="714" y="792"/>
                  </a:lnTo>
                  <a:lnTo>
                    <a:pt x="714" y="798"/>
                  </a:lnTo>
                  <a:lnTo>
                    <a:pt x="714" y="804"/>
                  </a:lnTo>
                  <a:lnTo>
                    <a:pt x="720" y="804"/>
                  </a:lnTo>
                  <a:lnTo>
                    <a:pt x="720" y="810"/>
                  </a:lnTo>
                  <a:lnTo>
                    <a:pt x="720" y="816"/>
                  </a:lnTo>
                  <a:lnTo>
                    <a:pt x="726" y="822"/>
                  </a:lnTo>
                  <a:lnTo>
                    <a:pt x="732" y="828"/>
                  </a:lnTo>
                  <a:lnTo>
                    <a:pt x="732" y="834"/>
                  </a:lnTo>
                  <a:lnTo>
                    <a:pt x="732" y="846"/>
                  </a:lnTo>
                  <a:lnTo>
                    <a:pt x="732" y="858"/>
                  </a:lnTo>
                  <a:lnTo>
                    <a:pt x="738" y="858"/>
                  </a:lnTo>
                  <a:lnTo>
                    <a:pt x="732" y="864"/>
                  </a:lnTo>
                  <a:lnTo>
                    <a:pt x="732" y="870"/>
                  </a:lnTo>
                  <a:lnTo>
                    <a:pt x="726" y="870"/>
                  </a:lnTo>
                  <a:lnTo>
                    <a:pt x="726" y="876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0" y="882"/>
                  </a:lnTo>
                  <a:lnTo>
                    <a:pt x="690" y="912"/>
                  </a:lnTo>
                  <a:lnTo>
                    <a:pt x="696" y="936"/>
                  </a:lnTo>
                  <a:lnTo>
                    <a:pt x="702" y="936"/>
                  </a:lnTo>
                  <a:lnTo>
                    <a:pt x="702" y="930"/>
                  </a:lnTo>
                  <a:lnTo>
                    <a:pt x="708" y="930"/>
                  </a:lnTo>
                  <a:lnTo>
                    <a:pt x="708" y="924"/>
                  </a:lnTo>
                  <a:lnTo>
                    <a:pt x="708" y="918"/>
                  </a:lnTo>
                  <a:lnTo>
                    <a:pt x="714" y="918"/>
                  </a:lnTo>
                  <a:lnTo>
                    <a:pt x="720" y="954"/>
                  </a:lnTo>
                  <a:lnTo>
                    <a:pt x="726" y="966"/>
                  </a:lnTo>
                  <a:lnTo>
                    <a:pt x="744" y="966"/>
                  </a:lnTo>
                  <a:lnTo>
                    <a:pt x="756" y="972"/>
                  </a:lnTo>
                  <a:lnTo>
                    <a:pt x="792" y="990"/>
                  </a:lnTo>
                  <a:lnTo>
                    <a:pt x="828" y="978"/>
                  </a:lnTo>
                  <a:lnTo>
                    <a:pt x="834" y="978"/>
                  </a:lnTo>
                  <a:lnTo>
                    <a:pt x="840" y="978"/>
                  </a:lnTo>
                  <a:lnTo>
                    <a:pt x="840" y="984"/>
                  </a:lnTo>
                  <a:lnTo>
                    <a:pt x="846" y="984"/>
                  </a:lnTo>
                  <a:lnTo>
                    <a:pt x="858" y="972"/>
                  </a:lnTo>
                  <a:lnTo>
                    <a:pt x="882" y="972"/>
                  </a:lnTo>
                  <a:lnTo>
                    <a:pt x="888" y="984"/>
                  </a:lnTo>
                  <a:lnTo>
                    <a:pt x="900" y="990"/>
                  </a:lnTo>
                  <a:lnTo>
                    <a:pt x="924" y="996"/>
                  </a:lnTo>
                  <a:lnTo>
                    <a:pt x="930" y="990"/>
                  </a:lnTo>
                  <a:lnTo>
                    <a:pt x="930" y="984"/>
                  </a:lnTo>
                  <a:lnTo>
                    <a:pt x="924" y="978"/>
                  </a:lnTo>
                  <a:lnTo>
                    <a:pt x="906" y="972"/>
                  </a:lnTo>
                  <a:lnTo>
                    <a:pt x="900" y="966"/>
                  </a:lnTo>
                  <a:lnTo>
                    <a:pt x="900" y="960"/>
                  </a:lnTo>
                  <a:lnTo>
                    <a:pt x="900" y="954"/>
                  </a:lnTo>
                  <a:lnTo>
                    <a:pt x="900" y="948"/>
                  </a:lnTo>
                  <a:lnTo>
                    <a:pt x="912" y="936"/>
                  </a:lnTo>
                  <a:lnTo>
                    <a:pt x="912" y="924"/>
                  </a:lnTo>
                  <a:lnTo>
                    <a:pt x="918" y="924"/>
                  </a:lnTo>
                  <a:lnTo>
                    <a:pt x="918" y="918"/>
                  </a:lnTo>
                  <a:lnTo>
                    <a:pt x="936" y="906"/>
                  </a:lnTo>
                  <a:lnTo>
                    <a:pt x="942" y="906"/>
                  </a:lnTo>
                  <a:lnTo>
                    <a:pt x="948" y="906"/>
                  </a:lnTo>
                  <a:lnTo>
                    <a:pt x="954" y="906"/>
                  </a:lnTo>
                  <a:lnTo>
                    <a:pt x="960" y="906"/>
                  </a:lnTo>
                  <a:lnTo>
                    <a:pt x="966" y="912"/>
                  </a:lnTo>
                  <a:lnTo>
                    <a:pt x="972" y="906"/>
                  </a:lnTo>
                  <a:lnTo>
                    <a:pt x="978" y="906"/>
                  </a:lnTo>
                  <a:lnTo>
                    <a:pt x="984" y="900"/>
                  </a:lnTo>
                  <a:lnTo>
                    <a:pt x="984" y="894"/>
                  </a:lnTo>
                  <a:lnTo>
                    <a:pt x="990" y="894"/>
                  </a:lnTo>
                  <a:lnTo>
                    <a:pt x="996" y="888"/>
                  </a:lnTo>
                  <a:lnTo>
                    <a:pt x="1002" y="888"/>
                  </a:lnTo>
                  <a:lnTo>
                    <a:pt x="1008" y="882"/>
                  </a:lnTo>
                  <a:lnTo>
                    <a:pt x="1014" y="882"/>
                  </a:lnTo>
                  <a:lnTo>
                    <a:pt x="1020" y="882"/>
                  </a:lnTo>
                  <a:lnTo>
                    <a:pt x="1020" y="888"/>
                  </a:lnTo>
                  <a:lnTo>
                    <a:pt x="1026" y="882"/>
                  </a:lnTo>
                  <a:lnTo>
                    <a:pt x="1026" y="876"/>
                  </a:lnTo>
                  <a:lnTo>
                    <a:pt x="1026" y="870"/>
                  </a:lnTo>
                  <a:lnTo>
                    <a:pt x="1032" y="864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44" y="852"/>
                  </a:lnTo>
                  <a:lnTo>
                    <a:pt x="1038" y="846"/>
                  </a:lnTo>
                  <a:lnTo>
                    <a:pt x="1038" y="840"/>
                  </a:lnTo>
                  <a:lnTo>
                    <a:pt x="1032" y="840"/>
                  </a:lnTo>
                  <a:lnTo>
                    <a:pt x="1026" y="840"/>
                  </a:lnTo>
                  <a:lnTo>
                    <a:pt x="1020" y="840"/>
                  </a:lnTo>
                  <a:lnTo>
                    <a:pt x="1014" y="846"/>
                  </a:lnTo>
                  <a:lnTo>
                    <a:pt x="1008" y="846"/>
                  </a:lnTo>
                  <a:lnTo>
                    <a:pt x="1002" y="840"/>
                  </a:lnTo>
                  <a:lnTo>
                    <a:pt x="996" y="840"/>
                  </a:lnTo>
                  <a:lnTo>
                    <a:pt x="990" y="834"/>
                  </a:lnTo>
                  <a:lnTo>
                    <a:pt x="984" y="834"/>
                  </a:lnTo>
                  <a:lnTo>
                    <a:pt x="978" y="834"/>
                  </a:lnTo>
                  <a:lnTo>
                    <a:pt x="972" y="834"/>
                  </a:lnTo>
                  <a:lnTo>
                    <a:pt x="966" y="834"/>
                  </a:lnTo>
                  <a:lnTo>
                    <a:pt x="966" y="828"/>
                  </a:lnTo>
                  <a:lnTo>
                    <a:pt x="960" y="828"/>
                  </a:lnTo>
                  <a:lnTo>
                    <a:pt x="954" y="828"/>
                  </a:lnTo>
                  <a:lnTo>
                    <a:pt x="942" y="828"/>
                  </a:lnTo>
                  <a:lnTo>
                    <a:pt x="936" y="828"/>
                  </a:lnTo>
                  <a:lnTo>
                    <a:pt x="930" y="828"/>
                  </a:lnTo>
                  <a:lnTo>
                    <a:pt x="918" y="828"/>
                  </a:lnTo>
                  <a:lnTo>
                    <a:pt x="918" y="822"/>
                  </a:lnTo>
                  <a:lnTo>
                    <a:pt x="912" y="828"/>
                  </a:lnTo>
                  <a:lnTo>
                    <a:pt x="912" y="822"/>
                  </a:lnTo>
                  <a:lnTo>
                    <a:pt x="906" y="816"/>
                  </a:lnTo>
                  <a:lnTo>
                    <a:pt x="900" y="816"/>
                  </a:lnTo>
                  <a:lnTo>
                    <a:pt x="894" y="816"/>
                  </a:lnTo>
                  <a:lnTo>
                    <a:pt x="888" y="816"/>
                  </a:lnTo>
                  <a:lnTo>
                    <a:pt x="882" y="816"/>
                  </a:lnTo>
                  <a:lnTo>
                    <a:pt x="882" y="810"/>
                  </a:lnTo>
                  <a:lnTo>
                    <a:pt x="876" y="804"/>
                  </a:lnTo>
                  <a:lnTo>
                    <a:pt x="870" y="804"/>
                  </a:lnTo>
                  <a:lnTo>
                    <a:pt x="864" y="798"/>
                  </a:lnTo>
                  <a:lnTo>
                    <a:pt x="858" y="798"/>
                  </a:lnTo>
                  <a:lnTo>
                    <a:pt x="858" y="804"/>
                  </a:lnTo>
                  <a:lnTo>
                    <a:pt x="852" y="804"/>
                  </a:lnTo>
                  <a:lnTo>
                    <a:pt x="846" y="804"/>
                  </a:lnTo>
                  <a:lnTo>
                    <a:pt x="846" y="798"/>
                  </a:lnTo>
                  <a:lnTo>
                    <a:pt x="840" y="804"/>
                  </a:lnTo>
                  <a:lnTo>
                    <a:pt x="834" y="804"/>
                  </a:lnTo>
                  <a:lnTo>
                    <a:pt x="828" y="804"/>
                  </a:lnTo>
                  <a:lnTo>
                    <a:pt x="828" y="810"/>
                  </a:lnTo>
                  <a:lnTo>
                    <a:pt x="822" y="810"/>
                  </a:lnTo>
                  <a:lnTo>
                    <a:pt x="810" y="804"/>
                  </a:lnTo>
                  <a:lnTo>
                    <a:pt x="810" y="798"/>
                  </a:lnTo>
                  <a:lnTo>
                    <a:pt x="780" y="798"/>
                  </a:lnTo>
                  <a:lnTo>
                    <a:pt x="756" y="774"/>
                  </a:lnTo>
                  <a:lnTo>
                    <a:pt x="750" y="768"/>
                  </a:lnTo>
                  <a:lnTo>
                    <a:pt x="750" y="744"/>
                  </a:lnTo>
                  <a:lnTo>
                    <a:pt x="732" y="738"/>
                  </a:lnTo>
                  <a:lnTo>
                    <a:pt x="732" y="720"/>
                  </a:lnTo>
                  <a:lnTo>
                    <a:pt x="714" y="690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6" y="666"/>
                  </a:lnTo>
                  <a:lnTo>
                    <a:pt x="690" y="666"/>
                  </a:lnTo>
                  <a:lnTo>
                    <a:pt x="678" y="672"/>
                  </a:lnTo>
                  <a:lnTo>
                    <a:pt x="678" y="654"/>
                  </a:lnTo>
                  <a:lnTo>
                    <a:pt x="684" y="630"/>
                  </a:lnTo>
                  <a:lnTo>
                    <a:pt x="690" y="618"/>
                  </a:lnTo>
                  <a:lnTo>
                    <a:pt x="696" y="612"/>
                  </a:lnTo>
                  <a:lnTo>
                    <a:pt x="696" y="588"/>
                  </a:lnTo>
                  <a:lnTo>
                    <a:pt x="690" y="576"/>
                  </a:lnTo>
                  <a:lnTo>
                    <a:pt x="696" y="552"/>
                  </a:lnTo>
                  <a:lnTo>
                    <a:pt x="684" y="522"/>
                  </a:lnTo>
                  <a:lnTo>
                    <a:pt x="672" y="504"/>
                  </a:lnTo>
                  <a:lnTo>
                    <a:pt x="654" y="504"/>
                  </a:lnTo>
                  <a:lnTo>
                    <a:pt x="642" y="504"/>
                  </a:lnTo>
                  <a:lnTo>
                    <a:pt x="624" y="510"/>
                  </a:lnTo>
                  <a:lnTo>
                    <a:pt x="612" y="516"/>
                  </a:lnTo>
                  <a:lnTo>
                    <a:pt x="594" y="516"/>
                  </a:lnTo>
                  <a:lnTo>
                    <a:pt x="588" y="516"/>
                  </a:lnTo>
                  <a:lnTo>
                    <a:pt x="588" y="522"/>
                  </a:lnTo>
                  <a:lnTo>
                    <a:pt x="582" y="516"/>
                  </a:lnTo>
                  <a:lnTo>
                    <a:pt x="588" y="510"/>
                  </a:lnTo>
                  <a:lnTo>
                    <a:pt x="582" y="510"/>
                  </a:lnTo>
                  <a:lnTo>
                    <a:pt x="582" y="504"/>
                  </a:lnTo>
                  <a:lnTo>
                    <a:pt x="576" y="498"/>
                  </a:lnTo>
                  <a:lnTo>
                    <a:pt x="570" y="498"/>
                  </a:lnTo>
                  <a:lnTo>
                    <a:pt x="570" y="492"/>
                  </a:lnTo>
                  <a:lnTo>
                    <a:pt x="564" y="492"/>
                  </a:lnTo>
                  <a:lnTo>
                    <a:pt x="570" y="486"/>
                  </a:lnTo>
                  <a:lnTo>
                    <a:pt x="564" y="486"/>
                  </a:lnTo>
                  <a:lnTo>
                    <a:pt x="564" y="480"/>
                  </a:lnTo>
                  <a:lnTo>
                    <a:pt x="564" y="474"/>
                  </a:lnTo>
                  <a:lnTo>
                    <a:pt x="558" y="468"/>
                  </a:lnTo>
                  <a:lnTo>
                    <a:pt x="564" y="468"/>
                  </a:lnTo>
                  <a:lnTo>
                    <a:pt x="564" y="462"/>
                  </a:lnTo>
                  <a:lnTo>
                    <a:pt x="570" y="462"/>
                  </a:lnTo>
                  <a:lnTo>
                    <a:pt x="570" y="456"/>
                  </a:lnTo>
                  <a:lnTo>
                    <a:pt x="570" y="450"/>
                  </a:lnTo>
                  <a:lnTo>
                    <a:pt x="576" y="450"/>
                  </a:lnTo>
                  <a:lnTo>
                    <a:pt x="576" y="444"/>
                  </a:lnTo>
                  <a:lnTo>
                    <a:pt x="582" y="438"/>
                  </a:lnTo>
                  <a:lnTo>
                    <a:pt x="588" y="438"/>
                  </a:lnTo>
                  <a:lnTo>
                    <a:pt x="588" y="444"/>
                  </a:lnTo>
                  <a:lnTo>
                    <a:pt x="594" y="438"/>
                  </a:lnTo>
                  <a:lnTo>
                    <a:pt x="594" y="432"/>
                  </a:lnTo>
                  <a:lnTo>
                    <a:pt x="600" y="432"/>
                  </a:lnTo>
                  <a:lnTo>
                    <a:pt x="600" y="426"/>
                  </a:lnTo>
                  <a:lnTo>
                    <a:pt x="600" y="420"/>
                  </a:lnTo>
                  <a:lnTo>
                    <a:pt x="606" y="420"/>
                  </a:lnTo>
                  <a:lnTo>
                    <a:pt x="600" y="420"/>
                  </a:lnTo>
                  <a:lnTo>
                    <a:pt x="600" y="414"/>
                  </a:lnTo>
                  <a:lnTo>
                    <a:pt x="606" y="408"/>
                  </a:lnTo>
                  <a:lnTo>
                    <a:pt x="612" y="408"/>
                  </a:lnTo>
                  <a:lnTo>
                    <a:pt x="612" y="414"/>
                  </a:lnTo>
                  <a:lnTo>
                    <a:pt x="618" y="414"/>
                  </a:lnTo>
                  <a:lnTo>
                    <a:pt x="624" y="414"/>
                  </a:lnTo>
                  <a:lnTo>
                    <a:pt x="630" y="414"/>
                  </a:lnTo>
                  <a:lnTo>
                    <a:pt x="636" y="414"/>
                  </a:lnTo>
                  <a:lnTo>
                    <a:pt x="642" y="408"/>
                  </a:lnTo>
                  <a:lnTo>
                    <a:pt x="648" y="408"/>
                  </a:lnTo>
                  <a:lnTo>
                    <a:pt x="660" y="408"/>
                  </a:lnTo>
                  <a:lnTo>
                    <a:pt x="666" y="402"/>
                  </a:lnTo>
                  <a:lnTo>
                    <a:pt x="672" y="402"/>
                  </a:lnTo>
                  <a:lnTo>
                    <a:pt x="684" y="396"/>
                  </a:lnTo>
                  <a:lnTo>
                    <a:pt x="690" y="396"/>
                  </a:lnTo>
                  <a:lnTo>
                    <a:pt x="696" y="396"/>
                  </a:lnTo>
                  <a:lnTo>
                    <a:pt x="702" y="396"/>
                  </a:lnTo>
                  <a:lnTo>
                    <a:pt x="708" y="396"/>
                  </a:lnTo>
                  <a:lnTo>
                    <a:pt x="714" y="390"/>
                  </a:lnTo>
                  <a:lnTo>
                    <a:pt x="714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32" y="384"/>
                  </a:lnTo>
                  <a:lnTo>
                    <a:pt x="738" y="378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56" y="372"/>
                  </a:lnTo>
                  <a:lnTo>
                    <a:pt x="762" y="366"/>
                  </a:lnTo>
                  <a:lnTo>
                    <a:pt x="768" y="366"/>
                  </a:lnTo>
                  <a:lnTo>
                    <a:pt x="774" y="366"/>
                  </a:lnTo>
                  <a:lnTo>
                    <a:pt x="774" y="360"/>
                  </a:lnTo>
                  <a:lnTo>
                    <a:pt x="780" y="366"/>
                  </a:lnTo>
                  <a:lnTo>
                    <a:pt x="786" y="366"/>
                  </a:lnTo>
                  <a:lnTo>
                    <a:pt x="786" y="360"/>
                  </a:lnTo>
                  <a:lnTo>
                    <a:pt x="792" y="354"/>
                  </a:lnTo>
                  <a:lnTo>
                    <a:pt x="786" y="354"/>
                  </a:lnTo>
                  <a:lnTo>
                    <a:pt x="792" y="348"/>
                  </a:lnTo>
                  <a:lnTo>
                    <a:pt x="798" y="348"/>
                  </a:lnTo>
                  <a:lnTo>
                    <a:pt x="804" y="348"/>
                  </a:lnTo>
                  <a:lnTo>
                    <a:pt x="810" y="342"/>
                  </a:lnTo>
                  <a:lnTo>
                    <a:pt x="816" y="342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28" y="336"/>
                  </a:lnTo>
                  <a:lnTo>
                    <a:pt x="834" y="336"/>
                  </a:lnTo>
                  <a:lnTo>
                    <a:pt x="840" y="336"/>
                  </a:lnTo>
                  <a:lnTo>
                    <a:pt x="846" y="330"/>
                  </a:lnTo>
                  <a:lnTo>
                    <a:pt x="852" y="330"/>
                  </a:lnTo>
                  <a:lnTo>
                    <a:pt x="858" y="330"/>
                  </a:lnTo>
                  <a:lnTo>
                    <a:pt x="864" y="324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0" y="312"/>
                  </a:lnTo>
                  <a:lnTo>
                    <a:pt x="876" y="312"/>
                  </a:lnTo>
                  <a:lnTo>
                    <a:pt x="882" y="312"/>
                  </a:lnTo>
                  <a:lnTo>
                    <a:pt x="882" y="318"/>
                  </a:lnTo>
                  <a:lnTo>
                    <a:pt x="888" y="312"/>
                  </a:lnTo>
                  <a:lnTo>
                    <a:pt x="894" y="306"/>
                  </a:lnTo>
                  <a:lnTo>
                    <a:pt x="900" y="306"/>
                  </a:lnTo>
                  <a:lnTo>
                    <a:pt x="906" y="306"/>
                  </a:lnTo>
                  <a:lnTo>
                    <a:pt x="912" y="300"/>
                  </a:lnTo>
                  <a:lnTo>
                    <a:pt x="906" y="294"/>
                  </a:lnTo>
                  <a:lnTo>
                    <a:pt x="912" y="276"/>
                  </a:lnTo>
                  <a:lnTo>
                    <a:pt x="912" y="252"/>
                  </a:lnTo>
                  <a:lnTo>
                    <a:pt x="906" y="234"/>
                  </a:lnTo>
                  <a:lnTo>
                    <a:pt x="912" y="228"/>
                  </a:lnTo>
                  <a:lnTo>
                    <a:pt x="912" y="216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24" y="192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36" y="186"/>
                  </a:lnTo>
                  <a:lnTo>
                    <a:pt x="930" y="180"/>
                  </a:lnTo>
                  <a:lnTo>
                    <a:pt x="930" y="174"/>
                  </a:lnTo>
                  <a:lnTo>
                    <a:pt x="936" y="156"/>
                  </a:lnTo>
                  <a:lnTo>
                    <a:pt x="930" y="156"/>
                  </a:lnTo>
                  <a:lnTo>
                    <a:pt x="924" y="150"/>
                  </a:lnTo>
                  <a:lnTo>
                    <a:pt x="942" y="78"/>
                  </a:lnTo>
                  <a:lnTo>
                    <a:pt x="948" y="78"/>
                  </a:lnTo>
                  <a:lnTo>
                    <a:pt x="954" y="66"/>
                  </a:lnTo>
                  <a:lnTo>
                    <a:pt x="954" y="72"/>
                  </a:lnTo>
                  <a:lnTo>
                    <a:pt x="954" y="66"/>
                  </a:lnTo>
                  <a:lnTo>
                    <a:pt x="960" y="66"/>
                  </a:lnTo>
                  <a:lnTo>
                    <a:pt x="966" y="66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54"/>
                  </a:lnTo>
                  <a:lnTo>
                    <a:pt x="990" y="54"/>
                  </a:lnTo>
                  <a:lnTo>
                    <a:pt x="996" y="48"/>
                  </a:lnTo>
                  <a:lnTo>
                    <a:pt x="1002" y="48"/>
                  </a:lnTo>
                  <a:lnTo>
                    <a:pt x="1032" y="48"/>
                  </a:lnTo>
                  <a:lnTo>
                    <a:pt x="1062" y="48"/>
                  </a:lnTo>
                  <a:lnTo>
                    <a:pt x="1068" y="78"/>
                  </a:lnTo>
                  <a:lnTo>
                    <a:pt x="1086" y="78"/>
                  </a:lnTo>
                  <a:lnTo>
                    <a:pt x="1092" y="66"/>
                  </a:lnTo>
                  <a:lnTo>
                    <a:pt x="1092" y="60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8" y="48"/>
                  </a:lnTo>
                  <a:lnTo>
                    <a:pt x="1104" y="48"/>
                  </a:lnTo>
                  <a:lnTo>
                    <a:pt x="1110" y="48"/>
                  </a:lnTo>
                  <a:lnTo>
                    <a:pt x="1110" y="42"/>
                  </a:lnTo>
                  <a:lnTo>
                    <a:pt x="1110" y="36"/>
                  </a:lnTo>
                  <a:lnTo>
                    <a:pt x="1116" y="36"/>
                  </a:lnTo>
                  <a:lnTo>
                    <a:pt x="1116" y="30"/>
                  </a:lnTo>
                  <a:lnTo>
                    <a:pt x="1122" y="30"/>
                  </a:lnTo>
                  <a:lnTo>
                    <a:pt x="1128" y="30"/>
                  </a:lnTo>
                  <a:lnTo>
                    <a:pt x="1134" y="30"/>
                  </a:lnTo>
                  <a:lnTo>
                    <a:pt x="1140" y="24"/>
                  </a:lnTo>
                  <a:lnTo>
                    <a:pt x="1152" y="18"/>
                  </a:lnTo>
                  <a:lnTo>
                    <a:pt x="1158" y="18"/>
                  </a:lnTo>
                  <a:lnTo>
                    <a:pt x="1152" y="12"/>
                  </a:lnTo>
                  <a:lnTo>
                    <a:pt x="1152" y="6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8"/>
                  </a:lnTo>
                  <a:lnTo>
                    <a:pt x="1170" y="12"/>
                  </a:lnTo>
                  <a:lnTo>
                    <a:pt x="1170" y="6"/>
                  </a:lnTo>
                  <a:lnTo>
                    <a:pt x="1176" y="6"/>
                  </a:lnTo>
                  <a:lnTo>
                    <a:pt x="1176" y="0"/>
                  </a:lnTo>
                  <a:lnTo>
                    <a:pt x="1182" y="6"/>
                  </a:lnTo>
                  <a:lnTo>
                    <a:pt x="1188" y="6"/>
                  </a:lnTo>
                  <a:lnTo>
                    <a:pt x="1188" y="0"/>
                  </a:lnTo>
                  <a:lnTo>
                    <a:pt x="1194" y="6"/>
                  </a:lnTo>
                  <a:lnTo>
                    <a:pt x="1200" y="12"/>
                  </a:lnTo>
                  <a:lnTo>
                    <a:pt x="1206" y="18"/>
                  </a:lnTo>
                  <a:lnTo>
                    <a:pt x="1212" y="18"/>
                  </a:lnTo>
                  <a:lnTo>
                    <a:pt x="1218" y="24"/>
                  </a:lnTo>
                  <a:lnTo>
                    <a:pt x="1236" y="36"/>
                  </a:lnTo>
                  <a:lnTo>
                    <a:pt x="1242" y="36"/>
                  </a:lnTo>
                  <a:lnTo>
                    <a:pt x="1248" y="42"/>
                  </a:lnTo>
                  <a:lnTo>
                    <a:pt x="1248" y="48"/>
                  </a:lnTo>
                  <a:lnTo>
                    <a:pt x="1260" y="48"/>
                  </a:lnTo>
                  <a:lnTo>
                    <a:pt x="1260" y="108"/>
                  </a:lnTo>
                  <a:lnTo>
                    <a:pt x="1266" y="168"/>
                  </a:lnTo>
                  <a:lnTo>
                    <a:pt x="1278" y="234"/>
                  </a:lnTo>
                  <a:lnTo>
                    <a:pt x="1284" y="240"/>
                  </a:lnTo>
                  <a:lnTo>
                    <a:pt x="1290" y="264"/>
                  </a:lnTo>
                  <a:lnTo>
                    <a:pt x="1296" y="288"/>
                  </a:lnTo>
                  <a:lnTo>
                    <a:pt x="1296" y="300"/>
                  </a:lnTo>
                  <a:lnTo>
                    <a:pt x="1296" y="312"/>
                  </a:lnTo>
                  <a:lnTo>
                    <a:pt x="1296" y="324"/>
                  </a:lnTo>
                  <a:lnTo>
                    <a:pt x="1296" y="354"/>
                  </a:lnTo>
                  <a:lnTo>
                    <a:pt x="1302" y="366"/>
                  </a:lnTo>
                  <a:lnTo>
                    <a:pt x="1308" y="372"/>
                  </a:lnTo>
                  <a:lnTo>
                    <a:pt x="1308" y="384"/>
                  </a:lnTo>
                  <a:lnTo>
                    <a:pt x="1314" y="390"/>
                  </a:lnTo>
                  <a:lnTo>
                    <a:pt x="1308" y="408"/>
                  </a:lnTo>
                  <a:lnTo>
                    <a:pt x="1314" y="408"/>
                  </a:lnTo>
                  <a:lnTo>
                    <a:pt x="1314" y="414"/>
                  </a:lnTo>
                  <a:lnTo>
                    <a:pt x="1308" y="420"/>
                  </a:lnTo>
                  <a:lnTo>
                    <a:pt x="1308" y="432"/>
                  </a:lnTo>
                  <a:lnTo>
                    <a:pt x="1320" y="432"/>
                  </a:lnTo>
                  <a:lnTo>
                    <a:pt x="1320" y="444"/>
                  </a:lnTo>
                  <a:lnTo>
                    <a:pt x="1332" y="444"/>
                  </a:lnTo>
                  <a:lnTo>
                    <a:pt x="1338" y="450"/>
                  </a:lnTo>
                  <a:lnTo>
                    <a:pt x="1344" y="456"/>
                  </a:lnTo>
                  <a:lnTo>
                    <a:pt x="1344" y="462"/>
                  </a:lnTo>
                  <a:lnTo>
                    <a:pt x="1344" y="474"/>
                  </a:lnTo>
                  <a:lnTo>
                    <a:pt x="1350" y="474"/>
                  </a:lnTo>
                  <a:lnTo>
                    <a:pt x="1368" y="504"/>
                  </a:lnTo>
                  <a:lnTo>
                    <a:pt x="1374" y="534"/>
                  </a:lnTo>
                  <a:lnTo>
                    <a:pt x="1380" y="558"/>
                  </a:lnTo>
                  <a:lnTo>
                    <a:pt x="1386" y="576"/>
                  </a:lnTo>
                  <a:lnTo>
                    <a:pt x="1386" y="600"/>
                  </a:lnTo>
                  <a:lnTo>
                    <a:pt x="1386" y="624"/>
                  </a:lnTo>
                  <a:lnTo>
                    <a:pt x="1386" y="648"/>
                  </a:lnTo>
                  <a:lnTo>
                    <a:pt x="1386" y="684"/>
                  </a:lnTo>
                  <a:lnTo>
                    <a:pt x="1380" y="684"/>
                  </a:lnTo>
                  <a:lnTo>
                    <a:pt x="1374" y="696"/>
                  </a:lnTo>
                  <a:lnTo>
                    <a:pt x="1368" y="702"/>
                  </a:lnTo>
                  <a:lnTo>
                    <a:pt x="1362" y="708"/>
                  </a:lnTo>
                  <a:lnTo>
                    <a:pt x="1356" y="714"/>
                  </a:lnTo>
                  <a:lnTo>
                    <a:pt x="1350" y="720"/>
                  </a:lnTo>
                  <a:lnTo>
                    <a:pt x="1338" y="720"/>
                  </a:lnTo>
                  <a:lnTo>
                    <a:pt x="1338" y="738"/>
                  </a:lnTo>
                  <a:lnTo>
                    <a:pt x="1362" y="750"/>
                  </a:lnTo>
                  <a:lnTo>
                    <a:pt x="1362" y="756"/>
                  </a:lnTo>
                  <a:lnTo>
                    <a:pt x="1374" y="756"/>
                  </a:lnTo>
                  <a:lnTo>
                    <a:pt x="1410" y="774"/>
                  </a:lnTo>
                  <a:lnTo>
                    <a:pt x="1446" y="774"/>
                  </a:lnTo>
                  <a:lnTo>
                    <a:pt x="1482" y="768"/>
                  </a:lnTo>
                  <a:lnTo>
                    <a:pt x="1500" y="774"/>
                  </a:lnTo>
                  <a:lnTo>
                    <a:pt x="1512" y="78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6" name="Freeform 11">
              <a:extLst>
                <a:ext uri="{FF2B5EF4-FFF2-40B4-BE49-F238E27FC236}">
                  <a16:creationId xmlns:a16="http://schemas.microsoft.com/office/drawing/2014/main" id="{1FF8E66F-B850-456A-B132-C45FEEDE95C6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2475" y="2345643"/>
              <a:ext cx="445003" cy="603855"/>
            </a:xfrm>
            <a:custGeom>
              <a:avLst/>
              <a:gdLst>
                <a:gd name="T0" fmla="*/ 47 w 840"/>
                <a:gd name="T1" fmla="*/ 98 h 1134"/>
                <a:gd name="T2" fmla="*/ 41 w 840"/>
                <a:gd name="T3" fmla="*/ 98 h 1134"/>
                <a:gd name="T4" fmla="*/ 37 w 840"/>
                <a:gd name="T5" fmla="*/ 98 h 1134"/>
                <a:gd name="T6" fmla="*/ 29 w 840"/>
                <a:gd name="T7" fmla="*/ 97 h 1134"/>
                <a:gd name="T8" fmla="*/ 27 w 840"/>
                <a:gd name="T9" fmla="*/ 94 h 1134"/>
                <a:gd name="T10" fmla="*/ 26 w 840"/>
                <a:gd name="T11" fmla="*/ 93 h 1134"/>
                <a:gd name="T12" fmla="*/ 26 w 840"/>
                <a:gd name="T13" fmla="*/ 83 h 1134"/>
                <a:gd name="T14" fmla="*/ 26 w 840"/>
                <a:gd name="T15" fmla="*/ 81 h 1134"/>
                <a:gd name="T16" fmla="*/ 23 w 840"/>
                <a:gd name="T17" fmla="*/ 77 h 1134"/>
                <a:gd name="T18" fmla="*/ 19 w 840"/>
                <a:gd name="T19" fmla="*/ 75 h 1134"/>
                <a:gd name="T20" fmla="*/ 16 w 840"/>
                <a:gd name="T21" fmla="*/ 72 h 1134"/>
                <a:gd name="T22" fmla="*/ 13 w 840"/>
                <a:gd name="T23" fmla="*/ 70 h 1134"/>
                <a:gd name="T24" fmla="*/ 17 w 840"/>
                <a:gd name="T25" fmla="*/ 67 h 1134"/>
                <a:gd name="T26" fmla="*/ 19 w 840"/>
                <a:gd name="T27" fmla="*/ 63 h 1134"/>
                <a:gd name="T28" fmla="*/ 20 w 840"/>
                <a:gd name="T29" fmla="*/ 59 h 1134"/>
                <a:gd name="T30" fmla="*/ 19 w 840"/>
                <a:gd name="T31" fmla="*/ 55 h 1134"/>
                <a:gd name="T32" fmla="*/ 17 w 840"/>
                <a:gd name="T33" fmla="*/ 47 h 1134"/>
                <a:gd name="T34" fmla="*/ 8 w 840"/>
                <a:gd name="T35" fmla="*/ 45 h 1134"/>
                <a:gd name="T36" fmla="*/ 4 w 840"/>
                <a:gd name="T37" fmla="*/ 39 h 1134"/>
                <a:gd name="T38" fmla="*/ 2 w 840"/>
                <a:gd name="T39" fmla="*/ 35 h 1134"/>
                <a:gd name="T40" fmla="*/ 0 w 840"/>
                <a:gd name="T41" fmla="*/ 31 h 1134"/>
                <a:gd name="T42" fmla="*/ 2 w 840"/>
                <a:gd name="T43" fmla="*/ 27 h 1134"/>
                <a:gd name="T44" fmla="*/ 5 w 840"/>
                <a:gd name="T45" fmla="*/ 24 h 1134"/>
                <a:gd name="T46" fmla="*/ 10 w 840"/>
                <a:gd name="T47" fmla="*/ 26 h 1134"/>
                <a:gd name="T48" fmla="*/ 7 w 840"/>
                <a:gd name="T49" fmla="*/ 20 h 1134"/>
                <a:gd name="T50" fmla="*/ 12 w 840"/>
                <a:gd name="T51" fmla="*/ 12 h 1134"/>
                <a:gd name="T52" fmla="*/ 19 w 840"/>
                <a:gd name="T53" fmla="*/ 10 h 1134"/>
                <a:gd name="T54" fmla="*/ 20 w 840"/>
                <a:gd name="T55" fmla="*/ 13 h 1134"/>
                <a:gd name="T56" fmla="*/ 22 w 840"/>
                <a:gd name="T57" fmla="*/ 11 h 1134"/>
                <a:gd name="T58" fmla="*/ 25 w 840"/>
                <a:gd name="T59" fmla="*/ 7 h 1134"/>
                <a:gd name="T60" fmla="*/ 29 w 840"/>
                <a:gd name="T61" fmla="*/ 2 h 1134"/>
                <a:gd name="T62" fmla="*/ 33 w 840"/>
                <a:gd name="T63" fmla="*/ 1 h 1134"/>
                <a:gd name="T64" fmla="*/ 37 w 840"/>
                <a:gd name="T65" fmla="*/ 2 h 1134"/>
                <a:gd name="T66" fmla="*/ 39 w 840"/>
                <a:gd name="T67" fmla="*/ 4 h 1134"/>
                <a:gd name="T68" fmla="*/ 43 w 840"/>
                <a:gd name="T69" fmla="*/ 5 h 1134"/>
                <a:gd name="T70" fmla="*/ 46 w 840"/>
                <a:gd name="T71" fmla="*/ 11 h 1134"/>
                <a:gd name="T72" fmla="*/ 49 w 840"/>
                <a:gd name="T73" fmla="*/ 12 h 1134"/>
                <a:gd name="T74" fmla="*/ 52 w 840"/>
                <a:gd name="T75" fmla="*/ 15 h 1134"/>
                <a:gd name="T76" fmla="*/ 54 w 840"/>
                <a:gd name="T77" fmla="*/ 18 h 1134"/>
                <a:gd name="T78" fmla="*/ 55 w 840"/>
                <a:gd name="T79" fmla="*/ 22 h 1134"/>
                <a:gd name="T80" fmla="*/ 56 w 840"/>
                <a:gd name="T81" fmla="*/ 26 h 1134"/>
                <a:gd name="T82" fmla="*/ 55 w 840"/>
                <a:gd name="T83" fmla="*/ 32 h 1134"/>
                <a:gd name="T84" fmla="*/ 55 w 840"/>
                <a:gd name="T85" fmla="*/ 36 h 1134"/>
                <a:gd name="T86" fmla="*/ 54 w 840"/>
                <a:gd name="T87" fmla="*/ 39 h 1134"/>
                <a:gd name="T88" fmla="*/ 56 w 840"/>
                <a:gd name="T89" fmla="*/ 39 h 1134"/>
                <a:gd name="T90" fmla="*/ 58 w 840"/>
                <a:gd name="T91" fmla="*/ 39 h 1134"/>
                <a:gd name="T92" fmla="*/ 61 w 840"/>
                <a:gd name="T93" fmla="*/ 39 h 1134"/>
                <a:gd name="T94" fmla="*/ 60 w 840"/>
                <a:gd name="T95" fmla="*/ 49 h 1134"/>
                <a:gd name="T96" fmla="*/ 59 w 840"/>
                <a:gd name="T97" fmla="*/ 53 h 1134"/>
                <a:gd name="T98" fmla="*/ 59 w 840"/>
                <a:gd name="T99" fmla="*/ 56 h 1134"/>
                <a:gd name="T100" fmla="*/ 60 w 840"/>
                <a:gd name="T101" fmla="*/ 59 h 1134"/>
                <a:gd name="T102" fmla="*/ 64 w 840"/>
                <a:gd name="T103" fmla="*/ 61 h 1134"/>
                <a:gd name="T104" fmla="*/ 69 w 840"/>
                <a:gd name="T105" fmla="*/ 63 h 1134"/>
                <a:gd name="T106" fmla="*/ 72 w 840"/>
                <a:gd name="T107" fmla="*/ 69 h 1134"/>
                <a:gd name="T108" fmla="*/ 72 w 840"/>
                <a:gd name="T109" fmla="*/ 73 h 1134"/>
                <a:gd name="T110" fmla="*/ 72 w 840"/>
                <a:gd name="T111" fmla="*/ 83 h 1134"/>
                <a:gd name="T112" fmla="*/ 63 w 840"/>
                <a:gd name="T113" fmla="*/ 88 h 1134"/>
                <a:gd name="T114" fmla="*/ 52 w 840"/>
                <a:gd name="T115" fmla="*/ 95 h 11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40"/>
                <a:gd name="T175" fmla="*/ 0 h 1134"/>
                <a:gd name="T176" fmla="*/ 840 w 840"/>
                <a:gd name="T177" fmla="*/ 1134 h 11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40" h="1134">
                  <a:moveTo>
                    <a:pt x="564" y="1110"/>
                  </a:moveTo>
                  <a:lnTo>
                    <a:pt x="564" y="1104"/>
                  </a:lnTo>
                  <a:lnTo>
                    <a:pt x="558" y="1104"/>
                  </a:lnTo>
                  <a:lnTo>
                    <a:pt x="552" y="1110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28" y="1128"/>
                  </a:lnTo>
                  <a:lnTo>
                    <a:pt x="498" y="1128"/>
                  </a:lnTo>
                  <a:lnTo>
                    <a:pt x="492" y="1128"/>
                  </a:lnTo>
                  <a:lnTo>
                    <a:pt x="486" y="1128"/>
                  </a:lnTo>
                  <a:lnTo>
                    <a:pt x="480" y="1128"/>
                  </a:lnTo>
                  <a:lnTo>
                    <a:pt x="474" y="1134"/>
                  </a:lnTo>
                  <a:lnTo>
                    <a:pt x="468" y="1134"/>
                  </a:lnTo>
                  <a:lnTo>
                    <a:pt x="462" y="1134"/>
                  </a:lnTo>
                  <a:lnTo>
                    <a:pt x="456" y="1134"/>
                  </a:lnTo>
                  <a:lnTo>
                    <a:pt x="456" y="1128"/>
                  </a:lnTo>
                  <a:lnTo>
                    <a:pt x="450" y="1122"/>
                  </a:lnTo>
                  <a:lnTo>
                    <a:pt x="426" y="1128"/>
                  </a:lnTo>
                  <a:lnTo>
                    <a:pt x="414" y="1128"/>
                  </a:lnTo>
                  <a:lnTo>
                    <a:pt x="348" y="1134"/>
                  </a:lnTo>
                  <a:lnTo>
                    <a:pt x="348" y="1128"/>
                  </a:lnTo>
                  <a:lnTo>
                    <a:pt x="342" y="1128"/>
                  </a:lnTo>
                  <a:lnTo>
                    <a:pt x="336" y="1122"/>
                  </a:lnTo>
                  <a:lnTo>
                    <a:pt x="330" y="1122"/>
                  </a:lnTo>
                  <a:lnTo>
                    <a:pt x="324" y="1116"/>
                  </a:lnTo>
                  <a:lnTo>
                    <a:pt x="324" y="1110"/>
                  </a:lnTo>
                  <a:lnTo>
                    <a:pt x="318" y="1110"/>
                  </a:lnTo>
                  <a:lnTo>
                    <a:pt x="318" y="1104"/>
                  </a:lnTo>
                  <a:lnTo>
                    <a:pt x="312" y="1092"/>
                  </a:lnTo>
                  <a:lnTo>
                    <a:pt x="306" y="1086"/>
                  </a:lnTo>
                  <a:lnTo>
                    <a:pt x="306" y="1080"/>
                  </a:lnTo>
                  <a:lnTo>
                    <a:pt x="312" y="1074"/>
                  </a:lnTo>
                  <a:lnTo>
                    <a:pt x="306" y="1068"/>
                  </a:lnTo>
                  <a:lnTo>
                    <a:pt x="300" y="1074"/>
                  </a:lnTo>
                  <a:lnTo>
                    <a:pt x="300" y="1068"/>
                  </a:lnTo>
                  <a:lnTo>
                    <a:pt x="294" y="1068"/>
                  </a:lnTo>
                  <a:lnTo>
                    <a:pt x="294" y="1056"/>
                  </a:lnTo>
                  <a:lnTo>
                    <a:pt x="294" y="1026"/>
                  </a:lnTo>
                  <a:lnTo>
                    <a:pt x="294" y="1020"/>
                  </a:lnTo>
                  <a:lnTo>
                    <a:pt x="294" y="1008"/>
                  </a:lnTo>
                  <a:lnTo>
                    <a:pt x="294" y="966"/>
                  </a:lnTo>
                  <a:lnTo>
                    <a:pt x="294" y="960"/>
                  </a:lnTo>
                  <a:lnTo>
                    <a:pt x="294" y="954"/>
                  </a:lnTo>
                  <a:lnTo>
                    <a:pt x="294" y="948"/>
                  </a:lnTo>
                  <a:lnTo>
                    <a:pt x="294" y="942"/>
                  </a:lnTo>
                  <a:lnTo>
                    <a:pt x="300" y="936"/>
                  </a:lnTo>
                  <a:lnTo>
                    <a:pt x="300" y="930"/>
                  </a:lnTo>
                  <a:lnTo>
                    <a:pt x="294" y="930"/>
                  </a:lnTo>
                  <a:lnTo>
                    <a:pt x="288" y="930"/>
                  </a:lnTo>
                  <a:lnTo>
                    <a:pt x="288" y="924"/>
                  </a:lnTo>
                  <a:lnTo>
                    <a:pt x="282" y="918"/>
                  </a:lnTo>
                  <a:lnTo>
                    <a:pt x="282" y="906"/>
                  </a:lnTo>
                  <a:lnTo>
                    <a:pt x="282" y="900"/>
                  </a:lnTo>
                  <a:lnTo>
                    <a:pt x="264" y="894"/>
                  </a:lnTo>
                  <a:lnTo>
                    <a:pt x="252" y="882"/>
                  </a:lnTo>
                  <a:lnTo>
                    <a:pt x="246" y="876"/>
                  </a:lnTo>
                  <a:lnTo>
                    <a:pt x="240" y="876"/>
                  </a:lnTo>
                  <a:lnTo>
                    <a:pt x="240" y="870"/>
                  </a:lnTo>
                  <a:lnTo>
                    <a:pt x="234" y="870"/>
                  </a:lnTo>
                  <a:lnTo>
                    <a:pt x="222" y="864"/>
                  </a:lnTo>
                  <a:lnTo>
                    <a:pt x="216" y="864"/>
                  </a:lnTo>
                  <a:lnTo>
                    <a:pt x="210" y="858"/>
                  </a:lnTo>
                  <a:lnTo>
                    <a:pt x="210" y="852"/>
                  </a:lnTo>
                  <a:lnTo>
                    <a:pt x="210" y="846"/>
                  </a:lnTo>
                  <a:lnTo>
                    <a:pt x="198" y="840"/>
                  </a:lnTo>
                  <a:lnTo>
                    <a:pt x="186" y="834"/>
                  </a:lnTo>
                  <a:lnTo>
                    <a:pt x="180" y="828"/>
                  </a:lnTo>
                  <a:lnTo>
                    <a:pt x="180" y="822"/>
                  </a:lnTo>
                  <a:lnTo>
                    <a:pt x="174" y="822"/>
                  </a:lnTo>
                  <a:lnTo>
                    <a:pt x="162" y="816"/>
                  </a:lnTo>
                  <a:lnTo>
                    <a:pt x="156" y="810"/>
                  </a:lnTo>
                  <a:lnTo>
                    <a:pt x="150" y="810"/>
                  </a:lnTo>
                  <a:lnTo>
                    <a:pt x="144" y="798"/>
                  </a:lnTo>
                  <a:lnTo>
                    <a:pt x="138" y="786"/>
                  </a:lnTo>
                  <a:lnTo>
                    <a:pt x="138" y="780"/>
                  </a:lnTo>
                  <a:lnTo>
                    <a:pt x="144" y="774"/>
                  </a:lnTo>
                  <a:lnTo>
                    <a:pt x="150" y="768"/>
                  </a:lnTo>
                  <a:lnTo>
                    <a:pt x="192" y="768"/>
                  </a:lnTo>
                  <a:lnTo>
                    <a:pt x="210" y="762"/>
                  </a:lnTo>
                  <a:lnTo>
                    <a:pt x="216" y="756"/>
                  </a:lnTo>
                  <a:lnTo>
                    <a:pt x="216" y="744"/>
                  </a:lnTo>
                  <a:lnTo>
                    <a:pt x="216" y="738"/>
                  </a:lnTo>
                  <a:lnTo>
                    <a:pt x="216" y="732"/>
                  </a:lnTo>
                  <a:lnTo>
                    <a:pt x="216" y="726"/>
                  </a:lnTo>
                  <a:lnTo>
                    <a:pt x="216" y="720"/>
                  </a:lnTo>
                  <a:lnTo>
                    <a:pt x="228" y="702"/>
                  </a:lnTo>
                  <a:lnTo>
                    <a:pt x="234" y="696"/>
                  </a:lnTo>
                  <a:lnTo>
                    <a:pt x="240" y="690"/>
                  </a:lnTo>
                  <a:lnTo>
                    <a:pt x="240" y="684"/>
                  </a:lnTo>
                  <a:lnTo>
                    <a:pt x="234" y="678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0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22" y="630"/>
                  </a:lnTo>
                  <a:lnTo>
                    <a:pt x="222" y="618"/>
                  </a:lnTo>
                  <a:lnTo>
                    <a:pt x="222" y="582"/>
                  </a:lnTo>
                  <a:lnTo>
                    <a:pt x="228" y="582"/>
                  </a:lnTo>
                  <a:lnTo>
                    <a:pt x="222" y="564"/>
                  </a:lnTo>
                  <a:lnTo>
                    <a:pt x="210" y="552"/>
                  </a:lnTo>
                  <a:lnTo>
                    <a:pt x="192" y="540"/>
                  </a:lnTo>
                  <a:lnTo>
                    <a:pt x="174" y="540"/>
                  </a:lnTo>
                  <a:lnTo>
                    <a:pt x="150" y="534"/>
                  </a:lnTo>
                  <a:lnTo>
                    <a:pt x="126" y="528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90" y="516"/>
                  </a:lnTo>
                  <a:lnTo>
                    <a:pt x="78" y="504"/>
                  </a:lnTo>
                  <a:lnTo>
                    <a:pt x="72" y="498"/>
                  </a:lnTo>
                  <a:lnTo>
                    <a:pt x="66" y="486"/>
                  </a:lnTo>
                  <a:lnTo>
                    <a:pt x="54" y="468"/>
                  </a:lnTo>
                  <a:lnTo>
                    <a:pt x="54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42" y="438"/>
                  </a:lnTo>
                  <a:lnTo>
                    <a:pt x="36" y="438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24" y="384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2" y="360"/>
                  </a:lnTo>
                  <a:lnTo>
                    <a:pt x="6" y="360"/>
                  </a:lnTo>
                  <a:lnTo>
                    <a:pt x="0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0"/>
                  </a:lnTo>
                  <a:lnTo>
                    <a:pt x="18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8" y="270"/>
                  </a:lnTo>
                  <a:lnTo>
                    <a:pt x="90" y="276"/>
                  </a:lnTo>
                  <a:lnTo>
                    <a:pt x="108" y="294"/>
                  </a:lnTo>
                  <a:lnTo>
                    <a:pt x="114" y="294"/>
                  </a:lnTo>
                  <a:lnTo>
                    <a:pt x="114" y="276"/>
                  </a:lnTo>
                  <a:lnTo>
                    <a:pt x="114" y="270"/>
                  </a:lnTo>
                  <a:lnTo>
                    <a:pt x="102" y="258"/>
                  </a:lnTo>
                  <a:lnTo>
                    <a:pt x="96" y="246"/>
                  </a:lnTo>
                  <a:lnTo>
                    <a:pt x="90" y="234"/>
                  </a:lnTo>
                  <a:lnTo>
                    <a:pt x="78" y="228"/>
                  </a:lnTo>
                  <a:lnTo>
                    <a:pt x="72" y="216"/>
                  </a:lnTo>
                  <a:lnTo>
                    <a:pt x="66" y="192"/>
                  </a:lnTo>
                  <a:lnTo>
                    <a:pt x="90" y="174"/>
                  </a:lnTo>
                  <a:lnTo>
                    <a:pt x="120" y="150"/>
                  </a:lnTo>
                  <a:lnTo>
                    <a:pt x="132" y="150"/>
                  </a:lnTo>
                  <a:lnTo>
                    <a:pt x="138" y="144"/>
                  </a:lnTo>
                  <a:lnTo>
                    <a:pt x="138" y="138"/>
                  </a:lnTo>
                  <a:lnTo>
                    <a:pt x="156" y="126"/>
                  </a:lnTo>
                  <a:lnTo>
                    <a:pt x="180" y="114"/>
                  </a:lnTo>
                  <a:lnTo>
                    <a:pt x="216" y="114"/>
                  </a:lnTo>
                  <a:lnTo>
                    <a:pt x="222" y="114"/>
                  </a:lnTo>
                  <a:lnTo>
                    <a:pt x="222" y="120"/>
                  </a:lnTo>
                  <a:lnTo>
                    <a:pt x="222" y="126"/>
                  </a:lnTo>
                  <a:lnTo>
                    <a:pt x="222" y="132"/>
                  </a:lnTo>
                  <a:lnTo>
                    <a:pt x="228" y="138"/>
                  </a:lnTo>
                  <a:lnTo>
                    <a:pt x="228" y="144"/>
                  </a:lnTo>
                  <a:lnTo>
                    <a:pt x="228" y="150"/>
                  </a:lnTo>
                  <a:lnTo>
                    <a:pt x="234" y="150"/>
                  </a:lnTo>
                  <a:lnTo>
                    <a:pt x="234" y="144"/>
                  </a:lnTo>
                  <a:lnTo>
                    <a:pt x="240" y="144"/>
                  </a:lnTo>
                  <a:lnTo>
                    <a:pt x="246" y="144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58" y="126"/>
                  </a:lnTo>
                  <a:lnTo>
                    <a:pt x="258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76" y="96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6" y="72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36"/>
                  </a:lnTo>
                  <a:lnTo>
                    <a:pt x="330" y="24"/>
                  </a:lnTo>
                  <a:lnTo>
                    <a:pt x="330" y="18"/>
                  </a:lnTo>
                  <a:lnTo>
                    <a:pt x="330" y="12"/>
                  </a:lnTo>
                  <a:lnTo>
                    <a:pt x="336" y="6"/>
                  </a:lnTo>
                  <a:lnTo>
                    <a:pt x="366" y="0"/>
                  </a:lnTo>
                  <a:lnTo>
                    <a:pt x="372" y="6"/>
                  </a:lnTo>
                  <a:lnTo>
                    <a:pt x="384" y="12"/>
                  </a:lnTo>
                  <a:lnTo>
                    <a:pt x="402" y="12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18"/>
                  </a:lnTo>
                  <a:lnTo>
                    <a:pt x="420" y="18"/>
                  </a:lnTo>
                  <a:lnTo>
                    <a:pt x="426" y="24"/>
                  </a:lnTo>
                  <a:lnTo>
                    <a:pt x="432" y="30"/>
                  </a:lnTo>
                  <a:lnTo>
                    <a:pt x="438" y="36"/>
                  </a:lnTo>
                  <a:lnTo>
                    <a:pt x="444" y="42"/>
                  </a:lnTo>
                  <a:lnTo>
                    <a:pt x="450" y="42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16" y="78"/>
                  </a:lnTo>
                  <a:lnTo>
                    <a:pt x="522" y="102"/>
                  </a:lnTo>
                  <a:lnTo>
                    <a:pt x="522" y="108"/>
                  </a:lnTo>
                  <a:lnTo>
                    <a:pt x="528" y="126"/>
                  </a:lnTo>
                  <a:lnTo>
                    <a:pt x="534" y="126"/>
                  </a:lnTo>
                  <a:lnTo>
                    <a:pt x="540" y="120"/>
                  </a:lnTo>
                  <a:lnTo>
                    <a:pt x="546" y="126"/>
                  </a:lnTo>
                  <a:lnTo>
                    <a:pt x="552" y="126"/>
                  </a:lnTo>
                  <a:lnTo>
                    <a:pt x="558" y="132"/>
                  </a:lnTo>
                  <a:lnTo>
                    <a:pt x="564" y="138"/>
                  </a:lnTo>
                  <a:lnTo>
                    <a:pt x="570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594" y="168"/>
                  </a:lnTo>
                  <a:lnTo>
                    <a:pt x="600" y="174"/>
                  </a:lnTo>
                  <a:lnTo>
                    <a:pt x="606" y="180"/>
                  </a:lnTo>
                  <a:lnTo>
                    <a:pt x="606" y="186"/>
                  </a:lnTo>
                  <a:lnTo>
                    <a:pt x="612" y="192"/>
                  </a:lnTo>
                  <a:lnTo>
                    <a:pt x="612" y="198"/>
                  </a:lnTo>
                  <a:lnTo>
                    <a:pt x="624" y="204"/>
                  </a:lnTo>
                  <a:lnTo>
                    <a:pt x="624" y="210"/>
                  </a:lnTo>
                  <a:lnTo>
                    <a:pt x="630" y="216"/>
                  </a:lnTo>
                  <a:lnTo>
                    <a:pt x="636" y="222"/>
                  </a:lnTo>
                  <a:lnTo>
                    <a:pt x="636" y="228"/>
                  </a:lnTo>
                  <a:lnTo>
                    <a:pt x="636" y="234"/>
                  </a:lnTo>
                  <a:lnTo>
                    <a:pt x="636" y="252"/>
                  </a:lnTo>
                  <a:lnTo>
                    <a:pt x="636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42" y="276"/>
                  </a:lnTo>
                  <a:lnTo>
                    <a:pt x="642" y="282"/>
                  </a:lnTo>
                  <a:lnTo>
                    <a:pt x="642" y="288"/>
                  </a:lnTo>
                  <a:lnTo>
                    <a:pt x="642" y="300"/>
                  </a:lnTo>
                  <a:lnTo>
                    <a:pt x="642" y="306"/>
                  </a:lnTo>
                  <a:lnTo>
                    <a:pt x="636" y="312"/>
                  </a:lnTo>
                  <a:lnTo>
                    <a:pt x="636" y="324"/>
                  </a:lnTo>
                  <a:lnTo>
                    <a:pt x="636" y="342"/>
                  </a:lnTo>
                  <a:lnTo>
                    <a:pt x="630" y="354"/>
                  </a:lnTo>
                  <a:lnTo>
                    <a:pt x="630" y="366"/>
                  </a:lnTo>
                  <a:lnTo>
                    <a:pt x="624" y="378"/>
                  </a:lnTo>
                  <a:lnTo>
                    <a:pt x="624" y="384"/>
                  </a:lnTo>
                  <a:lnTo>
                    <a:pt x="636" y="396"/>
                  </a:lnTo>
                  <a:lnTo>
                    <a:pt x="636" y="402"/>
                  </a:lnTo>
                  <a:lnTo>
                    <a:pt x="636" y="408"/>
                  </a:lnTo>
                  <a:lnTo>
                    <a:pt x="630" y="414"/>
                  </a:lnTo>
                  <a:lnTo>
                    <a:pt x="630" y="420"/>
                  </a:lnTo>
                  <a:lnTo>
                    <a:pt x="630" y="426"/>
                  </a:lnTo>
                  <a:lnTo>
                    <a:pt x="630" y="432"/>
                  </a:lnTo>
                  <a:lnTo>
                    <a:pt x="624" y="438"/>
                  </a:lnTo>
                  <a:lnTo>
                    <a:pt x="624" y="444"/>
                  </a:lnTo>
                  <a:lnTo>
                    <a:pt x="624" y="450"/>
                  </a:lnTo>
                  <a:lnTo>
                    <a:pt x="630" y="450"/>
                  </a:lnTo>
                  <a:lnTo>
                    <a:pt x="630" y="456"/>
                  </a:lnTo>
                  <a:lnTo>
                    <a:pt x="630" y="462"/>
                  </a:lnTo>
                  <a:lnTo>
                    <a:pt x="636" y="468"/>
                  </a:lnTo>
                  <a:lnTo>
                    <a:pt x="642" y="456"/>
                  </a:lnTo>
                  <a:lnTo>
                    <a:pt x="642" y="450"/>
                  </a:lnTo>
                  <a:lnTo>
                    <a:pt x="648" y="450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60" y="444"/>
                  </a:lnTo>
                  <a:lnTo>
                    <a:pt x="666" y="450"/>
                  </a:lnTo>
                  <a:lnTo>
                    <a:pt x="672" y="444"/>
                  </a:lnTo>
                  <a:lnTo>
                    <a:pt x="678" y="444"/>
                  </a:lnTo>
                  <a:lnTo>
                    <a:pt x="684" y="438"/>
                  </a:lnTo>
                  <a:lnTo>
                    <a:pt x="690" y="438"/>
                  </a:lnTo>
                  <a:lnTo>
                    <a:pt x="696" y="438"/>
                  </a:lnTo>
                  <a:lnTo>
                    <a:pt x="702" y="444"/>
                  </a:lnTo>
                  <a:lnTo>
                    <a:pt x="702" y="450"/>
                  </a:lnTo>
                  <a:lnTo>
                    <a:pt x="708" y="450"/>
                  </a:lnTo>
                  <a:lnTo>
                    <a:pt x="708" y="456"/>
                  </a:lnTo>
                  <a:lnTo>
                    <a:pt x="708" y="462"/>
                  </a:lnTo>
                  <a:lnTo>
                    <a:pt x="708" y="468"/>
                  </a:lnTo>
                  <a:lnTo>
                    <a:pt x="708" y="504"/>
                  </a:lnTo>
                  <a:lnTo>
                    <a:pt x="696" y="564"/>
                  </a:lnTo>
                  <a:lnTo>
                    <a:pt x="696" y="582"/>
                  </a:lnTo>
                  <a:lnTo>
                    <a:pt x="696" y="600"/>
                  </a:lnTo>
                  <a:lnTo>
                    <a:pt x="690" y="606"/>
                  </a:lnTo>
                  <a:lnTo>
                    <a:pt x="684" y="606"/>
                  </a:lnTo>
                  <a:lnTo>
                    <a:pt x="690" y="612"/>
                  </a:lnTo>
                  <a:lnTo>
                    <a:pt x="684" y="612"/>
                  </a:lnTo>
                  <a:lnTo>
                    <a:pt x="678" y="618"/>
                  </a:lnTo>
                  <a:lnTo>
                    <a:pt x="672" y="624"/>
                  </a:lnTo>
                  <a:lnTo>
                    <a:pt x="666" y="630"/>
                  </a:lnTo>
                  <a:lnTo>
                    <a:pt x="660" y="636"/>
                  </a:lnTo>
                  <a:lnTo>
                    <a:pt x="672" y="636"/>
                  </a:lnTo>
                  <a:lnTo>
                    <a:pt x="678" y="642"/>
                  </a:lnTo>
                  <a:lnTo>
                    <a:pt x="678" y="648"/>
                  </a:lnTo>
                  <a:lnTo>
                    <a:pt x="684" y="654"/>
                  </a:lnTo>
                  <a:lnTo>
                    <a:pt x="690" y="666"/>
                  </a:lnTo>
                  <a:lnTo>
                    <a:pt x="690" y="672"/>
                  </a:lnTo>
                  <a:lnTo>
                    <a:pt x="696" y="672"/>
                  </a:lnTo>
                  <a:lnTo>
                    <a:pt x="696" y="684"/>
                  </a:lnTo>
                  <a:lnTo>
                    <a:pt x="708" y="690"/>
                  </a:lnTo>
                  <a:lnTo>
                    <a:pt x="720" y="696"/>
                  </a:lnTo>
                  <a:lnTo>
                    <a:pt x="726" y="696"/>
                  </a:lnTo>
                  <a:lnTo>
                    <a:pt x="732" y="696"/>
                  </a:lnTo>
                  <a:lnTo>
                    <a:pt x="738" y="696"/>
                  </a:lnTo>
                  <a:lnTo>
                    <a:pt x="738" y="702"/>
                  </a:lnTo>
                  <a:lnTo>
                    <a:pt x="738" y="708"/>
                  </a:lnTo>
                  <a:lnTo>
                    <a:pt x="738" y="714"/>
                  </a:lnTo>
                  <a:lnTo>
                    <a:pt x="744" y="714"/>
                  </a:lnTo>
                  <a:lnTo>
                    <a:pt x="756" y="720"/>
                  </a:lnTo>
                  <a:lnTo>
                    <a:pt x="780" y="726"/>
                  </a:lnTo>
                  <a:lnTo>
                    <a:pt x="792" y="732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22" y="774"/>
                  </a:lnTo>
                  <a:lnTo>
                    <a:pt x="834" y="786"/>
                  </a:lnTo>
                  <a:lnTo>
                    <a:pt x="834" y="792"/>
                  </a:lnTo>
                  <a:lnTo>
                    <a:pt x="834" y="798"/>
                  </a:lnTo>
                  <a:lnTo>
                    <a:pt x="828" y="798"/>
                  </a:lnTo>
                  <a:lnTo>
                    <a:pt x="828" y="804"/>
                  </a:lnTo>
                  <a:lnTo>
                    <a:pt x="834" y="816"/>
                  </a:lnTo>
                  <a:lnTo>
                    <a:pt x="834" y="834"/>
                  </a:lnTo>
                  <a:lnTo>
                    <a:pt x="834" y="840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34" y="858"/>
                  </a:lnTo>
                  <a:lnTo>
                    <a:pt x="834" y="864"/>
                  </a:lnTo>
                  <a:lnTo>
                    <a:pt x="834" y="876"/>
                  </a:lnTo>
                  <a:lnTo>
                    <a:pt x="828" y="960"/>
                  </a:lnTo>
                  <a:lnTo>
                    <a:pt x="816" y="966"/>
                  </a:lnTo>
                  <a:lnTo>
                    <a:pt x="798" y="972"/>
                  </a:lnTo>
                  <a:lnTo>
                    <a:pt x="786" y="990"/>
                  </a:lnTo>
                  <a:lnTo>
                    <a:pt x="774" y="990"/>
                  </a:lnTo>
                  <a:lnTo>
                    <a:pt x="762" y="1008"/>
                  </a:lnTo>
                  <a:lnTo>
                    <a:pt x="732" y="1014"/>
                  </a:lnTo>
                  <a:lnTo>
                    <a:pt x="714" y="1026"/>
                  </a:lnTo>
                  <a:lnTo>
                    <a:pt x="690" y="1050"/>
                  </a:lnTo>
                  <a:lnTo>
                    <a:pt x="654" y="1056"/>
                  </a:lnTo>
                  <a:lnTo>
                    <a:pt x="630" y="1056"/>
                  </a:lnTo>
                  <a:lnTo>
                    <a:pt x="606" y="1068"/>
                  </a:lnTo>
                  <a:lnTo>
                    <a:pt x="600" y="1092"/>
                  </a:lnTo>
                  <a:lnTo>
                    <a:pt x="600" y="1098"/>
                  </a:lnTo>
                  <a:lnTo>
                    <a:pt x="588" y="1104"/>
                  </a:lnTo>
                  <a:lnTo>
                    <a:pt x="582" y="1104"/>
                  </a:lnTo>
                  <a:lnTo>
                    <a:pt x="570" y="1110"/>
                  </a:lnTo>
                  <a:lnTo>
                    <a:pt x="564" y="111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7" name="Freeform 12">
              <a:extLst>
                <a:ext uri="{FF2B5EF4-FFF2-40B4-BE49-F238E27FC236}">
                  <a16:creationId xmlns:a16="http://schemas.microsoft.com/office/drawing/2014/main" id="{6C93C114-E5D0-49BB-A44C-A127CE01CFE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810" y="2271838"/>
              <a:ext cx="923547" cy="845397"/>
            </a:xfrm>
            <a:custGeom>
              <a:avLst/>
              <a:gdLst>
                <a:gd name="T0" fmla="*/ 138 w 1740"/>
                <a:gd name="T1" fmla="*/ 134 h 1590"/>
                <a:gd name="T2" fmla="*/ 128 w 1740"/>
                <a:gd name="T3" fmla="*/ 131 h 1590"/>
                <a:gd name="T4" fmla="*/ 121 w 1740"/>
                <a:gd name="T5" fmla="*/ 130 h 1590"/>
                <a:gd name="T6" fmla="*/ 119 w 1740"/>
                <a:gd name="T7" fmla="*/ 134 h 1590"/>
                <a:gd name="T8" fmla="*/ 110 w 1740"/>
                <a:gd name="T9" fmla="*/ 132 h 1590"/>
                <a:gd name="T10" fmla="*/ 111 w 1740"/>
                <a:gd name="T11" fmla="*/ 127 h 1590"/>
                <a:gd name="T12" fmla="*/ 103 w 1740"/>
                <a:gd name="T13" fmla="*/ 117 h 1590"/>
                <a:gd name="T14" fmla="*/ 93 w 1740"/>
                <a:gd name="T15" fmla="*/ 123 h 1590"/>
                <a:gd name="T16" fmla="*/ 80 w 1740"/>
                <a:gd name="T17" fmla="*/ 118 h 1590"/>
                <a:gd name="T18" fmla="*/ 66 w 1740"/>
                <a:gd name="T19" fmla="*/ 117 h 1590"/>
                <a:gd name="T20" fmla="*/ 66 w 1740"/>
                <a:gd name="T21" fmla="*/ 110 h 1590"/>
                <a:gd name="T22" fmla="*/ 69 w 1740"/>
                <a:gd name="T23" fmla="*/ 107 h 1590"/>
                <a:gd name="T24" fmla="*/ 68 w 1740"/>
                <a:gd name="T25" fmla="*/ 102 h 1590"/>
                <a:gd name="T26" fmla="*/ 68 w 1740"/>
                <a:gd name="T27" fmla="*/ 96 h 1590"/>
                <a:gd name="T28" fmla="*/ 67 w 1740"/>
                <a:gd name="T29" fmla="*/ 82 h 1590"/>
                <a:gd name="T30" fmla="*/ 58 w 1740"/>
                <a:gd name="T31" fmla="*/ 82 h 1590"/>
                <a:gd name="T32" fmla="*/ 52 w 1740"/>
                <a:gd name="T33" fmla="*/ 82 h 1590"/>
                <a:gd name="T34" fmla="*/ 46 w 1740"/>
                <a:gd name="T35" fmla="*/ 80 h 1590"/>
                <a:gd name="T36" fmla="*/ 45 w 1740"/>
                <a:gd name="T37" fmla="*/ 74 h 1590"/>
                <a:gd name="T38" fmla="*/ 52 w 1740"/>
                <a:gd name="T39" fmla="*/ 70 h 1590"/>
                <a:gd name="T40" fmla="*/ 52 w 1740"/>
                <a:gd name="T41" fmla="*/ 64 h 1590"/>
                <a:gd name="T42" fmla="*/ 42 w 1740"/>
                <a:gd name="T43" fmla="*/ 53 h 1590"/>
                <a:gd name="T44" fmla="*/ 35 w 1740"/>
                <a:gd name="T45" fmla="*/ 52 h 1590"/>
                <a:gd name="T46" fmla="*/ 20 w 1740"/>
                <a:gd name="T47" fmla="*/ 51 h 1590"/>
                <a:gd name="T48" fmla="*/ 17 w 1740"/>
                <a:gd name="T49" fmla="*/ 56 h 1590"/>
                <a:gd name="T50" fmla="*/ 11 w 1740"/>
                <a:gd name="T51" fmla="*/ 61 h 1590"/>
                <a:gd name="T52" fmla="*/ 7 w 1740"/>
                <a:gd name="T53" fmla="*/ 63 h 1590"/>
                <a:gd name="T54" fmla="*/ 0 w 1740"/>
                <a:gd name="T55" fmla="*/ 55 h 1590"/>
                <a:gd name="T56" fmla="*/ 2 w 1740"/>
                <a:gd name="T57" fmla="*/ 50 h 1590"/>
                <a:gd name="T58" fmla="*/ 0 w 1740"/>
                <a:gd name="T59" fmla="*/ 44 h 1590"/>
                <a:gd name="T60" fmla="*/ 2 w 1740"/>
                <a:gd name="T61" fmla="*/ 38 h 1590"/>
                <a:gd name="T62" fmla="*/ 7 w 1740"/>
                <a:gd name="T63" fmla="*/ 35 h 1590"/>
                <a:gd name="T64" fmla="*/ 11 w 1740"/>
                <a:gd name="T65" fmla="*/ 30 h 1590"/>
                <a:gd name="T66" fmla="*/ 21 w 1740"/>
                <a:gd name="T67" fmla="*/ 26 h 1590"/>
                <a:gd name="T68" fmla="*/ 29 w 1740"/>
                <a:gd name="T69" fmla="*/ 25 h 1590"/>
                <a:gd name="T70" fmla="*/ 35 w 1740"/>
                <a:gd name="T71" fmla="*/ 21 h 1590"/>
                <a:gd name="T72" fmla="*/ 36 w 1740"/>
                <a:gd name="T73" fmla="*/ 16 h 1590"/>
                <a:gd name="T74" fmla="*/ 41 w 1740"/>
                <a:gd name="T75" fmla="*/ 11 h 1590"/>
                <a:gd name="T76" fmla="*/ 51 w 1740"/>
                <a:gd name="T77" fmla="*/ 9 h 1590"/>
                <a:gd name="T78" fmla="*/ 59 w 1740"/>
                <a:gd name="T79" fmla="*/ 21 h 1590"/>
                <a:gd name="T80" fmla="*/ 65 w 1740"/>
                <a:gd name="T81" fmla="*/ 13 h 1590"/>
                <a:gd name="T82" fmla="*/ 73 w 1740"/>
                <a:gd name="T83" fmla="*/ 8 h 1590"/>
                <a:gd name="T84" fmla="*/ 82 w 1740"/>
                <a:gd name="T85" fmla="*/ 12 h 1590"/>
                <a:gd name="T86" fmla="*/ 88 w 1740"/>
                <a:gd name="T87" fmla="*/ 12 h 1590"/>
                <a:gd name="T88" fmla="*/ 99 w 1740"/>
                <a:gd name="T89" fmla="*/ 7 h 1590"/>
                <a:gd name="T90" fmla="*/ 114 w 1740"/>
                <a:gd name="T91" fmla="*/ 0 h 1590"/>
                <a:gd name="T92" fmla="*/ 117 w 1740"/>
                <a:gd name="T93" fmla="*/ 10 h 1590"/>
                <a:gd name="T94" fmla="*/ 132 w 1740"/>
                <a:gd name="T95" fmla="*/ 17 h 1590"/>
                <a:gd name="T96" fmla="*/ 140 w 1740"/>
                <a:gd name="T97" fmla="*/ 25 h 1590"/>
                <a:gd name="T98" fmla="*/ 140 w 1740"/>
                <a:gd name="T99" fmla="*/ 33 h 1590"/>
                <a:gd name="T100" fmla="*/ 140 w 1740"/>
                <a:gd name="T101" fmla="*/ 44 h 1590"/>
                <a:gd name="T102" fmla="*/ 138 w 1740"/>
                <a:gd name="T103" fmla="*/ 48 h 1590"/>
                <a:gd name="T104" fmla="*/ 141 w 1740"/>
                <a:gd name="T105" fmla="*/ 49 h 1590"/>
                <a:gd name="T106" fmla="*/ 146 w 1740"/>
                <a:gd name="T107" fmla="*/ 50 h 1590"/>
                <a:gd name="T108" fmla="*/ 149 w 1740"/>
                <a:gd name="T109" fmla="*/ 59 h 1590"/>
                <a:gd name="T110" fmla="*/ 148 w 1740"/>
                <a:gd name="T111" fmla="*/ 67 h 1590"/>
                <a:gd name="T112" fmla="*/ 141 w 1740"/>
                <a:gd name="T113" fmla="*/ 78 h 1590"/>
                <a:gd name="T114" fmla="*/ 141 w 1740"/>
                <a:gd name="T115" fmla="*/ 91 h 1590"/>
                <a:gd name="T116" fmla="*/ 138 w 1740"/>
                <a:gd name="T117" fmla="*/ 102 h 1590"/>
                <a:gd name="T118" fmla="*/ 138 w 1740"/>
                <a:gd name="T119" fmla="*/ 110 h 1590"/>
                <a:gd name="T120" fmla="*/ 144 w 1740"/>
                <a:gd name="T121" fmla="*/ 118 h 1590"/>
                <a:gd name="T122" fmla="*/ 143 w 1740"/>
                <a:gd name="T123" fmla="*/ 125 h 159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740"/>
                <a:gd name="T187" fmla="*/ 0 h 1590"/>
                <a:gd name="T188" fmla="*/ 1740 w 1740"/>
                <a:gd name="T189" fmla="*/ 1590 h 159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740" h="1590">
                  <a:moveTo>
                    <a:pt x="1638" y="1458"/>
                  </a:moveTo>
                  <a:lnTo>
                    <a:pt x="1638" y="1482"/>
                  </a:lnTo>
                  <a:lnTo>
                    <a:pt x="1638" y="1500"/>
                  </a:lnTo>
                  <a:lnTo>
                    <a:pt x="1626" y="1500"/>
                  </a:lnTo>
                  <a:lnTo>
                    <a:pt x="1620" y="1500"/>
                  </a:lnTo>
                  <a:lnTo>
                    <a:pt x="1614" y="1500"/>
                  </a:lnTo>
                  <a:lnTo>
                    <a:pt x="1614" y="1506"/>
                  </a:lnTo>
                  <a:lnTo>
                    <a:pt x="1614" y="1512"/>
                  </a:lnTo>
                  <a:lnTo>
                    <a:pt x="1620" y="1518"/>
                  </a:lnTo>
                  <a:lnTo>
                    <a:pt x="1614" y="1524"/>
                  </a:lnTo>
                  <a:lnTo>
                    <a:pt x="1590" y="1536"/>
                  </a:lnTo>
                  <a:lnTo>
                    <a:pt x="1584" y="1566"/>
                  </a:lnTo>
                  <a:lnTo>
                    <a:pt x="1578" y="1590"/>
                  </a:lnTo>
                  <a:lnTo>
                    <a:pt x="1548" y="1590"/>
                  </a:lnTo>
                  <a:lnTo>
                    <a:pt x="1542" y="1584"/>
                  </a:lnTo>
                  <a:lnTo>
                    <a:pt x="1542" y="1572"/>
                  </a:lnTo>
                  <a:lnTo>
                    <a:pt x="1536" y="1566"/>
                  </a:lnTo>
                  <a:lnTo>
                    <a:pt x="1536" y="1554"/>
                  </a:lnTo>
                  <a:lnTo>
                    <a:pt x="1536" y="1548"/>
                  </a:lnTo>
                  <a:lnTo>
                    <a:pt x="1506" y="1530"/>
                  </a:lnTo>
                  <a:lnTo>
                    <a:pt x="1488" y="1506"/>
                  </a:lnTo>
                  <a:lnTo>
                    <a:pt x="1464" y="1500"/>
                  </a:lnTo>
                  <a:lnTo>
                    <a:pt x="1470" y="1494"/>
                  </a:lnTo>
                  <a:lnTo>
                    <a:pt x="1470" y="1488"/>
                  </a:lnTo>
                  <a:lnTo>
                    <a:pt x="1470" y="1482"/>
                  </a:lnTo>
                  <a:lnTo>
                    <a:pt x="1428" y="1464"/>
                  </a:lnTo>
                  <a:lnTo>
                    <a:pt x="1404" y="1470"/>
                  </a:lnTo>
                  <a:lnTo>
                    <a:pt x="1398" y="1470"/>
                  </a:lnTo>
                  <a:lnTo>
                    <a:pt x="1392" y="1476"/>
                  </a:lnTo>
                  <a:lnTo>
                    <a:pt x="1386" y="1476"/>
                  </a:lnTo>
                  <a:lnTo>
                    <a:pt x="1386" y="1482"/>
                  </a:lnTo>
                  <a:lnTo>
                    <a:pt x="1392" y="1482"/>
                  </a:lnTo>
                  <a:lnTo>
                    <a:pt x="1386" y="1488"/>
                  </a:lnTo>
                  <a:lnTo>
                    <a:pt x="1386" y="1494"/>
                  </a:lnTo>
                  <a:lnTo>
                    <a:pt x="1380" y="1494"/>
                  </a:lnTo>
                  <a:lnTo>
                    <a:pt x="1380" y="1500"/>
                  </a:lnTo>
                  <a:lnTo>
                    <a:pt x="1380" y="1512"/>
                  </a:lnTo>
                  <a:lnTo>
                    <a:pt x="1380" y="1518"/>
                  </a:lnTo>
                  <a:lnTo>
                    <a:pt x="1380" y="1524"/>
                  </a:lnTo>
                  <a:lnTo>
                    <a:pt x="1380" y="1530"/>
                  </a:lnTo>
                  <a:lnTo>
                    <a:pt x="1374" y="1536"/>
                  </a:lnTo>
                  <a:lnTo>
                    <a:pt x="1374" y="1542"/>
                  </a:lnTo>
                  <a:lnTo>
                    <a:pt x="1368" y="1542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44" y="1554"/>
                  </a:lnTo>
                  <a:lnTo>
                    <a:pt x="1332" y="1560"/>
                  </a:lnTo>
                  <a:lnTo>
                    <a:pt x="1302" y="1554"/>
                  </a:lnTo>
                  <a:lnTo>
                    <a:pt x="1290" y="1554"/>
                  </a:lnTo>
                  <a:lnTo>
                    <a:pt x="1278" y="1542"/>
                  </a:lnTo>
                  <a:lnTo>
                    <a:pt x="1272" y="1530"/>
                  </a:lnTo>
                  <a:lnTo>
                    <a:pt x="1272" y="1524"/>
                  </a:lnTo>
                  <a:lnTo>
                    <a:pt x="1272" y="1518"/>
                  </a:lnTo>
                  <a:lnTo>
                    <a:pt x="1266" y="1518"/>
                  </a:lnTo>
                  <a:lnTo>
                    <a:pt x="1266" y="1512"/>
                  </a:lnTo>
                  <a:lnTo>
                    <a:pt x="1266" y="1506"/>
                  </a:lnTo>
                  <a:lnTo>
                    <a:pt x="1272" y="1506"/>
                  </a:lnTo>
                  <a:lnTo>
                    <a:pt x="1272" y="1500"/>
                  </a:lnTo>
                  <a:lnTo>
                    <a:pt x="1278" y="1500"/>
                  </a:lnTo>
                  <a:lnTo>
                    <a:pt x="1278" y="1494"/>
                  </a:lnTo>
                  <a:lnTo>
                    <a:pt x="1278" y="1488"/>
                  </a:lnTo>
                  <a:lnTo>
                    <a:pt x="1284" y="1488"/>
                  </a:lnTo>
                  <a:lnTo>
                    <a:pt x="1284" y="1482"/>
                  </a:lnTo>
                  <a:lnTo>
                    <a:pt x="1290" y="1476"/>
                  </a:lnTo>
                  <a:lnTo>
                    <a:pt x="1284" y="1470"/>
                  </a:lnTo>
                  <a:lnTo>
                    <a:pt x="1278" y="1458"/>
                  </a:lnTo>
                  <a:lnTo>
                    <a:pt x="1278" y="1452"/>
                  </a:lnTo>
                  <a:lnTo>
                    <a:pt x="1260" y="1428"/>
                  </a:lnTo>
                  <a:lnTo>
                    <a:pt x="1254" y="1416"/>
                  </a:lnTo>
                  <a:lnTo>
                    <a:pt x="1254" y="1410"/>
                  </a:lnTo>
                  <a:lnTo>
                    <a:pt x="1248" y="1398"/>
                  </a:lnTo>
                  <a:lnTo>
                    <a:pt x="1242" y="1398"/>
                  </a:lnTo>
                  <a:lnTo>
                    <a:pt x="1236" y="1398"/>
                  </a:lnTo>
                  <a:lnTo>
                    <a:pt x="1218" y="1386"/>
                  </a:lnTo>
                  <a:lnTo>
                    <a:pt x="1212" y="1362"/>
                  </a:lnTo>
                  <a:lnTo>
                    <a:pt x="1200" y="1344"/>
                  </a:lnTo>
                  <a:lnTo>
                    <a:pt x="1188" y="1338"/>
                  </a:lnTo>
                  <a:lnTo>
                    <a:pt x="1164" y="1338"/>
                  </a:lnTo>
                  <a:lnTo>
                    <a:pt x="1158" y="1344"/>
                  </a:lnTo>
                  <a:lnTo>
                    <a:pt x="1152" y="1350"/>
                  </a:lnTo>
                  <a:lnTo>
                    <a:pt x="1152" y="1356"/>
                  </a:lnTo>
                  <a:lnTo>
                    <a:pt x="1140" y="1362"/>
                  </a:lnTo>
                  <a:lnTo>
                    <a:pt x="1134" y="1380"/>
                  </a:lnTo>
                  <a:lnTo>
                    <a:pt x="1116" y="1398"/>
                  </a:lnTo>
                  <a:lnTo>
                    <a:pt x="1110" y="1416"/>
                  </a:lnTo>
                  <a:lnTo>
                    <a:pt x="1086" y="1416"/>
                  </a:lnTo>
                  <a:lnTo>
                    <a:pt x="1080" y="1410"/>
                  </a:lnTo>
                  <a:lnTo>
                    <a:pt x="1074" y="1410"/>
                  </a:lnTo>
                  <a:lnTo>
                    <a:pt x="1074" y="1404"/>
                  </a:lnTo>
                  <a:lnTo>
                    <a:pt x="1062" y="1404"/>
                  </a:lnTo>
                  <a:lnTo>
                    <a:pt x="1062" y="1380"/>
                  </a:lnTo>
                  <a:lnTo>
                    <a:pt x="1038" y="1380"/>
                  </a:lnTo>
                  <a:lnTo>
                    <a:pt x="1026" y="1350"/>
                  </a:lnTo>
                  <a:lnTo>
                    <a:pt x="996" y="1326"/>
                  </a:lnTo>
                  <a:lnTo>
                    <a:pt x="966" y="1314"/>
                  </a:lnTo>
                  <a:lnTo>
                    <a:pt x="954" y="1320"/>
                  </a:lnTo>
                  <a:lnTo>
                    <a:pt x="942" y="1338"/>
                  </a:lnTo>
                  <a:lnTo>
                    <a:pt x="930" y="1338"/>
                  </a:lnTo>
                  <a:lnTo>
                    <a:pt x="924" y="1350"/>
                  </a:lnTo>
                  <a:lnTo>
                    <a:pt x="906" y="1356"/>
                  </a:lnTo>
                  <a:lnTo>
                    <a:pt x="846" y="1356"/>
                  </a:lnTo>
                  <a:lnTo>
                    <a:pt x="834" y="1368"/>
                  </a:lnTo>
                  <a:lnTo>
                    <a:pt x="810" y="1362"/>
                  </a:lnTo>
                  <a:lnTo>
                    <a:pt x="792" y="1362"/>
                  </a:lnTo>
                  <a:lnTo>
                    <a:pt x="780" y="1368"/>
                  </a:lnTo>
                  <a:lnTo>
                    <a:pt x="762" y="1368"/>
                  </a:lnTo>
                  <a:lnTo>
                    <a:pt x="762" y="1362"/>
                  </a:lnTo>
                  <a:lnTo>
                    <a:pt x="750" y="1362"/>
                  </a:lnTo>
                  <a:lnTo>
                    <a:pt x="750" y="1338"/>
                  </a:lnTo>
                  <a:lnTo>
                    <a:pt x="762" y="1338"/>
                  </a:lnTo>
                  <a:lnTo>
                    <a:pt x="762" y="1326"/>
                  </a:lnTo>
                  <a:lnTo>
                    <a:pt x="762" y="1314"/>
                  </a:lnTo>
                  <a:lnTo>
                    <a:pt x="732" y="1314"/>
                  </a:lnTo>
                  <a:lnTo>
                    <a:pt x="726" y="1308"/>
                  </a:lnTo>
                  <a:lnTo>
                    <a:pt x="732" y="1284"/>
                  </a:lnTo>
                  <a:lnTo>
                    <a:pt x="732" y="1278"/>
                  </a:lnTo>
                  <a:lnTo>
                    <a:pt x="738" y="1272"/>
                  </a:lnTo>
                  <a:lnTo>
                    <a:pt x="738" y="1266"/>
                  </a:lnTo>
                  <a:lnTo>
                    <a:pt x="744" y="1266"/>
                  </a:lnTo>
                  <a:lnTo>
                    <a:pt x="750" y="1272"/>
                  </a:lnTo>
                  <a:lnTo>
                    <a:pt x="756" y="1266"/>
                  </a:lnTo>
                  <a:lnTo>
                    <a:pt x="762" y="1266"/>
                  </a:lnTo>
                  <a:lnTo>
                    <a:pt x="768" y="1260"/>
                  </a:lnTo>
                  <a:lnTo>
                    <a:pt x="774" y="1260"/>
                  </a:lnTo>
                  <a:lnTo>
                    <a:pt x="780" y="1254"/>
                  </a:lnTo>
                  <a:lnTo>
                    <a:pt x="774" y="1254"/>
                  </a:lnTo>
                  <a:lnTo>
                    <a:pt x="768" y="1254"/>
                  </a:lnTo>
                  <a:lnTo>
                    <a:pt x="774" y="1248"/>
                  </a:lnTo>
                  <a:lnTo>
                    <a:pt x="774" y="1242"/>
                  </a:lnTo>
                  <a:lnTo>
                    <a:pt x="780" y="1236"/>
                  </a:lnTo>
                  <a:lnTo>
                    <a:pt x="786" y="1236"/>
                  </a:lnTo>
                  <a:lnTo>
                    <a:pt x="792" y="1230"/>
                  </a:lnTo>
                  <a:lnTo>
                    <a:pt x="792" y="1236"/>
                  </a:lnTo>
                  <a:lnTo>
                    <a:pt x="798" y="1236"/>
                  </a:lnTo>
                  <a:lnTo>
                    <a:pt x="798" y="1230"/>
                  </a:lnTo>
                  <a:lnTo>
                    <a:pt x="804" y="1230"/>
                  </a:lnTo>
                  <a:lnTo>
                    <a:pt x="804" y="1218"/>
                  </a:lnTo>
                  <a:lnTo>
                    <a:pt x="804" y="1206"/>
                  </a:lnTo>
                  <a:lnTo>
                    <a:pt x="792" y="1188"/>
                  </a:lnTo>
                  <a:lnTo>
                    <a:pt x="768" y="1182"/>
                  </a:lnTo>
                  <a:lnTo>
                    <a:pt x="768" y="1170"/>
                  </a:lnTo>
                  <a:lnTo>
                    <a:pt x="774" y="1170"/>
                  </a:lnTo>
                  <a:lnTo>
                    <a:pt x="780" y="1170"/>
                  </a:lnTo>
                  <a:lnTo>
                    <a:pt x="786" y="1170"/>
                  </a:lnTo>
                  <a:lnTo>
                    <a:pt x="780" y="1152"/>
                  </a:lnTo>
                  <a:lnTo>
                    <a:pt x="780" y="1146"/>
                  </a:lnTo>
                  <a:lnTo>
                    <a:pt x="744" y="1140"/>
                  </a:lnTo>
                  <a:lnTo>
                    <a:pt x="732" y="1128"/>
                  </a:lnTo>
                  <a:lnTo>
                    <a:pt x="720" y="1122"/>
                  </a:lnTo>
                  <a:lnTo>
                    <a:pt x="732" y="1116"/>
                  </a:lnTo>
                  <a:lnTo>
                    <a:pt x="750" y="1104"/>
                  </a:lnTo>
                  <a:lnTo>
                    <a:pt x="756" y="1116"/>
                  </a:lnTo>
                  <a:lnTo>
                    <a:pt x="774" y="1116"/>
                  </a:lnTo>
                  <a:lnTo>
                    <a:pt x="780" y="1104"/>
                  </a:lnTo>
                  <a:lnTo>
                    <a:pt x="780" y="1080"/>
                  </a:lnTo>
                  <a:lnTo>
                    <a:pt x="786" y="1080"/>
                  </a:lnTo>
                  <a:lnTo>
                    <a:pt x="786" y="1074"/>
                  </a:lnTo>
                  <a:lnTo>
                    <a:pt x="792" y="1074"/>
                  </a:lnTo>
                  <a:lnTo>
                    <a:pt x="786" y="1068"/>
                  </a:lnTo>
                  <a:lnTo>
                    <a:pt x="786" y="1062"/>
                  </a:lnTo>
                  <a:lnTo>
                    <a:pt x="786" y="1056"/>
                  </a:lnTo>
                  <a:lnTo>
                    <a:pt x="792" y="1050"/>
                  </a:lnTo>
                  <a:lnTo>
                    <a:pt x="786" y="1020"/>
                  </a:lnTo>
                  <a:lnTo>
                    <a:pt x="780" y="960"/>
                  </a:lnTo>
                  <a:lnTo>
                    <a:pt x="768" y="942"/>
                  </a:lnTo>
                  <a:lnTo>
                    <a:pt x="732" y="936"/>
                  </a:lnTo>
                  <a:lnTo>
                    <a:pt x="732" y="942"/>
                  </a:lnTo>
                  <a:lnTo>
                    <a:pt x="726" y="942"/>
                  </a:lnTo>
                  <a:lnTo>
                    <a:pt x="720" y="936"/>
                  </a:lnTo>
                  <a:lnTo>
                    <a:pt x="714" y="942"/>
                  </a:lnTo>
                  <a:lnTo>
                    <a:pt x="708" y="942"/>
                  </a:lnTo>
                  <a:lnTo>
                    <a:pt x="702" y="942"/>
                  </a:lnTo>
                  <a:lnTo>
                    <a:pt x="690" y="936"/>
                  </a:lnTo>
                  <a:lnTo>
                    <a:pt x="684" y="936"/>
                  </a:lnTo>
                  <a:lnTo>
                    <a:pt x="678" y="936"/>
                  </a:lnTo>
                  <a:lnTo>
                    <a:pt x="672" y="936"/>
                  </a:lnTo>
                  <a:lnTo>
                    <a:pt x="666" y="942"/>
                  </a:lnTo>
                  <a:lnTo>
                    <a:pt x="660" y="942"/>
                  </a:lnTo>
                  <a:lnTo>
                    <a:pt x="654" y="942"/>
                  </a:lnTo>
                  <a:lnTo>
                    <a:pt x="648" y="942"/>
                  </a:lnTo>
                  <a:lnTo>
                    <a:pt x="642" y="936"/>
                  </a:lnTo>
                  <a:lnTo>
                    <a:pt x="636" y="936"/>
                  </a:lnTo>
                  <a:lnTo>
                    <a:pt x="630" y="930"/>
                  </a:lnTo>
                  <a:lnTo>
                    <a:pt x="618" y="930"/>
                  </a:lnTo>
                  <a:lnTo>
                    <a:pt x="612" y="930"/>
                  </a:lnTo>
                  <a:lnTo>
                    <a:pt x="606" y="936"/>
                  </a:lnTo>
                  <a:lnTo>
                    <a:pt x="600" y="942"/>
                  </a:lnTo>
                  <a:lnTo>
                    <a:pt x="600" y="936"/>
                  </a:lnTo>
                  <a:lnTo>
                    <a:pt x="594" y="930"/>
                  </a:lnTo>
                  <a:lnTo>
                    <a:pt x="588" y="930"/>
                  </a:lnTo>
                  <a:lnTo>
                    <a:pt x="582" y="930"/>
                  </a:lnTo>
                  <a:lnTo>
                    <a:pt x="576" y="930"/>
                  </a:lnTo>
                  <a:lnTo>
                    <a:pt x="564" y="936"/>
                  </a:lnTo>
                  <a:lnTo>
                    <a:pt x="558" y="936"/>
                  </a:lnTo>
                  <a:lnTo>
                    <a:pt x="546" y="924"/>
                  </a:lnTo>
                  <a:lnTo>
                    <a:pt x="540" y="924"/>
                  </a:lnTo>
                  <a:lnTo>
                    <a:pt x="534" y="918"/>
                  </a:lnTo>
                  <a:lnTo>
                    <a:pt x="528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6" y="918"/>
                  </a:lnTo>
                  <a:lnTo>
                    <a:pt x="516" y="912"/>
                  </a:lnTo>
                  <a:lnTo>
                    <a:pt x="510" y="894"/>
                  </a:lnTo>
                  <a:lnTo>
                    <a:pt x="510" y="882"/>
                  </a:lnTo>
                  <a:lnTo>
                    <a:pt x="510" y="876"/>
                  </a:lnTo>
                  <a:lnTo>
                    <a:pt x="516" y="870"/>
                  </a:lnTo>
                  <a:lnTo>
                    <a:pt x="510" y="864"/>
                  </a:lnTo>
                  <a:lnTo>
                    <a:pt x="516" y="858"/>
                  </a:lnTo>
                  <a:lnTo>
                    <a:pt x="522" y="858"/>
                  </a:lnTo>
                  <a:lnTo>
                    <a:pt x="528" y="858"/>
                  </a:lnTo>
                  <a:lnTo>
                    <a:pt x="522" y="852"/>
                  </a:lnTo>
                  <a:lnTo>
                    <a:pt x="528" y="852"/>
                  </a:lnTo>
                  <a:lnTo>
                    <a:pt x="528" y="846"/>
                  </a:lnTo>
                  <a:lnTo>
                    <a:pt x="552" y="846"/>
                  </a:lnTo>
                  <a:lnTo>
                    <a:pt x="558" y="840"/>
                  </a:lnTo>
                  <a:lnTo>
                    <a:pt x="564" y="828"/>
                  </a:lnTo>
                  <a:lnTo>
                    <a:pt x="570" y="816"/>
                  </a:lnTo>
                  <a:lnTo>
                    <a:pt x="582" y="810"/>
                  </a:lnTo>
                  <a:lnTo>
                    <a:pt x="588" y="804"/>
                  </a:lnTo>
                  <a:lnTo>
                    <a:pt x="594" y="804"/>
                  </a:lnTo>
                  <a:lnTo>
                    <a:pt x="594" y="792"/>
                  </a:lnTo>
                  <a:lnTo>
                    <a:pt x="600" y="786"/>
                  </a:lnTo>
                  <a:lnTo>
                    <a:pt x="606" y="780"/>
                  </a:lnTo>
                  <a:lnTo>
                    <a:pt x="612" y="774"/>
                  </a:lnTo>
                  <a:lnTo>
                    <a:pt x="618" y="774"/>
                  </a:lnTo>
                  <a:lnTo>
                    <a:pt x="618" y="768"/>
                  </a:lnTo>
                  <a:lnTo>
                    <a:pt x="618" y="762"/>
                  </a:lnTo>
                  <a:lnTo>
                    <a:pt x="624" y="756"/>
                  </a:lnTo>
                  <a:lnTo>
                    <a:pt x="618" y="750"/>
                  </a:lnTo>
                  <a:lnTo>
                    <a:pt x="618" y="744"/>
                  </a:lnTo>
                  <a:lnTo>
                    <a:pt x="600" y="738"/>
                  </a:lnTo>
                  <a:lnTo>
                    <a:pt x="558" y="744"/>
                  </a:lnTo>
                  <a:lnTo>
                    <a:pt x="552" y="732"/>
                  </a:lnTo>
                  <a:lnTo>
                    <a:pt x="546" y="720"/>
                  </a:lnTo>
                  <a:lnTo>
                    <a:pt x="564" y="702"/>
                  </a:lnTo>
                  <a:lnTo>
                    <a:pt x="570" y="684"/>
                  </a:lnTo>
                  <a:lnTo>
                    <a:pt x="564" y="648"/>
                  </a:lnTo>
                  <a:lnTo>
                    <a:pt x="534" y="624"/>
                  </a:lnTo>
                  <a:lnTo>
                    <a:pt x="504" y="612"/>
                  </a:lnTo>
                  <a:lnTo>
                    <a:pt x="498" y="606"/>
                  </a:lnTo>
                  <a:lnTo>
                    <a:pt x="492" y="600"/>
                  </a:lnTo>
                  <a:lnTo>
                    <a:pt x="486" y="606"/>
                  </a:lnTo>
                  <a:lnTo>
                    <a:pt x="480" y="558"/>
                  </a:lnTo>
                  <a:lnTo>
                    <a:pt x="462" y="546"/>
                  </a:lnTo>
                  <a:lnTo>
                    <a:pt x="408" y="540"/>
                  </a:lnTo>
                  <a:lnTo>
                    <a:pt x="408" y="546"/>
                  </a:lnTo>
                  <a:lnTo>
                    <a:pt x="408" y="558"/>
                  </a:lnTo>
                  <a:lnTo>
                    <a:pt x="408" y="564"/>
                  </a:lnTo>
                  <a:lnTo>
                    <a:pt x="408" y="570"/>
                  </a:lnTo>
                  <a:lnTo>
                    <a:pt x="414" y="582"/>
                  </a:lnTo>
                  <a:lnTo>
                    <a:pt x="408" y="594"/>
                  </a:lnTo>
                  <a:lnTo>
                    <a:pt x="414" y="594"/>
                  </a:lnTo>
                  <a:lnTo>
                    <a:pt x="408" y="600"/>
                  </a:lnTo>
                  <a:lnTo>
                    <a:pt x="348" y="600"/>
                  </a:lnTo>
                  <a:lnTo>
                    <a:pt x="324" y="600"/>
                  </a:lnTo>
                  <a:lnTo>
                    <a:pt x="324" y="612"/>
                  </a:lnTo>
                  <a:lnTo>
                    <a:pt x="306" y="618"/>
                  </a:lnTo>
                  <a:lnTo>
                    <a:pt x="312" y="618"/>
                  </a:lnTo>
                  <a:lnTo>
                    <a:pt x="294" y="588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76"/>
                  </a:lnTo>
                  <a:lnTo>
                    <a:pt x="240" y="582"/>
                  </a:lnTo>
                  <a:lnTo>
                    <a:pt x="234" y="582"/>
                  </a:lnTo>
                  <a:lnTo>
                    <a:pt x="228" y="588"/>
                  </a:lnTo>
                  <a:lnTo>
                    <a:pt x="222" y="588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8" y="600"/>
                  </a:lnTo>
                  <a:lnTo>
                    <a:pt x="192" y="612"/>
                  </a:lnTo>
                  <a:lnTo>
                    <a:pt x="192" y="618"/>
                  </a:lnTo>
                  <a:lnTo>
                    <a:pt x="198" y="624"/>
                  </a:lnTo>
                  <a:lnTo>
                    <a:pt x="192" y="624"/>
                  </a:lnTo>
                  <a:lnTo>
                    <a:pt x="192" y="630"/>
                  </a:lnTo>
                  <a:lnTo>
                    <a:pt x="192" y="642"/>
                  </a:lnTo>
                  <a:lnTo>
                    <a:pt x="180" y="648"/>
                  </a:lnTo>
                  <a:lnTo>
                    <a:pt x="174" y="654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6"/>
                  </a:lnTo>
                  <a:lnTo>
                    <a:pt x="156" y="672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90"/>
                  </a:lnTo>
                  <a:lnTo>
                    <a:pt x="132" y="690"/>
                  </a:lnTo>
                  <a:lnTo>
                    <a:pt x="126" y="702"/>
                  </a:lnTo>
                  <a:lnTo>
                    <a:pt x="132" y="708"/>
                  </a:lnTo>
                  <a:lnTo>
                    <a:pt x="126" y="708"/>
                  </a:lnTo>
                  <a:lnTo>
                    <a:pt x="120" y="708"/>
                  </a:lnTo>
                  <a:lnTo>
                    <a:pt x="114" y="708"/>
                  </a:lnTo>
                  <a:lnTo>
                    <a:pt x="108" y="708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78" y="720"/>
                  </a:lnTo>
                  <a:lnTo>
                    <a:pt x="72" y="720"/>
                  </a:lnTo>
                  <a:lnTo>
                    <a:pt x="66" y="720"/>
                  </a:lnTo>
                  <a:lnTo>
                    <a:pt x="54" y="732"/>
                  </a:lnTo>
                  <a:lnTo>
                    <a:pt x="48" y="702"/>
                  </a:lnTo>
                  <a:lnTo>
                    <a:pt x="36" y="666"/>
                  </a:lnTo>
                  <a:lnTo>
                    <a:pt x="0" y="660"/>
                  </a:lnTo>
                  <a:lnTo>
                    <a:pt x="6" y="660"/>
                  </a:lnTo>
                  <a:lnTo>
                    <a:pt x="6" y="654"/>
                  </a:lnTo>
                  <a:lnTo>
                    <a:pt x="6" y="648"/>
                  </a:lnTo>
                  <a:lnTo>
                    <a:pt x="6" y="642"/>
                  </a:lnTo>
                  <a:lnTo>
                    <a:pt x="6" y="624"/>
                  </a:lnTo>
                  <a:lnTo>
                    <a:pt x="6" y="612"/>
                  </a:lnTo>
                  <a:lnTo>
                    <a:pt x="6" y="606"/>
                  </a:lnTo>
                  <a:lnTo>
                    <a:pt x="12" y="612"/>
                  </a:lnTo>
                  <a:lnTo>
                    <a:pt x="18" y="606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30" y="594"/>
                  </a:lnTo>
                  <a:lnTo>
                    <a:pt x="30" y="588"/>
                  </a:lnTo>
                  <a:lnTo>
                    <a:pt x="30" y="582"/>
                  </a:lnTo>
                  <a:lnTo>
                    <a:pt x="24" y="576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18" y="558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36" y="528"/>
                  </a:lnTo>
                  <a:lnTo>
                    <a:pt x="30" y="522"/>
                  </a:lnTo>
                  <a:lnTo>
                    <a:pt x="24" y="522"/>
                  </a:lnTo>
                  <a:lnTo>
                    <a:pt x="18" y="510"/>
                  </a:lnTo>
                  <a:lnTo>
                    <a:pt x="12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8" y="474"/>
                  </a:lnTo>
                  <a:lnTo>
                    <a:pt x="12" y="468"/>
                  </a:lnTo>
                  <a:lnTo>
                    <a:pt x="12" y="462"/>
                  </a:lnTo>
                  <a:lnTo>
                    <a:pt x="18" y="456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0" y="420"/>
                  </a:lnTo>
                  <a:lnTo>
                    <a:pt x="30" y="414"/>
                  </a:lnTo>
                  <a:lnTo>
                    <a:pt x="48" y="414"/>
                  </a:lnTo>
                  <a:lnTo>
                    <a:pt x="54" y="408"/>
                  </a:lnTo>
                  <a:lnTo>
                    <a:pt x="60" y="402"/>
                  </a:lnTo>
                  <a:lnTo>
                    <a:pt x="66" y="402"/>
                  </a:lnTo>
                  <a:lnTo>
                    <a:pt x="72" y="402"/>
                  </a:lnTo>
                  <a:lnTo>
                    <a:pt x="78" y="408"/>
                  </a:lnTo>
                  <a:lnTo>
                    <a:pt x="84" y="396"/>
                  </a:lnTo>
                  <a:lnTo>
                    <a:pt x="90" y="390"/>
                  </a:lnTo>
                  <a:lnTo>
                    <a:pt x="90" y="378"/>
                  </a:lnTo>
                  <a:lnTo>
                    <a:pt x="96" y="372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8" y="354"/>
                  </a:lnTo>
                  <a:lnTo>
                    <a:pt x="114" y="348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32" y="336"/>
                  </a:lnTo>
                  <a:lnTo>
                    <a:pt x="132" y="330"/>
                  </a:lnTo>
                  <a:lnTo>
                    <a:pt x="138" y="324"/>
                  </a:lnTo>
                  <a:lnTo>
                    <a:pt x="138" y="318"/>
                  </a:lnTo>
                  <a:lnTo>
                    <a:pt x="144" y="306"/>
                  </a:lnTo>
                  <a:lnTo>
                    <a:pt x="156" y="306"/>
                  </a:lnTo>
                  <a:lnTo>
                    <a:pt x="186" y="300"/>
                  </a:lnTo>
                  <a:lnTo>
                    <a:pt x="198" y="300"/>
                  </a:lnTo>
                  <a:lnTo>
                    <a:pt x="210" y="300"/>
                  </a:lnTo>
                  <a:lnTo>
                    <a:pt x="222" y="300"/>
                  </a:lnTo>
                  <a:lnTo>
                    <a:pt x="246" y="300"/>
                  </a:lnTo>
                  <a:lnTo>
                    <a:pt x="264" y="312"/>
                  </a:lnTo>
                  <a:lnTo>
                    <a:pt x="270" y="312"/>
                  </a:lnTo>
                  <a:lnTo>
                    <a:pt x="282" y="306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300" y="306"/>
                  </a:lnTo>
                  <a:lnTo>
                    <a:pt x="312" y="306"/>
                  </a:lnTo>
                  <a:lnTo>
                    <a:pt x="318" y="300"/>
                  </a:lnTo>
                  <a:lnTo>
                    <a:pt x="324" y="300"/>
                  </a:lnTo>
                  <a:lnTo>
                    <a:pt x="330" y="294"/>
                  </a:lnTo>
                  <a:lnTo>
                    <a:pt x="336" y="288"/>
                  </a:lnTo>
                  <a:lnTo>
                    <a:pt x="354" y="288"/>
                  </a:lnTo>
                  <a:lnTo>
                    <a:pt x="360" y="288"/>
                  </a:lnTo>
                  <a:lnTo>
                    <a:pt x="366" y="282"/>
                  </a:lnTo>
                  <a:lnTo>
                    <a:pt x="372" y="282"/>
                  </a:lnTo>
                  <a:lnTo>
                    <a:pt x="378" y="282"/>
                  </a:lnTo>
                  <a:lnTo>
                    <a:pt x="384" y="276"/>
                  </a:lnTo>
                  <a:lnTo>
                    <a:pt x="384" y="270"/>
                  </a:lnTo>
                  <a:lnTo>
                    <a:pt x="390" y="264"/>
                  </a:lnTo>
                  <a:lnTo>
                    <a:pt x="402" y="258"/>
                  </a:lnTo>
                  <a:lnTo>
                    <a:pt x="402" y="252"/>
                  </a:lnTo>
                  <a:lnTo>
                    <a:pt x="402" y="246"/>
                  </a:lnTo>
                  <a:lnTo>
                    <a:pt x="408" y="234"/>
                  </a:lnTo>
                  <a:lnTo>
                    <a:pt x="414" y="234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14" y="216"/>
                  </a:lnTo>
                  <a:lnTo>
                    <a:pt x="414" y="210"/>
                  </a:lnTo>
                  <a:lnTo>
                    <a:pt x="420" y="210"/>
                  </a:lnTo>
                  <a:lnTo>
                    <a:pt x="414" y="198"/>
                  </a:lnTo>
                  <a:lnTo>
                    <a:pt x="414" y="192"/>
                  </a:lnTo>
                  <a:lnTo>
                    <a:pt x="420" y="192"/>
                  </a:lnTo>
                  <a:lnTo>
                    <a:pt x="420" y="186"/>
                  </a:lnTo>
                  <a:lnTo>
                    <a:pt x="420" y="174"/>
                  </a:lnTo>
                  <a:lnTo>
                    <a:pt x="420" y="168"/>
                  </a:lnTo>
                  <a:lnTo>
                    <a:pt x="426" y="162"/>
                  </a:lnTo>
                  <a:lnTo>
                    <a:pt x="432" y="156"/>
                  </a:lnTo>
                  <a:lnTo>
                    <a:pt x="438" y="144"/>
                  </a:lnTo>
                  <a:lnTo>
                    <a:pt x="444" y="144"/>
                  </a:lnTo>
                  <a:lnTo>
                    <a:pt x="450" y="138"/>
                  </a:lnTo>
                  <a:lnTo>
                    <a:pt x="456" y="138"/>
                  </a:lnTo>
                  <a:lnTo>
                    <a:pt x="462" y="132"/>
                  </a:lnTo>
                  <a:lnTo>
                    <a:pt x="462" y="126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0"/>
                  </a:lnTo>
                  <a:lnTo>
                    <a:pt x="486" y="108"/>
                  </a:lnTo>
                  <a:lnTo>
                    <a:pt x="492" y="108"/>
                  </a:lnTo>
                  <a:lnTo>
                    <a:pt x="498" y="102"/>
                  </a:lnTo>
                  <a:lnTo>
                    <a:pt x="504" y="96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40" y="102"/>
                  </a:lnTo>
                  <a:lnTo>
                    <a:pt x="552" y="108"/>
                  </a:lnTo>
                  <a:lnTo>
                    <a:pt x="582" y="102"/>
                  </a:lnTo>
                  <a:lnTo>
                    <a:pt x="594" y="126"/>
                  </a:lnTo>
                  <a:lnTo>
                    <a:pt x="594" y="144"/>
                  </a:lnTo>
                  <a:lnTo>
                    <a:pt x="588" y="156"/>
                  </a:lnTo>
                  <a:lnTo>
                    <a:pt x="588" y="168"/>
                  </a:lnTo>
                  <a:lnTo>
                    <a:pt x="582" y="180"/>
                  </a:lnTo>
                  <a:lnTo>
                    <a:pt x="570" y="192"/>
                  </a:lnTo>
                  <a:lnTo>
                    <a:pt x="594" y="192"/>
                  </a:lnTo>
                  <a:lnTo>
                    <a:pt x="618" y="198"/>
                  </a:lnTo>
                  <a:lnTo>
                    <a:pt x="642" y="210"/>
                  </a:lnTo>
                  <a:lnTo>
                    <a:pt x="660" y="234"/>
                  </a:lnTo>
                  <a:lnTo>
                    <a:pt x="678" y="246"/>
                  </a:lnTo>
                  <a:lnTo>
                    <a:pt x="684" y="252"/>
                  </a:lnTo>
                  <a:lnTo>
                    <a:pt x="702" y="252"/>
                  </a:lnTo>
                  <a:lnTo>
                    <a:pt x="732" y="234"/>
                  </a:lnTo>
                  <a:lnTo>
                    <a:pt x="732" y="222"/>
                  </a:lnTo>
                  <a:lnTo>
                    <a:pt x="720" y="216"/>
                  </a:lnTo>
                  <a:lnTo>
                    <a:pt x="714" y="198"/>
                  </a:lnTo>
                  <a:lnTo>
                    <a:pt x="714" y="174"/>
                  </a:lnTo>
                  <a:lnTo>
                    <a:pt x="720" y="162"/>
                  </a:lnTo>
                  <a:lnTo>
                    <a:pt x="726" y="162"/>
                  </a:lnTo>
                  <a:lnTo>
                    <a:pt x="732" y="156"/>
                  </a:lnTo>
                  <a:lnTo>
                    <a:pt x="744" y="150"/>
                  </a:lnTo>
                  <a:lnTo>
                    <a:pt x="774" y="162"/>
                  </a:lnTo>
                  <a:lnTo>
                    <a:pt x="786" y="162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16" y="150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2" y="132"/>
                  </a:lnTo>
                  <a:lnTo>
                    <a:pt x="822" y="114"/>
                  </a:lnTo>
                  <a:lnTo>
                    <a:pt x="828" y="108"/>
                  </a:lnTo>
                  <a:lnTo>
                    <a:pt x="834" y="96"/>
                  </a:lnTo>
                  <a:lnTo>
                    <a:pt x="846" y="96"/>
                  </a:lnTo>
                  <a:lnTo>
                    <a:pt x="858" y="90"/>
                  </a:lnTo>
                  <a:lnTo>
                    <a:pt x="870" y="84"/>
                  </a:lnTo>
                  <a:lnTo>
                    <a:pt x="888" y="84"/>
                  </a:lnTo>
                  <a:lnTo>
                    <a:pt x="894" y="90"/>
                  </a:lnTo>
                  <a:lnTo>
                    <a:pt x="894" y="102"/>
                  </a:lnTo>
                  <a:lnTo>
                    <a:pt x="900" y="102"/>
                  </a:lnTo>
                  <a:lnTo>
                    <a:pt x="906" y="114"/>
                  </a:lnTo>
                  <a:lnTo>
                    <a:pt x="930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54" y="138"/>
                  </a:lnTo>
                  <a:lnTo>
                    <a:pt x="966" y="144"/>
                  </a:lnTo>
                  <a:lnTo>
                    <a:pt x="966" y="150"/>
                  </a:lnTo>
                  <a:lnTo>
                    <a:pt x="972" y="150"/>
                  </a:lnTo>
                  <a:lnTo>
                    <a:pt x="978" y="150"/>
                  </a:lnTo>
                  <a:lnTo>
                    <a:pt x="978" y="144"/>
                  </a:lnTo>
                  <a:lnTo>
                    <a:pt x="984" y="144"/>
                  </a:lnTo>
                  <a:lnTo>
                    <a:pt x="990" y="138"/>
                  </a:lnTo>
                  <a:lnTo>
                    <a:pt x="996" y="138"/>
                  </a:lnTo>
                  <a:lnTo>
                    <a:pt x="1002" y="138"/>
                  </a:lnTo>
                  <a:lnTo>
                    <a:pt x="1008" y="138"/>
                  </a:lnTo>
                  <a:lnTo>
                    <a:pt x="1026" y="132"/>
                  </a:lnTo>
                  <a:lnTo>
                    <a:pt x="1044" y="126"/>
                  </a:lnTo>
                  <a:lnTo>
                    <a:pt x="1056" y="120"/>
                  </a:lnTo>
                  <a:lnTo>
                    <a:pt x="1062" y="108"/>
                  </a:lnTo>
                  <a:lnTo>
                    <a:pt x="1056" y="102"/>
                  </a:lnTo>
                  <a:lnTo>
                    <a:pt x="1062" y="96"/>
                  </a:lnTo>
                  <a:lnTo>
                    <a:pt x="1074" y="90"/>
                  </a:lnTo>
                  <a:lnTo>
                    <a:pt x="1080" y="84"/>
                  </a:lnTo>
                  <a:lnTo>
                    <a:pt x="1128" y="84"/>
                  </a:lnTo>
                  <a:lnTo>
                    <a:pt x="1134" y="84"/>
                  </a:lnTo>
                  <a:lnTo>
                    <a:pt x="1140" y="78"/>
                  </a:lnTo>
                  <a:lnTo>
                    <a:pt x="1152" y="72"/>
                  </a:lnTo>
                  <a:lnTo>
                    <a:pt x="1164" y="66"/>
                  </a:lnTo>
                  <a:lnTo>
                    <a:pt x="1170" y="60"/>
                  </a:lnTo>
                  <a:lnTo>
                    <a:pt x="1188" y="48"/>
                  </a:lnTo>
                  <a:lnTo>
                    <a:pt x="1200" y="36"/>
                  </a:lnTo>
                  <a:lnTo>
                    <a:pt x="1218" y="24"/>
                  </a:lnTo>
                  <a:lnTo>
                    <a:pt x="1248" y="24"/>
                  </a:lnTo>
                  <a:lnTo>
                    <a:pt x="1272" y="24"/>
                  </a:lnTo>
                  <a:lnTo>
                    <a:pt x="1284" y="12"/>
                  </a:lnTo>
                  <a:lnTo>
                    <a:pt x="1302" y="0"/>
                  </a:lnTo>
                  <a:lnTo>
                    <a:pt x="1314" y="0"/>
                  </a:lnTo>
                  <a:lnTo>
                    <a:pt x="1326" y="18"/>
                  </a:lnTo>
                  <a:lnTo>
                    <a:pt x="1338" y="30"/>
                  </a:lnTo>
                  <a:lnTo>
                    <a:pt x="1338" y="54"/>
                  </a:lnTo>
                  <a:lnTo>
                    <a:pt x="1332" y="72"/>
                  </a:lnTo>
                  <a:lnTo>
                    <a:pt x="1326" y="72"/>
                  </a:lnTo>
                  <a:lnTo>
                    <a:pt x="1326" y="78"/>
                  </a:lnTo>
                  <a:lnTo>
                    <a:pt x="1326" y="102"/>
                  </a:lnTo>
                  <a:lnTo>
                    <a:pt x="1332" y="102"/>
                  </a:lnTo>
                  <a:lnTo>
                    <a:pt x="1332" y="108"/>
                  </a:lnTo>
                  <a:lnTo>
                    <a:pt x="1344" y="114"/>
                  </a:lnTo>
                  <a:lnTo>
                    <a:pt x="1350" y="114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404" y="132"/>
                  </a:lnTo>
                  <a:lnTo>
                    <a:pt x="1404" y="138"/>
                  </a:lnTo>
                  <a:lnTo>
                    <a:pt x="1410" y="150"/>
                  </a:lnTo>
                  <a:lnTo>
                    <a:pt x="1416" y="162"/>
                  </a:lnTo>
                  <a:lnTo>
                    <a:pt x="1428" y="168"/>
                  </a:lnTo>
                  <a:lnTo>
                    <a:pt x="1440" y="180"/>
                  </a:lnTo>
                  <a:lnTo>
                    <a:pt x="1476" y="174"/>
                  </a:lnTo>
                  <a:lnTo>
                    <a:pt x="1494" y="174"/>
                  </a:lnTo>
                  <a:lnTo>
                    <a:pt x="1512" y="192"/>
                  </a:lnTo>
                  <a:lnTo>
                    <a:pt x="1518" y="204"/>
                  </a:lnTo>
                  <a:lnTo>
                    <a:pt x="1530" y="216"/>
                  </a:lnTo>
                  <a:lnTo>
                    <a:pt x="1548" y="228"/>
                  </a:lnTo>
                  <a:lnTo>
                    <a:pt x="1548" y="234"/>
                  </a:lnTo>
                  <a:lnTo>
                    <a:pt x="1542" y="246"/>
                  </a:lnTo>
                  <a:lnTo>
                    <a:pt x="1560" y="246"/>
                  </a:lnTo>
                  <a:lnTo>
                    <a:pt x="1560" y="252"/>
                  </a:lnTo>
                  <a:lnTo>
                    <a:pt x="1566" y="258"/>
                  </a:lnTo>
                  <a:lnTo>
                    <a:pt x="1578" y="270"/>
                  </a:lnTo>
                  <a:lnTo>
                    <a:pt x="1596" y="270"/>
                  </a:lnTo>
                  <a:lnTo>
                    <a:pt x="1602" y="288"/>
                  </a:lnTo>
                  <a:lnTo>
                    <a:pt x="1608" y="306"/>
                  </a:lnTo>
                  <a:lnTo>
                    <a:pt x="1608" y="318"/>
                  </a:lnTo>
                  <a:lnTo>
                    <a:pt x="1608" y="324"/>
                  </a:lnTo>
                  <a:lnTo>
                    <a:pt x="1614" y="330"/>
                  </a:lnTo>
                  <a:lnTo>
                    <a:pt x="1614" y="336"/>
                  </a:lnTo>
                  <a:lnTo>
                    <a:pt x="1614" y="342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08" y="390"/>
                  </a:lnTo>
                  <a:lnTo>
                    <a:pt x="1602" y="390"/>
                  </a:lnTo>
                  <a:lnTo>
                    <a:pt x="1602" y="396"/>
                  </a:lnTo>
                  <a:lnTo>
                    <a:pt x="1584" y="420"/>
                  </a:lnTo>
                  <a:lnTo>
                    <a:pt x="1584" y="426"/>
                  </a:lnTo>
                  <a:lnTo>
                    <a:pt x="1602" y="474"/>
                  </a:lnTo>
                  <a:lnTo>
                    <a:pt x="1608" y="480"/>
                  </a:lnTo>
                  <a:lnTo>
                    <a:pt x="1608" y="486"/>
                  </a:lnTo>
                  <a:lnTo>
                    <a:pt x="1614" y="486"/>
                  </a:lnTo>
                  <a:lnTo>
                    <a:pt x="1608" y="504"/>
                  </a:lnTo>
                  <a:lnTo>
                    <a:pt x="1572" y="504"/>
                  </a:lnTo>
                  <a:lnTo>
                    <a:pt x="1560" y="510"/>
                  </a:lnTo>
                  <a:lnTo>
                    <a:pt x="1554" y="522"/>
                  </a:lnTo>
                  <a:lnTo>
                    <a:pt x="1560" y="552"/>
                  </a:lnTo>
                  <a:lnTo>
                    <a:pt x="1566" y="552"/>
                  </a:lnTo>
                  <a:lnTo>
                    <a:pt x="1566" y="558"/>
                  </a:lnTo>
                  <a:lnTo>
                    <a:pt x="1572" y="558"/>
                  </a:lnTo>
                  <a:lnTo>
                    <a:pt x="1578" y="558"/>
                  </a:lnTo>
                  <a:lnTo>
                    <a:pt x="1578" y="552"/>
                  </a:lnTo>
                  <a:lnTo>
                    <a:pt x="1584" y="552"/>
                  </a:lnTo>
                  <a:lnTo>
                    <a:pt x="1590" y="552"/>
                  </a:lnTo>
                  <a:lnTo>
                    <a:pt x="1590" y="546"/>
                  </a:lnTo>
                  <a:lnTo>
                    <a:pt x="1596" y="546"/>
                  </a:lnTo>
                  <a:lnTo>
                    <a:pt x="1602" y="552"/>
                  </a:lnTo>
                  <a:lnTo>
                    <a:pt x="1602" y="546"/>
                  </a:lnTo>
                  <a:lnTo>
                    <a:pt x="1608" y="546"/>
                  </a:lnTo>
                  <a:lnTo>
                    <a:pt x="1608" y="552"/>
                  </a:lnTo>
                  <a:lnTo>
                    <a:pt x="1614" y="552"/>
                  </a:lnTo>
                  <a:lnTo>
                    <a:pt x="1614" y="546"/>
                  </a:lnTo>
                  <a:lnTo>
                    <a:pt x="1620" y="552"/>
                  </a:lnTo>
                  <a:lnTo>
                    <a:pt x="1626" y="552"/>
                  </a:lnTo>
                  <a:lnTo>
                    <a:pt x="1626" y="558"/>
                  </a:lnTo>
                  <a:lnTo>
                    <a:pt x="1632" y="558"/>
                  </a:lnTo>
                  <a:lnTo>
                    <a:pt x="1638" y="558"/>
                  </a:lnTo>
                  <a:lnTo>
                    <a:pt x="1644" y="558"/>
                  </a:lnTo>
                  <a:lnTo>
                    <a:pt x="1650" y="558"/>
                  </a:lnTo>
                  <a:lnTo>
                    <a:pt x="1650" y="564"/>
                  </a:lnTo>
                  <a:lnTo>
                    <a:pt x="1656" y="564"/>
                  </a:lnTo>
                  <a:lnTo>
                    <a:pt x="1662" y="564"/>
                  </a:lnTo>
                  <a:lnTo>
                    <a:pt x="1668" y="564"/>
                  </a:lnTo>
                  <a:lnTo>
                    <a:pt x="1668" y="570"/>
                  </a:lnTo>
                  <a:lnTo>
                    <a:pt x="1674" y="570"/>
                  </a:lnTo>
                  <a:lnTo>
                    <a:pt x="1680" y="570"/>
                  </a:lnTo>
                  <a:lnTo>
                    <a:pt x="1686" y="576"/>
                  </a:lnTo>
                  <a:lnTo>
                    <a:pt x="1686" y="582"/>
                  </a:lnTo>
                  <a:lnTo>
                    <a:pt x="1710" y="588"/>
                  </a:lnTo>
                  <a:lnTo>
                    <a:pt x="1710" y="594"/>
                  </a:lnTo>
                  <a:lnTo>
                    <a:pt x="1704" y="600"/>
                  </a:lnTo>
                  <a:lnTo>
                    <a:pt x="1710" y="624"/>
                  </a:lnTo>
                  <a:lnTo>
                    <a:pt x="1698" y="672"/>
                  </a:lnTo>
                  <a:lnTo>
                    <a:pt x="1704" y="678"/>
                  </a:lnTo>
                  <a:lnTo>
                    <a:pt x="1716" y="684"/>
                  </a:lnTo>
                  <a:lnTo>
                    <a:pt x="1716" y="678"/>
                  </a:lnTo>
                  <a:lnTo>
                    <a:pt x="1716" y="684"/>
                  </a:lnTo>
                  <a:lnTo>
                    <a:pt x="1728" y="684"/>
                  </a:lnTo>
                  <a:lnTo>
                    <a:pt x="1728" y="690"/>
                  </a:lnTo>
                  <a:lnTo>
                    <a:pt x="1734" y="696"/>
                  </a:lnTo>
                  <a:lnTo>
                    <a:pt x="1734" y="702"/>
                  </a:lnTo>
                  <a:lnTo>
                    <a:pt x="1740" y="708"/>
                  </a:lnTo>
                  <a:lnTo>
                    <a:pt x="1740" y="714"/>
                  </a:lnTo>
                  <a:lnTo>
                    <a:pt x="1710" y="714"/>
                  </a:lnTo>
                  <a:lnTo>
                    <a:pt x="1710" y="756"/>
                  </a:lnTo>
                  <a:lnTo>
                    <a:pt x="1704" y="762"/>
                  </a:lnTo>
                  <a:lnTo>
                    <a:pt x="1698" y="762"/>
                  </a:lnTo>
                  <a:lnTo>
                    <a:pt x="1698" y="768"/>
                  </a:lnTo>
                  <a:lnTo>
                    <a:pt x="1698" y="774"/>
                  </a:lnTo>
                  <a:lnTo>
                    <a:pt x="1692" y="780"/>
                  </a:lnTo>
                  <a:lnTo>
                    <a:pt x="1692" y="786"/>
                  </a:lnTo>
                  <a:lnTo>
                    <a:pt x="1686" y="786"/>
                  </a:lnTo>
                  <a:lnTo>
                    <a:pt x="1668" y="798"/>
                  </a:lnTo>
                  <a:lnTo>
                    <a:pt x="1662" y="810"/>
                  </a:lnTo>
                  <a:lnTo>
                    <a:pt x="1650" y="810"/>
                  </a:lnTo>
                  <a:lnTo>
                    <a:pt x="1644" y="816"/>
                  </a:lnTo>
                  <a:lnTo>
                    <a:pt x="1638" y="816"/>
                  </a:lnTo>
                  <a:lnTo>
                    <a:pt x="1626" y="852"/>
                  </a:lnTo>
                  <a:lnTo>
                    <a:pt x="1620" y="888"/>
                  </a:lnTo>
                  <a:lnTo>
                    <a:pt x="1626" y="888"/>
                  </a:lnTo>
                  <a:lnTo>
                    <a:pt x="1638" y="912"/>
                  </a:lnTo>
                  <a:lnTo>
                    <a:pt x="1644" y="918"/>
                  </a:lnTo>
                  <a:lnTo>
                    <a:pt x="1650" y="966"/>
                  </a:lnTo>
                  <a:lnTo>
                    <a:pt x="1626" y="972"/>
                  </a:lnTo>
                  <a:lnTo>
                    <a:pt x="1608" y="978"/>
                  </a:lnTo>
                  <a:lnTo>
                    <a:pt x="1614" y="984"/>
                  </a:lnTo>
                  <a:lnTo>
                    <a:pt x="1620" y="984"/>
                  </a:lnTo>
                  <a:lnTo>
                    <a:pt x="1620" y="1020"/>
                  </a:lnTo>
                  <a:lnTo>
                    <a:pt x="1614" y="1038"/>
                  </a:lnTo>
                  <a:lnTo>
                    <a:pt x="1620" y="1044"/>
                  </a:lnTo>
                  <a:lnTo>
                    <a:pt x="1626" y="1056"/>
                  </a:lnTo>
                  <a:lnTo>
                    <a:pt x="1626" y="1074"/>
                  </a:lnTo>
                  <a:lnTo>
                    <a:pt x="1620" y="1080"/>
                  </a:lnTo>
                  <a:lnTo>
                    <a:pt x="1620" y="1104"/>
                  </a:lnTo>
                  <a:lnTo>
                    <a:pt x="1620" y="1110"/>
                  </a:lnTo>
                  <a:lnTo>
                    <a:pt x="1614" y="1116"/>
                  </a:lnTo>
                  <a:lnTo>
                    <a:pt x="1608" y="1140"/>
                  </a:lnTo>
                  <a:lnTo>
                    <a:pt x="1602" y="1146"/>
                  </a:lnTo>
                  <a:lnTo>
                    <a:pt x="1602" y="1164"/>
                  </a:lnTo>
                  <a:lnTo>
                    <a:pt x="1596" y="1170"/>
                  </a:lnTo>
                  <a:lnTo>
                    <a:pt x="1590" y="1164"/>
                  </a:lnTo>
                  <a:lnTo>
                    <a:pt x="1584" y="1164"/>
                  </a:lnTo>
                  <a:lnTo>
                    <a:pt x="1578" y="1164"/>
                  </a:lnTo>
                  <a:lnTo>
                    <a:pt x="1578" y="1188"/>
                  </a:lnTo>
                  <a:lnTo>
                    <a:pt x="1584" y="1194"/>
                  </a:lnTo>
                  <a:lnTo>
                    <a:pt x="1590" y="1194"/>
                  </a:lnTo>
                  <a:lnTo>
                    <a:pt x="1590" y="1212"/>
                  </a:lnTo>
                  <a:lnTo>
                    <a:pt x="1584" y="1212"/>
                  </a:lnTo>
                  <a:lnTo>
                    <a:pt x="1584" y="1224"/>
                  </a:lnTo>
                  <a:lnTo>
                    <a:pt x="1578" y="1224"/>
                  </a:lnTo>
                  <a:lnTo>
                    <a:pt x="1578" y="1236"/>
                  </a:lnTo>
                  <a:lnTo>
                    <a:pt x="1584" y="1254"/>
                  </a:lnTo>
                  <a:lnTo>
                    <a:pt x="1584" y="1260"/>
                  </a:lnTo>
                  <a:lnTo>
                    <a:pt x="1590" y="1260"/>
                  </a:lnTo>
                  <a:lnTo>
                    <a:pt x="1590" y="1266"/>
                  </a:lnTo>
                  <a:lnTo>
                    <a:pt x="1596" y="1284"/>
                  </a:lnTo>
                  <a:lnTo>
                    <a:pt x="1602" y="1278"/>
                  </a:lnTo>
                  <a:lnTo>
                    <a:pt x="1608" y="1284"/>
                  </a:lnTo>
                  <a:lnTo>
                    <a:pt x="1632" y="1350"/>
                  </a:lnTo>
                  <a:lnTo>
                    <a:pt x="1638" y="1356"/>
                  </a:lnTo>
                  <a:lnTo>
                    <a:pt x="1644" y="1356"/>
                  </a:lnTo>
                  <a:lnTo>
                    <a:pt x="1650" y="1356"/>
                  </a:lnTo>
                  <a:lnTo>
                    <a:pt x="1656" y="1356"/>
                  </a:lnTo>
                  <a:lnTo>
                    <a:pt x="1662" y="1362"/>
                  </a:lnTo>
                  <a:lnTo>
                    <a:pt x="1668" y="1356"/>
                  </a:lnTo>
                  <a:lnTo>
                    <a:pt x="1668" y="1380"/>
                  </a:lnTo>
                  <a:lnTo>
                    <a:pt x="1662" y="1392"/>
                  </a:lnTo>
                  <a:lnTo>
                    <a:pt x="1656" y="1404"/>
                  </a:lnTo>
                  <a:lnTo>
                    <a:pt x="1656" y="1410"/>
                  </a:lnTo>
                  <a:lnTo>
                    <a:pt x="1656" y="1416"/>
                  </a:lnTo>
                  <a:lnTo>
                    <a:pt x="1650" y="1422"/>
                  </a:lnTo>
                  <a:lnTo>
                    <a:pt x="1650" y="1428"/>
                  </a:lnTo>
                  <a:lnTo>
                    <a:pt x="1644" y="1428"/>
                  </a:lnTo>
                  <a:lnTo>
                    <a:pt x="1644" y="1434"/>
                  </a:lnTo>
                  <a:lnTo>
                    <a:pt x="1638" y="1434"/>
                  </a:lnTo>
                  <a:lnTo>
                    <a:pt x="1638" y="1440"/>
                  </a:lnTo>
                  <a:lnTo>
                    <a:pt x="1632" y="1440"/>
                  </a:lnTo>
                  <a:lnTo>
                    <a:pt x="1638" y="145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8" name="Freeform 13">
              <a:extLst>
                <a:ext uri="{FF2B5EF4-FFF2-40B4-BE49-F238E27FC236}">
                  <a16:creationId xmlns:a16="http://schemas.microsoft.com/office/drawing/2014/main" id="{66308D9B-1739-4227-AAC3-BB866CD1F5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63374" y="2969626"/>
              <a:ext cx="330956" cy="357840"/>
            </a:xfrm>
            <a:custGeom>
              <a:avLst/>
              <a:gdLst>
                <a:gd name="T0" fmla="*/ 11 w 624"/>
                <a:gd name="T1" fmla="*/ 59 h 672"/>
                <a:gd name="T2" fmla="*/ 4 w 624"/>
                <a:gd name="T3" fmla="*/ 58 h 672"/>
                <a:gd name="T4" fmla="*/ 3 w 624"/>
                <a:gd name="T5" fmla="*/ 58 h 672"/>
                <a:gd name="T6" fmla="*/ 2 w 624"/>
                <a:gd name="T7" fmla="*/ 11 h 672"/>
                <a:gd name="T8" fmla="*/ 13 w 624"/>
                <a:gd name="T9" fmla="*/ 11 h 672"/>
                <a:gd name="T10" fmla="*/ 14 w 624"/>
                <a:gd name="T11" fmla="*/ 11 h 672"/>
                <a:gd name="T12" fmla="*/ 15 w 624"/>
                <a:gd name="T13" fmla="*/ 12 h 672"/>
                <a:gd name="T14" fmla="*/ 18 w 624"/>
                <a:gd name="T15" fmla="*/ 14 h 672"/>
                <a:gd name="T16" fmla="*/ 21 w 624"/>
                <a:gd name="T17" fmla="*/ 16 h 672"/>
                <a:gd name="T18" fmla="*/ 22 w 624"/>
                <a:gd name="T19" fmla="*/ 18 h 672"/>
                <a:gd name="T20" fmla="*/ 23 w 624"/>
                <a:gd name="T21" fmla="*/ 19 h 672"/>
                <a:gd name="T22" fmla="*/ 24 w 624"/>
                <a:gd name="T23" fmla="*/ 19 h 672"/>
                <a:gd name="T24" fmla="*/ 26 w 624"/>
                <a:gd name="T25" fmla="*/ 19 h 672"/>
                <a:gd name="T26" fmla="*/ 27 w 624"/>
                <a:gd name="T27" fmla="*/ 18 h 672"/>
                <a:gd name="T28" fmla="*/ 29 w 624"/>
                <a:gd name="T29" fmla="*/ 15 h 672"/>
                <a:gd name="T30" fmla="*/ 30 w 624"/>
                <a:gd name="T31" fmla="*/ 14 h 672"/>
                <a:gd name="T32" fmla="*/ 31 w 624"/>
                <a:gd name="T33" fmla="*/ 12 h 672"/>
                <a:gd name="T34" fmla="*/ 32 w 624"/>
                <a:gd name="T35" fmla="*/ 12 h 672"/>
                <a:gd name="T36" fmla="*/ 33 w 624"/>
                <a:gd name="T37" fmla="*/ 10 h 672"/>
                <a:gd name="T38" fmla="*/ 34 w 624"/>
                <a:gd name="T39" fmla="*/ 8 h 672"/>
                <a:gd name="T40" fmla="*/ 34 w 624"/>
                <a:gd name="T41" fmla="*/ 6 h 672"/>
                <a:gd name="T42" fmla="*/ 35 w 624"/>
                <a:gd name="T43" fmla="*/ 4 h 672"/>
                <a:gd name="T44" fmla="*/ 42 w 624"/>
                <a:gd name="T45" fmla="*/ 3 h 672"/>
                <a:gd name="T46" fmla="*/ 44 w 624"/>
                <a:gd name="T47" fmla="*/ 2 h 672"/>
                <a:gd name="T48" fmla="*/ 46 w 624"/>
                <a:gd name="T49" fmla="*/ 0 h 672"/>
                <a:gd name="T50" fmla="*/ 51 w 624"/>
                <a:gd name="T51" fmla="*/ 3 h 672"/>
                <a:gd name="T52" fmla="*/ 54 w 624"/>
                <a:gd name="T53" fmla="*/ 6 h 672"/>
                <a:gd name="T54" fmla="*/ 54 w 624"/>
                <a:gd name="T55" fmla="*/ 8 h 672"/>
                <a:gd name="T56" fmla="*/ 52 w 624"/>
                <a:gd name="T57" fmla="*/ 9 h 672"/>
                <a:gd name="T58" fmla="*/ 49 w 624"/>
                <a:gd name="T59" fmla="*/ 11 h 672"/>
                <a:gd name="T60" fmla="*/ 48 w 624"/>
                <a:gd name="T61" fmla="*/ 14 h 672"/>
                <a:gd name="T62" fmla="*/ 46 w 624"/>
                <a:gd name="T63" fmla="*/ 22 h 672"/>
                <a:gd name="T64" fmla="*/ 45 w 624"/>
                <a:gd name="T65" fmla="*/ 39 h 672"/>
                <a:gd name="T66" fmla="*/ 43 w 624"/>
                <a:gd name="T67" fmla="*/ 43 h 672"/>
                <a:gd name="T68" fmla="*/ 39 w 624"/>
                <a:gd name="T69" fmla="*/ 50 h 672"/>
                <a:gd name="T70" fmla="*/ 36 w 624"/>
                <a:gd name="T71" fmla="*/ 53 h 672"/>
                <a:gd name="T72" fmla="*/ 32 w 624"/>
                <a:gd name="T73" fmla="*/ 56 h 672"/>
                <a:gd name="T74" fmla="*/ 30 w 624"/>
                <a:gd name="T75" fmla="*/ 58 h 672"/>
                <a:gd name="T76" fmla="*/ 20 w 624"/>
                <a:gd name="T77" fmla="*/ 59 h 672"/>
                <a:gd name="T78" fmla="*/ 15 w 624"/>
                <a:gd name="T79" fmla="*/ 59 h 67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24"/>
                <a:gd name="T121" fmla="*/ 0 h 672"/>
                <a:gd name="T122" fmla="*/ 624 w 624"/>
                <a:gd name="T123" fmla="*/ 672 h 67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24" h="672">
                  <a:moveTo>
                    <a:pt x="168" y="672"/>
                  </a:moveTo>
                  <a:lnTo>
                    <a:pt x="132" y="672"/>
                  </a:lnTo>
                  <a:lnTo>
                    <a:pt x="72" y="666"/>
                  </a:lnTo>
                  <a:lnTo>
                    <a:pt x="42" y="666"/>
                  </a:lnTo>
                  <a:lnTo>
                    <a:pt x="36" y="666"/>
                  </a:lnTo>
                  <a:lnTo>
                    <a:pt x="30" y="660"/>
                  </a:lnTo>
                  <a:lnTo>
                    <a:pt x="0" y="660"/>
                  </a:lnTo>
                  <a:lnTo>
                    <a:pt x="24" y="120"/>
                  </a:lnTo>
                  <a:lnTo>
                    <a:pt x="60" y="120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62" y="120"/>
                  </a:lnTo>
                  <a:lnTo>
                    <a:pt x="168" y="120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10" y="156"/>
                  </a:lnTo>
                  <a:lnTo>
                    <a:pt x="222" y="174"/>
                  </a:lnTo>
                  <a:lnTo>
                    <a:pt x="240" y="186"/>
                  </a:lnTo>
                  <a:lnTo>
                    <a:pt x="252" y="198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216"/>
                  </a:lnTo>
                  <a:lnTo>
                    <a:pt x="270" y="216"/>
                  </a:lnTo>
                  <a:lnTo>
                    <a:pt x="282" y="222"/>
                  </a:lnTo>
                  <a:lnTo>
                    <a:pt x="288" y="222"/>
                  </a:lnTo>
                  <a:lnTo>
                    <a:pt x="294" y="216"/>
                  </a:lnTo>
                  <a:lnTo>
                    <a:pt x="294" y="210"/>
                  </a:lnTo>
                  <a:lnTo>
                    <a:pt x="312" y="204"/>
                  </a:lnTo>
                  <a:lnTo>
                    <a:pt x="330" y="186"/>
                  </a:lnTo>
                  <a:lnTo>
                    <a:pt x="336" y="174"/>
                  </a:lnTo>
                  <a:lnTo>
                    <a:pt x="342" y="162"/>
                  </a:lnTo>
                  <a:lnTo>
                    <a:pt x="342" y="156"/>
                  </a:lnTo>
                  <a:lnTo>
                    <a:pt x="348" y="150"/>
                  </a:lnTo>
                  <a:lnTo>
                    <a:pt x="354" y="144"/>
                  </a:lnTo>
                  <a:lnTo>
                    <a:pt x="360" y="138"/>
                  </a:lnTo>
                  <a:lnTo>
                    <a:pt x="366" y="132"/>
                  </a:lnTo>
                  <a:lnTo>
                    <a:pt x="372" y="114"/>
                  </a:lnTo>
                  <a:lnTo>
                    <a:pt x="378" y="114"/>
                  </a:lnTo>
                  <a:lnTo>
                    <a:pt x="378" y="96"/>
                  </a:lnTo>
                  <a:lnTo>
                    <a:pt x="390" y="96"/>
                  </a:lnTo>
                  <a:lnTo>
                    <a:pt x="396" y="84"/>
                  </a:lnTo>
                  <a:lnTo>
                    <a:pt x="396" y="72"/>
                  </a:lnTo>
                  <a:lnTo>
                    <a:pt x="396" y="54"/>
                  </a:lnTo>
                  <a:lnTo>
                    <a:pt x="408" y="42"/>
                  </a:lnTo>
                  <a:lnTo>
                    <a:pt x="468" y="42"/>
                  </a:lnTo>
                  <a:lnTo>
                    <a:pt x="486" y="36"/>
                  </a:lnTo>
                  <a:lnTo>
                    <a:pt x="492" y="24"/>
                  </a:lnTo>
                  <a:lnTo>
                    <a:pt x="504" y="24"/>
                  </a:lnTo>
                  <a:lnTo>
                    <a:pt x="516" y="6"/>
                  </a:lnTo>
                  <a:lnTo>
                    <a:pt x="528" y="0"/>
                  </a:lnTo>
                  <a:lnTo>
                    <a:pt x="558" y="12"/>
                  </a:lnTo>
                  <a:lnTo>
                    <a:pt x="588" y="36"/>
                  </a:lnTo>
                  <a:lnTo>
                    <a:pt x="600" y="66"/>
                  </a:lnTo>
                  <a:lnTo>
                    <a:pt x="624" y="66"/>
                  </a:lnTo>
                  <a:lnTo>
                    <a:pt x="624" y="90"/>
                  </a:lnTo>
                  <a:lnTo>
                    <a:pt x="618" y="90"/>
                  </a:lnTo>
                  <a:lnTo>
                    <a:pt x="618" y="96"/>
                  </a:lnTo>
                  <a:lnTo>
                    <a:pt x="600" y="102"/>
                  </a:lnTo>
                  <a:lnTo>
                    <a:pt x="588" y="108"/>
                  </a:lnTo>
                  <a:lnTo>
                    <a:pt x="570" y="120"/>
                  </a:lnTo>
                  <a:lnTo>
                    <a:pt x="564" y="138"/>
                  </a:lnTo>
                  <a:lnTo>
                    <a:pt x="558" y="162"/>
                  </a:lnTo>
                  <a:lnTo>
                    <a:pt x="540" y="210"/>
                  </a:lnTo>
                  <a:lnTo>
                    <a:pt x="528" y="252"/>
                  </a:lnTo>
                  <a:lnTo>
                    <a:pt x="528" y="402"/>
                  </a:lnTo>
                  <a:lnTo>
                    <a:pt x="522" y="444"/>
                  </a:lnTo>
                  <a:lnTo>
                    <a:pt x="510" y="468"/>
                  </a:lnTo>
                  <a:lnTo>
                    <a:pt x="498" y="498"/>
                  </a:lnTo>
                  <a:lnTo>
                    <a:pt x="474" y="534"/>
                  </a:lnTo>
                  <a:lnTo>
                    <a:pt x="456" y="570"/>
                  </a:lnTo>
                  <a:lnTo>
                    <a:pt x="444" y="576"/>
                  </a:lnTo>
                  <a:lnTo>
                    <a:pt x="420" y="606"/>
                  </a:lnTo>
                  <a:lnTo>
                    <a:pt x="390" y="624"/>
                  </a:lnTo>
                  <a:lnTo>
                    <a:pt x="372" y="642"/>
                  </a:lnTo>
                  <a:lnTo>
                    <a:pt x="366" y="654"/>
                  </a:lnTo>
                  <a:lnTo>
                    <a:pt x="342" y="660"/>
                  </a:lnTo>
                  <a:lnTo>
                    <a:pt x="300" y="666"/>
                  </a:lnTo>
                  <a:lnTo>
                    <a:pt x="234" y="672"/>
                  </a:lnTo>
                  <a:lnTo>
                    <a:pt x="192" y="672"/>
                  </a:lnTo>
                  <a:lnTo>
                    <a:pt x="168" y="67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9" name="Freeform 14">
              <a:extLst>
                <a:ext uri="{FF2B5EF4-FFF2-40B4-BE49-F238E27FC236}">
                  <a16:creationId xmlns:a16="http://schemas.microsoft.com/office/drawing/2014/main" id="{2EA1E999-9CDF-4391-8BC9-7DE71AF9C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0460" y="2983045"/>
              <a:ext cx="905658" cy="561362"/>
            </a:xfrm>
            <a:custGeom>
              <a:avLst/>
              <a:gdLst>
                <a:gd name="T0" fmla="*/ 31 w 1704"/>
                <a:gd name="T1" fmla="*/ 78 h 1056"/>
                <a:gd name="T2" fmla="*/ 23 w 1704"/>
                <a:gd name="T3" fmla="*/ 78 h 1056"/>
                <a:gd name="T4" fmla="*/ 11 w 1704"/>
                <a:gd name="T5" fmla="*/ 79 h 1056"/>
                <a:gd name="T6" fmla="*/ 1 w 1704"/>
                <a:gd name="T7" fmla="*/ 81 h 1056"/>
                <a:gd name="T8" fmla="*/ 0 w 1704"/>
                <a:gd name="T9" fmla="*/ 62 h 1056"/>
                <a:gd name="T10" fmla="*/ 9 w 1704"/>
                <a:gd name="T11" fmla="*/ 56 h 1056"/>
                <a:gd name="T12" fmla="*/ 27 w 1704"/>
                <a:gd name="T13" fmla="*/ 48 h 1056"/>
                <a:gd name="T14" fmla="*/ 35 w 1704"/>
                <a:gd name="T15" fmla="*/ 20 h 1056"/>
                <a:gd name="T16" fmla="*/ 43 w 1704"/>
                <a:gd name="T17" fmla="*/ 6 h 1056"/>
                <a:gd name="T18" fmla="*/ 47 w 1704"/>
                <a:gd name="T19" fmla="*/ 7 h 1056"/>
                <a:gd name="T20" fmla="*/ 52 w 1704"/>
                <a:gd name="T21" fmla="*/ 0 h 1056"/>
                <a:gd name="T22" fmla="*/ 59 w 1704"/>
                <a:gd name="T23" fmla="*/ 5 h 1056"/>
                <a:gd name="T24" fmla="*/ 63 w 1704"/>
                <a:gd name="T25" fmla="*/ 12 h 1056"/>
                <a:gd name="T26" fmla="*/ 62 w 1704"/>
                <a:gd name="T27" fmla="*/ 15 h 1056"/>
                <a:gd name="T28" fmla="*/ 62 w 1704"/>
                <a:gd name="T29" fmla="*/ 18 h 1056"/>
                <a:gd name="T30" fmla="*/ 70 w 1704"/>
                <a:gd name="T31" fmla="*/ 18 h 1056"/>
                <a:gd name="T32" fmla="*/ 71 w 1704"/>
                <a:gd name="T33" fmla="*/ 14 h 1056"/>
                <a:gd name="T34" fmla="*/ 72 w 1704"/>
                <a:gd name="T35" fmla="*/ 12 h 1056"/>
                <a:gd name="T36" fmla="*/ 78 w 1704"/>
                <a:gd name="T37" fmla="*/ 14 h 1056"/>
                <a:gd name="T38" fmla="*/ 85 w 1704"/>
                <a:gd name="T39" fmla="*/ 21 h 1056"/>
                <a:gd name="T40" fmla="*/ 91 w 1704"/>
                <a:gd name="T41" fmla="*/ 15 h 1056"/>
                <a:gd name="T42" fmla="*/ 93 w 1704"/>
                <a:gd name="T43" fmla="*/ 10 h 1056"/>
                <a:gd name="T44" fmla="*/ 101 w 1704"/>
                <a:gd name="T45" fmla="*/ 14 h 1056"/>
                <a:gd name="T46" fmla="*/ 103 w 1704"/>
                <a:gd name="T47" fmla="*/ 19 h 1056"/>
                <a:gd name="T48" fmla="*/ 115 w 1704"/>
                <a:gd name="T49" fmla="*/ 20 h 1056"/>
                <a:gd name="T50" fmla="*/ 118 w 1704"/>
                <a:gd name="T51" fmla="*/ 23 h 1056"/>
                <a:gd name="T52" fmla="*/ 117 w 1704"/>
                <a:gd name="T53" fmla="*/ 27 h 1056"/>
                <a:gd name="T54" fmla="*/ 111 w 1704"/>
                <a:gd name="T55" fmla="*/ 33 h 1056"/>
                <a:gd name="T56" fmla="*/ 108 w 1704"/>
                <a:gd name="T57" fmla="*/ 36 h 1056"/>
                <a:gd name="T58" fmla="*/ 109 w 1704"/>
                <a:gd name="T59" fmla="*/ 40 h 1056"/>
                <a:gd name="T60" fmla="*/ 111 w 1704"/>
                <a:gd name="T61" fmla="*/ 43 h 1056"/>
                <a:gd name="T62" fmla="*/ 113 w 1704"/>
                <a:gd name="T63" fmla="*/ 50 h 1056"/>
                <a:gd name="T64" fmla="*/ 121 w 1704"/>
                <a:gd name="T65" fmla="*/ 55 h 1056"/>
                <a:gd name="T66" fmla="*/ 132 w 1704"/>
                <a:gd name="T67" fmla="*/ 52 h 1056"/>
                <a:gd name="T68" fmla="*/ 148 w 1704"/>
                <a:gd name="T69" fmla="*/ 58 h 1056"/>
                <a:gd name="T70" fmla="*/ 148 w 1704"/>
                <a:gd name="T71" fmla="*/ 61 h 1056"/>
                <a:gd name="T72" fmla="*/ 148 w 1704"/>
                <a:gd name="T73" fmla="*/ 64 h 1056"/>
                <a:gd name="T74" fmla="*/ 135 w 1704"/>
                <a:gd name="T75" fmla="*/ 61 h 1056"/>
                <a:gd name="T76" fmla="*/ 135 w 1704"/>
                <a:gd name="T77" fmla="*/ 66 h 1056"/>
                <a:gd name="T78" fmla="*/ 137 w 1704"/>
                <a:gd name="T79" fmla="*/ 71 h 1056"/>
                <a:gd name="T80" fmla="*/ 136 w 1704"/>
                <a:gd name="T81" fmla="*/ 79 h 1056"/>
                <a:gd name="T82" fmla="*/ 126 w 1704"/>
                <a:gd name="T83" fmla="*/ 84 h 1056"/>
                <a:gd name="T84" fmla="*/ 121 w 1704"/>
                <a:gd name="T85" fmla="*/ 79 h 1056"/>
                <a:gd name="T86" fmla="*/ 117 w 1704"/>
                <a:gd name="T87" fmla="*/ 75 h 1056"/>
                <a:gd name="T88" fmla="*/ 98 w 1704"/>
                <a:gd name="T89" fmla="*/ 74 h 1056"/>
                <a:gd name="T90" fmla="*/ 81 w 1704"/>
                <a:gd name="T91" fmla="*/ 75 h 1056"/>
                <a:gd name="T92" fmla="*/ 83 w 1704"/>
                <a:gd name="T93" fmla="*/ 88 h 1056"/>
                <a:gd name="T94" fmla="*/ 82 w 1704"/>
                <a:gd name="T95" fmla="*/ 91 h 1056"/>
                <a:gd name="T96" fmla="*/ 77 w 1704"/>
                <a:gd name="T97" fmla="*/ 90 h 1056"/>
                <a:gd name="T98" fmla="*/ 73 w 1704"/>
                <a:gd name="T99" fmla="*/ 86 h 1056"/>
                <a:gd name="T100" fmla="*/ 68 w 1704"/>
                <a:gd name="T101" fmla="*/ 85 h 1056"/>
                <a:gd name="T102" fmla="*/ 64 w 1704"/>
                <a:gd name="T103" fmla="*/ 83 h 1056"/>
                <a:gd name="T104" fmla="*/ 57 w 1704"/>
                <a:gd name="T105" fmla="*/ 81 h 1056"/>
                <a:gd name="T106" fmla="*/ 52 w 1704"/>
                <a:gd name="T107" fmla="*/ 80 h 1056"/>
                <a:gd name="T108" fmla="*/ 50 w 1704"/>
                <a:gd name="T109" fmla="*/ 80 h 1056"/>
                <a:gd name="T110" fmla="*/ 46 w 1704"/>
                <a:gd name="T111" fmla="*/ 79 h 1056"/>
                <a:gd name="T112" fmla="*/ 41 w 1704"/>
                <a:gd name="T113" fmla="*/ 78 h 10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04"/>
                <a:gd name="T172" fmla="*/ 0 h 1056"/>
                <a:gd name="T173" fmla="*/ 1704 w 1704"/>
                <a:gd name="T174" fmla="*/ 1056 h 10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04" h="1056">
                  <a:moveTo>
                    <a:pt x="450" y="888"/>
                  </a:moveTo>
                  <a:lnTo>
                    <a:pt x="420" y="888"/>
                  </a:lnTo>
                  <a:lnTo>
                    <a:pt x="414" y="888"/>
                  </a:lnTo>
                  <a:lnTo>
                    <a:pt x="396" y="888"/>
                  </a:lnTo>
                  <a:lnTo>
                    <a:pt x="372" y="888"/>
                  </a:lnTo>
                  <a:lnTo>
                    <a:pt x="366" y="888"/>
                  </a:lnTo>
                  <a:lnTo>
                    <a:pt x="360" y="888"/>
                  </a:lnTo>
                  <a:lnTo>
                    <a:pt x="348" y="888"/>
                  </a:lnTo>
                  <a:lnTo>
                    <a:pt x="330" y="894"/>
                  </a:lnTo>
                  <a:lnTo>
                    <a:pt x="324" y="894"/>
                  </a:lnTo>
                  <a:lnTo>
                    <a:pt x="312" y="888"/>
                  </a:lnTo>
                  <a:lnTo>
                    <a:pt x="300" y="888"/>
                  </a:lnTo>
                  <a:lnTo>
                    <a:pt x="282" y="888"/>
                  </a:lnTo>
                  <a:lnTo>
                    <a:pt x="270" y="888"/>
                  </a:lnTo>
                  <a:lnTo>
                    <a:pt x="240" y="882"/>
                  </a:lnTo>
                  <a:lnTo>
                    <a:pt x="222" y="882"/>
                  </a:lnTo>
                  <a:lnTo>
                    <a:pt x="198" y="882"/>
                  </a:lnTo>
                  <a:lnTo>
                    <a:pt x="174" y="894"/>
                  </a:lnTo>
                  <a:lnTo>
                    <a:pt x="162" y="900"/>
                  </a:lnTo>
                  <a:lnTo>
                    <a:pt x="144" y="906"/>
                  </a:lnTo>
                  <a:lnTo>
                    <a:pt x="126" y="912"/>
                  </a:lnTo>
                  <a:lnTo>
                    <a:pt x="102" y="924"/>
                  </a:lnTo>
                  <a:lnTo>
                    <a:pt x="78" y="930"/>
                  </a:lnTo>
                  <a:lnTo>
                    <a:pt x="72" y="936"/>
                  </a:lnTo>
                  <a:lnTo>
                    <a:pt x="30" y="954"/>
                  </a:lnTo>
                  <a:lnTo>
                    <a:pt x="12" y="966"/>
                  </a:lnTo>
                  <a:lnTo>
                    <a:pt x="12" y="954"/>
                  </a:lnTo>
                  <a:lnTo>
                    <a:pt x="12" y="930"/>
                  </a:lnTo>
                  <a:lnTo>
                    <a:pt x="12" y="894"/>
                  </a:lnTo>
                  <a:lnTo>
                    <a:pt x="30" y="828"/>
                  </a:lnTo>
                  <a:lnTo>
                    <a:pt x="36" y="798"/>
                  </a:lnTo>
                  <a:lnTo>
                    <a:pt x="18" y="774"/>
                  </a:lnTo>
                  <a:lnTo>
                    <a:pt x="18" y="756"/>
                  </a:lnTo>
                  <a:lnTo>
                    <a:pt x="6" y="738"/>
                  </a:lnTo>
                  <a:lnTo>
                    <a:pt x="0" y="714"/>
                  </a:lnTo>
                  <a:lnTo>
                    <a:pt x="12" y="678"/>
                  </a:lnTo>
                  <a:lnTo>
                    <a:pt x="18" y="678"/>
                  </a:lnTo>
                  <a:lnTo>
                    <a:pt x="24" y="672"/>
                  </a:lnTo>
                  <a:lnTo>
                    <a:pt x="30" y="666"/>
                  </a:lnTo>
                  <a:lnTo>
                    <a:pt x="42" y="648"/>
                  </a:lnTo>
                  <a:lnTo>
                    <a:pt x="66" y="648"/>
                  </a:lnTo>
                  <a:lnTo>
                    <a:pt x="108" y="648"/>
                  </a:lnTo>
                  <a:lnTo>
                    <a:pt x="174" y="642"/>
                  </a:lnTo>
                  <a:lnTo>
                    <a:pt x="216" y="636"/>
                  </a:lnTo>
                  <a:lnTo>
                    <a:pt x="240" y="630"/>
                  </a:lnTo>
                  <a:lnTo>
                    <a:pt x="246" y="618"/>
                  </a:lnTo>
                  <a:lnTo>
                    <a:pt x="264" y="600"/>
                  </a:lnTo>
                  <a:lnTo>
                    <a:pt x="294" y="582"/>
                  </a:lnTo>
                  <a:lnTo>
                    <a:pt x="318" y="552"/>
                  </a:lnTo>
                  <a:lnTo>
                    <a:pt x="330" y="546"/>
                  </a:lnTo>
                  <a:lnTo>
                    <a:pt x="348" y="510"/>
                  </a:lnTo>
                  <a:lnTo>
                    <a:pt x="372" y="474"/>
                  </a:lnTo>
                  <a:lnTo>
                    <a:pt x="384" y="444"/>
                  </a:lnTo>
                  <a:lnTo>
                    <a:pt x="396" y="420"/>
                  </a:lnTo>
                  <a:lnTo>
                    <a:pt x="402" y="378"/>
                  </a:lnTo>
                  <a:lnTo>
                    <a:pt x="402" y="228"/>
                  </a:lnTo>
                  <a:lnTo>
                    <a:pt x="414" y="186"/>
                  </a:lnTo>
                  <a:lnTo>
                    <a:pt x="432" y="138"/>
                  </a:lnTo>
                  <a:lnTo>
                    <a:pt x="438" y="114"/>
                  </a:lnTo>
                  <a:lnTo>
                    <a:pt x="444" y="96"/>
                  </a:lnTo>
                  <a:lnTo>
                    <a:pt x="462" y="84"/>
                  </a:lnTo>
                  <a:lnTo>
                    <a:pt x="474" y="78"/>
                  </a:lnTo>
                  <a:lnTo>
                    <a:pt x="492" y="72"/>
                  </a:lnTo>
                  <a:lnTo>
                    <a:pt x="492" y="66"/>
                  </a:lnTo>
                  <a:lnTo>
                    <a:pt x="498" y="66"/>
                  </a:lnTo>
                  <a:lnTo>
                    <a:pt x="510" y="66"/>
                  </a:lnTo>
                  <a:lnTo>
                    <a:pt x="510" y="72"/>
                  </a:lnTo>
                  <a:lnTo>
                    <a:pt x="516" y="72"/>
                  </a:lnTo>
                  <a:lnTo>
                    <a:pt x="522" y="78"/>
                  </a:lnTo>
                  <a:lnTo>
                    <a:pt x="546" y="78"/>
                  </a:lnTo>
                  <a:lnTo>
                    <a:pt x="552" y="60"/>
                  </a:lnTo>
                  <a:lnTo>
                    <a:pt x="570" y="42"/>
                  </a:lnTo>
                  <a:lnTo>
                    <a:pt x="576" y="24"/>
                  </a:lnTo>
                  <a:lnTo>
                    <a:pt x="588" y="18"/>
                  </a:lnTo>
                  <a:lnTo>
                    <a:pt x="588" y="12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624" y="0"/>
                  </a:lnTo>
                  <a:lnTo>
                    <a:pt x="636" y="6"/>
                  </a:lnTo>
                  <a:lnTo>
                    <a:pt x="648" y="24"/>
                  </a:lnTo>
                  <a:lnTo>
                    <a:pt x="654" y="48"/>
                  </a:lnTo>
                  <a:lnTo>
                    <a:pt x="672" y="60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0" y="72"/>
                  </a:lnTo>
                  <a:lnTo>
                    <a:pt x="690" y="78"/>
                  </a:lnTo>
                  <a:lnTo>
                    <a:pt x="696" y="90"/>
                  </a:lnTo>
                  <a:lnTo>
                    <a:pt x="714" y="114"/>
                  </a:lnTo>
                  <a:lnTo>
                    <a:pt x="714" y="120"/>
                  </a:lnTo>
                  <a:lnTo>
                    <a:pt x="720" y="132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20" y="150"/>
                  </a:lnTo>
                  <a:lnTo>
                    <a:pt x="714" y="150"/>
                  </a:lnTo>
                  <a:lnTo>
                    <a:pt x="714" y="156"/>
                  </a:lnTo>
                  <a:lnTo>
                    <a:pt x="714" y="162"/>
                  </a:lnTo>
                  <a:lnTo>
                    <a:pt x="708" y="162"/>
                  </a:lnTo>
                  <a:lnTo>
                    <a:pt x="708" y="168"/>
                  </a:lnTo>
                  <a:lnTo>
                    <a:pt x="702" y="168"/>
                  </a:lnTo>
                  <a:lnTo>
                    <a:pt x="702" y="174"/>
                  </a:lnTo>
                  <a:lnTo>
                    <a:pt x="702" y="180"/>
                  </a:lnTo>
                  <a:lnTo>
                    <a:pt x="708" y="180"/>
                  </a:lnTo>
                  <a:lnTo>
                    <a:pt x="708" y="186"/>
                  </a:lnTo>
                  <a:lnTo>
                    <a:pt x="708" y="192"/>
                  </a:lnTo>
                  <a:lnTo>
                    <a:pt x="714" y="204"/>
                  </a:lnTo>
                  <a:lnTo>
                    <a:pt x="726" y="216"/>
                  </a:lnTo>
                  <a:lnTo>
                    <a:pt x="738" y="216"/>
                  </a:lnTo>
                  <a:lnTo>
                    <a:pt x="768" y="222"/>
                  </a:lnTo>
                  <a:lnTo>
                    <a:pt x="780" y="216"/>
                  </a:lnTo>
                  <a:lnTo>
                    <a:pt x="792" y="204"/>
                  </a:lnTo>
                  <a:lnTo>
                    <a:pt x="798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6" y="192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6" y="174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22" y="156"/>
                  </a:lnTo>
                  <a:lnTo>
                    <a:pt x="822" y="150"/>
                  </a:lnTo>
                  <a:lnTo>
                    <a:pt x="828" y="144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8" y="138"/>
                  </a:lnTo>
                  <a:lnTo>
                    <a:pt x="834" y="132"/>
                  </a:lnTo>
                  <a:lnTo>
                    <a:pt x="840" y="132"/>
                  </a:lnTo>
                  <a:lnTo>
                    <a:pt x="864" y="126"/>
                  </a:lnTo>
                  <a:lnTo>
                    <a:pt x="906" y="144"/>
                  </a:lnTo>
                  <a:lnTo>
                    <a:pt x="906" y="150"/>
                  </a:lnTo>
                  <a:lnTo>
                    <a:pt x="906" y="156"/>
                  </a:lnTo>
                  <a:lnTo>
                    <a:pt x="900" y="162"/>
                  </a:lnTo>
                  <a:lnTo>
                    <a:pt x="924" y="168"/>
                  </a:lnTo>
                  <a:lnTo>
                    <a:pt x="942" y="192"/>
                  </a:lnTo>
                  <a:lnTo>
                    <a:pt x="972" y="210"/>
                  </a:lnTo>
                  <a:lnTo>
                    <a:pt x="972" y="216"/>
                  </a:lnTo>
                  <a:lnTo>
                    <a:pt x="972" y="228"/>
                  </a:lnTo>
                  <a:lnTo>
                    <a:pt x="978" y="234"/>
                  </a:lnTo>
                  <a:lnTo>
                    <a:pt x="978" y="246"/>
                  </a:lnTo>
                  <a:lnTo>
                    <a:pt x="984" y="252"/>
                  </a:lnTo>
                  <a:lnTo>
                    <a:pt x="1014" y="252"/>
                  </a:lnTo>
                  <a:lnTo>
                    <a:pt x="1020" y="228"/>
                  </a:lnTo>
                  <a:lnTo>
                    <a:pt x="1026" y="198"/>
                  </a:lnTo>
                  <a:lnTo>
                    <a:pt x="1050" y="186"/>
                  </a:lnTo>
                  <a:lnTo>
                    <a:pt x="1056" y="180"/>
                  </a:lnTo>
                  <a:lnTo>
                    <a:pt x="1050" y="174"/>
                  </a:lnTo>
                  <a:lnTo>
                    <a:pt x="1050" y="168"/>
                  </a:lnTo>
                  <a:lnTo>
                    <a:pt x="1050" y="162"/>
                  </a:lnTo>
                  <a:lnTo>
                    <a:pt x="1056" y="162"/>
                  </a:lnTo>
                  <a:lnTo>
                    <a:pt x="1062" y="162"/>
                  </a:lnTo>
                  <a:lnTo>
                    <a:pt x="1074" y="162"/>
                  </a:lnTo>
                  <a:lnTo>
                    <a:pt x="1074" y="144"/>
                  </a:lnTo>
                  <a:lnTo>
                    <a:pt x="1074" y="120"/>
                  </a:lnTo>
                  <a:lnTo>
                    <a:pt x="1092" y="120"/>
                  </a:lnTo>
                  <a:lnTo>
                    <a:pt x="1098" y="126"/>
                  </a:lnTo>
                  <a:lnTo>
                    <a:pt x="1134" y="132"/>
                  </a:lnTo>
                  <a:lnTo>
                    <a:pt x="1146" y="132"/>
                  </a:lnTo>
                  <a:lnTo>
                    <a:pt x="1158" y="150"/>
                  </a:lnTo>
                  <a:lnTo>
                    <a:pt x="1158" y="156"/>
                  </a:lnTo>
                  <a:lnTo>
                    <a:pt x="1158" y="162"/>
                  </a:lnTo>
                  <a:lnTo>
                    <a:pt x="1158" y="180"/>
                  </a:lnTo>
                  <a:lnTo>
                    <a:pt x="1158" y="186"/>
                  </a:lnTo>
                  <a:lnTo>
                    <a:pt x="1164" y="192"/>
                  </a:lnTo>
                  <a:lnTo>
                    <a:pt x="1176" y="198"/>
                  </a:lnTo>
                  <a:lnTo>
                    <a:pt x="1182" y="198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8"/>
                  </a:lnTo>
                  <a:lnTo>
                    <a:pt x="1188" y="234"/>
                  </a:lnTo>
                  <a:lnTo>
                    <a:pt x="1212" y="234"/>
                  </a:lnTo>
                  <a:lnTo>
                    <a:pt x="1242" y="234"/>
                  </a:lnTo>
                  <a:lnTo>
                    <a:pt x="1248" y="234"/>
                  </a:lnTo>
                  <a:lnTo>
                    <a:pt x="1278" y="240"/>
                  </a:lnTo>
                  <a:lnTo>
                    <a:pt x="1320" y="234"/>
                  </a:lnTo>
                  <a:lnTo>
                    <a:pt x="1332" y="228"/>
                  </a:lnTo>
                  <a:lnTo>
                    <a:pt x="1344" y="228"/>
                  </a:lnTo>
                  <a:lnTo>
                    <a:pt x="1350" y="234"/>
                  </a:lnTo>
                  <a:lnTo>
                    <a:pt x="1350" y="240"/>
                  </a:lnTo>
                  <a:lnTo>
                    <a:pt x="1356" y="246"/>
                  </a:lnTo>
                  <a:lnTo>
                    <a:pt x="1350" y="252"/>
                  </a:lnTo>
                  <a:lnTo>
                    <a:pt x="1356" y="264"/>
                  </a:lnTo>
                  <a:lnTo>
                    <a:pt x="1356" y="270"/>
                  </a:lnTo>
                  <a:lnTo>
                    <a:pt x="1356" y="276"/>
                  </a:lnTo>
                  <a:lnTo>
                    <a:pt x="1356" y="282"/>
                  </a:lnTo>
                  <a:lnTo>
                    <a:pt x="1356" y="288"/>
                  </a:lnTo>
                  <a:lnTo>
                    <a:pt x="1350" y="294"/>
                  </a:lnTo>
                  <a:lnTo>
                    <a:pt x="1344" y="300"/>
                  </a:lnTo>
                  <a:lnTo>
                    <a:pt x="1344" y="306"/>
                  </a:lnTo>
                  <a:lnTo>
                    <a:pt x="1338" y="312"/>
                  </a:lnTo>
                  <a:lnTo>
                    <a:pt x="1326" y="342"/>
                  </a:lnTo>
                  <a:lnTo>
                    <a:pt x="1320" y="348"/>
                  </a:lnTo>
                  <a:lnTo>
                    <a:pt x="1314" y="354"/>
                  </a:lnTo>
                  <a:lnTo>
                    <a:pt x="1290" y="354"/>
                  </a:lnTo>
                  <a:lnTo>
                    <a:pt x="1284" y="360"/>
                  </a:lnTo>
                  <a:lnTo>
                    <a:pt x="1278" y="378"/>
                  </a:lnTo>
                  <a:lnTo>
                    <a:pt x="1278" y="384"/>
                  </a:lnTo>
                  <a:lnTo>
                    <a:pt x="1272" y="390"/>
                  </a:lnTo>
                  <a:lnTo>
                    <a:pt x="1266" y="396"/>
                  </a:lnTo>
                  <a:lnTo>
                    <a:pt x="1260" y="396"/>
                  </a:lnTo>
                  <a:lnTo>
                    <a:pt x="1248" y="402"/>
                  </a:lnTo>
                  <a:lnTo>
                    <a:pt x="1242" y="408"/>
                  </a:lnTo>
                  <a:lnTo>
                    <a:pt x="1242" y="414"/>
                  </a:lnTo>
                  <a:lnTo>
                    <a:pt x="1242" y="420"/>
                  </a:lnTo>
                  <a:lnTo>
                    <a:pt x="1236" y="432"/>
                  </a:lnTo>
                  <a:lnTo>
                    <a:pt x="1242" y="432"/>
                  </a:lnTo>
                  <a:lnTo>
                    <a:pt x="1242" y="444"/>
                  </a:lnTo>
                  <a:lnTo>
                    <a:pt x="1242" y="456"/>
                  </a:lnTo>
                  <a:lnTo>
                    <a:pt x="1248" y="456"/>
                  </a:lnTo>
                  <a:lnTo>
                    <a:pt x="1254" y="462"/>
                  </a:lnTo>
                  <a:lnTo>
                    <a:pt x="1248" y="468"/>
                  </a:lnTo>
                  <a:lnTo>
                    <a:pt x="1254" y="468"/>
                  </a:lnTo>
                  <a:lnTo>
                    <a:pt x="1266" y="474"/>
                  </a:lnTo>
                  <a:lnTo>
                    <a:pt x="1266" y="480"/>
                  </a:lnTo>
                  <a:lnTo>
                    <a:pt x="1266" y="486"/>
                  </a:lnTo>
                  <a:lnTo>
                    <a:pt x="1272" y="486"/>
                  </a:lnTo>
                  <a:lnTo>
                    <a:pt x="1272" y="492"/>
                  </a:lnTo>
                  <a:lnTo>
                    <a:pt x="1290" y="510"/>
                  </a:lnTo>
                  <a:lnTo>
                    <a:pt x="1296" y="516"/>
                  </a:lnTo>
                  <a:lnTo>
                    <a:pt x="1302" y="540"/>
                  </a:lnTo>
                  <a:lnTo>
                    <a:pt x="1302" y="546"/>
                  </a:lnTo>
                  <a:lnTo>
                    <a:pt x="1302" y="558"/>
                  </a:lnTo>
                  <a:lnTo>
                    <a:pt x="1302" y="570"/>
                  </a:lnTo>
                  <a:lnTo>
                    <a:pt x="1302" y="576"/>
                  </a:lnTo>
                  <a:lnTo>
                    <a:pt x="1344" y="570"/>
                  </a:lnTo>
                  <a:lnTo>
                    <a:pt x="1350" y="582"/>
                  </a:lnTo>
                  <a:lnTo>
                    <a:pt x="1368" y="594"/>
                  </a:lnTo>
                  <a:lnTo>
                    <a:pt x="1374" y="600"/>
                  </a:lnTo>
                  <a:lnTo>
                    <a:pt x="1380" y="600"/>
                  </a:lnTo>
                  <a:lnTo>
                    <a:pt x="1380" y="618"/>
                  </a:lnTo>
                  <a:lnTo>
                    <a:pt x="1386" y="624"/>
                  </a:lnTo>
                  <a:lnTo>
                    <a:pt x="1404" y="624"/>
                  </a:lnTo>
                  <a:lnTo>
                    <a:pt x="1410" y="612"/>
                  </a:lnTo>
                  <a:lnTo>
                    <a:pt x="1428" y="606"/>
                  </a:lnTo>
                  <a:lnTo>
                    <a:pt x="1488" y="606"/>
                  </a:lnTo>
                  <a:lnTo>
                    <a:pt x="1506" y="606"/>
                  </a:lnTo>
                  <a:lnTo>
                    <a:pt x="1512" y="600"/>
                  </a:lnTo>
                  <a:lnTo>
                    <a:pt x="1524" y="594"/>
                  </a:lnTo>
                  <a:lnTo>
                    <a:pt x="1554" y="594"/>
                  </a:lnTo>
                  <a:lnTo>
                    <a:pt x="1578" y="606"/>
                  </a:lnTo>
                  <a:lnTo>
                    <a:pt x="1596" y="624"/>
                  </a:lnTo>
                  <a:lnTo>
                    <a:pt x="1650" y="642"/>
                  </a:lnTo>
                  <a:lnTo>
                    <a:pt x="1686" y="648"/>
                  </a:lnTo>
                  <a:lnTo>
                    <a:pt x="1698" y="654"/>
                  </a:lnTo>
                  <a:lnTo>
                    <a:pt x="1698" y="660"/>
                  </a:lnTo>
                  <a:lnTo>
                    <a:pt x="1692" y="666"/>
                  </a:lnTo>
                  <a:lnTo>
                    <a:pt x="1692" y="672"/>
                  </a:lnTo>
                  <a:lnTo>
                    <a:pt x="1698" y="678"/>
                  </a:lnTo>
                  <a:lnTo>
                    <a:pt x="1698" y="684"/>
                  </a:lnTo>
                  <a:lnTo>
                    <a:pt x="1692" y="684"/>
                  </a:lnTo>
                  <a:lnTo>
                    <a:pt x="1692" y="690"/>
                  </a:lnTo>
                  <a:lnTo>
                    <a:pt x="1698" y="696"/>
                  </a:lnTo>
                  <a:lnTo>
                    <a:pt x="1698" y="702"/>
                  </a:lnTo>
                  <a:lnTo>
                    <a:pt x="1698" y="708"/>
                  </a:lnTo>
                  <a:lnTo>
                    <a:pt x="1704" y="714"/>
                  </a:lnTo>
                  <a:lnTo>
                    <a:pt x="1704" y="720"/>
                  </a:lnTo>
                  <a:lnTo>
                    <a:pt x="1704" y="726"/>
                  </a:lnTo>
                  <a:lnTo>
                    <a:pt x="1704" y="732"/>
                  </a:lnTo>
                  <a:lnTo>
                    <a:pt x="1704" y="738"/>
                  </a:lnTo>
                  <a:lnTo>
                    <a:pt x="1698" y="726"/>
                  </a:lnTo>
                  <a:lnTo>
                    <a:pt x="1668" y="720"/>
                  </a:lnTo>
                  <a:lnTo>
                    <a:pt x="1626" y="714"/>
                  </a:lnTo>
                  <a:lnTo>
                    <a:pt x="1614" y="708"/>
                  </a:lnTo>
                  <a:lnTo>
                    <a:pt x="1578" y="696"/>
                  </a:lnTo>
                  <a:lnTo>
                    <a:pt x="1566" y="696"/>
                  </a:lnTo>
                  <a:lnTo>
                    <a:pt x="1548" y="702"/>
                  </a:lnTo>
                  <a:lnTo>
                    <a:pt x="1542" y="714"/>
                  </a:lnTo>
                  <a:lnTo>
                    <a:pt x="1536" y="732"/>
                  </a:lnTo>
                  <a:lnTo>
                    <a:pt x="1530" y="750"/>
                  </a:lnTo>
                  <a:lnTo>
                    <a:pt x="1536" y="750"/>
                  </a:lnTo>
                  <a:lnTo>
                    <a:pt x="1542" y="756"/>
                  </a:lnTo>
                  <a:lnTo>
                    <a:pt x="1542" y="762"/>
                  </a:lnTo>
                  <a:lnTo>
                    <a:pt x="1548" y="762"/>
                  </a:lnTo>
                  <a:lnTo>
                    <a:pt x="1554" y="762"/>
                  </a:lnTo>
                  <a:lnTo>
                    <a:pt x="1554" y="768"/>
                  </a:lnTo>
                  <a:lnTo>
                    <a:pt x="1560" y="774"/>
                  </a:lnTo>
                  <a:lnTo>
                    <a:pt x="1566" y="774"/>
                  </a:lnTo>
                  <a:lnTo>
                    <a:pt x="1584" y="792"/>
                  </a:lnTo>
                  <a:lnTo>
                    <a:pt x="1584" y="810"/>
                  </a:lnTo>
                  <a:lnTo>
                    <a:pt x="1572" y="816"/>
                  </a:lnTo>
                  <a:lnTo>
                    <a:pt x="1578" y="834"/>
                  </a:lnTo>
                  <a:lnTo>
                    <a:pt x="1578" y="846"/>
                  </a:lnTo>
                  <a:lnTo>
                    <a:pt x="1584" y="858"/>
                  </a:lnTo>
                  <a:lnTo>
                    <a:pt x="1590" y="864"/>
                  </a:lnTo>
                  <a:lnTo>
                    <a:pt x="1590" y="876"/>
                  </a:lnTo>
                  <a:lnTo>
                    <a:pt x="1578" y="888"/>
                  </a:lnTo>
                  <a:lnTo>
                    <a:pt x="1560" y="906"/>
                  </a:lnTo>
                  <a:lnTo>
                    <a:pt x="1536" y="930"/>
                  </a:lnTo>
                  <a:lnTo>
                    <a:pt x="1530" y="930"/>
                  </a:lnTo>
                  <a:lnTo>
                    <a:pt x="1506" y="942"/>
                  </a:lnTo>
                  <a:lnTo>
                    <a:pt x="1488" y="948"/>
                  </a:lnTo>
                  <a:lnTo>
                    <a:pt x="1476" y="954"/>
                  </a:lnTo>
                  <a:lnTo>
                    <a:pt x="1458" y="960"/>
                  </a:lnTo>
                  <a:lnTo>
                    <a:pt x="1452" y="966"/>
                  </a:lnTo>
                  <a:lnTo>
                    <a:pt x="1446" y="966"/>
                  </a:lnTo>
                  <a:lnTo>
                    <a:pt x="1434" y="972"/>
                  </a:lnTo>
                  <a:lnTo>
                    <a:pt x="1434" y="954"/>
                  </a:lnTo>
                  <a:lnTo>
                    <a:pt x="1422" y="942"/>
                  </a:lnTo>
                  <a:lnTo>
                    <a:pt x="1398" y="924"/>
                  </a:lnTo>
                  <a:lnTo>
                    <a:pt x="1398" y="912"/>
                  </a:lnTo>
                  <a:lnTo>
                    <a:pt x="1398" y="906"/>
                  </a:lnTo>
                  <a:lnTo>
                    <a:pt x="1398" y="900"/>
                  </a:lnTo>
                  <a:lnTo>
                    <a:pt x="1380" y="900"/>
                  </a:lnTo>
                  <a:lnTo>
                    <a:pt x="1380" y="894"/>
                  </a:lnTo>
                  <a:lnTo>
                    <a:pt x="1368" y="888"/>
                  </a:lnTo>
                  <a:lnTo>
                    <a:pt x="1362" y="882"/>
                  </a:lnTo>
                  <a:lnTo>
                    <a:pt x="1356" y="876"/>
                  </a:lnTo>
                  <a:lnTo>
                    <a:pt x="1350" y="864"/>
                  </a:lnTo>
                  <a:lnTo>
                    <a:pt x="1344" y="858"/>
                  </a:lnTo>
                  <a:lnTo>
                    <a:pt x="1314" y="870"/>
                  </a:lnTo>
                  <a:lnTo>
                    <a:pt x="1272" y="876"/>
                  </a:lnTo>
                  <a:lnTo>
                    <a:pt x="1218" y="870"/>
                  </a:lnTo>
                  <a:lnTo>
                    <a:pt x="1200" y="864"/>
                  </a:lnTo>
                  <a:lnTo>
                    <a:pt x="1182" y="864"/>
                  </a:lnTo>
                  <a:lnTo>
                    <a:pt x="1134" y="858"/>
                  </a:lnTo>
                  <a:lnTo>
                    <a:pt x="1110" y="840"/>
                  </a:lnTo>
                  <a:lnTo>
                    <a:pt x="1086" y="828"/>
                  </a:lnTo>
                  <a:lnTo>
                    <a:pt x="1044" y="816"/>
                  </a:lnTo>
                  <a:lnTo>
                    <a:pt x="1014" y="816"/>
                  </a:lnTo>
                  <a:lnTo>
                    <a:pt x="990" y="822"/>
                  </a:lnTo>
                  <a:lnTo>
                    <a:pt x="948" y="858"/>
                  </a:lnTo>
                  <a:lnTo>
                    <a:pt x="930" y="864"/>
                  </a:lnTo>
                  <a:lnTo>
                    <a:pt x="924" y="876"/>
                  </a:lnTo>
                  <a:lnTo>
                    <a:pt x="918" y="906"/>
                  </a:lnTo>
                  <a:lnTo>
                    <a:pt x="924" y="930"/>
                  </a:lnTo>
                  <a:lnTo>
                    <a:pt x="948" y="984"/>
                  </a:lnTo>
                  <a:lnTo>
                    <a:pt x="954" y="1008"/>
                  </a:lnTo>
                  <a:lnTo>
                    <a:pt x="948" y="1014"/>
                  </a:lnTo>
                  <a:lnTo>
                    <a:pt x="954" y="1014"/>
                  </a:lnTo>
                  <a:lnTo>
                    <a:pt x="954" y="1032"/>
                  </a:lnTo>
                  <a:lnTo>
                    <a:pt x="966" y="1044"/>
                  </a:lnTo>
                  <a:lnTo>
                    <a:pt x="960" y="1056"/>
                  </a:lnTo>
                  <a:lnTo>
                    <a:pt x="954" y="1056"/>
                  </a:lnTo>
                  <a:lnTo>
                    <a:pt x="948" y="1056"/>
                  </a:lnTo>
                  <a:lnTo>
                    <a:pt x="942" y="1056"/>
                  </a:lnTo>
                  <a:lnTo>
                    <a:pt x="936" y="1050"/>
                  </a:lnTo>
                  <a:lnTo>
                    <a:pt x="930" y="1044"/>
                  </a:lnTo>
                  <a:lnTo>
                    <a:pt x="924" y="1044"/>
                  </a:lnTo>
                  <a:lnTo>
                    <a:pt x="918" y="1038"/>
                  </a:lnTo>
                  <a:lnTo>
                    <a:pt x="912" y="1038"/>
                  </a:lnTo>
                  <a:lnTo>
                    <a:pt x="906" y="1032"/>
                  </a:lnTo>
                  <a:lnTo>
                    <a:pt x="900" y="1032"/>
                  </a:lnTo>
                  <a:lnTo>
                    <a:pt x="888" y="1026"/>
                  </a:lnTo>
                  <a:lnTo>
                    <a:pt x="882" y="1026"/>
                  </a:lnTo>
                  <a:lnTo>
                    <a:pt x="876" y="1026"/>
                  </a:lnTo>
                  <a:lnTo>
                    <a:pt x="864" y="1014"/>
                  </a:lnTo>
                  <a:lnTo>
                    <a:pt x="846" y="1008"/>
                  </a:lnTo>
                  <a:lnTo>
                    <a:pt x="840" y="996"/>
                  </a:lnTo>
                  <a:lnTo>
                    <a:pt x="840" y="990"/>
                  </a:lnTo>
                  <a:lnTo>
                    <a:pt x="834" y="990"/>
                  </a:lnTo>
                  <a:lnTo>
                    <a:pt x="828" y="990"/>
                  </a:lnTo>
                  <a:lnTo>
                    <a:pt x="816" y="990"/>
                  </a:lnTo>
                  <a:lnTo>
                    <a:pt x="810" y="990"/>
                  </a:lnTo>
                  <a:lnTo>
                    <a:pt x="804" y="984"/>
                  </a:lnTo>
                  <a:lnTo>
                    <a:pt x="792" y="978"/>
                  </a:lnTo>
                  <a:lnTo>
                    <a:pt x="786" y="972"/>
                  </a:lnTo>
                  <a:lnTo>
                    <a:pt x="780" y="972"/>
                  </a:lnTo>
                  <a:lnTo>
                    <a:pt x="768" y="966"/>
                  </a:lnTo>
                  <a:lnTo>
                    <a:pt x="762" y="966"/>
                  </a:lnTo>
                  <a:lnTo>
                    <a:pt x="756" y="966"/>
                  </a:lnTo>
                  <a:lnTo>
                    <a:pt x="750" y="966"/>
                  </a:lnTo>
                  <a:lnTo>
                    <a:pt x="744" y="966"/>
                  </a:lnTo>
                  <a:lnTo>
                    <a:pt x="738" y="960"/>
                  </a:lnTo>
                  <a:lnTo>
                    <a:pt x="732" y="954"/>
                  </a:lnTo>
                  <a:lnTo>
                    <a:pt x="720" y="954"/>
                  </a:lnTo>
                  <a:lnTo>
                    <a:pt x="714" y="948"/>
                  </a:lnTo>
                  <a:lnTo>
                    <a:pt x="708" y="948"/>
                  </a:lnTo>
                  <a:lnTo>
                    <a:pt x="696" y="948"/>
                  </a:lnTo>
                  <a:lnTo>
                    <a:pt x="684" y="942"/>
                  </a:lnTo>
                  <a:lnTo>
                    <a:pt x="678" y="936"/>
                  </a:lnTo>
                  <a:lnTo>
                    <a:pt x="660" y="930"/>
                  </a:lnTo>
                  <a:lnTo>
                    <a:pt x="642" y="924"/>
                  </a:lnTo>
                  <a:lnTo>
                    <a:pt x="636" y="924"/>
                  </a:lnTo>
                  <a:lnTo>
                    <a:pt x="630" y="924"/>
                  </a:lnTo>
                  <a:lnTo>
                    <a:pt x="618" y="924"/>
                  </a:lnTo>
                  <a:lnTo>
                    <a:pt x="618" y="918"/>
                  </a:lnTo>
                  <a:lnTo>
                    <a:pt x="606" y="918"/>
                  </a:lnTo>
                  <a:lnTo>
                    <a:pt x="600" y="918"/>
                  </a:lnTo>
                  <a:lnTo>
                    <a:pt x="594" y="918"/>
                  </a:lnTo>
                  <a:lnTo>
                    <a:pt x="594" y="912"/>
                  </a:lnTo>
                  <a:lnTo>
                    <a:pt x="588" y="912"/>
                  </a:lnTo>
                  <a:lnTo>
                    <a:pt x="582" y="912"/>
                  </a:lnTo>
                  <a:lnTo>
                    <a:pt x="582" y="918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58" y="918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12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00"/>
                  </a:lnTo>
                  <a:lnTo>
                    <a:pt x="516" y="900"/>
                  </a:lnTo>
                  <a:lnTo>
                    <a:pt x="510" y="900"/>
                  </a:lnTo>
                  <a:lnTo>
                    <a:pt x="486" y="894"/>
                  </a:lnTo>
                  <a:lnTo>
                    <a:pt x="474" y="888"/>
                  </a:lnTo>
                  <a:lnTo>
                    <a:pt x="468" y="888"/>
                  </a:lnTo>
                  <a:lnTo>
                    <a:pt x="450" y="88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0" name="Freeform 15">
              <a:extLst>
                <a:ext uri="{FF2B5EF4-FFF2-40B4-BE49-F238E27FC236}">
                  <a16:creationId xmlns:a16="http://schemas.microsoft.com/office/drawing/2014/main" id="{8B991D7A-45C6-40F6-A035-24DFC733305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382" y="2652043"/>
              <a:ext cx="724526" cy="695552"/>
            </a:xfrm>
            <a:custGeom>
              <a:avLst/>
              <a:gdLst>
                <a:gd name="T0" fmla="*/ 44 w 1362"/>
                <a:gd name="T1" fmla="*/ 106 h 1308"/>
                <a:gd name="T2" fmla="*/ 32 w 1362"/>
                <a:gd name="T3" fmla="*/ 109 h 1308"/>
                <a:gd name="T4" fmla="*/ 25 w 1362"/>
                <a:gd name="T5" fmla="*/ 105 h 1308"/>
                <a:gd name="T6" fmla="*/ 22 w 1362"/>
                <a:gd name="T7" fmla="*/ 97 h 1308"/>
                <a:gd name="T8" fmla="*/ 21 w 1362"/>
                <a:gd name="T9" fmla="*/ 95 h 1308"/>
                <a:gd name="T10" fmla="*/ 20 w 1362"/>
                <a:gd name="T11" fmla="*/ 90 h 1308"/>
                <a:gd name="T12" fmla="*/ 23 w 1362"/>
                <a:gd name="T13" fmla="*/ 87 h 1308"/>
                <a:gd name="T14" fmla="*/ 29 w 1362"/>
                <a:gd name="T15" fmla="*/ 81 h 1308"/>
                <a:gd name="T16" fmla="*/ 30 w 1362"/>
                <a:gd name="T17" fmla="*/ 78 h 1308"/>
                <a:gd name="T18" fmla="*/ 27 w 1362"/>
                <a:gd name="T19" fmla="*/ 75 h 1308"/>
                <a:gd name="T20" fmla="*/ 15 w 1362"/>
                <a:gd name="T21" fmla="*/ 73 h 1308"/>
                <a:gd name="T22" fmla="*/ 12 w 1362"/>
                <a:gd name="T23" fmla="*/ 69 h 1308"/>
                <a:gd name="T24" fmla="*/ 5 w 1362"/>
                <a:gd name="T25" fmla="*/ 65 h 1308"/>
                <a:gd name="T26" fmla="*/ 6 w 1362"/>
                <a:gd name="T27" fmla="*/ 62 h 1308"/>
                <a:gd name="T28" fmla="*/ 7 w 1362"/>
                <a:gd name="T29" fmla="*/ 56 h 1308"/>
                <a:gd name="T30" fmla="*/ 2 w 1362"/>
                <a:gd name="T31" fmla="*/ 49 h 1308"/>
                <a:gd name="T32" fmla="*/ 0 w 1362"/>
                <a:gd name="T33" fmla="*/ 44 h 1308"/>
                <a:gd name="T34" fmla="*/ 0 w 1362"/>
                <a:gd name="T35" fmla="*/ 39 h 1308"/>
                <a:gd name="T36" fmla="*/ 3 w 1362"/>
                <a:gd name="T37" fmla="*/ 35 h 1308"/>
                <a:gd name="T38" fmla="*/ 3 w 1362"/>
                <a:gd name="T39" fmla="*/ 28 h 1308"/>
                <a:gd name="T40" fmla="*/ 6 w 1362"/>
                <a:gd name="T41" fmla="*/ 18 h 1308"/>
                <a:gd name="T42" fmla="*/ 6 w 1362"/>
                <a:gd name="T43" fmla="*/ 8 h 1308"/>
                <a:gd name="T44" fmla="*/ 10 w 1362"/>
                <a:gd name="T45" fmla="*/ 5 h 1308"/>
                <a:gd name="T46" fmla="*/ 15 w 1362"/>
                <a:gd name="T47" fmla="*/ 0 h 1308"/>
                <a:gd name="T48" fmla="*/ 21 w 1362"/>
                <a:gd name="T49" fmla="*/ 7 h 1308"/>
                <a:gd name="T50" fmla="*/ 25 w 1362"/>
                <a:gd name="T51" fmla="*/ 15 h 1308"/>
                <a:gd name="T52" fmla="*/ 24 w 1362"/>
                <a:gd name="T53" fmla="*/ 19 h 1308"/>
                <a:gd name="T54" fmla="*/ 32 w 1362"/>
                <a:gd name="T55" fmla="*/ 19 h 1308"/>
                <a:gd name="T56" fmla="*/ 35 w 1362"/>
                <a:gd name="T57" fmla="*/ 20 h 1308"/>
                <a:gd name="T58" fmla="*/ 40 w 1362"/>
                <a:gd name="T59" fmla="*/ 23 h 1308"/>
                <a:gd name="T60" fmla="*/ 40 w 1362"/>
                <a:gd name="T61" fmla="*/ 26 h 1308"/>
                <a:gd name="T62" fmla="*/ 34 w 1362"/>
                <a:gd name="T63" fmla="*/ 35 h 1308"/>
                <a:gd name="T64" fmla="*/ 41 w 1362"/>
                <a:gd name="T65" fmla="*/ 37 h 1308"/>
                <a:gd name="T66" fmla="*/ 43 w 1362"/>
                <a:gd name="T67" fmla="*/ 44 h 1308"/>
                <a:gd name="T68" fmla="*/ 48 w 1362"/>
                <a:gd name="T69" fmla="*/ 47 h 1308"/>
                <a:gd name="T70" fmla="*/ 57 w 1362"/>
                <a:gd name="T71" fmla="*/ 48 h 1308"/>
                <a:gd name="T72" fmla="*/ 70 w 1362"/>
                <a:gd name="T73" fmla="*/ 44 h 1308"/>
                <a:gd name="T74" fmla="*/ 80 w 1362"/>
                <a:gd name="T75" fmla="*/ 34 h 1308"/>
                <a:gd name="T76" fmla="*/ 95 w 1362"/>
                <a:gd name="T77" fmla="*/ 41 h 1308"/>
                <a:gd name="T78" fmla="*/ 109 w 1362"/>
                <a:gd name="T79" fmla="*/ 47 h 1308"/>
                <a:gd name="T80" fmla="*/ 111 w 1362"/>
                <a:gd name="T81" fmla="*/ 50 h 1308"/>
                <a:gd name="T82" fmla="*/ 113 w 1362"/>
                <a:gd name="T83" fmla="*/ 53 h 1308"/>
                <a:gd name="T84" fmla="*/ 113 w 1362"/>
                <a:gd name="T85" fmla="*/ 55 h 1308"/>
                <a:gd name="T86" fmla="*/ 113 w 1362"/>
                <a:gd name="T87" fmla="*/ 59 h 1308"/>
                <a:gd name="T88" fmla="*/ 113 w 1362"/>
                <a:gd name="T89" fmla="*/ 62 h 1308"/>
                <a:gd name="T90" fmla="*/ 115 w 1362"/>
                <a:gd name="T91" fmla="*/ 65 h 1308"/>
                <a:gd name="T92" fmla="*/ 115 w 1362"/>
                <a:gd name="T93" fmla="*/ 67 h 1308"/>
                <a:gd name="T94" fmla="*/ 116 w 1362"/>
                <a:gd name="T95" fmla="*/ 69 h 1308"/>
                <a:gd name="T96" fmla="*/ 116 w 1362"/>
                <a:gd name="T97" fmla="*/ 71 h 1308"/>
                <a:gd name="T98" fmla="*/ 118 w 1362"/>
                <a:gd name="T99" fmla="*/ 75 h 1308"/>
                <a:gd name="T100" fmla="*/ 116 w 1362"/>
                <a:gd name="T101" fmla="*/ 77 h 1308"/>
                <a:gd name="T102" fmla="*/ 116 w 1362"/>
                <a:gd name="T103" fmla="*/ 79 h 1308"/>
                <a:gd name="T104" fmla="*/ 101 w 1362"/>
                <a:gd name="T105" fmla="*/ 87 h 1308"/>
                <a:gd name="T106" fmla="*/ 85 w 1362"/>
                <a:gd name="T107" fmla="*/ 103 h 1308"/>
                <a:gd name="T108" fmla="*/ 67 w 1362"/>
                <a:gd name="T109" fmla="*/ 114 h 130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62"/>
                <a:gd name="T166" fmla="*/ 0 h 1308"/>
                <a:gd name="T167" fmla="*/ 1362 w 1362"/>
                <a:gd name="T168" fmla="*/ 1308 h 130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62" h="1308">
                  <a:moveTo>
                    <a:pt x="684" y="1278"/>
                  </a:moveTo>
                  <a:lnTo>
                    <a:pt x="672" y="1272"/>
                  </a:lnTo>
                  <a:lnTo>
                    <a:pt x="636" y="1266"/>
                  </a:lnTo>
                  <a:lnTo>
                    <a:pt x="582" y="1248"/>
                  </a:lnTo>
                  <a:lnTo>
                    <a:pt x="564" y="1230"/>
                  </a:lnTo>
                  <a:lnTo>
                    <a:pt x="540" y="1218"/>
                  </a:lnTo>
                  <a:lnTo>
                    <a:pt x="510" y="1218"/>
                  </a:lnTo>
                  <a:lnTo>
                    <a:pt x="498" y="1224"/>
                  </a:lnTo>
                  <a:lnTo>
                    <a:pt x="492" y="1230"/>
                  </a:lnTo>
                  <a:lnTo>
                    <a:pt x="474" y="1230"/>
                  </a:lnTo>
                  <a:lnTo>
                    <a:pt x="414" y="1230"/>
                  </a:lnTo>
                  <a:lnTo>
                    <a:pt x="396" y="1236"/>
                  </a:lnTo>
                  <a:lnTo>
                    <a:pt x="390" y="1248"/>
                  </a:lnTo>
                  <a:lnTo>
                    <a:pt x="372" y="1248"/>
                  </a:lnTo>
                  <a:lnTo>
                    <a:pt x="366" y="1242"/>
                  </a:lnTo>
                  <a:lnTo>
                    <a:pt x="366" y="1224"/>
                  </a:lnTo>
                  <a:lnTo>
                    <a:pt x="360" y="1224"/>
                  </a:lnTo>
                  <a:lnTo>
                    <a:pt x="354" y="1218"/>
                  </a:lnTo>
                  <a:lnTo>
                    <a:pt x="336" y="1206"/>
                  </a:lnTo>
                  <a:lnTo>
                    <a:pt x="330" y="1194"/>
                  </a:lnTo>
                  <a:lnTo>
                    <a:pt x="288" y="1200"/>
                  </a:lnTo>
                  <a:lnTo>
                    <a:pt x="288" y="1194"/>
                  </a:lnTo>
                  <a:lnTo>
                    <a:pt x="288" y="1182"/>
                  </a:lnTo>
                  <a:lnTo>
                    <a:pt x="288" y="1170"/>
                  </a:lnTo>
                  <a:lnTo>
                    <a:pt x="288" y="1164"/>
                  </a:lnTo>
                  <a:lnTo>
                    <a:pt x="282" y="1140"/>
                  </a:lnTo>
                  <a:lnTo>
                    <a:pt x="276" y="1134"/>
                  </a:lnTo>
                  <a:lnTo>
                    <a:pt x="258" y="1116"/>
                  </a:lnTo>
                  <a:lnTo>
                    <a:pt x="258" y="1110"/>
                  </a:lnTo>
                  <a:lnTo>
                    <a:pt x="252" y="1110"/>
                  </a:lnTo>
                  <a:lnTo>
                    <a:pt x="252" y="1104"/>
                  </a:lnTo>
                  <a:lnTo>
                    <a:pt x="252" y="1098"/>
                  </a:lnTo>
                  <a:lnTo>
                    <a:pt x="240" y="1092"/>
                  </a:lnTo>
                  <a:lnTo>
                    <a:pt x="234" y="1092"/>
                  </a:lnTo>
                  <a:lnTo>
                    <a:pt x="240" y="1086"/>
                  </a:lnTo>
                  <a:lnTo>
                    <a:pt x="234" y="1080"/>
                  </a:lnTo>
                  <a:lnTo>
                    <a:pt x="228" y="1080"/>
                  </a:lnTo>
                  <a:lnTo>
                    <a:pt x="228" y="1068"/>
                  </a:lnTo>
                  <a:lnTo>
                    <a:pt x="228" y="1056"/>
                  </a:lnTo>
                  <a:lnTo>
                    <a:pt x="222" y="1056"/>
                  </a:lnTo>
                  <a:lnTo>
                    <a:pt x="228" y="1044"/>
                  </a:lnTo>
                  <a:lnTo>
                    <a:pt x="228" y="1038"/>
                  </a:lnTo>
                  <a:lnTo>
                    <a:pt x="228" y="1032"/>
                  </a:lnTo>
                  <a:lnTo>
                    <a:pt x="234" y="1026"/>
                  </a:lnTo>
                  <a:lnTo>
                    <a:pt x="246" y="1020"/>
                  </a:lnTo>
                  <a:lnTo>
                    <a:pt x="252" y="1020"/>
                  </a:lnTo>
                  <a:lnTo>
                    <a:pt x="258" y="1014"/>
                  </a:lnTo>
                  <a:lnTo>
                    <a:pt x="264" y="1008"/>
                  </a:lnTo>
                  <a:lnTo>
                    <a:pt x="264" y="1002"/>
                  </a:lnTo>
                  <a:lnTo>
                    <a:pt x="270" y="984"/>
                  </a:lnTo>
                  <a:lnTo>
                    <a:pt x="276" y="978"/>
                  </a:lnTo>
                  <a:lnTo>
                    <a:pt x="300" y="978"/>
                  </a:lnTo>
                  <a:lnTo>
                    <a:pt x="306" y="972"/>
                  </a:lnTo>
                  <a:lnTo>
                    <a:pt x="312" y="966"/>
                  </a:lnTo>
                  <a:lnTo>
                    <a:pt x="324" y="936"/>
                  </a:lnTo>
                  <a:lnTo>
                    <a:pt x="330" y="930"/>
                  </a:lnTo>
                  <a:lnTo>
                    <a:pt x="330" y="924"/>
                  </a:lnTo>
                  <a:lnTo>
                    <a:pt x="336" y="918"/>
                  </a:lnTo>
                  <a:lnTo>
                    <a:pt x="342" y="912"/>
                  </a:lnTo>
                  <a:lnTo>
                    <a:pt x="342" y="906"/>
                  </a:lnTo>
                  <a:lnTo>
                    <a:pt x="342" y="900"/>
                  </a:lnTo>
                  <a:lnTo>
                    <a:pt x="342" y="894"/>
                  </a:lnTo>
                  <a:lnTo>
                    <a:pt x="342" y="888"/>
                  </a:lnTo>
                  <a:lnTo>
                    <a:pt x="336" y="876"/>
                  </a:lnTo>
                  <a:lnTo>
                    <a:pt x="342" y="870"/>
                  </a:lnTo>
                  <a:lnTo>
                    <a:pt x="336" y="864"/>
                  </a:lnTo>
                  <a:lnTo>
                    <a:pt x="336" y="858"/>
                  </a:lnTo>
                  <a:lnTo>
                    <a:pt x="330" y="852"/>
                  </a:lnTo>
                  <a:lnTo>
                    <a:pt x="318" y="852"/>
                  </a:lnTo>
                  <a:lnTo>
                    <a:pt x="306" y="858"/>
                  </a:lnTo>
                  <a:lnTo>
                    <a:pt x="264" y="864"/>
                  </a:lnTo>
                  <a:lnTo>
                    <a:pt x="234" y="858"/>
                  </a:lnTo>
                  <a:lnTo>
                    <a:pt x="228" y="858"/>
                  </a:lnTo>
                  <a:lnTo>
                    <a:pt x="198" y="858"/>
                  </a:lnTo>
                  <a:lnTo>
                    <a:pt x="174" y="858"/>
                  </a:lnTo>
                  <a:lnTo>
                    <a:pt x="168" y="852"/>
                  </a:lnTo>
                  <a:lnTo>
                    <a:pt x="168" y="840"/>
                  </a:lnTo>
                  <a:lnTo>
                    <a:pt x="168" y="834"/>
                  </a:lnTo>
                  <a:lnTo>
                    <a:pt x="168" y="822"/>
                  </a:lnTo>
                  <a:lnTo>
                    <a:pt x="162" y="822"/>
                  </a:lnTo>
                  <a:lnTo>
                    <a:pt x="150" y="816"/>
                  </a:lnTo>
                  <a:lnTo>
                    <a:pt x="144" y="810"/>
                  </a:lnTo>
                  <a:lnTo>
                    <a:pt x="144" y="804"/>
                  </a:lnTo>
                  <a:lnTo>
                    <a:pt x="144" y="786"/>
                  </a:lnTo>
                  <a:lnTo>
                    <a:pt x="144" y="780"/>
                  </a:lnTo>
                  <a:lnTo>
                    <a:pt x="144" y="774"/>
                  </a:lnTo>
                  <a:lnTo>
                    <a:pt x="132" y="756"/>
                  </a:lnTo>
                  <a:lnTo>
                    <a:pt x="120" y="756"/>
                  </a:lnTo>
                  <a:lnTo>
                    <a:pt x="84" y="750"/>
                  </a:lnTo>
                  <a:lnTo>
                    <a:pt x="78" y="744"/>
                  </a:lnTo>
                  <a:lnTo>
                    <a:pt x="60" y="744"/>
                  </a:lnTo>
                  <a:lnTo>
                    <a:pt x="54" y="726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66" y="720"/>
                  </a:lnTo>
                  <a:lnTo>
                    <a:pt x="66" y="714"/>
                  </a:lnTo>
                  <a:lnTo>
                    <a:pt x="72" y="714"/>
                  </a:lnTo>
                  <a:lnTo>
                    <a:pt x="72" y="708"/>
                  </a:lnTo>
                  <a:lnTo>
                    <a:pt x="78" y="702"/>
                  </a:lnTo>
                  <a:lnTo>
                    <a:pt x="78" y="696"/>
                  </a:lnTo>
                  <a:lnTo>
                    <a:pt x="78" y="690"/>
                  </a:lnTo>
                  <a:lnTo>
                    <a:pt x="84" y="678"/>
                  </a:lnTo>
                  <a:lnTo>
                    <a:pt x="90" y="666"/>
                  </a:lnTo>
                  <a:lnTo>
                    <a:pt x="90" y="642"/>
                  </a:lnTo>
                  <a:lnTo>
                    <a:pt x="84" y="648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66" y="642"/>
                  </a:lnTo>
                  <a:lnTo>
                    <a:pt x="60" y="642"/>
                  </a:lnTo>
                  <a:lnTo>
                    <a:pt x="54" y="636"/>
                  </a:lnTo>
                  <a:lnTo>
                    <a:pt x="30" y="570"/>
                  </a:lnTo>
                  <a:lnTo>
                    <a:pt x="24" y="564"/>
                  </a:lnTo>
                  <a:lnTo>
                    <a:pt x="18" y="570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6"/>
                  </a:lnTo>
                  <a:lnTo>
                    <a:pt x="6" y="540"/>
                  </a:lnTo>
                  <a:lnTo>
                    <a:pt x="0" y="522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2" y="480"/>
                  </a:lnTo>
                  <a:lnTo>
                    <a:pt x="6" y="480"/>
                  </a:lnTo>
                  <a:lnTo>
                    <a:pt x="0" y="474"/>
                  </a:lnTo>
                  <a:lnTo>
                    <a:pt x="0" y="450"/>
                  </a:lnTo>
                  <a:lnTo>
                    <a:pt x="6" y="450"/>
                  </a:lnTo>
                  <a:lnTo>
                    <a:pt x="12" y="450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32"/>
                  </a:lnTo>
                  <a:lnTo>
                    <a:pt x="30" y="426"/>
                  </a:lnTo>
                  <a:lnTo>
                    <a:pt x="36" y="402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2" y="366"/>
                  </a:lnTo>
                  <a:lnTo>
                    <a:pt x="48" y="360"/>
                  </a:lnTo>
                  <a:lnTo>
                    <a:pt x="48" y="342"/>
                  </a:lnTo>
                  <a:lnTo>
                    <a:pt x="42" y="330"/>
                  </a:lnTo>
                  <a:lnTo>
                    <a:pt x="36" y="324"/>
                  </a:lnTo>
                  <a:lnTo>
                    <a:pt x="42" y="306"/>
                  </a:lnTo>
                  <a:lnTo>
                    <a:pt x="42" y="270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48" y="258"/>
                  </a:lnTo>
                  <a:lnTo>
                    <a:pt x="72" y="252"/>
                  </a:lnTo>
                  <a:lnTo>
                    <a:pt x="66" y="204"/>
                  </a:lnTo>
                  <a:lnTo>
                    <a:pt x="60" y="198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8" y="13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84" y="96"/>
                  </a:lnTo>
                  <a:lnTo>
                    <a:pt x="90" y="84"/>
                  </a:lnTo>
                  <a:lnTo>
                    <a:pt x="108" y="72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20" y="60"/>
                  </a:lnTo>
                  <a:lnTo>
                    <a:pt x="120" y="54"/>
                  </a:lnTo>
                  <a:lnTo>
                    <a:pt x="120" y="48"/>
                  </a:lnTo>
                  <a:lnTo>
                    <a:pt x="126" y="48"/>
                  </a:lnTo>
                  <a:lnTo>
                    <a:pt x="132" y="42"/>
                  </a:lnTo>
                  <a:lnTo>
                    <a:pt x="132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240" y="18"/>
                  </a:lnTo>
                  <a:lnTo>
                    <a:pt x="246" y="42"/>
                  </a:lnTo>
                  <a:lnTo>
                    <a:pt x="240" y="72"/>
                  </a:lnTo>
                  <a:lnTo>
                    <a:pt x="246" y="78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8" y="108"/>
                  </a:lnTo>
                  <a:lnTo>
                    <a:pt x="276" y="114"/>
                  </a:lnTo>
                  <a:lnTo>
                    <a:pt x="294" y="150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82" y="186"/>
                  </a:lnTo>
                  <a:lnTo>
                    <a:pt x="282" y="192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76" y="216"/>
                  </a:lnTo>
                  <a:lnTo>
                    <a:pt x="288" y="240"/>
                  </a:lnTo>
                  <a:lnTo>
                    <a:pt x="312" y="228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66" y="228"/>
                  </a:lnTo>
                  <a:lnTo>
                    <a:pt x="372" y="228"/>
                  </a:lnTo>
                  <a:lnTo>
                    <a:pt x="372" y="222"/>
                  </a:lnTo>
                  <a:lnTo>
                    <a:pt x="378" y="222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6" y="222"/>
                  </a:lnTo>
                  <a:lnTo>
                    <a:pt x="402" y="222"/>
                  </a:lnTo>
                  <a:lnTo>
                    <a:pt x="402" y="228"/>
                  </a:lnTo>
                  <a:lnTo>
                    <a:pt x="408" y="228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26" y="216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68" y="258"/>
                  </a:lnTo>
                  <a:lnTo>
                    <a:pt x="462" y="264"/>
                  </a:lnTo>
                  <a:lnTo>
                    <a:pt x="468" y="264"/>
                  </a:lnTo>
                  <a:lnTo>
                    <a:pt x="468" y="270"/>
                  </a:lnTo>
                  <a:lnTo>
                    <a:pt x="474" y="270"/>
                  </a:lnTo>
                  <a:lnTo>
                    <a:pt x="480" y="276"/>
                  </a:lnTo>
                  <a:lnTo>
                    <a:pt x="474" y="282"/>
                  </a:lnTo>
                  <a:lnTo>
                    <a:pt x="474" y="288"/>
                  </a:lnTo>
                  <a:lnTo>
                    <a:pt x="462" y="294"/>
                  </a:lnTo>
                  <a:lnTo>
                    <a:pt x="468" y="324"/>
                  </a:lnTo>
                  <a:lnTo>
                    <a:pt x="462" y="336"/>
                  </a:lnTo>
                  <a:lnTo>
                    <a:pt x="456" y="354"/>
                  </a:lnTo>
                  <a:lnTo>
                    <a:pt x="432" y="390"/>
                  </a:lnTo>
                  <a:lnTo>
                    <a:pt x="420" y="390"/>
                  </a:lnTo>
                  <a:lnTo>
                    <a:pt x="402" y="390"/>
                  </a:lnTo>
                  <a:lnTo>
                    <a:pt x="396" y="396"/>
                  </a:lnTo>
                  <a:lnTo>
                    <a:pt x="390" y="396"/>
                  </a:lnTo>
                  <a:lnTo>
                    <a:pt x="390" y="402"/>
                  </a:lnTo>
                  <a:lnTo>
                    <a:pt x="384" y="402"/>
                  </a:lnTo>
                  <a:lnTo>
                    <a:pt x="408" y="432"/>
                  </a:lnTo>
                  <a:lnTo>
                    <a:pt x="432" y="438"/>
                  </a:lnTo>
                  <a:lnTo>
                    <a:pt x="456" y="432"/>
                  </a:lnTo>
                  <a:lnTo>
                    <a:pt x="468" y="426"/>
                  </a:lnTo>
                  <a:lnTo>
                    <a:pt x="468" y="444"/>
                  </a:lnTo>
                  <a:lnTo>
                    <a:pt x="468" y="450"/>
                  </a:lnTo>
                  <a:lnTo>
                    <a:pt x="468" y="474"/>
                  </a:lnTo>
                  <a:lnTo>
                    <a:pt x="486" y="480"/>
                  </a:lnTo>
                  <a:lnTo>
                    <a:pt x="486" y="486"/>
                  </a:lnTo>
                  <a:lnTo>
                    <a:pt x="492" y="498"/>
                  </a:lnTo>
                  <a:lnTo>
                    <a:pt x="492" y="504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504" y="516"/>
                  </a:lnTo>
                  <a:lnTo>
                    <a:pt x="510" y="516"/>
                  </a:lnTo>
                  <a:lnTo>
                    <a:pt x="522" y="528"/>
                  </a:lnTo>
                  <a:lnTo>
                    <a:pt x="546" y="540"/>
                  </a:lnTo>
                  <a:lnTo>
                    <a:pt x="552" y="546"/>
                  </a:lnTo>
                  <a:lnTo>
                    <a:pt x="570" y="552"/>
                  </a:lnTo>
                  <a:lnTo>
                    <a:pt x="594" y="552"/>
                  </a:lnTo>
                  <a:lnTo>
                    <a:pt x="606" y="546"/>
                  </a:lnTo>
                  <a:lnTo>
                    <a:pt x="612" y="540"/>
                  </a:lnTo>
                  <a:lnTo>
                    <a:pt x="630" y="540"/>
                  </a:lnTo>
                  <a:lnTo>
                    <a:pt x="630" y="552"/>
                  </a:lnTo>
                  <a:lnTo>
                    <a:pt x="654" y="552"/>
                  </a:lnTo>
                  <a:lnTo>
                    <a:pt x="702" y="558"/>
                  </a:lnTo>
                  <a:lnTo>
                    <a:pt x="762" y="546"/>
                  </a:lnTo>
                  <a:lnTo>
                    <a:pt x="780" y="546"/>
                  </a:lnTo>
                  <a:lnTo>
                    <a:pt x="780" y="528"/>
                  </a:lnTo>
                  <a:lnTo>
                    <a:pt x="798" y="522"/>
                  </a:lnTo>
                  <a:lnTo>
                    <a:pt x="810" y="510"/>
                  </a:lnTo>
                  <a:lnTo>
                    <a:pt x="810" y="504"/>
                  </a:lnTo>
                  <a:lnTo>
                    <a:pt x="828" y="492"/>
                  </a:lnTo>
                  <a:lnTo>
                    <a:pt x="888" y="486"/>
                  </a:lnTo>
                  <a:lnTo>
                    <a:pt x="912" y="486"/>
                  </a:lnTo>
                  <a:lnTo>
                    <a:pt x="930" y="474"/>
                  </a:lnTo>
                  <a:lnTo>
                    <a:pt x="918" y="456"/>
                  </a:lnTo>
                  <a:lnTo>
                    <a:pt x="912" y="450"/>
                  </a:lnTo>
                  <a:lnTo>
                    <a:pt x="918" y="390"/>
                  </a:lnTo>
                  <a:lnTo>
                    <a:pt x="954" y="396"/>
                  </a:lnTo>
                  <a:lnTo>
                    <a:pt x="984" y="402"/>
                  </a:lnTo>
                  <a:lnTo>
                    <a:pt x="1014" y="420"/>
                  </a:lnTo>
                  <a:lnTo>
                    <a:pt x="1026" y="432"/>
                  </a:lnTo>
                  <a:lnTo>
                    <a:pt x="1044" y="450"/>
                  </a:lnTo>
                  <a:lnTo>
                    <a:pt x="1062" y="462"/>
                  </a:lnTo>
                  <a:lnTo>
                    <a:pt x="1098" y="468"/>
                  </a:lnTo>
                  <a:lnTo>
                    <a:pt x="1128" y="480"/>
                  </a:lnTo>
                  <a:lnTo>
                    <a:pt x="1152" y="486"/>
                  </a:lnTo>
                  <a:lnTo>
                    <a:pt x="1188" y="498"/>
                  </a:lnTo>
                  <a:lnTo>
                    <a:pt x="1212" y="504"/>
                  </a:lnTo>
                  <a:lnTo>
                    <a:pt x="1224" y="528"/>
                  </a:lnTo>
                  <a:lnTo>
                    <a:pt x="1236" y="540"/>
                  </a:lnTo>
                  <a:lnTo>
                    <a:pt x="1254" y="540"/>
                  </a:lnTo>
                  <a:lnTo>
                    <a:pt x="1254" y="546"/>
                  </a:lnTo>
                  <a:lnTo>
                    <a:pt x="1260" y="552"/>
                  </a:lnTo>
                  <a:lnTo>
                    <a:pt x="1266" y="552"/>
                  </a:lnTo>
                  <a:lnTo>
                    <a:pt x="1266" y="558"/>
                  </a:lnTo>
                  <a:lnTo>
                    <a:pt x="1272" y="564"/>
                  </a:lnTo>
                  <a:lnTo>
                    <a:pt x="1278" y="564"/>
                  </a:lnTo>
                  <a:lnTo>
                    <a:pt x="1278" y="570"/>
                  </a:lnTo>
                  <a:lnTo>
                    <a:pt x="1284" y="576"/>
                  </a:lnTo>
                  <a:lnTo>
                    <a:pt x="1290" y="582"/>
                  </a:lnTo>
                  <a:lnTo>
                    <a:pt x="1296" y="582"/>
                  </a:lnTo>
                  <a:lnTo>
                    <a:pt x="1296" y="588"/>
                  </a:lnTo>
                  <a:lnTo>
                    <a:pt x="1308" y="594"/>
                  </a:lnTo>
                  <a:lnTo>
                    <a:pt x="1308" y="600"/>
                  </a:lnTo>
                  <a:lnTo>
                    <a:pt x="1308" y="606"/>
                  </a:lnTo>
                  <a:lnTo>
                    <a:pt x="1314" y="612"/>
                  </a:lnTo>
                  <a:lnTo>
                    <a:pt x="1308" y="618"/>
                  </a:lnTo>
                  <a:lnTo>
                    <a:pt x="1314" y="618"/>
                  </a:lnTo>
                  <a:lnTo>
                    <a:pt x="1314" y="624"/>
                  </a:lnTo>
                  <a:lnTo>
                    <a:pt x="1308" y="624"/>
                  </a:lnTo>
                  <a:lnTo>
                    <a:pt x="1302" y="630"/>
                  </a:lnTo>
                  <a:lnTo>
                    <a:pt x="1302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296" y="654"/>
                  </a:lnTo>
                  <a:lnTo>
                    <a:pt x="1302" y="660"/>
                  </a:lnTo>
                  <a:lnTo>
                    <a:pt x="1302" y="666"/>
                  </a:lnTo>
                  <a:lnTo>
                    <a:pt x="1308" y="666"/>
                  </a:lnTo>
                  <a:lnTo>
                    <a:pt x="1308" y="672"/>
                  </a:lnTo>
                  <a:lnTo>
                    <a:pt x="1308" y="678"/>
                  </a:lnTo>
                  <a:lnTo>
                    <a:pt x="1308" y="684"/>
                  </a:lnTo>
                  <a:lnTo>
                    <a:pt x="1308" y="690"/>
                  </a:lnTo>
                  <a:lnTo>
                    <a:pt x="1302" y="696"/>
                  </a:lnTo>
                  <a:lnTo>
                    <a:pt x="1302" y="702"/>
                  </a:lnTo>
                  <a:lnTo>
                    <a:pt x="1308" y="702"/>
                  </a:lnTo>
                  <a:lnTo>
                    <a:pt x="1302" y="708"/>
                  </a:lnTo>
                  <a:lnTo>
                    <a:pt x="1308" y="714"/>
                  </a:lnTo>
                  <a:lnTo>
                    <a:pt x="1308" y="720"/>
                  </a:lnTo>
                  <a:lnTo>
                    <a:pt x="1308" y="726"/>
                  </a:lnTo>
                  <a:lnTo>
                    <a:pt x="1308" y="732"/>
                  </a:lnTo>
                  <a:lnTo>
                    <a:pt x="1314" y="732"/>
                  </a:lnTo>
                  <a:lnTo>
                    <a:pt x="1314" y="738"/>
                  </a:lnTo>
                  <a:lnTo>
                    <a:pt x="1320" y="744"/>
                  </a:lnTo>
                  <a:lnTo>
                    <a:pt x="1326" y="750"/>
                  </a:lnTo>
                  <a:lnTo>
                    <a:pt x="1320" y="750"/>
                  </a:lnTo>
                  <a:lnTo>
                    <a:pt x="1320" y="756"/>
                  </a:lnTo>
                  <a:lnTo>
                    <a:pt x="1314" y="756"/>
                  </a:lnTo>
                  <a:lnTo>
                    <a:pt x="1314" y="762"/>
                  </a:lnTo>
                  <a:lnTo>
                    <a:pt x="1314" y="768"/>
                  </a:lnTo>
                  <a:lnTo>
                    <a:pt x="1320" y="768"/>
                  </a:lnTo>
                  <a:lnTo>
                    <a:pt x="1320" y="762"/>
                  </a:lnTo>
                  <a:lnTo>
                    <a:pt x="1320" y="768"/>
                  </a:lnTo>
                  <a:lnTo>
                    <a:pt x="1326" y="774"/>
                  </a:lnTo>
                  <a:lnTo>
                    <a:pt x="1332" y="774"/>
                  </a:lnTo>
                  <a:lnTo>
                    <a:pt x="1332" y="780"/>
                  </a:lnTo>
                  <a:lnTo>
                    <a:pt x="1332" y="786"/>
                  </a:lnTo>
                  <a:lnTo>
                    <a:pt x="1332" y="792"/>
                  </a:lnTo>
                  <a:lnTo>
                    <a:pt x="1338" y="786"/>
                  </a:lnTo>
                  <a:lnTo>
                    <a:pt x="1338" y="792"/>
                  </a:lnTo>
                  <a:lnTo>
                    <a:pt x="1344" y="798"/>
                  </a:lnTo>
                  <a:lnTo>
                    <a:pt x="1344" y="804"/>
                  </a:lnTo>
                  <a:lnTo>
                    <a:pt x="1344" y="810"/>
                  </a:lnTo>
                  <a:lnTo>
                    <a:pt x="1344" y="816"/>
                  </a:lnTo>
                  <a:lnTo>
                    <a:pt x="1344" y="822"/>
                  </a:lnTo>
                  <a:lnTo>
                    <a:pt x="1338" y="828"/>
                  </a:lnTo>
                  <a:lnTo>
                    <a:pt x="1332" y="828"/>
                  </a:lnTo>
                  <a:lnTo>
                    <a:pt x="1338" y="840"/>
                  </a:lnTo>
                  <a:lnTo>
                    <a:pt x="1344" y="846"/>
                  </a:lnTo>
                  <a:lnTo>
                    <a:pt x="1344" y="852"/>
                  </a:lnTo>
                  <a:lnTo>
                    <a:pt x="1350" y="852"/>
                  </a:lnTo>
                  <a:lnTo>
                    <a:pt x="1356" y="858"/>
                  </a:lnTo>
                  <a:lnTo>
                    <a:pt x="1362" y="858"/>
                  </a:lnTo>
                  <a:lnTo>
                    <a:pt x="1362" y="870"/>
                  </a:lnTo>
                  <a:lnTo>
                    <a:pt x="1356" y="870"/>
                  </a:lnTo>
                  <a:lnTo>
                    <a:pt x="1356" y="876"/>
                  </a:lnTo>
                  <a:lnTo>
                    <a:pt x="1350" y="876"/>
                  </a:lnTo>
                  <a:lnTo>
                    <a:pt x="1344" y="876"/>
                  </a:lnTo>
                  <a:lnTo>
                    <a:pt x="1344" y="882"/>
                  </a:lnTo>
                  <a:lnTo>
                    <a:pt x="1338" y="882"/>
                  </a:lnTo>
                  <a:lnTo>
                    <a:pt x="1338" y="888"/>
                  </a:lnTo>
                  <a:lnTo>
                    <a:pt x="1338" y="894"/>
                  </a:lnTo>
                  <a:lnTo>
                    <a:pt x="1344" y="900"/>
                  </a:lnTo>
                  <a:lnTo>
                    <a:pt x="1344" y="906"/>
                  </a:lnTo>
                  <a:lnTo>
                    <a:pt x="1338" y="906"/>
                  </a:lnTo>
                  <a:lnTo>
                    <a:pt x="1332" y="912"/>
                  </a:lnTo>
                  <a:lnTo>
                    <a:pt x="1332" y="918"/>
                  </a:lnTo>
                  <a:lnTo>
                    <a:pt x="1326" y="918"/>
                  </a:lnTo>
                  <a:lnTo>
                    <a:pt x="1332" y="924"/>
                  </a:lnTo>
                  <a:lnTo>
                    <a:pt x="1284" y="942"/>
                  </a:lnTo>
                  <a:lnTo>
                    <a:pt x="1236" y="948"/>
                  </a:lnTo>
                  <a:lnTo>
                    <a:pt x="1194" y="966"/>
                  </a:lnTo>
                  <a:lnTo>
                    <a:pt x="1170" y="1002"/>
                  </a:lnTo>
                  <a:lnTo>
                    <a:pt x="1134" y="1020"/>
                  </a:lnTo>
                  <a:lnTo>
                    <a:pt x="1116" y="1032"/>
                  </a:lnTo>
                  <a:lnTo>
                    <a:pt x="1098" y="1050"/>
                  </a:lnTo>
                  <a:lnTo>
                    <a:pt x="1074" y="1074"/>
                  </a:lnTo>
                  <a:lnTo>
                    <a:pt x="1008" y="1134"/>
                  </a:lnTo>
                  <a:lnTo>
                    <a:pt x="990" y="1158"/>
                  </a:lnTo>
                  <a:lnTo>
                    <a:pt x="978" y="1182"/>
                  </a:lnTo>
                  <a:lnTo>
                    <a:pt x="960" y="1194"/>
                  </a:lnTo>
                  <a:lnTo>
                    <a:pt x="942" y="1212"/>
                  </a:lnTo>
                  <a:lnTo>
                    <a:pt x="912" y="1242"/>
                  </a:lnTo>
                  <a:lnTo>
                    <a:pt x="888" y="1254"/>
                  </a:lnTo>
                  <a:lnTo>
                    <a:pt x="864" y="1278"/>
                  </a:lnTo>
                  <a:lnTo>
                    <a:pt x="828" y="1296"/>
                  </a:lnTo>
                  <a:lnTo>
                    <a:pt x="774" y="1308"/>
                  </a:lnTo>
                  <a:lnTo>
                    <a:pt x="732" y="1302"/>
                  </a:lnTo>
                  <a:lnTo>
                    <a:pt x="702" y="1284"/>
                  </a:lnTo>
                  <a:lnTo>
                    <a:pt x="684" y="12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1" name="Freeform 16">
              <a:extLst>
                <a:ext uri="{FF2B5EF4-FFF2-40B4-BE49-F238E27FC236}">
                  <a16:creationId xmlns:a16="http://schemas.microsoft.com/office/drawing/2014/main" id="{D8D8591A-D9DB-4301-BEBD-D8F5A26DA9E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3001" y="2929369"/>
              <a:ext cx="914601" cy="1037736"/>
            </a:xfrm>
            <a:custGeom>
              <a:avLst/>
              <a:gdLst>
                <a:gd name="T0" fmla="*/ 144 w 1722"/>
                <a:gd name="T1" fmla="*/ 131 h 1956"/>
                <a:gd name="T2" fmla="*/ 142 w 1722"/>
                <a:gd name="T3" fmla="*/ 139 h 1956"/>
                <a:gd name="T4" fmla="*/ 137 w 1722"/>
                <a:gd name="T5" fmla="*/ 143 h 1956"/>
                <a:gd name="T6" fmla="*/ 133 w 1722"/>
                <a:gd name="T7" fmla="*/ 147 h 1956"/>
                <a:gd name="T8" fmla="*/ 132 w 1722"/>
                <a:gd name="T9" fmla="*/ 152 h 1956"/>
                <a:gd name="T10" fmla="*/ 130 w 1722"/>
                <a:gd name="T11" fmla="*/ 159 h 1956"/>
                <a:gd name="T12" fmla="*/ 127 w 1722"/>
                <a:gd name="T13" fmla="*/ 164 h 1956"/>
                <a:gd name="T14" fmla="*/ 123 w 1722"/>
                <a:gd name="T15" fmla="*/ 168 h 1956"/>
                <a:gd name="T16" fmla="*/ 117 w 1722"/>
                <a:gd name="T17" fmla="*/ 169 h 1956"/>
                <a:gd name="T18" fmla="*/ 110 w 1722"/>
                <a:gd name="T19" fmla="*/ 168 h 1956"/>
                <a:gd name="T20" fmla="*/ 104 w 1722"/>
                <a:gd name="T21" fmla="*/ 166 h 1956"/>
                <a:gd name="T22" fmla="*/ 101 w 1722"/>
                <a:gd name="T23" fmla="*/ 159 h 1956"/>
                <a:gd name="T24" fmla="*/ 95 w 1722"/>
                <a:gd name="T25" fmla="*/ 156 h 1956"/>
                <a:gd name="T26" fmla="*/ 89 w 1722"/>
                <a:gd name="T27" fmla="*/ 151 h 1956"/>
                <a:gd name="T28" fmla="*/ 87 w 1722"/>
                <a:gd name="T29" fmla="*/ 144 h 1956"/>
                <a:gd name="T30" fmla="*/ 82 w 1722"/>
                <a:gd name="T31" fmla="*/ 141 h 1956"/>
                <a:gd name="T32" fmla="*/ 76 w 1722"/>
                <a:gd name="T33" fmla="*/ 134 h 1956"/>
                <a:gd name="T34" fmla="*/ 74 w 1722"/>
                <a:gd name="T35" fmla="*/ 143 h 1956"/>
                <a:gd name="T36" fmla="*/ 68 w 1722"/>
                <a:gd name="T37" fmla="*/ 147 h 1956"/>
                <a:gd name="T38" fmla="*/ 54 w 1722"/>
                <a:gd name="T39" fmla="*/ 144 h 1956"/>
                <a:gd name="T40" fmla="*/ 51 w 1722"/>
                <a:gd name="T41" fmla="*/ 142 h 1956"/>
                <a:gd name="T42" fmla="*/ 42 w 1722"/>
                <a:gd name="T43" fmla="*/ 151 h 1956"/>
                <a:gd name="T44" fmla="*/ 33 w 1722"/>
                <a:gd name="T45" fmla="*/ 154 h 1956"/>
                <a:gd name="T46" fmla="*/ 31 w 1722"/>
                <a:gd name="T47" fmla="*/ 159 h 1956"/>
                <a:gd name="T48" fmla="*/ 29 w 1722"/>
                <a:gd name="T49" fmla="*/ 166 h 1956"/>
                <a:gd name="T50" fmla="*/ 25 w 1722"/>
                <a:gd name="T51" fmla="*/ 169 h 1956"/>
                <a:gd name="T52" fmla="*/ 27 w 1722"/>
                <a:gd name="T53" fmla="*/ 154 h 1956"/>
                <a:gd name="T54" fmla="*/ 37 w 1722"/>
                <a:gd name="T55" fmla="*/ 133 h 1956"/>
                <a:gd name="T56" fmla="*/ 36 w 1722"/>
                <a:gd name="T57" fmla="*/ 109 h 1956"/>
                <a:gd name="T58" fmla="*/ 27 w 1722"/>
                <a:gd name="T59" fmla="*/ 101 h 1956"/>
                <a:gd name="T60" fmla="*/ 5 w 1722"/>
                <a:gd name="T61" fmla="*/ 98 h 1956"/>
                <a:gd name="T62" fmla="*/ 2 w 1722"/>
                <a:gd name="T63" fmla="*/ 93 h 1956"/>
                <a:gd name="T64" fmla="*/ 12 w 1722"/>
                <a:gd name="T65" fmla="*/ 82 h 1956"/>
                <a:gd name="T66" fmla="*/ 9 w 1722"/>
                <a:gd name="T67" fmla="*/ 74 h 1956"/>
                <a:gd name="T68" fmla="*/ 23 w 1722"/>
                <a:gd name="T69" fmla="*/ 72 h 1956"/>
                <a:gd name="T70" fmla="*/ 22 w 1722"/>
                <a:gd name="T71" fmla="*/ 67 h 1956"/>
                <a:gd name="T72" fmla="*/ 48 w 1722"/>
                <a:gd name="T73" fmla="*/ 57 h 1956"/>
                <a:gd name="T74" fmla="*/ 78 w 1722"/>
                <a:gd name="T75" fmla="*/ 34 h 1956"/>
                <a:gd name="T76" fmla="*/ 81 w 1722"/>
                <a:gd name="T77" fmla="*/ 31 h 1956"/>
                <a:gd name="T78" fmla="*/ 80 w 1722"/>
                <a:gd name="T79" fmla="*/ 26 h 1956"/>
                <a:gd name="T80" fmla="*/ 78 w 1722"/>
                <a:gd name="T81" fmla="*/ 21 h 1956"/>
                <a:gd name="T82" fmla="*/ 77 w 1722"/>
                <a:gd name="T83" fmla="*/ 18 h 1956"/>
                <a:gd name="T84" fmla="*/ 77 w 1722"/>
                <a:gd name="T85" fmla="*/ 12 h 1956"/>
                <a:gd name="T86" fmla="*/ 77 w 1722"/>
                <a:gd name="T87" fmla="*/ 7 h 1956"/>
                <a:gd name="T88" fmla="*/ 102 w 1722"/>
                <a:gd name="T89" fmla="*/ 2 h 1956"/>
                <a:gd name="T90" fmla="*/ 115 w 1722"/>
                <a:gd name="T91" fmla="*/ 3 h 1956"/>
                <a:gd name="T92" fmla="*/ 123 w 1722"/>
                <a:gd name="T93" fmla="*/ 3 h 1956"/>
                <a:gd name="T94" fmla="*/ 125 w 1722"/>
                <a:gd name="T95" fmla="*/ 9 h 1956"/>
                <a:gd name="T96" fmla="*/ 133 w 1722"/>
                <a:gd name="T97" fmla="*/ 13 h 1956"/>
                <a:gd name="T98" fmla="*/ 149 w 1722"/>
                <a:gd name="T99" fmla="*/ 37 h 1956"/>
                <a:gd name="T100" fmla="*/ 141 w 1722"/>
                <a:gd name="T101" fmla="*/ 57 h 1956"/>
                <a:gd name="T102" fmla="*/ 135 w 1722"/>
                <a:gd name="T103" fmla="*/ 63 h 1956"/>
                <a:gd name="T104" fmla="*/ 124 w 1722"/>
                <a:gd name="T105" fmla="*/ 77 h 1956"/>
                <a:gd name="T106" fmla="*/ 123 w 1722"/>
                <a:gd name="T107" fmla="*/ 96 h 1956"/>
                <a:gd name="T108" fmla="*/ 127 w 1722"/>
                <a:gd name="T109" fmla="*/ 97 h 1956"/>
                <a:gd name="T110" fmla="*/ 129 w 1722"/>
                <a:gd name="T111" fmla="*/ 92 h 1956"/>
                <a:gd name="T112" fmla="*/ 134 w 1722"/>
                <a:gd name="T113" fmla="*/ 94 h 1956"/>
                <a:gd name="T114" fmla="*/ 138 w 1722"/>
                <a:gd name="T115" fmla="*/ 99 h 1956"/>
                <a:gd name="T116" fmla="*/ 142 w 1722"/>
                <a:gd name="T117" fmla="*/ 104 h 1956"/>
                <a:gd name="T118" fmla="*/ 141 w 1722"/>
                <a:gd name="T119" fmla="*/ 115 h 19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722"/>
                <a:gd name="T181" fmla="*/ 0 h 1956"/>
                <a:gd name="T182" fmla="*/ 1722 w 1722"/>
                <a:gd name="T183" fmla="*/ 1956 h 19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722" h="1956">
                  <a:moveTo>
                    <a:pt x="1686" y="1404"/>
                  </a:moveTo>
                  <a:lnTo>
                    <a:pt x="1680" y="1416"/>
                  </a:lnTo>
                  <a:lnTo>
                    <a:pt x="1674" y="1422"/>
                  </a:lnTo>
                  <a:lnTo>
                    <a:pt x="1674" y="1428"/>
                  </a:lnTo>
                  <a:lnTo>
                    <a:pt x="1668" y="1428"/>
                  </a:lnTo>
                  <a:lnTo>
                    <a:pt x="1668" y="1434"/>
                  </a:lnTo>
                  <a:lnTo>
                    <a:pt x="1662" y="1446"/>
                  </a:lnTo>
                  <a:lnTo>
                    <a:pt x="1656" y="1464"/>
                  </a:lnTo>
                  <a:lnTo>
                    <a:pt x="1656" y="1476"/>
                  </a:lnTo>
                  <a:lnTo>
                    <a:pt x="1656" y="1488"/>
                  </a:lnTo>
                  <a:lnTo>
                    <a:pt x="1662" y="1500"/>
                  </a:lnTo>
                  <a:lnTo>
                    <a:pt x="1662" y="1506"/>
                  </a:lnTo>
                  <a:lnTo>
                    <a:pt x="1662" y="1524"/>
                  </a:lnTo>
                  <a:lnTo>
                    <a:pt x="1668" y="1542"/>
                  </a:lnTo>
                  <a:lnTo>
                    <a:pt x="1674" y="1560"/>
                  </a:lnTo>
                  <a:lnTo>
                    <a:pt x="1680" y="1578"/>
                  </a:lnTo>
                  <a:lnTo>
                    <a:pt x="1686" y="1578"/>
                  </a:lnTo>
                  <a:lnTo>
                    <a:pt x="1686" y="1584"/>
                  </a:lnTo>
                  <a:lnTo>
                    <a:pt x="1686" y="1590"/>
                  </a:lnTo>
                  <a:lnTo>
                    <a:pt x="1686" y="1596"/>
                  </a:lnTo>
                  <a:lnTo>
                    <a:pt x="1680" y="1596"/>
                  </a:lnTo>
                  <a:lnTo>
                    <a:pt x="1674" y="1602"/>
                  </a:lnTo>
                  <a:lnTo>
                    <a:pt x="1662" y="1602"/>
                  </a:lnTo>
                  <a:lnTo>
                    <a:pt x="1638" y="1596"/>
                  </a:lnTo>
                  <a:lnTo>
                    <a:pt x="1632" y="1596"/>
                  </a:lnTo>
                  <a:lnTo>
                    <a:pt x="1626" y="1602"/>
                  </a:lnTo>
                  <a:lnTo>
                    <a:pt x="1620" y="1602"/>
                  </a:lnTo>
                  <a:lnTo>
                    <a:pt x="1614" y="1602"/>
                  </a:lnTo>
                  <a:lnTo>
                    <a:pt x="1602" y="1602"/>
                  </a:lnTo>
                  <a:lnTo>
                    <a:pt x="1602" y="1608"/>
                  </a:lnTo>
                  <a:lnTo>
                    <a:pt x="1602" y="1620"/>
                  </a:lnTo>
                  <a:lnTo>
                    <a:pt x="1596" y="1620"/>
                  </a:lnTo>
                  <a:lnTo>
                    <a:pt x="1590" y="1620"/>
                  </a:lnTo>
                  <a:lnTo>
                    <a:pt x="1584" y="1626"/>
                  </a:lnTo>
                  <a:lnTo>
                    <a:pt x="1584" y="1632"/>
                  </a:lnTo>
                  <a:lnTo>
                    <a:pt x="1578" y="1644"/>
                  </a:lnTo>
                  <a:lnTo>
                    <a:pt x="1572" y="1644"/>
                  </a:lnTo>
                  <a:lnTo>
                    <a:pt x="1566" y="1644"/>
                  </a:lnTo>
                  <a:lnTo>
                    <a:pt x="1566" y="1650"/>
                  </a:lnTo>
                  <a:lnTo>
                    <a:pt x="1560" y="1650"/>
                  </a:lnTo>
                  <a:lnTo>
                    <a:pt x="1554" y="1650"/>
                  </a:lnTo>
                  <a:lnTo>
                    <a:pt x="1548" y="1650"/>
                  </a:lnTo>
                  <a:lnTo>
                    <a:pt x="1548" y="1656"/>
                  </a:lnTo>
                  <a:lnTo>
                    <a:pt x="1542" y="1668"/>
                  </a:lnTo>
                  <a:lnTo>
                    <a:pt x="1542" y="1674"/>
                  </a:lnTo>
                  <a:lnTo>
                    <a:pt x="1542" y="1692"/>
                  </a:lnTo>
                  <a:lnTo>
                    <a:pt x="1536" y="1698"/>
                  </a:lnTo>
                  <a:lnTo>
                    <a:pt x="1530" y="1698"/>
                  </a:lnTo>
                  <a:lnTo>
                    <a:pt x="1524" y="1698"/>
                  </a:lnTo>
                  <a:lnTo>
                    <a:pt x="1518" y="1704"/>
                  </a:lnTo>
                  <a:lnTo>
                    <a:pt x="1512" y="1710"/>
                  </a:lnTo>
                  <a:lnTo>
                    <a:pt x="1506" y="1722"/>
                  </a:lnTo>
                  <a:lnTo>
                    <a:pt x="1500" y="1728"/>
                  </a:lnTo>
                  <a:lnTo>
                    <a:pt x="1500" y="1734"/>
                  </a:lnTo>
                  <a:lnTo>
                    <a:pt x="1512" y="1734"/>
                  </a:lnTo>
                  <a:lnTo>
                    <a:pt x="1518" y="1740"/>
                  </a:lnTo>
                  <a:lnTo>
                    <a:pt x="1518" y="1746"/>
                  </a:lnTo>
                  <a:lnTo>
                    <a:pt x="1518" y="1752"/>
                  </a:lnTo>
                  <a:lnTo>
                    <a:pt x="1518" y="1758"/>
                  </a:lnTo>
                  <a:lnTo>
                    <a:pt x="1524" y="1758"/>
                  </a:lnTo>
                  <a:lnTo>
                    <a:pt x="1524" y="1764"/>
                  </a:lnTo>
                  <a:lnTo>
                    <a:pt x="1530" y="1770"/>
                  </a:lnTo>
                  <a:lnTo>
                    <a:pt x="1518" y="1770"/>
                  </a:lnTo>
                  <a:lnTo>
                    <a:pt x="1512" y="1782"/>
                  </a:lnTo>
                  <a:lnTo>
                    <a:pt x="1512" y="1788"/>
                  </a:lnTo>
                  <a:lnTo>
                    <a:pt x="1518" y="1788"/>
                  </a:lnTo>
                  <a:lnTo>
                    <a:pt x="1524" y="1800"/>
                  </a:lnTo>
                  <a:lnTo>
                    <a:pt x="1524" y="1806"/>
                  </a:lnTo>
                  <a:lnTo>
                    <a:pt x="1518" y="1812"/>
                  </a:lnTo>
                  <a:lnTo>
                    <a:pt x="1512" y="1818"/>
                  </a:lnTo>
                  <a:lnTo>
                    <a:pt x="1506" y="1818"/>
                  </a:lnTo>
                  <a:lnTo>
                    <a:pt x="1500" y="1824"/>
                  </a:lnTo>
                  <a:lnTo>
                    <a:pt x="1500" y="1836"/>
                  </a:lnTo>
                  <a:lnTo>
                    <a:pt x="1500" y="1842"/>
                  </a:lnTo>
                  <a:lnTo>
                    <a:pt x="1500" y="1848"/>
                  </a:lnTo>
                  <a:lnTo>
                    <a:pt x="1500" y="1854"/>
                  </a:lnTo>
                  <a:lnTo>
                    <a:pt x="1494" y="1860"/>
                  </a:lnTo>
                  <a:lnTo>
                    <a:pt x="1488" y="1860"/>
                  </a:lnTo>
                  <a:lnTo>
                    <a:pt x="1488" y="1866"/>
                  </a:lnTo>
                  <a:lnTo>
                    <a:pt x="1482" y="1872"/>
                  </a:lnTo>
                  <a:lnTo>
                    <a:pt x="1482" y="1878"/>
                  </a:lnTo>
                  <a:lnTo>
                    <a:pt x="1482" y="1884"/>
                  </a:lnTo>
                  <a:lnTo>
                    <a:pt x="1476" y="1890"/>
                  </a:lnTo>
                  <a:lnTo>
                    <a:pt x="1470" y="1890"/>
                  </a:lnTo>
                  <a:lnTo>
                    <a:pt x="1470" y="1896"/>
                  </a:lnTo>
                  <a:lnTo>
                    <a:pt x="1464" y="1896"/>
                  </a:lnTo>
                  <a:lnTo>
                    <a:pt x="1458" y="1896"/>
                  </a:lnTo>
                  <a:lnTo>
                    <a:pt x="1452" y="1896"/>
                  </a:lnTo>
                  <a:lnTo>
                    <a:pt x="1440" y="1890"/>
                  </a:lnTo>
                  <a:lnTo>
                    <a:pt x="1434" y="1896"/>
                  </a:lnTo>
                  <a:lnTo>
                    <a:pt x="1428" y="1896"/>
                  </a:lnTo>
                  <a:lnTo>
                    <a:pt x="1422" y="1896"/>
                  </a:lnTo>
                  <a:lnTo>
                    <a:pt x="1422" y="1902"/>
                  </a:lnTo>
                  <a:lnTo>
                    <a:pt x="1416" y="1902"/>
                  </a:lnTo>
                  <a:lnTo>
                    <a:pt x="1422" y="1914"/>
                  </a:lnTo>
                  <a:lnTo>
                    <a:pt x="1422" y="1932"/>
                  </a:lnTo>
                  <a:lnTo>
                    <a:pt x="1416" y="1938"/>
                  </a:lnTo>
                  <a:lnTo>
                    <a:pt x="1422" y="1938"/>
                  </a:lnTo>
                  <a:lnTo>
                    <a:pt x="1404" y="1938"/>
                  </a:lnTo>
                  <a:lnTo>
                    <a:pt x="1392" y="1944"/>
                  </a:lnTo>
                  <a:lnTo>
                    <a:pt x="1386" y="1944"/>
                  </a:lnTo>
                  <a:lnTo>
                    <a:pt x="1374" y="1944"/>
                  </a:lnTo>
                  <a:lnTo>
                    <a:pt x="1368" y="1950"/>
                  </a:lnTo>
                  <a:lnTo>
                    <a:pt x="1374" y="1956"/>
                  </a:lnTo>
                  <a:lnTo>
                    <a:pt x="1368" y="1956"/>
                  </a:lnTo>
                  <a:lnTo>
                    <a:pt x="1356" y="1956"/>
                  </a:lnTo>
                  <a:lnTo>
                    <a:pt x="1350" y="1956"/>
                  </a:lnTo>
                  <a:lnTo>
                    <a:pt x="1350" y="1950"/>
                  </a:lnTo>
                  <a:lnTo>
                    <a:pt x="1344" y="1944"/>
                  </a:lnTo>
                  <a:lnTo>
                    <a:pt x="1332" y="1938"/>
                  </a:lnTo>
                  <a:lnTo>
                    <a:pt x="1326" y="1938"/>
                  </a:lnTo>
                  <a:lnTo>
                    <a:pt x="1320" y="1938"/>
                  </a:lnTo>
                  <a:lnTo>
                    <a:pt x="1314" y="1944"/>
                  </a:lnTo>
                  <a:lnTo>
                    <a:pt x="1308" y="1944"/>
                  </a:lnTo>
                  <a:lnTo>
                    <a:pt x="1302" y="1944"/>
                  </a:lnTo>
                  <a:lnTo>
                    <a:pt x="1296" y="1938"/>
                  </a:lnTo>
                  <a:lnTo>
                    <a:pt x="1284" y="1938"/>
                  </a:lnTo>
                  <a:lnTo>
                    <a:pt x="1278" y="1938"/>
                  </a:lnTo>
                  <a:lnTo>
                    <a:pt x="1272" y="1938"/>
                  </a:lnTo>
                  <a:lnTo>
                    <a:pt x="1266" y="1932"/>
                  </a:lnTo>
                  <a:lnTo>
                    <a:pt x="1260" y="1932"/>
                  </a:lnTo>
                  <a:lnTo>
                    <a:pt x="1254" y="1920"/>
                  </a:lnTo>
                  <a:lnTo>
                    <a:pt x="1248" y="1920"/>
                  </a:lnTo>
                  <a:lnTo>
                    <a:pt x="1242" y="1920"/>
                  </a:lnTo>
                  <a:lnTo>
                    <a:pt x="1236" y="1926"/>
                  </a:lnTo>
                  <a:lnTo>
                    <a:pt x="1236" y="1932"/>
                  </a:lnTo>
                  <a:lnTo>
                    <a:pt x="1230" y="1932"/>
                  </a:lnTo>
                  <a:lnTo>
                    <a:pt x="1224" y="1932"/>
                  </a:lnTo>
                  <a:lnTo>
                    <a:pt x="1218" y="1938"/>
                  </a:lnTo>
                  <a:lnTo>
                    <a:pt x="1212" y="1932"/>
                  </a:lnTo>
                  <a:lnTo>
                    <a:pt x="1206" y="1926"/>
                  </a:lnTo>
                  <a:lnTo>
                    <a:pt x="1206" y="1908"/>
                  </a:lnTo>
                  <a:lnTo>
                    <a:pt x="1206" y="1884"/>
                  </a:lnTo>
                  <a:lnTo>
                    <a:pt x="1206" y="1866"/>
                  </a:lnTo>
                  <a:lnTo>
                    <a:pt x="1212" y="1848"/>
                  </a:lnTo>
                  <a:lnTo>
                    <a:pt x="1212" y="1842"/>
                  </a:lnTo>
                  <a:lnTo>
                    <a:pt x="1206" y="1836"/>
                  </a:lnTo>
                  <a:lnTo>
                    <a:pt x="1200" y="1830"/>
                  </a:lnTo>
                  <a:lnTo>
                    <a:pt x="1194" y="1824"/>
                  </a:lnTo>
                  <a:lnTo>
                    <a:pt x="1188" y="1824"/>
                  </a:lnTo>
                  <a:lnTo>
                    <a:pt x="1182" y="1824"/>
                  </a:lnTo>
                  <a:lnTo>
                    <a:pt x="1176" y="1824"/>
                  </a:lnTo>
                  <a:lnTo>
                    <a:pt x="1170" y="1818"/>
                  </a:lnTo>
                  <a:lnTo>
                    <a:pt x="1164" y="1830"/>
                  </a:lnTo>
                  <a:lnTo>
                    <a:pt x="1152" y="1836"/>
                  </a:lnTo>
                  <a:lnTo>
                    <a:pt x="1146" y="1842"/>
                  </a:lnTo>
                  <a:lnTo>
                    <a:pt x="1140" y="1842"/>
                  </a:lnTo>
                  <a:lnTo>
                    <a:pt x="1134" y="1842"/>
                  </a:lnTo>
                  <a:lnTo>
                    <a:pt x="1128" y="1842"/>
                  </a:lnTo>
                  <a:lnTo>
                    <a:pt x="1116" y="1836"/>
                  </a:lnTo>
                  <a:lnTo>
                    <a:pt x="1110" y="1842"/>
                  </a:lnTo>
                  <a:lnTo>
                    <a:pt x="1092" y="1830"/>
                  </a:lnTo>
                  <a:lnTo>
                    <a:pt x="1092" y="1824"/>
                  </a:lnTo>
                  <a:lnTo>
                    <a:pt x="1092" y="1806"/>
                  </a:lnTo>
                  <a:lnTo>
                    <a:pt x="1092" y="1800"/>
                  </a:lnTo>
                  <a:lnTo>
                    <a:pt x="1092" y="1794"/>
                  </a:lnTo>
                  <a:lnTo>
                    <a:pt x="1086" y="1788"/>
                  </a:lnTo>
                  <a:lnTo>
                    <a:pt x="1080" y="1794"/>
                  </a:lnTo>
                  <a:lnTo>
                    <a:pt x="1074" y="1788"/>
                  </a:lnTo>
                  <a:lnTo>
                    <a:pt x="1068" y="1770"/>
                  </a:lnTo>
                  <a:lnTo>
                    <a:pt x="1056" y="1764"/>
                  </a:lnTo>
                  <a:lnTo>
                    <a:pt x="1050" y="1764"/>
                  </a:lnTo>
                  <a:lnTo>
                    <a:pt x="1044" y="1764"/>
                  </a:lnTo>
                  <a:lnTo>
                    <a:pt x="1038" y="1758"/>
                  </a:lnTo>
                  <a:lnTo>
                    <a:pt x="1032" y="1752"/>
                  </a:lnTo>
                  <a:lnTo>
                    <a:pt x="1032" y="1746"/>
                  </a:lnTo>
                  <a:lnTo>
                    <a:pt x="1032" y="1740"/>
                  </a:lnTo>
                  <a:lnTo>
                    <a:pt x="1032" y="1734"/>
                  </a:lnTo>
                  <a:lnTo>
                    <a:pt x="1026" y="1734"/>
                  </a:lnTo>
                  <a:lnTo>
                    <a:pt x="1032" y="1728"/>
                  </a:lnTo>
                  <a:lnTo>
                    <a:pt x="1032" y="1722"/>
                  </a:lnTo>
                  <a:lnTo>
                    <a:pt x="1044" y="1686"/>
                  </a:lnTo>
                  <a:lnTo>
                    <a:pt x="1044" y="1680"/>
                  </a:lnTo>
                  <a:lnTo>
                    <a:pt x="1032" y="1674"/>
                  </a:lnTo>
                  <a:lnTo>
                    <a:pt x="1026" y="1674"/>
                  </a:lnTo>
                  <a:lnTo>
                    <a:pt x="1026" y="1668"/>
                  </a:lnTo>
                  <a:lnTo>
                    <a:pt x="1020" y="1662"/>
                  </a:lnTo>
                  <a:lnTo>
                    <a:pt x="1014" y="1668"/>
                  </a:lnTo>
                  <a:lnTo>
                    <a:pt x="1008" y="1662"/>
                  </a:lnTo>
                  <a:lnTo>
                    <a:pt x="1002" y="1662"/>
                  </a:lnTo>
                  <a:lnTo>
                    <a:pt x="1002" y="1668"/>
                  </a:lnTo>
                  <a:lnTo>
                    <a:pt x="996" y="1668"/>
                  </a:lnTo>
                  <a:lnTo>
                    <a:pt x="996" y="1662"/>
                  </a:lnTo>
                  <a:lnTo>
                    <a:pt x="984" y="1662"/>
                  </a:lnTo>
                  <a:lnTo>
                    <a:pt x="984" y="1656"/>
                  </a:lnTo>
                  <a:lnTo>
                    <a:pt x="978" y="1650"/>
                  </a:lnTo>
                  <a:lnTo>
                    <a:pt x="978" y="1644"/>
                  </a:lnTo>
                  <a:lnTo>
                    <a:pt x="966" y="1650"/>
                  </a:lnTo>
                  <a:lnTo>
                    <a:pt x="960" y="1638"/>
                  </a:lnTo>
                  <a:lnTo>
                    <a:pt x="954" y="1632"/>
                  </a:lnTo>
                  <a:lnTo>
                    <a:pt x="948" y="1632"/>
                  </a:lnTo>
                  <a:lnTo>
                    <a:pt x="942" y="1626"/>
                  </a:lnTo>
                  <a:lnTo>
                    <a:pt x="942" y="1614"/>
                  </a:lnTo>
                  <a:lnTo>
                    <a:pt x="930" y="1608"/>
                  </a:lnTo>
                  <a:lnTo>
                    <a:pt x="924" y="1614"/>
                  </a:lnTo>
                  <a:lnTo>
                    <a:pt x="912" y="1608"/>
                  </a:lnTo>
                  <a:lnTo>
                    <a:pt x="888" y="1590"/>
                  </a:lnTo>
                  <a:lnTo>
                    <a:pt x="894" y="1578"/>
                  </a:lnTo>
                  <a:lnTo>
                    <a:pt x="894" y="1572"/>
                  </a:lnTo>
                  <a:lnTo>
                    <a:pt x="894" y="1566"/>
                  </a:lnTo>
                  <a:lnTo>
                    <a:pt x="894" y="1548"/>
                  </a:lnTo>
                  <a:lnTo>
                    <a:pt x="888" y="1548"/>
                  </a:lnTo>
                  <a:lnTo>
                    <a:pt x="882" y="1542"/>
                  </a:lnTo>
                  <a:lnTo>
                    <a:pt x="876" y="1542"/>
                  </a:lnTo>
                  <a:lnTo>
                    <a:pt x="876" y="1536"/>
                  </a:lnTo>
                  <a:lnTo>
                    <a:pt x="870" y="1542"/>
                  </a:lnTo>
                  <a:lnTo>
                    <a:pt x="870" y="1554"/>
                  </a:lnTo>
                  <a:lnTo>
                    <a:pt x="870" y="1566"/>
                  </a:lnTo>
                  <a:lnTo>
                    <a:pt x="870" y="1578"/>
                  </a:lnTo>
                  <a:lnTo>
                    <a:pt x="870" y="1584"/>
                  </a:lnTo>
                  <a:lnTo>
                    <a:pt x="864" y="1584"/>
                  </a:lnTo>
                  <a:lnTo>
                    <a:pt x="870" y="1602"/>
                  </a:lnTo>
                  <a:lnTo>
                    <a:pt x="864" y="1608"/>
                  </a:lnTo>
                  <a:lnTo>
                    <a:pt x="870" y="1614"/>
                  </a:lnTo>
                  <a:lnTo>
                    <a:pt x="864" y="1644"/>
                  </a:lnTo>
                  <a:lnTo>
                    <a:pt x="858" y="1650"/>
                  </a:lnTo>
                  <a:lnTo>
                    <a:pt x="858" y="1656"/>
                  </a:lnTo>
                  <a:lnTo>
                    <a:pt x="852" y="1662"/>
                  </a:lnTo>
                  <a:lnTo>
                    <a:pt x="852" y="1680"/>
                  </a:lnTo>
                  <a:lnTo>
                    <a:pt x="846" y="1686"/>
                  </a:lnTo>
                  <a:lnTo>
                    <a:pt x="834" y="1692"/>
                  </a:lnTo>
                  <a:lnTo>
                    <a:pt x="828" y="1692"/>
                  </a:lnTo>
                  <a:lnTo>
                    <a:pt x="822" y="1698"/>
                  </a:lnTo>
                  <a:lnTo>
                    <a:pt x="822" y="1704"/>
                  </a:lnTo>
                  <a:lnTo>
                    <a:pt x="816" y="1704"/>
                  </a:lnTo>
                  <a:lnTo>
                    <a:pt x="804" y="1692"/>
                  </a:lnTo>
                  <a:lnTo>
                    <a:pt x="786" y="1698"/>
                  </a:lnTo>
                  <a:lnTo>
                    <a:pt x="780" y="1698"/>
                  </a:lnTo>
                  <a:lnTo>
                    <a:pt x="756" y="1698"/>
                  </a:lnTo>
                  <a:lnTo>
                    <a:pt x="744" y="1698"/>
                  </a:lnTo>
                  <a:lnTo>
                    <a:pt x="738" y="1698"/>
                  </a:lnTo>
                  <a:lnTo>
                    <a:pt x="732" y="1704"/>
                  </a:lnTo>
                  <a:lnTo>
                    <a:pt x="726" y="1704"/>
                  </a:lnTo>
                  <a:lnTo>
                    <a:pt x="678" y="1710"/>
                  </a:lnTo>
                  <a:lnTo>
                    <a:pt x="642" y="1710"/>
                  </a:lnTo>
                  <a:lnTo>
                    <a:pt x="618" y="1680"/>
                  </a:lnTo>
                  <a:lnTo>
                    <a:pt x="618" y="1674"/>
                  </a:lnTo>
                  <a:lnTo>
                    <a:pt x="618" y="1668"/>
                  </a:lnTo>
                  <a:lnTo>
                    <a:pt x="624" y="1662"/>
                  </a:lnTo>
                  <a:lnTo>
                    <a:pt x="624" y="1656"/>
                  </a:lnTo>
                  <a:lnTo>
                    <a:pt x="624" y="1650"/>
                  </a:lnTo>
                  <a:lnTo>
                    <a:pt x="618" y="1650"/>
                  </a:lnTo>
                  <a:lnTo>
                    <a:pt x="618" y="1644"/>
                  </a:lnTo>
                  <a:lnTo>
                    <a:pt x="618" y="1638"/>
                  </a:lnTo>
                  <a:lnTo>
                    <a:pt x="618" y="1632"/>
                  </a:lnTo>
                  <a:lnTo>
                    <a:pt x="618" y="1626"/>
                  </a:lnTo>
                  <a:lnTo>
                    <a:pt x="612" y="1626"/>
                  </a:lnTo>
                  <a:lnTo>
                    <a:pt x="612" y="1620"/>
                  </a:lnTo>
                  <a:lnTo>
                    <a:pt x="606" y="1614"/>
                  </a:lnTo>
                  <a:lnTo>
                    <a:pt x="594" y="1626"/>
                  </a:lnTo>
                  <a:lnTo>
                    <a:pt x="594" y="1632"/>
                  </a:lnTo>
                  <a:lnTo>
                    <a:pt x="588" y="1638"/>
                  </a:lnTo>
                  <a:lnTo>
                    <a:pt x="582" y="1638"/>
                  </a:lnTo>
                  <a:lnTo>
                    <a:pt x="564" y="1656"/>
                  </a:lnTo>
                  <a:lnTo>
                    <a:pt x="558" y="1662"/>
                  </a:lnTo>
                  <a:lnTo>
                    <a:pt x="552" y="1662"/>
                  </a:lnTo>
                  <a:lnTo>
                    <a:pt x="540" y="1674"/>
                  </a:lnTo>
                  <a:lnTo>
                    <a:pt x="534" y="1680"/>
                  </a:lnTo>
                  <a:lnTo>
                    <a:pt x="522" y="1692"/>
                  </a:lnTo>
                  <a:lnTo>
                    <a:pt x="516" y="1704"/>
                  </a:lnTo>
                  <a:lnTo>
                    <a:pt x="510" y="1704"/>
                  </a:lnTo>
                  <a:lnTo>
                    <a:pt x="504" y="1704"/>
                  </a:lnTo>
                  <a:lnTo>
                    <a:pt x="486" y="1722"/>
                  </a:lnTo>
                  <a:lnTo>
                    <a:pt x="480" y="1740"/>
                  </a:lnTo>
                  <a:lnTo>
                    <a:pt x="474" y="1740"/>
                  </a:lnTo>
                  <a:lnTo>
                    <a:pt x="468" y="1746"/>
                  </a:lnTo>
                  <a:lnTo>
                    <a:pt x="456" y="1758"/>
                  </a:lnTo>
                  <a:lnTo>
                    <a:pt x="444" y="1770"/>
                  </a:lnTo>
                  <a:lnTo>
                    <a:pt x="438" y="1782"/>
                  </a:lnTo>
                  <a:lnTo>
                    <a:pt x="426" y="1788"/>
                  </a:lnTo>
                  <a:lnTo>
                    <a:pt x="420" y="1788"/>
                  </a:lnTo>
                  <a:lnTo>
                    <a:pt x="420" y="1782"/>
                  </a:lnTo>
                  <a:lnTo>
                    <a:pt x="414" y="1782"/>
                  </a:lnTo>
                  <a:lnTo>
                    <a:pt x="390" y="1782"/>
                  </a:lnTo>
                  <a:lnTo>
                    <a:pt x="390" y="1776"/>
                  </a:lnTo>
                  <a:lnTo>
                    <a:pt x="384" y="1776"/>
                  </a:lnTo>
                  <a:lnTo>
                    <a:pt x="378" y="1776"/>
                  </a:lnTo>
                  <a:lnTo>
                    <a:pt x="372" y="1776"/>
                  </a:lnTo>
                  <a:lnTo>
                    <a:pt x="366" y="1770"/>
                  </a:lnTo>
                  <a:lnTo>
                    <a:pt x="366" y="1776"/>
                  </a:lnTo>
                  <a:lnTo>
                    <a:pt x="360" y="1788"/>
                  </a:lnTo>
                  <a:lnTo>
                    <a:pt x="360" y="1794"/>
                  </a:lnTo>
                  <a:lnTo>
                    <a:pt x="360" y="1800"/>
                  </a:lnTo>
                  <a:lnTo>
                    <a:pt x="354" y="1806"/>
                  </a:lnTo>
                  <a:lnTo>
                    <a:pt x="354" y="1812"/>
                  </a:lnTo>
                  <a:lnTo>
                    <a:pt x="354" y="1824"/>
                  </a:lnTo>
                  <a:lnTo>
                    <a:pt x="348" y="1830"/>
                  </a:lnTo>
                  <a:lnTo>
                    <a:pt x="354" y="1836"/>
                  </a:lnTo>
                  <a:lnTo>
                    <a:pt x="348" y="1842"/>
                  </a:lnTo>
                  <a:lnTo>
                    <a:pt x="354" y="1848"/>
                  </a:lnTo>
                  <a:lnTo>
                    <a:pt x="348" y="1854"/>
                  </a:lnTo>
                  <a:lnTo>
                    <a:pt x="354" y="1854"/>
                  </a:lnTo>
                  <a:lnTo>
                    <a:pt x="348" y="1860"/>
                  </a:lnTo>
                  <a:lnTo>
                    <a:pt x="348" y="1866"/>
                  </a:lnTo>
                  <a:lnTo>
                    <a:pt x="342" y="1866"/>
                  </a:lnTo>
                  <a:lnTo>
                    <a:pt x="342" y="1872"/>
                  </a:lnTo>
                  <a:lnTo>
                    <a:pt x="342" y="1878"/>
                  </a:lnTo>
                  <a:lnTo>
                    <a:pt x="342" y="1884"/>
                  </a:lnTo>
                  <a:lnTo>
                    <a:pt x="336" y="1896"/>
                  </a:lnTo>
                  <a:lnTo>
                    <a:pt x="330" y="1914"/>
                  </a:lnTo>
                  <a:lnTo>
                    <a:pt x="324" y="1920"/>
                  </a:lnTo>
                  <a:lnTo>
                    <a:pt x="324" y="1926"/>
                  </a:lnTo>
                  <a:lnTo>
                    <a:pt x="318" y="1944"/>
                  </a:lnTo>
                  <a:lnTo>
                    <a:pt x="318" y="1950"/>
                  </a:lnTo>
                  <a:lnTo>
                    <a:pt x="312" y="1956"/>
                  </a:lnTo>
                  <a:lnTo>
                    <a:pt x="312" y="1950"/>
                  </a:lnTo>
                  <a:lnTo>
                    <a:pt x="306" y="1950"/>
                  </a:lnTo>
                  <a:lnTo>
                    <a:pt x="306" y="1956"/>
                  </a:lnTo>
                  <a:lnTo>
                    <a:pt x="300" y="1950"/>
                  </a:lnTo>
                  <a:lnTo>
                    <a:pt x="294" y="1956"/>
                  </a:lnTo>
                  <a:lnTo>
                    <a:pt x="288" y="1950"/>
                  </a:lnTo>
                  <a:lnTo>
                    <a:pt x="288" y="1944"/>
                  </a:lnTo>
                  <a:lnTo>
                    <a:pt x="282" y="1938"/>
                  </a:lnTo>
                  <a:lnTo>
                    <a:pt x="282" y="1932"/>
                  </a:lnTo>
                  <a:lnTo>
                    <a:pt x="282" y="1890"/>
                  </a:lnTo>
                  <a:lnTo>
                    <a:pt x="288" y="1860"/>
                  </a:lnTo>
                  <a:lnTo>
                    <a:pt x="294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300" y="1818"/>
                  </a:lnTo>
                  <a:lnTo>
                    <a:pt x="306" y="1794"/>
                  </a:lnTo>
                  <a:lnTo>
                    <a:pt x="306" y="1788"/>
                  </a:lnTo>
                  <a:lnTo>
                    <a:pt x="306" y="1782"/>
                  </a:lnTo>
                  <a:lnTo>
                    <a:pt x="312" y="1776"/>
                  </a:lnTo>
                  <a:lnTo>
                    <a:pt x="306" y="1776"/>
                  </a:lnTo>
                  <a:lnTo>
                    <a:pt x="312" y="1770"/>
                  </a:lnTo>
                  <a:lnTo>
                    <a:pt x="312" y="1740"/>
                  </a:lnTo>
                  <a:lnTo>
                    <a:pt x="318" y="1722"/>
                  </a:lnTo>
                  <a:lnTo>
                    <a:pt x="312" y="1722"/>
                  </a:lnTo>
                  <a:lnTo>
                    <a:pt x="300" y="1716"/>
                  </a:lnTo>
                  <a:lnTo>
                    <a:pt x="306" y="1716"/>
                  </a:lnTo>
                  <a:lnTo>
                    <a:pt x="312" y="1710"/>
                  </a:lnTo>
                  <a:lnTo>
                    <a:pt x="324" y="1674"/>
                  </a:lnTo>
                  <a:lnTo>
                    <a:pt x="366" y="1590"/>
                  </a:lnTo>
                  <a:lnTo>
                    <a:pt x="408" y="1548"/>
                  </a:lnTo>
                  <a:lnTo>
                    <a:pt x="426" y="1530"/>
                  </a:lnTo>
                  <a:lnTo>
                    <a:pt x="432" y="1500"/>
                  </a:lnTo>
                  <a:lnTo>
                    <a:pt x="426" y="1494"/>
                  </a:lnTo>
                  <a:lnTo>
                    <a:pt x="426" y="1482"/>
                  </a:lnTo>
                  <a:lnTo>
                    <a:pt x="432" y="1464"/>
                  </a:lnTo>
                  <a:lnTo>
                    <a:pt x="438" y="1428"/>
                  </a:lnTo>
                  <a:lnTo>
                    <a:pt x="462" y="1398"/>
                  </a:lnTo>
                  <a:lnTo>
                    <a:pt x="468" y="1362"/>
                  </a:lnTo>
                  <a:lnTo>
                    <a:pt x="462" y="1314"/>
                  </a:lnTo>
                  <a:lnTo>
                    <a:pt x="444" y="1284"/>
                  </a:lnTo>
                  <a:lnTo>
                    <a:pt x="432" y="1260"/>
                  </a:lnTo>
                  <a:lnTo>
                    <a:pt x="426" y="1260"/>
                  </a:lnTo>
                  <a:lnTo>
                    <a:pt x="420" y="1254"/>
                  </a:lnTo>
                  <a:lnTo>
                    <a:pt x="408" y="1260"/>
                  </a:lnTo>
                  <a:lnTo>
                    <a:pt x="402" y="1260"/>
                  </a:lnTo>
                  <a:lnTo>
                    <a:pt x="402" y="1254"/>
                  </a:lnTo>
                  <a:lnTo>
                    <a:pt x="396" y="1254"/>
                  </a:lnTo>
                  <a:lnTo>
                    <a:pt x="396" y="1248"/>
                  </a:lnTo>
                  <a:lnTo>
                    <a:pt x="384" y="1248"/>
                  </a:lnTo>
                  <a:lnTo>
                    <a:pt x="372" y="1230"/>
                  </a:lnTo>
                  <a:lnTo>
                    <a:pt x="360" y="1212"/>
                  </a:lnTo>
                  <a:lnTo>
                    <a:pt x="348" y="1188"/>
                  </a:lnTo>
                  <a:lnTo>
                    <a:pt x="324" y="1170"/>
                  </a:lnTo>
                  <a:lnTo>
                    <a:pt x="318" y="1170"/>
                  </a:lnTo>
                  <a:lnTo>
                    <a:pt x="312" y="1158"/>
                  </a:lnTo>
                  <a:lnTo>
                    <a:pt x="312" y="1152"/>
                  </a:lnTo>
                  <a:lnTo>
                    <a:pt x="306" y="1146"/>
                  </a:lnTo>
                  <a:lnTo>
                    <a:pt x="270" y="1122"/>
                  </a:lnTo>
                  <a:lnTo>
                    <a:pt x="240" y="1122"/>
                  </a:lnTo>
                  <a:lnTo>
                    <a:pt x="180" y="1116"/>
                  </a:lnTo>
                  <a:lnTo>
                    <a:pt x="174" y="1122"/>
                  </a:lnTo>
                  <a:lnTo>
                    <a:pt x="174" y="1128"/>
                  </a:lnTo>
                  <a:lnTo>
                    <a:pt x="168" y="1122"/>
                  </a:lnTo>
                  <a:lnTo>
                    <a:pt x="162" y="1116"/>
                  </a:lnTo>
                  <a:lnTo>
                    <a:pt x="144" y="1122"/>
                  </a:lnTo>
                  <a:lnTo>
                    <a:pt x="120" y="1122"/>
                  </a:lnTo>
                  <a:lnTo>
                    <a:pt x="54" y="1134"/>
                  </a:lnTo>
                  <a:lnTo>
                    <a:pt x="24" y="1152"/>
                  </a:lnTo>
                  <a:lnTo>
                    <a:pt x="6" y="1146"/>
                  </a:lnTo>
                  <a:lnTo>
                    <a:pt x="0" y="1134"/>
                  </a:lnTo>
                  <a:lnTo>
                    <a:pt x="0" y="1128"/>
                  </a:lnTo>
                  <a:lnTo>
                    <a:pt x="18" y="1110"/>
                  </a:lnTo>
                  <a:lnTo>
                    <a:pt x="24" y="1104"/>
                  </a:lnTo>
                  <a:lnTo>
                    <a:pt x="24" y="1098"/>
                  </a:lnTo>
                  <a:lnTo>
                    <a:pt x="30" y="1086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24" y="1074"/>
                  </a:lnTo>
                  <a:lnTo>
                    <a:pt x="18" y="1068"/>
                  </a:lnTo>
                  <a:lnTo>
                    <a:pt x="24" y="1062"/>
                  </a:lnTo>
                  <a:lnTo>
                    <a:pt x="42" y="1056"/>
                  </a:lnTo>
                  <a:lnTo>
                    <a:pt x="54" y="1050"/>
                  </a:lnTo>
                  <a:lnTo>
                    <a:pt x="72" y="1044"/>
                  </a:lnTo>
                  <a:lnTo>
                    <a:pt x="96" y="1032"/>
                  </a:lnTo>
                  <a:lnTo>
                    <a:pt x="102" y="1032"/>
                  </a:lnTo>
                  <a:lnTo>
                    <a:pt x="126" y="1008"/>
                  </a:lnTo>
                  <a:lnTo>
                    <a:pt x="144" y="990"/>
                  </a:lnTo>
                  <a:lnTo>
                    <a:pt x="156" y="978"/>
                  </a:lnTo>
                  <a:lnTo>
                    <a:pt x="156" y="966"/>
                  </a:lnTo>
                  <a:lnTo>
                    <a:pt x="150" y="960"/>
                  </a:lnTo>
                  <a:lnTo>
                    <a:pt x="144" y="948"/>
                  </a:lnTo>
                  <a:lnTo>
                    <a:pt x="144" y="936"/>
                  </a:lnTo>
                  <a:lnTo>
                    <a:pt x="138" y="918"/>
                  </a:lnTo>
                  <a:lnTo>
                    <a:pt x="150" y="912"/>
                  </a:lnTo>
                  <a:lnTo>
                    <a:pt x="150" y="894"/>
                  </a:lnTo>
                  <a:lnTo>
                    <a:pt x="132" y="876"/>
                  </a:lnTo>
                  <a:lnTo>
                    <a:pt x="126" y="876"/>
                  </a:lnTo>
                  <a:lnTo>
                    <a:pt x="120" y="870"/>
                  </a:lnTo>
                  <a:lnTo>
                    <a:pt x="120" y="864"/>
                  </a:lnTo>
                  <a:lnTo>
                    <a:pt x="114" y="864"/>
                  </a:lnTo>
                  <a:lnTo>
                    <a:pt x="108" y="864"/>
                  </a:lnTo>
                  <a:lnTo>
                    <a:pt x="108" y="858"/>
                  </a:lnTo>
                  <a:lnTo>
                    <a:pt x="102" y="852"/>
                  </a:lnTo>
                  <a:lnTo>
                    <a:pt x="96" y="852"/>
                  </a:lnTo>
                  <a:lnTo>
                    <a:pt x="102" y="834"/>
                  </a:lnTo>
                  <a:lnTo>
                    <a:pt x="108" y="816"/>
                  </a:lnTo>
                  <a:lnTo>
                    <a:pt x="114" y="804"/>
                  </a:lnTo>
                  <a:lnTo>
                    <a:pt x="132" y="798"/>
                  </a:lnTo>
                  <a:lnTo>
                    <a:pt x="144" y="798"/>
                  </a:lnTo>
                  <a:lnTo>
                    <a:pt x="180" y="810"/>
                  </a:lnTo>
                  <a:lnTo>
                    <a:pt x="192" y="816"/>
                  </a:lnTo>
                  <a:lnTo>
                    <a:pt x="234" y="822"/>
                  </a:lnTo>
                  <a:lnTo>
                    <a:pt x="264" y="828"/>
                  </a:lnTo>
                  <a:lnTo>
                    <a:pt x="270" y="840"/>
                  </a:lnTo>
                  <a:lnTo>
                    <a:pt x="270" y="834"/>
                  </a:lnTo>
                  <a:lnTo>
                    <a:pt x="270" y="828"/>
                  </a:lnTo>
                  <a:lnTo>
                    <a:pt x="270" y="822"/>
                  </a:lnTo>
                  <a:lnTo>
                    <a:pt x="270" y="816"/>
                  </a:lnTo>
                  <a:lnTo>
                    <a:pt x="264" y="810"/>
                  </a:lnTo>
                  <a:lnTo>
                    <a:pt x="264" y="804"/>
                  </a:lnTo>
                  <a:lnTo>
                    <a:pt x="264" y="798"/>
                  </a:lnTo>
                  <a:lnTo>
                    <a:pt x="258" y="792"/>
                  </a:lnTo>
                  <a:lnTo>
                    <a:pt x="258" y="786"/>
                  </a:lnTo>
                  <a:lnTo>
                    <a:pt x="264" y="786"/>
                  </a:lnTo>
                  <a:lnTo>
                    <a:pt x="264" y="780"/>
                  </a:lnTo>
                  <a:lnTo>
                    <a:pt x="258" y="774"/>
                  </a:lnTo>
                  <a:lnTo>
                    <a:pt x="258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82" y="762"/>
                  </a:lnTo>
                  <a:lnTo>
                    <a:pt x="312" y="780"/>
                  </a:lnTo>
                  <a:lnTo>
                    <a:pt x="354" y="786"/>
                  </a:lnTo>
                  <a:lnTo>
                    <a:pt x="408" y="774"/>
                  </a:lnTo>
                  <a:lnTo>
                    <a:pt x="444" y="756"/>
                  </a:lnTo>
                  <a:lnTo>
                    <a:pt x="468" y="732"/>
                  </a:lnTo>
                  <a:lnTo>
                    <a:pt x="492" y="720"/>
                  </a:lnTo>
                  <a:lnTo>
                    <a:pt x="522" y="690"/>
                  </a:lnTo>
                  <a:lnTo>
                    <a:pt x="540" y="672"/>
                  </a:lnTo>
                  <a:lnTo>
                    <a:pt x="558" y="660"/>
                  </a:lnTo>
                  <a:lnTo>
                    <a:pt x="570" y="636"/>
                  </a:lnTo>
                  <a:lnTo>
                    <a:pt x="588" y="612"/>
                  </a:lnTo>
                  <a:lnTo>
                    <a:pt x="654" y="552"/>
                  </a:lnTo>
                  <a:lnTo>
                    <a:pt x="678" y="528"/>
                  </a:lnTo>
                  <a:lnTo>
                    <a:pt x="696" y="510"/>
                  </a:lnTo>
                  <a:lnTo>
                    <a:pt x="714" y="498"/>
                  </a:lnTo>
                  <a:lnTo>
                    <a:pt x="750" y="480"/>
                  </a:lnTo>
                  <a:lnTo>
                    <a:pt x="774" y="444"/>
                  </a:lnTo>
                  <a:lnTo>
                    <a:pt x="816" y="426"/>
                  </a:lnTo>
                  <a:lnTo>
                    <a:pt x="864" y="420"/>
                  </a:lnTo>
                  <a:lnTo>
                    <a:pt x="912" y="402"/>
                  </a:lnTo>
                  <a:lnTo>
                    <a:pt x="906" y="396"/>
                  </a:lnTo>
                  <a:lnTo>
                    <a:pt x="912" y="396"/>
                  </a:lnTo>
                  <a:lnTo>
                    <a:pt x="912" y="390"/>
                  </a:lnTo>
                  <a:lnTo>
                    <a:pt x="918" y="384"/>
                  </a:lnTo>
                  <a:lnTo>
                    <a:pt x="924" y="384"/>
                  </a:lnTo>
                  <a:lnTo>
                    <a:pt x="924" y="378"/>
                  </a:lnTo>
                  <a:lnTo>
                    <a:pt x="918" y="372"/>
                  </a:lnTo>
                  <a:lnTo>
                    <a:pt x="918" y="366"/>
                  </a:lnTo>
                  <a:lnTo>
                    <a:pt x="918" y="360"/>
                  </a:lnTo>
                  <a:lnTo>
                    <a:pt x="924" y="360"/>
                  </a:lnTo>
                  <a:lnTo>
                    <a:pt x="924" y="354"/>
                  </a:lnTo>
                  <a:lnTo>
                    <a:pt x="930" y="354"/>
                  </a:lnTo>
                  <a:lnTo>
                    <a:pt x="936" y="354"/>
                  </a:lnTo>
                  <a:lnTo>
                    <a:pt x="936" y="348"/>
                  </a:lnTo>
                  <a:lnTo>
                    <a:pt x="942" y="348"/>
                  </a:lnTo>
                  <a:lnTo>
                    <a:pt x="942" y="336"/>
                  </a:lnTo>
                  <a:lnTo>
                    <a:pt x="936" y="336"/>
                  </a:lnTo>
                  <a:lnTo>
                    <a:pt x="930" y="330"/>
                  </a:lnTo>
                  <a:lnTo>
                    <a:pt x="924" y="330"/>
                  </a:lnTo>
                  <a:lnTo>
                    <a:pt x="924" y="324"/>
                  </a:lnTo>
                  <a:lnTo>
                    <a:pt x="918" y="318"/>
                  </a:lnTo>
                  <a:lnTo>
                    <a:pt x="912" y="306"/>
                  </a:lnTo>
                  <a:lnTo>
                    <a:pt x="918" y="306"/>
                  </a:lnTo>
                  <a:lnTo>
                    <a:pt x="924" y="300"/>
                  </a:lnTo>
                  <a:lnTo>
                    <a:pt x="924" y="294"/>
                  </a:lnTo>
                  <a:lnTo>
                    <a:pt x="924" y="288"/>
                  </a:lnTo>
                  <a:lnTo>
                    <a:pt x="924" y="282"/>
                  </a:lnTo>
                  <a:lnTo>
                    <a:pt x="924" y="276"/>
                  </a:lnTo>
                  <a:lnTo>
                    <a:pt x="918" y="270"/>
                  </a:lnTo>
                  <a:lnTo>
                    <a:pt x="918" y="264"/>
                  </a:lnTo>
                  <a:lnTo>
                    <a:pt x="912" y="270"/>
                  </a:lnTo>
                  <a:lnTo>
                    <a:pt x="912" y="264"/>
                  </a:lnTo>
                  <a:lnTo>
                    <a:pt x="912" y="258"/>
                  </a:lnTo>
                  <a:lnTo>
                    <a:pt x="912" y="252"/>
                  </a:lnTo>
                  <a:lnTo>
                    <a:pt x="906" y="252"/>
                  </a:lnTo>
                  <a:lnTo>
                    <a:pt x="900" y="246"/>
                  </a:lnTo>
                  <a:lnTo>
                    <a:pt x="900" y="240"/>
                  </a:lnTo>
                  <a:lnTo>
                    <a:pt x="900" y="246"/>
                  </a:lnTo>
                  <a:lnTo>
                    <a:pt x="894" y="246"/>
                  </a:lnTo>
                  <a:lnTo>
                    <a:pt x="894" y="240"/>
                  </a:lnTo>
                  <a:lnTo>
                    <a:pt x="894" y="234"/>
                  </a:lnTo>
                  <a:lnTo>
                    <a:pt x="900" y="234"/>
                  </a:lnTo>
                  <a:lnTo>
                    <a:pt x="900" y="228"/>
                  </a:lnTo>
                  <a:lnTo>
                    <a:pt x="906" y="228"/>
                  </a:lnTo>
                  <a:lnTo>
                    <a:pt x="900" y="222"/>
                  </a:lnTo>
                  <a:lnTo>
                    <a:pt x="894" y="216"/>
                  </a:lnTo>
                  <a:lnTo>
                    <a:pt x="894" y="210"/>
                  </a:lnTo>
                  <a:lnTo>
                    <a:pt x="888" y="210"/>
                  </a:lnTo>
                  <a:lnTo>
                    <a:pt x="888" y="204"/>
                  </a:lnTo>
                  <a:lnTo>
                    <a:pt x="888" y="198"/>
                  </a:lnTo>
                  <a:lnTo>
                    <a:pt x="888" y="192"/>
                  </a:lnTo>
                  <a:lnTo>
                    <a:pt x="882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82" y="174"/>
                  </a:lnTo>
                  <a:lnTo>
                    <a:pt x="888" y="168"/>
                  </a:lnTo>
                  <a:lnTo>
                    <a:pt x="888" y="162"/>
                  </a:lnTo>
                  <a:lnTo>
                    <a:pt x="888" y="156"/>
                  </a:lnTo>
                  <a:lnTo>
                    <a:pt x="888" y="150"/>
                  </a:lnTo>
                  <a:lnTo>
                    <a:pt x="888" y="144"/>
                  </a:lnTo>
                  <a:lnTo>
                    <a:pt x="882" y="144"/>
                  </a:lnTo>
                  <a:lnTo>
                    <a:pt x="882" y="138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76" y="120"/>
                  </a:lnTo>
                  <a:lnTo>
                    <a:pt x="882" y="114"/>
                  </a:lnTo>
                  <a:lnTo>
                    <a:pt x="882" y="108"/>
                  </a:lnTo>
                  <a:lnTo>
                    <a:pt x="888" y="102"/>
                  </a:lnTo>
                  <a:lnTo>
                    <a:pt x="894" y="102"/>
                  </a:lnTo>
                  <a:lnTo>
                    <a:pt x="894" y="96"/>
                  </a:lnTo>
                  <a:lnTo>
                    <a:pt x="888" y="96"/>
                  </a:lnTo>
                  <a:lnTo>
                    <a:pt x="894" y="90"/>
                  </a:lnTo>
                  <a:lnTo>
                    <a:pt x="888" y="84"/>
                  </a:lnTo>
                  <a:lnTo>
                    <a:pt x="888" y="78"/>
                  </a:lnTo>
                  <a:lnTo>
                    <a:pt x="924" y="66"/>
                  </a:lnTo>
                  <a:lnTo>
                    <a:pt x="966" y="66"/>
                  </a:lnTo>
                  <a:lnTo>
                    <a:pt x="996" y="48"/>
                  </a:lnTo>
                  <a:lnTo>
                    <a:pt x="1056" y="12"/>
                  </a:lnTo>
                  <a:lnTo>
                    <a:pt x="1128" y="0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0" y="18"/>
                  </a:lnTo>
                  <a:lnTo>
                    <a:pt x="1176" y="24"/>
                  </a:lnTo>
                  <a:lnTo>
                    <a:pt x="1182" y="24"/>
                  </a:lnTo>
                  <a:lnTo>
                    <a:pt x="1188" y="30"/>
                  </a:lnTo>
                  <a:lnTo>
                    <a:pt x="1194" y="30"/>
                  </a:lnTo>
                  <a:lnTo>
                    <a:pt x="1194" y="36"/>
                  </a:lnTo>
                  <a:lnTo>
                    <a:pt x="1260" y="30"/>
                  </a:lnTo>
                  <a:lnTo>
                    <a:pt x="1272" y="30"/>
                  </a:lnTo>
                  <a:lnTo>
                    <a:pt x="1296" y="24"/>
                  </a:lnTo>
                  <a:lnTo>
                    <a:pt x="1302" y="30"/>
                  </a:lnTo>
                  <a:lnTo>
                    <a:pt x="1302" y="36"/>
                  </a:lnTo>
                  <a:lnTo>
                    <a:pt x="1308" y="36"/>
                  </a:lnTo>
                  <a:lnTo>
                    <a:pt x="1314" y="36"/>
                  </a:lnTo>
                  <a:lnTo>
                    <a:pt x="1320" y="36"/>
                  </a:lnTo>
                  <a:lnTo>
                    <a:pt x="1326" y="30"/>
                  </a:lnTo>
                  <a:lnTo>
                    <a:pt x="1332" y="30"/>
                  </a:lnTo>
                  <a:lnTo>
                    <a:pt x="1338" y="30"/>
                  </a:lnTo>
                  <a:lnTo>
                    <a:pt x="1344" y="30"/>
                  </a:lnTo>
                  <a:lnTo>
                    <a:pt x="1374" y="30"/>
                  </a:lnTo>
                  <a:lnTo>
                    <a:pt x="1386" y="30"/>
                  </a:lnTo>
                  <a:lnTo>
                    <a:pt x="1392" y="24"/>
                  </a:lnTo>
                  <a:lnTo>
                    <a:pt x="1398" y="12"/>
                  </a:lnTo>
                  <a:lnTo>
                    <a:pt x="1404" y="6"/>
                  </a:lnTo>
                  <a:lnTo>
                    <a:pt x="1410" y="6"/>
                  </a:lnTo>
                  <a:lnTo>
                    <a:pt x="1410" y="12"/>
                  </a:lnTo>
                  <a:lnTo>
                    <a:pt x="1416" y="18"/>
                  </a:lnTo>
                  <a:lnTo>
                    <a:pt x="1416" y="36"/>
                  </a:lnTo>
                  <a:lnTo>
                    <a:pt x="1434" y="54"/>
                  </a:lnTo>
                  <a:lnTo>
                    <a:pt x="1434" y="60"/>
                  </a:lnTo>
                  <a:lnTo>
                    <a:pt x="1434" y="66"/>
                  </a:lnTo>
                  <a:lnTo>
                    <a:pt x="1434" y="72"/>
                  </a:lnTo>
                  <a:lnTo>
                    <a:pt x="1428" y="72"/>
                  </a:lnTo>
                  <a:lnTo>
                    <a:pt x="1428" y="78"/>
                  </a:lnTo>
                  <a:lnTo>
                    <a:pt x="1434" y="78"/>
                  </a:lnTo>
                  <a:lnTo>
                    <a:pt x="1440" y="84"/>
                  </a:lnTo>
                  <a:lnTo>
                    <a:pt x="1440" y="90"/>
                  </a:lnTo>
                  <a:lnTo>
                    <a:pt x="1440" y="96"/>
                  </a:lnTo>
                  <a:lnTo>
                    <a:pt x="1446" y="96"/>
                  </a:lnTo>
                  <a:lnTo>
                    <a:pt x="1446" y="108"/>
                  </a:lnTo>
                  <a:lnTo>
                    <a:pt x="1452" y="108"/>
                  </a:lnTo>
                  <a:lnTo>
                    <a:pt x="1452" y="114"/>
                  </a:lnTo>
                  <a:lnTo>
                    <a:pt x="1458" y="114"/>
                  </a:lnTo>
                  <a:lnTo>
                    <a:pt x="1470" y="120"/>
                  </a:lnTo>
                  <a:lnTo>
                    <a:pt x="1476" y="120"/>
                  </a:lnTo>
                  <a:lnTo>
                    <a:pt x="1476" y="114"/>
                  </a:lnTo>
                  <a:lnTo>
                    <a:pt x="1488" y="120"/>
                  </a:lnTo>
                  <a:lnTo>
                    <a:pt x="1506" y="120"/>
                  </a:lnTo>
                  <a:lnTo>
                    <a:pt x="1512" y="120"/>
                  </a:lnTo>
                  <a:lnTo>
                    <a:pt x="1518" y="120"/>
                  </a:lnTo>
                  <a:lnTo>
                    <a:pt x="1524" y="126"/>
                  </a:lnTo>
                  <a:lnTo>
                    <a:pt x="1536" y="150"/>
                  </a:lnTo>
                  <a:lnTo>
                    <a:pt x="1548" y="162"/>
                  </a:lnTo>
                  <a:lnTo>
                    <a:pt x="1554" y="168"/>
                  </a:lnTo>
                  <a:lnTo>
                    <a:pt x="1584" y="228"/>
                  </a:lnTo>
                  <a:lnTo>
                    <a:pt x="1584" y="234"/>
                  </a:lnTo>
                  <a:lnTo>
                    <a:pt x="1578" y="312"/>
                  </a:lnTo>
                  <a:lnTo>
                    <a:pt x="1590" y="318"/>
                  </a:lnTo>
                  <a:lnTo>
                    <a:pt x="1608" y="330"/>
                  </a:lnTo>
                  <a:lnTo>
                    <a:pt x="1620" y="342"/>
                  </a:lnTo>
                  <a:lnTo>
                    <a:pt x="1626" y="342"/>
                  </a:lnTo>
                  <a:lnTo>
                    <a:pt x="1692" y="360"/>
                  </a:lnTo>
                  <a:lnTo>
                    <a:pt x="1710" y="408"/>
                  </a:lnTo>
                  <a:lnTo>
                    <a:pt x="1722" y="426"/>
                  </a:lnTo>
                  <a:lnTo>
                    <a:pt x="1716" y="468"/>
                  </a:lnTo>
                  <a:lnTo>
                    <a:pt x="1686" y="486"/>
                  </a:lnTo>
                  <a:lnTo>
                    <a:pt x="1686" y="492"/>
                  </a:lnTo>
                  <a:lnTo>
                    <a:pt x="1680" y="498"/>
                  </a:lnTo>
                  <a:lnTo>
                    <a:pt x="1650" y="558"/>
                  </a:lnTo>
                  <a:lnTo>
                    <a:pt x="1650" y="570"/>
                  </a:lnTo>
                  <a:lnTo>
                    <a:pt x="1644" y="570"/>
                  </a:lnTo>
                  <a:lnTo>
                    <a:pt x="1638" y="582"/>
                  </a:lnTo>
                  <a:lnTo>
                    <a:pt x="1638" y="624"/>
                  </a:lnTo>
                  <a:lnTo>
                    <a:pt x="1638" y="636"/>
                  </a:lnTo>
                  <a:lnTo>
                    <a:pt x="1638" y="642"/>
                  </a:lnTo>
                  <a:lnTo>
                    <a:pt x="1632" y="660"/>
                  </a:lnTo>
                  <a:lnTo>
                    <a:pt x="1608" y="678"/>
                  </a:lnTo>
                  <a:lnTo>
                    <a:pt x="1584" y="690"/>
                  </a:lnTo>
                  <a:lnTo>
                    <a:pt x="1584" y="696"/>
                  </a:lnTo>
                  <a:lnTo>
                    <a:pt x="1578" y="702"/>
                  </a:lnTo>
                  <a:lnTo>
                    <a:pt x="1584" y="702"/>
                  </a:lnTo>
                  <a:lnTo>
                    <a:pt x="1578" y="714"/>
                  </a:lnTo>
                  <a:lnTo>
                    <a:pt x="1572" y="714"/>
                  </a:lnTo>
                  <a:lnTo>
                    <a:pt x="1572" y="720"/>
                  </a:lnTo>
                  <a:lnTo>
                    <a:pt x="1566" y="720"/>
                  </a:lnTo>
                  <a:lnTo>
                    <a:pt x="1560" y="726"/>
                  </a:lnTo>
                  <a:lnTo>
                    <a:pt x="1560" y="732"/>
                  </a:lnTo>
                  <a:lnTo>
                    <a:pt x="1554" y="732"/>
                  </a:lnTo>
                  <a:lnTo>
                    <a:pt x="1554" y="738"/>
                  </a:lnTo>
                  <a:lnTo>
                    <a:pt x="1554" y="744"/>
                  </a:lnTo>
                  <a:lnTo>
                    <a:pt x="1548" y="744"/>
                  </a:lnTo>
                  <a:lnTo>
                    <a:pt x="1548" y="738"/>
                  </a:lnTo>
                  <a:lnTo>
                    <a:pt x="1542" y="738"/>
                  </a:lnTo>
                  <a:lnTo>
                    <a:pt x="1542" y="744"/>
                  </a:lnTo>
                  <a:lnTo>
                    <a:pt x="1542" y="750"/>
                  </a:lnTo>
                  <a:lnTo>
                    <a:pt x="1494" y="804"/>
                  </a:lnTo>
                  <a:lnTo>
                    <a:pt x="1446" y="876"/>
                  </a:lnTo>
                  <a:lnTo>
                    <a:pt x="1440" y="876"/>
                  </a:lnTo>
                  <a:lnTo>
                    <a:pt x="1434" y="876"/>
                  </a:lnTo>
                  <a:lnTo>
                    <a:pt x="1428" y="882"/>
                  </a:lnTo>
                  <a:lnTo>
                    <a:pt x="1422" y="882"/>
                  </a:lnTo>
                  <a:lnTo>
                    <a:pt x="1386" y="924"/>
                  </a:lnTo>
                  <a:lnTo>
                    <a:pt x="1362" y="954"/>
                  </a:lnTo>
                  <a:lnTo>
                    <a:pt x="1356" y="984"/>
                  </a:lnTo>
                  <a:lnTo>
                    <a:pt x="1362" y="1002"/>
                  </a:lnTo>
                  <a:lnTo>
                    <a:pt x="1368" y="1020"/>
                  </a:lnTo>
                  <a:lnTo>
                    <a:pt x="1386" y="1056"/>
                  </a:lnTo>
                  <a:lnTo>
                    <a:pt x="1404" y="1074"/>
                  </a:lnTo>
                  <a:lnTo>
                    <a:pt x="1416" y="1080"/>
                  </a:lnTo>
                  <a:lnTo>
                    <a:pt x="1416" y="1086"/>
                  </a:lnTo>
                  <a:lnTo>
                    <a:pt x="1422" y="1098"/>
                  </a:lnTo>
                  <a:lnTo>
                    <a:pt x="1422" y="1110"/>
                  </a:lnTo>
                  <a:lnTo>
                    <a:pt x="1428" y="1116"/>
                  </a:lnTo>
                  <a:lnTo>
                    <a:pt x="1434" y="1116"/>
                  </a:lnTo>
                  <a:lnTo>
                    <a:pt x="1434" y="1122"/>
                  </a:lnTo>
                  <a:lnTo>
                    <a:pt x="1434" y="1128"/>
                  </a:lnTo>
                  <a:lnTo>
                    <a:pt x="1440" y="1134"/>
                  </a:lnTo>
                  <a:lnTo>
                    <a:pt x="1446" y="1134"/>
                  </a:lnTo>
                  <a:lnTo>
                    <a:pt x="1458" y="1134"/>
                  </a:lnTo>
                  <a:lnTo>
                    <a:pt x="1458" y="1140"/>
                  </a:lnTo>
                  <a:lnTo>
                    <a:pt x="1464" y="1134"/>
                  </a:lnTo>
                  <a:lnTo>
                    <a:pt x="1470" y="1134"/>
                  </a:lnTo>
                  <a:lnTo>
                    <a:pt x="1464" y="1128"/>
                  </a:lnTo>
                  <a:lnTo>
                    <a:pt x="1464" y="1122"/>
                  </a:lnTo>
                  <a:lnTo>
                    <a:pt x="1470" y="1116"/>
                  </a:lnTo>
                  <a:lnTo>
                    <a:pt x="1470" y="1122"/>
                  </a:lnTo>
                  <a:lnTo>
                    <a:pt x="1476" y="1122"/>
                  </a:lnTo>
                  <a:lnTo>
                    <a:pt x="1476" y="1116"/>
                  </a:lnTo>
                  <a:lnTo>
                    <a:pt x="1482" y="1110"/>
                  </a:lnTo>
                  <a:lnTo>
                    <a:pt x="1476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82" y="1086"/>
                  </a:lnTo>
                  <a:lnTo>
                    <a:pt x="1482" y="1074"/>
                  </a:lnTo>
                  <a:lnTo>
                    <a:pt x="1488" y="1068"/>
                  </a:lnTo>
                  <a:lnTo>
                    <a:pt x="1488" y="1062"/>
                  </a:lnTo>
                  <a:lnTo>
                    <a:pt x="1494" y="1062"/>
                  </a:lnTo>
                  <a:lnTo>
                    <a:pt x="1500" y="1062"/>
                  </a:lnTo>
                  <a:lnTo>
                    <a:pt x="1506" y="1062"/>
                  </a:lnTo>
                  <a:lnTo>
                    <a:pt x="1506" y="1056"/>
                  </a:lnTo>
                  <a:lnTo>
                    <a:pt x="1506" y="1062"/>
                  </a:lnTo>
                  <a:lnTo>
                    <a:pt x="1518" y="1062"/>
                  </a:lnTo>
                  <a:lnTo>
                    <a:pt x="1524" y="1062"/>
                  </a:lnTo>
                  <a:lnTo>
                    <a:pt x="1530" y="1062"/>
                  </a:lnTo>
                  <a:lnTo>
                    <a:pt x="1536" y="1068"/>
                  </a:lnTo>
                  <a:lnTo>
                    <a:pt x="1536" y="1074"/>
                  </a:lnTo>
                  <a:lnTo>
                    <a:pt x="1542" y="1086"/>
                  </a:lnTo>
                  <a:lnTo>
                    <a:pt x="1548" y="1086"/>
                  </a:lnTo>
                  <a:lnTo>
                    <a:pt x="1554" y="1086"/>
                  </a:lnTo>
                  <a:lnTo>
                    <a:pt x="1566" y="1098"/>
                  </a:lnTo>
                  <a:lnTo>
                    <a:pt x="1572" y="1104"/>
                  </a:lnTo>
                  <a:lnTo>
                    <a:pt x="1566" y="1110"/>
                  </a:lnTo>
                  <a:lnTo>
                    <a:pt x="1572" y="1116"/>
                  </a:lnTo>
                  <a:lnTo>
                    <a:pt x="1578" y="1116"/>
                  </a:lnTo>
                  <a:lnTo>
                    <a:pt x="1578" y="1122"/>
                  </a:lnTo>
                  <a:lnTo>
                    <a:pt x="1584" y="1122"/>
                  </a:lnTo>
                  <a:lnTo>
                    <a:pt x="1584" y="1128"/>
                  </a:lnTo>
                  <a:lnTo>
                    <a:pt x="1584" y="1134"/>
                  </a:lnTo>
                  <a:lnTo>
                    <a:pt x="1590" y="1134"/>
                  </a:lnTo>
                  <a:lnTo>
                    <a:pt x="1596" y="1140"/>
                  </a:lnTo>
                  <a:lnTo>
                    <a:pt x="1602" y="1146"/>
                  </a:lnTo>
                  <a:lnTo>
                    <a:pt x="1608" y="1146"/>
                  </a:lnTo>
                  <a:lnTo>
                    <a:pt x="1614" y="1146"/>
                  </a:lnTo>
                  <a:lnTo>
                    <a:pt x="1614" y="1152"/>
                  </a:lnTo>
                  <a:lnTo>
                    <a:pt x="1620" y="1152"/>
                  </a:lnTo>
                  <a:lnTo>
                    <a:pt x="1626" y="1164"/>
                  </a:lnTo>
                  <a:lnTo>
                    <a:pt x="1632" y="1170"/>
                  </a:lnTo>
                  <a:lnTo>
                    <a:pt x="1638" y="1176"/>
                  </a:lnTo>
                  <a:lnTo>
                    <a:pt x="1638" y="1182"/>
                  </a:lnTo>
                  <a:lnTo>
                    <a:pt x="1644" y="1194"/>
                  </a:lnTo>
                  <a:lnTo>
                    <a:pt x="1644" y="1200"/>
                  </a:lnTo>
                  <a:lnTo>
                    <a:pt x="1638" y="1200"/>
                  </a:lnTo>
                  <a:lnTo>
                    <a:pt x="1638" y="1206"/>
                  </a:lnTo>
                  <a:lnTo>
                    <a:pt x="1638" y="1212"/>
                  </a:lnTo>
                  <a:lnTo>
                    <a:pt x="1638" y="1218"/>
                  </a:lnTo>
                  <a:lnTo>
                    <a:pt x="1632" y="1242"/>
                  </a:lnTo>
                  <a:lnTo>
                    <a:pt x="1632" y="1266"/>
                  </a:lnTo>
                  <a:lnTo>
                    <a:pt x="1638" y="1284"/>
                  </a:lnTo>
                  <a:lnTo>
                    <a:pt x="1638" y="1296"/>
                  </a:lnTo>
                  <a:lnTo>
                    <a:pt x="1632" y="1296"/>
                  </a:lnTo>
                  <a:lnTo>
                    <a:pt x="1632" y="1302"/>
                  </a:lnTo>
                  <a:lnTo>
                    <a:pt x="1638" y="1314"/>
                  </a:lnTo>
                  <a:lnTo>
                    <a:pt x="1638" y="1320"/>
                  </a:lnTo>
                  <a:lnTo>
                    <a:pt x="1632" y="1320"/>
                  </a:lnTo>
                  <a:lnTo>
                    <a:pt x="1632" y="1326"/>
                  </a:lnTo>
                  <a:lnTo>
                    <a:pt x="1644" y="1332"/>
                  </a:lnTo>
                  <a:lnTo>
                    <a:pt x="1644" y="1338"/>
                  </a:lnTo>
                  <a:lnTo>
                    <a:pt x="1650" y="1344"/>
                  </a:lnTo>
                  <a:lnTo>
                    <a:pt x="1668" y="1362"/>
                  </a:lnTo>
                  <a:lnTo>
                    <a:pt x="1668" y="1368"/>
                  </a:lnTo>
                  <a:lnTo>
                    <a:pt x="1674" y="1392"/>
                  </a:lnTo>
                  <a:lnTo>
                    <a:pt x="1686" y="140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2" name="Freeform 17">
              <a:extLst>
                <a:ext uri="{FF2B5EF4-FFF2-40B4-BE49-F238E27FC236}">
                  <a16:creationId xmlns:a16="http://schemas.microsoft.com/office/drawing/2014/main" id="{9F9DF7AF-2203-4CCB-AF1B-32CDAF87CC5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416927"/>
              <a:ext cx="816209" cy="574781"/>
            </a:xfrm>
            <a:custGeom>
              <a:avLst/>
              <a:gdLst>
                <a:gd name="T0" fmla="*/ 115 w 1536"/>
                <a:gd name="T1" fmla="*/ 89 h 1080"/>
                <a:gd name="T2" fmla="*/ 113 w 1536"/>
                <a:gd name="T3" fmla="*/ 92 h 1080"/>
                <a:gd name="T4" fmla="*/ 107 w 1536"/>
                <a:gd name="T5" fmla="*/ 93 h 1080"/>
                <a:gd name="T6" fmla="*/ 108 w 1536"/>
                <a:gd name="T7" fmla="*/ 90 h 1080"/>
                <a:gd name="T8" fmla="*/ 105 w 1536"/>
                <a:gd name="T9" fmla="*/ 87 h 1080"/>
                <a:gd name="T10" fmla="*/ 102 w 1536"/>
                <a:gd name="T11" fmla="*/ 85 h 1080"/>
                <a:gd name="T12" fmla="*/ 89 w 1536"/>
                <a:gd name="T13" fmla="*/ 80 h 1080"/>
                <a:gd name="T14" fmla="*/ 85 w 1536"/>
                <a:gd name="T15" fmla="*/ 82 h 1080"/>
                <a:gd name="T16" fmla="*/ 82 w 1536"/>
                <a:gd name="T17" fmla="*/ 80 h 1080"/>
                <a:gd name="T18" fmla="*/ 80 w 1536"/>
                <a:gd name="T19" fmla="*/ 75 h 1080"/>
                <a:gd name="T20" fmla="*/ 75 w 1536"/>
                <a:gd name="T21" fmla="*/ 72 h 1080"/>
                <a:gd name="T22" fmla="*/ 61 w 1536"/>
                <a:gd name="T23" fmla="*/ 70 h 1080"/>
                <a:gd name="T24" fmla="*/ 62 w 1536"/>
                <a:gd name="T25" fmla="*/ 72 h 1080"/>
                <a:gd name="T26" fmla="*/ 58 w 1536"/>
                <a:gd name="T27" fmla="*/ 75 h 1080"/>
                <a:gd name="T28" fmla="*/ 49 w 1536"/>
                <a:gd name="T29" fmla="*/ 76 h 1080"/>
                <a:gd name="T30" fmla="*/ 41 w 1536"/>
                <a:gd name="T31" fmla="*/ 79 h 1080"/>
                <a:gd name="T32" fmla="*/ 41 w 1536"/>
                <a:gd name="T33" fmla="*/ 77 h 1080"/>
                <a:gd name="T34" fmla="*/ 39 w 1536"/>
                <a:gd name="T35" fmla="*/ 74 h 1080"/>
                <a:gd name="T36" fmla="*/ 28 w 1536"/>
                <a:gd name="T37" fmla="*/ 78 h 1080"/>
                <a:gd name="T38" fmla="*/ 18 w 1536"/>
                <a:gd name="T39" fmla="*/ 85 h 1080"/>
                <a:gd name="T40" fmla="*/ 18 w 1536"/>
                <a:gd name="T41" fmla="*/ 77 h 1080"/>
                <a:gd name="T42" fmla="*/ 19 w 1536"/>
                <a:gd name="T43" fmla="*/ 69 h 1080"/>
                <a:gd name="T44" fmla="*/ 16 w 1536"/>
                <a:gd name="T45" fmla="*/ 69 h 1080"/>
                <a:gd name="T46" fmla="*/ 11 w 1536"/>
                <a:gd name="T47" fmla="*/ 69 h 1080"/>
                <a:gd name="T48" fmla="*/ 5 w 1536"/>
                <a:gd name="T49" fmla="*/ 68 h 1080"/>
                <a:gd name="T50" fmla="*/ 1 w 1536"/>
                <a:gd name="T51" fmla="*/ 63 h 1080"/>
                <a:gd name="T52" fmla="*/ 3 w 1536"/>
                <a:gd name="T53" fmla="*/ 59 h 1080"/>
                <a:gd name="T54" fmla="*/ 9 w 1536"/>
                <a:gd name="T55" fmla="*/ 54 h 1080"/>
                <a:gd name="T56" fmla="*/ 15 w 1536"/>
                <a:gd name="T57" fmla="*/ 47 h 1080"/>
                <a:gd name="T58" fmla="*/ 17 w 1536"/>
                <a:gd name="T59" fmla="*/ 40 h 1080"/>
                <a:gd name="T60" fmla="*/ 12 w 1536"/>
                <a:gd name="T61" fmla="*/ 33 h 1080"/>
                <a:gd name="T62" fmla="*/ 10 w 1536"/>
                <a:gd name="T63" fmla="*/ 21 h 1080"/>
                <a:gd name="T64" fmla="*/ 6 w 1536"/>
                <a:gd name="T65" fmla="*/ 14 h 1080"/>
                <a:gd name="T66" fmla="*/ 7 w 1536"/>
                <a:gd name="T67" fmla="*/ 9 h 1080"/>
                <a:gd name="T68" fmla="*/ 12 w 1536"/>
                <a:gd name="T69" fmla="*/ 7 h 1080"/>
                <a:gd name="T70" fmla="*/ 16 w 1536"/>
                <a:gd name="T71" fmla="*/ 8 h 1080"/>
                <a:gd name="T72" fmla="*/ 19 w 1536"/>
                <a:gd name="T73" fmla="*/ 8 h 1080"/>
                <a:gd name="T74" fmla="*/ 22 w 1536"/>
                <a:gd name="T75" fmla="*/ 9 h 1080"/>
                <a:gd name="T76" fmla="*/ 29 w 1536"/>
                <a:gd name="T77" fmla="*/ 12 h 1080"/>
                <a:gd name="T78" fmla="*/ 33 w 1536"/>
                <a:gd name="T79" fmla="*/ 13 h 1080"/>
                <a:gd name="T80" fmla="*/ 38 w 1536"/>
                <a:gd name="T81" fmla="*/ 15 h 1080"/>
                <a:gd name="T82" fmla="*/ 42 w 1536"/>
                <a:gd name="T83" fmla="*/ 17 h 1080"/>
                <a:gd name="T84" fmla="*/ 47 w 1536"/>
                <a:gd name="T85" fmla="*/ 19 h 1080"/>
                <a:gd name="T86" fmla="*/ 51 w 1536"/>
                <a:gd name="T87" fmla="*/ 21 h 1080"/>
                <a:gd name="T88" fmla="*/ 50 w 1536"/>
                <a:gd name="T89" fmla="*/ 15 h 1080"/>
                <a:gd name="T90" fmla="*/ 56 w 1536"/>
                <a:gd name="T91" fmla="*/ 0 h 1080"/>
                <a:gd name="T92" fmla="*/ 74 w 1536"/>
                <a:gd name="T93" fmla="*/ 5 h 1080"/>
                <a:gd name="T94" fmla="*/ 87 w 1536"/>
                <a:gd name="T95" fmla="*/ 6 h 1080"/>
                <a:gd name="T96" fmla="*/ 92 w 1536"/>
                <a:gd name="T97" fmla="*/ 11 h 1080"/>
                <a:gd name="T98" fmla="*/ 95 w 1536"/>
                <a:gd name="T99" fmla="*/ 15 h 1080"/>
                <a:gd name="T100" fmla="*/ 93 w 1536"/>
                <a:gd name="T101" fmla="*/ 20 h 1080"/>
                <a:gd name="T102" fmla="*/ 108 w 1536"/>
                <a:gd name="T103" fmla="*/ 18 h 1080"/>
                <a:gd name="T104" fmla="*/ 120 w 1536"/>
                <a:gd name="T105" fmla="*/ 21 h 1080"/>
                <a:gd name="T106" fmla="*/ 127 w 1536"/>
                <a:gd name="T107" fmla="*/ 29 h 1080"/>
                <a:gd name="T108" fmla="*/ 130 w 1536"/>
                <a:gd name="T109" fmla="*/ 30 h 1080"/>
                <a:gd name="T110" fmla="*/ 130 w 1536"/>
                <a:gd name="T111" fmla="*/ 49 h 1080"/>
                <a:gd name="T112" fmla="*/ 120 w 1536"/>
                <a:gd name="T113" fmla="*/ 69 h 1080"/>
                <a:gd name="T114" fmla="*/ 119 w 1536"/>
                <a:gd name="T115" fmla="*/ 74 h 1080"/>
                <a:gd name="T116" fmla="*/ 118 w 1536"/>
                <a:gd name="T117" fmla="*/ 80 h 108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536"/>
                <a:gd name="T178" fmla="*/ 0 h 1080"/>
                <a:gd name="T179" fmla="*/ 1536 w 1536"/>
                <a:gd name="T180" fmla="*/ 1080 h 108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536" h="1080">
                  <a:moveTo>
                    <a:pt x="1350" y="1020"/>
                  </a:moveTo>
                  <a:lnTo>
                    <a:pt x="1350" y="1026"/>
                  </a:lnTo>
                  <a:lnTo>
                    <a:pt x="1344" y="1026"/>
                  </a:lnTo>
                  <a:lnTo>
                    <a:pt x="1338" y="1032"/>
                  </a:lnTo>
                  <a:lnTo>
                    <a:pt x="1332" y="1026"/>
                  </a:lnTo>
                  <a:lnTo>
                    <a:pt x="1326" y="1026"/>
                  </a:lnTo>
                  <a:lnTo>
                    <a:pt x="1320" y="1020"/>
                  </a:lnTo>
                  <a:lnTo>
                    <a:pt x="1314" y="1026"/>
                  </a:lnTo>
                  <a:lnTo>
                    <a:pt x="1314" y="1032"/>
                  </a:lnTo>
                  <a:lnTo>
                    <a:pt x="1308" y="1038"/>
                  </a:lnTo>
                  <a:lnTo>
                    <a:pt x="1308" y="1044"/>
                  </a:lnTo>
                  <a:lnTo>
                    <a:pt x="1308" y="1050"/>
                  </a:lnTo>
                  <a:lnTo>
                    <a:pt x="1308" y="1056"/>
                  </a:lnTo>
                  <a:lnTo>
                    <a:pt x="1308" y="1062"/>
                  </a:lnTo>
                  <a:lnTo>
                    <a:pt x="1296" y="1068"/>
                  </a:lnTo>
                  <a:lnTo>
                    <a:pt x="1284" y="1074"/>
                  </a:lnTo>
                  <a:lnTo>
                    <a:pt x="1272" y="1080"/>
                  </a:lnTo>
                  <a:lnTo>
                    <a:pt x="1260" y="1080"/>
                  </a:lnTo>
                  <a:lnTo>
                    <a:pt x="1254" y="1074"/>
                  </a:lnTo>
                  <a:lnTo>
                    <a:pt x="1236" y="1074"/>
                  </a:lnTo>
                  <a:lnTo>
                    <a:pt x="1230" y="1074"/>
                  </a:lnTo>
                  <a:lnTo>
                    <a:pt x="1236" y="1074"/>
                  </a:lnTo>
                  <a:lnTo>
                    <a:pt x="1236" y="1068"/>
                  </a:lnTo>
                  <a:lnTo>
                    <a:pt x="1236" y="1062"/>
                  </a:lnTo>
                  <a:lnTo>
                    <a:pt x="1236" y="1056"/>
                  </a:lnTo>
                  <a:lnTo>
                    <a:pt x="1242" y="1050"/>
                  </a:lnTo>
                  <a:lnTo>
                    <a:pt x="1242" y="1044"/>
                  </a:lnTo>
                  <a:lnTo>
                    <a:pt x="1242" y="1038"/>
                  </a:lnTo>
                  <a:lnTo>
                    <a:pt x="1248" y="1032"/>
                  </a:lnTo>
                  <a:lnTo>
                    <a:pt x="1236" y="1026"/>
                  </a:lnTo>
                  <a:lnTo>
                    <a:pt x="1218" y="1020"/>
                  </a:lnTo>
                  <a:lnTo>
                    <a:pt x="1224" y="1014"/>
                  </a:lnTo>
                  <a:lnTo>
                    <a:pt x="1218" y="1008"/>
                  </a:lnTo>
                  <a:lnTo>
                    <a:pt x="1218" y="1002"/>
                  </a:lnTo>
                  <a:lnTo>
                    <a:pt x="1212" y="1008"/>
                  </a:lnTo>
                  <a:lnTo>
                    <a:pt x="1206" y="1002"/>
                  </a:lnTo>
                  <a:lnTo>
                    <a:pt x="1212" y="1002"/>
                  </a:lnTo>
                  <a:lnTo>
                    <a:pt x="1212" y="996"/>
                  </a:lnTo>
                  <a:lnTo>
                    <a:pt x="1200" y="990"/>
                  </a:lnTo>
                  <a:lnTo>
                    <a:pt x="1200" y="984"/>
                  </a:lnTo>
                  <a:lnTo>
                    <a:pt x="1188" y="984"/>
                  </a:lnTo>
                  <a:lnTo>
                    <a:pt x="1176" y="978"/>
                  </a:lnTo>
                  <a:lnTo>
                    <a:pt x="1164" y="960"/>
                  </a:lnTo>
                  <a:lnTo>
                    <a:pt x="1152" y="936"/>
                  </a:lnTo>
                  <a:lnTo>
                    <a:pt x="1146" y="936"/>
                  </a:lnTo>
                  <a:lnTo>
                    <a:pt x="1128" y="900"/>
                  </a:lnTo>
                  <a:lnTo>
                    <a:pt x="1038" y="912"/>
                  </a:lnTo>
                  <a:lnTo>
                    <a:pt x="1038" y="918"/>
                  </a:lnTo>
                  <a:lnTo>
                    <a:pt x="1032" y="924"/>
                  </a:lnTo>
                  <a:lnTo>
                    <a:pt x="1026" y="918"/>
                  </a:lnTo>
                  <a:lnTo>
                    <a:pt x="1020" y="924"/>
                  </a:lnTo>
                  <a:lnTo>
                    <a:pt x="1008" y="936"/>
                  </a:lnTo>
                  <a:lnTo>
                    <a:pt x="990" y="936"/>
                  </a:lnTo>
                  <a:lnTo>
                    <a:pt x="990" y="942"/>
                  </a:lnTo>
                  <a:lnTo>
                    <a:pt x="996" y="942"/>
                  </a:lnTo>
                  <a:lnTo>
                    <a:pt x="984" y="948"/>
                  </a:lnTo>
                  <a:lnTo>
                    <a:pt x="972" y="948"/>
                  </a:lnTo>
                  <a:lnTo>
                    <a:pt x="960" y="948"/>
                  </a:lnTo>
                  <a:lnTo>
                    <a:pt x="948" y="942"/>
                  </a:lnTo>
                  <a:lnTo>
                    <a:pt x="948" y="936"/>
                  </a:lnTo>
                  <a:lnTo>
                    <a:pt x="942" y="936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30" y="924"/>
                  </a:lnTo>
                  <a:lnTo>
                    <a:pt x="936" y="918"/>
                  </a:lnTo>
                  <a:lnTo>
                    <a:pt x="918" y="918"/>
                  </a:lnTo>
                  <a:lnTo>
                    <a:pt x="918" y="900"/>
                  </a:lnTo>
                  <a:lnTo>
                    <a:pt x="924" y="900"/>
                  </a:lnTo>
                  <a:lnTo>
                    <a:pt x="924" y="894"/>
                  </a:lnTo>
                  <a:lnTo>
                    <a:pt x="924" y="870"/>
                  </a:lnTo>
                  <a:lnTo>
                    <a:pt x="924" y="864"/>
                  </a:lnTo>
                  <a:lnTo>
                    <a:pt x="918" y="858"/>
                  </a:lnTo>
                  <a:lnTo>
                    <a:pt x="918" y="852"/>
                  </a:lnTo>
                  <a:lnTo>
                    <a:pt x="906" y="840"/>
                  </a:lnTo>
                  <a:lnTo>
                    <a:pt x="894" y="834"/>
                  </a:lnTo>
                  <a:lnTo>
                    <a:pt x="876" y="822"/>
                  </a:lnTo>
                  <a:lnTo>
                    <a:pt x="870" y="828"/>
                  </a:lnTo>
                  <a:lnTo>
                    <a:pt x="858" y="816"/>
                  </a:lnTo>
                  <a:lnTo>
                    <a:pt x="810" y="798"/>
                  </a:lnTo>
                  <a:lnTo>
                    <a:pt x="774" y="792"/>
                  </a:lnTo>
                  <a:lnTo>
                    <a:pt x="732" y="798"/>
                  </a:lnTo>
                  <a:lnTo>
                    <a:pt x="726" y="804"/>
                  </a:lnTo>
                  <a:lnTo>
                    <a:pt x="714" y="810"/>
                  </a:lnTo>
                  <a:lnTo>
                    <a:pt x="702" y="810"/>
                  </a:lnTo>
                  <a:lnTo>
                    <a:pt x="690" y="810"/>
                  </a:lnTo>
                  <a:lnTo>
                    <a:pt x="696" y="816"/>
                  </a:lnTo>
                  <a:lnTo>
                    <a:pt x="696" y="822"/>
                  </a:lnTo>
                  <a:lnTo>
                    <a:pt x="702" y="822"/>
                  </a:lnTo>
                  <a:lnTo>
                    <a:pt x="708" y="822"/>
                  </a:lnTo>
                  <a:lnTo>
                    <a:pt x="708" y="828"/>
                  </a:lnTo>
                  <a:lnTo>
                    <a:pt x="708" y="834"/>
                  </a:lnTo>
                  <a:lnTo>
                    <a:pt x="714" y="834"/>
                  </a:lnTo>
                  <a:lnTo>
                    <a:pt x="708" y="846"/>
                  </a:lnTo>
                  <a:lnTo>
                    <a:pt x="708" y="852"/>
                  </a:lnTo>
                  <a:lnTo>
                    <a:pt x="702" y="852"/>
                  </a:lnTo>
                  <a:lnTo>
                    <a:pt x="696" y="858"/>
                  </a:lnTo>
                  <a:lnTo>
                    <a:pt x="690" y="864"/>
                  </a:lnTo>
                  <a:lnTo>
                    <a:pt x="666" y="870"/>
                  </a:lnTo>
                  <a:lnTo>
                    <a:pt x="660" y="876"/>
                  </a:lnTo>
                  <a:lnTo>
                    <a:pt x="642" y="876"/>
                  </a:lnTo>
                  <a:lnTo>
                    <a:pt x="606" y="882"/>
                  </a:lnTo>
                  <a:lnTo>
                    <a:pt x="588" y="882"/>
                  </a:lnTo>
                  <a:lnTo>
                    <a:pt x="582" y="876"/>
                  </a:lnTo>
                  <a:lnTo>
                    <a:pt x="576" y="876"/>
                  </a:lnTo>
                  <a:lnTo>
                    <a:pt x="564" y="876"/>
                  </a:lnTo>
                  <a:lnTo>
                    <a:pt x="552" y="882"/>
                  </a:lnTo>
                  <a:lnTo>
                    <a:pt x="540" y="894"/>
                  </a:lnTo>
                  <a:lnTo>
                    <a:pt x="534" y="906"/>
                  </a:lnTo>
                  <a:lnTo>
                    <a:pt x="528" y="912"/>
                  </a:lnTo>
                  <a:lnTo>
                    <a:pt x="516" y="924"/>
                  </a:lnTo>
                  <a:lnTo>
                    <a:pt x="486" y="930"/>
                  </a:lnTo>
                  <a:lnTo>
                    <a:pt x="474" y="912"/>
                  </a:lnTo>
                  <a:lnTo>
                    <a:pt x="474" y="906"/>
                  </a:lnTo>
                  <a:lnTo>
                    <a:pt x="468" y="906"/>
                  </a:lnTo>
                  <a:lnTo>
                    <a:pt x="468" y="900"/>
                  </a:lnTo>
                  <a:lnTo>
                    <a:pt x="462" y="894"/>
                  </a:lnTo>
                  <a:lnTo>
                    <a:pt x="456" y="894"/>
                  </a:lnTo>
                  <a:lnTo>
                    <a:pt x="462" y="888"/>
                  </a:lnTo>
                  <a:lnTo>
                    <a:pt x="468" y="888"/>
                  </a:lnTo>
                  <a:lnTo>
                    <a:pt x="462" y="882"/>
                  </a:lnTo>
                  <a:lnTo>
                    <a:pt x="462" y="876"/>
                  </a:lnTo>
                  <a:lnTo>
                    <a:pt x="456" y="870"/>
                  </a:lnTo>
                  <a:lnTo>
                    <a:pt x="456" y="864"/>
                  </a:lnTo>
                  <a:lnTo>
                    <a:pt x="450" y="858"/>
                  </a:lnTo>
                  <a:lnTo>
                    <a:pt x="444" y="858"/>
                  </a:lnTo>
                  <a:lnTo>
                    <a:pt x="444" y="852"/>
                  </a:lnTo>
                  <a:lnTo>
                    <a:pt x="438" y="852"/>
                  </a:lnTo>
                  <a:lnTo>
                    <a:pt x="438" y="858"/>
                  </a:lnTo>
                  <a:lnTo>
                    <a:pt x="402" y="870"/>
                  </a:lnTo>
                  <a:lnTo>
                    <a:pt x="390" y="882"/>
                  </a:lnTo>
                  <a:lnTo>
                    <a:pt x="384" y="900"/>
                  </a:lnTo>
                  <a:lnTo>
                    <a:pt x="342" y="900"/>
                  </a:lnTo>
                  <a:lnTo>
                    <a:pt x="324" y="900"/>
                  </a:lnTo>
                  <a:lnTo>
                    <a:pt x="294" y="906"/>
                  </a:lnTo>
                  <a:lnTo>
                    <a:pt x="282" y="948"/>
                  </a:lnTo>
                  <a:lnTo>
                    <a:pt x="282" y="978"/>
                  </a:lnTo>
                  <a:lnTo>
                    <a:pt x="270" y="1008"/>
                  </a:lnTo>
                  <a:lnTo>
                    <a:pt x="240" y="1014"/>
                  </a:lnTo>
                  <a:lnTo>
                    <a:pt x="216" y="996"/>
                  </a:lnTo>
                  <a:lnTo>
                    <a:pt x="204" y="984"/>
                  </a:lnTo>
                  <a:lnTo>
                    <a:pt x="192" y="966"/>
                  </a:lnTo>
                  <a:lnTo>
                    <a:pt x="186" y="948"/>
                  </a:lnTo>
                  <a:lnTo>
                    <a:pt x="174" y="948"/>
                  </a:lnTo>
                  <a:lnTo>
                    <a:pt x="174" y="936"/>
                  </a:lnTo>
                  <a:lnTo>
                    <a:pt x="186" y="924"/>
                  </a:lnTo>
                  <a:lnTo>
                    <a:pt x="198" y="906"/>
                  </a:lnTo>
                  <a:lnTo>
                    <a:pt x="204" y="888"/>
                  </a:lnTo>
                  <a:lnTo>
                    <a:pt x="222" y="870"/>
                  </a:lnTo>
                  <a:lnTo>
                    <a:pt x="234" y="858"/>
                  </a:lnTo>
                  <a:lnTo>
                    <a:pt x="234" y="852"/>
                  </a:lnTo>
                  <a:lnTo>
                    <a:pt x="222" y="852"/>
                  </a:lnTo>
                  <a:lnTo>
                    <a:pt x="228" y="810"/>
                  </a:lnTo>
                  <a:lnTo>
                    <a:pt x="222" y="798"/>
                  </a:lnTo>
                  <a:lnTo>
                    <a:pt x="216" y="798"/>
                  </a:lnTo>
                  <a:lnTo>
                    <a:pt x="216" y="792"/>
                  </a:lnTo>
                  <a:lnTo>
                    <a:pt x="210" y="792"/>
                  </a:lnTo>
                  <a:lnTo>
                    <a:pt x="204" y="798"/>
                  </a:lnTo>
                  <a:lnTo>
                    <a:pt x="204" y="792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0" y="786"/>
                  </a:lnTo>
                  <a:lnTo>
                    <a:pt x="174" y="792"/>
                  </a:lnTo>
                  <a:lnTo>
                    <a:pt x="162" y="792"/>
                  </a:lnTo>
                  <a:lnTo>
                    <a:pt x="156" y="792"/>
                  </a:lnTo>
                  <a:lnTo>
                    <a:pt x="156" y="798"/>
                  </a:lnTo>
                  <a:lnTo>
                    <a:pt x="138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6" y="804"/>
                  </a:lnTo>
                  <a:lnTo>
                    <a:pt x="102" y="810"/>
                  </a:lnTo>
                  <a:lnTo>
                    <a:pt x="90" y="810"/>
                  </a:lnTo>
                  <a:lnTo>
                    <a:pt x="72" y="798"/>
                  </a:lnTo>
                  <a:lnTo>
                    <a:pt x="66" y="780"/>
                  </a:lnTo>
                  <a:lnTo>
                    <a:pt x="60" y="780"/>
                  </a:lnTo>
                  <a:lnTo>
                    <a:pt x="60" y="768"/>
                  </a:lnTo>
                  <a:lnTo>
                    <a:pt x="54" y="768"/>
                  </a:lnTo>
                  <a:lnTo>
                    <a:pt x="24" y="756"/>
                  </a:lnTo>
                  <a:lnTo>
                    <a:pt x="18" y="744"/>
                  </a:lnTo>
                  <a:lnTo>
                    <a:pt x="12" y="738"/>
                  </a:lnTo>
                  <a:lnTo>
                    <a:pt x="18" y="732"/>
                  </a:lnTo>
                  <a:lnTo>
                    <a:pt x="12" y="726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8" y="696"/>
                  </a:lnTo>
                  <a:lnTo>
                    <a:pt x="24" y="708"/>
                  </a:lnTo>
                  <a:lnTo>
                    <a:pt x="36" y="702"/>
                  </a:lnTo>
                  <a:lnTo>
                    <a:pt x="36" y="678"/>
                  </a:lnTo>
                  <a:lnTo>
                    <a:pt x="36" y="660"/>
                  </a:lnTo>
                  <a:lnTo>
                    <a:pt x="42" y="654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72" y="624"/>
                  </a:lnTo>
                  <a:lnTo>
                    <a:pt x="90" y="618"/>
                  </a:lnTo>
                  <a:lnTo>
                    <a:pt x="102" y="618"/>
                  </a:lnTo>
                  <a:lnTo>
                    <a:pt x="114" y="612"/>
                  </a:lnTo>
                  <a:lnTo>
                    <a:pt x="138" y="606"/>
                  </a:lnTo>
                  <a:lnTo>
                    <a:pt x="144" y="606"/>
                  </a:lnTo>
                  <a:lnTo>
                    <a:pt x="150" y="594"/>
                  </a:lnTo>
                  <a:lnTo>
                    <a:pt x="156" y="576"/>
                  </a:lnTo>
                  <a:lnTo>
                    <a:pt x="168" y="552"/>
                  </a:lnTo>
                  <a:lnTo>
                    <a:pt x="168" y="540"/>
                  </a:lnTo>
                  <a:lnTo>
                    <a:pt x="180" y="522"/>
                  </a:lnTo>
                  <a:lnTo>
                    <a:pt x="186" y="498"/>
                  </a:lnTo>
                  <a:lnTo>
                    <a:pt x="198" y="480"/>
                  </a:lnTo>
                  <a:lnTo>
                    <a:pt x="204" y="486"/>
                  </a:lnTo>
                  <a:lnTo>
                    <a:pt x="210" y="480"/>
                  </a:lnTo>
                  <a:lnTo>
                    <a:pt x="204" y="474"/>
                  </a:lnTo>
                  <a:lnTo>
                    <a:pt x="198" y="462"/>
                  </a:lnTo>
                  <a:lnTo>
                    <a:pt x="192" y="456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50"/>
                  </a:lnTo>
                  <a:lnTo>
                    <a:pt x="132" y="426"/>
                  </a:lnTo>
                  <a:lnTo>
                    <a:pt x="132" y="396"/>
                  </a:lnTo>
                  <a:lnTo>
                    <a:pt x="132" y="378"/>
                  </a:lnTo>
                  <a:lnTo>
                    <a:pt x="126" y="348"/>
                  </a:lnTo>
                  <a:lnTo>
                    <a:pt x="132" y="312"/>
                  </a:lnTo>
                  <a:lnTo>
                    <a:pt x="126" y="288"/>
                  </a:lnTo>
                  <a:lnTo>
                    <a:pt x="138" y="282"/>
                  </a:lnTo>
                  <a:lnTo>
                    <a:pt x="126" y="264"/>
                  </a:lnTo>
                  <a:lnTo>
                    <a:pt x="126" y="258"/>
                  </a:lnTo>
                  <a:lnTo>
                    <a:pt x="120" y="246"/>
                  </a:lnTo>
                  <a:lnTo>
                    <a:pt x="126" y="234"/>
                  </a:lnTo>
                  <a:lnTo>
                    <a:pt x="114" y="228"/>
                  </a:lnTo>
                  <a:lnTo>
                    <a:pt x="114" y="222"/>
                  </a:lnTo>
                  <a:lnTo>
                    <a:pt x="96" y="204"/>
                  </a:lnTo>
                  <a:lnTo>
                    <a:pt x="84" y="180"/>
                  </a:lnTo>
                  <a:lnTo>
                    <a:pt x="78" y="168"/>
                  </a:lnTo>
                  <a:lnTo>
                    <a:pt x="72" y="162"/>
                  </a:lnTo>
                  <a:lnTo>
                    <a:pt x="66" y="144"/>
                  </a:lnTo>
                  <a:lnTo>
                    <a:pt x="60" y="138"/>
                  </a:lnTo>
                  <a:lnTo>
                    <a:pt x="66" y="126"/>
                  </a:lnTo>
                  <a:lnTo>
                    <a:pt x="66" y="114"/>
                  </a:lnTo>
                  <a:lnTo>
                    <a:pt x="72" y="114"/>
                  </a:lnTo>
                  <a:lnTo>
                    <a:pt x="72" y="108"/>
                  </a:lnTo>
                  <a:lnTo>
                    <a:pt x="78" y="102"/>
                  </a:lnTo>
                  <a:lnTo>
                    <a:pt x="78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120" y="78"/>
                  </a:lnTo>
                  <a:lnTo>
                    <a:pt x="144" y="84"/>
                  </a:lnTo>
                  <a:lnTo>
                    <a:pt x="150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74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92" y="102"/>
                  </a:lnTo>
                  <a:lnTo>
                    <a:pt x="198" y="96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16" y="96"/>
                  </a:lnTo>
                  <a:lnTo>
                    <a:pt x="222" y="96"/>
                  </a:lnTo>
                  <a:lnTo>
                    <a:pt x="228" y="96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94" y="114"/>
                  </a:lnTo>
                  <a:lnTo>
                    <a:pt x="312" y="120"/>
                  </a:lnTo>
                  <a:lnTo>
                    <a:pt x="318" y="126"/>
                  </a:lnTo>
                  <a:lnTo>
                    <a:pt x="330" y="132"/>
                  </a:lnTo>
                  <a:lnTo>
                    <a:pt x="342" y="132"/>
                  </a:lnTo>
                  <a:lnTo>
                    <a:pt x="348" y="132"/>
                  </a:lnTo>
                  <a:lnTo>
                    <a:pt x="354" y="138"/>
                  </a:lnTo>
                  <a:lnTo>
                    <a:pt x="366" y="138"/>
                  </a:lnTo>
                  <a:lnTo>
                    <a:pt x="372" y="144"/>
                  </a:lnTo>
                  <a:lnTo>
                    <a:pt x="378" y="150"/>
                  </a:lnTo>
                  <a:lnTo>
                    <a:pt x="384" y="150"/>
                  </a:lnTo>
                  <a:lnTo>
                    <a:pt x="390" y="150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14" y="156"/>
                  </a:lnTo>
                  <a:lnTo>
                    <a:pt x="420" y="156"/>
                  </a:lnTo>
                  <a:lnTo>
                    <a:pt x="426" y="162"/>
                  </a:lnTo>
                  <a:lnTo>
                    <a:pt x="438" y="168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62" y="174"/>
                  </a:lnTo>
                  <a:lnTo>
                    <a:pt x="468" y="174"/>
                  </a:lnTo>
                  <a:lnTo>
                    <a:pt x="474" y="174"/>
                  </a:lnTo>
                  <a:lnTo>
                    <a:pt x="474" y="180"/>
                  </a:lnTo>
                  <a:lnTo>
                    <a:pt x="480" y="192"/>
                  </a:lnTo>
                  <a:lnTo>
                    <a:pt x="498" y="198"/>
                  </a:lnTo>
                  <a:lnTo>
                    <a:pt x="510" y="210"/>
                  </a:lnTo>
                  <a:lnTo>
                    <a:pt x="516" y="210"/>
                  </a:lnTo>
                  <a:lnTo>
                    <a:pt x="522" y="210"/>
                  </a:lnTo>
                  <a:lnTo>
                    <a:pt x="534" y="216"/>
                  </a:lnTo>
                  <a:lnTo>
                    <a:pt x="540" y="216"/>
                  </a:lnTo>
                  <a:lnTo>
                    <a:pt x="546" y="222"/>
                  </a:lnTo>
                  <a:lnTo>
                    <a:pt x="552" y="222"/>
                  </a:lnTo>
                  <a:lnTo>
                    <a:pt x="558" y="228"/>
                  </a:lnTo>
                  <a:lnTo>
                    <a:pt x="564" y="228"/>
                  </a:lnTo>
                  <a:lnTo>
                    <a:pt x="570" y="234"/>
                  </a:lnTo>
                  <a:lnTo>
                    <a:pt x="576" y="240"/>
                  </a:lnTo>
                  <a:lnTo>
                    <a:pt x="582" y="240"/>
                  </a:lnTo>
                  <a:lnTo>
                    <a:pt x="588" y="240"/>
                  </a:lnTo>
                  <a:lnTo>
                    <a:pt x="594" y="240"/>
                  </a:lnTo>
                  <a:lnTo>
                    <a:pt x="600" y="228"/>
                  </a:lnTo>
                  <a:lnTo>
                    <a:pt x="588" y="216"/>
                  </a:lnTo>
                  <a:lnTo>
                    <a:pt x="588" y="198"/>
                  </a:lnTo>
                  <a:lnTo>
                    <a:pt x="582" y="198"/>
                  </a:lnTo>
                  <a:lnTo>
                    <a:pt x="588" y="192"/>
                  </a:lnTo>
                  <a:lnTo>
                    <a:pt x="582" y="168"/>
                  </a:lnTo>
                  <a:lnTo>
                    <a:pt x="558" y="114"/>
                  </a:lnTo>
                  <a:lnTo>
                    <a:pt x="552" y="90"/>
                  </a:lnTo>
                  <a:lnTo>
                    <a:pt x="558" y="60"/>
                  </a:lnTo>
                  <a:lnTo>
                    <a:pt x="564" y="48"/>
                  </a:lnTo>
                  <a:lnTo>
                    <a:pt x="582" y="42"/>
                  </a:lnTo>
                  <a:lnTo>
                    <a:pt x="624" y="6"/>
                  </a:lnTo>
                  <a:lnTo>
                    <a:pt x="648" y="0"/>
                  </a:lnTo>
                  <a:lnTo>
                    <a:pt x="678" y="0"/>
                  </a:lnTo>
                  <a:lnTo>
                    <a:pt x="720" y="12"/>
                  </a:lnTo>
                  <a:lnTo>
                    <a:pt x="744" y="24"/>
                  </a:lnTo>
                  <a:lnTo>
                    <a:pt x="768" y="42"/>
                  </a:lnTo>
                  <a:lnTo>
                    <a:pt x="816" y="48"/>
                  </a:lnTo>
                  <a:lnTo>
                    <a:pt x="834" y="48"/>
                  </a:lnTo>
                  <a:lnTo>
                    <a:pt x="852" y="54"/>
                  </a:lnTo>
                  <a:lnTo>
                    <a:pt x="906" y="60"/>
                  </a:lnTo>
                  <a:lnTo>
                    <a:pt x="948" y="54"/>
                  </a:lnTo>
                  <a:lnTo>
                    <a:pt x="978" y="42"/>
                  </a:lnTo>
                  <a:lnTo>
                    <a:pt x="984" y="48"/>
                  </a:lnTo>
                  <a:lnTo>
                    <a:pt x="990" y="60"/>
                  </a:lnTo>
                  <a:lnTo>
                    <a:pt x="996" y="66"/>
                  </a:lnTo>
                  <a:lnTo>
                    <a:pt x="1002" y="72"/>
                  </a:lnTo>
                  <a:lnTo>
                    <a:pt x="1014" y="78"/>
                  </a:lnTo>
                  <a:lnTo>
                    <a:pt x="1014" y="84"/>
                  </a:lnTo>
                  <a:lnTo>
                    <a:pt x="1032" y="84"/>
                  </a:lnTo>
                  <a:lnTo>
                    <a:pt x="1032" y="90"/>
                  </a:lnTo>
                  <a:lnTo>
                    <a:pt x="1032" y="96"/>
                  </a:lnTo>
                  <a:lnTo>
                    <a:pt x="1032" y="108"/>
                  </a:lnTo>
                  <a:lnTo>
                    <a:pt x="1056" y="126"/>
                  </a:lnTo>
                  <a:lnTo>
                    <a:pt x="1068" y="138"/>
                  </a:lnTo>
                  <a:lnTo>
                    <a:pt x="1068" y="156"/>
                  </a:lnTo>
                  <a:lnTo>
                    <a:pt x="1080" y="150"/>
                  </a:lnTo>
                  <a:lnTo>
                    <a:pt x="1086" y="150"/>
                  </a:lnTo>
                  <a:lnTo>
                    <a:pt x="1092" y="156"/>
                  </a:lnTo>
                  <a:lnTo>
                    <a:pt x="1092" y="162"/>
                  </a:lnTo>
                  <a:lnTo>
                    <a:pt x="1092" y="168"/>
                  </a:lnTo>
                  <a:lnTo>
                    <a:pt x="1098" y="168"/>
                  </a:lnTo>
                  <a:lnTo>
                    <a:pt x="1092" y="180"/>
                  </a:lnTo>
                  <a:lnTo>
                    <a:pt x="1092" y="186"/>
                  </a:lnTo>
                  <a:lnTo>
                    <a:pt x="1086" y="192"/>
                  </a:lnTo>
                  <a:lnTo>
                    <a:pt x="1068" y="210"/>
                  </a:lnTo>
                  <a:lnTo>
                    <a:pt x="1068" y="216"/>
                  </a:lnTo>
                  <a:lnTo>
                    <a:pt x="1074" y="228"/>
                  </a:lnTo>
                  <a:lnTo>
                    <a:pt x="1092" y="234"/>
                  </a:lnTo>
                  <a:lnTo>
                    <a:pt x="1122" y="216"/>
                  </a:lnTo>
                  <a:lnTo>
                    <a:pt x="1188" y="204"/>
                  </a:lnTo>
                  <a:lnTo>
                    <a:pt x="1212" y="204"/>
                  </a:lnTo>
                  <a:lnTo>
                    <a:pt x="1230" y="198"/>
                  </a:lnTo>
                  <a:lnTo>
                    <a:pt x="1236" y="204"/>
                  </a:lnTo>
                  <a:lnTo>
                    <a:pt x="1242" y="210"/>
                  </a:lnTo>
                  <a:lnTo>
                    <a:pt x="1242" y="204"/>
                  </a:lnTo>
                  <a:lnTo>
                    <a:pt x="1248" y="198"/>
                  </a:lnTo>
                  <a:lnTo>
                    <a:pt x="1308" y="204"/>
                  </a:lnTo>
                  <a:lnTo>
                    <a:pt x="1338" y="204"/>
                  </a:lnTo>
                  <a:lnTo>
                    <a:pt x="1374" y="228"/>
                  </a:lnTo>
                  <a:lnTo>
                    <a:pt x="1380" y="234"/>
                  </a:lnTo>
                  <a:lnTo>
                    <a:pt x="1380" y="240"/>
                  </a:lnTo>
                  <a:lnTo>
                    <a:pt x="1386" y="252"/>
                  </a:lnTo>
                  <a:lnTo>
                    <a:pt x="1392" y="252"/>
                  </a:lnTo>
                  <a:lnTo>
                    <a:pt x="1416" y="270"/>
                  </a:lnTo>
                  <a:lnTo>
                    <a:pt x="1428" y="294"/>
                  </a:lnTo>
                  <a:lnTo>
                    <a:pt x="1440" y="312"/>
                  </a:lnTo>
                  <a:lnTo>
                    <a:pt x="1452" y="330"/>
                  </a:lnTo>
                  <a:lnTo>
                    <a:pt x="1464" y="330"/>
                  </a:lnTo>
                  <a:lnTo>
                    <a:pt x="1464" y="336"/>
                  </a:lnTo>
                  <a:lnTo>
                    <a:pt x="1470" y="336"/>
                  </a:lnTo>
                  <a:lnTo>
                    <a:pt x="1470" y="342"/>
                  </a:lnTo>
                  <a:lnTo>
                    <a:pt x="1476" y="342"/>
                  </a:lnTo>
                  <a:lnTo>
                    <a:pt x="1488" y="336"/>
                  </a:lnTo>
                  <a:lnTo>
                    <a:pt x="1494" y="342"/>
                  </a:lnTo>
                  <a:lnTo>
                    <a:pt x="1500" y="342"/>
                  </a:lnTo>
                  <a:lnTo>
                    <a:pt x="1512" y="366"/>
                  </a:lnTo>
                  <a:lnTo>
                    <a:pt x="1530" y="396"/>
                  </a:lnTo>
                  <a:lnTo>
                    <a:pt x="1536" y="444"/>
                  </a:lnTo>
                  <a:lnTo>
                    <a:pt x="1530" y="480"/>
                  </a:lnTo>
                  <a:lnTo>
                    <a:pt x="1506" y="510"/>
                  </a:lnTo>
                  <a:lnTo>
                    <a:pt x="1500" y="546"/>
                  </a:lnTo>
                  <a:lnTo>
                    <a:pt x="1494" y="564"/>
                  </a:lnTo>
                  <a:lnTo>
                    <a:pt x="1494" y="576"/>
                  </a:lnTo>
                  <a:lnTo>
                    <a:pt x="1500" y="582"/>
                  </a:lnTo>
                  <a:lnTo>
                    <a:pt x="1494" y="612"/>
                  </a:lnTo>
                  <a:lnTo>
                    <a:pt x="1476" y="630"/>
                  </a:lnTo>
                  <a:lnTo>
                    <a:pt x="1434" y="672"/>
                  </a:lnTo>
                  <a:lnTo>
                    <a:pt x="1392" y="756"/>
                  </a:lnTo>
                  <a:lnTo>
                    <a:pt x="1380" y="792"/>
                  </a:lnTo>
                  <a:lnTo>
                    <a:pt x="1374" y="798"/>
                  </a:lnTo>
                  <a:lnTo>
                    <a:pt x="1368" y="798"/>
                  </a:lnTo>
                  <a:lnTo>
                    <a:pt x="1380" y="804"/>
                  </a:lnTo>
                  <a:lnTo>
                    <a:pt x="1386" y="804"/>
                  </a:lnTo>
                  <a:lnTo>
                    <a:pt x="1380" y="822"/>
                  </a:lnTo>
                  <a:lnTo>
                    <a:pt x="1380" y="852"/>
                  </a:lnTo>
                  <a:lnTo>
                    <a:pt x="1374" y="858"/>
                  </a:lnTo>
                  <a:lnTo>
                    <a:pt x="1380" y="858"/>
                  </a:lnTo>
                  <a:lnTo>
                    <a:pt x="1374" y="864"/>
                  </a:lnTo>
                  <a:lnTo>
                    <a:pt x="1374" y="870"/>
                  </a:lnTo>
                  <a:lnTo>
                    <a:pt x="1374" y="876"/>
                  </a:lnTo>
                  <a:lnTo>
                    <a:pt x="1368" y="900"/>
                  </a:lnTo>
                  <a:lnTo>
                    <a:pt x="1362" y="906"/>
                  </a:lnTo>
                  <a:lnTo>
                    <a:pt x="1362" y="918"/>
                  </a:lnTo>
                  <a:lnTo>
                    <a:pt x="1362" y="924"/>
                  </a:lnTo>
                  <a:lnTo>
                    <a:pt x="1356" y="942"/>
                  </a:lnTo>
                  <a:lnTo>
                    <a:pt x="1350" y="972"/>
                  </a:lnTo>
                  <a:lnTo>
                    <a:pt x="1350" y="1014"/>
                  </a:lnTo>
                  <a:lnTo>
                    <a:pt x="1350" y="10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3" name="Freeform 18">
              <a:extLst>
                <a:ext uri="{FF2B5EF4-FFF2-40B4-BE49-F238E27FC236}">
                  <a16:creationId xmlns:a16="http://schemas.microsoft.com/office/drawing/2014/main" id="{EC11F2E0-3C06-46E2-8AD2-66EBE00FFE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32346" y="3837389"/>
              <a:ext cx="556811" cy="818559"/>
            </a:xfrm>
            <a:custGeom>
              <a:avLst/>
              <a:gdLst>
                <a:gd name="T0" fmla="*/ 12 w 1044"/>
                <a:gd name="T1" fmla="*/ 95 h 1542"/>
                <a:gd name="T2" fmla="*/ 7 w 1044"/>
                <a:gd name="T3" fmla="*/ 93 h 1542"/>
                <a:gd name="T4" fmla="*/ 0 w 1044"/>
                <a:gd name="T5" fmla="*/ 88 h 1542"/>
                <a:gd name="T6" fmla="*/ 3 w 1044"/>
                <a:gd name="T7" fmla="*/ 74 h 1542"/>
                <a:gd name="T8" fmla="*/ 4 w 1044"/>
                <a:gd name="T9" fmla="*/ 59 h 1542"/>
                <a:gd name="T10" fmla="*/ 7 w 1044"/>
                <a:gd name="T11" fmla="*/ 52 h 1542"/>
                <a:gd name="T12" fmla="*/ 20 w 1044"/>
                <a:gd name="T13" fmla="*/ 50 h 1542"/>
                <a:gd name="T14" fmla="*/ 24 w 1044"/>
                <a:gd name="T15" fmla="*/ 46 h 1542"/>
                <a:gd name="T16" fmla="*/ 29 w 1044"/>
                <a:gd name="T17" fmla="*/ 33 h 1542"/>
                <a:gd name="T18" fmla="*/ 32 w 1044"/>
                <a:gd name="T19" fmla="*/ 26 h 1542"/>
                <a:gd name="T20" fmla="*/ 30 w 1044"/>
                <a:gd name="T21" fmla="*/ 20 h 1542"/>
                <a:gd name="T22" fmla="*/ 26 w 1044"/>
                <a:gd name="T23" fmla="*/ 17 h 1542"/>
                <a:gd name="T24" fmla="*/ 28 w 1044"/>
                <a:gd name="T25" fmla="*/ 12 h 1542"/>
                <a:gd name="T26" fmla="*/ 44 w 1044"/>
                <a:gd name="T27" fmla="*/ 5 h 1542"/>
                <a:gd name="T28" fmla="*/ 57 w 1044"/>
                <a:gd name="T29" fmla="*/ 2 h 1542"/>
                <a:gd name="T30" fmla="*/ 65 w 1044"/>
                <a:gd name="T31" fmla="*/ 12 h 1542"/>
                <a:gd name="T32" fmla="*/ 81 w 1044"/>
                <a:gd name="T33" fmla="*/ 9 h 1542"/>
                <a:gd name="T34" fmla="*/ 91 w 1044"/>
                <a:gd name="T35" fmla="*/ 20 h 1542"/>
                <a:gd name="T36" fmla="*/ 89 w 1044"/>
                <a:gd name="T37" fmla="*/ 28 h 1542"/>
                <a:gd name="T38" fmla="*/ 83 w 1044"/>
                <a:gd name="T39" fmla="*/ 33 h 1542"/>
                <a:gd name="T40" fmla="*/ 74 w 1044"/>
                <a:gd name="T41" fmla="*/ 42 h 1542"/>
                <a:gd name="T42" fmla="*/ 58 w 1044"/>
                <a:gd name="T43" fmla="*/ 57 h 1542"/>
                <a:gd name="T44" fmla="*/ 54 w 1044"/>
                <a:gd name="T45" fmla="*/ 65 h 1542"/>
                <a:gd name="T46" fmla="*/ 59 w 1044"/>
                <a:gd name="T47" fmla="*/ 74 h 1542"/>
                <a:gd name="T48" fmla="*/ 55 w 1044"/>
                <a:gd name="T49" fmla="*/ 84 h 1542"/>
                <a:gd name="T50" fmla="*/ 52 w 1044"/>
                <a:gd name="T51" fmla="*/ 98 h 1542"/>
                <a:gd name="T52" fmla="*/ 47 w 1044"/>
                <a:gd name="T53" fmla="*/ 105 h 1542"/>
                <a:gd name="T54" fmla="*/ 42 w 1044"/>
                <a:gd name="T55" fmla="*/ 111 h 1542"/>
                <a:gd name="T56" fmla="*/ 43 w 1044"/>
                <a:gd name="T57" fmla="*/ 120 h 1542"/>
                <a:gd name="T58" fmla="*/ 45 w 1044"/>
                <a:gd name="T59" fmla="*/ 125 h 1542"/>
                <a:gd name="T60" fmla="*/ 44 w 1044"/>
                <a:gd name="T61" fmla="*/ 130 h 1542"/>
                <a:gd name="T62" fmla="*/ 45 w 1044"/>
                <a:gd name="T63" fmla="*/ 131 h 1542"/>
                <a:gd name="T64" fmla="*/ 48 w 1044"/>
                <a:gd name="T65" fmla="*/ 133 h 1542"/>
                <a:gd name="T66" fmla="*/ 39 w 1044"/>
                <a:gd name="T67" fmla="*/ 133 h 1542"/>
                <a:gd name="T68" fmla="*/ 42 w 1044"/>
                <a:gd name="T69" fmla="*/ 132 h 1542"/>
                <a:gd name="T70" fmla="*/ 38 w 1044"/>
                <a:gd name="T71" fmla="*/ 133 h 1542"/>
                <a:gd name="T72" fmla="*/ 37 w 1044"/>
                <a:gd name="T73" fmla="*/ 129 h 1542"/>
                <a:gd name="T74" fmla="*/ 40 w 1044"/>
                <a:gd name="T75" fmla="*/ 125 h 1542"/>
                <a:gd name="T76" fmla="*/ 40 w 1044"/>
                <a:gd name="T77" fmla="*/ 120 h 1542"/>
                <a:gd name="T78" fmla="*/ 40 w 1044"/>
                <a:gd name="T79" fmla="*/ 117 h 1542"/>
                <a:gd name="T80" fmla="*/ 37 w 1044"/>
                <a:gd name="T81" fmla="*/ 120 h 1542"/>
                <a:gd name="T82" fmla="*/ 34 w 1044"/>
                <a:gd name="T83" fmla="*/ 122 h 1542"/>
                <a:gd name="T84" fmla="*/ 36 w 1044"/>
                <a:gd name="T85" fmla="*/ 120 h 1542"/>
                <a:gd name="T86" fmla="*/ 30 w 1044"/>
                <a:gd name="T87" fmla="*/ 120 h 1542"/>
                <a:gd name="T88" fmla="*/ 31 w 1044"/>
                <a:gd name="T89" fmla="*/ 113 h 1542"/>
                <a:gd name="T90" fmla="*/ 29 w 1044"/>
                <a:gd name="T91" fmla="*/ 112 h 1542"/>
                <a:gd name="T92" fmla="*/ 31 w 1044"/>
                <a:gd name="T93" fmla="*/ 117 h 1542"/>
                <a:gd name="T94" fmla="*/ 27 w 1044"/>
                <a:gd name="T95" fmla="*/ 116 h 1542"/>
                <a:gd name="T96" fmla="*/ 25 w 1044"/>
                <a:gd name="T97" fmla="*/ 112 h 1542"/>
                <a:gd name="T98" fmla="*/ 21 w 1044"/>
                <a:gd name="T99" fmla="*/ 109 h 1542"/>
                <a:gd name="T100" fmla="*/ 21 w 1044"/>
                <a:gd name="T101" fmla="*/ 113 h 1542"/>
                <a:gd name="T102" fmla="*/ 40 w 1044"/>
                <a:gd name="T103" fmla="*/ 120 h 1542"/>
                <a:gd name="T104" fmla="*/ 40 w 1044"/>
                <a:gd name="T105" fmla="*/ 121 h 1542"/>
                <a:gd name="T106" fmla="*/ 40 w 1044"/>
                <a:gd name="T107" fmla="*/ 116 h 1542"/>
                <a:gd name="T108" fmla="*/ 38 w 1044"/>
                <a:gd name="T109" fmla="*/ 120 h 1542"/>
                <a:gd name="T110" fmla="*/ 23 w 1044"/>
                <a:gd name="T111" fmla="*/ 110 h 1542"/>
                <a:gd name="T112" fmla="*/ 37 w 1044"/>
                <a:gd name="T113" fmla="*/ 124 h 1542"/>
                <a:gd name="T114" fmla="*/ 40 w 1044"/>
                <a:gd name="T115" fmla="*/ 125 h 1542"/>
                <a:gd name="T116" fmla="*/ 38 w 1044"/>
                <a:gd name="T117" fmla="*/ 128 h 1542"/>
                <a:gd name="T118" fmla="*/ 25 w 1044"/>
                <a:gd name="T119" fmla="*/ 117 h 1542"/>
                <a:gd name="T120" fmla="*/ 27 w 1044"/>
                <a:gd name="T121" fmla="*/ 127 h 1542"/>
                <a:gd name="T122" fmla="*/ 24 w 1044"/>
                <a:gd name="T123" fmla="*/ 113 h 15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4"/>
                <a:gd name="T187" fmla="*/ 0 h 1542"/>
                <a:gd name="T188" fmla="*/ 1044 w 1044"/>
                <a:gd name="T189" fmla="*/ 1542 h 154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4" h="1542">
                  <a:moveTo>
                    <a:pt x="234" y="1278"/>
                  </a:moveTo>
                  <a:lnTo>
                    <a:pt x="228" y="1272"/>
                  </a:lnTo>
                  <a:lnTo>
                    <a:pt x="222" y="1266"/>
                  </a:lnTo>
                  <a:lnTo>
                    <a:pt x="222" y="1260"/>
                  </a:lnTo>
                  <a:lnTo>
                    <a:pt x="204" y="1248"/>
                  </a:lnTo>
                  <a:lnTo>
                    <a:pt x="192" y="1248"/>
                  </a:lnTo>
                  <a:lnTo>
                    <a:pt x="186" y="1236"/>
                  </a:lnTo>
                  <a:lnTo>
                    <a:pt x="174" y="1218"/>
                  </a:lnTo>
                  <a:lnTo>
                    <a:pt x="162" y="1194"/>
                  </a:lnTo>
                  <a:lnTo>
                    <a:pt x="156" y="1182"/>
                  </a:lnTo>
                  <a:lnTo>
                    <a:pt x="162" y="1146"/>
                  </a:lnTo>
                  <a:lnTo>
                    <a:pt x="156" y="1134"/>
                  </a:lnTo>
                  <a:lnTo>
                    <a:pt x="138" y="1122"/>
                  </a:lnTo>
                  <a:lnTo>
                    <a:pt x="132" y="1116"/>
                  </a:lnTo>
                  <a:lnTo>
                    <a:pt x="138" y="1098"/>
                  </a:lnTo>
                  <a:lnTo>
                    <a:pt x="138" y="1092"/>
                  </a:lnTo>
                  <a:lnTo>
                    <a:pt x="138" y="1086"/>
                  </a:lnTo>
                  <a:lnTo>
                    <a:pt x="132" y="1074"/>
                  </a:lnTo>
                  <a:lnTo>
                    <a:pt x="126" y="1074"/>
                  </a:lnTo>
                  <a:lnTo>
                    <a:pt x="126" y="1068"/>
                  </a:lnTo>
                  <a:lnTo>
                    <a:pt x="120" y="1062"/>
                  </a:lnTo>
                  <a:lnTo>
                    <a:pt x="120" y="1056"/>
                  </a:lnTo>
                  <a:lnTo>
                    <a:pt x="114" y="1050"/>
                  </a:lnTo>
                  <a:lnTo>
                    <a:pt x="108" y="1050"/>
                  </a:lnTo>
                  <a:lnTo>
                    <a:pt x="102" y="1056"/>
                  </a:lnTo>
                  <a:lnTo>
                    <a:pt x="102" y="1062"/>
                  </a:lnTo>
                  <a:lnTo>
                    <a:pt x="96" y="1062"/>
                  </a:lnTo>
                  <a:lnTo>
                    <a:pt x="96" y="1068"/>
                  </a:lnTo>
                  <a:lnTo>
                    <a:pt x="96" y="1074"/>
                  </a:lnTo>
                  <a:lnTo>
                    <a:pt x="90" y="1074"/>
                  </a:lnTo>
                  <a:lnTo>
                    <a:pt x="84" y="1080"/>
                  </a:lnTo>
                  <a:lnTo>
                    <a:pt x="78" y="1074"/>
                  </a:lnTo>
                  <a:lnTo>
                    <a:pt x="72" y="1074"/>
                  </a:lnTo>
                  <a:lnTo>
                    <a:pt x="72" y="1068"/>
                  </a:lnTo>
                  <a:lnTo>
                    <a:pt x="72" y="1062"/>
                  </a:lnTo>
                  <a:lnTo>
                    <a:pt x="60" y="1056"/>
                  </a:lnTo>
                  <a:lnTo>
                    <a:pt x="60" y="1044"/>
                  </a:lnTo>
                  <a:lnTo>
                    <a:pt x="60" y="1032"/>
                  </a:lnTo>
                  <a:lnTo>
                    <a:pt x="60" y="1026"/>
                  </a:lnTo>
                  <a:lnTo>
                    <a:pt x="54" y="1026"/>
                  </a:lnTo>
                  <a:lnTo>
                    <a:pt x="48" y="1014"/>
                  </a:lnTo>
                  <a:lnTo>
                    <a:pt x="42" y="1008"/>
                  </a:lnTo>
                  <a:lnTo>
                    <a:pt x="30" y="1008"/>
                  </a:lnTo>
                  <a:lnTo>
                    <a:pt x="30" y="1002"/>
                  </a:lnTo>
                  <a:lnTo>
                    <a:pt x="24" y="1008"/>
                  </a:lnTo>
                  <a:lnTo>
                    <a:pt x="12" y="1008"/>
                  </a:lnTo>
                  <a:lnTo>
                    <a:pt x="6" y="1008"/>
                  </a:lnTo>
                  <a:lnTo>
                    <a:pt x="0" y="1008"/>
                  </a:lnTo>
                  <a:lnTo>
                    <a:pt x="0" y="1002"/>
                  </a:lnTo>
                  <a:lnTo>
                    <a:pt x="6" y="990"/>
                  </a:lnTo>
                  <a:lnTo>
                    <a:pt x="6" y="984"/>
                  </a:lnTo>
                  <a:lnTo>
                    <a:pt x="0" y="978"/>
                  </a:lnTo>
                  <a:lnTo>
                    <a:pt x="6" y="972"/>
                  </a:lnTo>
                  <a:lnTo>
                    <a:pt x="12" y="972"/>
                  </a:lnTo>
                  <a:lnTo>
                    <a:pt x="72" y="978"/>
                  </a:lnTo>
                  <a:lnTo>
                    <a:pt x="78" y="972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30"/>
                  </a:lnTo>
                  <a:lnTo>
                    <a:pt x="54" y="912"/>
                  </a:lnTo>
                  <a:lnTo>
                    <a:pt x="42" y="906"/>
                  </a:lnTo>
                  <a:lnTo>
                    <a:pt x="36" y="894"/>
                  </a:lnTo>
                  <a:lnTo>
                    <a:pt x="30" y="876"/>
                  </a:lnTo>
                  <a:lnTo>
                    <a:pt x="30" y="858"/>
                  </a:lnTo>
                  <a:lnTo>
                    <a:pt x="30" y="840"/>
                  </a:lnTo>
                  <a:lnTo>
                    <a:pt x="36" y="816"/>
                  </a:lnTo>
                  <a:lnTo>
                    <a:pt x="36" y="792"/>
                  </a:lnTo>
                  <a:lnTo>
                    <a:pt x="36" y="780"/>
                  </a:lnTo>
                  <a:lnTo>
                    <a:pt x="12" y="774"/>
                  </a:lnTo>
                  <a:lnTo>
                    <a:pt x="24" y="756"/>
                  </a:lnTo>
                  <a:lnTo>
                    <a:pt x="24" y="744"/>
                  </a:lnTo>
                  <a:lnTo>
                    <a:pt x="30" y="738"/>
                  </a:lnTo>
                  <a:lnTo>
                    <a:pt x="30" y="732"/>
                  </a:lnTo>
                  <a:lnTo>
                    <a:pt x="36" y="720"/>
                  </a:lnTo>
                  <a:lnTo>
                    <a:pt x="42" y="714"/>
                  </a:lnTo>
                  <a:lnTo>
                    <a:pt x="54" y="708"/>
                  </a:lnTo>
                  <a:lnTo>
                    <a:pt x="60" y="702"/>
                  </a:lnTo>
                  <a:lnTo>
                    <a:pt x="48" y="690"/>
                  </a:lnTo>
                  <a:lnTo>
                    <a:pt x="48" y="684"/>
                  </a:lnTo>
                  <a:lnTo>
                    <a:pt x="48" y="678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66"/>
                  </a:lnTo>
                  <a:lnTo>
                    <a:pt x="72" y="654"/>
                  </a:lnTo>
                  <a:lnTo>
                    <a:pt x="72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84" y="630"/>
                  </a:lnTo>
                  <a:lnTo>
                    <a:pt x="90" y="630"/>
                  </a:lnTo>
                  <a:lnTo>
                    <a:pt x="96" y="630"/>
                  </a:lnTo>
                  <a:lnTo>
                    <a:pt x="96" y="624"/>
                  </a:lnTo>
                  <a:lnTo>
                    <a:pt x="90" y="624"/>
                  </a:lnTo>
                  <a:lnTo>
                    <a:pt x="84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90" y="600"/>
                  </a:lnTo>
                  <a:lnTo>
                    <a:pt x="84" y="600"/>
                  </a:lnTo>
                  <a:lnTo>
                    <a:pt x="78" y="594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126" y="564"/>
                  </a:lnTo>
                  <a:lnTo>
                    <a:pt x="144" y="564"/>
                  </a:lnTo>
                  <a:lnTo>
                    <a:pt x="156" y="582"/>
                  </a:lnTo>
                  <a:lnTo>
                    <a:pt x="162" y="600"/>
                  </a:lnTo>
                  <a:lnTo>
                    <a:pt x="180" y="588"/>
                  </a:lnTo>
                  <a:lnTo>
                    <a:pt x="192" y="588"/>
                  </a:lnTo>
                  <a:lnTo>
                    <a:pt x="198" y="588"/>
                  </a:lnTo>
                  <a:lnTo>
                    <a:pt x="210" y="582"/>
                  </a:lnTo>
                  <a:lnTo>
                    <a:pt x="216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58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46" y="558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58" y="570"/>
                  </a:lnTo>
                  <a:lnTo>
                    <a:pt x="264" y="570"/>
                  </a:lnTo>
                  <a:lnTo>
                    <a:pt x="270" y="564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46"/>
                  </a:lnTo>
                  <a:lnTo>
                    <a:pt x="276" y="540"/>
                  </a:lnTo>
                  <a:lnTo>
                    <a:pt x="276" y="534"/>
                  </a:lnTo>
                  <a:lnTo>
                    <a:pt x="276" y="528"/>
                  </a:lnTo>
                  <a:lnTo>
                    <a:pt x="282" y="528"/>
                  </a:lnTo>
                  <a:lnTo>
                    <a:pt x="282" y="522"/>
                  </a:lnTo>
                  <a:lnTo>
                    <a:pt x="282" y="516"/>
                  </a:lnTo>
                  <a:lnTo>
                    <a:pt x="282" y="510"/>
                  </a:lnTo>
                  <a:lnTo>
                    <a:pt x="282" y="504"/>
                  </a:lnTo>
                  <a:lnTo>
                    <a:pt x="282" y="492"/>
                  </a:lnTo>
                  <a:lnTo>
                    <a:pt x="288" y="486"/>
                  </a:lnTo>
                  <a:lnTo>
                    <a:pt x="300" y="480"/>
                  </a:lnTo>
                  <a:lnTo>
                    <a:pt x="306" y="462"/>
                  </a:lnTo>
                  <a:lnTo>
                    <a:pt x="318" y="444"/>
                  </a:lnTo>
                  <a:lnTo>
                    <a:pt x="330" y="444"/>
                  </a:lnTo>
                  <a:lnTo>
                    <a:pt x="330" y="432"/>
                  </a:lnTo>
                  <a:lnTo>
                    <a:pt x="342" y="432"/>
                  </a:lnTo>
                  <a:lnTo>
                    <a:pt x="354" y="402"/>
                  </a:lnTo>
                  <a:lnTo>
                    <a:pt x="348" y="390"/>
                  </a:lnTo>
                  <a:lnTo>
                    <a:pt x="336" y="384"/>
                  </a:lnTo>
                  <a:lnTo>
                    <a:pt x="336" y="360"/>
                  </a:lnTo>
                  <a:lnTo>
                    <a:pt x="336" y="354"/>
                  </a:lnTo>
                  <a:lnTo>
                    <a:pt x="336" y="342"/>
                  </a:lnTo>
                  <a:lnTo>
                    <a:pt x="342" y="336"/>
                  </a:lnTo>
                  <a:lnTo>
                    <a:pt x="342" y="324"/>
                  </a:lnTo>
                  <a:lnTo>
                    <a:pt x="372" y="324"/>
                  </a:lnTo>
                  <a:lnTo>
                    <a:pt x="378" y="324"/>
                  </a:lnTo>
                  <a:lnTo>
                    <a:pt x="378" y="318"/>
                  </a:lnTo>
                  <a:lnTo>
                    <a:pt x="372" y="312"/>
                  </a:lnTo>
                  <a:lnTo>
                    <a:pt x="378" y="312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84" y="300"/>
                  </a:lnTo>
                  <a:lnTo>
                    <a:pt x="384" y="294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66" y="294"/>
                  </a:lnTo>
                  <a:lnTo>
                    <a:pt x="366" y="288"/>
                  </a:lnTo>
                  <a:lnTo>
                    <a:pt x="372" y="288"/>
                  </a:lnTo>
                  <a:lnTo>
                    <a:pt x="372" y="282"/>
                  </a:lnTo>
                  <a:lnTo>
                    <a:pt x="366" y="276"/>
                  </a:lnTo>
                  <a:lnTo>
                    <a:pt x="360" y="270"/>
                  </a:lnTo>
                  <a:lnTo>
                    <a:pt x="360" y="264"/>
                  </a:lnTo>
                  <a:lnTo>
                    <a:pt x="354" y="264"/>
                  </a:lnTo>
                  <a:lnTo>
                    <a:pt x="348" y="258"/>
                  </a:lnTo>
                  <a:lnTo>
                    <a:pt x="354" y="258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40"/>
                  </a:lnTo>
                  <a:lnTo>
                    <a:pt x="354" y="240"/>
                  </a:lnTo>
                  <a:lnTo>
                    <a:pt x="342" y="234"/>
                  </a:lnTo>
                  <a:lnTo>
                    <a:pt x="342" y="228"/>
                  </a:lnTo>
                  <a:lnTo>
                    <a:pt x="348" y="228"/>
                  </a:lnTo>
                  <a:lnTo>
                    <a:pt x="342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6" y="216"/>
                  </a:lnTo>
                  <a:lnTo>
                    <a:pt x="330" y="222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24" y="210"/>
                  </a:lnTo>
                  <a:lnTo>
                    <a:pt x="318" y="210"/>
                  </a:lnTo>
                  <a:lnTo>
                    <a:pt x="318" y="204"/>
                  </a:lnTo>
                  <a:lnTo>
                    <a:pt x="312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294" y="192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300" y="174"/>
                  </a:lnTo>
                  <a:lnTo>
                    <a:pt x="300" y="168"/>
                  </a:lnTo>
                  <a:lnTo>
                    <a:pt x="300" y="162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88" y="150"/>
                  </a:lnTo>
                  <a:lnTo>
                    <a:pt x="288" y="144"/>
                  </a:lnTo>
                  <a:lnTo>
                    <a:pt x="282" y="144"/>
                  </a:lnTo>
                  <a:lnTo>
                    <a:pt x="282" y="138"/>
                  </a:lnTo>
                  <a:lnTo>
                    <a:pt x="312" y="132"/>
                  </a:lnTo>
                  <a:lnTo>
                    <a:pt x="324" y="120"/>
                  </a:lnTo>
                  <a:lnTo>
                    <a:pt x="330" y="114"/>
                  </a:lnTo>
                  <a:lnTo>
                    <a:pt x="336" y="102"/>
                  </a:lnTo>
                  <a:lnTo>
                    <a:pt x="348" y="90"/>
                  </a:lnTo>
                  <a:lnTo>
                    <a:pt x="360" y="84"/>
                  </a:lnTo>
                  <a:lnTo>
                    <a:pt x="372" y="84"/>
                  </a:lnTo>
                  <a:lnTo>
                    <a:pt x="378" y="84"/>
                  </a:lnTo>
                  <a:lnTo>
                    <a:pt x="384" y="90"/>
                  </a:lnTo>
                  <a:lnTo>
                    <a:pt x="402" y="90"/>
                  </a:lnTo>
                  <a:lnTo>
                    <a:pt x="438" y="84"/>
                  </a:lnTo>
                  <a:lnTo>
                    <a:pt x="456" y="84"/>
                  </a:lnTo>
                  <a:lnTo>
                    <a:pt x="462" y="78"/>
                  </a:lnTo>
                  <a:lnTo>
                    <a:pt x="486" y="72"/>
                  </a:lnTo>
                  <a:lnTo>
                    <a:pt x="492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04" y="54"/>
                  </a:lnTo>
                  <a:lnTo>
                    <a:pt x="510" y="42"/>
                  </a:lnTo>
                  <a:lnTo>
                    <a:pt x="504" y="42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498" y="30"/>
                  </a:lnTo>
                  <a:lnTo>
                    <a:pt x="492" y="30"/>
                  </a:lnTo>
                  <a:lnTo>
                    <a:pt x="492" y="24"/>
                  </a:lnTo>
                  <a:lnTo>
                    <a:pt x="486" y="18"/>
                  </a:lnTo>
                  <a:lnTo>
                    <a:pt x="498" y="18"/>
                  </a:lnTo>
                  <a:lnTo>
                    <a:pt x="510" y="18"/>
                  </a:lnTo>
                  <a:lnTo>
                    <a:pt x="522" y="12"/>
                  </a:lnTo>
                  <a:lnTo>
                    <a:pt x="528" y="6"/>
                  </a:lnTo>
                  <a:lnTo>
                    <a:pt x="570" y="0"/>
                  </a:lnTo>
                  <a:lnTo>
                    <a:pt x="606" y="6"/>
                  </a:lnTo>
                  <a:lnTo>
                    <a:pt x="654" y="24"/>
                  </a:lnTo>
                  <a:lnTo>
                    <a:pt x="666" y="36"/>
                  </a:lnTo>
                  <a:lnTo>
                    <a:pt x="672" y="30"/>
                  </a:lnTo>
                  <a:lnTo>
                    <a:pt x="690" y="42"/>
                  </a:lnTo>
                  <a:lnTo>
                    <a:pt x="702" y="48"/>
                  </a:lnTo>
                  <a:lnTo>
                    <a:pt x="714" y="60"/>
                  </a:lnTo>
                  <a:lnTo>
                    <a:pt x="714" y="66"/>
                  </a:lnTo>
                  <a:lnTo>
                    <a:pt x="720" y="72"/>
                  </a:lnTo>
                  <a:lnTo>
                    <a:pt x="720" y="78"/>
                  </a:lnTo>
                  <a:lnTo>
                    <a:pt x="720" y="102"/>
                  </a:lnTo>
                  <a:lnTo>
                    <a:pt x="720" y="108"/>
                  </a:lnTo>
                  <a:lnTo>
                    <a:pt x="714" y="108"/>
                  </a:lnTo>
                  <a:lnTo>
                    <a:pt x="714" y="126"/>
                  </a:lnTo>
                  <a:lnTo>
                    <a:pt x="732" y="126"/>
                  </a:lnTo>
                  <a:lnTo>
                    <a:pt x="726" y="132"/>
                  </a:lnTo>
                  <a:lnTo>
                    <a:pt x="738" y="132"/>
                  </a:lnTo>
                  <a:lnTo>
                    <a:pt x="738" y="138"/>
                  </a:lnTo>
                  <a:lnTo>
                    <a:pt x="738" y="144"/>
                  </a:lnTo>
                  <a:lnTo>
                    <a:pt x="744" y="144"/>
                  </a:lnTo>
                  <a:lnTo>
                    <a:pt x="744" y="150"/>
                  </a:lnTo>
                  <a:lnTo>
                    <a:pt x="756" y="156"/>
                  </a:lnTo>
                  <a:lnTo>
                    <a:pt x="768" y="156"/>
                  </a:lnTo>
                  <a:lnTo>
                    <a:pt x="780" y="156"/>
                  </a:lnTo>
                  <a:lnTo>
                    <a:pt x="792" y="150"/>
                  </a:lnTo>
                  <a:lnTo>
                    <a:pt x="786" y="150"/>
                  </a:lnTo>
                  <a:lnTo>
                    <a:pt x="786" y="144"/>
                  </a:lnTo>
                  <a:lnTo>
                    <a:pt x="804" y="144"/>
                  </a:lnTo>
                  <a:lnTo>
                    <a:pt x="816" y="132"/>
                  </a:lnTo>
                  <a:lnTo>
                    <a:pt x="822" y="126"/>
                  </a:lnTo>
                  <a:lnTo>
                    <a:pt x="828" y="132"/>
                  </a:lnTo>
                  <a:lnTo>
                    <a:pt x="834" y="126"/>
                  </a:lnTo>
                  <a:lnTo>
                    <a:pt x="834" y="120"/>
                  </a:lnTo>
                  <a:lnTo>
                    <a:pt x="924" y="108"/>
                  </a:lnTo>
                  <a:lnTo>
                    <a:pt x="942" y="144"/>
                  </a:lnTo>
                  <a:lnTo>
                    <a:pt x="948" y="144"/>
                  </a:lnTo>
                  <a:lnTo>
                    <a:pt x="960" y="168"/>
                  </a:lnTo>
                  <a:lnTo>
                    <a:pt x="972" y="186"/>
                  </a:lnTo>
                  <a:lnTo>
                    <a:pt x="984" y="192"/>
                  </a:lnTo>
                  <a:lnTo>
                    <a:pt x="996" y="192"/>
                  </a:lnTo>
                  <a:lnTo>
                    <a:pt x="996" y="198"/>
                  </a:lnTo>
                  <a:lnTo>
                    <a:pt x="1008" y="204"/>
                  </a:lnTo>
                  <a:lnTo>
                    <a:pt x="1008" y="210"/>
                  </a:lnTo>
                  <a:lnTo>
                    <a:pt x="1002" y="210"/>
                  </a:lnTo>
                  <a:lnTo>
                    <a:pt x="1008" y="216"/>
                  </a:lnTo>
                  <a:lnTo>
                    <a:pt x="1014" y="210"/>
                  </a:lnTo>
                  <a:lnTo>
                    <a:pt x="1014" y="216"/>
                  </a:lnTo>
                  <a:lnTo>
                    <a:pt x="1020" y="222"/>
                  </a:lnTo>
                  <a:lnTo>
                    <a:pt x="1014" y="228"/>
                  </a:lnTo>
                  <a:lnTo>
                    <a:pt x="1032" y="234"/>
                  </a:lnTo>
                  <a:lnTo>
                    <a:pt x="1044" y="240"/>
                  </a:lnTo>
                  <a:lnTo>
                    <a:pt x="1038" y="246"/>
                  </a:lnTo>
                  <a:lnTo>
                    <a:pt x="1038" y="252"/>
                  </a:lnTo>
                  <a:lnTo>
                    <a:pt x="1038" y="258"/>
                  </a:lnTo>
                  <a:lnTo>
                    <a:pt x="1032" y="264"/>
                  </a:lnTo>
                  <a:lnTo>
                    <a:pt x="1032" y="270"/>
                  </a:lnTo>
                  <a:lnTo>
                    <a:pt x="1032" y="276"/>
                  </a:lnTo>
                  <a:lnTo>
                    <a:pt x="1032" y="282"/>
                  </a:lnTo>
                  <a:lnTo>
                    <a:pt x="1026" y="282"/>
                  </a:lnTo>
                  <a:lnTo>
                    <a:pt x="1026" y="288"/>
                  </a:lnTo>
                  <a:lnTo>
                    <a:pt x="1026" y="294"/>
                  </a:lnTo>
                  <a:lnTo>
                    <a:pt x="1026" y="300"/>
                  </a:lnTo>
                  <a:lnTo>
                    <a:pt x="1026" y="306"/>
                  </a:lnTo>
                  <a:lnTo>
                    <a:pt x="1020" y="318"/>
                  </a:lnTo>
                  <a:lnTo>
                    <a:pt x="1020" y="324"/>
                  </a:lnTo>
                  <a:lnTo>
                    <a:pt x="1014" y="324"/>
                  </a:lnTo>
                  <a:lnTo>
                    <a:pt x="1014" y="330"/>
                  </a:lnTo>
                  <a:lnTo>
                    <a:pt x="1014" y="336"/>
                  </a:lnTo>
                  <a:lnTo>
                    <a:pt x="1008" y="366"/>
                  </a:lnTo>
                  <a:lnTo>
                    <a:pt x="1002" y="366"/>
                  </a:lnTo>
                  <a:lnTo>
                    <a:pt x="984" y="354"/>
                  </a:lnTo>
                  <a:lnTo>
                    <a:pt x="978" y="354"/>
                  </a:lnTo>
                  <a:lnTo>
                    <a:pt x="972" y="354"/>
                  </a:lnTo>
                  <a:lnTo>
                    <a:pt x="966" y="348"/>
                  </a:lnTo>
                  <a:lnTo>
                    <a:pt x="954" y="348"/>
                  </a:lnTo>
                  <a:lnTo>
                    <a:pt x="948" y="348"/>
                  </a:lnTo>
                  <a:lnTo>
                    <a:pt x="948" y="360"/>
                  </a:lnTo>
                  <a:lnTo>
                    <a:pt x="948" y="366"/>
                  </a:lnTo>
                  <a:lnTo>
                    <a:pt x="948" y="372"/>
                  </a:lnTo>
                  <a:lnTo>
                    <a:pt x="948" y="378"/>
                  </a:lnTo>
                  <a:lnTo>
                    <a:pt x="948" y="384"/>
                  </a:lnTo>
                  <a:lnTo>
                    <a:pt x="942" y="384"/>
                  </a:lnTo>
                  <a:lnTo>
                    <a:pt x="942" y="390"/>
                  </a:lnTo>
                  <a:lnTo>
                    <a:pt x="936" y="390"/>
                  </a:lnTo>
                  <a:lnTo>
                    <a:pt x="942" y="390"/>
                  </a:lnTo>
                  <a:lnTo>
                    <a:pt x="936" y="396"/>
                  </a:lnTo>
                  <a:lnTo>
                    <a:pt x="930" y="402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2" y="432"/>
                  </a:lnTo>
                  <a:lnTo>
                    <a:pt x="900" y="450"/>
                  </a:lnTo>
                  <a:lnTo>
                    <a:pt x="894" y="456"/>
                  </a:lnTo>
                  <a:lnTo>
                    <a:pt x="888" y="456"/>
                  </a:lnTo>
                  <a:lnTo>
                    <a:pt x="882" y="456"/>
                  </a:lnTo>
                  <a:lnTo>
                    <a:pt x="876" y="456"/>
                  </a:lnTo>
                  <a:lnTo>
                    <a:pt x="864" y="462"/>
                  </a:lnTo>
                  <a:lnTo>
                    <a:pt x="852" y="474"/>
                  </a:lnTo>
                  <a:lnTo>
                    <a:pt x="846" y="480"/>
                  </a:lnTo>
                  <a:lnTo>
                    <a:pt x="840" y="486"/>
                  </a:lnTo>
                  <a:lnTo>
                    <a:pt x="834" y="498"/>
                  </a:lnTo>
                  <a:lnTo>
                    <a:pt x="828" y="510"/>
                  </a:lnTo>
                  <a:lnTo>
                    <a:pt x="816" y="522"/>
                  </a:lnTo>
                  <a:lnTo>
                    <a:pt x="798" y="540"/>
                  </a:lnTo>
                  <a:lnTo>
                    <a:pt x="780" y="558"/>
                  </a:lnTo>
                  <a:lnTo>
                    <a:pt x="774" y="558"/>
                  </a:lnTo>
                  <a:lnTo>
                    <a:pt x="756" y="576"/>
                  </a:lnTo>
                  <a:lnTo>
                    <a:pt x="732" y="600"/>
                  </a:lnTo>
                  <a:lnTo>
                    <a:pt x="726" y="600"/>
                  </a:lnTo>
                  <a:lnTo>
                    <a:pt x="720" y="606"/>
                  </a:lnTo>
                  <a:lnTo>
                    <a:pt x="714" y="612"/>
                  </a:lnTo>
                  <a:lnTo>
                    <a:pt x="690" y="630"/>
                  </a:lnTo>
                  <a:lnTo>
                    <a:pt x="678" y="636"/>
                  </a:lnTo>
                  <a:lnTo>
                    <a:pt x="672" y="642"/>
                  </a:lnTo>
                  <a:lnTo>
                    <a:pt x="660" y="660"/>
                  </a:lnTo>
                  <a:lnTo>
                    <a:pt x="642" y="666"/>
                  </a:lnTo>
                  <a:lnTo>
                    <a:pt x="636" y="678"/>
                  </a:lnTo>
                  <a:lnTo>
                    <a:pt x="630" y="678"/>
                  </a:lnTo>
                  <a:lnTo>
                    <a:pt x="630" y="684"/>
                  </a:lnTo>
                  <a:lnTo>
                    <a:pt x="630" y="690"/>
                  </a:lnTo>
                  <a:lnTo>
                    <a:pt x="636" y="696"/>
                  </a:lnTo>
                  <a:lnTo>
                    <a:pt x="642" y="696"/>
                  </a:lnTo>
                  <a:lnTo>
                    <a:pt x="648" y="702"/>
                  </a:lnTo>
                  <a:lnTo>
                    <a:pt x="648" y="708"/>
                  </a:lnTo>
                  <a:lnTo>
                    <a:pt x="642" y="708"/>
                  </a:lnTo>
                  <a:lnTo>
                    <a:pt x="636" y="714"/>
                  </a:lnTo>
                  <a:lnTo>
                    <a:pt x="636" y="720"/>
                  </a:lnTo>
                  <a:lnTo>
                    <a:pt x="642" y="726"/>
                  </a:lnTo>
                  <a:lnTo>
                    <a:pt x="636" y="738"/>
                  </a:lnTo>
                  <a:lnTo>
                    <a:pt x="618" y="756"/>
                  </a:lnTo>
                  <a:lnTo>
                    <a:pt x="612" y="750"/>
                  </a:lnTo>
                  <a:lnTo>
                    <a:pt x="612" y="756"/>
                  </a:lnTo>
                  <a:lnTo>
                    <a:pt x="618" y="762"/>
                  </a:lnTo>
                  <a:lnTo>
                    <a:pt x="618" y="768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36" y="786"/>
                  </a:lnTo>
                  <a:lnTo>
                    <a:pt x="642" y="792"/>
                  </a:lnTo>
                  <a:lnTo>
                    <a:pt x="642" y="798"/>
                  </a:lnTo>
                  <a:lnTo>
                    <a:pt x="648" y="804"/>
                  </a:lnTo>
                  <a:lnTo>
                    <a:pt x="654" y="810"/>
                  </a:lnTo>
                  <a:lnTo>
                    <a:pt x="660" y="816"/>
                  </a:lnTo>
                  <a:lnTo>
                    <a:pt x="666" y="816"/>
                  </a:lnTo>
                  <a:lnTo>
                    <a:pt x="666" y="822"/>
                  </a:lnTo>
                  <a:lnTo>
                    <a:pt x="672" y="828"/>
                  </a:lnTo>
                  <a:lnTo>
                    <a:pt x="672" y="840"/>
                  </a:lnTo>
                  <a:lnTo>
                    <a:pt x="672" y="846"/>
                  </a:lnTo>
                  <a:lnTo>
                    <a:pt x="666" y="852"/>
                  </a:lnTo>
                  <a:lnTo>
                    <a:pt x="660" y="864"/>
                  </a:lnTo>
                  <a:lnTo>
                    <a:pt x="654" y="876"/>
                  </a:lnTo>
                  <a:lnTo>
                    <a:pt x="648" y="882"/>
                  </a:lnTo>
                  <a:lnTo>
                    <a:pt x="642" y="888"/>
                  </a:lnTo>
                  <a:lnTo>
                    <a:pt x="642" y="894"/>
                  </a:lnTo>
                  <a:lnTo>
                    <a:pt x="642" y="906"/>
                  </a:lnTo>
                  <a:lnTo>
                    <a:pt x="630" y="918"/>
                  </a:lnTo>
                  <a:lnTo>
                    <a:pt x="630" y="924"/>
                  </a:lnTo>
                  <a:lnTo>
                    <a:pt x="624" y="930"/>
                  </a:lnTo>
                  <a:lnTo>
                    <a:pt x="630" y="936"/>
                  </a:lnTo>
                  <a:lnTo>
                    <a:pt x="630" y="942"/>
                  </a:lnTo>
                  <a:lnTo>
                    <a:pt x="630" y="948"/>
                  </a:lnTo>
                  <a:lnTo>
                    <a:pt x="630" y="954"/>
                  </a:lnTo>
                  <a:lnTo>
                    <a:pt x="630" y="960"/>
                  </a:lnTo>
                  <a:lnTo>
                    <a:pt x="624" y="966"/>
                  </a:lnTo>
                  <a:lnTo>
                    <a:pt x="618" y="990"/>
                  </a:lnTo>
                  <a:lnTo>
                    <a:pt x="618" y="1008"/>
                  </a:lnTo>
                  <a:lnTo>
                    <a:pt x="612" y="1026"/>
                  </a:lnTo>
                  <a:lnTo>
                    <a:pt x="612" y="1038"/>
                  </a:lnTo>
                  <a:lnTo>
                    <a:pt x="612" y="1050"/>
                  </a:lnTo>
                  <a:lnTo>
                    <a:pt x="612" y="1056"/>
                  </a:lnTo>
                  <a:lnTo>
                    <a:pt x="612" y="1062"/>
                  </a:lnTo>
                  <a:lnTo>
                    <a:pt x="612" y="1068"/>
                  </a:lnTo>
                  <a:lnTo>
                    <a:pt x="612" y="1086"/>
                  </a:lnTo>
                  <a:lnTo>
                    <a:pt x="612" y="1092"/>
                  </a:lnTo>
                  <a:lnTo>
                    <a:pt x="606" y="1098"/>
                  </a:lnTo>
                  <a:lnTo>
                    <a:pt x="600" y="1110"/>
                  </a:lnTo>
                  <a:lnTo>
                    <a:pt x="600" y="1116"/>
                  </a:lnTo>
                  <a:lnTo>
                    <a:pt x="594" y="1122"/>
                  </a:lnTo>
                  <a:lnTo>
                    <a:pt x="594" y="1128"/>
                  </a:lnTo>
                  <a:lnTo>
                    <a:pt x="588" y="1134"/>
                  </a:lnTo>
                  <a:lnTo>
                    <a:pt x="582" y="1140"/>
                  </a:lnTo>
                  <a:lnTo>
                    <a:pt x="570" y="1140"/>
                  </a:lnTo>
                  <a:lnTo>
                    <a:pt x="564" y="1146"/>
                  </a:lnTo>
                  <a:lnTo>
                    <a:pt x="570" y="1146"/>
                  </a:lnTo>
                  <a:lnTo>
                    <a:pt x="564" y="1152"/>
                  </a:lnTo>
                  <a:lnTo>
                    <a:pt x="558" y="1158"/>
                  </a:lnTo>
                  <a:lnTo>
                    <a:pt x="552" y="1164"/>
                  </a:lnTo>
                  <a:lnTo>
                    <a:pt x="552" y="1170"/>
                  </a:lnTo>
                  <a:lnTo>
                    <a:pt x="546" y="1176"/>
                  </a:lnTo>
                  <a:lnTo>
                    <a:pt x="546" y="1182"/>
                  </a:lnTo>
                  <a:lnTo>
                    <a:pt x="546" y="1188"/>
                  </a:lnTo>
                  <a:lnTo>
                    <a:pt x="540" y="1188"/>
                  </a:lnTo>
                  <a:lnTo>
                    <a:pt x="540" y="1194"/>
                  </a:lnTo>
                  <a:lnTo>
                    <a:pt x="528" y="1206"/>
                  </a:lnTo>
                  <a:lnTo>
                    <a:pt x="528" y="1212"/>
                  </a:lnTo>
                  <a:lnTo>
                    <a:pt x="534" y="1212"/>
                  </a:lnTo>
                  <a:lnTo>
                    <a:pt x="540" y="1218"/>
                  </a:lnTo>
                  <a:lnTo>
                    <a:pt x="534" y="1218"/>
                  </a:lnTo>
                  <a:lnTo>
                    <a:pt x="528" y="1218"/>
                  </a:lnTo>
                  <a:lnTo>
                    <a:pt x="528" y="1224"/>
                  </a:lnTo>
                  <a:lnTo>
                    <a:pt x="522" y="1230"/>
                  </a:lnTo>
                  <a:lnTo>
                    <a:pt x="516" y="1236"/>
                  </a:lnTo>
                  <a:lnTo>
                    <a:pt x="522" y="1236"/>
                  </a:lnTo>
                  <a:lnTo>
                    <a:pt x="516" y="1242"/>
                  </a:lnTo>
                  <a:lnTo>
                    <a:pt x="510" y="1242"/>
                  </a:lnTo>
                  <a:lnTo>
                    <a:pt x="504" y="1248"/>
                  </a:lnTo>
                  <a:lnTo>
                    <a:pt x="510" y="1260"/>
                  </a:lnTo>
                  <a:lnTo>
                    <a:pt x="504" y="1266"/>
                  </a:lnTo>
                  <a:lnTo>
                    <a:pt x="492" y="1266"/>
                  </a:lnTo>
                  <a:lnTo>
                    <a:pt x="486" y="1272"/>
                  </a:lnTo>
                  <a:lnTo>
                    <a:pt x="486" y="1278"/>
                  </a:lnTo>
                  <a:lnTo>
                    <a:pt x="480" y="1278"/>
                  </a:lnTo>
                  <a:lnTo>
                    <a:pt x="480" y="1284"/>
                  </a:lnTo>
                  <a:lnTo>
                    <a:pt x="480" y="1290"/>
                  </a:lnTo>
                  <a:lnTo>
                    <a:pt x="480" y="1296"/>
                  </a:lnTo>
                  <a:lnTo>
                    <a:pt x="492" y="1302"/>
                  </a:lnTo>
                  <a:lnTo>
                    <a:pt x="492" y="1308"/>
                  </a:lnTo>
                  <a:lnTo>
                    <a:pt x="492" y="1320"/>
                  </a:lnTo>
                  <a:lnTo>
                    <a:pt x="492" y="1332"/>
                  </a:lnTo>
                  <a:lnTo>
                    <a:pt x="498" y="1344"/>
                  </a:lnTo>
                  <a:lnTo>
                    <a:pt x="498" y="1350"/>
                  </a:lnTo>
                  <a:lnTo>
                    <a:pt x="498" y="1356"/>
                  </a:lnTo>
                  <a:lnTo>
                    <a:pt x="504" y="1362"/>
                  </a:lnTo>
                  <a:lnTo>
                    <a:pt x="498" y="1362"/>
                  </a:lnTo>
                  <a:lnTo>
                    <a:pt x="498" y="1368"/>
                  </a:lnTo>
                  <a:lnTo>
                    <a:pt x="492" y="1368"/>
                  </a:lnTo>
                  <a:lnTo>
                    <a:pt x="492" y="1374"/>
                  </a:lnTo>
                  <a:lnTo>
                    <a:pt x="492" y="1380"/>
                  </a:lnTo>
                  <a:lnTo>
                    <a:pt x="498" y="1380"/>
                  </a:lnTo>
                  <a:lnTo>
                    <a:pt x="504" y="1380"/>
                  </a:lnTo>
                  <a:lnTo>
                    <a:pt x="498" y="1386"/>
                  </a:lnTo>
                  <a:lnTo>
                    <a:pt x="498" y="1392"/>
                  </a:lnTo>
                  <a:lnTo>
                    <a:pt x="498" y="1398"/>
                  </a:lnTo>
                  <a:lnTo>
                    <a:pt x="498" y="1404"/>
                  </a:lnTo>
                  <a:lnTo>
                    <a:pt x="498" y="1410"/>
                  </a:lnTo>
                  <a:lnTo>
                    <a:pt x="498" y="1416"/>
                  </a:lnTo>
                  <a:lnTo>
                    <a:pt x="492" y="1416"/>
                  </a:lnTo>
                  <a:lnTo>
                    <a:pt x="498" y="1416"/>
                  </a:lnTo>
                  <a:lnTo>
                    <a:pt x="504" y="1416"/>
                  </a:lnTo>
                  <a:lnTo>
                    <a:pt x="504" y="1422"/>
                  </a:lnTo>
                  <a:lnTo>
                    <a:pt x="510" y="1428"/>
                  </a:lnTo>
                  <a:lnTo>
                    <a:pt x="510" y="1434"/>
                  </a:lnTo>
                  <a:lnTo>
                    <a:pt x="510" y="1440"/>
                  </a:lnTo>
                  <a:lnTo>
                    <a:pt x="516" y="1446"/>
                  </a:lnTo>
                  <a:lnTo>
                    <a:pt x="516" y="1452"/>
                  </a:lnTo>
                  <a:lnTo>
                    <a:pt x="516" y="1458"/>
                  </a:lnTo>
                  <a:lnTo>
                    <a:pt x="516" y="1464"/>
                  </a:lnTo>
                  <a:lnTo>
                    <a:pt x="516" y="1482"/>
                  </a:lnTo>
                  <a:lnTo>
                    <a:pt x="516" y="1488"/>
                  </a:lnTo>
                  <a:lnTo>
                    <a:pt x="522" y="1488"/>
                  </a:lnTo>
                  <a:lnTo>
                    <a:pt x="522" y="1494"/>
                  </a:lnTo>
                  <a:lnTo>
                    <a:pt x="522" y="1500"/>
                  </a:lnTo>
                  <a:lnTo>
                    <a:pt x="516" y="1506"/>
                  </a:lnTo>
                  <a:lnTo>
                    <a:pt x="510" y="1500"/>
                  </a:lnTo>
                  <a:lnTo>
                    <a:pt x="504" y="1500"/>
                  </a:lnTo>
                  <a:lnTo>
                    <a:pt x="504" y="1494"/>
                  </a:lnTo>
                  <a:lnTo>
                    <a:pt x="504" y="1488"/>
                  </a:lnTo>
                  <a:lnTo>
                    <a:pt x="504" y="1482"/>
                  </a:lnTo>
                  <a:lnTo>
                    <a:pt x="504" y="1488"/>
                  </a:lnTo>
                  <a:lnTo>
                    <a:pt x="504" y="1494"/>
                  </a:lnTo>
                  <a:lnTo>
                    <a:pt x="504" y="1500"/>
                  </a:lnTo>
                  <a:lnTo>
                    <a:pt x="498" y="1500"/>
                  </a:lnTo>
                  <a:lnTo>
                    <a:pt x="492" y="1500"/>
                  </a:lnTo>
                  <a:lnTo>
                    <a:pt x="492" y="1494"/>
                  </a:lnTo>
                  <a:lnTo>
                    <a:pt x="492" y="1488"/>
                  </a:lnTo>
                  <a:lnTo>
                    <a:pt x="492" y="1494"/>
                  </a:lnTo>
                  <a:lnTo>
                    <a:pt x="492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00"/>
                  </a:lnTo>
                  <a:lnTo>
                    <a:pt x="510" y="1500"/>
                  </a:lnTo>
                  <a:lnTo>
                    <a:pt x="510" y="1506"/>
                  </a:lnTo>
                  <a:lnTo>
                    <a:pt x="516" y="1506"/>
                  </a:lnTo>
                  <a:lnTo>
                    <a:pt x="510" y="1506"/>
                  </a:lnTo>
                  <a:lnTo>
                    <a:pt x="510" y="1512"/>
                  </a:lnTo>
                  <a:lnTo>
                    <a:pt x="516" y="1506"/>
                  </a:lnTo>
                  <a:lnTo>
                    <a:pt x="522" y="1506"/>
                  </a:lnTo>
                  <a:lnTo>
                    <a:pt x="528" y="1506"/>
                  </a:lnTo>
                  <a:lnTo>
                    <a:pt x="528" y="1500"/>
                  </a:lnTo>
                  <a:lnTo>
                    <a:pt x="534" y="1500"/>
                  </a:lnTo>
                  <a:lnTo>
                    <a:pt x="534" y="1506"/>
                  </a:lnTo>
                  <a:lnTo>
                    <a:pt x="540" y="1512"/>
                  </a:lnTo>
                  <a:lnTo>
                    <a:pt x="540" y="1518"/>
                  </a:lnTo>
                  <a:lnTo>
                    <a:pt x="546" y="1518"/>
                  </a:lnTo>
                  <a:lnTo>
                    <a:pt x="540" y="1518"/>
                  </a:lnTo>
                  <a:lnTo>
                    <a:pt x="540" y="1524"/>
                  </a:lnTo>
                  <a:lnTo>
                    <a:pt x="534" y="1524"/>
                  </a:lnTo>
                  <a:lnTo>
                    <a:pt x="540" y="1524"/>
                  </a:lnTo>
                  <a:lnTo>
                    <a:pt x="546" y="1524"/>
                  </a:lnTo>
                  <a:lnTo>
                    <a:pt x="546" y="1530"/>
                  </a:lnTo>
                  <a:lnTo>
                    <a:pt x="540" y="1530"/>
                  </a:lnTo>
                  <a:lnTo>
                    <a:pt x="540" y="1536"/>
                  </a:lnTo>
                  <a:lnTo>
                    <a:pt x="534" y="1542"/>
                  </a:lnTo>
                  <a:lnTo>
                    <a:pt x="528" y="1542"/>
                  </a:lnTo>
                  <a:lnTo>
                    <a:pt x="522" y="1542"/>
                  </a:lnTo>
                  <a:lnTo>
                    <a:pt x="516" y="1542"/>
                  </a:lnTo>
                  <a:lnTo>
                    <a:pt x="510" y="1542"/>
                  </a:lnTo>
                  <a:lnTo>
                    <a:pt x="504" y="1542"/>
                  </a:lnTo>
                  <a:lnTo>
                    <a:pt x="492" y="1542"/>
                  </a:lnTo>
                  <a:lnTo>
                    <a:pt x="486" y="1536"/>
                  </a:lnTo>
                  <a:lnTo>
                    <a:pt x="480" y="1536"/>
                  </a:lnTo>
                  <a:lnTo>
                    <a:pt x="468" y="1536"/>
                  </a:lnTo>
                  <a:lnTo>
                    <a:pt x="468" y="1542"/>
                  </a:lnTo>
                  <a:lnTo>
                    <a:pt x="462" y="1542"/>
                  </a:lnTo>
                  <a:lnTo>
                    <a:pt x="456" y="1542"/>
                  </a:lnTo>
                  <a:lnTo>
                    <a:pt x="450" y="1542"/>
                  </a:lnTo>
                  <a:lnTo>
                    <a:pt x="444" y="1542"/>
                  </a:lnTo>
                  <a:lnTo>
                    <a:pt x="444" y="1536"/>
                  </a:lnTo>
                  <a:lnTo>
                    <a:pt x="450" y="1536"/>
                  </a:lnTo>
                  <a:lnTo>
                    <a:pt x="456" y="1536"/>
                  </a:lnTo>
                  <a:lnTo>
                    <a:pt x="450" y="1536"/>
                  </a:lnTo>
                  <a:lnTo>
                    <a:pt x="444" y="1536"/>
                  </a:lnTo>
                  <a:lnTo>
                    <a:pt x="444" y="1530"/>
                  </a:lnTo>
                  <a:lnTo>
                    <a:pt x="450" y="1530"/>
                  </a:lnTo>
                  <a:lnTo>
                    <a:pt x="456" y="1524"/>
                  </a:lnTo>
                  <a:lnTo>
                    <a:pt x="456" y="1518"/>
                  </a:lnTo>
                  <a:lnTo>
                    <a:pt x="462" y="1518"/>
                  </a:lnTo>
                  <a:lnTo>
                    <a:pt x="462" y="1524"/>
                  </a:lnTo>
                  <a:lnTo>
                    <a:pt x="468" y="1524"/>
                  </a:lnTo>
                  <a:lnTo>
                    <a:pt x="474" y="1524"/>
                  </a:lnTo>
                  <a:lnTo>
                    <a:pt x="474" y="1518"/>
                  </a:lnTo>
                  <a:lnTo>
                    <a:pt x="480" y="1518"/>
                  </a:lnTo>
                  <a:lnTo>
                    <a:pt x="474" y="1518"/>
                  </a:lnTo>
                  <a:lnTo>
                    <a:pt x="474" y="1524"/>
                  </a:lnTo>
                  <a:lnTo>
                    <a:pt x="468" y="1524"/>
                  </a:lnTo>
                  <a:lnTo>
                    <a:pt x="462" y="1518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62" y="1512"/>
                  </a:lnTo>
                  <a:lnTo>
                    <a:pt x="462" y="1506"/>
                  </a:lnTo>
                  <a:lnTo>
                    <a:pt x="456" y="1506"/>
                  </a:lnTo>
                  <a:lnTo>
                    <a:pt x="456" y="1512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50" y="1518"/>
                  </a:lnTo>
                  <a:lnTo>
                    <a:pt x="444" y="1518"/>
                  </a:lnTo>
                  <a:lnTo>
                    <a:pt x="444" y="1524"/>
                  </a:lnTo>
                  <a:lnTo>
                    <a:pt x="438" y="1524"/>
                  </a:lnTo>
                  <a:lnTo>
                    <a:pt x="438" y="1530"/>
                  </a:lnTo>
                  <a:lnTo>
                    <a:pt x="432" y="1530"/>
                  </a:lnTo>
                  <a:lnTo>
                    <a:pt x="432" y="1536"/>
                  </a:lnTo>
                  <a:lnTo>
                    <a:pt x="426" y="1530"/>
                  </a:lnTo>
                  <a:lnTo>
                    <a:pt x="420" y="1530"/>
                  </a:lnTo>
                  <a:lnTo>
                    <a:pt x="414" y="1530"/>
                  </a:lnTo>
                  <a:lnTo>
                    <a:pt x="414" y="1524"/>
                  </a:lnTo>
                  <a:lnTo>
                    <a:pt x="408" y="1518"/>
                  </a:lnTo>
                  <a:lnTo>
                    <a:pt x="414" y="1512"/>
                  </a:lnTo>
                  <a:lnTo>
                    <a:pt x="408" y="1512"/>
                  </a:lnTo>
                  <a:lnTo>
                    <a:pt x="408" y="1506"/>
                  </a:lnTo>
                  <a:lnTo>
                    <a:pt x="408" y="1500"/>
                  </a:lnTo>
                  <a:lnTo>
                    <a:pt x="408" y="1494"/>
                  </a:lnTo>
                  <a:lnTo>
                    <a:pt x="408" y="1488"/>
                  </a:lnTo>
                  <a:lnTo>
                    <a:pt x="408" y="1494"/>
                  </a:lnTo>
                  <a:lnTo>
                    <a:pt x="414" y="1494"/>
                  </a:lnTo>
                  <a:lnTo>
                    <a:pt x="420" y="1494"/>
                  </a:lnTo>
                  <a:lnTo>
                    <a:pt x="420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82"/>
                  </a:lnTo>
                  <a:lnTo>
                    <a:pt x="426" y="1476"/>
                  </a:lnTo>
                  <a:lnTo>
                    <a:pt x="432" y="1476"/>
                  </a:lnTo>
                  <a:lnTo>
                    <a:pt x="432" y="1470"/>
                  </a:lnTo>
                  <a:lnTo>
                    <a:pt x="438" y="1470"/>
                  </a:lnTo>
                  <a:lnTo>
                    <a:pt x="444" y="1464"/>
                  </a:lnTo>
                  <a:lnTo>
                    <a:pt x="450" y="1458"/>
                  </a:lnTo>
                  <a:lnTo>
                    <a:pt x="456" y="1458"/>
                  </a:lnTo>
                  <a:lnTo>
                    <a:pt x="462" y="1452"/>
                  </a:lnTo>
                  <a:lnTo>
                    <a:pt x="468" y="1452"/>
                  </a:lnTo>
                  <a:lnTo>
                    <a:pt x="468" y="1446"/>
                  </a:lnTo>
                  <a:lnTo>
                    <a:pt x="462" y="1440"/>
                  </a:lnTo>
                  <a:lnTo>
                    <a:pt x="456" y="1434"/>
                  </a:lnTo>
                  <a:lnTo>
                    <a:pt x="456" y="1428"/>
                  </a:lnTo>
                  <a:lnTo>
                    <a:pt x="456" y="1422"/>
                  </a:lnTo>
                  <a:lnTo>
                    <a:pt x="456" y="1416"/>
                  </a:lnTo>
                  <a:lnTo>
                    <a:pt x="450" y="1410"/>
                  </a:lnTo>
                  <a:lnTo>
                    <a:pt x="444" y="1410"/>
                  </a:lnTo>
                  <a:lnTo>
                    <a:pt x="450" y="1410"/>
                  </a:lnTo>
                  <a:lnTo>
                    <a:pt x="450" y="1404"/>
                  </a:lnTo>
                  <a:lnTo>
                    <a:pt x="456" y="1404"/>
                  </a:lnTo>
                  <a:lnTo>
                    <a:pt x="462" y="1404"/>
                  </a:lnTo>
                  <a:lnTo>
                    <a:pt x="468" y="1398"/>
                  </a:lnTo>
                  <a:lnTo>
                    <a:pt x="462" y="1398"/>
                  </a:lnTo>
                  <a:lnTo>
                    <a:pt x="462" y="1392"/>
                  </a:lnTo>
                  <a:lnTo>
                    <a:pt x="456" y="1392"/>
                  </a:lnTo>
                  <a:lnTo>
                    <a:pt x="456" y="1386"/>
                  </a:lnTo>
                  <a:lnTo>
                    <a:pt x="462" y="1386"/>
                  </a:lnTo>
                  <a:lnTo>
                    <a:pt x="468" y="1386"/>
                  </a:lnTo>
                  <a:lnTo>
                    <a:pt x="474" y="1386"/>
                  </a:lnTo>
                  <a:lnTo>
                    <a:pt x="468" y="1386"/>
                  </a:lnTo>
                  <a:lnTo>
                    <a:pt x="462" y="1386"/>
                  </a:lnTo>
                  <a:lnTo>
                    <a:pt x="456" y="1380"/>
                  </a:lnTo>
                  <a:lnTo>
                    <a:pt x="456" y="1374"/>
                  </a:lnTo>
                  <a:lnTo>
                    <a:pt x="462" y="1374"/>
                  </a:lnTo>
                  <a:lnTo>
                    <a:pt x="462" y="1368"/>
                  </a:lnTo>
                  <a:lnTo>
                    <a:pt x="456" y="1374"/>
                  </a:lnTo>
                  <a:lnTo>
                    <a:pt x="456" y="1368"/>
                  </a:lnTo>
                  <a:lnTo>
                    <a:pt x="456" y="1362"/>
                  </a:lnTo>
                  <a:lnTo>
                    <a:pt x="450" y="1362"/>
                  </a:lnTo>
                  <a:lnTo>
                    <a:pt x="450" y="1356"/>
                  </a:lnTo>
                  <a:lnTo>
                    <a:pt x="450" y="1350"/>
                  </a:lnTo>
                  <a:lnTo>
                    <a:pt x="450" y="1344"/>
                  </a:lnTo>
                  <a:lnTo>
                    <a:pt x="456" y="1344"/>
                  </a:lnTo>
                  <a:lnTo>
                    <a:pt x="456" y="1338"/>
                  </a:lnTo>
                  <a:lnTo>
                    <a:pt x="462" y="1338"/>
                  </a:lnTo>
                  <a:lnTo>
                    <a:pt x="462" y="1332"/>
                  </a:lnTo>
                  <a:lnTo>
                    <a:pt x="456" y="1332"/>
                  </a:lnTo>
                  <a:lnTo>
                    <a:pt x="456" y="1326"/>
                  </a:lnTo>
                  <a:lnTo>
                    <a:pt x="450" y="1326"/>
                  </a:lnTo>
                  <a:lnTo>
                    <a:pt x="444" y="1326"/>
                  </a:lnTo>
                  <a:lnTo>
                    <a:pt x="444" y="1332"/>
                  </a:lnTo>
                  <a:lnTo>
                    <a:pt x="438" y="1332"/>
                  </a:lnTo>
                  <a:lnTo>
                    <a:pt x="438" y="1338"/>
                  </a:lnTo>
                  <a:lnTo>
                    <a:pt x="432" y="1338"/>
                  </a:lnTo>
                  <a:lnTo>
                    <a:pt x="432" y="1344"/>
                  </a:lnTo>
                  <a:lnTo>
                    <a:pt x="432" y="1350"/>
                  </a:lnTo>
                  <a:lnTo>
                    <a:pt x="426" y="1356"/>
                  </a:lnTo>
                  <a:lnTo>
                    <a:pt x="426" y="1368"/>
                  </a:lnTo>
                  <a:lnTo>
                    <a:pt x="426" y="1374"/>
                  </a:lnTo>
                  <a:lnTo>
                    <a:pt x="426" y="1380"/>
                  </a:lnTo>
                  <a:lnTo>
                    <a:pt x="432" y="1386"/>
                  </a:lnTo>
                  <a:lnTo>
                    <a:pt x="432" y="1392"/>
                  </a:lnTo>
                  <a:lnTo>
                    <a:pt x="432" y="1398"/>
                  </a:lnTo>
                  <a:lnTo>
                    <a:pt x="426" y="1398"/>
                  </a:lnTo>
                  <a:lnTo>
                    <a:pt x="420" y="1398"/>
                  </a:lnTo>
                  <a:lnTo>
                    <a:pt x="414" y="1398"/>
                  </a:lnTo>
                  <a:lnTo>
                    <a:pt x="420" y="1398"/>
                  </a:lnTo>
                  <a:lnTo>
                    <a:pt x="414" y="1404"/>
                  </a:lnTo>
                  <a:lnTo>
                    <a:pt x="420" y="1404"/>
                  </a:lnTo>
                  <a:lnTo>
                    <a:pt x="414" y="1404"/>
                  </a:lnTo>
                  <a:lnTo>
                    <a:pt x="408" y="1404"/>
                  </a:lnTo>
                  <a:lnTo>
                    <a:pt x="402" y="1410"/>
                  </a:lnTo>
                  <a:lnTo>
                    <a:pt x="402" y="1404"/>
                  </a:lnTo>
                  <a:lnTo>
                    <a:pt x="396" y="1404"/>
                  </a:lnTo>
                  <a:lnTo>
                    <a:pt x="390" y="1404"/>
                  </a:lnTo>
                  <a:lnTo>
                    <a:pt x="384" y="1404"/>
                  </a:lnTo>
                  <a:lnTo>
                    <a:pt x="384" y="1398"/>
                  </a:lnTo>
                  <a:lnTo>
                    <a:pt x="384" y="1392"/>
                  </a:lnTo>
                  <a:lnTo>
                    <a:pt x="390" y="1392"/>
                  </a:lnTo>
                  <a:lnTo>
                    <a:pt x="390" y="1386"/>
                  </a:lnTo>
                  <a:lnTo>
                    <a:pt x="390" y="1380"/>
                  </a:lnTo>
                  <a:lnTo>
                    <a:pt x="396" y="1380"/>
                  </a:lnTo>
                  <a:lnTo>
                    <a:pt x="402" y="1380"/>
                  </a:lnTo>
                  <a:lnTo>
                    <a:pt x="408" y="1380"/>
                  </a:lnTo>
                  <a:lnTo>
                    <a:pt x="408" y="1374"/>
                  </a:lnTo>
                  <a:lnTo>
                    <a:pt x="414" y="1374"/>
                  </a:lnTo>
                  <a:lnTo>
                    <a:pt x="414" y="1368"/>
                  </a:lnTo>
                  <a:lnTo>
                    <a:pt x="414" y="1362"/>
                  </a:lnTo>
                  <a:lnTo>
                    <a:pt x="414" y="1368"/>
                  </a:lnTo>
                  <a:lnTo>
                    <a:pt x="414" y="1374"/>
                  </a:lnTo>
                  <a:lnTo>
                    <a:pt x="408" y="1374"/>
                  </a:lnTo>
                  <a:lnTo>
                    <a:pt x="402" y="1380"/>
                  </a:lnTo>
                  <a:lnTo>
                    <a:pt x="396" y="1380"/>
                  </a:lnTo>
                  <a:lnTo>
                    <a:pt x="396" y="1374"/>
                  </a:lnTo>
                  <a:lnTo>
                    <a:pt x="390" y="1374"/>
                  </a:lnTo>
                  <a:lnTo>
                    <a:pt x="390" y="1368"/>
                  </a:lnTo>
                  <a:lnTo>
                    <a:pt x="384" y="1368"/>
                  </a:lnTo>
                  <a:lnTo>
                    <a:pt x="384" y="1374"/>
                  </a:lnTo>
                  <a:lnTo>
                    <a:pt x="378" y="1374"/>
                  </a:lnTo>
                  <a:lnTo>
                    <a:pt x="378" y="1380"/>
                  </a:lnTo>
                  <a:lnTo>
                    <a:pt x="372" y="1380"/>
                  </a:lnTo>
                  <a:lnTo>
                    <a:pt x="366" y="1386"/>
                  </a:lnTo>
                  <a:lnTo>
                    <a:pt x="360" y="1386"/>
                  </a:lnTo>
                  <a:lnTo>
                    <a:pt x="354" y="1386"/>
                  </a:lnTo>
                  <a:lnTo>
                    <a:pt x="354" y="1380"/>
                  </a:lnTo>
                  <a:lnTo>
                    <a:pt x="348" y="1380"/>
                  </a:lnTo>
                  <a:lnTo>
                    <a:pt x="342" y="1380"/>
                  </a:lnTo>
                  <a:lnTo>
                    <a:pt x="342" y="1374"/>
                  </a:lnTo>
                  <a:lnTo>
                    <a:pt x="336" y="1368"/>
                  </a:lnTo>
                  <a:lnTo>
                    <a:pt x="342" y="1368"/>
                  </a:lnTo>
                  <a:lnTo>
                    <a:pt x="342" y="1362"/>
                  </a:lnTo>
                  <a:lnTo>
                    <a:pt x="348" y="1362"/>
                  </a:lnTo>
                  <a:lnTo>
                    <a:pt x="354" y="1362"/>
                  </a:lnTo>
                  <a:lnTo>
                    <a:pt x="354" y="1356"/>
                  </a:lnTo>
                  <a:lnTo>
                    <a:pt x="348" y="1356"/>
                  </a:lnTo>
                  <a:lnTo>
                    <a:pt x="348" y="1350"/>
                  </a:lnTo>
                  <a:lnTo>
                    <a:pt x="348" y="1344"/>
                  </a:lnTo>
                  <a:lnTo>
                    <a:pt x="354" y="1338"/>
                  </a:lnTo>
                  <a:lnTo>
                    <a:pt x="354" y="1332"/>
                  </a:lnTo>
                  <a:lnTo>
                    <a:pt x="354" y="1326"/>
                  </a:lnTo>
                  <a:lnTo>
                    <a:pt x="354" y="1320"/>
                  </a:lnTo>
                  <a:lnTo>
                    <a:pt x="354" y="1314"/>
                  </a:lnTo>
                  <a:lnTo>
                    <a:pt x="354" y="1308"/>
                  </a:lnTo>
                  <a:lnTo>
                    <a:pt x="348" y="1308"/>
                  </a:lnTo>
                  <a:lnTo>
                    <a:pt x="348" y="1302"/>
                  </a:lnTo>
                  <a:lnTo>
                    <a:pt x="342" y="1296"/>
                  </a:lnTo>
                  <a:lnTo>
                    <a:pt x="336" y="1296"/>
                  </a:lnTo>
                  <a:lnTo>
                    <a:pt x="336" y="1290"/>
                  </a:lnTo>
                  <a:lnTo>
                    <a:pt x="330" y="1290"/>
                  </a:lnTo>
                  <a:lnTo>
                    <a:pt x="324" y="1290"/>
                  </a:lnTo>
                  <a:lnTo>
                    <a:pt x="324" y="1284"/>
                  </a:lnTo>
                  <a:lnTo>
                    <a:pt x="318" y="1284"/>
                  </a:lnTo>
                  <a:lnTo>
                    <a:pt x="318" y="1278"/>
                  </a:lnTo>
                  <a:lnTo>
                    <a:pt x="312" y="1278"/>
                  </a:lnTo>
                  <a:lnTo>
                    <a:pt x="312" y="1272"/>
                  </a:lnTo>
                  <a:lnTo>
                    <a:pt x="312" y="1278"/>
                  </a:lnTo>
                  <a:lnTo>
                    <a:pt x="318" y="1284"/>
                  </a:lnTo>
                  <a:lnTo>
                    <a:pt x="324" y="1290"/>
                  </a:lnTo>
                  <a:lnTo>
                    <a:pt x="330" y="1290"/>
                  </a:lnTo>
                  <a:lnTo>
                    <a:pt x="330" y="1296"/>
                  </a:lnTo>
                  <a:lnTo>
                    <a:pt x="336" y="1296"/>
                  </a:lnTo>
                  <a:lnTo>
                    <a:pt x="336" y="1302"/>
                  </a:lnTo>
                  <a:lnTo>
                    <a:pt x="342" y="1302"/>
                  </a:lnTo>
                  <a:lnTo>
                    <a:pt x="348" y="1302"/>
                  </a:lnTo>
                  <a:lnTo>
                    <a:pt x="348" y="1308"/>
                  </a:lnTo>
                  <a:lnTo>
                    <a:pt x="348" y="1314"/>
                  </a:lnTo>
                  <a:lnTo>
                    <a:pt x="354" y="1314"/>
                  </a:lnTo>
                  <a:lnTo>
                    <a:pt x="354" y="1320"/>
                  </a:lnTo>
                  <a:lnTo>
                    <a:pt x="354" y="1326"/>
                  </a:lnTo>
                  <a:lnTo>
                    <a:pt x="348" y="1326"/>
                  </a:lnTo>
                  <a:lnTo>
                    <a:pt x="348" y="1332"/>
                  </a:lnTo>
                  <a:lnTo>
                    <a:pt x="348" y="1338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2" y="1350"/>
                  </a:lnTo>
                  <a:lnTo>
                    <a:pt x="336" y="1350"/>
                  </a:lnTo>
                  <a:lnTo>
                    <a:pt x="330" y="1350"/>
                  </a:lnTo>
                  <a:lnTo>
                    <a:pt x="330" y="1356"/>
                  </a:lnTo>
                  <a:lnTo>
                    <a:pt x="330" y="1350"/>
                  </a:lnTo>
                  <a:lnTo>
                    <a:pt x="324" y="1350"/>
                  </a:lnTo>
                  <a:lnTo>
                    <a:pt x="318" y="1344"/>
                  </a:lnTo>
                  <a:lnTo>
                    <a:pt x="318" y="1350"/>
                  </a:lnTo>
                  <a:lnTo>
                    <a:pt x="312" y="1344"/>
                  </a:lnTo>
                  <a:lnTo>
                    <a:pt x="312" y="1338"/>
                  </a:lnTo>
                  <a:lnTo>
                    <a:pt x="306" y="1338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6" y="1326"/>
                  </a:lnTo>
                  <a:lnTo>
                    <a:pt x="306" y="1320"/>
                  </a:lnTo>
                  <a:lnTo>
                    <a:pt x="306" y="1326"/>
                  </a:lnTo>
                  <a:lnTo>
                    <a:pt x="312" y="1326"/>
                  </a:lnTo>
                  <a:lnTo>
                    <a:pt x="312" y="1320"/>
                  </a:lnTo>
                  <a:lnTo>
                    <a:pt x="306" y="1320"/>
                  </a:lnTo>
                  <a:lnTo>
                    <a:pt x="300" y="1320"/>
                  </a:lnTo>
                  <a:lnTo>
                    <a:pt x="294" y="1320"/>
                  </a:lnTo>
                  <a:lnTo>
                    <a:pt x="294" y="1314"/>
                  </a:lnTo>
                  <a:lnTo>
                    <a:pt x="288" y="1314"/>
                  </a:lnTo>
                  <a:lnTo>
                    <a:pt x="288" y="1308"/>
                  </a:lnTo>
                  <a:lnTo>
                    <a:pt x="288" y="1302"/>
                  </a:lnTo>
                  <a:lnTo>
                    <a:pt x="294" y="1302"/>
                  </a:lnTo>
                  <a:lnTo>
                    <a:pt x="294" y="1296"/>
                  </a:lnTo>
                  <a:lnTo>
                    <a:pt x="288" y="1296"/>
                  </a:lnTo>
                  <a:lnTo>
                    <a:pt x="288" y="1290"/>
                  </a:lnTo>
                  <a:lnTo>
                    <a:pt x="288" y="1296"/>
                  </a:lnTo>
                  <a:lnTo>
                    <a:pt x="294" y="1302"/>
                  </a:lnTo>
                  <a:lnTo>
                    <a:pt x="288" y="1302"/>
                  </a:lnTo>
                  <a:lnTo>
                    <a:pt x="282" y="1296"/>
                  </a:lnTo>
                  <a:lnTo>
                    <a:pt x="276" y="1296"/>
                  </a:lnTo>
                  <a:lnTo>
                    <a:pt x="276" y="1290"/>
                  </a:lnTo>
                  <a:lnTo>
                    <a:pt x="270" y="1290"/>
                  </a:lnTo>
                  <a:lnTo>
                    <a:pt x="264" y="1284"/>
                  </a:lnTo>
                  <a:lnTo>
                    <a:pt x="264" y="1278"/>
                  </a:lnTo>
                  <a:lnTo>
                    <a:pt x="264" y="1272"/>
                  </a:lnTo>
                  <a:lnTo>
                    <a:pt x="264" y="1266"/>
                  </a:lnTo>
                  <a:lnTo>
                    <a:pt x="258" y="1266"/>
                  </a:lnTo>
                  <a:lnTo>
                    <a:pt x="252" y="1266"/>
                  </a:lnTo>
                  <a:lnTo>
                    <a:pt x="246" y="1260"/>
                  </a:lnTo>
                  <a:lnTo>
                    <a:pt x="240" y="1254"/>
                  </a:lnTo>
                  <a:lnTo>
                    <a:pt x="240" y="1260"/>
                  </a:lnTo>
                  <a:lnTo>
                    <a:pt x="240" y="1266"/>
                  </a:lnTo>
                  <a:lnTo>
                    <a:pt x="240" y="1272"/>
                  </a:lnTo>
                  <a:lnTo>
                    <a:pt x="246" y="1272"/>
                  </a:lnTo>
                  <a:lnTo>
                    <a:pt x="246" y="1278"/>
                  </a:lnTo>
                  <a:lnTo>
                    <a:pt x="246" y="1284"/>
                  </a:lnTo>
                  <a:lnTo>
                    <a:pt x="252" y="1284"/>
                  </a:lnTo>
                  <a:lnTo>
                    <a:pt x="252" y="1290"/>
                  </a:lnTo>
                  <a:lnTo>
                    <a:pt x="258" y="1296"/>
                  </a:lnTo>
                  <a:lnTo>
                    <a:pt x="264" y="1302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58" y="1314"/>
                  </a:lnTo>
                  <a:lnTo>
                    <a:pt x="258" y="1308"/>
                  </a:lnTo>
                  <a:lnTo>
                    <a:pt x="252" y="1308"/>
                  </a:lnTo>
                  <a:lnTo>
                    <a:pt x="252" y="1302"/>
                  </a:lnTo>
                  <a:lnTo>
                    <a:pt x="246" y="1302"/>
                  </a:lnTo>
                  <a:lnTo>
                    <a:pt x="246" y="1296"/>
                  </a:lnTo>
                  <a:lnTo>
                    <a:pt x="240" y="1296"/>
                  </a:lnTo>
                  <a:lnTo>
                    <a:pt x="240" y="1290"/>
                  </a:lnTo>
                  <a:lnTo>
                    <a:pt x="234" y="1284"/>
                  </a:lnTo>
                  <a:lnTo>
                    <a:pt x="234" y="1278"/>
                  </a:lnTo>
                  <a:close/>
                  <a:moveTo>
                    <a:pt x="444" y="1332"/>
                  </a:moveTo>
                  <a:lnTo>
                    <a:pt x="450" y="1326"/>
                  </a:lnTo>
                  <a:lnTo>
                    <a:pt x="456" y="1326"/>
                  </a:lnTo>
                  <a:lnTo>
                    <a:pt x="456" y="1332"/>
                  </a:lnTo>
                  <a:lnTo>
                    <a:pt x="456" y="1338"/>
                  </a:lnTo>
                  <a:lnTo>
                    <a:pt x="450" y="1338"/>
                  </a:lnTo>
                  <a:lnTo>
                    <a:pt x="444" y="1338"/>
                  </a:lnTo>
                  <a:lnTo>
                    <a:pt x="444" y="1332"/>
                  </a:lnTo>
                  <a:close/>
                  <a:moveTo>
                    <a:pt x="444" y="1368"/>
                  </a:moveTo>
                  <a:lnTo>
                    <a:pt x="456" y="1368"/>
                  </a:lnTo>
                  <a:lnTo>
                    <a:pt x="456" y="1374"/>
                  </a:lnTo>
                  <a:lnTo>
                    <a:pt x="444" y="1374"/>
                  </a:lnTo>
                  <a:lnTo>
                    <a:pt x="444" y="1368"/>
                  </a:lnTo>
                  <a:close/>
                  <a:moveTo>
                    <a:pt x="444" y="1386"/>
                  </a:moveTo>
                  <a:lnTo>
                    <a:pt x="444" y="1380"/>
                  </a:lnTo>
                  <a:lnTo>
                    <a:pt x="444" y="1374"/>
                  </a:lnTo>
                  <a:lnTo>
                    <a:pt x="444" y="1380"/>
                  </a:lnTo>
                  <a:lnTo>
                    <a:pt x="450" y="1380"/>
                  </a:lnTo>
                  <a:lnTo>
                    <a:pt x="456" y="1380"/>
                  </a:lnTo>
                  <a:lnTo>
                    <a:pt x="456" y="1386"/>
                  </a:lnTo>
                  <a:lnTo>
                    <a:pt x="456" y="1392"/>
                  </a:lnTo>
                  <a:lnTo>
                    <a:pt x="462" y="1392"/>
                  </a:lnTo>
                  <a:lnTo>
                    <a:pt x="462" y="1398"/>
                  </a:lnTo>
                  <a:lnTo>
                    <a:pt x="462" y="1404"/>
                  </a:lnTo>
                  <a:lnTo>
                    <a:pt x="456" y="1404"/>
                  </a:lnTo>
                  <a:lnTo>
                    <a:pt x="450" y="1404"/>
                  </a:lnTo>
                  <a:lnTo>
                    <a:pt x="450" y="1398"/>
                  </a:lnTo>
                  <a:lnTo>
                    <a:pt x="444" y="1398"/>
                  </a:lnTo>
                  <a:lnTo>
                    <a:pt x="444" y="1392"/>
                  </a:lnTo>
                  <a:lnTo>
                    <a:pt x="444" y="1386"/>
                  </a:lnTo>
                  <a:close/>
                  <a:moveTo>
                    <a:pt x="438" y="1362"/>
                  </a:moveTo>
                  <a:lnTo>
                    <a:pt x="444" y="1356"/>
                  </a:lnTo>
                  <a:lnTo>
                    <a:pt x="450" y="1356"/>
                  </a:lnTo>
                  <a:lnTo>
                    <a:pt x="450" y="1362"/>
                  </a:lnTo>
                  <a:lnTo>
                    <a:pt x="450" y="1368"/>
                  </a:lnTo>
                  <a:lnTo>
                    <a:pt x="444" y="1368"/>
                  </a:lnTo>
                  <a:lnTo>
                    <a:pt x="444" y="1362"/>
                  </a:lnTo>
                  <a:lnTo>
                    <a:pt x="438" y="1362"/>
                  </a:lnTo>
                  <a:close/>
                  <a:moveTo>
                    <a:pt x="438" y="1350"/>
                  </a:moveTo>
                  <a:lnTo>
                    <a:pt x="438" y="1344"/>
                  </a:lnTo>
                  <a:lnTo>
                    <a:pt x="438" y="1338"/>
                  </a:lnTo>
                  <a:lnTo>
                    <a:pt x="444" y="1338"/>
                  </a:lnTo>
                  <a:lnTo>
                    <a:pt x="450" y="1338"/>
                  </a:lnTo>
                  <a:lnTo>
                    <a:pt x="456" y="1338"/>
                  </a:lnTo>
                  <a:lnTo>
                    <a:pt x="450" y="1344"/>
                  </a:lnTo>
                  <a:lnTo>
                    <a:pt x="444" y="1350"/>
                  </a:lnTo>
                  <a:lnTo>
                    <a:pt x="438" y="1350"/>
                  </a:lnTo>
                  <a:close/>
                  <a:moveTo>
                    <a:pt x="432" y="1380"/>
                  </a:moveTo>
                  <a:lnTo>
                    <a:pt x="432" y="1368"/>
                  </a:lnTo>
                  <a:lnTo>
                    <a:pt x="432" y="1362"/>
                  </a:lnTo>
                  <a:lnTo>
                    <a:pt x="432" y="1356"/>
                  </a:lnTo>
                  <a:lnTo>
                    <a:pt x="438" y="1356"/>
                  </a:lnTo>
                  <a:lnTo>
                    <a:pt x="438" y="1362"/>
                  </a:lnTo>
                  <a:lnTo>
                    <a:pt x="438" y="1368"/>
                  </a:lnTo>
                  <a:lnTo>
                    <a:pt x="438" y="1374"/>
                  </a:lnTo>
                  <a:lnTo>
                    <a:pt x="438" y="1380"/>
                  </a:lnTo>
                  <a:lnTo>
                    <a:pt x="438" y="1386"/>
                  </a:lnTo>
                  <a:lnTo>
                    <a:pt x="438" y="1380"/>
                  </a:lnTo>
                  <a:lnTo>
                    <a:pt x="432" y="1380"/>
                  </a:lnTo>
                  <a:close/>
                  <a:moveTo>
                    <a:pt x="246" y="1272"/>
                  </a:moveTo>
                  <a:lnTo>
                    <a:pt x="252" y="1272"/>
                  </a:lnTo>
                  <a:lnTo>
                    <a:pt x="252" y="1278"/>
                  </a:lnTo>
                  <a:lnTo>
                    <a:pt x="246" y="1278"/>
                  </a:lnTo>
                  <a:lnTo>
                    <a:pt x="246" y="1272"/>
                  </a:lnTo>
                  <a:close/>
                  <a:moveTo>
                    <a:pt x="426" y="1416"/>
                  </a:moveTo>
                  <a:lnTo>
                    <a:pt x="432" y="1410"/>
                  </a:lnTo>
                  <a:lnTo>
                    <a:pt x="438" y="1410"/>
                  </a:lnTo>
                  <a:lnTo>
                    <a:pt x="438" y="1416"/>
                  </a:lnTo>
                  <a:lnTo>
                    <a:pt x="438" y="1422"/>
                  </a:lnTo>
                  <a:lnTo>
                    <a:pt x="432" y="1422"/>
                  </a:lnTo>
                  <a:lnTo>
                    <a:pt x="426" y="1422"/>
                  </a:lnTo>
                  <a:lnTo>
                    <a:pt x="426" y="1416"/>
                  </a:lnTo>
                  <a:close/>
                  <a:moveTo>
                    <a:pt x="246" y="1266"/>
                  </a:moveTo>
                  <a:lnTo>
                    <a:pt x="252" y="1266"/>
                  </a:lnTo>
                  <a:lnTo>
                    <a:pt x="258" y="1272"/>
                  </a:lnTo>
                  <a:lnTo>
                    <a:pt x="258" y="1278"/>
                  </a:lnTo>
                  <a:lnTo>
                    <a:pt x="258" y="1284"/>
                  </a:lnTo>
                  <a:lnTo>
                    <a:pt x="252" y="1284"/>
                  </a:lnTo>
                  <a:lnTo>
                    <a:pt x="252" y="1278"/>
                  </a:lnTo>
                  <a:lnTo>
                    <a:pt x="252" y="1272"/>
                  </a:lnTo>
                  <a:lnTo>
                    <a:pt x="252" y="1266"/>
                  </a:lnTo>
                  <a:lnTo>
                    <a:pt x="246" y="1266"/>
                  </a:lnTo>
                  <a:close/>
                  <a:moveTo>
                    <a:pt x="408" y="1458"/>
                  </a:moveTo>
                  <a:lnTo>
                    <a:pt x="408" y="1452"/>
                  </a:lnTo>
                  <a:lnTo>
                    <a:pt x="414" y="1452"/>
                  </a:lnTo>
                  <a:lnTo>
                    <a:pt x="414" y="1446"/>
                  </a:lnTo>
                  <a:lnTo>
                    <a:pt x="414" y="1440"/>
                  </a:lnTo>
                  <a:lnTo>
                    <a:pt x="420" y="1440"/>
                  </a:lnTo>
                  <a:lnTo>
                    <a:pt x="420" y="1434"/>
                  </a:lnTo>
                  <a:lnTo>
                    <a:pt x="420" y="1428"/>
                  </a:lnTo>
                  <a:lnTo>
                    <a:pt x="420" y="1422"/>
                  </a:lnTo>
                  <a:lnTo>
                    <a:pt x="426" y="1422"/>
                  </a:lnTo>
                  <a:lnTo>
                    <a:pt x="432" y="1428"/>
                  </a:lnTo>
                  <a:lnTo>
                    <a:pt x="438" y="1428"/>
                  </a:lnTo>
                  <a:lnTo>
                    <a:pt x="438" y="1434"/>
                  </a:lnTo>
                  <a:lnTo>
                    <a:pt x="438" y="1428"/>
                  </a:lnTo>
                  <a:lnTo>
                    <a:pt x="438" y="1422"/>
                  </a:lnTo>
                  <a:lnTo>
                    <a:pt x="444" y="1416"/>
                  </a:lnTo>
                  <a:lnTo>
                    <a:pt x="444" y="1410"/>
                  </a:lnTo>
                  <a:lnTo>
                    <a:pt x="450" y="1416"/>
                  </a:lnTo>
                  <a:lnTo>
                    <a:pt x="456" y="1416"/>
                  </a:lnTo>
                  <a:lnTo>
                    <a:pt x="456" y="1422"/>
                  </a:lnTo>
                  <a:lnTo>
                    <a:pt x="456" y="1428"/>
                  </a:lnTo>
                  <a:lnTo>
                    <a:pt x="456" y="1434"/>
                  </a:lnTo>
                  <a:lnTo>
                    <a:pt x="456" y="1440"/>
                  </a:lnTo>
                  <a:lnTo>
                    <a:pt x="462" y="1440"/>
                  </a:lnTo>
                  <a:lnTo>
                    <a:pt x="462" y="1446"/>
                  </a:lnTo>
                  <a:lnTo>
                    <a:pt x="462" y="1452"/>
                  </a:lnTo>
                  <a:lnTo>
                    <a:pt x="456" y="1452"/>
                  </a:lnTo>
                  <a:lnTo>
                    <a:pt x="450" y="1452"/>
                  </a:lnTo>
                  <a:lnTo>
                    <a:pt x="444" y="1446"/>
                  </a:lnTo>
                  <a:lnTo>
                    <a:pt x="444" y="1452"/>
                  </a:lnTo>
                  <a:lnTo>
                    <a:pt x="450" y="1452"/>
                  </a:lnTo>
                  <a:lnTo>
                    <a:pt x="450" y="1458"/>
                  </a:lnTo>
                  <a:lnTo>
                    <a:pt x="444" y="1458"/>
                  </a:lnTo>
                  <a:lnTo>
                    <a:pt x="438" y="1464"/>
                  </a:lnTo>
                  <a:lnTo>
                    <a:pt x="438" y="1458"/>
                  </a:lnTo>
                  <a:lnTo>
                    <a:pt x="432" y="1458"/>
                  </a:lnTo>
                  <a:lnTo>
                    <a:pt x="426" y="1458"/>
                  </a:lnTo>
                  <a:lnTo>
                    <a:pt x="432" y="1458"/>
                  </a:lnTo>
                  <a:lnTo>
                    <a:pt x="438" y="1464"/>
                  </a:lnTo>
                  <a:lnTo>
                    <a:pt x="432" y="1464"/>
                  </a:lnTo>
                  <a:lnTo>
                    <a:pt x="432" y="1470"/>
                  </a:lnTo>
                  <a:lnTo>
                    <a:pt x="426" y="1470"/>
                  </a:lnTo>
                  <a:lnTo>
                    <a:pt x="420" y="1476"/>
                  </a:lnTo>
                  <a:lnTo>
                    <a:pt x="420" y="1470"/>
                  </a:lnTo>
                  <a:lnTo>
                    <a:pt x="414" y="1470"/>
                  </a:lnTo>
                  <a:lnTo>
                    <a:pt x="414" y="1464"/>
                  </a:lnTo>
                  <a:lnTo>
                    <a:pt x="414" y="1458"/>
                  </a:lnTo>
                  <a:lnTo>
                    <a:pt x="408" y="1458"/>
                  </a:lnTo>
                  <a:close/>
                  <a:moveTo>
                    <a:pt x="270" y="1326"/>
                  </a:moveTo>
                  <a:lnTo>
                    <a:pt x="270" y="1320"/>
                  </a:lnTo>
                  <a:lnTo>
                    <a:pt x="276" y="1320"/>
                  </a:lnTo>
                  <a:lnTo>
                    <a:pt x="282" y="1326"/>
                  </a:lnTo>
                  <a:lnTo>
                    <a:pt x="288" y="1326"/>
                  </a:lnTo>
                  <a:lnTo>
                    <a:pt x="288" y="1332"/>
                  </a:lnTo>
                  <a:lnTo>
                    <a:pt x="288" y="1338"/>
                  </a:lnTo>
                  <a:lnTo>
                    <a:pt x="288" y="1344"/>
                  </a:lnTo>
                  <a:lnTo>
                    <a:pt x="282" y="1344"/>
                  </a:lnTo>
                  <a:lnTo>
                    <a:pt x="282" y="1338"/>
                  </a:lnTo>
                  <a:lnTo>
                    <a:pt x="276" y="1338"/>
                  </a:lnTo>
                  <a:lnTo>
                    <a:pt x="276" y="1332"/>
                  </a:lnTo>
                  <a:lnTo>
                    <a:pt x="270" y="1332"/>
                  </a:lnTo>
                  <a:lnTo>
                    <a:pt x="270" y="1326"/>
                  </a:lnTo>
                  <a:close/>
                  <a:moveTo>
                    <a:pt x="288" y="1458"/>
                  </a:moveTo>
                  <a:lnTo>
                    <a:pt x="294" y="1458"/>
                  </a:lnTo>
                  <a:lnTo>
                    <a:pt x="294" y="1452"/>
                  </a:lnTo>
                  <a:lnTo>
                    <a:pt x="294" y="1446"/>
                  </a:lnTo>
                  <a:lnTo>
                    <a:pt x="300" y="1446"/>
                  </a:lnTo>
                  <a:lnTo>
                    <a:pt x="300" y="1440"/>
                  </a:lnTo>
                  <a:lnTo>
                    <a:pt x="306" y="1440"/>
                  </a:lnTo>
                  <a:lnTo>
                    <a:pt x="306" y="1446"/>
                  </a:lnTo>
                  <a:lnTo>
                    <a:pt x="312" y="1452"/>
                  </a:lnTo>
                  <a:lnTo>
                    <a:pt x="306" y="1452"/>
                  </a:lnTo>
                  <a:lnTo>
                    <a:pt x="306" y="1458"/>
                  </a:lnTo>
                  <a:lnTo>
                    <a:pt x="312" y="1464"/>
                  </a:lnTo>
                  <a:lnTo>
                    <a:pt x="306" y="1464"/>
                  </a:lnTo>
                  <a:lnTo>
                    <a:pt x="306" y="1470"/>
                  </a:lnTo>
                  <a:lnTo>
                    <a:pt x="300" y="1476"/>
                  </a:lnTo>
                  <a:lnTo>
                    <a:pt x="294" y="1476"/>
                  </a:lnTo>
                  <a:lnTo>
                    <a:pt x="294" y="1470"/>
                  </a:lnTo>
                  <a:lnTo>
                    <a:pt x="288" y="1470"/>
                  </a:lnTo>
                  <a:lnTo>
                    <a:pt x="288" y="1464"/>
                  </a:lnTo>
                  <a:lnTo>
                    <a:pt x="288" y="1458"/>
                  </a:lnTo>
                  <a:close/>
                  <a:moveTo>
                    <a:pt x="270" y="1296"/>
                  </a:moveTo>
                  <a:lnTo>
                    <a:pt x="276" y="1296"/>
                  </a:lnTo>
                  <a:lnTo>
                    <a:pt x="282" y="1296"/>
                  </a:lnTo>
                  <a:lnTo>
                    <a:pt x="288" y="1296"/>
                  </a:lnTo>
                  <a:lnTo>
                    <a:pt x="288" y="1302"/>
                  </a:lnTo>
                  <a:lnTo>
                    <a:pt x="282" y="1308"/>
                  </a:lnTo>
                  <a:lnTo>
                    <a:pt x="276" y="1308"/>
                  </a:lnTo>
                  <a:lnTo>
                    <a:pt x="276" y="1302"/>
                  </a:lnTo>
                  <a:lnTo>
                    <a:pt x="270" y="12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4" name="Freeform 19">
              <a:extLst>
                <a:ext uri="{FF2B5EF4-FFF2-40B4-BE49-F238E27FC236}">
                  <a16:creationId xmlns:a16="http://schemas.microsoft.com/office/drawing/2014/main" id="{5B9020B8-E1C1-4611-A248-9642BBD69C9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7043" y="3765821"/>
              <a:ext cx="333193" cy="398097"/>
            </a:xfrm>
            <a:custGeom>
              <a:avLst/>
              <a:gdLst>
                <a:gd name="T0" fmla="*/ 30 w 624"/>
                <a:gd name="T1" fmla="*/ 61 h 750"/>
                <a:gd name="T2" fmla="*/ 27 w 624"/>
                <a:gd name="T3" fmla="*/ 62 h 750"/>
                <a:gd name="T4" fmla="*/ 23 w 624"/>
                <a:gd name="T5" fmla="*/ 59 h 750"/>
                <a:gd name="T6" fmla="*/ 20 w 624"/>
                <a:gd name="T7" fmla="*/ 58 h 750"/>
                <a:gd name="T8" fmla="*/ 19 w 624"/>
                <a:gd name="T9" fmla="*/ 56 h 750"/>
                <a:gd name="T10" fmla="*/ 17 w 624"/>
                <a:gd name="T11" fmla="*/ 55 h 750"/>
                <a:gd name="T12" fmla="*/ 16 w 624"/>
                <a:gd name="T13" fmla="*/ 51 h 750"/>
                <a:gd name="T14" fmla="*/ 14 w 624"/>
                <a:gd name="T15" fmla="*/ 48 h 750"/>
                <a:gd name="T16" fmla="*/ 12 w 624"/>
                <a:gd name="T17" fmla="*/ 46 h 750"/>
                <a:gd name="T18" fmla="*/ 12 w 624"/>
                <a:gd name="T19" fmla="*/ 44 h 750"/>
                <a:gd name="T20" fmla="*/ 11 w 624"/>
                <a:gd name="T21" fmla="*/ 41 h 750"/>
                <a:gd name="T22" fmla="*/ 8 w 624"/>
                <a:gd name="T23" fmla="*/ 38 h 750"/>
                <a:gd name="T24" fmla="*/ 6 w 624"/>
                <a:gd name="T25" fmla="*/ 38 h 750"/>
                <a:gd name="T26" fmla="*/ 6 w 624"/>
                <a:gd name="T27" fmla="*/ 35 h 750"/>
                <a:gd name="T28" fmla="*/ 7 w 624"/>
                <a:gd name="T29" fmla="*/ 31 h 750"/>
                <a:gd name="T30" fmla="*/ 10 w 624"/>
                <a:gd name="T31" fmla="*/ 27 h 750"/>
                <a:gd name="T32" fmla="*/ 8 w 624"/>
                <a:gd name="T33" fmla="*/ 23 h 750"/>
                <a:gd name="T34" fmla="*/ 6 w 624"/>
                <a:gd name="T35" fmla="*/ 23 h 750"/>
                <a:gd name="T36" fmla="*/ 3 w 624"/>
                <a:gd name="T37" fmla="*/ 22 h 750"/>
                <a:gd name="T38" fmla="*/ 0 w 624"/>
                <a:gd name="T39" fmla="*/ 22 h 750"/>
                <a:gd name="T40" fmla="*/ 0 w 624"/>
                <a:gd name="T41" fmla="*/ 19 h 750"/>
                <a:gd name="T42" fmla="*/ 1 w 624"/>
                <a:gd name="T43" fmla="*/ 18 h 750"/>
                <a:gd name="T44" fmla="*/ 2 w 624"/>
                <a:gd name="T45" fmla="*/ 14 h 750"/>
                <a:gd name="T46" fmla="*/ 4 w 624"/>
                <a:gd name="T47" fmla="*/ 17 h 750"/>
                <a:gd name="T48" fmla="*/ 6 w 624"/>
                <a:gd name="T49" fmla="*/ 17 h 750"/>
                <a:gd name="T50" fmla="*/ 7 w 624"/>
                <a:gd name="T51" fmla="*/ 17 h 750"/>
                <a:gd name="T52" fmla="*/ 9 w 624"/>
                <a:gd name="T53" fmla="*/ 15 h 750"/>
                <a:gd name="T54" fmla="*/ 10 w 624"/>
                <a:gd name="T55" fmla="*/ 14 h 750"/>
                <a:gd name="T56" fmla="*/ 11 w 624"/>
                <a:gd name="T57" fmla="*/ 12 h 750"/>
                <a:gd name="T58" fmla="*/ 13 w 624"/>
                <a:gd name="T59" fmla="*/ 12 h 750"/>
                <a:gd name="T60" fmla="*/ 18 w 624"/>
                <a:gd name="T61" fmla="*/ 10 h 750"/>
                <a:gd name="T62" fmla="*/ 22 w 624"/>
                <a:gd name="T63" fmla="*/ 4 h 750"/>
                <a:gd name="T64" fmla="*/ 24 w 624"/>
                <a:gd name="T65" fmla="*/ 4 h 750"/>
                <a:gd name="T66" fmla="*/ 26 w 624"/>
                <a:gd name="T67" fmla="*/ 2 h 750"/>
                <a:gd name="T68" fmla="*/ 29 w 624"/>
                <a:gd name="T69" fmla="*/ 0 h 750"/>
                <a:gd name="T70" fmla="*/ 32 w 624"/>
                <a:gd name="T71" fmla="*/ 2 h 750"/>
                <a:gd name="T72" fmla="*/ 34 w 624"/>
                <a:gd name="T73" fmla="*/ 5 h 750"/>
                <a:gd name="T74" fmla="*/ 35 w 624"/>
                <a:gd name="T75" fmla="*/ 8 h 750"/>
                <a:gd name="T76" fmla="*/ 39 w 624"/>
                <a:gd name="T77" fmla="*/ 11 h 750"/>
                <a:gd name="T78" fmla="*/ 42 w 624"/>
                <a:gd name="T79" fmla="*/ 14 h 750"/>
                <a:gd name="T80" fmla="*/ 46 w 624"/>
                <a:gd name="T81" fmla="*/ 12 h 750"/>
                <a:gd name="T82" fmla="*/ 49 w 624"/>
                <a:gd name="T83" fmla="*/ 12 h 750"/>
                <a:gd name="T84" fmla="*/ 51 w 624"/>
                <a:gd name="T85" fmla="*/ 12 h 750"/>
                <a:gd name="T86" fmla="*/ 53 w 624"/>
                <a:gd name="T87" fmla="*/ 12 h 750"/>
                <a:gd name="T88" fmla="*/ 53 w 624"/>
                <a:gd name="T89" fmla="*/ 17 h 750"/>
                <a:gd name="T90" fmla="*/ 51 w 624"/>
                <a:gd name="T91" fmla="*/ 20 h 750"/>
                <a:gd name="T92" fmla="*/ 49 w 624"/>
                <a:gd name="T93" fmla="*/ 26 h 750"/>
                <a:gd name="T94" fmla="*/ 47 w 624"/>
                <a:gd name="T95" fmla="*/ 26 h 750"/>
                <a:gd name="T96" fmla="*/ 44 w 624"/>
                <a:gd name="T97" fmla="*/ 26 h 750"/>
                <a:gd name="T98" fmla="*/ 43 w 624"/>
                <a:gd name="T99" fmla="*/ 27 h 750"/>
                <a:gd name="T100" fmla="*/ 45 w 624"/>
                <a:gd name="T101" fmla="*/ 32 h 750"/>
                <a:gd name="T102" fmla="*/ 44 w 624"/>
                <a:gd name="T103" fmla="*/ 43 h 750"/>
                <a:gd name="T104" fmla="*/ 44 w 624"/>
                <a:gd name="T105" fmla="*/ 47 h 750"/>
                <a:gd name="T106" fmla="*/ 44 w 624"/>
                <a:gd name="T107" fmla="*/ 54 h 750"/>
                <a:gd name="T108" fmla="*/ 41 w 624"/>
                <a:gd name="T109" fmla="*/ 60 h 750"/>
                <a:gd name="T110" fmla="*/ 42 w 624"/>
                <a:gd name="T111" fmla="*/ 62 h 750"/>
                <a:gd name="T112" fmla="*/ 43 w 624"/>
                <a:gd name="T113" fmla="*/ 65 h 750"/>
                <a:gd name="T114" fmla="*/ 39 w 624"/>
                <a:gd name="T115" fmla="*/ 63 h 750"/>
                <a:gd name="T116" fmla="*/ 35 w 624"/>
                <a:gd name="T117" fmla="*/ 62 h 75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24"/>
                <a:gd name="T178" fmla="*/ 0 h 750"/>
                <a:gd name="T179" fmla="*/ 624 w 624"/>
                <a:gd name="T180" fmla="*/ 750 h 75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24" h="750">
                  <a:moveTo>
                    <a:pt x="390" y="702"/>
                  </a:moveTo>
                  <a:lnTo>
                    <a:pt x="372" y="696"/>
                  </a:lnTo>
                  <a:lnTo>
                    <a:pt x="360" y="702"/>
                  </a:lnTo>
                  <a:lnTo>
                    <a:pt x="348" y="702"/>
                  </a:lnTo>
                  <a:lnTo>
                    <a:pt x="336" y="702"/>
                  </a:lnTo>
                  <a:lnTo>
                    <a:pt x="330" y="702"/>
                  </a:lnTo>
                  <a:lnTo>
                    <a:pt x="318" y="708"/>
                  </a:lnTo>
                  <a:lnTo>
                    <a:pt x="306" y="708"/>
                  </a:lnTo>
                  <a:lnTo>
                    <a:pt x="294" y="690"/>
                  </a:lnTo>
                  <a:lnTo>
                    <a:pt x="294" y="684"/>
                  </a:lnTo>
                  <a:lnTo>
                    <a:pt x="276" y="684"/>
                  </a:lnTo>
                  <a:lnTo>
                    <a:pt x="270" y="678"/>
                  </a:lnTo>
                  <a:lnTo>
                    <a:pt x="240" y="672"/>
                  </a:lnTo>
                  <a:lnTo>
                    <a:pt x="234" y="672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6"/>
                  </a:lnTo>
                  <a:lnTo>
                    <a:pt x="216" y="660"/>
                  </a:lnTo>
                  <a:lnTo>
                    <a:pt x="216" y="654"/>
                  </a:lnTo>
                  <a:lnTo>
                    <a:pt x="216" y="642"/>
                  </a:lnTo>
                  <a:lnTo>
                    <a:pt x="210" y="642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36"/>
                  </a:lnTo>
                  <a:lnTo>
                    <a:pt x="192" y="624"/>
                  </a:lnTo>
                  <a:lnTo>
                    <a:pt x="186" y="612"/>
                  </a:lnTo>
                  <a:lnTo>
                    <a:pt x="186" y="600"/>
                  </a:lnTo>
                  <a:lnTo>
                    <a:pt x="186" y="588"/>
                  </a:lnTo>
                  <a:lnTo>
                    <a:pt x="180" y="582"/>
                  </a:lnTo>
                  <a:lnTo>
                    <a:pt x="180" y="570"/>
                  </a:lnTo>
                  <a:lnTo>
                    <a:pt x="174" y="558"/>
                  </a:lnTo>
                  <a:lnTo>
                    <a:pt x="162" y="558"/>
                  </a:lnTo>
                  <a:lnTo>
                    <a:pt x="144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38" y="534"/>
                  </a:lnTo>
                  <a:lnTo>
                    <a:pt x="138" y="528"/>
                  </a:lnTo>
                  <a:lnTo>
                    <a:pt x="132" y="522"/>
                  </a:lnTo>
                  <a:lnTo>
                    <a:pt x="144" y="522"/>
                  </a:lnTo>
                  <a:lnTo>
                    <a:pt x="144" y="510"/>
                  </a:lnTo>
                  <a:lnTo>
                    <a:pt x="144" y="504"/>
                  </a:lnTo>
                  <a:lnTo>
                    <a:pt x="138" y="492"/>
                  </a:lnTo>
                  <a:lnTo>
                    <a:pt x="138" y="474"/>
                  </a:lnTo>
                  <a:lnTo>
                    <a:pt x="126" y="468"/>
                  </a:lnTo>
                  <a:lnTo>
                    <a:pt x="120" y="456"/>
                  </a:lnTo>
                  <a:lnTo>
                    <a:pt x="114" y="450"/>
                  </a:lnTo>
                  <a:lnTo>
                    <a:pt x="108" y="438"/>
                  </a:lnTo>
                  <a:lnTo>
                    <a:pt x="96" y="432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60" y="426"/>
                  </a:lnTo>
                  <a:lnTo>
                    <a:pt x="66" y="420"/>
                  </a:lnTo>
                  <a:lnTo>
                    <a:pt x="66" y="408"/>
                  </a:lnTo>
                  <a:lnTo>
                    <a:pt x="72" y="408"/>
                  </a:lnTo>
                  <a:lnTo>
                    <a:pt x="72" y="384"/>
                  </a:lnTo>
                  <a:lnTo>
                    <a:pt x="72" y="366"/>
                  </a:lnTo>
                  <a:lnTo>
                    <a:pt x="78" y="354"/>
                  </a:lnTo>
                  <a:lnTo>
                    <a:pt x="84" y="354"/>
                  </a:lnTo>
                  <a:lnTo>
                    <a:pt x="90" y="348"/>
                  </a:lnTo>
                  <a:lnTo>
                    <a:pt x="102" y="336"/>
                  </a:lnTo>
                  <a:lnTo>
                    <a:pt x="114" y="324"/>
                  </a:lnTo>
                  <a:lnTo>
                    <a:pt x="120" y="312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20" y="276"/>
                  </a:lnTo>
                  <a:lnTo>
                    <a:pt x="96" y="270"/>
                  </a:lnTo>
                  <a:lnTo>
                    <a:pt x="84" y="270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72" y="264"/>
                  </a:lnTo>
                  <a:lnTo>
                    <a:pt x="60" y="252"/>
                  </a:lnTo>
                  <a:lnTo>
                    <a:pt x="42" y="252"/>
                  </a:lnTo>
                  <a:lnTo>
                    <a:pt x="42" y="258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18" y="252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42" y="156"/>
                  </a:lnTo>
                  <a:lnTo>
                    <a:pt x="48" y="198"/>
                  </a:lnTo>
                  <a:lnTo>
                    <a:pt x="48" y="204"/>
                  </a:lnTo>
                  <a:lnTo>
                    <a:pt x="54" y="198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204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192"/>
                  </a:lnTo>
                  <a:lnTo>
                    <a:pt x="96" y="186"/>
                  </a:lnTo>
                  <a:lnTo>
                    <a:pt x="102" y="180"/>
                  </a:lnTo>
                  <a:lnTo>
                    <a:pt x="102" y="174"/>
                  </a:lnTo>
                  <a:lnTo>
                    <a:pt x="108" y="168"/>
                  </a:lnTo>
                  <a:lnTo>
                    <a:pt x="108" y="162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0"/>
                  </a:lnTo>
                  <a:lnTo>
                    <a:pt x="132" y="144"/>
                  </a:lnTo>
                  <a:lnTo>
                    <a:pt x="138" y="138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0" y="132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74" y="126"/>
                  </a:lnTo>
                  <a:lnTo>
                    <a:pt x="204" y="120"/>
                  </a:lnTo>
                  <a:lnTo>
                    <a:pt x="210" y="78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54"/>
                  </a:lnTo>
                  <a:lnTo>
                    <a:pt x="276" y="54"/>
                  </a:lnTo>
                  <a:lnTo>
                    <a:pt x="276" y="48"/>
                  </a:lnTo>
                  <a:lnTo>
                    <a:pt x="282" y="48"/>
                  </a:lnTo>
                  <a:lnTo>
                    <a:pt x="288" y="42"/>
                  </a:lnTo>
                  <a:lnTo>
                    <a:pt x="294" y="42"/>
                  </a:lnTo>
                  <a:lnTo>
                    <a:pt x="294" y="18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0"/>
                  </a:lnTo>
                  <a:lnTo>
                    <a:pt x="336" y="0"/>
                  </a:lnTo>
                  <a:lnTo>
                    <a:pt x="342" y="0"/>
                  </a:lnTo>
                  <a:lnTo>
                    <a:pt x="354" y="6"/>
                  </a:lnTo>
                  <a:lnTo>
                    <a:pt x="366" y="18"/>
                  </a:lnTo>
                  <a:lnTo>
                    <a:pt x="378" y="36"/>
                  </a:lnTo>
                  <a:lnTo>
                    <a:pt x="390" y="42"/>
                  </a:lnTo>
                  <a:lnTo>
                    <a:pt x="390" y="48"/>
                  </a:lnTo>
                  <a:lnTo>
                    <a:pt x="396" y="60"/>
                  </a:lnTo>
                  <a:lnTo>
                    <a:pt x="402" y="72"/>
                  </a:lnTo>
                  <a:lnTo>
                    <a:pt x="408" y="78"/>
                  </a:lnTo>
                  <a:lnTo>
                    <a:pt x="402" y="84"/>
                  </a:lnTo>
                  <a:lnTo>
                    <a:pt x="408" y="90"/>
                  </a:lnTo>
                  <a:lnTo>
                    <a:pt x="414" y="102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50" y="126"/>
                  </a:lnTo>
                  <a:lnTo>
                    <a:pt x="456" y="126"/>
                  </a:lnTo>
                  <a:lnTo>
                    <a:pt x="462" y="144"/>
                  </a:lnTo>
                  <a:lnTo>
                    <a:pt x="480" y="156"/>
                  </a:lnTo>
                  <a:lnTo>
                    <a:pt x="492" y="156"/>
                  </a:lnTo>
                  <a:lnTo>
                    <a:pt x="516" y="150"/>
                  </a:lnTo>
                  <a:lnTo>
                    <a:pt x="516" y="144"/>
                  </a:lnTo>
                  <a:lnTo>
                    <a:pt x="516" y="138"/>
                  </a:lnTo>
                  <a:lnTo>
                    <a:pt x="528" y="138"/>
                  </a:lnTo>
                  <a:lnTo>
                    <a:pt x="546" y="144"/>
                  </a:lnTo>
                  <a:lnTo>
                    <a:pt x="546" y="138"/>
                  </a:lnTo>
                  <a:lnTo>
                    <a:pt x="552" y="138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76" y="138"/>
                  </a:lnTo>
                  <a:lnTo>
                    <a:pt x="582" y="138"/>
                  </a:lnTo>
                  <a:lnTo>
                    <a:pt x="588" y="138"/>
                  </a:lnTo>
                  <a:lnTo>
                    <a:pt x="594" y="138"/>
                  </a:lnTo>
                  <a:lnTo>
                    <a:pt x="594" y="144"/>
                  </a:lnTo>
                  <a:lnTo>
                    <a:pt x="600" y="138"/>
                  </a:lnTo>
                  <a:lnTo>
                    <a:pt x="606" y="138"/>
                  </a:lnTo>
                  <a:lnTo>
                    <a:pt x="606" y="144"/>
                  </a:lnTo>
                  <a:lnTo>
                    <a:pt x="612" y="144"/>
                  </a:lnTo>
                  <a:lnTo>
                    <a:pt x="618" y="156"/>
                  </a:lnTo>
                  <a:lnTo>
                    <a:pt x="612" y="198"/>
                  </a:lnTo>
                  <a:lnTo>
                    <a:pt x="624" y="198"/>
                  </a:lnTo>
                  <a:lnTo>
                    <a:pt x="624" y="204"/>
                  </a:lnTo>
                  <a:lnTo>
                    <a:pt x="612" y="216"/>
                  </a:lnTo>
                  <a:lnTo>
                    <a:pt x="594" y="234"/>
                  </a:lnTo>
                  <a:lnTo>
                    <a:pt x="588" y="252"/>
                  </a:lnTo>
                  <a:lnTo>
                    <a:pt x="576" y="270"/>
                  </a:lnTo>
                  <a:lnTo>
                    <a:pt x="564" y="282"/>
                  </a:lnTo>
                  <a:lnTo>
                    <a:pt x="564" y="294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8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34" y="294"/>
                  </a:lnTo>
                  <a:lnTo>
                    <a:pt x="522" y="300"/>
                  </a:lnTo>
                  <a:lnTo>
                    <a:pt x="510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498" y="324"/>
                  </a:lnTo>
                  <a:lnTo>
                    <a:pt x="504" y="336"/>
                  </a:lnTo>
                  <a:lnTo>
                    <a:pt x="510" y="348"/>
                  </a:lnTo>
                  <a:lnTo>
                    <a:pt x="516" y="366"/>
                  </a:lnTo>
                  <a:lnTo>
                    <a:pt x="522" y="432"/>
                  </a:lnTo>
                  <a:lnTo>
                    <a:pt x="522" y="456"/>
                  </a:lnTo>
                  <a:lnTo>
                    <a:pt x="504" y="492"/>
                  </a:lnTo>
                  <a:lnTo>
                    <a:pt x="504" y="498"/>
                  </a:lnTo>
                  <a:lnTo>
                    <a:pt x="498" y="504"/>
                  </a:lnTo>
                  <a:lnTo>
                    <a:pt x="498" y="522"/>
                  </a:lnTo>
                  <a:lnTo>
                    <a:pt x="504" y="534"/>
                  </a:lnTo>
                  <a:lnTo>
                    <a:pt x="510" y="546"/>
                  </a:lnTo>
                  <a:lnTo>
                    <a:pt x="516" y="558"/>
                  </a:lnTo>
                  <a:lnTo>
                    <a:pt x="516" y="588"/>
                  </a:lnTo>
                  <a:lnTo>
                    <a:pt x="516" y="600"/>
                  </a:lnTo>
                  <a:lnTo>
                    <a:pt x="510" y="618"/>
                  </a:lnTo>
                  <a:lnTo>
                    <a:pt x="504" y="636"/>
                  </a:lnTo>
                  <a:lnTo>
                    <a:pt x="504" y="642"/>
                  </a:lnTo>
                  <a:lnTo>
                    <a:pt x="474" y="654"/>
                  </a:lnTo>
                  <a:lnTo>
                    <a:pt x="474" y="690"/>
                  </a:lnTo>
                  <a:lnTo>
                    <a:pt x="474" y="696"/>
                  </a:lnTo>
                  <a:lnTo>
                    <a:pt x="480" y="702"/>
                  </a:lnTo>
                  <a:lnTo>
                    <a:pt x="486" y="708"/>
                  </a:lnTo>
                  <a:lnTo>
                    <a:pt x="492" y="708"/>
                  </a:lnTo>
                  <a:lnTo>
                    <a:pt x="498" y="726"/>
                  </a:lnTo>
                  <a:lnTo>
                    <a:pt x="504" y="726"/>
                  </a:lnTo>
                  <a:lnTo>
                    <a:pt x="504" y="738"/>
                  </a:lnTo>
                  <a:lnTo>
                    <a:pt x="498" y="744"/>
                  </a:lnTo>
                  <a:lnTo>
                    <a:pt x="486" y="750"/>
                  </a:lnTo>
                  <a:lnTo>
                    <a:pt x="474" y="744"/>
                  </a:lnTo>
                  <a:lnTo>
                    <a:pt x="462" y="744"/>
                  </a:lnTo>
                  <a:lnTo>
                    <a:pt x="456" y="732"/>
                  </a:lnTo>
                  <a:lnTo>
                    <a:pt x="444" y="732"/>
                  </a:lnTo>
                  <a:lnTo>
                    <a:pt x="432" y="726"/>
                  </a:lnTo>
                  <a:lnTo>
                    <a:pt x="420" y="720"/>
                  </a:lnTo>
                  <a:lnTo>
                    <a:pt x="408" y="708"/>
                  </a:lnTo>
                  <a:lnTo>
                    <a:pt x="402" y="708"/>
                  </a:lnTo>
                  <a:lnTo>
                    <a:pt x="390" y="70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5" name="Freeform 20">
              <a:extLst>
                <a:ext uri="{FF2B5EF4-FFF2-40B4-BE49-F238E27FC236}">
                  <a16:creationId xmlns:a16="http://schemas.microsoft.com/office/drawing/2014/main" id="{B8342C3B-ECEC-465F-AAFF-4815B8AC392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870937"/>
              <a:ext cx="313067" cy="377968"/>
            </a:xfrm>
            <a:custGeom>
              <a:avLst/>
              <a:gdLst>
                <a:gd name="T0" fmla="*/ 15 w 588"/>
                <a:gd name="T1" fmla="*/ 59 h 714"/>
                <a:gd name="T2" fmla="*/ 14 w 588"/>
                <a:gd name="T3" fmla="*/ 58 h 714"/>
                <a:gd name="T4" fmla="*/ 9 w 588"/>
                <a:gd name="T5" fmla="*/ 54 h 714"/>
                <a:gd name="T6" fmla="*/ 4 w 588"/>
                <a:gd name="T7" fmla="*/ 54 h 714"/>
                <a:gd name="T8" fmla="*/ 0 w 588"/>
                <a:gd name="T9" fmla="*/ 50 h 714"/>
                <a:gd name="T10" fmla="*/ 0 w 588"/>
                <a:gd name="T11" fmla="*/ 44 h 714"/>
                <a:gd name="T12" fmla="*/ 4 w 588"/>
                <a:gd name="T13" fmla="*/ 46 h 714"/>
                <a:gd name="T14" fmla="*/ 7 w 588"/>
                <a:gd name="T15" fmla="*/ 47 h 714"/>
                <a:gd name="T16" fmla="*/ 10 w 588"/>
                <a:gd name="T17" fmla="*/ 46 h 714"/>
                <a:gd name="T18" fmla="*/ 8 w 588"/>
                <a:gd name="T19" fmla="*/ 44 h 714"/>
                <a:gd name="T20" fmla="*/ 10 w 588"/>
                <a:gd name="T21" fmla="*/ 39 h 714"/>
                <a:gd name="T22" fmla="*/ 11 w 588"/>
                <a:gd name="T23" fmla="*/ 34 h 714"/>
                <a:gd name="T24" fmla="*/ 9 w 588"/>
                <a:gd name="T25" fmla="*/ 28 h 714"/>
                <a:gd name="T26" fmla="*/ 11 w 588"/>
                <a:gd name="T27" fmla="*/ 22 h 714"/>
                <a:gd name="T28" fmla="*/ 10 w 588"/>
                <a:gd name="T29" fmla="*/ 12 h 714"/>
                <a:gd name="T30" fmla="*/ 9 w 588"/>
                <a:gd name="T31" fmla="*/ 9 h 714"/>
                <a:gd name="T32" fmla="*/ 12 w 588"/>
                <a:gd name="T33" fmla="*/ 8 h 714"/>
                <a:gd name="T34" fmla="*/ 14 w 588"/>
                <a:gd name="T35" fmla="*/ 7 h 714"/>
                <a:gd name="T36" fmla="*/ 17 w 588"/>
                <a:gd name="T37" fmla="*/ 10 h 714"/>
                <a:gd name="T38" fmla="*/ 23 w 588"/>
                <a:gd name="T39" fmla="*/ 14 h 714"/>
                <a:gd name="T40" fmla="*/ 28 w 588"/>
                <a:gd name="T41" fmla="*/ 4 h 714"/>
                <a:gd name="T42" fmla="*/ 35 w 588"/>
                <a:gd name="T43" fmla="*/ 2 h 714"/>
                <a:gd name="T44" fmla="*/ 38 w 588"/>
                <a:gd name="T45" fmla="*/ 0 h 714"/>
                <a:gd name="T46" fmla="*/ 40 w 588"/>
                <a:gd name="T47" fmla="*/ 2 h 714"/>
                <a:gd name="T48" fmla="*/ 39 w 588"/>
                <a:gd name="T49" fmla="*/ 4 h 714"/>
                <a:gd name="T50" fmla="*/ 41 w 588"/>
                <a:gd name="T51" fmla="*/ 5 h 714"/>
                <a:gd name="T52" fmla="*/ 42 w 588"/>
                <a:gd name="T53" fmla="*/ 7 h 714"/>
                <a:gd name="T54" fmla="*/ 43 w 588"/>
                <a:gd name="T55" fmla="*/ 9 h 714"/>
                <a:gd name="T56" fmla="*/ 43 w 588"/>
                <a:gd name="T57" fmla="*/ 10 h 714"/>
                <a:gd name="T58" fmla="*/ 43 w 588"/>
                <a:gd name="T59" fmla="*/ 12 h 714"/>
                <a:gd name="T60" fmla="*/ 44 w 588"/>
                <a:gd name="T61" fmla="*/ 12 h 714"/>
                <a:gd name="T62" fmla="*/ 46 w 588"/>
                <a:gd name="T63" fmla="*/ 13 h 714"/>
                <a:gd name="T64" fmla="*/ 47 w 588"/>
                <a:gd name="T65" fmla="*/ 14 h 714"/>
                <a:gd name="T66" fmla="*/ 48 w 588"/>
                <a:gd name="T67" fmla="*/ 15 h 714"/>
                <a:gd name="T68" fmla="*/ 49 w 588"/>
                <a:gd name="T69" fmla="*/ 15 h 714"/>
                <a:gd name="T70" fmla="*/ 48 w 588"/>
                <a:gd name="T71" fmla="*/ 17 h 714"/>
                <a:gd name="T72" fmla="*/ 49 w 588"/>
                <a:gd name="T73" fmla="*/ 19 h 714"/>
                <a:gd name="T74" fmla="*/ 49 w 588"/>
                <a:gd name="T75" fmla="*/ 20 h 714"/>
                <a:gd name="T76" fmla="*/ 51 w 588"/>
                <a:gd name="T77" fmla="*/ 21 h 714"/>
                <a:gd name="T78" fmla="*/ 50 w 588"/>
                <a:gd name="T79" fmla="*/ 22 h 714"/>
                <a:gd name="T80" fmla="*/ 47 w 588"/>
                <a:gd name="T81" fmla="*/ 23 h 714"/>
                <a:gd name="T82" fmla="*/ 47 w 588"/>
                <a:gd name="T83" fmla="*/ 26 h 714"/>
                <a:gd name="T84" fmla="*/ 47 w 588"/>
                <a:gd name="T85" fmla="*/ 32 h 714"/>
                <a:gd name="T86" fmla="*/ 44 w 588"/>
                <a:gd name="T87" fmla="*/ 35 h 714"/>
                <a:gd name="T88" fmla="*/ 42 w 588"/>
                <a:gd name="T89" fmla="*/ 39 h 714"/>
                <a:gd name="T90" fmla="*/ 42 w 588"/>
                <a:gd name="T91" fmla="*/ 41 h 714"/>
                <a:gd name="T92" fmla="*/ 42 w 588"/>
                <a:gd name="T93" fmla="*/ 42 h 714"/>
                <a:gd name="T94" fmla="*/ 41 w 588"/>
                <a:gd name="T95" fmla="*/ 44 h 714"/>
                <a:gd name="T96" fmla="*/ 39 w 588"/>
                <a:gd name="T97" fmla="*/ 43 h 714"/>
                <a:gd name="T98" fmla="*/ 37 w 588"/>
                <a:gd name="T99" fmla="*/ 44 h 714"/>
                <a:gd name="T100" fmla="*/ 35 w 588"/>
                <a:gd name="T101" fmla="*/ 46 h 714"/>
                <a:gd name="T102" fmla="*/ 31 w 588"/>
                <a:gd name="T103" fmla="*/ 45 h 714"/>
                <a:gd name="T104" fmla="*/ 24 w 588"/>
                <a:gd name="T105" fmla="*/ 45 h 714"/>
                <a:gd name="T106" fmla="*/ 25 w 588"/>
                <a:gd name="T107" fmla="*/ 47 h 714"/>
                <a:gd name="T108" fmla="*/ 25 w 588"/>
                <a:gd name="T109" fmla="*/ 49 h 714"/>
                <a:gd name="T110" fmla="*/ 25 w 588"/>
                <a:gd name="T111" fmla="*/ 50 h 714"/>
                <a:gd name="T112" fmla="*/ 24 w 588"/>
                <a:gd name="T113" fmla="*/ 51 h 714"/>
                <a:gd name="T114" fmla="*/ 22 w 588"/>
                <a:gd name="T115" fmla="*/ 53 h 714"/>
                <a:gd name="T116" fmla="*/ 23 w 588"/>
                <a:gd name="T117" fmla="*/ 56 h 714"/>
                <a:gd name="T118" fmla="*/ 20 w 588"/>
                <a:gd name="T119" fmla="*/ 58 h 714"/>
                <a:gd name="T120" fmla="*/ 19 w 588"/>
                <a:gd name="T121" fmla="*/ 62 h 7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8"/>
                <a:gd name="T184" fmla="*/ 0 h 714"/>
                <a:gd name="T185" fmla="*/ 588 w 588"/>
                <a:gd name="T186" fmla="*/ 714 h 7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8" h="714">
                  <a:moveTo>
                    <a:pt x="216" y="714"/>
                  </a:moveTo>
                  <a:lnTo>
                    <a:pt x="198" y="702"/>
                  </a:lnTo>
                  <a:lnTo>
                    <a:pt x="186" y="696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74" y="678"/>
                  </a:lnTo>
                  <a:lnTo>
                    <a:pt x="168" y="672"/>
                  </a:lnTo>
                  <a:lnTo>
                    <a:pt x="162" y="666"/>
                  </a:lnTo>
                  <a:lnTo>
                    <a:pt x="156" y="636"/>
                  </a:lnTo>
                  <a:lnTo>
                    <a:pt x="144" y="630"/>
                  </a:lnTo>
                  <a:lnTo>
                    <a:pt x="108" y="630"/>
                  </a:lnTo>
                  <a:lnTo>
                    <a:pt x="102" y="624"/>
                  </a:lnTo>
                  <a:lnTo>
                    <a:pt x="96" y="624"/>
                  </a:lnTo>
                  <a:lnTo>
                    <a:pt x="72" y="624"/>
                  </a:lnTo>
                  <a:lnTo>
                    <a:pt x="54" y="624"/>
                  </a:lnTo>
                  <a:lnTo>
                    <a:pt x="42" y="618"/>
                  </a:lnTo>
                  <a:lnTo>
                    <a:pt x="30" y="612"/>
                  </a:lnTo>
                  <a:lnTo>
                    <a:pt x="6" y="606"/>
                  </a:lnTo>
                  <a:lnTo>
                    <a:pt x="0" y="606"/>
                  </a:lnTo>
                  <a:lnTo>
                    <a:pt x="0" y="570"/>
                  </a:lnTo>
                  <a:lnTo>
                    <a:pt x="6" y="552"/>
                  </a:lnTo>
                  <a:lnTo>
                    <a:pt x="6" y="522"/>
                  </a:lnTo>
                  <a:lnTo>
                    <a:pt x="0" y="510"/>
                  </a:lnTo>
                  <a:lnTo>
                    <a:pt x="0" y="504"/>
                  </a:lnTo>
                  <a:lnTo>
                    <a:pt x="12" y="510"/>
                  </a:lnTo>
                  <a:lnTo>
                    <a:pt x="18" y="510"/>
                  </a:lnTo>
                  <a:lnTo>
                    <a:pt x="30" y="522"/>
                  </a:lnTo>
                  <a:lnTo>
                    <a:pt x="42" y="528"/>
                  </a:lnTo>
                  <a:lnTo>
                    <a:pt x="54" y="534"/>
                  </a:lnTo>
                  <a:lnTo>
                    <a:pt x="66" y="534"/>
                  </a:lnTo>
                  <a:lnTo>
                    <a:pt x="72" y="546"/>
                  </a:lnTo>
                  <a:lnTo>
                    <a:pt x="84" y="546"/>
                  </a:lnTo>
                  <a:lnTo>
                    <a:pt x="96" y="552"/>
                  </a:lnTo>
                  <a:lnTo>
                    <a:pt x="108" y="546"/>
                  </a:lnTo>
                  <a:lnTo>
                    <a:pt x="114" y="540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90" y="504"/>
                  </a:lnTo>
                  <a:lnTo>
                    <a:pt x="84" y="498"/>
                  </a:lnTo>
                  <a:lnTo>
                    <a:pt x="84" y="492"/>
                  </a:lnTo>
                  <a:lnTo>
                    <a:pt x="84" y="456"/>
                  </a:lnTo>
                  <a:lnTo>
                    <a:pt x="114" y="444"/>
                  </a:lnTo>
                  <a:lnTo>
                    <a:pt x="114" y="438"/>
                  </a:lnTo>
                  <a:lnTo>
                    <a:pt x="120" y="420"/>
                  </a:lnTo>
                  <a:lnTo>
                    <a:pt x="126" y="402"/>
                  </a:lnTo>
                  <a:lnTo>
                    <a:pt x="126" y="390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14" y="336"/>
                  </a:lnTo>
                  <a:lnTo>
                    <a:pt x="108" y="324"/>
                  </a:lnTo>
                  <a:lnTo>
                    <a:pt x="108" y="306"/>
                  </a:lnTo>
                  <a:lnTo>
                    <a:pt x="114" y="300"/>
                  </a:lnTo>
                  <a:lnTo>
                    <a:pt x="114" y="294"/>
                  </a:lnTo>
                  <a:lnTo>
                    <a:pt x="132" y="258"/>
                  </a:lnTo>
                  <a:lnTo>
                    <a:pt x="132" y="234"/>
                  </a:lnTo>
                  <a:lnTo>
                    <a:pt x="126" y="168"/>
                  </a:lnTo>
                  <a:lnTo>
                    <a:pt x="120" y="150"/>
                  </a:lnTo>
                  <a:lnTo>
                    <a:pt x="114" y="138"/>
                  </a:lnTo>
                  <a:lnTo>
                    <a:pt x="108" y="126"/>
                  </a:lnTo>
                  <a:lnTo>
                    <a:pt x="108" y="120"/>
                  </a:lnTo>
                  <a:lnTo>
                    <a:pt x="108" y="114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20" y="96"/>
                  </a:lnTo>
                  <a:lnTo>
                    <a:pt x="132" y="102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56" y="90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96"/>
                  </a:lnTo>
                  <a:lnTo>
                    <a:pt x="186" y="96"/>
                  </a:lnTo>
                  <a:lnTo>
                    <a:pt x="192" y="114"/>
                  </a:lnTo>
                  <a:lnTo>
                    <a:pt x="204" y="132"/>
                  </a:lnTo>
                  <a:lnTo>
                    <a:pt x="216" y="144"/>
                  </a:lnTo>
                  <a:lnTo>
                    <a:pt x="240" y="162"/>
                  </a:lnTo>
                  <a:lnTo>
                    <a:pt x="270" y="156"/>
                  </a:lnTo>
                  <a:lnTo>
                    <a:pt x="282" y="126"/>
                  </a:lnTo>
                  <a:lnTo>
                    <a:pt x="282" y="96"/>
                  </a:lnTo>
                  <a:lnTo>
                    <a:pt x="294" y="54"/>
                  </a:lnTo>
                  <a:lnTo>
                    <a:pt x="324" y="48"/>
                  </a:lnTo>
                  <a:lnTo>
                    <a:pt x="342" y="48"/>
                  </a:lnTo>
                  <a:lnTo>
                    <a:pt x="384" y="48"/>
                  </a:lnTo>
                  <a:lnTo>
                    <a:pt x="390" y="30"/>
                  </a:lnTo>
                  <a:lnTo>
                    <a:pt x="402" y="18"/>
                  </a:lnTo>
                  <a:lnTo>
                    <a:pt x="438" y="6"/>
                  </a:lnTo>
                  <a:lnTo>
                    <a:pt x="438" y="0"/>
                  </a:lnTo>
                  <a:lnTo>
                    <a:pt x="444" y="0"/>
                  </a:lnTo>
                  <a:lnTo>
                    <a:pt x="444" y="6"/>
                  </a:lnTo>
                  <a:lnTo>
                    <a:pt x="450" y="6"/>
                  </a:lnTo>
                  <a:lnTo>
                    <a:pt x="456" y="12"/>
                  </a:lnTo>
                  <a:lnTo>
                    <a:pt x="456" y="18"/>
                  </a:lnTo>
                  <a:lnTo>
                    <a:pt x="462" y="24"/>
                  </a:lnTo>
                  <a:lnTo>
                    <a:pt x="462" y="30"/>
                  </a:lnTo>
                  <a:lnTo>
                    <a:pt x="468" y="36"/>
                  </a:lnTo>
                  <a:lnTo>
                    <a:pt x="462" y="36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74" y="60"/>
                  </a:lnTo>
                  <a:lnTo>
                    <a:pt x="486" y="78"/>
                  </a:lnTo>
                  <a:lnTo>
                    <a:pt x="486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8" y="102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498" y="114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504" y="126"/>
                  </a:lnTo>
                  <a:lnTo>
                    <a:pt x="498" y="132"/>
                  </a:lnTo>
                  <a:lnTo>
                    <a:pt x="504" y="138"/>
                  </a:lnTo>
                  <a:lnTo>
                    <a:pt x="504" y="132"/>
                  </a:lnTo>
                  <a:lnTo>
                    <a:pt x="510" y="132"/>
                  </a:lnTo>
                  <a:lnTo>
                    <a:pt x="510" y="138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56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6" y="168"/>
                  </a:lnTo>
                  <a:lnTo>
                    <a:pt x="552" y="168"/>
                  </a:lnTo>
                  <a:lnTo>
                    <a:pt x="546" y="168"/>
                  </a:lnTo>
                  <a:lnTo>
                    <a:pt x="546" y="174"/>
                  </a:lnTo>
                  <a:lnTo>
                    <a:pt x="558" y="180"/>
                  </a:lnTo>
                  <a:lnTo>
                    <a:pt x="564" y="180"/>
                  </a:lnTo>
                  <a:lnTo>
                    <a:pt x="564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52" y="198"/>
                  </a:lnTo>
                  <a:lnTo>
                    <a:pt x="558" y="204"/>
                  </a:lnTo>
                  <a:lnTo>
                    <a:pt x="564" y="204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22"/>
                  </a:lnTo>
                  <a:lnTo>
                    <a:pt x="576" y="228"/>
                  </a:lnTo>
                  <a:lnTo>
                    <a:pt x="570" y="228"/>
                  </a:lnTo>
                  <a:lnTo>
                    <a:pt x="570" y="234"/>
                  </a:lnTo>
                  <a:lnTo>
                    <a:pt x="576" y="234"/>
                  </a:lnTo>
                  <a:lnTo>
                    <a:pt x="582" y="234"/>
                  </a:lnTo>
                  <a:lnTo>
                    <a:pt x="588" y="234"/>
                  </a:lnTo>
                  <a:lnTo>
                    <a:pt x="588" y="240"/>
                  </a:lnTo>
                  <a:lnTo>
                    <a:pt x="588" y="246"/>
                  </a:lnTo>
                  <a:lnTo>
                    <a:pt x="588" y="252"/>
                  </a:lnTo>
                  <a:lnTo>
                    <a:pt x="582" y="252"/>
                  </a:lnTo>
                  <a:lnTo>
                    <a:pt x="576" y="252"/>
                  </a:lnTo>
                  <a:lnTo>
                    <a:pt x="582" y="258"/>
                  </a:lnTo>
                  <a:lnTo>
                    <a:pt x="582" y="264"/>
                  </a:lnTo>
                  <a:lnTo>
                    <a:pt x="576" y="264"/>
                  </a:lnTo>
                  <a:lnTo>
                    <a:pt x="546" y="264"/>
                  </a:lnTo>
                  <a:lnTo>
                    <a:pt x="546" y="276"/>
                  </a:lnTo>
                  <a:lnTo>
                    <a:pt x="540" y="282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40" y="324"/>
                  </a:lnTo>
                  <a:lnTo>
                    <a:pt x="552" y="330"/>
                  </a:lnTo>
                  <a:lnTo>
                    <a:pt x="558" y="342"/>
                  </a:lnTo>
                  <a:lnTo>
                    <a:pt x="546" y="372"/>
                  </a:lnTo>
                  <a:lnTo>
                    <a:pt x="534" y="372"/>
                  </a:lnTo>
                  <a:lnTo>
                    <a:pt x="534" y="384"/>
                  </a:lnTo>
                  <a:lnTo>
                    <a:pt x="522" y="384"/>
                  </a:lnTo>
                  <a:lnTo>
                    <a:pt x="510" y="402"/>
                  </a:lnTo>
                  <a:lnTo>
                    <a:pt x="504" y="420"/>
                  </a:lnTo>
                  <a:lnTo>
                    <a:pt x="492" y="426"/>
                  </a:lnTo>
                  <a:lnTo>
                    <a:pt x="486" y="432"/>
                  </a:lnTo>
                  <a:lnTo>
                    <a:pt x="486" y="444"/>
                  </a:lnTo>
                  <a:lnTo>
                    <a:pt x="486" y="450"/>
                  </a:lnTo>
                  <a:lnTo>
                    <a:pt x="486" y="456"/>
                  </a:lnTo>
                  <a:lnTo>
                    <a:pt x="486" y="462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80" y="474"/>
                  </a:lnTo>
                  <a:lnTo>
                    <a:pt x="480" y="480"/>
                  </a:lnTo>
                  <a:lnTo>
                    <a:pt x="480" y="486"/>
                  </a:lnTo>
                  <a:lnTo>
                    <a:pt x="480" y="492"/>
                  </a:lnTo>
                  <a:lnTo>
                    <a:pt x="480" y="498"/>
                  </a:lnTo>
                  <a:lnTo>
                    <a:pt x="474" y="504"/>
                  </a:lnTo>
                  <a:lnTo>
                    <a:pt x="468" y="510"/>
                  </a:lnTo>
                  <a:lnTo>
                    <a:pt x="462" y="510"/>
                  </a:lnTo>
                  <a:lnTo>
                    <a:pt x="456" y="504"/>
                  </a:lnTo>
                  <a:lnTo>
                    <a:pt x="456" y="498"/>
                  </a:lnTo>
                  <a:lnTo>
                    <a:pt x="450" y="498"/>
                  </a:lnTo>
                  <a:lnTo>
                    <a:pt x="444" y="498"/>
                  </a:lnTo>
                  <a:lnTo>
                    <a:pt x="438" y="498"/>
                  </a:lnTo>
                  <a:lnTo>
                    <a:pt x="432" y="498"/>
                  </a:lnTo>
                  <a:lnTo>
                    <a:pt x="426" y="504"/>
                  </a:lnTo>
                  <a:lnTo>
                    <a:pt x="426" y="510"/>
                  </a:lnTo>
                  <a:lnTo>
                    <a:pt x="420" y="516"/>
                  </a:lnTo>
                  <a:lnTo>
                    <a:pt x="414" y="522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84" y="528"/>
                  </a:lnTo>
                  <a:lnTo>
                    <a:pt x="366" y="540"/>
                  </a:lnTo>
                  <a:lnTo>
                    <a:pt x="360" y="522"/>
                  </a:lnTo>
                  <a:lnTo>
                    <a:pt x="348" y="504"/>
                  </a:lnTo>
                  <a:lnTo>
                    <a:pt x="330" y="504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34"/>
                  </a:lnTo>
                  <a:lnTo>
                    <a:pt x="288" y="540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2" y="540"/>
                  </a:lnTo>
                  <a:lnTo>
                    <a:pt x="282" y="546"/>
                  </a:lnTo>
                  <a:lnTo>
                    <a:pt x="288" y="552"/>
                  </a:lnTo>
                  <a:lnTo>
                    <a:pt x="294" y="564"/>
                  </a:lnTo>
                  <a:lnTo>
                    <a:pt x="300" y="564"/>
                  </a:lnTo>
                  <a:lnTo>
                    <a:pt x="300" y="570"/>
                  </a:lnTo>
                  <a:lnTo>
                    <a:pt x="294" y="570"/>
                  </a:lnTo>
                  <a:lnTo>
                    <a:pt x="288" y="570"/>
                  </a:lnTo>
                  <a:lnTo>
                    <a:pt x="288" y="576"/>
                  </a:lnTo>
                  <a:lnTo>
                    <a:pt x="288" y="582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606"/>
                  </a:lnTo>
                  <a:lnTo>
                    <a:pt x="264" y="612"/>
                  </a:lnTo>
                  <a:lnTo>
                    <a:pt x="258" y="612"/>
                  </a:lnTo>
                  <a:lnTo>
                    <a:pt x="252" y="612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52" y="630"/>
                  </a:lnTo>
                  <a:lnTo>
                    <a:pt x="264" y="642"/>
                  </a:lnTo>
                  <a:lnTo>
                    <a:pt x="258" y="648"/>
                  </a:lnTo>
                  <a:lnTo>
                    <a:pt x="246" y="654"/>
                  </a:lnTo>
                  <a:lnTo>
                    <a:pt x="240" y="660"/>
                  </a:lnTo>
                  <a:lnTo>
                    <a:pt x="234" y="672"/>
                  </a:lnTo>
                  <a:lnTo>
                    <a:pt x="234" y="678"/>
                  </a:lnTo>
                  <a:lnTo>
                    <a:pt x="228" y="684"/>
                  </a:lnTo>
                  <a:lnTo>
                    <a:pt x="228" y="696"/>
                  </a:lnTo>
                  <a:lnTo>
                    <a:pt x="216" y="71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6" name="Freeform 21">
              <a:extLst>
                <a:ext uri="{FF2B5EF4-FFF2-40B4-BE49-F238E27FC236}">
                  <a16:creationId xmlns:a16="http://schemas.microsoft.com/office/drawing/2014/main" id="{DCB1E808-522D-4C19-B741-CC5DD56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4178" y="3866464"/>
              <a:ext cx="250453" cy="371259"/>
            </a:xfrm>
            <a:custGeom>
              <a:avLst/>
              <a:gdLst>
                <a:gd name="T0" fmla="*/ 0 w 468"/>
                <a:gd name="T1" fmla="*/ 61 h 696"/>
                <a:gd name="T2" fmla="*/ 1 w 468"/>
                <a:gd name="T3" fmla="*/ 58 h 696"/>
                <a:gd name="T4" fmla="*/ 2 w 468"/>
                <a:gd name="T5" fmla="*/ 54 h 696"/>
                <a:gd name="T6" fmla="*/ 3 w 468"/>
                <a:gd name="T7" fmla="*/ 51 h 696"/>
                <a:gd name="T8" fmla="*/ 4 w 468"/>
                <a:gd name="T9" fmla="*/ 48 h 696"/>
                <a:gd name="T10" fmla="*/ 6 w 468"/>
                <a:gd name="T11" fmla="*/ 44 h 696"/>
                <a:gd name="T12" fmla="*/ 5 w 468"/>
                <a:gd name="T13" fmla="*/ 41 h 696"/>
                <a:gd name="T14" fmla="*/ 7 w 468"/>
                <a:gd name="T15" fmla="*/ 38 h 696"/>
                <a:gd name="T16" fmla="*/ 8 w 468"/>
                <a:gd name="T17" fmla="*/ 36 h 696"/>
                <a:gd name="T18" fmla="*/ 7 w 468"/>
                <a:gd name="T19" fmla="*/ 33 h 696"/>
                <a:gd name="T20" fmla="*/ 6 w 468"/>
                <a:gd name="T21" fmla="*/ 29 h 696"/>
                <a:gd name="T22" fmla="*/ 4 w 468"/>
                <a:gd name="T23" fmla="*/ 22 h 696"/>
                <a:gd name="T24" fmla="*/ 2 w 468"/>
                <a:gd name="T25" fmla="*/ 14 h 696"/>
                <a:gd name="T26" fmla="*/ 12 w 468"/>
                <a:gd name="T27" fmla="*/ 11 h 696"/>
                <a:gd name="T28" fmla="*/ 14 w 468"/>
                <a:gd name="T29" fmla="*/ 2 h 696"/>
                <a:gd name="T30" fmla="*/ 16 w 468"/>
                <a:gd name="T31" fmla="*/ 0 h 696"/>
                <a:gd name="T32" fmla="*/ 17 w 468"/>
                <a:gd name="T33" fmla="*/ 0 h 696"/>
                <a:gd name="T34" fmla="*/ 18 w 468"/>
                <a:gd name="T35" fmla="*/ 1 h 696"/>
                <a:gd name="T36" fmla="*/ 17 w 468"/>
                <a:gd name="T37" fmla="*/ 2 h 696"/>
                <a:gd name="T38" fmla="*/ 17 w 468"/>
                <a:gd name="T39" fmla="*/ 4 h 696"/>
                <a:gd name="T40" fmla="*/ 17 w 468"/>
                <a:gd name="T41" fmla="*/ 6 h 696"/>
                <a:gd name="T42" fmla="*/ 20 w 468"/>
                <a:gd name="T43" fmla="*/ 6 h 696"/>
                <a:gd name="T44" fmla="*/ 22 w 468"/>
                <a:gd name="T45" fmla="*/ 5 h 696"/>
                <a:gd name="T46" fmla="*/ 24 w 468"/>
                <a:gd name="T47" fmla="*/ 7 h 696"/>
                <a:gd name="T48" fmla="*/ 28 w 468"/>
                <a:gd name="T49" fmla="*/ 7 h 696"/>
                <a:gd name="T50" fmla="*/ 28 w 468"/>
                <a:gd name="T51" fmla="*/ 11 h 696"/>
                <a:gd name="T52" fmla="*/ 25 w 468"/>
                <a:gd name="T53" fmla="*/ 14 h 696"/>
                <a:gd name="T54" fmla="*/ 23 w 468"/>
                <a:gd name="T55" fmla="*/ 15 h 696"/>
                <a:gd name="T56" fmla="*/ 23 w 468"/>
                <a:gd name="T57" fmla="*/ 19 h 696"/>
                <a:gd name="T58" fmla="*/ 23 w 468"/>
                <a:gd name="T59" fmla="*/ 21 h 696"/>
                <a:gd name="T60" fmla="*/ 24 w 468"/>
                <a:gd name="T61" fmla="*/ 21 h 696"/>
                <a:gd name="T62" fmla="*/ 27 w 468"/>
                <a:gd name="T63" fmla="*/ 23 h 696"/>
                <a:gd name="T64" fmla="*/ 29 w 468"/>
                <a:gd name="T65" fmla="*/ 24 h 696"/>
                <a:gd name="T66" fmla="*/ 29 w 468"/>
                <a:gd name="T67" fmla="*/ 28 h 696"/>
                <a:gd name="T68" fmla="*/ 29 w 468"/>
                <a:gd name="T69" fmla="*/ 29 h 696"/>
                <a:gd name="T70" fmla="*/ 29 w 468"/>
                <a:gd name="T71" fmla="*/ 32 h 696"/>
                <a:gd name="T72" fmla="*/ 32 w 468"/>
                <a:gd name="T73" fmla="*/ 32 h 696"/>
                <a:gd name="T74" fmla="*/ 33 w 468"/>
                <a:gd name="T75" fmla="*/ 35 h 696"/>
                <a:gd name="T76" fmla="*/ 34 w 468"/>
                <a:gd name="T77" fmla="*/ 38 h 696"/>
                <a:gd name="T78" fmla="*/ 35 w 468"/>
                <a:gd name="T79" fmla="*/ 39 h 696"/>
                <a:gd name="T80" fmla="*/ 36 w 468"/>
                <a:gd name="T81" fmla="*/ 40 h 696"/>
                <a:gd name="T82" fmla="*/ 37 w 468"/>
                <a:gd name="T83" fmla="*/ 41 h 696"/>
                <a:gd name="T84" fmla="*/ 38 w 468"/>
                <a:gd name="T85" fmla="*/ 42 h 696"/>
                <a:gd name="T86" fmla="*/ 41 w 468"/>
                <a:gd name="T87" fmla="*/ 44 h 696"/>
                <a:gd name="T88" fmla="*/ 40 w 468"/>
                <a:gd name="T89" fmla="*/ 44 h 696"/>
                <a:gd name="T90" fmla="*/ 37 w 468"/>
                <a:gd name="T91" fmla="*/ 45 h 696"/>
                <a:gd name="T92" fmla="*/ 36 w 468"/>
                <a:gd name="T93" fmla="*/ 48 h 696"/>
                <a:gd name="T94" fmla="*/ 34 w 468"/>
                <a:gd name="T95" fmla="*/ 49 h 696"/>
                <a:gd name="T96" fmla="*/ 32 w 468"/>
                <a:gd name="T97" fmla="*/ 51 h 696"/>
                <a:gd name="T98" fmla="*/ 31 w 468"/>
                <a:gd name="T99" fmla="*/ 51 h 696"/>
                <a:gd name="T100" fmla="*/ 26 w 468"/>
                <a:gd name="T101" fmla="*/ 49 h 696"/>
                <a:gd name="T102" fmla="*/ 23 w 468"/>
                <a:gd name="T103" fmla="*/ 51 h 696"/>
                <a:gd name="T104" fmla="*/ 21 w 468"/>
                <a:gd name="T105" fmla="*/ 51 h 696"/>
                <a:gd name="T106" fmla="*/ 20 w 468"/>
                <a:gd name="T107" fmla="*/ 52 h 696"/>
                <a:gd name="T108" fmla="*/ 17 w 468"/>
                <a:gd name="T109" fmla="*/ 55 h 696"/>
                <a:gd name="T110" fmla="*/ 15 w 468"/>
                <a:gd name="T111" fmla="*/ 56 h 696"/>
                <a:gd name="T112" fmla="*/ 15 w 468"/>
                <a:gd name="T113" fmla="*/ 59 h 696"/>
                <a:gd name="T114" fmla="*/ 14 w 468"/>
                <a:gd name="T115" fmla="*/ 59 h 696"/>
                <a:gd name="T116" fmla="*/ 12 w 468"/>
                <a:gd name="T117" fmla="*/ 59 h 696"/>
                <a:gd name="T118" fmla="*/ 11 w 468"/>
                <a:gd name="T119" fmla="*/ 57 h 696"/>
                <a:gd name="T120" fmla="*/ 9 w 468"/>
                <a:gd name="T121" fmla="*/ 57 h 696"/>
                <a:gd name="T122" fmla="*/ 6 w 468"/>
                <a:gd name="T123" fmla="*/ 58 h 696"/>
                <a:gd name="T124" fmla="*/ 4 w 468"/>
                <a:gd name="T125" fmla="*/ 60 h 69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8"/>
                <a:gd name="T190" fmla="*/ 0 h 696"/>
                <a:gd name="T191" fmla="*/ 468 w 468"/>
                <a:gd name="T192" fmla="*/ 696 h 69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8" h="696">
                  <a:moveTo>
                    <a:pt x="30" y="696"/>
                  </a:moveTo>
                  <a:lnTo>
                    <a:pt x="18" y="696"/>
                  </a:lnTo>
                  <a:lnTo>
                    <a:pt x="6" y="696"/>
                  </a:lnTo>
                  <a:lnTo>
                    <a:pt x="0" y="690"/>
                  </a:lnTo>
                  <a:lnTo>
                    <a:pt x="6" y="678"/>
                  </a:lnTo>
                  <a:lnTo>
                    <a:pt x="12" y="666"/>
                  </a:lnTo>
                  <a:lnTo>
                    <a:pt x="18" y="654"/>
                  </a:lnTo>
                  <a:lnTo>
                    <a:pt x="18" y="642"/>
                  </a:lnTo>
                  <a:lnTo>
                    <a:pt x="18" y="618"/>
                  </a:lnTo>
                  <a:lnTo>
                    <a:pt x="24" y="606"/>
                  </a:lnTo>
                  <a:lnTo>
                    <a:pt x="30" y="594"/>
                  </a:lnTo>
                  <a:lnTo>
                    <a:pt x="30" y="582"/>
                  </a:lnTo>
                  <a:lnTo>
                    <a:pt x="36" y="576"/>
                  </a:lnTo>
                  <a:lnTo>
                    <a:pt x="42" y="564"/>
                  </a:lnTo>
                  <a:lnTo>
                    <a:pt x="48" y="546"/>
                  </a:lnTo>
                  <a:lnTo>
                    <a:pt x="48" y="528"/>
                  </a:lnTo>
                  <a:lnTo>
                    <a:pt x="60" y="516"/>
                  </a:lnTo>
                  <a:lnTo>
                    <a:pt x="66" y="504"/>
                  </a:lnTo>
                  <a:lnTo>
                    <a:pt x="66" y="492"/>
                  </a:lnTo>
                  <a:lnTo>
                    <a:pt x="60" y="480"/>
                  </a:lnTo>
                  <a:lnTo>
                    <a:pt x="54" y="468"/>
                  </a:lnTo>
                  <a:lnTo>
                    <a:pt x="60" y="456"/>
                  </a:lnTo>
                  <a:lnTo>
                    <a:pt x="72" y="450"/>
                  </a:lnTo>
                  <a:lnTo>
                    <a:pt x="84" y="438"/>
                  </a:lnTo>
                  <a:lnTo>
                    <a:pt x="90" y="426"/>
                  </a:lnTo>
                  <a:lnTo>
                    <a:pt x="90" y="420"/>
                  </a:lnTo>
                  <a:lnTo>
                    <a:pt x="90" y="408"/>
                  </a:lnTo>
                  <a:lnTo>
                    <a:pt x="90" y="402"/>
                  </a:lnTo>
                  <a:lnTo>
                    <a:pt x="84" y="396"/>
                  </a:lnTo>
                  <a:lnTo>
                    <a:pt x="78" y="378"/>
                  </a:lnTo>
                  <a:lnTo>
                    <a:pt x="72" y="360"/>
                  </a:lnTo>
                  <a:lnTo>
                    <a:pt x="66" y="348"/>
                  </a:lnTo>
                  <a:lnTo>
                    <a:pt x="72" y="336"/>
                  </a:lnTo>
                  <a:lnTo>
                    <a:pt x="66" y="306"/>
                  </a:lnTo>
                  <a:lnTo>
                    <a:pt x="54" y="276"/>
                  </a:lnTo>
                  <a:lnTo>
                    <a:pt x="42" y="252"/>
                  </a:lnTo>
                  <a:lnTo>
                    <a:pt x="36" y="222"/>
                  </a:lnTo>
                  <a:lnTo>
                    <a:pt x="30" y="192"/>
                  </a:lnTo>
                  <a:lnTo>
                    <a:pt x="24" y="162"/>
                  </a:lnTo>
                  <a:lnTo>
                    <a:pt x="42" y="174"/>
                  </a:lnTo>
                  <a:lnTo>
                    <a:pt x="120" y="138"/>
                  </a:lnTo>
                  <a:lnTo>
                    <a:pt x="132" y="126"/>
                  </a:lnTo>
                  <a:lnTo>
                    <a:pt x="120" y="54"/>
                  </a:lnTo>
                  <a:lnTo>
                    <a:pt x="156" y="30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0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8" y="18"/>
                  </a:lnTo>
                  <a:lnTo>
                    <a:pt x="198" y="24"/>
                  </a:lnTo>
                  <a:lnTo>
                    <a:pt x="198" y="30"/>
                  </a:lnTo>
                  <a:lnTo>
                    <a:pt x="198" y="42"/>
                  </a:lnTo>
                  <a:lnTo>
                    <a:pt x="198" y="48"/>
                  </a:lnTo>
                  <a:lnTo>
                    <a:pt x="192" y="60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28" y="60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34" y="60"/>
                  </a:lnTo>
                  <a:lnTo>
                    <a:pt x="252" y="60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312" y="84"/>
                  </a:lnTo>
                  <a:lnTo>
                    <a:pt x="318" y="96"/>
                  </a:lnTo>
                  <a:lnTo>
                    <a:pt x="318" y="102"/>
                  </a:lnTo>
                  <a:lnTo>
                    <a:pt x="312" y="120"/>
                  </a:lnTo>
                  <a:lnTo>
                    <a:pt x="306" y="132"/>
                  </a:lnTo>
                  <a:lnTo>
                    <a:pt x="294" y="144"/>
                  </a:lnTo>
                  <a:lnTo>
                    <a:pt x="282" y="156"/>
                  </a:lnTo>
                  <a:lnTo>
                    <a:pt x="276" y="162"/>
                  </a:lnTo>
                  <a:lnTo>
                    <a:pt x="270" y="162"/>
                  </a:lnTo>
                  <a:lnTo>
                    <a:pt x="264" y="174"/>
                  </a:lnTo>
                  <a:lnTo>
                    <a:pt x="264" y="192"/>
                  </a:lnTo>
                  <a:lnTo>
                    <a:pt x="264" y="216"/>
                  </a:lnTo>
                  <a:lnTo>
                    <a:pt x="258" y="216"/>
                  </a:lnTo>
                  <a:lnTo>
                    <a:pt x="258" y="228"/>
                  </a:lnTo>
                  <a:lnTo>
                    <a:pt x="252" y="234"/>
                  </a:lnTo>
                  <a:lnTo>
                    <a:pt x="258" y="240"/>
                  </a:lnTo>
                  <a:lnTo>
                    <a:pt x="264" y="240"/>
                  </a:lnTo>
                  <a:lnTo>
                    <a:pt x="270" y="240"/>
                  </a:lnTo>
                  <a:lnTo>
                    <a:pt x="276" y="240"/>
                  </a:lnTo>
                  <a:lnTo>
                    <a:pt x="288" y="240"/>
                  </a:lnTo>
                  <a:lnTo>
                    <a:pt x="300" y="246"/>
                  </a:lnTo>
                  <a:lnTo>
                    <a:pt x="306" y="258"/>
                  </a:lnTo>
                  <a:lnTo>
                    <a:pt x="312" y="264"/>
                  </a:lnTo>
                  <a:lnTo>
                    <a:pt x="318" y="276"/>
                  </a:lnTo>
                  <a:lnTo>
                    <a:pt x="330" y="282"/>
                  </a:lnTo>
                  <a:lnTo>
                    <a:pt x="330" y="300"/>
                  </a:lnTo>
                  <a:lnTo>
                    <a:pt x="336" y="312"/>
                  </a:lnTo>
                  <a:lnTo>
                    <a:pt x="336" y="318"/>
                  </a:lnTo>
                  <a:lnTo>
                    <a:pt x="336" y="330"/>
                  </a:lnTo>
                  <a:lnTo>
                    <a:pt x="324" y="330"/>
                  </a:lnTo>
                  <a:lnTo>
                    <a:pt x="330" y="336"/>
                  </a:lnTo>
                  <a:lnTo>
                    <a:pt x="330" y="342"/>
                  </a:lnTo>
                  <a:lnTo>
                    <a:pt x="336" y="348"/>
                  </a:lnTo>
                  <a:lnTo>
                    <a:pt x="330" y="360"/>
                  </a:lnTo>
                  <a:lnTo>
                    <a:pt x="336" y="372"/>
                  </a:lnTo>
                  <a:lnTo>
                    <a:pt x="354" y="366"/>
                  </a:lnTo>
                  <a:lnTo>
                    <a:pt x="366" y="366"/>
                  </a:lnTo>
                  <a:lnTo>
                    <a:pt x="372" y="378"/>
                  </a:lnTo>
                  <a:lnTo>
                    <a:pt x="372" y="390"/>
                  </a:lnTo>
                  <a:lnTo>
                    <a:pt x="378" y="396"/>
                  </a:lnTo>
                  <a:lnTo>
                    <a:pt x="378" y="408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44"/>
                  </a:lnTo>
                  <a:lnTo>
                    <a:pt x="390" y="444"/>
                  </a:lnTo>
                  <a:lnTo>
                    <a:pt x="396" y="444"/>
                  </a:lnTo>
                  <a:lnTo>
                    <a:pt x="402" y="450"/>
                  </a:lnTo>
                  <a:lnTo>
                    <a:pt x="408" y="450"/>
                  </a:lnTo>
                  <a:lnTo>
                    <a:pt x="408" y="462"/>
                  </a:lnTo>
                  <a:lnTo>
                    <a:pt x="408" y="468"/>
                  </a:lnTo>
                  <a:lnTo>
                    <a:pt x="414" y="474"/>
                  </a:lnTo>
                  <a:lnTo>
                    <a:pt x="420" y="474"/>
                  </a:lnTo>
                  <a:lnTo>
                    <a:pt x="420" y="480"/>
                  </a:lnTo>
                  <a:lnTo>
                    <a:pt x="426" y="480"/>
                  </a:lnTo>
                  <a:lnTo>
                    <a:pt x="432" y="480"/>
                  </a:lnTo>
                  <a:lnTo>
                    <a:pt x="462" y="486"/>
                  </a:lnTo>
                  <a:lnTo>
                    <a:pt x="468" y="492"/>
                  </a:lnTo>
                  <a:lnTo>
                    <a:pt x="468" y="498"/>
                  </a:lnTo>
                  <a:lnTo>
                    <a:pt x="462" y="498"/>
                  </a:lnTo>
                  <a:lnTo>
                    <a:pt x="456" y="498"/>
                  </a:lnTo>
                  <a:lnTo>
                    <a:pt x="456" y="504"/>
                  </a:lnTo>
                  <a:lnTo>
                    <a:pt x="456" y="510"/>
                  </a:lnTo>
                  <a:lnTo>
                    <a:pt x="450" y="516"/>
                  </a:lnTo>
                  <a:lnTo>
                    <a:pt x="426" y="516"/>
                  </a:lnTo>
                  <a:lnTo>
                    <a:pt x="408" y="528"/>
                  </a:lnTo>
                  <a:lnTo>
                    <a:pt x="408" y="546"/>
                  </a:lnTo>
                  <a:lnTo>
                    <a:pt x="414" y="552"/>
                  </a:lnTo>
                  <a:lnTo>
                    <a:pt x="408" y="558"/>
                  </a:lnTo>
                  <a:lnTo>
                    <a:pt x="402" y="564"/>
                  </a:lnTo>
                  <a:lnTo>
                    <a:pt x="384" y="564"/>
                  </a:lnTo>
                  <a:lnTo>
                    <a:pt x="372" y="564"/>
                  </a:lnTo>
                  <a:lnTo>
                    <a:pt x="372" y="576"/>
                  </a:lnTo>
                  <a:lnTo>
                    <a:pt x="366" y="576"/>
                  </a:lnTo>
                  <a:lnTo>
                    <a:pt x="366" y="582"/>
                  </a:lnTo>
                  <a:lnTo>
                    <a:pt x="360" y="582"/>
                  </a:lnTo>
                  <a:lnTo>
                    <a:pt x="348" y="576"/>
                  </a:lnTo>
                  <a:lnTo>
                    <a:pt x="336" y="570"/>
                  </a:lnTo>
                  <a:lnTo>
                    <a:pt x="324" y="570"/>
                  </a:lnTo>
                  <a:lnTo>
                    <a:pt x="300" y="564"/>
                  </a:lnTo>
                  <a:lnTo>
                    <a:pt x="282" y="564"/>
                  </a:lnTo>
                  <a:lnTo>
                    <a:pt x="270" y="570"/>
                  </a:lnTo>
                  <a:lnTo>
                    <a:pt x="264" y="576"/>
                  </a:lnTo>
                  <a:lnTo>
                    <a:pt x="258" y="576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34" y="594"/>
                  </a:lnTo>
                  <a:lnTo>
                    <a:pt x="228" y="600"/>
                  </a:lnTo>
                  <a:lnTo>
                    <a:pt x="210" y="618"/>
                  </a:lnTo>
                  <a:lnTo>
                    <a:pt x="210" y="624"/>
                  </a:lnTo>
                  <a:lnTo>
                    <a:pt x="192" y="630"/>
                  </a:lnTo>
                  <a:lnTo>
                    <a:pt x="186" y="630"/>
                  </a:lnTo>
                  <a:lnTo>
                    <a:pt x="180" y="636"/>
                  </a:lnTo>
                  <a:lnTo>
                    <a:pt x="174" y="642"/>
                  </a:lnTo>
                  <a:lnTo>
                    <a:pt x="168" y="642"/>
                  </a:lnTo>
                  <a:lnTo>
                    <a:pt x="168" y="654"/>
                  </a:lnTo>
                  <a:lnTo>
                    <a:pt x="168" y="678"/>
                  </a:lnTo>
                  <a:lnTo>
                    <a:pt x="162" y="684"/>
                  </a:lnTo>
                  <a:lnTo>
                    <a:pt x="156" y="684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72"/>
                  </a:lnTo>
                  <a:lnTo>
                    <a:pt x="138" y="672"/>
                  </a:lnTo>
                  <a:lnTo>
                    <a:pt x="138" y="666"/>
                  </a:lnTo>
                  <a:lnTo>
                    <a:pt x="132" y="660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48"/>
                  </a:lnTo>
                  <a:lnTo>
                    <a:pt x="102" y="654"/>
                  </a:lnTo>
                  <a:lnTo>
                    <a:pt x="90" y="654"/>
                  </a:lnTo>
                  <a:lnTo>
                    <a:pt x="84" y="654"/>
                  </a:lnTo>
                  <a:lnTo>
                    <a:pt x="72" y="660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36" y="684"/>
                  </a:lnTo>
                  <a:lnTo>
                    <a:pt x="30" y="6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7" name="Freeform 22">
              <a:extLst>
                <a:ext uri="{FF2B5EF4-FFF2-40B4-BE49-F238E27FC236}">
                  <a16:creationId xmlns:a16="http://schemas.microsoft.com/office/drawing/2014/main" id="{2F7A477D-6CF8-44B3-8B32-64EE03DC4D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2895" y="3967106"/>
              <a:ext cx="610479" cy="507686"/>
            </a:xfrm>
            <a:custGeom>
              <a:avLst/>
              <a:gdLst>
                <a:gd name="T0" fmla="*/ 87 w 1146"/>
                <a:gd name="T1" fmla="*/ 56 h 954"/>
                <a:gd name="T2" fmla="*/ 83 w 1146"/>
                <a:gd name="T3" fmla="*/ 66 h 954"/>
                <a:gd name="T4" fmla="*/ 74 w 1146"/>
                <a:gd name="T5" fmla="*/ 69 h 954"/>
                <a:gd name="T6" fmla="*/ 67 w 1146"/>
                <a:gd name="T7" fmla="*/ 75 h 954"/>
                <a:gd name="T8" fmla="*/ 59 w 1146"/>
                <a:gd name="T9" fmla="*/ 78 h 954"/>
                <a:gd name="T10" fmla="*/ 52 w 1146"/>
                <a:gd name="T11" fmla="*/ 77 h 954"/>
                <a:gd name="T12" fmla="*/ 48 w 1146"/>
                <a:gd name="T13" fmla="*/ 79 h 954"/>
                <a:gd name="T14" fmla="*/ 41 w 1146"/>
                <a:gd name="T15" fmla="*/ 82 h 954"/>
                <a:gd name="T16" fmla="*/ 29 w 1146"/>
                <a:gd name="T17" fmla="*/ 78 h 954"/>
                <a:gd name="T18" fmla="*/ 28 w 1146"/>
                <a:gd name="T19" fmla="*/ 76 h 954"/>
                <a:gd name="T20" fmla="*/ 28 w 1146"/>
                <a:gd name="T21" fmla="*/ 72 h 954"/>
                <a:gd name="T22" fmla="*/ 28 w 1146"/>
                <a:gd name="T23" fmla="*/ 74 h 954"/>
                <a:gd name="T24" fmla="*/ 21 w 1146"/>
                <a:gd name="T25" fmla="*/ 74 h 954"/>
                <a:gd name="T26" fmla="*/ 20 w 1146"/>
                <a:gd name="T27" fmla="*/ 67 h 954"/>
                <a:gd name="T28" fmla="*/ 23 w 1146"/>
                <a:gd name="T29" fmla="*/ 64 h 954"/>
                <a:gd name="T30" fmla="*/ 28 w 1146"/>
                <a:gd name="T31" fmla="*/ 65 h 954"/>
                <a:gd name="T32" fmla="*/ 32 w 1146"/>
                <a:gd name="T33" fmla="*/ 62 h 954"/>
                <a:gd name="T34" fmla="*/ 31 w 1146"/>
                <a:gd name="T35" fmla="*/ 56 h 954"/>
                <a:gd name="T36" fmla="*/ 36 w 1146"/>
                <a:gd name="T37" fmla="*/ 54 h 954"/>
                <a:gd name="T38" fmla="*/ 38 w 1146"/>
                <a:gd name="T39" fmla="*/ 54 h 954"/>
                <a:gd name="T40" fmla="*/ 32 w 1146"/>
                <a:gd name="T41" fmla="*/ 54 h 954"/>
                <a:gd name="T42" fmla="*/ 29 w 1146"/>
                <a:gd name="T43" fmla="*/ 59 h 954"/>
                <a:gd name="T44" fmla="*/ 26 w 1146"/>
                <a:gd name="T45" fmla="*/ 59 h 954"/>
                <a:gd name="T46" fmla="*/ 25 w 1146"/>
                <a:gd name="T47" fmla="*/ 61 h 954"/>
                <a:gd name="T48" fmla="*/ 20 w 1146"/>
                <a:gd name="T49" fmla="*/ 61 h 954"/>
                <a:gd name="T50" fmla="*/ 11 w 1146"/>
                <a:gd name="T51" fmla="*/ 54 h 954"/>
                <a:gd name="T52" fmla="*/ 14 w 1146"/>
                <a:gd name="T53" fmla="*/ 50 h 954"/>
                <a:gd name="T54" fmla="*/ 21 w 1146"/>
                <a:gd name="T55" fmla="*/ 51 h 954"/>
                <a:gd name="T56" fmla="*/ 24 w 1146"/>
                <a:gd name="T57" fmla="*/ 50 h 954"/>
                <a:gd name="T58" fmla="*/ 28 w 1146"/>
                <a:gd name="T59" fmla="*/ 48 h 954"/>
                <a:gd name="T60" fmla="*/ 30 w 1146"/>
                <a:gd name="T61" fmla="*/ 49 h 954"/>
                <a:gd name="T62" fmla="*/ 26 w 1146"/>
                <a:gd name="T63" fmla="*/ 47 h 954"/>
                <a:gd name="T64" fmla="*/ 20 w 1146"/>
                <a:gd name="T65" fmla="*/ 50 h 954"/>
                <a:gd name="T66" fmla="*/ 20 w 1146"/>
                <a:gd name="T67" fmla="*/ 44 h 954"/>
                <a:gd name="T68" fmla="*/ 19 w 1146"/>
                <a:gd name="T69" fmla="*/ 46 h 954"/>
                <a:gd name="T70" fmla="*/ 15 w 1146"/>
                <a:gd name="T71" fmla="*/ 49 h 954"/>
                <a:gd name="T72" fmla="*/ 8 w 1146"/>
                <a:gd name="T73" fmla="*/ 48 h 954"/>
                <a:gd name="T74" fmla="*/ 6 w 1146"/>
                <a:gd name="T75" fmla="*/ 41 h 954"/>
                <a:gd name="T76" fmla="*/ 10 w 1146"/>
                <a:gd name="T77" fmla="*/ 41 h 954"/>
                <a:gd name="T78" fmla="*/ 9 w 1146"/>
                <a:gd name="T79" fmla="*/ 39 h 954"/>
                <a:gd name="T80" fmla="*/ 14 w 1146"/>
                <a:gd name="T81" fmla="*/ 35 h 954"/>
                <a:gd name="T82" fmla="*/ 19 w 1146"/>
                <a:gd name="T83" fmla="*/ 32 h 954"/>
                <a:gd name="T84" fmla="*/ 20 w 1146"/>
                <a:gd name="T85" fmla="*/ 29 h 954"/>
                <a:gd name="T86" fmla="*/ 27 w 1146"/>
                <a:gd name="T87" fmla="*/ 27 h 954"/>
                <a:gd name="T88" fmla="*/ 33 w 1146"/>
                <a:gd name="T89" fmla="*/ 28 h 954"/>
                <a:gd name="T90" fmla="*/ 44 w 1146"/>
                <a:gd name="T91" fmla="*/ 27 h 954"/>
                <a:gd name="T92" fmla="*/ 52 w 1146"/>
                <a:gd name="T93" fmla="*/ 41 h 954"/>
                <a:gd name="T94" fmla="*/ 61 w 1146"/>
                <a:gd name="T95" fmla="*/ 40 h 954"/>
                <a:gd name="T96" fmla="*/ 69 w 1146"/>
                <a:gd name="T97" fmla="*/ 34 h 954"/>
                <a:gd name="T98" fmla="*/ 62 w 1146"/>
                <a:gd name="T99" fmla="*/ 12 h 954"/>
                <a:gd name="T100" fmla="*/ 74 w 1146"/>
                <a:gd name="T101" fmla="*/ 8 h 954"/>
                <a:gd name="T102" fmla="*/ 87 w 1146"/>
                <a:gd name="T103" fmla="*/ 1 h 954"/>
                <a:gd name="T104" fmla="*/ 99 w 1146"/>
                <a:gd name="T105" fmla="*/ 12 h 954"/>
                <a:gd name="T106" fmla="*/ 98 w 1146"/>
                <a:gd name="T107" fmla="*/ 27 h 954"/>
                <a:gd name="T108" fmla="*/ 16 w 1146"/>
                <a:gd name="T109" fmla="*/ 33 h 954"/>
                <a:gd name="T110" fmla="*/ 11 w 1146"/>
                <a:gd name="T111" fmla="*/ 36 h 954"/>
                <a:gd name="T112" fmla="*/ 5 w 1146"/>
                <a:gd name="T113" fmla="*/ 41 h 954"/>
                <a:gd name="T114" fmla="*/ 2 w 1146"/>
                <a:gd name="T115" fmla="*/ 36 h 954"/>
                <a:gd name="T116" fmla="*/ 5 w 1146"/>
                <a:gd name="T117" fmla="*/ 26 h 954"/>
                <a:gd name="T118" fmla="*/ 10 w 1146"/>
                <a:gd name="T119" fmla="*/ 20 h 954"/>
                <a:gd name="T120" fmla="*/ 13 w 1146"/>
                <a:gd name="T121" fmla="*/ 20 h 954"/>
                <a:gd name="T122" fmla="*/ 15 w 1146"/>
                <a:gd name="T123" fmla="*/ 27 h 95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46"/>
                <a:gd name="T187" fmla="*/ 0 h 954"/>
                <a:gd name="T188" fmla="*/ 1146 w 1146"/>
                <a:gd name="T189" fmla="*/ 954 h 95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46" h="954">
                  <a:moveTo>
                    <a:pt x="1056" y="498"/>
                  </a:moveTo>
                  <a:lnTo>
                    <a:pt x="1044" y="510"/>
                  </a:lnTo>
                  <a:lnTo>
                    <a:pt x="1032" y="516"/>
                  </a:lnTo>
                  <a:lnTo>
                    <a:pt x="1038" y="528"/>
                  </a:lnTo>
                  <a:lnTo>
                    <a:pt x="1050" y="540"/>
                  </a:lnTo>
                  <a:lnTo>
                    <a:pt x="1050" y="546"/>
                  </a:lnTo>
                  <a:lnTo>
                    <a:pt x="1050" y="564"/>
                  </a:lnTo>
                  <a:lnTo>
                    <a:pt x="1038" y="576"/>
                  </a:lnTo>
                  <a:lnTo>
                    <a:pt x="1032" y="588"/>
                  </a:lnTo>
                  <a:lnTo>
                    <a:pt x="1020" y="594"/>
                  </a:lnTo>
                  <a:lnTo>
                    <a:pt x="1008" y="594"/>
                  </a:lnTo>
                  <a:lnTo>
                    <a:pt x="1002" y="600"/>
                  </a:lnTo>
                  <a:lnTo>
                    <a:pt x="996" y="612"/>
                  </a:lnTo>
                  <a:lnTo>
                    <a:pt x="996" y="624"/>
                  </a:lnTo>
                  <a:lnTo>
                    <a:pt x="996" y="648"/>
                  </a:lnTo>
                  <a:lnTo>
                    <a:pt x="996" y="660"/>
                  </a:lnTo>
                  <a:lnTo>
                    <a:pt x="1002" y="672"/>
                  </a:lnTo>
                  <a:lnTo>
                    <a:pt x="1002" y="684"/>
                  </a:lnTo>
                  <a:lnTo>
                    <a:pt x="996" y="684"/>
                  </a:lnTo>
                  <a:lnTo>
                    <a:pt x="984" y="690"/>
                  </a:lnTo>
                  <a:lnTo>
                    <a:pt x="972" y="690"/>
                  </a:lnTo>
                  <a:lnTo>
                    <a:pt x="966" y="696"/>
                  </a:lnTo>
                  <a:lnTo>
                    <a:pt x="966" y="702"/>
                  </a:lnTo>
                  <a:lnTo>
                    <a:pt x="966" y="714"/>
                  </a:lnTo>
                  <a:lnTo>
                    <a:pt x="972" y="726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2" y="756"/>
                  </a:lnTo>
                  <a:lnTo>
                    <a:pt x="966" y="756"/>
                  </a:lnTo>
                  <a:lnTo>
                    <a:pt x="942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18" y="768"/>
                  </a:lnTo>
                  <a:lnTo>
                    <a:pt x="906" y="768"/>
                  </a:lnTo>
                  <a:lnTo>
                    <a:pt x="894" y="762"/>
                  </a:lnTo>
                  <a:lnTo>
                    <a:pt x="882" y="756"/>
                  </a:lnTo>
                  <a:lnTo>
                    <a:pt x="876" y="756"/>
                  </a:lnTo>
                  <a:lnTo>
                    <a:pt x="876" y="762"/>
                  </a:lnTo>
                  <a:lnTo>
                    <a:pt x="864" y="768"/>
                  </a:lnTo>
                  <a:lnTo>
                    <a:pt x="858" y="774"/>
                  </a:lnTo>
                  <a:lnTo>
                    <a:pt x="852" y="774"/>
                  </a:lnTo>
                  <a:lnTo>
                    <a:pt x="840" y="780"/>
                  </a:lnTo>
                  <a:lnTo>
                    <a:pt x="840" y="786"/>
                  </a:lnTo>
                  <a:lnTo>
                    <a:pt x="840" y="792"/>
                  </a:lnTo>
                  <a:lnTo>
                    <a:pt x="840" y="804"/>
                  </a:lnTo>
                  <a:lnTo>
                    <a:pt x="840" y="810"/>
                  </a:lnTo>
                  <a:lnTo>
                    <a:pt x="828" y="816"/>
                  </a:lnTo>
                  <a:lnTo>
                    <a:pt x="810" y="810"/>
                  </a:lnTo>
                  <a:lnTo>
                    <a:pt x="792" y="810"/>
                  </a:lnTo>
                  <a:lnTo>
                    <a:pt x="786" y="816"/>
                  </a:lnTo>
                  <a:lnTo>
                    <a:pt x="780" y="816"/>
                  </a:lnTo>
                  <a:lnTo>
                    <a:pt x="780" y="822"/>
                  </a:lnTo>
                  <a:lnTo>
                    <a:pt x="780" y="828"/>
                  </a:lnTo>
                  <a:lnTo>
                    <a:pt x="780" y="834"/>
                  </a:lnTo>
                  <a:lnTo>
                    <a:pt x="786" y="840"/>
                  </a:lnTo>
                  <a:lnTo>
                    <a:pt x="786" y="846"/>
                  </a:lnTo>
                  <a:lnTo>
                    <a:pt x="786" y="852"/>
                  </a:lnTo>
                  <a:lnTo>
                    <a:pt x="780" y="858"/>
                  </a:lnTo>
                  <a:lnTo>
                    <a:pt x="768" y="858"/>
                  </a:lnTo>
                  <a:lnTo>
                    <a:pt x="762" y="864"/>
                  </a:lnTo>
                  <a:lnTo>
                    <a:pt x="756" y="864"/>
                  </a:lnTo>
                  <a:lnTo>
                    <a:pt x="750" y="870"/>
                  </a:lnTo>
                  <a:lnTo>
                    <a:pt x="744" y="876"/>
                  </a:lnTo>
                  <a:lnTo>
                    <a:pt x="732" y="876"/>
                  </a:lnTo>
                  <a:lnTo>
                    <a:pt x="726" y="876"/>
                  </a:lnTo>
                  <a:lnTo>
                    <a:pt x="720" y="870"/>
                  </a:lnTo>
                  <a:lnTo>
                    <a:pt x="714" y="864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6" y="876"/>
                  </a:lnTo>
                  <a:lnTo>
                    <a:pt x="696" y="882"/>
                  </a:lnTo>
                  <a:lnTo>
                    <a:pt x="696" y="894"/>
                  </a:lnTo>
                  <a:lnTo>
                    <a:pt x="690" y="900"/>
                  </a:lnTo>
                  <a:lnTo>
                    <a:pt x="684" y="900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54" y="888"/>
                  </a:lnTo>
                  <a:lnTo>
                    <a:pt x="654" y="882"/>
                  </a:lnTo>
                  <a:lnTo>
                    <a:pt x="642" y="876"/>
                  </a:lnTo>
                  <a:lnTo>
                    <a:pt x="636" y="876"/>
                  </a:lnTo>
                  <a:lnTo>
                    <a:pt x="630" y="876"/>
                  </a:lnTo>
                  <a:lnTo>
                    <a:pt x="630" y="870"/>
                  </a:lnTo>
                  <a:lnTo>
                    <a:pt x="618" y="858"/>
                  </a:lnTo>
                  <a:lnTo>
                    <a:pt x="612" y="858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06" y="876"/>
                  </a:lnTo>
                  <a:lnTo>
                    <a:pt x="606" y="882"/>
                  </a:lnTo>
                  <a:lnTo>
                    <a:pt x="606" y="888"/>
                  </a:lnTo>
                  <a:lnTo>
                    <a:pt x="600" y="894"/>
                  </a:lnTo>
                  <a:lnTo>
                    <a:pt x="594" y="894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76" y="894"/>
                  </a:lnTo>
                  <a:lnTo>
                    <a:pt x="582" y="900"/>
                  </a:lnTo>
                  <a:lnTo>
                    <a:pt x="576" y="906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64" y="918"/>
                  </a:lnTo>
                  <a:lnTo>
                    <a:pt x="558" y="918"/>
                  </a:lnTo>
                  <a:lnTo>
                    <a:pt x="558" y="912"/>
                  </a:lnTo>
                  <a:lnTo>
                    <a:pt x="552" y="906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06"/>
                  </a:lnTo>
                  <a:lnTo>
                    <a:pt x="534" y="906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0" y="924"/>
                  </a:lnTo>
                  <a:lnTo>
                    <a:pt x="504" y="924"/>
                  </a:lnTo>
                  <a:lnTo>
                    <a:pt x="498" y="930"/>
                  </a:lnTo>
                  <a:lnTo>
                    <a:pt x="492" y="924"/>
                  </a:lnTo>
                  <a:lnTo>
                    <a:pt x="486" y="930"/>
                  </a:lnTo>
                  <a:lnTo>
                    <a:pt x="480" y="942"/>
                  </a:lnTo>
                  <a:lnTo>
                    <a:pt x="468" y="948"/>
                  </a:lnTo>
                  <a:lnTo>
                    <a:pt x="444" y="942"/>
                  </a:lnTo>
                  <a:lnTo>
                    <a:pt x="438" y="954"/>
                  </a:lnTo>
                  <a:lnTo>
                    <a:pt x="426" y="954"/>
                  </a:lnTo>
                  <a:lnTo>
                    <a:pt x="420" y="948"/>
                  </a:lnTo>
                  <a:lnTo>
                    <a:pt x="408" y="936"/>
                  </a:lnTo>
                  <a:lnTo>
                    <a:pt x="396" y="936"/>
                  </a:lnTo>
                  <a:lnTo>
                    <a:pt x="390" y="930"/>
                  </a:lnTo>
                  <a:lnTo>
                    <a:pt x="390" y="924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66" y="924"/>
                  </a:lnTo>
                  <a:lnTo>
                    <a:pt x="360" y="924"/>
                  </a:lnTo>
                  <a:lnTo>
                    <a:pt x="348" y="918"/>
                  </a:lnTo>
                  <a:lnTo>
                    <a:pt x="342" y="906"/>
                  </a:lnTo>
                  <a:lnTo>
                    <a:pt x="336" y="906"/>
                  </a:lnTo>
                  <a:lnTo>
                    <a:pt x="330" y="906"/>
                  </a:lnTo>
                  <a:lnTo>
                    <a:pt x="312" y="906"/>
                  </a:lnTo>
                  <a:lnTo>
                    <a:pt x="312" y="900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888"/>
                  </a:lnTo>
                  <a:lnTo>
                    <a:pt x="312" y="882"/>
                  </a:lnTo>
                  <a:lnTo>
                    <a:pt x="306" y="876"/>
                  </a:lnTo>
                  <a:lnTo>
                    <a:pt x="312" y="876"/>
                  </a:lnTo>
                  <a:lnTo>
                    <a:pt x="312" y="870"/>
                  </a:lnTo>
                  <a:lnTo>
                    <a:pt x="318" y="876"/>
                  </a:lnTo>
                  <a:lnTo>
                    <a:pt x="318" y="870"/>
                  </a:lnTo>
                  <a:lnTo>
                    <a:pt x="324" y="876"/>
                  </a:lnTo>
                  <a:lnTo>
                    <a:pt x="330" y="876"/>
                  </a:lnTo>
                  <a:lnTo>
                    <a:pt x="336" y="876"/>
                  </a:lnTo>
                  <a:lnTo>
                    <a:pt x="342" y="876"/>
                  </a:lnTo>
                  <a:lnTo>
                    <a:pt x="336" y="876"/>
                  </a:lnTo>
                  <a:lnTo>
                    <a:pt x="330" y="870"/>
                  </a:lnTo>
                  <a:lnTo>
                    <a:pt x="324" y="870"/>
                  </a:lnTo>
                  <a:lnTo>
                    <a:pt x="318" y="870"/>
                  </a:lnTo>
                  <a:lnTo>
                    <a:pt x="312" y="870"/>
                  </a:lnTo>
                  <a:lnTo>
                    <a:pt x="318" y="864"/>
                  </a:lnTo>
                  <a:lnTo>
                    <a:pt x="318" y="858"/>
                  </a:lnTo>
                  <a:lnTo>
                    <a:pt x="318" y="852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6" y="846"/>
                  </a:lnTo>
                  <a:lnTo>
                    <a:pt x="312" y="828"/>
                  </a:lnTo>
                  <a:lnTo>
                    <a:pt x="312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06" y="816"/>
                  </a:lnTo>
                  <a:lnTo>
                    <a:pt x="306" y="810"/>
                  </a:lnTo>
                  <a:lnTo>
                    <a:pt x="306" y="816"/>
                  </a:lnTo>
                  <a:lnTo>
                    <a:pt x="312" y="822"/>
                  </a:lnTo>
                  <a:lnTo>
                    <a:pt x="306" y="822"/>
                  </a:lnTo>
                  <a:lnTo>
                    <a:pt x="306" y="828"/>
                  </a:lnTo>
                  <a:lnTo>
                    <a:pt x="306" y="834"/>
                  </a:lnTo>
                  <a:lnTo>
                    <a:pt x="300" y="840"/>
                  </a:lnTo>
                  <a:lnTo>
                    <a:pt x="300" y="846"/>
                  </a:lnTo>
                  <a:lnTo>
                    <a:pt x="306" y="852"/>
                  </a:lnTo>
                  <a:lnTo>
                    <a:pt x="306" y="858"/>
                  </a:lnTo>
                  <a:lnTo>
                    <a:pt x="312" y="858"/>
                  </a:lnTo>
                  <a:lnTo>
                    <a:pt x="312" y="864"/>
                  </a:lnTo>
                  <a:lnTo>
                    <a:pt x="306" y="864"/>
                  </a:lnTo>
                  <a:lnTo>
                    <a:pt x="300" y="864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82" y="870"/>
                  </a:lnTo>
                  <a:lnTo>
                    <a:pt x="276" y="870"/>
                  </a:lnTo>
                  <a:lnTo>
                    <a:pt x="270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8" y="870"/>
                  </a:lnTo>
                  <a:lnTo>
                    <a:pt x="252" y="870"/>
                  </a:lnTo>
                  <a:lnTo>
                    <a:pt x="252" y="864"/>
                  </a:lnTo>
                  <a:lnTo>
                    <a:pt x="246" y="858"/>
                  </a:lnTo>
                  <a:lnTo>
                    <a:pt x="246" y="852"/>
                  </a:lnTo>
                  <a:lnTo>
                    <a:pt x="246" y="846"/>
                  </a:lnTo>
                  <a:lnTo>
                    <a:pt x="246" y="840"/>
                  </a:lnTo>
                  <a:lnTo>
                    <a:pt x="246" y="834"/>
                  </a:lnTo>
                  <a:lnTo>
                    <a:pt x="246" y="828"/>
                  </a:lnTo>
                  <a:lnTo>
                    <a:pt x="246" y="822"/>
                  </a:lnTo>
                  <a:lnTo>
                    <a:pt x="240" y="816"/>
                  </a:lnTo>
                  <a:lnTo>
                    <a:pt x="240" y="810"/>
                  </a:lnTo>
                  <a:lnTo>
                    <a:pt x="240" y="804"/>
                  </a:lnTo>
                  <a:lnTo>
                    <a:pt x="240" y="798"/>
                  </a:lnTo>
                  <a:lnTo>
                    <a:pt x="234" y="798"/>
                  </a:lnTo>
                  <a:lnTo>
                    <a:pt x="234" y="792"/>
                  </a:lnTo>
                  <a:lnTo>
                    <a:pt x="234" y="786"/>
                  </a:lnTo>
                  <a:lnTo>
                    <a:pt x="234" y="780"/>
                  </a:lnTo>
                  <a:lnTo>
                    <a:pt x="228" y="780"/>
                  </a:lnTo>
                  <a:lnTo>
                    <a:pt x="228" y="774"/>
                  </a:lnTo>
                  <a:lnTo>
                    <a:pt x="228" y="768"/>
                  </a:lnTo>
                  <a:lnTo>
                    <a:pt x="222" y="762"/>
                  </a:lnTo>
                  <a:lnTo>
                    <a:pt x="222" y="756"/>
                  </a:lnTo>
                  <a:lnTo>
                    <a:pt x="222" y="750"/>
                  </a:lnTo>
                  <a:lnTo>
                    <a:pt x="222" y="744"/>
                  </a:lnTo>
                  <a:lnTo>
                    <a:pt x="222" y="738"/>
                  </a:lnTo>
                  <a:lnTo>
                    <a:pt x="216" y="732"/>
                  </a:lnTo>
                  <a:lnTo>
                    <a:pt x="222" y="732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32"/>
                  </a:lnTo>
                  <a:lnTo>
                    <a:pt x="246" y="732"/>
                  </a:lnTo>
                  <a:lnTo>
                    <a:pt x="246" y="738"/>
                  </a:lnTo>
                  <a:lnTo>
                    <a:pt x="252" y="738"/>
                  </a:lnTo>
                  <a:lnTo>
                    <a:pt x="258" y="738"/>
                  </a:lnTo>
                  <a:lnTo>
                    <a:pt x="258" y="732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8" y="732"/>
                  </a:lnTo>
                  <a:lnTo>
                    <a:pt x="294" y="732"/>
                  </a:lnTo>
                  <a:lnTo>
                    <a:pt x="300" y="732"/>
                  </a:lnTo>
                  <a:lnTo>
                    <a:pt x="300" y="738"/>
                  </a:lnTo>
                  <a:lnTo>
                    <a:pt x="306" y="738"/>
                  </a:lnTo>
                  <a:lnTo>
                    <a:pt x="306" y="744"/>
                  </a:lnTo>
                  <a:lnTo>
                    <a:pt x="306" y="750"/>
                  </a:lnTo>
                  <a:lnTo>
                    <a:pt x="312" y="750"/>
                  </a:lnTo>
                  <a:lnTo>
                    <a:pt x="312" y="756"/>
                  </a:lnTo>
                  <a:lnTo>
                    <a:pt x="318" y="756"/>
                  </a:lnTo>
                  <a:lnTo>
                    <a:pt x="318" y="750"/>
                  </a:lnTo>
                  <a:lnTo>
                    <a:pt x="312" y="750"/>
                  </a:lnTo>
                  <a:lnTo>
                    <a:pt x="312" y="744"/>
                  </a:lnTo>
                  <a:lnTo>
                    <a:pt x="318" y="738"/>
                  </a:lnTo>
                  <a:lnTo>
                    <a:pt x="324" y="738"/>
                  </a:lnTo>
                  <a:lnTo>
                    <a:pt x="330" y="738"/>
                  </a:lnTo>
                  <a:lnTo>
                    <a:pt x="336" y="738"/>
                  </a:lnTo>
                  <a:lnTo>
                    <a:pt x="342" y="738"/>
                  </a:lnTo>
                  <a:lnTo>
                    <a:pt x="348" y="732"/>
                  </a:lnTo>
                  <a:lnTo>
                    <a:pt x="354" y="732"/>
                  </a:lnTo>
                  <a:lnTo>
                    <a:pt x="360" y="732"/>
                  </a:lnTo>
                  <a:lnTo>
                    <a:pt x="360" y="726"/>
                  </a:lnTo>
                  <a:lnTo>
                    <a:pt x="366" y="726"/>
                  </a:lnTo>
                  <a:lnTo>
                    <a:pt x="366" y="720"/>
                  </a:lnTo>
                  <a:lnTo>
                    <a:pt x="366" y="714"/>
                  </a:lnTo>
                  <a:lnTo>
                    <a:pt x="360" y="708"/>
                  </a:lnTo>
                  <a:lnTo>
                    <a:pt x="354" y="708"/>
                  </a:lnTo>
                  <a:lnTo>
                    <a:pt x="348" y="702"/>
                  </a:lnTo>
                  <a:lnTo>
                    <a:pt x="354" y="702"/>
                  </a:lnTo>
                  <a:lnTo>
                    <a:pt x="354" y="696"/>
                  </a:lnTo>
                  <a:lnTo>
                    <a:pt x="348" y="696"/>
                  </a:lnTo>
                  <a:lnTo>
                    <a:pt x="348" y="690"/>
                  </a:lnTo>
                  <a:lnTo>
                    <a:pt x="342" y="690"/>
                  </a:lnTo>
                  <a:lnTo>
                    <a:pt x="342" y="684"/>
                  </a:lnTo>
                  <a:lnTo>
                    <a:pt x="342" y="678"/>
                  </a:lnTo>
                  <a:lnTo>
                    <a:pt x="342" y="666"/>
                  </a:lnTo>
                  <a:lnTo>
                    <a:pt x="342" y="660"/>
                  </a:lnTo>
                  <a:lnTo>
                    <a:pt x="348" y="654"/>
                  </a:lnTo>
                  <a:lnTo>
                    <a:pt x="348" y="642"/>
                  </a:lnTo>
                  <a:lnTo>
                    <a:pt x="354" y="642"/>
                  </a:lnTo>
                  <a:lnTo>
                    <a:pt x="360" y="642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66" y="642"/>
                  </a:lnTo>
                  <a:lnTo>
                    <a:pt x="372" y="642"/>
                  </a:lnTo>
                  <a:lnTo>
                    <a:pt x="378" y="642"/>
                  </a:lnTo>
                  <a:lnTo>
                    <a:pt x="384" y="642"/>
                  </a:lnTo>
                  <a:lnTo>
                    <a:pt x="390" y="642"/>
                  </a:lnTo>
                  <a:lnTo>
                    <a:pt x="396" y="642"/>
                  </a:lnTo>
                  <a:lnTo>
                    <a:pt x="396" y="636"/>
                  </a:lnTo>
                  <a:lnTo>
                    <a:pt x="402" y="636"/>
                  </a:lnTo>
                  <a:lnTo>
                    <a:pt x="408" y="636"/>
                  </a:lnTo>
                  <a:lnTo>
                    <a:pt x="402" y="636"/>
                  </a:lnTo>
                  <a:lnTo>
                    <a:pt x="402" y="630"/>
                  </a:lnTo>
                  <a:lnTo>
                    <a:pt x="408" y="630"/>
                  </a:lnTo>
                  <a:lnTo>
                    <a:pt x="408" y="624"/>
                  </a:lnTo>
                  <a:lnTo>
                    <a:pt x="408" y="618"/>
                  </a:lnTo>
                  <a:lnTo>
                    <a:pt x="414" y="618"/>
                  </a:lnTo>
                  <a:lnTo>
                    <a:pt x="420" y="618"/>
                  </a:lnTo>
                  <a:lnTo>
                    <a:pt x="426" y="624"/>
                  </a:lnTo>
                  <a:lnTo>
                    <a:pt x="432" y="624"/>
                  </a:lnTo>
                  <a:lnTo>
                    <a:pt x="438" y="624"/>
                  </a:lnTo>
                  <a:lnTo>
                    <a:pt x="438" y="618"/>
                  </a:lnTo>
                  <a:lnTo>
                    <a:pt x="444" y="618"/>
                  </a:lnTo>
                  <a:lnTo>
                    <a:pt x="450" y="618"/>
                  </a:lnTo>
                  <a:lnTo>
                    <a:pt x="444" y="618"/>
                  </a:lnTo>
                  <a:lnTo>
                    <a:pt x="438" y="618"/>
                  </a:lnTo>
                  <a:lnTo>
                    <a:pt x="438" y="612"/>
                  </a:lnTo>
                  <a:lnTo>
                    <a:pt x="438" y="618"/>
                  </a:lnTo>
                  <a:lnTo>
                    <a:pt x="432" y="624"/>
                  </a:lnTo>
                  <a:lnTo>
                    <a:pt x="426" y="618"/>
                  </a:lnTo>
                  <a:lnTo>
                    <a:pt x="420" y="612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402" y="624"/>
                  </a:lnTo>
                  <a:lnTo>
                    <a:pt x="396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78" y="630"/>
                  </a:lnTo>
                  <a:lnTo>
                    <a:pt x="378" y="636"/>
                  </a:lnTo>
                  <a:lnTo>
                    <a:pt x="372" y="630"/>
                  </a:lnTo>
                  <a:lnTo>
                    <a:pt x="366" y="630"/>
                  </a:lnTo>
                  <a:lnTo>
                    <a:pt x="360" y="630"/>
                  </a:lnTo>
                  <a:lnTo>
                    <a:pt x="354" y="630"/>
                  </a:lnTo>
                  <a:lnTo>
                    <a:pt x="354" y="636"/>
                  </a:lnTo>
                  <a:lnTo>
                    <a:pt x="348" y="636"/>
                  </a:lnTo>
                  <a:lnTo>
                    <a:pt x="348" y="642"/>
                  </a:lnTo>
                  <a:lnTo>
                    <a:pt x="342" y="642"/>
                  </a:lnTo>
                  <a:lnTo>
                    <a:pt x="342" y="648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6" y="660"/>
                  </a:lnTo>
                  <a:lnTo>
                    <a:pt x="336" y="666"/>
                  </a:lnTo>
                  <a:lnTo>
                    <a:pt x="330" y="672"/>
                  </a:lnTo>
                  <a:lnTo>
                    <a:pt x="330" y="678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24" y="696"/>
                  </a:lnTo>
                  <a:lnTo>
                    <a:pt x="324" y="702"/>
                  </a:lnTo>
                  <a:lnTo>
                    <a:pt x="318" y="702"/>
                  </a:lnTo>
                  <a:lnTo>
                    <a:pt x="318" y="708"/>
                  </a:lnTo>
                  <a:lnTo>
                    <a:pt x="312" y="708"/>
                  </a:lnTo>
                  <a:lnTo>
                    <a:pt x="312" y="702"/>
                  </a:lnTo>
                  <a:lnTo>
                    <a:pt x="306" y="702"/>
                  </a:lnTo>
                  <a:lnTo>
                    <a:pt x="300" y="702"/>
                  </a:lnTo>
                  <a:lnTo>
                    <a:pt x="294" y="696"/>
                  </a:lnTo>
                  <a:lnTo>
                    <a:pt x="288" y="696"/>
                  </a:lnTo>
                  <a:lnTo>
                    <a:pt x="282" y="690"/>
                  </a:lnTo>
                  <a:lnTo>
                    <a:pt x="288" y="684"/>
                  </a:lnTo>
                  <a:lnTo>
                    <a:pt x="294" y="684"/>
                  </a:lnTo>
                  <a:lnTo>
                    <a:pt x="294" y="678"/>
                  </a:lnTo>
                  <a:lnTo>
                    <a:pt x="300" y="678"/>
                  </a:lnTo>
                  <a:lnTo>
                    <a:pt x="294" y="678"/>
                  </a:lnTo>
                  <a:lnTo>
                    <a:pt x="294" y="672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94" y="672"/>
                  </a:lnTo>
                  <a:lnTo>
                    <a:pt x="288" y="678"/>
                  </a:lnTo>
                  <a:lnTo>
                    <a:pt x="282" y="684"/>
                  </a:lnTo>
                  <a:lnTo>
                    <a:pt x="282" y="678"/>
                  </a:lnTo>
                  <a:lnTo>
                    <a:pt x="276" y="678"/>
                  </a:lnTo>
                  <a:lnTo>
                    <a:pt x="282" y="684"/>
                  </a:lnTo>
                  <a:lnTo>
                    <a:pt x="282" y="690"/>
                  </a:lnTo>
                  <a:lnTo>
                    <a:pt x="282" y="696"/>
                  </a:lnTo>
                  <a:lnTo>
                    <a:pt x="288" y="702"/>
                  </a:lnTo>
                  <a:lnTo>
                    <a:pt x="294" y="708"/>
                  </a:lnTo>
                  <a:lnTo>
                    <a:pt x="294" y="714"/>
                  </a:lnTo>
                  <a:lnTo>
                    <a:pt x="288" y="714"/>
                  </a:lnTo>
                  <a:lnTo>
                    <a:pt x="282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64" y="714"/>
                  </a:lnTo>
                  <a:lnTo>
                    <a:pt x="258" y="714"/>
                  </a:lnTo>
                  <a:lnTo>
                    <a:pt x="252" y="714"/>
                  </a:lnTo>
                  <a:lnTo>
                    <a:pt x="246" y="714"/>
                  </a:lnTo>
                  <a:lnTo>
                    <a:pt x="240" y="714"/>
                  </a:lnTo>
                  <a:lnTo>
                    <a:pt x="240" y="708"/>
                  </a:lnTo>
                  <a:lnTo>
                    <a:pt x="234" y="708"/>
                  </a:lnTo>
                  <a:lnTo>
                    <a:pt x="228" y="708"/>
                  </a:lnTo>
                  <a:lnTo>
                    <a:pt x="222" y="702"/>
                  </a:lnTo>
                  <a:lnTo>
                    <a:pt x="216" y="702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2" y="690"/>
                  </a:lnTo>
                  <a:lnTo>
                    <a:pt x="186" y="690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68" y="684"/>
                  </a:lnTo>
                  <a:lnTo>
                    <a:pt x="168" y="678"/>
                  </a:lnTo>
                  <a:lnTo>
                    <a:pt x="156" y="672"/>
                  </a:lnTo>
                  <a:lnTo>
                    <a:pt x="150" y="660"/>
                  </a:lnTo>
                  <a:lnTo>
                    <a:pt x="126" y="630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12"/>
                  </a:lnTo>
                  <a:lnTo>
                    <a:pt x="126" y="606"/>
                  </a:lnTo>
                  <a:lnTo>
                    <a:pt x="126" y="600"/>
                  </a:lnTo>
                  <a:lnTo>
                    <a:pt x="132" y="594"/>
                  </a:lnTo>
                  <a:lnTo>
                    <a:pt x="138" y="594"/>
                  </a:lnTo>
                  <a:lnTo>
                    <a:pt x="144" y="588"/>
                  </a:lnTo>
                  <a:lnTo>
                    <a:pt x="144" y="582"/>
                  </a:lnTo>
                  <a:lnTo>
                    <a:pt x="150" y="582"/>
                  </a:lnTo>
                  <a:lnTo>
                    <a:pt x="150" y="576"/>
                  </a:lnTo>
                  <a:lnTo>
                    <a:pt x="156" y="576"/>
                  </a:lnTo>
                  <a:lnTo>
                    <a:pt x="156" y="582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8" y="576"/>
                  </a:lnTo>
                  <a:lnTo>
                    <a:pt x="174" y="576"/>
                  </a:lnTo>
                  <a:lnTo>
                    <a:pt x="180" y="582"/>
                  </a:lnTo>
                  <a:lnTo>
                    <a:pt x="192" y="582"/>
                  </a:lnTo>
                  <a:lnTo>
                    <a:pt x="198" y="582"/>
                  </a:lnTo>
                  <a:lnTo>
                    <a:pt x="204" y="582"/>
                  </a:lnTo>
                  <a:lnTo>
                    <a:pt x="210" y="582"/>
                  </a:lnTo>
                  <a:lnTo>
                    <a:pt x="216" y="588"/>
                  </a:lnTo>
                  <a:lnTo>
                    <a:pt x="222" y="588"/>
                  </a:lnTo>
                  <a:lnTo>
                    <a:pt x="234" y="588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46" y="594"/>
                  </a:lnTo>
                  <a:lnTo>
                    <a:pt x="252" y="588"/>
                  </a:lnTo>
                  <a:lnTo>
                    <a:pt x="258" y="588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52" y="600"/>
                  </a:lnTo>
                  <a:lnTo>
                    <a:pt x="246" y="600"/>
                  </a:lnTo>
                  <a:lnTo>
                    <a:pt x="246" y="606"/>
                  </a:lnTo>
                  <a:lnTo>
                    <a:pt x="246" y="600"/>
                  </a:lnTo>
                  <a:lnTo>
                    <a:pt x="252" y="600"/>
                  </a:lnTo>
                  <a:lnTo>
                    <a:pt x="258" y="594"/>
                  </a:lnTo>
                  <a:lnTo>
                    <a:pt x="264" y="594"/>
                  </a:lnTo>
                  <a:lnTo>
                    <a:pt x="264" y="588"/>
                  </a:lnTo>
                  <a:lnTo>
                    <a:pt x="270" y="588"/>
                  </a:lnTo>
                  <a:lnTo>
                    <a:pt x="270" y="582"/>
                  </a:lnTo>
                  <a:lnTo>
                    <a:pt x="270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76" y="564"/>
                  </a:lnTo>
                  <a:lnTo>
                    <a:pt x="270" y="558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58"/>
                  </a:lnTo>
                  <a:lnTo>
                    <a:pt x="282" y="558"/>
                  </a:lnTo>
                  <a:lnTo>
                    <a:pt x="288" y="558"/>
                  </a:lnTo>
                  <a:lnTo>
                    <a:pt x="294" y="558"/>
                  </a:lnTo>
                  <a:lnTo>
                    <a:pt x="300" y="558"/>
                  </a:lnTo>
                  <a:lnTo>
                    <a:pt x="306" y="558"/>
                  </a:lnTo>
                  <a:lnTo>
                    <a:pt x="312" y="558"/>
                  </a:lnTo>
                  <a:lnTo>
                    <a:pt x="318" y="558"/>
                  </a:lnTo>
                  <a:lnTo>
                    <a:pt x="318" y="564"/>
                  </a:lnTo>
                  <a:lnTo>
                    <a:pt x="324" y="564"/>
                  </a:lnTo>
                  <a:lnTo>
                    <a:pt x="324" y="570"/>
                  </a:lnTo>
                  <a:lnTo>
                    <a:pt x="330" y="570"/>
                  </a:lnTo>
                  <a:lnTo>
                    <a:pt x="336" y="570"/>
                  </a:lnTo>
                  <a:lnTo>
                    <a:pt x="342" y="570"/>
                  </a:lnTo>
                  <a:lnTo>
                    <a:pt x="348" y="570"/>
                  </a:lnTo>
                  <a:lnTo>
                    <a:pt x="354" y="570"/>
                  </a:lnTo>
                  <a:lnTo>
                    <a:pt x="360" y="570"/>
                  </a:lnTo>
                  <a:lnTo>
                    <a:pt x="366" y="570"/>
                  </a:lnTo>
                  <a:lnTo>
                    <a:pt x="360" y="570"/>
                  </a:lnTo>
                  <a:lnTo>
                    <a:pt x="360" y="564"/>
                  </a:lnTo>
                  <a:lnTo>
                    <a:pt x="354" y="564"/>
                  </a:lnTo>
                  <a:lnTo>
                    <a:pt x="348" y="564"/>
                  </a:lnTo>
                  <a:lnTo>
                    <a:pt x="342" y="564"/>
                  </a:lnTo>
                  <a:lnTo>
                    <a:pt x="342" y="570"/>
                  </a:lnTo>
                  <a:lnTo>
                    <a:pt x="336" y="564"/>
                  </a:lnTo>
                  <a:lnTo>
                    <a:pt x="336" y="570"/>
                  </a:lnTo>
                  <a:lnTo>
                    <a:pt x="336" y="564"/>
                  </a:lnTo>
                  <a:lnTo>
                    <a:pt x="330" y="564"/>
                  </a:lnTo>
                  <a:lnTo>
                    <a:pt x="324" y="558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18" y="558"/>
                  </a:lnTo>
                  <a:lnTo>
                    <a:pt x="312" y="552"/>
                  </a:lnTo>
                  <a:lnTo>
                    <a:pt x="312" y="558"/>
                  </a:lnTo>
                  <a:lnTo>
                    <a:pt x="312" y="552"/>
                  </a:lnTo>
                  <a:lnTo>
                    <a:pt x="306" y="552"/>
                  </a:lnTo>
                  <a:lnTo>
                    <a:pt x="300" y="546"/>
                  </a:lnTo>
                  <a:lnTo>
                    <a:pt x="294" y="546"/>
                  </a:lnTo>
                  <a:lnTo>
                    <a:pt x="288" y="546"/>
                  </a:lnTo>
                  <a:lnTo>
                    <a:pt x="282" y="546"/>
                  </a:lnTo>
                  <a:lnTo>
                    <a:pt x="276" y="546"/>
                  </a:lnTo>
                  <a:lnTo>
                    <a:pt x="276" y="552"/>
                  </a:lnTo>
                  <a:lnTo>
                    <a:pt x="270" y="552"/>
                  </a:lnTo>
                  <a:lnTo>
                    <a:pt x="270" y="558"/>
                  </a:lnTo>
                  <a:lnTo>
                    <a:pt x="270" y="564"/>
                  </a:lnTo>
                  <a:lnTo>
                    <a:pt x="264" y="570"/>
                  </a:lnTo>
                  <a:lnTo>
                    <a:pt x="258" y="576"/>
                  </a:lnTo>
                  <a:lnTo>
                    <a:pt x="258" y="582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34" y="576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16" y="552"/>
                  </a:lnTo>
                  <a:lnTo>
                    <a:pt x="216" y="546"/>
                  </a:lnTo>
                  <a:lnTo>
                    <a:pt x="216" y="540"/>
                  </a:lnTo>
                  <a:lnTo>
                    <a:pt x="222" y="534"/>
                  </a:lnTo>
                  <a:lnTo>
                    <a:pt x="222" y="528"/>
                  </a:lnTo>
                  <a:lnTo>
                    <a:pt x="228" y="522"/>
                  </a:lnTo>
                  <a:lnTo>
                    <a:pt x="228" y="516"/>
                  </a:lnTo>
                  <a:lnTo>
                    <a:pt x="228" y="510"/>
                  </a:lnTo>
                  <a:lnTo>
                    <a:pt x="234" y="510"/>
                  </a:lnTo>
                  <a:lnTo>
                    <a:pt x="240" y="516"/>
                  </a:lnTo>
                  <a:lnTo>
                    <a:pt x="246" y="522"/>
                  </a:lnTo>
                  <a:lnTo>
                    <a:pt x="246" y="516"/>
                  </a:lnTo>
                  <a:lnTo>
                    <a:pt x="240" y="516"/>
                  </a:lnTo>
                  <a:lnTo>
                    <a:pt x="240" y="510"/>
                  </a:lnTo>
                  <a:lnTo>
                    <a:pt x="234" y="510"/>
                  </a:lnTo>
                  <a:lnTo>
                    <a:pt x="234" y="504"/>
                  </a:lnTo>
                  <a:lnTo>
                    <a:pt x="228" y="504"/>
                  </a:lnTo>
                  <a:lnTo>
                    <a:pt x="222" y="504"/>
                  </a:lnTo>
                  <a:lnTo>
                    <a:pt x="222" y="498"/>
                  </a:lnTo>
                  <a:lnTo>
                    <a:pt x="222" y="504"/>
                  </a:lnTo>
                  <a:lnTo>
                    <a:pt x="222" y="510"/>
                  </a:lnTo>
                  <a:lnTo>
                    <a:pt x="222" y="516"/>
                  </a:lnTo>
                  <a:lnTo>
                    <a:pt x="216" y="522"/>
                  </a:lnTo>
                  <a:lnTo>
                    <a:pt x="216" y="528"/>
                  </a:lnTo>
                  <a:lnTo>
                    <a:pt x="210" y="528"/>
                  </a:lnTo>
                  <a:lnTo>
                    <a:pt x="216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04" y="546"/>
                  </a:lnTo>
                  <a:lnTo>
                    <a:pt x="204" y="552"/>
                  </a:lnTo>
                  <a:lnTo>
                    <a:pt x="204" y="558"/>
                  </a:lnTo>
                  <a:lnTo>
                    <a:pt x="204" y="564"/>
                  </a:lnTo>
                  <a:lnTo>
                    <a:pt x="198" y="570"/>
                  </a:lnTo>
                  <a:lnTo>
                    <a:pt x="192" y="564"/>
                  </a:lnTo>
                  <a:lnTo>
                    <a:pt x="186" y="564"/>
                  </a:lnTo>
                  <a:lnTo>
                    <a:pt x="180" y="564"/>
                  </a:lnTo>
                  <a:lnTo>
                    <a:pt x="174" y="564"/>
                  </a:lnTo>
                  <a:lnTo>
                    <a:pt x="168" y="564"/>
                  </a:lnTo>
                  <a:lnTo>
                    <a:pt x="162" y="564"/>
                  </a:lnTo>
                  <a:lnTo>
                    <a:pt x="156" y="570"/>
                  </a:lnTo>
                  <a:lnTo>
                    <a:pt x="150" y="570"/>
                  </a:lnTo>
                  <a:lnTo>
                    <a:pt x="150" y="564"/>
                  </a:lnTo>
                  <a:lnTo>
                    <a:pt x="150" y="570"/>
                  </a:lnTo>
                  <a:lnTo>
                    <a:pt x="150" y="576"/>
                  </a:lnTo>
                  <a:lnTo>
                    <a:pt x="144" y="576"/>
                  </a:lnTo>
                  <a:lnTo>
                    <a:pt x="138" y="576"/>
                  </a:lnTo>
                  <a:lnTo>
                    <a:pt x="132" y="582"/>
                  </a:lnTo>
                  <a:lnTo>
                    <a:pt x="126" y="582"/>
                  </a:lnTo>
                  <a:lnTo>
                    <a:pt x="120" y="582"/>
                  </a:lnTo>
                  <a:lnTo>
                    <a:pt x="114" y="576"/>
                  </a:lnTo>
                  <a:lnTo>
                    <a:pt x="108" y="564"/>
                  </a:lnTo>
                  <a:lnTo>
                    <a:pt x="102" y="558"/>
                  </a:lnTo>
                  <a:lnTo>
                    <a:pt x="96" y="552"/>
                  </a:lnTo>
                  <a:lnTo>
                    <a:pt x="90" y="546"/>
                  </a:lnTo>
                  <a:lnTo>
                    <a:pt x="90" y="540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2"/>
                  </a:lnTo>
                  <a:lnTo>
                    <a:pt x="78" y="516"/>
                  </a:lnTo>
                  <a:lnTo>
                    <a:pt x="72" y="510"/>
                  </a:lnTo>
                  <a:lnTo>
                    <a:pt x="66" y="504"/>
                  </a:lnTo>
                  <a:lnTo>
                    <a:pt x="66" y="498"/>
                  </a:lnTo>
                  <a:lnTo>
                    <a:pt x="66" y="492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6" y="474"/>
                  </a:lnTo>
                  <a:lnTo>
                    <a:pt x="72" y="474"/>
                  </a:lnTo>
                  <a:lnTo>
                    <a:pt x="72" y="468"/>
                  </a:lnTo>
                  <a:lnTo>
                    <a:pt x="78" y="462"/>
                  </a:lnTo>
                  <a:lnTo>
                    <a:pt x="78" y="456"/>
                  </a:lnTo>
                  <a:lnTo>
                    <a:pt x="84" y="456"/>
                  </a:lnTo>
                  <a:lnTo>
                    <a:pt x="84" y="450"/>
                  </a:lnTo>
                  <a:lnTo>
                    <a:pt x="84" y="444"/>
                  </a:lnTo>
                  <a:lnTo>
                    <a:pt x="90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02" y="450"/>
                  </a:lnTo>
                  <a:lnTo>
                    <a:pt x="108" y="450"/>
                  </a:lnTo>
                  <a:lnTo>
                    <a:pt x="108" y="456"/>
                  </a:lnTo>
                  <a:lnTo>
                    <a:pt x="108" y="462"/>
                  </a:lnTo>
                  <a:lnTo>
                    <a:pt x="114" y="462"/>
                  </a:lnTo>
                  <a:lnTo>
                    <a:pt x="114" y="468"/>
                  </a:lnTo>
                  <a:lnTo>
                    <a:pt x="114" y="474"/>
                  </a:lnTo>
                  <a:lnTo>
                    <a:pt x="114" y="480"/>
                  </a:lnTo>
                  <a:lnTo>
                    <a:pt x="114" y="486"/>
                  </a:lnTo>
                  <a:lnTo>
                    <a:pt x="120" y="486"/>
                  </a:lnTo>
                  <a:lnTo>
                    <a:pt x="126" y="486"/>
                  </a:lnTo>
                  <a:lnTo>
                    <a:pt x="132" y="486"/>
                  </a:lnTo>
                  <a:lnTo>
                    <a:pt x="126" y="480"/>
                  </a:lnTo>
                  <a:lnTo>
                    <a:pt x="120" y="480"/>
                  </a:lnTo>
                  <a:lnTo>
                    <a:pt x="114" y="480"/>
                  </a:lnTo>
                  <a:lnTo>
                    <a:pt x="120" y="480"/>
                  </a:lnTo>
                  <a:lnTo>
                    <a:pt x="120" y="474"/>
                  </a:lnTo>
                  <a:lnTo>
                    <a:pt x="120" y="468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108" y="450"/>
                  </a:lnTo>
                  <a:lnTo>
                    <a:pt x="108" y="444"/>
                  </a:lnTo>
                  <a:lnTo>
                    <a:pt x="114" y="438"/>
                  </a:lnTo>
                  <a:lnTo>
                    <a:pt x="120" y="438"/>
                  </a:lnTo>
                  <a:lnTo>
                    <a:pt x="120" y="432"/>
                  </a:lnTo>
                  <a:lnTo>
                    <a:pt x="132" y="426"/>
                  </a:lnTo>
                  <a:lnTo>
                    <a:pt x="138" y="420"/>
                  </a:lnTo>
                  <a:lnTo>
                    <a:pt x="144" y="420"/>
                  </a:lnTo>
                  <a:lnTo>
                    <a:pt x="144" y="414"/>
                  </a:lnTo>
                  <a:lnTo>
                    <a:pt x="144" y="420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6" y="414"/>
                  </a:lnTo>
                  <a:lnTo>
                    <a:pt x="162" y="414"/>
                  </a:lnTo>
                  <a:lnTo>
                    <a:pt x="162" y="408"/>
                  </a:lnTo>
                  <a:lnTo>
                    <a:pt x="168" y="408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86" y="396"/>
                  </a:lnTo>
                  <a:lnTo>
                    <a:pt x="186" y="390"/>
                  </a:lnTo>
                  <a:lnTo>
                    <a:pt x="192" y="390"/>
                  </a:lnTo>
                  <a:lnTo>
                    <a:pt x="198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210" y="378"/>
                  </a:lnTo>
                  <a:lnTo>
                    <a:pt x="210" y="372"/>
                  </a:lnTo>
                  <a:lnTo>
                    <a:pt x="216" y="372"/>
                  </a:lnTo>
                  <a:lnTo>
                    <a:pt x="222" y="366"/>
                  </a:lnTo>
                  <a:lnTo>
                    <a:pt x="228" y="360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6" y="348"/>
                  </a:lnTo>
                  <a:lnTo>
                    <a:pt x="252" y="348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0" y="342"/>
                  </a:lnTo>
                  <a:lnTo>
                    <a:pt x="234" y="342"/>
                  </a:lnTo>
                  <a:lnTo>
                    <a:pt x="228" y="336"/>
                  </a:lnTo>
                  <a:lnTo>
                    <a:pt x="222" y="336"/>
                  </a:lnTo>
                  <a:lnTo>
                    <a:pt x="216" y="336"/>
                  </a:lnTo>
                  <a:lnTo>
                    <a:pt x="222" y="324"/>
                  </a:lnTo>
                  <a:lnTo>
                    <a:pt x="222" y="318"/>
                  </a:lnTo>
                  <a:lnTo>
                    <a:pt x="222" y="312"/>
                  </a:lnTo>
                  <a:lnTo>
                    <a:pt x="234" y="318"/>
                  </a:lnTo>
                  <a:lnTo>
                    <a:pt x="246" y="318"/>
                  </a:lnTo>
                  <a:lnTo>
                    <a:pt x="258" y="318"/>
                  </a:lnTo>
                  <a:lnTo>
                    <a:pt x="270" y="312"/>
                  </a:lnTo>
                  <a:lnTo>
                    <a:pt x="276" y="312"/>
                  </a:lnTo>
                  <a:lnTo>
                    <a:pt x="288" y="324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94" y="306"/>
                  </a:lnTo>
                  <a:lnTo>
                    <a:pt x="300" y="300"/>
                  </a:lnTo>
                  <a:lnTo>
                    <a:pt x="306" y="306"/>
                  </a:lnTo>
                  <a:lnTo>
                    <a:pt x="312" y="318"/>
                  </a:lnTo>
                  <a:lnTo>
                    <a:pt x="318" y="312"/>
                  </a:lnTo>
                  <a:lnTo>
                    <a:pt x="324" y="312"/>
                  </a:lnTo>
                  <a:lnTo>
                    <a:pt x="330" y="312"/>
                  </a:lnTo>
                  <a:lnTo>
                    <a:pt x="342" y="306"/>
                  </a:lnTo>
                  <a:lnTo>
                    <a:pt x="348" y="306"/>
                  </a:lnTo>
                  <a:lnTo>
                    <a:pt x="348" y="312"/>
                  </a:lnTo>
                  <a:lnTo>
                    <a:pt x="348" y="318"/>
                  </a:lnTo>
                  <a:lnTo>
                    <a:pt x="354" y="318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60" y="336"/>
                  </a:lnTo>
                  <a:lnTo>
                    <a:pt x="366" y="330"/>
                  </a:lnTo>
                  <a:lnTo>
                    <a:pt x="378" y="324"/>
                  </a:lnTo>
                  <a:lnTo>
                    <a:pt x="384" y="324"/>
                  </a:lnTo>
                  <a:lnTo>
                    <a:pt x="384" y="318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6"/>
                  </a:lnTo>
                  <a:lnTo>
                    <a:pt x="402" y="306"/>
                  </a:lnTo>
                  <a:lnTo>
                    <a:pt x="408" y="306"/>
                  </a:lnTo>
                  <a:lnTo>
                    <a:pt x="414" y="300"/>
                  </a:lnTo>
                  <a:lnTo>
                    <a:pt x="420" y="300"/>
                  </a:lnTo>
                  <a:lnTo>
                    <a:pt x="426" y="300"/>
                  </a:lnTo>
                  <a:lnTo>
                    <a:pt x="432" y="300"/>
                  </a:lnTo>
                  <a:lnTo>
                    <a:pt x="444" y="288"/>
                  </a:lnTo>
                  <a:lnTo>
                    <a:pt x="450" y="294"/>
                  </a:lnTo>
                  <a:lnTo>
                    <a:pt x="468" y="300"/>
                  </a:lnTo>
                  <a:lnTo>
                    <a:pt x="498" y="312"/>
                  </a:lnTo>
                  <a:lnTo>
                    <a:pt x="504" y="324"/>
                  </a:lnTo>
                  <a:lnTo>
                    <a:pt x="516" y="330"/>
                  </a:lnTo>
                  <a:lnTo>
                    <a:pt x="516" y="336"/>
                  </a:lnTo>
                  <a:lnTo>
                    <a:pt x="540" y="342"/>
                  </a:lnTo>
                  <a:lnTo>
                    <a:pt x="558" y="372"/>
                  </a:lnTo>
                  <a:lnTo>
                    <a:pt x="594" y="384"/>
                  </a:lnTo>
                  <a:lnTo>
                    <a:pt x="606" y="402"/>
                  </a:lnTo>
                  <a:lnTo>
                    <a:pt x="600" y="420"/>
                  </a:lnTo>
                  <a:lnTo>
                    <a:pt x="588" y="444"/>
                  </a:lnTo>
                  <a:lnTo>
                    <a:pt x="588" y="450"/>
                  </a:lnTo>
                  <a:lnTo>
                    <a:pt x="588" y="456"/>
                  </a:lnTo>
                  <a:lnTo>
                    <a:pt x="594" y="456"/>
                  </a:lnTo>
                  <a:lnTo>
                    <a:pt x="594" y="462"/>
                  </a:lnTo>
                  <a:lnTo>
                    <a:pt x="594" y="468"/>
                  </a:lnTo>
                  <a:lnTo>
                    <a:pt x="594" y="474"/>
                  </a:lnTo>
                  <a:lnTo>
                    <a:pt x="600" y="474"/>
                  </a:lnTo>
                  <a:lnTo>
                    <a:pt x="606" y="480"/>
                  </a:lnTo>
                  <a:lnTo>
                    <a:pt x="606" y="486"/>
                  </a:lnTo>
                  <a:lnTo>
                    <a:pt x="612" y="486"/>
                  </a:lnTo>
                  <a:lnTo>
                    <a:pt x="618" y="486"/>
                  </a:lnTo>
                  <a:lnTo>
                    <a:pt x="624" y="486"/>
                  </a:lnTo>
                  <a:lnTo>
                    <a:pt x="636" y="486"/>
                  </a:lnTo>
                  <a:lnTo>
                    <a:pt x="642" y="486"/>
                  </a:lnTo>
                  <a:lnTo>
                    <a:pt x="648" y="480"/>
                  </a:lnTo>
                  <a:lnTo>
                    <a:pt x="654" y="474"/>
                  </a:lnTo>
                  <a:lnTo>
                    <a:pt x="660" y="468"/>
                  </a:lnTo>
                  <a:lnTo>
                    <a:pt x="666" y="468"/>
                  </a:lnTo>
                  <a:lnTo>
                    <a:pt x="684" y="468"/>
                  </a:lnTo>
                  <a:lnTo>
                    <a:pt x="696" y="468"/>
                  </a:lnTo>
                  <a:lnTo>
                    <a:pt x="696" y="462"/>
                  </a:lnTo>
                  <a:lnTo>
                    <a:pt x="702" y="456"/>
                  </a:lnTo>
                  <a:lnTo>
                    <a:pt x="708" y="450"/>
                  </a:lnTo>
                  <a:lnTo>
                    <a:pt x="714" y="450"/>
                  </a:lnTo>
                  <a:lnTo>
                    <a:pt x="720" y="450"/>
                  </a:lnTo>
                  <a:lnTo>
                    <a:pt x="720" y="438"/>
                  </a:lnTo>
                  <a:lnTo>
                    <a:pt x="726" y="432"/>
                  </a:lnTo>
                  <a:lnTo>
                    <a:pt x="738" y="420"/>
                  </a:lnTo>
                  <a:lnTo>
                    <a:pt x="744" y="420"/>
                  </a:lnTo>
                  <a:lnTo>
                    <a:pt x="750" y="414"/>
                  </a:lnTo>
                  <a:lnTo>
                    <a:pt x="762" y="408"/>
                  </a:lnTo>
                  <a:lnTo>
                    <a:pt x="768" y="408"/>
                  </a:lnTo>
                  <a:lnTo>
                    <a:pt x="768" y="402"/>
                  </a:lnTo>
                  <a:lnTo>
                    <a:pt x="780" y="396"/>
                  </a:lnTo>
                  <a:lnTo>
                    <a:pt x="786" y="396"/>
                  </a:lnTo>
                  <a:lnTo>
                    <a:pt x="786" y="390"/>
                  </a:lnTo>
                  <a:lnTo>
                    <a:pt x="792" y="384"/>
                  </a:lnTo>
                  <a:lnTo>
                    <a:pt x="792" y="378"/>
                  </a:lnTo>
                  <a:lnTo>
                    <a:pt x="798" y="366"/>
                  </a:lnTo>
                  <a:lnTo>
                    <a:pt x="804" y="360"/>
                  </a:lnTo>
                  <a:lnTo>
                    <a:pt x="816" y="342"/>
                  </a:lnTo>
                  <a:lnTo>
                    <a:pt x="816" y="312"/>
                  </a:lnTo>
                  <a:lnTo>
                    <a:pt x="804" y="300"/>
                  </a:lnTo>
                  <a:lnTo>
                    <a:pt x="798" y="288"/>
                  </a:lnTo>
                  <a:lnTo>
                    <a:pt x="762" y="264"/>
                  </a:lnTo>
                  <a:lnTo>
                    <a:pt x="738" y="234"/>
                  </a:lnTo>
                  <a:lnTo>
                    <a:pt x="738" y="222"/>
                  </a:lnTo>
                  <a:lnTo>
                    <a:pt x="744" y="210"/>
                  </a:lnTo>
                  <a:lnTo>
                    <a:pt x="732" y="174"/>
                  </a:lnTo>
                  <a:lnTo>
                    <a:pt x="714" y="156"/>
                  </a:lnTo>
                  <a:lnTo>
                    <a:pt x="708" y="144"/>
                  </a:lnTo>
                  <a:lnTo>
                    <a:pt x="714" y="126"/>
                  </a:lnTo>
                  <a:lnTo>
                    <a:pt x="720" y="114"/>
                  </a:lnTo>
                  <a:lnTo>
                    <a:pt x="732" y="102"/>
                  </a:lnTo>
                  <a:lnTo>
                    <a:pt x="744" y="102"/>
                  </a:lnTo>
                  <a:lnTo>
                    <a:pt x="762" y="108"/>
                  </a:lnTo>
                  <a:lnTo>
                    <a:pt x="774" y="114"/>
                  </a:lnTo>
                  <a:lnTo>
                    <a:pt x="780" y="138"/>
                  </a:lnTo>
                  <a:lnTo>
                    <a:pt x="786" y="144"/>
                  </a:lnTo>
                  <a:lnTo>
                    <a:pt x="798" y="138"/>
                  </a:lnTo>
                  <a:lnTo>
                    <a:pt x="804" y="132"/>
                  </a:lnTo>
                  <a:lnTo>
                    <a:pt x="816" y="120"/>
                  </a:lnTo>
                  <a:lnTo>
                    <a:pt x="816" y="108"/>
                  </a:lnTo>
                  <a:lnTo>
                    <a:pt x="828" y="102"/>
                  </a:lnTo>
                  <a:lnTo>
                    <a:pt x="828" y="96"/>
                  </a:lnTo>
                  <a:lnTo>
                    <a:pt x="840" y="96"/>
                  </a:lnTo>
                  <a:lnTo>
                    <a:pt x="840" y="84"/>
                  </a:lnTo>
                  <a:lnTo>
                    <a:pt x="852" y="90"/>
                  </a:lnTo>
                  <a:lnTo>
                    <a:pt x="852" y="96"/>
                  </a:lnTo>
                  <a:lnTo>
                    <a:pt x="870" y="90"/>
                  </a:lnTo>
                  <a:lnTo>
                    <a:pt x="894" y="78"/>
                  </a:lnTo>
                  <a:lnTo>
                    <a:pt x="912" y="78"/>
                  </a:lnTo>
                  <a:lnTo>
                    <a:pt x="942" y="66"/>
                  </a:lnTo>
                  <a:lnTo>
                    <a:pt x="942" y="60"/>
                  </a:lnTo>
                  <a:lnTo>
                    <a:pt x="954" y="48"/>
                  </a:lnTo>
                  <a:lnTo>
                    <a:pt x="966" y="30"/>
                  </a:lnTo>
                  <a:lnTo>
                    <a:pt x="978" y="30"/>
                  </a:lnTo>
                  <a:lnTo>
                    <a:pt x="978" y="24"/>
                  </a:lnTo>
                  <a:lnTo>
                    <a:pt x="984" y="12"/>
                  </a:lnTo>
                  <a:lnTo>
                    <a:pt x="990" y="12"/>
                  </a:lnTo>
                  <a:lnTo>
                    <a:pt x="996" y="12"/>
                  </a:lnTo>
                  <a:lnTo>
                    <a:pt x="1014" y="6"/>
                  </a:lnTo>
                  <a:lnTo>
                    <a:pt x="1026" y="6"/>
                  </a:lnTo>
                  <a:lnTo>
                    <a:pt x="1044" y="6"/>
                  </a:lnTo>
                  <a:lnTo>
                    <a:pt x="1050" y="6"/>
                  </a:lnTo>
                  <a:lnTo>
                    <a:pt x="1056" y="6"/>
                  </a:lnTo>
                  <a:lnTo>
                    <a:pt x="1062" y="6"/>
                  </a:lnTo>
                  <a:lnTo>
                    <a:pt x="1068" y="6"/>
                  </a:lnTo>
                  <a:lnTo>
                    <a:pt x="1074" y="6"/>
                  </a:lnTo>
                  <a:lnTo>
                    <a:pt x="1080" y="6"/>
                  </a:lnTo>
                  <a:lnTo>
                    <a:pt x="1086" y="0"/>
                  </a:lnTo>
                  <a:lnTo>
                    <a:pt x="1092" y="30"/>
                  </a:lnTo>
                  <a:lnTo>
                    <a:pt x="1098" y="60"/>
                  </a:lnTo>
                  <a:lnTo>
                    <a:pt x="1110" y="84"/>
                  </a:lnTo>
                  <a:lnTo>
                    <a:pt x="1122" y="114"/>
                  </a:lnTo>
                  <a:lnTo>
                    <a:pt x="1128" y="144"/>
                  </a:lnTo>
                  <a:lnTo>
                    <a:pt x="1122" y="156"/>
                  </a:lnTo>
                  <a:lnTo>
                    <a:pt x="1128" y="168"/>
                  </a:lnTo>
                  <a:lnTo>
                    <a:pt x="1134" y="186"/>
                  </a:lnTo>
                  <a:lnTo>
                    <a:pt x="1140" y="204"/>
                  </a:lnTo>
                  <a:lnTo>
                    <a:pt x="1146" y="210"/>
                  </a:lnTo>
                  <a:lnTo>
                    <a:pt x="1146" y="216"/>
                  </a:lnTo>
                  <a:lnTo>
                    <a:pt x="1146" y="228"/>
                  </a:lnTo>
                  <a:lnTo>
                    <a:pt x="1146" y="234"/>
                  </a:lnTo>
                  <a:lnTo>
                    <a:pt x="1140" y="246"/>
                  </a:lnTo>
                  <a:lnTo>
                    <a:pt x="1128" y="258"/>
                  </a:lnTo>
                  <a:lnTo>
                    <a:pt x="1116" y="264"/>
                  </a:lnTo>
                  <a:lnTo>
                    <a:pt x="1110" y="276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2" y="312"/>
                  </a:lnTo>
                  <a:lnTo>
                    <a:pt x="1116" y="324"/>
                  </a:lnTo>
                  <a:lnTo>
                    <a:pt x="1104" y="336"/>
                  </a:lnTo>
                  <a:lnTo>
                    <a:pt x="1104" y="354"/>
                  </a:lnTo>
                  <a:lnTo>
                    <a:pt x="1098" y="372"/>
                  </a:lnTo>
                  <a:lnTo>
                    <a:pt x="1092" y="384"/>
                  </a:lnTo>
                  <a:lnTo>
                    <a:pt x="1086" y="390"/>
                  </a:lnTo>
                  <a:lnTo>
                    <a:pt x="1086" y="402"/>
                  </a:lnTo>
                  <a:lnTo>
                    <a:pt x="1080" y="414"/>
                  </a:lnTo>
                  <a:lnTo>
                    <a:pt x="1074" y="426"/>
                  </a:lnTo>
                  <a:lnTo>
                    <a:pt x="1074" y="450"/>
                  </a:lnTo>
                  <a:lnTo>
                    <a:pt x="1074" y="462"/>
                  </a:lnTo>
                  <a:lnTo>
                    <a:pt x="1068" y="474"/>
                  </a:lnTo>
                  <a:lnTo>
                    <a:pt x="1062" y="486"/>
                  </a:lnTo>
                  <a:lnTo>
                    <a:pt x="1056" y="498"/>
                  </a:lnTo>
                  <a:close/>
                  <a:moveTo>
                    <a:pt x="186" y="378"/>
                  </a:moveTo>
                  <a:lnTo>
                    <a:pt x="186" y="384"/>
                  </a:lnTo>
                  <a:lnTo>
                    <a:pt x="180" y="390"/>
                  </a:lnTo>
                  <a:lnTo>
                    <a:pt x="174" y="396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14"/>
                  </a:lnTo>
                  <a:lnTo>
                    <a:pt x="126" y="414"/>
                  </a:lnTo>
                  <a:lnTo>
                    <a:pt x="120" y="414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2" y="426"/>
                  </a:lnTo>
                  <a:lnTo>
                    <a:pt x="102" y="432"/>
                  </a:lnTo>
                  <a:lnTo>
                    <a:pt x="96" y="432"/>
                  </a:lnTo>
                  <a:lnTo>
                    <a:pt x="90" y="432"/>
                  </a:lnTo>
                  <a:lnTo>
                    <a:pt x="84" y="438"/>
                  </a:lnTo>
                  <a:lnTo>
                    <a:pt x="78" y="438"/>
                  </a:lnTo>
                  <a:lnTo>
                    <a:pt x="78" y="444"/>
                  </a:lnTo>
                  <a:lnTo>
                    <a:pt x="72" y="444"/>
                  </a:lnTo>
                  <a:lnTo>
                    <a:pt x="72" y="450"/>
                  </a:lnTo>
                  <a:lnTo>
                    <a:pt x="66" y="456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48" y="468"/>
                  </a:lnTo>
                  <a:lnTo>
                    <a:pt x="42" y="468"/>
                  </a:lnTo>
                  <a:lnTo>
                    <a:pt x="42" y="462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8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0" y="396"/>
                  </a:lnTo>
                  <a:lnTo>
                    <a:pt x="6" y="384"/>
                  </a:lnTo>
                  <a:lnTo>
                    <a:pt x="18" y="372"/>
                  </a:lnTo>
                  <a:lnTo>
                    <a:pt x="30" y="348"/>
                  </a:lnTo>
                  <a:lnTo>
                    <a:pt x="30" y="342"/>
                  </a:lnTo>
                  <a:lnTo>
                    <a:pt x="42" y="330"/>
                  </a:lnTo>
                  <a:lnTo>
                    <a:pt x="42" y="324"/>
                  </a:lnTo>
                  <a:lnTo>
                    <a:pt x="48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60" y="282"/>
                  </a:lnTo>
                  <a:lnTo>
                    <a:pt x="60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2" y="258"/>
                  </a:lnTo>
                  <a:lnTo>
                    <a:pt x="84" y="246"/>
                  </a:lnTo>
                  <a:lnTo>
                    <a:pt x="90" y="234"/>
                  </a:lnTo>
                  <a:lnTo>
                    <a:pt x="96" y="234"/>
                  </a:lnTo>
                  <a:lnTo>
                    <a:pt x="96" y="228"/>
                  </a:lnTo>
                  <a:lnTo>
                    <a:pt x="102" y="222"/>
                  </a:lnTo>
                  <a:lnTo>
                    <a:pt x="102" y="228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14" y="228"/>
                  </a:lnTo>
                  <a:lnTo>
                    <a:pt x="114" y="234"/>
                  </a:lnTo>
                  <a:lnTo>
                    <a:pt x="120" y="228"/>
                  </a:lnTo>
                  <a:lnTo>
                    <a:pt x="120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26" y="228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8" y="234"/>
                  </a:lnTo>
                  <a:lnTo>
                    <a:pt x="144" y="234"/>
                  </a:lnTo>
                  <a:lnTo>
                    <a:pt x="144" y="228"/>
                  </a:lnTo>
                  <a:lnTo>
                    <a:pt x="150" y="228"/>
                  </a:lnTo>
                  <a:lnTo>
                    <a:pt x="156" y="228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46"/>
                  </a:lnTo>
                  <a:lnTo>
                    <a:pt x="162" y="240"/>
                  </a:lnTo>
                  <a:lnTo>
                    <a:pt x="162" y="246"/>
                  </a:lnTo>
                  <a:lnTo>
                    <a:pt x="162" y="258"/>
                  </a:lnTo>
                  <a:lnTo>
                    <a:pt x="162" y="264"/>
                  </a:lnTo>
                  <a:lnTo>
                    <a:pt x="156" y="270"/>
                  </a:lnTo>
                  <a:lnTo>
                    <a:pt x="162" y="270"/>
                  </a:lnTo>
                  <a:lnTo>
                    <a:pt x="162" y="282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86" y="288"/>
                  </a:lnTo>
                  <a:lnTo>
                    <a:pt x="186" y="294"/>
                  </a:lnTo>
                  <a:lnTo>
                    <a:pt x="180" y="300"/>
                  </a:lnTo>
                  <a:lnTo>
                    <a:pt x="174" y="318"/>
                  </a:lnTo>
                  <a:lnTo>
                    <a:pt x="174" y="324"/>
                  </a:lnTo>
                  <a:lnTo>
                    <a:pt x="168" y="330"/>
                  </a:lnTo>
                  <a:lnTo>
                    <a:pt x="168" y="342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74" y="360"/>
                  </a:lnTo>
                  <a:lnTo>
                    <a:pt x="180" y="366"/>
                  </a:lnTo>
                  <a:lnTo>
                    <a:pt x="186" y="3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8" name="Freeform 23">
              <a:extLst>
                <a:ext uri="{FF2B5EF4-FFF2-40B4-BE49-F238E27FC236}">
                  <a16:creationId xmlns:a16="http://schemas.microsoft.com/office/drawing/2014/main" id="{A539A33E-3F6E-4AF7-BD88-1853165307F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6312" y="3604793"/>
              <a:ext cx="581410" cy="621747"/>
            </a:xfrm>
            <a:custGeom>
              <a:avLst/>
              <a:gdLst>
                <a:gd name="T0" fmla="*/ 90 w 1092"/>
                <a:gd name="T1" fmla="*/ 60 h 1170"/>
                <a:gd name="T2" fmla="*/ 83 w 1092"/>
                <a:gd name="T3" fmla="*/ 62 h 1170"/>
                <a:gd name="T4" fmla="*/ 72 w 1092"/>
                <a:gd name="T5" fmla="*/ 68 h 1170"/>
                <a:gd name="T6" fmla="*/ 68 w 1092"/>
                <a:gd name="T7" fmla="*/ 71 h 1170"/>
                <a:gd name="T8" fmla="*/ 61 w 1092"/>
                <a:gd name="T9" fmla="*/ 69 h 1170"/>
                <a:gd name="T10" fmla="*/ 64 w 1092"/>
                <a:gd name="T11" fmla="*/ 82 h 1170"/>
                <a:gd name="T12" fmla="*/ 67 w 1092"/>
                <a:gd name="T13" fmla="*/ 93 h 1170"/>
                <a:gd name="T14" fmla="*/ 62 w 1092"/>
                <a:gd name="T15" fmla="*/ 96 h 1170"/>
                <a:gd name="T16" fmla="*/ 59 w 1092"/>
                <a:gd name="T17" fmla="*/ 99 h 1170"/>
                <a:gd name="T18" fmla="*/ 53 w 1092"/>
                <a:gd name="T19" fmla="*/ 101 h 1170"/>
                <a:gd name="T20" fmla="*/ 50 w 1092"/>
                <a:gd name="T21" fmla="*/ 100 h 1170"/>
                <a:gd name="T22" fmla="*/ 50 w 1092"/>
                <a:gd name="T23" fmla="*/ 93 h 1170"/>
                <a:gd name="T24" fmla="*/ 37 w 1092"/>
                <a:gd name="T25" fmla="*/ 85 h 1170"/>
                <a:gd name="T26" fmla="*/ 32 w 1092"/>
                <a:gd name="T27" fmla="*/ 86 h 1170"/>
                <a:gd name="T28" fmla="*/ 29 w 1092"/>
                <a:gd name="T29" fmla="*/ 88 h 1170"/>
                <a:gd name="T30" fmla="*/ 27 w 1092"/>
                <a:gd name="T31" fmla="*/ 86 h 1170"/>
                <a:gd name="T32" fmla="*/ 23 w 1092"/>
                <a:gd name="T33" fmla="*/ 87 h 1170"/>
                <a:gd name="T34" fmla="*/ 17 w 1092"/>
                <a:gd name="T35" fmla="*/ 87 h 1170"/>
                <a:gd name="T36" fmla="*/ 18 w 1092"/>
                <a:gd name="T37" fmla="*/ 89 h 1170"/>
                <a:gd name="T38" fmla="*/ 16 w 1092"/>
                <a:gd name="T39" fmla="*/ 92 h 1170"/>
                <a:gd name="T40" fmla="*/ 12 w 1092"/>
                <a:gd name="T41" fmla="*/ 89 h 1170"/>
                <a:gd name="T42" fmla="*/ 13 w 1092"/>
                <a:gd name="T43" fmla="*/ 84 h 1170"/>
                <a:gd name="T44" fmla="*/ 12 w 1092"/>
                <a:gd name="T45" fmla="*/ 80 h 1170"/>
                <a:gd name="T46" fmla="*/ 10 w 1092"/>
                <a:gd name="T47" fmla="*/ 80 h 1170"/>
                <a:gd name="T48" fmla="*/ 8 w 1092"/>
                <a:gd name="T49" fmla="*/ 79 h 1170"/>
                <a:gd name="T50" fmla="*/ 6 w 1092"/>
                <a:gd name="T51" fmla="*/ 78 h 1170"/>
                <a:gd name="T52" fmla="*/ 6 w 1092"/>
                <a:gd name="T53" fmla="*/ 77 h 1170"/>
                <a:gd name="T54" fmla="*/ 4 w 1092"/>
                <a:gd name="T55" fmla="*/ 75 h 1170"/>
                <a:gd name="T56" fmla="*/ 0 w 1092"/>
                <a:gd name="T57" fmla="*/ 72 h 1170"/>
                <a:gd name="T58" fmla="*/ 0 w 1092"/>
                <a:gd name="T59" fmla="*/ 69 h 1170"/>
                <a:gd name="T60" fmla="*/ 3 w 1092"/>
                <a:gd name="T61" fmla="*/ 67 h 1170"/>
                <a:gd name="T62" fmla="*/ 6 w 1092"/>
                <a:gd name="T63" fmla="*/ 62 h 1170"/>
                <a:gd name="T64" fmla="*/ 8 w 1092"/>
                <a:gd name="T65" fmla="*/ 58 h 1170"/>
                <a:gd name="T66" fmla="*/ 5 w 1092"/>
                <a:gd name="T67" fmla="*/ 54 h 1170"/>
                <a:gd name="T68" fmla="*/ 6 w 1092"/>
                <a:gd name="T69" fmla="*/ 50 h 1170"/>
                <a:gd name="T70" fmla="*/ 8 w 1092"/>
                <a:gd name="T71" fmla="*/ 46 h 1170"/>
                <a:gd name="T72" fmla="*/ 10 w 1092"/>
                <a:gd name="T73" fmla="*/ 43 h 1170"/>
                <a:gd name="T74" fmla="*/ 14 w 1092"/>
                <a:gd name="T75" fmla="*/ 38 h 1170"/>
                <a:gd name="T76" fmla="*/ 31 w 1092"/>
                <a:gd name="T77" fmla="*/ 40 h 1170"/>
                <a:gd name="T78" fmla="*/ 30 w 1092"/>
                <a:gd name="T79" fmla="*/ 46 h 1170"/>
                <a:gd name="T80" fmla="*/ 36 w 1092"/>
                <a:gd name="T81" fmla="*/ 47 h 1170"/>
                <a:gd name="T82" fmla="*/ 41 w 1092"/>
                <a:gd name="T83" fmla="*/ 44 h 1170"/>
                <a:gd name="T84" fmla="*/ 43 w 1092"/>
                <a:gd name="T85" fmla="*/ 39 h 1170"/>
                <a:gd name="T86" fmla="*/ 44 w 1092"/>
                <a:gd name="T87" fmla="*/ 35 h 1170"/>
                <a:gd name="T88" fmla="*/ 44 w 1092"/>
                <a:gd name="T89" fmla="*/ 29 h 1170"/>
                <a:gd name="T90" fmla="*/ 48 w 1092"/>
                <a:gd name="T91" fmla="*/ 24 h 1170"/>
                <a:gd name="T92" fmla="*/ 49 w 1092"/>
                <a:gd name="T93" fmla="*/ 19 h 1170"/>
                <a:gd name="T94" fmla="*/ 51 w 1092"/>
                <a:gd name="T95" fmla="*/ 14 h 1170"/>
                <a:gd name="T96" fmla="*/ 54 w 1092"/>
                <a:gd name="T97" fmla="*/ 10 h 1170"/>
                <a:gd name="T98" fmla="*/ 53 w 1092"/>
                <a:gd name="T99" fmla="*/ 7 h 1170"/>
                <a:gd name="T100" fmla="*/ 55 w 1092"/>
                <a:gd name="T101" fmla="*/ 3 h 1170"/>
                <a:gd name="T102" fmla="*/ 58 w 1092"/>
                <a:gd name="T103" fmla="*/ 0 h 1170"/>
                <a:gd name="T104" fmla="*/ 65 w 1092"/>
                <a:gd name="T105" fmla="*/ 2 h 1170"/>
                <a:gd name="T106" fmla="*/ 61 w 1092"/>
                <a:gd name="T107" fmla="*/ 6 h 1170"/>
                <a:gd name="T108" fmla="*/ 67 w 1092"/>
                <a:gd name="T109" fmla="*/ 7 h 1170"/>
                <a:gd name="T110" fmla="*/ 71 w 1092"/>
                <a:gd name="T111" fmla="*/ 6 h 1170"/>
                <a:gd name="T112" fmla="*/ 75 w 1092"/>
                <a:gd name="T113" fmla="*/ 9 h 1170"/>
                <a:gd name="T114" fmla="*/ 82 w 1092"/>
                <a:gd name="T115" fmla="*/ 12 h 1170"/>
                <a:gd name="T116" fmla="*/ 84 w 1092"/>
                <a:gd name="T117" fmla="*/ 17 h 1170"/>
                <a:gd name="T118" fmla="*/ 94 w 1092"/>
                <a:gd name="T119" fmla="*/ 23 h 1170"/>
                <a:gd name="T120" fmla="*/ 94 w 1092"/>
                <a:gd name="T121" fmla="*/ 34 h 1170"/>
                <a:gd name="T122" fmla="*/ 90 w 1092"/>
                <a:gd name="T123" fmla="*/ 41 h 1170"/>
                <a:gd name="T124" fmla="*/ 91 w 1092"/>
                <a:gd name="T125" fmla="*/ 51 h 11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92"/>
                <a:gd name="T190" fmla="*/ 0 h 1170"/>
                <a:gd name="T191" fmla="*/ 1092 w 1092"/>
                <a:gd name="T192" fmla="*/ 1170 h 117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92" h="1170">
                  <a:moveTo>
                    <a:pt x="1056" y="654"/>
                  </a:moveTo>
                  <a:lnTo>
                    <a:pt x="1062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0"/>
                  </a:lnTo>
                  <a:lnTo>
                    <a:pt x="1038" y="690"/>
                  </a:lnTo>
                  <a:lnTo>
                    <a:pt x="1032" y="690"/>
                  </a:lnTo>
                  <a:lnTo>
                    <a:pt x="1026" y="690"/>
                  </a:lnTo>
                  <a:lnTo>
                    <a:pt x="1020" y="690"/>
                  </a:lnTo>
                  <a:lnTo>
                    <a:pt x="1002" y="690"/>
                  </a:lnTo>
                  <a:lnTo>
                    <a:pt x="990" y="690"/>
                  </a:lnTo>
                  <a:lnTo>
                    <a:pt x="972" y="696"/>
                  </a:lnTo>
                  <a:lnTo>
                    <a:pt x="966" y="696"/>
                  </a:lnTo>
                  <a:lnTo>
                    <a:pt x="960" y="696"/>
                  </a:lnTo>
                  <a:lnTo>
                    <a:pt x="954" y="708"/>
                  </a:lnTo>
                  <a:lnTo>
                    <a:pt x="954" y="714"/>
                  </a:lnTo>
                  <a:lnTo>
                    <a:pt x="942" y="714"/>
                  </a:lnTo>
                  <a:lnTo>
                    <a:pt x="930" y="732"/>
                  </a:lnTo>
                  <a:lnTo>
                    <a:pt x="918" y="744"/>
                  </a:lnTo>
                  <a:lnTo>
                    <a:pt x="918" y="750"/>
                  </a:lnTo>
                  <a:lnTo>
                    <a:pt x="888" y="762"/>
                  </a:lnTo>
                  <a:lnTo>
                    <a:pt x="870" y="762"/>
                  </a:lnTo>
                  <a:lnTo>
                    <a:pt x="846" y="774"/>
                  </a:lnTo>
                  <a:lnTo>
                    <a:pt x="828" y="780"/>
                  </a:lnTo>
                  <a:lnTo>
                    <a:pt x="828" y="774"/>
                  </a:lnTo>
                  <a:lnTo>
                    <a:pt x="816" y="768"/>
                  </a:lnTo>
                  <a:lnTo>
                    <a:pt x="816" y="780"/>
                  </a:lnTo>
                  <a:lnTo>
                    <a:pt x="804" y="780"/>
                  </a:lnTo>
                  <a:lnTo>
                    <a:pt x="804" y="786"/>
                  </a:lnTo>
                  <a:lnTo>
                    <a:pt x="792" y="792"/>
                  </a:lnTo>
                  <a:lnTo>
                    <a:pt x="792" y="804"/>
                  </a:lnTo>
                  <a:lnTo>
                    <a:pt x="780" y="816"/>
                  </a:lnTo>
                  <a:lnTo>
                    <a:pt x="774" y="822"/>
                  </a:lnTo>
                  <a:lnTo>
                    <a:pt x="762" y="828"/>
                  </a:lnTo>
                  <a:lnTo>
                    <a:pt x="756" y="822"/>
                  </a:lnTo>
                  <a:lnTo>
                    <a:pt x="750" y="798"/>
                  </a:lnTo>
                  <a:lnTo>
                    <a:pt x="738" y="792"/>
                  </a:lnTo>
                  <a:lnTo>
                    <a:pt x="720" y="786"/>
                  </a:lnTo>
                  <a:lnTo>
                    <a:pt x="708" y="786"/>
                  </a:lnTo>
                  <a:lnTo>
                    <a:pt x="696" y="798"/>
                  </a:lnTo>
                  <a:lnTo>
                    <a:pt x="690" y="810"/>
                  </a:lnTo>
                  <a:lnTo>
                    <a:pt x="684" y="828"/>
                  </a:lnTo>
                  <a:lnTo>
                    <a:pt x="690" y="840"/>
                  </a:lnTo>
                  <a:lnTo>
                    <a:pt x="708" y="858"/>
                  </a:lnTo>
                  <a:lnTo>
                    <a:pt x="720" y="894"/>
                  </a:lnTo>
                  <a:lnTo>
                    <a:pt x="714" y="906"/>
                  </a:lnTo>
                  <a:lnTo>
                    <a:pt x="714" y="918"/>
                  </a:lnTo>
                  <a:lnTo>
                    <a:pt x="738" y="948"/>
                  </a:lnTo>
                  <a:lnTo>
                    <a:pt x="774" y="972"/>
                  </a:lnTo>
                  <a:lnTo>
                    <a:pt x="780" y="984"/>
                  </a:lnTo>
                  <a:lnTo>
                    <a:pt x="792" y="996"/>
                  </a:lnTo>
                  <a:lnTo>
                    <a:pt x="792" y="1026"/>
                  </a:lnTo>
                  <a:lnTo>
                    <a:pt x="780" y="1044"/>
                  </a:lnTo>
                  <a:lnTo>
                    <a:pt x="774" y="1050"/>
                  </a:lnTo>
                  <a:lnTo>
                    <a:pt x="768" y="1062"/>
                  </a:lnTo>
                  <a:lnTo>
                    <a:pt x="768" y="1068"/>
                  </a:lnTo>
                  <a:lnTo>
                    <a:pt x="762" y="1074"/>
                  </a:lnTo>
                  <a:lnTo>
                    <a:pt x="762" y="1080"/>
                  </a:lnTo>
                  <a:lnTo>
                    <a:pt x="756" y="1080"/>
                  </a:lnTo>
                  <a:lnTo>
                    <a:pt x="744" y="1086"/>
                  </a:lnTo>
                  <a:lnTo>
                    <a:pt x="744" y="1092"/>
                  </a:lnTo>
                  <a:lnTo>
                    <a:pt x="738" y="1092"/>
                  </a:lnTo>
                  <a:lnTo>
                    <a:pt x="726" y="1098"/>
                  </a:lnTo>
                  <a:lnTo>
                    <a:pt x="720" y="1104"/>
                  </a:lnTo>
                  <a:lnTo>
                    <a:pt x="714" y="1104"/>
                  </a:lnTo>
                  <a:lnTo>
                    <a:pt x="702" y="1116"/>
                  </a:lnTo>
                  <a:lnTo>
                    <a:pt x="696" y="1122"/>
                  </a:lnTo>
                  <a:lnTo>
                    <a:pt x="696" y="1134"/>
                  </a:lnTo>
                  <a:lnTo>
                    <a:pt x="690" y="1134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72" y="1146"/>
                  </a:lnTo>
                  <a:lnTo>
                    <a:pt x="672" y="1152"/>
                  </a:lnTo>
                  <a:lnTo>
                    <a:pt x="660" y="1152"/>
                  </a:lnTo>
                  <a:lnTo>
                    <a:pt x="642" y="1152"/>
                  </a:lnTo>
                  <a:lnTo>
                    <a:pt x="636" y="1152"/>
                  </a:lnTo>
                  <a:lnTo>
                    <a:pt x="630" y="1158"/>
                  </a:lnTo>
                  <a:lnTo>
                    <a:pt x="624" y="1164"/>
                  </a:lnTo>
                  <a:lnTo>
                    <a:pt x="618" y="1170"/>
                  </a:lnTo>
                  <a:lnTo>
                    <a:pt x="612" y="1170"/>
                  </a:lnTo>
                  <a:lnTo>
                    <a:pt x="600" y="1170"/>
                  </a:lnTo>
                  <a:lnTo>
                    <a:pt x="594" y="1170"/>
                  </a:lnTo>
                  <a:lnTo>
                    <a:pt x="588" y="1170"/>
                  </a:lnTo>
                  <a:lnTo>
                    <a:pt x="582" y="1170"/>
                  </a:lnTo>
                  <a:lnTo>
                    <a:pt x="582" y="1164"/>
                  </a:lnTo>
                  <a:lnTo>
                    <a:pt x="576" y="1158"/>
                  </a:lnTo>
                  <a:lnTo>
                    <a:pt x="570" y="1158"/>
                  </a:lnTo>
                  <a:lnTo>
                    <a:pt x="570" y="1152"/>
                  </a:lnTo>
                  <a:lnTo>
                    <a:pt x="570" y="1146"/>
                  </a:lnTo>
                  <a:lnTo>
                    <a:pt x="570" y="1140"/>
                  </a:lnTo>
                  <a:lnTo>
                    <a:pt x="564" y="1140"/>
                  </a:lnTo>
                  <a:lnTo>
                    <a:pt x="564" y="1134"/>
                  </a:lnTo>
                  <a:lnTo>
                    <a:pt x="564" y="1128"/>
                  </a:lnTo>
                  <a:lnTo>
                    <a:pt x="576" y="1104"/>
                  </a:lnTo>
                  <a:lnTo>
                    <a:pt x="582" y="1086"/>
                  </a:lnTo>
                  <a:lnTo>
                    <a:pt x="570" y="1068"/>
                  </a:lnTo>
                  <a:lnTo>
                    <a:pt x="534" y="1056"/>
                  </a:lnTo>
                  <a:lnTo>
                    <a:pt x="516" y="1026"/>
                  </a:lnTo>
                  <a:lnTo>
                    <a:pt x="492" y="1020"/>
                  </a:lnTo>
                  <a:lnTo>
                    <a:pt x="492" y="1014"/>
                  </a:lnTo>
                  <a:lnTo>
                    <a:pt x="480" y="1008"/>
                  </a:lnTo>
                  <a:lnTo>
                    <a:pt x="474" y="996"/>
                  </a:lnTo>
                  <a:lnTo>
                    <a:pt x="444" y="984"/>
                  </a:lnTo>
                  <a:lnTo>
                    <a:pt x="426" y="978"/>
                  </a:lnTo>
                  <a:lnTo>
                    <a:pt x="420" y="972"/>
                  </a:lnTo>
                  <a:lnTo>
                    <a:pt x="408" y="984"/>
                  </a:lnTo>
                  <a:lnTo>
                    <a:pt x="402" y="984"/>
                  </a:lnTo>
                  <a:lnTo>
                    <a:pt x="396" y="984"/>
                  </a:lnTo>
                  <a:lnTo>
                    <a:pt x="390" y="984"/>
                  </a:lnTo>
                  <a:lnTo>
                    <a:pt x="384" y="990"/>
                  </a:lnTo>
                  <a:lnTo>
                    <a:pt x="378" y="990"/>
                  </a:lnTo>
                  <a:lnTo>
                    <a:pt x="372" y="990"/>
                  </a:lnTo>
                  <a:lnTo>
                    <a:pt x="372" y="996"/>
                  </a:lnTo>
                  <a:lnTo>
                    <a:pt x="366" y="996"/>
                  </a:lnTo>
                  <a:lnTo>
                    <a:pt x="360" y="1002"/>
                  </a:lnTo>
                  <a:lnTo>
                    <a:pt x="360" y="1008"/>
                  </a:lnTo>
                  <a:lnTo>
                    <a:pt x="354" y="1008"/>
                  </a:lnTo>
                  <a:lnTo>
                    <a:pt x="342" y="1014"/>
                  </a:lnTo>
                  <a:lnTo>
                    <a:pt x="336" y="1020"/>
                  </a:lnTo>
                  <a:lnTo>
                    <a:pt x="336" y="1014"/>
                  </a:lnTo>
                  <a:lnTo>
                    <a:pt x="330" y="1014"/>
                  </a:lnTo>
                  <a:lnTo>
                    <a:pt x="330" y="1008"/>
                  </a:lnTo>
                  <a:lnTo>
                    <a:pt x="330" y="1002"/>
                  </a:lnTo>
                  <a:lnTo>
                    <a:pt x="324" y="1002"/>
                  </a:lnTo>
                  <a:lnTo>
                    <a:pt x="324" y="996"/>
                  </a:lnTo>
                  <a:lnTo>
                    <a:pt x="324" y="990"/>
                  </a:lnTo>
                  <a:lnTo>
                    <a:pt x="318" y="990"/>
                  </a:lnTo>
                  <a:lnTo>
                    <a:pt x="306" y="996"/>
                  </a:lnTo>
                  <a:lnTo>
                    <a:pt x="300" y="996"/>
                  </a:lnTo>
                  <a:lnTo>
                    <a:pt x="294" y="996"/>
                  </a:lnTo>
                  <a:lnTo>
                    <a:pt x="288" y="1002"/>
                  </a:lnTo>
                  <a:lnTo>
                    <a:pt x="282" y="990"/>
                  </a:lnTo>
                  <a:lnTo>
                    <a:pt x="276" y="984"/>
                  </a:lnTo>
                  <a:lnTo>
                    <a:pt x="270" y="990"/>
                  </a:lnTo>
                  <a:lnTo>
                    <a:pt x="270" y="996"/>
                  </a:lnTo>
                  <a:lnTo>
                    <a:pt x="270" y="1002"/>
                  </a:lnTo>
                  <a:lnTo>
                    <a:pt x="264" y="1008"/>
                  </a:lnTo>
                  <a:lnTo>
                    <a:pt x="252" y="996"/>
                  </a:lnTo>
                  <a:lnTo>
                    <a:pt x="246" y="996"/>
                  </a:lnTo>
                  <a:lnTo>
                    <a:pt x="234" y="1002"/>
                  </a:lnTo>
                  <a:lnTo>
                    <a:pt x="222" y="1002"/>
                  </a:lnTo>
                  <a:lnTo>
                    <a:pt x="210" y="1002"/>
                  </a:lnTo>
                  <a:lnTo>
                    <a:pt x="198" y="996"/>
                  </a:lnTo>
                  <a:lnTo>
                    <a:pt x="198" y="1002"/>
                  </a:lnTo>
                  <a:lnTo>
                    <a:pt x="198" y="1008"/>
                  </a:lnTo>
                  <a:lnTo>
                    <a:pt x="192" y="1020"/>
                  </a:lnTo>
                  <a:lnTo>
                    <a:pt x="198" y="1020"/>
                  </a:lnTo>
                  <a:lnTo>
                    <a:pt x="204" y="1020"/>
                  </a:lnTo>
                  <a:lnTo>
                    <a:pt x="210" y="1026"/>
                  </a:lnTo>
                  <a:lnTo>
                    <a:pt x="216" y="1026"/>
                  </a:lnTo>
                  <a:lnTo>
                    <a:pt x="216" y="1032"/>
                  </a:lnTo>
                  <a:lnTo>
                    <a:pt x="210" y="1032"/>
                  </a:lnTo>
                  <a:lnTo>
                    <a:pt x="210" y="1038"/>
                  </a:lnTo>
                  <a:lnTo>
                    <a:pt x="204" y="1038"/>
                  </a:lnTo>
                  <a:lnTo>
                    <a:pt x="204" y="1044"/>
                  </a:lnTo>
                  <a:lnTo>
                    <a:pt x="198" y="1044"/>
                  </a:lnTo>
                  <a:lnTo>
                    <a:pt x="192" y="1044"/>
                  </a:lnTo>
                  <a:lnTo>
                    <a:pt x="186" y="1050"/>
                  </a:lnTo>
                  <a:lnTo>
                    <a:pt x="186" y="1056"/>
                  </a:lnTo>
                  <a:lnTo>
                    <a:pt x="180" y="1056"/>
                  </a:lnTo>
                  <a:lnTo>
                    <a:pt x="180" y="1062"/>
                  </a:lnTo>
                  <a:lnTo>
                    <a:pt x="174" y="1062"/>
                  </a:lnTo>
                  <a:lnTo>
                    <a:pt x="168" y="1062"/>
                  </a:lnTo>
                  <a:lnTo>
                    <a:pt x="162" y="1062"/>
                  </a:lnTo>
                  <a:lnTo>
                    <a:pt x="156" y="1050"/>
                  </a:lnTo>
                  <a:lnTo>
                    <a:pt x="150" y="1044"/>
                  </a:lnTo>
                  <a:lnTo>
                    <a:pt x="150" y="1038"/>
                  </a:lnTo>
                  <a:lnTo>
                    <a:pt x="144" y="1032"/>
                  </a:lnTo>
                  <a:lnTo>
                    <a:pt x="144" y="1026"/>
                  </a:lnTo>
                  <a:lnTo>
                    <a:pt x="144" y="1014"/>
                  </a:lnTo>
                  <a:lnTo>
                    <a:pt x="150" y="1008"/>
                  </a:lnTo>
                  <a:lnTo>
                    <a:pt x="150" y="1002"/>
                  </a:lnTo>
                  <a:lnTo>
                    <a:pt x="156" y="984"/>
                  </a:lnTo>
                  <a:lnTo>
                    <a:pt x="162" y="978"/>
                  </a:lnTo>
                  <a:lnTo>
                    <a:pt x="162" y="972"/>
                  </a:lnTo>
                  <a:lnTo>
                    <a:pt x="150" y="966"/>
                  </a:lnTo>
                  <a:lnTo>
                    <a:pt x="144" y="966"/>
                  </a:lnTo>
                  <a:lnTo>
                    <a:pt x="138" y="966"/>
                  </a:lnTo>
                  <a:lnTo>
                    <a:pt x="138" y="954"/>
                  </a:lnTo>
                  <a:lnTo>
                    <a:pt x="132" y="954"/>
                  </a:lnTo>
                  <a:lnTo>
                    <a:pt x="138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8" y="924"/>
                  </a:lnTo>
                  <a:lnTo>
                    <a:pt x="132" y="930"/>
                  </a:lnTo>
                  <a:lnTo>
                    <a:pt x="132" y="924"/>
                  </a:lnTo>
                  <a:lnTo>
                    <a:pt x="126" y="918"/>
                  </a:lnTo>
                  <a:lnTo>
                    <a:pt x="132" y="918"/>
                  </a:lnTo>
                  <a:lnTo>
                    <a:pt x="132" y="912"/>
                  </a:lnTo>
                  <a:lnTo>
                    <a:pt x="126" y="912"/>
                  </a:lnTo>
                  <a:lnTo>
                    <a:pt x="120" y="912"/>
                  </a:lnTo>
                  <a:lnTo>
                    <a:pt x="120" y="918"/>
                  </a:lnTo>
                  <a:lnTo>
                    <a:pt x="114" y="918"/>
                  </a:lnTo>
                  <a:lnTo>
                    <a:pt x="114" y="912"/>
                  </a:lnTo>
                  <a:lnTo>
                    <a:pt x="108" y="912"/>
                  </a:lnTo>
                  <a:lnTo>
                    <a:pt x="102" y="912"/>
                  </a:lnTo>
                  <a:lnTo>
                    <a:pt x="108" y="906"/>
                  </a:lnTo>
                  <a:lnTo>
                    <a:pt x="102" y="906"/>
                  </a:lnTo>
                  <a:lnTo>
                    <a:pt x="96" y="906"/>
                  </a:lnTo>
                  <a:lnTo>
                    <a:pt x="96" y="912"/>
                  </a:lnTo>
                  <a:lnTo>
                    <a:pt x="90" y="918"/>
                  </a:lnTo>
                  <a:lnTo>
                    <a:pt x="90" y="912"/>
                  </a:lnTo>
                  <a:lnTo>
                    <a:pt x="84" y="912"/>
                  </a:lnTo>
                  <a:lnTo>
                    <a:pt x="84" y="918"/>
                  </a:lnTo>
                  <a:lnTo>
                    <a:pt x="78" y="918"/>
                  </a:lnTo>
                  <a:lnTo>
                    <a:pt x="78" y="912"/>
                  </a:lnTo>
                  <a:lnTo>
                    <a:pt x="78" y="906"/>
                  </a:lnTo>
                  <a:lnTo>
                    <a:pt x="72" y="900"/>
                  </a:lnTo>
                  <a:lnTo>
                    <a:pt x="78" y="900"/>
                  </a:lnTo>
                  <a:lnTo>
                    <a:pt x="72" y="900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8" y="888"/>
                  </a:lnTo>
                  <a:lnTo>
                    <a:pt x="72" y="888"/>
                  </a:lnTo>
                  <a:lnTo>
                    <a:pt x="72" y="882"/>
                  </a:lnTo>
                  <a:lnTo>
                    <a:pt x="66" y="876"/>
                  </a:lnTo>
                  <a:lnTo>
                    <a:pt x="60" y="882"/>
                  </a:lnTo>
                  <a:lnTo>
                    <a:pt x="54" y="876"/>
                  </a:lnTo>
                  <a:lnTo>
                    <a:pt x="54" y="882"/>
                  </a:lnTo>
                  <a:lnTo>
                    <a:pt x="48" y="882"/>
                  </a:lnTo>
                  <a:lnTo>
                    <a:pt x="42" y="870"/>
                  </a:lnTo>
                  <a:lnTo>
                    <a:pt x="42" y="864"/>
                  </a:lnTo>
                  <a:lnTo>
                    <a:pt x="36" y="858"/>
                  </a:lnTo>
                  <a:lnTo>
                    <a:pt x="36" y="852"/>
                  </a:lnTo>
                  <a:lnTo>
                    <a:pt x="30" y="852"/>
                  </a:lnTo>
                  <a:lnTo>
                    <a:pt x="30" y="846"/>
                  </a:lnTo>
                  <a:lnTo>
                    <a:pt x="24" y="846"/>
                  </a:lnTo>
                  <a:lnTo>
                    <a:pt x="18" y="840"/>
                  </a:lnTo>
                  <a:lnTo>
                    <a:pt x="12" y="834"/>
                  </a:lnTo>
                  <a:lnTo>
                    <a:pt x="0" y="828"/>
                  </a:lnTo>
                  <a:lnTo>
                    <a:pt x="0" y="822"/>
                  </a:lnTo>
                  <a:lnTo>
                    <a:pt x="0" y="816"/>
                  </a:lnTo>
                  <a:lnTo>
                    <a:pt x="0" y="810"/>
                  </a:lnTo>
                  <a:lnTo>
                    <a:pt x="6" y="804"/>
                  </a:lnTo>
                  <a:lnTo>
                    <a:pt x="12" y="804"/>
                  </a:lnTo>
                  <a:lnTo>
                    <a:pt x="12" y="798"/>
                  </a:lnTo>
                  <a:lnTo>
                    <a:pt x="12" y="792"/>
                  </a:lnTo>
                  <a:lnTo>
                    <a:pt x="6" y="792"/>
                  </a:lnTo>
                  <a:lnTo>
                    <a:pt x="6" y="786"/>
                  </a:lnTo>
                  <a:lnTo>
                    <a:pt x="6" y="780"/>
                  </a:lnTo>
                  <a:lnTo>
                    <a:pt x="18" y="780"/>
                  </a:lnTo>
                  <a:lnTo>
                    <a:pt x="18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0" y="774"/>
                  </a:lnTo>
                  <a:lnTo>
                    <a:pt x="36" y="768"/>
                  </a:lnTo>
                  <a:lnTo>
                    <a:pt x="42" y="768"/>
                  </a:lnTo>
                  <a:lnTo>
                    <a:pt x="60" y="750"/>
                  </a:lnTo>
                  <a:lnTo>
                    <a:pt x="60" y="744"/>
                  </a:lnTo>
                  <a:lnTo>
                    <a:pt x="54" y="738"/>
                  </a:lnTo>
                  <a:lnTo>
                    <a:pt x="60" y="732"/>
                  </a:lnTo>
                  <a:lnTo>
                    <a:pt x="54" y="732"/>
                  </a:lnTo>
                  <a:lnTo>
                    <a:pt x="60" y="726"/>
                  </a:lnTo>
                  <a:lnTo>
                    <a:pt x="66" y="720"/>
                  </a:lnTo>
                  <a:lnTo>
                    <a:pt x="72" y="714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84" y="696"/>
                  </a:lnTo>
                  <a:lnTo>
                    <a:pt x="90" y="684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66"/>
                  </a:lnTo>
                  <a:lnTo>
                    <a:pt x="90" y="660"/>
                  </a:lnTo>
                  <a:lnTo>
                    <a:pt x="84" y="654"/>
                  </a:lnTo>
                  <a:lnTo>
                    <a:pt x="84" y="648"/>
                  </a:lnTo>
                  <a:lnTo>
                    <a:pt x="78" y="636"/>
                  </a:lnTo>
                  <a:lnTo>
                    <a:pt x="66" y="630"/>
                  </a:lnTo>
                  <a:lnTo>
                    <a:pt x="66" y="624"/>
                  </a:lnTo>
                  <a:lnTo>
                    <a:pt x="60" y="624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60" y="600"/>
                  </a:lnTo>
                  <a:lnTo>
                    <a:pt x="66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6" y="588"/>
                  </a:lnTo>
                  <a:lnTo>
                    <a:pt x="66" y="582"/>
                  </a:lnTo>
                  <a:lnTo>
                    <a:pt x="72" y="582"/>
                  </a:lnTo>
                  <a:lnTo>
                    <a:pt x="78" y="576"/>
                  </a:lnTo>
                  <a:lnTo>
                    <a:pt x="72" y="576"/>
                  </a:lnTo>
                  <a:lnTo>
                    <a:pt x="66" y="570"/>
                  </a:lnTo>
                  <a:lnTo>
                    <a:pt x="72" y="564"/>
                  </a:lnTo>
                  <a:lnTo>
                    <a:pt x="78" y="558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90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102" y="516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0" y="504"/>
                  </a:lnTo>
                  <a:lnTo>
                    <a:pt x="120" y="498"/>
                  </a:lnTo>
                  <a:lnTo>
                    <a:pt x="120" y="492"/>
                  </a:lnTo>
                  <a:lnTo>
                    <a:pt x="126" y="480"/>
                  </a:lnTo>
                  <a:lnTo>
                    <a:pt x="132" y="474"/>
                  </a:lnTo>
                  <a:lnTo>
                    <a:pt x="132" y="468"/>
                  </a:lnTo>
                  <a:lnTo>
                    <a:pt x="138" y="462"/>
                  </a:lnTo>
                  <a:lnTo>
                    <a:pt x="138" y="456"/>
                  </a:lnTo>
                  <a:lnTo>
                    <a:pt x="138" y="450"/>
                  </a:lnTo>
                  <a:lnTo>
                    <a:pt x="144" y="444"/>
                  </a:lnTo>
                  <a:lnTo>
                    <a:pt x="162" y="438"/>
                  </a:lnTo>
                  <a:lnTo>
                    <a:pt x="186" y="438"/>
                  </a:lnTo>
                  <a:lnTo>
                    <a:pt x="210" y="444"/>
                  </a:lnTo>
                  <a:lnTo>
                    <a:pt x="276" y="450"/>
                  </a:lnTo>
                  <a:lnTo>
                    <a:pt x="342" y="450"/>
                  </a:lnTo>
                  <a:lnTo>
                    <a:pt x="348" y="450"/>
                  </a:lnTo>
                  <a:lnTo>
                    <a:pt x="354" y="450"/>
                  </a:lnTo>
                  <a:lnTo>
                    <a:pt x="360" y="456"/>
                  </a:lnTo>
                  <a:lnTo>
                    <a:pt x="354" y="462"/>
                  </a:lnTo>
                  <a:lnTo>
                    <a:pt x="354" y="468"/>
                  </a:lnTo>
                  <a:lnTo>
                    <a:pt x="354" y="474"/>
                  </a:lnTo>
                  <a:lnTo>
                    <a:pt x="348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48" y="498"/>
                  </a:lnTo>
                  <a:lnTo>
                    <a:pt x="342" y="510"/>
                  </a:lnTo>
                  <a:lnTo>
                    <a:pt x="348" y="528"/>
                  </a:lnTo>
                  <a:lnTo>
                    <a:pt x="348" y="534"/>
                  </a:lnTo>
                  <a:lnTo>
                    <a:pt x="354" y="552"/>
                  </a:lnTo>
                  <a:lnTo>
                    <a:pt x="366" y="546"/>
                  </a:lnTo>
                  <a:lnTo>
                    <a:pt x="372" y="540"/>
                  </a:lnTo>
                  <a:lnTo>
                    <a:pt x="384" y="540"/>
                  </a:lnTo>
                  <a:lnTo>
                    <a:pt x="396" y="534"/>
                  </a:lnTo>
                  <a:lnTo>
                    <a:pt x="402" y="534"/>
                  </a:lnTo>
                  <a:lnTo>
                    <a:pt x="414" y="546"/>
                  </a:lnTo>
                  <a:lnTo>
                    <a:pt x="432" y="540"/>
                  </a:lnTo>
                  <a:lnTo>
                    <a:pt x="450" y="534"/>
                  </a:lnTo>
                  <a:lnTo>
                    <a:pt x="450" y="528"/>
                  </a:lnTo>
                  <a:lnTo>
                    <a:pt x="456" y="528"/>
                  </a:lnTo>
                  <a:lnTo>
                    <a:pt x="456" y="522"/>
                  </a:lnTo>
                  <a:lnTo>
                    <a:pt x="456" y="516"/>
                  </a:lnTo>
                  <a:lnTo>
                    <a:pt x="462" y="516"/>
                  </a:lnTo>
                  <a:lnTo>
                    <a:pt x="468" y="510"/>
                  </a:lnTo>
                  <a:lnTo>
                    <a:pt x="468" y="504"/>
                  </a:lnTo>
                  <a:lnTo>
                    <a:pt x="474" y="504"/>
                  </a:lnTo>
                  <a:lnTo>
                    <a:pt x="480" y="504"/>
                  </a:lnTo>
                  <a:lnTo>
                    <a:pt x="486" y="498"/>
                  </a:lnTo>
                  <a:lnTo>
                    <a:pt x="492" y="498"/>
                  </a:lnTo>
                  <a:lnTo>
                    <a:pt x="486" y="480"/>
                  </a:lnTo>
                  <a:lnTo>
                    <a:pt x="492" y="462"/>
                  </a:lnTo>
                  <a:lnTo>
                    <a:pt x="498" y="444"/>
                  </a:lnTo>
                  <a:lnTo>
                    <a:pt x="498" y="426"/>
                  </a:lnTo>
                  <a:lnTo>
                    <a:pt x="498" y="420"/>
                  </a:lnTo>
                  <a:lnTo>
                    <a:pt x="504" y="426"/>
                  </a:lnTo>
                  <a:lnTo>
                    <a:pt x="504" y="420"/>
                  </a:lnTo>
                  <a:lnTo>
                    <a:pt x="510" y="420"/>
                  </a:lnTo>
                  <a:lnTo>
                    <a:pt x="510" y="414"/>
                  </a:lnTo>
                  <a:lnTo>
                    <a:pt x="510" y="408"/>
                  </a:lnTo>
                  <a:lnTo>
                    <a:pt x="504" y="402"/>
                  </a:lnTo>
                  <a:lnTo>
                    <a:pt x="504" y="396"/>
                  </a:lnTo>
                  <a:lnTo>
                    <a:pt x="504" y="384"/>
                  </a:lnTo>
                  <a:lnTo>
                    <a:pt x="504" y="378"/>
                  </a:lnTo>
                  <a:lnTo>
                    <a:pt x="504" y="360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510" y="348"/>
                  </a:lnTo>
                  <a:lnTo>
                    <a:pt x="510" y="336"/>
                  </a:lnTo>
                  <a:lnTo>
                    <a:pt x="516" y="330"/>
                  </a:lnTo>
                  <a:lnTo>
                    <a:pt x="522" y="324"/>
                  </a:lnTo>
                  <a:lnTo>
                    <a:pt x="528" y="318"/>
                  </a:lnTo>
                  <a:lnTo>
                    <a:pt x="534" y="312"/>
                  </a:lnTo>
                  <a:lnTo>
                    <a:pt x="534" y="300"/>
                  </a:lnTo>
                  <a:lnTo>
                    <a:pt x="540" y="294"/>
                  </a:lnTo>
                  <a:lnTo>
                    <a:pt x="546" y="288"/>
                  </a:lnTo>
                  <a:lnTo>
                    <a:pt x="552" y="276"/>
                  </a:lnTo>
                  <a:lnTo>
                    <a:pt x="558" y="264"/>
                  </a:lnTo>
                  <a:lnTo>
                    <a:pt x="558" y="258"/>
                  </a:lnTo>
                  <a:lnTo>
                    <a:pt x="558" y="252"/>
                  </a:lnTo>
                  <a:lnTo>
                    <a:pt x="558" y="246"/>
                  </a:lnTo>
                  <a:lnTo>
                    <a:pt x="564" y="246"/>
                  </a:lnTo>
                  <a:lnTo>
                    <a:pt x="564" y="240"/>
                  </a:lnTo>
                  <a:lnTo>
                    <a:pt x="570" y="234"/>
                  </a:lnTo>
                  <a:lnTo>
                    <a:pt x="564" y="216"/>
                  </a:lnTo>
                  <a:lnTo>
                    <a:pt x="564" y="210"/>
                  </a:lnTo>
                  <a:lnTo>
                    <a:pt x="570" y="210"/>
                  </a:lnTo>
                  <a:lnTo>
                    <a:pt x="570" y="204"/>
                  </a:lnTo>
                  <a:lnTo>
                    <a:pt x="570" y="198"/>
                  </a:lnTo>
                  <a:lnTo>
                    <a:pt x="582" y="180"/>
                  </a:lnTo>
                  <a:lnTo>
                    <a:pt x="582" y="174"/>
                  </a:lnTo>
                  <a:lnTo>
                    <a:pt x="582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606" y="150"/>
                  </a:lnTo>
                  <a:lnTo>
                    <a:pt x="612" y="150"/>
                  </a:lnTo>
                  <a:lnTo>
                    <a:pt x="618" y="150"/>
                  </a:lnTo>
                  <a:lnTo>
                    <a:pt x="624" y="138"/>
                  </a:lnTo>
                  <a:lnTo>
                    <a:pt x="618" y="132"/>
                  </a:lnTo>
                  <a:lnTo>
                    <a:pt x="618" y="126"/>
                  </a:lnTo>
                  <a:lnTo>
                    <a:pt x="618" y="120"/>
                  </a:lnTo>
                  <a:lnTo>
                    <a:pt x="618" y="114"/>
                  </a:lnTo>
                  <a:lnTo>
                    <a:pt x="612" y="108"/>
                  </a:lnTo>
                  <a:lnTo>
                    <a:pt x="612" y="102"/>
                  </a:lnTo>
                  <a:lnTo>
                    <a:pt x="618" y="90"/>
                  </a:lnTo>
                  <a:lnTo>
                    <a:pt x="624" y="84"/>
                  </a:lnTo>
                  <a:lnTo>
                    <a:pt x="618" y="84"/>
                  </a:lnTo>
                  <a:lnTo>
                    <a:pt x="618" y="78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0" y="72"/>
                  </a:lnTo>
                  <a:lnTo>
                    <a:pt x="600" y="66"/>
                  </a:lnTo>
                  <a:lnTo>
                    <a:pt x="600" y="60"/>
                  </a:lnTo>
                  <a:lnTo>
                    <a:pt x="600" y="48"/>
                  </a:lnTo>
                  <a:lnTo>
                    <a:pt x="612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36"/>
                  </a:lnTo>
                  <a:lnTo>
                    <a:pt x="630" y="30"/>
                  </a:lnTo>
                  <a:lnTo>
                    <a:pt x="636" y="24"/>
                  </a:lnTo>
                  <a:lnTo>
                    <a:pt x="642" y="24"/>
                  </a:lnTo>
                  <a:lnTo>
                    <a:pt x="648" y="24"/>
                  </a:lnTo>
                  <a:lnTo>
                    <a:pt x="648" y="18"/>
                  </a:lnTo>
                  <a:lnTo>
                    <a:pt x="654" y="12"/>
                  </a:lnTo>
                  <a:lnTo>
                    <a:pt x="660" y="0"/>
                  </a:lnTo>
                  <a:lnTo>
                    <a:pt x="678" y="0"/>
                  </a:lnTo>
                  <a:lnTo>
                    <a:pt x="696" y="0"/>
                  </a:lnTo>
                  <a:lnTo>
                    <a:pt x="702" y="0"/>
                  </a:lnTo>
                  <a:lnTo>
                    <a:pt x="714" y="0"/>
                  </a:lnTo>
                  <a:lnTo>
                    <a:pt x="720" y="6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44" y="24"/>
                  </a:lnTo>
                  <a:lnTo>
                    <a:pt x="744" y="30"/>
                  </a:lnTo>
                  <a:lnTo>
                    <a:pt x="732" y="42"/>
                  </a:lnTo>
                  <a:lnTo>
                    <a:pt x="726" y="42"/>
                  </a:lnTo>
                  <a:lnTo>
                    <a:pt x="720" y="42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54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90"/>
                  </a:lnTo>
                  <a:lnTo>
                    <a:pt x="726" y="84"/>
                  </a:lnTo>
                  <a:lnTo>
                    <a:pt x="738" y="84"/>
                  </a:lnTo>
                  <a:lnTo>
                    <a:pt x="750" y="96"/>
                  </a:lnTo>
                  <a:lnTo>
                    <a:pt x="768" y="96"/>
                  </a:lnTo>
                  <a:lnTo>
                    <a:pt x="768" y="90"/>
                  </a:lnTo>
                  <a:lnTo>
                    <a:pt x="774" y="84"/>
                  </a:lnTo>
                  <a:lnTo>
                    <a:pt x="780" y="78"/>
                  </a:lnTo>
                  <a:lnTo>
                    <a:pt x="786" y="78"/>
                  </a:lnTo>
                  <a:lnTo>
                    <a:pt x="792" y="72"/>
                  </a:lnTo>
                  <a:lnTo>
                    <a:pt x="804" y="72"/>
                  </a:lnTo>
                  <a:lnTo>
                    <a:pt x="804" y="66"/>
                  </a:lnTo>
                  <a:lnTo>
                    <a:pt x="810" y="66"/>
                  </a:lnTo>
                  <a:lnTo>
                    <a:pt x="810" y="72"/>
                  </a:lnTo>
                  <a:lnTo>
                    <a:pt x="816" y="66"/>
                  </a:lnTo>
                  <a:lnTo>
                    <a:pt x="828" y="66"/>
                  </a:lnTo>
                  <a:lnTo>
                    <a:pt x="834" y="72"/>
                  </a:lnTo>
                  <a:lnTo>
                    <a:pt x="840" y="72"/>
                  </a:lnTo>
                  <a:lnTo>
                    <a:pt x="840" y="78"/>
                  </a:lnTo>
                  <a:lnTo>
                    <a:pt x="840" y="84"/>
                  </a:lnTo>
                  <a:lnTo>
                    <a:pt x="852" y="84"/>
                  </a:lnTo>
                  <a:lnTo>
                    <a:pt x="858" y="96"/>
                  </a:lnTo>
                  <a:lnTo>
                    <a:pt x="864" y="108"/>
                  </a:lnTo>
                  <a:lnTo>
                    <a:pt x="876" y="114"/>
                  </a:lnTo>
                  <a:lnTo>
                    <a:pt x="894" y="114"/>
                  </a:lnTo>
                  <a:lnTo>
                    <a:pt x="906" y="114"/>
                  </a:lnTo>
                  <a:lnTo>
                    <a:pt x="906" y="126"/>
                  </a:lnTo>
                  <a:lnTo>
                    <a:pt x="912" y="144"/>
                  </a:lnTo>
                  <a:lnTo>
                    <a:pt x="930" y="138"/>
                  </a:lnTo>
                  <a:lnTo>
                    <a:pt x="936" y="138"/>
                  </a:lnTo>
                  <a:lnTo>
                    <a:pt x="942" y="144"/>
                  </a:lnTo>
                  <a:lnTo>
                    <a:pt x="948" y="150"/>
                  </a:lnTo>
                  <a:lnTo>
                    <a:pt x="954" y="156"/>
                  </a:lnTo>
                  <a:lnTo>
                    <a:pt x="954" y="168"/>
                  </a:lnTo>
                  <a:lnTo>
                    <a:pt x="954" y="174"/>
                  </a:lnTo>
                  <a:lnTo>
                    <a:pt x="960" y="180"/>
                  </a:lnTo>
                  <a:lnTo>
                    <a:pt x="966" y="186"/>
                  </a:lnTo>
                  <a:lnTo>
                    <a:pt x="960" y="186"/>
                  </a:lnTo>
                  <a:lnTo>
                    <a:pt x="966" y="192"/>
                  </a:lnTo>
                  <a:lnTo>
                    <a:pt x="966" y="198"/>
                  </a:lnTo>
                  <a:lnTo>
                    <a:pt x="978" y="204"/>
                  </a:lnTo>
                  <a:lnTo>
                    <a:pt x="1050" y="186"/>
                  </a:lnTo>
                  <a:lnTo>
                    <a:pt x="1056" y="198"/>
                  </a:lnTo>
                  <a:lnTo>
                    <a:pt x="1068" y="210"/>
                  </a:lnTo>
                  <a:lnTo>
                    <a:pt x="1074" y="216"/>
                  </a:lnTo>
                  <a:lnTo>
                    <a:pt x="1080" y="252"/>
                  </a:lnTo>
                  <a:lnTo>
                    <a:pt x="1086" y="270"/>
                  </a:lnTo>
                  <a:lnTo>
                    <a:pt x="1092" y="282"/>
                  </a:lnTo>
                  <a:lnTo>
                    <a:pt x="1086" y="300"/>
                  </a:lnTo>
                  <a:lnTo>
                    <a:pt x="1074" y="330"/>
                  </a:lnTo>
                  <a:lnTo>
                    <a:pt x="1068" y="336"/>
                  </a:lnTo>
                  <a:lnTo>
                    <a:pt x="1062" y="348"/>
                  </a:lnTo>
                  <a:lnTo>
                    <a:pt x="1062" y="360"/>
                  </a:lnTo>
                  <a:lnTo>
                    <a:pt x="1068" y="378"/>
                  </a:lnTo>
                  <a:lnTo>
                    <a:pt x="1074" y="390"/>
                  </a:lnTo>
                  <a:lnTo>
                    <a:pt x="1068" y="396"/>
                  </a:lnTo>
                  <a:lnTo>
                    <a:pt x="1068" y="408"/>
                  </a:lnTo>
                  <a:lnTo>
                    <a:pt x="1062" y="414"/>
                  </a:lnTo>
                  <a:lnTo>
                    <a:pt x="1050" y="432"/>
                  </a:lnTo>
                  <a:lnTo>
                    <a:pt x="1044" y="450"/>
                  </a:lnTo>
                  <a:lnTo>
                    <a:pt x="1038" y="456"/>
                  </a:lnTo>
                  <a:lnTo>
                    <a:pt x="1026" y="468"/>
                  </a:lnTo>
                  <a:lnTo>
                    <a:pt x="1026" y="474"/>
                  </a:lnTo>
                  <a:lnTo>
                    <a:pt x="1026" y="480"/>
                  </a:lnTo>
                  <a:lnTo>
                    <a:pt x="1032" y="492"/>
                  </a:lnTo>
                  <a:lnTo>
                    <a:pt x="1044" y="504"/>
                  </a:lnTo>
                  <a:lnTo>
                    <a:pt x="1044" y="516"/>
                  </a:lnTo>
                  <a:lnTo>
                    <a:pt x="1038" y="528"/>
                  </a:lnTo>
                  <a:lnTo>
                    <a:pt x="1032" y="546"/>
                  </a:lnTo>
                  <a:lnTo>
                    <a:pt x="1032" y="570"/>
                  </a:lnTo>
                  <a:lnTo>
                    <a:pt x="1050" y="594"/>
                  </a:lnTo>
                  <a:lnTo>
                    <a:pt x="1056" y="624"/>
                  </a:lnTo>
                  <a:lnTo>
                    <a:pt x="1056" y="65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9" name="Freeform 24">
              <a:extLst>
                <a:ext uri="{FF2B5EF4-FFF2-40B4-BE49-F238E27FC236}">
                  <a16:creationId xmlns:a16="http://schemas.microsoft.com/office/drawing/2014/main" id="{CAE689DA-332A-4F73-BDE6-8865C9170AA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84829" y="3213406"/>
              <a:ext cx="851989" cy="744754"/>
            </a:xfrm>
            <a:custGeom>
              <a:avLst/>
              <a:gdLst>
                <a:gd name="T0" fmla="*/ 116 w 1602"/>
                <a:gd name="T1" fmla="*/ 91 h 1404"/>
                <a:gd name="T2" fmla="*/ 111 w 1602"/>
                <a:gd name="T3" fmla="*/ 95 h 1404"/>
                <a:gd name="T4" fmla="*/ 102 w 1602"/>
                <a:gd name="T5" fmla="*/ 101 h 1404"/>
                <a:gd name="T6" fmla="*/ 99 w 1602"/>
                <a:gd name="T7" fmla="*/ 103 h 1404"/>
                <a:gd name="T8" fmla="*/ 96 w 1602"/>
                <a:gd name="T9" fmla="*/ 106 h 1404"/>
                <a:gd name="T10" fmla="*/ 93 w 1602"/>
                <a:gd name="T11" fmla="*/ 108 h 1404"/>
                <a:gd name="T12" fmla="*/ 88 w 1602"/>
                <a:gd name="T13" fmla="*/ 106 h 1404"/>
                <a:gd name="T14" fmla="*/ 86 w 1602"/>
                <a:gd name="T15" fmla="*/ 108 h 1404"/>
                <a:gd name="T16" fmla="*/ 81 w 1602"/>
                <a:gd name="T17" fmla="*/ 119 h 1404"/>
                <a:gd name="T18" fmla="*/ 71 w 1602"/>
                <a:gd name="T19" fmla="*/ 109 h 1404"/>
                <a:gd name="T20" fmla="*/ 72 w 1602"/>
                <a:gd name="T21" fmla="*/ 101 h 1404"/>
                <a:gd name="T22" fmla="*/ 74 w 1602"/>
                <a:gd name="T23" fmla="*/ 93 h 1404"/>
                <a:gd name="T24" fmla="*/ 73 w 1602"/>
                <a:gd name="T25" fmla="*/ 82 h 1404"/>
                <a:gd name="T26" fmla="*/ 64 w 1602"/>
                <a:gd name="T27" fmla="*/ 79 h 1404"/>
                <a:gd name="T28" fmla="*/ 59 w 1602"/>
                <a:gd name="T29" fmla="*/ 75 h 1404"/>
                <a:gd name="T30" fmla="*/ 54 w 1602"/>
                <a:gd name="T31" fmla="*/ 71 h 1404"/>
                <a:gd name="T32" fmla="*/ 51 w 1602"/>
                <a:gd name="T33" fmla="*/ 70 h 1404"/>
                <a:gd name="T34" fmla="*/ 45 w 1602"/>
                <a:gd name="T35" fmla="*/ 71 h 1404"/>
                <a:gd name="T36" fmla="*/ 43 w 1602"/>
                <a:gd name="T37" fmla="*/ 68 h 1404"/>
                <a:gd name="T38" fmla="*/ 43 w 1602"/>
                <a:gd name="T39" fmla="*/ 64 h 1404"/>
                <a:gd name="T40" fmla="*/ 36 w 1602"/>
                <a:gd name="T41" fmla="*/ 66 h 1404"/>
                <a:gd name="T42" fmla="*/ 31 w 1602"/>
                <a:gd name="T43" fmla="*/ 55 h 1404"/>
                <a:gd name="T44" fmla="*/ 25 w 1602"/>
                <a:gd name="T45" fmla="*/ 53 h 1404"/>
                <a:gd name="T46" fmla="*/ 19 w 1602"/>
                <a:gd name="T47" fmla="*/ 51 h 1404"/>
                <a:gd name="T48" fmla="*/ 17 w 1602"/>
                <a:gd name="T49" fmla="*/ 43 h 1404"/>
                <a:gd name="T50" fmla="*/ 17 w 1602"/>
                <a:gd name="T51" fmla="*/ 39 h 1404"/>
                <a:gd name="T52" fmla="*/ 12 w 1602"/>
                <a:gd name="T53" fmla="*/ 39 h 1404"/>
                <a:gd name="T54" fmla="*/ 10 w 1602"/>
                <a:gd name="T55" fmla="*/ 35 h 1404"/>
                <a:gd name="T56" fmla="*/ 5 w 1602"/>
                <a:gd name="T57" fmla="*/ 30 h 1404"/>
                <a:gd name="T58" fmla="*/ 3 w 1602"/>
                <a:gd name="T59" fmla="*/ 27 h 1404"/>
                <a:gd name="T60" fmla="*/ 2 w 1602"/>
                <a:gd name="T61" fmla="*/ 25 h 1404"/>
                <a:gd name="T62" fmla="*/ 0 w 1602"/>
                <a:gd name="T63" fmla="*/ 22 h 1404"/>
                <a:gd name="T64" fmla="*/ 8 w 1602"/>
                <a:gd name="T65" fmla="*/ 14 h 1404"/>
                <a:gd name="T66" fmla="*/ 16 w 1602"/>
                <a:gd name="T67" fmla="*/ 16 h 1404"/>
                <a:gd name="T68" fmla="*/ 31 w 1602"/>
                <a:gd name="T69" fmla="*/ 18 h 1404"/>
                <a:gd name="T70" fmla="*/ 43 w 1602"/>
                <a:gd name="T71" fmla="*/ 17 h 1404"/>
                <a:gd name="T72" fmla="*/ 47 w 1602"/>
                <a:gd name="T73" fmla="*/ 6 h 1404"/>
                <a:gd name="T74" fmla="*/ 52 w 1602"/>
                <a:gd name="T75" fmla="*/ 0 h 1404"/>
                <a:gd name="T76" fmla="*/ 55 w 1602"/>
                <a:gd name="T77" fmla="*/ 3 h 1404"/>
                <a:gd name="T78" fmla="*/ 59 w 1602"/>
                <a:gd name="T79" fmla="*/ 9 h 1404"/>
                <a:gd name="T80" fmla="*/ 62 w 1602"/>
                <a:gd name="T81" fmla="*/ 16 h 1404"/>
                <a:gd name="T82" fmla="*/ 66 w 1602"/>
                <a:gd name="T83" fmla="*/ 20 h 1404"/>
                <a:gd name="T84" fmla="*/ 70 w 1602"/>
                <a:gd name="T85" fmla="*/ 25 h 1404"/>
                <a:gd name="T86" fmla="*/ 74 w 1602"/>
                <a:gd name="T87" fmla="*/ 30 h 1404"/>
                <a:gd name="T88" fmla="*/ 76 w 1602"/>
                <a:gd name="T89" fmla="*/ 27 h 1404"/>
                <a:gd name="T90" fmla="*/ 78 w 1602"/>
                <a:gd name="T91" fmla="*/ 27 h 1404"/>
                <a:gd name="T92" fmla="*/ 78 w 1602"/>
                <a:gd name="T93" fmla="*/ 23 h 1404"/>
                <a:gd name="T94" fmla="*/ 82 w 1602"/>
                <a:gd name="T95" fmla="*/ 20 h 1404"/>
                <a:gd name="T96" fmla="*/ 82 w 1602"/>
                <a:gd name="T97" fmla="*/ 18 h 1404"/>
                <a:gd name="T98" fmla="*/ 90 w 1602"/>
                <a:gd name="T99" fmla="*/ 24 h 1404"/>
                <a:gd name="T100" fmla="*/ 90 w 1602"/>
                <a:gd name="T101" fmla="*/ 45 h 1404"/>
                <a:gd name="T102" fmla="*/ 104 w 1602"/>
                <a:gd name="T103" fmla="*/ 41 h 1404"/>
                <a:gd name="T104" fmla="*/ 117 w 1602"/>
                <a:gd name="T105" fmla="*/ 39 h 1404"/>
                <a:gd name="T106" fmla="*/ 125 w 1602"/>
                <a:gd name="T107" fmla="*/ 39 h 1404"/>
                <a:gd name="T108" fmla="*/ 127 w 1602"/>
                <a:gd name="T109" fmla="*/ 43 h 1404"/>
                <a:gd name="T110" fmla="*/ 131 w 1602"/>
                <a:gd name="T111" fmla="*/ 53 h 1404"/>
                <a:gd name="T112" fmla="*/ 133 w 1602"/>
                <a:gd name="T113" fmla="*/ 60 h 1404"/>
                <a:gd name="T114" fmla="*/ 138 w 1602"/>
                <a:gd name="T115" fmla="*/ 73 h 1404"/>
                <a:gd name="T116" fmla="*/ 136 w 1602"/>
                <a:gd name="T117" fmla="*/ 80 h 1404"/>
                <a:gd name="T118" fmla="*/ 129 w 1602"/>
                <a:gd name="T119" fmla="*/ 87 h 1404"/>
                <a:gd name="T120" fmla="*/ 123 w 1602"/>
                <a:gd name="T121" fmla="*/ 95 h 14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02"/>
                <a:gd name="T184" fmla="*/ 0 h 1404"/>
                <a:gd name="T185" fmla="*/ 1602 w 1602"/>
                <a:gd name="T186" fmla="*/ 1404 h 14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02" h="1404">
                  <a:moveTo>
                    <a:pt x="1392" y="1080"/>
                  </a:moveTo>
                  <a:lnTo>
                    <a:pt x="1380" y="1074"/>
                  </a:lnTo>
                  <a:lnTo>
                    <a:pt x="1368" y="1056"/>
                  </a:lnTo>
                  <a:lnTo>
                    <a:pt x="1356" y="1044"/>
                  </a:lnTo>
                  <a:lnTo>
                    <a:pt x="1344" y="1038"/>
                  </a:lnTo>
                  <a:lnTo>
                    <a:pt x="1338" y="1038"/>
                  </a:lnTo>
                  <a:lnTo>
                    <a:pt x="1332" y="1038"/>
                  </a:lnTo>
                  <a:lnTo>
                    <a:pt x="1326" y="1044"/>
                  </a:lnTo>
                  <a:lnTo>
                    <a:pt x="1320" y="1044"/>
                  </a:lnTo>
                  <a:lnTo>
                    <a:pt x="1314" y="1044"/>
                  </a:lnTo>
                  <a:lnTo>
                    <a:pt x="1296" y="1056"/>
                  </a:lnTo>
                  <a:lnTo>
                    <a:pt x="1296" y="1080"/>
                  </a:lnTo>
                  <a:lnTo>
                    <a:pt x="1290" y="1080"/>
                  </a:lnTo>
                  <a:lnTo>
                    <a:pt x="1284" y="1086"/>
                  </a:lnTo>
                  <a:lnTo>
                    <a:pt x="1278" y="1086"/>
                  </a:lnTo>
                  <a:lnTo>
                    <a:pt x="1278" y="1092"/>
                  </a:lnTo>
                  <a:lnTo>
                    <a:pt x="1272" y="1092"/>
                  </a:lnTo>
                  <a:lnTo>
                    <a:pt x="1266" y="1086"/>
                  </a:lnTo>
                  <a:lnTo>
                    <a:pt x="1260" y="1086"/>
                  </a:lnTo>
                  <a:lnTo>
                    <a:pt x="1260" y="1098"/>
                  </a:lnTo>
                  <a:lnTo>
                    <a:pt x="1248" y="1098"/>
                  </a:lnTo>
                  <a:lnTo>
                    <a:pt x="1212" y="1116"/>
                  </a:lnTo>
                  <a:lnTo>
                    <a:pt x="1206" y="1158"/>
                  </a:lnTo>
                  <a:lnTo>
                    <a:pt x="1176" y="1164"/>
                  </a:lnTo>
                  <a:lnTo>
                    <a:pt x="1158" y="1164"/>
                  </a:lnTo>
                  <a:lnTo>
                    <a:pt x="1152" y="1164"/>
                  </a:lnTo>
                  <a:lnTo>
                    <a:pt x="1152" y="1170"/>
                  </a:lnTo>
                  <a:lnTo>
                    <a:pt x="1152" y="1176"/>
                  </a:lnTo>
                  <a:lnTo>
                    <a:pt x="1146" y="1176"/>
                  </a:lnTo>
                  <a:lnTo>
                    <a:pt x="1140" y="1176"/>
                  </a:lnTo>
                  <a:lnTo>
                    <a:pt x="1134" y="1182"/>
                  </a:lnTo>
                  <a:lnTo>
                    <a:pt x="1134" y="1188"/>
                  </a:lnTo>
                  <a:lnTo>
                    <a:pt x="1128" y="1194"/>
                  </a:lnTo>
                  <a:lnTo>
                    <a:pt x="1122" y="1194"/>
                  </a:lnTo>
                  <a:lnTo>
                    <a:pt x="1116" y="1194"/>
                  </a:lnTo>
                  <a:lnTo>
                    <a:pt x="1110" y="1200"/>
                  </a:lnTo>
                  <a:lnTo>
                    <a:pt x="1110" y="1206"/>
                  </a:lnTo>
                  <a:lnTo>
                    <a:pt x="1104" y="1212"/>
                  </a:lnTo>
                  <a:lnTo>
                    <a:pt x="1104" y="1218"/>
                  </a:lnTo>
                  <a:lnTo>
                    <a:pt x="1098" y="1224"/>
                  </a:lnTo>
                  <a:lnTo>
                    <a:pt x="1092" y="1230"/>
                  </a:lnTo>
                  <a:lnTo>
                    <a:pt x="1086" y="1230"/>
                  </a:lnTo>
                  <a:lnTo>
                    <a:pt x="1080" y="1230"/>
                  </a:lnTo>
                  <a:lnTo>
                    <a:pt x="1080" y="1242"/>
                  </a:lnTo>
                  <a:lnTo>
                    <a:pt x="1074" y="1242"/>
                  </a:lnTo>
                  <a:lnTo>
                    <a:pt x="1068" y="1242"/>
                  </a:lnTo>
                  <a:lnTo>
                    <a:pt x="1068" y="1236"/>
                  </a:lnTo>
                  <a:lnTo>
                    <a:pt x="1062" y="1242"/>
                  </a:lnTo>
                  <a:lnTo>
                    <a:pt x="1056" y="1236"/>
                  </a:lnTo>
                  <a:lnTo>
                    <a:pt x="1050" y="1242"/>
                  </a:lnTo>
                  <a:lnTo>
                    <a:pt x="1050" y="1236"/>
                  </a:lnTo>
                  <a:lnTo>
                    <a:pt x="1044" y="1194"/>
                  </a:lnTo>
                  <a:lnTo>
                    <a:pt x="1032" y="1194"/>
                  </a:lnTo>
                  <a:lnTo>
                    <a:pt x="1032" y="1200"/>
                  </a:lnTo>
                  <a:lnTo>
                    <a:pt x="1026" y="1200"/>
                  </a:lnTo>
                  <a:lnTo>
                    <a:pt x="1014" y="1218"/>
                  </a:lnTo>
                  <a:lnTo>
                    <a:pt x="1014" y="1224"/>
                  </a:lnTo>
                  <a:lnTo>
                    <a:pt x="1014" y="1236"/>
                  </a:lnTo>
                  <a:lnTo>
                    <a:pt x="1014" y="1242"/>
                  </a:lnTo>
                  <a:lnTo>
                    <a:pt x="1008" y="1242"/>
                  </a:lnTo>
                  <a:lnTo>
                    <a:pt x="1002" y="1236"/>
                  </a:lnTo>
                  <a:lnTo>
                    <a:pt x="1002" y="1230"/>
                  </a:lnTo>
                  <a:lnTo>
                    <a:pt x="996" y="1236"/>
                  </a:lnTo>
                  <a:lnTo>
                    <a:pt x="990" y="1236"/>
                  </a:lnTo>
                  <a:lnTo>
                    <a:pt x="990" y="1230"/>
                  </a:lnTo>
                  <a:lnTo>
                    <a:pt x="984" y="1236"/>
                  </a:lnTo>
                  <a:lnTo>
                    <a:pt x="978" y="1248"/>
                  </a:lnTo>
                  <a:lnTo>
                    <a:pt x="972" y="1254"/>
                  </a:lnTo>
                  <a:lnTo>
                    <a:pt x="966" y="1260"/>
                  </a:lnTo>
                  <a:lnTo>
                    <a:pt x="930" y="1284"/>
                  </a:lnTo>
                  <a:lnTo>
                    <a:pt x="942" y="1356"/>
                  </a:lnTo>
                  <a:lnTo>
                    <a:pt x="930" y="1368"/>
                  </a:lnTo>
                  <a:lnTo>
                    <a:pt x="852" y="1404"/>
                  </a:lnTo>
                  <a:lnTo>
                    <a:pt x="834" y="1392"/>
                  </a:lnTo>
                  <a:lnTo>
                    <a:pt x="834" y="1362"/>
                  </a:lnTo>
                  <a:lnTo>
                    <a:pt x="828" y="1332"/>
                  </a:lnTo>
                  <a:lnTo>
                    <a:pt x="810" y="1308"/>
                  </a:lnTo>
                  <a:lnTo>
                    <a:pt x="810" y="1284"/>
                  </a:lnTo>
                  <a:lnTo>
                    <a:pt x="816" y="1266"/>
                  </a:lnTo>
                  <a:lnTo>
                    <a:pt x="822" y="1254"/>
                  </a:lnTo>
                  <a:lnTo>
                    <a:pt x="822" y="1242"/>
                  </a:lnTo>
                  <a:lnTo>
                    <a:pt x="810" y="1230"/>
                  </a:lnTo>
                  <a:lnTo>
                    <a:pt x="804" y="1218"/>
                  </a:lnTo>
                  <a:lnTo>
                    <a:pt x="804" y="1212"/>
                  </a:lnTo>
                  <a:lnTo>
                    <a:pt x="804" y="1206"/>
                  </a:lnTo>
                  <a:lnTo>
                    <a:pt x="816" y="1194"/>
                  </a:lnTo>
                  <a:lnTo>
                    <a:pt x="822" y="1188"/>
                  </a:lnTo>
                  <a:lnTo>
                    <a:pt x="828" y="1170"/>
                  </a:lnTo>
                  <a:lnTo>
                    <a:pt x="840" y="1152"/>
                  </a:lnTo>
                  <a:lnTo>
                    <a:pt x="846" y="1146"/>
                  </a:lnTo>
                  <a:lnTo>
                    <a:pt x="846" y="1134"/>
                  </a:lnTo>
                  <a:lnTo>
                    <a:pt x="852" y="1128"/>
                  </a:lnTo>
                  <a:lnTo>
                    <a:pt x="846" y="1116"/>
                  </a:lnTo>
                  <a:lnTo>
                    <a:pt x="840" y="1098"/>
                  </a:lnTo>
                  <a:lnTo>
                    <a:pt x="840" y="1086"/>
                  </a:lnTo>
                  <a:lnTo>
                    <a:pt x="846" y="1074"/>
                  </a:lnTo>
                  <a:lnTo>
                    <a:pt x="852" y="1068"/>
                  </a:lnTo>
                  <a:lnTo>
                    <a:pt x="864" y="1038"/>
                  </a:lnTo>
                  <a:lnTo>
                    <a:pt x="870" y="1020"/>
                  </a:lnTo>
                  <a:lnTo>
                    <a:pt x="864" y="1008"/>
                  </a:lnTo>
                  <a:lnTo>
                    <a:pt x="858" y="990"/>
                  </a:lnTo>
                  <a:lnTo>
                    <a:pt x="852" y="954"/>
                  </a:lnTo>
                  <a:lnTo>
                    <a:pt x="846" y="948"/>
                  </a:lnTo>
                  <a:lnTo>
                    <a:pt x="834" y="936"/>
                  </a:lnTo>
                  <a:lnTo>
                    <a:pt x="828" y="924"/>
                  </a:lnTo>
                  <a:lnTo>
                    <a:pt x="756" y="942"/>
                  </a:lnTo>
                  <a:lnTo>
                    <a:pt x="744" y="936"/>
                  </a:lnTo>
                  <a:lnTo>
                    <a:pt x="744" y="930"/>
                  </a:lnTo>
                  <a:lnTo>
                    <a:pt x="738" y="924"/>
                  </a:lnTo>
                  <a:lnTo>
                    <a:pt x="744" y="924"/>
                  </a:lnTo>
                  <a:lnTo>
                    <a:pt x="738" y="918"/>
                  </a:lnTo>
                  <a:lnTo>
                    <a:pt x="732" y="912"/>
                  </a:lnTo>
                  <a:lnTo>
                    <a:pt x="732" y="906"/>
                  </a:lnTo>
                  <a:lnTo>
                    <a:pt x="732" y="894"/>
                  </a:lnTo>
                  <a:lnTo>
                    <a:pt x="726" y="888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6"/>
                  </a:lnTo>
                  <a:lnTo>
                    <a:pt x="690" y="882"/>
                  </a:lnTo>
                  <a:lnTo>
                    <a:pt x="684" y="864"/>
                  </a:lnTo>
                  <a:lnTo>
                    <a:pt x="684" y="852"/>
                  </a:lnTo>
                  <a:lnTo>
                    <a:pt x="672" y="852"/>
                  </a:lnTo>
                  <a:lnTo>
                    <a:pt x="654" y="852"/>
                  </a:lnTo>
                  <a:lnTo>
                    <a:pt x="642" y="846"/>
                  </a:lnTo>
                  <a:lnTo>
                    <a:pt x="636" y="834"/>
                  </a:lnTo>
                  <a:lnTo>
                    <a:pt x="630" y="822"/>
                  </a:lnTo>
                  <a:lnTo>
                    <a:pt x="618" y="822"/>
                  </a:lnTo>
                  <a:lnTo>
                    <a:pt x="618" y="816"/>
                  </a:lnTo>
                  <a:lnTo>
                    <a:pt x="618" y="810"/>
                  </a:lnTo>
                  <a:lnTo>
                    <a:pt x="612" y="810"/>
                  </a:lnTo>
                  <a:lnTo>
                    <a:pt x="606" y="804"/>
                  </a:lnTo>
                  <a:lnTo>
                    <a:pt x="594" y="804"/>
                  </a:lnTo>
                  <a:lnTo>
                    <a:pt x="588" y="810"/>
                  </a:lnTo>
                  <a:lnTo>
                    <a:pt x="588" y="804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70" y="810"/>
                  </a:lnTo>
                  <a:lnTo>
                    <a:pt x="564" y="816"/>
                  </a:lnTo>
                  <a:lnTo>
                    <a:pt x="558" y="816"/>
                  </a:lnTo>
                  <a:lnTo>
                    <a:pt x="552" y="822"/>
                  </a:lnTo>
                  <a:lnTo>
                    <a:pt x="546" y="828"/>
                  </a:lnTo>
                  <a:lnTo>
                    <a:pt x="546" y="834"/>
                  </a:lnTo>
                  <a:lnTo>
                    <a:pt x="528" y="834"/>
                  </a:lnTo>
                  <a:lnTo>
                    <a:pt x="516" y="822"/>
                  </a:lnTo>
                  <a:lnTo>
                    <a:pt x="504" y="822"/>
                  </a:lnTo>
                  <a:lnTo>
                    <a:pt x="492" y="82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6" y="792"/>
                  </a:lnTo>
                  <a:lnTo>
                    <a:pt x="492" y="786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504" y="780"/>
                  </a:lnTo>
                  <a:lnTo>
                    <a:pt x="510" y="780"/>
                  </a:lnTo>
                  <a:lnTo>
                    <a:pt x="522" y="768"/>
                  </a:lnTo>
                  <a:lnTo>
                    <a:pt x="522" y="762"/>
                  </a:lnTo>
                  <a:lnTo>
                    <a:pt x="504" y="756"/>
                  </a:lnTo>
                  <a:lnTo>
                    <a:pt x="498" y="756"/>
                  </a:lnTo>
                  <a:lnTo>
                    <a:pt x="498" y="744"/>
                  </a:lnTo>
                  <a:lnTo>
                    <a:pt x="492" y="738"/>
                  </a:lnTo>
                  <a:lnTo>
                    <a:pt x="480" y="738"/>
                  </a:lnTo>
                  <a:lnTo>
                    <a:pt x="474" y="738"/>
                  </a:lnTo>
                  <a:lnTo>
                    <a:pt x="456" y="738"/>
                  </a:lnTo>
                  <a:lnTo>
                    <a:pt x="438" y="738"/>
                  </a:lnTo>
                  <a:lnTo>
                    <a:pt x="432" y="750"/>
                  </a:lnTo>
                  <a:lnTo>
                    <a:pt x="426" y="756"/>
                  </a:lnTo>
                  <a:lnTo>
                    <a:pt x="426" y="762"/>
                  </a:lnTo>
                  <a:lnTo>
                    <a:pt x="420" y="762"/>
                  </a:lnTo>
                  <a:lnTo>
                    <a:pt x="408" y="744"/>
                  </a:lnTo>
                  <a:lnTo>
                    <a:pt x="408" y="732"/>
                  </a:lnTo>
                  <a:lnTo>
                    <a:pt x="390" y="714"/>
                  </a:lnTo>
                  <a:lnTo>
                    <a:pt x="384" y="702"/>
                  </a:lnTo>
                  <a:lnTo>
                    <a:pt x="384" y="690"/>
                  </a:lnTo>
                  <a:lnTo>
                    <a:pt x="372" y="690"/>
                  </a:lnTo>
                  <a:lnTo>
                    <a:pt x="366" y="660"/>
                  </a:lnTo>
                  <a:lnTo>
                    <a:pt x="354" y="630"/>
                  </a:lnTo>
                  <a:lnTo>
                    <a:pt x="348" y="630"/>
                  </a:lnTo>
                  <a:lnTo>
                    <a:pt x="336" y="630"/>
                  </a:lnTo>
                  <a:lnTo>
                    <a:pt x="330" y="630"/>
                  </a:lnTo>
                  <a:lnTo>
                    <a:pt x="318" y="630"/>
                  </a:lnTo>
                  <a:lnTo>
                    <a:pt x="312" y="624"/>
                  </a:lnTo>
                  <a:lnTo>
                    <a:pt x="306" y="624"/>
                  </a:lnTo>
                  <a:lnTo>
                    <a:pt x="294" y="618"/>
                  </a:lnTo>
                  <a:lnTo>
                    <a:pt x="288" y="612"/>
                  </a:lnTo>
                  <a:lnTo>
                    <a:pt x="276" y="600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58" y="588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8"/>
                  </a:lnTo>
                  <a:lnTo>
                    <a:pt x="216" y="582"/>
                  </a:lnTo>
                  <a:lnTo>
                    <a:pt x="210" y="588"/>
                  </a:lnTo>
                  <a:lnTo>
                    <a:pt x="198" y="582"/>
                  </a:lnTo>
                  <a:lnTo>
                    <a:pt x="180" y="582"/>
                  </a:lnTo>
                  <a:lnTo>
                    <a:pt x="174" y="552"/>
                  </a:lnTo>
                  <a:lnTo>
                    <a:pt x="168" y="504"/>
                  </a:lnTo>
                  <a:lnTo>
                    <a:pt x="186" y="504"/>
                  </a:lnTo>
                  <a:lnTo>
                    <a:pt x="192" y="504"/>
                  </a:lnTo>
                  <a:lnTo>
                    <a:pt x="192" y="498"/>
                  </a:lnTo>
                  <a:lnTo>
                    <a:pt x="192" y="492"/>
                  </a:lnTo>
                  <a:lnTo>
                    <a:pt x="192" y="486"/>
                  </a:lnTo>
                  <a:lnTo>
                    <a:pt x="198" y="486"/>
                  </a:lnTo>
                  <a:lnTo>
                    <a:pt x="198" y="480"/>
                  </a:lnTo>
                  <a:lnTo>
                    <a:pt x="204" y="474"/>
                  </a:lnTo>
                  <a:lnTo>
                    <a:pt x="210" y="468"/>
                  </a:lnTo>
                  <a:lnTo>
                    <a:pt x="198" y="462"/>
                  </a:lnTo>
                  <a:lnTo>
                    <a:pt x="192" y="444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32"/>
                  </a:lnTo>
                  <a:lnTo>
                    <a:pt x="168" y="438"/>
                  </a:lnTo>
                  <a:lnTo>
                    <a:pt x="150" y="450"/>
                  </a:lnTo>
                  <a:lnTo>
                    <a:pt x="144" y="456"/>
                  </a:lnTo>
                  <a:lnTo>
                    <a:pt x="132" y="456"/>
                  </a:lnTo>
                  <a:lnTo>
                    <a:pt x="126" y="468"/>
                  </a:lnTo>
                  <a:lnTo>
                    <a:pt x="114" y="468"/>
                  </a:lnTo>
                  <a:lnTo>
                    <a:pt x="108" y="468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14"/>
                  </a:lnTo>
                  <a:lnTo>
                    <a:pt x="108" y="396"/>
                  </a:lnTo>
                  <a:lnTo>
                    <a:pt x="120" y="396"/>
                  </a:lnTo>
                  <a:lnTo>
                    <a:pt x="126" y="384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84" y="354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0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60" y="318"/>
                  </a:lnTo>
                  <a:lnTo>
                    <a:pt x="42" y="324"/>
                  </a:lnTo>
                  <a:lnTo>
                    <a:pt x="36" y="318"/>
                  </a:lnTo>
                  <a:lnTo>
                    <a:pt x="36" y="312"/>
                  </a:lnTo>
                  <a:lnTo>
                    <a:pt x="36" y="306"/>
                  </a:lnTo>
                  <a:lnTo>
                    <a:pt x="36" y="300"/>
                  </a:lnTo>
                  <a:lnTo>
                    <a:pt x="30" y="300"/>
                  </a:lnTo>
                  <a:lnTo>
                    <a:pt x="30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24" y="276"/>
                  </a:lnTo>
                  <a:lnTo>
                    <a:pt x="18" y="276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18" y="234"/>
                  </a:lnTo>
                  <a:lnTo>
                    <a:pt x="30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42" y="192"/>
                  </a:lnTo>
                  <a:lnTo>
                    <a:pt x="66" y="186"/>
                  </a:lnTo>
                  <a:lnTo>
                    <a:pt x="90" y="156"/>
                  </a:lnTo>
                  <a:lnTo>
                    <a:pt x="102" y="144"/>
                  </a:lnTo>
                  <a:lnTo>
                    <a:pt x="138" y="150"/>
                  </a:lnTo>
                  <a:lnTo>
                    <a:pt x="162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0" y="180"/>
                  </a:lnTo>
                  <a:lnTo>
                    <a:pt x="174" y="180"/>
                  </a:lnTo>
                  <a:lnTo>
                    <a:pt x="180" y="186"/>
                  </a:lnTo>
                  <a:lnTo>
                    <a:pt x="186" y="186"/>
                  </a:lnTo>
                  <a:lnTo>
                    <a:pt x="198" y="192"/>
                  </a:lnTo>
                  <a:lnTo>
                    <a:pt x="216" y="198"/>
                  </a:lnTo>
                  <a:lnTo>
                    <a:pt x="252" y="204"/>
                  </a:lnTo>
                  <a:lnTo>
                    <a:pt x="258" y="210"/>
                  </a:lnTo>
                  <a:lnTo>
                    <a:pt x="306" y="216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84" y="210"/>
                  </a:lnTo>
                  <a:lnTo>
                    <a:pt x="408" y="222"/>
                  </a:lnTo>
                  <a:lnTo>
                    <a:pt x="438" y="228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86" y="222"/>
                  </a:lnTo>
                  <a:lnTo>
                    <a:pt x="492" y="210"/>
                  </a:lnTo>
                  <a:lnTo>
                    <a:pt x="492" y="198"/>
                  </a:lnTo>
                  <a:lnTo>
                    <a:pt x="486" y="180"/>
                  </a:lnTo>
                  <a:lnTo>
                    <a:pt x="492" y="162"/>
                  </a:lnTo>
                  <a:lnTo>
                    <a:pt x="510" y="96"/>
                  </a:lnTo>
                  <a:lnTo>
                    <a:pt x="516" y="84"/>
                  </a:lnTo>
                  <a:lnTo>
                    <a:pt x="522" y="84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34" y="72"/>
                  </a:lnTo>
                  <a:lnTo>
                    <a:pt x="534" y="60"/>
                  </a:lnTo>
                  <a:lnTo>
                    <a:pt x="540" y="36"/>
                  </a:lnTo>
                  <a:lnTo>
                    <a:pt x="546" y="6"/>
                  </a:lnTo>
                  <a:lnTo>
                    <a:pt x="558" y="6"/>
                  </a:lnTo>
                  <a:lnTo>
                    <a:pt x="564" y="0"/>
                  </a:lnTo>
                  <a:lnTo>
                    <a:pt x="582" y="0"/>
                  </a:lnTo>
                  <a:lnTo>
                    <a:pt x="588" y="0"/>
                  </a:lnTo>
                  <a:lnTo>
                    <a:pt x="594" y="6"/>
                  </a:lnTo>
                  <a:lnTo>
                    <a:pt x="600" y="12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24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36" y="36"/>
                  </a:lnTo>
                  <a:lnTo>
                    <a:pt x="642" y="36"/>
                  </a:lnTo>
                  <a:lnTo>
                    <a:pt x="642" y="42"/>
                  </a:lnTo>
                  <a:lnTo>
                    <a:pt x="648" y="54"/>
                  </a:lnTo>
                  <a:lnTo>
                    <a:pt x="660" y="72"/>
                  </a:lnTo>
                  <a:lnTo>
                    <a:pt x="666" y="78"/>
                  </a:lnTo>
                  <a:lnTo>
                    <a:pt x="672" y="90"/>
                  </a:lnTo>
                  <a:lnTo>
                    <a:pt x="678" y="102"/>
                  </a:lnTo>
                  <a:lnTo>
                    <a:pt x="678" y="114"/>
                  </a:lnTo>
                  <a:lnTo>
                    <a:pt x="684" y="132"/>
                  </a:lnTo>
                  <a:lnTo>
                    <a:pt x="684" y="144"/>
                  </a:lnTo>
                  <a:lnTo>
                    <a:pt x="690" y="162"/>
                  </a:lnTo>
                  <a:lnTo>
                    <a:pt x="696" y="168"/>
                  </a:lnTo>
                  <a:lnTo>
                    <a:pt x="696" y="180"/>
                  </a:lnTo>
                  <a:lnTo>
                    <a:pt x="702" y="186"/>
                  </a:lnTo>
                  <a:lnTo>
                    <a:pt x="708" y="186"/>
                  </a:lnTo>
                  <a:lnTo>
                    <a:pt x="714" y="198"/>
                  </a:lnTo>
                  <a:lnTo>
                    <a:pt x="720" y="198"/>
                  </a:lnTo>
                  <a:lnTo>
                    <a:pt x="732" y="204"/>
                  </a:lnTo>
                  <a:lnTo>
                    <a:pt x="738" y="210"/>
                  </a:lnTo>
                  <a:lnTo>
                    <a:pt x="738" y="216"/>
                  </a:lnTo>
                  <a:lnTo>
                    <a:pt x="744" y="222"/>
                  </a:lnTo>
                  <a:lnTo>
                    <a:pt x="750" y="228"/>
                  </a:lnTo>
                  <a:lnTo>
                    <a:pt x="756" y="228"/>
                  </a:lnTo>
                  <a:lnTo>
                    <a:pt x="768" y="240"/>
                  </a:lnTo>
                  <a:lnTo>
                    <a:pt x="774" y="252"/>
                  </a:lnTo>
                  <a:lnTo>
                    <a:pt x="780" y="258"/>
                  </a:lnTo>
                  <a:lnTo>
                    <a:pt x="786" y="258"/>
                  </a:lnTo>
                  <a:lnTo>
                    <a:pt x="798" y="264"/>
                  </a:lnTo>
                  <a:lnTo>
                    <a:pt x="798" y="270"/>
                  </a:lnTo>
                  <a:lnTo>
                    <a:pt x="798" y="276"/>
                  </a:lnTo>
                  <a:lnTo>
                    <a:pt x="810" y="288"/>
                  </a:lnTo>
                  <a:lnTo>
                    <a:pt x="816" y="288"/>
                  </a:lnTo>
                  <a:lnTo>
                    <a:pt x="816" y="300"/>
                  </a:lnTo>
                  <a:lnTo>
                    <a:pt x="816" y="306"/>
                  </a:lnTo>
                  <a:lnTo>
                    <a:pt x="822" y="318"/>
                  </a:lnTo>
                  <a:lnTo>
                    <a:pt x="828" y="324"/>
                  </a:lnTo>
                  <a:lnTo>
                    <a:pt x="834" y="330"/>
                  </a:lnTo>
                  <a:lnTo>
                    <a:pt x="846" y="336"/>
                  </a:lnTo>
                  <a:lnTo>
                    <a:pt x="846" y="342"/>
                  </a:lnTo>
                  <a:lnTo>
                    <a:pt x="852" y="348"/>
                  </a:lnTo>
                  <a:lnTo>
                    <a:pt x="852" y="354"/>
                  </a:lnTo>
                  <a:lnTo>
                    <a:pt x="858" y="354"/>
                  </a:lnTo>
                  <a:lnTo>
                    <a:pt x="858" y="348"/>
                  </a:lnTo>
                  <a:lnTo>
                    <a:pt x="864" y="342"/>
                  </a:lnTo>
                  <a:lnTo>
                    <a:pt x="864" y="336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76" y="306"/>
                  </a:lnTo>
                  <a:lnTo>
                    <a:pt x="870" y="300"/>
                  </a:lnTo>
                  <a:lnTo>
                    <a:pt x="870" y="294"/>
                  </a:lnTo>
                  <a:lnTo>
                    <a:pt x="876" y="294"/>
                  </a:lnTo>
                  <a:lnTo>
                    <a:pt x="882" y="300"/>
                  </a:lnTo>
                  <a:lnTo>
                    <a:pt x="888" y="300"/>
                  </a:lnTo>
                  <a:lnTo>
                    <a:pt x="888" y="306"/>
                  </a:lnTo>
                  <a:lnTo>
                    <a:pt x="894" y="300"/>
                  </a:lnTo>
                  <a:lnTo>
                    <a:pt x="900" y="294"/>
                  </a:lnTo>
                  <a:lnTo>
                    <a:pt x="894" y="288"/>
                  </a:lnTo>
                  <a:lnTo>
                    <a:pt x="888" y="282"/>
                  </a:lnTo>
                  <a:lnTo>
                    <a:pt x="888" y="276"/>
                  </a:lnTo>
                  <a:lnTo>
                    <a:pt x="894" y="276"/>
                  </a:lnTo>
                  <a:lnTo>
                    <a:pt x="900" y="276"/>
                  </a:lnTo>
                  <a:lnTo>
                    <a:pt x="900" y="270"/>
                  </a:lnTo>
                  <a:lnTo>
                    <a:pt x="906" y="264"/>
                  </a:lnTo>
                  <a:lnTo>
                    <a:pt x="906" y="258"/>
                  </a:lnTo>
                  <a:lnTo>
                    <a:pt x="918" y="264"/>
                  </a:lnTo>
                  <a:lnTo>
                    <a:pt x="918" y="258"/>
                  </a:lnTo>
                  <a:lnTo>
                    <a:pt x="924" y="252"/>
                  </a:lnTo>
                  <a:lnTo>
                    <a:pt x="930" y="252"/>
                  </a:lnTo>
                  <a:lnTo>
                    <a:pt x="930" y="246"/>
                  </a:lnTo>
                  <a:lnTo>
                    <a:pt x="936" y="234"/>
                  </a:lnTo>
                  <a:lnTo>
                    <a:pt x="942" y="228"/>
                  </a:lnTo>
                  <a:lnTo>
                    <a:pt x="942" y="222"/>
                  </a:lnTo>
                  <a:lnTo>
                    <a:pt x="948" y="222"/>
                  </a:lnTo>
                  <a:lnTo>
                    <a:pt x="948" y="216"/>
                  </a:lnTo>
                  <a:lnTo>
                    <a:pt x="942" y="216"/>
                  </a:lnTo>
                  <a:lnTo>
                    <a:pt x="936" y="216"/>
                  </a:lnTo>
                  <a:lnTo>
                    <a:pt x="936" y="210"/>
                  </a:lnTo>
                  <a:lnTo>
                    <a:pt x="942" y="210"/>
                  </a:lnTo>
                  <a:lnTo>
                    <a:pt x="972" y="210"/>
                  </a:lnTo>
                  <a:lnTo>
                    <a:pt x="1032" y="216"/>
                  </a:lnTo>
                  <a:lnTo>
                    <a:pt x="1068" y="216"/>
                  </a:lnTo>
                  <a:lnTo>
                    <a:pt x="1056" y="234"/>
                  </a:lnTo>
                  <a:lnTo>
                    <a:pt x="1050" y="240"/>
                  </a:lnTo>
                  <a:lnTo>
                    <a:pt x="1044" y="246"/>
                  </a:lnTo>
                  <a:lnTo>
                    <a:pt x="1038" y="246"/>
                  </a:lnTo>
                  <a:lnTo>
                    <a:pt x="1026" y="282"/>
                  </a:lnTo>
                  <a:lnTo>
                    <a:pt x="1032" y="306"/>
                  </a:lnTo>
                  <a:lnTo>
                    <a:pt x="1044" y="324"/>
                  </a:lnTo>
                  <a:lnTo>
                    <a:pt x="1044" y="342"/>
                  </a:lnTo>
                  <a:lnTo>
                    <a:pt x="1062" y="366"/>
                  </a:lnTo>
                  <a:lnTo>
                    <a:pt x="1056" y="396"/>
                  </a:lnTo>
                  <a:lnTo>
                    <a:pt x="1038" y="462"/>
                  </a:lnTo>
                  <a:lnTo>
                    <a:pt x="1038" y="498"/>
                  </a:lnTo>
                  <a:lnTo>
                    <a:pt x="1038" y="522"/>
                  </a:lnTo>
                  <a:lnTo>
                    <a:pt x="1038" y="534"/>
                  </a:lnTo>
                  <a:lnTo>
                    <a:pt x="1056" y="522"/>
                  </a:lnTo>
                  <a:lnTo>
                    <a:pt x="1098" y="504"/>
                  </a:lnTo>
                  <a:lnTo>
                    <a:pt x="1104" y="498"/>
                  </a:lnTo>
                  <a:lnTo>
                    <a:pt x="1128" y="492"/>
                  </a:lnTo>
                  <a:lnTo>
                    <a:pt x="1152" y="480"/>
                  </a:lnTo>
                  <a:lnTo>
                    <a:pt x="1170" y="474"/>
                  </a:lnTo>
                  <a:lnTo>
                    <a:pt x="1188" y="468"/>
                  </a:lnTo>
                  <a:lnTo>
                    <a:pt x="1200" y="462"/>
                  </a:lnTo>
                  <a:lnTo>
                    <a:pt x="1224" y="450"/>
                  </a:lnTo>
                  <a:lnTo>
                    <a:pt x="1248" y="450"/>
                  </a:lnTo>
                  <a:lnTo>
                    <a:pt x="1266" y="450"/>
                  </a:lnTo>
                  <a:lnTo>
                    <a:pt x="1296" y="456"/>
                  </a:lnTo>
                  <a:lnTo>
                    <a:pt x="1308" y="456"/>
                  </a:lnTo>
                  <a:lnTo>
                    <a:pt x="1326" y="456"/>
                  </a:lnTo>
                  <a:lnTo>
                    <a:pt x="1338" y="456"/>
                  </a:lnTo>
                  <a:lnTo>
                    <a:pt x="1350" y="462"/>
                  </a:lnTo>
                  <a:lnTo>
                    <a:pt x="1356" y="462"/>
                  </a:lnTo>
                  <a:lnTo>
                    <a:pt x="1374" y="456"/>
                  </a:lnTo>
                  <a:lnTo>
                    <a:pt x="1386" y="456"/>
                  </a:lnTo>
                  <a:lnTo>
                    <a:pt x="1392" y="456"/>
                  </a:lnTo>
                  <a:lnTo>
                    <a:pt x="1398" y="456"/>
                  </a:lnTo>
                  <a:lnTo>
                    <a:pt x="1422" y="456"/>
                  </a:lnTo>
                  <a:lnTo>
                    <a:pt x="1440" y="456"/>
                  </a:lnTo>
                  <a:lnTo>
                    <a:pt x="1446" y="456"/>
                  </a:lnTo>
                  <a:lnTo>
                    <a:pt x="1476" y="456"/>
                  </a:lnTo>
                  <a:lnTo>
                    <a:pt x="1470" y="468"/>
                  </a:lnTo>
                  <a:lnTo>
                    <a:pt x="1470" y="474"/>
                  </a:lnTo>
                  <a:lnTo>
                    <a:pt x="1470" y="486"/>
                  </a:lnTo>
                  <a:lnTo>
                    <a:pt x="1464" y="492"/>
                  </a:lnTo>
                  <a:lnTo>
                    <a:pt x="1464" y="498"/>
                  </a:lnTo>
                  <a:lnTo>
                    <a:pt x="1458" y="498"/>
                  </a:lnTo>
                  <a:lnTo>
                    <a:pt x="1458" y="510"/>
                  </a:lnTo>
                  <a:lnTo>
                    <a:pt x="1452" y="522"/>
                  </a:lnTo>
                  <a:lnTo>
                    <a:pt x="1458" y="528"/>
                  </a:lnTo>
                  <a:lnTo>
                    <a:pt x="1464" y="546"/>
                  </a:lnTo>
                  <a:lnTo>
                    <a:pt x="1470" y="552"/>
                  </a:lnTo>
                  <a:lnTo>
                    <a:pt x="1476" y="564"/>
                  </a:lnTo>
                  <a:lnTo>
                    <a:pt x="1488" y="588"/>
                  </a:lnTo>
                  <a:lnTo>
                    <a:pt x="1506" y="606"/>
                  </a:lnTo>
                  <a:lnTo>
                    <a:pt x="1506" y="612"/>
                  </a:lnTo>
                  <a:lnTo>
                    <a:pt x="1518" y="618"/>
                  </a:lnTo>
                  <a:lnTo>
                    <a:pt x="1512" y="630"/>
                  </a:lnTo>
                  <a:lnTo>
                    <a:pt x="1518" y="642"/>
                  </a:lnTo>
                  <a:lnTo>
                    <a:pt x="1518" y="648"/>
                  </a:lnTo>
                  <a:lnTo>
                    <a:pt x="1530" y="666"/>
                  </a:lnTo>
                  <a:lnTo>
                    <a:pt x="1518" y="672"/>
                  </a:lnTo>
                  <a:lnTo>
                    <a:pt x="1524" y="696"/>
                  </a:lnTo>
                  <a:lnTo>
                    <a:pt x="1518" y="732"/>
                  </a:lnTo>
                  <a:lnTo>
                    <a:pt x="1524" y="762"/>
                  </a:lnTo>
                  <a:lnTo>
                    <a:pt x="1524" y="780"/>
                  </a:lnTo>
                  <a:lnTo>
                    <a:pt x="1524" y="810"/>
                  </a:lnTo>
                  <a:lnTo>
                    <a:pt x="1530" y="834"/>
                  </a:lnTo>
                  <a:lnTo>
                    <a:pt x="1536" y="846"/>
                  </a:lnTo>
                  <a:lnTo>
                    <a:pt x="1542" y="846"/>
                  </a:lnTo>
                  <a:lnTo>
                    <a:pt x="1584" y="840"/>
                  </a:lnTo>
                  <a:lnTo>
                    <a:pt x="1590" y="846"/>
                  </a:lnTo>
                  <a:lnTo>
                    <a:pt x="1596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90" y="864"/>
                  </a:lnTo>
                  <a:lnTo>
                    <a:pt x="1578" y="882"/>
                  </a:lnTo>
                  <a:lnTo>
                    <a:pt x="1572" y="906"/>
                  </a:lnTo>
                  <a:lnTo>
                    <a:pt x="1560" y="924"/>
                  </a:lnTo>
                  <a:lnTo>
                    <a:pt x="1560" y="936"/>
                  </a:lnTo>
                  <a:lnTo>
                    <a:pt x="1548" y="960"/>
                  </a:lnTo>
                  <a:lnTo>
                    <a:pt x="1542" y="978"/>
                  </a:lnTo>
                  <a:lnTo>
                    <a:pt x="1536" y="990"/>
                  </a:lnTo>
                  <a:lnTo>
                    <a:pt x="1530" y="990"/>
                  </a:lnTo>
                  <a:lnTo>
                    <a:pt x="1506" y="996"/>
                  </a:lnTo>
                  <a:lnTo>
                    <a:pt x="1494" y="1002"/>
                  </a:lnTo>
                  <a:lnTo>
                    <a:pt x="1482" y="1002"/>
                  </a:lnTo>
                  <a:lnTo>
                    <a:pt x="1464" y="1008"/>
                  </a:lnTo>
                  <a:lnTo>
                    <a:pt x="1446" y="1026"/>
                  </a:lnTo>
                  <a:lnTo>
                    <a:pt x="1440" y="1026"/>
                  </a:lnTo>
                  <a:lnTo>
                    <a:pt x="1434" y="1038"/>
                  </a:lnTo>
                  <a:lnTo>
                    <a:pt x="1428" y="1044"/>
                  </a:lnTo>
                  <a:lnTo>
                    <a:pt x="1428" y="1062"/>
                  </a:lnTo>
                  <a:lnTo>
                    <a:pt x="1428" y="1086"/>
                  </a:lnTo>
                  <a:lnTo>
                    <a:pt x="1416" y="1092"/>
                  </a:lnTo>
                  <a:lnTo>
                    <a:pt x="1410" y="1080"/>
                  </a:lnTo>
                  <a:lnTo>
                    <a:pt x="1392" y="10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0" name="Freeform 25">
              <a:extLst>
                <a:ext uri="{FF2B5EF4-FFF2-40B4-BE49-F238E27FC236}">
                  <a16:creationId xmlns:a16="http://schemas.microsoft.com/office/drawing/2014/main" id="{39FDFF90-5ACF-4D65-81AD-C44D2CBE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70228" y="3063559"/>
              <a:ext cx="644023" cy="704498"/>
            </a:xfrm>
            <a:custGeom>
              <a:avLst/>
              <a:gdLst>
                <a:gd name="T0" fmla="*/ 74 w 1212"/>
                <a:gd name="T1" fmla="*/ 113 h 1326"/>
                <a:gd name="T2" fmla="*/ 60 w 1212"/>
                <a:gd name="T3" fmla="*/ 116 h 1326"/>
                <a:gd name="T4" fmla="*/ 62 w 1212"/>
                <a:gd name="T5" fmla="*/ 110 h 1326"/>
                <a:gd name="T6" fmla="*/ 60 w 1212"/>
                <a:gd name="T7" fmla="*/ 105 h 1326"/>
                <a:gd name="T8" fmla="*/ 52 w 1212"/>
                <a:gd name="T9" fmla="*/ 96 h 1326"/>
                <a:gd name="T10" fmla="*/ 47 w 1212"/>
                <a:gd name="T11" fmla="*/ 98 h 1326"/>
                <a:gd name="T12" fmla="*/ 44 w 1212"/>
                <a:gd name="T13" fmla="*/ 93 h 1326"/>
                <a:gd name="T14" fmla="*/ 40 w 1212"/>
                <a:gd name="T15" fmla="*/ 96 h 1326"/>
                <a:gd name="T16" fmla="*/ 35 w 1212"/>
                <a:gd name="T17" fmla="*/ 102 h 1326"/>
                <a:gd name="T18" fmla="*/ 27 w 1212"/>
                <a:gd name="T19" fmla="*/ 100 h 1326"/>
                <a:gd name="T20" fmla="*/ 23 w 1212"/>
                <a:gd name="T21" fmla="*/ 96 h 1326"/>
                <a:gd name="T22" fmla="*/ 20 w 1212"/>
                <a:gd name="T23" fmla="*/ 90 h 1326"/>
                <a:gd name="T24" fmla="*/ 18 w 1212"/>
                <a:gd name="T25" fmla="*/ 89 h 1326"/>
                <a:gd name="T26" fmla="*/ 18 w 1212"/>
                <a:gd name="T27" fmla="*/ 85 h 1326"/>
                <a:gd name="T28" fmla="*/ 19 w 1212"/>
                <a:gd name="T29" fmla="*/ 83 h 1326"/>
                <a:gd name="T30" fmla="*/ 19 w 1212"/>
                <a:gd name="T31" fmla="*/ 82 h 1326"/>
                <a:gd name="T32" fmla="*/ 20 w 1212"/>
                <a:gd name="T33" fmla="*/ 79 h 1326"/>
                <a:gd name="T34" fmla="*/ 19 w 1212"/>
                <a:gd name="T35" fmla="*/ 75 h 1326"/>
                <a:gd name="T36" fmla="*/ 17 w 1212"/>
                <a:gd name="T37" fmla="*/ 77 h 1326"/>
                <a:gd name="T38" fmla="*/ 14 w 1212"/>
                <a:gd name="T39" fmla="*/ 76 h 1326"/>
                <a:gd name="T40" fmla="*/ 12 w 1212"/>
                <a:gd name="T41" fmla="*/ 71 h 1326"/>
                <a:gd name="T42" fmla="*/ 8 w 1212"/>
                <a:gd name="T43" fmla="*/ 69 h 1326"/>
                <a:gd name="T44" fmla="*/ 0 w 1212"/>
                <a:gd name="T45" fmla="*/ 72 h 1326"/>
                <a:gd name="T46" fmla="*/ 2 w 1212"/>
                <a:gd name="T47" fmla="*/ 67 h 1326"/>
                <a:gd name="T48" fmla="*/ 3 w 1212"/>
                <a:gd name="T49" fmla="*/ 61 h 1326"/>
                <a:gd name="T50" fmla="*/ 4 w 1212"/>
                <a:gd name="T51" fmla="*/ 56 h 1326"/>
                <a:gd name="T52" fmla="*/ 4 w 1212"/>
                <a:gd name="T53" fmla="*/ 52 h 1326"/>
                <a:gd name="T54" fmla="*/ 2 w 1212"/>
                <a:gd name="T55" fmla="*/ 47 h 1326"/>
                <a:gd name="T56" fmla="*/ 2 w 1212"/>
                <a:gd name="T57" fmla="*/ 42 h 1326"/>
                <a:gd name="T58" fmla="*/ 5 w 1212"/>
                <a:gd name="T59" fmla="*/ 39 h 1326"/>
                <a:gd name="T60" fmla="*/ 5 w 1212"/>
                <a:gd name="T61" fmla="*/ 35 h 1326"/>
                <a:gd name="T62" fmla="*/ 7 w 1212"/>
                <a:gd name="T63" fmla="*/ 31 h 1326"/>
                <a:gd name="T64" fmla="*/ 14 w 1212"/>
                <a:gd name="T65" fmla="*/ 31 h 1326"/>
                <a:gd name="T66" fmla="*/ 18 w 1212"/>
                <a:gd name="T67" fmla="*/ 27 h 1326"/>
                <a:gd name="T68" fmla="*/ 22 w 1212"/>
                <a:gd name="T69" fmla="*/ 24 h 1326"/>
                <a:gd name="T70" fmla="*/ 27 w 1212"/>
                <a:gd name="T71" fmla="*/ 20 h 1326"/>
                <a:gd name="T72" fmla="*/ 35 w 1212"/>
                <a:gd name="T73" fmla="*/ 21 h 1326"/>
                <a:gd name="T74" fmla="*/ 61 w 1212"/>
                <a:gd name="T75" fmla="*/ 8 h 1326"/>
                <a:gd name="T76" fmla="*/ 73 w 1212"/>
                <a:gd name="T77" fmla="*/ 4 h 1326"/>
                <a:gd name="T78" fmla="*/ 86 w 1212"/>
                <a:gd name="T79" fmla="*/ 12 h 1326"/>
                <a:gd name="T80" fmla="*/ 92 w 1212"/>
                <a:gd name="T81" fmla="*/ 13 h 1326"/>
                <a:gd name="T82" fmla="*/ 86 w 1212"/>
                <a:gd name="T83" fmla="*/ 18 h 1326"/>
                <a:gd name="T84" fmla="*/ 88 w 1212"/>
                <a:gd name="T85" fmla="*/ 33 h 1326"/>
                <a:gd name="T86" fmla="*/ 97 w 1212"/>
                <a:gd name="T87" fmla="*/ 49 h 1326"/>
                <a:gd name="T88" fmla="*/ 102 w 1212"/>
                <a:gd name="T89" fmla="*/ 57 h 1326"/>
                <a:gd name="T90" fmla="*/ 104 w 1212"/>
                <a:gd name="T91" fmla="*/ 67 h 1326"/>
                <a:gd name="T92" fmla="*/ 101 w 1212"/>
                <a:gd name="T93" fmla="*/ 69 h 1326"/>
                <a:gd name="T94" fmla="*/ 97 w 1212"/>
                <a:gd name="T95" fmla="*/ 69 h 1326"/>
                <a:gd name="T96" fmla="*/ 96 w 1212"/>
                <a:gd name="T97" fmla="*/ 71 h 1326"/>
                <a:gd name="T98" fmla="*/ 93 w 1212"/>
                <a:gd name="T99" fmla="*/ 70 h 1326"/>
                <a:gd name="T100" fmla="*/ 86 w 1212"/>
                <a:gd name="T101" fmla="*/ 69 h 1326"/>
                <a:gd name="T102" fmla="*/ 82 w 1212"/>
                <a:gd name="T103" fmla="*/ 73 h 1326"/>
                <a:gd name="T104" fmla="*/ 79 w 1212"/>
                <a:gd name="T105" fmla="*/ 74 h 1326"/>
                <a:gd name="T106" fmla="*/ 78 w 1212"/>
                <a:gd name="T107" fmla="*/ 79 h 1326"/>
                <a:gd name="T108" fmla="*/ 78 w 1212"/>
                <a:gd name="T109" fmla="*/ 83 h 1326"/>
                <a:gd name="T110" fmla="*/ 82 w 1212"/>
                <a:gd name="T111" fmla="*/ 87 h 1326"/>
                <a:gd name="T112" fmla="*/ 83 w 1212"/>
                <a:gd name="T113" fmla="*/ 90 h 1326"/>
                <a:gd name="T114" fmla="*/ 82 w 1212"/>
                <a:gd name="T115" fmla="*/ 94 h 1326"/>
                <a:gd name="T116" fmla="*/ 82 w 1212"/>
                <a:gd name="T117" fmla="*/ 98 h 1326"/>
                <a:gd name="T118" fmla="*/ 82 w 1212"/>
                <a:gd name="T119" fmla="*/ 104 h 1326"/>
                <a:gd name="T120" fmla="*/ 78 w 1212"/>
                <a:gd name="T121" fmla="*/ 110 h 132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12"/>
                <a:gd name="T184" fmla="*/ 0 h 1326"/>
                <a:gd name="T185" fmla="*/ 1212 w 1212"/>
                <a:gd name="T186" fmla="*/ 1326 h 132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12" h="1326">
                  <a:moveTo>
                    <a:pt x="906" y="1290"/>
                  </a:moveTo>
                  <a:lnTo>
                    <a:pt x="906" y="1296"/>
                  </a:lnTo>
                  <a:lnTo>
                    <a:pt x="900" y="1296"/>
                  </a:lnTo>
                  <a:lnTo>
                    <a:pt x="876" y="1290"/>
                  </a:lnTo>
                  <a:lnTo>
                    <a:pt x="870" y="1290"/>
                  </a:lnTo>
                  <a:lnTo>
                    <a:pt x="864" y="1296"/>
                  </a:lnTo>
                  <a:lnTo>
                    <a:pt x="852" y="1296"/>
                  </a:lnTo>
                  <a:lnTo>
                    <a:pt x="840" y="1302"/>
                  </a:lnTo>
                  <a:lnTo>
                    <a:pt x="834" y="1308"/>
                  </a:lnTo>
                  <a:lnTo>
                    <a:pt x="822" y="1320"/>
                  </a:lnTo>
                  <a:lnTo>
                    <a:pt x="816" y="1320"/>
                  </a:lnTo>
                  <a:lnTo>
                    <a:pt x="732" y="1320"/>
                  </a:lnTo>
                  <a:lnTo>
                    <a:pt x="696" y="1320"/>
                  </a:lnTo>
                  <a:lnTo>
                    <a:pt x="690" y="1326"/>
                  </a:lnTo>
                  <a:lnTo>
                    <a:pt x="678" y="1326"/>
                  </a:lnTo>
                  <a:lnTo>
                    <a:pt x="672" y="1308"/>
                  </a:lnTo>
                  <a:lnTo>
                    <a:pt x="696" y="1302"/>
                  </a:lnTo>
                  <a:lnTo>
                    <a:pt x="708" y="1296"/>
                  </a:lnTo>
                  <a:lnTo>
                    <a:pt x="720" y="1284"/>
                  </a:lnTo>
                  <a:lnTo>
                    <a:pt x="714" y="1278"/>
                  </a:lnTo>
                  <a:lnTo>
                    <a:pt x="714" y="1266"/>
                  </a:lnTo>
                  <a:lnTo>
                    <a:pt x="708" y="1260"/>
                  </a:lnTo>
                  <a:lnTo>
                    <a:pt x="708" y="1254"/>
                  </a:lnTo>
                  <a:lnTo>
                    <a:pt x="708" y="1248"/>
                  </a:lnTo>
                  <a:lnTo>
                    <a:pt x="702" y="1236"/>
                  </a:lnTo>
                  <a:lnTo>
                    <a:pt x="702" y="1230"/>
                  </a:lnTo>
                  <a:lnTo>
                    <a:pt x="702" y="1218"/>
                  </a:lnTo>
                  <a:lnTo>
                    <a:pt x="696" y="1200"/>
                  </a:lnTo>
                  <a:lnTo>
                    <a:pt x="696" y="1182"/>
                  </a:lnTo>
                  <a:lnTo>
                    <a:pt x="666" y="1182"/>
                  </a:lnTo>
                  <a:lnTo>
                    <a:pt x="672" y="1134"/>
                  </a:lnTo>
                  <a:lnTo>
                    <a:pt x="666" y="1128"/>
                  </a:lnTo>
                  <a:lnTo>
                    <a:pt x="660" y="1092"/>
                  </a:lnTo>
                  <a:lnTo>
                    <a:pt x="654" y="1098"/>
                  </a:lnTo>
                  <a:lnTo>
                    <a:pt x="594" y="1098"/>
                  </a:lnTo>
                  <a:lnTo>
                    <a:pt x="576" y="1098"/>
                  </a:lnTo>
                  <a:lnTo>
                    <a:pt x="570" y="1104"/>
                  </a:lnTo>
                  <a:lnTo>
                    <a:pt x="564" y="1110"/>
                  </a:lnTo>
                  <a:lnTo>
                    <a:pt x="558" y="1110"/>
                  </a:lnTo>
                  <a:lnTo>
                    <a:pt x="552" y="1110"/>
                  </a:lnTo>
                  <a:lnTo>
                    <a:pt x="546" y="1110"/>
                  </a:lnTo>
                  <a:lnTo>
                    <a:pt x="546" y="1116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10" y="1128"/>
                  </a:lnTo>
                  <a:lnTo>
                    <a:pt x="522" y="1104"/>
                  </a:lnTo>
                  <a:lnTo>
                    <a:pt x="510" y="1098"/>
                  </a:lnTo>
                  <a:lnTo>
                    <a:pt x="510" y="1074"/>
                  </a:lnTo>
                  <a:lnTo>
                    <a:pt x="504" y="1068"/>
                  </a:lnTo>
                  <a:lnTo>
                    <a:pt x="498" y="1068"/>
                  </a:lnTo>
                  <a:lnTo>
                    <a:pt x="492" y="1068"/>
                  </a:lnTo>
                  <a:lnTo>
                    <a:pt x="474" y="1080"/>
                  </a:lnTo>
                  <a:lnTo>
                    <a:pt x="474" y="1086"/>
                  </a:lnTo>
                  <a:lnTo>
                    <a:pt x="474" y="1092"/>
                  </a:lnTo>
                  <a:lnTo>
                    <a:pt x="468" y="1098"/>
                  </a:lnTo>
                  <a:lnTo>
                    <a:pt x="462" y="1104"/>
                  </a:lnTo>
                  <a:lnTo>
                    <a:pt x="456" y="1110"/>
                  </a:lnTo>
                  <a:lnTo>
                    <a:pt x="456" y="1122"/>
                  </a:lnTo>
                  <a:lnTo>
                    <a:pt x="456" y="1128"/>
                  </a:lnTo>
                  <a:lnTo>
                    <a:pt x="450" y="1140"/>
                  </a:lnTo>
                  <a:lnTo>
                    <a:pt x="444" y="1146"/>
                  </a:lnTo>
                  <a:lnTo>
                    <a:pt x="426" y="1170"/>
                  </a:lnTo>
                  <a:lnTo>
                    <a:pt x="408" y="1176"/>
                  </a:lnTo>
                  <a:lnTo>
                    <a:pt x="402" y="1170"/>
                  </a:lnTo>
                  <a:lnTo>
                    <a:pt x="396" y="1170"/>
                  </a:lnTo>
                  <a:lnTo>
                    <a:pt x="396" y="1158"/>
                  </a:lnTo>
                  <a:lnTo>
                    <a:pt x="384" y="1152"/>
                  </a:lnTo>
                  <a:lnTo>
                    <a:pt x="372" y="1140"/>
                  </a:lnTo>
                  <a:lnTo>
                    <a:pt x="354" y="1140"/>
                  </a:lnTo>
                  <a:lnTo>
                    <a:pt x="306" y="1146"/>
                  </a:lnTo>
                  <a:lnTo>
                    <a:pt x="294" y="1134"/>
                  </a:lnTo>
                  <a:lnTo>
                    <a:pt x="294" y="1128"/>
                  </a:lnTo>
                  <a:lnTo>
                    <a:pt x="288" y="1122"/>
                  </a:lnTo>
                  <a:lnTo>
                    <a:pt x="276" y="1122"/>
                  </a:lnTo>
                  <a:lnTo>
                    <a:pt x="276" y="1110"/>
                  </a:lnTo>
                  <a:lnTo>
                    <a:pt x="276" y="1104"/>
                  </a:lnTo>
                  <a:lnTo>
                    <a:pt x="270" y="1098"/>
                  </a:lnTo>
                  <a:lnTo>
                    <a:pt x="264" y="1086"/>
                  </a:lnTo>
                  <a:lnTo>
                    <a:pt x="264" y="1074"/>
                  </a:lnTo>
                  <a:lnTo>
                    <a:pt x="258" y="1068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34" y="1038"/>
                  </a:lnTo>
                  <a:lnTo>
                    <a:pt x="228" y="1038"/>
                  </a:lnTo>
                  <a:lnTo>
                    <a:pt x="222" y="1038"/>
                  </a:lnTo>
                  <a:lnTo>
                    <a:pt x="216" y="1038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0"/>
                  </a:lnTo>
                  <a:lnTo>
                    <a:pt x="204" y="1014"/>
                  </a:lnTo>
                  <a:lnTo>
                    <a:pt x="204" y="1008"/>
                  </a:lnTo>
                  <a:lnTo>
                    <a:pt x="198" y="1002"/>
                  </a:lnTo>
                  <a:lnTo>
                    <a:pt x="198" y="996"/>
                  </a:lnTo>
                  <a:lnTo>
                    <a:pt x="198" y="990"/>
                  </a:lnTo>
                  <a:lnTo>
                    <a:pt x="204" y="990"/>
                  </a:lnTo>
                  <a:lnTo>
                    <a:pt x="204" y="984"/>
                  </a:lnTo>
                  <a:lnTo>
                    <a:pt x="210" y="978"/>
                  </a:lnTo>
                  <a:lnTo>
                    <a:pt x="210" y="972"/>
                  </a:lnTo>
                  <a:lnTo>
                    <a:pt x="210" y="966"/>
                  </a:lnTo>
                  <a:lnTo>
                    <a:pt x="216" y="960"/>
                  </a:lnTo>
                  <a:lnTo>
                    <a:pt x="216" y="954"/>
                  </a:lnTo>
                  <a:lnTo>
                    <a:pt x="210" y="954"/>
                  </a:lnTo>
                  <a:lnTo>
                    <a:pt x="204" y="954"/>
                  </a:lnTo>
                  <a:lnTo>
                    <a:pt x="216" y="954"/>
                  </a:lnTo>
                  <a:lnTo>
                    <a:pt x="216" y="948"/>
                  </a:lnTo>
                  <a:lnTo>
                    <a:pt x="210" y="948"/>
                  </a:lnTo>
                  <a:lnTo>
                    <a:pt x="210" y="942"/>
                  </a:lnTo>
                  <a:lnTo>
                    <a:pt x="216" y="942"/>
                  </a:lnTo>
                  <a:lnTo>
                    <a:pt x="222" y="942"/>
                  </a:lnTo>
                  <a:lnTo>
                    <a:pt x="222" y="936"/>
                  </a:lnTo>
                  <a:lnTo>
                    <a:pt x="216" y="936"/>
                  </a:lnTo>
                  <a:lnTo>
                    <a:pt x="210" y="936"/>
                  </a:lnTo>
                  <a:lnTo>
                    <a:pt x="210" y="930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22" y="918"/>
                  </a:lnTo>
                  <a:lnTo>
                    <a:pt x="228" y="912"/>
                  </a:lnTo>
                  <a:lnTo>
                    <a:pt x="228" y="906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2" y="888"/>
                  </a:lnTo>
                  <a:lnTo>
                    <a:pt x="222" y="882"/>
                  </a:lnTo>
                  <a:lnTo>
                    <a:pt x="222" y="876"/>
                  </a:lnTo>
                  <a:lnTo>
                    <a:pt x="222" y="858"/>
                  </a:lnTo>
                  <a:lnTo>
                    <a:pt x="216" y="858"/>
                  </a:lnTo>
                  <a:lnTo>
                    <a:pt x="216" y="852"/>
                  </a:lnTo>
                  <a:lnTo>
                    <a:pt x="210" y="852"/>
                  </a:lnTo>
                  <a:lnTo>
                    <a:pt x="210" y="840"/>
                  </a:lnTo>
                  <a:lnTo>
                    <a:pt x="198" y="840"/>
                  </a:lnTo>
                  <a:lnTo>
                    <a:pt x="198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0" y="894"/>
                  </a:lnTo>
                  <a:lnTo>
                    <a:pt x="180" y="906"/>
                  </a:lnTo>
                  <a:lnTo>
                    <a:pt x="156" y="912"/>
                  </a:lnTo>
                  <a:lnTo>
                    <a:pt x="156" y="894"/>
                  </a:lnTo>
                  <a:lnTo>
                    <a:pt x="156" y="882"/>
                  </a:lnTo>
                  <a:lnTo>
                    <a:pt x="156" y="876"/>
                  </a:lnTo>
                  <a:lnTo>
                    <a:pt x="150" y="876"/>
                  </a:lnTo>
                  <a:lnTo>
                    <a:pt x="144" y="876"/>
                  </a:lnTo>
                  <a:lnTo>
                    <a:pt x="138" y="870"/>
                  </a:lnTo>
                  <a:lnTo>
                    <a:pt x="132" y="864"/>
                  </a:lnTo>
                  <a:lnTo>
                    <a:pt x="138" y="840"/>
                  </a:lnTo>
                  <a:lnTo>
                    <a:pt x="132" y="840"/>
                  </a:lnTo>
                  <a:lnTo>
                    <a:pt x="138" y="810"/>
                  </a:lnTo>
                  <a:lnTo>
                    <a:pt x="144" y="804"/>
                  </a:lnTo>
                  <a:lnTo>
                    <a:pt x="144" y="798"/>
                  </a:lnTo>
                  <a:lnTo>
                    <a:pt x="156" y="798"/>
                  </a:lnTo>
                  <a:lnTo>
                    <a:pt x="156" y="792"/>
                  </a:lnTo>
                  <a:lnTo>
                    <a:pt x="120" y="792"/>
                  </a:lnTo>
                  <a:lnTo>
                    <a:pt x="108" y="786"/>
                  </a:lnTo>
                  <a:lnTo>
                    <a:pt x="96" y="786"/>
                  </a:lnTo>
                  <a:lnTo>
                    <a:pt x="96" y="780"/>
                  </a:lnTo>
                  <a:lnTo>
                    <a:pt x="78" y="780"/>
                  </a:lnTo>
                  <a:lnTo>
                    <a:pt x="72" y="804"/>
                  </a:lnTo>
                  <a:lnTo>
                    <a:pt x="60" y="816"/>
                  </a:lnTo>
                  <a:lnTo>
                    <a:pt x="36" y="828"/>
                  </a:lnTo>
                  <a:lnTo>
                    <a:pt x="18" y="840"/>
                  </a:lnTo>
                  <a:lnTo>
                    <a:pt x="0" y="822"/>
                  </a:lnTo>
                  <a:lnTo>
                    <a:pt x="6" y="816"/>
                  </a:lnTo>
                  <a:lnTo>
                    <a:pt x="12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18" y="786"/>
                  </a:lnTo>
                  <a:lnTo>
                    <a:pt x="24" y="780"/>
                  </a:lnTo>
                  <a:lnTo>
                    <a:pt x="24" y="768"/>
                  </a:lnTo>
                  <a:lnTo>
                    <a:pt x="24" y="762"/>
                  </a:lnTo>
                  <a:lnTo>
                    <a:pt x="24" y="750"/>
                  </a:lnTo>
                  <a:lnTo>
                    <a:pt x="36" y="714"/>
                  </a:lnTo>
                  <a:lnTo>
                    <a:pt x="36" y="708"/>
                  </a:lnTo>
                  <a:lnTo>
                    <a:pt x="42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6" y="690"/>
                  </a:lnTo>
                  <a:lnTo>
                    <a:pt x="42" y="684"/>
                  </a:lnTo>
                  <a:lnTo>
                    <a:pt x="42" y="672"/>
                  </a:lnTo>
                  <a:lnTo>
                    <a:pt x="42" y="666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48" y="648"/>
                  </a:lnTo>
                  <a:lnTo>
                    <a:pt x="54" y="642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54" y="612"/>
                  </a:lnTo>
                  <a:lnTo>
                    <a:pt x="48" y="606"/>
                  </a:lnTo>
                  <a:lnTo>
                    <a:pt x="48" y="600"/>
                  </a:lnTo>
                  <a:lnTo>
                    <a:pt x="42" y="600"/>
                  </a:lnTo>
                  <a:lnTo>
                    <a:pt x="36" y="594"/>
                  </a:lnTo>
                  <a:lnTo>
                    <a:pt x="36" y="588"/>
                  </a:lnTo>
                  <a:lnTo>
                    <a:pt x="30" y="582"/>
                  </a:lnTo>
                  <a:lnTo>
                    <a:pt x="30" y="570"/>
                  </a:lnTo>
                  <a:lnTo>
                    <a:pt x="18" y="552"/>
                  </a:lnTo>
                  <a:lnTo>
                    <a:pt x="18" y="546"/>
                  </a:lnTo>
                  <a:lnTo>
                    <a:pt x="18" y="540"/>
                  </a:lnTo>
                  <a:lnTo>
                    <a:pt x="18" y="528"/>
                  </a:lnTo>
                  <a:lnTo>
                    <a:pt x="18" y="522"/>
                  </a:lnTo>
                  <a:lnTo>
                    <a:pt x="24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30" y="474"/>
                  </a:lnTo>
                  <a:lnTo>
                    <a:pt x="36" y="474"/>
                  </a:lnTo>
                  <a:lnTo>
                    <a:pt x="42" y="468"/>
                  </a:lnTo>
                  <a:lnTo>
                    <a:pt x="48" y="468"/>
                  </a:lnTo>
                  <a:lnTo>
                    <a:pt x="48" y="462"/>
                  </a:lnTo>
                  <a:lnTo>
                    <a:pt x="48" y="456"/>
                  </a:lnTo>
                  <a:lnTo>
                    <a:pt x="54" y="450"/>
                  </a:lnTo>
                  <a:lnTo>
                    <a:pt x="60" y="438"/>
                  </a:lnTo>
                  <a:lnTo>
                    <a:pt x="54" y="438"/>
                  </a:lnTo>
                  <a:lnTo>
                    <a:pt x="54" y="432"/>
                  </a:ln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54" y="402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6" y="384"/>
                  </a:lnTo>
                  <a:lnTo>
                    <a:pt x="72" y="372"/>
                  </a:lnTo>
                  <a:lnTo>
                    <a:pt x="78" y="366"/>
                  </a:lnTo>
                  <a:lnTo>
                    <a:pt x="84" y="360"/>
                  </a:lnTo>
                  <a:lnTo>
                    <a:pt x="102" y="360"/>
                  </a:lnTo>
                  <a:lnTo>
                    <a:pt x="114" y="36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8" y="360"/>
                  </a:lnTo>
                  <a:lnTo>
                    <a:pt x="156" y="360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74" y="342"/>
                  </a:lnTo>
                  <a:lnTo>
                    <a:pt x="180" y="342"/>
                  </a:lnTo>
                  <a:lnTo>
                    <a:pt x="186" y="336"/>
                  </a:lnTo>
                  <a:lnTo>
                    <a:pt x="192" y="330"/>
                  </a:lnTo>
                  <a:lnTo>
                    <a:pt x="204" y="312"/>
                  </a:lnTo>
                  <a:lnTo>
                    <a:pt x="210" y="312"/>
                  </a:lnTo>
                  <a:lnTo>
                    <a:pt x="216" y="306"/>
                  </a:lnTo>
                  <a:lnTo>
                    <a:pt x="216" y="300"/>
                  </a:lnTo>
                  <a:lnTo>
                    <a:pt x="222" y="288"/>
                  </a:lnTo>
                  <a:lnTo>
                    <a:pt x="234" y="288"/>
                  </a:lnTo>
                  <a:lnTo>
                    <a:pt x="240" y="282"/>
                  </a:lnTo>
                  <a:lnTo>
                    <a:pt x="246" y="282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70" y="270"/>
                  </a:lnTo>
                  <a:lnTo>
                    <a:pt x="276" y="264"/>
                  </a:lnTo>
                  <a:lnTo>
                    <a:pt x="282" y="26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8" y="234"/>
                  </a:lnTo>
                  <a:lnTo>
                    <a:pt x="330" y="234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72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14" y="240"/>
                  </a:lnTo>
                  <a:lnTo>
                    <a:pt x="444" y="216"/>
                  </a:lnTo>
                  <a:lnTo>
                    <a:pt x="480" y="204"/>
                  </a:lnTo>
                  <a:lnTo>
                    <a:pt x="600" y="150"/>
                  </a:lnTo>
                  <a:lnTo>
                    <a:pt x="648" y="126"/>
                  </a:lnTo>
                  <a:lnTo>
                    <a:pt x="702" y="96"/>
                  </a:lnTo>
                  <a:lnTo>
                    <a:pt x="708" y="54"/>
                  </a:lnTo>
                  <a:lnTo>
                    <a:pt x="720" y="24"/>
                  </a:lnTo>
                  <a:lnTo>
                    <a:pt x="738" y="12"/>
                  </a:lnTo>
                  <a:lnTo>
                    <a:pt x="768" y="0"/>
                  </a:lnTo>
                  <a:lnTo>
                    <a:pt x="792" y="6"/>
                  </a:lnTo>
                  <a:lnTo>
                    <a:pt x="804" y="12"/>
                  </a:lnTo>
                  <a:lnTo>
                    <a:pt x="834" y="48"/>
                  </a:lnTo>
                  <a:lnTo>
                    <a:pt x="834" y="60"/>
                  </a:lnTo>
                  <a:lnTo>
                    <a:pt x="852" y="84"/>
                  </a:lnTo>
                  <a:lnTo>
                    <a:pt x="864" y="96"/>
                  </a:lnTo>
                  <a:lnTo>
                    <a:pt x="888" y="102"/>
                  </a:lnTo>
                  <a:lnTo>
                    <a:pt x="978" y="120"/>
                  </a:lnTo>
                  <a:lnTo>
                    <a:pt x="984" y="126"/>
                  </a:lnTo>
                  <a:lnTo>
                    <a:pt x="984" y="132"/>
                  </a:lnTo>
                  <a:lnTo>
                    <a:pt x="996" y="138"/>
                  </a:lnTo>
                  <a:lnTo>
                    <a:pt x="1038" y="126"/>
                  </a:lnTo>
                  <a:lnTo>
                    <a:pt x="1056" y="114"/>
                  </a:lnTo>
                  <a:lnTo>
                    <a:pt x="1068" y="126"/>
                  </a:lnTo>
                  <a:lnTo>
                    <a:pt x="1074" y="132"/>
                  </a:lnTo>
                  <a:lnTo>
                    <a:pt x="1068" y="138"/>
                  </a:lnTo>
                  <a:lnTo>
                    <a:pt x="1056" y="150"/>
                  </a:lnTo>
                  <a:lnTo>
                    <a:pt x="1038" y="162"/>
                  </a:lnTo>
                  <a:lnTo>
                    <a:pt x="1038" y="168"/>
                  </a:lnTo>
                  <a:lnTo>
                    <a:pt x="1020" y="174"/>
                  </a:lnTo>
                  <a:lnTo>
                    <a:pt x="1014" y="180"/>
                  </a:lnTo>
                  <a:lnTo>
                    <a:pt x="1008" y="186"/>
                  </a:lnTo>
                  <a:lnTo>
                    <a:pt x="1002" y="198"/>
                  </a:lnTo>
                  <a:lnTo>
                    <a:pt x="984" y="204"/>
                  </a:lnTo>
                  <a:lnTo>
                    <a:pt x="984" y="246"/>
                  </a:lnTo>
                  <a:lnTo>
                    <a:pt x="978" y="270"/>
                  </a:lnTo>
                  <a:lnTo>
                    <a:pt x="990" y="306"/>
                  </a:lnTo>
                  <a:lnTo>
                    <a:pt x="990" y="324"/>
                  </a:lnTo>
                  <a:lnTo>
                    <a:pt x="1002" y="336"/>
                  </a:lnTo>
                  <a:lnTo>
                    <a:pt x="1020" y="372"/>
                  </a:lnTo>
                  <a:lnTo>
                    <a:pt x="1014" y="378"/>
                  </a:lnTo>
                  <a:lnTo>
                    <a:pt x="1014" y="384"/>
                  </a:lnTo>
                  <a:lnTo>
                    <a:pt x="1020" y="384"/>
                  </a:lnTo>
                  <a:lnTo>
                    <a:pt x="1020" y="396"/>
                  </a:lnTo>
                  <a:lnTo>
                    <a:pt x="1062" y="468"/>
                  </a:lnTo>
                  <a:lnTo>
                    <a:pt x="1092" y="522"/>
                  </a:lnTo>
                  <a:lnTo>
                    <a:pt x="1110" y="546"/>
                  </a:lnTo>
                  <a:lnTo>
                    <a:pt x="1122" y="564"/>
                  </a:lnTo>
                  <a:lnTo>
                    <a:pt x="1134" y="576"/>
                  </a:lnTo>
                  <a:lnTo>
                    <a:pt x="1146" y="582"/>
                  </a:lnTo>
                  <a:lnTo>
                    <a:pt x="1146" y="588"/>
                  </a:lnTo>
                  <a:lnTo>
                    <a:pt x="1164" y="600"/>
                  </a:lnTo>
                  <a:lnTo>
                    <a:pt x="1170" y="612"/>
                  </a:lnTo>
                  <a:lnTo>
                    <a:pt x="1170" y="624"/>
                  </a:lnTo>
                  <a:lnTo>
                    <a:pt x="1176" y="654"/>
                  </a:lnTo>
                  <a:lnTo>
                    <a:pt x="1176" y="666"/>
                  </a:lnTo>
                  <a:lnTo>
                    <a:pt x="1182" y="684"/>
                  </a:lnTo>
                  <a:lnTo>
                    <a:pt x="1194" y="696"/>
                  </a:lnTo>
                  <a:lnTo>
                    <a:pt x="1212" y="696"/>
                  </a:lnTo>
                  <a:lnTo>
                    <a:pt x="1206" y="762"/>
                  </a:lnTo>
                  <a:lnTo>
                    <a:pt x="1200" y="768"/>
                  </a:lnTo>
                  <a:lnTo>
                    <a:pt x="1194" y="768"/>
                  </a:lnTo>
                  <a:lnTo>
                    <a:pt x="1194" y="774"/>
                  </a:lnTo>
                  <a:lnTo>
                    <a:pt x="1188" y="774"/>
                  </a:lnTo>
                  <a:lnTo>
                    <a:pt x="1182" y="780"/>
                  </a:lnTo>
                  <a:lnTo>
                    <a:pt x="1176" y="780"/>
                  </a:lnTo>
                  <a:lnTo>
                    <a:pt x="1170" y="780"/>
                  </a:lnTo>
                  <a:lnTo>
                    <a:pt x="1164" y="786"/>
                  </a:lnTo>
                  <a:lnTo>
                    <a:pt x="1158" y="786"/>
                  </a:lnTo>
                  <a:lnTo>
                    <a:pt x="1152" y="786"/>
                  </a:lnTo>
                  <a:lnTo>
                    <a:pt x="1140" y="786"/>
                  </a:lnTo>
                  <a:lnTo>
                    <a:pt x="1134" y="786"/>
                  </a:lnTo>
                  <a:lnTo>
                    <a:pt x="1134" y="780"/>
                  </a:lnTo>
                  <a:lnTo>
                    <a:pt x="1122" y="780"/>
                  </a:lnTo>
                  <a:lnTo>
                    <a:pt x="1116" y="786"/>
                  </a:lnTo>
                  <a:lnTo>
                    <a:pt x="1116" y="792"/>
                  </a:lnTo>
                  <a:lnTo>
                    <a:pt x="1122" y="804"/>
                  </a:lnTo>
                  <a:lnTo>
                    <a:pt x="1128" y="804"/>
                  </a:lnTo>
                  <a:lnTo>
                    <a:pt x="1128" y="816"/>
                  </a:lnTo>
                  <a:lnTo>
                    <a:pt x="1122" y="822"/>
                  </a:lnTo>
                  <a:lnTo>
                    <a:pt x="1116" y="816"/>
                  </a:lnTo>
                  <a:lnTo>
                    <a:pt x="1110" y="816"/>
                  </a:lnTo>
                  <a:lnTo>
                    <a:pt x="1104" y="816"/>
                  </a:lnTo>
                  <a:lnTo>
                    <a:pt x="1098" y="816"/>
                  </a:lnTo>
                  <a:lnTo>
                    <a:pt x="1098" y="822"/>
                  </a:lnTo>
                  <a:lnTo>
                    <a:pt x="1092" y="834"/>
                  </a:lnTo>
                  <a:lnTo>
                    <a:pt x="1092" y="840"/>
                  </a:lnTo>
                  <a:lnTo>
                    <a:pt x="1074" y="840"/>
                  </a:lnTo>
                  <a:lnTo>
                    <a:pt x="1074" y="828"/>
                  </a:lnTo>
                  <a:lnTo>
                    <a:pt x="1062" y="804"/>
                  </a:lnTo>
                  <a:lnTo>
                    <a:pt x="1056" y="792"/>
                  </a:lnTo>
                  <a:lnTo>
                    <a:pt x="1056" y="786"/>
                  </a:lnTo>
                  <a:lnTo>
                    <a:pt x="1026" y="780"/>
                  </a:lnTo>
                  <a:lnTo>
                    <a:pt x="1026" y="768"/>
                  </a:lnTo>
                  <a:lnTo>
                    <a:pt x="1008" y="768"/>
                  </a:lnTo>
                  <a:lnTo>
                    <a:pt x="1002" y="780"/>
                  </a:lnTo>
                  <a:lnTo>
                    <a:pt x="996" y="792"/>
                  </a:lnTo>
                  <a:lnTo>
                    <a:pt x="978" y="798"/>
                  </a:lnTo>
                  <a:lnTo>
                    <a:pt x="972" y="810"/>
                  </a:lnTo>
                  <a:lnTo>
                    <a:pt x="972" y="822"/>
                  </a:lnTo>
                  <a:lnTo>
                    <a:pt x="978" y="828"/>
                  </a:lnTo>
                  <a:lnTo>
                    <a:pt x="978" y="834"/>
                  </a:lnTo>
                  <a:lnTo>
                    <a:pt x="960" y="840"/>
                  </a:lnTo>
                  <a:lnTo>
                    <a:pt x="936" y="840"/>
                  </a:lnTo>
                  <a:lnTo>
                    <a:pt x="918" y="846"/>
                  </a:lnTo>
                  <a:lnTo>
                    <a:pt x="912" y="840"/>
                  </a:lnTo>
                  <a:lnTo>
                    <a:pt x="912" y="834"/>
                  </a:lnTo>
                  <a:lnTo>
                    <a:pt x="906" y="834"/>
                  </a:lnTo>
                  <a:lnTo>
                    <a:pt x="906" y="840"/>
                  </a:lnTo>
                  <a:lnTo>
                    <a:pt x="900" y="846"/>
                  </a:lnTo>
                  <a:lnTo>
                    <a:pt x="906" y="852"/>
                  </a:lnTo>
                  <a:lnTo>
                    <a:pt x="900" y="864"/>
                  </a:lnTo>
                  <a:lnTo>
                    <a:pt x="900" y="876"/>
                  </a:lnTo>
                  <a:lnTo>
                    <a:pt x="900" y="882"/>
                  </a:lnTo>
                  <a:lnTo>
                    <a:pt x="894" y="888"/>
                  </a:lnTo>
                  <a:lnTo>
                    <a:pt x="900" y="900"/>
                  </a:lnTo>
                  <a:lnTo>
                    <a:pt x="900" y="906"/>
                  </a:lnTo>
                  <a:lnTo>
                    <a:pt x="894" y="906"/>
                  </a:lnTo>
                  <a:lnTo>
                    <a:pt x="894" y="912"/>
                  </a:lnTo>
                  <a:lnTo>
                    <a:pt x="900" y="918"/>
                  </a:lnTo>
                  <a:lnTo>
                    <a:pt x="900" y="924"/>
                  </a:lnTo>
                  <a:lnTo>
                    <a:pt x="900" y="948"/>
                  </a:lnTo>
                  <a:lnTo>
                    <a:pt x="888" y="948"/>
                  </a:lnTo>
                  <a:lnTo>
                    <a:pt x="888" y="954"/>
                  </a:lnTo>
                  <a:lnTo>
                    <a:pt x="894" y="954"/>
                  </a:lnTo>
                  <a:lnTo>
                    <a:pt x="900" y="960"/>
                  </a:lnTo>
                  <a:lnTo>
                    <a:pt x="900" y="972"/>
                  </a:lnTo>
                  <a:lnTo>
                    <a:pt x="906" y="984"/>
                  </a:lnTo>
                  <a:lnTo>
                    <a:pt x="912" y="984"/>
                  </a:lnTo>
                  <a:lnTo>
                    <a:pt x="918" y="990"/>
                  </a:lnTo>
                  <a:lnTo>
                    <a:pt x="936" y="990"/>
                  </a:lnTo>
                  <a:lnTo>
                    <a:pt x="936" y="996"/>
                  </a:lnTo>
                  <a:lnTo>
                    <a:pt x="942" y="996"/>
                  </a:lnTo>
                  <a:lnTo>
                    <a:pt x="942" y="1002"/>
                  </a:lnTo>
                  <a:lnTo>
                    <a:pt x="942" y="1008"/>
                  </a:lnTo>
                  <a:lnTo>
                    <a:pt x="948" y="1008"/>
                  </a:lnTo>
                  <a:lnTo>
                    <a:pt x="948" y="1014"/>
                  </a:lnTo>
                  <a:lnTo>
                    <a:pt x="948" y="1020"/>
                  </a:lnTo>
                  <a:lnTo>
                    <a:pt x="954" y="1032"/>
                  </a:lnTo>
                  <a:lnTo>
                    <a:pt x="948" y="1038"/>
                  </a:lnTo>
                  <a:lnTo>
                    <a:pt x="954" y="1044"/>
                  </a:lnTo>
                  <a:lnTo>
                    <a:pt x="954" y="1056"/>
                  </a:lnTo>
                  <a:lnTo>
                    <a:pt x="960" y="1056"/>
                  </a:lnTo>
                  <a:lnTo>
                    <a:pt x="960" y="1062"/>
                  </a:lnTo>
                  <a:lnTo>
                    <a:pt x="954" y="1068"/>
                  </a:lnTo>
                  <a:lnTo>
                    <a:pt x="948" y="1074"/>
                  </a:lnTo>
                  <a:lnTo>
                    <a:pt x="948" y="1080"/>
                  </a:lnTo>
                  <a:lnTo>
                    <a:pt x="948" y="1086"/>
                  </a:lnTo>
                  <a:lnTo>
                    <a:pt x="942" y="1092"/>
                  </a:lnTo>
                  <a:lnTo>
                    <a:pt x="942" y="1098"/>
                  </a:lnTo>
                  <a:lnTo>
                    <a:pt x="942" y="1104"/>
                  </a:lnTo>
                  <a:lnTo>
                    <a:pt x="942" y="1110"/>
                  </a:lnTo>
                  <a:lnTo>
                    <a:pt x="936" y="1116"/>
                  </a:lnTo>
                  <a:lnTo>
                    <a:pt x="936" y="1122"/>
                  </a:lnTo>
                  <a:lnTo>
                    <a:pt x="936" y="1128"/>
                  </a:lnTo>
                  <a:lnTo>
                    <a:pt x="936" y="1134"/>
                  </a:lnTo>
                  <a:lnTo>
                    <a:pt x="942" y="1146"/>
                  </a:lnTo>
                  <a:lnTo>
                    <a:pt x="936" y="1158"/>
                  </a:lnTo>
                  <a:lnTo>
                    <a:pt x="936" y="1170"/>
                  </a:lnTo>
                  <a:lnTo>
                    <a:pt x="936" y="1194"/>
                  </a:lnTo>
                  <a:lnTo>
                    <a:pt x="930" y="1200"/>
                  </a:lnTo>
                  <a:lnTo>
                    <a:pt x="930" y="1212"/>
                  </a:lnTo>
                  <a:lnTo>
                    <a:pt x="918" y="1218"/>
                  </a:lnTo>
                  <a:lnTo>
                    <a:pt x="918" y="1230"/>
                  </a:lnTo>
                  <a:lnTo>
                    <a:pt x="906" y="1230"/>
                  </a:lnTo>
                  <a:lnTo>
                    <a:pt x="900" y="1254"/>
                  </a:lnTo>
                  <a:lnTo>
                    <a:pt x="900" y="1260"/>
                  </a:lnTo>
                  <a:lnTo>
                    <a:pt x="900" y="1266"/>
                  </a:lnTo>
                  <a:lnTo>
                    <a:pt x="900" y="1272"/>
                  </a:lnTo>
                  <a:lnTo>
                    <a:pt x="900" y="1278"/>
                  </a:lnTo>
                  <a:lnTo>
                    <a:pt x="900" y="1284"/>
                  </a:lnTo>
                  <a:lnTo>
                    <a:pt x="906" y="129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1" name="Freeform 26">
              <a:extLst>
                <a:ext uri="{FF2B5EF4-FFF2-40B4-BE49-F238E27FC236}">
                  <a16:creationId xmlns:a16="http://schemas.microsoft.com/office/drawing/2014/main" id="{25725EFE-FE00-49A8-A87A-6752B785C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79173" y="3477313"/>
              <a:ext cx="650731" cy="559125"/>
            </a:xfrm>
            <a:custGeom>
              <a:avLst/>
              <a:gdLst>
                <a:gd name="T0" fmla="*/ 95 w 1224"/>
                <a:gd name="T1" fmla="*/ 89 h 1050"/>
                <a:gd name="T2" fmla="*/ 90 w 1224"/>
                <a:gd name="T3" fmla="*/ 84 h 1050"/>
                <a:gd name="T4" fmla="*/ 84 w 1224"/>
                <a:gd name="T5" fmla="*/ 83 h 1050"/>
                <a:gd name="T6" fmla="*/ 82 w 1224"/>
                <a:gd name="T7" fmla="*/ 80 h 1050"/>
                <a:gd name="T8" fmla="*/ 85 w 1224"/>
                <a:gd name="T9" fmla="*/ 77 h 1050"/>
                <a:gd name="T10" fmla="*/ 81 w 1224"/>
                <a:gd name="T11" fmla="*/ 76 h 1050"/>
                <a:gd name="T12" fmla="*/ 77 w 1224"/>
                <a:gd name="T13" fmla="*/ 77 h 1050"/>
                <a:gd name="T14" fmla="*/ 78 w 1224"/>
                <a:gd name="T15" fmla="*/ 73 h 1050"/>
                <a:gd name="T16" fmla="*/ 59 w 1224"/>
                <a:gd name="T17" fmla="*/ 71 h 1050"/>
                <a:gd name="T18" fmla="*/ 41 w 1224"/>
                <a:gd name="T19" fmla="*/ 73 h 1050"/>
                <a:gd name="T20" fmla="*/ 33 w 1224"/>
                <a:gd name="T21" fmla="*/ 71 h 1050"/>
                <a:gd name="T22" fmla="*/ 30 w 1224"/>
                <a:gd name="T23" fmla="*/ 75 h 1050"/>
                <a:gd name="T24" fmla="*/ 27 w 1224"/>
                <a:gd name="T25" fmla="*/ 80 h 1050"/>
                <a:gd name="T26" fmla="*/ 12 w 1224"/>
                <a:gd name="T27" fmla="*/ 81 h 1050"/>
                <a:gd name="T28" fmla="*/ 9 w 1224"/>
                <a:gd name="T29" fmla="*/ 84 h 1050"/>
                <a:gd name="T30" fmla="*/ 6 w 1224"/>
                <a:gd name="T31" fmla="*/ 83 h 1050"/>
                <a:gd name="T32" fmla="*/ 1 w 1224"/>
                <a:gd name="T33" fmla="*/ 83 h 1050"/>
                <a:gd name="T34" fmla="*/ 3 w 1224"/>
                <a:gd name="T35" fmla="*/ 77 h 1050"/>
                <a:gd name="T36" fmla="*/ 5 w 1224"/>
                <a:gd name="T37" fmla="*/ 70 h 1050"/>
                <a:gd name="T38" fmla="*/ 2 w 1224"/>
                <a:gd name="T39" fmla="*/ 65 h 1050"/>
                <a:gd name="T40" fmla="*/ 3 w 1224"/>
                <a:gd name="T41" fmla="*/ 58 h 1050"/>
                <a:gd name="T42" fmla="*/ 4 w 1224"/>
                <a:gd name="T43" fmla="*/ 51 h 1050"/>
                <a:gd name="T44" fmla="*/ 3 w 1224"/>
                <a:gd name="T45" fmla="*/ 47 h 1050"/>
                <a:gd name="T46" fmla="*/ 4 w 1224"/>
                <a:gd name="T47" fmla="*/ 39 h 1050"/>
                <a:gd name="T48" fmla="*/ 6 w 1224"/>
                <a:gd name="T49" fmla="*/ 29 h 1050"/>
                <a:gd name="T50" fmla="*/ 3 w 1224"/>
                <a:gd name="T51" fmla="*/ 22 h 1050"/>
                <a:gd name="T52" fmla="*/ 2 w 1224"/>
                <a:gd name="T53" fmla="*/ 14 h 1050"/>
                <a:gd name="T54" fmla="*/ 0 w 1224"/>
                <a:gd name="T55" fmla="*/ 6 h 1050"/>
                <a:gd name="T56" fmla="*/ 9 w 1224"/>
                <a:gd name="T57" fmla="*/ 1 h 1050"/>
                <a:gd name="T58" fmla="*/ 11 w 1224"/>
                <a:gd name="T59" fmla="*/ 8 h 1050"/>
                <a:gd name="T60" fmla="*/ 15 w 1224"/>
                <a:gd name="T61" fmla="*/ 9 h 1050"/>
                <a:gd name="T62" fmla="*/ 18 w 1224"/>
                <a:gd name="T63" fmla="*/ 8 h 1050"/>
                <a:gd name="T64" fmla="*/ 18 w 1224"/>
                <a:gd name="T65" fmla="*/ 13 h 1050"/>
                <a:gd name="T66" fmla="*/ 17 w 1224"/>
                <a:gd name="T67" fmla="*/ 15 h 1050"/>
                <a:gd name="T68" fmla="*/ 17 w 1224"/>
                <a:gd name="T69" fmla="*/ 17 h 1050"/>
                <a:gd name="T70" fmla="*/ 17 w 1224"/>
                <a:gd name="T71" fmla="*/ 21 h 1050"/>
                <a:gd name="T72" fmla="*/ 21 w 1224"/>
                <a:gd name="T73" fmla="*/ 25 h 1050"/>
                <a:gd name="T74" fmla="*/ 24 w 1224"/>
                <a:gd name="T75" fmla="*/ 31 h 1050"/>
                <a:gd name="T76" fmla="*/ 35 w 1224"/>
                <a:gd name="T77" fmla="*/ 34 h 1050"/>
                <a:gd name="T78" fmla="*/ 40 w 1224"/>
                <a:gd name="T79" fmla="*/ 27 h 1050"/>
                <a:gd name="T80" fmla="*/ 46 w 1224"/>
                <a:gd name="T81" fmla="*/ 30 h 1050"/>
                <a:gd name="T82" fmla="*/ 51 w 1224"/>
                <a:gd name="T83" fmla="*/ 27 h 1050"/>
                <a:gd name="T84" fmla="*/ 59 w 1224"/>
                <a:gd name="T85" fmla="*/ 39 h 1050"/>
                <a:gd name="T86" fmla="*/ 59 w 1224"/>
                <a:gd name="T87" fmla="*/ 45 h 1050"/>
                <a:gd name="T88" fmla="*/ 72 w 1224"/>
                <a:gd name="T89" fmla="*/ 45 h 1050"/>
                <a:gd name="T90" fmla="*/ 79 w 1224"/>
                <a:gd name="T91" fmla="*/ 44 h 1050"/>
                <a:gd name="T92" fmla="*/ 87 w 1224"/>
                <a:gd name="T93" fmla="*/ 48 h 1050"/>
                <a:gd name="T94" fmla="*/ 93 w 1224"/>
                <a:gd name="T95" fmla="*/ 50 h 1050"/>
                <a:gd name="T96" fmla="*/ 98 w 1224"/>
                <a:gd name="T97" fmla="*/ 51 h 1050"/>
                <a:gd name="T98" fmla="*/ 106 w 1224"/>
                <a:gd name="T99" fmla="*/ 50 h 1050"/>
                <a:gd name="T100" fmla="*/ 104 w 1224"/>
                <a:gd name="T101" fmla="*/ 54 h 1050"/>
                <a:gd name="T102" fmla="*/ 104 w 1224"/>
                <a:gd name="T103" fmla="*/ 60 h 1050"/>
                <a:gd name="T104" fmla="*/ 101 w 1224"/>
                <a:gd name="T105" fmla="*/ 63 h 1050"/>
                <a:gd name="T106" fmla="*/ 98 w 1224"/>
                <a:gd name="T107" fmla="*/ 66 h 1050"/>
                <a:gd name="T108" fmla="*/ 95 w 1224"/>
                <a:gd name="T109" fmla="*/ 68 h 1050"/>
                <a:gd name="T110" fmla="*/ 93 w 1224"/>
                <a:gd name="T111" fmla="*/ 72 h 1050"/>
                <a:gd name="T112" fmla="*/ 98 w 1224"/>
                <a:gd name="T113" fmla="*/ 75 h 1050"/>
                <a:gd name="T114" fmla="*/ 102 w 1224"/>
                <a:gd name="T115" fmla="*/ 77 h 1050"/>
                <a:gd name="T116" fmla="*/ 107 w 1224"/>
                <a:gd name="T117" fmla="*/ 76 h 1050"/>
                <a:gd name="T118" fmla="*/ 104 w 1224"/>
                <a:gd name="T119" fmla="*/ 84 h 1050"/>
                <a:gd name="T120" fmla="*/ 103 w 1224"/>
                <a:gd name="T121" fmla="*/ 87 h 1050"/>
                <a:gd name="T122" fmla="*/ 104 w 1224"/>
                <a:gd name="T123" fmla="*/ 91 h 105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24"/>
                <a:gd name="T187" fmla="*/ 0 h 1050"/>
                <a:gd name="T188" fmla="*/ 1224 w 1224"/>
                <a:gd name="T189" fmla="*/ 1050 h 105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24" h="1050">
                  <a:moveTo>
                    <a:pt x="1128" y="1032"/>
                  </a:moveTo>
                  <a:lnTo>
                    <a:pt x="1122" y="1026"/>
                  </a:lnTo>
                  <a:lnTo>
                    <a:pt x="1116" y="1026"/>
                  </a:lnTo>
                  <a:lnTo>
                    <a:pt x="1110" y="1026"/>
                  </a:lnTo>
                  <a:lnTo>
                    <a:pt x="1104" y="1026"/>
                  </a:lnTo>
                  <a:lnTo>
                    <a:pt x="1104" y="1020"/>
                  </a:lnTo>
                  <a:lnTo>
                    <a:pt x="1098" y="1020"/>
                  </a:lnTo>
                  <a:lnTo>
                    <a:pt x="1092" y="1020"/>
                  </a:lnTo>
                  <a:lnTo>
                    <a:pt x="1086" y="1020"/>
                  </a:lnTo>
                  <a:lnTo>
                    <a:pt x="1080" y="1014"/>
                  </a:lnTo>
                  <a:lnTo>
                    <a:pt x="1068" y="1014"/>
                  </a:lnTo>
                  <a:lnTo>
                    <a:pt x="1062" y="1014"/>
                  </a:lnTo>
                  <a:lnTo>
                    <a:pt x="1062" y="1008"/>
                  </a:lnTo>
                  <a:lnTo>
                    <a:pt x="1062" y="990"/>
                  </a:lnTo>
                  <a:lnTo>
                    <a:pt x="1062" y="984"/>
                  </a:lnTo>
                  <a:lnTo>
                    <a:pt x="1062" y="972"/>
                  </a:lnTo>
                  <a:lnTo>
                    <a:pt x="1044" y="966"/>
                  </a:lnTo>
                  <a:lnTo>
                    <a:pt x="1026" y="966"/>
                  </a:lnTo>
                  <a:lnTo>
                    <a:pt x="1014" y="966"/>
                  </a:lnTo>
                  <a:lnTo>
                    <a:pt x="996" y="966"/>
                  </a:lnTo>
                  <a:lnTo>
                    <a:pt x="996" y="972"/>
                  </a:lnTo>
                  <a:lnTo>
                    <a:pt x="990" y="972"/>
                  </a:lnTo>
                  <a:lnTo>
                    <a:pt x="984" y="966"/>
                  </a:lnTo>
                  <a:lnTo>
                    <a:pt x="978" y="966"/>
                  </a:lnTo>
                  <a:lnTo>
                    <a:pt x="978" y="960"/>
                  </a:lnTo>
                  <a:lnTo>
                    <a:pt x="972" y="954"/>
                  </a:lnTo>
                  <a:lnTo>
                    <a:pt x="966" y="954"/>
                  </a:lnTo>
                  <a:lnTo>
                    <a:pt x="960" y="954"/>
                  </a:lnTo>
                  <a:lnTo>
                    <a:pt x="954" y="954"/>
                  </a:lnTo>
                  <a:lnTo>
                    <a:pt x="954" y="948"/>
                  </a:lnTo>
                  <a:lnTo>
                    <a:pt x="942" y="942"/>
                  </a:lnTo>
                  <a:lnTo>
                    <a:pt x="936" y="942"/>
                  </a:lnTo>
                  <a:lnTo>
                    <a:pt x="936" y="936"/>
                  </a:lnTo>
                  <a:lnTo>
                    <a:pt x="936" y="930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42" y="918"/>
                  </a:lnTo>
                  <a:lnTo>
                    <a:pt x="948" y="918"/>
                  </a:lnTo>
                  <a:lnTo>
                    <a:pt x="960" y="918"/>
                  </a:lnTo>
                  <a:lnTo>
                    <a:pt x="966" y="912"/>
                  </a:lnTo>
                  <a:lnTo>
                    <a:pt x="978" y="906"/>
                  </a:lnTo>
                  <a:lnTo>
                    <a:pt x="978" y="900"/>
                  </a:lnTo>
                  <a:lnTo>
                    <a:pt x="978" y="894"/>
                  </a:lnTo>
                  <a:lnTo>
                    <a:pt x="978" y="888"/>
                  </a:lnTo>
                  <a:lnTo>
                    <a:pt x="972" y="888"/>
                  </a:lnTo>
                  <a:lnTo>
                    <a:pt x="978" y="888"/>
                  </a:lnTo>
                  <a:lnTo>
                    <a:pt x="978" y="882"/>
                  </a:lnTo>
                  <a:lnTo>
                    <a:pt x="972" y="876"/>
                  </a:lnTo>
                  <a:lnTo>
                    <a:pt x="966" y="870"/>
                  </a:lnTo>
                  <a:lnTo>
                    <a:pt x="954" y="876"/>
                  </a:lnTo>
                  <a:lnTo>
                    <a:pt x="948" y="876"/>
                  </a:lnTo>
                  <a:lnTo>
                    <a:pt x="942" y="870"/>
                  </a:lnTo>
                  <a:lnTo>
                    <a:pt x="936" y="876"/>
                  </a:lnTo>
                  <a:lnTo>
                    <a:pt x="930" y="876"/>
                  </a:lnTo>
                  <a:lnTo>
                    <a:pt x="924" y="882"/>
                  </a:lnTo>
                  <a:lnTo>
                    <a:pt x="912" y="888"/>
                  </a:lnTo>
                  <a:lnTo>
                    <a:pt x="906" y="894"/>
                  </a:lnTo>
                  <a:lnTo>
                    <a:pt x="900" y="900"/>
                  </a:lnTo>
                  <a:lnTo>
                    <a:pt x="894" y="888"/>
                  </a:lnTo>
                  <a:lnTo>
                    <a:pt x="888" y="894"/>
                  </a:lnTo>
                  <a:lnTo>
                    <a:pt x="882" y="888"/>
                  </a:lnTo>
                  <a:lnTo>
                    <a:pt x="876" y="894"/>
                  </a:lnTo>
                  <a:lnTo>
                    <a:pt x="876" y="888"/>
                  </a:lnTo>
                  <a:lnTo>
                    <a:pt x="876" y="882"/>
                  </a:lnTo>
                  <a:lnTo>
                    <a:pt x="876" y="876"/>
                  </a:lnTo>
                  <a:lnTo>
                    <a:pt x="870" y="858"/>
                  </a:lnTo>
                  <a:lnTo>
                    <a:pt x="864" y="858"/>
                  </a:lnTo>
                  <a:lnTo>
                    <a:pt x="870" y="852"/>
                  </a:lnTo>
                  <a:lnTo>
                    <a:pt x="870" y="846"/>
                  </a:lnTo>
                  <a:lnTo>
                    <a:pt x="876" y="846"/>
                  </a:lnTo>
                  <a:lnTo>
                    <a:pt x="882" y="846"/>
                  </a:lnTo>
                  <a:lnTo>
                    <a:pt x="888" y="840"/>
                  </a:lnTo>
                  <a:lnTo>
                    <a:pt x="894" y="834"/>
                  </a:lnTo>
                  <a:lnTo>
                    <a:pt x="894" y="828"/>
                  </a:lnTo>
                  <a:lnTo>
                    <a:pt x="894" y="816"/>
                  </a:lnTo>
                  <a:lnTo>
                    <a:pt x="858" y="810"/>
                  </a:lnTo>
                  <a:lnTo>
                    <a:pt x="858" y="816"/>
                  </a:lnTo>
                  <a:lnTo>
                    <a:pt x="852" y="816"/>
                  </a:lnTo>
                  <a:lnTo>
                    <a:pt x="780" y="816"/>
                  </a:lnTo>
                  <a:lnTo>
                    <a:pt x="750" y="816"/>
                  </a:lnTo>
                  <a:lnTo>
                    <a:pt x="684" y="816"/>
                  </a:lnTo>
                  <a:lnTo>
                    <a:pt x="636" y="816"/>
                  </a:lnTo>
                  <a:lnTo>
                    <a:pt x="612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0" y="816"/>
                  </a:lnTo>
                  <a:lnTo>
                    <a:pt x="480" y="822"/>
                  </a:lnTo>
                  <a:lnTo>
                    <a:pt x="480" y="834"/>
                  </a:lnTo>
                  <a:lnTo>
                    <a:pt x="474" y="840"/>
                  </a:lnTo>
                  <a:lnTo>
                    <a:pt x="468" y="840"/>
                  </a:lnTo>
                  <a:lnTo>
                    <a:pt x="432" y="840"/>
                  </a:lnTo>
                  <a:lnTo>
                    <a:pt x="426" y="834"/>
                  </a:lnTo>
                  <a:lnTo>
                    <a:pt x="420" y="834"/>
                  </a:lnTo>
                  <a:lnTo>
                    <a:pt x="420" y="828"/>
                  </a:lnTo>
                  <a:lnTo>
                    <a:pt x="414" y="822"/>
                  </a:lnTo>
                  <a:lnTo>
                    <a:pt x="408" y="822"/>
                  </a:lnTo>
                  <a:lnTo>
                    <a:pt x="396" y="822"/>
                  </a:lnTo>
                  <a:lnTo>
                    <a:pt x="396" y="816"/>
                  </a:lnTo>
                  <a:lnTo>
                    <a:pt x="384" y="816"/>
                  </a:lnTo>
                  <a:lnTo>
                    <a:pt x="372" y="810"/>
                  </a:lnTo>
                  <a:lnTo>
                    <a:pt x="372" y="804"/>
                  </a:lnTo>
                  <a:lnTo>
                    <a:pt x="366" y="804"/>
                  </a:lnTo>
                  <a:lnTo>
                    <a:pt x="360" y="804"/>
                  </a:lnTo>
                  <a:lnTo>
                    <a:pt x="348" y="828"/>
                  </a:lnTo>
                  <a:lnTo>
                    <a:pt x="348" y="834"/>
                  </a:lnTo>
                  <a:lnTo>
                    <a:pt x="348" y="852"/>
                  </a:lnTo>
                  <a:lnTo>
                    <a:pt x="348" y="858"/>
                  </a:lnTo>
                  <a:lnTo>
                    <a:pt x="342" y="864"/>
                  </a:lnTo>
                  <a:lnTo>
                    <a:pt x="342" y="870"/>
                  </a:lnTo>
                  <a:lnTo>
                    <a:pt x="330" y="876"/>
                  </a:lnTo>
                  <a:lnTo>
                    <a:pt x="324" y="888"/>
                  </a:lnTo>
                  <a:lnTo>
                    <a:pt x="324" y="894"/>
                  </a:lnTo>
                  <a:lnTo>
                    <a:pt x="330" y="900"/>
                  </a:lnTo>
                  <a:lnTo>
                    <a:pt x="330" y="906"/>
                  </a:lnTo>
                  <a:lnTo>
                    <a:pt x="324" y="906"/>
                  </a:lnTo>
                  <a:lnTo>
                    <a:pt x="318" y="912"/>
                  </a:lnTo>
                  <a:lnTo>
                    <a:pt x="312" y="918"/>
                  </a:lnTo>
                  <a:lnTo>
                    <a:pt x="306" y="924"/>
                  </a:lnTo>
                  <a:lnTo>
                    <a:pt x="288" y="924"/>
                  </a:lnTo>
                  <a:lnTo>
                    <a:pt x="282" y="924"/>
                  </a:lnTo>
                  <a:lnTo>
                    <a:pt x="276" y="930"/>
                  </a:lnTo>
                  <a:lnTo>
                    <a:pt x="270" y="930"/>
                  </a:lnTo>
                  <a:lnTo>
                    <a:pt x="264" y="930"/>
                  </a:lnTo>
                  <a:lnTo>
                    <a:pt x="198" y="930"/>
                  </a:lnTo>
                  <a:lnTo>
                    <a:pt x="132" y="930"/>
                  </a:lnTo>
                  <a:lnTo>
                    <a:pt x="132" y="936"/>
                  </a:lnTo>
                  <a:lnTo>
                    <a:pt x="132" y="942"/>
                  </a:lnTo>
                  <a:lnTo>
                    <a:pt x="132" y="948"/>
                  </a:lnTo>
                  <a:lnTo>
                    <a:pt x="126" y="948"/>
                  </a:lnTo>
                  <a:lnTo>
                    <a:pt x="120" y="948"/>
                  </a:lnTo>
                  <a:lnTo>
                    <a:pt x="120" y="954"/>
                  </a:lnTo>
                  <a:lnTo>
                    <a:pt x="114" y="954"/>
                  </a:lnTo>
                  <a:lnTo>
                    <a:pt x="114" y="960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02" y="966"/>
                  </a:lnTo>
                  <a:lnTo>
                    <a:pt x="102" y="972"/>
                  </a:lnTo>
                  <a:lnTo>
                    <a:pt x="96" y="972"/>
                  </a:lnTo>
                  <a:lnTo>
                    <a:pt x="96" y="966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78" y="960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60"/>
                  </a:lnTo>
                  <a:lnTo>
                    <a:pt x="54" y="966"/>
                  </a:lnTo>
                  <a:lnTo>
                    <a:pt x="48" y="966"/>
                  </a:lnTo>
                  <a:lnTo>
                    <a:pt x="42" y="966"/>
                  </a:lnTo>
                  <a:lnTo>
                    <a:pt x="36" y="966"/>
                  </a:lnTo>
                  <a:lnTo>
                    <a:pt x="30" y="966"/>
                  </a:lnTo>
                  <a:lnTo>
                    <a:pt x="24" y="960"/>
                  </a:lnTo>
                  <a:lnTo>
                    <a:pt x="18" y="960"/>
                  </a:lnTo>
                  <a:lnTo>
                    <a:pt x="12" y="960"/>
                  </a:lnTo>
                  <a:lnTo>
                    <a:pt x="12" y="948"/>
                  </a:lnTo>
                  <a:lnTo>
                    <a:pt x="18" y="942"/>
                  </a:lnTo>
                  <a:lnTo>
                    <a:pt x="18" y="936"/>
                  </a:lnTo>
                  <a:lnTo>
                    <a:pt x="18" y="930"/>
                  </a:lnTo>
                  <a:lnTo>
                    <a:pt x="18" y="924"/>
                  </a:lnTo>
                  <a:lnTo>
                    <a:pt x="18" y="912"/>
                  </a:lnTo>
                  <a:lnTo>
                    <a:pt x="24" y="906"/>
                  </a:lnTo>
                  <a:lnTo>
                    <a:pt x="30" y="900"/>
                  </a:lnTo>
                  <a:lnTo>
                    <a:pt x="36" y="894"/>
                  </a:lnTo>
                  <a:lnTo>
                    <a:pt x="36" y="882"/>
                  </a:lnTo>
                  <a:lnTo>
                    <a:pt x="30" y="876"/>
                  </a:lnTo>
                  <a:lnTo>
                    <a:pt x="30" y="870"/>
                  </a:lnTo>
                  <a:lnTo>
                    <a:pt x="24" y="858"/>
                  </a:lnTo>
                  <a:lnTo>
                    <a:pt x="24" y="846"/>
                  </a:lnTo>
                  <a:lnTo>
                    <a:pt x="36" y="822"/>
                  </a:lnTo>
                  <a:lnTo>
                    <a:pt x="42" y="816"/>
                  </a:lnTo>
                  <a:lnTo>
                    <a:pt x="48" y="816"/>
                  </a:lnTo>
                  <a:lnTo>
                    <a:pt x="60" y="804"/>
                  </a:lnTo>
                  <a:lnTo>
                    <a:pt x="60" y="786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54" y="762"/>
                  </a:lnTo>
                  <a:lnTo>
                    <a:pt x="42" y="762"/>
                  </a:lnTo>
                  <a:lnTo>
                    <a:pt x="36" y="762"/>
                  </a:lnTo>
                  <a:lnTo>
                    <a:pt x="30" y="762"/>
                  </a:lnTo>
                  <a:lnTo>
                    <a:pt x="30" y="756"/>
                  </a:lnTo>
                  <a:lnTo>
                    <a:pt x="24" y="750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702"/>
                  </a:lnTo>
                  <a:lnTo>
                    <a:pt x="36" y="684"/>
                  </a:lnTo>
                  <a:lnTo>
                    <a:pt x="36" y="678"/>
                  </a:lnTo>
                  <a:lnTo>
                    <a:pt x="36" y="666"/>
                  </a:lnTo>
                  <a:lnTo>
                    <a:pt x="36" y="654"/>
                  </a:lnTo>
                  <a:lnTo>
                    <a:pt x="18" y="654"/>
                  </a:lnTo>
                  <a:lnTo>
                    <a:pt x="18" y="648"/>
                  </a:lnTo>
                  <a:lnTo>
                    <a:pt x="18" y="618"/>
                  </a:lnTo>
                  <a:lnTo>
                    <a:pt x="18" y="612"/>
                  </a:lnTo>
                  <a:lnTo>
                    <a:pt x="24" y="612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54" y="588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76"/>
                  </a:lnTo>
                  <a:lnTo>
                    <a:pt x="48" y="564"/>
                  </a:lnTo>
                  <a:lnTo>
                    <a:pt x="42" y="564"/>
                  </a:lnTo>
                  <a:lnTo>
                    <a:pt x="36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6" y="540"/>
                  </a:lnTo>
                  <a:lnTo>
                    <a:pt x="48" y="534"/>
                  </a:lnTo>
                  <a:lnTo>
                    <a:pt x="54" y="528"/>
                  </a:lnTo>
                  <a:lnTo>
                    <a:pt x="60" y="504"/>
                  </a:lnTo>
                  <a:lnTo>
                    <a:pt x="60" y="492"/>
                  </a:lnTo>
                  <a:lnTo>
                    <a:pt x="54" y="492"/>
                  </a:lnTo>
                  <a:lnTo>
                    <a:pt x="54" y="480"/>
                  </a:lnTo>
                  <a:lnTo>
                    <a:pt x="48" y="456"/>
                  </a:lnTo>
                  <a:lnTo>
                    <a:pt x="42" y="450"/>
                  </a:lnTo>
                  <a:lnTo>
                    <a:pt x="36" y="444"/>
                  </a:lnTo>
                  <a:lnTo>
                    <a:pt x="36" y="420"/>
                  </a:lnTo>
                  <a:lnTo>
                    <a:pt x="36" y="408"/>
                  </a:lnTo>
                  <a:lnTo>
                    <a:pt x="36" y="37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60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6" y="300"/>
                  </a:lnTo>
                  <a:lnTo>
                    <a:pt x="60" y="294"/>
                  </a:lnTo>
                  <a:lnTo>
                    <a:pt x="60" y="288"/>
                  </a:lnTo>
                  <a:lnTo>
                    <a:pt x="54" y="282"/>
                  </a:lnTo>
                  <a:lnTo>
                    <a:pt x="42" y="276"/>
                  </a:lnTo>
                  <a:lnTo>
                    <a:pt x="36" y="276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0" y="252"/>
                  </a:lnTo>
                  <a:lnTo>
                    <a:pt x="24" y="246"/>
                  </a:lnTo>
                  <a:lnTo>
                    <a:pt x="24" y="240"/>
                  </a:lnTo>
                  <a:lnTo>
                    <a:pt x="24" y="228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62"/>
                  </a:lnTo>
                  <a:lnTo>
                    <a:pt x="24" y="144"/>
                  </a:lnTo>
                  <a:lnTo>
                    <a:pt x="24" y="132"/>
                  </a:lnTo>
                  <a:lnTo>
                    <a:pt x="24" y="114"/>
                  </a:lnTo>
                  <a:lnTo>
                    <a:pt x="24" y="102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18" y="48"/>
                  </a:lnTo>
                  <a:lnTo>
                    <a:pt x="42" y="36"/>
                  </a:lnTo>
                  <a:lnTo>
                    <a:pt x="54" y="24"/>
                  </a:lnTo>
                  <a:lnTo>
                    <a:pt x="60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10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14" y="60"/>
                  </a:lnTo>
                  <a:lnTo>
                    <a:pt x="120" y="60"/>
                  </a:lnTo>
                  <a:lnTo>
                    <a:pt x="114" y="84"/>
                  </a:lnTo>
                  <a:lnTo>
                    <a:pt x="120" y="90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38" y="114"/>
                  </a:lnTo>
                  <a:lnTo>
                    <a:pt x="138" y="132"/>
                  </a:lnTo>
                  <a:lnTo>
                    <a:pt x="162" y="126"/>
                  </a:lnTo>
                  <a:lnTo>
                    <a:pt x="162" y="114"/>
                  </a:lnTo>
                  <a:lnTo>
                    <a:pt x="174" y="108"/>
                  </a:lnTo>
                  <a:lnTo>
                    <a:pt x="174" y="102"/>
                  </a:lnTo>
                  <a:lnTo>
                    <a:pt x="180" y="96"/>
                  </a:lnTo>
                  <a:lnTo>
                    <a:pt x="180" y="60"/>
                  </a:lnTo>
                  <a:lnTo>
                    <a:pt x="192" y="60"/>
                  </a:lnTo>
                  <a:lnTo>
                    <a:pt x="192" y="72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04" y="108"/>
                  </a:lnTo>
                  <a:lnTo>
                    <a:pt x="204" y="114"/>
                  </a:lnTo>
                  <a:lnTo>
                    <a:pt x="204" y="120"/>
                  </a:lnTo>
                  <a:lnTo>
                    <a:pt x="204" y="126"/>
                  </a:lnTo>
                  <a:lnTo>
                    <a:pt x="210" y="126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8" y="174"/>
                  </a:lnTo>
                  <a:lnTo>
                    <a:pt x="198" y="180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86" y="204"/>
                  </a:lnTo>
                  <a:lnTo>
                    <a:pt x="186" y="210"/>
                  </a:lnTo>
                  <a:lnTo>
                    <a:pt x="180" y="210"/>
                  </a:lnTo>
                  <a:lnTo>
                    <a:pt x="180" y="216"/>
                  </a:lnTo>
                  <a:lnTo>
                    <a:pt x="180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92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8" y="258"/>
                  </a:lnTo>
                  <a:lnTo>
                    <a:pt x="204" y="258"/>
                  </a:lnTo>
                  <a:lnTo>
                    <a:pt x="210" y="258"/>
                  </a:lnTo>
                  <a:lnTo>
                    <a:pt x="216" y="258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34" y="276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46" y="306"/>
                  </a:lnTo>
                  <a:lnTo>
                    <a:pt x="252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42"/>
                  </a:lnTo>
                  <a:lnTo>
                    <a:pt x="270" y="342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88" y="366"/>
                  </a:lnTo>
                  <a:lnTo>
                    <a:pt x="336" y="360"/>
                  </a:lnTo>
                  <a:lnTo>
                    <a:pt x="354" y="360"/>
                  </a:lnTo>
                  <a:lnTo>
                    <a:pt x="366" y="372"/>
                  </a:lnTo>
                  <a:lnTo>
                    <a:pt x="378" y="378"/>
                  </a:lnTo>
                  <a:lnTo>
                    <a:pt x="378" y="390"/>
                  </a:lnTo>
                  <a:lnTo>
                    <a:pt x="384" y="390"/>
                  </a:lnTo>
                  <a:lnTo>
                    <a:pt x="390" y="396"/>
                  </a:lnTo>
                  <a:lnTo>
                    <a:pt x="408" y="390"/>
                  </a:lnTo>
                  <a:lnTo>
                    <a:pt x="426" y="366"/>
                  </a:lnTo>
                  <a:lnTo>
                    <a:pt x="432" y="360"/>
                  </a:lnTo>
                  <a:lnTo>
                    <a:pt x="438" y="348"/>
                  </a:lnTo>
                  <a:lnTo>
                    <a:pt x="438" y="342"/>
                  </a:lnTo>
                  <a:lnTo>
                    <a:pt x="438" y="330"/>
                  </a:lnTo>
                  <a:lnTo>
                    <a:pt x="444" y="324"/>
                  </a:lnTo>
                  <a:lnTo>
                    <a:pt x="450" y="318"/>
                  </a:lnTo>
                  <a:lnTo>
                    <a:pt x="456" y="312"/>
                  </a:lnTo>
                  <a:lnTo>
                    <a:pt x="456" y="306"/>
                  </a:lnTo>
                  <a:lnTo>
                    <a:pt x="456" y="300"/>
                  </a:lnTo>
                  <a:lnTo>
                    <a:pt x="474" y="288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92" y="294"/>
                  </a:lnTo>
                  <a:lnTo>
                    <a:pt x="492" y="318"/>
                  </a:lnTo>
                  <a:lnTo>
                    <a:pt x="504" y="324"/>
                  </a:lnTo>
                  <a:lnTo>
                    <a:pt x="492" y="348"/>
                  </a:lnTo>
                  <a:lnTo>
                    <a:pt x="522" y="348"/>
                  </a:lnTo>
                  <a:lnTo>
                    <a:pt x="528" y="342"/>
                  </a:lnTo>
                  <a:lnTo>
                    <a:pt x="528" y="336"/>
                  </a:lnTo>
                  <a:lnTo>
                    <a:pt x="528" y="330"/>
                  </a:lnTo>
                  <a:lnTo>
                    <a:pt x="534" y="330"/>
                  </a:lnTo>
                  <a:lnTo>
                    <a:pt x="540" y="330"/>
                  </a:lnTo>
                  <a:lnTo>
                    <a:pt x="546" y="330"/>
                  </a:lnTo>
                  <a:lnTo>
                    <a:pt x="552" y="324"/>
                  </a:lnTo>
                  <a:lnTo>
                    <a:pt x="558" y="318"/>
                  </a:lnTo>
                  <a:lnTo>
                    <a:pt x="576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8" y="348"/>
                  </a:lnTo>
                  <a:lnTo>
                    <a:pt x="654" y="354"/>
                  </a:lnTo>
                  <a:lnTo>
                    <a:pt x="648" y="402"/>
                  </a:lnTo>
                  <a:lnTo>
                    <a:pt x="678" y="402"/>
                  </a:lnTo>
                  <a:lnTo>
                    <a:pt x="678" y="420"/>
                  </a:lnTo>
                  <a:lnTo>
                    <a:pt x="684" y="438"/>
                  </a:lnTo>
                  <a:lnTo>
                    <a:pt x="684" y="450"/>
                  </a:lnTo>
                  <a:lnTo>
                    <a:pt x="684" y="456"/>
                  </a:lnTo>
                  <a:lnTo>
                    <a:pt x="690" y="468"/>
                  </a:lnTo>
                  <a:lnTo>
                    <a:pt x="690" y="474"/>
                  </a:lnTo>
                  <a:lnTo>
                    <a:pt x="690" y="480"/>
                  </a:lnTo>
                  <a:lnTo>
                    <a:pt x="696" y="486"/>
                  </a:lnTo>
                  <a:lnTo>
                    <a:pt x="696" y="498"/>
                  </a:lnTo>
                  <a:lnTo>
                    <a:pt x="702" y="504"/>
                  </a:lnTo>
                  <a:lnTo>
                    <a:pt x="690" y="516"/>
                  </a:lnTo>
                  <a:lnTo>
                    <a:pt x="678" y="522"/>
                  </a:lnTo>
                  <a:lnTo>
                    <a:pt x="654" y="528"/>
                  </a:lnTo>
                  <a:lnTo>
                    <a:pt x="660" y="546"/>
                  </a:lnTo>
                  <a:lnTo>
                    <a:pt x="672" y="546"/>
                  </a:lnTo>
                  <a:lnTo>
                    <a:pt x="678" y="540"/>
                  </a:lnTo>
                  <a:lnTo>
                    <a:pt x="714" y="540"/>
                  </a:lnTo>
                  <a:lnTo>
                    <a:pt x="798" y="540"/>
                  </a:lnTo>
                  <a:lnTo>
                    <a:pt x="804" y="540"/>
                  </a:lnTo>
                  <a:lnTo>
                    <a:pt x="816" y="528"/>
                  </a:lnTo>
                  <a:lnTo>
                    <a:pt x="822" y="522"/>
                  </a:lnTo>
                  <a:lnTo>
                    <a:pt x="834" y="516"/>
                  </a:lnTo>
                  <a:lnTo>
                    <a:pt x="846" y="516"/>
                  </a:lnTo>
                  <a:lnTo>
                    <a:pt x="852" y="510"/>
                  </a:lnTo>
                  <a:lnTo>
                    <a:pt x="858" y="510"/>
                  </a:lnTo>
                  <a:lnTo>
                    <a:pt x="882" y="516"/>
                  </a:lnTo>
                  <a:lnTo>
                    <a:pt x="888" y="516"/>
                  </a:lnTo>
                  <a:lnTo>
                    <a:pt x="888" y="510"/>
                  </a:lnTo>
                  <a:lnTo>
                    <a:pt x="894" y="510"/>
                  </a:lnTo>
                  <a:lnTo>
                    <a:pt x="906" y="504"/>
                  </a:lnTo>
                  <a:lnTo>
                    <a:pt x="918" y="498"/>
                  </a:lnTo>
                  <a:lnTo>
                    <a:pt x="930" y="492"/>
                  </a:lnTo>
                  <a:lnTo>
                    <a:pt x="936" y="492"/>
                  </a:lnTo>
                  <a:lnTo>
                    <a:pt x="948" y="492"/>
                  </a:lnTo>
                  <a:lnTo>
                    <a:pt x="954" y="528"/>
                  </a:lnTo>
                  <a:lnTo>
                    <a:pt x="954" y="564"/>
                  </a:lnTo>
                  <a:lnTo>
                    <a:pt x="972" y="564"/>
                  </a:lnTo>
                  <a:lnTo>
                    <a:pt x="978" y="558"/>
                  </a:lnTo>
                  <a:lnTo>
                    <a:pt x="990" y="552"/>
                  </a:lnTo>
                  <a:lnTo>
                    <a:pt x="1002" y="540"/>
                  </a:lnTo>
                  <a:lnTo>
                    <a:pt x="1026" y="534"/>
                  </a:lnTo>
                  <a:lnTo>
                    <a:pt x="1032" y="540"/>
                  </a:lnTo>
                  <a:lnTo>
                    <a:pt x="1044" y="546"/>
                  </a:lnTo>
                  <a:lnTo>
                    <a:pt x="1062" y="552"/>
                  </a:lnTo>
                  <a:lnTo>
                    <a:pt x="1068" y="552"/>
                  </a:lnTo>
                  <a:lnTo>
                    <a:pt x="1068" y="570"/>
                  </a:lnTo>
                  <a:lnTo>
                    <a:pt x="1068" y="576"/>
                  </a:lnTo>
                  <a:lnTo>
                    <a:pt x="1068" y="582"/>
                  </a:lnTo>
                  <a:lnTo>
                    <a:pt x="1068" y="588"/>
                  </a:lnTo>
                  <a:lnTo>
                    <a:pt x="1068" y="594"/>
                  </a:lnTo>
                  <a:lnTo>
                    <a:pt x="1080" y="600"/>
                  </a:lnTo>
                  <a:lnTo>
                    <a:pt x="1086" y="606"/>
                  </a:lnTo>
                  <a:lnTo>
                    <a:pt x="1092" y="594"/>
                  </a:lnTo>
                  <a:lnTo>
                    <a:pt x="1104" y="588"/>
                  </a:lnTo>
                  <a:lnTo>
                    <a:pt x="1116" y="588"/>
                  </a:lnTo>
                  <a:lnTo>
                    <a:pt x="1122" y="588"/>
                  </a:lnTo>
                  <a:lnTo>
                    <a:pt x="1122" y="594"/>
                  </a:lnTo>
                  <a:lnTo>
                    <a:pt x="1128" y="594"/>
                  </a:lnTo>
                  <a:lnTo>
                    <a:pt x="1134" y="594"/>
                  </a:lnTo>
                  <a:lnTo>
                    <a:pt x="1140" y="594"/>
                  </a:lnTo>
                  <a:lnTo>
                    <a:pt x="1146" y="588"/>
                  </a:lnTo>
                  <a:lnTo>
                    <a:pt x="1158" y="582"/>
                  </a:lnTo>
                  <a:lnTo>
                    <a:pt x="1164" y="576"/>
                  </a:lnTo>
                  <a:lnTo>
                    <a:pt x="1176" y="576"/>
                  </a:lnTo>
                  <a:lnTo>
                    <a:pt x="1194" y="576"/>
                  </a:lnTo>
                  <a:lnTo>
                    <a:pt x="1218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24" y="594"/>
                  </a:lnTo>
                  <a:lnTo>
                    <a:pt x="1212" y="600"/>
                  </a:lnTo>
                  <a:lnTo>
                    <a:pt x="1206" y="606"/>
                  </a:lnTo>
                  <a:lnTo>
                    <a:pt x="1200" y="606"/>
                  </a:lnTo>
                  <a:lnTo>
                    <a:pt x="1200" y="612"/>
                  </a:lnTo>
                  <a:lnTo>
                    <a:pt x="1194" y="612"/>
                  </a:lnTo>
                  <a:lnTo>
                    <a:pt x="1194" y="618"/>
                  </a:lnTo>
                  <a:lnTo>
                    <a:pt x="1194" y="624"/>
                  </a:lnTo>
                  <a:lnTo>
                    <a:pt x="1194" y="630"/>
                  </a:lnTo>
                  <a:lnTo>
                    <a:pt x="1194" y="648"/>
                  </a:lnTo>
                  <a:lnTo>
                    <a:pt x="1194" y="660"/>
                  </a:lnTo>
                  <a:lnTo>
                    <a:pt x="1194" y="666"/>
                  </a:lnTo>
                  <a:lnTo>
                    <a:pt x="1194" y="672"/>
                  </a:lnTo>
                  <a:lnTo>
                    <a:pt x="1194" y="678"/>
                  </a:lnTo>
                  <a:lnTo>
                    <a:pt x="1188" y="684"/>
                  </a:lnTo>
                  <a:lnTo>
                    <a:pt x="1188" y="690"/>
                  </a:lnTo>
                  <a:lnTo>
                    <a:pt x="1188" y="696"/>
                  </a:lnTo>
                  <a:lnTo>
                    <a:pt x="1188" y="702"/>
                  </a:lnTo>
                  <a:lnTo>
                    <a:pt x="1188" y="708"/>
                  </a:lnTo>
                  <a:lnTo>
                    <a:pt x="1188" y="714"/>
                  </a:lnTo>
                  <a:lnTo>
                    <a:pt x="1182" y="720"/>
                  </a:lnTo>
                  <a:lnTo>
                    <a:pt x="1170" y="720"/>
                  </a:lnTo>
                  <a:lnTo>
                    <a:pt x="1158" y="726"/>
                  </a:lnTo>
                  <a:lnTo>
                    <a:pt x="1152" y="726"/>
                  </a:lnTo>
                  <a:lnTo>
                    <a:pt x="1152" y="732"/>
                  </a:lnTo>
                  <a:lnTo>
                    <a:pt x="1146" y="738"/>
                  </a:lnTo>
                  <a:lnTo>
                    <a:pt x="1140" y="738"/>
                  </a:lnTo>
                  <a:lnTo>
                    <a:pt x="1140" y="744"/>
                  </a:lnTo>
                  <a:lnTo>
                    <a:pt x="1134" y="744"/>
                  </a:lnTo>
                  <a:lnTo>
                    <a:pt x="1128" y="744"/>
                  </a:lnTo>
                  <a:lnTo>
                    <a:pt x="1122" y="750"/>
                  </a:lnTo>
                  <a:lnTo>
                    <a:pt x="1128" y="750"/>
                  </a:lnTo>
                  <a:lnTo>
                    <a:pt x="1122" y="756"/>
                  </a:lnTo>
                  <a:lnTo>
                    <a:pt x="1116" y="756"/>
                  </a:lnTo>
                  <a:lnTo>
                    <a:pt x="1110" y="762"/>
                  </a:lnTo>
                  <a:lnTo>
                    <a:pt x="1104" y="762"/>
                  </a:lnTo>
                  <a:lnTo>
                    <a:pt x="1104" y="768"/>
                  </a:lnTo>
                  <a:lnTo>
                    <a:pt x="1098" y="768"/>
                  </a:lnTo>
                  <a:lnTo>
                    <a:pt x="1098" y="774"/>
                  </a:lnTo>
                  <a:lnTo>
                    <a:pt x="1092" y="774"/>
                  </a:lnTo>
                  <a:lnTo>
                    <a:pt x="1092" y="780"/>
                  </a:lnTo>
                  <a:lnTo>
                    <a:pt x="1086" y="780"/>
                  </a:lnTo>
                  <a:lnTo>
                    <a:pt x="1086" y="786"/>
                  </a:lnTo>
                  <a:lnTo>
                    <a:pt x="1080" y="786"/>
                  </a:lnTo>
                  <a:lnTo>
                    <a:pt x="1080" y="792"/>
                  </a:lnTo>
                  <a:lnTo>
                    <a:pt x="1080" y="798"/>
                  </a:lnTo>
                  <a:lnTo>
                    <a:pt x="1080" y="804"/>
                  </a:lnTo>
                  <a:lnTo>
                    <a:pt x="1086" y="810"/>
                  </a:lnTo>
                  <a:lnTo>
                    <a:pt x="1080" y="816"/>
                  </a:lnTo>
                  <a:lnTo>
                    <a:pt x="1080" y="822"/>
                  </a:lnTo>
                  <a:lnTo>
                    <a:pt x="1074" y="822"/>
                  </a:lnTo>
                  <a:lnTo>
                    <a:pt x="1068" y="828"/>
                  </a:lnTo>
                  <a:lnTo>
                    <a:pt x="1074" y="828"/>
                  </a:lnTo>
                  <a:lnTo>
                    <a:pt x="1074" y="834"/>
                  </a:lnTo>
                  <a:lnTo>
                    <a:pt x="1080" y="846"/>
                  </a:lnTo>
                  <a:lnTo>
                    <a:pt x="1086" y="846"/>
                  </a:lnTo>
                  <a:lnTo>
                    <a:pt x="1092" y="852"/>
                  </a:lnTo>
                  <a:lnTo>
                    <a:pt x="1092" y="858"/>
                  </a:lnTo>
                  <a:lnTo>
                    <a:pt x="1098" y="858"/>
                  </a:lnTo>
                  <a:lnTo>
                    <a:pt x="1110" y="864"/>
                  </a:lnTo>
                  <a:lnTo>
                    <a:pt x="1116" y="864"/>
                  </a:lnTo>
                  <a:lnTo>
                    <a:pt x="1122" y="864"/>
                  </a:lnTo>
                  <a:lnTo>
                    <a:pt x="1128" y="864"/>
                  </a:lnTo>
                  <a:lnTo>
                    <a:pt x="1134" y="876"/>
                  </a:lnTo>
                  <a:lnTo>
                    <a:pt x="1140" y="882"/>
                  </a:lnTo>
                  <a:lnTo>
                    <a:pt x="1140" y="888"/>
                  </a:lnTo>
                  <a:lnTo>
                    <a:pt x="1152" y="918"/>
                  </a:lnTo>
                  <a:lnTo>
                    <a:pt x="1158" y="894"/>
                  </a:lnTo>
                  <a:lnTo>
                    <a:pt x="1164" y="888"/>
                  </a:lnTo>
                  <a:lnTo>
                    <a:pt x="1164" y="882"/>
                  </a:lnTo>
                  <a:lnTo>
                    <a:pt x="1176" y="864"/>
                  </a:lnTo>
                  <a:lnTo>
                    <a:pt x="1182" y="858"/>
                  </a:lnTo>
                  <a:lnTo>
                    <a:pt x="1188" y="846"/>
                  </a:lnTo>
                  <a:lnTo>
                    <a:pt x="1200" y="840"/>
                  </a:lnTo>
                  <a:lnTo>
                    <a:pt x="1212" y="840"/>
                  </a:lnTo>
                  <a:lnTo>
                    <a:pt x="1218" y="846"/>
                  </a:lnTo>
                  <a:lnTo>
                    <a:pt x="1224" y="858"/>
                  </a:lnTo>
                  <a:lnTo>
                    <a:pt x="1224" y="864"/>
                  </a:lnTo>
                  <a:lnTo>
                    <a:pt x="1224" y="876"/>
                  </a:lnTo>
                  <a:lnTo>
                    <a:pt x="1212" y="912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00" y="930"/>
                  </a:lnTo>
                  <a:lnTo>
                    <a:pt x="1200" y="942"/>
                  </a:lnTo>
                  <a:lnTo>
                    <a:pt x="1194" y="948"/>
                  </a:lnTo>
                  <a:lnTo>
                    <a:pt x="1194" y="960"/>
                  </a:lnTo>
                  <a:lnTo>
                    <a:pt x="1194" y="966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70" y="984"/>
                  </a:lnTo>
                  <a:lnTo>
                    <a:pt x="1164" y="984"/>
                  </a:lnTo>
                  <a:lnTo>
                    <a:pt x="1158" y="984"/>
                  </a:lnTo>
                  <a:lnTo>
                    <a:pt x="1146" y="984"/>
                  </a:lnTo>
                  <a:lnTo>
                    <a:pt x="1140" y="990"/>
                  </a:lnTo>
                  <a:lnTo>
                    <a:pt x="1140" y="996"/>
                  </a:lnTo>
                  <a:lnTo>
                    <a:pt x="1152" y="996"/>
                  </a:lnTo>
                  <a:lnTo>
                    <a:pt x="1176" y="1002"/>
                  </a:lnTo>
                  <a:lnTo>
                    <a:pt x="1194" y="1008"/>
                  </a:lnTo>
                  <a:lnTo>
                    <a:pt x="1206" y="1008"/>
                  </a:lnTo>
                  <a:lnTo>
                    <a:pt x="1218" y="1014"/>
                  </a:lnTo>
                  <a:lnTo>
                    <a:pt x="1212" y="1038"/>
                  </a:lnTo>
                  <a:lnTo>
                    <a:pt x="1212" y="1044"/>
                  </a:lnTo>
                  <a:lnTo>
                    <a:pt x="1206" y="1044"/>
                  </a:lnTo>
                  <a:lnTo>
                    <a:pt x="1206" y="1050"/>
                  </a:lnTo>
                  <a:lnTo>
                    <a:pt x="1194" y="1050"/>
                  </a:lnTo>
                  <a:lnTo>
                    <a:pt x="1188" y="1044"/>
                  </a:lnTo>
                  <a:lnTo>
                    <a:pt x="1158" y="1020"/>
                  </a:lnTo>
                  <a:lnTo>
                    <a:pt x="1152" y="1020"/>
                  </a:lnTo>
                  <a:lnTo>
                    <a:pt x="1140" y="1020"/>
                  </a:lnTo>
                  <a:lnTo>
                    <a:pt x="1134" y="1020"/>
                  </a:lnTo>
                  <a:lnTo>
                    <a:pt x="1134" y="1026"/>
                  </a:lnTo>
                  <a:lnTo>
                    <a:pt x="1134" y="1032"/>
                  </a:lnTo>
                  <a:lnTo>
                    <a:pt x="1128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2" name="Freeform 27">
              <a:extLst>
                <a:ext uri="{FF2B5EF4-FFF2-40B4-BE49-F238E27FC236}">
                  <a16:creationId xmlns:a16="http://schemas.microsoft.com/office/drawing/2014/main" id="{CE95C9DF-B651-4085-946F-65424BC51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2063" y="3421400"/>
              <a:ext cx="342138" cy="377969"/>
            </a:xfrm>
            <a:custGeom>
              <a:avLst/>
              <a:gdLst>
                <a:gd name="T0" fmla="*/ 43 w 642"/>
                <a:gd name="T1" fmla="*/ 41 h 708"/>
                <a:gd name="T2" fmla="*/ 39 w 642"/>
                <a:gd name="T3" fmla="*/ 41 h 708"/>
                <a:gd name="T4" fmla="*/ 38 w 642"/>
                <a:gd name="T5" fmla="*/ 47 h 708"/>
                <a:gd name="T6" fmla="*/ 38 w 642"/>
                <a:gd name="T7" fmla="*/ 49 h 708"/>
                <a:gd name="T8" fmla="*/ 38 w 642"/>
                <a:gd name="T9" fmla="*/ 50 h 708"/>
                <a:gd name="T10" fmla="*/ 36 w 642"/>
                <a:gd name="T11" fmla="*/ 52 h 708"/>
                <a:gd name="T12" fmla="*/ 35 w 642"/>
                <a:gd name="T13" fmla="*/ 53 h 708"/>
                <a:gd name="T14" fmla="*/ 33 w 642"/>
                <a:gd name="T15" fmla="*/ 55 h 708"/>
                <a:gd name="T16" fmla="*/ 32 w 642"/>
                <a:gd name="T17" fmla="*/ 56 h 708"/>
                <a:gd name="T18" fmla="*/ 31 w 642"/>
                <a:gd name="T19" fmla="*/ 59 h 708"/>
                <a:gd name="T20" fmla="*/ 26 w 642"/>
                <a:gd name="T21" fmla="*/ 59 h 708"/>
                <a:gd name="T22" fmla="*/ 23 w 642"/>
                <a:gd name="T23" fmla="*/ 61 h 708"/>
                <a:gd name="T24" fmla="*/ 20 w 642"/>
                <a:gd name="T25" fmla="*/ 61 h 708"/>
                <a:gd name="T26" fmla="*/ 17 w 642"/>
                <a:gd name="T27" fmla="*/ 59 h 708"/>
                <a:gd name="T28" fmla="*/ 15 w 642"/>
                <a:gd name="T29" fmla="*/ 56 h 708"/>
                <a:gd name="T30" fmla="*/ 9 w 642"/>
                <a:gd name="T31" fmla="*/ 58 h 708"/>
                <a:gd name="T32" fmla="*/ 6 w 642"/>
                <a:gd name="T33" fmla="*/ 52 h 708"/>
                <a:gd name="T34" fmla="*/ 2 w 642"/>
                <a:gd name="T35" fmla="*/ 53 h 708"/>
                <a:gd name="T36" fmla="*/ 1 w 642"/>
                <a:gd name="T37" fmla="*/ 51 h 708"/>
                <a:gd name="T38" fmla="*/ 4 w 642"/>
                <a:gd name="T39" fmla="*/ 47 h 708"/>
                <a:gd name="T40" fmla="*/ 5 w 642"/>
                <a:gd name="T41" fmla="*/ 41 h 708"/>
                <a:gd name="T42" fmla="*/ 5 w 642"/>
                <a:gd name="T43" fmla="*/ 38 h 708"/>
                <a:gd name="T44" fmla="*/ 5 w 642"/>
                <a:gd name="T45" fmla="*/ 35 h 708"/>
                <a:gd name="T46" fmla="*/ 6 w 642"/>
                <a:gd name="T47" fmla="*/ 33 h 708"/>
                <a:gd name="T48" fmla="*/ 5 w 642"/>
                <a:gd name="T49" fmla="*/ 29 h 708"/>
                <a:gd name="T50" fmla="*/ 4 w 642"/>
                <a:gd name="T51" fmla="*/ 28 h 708"/>
                <a:gd name="T52" fmla="*/ 1 w 642"/>
                <a:gd name="T53" fmla="*/ 26 h 708"/>
                <a:gd name="T54" fmla="*/ 1 w 642"/>
                <a:gd name="T55" fmla="*/ 24 h 708"/>
                <a:gd name="T56" fmla="*/ 1 w 642"/>
                <a:gd name="T57" fmla="*/ 20 h 708"/>
                <a:gd name="T58" fmla="*/ 1 w 642"/>
                <a:gd name="T59" fmla="*/ 16 h 708"/>
                <a:gd name="T60" fmla="*/ 2 w 642"/>
                <a:gd name="T61" fmla="*/ 14 h 708"/>
                <a:gd name="T62" fmla="*/ 8 w 642"/>
                <a:gd name="T63" fmla="*/ 14 h 708"/>
                <a:gd name="T64" fmla="*/ 9 w 642"/>
                <a:gd name="T65" fmla="*/ 10 h 708"/>
                <a:gd name="T66" fmla="*/ 15 w 642"/>
                <a:gd name="T67" fmla="*/ 9 h 708"/>
                <a:gd name="T68" fmla="*/ 18 w 642"/>
                <a:gd name="T69" fmla="*/ 14 h 708"/>
                <a:gd name="T70" fmla="*/ 20 w 642"/>
                <a:gd name="T71" fmla="*/ 12 h 708"/>
                <a:gd name="T72" fmla="*/ 20 w 642"/>
                <a:gd name="T73" fmla="*/ 11 h 708"/>
                <a:gd name="T74" fmla="*/ 21 w 642"/>
                <a:gd name="T75" fmla="*/ 9 h 708"/>
                <a:gd name="T76" fmla="*/ 24 w 642"/>
                <a:gd name="T77" fmla="*/ 9 h 708"/>
                <a:gd name="T78" fmla="*/ 27 w 642"/>
                <a:gd name="T79" fmla="*/ 8 h 708"/>
                <a:gd name="T80" fmla="*/ 33 w 642"/>
                <a:gd name="T81" fmla="*/ 2 h 708"/>
                <a:gd name="T82" fmla="*/ 42 w 642"/>
                <a:gd name="T83" fmla="*/ 2 h 708"/>
                <a:gd name="T84" fmla="*/ 49 w 642"/>
                <a:gd name="T85" fmla="*/ 1 h 708"/>
                <a:gd name="T86" fmla="*/ 53 w 642"/>
                <a:gd name="T87" fmla="*/ 4 h 708"/>
                <a:gd name="T88" fmla="*/ 55 w 642"/>
                <a:gd name="T89" fmla="*/ 4 h 708"/>
                <a:gd name="T90" fmla="*/ 55 w 642"/>
                <a:gd name="T91" fmla="*/ 7 h 708"/>
                <a:gd name="T92" fmla="*/ 52 w 642"/>
                <a:gd name="T93" fmla="*/ 9 h 708"/>
                <a:gd name="T94" fmla="*/ 49 w 642"/>
                <a:gd name="T95" fmla="*/ 12 h 708"/>
                <a:gd name="T96" fmla="*/ 47 w 642"/>
                <a:gd name="T97" fmla="*/ 14 h 708"/>
                <a:gd name="T98" fmla="*/ 47 w 642"/>
                <a:gd name="T99" fmla="*/ 17 h 708"/>
                <a:gd name="T100" fmla="*/ 45 w 642"/>
                <a:gd name="T101" fmla="*/ 26 h 708"/>
                <a:gd name="T102" fmla="*/ 50 w 642"/>
                <a:gd name="T103" fmla="*/ 37 h 70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42"/>
                <a:gd name="T157" fmla="*/ 0 h 708"/>
                <a:gd name="T158" fmla="*/ 642 w 642"/>
                <a:gd name="T159" fmla="*/ 708 h 70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42" h="708">
                  <a:moveTo>
                    <a:pt x="576" y="468"/>
                  </a:moveTo>
                  <a:lnTo>
                    <a:pt x="564" y="468"/>
                  </a:lnTo>
                  <a:lnTo>
                    <a:pt x="516" y="468"/>
                  </a:lnTo>
                  <a:lnTo>
                    <a:pt x="498" y="474"/>
                  </a:lnTo>
                  <a:lnTo>
                    <a:pt x="492" y="468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68" y="474"/>
                  </a:lnTo>
                  <a:lnTo>
                    <a:pt x="456" y="468"/>
                  </a:lnTo>
                  <a:lnTo>
                    <a:pt x="444" y="474"/>
                  </a:lnTo>
                  <a:lnTo>
                    <a:pt x="438" y="492"/>
                  </a:lnTo>
                  <a:lnTo>
                    <a:pt x="438" y="504"/>
                  </a:lnTo>
                  <a:lnTo>
                    <a:pt x="432" y="516"/>
                  </a:lnTo>
                  <a:lnTo>
                    <a:pt x="432" y="528"/>
                  </a:lnTo>
                  <a:lnTo>
                    <a:pt x="432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52"/>
                  </a:lnTo>
                  <a:lnTo>
                    <a:pt x="432" y="558"/>
                  </a:lnTo>
                  <a:lnTo>
                    <a:pt x="438" y="564"/>
                  </a:lnTo>
                  <a:lnTo>
                    <a:pt x="444" y="564"/>
                  </a:lnTo>
                  <a:lnTo>
                    <a:pt x="438" y="564"/>
                  </a:lnTo>
                  <a:lnTo>
                    <a:pt x="438" y="570"/>
                  </a:lnTo>
                  <a:lnTo>
                    <a:pt x="432" y="570"/>
                  </a:lnTo>
                  <a:lnTo>
                    <a:pt x="432" y="576"/>
                  </a:lnTo>
                  <a:lnTo>
                    <a:pt x="426" y="588"/>
                  </a:lnTo>
                  <a:lnTo>
                    <a:pt x="420" y="594"/>
                  </a:lnTo>
                  <a:lnTo>
                    <a:pt x="420" y="600"/>
                  </a:lnTo>
                  <a:lnTo>
                    <a:pt x="414" y="600"/>
                  </a:lnTo>
                  <a:lnTo>
                    <a:pt x="414" y="606"/>
                  </a:lnTo>
                  <a:lnTo>
                    <a:pt x="408" y="606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396" y="612"/>
                  </a:lnTo>
                  <a:lnTo>
                    <a:pt x="390" y="612"/>
                  </a:lnTo>
                  <a:lnTo>
                    <a:pt x="390" y="618"/>
                  </a:lnTo>
                  <a:lnTo>
                    <a:pt x="384" y="618"/>
                  </a:lnTo>
                  <a:lnTo>
                    <a:pt x="378" y="618"/>
                  </a:lnTo>
                  <a:lnTo>
                    <a:pt x="378" y="624"/>
                  </a:lnTo>
                  <a:lnTo>
                    <a:pt x="384" y="630"/>
                  </a:lnTo>
                  <a:lnTo>
                    <a:pt x="384" y="636"/>
                  </a:lnTo>
                  <a:lnTo>
                    <a:pt x="378" y="630"/>
                  </a:lnTo>
                  <a:lnTo>
                    <a:pt x="372" y="636"/>
                  </a:lnTo>
                  <a:lnTo>
                    <a:pt x="372" y="642"/>
                  </a:lnTo>
                  <a:lnTo>
                    <a:pt x="366" y="642"/>
                  </a:lnTo>
                  <a:lnTo>
                    <a:pt x="360" y="654"/>
                  </a:lnTo>
                  <a:lnTo>
                    <a:pt x="354" y="666"/>
                  </a:lnTo>
                  <a:lnTo>
                    <a:pt x="354" y="672"/>
                  </a:lnTo>
                  <a:lnTo>
                    <a:pt x="354" y="678"/>
                  </a:lnTo>
                  <a:lnTo>
                    <a:pt x="354" y="684"/>
                  </a:lnTo>
                  <a:lnTo>
                    <a:pt x="348" y="678"/>
                  </a:lnTo>
                  <a:lnTo>
                    <a:pt x="324" y="678"/>
                  </a:lnTo>
                  <a:lnTo>
                    <a:pt x="306" y="678"/>
                  </a:lnTo>
                  <a:lnTo>
                    <a:pt x="294" y="678"/>
                  </a:lnTo>
                  <a:lnTo>
                    <a:pt x="288" y="684"/>
                  </a:lnTo>
                  <a:lnTo>
                    <a:pt x="276" y="690"/>
                  </a:lnTo>
                  <a:lnTo>
                    <a:pt x="270" y="696"/>
                  </a:lnTo>
                  <a:lnTo>
                    <a:pt x="264" y="696"/>
                  </a:lnTo>
                  <a:lnTo>
                    <a:pt x="258" y="696"/>
                  </a:lnTo>
                  <a:lnTo>
                    <a:pt x="252" y="696"/>
                  </a:lnTo>
                  <a:lnTo>
                    <a:pt x="252" y="690"/>
                  </a:lnTo>
                  <a:lnTo>
                    <a:pt x="246" y="690"/>
                  </a:lnTo>
                  <a:lnTo>
                    <a:pt x="234" y="690"/>
                  </a:lnTo>
                  <a:lnTo>
                    <a:pt x="222" y="696"/>
                  </a:lnTo>
                  <a:lnTo>
                    <a:pt x="216" y="708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8" y="690"/>
                  </a:lnTo>
                  <a:lnTo>
                    <a:pt x="198" y="684"/>
                  </a:lnTo>
                  <a:lnTo>
                    <a:pt x="198" y="678"/>
                  </a:lnTo>
                  <a:lnTo>
                    <a:pt x="198" y="672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74" y="648"/>
                  </a:lnTo>
                  <a:lnTo>
                    <a:pt x="162" y="642"/>
                  </a:lnTo>
                  <a:lnTo>
                    <a:pt x="156" y="636"/>
                  </a:lnTo>
                  <a:lnTo>
                    <a:pt x="132" y="642"/>
                  </a:lnTo>
                  <a:lnTo>
                    <a:pt x="120" y="654"/>
                  </a:lnTo>
                  <a:lnTo>
                    <a:pt x="108" y="660"/>
                  </a:lnTo>
                  <a:lnTo>
                    <a:pt x="102" y="666"/>
                  </a:lnTo>
                  <a:lnTo>
                    <a:pt x="84" y="666"/>
                  </a:lnTo>
                  <a:lnTo>
                    <a:pt x="84" y="630"/>
                  </a:lnTo>
                  <a:lnTo>
                    <a:pt x="78" y="594"/>
                  </a:lnTo>
                  <a:lnTo>
                    <a:pt x="66" y="594"/>
                  </a:lnTo>
                  <a:lnTo>
                    <a:pt x="60" y="594"/>
                  </a:lnTo>
                  <a:lnTo>
                    <a:pt x="48" y="600"/>
                  </a:lnTo>
                  <a:lnTo>
                    <a:pt x="36" y="606"/>
                  </a:lnTo>
                  <a:lnTo>
                    <a:pt x="24" y="612"/>
                  </a:lnTo>
                  <a:lnTo>
                    <a:pt x="18" y="612"/>
                  </a:lnTo>
                  <a:lnTo>
                    <a:pt x="12" y="606"/>
                  </a:lnTo>
                  <a:lnTo>
                    <a:pt x="12" y="600"/>
                  </a:lnTo>
                  <a:lnTo>
                    <a:pt x="12" y="594"/>
                  </a:lnTo>
                  <a:lnTo>
                    <a:pt x="12" y="588"/>
                  </a:lnTo>
                  <a:lnTo>
                    <a:pt x="12" y="582"/>
                  </a:lnTo>
                  <a:lnTo>
                    <a:pt x="12" y="576"/>
                  </a:lnTo>
                  <a:lnTo>
                    <a:pt x="18" y="552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42" y="534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48" y="492"/>
                  </a:lnTo>
                  <a:lnTo>
                    <a:pt x="48" y="480"/>
                  </a:lnTo>
                  <a:lnTo>
                    <a:pt x="54" y="468"/>
                  </a:lnTo>
                  <a:lnTo>
                    <a:pt x="48" y="456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66" y="390"/>
                  </a:lnTo>
                  <a:lnTo>
                    <a:pt x="72" y="384"/>
                  </a:lnTo>
                  <a:lnTo>
                    <a:pt x="72" y="378"/>
                  </a:lnTo>
                  <a:lnTo>
                    <a:pt x="66" y="378"/>
                  </a:lnTo>
                  <a:lnTo>
                    <a:pt x="66" y="366"/>
                  </a:lnTo>
                  <a:lnTo>
                    <a:pt x="60" y="360"/>
                  </a:lnTo>
                  <a:lnTo>
                    <a:pt x="66" y="354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48" y="312"/>
                  </a:lnTo>
                  <a:lnTo>
                    <a:pt x="30" y="312"/>
                  </a:lnTo>
                  <a:lnTo>
                    <a:pt x="24" y="306"/>
                  </a:lnTo>
                  <a:lnTo>
                    <a:pt x="18" y="306"/>
                  </a:lnTo>
                  <a:lnTo>
                    <a:pt x="12" y="294"/>
                  </a:lnTo>
                  <a:lnTo>
                    <a:pt x="12" y="282"/>
                  </a:lnTo>
                  <a:lnTo>
                    <a:pt x="6" y="276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12" y="270"/>
                  </a:lnTo>
                  <a:lnTo>
                    <a:pt x="12" y="246"/>
                  </a:lnTo>
                  <a:lnTo>
                    <a:pt x="12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8" y="174"/>
                  </a:lnTo>
                  <a:lnTo>
                    <a:pt x="12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48" y="162"/>
                  </a:lnTo>
                  <a:lnTo>
                    <a:pt x="72" y="162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84" y="132"/>
                  </a:lnTo>
                  <a:lnTo>
                    <a:pt x="90" y="120"/>
                  </a:lnTo>
                  <a:lnTo>
                    <a:pt x="108" y="114"/>
                  </a:lnTo>
                  <a:lnTo>
                    <a:pt x="114" y="102"/>
                  </a:lnTo>
                  <a:lnTo>
                    <a:pt x="120" y="90"/>
                  </a:lnTo>
                  <a:lnTo>
                    <a:pt x="138" y="90"/>
                  </a:lnTo>
                  <a:lnTo>
                    <a:pt x="138" y="102"/>
                  </a:lnTo>
                  <a:lnTo>
                    <a:pt x="168" y="108"/>
                  </a:lnTo>
                  <a:lnTo>
                    <a:pt x="168" y="114"/>
                  </a:lnTo>
                  <a:lnTo>
                    <a:pt x="174" y="126"/>
                  </a:lnTo>
                  <a:lnTo>
                    <a:pt x="186" y="150"/>
                  </a:lnTo>
                  <a:lnTo>
                    <a:pt x="186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34" y="144"/>
                  </a:lnTo>
                  <a:lnTo>
                    <a:pt x="240" y="138"/>
                  </a:lnTo>
                  <a:lnTo>
                    <a:pt x="240" y="126"/>
                  </a:lnTo>
                  <a:lnTo>
                    <a:pt x="234" y="126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34" y="102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82" y="102"/>
                  </a:lnTo>
                  <a:lnTo>
                    <a:pt x="288" y="102"/>
                  </a:lnTo>
                  <a:lnTo>
                    <a:pt x="294" y="102"/>
                  </a:lnTo>
                  <a:lnTo>
                    <a:pt x="300" y="96"/>
                  </a:lnTo>
                  <a:lnTo>
                    <a:pt x="306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84"/>
                  </a:lnTo>
                  <a:lnTo>
                    <a:pt x="324" y="18"/>
                  </a:lnTo>
                  <a:lnTo>
                    <a:pt x="360" y="18"/>
                  </a:lnTo>
                  <a:lnTo>
                    <a:pt x="378" y="18"/>
                  </a:lnTo>
                  <a:lnTo>
                    <a:pt x="378" y="30"/>
                  </a:lnTo>
                  <a:lnTo>
                    <a:pt x="390" y="30"/>
                  </a:lnTo>
                  <a:lnTo>
                    <a:pt x="432" y="30"/>
                  </a:lnTo>
                  <a:lnTo>
                    <a:pt x="456" y="24"/>
                  </a:lnTo>
                  <a:lnTo>
                    <a:pt x="480" y="24"/>
                  </a:lnTo>
                  <a:lnTo>
                    <a:pt x="498" y="30"/>
                  </a:lnTo>
                  <a:lnTo>
                    <a:pt x="522" y="18"/>
                  </a:lnTo>
                  <a:lnTo>
                    <a:pt x="528" y="0"/>
                  </a:lnTo>
                  <a:lnTo>
                    <a:pt x="558" y="6"/>
                  </a:lnTo>
                  <a:lnTo>
                    <a:pt x="558" y="12"/>
                  </a:lnTo>
                  <a:lnTo>
                    <a:pt x="570" y="18"/>
                  </a:lnTo>
                  <a:lnTo>
                    <a:pt x="576" y="24"/>
                  </a:lnTo>
                  <a:lnTo>
                    <a:pt x="588" y="36"/>
                  </a:lnTo>
                  <a:lnTo>
                    <a:pt x="594" y="48"/>
                  </a:lnTo>
                  <a:lnTo>
                    <a:pt x="606" y="48"/>
                  </a:lnTo>
                  <a:lnTo>
                    <a:pt x="606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42"/>
                  </a:lnTo>
                  <a:lnTo>
                    <a:pt x="636" y="42"/>
                  </a:lnTo>
                  <a:lnTo>
                    <a:pt x="636" y="48"/>
                  </a:lnTo>
                  <a:lnTo>
                    <a:pt x="642" y="54"/>
                  </a:lnTo>
                  <a:lnTo>
                    <a:pt x="636" y="60"/>
                  </a:lnTo>
                  <a:lnTo>
                    <a:pt x="636" y="66"/>
                  </a:lnTo>
                  <a:lnTo>
                    <a:pt x="636" y="78"/>
                  </a:lnTo>
                  <a:lnTo>
                    <a:pt x="624" y="84"/>
                  </a:lnTo>
                  <a:lnTo>
                    <a:pt x="618" y="90"/>
                  </a:lnTo>
                  <a:lnTo>
                    <a:pt x="612" y="90"/>
                  </a:lnTo>
                  <a:lnTo>
                    <a:pt x="600" y="102"/>
                  </a:lnTo>
                  <a:lnTo>
                    <a:pt x="594" y="108"/>
                  </a:lnTo>
                  <a:lnTo>
                    <a:pt x="582" y="114"/>
                  </a:lnTo>
                  <a:lnTo>
                    <a:pt x="570" y="132"/>
                  </a:lnTo>
                  <a:lnTo>
                    <a:pt x="564" y="132"/>
                  </a:lnTo>
                  <a:lnTo>
                    <a:pt x="564" y="138"/>
                  </a:lnTo>
                  <a:lnTo>
                    <a:pt x="558" y="144"/>
                  </a:lnTo>
                  <a:lnTo>
                    <a:pt x="558" y="150"/>
                  </a:lnTo>
                  <a:lnTo>
                    <a:pt x="552" y="150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0" y="162"/>
                  </a:lnTo>
                  <a:lnTo>
                    <a:pt x="534" y="168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6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28" y="234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16" y="294"/>
                  </a:lnTo>
                  <a:lnTo>
                    <a:pt x="516" y="312"/>
                  </a:lnTo>
                  <a:lnTo>
                    <a:pt x="528" y="318"/>
                  </a:lnTo>
                  <a:lnTo>
                    <a:pt x="540" y="360"/>
                  </a:lnTo>
                  <a:lnTo>
                    <a:pt x="558" y="408"/>
                  </a:lnTo>
                  <a:lnTo>
                    <a:pt x="570" y="426"/>
                  </a:lnTo>
                  <a:lnTo>
                    <a:pt x="576" y="432"/>
                  </a:lnTo>
                  <a:lnTo>
                    <a:pt x="576" y="438"/>
                  </a:lnTo>
                  <a:lnTo>
                    <a:pt x="576" y="444"/>
                  </a:lnTo>
                  <a:lnTo>
                    <a:pt x="576" y="46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3" name="Freeform 28">
              <a:extLst>
                <a:ext uri="{FF2B5EF4-FFF2-40B4-BE49-F238E27FC236}">
                  <a16:creationId xmlns:a16="http://schemas.microsoft.com/office/drawing/2014/main" id="{CF9B4F31-BF73-448E-83AA-188F6CF1BDC5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4879" y="3432583"/>
              <a:ext cx="324248" cy="270616"/>
            </a:xfrm>
            <a:custGeom>
              <a:avLst/>
              <a:gdLst>
                <a:gd name="T0" fmla="*/ 5 w 606"/>
                <a:gd name="T1" fmla="*/ 36 h 510"/>
                <a:gd name="T2" fmla="*/ 4 w 606"/>
                <a:gd name="T3" fmla="*/ 34 h 510"/>
                <a:gd name="T4" fmla="*/ 0 w 606"/>
                <a:gd name="T5" fmla="*/ 25 h 510"/>
                <a:gd name="T6" fmla="*/ 1 w 606"/>
                <a:gd name="T7" fmla="*/ 20 h 510"/>
                <a:gd name="T8" fmla="*/ 2 w 606"/>
                <a:gd name="T9" fmla="*/ 15 h 510"/>
                <a:gd name="T10" fmla="*/ 2 w 606"/>
                <a:gd name="T11" fmla="*/ 13 h 510"/>
                <a:gd name="T12" fmla="*/ 3 w 606"/>
                <a:gd name="T13" fmla="*/ 12 h 510"/>
                <a:gd name="T14" fmla="*/ 4 w 606"/>
                <a:gd name="T15" fmla="*/ 11 h 510"/>
                <a:gd name="T16" fmla="*/ 4 w 606"/>
                <a:gd name="T17" fmla="*/ 10 h 510"/>
                <a:gd name="T18" fmla="*/ 7 w 606"/>
                <a:gd name="T19" fmla="*/ 8 h 510"/>
                <a:gd name="T20" fmla="*/ 9 w 606"/>
                <a:gd name="T21" fmla="*/ 6 h 510"/>
                <a:gd name="T22" fmla="*/ 11 w 606"/>
                <a:gd name="T23" fmla="*/ 4 h 510"/>
                <a:gd name="T24" fmla="*/ 12 w 606"/>
                <a:gd name="T25" fmla="*/ 3 h 510"/>
                <a:gd name="T26" fmla="*/ 13 w 606"/>
                <a:gd name="T27" fmla="*/ 4 h 510"/>
                <a:gd name="T28" fmla="*/ 15 w 606"/>
                <a:gd name="T29" fmla="*/ 2 h 510"/>
                <a:gd name="T30" fmla="*/ 17 w 606"/>
                <a:gd name="T31" fmla="*/ 2 h 510"/>
                <a:gd name="T32" fmla="*/ 19 w 606"/>
                <a:gd name="T33" fmla="*/ 5 h 510"/>
                <a:gd name="T34" fmla="*/ 22 w 606"/>
                <a:gd name="T35" fmla="*/ 5 h 510"/>
                <a:gd name="T36" fmla="*/ 25 w 606"/>
                <a:gd name="T37" fmla="*/ 6 h 510"/>
                <a:gd name="T38" fmla="*/ 29 w 606"/>
                <a:gd name="T39" fmla="*/ 1 h 510"/>
                <a:gd name="T40" fmla="*/ 38 w 606"/>
                <a:gd name="T41" fmla="*/ 0 h 510"/>
                <a:gd name="T42" fmla="*/ 38 w 606"/>
                <a:gd name="T43" fmla="*/ 5 h 510"/>
                <a:gd name="T44" fmla="*/ 41 w 606"/>
                <a:gd name="T45" fmla="*/ 4 h 510"/>
                <a:gd name="T46" fmla="*/ 45 w 606"/>
                <a:gd name="T47" fmla="*/ 2 h 510"/>
                <a:gd name="T48" fmla="*/ 46 w 606"/>
                <a:gd name="T49" fmla="*/ 2 h 510"/>
                <a:gd name="T50" fmla="*/ 47 w 606"/>
                <a:gd name="T51" fmla="*/ 5 h 510"/>
                <a:gd name="T52" fmla="*/ 45 w 606"/>
                <a:gd name="T53" fmla="*/ 6 h 510"/>
                <a:gd name="T54" fmla="*/ 45 w 606"/>
                <a:gd name="T55" fmla="*/ 7 h 510"/>
                <a:gd name="T56" fmla="*/ 43 w 606"/>
                <a:gd name="T57" fmla="*/ 8 h 510"/>
                <a:gd name="T58" fmla="*/ 45 w 606"/>
                <a:gd name="T59" fmla="*/ 15 h 510"/>
                <a:gd name="T60" fmla="*/ 49 w 606"/>
                <a:gd name="T61" fmla="*/ 15 h 510"/>
                <a:gd name="T62" fmla="*/ 51 w 606"/>
                <a:gd name="T63" fmla="*/ 15 h 510"/>
                <a:gd name="T64" fmla="*/ 53 w 606"/>
                <a:gd name="T65" fmla="*/ 16 h 510"/>
                <a:gd name="T66" fmla="*/ 52 w 606"/>
                <a:gd name="T67" fmla="*/ 20 h 510"/>
                <a:gd name="T68" fmla="*/ 48 w 606"/>
                <a:gd name="T69" fmla="*/ 23 h 510"/>
                <a:gd name="T70" fmla="*/ 45 w 606"/>
                <a:gd name="T71" fmla="*/ 25 h 510"/>
                <a:gd name="T72" fmla="*/ 44 w 606"/>
                <a:gd name="T73" fmla="*/ 28 h 510"/>
                <a:gd name="T74" fmla="*/ 43 w 606"/>
                <a:gd name="T75" fmla="*/ 33 h 510"/>
                <a:gd name="T76" fmla="*/ 39 w 606"/>
                <a:gd name="T77" fmla="*/ 38 h 510"/>
                <a:gd name="T78" fmla="*/ 37 w 606"/>
                <a:gd name="T79" fmla="*/ 41 h 510"/>
                <a:gd name="T80" fmla="*/ 31 w 606"/>
                <a:gd name="T81" fmla="*/ 44 h 510"/>
                <a:gd name="T82" fmla="*/ 28 w 606"/>
                <a:gd name="T83" fmla="*/ 43 h 510"/>
                <a:gd name="T84" fmla="*/ 28 w 606"/>
                <a:gd name="T85" fmla="*/ 41 h 510"/>
                <a:gd name="T86" fmla="*/ 28 w 606"/>
                <a:gd name="T87" fmla="*/ 40 h 510"/>
                <a:gd name="T88" fmla="*/ 27 w 606"/>
                <a:gd name="T89" fmla="*/ 38 h 510"/>
                <a:gd name="T90" fmla="*/ 27 w 606"/>
                <a:gd name="T91" fmla="*/ 36 h 510"/>
                <a:gd name="T92" fmla="*/ 24 w 606"/>
                <a:gd name="T93" fmla="*/ 35 h 510"/>
                <a:gd name="T94" fmla="*/ 16 w 606"/>
                <a:gd name="T95" fmla="*/ 34 h 510"/>
                <a:gd name="T96" fmla="*/ 13 w 606"/>
                <a:gd name="T97" fmla="*/ 34 h 510"/>
                <a:gd name="T98" fmla="*/ 9 w 606"/>
                <a:gd name="T99" fmla="*/ 36 h 510"/>
                <a:gd name="T100" fmla="*/ 8 w 606"/>
                <a:gd name="T101" fmla="*/ 38 h 510"/>
                <a:gd name="T102" fmla="*/ 7 w 606"/>
                <a:gd name="T103" fmla="*/ 39 h 51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06"/>
                <a:gd name="T157" fmla="*/ 0 h 510"/>
                <a:gd name="T158" fmla="*/ 606 w 606"/>
                <a:gd name="T159" fmla="*/ 510 h 51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06" h="510">
                  <a:moveTo>
                    <a:pt x="60" y="450"/>
                  </a:move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42" y="390"/>
                  </a:lnTo>
                  <a:lnTo>
                    <a:pt x="24" y="342"/>
                  </a:lnTo>
                  <a:lnTo>
                    <a:pt x="12" y="300"/>
                  </a:lnTo>
                  <a:lnTo>
                    <a:pt x="0" y="294"/>
                  </a:lnTo>
                  <a:lnTo>
                    <a:pt x="0" y="276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24" y="192"/>
                  </a:lnTo>
                  <a:lnTo>
                    <a:pt x="24" y="180"/>
                  </a:lnTo>
                  <a:lnTo>
                    <a:pt x="24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6" y="96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108" y="66"/>
                  </a:lnTo>
                  <a:lnTo>
                    <a:pt x="120" y="60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36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62" y="36"/>
                  </a:lnTo>
                  <a:lnTo>
                    <a:pt x="162" y="30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0" y="54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46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76" y="66"/>
                  </a:lnTo>
                  <a:lnTo>
                    <a:pt x="312" y="66"/>
                  </a:lnTo>
                  <a:lnTo>
                    <a:pt x="318" y="60"/>
                  </a:lnTo>
                  <a:lnTo>
                    <a:pt x="330" y="12"/>
                  </a:lnTo>
                  <a:lnTo>
                    <a:pt x="414" y="6"/>
                  </a:lnTo>
                  <a:lnTo>
                    <a:pt x="420" y="0"/>
                  </a:lnTo>
                  <a:lnTo>
                    <a:pt x="426" y="6"/>
                  </a:lnTo>
                  <a:lnTo>
                    <a:pt x="426" y="12"/>
                  </a:lnTo>
                  <a:lnTo>
                    <a:pt x="426" y="54"/>
                  </a:lnTo>
                  <a:lnTo>
                    <a:pt x="432" y="54"/>
                  </a:lnTo>
                  <a:lnTo>
                    <a:pt x="444" y="54"/>
                  </a:lnTo>
                  <a:lnTo>
                    <a:pt x="450" y="42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86" y="24"/>
                  </a:lnTo>
                  <a:lnTo>
                    <a:pt x="504" y="18"/>
                  </a:lnTo>
                  <a:lnTo>
                    <a:pt x="510" y="12"/>
                  </a:lnTo>
                  <a:lnTo>
                    <a:pt x="516" y="18"/>
                  </a:lnTo>
                  <a:lnTo>
                    <a:pt x="522" y="24"/>
                  </a:lnTo>
                  <a:lnTo>
                    <a:pt x="510" y="30"/>
                  </a:lnTo>
                  <a:lnTo>
                    <a:pt x="516" y="48"/>
                  </a:lnTo>
                  <a:lnTo>
                    <a:pt x="528" y="54"/>
                  </a:lnTo>
                  <a:lnTo>
                    <a:pt x="522" y="60"/>
                  </a:lnTo>
                  <a:lnTo>
                    <a:pt x="516" y="66"/>
                  </a:lnTo>
                  <a:lnTo>
                    <a:pt x="516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0" y="84"/>
                  </a:lnTo>
                  <a:lnTo>
                    <a:pt x="510" y="90"/>
                  </a:lnTo>
                  <a:lnTo>
                    <a:pt x="504" y="90"/>
                  </a:lnTo>
                  <a:lnTo>
                    <a:pt x="486" y="90"/>
                  </a:lnTo>
                  <a:lnTo>
                    <a:pt x="492" y="138"/>
                  </a:lnTo>
                  <a:lnTo>
                    <a:pt x="498" y="168"/>
                  </a:lnTo>
                  <a:lnTo>
                    <a:pt x="516" y="168"/>
                  </a:lnTo>
                  <a:lnTo>
                    <a:pt x="528" y="174"/>
                  </a:lnTo>
                  <a:lnTo>
                    <a:pt x="534" y="168"/>
                  </a:lnTo>
                  <a:lnTo>
                    <a:pt x="558" y="174"/>
                  </a:lnTo>
                  <a:lnTo>
                    <a:pt x="564" y="168"/>
                  </a:lnTo>
                  <a:lnTo>
                    <a:pt x="570" y="168"/>
                  </a:lnTo>
                  <a:lnTo>
                    <a:pt x="576" y="174"/>
                  </a:lnTo>
                  <a:lnTo>
                    <a:pt x="588" y="168"/>
                  </a:lnTo>
                  <a:lnTo>
                    <a:pt x="594" y="168"/>
                  </a:lnTo>
                  <a:lnTo>
                    <a:pt x="594" y="186"/>
                  </a:lnTo>
                  <a:lnTo>
                    <a:pt x="606" y="198"/>
                  </a:lnTo>
                  <a:lnTo>
                    <a:pt x="600" y="210"/>
                  </a:lnTo>
                  <a:lnTo>
                    <a:pt x="588" y="234"/>
                  </a:lnTo>
                  <a:lnTo>
                    <a:pt x="564" y="246"/>
                  </a:lnTo>
                  <a:lnTo>
                    <a:pt x="546" y="258"/>
                  </a:lnTo>
                  <a:lnTo>
                    <a:pt x="540" y="270"/>
                  </a:lnTo>
                  <a:lnTo>
                    <a:pt x="534" y="294"/>
                  </a:lnTo>
                  <a:lnTo>
                    <a:pt x="528" y="300"/>
                  </a:lnTo>
                  <a:lnTo>
                    <a:pt x="516" y="294"/>
                  </a:lnTo>
                  <a:lnTo>
                    <a:pt x="510" y="300"/>
                  </a:lnTo>
                  <a:lnTo>
                    <a:pt x="498" y="318"/>
                  </a:lnTo>
                  <a:lnTo>
                    <a:pt x="492" y="324"/>
                  </a:lnTo>
                  <a:lnTo>
                    <a:pt x="486" y="336"/>
                  </a:lnTo>
                  <a:lnTo>
                    <a:pt x="486" y="354"/>
                  </a:lnTo>
                  <a:lnTo>
                    <a:pt x="486" y="384"/>
                  </a:lnTo>
                  <a:lnTo>
                    <a:pt x="474" y="408"/>
                  </a:lnTo>
                  <a:lnTo>
                    <a:pt x="450" y="426"/>
                  </a:lnTo>
                  <a:lnTo>
                    <a:pt x="444" y="444"/>
                  </a:lnTo>
                  <a:lnTo>
                    <a:pt x="426" y="474"/>
                  </a:lnTo>
                  <a:lnTo>
                    <a:pt x="420" y="486"/>
                  </a:lnTo>
                  <a:lnTo>
                    <a:pt x="414" y="486"/>
                  </a:lnTo>
                  <a:lnTo>
                    <a:pt x="414" y="498"/>
                  </a:lnTo>
                  <a:lnTo>
                    <a:pt x="378" y="504"/>
                  </a:lnTo>
                  <a:lnTo>
                    <a:pt x="348" y="510"/>
                  </a:lnTo>
                  <a:lnTo>
                    <a:pt x="330" y="510"/>
                  </a:lnTo>
                  <a:lnTo>
                    <a:pt x="324" y="504"/>
                  </a:lnTo>
                  <a:lnTo>
                    <a:pt x="318" y="504"/>
                  </a:lnTo>
                  <a:lnTo>
                    <a:pt x="312" y="504"/>
                  </a:lnTo>
                  <a:lnTo>
                    <a:pt x="312" y="498"/>
                  </a:lnTo>
                  <a:lnTo>
                    <a:pt x="312" y="486"/>
                  </a:lnTo>
                  <a:lnTo>
                    <a:pt x="312" y="480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56"/>
                  </a:lnTo>
                  <a:lnTo>
                    <a:pt x="312" y="450"/>
                  </a:lnTo>
                  <a:lnTo>
                    <a:pt x="306" y="444"/>
                  </a:lnTo>
                  <a:lnTo>
                    <a:pt x="306" y="438"/>
                  </a:lnTo>
                  <a:lnTo>
                    <a:pt x="300" y="426"/>
                  </a:lnTo>
                  <a:lnTo>
                    <a:pt x="300" y="420"/>
                  </a:lnTo>
                  <a:lnTo>
                    <a:pt x="294" y="414"/>
                  </a:lnTo>
                  <a:lnTo>
                    <a:pt x="294" y="408"/>
                  </a:lnTo>
                  <a:lnTo>
                    <a:pt x="270" y="408"/>
                  </a:lnTo>
                  <a:lnTo>
                    <a:pt x="246" y="408"/>
                  </a:lnTo>
                  <a:lnTo>
                    <a:pt x="222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56" y="402"/>
                  </a:lnTo>
                  <a:lnTo>
                    <a:pt x="144" y="396"/>
                  </a:lnTo>
                  <a:lnTo>
                    <a:pt x="126" y="396"/>
                  </a:lnTo>
                  <a:lnTo>
                    <a:pt x="108" y="408"/>
                  </a:lnTo>
                  <a:lnTo>
                    <a:pt x="102" y="414"/>
                  </a:lnTo>
                  <a:lnTo>
                    <a:pt x="102" y="420"/>
                  </a:lnTo>
                  <a:lnTo>
                    <a:pt x="96" y="426"/>
                  </a:lnTo>
                  <a:lnTo>
                    <a:pt x="96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78" y="450"/>
                  </a:lnTo>
                  <a:lnTo>
                    <a:pt x="60" y="45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4" name="Freeform 29">
              <a:extLst>
                <a:ext uri="{FF2B5EF4-FFF2-40B4-BE49-F238E27FC236}">
                  <a16:creationId xmlns:a16="http://schemas.microsoft.com/office/drawing/2014/main" id="{B6AC2B96-1504-4082-8778-17130FDA021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401" y="3537698"/>
              <a:ext cx="559048" cy="641876"/>
            </a:xfrm>
            <a:custGeom>
              <a:avLst/>
              <a:gdLst>
                <a:gd name="T0" fmla="*/ 39 w 1056"/>
                <a:gd name="T1" fmla="*/ 94 h 1206"/>
                <a:gd name="T2" fmla="*/ 35 w 1056"/>
                <a:gd name="T3" fmla="*/ 103 h 1206"/>
                <a:gd name="T4" fmla="*/ 29 w 1056"/>
                <a:gd name="T5" fmla="*/ 99 h 1206"/>
                <a:gd name="T6" fmla="*/ 23 w 1056"/>
                <a:gd name="T7" fmla="*/ 94 h 1206"/>
                <a:gd name="T8" fmla="*/ 21 w 1056"/>
                <a:gd name="T9" fmla="*/ 91 h 1206"/>
                <a:gd name="T10" fmla="*/ 18 w 1056"/>
                <a:gd name="T11" fmla="*/ 89 h 1206"/>
                <a:gd name="T12" fmla="*/ 15 w 1056"/>
                <a:gd name="T13" fmla="*/ 86 h 1206"/>
                <a:gd name="T14" fmla="*/ 11 w 1056"/>
                <a:gd name="T15" fmla="*/ 83 h 1206"/>
                <a:gd name="T16" fmla="*/ 8 w 1056"/>
                <a:gd name="T17" fmla="*/ 81 h 1206"/>
                <a:gd name="T18" fmla="*/ 6 w 1056"/>
                <a:gd name="T19" fmla="*/ 79 h 1206"/>
                <a:gd name="T20" fmla="*/ 13 w 1056"/>
                <a:gd name="T21" fmla="*/ 78 h 1206"/>
                <a:gd name="T22" fmla="*/ 8 w 1056"/>
                <a:gd name="T23" fmla="*/ 75 h 1206"/>
                <a:gd name="T24" fmla="*/ 13 w 1056"/>
                <a:gd name="T25" fmla="*/ 71 h 1206"/>
                <a:gd name="T26" fmla="*/ 10 w 1056"/>
                <a:gd name="T27" fmla="*/ 63 h 1206"/>
                <a:gd name="T28" fmla="*/ 6 w 1056"/>
                <a:gd name="T29" fmla="*/ 66 h 1206"/>
                <a:gd name="T30" fmla="*/ 1 w 1056"/>
                <a:gd name="T31" fmla="*/ 63 h 1206"/>
                <a:gd name="T32" fmla="*/ 1 w 1056"/>
                <a:gd name="T33" fmla="*/ 59 h 1206"/>
                <a:gd name="T34" fmla="*/ 3 w 1056"/>
                <a:gd name="T35" fmla="*/ 57 h 1206"/>
                <a:gd name="T36" fmla="*/ 6 w 1056"/>
                <a:gd name="T37" fmla="*/ 55 h 1206"/>
                <a:gd name="T38" fmla="*/ 10 w 1056"/>
                <a:gd name="T39" fmla="*/ 51 h 1206"/>
                <a:gd name="T40" fmla="*/ 11 w 1056"/>
                <a:gd name="T41" fmla="*/ 46 h 1206"/>
                <a:gd name="T42" fmla="*/ 14 w 1056"/>
                <a:gd name="T43" fmla="*/ 42 h 1206"/>
                <a:gd name="T44" fmla="*/ 15 w 1056"/>
                <a:gd name="T45" fmla="*/ 36 h 1206"/>
                <a:gd name="T46" fmla="*/ 17 w 1056"/>
                <a:gd name="T47" fmla="*/ 34 h 1206"/>
                <a:gd name="T48" fmla="*/ 20 w 1056"/>
                <a:gd name="T49" fmla="*/ 31 h 1206"/>
                <a:gd name="T50" fmla="*/ 21 w 1056"/>
                <a:gd name="T51" fmla="*/ 29 h 1206"/>
                <a:gd name="T52" fmla="*/ 23 w 1056"/>
                <a:gd name="T53" fmla="*/ 22 h 1206"/>
                <a:gd name="T54" fmla="*/ 35 w 1056"/>
                <a:gd name="T55" fmla="*/ 22 h 1206"/>
                <a:gd name="T56" fmla="*/ 41 w 1056"/>
                <a:gd name="T57" fmla="*/ 18 h 1206"/>
                <a:gd name="T58" fmla="*/ 54 w 1056"/>
                <a:gd name="T59" fmla="*/ 20 h 1206"/>
                <a:gd name="T60" fmla="*/ 54 w 1056"/>
                <a:gd name="T61" fmla="*/ 26 h 1206"/>
                <a:gd name="T62" fmla="*/ 64 w 1056"/>
                <a:gd name="T63" fmla="*/ 25 h 1206"/>
                <a:gd name="T64" fmla="*/ 71 w 1056"/>
                <a:gd name="T65" fmla="*/ 10 h 1206"/>
                <a:gd name="T66" fmla="*/ 80 w 1056"/>
                <a:gd name="T67" fmla="*/ 1 h 1206"/>
                <a:gd name="T68" fmla="*/ 86 w 1056"/>
                <a:gd name="T69" fmla="*/ 2 h 1206"/>
                <a:gd name="T70" fmla="*/ 91 w 1056"/>
                <a:gd name="T71" fmla="*/ 13 h 1206"/>
                <a:gd name="T72" fmla="*/ 88 w 1056"/>
                <a:gd name="T73" fmla="*/ 17 h 1206"/>
                <a:gd name="T74" fmla="*/ 89 w 1056"/>
                <a:gd name="T75" fmla="*/ 21 h 1206"/>
                <a:gd name="T76" fmla="*/ 86 w 1056"/>
                <a:gd name="T77" fmla="*/ 25 h 1206"/>
                <a:gd name="T78" fmla="*/ 85 w 1056"/>
                <a:gd name="T79" fmla="*/ 31 h 1206"/>
                <a:gd name="T80" fmla="*/ 83 w 1056"/>
                <a:gd name="T81" fmla="*/ 36 h 1206"/>
                <a:gd name="T82" fmla="*/ 80 w 1056"/>
                <a:gd name="T83" fmla="*/ 42 h 1206"/>
                <a:gd name="T84" fmla="*/ 80 w 1056"/>
                <a:gd name="T85" fmla="*/ 47 h 1206"/>
                <a:gd name="T86" fmla="*/ 77 w 1056"/>
                <a:gd name="T87" fmla="*/ 55 h 1206"/>
                <a:gd name="T88" fmla="*/ 75 w 1056"/>
                <a:gd name="T89" fmla="*/ 57 h 1206"/>
                <a:gd name="T90" fmla="*/ 66 w 1056"/>
                <a:gd name="T91" fmla="*/ 57 h 1206"/>
                <a:gd name="T92" fmla="*/ 66 w 1056"/>
                <a:gd name="T93" fmla="*/ 51 h 1206"/>
                <a:gd name="T94" fmla="*/ 48 w 1056"/>
                <a:gd name="T95" fmla="*/ 50 h 1206"/>
                <a:gd name="T96" fmla="*/ 46 w 1056"/>
                <a:gd name="T97" fmla="*/ 55 h 1206"/>
                <a:gd name="T98" fmla="*/ 42 w 1056"/>
                <a:gd name="T99" fmla="*/ 59 h 1206"/>
                <a:gd name="T100" fmla="*/ 41 w 1056"/>
                <a:gd name="T101" fmla="*/ 62 h 1206"/>
                <a:gd name="T102" fmla="*/ 43 w 1056"/>
                <a:gd name="T103" fmla="*/ 67 h 1206"/>
                <a:gd name="T104" fmla="*/ 42 w 1056"/>
                <a:gd name="T105" fmla="*/ 72 h 1206"/>
                <a:gd name="T106" fmla="*/ 39 w 1056"/>
                <a:gd name="T107" fmla="*/ 77 h 1206"/>
                <a:gd name="T108" fmla="*/ 36 w 1056"/>
                <a:gd name="T109" fmla="*/ 80 h 1206"/>
                <a:gd name="T110" fmla="*/ 37 w 1056"/>
                <a:gd name="T111" fmla="*/ 83 h 1206"/>
                <a:gd name="T112" fmla="*/ 40 w 1056"/>
                <a:gd name="T113" fmla="*/ 87 h 1206"/>
                <a:gd name="T114" fmla="*/ 42 w 1056"/>
                <a:gd name="T115" fmla="*/ 89 h 12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56"/>
                <a:gd name="T175" fmla="*/ 0 h 1206"/>
                <a:gd name="T176" fmla="*/ 1056 w 1056"/>
                <a:gd name="T177" fmla="*/ 1206 h 12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56" h="1206">
                  <a:moveTo>
                    <a:pt x="492" y="1032"/>
                  </a:moveTo>
                  <a:lnTo>
                    <a:pt x="486" y="1038"/>
                  </a:lnTo>
                  <a:lnTo>
                    <a:pt x="486" y="1044"/>
                  </a:lnTo>
                  <a:lnTo>
                    <a:pt x="480" y="1044"/>
                  </a:lnTo>
                  <a:lnTo>
                    <a:pt x="474" y="1056"/>
                  </a:lnTo>
                  <a:lnTo>
                    <a:pt x="462" y="1068"/>
                  </a:lnTo>
                  <a:lnTo>
                    <a:pt x="456" y="1080"/>
                  </a:lnTo>
                  <a:lnTo>
                    <a:pt x="450" y="1080"/>
                  </a:lnTo>
                  <a:lnTo>
                    <a:pt x="450" y="1086"/>
                  </a:lnTo>
                  <a:lnTo>
                    <a:pt x="450" y="1092"/>
                  </a:lnTo>
                  <a:lnTo>
                    <a:pt x="444" y="1104"/>
                  </a:lnTo>
                  <a:lnTo>
                    <a:pt x="444" y="1116"/>
                  </a:lnTo>
                  <a:lnTo>
                    <a:pt x="438" y="1128"/>
                  </a:lnTo>
                  <a:lnTo>
                    <a:pt x="432" y="1134"/>
                  </a:lnTo>
                  <a:lnTo>
                    <a:pt x="432" y="1140"/>
                  </a:lnTo>
                  <a:lnTo>
                    <a:pt x="420" y="1152"/>
                  </a:lnTo>
                  <a:lnTo>
                    <a:pt x="420" y="1158"/>
                  </a:lnTo>
                  <a:lnTo>
                    <a:pt x="408" y="1182"/>
                  </a:lnTo>
                  <a:lnTo>
                    <a:pt x="396" y="1194"/>
                  </a:lnTo>
                  <a:lnTo>
                    <a:pt x="390" y="1206"/>
                  </a:lnTo>
                  <a:lnTo>
                    <a:pt x="390" y="1200"/>
                  </a:lnTo>
                  <a:lnTo>
                    <a:pt x="384" y="1194"/>
                  </a:lnTo>
                  <a:lnTo>
                    <a:pt x="378" y="1188"/>
                  </a:lnTo>
                  <a:lnTo>
                    <a:pt x="366" y="1176"/>
                  </a:lnTo>
                  <a:lnTo>
                    <a:pt x="366" y="1170"/>
                  </a:lnTo>
                  <a:lnTo>
                    <a:pt x="348" y="1152"/>
                  </a:lnTo>
                  <a:lnTo>
                    <a:pt x="336" y="1140"/>
                  </a:lnTo>
                  <a:lnTo>
                    <a:pt x="330" y="1134"/>
                  </a:lnTo>
                  <a:lnTo>
                    <a:pt x="324" y="1128"/>
                  </a:lnTo>
                  <a:lnTo>
                    <a:pt x="318" y="1122"/>
                  </a:lnTo>
                  <a:lnTo>
                    <a:pt x="312" y="1116"/>
                  </a:lnTo>
                  <a:lnTo>
                    <a:pt x="306" y="1110"/>
                  </a:lnTo>
                  <a:lnTo>
                    <a:pt x="300" y="1104"/>
                  </a:lnTo>
                  <a:lnTo>
                    <a:pt x="294" y="1098"/>
                  </a:lnTo>
                  <a:lnTo>
                    <a:pt x="276" y="1080"/>
                  </a:lnTo>
                  <a:lnTo>
                    <a:pt x="270" y="1080"/>
                  </a:lnTo>
                  <a:lnTo>
                    <a:pt x="270" y="1074"/>
                  </a:lnTo>
                  <a:lnTo>
                    <a:pt x="264" y="1068"/>
                  </a:lnTo>
                  <a:lnTo>
                    <a:pt x="258" y="1062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40" y="1050"/>
                  </a:lnTo>
                  <a:lnTo>
                    <a:pt x="234" y="1044"/>
                  </a:lnTo>
                  <a:lnTo>
                    <a:pt x="228" y="1044"/>
                  </a:lnTo>
                  <a:lnTo>
                    <a:pt x="222" y="1038"/>
                  </a:lnTo>
                  <a:lnTo>
                    <a:pt x="222" y="1032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6"/>
                  </a:lnTo>
                  <a:lnTo>
                    <a:pt x="204" y="1020"/>
                  </a:lnTo>
                  <a:lnTo>
                    <a:pt x="204" y="1014"/>
                  </a:lnTo>
                  <a:lnTo>
                    <a:pt x="198" y="1014"/>
                  </a:lnTo>
                  <a:lnTo>
                    <a:pt x="192" y="1014"/>
                  </a:lnTo>
                  <a:lnTo>
                    <a:pt x="192" y="1008"/>
                  </a:lnTo>
                  <a:lnTo>
                    <a:pt x="186" y="1008"/>
                  </a:lnTo>
                  <a:lnTo>
                    <a:pt x="186" y="1002"/>
                  </a:lnTo>
                  <a:lnTo>
                    <a:pt x="180" y="1002"/>
                  </a:lnTo>
                  <a:lnTo>
                    <a:pt x="174" y="996"/>
                  </a:lnTo>
                  <a:lnTo>
                    <a:pt x="168" y="996"/>
                  </a:lnTo>
                  <a:lnTo>
                    <a:pt x="168" y="990"/>
                  </a:lnTo>
                  <a:lnTo>
                    <a:pt x="162" y="990"/>
                  </a:lnTo>
                  <a:lnTo>
                    <a:pt x="162" y="984"/>
                  </a:lnTo>
                  <a:lnTo>
                    <a:pt x="150" y="978"/>
                  </a:lnTo>
                  <a:lnTo>
                    <a:pt x="144" y="972"/>
                  </a:lnTo>
                  <a:lnTo>
                    <a:pt x="138" y="972"/>
                  </a:lnTo>
                  <a:lnTo>
                    <a:pt x="138" y="966"/>
                  </a:lnTo>
                  <a:lnTo>
                    <a:pt x="132" y="966"/>
                  </a:lnTo>
                  <a:lnTo>
                    <a:pt x="126" y="960"/>
                  </a:lnTo>
                  <a:lnTo>
                    <a:pt x="126" y="954"/>
                  </a:lnTo>
                  <a:lnTo>
                    <a:pt x="120" y="954"/>
                  </a:lnTo>
                  <a:lnTo>
                    <a:pt x="114" y="948"/>
                  </a:lnTo>
                  <a:lnTo>
                    <a:pt x="108" y="948"/>
                  </a:lnTo>
                  <a:lnTo>
                    <a:pt x="108" y="942"/>
                  </a:lnTo>
                  <a:lnTo>
                    <a:pt x="102" y="942"/>
                  </a:lnTo>
                  <a:lnTo>
                    <a:pt x="96" y="942"/>
                  </a:lnTo>
                  <a:lnTo>
                    <a:pt x="96" y="936"/>
                  </a:lnTo>
                  <a:lnTo>
                    <a:pt x="90" y="936"/>
                  </a:lnTo>
                  <a:lnTo>
                    <a:pt x="90" y="930"/>
                  </a:lnTo>
                  <a:lnTo>
                    <a:pt x="84" y="930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18"/>
                  </a:lnTo>
                  <a:lnTo>
                    <a:pt x="66" y="918"/>
                  </a:lnTo>
                  <a:lnTo>
                    <a:pt x="66" y="912"/>
                  </a:lnTo>
                  <a:lnTo>
                    <a:pt x="66" y="906"/>
                  </a:lnTo>
                  <a:lnTo>
                    <a:pt x="72" y="906"/>
                  </a:lnTo>
                  <a:lnTo>
                    <a:pt x="84" y="906"/>
                  </a:lnTo>
                  <a:lnTo>
                    <a:pt x="90" y="906"/>
                  </a:lnTo>
                  <a:lnTo>
                    <a:pt x="120" y="930"/>
                  </a:lnTo>
                  <a:lnTo>
                    <a:pt x="126" y="936"/>
                  </a:lnTo>
                  <a:lnTo>
                    <a:pt x="138" y="936"/>
                  </a:lnTo>
                  <a:lnTo>
                    <a:pt x="138" y="930"/>
                  </a:lnTo>
                  <a:lnTo>
                    <a:pt x="144" y="930"/>
                  </a:lnTo>
                  <a:lnTo>
                    <a:pt x="144" y="924"/>
                  </a:lnTo>
                  <a:lnTo>
                    <a:pt x="150" y="900"/>
                  </a:lnTo>
                  <a:lnTo>
                    <a:pt x="138" y="894"/>
                  </a:lnTo>
                  <a:lnTo>
                    <a:pt x="126" y="894"/>
                  </a:lnTo>
                  <a:lnTo>
                    <a:pt x="108" y="888"/>
                  </a:lnTo>
                  <a:lnTo>
                    <a:pt x="84" y="882"/>
                  </a:lnTo>
                  <a:lnTo>
                    <a:pt x="72" y="882"/>
                  </a:lnTo>
                  <a:lnTo>
                    <a:pt x="72" y="876"/>
                  </a:lnTo>
                  <a:lnTo>
                    <a:pt x="78" y="870"/>
                  </a:lnTo>
                  <a:lnTo>
                    <a:pt x="90" y="870"/>
                  </a:lnTo>
                  <a:lnTo>
                    <a:pt x="96" y="870"/>
                  </a:lnTo>
                  <a:lnTo>
                    <a:pt x="102" y="870"/>
                  </a:lnTo>
                  <a:lnTo>
                    <a:pt x="114" y="870"/>
                  </a:lnTo>
                  <a:lnTo>
                    <a:pt x="120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34"/>
                  </a:lnTo>
                  <a:lnTo>
                    <a:pt x="132" y="828"/>
                  </a:lnTo>
                  <a:lnTo>
                    <a:pt x="132" y="816"/>
                  </a:lnTo>
                  <a:lnTo>
                    <a:pt x="150" y="816"/>
                  </a:lnTo>
                  <a:lnTo>
                    <a:pt x="150" y="804"/>
                  </a:lnTo>
                  <a:lnTo>
                    <a:pt x="144" y="798"/>
                  </a:lnTo>
                  <a:lnTo>
                    <a:pt x="156" y="762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32"/>
                  </a:lnTo>
                  <a:lnTo>
                    <a:pt x="144" y="726"/>
                  </a:lnTo>
                  <a:lnTo>
                    <a:pt x="132" y="726"/>
                  </a:lnTo>
                  <a:lnTo>
                    <a:pt x="120" y="732"/>
                  </a:lnTo>
                  <a:lnTo>
                    <a:pt x="114" y="744"/>
                  </a:lnTo>
                  <a:lnTo>
                    <a:pt x="108" y="750"/>
                  </a:lnTo>
                  <a:lnTo>
                    <a:pt x="96" y="768"/>
                  </a:lnTo>
                  <a:lnTo>
                    <a:pt x="96" y="774"/>
                  </a:lnTo>
                  <a:lnTo>
                    <a:pt x="90" y="780"/>
                  </a:lnTo>
                  <a:lnTo>
                    <a:pt x="84" y="804"/>
                  </a:lnTo>
                  <a:lnTo>
                    <a:pt x="72" y="774"/>
                  </a:lnTo>
                  <a:lnTo>
                    <a:pt x="72" y="768"/>
                  </a:lnTo>
                  <a:lnTo>
                    <a:pt x="66" y="762"/>
                  </a:lnTo>
                  <a:lnTo>
                    <a:pt x="60" y="750"/>
                  </a:lnTo>
                  <a:lnTo>
                    <a:pt x="54" y="750"/>
                  </a:lnTo>
                  <a:lnTo>
                    <a:pt x="48" y="750"/>
                  </a:lnTo>
                  <a:lnTo>
                    <a:pt x="42" y="750"/>
                  </a:lnTo>
                  <a:lnTo>
                    <a:pt x="30" y="744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12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2" y="702"/>
                  </a:lnTo>
                  <a:lnTo>
                    <a:pt x="18" y="696"/>
                  </a:lnTo>
                  <a:lnTo>
                    <a:pt x="12" y="690"/>
                  </a:lnTo>
                  <a:lnTo>
                    <a:pt x="12" y="684"/>
                  </a:lnTo>
                  <a:lnTo>
                    <a:pt x="12" y="678"/>
                  </a:lnTo>
                  <a:lnTo>
                    <a:pt x="12" y="672"/>
                  </a:lnTo>
                  <a:lnTo>
                    <a:pt x="18" y="672"/>
                  </a:lnTo>
                  <a:lnTo>
                    <a:pt x="18" y="666"/>
                  </a:lnTo>
                  <a:lnTo>
                    <a:pt x="24" y="666"/>
                  </a:lnTo>
                  <a:lnTo>
                    <a:pt x="24" y="660"/>
                  </a:lnTo>
                  <a:lnTo>
                    <a:pt x="30" y="660"/>
                  </a:lnTo>
                  <a:lnTo>
                    <a:pt x="30" y="654"/>
                  </a:lnTo>
                  <a:lnTo>
                    <a:pt x="36" y="654"/>
                  </a:lnTo>
                  <a:lnTo>
                    <a:pt x="36" y="648"/>
                  </a:lnTo>
                  <a:lnTo>
                    <a:pt x="42" y="648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60" y="630"/>
                  </a:lnTo>
                  <a:lnTo>
                    <a:pt x="66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78" y="624"/>
                  </a:lnTo>
                  <a:lnTo>
                    <a:pt x="84" y="618"/>
                  </a:lnTo>
                  <a:lnTo>
                    <a:pt x="84" y="612"/>
                  </a:lnTo>
                  <a:lnTo>
                    <a:pt x="90" y="612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20" y="588"/>
                  </a:lnTo>
                  <a:lnTo>
                    <a:pt x="120" y="582"/>
                  </a:lnTo>
                  <a:lnTo>
                    <a:pt x="120" y="576"/>
                  </a:lnTo>
                  <a:lnTo>
                    <a:pt x="120" y="570"/>
                  </a:lnTo>
                  <a:lnTo>
                    <a:pt x="126" y="564"/>
                  </a:lnTo>
                  <a:lnTo>
                    <a:pt x="126" y="558"/>
                  </a:lnTo>
                  <a:lnTo>
                    <a:pt x="126" y="552"/>
                  </a:lnTo>
                  <a:lnTo>
                    <a:pt x="126" y="546"/>
                  </a:lnTo>
                  <a:lnTo>
                    <a:pt x="126" y="534"/>
                  </a:lnTo>
                  <a:lnTo>
                    <a:pt x="126" y="516"/>
                  </a:lnTo>
                  <a:lnTo>
                    <a:pt x="126" y="510"/>
                  </a:lnTo>
                  <a:lnTo>
                    <a:pt x="126" y="504"/>
                  </a:lnTo>
                  <a:lnTo>
                    <a:pt x="126" y="498"/>
                  </a:lnTo>
                  <a:lnTo>
                    <a:pt x="132" y="498"/>
                  </a:lnTo>
                  <a:lnTo>
                    <a:pt x="132" y="492"/>
                  </a:lnTo>
                  <a:lnTo>
                    <a:pt x="138" y="492"/>
                  </a:lnTo>
                  <a:lnTo>
                    <a:pt x="144" y="486"/>
                  </a:lnTo>
                  <a:lnTo>
                    <a:pt x="156" y="480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6" y="462"/>
                  </a:lnTo>
                  <a:lnTo>
                    <a:pt x="156" y="456"/>
                  </a:lnTo>
                  <a:lnTo>
                    <a:pt x="156" y="450"/>
                  </a:lnTo>
                  <a:lnTo>
                    <a:pt x="162" y="438"/>
                  </a:lnTo>
                  <a:lnTo>
                    <a:pt x="168" y="426"/>
                  </a:lnTo>
                  <a:lnTo>
                    <a:pt x="174" y="426"/>
                  </a:lnTo>
                  <a:lnTo>
                    <a:pt x="174" y="420"/>
                  </a:lnTo>
                  <a:lnTo>
                    <a:pt x="180" y="414"/>
                  </a:lnTo>
                  <a:lnTo>
                    <a:pt x="186" y="420"/>
                  </a:lnTo>
                  <a:lnTo>
                    <a:pt x="186" y="414"/>
                  </a:lnTo>
                  <a:lnTo>
                    <a:pt x="180" y="408"/>
                  </a:lnTo>
                  <a:lnTo>
                    <a:pt x="180" y="402"/>
                  </a:lnTo>
                  <a:lnTo>
                    <a:pt x="186" y="402"/>
                  </a:lnTo>
                  <a:lnTo>
                    <a:pt x="192" y="402"/>
                  </a:lnTo>
                  <a:lnTo>
                    <a:pt x="192" y="396"/>
                  </a:lnTo>
                  <a:lnTo>
                    <a:pt x="198" y="396"/>
                  </a:lnTo>
                  <a:lnTo>
                    <a:pt x="204" y="396"/>
                  </a:lnTo>
                  <a:lnTo>
                    <a:pt x="210" y="396"/>
                  </a:lnTo>
                  <a:lnTo>
                    <a:pt x="210" y="390"/>
                  </a:lnTo>
                  <a:lnTo>
                    <a:pt x="216" y="390"/>
                  </a:lnTo>
                  <a:lnTo>
                    <a:pt x="216" y="384"/>
                  </a:lnTo>
                  <a:lnTo>
                    <a:pt x="222" y="384"/>
                  </a:lnTo>
                  <a:lnTo>
                    <a:pt x="222" y="378"/>
                  </a:lnTo>
                  <a:lnTo>
                    <a:pt x="228" y="372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0" y="348"/>
                  </a:lnTo>
                  <a:lnTo>
                    <a:pt x="234" y="342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46" y="330"/>
                  </a:lnTo>
                  <a:lnTo>
                    <a:pt x="246" y="324"/>
                  </a:lnTo>
                  <a:lnTo>
                    <a:pt x="234" y="318"/>
                  </a:lnTo>
                  <a:lnTo>
                    <a:pt x="234" y="312"/>
                  </a:lnTo>
                  <a:lnTo>
                    <a:pt x="234" y="300"/>
                  </a:lnTo>
                  <a:lnTo>
                    <a:pt x="240" y="288"/>
                  </a:lnTo>
                  <a:lnTo>
                    <a:pt x="240" y="276"/>
                  </a:lnTo>
                  <a:lnTo>
                    <a:pt x="246" y="258"/>
                  </a:lnTo>
                  <a:lnTo>
                    <a:pt x="258" y="252"/>
                  </a:lnTo>
                  <a:lnTo>
                    <a:pt x="270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294" y="252"/>
                  </a:lnTo>
                  <a:lnTo>
                    <a:pt x="300" y="258"/>
                  </a:lnTo>
                  <a:lnTo>
                    <a:pt x="318" y="252"/>
                  </a:lnTo>
                  <a:lnTo>
                    <a:pt x="366" y="252"/>
                  </a:lnTo>
                  <a:lnTo>
                    <a:pt x="378" y="252"/>
                  </a:lnTo>
                  <a:lnTo>
                    <a:pt x="396" y="252"/>
                  </a:lnTo>
                  <a:lnTo>
                    <a:pt x="408" y="252"/>
                  </a:lnTo>
                  <a:lnTo>
                    <a:pt x="408" y="246"/>
                  </a:lnTo>
                  <a:lnTo>
                    <a:pt x="414" y="240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20" y="216"/>
                  </a:lnTo>
                  <a:lnTo>
                    <a:pt x="426" y="210"/>
                  </a:lnTo>
                  <a:lnTo>
                    <a:pt x="444" y="198"/>
                  </a:lnTo>
                  <a:lnTo>
                    <a:pt x="462" y="198"/>
                  </a:lnTo>
                  <a:lnTo>
                    <a:pt x="474" y="204"/>
                  </a:lnTo>
                  <a:lnTo>
                    <a:pt x="498" y="198"/>
                  </a:lnTo>
                  <a:lnTo>
                    <a:pt x="498" y="204"/>
                  </a:lnTo>
                  <a:lnTo>
                    <a:pt x="540" y="210"/>
                  </a:lnTo>
                  <a:lnTo>
                    <a:pt x="564" y="210"/>
                  </a:lnTo>
                  <a:lnTo>
                    <a:pt x="588" y="210"/>
                  </a:lnTo>
                  <a:lnTo>
                    <a:pt x="612" y="210"/>
                  </a:lnTo>
                  <a:lnTo>
                    <a:pt x="612" y="216"/>
                  </a:lnTo>
                  <a:lnTo>
                    <a:pt x="618" y="222"/>
                  </a:lnTo>
                  <a:lnTo>
                    <a:pt x="618" y="228"/>
                  </a:lnTo>
                  <a:lnTo>
                    <a:pt x="624" y="240"/>
                  </a:lnTo>
                  <a:lnTo>
                    <a:pt x="624" y="246"/>
                  </a:lnTo>
                  <a:lnTo>
                    <a:pt x="630" y="252"/>
                  </a:lnTo>
                  <a:lnTo>
                    <a:pt x="630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0" y="282"/>
                  </a:lnTo>
                  <a:lnTo>
                    <a:pt x="630" y="288"/>
                  </a:lnTo>
                  <a:lnTo>
                    <a:pt x="630" y="300"/>
                  </a:lnTo>
                  <a:lnTo>
                    <a:pt x="630" y="306"/>
                  </a:lnTo>
                  <a:lnTo>
                    <a:pt x="636" y="306"/>
                  </a:lnTo>
                  <a:lnTo>
                    <a:pt x="642" y="306"/>
                  </a:lnTo>
                  <a:lnTo>
                    <a:pt x="648" y="312"/>
                  </a:lnTo>
                  <a:lnTo>
                    <a:pt x="666" y="312"/>
                  </a:lnTo>
                  <a:lnTo>
                    <a:pt x="696" y="306"/>
                  </a:lnTo>
                  <a:lnTo>
                    <a:pt x="732" y="300"/>
                  </a:lnTo>
                  <a:lnTo>
                    <a:pt x="732" y="288"/>
                  </a:lnTo>
                  <a:lnTo>
                    <a:pt x="738" y="288"/>
                  </a:lnTo>
                  <a:lnTo>
                    <a:pt x="744" y="276"/>
                  </a:lnTo>
                  <a:lnTo>
                    <a:pt x="762" y="246"/>
                  </a:lnTo>
                  <a:lnTo>
                    <a:pt x="768" y="228"/>
                  </a:lnTo>
                  <a:lnTo>
                    <a:pt x="792" y="210"/>
                  </a:lnTo>
                  <a:lnTo>
                    <a:pt x="804" y="186"/>
                  </a:lnTo>
                  <a:lnTo>
                    <a:pt x="804" y="156"/>
                  </a:lnTo>
                  <a:lnTo>
                    <a:pt x="804" y="138"/>
                  </a:lnTo>
                  <a:lnTo>
                    <a:pt x="810" y="126"/>
                  </a:lnTo>
                  <a:lnTo>
                    <a:pt x="816" y="120"/>
                  </a:lnTo>
                  <a:lnTo>
                    <a:pt x="828" y="102"/>
                  </a:lnTo>
                  <a:lnTo>
                    <a:pt x="834" y="96"/>
                  </a:lnTo>
                  <a:lnTo>
                    <a:pt x="846" y="102"/>
                  </a:lnTo>
                  <a:lnTo>
                    <a:pt x="852" y="96"/>
                  </a:lnTo>
                  <a:lnTo>
                    <a:pt x="858" y="72"/>
                  </a:lnTo>
                  <a:lnTo>
                    <a:pt x="864" y="60"/>
                  </a:lnTo>
                  <a:lnTo>
                    <a:pt x="882" y="48"/>
                  </a:lnTo>
                  <a:lnTo>
                    <a:pt x="906" y="36"/>
                  </a:lnTo>
                  <a:lnTo>
                    <a:pt x="918" y="12"/>
                  </a:lnTo>
                  <a:lnTo>
                    <a:pt x="924" y="0"/>
                  </a:lnTo>
                  <a:lnTo>
                    <a:pt x="930" y="6"/>
                  </a:lnTo>
                  <a:lnTo>
                    <a:pt x="942" y="12"/>
                  </a:lnTo>
                  <a:lnTo>
                    <a:pt x="948" y="12"/>
                  </a:lnTo>
                  <a:lnTo>
                    <a:pt x="954" y="18"/>
                  </a:lnTo>
                  <a:lnTo>
                    <a:pt x="966" y="18"/>
                  </a:lnTo>
                  <a:lnTo>
                    <a:pt x="972" y="18"/>
                  </a:lnTo>
                  <a:lnTo>
                    <a:pt x="984" y="18"/>
                  </a:lnTo>
                  <a:lnTo>
                    <a:pt x="990" y="18"/>
                  </a:lnTo>
                  <a:lnTo>
                    <a:pt x="1002" y="48"/>
                  </a:lnTo>
                  <a:lnTo>
                    <a:pt x="1008" y="78"/>
                  </a:lnTo>
                  <a:lnTo>
                    <a:pt x="1020" y="78"/>
                  </a:lnTo>
                  <a:lnTo>
                    <a:pt x="1020" y="90"/>
                  </a:lnTo>
                  <a:lnTo>
                    <a:pt x="1026" y="102"/>
                  </a:lnTo>
                  <a:lnTo>
                    <a:pt x="1044" y="120"/>
                  </a:lnTo>
                  <a:lnTo>
                    <a:pt x="1044" y="132"/>
                  </a:lnTo>
                  <a:lnTo>
                    <a:pt x="1056" y="150"/>
                  </a:lnTo>
                  <a:lnTo>
                    <a:pt x="1050" y="150"/>
                  </a:lnTo>
                  <a:lnTo>
                    <a:pt x="1044" y="156"/>
                  </a:lnTo>
                  <a:lnTo>
                    <a:pt x="1044" y="162"/>
                  </a:lnTo>
                  <a:lnTo>
                    <a:pt x="1038" y="162"/>
                  </a:lnTo>
                  <a:lnTo>
                    <a:pt x="1032" y="162"/>
                  </a:lnTo>
                  <a:lnTo>
                    <a:pt x="1026" y="168"/>
                  </a:lnTo>
                  <a:lnTo>
                    <a:pt x="1014" y="174"/>
                  </a:lnTo>
                  <a:lnTo>
                    <a:pt x="1014" y="186"/>
                  </a:lnTo>
                  <a:lnTo>
                    <a:pt x="1014" y="192"/>
                  </a:lnTo>
                  <a:lnTo>
                    <a:pt x="1014" y="198"/>
                  </a:lnTo>
                  <a:lnTo>
                    <a:pt x="1020" y="204"/>
                  </a:lnTo>
                  <a:lnTo>
                    <a:pt x="1026" y="204"/>
                  </a:lnTo>
                  <a:lnTo>
                    <a:pt x="1032" y="204"/>
                  </a:lnTo>
                  <a:lnTo>
                    <a:pt x="1032" y="210"/>
                  </a:lnTo>
                  <a:lnTo>
                    <a:pt x="1038" y="210"/>
                  </a:lnTo>
                  <a:lnTo>
                    <a:pt x="1032" y="216"/>
                  </a:lnTo>
                  <a:lnTo>
                    <a:pt x="1026" y="228"/>
                  </a:lnTo>
                  <a:lnTo>
                    <a:pt x="1026" y="234"/>
                  </a:lnTo>
                  <a:lnTo>
                    <a:pt x="1032" y="240"/>
                  </a:lnTo>
                  <a:lnTo>
                    <a:pt x="1032" y="246"/>
                  </a:lnTo>
                  <a:lnTo>
                    <a:pt x="1032" y="252"/>
                  </a:lnTo>
                  <a:lnTo>
                    <a:pt x="1032" y="258"/>
                  </a:lnTo>
                  <a:lnTo>
                    <a:pt x="1038" y="264"/>
                  </a:lnTo>
                  <a:lnTo>
                    <a:pt x="1032" y="276"/>
                  </a:lnTo>
                  <a:lnTo>
                    <a:pt x="1026" y="276"/>
                  </a:lnTo>
                  <a:lnTo>
                    <a:pt x="1020" y="276"/>
                  </a:lnTo>
                  <a:lnTo>
                    <a:pt x="996" y="282"/>
                  </a:lnTo>
                  <a:lnTo>
                    <a:pt x="996" y="288"/>
                  </a:lnTo>
                  <a:lnTo>
                    <a:pt x="996" y="294"/>
                  </a:lnTo>
                  <a:lnTo>
                    <a:pt x="996" y="300"/>
                  </a:lnTo>
                  <a:lnTo>
                    <a:pt x="996" y="306"/>
                  </a:lnTo>
                  <a:lnTo>
                    <a:pt x="984" y="324"/>
                  </a:lnTo>
                  <a:lnTo>
                    <a:pt x="984" y="330"/>
                  </a:lnTo>
                  <a:lnTo>
                    <a:pt x="984" y="336"/>
                  </a:lnTo>
                  <a:lnTo>
                    <a:pt x="978" y="336"/>
                  </a:lnTo>
                  <a:lnTo>
                    <a:pt x="978" y="342"/>
                  </a:lnTo>
                  <a:lnTo>
                    <a:pt x="984" y="360"/>
                  </a:lnTo>
                  <a:lnTo>
                    <a:pt x="978" y="366"/>
                  </a:lnTo>
                  <a:lnTo>
                    <a:pt x="978" y="372"/>
                  </a:lnTo>
                  <a:lnTo>
                    <a:pt x="972" y="372"/>
                  </a:lnTo>
                  <a:lnTo>
                    <a:pt x="972" y="378"/>
                  </a:lnTo>
                  <a:lnTo>
                    <a:pt x="972" y="384"/>
                  </a:lnTo>
                  <a:lnTo>
                    <a:pt x="972" y="390"/>
                  </a:lnTo>
                  <a:lnTo>
                    <a:pt x="966" y="402"/>
                  </a:lnTo>
                  <a:lnTo>
                    <a:pt x="960" y="414"/>
                  </a:lnTo>
                  <a:lnTo>
                    <a:pt x="954" y="420"/>
                  </a:lnTo>
                  <a:lnTo>
                    <a:pt x="948" y="426"/>
                  </a:lnTo>
                  <a:lnTo>
                    <a:pt x="948" y="438"/>
                  </a:lnTo>
                  <a:lnTo>
                    <a:pt x="942" y="444"/>
                  </a:lnTo>
                  <a:lnTo>
                    <a:pt x="936" y="450"/>
                  </a:lnTo>
                  <a:lnTo>
                    <a:pt x="930" y="456"/>
                  </a:lnTo>
                  <a:lnTo>
                    <a:pt x="924" y="462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18" y="522"/>
                  </a:lnTo>
                  <a:lnTo>
                    <a:pt x="918" y="528"/>
                  </a:lnTo>
                  <a:lnTo>
                    <a:pt x="924" y="534"/>
                  </a:lnTo>
                  <a:lnTo>
                    <a:pt x="924" y="540"/>
                  </a:lnTo>
                  <a:lnTo>
                    <a:pt x="924" y="546"/>
                  </a:lnTo>
                  <a:lnTo>
                    <a:pt x="918" y="546"/>
                  </a:lnTo>
                  <a:lnTo>
                    <a:pt x="918" y="552"/>
                  </a:lnTo>
                  <a:lnTo>
                    <a:pt x="912" y="546"/>
                  </a:lnTo>
                  <a:lnTo>
                    <a:pt x="912" y="552"/>
                  </a:lnTo>
                  <a:lnTo>
                    <a:pt x="912" y="570"/>
                  </a:lnTo>
                  <a:lnTo>
                    <a:pt x="906" y="588"/>
                  </a:lnTo>
                  <a:lnTo>
                    <a:pt x="900" y="606"/>
                  </a:lnTo>
                  <a:lnTo>
                    <a:pt x="906" y="624"/>
                  </a:lnTo>
                  <a:lnTo>
                    <a:pt x="900" y="624"/>
                  </a:lnTo>
                  <a:lnTo>
                    <a:pt x="894" y="630"/>
                  </a:lnTo>
                  <a:lnTo>
                    <a:pt x="888" y="630"/>
                  </a:lnTo>
                  <a:lnTo>
                    <a:pt x="882" y="630"/>
                  </a:lnTo>
                  <a:lnTo>
                    <a:pt x="882" y="636"/>
                  </a:lnTo>
                  <a:lnTo>
                    <a:pt x="876" y="642"/>
                  </a:lnTo>
                  <a:lnTo>
                    <a:pt x="870" y="642"/>
                  </a:lnTo>
                  <a:lnTo>
                    <a:pt x="870" y="648"/>
                  </a:lnTo>
                  <a:lnTo>
                    <a:pt x="870" y="654"/>
                  </a:lnTo>
                  <a:lnTo>
                    <a:pt x="864" y="654"/>
                  </a:lnTo>
                  <a:lnTo>
                    <a:pt x="864" y="660"/>
                  </a:lnTo>
                  <a:lnTo>
                    <a:pt x="846" y="666"/>
                  </a:lnTo>
                  <a:lnTo>
                    <a:pt x="828" y="672"/>
                  </a:lnTo>
                  <a:lnTo>
                    <a:pt x="816" y="660"/>
                  </a:lnTo>
                  <a:lnTo>
                    <a:pt x="810" y="660"/>
                  </a:lnTo>
                  <a:lnTo>
                    <a:pt x="798" y="666"/>
                  </a:lnTo>
                  <a:lnTo>
                    <a:pt x="786" y="666"/>
                  </a:lnTo>
                  <a:lnTo>
                    <a:pt x="780" y="672"/>
                  </a:lnTo>
                  <a:lnTo>
                    <a:pt x="768" y="678"/>
                  </a:lnTo>
                  <a:lnTo>
                    <a:pt x="762" y="660"/>
                  </a:lnTo>
                  <a:lnTo>
                    <a:pt x="762" y="654"/>
                  </a:lnTo>
                  <a:lnTo>
                    <a:pt x="756" y="636"/>
                  </a:lnTo>
                  <a:lnTo>
                    <a:pt x="762" y="624"/>
                  </a:lnTo>
                  <a:lnTo>
                    <a:pt x="756" y="606"/>
                  </a:lnTo>
                  <a:lnTo>
                    <a:pt x="756" y="600"/>
                  </a:lnTo>
                  <a:lnTo>
                    <a:pt x="762" y="594"/>
                  </a:lnTo>
                  <a:lnTo>
                    <a:pt x="768" y="600"/>
                  </a:lnTo>
                  <a:lnTo>
                    <a:pt x="768" y="594"/>
                  </a:lnTo>
                  <a:lnTo>
                    <a:pt x="768" y="588"/>
                  </a:lnTo>
                  <a:lnTo>
                    <a:pt x="774" y="582"/>
                  </a:lnTo>
                  <a:lnTo>
                    <a:pt x="768" y="576"/>
                  </a:lnTo>
                  <a:lnTo>
                    <a:pt x="762" y="576"/>
                  </a:lnTo>
                  <a:lnTo>
                    <a:pt x="756" y="576"/>
                  </a:lnTo>
                  <a:lnTo>
                    <a:pt x="690" y="576"/>
                  </a:lnTo>
                  <a:lnTo>
                    <a:pt x="624" y="570"/>
                  </a:lnTo>
                  <a:lnTo>
                    <a:pt x="600" y="564"/>
                  </a:lnTo>
                  <a:lnTo>
                    <a:pt x="576" y="564"/>
                  </a:lnTo>
                  <a:lnTo>
                    <a:pt x="558" y="570"/>
                  </a:lnTo>
                  <a:lnTo>
                    <a:pt x="552" y="576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46" y="594"/>
                  </a:lnTo>
                  <a:lnTo>
                    <a:pt x="546" y="600"/>
                  </a:lnTo>
                  <a:lnTo>
                    <a:pt x="540" y="606"/>
                  </a:lnTo>
                  <a:lnTo>
                    <a:pt x="534" y="618"/>
                  </a:lnTo>
                  <a:lnTo>
                    <a:pt x="534" y="624"/>
                  </a:lnTo>
                  <a:lnTo>
                    <a:pt x="534" y="630"/>
                  </a:lnTo>
                  <a:lnTo>
                    <a:pt x="534" y="636"/>
                  </a:lnTo>
                  <a:lnTo>
                    <a:pt x="528" y="636"/>
                  </a:lnTo>
                  <a:lnTo>
                    <a:pt x="516" y="642"/>
                  </a:lnTo>
                  <a:lnTo>
                    <a:pt x="516" y="648"/>
                  </a:lnTo>
                  <a:lnTo>
                    <a:pt x="510" y="648"/>
                  </a:lnTo>
                  <a:lnTo>
                    <a:pt x="504" y="654"/>
                  </a:lnTo>
                  <a:lnTo>
                    <a:pt x="492" y="666"/>
                  </a:lnTo>
                  <a:lnTo>
                    <a:pt x="492" y="672"/>
                  </a:lnTo>
                  <a:lnTo>
                    <a:pt x="492" y="684"/>
                  </a:lnTo>
                  <a:lnTo>
                    <a:pt x="486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92" y="702"/>
                  </a:lnTo>
                  <a:lnTo>
                    <a:pt x="486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74" y="720"/>
                  </a:lnTo>
                  <a:lnTo>
                    <a:pt x="480" y="726"/>
                  </a:lnTo>
                  <a:lnTo>
                    <a:pt x="474" y="726"/>
                  </a:lnTo>
                  <a:lnTo>
                    <a:pt x="474" y="738"/>
                  </a:lnTo>
                  <a:lnTo>
                    <a:pt x="474" y="744"/>
                  </a:lnTo>
                  <a:lnTo>
                    <a:pt x="474" y="750"/>
                  </a:lnTo>
                  <a:lnTo>
                    <a:pt x="480" y="750"/>
                  </a:lnTo>
                  <a:lnTo>
                    <a:pt x="480" y="756"/>
                  </a:lnTo>
                  <a:lnTo>
                    <a:pt x="492" y="762"/>
                  </a:lnTo>
                  <a:lnTo>
                    <a:pt x="498" y="774"/>
                  </a:lnTo>
                  <a:lnTo>
                    <a:pt x="498" y="780"/>
                  </a:lnTo>
                  <a:lnTo>
                    <a:pt x="504" y="786"/>
                  </a:lnTo>
                  <a:lnTo>
                    <a:pt x="510" y="792"/>
                  </a:lnTo>
                  <a:lnTo>
                    <a:pt x="504" y="798"/>
                  </a:lnTo>
                  <a:lnTo>
                    <a:pt x="504" y="804"/>
                  </a:lnTo>
                  <a:lnTo>
                    <a:pt x="504" y="810"/>
                  </a:lnTo>
                  <a:lnTo>
                    <a:pt x="498" y="822"/>
                  </a:lnTo>
                  <a:lnTo>
                    <a:pt x="492" y="828"/>
                  </a:lnTo>
                  <a:lnTo>
                    <a:pt x="492" y="834"/>
                  </a:lnTo>
                  <a:lnTo>
                    <a:pt x="486" y="840"/>
                  </a:lnTo>
                  <a:lnTo>
                    <a:pt x="480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74" y="858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876"/>
                  </a:lnTo>
                  <a:lnTo>
                    <a:pt x="456" y="894"/>
                  </a:lnTo>
                  <a:lnTo>
                    <a:pt x="450" y="894"/>
                  </a:lnTo>
                  <a:lnTo>
                    <a:pt x="444" y="900"/>
                  </a:lnTo>
                  <a:lnTo>
                    <a:pt x="444" y="894"/>
                  </a:lnTo>
                  <a:lnTo>
                    <a:pt x="438" y="894"/>
                  </a:lnTo>
                  <a:lnTo>
                    <a:pt x="432" y="900"/>
                  </a:lnTo>
                  <a:lnTo>
                    <a:pt x="432" y="906"/>
                  </a:lnTo>
                  <a:lnTo>
                    <a:pt x="420" y="906"/>
                  </a:lnTo>
                  <a:lnTo>
                    <a:pt x="420" y="912"/>
                  </a:lnTo>
                  <a:lnTo>
                    <a:pt x="420" y="918"/>
                  </a:lnTo>
                  <a:lnTo>
                    <a:pt x="426" y="918"/>
                  </a:lnTo>
                  <a:lnTo>
                    <a:pt x="426" y="924"/>
                  </a:lnTo>
                  <a:lnTo>
                    <a:pt x="426" y="930"/>
                  </a:lnTo>
                  <a:lnTo>
                    <a:pt x="420" y="930"/>
                  </a:lnTo>
                  <a:lnTo>
                    <a:pt x="414" y="936"/>
                  </a:lnTo>
                  <a:lnTo>
                    <a:pt x="414" y="942"/>
                  </a:lnTo>
                  <a:lnTo>
                    <a:pt x="414" y="948"/>
                  </a:lnTo>
                  <a:lnTo>
                    <a:pt x="414" y="954"/>
                  </a:lnTo>
                  <a:lnTo>
                    <a:pt x="426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44" y="972"/>
                  </a:lnTo>
                  <a:lnTo>
                    <a:pt x="444" y="978"/>
                  </a:lnTo>
                  <a:lnTo>
                    <a:pt x="450" y="978"/>
                  </a:lnTo>
                  <a:lnTo>
                    <a:pt x="450" y="984"/>
                  </a:lnTo>
                  <a:lnTo>
                    <a:pt x="456" y="990"/>
                  </a:lnTo>
                  <a:lnTo>
                    <a:pt x="456" y="996"/>
                  </a:lnTo>
                  <a:lnTo>
                    <a:pt x="462" y="1008"/>
                  </a:lnTo>
                  <a:lnTo>
                    <a:pt x="468" y="1008"/>
                  </a:lnTo>
                  <a:lnTo>
                    <a:pt x="468" y="1002"/>
                  </a:lnTo>
                  <a:lnTo>
                    <a:pt x="474" y="1008"/>
                  </a:lnTo>
                  <a:lnTo>
                    <a:pt x="480" y="1002"/>
                  </a:lnTo>
                  <a:lnTo>
                    <a:pt x="486" y="1008"/>
                  </a:lnTo>
                  <a:lnTo>
                    <a:pt x="486" y="1014"/>
                  </a:lnTo>
                  <a:lnTo>
                    <a:pt x="492" y="1014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86" y="1026"/>
                  </a:lnTo>
                  <a:lnTo>
                    <a:pt x="492" y="1026"/>
                  </a:lnTo>
                  <a:lnTo>
                    <a:pt x="486" y="1026"/>
                  </a:lnTo>
                  <a:lnTo>
                    <a:pt x="492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5" name="Freeform 30">
              <a:extLst>
                <a:ext uri="{FF2B5EF4-FFF2-40B4-BE49-F238E27FC236}">
                  <a16:creationId xmlns:a16="http://schemas.microsoft.com/office/drawing/2014/main" id="{85C7B827-0C1A-4D72-AEBD-F01CFE7EC12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3645" y="3904484"/>
              <a:ext cx="559048" cy="111825"/>
            </a:xfrm>
            <a:custGeom>
              <a:avLst/>
              <a:gdLst>
                <a:gd name="T0" fmla="*/ 69 w 1056"/>
                <a:gd name="T1" fmla="*/ 7 h 210"/>
                <a:gd name="T2" fmla="*/ 63 w 1056"/>
                <a:gd name="T3" fmla="*/ 5 h 210"/>
                <a:gd name="T4" fmla="*/ 57 w 1056"/>
                <a:gd name="T5" fmla="*/ 5 h 210"/>
                <a:gd name="T6" fmla="*/ 54 w 1056"/>
                <a:gd name="T7" fmla="*/ 6 h 210"/>
                <a:gd name="T8" fmla="*/ 51 w 1056"/>
                <a:gd name="T9" fmla="*/ 7 h 210"/>
                <a:gd name="T10" fmla="*/ 46 w 1056"/>
                <a:gd name="T11" fmla="*/ 9 h 210"/>
                <a:gd name="T12" fmla="*/ 42 w 1056"/>
                <a:gd name="T13" fmla="*/ 8 h 210"/>
                <a:gd name="T14" fmla="*/ 42 w 1056"/>
                <a:gd name="T15" fmla="*/ 5 h 210"/>
                <a:gd name="T16" fmla="*/ 41 w 1056"/>
                <a:gd name="T17" fmla="*/ 7 h 210"/>
                <a:gd name="T18" fmla="*/ 38 w 1056"/>
                <a:gd name="T19" fmla="*/ 10 h 210"/>
                <a:gd name="T20" fmla="*/ 37 w 1056"/>
                <a:gd name="T21" fmla="*/ 12 h 210"/>
                <a:gd name="T22" fmla="*/ 37 w 1056"/>
                <a:gd name="T23" fmla="*/ 15 h 210"/>
                <a:gd name="T24" fmla="*/ 37 w 1056"/>
                <a:gd name="T25" fmla="*/ 16 h 210"/>
                <a:gd name="T26" fmla="*/ 38 w 1056"/>
                <a:gd name="T27" fmla="*/ 16 h 210"/>
                <a:gd name="T28" fmla="*/ 34 w 1056"/>
                <a:gd name="T29" fmla="*/ 16 h 210"/>
                <a:gd name="T30" fmla="*/ 26 w 1056"/>
                <a:gd name="T31" fmla="*/ 16 h 210"/>
                <a:gd name="T32" fmla="*/ 20 w 1056"/>
                <a:gd name="T33" fmla="*/ 17 h 210"/>
                <a:gd name="T34" fmla="*/ 13 w 1056"/>
                <a:gd name="T35" fmla="*/ 17 h 210"/>
                <a:gd name="T36" fmla="*/ 6 w 1056"/>
                <a:gd name="T37" fmla="*/ 17 h 210"/>
                <a:gd name="T38" fmla="*/ 1 w 1056"/>
                <a:gd name="T39" fmla="*/ 18 h 210"/>
                <a:gd name="T40" fmla="*/ 3 w 1056"/>
                <a:gd name="T41" fmla="*/ 14 h 210"/>
                <a:gd name="T42" fmla="*/ 8 w 1056"/>
                <a:gd name="T43" fmla="*/ 15 h 210"/>
                <a:gd name="T44" fmla="*/ 11 w 1056"/>
                <a:gd name="T45" fmla="*/ 12 h 210"/>
                <a:gd name="T46" fmla="*/ 26 w 1056"/>
                <a:gd name="T47" fmla="*/ 10 h 210"/>
                <a:gd name="T48" fmla="*/ 29 w 1056"/>
                <a:gd name="T49" fmla="*/ 5 h 210"/>
                <a:gd name="T50" fmla="*/ 34 w 1056"/>
                <a:gd name="T51" fmla="*/ 1 h 210"/>
                <a:gd name="T52" fmla="*/ 41 w 1056"/>
                <a:gd name="T53" fmla="*/ 3 h 210"/>
                <a:gd name="T54" fmla="*/ 73 w 1056"/>
                <a:gd name="T55" fmla="*/ 1 h 210"/>
                <a:gd name="T56" fmla="*/ 75 w 1056"/>
                <a:gd name="T57" fmla="*/ 4 h 210"/>
                <a:gd name="T58" fmla="*/ 85 w 1056"/>
                <a:gd name="T59" fmla="*/ 15 h 210"/>
                <a:gd name="T60" fmla="*/ 91 w 1056"/>
                <a:gd name="T61" fmla="*/ 18 h 210"/>
                <a:gd name="T62" fmla="*/ 85 w 1056"/>
                <a:gd name="T63" fmla="*/ 18 h 210"/>
                <a:gd name="T64" fmla="*/ 79 w 1056"/>
                <a:gd name="T65" fmla="*/ 16 h 210"/>
                <a:gd name="T66" fmla="*/ 74 w 1056"/>
                <a:gd name="T67" fmla="*/ 16 h 210"/>
                <a:gd name="T68" fmla="*/ 69 w 1056"/>
                <a:gd name="T69" fmla="*/ 15 h 210"/>
                <a:gd name="T70" fmla="*/ 65 w 1056"/>
                <a:gd name="T71" fmla="*/ 14 h 210"/>
                <a:gd name="T72" fmla="*/ 59 w 1056"/>
                <a:gd name="T73" fmla="*/ 15 h 210"/>
                <a:gd name="T74" fmla="*/ 54 w 1056"/>
                <a:gd name="T75" fmla="*/ 15 h 210"/>
                <a:gd name="T76" fmla="*/ 49 w 1056"/>
                <a:gd name="T77" fmla="*/ 15 h 210"/>
                <a:gd name="T78" fmla="*/ 42 w 1056"/>
                <a:gd name="T79" fmla="*/ 15 h 210"/>
                <a:gd name="T80" fmla="*/ 38 w 1056"/>
                <a:gd name="T81" fmla="*/ 16 h 210"/>
                <a:gd name="T82" fmla="*/ 41 w 1056"/>
                <a:gd name="T83" fmla="*/ 14 h 210"/>
                <a:gd name="T84" fmla="*/ 42 w 1056"/>
                <a:gd name="T85" fmla="*/ 13 h 210"/>
                <a:gd name="T86" fmla="*/ 45 w 1056"/>
                <a:gd name="T87" fmla="*/ 13 h 210"/>
                <a:gd name="T88" fmla="*/ 48 w 1056"/>
                <a:gd name="T89" fmla="*/ 12 h 210"/>
                <a:gd name="T90" fmla="*/ 51 w 1056"/>
                <a:gd name="T91" fmla="*/ 11 h 210"/>
                <a:gd name="T92" fmla="*/ 54 w 1056"/>
                <a:gd name="T93" fmla="*/ 9 h 210"/>
                <a:gd name="T94" fmla="*/ 57 w 1056"/>
                <a:gd name="T95" fmla="*/ 8 h 210"/>
                <a:gd name="T96" fmla="*/ 60 w 1056"/>
                <a:gd name="T97" fmla="*/ 5 h 210"/>
                <a:gd name="T98" fmla="*/ 65 w 1056"/>
                <a:gd name="T99" fmla="*/ 5 h 210"/>
                <a:gd name="T100" fmla="*/ 72 w 1056"/>
                <a:gd name="T101" fmla="*/ 7 h 210"/>
                <a:gd name="T102" fmla="*/ 77 w 1056"/>
                <a:gd name="T103" fmla="*/ 11 h 210"/>
                <a:gd name="T104" fmla="*/ 69 w 1056"/>
                <a:gd name="T105" fmla="*/ 10 h 210"/>
                <a:gd name="T106" fmla="*/ 72 w 1056"/>
                <a:gd name="T107" fmla="*/ 12 h 210"/>
                <a:gd name="T108" fmla="*/ 78 w 1056"/>
                <a:gd name="T109" fmla="*/ 15 h 210"/>
                <a:gd name="T110" fmla="*/ 84 w 1056"/>
                <a:gd name="T111" fmla="*/ 14 h 210"/>
                <a:gd name="T112" fmla="*/ 84 w 1056"/>
                <a:gd name="T113" fmla="*/ 14 h 210"/>
                <a:gd name="T114" fmla="*/ 78 w 1056"/>
                <a:gd name="T115" fmla="*/ 13 h 210"/>
                <a:gd name="T116" fmla="*/ 76 w 1056"/>
                <a:gd name="T117" fmla="*/ 14 h 210"/>
                <a:gd name="T118" fmla="*/ 38 w 1056"/>
                <a:gd name="T119" fmla="*/ 12 h 210"/>
                <a:gd name="T120" fmla="*/ 41 w 1056"/>
                <a:gd name="T121" fmla="*/ 12 h 210"/>
                <a:gd name="T122" fmla="*/ 40 w 1056"/>
                <a:gd name="T123" fmla="*/ 14 h 2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6"/>
                <a:gd name="T187" fmla="*/ 0 h 210"/>
                <a:gd name="T188" fmla="*/ 1056 w 1056"/>
                <a:gd name="T189" fmla="*/ 210 h 21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6" h="210">
                  <a:moveTo>
                    <a:pt x="870" y="90"/>
                  </a:moveTo>
                  <a:lnTo>
                    <a:pt x="864" y="90"/>
                  </a:lnTo>
                  <a:lnTo>
                    <a:pt x="852" y="84"/>
                  </a:lnTo>
                  <a:lnTo>
                    <a:pt x="846" y="84"/>
                  </a:lnTo>
                  <a:lnTo>
                    <a:pt x="846" y="78"/>
                  </a:lnTo>
                  <a:lnTo>
                    <a:pt x="840" y="78"/>
                  </a:lnTo>
                  <a:lnTo>
                    <a:pt x="834" y="78"/>
                  </a:lnTo>
                  <a:lnTo>
                    <a:pt x="834" y="72"/>
                  </a:lnTo>
                  <a:lnTo>
                    <a:pt x="804" y="78"/>
                  </a:lnTo>
                  <a:lnTo>
                    <a:pt x="798" y="78"/>
                  </a:lnTo>
                  <a:lnTo>
                    <a:pt x="792" y="72"/>
                  </a:lnTo>
                  <a:lnTo>
                    <a:pt x="780" y="60"/>
                  </a:lnTo>
                  <a:lnTo>
                    <a:pt x="768" y="54"/>
                  </a:lnTo>
                  <a:lnTo>
                    <a:pt x="756" y="54"/>
                  </a:lnTo>
                  <a:lnTo>
                    <a:pt x="750" y="54"/>
                  </a:lnTo>
                  <a:lnTo>
                    <a:pt x="750" y="48"/>
                  </a:lnTo>
                  <a:lnTo>
                    <a:pt x="744" y="48"/>
                  </a:lnTo>
                  <a:lnTo>
                    <a:pt x="738" y="48"/>
                  </a:lnTo>
                  <a:lnTo>
                    <a:pt x="732" y="48"/>
                  </a:lnTo>
                  <a:lnTo>
                    <a:pt x="732" y="54"/>
                  </a:lnTo>
                  <a:lnTo>
                    <a:pt x="726" y="48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48"/>
                  </a:lnTo>
                  <a:lnTo>
                    <a:pt x="702" y="48"/>
                  </a:lnTo>
                  <a:lnTo>
                    <a:pt x="696" y="48"/>
                  </a:lnTo>
                  <a:lnTo>
                    <a:pt x="684" y="48"/>
                  </a:lnTo>
                  <a:lnTo>
                    <a:pt x="678" y="48"/>
                  </a:lnTo>
                  <a:lnTo>
                    <a:pt x="672" y="48"/>
                  </a:lnTo>
                  <a:lnTo>
                    <a:pt x="666" y="54"/>
                  </a:lnTo>
                  <a:lnTo>
                    <a:pt x="660" y="54"/>
                  </a:lnTo>
                  <a:lnTo>
                    <a:pt x="660" y="48"/>
                  </a:lnTo>
                  <a:lnTo>
                    <a:pt x="654" y="48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42" y="54"/>
                  </a:lnTo>
                  <a:lnTo>
                    <a:pt x="63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30" y="66"/>
                  </a:lnTo>
                  <a:lnTo>
                    <a:pt x="624" y="66"/>
                  </a:lnTo>
                  <a:lnTo>
                    <a:pt x="618" y="66"/>
                  </a:lnTo>
                  <a:lnTo>
                    <a:pt x="618" y="72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6" y="84"/>
                  </a:lnTo>
                  <a:lnTo>
                    <a:pt x="600" y="84"/>
                  </a:lnTo>
                  <a:lnTo>
                    <a:pt x="594" y="90"/>
                  </a:lnTo>
                  <a:lnTo>
                    <a:pt x="588" y="90"/>
                  </a:lnTo>
                  <a:lnTo>
                    <a:pt x="588" y="84"/>
                  </a:lnTo>
                  <a:lnTo>
                    <a:pt x="582" y="84"/>
                  </a:lnTo>
                  <a:lnTo>
                    <a:pt x="576" y="84"/>
                  </a:lnTo>
                  <a:lnTo>
                    <a:pt x="570" y="84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58" y="96"/>
                  </a:lnTo>
                  <a:lnTo>
                    <a:pt x="552" y="96"/>
                  </a:lnTo>
                  <a:lnTo>
                    <a:pt x="546" y="102"/>
                  </a:lnTo>
                  <a:lnTo>
                    <a:pt x="540" y="102"/>
                  </a:lnTo>
                  <a:lnTo>
                    <a:pt x="534" y="102"/>
                  </a:lnTo>
                  <a:lnTo>
                    <a:pt x="528" y="102"/>
                  </a:lnTo>
                  <a:lnTo>
                    <a:pt x="528" y="108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16" y="102"/>
                  </a:lnTo>
                  <a:lnTo>
                    <a:pt x="510" y="102"/>
                  </a:lnTo>
                  <a:lnTo>
                    <a:pt x="504" y="102"/>
                  </a:lnTo>
                  <a:lnTo>
                    <a:pt x="498" y="102"/>
                  </a:lnTo>
                  <a:lnTo>
                    <a:pt x="498" y="96"/>
                  </a:lnTo>
                  <a:lnTo>
                    <a:pt x="492" y="96"/>
                  </a:lnTo>
                  <a:lnTo>
                    <a:pt x="492" y="90"/>
                  </a:lnTo>
                  <a:lnTo>
                    <a:pt x="492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498" y="66"/>
                  </a:lnTo>
                  <a:lnTo>
                    <a:pt x="504" y="60"/>
                  </a:lnTo>
                  <a:lnTo>
                    <a:pt x="498" y="60"/>
                  </a:lnTo>
                  <a:lnTo>
                    <a:pt x="498" y="54"/>
                  </a:lnTo>
                  <a:lnTo>
                    <a:pt x="492" y="54"/>
                  </a:lnTo>
                  <a:lnTo>
                    <a:pt x="492" y="60"/>
                  </a:lnTo>
                  <a:lnTo>
                    <a:pt x="486" y="60"/>
                  </a:lnTo>
                  <a:lnTo>
                    <a:pt x="486" y="66"/>
                  </a:lnTo>
                  <a:lnTo>
                    <a:pt x="480" y="66"/>
                  </a:lnTo>
                  <a:lnTo>
                    <a:pt x="474" y="72"/>
                  </a:lnTo>
                  <a:lnTo>
                    <a:pt x="474" y="66"/>
                  </a:lnTo>
                  <a:lnTo>
                    <a:pt x="474" y="72"/>
                  </a:lnTo>
                  <a:lnTo>
                    <a:pt x="468" y="72"/>
                  </a:lnTo>
                  <a:lnTo>
                    <a:pt x="468" y="78"/>
                  </a:lnTo>
                  <a:lnTo>
                    <a:pt x="468" y="84"/>
                  </a:lnTo>
                  <a:lnTo>
                    <a:pt x="462" y="90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0" y="84"/>
                  </a:lnTo>
                  <a:lnTo>
                    <a:pt x="450" y="90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44" y="102"/>
                  </a:lnTo>
                  <a:lnTo>
                    <a:pt x="444" y="108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38" y="126"/>
                  </a:lnTo>
                  <a:lnTo>
                    <a:pt x="438" y="132"/>
                  </a:lnTo>
                  <a:lnTo>
                    <a:pt x="438" y="138"/>
                  </a:lnTo>
                  <a:lnTo>
                    <a:pt x="438" y="144"/>
                  </a:lnTo>
                  <a:lnTo>
                    <a:pt x="432" y="144"/>
                  </a:lnTo>
                  <a:lnTo>
                    <a:pt x="432" y="150"/>
                  </a:lnTo>
                  <a:lnTo>
                    <a:pt x="432" y="144"/>
                  </a:lnTo>
                  <a:lnTo>
                    <a:pt x="426" y="144"/>
                  </a:lnTo>
                  <a:lnTo>
                    <a:pt x="426" y="150"/>
                  </a:lnTo>
                  <a:lnTo>
                    <a:pt x="426" y="156"/>
                  </a:lnTo>
                  <a:lnTo>
                    <a:pt x="432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2"/>
                  </a:lnTo>
                  <a:lnTo>
                    <a:pt x="432" y="168"/>
                  </a:lnTo>
                  <a:lnTo>
                    <a:pt x="426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44" y="168"/>
                  </a:lnTo>
                  <a:lnTo>
                    <a:pt x="444" y="174"/>
                  </a:lnTo>
                  <a:lnTo>
                    <a:pt x="444" y="180"/>
                  </a:lnTo>
                  <a:lnTo>
                    <a:pt x="444" y="186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2" y="192"/>
                  </a:lnTo>
                  <a:lnTo>
                    <a:pt x="426" y="192"/>
                  </a:lnTo>
                  <a:lnTo>
                    <a:pt x="420" y="186"/>
                  </a:lnTo>
                  <a:lnTo>
                    <a:pt x="414" y="186"/>
                  </a:lnTo>
                  <a:lnTo>
                    <a:pt x="408" y="186"/>
                  </a:lnTo>
                  <a:lnTo>
                    <a:pt x="402" y="186"/>
                  </a:lnTo>
                  <a:lnTo>
                    <a:pt x="396" y="186"/>
                  </a:lnTo>
                  <a:lnTo>
                    <a:pt x="390" y="186"/>
                  </a:lnTo>
                  <a:lnTo>
                    <a:pt x="384" y="186"/>
                  </a:lnTo>
                  <a:lnTo>
                    <a:pt x="378" y="186"/>
                  </a:lnTo>
                  <a:lnTo>
                    <a:pt x="372" y="186"/>
                  </a:lnTo>
                  <a:lnTo>
                    <a:pt x="354" y="186"/>
                  </a:lnTo>
                  <a:lnTo>
                    <a:pt x="342" y="186"/>
                  </a:lnTo>
                  <a:lnTo>
                    <a:pt x="324" y="186"/>
                  </a:lnTo>
                  <a:lnTo>
                    <a:pt x="312" y="186"/>
                  </a:lnTo>
                  <a:lnTo>
                    <a:pt x="306" y="186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82" y="186"/>
                  </a:lnTo>
                  <a:lnTo>
                    <a:pt x="270" y="186"/>
                  </a:lnTo>
                  <a:lnTo>
                    <a:pt x="264" y="186"/>
                  </a:lnTo>
                  <a:lnTo>
                    <a:pt x="258" y="192"/>
                  </a:lnTo>
                  <a:lnTo>
                    <a:pt x="258" y="186"/>
                  </a:lnTo>
                  <a:lnTo>
                    <a:pt x="246" y="186"/>
                  </a:lnTo>
                  <a:lnTo>
                    <a:pt x="240" y="186"/>
                  </a:lnTo>
                  <a:lnTo>
                    <a:pt x="234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2"/>
                  </a:lnTo>
                  <a:lnTo>
                    <a:pt x="204" y="192"/>
                  </a:lnTo>
                  <a:lnTo>
                    <a:pt x="198" y="192"/>
                  </a:lnTo>
                  <a:lnTo>
                    <a:pt x="192" y="192"/>
                  </a:lnTo>
                  <a:lnTo>
                    <a:pt x="180" y="192"/>
                  </a:lnTo>
                  <a:lnTo>
                    <a:pt x="168" y="192"/>
                  </a:lnTo>
                  <a:lnTo>
                    <a:pt x="162" y="192"/>
                  </a:lnTo>
                  <a:lnTo>
                    <a:pt x="150" y="192"/>
                  </a:lnTo>
                  <a:lnTo>
                    <a:pt x="138" y="192"/>
                  </a:lnTo>
                  <a:lnTo>
                    <a:pt x="132" y="192"/>
                  </a:lnTo>
                  <a:lnTo>
                    <a:pt x="120" y="192"/>
                  </a:lnTo>
                  <a:lnTo>
                    <a:pt x="114" y="192"/>
                  </a:lnTo>
                  <a:lnTo>
                    <a:pt x="108" y="192"/>
                  </a:lnTo>
                  <a:lnTo>
                    <a:pt x="102" y="192"/>
                  </a:lnTo>
                  <a:lnTo>
                    <a:pt x="90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2" y="198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36" y="198"/>
                  </a:lnTo>
                  <a:lnTo>
                    <a:pt x="30" y="204"/>
                  </a:lnTo>
                  <a:lnTo>
                    <a:pt x="24" y="204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6" y="210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54" y="156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56"/>
                  </a:lnTo>
                  <a:lnTo>
                    <a:pt x="78" y="162"/>
                  </a:lnTo>
                  <a:lnTo>
                    <a:pt x="84" y="162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9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0" y="126"/>
                  </a:lnTo>
                  <a:lnTo>
                    <a:pt x="276" y="120"/>
                  </a:lnTo>
                  <a:lnTo>
                    <a:pt x="282" y="120"/>
                  </a:lnTo>
                  <a:lnTo>
                    <a:pt x="300" y="120"/>
                  </a:lnTo>
                  <a:lnTo>
                    <a:pt x="306" y="114"/>
                  </a:lnTo>
                  <a:lnTo>
                    <a:pt x="312" y="108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8"/>
                  </a:lnTo>
                  <a:lnTo>
                    <a:pt x="342" y="30"/>
                  </a:lnTo>
                  <a:lnTo>
                    <a:pt x="342" y="24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8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24"/>
                  </a:lnTo>
                  <a:lnTo>
                    <a:pt x="414" y="30"/>
                  </a:lnTo>
                  <a:lnTo>
                    <a:pt x="420" y="30"/>
                  </a:lnTo>
                  <a:lnTo>
                    <a:pt x="42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74" y="30"/>
                  </a:lnTo>
                  <a:lnTo>
                    <a:pt x="474" y="18"/>
                  </a:lnTo>
                  <a:lnTo>
                    <a:pt x="474" y="12"/>
                  </a:lnTo>
                  <a:lnTo>
                    <a:pt x="480" y="12"/>
                  </a:lnTo>
                  <a:lnTo>
                    <a:pt x="486" y="12"/>
                  </a:lnTo>
                  <a:lnTo>
                    <a:pt x="606" y="12"/>
                  </a:lnTo>
                  <a:lnTo>
                    <a:pt x="630" y="12"/>
                  </a:lnTo>
                  <a:lnTo>
                    <a:pt x="678" y="12"/>
                  </a:lnTo>
                  <a:lnTo>
                    <a:pt x="744" y="12"/>
                  </a:lnTo>
                  <a:lnTo>
                    <a:pt x="774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2" y="6"/>
                  </a:lnTo>
                  <a:lnTo>
                    <a:pt x="888" y="12"/>
                  </a:lnTo>
                  <a:lnTo>
                    <a:pt x="888" y="24"/>
                  </a:lnTo>
                  <a:lnTo>
                    <a:pt x="888" y="30"/>
                  </a:lnTo>
                  <a:lnTo>
                    <a:pt x="882" y="36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64" y="42"/>
                  </a:lnTo>
                  <a:lnTo>
                    <a:pt x="864" y="48"/>
                  </a:lnTo>
                  <a:lnTo>
                    <a:pt x="858" y="54"/>
                  </a:lnTo>
                  <a:lnTo>
                    <a:pt x="864" y="54"/>
                  </a:lnTo>
                  <a:lnTo>
                    <a:pt x="870" y="72"/>
                  </a:lnTo>
                  <a:lnTo>
                    <a:pt x="870" y="78"/>
                  </a:lnTo>
                  <a:lnTo>
                    <a:pt x="870" y="84"/>
                  </a:lnTo>
                  <a:lnTo>
                    <a:pt x="870" y="90"/>
                  </a:lnTo>
                  <a:close/>
                  <a:moveTo>
                    <a:pt x="972" y="156"/>
                  </a:moveTo>
                  <a:lnTo>
                    <a:pt x="972" y="162"/>
                  </a:lnTo>
                  <a:lnTo>
                    <a:pt x="978" y="162"/>
                  </a:lnTo>
                  <a:lnTo>
                    <a:pt x="984" y="168"/>
                  </a:lnTo>
                  <a:lnTo>
                    <a:pt x="990" y="168"/>
                  </a:lnTo>
                  <a:lnTo>
                    <a:pt x="990" y="162"/>
                  </a:lnTo>
                  <a:lnTo>
                    <a:pt x="1008" y="162"/>
                  </a:lnTo>
                  <a:lnTo>
                    <a:pt x="1020" y="162"/>
                  </a:lnTo>
                  <a:lnTo>
                    <a:pt x="1038" y="162"/>
                  </a:lnTo>
                  <a:lnTo>
                    <a:pt x="1056" y="168"/>
                  </a:lnTo>
                  <a:lnTo>
                    <a:pt x="1056" y="180"/>
                  </a:lnTo>
                  <a:lnTo>
                    <a:pt x="1056" y="186"/>
                  </a:lnTo>
                  <a:lnTo>
                    <a:pt x="1056" y="204"/>
                  </a:lnTo>
                  <a:lnTo>
                    <a:pt x="1050" y="204"/>
                  </a:lnTo>
                  <a:lnTo>
                    <a:pt x="1044" y="204"/>
                  </a:lnTo>
                  <a:lnTo>
                    <a:pt x="1038" y="204"/>
                  </a:lnTo>
                  <a:lnTo>
                    <a:pt x="1032" y="204"/>
                  </a:lnTo>
                  <a:lnTo>
                    <a:pt x="1026" y="204"/>
                  </a:lnTo>
                  <a:lnTo>
                    <a:pt x="1020" y="204"/>
                  </a:lnTo>
                  <a:lnTo>
                    <a:pt x="1014" y="204"/>
                  </a:lnTo>
                  <a:lnTo>
                    <a:pt x="1008" y="204"/>
                  </a:lnTo>
                  <a:lnTo>
                    <a:pt x="1002" y="204"/>
                  </a:lnTo>
                  <a:lnTo>
                    <a:pt x="996" y="204"/>
                  </a:lnTo>
                  <a:lnTo>
                    <a:pt x="984" y="204"/>
                  </a:lnTo>
                  <a:lnTo>
                    <a:pt x="984" y="198"/>
                  </a:lnTo>
                  <a:lnTo>
                    <a:pt x="978" y="198"/>
                  </a:lnTo>
                  <a:lnTo>
                    <a:pt x="966" y="198"/>
                  </a:lnTo>
                  <a:lnTo>
                    <a:pt x="948" y="192"/>
                  </a:lnTo>
                  <a:lnTo>
                    <a:pt x="942" y="192"/>
                  </a:lnTo>
                  <a:lnTo>
                    <a:pt x="936" y="192"/>
                  </a:lnTo>
                  <a:lnTo>
                    <a:pt x="924" y="192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12" y="186"/>
                  </a:lnTo>
                  <a:lnTo>
                    <a:pt x="906" y="186"/>
                  </a:lnTo>
                  <a:lnTo>
                    <a:pt x="900" y="186"/>
                  </a:lnTo>
                  <a:lnTo>
                    <a:pt x="894" y="186"/>
                  </a:lnTo>
                  <a:lnTo>
                    <a:pt x="888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76" y="180"/>
                  </a:lnTo>
                  <a:lnTo>
                    <a:pt x="870" y="180"/>
                  </a:lnTo>
                  <a:lnTo>
                    <a:pt x="864" y="180"/>
                  </a:lnTo>
                  <a:lnTo>
                    <a:pt x="858" y="180"/>
                  </a:lnTo>
                  <a:lnTo>
                    <a:pt x="852" y="180"/>
                  </a:lnTo>
                  <a:lnTo>
                    <a:pt x="852" y="174"/>
                  </a:lnTo>
                  <a:lnTo>
                    <a:pt x="846" y="174"/>
                  </a:lnTo>
                  <a:lnTo>
                    <a:pt x="840" y="174"/>
                  </a:lnTo>
                  <a:lnTo>
                    <a:pt x="834" y="174"/>
                  </a:lnTo>
                  <a:lnTo>
                    <a:pt x="828" y="174"/>
                  </a:lnTo>
                  <a:lnTo>
                    <a:pt x="822" y="174"/>
                  </a:lnTo>
                  <a:lnTo>
                    <a:pt x="816" y="174"/>
                  </a:lnTo>
                  <a:lnTo>
                    <a:pt x="810" y="168"/>
                  </a:lnTo>
                  <a:lnTo>
                    <a:pt x="804" y="168"/>
                  </a:lnTo>
                  <a:lnTo>
                    <a:pt x="798" y="168"/>
                  </a:lnTo>
                  <a:lnTo>
                    <a:pt x="792" y="168"/>
                  </a:lnTo>
                  <a:lnTo>
                    <a:pt x="786" y="168"/>
                  </a:lnTo>
                  <a:lnTo>
                    <a:pt x="780" y="168"/>
                  </a:lnTo>
                  <a:lnTo>
                    <a:pt x="774" y="168"/>
                  </a:lnTo>
                  <a:lnTo>
                    <a:pt x="768" y="168"/>
                  </a:lnTo>
                  <a:lnTo>
                    <a:pt x="762" y="168"/>
                  </a:lnTo>
                  <a:lnTo>
                    <a:pt x="756" y="168"/>
                  </a:lnTo>
                  <a:lnTo>
                    <a:pt x="750" y="168"/>
                  </a:lnTo>
                  <a:lnTo>
                    <a:pt x="750" y="162"/>
                  </a:lnTo>
                  <a:lnTo>
                    <a:pt x="744" y="168"/>
                  </a:lnTo>
                  <a:lnTo>
                    <a:pt x="738" y="162"/>
                  </a:lnTo>
                  <a:lnTo>
                    <a:pt x="732" y="162"/>
                  </a:lnTo>
                  <a:lnTo>
                    <a:pt x="726" y="162"/>
                  </a:lnTo>
                  <a:lnTo>
                    <a:pt x="714" y="162"/>
                  </a:lnTo>
                  <a:lnTo>
                    <a:pt x="702" y="162"/>
                  </a:lnTo>
                  <a:lnTo>
                    <a:pt x="696" y="168"/>
                  </a:lnTo>
                  <a:lnTo>
                    <a:pt x="690" y="168"/>
                  </a:lnTo>
                  <a:lnTo>
                    <a:pt x="684" y="168"/>
                  </a:lnTo>
                  <a:lnTo>
                    <a:pt x="678" y="168"/>
                  </a:lnTo>
                  <a:lnTo>
                    <a:pt x="672" y="168"/>
                  </a:lnTo>
                  <a:lnTo>
                    <a:pt x="666" y="168"/>
                  </a:lnTo>
                  <a:lnTo>
                    <a:pt x="660" y="168"/>
                  </a:lnTo>
                  <a:lnTo>
                    <a:pt x="654" y="168"/>
                  </a:lnTo>
                  <a:lnTo>
                    <a:pt x="648" y="174"/>
                  </a:lnTo>
                  <a:lnTo>
                    <a:pt x="648" y="168"/>
                  </a:lnTo>
                  <a:lnTo>
                    <a:pt x="642" y="174"/>
                  </a:lnTo>
                  <a:lnTo>
                    <a:pt x="636" y="174"/>
                  </a:lnTo>
                  <a:lnTo>
                    <a:pt x="630" y="174"/>
                  </a:lnTo>
                  <a:lnTo>
                    <a:pt x="624" y="174"/>
                  </a:lnTo>
                  <a:lnTo>
                    <a:pt x="618" y="174"/>
                  </a:lnTo>
                  <a:lnTo>
                    <a:pt x="612" y="174"/>
                  </a:lnTo>
                  <a:lnTo>
                    <a:pt x="606" y="174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74"/>
                  </a:lnTo>
                  <a:lnTo>
                    <a:pt x="582" y="174"/>
                  </a:lnTo>
                  <a:lnTo>
                    <a:pt x="576" y="174"/>
                  </a:lnTo>
                  <a:lnTo>
                    <a:pt x="570" y="174"/>
                  </a:lnTo>
                  <a:lnTo>
                    <a:pt x="564" y="174"/>
                  </a:lnTo>
                  <a:lnTo>
                    <a:pt x="558" y="174"/>
                  </a:lnTo>
                  <a:lnTo>
                    <a:pt x="552" y="174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0" y="174"/>
                  </a:lnTo>
                  <a:lnTo>
                    <a:pt x="504" y="174"/>
                  </a:lnTo>
                  <a:lnTo>
                    <a:pt x="498" y="174"/>
                  </a:lnTo>
                  <a:lnTo>
                    <a:pt x="492" y="174"/>
                  </a:lnTo>
                  <a:lnTo>
                    <a:pt x="486" y="174"/>
                  </a:lnTo>
                  <a:lnTo>
                    <a:pt x="480" y="174"/>
                  </a:lnTo>
                  <a:lnTo>
                    <a:pt x="474" y="174"/>
                  </a:lnTo>
                  <a:lnTo>
                    <a:pt x="468" y="174"/>
                  </a:lnTo>
                  <a:lnTo>
                    <a:pt x="462" y="174"/>
                  </a:lnTo>
                  <a:lnTo>
                    <a:pt x="456" y="174"/>
                  </a:lnTo>
                  <a:lnTo>
                    <a:pt x="450" y="180"/>
                  </a:lnTo>
                  <a:lnTo>
                    <a:pt x="450" y="186"/>
                  </a:lnTo>
                  <a:lnTo>
                    <a:pt x="450" y="192"/>
                  </a:lnTo>
                  <a:lnTo>
                    <a:pt x="444" y="192"/>
                  </a:lnTo>
                  <a:lnTo>
                    <a:pt x="444" y="186"/>
                  </a:lnTo>
                  <a:lnTo>
                    <a:pt x="444" y="180"/>
                  </a:lnTo>
                  <a:lnTo>
                    <a:pt x="450" y="180"/>
                  </a:lnTo>
                  <a:lnTo>
                    <a:pt x="450" y="174"/>
                  </a:lnTo>
                  <a:lnTo>
                    <a:pt x="450" y="168"/>
                  </a:lnTo>
                  <a:lnTo>
                    <a:pt x="450" y="162"/>
                  </a:lnTo>
                  <a:lnTo>
                    <a:pt x="456" y="162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62" y="162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74" y="168"/>
                  </a:lnTo>
                  <a:lnTo>
                    <a:pt x="480" y="168"/>
                  </a:lnTo>
                  <a:lnTo>
                    <a:pt x="480" y="162"/>
                  </a:lnTo>
                  <a:lnTo>
                    <a:pt x="480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56"/>
                  </a:lnTo>
                  <a:lnTo>
                    <a:pt x="492" y="156"/>
                  </a:lnTo>
                  <a:lnTo>
                    <a:pt x="486" y="150"/>
                  </a:lnTo>
                  <a:lnTo>
                    <a:pt x="492" y="150"/>
                  </a:lnTo>
                  <a:lnTo>
                    <a:pt x="498" y="150"/>
                  </a:lnTo>
                  <a:lnTo>
                    <a:pt x="498" y="156"/>
                  </a:lnTo>
                  <a:lnTo>
                    <a:pt x="504" y="156"/>
                  </a:lnTo>
                  <a:lnTo>
                    <a:pt x="504" y="162"/>
                  </a:lnTo>
                  <a:lnTo>
                    <a:pt x="504" y="156"/>
                  </a:lnTo>
                  <a:lnTo>
                    <a:pt x="510" y="156"/>
                  </a:lnTo>
                  <a:lnTo>
                    <a:pt x="510" y="150"/>
                  </a:lnTo>
                  <a:lnTo>
                    <a:pt x="516" y="150"/>
                  </a:lnTo>
                  <a:lnTo>
                    <a:pt x="522" y="150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28" y="150"/>
                  </a:lnTo>
                  <a:lnTo>
                    <a:pt x="528" y="144"/>
                  </a:lnTo>
                  <a:lnTo>
                    <a:pt x="540" y="144"/>
                  </a:lnTo>
                  <a:lnTo>
                    <a:pt x="546" y="144"/>
                  </a:lnTo>
                  <a:lnTo>
                    <a:pt x="552" y="138"/>
                  </a:lnTo>
                  <a:lnTo>
                    <a:pt x="552" y="132"/>
                  </a:lnTo>
                  <a:lnTo>
                    <a:pt x="558" y="132"/>
                  </a:lnTo>
                  <a:lnTo>
                    <a:pt x="558" y="126"/>
                  </a:lnTo>
                  <a:lnTo>
                    <a:pt x="558" y="120"/>
                  </a:lnTo>
                  <a:lnTo>
                    <a:pt x="558" y="114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6" y="114"/>
                  </a:lnTo>
                  <a:lnTo>
                    <a:pt x="582" y="120"/>
                  </a:lnTo>
                  <a:lnTo>
                    <a:pt x="588" y="120"/>
                  </a:lnTo>
                  <a:lnTo>
                    <a:pt x="588" y="126"/>
                  </a:lnTo>
                  <a:lnTo>
                    <a:pt x="588" y="120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600" y="114"/>
                  </a:lnTo>
                  <a:lnTo>
                    <a:pt x="606" y="114"/>
                  </a:lnTo>
                  <a:lnTo>
                    <a:pt x="618" y="114"/>
                  </a:lnTo>
                  <a:lnTo>
                    <a:pt x="618" y="108"/>
                  </a:lnTo>
                  <a:lnTo>
                    <a:pt x="624" y="108"/>
                  </a:lnTo>
                  <a:lnTo>
                    <a:pt x="624" y="102"/>
                  </a:lnTo>
                  <a:lnTo>
                    <a:pt x="630" y="102"/>
                  </a:lnTo>
                  <a:lnTo>
                    <a:pt x="636" y="102"/>
                  </a:lnTo>
                  <a:lnTo>
                    <a:pt x="636" y="108"/>
                  </a:lnTo>
                  <a:lnTo>
                    <a:pt x="642" y="108"/>
                  </a:lnTo>
                  <a:lnTo>
                    <a:pt x="648" y="108"/>
                  </a:lnTo>
                  <a:lnTo>
                    <a:pt x="648" y="102"/>
                  </a:lnTo>
                  <a:lnTo>
                    <a:pt x="654" y="102"/>
                  </a:lnTo>
                  <a:lnTo>
                    <a:pt x="660" y="102"/>
                  </a:lnTo>
                  <a:lnTo>
                    <a:pt x="660" y="96"/>
                  </a:lnTo>
                  <a:lnTo>
                    <a:pt x="660" y="90"/>
                  </a:lnTo>
                  <a:lnTo>
                    <a:pt x="666" y="90"/>
                  </a:lnTo>
                  <a:lnTo>
                    <a:pt x="666" y="84"/>
                  </a:lnTo>
                  <a:lnTo>
                    <a:pt x="672" y="78"/>
                  </a:lnTo>
                  <a:lnTo>
                    <a:pt x="672" y="72"/>
                  </a:lnTo>
                  <a:lnTo>
                    <a:pt x="678" y="66"/>
                  </a:lnTo>
                  <a:lnTo>
                    <a:pt x="684" y="66"/>
                  </a:lnTo>
                  <a:lnTo>
                    <a:pt x="684" y="60"/>
                  </a:lnTo>
                  <a:lnTo>
                    <a:pt x="690" y="60"/>
                  </a:lnTo>
                  <a:lnTo>
                    <a:pt x="696" y="60"/>
                  </a:lnTo>
                  <a:lnTo>
                    <a:pt x="702" y="60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66"/>
                  </a:lnTo>
                  <a:lnTo>
                    <a:pt x="720" y="66"/>
                  </a:lnTo>
                  <a:lnTo>
                    <a:pt x="720" y="60"/>
                  </a:lnTo>
                  <a:lnTo>
                    <a:pt x="726" y="60"/>
                  </a:lnTo>
                  <a:lnTo>
                    <a:pt x="732" y="60"/>
                  </a:lnTo>
                  <a:lnTo>
                    <a:pt x="744" y="60"/>
                  </a:lnTo>
                  <a:lnTo>
                    <a:pt x="750" y="54"/>
                  </a:lnTo>
                  <a:lnTo>
                    <a:pt x="762" y="60"/>
                  </a:lnTo>
                  <a:lnTo>
                    <a:pt x="774" y="60"/>
                  </a:lnTo>
                  <a:lnTo>
                    <a:pt x="774" y="66"/>
                  </a:lnTo>
                  <a:lnTo>
                    <a:pt x="780" y="72"/>
                  </a:lnTo>
                  <a:lnTo>
                    <a:pt x="786" y="78"/>
                  </a:lnTo>
                  <a:lnTo>
                    <a:pt x="792" y="78"/>
                  </a:lnTo>
                  <a:lnTo>
                    <a:pt x="810" y="84"/>
                  </a:lnTo>
                  <a:lnTo>
                    <a:pt x="822" y="84"/>
                  </a:lnTo>
                  <a:lnTo>
                    <a:pt x="828" y="84"/>
                  </a:lnTo>
                  <a:lnTo>
                    <a:pt x="834" y="84"/>
                  </a:lnTo>
                  <a:lnTo>
                    <a:pt x="840" y="96"/>
                  </a:lnTo>
                  <a:lnTo>
                    <a:pt x="846" y="102"/>
                  </a:lnTo>
                  <a:lnTo>
                    <a:pt x="858" y="102"/>
                  </a:lnTo>
                  <a:lnTo>
                    <a:pt x="864" y="102"/>
                  </a:lnTo>
                  <a:lnTo>
                    <a:pt x="876" y="96"/>
                  </a:lnTo>
                  <a:lnTo>
                    <a:pt x="882" y="102"/>
                  </a:lnTo>
                  <a:lnTo>
                    <a:pt x="888" y="108"/>
                  </a:lnTo>
                  <a:lnTo>
                    <a:pt x="888" y="114"/>
                  </a:lnTo>
                  <a:lnTo>
                    <a:pt x="888" y="120"/>
                  </a:lnTo>
                  <a:lnTo>
                    <a:pt x="888" y="126"/>
                  </a:lnTo>
                  <a:lnTo>
                    <a:pt x="888" y="132"/>
                  </a:lnTo>
                  <a:lnTo>
                    <a:pt x="882" y="132"/>
                  </a:lnTo>
                  <a:lnTo>
                    <a:pt x="864" y="126"/>
                  </a:lnTo>
                  <a:lnTo>
                    <a:pt x="852" y="120"/>
                  </a:lnTo>
                  <a:lnTo>
                    <a:pt x="840" y="126"/>
                  </a:lnTo>
                  <a:lnTo>
                    <a:pt x="834" y="120"/>
                  </a:lnTo>
                  <a:lnTo>
                    <a:pt x="828" y="120"/>
                  </a:lnTo>
                  <a:lnTo>
                    <a:pt x="822" y="120"/>
                  </a:lnTo>
                  <a:lnTo>
                    <a:pt x="810" y="114"/>
                  </a:lnTo>
                  <a:lnTo>
                    <a:pt x="804" y="114"/>
                  </a:lnTo>
                  <a:lnTo>
                    <a:pt x="798" y="114"/>
                  </a:lnTo>
                  <a:lnTo>
                    <a:pt x="792" y="114"/>
                  </a:lnTo>
                  <a:lnTo>
                    <a:pt x="786" y="114"/>
                  </a:lnTo>
                  <a:lnTo>
                    <a:pt x="780" y="114"/>
                  </a:lnTo>
                  <a:lnTo>
                    <a:pt x="780" y="126"/>
                  </a:lnTo>
                  <a:lnTo>
                    <a:pt x="786" y="126"/>
                  </a:lnTo>
                  <a:lnTo>
                    <a:pt x="798" y="126"/>
                  </a:lnTo>
                  <a:lnTo>
                    <a:pt x="804" y="126"/>
                  </a:lnTo>
                  <a:lnTo>
                    <a:pt x="822" y="132"/>
                  </a:lnTo>
                  <a:lnTo>
                    <a:pt x="828" y="132"/>
                  </a:lnTo>
                  <a:lnTo>
                    <a:pt x="834" y="132"/>
                  </a:lnTo>
                  <a:lnTo>
                    <a:pt x="840" y="144"/>
                  </a:lnTo>
                  <a:lnTo>
                    <a:pt x="846" y="150"/>
                  </a:lnTo>
                  <a:lnTo>
                    <a:pt x="858" y="150"/>
                  </a:lnTo>
                  <a:lnTo>
                    <a:pt x="864" y="162"/>
                  </a:lnTo>
                  <a:lnTo>
                    <a:pt x="870" y="162"/>
                  </a:lnTo>
                  <a:lnTo>
                    <a:pt x="876" y="168"/>
                  </a:lnTo>
                  <a:lnTo>
                    <a:pt x="888" y="168"/>
                  </a:lnTo>
                  <a:lnTo>
                    <a:pt x="894" y="174"/>
                  </a:lnTo>
                  <a:lnTo>
                    <a:pt x="900" y="174"/>
                  </a:lnTo>
                  <a:lnTo>
                    <a:pt x="918" y="174"/>
                  </a:lnTo>
                  <a:lnTo>
                    <a:pt x="924" y="174"/>
                  </a:lnTo>
                  <a:lnTo>
                    <a:pt x="930" y="174"/>
                  </a:lnTo>
                  <a:lnTo>
                    <a:pt x="942" y="174"/>
                  </a:lnTo>
                  <a:lnTo>
                    <a:pt x="954" y="174"/>
                  </a:lnTo>
                  <a:lnTo>
                    <a:pt x="960" y="174"/>
                  </a:lnTo>
                  <a:lnTo>
                    <a:pt x="966" y="174"/>
                  </a:lnTo>
                  <a:lnTo>
                    <a:pt x="966" y="168"/>
                  </a:lnTo>
                  <a:lnTo>
                    <a:pt x="972" y="162"/>
                  </a:lnTo>
                  <a:lnTo>
                    <a:pt x="972" y="156"/>
                  </a:lnTo>
                  <a:close/>
                  <a:moveTo>
                    <a:pt x="942" y="174"/>
                  </a:moveTo>
                  <a:lnTo>
                    <a:pt x="936" y="174"/>
                  </a:lnTo>
                  <a:lnTo>
                    <a:pt x="936" y="168"/>
                  </a:lnTo>
                  <a:lnTo>
                    <a:pt x="936" y="162"/>
                  </a:lnTo>
                  <a:lnTo>
                    <a:pt x="948" y="162"/>
                  </a:lnTo>
                  <a:lnTo>
                    <a:pt x="948" y="156"/>
                  </a:lnTo>
                  <a:lnTo>
                    <a:pt x="954" y="156"/>
                  </a:lnTo>
                  <a:lnTo>
                    <a:pt x="960" y="156"/>
                  </a:lnTo>
                  <a:lnTo>
                    <a:pt x="966" y="156"/>
                  </a:lnTo>
                  <a:lnTo>
                    <a:pt x="966" y="162"/>
                  </a:lnTo>
                  <a:lnTo>
                    <a:pt x="960" y="168"/>
                  </a:lnTo>
                  <a:lnTo>
                    <a:pt x="942" y="174"/>
                  </a:lnTo>
                  <a:close/>
                  <a:moveTo>
                    <a:pt x="900" y="168"/>
                  </a:moveTo>
                  <a:lnTo>
                    <a:pt x="894" y="168"/>
                  </a:lnTo>
                  <a:lnTo>
                    <a:pt x="882" y="156"/>
                  </a:lnTo>
                  <a:lnTo>
                    <a:pt x="882" y="150"/>
                  </a:lnTo>
                  <a:lnTo>
                    <a:pt x="888" y="156"/>
                  </a:lnTo>
                  <a:lnTo>
                    <a:pt x="894" y="150"/>
                  </a:lnTo>
                  <a:lnTo>
                    <a:pt x="900" y="150"/>
                  </a:lnTo>
                  <a:lnTo>
                    <a:pt x="906" y="150"/>
                  </a:lnTo>
                  <a:lnTo>
                    <a:pt x="912" y="150"/>
                  </a:lnTo>
                  <a:lnTo>
                    <a:pt x="924" y="150"/>
                  </a:lnTo>
                  <a:lnTo>
                    <a:pt x="924" y="156"/>
                  </a:lnTo>
                  <a:lnTo>
                    <a:pt x="924" y="162"/>
                  </a:lnTo>
                  <a:lnTo>
                    <a:pt x="924" y="168"/>
                  </a:lnTo>
                  <a:lnTo>
                    <a:pt x="918" y="168"/>
                  </a:lnTo>
                  <a:lnTo>
                    <a:pt x="906" y="168"/>
                  </a:lnTo>
                  <a:lnTo>
                    <a:pt x="900" y="168"/>
                  </a:lnTo>
                  <a:close/>
                  <a:moveTo>
                    <a:pt x="870" y="162"/>
                  </a:moveTo>
                  <a:lnTo>
                    <a:pt x="876" y="162"/>
                  </a:lnTo>
                  <a:lnTo>
                    <a:pt x="876" y="168"/>
                  </a:lnTo>
                  <a:lnTo>
                    <a:pt x="870" y="168"/>
                  </a:lnTo>
                  <a:lnTo>
                    <a:pt x="870" y="162"/>
                  </a:lnTo>
                  <a:close/>
                  <a:moveTo>
                    <a:pt x="450" y="162"/>
                  </a:moveTo>
                  <a:lnTo>
                    <a:pt x="444" y="162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2" y="150"/>
                  </a:lnTo>
                  <a:lnTo>
                    <a:pt x="438" y="150"/>
                  </a:lnTo>
                  <a:lnTo>
                    <a:pt x="438" y="144"/>
                  </a:lnTo>
                  <a:lnTo>
                    <a:pt x="438" y="150"/>
                  </a:lnTo>
                  <a:lnTo>
                    <a:pt x="444" y="150"/>
                  </a:lnTo>
                  <a:lnTo>
                    <a:pt x="450" y="150"/>
                  </a:lnTo>
                  <a:lnTo>
                    <a:pt x="450" y="156"/>
                  </a:lnTo>
                  <a:lnTo>
                    <a:pt x="456" y="156"/>
                  </a:lnTo>
                  <a:lnTo>
                    <a:pt x="456" y="150"/>
                  </a:lnTo>
                  <a:lnTo>
                    <a:pt x="456" y="156"/>
                  </a:lnTo>
                  <a:lnTo>
                    <a:pt x="462" y="150"/>
                  </a:lnTo>
                  <a:lnTo>
                    <a:pt x="462" y="144"/>
                  </a:lnTo>
                  <a:lnTo>
                    <a:pt x="468" y="144"/>
                  </a:lnTo>
                  <a:lnTo>
                    <a:pt x="468" y="150"/>
                  </a:lnTo>
                  <a:lnTo>
                    <a:pt x="474" y="150"/>
                  </a:lnTo>
                  <a:lnTo>
                    <a:pt x="480" y="150"/>
                  </a:lnTo>
                  <a:lnTo>
                    <a:pt x="480" y="156"/>
                  </a:lnTo>
                  <a:lnTo>
                    <a:pt x="480" y="162"/>
                  </a:lnTo>
                  <a:lnTo>
                    <a:pt x="474" y="162"/>
                  </a:lnTo>
                  <a:lnTo>
                    <a:pt x="474" y="168"/>
                  </a:lnTo>
                  <a:lnTo>
                    <a:pt x="474" y="162"/>
                  </a:lnTo>
                  <a:lnTo>
                    <a:pt x="468" y="162"/>
                  </a:lnTo>
                  <a:lnTo>
                    <a:pt x="462" y="162"/>
                  </a:lnTo>
                  <a:lnTo>
                    <a:pt x="456" y="162"/>
                  </a:lnTo>
                  <a:lnTo>
                    <a:pt x="450" y="16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6" name="Freeform 31">
              <a:extLst>
                <a:ext uri="{FF2B5EF4-FFF2-40B4-BE49-F238E27FC236}">
                  <a16:creationId xmlns:a16="http://schemas.microsoft.com/office/drawing/2014/main" id="{0989F057-38E8-4AA5-8B73-27F6355E235C}"/>
                </a:ext>
              </a:extLst>
            </p:cNvPr>
            <p:cNvSpPr>
              <a:spLocks/>
            </p:cNvSpPr>
            <p:nvPr/>
          </p:nvSpPr>
          <p:spPr bwMode="gray">
            <a:xfrm>
              <a:off x="792590" y="2728084"/>
              <a:ext cx="1182944" cy="740282"/>
            </a:xfrm>
            <a:custGeom>
              <a:avLst/>
              <a:gdLst>
                <a:gd name="T0" fmla="*/ 138 w 2226"/>
                <a:gd name="T1" fmla="*/ 121 h 1392"/>
                <a:gd name="T2" fmla="*/ 133 w 2226"/>
                <a:gd name="T3" fmla="*/ 119 h 1392"/>
                <a:gd name="T4" fmla="*/ 128 w 2226"/>
                <a:gd name="T5" fmla="*/ 117 h 1392"/>
                <a:gd name="T6" fmla="*/ 119 w 2226"/>
                <a:gd name="T7" fmla="*/ 116 h 1392"/>
                <a:gd name="T8" fmla="*/ 101 w 2226"/>
                <a:gd name="T9" fmla="*/ 116 h 1392"/>
                <a:gd name="T10" fmla="*/ 94 w 2226"/>
                <a:gd name="T11" fmla="*/ 104 h 1392"/>
                <a:gd name="T12" fmla="*/ 82 w 2226"/>
                <a:gd name="T13" fmla="*/ 83 h 1392"/>
                <a:gd name="T14" fmla="*/ 87 w 2226"/>
                <a:gd name="T15" fmla="*/ 69 h 1392"/>
                <a:gd name="T16" fmla="*/ 82 w 2226"/>
                <a:gd name="T17" fmla="*/ 65 h 1392"/>
                <a:gd name="T18" fmla="*/ 59 w 2226"/>
                <a:gd name="T19" fmla="*/ 57 h 1392"/>
                <a:gd name="T20" fmla="*/ 29 w 2226"/>
                <a:gd name="T21" fmla="*/ 77 h 1392"/>
                <a:gd name="T22" fmla="*/ 20 w 2226"/>
                <a:gd name="T23" fmla="*/ 78 h 1392"/>
                <a:gd name="T24" fmla="*/ 15 w 2226"/>
                <a:gd name="T25" fmla="*/ 82 h 1392"/>
                <a:gd name="T26" fmla="*/ 8 w 2226"/>
                <a:gd name="T27" fmla="*/ 86 h 1392"/>
                <a:gd name="T28" fmla="*/ 1 w 2226"/>
                <a:gd name="T29" fmla="*/ 88 h 1392"/>
                <a:gd name="T30" fmla="*/ 0 w 2226"/>
                <a:gd name="T31" fmla="*/ 82 h 1392"/>
                <a:gd name="T32" fmla="*/ 0 w 2226"/>
                <a:gd name="T33" fmla="*/ 76 h 1392"/>
                <a:gd name="T34" fmla="*/ 2 w 2226"/>
                <a:gd name="T35" fmla="*/ 70 h 1392"/>
                <a:gd name="T36" fmla="*/ 3 w 2226"/>
                <a:gd name="T37" fmla="*/ 65 h 1392"/>
                <a:gd name="T38" fmla="*/ 2 w 2226"/>
                <a:gd name="T39" fmla="*/ 63 h 1392"/>
                <a:gd name="T40" fmla="*/ 9 w 2226"/>
                <a:gd name="T41" fmla="*/ 60 h 1392"/>
                <a:gd name="T42" fmla="*/ 17 w 2226"/>
                <a:gd name="T43" fmla="*/ 59 h 1392"/>
                <a:gd name="T44" fmla="*/ 22 w 2226"/>
                <a:gd name="T45" fmla="*/ 51 h 1392"/>
                <a:gd name="T46" fmla="*/ 23 w 2226"/>
                <a:gd name="T47" fmla="*/ 43 h 1392"/>
                <a:gd name="T48" fmla="*/ 27 w 2226"/>
                <a:gd name="T49" fmla="*/ 34 h 1392"/>
                <a:gd name="T50" fmla="*/ 30 w 2226"/>
                <a:gd name="T51" fmla="*/ 27 h 1392"/>
                <a:gd name="T52" fmla="*/ 33 w 2226"/>
                <a:gd name="T53" fmla="*/ 22 h 1392"/>
                <a:gd name="T54" fmla="*/ 42 w 2226"/>
                <a:gd name="T55" fmla="*/ 17 h 1392"/>
                <a:gd name="T56" fmla="*/ 47 w 2226"/>
                <a:gd name="T57" fmla="*/ 14 h 1392"/>
                <a:gd name="T58" fmla="*/ 49 w 2226"/>
                <a:gd name="T59" fmla="*/ 5 h 1392"/>
                <a:gd name="T60" fmla="*/ 53 w 2226"/>
                <a:gd name="T61" fmla="*/ 0 h 1392"/>
                <a:gd name="T62" fmla="*/ 55 w 2226"/>
                <a:gd name="T63" fmla="*/ 4 h 1392"/>
                <a:gd name="T64" fmla="*/ 59 w 2226"/>
                <a:gd name="T65" fmla="*/ 7 h 1392"/>
                <a:gd name="T66" fmla="*/ 63 w 2226"/>
                <a:gd name="T67" fmla="*/ 7 h 1392"/>
                <a:gd name="T68" fmla="*/ 66 w 2226"/>
                <a:gd name="T69" fmla="*/ 9 h 1392"/>
                <a:gd name="T70" fmla="*/ 67 w 2226"/>
                <a:gd name="T71" fmla="*/ 12 h 1392"/>
                <a:gd name="T72" fmla="*/ 67 w 2226"/>
                <a:gd name="T73" fmla="*/ 13 h 1392"/>
                <a:gd name="T74" fmla="*/ 70 w 2226"/>
                <a:gd name="T75" fmla="*/ 15 h 1392"/>
                <a:gd name="T76" fmla="*/ 74 w 2226"/>
                <a:gd name="T77" fmla="*/ 17 h 1392"/>
                <a:gd name="T78" fmla="*/ 78 w 2226"/>
                <a:gd name="T79" fmla="*/ 18 h 1392"/>
                <a:gd name="T80" fmla="*/ 97 w 2226"/>
                <a:gd name="T81" fmla="*/ 40 h 1392"/>
                <a:gd name="T82" fmla="*/ 102 w 2226"/>
                <a:gd name="T83" fmla="*/ 44 h 1392"/>
                <a:gd name="T84" fmla="*/ 110 w 2226"/>
                <a:gd name="T85" fmla="*/ 49 h 1392"/>
                <a:gd name="T86" fmla="*/ 113 w 2226"/>
                <a:gd name="T87" fmla="*/ 53 h 1392"/>
                <a:gd name="T88" fmla="*/ 118 w 2226"/>
                <a:gd name="T89" fmla="*/ 57 h 1392"/>
                <a:gd name="T90" fmla="*/ 124 w 2226"/>
                <a:gd name="T91" fmla="*/ 54 h 1392"/>
                <a:gd name="T92" fmla="*/ 133 w 2226"/>
                <a:gd name="T93" fmla="*/ 58 h 1392"/>
                <a:gd name="T94" fmla="*/ 137 w 2226"/>
                <a:gd name="T95" fmla="*/ 64 h 1392"/>
                <a:gd name="T96" fmla="*/ 145 w 2226"/>
                <a:gd name="T97" fmla="*/ 65 h 1392"/>
                <a:gd name="T98" fmla="*/ 152 w 2226"/>
                <a:gd name="T99" fmla="*/ 67 h 1392"/>
                <a:gd name="T100" fmla="*/ 161 w 2226"/>
                <a:gd name="T101" fmla="*/ 72 h 1392"/>
                <a:gd name="T102" fmla="*/ 168 w 2226"/>
                <a:gd name="T103" fmla="*/ 76 h 1392"/>
                <a:gd name="T104" fmla="*/ 177 w 2226"/>
                <a:gd name="T105" fmla="*/ 78 h 1392"/>
                <a:gd name="T106" fmla="*/ 184 w 2226"/>
                <a:gd name="T107" fmla="*/ 78 h 1392"/>
                <a:gd name="T108" fmla="*/ 190 w 2226"/>
                <a:gd name="T109" fmla="*/ 81 h 1392"/>
                <a:gd name="T110" fmla="*/ 192 w 2226"/>
                <a:gd name="T111" fmla="*/ 86 h 1392"/>
                <a:gd name="T112" fmla="*/ 187 w 2226"/>
                <a:gd name="T113" fmla="*/ 99 h 1392"/>
                <a:gd name="T114" fmla="*/ 165 w 2226"/>
                <a:gd name="T115" fmla="*/ 97 h 1392"/>
                <a:gd name="T116" fmla="*/ 155 w 2226"/>
                <a:gd name="T117" fmla="*/ 92 h 1392"/>
                <a:gd name="T118" fmla="*/ 146 w 2226"/>
                <a:gd name="T119" fmla="*/ 102 h 1392"/>
                <a:gd name="T120" fmla="*/ 149 w 2226"/>
                <a:gd name="T121" fmla="*/ 106 h 1392"/>
                <a:gd name="T122" fmla="*/ 151 w 2226"/>
                <a:gd name="T123" fmla="*/ 108 h 1392"/>
                <a:gd name="T124" fmla="*/ 157 w 2226"/>
                <a:gd name="T125" fmla="*/ 113 h 13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1392"/>
                <a:gd name="T191" fmla="*/ 2226 w 2226"/>
                <a:gd name="T192" fmla="*/ 1392 h 13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1392">
                  <a:moveTo>
                    <a:pt x="1782" y="1326"/>
                  </a:moveTo>
                  <a:lnTo>
                    <a:pt x="1776" y="1332"/>
                  </a:lnTo>
                  <a:lnTo>
                    <a:pt x="1692" y="1338"/>
                  </a:lnTo>
                  <a:lnTo>
                    <a:pt x="1680" y="1386"/>
                  </a:lnTo>
                  <a:lnTo>
                    <a:pt x="1674" y="1392"/>
                  </a:lnTo>
                  <a:lnTo>
                    <a:pt x="1638" y="1392"/>
                  </a:lnTo>
                  <a:lnTo>
                    <a:pt x="1620" y="1392"/>
                  </a:lnTo>
                  <a:lnTo>
                    <a:pt x="1614" y="1392"/>
                  </a:lnTo>
                  <a:lnTo>
                    <a:pt x="1608" y="1386"/>
                  </a:lnTo>
                  <a:lnTo>
                    <a:pt x="1584" y="1386"/>
                  </a:lnTo>
                  <a:lnTo>
                    <a:pt x="1578" y="1386"/>
                  </a:lnTo>
                  <a:lnTo>
                    <a:pt x="1572" y="1380"/>
                  </a:lnTo>
                  <a:lnTo>
                    <a:pt x="1578" y="1356"/>
                  </a:lnTo>
                  <a:lnTo>
                    <a:pt x="1572" y="1356"/>
                  </a:lnTo>
                  <a:lnTo>
                    <a:pt x="1560" y="1350"/>
                  </a:lnTo>
                  <a:lnTo>
                    <a:pt x="1554" y="1350"/>
                  </a:lnTo>
                  <a:lnTo>
                    <a:pt x="1542" y="1350"/>
                  </a:lnTo>
                  <a:lnTo>
                    <a:pt x="1530" y="1350"/>
                  </a:lnTo>
                  <a:lnTo>
                    <a:pt x="1524" y="1356"/>
                  </a:lnTo>
                  <a:lnTo>
                    <a:pt x="1524" y="1362"/>
                  </a:lnTo>
                  <a:lnTo>
                    <a:pt x="1512" y="1374"/>
                  </a:lnTo>
                  <a:lnTo>
                    <a:pt x="1506" y="1374"/>
                  </a:lnTo>
                  <a:lnTo>
                    <a:pt x="1500" y="1368"/>
                  </a:lnTo>
                  <a:lnTo>
                    <a:pt x="1500" y="1362"/>
                  </a:lnTo>
                  <a:lnTo>
                    <a:pt x="1488" y="1362"/>
                  </a:lnTo>
                  <a:lnTo>
                    <a:pt x="1482" y="1356"/>
                  </a:lnTo>
                  <a:lnTo>
                    <a:pt x="1482" y="1350"/>
                  </a:lnTo>
                  <a:lnTo>
                    <a:pt x="1476" y="1350"/>
                  </a:lnTo>
                  <a:lnTo>
                    <a:pt x="1470" y="1344"/>
                  </a:lnTo>
                  <a:lnTo>
                    <a:pt x="1464" y="1344"/>
                  </a:lnTo>
                  <a:lnTo>
                    <a:pt x="1452" y="1350"/>
                  </a:lnTo>
                  <a:lnTo>
                    <a:pt x="1452" y="1356"/>
                  </a:lnTo>
                  <a:lnTo>
                    <a:pt x="1440" y="1356"/>
                  </a:lnTo>
                  <a:lnTo>
                    <a:pt x="1434" y="1344"/>
                  </a:lnTo>
                  <a:lnTo>
                    <a:pt x="1422" y="1332"/>
                  </a:lnTo>
                  <a:lnTo>
                    <a:pt x="1416" y="1326"/>
                  </a:lnTo>
                  <a:lnTo>
                    <a:pt x="1404" y="1320"/>
                  </a:lnTo>
                  <a:lnTo>
                    <a:pt x="1404" y="1314"/>
                  </a:lnTo>
                  <a:lnTo>
                    <a:pt x="1374" y="1308"/>
                  </a:lnTo>
                  <a:lnTo>
                    <a:pt x="1368" y="1326"/>
                  </a:lnTo>
                  <a:lnTo>
                    <a:pt x="1344" y="1338"/>
                  </a:lnTo>
                  <a:lnTo>
                    <a:pt x="1326" y="1332"/>
                  </a:lnTo>
                  <a:lnTo>
                    <a:pt x="1302" y="1332"/>
                  </a:lnTo>
                  <a:lnTo>
                    <a:pt x="1278" y="1338"/>
                  </a:lnTo>
                  <a:lnTo>
                    <a:pt x="1236" y="1338"/>
                  </a:lnTo>
                  <a:lnTo>
                    <a:pt x="1224" y="1338"/>
                  </a:lnTo>
                  <a:lnTo>
                    <a:pt x="1224" y="1326"/>
                  </a:lnTo>
                  <a:lnTo>
                    <a:pt x="1206" y="1326"/>
                  </a:lnTo>
                  <a:lnTo>
                    <a:pt x="1170" y="1326"/>
                  </a:lnTo>
                  <a:lnTo>
                    <a:pt x="1152" y="1326"/>
                  </a:lnTo>
                  <a:lnTo>
                    <a:pt x="1140" y="1314"/>
                  </a:lnTo>
                  <a:lnTo>
                    <a:pt x="1134" y="1296"/>
                  </a:lnTo>
                  <a:lnTo>
                    <a:pt x="1134" y="1284"/>
                  </a:lnTo>
                  <a:lnTo>
                    <a:pt x="1128" y="1254"/>
                  </a:lnTo>
                  <a:lnTo>
                    <a:pt x="1128" y="1242"/>
                  </a:lnTo>
                  <a:lnTo>
                    <a:pt x="1122" y="1230"/>
                  </a:lnTo>
                  <a:lnTo>
                    <a:pt x="1104" y="1218"/>
                  </a:lnTo>
                  <a:lnTo>
                    <a:pt x="1104" y="1212"/>
                  </a:lnTo>
                  <a:lnTo>
                    <a:pt x="1092" y="1206"/>
                  </a:lnTo>
                  <a:lnTo>
                    <a:pt x="1080" y="1194"/>
                  </a:lnTo>
                  <a:lnTo>
                    <a:pt x="1068" y="1176"/>
                  </a:lnTo>
                  <a:lnTo>
                    <a:pt x="1050" y="1152"/>
                  </a:lnTo>
                  <a:lnTo>
                    <a:pt x="1020" y="1098"/>
                  </a:lnTo>
                  <a:lnTo>
                    <a:pt x="978" y="1026"/>
                  </a:lnTo>
                  <a:lnTo>
                    <a:pt x="978" y="1014"/>
                  </a:lnTo>
                  <a:lnTo>
                    <a:pt x="972" y="1014"/>
                  </a:lnTo>
                  <a:lnTo>
                    <a:pt x="972" y="1008"/>
                  </a:lnTo>
                  <a:lnTo>
                    <a:pt x="978" y="1002"/>
                  </a:lnTo>
                  <a:lnTo>
                    <a:pt x="960" y="966"/>
                  </a:lnTo>
                  <a:lnTo>
                    <a:pt x="948" y="954"/>
                  </a:lnTo>
                  <a:lnTo>
                    <a:pt x="948" y="936"/>
                  </a:lnTo>
                  <a:lnTo>
                    <a:pt x="936" y="900"/>
                  </a:lnTo>
                  <a:lnTo>
                    <a:pt x="942" y="876"/>
                  </a:lnTo>
                  <a:lnTo>
                    <a:pt x="942" y="834"/>
                  </a:lnTo>
                  <a:lnTo>
                    <a:pt x="960" y="828"/>
                  </a:lnTo>
                  <a:lnTo>
                    <a:pt x="966" y="816"/>
                  </a:lnTo>
                  <a:lnTo>
                    <a:pt x="972" y="810"/>
                  </a:lnTo>
                  <a:lnTo>
                    <a:pt x="978" y="804"/>
                  </a:lnTo>
                  <a:lnTo>
                    <a:pt x="996" y="798"/>
                  </a:lnTo>
                  <a:lnTo>
                    <a:pt x="996" y="792"/>
                  </a:lnTo>
                  <a:lnTo>
                    <a:pt x="1014" y="780"/>
                  </a:lnTo>
                  <a:lnTo>
                    <a:pt x="1026" y="768"/>
                  </a:lnTo>
                  <a:lnTo>
                    <a:pt x="1032" y="762"/>
                  </a:lnTo>
                  <a:lnTo>
                    <a:pt x="1026" y="756"/>
                  </a:lnTo>
                  <a:lnTo>
                    <a:pt x="1014" y="744"/>
                  </a:lnTo>
                  <a:lnTo>
                    <a:pt x="996" y="756"/>
                  </a:lnTo>
                  <a:lnTo>
                    <a:pt x="954" y="768"/>
                  </a:lnTo>
                  <a:lnTo>
                    <a:pt x="942" y="762"/>
                  </a:lnTo>
                  <a:lnTo>
                    <a:pt x="942" y="756"/>
                  </a:lnTo>
                  <a:lnTo>
                    <a:pt x="936" y="750"/>
                  </a:lnTo>
                  <a:lnTo>
                    <a:pt x="846" y="732"/>
                  </a:lnTo>
                  <a:lnTo>
                    <a:pt x="822" y="726"/>
                  </a:lnTo>
                  <a:lnTo>
                    <a:pt x="810" y="714"/>
                  </a:lnTo>
                  <a:lnTo>
                    <a:pt x="792" y="690"/>
                  </a:lnTo>
                  <a:lnTo>
                    <a:pt x="792" y="678"/>
                  </a:lnTo>
                  <a:lnTo>
                    <a:pt x="762" y="642"/>
                  </a:lnTo>
                  <a:lnTo>
                    <a:pt x="750" y="636"/>
                  </a:lnTo>
                  <a:lnTo>
                    <a:pt x="726" y="630"/>
                  </a:lnTo>
                  <a:lnTo>
                    <a:pt x="696" y="642"/>
                  </a:lnTo>
                  <a:lnTo>
                    <a:pt x="678" y="654"/>
                  </a:lnTo>
                  <a:lnTo>
                    <a:pt x="666" y="684"/>
                  </a:lnTo>
                  <a:lnTo>
                    <a:pt x="660" y="726"/>
                  </a:lnTo>
                  <a:lnTo>
                    <a:pt x="606" y="756"/>
                  </a:lnTo>
                  <a:lnTo>
                    <a:pt x="558" y="780"/>
                  </a:lnTo>
                  <a:lnTo>
                    <a:pt x="438" y="834"/>
                  </a:lnTo>
                  <a:lnTo>
                    <a:pt x="402" y="846"/>
                  </a:lnTo>
                  <a:lnTo>
                    <a:pt x="372" y="870"/>
                  </a:lnTo>
                  <a:lnTo>
                    <a:pt x="360" y="876"/>
                  </a:lnTo>
                  <a:lnTo>
                    <a:pt x="354" y="876"/>
                  </a:lnTo>
                  <a:lnTo>
                    <a:pt x="330" y="882"/>
                  </a:lnTo>
                  <a:lnTo>
                    <a:pt x="306" y="882"/>
                  </a:lnTo>
                  <a:lnTo>
                    <a:pt x="300" y="876"/>
                  </a:lnTo>
                  <a:lnTo>
                    <a:pt x="294" y="876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76" y="864"/>
                  </a:lnTo>
                  <a:lnTo>
                    <a:pt x="270" y="870"/>
                  </a:lnTo>
                  <a:lnTo>
                    <a:pt x="264" y="870"/>
                  </a:lnTo>
                  <a:lnTo>
                    <a:pt x="240" y="894"/>
                  </a:lnTo>
                  <a:lnTo>
                    <a:pt x="234" y="894"/>
                  </a:lnTo>
                  <a:lnTo>
                    <a:pt x="228" y="900"/>
                  </a:lnTo>
                  <a:lnTo>
                    <a:pt x="222" y="906"/>
                  </a:lnTo>
                  <a:lnTo>
                    <a:pt x="210" y="912"/>
                  </a:lnTo>
                  <a:lnTo>
                    <a:pt x="204" y="912"/>
                  </a:lnTo>
                  <a:lnTo>
                    <a:pt x="198" y="912"/>
                  </a:lnTo>
                  <a:lnTo>
                    <a:pt x="192" y="918"/>
                  </a:lnTo>
                  <a:lnTo>
                    <a:pt x="180" y="918"/>
                  </a:lnTo>
                  <a:lnTo>
                    <a:pt x="174" y="930"/>
                  </a:lnTo>
                  <a:lnTo>
                    <a:pt x="174" y="936"/>
                  </a:lnTo>
                  <a:lnTo>
                    <a:pt x="168" y="942"/>
                  </a:lnTo>
                  <a:lnTo>
                    <a:pt x="162" y="942"/>
                  </a:lnTo>
                  <a:lnTo>
                    <a:pt x="150" y="960"/>
                  </a:lnTo>
                  <a:lnTo>
                    <a:pt x="144" y="966"/>
                  </a:lnTo>
                  <a:lnTo>
                    <a:pt x="138" y="972"/>
                  </a:lnTo>
                  <a:lnTo>
                    <a:pt x="132" y="972"/>
                  </a:lnTo>
                  <a:lnTo>
                    <a:pt x="126" y="984"/>
                  </a:lnTo>
                  <a:lnTo>
                    <a:pt x="120" y="984"/>
                  </a:lnTo>
                  <a:lnTo>
                    <a:pt x="114" y="990"/>
                  </a:lnTo>
                  <a:lnTo>
                    <a:pt x="96" y="990"/>
                  </a:lnTo>
                  <a:lnTo>
                    <a:pt x="90" y="990"/>
                  </a:lnTo>
                  <a:lnTo>
                    <a:pt x="78" y="990"/>
                  </a:lnTo>
                  <a:lnTo>
                    <a:pt x="72" y="990"/>
                  </a:lnTo>
                  <a:lnTo>
                    <a:pt x="60" y="990"/>
                  </a:lnTo>
                  <a:lnTo>
                    <a:pt x="42" y="990"/>
                  </a:lnTo>
                  <a:lnTo>
                    <a:pt x="36" y="996"/>
                  </a:lnTo>
                  <a:lnTo>
                    <a:pt x="30" y="1002"/>
                  </a:lnTo>
                  <a:lnTo>
                    <a:pt x="24" y="1014"/>
                  </a:lnTo>
                  <a:lnTo>
                    <a:pt x="24" y="1020"/>
                  </a:lnTo>
                  <a:lnTo>
                    <a:pt x="18" y="1020"/>
                  </a:lnTo>
                  <a:lnTo>
                    <a:pt x="12" y="1014"/>
                  </a:lnTo>
                  <a:lnTo>
                    <a:pt x="12" y="1008"/>
                  </a:lnTo>
                  <a:lnTo>
                    <a:pt x="12" y="990"/>
                  </a:lnTo>
                  <a:lnTo>
                    <a:pt x="12" y="984"/>
                  </a:lnTo>
                  <a:lnTo>
                    <a:pt x="12" y="972"/>
                  </a:lnTo>
                  <a:lnTo>
                    <a:pt x="12" y="966"/>
                  </a:lnTo>
                  <a:lnTo>
                    <a:pt x="6" y="966"/>
                  </a:lnTo>
                  <a:lnTo>
                    <a:pt x="6" y="960"/>
                  </a:lnTo>
                  <a:lnTo>
                    <a:pt x="6" y="954"/>
                  </a:lnTo>
                  <a:lnTo>
                    <a:pt x="6" y="948"/>
                  </a:lnTo>
                  <a:lnTo>
                    <a:pt x="6" y="942"/>
                  </a:lnTo>
                  <a:lnTo>
                    <a:pt x="12" y="930"/>
                  </a:lnTo>
                  <a:lnTo>
                    <a:pt x="6" y="924"/>
                  </a:lnTo>
                  <a:lnTo>
                    <a:pt x="6" y="918"/>
                  </a:lnTo>
                  <a:lnTo>
                    <a:pt x="6" y="912"/>
                  </a:lnTo>
                  <a:lnTo>
                    <a:pt x="6" y="906"/>
                  </a:lnTo>
                  <a:lnTo>
                    <a:pt x="6" y="900"/>
                  </a:lnTo>
                  <a:lnTo>
                    <a:pt x="0" y="894"/>
                  </a:lnTo>
                  <a:lnTo>
                    <a:pt x="0" y="888"/>
                  </a:lnTo>
                  <a:lnTo>
                    <a:pt x="0" y="882"/>
                  </a:lnTo>
                  <a:lnTo>
                    <a:pt x="6" y="876"/>
                  </a:lnTo>
                  <a:lnTo>
                    <a:pt x="6" y="870"/>
                  </a:lnTo>
                  <a:lnTo>
                    <a:pt x="18" y="864"/>
                  </a:lnTo>
                  <a:lnTo>
                    <a:pt x="18" y="858"/>
                  </a:lnTo>
                  <a:lnTo>
                    <a:pt x="18" y="846"/>
                  </a:lnTo>
                  <a:lnTo>
                    <a:pt x="18" y="834"/>
                  </a:lnTo>
                  <a:lnTo>
                    <a:pt x="18" y="828"/>
                  </a:lnTo>
                  <a:lnTo>
                    <a:pt x="24" y="828"/>
                  </a:lnTo>
                  <a:lnTo>
                    <a:pt x="24" y="810"/>
                  </a:lnTo>
                  <a:lnTo>
                    <a:pt x="24" y="804"/>
                  </a:lnTo>
                  <a:lnTo>
                    <a:pt x="18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24" y="792"/>
                  </a:lnTo>
                  <a:lnTo>
                    <a:pt x="30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6" y="762"/>
                  </a:lnTo>
                  <a:lnTo>
                    <a:pt x="36" y="756"/>
                  </a:lnTo>
                  <a:lnTo>
                    <a:pt x="30" y="756"/>
                  </a:lnTo>
                  <a:lnTo>
                    <a:pt x="30" y="750"/>
                  </a:lnTo>
                  <a:lnTo>
                    <a:pt x="36" y="750"/>
                  </a:lnTo>
                  <a:lnTo>
                    <a:pt x="36" y="744"/>
                  </a:lnTo>
                  <a:lnTo>
                    <a:pt x="30" y="744"/>
                  </a:lnTo>
                  <a:lnTo>
                    <a:pt x="30" y="738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0" y="732"/>
                  </a:lnTo>
                  <a:lnTo>
                    <a:pt x="36" y="726"/>
                  </a:lnTo>
                  <a:lnTo>
                    <a:pt x="30" y="726"/>
                  </a:lnTo>
                  <a:lnTo>
                    <a:pt x="24" y="726"/>
                  </a:lnTo>
                  <a:lnTo>
                    <a:pt x="30" y="720"/>
                  </a:lnTo>
                  <a:lnTo>
                    <a:pt x="30" y="714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696"/>
                  </a:lnTo>
                  <a:lnTo>
                    <a:pt x="66" y="702"/>
                  </a:lnTo>
                  <a:lnTo>
                    <a:pt x="78" y="702"/>
                  </a:lnTo>
                  <a:lnTo>
                    <a:pt x="84" y="702"/>
                  </a:lnTo>
                  <a:lnTo>
                    <a:pt x="96" y="696"/>
                  </a:lnTo>
                  <a:lnTo>
                    <a:pt x="102" y="690"/>
                  </a:lnTo>
                  <a:lnTo>
                    <a:pt x="102" y="684"/>
                  </a:lnTo>
                  <a:lnTo>
                    <a:pt x="114" y="684"/>
                  </a:lnTo>
                  <a:lnTo>
                    <a:pt x="144" y="684"/>
                  </a:lnTo>
                  <a:lnTo>
                    <a:pt x="150" y="690"/>
                  </a:lnTo>
                  <a:lnTo>
                    <a:pt x="162" y="696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6" y="690"/>
                  </a:lnTo>
                  <a:lnTo>
                    <a:pt x="192" y="690"/>
                  </a:lnTo>
                  <a:lnTo>
                    <a:pt x="198" y="684"/>
                  </a:lnTo>
                  <a:lnTo>
                    <a:pt x="204" y="684"/>
                  </a:lnTo>
                  <a:lnTo>
                    <a:pt x="210" y="684"/>
                  </a:lnTo>
                  <a:lnTo>
                    <a:pt x="222" y="678"/>
                  </a:lnTo>
                  <a:lnTo>
                    <a:pt x="228" y="678"/>
                  </a:lnTo>
                  <a:lnTo>
                    <a:pt x="228" y="660"/>
                  </a:lnTo>
                  <a:lnTo>
                    <a:pt x="234" y="642"/>
                  </a:lnTo>
                  <a:lnTo>
                    <a:pt x="246" y="618"/>
                  </a:lnTo>
                  <a:lnTo>
                    <a:pt x="252" y="618"/>
                  </a:lnTo>
                  <a:lnTo>
                    <a:pt x="252" y="600"/>
                  </a:lnTo>
                  <a:lnTo>
                    <a:pt x="252" y="588"/>
                  </a:lnTo>
                  <a:lnTo>
                    <a:pt x="252" y="582"/>
                  </a:lnTo>
                  <a:lnTo>
                    <a:pt x="258" y="576"/>
                  </a:lnTo>
                  <a:lnTo>
                    <a:pt x="270" y="564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70" y="522"/>
                  </a:lnTo>
                  <a:lnTo>
                    <a:pt x="270" y="510"/>
                  </a:lnTo>
                  <a:lnTo>
                    <a:pt x="270" y="498"/>
                  </a:lnTo>
                  <a:lnTo>
                    <a:pt x="258" y="468"/>
                  </a:lnTo>
                  <a:lnTo>
                    <a:pt x="252" y="456"/>
                  </a:lnTo>
                  <a:lnTo>
                    <a:pt x="258" y="444"/>
                  </a:lnTo>
                  <a:lnTo>
                    <a:pt x="264" y="432"/>
                  </a:lnTo>
                  <a:lnTo>
                    <a:pt x="270" y="426"/>
                  </a:lnTo>
                  <a:lnTo>
                    <a:pt x="276" y="420"/>
                  </a:lnTo>
                  <a:lnTo>
                    <a:pt x="288" y="420"/>
                  </a:lnTo>
                  <a:lnTo>
                    <a:pt x="288" y="414"/>
                  </a:lnTo>
                  <a:lnTo>
                    <a:pt x="294" y="414"/>
                  </a:lnTo>
                  <a:lnTo>
                    <a:pt x="306" y="390"/>
                  </a:lnTo>
                  <a:lnTo>
                    <a:pt x="312" y="384"/>
                  </a:lnTo>
                  <a:lnTo>
                    <a:pt x="318" y="378"/>
                  </a:lnTo>
                  <a:lnTo>
                    <a:pt x="318" y="372"/>
                  </a:lnTo>
                  <a:lnTo>
                    <a:pt x="324" y="366"/>
                  </a:lnTo>
                  <a:lnTo>
                    <a:pt x="330" y="354"/>
                  </a:lnTo>
                  <a:lnTo>
                    <a:pt x="336" y="348"/>
                  </a:lnTo>
                  <a:lnTo>
                    <a:pt x="336" y="330"/>
                  </a:lnTo>
                  <a:lnTo>
                    <a:pt x="342" y="324"/>
                  </a:lnTo>
                  <a:lnTo>
                    <a:pt x="342" y="318"/>
                  </a:lnTo>
                  <a:lnTo>
                    <a:pt x="348" y="318"/>
                  </a:lnTo>
                  <a:lnTo>
                    <a:pt x="360" y="318"/>
                  </a:lnTo>
                  <a:lnTo>
                    <a:pt x="372" y="318"/>
                  </a:lnTo>
                  <a:lnTo>
                    <a:pt x="384" y="306"/>
                  </a:lnTo>
                  <a:lnTo>
                    <a:pt x="396" y="300"/>
                  </a:lnTo>
                  <a:lnTo>
                    <a:pt x="396" y="294"/>
                  </a:lnTo>
                  <a:lnTo>
                    <a:pt x="396" y="288"/>
                  </a:lnTo>
                  <a:lnTo>
                    <a:pt x="390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2"/>
                  </a:lnTo>
                  <a:lnTo>
                    <a:pt x="378" y="246"/>
                  </a:lnTo>
                  <a:lnTo>
                    <a:pt x="384" y="228"/>
                  </a:lnTo>
                  <a:lnTo>
                    <a:pt x="390" y="216"/>
                  </a:lnTo>
                  <a:lnTo>
                    <a:pt x="402" y="210"/>
                  </a:lnTo>
                  <a:lnTo>
                    <a:pt x="408" y="210"/>
                  </a:lnTo>
                  <a:lnTo>
                    <a:pt x="420" y="204"/>
                  </a:lnTo>
                  <a:lnTo>
                    <a:pt x="444" y="198"/>
                  </a:lnTo>
                  <a:lnTo>
                    <a:pt x="462" y="192"/>
                  </a:lnTo>
                  <a:lnTo>
                    <a:pt x="474" y="186"/>
                  </a:lnTo>
                  <a:lnTo>
                    <a:pt x="480" y="192"/>
                  </a:lnTo>
                  <a:lnTo>
                    <a:pt x="492" y="192"/>
                  </a:lnTo>
                  <a:lnTo>
                    <a:pt x="498" y="192"/>
                  </a:lnTo>
                  <a:lnTo>
                    <a:pt x="504" y="192"/>
                  </a:lnTo>
                  <a:lnTo>
                    <a:pt x="510" y="192"/>
                  </a:lnTo>
                  <a:lnTo>
                    <a:pt x="516" y="186"/>
                  </a:lnTo>
                  <a:lnTo>
                    <a:pt x="522" y="180"/>
                  </a:lnTo>
                  <a:lnTo>
                    <a:pt x="522" y="174"/>
                  </a:lnTo>
                  <a:lnTo>
                    <a:pt x="528" y="168"/>
                  </a:lnTo>
                  <a:lnTo>
                    <a:pt x="534" y="168"/>
                  </a:lnTo>
                  <a:lnTo>
                    <a:pt x="534" y="156"/>
                  </a:lnTo>
                  <a:lnTo>
                    <a:pt x="534" y="150"/>
                  </a:lnTo>
                  <a:lnTo>
                    <a:pt x="552" y="138"/>
                  </a:lnTo>
                  <a:lnTo>
                    <a:pt x="558" y="126"/>
                  </a:lnTo>
                  <a:lnTo>
                    <a:pt x="558" y="114"/>
                  </a:lnTo>
                  <a:lnTo>
                    <a:pt x="564" y="102"/>
                  </a:lnTo>
                  <a:lnTo>
                    <a:pt x="564" y="96"/>
                  </a:lnTo>
                  <a:lnTo>
                    <a:pt x="564" y="90"/>
                  </a:lnTo>
                  <a:lnTo>
                    <a:pt x="564" y="72"/>
                  </a:lnTo>
                  <a:lnTo>
                    <a:pt x="564" y="60"/>
                  </a:lnTo>
                  <a:lnTo>
                    <a:pt x="564" y="54"/>
                  </a:lnTo>
                  <a:lnTo>
                    <a:pt x="570" y="42"/>
                  </a:lnTo>
                  <a:lnTo>
                    <a:pt x="576" y="42"/>
                  </a:lnTo>
                  <a:lnTo>
                    <a:pt x="582" y="36"/>
                  </a:lnTo>
                  <a:lnTo>
                    <a:pt x="594" y="36"/>
                  </a:lnTo>
                  <a:lnTo>
                    <a:pt x="594" y="30"/>
                  </a:lnTo>
                  <a:lnTo>
                    <a:pt x="600" y="24"/>
                  </a:lnTo>
                  <a:lnTo>
                    <a:pt x="600" y="12"/>
                  </a:lnTo>
                  <a:lnTo>
                    <a:pt x="606" y="6"/>
                  </a:lnTo>
                  <a:lnTo>
                    <a:pt x="606" y="0"/>
                  </a:lnTo>
                  <a:lnTo>
                    <a:pt x="612" y="0"/>
                  </a:lnTo>
                  <a:lnTo>
                    <a:pt x="618" y="0"/>
                  </a:lnTo>
                  <a:lnTo>
                    <a:pt x="624" y="6"/>
                  </a:lnTo>
                  <a:lnTo>
                    <a:pt x="624" y="12"/>
                  </a:lnTo>
                  <a:lnTo>
                    <a:pt x="624" y="18"/>
                  </a:lnTo>
                  <a:lnTo>
                    <a:pt x="624" y="24"/>
                  </a:lnTo>
                  <a:lnTo>
                    <a:pt x="624" y="30"/>
                  </a:lnTo>
                  <a:lnTo>
                    <a:pt x="630" y="30"/>
                  </a:lnTo>
                  <a:lnTo>
                    <a:pt x="630" y="36"/>
                  </a:lnTo>
                  <a:lnTo>
                    <a:pt x="630" y="42"/>
                  </a:lnTo>
                  <a:lnTo>
                    <a:pt x="630" y="48"/>
                  </a:lnTo>
                  <a:lnTo>
                    <a:pt x="636" y="54"/>
                  </a:lnTo>
                  <a:lnTo>
                    <a:pt x="642" y="48"/>
                  </a:lnTo>
                  <a:lnTo>
                    <a:pt x="648" y="48"/>
                  </a:lnTo>
                  <a:lnTo>
                    <a:pt x="648" y="60"/>
                  </a:lnTo>
                  <a:lnTo>
                    <a:pt x="654" y="66"/>
                  </a:lnTo>
                  <a:lnTo>
                    <a:pt x="660" y="72"/>
                  </a:lnTo>
                  <a:lnTo>
                    <a:pt x="666" y="72"/>
                  </a:lnTo>
                  <a:lnTo>
                    <a:pt x="666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72" y="66"/>
                  </a:lnTo>
                  <a:lnTo>
                    <a:pt x="678" y="66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6" y="66"/>
                  </a:lnTo>
                  <a:lnTo>
                    <a:pt x="696" y="72"/>
                  </a:lnTo>
                  <a:lnTo>
                    <a:pt x="702" y="72"/>
                  </a:lnTo>
                  <a:lnTo>
                    <a:pt x="708" y="72"/>
                  </a:lnTo>
                  <a:lnTo>
                    <a:pt x="720" y="66"/>
                  </a:lnTo>
                  <a:lnTo>
                    <a:pt x="726" y="78"/>
                  </a:lnTo>
                  <a:lnTo>
                    <a:pt x="744" y="84"/>
                  </a:lnTo>
                  <a:lnTo>
                    <a:pt x="744" y="90"/>
                  </a:lnTo>
                  <a:lnTo>
                    <a:pt x="744" y="96"/>
                  </a:lnTo>
                  <a:lnTo>
                    <a:pt x="738" y="96"/>
                  </a:lnTo>
                  <a:lnTo>
                    <a:pt x="738" y="102"/>
                  </a:lnTo>
                  <a:lnTo>
                    <a:pt x="732" y="102"/>
                  </a:lnTo>
                  <a:lnTo>
                    <a:pt x="732" y="108"/>
                  </a:lnTo>
                  <a:lnTo>
                    <a:pt x="738" y="108"/>
                  </a:lnTo>
                  <a:lnTo>
                    <a:pt x="744" y="114"/>
                  </a:lnTo>
                  <a:lnTo>
                    <a:pt x="750" y="108"/>
                  </a:lnTo>
                  <a:lnTo>
                    <a:pt x="756" y="108"/>
                  </a:lnTo>
                  <a:lnTo>
                    <a:pt x="762" y="108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80" y="120"/>
                  </a:lnTo>
                  <a:lnTo>
                    <a:pt x="774" y="120"/>
                  </a:lnTo>
                  <a:lnTo>
                    <a:pt x="768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74" y="138"/>
                  </a:lnTo>
                  <a:lnTo>
                    <a:pt x="774" y="132"/>
                  </a:lnTo>
                  <a:lnTo>
                    <a:pt x="780" y="132"/>
                  </a:lnTo>
                  <a:lnTo>
                    <a:pt x="786" y="132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44"/>
                  </a:lnTo>
                  <a:lnTo>
                    <a:pt x="786" y="150"/>
                  </a:lnTo>
                  <a:lnTo>
                    <a:pt x="780" y="150"/>
                  </a:lnTo>
                  <a:lnTo>
                    <a:pt x="774" y="150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74" y="162"/>
                  </a:lnTo>
                  <a:lnTo>
                    <a:pt x="780" y="162"/>
                  </a:lnTo>
                  <a:lnTo>
                    <a:pt x="786" y="168"/>
                  </a:lnTo>
                  <a:lnTo>
                    <a:pt x="792" y="162"/>
                  </a:lnTo>
                  <a:lnTo>
                    <a:pt x="798" y="168"/>
                  </a:lnTo>
                  <a:lnTo>
                    <a:pt x="798" y="174"/>
                  </a:lnTo>
                  <a:lnTo>
                    <a:pt x="804" y="168"/>
                  </a:lnTo>
                  <a:lnTo>
                    <a:pt x="810" y="168"/>
                  </a:lnTo>
                  <a:lnTo>
                    <a:pt x="810" y="174"/>
                  </a:lnTo>
                  <a:lnTo>
                    <a:pt x="816" y="168"/>
                  </a:lnTo>
                  <a:lnTo>
                    <a:pt x="822" y="162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74"/>
                  </a:lnTo>
                  <a:lnTo>
                    <a:pt x="834" y="192"/>
                  </a:lnTo>
                  <a:lnTo>
                    <a:pt x="834" y="198"/>
                  </a:lnTo>
                  <a:lnTo>
                    <a:pt x="840" y="192"/>
                  </a:lnTo>
                  <a:lnTo>
                    <a:pt x="846" y="192"/>
                  </a:lnTo>
                  <a:lnTo>
                    <a:pt x="852" y="186"/>
                  </a:lnTo>
                  <a:lnTo>
                    <a:pt x="858" y="192"/>
                  </a:lnTo>
                  <a:lnTo>
                    <a:pt x="864" y="192"/>
                  </a:lnTo>
                  <a:lnTo>
                    <a:pt x="870" y="198"/>
                  </a:lnTo>
                  <a:lnTo>
                    <a:pt x="876" y="180"/>
                  </a:lnTo>
                  <a:lnTo>
                    <a:pt x="882" y="180"/>
                  </a:lnTo>
                  <a:lnTo>
                    <a:pt x="888" y="180"/>
                  </a:lnTo>
                  <a:lnTo>
                    <a:pt x="894" y="186"/>
                  </a:lnTo>
                  <a:lnTo>
                    <a:pt x="888" y="198"/>
                  </a:lnTo>
                  <a:lnTo>
                    <a:pt x="894" y="204"/>
                  </a:lnTo>
                  <a:lnTo>
                    <a:pt x="906" y="210"/>
                  </a:lnTo>
                  <a:lnTo>
                    <a:pt x="918" y="246"/>
                  </a:lnTo>
                  <a:lnTo>
                    <a:pt x="930" y="258"/>
                  </a:lnTo>
                  <a:lnTo>
                    <a:pt x="942" y="282"/>
                  </a:lnTo>
                  <a:lnTo>
                    <a:pt x="966" y="288"/>
                  </a:lnTo>
                  <a:lnTo>
                    <a:pt x="972" y="300"/>
                  </a:lnTo>
                  <a:lnTo>
                    <a:pt x="972" y="318"/>
                  </a:lnTo>
                  <a:lnTo>
                    <a:pt x="996" y="336"/>
                  </a:lnTo>
                  <a:lnTo>
                    <a:pt x="1050" y="390"/>
                  </a:lnTo>
                  <a:lnTo>
                    <a:pt x="1116" y="462"/>
                  </a:lnTo>
                  <a:lnTo>
                    <a:pt x="1122" y="468"/>
                  </a:lnTo>
                  <a:lnTo>
                    <a:pt x="1128" y="474"/>
                  </a:lnTo>
                  <a:lnTo>
                    <a:pt x="1140" y="474"/>
                  </a:lnTo>
                  <a:lnTo>
                    <a:pt x="1152" y="486"/>
                  </a:lnTo>
                  <a:lnTo>
                    <a:pt x="1152" y="492"/>
                  </a:lnTo>
                  <a:lnTo>
                    <a:pt x="1158" y="492"/>
                  </a:lnTo>
                  <a:lnTo>
                    <a:pt x="1164" y="492"/>
                  </a:lnTo>
                  <a:lnTo>
                    <a:pt x="1170" y="504"/>
                  </a:lnTo>
                  <a:lnTo>
                    <a:pt x="1176" y="504"/>
                  </a:lnTo>
                  <a:lnTo>
                    <a:pt x="1176" y="510"/>
                  </a:lnTo>
                  <a:lnTo>
                    <a:pt x="1200" y="516"/>
                  </a:lnTo>
                  <a:lnTo>
                    <a:pt x="1200" y="522"/>
                  </a:lnTo>
                  <a:lnTo>
                    <a:pt x="1212" y="534"/>
                  </a:lnTo>
                  <a:lnTo>
                    <a:pt x="1218" y="540"/>
                  </a:lnTo>
                  <a:lnTo>
                    <a:pt x="1224" y="552"/>
                  </a:lnTo>
                  <a:lnTo>
                    <a:pt x="1230" y="552"/>
                  </a:lnTo>
                  <a:lnTo>
                    <a:pt x="1242" y="552"/>
                  </a:lnTo>
                  <a:lnTo>
                    <a:pt x="1248" y="558"/>
                  </a:lnTo>
                  <a:lnTo>
                    <a:pt x="1254" y="558"/>
                  </a:lnTo>
                  <a:lnTo>
                    <a:pt x="1260" y="564"/>
                  </a:lnTo>
                  <a:lnTo>
                    <a:pt x="1266" y="564"/>
                  </a:lnTo>
                  <a:lnTo>
                    <a:pt x="1272" y="564"/>
                  </a:lnTo>
                  <a:lnTo>
                    <a:pt x="1284" y="564"/>
                  </a:lnTo>
                  <a:lnTo>
                    <a:pt x="1290" y="570"/>
                  </a:lnTo>
                  <a:lnTo>
                    <a:pt x="1296" y="576"/>
                  </a:lnTo>
                  <a:lnTo>
                    <a:pt x="1302" y="588"/>
                  </a:lnTo>
                  <a:lnTo>
                    <a:pt x="1296" y="594"/>
                  </a:lnTo>
                  <a:lnTo>
                    <a:pt x="1296" y="600"/>
                  </a:lnTo>
                  <a:lnTo>
                    <a:pt x="1296" y="606"/>
                  </a:lnTo>
                  <a:lnTo>
                    <a:pt x="1290" y="612"/>
                  </a:lnTo>
                  <a:lnTo>
                    <a:pt x="1290" y="624"/>
                  </a:lnTo>
                  <a:lnTo>
                    <a:pt x="1290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308" y="654"/>
                  </a:lnTo>
                  <a:lnTo>
                    <a:pt x="1320" y="654"/>
                  </a:lnTo>
                  <a:lnTo>
                    <a:pt x="1326" y="660"/>
                  </a:lnTo>
                  <a:lnTo>
                    <a:pt x="1338" y="654"/>
                  </a:lnTo>
                  <a:lnTo>
                    <a:pt x="1344" y="654"/>
                  </a:lnTo>
                  <a:lnTo>
                    <a:pt x="1356" y="654"/>
                  </a:lnTo>
                  <a:lnTo>
                    <a:pt x="1362" y="648"/>
                  </a:lnTo>
                  <a:lnTo>
                    <a:pt x="1368" y="642"/>
                  </a:lnTo>
                  <a:lnTo>
                    <a:pt x="1374" y="636"/>
                  </a:lnTo>
                  <a:lnTo>
                    <a:pt x="1380" y="636"/>
                  </a:lnTo>
                  <a:lnTo>
                    <a:pt x="1392" y="636"/>
                  </a:lnTo>
                  <a:lnTo>
                    <a:pt x="1398" y="636"/>
                  </a:lnTo>
                  <a:lnTo>
                    <a:pt x="1404" y="636"/>
                  </a:lnTo>
                  <a:lnTo>
                    <a:pt x="1410" y="630"/>
                  </a:lnTo>
                  <a:lnTo>
                    <a:pt x="1410" y="624"/>
                  </a:lnTo>
                  <a:lnTo>
                    <a:pt x="1422" y="618"/>
                  </a:lnTo>
                  <a:lnTo>
                    <a:pt x="1428" y="618"/>
                  </a:lnTo>
                  <a:lnTo>
                    <a:pt x="1440" y="612"/>
                  </a:lnTo>
                  <a:lnTo>
                    <a:pt x="1446" y="612"/>
                  </a:lnTo>
                  <a:lnTo>
                    <a:pt x="1458" y="612"/>
                  </a:lnTo>
                  <a:lnTo>
                    <a:pt x="1470" y="624"/>
                  </a:lnTo>
                  <a:lnTo>
                    <a:pt x="1488" y="642"/>
                  </a:lnTo>
                  <a:lnTo>
                    <a:pt x="1500" y="648"/>
                  </a:lnTo>
                  <a:lnTo>
                    <a:pt x="1512" y="654"/>
                  </a:lnTo>
                  <a:lnTo>
                    <a:pt x="1518" y="660"/>
                  </a:lnTo>
                  <a:lnTo>
                    <a:pt x="1524" y="660"/>
                  </a:lnTo>
                  <a:lnTo>
                    <a:pt x="1530" y="660"/>
                  </a:lnTo>
                  <a:lnTo>
                    <a:pt x="1536" y="666"/>
                  </a:lnTo>
                  <a:lnTo>
                    <a:pt x="1542" y="672"/>
                  </a:lnTo>
                  <a:lnTo>
                    <a:pt x="1548" y="672"/>
                  </a:lnTo>
                  <a:lnTo>
                    <a:pt x="1554" y="684"/>
                  </a:lnTo>
                  <a:lnTo>
                    <a:pt x="1554" y="690"/>
                  </a:lnTo>
                  <a:lnTo>
                    <a:pt x="1566" y="702"/>
                  </a:lnTo>
                  <a:lnTo>
                    <a:pt x="1572" y="720"/>
                  </a:lnTo>
                  <a:lnTo>
                    <a:pt x="1572" y="726"/>
                  </a:lnTo>
                  <a:lnTo>
                    <a:pt x="1578" y="732"/>
                  </a:lnTo>
                  <a:lnTo>
                    <a:pt x="1584" y="738"/>
                  </a:lnTo>
                  <a:lnTo>
                    <a:pt x="1590" y="738"/>
                  </a:lnTo>
                  <a:lnTo>
                    <a:pt x="1596" y="738"/>
                  </a:lnTo>
                  <a:lnTo>
                    <a:pt x="1602" y="744"/>
                  </a:lnTo>
                  <a:lnTo>
                    <a:pt x="1608" y="744"/>
                  </a:lnTo>
                  <a:lnTo>
                    <a:pt x="1614" y="744"/>
                  </a:lnTo>
                  <a:lnTo>
                    <a:pt x="1626" y="744"/>
                  </a:lnTo>
                  <a:lnTo>
                    <a:pt x="1638" y="744"/>
                  </a:lnTo>
                  <a:lnTo>
                    <a:pt x="1650" y="744"/>
                  </a:lnTo>
                  <a:lnTo>
                    <a:pt x="1662" y="744"/>
                  </a:lnTo>
                  <a:lnTo>
                    <a:pt x="1668" y="744"/>
                  </a:lnTo>
                  <a:lnTo>
                    <a:pt x="1674" y="744"/>
                  </a:lnTo>
                  <a:lnTo>
                    <a:pt x="1686" y="744"/>
                  </a:lnTo>
                  <a:lnTo>
                    <a:pt x="1698" y="750"/>
                  </a:lnTo>
                  <a:lnTo>
                    <a:pt x="1704" y="750"/>
                  </a:lnTo>
                  <a:lnTo>
                    <a:pt x="1716" y="756"/>
                  </a:lnTo>
                  <a:lnTo>
                    <a:pt x="1722" y="756"/>
                  </a:lnTo>
                  <a:lnTo>
                    <a:pt x="1728" y="756"/>
                  </a:lnTo>
                  <a:lnTo>
                    <a:pt x="1734" y="762"/>
                  </a:lnTo>
                  <a:lnTo>
                    <a:pt x="1740" y="768"/>
                  </a:lnTo>
                  <a:lnTo>
                    <a:pt x="1758" y="780"/>
                  </a:lnTo>
                  <a:lnTo>
                    <a:pt x="1770" y="780"/>
                  </a:lnTo>
                  <a:lnTo>
                    <a:pt x="1776" y="780"/>
                  </a:lnTo>
                  <a:lnTo>
                    <a:pt x="1782" y="780"/>
                  </a:lnTo>
                  <a:lnTo>
                    <a:pt x="1800" y="798"/>
                  </a:lnTo>
                  <a:lnTo>
                    <a:pt x="1818" y="810"/>
                  </a:lnTo>
                  <a:lnTo>
                    <a:pt x="1830" y="816"/>
                  </a:lnTo>
                  <a:lnTo>
                    <a:pt x="1836" y="822"/>
                  </a:lnTo>
                  <a:lnTo>
                    <a:pt x="1836" y="828"/>
                  </a:lnTo>
                  <a:lnTo>
                    <a:pt x="1842" y="828"/>
                  </a:lnTo>
                  <a:lnTo>
                    <a:pt x="1848" y="834"/>
                  </a:lnTo>
                  <a:lnTo>
                    <a:pt x="1854" y="840"/>
                  </a:lnTo>
                  <a:lnTo>
                    <a:pt x="1860" y="846"/>
                  </a:lnTo>
                  <a:lnTo>
                    <a:pt x="1872" y="852"/>
                  </a:lnTo>
                  <a:lnTo>
                    <a:pt x="1884" y="852"/>
                  </a:lnTo>
                  <a:lnTo>
                    <a:pt x="1896" y="852"/>
                  </a:lnTo>
                  <a:lnTo>
                    <a:pt x="1902" y="846"/>
                  </a:lnTo>
                  <a:lnTo>
                    <a:pt x="1908" y="852"/>
                  </a:lnTo>
                  <a:lnTo>
                    <a:pt x="1920" y="858"/>
                  </a:lnTo>
                  <a:lnTo>
                    <a:pt x="1926" y="870"/>
                  </a:lnTo>
                  <a:lnTo>
                    <a:pt x="1938" y="888"/>
                  </a:lnTo>
                  <a:lnTo>
                    <a:pt x="1944" y="900"/>
                  </a:lnTo>
                  <a:lnTo>
                    <a:pt x="1950" y="900"/>
                  </a:lnTo>
                  <a:lnTo>
                    <a:pt x="1962" y="906"/>
                  </a:lnTo>
                  <a:lnTo>
                    <a:pt x="1968" y="906"/>
                  </a:lnTo>
                  <a:lnTo>
                    <a:pt x="1980" y="906"/>
                  </a:lnTo>
                  <a:lnTo>
                    <a:pt x="1998" y="906"/>
                  </a:lnTo>
                  <a:lnTo>
                    <a:pt x="2010" y="900"/>
                  </a:lnTo>
                  <a:lnTo>
                    <a:pt x="2022" y="900"/>
                  </a:lnTo>
                  <a:lnTo>
                    <a:pt x="2028" y="900"/>
                  </a:lnTo>
                  <a:lnTo>
                    <a:pt x="2034" y="906"/>
                  </a:lnTo>
                  <a:lnTo>
                    <a:pt x="2046" y="906"/>
                  </a:lnTo>
                  <a:lnTo>
                    <a:pt x="2052" y="900"/>
                  </a:lnTo>
                  <a:lnTo>
                    <a:pt x="2058" y="900"/>
                  </a:lnTo>
                  <a:lnTo>
                    <a:pt x="2064" y="900"/>
                  </a:lnTo>
                  <a:lnTo>
                    <a:pt x="2070" y="900"/>
                  </a:lnTo>
                  <a:lnTo>
                    <a:pt x="2076" y="900"/>
                  </a:lnTo>
                  <a:lnTo>
                    <a:pt x="2076" y="906"/>
                  </a:lnTo>
                  <a:lnTo>
                    <a:pt x="2088" y="906"/>
                  </a:lnTo>
                  <a:lnTo>
                    <a:pt x="2106" y="900"/>
                  </a:lnTo>
                  <a:lnTo>
                    <a:pt x="2118" y="900"/>
                  </a:lnTo>
                  <a:lnTo>
                    <a:pt x="2130" y="900"/>
                  </a:lnTo>
                  <a:lnTo>
                    <a:pt x="2142" y="900"/>
                  </a:lnTo>
                  <a:lnTo>
                    <a:pt x="2148" y="906"/>
                  </a:lnTo>
                  <a:lnTo>
                    <a:pt x="2154" y="906"/>
                  </a:lnTo>
                  <a:lnTo>
                    <a:pt x="2160" y="906"/>
                  </a:lnTo>
                  <a:lnTo>
                    <a:pt x="2166" y="906"/>
                  </a:lnTo>
                  <a:lnTo>
                    <a:pt x="2178" y="918"/>
                  </a:lnTo>
                  <a:lnTo>
                    <a:pt x="2178" y="924"/>
                  </a:lnTo>
                  <a:lnTo>
                    <a:pt x="2184" y="924"/>
                  </a:lnTo>
                  <a:lnTo>
                    <a:pt x="2190" y="924"/>
                  </a:lnTo>
                  <a:lnTo>
                    <a:pt x="2196" y="924"/>
                  </a:lnTo>
                  <a:lnTo>
                    <a:pt x="2202" y="918"/>
                  </a:lnTo>
                  <a:lnTo>
                    <a:pt x="2208" y="918"/>
                  </a:lnTo>
                  <a:lnTo>
                    <a:pt x="2214" y="918"/>
                  </a:lnTo>
                  <a:lnTo>
                    <a:pt x="2226" y="918"/>
                  </a:lnTo>
                  <a:lnTo>
                    <a:pt x="2220" y="948"/>
                  </a:lnTo>
                  <a:lnTo>
                    <a:pt x="2214" y="972"/>
                  </a:lnTo>
                  <a:lnTo>
                    <a:pt x="2214" y="984"/>
                  </a:lnTo>
                  <a:lnTo>
                    <a:pt x="2208" y="990"/>
                  </a:lnTo>
                  <a:lnTo>
                    <a:pt x="2208" y="996"/>
                  </a:lnTo>
                  <a:lnTo>
                    <a:pt x="2202" y="996"/>
                  </a:lnTo>
                  <a:lnTo>
                    <a:pt x="2196" y="996"/>
                  </a:lnTo>
                  <a:lnTo>
                    <a:pt x="2190" y="1008"/>
                  </a:lnTo>
                  <a:lnTo>
                    <a:pt x="2172" y="1074"/>
                  </a:lnTo>
                  <a:lnTo>
                    <a:pt x="2166" y="1092"/>
                  </a:lnTo>
                  <a:lnTo>
                    <a:pt x="2172" y="1110"/>
                  </a:lnTo>
                  <a:lnTo>
                    <a:pt x="2172" y="1122"/>
                  </a:lnTo>
                  <a:lnTo>
                    <a:pt x="2166" y="1134"/>
                  </a:lnTo>
                  <a:lnTo>
                    <a:pt x="2148" y="1140"/>
                  </a:lnTo>
                  <a:lnTo>
                    <a:pt x="2148" y="1134"/>
                  </a:lnTo>
                  <a:lnTo>
                    <a:pt x="2118" y="1140"/>
                  </a:lnTo>
                  <a:lnTo>
                    <a:pt x="2088" y="1134"/>
                  </a:lnTo>
                  <a:lnTo>
                    <a:pt x="2064" y="1122"/>
                  </a:lnTo>
                  <a:lnTo>
                    <a:pt x="2034" y="1122"/>
                  </a:lnTo>
                  <a:lnTo>
                    <a:pt x="2022" y="1128"/>
                  </a:lnTo>
                  <a:lnTo>
                    <a:pt x="1986" y="1128"/>
                  </a:lnTo>
                  <a:lnTo>
                    <a:pt x="1938" y="1122"/>
                  </a:lnTo>
                  <a:lnTo>
                    <a:pt x="1932" y="1116"/>
                  </a:lnTo>
                  <a:lnTo>
                    <a:pt x="1896" y="1110"/>
                  </a:lnTo>
                  <a:lnTo>
                    <a:pt x="1878" y="1104"/>
                  </a:lnTo>
                  <a:lnTo>
                    <a:pt x="1866" y="1098"/>
                  </a:lnTo>
                  <a:lnTo>
                    <a:pt x="1860" y="1098"/>
                  </a:lnTo>
                  <a:lnTo>
                    <a:pt x="1854" y="1092"/>
                  </a:lnTo>
                  <a:lnTo>
                    <a:pt x="1860" y="1092"/>
                  </a:lnTo>
                  <a:lnTo>
                    <a:pt x="1860" y="1086"/>
                  </a:lnTo>
                  <a:lnTo>
                    <a:pt x="1854" y="1086"/>
                  </a:lnTo>
                  <a:lnTo>
                    <a:pt x="1842" y="1080"/>
                  </a:lnTo>
                  <a:lnTo>
                    <a:pt x="1818" y="1062"/>
                  </a:lnTo>
                  <a:lnTo>
                    <a:pt x="1782" y="1056"/>
                  </a:lnTo>
                  <a:lnTo>
                    <a:pt x="1770" y="1068"/>
                  </a:lnTo>
                  <a:lnTo>
                    <a:pt x="1746" y="1098"/>
                  </a:lnTo>
                  <a:lnTo>
                    <a:pt x="1722" y="1104"/>
                  </a:lnTo>
                  <a:lnTo>
                    <a:pt x="1710" y="1122"/>
                  </a:lnTo>
                  <a:lnTo>
                    <a:pt x="1710" y="1128"/>
                  </a:lnTo>
                  <a:lnTo>
                    <a:pt x="1710" y="1140"/>
                  </a:lnTo>
                  <a:lnTo>
                    <a:pt x="1698" y="1146"/>
                  </a:lnTo>
                  <a:lnTo>
                    <a:pt x="1686" y="1152"/>
                  </a:lnTo>
                  <a:lnTo>
                    <a:pt x="1680" y="1164"/>
                  </a:lnTo>
                  <a:lnTo>
                    <a:pt x="1680" y="1170"/>
                  </a:lnTo>
                  <a:lnTo>
                    <a:pt x="1686" y="1170"/>
                  </a:lnTo>
                  <a:lnTo>
                    <a:pt x="1686" y="1176"/>
                  </a:lnTo>
                  <a:lnTo>
                    <a:pt x="1698" y="1188"/>
                  </a:lnTo>
                  <a:lnTo>
                    <a:pt x="1704" y="1188"/>
                  </a:lnTo>
                  <a:lnTo>
                    <a:pt x="1698" y="1194"/>
                  </a:lnTo>
                  <a:lnTo>
                    <a:pt x="1704" y="1194"/>
                  </a:lnTo>
                  <a:lnTo>
                    <a:pt x="1704" y="1200"/>
                  </a:lnTo>
                  <a:lnTo>
                    <a:pt x="1704" y="1206"/>
                  </a:lnTo>
                  <a:lnTo>
                    <a:pt x="1704" y="1212"/>
                  </a:lnTo>
                  <a:lnTo>
                    <a:pt x="1704" y="1218"/>
                  </a:lnTo>
                  <a:lnTo>
                    <a:pt x="1710" y="1218"/>
                  </a:lnTo>
                  <a:lnTo>
                    <a:pt x="1710" y="1212"/>
                  </a:lnTo>
                  <a:lnTo>
                    <a:pt x="1716" y="1212"/>
                  </a:lnTo>
                  <a:lnTo>
                    <a:pt x="1716" y="1218"/>
                  </a:lnTo>
                  <a:lnTo>
                    <a:pt x="1716" y="1224"/>
                  </a:lnTo>
                  <a:lnTo>
                    <a:pt x="1716" y="1230"/>
                  </a:lnTo>
                  <a:lnTo>
                    <a:pt x="1722" y="1236"/>
                  </a:lnTo>
                  <a:lnTo>
                    <a:pt x="1740" y="1230"/>
                  </a:lnTo>
                  <a:lnTo>
                    <a:pt x="1734" y="1236"/>
                  </a:lnTo>
                  <a:lnTo>
                    <a:pt x="1734" y="1242"/>
                  </a:lnTo>
                  <a:lnTo>
                    <a:pt x="1734" y="1248"/>
                  </a:lnTo>
                  <a:lnTo>
                    <a:pt x="1734" y="1254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52" y="1266"/>
                  </a:lnTo>
                  <a:lnTo>
                    <a:pt x="1764" y="1266"/>
                  </a:lnTo>
                  <a:lnTo>
                    <a:pt x="1788" y="1260"/>
                  </a:lnTo>
                  <a:lnTo>
                    <a:pt x="1800" y="1260"/>
                  </a:lnTo>
                  <a:lnTo>
                    <a:pt x="1806" y="1272"/>
                  </a:lnTo>
                  <a:lnTo>
                    <a:pt x="1806" y="1296"/>
                  </a:lnTo>
                  <a:lnTo>
                    <a:pt x="1800" y="1308"/>
                  </a:lnTo>
                  <a:lnTo>
                    <a:pt x="1788" y="1308"/>
                  </a:lnTo>
                  <a:lnTo>
                    <a:pt x="1782" y="13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7" name="Freeform 32">
              <a:extLst>
                <a:ext uri="{FF2B5EF4-FFF2-40B4-BE49-F238E27FC236}">
                  <a16:creationId xmlns:a16="http://schemas.microsoft.com/office/drawing/2014/main" id="{1EF84438-BF7A-47D2-9156-E231EA2A279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3295" y="2316568"/>
              <a:ext cx="1290281" cy="1084704"/>
            </a:xfrm>
            <a:custGeom>
              <a:avLst/>
              <a:gdLst>
                <a:gd name="T0" fmla="*/ 177 w 2430"/>
                <a:gd name="T1" fmla="*/ 169 h 2040"/>
                <a:gd name="T2" fmla="*/ 174 w 2430"/>
                <a:gd name="T3" fmla="*/ 173 h 2040"/>
                <a:gd name="T4" fmla="*/ 169 w 2430"/>
                <a:gd name="T5" fmla="*/ 171 h 2040"/>
                <a:gd name="T6" fmla="*/ 160 w 2430"/>
                <a:gd name="T7" fmla="*/ 163 h 2040"/>
                <a:gd name="T8" fmla="*/ 154 w 2430"/>
                <a:gd name="T9" fmla="*/ 149 h 2040"/>
                <a:gd name="T10" fmla="*/ 144 w 2430"/>
                <a:gd name="T11" fmla="*/ 147 h 2040"/>
                <a:gd name="T12" fmla="*/ 133 w 2430"/>
                <a:gd name="T13" fmla="*/ 146 h 2040"/>
                <a:gd name="T14" fmla="*/ 121 w 2430"/>
                <a:gd name="T15" fmla="*/ 145 h 2040"/>
                <a:gd name="T16" fmla="*/ 110 w 2430"/>
                <a:gd name="T17" fmla="*/ 137 h 2040"/>
                <a:gd name="T18" fmla="*/ 97 w 2430"/>
                <a:gd name="T19" fmla="*/ 131 h 2040"/>
                <a:gd name="T20" fmla="*/ 87 w 2430"/>
                <a:gd name="T21" fmla="*/ 125 h 2040"/>
                <a:gd name="T22" fmla="*/ 75 w 2430"/>
                <a:gd name="T23" fmla="*/ 122 h 2040"/>
                <a:gd name="T24" fmla="*/ 65 w 2430"/>
                <a:gd name="T25" fmla="*/ 122 h 2040"/>
                <a:gd name="T26" fmla="*/ 59 w 2430"/>
                <a:gd name="T27" fmla="*/ 115 h 2040"/>
                <a:gd name="T28" fmla="*/ 50 w 2430"/>
                <a:gd name="T29" fmla="*/ 107 h 2040"/>
                <a:gd name="T30" fmla="*/ 28 w 2430"/>
                <a:gd name="T31" fmla="*/ 84 h 2040"/>
                <a:gd name="T32" fmla="*/ 22 w 2430"/>
                <a:gd name="T33" fmla="*/ 82 h 2040"/>
                <a:gd name="T34" fmla="*/ 20 w 2430"/>
                <a:gd name="T35" fmla="*/ 79 h 2040"/>
                <a:gd name="T36" fmla="*/ 16 w 2430"/>
                <a:gd name="T37" fmla="*/ 76 h 2040"/>
                <a:gd name="T38" fmla="*/ 11 w 2430"/>
                <a:gd name="T39" fmla="*/ 74 h 2040"/>
                <a:gd name="T40" fmla="*/ 7 w 2430"/>
                <a:gd name="T41" fmla="*/ 69 h 2040"/>
                <a:gd name="T42" fmla="*/ 0 w 2430"/>
                <a:gd name="T43" fmla="*/ 60 h 2040"/>
                <a:gd name="T44" fmla="*/ 10 w 2430"/>
                <a:gd name="T45" fmla="*/ 53 h 2040"/>
                <a:gd name="T46" fmla="*/ 15 w 2430"/>
                <a:gd name="T47" fmla="*/ 40 h 2040"/>
                <a:gd name="T48" fmla="*/ 9 w 2430"/>
                <a:gd name="T49" fmla="*/ 29 h 2040"/>
                <a:gd name="T50" fmla="*/ 7 w 2430"/>
                <a:gd name="T51" fmla="*/ 16 h 2040"/>
                <a:gd name="T52" fmla="*/ 18 w 2430"/>
                <a:gd name="T53" fmla="*/ 21 h 2040"/>
                <a:gd name="T54" fmla="*/ 48 w 2430"/>
                <a:gd name="T55" fmla="*/ 27 h 2040"/>
                <a:gd name="T56" fmla="*/ 62 w 2430"/>
                <a:gd name="T57" fmla="*/ 25 h 2040"/>
                <a:gd name="T58" fmla="*/ 59 w 2430"/>
                <a:gd name="T59" fmla="*/ 42 h 2040"/>
                <a:gd name="T60" fmla="*/ 54 w 2430"/>
                <a:gd name="T61" fmla="*/ 65 h 2040"/>
                <a:gd name="T62" fmla="*/ 65 w 2430"/>
                <a:gd name="T63" fmla="*/ 60 h 2040"/>
                <a:gd name="T64" fmla="*/ 68 w 2430"/>
                <a:gd name="T65" fmla="*/ 40 h 2040"/>
                <a:gd name="T66" fmla="*/ 75 w 2430"/>
                <a:gd name="T67" fmla="*/ 36 h 2040"/>
                <a:gd name="T68" fmla="*/ 83 w 2430"/>
                <a:gd name="T69" fmla="*/ 29 h 2040"/>
                <a:gd name="T70" fmla="*/ 81 w 2430"/>
                <a:gd name="T71" fmla="*/ 17 h 2040"/>
                <a:gd name="T72" fmla="*/ 66 w 2430"/>
                <a:gd name="T73" fmla="*/ 7 h 2040"/>
                <a:gd name="T74" fmla="*/ 80 w 2430"/>
                <a:gd name="T75" fmla="*/ 5 h 2040"/>
                <a:gd name="T76" fmla="*/ 89 w 2430"/>
                <a:gd name="T77" fmla="*/ 1 h 2040"/>
                <a:gd name="T78" fmla="*/ 101 w 2430"/>
                <a:gd name="T79" fmla="*/ 10 h 2040"/>
                <a:gd name="T80" fmla="*/ 103 w 2430"/>
                <a:gd name="T81" fmla="*/ 18 h 2040"/>
                <a:gd name="T82" fmla="*/ 110 w 2430"/>
                <a:gd name="T83" fmla="*/ 23 h 2040"/>
                <a:gd name="T84" fmla="*/ 121 w 2430"/>
                <a:gd name="T85" fmla="*/ 20 h 2040"/>
                <a:gd name="T86" fmla="*/ 129 w 2430"/>
                <a:gd name="T87" fmla="*/ 15 h 2040"/>
                <a:gd name="T88" fmla="*/ 142 w 2430"/>
                <a:gd name="T89" fmla="*/ 23 h 2040"/>
                <a:gd name="T90" fmla="*/ 141 w 2430"/>
                <a:gd name="T91" fmla="*/ 30 h 2040"/>
                <a:gd name="T92" fmla="*/ 140 w 2430"/>
                <a:gd name="T93" fmla="*/ 38 h 2040"/>
                <a:gd name="T94" fmla="*/ 139 w 2430"/>
                <a:gd name="T95" fmla="*/ 46 h 2040"/>
                <a:gd name="T96" fmla="*/ 147 w 2430"/>
                <a:gd name="T97" fmla="*/ 54 h 2040"/>
                <a:gd name="T98" fmla="*/ 152 w 2430"/>
                <a:gd name="T99" fmla="*/ 50 h 2040"/>
                <a:gd name="T100" fmla="*/ 159 w 2430"/>
                <a:gd name="T101" fmla="*/ 43 h 2040"/>
                <a:gd name="T102" fmla="*/ 174 w 2430"/>
                <a:gd name="T103" fmla="*/ 41 h 2040"/>
                <a:gd name="T104" fmla="*/ 190 w 2430"/>
                <a:gd name="T105" fmla="*/ 57 h 2040"/>
                <a:gd name="T106" fmla="*/ 187 w 2430"/>
                <a:gd name="T107" fmla="*/ 66 h 2040"/>
                <a:gd name="T108" fmla="*/ 183 w 2430"/>
                <a:gd name="T109" fmla="*/ 72 h 2040"/>
                <a:gd name="T110" fmla="*/ 194 w 2430"/>
                <a:gd name="T111" fmla="*/ 73 h 2040"/>
                <a:gd name="T112" fmla="*/ 202 w 2430"/>
                <a:gd name="T113" fmla="*/ 74 h 2040"/>
                <a:gd name="T114" fmla="*/ 204 w 2430"/>
                <a:gd name="T115" fmla="*/ 89 h 2040"/>
                <a:gd name="T116" fmla="*/ 208 w 2430"/>
                <a:gd name="T117" fmla="*/ 99 h 2040"/>
                <a:gd name="T118" fmla="*/ 203 w 2430"/>
                <a:gd name="T119" fmla="*/ 103 h 2040"/>
                <a:gd name="T120" fmla="*/ 209 w 2430"/>
                <a:gd name="T121" fmla="*/ 111 h 2040"/>
                <a:gd name="T122" fmla="*/ 204 w 2430"/>
                <a:gd name="T123" fmla="*/ 124 h 2040"/>
                <a:gd name="T124" fmla="*/ 190 w 2430"/>
                <a:gd name="T125" fmla="*/ 117 h 20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30"/>
                <a:gd name="T190" fmla="*/ 0 h 2040"/>
                <a:gd name="T191" fmla="*/ 2430 w 2430"/>
                <a:gd name="T192" fmla="*/ 2040 h 20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30" h="2040">
                  <a:moveTo>
                    <a:pt x="2076" y="1896"/>
                  </a:moveTo>
                  <a:lnTo>
                    <a:pt x="2070" y="1896"/>
                  </a:lnTo>
                  <a:lnTo>
                    <a:pt x="2070" y="1902"/>
                  </a:lnTo>
                  <a:lnTo>
                    <a:pt x="2076" y="1902"/>
                  </a:lnTo>
                  <a:lnTo>
                    <a:pt x="2082" y="1902"/>
                  </a:lnTo>
                  <a:lnTo>
                    <a:pt x="2082" y="1908"/>
                  </a:lnTo>
                  <a:lnTo>
                    <a:pt x="2076" y="1908"/>
                  </a:lnTo>
                  <a:lnTo>
                    <a:pt x="2076" y="1914"/>
                  </a:lnTo>
                  <a:lnTo>
                    <a:pt x="2070" y="1920"/>
                  </a:lnTo>
                  <a:lnTo>
                    <a:pt x="2064" y="1932"/>
                  </a:lnTo>
                  <a:lnTo>
                    <a:pt x="2064" y="1938"/>
                  </a:lnTo>
                  <a:lnTo>
                    <a:pt x="2058" y="1938"/>
                  </a:lnTo>
                  <a:lnTo>
                    <a:pt x="2052" y="1944"/>
                  </a:lnTo>
                  <a:lnTo>
                    <a:pt x="2052" y="1950"/>
                  </a:lnTo>
                  <a:lnTo>
                    <a:pt x="2040" y="1944"/>
                  </a:lnTo>
                  <a:lnTo>
                    <a:pt x="2040" y="1950"/>
                  </a:lnTo>
                  <a:lnTo>
                    <a:pt x="2034" y="1956"/>
                  </a:lnTo>
                  <a:lnTo>
                    <a:pt x="2034" y="1962"/>
                  </a:lnTo>
                  <a:lnTo>
                    <a:pt x="2028" y="1962"/>
                  </a:lnTo>
                  <a:lnTo>
                    <a:pt x="2022" y="1962"/>
                  </a:lnTo>
                  <a:lnTo>
                    <a:pt x="2022" y="1968"/>
                  </a:lnTo>
                  <a:lnTo>
                    <a:pt x="2028" y="1974"/>
                  </a:lnTo>
                  <a:lnTo>
                    <a:pt x="2034" y="1980"/>
                  </a:lnTo>
                  <a:lnTo>
                    <a:pt x="2028" y="1986"/>
                  </a:lnTo>
                  <a:lnTo>
                    <a:pt x="2022" y="1992"/>
                  </a:lnTo>
                  <a:lnTo>
                    <a:pt x="2022" y="1986"/>
                  </a:lnTo>
                  <a:lnTo>
                    <a:pt x="2016" y="1986"/>
                  </a:lnTo>
                  <a:lnTo>
                    <a:pt x="2010" y="1980"/>
                  </a:lnTo>
                  <a:lnTo>
                    <a:pt x="2004" y="1980"/>
                  </a:lnTo>
                  <a:lnTo>
                    <a:pt x="2004" y="1986"/>
                  </a:lnTo>
                  <a:lnTo>
                    <a:pt x="2010" y="1992"/>
                  </a:lnTo>
                  <a:lnTo>
                    <a:pt x="2010" y="1998"/>
                  </a:lnTo>
                  <a:lnTo>
                    <a:pt x="2004" y="2004"/>
                  </a:lnTo>
                  <a:lnTo>
                    <a:pt x="1998" y="2004"/>
                  </a:lnTo>
                  <a:lnTo>
                    <a:pt x="1998" y="2022"/>
                  </a:lnTo>
                  <a:lnTo>
                    <a:pt x="1998" y="2028"/>
                  </a:lnTo>
                  <a:lnTo>
                    <a:pt x="1992" y="2034"/>
                  </a:lnTo>
                  <a:lnTo>
                    <a:pt x="1992" y="2040"/>
                  </a:lnTo>
                  <a:lnTo>
                    <a:pt x="1986" y="2040"/>
                  </a:lnTo>
                  <a:lnTo>
                    <a:pt x="1986" y="2034"/>
                  </a:lnTo>
                  <a:lnTo>
                    <a:pt x="1980" y="2028"/>
                  </a:lnTo>
                  <a:lnTo>
                    <a:pt x="1980" y="2022"/>
                  </a:lnTo>
                  <a:lnTo>
                    <a:pt x="1968" y="2016"/>
                  </a:lnTo>
                  <a:lnTo>
                    <a:pt x="1962" y="2010"/>
                  </a:lnTo>
                  <a:lnTo>
                    <a:pt x="1956" y="2004"/>
                  </a:lnTo>
                  <a:lnTo>
                    <a:pt x="1950" y="1992"/>
                  </a:lnTo>
                  <a:lnTo>
                    <a:pt x="1950" y="1986"/>
                  </a:lnTo>
                  <a:lnTo>
                    <a:pt x="1950" y="1974"/>
                  </a:lnTo>
                  <a:lnTo>
                    <a:pt x="1944" y="1974"/>
                  </a:lnTo>
                  <a:lnTo>
                    <a:pt x="1932" y="1962"/>
                  </a:lnTo>
                  <a:lnTo>
                    <a:pt x="1932" y="1956"/>
                  </a:lnTo>
                  <a:lnTo>
                    <a:pt x="1932" y="1950"/>
                  </a:lnTo>
                  <a:lnTo>
                    <a:pt x="1920" y="1944"/>
                  </a:lnTo>
                  <a:lnTo>
                    <a:pt x="1914" y="1944"/>
                  </a:lnTo>
                  <a:lnTo>
                    <a:pt x="1908" y="1938"/>
                  </a:lnTo>
                  <a:lnTo>
                    <a:pt x="1902" y="1926"/>
                  </a:lnTo>
                  <a:lnTo>
                    <a:pt x="1890" y="1914"/>
                  </a:lnTo>
                  <a:lnTo>
                    <a:pt x="1884" y="1914"/>
                  </a:lnTo>
                  <a:lnTo>
                    <a:pt x="1878" y="1908"/>
                  </a:lnTo>
                  <a:lnTo>
                    <a:pt x="1872" y="1902"/>
                  </a:lnTo>
                  <a:lnTo>
                    <a:pt x="1872" y="1896"/>
                  </a:lnTo>
                  <a:lnTo>
                    <a:pt x="1866" y="1890"/>
                  </a:lnTo>
                  <a:lnTo>
                    <a:pt x="1854" y="1884"/>
                  </a:lnTo>
                  <a:lnTo>
                    <a:pt x="1848" y="1884"/>
                  </a:lnTo>
                  <a:lnTo>
                    <a:pt x="1842" y="1872"/>
                  </a:lnTo>
                  <a:lnTo>
                    <a:pt x="1836" y="1872"/>
                  </a:lnTo>
                  <a:lnTo>
                    <a:pt x="1830" y="1866"/>
                  </a:lnTo>
                  <a:lnTo>
                    <a:pt x="1830" y="1854"/>
                  </a:lnTo>
                  <a:lnTo>
                    <a:pt x="1824" y="1848"/>
                  </a:lnTo>
                  <a:lnTo>
                    <a:pt x="1818" y="1830"/>
                  </a:lnTo>
                  <a:lnTo>
                    <a:pt x="1818" y="1818"/>
                  </a:lnTo>
                  <a:lnTo>
                    <a:pt x="1812" y="1800"/>
                  </a:lnTo>
                  <a:lnTo>
                    <a:pt x="1812" y="1788"/>
                  </a:lnTo>
                  <a:lnTo>
                    <a:pt x="1806" y="1776"/>
                  </a:lnTo>
                  <a:lnTo>
                    <a:pt x="1800" y="1764"/>
                  </a:lnTo>
                  <a:lnTo>
                    <a:pt x="1794" y="1758"/>
                  </a:lnTo>
                  <a:lnTo>
                    <a:pt x="1782" y="1740"/>
                  </a:lnTo>
                  <a:lnTo>
                    <a:pt x="1776" y="1728"/>
                  </a:lnTo>
                  <a:lnTo>
                    <a:pt x="1776" y="1722"/>
                  </a:lnTo>
                  <a:lnTo>
                    <a:pt x="1770" y="1722"/>
                  </a:lnTo>
                  <a:lnTo>
                    <a:pt x="1770" y="1716"/>
                  </a:lnTo>
                  <a:lnTo>
                    <a:pt x="1764" y="1716"/>
                  </a:lnTo>
                  <a:lnTo>
                    <a:pt x="1758" y="1710"/>
                  </a:lnTo>
                  <a:lnTo>
                    <a:pt x="1752" y="1704"/>
                  </a:lnTo>
                  <a:lnTo>
                    <a:pt x="1746" y="1704"/>
                  </a:lnTo>
                  <a:lnTo>
                    <a:pt x="1740" y="1704"/>
                  </a:lnTo>
                  <a:lnTo>
                    <a:pt x="1734" y="1704"/>
                  </a:lnTo>
                  <a:lnTo>
                    <a:pt x="1734" y="1698"/>
                  </a:lnTo>
                  <a:lnTo>
                    <a:pt x="1728" y="1692"/>
                  </a:lnTo>
                  <a:lnTo>
                    <a:pt x="1722" y="1686"/>
                  </a:lnTo>
                  <a:lnTo>
                    <a:pt x="1716" y="1686"/>
                  </a:lnTo>
                  <a:lnTo>
                    <a:pt x="1698" y="1686"/>
                  </a:lnTo>
                  <a:lnTo>
                    <a:pt x="1692" y="1692"/>
                  </a:lnTo>
                  <a:lnTo>
                    <a:pt x="1680" y="1692"/>
                  </a:lnTo>
                  <a:lnTo>
                    <a:pt x="1668" y="1692"/>
                  </a:lnTo>
                  <a:lnTo>
                    <a:pt x="1662" y="1692"/>
                  </a:lnTo>
                  <a:lnTo>
                    <a:pt x="1656" y="1692"/>
                  </a:lnTo>
                  <a:lnTo>
                    <a:pt x="1650" y="1698"/>
                  </a:lnTo>
                  <a:lnTo>
                    <a:pt x="1644" y="1698"/>
                  </a:lnTo>
                  <a:lnTo>
                    <a:pt x="1638" y="1698"/>
                  </a:lnTo>
                  <a:lnTo>
                    <a:pt x="1632" y="1698"/>
                  </a:lnTo>
                  <a:lnTo>
                    <a:pt x="1632" y="1692"/>
                  </a:lnTo>
                  <a:lnTo>
                    <a:pt x="1620" y="1680"/>
                  </a:lnTo>
                  <a:lnTo>
                    <a:pt x="1614" y="1680"/>
                  </a:lnTo>
                  <a:lnTo>
                    <a:pt x="1608" y="1680"/>
                  </a:lnTo>
                  <a:lnTo>
                    <a:pt x="1602" y="1680"/>
                  </a:lnTo>
                  <a:lnTo>
                    <a:pt x="1596" y="1674"/>
                  </a:lnTo>
                  <a:lnTo>
                    <a:pt x="1584" y="1674"/>
                  </a:lnTo>
                  <a:lnTo>
                    <a:pt x="1572" y="1674"/>
                  </a:lnTo>
                  <a:lnTo>
                    <a:pt x="1560" y="1674"/>
                  </a:lnTo>
                  <a:lnTo>
                    <a:pt x="1542" y="1680"/>
                  </a:lnTo>
                  <a:lnTo>
                    <a:pt x="1530" y="1680"/>
                  </a:lnTo>
                  <a:lnTo>
                    <a:pt x="1530" y="1674"/>
                  </a:lnTo>
                  <a:lnTo>
                    <a:pt x="1524" y="1674"/>
                  </a:lnTo>
                  <a:lnTo>
                    <a:pt x="1518" y="1674"/>
                  </a:lnTo>
                  <a:lnTo>
                    <a:pt x="1512" y="1674"/>
                  </a:lnTo>
                  <a:lnTo>
                    <a:pt x="1506" y="1674"/>
                  </a:lnTo>
                  <a:lnTo>
                    <a:pt x="1500" y="1680"/>
                  </a:lnTo>
                  <a:lnTo>
                    <a:pt x="1488" y="1680"/>
                  </a:lnTo>
                  <a:lnTo>
                    <a:pt x="1482" y="1674"/>
                  </a:lnTo>
                  <a:lnTo>
                    <a:pt x="1476" y="1674"/>
                  </a:lnTo>
                  <a:lnTo>
                    <a:pt x="1464" y="1674"/>
                  </a:lnTo>
                  <a:lnTo>
                    <a:pt x="1452" y="1680"/>
                  </a:lnTo>
                  <a:lnTo>
                    <a:pt x="1434" y="1680"/>
                  </a:lnTo>
                  <a:lnTo>
                    <a:pt x="1422" y="1680"/>
                  </a:lnTo>
                  <a:lnTo>
                    <a:pt x="1416" y="1680"/>
                  </a:lnTo>
                  <a:lnTo>
                    <a:pt x="1404" y="1674"/>
                  </a:lnTo>
                  <a:lnTo>
                    <a:pt x="1398" y="1674"/>
                  </a:lnTo>
                  <a:lnTo>
                    <a:pt x="1392" y="1662"/>
                  </a:lnTo>
                  <a:lnTo>
                    <a:pt x="1380" y="1644"/>
                  </a:lnTo>
                  <a:lnTo>
                    <a:pt x="1374" y="1632"/>
                  </a:lnTo>
                  <a:lnTo>
                    <a:pt x="1362" y="1626"/>
                  </a:lnTo>
                  <a:lnTo>
                    <a:pt x="1356" y="1620"/>
                  </a:lnTo>
                  <a:lnTo>
                    <a:pt x="1350" y="1626"/>
                  </a:lnTo>
                  <a:lnTo>
                    <a:pt x="1338" y="1626"/>
                  </a:lnTo>
                  <a:lnTo>
                    <a:pt x="1326" y="1626"/>
                  </a:lnTo>
                  <a:lnTo>
                    <a:pt x="1314" y="1620"/>
                  </a:lnTo>
                  <a:lnTo>
                    <a:pt x="1308" y="1614"/>
                  </a:lnTo>
                  <a:lnTo>
                    <a:pt x="1302" y="1608"/>
                  </a:lnTo>
                  <a:lnTo>
                    <a:pt x="1296" y="1602"/>
                  </a:lnTo>
                  <a:lnTo>
                    <a:pt x="1290" y="1602"/>
                  </a:lnTo>
                  <a:lnTo>
                    <a:pt x="1290" y="1596"/>
                  </a:lnTo>
                  <a:lnTo>
                    <a:pt x="1284" y="1590"/>
                  </a:lnTo>
                  <a:lnTo>
                    <a:pt x="1272" y="1584"/>
                  </a:lnTo>
                  <a:lnTo>
                    <a:pt x="1254" y="1572"/>
                  </a:lnTo>
                  <a:lnTo>
                    <a:pt x="1236" y="1554"/>
                  </a:lnTo>
                  <a:lnTo>
                    <a:pt x="1230" y="1554"/>
                  </a:lnTo>
                  <a:lnTo>
                    <a:pt x="1224" y="1554"/>
                  </a:lnTo>
                  <a:lnTo>
                    <a:pt x="1212" y="1554"/>
                  </a:lnTo>
                  <a:lnTo>
                    <a:pt x="1194" y="1542"/>
                  </a:lnTo>
                  <a:lnTo>
                    <a:pt x="1188" y="1536"/>
                  </a:lnTo>
                  <a:lnTo>
                    <a:pt x="1182" y="1530"/>
                  </a:lnTo>
                  <a:lnTo>
                    <a:pt x="1176" y="1530"/>
                  </a:lnTo>
                  <a:lnTo>
                    <a:pt x="1170" y="1530"/>
                  </a:lnTo>
                  <a:lnTo>
                    <a:pt x="1158" y="1524"/>
                  </a:lnTo>
                  <a:lnTo>
                    <a:pt x="1152" y="1524"/>
                  </a:lnTo>
                  <a:lnTo>
                    <a:pt x="1140" y="1518"/>
                  </a:lnTo>
                  <a:lnTo>
                    <a:pt x="1128" y="1518"/>
                  </a:lnTo>
                  <a:lnTo>
                    <a:pt x="1122" y="1518"/>
                  </a:lnTo>
                  <a:lnTo>
                    <a:pt x="1116" y="1518"/>
                  </a:lnTo>
                  <a:lnTo>
                    <a:pt x="1104" y="1518"/>
                  </a:lnTo>
                  <a:lnTo>
                    <a:pt x="1092" y="1518"/>
                  </a:lnTo>
                  <a:lnTo>
                    <a:pt x="1080" y="1518"/>
                  </a:lnTo>
                  <a:lnTo>
                    <a:pt x="1068" y="1518"/>
                  </a:lnTo>
                  <a:lnTo>
                    <a:pt x="1062" y="1518"/>
                  </a:lnTo>
                  <a:lnTo>
                    <a:pt x="1056" y="1518"/>
                  </a:lnTo>
                  <a:lnTo>
                    <a:pt x="1050" y="1512"/>
                  </a:lnTo>
                  <a:lnTo>
                    <a:pt x="1044" y="1512"/>
                  </a:lnTo>
                  <a:lnTo>
                    <a:pt x="1038" y="1512"/>
                  </a:lnTo>
                  <a:lnTo>
                    <a:pt x="1032" y="1506"/>
                  </a:lnTo>
                  <a:lnTo>
                    <a:pt x="1026" y="1500"/>
                  </a:lnTo>
                  <a:lnTo>
                    <a:pt x="1026" y="1494"/>
                  </a:lnTo>
                  <a:lnTo>
                    <a:pt x="1020" y="1476"/>
                  </a:lnTo>
                  <a:lnTo>
                    <a:pt x="1008" y="1464"/>
                  </a:lnTo>
                  <a:lnTo>
                    <a:pt x="1008" y="1458"/>
                  </a:lnTo>
                  <a:lnTo>
                    <a:pt x="1002" y="1446"/>
                  </a:lnTo>
                  <a:lnTo>
                    <a:pt x="996" y="1446"/>
                  </a:lnTo>
                  <a:lnTo>
                    <a:pt x="990" y="1440"/>
                  </a:lnTo>
                  <a:lnTo>
                    <a:pt x="984" y="1434"/>
                  </a:lnTo>
                  <a:lnTo>
                    <a:pt x="978" y="1434"/>
                  </a:lnTo>
                  <a:lnTo>
                    <a:pt x="972" y="1434"/>
                  </a:lnTo>
                  <a:lnTo>
                    <a:pt x="966" y="1428"/>
                  </a:lnTo>
                  <a:lnTo>
                    <a:pt x="954" y="1422"/>
                  </a:lnTo>
                  <a:lnTo>
                    <a:pt x="942" y="1416"/>
                  </a:lnTo>
                  <a:lnTo>
                    <a:pt x="924" y="1398"/>
                  </a:lnTo>
                  <a:lnTo>
                    <a:pt x="912" y="1386"/>
                  </a:lnTo>
                  <a:lnTo>
                    <a:pt x="900" y="1386"/>
                  </a:lnTo>
                  <a:lnTo>
                    <a:pt x="894" y="1386"/>
                  </a:lnTo>
                  <a:lnTo>
                    <a:pt x="882" y="1392"/>
                  </a:lnTo>
                  <a:lnTo>
                    <a:pt x="876" y="1392"/>
                  </a:lnTo>
                  <a:lnTo>
                    <a:pt x="864" y="1398"/>
                  </a:lnTo>
                  <a:lnTo>
                    <a:pt x="864" y="1404"/>
                  </a:lnTo>
                  <a:lnTo>
                    <a:pt x="858" y="1410"/>
                  </a:lnTo>
                  <a:lnTo>
                    <a:pt x="852" y="1410"/>
                  </a:lnTo>
                  <a:lnTo>
                    <a:pt x="846" y="1410"/>
                  </a:lnTo>
                  <a:lnTo>
                    <a:pt x="834" y="1410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10" y="1428"/>
                  </a:lnTo>
                  <a:lnTo>
                    <a:pt x="798" y="1428"/>
                  </a:lnTo>
                  <a:lnTo>
                    <a:pt x="792" y="1428"/>
                  </a:lnTo>
                  <a:lnTo>
                    <a:pt x="780" y="1434"/>
                  </a:lnTo>
                  <a:lnTo>
                    <a:pt x="774" y="1428"/>
                  </a:lnTo>
                  <a:lnTo>
                    <a:pt x="762" y="1428"/>
                  </a:lnTo>
                  <a:lnTo>
                    <a:pt x="756" y="1422"/>
                  </a:lnTo>
                  <a:lnTo>
                    <a:pt x="750" y="1416"/>
                  </a:lnTo>
                  <a:lnTo>
                    <a:pt x="744" y="1410"/>
                  </a:lnTo>
                  <a:lnTo>
                    <a:pt x="744" y="1398"/>
                  </a:lnTo>
                  <a:lnTo>
                    <a:pt x="744" y="1386"/>
                  </a:lnTo>
                  <a:lnTo>
                    <a:pt x="750" y="1380"/>
                  </a:lnTo>
                  <a:lnTo>
                    <a:pt x="750" y="1374"/>
                  </a:lnTo>
                  <a:lnTo>
                    <a:pt x="750" y="1368"/>
                  </a:lnTo>
                  <a:lnTo>
                    <a:pt x="756" y="1362"/>
                  </a:lnTo>
                  <a:lnTo>
                    <a:pt x="750" y="1350"/>
                  </a:lnTo>
                  <a:lnTo>
                    <a:pt x="744" y="1344"/>
                  </a:lnTo>
                  <a:lnTo>
                    <a:pt x="738" y="1338"/>
                  </a:lnTo>
                  <a:lnTo>
                    <a:pt x="726" y="1338"/>
                  </a:lnTo>
                  <a:lnTo>
                    <a:pt x="720" y="1338"/>
                  </a:lnTo>
                  <a:lnTo>
                    <a:pt x="714" y="1338"/>
                  </a:lnTo>
                  <a:lnTo>
                    <a:pt x="708" y="1332"/>
                  </a:lnTo>
                  <a:lnTo>
                    <a:pt x="702" y="1332"/>
                  </a:lnTo>
                  <a:lnTo>
                    <a:pt x="696" y="1326"/>
                  </a:lnTo>
                  <a:lnTo>
                    <a:pt x="684" y="1326"/>
                  </a:lnTo>
                  <a:lnTo>
                    <a:pt x="678" y="1326"/>
                  </a:lnTo>
                  <a:lnTo>
                    <a:pt x="672" y="1314"/>
                  </a:lnTo>
                  <a:lnTo>
                    <a:pt x="666" y="1308"/>
                  </a:lnTo>
                  <a:lnTo>
                    <a:pt x="654" y="1296"/>
                  </a:lnTo>
                  <a:lnTo>
                    <a:pt x="654" y="1290"/>
                  </a:lnTo>
                  <a:lnTo>
                    <a:pt x="630" y="1284"/>
                  </a:lnTo>
                  <a:lnTo>
                    <a:pt x="630" y="1278"/>
                  </a:lnTo>
                  <a:lnTo>
                    <a:pt x="624" y="1278"/>
                  </a:lnTo>
                  <a:lnTo>
                    <a:pt x="618" y="1266"/>
                  </a:lnTo>
                  <a:lnTo>
                    <a:pt x="612" y="1266"/>
                  </a:lnTo>
                  <a:lnTo>
                    <a:pt x="606" y="1266"/>
                  </a:lnTo>
                  <a:lnTo>
                    <a:pt x="606" y="1260"/>
                  </a:lnTo>
                  <a:lnTo>
                    <a:pt x="594" y="1248"/>
                  </a:lnTo>
                  <a:lnTo>
                    <a:pt x="582" y="1248"/>
                  </a:lnTo>
                  <a:lnTo>
                    <a:pt x="576" y="1242"/>
                  </a:lnTo>
                  <a:lnTo>
                    <a:pt x="570" y="1236"/>
                  </a:lnTo>
                  <a:lnTo>
                    <a:pt x="504" y="1164"/>
                  </a:lnTo>
                  <a:lnTo>
                    <a:pt x="450" y="1110"/>
                  </a:lnTo>
                  <a:lnTo>
                    <a:pt x="426" y="1092"/>
                  </a:lnTo>
                  <a:lnTo>
                    <a:pt x="426" y="1074"/>
                  </a:lnTo>
                  <a:lnTo>
                    <a:pt x="420" y="1062"/>
                  </a:lnTo>
                  <a:lnTo>
                    <a:pt x="396" y="1056"/>
                  </a:lnTo>
                  <a:lnTo>
                    <a:pt x="384" y="1032"/>
                  </a:lnTo>
                  <a:lnTo>
                    <a:pt x="372" y="1020"/>
                  </a:lnTo>
                  <a:lnTo>
                    <a:pt x="360" y="984"/>
                  </a:lnTo>
                  <a:lnTo>
                    <a:pt x="348" y="978"/>
                  </a:lnTo>
                  <a:lnTo>
                    <a:pt x="342" y="972"/>
                  </a:lnTo>
                  <a:lnTo>
                    <a:pt x="348" y="960"/>
                  </a:lnTo>
                  <a:lnTo>
                    <a:pt x="342" y="954"/>
                  </a:lnTo>
                  <a:lnTo>
                    <a:pt x="336" y="954"/>
                  </a:lnTo>
                  <a:lnTo>
                    <a:pt x="330" y="954"/>
                  </a:lnTo>
                  <a:lnTo>
                    <a:pt x="324" y="972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0" y="966"/>
                  </a:lnTo>
                  <a:lnTo>
                    <a:pt x="294" y="966"/>
                  </a:lnTo>
                  <a:lnTo>
                    <a:pt x="288" y="972"/>
                  </a:lnTo>
                  <a:lnTo>
                    <a:pt x="288" y="966"/>
                  </a:lnTo>
                  <a:lnTo>
                    <a:pt x="282" y="948"/>
                  </a:lnTo>
                  <a:lnTo>
                    <a:pt x="282" y="942"/>
                  </a:lnTo>
                  <a:lnTo>
                    <a:pt x="276" y="942"/>
                  </a:lnTo>
                  <a:lnTo>
                    <a:pt x="276" y="936"/>
                  </a:lnTo>
                  <a:lnTo>
                    <a:pt x="270" y="942"/>
                  </a:lnTo>
                  <a:lnTo>
                    <a:pt x="264" y="948"/>
                  </a:lnTo>
                  <a:lnTo>
                    <a:pt x="264" y="942"/>
                  </a:lnTo>
                  <a:lnTo>
                    <a:pt x="258" y="942"/>
                  </a:lnTo>
                  <a:lnTo>
                    <a:pt x="252" y="948"/>
                  </a:lnTo>
                  <a:lnTo>
                    <a:pt x="252" y="942"/>
                  </a:lnTo>
                  <a:lnTo>
                    <a:pt x="246" y="936"/>
                  </a:lnTo>
                  <a:lnTo>
                    <a:pt x="240" y="942"/>
                  </a:lnTo>
                  <a:lnTo>
                    <a:pt x="234" y="936"/>
                  </a:lnTo>
                  <a:lnTo>
                    <a:pt x="228" y="936"/>
                  </a:lnTo>
                  <a:lnTo>
                    <a:pt x="222" y="936"/>
                  </a:lnTo>
                  <a:lnTo>
                    <a:pt x="222" y="930"/>
                  </a:lnTo>
                  <a:lnTo>
                    <a:pt x="222" y="924"/>
                  </a:lnTo>
                  <a:lnTo>
                    <a:pt x="228" y="924"/>
                  </a:lnTo>
                  <a:lnTo>
                    <a:pt x="234" y="924"/>
                  </a:lnTo>
                  <a:lnTo>
                    <a:pt x="240" y="924"/>
                  </a:lnTo>
                  <a:lnTo>
                    <a:pt x="240" y="918"/>
                  </a:lnTo>
                  <a:lnTo>
                    <a:pt x="246" y="918"/>
                  </a:lnTo>
                  <a:lnTo>
                    <a:pt x="246" y="912"/>
                  </a:lnTo>
                  <a:lnTo>
                    <a:pt x="240" y="906"/>
                  </a:lnTo>
                  <a:lnTo>
                    <a:pt x="234" y="906"/>
                  </a:lnTo>
                  <a:lnTo>
                    <a:pt x="228" y="906"/>
                  </a:lnTo>
                  <a:lnTo>
                    <a:pt x="228" y="912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8" y="894"/>
                  </a:lnTo>
                  <a:lnTo>
                    <a:pt x="234" y="894"/>
                  </a:lnTo>
                  <a:lnTo>
                    <a:pt x="228" y="888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198" y="888"/>
                  </a:lnTo>
                  <a:lnTo>
                    <a:pt x="192" y="882"/>
                  </a:lnTo>
                  <a:lnTo>
                    <a:pt x="186" y="882"/>
                  </a:lnTo>
                  <a:lnTo>
                    <a:pt x="186" y="876"/>
                  </a:lnTo>
                  <a:lnTo>
                    <a:pt x="192" y="876"/>
                  </a:lnTo>
                  <a:lnTo>
                    <a:pt x="192" y="870"/>
                  </a:lnTo>
                  <a:lnTo>
                    <a:pt x="198" y="870"/>
                  </a:lnTo>
                  <a:lnTo>
                    <a:pt x="198" y="864"/>
                  </a:lnTo>
                  <a:lnTo>
                    <a:pt x="198" y="858"/>
                  </a:lnTo>
                  <a:lnTo>
                    <a:pt x="180" y="852"/>
                  </a:lnTo>
                  <a:lnTo>
                    <a:pt x="174" y="840"/>
                  </a:lnTo>
                  <a:lnTo>
                    <a:pt x="162" y="846"/>
                  </a:lnTo>
                  <a:lnTo>
                    <a:pt x="156" y="846"/>
                  </a:lnTo>
                  <a:lnTo>
                    <a:pt x="150" y="846"/>
                  </a:lnTo>
                  <a:lnTo>
                    <a:pt x="150" y="840"/>
                  </a:lnTo>
                  <a:lnTo>
                    <a:pt x="138" y="834"/>
                  </a:lnTo>
                  <a:lnTo>
                    <a:pt x="132" y="834"/>
                  </a:lnTo>
                  <a:lnTo>
                    <a:pt x="132" y="840"/>
                  </a:lnTo>
                  <a:lnTo>
                    <a:pt x="126" y="840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58"/>
                  </a:lnTo>
                  <a:lnTo>
                    <a:pt x="120" y="846"/>
                  </a:lnTo>
                  <a:lnTo>
                    <a:pt x="114" y="846"/>
                  </a:lnTo>
                  <a:lnTo>
                    <a:pt x="108" y="840"/>
                  </a:lnTo>
                  <a:lnTo>
                    <a:pt x="102" y="834"/>
                  </a:lnTo>
                  <a:lnTo>
                    <a:pt x="102" y="822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78" y="804"/>
                  </a:lnTo>
                  <a:lnTo>
                    <a:pt x="78" y="798"/>
                  </a:lnTo>
                  <a:lnTo>
                    <a:pt x="78" y="792"/>
                  </a:lnTo>
                  <a:lnTo>
                    <a:pt x="78" y="786"/>
                  </a:lnTo>
                  <a:lnTo>
                    <a:pt x="78" y="780"/>
                  </a:lnTo>
                  <a:lnTo>
                    <a:pt x="72" y="774"/>
                  </a:lnTo>
                  <a:lnTo>
                    <a:pt x="66" y="774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60" y="762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6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2" y="666"/>
                  </a:lnTo>
                  <a:lnTo>
                    <a:pt x="18" y="648"/>
                  </a:lnTo>
                  <a:lnTo>
                    <a:pt x="24" y="636"/>
                  </a:lnTo>
                  <a:lnTo>
                    <a:pt x="30" y="630"/>
                  </a:lnTo>
                  <a:lnTo>
                    <a:pt x="30" y="624"/>
                  </a:lnTo>
                  <a:lnTo>
                    <a:pt x="30" y="612"/>
                  </a:lnTo>
                  <a:lnTo>
                    <a:pt x="30" y="606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66" y="582"/>
                  </a:lnTo>
                  <a:lnTo>
                    <a:pt x="72" y="588"/>
                  </a:lnTo>
                  <a:lnTo>
                    <a:pt x="84" y="594"/>
                  </a:lnTo>
                  <a:lnTo>
                    <a:pt x="90" y="600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14" y="612"/>
                  </a:lnTo>
                  <a:lnTo>
                    <a:pt x="120" y="612"/>
                  </a:lnTo>
                  <a:lnTo>
                    <a:pt x="126" y="618"/>
                  </a:lnTo>
                  <a:lnTo>
                    <a:pt x="138" y="594"/>
                  </a:lnTo>
                  <a:lnTo>
                    <a:pt x="138" y="582"/>
                  </a:lnTo>
                  <a:lnTo>
                    <a:pt x="138" y="570"/>
                  </a:lnTo>
                  <a:lnTo>
                    <a:pt x="138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50" y="528"/>
                  </a:lnTo>
                  <a:lnTo>
                    <a:pt x="156" y="510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62"/>
                  </a:lnTo>
                  <a:lnTo>
                    <a:pt x="168" y="450"/>
                  </a:lnTo>
                  <a:lnTo>
                    <a:pt x="168" y="444"/>
                  </a:lnTo>
                  <a:lnTo>
                    <a:pt x="162" y="432"/>
                  </a:lnTo>
                  <a:lnTo>
                    <a:pt x="162" y="426"/>
                  </a:lnTo>
                  <a:lnTo>
                    <a:pt x="156" y="420"/>
                  </a:lnTo>
                  <a:lnTo>
                    <a:pt x="144" y="414"/>
                  </a:lnTo>
                  <a:lnTo>
                    <a:pt x="132" y="402"/>
                  </a:lnTo>
                  <a:lnTo>
                    <a:pt x="126" y="390"/>
                  </a:lnTo>
                  <a:lnTo>
                    <a:pt x="120" y="384"/>
                  </a:lnTo>
                  <a:lnTo>
                    <a:pt x="120" y="372"/>
                  </a:lnTo>
                  <a:lnTo>
                    <a:pt x="114" y="360"/>
                  </a:lnTo>
                  <a:lnTo>
                    <a:pt x="108" y="360"/>
                  </a:lnTo>
                  <a:lnTo>
                    <a:pt x="108" y="354"/>
                  </a:lnTo>
                  <a:lnTo>
                    <a:pt x="102" y="348"/>
                  </a:lnTo>
                  <a:lnTo>
                    <a:pt x="102" y="342"/>
                  </a:lnTo>
                  <a:lnTo>
                    <a:pt x="108" y="330"/>
                  </a:lnTo>
                  <a:lnTo>
                    <a:pt x="114" y="312"/>
                  </a:lnTo>
                  <a:lnTo>
                    <a:pt x="114" y="300"/>
                  </a:lnTo>
                  <a:lnTo>
                    <a:pt x="120" y="288"/>
                  </a:lnTo>
                  <a:lnTo>
                    <a:pt x="120" y="282"/>
                  </a:lnTo>
                  <a:lnTo>
                    <a:pt x="114" y="270"/>
                  </a:lnTo>
                  <a:lnTo>
                    <a:pt x="114" y="258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84" y="222"/>
                  </a:lnTo>
                  <a:lnTo>
                    <a:pt x="84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84" y="186"/>
                  </a:lnTo>
                  <a:lnTo>
                    <a:pt x="84" y="180"/>
                  </a:lnTo>
                  <a:lnTo>
                    <a:pt x="108" y="174"/>
                  </a:lnTo>
                  <a:lnTo>
                    <a:pt x="132" y="186"/>
                  </a:lnTo>
                  <a:lnTo>
                    <a:pt x="138" y="192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56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74" y="204"/>
                  </a:lnTo>
                  <a:lnTo>
                    <a:pt x="180" y="216"/>
                  </a:lnTo>
                  <a:lnTo>
                    <a:pt x="186" y="228"/>
                  </a:lnTo>
                  <a:lnTo>
                    <a:pt x="192" y="234"/>
                  </a:lnTo>
                  <a:lnTo>
                    <a:pt x="198" y="234"/>
                  </a:lnTo>
                  <a:lnTo>
                    <a:pt x="204" y="240"/>
                  </a:lnTo>
                  <a:lnTo>
                    <a:pt x="210" y="240"/>
                  </a:lnTo>
                  <a:lnTo>
                    <a:pt x="216" y="240"/>
                  </a:lnTo>
                  <a:lnTo>
                    <a:pt x="222" y="240"/>
                  </a:lnTo>
                  <a:lnTo>
                    <a:pt x="228" y="246"/>
                  </a:lnTo>
                  <a:lnTo>
                    <a:pt x="234" y="246"/>
                  </a:lnTo>
                  <a:lnTo>
                    <a:pt x="240" y="246"/>
                  </a:lnTo>
                  <a:lnTo>
                    <a:pt x="252" y="252"/>
                  </a:lnTo>
                  <a:lnTo>
                    <a:pt x="330" y="246"/>
                  </a:lnTo>
                  <a:lnTo>
                    <a:pt x="360" y="228"/>
                  </a:lnTo>
                  <a:lnTo>
                    <a:pt x="396" y="228"/>
                  </a:lnTo>
                  <a:lnTo>
                    <a:pt x="402" y="240"/>
                  </a:lnTo>
                  <a:lnTo>
                    <a:pt x="432" y="240"/>
                  </a:lnTo>
                  <a:lnTo>
                    <a:pt x="450" y="258"/>
                  </a:lnTo>
                  <a:lnTo>
                    <a:pt x="468" y="258"/>
                  </a:lnTo>
                  <a:lnTo>
                    <a:pt x="474" y="294"/>
                  </a:lnTo>
                  <a:lnTo>
                    <a:pt x="558" y="318"/>
                  </a:lnTo>
                  <a:lnTo>
                    <a:pt x="588" y="318"/>
                  </a:lnTo>
                  <a:lnTo>
                    <a:pt x="588" y="312"/>
                  </a:lnTo>
                  <a:lnTo>
                    <a:pt x="594" y="306"/>
                  </a:lnTo>
                  <a:lnTo>
                    <a:pt x="600" y="306"/>
                  </a:lnTo>
                  <a:lnTo>
                    <a:pt x="612" y="300"/>
                  </a:lnTo>
                  <a:lnTo>
                    <a:pt x="618" y="300"/>
                  </a:lnTo>
                  <a:lnTo>
                    <a:pt x="630" y="300"/>
                  </a:lnTo>
                  <a:lnTo>
                    <a:pt x="642" y="306"/>
                  </a:lnTo>
                  <a:lnTo>
                    <a:pt x="660" y="306"/>
                  </a:lnTo>
                  <a:lnTo>
                    <a:pt x="666" y="306"/>
                  </a:lnTo>
                  <a:lnTo>
                    <a:pt x="672" y="306"/>
                  </a:lnTo>
                  <a:lnTo>
                    <a:pt x="684" y="300"/>
                  </a:lnTo>
                  <a:lnTo>
                    <a:pt x="696" y="294"/>
                  </a:lnTo>
                  <a:lnTo>
                    <a:pt x="702" y="288"/>
                  </a:lnTo>
                  <a:lnTo>
                    <a:pt x="714" y="282"/>
                  </a:lnTo>
                  <a:lnTo>
                    <a:pt x="714" y="288"/>
                  </a:lnTo>
                  <a:lnTo>
                    <a:pt x="726" y="300"/>
                  </a:lnTo>
                  <a:lnTo>
                    <a:pt x="732" y="306"/>
                  </a:lnTo>
                  <a:lnTo>
                    <a:pt x="732" y="318"/>
                  </a:lnTo>
                  <a:lnTo>
                    <a:pt x="732" y="330"/>
                  </a:lnTo>
                  <a:lnTo>
                    <a:pt x="726" y="342"/>
                  </a:lnTo>
                  <a:lnTo>
                    <a:pt x="720" y="354"/>
                  </a:lnTo>
                  <a:lnTo>
                    <a:pt x="720" y="360"/>
                  </a:lnTo>
                  <a:lnTo>
                    <a:pt x="714" y="372"/>
                  </a:lnTo>
                  <a:lnTo>
                    <a:pt x="714" y="378"/>
                  </a:lnTo>
                  <a:lnTo>
                    <a:pt x="714" y="408"/>
                  </a:lnTo>
                  <a:lnTo>
                    <a:pt x="708" y="420"/>
                  </a:lnTo>
                  <a:lnTo>
                    <a:pt x="714" y="432"/>
                  </a:lnTo>
                  <a:lnTo>
                    <a:pt x="708" y="450"/>
                  </a:lnTo>
                  <a:lnTo>
                    <a:pt x="708" y="468"/>
                  </a:lnTo>
                  <a:lnTo>
                    <a:pt x="696" y="480"/>
                  </a:lnTo>
                  <a:lnTo>
                    <a:pt x="684" y="486"/>
                  </a:lnTo>
                  <a:lnTo>
                    <a:pt x="672" y="492"/>
                  </a:lnTo>
                  <a:lnTo>
                    <a:pt x="660" y="498"/>
                  </a:lnTo>
                  <a:lnTo>
                    <a:pt x="654" y="510"/>
                  </a:lnTo>
                  <a:lnTo>
                    <a:pt x="648" y="516"/>
                  </a:lnTo>
                  <a:lnTo>
                    <a:pt x="642" y="522"/>
                  </a:lnTo>
                  <a:lnTo>
                    <a:pt x="630" y="522"/>
                  </a:lnTo>
                  <a:lnTo>
                    <a:pt x="624" y="528"/>
                  </a:lnTo>
                  <a:lnTo>
                    <a:pt x="618" y="540"/>
                  </a:lnTo>
                  <a:lnTo>
                    <a:pt x="618" y="558"/>
                  </a:lnTo>
                  <a:lnTo>
                    <a:pt x="612" y="576"/>
                  </a:lnTo>
                  <a:lnTo>
                    <a:pt x="612" y="684"/>
                  </a:lnTo>
                  <a:lnTo>
                    <a:pt x="618" y="696"/>
                  </a:lnTo>
                  <a:lnTo>
                    <a:pt x="636" y="696"/>
                  </a:lnTo>
                  <a:lnTo>
                    <a:pt x="636" y="720"/>
                  </a:lnTo>
                  <a:lnTo>
                    <a:pt x="636" y="732"/>
                  </a:lnTo>
                  <a:lnTo>
                    <a:pt x="618" y="750"/>
                  </a:lnTo>
                  <a:lnTo>
                    <a:pt x="606" y="762"/>
                  </a:lnTo>
                  <a:lnTo>
                    <a:pt x="600" y="774"/>
                  </a:lnTo>
                  <a:lnTo>
                    <a:pt x="594" y="798"/>
                  </a:lnTo>
                  <a:lnTo>
                    <a:pt x="606" y="798"/>
                  </a:lnTo>
                  <a:lnTo>
                    <a:pt x="660" y="792"/>
                  </a:lnTo>
                  <a:lnTo>
                    <a:pt x="696" y="798"/>
                  </a:lnTo>
                  <a:lnTo>
                    <a:pt x="720" y="798"/>
                  </a:lnTo>
                  <a:lnTo>
                    <a:pt x="720" y="786"/>
                  </a:lnTo>
                  <a:lnTo>
                    <a:pt x="720" y="774"/>
                  </a:lnTo>
                  <a:lnTo>
                    <a:pt x="702" y="762"/>
                  </a:lnTo>
                  <a:lnTo>
                    <a:pt x="702" y="750"/>
                  </a:lnTo>
                  <a:lnTo>
                    <a:pt x="702" y="726"/>
                  </a:lnTo>
                  <a:lnTo>
                    <a:pt x="714" y="714"/>
                  </a:lnTo>
                  <a:lnTo>
                    <a:pt x="720" y="702"/>
                  </a:lnTo>
                  <a:lnTo>
                    <a:pt x="720" y="696"/>
                  </a:lnTo>
                  <a:lnTo>
                    <a:pt x="744" y="690"/>
                  </a:lnTo>
                  <a:lnTo>
                    <a:pt x="744" y="696"/>
                  </a:lnTo>
                  <a:lnTo>
                    <a:pt x="756" y="696"/>
                  </a:lnTo>
                  <a:lnTo>
                    <a:pt x="762" y="690"/>
                  </a:lnTo>
                  <a:lnTo>
                    <a:pt x="768" y="690"/>
                  </a:lnTo>
                  <a:lnTo>
                    <a:pt x="774" y="696"/>
                  </a:lnTo>
                  <a:lnTo>
                    <a:pt x="780" y="696"/>
                  </a:lnTo>
                  <a:lnTo>
                    <a:pt x="786" y="696"/>
                  </a:lnTo>
                  <a:lnTo>
                    <a:pt x="804" y="684"/>
                  </a:lnTo>
                  <a:lnTo>
                    <a:pt x="810" y="684"/>
                  </a:lnTo>
                  <a:lnTo>
                    <a:pt x="810" y="654"/>
                  </a:lnTo>
                  <a:lnTo>
                    <a:pt x="816" y="588"/>
                  </a:lnTo>
                  <a:lnTo>
                    <a:pt x="804" y="582"/>
                  </a:lnTo>
                  <a:lnTo>
                    <a:pt x="798" y="552"/>
                  </a:lnTo>
                  <a:lnTo>
                    <a:pt x="798" y="480"/>
                  </a:lnTo>
                  <a:lnTo>
                    <a:pt x="780" y="468"/>
                  </a:lnTo>
                  <a:lnTo>
                    <a:pt x="780" y="462"/>
                  </a:lnTo>
                  <a:lnTo>
                    <a:pt x="774" y="450"/>
                  </a:lnTo>
                  <a:lnTo>
                    <a:pt x="762" y="444"/>
                  </a:lnTo>
                  <a:lnTo>
                    <a:pt x="762" y="438"/>
                  </a:lnTo>
                  <a:lnTo>
                    <a:pt x="768" y="432"/>
                  </a:lnTo>
                  <a:lnTo>
                    <a:pt x="774" y="426"/>
                  </a:lnTo>
                  <a:lnTo>
                    <a:pt x="780" y="426"/>
                  </a:lnTo>
                  <a:lnTo>
                    <a:pt x="780" y="414"/>
                  </a:lnTo>
                  <a:lnTo>
                    <a:pt x="834" y="414"/>
                  </a:lnTo>
                  <a:lnTo>
                    <a:pt x="834" y="426"/>
                  </a:lnTo>
                  <a:lnTo>
                    <a:pt x="840" y="432"/>
                  </a:lnTo>
                  <a:lnTo>
                    <a:pt x="846" y="432"/>
                  </a:lnTo>
                  <a:lnTo>
                    <a:pt x="852" y="432"/>
                  </a:lnTo>
                  <a:lnTo>
                    <a:pt x="858" y="432"/>
                  </a:lnTo>
                  <a:lnTo>
                    <a:pt x="870" y="432"/>
                  </a:lnTo>
                  <a:lnTo>
                    <a:pt x="870" y="426"/>
                  </a:lnTo>
                  <a:lnTo>
                    <a:pt x="870" y="420"/>
                  </a:lnTo>
                  <a:lnTo>
                    <a:pt x="876" y="420"/>
                  </a:lnTo>
                  <a:lnTo>
                    <a:pt x="882" y="420"/>
                  </a:lnTo>
                  <a:lnTo>
                    <a:pt x="894" y="414"/>
                  </a:lnTo>
                  <a:lnTo>
                    <a:pt x="900" y="414"/>
                  </a:lnTo>
                  <a:lnTo>
                    <a:pt x="906" y="408"/>
                  </a:lnTo>
                  <a:lnTo>
                    <a:pt x="918" y="408"/>
                  </a:lnTo>
                  <a:lnTo>
                    <a:pt x="924" y="402"/>
                  </a:lnTo>
                  <a:lnTo>
                    <a:pt x="930" y="384"/>
                  </a:lnTo>
                  <a:lnTo>
                    <a:pt x="948" y="396"/>
                  </a:lnTo>
                  <a:lnTo>
                    <a:pt x="954" y="384"/>
                  </a:lnTo>
                  <a:lnTo>
                    <a:pt x="960" y="384"/>
                  </a:lnTo>
                  <a:lnTo>
                    <a:pt x="972" y="384"/>
                  </a:lnTo>
                  <a:lnTo>
                    <a:pt x="978" y="378"/>
                  </a:lnTo>
                  <a:lnTo>
                    <a:pt x="972" y="366"/>
                  </a:lnTo>
                  <a:lnTo>
                    <a:pt x="966" y="342"/>
                  </a:lnTo>
                  <a:lnTo>
                    <a:pt x="960" y="330"/>
                  </a:lnTo>
                  <a:lnTo>
                    <a:pt x="942" y="324"/>
                  </a:lnTo>
                  <a:lnTo>
                    <a:pt x="936" y="318"/>
                  </a:lnTo>
                  <a:lnTo>
                    <a:pt x="936" y="294"/>
                  </a:lnTo>
                  <a:lnTo>
                    <a:pt x="942" y="294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282"/>
                  </a:lnTo>
                  <a:lnTo>
                    <a:pt x="954" y="276"/>
                  </a:lnTo>
                  <a:lnTo>
                    <a:pt x="960" y="276"/>
                  </a:lnTo>
                  <a:lnTo>
                    <a:pt x="966" y="276"/>
                  </a:lnTo>
                  <a:lnTo>
                    <a:pt x="960" y="258"/>
                  </a:lnTo>
                  <a:lnTo>
                    <a:pt x="954" y="240"/>
                  </a:lnTo>
                  <a:lnTo>
                    <a:pt x="948" y="204"/>
                  </a:lnTo>
                  <a:lnTo>
                    <a:pt x="954" y="204"/>
                  </a:lnTo>
                  <a:lnTo>
                    <a:pt x="960" y="198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00" y="186"/>
                  </a:lnTo>
                  <a:lnTo>
                    <a:pt x="876" y="180"/>
                  </a:lnTo>
                  <a:lnTo>
                    <a:pt x="858" y="180"/>
                  </a:lnTo>
                  <a:lnTo>
                    <a:pt x="852" y="168"/>
                  </a:lnTo>
                  <a:lnTo>
                    <a:pt x="834" y="156"/>
                  </a:lnTo>
                  <a:lnTo>
                    <a:pt x="822" y="156"/>
                  </a:lnTo>
                  <a:lnTo>
                    <a:pt x="804" y="156"/>
                  </a:lnTo>
                  <a:lnTo>
                    <a:pt x="804" y="150"/>
                  </a:lnTo>
                  <a:lnTo>
                    <a:pt x="792" y="144"/>
                  </a:lnTo>
                  <a:lnTo>
                    <a:pt x="762" y="138"/>
                  </a:lnTo>
                  <a:lnTo>
                    <a:pt x="768" y="120"/>
                  </a:lnTo>
                  <a:lnTo>
                    <a:pt x="756" y="120"/>
                  </a:lnTo>
                  <a:lnTo>
                    <a:pt x="744" y="108"/>
                  </a:lnTo>
                  <a:lnTo>
                    <a:pt x="744" y="96"/>
                  </a:lnTo>
                  <a:lnTo>
                    <a:pt x="762" y="84"/>
                  </a:lnTo>
                  <a:lnTo>
                    <a:pt x="768" y="84"/>
                  </a:lnTo>
                  <a:lnTo>
                    <a:pt x="768" y="72"/>
                  </a:lnTo>
                  <a:lnTo>
                    <a:pt x="780" y="66"/>
                  </a:lnTo>
                  <a:lnTo>
                    <a:pt x="798" y="54"/>
                  </a:lnTo>
                  <a:lnTo>
                    <a:pt x="792" y="54"/>
                  </a:lnTo>
                  <a:lnTo>
                    <a:pt x="798" y="36"/>
                  </a:lnTo>
                  <a:lnTo>
                    <a:pt x="804" y="36"/>
                  </a:lnTo>
                  <a:lnTo>
                    <a:pt x="816" y="30"/>
                  </a:lnTo>
                  <a:lnTo>
                    <a:pt x="828" y="30"/>
                  </a:lnTo>
                  <a:lnTo>
                    <a:pt x="846" y="12"/>
                  </a:lnTo>
                  <a:lnTo>
                    <a:pt x="876" y="0"/>
                  </a:lnTo>
                  <a:lnTo>
                    <a:pt x="882" y="6"/>
                  </a:lnTo>
                  <a:lnTo>
                    <a:pt x="900" y="6"/>
                  </a:lnTo>
                  <a:lnTo>
                    <a:pt x="912" y="36"/>
                  </a:lnTo>
                  <a:lnTo>
                    <a:pt x="918" y="42"/>
                  </a:lnTo>
                  <a:lnTo>
                    <a:pt x="924" y="54"/>
                  </a:lnTo>
                  <a:lnTo>
                    <a:pt x="930" y="54"/>
                  </a:lnTo>
                  <a:lnTo>
                    <a:pt x="930" y="78"/>
                  </a:lnTo>
                  <a:lnTo>
                    <a:pt x="954" y="72"/>
                  </a:lnTo>
                  <a:lnTo>
                    <a:pt x="954" y="60"/>
                  </a:lnTo>
                  <a:lnTo>
                    <a:pt x="966" y="66"/>
                  </a:lnTo>
                  <a:lnTo>
                    <a:pt x="966" y="78"/>
                  </a:lnTo>
                  <a:lnTo>
                    <a:pt x="960" y="84"/>
                  </a:lnTo>
                  <a:lnTo>
                    <a:pt x="954" y="102"/>
                  </a:lnTo>
                  <a:lnTo>
                    <a:pt x="972" y="102"/>
                  </a:lnTo>
                  <a:lnTo>
                    <a:pt x="978" y="84"/>
                  </a:lnTo>
                  <a:lnTo>
                    <a:pt x="984" y="72"/>
                  </a:lnTo>
                  <a:lnTo>
                    <a:pt x="990" y="72"/>
                  </a:lnTo>
                  <a:lnTo>
                    <a:pt x="996" y="18"/>
                  </a:lnTo>
                  <a:lnTo>
                    <a:pt x="990" y="12"/>
                  </a:lnTo>
                  <a:lnTo>
                    <a:pt x="1014" y="12"/>
                  </a:lnTo>
                  <a:lnTo>
                    <a:pt x="1026" y="12"/>
                  </a:lnTo>
                  <a:lnTo>
                    <a:pt x="1026" y="24"/>
                  </a:lnTo>
                  <a:lnTo>
                    <a:pt x="1050" y="24"/>
                  </a:lnTo>
                  <a:lnTo>
                    <a:pt x="1050" y="36"/>
                  </a:lnTo>
                  <a:lnTo>
                    <a:pt x="1062" y="66"/>
                  </a:lnTo>
                  <a:lnTo>
                    <a:pt x="1074" y="66"/>
                  </a:lnTo>
                  <a:lnTo>
                    <a:pt x="1080" y="60"/>
                  </a:lnTo>
                  <a:lnTo>
                    <a:pt x="1074" y="24"/>
                  </a:lnTo>
                  <a:lnTo>
                    <a:pt x="1086" y="18"/>
                  </a:lnTo>
                  <a:lnTo>
                    <a:pt x="1086" y="12"/>
                  </a:lnTo>
                  <a:lnTo>
                    <a:pt x="1104" y="6"/>
                  </a:lnTo>
                  <a:lnTo>
                    <a:pt x="1122" y="0"/>
                  </a:lnTo>
                  <a:lnTo>
                    <a:pt x="1134" y="6"/>
                  </a:lnTo>
                  <a:lnTo>
                    <a:pt x="1134" y="42"/>
                  </a:lnTo>
                  <a:lnTo>
                    <a:pt x="1140" y="72"/>
                  </a:lnTo>
                  <a:lnTo>
                    <a:pt x="1158" y="114"/>
                  </a:lnTo>
                  <a:lnTo>
                    <a:pt x="1170" y="114"/>
                  </a:lnTo>
                  <a:lnTo>
                    <a:pt x="1170" y="126"/>
                  </a:lnTo>
                  <a:lnTo>
                    <a:pt x="1182" y="126"/>
                  </a:lnTo>
                  <a:lnTo>
                    <a:pt x="1182" y="138"/>
                  </a:lnTo>
                  <a:lnTo>
                    <a:pt x="1194" y="144"/>
                  </a:lnTo>
                  <a:lnTo>
                    <a:pt x="1194" y="156"/>
                  </a:lnTo>
                  <a:lnTo>
                    <a:pt x="1188" y="156"/>
                  </a:lnTo>
                  <a:lnTo>
                    <a:pt x="1194" y="162"/>
                  </a:lnTo>
                  <a:lnTo>
                    <a:pt x="1194" y="168"/>
                  </a:lnTo>
                  <a:lnTo>
                    <a:pt x="1188" y="168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82" y="180"/>
                  </a:lnTo>
                  <a:lnTo>
                    <a:pt x="1188" y="186"/>
                  </a:lnTo>
                  <a:lnTo>
                    <a:pt x="1188" y="192"/>
                  </a:lnTo>
                  <a:lnTo>
                    <a:pt x="1182" y="198"/>
                  </a:lnTo>
                  <a:lnTo>
                    <a:pt x="1182" y="204"/>
                  </a:lnTo>
                  <a:lnTo>
                    <a:pt x="1182" y="210"/>
                  </a:lnTo>
                  <a:lnTo>
                    <a:pt x="1188" y="210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2"/>
                  </a:lnTo>
                  <a:lnTo>
                    <a:pt x="1194" y="264"/>
                  </a:lnTo>
                  <a:lnTo>
                    <a:pt x="1200" y="264"/>
                  </a:lnTo>
                  <a:lnTo>
                    <a:pt x="1212" y="264"/>
                  </a:lnTo>
                  <a:lnTo>
                    <a:pt x="1212" y="258"/>
                  </a:lnTo>
                  <a:lnTo>
                    <a:pt x="1224" y="258"/>
                  </a:lnTo>
                  <a:lnTo>
                    <a:pt x="1248" y="252"/>
                  </a:lnTo>
                  <a:lnTo>
                    <a:pt x="1248" y="264"/>
                  </a:lnTo>
                  <a:lnTo>
                    <a:pt x="1254" y="264"/>
                  </a:lnTo>
                  <a:lnTo>
                    <a:pt x="1254" y="270"/>
                  </a:lnTo>
                  <a:lnTo>
                    <a:pt x="1260" y="270"/>
                  </a:lnTo>
                  <a:lnTo>
                    <a:pt x="1266" y="270"/>
                  </a:lnTo>
                  <a:lnTo>
                    <a:pt x="1272" y="270"/>
                  </a:lnTo>
                  <a:lnTo>
                    <a:pt x="1272" y="264"/>
                  </a:lnTo>
                  <a:lnTo>
                    <a:pt x="1272" y="258"/>
                  </a:lnTo>
                  <a:lnTo>
                    <a:pt x="1278" y="258"/>
                  </a:lnTo>
                  <a:lnTo>
                    <a:pt x="1278" y="252"/>
                  </a:lnTo>
                  <a:lnTo>
                    <a:pt x="1290" y="252"/>
                  </a:lnTo>
                  <a:lnTo>
                    <a:pt x="1296" y="246"/>
                  </a:lnTo>
                  <a:lnTo>
                    <a:pt x="1308" y="246"/>
                  </a:lnTo>
                  <a:lnTo>
                    <a:pt x="1308" y="240"/>
                  </a:lnTo>
                  <a:lnTo>
                    <a:pt x="1320" y="240"/>
                  </a:lnTo>
                  <a:lnTo>
                    <a:pt x="1326" y="246"/>
                  </a:lnTo>
                  <a:lnTo>
                    <a:pt x="1338" y="246"/>
                  </a:lnTo>
                  <a:lnTo>
                    <a:pt x="1338" y="240"/>
                  </a:lnTo>
                  <a:lnTo>
                    <a:pt x="1350" y="240"/>
                  </a:lnTo>
                  <a:lnTo>
                    <a:pt x="1386" y="234"/>
                  </a:lnTo>
                  <a:lnTo>
                    <a:pt x="1398" y="228"/>
                  </a:lnTo>
                  <a:lnTo>
                    <a:pt x="1404" y="216"/>
                  </a:lnTo>
                  <a:lnTo>
                    <a:pt x="1416" y="204"/>
                  </a:lnTo>
                  <a:lnTo>
                    <a:pt x="1434" y="192"/>
                  </a:lnTo>
                  <a:lnTo>
                    <a:pt x="1446" y="198"/>
                  </a:lnTo>
                  <a:lnTo>
                    <a:pt x="1446" y="204"/>
                  </a:lnTo>
                  <a:lnTo>
                    <a:pt x="1452" y="210"/>
                  </a:lnTo>
                  <a:lnTo>
                    <a:pt x="1464" y="222"/>
                  </a:lnTo>
                  <a:lnTo>
                    <a:pt x="1464" y="228"/>
                  </a:lnTo>
                  <a:lnTo>
                    <a:pt x="1464" y="234"/>
                  </a:lnTo>
                  <a:lnTo>
                    <a:pt x="1470" y="240"/>
                  </a:lnTo>
                  <a:lnTo>
                    <a:pt x="1476" y="228"/>
                  </a:lnTo>
                  <a:lnTo>
                    <a:pt x="1476" y="222"/>
                  </a:lnTo>
                  <a:lnTo>
                    <a:pt x="1482" y="210"/>
                  </a:lnTo>
                  <a:lnTo>
                    <a:pt x="1488" y="192"/>
                  </a:lnTo>
                  <a:lnTo>
                    <a:pt x="1488" y="186"/>
                  </a:lnTo>
                  <a:lnTo>
                    <a:pt x="1488" y="180"/>
                  </a:lnTo>
                  <a:lnTo>
                    <a:pt x="1500" y="180"/>
                  </a:lnTo>
                  <a:lnTo>
                    <a:pt x="1500" y="174"/>
                  </a:lnTo>
                  <a:lnTo>
                    <a:pt x="1518" y="162"/>
                  </a:lnTo>
                  <a:lnTo>
                    <a:pt x="1536" y="150"/>
                  </a:lnTo>
                  <a:lnTo>
                    <a:pt x="1554" y="168"/>
                  </a:lnTo>
                  <a:lnTo>
                    <a:pt x="1572" y="180"/>
                  </a:lnTo>
                  <a:lnTo>
                    <a:pt x="1596" y="216"/>
                  </a:lnTo>
                  <a:lnTo>
                    <a:pt x="1602" y="216"/>
                  </a:lnTo>
                  <a:lnTo>
                    <a:pt x="1614" y="228"/>
                  </a:lnTo>
                  <a:lnTo>
                    <a:pt x="1614" y="234"/>
                  </a:lnTo>
                  <a:lnTo>
                    <a:pt x="1620" y="240"/>
                  </a:lnTo>
                  <a:lnTo>
                    <a:pt x="1620" y="246"/>
                  </a:lnTo>
                  <a:lnTo>
                    <a:pt x="1626" y="252"/>
                  </a:lnTo>
                  <a:lnTo>
                    <a:pt x="1632" y="258"/>
                  </a:lnTo>
                  <a:lnTo>
                    <a:pt x="1632" y="264"/>
                  </a:lnTo>
                  <a:lnTo>
                    <a:pt x="1638" y="264"/>
                  </a:lnTo>
                  <a:lnTo>
                    <a:pt x="1638" y="270"/>
                  </a:lnTo>
                  <a:lnTo>
                    <a:pt x="1638" y="276"/>
                  </a:lnTo>
                  <a:lnTo>
                    <a:pt x="1638" y="282"/>
                  </a:lnTo>
                  <a:lnTo>
                    <a:pt x="1644" y="288"/>
                  </a:lnTo>
                  <a:lnTo>
                    <a:pt x="1644" y="294"/>
                  </a:lnTo>
                  <a:lnTo>
                    <a:pt x="1644" y="300"/>
                  </a:lnTo>
                  <a:lnTo>
                    <a:pt x="1644" y="306"/>
                  </a:lnTo>
                  <a:lnTo>
                    <a:pt x="1650" y="306"/>
                  </a:lnTo>
                  <a:lnTo>
                    <a:pt x="1650" y="312"/>
                  </a:lnTo>
                  <a:lnTo>
                    <a:pt x="1650" y="318"/>
                  </a:lnTo>
                  <a:lnTo>
                    <a:pt x="1650" y="324"/>
                  </a:lnTo>
                  <a:lnTo>
                    <a:pt x="1644" y="330"/>
                  </a:lnTo>
                  <a:lnTo>
                    <a:pt x="1626" y="330"/>
                  </a:lnTo>
                  <a:lnTo>
                    <a:pt x="1626" y="336"/>
                  </a:lnTo>
                  <a:lnTo>
                    <a:pt x="1626" y="342"/>
                  </a:lnTo>
                  <a:lnTo>
                    <a:pt x="1626" y="348"/>
                  </a:lnTo>
                  <a:lnTo>
                    <a:pt x="1620" y="354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14" y="390"/>
                  </a:lnTo>
                  <a:lnTo>
                    <a:pt x="1614" y="396"/>
                  </a:lnTo>
                  <a:lnTo>
                    <a:pt x="1614" y="402"/>
                  </a:lnTo>
                  <a:lnTo>
                    <a:pt x="1614" y="408"/>
                  </a:lnTo>
                  <a:lnTo>
                    <a:pt x="1614" y="414"/>
                  </a:lnTo>
                  <a:lnTo>
                    <a:pt x="1602" y="420"/>
                  </a:lnTo>
                  <a:lnTo>
                    <a:pt x="1602" y="426"/>
                  </a:lnTo>
                  <a:lnTo>
                    <a:pt x="1608" y="432"/>
                  </a:lnTo>
                  <a:lnTo>
                    <a:pt x="1614" y="426"/>
                  </a:lnTo>
                  <a:lnTo>
                    <a:pt x="1620" y="438"/>
                  </a:lnTo>
                  <a:lnTo>
                    <a:pt x="1626" y="438"/>
                  </a:lnTo>
                  <a:lnTo>
                    <a:pt x="1632" y="444"/>
                  </a:lnTo>
                  <a:lnTo>
                    <a:pt x="1626" y="456"/>
                  </a:lnTo>
                  <a:lnTo>
                    <a:pt x="1626" y="468"/>
                  </a:lnTo>
                  <a:lnTo>
                    <a:pt x="1620" y="474"/>
                  </a:lnTo>
                  <a:lnTo>
                    <a:pt x="1614" y="474"/>
                  </a:lnTo>
                  <a:lnTo>
                    <a:pt x="1614" y="486"/>
                  </a:lnTo>
                  <a:lnTo>
                    <a:pt x="1614" y="492"/>
                  </a:lnTo>
                  <a:lnTo>
                    <a:pt x="1620" y="492"/>
                  </a:lnTo>
                  <a:lnTo>
                    <a:pt x="1626" y="498"/>
                  </a:lnTo>
                  <a:lnTo>
                    <a:pt x="1626" y="504"/>
                  </a:lnTo>
                  <a:lnTo>
                    <a:pt x="1626" y="510"/>
                  </a:lnTo>
                  <a:lnTo>
                    <a:pt x="1620" y="516"/>
                  </a:lnTo>
                  <a:lnTo>
                    <a:pt x="1620" y="522"/>
                  </a:lnTo>
                  <a:lnTo>
                    <a:pt x="1614" y="522"/>
                  </a:lnTo>
                  <a:lnTo>
                    <a:pt x="1608" y="528"/>
                  </a:lnTo>
                  <a:lnTo>
                    <a:pt x="1602" y="522"/>
                  </a:lnTo>
                  <a:lnTo>
                    <a:pt x="1602" y="528"/>
                  </a:lnTo>
                  <a:lnTo>
                    <a:pt x="1602" y="540"/>
                  </a:lnTo>
                  <a:lnTo>
                    <a:pt x="1602" y="558"/>
                  </a:lnTo>
                  <a:lnTo>
                    <a:pt x="1602" y="564"/>
                  </a:lnTo>
                  <a:lnTo>
                    <a:pt x="1602" y="570"/>
                  </a:lnTo>
                  <a:lnTo>
                    <a:pt x="1602" y="576"/>
                  </a:lnTo>
                  <a:lnTo>
                    <a:pt x="1596" y="576"/>
                  </a:lnTo>
                  <a:lnTo>
                    <a:pt x="1632" y="582"/>
                  </a:lnTo>
                  <a:lnTo>
                    <a:pt x="1644" y="618"/>
                  </a:lnTo>
                  <a:lnTo>
                    <a:pt x="1650" y="648"/>
                  </a:lnTo>
                  <a:lnTo>
                    <a:pt x="1662" y="636"/>
                  </a:lnTo>
                  <a:lnTo>
                    <a:pt x="1668" y="636"/>
                  </a:lnTo>
                  <a:lnTo>
                    <a:pt x="1674" y="636"/>
                  </a:lnTo>
                  <a:lnTo>
                    <a:pt x="1680" y="630"/>
                  </a:lnTo>
                  <a:lnTo>
                    <a:pt x="1686" y="630"/>
                  </a:lnTo>
                  <a:lnTo>
                    <a:pt x="1692" y="630"/>
                  </a:lnTo>
                  <a:lnTo>
                    <a:pt x="1698" y="630"/>
                  </a:lnTo>
                  <a:lnTo>
                    <a:pt x="1704" y="630"/>
                  </a:lnTo>
                  <a:lnTo>
                    <a:pt x="1704" y="624"/>
                  </a:lnTo>
                  <a:lnTo>
                    <a:pt x="1710" y="624"/>
                  </a:lnTo>
                  <a:lnTo>
                    <a:pt x="1716" y="624"/>
                  </a:lnTo>
                  <a:lnTo>
                    <a:pt x="1722" y="624"/>
                  </a:lnTo>
                  <a:lnTo>
                    <a:pt x="1728" y="624"/>
                  </a:lnTo>
                  <a:lnTo>
                    <a:pt x="1722" y="618"/>
                  </a:lnTo>
                  <a:lnTo>
                    <a:pt x="1728" y="606"/>
                  </a:lnTo>
                  <a:lnTo>
                    <a:pt x="1734" y="606"/>
                  </a:lnTo>
                  <a:lnTo>
                    <a:pt x="1740" y="600"/>
                  </a:lnTo>
                  <a:lnTo>
                    <a:pt x="1746" y="594"/>
                  </a:lnTo>
                  <a:lnTo>
                    <a:pt x="1752" y="588"/>
                  </a:lnTo>
                  <a:lnTo>
                    <a:pt x="1752" y="582"/>
                  </a:lnTo>
                  <a:lnTo>
                    <a:pt x="1758" y="576"/>
                  </a:lnTo>
                  <a:lnTo>
                    <a:pt x="1764" y="576"/>
                  </a:lnTo>
                  <a:lnTo>
                    <a:pt x="1770" y="570"/>
                  </a:lnTo>
                  <a:lnTo>
                    <a:pt x="1776" y="564"/>
                  </a:lnTo>
                  <a:lnTo>
                    <a:pt x="1788" y="558"/>
                  </a:lnTo>
                  <a:lnTo>
                    <a:pt x="1788" y="546"/>
                  </a:lnTo>
                  <a:lnTo>
                    <a:pt x="1788" y="540"/>
                  </a:lnTo>
                  <a:lnTo>
                    <a:pt x="1794" y="540"/>
                  </a:lnTo>
                  <a:lnTo>
                    <a:pt x="1788" y="534"/>
                  </a:lnTo>
                  <a:lnTo>
                    <a:pt x="1788" y="528"/>
                  </a:lnTo>
                  <a:lnTo>
                    <a:pt x="1794" y="516"/>
                  </a:lnTo>
                  <a:lnTo>
                    <a:pt x="1800" y="510"/>
                  </a:lnTo>
                  <a:lnTo>
                    <a:pt x="1812" y="510"/>
                  </a:lnTo>
                  <a:lnTo>
                    <a:pt x="1818" y="504"/>
                  </a:lnTo>
                  <a:lnTo>
                    <a:pt x="1824" y="504"/>
                  </a:lnTo>
                  <a:lnTo>
                    <a:pt x="1830" y="498"/>
                  </a:lnTo>
                  <a:lnTo>
                    <a:pt x="1836" y="498"/>
                  </a:lnTo>
                  <a:lnTo>
                    <a:pt x="1848" y="492"/>
                  </a:lnTo>
                  <a:lnTo>
                    <a:pt x="1848" y="480"/>
                  </a:lnTo>
                  <a:lnTo>
                    <a:pt x="1854" y="480"/>
                  </a:lnTo>
                  <a:lnTo>
                    <a:pt x="1890" y="504"/>
                  </a:lnTo>
                  <a:lnTo>
                    <a:pt x="1908" y="534"/>
                  </a:lnTo>
                  <a:lnTo>
                    <a:pt x="1902" y="534"/>
                  </a:lnTo>
                  <a:lnTo>
                    <a:pt x="1920" y="528"/>
                  </a:lnTo>
                  <a:lnTo>
                    <a:pt x="1920" y="516"/>
                  </a:lnTo>
                  <a:lnTo>
                    <a:pt x="1944" y="516"/>
                  </a:lnTo>
                  <a:lnTo>
                    <a:pt x="2004" y="516"/>
                  </a:lnTo>
                  <a:lnTo>
                    <a:pt x="2010" y="510"/>
                  </a:lnTo>
                  <a:lnTo>
                    <a:pt x="2004" y="510"/>
                  </a:lnTo>
                  <a:lnTo>
                    <a:pt x="2010" y="498"/>
                  </a:lnTo>
                  <a:lnTo>
                    <a:pt x="2004" y="486"/>
                  </a:lnTo>
                  <a:lnTo>
                    <a:pt x="2004" y="480"/>
                  </a:lnTo>
                  <a:lnTo>
                    <a:pt x="2004" y="474"/>
                  </a:lnTo>
                  <a:lnTo>
                    <a:pt x="2004" y="462"/>
                  </a:lnTo>
                  <a:lnTo>
                    <a:pt x="2004" y="456"/>
                  </a:lnTo>
                  <a:lnTo>
                    <a:pt x="2058" y="462"/>
                  </a:lnTo>
                  <a:lnTo>
                    <a:pt x="2076" y="474"/>
                  </a:lnTo>
                  <a:lnTo>
                    <a:pt x="2082" y="522"/>
                  </a:lnTo>
                  <a:lnTo>
                    <a:pt x="2088" y="516"/>
                  </a:lnTo>
                  <a:lnTo>
                    <a:pt x="2094" y="522"/>
                  </a:lnTo>
                  <a:lnTo>
                    <a:pt x="2100" y="528"/>
                  </a:lnTo>
                  <a:lnTo>
                    <a:pt x="2130" y="540"/>
                  </a:lnTo>
                  <a:lnTo>
                    <a:pt x="2160" y="564"/>
                  </a:lnTo>
                  <a:lnTo>
                    <a:pt x="2166" y="600"/>
                  </a:lnTo>
                  <a:lnTo>
                    <a:pt x="2160" y="618"/>
                  </a:lnTo>
                  <a:lnTo>
                    <a:pt x="2142" y="636"/>
                  </a:lnTo>
                  <a:lnTo>
                    <a:pt x="2148" y="648"/>
                  </a:lnTo>
                  <a:lnTo>
                    <a:pt x="2154" y="660"/>
                  </a:lnTo>
                  <a:lnTo>
                    <a:pt x="2196" y="654"/>
                  </a:lnTo>
                  <a:lnTo>
                    <a:pt x="2214" y="660"/>
                  </a:lnTo>
                  <a:lnTo>
                    <a:pt x="2214" y="666"/>
                  </a:lnTo>
                  <a:lnTo>
                    <a:pt x="2220" y="672"/>
                  </a:lnTo>
                  <a:lnTo>
                    <a:pt x="2214" y="678"/>
                  </a:lnTo>
                  <a:lnTo>
                    <a:pt x="2214" y="684"/>
                  </a:lnTo>
                  <a:lnTo>
                    <a:pt x="2214" y="690"/>
                  </a:lnTo>
                  <a:lnTo>
                    <a:pt x="2208" y="690"/>
                  </a:lnTo>
                  <a:lnTo>
                    <a:pt x="2202" y="696"/>
                  </a:lnTo>
                  <a:lnTo>
                    <a:pt x="2196" y="702"/>
                  </a:lnTo>
                  <a:lnTo>
                    <a:pt x="2190" y="708"/>
                  </a:lnTo>
                  <a:lnTo>
                    <a:pt x="2190" y="720"/>
                  </a:lnTo>
                  <a:lnTo>
                    <a:pt x="2184" y="720"/>
                  </a:lnTo>
                  <a:lnTo>
                    <a:pt x="2178" y="726"/>
                  </a:lnTo>
                  <a:lnTo>
                    <a:pt x="2166" y="732"/>
                  </a:lnTo>
                  <a:lnTo>
                    <a:pt x="2160" y="744"/>
                  </a:lnTo>
                  <a:lnTo>
                    <a:pt x="2154" y="756"/>
                  </a:lnTo>
                  <a:lnTo>
                    <a:pt x="2148" y="762"/>
                  </a:lnTo>
                  <a:lnTo>
                    <a:pt x="2124" y="762"/>
                  </a:lnTo>
                  <a:lnTo>
                    <a:pt x="2124" y="768"/>
                  </a:lnTo>
                  <a:lnTo>
                    <a:pt x="2118" y="768"/>
                  </a:lnTo>
                  <a:lnTo>
                    <a:pt x="2124" y="774"/>
                  </a:lnTo>
                  <a:lnTo>
                    <a:pt x="2118" y="774"/>
                  </a:lnTo>
                  <a:lnTo>
                    <a:pt x="2112" y="774"/>
                  </a:lnTo>
                  <a:lnTo>
                    <a:pt x="2106" y="780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06" y="798"/>
                  </a:lnTo>
                  <a:lnTo>
                    <a:pt x="2106" y="810"/>
                  </a:lnTo>
                  <a:lnTo>
                    <a:pt x="2112" y="828"/>
                  </a:lnTo>
                  <a:lnTo>
                    <a:pt x="2112" y="834"/>
                  </a:lnTo>
                  <a:lnTo>
                    <a:pt x="2112" y="840"/>
                  </a:lnTo>
                  <a:lnTo>
                    <a:pt x="2112" y="834"/>
                  </a:lnTo>
                  <a:lnTo>
                    <a:pt x="2124" y="834"/>
                  </a:lnTo>
                  <a:lnTo>
                    <a:pt x="2130" y="834"/>
                  </a:lnTo>
                  <a:lnTo>
                    <a:pt x="2136" y="840"/>
                  </a:lnTo>
                  <a:lnTo>
                    <a:pt x="2142" y="840"/>
                  </a:lnTo>
                  <a:lnTo>
                    <a:pt x="2154" y="852"/>
                  </a:lnTo>
                  <a:lnTo>
                    <a:pt x="2160" y="852"/>
                  </a:lnTo>
                  <a:lnTo>
                    <a:pt x="2172" y="846"/>
                  </a:lnTo>
                  <a:lnTo>
                    <a:pt x="2178" y="846"/>
                  </a:lnTo>
                  <a:lnTo>
                    <a:pt x="2184" y="846"/>
                  </a:lnTo>
                  <a:lnTo>
                    <a:pt x="2190" y="846"/>
                  </a:lnTo>
                  <a:lnTo>
                    <a:pt x="2196" y="852"/>
                  </a:lnTo>
                  <a:lnTo>
                    <a:pt x="2196" y="858"/>
                  </a:lnTo>
                  <a:lnTo>
                    <a:pt x="2202" y="852"/>
                  </a:lnTo>
                  <a:lnTo>
                    <a:pt x="2208" y="846"/>
                  </a:lnTo>
                  <a:lnTo>
                    <a:pt x="2214" y="846"/>
                  </a:lnTo>
                  <a:lnTo>
                    <a:pt x="2226" y="846"/>
                  </a:lnTo>
                  <a:lnTo>
                    <a:pt x="2232" y="852"/>
                  </a:lnTo>
                  <a:lnTo>
                    <a:pt x="2238" y="852"/>
                  </a:lnTo>
                  <a:lnTo>
                    <a:pt x="2244" y="858"/>
                  </a:lnTo>
                  <a:lnTo>
                    <a:pt x="2250" y="858"/>
                  </a:lnTo>
                  <a:lnTo>
                    <a:pt x="2256" y="858"/>
                  </a:lnTo>
                  <a:lnTo>
                    <a:pt x="2262" y="858"/>
                  </a:lnTo>
                  <a:lnTo>
                    <a:pt x="2268" y="852"/>
                  </a:lnTo>
                  <a:lnTo>
                    <a:pt x="2274" y="852"/>
                  </a:lnTo>
                  <a:lnTo>
                    <a:pt x="2280" y="852"/>
                  </a:lnTo>
                  <a:lnTo>
                    <a:pt x="2286" y="852"/>
                  </a:lnTo>
                  <a:lnTo>
                    <a:pt x="2298" y="858"/>
                  </a:lnTo>
                  <a:lnTo>
                    <a:pt x="2304" y="858"/>
                  </a:lnTo>
                  <a:lnTo>
                    <a:pt x="2310" y="858"/>
                  </a:lnTo>
                  <a:lnTo>
                    <a:pt x="2316" y="852"/>
                  </a:lnTo>
                  <a:lnTo>
                    <a:pt x="2322" y="858"/>
                  </a:lnTo>
                  <a:lnTo>
                    <a:pt x="2328" y="858"/>
                  </a:lnTo>
                  <a:lnTo>
                    <a:pt x="2328" y="852"/>
                  </a:lnTo>
                  <a:lnTo>
                    <a:pt x="2364" y="858"/>
                  </a:lnTo>
                  <a:lnTo>
                    <a:pt x="2376" y="876"/>
                  </a:lnTo>
                  <a:lnTo>
                    <a:pt x="2382" y="936"/>
                  </a:lnTo>
                  <a:lnTo>
                    <a:pt x="2388" y="966"/>
                  </a:lnTo>
                  <a:lnTo>
                    <a:pt x="2382" y="972"/>
                  </a:lnTo>
                  <a:lnTo>
                    <a:pt x="2382" y="978"/>
                  </a:lnTo>
                  <a:lnTo>
                    <a:pt x="2382" y="984"/>
                  </a:lnTo>
                  <a:lnTo>
                    <a:pt x="2388" y="990"/>
                  </a:lnTo>
                  <a:lnTo>
                    <a:pt x="2382" y="990"/>
                  </a:lnTo>
                  <a:lnTo>
                    <a:pt x="2382" y="996"/>
                  </a:lnTo>
                  <a:lnTo>
                    <a:pt x="2376" y="996"/>
                  </a:lnTo>
                  <a:lnTo>
                    <a:pt x="2376" y="1020"/>
                  </a:lnTo>
                  <a:lnTo>
                    <a:pt x="2370" y="1032"/>
                  </a:lnTo>
                  <a:lnTo>
                    <a:pt x="2352" y="1032"/>
                  </a:lnTo>
                  <a:lnTo>
                    <a:pt x="2346" y="1020"/>
                  </a:lnTo>
                  <a:lnTo>
                    <a:pt x="2328" y="1032"/>
                  </a:lnTo>
                  <a:lnTo>
                    <a:pt x="2316" y="1038"/>
                  </a:lnTo>
                  <a:lnTo>
                    <a:pt x="2328" y="1044"/>
                  </a:lnTo>
                  <a:lnTo>
                    <a:pt x="2340" y="1056"/>
                  </a:lnTo>
                  <a:lnTo>
                    <a:pt x="2376" y="1062"/>
                  </a:lnTo>
                  <a:lnTo>
                    <a:pt x="2376" y="1068"/>
                  </a:lnTo>
                  <a:lnTo>
                    <a:pt x="2382" y="1086"/>
                  </a:lnTo>
                  <a:lnTo>
                    <a:pt x="2376" y="1086"/>
                  </a:lnTo>
                  <a:lnTo>
                    <a:pt x="2370" y="1086"/>
                  </a:lnTo>
                  <a:lnTo>
                    <a:pt x="2364" y="1086"/>
                  </a:lnTo>
                  <a:lnTo>
                    <a:pt x="2364" y="1098"/>
                  </a:lnTo>
                  <a:lnTo>
                    <a:pt x="2388" y="1104"/>
                  </a:lnTo>
                  <a:lnTo>
                    <a:pt x="2400" y="1122"/>
                  </a:lnTo>
                  <a:lnTo>
                    <a:pt x="2400" y="1134"/>
                  </a:lnTo>
                  <a:lnTo>
                    <a:pt x="2400" y="1146"/>
                  </a:lnTo>
                  <a:lnTo>
                    <a:pt x="2394" y="1146"/>
                  </a:lnTo>
                  <a:lnTo>
                    <a:pt x="2394" y="1152"/>
                  </a:lnTo>
                  <a:lnTo>
                    <a:pt x="2388" y="1152"/>
                  </a:lnTo>
                  <a:lnTo>
                    <a:pt x="2388" y="1146"/>
                  </a:lnTo>
                  <a:lnTo>
                    <a:pt x="2382" y="1152"/>
                  </a:lnTo>
                  <a:lnTo>
                    <a:pt x="2376" y="1152"/>
                  </a:lnTo>
                  <a:lnTo>
                    <a:pt x="2370" y="1158"/>
                  </a:lnTo>
                  <a:lnTo>
                    <a:pt x="2370" y="1164"/>
                  </a:lnTo>
                  <a:lnTo>
                    <a:pt x="2364" y="1170"/>
                  </a:lnTo>
                  <a:lnTo>
                    <a:pt x="2370" y="1170"/>
                  </a:lnTo>
                  <a:lnTo>
                    <a:pt x="2376" y="1170"/>
                  </a:lnTo>
                  <a:lnTo>
                    <a:pt x="2370" y="1176"/>
                  </a:lnTo>
                  <a:lnTo>
                    <a:pt x="2364" y="1176"/>
                  </a:lnTo>
                  <a:lnTo>
                    <a:pt x="2358" y="1182"/>
                  </a:lnTo>
                  <a:lnTo>
                    <a:pt x="2352" y="1182"/>
                  </a:lnTo>
                  <a:lnTo>
                    <a:pt x="2346" y="1188"/>
                  </a:lnTo>
                  <a:lnTo>
                    <a:pt x="2340" y="1182"/>
                  </a:lnTo>
                  <a:lnTo>
                    <a:pt x="2334" y="1182"/>
                  </a:lnTo>
                  <a:lnTo>
                    <a:pt x="2334" y="1188"/>
                  </a:lnTo>
                  <a:lnTo>
                    <a:pt x="2328" y="1194"/>
                  </a:lnTo>
                  <a:lnTo>
                    <a:pt x="2328" y="1200"/>
                  </a:lnTo>
                  <a:lnTo>
                    <a:pt x="2322" y="1224"/>
                  </a:lnTo>
                  <a:lnTo>
                    <a:pt x="2328" y="1230"/>
                  </a:lnTo>
                  <a:lnTo>
                    <a:pt x="2358" y="1230"/>
                  </a:lnTo>
                  <a:lnTo>
                    <a:pt x="2358" y="1242"/>
                  </a:lnTo>
                  <a:lnTo>
                    <a:pt x="2358" y="1254"/>
                  </a:lnTo>
                  <a:lnTo>
                    <a:pt x="2346" y="1254"/>
                  </a:lnTo>
                  <a:lnTo>
                    <a:pt x="2346" y="1278"/>
                  </a:lnTo>
                  <a:lnTo>
                    <a:pt x="2358" y="1278"/>
                  </a:lnTo>
                  <a:lnTo>
                    <a:pt x="2358" y="1284"/>
                  </a:lnTo>
                  <a:lnTo>
                    <a:pt x="2376" y="1284"/>
                  </a:lnTo>
                  <a:lnTo>
                    <a:pt x="2388" y="1278"/>
                  </a:lnTo>
                  <a:lnTo>
                    <a:pt x="2406" y="1278"/>
                  </a:lnTo>
                  <a:lnTo>
                    <a:pt x="2430" y="1284"/>
                  </a:lnTo>
                  <a:lnTo>
                    <a:pt x="2430" y="1302"/>
                  </a:lnTo>
                  <a:lnTo>
                    <a:pt x="2430" y="1314"/>
                  </a:lnTo>
                  <a:lnTo>
                    <a:pt x="2424" y="1326"/>
                  </a:lnTo>
                  <a:lnTo>
                    <a:pt x="2412" y="1326"/>
                  </a:lnTo>
                  <a:lnTo>
                    <a:pt x="2412" y="1344"/>
                  </a:lnTo>
                  <a:lnTo>
                    <a:pt x="2406" y="1344"/>
                  </a:lnTo>
                  <a:lnTo>
                    <a:pt x="2400" y="1362"/>
                  </a:lnTo>
                  <a:lnTo>
                    <a:pt x="2394" y="1368"/>
                  </a:lnTo>
                  <a:lnTo>
                    <a:pt x="2388" y="1374"/>
                  </a:lnTo>
                  <a:lnTo>
                    <a:pt x="2382" y="1380"/>
                  </a:lnTo>
                  <a:lnTo>
                    <a:pt x="2376" y="1386"/>
                  </a:lnTo>
                  <a:lnTo>
                    <a:pt x="2376" y="1392"/>
                  </a:lnTo>
                  <a:lnTo>
                    <a:pt x="2370" y="1404"/>
                  </a:lnTo>
                  <a:lnTo>
                    <a:pt x="2364" y="1416"/>
                  </a:lnTo>
                  <a:lnTo>
                    <a:pt x="2346" y="1434"/>
                  </a:lnTo>
                  <a:lnTo>
                    <a:pt x="2328" y="1440"/>
                  </a:lnTo>
                  <a:lnTo>
                    <a:pt x="2328" y="1446"/>
                  </a:lnTo>
                  <a:lnTo>
                    <a:pt x="2322" y="1452"/>
                  </a:lnTo>
                  <a:lnTo>
                    <a:pt x="2316" y="1452"/>
                  </a:lnTo>
                  <a:lnTo>
                    <a:pt x="2304" y="1446"/>
                  </a:lnTo>
                  <a:lnTo>
                    <a:pt x="2298" y="1446"/>
                  </a:lnTo>
                  <a:lnTo>
                    <a:pt x="2298" y="1434"/>
                  </a:lnTo>
                  <a:lnTo>
                    <a:pt x="2292" y="1434"/>
                  </a:lnTo>
                  <a:lnTo>
                    <a:pt x="2286" y="1428"/>
                  </a:lnTo>
                  <a:lnTo>
                    <a:pt x="2274" y="1416"/>
                  </a:lnTo>
                  <a:lnTo>
                    <a:pt x="2256" y="1404"/>
                  </a:lnTo>
                  <a:lnTo>
                    <a:pt x="2244" y="1386"/>
                  </a:lnTo>
                  <a:lnTo>
                    <a:pt x="2220" y="1368"/>
                  </a:lnTo>
                  <a:lnTo>
                    <a:pt x="2208" y="1362"/>
                  </a:lnTo>
                  <a:lnTo>
                    <a:pt x="2202" y="1350"/>
                  </a:lnTo>
                  <a:lnTo>
                    <a:pt x="2196" y="1350"/>
                  </a:lnTo>
                  <a:lnTo>
                    <a:pt x="2190" y="1356"/>
                  </a:lnTo>
                  <a:lnTo>
                    <a:pt x="2184" y="1356"/>
                  </a:lnTo>
                  <a:lnTo>
                    <a:pt x="2094" y="1350"/>
                  </a:lnTo>
                  <a:lnTo>
                    <a:pt x="2058" y="1350"/>
                  </a:lnTo>
                  <a:lnTo>
                    <a:pt x="2034" y="1890"/>
                  </a:lnTo>
                  <a:lnTo>
                    <a:pt x="2064" y="1890"/>
                  </a:lnTo>
                  <a:lnTo>
                    <a:pt x="2070" y="1896"/>
                  </a:lnTo>
                  <a:lnTo>
                    <a:pt x="2076" y="18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8" name="Freeform 33">
              <a:extLst>
                <a:ext uri="{FF2B5EF4-FFF2-40B4-BE49-F238E27FC236}">
                  <a16:creationId xmlns:a16="http://schemas.microsoft.com/office/drawing/2014/main" id="{0E96F118-1F4D-4E52-AF27-149259451CD6}"/>
                </a:ext>
              </a:extLst>
            </p:cNvPr>
            <p:cNvSpPr>
              <a:spLocks/>
            </p:cNvSpPr>
            <p:nvPr/>
          </p:nvSpPr>
          <p:spPr bwMode="gray">
            <a:xfrm>
              <a:off x="1266662" y="1459989"/>
              <a:ext cx="903421" cy="778302"/>
            </a:xfrm>
            <a:custGeom>
              <a:avLst/>
              <a:gdLst>
                <a:gd name="T0" fmla="*/ 143 w 1698"/>
                <a:gd name="T1" fmla="*/ 43 h 1464"/>
                <a:gd name="T2" fmla="*/ 131 w 1698"/>
                <a:gd name="T3" fmla="*/ 44 h 1464"/>
                <a:gd name="T4" fmla="*/ 126 w 1698"/>
                <a:gd name="T5" fmla="*/ 41 h 1464"/>
                <a:gd name="T6" fmla="*/ 119 w 1698"/>
                <a:gd name="T7" fmla="*/ 45 h 1464"/>
                <a:gd name="T8" fmla="*/ 111 w 1698"/>
                <a:gd name="T9" fmla="*/ 46 h 1464"/>
                <a:gd name="T10" fmla="*/ 107 w 1698"/>
                <a:gd name="T11" fmla="*/ 50 h 1464"/>
                <a:gd name="T12" fmla="*/ 107 w 1698"/>
                <a:gd name="T13" fmla="*/ 60 h 1464"/>
                <a:gd name="T14" fmla="*/ 104 w 1698"/>
                <a:gd name="T15" fmla="*/ 62 h 1464"/>
                <a:gd name="T16" fmla="*/ 97 w 1698"/>
                <a:gd name="T17" fmla="*/ 59 h 1464"/>
                <a:gd name="T18" fmla="*/ 92 w 1698"/>
                <a:gd name="T19" fmla="*/ 59 h 1464"/>
                <a:gd name="T20" fmla="*/ 90 w 1698"/>
                <a:gd name="T21" fmla="*/ 62 h 1464"/>
                <a:gd name="T22" fmla="*/ 93 w 1698"/>
                <a:gd name="T23" fmla="*/ 77 h 1464"/>
                <a:gd name="T24" fmla="*/ 85 w 1698"/>
                <a:gd name="T25" fmla="*/ 88 h 1464"/>
                <a:gd name="T26" fmla="*/ 70 w 1698"/>
                <a:gd name="T27" fmla="*/ 89 h 1464"/>
                <a:gd name="T28" fmla="*/ 65 w 1698"/>
                <a:gd name="T29" fmla="*/ 88 h 1464"/>
                <a:gd name="T30" fmla="*/ 50 w 1698"/>
                <a:gd name="T31" fmla="*/ 88 h 1464"/>
                <a:gd name="T32" fmla="*/ 48 w 1698"/>
                <a:gd name="T33" fmla="*/ 107 h 1464"/>
                <a:gd name="T34" fmla="*/ 47 w 1698"/>
                <a:gd name="T35" fmla="*/ 120 h 1464"/>
                <a:gd name="T36" fmla="*/ 43 w 1698"/>
                <a:gd name="T37" fmla="*/ 121 h 1464"/>
                <a:gd name="T38" fmla="*/ 40 w 1698"/>
                <a:gd name="T39" fmla="*/ 120 h 1464"/>
                <a:gd name="T40" fmla="*/ 35 w 1698"/>
                <a:gd name="T41" fmla="*/ 122 h 1464"/>
                <a:gd name="T42" fmla="*/ 29 w 1698"/>
                <a:gd name="T43" fmla="*/ 123 h 1464"/>
                <a:gd name="T44" fmla="*/ 24 w 1698"/>
                <a:gd name="T45" fmla="*/ 125 h 1464"/>
                <a:gd name="T46" fmla="*/ 20 w 1698"/>
                <a:gd name="T47" fmla="*/ 125 h 1464"/>
                <a:gd name="T48" fmla="*/ 18 w 1698"/>
                <a:gd name="T49" fmla="*/ 122 h 1464"/>
                <a:gd name="T50" fmla="*/ 26 w 1698"/>
                <a:gd name="T51" fmla="*/ 108 h 1464"/>
                <a:gd name="T52" fmla="*/ 24 w 1698"/>
                <a:gd name="T53" fmla="*/ 89 h 1464"/>
                <a:gd name="T54" fmla="*/ 28 w 1698"/>
                <a:gd name="T55" fmla="*/ 85 h 1464"/>
                <a:gd name="T56" fmla="*/ 32 w 1698"/>
                <a:gd name="T57" fmla="*/ 80 h 1464"/>
                <a:gd name="T58" fmla="*/ 36 w 1698"/>
                <a:gd name="T59" fmla="*/ 86 h 1464"/>
                <a:gd name="T60" fmla="*/ 39 w 1698"/>
                <a:gd name="T61" fmla="*/ 80 h 1464"/>
                <a:gd name="T62" fmla="*/ 41 w 1698"/>
                <a:gd name="T63" fmla="*/ 73 h 1464"/>
                <a:gd name="T64" fmla="*/ 38 w 1698"/>
                <a:gd name="T65" fmla="*/ 64 h 1464"/>
                <a:gd name="T66" fmla="*/ 39 w 1698"/>
                <a:gd name="T67" fmla="*/ 59 h 1464"/>
                <a:gd name="T68" fmla="*/ 32 w 1698"/>
                <a:gd name="T69" fmla="*/ 54 h 1464"/>
                <a:gd name="T70" fmla="*/ 32 w 1698"/>
                <a:gd name="T71" fmla="*/ 45 h 1464"/>
                <a:gd name="T72" fmla="*/ 31 w 1698"/>
                <a:gd name="T73" fmla="*/ 41 h 1464"/>
                <a:gd name="T74" fmla="*/ 24 w 1698"/>
                <a:gd name="T75" fmla="*/ 43 h 1464"/>
                <a:gd name="T76" fmla="*/ 17 w 1698"/>
                <a:gd name="T77" fmla="*/ 40 h 1464"/>
                <a:gd name="T78" fmla="*/ 11 w 1698"/>
                <a:gd name="T79" fmla="*/ 38 h 1464"/>
                <a:gd name="T80" fmla="*/ 2 w 1698"/>
                <a:gd name="T81" fmla="*/ 36 h 1464"/>
                <a:gd name="T82" fmla="*/ 0 w 1698"/>
                <a:gd name="T83" fmla="*/ 24 h 1464"/>
                <a:gd name="T84" fmla="*/ 11 w 1698"/>
                <a:gd name="T85" fmla="*/ 18 h 1464"/>
                <a:gd name="T86" fmla="*/ 19 w 1698"/>
                <a:gd name="T87" fmla="*/ 10 h 1464"/>
                <a:gd name="T88" fmla="*/ 28 w 1698"/>
                <a:gd name="T89" fmla="*/ 9 h 1464"/>
                <a:gd name="T90" fmla="*/ 40 w 1698"/>
                <a:gd name="T91" fmla="*/ 6 h 1464"/>
                <a:gd name="T92" fmla="*/ 49 w 1698"/>
                <a:gd name="T93" fmla="*/ 8 h 1464"/>
                <a:gd name="T94" fmla="*/ 56 w 1698"/>
                <a:gd name="T95" fmla="*/ 8 h 1464"/>
                <a:gd name="T96" fmla="*/ 64 w 1698"/>
                <a:gd name="T97" fmla="*/ 7 h 1464"/>
                <a:gd name="T98" fmla="*/ 74 w 1698"/>
                <a:gd name="T99" fmla="*/ 1 h 1464"/>
                <a:gd name="T100" fmla="*/ 83 w 1698"/>
                <a:gd name="T101" fmla="*/ 3 h 1464"/>
                <a:gd name="T102" fmla="*/ 99 w 1698"/>
                <a:gd name="T103" fmla="*/ 9 h 1464"/>
                <a:gd name="T104" fmla="*/ 112 w 1698"/>
                <a:gd name="T105" fmla="*/ 14 h 1464"/>
                <a:gd name="T106" fmla="*/ 119 w 1698"/>
                <a:gd name="T107" fmla="*/ 12 h 1464"/>
                <a:gd name="T108" fmla="*/ 128 w 1698"/>
                <a:gd name="T109" fmla="*/ 17 h 1464"/>
                <a:gd name="T110" fmla="*/ 141 w 1698"/>
                <a:gd name="T111" fmla="*/ 29 h 1464"/>
                <a:gd name="T112" fmla="*/ 145 w 1698"/>
                <a:gd name="T113" fmla="*/ 35 h 14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98"/>
                <a:gd name="T172" fmla="*/ 0 h 1464"/>
                <a:gd name="T173" fmla="*/ 1698 w 1698"/>
                <a:gd name="T174" fmla="*/ 1464 h 14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98" h="1464">
                  <a:moveTo>
                    <a:pt x="1698" y="462"/>
                  </a:moveTo>
                  <a:lnTo>
                    <a:pt x="1686" y="468"/>
                  </a:lnTo>
                  <a:lnTo>
                    <a:pt x="1680" y="474"/>
                  </a:lnTo>
                  <a:lnTo>
                    <a:pt x="1674" y="480"/>
                  </a:lnTo>
                  <a:lnTo>
                    <a:pt x="1668" y="480"/>
                  </a:lnTo>
                  <a:lnTo>
                    <a:pt x="1662" y="486"/>
                  </a:lnTo>
                  <a:lnTo>
                    <a:pt x="1656" y="492"/>
                  </a:lnTo>
                  <a:lnTo>
                    <a:pt x="1644" y="498"/>
                  </a:lnTo>
                  <a:lnTo>
                    <a:pt x="1626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0" y="516"/>
                  </a:lnTo>
                  <a:lnTo>
                    <a:pt x="1590" y="522"/>
                  </a:lnTo>
                  <a:lnTo>
                    <a:pt x="1566" y="522"/>
                  </a:lnTo>
                  <a:lnTo>
                    <a:pt x="1506" y="510"/>
                  </a:lnTo>
                  <a:lnTo>
                    <a:pt x="1500" y="510"/>
                  </a:lnTo>
                  <a:lnTo>
                    <a:pt x="1488" y="504"/>
                  </a:lnTo>
                  <a:lnTo>
                    <a:pt x="1482" y="498"/>
                  </a:lnTo>
                  <a:lnTo>
                    <a:pt x="1476" y="498"/>
                  </a:lnTo>
                  <a:lnTo>
                    <a:pt x="1476" y="492"/>
                  </a:lnTo>
                  <a:lnTo>
                    <a:pt x="1470" y="492"/>
                  </a:lnTo>
                  <a:lnTo>
                    <a:pt x="1464" y="486"/>
                  </a:lnTo>
                  <a:lnTo>
                    <a:pt x="1452" y="486"/>
                  </a:lnTo>
                  <a:lnTo>
                    <a:pt x="1446" y="474"/>
                  </a:lnTo>
                  <a:lnTo>
                    <a:pt x="1434" y="468"/>
                  </a:lnTo>
                  <a:lnTo>
                    <a:pt x="1416" y="468"/>
                  </a:lnTo>
                  <a:lnTo>
                    <a:pt x="1392" y="468"/>
                  </a:lnTo>
                  <a:lnTo>
                    <a:pt x="1374" y="474"/>
                  </a:lnTo>
                  <a:lnTo>
                    <a:pt x="1368" y="474"/>
                  </a:lnTo>
                  <a:lnTo>
                    <a:pt x="1368" y="486"/>
                  </a:lnTo>
                  <a:lnTo>
                    <a:pt x="1368" y="498"/>
                  </a:lnTo>
                  <a:lnTo>
                    <a:pt x="1368" y="522"/>
                  </a:lnTo>
                  <a:lnTo>
                    <a:pt x="1368" y="534"/>
                  </a:lnTo>
                  <a:lnTo>
                    <a:pt x="1362" y="546"/>
                  </a:lnTo>
                  <a:lnTo>
                    <a:pt x="1356" y="546"/>
                  </a:lnTo>
                  <a:lnTo>
                    <a:pt x="1344" y="540"/>
                  </a:lnTo>
                  <a:lnTo>
                    <a:pt x="1338" y="534"/>
                  </a:lnTo>
                  <a:lnTo>
                    <a:pt x="1308" y="522"/>
                  </a:lnTo>
                  <a:lnTo>
                    <a:pt x="1296" y="522"/>
                  </a:lnTo>
                  <a:lnTo>
                    <a:pt x="1278" y="528"/>
                  </a:lnTo>
                  <a:lnTo>
                    <a:pt x="1260" y="534"/>
                  </a:lnTo>
                  <a:lnTo>
                    <a:pt x="1242" y="546"/>
                  </a:lnTo>
                  <a:lnTo>
                    <a:pt x="1236" y="552"/>
                  </a:lnTo>
                  <a:lnTo>
                    <a:pt x="1224" y="558"/>
                  </a:lnTo>
                  <a:lnTo>
                    <a:pt x="1218" y="558"/>
                  </a:lnTo>
                  <a:lnTo>
                    <a:pt x="1218" y="564"/>
                  </a:lnTo>
                  <a:lnTo>
                    <a:pt x="1224" y="570"/>
                  </a:lnTo>
                  <a:lnTo>
                    <a:pt x="1224" y="582"/>
                  </a:lnTo>
                  <a:lnTo>
                    <a:pt x="1224" y="594"/>
                  </a:lnTo>
                  <a:lnTo>
                    <a:pt x="1212" y="618"/>
                  </a:lnTo>
                  <a:lnTo>
                    <a:pt x="1212" y="624"/>
                  </a:lnTo>
                  <a:lnTo>
                    <a:pt x="1212" y="630"/>
                  </a:lnTo>
                  <a:lnTo>
                    <a:pt x="1212" y="636"/>
                  </a:lnTo>
                  <a:lnTo>
                    <a:pt x="1218" y="654"/>
                  </a:lnTo>
                  <a:lnTo>
                    <a:pt x="1224" y="672"/>
                  </a:lnTo>
                  <a:lnTo>
                    <a:pt x="1230" y="696"/>
                  </a:lnTo>
                  <a:lnTo>
                    <a:pt x="1236" y="708"/>
                  </a:lnTo>
                  <a:lnTo>
                    <a:pt x="1236" y="714"/>
                  </a:lnTo>
                  <a:lnTo>
                    <a:pt x="1236" y="720"/>
                  </a:lnTo>
                  <a:lnTo>
                    <a:pt x="1218" y="726"/>
                  </a:lnTo>
                  <a:lnTo>
                    <a:pt x="1212" y="726"/>
                  </a:lnTo>
                  <a:lnTo>
                    <a:pt x="1206" y="726"/>
                  </a:lnTo>
                  <a:lnTo>
                    <a:pt x="1194" y="720"/>
                  </a:lnTo>
                  <a:lnTo>
                    <a:pt x="1194" y="714"/>
                  </a:lnTo>
                  <a:lnTo>
                    <a:pt x="1176" y="714"/>
                  </a:lnTo>
                  <a:lnTo>
                    <a:pt x="1164" y="708"/>
                  </a:lnTo>
                  <a:lnTo>
                    <a:pt x="1158" y="708"/>
                  </a:lnTo>
                  <a:lnTo>
                    <a:pt x="1140" y="702"/>
                  </a:lnTo>
                  <a:lnTo>
                    <a:pt x="1134" y="696"/>
                  </a:lnTo>
                  <a:lnTo>
                    <a:pt x="1128" y="690"/>
                  </a:lnTo>
                  <a:lnTo>
                    <a:pt x="1116" y="678"/>
                  </a:lnTo>
                  <a:lnTo>
                    <a:pt x="1110" y="678"/>
                  </a:lnTo>
                  <a:lnTo>
                    <a:pt x="1104" y="672"/>
                  </a:lnTo>
                  <a:lnTo>
                    <a:pt x="1092" y="672"/>
                  </a:lnTo>
                  <a:lnTo>
                    <a:pt x="1086" y="672"/>
                  </a:lnTo>
                  <a:lnTo>
                    <a:pt x="1080" y="672"/>
                  </a:lnTo>
                  <a:lnTo>
                    <a:pt x="1074" y="672"/>
                  </a:lnTo>
                  <a:lnTo>
                    <a:pt x="1068" y="672"/>
                  </a:lnTo>
                  <a:lnTo>
                    <a:pt x="1062" y="678"/>
                  </a:lnTo>
                  <a:lnTo>
                    <a:pt x="1056" y="678"/>
                  </a:lnTo>
                  <a:lnTo>
                    <a:pt x="1056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6"/>
                  </a:lnTo>
                  <a:lnTo>
                    <a:pt x="1032" y="708"/>
                  </a:lnTo>
                  <a:lnTo>
                    <a:pt x="1026" y="708"/>
                  </a:lnTo>
                  <a:lnTo>
                    <a:pt x="1032" y="714"/>
                  </a:lnTo>
                  <a:lnTo>
                    <a:pt x="1026" y="720"/>
                  </a:lnTo>
                  <a:lnTo>
                    <a:pt x="1020" y="720"/>
                  </a:lnTo>
                  <a:lnTo>
                    <a:pt x="1014" y="732"/>
                  </a:lnTo>
                  <a:lnTo>
                    <a:pt x="1014" y="744"/>
                  </a:lnTo>
                  <a:lnTo>
                    <a:pt x="1038" y="810"/>
                  </a:lnTo>
                  <a:lnTo>
                    <a:pt x="1050" y="834"/>
                  </a:lnTo>
                  <a:lnTo>
                    <a:pt x="1056" y="858"/>
                  </a:lnTo>
                  <a:lnTo>
                    <a:pt x="1062" y="876"/>
                  </a:lnTo>
                  <a:lnTo>
                    <a:pt x="1068" y="882"/>
                  </a:lnTo>
                  <a:lnTo>
                    <a:pt x="1062" y="972"/>
                  </a:lnTo>
                  <a:lnTo>
                    <a:pt x="1056" y="972"/>
                  </a:lnTo>
                  <a:lnTo>
                    <a:pt x="1050" y="996"/>
                  </a:lnTo>
                  <a:lnTo>
                    <a:pt x="1044" y="1014"/>
                  </a:lnTo>
                  <a:lnTo>
                    <a:pt x="1008" y="1014"/>
                  </a:lnTo>
                  <a:lnTo>
                    <a:pt x="1008" y="1008"/>
                  </a:lnTo>
                  <a:lnTo>
                    <a:pt x="990" y="1008"/>
                  </a:lnTo>
                  <a:lnTo>
                    <a:pt x="972" y="1014"/>
                  </a:lnTo>
                  <a:lnTo>
                    <a:pt x="948" y="1020"/>
                  </a:lnTo>
                  <a:lnTo>
                    <a:pt x="918" y="1026"/>
                  </a:lnTo>
                  <a:lnTo>
                    <a:pt x="840" y="1032"/>
                  </a:lnTo>
                  <a:lnTo>
                    <a:pt x="834" y="1032"/>
                  </a:lnTo>
                  <a:lnTo>
                    <a:pt x="834" y="1026"/>
                  </a:lnTo>
                  <a:lnTo>
                    <a:pt x="822" y="1026"/>
                  </a:lnTo>
                  <a:lnTo>
                    <a:pt x="816" y="1032"/>
                  </a:lnTo>
                  <a:lnTo>
                    <a:pt x="804" y="1032"/>
                  </a:lnTo>
                  <a:lnTo>
                    <a:pt x="798" y="1026"/>
                  </a:lnTo>
                  <a:lnTo>
                    <a:pt x="780" y="1026"/>
                  </a:lnTo>
                  <a:lnTo>
                    <a:pt x="762" y="1026"/>
                  </a:lnTo>
                  <a:lnTo>
                    <a:pt x="756" y="1026"/>
                  </a:lnTo>
                  <a:lnTo>
                    <a:pt x="750" y="1026"/>
                  </a:lnTo>
                  <a:lnTo>
                    <a:pt x="756" y="1020"/>
                  </a:lnTo>
                  <a:lnTo>
                    <a:pt x="750" y="1020"/>
                  </a:lnTo>
                  <a:lnTo>
                    <a:pt x="744" y="1014"/>
                  </a:lnTo>
                  <a:lnTo>
                    <a:pt x="684" y="1020"/>
                  </a:lnTo>
                  <a:lnTo>
                    <a:pt x="648" y="1020"/>
                  </a:lnTo>
                  <a:lnTo>
                    <a:pt x="630" y="1020"/>
                  </a:lnTo>
                  <a:lnTo>
                    <a:pt x="618" y="1020"/>
                  </a:lnTo>
                  <a:lnTo>
                    <a:pt x="606" y="1014"/>
                  </a:lnTo>
                  <a:lnTo>
                    <a:pt x="582" y="1014"/>
                  </a:lnTo>
                  <a:lnTo>
                    <a:pt x="576" y="1014"/>
                  </a:lnTo>
                  <a:lnTo>
                    <a:pt x="570" y="1014"/>
                  </a:lnTo>
                  <a:lnTo>
                    <a:pt x="564" y="1020"/>
                  </a:lnTo>
                  <a:lnTo>
                    <a:pt x="558" y="1026"/>
                  </a:lnTo>
                  <a:lnTo>
                    <a:pt x="552" y="1032"/>
                  </a:lnTo>
                  <a:lnTo>
                    <a:pt x="552" y="1038"/>
                  </a:lnTo>
                  <a:lnTo>
                    <a:pt x="558" y="1194"/>
                  </a:lnTo>
                  <a:lnTo>
                    <a:pt x="558" y="1206"/>
                  </a:lnTo>
                  <a:lnTo>
                    <a:pt x="552" y="1218"/>
                  </a:lnTo>
                  <a:lnTo>
                    <a:pt x="552" y="1236"/>
                  </a:lnTo>
                  <a:lnTo>
                    <a:pt x="546" y="1272"/>
                  </a:lnTo>
                  <a:lnTo>
                    <a:pt x="546" y="1308"/>
                  </a:lnTo>
                  <a:lnTo>
                    <a:pt x="540" y="1332"/>
                  </a:lnTo>
                  <a:lnTo>
                    <a:pt x="546" y="1356"/>
                  </a:lnTo>
                  <a:lnTo>
                    <a:pt x="546" y="1362"/>
                  </a:lnTo>
                  <a:lnTo>
                    <a:pt x="546" y="1374"/>
                  </a:lnTo>
                  <a:lnTo>
                    <a:pt x="546" y="1380"/>
                  </a:lnTo>
                  <a:lnTo>
                    <a:pt x="540" y="1380"/>
                  </a:lnTo>
                  <a:lnTo>
                    <a:pt x="522" y="1380"/>
                  </a:lnTo>
                  <a:lnTo>
                    <a:pt x="516" y="1380"/>
                  </a:lnTo>
                  <a:lnTo>
                    <a:pt x="516" y="1386"/>
                  </a:lnTo>
                  <a:lnTo>
                    <a:pt x="516" y="1392"/>
                  </a:lnTo>
                  <a:lnTo>
                    <a:pt x="510" y="1392"/>
                  </a:lnTo>
                  <a:lnTo>
                    <a:pt x="504" y="1386"/>
                  </a:lnTo>
                  <a:lnTo>
                    <a:pt x="498" y="1392"/>
                  </a:lnTo>
                  <a:lnTo>
                    <a:pt x="492" y="1398"/>
                  </a:lnTo>
                  <a:lnTo>
                    <a:pt x="486" y="1398"/>
                  </a:lnTo>
                  <a:lnTo>
                    <a:pt x="486" y="1392"/>
                  </a:lnTo>
                  <a:lnTo>
                    <a:pt x="486" y="1380"/>
                  </a:lnTo>
                  <a:lnTo>
                    <a:pt x="486" y="1374"/>
                  </a:lnTo>
                  <a:lnTo>
                    <a:pt x="480" y="1374"/>
                  </a:lnTo>
                  <a:lnTo>
                    <a:pt x="474" y="1374"/>
                  </a:lnTo>
                  <a:lnTo>
                    <a:pt x="468" y="1380"/>
                  </a:lnTo>
                  <a:lnTo>
                    <a:pt x="462" y="1380"/>
                  </a:lnTo>
                  <a:lnTo>
                    <a:pt x="456" y="1380"/>
                  </a:lnTo>
                  <a:lnTo>
                    <a:pt x="450" y="1386"/>
                  </a:lnTo>
                  <a:lnTo>
                    <a:pt x="444" y="1386"/>
                  </a:lnTo>
                  <a:lnTo>
                    <a:pt x="444" y="1392"/>
                  </a:lnTo>
                  <a:lnTo>
                    <a:pt x="432" y="1398"/>
                  </a:lnTo>
                  <a:lnTo>
                    <a:pt x="426" y="1404"/>
                  </a:lnTo>
                  <a:lnTo>
                    <a:pt x="420" y="1404"/>
                  </a:lnTo>
                  <a:lnTo>
                    <a:pt x="408" y="1404"/>
                  </a:lnTo>
                  <a:lnTo>
                    <a:pt x="378" y="1410"/>
                  </a:lnTo>
                  <a:lnTo>
                    <a:pt x="372" y="1410"/>
                  </a:lnTo>
                  <a:lnTo>
                    <a:pt x="360" y="1410"/>
                  </a:lnTo>
                  <a:lnTo>
                    <a:pt x="354" y="1416"/>
                  </a:lnTo>
                  <a:lnTo>
                    <a:pt x="348" y="1416"/>
                  </a:lnTo>
                  <a:lnTo>
                    <a:pt x="342" y="1410"/>
                  </a:lnTo>
                  <a:lnTo>
                    <a:pt x="336" y="1410"/>
                  </a:lnTo>
                  <a:lnTo>
                    <a:pt x="336" y="1416"/>
                  </a:lnTo>
                  <a:lnTo>
                    <a:pt x="330" y="1422"/>
                  </a:lnTo>
                  <a:lnTo>
                    <a:pt x="324" y="1422"/>
                  </a:lnTo>
                  <a:lnTo>
                    <a:pt x="318" y="1422"/>
                  </a:lnTo>
                  <a:lnTo>
                    <a:pt x="312" y="1428"/>
                  </a:lnTo>
                  <a:lnTo>
                    <a:pt x="312" y="1434"/>
                  </a:lnTo>
                  <a:lnTo>
                    <a:pt x="300" y="1428"/>
                  </a:lnTo>
                  <a:lnTo>
                    <a:pt x="288" y="1434"/>
                  </a:lnTo>
                  <a:lnTo>
                    <a:pt x="282" y="1440"/>
                  </a:lnTo>
                  <a:lnTo>
                    <a:pt x="282" y="1446"/>
                  </a:lnTo>
                  <a:lnTo>
                    <a:pt x="276" y="1446"/>
                  </a:lnTo>
                  <a:lnTo>
                    <a:pt x="276" y="1452"/>
                  </a:lnTo>
                  <a:lnTo>
                    <a:pt x="270" y="1452"/>
                  </a:lnTo>
                  <a:lnTo>
                    <a:pt x="258" y="1464"/>
                  </a:lnTo>
                  <a:lnTo>
                    <a:pt x="240" y="1458"/>
                  </a:lnTo>
                  <a:lnTo>
                    <a:pt x="234" y="1452"/>
                  </a:lnTo>
                  <a:lnTo>
                    <a:pt x="234" y="1446"/>
                  </a:lnTo>
                  <a:lnTo>
                    <a:pt x="228" y="1446"/>
                  </a:lnTo>
                  <a:lnTo>
                    <a:pt x="222" y="1440"/>
                  </a:lnTo>
                  <a:lnTo>
                    <a:pt x="216" y="1440"/>
                  </a:lnTo>
                  <a:lnTo>
                    <a:pt x="210" y="1428"/>
                  </a:lnTo>
                  <a:lnTo>
                    <a:pt x="210" y="1422"/>
                  </a:lnTo>
                  <a:lnTo>
                    <a:pt x="198" y="1416"/>
                  </a:lnTo>
                  <a:lnTo>
                    <a:pt x="204" y="1410"/>
                  </a:lnTo>
                  <a:lnTo>
                    <a:pt x="210" y="1404"/>
                  </a:lnTo>
                  <a:lnTo>
                    <a:pt x="210" y="1398"/>
                  </a:lnTo>
                  <a:lnTo>
                    <a:pt x="252" y="1368"/>
                  </a:lnTo>
                  <a:lnTo>
                    <a:pt x="276" y="1350"/>
                  </a:lnTo>
                  <a:lnTo>
                    <a:pt x="300" y="1338"/>
                  </a:lnTo>
                  <a:lnTo>
                    <a:pt x="294" y="1314"/>
                  </a:lnTo>
                  <a:lnTo>
                    <a:pt x="288" y="1308"/>
                  </a:lnTo>
                  <a:lnTo>
                    <a:pt x="300" y="1266"/>
                  </a:lnTo>
                  <a:lnTo>
                    <a:pt x="300" y="1242"/>
                  </a:lnTo>
                  <a:lnTo>
                    <a:pt x="300" y="1206"/>
                  </a:lnTo>
                  <a:lnTo>
                    <a:pt x="300" y="1164"/>
                  </a:lnTo>
                  <a:lnTo>
                    <a:pt x="294" y="1134"/>
                  </a:lnTo>
                  <a:lnTo>
                    <a:pt x="282" y="1086"/>
                  </a:lnTo>
                  <a:lnTo>
                    <a:pt x="276" y="1074"/>
                  </a:lnTo>
                  <a:lnTo>
                    <a:pt x="276" y="1056"/>
                  </a:lnTo>
                  <a:lnTo>
                    <a:pt x="270" y="1038"/>
                  </a:lnTo>
                  <a:lnTo>
                    <a:pt x="270" y="1020"/>
                  </a:lnTo>
                  <a:lnTo>
                    <a:pt x="282" y="1020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94" y="1002"/>
                  </a:lnTo>
                  <a:lnTo>
                    <a:pt x="306" y="996"/>
                  </a:lnTo>
                  <a:lnTo>
                    <a:pt x="312" y="990"/>
                  </a:lnTo>
                  <a:lnTo>
                    <a:pt x="318" y="990"/>
                  </a:lnTo>
                  <a:lnTo>
                    <a:pt x="324" y="984"/>
                  </a:lnTo>
                  <a:lnTo>
                    <a:pt x="324" y="978"/>
                  </a:lnTo>
                  <a:lnTo>
                    <a:pt x="324" y="972"/>
                  </a:lnTo>
                  <a:lnTo>
                    <a:pt x="324" y="954"/>
                  </a:lnTo>
                  <a:lnTo>
                    <a:pt x="336" y="948"/>
                  </a:lnTo>
                  <a:lnTo>
                    <a:pt x="342" y="936"/>
                  </a:lnTo>
                  <a:lnTo>
                    <a:pt x="348" y="924"/>
                  </a:lnTo>
                  <a:lnTo>
                    <a:pt x="354" y="924"/>
                  </a:lnTo>
                  <a:lnTo>
                    <a:pt x="372" y="924"/>
                  </a:lnTo>
                  <a:lnTo>
                    <a:pt x="372" y="930"/>
                  </a:lnTo>
                  <a:lnTo>
                    <a:pt x="378" y="930"/>
                  </a:lnTo>
                  <a:lnTo>
                    <a:pt x="378" y="936"/>
                  </a:lnTo>
                  <a:lnTo>
                    <a:pt x="384" y="936"/>
                  </a:lnTo>
                  <a:lnTo>
                    <a:pt x="384" y="942"/>
                  </a:lnTo>
                  <a:lnTo>
                    <a:pt x="402" y="942"/>
                  </a:lnTo>
                  <a:lnTo>
                    <a:pt x="402" y="996"/>
                  </a:lnTo>
                  <a:lnTo>
                    <a:pt x="414" y="996"/>
                  </a:lnTo>
                  <a:lnTo>
                    <a:pt x="420" y="996"/>
                  </a:lnTo>
                  <a:lnTo>
                    <a:pt x="426" y="996"/>
                  </a:lnTo>
                  <a:lnTo>
                    <a:pt x="432" y="996"/>
                  </a:lnTo>
                  <a:lnTo>
                    <a:pt x="438" y="996"/>
                  </a:lnTo>
                  <a:lnTo>
                    <a:pt x="438" y="942"/>
                  </a:lnTo>
                  <a:lnTo>
                    <a:pt x="444" y="930"/>
                  </a:lnTo>
                  <a:lnTo>
                    <a:pt x="444" y="924"/>
                  </a:lnTo>
                  <a:lnTo>
                    <a:pt x="444" y="918"/>
                  </a:lnTo>
                  <a:lnTo>
                    <a:pt x="462" y="918"/>
                  </a:lnTo>
                  <a:lnTo>
                    <a:pt x="474" y="906"/>
                  </a:lnTo>
                  <a:lnTo>
                    <a:pt x="480" y="900"/>
                  </a:lnTo>
                  <a:lnTo>
                    <a:pt x="486" y="888"/>
                  </a:lnTo>
                  <a:lnTo>
                    <a:pt x="492" y="876"/>
                  </a:lnTo>
                  <a:lnTo>
                    <a:pt x="492" y="858"/>
                  </a:lnTo>
                  <a:lnTo>
                    <a:pt x="480" y="858"/>
                  </a:lnTo>
                  <a:lnTo>
                    <a:pt x="474" y="840"/>
                  </a:lnTo>
                  <a:lnTo>
                    <a:pt x="450" y="834"/>
                  </a:lnTo>
                  <a:lnTo>
                    <a:pt x="438" y="816"/>
                  </a:lnTo>
                  <a:lnTo>
                    <a:pt x="432" y="792"/>
                  </a:lnTo>
                  <a:lnTo>
                    <a:pt x="432" y="786"/>
                  </a:lnTo>
                  <a:lnTo>
                    <a:pt x="432" y="774"/>
                  </a:lnTo>
                  <a:lnTo>
                    <a:pt x="432" y="762"/>
                  </a:lnTo>
                  <a:lnTo>
                    <a:pt x="438" y="750"/>
                  </a:lnTo>
                  <a:lnTo>
                    <a:pt x="438" y="738"/>
                  </a:lnTo>
                  <a:lnTo>
                    <a:pt x="444" y="732"/>
                  </a:lnTo>
                  <a:lnTo>
                    <a:pt x="450" y="732"/>
                  </a:lnTo>
                  <a:lnTo>
                    <a:pt x="456" y="732"/>
                  </a:lnTo>
                  <a:lnTo>
                    <a:pt x="456" y="726"/>
                  </a:lnTo>
                  <a:lnTo>
                    <a:pt x="456" y="714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44" y="684"/>
                  </a:lnTo>
                  <a:lnTo>
                    <a:pt x="438" y="666"/>
                  </a:lnTo>
                  <a:lnTo>
                    <a:pt x="426" y="666"/>
                  </a:lnTo>
                  <a:lnTo>
                    <a:pt x="432" y="666"/>
                  </a:lnTo>
                  <a:lnTo>
                    <a:pt x="420" y="666"/>
                  </a:lnTo>
                  <a:lnTo>
                    <a:pt x="414" y="660"/>
                  </a:lnTo>
                  <a:lnTo>
                    <a:pt x="396" y="654"/>
                  </a:lnTo>
                  <a:lnTo>
                    <a:pt x="384" y="642"/>
                  </a:lnTo>
                  <a:lnTo>
                    <a:pt x="366" y="624"/>
                  </a:lnTo>
                  <a:lnTo>
                    <a:pt x="354" y="606"/>
                  </a:lnTo>
                  <a:lnTo>
                    <a:pt x="342" y="588"/>
                  </a:lnTo>
                  <a:lnTo>
                    <a:pt x="342" y="582"/>
                  </a:lnTo>
                  <a:lnTo>
                    <a:pt x="360" y="564"/>
                  </a:lnTo>
                  <a:lnTo>
                    <a:pt x="372" y="540"/>
                  </a:lnTo>
                  <a:lnTo>
                    <a:pt x="366" y="528"/>
                  </a:lnTo>
                  <a:lnTo>
                    <a:pt x="366" y="522"/>
                  </a:lnTo>
                  <a:lnTo>
                    <a:pt x="372" y="516"/>
                  </a:lnTo>
                  <a:lnTo>
                    <a:pt x="384" y="504"/>
                  </a:lnTo>
                  <a:lnTo>
                    <a:pt x="378" y="492"/>
                  </a:lnTo>
                  <a:lnTo>
                    <a:pt x="378" y="486"/>
                  </a:lnTo>
                  <a:lnTo>
                    <a:pt x="378" y="480"/>
                  </a:lnTo>
                  <a:lnTo>
                    <a:pt x="378" y="474"/>
                  </a:lnTo>
                  <a:lnTo>
                    <a:pt x="378" y="468"/>
                  </a:lnTo>
                  <a:lnTo>
                    <a:pt x="366" y="468"/>
                  </a:lnTo>
                  <a:lnTo>
                    <a:pt x="360" y="474"/>
                  </a:lnTo>
                  <a:lnTo>
                    <a:pt x="354" y="480"/>
                  </a:lnTo>
                  <a:lnTo>
                    <a:pt x="348" y="486"/>
                  </a:lnTo>
                  <a:lnTo>
                    <a:pt x="348" y="492"/>
                  </a:lnTo>
                  <a:lnTo>
                    <a:pt x="336" y="510"/>
                  </a:lnTo>
                  <a:lnTo>
                    <a:pt x="300" y="516"/>
                  </a:lnTo>
                  <a:lnTo>
                    <a:pt x="300" y="510"/>
                  </a:lnTo>
                  <a:lnTo>
                    <a:pt x="282" y="504"/>
                  </a:lnTo>
                  <a:lnTo>
                    <a:pt x="282" y="498"/>
                  </a:lnTo>
                  <a:lnTo>
                    <a:pt x="264" y="486"/>
                  </a:lnTo>
                  <a:lnTo>
                    <a:pt x="258" y="492"/>
                  </a:lnTo>
                  <a:lnTo>
                    <a:pt x="234" y="492"/>
                  </a:lnTo>
                  <a:lnTo>
                    <a:pt x="222" y="486"/>
                  </a:lnTo>
                  <a:lnTo>
                    <a:pt x="204" y="480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92" y="462"/>
                  </a:lnTo>
                  <a:lnTo>
                    <a:pt x="186" y="462"/>
                  </a:lnTo>
                  <a:lnTo>
                    <a:pt x="180" y="468"/>
                  </a:lnTo>
                  <a:lnTo>
                    <a:pt x="150" y="450"/>
                  </a:lnTo>
                  <a:lnTo>
                    <a:pt x="144" y="438"/>
                  </a:lnTo>
                  <a:lnTo>
                    <a:pt x="138" y="438"/>
                  </a:lnTo>
                  <a:lnTo>
                    <a:pt x="132" y="432"/>
                  </a:lnTo>
                  <a:lnTo>
                    <a:pt x="126" y="432"/>
                  </a:lnTo>
                  <a:lnTo>
                    <a:pt x="120" y="432"/>
                  </a:lnTo>
                  <a:lnTo>
                    <a:pt x="102" y="426"/>
                  </a:lnTo>
                  <a:lnTo>
                    <a:pt x="96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2" y="414"/>
                  </a:lnTo>
                  <a:lnTo>
                    <a:pt x="60" y="414"/>
                  </a:lnTo>
                  <a:lnTo>
                    <a:pt x="30" y="414"/>
                  </a:lnTo>
                  <a:lnTo>
                    <a:pt x="24" y="414"/>
                  </a:lnTo>
                  <a:lnTo>
                    <a:pt x="12" y="414"/>
                  </a:lnTo>
                  <a:lnTo>
                    <a:pt x="0" y="420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0" y="336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30" y="270"/>
                  </a:lnTo>
                  <a:lnTo>
                    <a:pt x="42" y="270"/>
                  </a:lnTo>
                  <a:lnTo>
                    <a:pt x="54" y="264"/>
                  </a:lnTo>
                  <a:lnTo>
                    <a:pt x="78" y="240"/>
                  </a:lnTo>
                  <a:lnTo>
                    <a:pt x="102" y="216"/>
                  </a:lnTo>
                  <a:lnTo>
                    <a:pt x="114" y="210"/>
                  </a:lnTo>
                  <a:lnTo>
                    <a:pt x="120" y="204"/>
                  </a:lnTo>
                  <a:lnTo>
                    <a:pt x="126" y="198"/>
                  </a:lnTo>
                  <a:lnTo>
                    <a:pt x="138" y="18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38"/>
                  </a:lnTo>
                  <a:lnTo>
                    <a:pt x="210" y="126"/>
                  </a:lnTo>
                  <a:lnTo>
                    <a:pt x="216" y="120"/>
                  </a:lnTo>
                  <a:lnTo>
                    <a:pt x="222" y="120"/>
                  </a:lnTo>
                  <a:lnTo>
                    <a:pt x="258" y="114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300" y="102"/>
                  </a:lnTo>
                  <a:lnTo>
                    <a:pt x="312" y="102"/>
                  </a:lnTo>
                  <a:lnTo>
                    <a:pt x="318" y="102"/>
                  </a:lnTo>
                  <a:lnTo>
                    <a:pt x="348" y="96"/>
                  </a:lnTo>
                  <a:lnTo>
                    <a:pt x="366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408" y="84"/>
                  </a:lnTo>
                  <a:lnTo>
                    <a:pt x="420" y="84"/>
                  </a:lnTo>
                  <a:lnTo>
                    <a:pt x="462" y="72"/>
                  </a:lnTo>
                  <a:lnTo>
                    <a:pt x="474" y="72"/>
                  </a:lnTo>
                  <a:lnTo>
                    <a:pt x="474" y="78"/>
                  </a:lnTo>
                  <a:lnTo>
                    <a:pt x="492" y="90"/>
                  </a:lnTo>
                  <a:lnTo>
                    <a:pt x="498" y="90"/>
                  </a:lnTo>
                  <a:lnTo>
                    <a:pt x="522" y="96"/>
                  </a:lnTo>
                  <a:lnTo>
                    <a:pt x="540" y="96"/>
                  </a:lnTo>
                  <a:lnTo>
                    <a:pt x="546" y="96"/>
                  </a:lnTo>
                  <a:lnTo>
                    <a:pt x="558" y="96"/>
                  </a:lnTo>
                  <a:lnTo>
                    <a:pt x="564" y="96"/>
                  </a:lnTo>
                  <a:lnTo>
                    <a:pt x="576" y="96"/>
                  </a:lnTo>
                  <a:lnTo>
                    <a:pt x="588" y="96"/>
                  </a:lnTo>
                  <a:lnTo>
                    <a:pt x="612" y="90"/>
                  </a:lnTo>
                  <a:lnTo>
                    <a:pt x="624" y="90"/>
                  </a:lnTo>
                  <a:lnTo>
                    <a:pt x="636" y="90"/>
                  </a:lnTo>
                  <a:lnTo>
                    <a:pt x="642" y="90"/>
                  </a:lnTo>
                  <a:lnTo>
                    <a:pt x="648" y="96"/>
                  </a:lnTo>
                  <a:lnTo>
                    <a:pt x="660" y="96"/>
                  </a:lnTo>
                  <a:lnTo>
                    <a:pt x="666" y="96"/>
                  </a:lnTo>
                  <a:lnTo>
                    <a:pt x="672" y="96"/>
                  </a:lnTo>
                  <a:lnTo>
                    <a:pt x="684" y="96"/>
                  </a:lnTo>
                  <a:lnTo>
                    <a:pt x="708" y="96"/>
                  </a:lnTo>
                  <a:lnTo>
                    <a:pt x="714" y="96"/>
                  </a:lnTo>
                  <a:lnTo>
                    <a:pt x="726" y="96"/>
                  </a:lnTo>
                  <a:lnTo>
                    <a:pt x="738" y="84"/>
                  </a:lnTo>
                  <a:lnTo>
                    <a:pt x="744" y="78"/>
                  </a:lnTo>
                  <a:lnTo>
                    <a:pt x="756" y="66"/>
                  </a:lnTo>
                  <a:lnTo>
                    <a:pt x="774" y="42"/>
                  </a:lnTo>
                  <a:lnTo>
                    <a:pt x="780" y="30"/>
                  </a:lnTo>
                  <a:lnTo>
                    <a:pt x="816" y="24"/>
                  </a:lnTo>
                  <a:lnTo>
                    <a:pt x="840" y="18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64" y="6"/>
                  </a:lnTo>
                  <a:lnTo>
                    <a:pt x="870" y="6"/>
                  </a:lnTo>
                  <a:lnTo>
                    <a:pt x="894" y="0"/>
                  </a:lnTo>
                  <a:lnTo>
                    <a:pt x="900" y="6"/>
                  </a:lnTo>
                  <a:lnTo>
                    <a:pt x="930" y="18"/>
                  </a:lnTo>
                  <a:lnTo>
                    <a:pt x="942" y="24"/>
                  </a:lnTo>
                  <a:lnTo>
                    <a:pt x="954" y="30"/>
                  </a:lnTo>
                  <a:lnTo>
                    <a:pt x="1026" y="60"/>
                  </a:lnTo>
                  <a:lnTo>
                    <a:pt x="1032" y="60"/>
                  </a:lnTo>
                  <a:lnTo>
                    <a:pt x="1038" y="66"/>
                  </a:lnTo>
                  <a:lnTo>
                    <a:pt x="1068" y="72"/>
                  </a:lnTo>
                  <a:lnTo>
                    <a:pt x="1098" y="84"/>
                  </a:lnTo>
                  <a:lnTo>
                    <a:pt x="1122" y="90"/>
                  </a:lnTo>
                  <a:lnTo>
                    <a:pt x="1122" y="96"/>
                  </a:lnTo>
                  <a:lnTo>
                    <a:pt x="1140" y="102"/>
                  </a:lnTo>
                  <a:lnTo>
                    <a:pt x="1182" y="114"/>
                  </a:lnTo>
                  <a:lnTo>
                    <a:pt x="1188" y="114"/>
                  </a:lnTo>
                  <a:lnTo>
                    <a:pt x="1200" y="120"/>
                  </a:lnTo>
                  <a:lnTo>
                    <a:pt x="1212" y="126"/>
                  </a:lnTo>
                  <a:lnTo>
                    <a:pt x="1224" y="126"/>
                  </a:lnTo>
                  <a:lnTo>
                    <a:pt x="1248" y="138"/>
                  </a:lnTo>
                  <a:lnTo>
                    <a:pt x="1272" y="150"/>
                  </a:lnTo>
                  <a:lnTo>
                    <a:pt x="1284" y="156"/>
                  </a:lnTo>
                  <a:lnTo>
                    <a:pt x="1290" y="162"/>
                  </a:lnTo>
                  <a:lnTo>
                    <a:pt x="1296" y="162"/>
                  </a:lnTo>
                  <a:lnTo>
                    <a:pt x="1308" y="156"/>
                  </a:lnTo>
                  <a:lnTo>
                    <a:pt x="1320" y="150"/>
                  </a:lnTo>
                  <a:lnTo>
                    <a:pt x="1326" y="150"/>
                  </a:lnTo>
                  <a:lnTo>
                    <a:pt x="1338" y="144"/>
                  </a:lnTo>
                  <a:lnTo>
                    <a:pt x="1362" y="144"/>
                  </a:lnTo>
                  <a:lnTo>
                    <a:pt x="1368" y="144"/>
                  </a:lnTo>
                  <a:lnTo>
                    <a:pt x="1374" y="144"/>
                  </a:lnTo>
                  <a:lnTo>
                    <a:pt x="1386" y="150"/>
                  </a:lnTo>
                  <a:lnTo>
                    <a:pt x="1392" y="150"/>
                  </a:lnTo>
                  <a:lnTo>
                    <a:pt x="1398" y="150"/>
                  </a:lnTo>
                  <a:lnTo>
                    <a:pt x="1416" y="162"/>
                  </a:lnTo>
                  <a:lnTo>
                    <a:pt x="1458" y="186"/>
                  </a:lnTo>
                  <a:lnTo>
                    <a:pt x="1464" y="186"/>
                  </a:lnTo>
                  <a:lnTo>
                    <a:pt x="1470" y="192"/>
                  </a:lnTo>
                  <a:lnTo>
                    <a:pt x="1482" y="204"/>
                  </a:lnTo>
                  <a:lnTo>
                    <a:pt x="1512" y="234"/>
                  </a:lnTo>
                  <a:lnTo>
                    <a:pt x="1554" y="276"/>
                  </a:lnTo>
                  <a:lnTo>
                    <a:pt x="1560" y="276"/>
                  </a:lnTo>
                  <a:lnTo>
                    <a:pt x="1566" y="282"/>
                  </a:lnTo>
                  <a:lnTo>
                    <a:pt x="1578" y="294"/>
                  </a:lnTo>
                  <a:lnTo>
                    <a:pt x="1602" y="318"/>
                  </a:lnTo>
                  <a:lnTo>
                    <a:pt x="1614" y="330"/>
                  </a:lnTo>
                  <a:lnTo>
                    <a:pt x="1620" y="336"/>
                  </a:lnTo>
                  <a:lnTo>
                    <a:pt x="1626" y="342"/>
                  </a:lnTo>
                  <a:lnTo>
                    <a:pt x="1632" y="354"/>
                  </a:lnTo>
                  <a:lnTo>
                    <a:pt x="1644" y="366"/>
                  </a:lnTo>
                  <a:lnTo>
                    <a:pt x="1650" y="378"/>
                  </a:lnTo>
                  <a:lnTo>
                    <a:pt x="1650" y="384"/>
                  </a:lnTo>
                  <a:lnTo>
                    <a:pt x="1656" y="384"/>
                  </a:lnTo>
                  <a:lnTo>
                    <a:pt x="1662" y="402"/>
                  </a:lnTo>
                  <a:lnTo>
                    <a:pt x="1668" y="408"/>
                  </a:lnTo>
                  <a:lnTo>
                    <a:pt x="1674" y="426"/>
                  </a:lnTo>
                  <a:lnTo>
                    <a:pt x="1686" y="438"/>
                  </a:lnTo>
                  <a:lnTo>
                    <a:pt x="1698" y="46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9" name="Freeform 34">
              <a:extLst>
                <a:ext uri="{FF2B5EF4-FFF2-40B4-BE49-F238E27FC236}">
                  <a16:creationId xmlns:a16="http://schemas.microsoft.com/office/drawing/2014/main" id="{94603F24-8CF7-4226-A433-00D18CA7D9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1988" y="1681402"/>
              <a:ext cx="869877" cy="1060101"/>
            </a:xfrm>
            <a:custGeom>
              <a:avLst/>
              <a:gdLst>
                <a:gd name="T0" fmla="*/ 4 w 1638"/>
                <a:gd name="T1" fmla="*/ 111 h 1998"/>
                <a:gd name="T2" fmla="*/ 6 w 1638"/>
                <a:gd name="T3" fmla="*/ 87 h 1998"/>
                <a:gd name="T4" fmla="*/ 10 w 1638"/>
                <a:gd name="T5" fmla="*/ 80 h 1998"/>
                <a:gd name="T6" fmla="*/ 10 w 1638"/>
                <a:gd name="T7" fmla="*/ 71 h 1998"/>
                <a:gd name="T8" fmla="*/ 9 w 1638"/>
                <a:gd name="T9" fmla="*/ 56 h 1998"/>
                <a:gd name="T10" fmla="*/ 8 w 1638"/>
                <a:gd name="T11" fmla="*/ 40 h 1998"/>
                <a:gd name="T12" fmla="*/ 20 w 1638"/>
                <a:gd name="T13" fmla="*/ 30 h 1998"/>
                <a:gd name="T14" fmla="*/ 30 w 1638"/>
                <a:gd name="T15" fmla="*/ 19 h 1998"/>
                <a:gd name="T16" fmla="*/ 35 w 1638"/>
                <a:gd name="T17" fmla="*/ 2 h 1998"/>
                <a:gd name="T18" fmla="*/ 47 w 1638"/>
                <a:gd name="T19" fmla="*/ 2 h 1998"/>
                <a:gd name="T20" fmla="*/ 56 w 1638"/>
                <a:gd name="T21" fmla="*/ 7 h 1998"/>
                <a:gd name="T22" fmla="*/ 67 w 1638"/>
                <a:gd name="T23" fmla="*/ 5 h 1998"/>
                <a:gd name="T24" fmla="*/ 65 w 1638"/>
                <a:gd name="T25" fmla="*/ 15 h 1998"/>
                <a:gd name="T26" fmla="*/ 74 w 1638"/>
                <a:gd name="T27" fmla="*/ 24 h 1998"/>
                <a:gd name="T28" fmla="*/ 73 w 1638"/>
                <a:gd name="T29" fmla="*/ 33 h 1998"/>
                <a:gd name="T30" fmla="*/ 74 w 1638"/>
                <a:gd name="T31" fmla="*/ 44 h 1998"/>
                <a:gd name="T32" fmla="*/ 68 w 1638"/>
                <a:gd name="T33" fmla="*/ 45 h 1998"/>
                <a:gd name="T34" fmla="*/ 63 w 1638"/>
                <a:gd name="T35" fmla="*/ 50 h 1998"/>
                <a:gd name="T36" fmla="*/ 61 w 1638"/>
                <a:gd name="T37" fmla="*/ 62 h 1998"/>
                <a:gd name="T38" fmla="*/ 53 w 1638"/>
                <a:gd name="T39" fmla="*/ 86 h 1998"/>
                <a:gd name="T40" fmla="*/ 59 w 1638"/>
                <a:gd name="T41" fmla="*/ 90 h 1998"/>
                <a:gd name="T42" fmla="*/ 65 w 1638"/>
                <a:gd name="T43" fmla="*/ 86 h 1998"/>
                <a:gd name="T44" fmla="*/ 74 w 1638"/>
                <a:gd name="T45" fmla="*/ 84 h 1998"/>
                <a:gd name="T46" fmla="*/ 79 w 1638"/>
                <a:gd name="T47" fmla="*/ 85 h 1998"/>
                <a:gd name="T48" fmla="*/ 84 w 1638"/>
                <a:gd name="T49" fmla="*/ 84 h 1998"/>
                <a:gd name="T50" fmla="*/ 91 w 1638"/>
                <a:gd name="T51" fmla="*/ 84 h 1998"/>
                <a:gd name="T52" fmla="*/ 94 w 1638"/>
                <a:gd name="T53" fmla="*/ 81 h 1998"/>
                <a:gd name="T54" fmla="*/ 100 w 1638"/>
                <a:gd name="T55" fmla="*/ 81 h 1998"/>
                <a:gd name="T56" fmla="*/ 102 w 1638"/>
                <a:gd name="T57" fmla="*/ 84 h 1998"/>
                <a:gd name="T58" fmla="*/ 108 w 1638"/>
                <a:gd name="T59" fmla="*/ 85 h 1998"/>
                <a:gd name="T60" fmla="*/ 113 w 1638"/>
                <a:gd name="T61" fmla="*/ 88 h 1998"/>
                <a:gd name="T62" fmla="*/ 116 w 1638"/>
                <a:gd name="T63" fmla="*/ 88 h 1998"/>
                <a:gd name="T64" fmla="*/ 123 w 1638"/>
                <a:gd name="T65" fmla="*/ 87 h 1998"/>
                <a:gd name="T66" fmla="*/ 128 w 1638"/>
                <a:gd name="T67" fmla="*/ 86 h 1998"/>
                <a:gd name="T68" fmla="*/ 132 w 1638"/>
                <a:gd name="T69" fmla="*/ 90 h 1998"/>
                <a:gd name="T70" fmla="*/ 138 w 1638"/>
                <a:gd name="T71" fmla="*/ 96 h 1998"/>
                <a:gd name="T72" fmla="*/ 138 w 1638"/>
                <a:gd name="T73" fmla="*/ 110 h 1998"/>
                <a:gd name="T74" fmla="*/ 137 w 1638"/>
                <a:gd name="T75" fmla="*/ 118 h 1998"/>
                <a:gd name="T76" fmla="*/ 133 w 1638"/>
                <a:gd name="T77" fmla="*/ 124 h 1998"/>
                <a:gd name="T78" fmla="*/ 122 w 1638"/>
                <a:gd name="T79" fmla="*/ 125 h 1998"/>
                <a:gd name="T80" fmla="*/ 116 w 1638"/>
                <a:gd name="T81" fmla="*/ 127 h 1998"/>
                <a:gd name="T82" fmla="*/ 108 w 1638"/>
                <a:gd name="T83" fmla="*/ 123 h 1998"/>
                <a:gd name="T84" fmla="*/ 109 w 1638"/>
                <a:gd name="T85" fmla="*/ 119 h 1998"/>
                <a:gd name="T86" fmla="*/ 104 w 1638"/>
                <a:gd name="T87" fmla="*/ 104 h 1998"/>
                <a:gd name="T88" fmla="*/ 94 w 1638"/>
                <a:gd name="T89" fmla="*/ 105 h 1998"/>
                <a:gd name="T90" fmla="*/ 88 w 1638"/>
                <a:gd name="T91" fmla="*/ 109 h 1998"/>
                <a:gd name="T92" fmla="*/ 76 w 1638"/>
                <a:gd name="T93" fmla="*/ 107 h 1998"/>
                <a:gd name="T94" fmla="*/ 72 w 1638"/>
                <a:gd name="T95" fmla="*/ 114 h 1998"/>
                <a:gd name="T96" fmla="*/ 86 w 1638"/>
                <a:gd name="T97" fmla="*/ 121 h 1998"/>
                <a:gd name="T98" fmla="*/ 87 w 1638"/>
                <a:gd name="T99" fmla="*/ 129 h 1998"/>
                <a:gd name="T100" fmla="*/ 86 w 1638"/>
                <a:gd name="T101" fmla="*/ 137 h 1998"/>
                <a:gd name="T102" fmla="*/ 79 w 1638"/>
                <a:gd name="T103" fmla="*/ 141 h 1998"/>
                <a:gd name="T104" fmla="*/ 73 w 1638"/>
                <a:gd name="T105" fmla="*/ 144 h 1998"/>
                <a:gd name="T106" fmla="*/ 72 w 1638"/>
                <a:gd name="T107" fmla="*/ 164 h 1998"/>
                <a:gd name="T108" fmla="*/ 68 w 1638"/>
                <a:gd name="T109" fmla="*/ 172 h 1998"/>
                <a:gd name="T110" fmla="*/ 59 w 1638"/>
                <a:gd name="T111" fmla="*/ 164 h 1998"/>
                <a:gd name="T112" fmla="*/ 65 w 1638"/>
                <a:gd name="T113" fmla="*/ 146 h 1998"/>
                <a:gd name="T114" fmla="*/ 69 w 1638"/>
                <a:gd name="T115" fmla="*/ 133 h 1998"/>
                <a:gd name="T116" fmla="*/ 61 w 1638"/>
                <a:gd name="T117" fmla="*/ 131 h 1998"/>
                <a:gd name="T118" fmla="*/ 43 w 1638"/>
                <a:gd name="T119" fmla="*/ 125 h 1998"/>
                <a:gd name="T120" fmla="*/ 23 w 1638"/>
                <a:gd name="T121" fmla="*/ 125 h 1998"/>
                <a:gd name="T122" fmla="*/ 17 w 1638"/>
                <a:gd name="T123" fmla="*/ 121 h 19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638"/>
                <a:gd name="T187" fmla="*/ 0 h 1998"/>
                <a:gd name="T188" fmla="*/ 1638 w 1638"/>
                <a:gd name="T189" fmla="*/ 1998 h 19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638" h="1998">
                  <a:moveTo>
                    <a:pt x="144" y="1380"/>
                  </a:moveTo>
                  <a:lnTo>
                    <a:pt x="150" y="1368"/>
                  </a:lnTo>
                  <a:lnTo>
                    <a:pt x="150" y="1362"/>
                  </a:lnTo>
                  <a:lnTo>
                    <a:pt x="150" y="1356"/>
                  </a:lnTo>
                  <a:lnTo>
                    <a:pt x="144" y="1356"/>
                  </a:lnTo>
                  <a:lnTo>
                    <a:pt x="138" y="1356"/>
                  </a:lnTo>
                  <a:lnTo>
                    <a:pt x="126" y="1356"/>
                  </a:lnTo>
                  <a:lnTo>
                    <a:pt x="114" y="1344"/>
                  </a:lnTo>
                  <a:lnTo>
                    <a:pt x="84" y="1320"/>
                  </a:lnTo>
                  <a:lnTo>
                    <a:pt x="54" y="1296"/>
                  </a:lnTo>
                  <a:lnTo>
                    <a:pt x="48" y="1290"/>
                  </a:lnTo>
                  <a:lnTo>
                    <a:pt x="42" y="1278"/>
                  </a:lnTo>
                  <a:lnTo>
                    <a:pt x="30" y="1272"/>
                  </a:lnTo>
                  <a:lnTo>
                    <a:pt x="0" y="1248"/>
                  </a:lnTo>
                  <a:lnTo>
                    <a:pt x="6" y="1230"/>
                  </a:lnTo>
                  <a:lnTo>
                    <a:pt x="12" y="1194"/>
                  </a:lnTo>
                  <a:lnTo>
                    <a:pt x="18" y="1170"/>
                  </a:lnTo>
                  <a:lnTo>
                    <a:pt x="30" y="1134"/>
                  </a:lnTo>
                  <a:lnTo>
                    <a:pt x="36" y="1086"/>
                  </a:lnTo>
                  <a:lnTo>
                    <a:pt x="42" y="1050"/>
                  </a:lnTo>
                  <a:lnTo>
                    <a:pt x="48" y="1044"/>
                  </a:lnTo>
                  <a:lnTo>
                    <a:pt x="54" y="1026"/>
                  </a:lnTo>
                  <a:lnTo>
                    <a:pt x="60" y="1014"/>
                  </a:lnTo>
                  <a:lnTo>
                    <a:pt x="66" y="1002"/>
                  </a:lnTo>
                  <a:lnTo>
                    <a:pt x="66" y="996"/>
                  </a:lnTo>
                  <a:lnTo>
                    <a:pt x="72" y="996"/>
                  </a:lnTo>
                  <a:lnTo>
                    <a:pt x="72" y="990"/>
                  </a:lnTo>
                  <a:lnTo>
                    <a:pt x="78" y="990"/>
                  </a:lnTo>
                  <a:lnTo>
                    <a:pt x="90" y="978"/>
                  </a:lnTo>
                  <a:lnTo>
                    <a:pt x="96" y="966"/>
                  </a:lnTo>
                  <a:lnTo>
                    <a:pt x="102" y="966"/>
                  </a:lnTo>
                  <a:lnTo>
                    <a:pt x="114" y="954"/>
                  </a:lnTo>
                  <a:lnTo>
                    <a:pt x="120" y="954"/>
                  </a:lnTo>
                  <a:lnTo>
                    <a:pt x="120" y="948"/>
                  </a:lnTo>
                  <a:lnTo>
                    <a:pt x="114" y="930"/>
                  </a:lnTo>
                  <a:lnTo>
                    <a:pt x="114" y="924"/>
                  </a:lnTo>
                  <a:lnTo>
                    <a:pt x="108" y="918"/>
                  </a:lnTo>
                  <a:lnTo>
                    <a:pt x="102" y="912"/>
                  </a:lnTo>
                  <a:lnTo>
                    <a:pt x="90" y="906"/>
                  </a:lnTo>
                  <a:lnTo>
                    <a:pt x="84" y="900"/>
                  </a:lnTo>
                  <a:lnTo>
                    <a:pt x="84" y="888"/>
                  </a:lnTo>
                  <a:lnTo>
                    <a:pt x="84" y="882"/>
                  </a:lnTo>
                  <a:lnTo>
                    <a:pt x="78" y="858"/>
                  </a:lnTo>
                  <a:lnTo>
                    <a:pt x="78" y="852"/>
                  </a:lnTo>
                  <a:lnTo>
                    <a:pt x="84" y="846"/>
                  </a:lnTo>
                  <a:lnTo>
                    <a:pt x="84" y="840"/>
                  </a:lnTo>
                  <a:lnTo>
                    <a:pt x="96" y="828"/>
                  </a:lnTo>
                  <a:lnTo>
                    <a:pt x="114" y="816"/>
                  </a:lnTo>
                  <a:lnTo>
                    <a:pt x="114" y="810"/>
                  </a:lnTo>
                  <a:lnTo>
                    <a:pt x="114" y="804"/>
                  </a:lnTo>
                  <a:lnTo>
                    <a:pt x="108" y="780"/>
                  </a:lnTo>
                  <a:lnTo>
                    <a:pt x="96" y="756"/>
                  </a:lnTo>
                  <a:lnTo>
                    <a:pt x="96" y="750"/>
                  </a:lnTo>
                  <a:lnTo>
                    <a:pt x="90" y="720"/>
                  </a:lnTo>
                  <a:lnTo>
                    <a:pt x="90" y="708"/>
                  </a:lnTo>
                  <a:lnTo>
                    <a:pt x="90" y="690"/>
                  </a:lnTo>
                  <a:lnTo>
                    <a:pt x="96" y="672"/>
                  </a:lnTo>
                  <a:lnTo>
                    <a:pt x="90" y="666"/>
                  </a:lnTo>
                  <a:lnTo>
                    <a:pt x="96" y="666"/>
                  </a:lnTo>
                  <a:lnTo>
                    <a:pt x="102" y="642"/>
                  </a:lnTo>
                  <a:lnTo>
                    <a:pt x="108" y="624"/>
                  </a:lnTo>
                  <a:lnTo>
                    <a:pt x="102" y="618"/>
                  </a:lnTo>
                  <a:lnTo>
                    <a:pt x="102" y="588"/>
                  </a:lnTo>
                  <a:lnTo>
                    <a:pt x="102" y="564"/>
                  </a:lnTo>
                  <a:lnTo>
                    <a:pt x="102" y="546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0"/>
                  </a:lnTo>
                  <a:lnTo>
                    <a:pt x="96" y="498"/>
                  </a:lnTo>
                  <a:lnTo>
                    <a:pt x="96" y="486"/>
                  </a:lnTo>
                  <a:lnTo>
                    <a:pt x="96" y="474"/>
                  </a:lnTo>
                  <a:lnTo>
                    <a:pt x="96" y="462"/>
                  </a:lnTo>
                  <a:lnTo>
                    <a:pt x="114" y="450"/>
                  </a:lnTo>
                  <a:lnTo>
                    <a:pt x="126" y="438"/>
                  </a:lnTo>
                  <a:lnTo>
                    <a:pt x="132" y="432"/>
                  </a:lnTo>
                  <a:lnTo>
                    <a:pt x="144" y="426"/>
                  </a:lnTo>
                  <a:lnTo>
                    <a:pt x="144" y="420"/>
                  </a:lnTo>
                  <a:lnTo>
                    <a:pt x="156" y="414"/>
                  </a:lnTo>
                  <a:lnTo>
                    <a:pt x="162" y="408"/>
                  </a:lnTo>
                  <a:lnTo>
                    <a:pt x="180" y="396"/>
                  </a:lnTo>
                  <a:lnTo>
                    <a:pt x="210" y="372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34" y="348"/>
                  </a:lnTo>
                  <a:lnTo>
                    <a:pt x="240" y="348"/>
                  </a:lnTo>
                  <a:lnTo>
                    <a:pt x="246" y="342"/>
                  </a:lnTo>
                  <a:lnTo>
                    <a:pt x="276" y="318"/>
                  </a:lnTo>
                  <a:lnTo>
                    <a:pt x="282" y="312"/>
                  </a:lnTo>
                  <a:lnTo>
                    <a:pt x="288" y="306"/>
                  </a:lnTo>
                  <a:lnTo>
                    <a:pt x="300" y="288"/>
                  </a:lnTo>
                  <a:lnTo>
                    <a:pt x="306" y="276"/>
                  </a:lnTo>
                  <a:lnTo>
                    <a:pt x="324" y="246"/>
                  </a:lnTo>
                  <a:lnTo>
                    <a:pt x="330" y="240"/>
                  </a:lnTo>
                  <a:lnTo>
                    <a:pt x="336" y="234"/>
                  </a:lnTo>
                  <a:lnTo>
                    <a:pt x="342" y="228"/>
                  </a:lnTo>
                  <a:lnTo>
                    <a:pt x="342" y="216"/>
                  </a:lnTo>
                  <a:lnTo>
                    <a:pt x="354" y="204"/>
                  </a:lnTo>
                  <a:lnTo>
                    <a:pt x="360" y="204"/>
                  </a:lnTo>
                  <a:lnTo>
                    <a:pt x="366" y="186"/>
                  </a:lnTo>
                  <a:lnTo>
                    <a:pt x="384" y="162"/>
                  </a:lnTo>
                  <a:lnTo>
                    <a:pt x="390" y="144"/>
                  </a:lnTo>
                  <a:lnTo>
                    <a:pt x="396" y="114"/>
                  </a:lnTo>
                  <a:lnTo>
                    <a:pt x="396" y="102"/>
                  </a:lnTo>
                  <a:lnTo>
                    <a:pt x="402" y="90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08" y="36"/>
                  </a:lnTo>
                  <a:lnTo>
                    <a:pt x="408" y="24"/>
                  </a:lnTo>
                  <a:lnTo>
                    <a:pt x="408" y="6"/>
                  </a:lnTo>
                  <a:lnTo>
                    <a:pt x="420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68" y="0"/>
                  </a:lnTo>
                  <a:lnTo>
                    <a:pt x="480" y="0"/>
                  </a:lnTo>
                  <a:lnTo>
                    <a:pt x="492" y="0"/>
                  </a:lnTo>
                  <a:lnTo>
                    <a:pt x="498" y="0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8" y="18"/>
                  </a:lnTo>
                  <a:lnTo>
                    <a:pt x="534" y="18"/>
                  </a:lnTo>
                  <a:lnTo>
                    <a:pt x="540" y="18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8" y="36"/>
                  </a:lnTo>
                  <a:lnTo>
                    <a:pt x="588" y="54"/>
                  </a:lnTo>
                  <a:lnTo>
                    <a:pt x="594" y="48"/>
                  </a:lnTo>
                  <a:lnTo>
                    <a:pt x="600" y="48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12" y="66"/>
                  </a:lnTo>
                  <a:lnTo>
                    <a:pt x="630" y="72"/>
                  </a:lnTo>
                  <a:lnTo>
                    <a:pt x="642" y="78"/>
                  </a:lnTo>
                  <a:lnTo>
                    <a:pt x="666" y="78"/>
                  </a:lnTo>
                  <a:lnTo>
                    <a:pt x="672" y="72"/>
                  </a:lnTo>
                  <a:lnTo>
                    <a:pt x="690" y="84"/>
                  </a:lnTo>
                  <a:lnTo>
                    <a:pt x="690" y="90"/>
                  </a:lnTo>
                  <a:lnTo>
                    <a:pt x="708" y="96"/>
                  </a:lnTo>
                  <a:lnTo>
                    <a:pt x="708" y="102"/>
                  </a:lnTo>
                  <a:lnTo>
                    <a:pt x="744" y="96"/>
                  </a:lnTo>
                  <a:lnTo>
                    <a:pt x="756" y="78"/>
                  </a:lnTo>
                  <a:lnTo>
                    <a:pt x="756" y="72"/>
                  </a:lnTo>
                  <a:lnTo>
                    <a:pt x="762" y="66"/>
                  </a:lnTo>
                  <a:lnTo>
                    <a:pt x="768" y="60"/>
                  </a:lnTo>
                  <a:lnTo>
                    <a:pt x="774" y="54"/>
                  </a:lnTo>
                  <a:lnTo>
                    <a:pt x="786" y="54"/>
                  </a:lnTo>
                  <a:lnTo>
                    <a:pt x="786" y="60"/>
                  </a:lnTo>
                  <a:lnTo>
                    <a:pt x="786" y="66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92" y="90"/>
                  </a:lnTo>
                  <a:lnTo>
                    <a:pt x="780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26"/>
                  </a:lnTo>
                  <a:lnTo>
                    <a:pt x="768" y="150"/>
                  </a:lnTo>
                  <a:lnTo>
                    <a:pt x="750" y="168"/>
                  </a:lnTo>
                  <a:lnTo>
                    <a:pt x="750" y="174"/>
                  </a:lnTo>
                  <a:lnTo>
                    <a:pt x="762" y="192"/>
                  </a:lnTo>
                  <a:lnTo>
                    <a:pt x="774" y="210"/>
                  </a:lnTo>
                  <a:lnTo>
                    <a:pt x="792" y="228"/>
                  </a:lnTo>
                  <a:lnTo>
                    <a:pt x="804" y="240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40" y="252"/>
                  </a:lnTo>
                  <a:lnTo>
                    <a:pt x="834" y="252"/>
                  </a:lnTo>
                  <a:lnTo>
                    <a:pt x="846" y="252"/>
                  </a:lnTo>
                  <a:lnTo>
                    <a:pt x="852" y="270"/>
                  </a:lnTo>
                  <a:lnTo>
                    <a:pt x="858" y="282"/>
                  </a:lnTo>
                  <a:lnTo>
                    <a:pt x="858" y="288"/>
                  </a:lnTo>
                  <a:lnTo>
                    <a:pt x="864" y="300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58" y="318"/>
                  </a:lnTo>
                  <a:lnTo>
                    <a:pt x="852" y="318"/>
                  </a:lnTo>
                  <a:lnTo>
                    <a:pt x="846" y="324"/>
                  </a:lnTo>
                  <a:lnTo>
                    <a:pt x="846" y="336"/>
                  </a:lnTo>
                  <a:lnTo>
                    <a:pt x="840" y="348"/>
                  </a:lnTo>
                  <a:lnTo>
                    <a:pt x="840" y="360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46" y="402"/>
                  </a:lnTo>
                  <a:lnTo>
                    <a:pt x="858" y="420"/>
                  </a:lnTo>
                  <a:lnTo>
                    <a:pt x="882" y="426"/>
                  </a:lnTo>
                  <a:lnTo>
                    <a:pt x="888" y="444"/>
                  </a:lnTo>
                  <a:lnTo>
                    <a:pt x="900" y="444"/>
                  </a:lnTo>
                  <a:lnTo>
                    <a:pt x="900" y="462"/>
                  </a:lnTo>
                  <a:lnTo>
                    <a:pt x="894" y="474"/>
                  </a:lnTo>
                  <a:lnTo>
                    <a:pt x="888" y="486"/>
                  </a:lnTo>
                  <a:lnTo>
                    <a:pt x="882" y="492"/>
                  </a:lnTo>
                  <a:lnTo>
                    <a:pt x="870" y="504"/>
                  </a:lnTo>
                  <a:lnTo>
                    <a:pt x="852" y="504"/>
                  </a:lnTo>
                  <a:lnTo>
                    <a:pt x="852" y="510"/>
                  </a:lnTo>
                  <a:lnTo>
                    <a:pt x="852" y="516"/>
                  </a:lnTo>
                  <a:lnTo>
                    <a:pt x="846" y="528"/>
                  </a:lnTo>
                  <a:lnTo>
                    <a:pt x="846" y="582"/>
                  </a:lnTo>
                  <a:lnTo>
                    <a:pt x="840" y="582"/>
                  </a:lnTo>
                  <a:lnTo>
                    <a:pt x="834" y="582"/>
                  </a:lnTo>
                  <a:lnTo>
                    <a:pt x="828" y="582"/>
                  </a:lnTo>
                  <a:lnTo>
                    <a:pt x="822" y="582"/>
                  </a:lnTo>
                  <a:lnTo>
                    <a:pt x="810" y="582"/>
                  </a:lnTo>
                  <a:lnTo>
                    <a:pt x="810" y="528"/>
                  </a:lnTo>
                  <a:lnTo>
                    <a:pt x="792" y="528"/>
                  </a:lnTo>
                  <a:lnTo>
                    <a:pt x="792" y="522"/>
                  </a:lnTo>
                  <a:lnTo>
                    <a:pt x="786" y="522"/>
                  </a:lnTo>
                  <a:lnTo>
                    <a:pt x="786" y="516"/>
                  </a:lnTo>
                  <a:lnTo>
                    <a:pt x="780" y="516"/>
                  </a:lnTo>
                  <a:lnTo>
                    <a:pt x="780" y="510"/>
                  </a:lnTo>
                  <a:lnTo>
                    <a:pt x="762" y="510"/>
                  </a:lnTo>
                  <a:lnTo>
                    <a:pt x="756" y="510"/>
                  </a:lnTo>
                  <a:lnTo>
                    <a:pt x="750" y="522"/>
                  </a:lnTo>
                  <a:lnTo>
                    <a:pt x="744" y="534"/>
                  </a:lnTo>
                  <a:lnTo>
                    <a:pt x="732" y="540"/>
                  </a:lnTo>
                  <a:lnTo>
                    <a:pt x="732" y="558"/>
                  </a:lnTo>
                  <a:lnTo>
                    <a:pt x="732" y="564"/>
                  </a:lnTo>
                  <a:lnTo>
                    <a:pt x="732" y="570"/>
                  </a:lnTo>
                  <a:lnTo>
                    <a:pt x="726" y="576"/>
                  </a:lnTo>
                  <a:lnTo>
                    <a:pt x="720" y="576"/>
                  </a:lnTo>
                  <a:lnTo>
                    <a:pt x="714" y="582"/>
                  </a:lnTo>
                  <a:lnTo>
                    <a:pt x="702" y="588"/>
                  </a:lnTo>
                  <a:lnTo>
                    <a:pt x="696" y="594"/>
                  </a:lnTo>
                  <a:lnTo>
                    <a:pt x="690" y="600"/>
                  </a:lnTo>
                  <a:lnTo>
                    <a:pt x="690" y="606"/>
                  </a:lnTo>
                  <a:lnTo>
                    <a:pt x="678" y="606"/>
                  </a:lnTo>
                  <a:lnTo>
                    <a:pt x="678" y="624"/>
                  </a:lnTo>
                  <a:lnTo>
                    <a:pt x="684" y="642"/>
                  </a:lnTo>
                  <a:lnTo>
                    <a:pt x="684" y="660"/>
                  </a:lnTo>
                  <a:lnTo>
                    <a:pt x="690" y="672"/>
                  </a:lnTo>
                  <a:lnTo>
                    <a:pt x="702" y="720"/>
                  </a:lnTo>
                  <a:lnTo>
                    <a:pt x="708" y="750"/>
                  </a:lnTo>
                  <a:lnTo>
                    <a:pt x="708" y="792"/>
                  </a:lnTo>
                  <a:lnTo>
                    <a:pt x="708" y="828"/>
                  </a:lnTo>
                  <a:lnTo>
                    <a:pt x="708" y="852"/>
                  </a:lnTo>
                  <a:lnTo>
                    <a:pt x="696" y="894"/>
                  </a:lnTo>
                  <a:lnTo>
                    <a:pt x="702" y="900"/>
                  </a:lnTo>
                  <a:lnTo>
                    <a:pt x="708" y="924"/>
                  </a:lnTo>
                  <a:lnTo>
                    <a:pt x="684" y="936"/>
                  </a:lnTo>
                  <a:lnTo>
                    <a:pt x="660" y="954"/>
                  </a:lnTo>
                  <a:lnTo>
                    <a:pt x="618" y="984"/>
                  </a:lnTo>
                  <a:lnTo>
                    <a:pt x="618" y="990"/>
                  </a:lnTo>
                  <a:lnTo>
                    <a:pt x="612" y="996"/>
                  </a:lnTo>
                  <a:lnTo>
                    <a:pt x="606" y="1002"/>
                  </a:lnTo>
                  <a:lnTo>
                    <a:pt x="618" y="1008"/>
                  </a:lnTo>
                  <a:lnTo>
                    <a:pt x="618" y="1014"/>
                  </a:lnTo>
                  <a:lnTo>
                    <a:pt x="624" y="1026"/>
                  </a:lnTo>
                  <a:lnTo>
                    <a:pt x="630" y="1026"/>
                  </a:lnTo>
                  <a:lnTo>
                    <a:pt x="636" y="1032"/>
                  </a:lnTo>
                  <a:lnTo>
                    <a:pt x="642" y="1032"/>
                  </a:lnTo>
                  <a:lnTo>
                    <a:pt x="642" y="1038"/>
                  </a:lnTo>
                  <a:lnTo>
                    <a:pt x="648" y="1044"/>
                  </a:lnTo>
                  <a:lnTo>
                    <a:pt x="666" y="1050"/>
                  </a:lnTo>
                  <a:lnTo>
                    <a:pt x="678" y="1038"/>
                  </a:lnTo>
                  <a:lnTo>
                    <a:pt x="684" y="1038"/>
                  </a:lnTo>
                  <a:lnTo>
                    <a:pt x="684" y="1032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20"/>
                  </a:lnTo>
                  <a:lnTo>
                    <a:pt x="708" y="1014"/>
                  </a:lnTo>
                  <a:lnTo>
                    <a:pt x="720" y="1020"/>
                  </a:lnTo>
                  <a:lnTo>
                    <a:pt x="720" y="1014"/>
                  </a:lnTo>
                  <a:lnTo>
                    <a:pt x="726" y="1008"/>
                  </a:lnTo>
                  <a:lnTo>
                    <a:pt x="732" y="1008"/>
                  </a:lnTo>
                  <a:lnTo>
                    <a:pt x="738" y="1008"/>
                  </a:lnTo>
                  <a:lnTo>
                    <a:pt x="744" y="1002"/>
                  </a:lnTo>
                  <a:lnTo>
                    <a:pt x="744" y="996"/>
                  </a:lnTo>
                  <a:lnTo>
                    <a:pt x="750" y="996"/>
                  </a:lnTo>
                  <a:lnTo>
                    <a:pt x="756" y="1002"/>
                  </a:lnTo>
                  <a:lnTo>
                    <a:pt x="762" y="1002"/>
                  </a:lnTo>
                  <a:lnTo>
                    <a:pt x="768" y="996"/>
                  </a:lnTo>
                  <a:lnTo>
                    <a:pt x="780" y="996"/>
                  </a:lnTo>
                  <a:lnTo>
                    <a:pt x="786" y="996"/>
                  </a:lnTo>
                  <a:lnTo>
                    <a:pt x="816" y="990"/>
                  </a:lnTo>
                  <a:lnTo>
                    <a:pt x="828" y="990"/>
                  </a:lnTo>
                  <a:lnTo>
                    <a:pt x="834" y="990"/>
                  </a:lnTo>
                  <a:lnTo>
                    <a:pt x="840" y="984"/>
                  </a:lnTo>
                  <a:lnTo>
                    <a:pt x="852" y="978"/>
                  </a:lnTo>
                  <a:lnTo>
                    <a:pt x="852" y="972"/>
                  </a:lnTo>
                  <a:lnTo>
                    <a:pt x="858" y="972"/>
                  </a:lnTo>
                  <a:lnTo>
                    <a:pt x="864" y="966"/>
                  </a:lnTo>
                  <a:lnTo>
                    <a:pt x="870" y="966"/>
                  </a:lnTo>
                  <a:lnTo>
                    <a:pt x="876" y="966"/>
                  </a:lnTo>
                  <a:lnTo>
                    <a:pt x="882" y="960"/>
                  </a:lnTo>
                  <a:lnTo>
                    <a:pt x="888" y="960"/>
                  </a:lnTo>
                  <a:lnTo>
                    <a:pt x="894" y="960"/>
                  </a:lnTo>
                  <a:lnTo>
                    <a:pt x="894" y="966"/>
                  </a:lnTo>
                  <a:lnTo>
                    <a:pt x="894" y="978"/>
                  </a:lnTo>
                  <a:lnTo>
                    <a:pt x="894" y="984"/>
                  </a:lnTo>
                  <a:lnTo>
                    <a:pt x="900" y="984"/>
                  </a:lnTo>
                  <a:lnTo>
                    <a:pt x="906" y="978"/>
                  </a:lnTo>
                  <a:lnTo>
                    <a:pt x="912" y="972"/>
                  </a:lnTo>
                  <a:lnTo>
                    <a:pt x="918" y="978"/>
                  </a:lnTo>
                  <a:lnTo>
                    <a:pt x="924" y="978"/>
                  </a:lnTo>
                  <a:lnTo>
                    <a:pt x="924" y="972"/>
                  </a:lnTo>
                  <a:lnTo>
                    <a:pt x="924" y="966"/>
                  </a:lnTo>
                  <a:lnTo>
                    <a:pt x="930" y="966"/>
                  </a:lnTo>
                  <a:lnTo>
                    <a:pt x="948" y="966"/>
                  </a:lnTo>
                  <a:lnTo>
                    <a:pt x="954" y="966"/>
                  </a:lnTo>
                  <a:lnTo>
                    <a:pt x="954" y="960"/>
                  </a:lnTo>
                  <a:lnTo>
                    <a:pt x="960" y="960"/>
                  </a:lnTo>
                  <a:lnTo>
                    <a:pt x="966" y="960"/>
                  </a:lnTo>
                  <a:lnTo>
                    <a:pt x="966" y="966"/>
                  </a:lnTo>
                  <a:lnTo>
                    <a:pt x="978" y="972"/>
                  </a:lnTo>
                  <a:lnTo>
                    <a:pt x="978" y="978"/>
                  </a:lnTo>
                  <a:lnTo>
                    <a:pt x="978" y="984"/>
                  </a:lnTo>
                  <a:lnTo>
                    <a:pt x="984" y="978"/>
                  </a:lnTo>
                  <a:lnTo>
                    <a:pt x="990" y="978"/>
                  </a:lnTo>
                  <a:lnTo>
                    <a:pt x="996" y="984"/>
                  </a:lnTo>
                  <a:lnTo>
                    <a:pt x="1002" y="990"/>
                  </a:lnTo>
                  <a:lnTo>
                    <a:pt x="1008" y="972"/>
                  </a:lnTo>
                  <a:lnTo>
                    <a:pt x="1026" y="972"/>
                  </a:lnTo>
                  <a:lnTo>
                    <a:pt x="1032" y="972"/>
                  </a:lnTo>
                  <a:lnTo>
                    <a:pt x="1038" y="972"/>
                  </a:lnTo>
                  <a:lnTo>
                    <a:pt x="1050" y="972"/>
                  </a:lnTo>
                  <a:lnTo>
                    <a:pt x="1056" y="972"/>
                  </a:lnTo>
                  <a:lnTo>
                    <a:pt x="1062" y="966"/>
                  </a:lnTo>
                  <a:lnTo>
                    <a:pt x="1074" y="966"/>
                  </a:lnTo>
                  <a:lnTo>
                    <a:pt x="1074" y="960"/>
                  </a:lnTo>
                  <a:lnTo>
                    <a:pt x="1080" y="954"/>
                  </a:lnTo>
                  <a:lnTo>
                    <a:pt x="1080" y="948"/>
                  </a:lnTo>
                  <a:lnTo>
                    <a:pt x="1074" y="948"/>
                  </a:lnTo>
                  <a:lnTo>
                    <a:pt x="1068" y="948"/>
                  </a:lnTo>
                  <a:lnTo>
                    <a:pt x="1062" y="942"/>
                  </a:lnTo>
                  <a:lnTo>
                    <a:pt x="1068" y="936"/>
                  </a:lnTo>
                  <a:lnTo>
                    <a:pt x="1074" y="936"/>
                  </a:lnTo>
                  <a:lnTo>
                    <a:pt x="1080" y="936"/>
                  </a:lnTo>
                  <a:lnTo>
                    <a:pt x="1086" y="942"/>
                  </a:lnTo>
                  <a:lnTo>
                    <a:pt x="1092" y="942"/>
                  </a:lnTo>
                  <a:lnTo>
                    <a:pt x="1098" y="948"/>
                  </a:lnTo>
                  <a:lnTo>
                    <a:pt x="1104" y="954"/>
                  </a:lnTo>
                  <a:lnTo>
                    <a:pt x="1110" y="954"/>
                  </a:lnTo>
                  <a:lnTo>
                    <a:pt x="1116" y="948"/>
                  </a:lnTo>
                  <a:lnTo>
                    <a:pt x="1122" y="942"/>
                  </a:lnTo>
                  <a:lnTo>
                    <a:pt x="1128" y="942"/>
                  </a:lnTo>
                  <a:lnTo>
                    <a:pt x="1134" y="942"/>
                  </a:lnTo>
                  <a:lnTo>
                    <a:pt x="1140" y="948"/>
                  </a:lnTo>
                  <a:lnTo>
                    <a:pt x="1146" y="942"/>
                  </a:lnTo>
                  <a:lnTo>
                    <a:pt x="1152" y="942"/>
                  </a:lnTo>
                  <a:lnTo>
                    <a:pt x="1152" y="930"/>
                  </a:lnTo>
                  <a:lnTo>
                    <a:pt x="1164" y="936"/>
                  </a:lnTo>
                  <a:lnTo>
                    <a:pt x="1158" y="942"/>
                  </a:lnTo>
                  <a:lnTo>
                    <a:pt x="1158" y="948"/>
                  </a:lnTo>
                  <a:lnTo>
                    <a:pt x="1146" y="954"/>
                  </a:lnTo>
                  <a:lnTo>
                    <a:pt x="1152" y="954"/>
                  </a:lnTo>
                  <a:lnTo>
                    <a:pt x="1158" y="954"/>
                  </a:lnTo>
                  <a:lnTo>
                    <a:pt x="1158" y="948"/>
                  </a:lnTo>
                  <a:lnTo>
                    <a:pt x="1164" y="948"/>
                  </a:lnTo>
                  <a:lnTo>
                    <a:pt x="1170" y="948"/>
                  </a:lnTo>
                  <a:lnTo>
                    <a:pt x="1176" y="954"/>
                  </a:lnTo>
                  <a:lnTo>
                    <a:pt x="1176" y="966"/>
                  </a:lnTo>
                  <a:lnTo>
                    <a:pt x="1182" y="972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88" y="984"/>
                  </a:lnTo>
                  <a:lnTo>
                    <a:pt x="1194" y="984"/>
                  </a:lnTo>
                  <a:lnTo>
                    <a:pt x="1200" y="984"/>
                  </a:lnTo>
                  <a:lnTo>
                    <a:pt x="1212" y="984"/>
                  </a:lnTo>
                  <a:lnTo>
                    <a:pt x="1218" y="990"/>
                  </a:lnTo>
                  <a:lnTo>
                    <a:pt x="1224" y="990"/>
                  </a:lnTo>
                  <a:lnTo>
                    <a:pt x="1224" y="984"/>
                  </a:lnTo>
                  <a:lnTo>
                    <a:pt x="1230" y="990"/>
                  </a:lnTo>
                  <a:lnTo>
                    <a:pt x="1236" y="984"/>
                  </a:lnTo>
                  <a:lnTo>
                    <a:pt x="1242" y="984"/>
                  </a:lnTo>
                  <a:lnTo>
                    <a:pt x="1248" y="990"/>
                  </a:lnTo>
                  <a:lnTo>
                    <a:pt x="1254" y="990"/>
                  </a:lnTo>
                  <a:lnTo>
                    <a:pt x="1254" y="996"/>
                  </a:lnTo>
                  <a:lnTo>
                    <a:pt x="1254" y="1002"/>
                  </a:lnTo>
                  <a:lnTo>
                    <a:pt x="1254" y="1008"/>
                  </a:lnTo>
                  <a:lnTo>
                    <a:pt x="1260" y="1014"/>
                  </a:lnTo>
                  <a:lnTo>
                    <a:pt x="1266" y="1014"/>
                  </a:lnTo>
                  <a:lnTo>
                    <a:pt x="1272" y="1014"/>
                  </a:lnTo>
                  <a:lnTo>
                    <a:pt x="1278" y="1020"/>
                  </a:lnTo>
                  <a:lnTo>
                    <a:pt x="1284" y="1020"/>
                  </a:lnTo>
                  <a:lnTo>
                    <a:pt x="1290" y="1014"/>
                  </a:lnTo>
                  <a:lnTo>
                    <a:pt x="1290" y="1008"/>
                  </a:lnTo>
                  <a:lnTo>
                    <a:pt x="1296" y="1008"/>
                  </a:lnTo>
                  <a:lnTo>
                    <a:pt x="1302" y="1014"/>
                  </a:lnTo>
                  <a:lnTo>
                    <a:pt x="1308" y="1014"/>
                  </a:lnTo>
                  <a:lnTo>
                    <a:pt x="1314" y="1008"/>
                  </a:lnTo>
                  <a:lnTo>
                    <a:pt x="1320" y="1008"/>
                  </a:lnTo>
                  <a:lnTo>
                    <a:pt x="1320" y="1002"/>
                  </a:lnTo>
                  <a:lnTo>
                    <a:pt x="1320" y="996"/>
                  </a:lnTo>
                  <a:lnTo>
                    <a:pt x="1332" y="1002"/>
                  </a:lnTo>
                  <a:lnTo>
                    <a:pt x="1332" y="1008"/>
                  </a:lnTo>
                  <a:lnTo>
                    <a:pt x="1326" y="1014"/>
                  </a:lnTo>
                  <a:lnTo>
                    <a:pt x="1332" y="1014"/>
                  </a:lnTo>
                  <a:lnTo>
                    <a:pt x="1338" y="1014"/>
                  </a:lnTo>
                  <a:lnTo>
                    <a:pt x="1338" y="1008"/>
                  </a:lnTo>
                  <a:lnTo>
                    <a:pt x="1344" y="1008"/>
                  </a:lnTo>
                  <a:lnTo>
                    <a:pt x="1350" y="1008"/>
                  </a:lnTo>
                  <a:lnTo>
                    <a:pt x="1356" y="1014"/>
                  </a:lnTo>
                  <a:lnTo>
                    <a:pt x="1356" y="1008"/>
                  </a:lnTo>
                  <a:lnTo>
                    <a:pt x="1362" y="1014"/>
                  </a:lnTo>
                  <a:lnTo>
                    <a:pt x="1392" y="1014"/>
                  </a:lnTo>
                  <a:lnTo>
                    <a:pt x="1398" y="1014"/>
                  </a:lnTo>
                  <a:lnTo>
                    <a:pt x="1404" y="1008"/>
                  </a:lnTo>
                  <a:lnTo>
                    <a:pt x="1404" y="1014"/>
                  </a:lnTo>
                  <a:lnTo>
                    <a:pt x="1410" y="1008"/>
                  </a:lnTo>
                  <a:lnTo>
                    <a:pt x="1416" y="1008"/>
                  </a:lnTo>
                  <a:lnTo>
                    <a:pt x="1422" y="1002"/>
                  </a:lnTo>
                  <a:lnTo>
                    <a:pt x="1428" y="1002"/>
                  </a:lnTo>
                  <a:lnTo>
                    <a:pt x="1428" y="996"/>
                  </a:lnTo>
                  <a:lnTo>
                    <a:pt x="1428" y="990"/>
                  </a:lnTo>
                  <a:lnTo>
                    <a:pt x="1440" y="1002"/>
                  </a:lnTo>
                  <a:lnTo>
                    <a:pt x="1446" y="1002"/>
                  </a:lnTo>
                  <a:lnTo>
                    <a:pt x="1452" y="1002"/>
                  </a:lnTo>
                  <a:lnTo>
                    <a:pt x="1446" y="996"/>
                  </a:lnTo>
                  <a:lnTo>
                    <a:pt x="1452" y="996"/>
                  </a:lnTo>
                  <a:lnTo>
                    <a:pt x="1458" y="996"/>
                  </a:lnTo>
                  <a:lnTo>
                    <a:pt x="1464" y="996"/>
                  </a:lnTo>
                  <a:lnTo>
                    <a:pt x="1464" y="1002"/>
                  </a:lnTo>
                  <a:lnTo>
                    <a:pt x="1476" y="1014"/>
                  </a:lnTo>
                  <a:lnTo>
                    <a:pt x="1476" y="1008"/>
                  </a:lnTo>
                  <a:lnTo>
                    <a:pt x="1482" y="1008"/>
                  </a:lnTo>
                  <a:lnTo>
                    <a:pt x="1488" y="1020"/>
                  </a:lnTo>
                  <a:lnTo>
                    <a:pt x="1494" y="1020"/>
                  </a:lnTo>
                  <a:lnTo>
                    <a:pt x="1500" y="1014"/>
                  </a:lnTo>
                  <a:lnTo>
                    <a:pt x="1500" y="1020"/>
                  </a:lnTo>
                  <a:lnTo>
                    <a:pt x="1506" y="1026"/>
                  </a:lnTo>
                  <a:lnTo>
                    <a:pt x="1512" y="1032"/>
                  </a:lnTo>
                  <a:lnTo>
                    <a:pt x="1518" y="1032"/>
                  </a:lnTo>
                  <a:lnTo>
                    <a:pt x="1518" y="1038"/>
                  </a:lnTo>
                  <a:lnTo>
                    <a:pt x="1518" y="1044"/>
                  </a:lnTo>
                  <a:lnTo>
                    <a:pt x="1524" y="1044"/>
                  </a:lnTo>
                  <a:lnTo>
                    <a:pt x="1524" y="1050"/>
                  </a:lnTo>
                  <a:lnTo>
                    <a:pt x="1530" y="1056"/>
                  </a:lnTo>
                  <a:lnTo>
                    <a:pt x="1548" y="1062"/>
                  </a:lnTo>
                  <a:lnTo>
                    <a:pt x="1560" y="1074"/>
                  </a:lnTo>
                  <a:lnTo>
                    <a:pt x="1560" y="1080"/>
                  </a:lnTo>
                  <a:lnTo>
                    <a:pt x="1560" y="1086"/>
                  </a:lnTo>
                  <a:lnTo>
                    <a:pt x="1566" y="1086"/>
                  </a:lnTo>
                  <a:lnTo>
                    <a:pt x="1572" y="1098"/>
                  </a:lnTo>
                  <a:lnTo>
                    <a:pt x="1572" y="1104"/>
                  </a:lnTo>
                  <a:lnTo>
                    <a:pt x="1584" y="1110"/>
                  </a:lnTo>
                  <a:lnTo>
                    <a:pt x="1590" y="1116"/>
                  </a:lnTo>
                  <a:lnTo>
                    <a:pt x="1596" y="1116"/>
                  </a:lnTo>
                  <a:lnTo>
                    <a:pt x="1608" y="1122"/>
                  </a:lnTo>
                  <a:lnTo>
                    <a:pt x="1620" y="1140"/>
                  </a:lnTo>
                  <a:lnTo>
                    <a:pt x="1626" y="1158"/>
                  </a:lnTo>
                  <a:lnTo>
                    <a:pt x="1638" y="1200"/>
                  </a:lnTo>
                  <a:lnTo>
                    <a:pt x="1638" y="1218"/>
                  </a:lnTo>
                  <a:lnTo>
                    <a:pt x="1620" y="1230"/>
                  </a:lnTo>
                  <a:lnTo>
                    <a:pt x="1554" y="1230"/>
                  </a:lnTo>
                  <a:lnTo>
                    <a:pt x="1560" y="1248"/>
                  </a:lnTo>
                  <a:lnTo>
                    <a:pt x="1584" y="1260"/>
                  </a:lnTo>
                  <a:lnTo>
                    <a:pt x="1584" y="1266"/>
                  </a:lnTo>
                  <a:lnTo>
                    <a:pt x="1578" y="1272"/>
                  </a:lnTo>
                  <a:lnTo>
                    <a:pt x="1572" y="1272"/>
                  </a:lnTo>
                  <a:lnTo>
                    <a:pt x="1566" y="1278"/>
                  </a:lnTo>
                  <a:lnTo>
                    <a:pt x="1566" y="1284"/>
                  </a:lnTo>
                  <a:lnTo>
                    <a:pt x="1560" y="1290"/>
                  </a:lnTo>
                  <a:lnTo>
                    <a:pt x="1554" y="1290"/>
                  </a:lnTo>
                  <a:lnTo>
                    <a:pt x="1554" y="1296"/>
                  </a:lnTo>
                  <a:lnTo>
                    <a:pt x="1554" y="1302"/>
                  </a:lnTo>
                  <a:lnTo>
                    <a:pt x="1560" y="1332"/>
                  </a:lnTo>
                  <a:lnTo>
                    <a:pt x="1566" y="1356"/>
                  </a:lnTo>
                  <a:lnTo>
                    <a:pt x="1572" y="1356"/>
                  </a:lnTo>
                  <a:lnTo>
                    <a:pt x="1572" y="1362"/>
                  </a:lnTo>
                  <a:lnTo>
                    <a:pt x="1578" y="1362"/>
                  </a:lnTo>
                  <a:lnTo>
                    <a:pt x="1560" y="1374"/>
                  </a:lnTo>
                  <a:lnTo>
                    <a:pt x="1560" y="1380"/>
                  </a:lnTo>
                  <a:lnTo>
                    <a:pt x="1548" y="1380"/>
                  </a:lnTo>
                  <a:lnTo>
                    <a:pt x="1548" y="1386"/>
                  </a:lnTo>
                  <a:lnTo>
                    <a:pt x="1548" y="1392"/>
                  </a:lnTo>
                  <a:lnTo>
                    <a:pt x="1542" y="1410"/>
                  </a:lnTo>
                  <a:lnTo>
                    <a:pt x="1536" y="1422"/>
                  </a:lnTo>
                  <a:lnTo>
                    <a:pt x="1536" y="1428"/>
                  </a:lnTo>
                  <a:lnTo>
                    <a:pt x="1530" y="1440"/>
                  </a:lnTo>
                  <a:lnTo>
                    <a:pt x="1524" y="1434"/>
                  </a:lnTo>
                  <a:lnTo>
                    <a:pt x="1524" y="1428"/>
                  </a:lnTo>
                  <a:lnTo>
                    <a:pt x="1524" y="1422"/>
                  </a:lnTo>
                  <a:lnTo>
                    <a:pt x="1512" y="1410"/>
                  </a:lnTo>
                  <a:lnTo>
                    <a:pt x="1506" y="1404"/>
                  </a:lnTo>
                  <a:lnTo>
                    <a:pt x="1506" y="1398"/>
                  </a:lnTo>
                  <a:lnTo>
                    <a:pt x="1494" y="1392"/>
                  </a:lnTo>
                  <a:lnTo>
                    <a:pt x="1476" y="1404"/>
                  </a:lnTo>
                  <a:lnTo>
                    <a:pt x="1464" y="1416"/>
                  </a:lnTo>
                  <a:lnTo>
                    <a:pt x="1458" y="1428"/>
                  </a:lnTo>
                  <a:lnTo>
                    <a:pt x="1446" y="1434"/>
                  </a:lnTo>
                  <a:lnTo>
                    <a:pt x="1410" y="1440"/>
                  </a:lnTo>
                  <a:lnTo>
                    <a:pt x="1398" y="1440"/>
                  </a:lnTo>
                  <a:lnTo>
                    <a:pt x="1398" y="1446"/>
                  </a:lnTo>
                  <a:lnTo>
                    <a:pt x="1386" y="1446"/>
                  </a:lnTo>
                  <a:lnTo>
                    <a:pt x="1380" y="1440"/>
                  </a:lnTo>
                  <a:lnTo>
                    <a:pt x="1368" y="1440"/>
                  </a:lnTo>
                  <a:lnTo>
                    <a:pt x="1368" y="1446"/>
                  </a:lnTo>
                  <a:lnTo>
                    <a:pt x="1356" y="1446"/>
                  </a:lnTo>
                  <a:lnTo>
                    <a:pt x="1350" y="1452"/>
                  </a:lnTo>
                  <a:lnTo>
                    <a:pt x="1338" y="1452"/>
                  </a:lnTo>
                  <a:lnTo>
                    <a:pt x="1338" y="1458"/>
                  </a:lnTo>
                  <a:lnTo>
                    <a:pt x="1332" y="1458"/>
                  </a:lnTo>
                  <a:lnTo>
                    <a:pt x="1332" y="1464"/>
                  </a:lnTo>
                  <a:lnTo>
                    <a:pt x="1332" y="1470"/>
                  </a:lnTo>
                  <a:lnTo>
                    <a:pt x="1326" y="1470"/>
                  </a:lnTo>
                  <a:lnTo>
                    <a:pt x="1320" y="1470"/>
                  </a:lnTo>
                  <a:lnTo>
                    <a:pt x="1314" y="1470"/>
                  </a:lnTo>
                  <a:lnTo>
                    <a:pt x="1314" y="1464"/>
                  </a:lnTo>
                  <a:lnTo>
                    <a:pt x="1308" y="1464"/>
                  </a:lnTo>
                  <a:lnTo>
                    <a:pt x="1308" y="1452"/>
                  </a:lnTo>
                  <a:lnTo>
                    <a:pt x="1284" y="1458"/>
                  </a:lnTo>
                  <a:lnTo>
                    <a:pt x="1272" y="1458"/>
                  </a:lnTo>
                  <a:lnTo>
                    <a:pt x="1272" y="1464"/>
                  </a:lnTo>
                  <a:lnTo>
                    <a:pt x="1260" y="1464"/>
                  </a:lnTo>
                  <a:lnTo>
                    <a:pt x="1254" y="1464"/>
                  </a:lnTo>
                  <a:lnTo>
                    <a:pt x="1242" y="1422"/>
                  </a:lnTo>
                  <a:lnTo>
                    <a:pt x="1242" y="1416"/>
                  </a:lnTo>
                  <a:lnTo>
                    <a:pt x="1242" y="1410"/>
                  </a:lnTo>
                  <a:lnTo>
                    <a:pt x="1248" y="1410"/>
                  </a:lnTo>
                  <a:lnTo>
                    <a:pt x="1242" y="1410"/>
                  </a:lnTo>
                  <a:lnTo>
                    <a:pt x="1242" y="1404"/>
                  </a:lnTo>
                  <a:lnTo>
                    <a:pt x="1242" y="1398"/>
                  </a:lnTo>
                  <a:lnTo>
                    <a:pt x="1248" y="1392"/>
                  </a:lnTo>
                  <a:lnTo>
                    <a:pt x="1248" y="1386"/>
                  </a:lnTo>
                  <a:lnTo>
                    <a:pt x="1242" y="1380"/>
                  </a:lnTo>
                  <a:lnTo>
                    <a:pt x="1248" y="1380"/>
                  </a:lnTo>
                  <a:lnTo>
                    <a:pt x="1248" y="1374"/>
                  </a:lnTo>
                  <a:lnTo>
                    <a:pt x="1248" y="1368"/>
                  </a:lnTo>
                  <a:lnTo>
                    <a:pt x="1254" y="1368"/>
                  </a:lnTo>
                  <a:lnTo>
                    <a:pt x="1254" y="1362"/>
                  </a:lnTo>
                  <a:lnTo>
                    <a:pt x="1248" y="1356"/>
                  </a:lnTo>
                  <a:lnTo>
                    <a:pt x="1254" y="1356"/>
                  </a:lnTo>
                  <a:lnTo>
                    <a:pt x="1254" y="1344"/>
                  </a:lnTo>
                  <a:lnTo>
                    <a:pt x="1242" y="1338"/>
                  </a:lnTo>
                  <a:lnTo>
                    <a:pt x="1242" y="1326"/>
                  </a:lnTo>
                  <a:lnTo>
                    <a:pt x="1230" y="1326"/>
                  </a:lnTo>
                  <a:lnTo>
                    <a:pt x="1230" y="1314"/>
                  </a:lnTo>
                  <a:lnTo>
                    <a:pt x="1218" y="1314"/>
                  </a:lnTo>
                  <a:lnTo>
                    <a:pt x="1200" y="1272"/>
                  </a:lnTo>
                  <a:lnTo>
                    <a:pt x="1194" y="1242"/>
                  </a:lnTo>
                  <a:lnTo>
                    <a:pt x="1194" y="1206"/>
                  </a:lnTo>
                  <a:lnTo>
                    <a:pt x="1182" y="1200"/>
                  </a:lnTo>
                  <a:lnTo>
                    <a:pt x="1164" y="1206"/>
                  </a:lnTo>
                  <a:lnTo>
                    <a:pt x="1146" y="1212"/>
                  </a:lnTo>
                  <a:lnTo>
                    <a:pt x="1146" y="1218"/>
                  </a:lnTo>
                  <a:lnTo>
                    <a:pt x="1134" y="1224"/>
                  </a:lnTo>
                  <a:lnTo>
                    <a:pt x="1140" y="1260"/>
                  </a:lnTo>
                  <a:lnTo>
                    <a:pt x="1134" y="1266"/>
                  </a:lnTo>
                  <a:lnTo>
                    <a:pt x="1122" y="1266"/>
                  </a:lnTo>
                  <a:lnTo>
                    <a:pt x="1110" y="1236"/>
                  </a:lnTo>
                  <a:lnTo>
                    <a:pt x="1110" y="1224"/>
                  </a:lnTo>
                  <a:lnTo>
                    <a:pt x="1086" y="1224"/>
                  </a:lnTo>
                  <a:lnTo>
                    <a:pt x="1086" y="1212"/>
                  </a:lnTo>
                  <a:lnTo>
                    <a:pt x="1074" y="1212"/>
                  </a:lnTo>
                  <a:lnTo>
                    <a:pt x="1050" y="1212"/>
                  </a:lnTo>
                  <a:lnTo>
                    <a:pt x="1056" y="1218"/>
                  </a:lnTo>
                  <a:lnTo>
                    <a:pt x="1050" y="1272"/>
                  </a:lnTo>
                  <a:lnTo>
                    <a:pt x="1044" y="1272"/>
                  </a:lnTo>
                  <a:lnTo>
                    <a:pt x="1038" y="1284"/>
                  </a:lnTo>
                  <a:lnTo>
                    <a:pt x="1032" y="1302"/>
                  </a:lnTo>
                  <a:lnTo>
                    <a:pt x="1014" y="1302"/>
                  </a:lnTo>
                  <a:lnTo>
                    <a:pt x="1020" y="1284"/>
                  </a:lnTo>
                  <a:lnTo>
                    <a:pt x="1026" y="1278"/>
                  </a:lnTo>
                  <a:lnTo>
                    <a:pt x="1026" y="1266"/>
                  </a:lnTo>
                  <a:lnTo>
                    <a:pt x="1014" y="1260"/>
                  </a:lnTo>
                  <a:lnTo>
                    <a:pt x="1014" y="1272"/>
                  </a:lnTo>
                  <a:lnTo>
                    <a:pt x="990" y="1278"/>
                  </a:lnTo>
                  <a:lnTo>
                    <a:pt x="990" y="1254"/>
                  </a:lnTo>
                  <a:lnTo>
                    <a:pt x="984" y="1254"/>
                  </a:lnTo>
                  <a:lnTo>
                    <a:pt x="978" y="1242"/>
                  </a:lnTo>
                  <a:lnTo>
                    <a:pt x="972" y="1236"/>
                  </a:lnTo>
                  <a:lnTo>
                    <a:pt x="960" y="1206"/>
                  </a:lnTo>
                  <a:lnTo>
                    <a:pt x="942" y="1206"/>
                  </a:lnTo>
                  <a:lnTo>
                    <a:pt x="936" y="1200"/>
                  </a:lnTo>
                  <a:lnTo>
                    <a:pt x="906" y="1212"/>
                  </a:lnTo>
                  <a:lnTo>
                    <a:pt x="888" y="1230"/>
                  </a:lnTo>
                  <a:lnTo>
                    <a:pt x="876" y="1230"/>
                  </a:lnTo>
                  <a:lnTo>
                    <a:pt x="864" y="1236"/>
                  </a:lnTo>
                  <a:lnTo>
                    <a:pt x="858" y="1236"/>
                  </a:lnTo>
                  <a:lnTo>
                    <a:pt x="852" y="1254"/>
                  </a:lnTo>
                  <a:lnTo>
                    <a:pt x="858" y="1254"/>
                  </a:lnTo>
                  <a:lnTo>
                    <a:pt x="840" y="1266"/>
                  </a:lnTo>
                  <a:lnTo>
                    <a:pt x="828" y="1272"/>
                  </a:lnTo>
                  <a:lnTo>
                    <a:pt x="828" y="1284"/>
                  </a:lnTo>
                  <a:lnTo>
                    <a:pt x="822" y="1284"/>
                  </a:lnTo>
                  <a:lnTo>
                    <a:pt x="804" y="1296"/>
                  </a:lnTo>
                  <a:lnTo>
                    <a:pt x="804" y="1308"/>
                  </a:lnTo>
                  <a:lnTo>
                    <a:pt x="816" y="1320"/>
                  </a:lnTo>
                  <a:lnTo>
                    <a:pt x="828" y="1320"/>
                  </a:lnTo>
                  <a:lnTo>
                    <a:pt x="822" y="1338"/>
                  </a:lnTo>
                  <a:lnTo>
                    <a:pt x="852" y="1344"/>
                  </a:lnTo>
                  <a:lnTo>
                    <a:pt x="864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94" y="1356"/>
                  </a:lnTo>
                  <a:lnTo>
                    <a:pt x="912" y="1368"/>
                  </a:lnTo>
                  <a:lnTo>
                    <a:pt x="918" y="1380"/>
                  </a:lnTo>
                  <a:lnTo>
                    <a:pt x="936" y="1380"/>
                  </a:lnTo>
                  <a:lnTo>
                    <a:pt x="960" y="1386"/>
                  </a:lnTo>
                  <a:lnTo>
                    <a:pt x="990" y="1386"/>
                  </a:lnTo>
                  <a:lnTo>
                    <a:pt x="990" y="1392"/>
                  </a:lnTo>
                  <a:lnTo>
                    <a:pt x="1020" y="1398"/>
                  </a:lnTo>
                  <a:lnTo>
                    <a:pt x="1014" y="1404"/>
                  </a:lnTo>
                  <a:lnTo>
                    <a:pt x="1008" y="1404"/>
                  </a:lnTo>
                  <a:lnTo>
                    <a:pt x="1014" y="1440"/>
                  </a:lnTo>
                  <a:lnTo>
                    <a:pt x="1020" y="1458"/>
                  </a:lnTo>
                  <a:lnTo>
                    <a:pt x="1026" y="1476"/>
                  </a:lnTo>
                  <a:lnTo>
                    <a:pt x="1020" y="1476"/>
                  </a:lnTo>
                  <a:lnTo>
                    <a:pt x="1014" y="1476"/>
                  </a:lnTo>
                  <a:lnTo>
                    <a:pt x="1014" y="1482"/>
                  </a:lnTo>
                  <a:lnTo>
                    <a:pt x="1014" y="1488"/>
                  </a:lnTo>
                  <a:lnTo>
                    <a:pt x="1002" y="1488"/>
                  </a:lnTo>
                  <a:lnTo>
                    <a:pt x="1002" y="1494"/>
                  </a:lnTo>
                  <a:lnTo>
                    <a:pt x="996" y="1494"/>
                  </a:lnTo>
                  <a:lnTo>
                    <a:pt x="996" y="1518"/>
                  </a:lnTo>
                  <a:lnTo>
                    <a:pt x="1002" y="1524"/>
                  </a:lnTo>
                  <a:lnTo>
                    <a:pt x="1020" y="1530"/>
                  </a:lnTo>
                  <a:lnTo>
                    <a:pt x="1026" y="1542"/>
                  </a:lnTo>
                  <a:lnTo>
                    <a:pt x="1032" y="1566"/>
                  </a:lnTo>
                  <a:lnTo>
                    <a:pt x="1038" y="1578"/>
                  </a:lnTo>
                  <a:lnTo>
                    <a:pt x="1032" y="1584"/>
                  </a:lnTo>
                  <a:lnTo>
                    <a:pt x="1020" y="1584"/>
                  </a:lnTo>
                  <a:lnTo>
                    <a:pt x="1014" y="1584"/>
                  </a:lnTo>
                  <a:lnTo>
                    <a:pt x="1008" y="1596"/>
                  </a:lnTo>
                  <a:lnTo>
                    <a:pt x="990" y="1584"/>
                  </a:lnTo>
                  <a:lnTo>
                    <a:pt x="984" y="1602"/>
                  </a:lnTo>
                  <a:lnTo>
                    <a:pt x="978" y="1608"/>
                  </a:lnTo>
                  <a:lnTo>
                    <a:pt x="966" y="1608"/>
                  </a:lnTo>
                  <a:lnTo>
                    <a:pt x="960" y="1614"/>
                  </a:lnTo>
                  <a:lnTo>
                    <a:pt x="954" y="1614"/>
                  </a:lnTo>
                  <a:lnTo>
                    <a:pt x="942" y="1620"/>
                  </a:lnTo>
                  <a:lnTo>
                    <a:pt x="936" y="1620"/>
                  </a:lnTo>
                  <a:lnTo>
                    <a:pt x="930" y="1620"/>
                  </a:lnTo>
                  <a:lnTo>
                    <a:pt x="930" y="1626"/>
                  </a:lnTo>
                  <a:lnTo>
                    <a:pt x="930" y="1632"/>
                  </a:lnTo>
                  <a:lnTo>
                    <a:pt x="918" y="1632"/>
                  </a:lnTo>
                  <a:lnTo>
                    <a:pt x="912" y="1632"/>
                  </a:lnTo>
                  <a:lnTo>
                    <a:pt x="906" y="1632"/>
                  </a:lnTo>
                  <a:lnTo>
                    <a:pt x="900" y="1632"/>
                  </a:lnTo>
                  <a:lnTo>
                    <a:pt x="894" y="1626"/>
                  </a:lnTo>
                  <a:lnTo>
                    <a:pt x="894" y="1614"/>
                  </a:lnTo>
                  <a:lnTo>
                    <a:pt x="840" y="1614"/>
                  </a:lnTo>
                  <a:lnTo>
                    <a:pt x="840" y="1626"/>
                  </a:lnTo>
                  <a:lnTo>
                    <a:pt x="834" y="1626"/>
                  </a:lnTo>
                  <a:lnTo>
                    <a:pt x="828" y="1632"/>
                  </a:lnTo>
                  <a:lnTo>
                    <a:pt x="822" y="1638"/>
                  </a:lnTo>
                  <a:lnTo>
                    <a:pt x="822" y="1644"/>
                  </a:lnTo>
                  <a:lnTo>
                    <a:pt x="834" y="1650"/>
                  </a:lnTo>
                  <a:lnTo>
                    <a:pt x="840" y="1662"/>
                  </a:lnTo>
                  <a:lnTo>
                    <a:pt x="840" y="1668"/>
                  </a:lnTo>
                  <a:lnTo>
                    <a:pt x="858" y="1680"/>
                  </a:lnTo>
                  <a:lnTo>
                    <a:pt x="858" y="1752"/>
                  </a:lnTo>
                  <a:lnTo>
                    <a:pt x="864" y="1782"/>
                  </a:lnTo>
                  <a:lnTo>
                    <a:pt x="876" y="1788"/>
                  </a:lnTo>
                  <a:lnTo>
                    <a:pt x="870" y="1854"/>
                  </a:lnTo>
                  <a:lnTo>
                    <a:pt x="870" y="1884"/>
                  </a:lnTo>
                  <a:lnTo>
                    <a:pt x="864" y="1884"/>
                  </a:lnTo>
                  <a:lnTo>
                    <a:pt x="846" y="1896"/>
                  </a:lnTo>
                  <a:lnTo>
                    <a:pt x="840" y="1896"/>
                  </a:lnTo>
                  <a:lnTo>
                    <a:pt x="834" y="1896"/>
                  </a:lnTo>
                  <a:lnTo>
                    <a:pt x="828" y="1890"/>
                  </a:lnTo>
                  <a:lnTo>
                    <a:pt x="822" y="1890"/>
                  </a:lnTo>
                  <a:lnTo>
                    <a:pt x="816" y="1896"/>
                  </a:lnTo>
                  <a:lnTo>
                    <a:pt x="804" y="1896"/>
                  </a:lnTo>
                  <a:lnTo>
                    <a:pt x="804" y="1890"/>
                  </a:lnTo>
                  <a:lnTo>
                    <a:pt x="780" y="1896"/>
                  </a:lnTo>
                  <a:lnTo>
                    <a:pt x="780" y="1902"/>
                  </a:lnTo>
                  <a:lnTo>
                    <a:pt x="774" y="1914"/>
                  </a:lnTo>
                  <a:lnTo>
                    <a:pt x="762" y="1926"/>
                  </a:lnTo>
                  <a:lnTo>
                    <a:pt x="762" y="1950"/>
                  </a:lnTo>
                  <a:lnTo>
                    <a:pt x="762" y="1962"/>
                  </a:lnTo>
                  <a:lnTo>
                    <a:pt x="780" y="1974"/>
                  </a:lnTo>
                  <a:lnTo>
                    <a:pt x="780" y="1986"/>
                  </a:lnTo>
                  <a:lnTo>
                    <a:pt x="780" y="1998"/>
                  </a:lnTo>
                  <a:lnTo>
                    <a:pt x="756" y="1998"/>
                  </a:lnTo>
                  <a:lnTo>
                    <a:pt x="720" y="1992"/>
                  </a:lnTo>
                  <a:lnTo>
                    <a:pt x="666" y="1998"/>
                  </a:lnTo>
                  <a:lnTo>
                    <a:pt x="654" y="1998"/>
                  </a:lnTo>
                  <a:lnTo>
                    <a:pt x="660" y="1974"/>
                  </a:lnTo>
                  <a:lnTo>
                    <a:pt x="666" y="1962"/>
                  </a:lnTo>
                  <a:lnTo>
                    <a:pt x="678" y="1950"/>
                  </a:lnTo>
                  <a:lnTo>
                    <a:pt x="696" y="1932"/>
                  </a:lnTo>
                  <a:lnTo>
                    <a:pt x="696" y="1920"/>
                  </a:lnTo>
                  <a:lnTo>
                    <a:pt x="696" y="1896"/>
                  </a:lnTo>
                  <a:lnTo>
                    <a:pt x="678" y="1896"/>
                  </a:lnTo>
                  <a:lnTo>
                    <a:pt x="672" y="1884"/>
                  </a:lnTo>
                  <a:lnTo>
                    <a:pt x="672" y="1776"/>
                  </a:lnTo>
                  <a:lnTo>
                    <a:pt x="678" y="1758"/>
                  </a:lnTo>
                  <a:lnTo>
                    <a:pt x="678" y="1740"/>
                  </a:lnTo>
                  <a:lnTo>
                    <a:pt x="684" y="1728"/>
                  </a:lnTo>
                  <a:lnTo>
                    <a:pt x="690" y="1722"/>
                  </a:lnTo>
                  <a:lnTo>
                    <a:pt x="702" y="1722"/>
                  </a:lnTo>
                  <a:lnTo>
                    <a:pt x="708" y="1716"/>
                  </a:lnTo>
                  <a:lnTo>
                    <a:pt x="714" y="1710"/>
                  </a:lnTo>
                  <a:lnTo>
                    <a:pt x="720" y="1698"/>
                  </a:lnTo>
                  <a:lnTo>
                    <a:pt x="732" y="1692"/>
                  </a:lnTo>
                  <a:lnTo>
                    <a:pt x="744" y="1686"/>
                  </a:lnTo>
                  <a:lnTo>
                    <a:pt x="756" y="1680"/>
                  </a:lnTo>
                  <a:lnTo>
                    <a:pt x="768" y="1668"/>
                  </a:lnTo>
                  <a:lnTo>
                    <a:pt x="768" y="1650"/>
                  </a:lnTo>
                  <a:lnTo>
                    <a:pt x="774" y="1632"/>
                  </a:lnTo>
                  <a:lnTo>
                    <a:pt x="768" y="1620"/>
                  </a:lnTo>
                  <a:lnTo>
                    <a:pt x="774" y="1608"/>
                  </a:lnTo>
                  <a:lnTo>
                    <a:pt x="774" y="1578"/>
                  </a:lnTo>
                  <a:lnTo>
                    <a:pt x="774" y="1572"/>
                  </a:lnTo>
                  <a:lnTo>
                    <a:pt x="780" y="1560"/>
                  </a:lnTo>
                  <a:lnTo>
                    <a:pt x="780" y="1554"/>
                  </a:lnTo>
                  <a:lnTo>
                    <a:pt x="786" y="1542"/>
                  </a:lnTo>
                  <a:lnTo>
                    <a:pt x="792" y="1530"/>
                  </a:lnTo>
                  <a:lnTo>
                    <a:pt x="792" y="1518"/>
                  </a:lnTo>
                  <a:lnTo>
                    <a:pt x="792" y="1506"/>
                  </a:lnTo>
                  <a:lnTo>
                    <a:pt x="786" y="1500"/>
                  </a:lnTo>
                  <a:lnTo>
                    <a:pt x="774" y="1488"/>
                  </a:lnTo>
                  <a:lnTo>
                    <a:pt x="774" y="1482"/>
                  </a:lnTo>
                  <a:lnTo>
                    <a:pt x="762" y="1488"/>
                  </a:lnTo>
                  <a:lnTo>
                    <a:pt x="756" y="1494"/>
                  </a:lnTo>
                  <a:lnTo>
                    <a:pt x="744" y="1500"/>
                  </a:lnTo>
                  <a:lnTo>
                    <a:pt x="732" y="1506"/>
                  </a:lnTo>
                  <a:lnTo>
                    <a:pt x="726" y="1506"/>
                  </a:lnTo>
                  <a:lnTo>
                    <a:pt x="720" y="1506"/>
                  </a:lnTo>
                  <a:lnTo>
                    <a:pt x="702" y="1506"/>
                  </a:lnTo>
                  <a:lnTo>
                    <a:pt x="690" y="1500"/>
                  </a:lnTo>
                  <a:lnTo>
                    <a:pt x="678" y="1500"/>
                  </a:lnTo>
                  <a:lnTo>
                    <a:pt x="672" y="1500"/>
                  </a:lnTo>
                  <a:lnTo>
                    <a:pt x="660" y="1506"/>
                  </a:lnTo>
                  <a:lnTo>
                    <a:pt x="654" y="1506"/>
                  </a:lnTo>
                  <a:lnTo>
                    <a:pt x="648" y="1512"/>
                  </a:lnTo>
                  <a:lnTo>
                    <a:pt x="648" y="1518"/>
                  </a:lnTo>
                  <a:lnTo>
                    <a:pt x="618" y="1518"/>
                  </a:lnTo>
                  <a:lnTo>
                    <a:pt x="534" y="1494"/>
                  </a:lnTo>
                  <a:lnTo>
                    <a:pt x="528" y="1458"/>
                  </a:lnTo>
                  <a:lnTo>
                    <a:pt x="510" y="1458"/>
                  </a:lnTo>
                  <a:lnTo>
                    <a:pt x="492" y="1440"/>
                  </a:lnTo>
                  <a:lnTo>
                    <a:pt x="462" y="1440"/>
                  </a:lnTo>
                  <a:lnTo>
                    <a:pt x="456" y="1428"/>
                  </a:lnTo>
                  <a:lnTo>
                    <a:pt x="420" y="1428"/>
                  </a:lnTo>
                  <a:lnTo>
                    <a:pt x="390" y="1446"/>
                  </a:lnTo>
                  <a:lnTo>
                    <a:pt x="312" y="1452"/>
                  </a:lnTo>
                  <a:lnTo>
                    <a:pt x="300" y="1446"/>
                  </a:lnTo>
                  <a:lnTo>
                    <a:pt x="294" y="1446"/>
                  </a:lnTo>
                  <a:lnTo>
                    <a:pt x="288" y="1446"/>
                  </a:lnTo>
                  <a:lnTo>
                    <a:pt x="282" y="1440"/>
                  </a:lnTo>
                  <a:lnTo>
                    <a:pt x="276" y="1440"/>
                  </a:lnTo>
                  <a:lnTo>
                    <a:pt x="270" y="1440"/>
                  </a:lnTo>
                  <a:lnTo>
                    <a:pt x="264" y="1440"/>
                  </a:lnTo>
                  <a:lnTo>
                    <a:pt x="258" y="1434"/>
                  </a:lnTo>
                  <a:lnTo>
                    <a:pt x="252" y="1434"/>
                  </a:lnTo>
                  <a:lnTo>
                    <a:pt x="246" y="1428"/>
                  </a:lnTo>
                  <a:lnTo>
                    <a:pt x="240" y="1416"/>
                  </a:lnTo>
                  <a:lnTo>
                    <a:pt x="234" y="1404"/>
                  </a:lnTo>
                  <a:lnTo>
                    <a:pt x="228" y="1398"/>
                  </a:lnTo>
                  <a:lnTo>
                    <a:pt x="222" y="1398"/>
                  </a:lnTo>
                  <a:lnTo>
                    <a:pt x="216" y="1404"/>
                  </a:lnTo>
                  <a:lnTo>
                    <a:pt x="210" y="1404"/>
                  </a:lnTo>
                  <a:lnTo>
                    <a:pt x="204" y="1404"/>
                  </a:lnTo>
                  <a:lnTo>
                    <a:pt x="204" y="1398"/>
                  </a:lnTo>
                  <a:lnTo>
                    <a:pt x="198" y="1392"/>
                  </a:lnTo>
                  <a:lnTo>
                    <a:pt x="192" y="1386"/>
                  </a:lnTo>
                  <a:lnTo>
                    <a:pt x="168" y="1374"/>
                  </a:lnTo>
                  <a:lnTo>
                    <a:pt x="144" y="138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0" name="Freeform 35">
              <a:extLst>
                <a:ext uri="{FF2B5EF4-FFF2-40B4-BE49-F238E27FC236}">
                  <a16:creationId xmlns:a16="http://schemas.microsoft.com/office/drawing/2014/main" id="{F64BF16E-9D62-438E-A1CC-CD4088AC7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2895" y="1706004"/>
              <a:ext cx="767013" cy="785011"/>
            </a:xfrm>
            <a:custGeom>
              <a:avLst/>
              <a:gdLst>
                <a:gd name="T0" fmla="*/ 102 w 1440"/>
                <a:gd name="T1" fmla="*/ 104 h 1476"/>
                <a:gd name="T2" fmla="*/ 99 w 1440"/>
                <a:gd name="T3" fmla="*/ 108 h 1476"/>
                <a:gd name="T4" fmla="*/ 98 w 1440"/>
                <a:gd name="T5" fmla="*/ 112 h 1476"/>
                <a:gd name="T6" fmla="*/ 96 w 1440"/>
                <a:gd name="T7" fmla="*/ 116 h 1476"/>
                <a:gd name="T8" fmla="*/ 91 w 1440"/>
                <a:gd name="T9" fmla="*/ 118 h 1476"/>
                <a:gd name="T10" fmla="*/ 87 w 1440"/>
                <a:gd name="T11" fmla="*/ 120 h 1476"/>
                <a:gd name="T12" fmla="*/ 75 w 1440"/>
                <a:gd name="T13" fmla="*/ 120 h 1476"/>
                <a:gd name="T14" fmla="*/ 72 w 1440"/>
                <a:gd name="T15" fmla="*/ 123 h 1476"/>
                <a:gd name="T16" fmla="*/ 69 w 1440"/>
                <a:gd name="T17" fmla="*/ 128 h 1476"/>
                <a:gd name="T18" fmla="*/ 67 w 1440"/>
                <a:gd name="T19" fmla="*/ 127 h 1476"/>
                <a:gd name="T20" fmla="*/ 66 w 1440"/>
                <a:gd name="T21" fmla="*/ 123 h 1476"/>
                <a:gd name="T22" fmla="*/ 63 w 1440"/>
                <a:gd name="T23" fmla="*/ 119 h 1476"/>
                <a:gd name="T24" fmla="*/ 54 w 1440"/>
                <a:gd name="T25" fmla="*/ 114 h 1476"/>
                <a:gd name="T26" fmla="*/ 55 w 1440"/>
                <a:gd name="T27" fmla="*/ 106 h 1476"/>
                <a:gd name="T28" fmla="*/ 60 w 1440"/>
                <a:gd name="T29" fmla="*/ 100 h 1476"/>
                <a:gd name="T30" fmla="*/ 55 w 1440"/>
                <a:gd name="T31" fmla="*/ 91 h 1476"/>
                <a:gd name="T32" fmla="*/ 51 w 1440"/>
                <a:gd name="T33" fmla="*/ 86 h 1476"/>
                <a:gd name="T34" fmla="*/ 47 w 1440"/>
                <a:gd name="T35" fmla="*/ 85 h 1476"/>
                <a:gd name="T36" fmla="*/ 44 w 1440"/>
                <a:gd name="T37" fmla="*/ 82 h 1476"/>
                <a:gd name="T38" fmla="*/ 41 w 1440"/>
                <a:gd name="T39" fmla="*/ 83 h 1476"/>
                <a:gd name="T40" fmla="*/ 36 w 1440"/>
                <a:gd name="T41" fmla="*/ 83 h 1476"/>
                <a:gd name="T42" fmla="*/ 33 w 1440"/>
                <a:gd name="T43" fmla="*/ 83 h 1476"/>
                <a:gd name="T44" fmla="*/ 30 w 1440"/>
                <a:gd name="T45" fmla="*/ 83 h 1476"/>
                <a:gd name="T46" fmla="*/ 27 w 1440"/>
                <a:gd name="T47" fmla="*/ 83 h 1476"/>
                <a:gd name="T48" fmla="*/ 24 w 1440"/>
                <a:gd name="T49" fmla="*/ 82 h 1476"/>
                <a:gd name="T50" fmla="*/ 21 w 1440"/>
                <a:gd name="T51" fmla="*/ 80 h 1476"/>
                <a:gd name="T52" fmla="*/ 18 w 1440"/>
                <a:gd name="T53" fmla="*/ 79 h 1476"/>
                <a:gd name="T54" fmla="*/ 17 w 1440"/>
                <a:gd name="T55" fmla="*/ 78 h 1476"/>
                <a:gd name="T56" fmla="*/ 12 w 1440"/>
                <a:gd name="T57" fmla="*/ 78 h 1476"/>
                <a:gd name="T58" fmla="*/ 12 w 1440"/>
                <a:gd name="T59" fmla="*/ 78 h 1476"/>
                <a:gd name="T60" fmla="*/ 7 w 1440"/>
                <a:gd name="T61" fmla="*/ 80 h 1476"/>
                <a:gd name="T62" fmla="*/ 3 w 1440"/>
                <a:gd name="T63" fmla="*/ 81 h 1476"/>
                <a:gd name="T64" fmla="*/ 0 w 1440"/>
                <a:gd name="T65" fmla="*/ 76 h 1476"/>
                <a:gd name="T66" fmla="*/ 1 w 1440"/>
                <a:gd name="T67" fmla="*/ 50 h 1476"/>
                <a:gd name="T68" fmla="*/ 8 w 1440"/>
                <a:gd name="T69" fmla="*/ 48 h 1476"/>
                <a:gd name="T70" fmla="*/ 20 w 1440"/>
                <a:gd name="T71" fmla="*/ 49 h 1476"/>
                <a:gd name="T72" fmla="*/ 26 w 1440"/>
                <a:gd name="T73" fmla="*/ 50 h 1476"/>
                <a:gd name="T74" fmla="*/ 44 w 1440"/>
                <a:gd name="T75" fmla="*/ 47 h 1476"/>
                <a:gd name="T76" fmla="*/ 41 w 1440"/>
                <a:gd name="T77" fmla="*/ 24 h 1476"/>
                <a:gd name="T78" fmla="*/ 44 w 1440"/>
                <a:gd name="T79" fmla="*/ 20 h 1476"/>
                <a:gd name="T80" fmla="*/ 47 w 1440"/>
                <a:gd name="T81" fmla="*/ 18 h 1476"/>
                <a:gd name="T82" fmla="*/ 54 w 1440"/>
                <a:gd name="T83" fmla="*/ 21 h 1476"/>
                <a:gd name="T84" fmla="*/ 61 w 1440"/>
                <a:gd name="T85" fmla="*/ 23 h 1476"/>
                <a:gd name="T86" fmla="*/ 59 w 1440"/>
                <a:gd name="T87" fmla="*/ 14 h 1476"/>
                <a:gd name="T88" fmla="*/ 61 w 1440"/>
                <a:gd name="T89" fmla="*/ 8 h 1476"/>
                <a:gd name="T90" fmla="*/ 71 w 1440"/>
                <a:gd name="T91" fmla="*/ 7 h 1476"/>
                <a:gd name="T92" fmla="*/ 75 w 1440"/>
                <a:gd name="T93" fmla="*/ 0 h 1476"/>
                <a:gd name="T94" fmla="*/ 82 w 1440"/>
                <a:gd name="T95" fmla="*/ 3 h 1476"/>
                <a:gd name="T96" fmla="*/ 93 w 1440"/>
                <a:gd name="T97" fmla="*/ 5 h 1476"/>
                <a:gd name="T98" fmla="*/ 100 w 1440"/>
                <a:gd name="T99" fmla="*/ 1 h 1476"/>
                <a:gd name="T100" fmla="*/ 104 w 1440"/>
                <a:gd name="T101" fmla="*/ 4 h 1476"/>
                <a:gd name="T102" fmla="*/ 110 w 1440"/>
                <a:gd name="T103" fmla="*/ 10 h 1476"/>
                <a:gd name="T104" fmla="*/ 115 w 1440"/>
                <a:gd name="T105" fmla="*/ 23 h 1476"/>
                <a:gd name="T106" fmla="*/ 117 w 1440"/>
                <a:gd name="T107" fmla="*/ 42 h 1476"/>
                <a:gd name="T108" fmla="*/ 121 w 1440"/>
                <a:gd name="T109" fmla="*/ 52 h 1476"/>
                <a:gd name="T110" fmla="*/ 118 w 1440"/>
                <a:gd name="T111" fmla="*/ 62 h 1476"/>
                <a:gd name="T112" fmla="*/ 124 w 1440"/>
                <a:gd name="T113" fmla="*/ 66 h 1476"/>
                <a:gd name="T114" fmla="*/ 121 w 1440"/>
                <a:gd name="T115" fmla="*/ 71 h 1476"/>
                <a:gd name="T116" fmla="*/ 115 w 1440"/>
                <a:gd name="T117" fmla="*/ 76 h 1476"/>
                <a:gd name="T118" fmla="*/ 109 w 1440"/>
                <a:gd name="T119" fmla="*/ 76 h 1476"/>
                <a:gd name="T120" fmla="*/ 105 w 1440"/>
                <a:gd name="T121" fmla="*/ 86 h 1476"/>
                <a:gd name="T122" fmla="*/ 107 w 1440"/>
                <a:gd name="T123" fmla="*/ 97 h 147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40"/>
                <a:gd name="T187" fmla="*/ 0 h 1476"/>
                <a:gd name="T188" fmla="*/ 1440 w 1440"/>
                <a:gd name="T189" fmla="*/ 1476 h 147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40" h="1476">
                  <a:moveTo>
                    <a:pt x="1212" y="1164"/>
                  </a:moveTo>
                  <a:lnTo>
                    <a:pt x="1206" y="1170"/>
                  </a:lnTo>
                  <a:lnTo>
                    <a:pt x="1200" y="1176"/>
                  </a:lnTo>
                  <a:lnTo>
                    <a:pt x="1194" y="1176"/>
                  </a:lnTo>
                  <a:lnTo>
                    <a:pt x="1188" y="1188"/>
                  </a:lnTo>
                  <a:lnTo>
                    <a:pt x="1182" y="1194"/>
                  </a:lnTo>
                  <a:lnTo>
                    <a:pt x="1176" y="1194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64" y="1206"/>
                  </a:lnTo>
                  <a:lnTo>
                    <a:pt x="1158" y="1206"/>
                  </a:lnTo>
                  <a:lnTo>
                    <a:pt x="1152" y="1212"/>
                  </a:lnTo>
                  <a:lnTo>
                    <a:pt x="1146" y="1212"/>
                  </a:lnTo>
                  <a:lnTo>
                    <a:pt x="1140" y="1224"/>
                  </a:lnTo>
                  <a:lnTo>
                    <a:pt x="1134" y="1230"/>
                  </a:lnTo>
                  <a:lnTo>
                    <a:pt x="1128" y="1236"/>
                  </a:lnTo>
                  <a:lnTo>
                    <a:pt x="1128" y="1242"/>
                  </a:lnTo>
                  <a:lnTo>
                    <a:pt x="1128" y="1254"/>
                  </a:lnTo>
                  <a:lnTo>
                    <a:pt x="1128" y="1260"/>
                  </a:lnTo>
                  <a:lnTo>
                    <a:pt x="1122" y="1260"/>
                  </a:lnTo>
                  <a:lnTo>
                    <a:pt x="1122" y="1266"/>
                  </a:lnTo>
                  <a:lnTo>
                    <a:pt x="1128" y="1278"/>
                  </a:lnTo>
                  <a:lnTo>
                    <a:pt x="1122" y="1278"/>
                  </a:lnTo>
                  <a:lnTo>
                    <a:pt x="1122" y="1284"/>
                  </a:lnTo>
                  <a:lnTo>
                    <a:pt x="1128" y="1290"/>
                  </a:lnTo>
                  <a:lnTo>
                    <a:pt x="1122" y="1296"/>
                  </a:lnTo>
                  <a:lnTo>
                    <a:pt x="1122" y="1302"/>
                  </a:lnTo>
                  <a:lnTo>
                    <a:pt x="1116" y="1302"/>
                  </a:lnTo>
                  <a:lnTo>
                    <a:pt x="1110" y="1314"/>
                  </a:lnTo>
                  <a:lnTo>
                    <a:pt x="1110" y="1320"/>
                  </a:lnTo>
                  <a:lnTo>
                    <a:pt x="1110" y="1326"/>
                  </a:lnTo>
                  <a:lnTo>
                    <a:pt x="1098" y="1332"/>
                  </a:lnTo>
                  <a:lnTo>
                    <a:pt x="1092" y="1338"/>
                  </a:lnTo>
                  <a:lnTo>
                    <a:pt x="1092" y="1344"/>
                  </a:lnTo>
                  <a:lnTo>
                    <a:pt x="1086" y="1350"/>
                  </a:lnTo>
                  <a:lnTo>
                    <a:pt x="1080" y="1350"/>
                  </a:lnTo>
                  <a:lnTo>
                    <a:pt x="1074" y="1350"/>
                  </a:lnTo>
                  <a:lnTo>
                    <a:pt x="1068" y="1356"/>
                  </a:lnTo>
                  <a:lnTo>
                    <a:pt x="1062" y="1356"/>
                  </a:lnTo>
                  <a:lnTo>
                    <a:pt x="1044" y="1356"/>
                  </a:lnTo>
                  <a:lnTo>
                    <a:pt x="1038" y="1362"/>
                  </a:lnTo>
                  <a:lnTo>
                    <a:pt x="1032" y="1368"/>
                  </a:lnTo>
                  <a:lnTo>
                    <a:pt x="1026" y="1368"/>
                  </a:lnTo>
                  <a:lnTo>
                    <a:pt x="1020" y="1374"/>
                  </a:lnTo>
                  <a:lnTo>
                    <a:pt x="1008" y="1374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74"/>
                  </a:lnTo>
                  <a:lnTo>
                    <a:pt x="978" y="1380"/>
                  </a:lnTo>
                  <a:lnTo>
                    <a:pt x="972" y="1380"/>
                  </a:lnTo>
                  <a:lnTo>
                    <a:pt x="954" y="1368"/>
                  </a:lnTo>
                  <a:lnTo>
                    <a:pt x="930" y="1368"/>
                  </a:lnTo>
                  <a:lnTo>
                    <a:pt x="918" y="1368"/>
                  </a:lnTo>
                  <a:lnTo>
                    <a:pt x="906" y="1368"/>
                  </a:lnTo>
                  <a:lnTo>
                    <a:pt x="894" y="1368"/>
                  </a:lnTo>
                  <a:lnTo>
                    <a:pt x="864" y="1374"/>
                  </a:lnTo>
                  <a:lnTo>
                    <a:pt x="852" y="1374"/>
                  </a:lnTo>
                  <a:lnTo>
                    <a:pt x="846" y="1386"/>
                  </a:lnTo>
                  <a:lnTo>
                    <a:pt x="846" y="1392"/>
                  </a:lnTo>
                  <a:lnTo>
                    <a:pt x="840" y="1398"/>
                  </a:lnTo>
                  <a:lnTo>
                    <a:pt x="840" y="1404"/>
                  </a:lnTo>
                  <a:lnTo>
                    <a:pt x="834" y="1416"/>
                  </a:lnTo>
                  <a:lnTo>
                    <a:pt x="828" y="1416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04" y="1428"/>
                  </a:lnTo>
                  <a:lnTo>
                    <a:pt x="804" y="1434"/>
                  </a:lnTo>
                  <a:lnTo>
                    <a:pt x="804" y="1440"/>
                  </a:lnTo>
                  <a:lnTo>
                    <a:pt x="798" y="1446"/>
                  </a:lnTo>
                  <a:lnTo>
                    <a:pt x="798" y="1458"/>
                  </a:lnTo>
                  <a:lnTo>
                    <a:pt x="792" y="1464"/>
                  </a:lnTo>
                  <a:lnTo>
                    <a:pt x="786" y="1476"/>
                  </a:lnTo>
                  <a:lnTo>
                    <a:pt x="780" y="1470"/>
                  </a:lnTo>
                  <a:lnTo>
                    <a:pt x="774" y="1470"/>
                  </a:lnTo>
                  <a:lnTo>
                    <a:pt x="768" y="1470"/>
                  </a:lnTo>
                  <a:lnTo>
                    <a:pt x="762" y="1476"/>
                  </a:lnTo>
                  <a:lnTo>
                    <a:pt x="762" y="1470"/>
                  </a:lnTo>
                  <a:lnTo>
                    <a:pt x="762" y="1464"/>
                  </a:lnTo>
                  <a:lnTo>
                    <a:pt x="762" y="1458"/>
                  </a:lnTo>
                  <a:lnTo>
                    <a:pt x="756" y="1458"/>
                  </a:lnTo>
                  <a:lnTo>
                    <a:pt x="756" y="1452"/>
                  </a:lnTo>
                  <a:lnTo>
                    <a:pt x="756" y="1446"/>
                  </a:lnTo>
                  <a:lnTo>
                    <a:pt x="756" y="1440"/>
                  </a:lnTo>
                  <a:lnTo>
                    <a:pt x="750" y="1434"/>
                  </a:lnTo>
                  <a:lnTo>
                    <a:pt x="750" y="1428"/>
                  </a:lnTo>
                  <a:lnTo>
                    <a:pt x="750" y="1422"/>
                  </a:lnTo>
                  <a:lnTo>
                    <a:pt x="750" y="1416"/>
                  </a:lnTo>
                  <a:lnTo>
                    <a:pt x="744" y="1416"/>
                  </a:lnTo>
                  <a:lnTo>
                    <a:pt x="744" y="1410"/>
                  </a:lnTo>
                  <a:lnTo>
                    <a:pt x="738" y="1404"/>
                  </a:lnTo>
                  <a:lnTo>
                    <a:pt x="732" y="1398"/>
                  </a:lnTo>
                  <a:lnTo>
                    <a:pt x="732" y="1392"/>
                  </a:lnTo>
                  <a:lnTo>
                    <a:pt x="726" y="1386"/>
                  </a:lnTo>
                  <a:lnTo>
                    <a:pt x="726" y="1380"/>
                  </a:lnTo>
                  <a:lnTo>
                    <a:pt x="714" y="1368"/>
                  </a:lnTo>
                  <a:lnTo>
                    <a:pt x="708" y="1368"/>
                  </a:lnTo>
                  <a:lnTo>
                    <a:pt x="684" y="1332"/>
                  </a:lnTo>
                  <a:lnTo>
                    <a:pt x="666" y="1320"/>
                  </a:lnTo>
                  <a:lnTo>
                    <a:pt x="648" y="1302"/>
                  </a:lnTo>
                  <a:lnTo>
                    <a:pt x="630" y="1314"/>
                  </a:lnTo>
                  <a:lnTo>
                    <a:pt x="624" y="1314"/>
                  </a:lnTo>
                  <a:lnTo>
                    <a:pt x="624" y="1308"/>
                  </a:lnTo>
                  <a:lnTo>
                    <a:pt x="618" y="1308"/>
                  </a:lnTo>
                  <a:lnTo>
                    <a:pt x="612" y="1284"/>
                  </a:lnTo>
                  <a:lnTo>
                    <a:pt x="606" y="1254"/>
                  </a:lnTo>
                  <a:lnTo>
                    <a:pt x="606" y="1248"/>
                  </a:lnTo>
                  <a:lnTo>
                    <a:pt x="606" y="1242"/>
                  </a:lnTo>
                  <a:lnTo>
                    <a:pt x="612" y="1242"/>
                  </a:lnTo>
                  <a:lnTo>
                    <a:pt x="618" y="1236"/>
                  </a:lnTo>
                  <a:lnTo>
                    <a:pt x="618" y="1230"/>
                  </a:lnTo>
                  <a:lnTo>
                    <a:pt x="624" y="1224"/>
                  </a:lnTo>
                  <a:lnTo>
                    <a:pt x="630" y="1224"/>
                  </a:lnTo>
                  <a:lnTo>
                    <a:pt x="636" y="1218"/>
                  </a:lnTo>
                  <a:lnTo>
                    <a:pt x="636" y="1212"/>
                  </a:lnTo>
                  <a:lnTo>
                    <a:pt x="612" y="1200"/>
                  </a:lnTo>
                  <a:lnTo>
                    <a:pt x="606" y="1182"/>
                  </a:lnTo>
                  <a:lnTo>
                    <a:pt x="672" y="1182"/>
                  </a:lnTo>
                  <a:lnTo>
                    <a:pt x="690" y="1170"/>
                  </a:lnTo>
                  <a:lnTo>
                    <a:pt x="690" y="1152"/>
                  </a:lnTo>
                  <a:lnTo>
                    <a:pt x="678" y="1110"/>
                  </a:lnTo>
                  <a:lnTo>
                    <a:pt x="672" y="1092"/>
                  </a:lnTo>
                  <a:lnTo>
                    <a:pt x="660" y="1074"/>
                  </a:lnTo>
                  <a:lnTo>
                    <a:pt x="648" y="1068"/>
                  </a:lnTo>
                  <a:lnTo>
                    <a:pt x="642" y="1068"/>
                  </a:lnTo>
                  <a:lnTo>
                    <a:pt x="636" y="1062"/>
                  </a:lnTo>
                  <a:lnTo>
                    <a:pt x="624" y="1056"/>
                  </a:lnTo>
                  <a:lnTo>
                    <a:pt x="624" y="1050"/>
                  </a:lnTo>
                  <a:lnTo>
                    <a:pt x="618" y="1038"/>
                  </a:lnTo>
                  <a:lnTo>
                    <a:pt x="612" y="1038"/>
                  </a:lnTo>
                  <a:lnTo>
                    <a:pt x="612" y="1032"/>
                  </a:lnTo>
                  <a:lnTo>
                    <a:pt x="612" y="1026"/>
                  </a:lnTo>
                  <a:lnTo>
                    <a:pt x="600" y="1014"/>
                  </a:lnTo>
                  <a:lnTo>
                    <a:pt x="582" y="1008"/>
                  </a:lnTo>
                  <a:lnTo>
                    <a:pt x="576" y="1002"/>
                  </a:lnTo>
                  <a:lnTo>
                    <a:pt x="576" y="996"/>
                  </a:lnTo>
                  <a:lnTo>
                    <a:pt x="570" y="996"/>
                  </a:lnTo>
                  <a:lnTo>
                    <a:pt x="570" y="990"/>
                  </a:lnTo>
                  <a:lnTo>
                    <a:pt x="570" y="984"/>
                  </a:lnTo>
                  <a:lnTo>
                    <a:pt x="564" y="984"/>
                  </a:lnTo>
                  <a:lnTo>
                    <a:pt x="558" y="978"/>
                  </a:lnTo>
                  <a:lnTo>
                    <a:pt x="552" y="972"/>
                  </a:lnTo>
                  <a:lnTo>
                    <a:pt x="552" y="966"/>
                  </a:lnTo>
                  <a:lnTo>
                    <a:pt x="546" y="972"/>
                  </a:lnTo>
                  <a:lnTo>
                    <a:pt x="540" y="972"/>
                  </a:lnTo>
                  <a:lnTo>
                    <a:pt x="534" y="960"/>
                  </a:lnTo>
                  <a:lnTo>
                    <a:pt x="528" y="960"/>
                  </a:lnTo>
                  <a:lnTo>
                    <a:pt x="528" y="966"/>
                  </a:lnTo>
                  <a:lnTo>
                    <a:pt x="516" y="954"/>
                  </a:lnTo>
                  <a:lnTo>
                    <a:pt x="516" y="948"/>
                  </a:lnTo>
                  <a:lnTo>
                    <a:pt x="510" y="948"/>
                  </a:lnTo>
                  <a:lnTo>
                    <a:pt x="504" y="948"/>
                  </a:lnTo>
                  <a:lnTo>
                    <a:pt x="498" y="948"/>
                  </a:lnTo>
                  <a:lnTo>
                    <a:pt x="504" y="954"/>
                  </a:lnTo>
                  <a:lnTo>
                    <a:pt x="498" y="954"/>
                  </a:lnTo>
                  <a:lnTo>
                    <a:pt x="492" y="954"/>
                  </a:lnTo>
                  <a:lnTo>
                    <a:pt x="480" y="942"/>
                  </a:lnTo>
                  <a:lnTo>
                    <a:pt x="480" y="948"/>
                  </a:lnTo>
                  <a:lnTo>
                    <a:pt x="480" y="954"/>
                  </a:lnTo>
                  <a:lnTo>
                    <a:pt x="474" y="954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56" y="966"/>
                  </a:lnTo>
                  <a:lnTo>
                    <a:pt x="456" y="960"/>
                  </a:lnTo>
                  <a:lnTo>
                    <a:pt x="450" y="966"/>
                  </a:lnTo>
                  <a:lnTo>
                    <a:pt x="444" y="966"/>
                  </a:lnTo>
                  <a:lnTo>
                    <a:pt x="414" y="966"/>
                  </a:lnTo>
                  <a:lnTo>
                    <a:pt x="408" y="960"/>
                  </a:lnTo>
                  <a:lnTo>
                    <a:pt x="408" y="966"/>
                  </a:lnTo>
                  <a:lnTo>
                    <a:pt x="402" y="960"/>
                  </a:lnTo>
                  <a:lnTo>
                    <a:pt x="396" y="960"/>
                  </a:lnTo>
                  <a:lnTo>
                    <a:pt x="390" y="960"/>
                  </a:lnTo>
                  <a:lnTo>
                    <a:pt x="390" y="966"/>
                  </a:lnTo>
                  <a:lnTo>
                    <a:pt x="384" y="966"/>
                  </a:lnTo>
                  <a:lnTo>
                    <a:pt x="378" y="966"/>
                  </a:lnTo>
                  <a:lnTo>
                    <a:pt x="384" y="960"/>
                  </a:lnTo>
                  <a:lnTo>
                    <a:pt x="384" y="954"/>
                  </a:lnTo>
                  <a:lnTo>
                    <a:pt x="372" y="948"/>
                  </a:lnTo>
                  <a:lnTo>
                    <a:pt x="372" y="954"/>
                  </a:lnTo>
                  <a:lnTo>
                    <a:pt x="372" y="960"/>
                  </a:lnTo>
                  <a:lnTo>
                    <a:pt x="366" y="960"/>
                  </a:lnTo>
                  <a:lnTo>
                    <a:pt x="360" y="966"/>
                  </a:lnTo>
                  <a:lnTo>
                    <a:pt x="354" y="966"/>
                  </a:lnTo>
                  <a:lnTo>
                    <a:pt x="348" y="960"/>
                  </a:lnTo>
                  <a:lnTo>
                    <a:pt x="342" y="960"/>
                  </a:lnTo>
                  <a:lnTo>
                    <a:pt x="342" y="966"/>
                  </a:lnTo>
                  <a:lnTo>
                    <a:pt x="336" y="972"/>
                  </a:lnTo>
                  <a:lnTo>
                    <a:pt x="330" y="972"/>
                  </a:lnTo>
                  <a:lnTo>
                    <a:pt x="324" y="966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6" y="954"/>
                  </a:lnTo>
                  <a:lnTo>
                    <a:pt x="306" y="948"/>
                  </a:lnTo>
                  <a:lnTo>
                    <a:pt x="306" y="942"/>
                  </a:lnTo>
                  <a:lnTo>
                    <a:pt x="300" y="942"/>
                  </a:lnTo>
                  <a:lnTo>
                    <a:pt x="294" y="936"/>
                  </a:lnTo>
                  <a:lnTo>
                    <a:pt x="288" y="936"/>
                  </a:lnTo>
                  <a:lnTo>
                    <a:pt x="282" y="942"/>
                  </a:lnTo>
                  <a:lnTo>
                    <a:pt x="276" y="936"/>
                  </a:lnTo>
                  <a:lnTo>
                    <a:pt x="276" y="942"/>
                  </a:lnTo>
                  <a:lnTo>
                    <a:pt x="270" y="942"/>
                  </a:lnTo>
                  <a:lnTo>
                    <a:pt x="264" y="936"/>
                  </a:lnTo>
                  <a:lnTo>
                    <a:pt x="252" y="936"/>
                  </a:lnTo>
                  <a:lnTo>
                    <a:pt x="246" y="936"/>
                  </a:lnTo>
                  <a:lnTo>
                    <a:pt x="240" y="936"/>
                  </a:lnTo>
                  <a:lnTo>
                    <a:pt x="234" y="936"/>
                  </a:lnTo>
                  <a:lnTo>
                    <a:pt x="240" y="924"/>
                  </a:lnTo>
                  <a:lnTo>
                    <a:pt x="234" y="924"/>
                  </a:lnTo>
                  <a:lnTo>
                    <a:pt x="228" y="918"/>
                  </a:lnTo>
                  <a:lnTo>
                    <a:pt x="228" y="906"/>
                  </a:lnTo>
                  <a:lnTo>
                    <a:pt x="222" y="900"/>
                  </a:lnTo>
                  <a:lnTo>
                    <a:pt x="216" y="900"/>
                  </a:lnTo>
                  <a:lnTo>
                    <a:pt x="210" y="900"/>
                  </a:lnTo>
                  <a:lnTo>
                    <a:pt x="210" y="906"/>
                  </a:lnTo>
                  <a:lnTo>
                    <a:pt x="204" y="906"/>
                  </a:lnTo>
                  <a:lnTo>
                    <a:pt x="198" y="906"/>
                  </a:lnTo>
                  <a:lnTo>
                    <a:pt x="210" y="900"/>
                  </a:lnTo>
                  <a:lnTo>
                    <a:pt x="210" y="894"/>
                  </a:lnTo>
                  <a:lnTo>
                    <a:pt x="216" y="888"/>
                  </a:lnTo>
                  <a:lnTo>
                    <a:pt x="204" y="882"/>
                  </a:lnTo>
                  <a:lnTo>
                    <a:pt x="204" y="894"/>
                  </a:lnTo>
                  <a:lnTo>
                    <a:pt x="198" y="894"/>
                  </a:lnTo>
                  <a:lnTo>
                    <a:pt x="192" y="900"/>
                  </a:lnTo>
                  <a:lnTo>
                    <a:pt x="186" y="894"/>
                  </a:lnTo>
                  <a:lnTo>
                    <a:pt x="180" y="894"/>
                  </a:lnTo>
                  <a:lnTo>
                    <a:pt x="174" y="894"/>
                  </a:lnTo>
                  <a:lnTo>
                    <a:pt x="168" y="900"/>
                  </a:lnTo>
                  <a:lnTo>
                    <a:pt x="162" y="906"/>
                  </a:lnTo>
                  <a:lnTo>
                    <a:pt x="156" y="906"/>
                  </a:lnTo>
                  <a:lnTo>
                    <a:pt x="150" y="900"/>
                  </a:lnTo>
                  <a:lnTo>
                    <a:pt x="144" y="894"/>
                  </a:lnTo>
                  <a:lnTo>
                    <a:pt x="138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0" y="888"/>
                  </a:lnTo>
                  <a:lnTo>
                    <a:pt x="114" y="894"/>
                  </a:lnTo>
                  <a:lnTo>
                    <a:pt x="120" y="900"/>
                  </a:lnTo>
                  <a:lnTo>
                    <a:pt x="126" y="900"/>
                  </a:lnTo>
                  <a:lnTo>
                    <a:pt x="132" y="900"/>
                  </a:lnTo>
                  <a:lnTo>
                    <a:pt x="132" y="906"/>
                  </a:lnTo>
                  <a:lnTo>
                    <a:pt x="126" y="912"/>
                  </a:lnTo>
                  <a:lnTo>
                    <a:pt x="126" y="918"/>
                  </a:lnTo>
                  <a:lnTo>
                    <a:pt x="114" y="918"/>
                  </a:lnTo>
                  <a:lnTo>
                    <a:pt x="108" y="924"/>
                  </a:lnTo>
                  <a:lnTo>
                    <a:pt x="102" y="924"/>
                  </a:lnTo>
                  <a:lnTo>
                    <a:pt x="90" y="924"/>
                  </a:lnTo>
                  <a:lnTo>
                    <a:pt x="84" y="924"/>
                  </a:lnTo>
                  <a:lnTo>
                    <a:pt x="78" y="924"/>
                  </a:lnTo>
                  <a:lnTo>
                    <a:pt x="60" y="924"/>
                  </a:lnTo>
                  <a:lnTo>
                    <a:pt x="54" y="942"/>
                  </a:lnTo>
                  <a:lnTo>
                    <a:pt x="48" y="936"/>
                  </a:lnTo>
                  <a:lnTo>
                    <a:pt x="42" y="930"/>
                  </a:lnTo>
                  <a:lnTo>
                    <a:pt x="36" y="930"/>
                  </a:lnTo>
                  <a:lnTo>
                    <a:pt x="30" y="936"/>
                  </a:lnTo>
                  <a:lnTo>
                    <a:pt x="30" y="930"/>
                  </a:lnTo>
                  <a:lnTo>
                    <a:pt x="30" y="924"/>
                  </a:lnTo>
                  <a:lnTo>
                    <a:pt x="18" y="918"/>
                  </a:lnTo>
                  <a:lnTo>
                    <a:pt x="18" y="912"/>
                  </a:lnTo>
                  <a:lnTo>
                    <a:pt x="12" y="912"/>
                  </a:lnTo>
                  <a:lnTo>
                    <a:pt x="6" y="912"/>
                  </a:lnTo>
                  <a:lnTo>
                    <a:pt x="6" y="900"/>
                  </a:lnTo>
                  <a:lnTo>
                    <a:pt x="6" y="894"/>
                  </a:lnTo>
                  <a:lnTo>
                    <a:pt x="0" y="870"/>
                  </a:lnTo>
                  <a:lnTo>
                    <a:pt x="6" y="846"/>
                  </a:lnTo>
                  <a:lnTo>
                    <a:pt x="6" y="810"/>
                  </a:lnTo>
                  <a:lnTo>
                    <a:pt x="12" y="774"/>
                  </a:lnTo>
                  <a:lnTo>
                    <a:pt x="12" y="756"/>
                  </a:lnTo>
                  <a:lnTo>
                    <a:pt x="18" y="744"/>
                  </a:lnTo>
                  <a:lnTo>
                    <a:pt x="18" y="732"/>
                  </a:lnTo>
                  <a:lnTo>
                    <a:pt x="12" y="576"/>
                  </a:lnTo>
                  <a:lnTo>
                    <a:pt x="12" y="570"/>
                  </a:lnTo>
                  <a:lnTo>
                    <a:pt x="18" y="564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42" y="552"/>
                  </a:lnTo>
                  <a:lnTo>
                    <a:pt x="66" y="552"/>
                  </a:lnTo>
                  <a:lnTo>
                    <a:pt x="78" y="558"/>
                  </a:lnTo>
                  <a:lnTo>
                    <a:pt x="90" y="558"/>
                  </a:lnTo>
                  <a:lnTo>
                    <a:pt x="108" y="558"/>
                  </a:lnTo>
                  <a:lnTo>
                    <a:pt x="144" y="558"/>
                  </a:lnTo>
                  <a:lnTo>
                    <a:pt x="204" y="552"/>
                  </a:lnTo>
                  <a:lnTo>
                    <a:pt x="210" y="558"/>
                  </a:lnTo>
                  <a:lnTo>
                    <a:pt x="216" y="558"/>
                  </a:lnTo>
                  <a:lnTo>
                    <a:pt x="210" y="564"/>
                  </a:lnTo>
                  <a:lnTo>
                    <a:pt x="216" y="564"/>
                  </a:lnTo>
                  <a:lnTo>
                    <a:pt x="222" y="564"/>
                  </a:lnTo>
                  <a:lnTo>
                    <a:pt x="240" y="564"/>
                  </a:lnTo>
                  <a:lnTo>
                    <a:pt x="258" y="564"/>
                  </a:lnTo>
                  <a:lnTo>
                    <a:pt x="264" y="570"/>
                  </a:lnTo>
                  <a:lnTo>
                    <a:pt x="276" y="570"/>
                  </a:lnTo>
                  <a:lnTo>
                    <a:pt x="282" y="564"/>
                  </a:lnTo>
                  <a:lnTo>
                    <a:pt x="294" y="564"/>
                  </a:lnTo>
                  <a:lnTo>
                    <a:pt x="294" y="570"/>
                  </a:lnTo>
                  <a:lnTo>
                    <a:pt x="300" y="570"/>
                  </a:lnTo>
                  <a:lnTo>
                    <a:pt x="378" y="564"/>
                  </a:lnTo>
                  <a:lnTo>
                    <a:pt x="408" y="558"/>
                  </a:lnTo>
                  <a:lnTo>
                    <a:pt x="432" y="552"/>
                  </a:lnTo>
                  <a:lnTo>
                    <a:pt x="450" y="546"/>
                  </a:lnTo>
                  <a:lnTo>
                    <a:pt x="468" y="546"/>
                  </a:lnTo>
                  <a:lnTo>
                    <a:pt x="468" y="552"/>
                  </a:lnTo>
                  <a:lnTo>
                    <a:pt x="504" y="552"/>
                  </a:lnTo>
                  <a:lnTo>
                    <a:pt x="510" y="534"/>
                  </a:lnTo>
                  <a:lnTo>
                    <a:pt x="516" y="510"/>
                  </a:lnTo>
                  <a:lnTo>
                    <a:pt x="522" y="510"/>
                  </a:lnTo>
                  <a:lnTo>
                    <a:pt x="528" y="420"/>
                  </a:lnTo>
                  <a:lnTo>
                    <a:pt x="522" y="414"/>
                  </a:lnTo>
                  <a:lnTo>
                    <a:pt x="516" y="396"/>
                  </a:lnTo>
                  <a:lnTo>
                    <a:pt x="510" y="372"/>
                  </a:lnTo>
                  <a:lnTo>
                    <a:pt x="498" y="348"/>
                  </a:lnTo>
                  <a:lnTo>
                    <a:pt x="474" y="282"/>
                  </a:lnTo>
                  <a:lnTo>
                    <a:pt x="474" y="270"/>
                  </a:lnTo>
                  <a:lnTo>
                    <a:pt x="480" y="258"/>
                  </a:lnTo>
                  <a:lnTo>
                    <a:pt x="486" y="258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92" y="246"/>
                  </a:lnTo>
                  <a:lnTo>
                    <a:pt x="504" y="234"/>
                  </a:lnTo>
                  <a:lnTo>
                    <a:pt x="510" y="228"/>
                  </a:lnTo>
                  <a:lnTo>
                    <a:pt x="516" y="228"/>
                  </a:lnTo>
                  <a:lnTo>
                    <a:pt x="516" y="222"/>
                  </a:lnTo>
                  <a:lnTo>
                    <a:pt x="516" y="216"/>
                  </a:lnTo>
                  <a:lnTo>
                    <a:pt x="522" y="216"/>
                  </a:lnTo>
                  <a:lnTo>
                    <a:pt x="528" y="210"/>
                  </a:lnTo>
                  <a:lnTo>
                    <a:pt x="534" y="210"/>
                  </a:lnTo>
                  <a:lnTo>
                    <a:pt x="540" y="210"/>
                  </a:lnTo>
                  <a:lnTo>
                    <a:pt x="546" y="210"/>
                  </a:lnTo>
                  <a:lnTo>
                    <a:pt x="552" y="210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16"/>
                  </a:lnTo>
                  <a:lnTo>
                    <a:pt x="588" y="228"/>
                  </a:lnTo>
                  <a:lnTo>
                    <a:pt x="594" y="234"/>
                  </a:lnTo>
                  <a:lnTo>
                    <a:pt x="600" y="240"/>
                  </a:lnTo>
                  <a:lnTo>
                    <a:pt x="618" y="246"/>
                  </a:lnTo>
                  <a:lnTo>
                    <a:pt x="624" y="246"/>
                  </a:lnTo>
                  <a:lnTo>
                    <a:pt x="636" y="252"/>
                  </a:lnTo>
                  <a:lnTo>
                    <a:pt x="654" y="252"/>
                  </a:lnTo>
                  <a:lnTo>
                    <a:pt x="654" y="258"/>
                  </a:lnTo>
                  <a:lnTo>
                    <a:pt x="666" y="264"/>
                  </a:lnTo>
                  <a:lnTo>
                    <a:pt x="672" y="264"/>
                  </a:lnTo>
                  <a:lnTo>
                    <a:pt x="678" y="264"/>
                  </a:lnTo>
                  <a:lnTo>
                    <a:pt x="696" y="258"/>
                  </a:lnTo>
                  <a:lnTo>
                    <a:pt x="696" y="252"/>
                  </a:lnTo>
                  <a:lnTo>
                    <a:pt x="696" y="246"/>
                  </a:lnTo>
                  <a:lnTo>
                    <a:pt x="690" y="234"/>
                  </a:lnTo>
                  <a:lnTo>
                    <a:pt x="684" y="210"/>
                  </a:lnTo>
                  <a:lnTo>
                    <a:pt x="678" y="192"/>
                  </a:lnTo>
                  <a:lnTo>
                    <a:pt x="672" y="174"/>
                  </a:lnTo>
                  <a:lnTo>
                    <a:pt x="672" y="168"/>
                  </a:lnTo>
                  <a:lnTo>
                    <a:pt x="672" y="162"/>
                  </a:lnTo>
                  <a:lnTo>
                    <a:pt x="672" y="156"/>
                  </a:lnTo>
                  <a:lnTo>
                    <a:pt x="684" y="132"/>
                  </a:lnTo>
                  <a:lnTo>
                    <a:pt x="684" y="120"/>
                  </a:lnTo>
                  <a:lnTo>
                    <a:pt x="684" y="108"/>
                  </a:lnTo>
                  <a:lnTo>
                    <a:pt x="678" y="102"/>
                  </a:lnTo>
                  <a:lnTo>
                    <a:pt x="678" y="96"/>
                  </a:lnTo>
                  <a:lnTo>
                    <a:pt x="684" y="96"/>
                  </a:lnTo>
                  <a:lnTo>
                    <a:pt x="696" y="90"/>
                  </a:lnTo>
                  <a:lnTo>
                    <a:pt x="702" y="84"/>
                  </a:lnTo>
                  <a:lnTo>
                    <a:pt x="720" y="72"/>
                  </a:lnTo>
                  <a:lnTo>
                    <a:pt x="738" y="66"/>
                  </a:lnTo>
                  <a:lnTo>
                    <a:pt x="756" y="60"/>
                  </a:lnTo>
                  <a:lnTo>
                    <a:pt x="768" y="60"/>
                  </a:lnTo>
                  <a:lnTo>
                    <a:pt x="798" y="72"/>
                  </a:lnTo>
                  <a:lnTo>
                    <a:pt x="804" y="78"/>
                  </a:lnTo>
                  <a:lnTo>
                    <a:pt x="816" y="84"/>
                  </a:lnTo>
                  <a:lnTo>
                    <a:pt x="822" y="84"/>
                  </a:lnTo>
                  <a:lnTo>
                    <a:pt x="828" y="72"/>
                  </a:lnTo>
                  <a:lnTo>
                    <a:pt x="828" y="60"/>
                  </a:lnTo>
                  <a:lnTo>
                    <a:pt x="828" y="36"/>
                  </a:lnTo>
                  <a:lnTo>
                    <a:pt x="828" y="24"/>
                  </a:lnTo>
                  <a:lnTo>
                    <a:pt x="828" y="12"/>
                  </a:lnTo>
                  <a:lnTo>
                    <a:pt x="834" y="12"/>
                  </a:lnTo>
                  <a:lnTo>
                    <a:pt x="852" y="6"/>
                  </a:lnTo>
                  <a:lnTo>
                    <a:pt x="876" y="6"/>
                  </a:lnTo>
                  <a:lnTo>
                    <a:pt x="894" y="6"/>
                  </a:lnTo>
                  <a:lnTo>
                    <a:pt x="906" y="12"/>
                  </a:lnTo>
                  <a:lnTo>
                    <a:pt x="912" y="24"/>
                  </a:lnTo>
                  <a:lnTo>
                    <a:pt x="924" y="24"/>
                  </a:lnTo>
                  <a:lnTo>
                    <a:pt x="930" y="30"/>
                  </a:lnTo>
                  <a:lnTo>
                    <a:pt x="936" y="30"/>
                  </a:lnTo>
                  <a:lnTo>
                    <a:pt x="936" y="36"/>
                  </a:lnTo>
                  <a:lnTo>
                    <a:pt x="942" y="36"/>
                  </a:lnTo>
                  <a:lnTo>
                    <a:pt x="948" y="42"/>
                  </a:lnTo>
                  <a:lnTo>
                    <a:pt x="960" y="48"/>
                  </a:lnTo>
                  <a:lnTo>
                    <a:pt x="966" y="48"/>
                  </a:lnTo>
                  <a:lnTo>
                    <a:pt x="1026" y="60"/>
                  </a:lnTo>
                  <a:lnTo>
                    <a:pt x="1050" y="60"/>
                  </a:lnTo>
                  <a:lnTo>
                    <a:pt x="1050" y="54"/>
                  </a:lnTo>
                  <a:lnTo>
                    <a:pt x="1062" y="54"/>
                  </a:lnTo>
                  <a:lnTo>
                    <a:pt x="1074" y="48"/>
                  </a:lnTo>
                  <a:lnTo>
                    <a:pt x="1086" y="42"/>
                  </a:lnTo>
                  <a:lnTo>
                    <a:pt x="1104" y="36"/>
                  </a:lnTo>
                  <a:lnTo>
                    <a:pt x="1116" y="30"/>
                  </a:lnTo>
                  <a:lnTo>
                    <a:pt x="1122" y="24"/>
                  </a:lnTo>
                  <a:lnTo>
                    <a:pt x="1128" y="18"/>
                  </a:lnTo>
                  <a:lnTo>
                    <a:pt x="1134" y="18"/>
                  </a:lnTo>
                  <a:lnTo>
                    <a:pt x="1140" y="12"/>
                  </a:lnTo>
                  <a:lnTo>
                    <a:pt x="1146" y="6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24"/>
                  </a:lnTo>
                  <a:lnTo>
                    <a:pt x="1176" y="36"/>
                  </a:lnTo>
                  <a:lnTo>
                    <a:pt x="1188" y="42"/>
                  </a:lnTo>
                  <a:lnTo>
                    <a:pt x="1200" y="54"/>
                  </a:lnTo>
                  <a:lnTo>
                    <a:pt x="1224" y="84"/>
                  </a:lnTo>
                  <a:lnTo>
                    <a:pt x="1224" y="90"/>
                  </a:lnTo>
                  <a:lnTo>
                    <a:pt x="1236" y="96"/>
                  </a:lnTo>
                  <a:lnTo>
                    <a:pt x="1236" y="108"/>
                  </a:lnTo>
                  <a:lnTo>
                    <a:pt x="1248" y="114"/>
                  </a:lnTo>
                  <a:lnTo>
                    <a:pt x="1254" y="114"/>
                  </a:lnTo>
                  <a:lnTo>
                    <a:pt x="1260" y="114"/>
                  </a:lnTo>
                  <a:lnTo>
                    <a:pt x="1296" y="114"/>
                  </a:lnTo>
                  <a:lnTo>
                    <a:pt x="1302" y="114"/>
                  </a:lnTo>
                  <a:lnTo>
                    <a:pt x="1320" y="108"/>
                  </a:lnTo>
                  <a:lnTo>
                    <a:pt x="1326" y="108"/>
                  </a:lnTo>
                  <a:lnTo>
                    <a:pt x="1326" y="138"/>
                  </a:lnTo>
                  <a:lnTo>
                    <a:pt x="1326" y="210"/>
                  </a:lnTo>
                  <a:lnTo>
                    <a:pt x="1320" y="252"/>
                  </a:lnTo>
                  <a:lnTo>
                    <a:pt x="1320" y="270"/>
                  </a:lnTo>
                  <a:lnTo>
                    <a:pt x="1320" y="288"/>
                  </a:lnTo>
                  <a:lnTo>
                    <a:pt x="1320" y="318"/>
                  </a:lnTo>
                  <a:lnTo>
                    <a:pt x="1326" y="354"/>
                  </a:lnTo>
                  <a:lnTo>
                    <a:pt x="1326" y="372"/>
                  </a:lnTo>
                  <a:lnTo>
                    <a:pt x="1332" y="420"/>
                  </a:lnTo>
                  <a:lnTo>
                    <a:pt x="1332" y="450"/>
                  </a:lnTo>
                  <a:lnTo>
                    <a:pt x="1338" y="480"/>
                  </a:lnTo>
                  <a:lnTo>
                    <a:pt x="1344" y="486"/>
                  </a:lnTo>
                  <a:lnTo>
                    <a:pt x="1338" y="492"/>
                  </a:lnTo>
                  <a:lnTo>
                    <a:pt x="1344" y="492"/>
                  </a:lnTo>
                  <a:lnTo>
                    <a:pt x="1344" y="498"/>
                  </a:lnTo>
                  <a:lnTo>
                    <a:pt x="1350" y="498"/>
                  </a:lnTo>
                  <a:lnTo>
                    <a:pt x="1350" y="522"/>
                  </a:lnTo>
                  <a:lnTo>
                    <a:pt x="1362" y="564"/>
                  </a:lnTo>
                  <a:lnTo>
                    <a:pt x="1368" y="582"/>
                  </a:lnTo>
                  <a:lnTo>
                    <a:pt x="1380" y="600"/>
                  </a:lnTo>
                  <a:lnTo>
                    <a:pt x="1386" y="636"/>
                  </a:lnTo>
                  <a:lnTo>
                    <a:pt x="1380" y="660"/>
                  </a:lnTo>
                  <a:lnTo>
                    <a:pt x="1380" y="678"/>
                  </a:lnTo>
                  <a:lnTo>
                    <a:pt x="1380" y="684"/>
                  </a:lnTo>
                  <a:lnTo>
                    <a:pt x="1374" y="684"/>
                  </a:lnTo>
                  <a:lnTo>
                    <a:pt x="1368" y="690"/>
                  </a:lnTo>
                  <a:lnTo>
                    <a:pt x="1356" y="702"/>
                  </a:lnTo>
                  <a:lnTo>
                    <a:pt x="1350" y="708"/>
                  </a:lnTo>
                  <a:lnTo>
                    <a:pt x="1356" y="714"/>
                  </a:lnTo>
                  <a:lnTo>
                    <a:pt x="1368" y="726"/>
                  </a:lnTo>
                  <a:lnTo>
                    <a:pt x="1380" y="738"/>
                  </a:lnTo>
                  <a:lnTo>
                    <a:pt x="1386" y="744"/>
                  </a:lnTo>
                  <a:lnTo>
                    <a:pt x="1392" y="744"/>
                  </a:lnTo>
                  <a:lnTo>
                    <a:pt x="1410" y="750"/>
                  </a:lnTo>
                  <a:lnTo>
                    <a:pt x="1416" y="756"/>
                  </a:lnTo>
                  <a:lnTo>
                    <a:pt x="1422" y="756"/>
                  </a:lnTo>
                  <a:lnTo>
                    <a:pt x="1422" y="762"/>
                  </a:lnTo>
                  <a:lnTo>
                    <a:pt x="1428" y="774"/>
                  </a:lnTo>
                  <a:lnTo>
                    <a:pt x="1428" y="780"/>
                  </a:lnTo>
                  <a:lnTo>
                    <a:pt x="1434" y="780"/>
                  </a:lnTo>
                  <a:lnTo>
                    <a:pt x="1440" y="798"/>
                  </a:lnTo>
                  <a:lnTo>
                    <a:pt x="1422" y="816"/>
                  </a:lnTo>
                  <a:lnTo>
                    <a:pt x="1386" y="810"/>
                  </a:lnTo>
                  <a:lnTo>
                    <a:pt x="1380" y="816"/>
                  </a:lnTo>
                  <a:lnTo>
                    <a:pt x="1374" y="840"/>
                  </a:lnTo>
                  <a:lnTo>
                    <a:pt x="1350" y="852"/>
                  </a:lnTo>
                  <a:lnTo>
                    <a:pt x="1350" y="858"/>
                  </a:lnTo>
                  <a:lnTo>
                    <a:pt x="1350" y="864"/>
                  </a:lnTo>
                  <a:lnTo>
                    <a:pt x="1344" y="864"/>
                  </a:lnTo>
                  <a:lnTo>
                    <a:pt x="1338" y="870"/>
                  </a:lnTo>
                  <a:lnTo>
                    <a:pt x="1332" y="876"/>
                  </a:lnTo>
                  <a:lnTo>
                    <a:pt x="1314" y="876"/>
                  </a:lnTo>
                  <a:lnTo>
                    <a:pt x="1314" y="870"/>
                  </a:lnTo>
                  <a:lnTo>
                    <a:pt x="1308" y="870"/>
                  </a:lnTo>
                  <a:lnTo>
                    <a:pt x="1302" y="864"/>
                  </a:lnTo>
                  <a:lnTo>
                    <a:pt x="1296" y="864"/>
                  </a:lnTo>
                  <a:lnTo>
                    <a:pt x="1284" y="870"/>
                  </a:lnTo>
                  <a:lnTo>
                    <a:pt x="1266" y="870"/>
                  </a:lnTo>
                  <a:lnTo>
                    <a:pt x="1260" y="870"/>
                  </a:lnTo>
                  <a:lnTo>
                    <a:pt x="1248" y="876"/>
                  </a:lnTo>
                  <a:lnTo>
                    <a:pt x="1236" y="876"/>
                  </a:lnTo>
                  <a:lnTo>
                    <a:pt x="1230" y="882"/>
                  </a:lnTo>
                  <a:lnTo>
                    <a:pt x="1224" y="894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18" y="942"/>
                  </a:lnTo>
                  <a:lnTo>
                    <a:pt x="1212" y="948"/>
                  </a:lnTo>
                  <a:lnTo>
                    <a:pt x="1200" y="984"/>
                  </a:lnTo>
                  <a:lnTo>
                    <a:pt x="1194" y="1008"/>
                  </a:lnTo>
                  <a:lnTo>
                    <a:pt x="1218" y="1038"/>
                  </a:lnTo>
                  <a:lnTo>
                    <a:pt x="1224" y="1044"/>
                  </a:lnTo>
                  <a:lnTo>
                    <a:pt x="1224" y="1062"/>
                  </a:lnTo>
                  <a:lnTo>
                    <a:pt x="1236" y="1080"/>
                  </a:lnTo>
                  <a:lnTo>
                    <a:pt x="1236" y="1086"/>
                  </a:lnTo>
                  <a:lnTo>
                    <a:pt x="1230" y="1092"/>
                  </a:lnTo>
                  <a:lnTo>
                    <a:pt x="1224" y="1110"/>
                  </a:lnTo>
                  <a:lnTo>
                    <a:pt x="1218" y="1122"/>
                  </a:lnTo>
                  <a:lnTo>
                    <a:pt x="1224" y="1140"/>
                  </a:lnTo>
                  <a:lnTo>
                    <a:pt x="1218" y="1146"/>
                  </a:lnTo>
                  <a:lnTo>
                    <a:pt x="1218" y="1152"/>
                  </a:lnTo>
                  <a:lnTo>
                    <a:pt x="1212" y="116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1" name="Freeform 36">
              <a:extLst>
                <a:ext uri="{FF2B5EF4-FFF2-40B4-BE49-F238E27FC236}">
                  <a16:creationId xmlns:a16="http://schemas.microsoft.com/office/drawing/2014/main" id="{B9C0D6BE-CB1C-4E69-B224-1ABF097AA8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90208" y="1647855"/>
              <a:ext cx="742415" cy="758173"/>
            </a:xfrm>
            <a:custGeom>
              <a:avLst/>
              <a:gdLst>
                <a:gd name="T0" fmla="*/ 75 w 1398"/>
                <a:gd name="T1" fmla="*/ 48 h 1428"/>
                <a:gd name="T2" fmla="*/ 68 w 1398"/>
                <a:gd name="T3" fmla="*/ 54 h 1428"/>
                <a:gd name="T4" fmla="*/ 57 w 1398"/>
                <a:gd name="T5" fmla="*/ 59 h 1428"/>
                <a:gd name="T6" fmla="*/ 55 w 1398"/>
                <a:gd name="T7" fmla="*/ 68 h 1428"/>
                <a:gd name="T8" fmla="*/ 55 w 1398"/>
                <a:gd name="T9" fmla="*/ 77 h 1428"/>
                <a:gd name="T10" fmla="*/ 57 w 1398"/>
                <a:gd name="T11" fmla="*/ 81 h 1428"/>
                <a:gd name="T12" fmla="*/ 56 w 1398"/>
                <a:gd name="T13" fmla="*/ 86 h 1428"/>
                <a:gd name="T14" fmla="*/ 57 w 1398"/>
                <a:gd name="T15" fmla="*/ 89 h 1428"/>
                <a:gd name="T16" fmla="*/ 58 w 1398"/>
                <a:gd name="T17" fmla="*/ 92 h 1428"/>
                <a:gd name="T18" fmla="*/ 58 w 1398"/>
                <a:gd name="T19" fmla="*/ 96 h 1428"/>
                <a:gd name="T20" fmla="*/ 49 w 1398"/>
                <a:gd name="T21" fmla="*/ 100 h 1428"/>
                <a:gd name="T22" fmla="*/ 47 w 1398"/>
                <a:gd name="T23" fmla="*/ 108 h 1428"/>
                <a:gd name="T24" fmla="*/ 48 w 1398"/>
                <a:gd name="T25" fmla="*/ 113 h 1428"/>
                <a:gd name="T26" fmla="*/ 43 w 1398"/>
                <a:gd name="T27" fmla="*/ 114 h 1428"/>
                <a:gd name="T28" fmla="*/ 39 w 1398"/>
                <a:gd name="T29" fmla="*/ 113 h 1428"/>
                <a:gd name="T30" fmla="*/ 33 w 1398"/>
                <a:gd name="T31" fmla="*/ 109 h 1428"/>
                <a:gd name="T32" fmla="*/ 29 w 1398"/>
                <a:gd name="T33" fmla="*/ 114 h 1428"/>
                <a:gd name="T34" fmla="*/ 22 w 1398"/>
                <a:gd name="T35" fmla="*/ 115 h 1428"/>
                <a:gd name="T36" fmla="*/ 21 w 1398"/>
                <a:gd name="T37" fmla="*/ 121 h 1428"/>
                <a:gd name="T38" fmla="*/ 12 w 1398"/>
                <a:gd name="T39" fmla="*/ 119 h 1428"/>
                <a:gd name="T40" fmla="*/ 9 w 1398"/>
                <a:gd name="T41" fmla="*/ 113 h 1428"/>
                <a:gd name="T42" fmla="*/ 2 w 1398"/>
                <a:gd name="T43" fmla="*/ 109 h 1428"/>
                <a:gd name="T44" fmla="*/ 4 w 1398"/>
                <a:gd name="T45" fmla="*/ 103 h 1428"/>
                <a:gd name="T46" fmla="*/ 2 w 1398"/>
                <a:gd name="T47" fmla="*/ 91 h 1428"/>
                <a:gd name="T48" fmla="*/ 6 w 1398"/>
                <a:gd name="T49" fmla="*/ 85 h 1428"/>
                <a:gd name="T50" fmla="*/ 10 w 1398"/>
                <a:gd name="T51" fmla="*/ 85 h 1428"/>
                <a:gd name="T52" fmla="*/ 15 w 1398"/>
                <a:gd name="T53" fmla="*/ 82 h 1428"/>
                <a:gd name="T54" fmla="*/ 20 w 1398"/>
                <a:gd name="T55" fmla="*/ 77 h 1428"/>
                <a:gd name="T56" fmla="*/ 16 w 1398"/>
                <a:gd name="T57" fmla="*/ 73 h 1428"/>
                <a:gd name="T58" fmla="*/ 16 w 1398"/>
                <a:gd name="T59" fmla="*/ 69 h 1428"/>
                <a:gd name="T60" fmla="*/ 14 w 1398"/>
                <a:gd name="T61" fmla="*/ 54 h 1428"/>
                <a:gd name="T62" fmla="*/ 12 w 1398"/>
                <a:gd name="T63" fmla="*/ 48 h 1428"/>
                <a:gd name="T64" fmla="*/ 11 w 1398"/>
                <a:gd name="T65" fmla="*/ 31 h 1428"/>
                <a:gd name="T66" fmla="*/ 14 w 1398"/>
                <a:gd name="T67" fmla="*/ 18 h 1428"/>
                <a:gd name="T68" fmla="*/ 19 w 1398"/>
                <a:gd name="T69" fmla="*/ 15 h 1428"/>
                <a:gd name="T70" fmla="*/ 26 w 1398"/>
                <a:gd name="T71" fmla="*/ 13 h 1428"/>
                <a:gd name="T72" fmla="*/ 34 w 1398"/>
                <a:gd name="T73" fmla="*/ 12 h 1428"/>
                <a:gd name="T74" fmla="*/ 39 w 1398"/>
                <a:gd name="T75" fmla="*/ 9 h 1428"/>
                <a:gd name="T76" fmla="*/ 43 w 1398"/>
                <a:gd name="T77" fmla="*/ 7 h 1428"/>
                <a:gd name="T78" fmla="*/ 48 w 1398"/>
                <a:gd name="T79" fmla="*/ 3 h 1428"/>
                <a:gd name="T80" fmla="*/ 54 w 1398"/>
                <a:gd name="T81" fmla="*/ 0 h 1428"/>
                <a:gd name="T82" fmla="*/ 58 w 1398"/>
                <a:gd name="T83" fmla="*/ 0 h 1428"/>
                <a:gd name="T84" fmla="*/ 66 w 1398"/>
                <a:gd name="T85" fmla="*/ 2 h 1428"/>
                <a:gd name="T86" fmla="*/ 70 w 1398"/>
                <a:gd name="T87" fmla="*/ 3 h 1428"/>
                <a:gd name="T88" fmla="*/ 75 w 1398"/>
                <a:gd name="T89" fmla="*/ 6 h 1428"/>
                <a:gd name="T90" fmla="*/ 80 w 1398"/>
                <a:gd name="T91" fmla="*/ 9 h 1428"/>
                <a:gd name="T92" fmla="*/ 83 w 1398"/>
                <a:gd name="T93" fmla="*/ 12 h 1428"/>
                <a:gd name="T94" fmla="*/ 87 w 1398"/>
                <a:gd name="T95" fmla="*/ 15 h 1428"/>
                <a:gd name="T96" fmla="*/ 94 w 1398"/>
                <a:gd name="T97" fmla="*/ 15 h 1428"/>
                <a:gd name="T98" fmla="*/ 99 w 1398"/>
                <a:gd name="T99" fmla="*/ 21 h 1428"/>
                <a:gd name="T100" fmla="*/ 103 w 1398"/>
                <a:gd name="T101" fmla="*/ 23 h 1428"/>
                <a:gd name="T102" fmla="*/ 110 w 1398"/>
                <a:gd name="T103" fmla="*/ 26 h 1428"/>
                <a:gd name="T104" fmla="*/ 116 w 1398"/>
                <a:gd name="T105" fmla="*/ 27 h 1428"/>
                <a:gd name="T106" fmla="*/ 120 w 1398"/>
                <a:gd name="T107" fmla="*/ 27 h 1428"/>
                <a:gd name="T108" fmla="*/ 116 w 1398"/>
                <a:gd name="T109" fmla="*/ 35 h 1428"/>
                <a:gd name="T110" fmla="*/ 104 w 1398"/>
                <a:gd name="T111" fmla="*/ 37 h 1428"/>
                <a:gd name="T112" fmla="*/ 97 w 1398"/>
                <a:gd name="T113" fmla="*/ 34 h 1428"/>
                <a:gd name="T114" fmla="*/ 91 w 1398"/>
                <a:gd name="T115" fmla="*/ 29 h 1428"/>
                <a:gd name="T116" fmla="*/ 75 w 1398"/>
                <a:gd name="T117" fmla="*/ 29 h 1428"/>
                <a:gd name="T118" fmla="*/ 72 w 1398"/>
                <a:gd name="T119" fmla="*/ 39 h 1428"/>
                <a:gd name="T120" fmla="*/ 80 w 1398"/>
                <a:gd name="T121" fmla="*/ 41 h 142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98"/>
                <a:gd name="T184" fmla="*/ 0 h 1428"/>
                <a:gd name="T185" fmla="*/ 1398 w 1398"/>
                <a:gd name="T186" fmla="*/ 1428 h 142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98" h="1428">
                  <a:moveTo>
                    <a:pt x="924" y="474"/>
                  </a:moveTo>
                  <a:lnTo>
                    <a:pt x="900" y="480"/>
                  </a:lnTo>
                  <a:lnTo>
                    <a:pt x="864" y="486"/>
                  </a:lnTo>
                  <a:lnTo>
                    <a:pt x="864" y="504"/>
                  </a:lnTo>
                  <a:lnTo>
                    <a:pt x="858" y="522"/>
                  </a:lnTo>
                  <a:lnTo>
                    <a:pt x="864" y="528"/>
                  </a:lnTo>
                  <a:lnTo>
                    <a:pt x="864" y="552"/>
                  </a:lnTo>
                  <a:lnTo>
                    <a:pt x="852" y="552"/>
                  </a:lnTo>
                  <a:lnTo>
                    <a:pt x="846" y="564"/>
                  </a:lnTo>
                  <a:lnTo>
                    <a:pt x="840" y="582"/>
                  </a:lnTo>
                  <a:lnTo>
                    <a:pt x="834" y="594"/>
                  </a:lnTo>
                  <a:lnTo>
                    <a:pt x="828" y="606"/>
                  </a:lnTo>
                  <a:lnTo>
                    <a:pt x="828" y="618"/>
                  </a:lnTo>
                  <a:lnTo>
                    <a:pt x="786" y="630"/>
                  </a:lnTo>
                  <a:lnTo>
                    <a:pt x="774" y="636"/>
                  </a:lnTo>
                  <a:lnTo>
                    <a:pt x="762" y="642"/>
                  </a:lnTo>
                  <a:lnTo>
                    <a:pt x="744" y="648"/>
                  </a:lnTo>
                  <a:lnTo>
                    <a:pt x="714" y="660"/>
                  </a:lnTo>
                  <a:lnTo>
                    <a:pt x="696" y="666"/>
                  </a:lnTo>
                  <a:lnTo>
                    <a:pt x="666" y="672"/>
                  </a:lnTo>
                  <a:lnTo>
                    <a:pt x="654" y="684"/>
                  </a:lnTo>
                  <a:lnTo>
                    <a:pt x="648" y="684"/>
                  </a:lnTo>
                  <a:lnTo>
                    <a:pt x="642" y="696"/>
                  </a:lnTo>
                  <a:lnTo>
                    <a:pt x="636" y="696"/>
                  </a:lnTo>
                  <a:lnTo>
                    <a:pt x="630" y="714"/>
                  </a:lnTo>
                  <a:lnTo>
                    <a:pt x="624" y="738"/>
                  </a:lnTo>
                  <a:lnTo>
                    <a:pt x="624" y="762"/>
                  </a:lnTo>
                  <a:lnTo>
                    <a:pt x="630" y="780"/>
                  </a:lnTo>
                  <a:lnTo>
                    <a:pt x="636" y="804"/>
                  </a:lnTo>
                  <a:lnTo>
                    <a:pt x="642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6" y="834"/>
                  </a:lnTo>
                  <a:lnTo>
                    <a:pt x="636" y="870"/>
                  </a:lnTo>
                  <a:lnTo>
                    <a:pt x="636" y="882"/>
                  </a:lnTo>
                  <a:lnTo>
                    <a:pt x="636" y="906"/>
                  </a:lnTo>
                  <a:lnTo>
                    <a:pt x="630" y="906"/>
                  </a:lnTo>
                  <a:lnTo>
                    <a:pt x="636" y="918"/>
                  </a:lnTo>
                  <a:lnTo>
                    <a:pt x="642" y="918"/>
                  </a:lnTo>
                  <a:lnTo>
                    <a:pt x="642" y="930"/>
                  </a:lnTo>
                  <a:lnTo>
                    <a:pt x="648" y="936"/>
                  </a:lnTo>
                  <a:lnTo>
                    <a:pt x="654" y="936"/>
                  </a:lnTo>
                  <a:lnTo>
                    <a:pt x="654" y="942"/>
                  </a:lnTo>
                  <a:lnTo>
                    <a:pt x="654" y="948"/>
                  </a:lnTo>
                  <a:lnTo>
                    <a:pt x="648" y="954"/>
                  </a:lnTo>
                  <a:lnTo>
                    <a:pt x="648" y="960"/>
                  </a:lnTo>
                  <a:lnTo>
                    <a:pt x="648" y="966"/>
                  </a:lnTo>
                  <a:lnTo>
                    <a:pt x="648" y="972"/>
                  </a:lnTo>
                  <a:lnTo>
                    <a:pt x="648" y="990"/>
                  </a:lnTo>
                  <a:lnTo>
                    <a:pt x="654" y="996"/>
                  </a:lnTo>
                  <a:lnTo>
                    <a:pt x="648" y="1002"/>
                  </a:lnTo>
                  <a:lnTo>
                    <a:pt x="648" y="1008"/>
                  </a:lnTo>
                  <a:lnTo>
                    <a:pt x="654" y="1014"/>
                  </a:lnTo>
                  <a:lnTo>
                    <a:pt x="654" y="1020"/>
                  </a:lnTo>
                  <a:lnTo>
                    <a:pt x="654" y="1026"/>
                  </a:lnTo>
                  <a:lnTo>
                    <a:pt x="660" y="1026"/>
                  </a:lnTo>
                  <a:lnTo>
                    <a:pt x="660" y="1032"/>
                  </a:lnTo>
                  <a:lnTo>
                    <a:pt x="660" y="1038"/>
                  </a:lnTo>
                  <a:lnTo>
                    <a:pt x="666" y="1044"/>
                  </a:lnTo>
                  <a:lnTo>
                    <a:pt x="672" y="1050"/>
                  </a:lnTo>
                  <a:lnTo>
                    <a:pt x="672" y="1056"/>
                  </a:lnTo>
                  <a:lnTo>
                    <a:pt x="672" y="1062"/>
                  </a:lnTo>
                  <a:lnTo>
                    <a:pt x="672" y="1068"/>
                  </a:lnTo>
                  <a:lnTo>
                    <a:pt x="672" y="1074"/>
                  </a:lnTo>
                  <a:lnTo>
                    <a:pt x="678" y="1074"/>
                  </a:lnTo>
                  <a:lnTo>
                    <a:pt x="678" y="1080"/>
                  </a:lnTo>
                  <a:lnTo>
                    <a:pt x="678" y="1086"/>
                  </a:lnTo>
                  <a:lnTo>
                    <a:pt x="672" y="1092"/>
                  </a:lnTo>
                  <a:lnTo>
                    <a:pt x="672" y="1098"/>
                  </a:lnTo>
                  <a:lnTo>
                    <a:pt x="672" y="1104"/>
                  </a:lnTo>
                  <a:lnTo>
                    <a:pt x="666" y="1116"/>
                  </a:lnTo>
                  <a:lnTo>
                    <a:pt x="624" y="1122"/>
                  </a:lnTo>
                  <a:lnTo>
                    <a:pt x="576" y="1134"/>
                  </a:lnTo>
                  <a:lnTo>
                    <a:pt x="570" y="1140"/>
                  </a:lnTo>
                  <a:lnTo>
                    <a:pt x="570" y="1146"/>
                  </a:lnTo>
                  <a:lnTo>
                    <a:pt x="564" y="1146"/>
                  </a:lnTo>
                  <a:lnTo>
                    <a:pt x="564" y="1152"/>
                  </a:lnTo>
                  <a:lnTo>
                    <a:pt x="564" y="1164"/>
                  </a:lnTo>
                  <a:lnTo>
                    <a:pt x="564" y="1170"/>
                  </a:lnTo>
                  <a:lnTo>
                    <a:pt x="564" y="1176"/>
                  </a:lnTo>
                  <a:lnTo>
                    <a:pt x="546" y="1176"/>
                  </a:lnTo>
                  <a:lnTo>
                    <a:pt x="540" y="1212"/>
                  </a:lnTo>
                  <a:lnTo>
                    <a:pt x="540" y="1230"/>
                  </a:lnTo>
                  <a:lnTo>
                    <a:pt x="546" y="1242"/>
                  </a:lnTo>
                  <a:lnTo>
                    <a:pt x="546" y="1254"/>
                  </a:lnTo>
                  <a:lnTo>
                    <a:pt x="558" y="1266"/>
                  </a:lnTo>
                  <a:lnTo>
                    <a:pt x="576" y="1272"/>
                  </a:lnTo>
                  <a:lnTo>
                    <a:pt x="570" y="1278"/>
                  </a:lnTo>
                  <a:lnTo>
                    <a:pt x="576" y="1284"/>
                  </a:lnTo>
                  <a:lnTo>
                    <a:pt x="570" y="1296"/>
                  </a:lnTo>
                  <a:lnTo>
                    <a:pt x="558" y="1302"/>
                  </a:lnTo>
                  <a:lnTo>
                    <a:pt x="540" y="1308"/>
                  </a:lnTo>
                  <a:lnTo>
                    <a:pt x="522" y="1314"/>
                  </a:lnTo>
                  <a:lnTo>
                    <a:pt x="516" y="1314"/>
                  </a:lnTo>
                  <a:lnTo>
                    <a:pt x="510" y="1314"/>
                  </a:lnTo>
                  <a:lnTo>
                    <a:pt x="504" y="1314"/>
                  </a:lnTo>
                  <a:lnTo>
                    <a:pt x="498" y="1320"/>
                  </a:lnTo>
                  <a:lnTo>
                    <a:pt x="492" y="1320"/>
                  </a:lnTo>
                  <a:lnTo>
                    <a:pt x="492" y="1326"/>
                  </a:lnTo>
                  <a:lnTo>
                    <a:pt x="486" y="1326"/>
                  </a:lnTo>
                  <a:lnTo>
                    <a:pt x="480" y="1326"/>
                  </a:lnTo>
                  <a:lnTo>
                    <a:pt x="480" y="1320"/>
                  </a:lnTo>
                  <a:lnTo>
                    <a:pt x="468" y="1314"/>
                  </a:lnTo>
                  <a:lnTo>
                    <a:pt x="462" y="1308"/>
                  </a:lnTo>
                  <a:lnTo>
                    <a:pt x="456" y="1302"/>
                  </a:lnTo>
                  <a:lnTo>
                    <a:pt x="444" y="1296"/>
                  </a:lnTo>
                  <a:lnTo>
                    <a:pt x="420" y="1290"/>
                  </a:lnTo>
                  <a:lnTo>
                    <a:pt x="414" y="1278"/>
                  </a:lnTo>
                  <a:lnTo>
                    <a:pt x="408" y="1278"/>
                  </a:lnTo>
                  <a:lnTo>
                    <a:pt x="408" y="1266"/>
                  </a:lnTo>
                  <a:lnTo>
                    <a:pt x="402" y="1260"/>
                  </a:lnTo>
                  <a:lnTo>
                    <a:pt x="384" y="1260"/>
                  </a:lnTo>
                  <a:lnTo>
                    <a:pt x="372" y="1266"/>
                  </a:lnTo>
                  <a:lnTo>
                    <a:pt x="360" y="1272"/>
                  </a:lnTo>
                  <a:lnTo>
                    <a:pt x="348" y="1272"/>
                  </a:lnTo>
                  <a:lnTo>
                    <a:pt x="342" y="1284"/>
                  </a:lnTo>
                  <a:lnTo>
                    <a:pt x="336" y="1290"/>
                  </a:lnTo>
                  <a:lnTo>
                    <a:pt x="336" y="1308"/>
                  </a:lnTo>
                  <a:lnTo>
                    <a:pt x="336" y="1314"/>
                  </a:lnTo>
                  <a:lnTo>
                    <a:pt x="336" y="1320"/>
                  </a:lnTo>
                  <a:lnTo>
                    <a:pt x="330" y="1326"/>
                  </a:lnTo>
                  <a:lnTo>
                    <a:pt x="330" y="1332"/>
                  </a:lnTo>
                  <a:lnTo>
                    <a:pt x="330" y="1338"/>
                  </a:lnTo>
                  <a:lnTo>
                    <a:pt x="300" y="1338"/>
                  </a:lnTo>
                  <a:lnTo>
                    <a:pt x="288" y="1338"/>
                  </a:lnTo>
                  <a:lnTo>
                    <a:pt x="258" y="1326"/>
                  </a:lnTo>
                  <a:lnTo>
                    <a:pt x="246" y="1332"/>
                  </a:lnTo>
                  <a:lnTo>
                    <a:pt x="240" y="1338"/>
                  </a:lnTo>
                  <a:lnTo>
                    <a:pt x="234" y="1338"/>
                  </a:lnTo>
                  <a:lnTo>
                    <a:pt x="228" y="1350"/>
                  </a:lnTo>
                  <a:lnTo>
                    <a:pt x="228" y="1374"/>
                  </a:lnTo>
                  <a:lnTo>
                    <a:pt x="234" y="1392"/>
                  </a:lnTo>
                  <a:lnTo>
                    <a:pt x="246" y="1398"/>
                  </a:lnTo>
                  <a:lnTo>
                    <a:pt x="246" y="1410"/>
                  </a:lnTo>
                  <a:lnTo>
                    <a:pt x="216" y="1428"/>
                  </a:lnTo>
                  <a:lnTo>
                    <a:pt x="198" y="1428"/>
                  </a:lnTo>
                  <a:lnTo>
                    <a:pt x="192" y="1422"/>
                  </a:lnTo>
                  <a:lnTo>
                    <a:pt x="174" y="1410"/>
                  </a:lnTo>
                  <a:lnTo>
                    <a:pt x="156" y="1386"/>
                  </a:lnTo>
                  <a:lnTo>
                    <a:pt x="132" y="1374"/>
                  </a:lnTo>
                  <a:lnTo>
                    <a:pt x="108" y="1368"/>
                  </a:lnTo>
                  <a:lnTo>
                    <a:pt x="84" y="1368"/>
                  </a:lnTo>
                  <a:lnTo>
                    <a:pt x="96" y="1356"/>
                  </a:lnTo>
                  <a:lnTo>
                    <a:pt x="102" y="1344"/>
                  </a:lnTo>
                  <a:lnTo>
                    <a:pt x="102" y="1332"/>
                  </a:lnTo>
                  <a:lnTo>
                    <a:pt x="108" y="1320"/>
                  </a:lnTo>
                  <a:lnTo>
                    <a:pt x="108" y="1302"/>
                  </a:lnTo>
                  <a:lnTo>
                    <a:pt x="96" y="1278"/>
                  </a:lnTo>
                  <a:lnTo>
                    <a:pt x="66" y="1284"/>
                  </a:lnTo>
                  <a:lnTo>
                    <a:pt x="54" y="1278"/>
                  </a:lnTo>
                  <a:lnTo>
                    <a:pt x="36" y="1278"/>
                  </a:lnTo>
                  <a:lnTo>
                    <a:pt x="18" y="1284"/>
                  </a:lnTo>
                  <a:lnTo>
                    <a:pt x="18" y="1272"/>
                  </a:lnTo>
                  <a:lnTo>
                    <a:pt x="24" y="1260"/>
                  </a:lnTo>
                  <a:lnTo>
                    <a:pt x="24" y="1254"/>
                  </a:lnTo>
                  <a:lnTo>
                    <a:pt x="30" y="1248"/>
                  </a:lnTo>
                  <a:lnTo>
                    <a:pt x="24" y="1230"/>
                  </a:lnTo>
                  <a:lnTo>
                    <a:pt x="30" y="1218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30" y="1170"/>
                  </a:lnTo>
                  <a:lnTo>
                    <a:pt x="30" y="1152"/>
                  </a:lnTo>
                  <a:lnTo>
                    <a:pt x="24" y="1146"/>
                  </a:lnTo>
                  <a:lnTo>
                    <a:pt x="0" y="1116"/>
                  </a:lnTo>
                  <a:lnTo>
                    <a:pt x="6" y="1092"/>
                  </a:lnTo>
                  <a:lnTo>
                    <a:pt x="18" y="1056"/>
                  </a:lnTo>
                  <a:lnTo>
                    <a:pt x="24" y="1050"/>
                  </a:lnTo>
                  <a:lnTo>
                    <a:pt x="24" y="1038"/>
                  </a:lnTo>
                  <a:lnTo>
                    <a:pt x="24" y="1026"/>
                  </a:lnTo>
                  <a:lnTo>
                    <a:pt x="30" y="1002"/>
                  </a:lnTo>
                  <a:lnTo>
                    <a:pt x="36" y="990"/>
                  </a:lnTo>
                  <a:lnTo>
                    <a:pt x="42" y="984"/>
                  </a:lnTo>
                  <a:lnTo>
                    <a:pt x="54" y="984"/>
                  </a:lnTo>
                  <a:lnTo>
                    <a:pt x="66" y="978"/>
                  </a:lnTo>
                  <a:lnTo>
                    <a:pt x="72" y="978"/>
                  </a:lnTo>
                  <a:lnTo>
                    <a:pt x="90" y="978"/>
                  </a:lnTo>
                  <a:lnTo>
                    <a:pt x="102" y="972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78"/>
                  </a:lnTo>
                  <a:lnTo>
                    <a:pt x="120" y="984"/>
                  </a:lnTo>
                  <a:lnTo>
                    <a:pt x="138" y="984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6" y="972"/>
                  </a:lnTo>
                  <a:lnTo>
                    <a:pt x="156" y="966"/>
                  </a:lnTo>
                  <a:lnTo>
                    <a:pt x="156" y="960"/>
                  </a:lnTo>
                  <a:lnTo>
                    <a:pt x="180" y="948"/>
                  </a:lnTo>
                  <a:lnTo>
                    <a:pt x="186" y="924"/>
                  </a:lnTo>
                  <a:lnTo>
                    <a:pt x="192" y="918"/>
                  </a:lnTo>
                  <a:lnTo>
                    <a:pt x="228" y="924"/>
                  </a:lnTo>
                  <a:lnTo>
                    <a:pt x="246" y="906"/>
                  </a:lnTo>
                  <a:lnTo>
                    <a:pt x="240" y="888"/>
                  </a:lnTo>
                  <a:lnTo>
                    <a:pt x="234" y="888"/>
                  </a:lnTo>
                  <a:lnTo>
                    <a:pt x="234" y="882"/>
                  </a:lnTo>
                  <a:lnTo>
                    <a:pt x="228" y="870"/>
                  </a:lnTo>
                  <a:lnTo>
                    <a:pt x="228" y="864"/>
                  </a:lnTo>
                  <a:lnTo>
                    <a:pt x="222" y="864"/>
                  </a:lnTo>
                  <a:lnTo>
                    <a:pt x="216" y="858"/>
                  </a:lnTo>
                  <a:lnTo>
                    <a:pt x="198" y="852"/>
                  </a:lnTo>
                  <a:lnTo>
                    <a:pt x="192" y="852"/>
                  </a:lnTo>
                  <a:lnTo>
                    <a:pt x="186" y="846"/>
                  </a:lnTo>
                  <a:lnTo>
                    <a:pt x="174" y="834"/>
                  </a:lnTo>
                  <a:lnTo>
                    <a:pt x="162" y="822"/>
                  </a:lnTo>
                  <a:lnTo>
                    <a:pt x="156" y="816"/>
                  </a:lnTo>
                  <a:lnTo>
                    <a:pt x="162" y="810"/>
                  </a:lnTo>
                  <a:lnTo>
                    <a:pt x="174" y="798"/>
                  </a:lnTo>
                  <a:lnTo>
                    <a:pt x="180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68"/>
                  </a:lnTo>
                  <a:lnTo>
                    <a:pt x="192" y="744"/>
                  </a:lnTo>
                  <a:lnTo>
                    <a:pt x="186" y="708"/>
                  </a:lnTo>
                  <a:lnTo>
                    <a:pt x="174" y="690"/>
                  </a:lnTo>
                  <a:lnTo>
                    <a:pt x="168" y="672"/>
                  </a:lnTo>
                  <a:lnTo>
                    <a:pt x="156" y="630"/>
                  </a:lnTo>
                  <a:lnTo>
                    <a:pt x="156" y="606"/>
                  </a:lnTo>
                  <a:lnTo>
                    <a:pt x="150" y="606"/>
                  </a:lnTo>
                  <a:lnTo>
                    <a:pt x="150" y="600"/>
                  </a:lnTo>
                  <a:lnTo>
                    <a:pt x="144" y="600"/>
                  </a:lnTo>
                  <a:lnTo>
                    <a:pt x="150" y="594"/>
                  </a:lnTo>
                  <a:lnTo>
                    <a:pt x="144" y="588"/>
                  </a:lnTo>
                  <a:lnTo>
                    <a:pt x="138" y="558"/>
                  </a:lnTo>
                  <a:lnTo>
                    <a:pt x="138" y="528"/>
                  </a:lnTo>
                  <a:lnTo>
                    <a:pt x="132" y="480"/>
                  </a:lnTo>
                  <a:lnTo>
                    <a:pt x="132" y="462"/>
                  </a:lnTo>
                  <a:lnTo>
                    <a:pt x="126" y="426"/>
                  </a:lnTo>
                  <a:lnTo>
                    <a:pt x="126" y="396"/>
                  </a:lnTo>
                  <a:lnTo>
                    <a:pt x="126" y="378"/>
                  </a:lnTo>
                  <a:lnTo>
                    <a:pt x="126" y="360"/>
                  </a:lnTo>
                  <a:lnTo>
                    <a:pt x="132" y="318"/>
                  </a:lnTo>
                  <a:lnTo>
                    <a:pt x="132" y="24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2" y="210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92" y="198"/>
                  </a:lnTo>
                  <a:lnTo>
                    <a:pt x="198" y="198"/>
                  </a:lnTo>
                  <a:lnTo>
                    <a:pt x="216" y="180"/>
                  </a:lnTo>
                  <a:lnTo>
                    <a:pt x="222" y="174"/>
                  </a:lnTo>
                  <a:lnTo>
                    <a:pt x="222" y="168"/>
                  </a:lnTo>
                  <a:lnTo>
                    <a:pt x="228" y="168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44"/>
                  </a:lnTo>
                  <a:lnTo>
                    <a:pt x="258" y="144"/>
                  </a:lnTo>
                  <a:lnTo>
                    <a:pt x="276" y="150"/>
                  </a:lnTo>
                  <a:lnTo>
                    <a:pt x="300" y="150"/>
                  </a:lnTo>
                  <a:lnTo>
                    <a:pt x="312" y="150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8" y="156"/>
                  </a:lnTo>
                  <a:lnTo>
                    <a:pt x="354" y="150"/>
                  </a:lnTo>
                  <a:lnTo>
                    <a:pt x="372" y="144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08" y="126"/>
                  </a:lnTo>
                  <a:lnTo>
                    <a:pt x="414" y="120"/>
                  </a:lnTo>
                  <a:lnTo>
                    <a:pt x="420" y="120"/>
                  </a:lnTo>
                  <a:lnTo>
                    <a:pt x="426" y="120"/>
                  </a:lnTo>
                  <a:lnTo>
                    <a:pt x="432" y="114"/>
                  </a:lnTo>
                  <a:lnTo>
                    <a:pt x="450" y="102"/>
                  </a:lnTo>
                  <a:lnTo>
                    <a:pt x="456" y="96"/>
                  </a:lnTo>
                  <a:lnTo>
                    <a:pt x="468" y="90"/>
                  </a:lnTo>
                  <a:lnTo>
                    <a:pt x="474" y="90"/>
                  </a:lnTo>
                  <a:lnTo>
                    <a:pt x="480" y="84"/>
                  </a:lnTo>
                  <a:lnTo>
                    <a:pt x="486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504" y="72"/>
                  </a:lnTo>
                  <a:lnTo>
                    <a:pt x="510" y="66"/>
                  </a:lnTo>
                  <a:lnTo>
                    <a:pt x="516" y="66"/>
                  </a:lnTo>
                  <a:lnTo>
                    <a:pt x="522" y="60"/>
                  </a:lnTo>
                  <a:lnTo>
                    <a:pt x="552" y="42"/>
                  </a:lnTo>
                  <a:lnTo>
                    <a:pt x="558" y="36"/>
                  </a:lnTo>
                  <a:lnTo>
                    <a:pt x="576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94" y="18"/>
                  </a:lnTo>
                  <a:lnTo>
                    <a:pt x="600" y="12"/>
                  </a:lnTo>
                  <a:lnTo>
                    <a:pt x="612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6"/>
                  </a:lnTo>
                  <a:lnTo>
                    <a:pt x="648" y="6"/>
                  </a:lnTo>
                  <a:lnTo>
                    <a:pt x="660" y="6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38" y="18"/>
                  </a:lnTo>
                  <a:lnTo>
                    <a:pt x="744" y="18"/>
                  </a:lnTo>
                  <a:lnTo>
                    <a:pt x="756" y="18"/>
                  </a:lnTo>
                  <a:lnTo>
                    <a:pt x="762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80" y="24"/>
                  </a:lnTo>
                  <a:lnTo>
                    <a:pt x="792" y="24"/>
                  </a:lnTo>
                  <a:lnTo>
                    <a:pt x="792" y="30"/>
                  </a:lnTo>
                  <a:lnTo>
                    <a:pt x="810" y="30"/>
                  </a:lnTo>
                  <a:lnTo>
                    <a:pt x="822" y="36"/>
                  </a:lnTo>
                  <a:lnTo>
                    <a:pt x="834" y="42"/>
                  </a:lnTo>
                  <a:lnTo>
                    <a:pt x="840" y="48"/>
                  </a:lnTo>
                  <a:lnTo>
                    <a:pt x="846" y="54"/>
                  </a:lnTo>
                  <a:lnTo>
                    <a:pt x="852" y="60"/>
                  </a:lnTo>
                  <a:lnTo>
                    <a:pt x="858" y="66"/>
                  </a:lnTo>
                  <a:lnTo>
                    <a:pt x="864" y="66"/>
                  </a:lnTo>
                  <a:lnTo>
                    <a:pt x="864" y="72"/>
                  </a:lnTo>
                  <a:lnTo>
                    <a:pt x="876" y="78"/>
                  </a:lnTo>
                  <a:lnTo>
                    <a:pt x="900" y="84"/>
                  </a:lnTo>
                  <a:lnTo>
                    <a:pt x="906" y="90"/>
                  </a:lnTo>
                  <a:lnTo>
                    <a:pt x="912" y="90"/>
                  </a:lnTo>
                  <a:lnTo>
                    <a:pt x="912" y="96"/>
                  </a:lnTo>
                  <a:lnTo>
                    <a:pt x="924" y="108"/>
                  </a:lnTo>
                  <a:lnTo>
                    <a:pt x="930" y="108"/>
                  </a:lnTo>
                  <a:lnTo>
                    <a:pt x="936" y="114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60" y="138"/>
                  </a:lnTo>
                  <a:lnTo>
                    <a:pt x="966" y="144"/>
                  </a:lnTo>
                  <a:lnTo>
                    <a:pt x="972" y="156"/>
                  </a:lnTo>
                  <a:lnTo>
                    <a:pt x="978" y="162"/>
                  </a:lnTo>
                  <a:lnTo>
                    <a:pt x="984" y="162"/>
                  </a:lnTo>
                  <a:lnTo>
                    <a:pt x="990" y="168"/>
                  </a:lnTo>
                  <a:lnTo>
                    <a:pt x="996" y="174"/>
                  </a:lnTo>
                  <a:lnTo>
                    <a:pt x="1002" y="180"/>
                  </a:lnTo>
                  <a:lnTo>
                    <a:pt x="1008" y="180"/>
                  </a:lnTo>
                  <a:lnTo>
                    <a:pt x="1020" y="180"/>
                  </a:lnTo>
                  <a:lnTo>
                    <a:pt x="1038" y="174"/>
                  </a:lnTo>
                  <a:lnTo>
                    <a:pt x="1050" y="174"/>
                  </a:lnTo>
                  <a:lnTo>
                    <a:pt x="1056" y="174"/>
                  </a:lnTo>
                  <a:lnTo>
                    <a:pt x="1068" y="180"/>
                  </a:lnTo>
                  <a:lnTo>
                    <a:pt x="1080" y="180"/>
                  </a:lnTo>
                  <a:lnTo>
                    <a:pt x="1086" y="186"/>
                  </a:lnTo>
                  <a:lnTo>
                    <a:pt x="1098" y="192"/>
                  </a:lnTo>
                  <a:lnTo>
                    <a:pt x="1116" y="204"/>
                  </a:lnTo>
                  <a:lnTo>
                    <a:pt x="1122" y="210"/>
                  </a:lnTo>
                  <a:lnTo>
                    <a:pt x="1134" y="222"/>
                  </a:lnTo>
                  <a:lnTo>
                    <a:pt x="1146" y="234"/>
                  </a:lnTo>
                  <a:lnTo>
                    <a:pt x="1146" y="240"/>
                  </a:lnTo>
                  <a:lnTo>
                    <a:pt x="1152" y="246"/>
                  </a:lnTo>
                  <a:lnTo>
                    <a:pt x="1152" y="252"/>
                  </a:lnTo>
                  <a:lnTo>
                    <a:pt x="1152" y="258"/>
                  </a:lnTo>
                  <a:lnTo>
                    <a:pt x="1164" y="258"/>
                  </a:lnTo>
                  <a:lnTo>
                    <a:pt x="1170" y="264"/>
                  </a:lnTo>
                  <a:lnTo>
                    <a:pt x="1182" y="270"/>
                  </a:lnTo>
                  <a:lnTo>
                    <a:pt x="1188" y="270"/>
                  </a:lnTo>
                  <a:lnTo>
                    <a:pt x="1194" y="270"/>
                  </a:lnTo>
                  <a:lnTo>
                    <a:pt x="1206" y="276"/>
                  </a:lnTo>
                  <a:lnTo>
                    <a:pt x="1224" y="282"/>
                  </a:lnTo>
                  <a:lnTo>
                    <a:pt x="1236" y="282"/>
                  </a:lnTo>
                  <a:lnTo>
                    <a:pt x="1242" y="288"/>
                  </a:lnTo>
                  <a:lnTo>
                    <a:pt x="1254" y="288"/>
                  </a:lnTo>
                  <a:lnTo>
                    <a:pt x="1266" y="294"/>
                  </a:lnTo>
                  <a:lnTo>
                    <a:pt x="1272" y="294"/>
                  </a:lnTo>
                  <a:lnTo>
                    <a:pt x="1284" y="300"/>
                  </a:lnTo>
                  <a:lnTo>
                    <a:pt x="1290" y="300"/>
                  </a:lnTo>
                  <a:lnTo>
                    <a:pt x="1296" y="300"/>
                  </a:lnTo>
                  <a:lnTo>
                    <a:pt x="1302" y="306"/>
                  </a:lnTo>
                  <a:lnTo>
                    <a:pt x="1326" y="312"/>
                  </a:lnTo>
                  <a:lnTo>
                    <a:pt x="1338" y="312"/>
                  </a:lnTo>
                  <a:lnTo>
                    <a:pt x="1338" y="318"/>
                  </a:lnTo>
                  <a:lnTo>
                    <a:pt x="1344" y="318"/>
                  </a:lnTo>
                  <a:lnTo>
                    <a:pt x="1350" y="318"/>
                  </a:lnTo>
                  <a:lnTo>
                    <a:pt x="1362" y="324"/>
                  </a:lnTo>
                  <a:lnTo>
                    <a:pt x="1368" y="318"/>
                  </a:lnTo>
                  <a:lnTo>
                    <a:pt x="1374" y="318"/>
                  </a:lnTo>
                  <a:lnTo>
                    <a:pt x="1386" y="318"/>
                  </a:lnTo>
                  <a:lnTo>
                    <a:pt x="1398" y="324"/>
                  </a:lnTo>
                  <a:lnTo>
                    <a:pt x="1398" y="342"/>
                  </a:lnTo>
                  <a:lnTo>
                    <a:pt x="1356" y="342"/>
                  </a:lnTo>
                  <a:lnTo>
                    <a:pt x="1350" y="348"/>
                  </a:lnTo>
                  <a:lnTo>
                    <a:pt x="1350" y="372"/>
                  </a:lnTo>
                  <a:lnTo>
                    <a:pt x="1338" y="384"/>
                  </a:lnTo>
                  <a:lnTo>
                    <a:pt x="1332" y="408"/>
                  </a:lnTo>
                  <a:lnTo>
                    <a:pt x="1320" y="420"/>
                  </a:lnTo>
                  <a:lnTo>
                    <a:pt x="1254" y="426"/>
                  </a:lnTo>
                  <a:lnTo>
                    <a:pt x="1248" y="432"/>
                  </a:lnTo>
                  <a:lnTo>
                    <a:pt x="1230" y="432"/>
                  </a:lnTo>
                  <a:lnTo>
                    <a:pt x="1212" y="432"/>
                  </a:lnTo>
                  <a:lnTo>
                    <a:pt x="1212" y="426"/>
                  </a:lnTo>
                  <a:lnTo>
                    <a:pt x="1200" y="426"/>
                  </a:lnTo>
                  <a:lnTo>
                    <a:pt x="1182" y="414"/>
                  </a:lnTo>
                  <a:lnTo>
                    <a:pt x="1182" y="420"/>
                  </a:lnTo>
                  <a:lnTo>
                    <a:pt x="1164" y="420"/>
                  </a:lnTo>
                  <a:lnTo>
                    <a:pt x="1158" y="414"/>
                  </a:lnTo>
                  <a:lnTo>
                    <a:pt x="1152" y="408"/>
                  </a:lnTo>
                  <a:lnTo>
                    <a:pt x="1146" y="402"/>
                  </a:lnTo>
                  <a:lnTo>
                    <a:pt x="1122" y="396"/>
                  </a:lnTo>
                  <a:lnTo>
                    <a:pt x="1116" y="366"/>
                  </a:lnTo>
                  <a:lnTo>
                    <a:pt x="1116" y="348"/>
                  </a:lnTo>
                  <a:lnTo>
                    <a:pt x="1110" y="342"/>
                  </a:lnTo>
                  <a:lnTo>
                    <a:pt x="1104" y="336"/>
                  </a:lnTo>
                  <a:lnTo>
                    <a:pt x="1092" y="330"/>
                  </a:lnTo>
                  <a:lnTo>
                    <a:pt x="1074" y="330"/>
                  </a:lnTo>
                  <a:lnTo>
                    <a:pt x="1044" y="330"/>
                  </a:lnTo>
                  <a:lnTo>
                    <a:pt x="1014" y="336"/>
                  </a:lnTo>
                  <a:lnTo>
                    <a:pt x="984" y="342"/>
                  </a:lnTo>
                  <a:lnTo>
                    <a:pt x="978" y="330"/>
                  </a:lnTo>
                  <a:lnTo>
                    <a:pt x="966" y="324"/>
                  </a:lnTo>
                  <a:lnTo>
                    <a:pt x="888" y="336"/>
                  </a:lnTo>
                  <a:lnTo>
                    <a:pt x="888" y="330"/>
                  </a:lnTo>
                  <a:lnTo>
                    <a:pt x="870" y="336"/>
                  </a:lnTo>
                  <a:lnTo>
                    <a:pt x="858" y="336"/>
                  </a:lnTo>
                  <a:lnTo>
                    <a:pt x="852" y="354"/>
                  </a:lnTo>
                  <a:lnTo>
                    <a:pt x="852" y="402"/>
                  </a:lnTo>
                  <a:lnTo>
                    <a:pt x="840" y="414"/>
                  </a:lnTo>
                  <a:lnTo>
                    <a:pt x="834" y="420"/>
                  </a:lnTo>
                  <a:lnTo>
                    <a:pt x="834" y="444"/>
                  </a:lnTo>
                  <a:lnTo>
                    <a:pt x="834" y="450"/>
                  </a:lnTo>
                  <a:lnTo>
                    <a:pt x="852" y="456"/>
                  </a:lnTo>
                  <a:lnTo>
                    <a:pt x="864" y="462"/>
                  </a:lnTo>
                  <a:lnTo>
                    <a:pt x="894" y="456"/>
                  </a:lnTo>
                  <a:lnTo>
                    <a:pt x="900" y="468"/>
                  </a:lnTo>
                  <a:lnTo>
                    <a:pt x="918" y="462"/>
                  </a:lnTo>
                  <a:lnTo>
                    <a:pt x="924" y="468"/>
                  </a:lnTo>
                  <a:lnTo>
                    <a:pt x="924" y="47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2" name="Freeform 37">
              <a:extLst>
                <a:ext uri="{FF2B5EF4-FFF2-40B4-BE49-F238E27FC236}">
                  <a16:creationId xmlns:a16="http://schemas.microsoft.com/office/drawing/2014/main" id="{DED8A1FF-B656-4D37-BD26-5B0A7B1A4A6D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441" y="1898343"/>
              <a:ext cx="567992" cy="686605"/>
            </a:xfrm>
            <a:custGeom>
              <a:avLst/>
              <a:gdLst>
                <a:gd name="T0" fmla="*/ 79 w 1068"/>
                <a:gd name="T1" fmla="*/ 72 h 1290"/>
                <a:gd name="T2" fmla="*/ 75 w 1068"/>
                <a:gd name="T3" fmla="*/ 73 h 1290"/>
                <a:gd name="T4" fmla="*/ 72 w 1068"/>
                <a:gd name="T5" fmla="*/ 76 h 1290"/>
                <a:gd name="T6" fmla="*/ 70 w 1068"/>
                <a:gd name="T7" fmla="*/ 78 h 1290"/>
                <a:gd name="T8" fmla="*/ 67 w 1068"/>
                <a:gd name="T9" fmla="*/ 82 h 1290"/>
                <a:gd name="T10" fmla="*/ 61 w 1068"/>
                <a:gd name="T11" fmla="*/ 86 h 1290"/>
                <a:gd name="T12" fmla="*/ 60 w 1068"/>
                <a:gd name="T13" fmla="*/ 93 h 1290"/>
                <a:gd name="T14" fmla="*/ 59 w 1068"/>
                <a:gd name="T15" fmla="*/ 97 h 1290"/>
                <a:gd name="T16" fmla="*/ 61 w 1068"/>
                <a:gd name="T17" fmla="*/ 101 h 1290"/>
                <a:gd name="T18" fmla="*/ 63 w 1068"/>
                <a:gd name="T19" fmla="*/ 104 h 1290"/>
                <a:gd name="T20" fmla="*/ 62 w 1068"/>
                <a:gd name="T21" fmla="*/ 108 h 1290"/>
                <a:gd name="T22" fmla="*/ 60 w 1068"/>
                <a:gd name="T23" fmla="*/ 111 h 1290"/>
                <a:gd name="T24" fmla="*/ 56 w 1068"/>
                <a:gd name="T25" fmla="*/ 111 h 1290"/>
                <a:gd name="T26" fmla="*/ 53 w 1068"/>
                <a:gd name="T27" fmla="*/ 110 h 1290"/>
                <a:gd name="T28" fmla="*/ 50 w 1068"/>
                <a:gd name="T29" fmla="*/ 109 h 1290"/>
                <a:gd name="T30" fmla="*/ 47 w 1068"/>
                <a:gd name="T31" fmla="*/ 110 h 1290"/>
                <a:gd name="T32" fmla="*/ 51 w 1068"/>
                <a:gd name="T33" fmla="*/ 104 h 1290"/>
                <a:gd name="T34" fmla="*/ 50 w 1068"/>
                <a:gd name="T35" fmla="*/ 95 h 1290"/>
                <a:gd name="T36" fmla="*/ 51 w 1068"/>
                <a:gd name="T37" fmla="*/ 90 h 1290"/>
                <a:gd name="T38" fmla="*/ 47 w 1068"/>
                <a:gd name="T39" fmla="*/ 84 h 1290"/>
                <a:gd name="T40" fmla="*/ 42 w 1068"/>
                <a:gd name="T41" fmla="*/ 78 h 1290"/>
                <a:gd name="T42" fmla="*/ 33 w 1068"/>
                <a:gd name="T43" fmla="*/ 73 h 1290"/>
                <a:gd name="T44" fmla="*/ 26 w 1068"/>
                <a:gd name="T45" fmla="*/ 68 h 1290"/>
                <a:gd name="T46" fmla="*/ 22 w 1068"/>
                <a:gd name="T47" fmla="*/ 63 h 1290"/>
                <a:gd name="T48" fmla="*/ 11 w 1068"/>
                <a:gd name="T49" fmla="*/ 67 h 1290"/>
                <a:gd name="T50" fmla="*/ 0 w 1068"/>
                <a:gd name="T51" fmla="*/ 68 h 1290"/>
                <a:gd name="T52" fmla="*/ 2 w 1068"/>
                <a:gd name="T53" fmla="*/ 59 h 1290"/>
                <a:gd name="T54" fmla="*/ 12 w 1068"/>
                <a:gd name="T55" fmla="*/ 55 h 1290"/>
                <a:gd name="T56" fmla="*/ 12 w 1068"/>
                <a:gd name="T57" fmla="*/ 51 h 1290"/>
                <a:gd name="T58" fmla="*/ 10 w 1068"/>
                <a:gd name="T59" fmla="*/ 47 h 1290"/>
                <a:gd name="T60" fmla="*/ 9 w 1068"/>
                <a:gd name="T61" fmla="*/ 42 h 1290"/>
                <a:gd name="T62" fmla="*/ 8 w 1068"/>
                <a:gd name="T63" fmla="*/ 38 h 1290"/>
                <a:gd name="T64" fmla="*/ 8 w 1068"/>
                <a:gd name="T65" fmla="*/ 29 h 1290"/>
                <a:gd name="T66" fmla="*/ 10 w 1068"/>
                <a:gd name="T67" fmla="*/ 18 h 1290"/>
                <a:gd name="T68" fmla="*/ 25 w 1068"/>
                <a:gd name="T69" fmla="*/ 12 h 1290"/>
                <a:gd name="T70" fmla="*/ 27 w 1068"/>
                <a:gd name="T71" fmla="*/ 4 h 1290"/>
                <a:gd name="T72" fmla="*/ 35 w 1068"/>
                <a:gd name="T73" fmla="*/ 6 h 1290"/>
                <a:gd name="T74" fmla="*/ 39 w 1068"/>
                <a:gd name="T75" fmla="*/ 8 h 1290"/>
                <a:gd name="T76" fmla="*/ 41 w 1068"/>
                <a:gd name="T77" fmla="*/ 3 h 1290"/>
                <a:gd name="T78" fmla="*/ 45 w 1068"/>
                <a:gd name="T79" fmla="*/ 0 h 1290"/>
                <a:gd name="T80" fmla="*/ 51 w 1068"/>
                <a:gd name="T81" fmla="*/ 0 h 1290"/>
                <a:gd name="T82" fmla="*/ 56 w 1068"/>
                <a:gd name="T83" fmla="*/ 4 h 1290"/>
                <a:gd name="T84" fmla="*/ 62 w 1068"/>
                <a:gd name="T85" fmla="*/ 12 h 1290"/>
                <a:gd name="T86" fmla="*/ 58 w 1068"/>
                <a:gd name="T87" fmla="*/ 17 h 1290"/>
                <a:gd name="T88" fmla="*/ 60 w 1068"/>
                <a:gd name="T89" fmla="*/ 18 h 1290"/>
                <a:gd name="T90" fmla="*/ 64 w 1068"/>
                <a:gd name="T91" fmla="*/ 16 h 1290"/>
                <a:gd name="T92" fmla="*/ 68 w 1068"/>
                <a:gd name="T93" fmla="*/ 18 h 1290"/>
                <a:gd name="T94" fmla="*/ 71 w 1068"/>
                <a:gd name="T95" fmla="*/ 27 h 1290"/>
                <a:gd name="T96" fmla="*/ 74 w 1068"/>
                <a:gd name="T97" fmla="*/ 30 h 1290"/>
                <a:gd name="T98" fmla="*/ 82 w 1068"/>
                <a:gd name="T99" fmla="*/ 30 h 1290"/>
                <a:gd name="T100" fmla="*/ 87 w 1068"/>
                <a:gd name="T101" fmla="*/ 35 h 1290"/>
                <a:gd name="T102" fmla="*/ 85 w 1068"/>
                <a:gd name="T103" fmla="*/ 42 h 1290"/>
                <a:gd name="T104" fmla="*/ 81 w 1068"/>
                <a:gd name="T105" fmla="*/ 46 h 1290"/>
                <a:gd name="T106" fmla="*/ 86 w 1068"/>
                <a:gd name="T107" fmla="*/ 50 h 1290"/>
                <a:gd name="T108" fmla="*/ 89 w 1068"/>
                <a:gd name="T109" fmla="*/ 58 h 1290"/>
                <a:gd name="T110" fmla="*/ 92 w 1068"/>
                <a:gd name="T111" fmla="*/ 61 h 1290"/>
                <a:gd name="T112" fmla="*/ 86 w 1068"/>
                <a:gd name="T113" fmla="*/ 66 h 1290"/>
                <a:gd name="T114" fmla="*/ 85 w 1068"/>
                <a:gd name="T115" fmla="*/ 70 h 129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68"/>
                <a:gd name="T175" fmla="*/ 0 h 1290"/>
                <a:gd name="T176" fmla="*/ 1068 w 1068"/>
                <a:gd name="T177" fmla="*/ 1290 h 129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68" h="1290">
                  <a:moveTo>
                    <a:pt x="978" y="804"/>
                  </a:moveTo>
                  <a:lnTo>
                    <a:pt x="972" y="810"/>
                  </a:lnTo>
                  <a:lnTo>
                    <a:pt x="966" y="810"/>
                  </a:lnTo>
                  <a:lnTo>
                    <a:pt x="966" y="816"/>
                  </a:lnTo>
                  <a:lnTo>
                    <a:pt x="936" y="828"/>
                  </a:lnTo>
                  <a:lnTo>
                    <a:pt x="924" y="822"/>
                  </a:lnTo>
                  <a:lnTo>
                    <a:pt x="912" y="822"/>
                  </a:lnTo>
                  <a:lnTo>
                    <a:pt x="906" y="828"/>
                  </a:lnTo>
                  <a:lnTo>
                    <a:pt x="900" y="828"/>
                  </a:lnTo>
                  <a:lnTo>
                    <a:pt x="900" y="822"/>
                  </a:lnTo>
                  <a:lnTo>
                    <a:pt x="894" y="822"/>
                  </a:lnTo>
                  <a:lnTo>
                    <a:pt x="888" y="828"/>
                  </a:lnTo>
                  <a:lnTo>
                    <a:pt x="882" y="834"/>
                  </a:lnTo>
                  <a:lnTo>
                    <a:pt x="876" y="834"/>
                  </a:lnTo>
                  <a:lnTo>
                    <a:pt x="870" y="840"/>
                  </a:lnTo>
                  <a:lnTo>
                    <a:pt x="864" y="840"/>
                  </a:lnTo>
                  <a:lnTo>
                    <a:pt x="864" y="846"/>
                  </a:lnTo>
                  <a:lnTo>
                    <a:pt x="858" y="846"/>
                  </a:lnTo>
                  <a:lnTo>
                    <a:pt x="852" y="846"/>
                  </a:lnTo>
                  <a:lnTo>
                    <a:pt x="852" y="858"/>
                  </a:lnTo>
                  <a:lnTo>
                    <a:pt x="846" y="864"/>
                  </a:lnTo>
                  <a:lnTo>
                    <a:pt x="840" y="870"/>
                  </a:lnTo>
                  <a:lnTo>
                    <a:pt x="834" y="870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34" y="876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10" y="894"/>
                  </a:lnTo>
                  <a:lnTo>
                    <a:pt x="810" y="900"/>
                  </a:lnTo>
                  <a:lnTo>
                    <a:pt x="804" y="900"/>
                  </a:lnTo>
                  <a:lnTo>
                    <a:pt x="798" y="900"/>
                  </a:lnTo>
                  <a:lnTo>
                    <a:pt x="798" y="906"/>
                  </a:lnTo>
                  <a:lnTo>
                    <a:pt x="792" y="906"/>
                  </a:lnTo>
                  <a:lnTo>
                    <a:pt x="792" y="912"/>
                  </a:lnTo>
                  <a:lnTo>
                    <a:pt x="792" y="924"/>
                  </a:lnTo>
                  <a:lnTo>
                    <a:pt x="786" y="930"/>
                  </a:lnTo>
                  <a:lnTo>
                    <a:pt x="774" y="942"/>
                  </a:lnTo>
                  <a:lnTo>
                    <a:pt x="774" y="948"/>
                  </a:lnTo>
                  <a:lnTo>
                    <a:pt x="768" y="954"/>
                  </a:lnTo>
                  <a:lnTo>
                    <a:pt x="762" y="954"/>
                  </a:lnTo>
                  <a:lnTo>
                    <a:pt x="750" y="972"/>
                  </a:lnTo>
                  <a:lnTo>
                    <a:pt x="720" y="978"/>
                  </a:lnTo>
                  <a:lnTo>
                    <a:pt x="714" y="978"/>
                  </a:lnTo>
                  <a:lnTo>
                    <a:pt x="708" y="978"/>
                  </a:lnTo>
                  <a:lnTo>
                    <a:pt x="702" y="990"/>
                  </a:lnTo>
                  <a:lnTo>
                    <a:pt x="696" y="990"/>
                  </a:lnTo>
                  <a:lnTo>
                    <a:pt x="696" y="1008"/>
                  </a:lnTo>
                  <a:lnTo>
                    <a:pt x="690" y="1008"/>
                  </a:lnTo>
                  <a:lnTo>
                    <a:pt x="690" y="1014"/>
                  </a:lnTo>
                  <a:lnTo>
                    <a:pt x="684" y="1032"/>
                  </a:lnTo>
                  <a:lnTo>
                    <a:pt x="690" y="1050"/>
                  </a:lnTo>
                  <a:lnTo>
                    <a:pt x="690" y="1062"/>
                  </a:lnTo>
                  <a:lnTo>
                    <a:pt x="690" y="1068"/>
                  </a:lnTo>
                  <a:lnTo>
                    <a:pt x="690" y="1074"/>
                  </a:lnTo>
                  <a:lnTo>
                    <a:pt x="684" y="1074"/>
                  </a:lnTo>
                  <a:lnTo>
                    <a:pt x="684" y="1080"/>
                  </a:lnTo>
                  <a:lnTo>
                    <a:pt x="678" y="1086"/>
                  </a:lnTo>
                  <a:lnTo>
                    <a:pt x="678" y="1104"/>
                  </a:lnTo>
                  <a:lnTo>
                    <a:pt x="678" y="1110"/>
                  </a:lnTo>
                  <a:lnTo>
                    <a:pt x="678" y="1116"/>
                  </a:lnTo>
                  <a:lnTo>
                    <a:pt x="684" y="1116"/>
                  </a:lnTo>
                  <a:lnTo>
                    <a:pt x="678" y="1128"/>
                  </a:lnTo>
                  <a:lnTo>
                    <a:pt x="684" y="1128"/>
                  </a:lnTo>
                  <a:lnTo>
                    <a:pt x="690" y="1134"/>
                  </a:lnTo>
                  <a:lnTo>
                    <a:pt x="690" y="1140"/>
                  </a:lnTo>
                  <a:lnTo>
                    <a:pt x="696" y="1140"/>
                  </a:lnTo>
                  <a:lnTo>
                    <a:pt x="696" y="1146"/>
                  </a:lnTo>
                  <a:lnTo>
                    <a:pt x="696" y="1152"/>
                  </a:lnTo>
                  <a:lnTo>
                    <a:pt x="702" y="1152"/>
                  </a:lnTo>
                  <a:lnTo>
                    <a:pt x="708" y="1152"/>
                  </a:lnTo>
                  <a:lnTo>
                    <a:pt x="714" y="1158"/>
                  </a:lnTo>
                  <a:lnTo>
                    <a:pt x="714" y="1164"/>
                  </a:lnTo>
                  <a:lnTo>
                    <a:pt x="720" y="1170"/>
                  </a:lnTo>
                  <a:lnTo>
                    <a:pt x="720" y="1176"/>
                  </a:lnTo>
                  <a:lnTo>
                    <a:pt x="720" y="1182"/>
                  </a:lnTo>
                  <a:lnTo>
                    <a:pt x="726" y="1188"/>
                  </a:lnTo>
                  <a:lnTo>
                    <a:pt x="726" y="1194"/>
                  </a:lnTo>
                  <a:lnTo>
                    <a:pt x="732" y="1194"/>
                  </a:lnTo>
                  <a:lnTo>
                    <a:pt x="732" y="1200"/>
                  </a:lnTo>
                  <a:lnTo>
                    <a:pt x="738" y="1212"/>
                  </a:lnTo>
                  <a:lnTo>
                    <a:pt x="732" y="1218"/>
                  </a:lnTo>
                  <a:lnTo>
                    <a:pt x="732" y="1224"/>
                  </a:lnTo>
                  <a:lnTo>
                    <a:pt x="726" y="1230"/>
                  </a:lnTo>
                  <a:lnTo>
                    <a:pt x="720" y="1230"/>
                  </a:lnTo>
                  <a:lnTo>
                    <a:pt x="720" y="1236"/>
                  </a:lnTo>
                  <a:lnTo>
                    <a:pt x="720" y="1242"/>
                  </a:lnTo>
                  <a:lnTo>
                    <a:pt x="720" y="1248"/>
                  </a:lnTo>
                  <a:lnTo>
                    <a:pt x="714" y="1248"/>
                  </a:lnTo>
                  <a:lnTo>
                    <a:pt x="714" y="1254"/>
                  </a:lnTo>
                  <a:lnTo>
                    <a:pt x="708" y="1260"/>
                  </a:lnTo>
                  <a:lnTo>
                    <a:pt x="702" y="1272"/>
                  </a:lnTo>
                  <a:lnTo>
                    <a:pt x="696" y="1272"/>
                  </a:lnTo>
                  <a:lnTo>
                    <a:pt x="696" y="1278"/>
                  </a:lnTo>
                  <a:lnTo>
                    <a:pt x="690" y="1284"/>
                  </a:lnTo>
                  <a:lnTo>
                    <a:pt x="690" y="1290"/>
                  </a:lnTo>
                  <a:lnTo>
                    <a:pt x="684" y="1290"/>
                  </a:lnTo>
                  <a:lnTo>
                    <a:pt x="660" y="1284"/>
                  </a:lnTo>
                  <a:lnTo>
                    <a:pt x="660" y="1278"/>
                  </a:lnTo>
                  <a:lnTo>
                    <a:pt x="654" y="1272"/>
                  </a:lnTo>
                  <a:lnTo>
                    <a:pt x="648" y="1272"/>
                  </a:lnTo>
                  <a:lnTo>
                    <a:pt x="642" y="1272"/>
                  </a:lnTo>
                  <a:lnTo>
                    <a:pt x="642" y="1266"/>
                  </a:lnTo>
                  <a:lnTo>
                    <a:pt x="636" y="1266"/>
                  </a:lnTo>
                  <a:lnTo>
                    <a:pt x="630" y="1266"/>
                  </a:lnTo>
                  <a:lnTo>
                    <a:pt x="624" y="1266"/>
                  </a:lnTo>
                  <a:lnTo>
                    <a:pt x="624" y="1260"/>
                  </a:lnTo>
                  <a:lnTo>
                    <a:pt x="618" y="1260"/>
                  </a:lnTo>
                  <a:lnTo>
                    <a:pt x="612" y="1260"/>
                  </a:lnTo>
                  <a:lnTo>
                    <a:pt x="606" y="1260"/>
                  </a:lnTo>
                  <a:lnTo>
                    <a:pt x="600" y="1260"/>
                  </a:lnTo>
                  <a:lnTo>
                    <a:pt x="600" y="1254"/>
                  </a:lnTo>
                  <a:lnTo>
                    <a:pt x="594" y="1254"/>
                  </a:lnTo>
                  <a:lnTo>
                    <a:pt x="588" y="1248"/>
                  </a:lnTo>
                  <a:lnTo>
                    <a:pt x="588" y="1254"/>
                  </a:lnTo>
                  <a:lnTo>
                    <a:pt x="582" y="1254"/>
                  </a:lnTo>
                  <a:lnTo>
                    <a:pt x="582" y="1248"/>
                  </a:lnTo>
                  <a:lnTo>
                    <a:pt x="576" y="1248"/>
                  </a:lnTo>
                  <a:lnTo>
                    <a:pt x="576" y="1254"/>
                  </a:lnTo>
                  <a:lnTo>
                    <a:pt x="570" y="1248"/>
                  </a:lnTo>
                  <a:lnTo>
                    <a:pt x="564" y="1248"/>
                  </a:lnTo>
                  <a:lnTo>
                    <a:pt x="564" y="1254"/>
                  </a:lnTo>
                  <a:lnTo>
                    <a:pt x="558" y="1254"/>
                  </a:lnTo>
                  <a:lnTo>
                    <a:pt x="552" y="1254"/>
                  </a:lnTo>
                  <a:lnTo>
                    <a:pt x="552" y="1260"/>
                  </a:lnTo>
                  <a:lnTo>
                    <a:pt x="546" y="1260"/>
                  </a:lnTo>
                  <a:lnTo>
                    <a:pt x="540" y="1260"/>
                  </a:lnTo>
                  <a:lnTo>
                    <a:pt x="540" y="1254"/>
                  </a:lnTo>
                  <a:lnTo>
                    <a:pt x="534" y="1254"/>
                  </a:lnTo>
                  <a:lnTo>
                    <a:pt x="528" y="1224"/>
                  </a:lnTo>
                  <a:lnTo>
                    <a:pt x="534" y="1212"/>
                  </a:lnTo>
                  <a:lnTo>
                    <a:pt x="546" y="1206"/>
                  </a:lnTo>
                  <a:lnTo>
                    <a:pt x="582" y="1206"/>
                  </a:lnTo>
                  <a:lnTo>
                    <a:pt x="588" y="1188"/>
                  </a:lnTo>
                  <a:lnTo>
                    <a:pt x="582" y="1188"/>
                  </a:lnTo>
                  <a:lnTo>
                    <a:pt x="582" y="1182"/>
                  </a:lnTo>
                  <a:lnTo>
                    <a:pt x="576" y="1176"/>
                  </a:lnTo>
                  <a:lnTo>
                    <a:pt x="558" y="1128"/>
                  </a:lnTo>
                  <a:lnTo>
                    <a:pt x="558" y="1122"/>
                  </a:lnTo>
                  <a:lnTo>
                    <a:pt x="576" y="1098"/>
                  </a:lnTo>
                  <a:lnTo>
                    <a:pt x="576" y="1092"/>
                  </a:lnTo>
                  <a:lnTo>
                    <a:pt x="582" y="1092"/>
                  </a:lnTo>
                  <a:lnTo>
                    <a:pt x="582" y="1086"/>
                  </a:lnTo>
                  <a:lnTo>
                    <a:pt x="582" y="1080"/>
                  </a:lnTo>
                  <a:lnTo>
                    <a:pt x="582" y="1074"/>
                  </a:lnTo>
                  <a:lnTo>
                    <a:pt x="588" y="1074"/>
                  </a:lnTo>
                  <a:lnTo>
                    <a:pt x="588" y="1062"/>
                  </a:lnTo>
                  <a:lnTo>
                    <a:pt x="588" y="1056"/>
                  </a:lnTo>
                  <a:lnTo>
                    <a:pt x="588" y="1044"/>
                  </a:lnTo>
                  <a:lnTo>
                    <a:pt x="588" y="1038"/>
                  </a:lnTo>
                  <a:lnTo>
                    <a:pt x="588" y="1032"/>
                  </a:lnTo>
                  <a:lnTo>
                    <a:pt x="582" y="1026"/>
                  </a:lnTo>
                  <a:lnTo>
                    <a:pt x="582" y="1020"/>
                  </a:lnTo>
                  <a:lnTo>
                    <a:pt x="582" y="1008"/>
                  </a:lnTo>
                  <a:lnTo>
                    <a:pt x="576" y="990"/>
                  </a:lnTo>
                  <a:lnTo>
                    <a:pt x="570" y="972"/>
                  </a:lnTo>
                  <a:lnTo>
                    <a:pt x="552" y="972"/>
                  </a:lnTo>
                  <a:lnTo>
                    <a:pt x="540" y="960"/>
                  </a:lnTo>
                  <a:lnTo>
                    <a:pt x="534" y="954"/>
                  </a:lnTo>
                  <a:lnTo>
                    <a:pt x="534" y="948"/>
                  </a:lnTo>
                  <a:lnTo>
                    <a:pt x="516" y="948"/>
                  </a:lnTo>
                  <a:lnTo>
                    <a:pt x="522" y="936"/>
                  </a:lnTo>
                  <a:lnTo>
                    <a:pt x="522" y="930"/>
                  </a:lnTo>
                  <a:lnTo>
                    <a:pt x="504" y="918"/>
                  </a:lnTo>
                  <a:lnTo>
                    <a:pt x="492" y="906"/>
                  </a:lnTo>
                  <a:lnTo>
                    <a:pt x="486" y="894"/>
                  </a:lnTo>
                  <a:lnTo>
                    <a:pt x="468" y="876"/>
                  </a:lnTo>
                  <a:lnTo>
                    <a:pt x="450" y="876"/>
                  </a:lnTo>
                  <a:lnTo>
                    <a:pt x="414" y="882"/>
                  </a:lnTo>
                  <a:lnTo>
                    <a:pt x="402" y="870"/>
                  </a:lnTo>
                  <a:lnTo>
                    <a:pt x="390" y="864"/>
                  </a:lnTo>
                  <a:lnTo>
                    <a:pt x="384" y="852"/>
                  </a:lnTo>
                  <a:lnTo>
                    <a:pt x="378" y="840"/>
                  </a:lnTo>
                  <a:lnTo>
                    <a:pt x="378" y="834"/>
                  </a:lnTo>
                  <a:lnTo>
                    <a:pt x="360" y="822"/>
                  </a:lnTo>
                  <a:lnTo>
                    <a:pt x="342" y="828"/>
                  </a:lnTo>
                  <a:lnTo>
                    <a:pt x="324" y="816"/>
                  </a:lnTo>
                  <a:lnTo>
                    <a:pt x="318" y="816"/>
                  </a:lnTo>
                  <a:lnTo>
                    <a:pt x="306" y="810"/>
                  </a:lnTo>
                  <a:lnTo>
                    <a:pt x="306" y="804"/>
                  </a:lnTo>
                  <a:lnTo>
                    <a:pt x="300" y="804"/>
                  </a:lnTo>
                  <a:lnTo>
                    <a:pt x="300" y="780"/>
                  </a:lnTo>
                  <a:lnTo>
                    <a:pt x="300" y="774"/>
                  </a:lnTo>
                  <a:lnTo>
                    <a:pt x="306" y="774"/>
                  </a:lnTo>
                  <a:lnTo>
                    <a:pt x="312" y="756"/>
                  </a:lnTo>
                  <a:lnTo>
                    <a:pt x="312" y="732"/>
                  </a:lnTo>
                  <a:lnTo>
                    <a:pt x="300" y="720"/>
                  </a:lnTo>
                  <a:lnTo>
                    <a:pt x="288" y="702"/>
                  </a:lnTo>
                  <a:lnTo>
                    <a:pt x="276" y="702"/>
                  </a:lnTo>
                  <a:lnTo>
                    <a:pt x="258" y="714"/>
                  </a:lnTo>
                  <a:lnTo>
                    <a:pt x="246" y="726"/>
                  </a:lnTo>
                  <a:lnTo>
                    <a:pt x="222" y="726"/>
                  </a:lnTo>
                  <a:lnTo>
                    <a:pt x="192" y="726"/>
                  </a:lnTo>
                  <a:lnTo>
                    <a:pt x="174" y="738"/>
                  </a:lnTo>
                  <a:lnTo>
                    <a:pt x="162" y="750"/>
                  </a:lnTo>
                  <a:lnTo>
                    <a:pt x="144" y="762"/>
                  </a:lnTo>
                  <a:lnTo>
                    <a:pt x="138" y="768"/>
                  </a:lnTo>
                  <a:lnTo>
                    <a:pt x="126" y="774"/>
                  </a:lnTo>
                  <a:lnTo>
                    <a:pt x="114" y="780"/>
                  </a:lnTo>
                  <a:lnTo>
                    <a:pt x="108" y="786"/>
                  </a:lnTo>
                  <a:lnTo>
                    <a:pt x="102" y="786"/>
                  </a:lnTo>
                  <a:lnTo>
                    <a:pt x="54" y="786"/>
                  </a:lnTo>
                  <a:lnTo>
                    <a:pt x="48" y="792"/>
                  </a:lnTo>
                  <a:lnTo>
                    <a:pt x="36" y="798"/>
                  </a:lnTo>
                  <a:lnTo>
                    <a:pt x="18" y="792"/>
                  </a:lnTo>
                  <a:lnTo>
                    <a:pt x="6" y="780"/>
                  </a:lnTo>
                  <a:lnTo>
                    <a:pt x="6" y="768"/>
                  </a:lnTo>
                  <a:lnTo>
                    <a:pt x="0" y="756"/>
                  </a:lnTo>
                  <a:lnTo>
                    <a:pt x="0" y="738"/>
                  </a:lnTo>
                  <a:lnTo>
                    <a:pt x="6" y="702"/>
                  </a:lnTo>
                  <a:lnTo>
                    <a:pt x="24" y="702"/>
                  </a:lnTo>
                  <a:lnTo>
                    <a:pt x="24" y="696"/>
                  </a:lnTo>
                  <a:lnTo>
                    <a:pt x="24" y="690"/>
                  </a:lnTo>
                  <a:lnTo>
                    <a:pt x="24" y="678"/>
                  </a:lnTo>
                  <a:lnTo>
                    <a:pt x="24" y="672"/>
                  </a:lnTo>
                  <a:lnTo>
                    <a:pt x="30" y="672"/>
                  </a:lnTo>
                  <a:lnTo>
                    <a:pt x="30" y="666"/>
                  </a:lnTo>
                  <a:lnTo>
                    <a:pt x="36" y="660"/>
                  </a:lnTo>
                  <a:lnTo>
                    <a:pt x="84" y="648"/>
                  </a:lnTo>
                  <a:lnTo>
                    <a:pt x="126" y="642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32" y="618"/>
                  </a:lnTo>
                  <a:lnTo>
                    <a:pt x="138" y="612"/>
                  </a:lnTo>
                  <a:lnTo>
                    <a:pt x="138" y="606"/>
                  </a:lnTo>
                  <a:lnTo>
                    <a:pt x="138" y="600"/>
                  </a:lnTo>
                  <a:lnTo>
                    <a:pt x="132" y="600"/>
                  </a:lnTo>
                  <a:lnTo>
                    <a:pt x="132" y="594"/>
                  </a:lnTo>
                  <a:lnTo>
                    <a:pt x="132" y="588"/>
                  </a:lnTo>
                  <a:lnTo>
                    <a:pt x="132" y="582"/>
                  </a:lnTo>
                  <a:lnTo>
                    <a:pt x="132" y="576"/>
                  </a:lnTo>
                  <a:lnTo>
                    <a:pt x="126" y="570"/>
                  </a:lnTo>
                  <a:lnTo>
                    <a:pt x="120" y="564"/>
                  </a:lnTo>
                  <a:lnTo>
                    <a:pt x="120" y="558"/>
                  </a:lnTo>
                  <a:lnTo>
                    <a:pt x="120" y="552"/>
                  </a:lnTo>
                  <a:lnTo>
                    <a:pt x="114" y="552"/>
                  </a:lnTo>
                  <a:lnTo>
                    <a:pt x="114" y="546"/>
                  </a:lnTo>
                  <a:lnTo>
                    <a:pt x="114" y="540"/>
                  </a:lnTo>
                  <a:lnTo>
                    <a:pt x="108" y="534"/>
                  </a:lnTo>
                  <a:lnTo>
                    <a:pt x="108" y="528"/>
                  </a:lnTo>
                  <a:lnTo>
                    <a:pt x="114" y="522"/>
                  </a:lnTo>
                  <a:lnTo>
                    <a:pt x="108" y="516"/>
                  </a:lnTo>
                  <a:lnTo>
                    <a:pt x="108" y="498"/>
                  </a:lnTo>
                  <a:lnTo>
                    <a:pt x="108" y="492"/>
                  </a:lnTo>
                  <a:lnTo>
                    <a:pt x="108" y="486"/>
                  </a:lnTo>
                  <a:lnTo>
                    <a:pt x="108" y="480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08" y="462"/>
                  </a:lnTo>
                  <a:lnTo>
                    <a:pt x="102" y="456"/>
                  </a:lnTo>
                  <a:lnTo>
                    <a:pt x="102" y="444"/>
                  </a:lnTo>
                  <a:lnTo>
                    <a:pt x="96" y="444"/>
                  </a:lnTo>
                  <a:lnTo>
                    <a:pt x="90" y="432"/>
                  </a:lnTo>
                  <a:lnTo>
                    <a:pt x="96" y="432"/>
                  </a:lnTo>
                  <a:lnTo>
                    <a:pt x="96" y="408"/>
                  </a:lnTo>
                  <a:lnTo>
                    <a:pt x="96" y="396"/>
                  </a:lnTo>
                  <a:lnTo>
                    <a:pt x="96" y="360"/>
                  </a:lnTo>
                  <a:lnTo>
                    <a:pt x="96" y="354"/>
                  </a:lnTo>
                  <a:lnTo>
                    <a:pt x="102" y="354"/>
                  </a:lnTo>
                  <a:lnTo>
                    <a:pt x="102" y="348"/>
                  </a:lnTo>
                  <a:lnTo>
                    <a:pt x="96" y="330"/>
                  </a:lnTo>
                  <a:lnTo>
                    <a:pt x="90" y="306"/>
                  </a:lnTo>
                  <a:lnTo>
                    <a:pt x="84" y="288"/>
                  </a:lnTo>
                  <a:lnTo>
                    <a:pt x="84" y="264"/>
                  </a:lnTo>
                  <a:lnTo>
                    <a:pt x="90" y="240"/>
                  </a:lnTo>
                  <a:lnTo>
                    <a:pt x="96" y="222"/>
                  </a:lnTo>
                  <a:lnTo>
                    <a:pt x="102" y="222"/>
                  </a:lnTo>
                  <a:lnTo>
                    <a:pt x="108" y="210"/>
                  </a:lnTo>
                  <a:lnTo>
                    <a:pt x="114" y="210"/>
                  </a:lnTo>
                  <a:lnTo>
                    <a:pt x="126" y="198"/>
                  </a:lnTo>
                  <a:lnTo>
                    <a:pt x="156" y="192"/>
                  </a:lnTo>
                  <a:lnTo>
                    <a:pt x="174" y="186"/>
                  </a:lnTo>
                  <a:lnTo>
                    <a:pt x="204" y="174"/>
                  </a:lnTo>
                  <a:lnTo>
                    <a:pt x="222" y="168"/>
                  </a:lnTo>
                  <a:lnTo>
                    <a:pt x="234" y="162"/>
                  </a:lnTo>
                  <a:lnTo>
                    <a:pt x="246" y="156"/>
                  </a:lnTo>
                  <a:lnTo>
                    <a:pt x="288" y="144"/>
                  </a:lnTo>
                  <a:lnTo>
                    <a:pt x="288" y="132"/>
                  </a:lnTo>
                  <a:lnTo>
                    <a:pt x="294" y="120"/>
                  </a:lnTo>
                  <a:lnTo>
                    <a:pt x="300" y="108"/>
                  </a:lnTo>
                  <a:lnTo>
                    <a:pt x="306" y="90"/>
                  </a:lnTo>
                  <a:lnTo>
                    <a:pt x="312" y="78"/>
                  </a:lnTo>
                  <a:lnTo>
                    <a:pt x="324" y="78"/>
                  </a:lnTo>
                  <a:lnTo>
                    <a:pt x="324" y="54"/>
                  </a:lnTo>
                  <a:lnTo>
                    <a:pt x="318" y="48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60" y="6"/>
                  </a:lnTo>
                  <a:lnTo>
                    <a:pt x="384" y="0"/>
                  </a:lnTo>
                  <a:lnTo>
                    <a:pt x="390" y="6"/>
                  </a:lnTo>
                  <a:lnTo>
                    <a:pt x="390" y="18"/>
                  </a:lnTo>
                  <a:lnTo>
                    <a:pt x="390" y="54"/>
                  </a:lnTo>
                  <a:lnTo>
                    <a:pt x="396" y="66"/>
                  </a:lnTo>
                  <a:lnTo>
                    <a:pt x="414" y="84"/>
                  </a:lnTo>
                  <a:lnTo>
                    <a:pt x="426" y="90"/>
                  </a:lnTo>
                  <a:lnTo>
                    <a:pt x="432" y="96"/>
                  </a:lnTo>
                  <a:lnTo>
                    <a:pt x="426" y="102"/>
                  </a:lnTo>
                  <a:lnTo>
                    <a:pt x="438" y="102"/>
                  </a:lnTo>
                  <a:lnTo>
                    <a:pt x="444" y="108"/>
                  </a:lnTo>
                  <a:lnTo>
                    <a:pt x="444" y="102"/>
                  </a:lnTo>
                  <a:lnTo>
                    <a:pt x="450" y="90"/>
                  </a:lnTo>
                  <a:lnTo>
                    <a:pt x="450" y="84"/>
                  </a:lnTo>
                  <a:lnTo>
                    <a:pt x="450" y="78"/>
                  </a:lnTo>
                  <a:lnTo>
                    <a:pt x="456" y="72"/>
                  </a:lnTo>
                  <a:lnTo>
                    <a:pt x="462" y="66"/>
                  </a:lnTo>
                  <a:lnTo>
                    <a:pt x="462" y="60"/>
                  </a:lnTo>
                  <a:lnTo>
                    <a:pt x="462" y="54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74" y="24"/>
                  </a:lnTo>
                  <a:lnTo>
                    <a:pt x="480" y="18"/>
                  </a:lnTo>
                  <a:lnTo>
                    <a:pt x="486" y="12"/>
                  </a:lnTo>
                  <a:lnTo>
                    <a:pt x="492" y="12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2" y="6"/>
                  </a:lnTo>
                  <a:lnTo>
                    <a:pt x="534" y="6"/>
                  </a:lnTo>
                  <a:lnTo>
                    <a:pt x="540" y="6"/>
                  </a:lnTo>
                  <a:lnTo>
                    <a:pt x="546" y="6"/>
                  </a:lnTo>
                  <a:lnTo>
                    <a:pt x="564" y="0"/>
                  </a:lnTo>
                  <a:lnTo>
                    <a:pt x="570" y="0"/>
                  </a:lnTo>
                  <a:lnTo>
                    <a:pt x="576" y="6"/>
                  </a:lnTo>
                  <a:lnTo>
                    <a:pt x="582" y="6"/>
                  </a:lnTo>
                  <a:lnTo>
                    <a:pt x="594" y="6"/>
                  </a:lnTo>
                  <a:lnTo>
                    <a:pt x="600" y="6"/>
                  </a:lnTo>
                  <a:lnTo>
                    <a:pt x="606" y="6"/>
                  </a:lnTo>
                  <a:lnTo>
                    <a:pt x="624" y="0"/>
                  </a:lnTo>
                  <a:lnTo>
                    <a:pt x="636" y="0"/>
                  </a:lnTo>
                  <a:lnTo>
                    <a:pt x="636" y="6"/>
                  </a:lnTo>
                  <a:lnTo>
                    <a:pt x="654" y="18"/>
                  </a:lnTo>
                  <a:lnTo>
                    <a:pt x="654" y="30"/>
                  </a:lnTo>
                  <a:lnTo>
                    <a:pt x="642" y="42"/>
                  </a:lnTo>
                  <a:lnTo>
                    <a:pt x="630" y="66"/>
                  </a:lnTo>
                  <a:lnTo>
                    <a:pt x="636" y="84"/>
                  </a:lnTo>
                  <a:lnTo>
                    <a:pt x="636" y="96"/>
                  </a:lnTo>
                  <a:lnTo>
                    <a:pt x="648" y="102"/>
                  </a:lnTo>
                  <a:lnTo>
                    <a:pt x="672" y="114"/>
                  </a:lnTo>
                  <a:lnTo>
                    <a:pt x="702" y="120"/>
                  </a:lnTo>
                  <a:lnTo>
                    <a:pt x="714" y="126"/>
                  </a:lnTo>
                  <a:lnTo>
                    <a:pt x="720" y="144"/>
                  </a:lnTo>
                  <a:lnTo>
                    <a:pt x="720" y="156"/>
                  </a:lnTo>
                  <a:lnTo>
                    <a:pt x="708" y="156"/>
                  </a:lnTo>
                  <a:lnTo>
                    <a:pt x="702" y="162"/>
                  </a:lnTo>
                  <a:lnTo>
                    <a:pt x="702" y="174"/>
                  </a:lnTo>
                  <a:lnTo>
                    <a:pt x="696" y="174"/>
                  </a:lnTo>
                  <a:lnTo>
                    <a:pt x="690" y="180"/>
                  </a:lnTo>
                  <a:lnTo>
                    <a:pt x="678" y="186"/>
                  </a:lnTo>
                  <a:lnTo>
                    <a:pt x="672" y="192"/>
                  </a:lnTo>
                  <a:lnTo>
                    <a:pt x="654" y="210"/>
                  </a:lnTo>
                  <a:lnTo>
                    <a:pt x="654" y="216"/>
                  </a:lnTo>
                  <a:lnTo>
                    <a:pt x="648" y="246"/>
                  </a:lnTo>
                  <a:lnTo>
                    <a:pt x="660" y="246"/>
                  </a:lnTo>
                  <a:lnTo>
                    <a:pt x="666" y="234"/>
                  </a:lnTo>
                  <a:lnTo>
                    <a:pt x="678" y="240"/>
                  </a:lnTo>
                  <a:lnTo>
                    <a:pt x="684" y="228"/>
                  </a:lnTo>
                  <a:lnTo>
                    <a:pt x="690" y="210"/>
                  </a:lnTo>
                  <a:lnTo>
                    <a:pt x="696" y="204"/>
                  </a:lnTo>
                  <a:lnTo>
                    <a:pt x="702" y="204"/>
                  </a:lnTo>
                  <a:lnTo>
                    <a:pt x="708" y="192"/>
                  </a:lnTo>
                  <a:lnTo>
                    <a:pt x="714" y="192"/>
                  </a:lnTo>
                  <a:lnTo>
                    <a:pt x="714" y="186"/>
                  </a:lnTo>
                  <a:lnTo>
                    <a:pt x="726" y="186"/>
                  </a:lnTo>
                  <a:lnTo>
                    <a:pt x="732" y="186"/>
                  </a:lnTo>
                  <a:lnTo>
                    <a:pt x="738" y="186"/>
                  </a:lnTo>
                  <a:lnTo>
                    <a:pt x="744" y="216"/>
                  </a:lnTo>
                  <a:lnTo>
                    <a:pt x="750" y="210"/>
                  </a:lnTo>
                  <a:lnTo>
                    <a:pt x="750" y="204"/>
                  </a:lnTo>
                  <a:lnTo>
                    <a:pt x="756" y="192"/>
                  </a:lnTo>
                  <a:lnTo>
                    <a:pt x="762" y="192"/>
                  </a:lnTo>
                  <a:lnTo>
                    <a:pt x="768" y="192"/>
                  </a:lnTo>
                  <a:lnTo>
                    <a:pt x="780" y="186"/>
                  </a:lnTo>
                  <a:lnTo>
                    <a:pt x="786" y="204"/>
                  </a:lnTo>
                  <a:lnTo>
                    <a:pt x="774" y="210"/>
                  </a:lnTo>
                  <a:lnTo>
                    <a:pt x="774" y="234"/>
                  </a:lnTo>
                  <a:lnTo>
                    <a:pt x="780" y="246"/>
                  </a:lnTo>
                  <a:lnTo>
                    <a:pt x="804" y="264"/>
                  </a:lnTo>
                  <a:lnTo>
                    <a:pt x="816" y="276"/>
                  </a:lnTo>
                  <a:lnTo>
                    <a:pt x="822" y="288"/>
                  </a:lnTo>
                  <a:lnTo>
                    <a:pt x="822" y="312"/>
                  </a:lnTo>
                  <a:lnTo>
                    <a:pt x="816" y="312"/>
                  </a:lnTo>
                  <a:lnTo>
                    <a:pt x="810" y="318"/>
                  </a:lnTo>
                  <a:lnTo>
                    <a:pt x="810" y="348"/>
                  </a:lnTo>
                  <a:lnTo>
                    <a:pt x="816" y="348"/>
                  </a:lnTo>
                  <a:lnTo>
                    <a:pt x="816" y="342"/>
                  </a:lnTo>
                  <a:lnTo>
                    <a:pt x="834" y="342"/>
                  </a:lnTo>
                  <a:lnTo>
                    <a:pt x="834" y="348"/>
                  </a:lnTo>
                  <a:lnTo>
                    <a:pt x="846" y="348"/>
                  </a:lnTo>
                  <a:lnTo>
                    <a:pt x="846" y="342"/>
                  </a:lnTo>
                  <a:lnTo>
                    <a:pt x="882" y="342"/>
                  </a:lnTo>
                  <a:lnTo>
                    <a:pt x="894" y="366"/>
                  </a:lnTo>
                  <a:lnTo>
                    <a:pt x="900" y="372"/>
                  </a:lnTo>
                  <a:lnTo>
                    <a:pt x="906" y="384"/>
                  </a:lnTo>
                  <a:lnTo>
                    <a:pt x="924" y="384"/>
                  </a:lnTo>
                  <a:lnTo>
                    <a:pt x="930" y="372"/>
                  </a:lnTo>
                  <a:lnTo>
                    <a:pt x="936" y="372"/>
                  </a:lnTo>
                  <a:lnTo>
                    <a:pt x="942" y="348"/>
                  </a:lnTo>
                  <a:lnTo>
                    <a:pt x="954" y="348"/>
                  </a:lnTo>
                  <a:lnTo>
                    <a:pt x="954" y="342"/>
                  </a:lnTo>
                  <a:lnTo>
                    <a:pt x="984" y="342"/>
                  </a:lnTo>
                  <a:lnTo>
                    <a:pt x="978" y="390"/>
                  </a:lnTo>
                  <a:lnTo>
                    <a:pt x="984" y="390"/>
                  </a:lnTo>
                  <a:lnTo>
                    <a:pt x="990" y="396"/>
                  </a:lnTo>
                  <a:lnTo>
                    <a:pt x="996" y="396"/>
                  </a:lnTo>
                  <a:lnTo>
                    <a:pt x="1002" y="396"/>
                  </a:lnTo>
                  <a:lnTo>
                    <a:pt x="1002" y="408"/>
                  </a:lnTo>
                  <a:lnTo>
                    <a:pt x="990" y="414"/>
                  </a:lnTo>
                  <a:lnTo>
                    <a:pt x="984" y="426"/>
                  </a:lnTo>
                  <a:lnTo>
                    <a:pt x="990" y="444"/>
                  </a:lnTo>
                  <a:lnTo>
                    <a:pt x="996" y="450"/>
                  </a:lnTo>
                  <a:lnTo>
                    <a:pt x="990" y="462"/>
                  </a:lnTo>
                  <a:lnTo>
                    <a:pt x="990" y="468"/>
                  </a:lnTo>
                  <a:lnTo>
                    <a:pt x="984" y="480"/>
                  </a:lnTo>
                  <a:lnTo>
                    <a:pt x="978" y="486"/>
                  </a:lnTo>
                  <a:lnTo>
                    <a:pt x="972" y="486"/>
                  </a:lnTo>
                  <a:lnTo>
                    <a:pt x="966" y="492"/>
                  </a:lnTo>
                  <a:lnTo>
                    <a:pt x="966" y="498"/>
                  </a:lnTo>
                  <a:lnTo>
                    <a:pt x="954" y="510"/>
                  </a:lnTo>
                  <a:lnTo>
                    <a:pt x="948" y="510"/>
                  </a:lnTo>
                  <a:lnTo>
                    <a:pt x="942" y="516"/>
                  </a:lnTo>
                  <a:lnTo>
                    <a:pt x="936" y="528"/>
                  </a:lnTo>
                  <a:lnTo>
                    <a:pt x="936" y="534"/>
                  </a:lnTo>
                  <a:lnTo>
                    <a:pt x="936" y="546"/>
                  </a:lnTo>
                  <a:lnTo>
                    <a:pt x="936" y="558"/>
                  </a:lnTo>
                  <a:lnTo>
                    <a:pt x="948" y="558"/>
                  </a:lnTo>
                  <a:lnTo>
                    <a:pt x="954" y="558"/>
                  </a:lnTo>
                  <a:lnTo>
                    <a:pt x="996" y="558"/>
                  </a:lnTo>
                  <a:lnTo>
                    <a:pt x="1002" y="570"/>
                  </a:lnTo>
                  <a:lnTo>
                    <a:pt x="996" y="576"/>
                  </a:lnTo>
                  <a:lnTo>
                    <a:pt x="996" y="588"/>
                  </a:lnTo>
                  <a:lnTo>
                    <a:pt x="984" y="588"/>
                  </a:lnTo>
                  <a:lnTo>
                    <a:pt x="990" y="612"/>
                  </a:lnTo>
                  <a:lnTo>
                    <a:pt x="1014" y="606"/>
                  </a:lnTo>
                  <a:lnTo>
                    <a:pt x="1014" y="636"/>
                  </a:lnTo>
                  <a:lnTo>
                    <a:pt x="1014" y="648"/>
                  </a:lnTo>
                  <a:lnTo>
                    <a:pt x="1020" y="648"/>
                  </a:lnTo>
                  <a:lnTo>
                    <a:pt x="1026" y="660"/>
                  </a:lnTo>
                  <a:lnTo>
                    <a:pt x="1038" y="654"/>
                  </a:lnTo>
                  <a:lnTo>
                    <a:pt x="1050" y="654"/>
                  </a:lnTo>
                  <a:lnTo>
                    <a:pt x="1062" y="654"/>
                  </a:lnTo>
                  <a:lnTo>
                    <a:pt x="1068" y="660"/>
                  </a:lnTo>
                  <a:lnTo>
                    <a:pt x="1068" y="678"/>
                  </a:lnTo>
                  <a:lnTo>
                    <a:pt x="1068" y="684"/>
                  </a:lnTo>
                  <a:lnTo>
                    <a:pt x="1062" y="690"/>
                  </a:lnTo>
                  <a:lnTo>
                    <a:pt x="1056" y="696"/>
                  </a:lnTo>
                  <a:lnTo>
                    <a:pt x="1056" y="702"/>
                  </a:lnTo>
                  <a:lnTo>
                    <a:pt x="1038" y="714"/>
                  </a:lnTo>
                  <a:lnTo>
                    <a:pt x="1026" y="720"/>
                  </a:lnTo>
                  <a:lnTo>
                    <a:pt x="1008" y="726"/>
                  </a:lnTo>
                  <a:lnTo>
                    <a:pt x="1008" y="732"/>
                  </a:lnTo>
                  <a:lnTo>
                    <a:pt x="990" y="732"/>
                  </a:lnTo>
                  <a:lnTo>
                    <a:pt x="984" y="744"/>
                  </a:lnTo>
                  <a:lnTo>
                    <a:pt x="990" y="750"/>
                  </a:lnTo>
                  <a:lnTo>
                    <a:pt x="984" y="762"/>
                  </a:lnTo>
                  <a:lnTo>
                    <a:pt x="984" y="768"/>
                  </a:lnTo>
                  <a:lnTo>
                    <a:pt x="984" y="774"/>
                  </a:lnTo>
                  <a:lnTo>
                    <a:pt x="984" y="780"/>
                  </a:lnTo>
                  <a:lnTo>
                    <a:pt x="984" y="786"/>
                  </a:lnTo>
                  <a:lnTo>
                    <a:pt x="984" y="792"/>
                  </a:lnTo>
                  <a:lnTo>
                    <a:pt x="978" y="798"/>
                  </a:lnTo>
                  <a:lnTo>
                    <a:pt x="978" y="80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3" name="Freeform 38">
              <a:extLst>
                <a:ext uri="{FF2B5EF4-FFF2-40B4-BE49-F238E27FC236}">
                  <a16:creationId xmlns:a16="http://schemas.microsoft.com/office/drawing/2014/main" id="{819B99CE-D972-4530-8964-A992C1EC87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2825" y="1634436"/>
              <a:ext cx="959326" cy="959458"/>
            </a:xfrm>
            <a:custGeom>
              <a:avLst/>
              <a:gdLst>
                <a:gd name="T0" fmla="*/ 105 w 1806"/>
                <a:gd name="T1" fmla="*/ 155 h 1806"/>
                <a:gd name="T2" fmla="*/ 103 w 1806"/>
                <a:gd name="T3" fmla="*/ 155 h 1806"/>
                <a:gd name="T4" fmla="*/ 103 w 1806"/>
                <a:gd name="T5" fmla="*/ 150 h 1806"/>
                <a:gd name="T6" fmla="*/ 104 w 1806"/>
                <a:gd name="T7" fmla="*/ 141 h 1806"/>
                <a:gd name="T8" fmla="*/ 104 w 1806"/>
                <a:gd name="T9" fmla="*/ 136 h 1806"/>
                <a:gd name="T10" fmla="*/ 100 w 1806"/>
                <a:gd name="T11" fmla="*/ 131 h 1806"/>
                <a:gd name="T12" fmla="*/ 96 w 1806"/>
                <a:gd name="T13" fmla="*/ 127 h 1806"/>
                <a:gd name="T14" fmla="*/ 91 w 1806"/>
                <a:gd name="T15" fmla="*/ 121 h 1806"/>
                <a:gd name="T16" fmla="*/ 87 w 1806"/>
                <a:gd name="T17" fmla="*/ 120 h 1806"/>
                <a:gd name="T18" fmla="*/ 81 w 1806"/>
                <a:gd name="T19" fmla="*/ 117 h 1806"/>
                <a:gd name="T20" fmla="*/ 65 w 1806"/>
                <a:gd name="T21" fmla="*/ 113 h 1806"/>
                <a:gd name="T22" fmla="*/ 69 w 1806"/>
                <a:gd name="T23" fmla="*/ 105 h 1806"/>
                <a:gd name="T24" fmla="*/ 66 w 1806"/>
                <a:gd name="T25" fmla="*/ 89 h 1806"/>
                <a:gd name="T26" fmla="*/ 63 w 1806"/>
                <a:gd name="T27" fmla="*/ 84 h 1806"/>
                <a:gd name="T28" fmla="*/ 62 w 1806"/>
                <a:gd name="T29" fmla="*/ 74 h 1806"/>
                <a:gd name="T30" fmla="*/ 58 w 1806"/>
                <a:gd name="T31" fmla="*/ 52 h 1806"/>
                <a:gd name="T32" fmla="*/ 53 w 1806"/>
                <a:gd name="T33" fmla="*/ 49 h 1806"/>
                <a:gd name="T34" fmla="*/ 51 w 1806"/>
                <a:gd name="T35" fmla="*/ 36 h 1806"/>
                <a:gd name="T36" fmla="*/ 43 w 1806"/>
                <a:gd name="T37" fmla="*/ 32 h 1806"/>
                <a:gd name="T38" fmla="*/ 33 w 1806"/>
                <a:gd name="T39" fmla="*/ 30 h 1806"/>
                <a:gd name="T40" fmla="*/ 30 w 1806"/>
                <a:gd name="T41" fmla="*/ 21 h 1806"/>
                <a:gd name="T42" fmla="*/ 17 w 1806"/>
                <a:gd name="T43" fmla="*/ 25 h 1806"/>
                <a:gd name="T44" fmla="*/ 4 w 1806"/>
                <a:gd name="T45" fmla="*/ 33 h 1806"/>
                <a:gd name="T46" fmla="*/ 7 w 1806"/>
                <a:gd name="T47" fmla="*/ 26 h 1806"/>
                <a:gd name="T48" fmla="*/ 11 w 1806"/>
                <a:gd name="T49" fmla="*/ 20 h 1806"/>
                <a:gd name="T50" fmla="*/ 18 w 1806"/>
                <a:gd name="T51" fmla="*/ 12 h 1806"/>
                <a:gd name="T52" fmla="*/ 26 w 1806"/>
                <a:gd name="T53" fmla="*/ 8 h 1806"/>
                <a:gd name="T54" fmla="*/ 35 w 1806"/>
                <a:gd name="T55" fmla="*/ 6 h 1806"/>
                <a:gd name="T56" fmla="*/ 44 w 1806"/>
                <a:gd name="T57" fmla="*/ 5 h 1806"/>
                <a:gd name="T58" fmla="*/ 54 w 1806"/>
                <a:gd name="T59" fmla="*/ 2 h 1806"/>
                <a:gd name="T60" fmla="*/ 65 w 1806"/>
                <a:gd name="T61" fmla="*/ 0 h 1806"/>
                <a:gd name="T62" fmla="*/ 76 w 1806"/>
                <a:gd name="T63" fmla="*/ 0 h 1806"/>
                <a:gd name="T64" fmla="*/ 85 w 1806"/>
                <a:gd name="T65" fmla="*/ 0 h 1806"/>
                <a:gd name="T66" fmla="*/ 97 w 1806"/>
                <a:gd name="T67" fmla="*/ 0 h 1806"/>
                <a:gd name="T68" fmla="*/ 108 w 1806"/>
                <a:gd name="T69" fmla="*/ 3 h 1806"/>
                <a:gd name="T70" fmla="*/ 115 w 1806"/>
                <a:gd name="T71" fmla="*/ 5 h 1806"/>
                <a:gd name="T72" fmla="*/ 123 w 1806"/>
                <a:gd name="T73" fmla="*/ 7 h 1806"/>
                <a:gd name="T74" fmla="*/ 133 w 1806"/>
                <a:gd name="T75" fmla="*/ 14 h 1806"/>
                <a:gd name="T76" fmla="*/ 138 w 1806"/>
                <a:gd name="T77" fmla="*/ 16 h 1806"/>
                <a:gd name="T78" fmla="*/ 140 w 1806"/>
                <a:gd name="T79" fmla="*/ 14 h 1806"/>
                <a:gd name="T80" fmla="*/ 145 w 1806"/>
                <a:gd name="T81" fmla="*/ 16 h 1806"/>
                <a:gd name="T82" fmla="*/ 147 w 1806"/>
                <a:gd name="T83" fmla="*/ 16 h 1806"/>
                <a:gd name="T84" fmla="*/ 150 w 1806"/>
                <a:gd name="T85" fmla="*/ 17 h 1806"/>
                <a:gd name="T86" fmla="*/ 152 w 1806"/>
                <a:gd name="T87" fmla="*/ 18 h 1806"/>
                <a:gd name="T88" fmla="*/ 155 w 1806"/>
                <a:gd name="T89" fmla="*/ 37 h 1806"/>
                <a:gd name="T90" fmla="*/ 146 w 1806"/>
                <a:gd name="T91" fmla="*/ 66 h 1806"/>
                <a:gd name="T92" fmla="*/ 143 w 1806"/>
                <a:gd name="T93" fmla="*/ 88 h 1806"/>
                <a:gd name="T94" fmla="*/ 144 w 1806"/>
                <a:gd name="T95" fmla="*/ 98 h 1806"/>
                <a:gd name="T96" fmla="*/ 137 w 1806"/>
                <a:gd name="T97" fmla="*/ 118 h 1806"/>
                <a:gd name="T98" fmla="*/ 132 w 1806"/>
                <a:gd name="T99" fmla="*/ 129 h 1806"/>
                <a:gd name="T100" fmla="*/ 124 w 1806"/>
                <a:gd name="T101" fmla="*/ 135 h 1806"/>
                <a:gd name="T102" fmla="*/ 119 w 1806"/>
                <a:gd name="T103" fmla="*/ 136 h 1806"/>
                <a:gd name="T104" fmla="*/ 116 w 1806"/>
                <a:gd name="T105" fmla="*/ 137 h 1806"/>
                <a:gd name="T106" fmla="*/ 112 w 1806"/>
                <a:gd name="T107" fmla="*/ 139 h 1806"/>
                <a:gd name="T108" fmla="*/ 112 w 1806"/>
                <a:gd name="T109" fmla="*/ 141 h 1806"/>
                <a:gd name="T110" fmla="*/ 116 w 1806"/>
                <a:gd name="T111" fmla="*/ 146 h 1806"/>
                <a:gd name="T112" fmla="*/ 116 w 1806"/>
                <a:gd name="T113" fmla="*/ 151 h 1806"/>
                <a:gd name="T114" fmla="*/ 113 w 1806"/>
                <a:gd name="T115" fmla="*/ 153 h 18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6"/>
                <a:gd name="T175" fmla="*/ 0 h 1806"/>
                <a:gd name="T176" fmla="*/ 1806 w 1806"/>
                <a:gd name="T177" fmla="*/ 1806 h 18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6" h="1806">
                  <a:moveTo>
                    <a:pt x="1260" y="1776"/>
                  </a:moveTo>
                  <a:lnTo>
                    <a:pt x="1254" y="1776"/>
                  </a:lnTo>
                  <a:lnTo>
                    <a:pt x="1248" y="1776"/>
                  </a:lnTo>
                  <a:lnTo>
                    <a:pt x="1242" y="1782"/>
                  </a:lnTo>
                  <a:lnTo>
                    <a:pt x="1236" y="1782"/>
                  </a:lnTo>
                  <a:lnTo>
                    <a:pt x="1230" y="1788"/>
                  </a:lnTo>
                  <a:lnTo>
                    <a:pt x="1224" y="1782"/>
                  </a:lnTo>
                  <a:lnTo>
                    <a:pt x="1218" y="1782"/>
                  </a:lnTo>
                  <a:lnTo>
                    <a:pt x="1218" y="1788"/>
                  </a:lnTo>
                  <a:lnTo>
                    <a:pt x="1212" y="1788"/>
                  </a:lnTo>
                  <a:lnTo>
                    <a:pt x="1206" y="1788"/>
                  </a:lnTo>
                  <a:lnTo>
                    <a:pt x="1206" y="1794"/>
                  </a:lnTo>
                  <a:lnTo>
                    <a:pt x="1200" y="1806"/>
                  </a:lnTo>
                  <a:lnTo>
                    <a:pt x="1194" y="1800"/>
                  </a:lnTo>
                  <a:lnTo>
                    <a:pt x="1194" y="1794"/>
                  </a:lnTo>
                  <a:lnTo>
                    <a:pt x="1194" y="1788"/>
                  </a:lnTo>
                  <a:lnTo>
                    <a:pt x="1188" y="1788"/>
                  </a:lnTo>
                  <a:lnTo>
                    <a:pt x="1188" y="1782"/>
                  </a:lnTo>
                  <a:lnTo>
                    <a:pt x="1188" y="1776"/>
                  </a:lnTo>
                  <a:lnTo>
                    <a:pt x="1194" y="1770"/>
                  </a:lnTo>
                  <a:lnTo>
                    <a:pt x="1194" y="1764"/>
                  </a:lnTo>
                  <a:lnTo>
                    <a:pt x="1194" y="1758"/>
                  </a:lnTo>
                  <a:lnTo>
                    <a:pt x="1194" y="1752"/>
                  </a:lnTo>
                  <a:lnTo>
                    <a:pt x="1200" y="1746"/>
                  </a:lnTo>
                  <a:lnTo>
                    <a:pt x="1200" y="1740"/>
                  </a:lnTo>
                  <a:lnTo>
                    <a:pt x="1200" y="1734"/>
                  </a:lnTo>
                  <a:lnTo>
                    <a:pt x="1188" y="1722"/>
                  </a:lnTo>
                  <a:lnTo>
                    <a:pt x="1188" y="1716"/>
                  </a:lnTo>
                  <a:lnTo>
                    <a:pt x="1194" y="1704"/>
                  </a:lnTo>
                  <a:lnTo>
                    <a:pt x="1194" y="1692"/>
                  </a:lnTo>
                  <a:lnTo>
                    <a:pt x="1200" y="1680"/>
                  </a:lnTo>
                  <a:lnTo>
                    <a:pt x="1200" y="1662"/>
                  </a:lnTo>
                  <a:lnTo>
                    <a:pt x="1200" y="1650"/>
                  </a:lnTo>
                  <a:lnTo>
                    <a:pt x="1206" y="1644"/>
                  </a:lnTo>
                  <a:lnTo>
                    <a:pt x="1206" y="1638"/>
                  </a:lnTo>
                  <a:lnTo>
                    <a:pt x="1206" y="1626"/>
                  </a:lnTo>
                  <a:lnTo>
                    <a:pt x="1206" y="1620"/>
                  </a:lnTo>
                  <a:lnTo>
                    <a:pt x="1206" y="1614"/>
                  </a:lnTo>
                  <a:lnTo>
                    <a:pt x="1200" y="1608"/>
                  </a:lnTo>
                  <a:lnTo>
                    <a:pt x="1200" y="1602"/>
                  </a:lnTo>
                  <a:lnTo>
                    <a:pt x="1200" y="1596"/>
                  </a:lnTo>
                  <a:lnTo>
                    <a:pt x="1200" y="1590"/>
                  </a:lnTo>
                  <a:lnTo>
                    <a:pt x="1200" y="1572"/>
                  </a:lnTo>
                  <a:lnTo>
                    <a:pt x="1200" y="1566"/>
                  </a:lnTo>
                  <a:lnTo>
                    <a:pt x="1200" y="1560"/>
                  </a:lnTo>
                  <a:lnTo>
                    <a:pt x="1194" y="1554"/>
                  </a:lnTo>
                  <a:lnTo>
                    <a:pt x="1188" y="1548"/>
                  </a:lnTo>
                  <a:lnTo>
                    <a:pt x="1188" y="1542"/>
                  </a:lnTo>
                  <a:lnTo>
                    <a:pt x="1176" y="1536"/>
                  </a:lnTo>
                  <a:lnTo>
                    <a:pt x="1176" y="1530"/>
                  </a:lnTo>
                  <a:lnTo>
                    <a:pt x="1170" y="1524"/>
                  </a:lnTo>
                  <a:lnTo>
                    <a:pt x="1170" y="1518"/>
                  </a:lnTo>
                  <a:lnTo>
                    <a:pt x="1164" y="1512"/>
                  </a:lnTo>
                  <a:lnTo>
                    <a:pt x="1158" y="1506"/>
                  </a:lnTo>
                  <a:lnTo>
                    <a:pt x="1152" y="1500"/>
                  </a:lnTo>
                  <a:lnTo>
                    <a:pt x="1146" y="1494"/>
                  </a:lnTo>
                  <a:lnTo>
                    <a:pt x="1140" y="1488"/>
                  </a:lnTo>
                  <a:lnTo>
                    <a:pt x="1134" y="1482"/>
                  </a:lnTo>
                  <a:lnTo>
                    <a:pt x="1128" y="1476"/>
                  </a:lnTo>
                  <a:lnTo>
                    <a:pt x="1122" y="1470"/>
                  </a:lnTo>
                  <a:lnTo>
                    <a:pt x="1116" y="1464"/>
                  </a:lnTo>
                  <a:lnTo>
                    <a:pt x="1110" y="1464"/>
                  </a:lnTo>
                  <a:lnTo>
                    <a:pt x="1104" y="1458"/>
                  </a:lnTo>
                  <a:lnTo>
                    <a:pt x="1098" y="1464"/>
                  </a:lnTo>
                  <a:lnTo>
                    <a:pt x="1092" y="1464"/>
                  </a:lnTo>
                  <a:lnTo>
                    <a:pt x="1086" y="1446"/>
                  </a:lnTo>
                  <a:lnTo>
                    <a:pt x="1086" y="1440"/>
                  </a:lnTo>
                  <a:lnTo>
                    <a:pt x="1080" y="1416"/>
                  </a:lnTo>
                  <a:lnTo>
                    <a:pt x="1068" y="1404"/>
                  </a:lnTo>
                  <a:lnTo>
                    <a:pt x="1062" y="1398"/>
                  </a:lnTo>
                  <a:lnTo>
                    <a:pt x="1056" y="1398"/>
                  </a:lnTo>
                  <a:lnTo>
                    <a:pt x="1050" y="1398"/>
                  </a:lnTo>
                  <a:lnTo>
                    <a:pt x="1044" y="1398"/>
                  </a:lnTo>
                  <a:lnTo>
                    <a:pt x="1044" y="1392"/>
                  </a:lnTo>
                  <a:lnTo>
                    <a:pt x="1038" y="1392"/>
                  </a:lnTo>
                  <a:lnTo>
                    <a:pt x="1032" y="1392"/>
                  </a:lnTo>
                  <a:lnTo>
                    <a:pt x="1020" y="1386"/>
                  </a:lnTo>
                  <a:lnTo>
                    <a:pt x="1014" y="1386"/>
                  </a:lnTo>
                  <a:lnTo>
                    <a:pt x="1014" y="1380"/>
                  </a:lnTo>
                  <a:lnTo>
                    <a:pt x="1008" y="1380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62"/>
                  </a:lnTo>
                  <a:lnTo>
                    <a:pt x="984" y="1356"/>
                  </a:lnTo>
                  <a:lnTo>
                    <a:pt x="978" y="1356"/>
                  </a:lnTo>
                  <a:lnTo>
                    <a:pt x="972" y="1356"/>
                  </a:lnTo>
                  <a:lnTo>
                    <a:pt x="966" y="1356"/>
                  </a:lnTo>
                  <a:lnTo>
                    <a:pt x="966" y="1350"/>
                  </a:lnTo>
                  <a:lnTo>
                    <a:pt x="948" y="1350"/>
                  </a:lnTo>
                  <a:lnTo>
                    <a:pt x="936" y="1344"/>
                  </a:lnTo>
                  <a:lnTo>
                    <a:pt x="930" y="1338"/>
                  </a:lnTo>
                  <a:lnTo>
                    <a:pt x="918" y="1332"/>
                  </a:lnTo>
                  <a:lnTo>
                    <a:pt x="900" y="1326"/>
                  </a:lnTo>
                  <a:lnTo>
                    <a:pt x="864" y="1332"/>
                  </a:lnTo>
                  <a:lnTo>
                    <a:pt x="828" y="1332"/>
                  </a:lnTo>
                  <a:lnTo>
                    <a:pt x="792" y="1314"/>
                  </a:lnTo>
                  <a:lnTo>
                    <a:pt x="780" y="1314"/>
                  </a:lnTo>
                  <a:lnTo>
                    <a:pt x="780" y="1308"/>
                  </a:lnTo>
                  <a:lnTo>
                    <a:pt x="756" y="1296"/>
                  </a:lnTo>
                  <a:lnTo>
                    <a:pt x="756" y="1278"/>
                  </a:lnTo>
                  <a:lnTo>
                    <a:pt x="768" y="1278"/>
                  </a:lnTo>
                  <a:lnTo>
                    <a:pt x="774" y="1272"/>
                  </a:lnTo>
                  <a:lnTo>
                    <a:pt x="780" y="1266"/>
                  </a:lnTo>
                  <a:lnTo>
                    <a:pt x="786" y="1260"/>
                  </a:lnTo>
                  <a:lnTo>
                    <a:pt x="792" y="1254"/>
                  </a:lnTo>
                  <a:lnTo>
                    <a:pt x="798" y="1242"/>
                  </a:lnTo>
                  <a:lnTo>
                    <a:pt x="804" y="1242"/>
                  </a:lnTo>
                  <a:lnTo>
                    <a:pt x="804" y="1206"/>
                  </a:lnTo>
                  <a:lnTo>
                    <a:pt x="804" y="1182"/>
                  </a:lnTo>
                  <a:lnTo>
                    <a:pt x="804" y="1158"/>
                  </a:lnTo>
                  <a:lnTo>
                    <a:pt x="804" y="1134"/>
                  </a:lnTo>
                  <a:lnTo>
                    <a:pt x="798" y="1116"/>
                  </a:lnTo>
                  <a:lnTo>
                    <a:pt x="792" y="1092"/>
                  </a:lnTo>
                  <a:lnTo>
                    <a:pt x="786" y="1062"/>
                  </a:lnTo>
                  <a:lnTo>
                    <a:pt x="768" y="1032"/>
                  </a:lnTo>
                  <a:lnTo>
                    <a:pt x="762" y="1032"/>
                  </a:lnTo>
                  <a:lnTo>
                    <a:pt x="762" y="1020"/>
                  </a:lnTo>
                  <a:lnTo>
                    <a:pt x="762" y="1014"/>
                  </a:lnTo>
                  <a:lnTo>
                    <a:pt x="756" y="1008"/>
                  </a:lnTo>
                  <a:lnTo>
                    <a:pt x="750" y="1002"/>
                  </a:lnTo>
                  <a:lnTo>
                    <a:pt x="738" y="1002"/>
                  </a:lnTo>
                  <a:lnTo>
                    <a:pt x="738" y="990"/>
                  </a:lnTo>
                  <a:lnTo>
                    <a:pt x="726" y="990"/>
                  </a:lnTo>
                  <a:lnTo>
                    <a:pt x="726" y="978"/>
                  </a:lnTo>
                  <a:lnTo>
                    <a:pt x="732" y="972"/>
                  </a:lnTo>
                  <a:lnTo>
                    <a:pt x="732" y="966"/>
                  </a:lnTo>
                  <a:lnTo>
                    <a:pt x="726" y="966"/>
                  </a:lnTo>
                  <a:lnTo>
                    <a:pt x="732" y="948"/>
                  </a:lnTo>
                  <a:lnTo>
                    <a:pt x="726" y="942"/>
                  </a:lnTo>
                  <a:lnTo>
                    <a:pt x="726" y="930"/>
                  </a:lnTo>
                  <a:lnTo>
                    <a:pt x="720" y="924"/>
                  </a:lnTo>
                  <a:lnTo>
                    <a:pt x="714" y="912"/>
                  </a:lnTo>
                  <a:lnTo>
                    <a:pt x="714" y="882"/>
                  </a:lnTo>
                  <a:lnTo>
                    <a:pt x="714" y="870"/>
                  </a:lnTo>
                  <a:lnTo>
                    <a:pt x="714" y="858"/>
                  </a:lnTo>
                  <a:lnTo>
                    <a:pt x="714" y="846"/>
                  </a:lnTo>
                  <a:lnTo>
                    <a:pt x="708" y="822"/>
                  </a:lnTo>
                  <a:lnTo>
                    <a:pt x="702" y="798"/>
                  </a:lnTo>
                  <a:lnTo>
                    <a:pt x="696" y="792"/>
                  </a:lnTo>
                  <a:lnTo>
                    <a:pt x="684" y="726"/>
                  </a:lnTo>
                  <a:lnTo>
                    <a:pt x="678" y="666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66" y="600"/>
                  </a:lnTo>
                  <a:lnTo>
                    <a:pt x="660" y="594"/>
                  </a:lnTo>
                  <a:lnTo>
                    <a:pt x="654" y="594"/>
                  </a:lnTo>
                  <a:lnTo>
                    <a:pt x="636" y="582"/>
                  </a:lnTo>
                  <a:lnTo>
                    <a:pt x="630" y="576"/>
                  </a:lnTo>
                  <a:lnTo>
                    <a:pt x="624" y="576"/>
                  </a:lnTo>
                  <a:lnTo>
                    <a:pt x="618" y="570"/>
                  </a:lnTo>
                  <a:lnTo>
                    <a:pt x="612" y="564"/>
                  </a:lnTo>
                  <a:lnTo>
                    <a:pt x="606" y="558"/>
                  </a:lnTo>
                  <a:lnTo>
                    <a:pt x="606" y="564"/>
                  </a:lnTo>
                  <a:lnTo>
                    <a:pt x="600" y="564"/>
                  </a:lnTo>
                  <a:lnTo>
                    <a:pt x="594" y="558"/>
                  </a:lnTo>
                  <a:lnTo>
                    <a:pt x="594" y="540"/>
                  </a:lnTo>
                  <a:lnTo>
                    <a:pt x="594" y="528"/>
                  </a:lnTo>
                  <a:lnTo>
                    <a:pt x="594" y="516"/>
                  </a:lnTo>
                  <a:lnTo>
                    <a:pt x="594" y="510"/>
                  </a:lnTo>
                  <a:lnTo>
                    <a:pt x="594" y="492"/>
                  </a:lnTo>
                  <a:lnTo>
                    <a:pt x="594" y="456"/>
                  </a:lnTo>
                  <a:lnTo>
                    <a:pt x="588" y="414"/>
                  </a:lnTo>
                  <a:lnTo>
                    <a:pt x="588" y="408"/>
                  </a:lnTo>
                  <a:lnTo>
                    <a:pt x="582" y="396"/>
                  </a:lnTo>
                  <a:lnTo>
                    <a:pt x="582" y="384"/>
                  </a:lnTo>
                  <a:lnTo>
                    <a:pt x="582" y="372"/>
                  </a:lnTo>
                  <a:lnTo>
                    <a:pt x="564" y="372"/>
                  </a:lnTo>
                  <a:lnTo>
                    <a:pt x="552" y="366"/>
                  </a:lnTo>
                  <a:lnTo>
                    <a:pt x="552" y="372"/>
                  </a:lnTo>
                  <a:lnTo>
                    <a:pt x="498" y="372"/>
                  </a:lnTo>
                  <a:lnTo>
                    <a:pt x="498" y="366"/>
                  </a:lnTo>
                  <a:lnTo>
                    <a:pt x="474" y="360"/>
                  </a:lnTo>
                  <a:lnTo>
                    <a:pt x="456" y="354"/>
                  </a:lnTo>
                  <a:lnTo>
                    <a:pt x="438" y="348"/>
                  </a:lnTo>
                  <a:lnTo>
                    <a:pt x="426" y="354"/>
                  </a:lnTo>
                  <a:lnTo>
                    <a:pt x="408" y="360"/>
                  </a:lnTo>
                  <a:lnTo>
                    <a:pt x="378" y="360"/>
                  </a:lnTo>
                  <a:lnTo>
                    <a:pt x="378" y="354"/>
                  </a:lnTo>
                  <a:lnTo>
                    <a:pt x="378" y="348"/>
                  </a:lnTo>
                  <a:lnTo>
                    <a:pt x="378" y="342"/>
                  </a:lnTo>
                  <a:lnTo>
                    <a:pt x="390" y="330"/>
                  </a:lnTo>
                  <a:lnTo>
                    <a:pt x="396" y="312"/>
                  </a:lnTo>
                  <a:lnTo>
                    <a:pt x="396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8"/>
                  </a:lnTo>
                  <a:lnTo>
                    <a:pt x="372" y="234"/>
                  </a:lnTo>
                  <a:lnTo>
                    <a:pt x="354" y="234"/>
                  </a:lnTo>
                  <a:lnTo>
                    <a:pt x="342" y="246"/>
                  </a:lnTo>
                  <a:lnTo>
                    <a:pt x="330" y="252"/>
                  </a:lnTo>
                  <a:lnTo>
                    <a:pt x="318" y="252"/>
                  </a:lnTo>
                  <a:lnTo>
                    <a:pt x="276" y="258"/>
                  </a:lnTo>
                  <a:lnTo>
                    <a:pt x="276" y="264"/>
                  </a:lnTo>
                  <a:lnTo>
                    <a:pt x="252" y="270"/>
                  </a:lnTo>
                  <a:lnTo>
                    <a:pt x="240" y="270"/>
                  </a:lnTo>
                  <a:lnTo>
                    <a:pt x="228" y="276"/>
                  </a:lnTo>
                  <a:lnTo>
                    <a:pt x="210" y="282"/>
                  </a:lnTo>
                  <a:lnTo>
                    <a:pt x="198" y="288"/>
                  </a:lnTo>
                  <a:lnTo>
                    <a:pt x="186" y="294"/>
                  </a:lnTo>
                  <a:lnTo>
                    <a:pt x="174" y="330"/>
                  </a:lnTo>
                  <a:lnTo>
                    <a:pt x="162" y="342"/>
                  </a:lnTo>
                  <a:lnTo>
                    <a:pt x="156" y="354"/>
                  </a:lnTo>
                  <a:lnTo>
                    <a:pt x="150" y="360"/>
                  </a:lnTo>
                  <a:lnTo>
                    <a:pt x="150" y="366"/>
                  </a:lnTo>
                  <a:lnTo>
                    <a:pt x="108" y="372"/>
                  </a:lnTo>
                  <a:lnTo>
                    <a:pt x="60" y="378"/>
                  </a:lnTo>
                  <a:lnTo>
                    <a:pt x="42" y="378"/>
                  </a:lnTo>
                  <a:lnTo>
                    <a:pt x="12" y="378"/>
                  </a:lnTo>
                  <a:lnTo>
                    <a:pt x="6" y="378"/>
                  </a:lnTo>
                  <a:lnTo>
                    <a:pt x="0" y="366"/>
                  </a:lnTo>
                  <a:lnTo>
                    <a:pt x="12" y="360"/>
                  </a:lnTo>
                  <a:lnTo>
                    <a:pt x="24" y="348"/>
                  </a:lnTo>
                  <a:lnTo>
                    <a:pt x="30" y="342"/>
                  </a:lnTo>
                  <a:lnTo>
                    <a:pt x="36" y="330"/>
                  </a:lnTo>
                  <a:lnTo>
                    <a:pt x="72" y="300"/>
                  </a:lnTo>
                  <a:lnTo>
                    <a:pt x="78" y="294"/>
                  </a:lnTo>
                  <a:lnTo>
                    <a:pt x="78" y="288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96" y="270"/>
                  </a:lnTo>
                  <a:lnTo>
                    <a:pt x="102" y="264"/>
                  </a:lnTo>
                  <a:lnTo>
                    <a:pt x="108" y="258"/>
                  </a:lnTo>
                  <a:lnTo>
                    <a:pt x="114" y="246"/>
                  </a:lnTo>
                  <a:lnTo>
                    <a:pt x="120" y="240"/>
                  </a:lnTo>
                  <a:lnTo>
                    <a:pt x="126" y="234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0" y="210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86" y="174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22" y="138"/>
                  </a:lnTo>
                  <a:lnTo>
                    <a:pt x="234" y="132"/>
                  </a:lnTo>
                  <a:lnTo>
                    <a:pt x="246" y="126"/>
                  </a:lnTo>
                  <a:lnTo>
                    <a:pt x="246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88" y="102"/>
                  </a:lnTo>
                  <a:lnTo>
                    <a:pt x="300" y="96"/>
                  </a:lnTo>
                  <a:lnTo>
                    <a:pt x="306" y="90"/>
                  </a:lnTo>
                  <a:lnTo>
                    <a:pt x="318" y="90"/>
                  </a:lnTo>
                  <a:lnTo>
                    <a:pt x="324" y="84"/>
                  </a:lnTo>
                  <a:lnTo>
                    <a:pt x="348" y="72"/>
                  </a:lnTo>
                  <a:lnTo>
                    <a:pt x="354" y="72"/>
                  </a:lnTo>
                  <a:lnTo>
                    <a:pt x="384" y="66"/>
                  </a:lnTo>
                  <a:lnTo>
                    <a:pt x="390" y="66"/>
                  </a:lnTo>
                  <a:lnTo>
                    <a:pt x="396" y="66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66"/>
                  </a:lnTo>
                  <a:lnTo>
                    <a:pt x="438" y="66"/>
                  </a:lnTo>
                  <a:lnTo>
                    <a:pt x="468" y="66"/>
                  </a:lnTo>
                  <a:lnTo>
                    <a:pt x="480" y="66"/>
                  </a:lnTo>
                  <a:lnTo>
                    <a:pt x="486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22" y="60"/>
                  </a:lnTo>
                  <a:lnTo>
                    <a:pt x="534" y="54"/>
                  </a:lnTo>
                  <a:lnTo>
                    <a:pt x="564" y="42"/>
                  </a:lnTo>
                  <a:lnTo>
                    <a:pt x="570" y="42"/>
                  </a:lnTo>
                  <a:lnTo>
                    <a:pt x="582" y="36"/>
                  </a:lnTo>
                  <a:lnTo>
                    <a:pt x="588" y="36"/>
                  </a:lnTo>
                  <a:lnTo>
                    <a:pt x="600" y="30"/>
                  </a:lnTo>
                  <a:lnTo>
                    <a:pt x="606" y="30"/>
                  </a:lnTo>
                  <a:lnTo>
                    <a:pt x="618" y="24"/>
                  </a:lnTo>
                  <a:lnTo>
                    <a:pt x="642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72" y="12"/>
                  </a:lnTo>
                  <a:lnTo>
                    <a:pt x="696" y="12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50" y="6"/>
                  </a:lnTo>
                  <a:lnTo>
                    <a:pt x="768" y="6"/>
                  </a:lnTo>
                  <a:lnTo>
                    <a:pt x="774" y="6"/>
                  </a:lnTo>
                  <a:lnTo>
                    <a:pt x="786" y="6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6" y="6"/>
                  </a:lnTo>
                  <a:lnTo>
                    <a:pt x="846" y="6"/>
                  </a:lnTo>
                  <a:lnTo>
                    <a:pt x="852" y="0"/>
                  </a:lnTo>
                  <a:lnTo>
                    <a:pt x="876" y="0"/>
                  </a:lnTo>
                  <a:lnTo>
                    <a:pt x="876" y="6"/>
                  </a:lnTo>
                  <a:lnTo>
                    <a:pt x="888" y="0"/>
                  </a:lnTo>
                  <a:lnTo>
                    <a:pt x="900" y="0"/>
                  </a:lnTo>
                  <a:lnTo>
                    <a:pt x="906" y="0"/>
                  </a:lnTo>
                  <a:lnTo>
                    <a:pt x="912" y="0"/>
                  </a:lnTo>
                  <a:lnTo>
                    <a:pt x="948" y="0"/>
                  </a:lnTo>
                  <a:lnTo>
                    <a:pt x="954" y="0"/>
                  </a:lnTo>
                  <a:lnTo>
                    <a:pt x="972" y="0"/>
                  </a:lnTo>
                  <a:lnTo>
                    <a:pt x="978" y="0"/>
                  </a:lnTo>
                  <a:lnTo>
                    <a:pt x="996" y="0"/>
                  </a:lnTo>
                  <a:lnTo>
                    <a:pt x="1032" y="0"/>
                  </a:lnTo>
                  <a:lnTo>
                    <a:pt x="1044" y="0"/>
                  </a:lnTo>
                  <a:lnTo>
                    <a:pt x="1050" y="0"/>
                  </a:lnTo>
                  <a:lnTo>
                    <a:pt x="1056" y="6"/>
                  </a:lnTo>
                  <a:lnTo>
                    <a:pt x="1056" y="0"/>
                  </a:lnTo>
                  <a:lnTo>
                    <a:pt x="1074" y="0"/>
                  </a:lnTo>
                  <a:lnTo>
                    <a:pt x="1098" y="6"/>
                  </a:lnTo>
                  <a:lnTo>
                    <a:pt x="1116" y="6"/>
                  </a:lnTo>
                  <a:lnTo>
                    <a:pt x="1140" y="12"/>
                  </a:lnTo>
                  <a:lnTo>
                    <a:pt x="1152" y="12"/>
                  </a:lnTo>
                  <a:lnTo>
                    <a:pt x="1158" y="12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6" y="12"/>
                  </a:lnTo>
                  <a:lnTo>
                    <a:pt x="1194" y="18"/>
                  </a:lnTo>
                  <a:lnTo>
                    <a:pt x="1206" y="18"/>
                  </a:lnTo>
                  <a:lnTo>
                    <a:pt x="1242" y="36"/>
                  </a:lnTo>
                  <a:lnTo>
                    <a:pt x="1248" y="36"/>
                  </a:lnTo>
                  <a:lnTo>
                    <a:pt x="1254" y="36"/>
                  </a:lnTo>
                  <a:lnTo>
                    <a:pt x="1260" y="42"/>
                  </a:lnTo>
                  <a:lnTo>
                    <a:pt x="1272" y="48"/>
                  </a:lnTo>
                  <a:lnTo>
                    <a:pt x="1278" y="48"/>
                  </a:lnTo>
                  <a:lnTo>
                    <a:pt x="1284" y="48"/>
                  </a:lnTo>
                  <a:lnTo>
                    <a:pt x="1290" y="54"/>
                  </a:lnTo>
                  <a:lnTo>
                    <a:pt x="1308" y="60"/>
                  </a:lnTo>
                  <a:lnTo>
                    <a:pt x="1326" y="60"/>
                  </a:lnTo>
                  <a:lnTo>
                    <a:pt x="1338" y="66"/>
                  </a:lnTo>
                  <a:lnTo>
                    <a:pt x="1344" y="66"/>
                  </a:lnTo>
                  <a:lnTo>
                    <a:pt x="1350" y="66"/>
                  </a:lnTo>
                  <a:lnTo>
                    <a:pt x="1356" y="66"/>
                  </a:lnTo>
                  <a:lnTo>
                    <a:pt x="1362" y="72"/>
                  </a:lnTo>
                  <a:lnTo>
                    <a:pt x="1368" y="72"/>
                  </a:lnTo>
                  <a:lnTo>
                    <a:pt x="1380" y="72"/>
                  </a:lnTo>
                  <a:lnTo>
                    <a:pt x="1386" y="72"/>
                  </a:lnTo>
                  <a:lnTo>
                    <a:pt x="1422" y="84"/>
                  </a:lnTo>
                  <a:lnTo>
                    <a:pt x="1428" y="84"/>
                  </a:lnTo>
                  <a:lnTo>
                    <a:pt x="1446" y="90"/>
                  </a:lnTo>
                  <a:lnTo>
                    <a:pt x="1458" y="102"/>
                  </a:lnTo>
                  <a:lnTo>
                    <a:pt x="1494" y="126"/>
                  </a:lnTo>
                  <a:lnTo>
                    <a:pt x="1500" y="132"/>
                  </a:lnTo>
                  <a:lnTo>
                    <a:pt x="1512" y="138"/>
                  </a:lnTo>
                  <a:lnTo>
                    <a:pt x="1512" y="144"/>
                  </a:lnTo>
                  <a:lnTo>
                    <a:pt x="1518" y="150"/>
                  </a:lnTo>
                  <a:lnTo>
                    <a:pt x="1530" y="156"/>
                  </a:lnTo>
                  <a:lnTo>
                    <a:pt x="1530" y="162"/>
                  </a:lnTo>
                  <a:lnTo>
                    <a:pt x="1548" y="168"/>
                  </a:lnTo>
                  <a:lnTo>
                    <a:pt x="1566" y="180"/>
                  </a:lnTo>
                  <a:lnTo>
                    <a:pt x="1578" y="186"/>
                  </a:lnTo>
                  <a:lnTo>
                    <a:pt x="1578" y="180"/>
                  </a:lnTo>
                  <a:lnTo>
                    <a:pt x="1584" y="186"/>
                  </a:lnTo>
                  <a:lnTo>
                    <a:pt x="1584" y="174"/>
                  </a:lnTo>
                  <a:lnTo>
                    <a:pt x="1590" y="174"/>
                  </a:lnTo>
                  <a:lnTo>
                    <a:pt x="1590" y="180"/>
                  </a:lnTo>
                  <a:lnTo>
                    <a:pt x="1596" y="180"/>
                  </a:lnTo>
                  <a:lnTo>
                    <a:pt x="1596" y="174"/>
                  </a:lnTo>
                  <a:lnTo>
                    <a:pt x="1602" y="174"/>
                  </a:lnTo>
                  <a:lnTo>
                    <a:pt x="1608" y="174"/>
                  </a:lnTo>
                  <a:lnTo>
                    <a:pt x="1614" y="180"/>
                  </a:lnTo>
                  <a:lnTo>
                    <a:pt x="1620" y="174"/>
                  </a:lnTo>
                  <a:lnTo>
                    <a:pt x="1614" y="168"/>
                  </a:lnTo>
                  <a:lnTo>
                    <a:pt x="1614" y="162"/>
                  </a:lnTo>
                  <a:lnTo>
                    <a:pt x="1620" y="162"/>
                  </a:lnTo>
                  <a:lnTo>
                    <a:pt x="1626" y="162"/>
                  </a:lnTo>
                  <a:lnTo>
                    <a:pt x="1632" y="162"/>
                  </a:lnTo>
                  <a:lnTo>
                    <a:pt x="1638" y="168"/>
                  </a:lnTo>
                  <a:lnTo>
                    <a:pt x="1644" y="168"/>
                  </a:lnTo>
                  <a:lnTo>
                    <a:pt x="1650" y="174"/>
                  </a:lnTo>
                  <a:lnTo>
                    <a:pt x="1656" y="168"/>
                  </a:lnTo>
                  <a:lnTo>
                    <a:pt x="1668" y="168"/>
                  </a:lnTo>
                  <a:lnTo>
                    <a:pt x="1674" y="174"/>
                  </a:lnTo>
                  <a:lnTo>
                    <a:pt x="1674" y="180"/>
                  </a:lnTo>
                  <a:lnTo>
                    <a:pt x="1674" y="186"/>
                  </a:lnTo>
                  <a:lnTo>
                    <a:pt x="1680" y="186"/>
                  </a:lnTo>
                  <a:lnTo>
                    <a:pt x="1680" y="192"/>
                  </a:lnTo>
                  <a:lnTo>
                    <a:pt x="1686" y="192"/>
                  </a:lnTo>
                  <a:lnTo>
                    <a:pt x="1686" y="186"/>
                  </a:lnTo>
                  <a:lnTo>
                    <a:pt x="1680" y="186"/>
                  </a:lnTo>
                  <a:lnTo>
                    <a:pt x="1686" y="180"/>
                  </a:lnTo>
                  <a:lnTo>
                    <a:pt x="1692" y="180"/>
                  </a:lnTo>
                  <a:lnTo>
                    <a:pt x="1698" y="180"/>
                  </a:lnTo>
                  <a:lnTo>
                    <a:pt x="1704" y="180"/>
                  </a:lnTo>
                  <a:lnTo>
                    <a:pt x="1704" y="186"/>
                  </a:lnTo>
                  <a:lnTo>
                    <a:pt x="1710" y="186"/>
                  </a:lnTo>
                  <a:lnTo>
                    <a:pt x="1716" y="186"/>
                  </a:lnTo>
                  <a:lnTo>
                    <a:pt x="1716" y="192"/>
                  </a:lnTo>
                  <a:lnTo>
                    <a:pt x="1716" y="198"/>
                  </a:lnTo>
                  <a:lnTo>
                    <a:pt x="1722" y="192"/>
                  </a:lnTo>
                  <a:lnTo>
                    <a:pt x="1722" y="186"/>
                  </a:lnTo>
                  <a:lnTo>
                    <a:pt x="1728" y="192"/>
                  </a:lnTo>
                  <a:lnTo>
                    <a:pt x="1734" y="192"/>
                  </a:lnTo>
                  <a:lnTo>
                    <a:pt x="1734" y="186"/>
                  </a:lnTo>
                  <a:lnTo>
                    <a:pt x="1740" y="186"/>
                  </a:lnTo>
                  <a:lnTo>
                    <a:pt x="1740" y="192"/>
                  </a:lnTo>
                  <a:lnTo>
                    <a:pt x="1746" y="192"/>
                  </a:lnTo>
                  <a:lnTo>
                    <a:pt x="1758" y="192"/>
                  </a:lnTo>
                  <a:lnTo>
                    <a:pt x="1764" y="192"/>
                  </a:lnTo>
                  <a:lnTo>
                    <a:pt x="1764" y="198"/>
                  </a:lnTo>
                  <a:lnTo>
                    <a:pt x="1758" y="204"/>
                  </a:lnTo>
                  <a:lnTo>
                    <a:pt x="1752" y="210"/>
                  </a:lnTo>
                  <a:lnTo>
                    <a:pt x="1746" y="216"/>
                  </a:lnTo>
                  <a:lnTo>
                    <a:pt x="1746" y="222"/>
                  </a:lnTo>
                  <a:lnTo>
                    <a:pt x="1734" y="228"/>
                  </a:lnTo>
                  <a:lnTo>
                    <a:pt x="1734" y="234"/>
                  </a:lnTo>
                  <a:lnTo>
                    <a:pt x="1734" y="258"/>
                  </a:lnTo>
                  <a:lnTo>
                    <a:pt x="1740" y="330"/>
                  </a:lnTo>
                  <a:lnTo>
                    <a:pt x="1746" y="372"/>
                  </a:lnTo>
                  <a:lnTo>
                    <a:pt x="1788" y="426"/>
                  </a:lnTo>
                  <a:lnTo>
                    <a:pt x="1806" y="438"/>
                  </a:lnTo>
                  <a:lnTo>
                    <a:pt x="1794" y="480"/>
                  </a:lnTo>
                  <a:lnTo>
                    <a:pt x="1770" y="516"/>
                  </a:lnTo>
                  <a:lnTo>
                    <a:pt x="1746" y="546"/>
                  </a:lnTo>
                  <a:lnTo>
                    <a:pt x="1716" y="570"/>
                  </a:lnTo>
                  <a:lnTo>
                    <a:pt x="1680" y="594"/>
                  </a:lnTo>
                  <a:lnTo>
                    <a:pt x="1668" y="630"/>
                  </a:lnTo>
                  <a:lnTo>
                    <a:pt x="1680" y="684"/>
                  </a:lnTo>
                  <a:lnTo>
                    <a:pt x="1686" y="756"/>
                  </a:lnTo>
                  <a:lnTo>
                    <a:pt x="1662" y="870"/>
                  </a:lnTo>
                  <a:lnTo>
                    <a:pt x="1656" y="888"/>
                  </a:lnTo>
                  <a:lnTo>
                    <a:pt x="1650" y="972"/>
                  </a:lnTo>
                  <a:lnTo>
                    <a:pt x="1656" y="978"/>
                  </a:lnTo>
                  <a:lnTo>
                    <a:pt x="1650" y="984"/>
                  </a:lnTo>
                  <a:lnTo>
                    <a:pt x="1650" y="990"/>
                  </a:lnTo>
                  <a:lnTo>
                    <a:pt x="1650" y="1002"/>
                  </a:lnTo>
                  <a:lnTo>
                    <a:pt x="1656" y="1008"/>
                  </a:lnTo>
                  <a:lnTo>
                    <a:pt x="1656" y="1014"/>
                  </a:lnTo>
                  <a:lnTo>
                    <a:pt x="1662" y="1026"/>
                  </a:lnTo>
                  <a:lnTo>
                    <a:pt x="1650" y="1032"/>
                  </a:lnTo>
                  <a:lnTo>
                    <a:pt x="1638" y="1044"/>
                  </a:lnTo>
                  <a:lnTo>
                    <a:pt x="1626" y="1080"/>
                  </a:lnTo>
                  <a:lnTo>
                    <a:pt x="1614" y="1116"/>
                  </a:lnTo>
                  <a:lnTo>
                    <a:pt x="1614" y="1128"/>
                  </a:lnTo>
                  <a:lnTo>
                    <a:pt x="1626" y="1134"/>
                  </a:lnTo>
                  <a:lnTo>
                    <a:pt x="1644" y="1134"/>
                  </a:lnTo>
                  <a:lnTo>
                    <a:pt x="1662" y="1134"/>
                  </a:lnTo>
                  <a:lnTo>
                    <a:pt x="1680" y="1140"/>
                  </a:lnTo>
                  <a:lnTo>
                    <a:pt x="1698" y="1170"/>
                  </a:lnTo>
                  <a:lnTo>
                    <a:pt x="1704" y="1194"/>
                  </a:lnTo>
                  <a:lnTo>
                    <a:pt x="1692" y="1206"/>
                  </a:lnTo>
                  <a:lnTo>
                    <a:pt x="1662" y="1242"/>
                  </a:lnTo>
                  <a:lnTo>
                    <a:pt x="1632" y="1266"/>
                  </a:lnTo>
                  <a:lnTo>
                    <a:pt x="1620" y="1314"/>
                  </a:lnTo>
                  <a:lnTo>
                    <a:pt x="1584" y="1356"/>
                  </a:lnTo>
                  <a:lnTo>
                    <a:pt x="1578" y="1356"/>
                  </a:lnTo>
                  <a:lnTo>
                    <a:pt x="1578" y="1362"/>
                  </a:lnTo>
                  <a:lnTo>
                    <a:pt x="1572" y="1410"/>
                  </a:lnTo>
                  <a:lnTo>
                    <a:pt x="1584" y="1452"/>
                  </a:lnTo>
                  <a:lnTo>
                    <a:pt x="1608" y="1476"/>
                  </a:lnTo>
                  <a:lnTo>
                    <a:pt x="1596" y="1476"/>
                  </a:lnTo>
                  <a:lnTo>
                    <a:pt x="1584" y="1482"/>
                  </a:lnTo>
                  <a:lnTo>
                    <a:pt x="1560" y="1482"/>
                  </a:lnTo>
                  <a:lnTo>
                    <a:pt x="1536" y="1482"/>
                  </a:lnTo>
                  <a:lnTo>
                    <a:pt x="1524" y="1482"/>
                  </a:lnTo>
                  <a:lnTo>
                    <a:pt x="1506" y="1500"/>
                  </a:lnTo>
                  <a:lnTo>
                    <a:pt x="1482" y="1530"/>
                  </a:lnTo>
                  <a:lnTo>
                    <a:pt x="1452" y="1542"/>
                  </a:lnTo>
                  <a:lnTo>
                    <a:pt x="1446" y="1542"/>
                  </a:lnTo>
                  <a:lnTo>
                    <a:pt x="1440" y="1542"/>
                  </a:lnTo>
                  <a:lnTo>
                    <a:pt x="1440" y="1548"/>
                  </a:lnTo>
                  <a:lnTo>
                    <a:pt x="1434" y="1548"/>
                  </a:lnTo>
                  <a:lnTo>
                    <a:pt x="1428" y="1548"/>
                  </a:lnTo>
                  <a:lnTo>
                    <a:pt x="1428" y="1554"/>
                  </a:lnTo>
                  <a:lnTo>
                    <a:pt x="1422" y="1560"/>
                  </a:lnTo>
                  <a:lnTo>
                    <a:pt x="1416" y="1560"/>
                  </a:lnTo>
                  <a:lnTo>
                    <a:pt x="1410" y="1566"/>
                  </a:lnTo>
                  <a:lnTo>
                    <a:pt x="1410" y="1560"/>
                  </a:lnTo>
                  <a:lnTo>
                    <a:pt x="1404" y="1560"/>
                  </a:lnTo>
                  <a:lnTo>
                    <a:pt x="1392" y="1560"/>
                  </a:lnTo>
                  <a:lnTo>
                    <a:pt x="1386" y="1560"/>
                  </a:lnTo>
                  <a:lnTo>
                    <a:pt x="1380" y="1566"/>
                  </a:lnTo>
                  <a:lnTo>
                    <a:pt x="1374" y="1560"/>
                  </a:lnTo>
                  <a:lnTo>
                    <a:pt x="1368" y="1566"/>
                  </a:lnTo>
                  <a:lnTo>
                    <a:pt x="1362" y="1566"/>
                  </a:lnTo>
                  <a:lnTo>
                    <a:pt x="1362" y="1572"/>
                  </a:lnTo>
                  <a:lnTo>
                    <a:pt x="1356" y="1572"/>
                  </a:lnTo>
                  <a:lnTo>
                    <a:pt x="1356" y="1578"/>
                  </a:lnTo>
                  <a:lnTo>
                    <a:pt x="1350" y="1578"/>
                  </a:lnTo>
                  <a:lnTo>
                    <a:pt x="1350" y="1572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32" y="1584"/>
                  </a:lnTo>
                  <a:lnTo>
                    <a:pt x="1326" y="1590"/>
                  </a:lnTo>
                  <a:lnTo>
                    <a:pt x="1320" y="1584"/>
                  </a:lnTo>
                  <a:lnTo>
                    <a:pt x="1314" y="1590"/>
                  </a:lnTo>
                  <a:lnTo>
                    <a:pt x="1308" y="1596"/>
                  </a:lnTo>
                  <a:lnTo>
                    <a:pt x="1302" y="1596"/>
                  </a:lnTo>
                  <a:lnTo>
                    <a:pt x="1296" y="1596"/>
                  </a:lnTo>
                  <a:lnTo>
                    <a:pt x="1290" y="1596"/>
                  </a:lnTo>
                  <a:lnTo>
                    <a:pt x="1284" y="1596"/>
                  </a:lnTo>
                  <a:lnTo>
                    <a:pt x="1278" y="1602"/>
                  </a:lnTo>
                  <a:lnTo>
                    <a:pt x="1266" y="1602"/>
                  </a:lnTo>
                  <a:lnTo>
                    <a:pt x="1272" y="1608"/>
                  </a:lnTo>
                  <a:lnTo>
                    <a:pt x="1278" y="1608"/>
                  </a:lnTo>
                  <a:lnTo>
                    <a:pt x="1284" y="1608"/>
                  </a:lnTo>
                  <a:lnTo>
                    <a:pt x="1290" y="1614"/>
                  </a:lnTo>
                  <a:lnTo>
                    <a:pt x="1296" y="1620"/>
                  </a:lnTo>
                  <a:lnTo>
                    <a:pt x="1302" y="1626"/>
                  </a:lnTo>
                  <a:lnTo>
                    <a:pt x="1308" y="1632"/>
                  </a:lnTo>
                  <a:lnTo>
                    <a:pt x="1314" y="1638"/>
                  </a:lnTo>
                  <a:lnTo>
                    <a:pt x="1314" y="1644"/>
                  </a:lnTo>
                  <a:lnTo>
                    <a:pt x="1320" y="1644"/>
                  </a:lnTo>
                  <a:lnTo>
                    <a:pt x="1320" y="1650"/>
                  </a:lnTo>
                  <a:lnTo>
                    <a:pt x="1326" y="1656"/>
                  </a:lnTo>
                  <a:lnTo>
                    <a:pt x="1332" y="1668"/>
                  </a:lnTo>
                  <a:lnTo>
                    <a:pt x="1338" y="1680"/>
                  </a:lnTo>
                  <a:lnTo>
                    <a:pt x="1338" y="1698"/>
                  </a:lnTo>
                  <a:lnTo>
                    <a:pt x="1350" y="1710"/>
                  </a:lnTo>
                  <a:lnTo>
                    <a:pt x="1350" y="1716"/>
                  </a:lnTo>
                  <a:lnTo>
                    <a:pt x="1350" y="1722"/>
                  </a:lnTo>
                  <a:lnTo>
                    <a:pt x="1350" y="1728"/>
                  </a:lnTo>
                  <a:lnTo>
                    <a:pt x="1356" y="1728"/>
                  </a:lnTo>
                  <a:lnTo>
                    <a:pt x="1356" y="1734"/>
                  </a:lnTo>
                  <a:lnTo>
                    <a:pt x="1350" y="1734"/>
                  </a:lnTo>
                  <a:lnTo>
                    <a:pt x="1344" y="1740"/>
                  </a:lnTo>
                  <a:lnTo>
                    <a:pt x="1338" y="1740"/>
                  </a:lnTo>
                  <a:lnTo>
                    <a:pt x="1332" y="1746"/>
                  </a:lnTo>
                  <a:lnTo>
                    <a:pt x="1326" y="1746"/>
                  </a:lnTo>
                  <a:lnTo>
                    <a:pt x="1326" y="1752"/>
                  </a:lnTo>
                  <a:lnTo>
                    <a:pt x="1320" y="1752"/>
                  </a:lnTo>
                  <a:lnTo>
                    <a:pt x="1320" y="1758"/>
                  </a:lnTo>
                  <a:lnTo>
                    <a:pt x="1314" y="1758"/>
                  </a:lnTo>
                  <a:lnTo>
                    <a:pt x="1308" y="1758"/>
                  </a:lnTo>
                  <a:lnTo>
                    <a:pt x="1302" y="1758"/>
                  </a:lnTo>
                  <a:lnTo>
                    <a:pt x="1296" y="1758"/>
                  </a:lnTo>
                  <a:lnTo>
                    <a:pt x="1290" y="1764"/>
                  </a:lnTo>
                  <a:lnTo>
                    <a:pt x="1284" y="1770"/>
                  </a:lnTo>
                  <a:lnTo>
                    <a:pt x="1278" y="1770"/>
                  </a:lnTo>
                  <a:lnTo>
                    <a:pt x="1272" y="1770"/>
                  </a:lnTo>
                  <a:lnTo>
                    <a:pt x="1266" y="1770"/>
                  </a:lnTo>
                  <a:lnTo>
                    <a:pt x="1266" y="1776"/>
                  </a:lnTo>
                  <a:lnTo>
                    <a:pt x="1260" y="1776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4" name="Freeform 39">
              <a:extLst>
                <a:ext uri="{FF2B5EF4-FFF2-40B4-BE49-F238E27FC236}">
                  <a16:creationId xmlns:a16="http://schemas.microsoft.com/office/drawing/2014/main" id="{E01CDA8B-32C7-421A-B23E-968CAC7F78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2974" y="1759680"/>
              <a:ext cx="825155" cy="700024"/>
            </a:xfrm>
            <a:custGeom>
              <a:avLst/>
              <a:gdLst>
                <a:gd name="T0" fmla="*/ 60 w 1554"/>
                <a:gd name="T1" fmla="*/ 86 h 1320"/>
                <a:gd name="T2" fmla="*/ 66 w 1554"/>
                <a:gd name="T3" fmla="*/ 80 h 1320"/>
                <a:gd name="T4" fmla="*/ 61 w 1554"/>
                <a:gd name="T5" fmla="*/ 73 h 1320"/>
                <a:gd name="T6" fmla="*/ 57 w 1554"/>
                <a:gd name="T7" fmla="*/ 67 h 1320"/>
                <a:gd name="T8" fmla="*/ 60 w 1554"/>
                <a:gd name="T9" fmla="*/ 59 h 1320"/>
                <a:gd name="T10" fmla="*/ 56 w 1554"/>
                <a:gd name="T11" fmla="*/ 55 h 1320"/>
                <a:gd name="T12" fmla="*/ 45 w 1554"/>
                <a:gd name="T13" fmla="*/ 53 h 1320"/>
                <a:gd name="T14" fmla="*/ 42 w 1554"/>
                <a:gd name="T15" fmla="*/ 41 h 1320"/>
                <a:gd name="T16" fmla="*/ 37 w 1554"/>
                <a:gd name="T17" fmla="*/ 39 h 1320"/>
                <a:gd name="T18" fmla="*/ 31 w 1554"/>
                <a:gd name="T19" fmla="*/ 44 h 1320"/>
                <a:gd name="T20" fmla="*/ 37 w 1554"/>
                <a:gd name="T21" fmla="*/ 35 h 1320"/>
                <a:gd name="T22" fmla="*/ 30 w 1554"/>
                <a:gd name="T23" fmla="*/ 23 h 1320"/>
                <a:gd name="T24" fmla="*/ 21 w 1554"/>
                <a:gd name="T25" fmla="*/ 23 h 1320"/>
                <a:gd name="T26" fmla="*/ 15 w 1554"/>
                <a:gd name="T27" fmla="*/ 27 h 1320"/>
                <a:gd name="T28" fmla="*/ 11 w 1554"/>
                <a:gd name="T29" fmla="*/ 32 h 1320"/>
                <a:gd name="T30" fmla="*/ 6 w 1554"/>
                <a:gd name="T31" fmla="*/ 22 h 1320"/>
                <a:gd name="T32" fmla="*/ 3 w 1554"/>
                <a:gd name="T33" fmla="*/ 11 h 1320"/>
                <a:gd name="T34" fmla="*/ 24 w 1554"/>
                <a:gd name="T35" fmla="*/ 12 h 1320"/>
                <a:gd name="T36" fmla="*/ 33 w 1554"/>
                <a:gd name="T37" fmla="*/ 19 h 1320"/>
                <a:gd name="T38" fmla="*/ 49 w 1554"/>
                <a:gd name="T39" fmla="*/ 12 h 1320"/>
                <a:gd name="T40" fmla="*/ 58 w 1554"/>
                <a:gd name="T41" fmla="*/ 10 h 1320"/>
                <a:gd name="T42" fmla="*/ 68 w 1554"/>
                <a:gd name="T43" fmla="*/ 11 h 1320"/>
                <a:gd name="T44" fmla="*/ 79 w 1554"/>
                <a:gd name="T45" fmla="*/ 12 h 1320"/>
                <a:gd name="T46" fmla="*/ 96 w 1554"/>
                <a:gd name="T47" fmla="*/ 11 h 1320"/>
                <a:gd name="T48" fmla="*/ 107 w 1554"/>
                <a:gd name="T49" fmla="*/ 2 h 1320"/>
                <a:gd name="T50" fmla="*/ 117 w 1554"/>
                <a:gd name="T51" fmla="*/ 8 h 1320"/>
                <a:gd name="T52" fmla="*/ 126 w 1554"/>
                <a:gd name="T53" fmla="*/ 12 h 1320"/>
                <a:gd name="T54" fmla="*/ 134 w 1554"/>
                <a:gd name="T55" fmla="*/ 24 h 1320"/>
                <a:gd name="T56" fmla="*/ 133 w 1554"/>
                <a:gd name="T57" fmla="*/ 29 h 1320"/>
                <a:gd name="T58" fmla="*/ 129 w 1554"/>
                <a:gd name="T59" fmla="*/ 31 h 1320"/>
                <a:gd name="T60" fmla="*/ 125 w 1554"/>
                <a:gd name="T61" fmla="*/ 32 h 1320"/>
                <a:gd name="T62" fmla="*/ 115 w 1554"/>
                <a:gd name="T63" fmla="*/ 34 h 1320"/>
                <a:gd name="T64" fmla="*/ 113 w 1554"/>
                <a:gd name="T65" fmla="*/ 44 h 1320"/>
                <a:gd name="T66" fmla="*/ 111 w 1554"/>
                <a:gd name="T67" fmla="*/ 54 h 1320"/>
                <a:gd name="T68" fmla="*/ 107 w 1554"/>
                <a:gd name="T69" fmla="*/ 56 h 1320"/>
                <a:gd name="T70" fmla="*/ 102 w 1554"/>
                <a:gd name="T71" fmla="*/ 58 h 1320"/>
                <a:gd name="T72" fmla="*/ 99 w 1554"/>
                <a:gd name="T73" fmla="*/ 60 h 1320"/>
                <a:gd name="T74" fmla="*/ 93 w 1554"/>
                <a:gd name="T75" fmla="*/ 62 h 1320"/>
                <a:gd name="T76" fmla="*/ 87 w 1554"/>
                <a:gd name="T77" fmla="*/ 64 h 1320"/>
                <a:gd name="T78" fmla="*/ 84 w 1554"/>
                <a:gd name="T79" fmla="*/ 65 h 1320"/>
                <a:gd name="T80" fmla="*/ 81 w 1554"/>
                <a:gd name="T81" fmla="*/ 69 h 1320"/>
                <a:gd name="T82" fmla="*/ 83 w 1554"/>
                <a:gd name="T83" fmla="*/ 72 h 1320"/>
                <a:gd name="T84" fmla="*/ 92 w 1554"/>
                <a:gd name="T85" fmla="*/ 73 h 1320"/>
                <a:gd name="T86" fmla="*/ 93 w 1554"/>
                <a:gd name="T87" fmla="*/ 87 h 1320"/>
                <a:gd name="T88" fmla="*/ 104 w 1554"/>
                <a:gd name="T89" fmla="*/ 98 h 1320"/>
                <a:gd name="T90" fmla="*/ 108 w 1554"/>
                <a:gd name="T91" fmla="*/ 98 h 1320"/>
                <a:gd name="T92" fmla="*/ 112 w 1554"/>
                <a:gd name="T93" fmla="*/ 100 h 1320"/>
                <a:gd name="T94" fmla="*/ 118 w 1554"/>
                <a:gd name="T95" fmla="*/ 100 h 1320"/>
                <a:gd name="T96" fmla="*/ 122 w 1554"/>
                <a:gd name="T97" fmla="*/ 102 h 1320"/>
                <a:gd name="T98" fmla="*/ 118 w 1554"/>
                <a:gd name="T99" fmla="*/ 105 h 1320"/>
                <a:gd name="T100" fmla="*/ 114 w 1554"/>
                <a:gd name="T101" fmla="*/ 107 h 1320"/>
                <a:gd name="T102" fmla="*/ 113 w 1554"/>
                <a:gd name="T103" fmla="*/ 113 h 1320"/>
                <a:gd name="T104" fmla="*/ 104 w 1554"/>
                <a:gd name="T105" fmla="*/ 113 h 1320"/>
                <a:gd name="T106" fmla="*/ 93 w 1554"/>
                <a:gd name="T107" fmla="*/ 109 h 1320"/>
                <a:gd name="T108" fmla="*/ 96 w 1554"/>
                <a:gd name="T109" fmla="*/ 103 h 1320"/>
                <a:gd name="T110" fmla="*/ 95 w 1554"/>
                <a:gd name="T111" fmla="*/ 97 h 1320"/>
                <a:gd name="T112" fmla="*/ 87 w 1554"/>
                <a:gd name="T113" fmla="*/ 98 h 1320"/>
                <a:gd name="T114" fmla="*/ 81 w 1554"/>
                <a:gd name="T115" fmla="*/ 98 h 1320"/>
                <a:gd name="T116" fmla="*/ 78 w 1554"/>
                <a:gd name="T117" fmla="*/ 93 h 1320"/>
                <a:gd name="T118" fmla="*/ 65 w 1554"/>
                <a:gd name="T119" fmla="*/ 92 h 1320"/>
                <a:gd name="T120" fmla="*/ 59 w 1554"/>
                <a:gd name="T121" fmla="*/ 92 h 13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54"/>
                <a:gd name="T184" fmla="*/ 0 h 1320"/>
                <a:gd name="T185" fmla="*/ 1554 w 1554"/>
                <a:gd name="T186" fmla="*/ 1320 h 132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54" h="1320">
                  <a:moveTo>
                    <a:pt x="684" y="1068"/>
                  </a:moveTo>
                  <a:lnTo>
                    <a:pt x="684" y="1062"/>
                  </a:lnTo>
                  <a:lnTo>
                    <a:pt x="690" y="1056"/>
                  </a:lnTo>
                  <a:lnTo>
                    <a:pt x="690" y="1050"/>
                  </a:lnTo>
                  <a:lnTo>
                    <a:pt x="690" y="1044"/>
                  </a:lnTo>
                  <a:lnTo>
                    <a:pt x="690" y="1038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14"/>
                  </a:lnTo>
                  <a:lnTo>
                    <a:pt x="690" y="1008"/>
                  </a:lnTo>
                  <a:lnTo>
                    <a:pt x="696" y="996"/>
                  </a:lnTo>
                  <a:lnTo>
                    <a:pt x="714" y="996"/>
                  </a:lnTo>
                  <a:lnTo>
                    <a:pt x="714" y="990"/>
                  </a:lnTo>
                  <a:lnTo>
                    <a:pt x="732" y="984"/>
                  </a:lnTo>
                  <a:lnTo>
                    <a:pt x="744" y="978"/>
                  </a:lnTo>
                  <a:lnTo>
                    <a:pt x="762" y="966"/>
                  </a:lnTo>
                  <a:lnTo>
                    <a:pt x="762" y="960"/>
                  </a:lnTo>
                  <a:lnTo>
                    <a:pt x="768" y="954"/>
                  </a:lnTo>
                  <a:lnTo>
                    <a:pt x="774" y="948"/>
                  </a:lnTo>
                  <a:lnTo>
                    <a:pt x="774" y="942"/>
                  </a:lnTo>
                  <a:lnTo>
                    <a:pt x="774" y="924"/>
                  </a:lnTo>
                  <a:lnTo>
                    <a:pt x="768" y="918"/>
                  </a:lnTo>
                  <a:lnTo>
                    <a:pt x="756" y="918"/>
                  </a:lnTo>
                  <a:lnTo>
                    <a:pt x="744" y="918"/>
                  </a:lnTo>
                  <a:lnTo>
                    <a:pt x="732" y="924"/>
                  </a:lnTo>
                  <a:lnTo>
                    <a:pt x="726" y="912"/>
                  </a:lnTo>
                  <a:lnTo>
                    <a:pt x="720" y="912"/>
                  </a:lnTo>
                  <a:lnTo>
                    <a:pt x="720" y="900"/>
                  </a:lnTo>
                  <a:lnTo>
                    <a:pt x="720" y="870"/>
                  </a:lnTo>
                  <a:lnTo>
                    <a:pt x="696" y="876"/>
                  </a:lnTo>
                  <a:lnTo>
                    <a:pt x="690" y="852"/>
                  </a:lnTo>
                  <a:lnTo>
                    <a:pt x="702" y="852"/>
                  </a:lnTo>
                  <a:lnTo>
                    <a:pt x="702" y="840"/>
                  </a:lnTo>
                  <a:lnTo>
                    <a:pt x="708" y="834"/>
                  </a:lnTo>
                  <a:lnTo>
                    <a:pt x="702" y="822"/>
                  </a:lnTo>
                  <a:lnTo>
                    <a:pt x="660" y="822"/>
                  </a:lnTo>
                  <a:lnTo>
                    <a:pt x="654" y="822"/>
                  </a:lnTo>
                  <a:lnTo>
                    <a:pt x="642" y="822"/>
                  </a:lnTo>
                  <a:lnTo>
                    <a:pt x="642" y="810"/>
                  </a:lnTo>
                  <a:lnTo>
                    <a:pt x="642" y="798"/>
                  </a:lnTo>
                  <a:lnTo>
                    <a:pt x="642" y="792"/>
                  </a:lnTo>
                  <a:lnTo>
                    <a:pt x="648" y="780"/>
                  </a:lnTo>
                  <a:lnTo>
                    <a:pt x="654" y="774"/>
                  </a:lnTo>
                  <a:lnTo>
                    <a:pt x="660" y="774"/>
                  </a:lnTo>
                  <a:lnTo>
                    <a:pt x="672" y="762"/>
                  </a:lnTo>
                  <a:lnTo>
                    <a:pt x="672" y="756"/>
                  </a:lnTo>
                  <a:lnTo>
                    <a:pt x="678" y="750"/>
                  </a:lnTo>
                  <a:lnTo>
                    <a:pt x="684" y="750"/>
                  </a:lnTo>
                  <a:lnTo>
                    <a:pt x="690" y="744"/>
                  </a:lnTo>
                  <a:lnTo>
                    <a:pt x="696" y="732"/>
                  </a:lnTo>
                  <a:lnTo>
                    <a:pt x="696" y="726"/>
                  </a:lnTo>
                  <a:lnTo>
                    <a:pt x="702" y="714"/>
                  </a:lnTo>
                  <a:lnTo>
                    <a:pt x="696" y="708"/>
                  </a:lnTo>
                  <a:lnTo>
                    <a:pt x="690" y="690"/>
                  </a:lnTo>
                  <a:lnTo>
                    <a:pt x="696" y="678"/>
                  </a:lnTo>
                  <a:lnTo>
                    <a:pt x="708" y="672"/>
                  </a:lnTo>
                  <a:lnTo>
                    <a:pt x="708" y="660"/>
                  </a:lnTo>
                  <a:lnTo>
                    <a:pt x="702" y="660"/>
                  </a:lnTo>
                  <a:lnTo>
                    <a:pt x="696" y="660"/>
                  </a:lnTo>
                  <a:lnTo>
                    <a:pt x="690" y="654"/>
                  </a:lnTo>
                  <a:lnTo>
                    <a:pt x="684" y="654"/>
                  </a:lnTo>
                  <a:lnTo>
                    <a:pt x="690" y="606"/>
                  </a:lnTo>
                  <a:lnTo>
                    <a:pt x="660" y="606"/>
                  </a:lnTo>
                  <a:lnTo>
                    <a:pt x="660" y="612"/>
                  </a:lnTo>
                  <a:lnTo>
                    <a:pt x="648" y="612"/>
                  </a:lnTo>
                  <a:lnTo>
                    <a:pt x="642" y="636"/>
                  </a:lnTo>
                  <a:lnTo>
                    <a:pt x="636" y="636"/>
                  </a:lnTo>
                  <a:lnTo>
                    <a:pt x="630" y="648"/>
                  </a:lnTo>
                  <a:lnTo>
                    <a:pt x="612" y="648"/>
                  </a:lnTo>
                  <a:lnTo>
                    <a:pt x="606" y="636"/>
                  </a:lnTo>
                  <a:lnTo>
                    <a:pt x="600" y="630"/>
                  </a:lnTo>
                  <a:lnTo>
                    <a:pt x="588" y="606"/>
                  </a:lnTo>
                  <a:lnTo>
                    <a:pt x="552" y="606"/>
                  </a:lnTo>
                  <a:lnTo>
                    <a:pt x="552" y="612"/>
                  </a:lnTo>
                  <a:lnTo>
                    <a:pt x="540" y="612"/>
                  </a:lnTo>
                  <a:lnTo>
                    <a:pt x="540" y="606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16" y="612"/>
                  </a:lnTo>
                  <a:lnTo>
                    <a:pt x="516" y="582"/>
                  </a:lnTo>
                  <a:lnTo>
                    <a:pt x="522" y="576"/>
                  </a:lnTo>
                  <a:lnTo>
                    <a:pt x="528" y="576"/>
                  </a:lnTo>
                  <a:lnTo>
                    <a:pt x="528" y="552"/>
                  </a:lnTo>
                  <a:lnTo>
                    <a:pt x="522" y="540"/>
                  </a:lnTo>
                  <a:lnTo>
                    <a:pt x="510" y="528"/>
                  </a:lnTo>
                  <a:lnTo>
                    <a:pt x="486" y="510"/>
                  </a:lnTo>
                  <a:lnTo>
                    <a:pt x="480" y="498"/>
                  </a:lnTo>
                  <a:lnTo>
                    <a:pt x="480" y="474"/>
                  </a:lnTo>
                  <a:lnTo>
                    <a:pt x="492" y="468"/>
                  </a:lnTo>
                  <a:lnTo>
                    <a:pt x="486" y="450"/>
                  </a:lnTo>
                  <a:lnTo>
                    <a:pt x="474" y="456"/>
                  </a:lnTo>
                  <a:lnTo>
                    <a:pt x="468" y="456"/>
                  </a:lnTo>
                  <a:lnTo>
                    <a:pt x="462" y="456"/>
                  </a:lnTo>
                  <a:lnTo>
                    <a:pt x="456" y="468"/>
                  </a:lnTo>
                  <a:lnTo>
                    <a:pt x="456" y="474"/>
                  </a:lnTo>
                  <a:lnTo>
                    <a:pt x="450" y="480"/>
                  </a:lnTo>
                  <a:lnTo>
                    <a:pt x="444" y="450"/>
                  </a:lnTo>
                  <a:lnTo>
                    <a:pt x="438" y="450"/>
                  </a:lnTo>
                  <a:lnTo>
                    <a:pt x="432" y="450"/>
                  </a:lnTo>
                  <a:lnTo>
                    <a:pt x="420" y="450"/>
                  </a:lnTo>
                  <a:lnTo>
                    <a:pt x="420" y="456"/>
                  </a:lnTo>
                  <a:lnTo>
                    <a:pt x="414" y="456"/>
                  </a:lnTo>
                  <a:lnTo>
                    <a:pt x="408" y="468"/>
                  </a:lnTo>
                  <a:lnTo>
                    <a:pt x="402" y="468"/>
                  </a:lnTo>
                  <a:lnTo>
                    <a:pt x="396" y="474"/>
                  </a:lnTo>
                  <a:lnTo>
                    <a:pt x="390" y="492"/>
                  </a:lnTo>
                  <a:lnTo>
                    <a:pt x="384" y="504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54" y="510"/>
                  </a:lnTo>
                  <a:lnTo>
                    <a:pt x="360" y="480"/>
                  </a:lnTo>
                  <a:lnTo>
                    <a:pt x="360" y="474"/>
                  </a:lnTo>
                  <a:lnTo>
                    <a:pt x="378" y="456"/>
                  </a:lnTo>
                  <a:lnTo>
                    <a:pt x="384" y="450"/>
                  </a:lnTo>
                  <a:lnTo>
                    <a:pt x="396" y="444"/>
                  </a:lnTo>
                  <a:lnTo>
                    <a:pt x="402" y="438"/>
                  </a:lnTo>
                  <a:lnTo>
                    <a:pt x="408" y="438"/>
                  </a:lnTo>
                  <a:lnTo>
                    <a:pt x="408" y="426"/>
                  </a:lnTo>
                  <a:lnTo>
                    <a:pt x="414" y="420"/>
                  </a:lnTo>
                  <a:lnTo>
                    <a:pt x="426" y="420"/>
                  </a:lnTo>
                  <a:lnTo>
                    <a:pt x="426" y="408"/>
                  </a:lnTo>
                  <a:lnTo>
                    <a:pt x="420" y="390"/>
                  </a:lnTo>
                  <a:lnTo>
                    <a:pt x="408" y="384"/>
                  </a:lnTo>
                  <a:lnTo>
                    <a:pt x="378" y="378"/>
                  </a:lnTo>
                  <a:lnTo>
                    <a:pt x="354" y="366"/>
                  </a:lnTo>
                  <a:lnTo>
                    <a:pt x="342" y="360"/>
                  </a:lnTo>
                  <a:lnTo>
                    <a:pt x="342" y="348"/>
                  </a:lnTo>
                  <a:lnTo>
                    <a:pt x="336" y="330"/>
                  </a:lnTo>
                  <a:lnTo>
                    <a:pt x="348" y="306"/>
                  </a:lnTo>
                  <a:lnTo>
                    <a:pt x="360" y="294"/>
                  </a:lnTo>
                  <a:lnTo>
                    <a:pt x="360" y="282"/>
                  </a:lnTo>
                  <a:lnTo>
                    <a:pt x="342" y="270"/>
                  </a:lnTo>
                  <a:lnTo>
                    <a:pt x="342" y="264"/>
                  </a:lnTo>
                  <a:lnTo>
                    <a:pt x="330" y="264"/>
                  </a:lnTo>
                  <a:lnTo>
                    <a:pt x="312" y="270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88" y="270"/>
                  </a:lnTo>
                  <a:lnTo>
                    <a:pt x="282" y="270"/>
                  </a:lnTo>
                  <a:lnTo>
                    <a:pt x="276" y="264"/>
                  </a:lnTo>
                  <a:lnTo>
                    <a:pt x="270" y="264"/>
                  </a:lnTo>
                  <a:lnTo>
                    <a:pt x="252" y="270"/>
                  </a:lnTo>
                  <a:lnTo>
                    <a:pt x="246" y="270"/>
                  </a:lnTo>
                  <a:lnTo>
                    <a:pt x="240" y="270"/>
                  </a:lnTo>
                  <a:lnTo>
                    <a:pt x="228" y="270"/>
                  </a:lnTo>
                  <a:lnTo>
                    <a:pt x="216" y="276"/>
                  </a:lnTo>
                  <a:lnTo>
                    <a:pt x="210" y="270"/>
                  </a:lnTo>
                  <a:lnTo>
                    <a:pt x="204" y="270"/>
                  </a:lnTo>
                  <a:lnTo>
                    <a:pt x="198" y="276"/>
                  </a:lnTo>
                  <a:lnTo>
                    <a:pt x="192" y="276"/>
                  </a:lnTo>
                  <a:lnTo>
                    <a:pt x="186" y="282"/>
                  </a:lnTo>
                  <a:lnTo>
                    <a:pt x="180" y="288"/>
                  </a:lnTo>
                  <a:lnTo>
                    <a:pt x="174" y="300"/>
                  </a:lnTo>
                  <a:lnTo>
                    <a:pt x="168" y="306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8" y="330"/>
                  </a:lnTo>
                  <a:lnTo>
                    <a:pt x="162" y="336"/>
                  </a:lnTo>
                  <a:lnTo>
                    <a:pt x="156" y="342"/>
                  </a:lnTo>
                  <a:lnTo>
                    <a:pt x="156" y="348"/>
                  </a:lnTo>
                  <a:lnTo>
                    <a:pt x="156" y="354"/>
                  </a:lnTo>
                  <a:lnTo>
                    <a:pt x="150" y="366"/>
                  </a:lnTo>
                  <a:lnTo>
                    <a:pt x="150" y="372"/>
                  </a:lnTo>
                  <a:lnTo>
                    <a:pt x="144" y="366"/>
                  </a:lnTo>
                  <a:lnTo>
                    <a:pt x="132" y="366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20" y="348"/>
                  </a:lnTo>
                  <a:lnTo>
                    <a:pt x="102" y="330"/>
                  </a:lnTo>
                  <a:lnTo>
                    <a:pt x="96" y="318"/>
                  </a:lnTo>
                  <a:lnTo>
                    <a:pt x="96" y="282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0" y="258"/>
                  </a:lnTo>
                  <a:lnTo>
                    <a:pt x="84" y="252"/>
                  </a:lnTo>
                  <a:lnTo>
                    <a:pt x="66" y="258"/>
                  </a:lnTo>
                  <a:lnTo>
                    <a:pt x="60" y="246"/>
                  </a:lnTo>
                  <a:lnTo>
                    <a:pt x="30" y="252"/>
                  </a:lnTo>
                  <a:lnTo>
                    <a:pt x="18" y="246"/>
                  </a:lnTo>
                  <a:lnTo>
                    <a:pt x="0" y="240"/>
                  </a:lnTo>
                  <a:lnTo>
                    <a:pt x="0" y="234"/>
                  </a:lnTo>
                  <a:lnTo>
                    <a:pt x="0" y="210"/>
                  </a:lnTo>
                  <a:lnTo>
                    <a:pt x="6" y="204"/>
                  </a:lnTo>
                  <a:lnTo>
                    <a:pt x="18" y="192"/>
                  </a:lnTo>
                  <a:lnTo>
                    <a:pt x="18" y="144"/>
                  </a:lnTo>
                  <a:lnTo>
                    <a:pt x="24" y="126"/>
                  </a:lnTo>
                  <a:lnTo>
                    <a:pt x="36" y="126"/>
                  </a:lnTo>
                  <a:lnTo>
                    <a:pt x="54" y="120"/>
                  </a:lnTo>
                  <a:lnTo>
                    <a:pt x="54" y="126"/>
                  </a:lnTo>
                  <a:lnTo>
                    <a:pt x="132" y="114"/>
                  </a:lnTo>
                  <a:lnTo>
                    <a:pt x="144" y="120"/>
                  </a:lnTo>
                  <a:lnTo>
                    <a:pt x="150" y="132"/>
                  </a:lnTo>
                  <a:lnTo>
                    <a:pt x="180" y="126"/>
                  </a:lnTo>
                  <a:lnTo>
                    <a:pt x="210" y="120"/>
                  </a:lnTo>
                  <a:lnTo>
                    <a:pt x="240" y="120"/>
                  </a:lnTo>
                  <a:lnTo>
                    <a:pt x="258" y="120"/>
                  </a:lnTo>
                  <a:lnTo>
                    <a:pt x="270" y="126"/>
                  </a:lnTo>
                  <a:lnTo>
                    <a:pt x="276" y="132"/>
                  </a:lnTo>
                  <a:lnTo>
                    <a:pt x="282" y="138"/>
                  </a:lnTo>
                  <a:lnTo>
                    <a:pt x="282" y="156"/>
                  </a:lnTo>
                  <a:lnTo>
                    <a:pt x="288" y="186"/>
                  </a:lnTo>
                  <a:lnTo>
                    <a:pt x="312" y="192"/>
                  </a:lnTo>
                  <a:lnTo>
                    <a:pt x="318" y="198"/>
                  </a:lnTo>
                  <a:lnTo>
                    <a:pt x="324" y="204"/>
                  </a:lnTo>
                  <a:lnTo>
                    <a:pt x="330" y="210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66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86" y="210"/>
                  </a:lnTo>
                  <a:lnTo>
                    <a:pt x="498" y="198"/>
                  </a:lnTo>
                  <a:lnTo>
                    <a:pt x="504" y="174"/>
                  </a:lnTo>
                  <a:lnTo>
                    <a:pt x="516" y="162"/>
                  </a:lnTo>
                  <a:lnTo>
                    <a:pt x="516" y="138"/>
                  </a:lnTo>
                  <a:lnTo>
                    <a:pt x="522" y="132"/>
                  </a:lnTo>
                  <a:lnTo>
                    <a:pt x="564" y="132"/>
                  </a:lnTo>
                  <a:lnTo>
                    <a:pt x="564" y="114"/>
                  </a:lnTo>
                  <a:lnTo>
                    <a:pt x="582" y="114"/>
                  </a:lnTo>
                  <a:lnTo>
                    <a:pt x="594" y="114"/>
                  </a:lnTo>
                  <a:lnTo>
                    <a:pt x="606" y="114"/>
                  </a:lnTo>
                  <a:lnTo>
                    <a:pt x="612" y="114"/>
                  </a:lnTo>
                  <a:lnTo>
                    <a:pt x="630" y="114"/>
                  </a:lnTo>
                  <a:lnTo>
                    <a:pt x="636" y="114"/>
                  </a:lnTo>
                  <a:lnTo>
                    <a:pt x="648" y="114"/>
                  </a:lnTo>
                  <a:lnTo>
                    <a:pt x="654" y="114"/>
                  </a:lnTo>
                  <a:lnTo>
                    <a:pt x="660" y="120"/>
                  </a:lnTo>
                  <a:lnTo>
                    <a:pt x="672" y="120"/>
                  </a:lnTo>
                  <a:lnTo>
                    <a:pt x="684" y="120"/>
                  </a:lnTo>
                  <a:lnTo>
                    <a:pt x="690" y="120"/>
                  </a:lnTo>
                  <a:lnTo>
                    <a:pt x="702" y="120"/>
                  </a:lnTo>
                  <a:lnTo>
                    <a:pt x="708" y="120"/>
                  </a:lnTo>
                  <a:lnTo>
                    <a:pt x="726" y="126"/>
                  </a:lnTo>
                  <a:lnTo>
                    <a:pt x="732" y="126"/>
                  </a:lnTo>
                  <a:lnTo>
                    <a:pt x="738" y="126"/>
                  </a:lnTo>
                  <a:lnTo>
                    <a:pt x="750" y="126"/>
                  </a:lnTo>
                  <a:lnTo>
                    <a:pt x="756" y="126"/>
                  </a:lnTo>
                  <a:lnTo>
                    <a:pt x="768" y="126"/>
                  </a:lnTo>
                  <a:lnTo>
                    <a:pt x="780" y="126"/>
                  </a:lnTo>
                  <a:lnTo>
                    <a:pt x="786" y="120"/>
                  </a:lnTo>
                  <a:lnTo>
                    <a:pt x="792" y="120"/>
                  </a:lnTo>
                  <a:lnTo>
                    <a:pt x="810" y="120"/>
                  </a:lnTo>
                  <a:lnTo>
                    <a:pt x="822" y="120"/>
                  </a:lnTo>
                  <a:lnTo>
                    <a:pt x="846" y="126"/>
                  </a:lnTo>
                  <a:lnTo>
                    <a:pt x="858" y="126"/>
                  </a:lnTo>
                  <a:lnTo>
                    <a:pt x="870" y="132"/>
                  </a:lnTo>
                  <a:lnTo>
                    <a:pt x="882" y="132"/>
                  </a:lnTo>
                  <a:lnTo>
                    <a:pt x="894" y="132"/>
                  </a:lnTo>
                  <a:lnTo>
                    <a:pt x="900" y="132"/>
                  </a:lnTo>
                  <a:lnTo>
                    <a:pt x="912" y="132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36" y="132"/>
                  </a:lnTo>
                  <a:lnTo>
                    <a:pt x="960" y="132"/>
                  </a:lnTo>
                  <a:lnTo>
                    <a:pt x="966" y="144"/>
                  </a:lnTo>
                  <a:lnTo>
                    <a:pt x="972" y="144"/>
                  </a:lnTo>
                  <a:lnTo>
                    <a:pt x="1002" y="144"/>
                  </a:lnTo>
                  <a:lnTo>
                    <a:pt x="1020" y="144"/>
                  </a:lnTo>
                  <a:lnTo>
                    <a:pt x="1068" y="138"/>
                  </a:lnTo>
                  <a:lnTo>
                    <a:pt x="1110" y="132"/>
                  </a:lnTo>
                  <a:lnTo>
                    <a:pt x="1110" y="126"/>
                  </a:lnTo>
                  <a:lnTo>
                    <a:pt x="1116" y="120"/>
                  </a:lnTo>
                  <a:lnTo>
                    <a:pt x="1122" y="108"/>
                  </a:lnTo>
                  <a:lnTo>
                    <a:pt x="1134" y="96"/>
                  </a:lnTo>
                  <a:lnTo>
                    <a:pt x="1146" y="60"/>
                  </a:lnTo>
                  <a:lnTo>
                    <a:pt x="1158" y="54"/>
                  </a:lnTo>
                  <a:lnTo>
                    <a:pt x="1170" y="48"/>
                  </a:lnTo>
                  <a:lnTo>
                    <a:pt x="1188" y="42"/>
                  </a:lnTo>
                  <a:lnTo>
                    <a:pt x="1200" y="36"/>
                  </a:lnTo>
                  <a:lnTo>
                    <a:pt x="1212" y="36"/>
                  </a:lnTo>
                  <a:lnTo>
                    <a:pt x="1236" y="30"/>
                  </a:lnTo>
                  <a:lnTo>
                    <a:pt x="1236" y="24"/>
                  </a:lnTo>
                  <a:lnTo>
                    <a:pt x="1278" y="18"/>
                  </a:lnTo>
                  <a:lnTo>
                    <a:pt x="1290" y="18"/>
                  </a:lnTo>
                  <a:lnTo>
                    <a:pt x="1302" y="12"/>
                  </a:lnTo>
                  <a:lnTo>
                    <a:pt x="1314" y="0"/>
                  </a:lnTo>
                  <a:lnTo>
                    <a:pt x="1332" y="0"/>
                  </a:lnTo>
                  <a:lnTo>
                    <a:pt x="1338" y="24"/>
                  </a:lnTo>
                  <a:lnTo>
                    <a:pt x="1344" y="30"/>
                  </a:lnTo>
                  <a:lnTo>
                    <a:pt x="1350" y="42"/>
                  </a:lnTo>
                  <a:lnTo>
                    <a:pt x="1356" y="48"/>
                  </a:lnTo>
                  <a:lnTo>
                    <a:pt x="1356" y="78"/>
                  </a:lnTo>
                  <a:lnTo>
                    <a:pt x="1350" y="96"/>
                  </a:lnTo>
                  <a:lnTo>
                    <a:pt x="1338" y="108"/>
                  </a:lnTo>
                  <a:lnTo>
                    <a:pt x="1338" y="114"/>
                  </a:lnTo>
                  <a:lnTo>
                    <a:pt x="1338" y="120"/>
                  </a:lnTo>
                  <a:lnTo>
                    <a:pt x="1338" y="126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398" y="114"/>
                  </a:lnTo>
                  <a:lnTo>
                    <a:pt x="1416" y="120"/>
                  </a:lnTo>
                  <a:lnTo>
                    <a:pt x="1434" y="126"/>
                  </a:lnTo>
                  <a:lnTo>
                    <a:pt x="1458" y="132"/>
                  </a:lnTo>
                  <a:lnTo>
                    <a:pt x="1458" y="138"/>
                  </a:lnTo>
                  <a:lnTo>
                    <a:pt x="1512" y="138"/>
                  </a:lnTo>
                  <a:lnTo>
                    <a:pt x="1512" y="132"/>
                  </a:lnTo>
                  <a:lnTo>
                    <a:pt x="1524" y="138"/>
                  </a:lnTo>
                  <a:lnTo>
                    <a:pt x="1542" y="138"/>
                  </a:lnTo>
                  <a:lnTo>
                    <a:pt x="1542" y="150"/>
                  </a:lnTo>
                  <a:lnTo>
                    <a:pt x="1542" y="162"/>
                  </a:lnTo>
                  <a:lnTo>
                    <a:pt x="1548" y="174"/>
                  </a:lnTo>
                  <a:lnTo>
                    <a:pt x="1548" y="180"/>
                  </a:lnTo>
                  <a:lnTo>
                    <a:pt x="1554" y="222"/>
                  </a:lnTo>
                  <a:lnTo>
                    <a:pt x="1554" y="258"/>
                  </a:lnTo>
                  <a:lnTo>
                    <a:pt x="1554" y="276"/>
                  </a:lnTo>
                  <a:lnTo>
                    <a:pt x="1554" y="282"/>
                  </a:lnTo>
                  <a:lnTo>
                    <a:pt x="1554" y="294"/>
                  </a:lnTo>
                  <a:lnTo>
                    <a:pt x="1554" y="306"/>
                  </a:lnTo>
                  <a:lnTo>
                    <a:pt x="1554" y="324"/>
                  </a:lnTo>
                  <a:lnTo>
                    <a:pt x="1554" y="330"/>
                  </a:lnTo>
                  <a:lnTo>
                    <a:pt x="1548" y="330"/>
                  </a:lnTo>
                  <a:lnTo>
                    <a:pt x="1548" y="336"/>
                  </a:lnTo>
                  <a:lnTo>
                    <a:pt x="1548" y="342"/>
                  </a:lnTo>
                  <a:lnTo>
                    <a:pt x="1542" y="336"/>
                  </a:lnTo>
                  <a:lnTo>
                    <a:pt x="1542" y="330"/>
                  </a:lnTo>
                  <a:lnTo>
                    <a:pt x="1536" y="330"/>
                  </a:lnTo>
                  <a:lnTo>
                    <a:pt x="1530" y="330"/>
                  </a:lnTo>
                  <a:lnTo>
                    <a:pt x="1530" y="336"/>
                  </a:lnTo>
                  <a:lnTo>
                    <a:pt x="1536" y="342"/>
                  </a:lnTo>
                  <a:lnTo>
                    <a:pt x="1530" y="342"/>
                  </a:lnTo>
                  <a:lnTo>
                    <a:pt x="1518" y="348"/>
                  </a:lnTo>
                  <a:lnTo>
                    <a:pt x="1512" y="354"/>
                  </a:lnTo>
                  <a:lnTo>
                    <a:pt x="1506" y="354"/>
                  </a:lnTo>
                  <a:lnTo>
                    <a:pt x="1500" y="354"/>
                  </a:lnTo>
                  <a:lnTo>
                    <a:pt x="1494" y="354"/>
                  </a:lnTo>
                  <a:lnTo>
                    <a:pt x="1494" y="360"/>
                  </a:lnTo>
                  <a:lnTo>
                    <a:pt x="1488" y="360"/>
                  </a:lnTo>
                  <a:lnTo>
                    <a:pt x="1488" y="366"/>
                  </a:lnTo>
                  <a:lnTo>
                    <a:pt x="1488" y="372"/>
                  </a:lnTo>
                  <a:lnTo>
                    <a:pt x="1482" y="372"/>
                  </a:lnTo>
                  <a:lnTo>
                    <a:pt x="1476" y="372"/>
                  </a:lnTo>
                  <a:lnTo>
                    <a:pt x="1470" y="372"/>
                  </a:lnTo>
                  <a:lnTo>
                    <a:pt x="1470" y="378"/>
                  </a:lnTo>
                  <a:lnTo>
                    <a:pt x="1470" y="384"/>
                  </a:lnTo>
                  <a:lnTo>
                    <a:pt x="1470" y="390"/>
                  </a:lnTo>
                  <a:lnTo>
                    <a:pt x="1464" y="402"/>
                  </a:lnTo>
                  <a:lnTo>
                    <a:pt x="1446" y="402"/>
                  </a:lnTo>
                  <a:lnTo>
                    <a:pt x="1440" y="372"/>
                  </a:lnTo>
                  <a:lnTo>
                    <a:pt x="1410" y="372"/>
                  </a:lnTo>
                  <a:lnTo>
                    <a:pt x="1380" y="372"/>
                  </a:lnTo>
                  <a:lnTo>
                    <a:pt x="1374" y="372"/>
                  </a:lnTo>
                  <a:lnTo>
                    <a:pt x="1368" y="378"/>
                  </a:lnTo>
                  <a:lnTo>
                    <a:pt x="1362" y="378"/>
                  </a:lnTo>
                  <a:lnTo>
                    <a:pt x="1356" y="378"/>
                  </a:lnTo>
                  <a:lnTo>
                    <a:pt x="1350" y="384"/>
                  </a:lnTo>
                  <a:lnTo>
                    <a:pt x="1350" y="390"/>
                  </a:lnTo>
                  <a:lnTo>
                    <a:pt x="1344" y="390"/>
                  </a:lnTo>
                  <a:lnTo>
                    <a:pt x="1338" y="390"/>
                  </a:lnTo>
                  <a:lnTo>
                    <a:pt x="1332" y="390"/>
                  </a:lnTo>
                  <a:lnTo>
                    <a:pt x="1332" y="396"/>
                  </a:lnTo>
                  <a:lnTo>
                    <a:pt x="1332" y="390"/>
                  </a:lnTo>
                  <a:lnTo>
                    <a:pt x="1326" y="402"/>
                  </a:lnTo>
                  <a:lnTo>
                    <a:pt x="1320" y="402"/>
                  </a:lnTo>
                  <a:lnTo>
                    <a:pt x="1302" y="474"/>
                  </a:lnTo>
                  <a:lnTo>
                    <a:pt x="1308" y="480"/>
                  </a:lnTo>
                  <a:lnTo>
                    <a:pt x="1314" y="480"/>
                  </a:lnTo>
                  <a:lnTo>
                    <a:pt x="1308" y="498"/>
                  </a:lnTo>
                  <a:lnTo>
                    <a:pt x="1308" y="504"/>
                  </a:lnTo>
                  <a:lnTo>
                    <a:pt x="1314" y="510"/>
                  </a:lnTo>
                  <a:lnTo>
                    <a:pt x="1308" y="510"/>
                  </a:lnTo>
                  <a:lnTo>
                    <a:pt x="1308" y="516"/>
                  </a:lnTo>
                  <a:lnTo>
                    <a:pt x="1302" y="516"/>
                  </a:lnTo>
                  <a:lnTo>
                    <a:pt x="1296" y="510"/>
                  </a:lnTo>
                  <a:lnTo>
                    <a:pt x="1296" y="516"/>
                  </a:lnTo>
                  <a:lnTo>
                    <a:pt x="1290" y="540"/>
                  </a:lnTo>
                  <a:lnTo>
                    <a:pt x="1290" y="552"/>
                  </a:lnTo>
                  <a:lnTo>
                    <a:pt x="1284" y="558"/>
                  </a:lnTo>
                  <a:lnTo>
                    <a:pt x="1290" y="576"/>
                  </a:lnTo>
                  <a:lnTo>
                    <a:pt x="1290" y="600"/>
                  </a:lnTo>
                  <a:lnTo>
                    <a:pt x="1284" y="618"/>
                  </a:lnTo>
                  <a:lnTo>
                    <a:pt x="1290" y="624"/>
                  </a:lnTo>
                  <a:lnTo>
                    <a:pt x="1284" y="630"/>
                  </a:lnTo>
                  <a:lnTo>
                    <a:pt x="1278" y="630"/>
                  </a:lnTo>
                  <a:lnTo>
                    <a:pt x="1272" y="630"/>
                  </a:lnTo>
                  <a:lnTo>
                    <a:pt x="1266" y="636"/>
                  </a:lnTo>
                  <a:lnTo>
                    <a:pt x="1260" y="642"/>
                  </a:lnTo>
                  <a:lnTo>
                    <a:pt x="1260" y="636"/>
                  </a:lnTo>
                  <a:lnTo>
                    <a:pt x="1254" y="636"/>
                  </a:lnTo>
                  <a:lnTo>
                    <a:pt x="1248" y="636"/>
                  </a:lnTo>
                  <a:lnTo>
                    <a:pt x="1248" y="642"/>
                  </a:lnTo>
                  <a:lnTo>
                    <a:pt x="1242" y="642"/>
                  </a:lnTo>
                  <a:lnTo>
                    <a:pt x="1242" y="648"/>
                  </a:lnTo>
                  <a:lnTo>
                    <a:pt x="1236" y="654"/>
                  </a:lnTo>
                  <a:lnTo>
                    <a:pt x="1230" y="654"/>
                  </a:lnTo>
                  <a:lnTo>
                    <a:pt x="1224" y="654"/>
                  </a:lnTo>
                  <a:lnTo>
                    <a:pt x="1218" y="660"/>
                  </a:lnTo>
                  <a:lnTo>
                    <a:pt x="1212" y="660"/>
                  </a:lnTo>
                  <a:lnTo>
                    <a:pt x="1206" y="660"/>
                  </a:lnTo>
                  <a:lnTo>
                    <a:pt x="1200" y="660"/>
                  </a:lnTo>
                  <a:lnTo>
                    <a:pt x="1200" y="666"/>
                  </a:lnTo>
                  <a:lnTo>
                    <a:pt x="1194" y="666"/>
                  </a:lnTo>
                  <a:lnTo>
                    <a:pt x="1188" y="666"/>
                  </a:lnTo>
                  <a:lnTo>
                    <a:pt x="1182" y="672"/>
                  </a:lnTo>
                  <a:lnTo>
                    <a:pt x="1176" y="672"/>
                  </a:lnTo>
                  <a:lnTo>
                    <a:pt x="1170" y="672"/>
                  </a:lnTo>
                  <a:lnTo>
                    <a:pt x="1164" y="678"/>
                  </a:lnTo>
                  <a:lnTo>
                    <a:pt x="1170" y="678"/>
                  </a:lnTo>
                  <a:lnTo>
                    <a:pt x="1164" y="684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52" y="684"/>
                  </a:lnTo>
                  <a:lnTo>
                    <a:pt x="1152" y="690"/>
                  </a:lnTo>
                  <a:lnTo>
                    <a:pt x="1146" y="690"/>
                  </a:lnTo>
                  <a:lnTo>
                    <a:pt x="1140" y="690"/>
                  </a:lnTo>
                  <a:lnTo>
                    <a:pt x="1134" y="696"/>
                  </a:lnTo>
                  <a:lnTo>
                    <a:pt x="1128" y="696"/>
                  </a:lnTo>
                  <a:lnTo>
                    <a:pt x="1122" y="702"/>
                  </a:lnTo>
                  <a:lnTo>
                    <a:pt x="1116" y="702"/>
                  </a:lnTo>
                  <a:lnTo>
                    <a:pt x="1110" y="708"/>
                  </a:lnTo>
                  <a:lnTo>
                    <a:pt x="1104" y="708"/>
                  </a:lnTo>
                  <a:lnTo>
                    <a:pt x="1098" y="708"/>
                  </a:lnTo>
                  <a:lnTo>
                    <a:pt x="1092" y="708"/>
                  </a:lnTo>
                  <a:lnTo>
                    <a:pt x="1092" y="714"/>
                  </a:lnTo>
                  <a:lnTo>
                    <a:pt x="1086" y="720"/>
                  </a:lnTo>
                  <a:lnTo>
                    <a:pt x="1080" y="720"/>
                  </a:lnTo>
                  <a:lnTo>
                    <a:pt x="1074" y="720"/>
                  </a:lnTo>
                  <a:lnTo>
                    <a:pt x="1068" y="720"/>
                  </a:lnTo>
                  <a:lnTo>
                    <a:pt x="1062" y="720"/>
                  </a:lnTo>
                  <a:lnTo>
                    <a:pt x="1050" y="726"/>
                  </a:lnTo>
                  <a:lnTo>
                    <a:pt x="1044" y="726"/>
                  </a:lnTo>
                  <a:lnTo>
                    <a:pt x="1038" y="732"/>
                  </a:lnTo>
                  <a:lnTo>
                    <a:pt x="1026" y="732"/>
                  </a:lnTo>
                  <a:lnTo>
                    <a:pt x="1020" y="732"/>
                  </a:lnTo>
                  <a:lnTo>
                    <a:pt x="1014" y="738"/>
                  </a:lnTo>
                  <a:lnTo>
                    <a:pt x="1008" y="738"/>
                  </a:lnTo>
                  <a:lnTo>
                    <a:pt x="1002" y="738"/>
                  </a:lnTo>
                  <a:lnTo>
                    <a:pt x="996" y="738"/>
                  </a:lnTo>
                  <a:lnTo>
                    <a:pt x="990" y="738"/>
                  </a:lnTo>
                  <a:lnTo>
                    <a:pt x="990" y="732"/>
                  </a:lnTo>
                  <a:lnTo>
                    <a:pt x="984" y="732"/>
                  </a:lnTo>
                  <a:lnTo>
                    <a:pt x="978" y="738"/>
                  </a:lnTo>
                  <a:lnTo>
                    <a:pt x="978" y="744"/>
                  </a:lnTo>
                  <a:lnTo>
                    <a:pt x="984" y="744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8" y="756"/>
                  </a:lnTo>
                  <a:lnTo>
                    <a:pt x="972" y="756"/>
                  </a:lnTo>
                  <a:lnTo>
                    <a:pt x="972" y="762"/>
                  </a:lnTo>
                  <a:lnTo>
                    <a:pt x="966" y="768"/>
                  </a:lnTo>
                  <a:lnTo>
                    <a:pt x="966" y="762"/>
                  </a:lnTo>
                  <a:lnTo>
                    <a:pt x="960" y="762"/>
                  </a:lnTo>
                  <a:lnTo>
                    <a:pt x="954" y="768"/>
                  </a:lnTo>
                  <a:lnTo>
                    <a:pt x="954" y="774"/>
                  </a:lnTo>
                  <a:lnTo>
                    <a:pt x="948" y="774"/>
                  </a:lnTo>
                  <a:lnTo>
                    <a:pt x="948" y="780"/>
                  </a:lnTo>
                  <a:lnTo>
                    <a:pt x="948" y="786"/>
                  </a:lnTo>
                  <a:lnTo>
                    <a:pt x="942" y="786"/>
                  </a:lnTo>
                  <a:lnTo>
                    <a:pt x="942" y="792"/>
                  </a:lnTo>
                  <a:lnTo>
                    <a:pt x="936" y="792"/>
                  </a:lnTo>
                  <a:lnTo>
                    <a:pt x="942" y="798"/>
                  </a:lnTo>
                  <a:lnTo>
                    <a:pt x="942" y="804"/>
                  </a:lnTo>
                  <a:lnTo>
                    <a:pt x="942" y="810"/>
                  </a:lnTo>
                  <a:lnTo>
                    <a:pt x="948" y="810"/>
                  </a:lnTo>
                  <a:lnTo>
                    <a:pt x="942" y="816"/>
                  </a:lnTo>
                  <a:lnTo>
                    <a:pt x="948" y="816"/>
                  </a:lnTo>
                  <a:lnTo>
                    <a:pt x="948" y="822"/>
                  </a:lnTo>
                  <a:lnTo>
                    <a:pt x="954" y="822"/>
                  </a:lnTo>
                  <a:lnTo>
                    <a:pt x="960" y="828"/>
                  </a:lnTo>
                  <a:lnTo>
                    <a:pt x="960" y="834"/>
                  </a:lnTo>
                  <a:lnTo>
                    <a:pt x="966" y="834"/>
                  </a:lnTo>
                  <a:lnTo>
                    <a:pt x="960" y="840"/>
                  </a:lnTo>
                  <a:lnTo>
                    <a:pt x="966" y="846"/>
                  </a:lnTo>
                  <a:lnTo>
                    <a:pt x="966" y="840"/>
                  </a:lnTo>
                  <a:lnTo>
                    <a:pt x="972" y="840"/>
                  </a:lnTo>
                  <a:lnTo>
                    <a:pt x="990" y="840"/>
                  </a:lnTo>
                  <a:lnTo>
                    <a:pt x="1002" y="834"/>
                  </a:lnTo>
                  <a:lnTo>
                    <a:pt x="1020" y="828"/>
                  </a:lnTo>
                  <a:lnTo>
                    <a:pt x="1032" y="828"/>
                  </a:lnTo>
                  <a:lnTo>
                    <a:pt x="1050" y="828"/>
                  </a:lnTo>
                  <a:lnTo>
                    <a:pt x="1062" y="846"/>
                  </a:lnTo>
                  <a:lnTo>
                    <a:pt x="1074" y="876"/>
                  </a:lnTo>
                  <a:lnTo>
                    <a:pt x="1068" y="900"/>
                  </a:lnTo>
                  <a:lnTo>
                    <a:pt x="1074" y="912"/>
                  </a:lnTo>
                  <a:lnTo>
                    <a:pt x="1074" y="936"/>
                  </a:lnTo>
                  <a:lnTo>
                    <a:pt x="1068" y="942"/>
                  </a:lnTo>
                  <a:lnTo>
                    <a:pt x="1062" y="954"/>
                  </a:lnTo>
                  <a:lnTo>
                    <a:pt x="1056" y="978"/>
                  </a:lnTo>
                  <a:lnTo>
                    <a:pt x="1056" y="996"/>
                  </a:lnTo>
                  <a:lnTo>
                    <a:pt x="1068" y="990"/>
                  </a:lnTo>
                  <a:lnTo>
                    <a:pt x="1074" y="990"/>
                  </a:lnTo>
                  <a:lnTo>
                    <a:pt x="1074" y="1008"/>
                  </a:lnTo>
                  <a:lnTo>
                    <a:pt x="1080" y="1008"/>
                  </a:lnTo>
                  <a:lnTo>
                    <a:pt x="1092" y="1014"/>
                  </a:lnTo>
                  <a:lnTo>
                    <a:pt x="1110" y="1044"/>
                  </a:lnTo>
                  <a:lnTo>
                    <a:pt x="1110" y="1062"/>
                  </a:lnTo>
                  <a:lnTo>
                    <a:pt x="1128" y="1068"/>
                  </a:lnTo>
                  <a:lnTo>
                    <a:pt x="1128" y="1092"/>
                  </a:lnTo>
                  <a:lnTo>
                    <a:pt x="1134" y="1098"/>
                  </a:lnTo>
                  <a:lnTo>
                    <a:pt x="1158" y="1122"/>
                  </a:lnTo>
                  <a:lnTo>
                    <a:pt x="1188" y="1122"/>
                  </a:lnTo>
                  <a:lnTo>
                    <a:pt x="1188" y="1128"/>
                  </a:lnTo>
                  <a:lnTo>
                    <a:pt x="1200" y="1134"/>
                  </a:lnTo>
                  <a:lnTo>
                    <a:pt x="1206" y="1134"/>
                  </a:lnTo>
                  <a:lnTo>
                    <a:pt x="1206" y="1128"/>
                  </a:lnTo>
                  <a:lnTo>
                    <a:pt x="1212" y="1128"/>
                  </a:lnTo>
                  <a:lnTo>
                    <a:pt x="1218" y="1128"/>
                  </a:lnTo>
                  <a:lnTo>
                    <a:pt x="1224" y="1122"/>
                  </a:lnTo>
                  <a:lnTo>
                    <a:pt x="1224" y="1128"/>
                  </a:lnTo>
                  <a:lnTo>
                    <a:pt x="1230" y="1128"/>
                  </a:lnTo>
                  <a:lnTo>
                    <a:pt x="1236" y="1128"/>
                  </a:lnTo>
                  <a:lnTo>
                    <a:pt x="1236" y="1122"/>
                  </a:lnTo>
                  <a:lnTo>
                    <a:pt x="1242" y="1122"/>
                  </a:lnTo>
                  <a:lnTo>
                    <a:pt x="1248" y="1128"/>
                  </a:lnTo>
                  <a:lnTo>
                    <a:pt x="1254" y="1128"/>
                  </a:lnTo>
                  <a:lnTo>
                    <a:pt x="1260" y="1134"/>
                  </a:lnTo>
                  <a:lnTo>
                    <a:pt x="1260" y="1140"/>
                  </a:lnTo>
                  <a:lnTo>
                    <a:pt x="1266" y="1140"/>
                  </a:lnTo>
                  <a:lnTo>
                    <a:pt x="1272" y="1140"/>
                  </a:lnTo>
                  <a:lnTo>
                    <a:pt x="1278" y="1140"/>
                  </a:lnTo>
                  <a:lnTo>
                    <a:pt x="1284" y="1140"/>
                  </a:lnTo>
                  <a:lnTo>
                    <a:pt x="1290" y="1146"/>
                  </a:lnTo>
                  <a:lnTo>
                    <a:pt x="1290" y="1152"/>
                  </a:lnTo>
                  <a:lnTo>
                    <a:pt x="1296" y="1146"/>
                  </a:lnTo>
                  <a:lnTo>
                    <a:pt x="1296" y="1152"/>
                  </a:lnTo>
                  <a:lnTo>
                    <a:pt x="1308" y="1152"/>
                  </a:lnTo>
                  <a:lnTo>
                    <a:pt x="1314" y="1152"/>
                  </a:lnTo>
                  <a:lnTo>
                    <a:pt x="1320" y="1152"/>
                  </a:lnTo>
                  <a:lnTo>
                    <a:pt x="1332" y="1152"/>
                  </a:lnTo>
                  <a:lnTo>
                    <a:pt x="1338" y="1152"/>
                  </a:lnTo>
                  <a:lnTo>
                    <a:pt x="1344" y="1152"/>
                  </a:lnTo>
                  <a:lnTo>
                    <a:pt x="1344" y="1158"/>
                  </a:lnTo>
                  <a:lnTo>
                    <a:pt x="1350" y="1158"/>
                  </a:lnTo>
                  <a:lnTo>
                    <a:pt x="1356" y="1158"/>
                  </a:lnTo>
                  <a:lnTo>
                    <a:pt x="1362" y="1158"/>
                  </a:lnTo>
                  <a:lnTo>
                    <a:pt x="1368" y="1158"/>
                  </a:lnTo>
                  <a:lnTo>
                    <a:pt x="1374" y="1164"/>
                  </a:lnTo>
                  <a:lnTo>
                    <a:pt x="1380" y="1164"/>
                  </a:lnTo>
                  <a:lnTo>
                    <a:pt x="1386" y="1170"/>
                  </a:lnTo>
                  <a:lnTo>
                    <a:pt x="1392" y="1170"/>
                  </a:lnTo>
                  <a:lnTo>
                    <a:pt x="1398" y="1164"/>
                  </a:lnTo>
                  <a:lnTo>
                    <a:pt x="1404" y="1164"/>
                  </a:lnTo>
                  <a:lnTo>
                    <a:pt x="1410" y="1164"/>
                  </a:lnTo>
                  <a:lnTo>
                    <a:pt x="1416" y="1164"/>
                  </a:lnTo>
                  <a:lnTo>
                    <a:pt x="1416" y="1170"/>
                  </a:lnTo>
                  <a:lnTo>
                    <a:pt x="1422" y="1176"/>
                  </a:lnTo>
                  <a:lnTo>
                    <a:pt x="1416" y="1176"/>
                  </a:lnTo>
                  <a:lnTo>
                    <a:pt x="1416" y="1182"/>
                  </a:lnTo>
                  <a:lnTo>
                    <a:pt x="1410" y="1188"/>
                  </a:lnTo>
                  <a:lnTo>
                    <a:pt x="1404" y="1194"/>
                  </a:lnTo>
                  <a:lnTo>
                    <a:pt x="1404" y="1200"/>
                  </a:lnTo>
                  <a:lnTo>
                    <a:pt x="1404" y="1206"/>
                  </a:lnTo>
                  <a:lnTo>
                    <a:pt x="1398" y="1212"/>
                  </a:lnTo>
                  <a:lnTo>
                    <a:pt x="1398" y="1206"/>
                  </a:lnTo>
                  <a:lnTo>
                    <a:pt x="1392" y="1206"/>
                  </a:lnTo>
                  <a:lnTo>
                    <a:pt x="1386" y="1206"/>
                  </a:lnTo>
                  <a:lnTo>
                    <a:pt x="1380" y="1212"/>
                  </a:lnTo>
                  <a:lnTo>
                    <a:pt x="1374" y="1212"/>
                  </a:lnTo>
                  <a:lnTo>
                    <a:pt x="1368" y="1218"/>
                  </a:lnTo>
                  <a:lnTo>
                    <a:pt x="1362" y="1218"/>
                  </a:lnTo>
                  <a:lnTo>
                    <a:pt x="1362" y="1224"/>
                  </a:lnTo>
                  <a:lnTo>
                    <a:pt x="1356" y="1230"/>
                  </a:lnTo>
                  <a:lnTo>
                    <a:pt x="1350" y="1230"/>
                  </a:lnTo>
                  <a:lnTo>
                    <a:pt x="1344" y="1236"/>
                  </a:lnTo>
                  <a:lnTo>
                    <a:pt x="1338" y="1230"/>
                  </a:lnTo>
                  <a:lnTo>
                    <a:pt x="1332" y="1230"/>
                  </a:lnTo>
                  <a:lnTo>
                    <a:pt x="1326" y="1230"/>
                  </a:lnTo>
                  <a:lnTo>
                    <a:pt x="1320" y="1230"/>
                  </a:lnTo>
                  <a:lnTo>
                    <a:pt x="1314" y="1230"/>
                  </a:lnTo>
                  <a:lnTo>
                    <a:pt x="1296" y="1242"/>
                  </a:lnTo>
                  <a:lnTo>
                    <a:pt x="1296" y="1248"/>
                  </a:lnTo>
                  <a:lnTo>
                    <a:pt x="1290" y="1248"/>
                  </a:lnTo>
                  <a:lnTo>
                    <a:pt x="1290" y="1260"/>
                  </a:lnTo>
                  <a:lnTo>
                    <a:pt x="1278" y="1272"/>
                  </a:lnTo>
                  <a:lnTo>
                    <a:pt x="1278" y="1278"/>
                  </a:lnTo>
                  <a:lnTo>
                    <a:pt x="1278" y="1284"/>
                  </a:lnTo>
                  <a:lnTo>
                    <a:pt x="1278" y="1290"/>
                  </a:lnTo>
                  <a:lnTo>
                    <a:pt x="1284" y="1296"/>
                  </a:lnTo>
                  <a:lnTo>
                    <a:pt x="1302" y="1302"/>
                  </a:lnTo>
                  <a:lnTo>
                    <a:pt x="1308" y="1308"/>
                  </a:lnTo>
                  <a:lnTo>
                    <a:pt x="1308" y="1314"/>
                  </a:lnTo>
                  <a:lnTo>
                    <a:pt x="1302" y="1320"/>
                  </a:lnTo>
                  <a:lnTo>
                    <a:pt x="1278" y="1314"/>
                  </a:lnTo>
                  <a:lnTo>
                    <a:pt x="1266" y="1308"/>
                  </a:lnTo>
                  <a:lnTo>
                    <a:pt x="1260" y="1296"/>
                  </a:lnTo>
                  <a:lnTo>
                    <a:pt x="1236" y="1296"/>
                  </a:lnTo>
                  <a:lnTo>
                    <a:pt x="1224" y="1308"/>
                  </a:lnTo>
                  <a:lnTo>
                    <a:pt x="1218" y="1308"/>
                  </a:lnTo>
                  <a:lnTo>
                    <a:pt x="1218" y="1302"/>
                  </a:lnTo>
                  <a:lnTo>
                    <a:pt x="1212" y="1302"/>
                  </a:lnTo>
                  <a:lnTo>
                    <a:pt x="1206" y="1302"/>
                  </a:lnTo>
                  <a:lnTo>
                    <a:pt x="1170" y="1314"/>
                  </a:lnTo>
                  <a:lnTo>
                    <a:pt x="1134" y="1296"/>
                  </a:lnTo>
                  <a:lnTo>
                    <a:pt x="1122" y="1290"/>
                  </a:lnTo>
                  <a:lnTo>
                    <a:pt x="1104" y="1290"/>
                  </a:lnTo>
                  <a:lnTo>
                    <a:pt x="1098" y="1278"/>
                  </a:lnTo>
                  <a:lnTo>
                    <a:pt x="1092" y="1242"/>
                  </a:lnTo>
                  <a:lnTo>
                    <a:pt x="1086" y="1242"/>
                  </a:lnTo>
                  <a:lnTo>
                    <a:pt x="1086" y="1248"/>
                  </a:lnTo>
                  <a:lnTo>
                    <a:pt x="1086" y="1254"/>
                  </a:lnTo>
                  <a:lnTo>
                    <a:pt x="1080" y="1254"/>
                  </a:lnTo>
                  <a:lnTo>
                    <a:pt x="1080" y="1260"/>
                  </a:lnTo>
                  <a:lnTo>
                    <a:pt x="1074" y="1260"/>
                  </a:lnTo>
                  <a:lnTo>
                    <a:pt x="1068" y="1236"/>
                  </a:lnTo>
                  <a:lnTo>
                    <a:pt x="1068" y="1206"/>
                  </a:lnTo>
                  <a:lnTo>
                    <a:pt x="1080" y="1194"/>
                  </a:lnTo>
                  <a:lnTo>
                    <a:pt x="1086" y="1194"/>
                  </a:lnTo>
                  <a:lnTo>
                    <a:pt x="1092" y="1200"/>
                  </a:lnTo>
                  <a:lnTo>
                    <a:pt x="1098" y="1206"/>
                  </a:lnTo>
                  <a:lnTo>
                    <a:pt x="1104" y="1200"/>
                  </a:lnTo>
                  <a:lnTo>
                    <a:pt x="1104" y="1194"/>
                  </a:lnTo>
                  <a:lnTo>
                    <a:pt x="1110" y="1194"/>
                  </a:lnTo>
                  <a:lnTo>
                    <a:pt x="1110" y="1188"/>
                  </a:lnTo>
                  <a:lnTo>
                    <a:pt x="1116" y="1182"/>
                  </a:lnTo>
                  <a:lnTo>
                    <a:pt x="1110" y="1182"/>
                  </a:lnTo>
                  <a:lnTo>
                    <a:pt x="1110" y="1170"/>
                  </a:lnTo>
                  <a:lnTo>
                    <a:pt x="1110" y="1158"/>
                  </a:lnTo>
                  <a:lnTo>
                    <a:pt x="1110" y="1152"/>
                  </a:lnTo>
                  <a:lnTo>
                    <a:pt x="1104" y="1146"/>
                  </a:lnTo>
                  <a:lnTo>
                    <a:pt x="1098" y="1140"/>
                  </a:lnTo>
                  <a:lnTo>
                    <a:pt x="1098" y="1134"/>
                  </a:lnTo>
                  <a:lnTo>
                    <a:pt x="1098" y="1128"/>
                  </a:lnTo>
                  <a:lnTo>
                    <a:pt x="1092" y="1128"/>
                  </a:lnTo>
                  <a:lnTo>
                    <a:pt x="1092" y="1122"/>
                  </a:lnTo>
                  <a:lnTo>
                    <a:pt x="1092" y="1116"/>
                  </a:lnTo>
                  <a:lnTo>
                    <a:pt x="1092" y="1110"/>
                  </a:lnTo>
                  <a:lnTo>
                    <a:pt x="1056" y="1122"/>
                  </a:lnTo>
                  <a:lnTo>
                    <a:pt x="1038" y="1128"/>
                  </a:lnTo>
                  <a:lnTo>
                    <a:pt x="1032" y="1128"/>
                  </a:lnTo>
                  <a:lnTo>
                    <a:pt x="1026" y="1128"/>
                  </a:lnTo>
                  <a:lnTo>
                    <a:pt x="1020" y="1128"/>
                  </a:lnTo>
                  <a:lnTo>
                    <a:pt x="1014" y="1128"/>
                  </a:lnTo>
                  <a:lnTo>
                    <a:pt x="1014" y="1122"/>
                  </a:lnTo>
                  <a:lnTo>
                    <a:pt x="1008" y="1122"/>
                  </a:lnTo>
                  <a:lnTo>
                    <a:pt x="1002" y="1128"/>
                  </a:lnTo>
                  <a:lnTo>
                    <a:pt x="1002" y="1134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84" y="1140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66" y="1140"/>
                  </a:lnTo>
                  <a:lnTo>
                    <a:pt x="954" y="1140"/>
                  </a:lnTo>
                  <a:lnTo>
                    <a:pt x="954" y="1134"/>
                  </a:lnTo>
                  <a:lnTo>
                    <a:pt x="948" y="1134"/>
                  </a:lnTo>
                  <a:lnTo>
                    <a:pt x="942" y="1134"/>
                  </a:lnTo>
                  <a:lnTo>
                    <a:pt x="936" y="1134"/>
                  </a:lnTo>
                  <a:lnTo>
                    <a:pt x="930" y="1134"/>
                  </a:lnTo>
                  <a:lnTo>
                    <a:pt x="924" y="1134"/>
                  </a:lnTo>
                  <a:lnTo>
                    <a:pt x="918" y="1134"/>
                  </a:lnTo>
                  <a:lnTo>
                    <a:pt x="918" y="1128"/>
                  </a:lnTo>
                  <a:lnTo>
                    <a:pt x="918" y="1104"/>
                  </a:lnTo>
                  <a:lnTo>
                    <a:pt x="906" y="1104"/>
                  </a:lnTo>
                  <a:lnTo>
                    <a:pt x="900" y="1098"/>
                  </a:lnTo>
                  <a:lnTo>
                    <a:pt x="900" y="1092"/>
                  </a:lnTo>
                  <a:lnTo>
                    <a:pt x="900" y="1086"/>
                  </a:lnTo>
                  <a:lnTo>
                    <a:pt x="900" y="1080"/>
                  </a:lnTo>
                  <a:lnTo>
                    <a:pt x="894" y="1080"/>
                  </a:lnTo>
                  <a:lnTo>
                    <a:pt x="858" y="1074"/>
                  </a:lnTo>
                  <a:lnTo>
                    <a:pt x="852" y="1080"/>
                  </a:lnTo>
                  <a:lnTo>
                    <a:pt x="846" y="1086"/>
                  </a:lnTo>
                  <a:lnTo>
                    <a:pt x="840" y="1086"/>
                  </a:lnTo>
                  <a:lnTo>
                    <a:pt x="840" y="1092"/>
                  </a:lnTo>
                  <a:lnTo>
                    <a:pt x="834" y="1092"/>
                  </a:lnTo>
                  <a:lnTo>
                    <a:pt x="828" y="1098"/>
                  </a:lnTo>
                  <a:lnTo>
                    <a:pt x="822" y="1098"/>
                  </a:lnTo>
                  <a:lnTo>
                    <a:pt x="762" y="1074"/>
                  </a:lnTo>
                  <a:lnTo>
                    <a:pt x="756" y="1068"/>
                  </a:lnTo>
                  <a:lnTo>
                    <a:pt x="750" y="1068"/>
                  </a:lnTo>
                  <a:lnTo>
                    <a:pt x="744" y="1062"/>
                  </a:lnTo>
                  <a:lnTo>
                    <a:pt x="744" y="1068"/>
                  </a:lnTo>
                  <a:lnTo>
                    <a:pt x="744" y="1074"/>
                  </a:lnTo>
                  <a:lnTo>
                    <a:pt x="738" y="1074"/>
                  </a:lnTo>
                  <a:lnTo>
                    <a:pt x="738" y="1068"/>
                  </a:lnTo>
                  <a:lnTo>
                    <a:pt x="732" y="1068"/>
                  </a:lnTo>
                  <a:lnTo>
                    <a:pt x="726" y="1068"/>
                  </a:lnTo>
                  <a:lnTo>
                    <a:pt x="726" y="1074"/>
                  </a:lnTo>
                  <a:lnTo>
                    <a:pt x="720" y="1074"/>
                  </a:lnTo>
                  <a:lnTo>
                    <a:pt x="684" y="1068"/>
                  </a:lnTo>
                  <a:close/>
                </a:path>
              </a:pathLst>
            </a:custGeom>
            <a:solidFill>
              <a:srgbClr val="2A4F1D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5" name="Freeform 40">
              <a:extLst>
                <a:ext uri="{FF2B5EF4-FFF2-40B4-BE49-F238E27FC236}">
                  <a16:creationId xmlns:a16="http://schemas.microsoft.com/office/drawing/2014/main" id="{37EC2F22-BDB9-4162-8FA4-08493F6898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3558" y="1520374"/>
              <a:ext cx="1057717" cy="1252440"/>
            </a:xfrm>
            <a:custGeom>
              <a:avLst/>
              <a:gdLst>
                <a:gd name="T0" fmla="*/ 98 w 1992"/>
                <a:gd name="T1" fmla="*/ 162 h 2358"/>
                <a:gd name="T2" fmla="*/ 93 w 1992"/>
                <a:gd name="T3" fmla="*/ 172 h 2358"/>
                <a:gd name="T4" fmla="*/ 82 w 1992"/>
                <a:gd name="T5" fmla="*/ 179 h 2358"/>
                <a:gd name="T6" fmla="*/ 70 w 1992"/>
                <a:gd name="T7" fmla="*/ 174 h 2358"/>
                <a:gd name="T8" fmla="*/ 62 w 1992"/>
                <a:gd name="T9" fmla="*/ 182 h 2358"/>
                <a:gd name="T10" fmla="*/ 45 w 1992"/>
                <a:gd name="T11" fmla="*/ 189 h 2358"/>
                <a:gd name="T12" fmla="*/ 24 w 1992"/>
                <a:gd name="T13" fmla="*/ 205 h 2358"/>
                <a:gd name="T14" fmla="*/ 17 w 1992"/>
                <a:gd name="T15" fmla="*/ 204 h 2358"/>
                <a:gd name="T16" fmla="*/ 7 w 1992"/>
                <a:gd name="T17" fmla="*/ 197 h 2358"/>
                <a:gd name="T18" fmla="*/ 1 w 1992"/>
                <a:gd name="T19" fmla="*/ 191 h 2358"/>
                <a:gd name="T20" fmla="*/ 4 w 1992"/>
                <a:gd name="T21" fmla="*/ 175 h 2358"/>
                <a:gd name="T22" fmla="*/ 7 w 1992"/>
                <a:gd name="T23" fmla="*/ 172 h 2358"/>
                <a:gd name="T24" fmla="*/ 11 w 1992"/>
                <a:gd name="T25" fmla="*/ 168 h 2358"/>
                <a:gd name="T26" fmla="*/ 5 w 1992"/>
                <a:gd name="T27" fmla="*/ 159 h 2358"/>
                <a:gd name="T28" fmla="*/ 10 w 1992"/>
                <a:gd name="T29" fmla="*/ 156 h 2358"/>
                <a:gd name="T30" fmla="*/ 15 w 1992"/>
                <a:gd name="T31" fmla="*/ 155 h 2358"/>
                <a:gd name="T32" fmla="*/ 24 w 1992"/>
                <a:gd name="T33" fmla="*/ 149 h 2358"/>
                <a:gd name="T34" fmla="*/ 38 w 1992"/>
                <a:gd name="T35" fmla="*/ 127 h 2358"/>
                <a:gd name="T36" fmla="*/ 38 w 1992"/>
                <a:gd name="T37" fmla="*/ 107 h 2358"/>
                <a:gd name="T38" fmla="*/ 45 w 1992"/>
                <a:gd name="T39" fmla="*/ 66 h 2358"/>
                <a:gd name="T40" fmla="*/ 47 w 1992"/>
                <a:gd name="T41" fmla="*/ 36 h 2358"/>
                <a:gd name="T42" fmla="*/ 51 w 1992"/>
                <a:gd name="T43" fmla="*/ 35 h 2358"/>
                <a:gd name="T44" fmla="*/ 55 w 1992"/>
                <a:gd name="T45" fmla="*/ 30 h 2358"/>
                <a:gd name="T46" fmla="*/ 56 w 1992"/>
                <a:gd name="T47" fmla="*/ 27 h 2358"/>
                <a:gd name="T48" fmla="*/ 60 w 1992"/>
                <a:gd name="T49" fmla="*/ 23 h 2358"/>
                <a:gd name="T50" fmla="*/ 63 w 1992"/>
                <a:gd name="T51" fmla="*/ 23 h 2358"/>
                <a:gd name="T52" fmla="*/ 70 w 1992"/>
                <a:gd name="T53" fmla="*/ 18 h 2358"/>
                <a:gd name="T54" fmla="*/ 71 w 1992"/>
                <a:gd name="T55" fmla="*/ 15 h 2358"/>
                <a:gd name="T56" fmla="*/ 72 w 1992"/>
                <a:gd name="T57" fmla="*/ 13 h 2358"/>
                <a:gd name="T58" fmla="*/ 77 w 1992"/>
                <a:gd name="T59" fmla="*/ 12 h 2358"/>
                <a:gd name="T60" fmla="*/ 83 w 1992"/>
                <a:gd name="T61" fmla="*/ 10 h 2358"/>
                <a:gd name="T62" fmla="*/ 87 w 1992"/>
                <a:gd name="T63" fmla="*/ 10 h 2358"/>
                <a:gd name="T64" fmla="*/ 89 w 1992"/>
                <a:gd name="T65" fmla="*/ 10 h 2358"/>
                <a:gd name="T66" fmla="*/ 93 w 1992"/>
                <a:gd name="T67" fmla="*/ 8 h 2358"/>
                <a:gd name="T68" fmla="*/ 95 w 1992"/>
                <a:gd name="T69" fmla="*/ 4 h 2358"/>
                <a:gd name="T70" fmla="*/ 99 w 1992"/>
                <a:gd name="T71" fmla="*/ 0 h 2358"/>
                <a:gd name="T72" fmla="*/ 111 w 1992"/>
                <a:gd name="T73" fmla="*/ 0 h 2358"/>
                <a:gd name="T74" fmla="*/ 121 w 1992"/>
                <a:gd name="T75" fmla="*/ 9 h 2358"/>
                <a:gd name="T76" fmla="*/ 128 w 1992"/>
                <a:gd name="T77" fmla="*/ 19 h 2358"/>
                <a:gd name="T78" fmla="*/ 138 w 1992"/>
                <a:gd name="T79" fmla="*/ 33 h 2358"/>
                <a:gd name="T80" fmla="*/ 142 w 1992"/>
                <a:gd name="T81" fmla="*/ 47 h 2358"/>
                <a:gd name="T82" fmla="*/ 145 w 1992"/>
                <a:gd name="T83" fmla="*/ 62 h 2358"/>
                <a:gd name="T84" fmla="*/ 145 w 1992"/>
                <a:gd name="T85" fmla="*/ 70 h 2358"/>
                <a:gd name="T86" fmla="*/ 147 w 1992"/>
                <a:gd name="T87" fmla="*/ 75 h 2358"/>
                <a:gd name="T88" fmla="*/ 153 w 1992"/>
                <a:gd name="T89" fmla="*/ 75 h 2358"/>
                <a:gd name="T90" fmla="*/ 160 w 1992"/>
                <a:gd name="T91" fmla="*/ 76 h 2358"/>
                <a:gd name="T92" fmla="*/ 164 w 1992"/>
                <a:gd name="T93" fmla="*/ 79 h 2358"/>
                <a:gd name="T94" fmla="*/ 168 w 1992"/>
                <a:gd name="T95" fmla="*/ 83 h 2358"/>
                <a:gd name="T96" fmla="*/ 172 w 1992"/>
                <a:gd name="T97" fmla="*/ 86 h 2358"/>
                <a:gd name="T98" fmla="*/ 170 w 1992"/>
                <a:gd name="T99" fmla="*/ 93 h 2358"/>
                <a:gd name="T100" fmla="*/ 170 w 1992"/>
                <a:gd name="T101" fmla="*/ 99 h 2358"/>
                <a:gd name="T102" fmla="*/ 169 w 1992"/>
                <a:gd name="T103" fmla="*/ 106 h 2358"/>
                <a:gd name="T104" fmla="*/ 166 w 1992"/>
                <a:gd name="T105" fmla="*/ 113 h 2358"/>
                <a:gd name="T106" fmla="*/ 170 w 1992"/>
                <a:gd name="T107" fmla="*/ 122 h 2358"/>
                <a:gd name="T108" fmla="*/ 159 w 1992"/>
                <a:gd name="T109" fmla="*/ 128 h 2358"/>
                <a:gd name="T110" fmla="*/ 148 w 1992"/>
                <a:gd name="T111" fmla="*/ 134 h 2358"/>
                <a:gd name="T112" fmla="*/ 139 w 1992"/>
                <a:gd name="T113" fmla="*/ 136 h 2358"/>
                <a:gd name="T114" fmla="*/ 132 w 1992"/>
                <a:gd name="T115" fmla="*/ 138 h 2358"/>
                <a:gd name="T116" fmla="*/ 128 w 1992"/>
                <a:gd name="T117" fmla="*/ 145 h 2358"/>
                <a:gd name="T118" fmla="*/ 124 w 1992"/>
                <a:gd name="T119" fmla="*/ 150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92"/>
                <a:gd name="T181" fmla="*/ 0 h 2358"/>
                <a:gd name="T182" fmla="*/ 1992 w 1992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92" h="2358">
                  <a:moveTo>
                    <a:pt x="1356" y="1782"/>
                  </a:moveTo>
                  <a:lnTo>
                    <a:pt x="1350" y="1788"/>
                  </a:lnTo>
                  <a:lnTo>
                    <a:pt x="1266" y="1788"/>
                  </a:lnTo>
                  <a:lnTo>
                    <a:pt x="1260" y="1800"/>
                  </a:lnTo>
                  <a:lnTo>
                    <a:pt x="1242" y="1806"/>
                  </a:lnTo>
                  <a:lnTo>
                    <a:pt x="1218" y="1812"/>
                  </a:lnTo>
                  <a:lnTo>
                    <a:pt x="1182" y="1812"/>
                  </a:lnTo>
                  <a:lnTo>
                    <a:pt x="1158" y="1806"/>
                  </a:lnTo>
                  <a:lnTo>
                    <a:pt x="1134" y="1800"/>
                  </a:lnTo>
                  <a:lnTo>
                    <a:pt x="1134" y="1806"/>
                  </a:lnTo>
                  <a:lnTo>
                    <a:pt x="1134" y="1830"/>
                  </a:lnTo>
                  <a:lnTo>
                    <a:pt x="1128" y="1842"/>
                  </a:lnTo>
                  <a:lnTo>
                    <a:pt x="1128" y="1854"/>
                  </a:lnTo>
                  <a:lnTo>
                    <a:pt x="1128" y="1860"/>
                  </a:lnTo>
                  <a:lnTo>
                    <a:pt x="1128" y="1866"/>
                  </a:lnTo>
                  <a:lnTo>
                    <a:pt x="1128" y="1872"/>
                  </a:lnTo>
                  <a:lnTo>
                    <a:pt x="1128" y="1884"/>
                  </a:lnTo>
                  <a:lnTo>
                    <a:pt x="1128" y="1890"/>
                  </a:lnTo>
                  <a:lnTo>
                    <a:pt x="1128" y="1896"/>
                  </a:lnTo>
                  <a:lnTo>
                    <a:pt x="1122" y="1902"/>
                  </a:lnTo>
                  <a:lnTo>
                    <a:pt x="1122" y="1920"/>
                  </a:lnTo>
                  <a:lnTo>
                    <a:pt x="1116" y="1920"/>
                  </a:lnTo>
                  <a:lnTo>
                    <a:pt x="1110" y="1926"/>
                  </a:lnTo>
                  <a:lnTo>
                    <a:pt x="1110" y="1932"/>
                  </a:lnTo>
                  <a:lnTo>
                    <a:pt x="1104" y="1938"/>
                  </a:lnTo>
                  <a:lnTo>
                    <a:pt x="1086" y="1962"/>
                  </a:lnTo>
                  <a:lnTo>
                    <a:pt x="1074" y="1974"/>
                  </a:lnTo>
                  <a:lnTo>
                    <a:pt x="1074" y="1980"/>
                  </a:lnTo>
                  <a:lnTo>
                    <a:pt x="1068" y="1986"/>
                  </a:lnTo>
                  <a:lnTo>
                    <a:pt x="1062" y="1998"/>
                  </a:lnTo>
                  <a:lnTo>
                    <a:pt x="1062" y="2004"/>
                  </a:lnTo>
                  <a:lnTo>
                    <a:pt x="1068" y="2004"/>
                  </a:lnTo>
                  <a:lnTo>
                    <a:pt x="1056" y="2034"/>
                  </a:lnTo>
                  <a:lnTo>
                    <a:pt x="1050" y="2076"/>
                  </a:lnTo>
                  <a:lnTo>
                    <a:pt x="1056" y="2100"/>
                  </a:lnTo>
                  <a:lnTo>
                    <a:pt x="1038" y="2106"/>
                  </a:lnTo>
                  <a:lnTo>
                    <a:pt x="1002" y="2106"/>
                  </a:lnTo>
                  <a:lnTo>
                    <a:pt x="978" y="2094"/>
                  </a:lnTo>
                  <a:lnTo>
                    <a:pt x="972" y="2082"/>
                  </a:lnTo>
                  <a:lnTo>
                    <a:pt x="966" y="2070"/>
                  </a:lnTo>
                  <a:lnTo>
                    <a:pt x="954" y="2064"/>
                  </a:lnTo>
                  <a:lnTo>
                    <a:pt x="942" y="2058"/>
                  </a:lnTo>
                  <a:lnTo>
                    <a:pt x="936" y="2058"/>
                  </a:lnTo>
                  <a:lnTo>
                    <a:pt x="918" y="2046"/>
                  </a:lnTo>
                  <a:lnTo>
                    <a:pt x="906" y="2028"/>
                  </a:lnTo>
                  <a:lnTo>
                    <a:pt x="900" y="2022"/>
                  </a:lnTo>
                  <a:lnTo>
                    <a:pt x="894" y="2022"/>
                  </a:lnTo>
                  <a:lnTo>
                    <a:pt x="882" y="2022"/>
                  </a:lnTo>
                  <a:lnTo>
                    <a:pt x="870" y="2016"/>
                  </a:lnTo>
                  <a:lnTo>
                    <a:pt x="864" y="2016"/>
                  </a:lnTo>
                  <a:lnTo>
                    <a:pt x="852" y="2010"/>
                  </a:lnTo>
                  <a:lnTo>
                    <a:pt x="846" y="2004"/>
                  </a:lnTo>
                  <a:lnTo>
                    <a:pt x="840" y="2004"/>
                  </a:lnTo>
                  <a:lnTo>
                    <a:pt x="828" y="1998"/>
                  </a:lnTo>
                  <a:lnTo>
                    <a:pt x="816" y="1998"/>
                  </a:lnTo>
                  <a:lnTo>
                    <a:pt x="810" y="1998"/>
                  </a:lnTo>
                  <a:lnTo>
                    <a:pt x="804" y="1998"/>
                  </a:lnTo>
                  <a:lnTo>
                    <a:pt x="798" y="1998"/>
                  </a:lnTo>
                  <a:lnTo>
                    <a:pt x="792" y="2004"/>
                  </a:lnTo>
                  <a:lnTo>
                    <a:pt x="786" y="2010"/>
                  </a:lnTo>
                  <a:lnTo>
                    <a:pt x="762" y="2010"/>
                  </a:lnTo>
                  <a:lnTo>
                    <a:pt x="756" y="2010"/>
                  </a:lnTo>
                  <a:lnTo>
                    <a:pt x="744" y="2022"/>
                  </a:lnTo>
                  <a:lnTo>
                    <a:pt x="738" y="2034"/>
                  </a:lnTo>
                  <a:lnTo>
                    <a:pt x="732" y="2040"/>
                  </a:lnTo>
                  <a:lnTo>
                    <a:pt x="732" y="2046"/>
                  </a:lnTo>
                  <a:lnTo>
                    <a:pt x="726" y="2058"/>
                  </a:lnTo>
                  <a:lnTo>
                    <a:pt x="720" y="2064"/>
                  </a:lnTo>
                  <a:lnTo>
                    <a:pt x="714" y="2070"/>
                  </a:lnTo>
                  <a:lnTo>
                    <a:pt x="708" y="2088"/>
                  </a:lnTo>
                  <a:lnTo>
                    <a:pt x="702" y="2100"/>
                  </a:lnTo>
                  <a:lnTo>
                    <a:pt x="690" y="2100"/>
                  </a:lnTo>
                  <a:lnTo>
                    <a:pt x="684" y="2094"/>
                  </a:lnTo>
                  <a:lnTo>
                    <a:pt x="666" y="2100"/>
                  </a:lnTo>
                  <a:lnTo>
                    <a:pt x="636" y="2106"/>
                  </a:lnTo>
                  <a:lnTo>
                    <a:pt x="636" y="2112"/>
                  </a:lnTo>
                  <a:lnTo>
                    <a:pt x="636" y="2118"/>
                  </a:lnTo>
                  <a:lnTo>
                    <a:pt x="636" y="2124"/>
                  </a:lnTo>
                  <a:lnTo>
                    <a:pt x="630" y="2124"/>
                  </a:lnTo>
                  <a:lnTo>
                    <a:pt x="630" y="2148"/>
                  </a:lnTo>
                  <a:lnTo>
                    <a:pt x="612" y="2160"/>
                  </a:lnTo>
                  <a:lnTo>
                    <a:pt x="576" y="2172"/>
                  </a:lnTo>
                  <a:lnTo>
                    <a:pt x="546" y="2172"/>
                  </a:lnTo>
                  <a:lnTo>
                    <a:pt x="516" y="2172"/>
                  </a:lnTo>
                  <a:lnTo>
                    <a:pt x="486" y="2172"/>
                  </a:lnTo>
                  <a:lnTo>
                    <a:pt x="462" y="2172"/>
                  </a:lnTo>
                  <a:lnTo>
                    <a:pt x="444" y="2196"/>
                  </a:lnTo>
                  <a:lnTo>
                    <a:pt x="432" y="2232"/>
                  </a:lnTo>
                  <a:lnTo>
                    <a:pt x="408" y="2238"/>
                  </a:lnTo>
                  <a:lnTo>
                    <a:pt x="390" y="2256"/>
                  </a:lnTo>
                  <a:lnTo>
                    <a:pt x="372" y="2274"/>
                  </a:lnTo>
                  <a:lnTo>
                    <a:pt x="360" y="2274"/>
                  </a:lnTo>
                  <a:lnTo>
                    <a:pt x="336" y="2328"/>
                  </a:lnTo>
                  <a:lnTo>
                    <a:pt x="324" y="2340"/>
                  </a:lnTo>
                  <a:lnTo>
                    <a:pt x="300" y="2346"/>
                  </a:lnTo>
                  <a:lnTo>
                    <a:pt x="294" y="2352"/>
                  </a:lnTo>
                  <a:lnTo>
                    <a:pt x="288" y="2352"/>
                  </a:lnTo>
                  <a:lnTo>
                    <a:pt x="282" y="2352"/>
                  </a:lnTo>
                  <a:lnTo>
                    <a:pt x="276" y="2352"/>
                  </a:lnTo>
                  <a:lnTo>
                    <a:pt x="270" y="2352"/>
                  </a:lnTo>
                  <a:lnTo>
                    <a:pt x="270" y="2346"/>
                  </a:lnTo>
                  <a:lnTo>
                    <a:pt x="264" y="2346"/>
                  </a:lnTo>
                  <a:lnTo>
                    <a:pt x="258" y="2352"/>
                  </a:lnTo>
                  <a:lnTo>
                    <a:pt x="252" y="2352"/>
                  </a:lnTo>
                  <a:lnTo>
                    <a:pt x="240" y="2352"/>
                  </a:lnTo>
                  <a:lnTo>
                    <a:pt x="228" y="2352"/>
                  </a:lnTo>
                  <a:lnTo>
                    <a:pt x="222" y="2352"/>
                  </a:lnTo>
                  <a:lnTo>
                    <a:pt x="216" y="2358"/>
                  </a:lnTo>
                  <a:lnTo>
                    <a:pt x="216" y="2352"/>
                  </a:lnTo>
                  <a:lnTo>
                    <a:pt x="210" y="2346"/>
                  </a:lnTo>
                  <a:lnTo>
                    <a:pt x="204" y="2346"/>
                  </a:lnTo>
                  <a:lnTo>
                    <a:pt x="198" y="2340"/>
                  </a:lnTo>
                  <a:lnTo>
                    <a:pt x="192" y="2340"/>
                  </a:lnTo>
                  <a:lnTo>
                    <a:pt x="186" y="2340"/>
                  </a:lnTo>
                  <a:lnTo>
                    <a:pt x="180" y="2340"/>
                  </a:lnTo>
                  <a:lnTo>
                    <a:pt x="174" y="2340"/>
                  </a:lnTo>
                  <a:lnTo>
                    <a:pt x="162" y="2328"/>
                  </a:lnTo>
                  <a:lnTo>
                    <a:pt x="156" y="2322"/>
                  </a:lnTo>
                  <a:lnTo>
                    <a:pt x="156" y="2316"/>
                  </a:lnTo>
                  <a:lnTo>
                    <a:pt x="156" y="2310"/>
                  </a:lnTo>
                  <a:lnTo>
                    <a:pt x="132" y="2286"/>
                  </a:lnTo>
                  <a:lnTo>
                    <a:pt x="120" y="2280"/>
                  </a:lnTo>
                  <a:lnTo>
                    <a:pt x="96" y="2274"/>
                  </a:lnTo>
                  <a:lnTo>
                    <a:pt x="84" y="2268"/>
                  </a:lnTo>
                  <a:lnTo>
                    <a:pt x="78" y="2268"/>
                  </a:lnTo>
                  <a:lnTo>
                    <a:pt x="78" y="2262"/>
                  </a:lnTo>
                  <a:lnTo>
                    <a:pt x="78" y="2256"/>
                  </a:lnTo>
                  <a:lnTo>
                    <a:pt x="78" y="2250"/>
                  </a:lnTo>
                  <a:lnTo>
                    <a:pt x="72" y="2250"/>
                  </a:lnTo>
                  <a:lnTo>
                    <a:pt x="66" y="2250"/>
                  </a:lnTo>
                  <a:lnTo>
                    <a:pt x="60" y="2250"/>
                  </a:lnTo>
                  <a:lnTo>
                    <a:pt x="48" y="2244"/>
                  </a:lnTo>
                  <a:lnTo>
                    <a:pt x="36" y="2238"/>
                  </a:lnTo>
                  <a:lnTo>
                    <a:pt x="36" y="2226"/>
                  </a:lnTo>
                  <a:lnTo>
                    <a:pt x="30" y="2226"/>
                  </a:lnTo>
                  <a:lnTo>
                    <a:pt x="30" y="2220"/>
                  </a:lnTo>
                  <a:lnTo>
                    <a:pt x="24" y="2208"/>
                  </a:lnTo>
                  <a:lnTo>
                    <a:pt x="18" y="2202"/>
                  </a:lnTo>
                  <a:lnTo>
                    <a:pt x="18" y="2196"/>
                  </a:lnTo>
                  <a:lnTo>
                    <a:pt x="12" y="2190"/>
                  </a:lnTo>
                  <a:lnTo>
                    <a:pt x="0" y="2190"/>
                  </a:lnTo>
                  <a:lnTo>
                    <a:pt x="6" y="2184"/>
                  </a:lnTo>
                  <a:lnTo>
                    <a:pt x="12" y="2178"/>
                  </a:lnTo>
                  <a:lnTo>
                    <a:pt x="18" y="2172"/>
                  </a:lnTo>
                  <a:lnTo>
                    <a:pt x="24" y="2166"/>
                  </a:lnTo>
                  <a:lnTo>
                    <a:pt x="30" y="2166"/>
                  </a:lnTo>
                  <a:lnTo>
                    <a:pt x="24" y="2160"/>
                  </a:lnTo>
                  <a:lnTo>
                    <a:pt x="30" y="2160"/>
                  </a:lnTo>
                  <a:lnTo>
                    <a:pt x="36" y="2154"/>
                  </a:lnTo>
                  <a:lnTo>
                    <a:pt x="36" y="2136"/>
                  </a:lnTo>
                  <a:lnTo>
                    <a:pt x="36" y="2118"/>
                  </a:lnTo>
                  <a:lnTo>
                    <a:pt x="48" y="2058"/>
                  </a:lnTo>
                  <a:lnTo>
                    <a:pt x="48" y="2022"/>
                  </a:lnTo>
                  <a:lnTo>
                    <a:pt x="48" y="2016"/>
                  </a:lnTo>
                  <a:lnTo>
                    <a:pt x="48" y="2010"/>
                  </a:lnTo>
                  <a:lnTo>
                    <a:pt x="48" y="2004"/>
                  </a:lnTo>
                  <a:lnTo>
                    <a:pt x="42" y="2004"/>
                  </a:lnTo>
                  <a:lnTo>
                    <a:pt x="42" y="1998"/>
                  </a:lnTo>
                  <a:lnTo>
                    <a:pt x="36" y="1992"/>
                  </a:lnTo>
                  <a:lnTo>
                    <a:pt x="42" y="1992"/>
                  </a:lnTo>
                  <a:lnTo>
                    <a:pt x="42" y="1986"/>
                  </a:lnTo>
                  <a:lnTo>
                    <a:pt x="48" y="1986"/>
                  </a:lnTo>
                  <a:lnTo>
                    <a:pt x="54" y="1986"/>
                  </a:lnTo>
                  <a:lnTo>
                    <a:pt x="60" y="1986"/>
                  </a:lnTo>
                  <a:lnTo>
                    <a:pt x="66" y="1980"/>
                  </a:lnTo>
                  <a:lnTo>
                    <a:pt x="72" y="1974"/>
                  </a:lnTo>
                  <a:lnTo>
                    <a:pt x="78" y="1974"/>
                  </a:lnTo>
                  <a:lnTo>
                    <a:pt x="84" y="1974"/>
                  </a:lnTo>
                  <a:lnTo>
                    <a:pt x="90" y="1974"/>
                  </a:lnTo>
                  <a:lnTo>
                    <a:pt x="96" y="1974"/>
                  </a:lnTo>
                  <a:lnTo>
                    <a:pt x="96" y="1968"/>
                  </a:lnTo>
                  <a:lnTo>
                    <a:pt x="102" y="1968"/>
                  </a:lnTo>
                  <a:lnTo>
                    <a:pt x="102" y="1962"/>
                  </a:lnTo>
                  <a:lnTo>
                    <a:pt x="108" y="1962"/>
                  </a:lnTo>
                  <a:lnTo>
                    <a:pt x="114" y="1956"/>
                  </a:lnTo>
                  <a:lnTo>
                    <a:pt x="120" y="1956"/>
                  </a:lnTo>
                  <a:lnTo>
                    <a:pt x="126" y="1950"/>
                  </a:lnTo>
                  <a:lnTo>
                    <a:pt x="132" y="1950"/>
                  </a:lnTo>
                  <a:lnTo>
                    <a:pt x="132" y="1944"/>
                  </a:lnTo>
                  <a:lnTo>
                    <a:pt x="126" y="1944"/>
                  </a:lnTo>
                  <a:lnTo>
                    <a:pt x="126" y="1938"/>
                  </a:lnTo>
                  <a:lnTo>
                    <a:pt x="126" y="1932"/>
                  </a:lnTo>
                  <a:lnTo>
                    <a:pt x="126" y="1926"/>
                  </a:lnTo>
                  <a:lnTo>
                    <a:pt x="114" y="1914"/>
                  </a:lnTo>
                  <a:lnTo>
                    <a:pt x="114" y="1896"/>
                  </a:lnTo>
                  <a:lnTo>
                    <a:pt x="108" y="1884"/>
                  </a:lnTo>
                  <a:lnTo>
                    <a:pt x="102" y="1872"/>
                  </a:lnTo>
                  <a:lnTo>
                    <a:pt x="96" y="1866"/>
                  </a:lnTo>
                  <a:lnTo>
                    <a:pt x="96" y="1860"/>
                  </a:lnTo>
                  <a:lnTo>
                    <a:pt x="90" y="1860"/>
                  </a:lnTo>
                  <a:lnTo>
                    <a:pt x="90" y="1854"/>
                  </a:lnTo>
                  <a:lnTo>
                    <a:pt x="84" y="1848"/>
                  </a:lnTo>
                  <a:lnTo>
                    <a:pt x="78" y="1842"/>
                  </a:lnTo>
                  <a:lnTo>
                    <a:pt x="72" y="1836"/>
                  </a:lnTo>
                  <a:lnTo>
                    <a:pt x="66" y="1830"/>
                  </a:lnTo>
                  <a:lnTo>
                    <a:pt x="60" y="1824"/>
                  </a:lnTo>
                  <a:lnTo>
                    <a:pt x="54" y="1824"/>
                  </a:lnTo>
                  <a:lnTo>
                    <a:pt x="48" y="1824"/>
                  </a:lnTo>
                  <a:lnTo>
                    <a:pt x="42" y="1818"/>
                  </a:lnTo>
                  <a:lnTo>
                    <a:pt x="54" y="1818"/>
                  </a:lnTo>
                  <a:lnTo>
                    <a:pt x="60" y="1812"/>
                  </a:lnTo>
                  <a:lnTo>
                    <a:pt x="66" y="1812"/>
                  </a:lnTo>
                  <a:lnTo>
                    <a:pt x="72" y="1812"/>
                  </a:lnTo>
                  <a:lnTo>
                    <a:pt x="78" y="1812"/>
                  </a:lnTo>
                  <a:lnTo>
                    <a:pt x="84" y="1812"/>
                  </a:lnTo>
                  <a:lnTo>
                    <a:pt x="90" y="1806"/>
                  </a:lnTo>
                  <a:lnTo>
                    <a:pt x="96" y="1800"/>
                  </a:lnTo>
                  <a:lnTo>
                    <a:pt x="102" y="1806"/>
                  </a:lnTo>
                  <a:lnTo>
                    <a:pt x="108" y="1800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26" y="1788"/>
                  </a:lnTo>
                  <a:lnTo>
                    <a:pt x="126" y="1794"/>
                  </a:lnTo>
                  <a:lnTo>
                    <a:pt x="132" y="1794"/>
                  </a:lnTo>
                  <a:lnTo>
                    <a:pt x="132" y="1788"/>
                  </a:lnTo>
                  <a:lnTo>
                    <a:pt x="138" y="1788"/>
                  </a:lnTo>
                  <a:lnTo>
                    <a:pt x="138" y="1782"/>
                  </a:lnTo>
                  <a:lnTo>
                    <a:pt x="144" y="1782"/>
                  </a:lnTo>
                  <a:lnTo>
                    <a:pt x="150" y="1776"/>
                  </a:lnTo>
                  <a:lnTo>
                    <a:pt x="156" y="1782"/>
                  </a:lnTo>
                  <a:lnTo>
                    <a:pt x="162" y="1776"/>
                  </a:lnTo>
                  <a:lnTo>
                    <a:pt x="168" y="1776"/>
                  </a:lnTo>
                  <a:lnTo>
                    <a:pt x="180" y="1776"/>
                  </a:lnTo>
                  <a:lnTo>
                    <a:pt x="186" y="1776"/>
                  </a:lnTo>
                  <a:lnTo>
                    <a:pt x="186" y="1782"/>
                  </a:lnTo>
                  <a:lnTo>
                    <a:pt x="192" y="1776"/>
                  </a:lnTo>
                  <a:lnTo>
                    <a:pt x="198" y="1776"/>
                  </a:lnTo>
                  <a:lnTo>
                    <a:pt x="204" y="1770"/>
                  </a:lnTo>
                  <a:lnTo>
                    <a:pt x="204" y="1764"/>
                  </a:lnTo>
                  <a:lnTo>
                    <a:pt x="210" y="1764"/>
                  </a:lnTo>
                  <a:lnTo>
                    <a:pt x="216" y="1764"/>
                  </a:lnTo>
                  <a:lnTo>
                    <a:pt x="216" y="1758"/>
                  </a:lnTo>
                  <a:lnTo>
                    <a:pt x="222" y="1758"/>
                  </a:lnTo>
                  <a:lnTo>
                    <a:pt x="228" y="1758"/>
                  </a:lnTo>
                  <a:lnTo>
                    <a:pt x="258" y="1746"/>
                  </a:lnTo>
                  <a:lnTo>
                    <a:pt x="282" y="1716"/>
                  </a:lnTo>
                  <a:lnTo>
                    <a:pt x="300" y="1698"/>
                  </a:lnTo>
                  <a:lnTo>
                    <a:pt x="312" y="1698"/>
                  </a:lnTo>
                  <a:lnTo>
                    <a:pt x="336" y="1698"/>
                  </a:lnTo>
                  <a:lnTo>
                    <a:pt x="360" y="1698"/>
                  </a:lnTo>
                  <a:lnTo>
                    <a:pt x="372" y="1692"/>
                  </a:lnTo>
                  <a:lnTo>
                    <a:pt x="384" y="1692"/>
                  </a:lnTo>
                  <a:lnTo>
                    <a:pt x="360" y="1668"/>
                  </a:lnTo>
                  <a:lnTo>
                    <a:pt x="348" y="1626"/>
                  </a:lnTo>
                  <a:lnTo>
                    <a:pt x="354" y="1578"/>
                  </a:lnTo>
                  <a:lnTo>
                    <a:pt x="354" y="1572"/>
                  </a:lnTo>
                  <a:lnTo>
                    <a:pt x="360" y="1572"/>
                  </a:lnTo>
                  <a:lnTo>
                    <a:pt x="396" y="1530"/>
                  </a:lnTo>
                  <a:lnTo>
                    <a:pt x="408" y="1482"/>
                  </a:lnTo>
                  <a:lnTo>
                    <a:pt x="438" y="1458"/>
                  </a:lnTo>
                  <a:lnTo>
                    <a:pt x="468" y="1422"/>
                  </a:lnTo>
                  <a:lnTo>
                    <a:pt x="480" y="1410"/>
                  </a:lnTo>
                  <a:lnTo>
                    <a:pt x="474" y="1386"/>
                  </a:lnTo>
                  <a:lnTo>
                    <a:pt x="456" y="1356"/>
                  </a:lnTo>
                  <a:lnTo>
                    <a:pt x="438" y="1350"/>
                  </a:lnTo>
                  <a:lnTo>
                    <a:pt x="420" y="1350"/>
                  </a:lnTo>
                  <a:lnTo>
                    <a:pt x="402" y="1350"/>
                  </a:lnTo>
                  <a:lnTo>
                    <a:pt x="390" y="1344"/>
                  </a:lnTo>
                  <a:lnTo>
                    <a:pt x="390" y="1332"/>
                  </a:lnTo>
                  <a:lnTo>
                    <a:pt x="402" y="1296"/>
                  </a:lnTo>
                  <a:lnTo>
                    <a:pt x="414" y="1260"/>
                  </a:lnTo>
                  <a:lnTo>
                    <a:pt x="426" y="1248"/>
                  </a:lnTo>
                  <a:lnTo>
                    <a:pt x="438" y="1242"/>
                  </a:lnTo>
                  <a:lnTo>
                    <a:pt x="432" y="1230"/>
                  </a:lnTo>
                  <a:lnTo>
                    <a:pt x="432" y="1224"/>
                  </a:lnTo>
                  <a:lnTo>
                    <a:pt x="426" y="1218"/>
                  </a:lnTo>
                  <a:lnTo>
                    <a:pt x="426" y="1206"/>
                  </a:lnTo>
                  <a:lnTo>
                    <a:pt x="426" y="1200"/>
                  </a:lnTo>
                  <a:lnTo>
                    <a:pt x="432" y="1194"/>
                  </a:lnTo>
                  <a:lnTo>
                    <a:pt x="426" y="1188"/>
                  </a:lnTo>
                  <a:lnTo>
                    <a:pt x="432" y="1104"/>
                  </a:lnTo>
                  <a:lnTo>
                    <a:pt x="438" y="1086"/>
                  </a:lnTo>
                  <a:lnTo>
                    <a:pt x="462" y="972"/>
                  </a:lnTo>
                  <a:lnTo>
                    <a:pt x="456" y="900"/>
                  </a:lnTo>
                  <a:lnTo>
                    <a:pt x="444" y="846"/>
                  </a:lnTo>
                  <a:lnTo>
                    <a:pt x="456" y="810"/>
                  </a:lnTo>
                  <a:lnTo>
                    <a:pt x="492" y="786"/>
                  </a:lnTo>
                  <a:lnTo>
                    <a:pt x="522" y="762"/>
                  </a:lnTo>
                  <a:lnTo>
                    <a:pt x="546" y="732"/>
                  </a:lnTo>
                  <a:lnTo>
                    <a:pt x="570" y="696"/>
                  </a:lnTo>
                  <a:lnTo>
                    <a:pt x="582" y="654"/>
                  </a:lnTo>
                  <a:lnTo>
                    <a:pt x="564" y="642"/>
                  </a:lnTo>
                  <a:lnTo>
                    <a:pt x="522" y="588"/>
                  </a:lnTo>
                  <a:lnTo>
                    <a:pt x="516" y="546"/>
                  </a:lnTo>
                  <a:lnTo>
                    <a:pt x="510" y="474"/>
                  </a:lnTo>
                  <a:lnTo>
                    <a:pt x="510" y="450"/>
                  </a:lnTo>
                  <a:lnTo>
                    <a:pt x="510" y="444"/>
                  </a:lnTo>
                  <a:lnTo>
                    <a:pt x="522" y="438"/>
                  </a:lnTo>
                  <a:lnTo>
                    <a:pt x="522" y="432"/>
                  </a:lnTo>
                  <a:lnTo>
                    <a:pt x="528" y="426"/>
                  </a:lnTo>
                  <a:lnTo>
                    <a:pt x="534" y="420"/>
                  </a:lnTo>
                  <a:lnTo>
                    <a:pt x="540" y="414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08"/>
                  </a:lnTo>
                  <a:lnTo>
                    <a:pt x="546" y="408"/>
                  </a:lnTo>
                  <a:lnTo>
                    <a:pt x="558" y="414"/>
                  </a:lnTo>
                  <a:lnTo>
                    <a:pt x="564" y="414"/>
                  </a:lnTo>
                  <a:lnTo>
                    <a:pt x="570" y="414"/>
                  </a:lnTo>
                  <a:lnTo>
                    <a:pt x="582" y="414"/>
                  </a:lnTo>
                  <a:lnTo>
                    <a:pt x="582" y="420"/>
                  </a:lnTo>
                  <a:lnTo>
                    <a:pt x="588" y="414"/>
                  </a:lnTo>
                  <a:lnTo>
                    <a:pt x="582" y="408"/>
                  </a:lnTo>
                  <a:lnTo>
                    <a:pt x="588" y="402"/>
                  </a:lnTo>
                  <a:lnTo>
                    <a:pt x="594" y="402"/>
                  </a:lnTo>
                  <a:lnTo>
                    <a:pt x="594" y="396"/>
                  </a:lnTo>
                  <a:lnTo>
                    <a:pt x="594" y="390"/>
                  </a:lnTo>
                  <a:lnTo>
                    <a:pt x="594" y="384"/>
                  </a:lnTo>
                  <a:lnTo>
                    <a:pt x="594" y="378"/>
                  </a:lnTo>
                  <a:lnTo>
                    <a:pt x="600" y="366"/>
                  </a:lnTo>
                  <a:lnTo>
                    <a:pt x="606" y="366"/>
                  </a:lnTo>
                  <a:lnTo>
                    <a:pt x="612" y="360"/>
                  </a:lnTo>
                  <a:lnTo>
                    <a:pt x="612" y="366"/>
                  </a:lnTo>
                  <a:lnTo>
                    <a:pt x="618" y="366"/>
                  </a:lnTo>
                  <a:lnTo>
                    <a:pt x="624" y="366"/>
                  </a:lnTo>
                  <a:lnTo>
                    <a:pt x="630" y="360"/>
                  </a:lnTo>
                  <a:lnTo>
                    <a:pt x="636" y="354"/>
                  </a:lnTo>
                  <a:lnTo>
                    <a:pt x="630" y="354"/>
                  </a:lnTo>
                  <a:lnTo>
                    <a:pt x="630" y="348"/>
                  </a:lnTo>
                  <a:lnTo>
                    <a:pt x="630" y="342"/>
                  </a:lnTo>
                  <a:lnTo>
                    <a:pt x="636" y="342"/>
                  </a:lnTo>
                  <a:lnTo>
                    <a:pt x="642" y="336"/>
                  </a:lnTo>
                  <a:lnTo>
                    <a:pt x="636" y="330"/>
                  </a:lnTo>
                  <a:lnTo>
                    <a:pt x="630" y="336"/>
                  </a:lnTo>
                  <a:lnTo>
                    <a:pt x="624" y="336"/>
                  </a:lnTo>
                  <a:lnTo>
                    <a:pt x="624" y="330"/>
                  </a:lnTo>
                  <a:lnTo>
                    <a:pt x="624" y="324"/>
                  </a:lnTo>
                  <a:lnTo>
                    <a:pt x="618" y="324"/>
                  </a:lnTo>
                  <a:lnTo>
                    <a:pt x="624" y="324"/>
                  </a:lnTo>
                  <a:lnTo>
                    <a:pt x="630" y="330"/>
                  </a:lnTo>
                  <a:lnTo>
                    <a:pt x="630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2" y="306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8" y="288"/>
                  </a:lnTo>
                  <a:lnTo>
                    <a:pt x="648" y="282"/>
                  </a:lnTo>
                  <a:lnTo>
                    <a:pt x="654" y="288"/>
                  </a:lnTo>
                  <a:lnTo>
                    <a:pt x="654" y="282"/>
                  </a:lnTo>
                  <a:lnTo>
                    <a:pt x="660" y="282"/>
                  </a:lnTo>
                  <a:lnTo>
                    <a:pt x="666" y="282"/>
                  </a:lnTo>
                  <a:lnTo>
                    <a:pt x="672" y="282"/>
                  </a:lnTo>
                  <a:lnTo>
                    <a:pt x="678" y="282"/>
                  </a:lnTo>
                  <a:lnTo>
                    <a:pt x="684" y="276"/>
                  </a:lnTo>
                  <a:lnTo>
                    <a:pt x="690" y="270"/>
                  </a:lnTo>
                  <a:lnTo>
                    <a:pt x="690" y="264"/>
                  </a:lnTo>
                  <a:lnTo>
                    <a:pt x="690" y="270"/>
                  </a:lnTo>
                  <a:lnTo>
                    <a:pt x="690" y="276"/>
                  </a:lnTo>
                  <a:lnTo>
                    <a:pt x="696" y="276"/>
                  </a:lnTo>
                  <a:lnTo>
                    <a:pt x="702" y="276"/>
                  </a:lnTo>
                  <a:lnTo>
                    <a:pt x="702" y="282"/>
                  </a:lnTo>
                  <a:lnTo>
                    <a:pt x="708" y="282"/>
                  </a:lnTo>
                  <a:lnTo>
                    <a:pt x="720" y="270"/>
                  </a:lnTo>
                  <a:lnTo>
                    <a:pt x="720" y="264"/>
                  </a:lnTo>
                  <a:lnTo>
                    <a:pt x="720" y="258"/>
                  </a:lnTo>
                  <a:lnTo>
                    <a:pt x="726" y="258"/>
                  </a:lnTo>
                  <a:lnTo>
                    <a:pt x="732" y="258"/>
                  </a:lnTo>
                  <a:lnTo>
                    <a:pt x="732" y="264"/>
                  </a:lnTo>
                  <a:lnTo>
                    <a:pt x="738" y="264"/>
                  </a:lnTo>
                  <a:lnTo>
                    <a:pt x="738" y="258"/>
                  </a:lnTo>
                  <a:lnTo>
                    <a:pt x="732" y="258"/>
                  </a:lnTo>
                  <a:lnTo>
                    <a:pt x="732" y="252"/>
                  </a:lnTo>
                  <a:lnTo>
                    <a:pt x="744" y="252"/>
                  </a:lnTo>
                  <a:lnTo>
                    <a:pt x="750" y="252"/>
                  </a:lnTo>
                  <a:lnTo>
                    <a:pt x="750" y="246"/>
                  </a:lnTo>
                  <a:lnTo>
                    <a:pt x="750" y="240"/>
                  </a:lnTo>
                  <a:lnTo>
                    <a:pt x="762" y="234"/>
                  </a:lnTo>
                  <a:lnTo>
                    <a:pt x="768" y="234"/>
                  </a:lnTo>
                  <a:lnTo>
                    <a:pt x="774" y="234"/>
                  </a:lnTo>
                  <a:lnTo>
                    <a:pt x="780" y="228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16"/>
                  </a:lnTo>
                  <a:lnTo>
                    <a:pt x="792" y="210"/>
                  </a:lnTo>
                  <a:lnTo>
                    <a:pt x="804" y="204"/>
                  </a:lnTo>
                  <a:lnTo>
                    <a:pt x="804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0" y="192"/>
                  </a:lnTo>
                  <a:lnTo>
                    <a:pt x="798" y="186"/>
                  </a:lnTo>
                  <a:lnTo>
                    <a:pt x="810" y="186"/>
                  </a:lnTo>
                  <a:lnTo>
                    <a:pt x="810" y="180"/>
                  </a:lnTo>
                  <a:lnTo>
                    <a:pt x="810" y="186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0" y="180"/>
                  </a:lnTo>
                  <a:lnTo>
                    <a:pt x="816" y="174"/>
                  </a:lnTo>
                  <a:lnTo>
                    <a:pt x="822" y="174"/>
                  </a:lnTo>
                  <a:lnTo>
                    <a:pt x="822" y="180"/>
                  </a:lnTo>
                  <a:lnTo>
                    <a:pt x="828" y="180"/>
                  </a:lnTo>
                  <a:lnTo>
                    <a:pt x="828" y="174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62"/>
                  </a:lnTo>
                  <a:lnTo>
                    <a:pt x="828" y="156"/>
                  </a:lnTo>
                  <a:lnTo>
                    <a:pt x="822" y="156"/>
                  </a:lnTo>
                  <a:lnTo>
                    <a:pt x="828" y="156"/>
                  </a:lnTo>
                  <a:lnTo>
                    <a:pt x="828" y="150"/>
                  </a:lnTo>
                  <a:lnTo>
                    <a:pt x="834" y="150"/>
                  </a:lnTo>
                  <a:lnTo>
                    <a:pt x="840" y="156"/>
                  </a:lnTo>
                  <a:lnTo>
                    <a:pt x="840" y="150"/>
                  </a:lnTo>
                  <a:lnTo>
                    <a:pt x="834" y="150"/>
                  </a:lnTo>
                  <a:lnTo>
                    <a:pt x="834" y="144"/>
                  </a:lnTo>
                  <a:lnTo>
                    <a:pt x="840" y="138"/>
                  </a:lnTo>
                  <a:lnTo>
                    <a:pt x="846" y="144"/>
                  </a:lnTo>
                  <a:lnTo>
                    <a:pt x="846" y="150"/>
                  </a:lnTo>
                  <a:lnTo>
                    <a:pt x="852" y="150"/>
                  </a:lnTo>
                  <a:lnTo>
                    <a:pt x="858" y="150"/>
                  </a:lnTo>
                  <a:lnTo>
                    <a:pt x="870" y="150"/>
                  </a:lnTo>
                  <a:lnTo>
                    <a:pt x="870" y="144"/>
                  </a:lnTo>
                  <a:lnTo>
                    <a:pt x="876" y="138"/>
                  </a:lnTo>
                  <a:lnTo>
                    <a:pt x="882" y="138"/>
                  </a:lnTo>
                  <a:lnTo>
                    <a:pt x="888" y="132"/>
                  </a:lnTo>
                  <a:lnTo>
                    <a:pt x="888" y="138"/>
                  </a:lnTo>
                  <a:lnTo>
                    <a:pt x="894" y="138"/>
                  </a:lnTo>
                  <a:lnTo>
                    <a:pt x="894" y="132"/>
                  </a:lnTo>
                  <a:lnTo>
                    <a:pt x="900" y="126"/>
                  </a:lnTo>
                  <a:lnTo>
                    <a:pt x="900" y="132"/>
                  </a:lnTo>
                  <a:lnTo>
                    <a:pt x="906" y="132"/>
                  </a:lnTo>
                  <a:lnTo>
                    <a:pt x="912" y="132"/>
                  </a:lnTo>
                  <a:lnTo>
                    <a:pt x="918" y="126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24" y="126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8" y="120"/>
                  </a:lnTo>
                  <a:lnTo>
                    <a:pt x="948" y="114"/>
                  </a:lnTo>
                  <a:lnTo>
                    <a:pt x="948" y="108"/>
                  </a:lnTo>
                  <a:lnTo>
                    <a:pt x="954" y="114"/>
                  </a:lnTo>
                  <a:lnTo>
                    <a:pt x="960" y="108"/>
                  </a:lnTo>
                  <a:lnTo>
                    <a:pt x="966" y="108"/>
                  </a:lnTo>
                  <a:lnTo>
                    <a:pt x="972" y="108"/>
                  </a:lnTo>
                  <a:lnTo>
                    <a:pt x="966" y="114"/>
                  </a:lnTo>
                  <a:lnTo>
                    <a:pt x="960" y="114"/>
                  </a:lnTo>
                  <a:lnTo>
                    <a:pt x="960" y="120"/>
                  </a:lnTo>
                  <a:lnTo>
                    <a:pt x="966" y="126"/>
                  </a:lnTo>
                  <a:lnTo>
                    <a:pt x="972" y="126"/>
                  </a:lnTo>
                  <a:lnTo>
                    <a:pt x="978" y="126"/>
                  </a:lnTo>
                  <a:lnTo>
                    <a:pt x="984" y="120"/>
                  </a:lnTo>
                  <a:lnTo>
                    <a:pt x="984" y="114"/>
                  </a:lnTo>
                  <a:lnTo>
                    <a:pt x="996" y="126"/>
                  </a:lnTo>
                  <a:lnTo>
                    <a:pt x="996" y="120"/>
                  </a:lnTo>
                  <a:lnTo>
                    <a:pt x="1002" y="120"/>
                  </a:lnTo>
                  <a:lnTo>
                    <a:pt x="996" y="114"/>
                  </a:lnTo>
                  <a:lnTo>
                    <a:pt x="1002" y="114"/>
                  </a:lnTo>
                  <a:lnTo>
                    <a:pt x="1008" y="114"/>
                  </a:lnTo>
                  <a:lnTo>
                    <a:pt x="1008" y="108"/>
                  </a:lnTo>
                  <a:lnTo>
                    <a:pt x="1014" y="108"/>
                  </a:lnTo>
                  <a:lnTo>
                    <a:pt x="1008" y="114"/>
                  </a:lnTo>
                  <a:lnTo>
                    <a:pt x="1008" y="120"/>
                  </a:lnTo>
                  <a:lnTo>
                    <a:pt x="1008" y="126"/>
                  </a:lnTo>
                  <a:lnTo>
                    <a:pt x="1014" y="126"/>
                  </a:lnTo>
                  <a:lnTo>
                    <a:pt x="1014" y="132"/>
                  </a:lnTo>
                  <a:lnTo>
                    <a:pt x="1020" y="132"/>
                  </a:lnTo>
                  <a:lnTo>
                    <a:pt x="1020" y="126"/>
                  </a:lnTo>
                  <a:lnTo>
                    <a:pt x="1020" y="120"/>
                  </a:lnTo>
                  <a:lnTo>
                    <a:pt x="1032" y="120"/>
                  </a:lnTo>
                  <a:lnTo>
                    <a:pt x="1038" y="120"/>
                  </a:lnTo>
                  <a:lnTo>
                    <a:pt x="1038" y="126"/>
                  </a:lnTo>
                  <a:lnTo>
                    <a:pt x="1044" y="132"/>
                  </a:lnTo>
                  <a:lnTo>
                    <a:pt x="1044" y="126"/>
                  </a:lnTo>
                  <a:lnTo>
                    <a:pt x="1050" y="120"/>
                  </a:lnTo>
                  <a:lnTo>
                    <a:pt x="1050" y="114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68" y="102"/>
                  </a:lnTo>
                  <a:lnTo>
                    <a:pt x="1074" y="96"/>
                  </a:lnTo>
                  <a:lnTo>
                    <a:pt x="1074" y="90"/>
                  </a:lnTo>
                  <a:lnTo>
                    <a:pt x="1068" y="90"/>
                  </a:lnTo>
                  <a:lnTo>
                    <a:pt x="1068" y="84"/>
                  </a:lnTo>
                  <a:lnTo>
                    <a:pt x="1080" y="84"/>
                  </a:lnTo>
                  <a:lnTo>
                    <a:pt x="1086" y="78"/>
                  </a:lnTo>
                  <a:lnTo>
                    <a:pt x="1086" y="72"/>
                  </a:lnTo>
                  <a:lnTo>
                    <a:pt x="1080" y="78"/>
                  </a:lnTo>
                  <a:lnTo>
                    <a:pt x="1080" y="72"/>
                  </a:lnTo>
                  <a:lnTo>
                    <a:pt x="1080" y="66"/>
                  </a:lnTo>
                  <a:lnTo>
                    <a:pt x="1074" y="66"/>
                  </a:lnTo>
                  <a:lnTo>
                    <a:pt x="1080" y="66"/>
                  </a:lnTo>
                  <a:lnTo>
                    <a:pt x="1080" y="60"/>
                  </a:lnTo>
                  <a:lnTo>
                    <a:pt x="1086" y="60"/>
                  </a:lnTo>
                  <a:lnTo>
                    <a:pt x="1086" y="54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2" y="42"/>
                  </a:lnTo>
                  <a:lnTo>
                    <a:pt x="1098" y="42"/>
                  </a:lnTo>
                  <a:lnTo>
                    <a:pt x="1104" y="36"/>
                  </a:lnTo>
                  <a:lnTo>
                    <a:pt x="1110" y="36"/>
                  </a:lnTo>
                  <a:lnTo>
                    <a:pt x="1110" y="30"/>
                  </a:lnTo>
                  <a:lnTo>
                    <a:pt x="1110" y="24"/>
                  </a:lnTo>
                  <a:lnTo>
                    <a:pt x="1116" y="24"/>
                  </a:lnTo>
                  <a:lnTo>
                    <a:pt x="1116" y="18"/>
                  </a:lnTo>
                  <a:lnTo>
                    <a:pt x="1122" y="18"/>
                  </a:lnTo>
                  <a:lnTo>
                    <a:pt x="1128" y="18"/>
                  </a:lnTo>
                  <a:lnTo>
                    <a:pt x="1134" y="12"/>
                  </a:lnTo>
                  <a:lnTo>
                    <a:pt x="1134" y="6"/>
                  </a:lnTo>
                  <a:lnTo>
                    <a:pt x="1140" y="6"/>
                  </a:lnTo>
                  <a:lnTo>
                    <a:pt x="1146" y="0"/>
                  </a:lnTo>
                  <a:lnTo>
                    <a:pt x="1152" y="0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70" y="0"/>
                  </a:lnTo>
                  <a:lnTo>
                    <a:pt x="1176" y="6"/>
                  </a:lnTo>
                  <a:lnTo>
                    <a:pt x="1182" y="6"/>
                  </a:lnTo>
                  <a:lnTo>
                    <a:pt x="1194" y="6"/>
                  </a:lnTo>
                  <a:lnTo>
                    <a:pt x="1200" y="6"/>
                  </a:lnTo>
                  <a:lnTo>
                    <a:pt x="1212" y="0"/>
                  </a:lnTo>
                  <a:lnTo>
                    <a:pt x="1212" y="6"/>
                  </a:lnTo>
                  <a:lnTo>
                    <a:pt x="1218" y="6"/>
                  </a:lnTo>
                  <a:lnTo>
                    <a:pt x="1266" y="6"/>
                  </a:lnTo>
                  <a:lnTo>
                    <a:pt x="1272" y="0"/>
                  </a:lnTo>
                  <a:lnTo>
                    <a:pt x="1278" y="6"/>
                  </a:lnTo>
                  <a:lnTo>
                    <a:pt x="1290" y="6"/>
                  </a:lnTo>
                  <a:lnTo>
                    <a:pt x="1296" y="6"/>
                  </a:lnTo>
                  <a:lnTo>
                    <a:pt x="1308" y="6"/>
                  </a:lnTo>
                  <a:lnTo>
                    <a:pt x="1314" y="6"/>
                  </a:lnTo>
                  <a:lnTo>
                    <a:pt x="1320" y="6"/>
                  </a:lnTo>
                  <a:lnTo>
                    <a:pt x="1326" y="12"/>
                  </a:lnTo>
                  <a:lnTo>
                    <a:pt x="1338" y="30"/>
                  </a:lnTo>
                  <a:lnTo>
                    <a:pt x="1344" y="36"/>
                  </a:lnTo>
                  <a:lnTo>
                    <a:pt x="1356" y="48"/>
                  </a:lnTo>
                  <a:lnTo>
                    <a:pt x="1362" y="60"/>
                  </a:lnTo>
                  <a:lnTo>
                    <a:pt x="1368" y="66"/>
                  </a:lnTo>
                  <a:lnTo>
                    <a:pt x="1374" y="72"/>
                  </a:lnTo>
                  <a:lnTo>
                    <a:pt x="1374" y="78"/>
                  </a:lnTo>
                  <a:lnTo>
                    <a:pt x="1398" y="108"/>
                  </a:lnTo>
                  <a:lnTo>
                    <a:pt x="1398" y="114"/>
                  </a:lnTo>
                  <a:lnTo>
                    <a:pt x="1404" y="114"/>
                  </a:lnTo>
                  <a:lnTo>
                    <a:pt x="1404" y="120"/>
                  </a:lnTo>
                  <a:lnTo>
                    <a:pt x="1410" y="132"/>
                  </a:lnTo>
                  <a:lnTo>
                    <a:pt x="1416" y="132"/>
                  </a:lnTo>
                  <a:lnTo>
                    <a:pt x="1416" y="138"/>
                  </a:lnTo>
                  <a:lnTo>
                    <a:pt x="1422" y="144"/>
                  </a:lnTo>
                  <a:lnTo>
                    <a:pt x="1428" y="150"/>
                  </a:lnTo>
                  <a:lnTo>
                    <a:pt x="1428" y="156"/>
                  </a:lnTo>
                  <a:lnTo>
                    <a:pt x="1458" y="192"/>
                  </a:lnTo>
                  <a:lnTo>
                    <a:pt x="1458" y="198"/>
                  </a:lnTo>
                  <a:lnTo>
                    <a:pt x="1464" y="204"/>
                  </a:lnTo>
                  <a:lnTo>
                    <a:pt x="1470" y="210"/>
                  </a:lnTo>
                  <a:lnTo>
                    <a:pt x="1476" y="216"/>
                  </a:lnTo>
                  <a:lnTo>
                    <a:pt x="1482" y="228"/>
                  </a:lnTo>
                  <a:lnTo>
                    <a:pt x="1488" y="234"/>
                  </a:lnTo>
                  <a:lnTo>
                    <a:pt x="1512" y="270"/>
                  </a:lnTo>
                  <a:lnTo>
                    <a:pt x="1512" y="276"/>
                  </a:lnTo>
                  <a:lnTo>
                    <a:pt x="1530" y="300"/>
                  </a:lnTo>
                  <a:lnTo>
                    <a:pt x="1536" y="306"/>
                  </a:lnTo>
                  <a:lnTo>
                    <a:pt x="1542" y="312"/>
                  </a:lnTo>
                  <a:lnTo>
                    <a:pt x="1542" y="318"/>
                  </a:lnTo>
                  <a:lnTo>
                    <a:pt x="1560" y="336"/>
                  </a:lnTo>
                  <a:lnTo>
                    <a:pt x="1566" y="348"/>
                  </a:lnTo>
                  <a:lnTo>
                    <a:pt x="1572" y="354"/>
                  </a:lnTo>
                  <a:lnTo>
                    <a:pt x="1578" y="360"/>
                  </a:lnTo>
                  <a:lnTo>
                    <a:pt x="1584" y="378"/>
                  </a:lnTo>
                  <a:lnTo>
                    <a:pt x="1590" y="378"/>
                  </a:lnTo>
                  <a:lnTo>
                    <a:pt x="1596" y="390"/>
                  </a:lnTo>
                  <a:lnTo>
                    <a:pt x="1602" y="396"/>
                  </a:lnTo>
                  <a:lnTo>
                    <a:pt x="1608" y="408"/>
                  </a:lnTo>
                  <a:lnTo>
                    <a:pt x="1614" y="408"/>
                  </a:lnTo>
                  <a:lnTo>
                    <a:pt x="1614" y="432"/>
                  </a:lnTo>
                  <a:lnTo>
                    <a:pt x="1620" y="438"/>
                  </a:lnTo>
                  <a:lnTo>
                    <a:pt x="1620" y="450"/>
                  </a:lnTo>
                  <a:lnTo>
                    <a:pt x="1620" y="462"/>
                  </a:lnTo>
                  <a:lnTo>
                    <a:pt x="1626" y="474"/>
                  </a:lnTo>
                  <a:lnTo>
                    <a:pt x="1626" y="480"/>
                  </a:lnTo>
                  <a:lnTo>
                    <a:pt x="1626" y="486"/>
                  </a:lnTo>
                  <a:lnTo>
                    <a:pt x="1632" y="522"/>
                  </a:lnTo>
                  <a:lnTo>
                    <a:pt x="1632" y="528"/>
                  </a:lnTo>
                  <a:lnTo>
                    <a:pt x="1632" y="534"/>
                  </a:lnTo>
                  <a:lnTo>
                    <a:pt x="1638" y="540"/>
                  </a:lnTo>
                  <a:lnTo>
                    <a:pt x="1638" y="558"/>
                  </a:lnTo>
                  <a:lnTo>
                    <a:pt x="1638" y="570"/>
                  </a:lnTo>
                  <a:lnTo>
                    <a:pt x="1644" y="582"/>
                  </a:lnTo>
                  <a:lnTo>
                    <a:pt x="1650" y="618"/>
                  </a:lnTo>
                  <a:lnTo>
                    <a:pt x="1650" y="624"/>
                  </a:lnTo>
                  <a:lnTo>
                    <a:pt x="1650" y="636"/>
                  </a:lnTo>
                  <a:lnTo>
                    <a:pt x="1656" y="642"/>
                  </a:lnTo>
                  <a:lnTo>
                    <a:pt x="1656" y="648"/>
                  </a:lnTo>
                  <a:lnTo>
                    <a:pt x="1656" y="654"/>
                  </a:lnTo>
                  <a:lnTo>
                    <a:pt x="1656" y="660"/>
                  </a:lnTo>
                  <a:lnTo>
                    <a:pt x="1662" y="696"/>
                  </a:lnTo>
                  <a:lnTo>
                    <a:pt x="1668" y="708"/>
                  </a:lnTo>
                  <a:lnTo>
                    <a:pt x="1668" y="714"/>
                  </a:lnTo>
                  <a:lnTo>
                    <a:pt x="1668" y="732"/>
                  </a:lnTo>
                  <a:lnTo>
                    <a:pt x="1668" y="744"/>
                  </a:lnTo>
                  <a:lnTo>
                    <a:pt x="1674" y="756"/>
                  </a:lnTo>
                  <a:lnTo>
                    <a:pt x="1680" y="762"/>
                  </a:lnTo>
                  <a:lnTo>
                    <a:pt x="1680" y="768"/>
                  </a:lnTo>
                  <a:lnTo>
                    <a:pt x="1680" y="774"/>
                  </a:lnTo>
                  <a:lnTo>
                    <a:pt x="1680" y="780"/>
                  </a:lnTo>
                  <a:lnTo>
                    <a:pt x="1674" y="786"/>
                  </a:lnTo>
                  <a:lnTo>
                    <a:pt x="1668" y="792"/>
                  </a:lnTo>
                  <a:lnTo>
                    <a:pt x="1668" y="798"/>
                  </a:lnTo>
                  <a:lnTo>
                    <a:pt x="1668" y="804"/>
                  </a:lnTo>
                  <a:lnTo>
                    <a:pt x="1674" y="804"/>
                  </a:lnTo>
                  <a:lnTo>
                    <a:pt x="1668" y="810"/>
                  </a:lnTo>
                  <a:lnTo>
                    <a:pt x="1674" y="810"/>
                  </a:lnTo>
                  <a:lnTo>
                    <a:pt x="1680" y="810"/>
                  </a:lnTo>
                  <a:lnTo>
                    <a:pt x="1680" y="816"/>
                  </a:lnTo>
                  <a:lnTo>
                    <a:pt x="1680" y="822"/>
                  </a:lnTo>
                  <a:lnTo>
                    <a:pt x="1674" y="822"/>
                  </a:lnTo>
                  <a:lnTo>
                    <a:pt x="1674" y="828"/>
                  </a:lnTo>
                  <a:lnTo>
                    <a:pt x="1668" y="828"/>
                  </a:lnTo>
                  <a:lnTo>
                    <a:pt x="1674" y="834"/>
                  </a:lnTo>
                  <a:lnTo>
                    <a:pt x="1668" y="834"/>
                  </a:lnTo>
                  <a:lnTo>
                    <a:pt x="1668" y="840"/>
                  </a:lnTo>
                  <a:lnTo>
                    <a:pt x="1674" y="840"/>
                  </a:lnTo>
                  <a:lnTo>
                    <a:pt x="1686" y="852"/>
                  </a:lnTo>
                  <a:lnTo>
                    <a:pt x="1692" y="858"/>
                  </a:lnTo>
                  <a:lnTo>
                    <a:pt x="1698" y="858"/>
                  </a:lnTo>
                  <a:lnTo>
                    <a:pt x="1698" y="864"/>
                  </a:lnTo>
                  <a:lnTo>
                    <a:pt x="1698" y="870"/>
                  </a:lnTo>
                  <a:lnTo>
                    <a:pt x="1704" y="864"/>
                  </a:lnTo>
                  <a:lnTo>
                    <a:pt x="1716" y="864"/>
                  </a:lnTo>
                  <a:lnTo>
                    <a:pt x="1722" y="864"/>
                  </a:lnTo>
                  <a:lnTo>
                    <a:pt x="1728" y="864"/>
                  </a:lnTo>
                  <a:lnTo>
                    <a:pt x="1734" y="864"/>
                  </a:lnTo>
                  <a:lnTo>
                    <a:pt x="1740" y="864"/>
                  </a:lnTo>
                  <a:lnTo>
                    <a:pt x="1746" y="876"/>
                  </a:lnTo>
                  <a:lnTo>
                    <a:pt x="1746" y="870"/>
                  </a:lnTo>
                  <a:lnTo>
                    <a:pt x="1740" y="864"/>
                  </a:lnTo>
                  <a:lnTo>
                    <a:pt x="1746" y="864"/>
                  </a:lnTo>
                  <a:lnTo>
                    <a:pt x="1752" y="870"/>
                  </a:lnTo>
                  <a:lnTo>
                    <a:pt x="1758" y="864"/>
                  </a:lnTo>
                  <a:lnTo>
                    <a:pt x="1764" y="864"/>
                  </a:lnTo>
                  <a:lnTo>
                    <a:pt x="1770" y="858"/>
                  </a:lnTo>
                  <a:lnTo>
                    <a:pt x="1782" y="864"/>
                  </a:lnTo>
                  <a:lnTo>
                    <a:pt x="1782" y="870"/>
                  </a:lnTo>
                  <a:lnTo>
                    <a:pt x="1788" y="864"/>
                  </a:lnTo>
                  <a:lnTo>
                    <a:pt x="1794" y="864"/>
                  </a:lnTo>
                  <a:lnTo>
                    <a:pt x="1800" y="870"/>
                  </a:lnTo>
                  <a:lnTo>
                    <a:pt x="1818" y="864"/>
                  </a:lnTo>
                  <a:lnTo>
                    <a:pt x="1824" y="870"/>
                  </a:lnTo>
                  <a:lnTo>
                    <a:pt x="1830" y="864"/>
                  </a:lnTo>
                  <a:lnTo>
                    <a:pt x="1836" y="864"/>
                  </a:lnTo>
                  <a:lnTo>
                    <a:pt x="1842" y="870"/>
                  </a:lnTo>
                  <a:lnTo>
                    <a:pt x="1842" y="876"/>
                  </a:lnTo>
                  <a:lnTo>
                    <a:pt x="1848" y="876"/>
                  </a:lnTo>
                  <a:lnTo>
                    <a:pt x="1848" y="870"/>
                  </a:lnTo>
                  <a:lnTo>
                    <a:pt x="1854" y="870"/>
                  </a:lnTo>
                  <a:lnTo>
                    <a:pt x="1860" y="870"/>
                  </a:lnTo>
                  <a:lnTo>
                    <a:pt x="1860" y="876"/>
                  </a:lnTo>
                  <a:lnTo>
                    <a:pt x="1866" y="876"/>
                  </a:lnTo>
                  <a:lnTo>
                    <a:pt x="1866" y="882"/>
                  </a:lnTo>
                  <a:lnTo>
                    <a:pt x="1872" y="882"/>
                  </a:lnTo>
                  <a:lnTo>
                    <a:pt x="1878" y="888"/>
                  </a:lnTo>
                  <a:lnTo>
                    <a:pt x="1890" y="888"/>
                  </a:lnTo>
                  <a:lnTo>
                    <a:pt x="1890" y="894"/>
                  </a:lnTo>
                  <a:lnTo>
                    <a:pt x="1890" y="900"/>
                  </a:lnTo>
                  <a:lnTo>
                    <a:pt x="1884" y="900"/>
                  </a:lnTo>
                  <a:lnTo>
                    <a:pt x="1884" y="906"/>
                  </a:lnTo>
                  <a:lnTo>
                    <a:pt x="1884" y="912"/>
                  </a:lnTo>
                  <a:lnTo>
                    <a:pt x="1890" y="912"/>
                  </a:lnTo>
                  <a:lnTo>
                    <a:pt x="1896" y="912"/>
                  </a:lnTo>
                  <a:lnTo>
                    <a:pt x="1902" y="912"/>
                  </a:lnTo>
                  <a:lnTo>
                    <a:pt x="1908" y="918"/>
                  </a:lnTo>
                  <a:lnTo>
                    <a:pt x="1908" y="924"/>
                  </a:lnTo>
                  <a:lnTo>
                    <a:pt x="1908" y="930"/>
                  </a:lnTo>
                  <a:lnTo>
                    <a:pt x="1908" y="936"/>
                  </a:lnTo>
                  <a:lnTo>
                    <a:pt x="1914" y="936"/>
                  </a:lnTo>
                  <a:lnTo>
                    <a:pt x="1914" y="942"/>
                  </a:lnTo>
                  <a:lnTo>
                    <a:pt x="1908" y="948"/>
                  </a:lnTo>
                  <a:lnTo>
                    <a:pt x="1914" y="948"/>
                  </a:lnTo>
                  <a:lnTo>
                    <a:pt x="1920" y="954"/>
                  </a:lnTo>
                  <a:lnTo>
                    <a:pt x="1926" y="954"/>
                  </a:lnTo>
                  <a:lnTo>
                    <a:pt x="1932" y="954"/>
                  </a:lnTo>
                  <a:lnTo>
                    <a:pt x="1938" y="954"/>
                  </a:lnTo>
                  <a:lnTo>
                    <a:pt x="1938" y="960"/>
                  </a:lnTo>
                  <a:lnTo>
                    <a:pt x="1944" y="966"/>
                  </a:lnTo>
                  <a:lnTo>
                    <a:pt x="1944" y="972"/>
                  </a:lnTo>
                  <a:lnTo>
                    <a:pt x="1944" y="978"/>
                  </a:lnTo>
                  <a:lnTo>
                    <a:pt x="1950" y="978"/>
                  </a:lnTo>
                  <a:lnTo>
                    <a:pt x="1950" y="984"/>
                  </a:lnTo>
                  <a:lnTo>
                    <a:pt x="1956" y="984"/>
                  </a:lnTo>
                  <a:lnTo>
                    <a:pt x="1962" y="984"/>
                  </a:lnTo>
                  <a:lnTo>
                    <a:pt x="1962" y="978"/>
                  </a:lnTo>
                  <a:lnTo>
                    <a:pt x="1968" y="978"/>
                  </a:lnTo>
                  <a:lnTo>
                    <a:pt x="1974" y="978"/>
                  </a:lnTo>
                  <a:lnTo>
                    <a:pt x="1980" y="972"/>
                  </a:lnTo>
                  <a:lnTo>
                    <a:pt x="1980" y="978"/>
                  </a:lnTo>
                  <a:lnTo>
                    <a:pt x="1980" y="984"/>
                  </a:lnTo>
                  <a:lnTo>
                    <a:pt x="1986" y="984"/>
                  </a:lnTo>
                  <a:lnTo>
                    <a:pt x="1992" y="990"/>
                  </a:lnTo>
                  <a:lnTo>
                    <a:pt x="1992" y="996"/>
                  </a:lnTo>
                  <a:lnTo>
                    <a:pt x="1992" y="1002"/>
                  </a:lnTo>
                  <a:lnTo>
                    <a:pt x="1974" y="1008"/>
                  </a:lnTo>
                  <a:lnTo>
                    <a:pt x="1974" y="1014"/>
                  </a:lnTo>
                  <a:lnTo>
                    <a:pt x="1974" y="1020"/>
                  </a:lnTo>
                  <a:lnTo>
                    <a:pt x="1974" y="1026"/>
                  </a:lnTo>
                  <a:lnTo>
                    <a:pt x="1968" y="1038"/>
                  </a:lnTo>
                  <a:lnTo>
                    <a:pt x="1968" y="1044"/>
                  </a:lnTo>
                  <a:lnTo>
                    <a:pt x="1974" y="1056"/>
                  </a:lnTo>
                  <a:lnTo>
                    <a:pt x="1968" y="1062"/>
                  </a:lnTo>
                  <a:lnTo>
                    <a:pt x="1962" y="1062"/>
                  </a:lnTo>
                  <a:lnTo>
                    <a:pt x="1956" y="1068"/>
                  </a:lnTo>
                  <a:lnTo>
                    <a:pt x="1956" y="1074"/>
                  </a:lnTo>
                  <a:lnTo>
                    <a:pt x="1956" y="1080"/>
                  </a:lnTo>
                  <a:lnTo>
                    <a:pt x="1956" y="1086"/>
                  </a:lnTo>
                  <a:lnTo>
                    <a:pt x="1956" y="1092"/>
                  </a:lnTo>
                  <a:lnTo>
                    <a:pt x="1962" y="1092"/>
                  </a:lnTo>
                  <a:lnTo>
                    <a:pt x="1962" y="1104"/>
                  </a:lnTo>
                  <a:lnTo>
                    <a:pt x="1968" y="1110"/>
                  </a:lnTo>
                  <a:lnTo>
                    <a:pt x="1968" y="1116"/>
                  </a:lnTo>
                  <a:lnTo>
                    <a:pt x="1974" y="1116"/>
                  </a:lnTo>
                  <a:lnTo>
                    <a:pt x="1974" y="1122"/>
                  </a:lnTo>
                  <a:lnTo>
                    <a:pt x="1980" y="1122"/>
                  </a:lnTo>
                  <a:lnTo>
                    <a:pt x="1974" y="1128"/>
                  </a:lnTo>
                  <a:lnTo>
                    <a:pt x="1968" y="1134"/>
                  </a:lnTo>
                  <a:lnTo>
                    <a:pt x="1962" y="1140"/>
                  </a:lnTo>
                  <a:lnTo>
                    <a:pt x="1962" y="1146"/>
                  </a:lnTo>
                  <a:lnTo>
                    <a:pt x="1968" y="1152"/>
                  </a:lnTo>
                  <a:lnTo>
                    <a:pt x="1968" y="1158"/>
                  </a:lnTo>
                  <a:lnTo>
                    <a:pt x="1962" y="1158"/>
                  </a:lnTo>
                  <a:lnTo>
                    <a:pt x="1962" y="1164"/>
                  </a:lnTo>
                  <a:lnTo>
                    <a:pt x="1956" y="1164"/>
                  </a:lnTo>
                  <a:lnTo>
                    <a:pt x="1956" y="1170"/>
                  </a:lnTo>
                  <a:lnTo>
                    <a:pt x="1944" y="1182"/>
                  </a:lnTo>
                  <a:lnTo>
                    <a:pt x="1944" y="1188"/>
                  </a:lnTo>
                  <a:lnTo>
                    <a:pt x="1950" y="1188"/>
                  </a:lnTo>
                  <a:lnTo>
                    <a:pt x="1944" y="1200"/>
                  </a:lnTo>
                  <a:lnTo>
                    <a:pt x="1944" y="1206"/>
                  </a:lnTo>
                  <a:lnTo>
                    <a:pt x="1944" y="1212"/>
                  </a:lnTo>
                  <a:lnTo>
                    <a:pt x="1944" y="1218"/>
                  </a:lnTo>
                  <a:lnTo>
                    <a:pt x="1944" y="1230"/>
                  </a:lnTo>
                  <a:lnTo>
                    <a:pt x="1944" y="1236"/>
                  </a:lnTo>
                  <a:lnTo>
                    <a:pt x="1944" y="1242"/>
                  </a:lnTo>
                  <a:lnTo>
                    <a:pt x="1938" y="1248"/>
                  </a:lnTo>
                  <a:lnTo>
                    <a:pt x="1938" y="1254"/>
                  </a:lnTo>
                  <a:lnTo>
                    <a:pt x="1932" y="1254"/>
                  </a:lnTo>
                  <a:lnTo>
                    <a:pt x="1926" y="1260"/>
                  </a:lnTo>
                  <a:lnTo>
                    <a:pt x="1920" y="1266"/>
                  </a:lnTo>
                  <a:lnTo>
                    <a:pt x="1914" y="1272"/>
                  </a:lnTo>
                  <a:lnTo>
                    <a:pt x="1908" y="1272"/>
                  </a:lnTo>
                  <a:lnTo>
                    <a:pt x="1908" y="1278"/>
                  </a:lnTo>
                  <a:lnTo>
                    <a:pt x="1914" y="1278"/>
                  </a:lnTo>
                  <a:lnTo>
                    <a:pt x="1914" y="1290"/>
                  </a:lnTo>
                  <a:lnTo>
                    <a:pt x="1920" y="1296"/>
                  </a:lnTo>
                  <a:lnTo>
                    <a:pt x="1938" y="1302"/>
                  </a:lnTo>
                  <a:lnTo>
                    <a:pt x="1944" y="1308"/>
                  </a:lnTo>
                  <a:lnTo>
                    <a:pt x="1950" y="1314"/>
                  </a:lnTo>
                  <a:lnTo>
                    <a:pt x="1956" y="1314"/>
                  </a:lnTo>
                  <a:lnTo>
                    <a:pt x="1962" y="1320"/>
                  </a:lnTo>
                  <a:lnTo>
                    <a:pt x="1962" y="1326"/>
                  </a:lnTo>
                  <a:lnTo>
                    <a:pt x="1968" y="1326"/>
                  </a:lnTo>
                  <a:lnTo>
                    <a:pt x="1968" y="1332"/>
                  </a:lnTo>
                  <a:lnTo>
                    <a:pt x="1968" y="1344"/>
                  </a:lnTo>
                  <a:lnTo>
                    <a:pt x="1968" y="1350"/>
                  </a:lnTo>
                  <a:lnTo>
                    <a:pt x="1968" y="1368"/>
                  </a:lnTo>
                  <a:lnTo>
                    <a:pt x="1962" y="1380"/>
                  </a:lnTo>
                  <a:lnTo>
                    <a:pt x="1968" y="1392"/>
                  </a:lnTo>
                  <a:lnTo>
                    <a:pt x="1962" y="1398"/>
                  </a:lnTo>
                  <a:lnTo>
                    <a:pt x="1956" y="1404"/>
                  </a:lnTo>
                  <a:lnTo>
                    <a:pt x="1950" y="1410"/>
                  </a:lnTo>
                  <a:lnTo>
                    <a:pt x="1944" y="1410"/>
                  </a:lnTo>
                  <a:lnTo>
                    <a:pt x="1932" y="1416"/>
                  </a:lnTo>
                  <a:lnTo>
                    <a:pt x="1926" y="1416"/>
                  </a:lnTo>
                  <a:lnTo>
                    <a:pt x="1896" y="1428"/>
                  </a:lnTo>
                  <a:lnTo>
                    <a:pt x="1884" y="1434"/>
                  </a:lnTo>
                  <a:lnTo>
                    <a:pt x="1878" y="1434"/>
                  </a:lnTo>
                  <a:lnTo>
                    <a:pt x="1866" y="1434"/>
                  </a:lnTo>
                  <a:lnTo>
                    <a:pt x="1854" y="1440"/>
                  </a:lnTo>
                  <a:lnTo>
                    <a:pt x="1848" y="1440"/>
                  </a:lnTo>
                  <a:lnTo>
                    <a:pt x="1842" y="1446"/>
                  </a:lnTo>
                  <a:lnTo>
                    <a:pt x="1842" y="1458"/>
                  </a:lnTo>
                  <a:lnTo>
                    <a:pt x="1836" y="1470"/>
                  </a:lnTo>
                  <a:lnTo>
                    <a:pt x="1830" y="1476"/>
                  </a:lnTo>
                  <a:lnTo>
                    <a:pt x="1824" y="1476"/>
                  </a:lnTo>
                  <a:lnTo>
                    <a:pt x="1806" y="1482"/>
                  </a:lnTo>
                  <a:lnTo>
                    <a:pt x="1800" y="1488"/>
                  </a:lnTo>
                  <a:lnTo>
                    <a:pt x="1794" y="1488"/>
                  </a:lnTo>
                  <a:lnTo>
                    <a:pt x="1788" y="1488"/>
                  </a:lnTo>
                  <a:lnTo>
                    <a:pt x="1776" y="1494"/>
                  </a:lnTo>
                  <a:lnTo>
                    <a:pt x="1764" y="1494"/>
                  </a:lnTo>
                  <a:lnTo>
                    <a:pt x="1758" y="1500"/>
                  </a:lnTo>
                  <a:lnTo>
                    <a:pt x="1746" y="1506"/>
                  </a:lnTo>
                  <a:lnTo>
                    <a:pt x="1728" y="1518"/>
                  </a:lnTo>
                  <a:lnTo>
                    <a:pt x="1716" y="1524"/>
                  </a:lnTo>
                  <a:lnTo>
                    <a:pt x="1710" y="1530"/>
                  </a:lnTo>
                  <a:lnTo>
                    <a:pt x="1704" y="1536"/>
                  </a:lnTo>
                  <a:lnTo>
                    <a:pt x="1698" y="1542"/>
                  </a:lnTo>
                  <a:lnTo>
                    <a:pt x="1692" y="1554"/>
                  </a:lnTo>
                  <a:lnTo>
                    <a:pt x="1686" y="1560"/>
                  </a:lnTo>
                  <a:lnTo>
                    <a:pt x="1680" y="1560"/>
                  </a:lnTo>
                  <a:lnTo>
                    <a:pt x="1674" y="1560"/>
                  </a:lnTo>
                  <a:lnTo>
                    <a:pt x="1656" y="1572"/>
                  </a:lnTo>
                  <a:lnTo>
                    <a:pt x="1650" y="1572"/>
                  </a:lnTo>
                  <a:lnTo>
                    <a:pt x="1644" y="1572"/>
                  </a:lnTo>
                  <a:lnTo>
                    <a:pt x="1638" y="1578"/>
                  </a:lnTo>
                  <a:lnTo>
                    <a:pt x="1632" y="1578"/>
                  </a:lnTo>
                  <a:lnTo>
                    <a:pt x="1626" y="1578"/>
                  </a:lnTo>
                  <a:lnTo>
                    <a:pt x="1620" y="1572"/>
                  </a:lnTo>
                  <a:lnTo>
                    <a:pt x="1614" y="1572"/>
                  </a:lnTo>
                  <a:lnTo>
                    <a:pt x="1608" y="1566"/>
                  </a:lnTo>
                  <a:lnTo>
                    <a:pt x="1602" y="1560"/>
                  </a:lnTo>
                  <a:lnTo>
                    <a:pt x="1596" y="1554"/>
                  </a:lnTo>
                  <a:lnTo>
                    <a:pt x="1590" y="1548"/>
                  </a:lnTo>
                  <a:lnTo>
                    <a:pt x="1578" y="1548"/>
                  </a:lnTo>
                  <a:lnTo>
                    <a:pt x="1572" y="1548"/>
                  </a:lnTo>
                  <a:lnTo>
                    <a:pt x="1566" y="1548"/>
                  </a:lnTo>
                  <a:lnTo>
                    <a:pt x="1554" y="1536"/>
                  </a:lnTo>
                  <a:lnTo>
                    <a:pt x="1548" y="1536"/>
                  </a:lnTo>
                  <a:lnTo>
                    <a:pt x="1542" y="1542"/>
                  </a:lnTo>
                  <a:lnTo>
                    <a:pt x="1536" y="1548"/>
                  </a:lnTo>
                  <a:lnTo>
                    <a:pt x="1536" y="1566"/>
                  </a:lnTo>
                  <a:lnTo>
                    <a:pt x="1530" y="1572"/>
                  </a:lnTo>
                  <a:lnTo>
                    <a:pt x="1524" y="1578"/>
                  </a:lnTo>
                  <a:lnTo>
                    <a:pt x="1518" y="1584"/>
                  </a:lnTo>
                  <a:lnTo>
                    <a:pt x="1512" y="1596"/>
                  </a:lnTo>
                  <a:lnTo>
                    <a:pt x="1506" y="1602"/>
                  </a:lnTo>
                  <a:lnTo>
                    <a:pt x="1506" y="1608"/>
                  </a:lnTo>
                  <a:lnTo>
                    <a:pt x="1506" y="1614"/>
                  </a:lnTo>
                  <a:lnTo>
                    <a:pt x="1500" y="1614"/>
                  </a:lnTo>
                  <a:lnTo>
                    <a:pt x="1500" y="1620"/>
                  </a:lnTo>
                  <a:lnTo>
                    <a:pt x="1500" y="1626"/>
                  </a:lnTo>
                  <a:lnTo>
                    <a:pt x="1494" y="1632"/>
                  </a:lnTo>
                  <a:lnTo>
                    <a:pt x="1488" y="1638"/>
                  </a:lnTo>
                  <a:lnTo>
                    <a:pt x="1482" y="1638"/>
                  </a:lnTo>
                  <a:lnTo>
                    <a:pt x="1482" y="1644"/>
                  </a:lnTo>
                  <a:lnTo>
                    <a:pt x="1482" y="1650"/>
                  </a:lnTo>
                  <a:lnTo>
                    <a:pt x="1482" y="1656"/>
                  </a:lnTo>
                  <a:lnTo>
                    <a:pt x="1476" y="1662"/>
                  </a:lnTo>
                  <a:lnTo>
                    <a:pt x="1470" y="1668"/>
                  </a:lnTo>
                  <a:lnTo>
                    <a:pt x="1464" y="1674"/>
                  </a:lnTo>
                  <a:lnTo>
                    <a:pt x="1464" y="1680"/>
                  </a:lnTo>
                  <a:lnTo>
                    <a:pt x="1458" y="1680"/>
                  </a:lnTo>
                  <a:lnTo>
                    <a:pt x="1452" y="1686"/>
                  </a:lnTo>
                  <a:lnTo>
                    <a:pt x="1446" y="1686"/>
                  </a:lnTo>
                  <a:lnTo>
                    <a:pt x="1440" y="1698"/>
                  </a:lnTo>
                  <a:lnTo>
                    <a:pt x="1440" y="1704"/>
                  </a:lnTo>
                  <a:lnTo>
                    <a:pt x="1434" y="1710"/>
                  </a:lnTo>
                  <a:lnTo>
                    <a:pt x="1434" y="1716"/>
                  </a:lnTo>
                  <a:lnTo>
                    <a:pt x="1428" y="1716"/>
                  </a:lnTo>
                  <a:lnTo>
                    <a:pt x="1428" y="1722"/>
                  </a:lnTo>
                  <a:lnTo>
                    <a:pt x="1428" y="1728"/>
                  </a:lnTo>
                  <a:lnTo>
                    <a:pt x="1422" y="1728"/>
                  </a:lnTo>
                  <a:lnTo>
                    <a:pt x="1422" y="1734"/>
                  </a:lnTo>
                  <a:lnTo>
                    <a:pt x="1416" y="1734"/>
                  </a:lnTo>
                  <a:lnTo>
                    <a:pt x="1410" y="1734"/>
                  </a:lnTo>
                  <a:lnTo>
                    <a:pt x="1392" y="1746"/>
                  </a:lnTo>
                  <a:lnTo>
                    <a:pt x="1386" y="1746"/>
                  </a:lnTo>
                  <a:lnTo>
                    <a:pt x="1368" y="1752"/>
                  </a:lnTo>
                  <a:lnTo>
                    <a:pt x="1362" y="1758"/>
                  </a:lnTo>
                  <a:lnTo>
                    <a:pt x="1362" y="1770"/>
                  </a:lnTo>
                  <a:lnTo>
                    <a:pt x="1356" y="178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</p:grpSp>
      <p:graphicFrame>
        <p:nvGraphicFramePr>
          <p:cNvPr id="357" name="Group 76">
            <a:extLst>
              <a:ext uri="{FF2B5EF4-FFF2-40B4-BE49-F238E27FC236}">
                <a16:creationId xmlns:a16="http://schemas.microsoft.com/office/drawing/2014/main" id="{57830D68-CF73-4A3E-9D36-141B03AADBF7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41338" y="3402013"/>
          <a:ext cx="3735387" cy="1827306"/>
        </p:xfrm>
        <a:graphic>
          <a:graphicData uri="http://schemas.openxmlformats.org/drawingml/2006/table">
            <a:tbl>
              <a:tblPr/>
              <a:tblGrid>
                <a:gridCol w="1316931">
                  <a:extLst>
                    <a:ext uri="{9D8B030D-6E8A-4147-A177-3AD203B41FA5}">
                      <a16:colId xmlns:a16="http://schemas.microsoft.com/office/drawing/2014/main" val="2027704273"/>
                    </a:ext>
                  </a:extLst>
                </a:gridCol>
                <a:gridCol w="603796">
                  <a:extLst>
                    <a:ext uri="{9D8B030D-6E8A-4147-A177-3AD203B41FA5}">
                      <a16:colId xmlns:a16="http://schemas.microsoft.com/office/drawing/2014/main" val="3432768286"/>
                    </a:ext>
                  </a:extLst>
                </a:gridCol>
                <a:gridCol w="744015">
                  <a:extLst>
                    <a:ext uri="{9D8B030D-6E8A-4147-A177-3AD203B41FA5}">
                      <a16:colId xmlns:a16="http://schemas.microsoft.com/office/drawing/2014/main" val="3730294207"/>
                    </a:ext>
                  </a:extLst>
                </a:gridCol>
                <a:gridCol w="1070645">
                  <a:extLst>
                    <a:ext uri="{9D8B030D-6E8A-4147-A177-3AD203B41FA5}">
                      <a16:colId xmlns:a16="http://schemas.microsoft.com/office/drawing/2014/main" val="2258321117"/>
                    </a:ext>
                  </a:extLst>
                </a:gridCol>
              </a:tblGrid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apital</a:t>
                      </a:r>
                      <a:endParaRPr kumimoji="0" lang="en-SG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292929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SG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Dutse</a:t>
                      </a:r>
                      <a:endParaRPr kumimoji="0" lang="en-SG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703009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nd Are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3,287 km</a:t>
                      </a:r>
                      <a:r>
                        <a:rPr kumimoji="0" lang="en-US" altLang="en-US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18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603614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Population (2017E)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5,804,169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16 of 37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505851"/>
                  </a:ext>
                </a:extLst>
              </a:tr>
              <a:tr h="203024">
                <a:tc row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Dem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0-14: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,743,308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8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130093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5-64: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,875,604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58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387564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65+: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+mn-cs"/>
                        </a:rPr>
                        <a:t>   185,257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[4%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38801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bour force 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,411,109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2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797882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limate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ropical savanna, hot desert and semi-arid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3942226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op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Sandy, surface water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32899"/>
                  </a:ext>
                </a:extLst>
              </a:tr>
            </a:tbl>
          </a:graphicData>
        </a:graphic>
      </p:graphicFrame>
      <p:pic>
        <p:nvPicPr>
          <p:cNvPr id="23609" name="Picture 13">
            <a:extLst>
              <a:ext uri="{FF2B5EF4-FFF2-40B4-BE49-F238E27FC236}">
                <a16:creationId xmlns:a16="http://schemas.microsoft.com/office/drawing/2014/main" id="{952964D5-F0ED-4CAE-B71C-DB4A723FA5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0" y="3006725"/>
            <a:ext cx="1116013" cy="155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9" name="TextBox 378">
            <a:extLst>
              <a:ext uri="{FF2B5EF4-FFF2-40B4-BE49-F238E27FC236}">
                <a16:creationId xmlns:a16="http://schemas.microsoft.com/office/drawing/2014/main" id="{1B3FD4BF-4685-4C74-821F-10048D6246BF}"/>
              </a:ext>
            </a:extLst>
          </p:cNvPr>
          <p:cNvSpPr txBox="1"/>
          <p:nvPr/>
        </p:nvSpPr>
        <p:spPr>
          <a:xfrm>
            <a:off x="6124575" y="957263"/>
            <a:ext cx="3475038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mpetitive Advantages</a:t>
            </a: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455FE7A1-ADE5-4F7B-A489-00196671A53E}"/>
              </a:ext>
            </a:extLst>
          </p:cNvPr>
          <p:cNvSpPr/>
          <p:nvPr/>
        </p:nvSpPr>
        <p:spPr>
          <a:xfrm>
            <a:off x="4267248" y="1187511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6.7bn/$21.8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EBB25788-D073-4A78-9D6C-DF3836CFFFBB}"/>
              </a:ext>
            </a:extLst>
          </p:cNvPr>
          <p:cNvSpPr txBox="1"/>
          <p:nvPr/>
        </p:nvSpPr>
        <p:spPr>
          <a:xfrm>
            <a:off x="4267200" y="955675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GR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6F07DF39-553B-44F0-8864-1F897C2BD79A}"/>
              </a:ext>
            </a:extLst>
          </p:cNvPr>
          <p:cNvSpPr/>
          <p:nvPr/>
        </p:nvSpPr>
        <p:spPr>
          <a:xfrm>
            <a:off x="4267252" y="1809750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345.4bn/$454.8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2508695A-2D2C-45A3-80FE-9C2CB18200C2}"/>
              </a:ext>
            </a:extLst>
          </p:cNvPr>
          <p:cNvSpPr txBox="1"/>
          <p:nvPr/>
        </p:nvSpPr>
        <p:spPr>
          <a:xfrm>
            <a:off x="4267200" y="1576388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Budget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8)</a:t>
            </a: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86A33ABE-3AE3-40A7-A6A6-1B757A6A9B0F}"/>
              </a:ext>
            </a:extLst>
          </p:cNvPr>
          <p:cNvSpPr/>
          <p:nvPr/>
        </p:nvSpPr>
        <p:spPr>
          <a:xfrm>
            <a:off x="4256076" y="2667155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1.2trn /$3.9bn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1E919764-A18B-4532-A533-A84A31D7FEFE}"/>
              </a:ext>
            </a:extLst>
          </p:cNvPr>
          <p:cNvSpPr txBox="1"/>
          <p:nvPr/>
        </p:nvSpPr>
        <p:spPr>
          <a:xfrm>
            <a:off x="4256088" y="2185988"/>
            <a:ext cx="1811337" cy="50641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Household </a:t>
            </a:r>
          </a:p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nsumption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96" name="Plaque 95">
            <a:extLst>
              <a:ext uri="{FF2B5EF4-FFF2-40B4-BE49-F238E27FC236}">
                <a16:creationId xmlns:a16="http://schemas.microsoft.com/office/drawing/2014/main" id="{E3BE1182-17B4-4194-8641-F1EA2CCBB757}"/>
              </a:ext>
            </a:extLst>
          </p:cNvPr>
          <p:cNvSpPr/>
          <p:nvPr/>
        </p:nvSpPr>
        <p:spPr>
          <a:xfrm>
            <a:off x="5583996" y="2805162"/>
            <a:ext cx="483429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1 of 36</a:t>
            </a:r>
          </a:p>
        </p:txBody>
      </p:sp>
      <p:sp>
        <p:nvSpPr>
          <p:cNvPr id="99" name="Plaque 98">
            <a:extLst>
              <a:ext uri="{FF2B5EF4-FFF2-40B4-BE49-F238E27FC236}">
                <a16:creationId xmlns:a16="http://schemas.microsoft.com/office/drawing/2014/main" id="{8620E393-1C52-4CE1-9888-20922FA6DFEA}"/>
              </a:ext>
            </a:extLst>
          </p:cNvPr>
          <p:cNvSpPr/>
          <p:nvPr/>
        </p:nvSpPr>
        <p:spPr>
          <a:xfrm>
            <a:off x="5583996" y="1951087"/>
            <a:ext cx="483429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8 of 36</a:t>
            </a:r>
          </a:p>
        </p:txBody>
      </p:sp>
      <p:sp>
        <p:nvSpPr>
          <p:cNvPr id="100" name="Plaque 99">
            <a:extLst>
              <a:ext uri="{FF2B5EF4-FFF2-40B4-BE49-F238E27FC236}">
                <a16:creationId xmlns:a16="http://schemas.microsoft.com/office/drawing/2014/main" id="{3BFA6D28-9A42-4459-8BF1-090CE1B45216}"/>
              </a:ext>
            </a:extLst>
          </p:cNvPr>
          <p:cNvSpPr/>
          <p:nvPr/>
        </p:nvSpPr>
        <p:spPr>
          <a:xfrm>
            <a:off x="5638800" y="1333500"/>
            <a:ext cx="430213" cy="1539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latin typeface="Calibri" panose="020F0502020204030204" pitchFamily="34" charset="0"/>
                <a:cs typeface="Calibri" panose="020F0502020204030204" pitchFamily="34" charset="0"/>
              </a:rPr>
              <a:t>22 of 36</a:t>
            </a:r>
          </a:p>
        </p:txBody>
      </p:sp>
      <p:sp>
        <p:nvSpPr>
          <p:cNvPr id="101" name="Pentagon 19">
            <a:extLst>
              <a:ext uri="{FF2B5EF4-FFF2-40B4-BE49-F238E27FC236}">
                <a16:creationId xmlns:a16="http://schemas.microsoft.com/office/drawing/2014/main" id="{CCD74FA4-19D0-4356-90C9-B3B49BCC3F54}"/>
              </a:ext>
            </a:extLst>
          </p:cNvPr>
          <p:cNvSpPr>
            <a:spLocks/>
          </p:cNvSpPr>
          <p:nvPr/>
        </p:nvSpPr>
        <p:spPr bwMode="auto">
          <a:xfrm>
            <a:off x="688340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9 of 37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12EE735-1E43-4799-A46A-5D0787F375CE}"/>
              </a:ext>
            </a:extLst>
          </p:cNvPr>
          <p:cNvSpPr/>
          <p:nvPr/>
        </p:nvSpPr>
        <p:spPr>
          <a:xfrm>
            <a:off x="6880225" y="5726113"/>
            <a:ext cx="642938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Starting a Business</a:t>
            </a:r>
          </a:p>
        </p:txBody>
      </p:sp>
      <p:pic>
        <p:nvPicPr>
          <p:cNvPr id="23622" name="Picture 3">
            <a:extLst>
              <a:ext uri="{FF2B5EF4-FFF2-40B4-BE49-F238E27FC236}">
                <a16:creationId xmlns:a16="http://schemas.microsoft.com/office/drawing/2014/main" id="{53FAD0C6-8FFE-437B-B7E4-F2A938D3BE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350" y="5249863"/>
            <a:ext cx="41910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23" name="Freeform 15">
            <a:extLst>
              <a:ext uri="{FF2B5EF4-FFF2-40B4-BE49-F238E27FC236}">
                <a16:creationId xmlns:a16="http://schemas.microsoft.com/office/drawing/2014/main" id="{183A3C8B-011E-4D99-9165-3FF03A2D3207}"/>
              </a:ext>
            </a:extLst>
          </p:cNvPr>
          <p:cNvSpPr>
            <a:spLocks noEditPoints="1"/>
          </p:cNvSpPr>
          <p:nvPr/>
        </p:nvSpPr>
        <p:spPr bwMode="auto">
          <a:xfrm>
            <a:off x="9093200" y="5257800"/>
            <a:ext cx="276225" cy="347663"/>
          </a:xfrm>
          <a:custGeom>
            <a:avLst/>
            <a:gdLst>
              <a:gd name="T0" fmla="*/ 2147483646 w 3556"/>
              <a:gd name="T1" fmla="*/ 2147483646 h 3950"/>
              <a:gd name="T2" fmla="*/ 2147483646 w 3556"/>
              <a:gd name="T3" fmla="*/ 2147483646 h 3950"/>
              <a:gd name="T4" fmla="*/ 2147483646 w 3556"/>
              <a:gd name="T5" fmla="*/ 2147483646 h 3950"/>
              <a:gd name="T6" fmla="*/ 2147483646 w 3556"/>
              <a:gd name="T7" fmla="*/ 2147483646 h 3950"/>
              <a:gd name="T8" fmla="*/ 2147483646 w 3556"/>
              <a:gd name="T9" fmla="*/ 2147483646 h 3950"/>
              <a:gd name="T10" fmla="*/ 2147483646 w 3556"/>
              <a:gd name="T11" fmla="*/ 2147483646 h 3950"/>
              <a:gd name="T12" fmla="*/ 2147483646 w 3556"/>
              <a:gd name="T13" fmla="*/ 2147483646 h 3950"/>
              <a:gd name="T14" fmla="*/ 2147483646 w 3556"/>
              <a:gd name="T15" fmla="*/ 2147483646 h 3950"/>
              <a:gd name="T16" fmla="*/ 2147483646 w 3556"/>
              <a:gd name="T17" fmla="*/ 2147483646 h 3950"/>
              <a:gd name="T18" fmla="*/ 2147483646 w 3556"/>
              <a:gd name="T19" fmla="*/ 2147483646 h 3950"/>
              <a:gd name="T20" fmla="*/ 2147483646 w 3556"/>
              <a:gd name="T21" fmla="*/ 2147483646 h 3950"/>
              <a:gd name="T22" fmla="*/ 0 w 3556"/>
              <a:gd name="T23" fmla="*/ 2147483646 h 3950"/>
              <a:gd name="T24" fmla="*/ 2147483646 w 3556"/>
              <a:gd name="T25" fmla="*/ 2147483646 h 3950"/>
              <a:gd name="T26" fmla="*/ 2147483646 w 3556"/>
              <a:gd name="T27" fmla="*/ 2147483646 h 3950"/>
              <a:gd name="T28" fmla="*/ 2147483646 w 3556"/>
              <a:gd name="T29" fmla="*/ 2147483646 h 3950"/>
              <a:gd name="T30" fmla="*/ 2147483646 w 3556"/>
              <a:gd name="T31" fmla="*/ 2147483646 h 3950"/>
              <a:gd name="T32" fmla="*/ 2147483646 w 3556"/>
              <a:gd name="T33" fmla="*/ 2147483646 h 3950"/>
              <a:gd name="T34" fmla="*/ 2147483646 w 3556"/>
              <a:gd name="T35" fmla="*/ 2147483646 h 3950"/>
              <a:gd name="T36" fmla="*/ 2147483646 w 3556"/>
              <a:gd name="T37" fmla="*/ 2147483646 h 3950"/>
              <a:gd name="T38" fmla="*/ 2147483646 w 3556"/>
              <a:gd name="T39" fmla="*/ 2147483646 h 3950"/>
              <a:gd name="T40" fmla="*/ 2147483646 w 3556"/>
              <a:gd name="T41" fmla="*/ 2147483646 h 3950"/>
              <a:gd name="T42" fmla="*/ 2147483646 w 3556"/>
              <a:gd name="T43" fmla="*/ 2147483646 h 3950"/>
              <a:gd name="T44" fmla="*/ 2147483646 w 3556"/>
              <a:gd name="T45" fmla="*/ 2147483646 h 3950"/>
              <a:gd name="T46" fmla="*/ 2147483646 w 3556"/>
              <a:gd name="T47" fmla="*/ 2147483646 h 3950"/>
              <a:gd name="T48" fmla="*/ 2147483646 w 3556"/>
              <a:gd name="T49" fmla="*/ 2147483646 h 3950"/>
              <a:gd name="T50" fmla="*/ 2147483646 w 3556"/>
              <a:gd name="T51" fmla="*/ 2147483646 h 3950"/>
              <a:gd name="T52" fmla="*/ 2147483646 w 3556"/>
              <a:gd name="T53" fmla="*/ 2147483646 h 3950"/>
              <a:gd name="T54" fmla="*/ 2147483646 w 3556"/>
              <a:gd name="T55" fmla="*/ 2147483646 h 3950"/>
              <a:gd name="T56" fmla="*/ 2147483646 w 3556"/>
              <a:gd name="T57" fmla="*/ 2147483646 h 3950"/>
              <a:gd name="T58" fmla="*/ 2147483646 w 3556"/>
              <a:gd name="T59" fmla="*/ 2147483646 h 3950"/>
              <a:gd name="T60" fmla="*/ 2147483646 w 3556"/>
              <a:gd name="T61" fmla="*/ 2147483646 h 3950"/>
              <a:gd name="T62" fmla="*/ 2147483646 w 3556"/>
              <a:gd name="T63" fmla="*/ 2147483646 h 3950"/>
              <a:gd name="T64" fmla="*/ 2147483646 w 3556"/>
              <a:gd name="T65" fmla="*/ 2147483646 h 3950"/>
              <a:gd name="T66" fmla="*/ 2147483646 w 3556"/>
              <a:gd name="T67" fmla="*/ 2147483646 h 3950"/>
              <a:gd name="T68" fmla="*/ 2147483646 w 3556"/>
              <a:gd name="T69" fmla="*/ 2147483646 h 3950"/>
              <a:gd name="T70" fmla="*/ 2147483646 w 3556"/>
              <a:gd name="T71" fmla="*/ 2147483646 h 3950"/>
              <a:gd name="T72" fmla="*/ 2147483646 w 3556"/>
              <a:gd name="T73" fmla="*/ 2147483646 h 3950"/>
              <a:gd name="T74" fmla="*/ 2147483646 w 3556"/>
              <a:gd name="T75" fmla="*/ 2147483646 h 3950"/>
              <a:gd name="T76" fmla="*/ 2147483646 w 3556"/>
              <a:gd name="T77" fmla="*/ 2147483646 h 3950"/>
              <a:gd name="T78" fmla="*/ 2147483646 w 3556"/>
              <a:gd name="T79" fmla="*/ 2147483646 h 3950"/>
              <a:gd name="T80" fmla="*/ 2147483646 w 3556"/>
              <a:gd name="T81" fmla="*/ 0 h 3950"/>
              <a:gd name="T82" fmla="*/ 2147483646 w 3556"/>
              <a:gd name="T83" fmla="*/ 2147483646 h 3950"/>
              <a:gd name="T84" fmla="*/ 2147483646 w 3556"/>
              <a:gd name="T85" fmla="*/ 2147483646 h 3950"/>
              <a:gd name="T86" fmla="*/ 2147483646 w 3556"/>
              <a:gd name="T87" fmla="*/ 2147483646 h 395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556"/>
              <a:gd name="T133" fmla="*/ 0 h 3950"/>
              <a:gd name="T134" fmla="*/ 3556 w 3556"/>
              <a:gd name="T135" fmla="*/ 3950 h 395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556" h="3950">
                <a:moveTo>
                  <a:pt x="909" y="3917"/>
                </a:moveTo>
                <a:cubicBezTo>
                  <a:pt x="824" y="3832"/>
                  <a:pt x="894" y="3725"/>
                  <a:pt x="1036" y="3725"/>
                </a:cubicBezTo>
                <a:cubicBezTo>
                  <a:pt x="1119" y="3725"/>
                  <a:pt x="1129" y="3717"/>
                  <a:pt x="1129" y="3645"/>
                </a:cubicBezTo>
                <a:cubicBezTo>
                  <a:pt x="1129" y="3472"/>
                  <a:pt x="1135" y="3471"/>
                  <a:pt x="2192" y="3471"/>
                </a:cubicBezTo>
                <a:cubicBezTo>
                  <a:pt x="3086" y="3471"/>
                  <a:pt x="3155" y="3475"/>
                  <a:pt x="3199" y="3523"/>
                </a:cubicBezTo>
                <a:cubicBezTo>
                  <a:pt x="3225" y="3551"/>
                  <a:pt x="3246" y="3608"/>
                  <a:pt x="3246" y="3648"/>
                </a:cubicBezTo>
                <a:cubicBezTo>
                  <a:pt x="3246" y="3712"/>
                  <a:pt x="3259" y="3723"/>
                  <a:pt x="3349" y="3730"/>
                </a:cubicBezTo>
                <a:cubicBezTo>
                  <a:pt x="3470" y="3741"/>
                  <a:pt x="3530" y="3811"/>
                  <a:pt x="3482" y="3887"/>
                </a:cubicBezTo>
                <a:cubicBezTo>
                  <a:pt x="3453" y="3933"/>
                  <a:pt x="3356" y="3937"/>
                  <a:pt x="2197" y="3944"/>
                </a:cubicBezTo>
                <a:cubicBezTo>
                  <a:pt x="1245" y="3950"/>
                  <a:pt x="935" y="3943"/>
                  <a:pt x="909" y="3917"/>
                </a:cubicBezTo>
                <a:close/>
                <a:moveTo>
                  <a:pt x="87" y="3370"/>
                </a:moveTo>
                <a:cubicBezTo>
                  <a:pt x="24" y="3317"/>
                  <a:pt x="0" y="3272"/>
                  <a:pt x="0" y="3209"/>
                </a:cubicBezTo>
                <a:cubicBezTo>
                  <a:pt x="0" y="3132"/>
                  <a:pt x="86" y="3035"/>
                  <a:pt x="705" y="2414"/>
                </a:cubicBezTo>
                <a:lnTo>
                  <a:pt x="1411" y="1706"/>
                </a:lnTo>
                <a:lnTo>
                  <a:pt x="1235" y="1530"/>
                </a:lnTo>
                <a:lnTo>
                  <a:pt x="1059" y="1355"/>
                </a:lnTo>
                <a:lnTo>
                  <a:pt x="1510" y="903"/>
                </a:lnTo>
                <a:lnTo>
                  <a:pt x="1960" y="452"/>
                </a:lnTo>
                <a:lnTo>
                  <a:pt x="2135" y="624"/>
                </a:lnTo>
                <a:cubicBezTo>
                  <a:pt x="2305" y="793"/>
                  <a:pt x="2310" y="796"/>
                  <a:pt x="2374" y="751"/>
                </a:cubicBezTo>
                <a:cubicBezTo>
                  <a:pt x="2469" y="685"/>
                  <a:pt x="2547" y="695"/>
                  <a:pt x="2633" y="785"/>
                </a:cubicBezTo>
                <a:cubicBezTo>
                  <a:pt x="2720" y="875"/>
                  <a:pt x="2731" y="974"/>
                  <a:pt x="2662" y="1050"/>
                </a:cubicBezTo>
                <a:cubicBezTo>
                  <a:pt x="2616" y="1100"/>
                  <a:pt x="2624" y="1112"/>
                  <a:pt x="2823" y="1313"/>
                </a:cubicBezTo>
                <a:lnTo>
                  <a:pt x="3033" y="1524"/>
                </a:lnTo>
                <a:lnTo>
                  <a:pt x="2582" y="1975"/>
                </a:lnTo>
                <a:lnTo>
                  <a:pt x="2132" y="2427"/>
                </a:lnTo>
                <a:lnTo>
                  <a:pt x="1933" y="2229"/>
                </a:lnTo>
                <a:cubicBezTo>
                  <a:pt x="1824" y="2121"/>
                  <a:pt x="1722" y="2032"/>
                  <a:pt x="1707" y="2032"/>
                </a:cubicBezTo>
                <a:cubicBezTo>
                  <a:pt x="1693" y="2032"/>
                  <a:pt x="1362" y="2349"/>
                  <a:pt x="973" y="2737"/>
                </a:cubicBezTo>
                <a:cubicBezTo>
                  <a:pt x="584" y="3125"/>
                  <a:pt x="245" y="3443"/>
                  <a:pt x="220" y="3443"/>
                </a:cubicBezTo>
                <a:cubicBezTo>
                  <a:pt x="194" y="3443"/>
                  <a:pt x="135" y="3410"/>
                  <a:pt x="87" y="3370"/>
                </a:cubicBezTo>
                <a:close/>
                <a:moveTo>
                  <a:pt x="2258" y="2887"/>
                </a:moveTo>
                <a:cubicBezTo>
                  <a:pt x="2196" y="2865"/>
                  <a:pt x="2145" y="2792"/>
                  <a:pt x="2145" y="2725"/>
                </a:cubicBezTo>
                <a:cubicBezTo>
                  <a:pt x="2145" y="2686"/>
                  <a:pt x="2337" y="2474"/>
                  <a:pt x="2703" y="2109"/>
                </a:cubicBezTo>
                <a:cubicBezTo>
                  <a:pt x="3289" y="1523"/>
                  <a:pt x="3346" y="1485"/>
                  <a:pt x="3453" y="1604"/>
                </a:cubicBezTo>
                <a:cubicBezTo>
                  <a:pt x="3556" y="1717"/>
                  <a:pt x="3522" y="1766"/>
                  <a:pt x="2956" y="2331"/>
                </a:cubicBezTo>
                <a:cubicBezTo>
                  <a:pt x="2657" y="2630"/>
                  <a:pt x="2388" y="2880"/>
                  <a:pt x="2357" y="2888"/>
                </a:cubicBezTo>
                <a:cubicBezTo>
                  <a:pt x="2326" y="2895"/>
                  <a:pt x="2281" y="2895"/>
                  <a:pt x="2258" y="2887"/>
                </a:cubicBezTo>
                <a:close/>
                <a:moveTo>
                  <a:pt x="637" y="1282"/>
                </a:moveTo>
                <a:cubicBezTo>
                  <a:pt x="528" y="1172"/>
                  <a:pt x="568" y="1113"/>
                  <a:pt x="1137" y="544"/>
                </a:cubicBezTo>
                <a:cubicBezTo>
                  <a:pt x="1607" y="74"/>
                  <a:pt x="1693" y="0"/>
                  <a:pt x="1767" y="0"/>
                </a:cubicBezTo>
                <a:cubicBezTo>
                  <a:pt x="1862" y="0"/>
                  <a:pt x="1947" y="73"/>
                  <a:pt x="1947" y="156"/>
                </a:cubicBezTo>
                <a:cubicBezTo>
                  <a:pt x="1947" y="186"/>
                  <a:pt x="1715" y="442"/>
                  <a:pt x="1391" y="767"/>
                </a:cubicBezTo>
                <a:cubicBezTo>
                  <a:pt x="808" y="1353"/>
                  <a:pt x="749" y="1393"/>
                  <a:pt x="637" y="12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4" name="Group 118">
            <a:extLst>
              <a:ext uri="{FF2B5EF4-FFF2-40B4-BE49-F238E27FC236}">
                <a16:creationId xmlns:a16="http://schemas.microsoft.com/office/drawing/2014/main" id="{FB3D6A90-C4FD-433A-A1C1-A4B3864804A5}"/>
              </a:ext>
            </a:extLst>
          </p:cNvPr>
          <p:cNvGrpSpPr/>
          <p:nvPr/>
        </p:nvGrpSpPr>
        <p:grpSpPr>
          <a:xfrm>
            <a:off x="8409631" y="5248358"/>
            <a:ext cx="346498" cy="347472"/>
            <a:chOff x="1468138" y="5997240"/>
            <a:chExt cx="283642" cy="307072"/>
          </a:xfrm>
          <a:solidFill>
            <a:schemeClr val="bg1"/>
          </a:solidFill>
        </p:grpSpPr>
        <p:sp>
          <p:nvSpPr>
            <p:cNvPr id="120" name="Freeform 16">
              <a:extLst>
                <a:ext uri="{FF2B5EF4-FFF2-40B4-BE49-F238E27FC236}">
                  <a16:creationId xmlns:a16="http://schemas.microsoft.com/office/drawing/2014/main" id="{D6134FC8-4249-4088-8AE8-003C8AAC7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6136" y="6255221"/>
              <a:ext cx="26428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1 w 349"/>
                <a:gd name="T25" fmla="*/ 226 h 350"/>
                <a:gd name="T26" fmla="*/ 225 w 349"/>
                <a:gd name="T27" fmla="*/ 213 h 350"/>
                <a:gd name="T28" fmla="*/ 234 w 349"/>
                <a:gd name="T29" fmla="*/ 194 h 350"/>
                <a:gd name="T30" fmla="*/ 237 w 349"/>
                <a:gd name="T31" fmla="*/ 175 h 350"/>
                <a:gd name="T32" fmla="*/ 235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5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4 w 349"/>
                <a:gd name="T47" fmla="*/ 3 h 350"/>
                <a:gd name="T48" fmla="*/ 234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8 w 349"/>
                <a:gd name="T55" fmla="*/ 63 h 350"/>
                <a:gd name="T56" fmla="*/ 325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5 w 349"/>
                <a:gd name="T65" fmla="*/ 210 h 350"/>
                <a:gd name="T66" fmla="*/ 335 w 349"/>
                <a:gd name="T67" fmla="*/ 243 h 350"/>
                <a:gd name="T68" fmla="*/ 319 w 349"/>
                <a:gd name="T69" fmla="*/ 273 h 350"/>
                <a:gd name="T70" fmla="*/ 297 w 349"/>
                <a:gd name="T71" fmla="*/ 299 h 350"/>
                <a:gd name="T72" fmla="*/ 272 w 349"/>
                <a:gd name="T73" fmla="*/ 319 h 350"/>
                <a:gd name="T74" fmla="*/ 242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39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29 w 349"/>
                <a:gd name="T89" fmla="*/ 273 h 350"/>
                <a:gd name="T90" fmla="*/ 14 w 349"/>
                <a:gd name="T91" fmla="*/ 243 h 350"/>
                <a:gd name="T92" fmla="*/ 3 w 349"/>
                <a:gd name="T93" fmla="*/ 210 h 350"/>
                <a:gd name="T94" fmla="*/ 0 w 349"/>
                <a:gd name="T95" fmla="*/ 175 h 350"/>
                <a:gd name="T96" fmla="*/ 3 w 349"/>
                <a:gd name="T97" fmla="*/ 140 h 350"/>
                <a:gd name="T98" fmla="*/ 14 w 349"/>
                <a:gd name="T99" fmla="*/ 107 h 350"/>
                <a:gd name="T100" fmla="*/ 29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39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1" y="226"/>
                  </a:lnTo>
                  <a:lnTo>
                    <a:pt x="225" y="213"/>
                  </a:lnTo>
                  <a:lnTo>
                    <a:pt x="234" y="194"/>
                  </a:lnTo>
                  <a:lnTo>
                    <a:pt x="237" y="175"/>
                  </a:lnTo>
                  <a:lnTo>
                    <a:pt x="235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5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4" y="3"/>
                  </a:lnTo>
                  <a:lnTo>
                    <a:pt x="234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8" y="63"/>
                  </a:lnTo>
                  <a:lnTo>
                    <a:pt x="325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5" y="210"/>
                  </a:lnTo>
                  <a:lnTo>
                    <a:pt x="335" y="243"/>
                  </a:lnTo>
                  <a:lnTo>
                    <a:pt x="319" y="273"/>
                  </a:lnTo>
                  <a:lnTo>
                    <a:pt x="297" y="299"/>
                  </a:lnTo>
                  <a:lnTo>
                    <a:pt x="272" y="319"/>
                  </a:lnTo>
                  <a:lnTo>
                    <a:pt x="242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39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29" y="273"/>
                  </a:lnTo>
                  <a:lnTo>
                    <a:pt x="14" y="243"/>
                  </a:lnTo>
                  <a:lnTo>
                    <a:pt x="3" y="210"/>
                  </a:lnTo>
                  <a:lnTo>
                    <a:pt x="0" y="175"/>
                  </a:lnTo>
                  <a:lnTo>
                    <a:pt x="3" y="140"/>
                  </a:lnTo>
                  <a:lnTo>
                    <a:pt x="14" y="107"/>
                  </a:lnTo>
                  <a:lnTo>
                    <a:pt x="29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39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1" name="Freeform 17">
              <a:extLst>
                <a:ext uri="{FF2B5EF4-FFF2-40B4-BE49-F238E27FC236}">
                  <a16:creationId xmlns:a16="http://schemas.microsoft.com/office/drawing/2014/main" id="{67A5F0B0-C078-4A85-9E32-409FF0B3D5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2133" y="6255221"/>
              <a:ext cx="26656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2 w 349"/>
                <a:gd name="T25" fmla="*/ 226 h 350"/>
                <a:gd name="T26" fmla="*/ 226 w 349"/>
                <a:gd name="T27" fmla="*/ 213 h 350"/>
                <a:gd name="T28" fmla="*/ 235 w 349"/>
                <a:gd name="T29" fmla="*/ 194 h 350"/>
                <a:gd name="T30" fmla="*/ 237 w 349"/>
                <a:gd name="T31" fmla="*/ 175 h 350"/>
                <a:gd name="T32" fmla="*/ 236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7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5 w 349"/>
                <a:gd name="T47" fmla="*/ 3 h 350"/>
                <a:gd name="T48" fmla="*/ 235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9 w 349"/>
                <a:gd name="T55" fmla="*/ 63 h 350"/>
                <a:gd name="T56" fmla="*/ 326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6 w 349"/>
                <a:gd name="T65" fmla="*/ 210 h 350"/>
                <a:gd name="T66" fmla="*/ 336 w 349"/>
                <a:gd name="T67" fmla="*/ 243 h 350"/>
                <a:gd name="T68" fmla="*/ 319 w 349"/>
                <a:gd name="T69" fmla="*/ 273 h 350"/>
                <a:gd name="T70" fmla="*/ 298 w 349"/>
                <a:gd name="T71" fmla="*/ 299 h 350"/>
                <a:gd name="T72" fmla="*/ 272 w 349"/>
                <a:gd name="T73" fmla="*/ 319 h 350"/>
                <a:gd name="T74" fmla="*/ 243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40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30 w 349"/>
                <a:gd name="T89" fmla="*/ 273 h 350"/>
                <a:gd name="T90" fmla="*/ 14 w 349"/>
                <a:gd name="T91" fmla="*/ 243 h 350"/>
                <a:gd name="T92" fmla="*/ 4 w 349"/>
                <a:gd name="T93" fmla="*/ 210 h 350"/>
                <a:gd name="T94" fmla="*/ 0 w 349"/>
                <a:gd name="T95" fmla="*/ 175 h 350"/>
                <a:gd name="T96" fmla="*/ 4 w 349"/>
                <a:gd name="T97" fmla="*/ 140 h 350"/>
                <a:gd name="T98" fmla="*/ 14 w 349"/>
                <a:gd name="T99" fmla="*/ 107 h 350"/>
                <a:gd name="T100" fmla="*/ 30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40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7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7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5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19" y="273"/>
                  </a:lnTo>
                  <a:lnTo>
                    <a:pt x="298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2" name="Freeform 18">
              <a:extLst>
                <a:ext uri="{FF2B5EF4-FFF2-40B4-BE49-F238E27FC236}">
                  <a16:creationId xmlns:a16="http://schemas.microsoft.com/office/drawing/2014/main" id="{BF1784DA-3E40-44FD-998D-DB1DD379C0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8357" y="6255221"/>
              <a:ext cx="26428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7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1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7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8 w 350"/>
                <a:gd name="T31" fmla="*/ 175 h 350"/>
                <a:gd name="T32" fmla="*/ 236 w 350"/>
                <a:gd name="T33" fmla="*/ 158 h 350"/>
                <a:gd name="T34" fmla="*/ 229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7 w 350"/>
                <a:gd name="T53" fmla="*/ 41 h 350"/>
                <a:gd name="T54" fmla="*/ 309 w 350"/>
                <a:gd name="T55" fmla="*/ 63 h 350"/>
                <a:gd name="T56" fmla="*/ 326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2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7 w 350"/>
                <a:gd name="T85" fmla="*/ 319 h 350"/>
                <a:gd name="T86" fmla="*/ 51 w 350"/>
                <a:gd name="T87" fmla="*/ 299 h 350"/>
                <a:gd name="T88" fmla="*/ 30 w 350"/>
                <a:gd name="T89" fmla="*/ 273 h 350"/>
                <a:gd name="T90" fmla="*/ 14 w 350"/>
                <a:gd name="T91" fmla="*/ 243 h 350"/>
                <a:gd name="T92" fmla="*/ 4 w 350"/>
                <a:gd name="T93" fmla="*/ 210 h 350"/>
                <a:gd name="T94" fmla="*/ 0 w 350"/>
                <a:gd name="T95" fmla="*/ 175 h 350"/>
                <a:gd name="T96" fmla="*/ 4 w 350"/>
                <a:gd name="T97" fmla="*/ 140 h 350"/>
                <a:gd name="T98" fmla="*/ 14 w 350"/>
                <a:gd name="T99" fmla="*/ 107 h 350"/>
                <a:gd name="T100" fmla="*/ 30 w 350"/>
                <a:gd name="T101" fmla="*/ 78 h 350"/>
                <a:gd name="T102" fmla="*/ 51 w 350"/>
                <a:gd name="T103" fmla="*/ 52 h 350"/>
                <a:gd name="T104" fmla="*/ 77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8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3" name="Freeform 19">
              <a:extLst>
                <a:ext uri="{FF2B5EF4-FFF2-40B4-BE49-F238E27FC236}">
                  <a16:creationId xmlns:a16="http://schemas.microsoft.com/office/drawing/2014/main" id="{FF26547B-24B3-4108-8095-A2794E966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4353" y="6255221"/>
              <a:ext cx="26656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8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3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8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9 w 350"/>
                <a:gd name="T31" fmla="*/ 175 h 350"/>
                <a:gd name="T32" fmla="*/ 236 w 350"/>
                <a:gd name="T33" fmla="*/ 158 h 350"/>
                <a:gd name="T34" fmla="*/ 231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8 w 350"/>
                <a:gd name="T53" fmla="*/ 41 h 350"/>
                <a:gd name="T54" fmla="*/ 309 w 350"/>
                <a:gd name="T55" fmla="*/ 63 h 350"/>
                <a:gd name="T56" fmla="*/ 327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3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8 w 350"/>
                <a:gd name="T85" fmla="*/ 319 h 350"/>
                <a:gd name="T86" fmla="*/ 53 w 350"/>
                <a:gd name="T87" fmla="*/ 299 h 350"/>
                <a:gd name="T88" fmla="*/ 31 w 350"/>
                <a:gd name="T89" fmla="*/ 273 h 350"/>
                <a:gd name="T90" fmla="*/ 15 w 350"/>
                <a:gd name="T91" fmla="*/ 243 h 350"/>
                <a:gd name="T92" fmla="*/ 5 w 350"/>
                <a:gd name="T93" fmla="*/ 210 h 350"/>
                <a:gd name="T94" fmla="*/ 0 w 350"/>
                <a:gd name="T95" fmla="*/ 175 h 350"/>
                <a:gd name="T96" fmla="*/ 5 w 350"/>
                <a:gd name="T97" fmla="*/ 140 h 350"/>
                <a:gd name="T98" fmla="*/ 15 w 350"/>
                <a:gd name="T99" fmla="*/ 107 h 350"/>
                <a:gd name="T100" fmla="*/ 31 w 350"/>
                <a:gd name="T101" fmla="*/ 78 h 350"/>
                <a:gd name="T102" fmla="*/ 53 w 350"/>
                <a:gd name="T103" fmla="*/ 52 h 350"/>
                <a:gd name="T104" fmla="*/ 78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8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3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8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9" y="175"/>
                  </a:lnTo>
                  <a:lnTo>
                    <a:pt x="236" y="158"/>
                  </a:lnTo>
                  <a:lnTo>
                    <a:pt x="231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8" y="41"/>
                  </a:lnTo>
                  <a:lnTo>
                    <a:pt x="309" y="63"/>
                  </a:lnTo>
                  <a:lnTo>
                    <a:pt x="327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3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8" y="319"/>
                  </a:lnTo>
                  <a:lnTo>
                    <a:pt x="53" y="299"/>
                  </a:lnTo>
                  <a:lnTo>
                    <a:pt x="31" y="273"/>
                  </a:lnTo>
                  <a:lnTo>
                    <a:pt x="15" y="243"/>
                  </a:lnTo>
                  <a:lnTo>
                    <a:pt x="5" y="210"/>
                  </a:lnTo>
                  <a:lnTo>
                    <a:pt x="0" y="175"/>
                  </a:lnTo>
                  <a:lnTo>
                    <a:pt x="5" y="140"/>
                  </a:lnTo>
                  <a:lnTo>
                    <a:pt x="15" y="107"/>
                  </a:lnTo>
                  <a:lnTo>
                    <a:pt x="31" y="78"/>
                  </a:lnTo>
                  <a:lnTo>
                    <a:pt x="53" y="52"/>
                  </a:lnTo>
                  <a:lnTo>
                    <a:pt x="78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4" name="Freeform 20">
              <a:extLst>
                <a:ext uri="{FF2B5EF4-FFF2-40B4-BE49-F238E27FC236}">
                  <a16:creationId xmlns:a16="http://schemas.microsoft.com/office/drawing/2014/main" id="{6F553FA1-4728-401A-8C20-F18E165CA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80832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2 h 111"/>
                <a:gd name="T10" fmla="*/ 168 w 171"/>
                <a:gd name="T11" fmla="*/ 37 h 111"/>
                <a:gd name="T12" fmla="*/ 171 w 171"/>
                <a:gd name="T13" fmla="*/ 55 h 111"/>
                <a:gd name="T14" fmla="*/ 168 w 171"/>
                <a:gd name="T15" fmla="*/ 72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8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8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2 h 111"/>
                <a:gd name="T34" fmla="*/ 0 w 171"/>
                <a:gd name="T35" fmla="*/ 55 h 111"/>
                <a:gd name="T36" fmla="*/ 2 w 171"/>
                <a:gd name="T37" fmla="*/ 37 h 111"/>
                <a:gd name="T38" fmla="*/ 10 w 171"/>
                <a:gd name="T39" fmla="*/ 22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2"/>
                  </a:lnTo>
                  <a:lnTo>
                    <a:pt x="168" y="37"/>
                  </a:lnTo>
                  <a:lnTo>
                    <a:pt x="171" y="55"/>
                  </a:lnTo>
                  <a:lnTo>
                    <a:pt x="168" y="72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8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8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2"/>
                  </a:lnTo>
                  <a:lnTo>
                    <a:pt x="0" y="55"/>
                  </a:lnTo>
                  <a:lnTo>
                    <a:pt x="2" y="37"/>
                  </a:lnTo>
                  <a:lnTo>
                    <a:pt x="10" y="22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5" name="Freeform 21">
              <a:extLst>
                <a:ext uri="{FF2B5EF4-FFF2-40B4-BE49-F238E27FC236}">
                  <a16:creationId xmlns:a16="http://schemas.microsoft.com/office/drawing/2014/main" id="{2A783787-5E9B-43C9-9BF4-073950C97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95860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3 h 111"/>
                <a:gd name="T10" fmla="*/ 168 w 171"/>
                <a:gd name="T11" fmla="*/ 38 h 111"/>
                <a:gd name="T12" fmla="*/ 171 w 171"/>
                <a:gd name="T13" fmla="*/ 55 h 111"/>
                <a:gd name="T14" fmla="*/ 168 w 171"/>
                <a:gd name="T15" fmla="*/ 74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9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9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4 h 111"/>
                <a:gd name="T34" fmla="*/ 0 w 171"/>
                <a:gd name="T35" fmla="*/ 55 h 111"/>
                <a:gd name="T36" fmla="*/ 2 w 171"/>
                <a:gd name="T37" fmla="*/ 38 h 111"/>
                <a:gd name="T38" fmla="*/ 10 w 171"/>
                <a:gd name="T39" fmla="*/ 23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3"/>
                  </a:lnTo>
                  <a:lnTo>
                    <a:pt x="168" y="38"/>
                  </a:lnTo>
                  <a:lnTo>
                    <a:pt x="171" y="55"/>
                  </a:lnTo>
                  <a:lnTo>
                    <a:pt x="168" y="74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9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9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4"/>
                  </a:lnTo>
                  <a:lnTo>
                    <a:pt x="0" y="55"/>
                  </a:lnTo>
                  <a:lnTo>
                    <a:pt x="2" y="38"/>
                  </a:lnTo>
                  <a:lnTo>
                    <a:pt x="10" y="23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6" name="Freeform 22">
              <a:extLst>
                <a:ext uri="{FF2B5EF4-FFF2-40B4-BE49-F238E27FC236}">
                  <a16:creationId xmlns:a16="http://schemas.microsoft.com/office/drawing/2014/main" id="{6465D05A-ED22-49B3-924E-6DFC4C8C8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8138" y="5997240"/>
              <a:ext cx="283642" cy="307072"/>
            </a:xfrm>
            <a:custGeom>
              <a:avLst/>
              <a:gdLst>
                <a:gd name="T0" fmla="*/ 185 w 3736"/>
                <a:gd name="T1" fmla="*/ 3069 h 3678"/>
                <a:gd name="T2" fmla="*/ 125 w 3736"/>
                <a:gd name="T3" fmla="*/ 3352 h 3678"/>
                <a:gd name="T4" fmla="*/ 325 w 3736"/>
                <a:gd name="T5" fmla="*/ 3554 h 3678"/>
                <a:gd name="T6" fmla="*/ 2002 w 3736"/>
                <a:gd name="T7" fmla="*/ 3518 h 3678"/>
                <a:gd name="T8" fmla="*/ 2140 w 3736"/>
                <a:gd name="T9" fmla="*/ 3266 h 3678"/>
                <a:gd name="T10" fmla="*/ 2002 w 3736"/>
                <a:gd name="T11" fmla="*/ 3013 h 3678"/>
                <a:gd name="T12" fmla="*/ 943 w 3736"/>
                <a:gd name="T13" fmla="*/ 2853 h 3678"/>
                <a:gd name="T14" fmla="*/ 2970 w 3736"/>
                <a:gd name="T15" fmla="*/ 2765 h 3678"/>
                <a:gd name="T16" fmla="*/ 3240 w 3736"/>
                <a:gd name="T17" fmla="*/ 2787 h 3678"/>
                <a:gd name="T18" fmla="*/ 3506 w 3736"/>
                <a:gd name="T19" fmla="*/ 2599 h 3678"/>
                <a:gd name="T20" fmla="*/ 302 w 3736"/>
                <a:gd name="T21" fmla="*/ 2099 h 3678"/>
                <a:gd name="T22" fmla="*/ 333 w 3736"/>
                <a:gd name="T23" fmla="*/ 2613 h 3678"/>
                <a:gd name="T24" fmla="*/ 3524 w 3736"/>
                <a:gd name="T25" fmla="*/ 1966 h 3678"/>
                <a:gd name="T26" fmla="*/ 3542 w 3736"/>
                <a:gd name="T27" fmla="*/ 2077 h 3678"/>
                <a:gd name="T28" fmla="*/ 3622 w 3736"/>
                <a:gd name="T29" fmla="*/ 1998 h 3678"/>
                <a:gd name="T30" fmla="*/ 893 w 3736"/>
                <a:gd name="T31" fmla="*/ 1458 h 3678"/>
                <a:gd name="T32" fmla="*/ 1843 w 3736"/>
                <a:gd name="T33" fmla="*/ 2616 h 3678"/>
                <a:gd name="T34" fmla="*/ 1132 w 3736"/>
                <a:gd name="T35" fmla="*/ 2414 h 3678"/>
                <a:gd name="T36" fmla="*/ 954 w 3736"/>
                <a:gd name="T37" fmla="*/ 2256 h 3678"/>
                <a:gd name="T38" fmla="*/ 1082 w 3736"/>
                <a:gd name="T39" fmla="*/ 2271 h 3678"/>
                <a:gd name="T40" fmla="*/ 1271 w 3736"/>
                <a:gd name="T41" fmla="*/ 1557 h 3678"/>
                <a:gd name="T42" fmla="*/ 1360 w 3736"/>
                <a:gd name="T43" fmla="*/ 1601 h 3678"/>
                <a:gd name="T44" fmla="*/ 1958 w 3736"/>
                <a:gd name="T45" fmla="*/ 2171 h 3678"/>
                <a:gd name="T46" fmla="*/ 1525 w 3736"/>
                <a:gd name="T47" fmla="*/ 1457 h 3678"/>
                <a:gd name="T48" fmla="*/ 2749 w 3736"/>
                <a:gd name="T49" fmla="*/ 361 h 3678"/>
                <a:gd name="T50" fmla="*/ 3541 w 3736"/>
                <a:gd name="T51" fmla="*/ 1844 h 3678"/>
                <a:gd name="T52" fmla="*/ 1658 w 3736"/>
                <a:gd name="T53" fmla="*/ 1439 h 3678"/>
                <a:gd name="T54" fmla="*/ 2419 w 3736"/>
                <a:gd name="T55" fmla="*/ 427 h 3678"/>
                <a:gd name="T56" fmla="*/ 2498 w 3736"/>
                <a:gd name="T57" fmla="*/ 124 h 3678"/>
                <a:gd name="T58" fmla="*/ 2441 w 3736"/>
                <a:gd name="T59" fmla="*/ 287 h 3678"/>
                <a:gd name="T60" fmla="*/ 2599 w 3736"/>
                <a:gd name="T61" fmla="*/ 347 h 3678"/>
                <a:gd name="T62" fmla="*/ 2672 w 3736"/>
                <a:gd name="T63" fmla="*/ 256 h 3678"/>
                <a:gd name="T64" fmla="*/ 2625 w 3736"/>
                <a:gd name="T65" fmla="*/ 136 h 3678"/>
                <a:gd name="T66" fmla="*/ 2665 w 3736"/>
                <a:gd name="T67" fmla="*/ 28 h 3678"/>
                <a:gd name="T68" fmla="*/ 3734 w 3736"/>
                <a:gd name="T69" fmla="*/ 1986 h 3678"/>
                <a:gd name="T70" fmla="*/ 3646 w 3736"/>
                <a:gd name="T71" fmla="*/ 2170 h 3678"/>
                <a:gd name="T72" fmla="*/ 3580 w 3736"/>
                <a:gd name="T73" fmla="*/ 2724 h 3678"/>
                <a:gd name="T74" fmla="*/ 3180 w 3736"/>
                <a:gd name="T75" fmla="*/ 2918 h 3678"/>
                <a:gd name="T76" fmla="*/ 2865 w 3736"/>
                <a:gd name="T77" fmla="*/ 2826 h 3678"/>
                <a:gd name="T78" fmla="*/ 2459 w 3736"/>
                <a:gd name="T79" fmla="*/ 2397 h 3678"/>
                <a:gd name="T80" fmla="*/ 3431 w 3736"/>
                <a:gd name="T81" fmla="*/ 2200 h 3678"/>
                <a:gd name="T82" fmla="*/ 3506 w 3736"/>
                <a:gd name="T83" fmla="*/ 2183 h 3678"/>
                <a:gd name="T84" fmla="*/ 1983 w 3736"/>
                <a:gd name="T85" fmla="*/ 1926 h 3678"/>
                <a:gd name="T86" fmla="*/ 2073 w 3736"/>
                <a:gd name="T87" fmla="*/ 2433 h 3678"/>
                <a:gd name="T88" fmla="*/ 2059 w 3736"/>
                <a:gd name="T89" fmla="*/ 2469 h 3678"/>
                <a:gd name="T90" fmla="*/ 2043 w 3736"/>
                <a:gd name="T91" fmla="*/ 2482 h 3678"/>
                <a:gd name="T92" fmla="*/ 2024 w 3736"/>
                <a:gd name="T93" fmla="*/ 2489 h 3678"/>
                <a:gd name="T94" fmla="*/ 1942 w 3736"/>
                <a:gd name="T95" fmla="*/ 2705 h 3678"/>
                <a:gd name="T96" fmla="*/ 1890 w 3736"/>
                <a:gd name="T97" fmla="*/ 2857 h 3678"/>
                <a:gd name="T98" fmla="*/ 2177 w 3736"/>
                <a:gd name="T99" fmla="*/ 3030 h 3678"/>
                <a:gd name="T100" fmla="*/ 2238 w 3736"/>
                <a:gd name="T101" fmla="*/ 3367 h 3678"/>
                <a:gd name="T102" fmla="*/ 2032 w 3736"/>
                <a:gd name="T103" fmla="*/ 3630 h 3678"/>
                <a:gd name="T104" fmla="*/ 311 w 3736"/>
                <a:gd name="T105" fmla="*/ 3666 h 3678"/>
                <a:gd name="T106" fmla="*/ 49 w 3736"/>
                <a:gd name="T107" fmla="*/ 3460 h 3678"/>
                <a:gd name="T108" fmla="*/ 28 w 3736"/>
                <a:gd name="T109" fmla="*/ 3116 h 3678"/>
                <a:gd name="T110" fmla="*/ 263 w 3736"/>
                <a:gd name="T111" fmla="*/ 2882 h 3678"/>
                <a:gd name="T112" fmla="*/ 317 w 3736"/>
                <a:gd name="T113" fmla="*/ 2724 h 3678"/>
                <a:gd name="T114" fmla="*/ 178 w 3736"/>
                <a:gd name="T115" fmla="*/ 2553 h 3678"/>
                <a:gd name="T116" fmla="*/ 284 w 3736"/>
                <a:gd name="T117" fmla="*/ 1975 h 3678"/>
                <a:gd name="T118" fmla="*/ 740 w 3736"/>
                <a:gd name="T119" fmla="*/ 1477 h 3678"/>
                <a:gd name="T120" fmla="*/ 963 w 3736"/>
                <a:gd name="T121" fmla="*/ 1310 h 3678"/>
                <a:gd name="T122" fmla="*/ 2410 w 3736"/>
                <a:gd name="T123" fmla="*/ 48 h 3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6" h="3678">
                  <a:moveTo>
                    <a:pt x="413" y="2964"/>
                  </a:moveTo>
                  <a:lnTo>
                    <a:pt x="367" y="2968"/>
                  </a:lnTo>
                  <a:lnTo>
                    <a:pt x="325" y="2978"/>
                  </a:lnTo>
                  <a:lnTo>
                    <a:pt x="286" y="2993"/>
                  </a:lnTo>
                  <a:lnTo>
                    <a:pt x="248" y="3013"/>
                  </a:lnTo>
                  <a:lnTo>
                    <a:pt x="215" y="3039"/>
                  </a:lnTo>
                  <a:lnTo>
                    <a:pt x="185" y="3069"/>
                  </a:lnTo>
                  <a:lnTo>
                    <a:pt x="160" y="3102"/>
                  </a:lnTo>
                  <a:lnTo>
                    <a:pt x="139" y="3139"/>
                  </a:lnTo>
                  <a:lnTo>
                    <a:pt x="125" y="3179"/>
                  </a:lnTo>
                  <a:lnTo>
                    <a:pt x="114" y="3222"/>
                  </a:lnTo>
                  <a:lnTo>
                    <a:pt x="111" y="3266"/>
                  </a:lnTo>
                  <a:lnTo>
                    <a:pt x="114" y="3310"/>
                  </a:lnTo>
                  <a:lnTo>
                    <a:pt x="125" y="3352"/>
                  </a:lnTo>
                  <a:lnTo>
                    <a:pt x="139" y="3393"/>
                  </a:lnTo>
                  <a:lnTo>
                    <a:pt x="160" y="3430"/>
                  </a:lnTo>
                  <a:lnTo>
                    <a:pt x="185" y="3464"/>
                  </a:lnTo>
                  <a:lnTo>
                    <a:pt x="215" y="3493"/>
                  </a:lnTo>
                  <a:lnTo>
                    <a:pt x="248" y="3518"/>
                  </a:lnTo>
                  <a:lnTo>
                    <a:pt x="286" y="3538"/>
                  </a:lnTo>
                  <a:lnTo>
                    <a:pt x="325" y="3554"/>
                  </a:lnTo>
                  <a:lnTo>
                    <a:pt x="367" y="3563"/>
                  </a:lnTo>
                  <a:lnTo>
                    <a:pt x="413" y="3567"/>
                  </a:lnTo>
                  <a:lnTo>
                    <a:pt x="1838" y="3567"/>
                  </a:lnTo>
                  <a:lnTo>
                    <a:pt x="1882" y="3563"/>
                  </a:lnTo>
                  <a:lnTo>
                    <a:pt x="1925" y="3554"/>
                  </a:lnTo>
                  <a:lnTo>
                    <a:pt x="1965" y="3538"/>
                  </a:lnTo>
                  <a:lnTo>
                    <a:pt x="2002" y="3518"/>
                  </a:lnTo>
                  <a:lnTo>
                    <a:pt x="2035" y="3493"/>
                  </a:lnTo>
                  <a:lnTo>
                    <a:pt x="2065" y="3464"/>
                  </a:lnTo>
                  <a:lnTo>
                    <a:pt x="2091" y="3430"/>
                  </a:lnTo>
                  <a:lnTo>
                    <a:pt x="2111" y="3393"/>
                  </a:lnTo>
                  <a:lnTo>
                    <a:pt x="2126" y="3352"/>
                  </a:lnTo>
                  <a:lnTo>
                    <a:pt x="2136" y="3310"/>
                  </a:lnTo>
                  <a:lnTo>
                    <a:pt x="2140" y="3266"/>
                  </a:lnTo>
                  <a:lnTo>
                    <a:pt x="2136" y="3222"/>
                  </a:lnTo>
                  <a:lnTo>
                    <a:pt x="2126" y="3179"/>
                  </a:lnTo>
                  <a:lnTo>
                    <a:pt x="2111" y="3139"/>
                  </a:lnTo>
                  <a:lnTo>
                    <a:pt x="2091" y="3102"/>
                  </a:lnTo>
                  <a:lnTo>
                    <a:pt x="2065" y="3069"/>
                  </a:lnTo>
                  <a:lnTo>
                    <a:pt x="2035" y="3039"/>
                  </a:lnTo>
                  <a:lnTo>
                    <a:pt x="2002" y="3013"/>
                  </a:lnTo>
                  <a:lnTo>
                    <a:pt x="1965" y="2993"/>
                  </a:lnTo>
                  <a:lnTo>
                    <a:pt x="1925" y="2978"/>
                  </a:lnTo>
                  <a:lnTo>
                    <a:pt x="1882" y="2968"/>
                  </a:lnTo>
                  <a:lnTo>
                    <a:pt x="1838" y="2964"/>
                  </a:lnTo>
                  <a:lnTo>
                    <a:pt x="413" y="2964"/>
                  </a:lnTo>
                  <a:close/>
                  <a:moveTo>
                    <a:pt x="943" y="2727"/>
                  </a:moveTo>
                  <a:lnTo>
                    <a:pt x="943" y="2853"/>
                  </a:lnTo>
                  <a:lnTo>
                    <a:pt x="1307" y="2853"/>
                  </a:lnTo>
                  <a:lnTo>
                    <a:pt x="1307" y="2727"/>
                  </a:lnTo>
                  <a:lnTo>
                    <a:pt x="943" y="2727"/>
                  </a:lnTo>
                  <a:close/>
                  <a:moveTo>
                    <a:pt x="3407" y="2328"/>
                  </a:moveTo>
                  <a:lnTo>
                    <a:pt x="2754" y="2590"/>
                  </a:lnTo>
                  <a:lnTo>
                    <a:pt x="2936" y="2741"/>
                  </a:lnTo>
                  <a:lnTo>
                    <a:pt x="2970" y="2765"/>
                  </a:lnTo>
                  <a:lnTo>
                    <a:pt x="3005" y="2783"/>
                  </a:lnTo>
                  <a:lnTo>
                    <a:pt x="3042" y="2797"/>
                  </a:lnTo>
                  <a:lnTo>
                    <a:pt x="3081" y="2806"/>
                  </a:lnTo>
                  <a:lnTo>
                    <a:pt x="3121" y="2809"/>
                  </a:lnTo>
                  <a:lnTo>
                    <a:pt x="3161" y="2808"/>
                  </a:lnTo>
                  <a:lnTo>
                    <a:pt x="3201" y="2800"/>
                  </a:lnTo>
                  <a:lnTo>
                    <a:pt x="3240" y="2787"/>
                  </a:lnTo>
                  <a:lnTo>
                    <a:pt x="3429" y="2711"/>
                  </a:lnTo>
                  <a:lnTo>
                    <a:pt x="3452" y="2700"/>
                  </a:lnTo>
                  <a:lnTo>
                    <a:pt x="3470" y="2684"/>
                  </a:lnTo>
                  <a:lnTo>
                    <a:pt x="3485" y="2666"/>
                  </a:lnTo>
                  <a:lnTo>
                    <a:pt x="3496" y="2646"/>
                  </a:lnTo>
                  <a:lnTo>
                    <a:pt x="3504" y="2623"/>
                  </a:lnTo>
                  <a:lnTo>
                    <a:pt x="3506" y="2599"/>
                  </a:lnTo>
                  <a:lnTo>
                    <a:pt x="3504" y="2575"/>
                  </a:lnTo>
                  <a:lnTo>
                    <a:pt x="3497" y="2551"/>
                  </a:lnTo>
                  <a:lnTo>
                    <a:pt x="3407" y="2328"/>
                  </a:lnTo>
                  <a:close/>
                  <a:moveTo>
                    <a:pt x="353" y="2073"/>
                  </a:moveTo>
                  <a:lnTo>
                    <a:pt x="333" y="2076"/>
                  </a:lnTo>
                  <a:lnTo>
                    <a:pt x="315" y="2085"/>
                  </a:lnTo>
                  <a:lnTo>
                    <a:pt x="302" y="2099"/>
                  </a:lnTo>
                  <a:lnTo>
                    <a:pt x="292" y="2116"/>
                  </a:lnTo>
                  <a:lnTo>
                    <a:pt x="289" y="2136"/>
                  </a:lnTo>
                  <a:lnTo>
                    <a:pt x="289" y="2553"/>
                  </a:lnTo>
                  <a:lnTo>
                    <a:pt x="292" y="2572"/>
                  </a:lnTo>
                  <a:lnTo>
                    <a:pt x="302" y="2590"/>
                  </a:lnTo>
                  <a:lnTo>
                    <a:pt x="315" y="2604"/>
                  </a:lnTo>
                  <a:lnTo>
                    <a:pt x="333" y="2613"/>
                  </a:lnTo>
                  <a:lnTo>
                    <a:pt x="353" y="2616"/>
                  </a:lnTo>
                  <a:lnTo>
                    <a:pt x="713" y="2616"/>
                  </a:lnTo>
                  <a:lnTo>
                    <a:pt x="713" y="2073"/>
                  </a:lnTo>
                  <a:lnTo>
                    <a:pt x="353" y="2073"/>
                  </a:lnTo>
                  <a:close/>
                  <a:moveTo>
                    <a:pt x="3562" y="1955"/>
                  </a:moveTo>
                  <a:lnTo>
                    <a:pt x="3542" y="1957"/>
                  </a:lnTo>
                  <a:lnTo>
                    <a:pt x="3524" y="1966"/>
                  </a:lnTo>
                  <a:lnTo>
                    <a:pt x="3511" y="1980"/>
                  </a:lnTo>
                  <a:lnTo>
                    <a:pt x="3502" y="1998"/>
                  </a:lnTo>
                  <a:lnTo>
                    <a:pt x="3498" y="2017"/>
                  </a:lnTo>
                  <a:lnTo>
                    <a:pt x="3502" y="2038"/>
                  </a:lnTo>
                  <a:lnTo>
                    <a:pt x="3511" y="2055"/>
                  </a:lnTo>
                  <a:lnTo>
                    <a:pt x="3524" y="2068"/>
                  </a:lnTo>
                  <a:lnTo>
                    <a:pt x="3542" y="2077"/>
                  </a:lnTo>
                  <a:lnTo>
                    <a:pt x="3562" y="2081"/>
                  </a:lnTo>
                  <a:lnTo>
                    <a:pt x="3582" y="2077"/>
                  </a:lnTo>
                  <a:lnTo>
                    <a:pt x="3599" y="2068"/>
                  </a:lnTo>
                  <a:lnTo>
                    <a:pt x="3613" y="2055"/>
                  </a:lnTo>
                  <a:lnTo>
                    <a:pt x="3622" y="2038"/>
                  </a:lnTo>
                  <a:lnTo>
                    <a:pt x="3625" y="2017"/>
                  </a:lnTo>
                  <a:lnTo>
                    <a:pt x="3622" y="1998"/>
                  </a:lnTo>
                  <a:lnTo>
                    <a:pt x="3613" y="1980"/>
                  </a:lnTo>
                  <a:lnTo>
                    <a:pt x="3599" y="1966"/>
                  </a:lnTo>
                  <a:lnTo>
                    <a:pt x="3582" y="1957"/>
                  </a:lnTo>
                  <a:lnTo>
                    <a:pt x="3562" y="1955"/>
                  </a:lnTo>
                  <a:close/>
                  <a:moveTo>
                    <a:pt x="950" y="1428"/>
                  </a:moveTo>
                  <a:lnTo>
                    <a:pt x="921" y="1441"/>
                  </a:lnTo>
                  <a:lnTo>
                    <a:pt x="893" y="1458"/>
                  </a:lnTo>
                  <a:lnTo>
                    <a:pt x="871" y="1481"/>
                  </a:lnTo>
                  <a:lnTo>
                    <a:pt x="851" y="1507"/>
                  </a:lnTo>
                  <a:lnTo>
                    <a:pt x="837" y="1536"/>
                  </a:lnTo>
                  <a:lnTo>
                    <a:pt x="828" y="1568"/>
                  </a:lnTo>
                  <a:lnTo>
                    <a:pt x="824" y="1601"/>
                  </a:lnTo>
                  <a:lnTo>
                    <a:pt x="824" y="2616"/>
                  </a:lnTo>
                  <a:lnTo>
                    <a:pt x="1843" y="2616"/>
                  </a:lnTo>
                  <a:lnTo>
                    <a:pt x="1843" y="2489"/>
                  </a:lnTo>
                  <a:lnTo>
                    <a:pt x="1556" y="2489"/>
                  </a:lnTo>
                  <a:lnTo>
                    <a:pt x="1468" y="2487"/>
                  </a:lnTo>
                  <a:lnTo>
                    <a:pt x="1382" y="2478"/>
                  </a:lnTo>
                  <a:lnTo>
                    <a:pt x="1297" y="2462"/>
                  </a:lnTo>
                  <a:lnTo>
                    <a:pt x="1213" y="2441"/>
                  </a:lnTo>
                  <a:lnTo>
                    <a:pt x="1132" y="2414"/>
                  </a:lnTo>
                  <a:lnTo>
                    <a:pt x="1050" y="2382"/>
                  </a:lnTo>
                  <a:lnTo>
                    <a:pt x="1026" y="2369"/>
                  </a:lnTo>
                  <a:lnTo>
                    <a:pt x="1005" y="2352"/>
                  </a:lnTo>
                  <a:lnTo>
                    <a:pt x="985" y="2331"/>
                  </a:lnTo>
                  <a:lnTo>
                    <a:pt x="971" y="2309"/>
                  </a:lnTo>
                  <a:lnTo>
                    <a:pt x="960" y="2284"/>
                  </a:lnTo>
                  <a:lnTo>
                    <a:pt x="954" y="2256"/>
                  </a:lnTo>
                  <a:lnTo>
                    <a:pt x="950" y="2228"/>
                  </a:lnTo>
                  <a:lnTo>
                    <a:pt x="950" y="1428"/>
                  </a:lnTo>
                  <a:close/>
                  <a:moveTo>
                    <a:pt x="1062" y="1419"/>
                  </a:moveTo>
                  <a:lnTo>
                    <a:pt x="1062" y="2228"/>
                  </a:lnTo>
                  <a:lnTo>
                    <a:pt x="1065" y="2245"/>
                  </a:lnTo>
                  <a:lnTo>
                    <a:pt x="1071" y="2259"/>
                  </a:lnTo>
                  <a:lnTo>
                    <a:pt x="1082" y="2271"/>
                  </a:lnTo>
                  <a:lnTo>
                    <a:pt x="1095" y="2280"/>
                  </a:lnTo>
                  <a:lnTo>
                    <a:pt x="1171" y="2311"/>
                  </a:lnTo>
                  <a:lnTo>
                    <a:pt x="1248" y="2335"/>
                  </a:lnTo>
                  <a:lnTo>
                    <a:pt x="1248" y="1601"/>
                  </a:lnTo>
                  <a:lnTo>
                    <a:pt x="1251" y="1584"/>
                  </a:lnTo>
                  <a:lnTo>
                    <a:pt x="1259" y="1568"/>
                  </a:lnTo>
                  <a:lnTo>
                    <a:pt x="1271" y="1557"/>
                  </a:lnTo>
                  <a:lnTo>
                    <a:pt x="1286" y="1549"/>
                  </a:lnTo>
                  <a:lnTo>
                    <a:pt x="1304" y="1545"/>
                  </a:lnTo>
                  <a:lnTo>
                    <a:pt x="1321" y="1549"/>
                  </a:lnTo>
                  <a:lnTo>
                    <a:pt x="1337" y="1557"/>
                  </a:lnTo>
                  <a:lnTo>
                    <a:pt x="1348" y="1568"/>
                  </a:lnTo>
                  <a:lnTo>
                    <a:pt x="1356" y="1584"/>
                  </a:lnTo>
                  <a:lnTo>
                    <a:pt x="1360" y="1601"/>
                  </a:lnTo>
                  <a:lnTo>
                    <a:pt x="1360" y="2361"/>
                  </a:lnTo>
                  <a:lnTo>
                    <a:pt x="1424" y="2370"/>
                  </a:lnTo>
                  <a:lnTo>
                    <a:pt x="1490" y="2376"/>
                  </a:lnTo>
                  <a:lnTo>
                    <a:pt x="1556" y="2378"/>
                  </a:lnTo>
                  <a:lnTo>
                    <a:pt x="1961" y="2378"/>
                  </a:lnTo>
                  <a:lnTo>
                    <a:pt x="1961" y="2221"/>
                  </a:lnTo>
                  <a:lnTo>
                    <a:pt x="1958" y="2171"/>
                  </a:lnTo>
                  <a:lnTo>
                    <a:pt x="1949" y="2123"/>
                  </a:lnTo>
                  <a:lnTo>
                    <a:pt x="1936" y="2076"/>
                  </a:lnTo>
                  <a:lnTo>
                    <a:pt x="1915" y="2031"/>
                  </a:lnTo>
                  <a:lnTo>
                    <a:pt x="1890" y="1988"/>
                  </a:lnTo>
                  <a:lnTo>
                    <a:pt x="1566" y="1500"/>
                  </a:lnTo>
                  <a:lnTo>
                    <a:pt x="1547" y="1477"/>
                  </a:lnTo>
                  <a:lnTo>
                    <a:pt x="1525" y="1457"/>
                  </a:lnTo>
                  <a:lnTo>
                    <a:pt x="1500" y="1441"/>
                  </a:lnTo>
                  <a:lnTo>
                    <a:pt x="1473" y="1428"/>
                  </a:lnTo>
                  <a:lnTo>
                    <a:pt x="1445" y="1422"/>
                  </a:lnTo>
                  <a:lnTo>
                    <a:pt x="1414" y="1419"/>
                  </a:lnTo>
                  <a:lnTo>
                    <a:pt x="1062" y="1419"/>
                  </a:lnTo>
                  <a:close/>
                  <a:moveTo>
                    <a:pt x="2753" y="353"/>
                  </a:moveTo>
                  <a:lnTo>
                    <a:pt x="2749" y="361"/>
                  </a:lnTo>
                  <a:lnTo>
                    <a:pt x="2571" y="659"/>
                  </a:lnTo>
                  <a:lnTo>
                    <a:pt x="3419" y="1917"/>
                  </a:lnTo>
                  <a:lnTo>
                    <a:pt x="3437" y="1895"/>
                  </a:lnTo>
                  <a:lnTo>
                    <a:pt x="3460" y="1876"/>
                  </a:lnTo>
                  <a:lnTo>
                    <a:pt x="3485" y="1861"/>
                  </a:lnTo>
                  <a:lnTo>
                    <a:pt x="3512" y="1850"/>
                  </a:lnTo>
                  <a:lnTo>
                    <a:pt x="3541" y="1844"/>
                  </a:lnTo>
                  <a:lnTo>
                    <a:pt x="2753" y="353"/>
                  </a:lnTo>
                  <a:close/>
                  <a:moveTo>
                    <a:pt x="2334" y="320"/>
                  </a:moveTo>
                  <a:lnTo>
                    <a:pt x="1562" y="1348"/>
                  </a:lnTo>
                  <a:lnTo>
                    <a:pt x="1590" y="1366"/>
                  </a:lnTo>
                  <a:lnTo>
                    <a:pt x="1616" y="1387"/>
                  </a:lnTo>
                  <a:lnTo>
                    <a:pt x="1638" y="1411"/>
                  </a:lnTo>
                  <a:lnTo>
                    <a:pt x="1658" y="1439"/>
                  </a:lnTo>
                  <a:lnTo>
                    <a:pt x="1827" y="1690"/>
                  </a:lnTo>
                  <a:lnTo>
                    <a:pt x="2555" y="467"/>
                  </a:lnTo>
                  <a:lnTo>
                    <a:pt x="2551" y="467"/>
                  </a:lnTo>
                  <a:lnTo>
                    <a:pt x="2515" y="465"/>
                  </a:lnTo>
                  <a:lnTo>
                    <a:pt x="2481" y="457"/>
                  </a:lnTo>
                  <a:lnTo>
                    <a:pt x="2448" y="444"/>
                  </a:lnTo>
                  <a:lnTo>
                    <a:pt x="2419" y="427"/>
                  </a:lnTo>
                  <a:lnTo>
                    <a:pt x="2391" y="405"/>
                  </a:lnTo>
                  <a:lnTo>
                    <a:pt x="2369" y="380"/>
                  </a:lnTo>
                  <a:lnTo>
                    <a:pt x="2349" y="351"/>
                  </a:lnTo>
                  <a:lnTo>
                    <a:pt x="2334" y="320"/>
                  </a:lnTo>
                  <a:close/>
                  <a:moveTo>
                    <a:pt x="2551" y="111"/>
                  </a:moveTo>
                  <a:lnTo>
                    <a:pt x="2523" y="115"/>
                  </a:lnTo>
                  <a:lnTo>
                    <a:pt x="2498" y="124"/>
                  </a:lnTo>
                  <a:lnTo>
                    <a:pt x="2475" y="138"/>
                  </a:lnTo>
                  <a:lnTo>
                    <a:pt x="2456" y="157"/>
                  </a:lnTo>
                  <a:lnTo>
                    <a:pt x="2441" y="180"/>
                  </a:lnTo>
                  <a:lnTo>
                    <a:pt x="2432" y="205"/>
                  </a:lnTo>
                  <a:lnTo>
                    <a:pt x="2429" y="234"/>
                  </a:lnTo>
                  <a:lnTo>
                    <a:pt x="2432" y="262"/>
                  </a:lnTo>
                  <a:lnTo>
                    <a:pt x="2441" y="287"/>
                  </a:lnTo>
                  <a:lnTo>
                    <a:pt x="2456" y="311"/>
                  </a:lnTo>
                  <a:lnTo>
                    <a:pt x="2475" y="329"/>
                  </a:lnTo>
                  <a:lnTo>
                    <a:pt x="2498" y="344"/>
                  </a:lnTo>
                  <a:lnTo>
                    <a:pt x="2523" y="353"/>
                  </a:lnTo>
                  <a:lnTo>
                    <a:pt x="2551" y="356"/>
                  </a:lnTo>
                  <a:lnTo>
                    <a:pt x="2576" y="354"/>
                  </a:lnTo>
                  <a:lnTo>
                    <a:pt x="2599" y="347"/>
                  </a:lnTo>
                  <a:lnTo>
                    <a:pt x="2619" y="336"/>
                  </a:lnTo>
                  <a:lnTo>
                    <a:pt x="2638" y="321"/>
                  </a:lnTo>
                  <a:lnTo>
                    <a:pt x="2653" y="303"/>
                  </a:lnTo>
                  <a:lnTo>
                    <a:pt x="2656" y="298"/>
                  </a:lnTo>
                  <a:lnTo>
                    <a:pt x="2657" y="297"/>
                  </a:lnTo>
                  <a:lnTo>
                    <a:pt x="2666" y="278"/>
                  </a:lnTo>
                  <a:lnTo>
                    <a:pt x="2672" y="256"/>
                  </a:lnTo>
                  <a:lnTo>
                    <a:pt x="2674" y="234"/>
                  </a:lnTo>
                  <a:lnTo>
                    <a:pt x="2672" y="210"/>
                  </a:lnTo>
                  <a:lnTo>
                    <a:pt x="2665" y="187"/>
                  </a:lnTo>
                  <a:lnTo>
                    <a:pt x="2661" y="180"/>
                  </a:lnTo>
                  <a:lnTo>
                    <a:pt x="2658" y="174"/>
                  </a:lnTo>
                  <a:lnTo>
                    <a:pt x="2643" y="153"/>
                  </a:lnTo>
                  <a:lnTo>
                    <a:pt x="2625" y="136"/>
                  </a:lnTo>
                  <a:lnTo>
                    <a:pt x="2603" y="123"/>
                  </a:lnTo>
                  <a:lnTo>
                    <a:pt x="2579" y="115"/>
                  </a:lnTo>
                  <a:lnTo>
                    <a:pt x="2551" y="111"/>
                  </a:lnTo>
                  <a:close/>
                  <a:moveTo>
                    <a:pt x="2551" y="0"/>
                  </a:moveTo>
                  <a:lnTo>
                    <a:pt x="2591" y="3"/>
                  </a:lnTo>
                  <a:lnTo>
                    <a:pt x="2630" y="12"/>
                  </a:lnTo>
                  <a:lnTo>
                    <a:pt x="2665" y="28"/>
                  </a:lnTo>
                  <a:lnTo>
                    <a:pt x="2696" y="50"/>
                  </a:lnTo>
                  <a:lnTo>
                    <a:pt x="2724" y="75"/>
                  </a:lnTo>
                  <a:lnTo>
                    <a:pt x="2747" y="106"/>
                  </a:lnTo>
                  <a:lnTo>
                    <a:pt x="2766" y="138"/>
                  </a:lnTo>
                  <a:lnTo>
                    <a:pt x="3713" y="1930"/>
                  </a:lnTo>
                  <a:lnTo>
                    <a:pt x="3726" y="1957"/>
                  </a:lnTo>
                  <a:lnTo>
                    <a:pt x="3734" y="1986"/>
                  </a:lnTo>
                  <a:lnTo>
                    <a:pt x="3736" y="2017"/>
                  </a:lnTo>
                  <a:lnTo>
                    <a:pt x="3733" y="2050"/>
                  </a:lnTo>
                  <a:lnTo>
                    <a:pt x="3725" y="2080"/>
                  </a:lnTo>
                  <a:lnTo>
                    <a:pt x="3711" y="2108"/>
                  </a:lnTo>
                  <a:lnTo>
                    <a:pt x="3693" y="2132"/>
                  </a:lnTo>
                  <a:lnTo>
                    <a:pt x="3672" y="2153"/>
                  </a:lnTo>
                  <a:lnTo>
                    <a:pt x="3646" y="2170"/>
                  </a:lnTo>
                  <a:lnTo>
                    <a:pt x="3617" y="2183"/>
                  </a:lnTo>
                  <a:lnTo>
                    <a:pt x="3617" y="2612"/>
                  </a:lnTo>
                  <a:lnTo>
                    <a:pt x="3617" y="2620"/>
                  </a:lnTo>
                  <a:lnTo>
                    <a:pt x="3616" y="2626"/>
                  </a:lnTo>
                  <a:lnTo>
                    <a:pt x="3609" y="2660"/>
                  </a:lnTo>
                  <a:lnTo>
                    <a:pt x="3597" y="2693"/>
                  </a:lnTo>
                  <a:lnTo>
                    <a:pt x="3580" y="2724"/>
                  </a:lnTo>
                  <a:lnTo>
                    <a:pt x="3559" y="2752"/>
                  </a:lnTo>
                  <a:lnTo>
                    <a:pt x="3533" y="2777"/>
                  </a:lnTo>
                  <a:lnTo>
                    <a:pt x="3504" y="2799"/>
                  </a:lnTo>
                  <a:lnTo>
                    <a:pt x="3471" y="2815"/>
                  </a:lnTo>
                  <a:lnTo>
                    <a:pt x="3282" y="2891"/>
                  </a:lnTo>
                  <a:lnTo>
                    <a:pt x="3231" y="2908"/>
                  </a:lnTo>
                  <a:lnTo>
                    <a:pt x="3180" y="2918"/>
                  </a:lnTo>
                  <a:lnTo>
                    <a:pt x="3127" y="2920"/>
                  </a:lnTo>
                  <a:lnTo>
                    <a:pt x="3081" y="2918"/>
                  </a:lnTo>
                  <a:lnTo>
                    <a:pt x="3034" y="2910"/>
                  </a:lnTo>
                  <a:lnTo>
                    <a:pt x="2989" y="2896"/>
                  </a:lnTo>
                  <a:lnTo>
                    <a:pt x="2946" y="2878"/>
                  </a:lnTo>
                  <a:lnTo>
                    <a:pt x="2904" y="2855"/>
                  </a:lnTo>
                  <a:lnTo>
                    <a:pt x="2865" y="2826"/>
                  </a:lnTo>
                  <a:lnTo>
                    <a:pt x="2454" y="2487"/>
                  </a:lnTo>
                  <a:lnTo>
                    <a:pt x="2442" y="2474"/>
                  </a:lnTo>
                  <a:lnTo>
                    <a:pt x="2436" y="2458"/>
                  </a:lnTo>
                  <a:lnTo>
                    <a:pt x="2433" y="2441"/>
                  </a:lnTo>
                  <a:lnTo>
                    <a:pt x="2438" y="2424"/>
                  </a:lnTo>
                  <a:lnTo>
                    <a:pt x="2447" y="2409"/>
                  </a:lnTo>
                  <a:lnTo>
                    <a:pt x="2459" y="2397"/>
                  </a:lnTo>
                  <a:lnTo>
                    <a:pt x="2475" y="2390"/>
                  </a:lnTo>
                  <a:lnTo>
                    <a:pt x="2492" y="2388"/>
                  </a:lnTo>
                  <a:lnTo>
                    <a:pt x="2509" y="2393"/>
                  </a:lnTo>
                  <a:lnTo>
                    <a:pt x="2525" y="2402"/>
                  </a:lnTo>
                  <a:lnTo>
                    <a:pt x="2656" y="2509"/>
                  </a:lnTo>
                  <a:lnTo>
                    <a:pt x="3418" y="2203"/>
                  </a:lnTo>
                  <a:lnTo>
                    <a:pt x="3431" y="2200"/>
                  </a:lnTo>
                  <a:lnTo>
                    <a:pt x="3446" y="2200"/>
                  </a:lnTo>
                  <a:lnTo>
                    <a:pt x="3460" y="2204"/>
                  </a:lnTo>
                  <a:lnTo>
                    <a:pt x="3472" y="2211"/>
                  </a:lnTo>
                  <a:lnTo>
                    <a:pt x="3482" y="2221"/>
                  </a:lnTo>
                  <a:lnTo>
                    <a:pt x="3490" y="2235"/>
                  </a:lnTo>
                  <a:lnTo>
                    <a:pt x="3506" y="2275"/>
                  </a:lnTo>
                  <a:lnTo>
                    <a:pt x="3506" y="2183"/>
                  </a:lnTo>
                  <a:lnTo>
                    <a:pt x="3478" y="2170"/>
                  </a:lnTo>
                  <a:lnTo>
                    <a:pt x="3452" y="2152"/>
                  </a:lnTo>
                  <a:lnTo>
                    <a:pt x="3429" y="2131"/>
                  </a:lnTo>
                  <a:lnTo>
                    <a:pt x="3411" y="2106"/>
                  </a:lnTo>
                  <a:lnTo>
                    <a:pt x="2507" y="766"/>
                  </a:lnTo>
                  <a:lnTo>
                    <a:pt x="1895" y="1794"/>
                  </a:lnTo>
                  <a:lnTo>
                    <a:pt x="1983" y="1926"/>
                  </a:lnTo>
                  <a:lnTo>
                    <a:pt x="2010" y="1971"/>
                  </a:lnTo>
                  <a:lnTo>
                    <a:pt x="2032" y="2018"/>
                  </a:lnTo>
                  <a:lnTo>
                    <a:pt x="2050" y="2067"/>
                  </a:lnTo>
                  <a:lnTo>
                    <a:pt x="2063" y="2117"/>
                  </a:lnTo>
                  <a:lnTo>
                    <a:pt x="2069" y="2168"/>
                  </a:lnTo>
                  <a:lnTo>
                    <a:pt x="2073" y="2221"/>
                  </a:lnTo>
                  <a:lnTo>
                    <a:pt x="2073" y="2433"/>
                  </a:lnTo>
                  <a:lnTo>
                    <a:pt x="2072" y="2441"/>
                  </a:lnTo>
                  <a:lnTo>
                    <a:pt x="2069" y="2452"/>
                  </a:lnTo>
                  <a:lnTo>
                    <a:pt x="2066" y="2460"/>
                  </a:lnTo>
                  <a:lnTo>
                    <a:pt x="2064" y="2463"/>
                  </a:lnTo>
                  <a:lnTo>
                    <a:pt x="2063" y="2465"/>
                  </a:lnTo>
                  <a:lnTo>
                    <a:pt x="2060" y="2469"/>
                  </a:lnTo>
                  <a:lnTo>
                    <a:pt x="2059" y="2469"/>
                  </a:lnTo>
                  <a:lnTo>
                    <a:pt x="2058" y="2471"/>
                  </a:lnTo>
                  <a:lnTo>
                    <a:pt x="2056" y="2473"/>
                  </a:lnTo>
                  <a:lnTo>
                    <a:pt x="2055" y="2474"/>
                  </a:lnTo>
                  <a:lnTo>
                    <a:pt x="2052" y="2477"/>
                  </a:lnTo>
                  <a:lnTo>
                    <a:pt x="2050" y="2478"/>
                  </a:lnTo>
                  <a:lnTo>
                    <a:pt x="2048" y="2480"/>
                  </a:lnTo>
                  <a:lnTo>
                    <a:pt x="2043" y="2482"/>
                  </a:lnTo>
                  <a:lnTo>
                    <a:pt x="2039" y="2485"/>
                  </a:lnTo>
                  <a:lnTo>
                    <a:pt x="2039" y="2485"/>
                  </a:lnTo>
                  <a:lnTo>
                    <a:pt x="2035" y="2486"/>
                  </a:lnTo>
                  <a:lnTo>
                    <a:pt x="2033" y="2487"/>
                  </a:lnTo>
                  <a:lnTo>
                    <a:pt x="2031" y="2488"/>
                  </a:lnTo>
                  <a:lnTo>
                    <a:pt x="2027" y="2488"/>
                  </a:lnTo>
                  <a:lnTo>
                    <a:pt x="2024" y="2489"/>
                  </a:lnTo>
                  <a:lnTo>
                    <a:pt x="2023" y="2489"/>
                  </a:lnTo>
                  <a:lnTo>
                    <a:pt x="2019" y="2489"/>
                  </a:lnTo>
                  <a:lnTo>
                    <a:pt x="2017" y="2489"/>
                  </a:lnTo>
                  <a:lnTo>
                    <a:pt x="1954" y="2489"/>
                  </a:lnTo>
                  <a:lnTo>
                    <a:pt x="1954" y="2672"/>
                  </a:lnTo>
                  <a:lnTo>
                    <a:pt x="1950" y="2689"/>
                  </a:lnTo>
                  <a:lnTo>
                    <a:pt x="1942" y="2705"/>
                  </a:lnTo>
                  <a:lnTo>
                    <a:pt x="1931" y="2716"/>
                  </a:lnTo>
                  <a:lnTo>
                    <a:pt x="1915" y="2724"/>
                  </a:lnTo>
                  <a:lnTo>
                    <a:pt x="1898" y="2727"/>
                  </a:lnTo>
                  <a:lnTo>
                    <a:pt x="1418" y="2727"/>
                  </a:lnTo>
                  <a:lnTo>
                    <a:pt x="1418" y="2853"/>
                  </a:lnTo>
                  <a:lnTo>
                    <a:pt x="1838" y="2853"/>
                  </a:lnTo>
                  <a:lnTo>
                    <a:pt x="1890" y="2857"/>
                  </a:lnTo>
                  <a:lnTo>
                    <a:pt x="1940" y="2866"/>
                  </a:lnTo>
                  <a:lnTo>
                    <a:pt x="1988" y="2882"/>
                  </a:lnTo>
                  <a:lnTo>
                    <a:pt x="2032" y="2902"/>
                  </a:lnTo>
                  <a:lnTo>
                    <a:pt x="2074" y="2927"/>
                  </a:lnTo>
                  <a:lnTo>
                    <a:pt x="2112" y="2958"/>
                  </a:lnTo>
                  <a:lnTo>
                    <a:pt x="2146" y="2992"/>
                  </a:lnTo>
                  <a:lnTo>
                    <a:pt x="2177" y="3030"/>
                  </a:lnTo>
                  <a:lnTo>
                    <a:pt x="2202" y="3072"/>
                  </a:lnTo>
                  <a:lnTo>
                    <a:pt x="2222" y="3116"/>
                  </a:lnTo>
                  <a:lnTo>
                    <a:pt x="2238" y="3164"/>
                  </a:lnTo>
                  <a:lnTo>
                    <a:pt x="2247" y="3214"/>
                  </a:lnTo>
                  <a:lnTo>
                    <a:pt x="2251" y="3266"/>
                  </a:lnTo>
                  <a:lnTo>
                    <a:pt x="2247" y="3317"/>
                  </a:lnTo>
                  <a:lnTo>
                    <a:pt x="2238" y="3367"/>
                  </a:lnTo>
                  <a:lnTo>
                    <a:pt x="2222" y="3415"/>
                  </a:lnTo>
                  <a:lnTo>
                    <a:pt x="2202" y="3460"/>
                  </a:lnTo>
                  <a:lnTo>
                    <a:pt x="2177" y="3501"/>
                  </a:lnTo>
                  <a:lnTo>
                    <a:pt x="2146" y="3540"/>
                  </a:lnTo>
                  <a:lnTo>
                    <a:pt x="2112" y="3574"/>
                  </a:lnTo>
                  <a:lnTo>
                    <a:pt x="2074" y="3604"/>
                  </a:lnTo>
                  <a:lnTo>
                    <a:pt x="2032" y="3630"/>
                  </a:lnTo>
                  <a:lnTo>
                    <a:pt x="1988" y="3651"/>
                  </a:lnTo>
                  <a:lnTo>
                    <a:pt x="1940" y="3666"/>
                  </a:lnTo>
                  <a:lnTo>
                    <a:pt x="1890" y="3676"/>
                  </a:lnTo>
                  <a:lnTo>
                    <a:pt x="1838" y="3678"/>
                  </a:lnTo>
                  <a:lnTo>
                    <a:pt x="413" y="3678"/>
                  </a:lnTo>
                  <a:lnTo>
                    <a:pt x="360" y="3676"/>
                  </a:lnTo>
                  <a:lnTo>
                    <a:pt x="311" y="3666"/>
                  </a:lnTo>
                  <a:lnTo>
                    <a:pt x="263" y="3651"/>
                  </a:lnTo>
                  <a:lnTo>
                    <a:pt x="219" y="3630"/>
                  </a:lnTo>
                  <a:lnTo>
                    <a:pt x="177" y="3604"/>
                  </a:lnTo>
                  <a:lnTo>
                    <a:pt x="138" y="3574"/>
                  </a:lnTo>
                  <a:lnTo>
                    <a:pt x="104" y="3540"/>
                  </a:lnTo>
                  <a:lnTo>
                    <a:pt x="74" y="3501"/>
                  </a:lnTo>
                  <a:lnTo>
                    <a:pt x="49" y="3460"/>
                  </a:lnTo>
                  <a:lnTo>
                    <a:pt x="28" y="3415"/>
                  </a:lnTo>
                  <a:lnTo>
                    <a:pt x="12" y="3367"/>
                  </a:lnTo>
                  <a:lnTo>
                    <a:pt x="3" y="3317"/>
                  </a:lnTo>
                  <a:lnTo>
                    <a:pt x="0" y="3266"/>
                  </a:lnTo>
                  <a:lnTo>
                    <a:pt x="3" y="3214"/>
                  </a:lnTo>
                  <a:lnTo>
                    <a:pt x="12" y="3164"/>
                  </a:lnTo>
                  <a:lnTo>
                    <a:pt x="28" y="3116"/>
                  </a:lnTo>
                  <a:lnTo>
                    <a:pt x="49" y="3072"/>
                  </a:lnTo>
                  <a:lnTo>
                    <a:pt x="74" y="3030"/>
                  </a:lnTo>
                  <a:lnTo>
                    <a:pt x="104" y="2992"/>
                  </a:lnTo>
                  <a:lnTo>
                    <a:pt x="138" y="2958"/>
                  </a:lnTo>
                  <a:lnTo>
                    <a:pt x="177" y="2927"/>
                  </a:lnTo>
                  <a:lnTo>
                    <a:pt x="219" y="2902"/>
                  </a:lnTo>
                  <a:lnTo>
                    <a:pt x="263" y="2882"/>
                  </a:lnTo>
                  <a:lnTo>
                    <a:pt x="311" y="2866"/>
                  </a:lnTo>
                  <a:lnTo>
                    <a:pt x="360" y="2857"/>
                  </a:lnTo>
                  <a:lnTo>
                    <a:pt x="413" y="2853"/>
                  </a:lnTo>
                  <a:lnTo>
                    <a:pt x="832" y="2853"/>
                  </a:lnTo>
                  <a:lnTo>
                    <a:pt x="832" y="2727"/>
                  </a:lnTo>
                  <a:lnTo>
                    <a:pt x="353" y="2727"/>
                  </a:lnTo>
                  <a:lnTo>
                    <a:pt x="317" y="2724"/>
                  </a:lnTo>
                  <a:lnTo>
                    <a:pt x="284" y="2714"/>
                  </a:lnTo>
                  <a:lnTo>
                    <a:pt x="255" y="2698"/>
                  </a:lnTo>
                  <a:lnTo>
                    <a:pt x="229" y="2676"/>
                  </a:lnTo>
                  <a:lnTo>
                    <a:pt x="209" y="2650"/>
                  </a:lnTo>
                  <a:lnTo>
                    <a:pt x="192" y="2621"/>
                  </a:lnTo>
                  <a:lnTo>
                    <a:pt x="181" y="2588"/>
                  </a:lnTo>
                  <a:lnTo>
                    <a:pt x="178" y="2553"/>
                  </a:lnTo>
                  <a:lnTo>
                    <a:pt x="178" y="2136"/>
                  </a:lnTo>
                  <a:lnTo>
                    <a:pt x="181" y="2101"/>
                  </a:lnTo>
                  <a:lnTo>
                    <a:pt x="192" y="2068"/>
                  </a:lnTo>
                  <a:lnTo>
                    <a:pt x="209" y="2039"/>
                  </a:lnTo>
                  <a:lnTo>
                    <a:pt x="229" y="2013"/>
                  </a:lnTo>
                  <a:lnTo>
                    <a:pt x="255" y="1991"/>
                  </a:lnTo>
                  <a:lnTo>
                    <a:pt x="284" y="1975"/>
                  </a:lnTo>
                  <a:lnTo>
                    <a:pt x="317" y="1965"/>
                  </a:lnTo>
                  <a:lnTo>
                    <a:pt x="353" y="1962"/>
                  </a:lnTo>
                  <a:lnTo>
                    <a:pt x="713" y="1962"/>
                  </a:lnTo>
                  <a:lnTo>
                    <a:pt x="713" y="1601"/>
                  </a:lnTo>
                  <a:lnTo>
                    <a:pt x="717" y="1558"/>
                  </a:lnTo>
                  <a:lnTo>
                    <a:pt x="726" y="1517"/>
                  </a:lnTo>
                  <a:lnTo>
                    <a:pt x="740" y="1477"/>
                  </a:lnTo>
                  <a:lnTo>
                    <a:pt x="761" y="1442"/>
                  </a:lnTo>
                  <a:lnTo>
                    <a:pt x="785" y="1409"/>
                  </a:lnTo>
                  <a:lnTo>
                    <a:pt x="814" y="1380"/>
                  </a:lnTo>
                  <a:lnTo>
                    <a:pt x="847" y="1355"/>
                  </a:lnTo>
                  <a:lnTo>
                    <a:pt x="883" y="1335"/>
                  </a:lnTo>
                  <a:lnTo>
                    <a:pt x="922" y="1321"/>
                  </a:lnTo>
                  <a:lnTo>
                    <a:pt x="963" y="1310"/>
                  </a:lnTo>
                  <a:lnTo>
                    <a:pt x="1007" y="1308"/>
                  </a:lnTo>
                  <a:lnTo>
                    <a:pt x="1414" y="1308"/>
                  </a:lnTo>
                  <a:lnTo>
                    <a:pt x="1452" y="1310"/>
                  </a:lnTo>
                  <a:lnTo>
                    <a:pt x="2359" y="101"/>
                  </a:lnTo>
                  <a:lnTo>
                    <a:pt x="2359" y="101"/>
                  </a:lnTo>
                  <a:lnTo>
                    <a:pt x="2382" y="73"/>
                  </a:lnTo>
                  <a:lnTo>
                    <a:pt x="2410" y="48"/>
                  </a:lnTo>
                  <a:lnTo>
                    <a:pt x="2441" y="27"/>
                  </a:lnTo>
                  <a:lnTo>
                    <a:pt x="2475" y="12"/>
                  </a:lnTo>
                  <a:lnTo>
                    <a:pt x="2513" y="3"/>
                  </a:lnTo>
                  <a:lnTo>
                    <a:pt x="2551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</p:grpSp>
      <p:sp>
        <p:nvSpPr>
          <p:cNvPr id="23625" name="TextBox 158">
            <a:extLst>
              <a:ext uri="{FF2B5EF4-FFF2-40B4-BE49-F238E27FC236}">
                <a16:creationId xmlns:a16="http://schemas.microsoft.com/office/drawing/2014/main" id="{E039C87F-72AD-4054-B63A-554ACFFB9E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4663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6" name="TextBox 159">
            <a:extLst>
              <a:ext uri="{FF2B5EF4-FFF2-40B4-BE49-F238E27FC236}">
                <a16:creationId xmlns:a16="http://schemas.microsoft.com/office/drawing/2014/main" id="{C89D28E8-6E73-4458-A352-42A749EC09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3488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7" name="TextBox 127">
            <a:extLst>
              <a:ext uri="{FF2B5EF4-FFF2-40B4-BE49-F238E27FC236}">
                <a16:creationId xmlns:a16="http://schemas.microsoft.com/office/drawing/2014/main" id="{D2C4F5E9-E854-4896-8355-45DEC69063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7813" y="6378575"/>
            <a:ext cx="426243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Sources: National Bureau of Statistics, World Bank Report on Doing Business in Nigeria 2018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climate-data.org, State Government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Exchange rate= $1/N305 (Central Bank of Nigeria)</a:t>
            </a:r>
          </a:p>
        </p:txBody>
      </p:sp>
      <p:sp>
        <p:nvSpPr>
          <p:cNvPr id="23628" name="TextBox 128">
            <a:extLst>
              <a:ext uri="{FF2B5EF4-FFF2-40B4-BE49-F238E27FC236}">
                <a16:creationId xmlns:a16="http://schemas.microsoft.com/office/drawing/2014/main" id="{409BCC6F-A5F0-4C79-BB4A-38A1ABC14F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99047" y="3649889"/>
            <a:ext cx="65755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dirty="0">
                <a:latin typeface="Calibri" panose="020F0502020204030204" pitchFamily="34" charset="0"/>
              </a:rPr>
              <a:t>Soy Beans</a:t>
            </a:r>
            <a:endParaRPr lang="en-GB" altLang="en-US" sz="900" dirty="0">
              <a:latin typeface="Calibri" panose="020F0502020204030204" pitchFamily="34" charset="0"/>
            </a:endParaRPr>
          </a:p>
        </p:txBody>
      </p:sp>
      <p:sp>
        <p:nvSpPr>
          <p:cNvPr id="23629" name="TextBox 129">
            <a:extLst>
              <a:ext uri="{FF2B5EF4-FFF2-40B4-BE49-F238E27FC236}">
                <a16:creationId xmlns:a16="http://schemas.microsoft.com/office/drawing/2014/main" id="{489E7B41-20C9-4493-8E7D-07238EB8FA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37167" y="3654980"/>
            <a:ext cx="88036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dirty="0">
                <a:latin typeface="Calibri" panose="020F0502020204030204" pitchFamily="34" charset="0"/>
              </a:rPr>
              <a:t>Manufacturing</a:t>
            </a:r>
            <a:endParaRPr lang="en-GB" altLang="en-US" sz="900" dirty="0">
              <a:latin typeface="Calibri" panose="020F0502020204030204" pitchFamily="34" charset="0"/>
            </a:endParaRPr>
          </a:p>
        </p:txBody>
      </p:sp>
      <p:sp>
        <p:nvSpPr>
          <p:cNvPr id="23630" name="TextBox 130">
            <a:extLst>
              <a:ext uri="{FF2B5EF4-FFF2-40B4-BE49-F238E27FC236}">
                <a16:creationId xmlns:a16="http://schemas.microsoft.com/office/drawing/2014/main" id="{048DE5D8-5309-42DA-9D97-2935A10CB7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31" name="TextBox 131">
            <a:extLst>
              <a:ext uri="{FF2B5EF4-FFF2-40B4-BE49-F238E27FC236}">
                <a16:creationId xmlns:a16="http://schemas.microsoft.com/office/drawing/2014/main" id="{FF8B6C80-43E2-43AF-A364-A31845F05C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5388" y="3656613"/>
            <a:ext cx="61587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dirty="0">
                <a:latin typeface="Calibri" panose="020F0502020204030204" pitchFamily="34" charset="0"/>
              </a:rPr>
              <a:t>Livestock</a:t>
            </a:r>
            <a:endParaRPr lang="en-GB" altLang="en-US" sz="900" dirty="0">
              <a:latin typeface="Calibri" panose="020F0502020204030204" pitchFamily="34" charset="0"/>
            </a:endParaRPr>
          </a:p>
        </p:txBody>
      </p:sp>
      <p:sp>
        <p:nvSpPr>
          <p:cNvPr id="23632" name="TextBox 132">
            <a:extLst>
              <a:ext uri="{FF2B5EF4-FFF2-40B4-BE49-F238E27FC236}">
                <a16:creationId xmlns:a16="http://schemas.microsoft.com/office/drawing/2014/main" id="{A1C640C1-61D1-4BA5-8A76-E684397E8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32389" y="3650683"/>
            <a:ext cx="78418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dirty="0">
                <a:latin typeface="Calibri" panose="020F0502020204030204" pitchFamily="34" charset="0"/>
              </a:rPr>
              <a:t>Wind Energy</a:t>
            </a:r>
            <a:endParaRPr lang="en-GB" altLang="en-US" sz="900" dirty="0">
              <a:latin typeface="Calibri" panose="020F0502020204030204" pitchFamily="34" charset="0"/>
            </a:endParaRP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238751" y="3833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23638" name="TextBox 141">
            <a:extLst>
              <a:ext uri="{FF2B5EF4-FFF2-40B4-BE49-F238E27FC236}">
                <a16:creationId xmlns:a16="http://schemas.microsoft.com/office/drawing/2014/main" id="{EE481231-8673-4FD7-B5CC-900AEE7A9F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8233" y="3652271"/>
            <a:ext cx="54534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Sesame</a:t>
            </a:r>
          </a:p>
        </p:txBody>
      </p:sp>
      <p:sp>
        <p:nvSpPr>
          <p:cNvPr id="23649" name="TextBox 165">
            <a:extLst>
              <a:ext uri="{FF2B5EF4-FFF2-40B4-BE49-F238E27FC236}">
                <a16:creationId xmlns:a16="http://schemas.microsoft.com/office/drawing/2014/main" id="{1242633E-9CB1-48ED-83F4-2223DFC7ED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81236" y="4459560"/>
            <a:ext cx="56778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Tourism</a:t>
            </a:r>
          </a:p>
        </p:txBody>
      </p:sp>
      <p:sp>
        <p:nvSpPr>
          <p:cNvPr id="23650" name="TextBox 166">
            <a:extLst>
              <a:ext uri="{FF2B5EF4-FFF2-40B4-BE49-F238E27FC236}">
                <a16:creationId xmlns:a16="http://schemas.microsoft.com/office/drawing/2014/main" id="{6B51369B-8FA6-464A-B908-12B0FFE6B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51841" y="4458812"/>
            <a:ext cx="548548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dirty="0">
                <a:latin typeface="Calibri" panose="020F0502020204030204" pitchFamily="34" charset="0"/>
              </a:rPr>
              <a:t>Tomato</a:t>
            </a:r>
            <a:endParaRPr lang="en-GB" altLang="en-US" sz="900" dirty="0">
              <a:latin typeface="Calibri" panose="020F0502020204030204" pitchFamily="34" charset="0"/>
            </a:endParaRPr>
          </a:p>
        </p:txBody>
      </p:sp>
      <p:sp>
        <p:nvSpPr>
          <p:cNvPr id="23651" name="TextBox 167">
            <a:extLst>
              <a:ext uri="{FF2B5EF4-FFF2-40B4-BE49-F238E27FC236}">
                <a16:creationId xmlns:a16="http://schemas.microsoft.com/office/drawing/2014/main" id="{4F9404E1-8339-401B-8B10-4C7D1A8CEC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96936" y="4457881"/>
            <a:ext cx="56137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dirty="0">
                <a:latin typeface="Calibri" panose="020F0502020204030204" pitchFamily="34" charset="0"/>
              </a:rPr>
              <a:t>Cowpea</a:t>
            </a:r>
            <a:endParaRPr lang="en-GB" altLang="en-US" sz="900" dirty="0">
              <a:latin typeface="Calibri" panose="020F0502020204030204" pitchFamily="34" charset="0"/>
            </a:endParaRPr>
          </a:p>
        </p:txBody>
      </p:sp>
      <p:sp>
        <p:nvSpPr>
          <p:cNvPr id="23652" name="TextBox 168">
            <a:extLst>
              <a:ext uri="{FF2B5EF4-FFF2-40B4-BE49-F238E27FC236}">
                <a16:creationId xmlns:a16="http://schemas.microsoft.com/office/drawing/2014/main" id="{1C04917D-B2C3-4C21-8CC2-A45C349B4B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65456" y="4457133"/>
            <a:ext cx="57579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dirty="0">
                <a:latin typeface="Calibri" panose="020F0502020204030204" pitchFamily="34" charset="0"/>
              </a:rPr>
              <a:t>Iron Ore</a:t>
            </a:r>
            <a:endParaRPr lang="en-GB" altLang="en-US" sz="900" dirty="0">
              <a:latin typeface="Calibri" panose="020F0502020204030204" pitchFamily="34" charset="0"/>
            </a:endParaRPr>
          </a:p>
        </p:txBody>
      </p:sp>
      <p:sp>
        <p:nvSpPr>
          <p:cNvPr id="23653" name="TextBox 169">
            <a:extLst>
              <a:ext uri="{FF2B5EF4-FFF2-40B4-BE49-F238E27FC236}">
                <a16:creationId xmlns:a16="http://schemas.microsoft.com/office/drawing/2014/main" id="{4BADA327-4F2D-4897-B7C0-4647A1484B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3926" y="4457973"/>
            <a:ext cx="57099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Hibiscus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8A28B48-1841-45BB-BFBC-EADE77B37C6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779712" y="2589213"/>
          <a:ext cx="1482725" cy="812800"/>
        </p:xfrm>
        <a:graphic>
          <a:graphicData uri="http://schemas.openxmlformats.org/drawingml/2006/table">
            <a:tbl>
              <a:tblPr/>
              <a:tblGrid>
                <a:gridCol w="11367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9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32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GB" sz="1000" b="1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Domestic</a:t>
                      </a:r>
                      <a:r>
                        <a:rPr lang="en-GB" sz="10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US" sz="1000" b="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International 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Railway</a:t>
                      </a:r>
                      <a:r>
                        <a:rPr lang="en-GB" sz="1000" b="1" kern="1200" baseline="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 Station</a:t>
                      </a:r>
                      <a:endParaRPr lang="en-GB" sz="1000" b="1" kern="1200" dirty="0">
                        <a:solidFill>
                          <a:srgbClr val="292929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32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Sea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7" name="TextBox 136">
            <a:extLst>
              <a:ext uri="{FF2B5EF4-FFF2-40B4-BE49-F238E27FC236}">
                <a16:creationId xmlns:a16="http://schemas.microsoft.com/office/drawing/2014/main" id="{2F4C4876-7073-4C13-A183-127A8909BDC0}"/>
              </a:ext>
            </a:extLst>
          </p:cNvPr>
          <p:cNvSpPr txBox="1"/>
          <p:nvPr/>
        </p:nvSpPr>
        <p:spPr>
          <a:xfrm>
            <a:off x="538163" y="5268913"/>
            <a:ext cx="373856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For further details</a:t>
            </a:r>
          </a:p>
        </p:txBody>
      </p:sp>
      <p:sp>
        <p:nvSpPr>
          <p:cNvPr id="23676" name="TextBox 156">
            <a:extLst>
              <a:ext uri="{FF2B5EF4-FFF2-40B4-BE49-F238E27FC236}">
                <a16:creationId xmlns:a16="http://schemas.microsoft.com/office/drawing/2014/main" id="{95D66AAF-6B48-4B9E-9E5B-F1BB063A89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6300" y="6342063"/>
            <a:ext cx="37306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Abbreviations: </a:t>
            </a:r>
            <a:r>
              <a:rPr lang="en-GB" altLang="en-US" sz="800" b="1" dirty="0">
                <a:latin typeface="Calibri" panose="020F0502020204030204" pitchFamily="34" charset="0"/>
              </a:rPr>
              <a:t>	NICPS</a:t>
            </a:r>
            <a:r>
              <a:rPr lang="en-GB" altLang="en-US" sz="800" dirty="0">
                <a:latin typeface="Calibri" panose="020F0502020204030204" pitchFamily="34" charset="0"/>
              </a:rPr>
              <a:t>: Nigerian Investment Certification Programme for States           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	</a:t>
            </a:r>
            <a:r>
              <a:rPr lang="en-GB" altLang="en-US" sz="800" b="1" dirty="0">
                <a:latin typeface="Calibri" panose="020F0502020204030204" pitchFamily="34" charset="0"/>
              </a:rPr>
              <a:t>IGR</a:t>
            </a:r>
            <a:r>
              <a:rPr lang="en-GB" altLang="en-US" sz="800" dirty="0">
                <a:latin typeface="Calibri" panose="020F0502020204030204" pitchFamily="34" charset="0"/>
              </a:rPr>
              <a:t>:     Internal Generated Revenue</a:t>
            </a:r>
          </a:p>
        </p:txBody>
      </p:sp>
      <p:sp>
        <p:nvSpPr>
          <p:cNvPr id="23678" name="TextBox 152">
            <a:extLst>
              <a:ext uri="{FF2B5EF4-FFF2-40B4-BE49-F238E27FC236}">
                <a16:creationId xmlns:a16="http://schemas.microsoft.com/office/drawing/2014/main" id="{BFAF6896-F732-45FC-AC47-950DF99D9E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4575" y="1128093"/>
            <a:ext cx="3446463" cy="16927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15888" indent="-11588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All Season Farming (cluster farming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Largest producer of sesame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 err="1">
                <a:latin typeface="Calibri" panose="020F0502020204030204" pitchFamily="34" charset="0"/>
              </a:rPr>
              <a:t>Maigatari</a:t>
            </a:r>
            <a:r>
              <a:rPr lang="en-GB" sz="1300" dirty="0">
                <a:latin typeface="Calibri" panose="020F0502020204030204" pitchFamily="34" charset="0"/>
              </a:rPr>
              <a:t> livestock market (Largest in Africa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Strategic Location (Borders North West, North East and Niger Republic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Strong political will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The </a:t>
            </a:r>
            <a:r>
              <a:rPr lang="en-GB" sz="1300" dirty="0" err="1">
                <a:latin typeface="Calibri" panose="020F0502020204030204" pitchFamily="34" charset="0"/>
              </a:rPr>
              <a:t>Baturiya</a:t>
            </a:r>
            <a:r>
              <a:rPr lang="en-GB" sz="1300" dirty="0">
                <a:latin typeface="Calibri" panose="020F0502020204030204" pitchFamily="34" charset="0"/>
              </a:rPr>
              <a:t>-Bird – Wildlife covering 320km</a:t>
            </a:r>
            <a:r>
              <a:rPr lang="en-GB" sz="1300" baseline="30000" dirty="0">
                <a:latin typeface="Calibri" panose="020F0502020204030204" pitchFamily="34" charset="0"/>
              </a:rPr>
              <a:t>2</a:t>
            </a:r>
            <a:r>
              <a:rPr lang="en-GB" sz="1300" dirty="0">
                <a:latin typeface="Calibri" panose="020F0502020204030204" pitchFamily="34" charset="0"/>
              </a:rPr>
              <a:t> and 378 species</a:t>
            </a:r>
            <a:endParaRPr lang="en-GB" sz="1300" baseline="30000" dirty="0">
              <a:latin typeface="Calibri" panose="020F0502020204030204" pitchFamily="34" charset="0"/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D4E23C6-26A0-4545-B8F7-7007C8EEBFE4}"/>
              </a:ext>
            </a:extLst>
          </p:cNvPr>
          <p:cNvSpPr txBox="1"/>
          <p:nvPr/>
        </p:nvSpPr>
        <p:spPr>
          <a:xfrm>
            <a:off x="4338638" y="5265738"/>
            <a:ext cx="247491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id you know?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132" name="Text Placeholder 42">
            <a:extLst>
              <a:ext uri="{FF2B5EF4-FFF2-40B4-BE49-F238E27FC236}">
                <a16:creationId xmlns:a16="http://schemas.microsoft.com/office/drawing/2014/main" id="{D510D0DC-1548-4249-8DB1-9A1055126D07}"/>
              </a:ext>
            </a:extLst>
          </p:cNvPr>
          <p:cNvSpPr txBox="1">
            <a:spLocks/>
          </p:cNvSpPr>
          <p:nvPr/>
        </p:nvSpPr>
        <p:spPr>
          <a:xfrm>
            <a:off x="522288" y="5511800"/>
            <a:ext cx="3733800" cy="701675"/>
          </a:xfrm>
          <a:prstGeom prst="rect">
            <a:avLst/>
          </a:prstGeom>
        </p:spPr>
        <p:txBody>
          <a:bodyPr lIns="36576" tIns="0" rIns="36576" bIns="0"/>
          <a:lstStyle>
            <a:lvl1pPr marL="0" indent="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/>
              <a:buNone/>
              <a:defRPr sz="800" b="1" baseline="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6575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93763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 charset="0"/>
              <a:buChar char="►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50950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619250" indent="-188913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0764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25336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29908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34480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NIGERIAN INVESTMENT PROMOTION COMMISSION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>
                <a:solidFill>
                  <a:schemeClr val="tx1"/>
                </a:solidFill>
                <a:hlinkClick r:id="rId7"/>
              </a:rPr>
              <a:t>statesco@nipc.gov.ng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endParaRPr lang="en-US" sz="5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JIGAWA STATE INVESTMENT PROMOTION AGENCY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 err="1">
                <a:solidFill>
                  <a:schemeClr val="tx1"/>
                </a:solidFill>
                <a:hlinkClick r:id="rId8"/>
              </a:rPr>
              <a:t>jamilahfarouk@investjigawa.gov.ng</a:t>
            </a:r>
            <a:r>
              <a:rPr lang="en-US" sz="1000" b="0" kern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FF015425-7997-4612-9D0E-1F6C433DFCC7}"/>
              </a:ext>
            </a:extLst>
          </p:cNvPr>
          <p:cNvSpPr/>
          <p:nvPr/>
        </p:nvSpPr>
        <p:spPr>
          <a:xfrm>
            <a:off x="6080877" y="3040856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4C0B7457-CABD-4AC8-8A1A-1FD468581E4D}"/>
              </a:ext>
            </a:extLst>
          </p:cNvPr>
          <p:cNvSpPr/>
          <p:nvPr/>
        </p:nvSpPr>
        <p:spPr>
          <a:xfrm>
            <a:off x="6784796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2D626A89-F50C-45A3-9271-5D3F2EEA9C83}"/>
              </a:ext>
            </a:extLst>
          </p:cNvPr>
          <p:cNvSpPr/>
          <p:nvPr/>
        </p:nvSpPr>
        <p:spPr>
          <a:xfrm>
            <a:off x="7518399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240713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A62E850A-D87D-46D0-9257-0071E677FCF0}"/>
              </a:ext>
            </a:extLst>
          </p:cNvPr>
          <p:cNvSpPr/>
          <p:nvPr/>
        </p:nvSpPr>
        <p:spPr>
          <a:xfrm>
            <a:off x="8947150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4D1FAA17-3EFF-404B-B4C4-B468BCE2E9A5}"/>
              </a:ext>
            </a:extLst>
          </p:cNvPr>
          <p:cNvSpPr/>
          <p:nvPr/>
        </p:nvSpPr>
        <p:spPr>
          <a:xfrm>
            <a:off x="6078265" y="3836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E861211D-5D09-4577-8A09-FD96D972A5D4}"/>
              </a:ext>
            </a:extLst>
          </p:cNvPr>
          <p:cNvSpPr/>
          <p:nvPr/>
        </p:nvSpPr>
        <p:spPr>
          <a:xfrm>
            <a:off x="6780509" y="3833831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D9F8790B-E97D-4D8F-AD51-26FAFBF8CA40}"/>
              </a:ext>
            </a:extLst>
          </p:cNvPr>
          <p:cNvSpPr/>
          <p:nvPr/>
        </p:nvSpPr>
        <p:spPr>
          <a:xfrm>
            <a:off x="8946402" y="3833630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3CBEFD1C-6360-47CD-AEDD-DFB49FC0E0C7}"/>
              </a:ext>
            </a:extLst>
          </p:cNvPr>
          <p:cNvSpPr/>
          <p:nvPr/>
        </p:nvSpPr>
        <p:spPr>
          <a:xfrm>
            <a:off x="7518603" y="3830834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pic>
        <p:nvPicPr>
          <p:cNvPr id="127" name="Picture 126" descr="cowpea2.jpg"/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l="33504" t="12930" r="35727" b="55646"/>
          <a:stretch>
            <a:fillRect/>
          </a:stretch>
        </p:blipFill>
        <p:spPr>
          <a:xfrm>
            <a:off x="7449219" y="3811583"/>
            <a:ext cx="703384" cy="703385"/>
          </a:xfrm>
          <a:prstGeom prst="rect">
            <a:avLst/>
          </a:prstGeom>
        </p:spPr>
      </p:pic>
      <p:pic>
        <p:nvPicPr>
          <p:cNvPr id="134" name="Picture 133" descr="Wind.png"/>
          <p:cNvPicPr>
            <a:picLocks noChangeAspect="1"/>
          </p:cNvPicPr>
          <p:nvPr/>
        </p:nvPicPr>
        <p:blipFill>
          <a:blip r:embed="rId10" cstate="print">
            <a:clrChange>
              <a:clrFrom>
                <a:srgbClr val="444444">
                  <a:alpha val="5882"/>
                </a:srgbClr>
              </a:clrFrom>
              <a:clrTo>
                <a:srgbClr val="444444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300378" y="3077161"/>
            <a:ext cx="492369" cy="464234"/>
          </a:xfrm>
          <a:prstGeom prst="rect">
            <a:avLst/>
          </a:prstGeom>
        </p:spPr>
      </p:pic>
      <p:pic>
        <p:nvPicPr>
          <p:cNvPr id="135" name="Picture 134" descr="soybean.png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986653" y="3119364"/>
            <a:ext cx="448226" cy="393895"/>
          </a:xfrm>
          <a:prstGeom prst="rect">
            <a:avLst/>
          </a:prstGeom>
        </p:spPr>
      </p:pic>
      <p:pic>
        <p:nvPicPr>
          <p:cNvPr id="136" name="Picture 135" descr="livestock.jpg"/>
          <p:cNvPicPr>
            <a:picLocks noChangeAspect="1"/>
          </p:cNvPicPr>
          <p:nvPr/>
        </p:nvPicPr>
        <p:blipFill rotWithShape="1"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t="17215" r="76458" b="56268"/>
          <a:stretch/>
        </p:blipFill>
        <p:spPr>
          <a:xfrm>
            <a:off x="7512733" y="3056433"/>
            <a:ext cx="587543" cy="476674"/>
          </a:xfrm>
          <a:prstGeom prst="rect">
            <a:avLst/>
          </a:prstGeom>
        </p:spPr>
      </p:pic>
      <p:pic>
        <p:nvPicPr>
          <p:cNvPr id="139" name="Picture 138">
            <a:extLst>
              <a:ext uri="{FF2B5EF4-FFF2-40B4-BE49-F238E27FC236}">
                <a16:creationId xmlns:a16="http://schemas.microsoft.com/office/drawing/2014/main" id="{3E58EBF5-1D96-4DFB-B8B7-C5AF2C0C9258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75" t="19262" r="14797" b="32368"/>
          <a:stretch/>
        </p:blipFill>
        <p:spPr>
          <a:xfrm>
            <a:off x="8289162" y="3901301"/>
            <a:ext cx="536515" cy="405617"/>
          </a:xfrm>
          <a:prstGeom prst="rect">
            <a:avLst/>
          </a:prstGeom>
        </p:spPr>
      </p:pic>
      <p:pic>
        <p:nvPicPr>
          <p:cNvPr id="141" name="Picture 140"/>
          <p:cNvPicPr>
            <a:picLocks noChangeAspect="1"/>
          </p:cNvPicPr>
          <p:nvPr/>
        </p:nvPicPr>
        <p:blipFill>
          <a:blip r:embed="rId1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13174" y="3906070"/>
            <a:ext cx="464155" cy="464155"/>
          </a:xfrm>
          <a:prstGeom prst="rect">
            <a:avLst/>
          </a:prstGeom>
        </p:spPr>
      </p:pic>
      <p:pic>
        <p:nvPicPr>
          <p:cNvPr id="142" name="Picture 2"/>
          <p:cNvPicPr>
            <a:picLocks noChangeAspect="1" noChangeArrowheads="1"/>
          </p:cNvPicPr>
          <p:nvPr/>
        </p:nvPicPr>
        <p:blipFill rotWithShape="1"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45" t="53049" r="30109" b="17101"/>
          <a:stretch/>
        </p:blipFill>
        <p:spPr bwMode="auto">
          <a:xfrm>
            <a:off x="6181174" y="3039115"/>
            <a:ext cx="433039" cy="485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9" name="Picture 3"/>
          <p:cNvPicPr>
            <a:picLocks noChangeAspect="1" noChangeArrowheads="1"/>
          </p:cNvPicPr>
          <p:nvPr/>
        </p:nvPicPr>
        <p:blipFill rotWithShape="1"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48" t="-274" r="47541" b="77474"/>
          <a:stretch/>
        </p:blipFill>
        <p:spPr bwMode="auto">
          <a:xfrm>
            <a:off x="6877307" y="3130353"/>
            <a:ext cx="457928" cy="4305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0" name="Picture 4"/>
          <p:cNvPicPr>
            <a:picLocks noChangeAspect="1" noChangeArrowheads="1"/>
          </p:cNvPicPr>
          <p:nvPr/>
        </p:nvPicPr>
        <p:blipFill>
          <a:blip r:embed="rId1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7033" y="3899923"/>
            <a:ext cx="456511" cy="47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1" name="Picture 5"/>
          <p:cNvPicPr>
            <a:picLocks noChangeAspect="1" noChangeArrowheads="1"/>
          </p:cNvPicPr>
          <p:nvPr/>
        </p:nvPicPr>
        <p:blipFill>
          <a:blip r:embed="rId18" cstate="print">
            <a:clrChange>
              <a:clrFrom>
                <a:srgbClr val="F6F6F6"/>
              </a:clrFrom>
              <a:clrTo>
                <a:srgbClr val="F6F6F6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1837" y="3800980"/>
            <a:ext cx="632054" cy="6113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3" name="TextBox 152">
            <a:extLst>
              <a:ext uri="{FF2B5EF4-FFF2-40B4-BE49-F238E27FC236}">
                <a16:creationId xmlns:a16="http://schemas.microsoft.com/office/drawing/2014/main" id="{D0A41506-8873-4C2F-B45B-4459F0229CA3}"/>
              </a:ext>
            </a:extLst>
          </p:cNvPr>
          <p:cNvSpPr txBox="1"/>
          <p:nvPr/>
        </p:nvSpPr>
        <p:spPr>
          <a:xfrm>
            <a:off x="4374578" y="4541674"/>
            <a:ext cx="17988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te Investment Certification Process Not Started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304984" y="5419775"/>
            <a:ext cx="2572323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Populated mainly by Hausa-Fulani but there are also Manga (a Kanuri dialect) and </a:t>
            </a:r>
            <a:r>
              <a:rPr lang="en-US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Badawa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4298938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Pentagon 19">
            <a:extLst>
              <a:ext uri="{FF2B5EF4-FFF2-40B4-BE49-F238E27FC236}">
                <a16:creationId xmlns:a16="http://schemas.microsoft.com/office/drawing/2014/main" id="{CAD93C59-72A9-4F6D-A654-02B9F8A5EFF9}"/>
              </a:ext>
            </a:extLst>
          </p:cNvPr>
          <p:cNvSpPr>
            <a:spLocks/>
          </p:cNvSpPr>
          <p:nvPr/>
        </p:nvSpPr>
        <p:spPr bwMode="auto">
          <a:xfrm>
            <a:off x="756602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 of 37</a:t>
            </a:r>
          </a:p>
        </p:txBody>
      </p:sp>
      <p:sp>
        <p:nvSpPr>
          <p:cNvPr id="376" name="Pentagon 19">
            <a:extLst>
              <a:ext uri="{FF2B5EF4-FFF2-40B4-BE49-F238E27FC236}">
                <a16:creationId xmlns:a16="http://schemas.microsoft.com/office/drawing/2014/main" id="{1BDC5465-6022-4404-B4D8-ED55CF961B8A}"/>
              </a:ext>
            </a:extLst>
          </p:cNvPr>
          <p:cNvSpPr>
            <a:spLocks/>
          </p:cNvSpPr>
          <p:nvPr/>
        </p:nvSpPr>
        <p:spPr bwMode="auto">
          <a:xfrm>
            <a:off x="824865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7 of 3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57F1EBC-D01A-4083-B657-63AFB1490839}"/>
              </a:ext>
            </a:extLst>
          </p:cNvPr>
          <p:cNvSpPr txBox="1"/>
          <p:nvPr/>
        </p:nvSpPr>
        <p:spPr>
          <a:xfrm>
            <a:off x="6122988" y="2749550"/>
            <a:ext cx="3475037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nvestment Opportunit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D251BD-538A-4F4F-847E-620EEDA298A0}"/>
              </a:ext>
            </a:extLst>
          </p:cNvPr>
          <p:cNvSpPr txBox="1"/>
          <p:nvPr/>
        </p:nvSpPr>
        <p:spPr>
          <a:xfrm>
            <a:off x="6881813" y="4632911"/>
            <a:ext cx="2697162" cy="33855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oing Business Ranking(2018)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1B8F13C-F732-4DA1-9250-DB02936E7688}"/>
              </a:ext>
            </a:extLst>
          </p:cNvPr>
          <p:cNvSpPr/>
          <p:nvPr/>
        </p:nvSpPr>
        <p:spPr>
          <a:xfrm>
            <a:off x="756602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Registering Propert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6BA1818-32ED-44D1-975C-958200BDD124}"/>
              </a:ext>
            </a:extLst>
          </p:cNvPr>
          <p:cNvSpPr/>
          <p:nvPr/>
        </p:nvSpPr>
        <p:spPr>
          <a:xfrm>
            <a:off x="8248650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Dealing with Construction Permits</a:t>
            </a:r>
          </a:p>
        </p:txBody>
      </p:sp>
      <p:sp>
        <p:nvSpPr>
          <p:cNvPr id="23560" name="TextBox 174">
            <a:extLst>
              <a:ext uri="{FF2B5EF4-FFF2-40B4-BE49-F238E27FC236}">
                <a16:creationId xmlns:a16="http://schemas.microsoft.com/office/drawing/2014/main" id="{1573FD4E-62B9-45E8-8F28-CED990ED2D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0B63A6C-2A5E-4CA3-BC66-4CBC6008BC9A}"/>
              </a:ext>
            </a:extLst>
          </p:cNvPr>
          <p:cNvSpPr/>
          <p:nvPr/>
        </p:nvSpPr>
        <p:spPr>
          <a:xfrm>
            <a:off x="893127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Enforcing Contracts</a:t>
            </a:r>
          </a:p>
        </p:txBody>
      </p:sp>
      <p:pic>
        <p:nvPicPr>
          <p:cNvPr id="23562" name="Picture 4">
            <a:extLst>
              <a:ext uri="{FF2B5EF4-FFF2-40B4-BE49-F238E27FC236}">
                <a16:creationId xmlns:a16="http://schemas.microsoft.com/office/drawing/2014/main" id="{7C8EEAB2-0239-4BB5-94B3-23E319AF1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513" y="5249863"/>
            <a:ext cx="439737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6" name="Pentagon 19">
            <a:extLst>
              <a:ext uri="{FF2B5EF4-FFF2-40B4-BE49-F238E27FC236}">
                <a16:creationId xmlns:a16="http://schemas.microsoft.com/office/drawing/2014/main" id="{5F8E9670-D71A-4765-B6B5-D711BC9AD6E1}"/>
              </a:ext>
            </a:extLst>
          </p:cNvPr>
          <p:cNvSpPr>
            <a:spLocks/>
          </p:cNvSpPr>
          <p:nvPr/>
        </p:nvSpPr>
        <p:spPr bwMode="auto">
          <a:xfrm>
            <a:off x="893127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</a:t>
            </a:r>
            <a:r>
              <a:rPr lang="en-GB" sz="1000" baseline="3000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of 37</a:t>
            </a:r>
          </a:p>
        </p:txBody>
      </p:sp>
      <p:sp>
        <p:nvSpPr>
          <p:cNvPr id="23564" name="Title 3">
            <a:extLst>
              <a:ext uri="{FF2B5EF4-FFF2-40B4-BE49-F238E27FC236}">
                <a16:creationId xmlns:a16="http://schemas.microsoft.com/office/drawing/2014/main" id="{C62A749B-CFC7-4224-A789-D20A772AC33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77813" y="222250"/>
            <a:ext cx="8543925" cy="5619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en-GB" alt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aduna State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6882DF2C-9120-4A66-8487-575D9494F4D6}"/>
              </a:ext>
            </a:extLst>
          </p:cNvPr>
          <p:cNvSpPr txBox="1"/>
          <p:nvPr/>
        </p:nvSpPr>
        <p:spPr>
          <a:xfrm rot="16200000">
            <a:off x="-2290084" y="3478372"/>
            <a:ext cx="5303837" cy="2743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entre of Learning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grpSp>
        <p:nvGrpSpPr>
          <p:cNvPr id="23566" name="Group 9">
            <a:extLst>
              <a:ext uri="{FF2B5EF4-FFF2-40B4-BE49-F238E27FC236}">
                <a16:creationId xmlns:a16="http://schemas.microsoft.com/office/drawing/2014/main" id="{5B6131BD-3CE3-4FC4-B13A-FA9B797C1EF5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41338" y="963613"/>
            <a:ext cx="2897187" cy="2319337"/>
            <a:chOff x="770228" y="1459989"/>
            <a:chExt cx="4081047" cy="3267527"/>
          </a:xfrm>
        </p:grpSpPr>
        <p:sp>
          <p:nvSpPr>
            <p:cNvPr id="299" name="Freeform 4">
              <a:extLst>
                <a:ext uri="{FF2B5EF4-FFF2-40B4-BE49-F238E27FC236}">
                  <a16:creationId xmlns:a16="http://schemas.microsoft.com/office/drawing/2014/main" id="{B6150C82-CBE5-48B4-B60C-C210BB7B26A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91538" y="4349548"/>
              <a:ext cx="418167" cy="377968"/>
            </a:xfrm>
            <a:custGeom>
              <a:avLst/>
              <a:gdLst>
                <a:gd name="T0" fmla="*/ 12 w 786"/>
                <a:gd name="T1" fmla="*/ 19 h 714"/>
                <a:gd name="T2" fmla="*/ 22 w 786"/>
                <a:gd name="T3" fmla="*/ 18 h 714"/>
                <a:gd name="T4" fmla="*/ 27 w 786"/>
                <a:gd name="T5" fmla="*/ 17 h 714"/>
                <a:gd name="T6" fmla="*/ 30 w 786"/>
                <a:gd name="T7" fmla="*/ 14 h 714"/>
                <a:gd name="T8" fmla="*/ 37 w 786"/>
                <a:gd name="T9" fmla="*/ 16 h 714"/>
                <a:gd name="T10" fmla="*/ 43 w 786"/>
                <a:gd name="T11" fmla="*/ 13 h 714"/>
                <a:gd name="T12" fmla="*/ 48 w 786"/>
                <a:gd name="T13" fmla="*/ 8 h 714"/>
                <a:gd name="T14" fmla="*/ 55 w 786"/>
                <a:gd name="T15" fmla="*/ 4 h 714"/>
                <a:gd name="T16" fmla="*/ 66 w 786"/>
                <a:gd name="T17" fmla="*/ 0 h 714"/>
                <a:gd name="T18" fmla="*/ 63 w 786"/>
                <a:gd name="T19" fmla="*/ 12 h 714"/>
                <a:gd name="T20" fmla="*/ 59 w 786"/>
                <a:gd name="T21" fmla="*/ 19 h 714"/>
                <a:gd name="T22" fmla="*/ 57 w 786"/>
                <a:gd name="T23" fmla="*/ 29 h 714"/>
                <a:gd name="T24" fmla="*/ 59 w 786"/>
                <a:gd name="T25" fmla="*/ 36 h 714"/>
                <a:gd name="T26" fmla="*/ 66 w 786"/>
                <a:gd name="T27" fmla="*/ 35 h 714"/>
                <a:gd name="T28" fmla="*/ 64 w 786"/>
                <a:gd name="T29" fmla="*/ 41 h 714"/>
                <a:gd name="T30" fmla="*/ 64 w 786"/>
                <a:gd name="T31" fmla="*/ 48 h 714"/>
                <a:gd name="T32" fmla="*/ 63 w 786"/>
                <a:gd name="T33" fmla="*/ 56 h 714"/>
                <a:gd name="T34" fmla="*/ 60 w 786"/>
                <a:gd name="T35" fmla="*/ 60 h 714"/>
                <a:gd name="T36" fmla="*/ 57 w 786"/>
                <a:gd name="T37" fmla="*/ 58 h 714"/>
                <a:gd name="T38" fmla="*/ 54 w 786"/>
                <a:gd name="T39" fmla="*/ 54 h 714"/>
                <a:gd name="T40" fmla="*/ 53 w 786"/>
                <a:gd name="T41" fmla="*/ 51 h 714"/>
                <a:gd name="T42" fmla="*/ 51 w 786"/>
                <a:gd name="T43" fmla="*/ 53 h 714"/>
                <a:gd name="T44" fmla="*/ 49 w 786"/>
                <a:gd name="T45" fmla="*/ 54 h 714"/>
                <a:gd name="T46" fmla="*/ 47 w 786"/>
                <a:gd name="T47" fmla="*/ 50 h 714"/>
                <a:gd name="T48" fmla="*/ 48 w 786"/>
                <a:gd name="T49" fmla="*/ 54 h 714"/>
                <a:gd name="T50" fmla="*/ 47 w 786"/>
                <a:gd name="T51" fmla="*/ 54 h 714"/>
                <a:gd name="T52" fmla="*/ 46 w 786"/>
                <a:gd name="T53" fmla="*/ 59 h 714"/>
                <a:gd name="T54" fmla="*/ 47 w 786"/>
                <a:gd name="T55" fmla="*/ 62 h 714"/>
                <a:gd name="T56" fmla="*/ 42 w 786"/>
                <a:gd name="T57" fmla="*/ 62 h 714"/>
                <a:gd name="T58" fmla="*/ 39 w 786"/>
                <a:gd name="T59" fmla="*/ 57 h 714"/>
                <a:gd name="T60" fmla="*/ 40 w 786"/>
                <a:gd name="T61" fmla="*/ 54 h 714"/>
                <a:gd name="T62" fmla="*/ 43 w 786"/>
                <a:gd name="T63" fmla="*/ 55 h 714"/>
                <a:gd name="T64" fmla="*/ 40 w 786"/>
                <a:gd name="T65" fmla="*/ 53 h 714"/>
                <a:gd name="T66" fmla="*/ 38 w 786"/>
                <a:gd name="T67" fmla="*/ 57 h 714"/>
                <a:gd name="T68" fmla="*/ 37 w 786"/>
                <a:gd name="T69" fmla="*/ 57 h 714"/>
                <a:gd name="T70" fmla="*/ 37 w 786"/>
                <a:gd name="T71" fmla="*/ 60 h 714"/>
                <a:gd name="T72" fmla="*/ 33 w 786"/>
                <a:gd name="T73" fmla="*/ 56 h 714"/>
                <a:gd name="T74" fmla="*/ 32 w 786"/>
                <a:gd name="T75" fmla="*/ 58 h 714"/>
                <a:gd name="T76" fmla="*/ 26 w 786"/>
                <a:gd name="T77" fmla="*/ 54 h 714"/>
                <a:gd name="T78" fmla="*/ 26 w 786"/>
                <a:gd name="T79" fmla="*/ 54 h 714"/>
                <a:gd name="T80" fmla="*/ 24 w 786"/>
                <a:gd name="T81" fmla="*/ 51 h 714"/>
                <a:gd name="T82" fmla="*/ 22 w 786"/>
                <a:gd name="T83" fmla="*/ 51 h 714"/>
                <a:gd name="T84" fmla="*/ 20 w 786"/>
                <a:gd name="T85" fmla="*/ 50 h 714"/>
                <a:gd name="T86" fmla="*/ 20 w 786"/>
                <a:gd name="T87" fmla="*/ 48 h 714"/>
                <a:gd name="T88" fmla="*/ 18 w 786"/>
                <a:gd name="T89" fmla="*/ 47 h 714"/>
                <a:gd name="T90" fmla="*/ 15 w 786"/>
                <a:gd name="T91" fmla="*/ 45 h 714"/>
                <a:gd name="T92" fmla="*/ 11 w 786"/>
                <a:gd name="T93" fmla="*/ 39 h 714"/>
                <a:gd name="T94" fmla="*/ 12 w 786"/>
                <a:gd name="T95" fmla="*/ 36 h 714"/>
                <a:gd name="T96" fmla="*/ 7 w 786"/>
                <a:gd name="T97" fmla="*/ 33 h 714"/>
                <a:gd name="T98" fmla="*/ 5 w 786"/>
                <a:gd name="T99" fmla="*/ 28 h 714"/>
                <a:gd name="T100" fmla="*/ 7 w 786"/>
                <a:gd name="T101" fmla="*/ 30 h 714"/>
                <a:gd name="T102" fmla="*/ 4 w 786"/>
                <a:gd name="T103" fmla="*/ 24 h 714"/>
                <a:gd name="T104" fmla="*/ 2 w 786"/>
                <a:gd name="T105" fmla="*/ 20 h 714"/>
                <a:gd name="T106" fmla="*/ 0 w 786"/>
                <a:gd name="T107" fmla="*/ 15 h 714"/>
                <a:gd name="T108" fmla="*/ 4 w 786"/>
                <a:gd name="T109" fmla="*/ 16 h 714"/>
                <a:gd name="T110" fmla="*/ 55 w 786"/>
                <a:gd name="T111" fmla="*/ 60 h 714"/>
                <a:gd name="T112" fmla="*/ 47 w 786"/>
                <a:gd name="T113" fmla="*/ 60 h 714"/>
                <a:gd name="T114" fmla="*/ 51 w 786"/>
                <a:gd name="T115" fmla="*/ 54 h 714"/>
                <a:gd name="T116" fmla="*/ 54 w 786"/>
                <a:gd name="T117" fmla="*/ 56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86"/>
                <a:gd name="T178" fmla="*/ 0 h 714"/>
                <a:gd name="T179" fmla="*/ 786 w 786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86" h="714">
                  <a:moveTo>
                    <a:pt x="54" y="186"/>
                  </a:moveTo>
                  <a:lnTo>
                    <a:pt x="54" y="192"/>
                  </a:lnTo>
                  <a:lnTo>
                    <a:pt x="72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204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20" y="210"/>
                  </a:lnTo>
                  <a:lnTo>
                    <a:pt x="126" y="210"/>
                  </a:lnTo>
                  <a:lnTo>
                    <a:pt x="132" y="210"/>
                  </a:lnTo>
                  <a:lnTo>
                    <a:pt x="132" y="216"/>
                  </a:lnTo>
                  <a:lnTo>
                    <a:pt x="138" y="222"/>
                  </a:lnTo>
                  <a:lnTo>
                    <a:pt x="150" y="222"/>
                  </a:lnTo>
                  <a:lnTo>
                    <a:pt x="162" y="234"/>
                  </a:lnTo>
                  <a:lnTo>
                    <a:pt x="168" y="240"/>
                  </a:lnTo>
                  <a:lnTo>
                    <a:pt x="180" y="240"/>
                  </a:lnTo>
                  <a:lnTo>
                    <a:pt x="186" y="228"/>
                  </a:lnTo>
                  <a:lnTo>
                    <a:pt x="210" y="234"/>
                  </a:lnTo>
                  <a:lnTo>
                    <a:pt x="222" y="228"/>
                  </a:lnTo>
                  <a:lnTo>
                    <a:pt x="228" y="216"/>
                  </a:lnTo>
                  <a:lnTo>
                    <a:pt x="234" y="210"/>
                  </a:lnTo>
                  <a:lnTo>
                    <a:pt x="240" y="216"/>
                  </a:lnTo>
                  <a:lnTo>
                    <a:pt x="246" y="210"/>
                  </a:lnTo>
                  <a:lnTo>
                    <a:pt x="252" y="210"/>
                  </a:lnTo>
                  <a:lnTo>
                    <a:pt x="258" y="210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192"/>
                  </a:lnTo>
                  <a:lnTo>
                    <a:pt x="270" y="192"/>
                  </a:lnTo>
                  <a:lnTo>
                    <a:pt x="276" y="192"/>
                  </a:lnTo>
                  <a:lnTo>
                    <a:pt x="282" y="192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192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198"/>
                  </a:lnTo>
                  <a:lnTo>
                    <a:pt x="312" y="198"/>
                  </a:lnTo>
                  <a:lnTo>
                    <a:pt x="312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24" y="186"/>
                  </a:lnTo>
                  <a:lnTo>
                    <a:pt x="318" y="180"/>
                  </a:lnTo>
                  <a:lnTo>
                    <a:pt x="324" y="180"/>
                  </a:lnTo>
                  <a:lnTo>
                    <a:pt x="330" y="186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74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54" y="144"/>
                  </a:lnTo>
                  <a:lnTo>
                    <a:pt x="360" y="144"/>
                  </a:lnTo>
                  <a:lnTo>
                    <a:pt x="372" y="156"/>
                  </a:lnTo>
                  <a:lnTo>
                    <a:pt x="372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96" y="168"/>
                  </a:lnTo>
                  <a:lnTo>
                    <a:pt x="396" y="174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26" y="186"/>
                  </a:lnTo>
                  <a:lnTo>
                    <a:pt x="432" y="186"/>
                  </a:lnTo>
                  <a:lnTo>
                    <a:pt x="438" y="180"/>
                  </a:lnTo>
                  <a:lnTo>
                    <a:pt x="438" y="168"/>
                  </a:lnTo>
                  <a:lnTo>
                    <a:pt x="438" y="162"/>
                  </a:lnTo>
                  <a:lnTo>
                    <a:pt x="444" y="156"/>
                  </a:lnTo>
                  <a:lnTo>
                    <a:pt x="450" y="156"/>
                  </a:lnTo>
                  <a:lnTo>
                    <a:pt x="456" y="150"/>
                  </a:lnTo>
                  <a:lnTo>
                    <a:pt x="462" y="156"/>
                  </a:lnTo>
                  <a:lnTo>
                    <a:pt x="468" y="162"/>
                  </a:lnTo>
                  <a:lnTo>
                    <a:pt x="474" y="162"/>
                  </a:lnTo>
                  <a:lnTo>
                    <a:pt x="486" y="162"/>
                  </a:lnTo>
                  <a:lnTo>
                    <a:pt x="492" y="156"/>
                  </a:lnTo>
                  <a:lnTo>
                    <a:pt x="498" y="150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28" y="126"/>
                  </a:lnTo>
                  <a:lnTo>
                    <a:pt x="522" y="120"/>
                  </a:lnTo>
                  <a:lnTo>
                    <a:pt x="522" y="114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28" y="102"/>
                  </a:lnTo>
                  <a:lnTo>
                    <a:pt x="534" y="96"/>
                  </a:lnTo>
                  <a:lnTo>
                    <a:pt x="552" y="96"/>
                  </a:lnTo>
                  <a:lnTo>
                    <a:pt x="570" y="102"/>
                  </a:lnTo>
                  <a:lnTo>
                    <a:pt x="582" y="96"/>
                  </a:lnTo>
                  <a:lnTo>
                    <a:pt x="582" y="90"/>
                  </a:lnTo>
                  <a:lnTo>
                    <a:pt x="582" y="78"/>
                  </a:lnTo>
                  <a:lnTo>
                    <a:pt x="582" y="72"/>
                  </a:lnTo>
                  <a:lnTo>
                    <a:pt x="582" y="66"/>
                  </a:lnTo>
                  <a:lnTo>
                    <a:pt x="594" y="60"/>
                  </a:lnTo>
                  <a:lnTo>
                    <a:pt x="600" y="60"/>
                  </a:lnTo>
                  <a:lnTo>
                    <a:pt x="606" y="54"/>
                  </a:lnTo>
                  <a:lnTo>
                    <a:pt x="618" y="48"/>
                  </a:lnTo>
                  <a:lnTo>
                    <a:pt x="618" y="42"/>
                  </a:lnTo>
                  <a:lnTo>
                    <a:pt x="624" y="42"/>
                  </a:lnTo>
                  <a:lnTo>
                    <a:pt x="636" y="48"/>
                  </a:lnTo>
                  <a:lnTo>
                    <a:pt x="648" y="54"/>
                  </a:lnTo>
                  <a:lnTo>
                    <a:pt x="660" y="54"/>
                  </a:lnTo>
                  <a:lnTo>
                    <a:pt x="666" y="60"/>
                  </a:lnTo>
                  <a:lnTo>
                    <a:pt x="672" y="54"/>
                  </a:lnTo>
                  <a:lnTo>
                    <a:pt x="684" y="48"/>
                  </a:lnTo>
                  <a:lnTo>
                    <a:pt x="708" y="42"/>
                  </a:lnTo>
                  <a:lnTo>
                    <a:pt x="714" y="42"/>
                  </a:lnTo>
                  <a:lnTo>
                    <a:pt x="720" y="36"/>
                  </a:lnTo>
                  <a:lnTo>
                    <a:pt x="720" y="30"/>
                  </a:lnTo>
                  <a:lnTo>
                    <a:pt x="714" y="12"/>
                  </a:lnTo>
                  <a:lnTo>
                    <a:pt x="708" y="0"/>
                  </a:lnTo>
                  <a:lnTo>
                    <a:pt x="738" y="6"/>
                  </a:lnTo>
                  <a:lnTo>
                    <a:pt x="756" y="6"/>
                  </a:lnTo>
                  <a:lnTo>
                    <a:pt x="762" y="42"/>
                  </a:lnTo>
                  <a:lnTo>
                    <a:pt x="738" y="72"/>
                  </a:lnTo>
                  <a:lnTo>
                    <a:pt x="750" y="90"/>
                  </a:lnTo>
                  <a:lnTo>
                    <a:pt x="762" y="96"/>
                  </a:lnTo>
                  <a:lnTo>
                    <a:pt x="756" y="102"/>
                  </a:lnTo>
                  <a:lnTo>
                    <a:pt x="750" y="108"/>
                  </a:lnTo>
                  <a:lnTo>
                    <a:pt x="750" y="114"/>
                  </a:lnTo>
                  <a:lnTo>
                    <a:pt x="750" y="120"/>
                  </a:lnTo>
                  <a:lnTo>
                    <a:pt x="750" y="126"/>
                  </a:lnTo>
                  <a:lnTo>
                    <a:pt x="750" y="132"/>
                  </a:lnTo>
                  <a:lnTo>
                    <a:pt x="738" y="132"/>
                  </a:lnTo>
                  <a:lnTo>
                    <a:pt x="732" y="138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14" y="144"/>
                  </a:lnTo>
                  <a:lnTo>
                    <a:pt x="714" y="150"/>
                  </a:lnTo>
                  <a:lnTo>
                    <a:pt x="720" y="156"/>
                  </a:lnTo>
                  <a:lnTo>
                    <a:pt x="720" y="162"/>
                  </a:lnTo>
                  <a:lnTo>
                    <a:pt x="714" y="162"/>
                  </a:lnTo>
                  <a:lnTo>
                    <a:pt x="708" y="168"/>
                  </a:lnTo>
                  <a:lnTo>
                    <a:pt x="708" y="180"/>
                  </a:lnTo>
                  <a:lnTo>
                    <a:pt x="708" y="192"/>
                  </a:lnTo>
                  <a:lnTo>
                    <a:pt x="696" y="198"/>
                  </a:lnTo>
                  <a:lnTo>
                    <a:pt x="696" y="204"/>
                  </a:lnTo>
                  <a:lnTo>
                    <a:pt x="684" y="210"/>
                  </a:lnTo>
                  <a:lnTo>
                    <a:pt x="684" y="216"/>
                  </a:lnTo>
                  <a:lnTo>
                    <a:pt x="684" y="222"/>
                  </a:lnTo>
                  <a:lnTo>
                    <a:pt x="678" y="228"/>
                  </a:lnTo>
                  <a:lnTo>
                    <a:pt x="678" y="234"/>
                  </a:lnTo>
                  <a:lnTo>
                    <a:pt x="672" y="240"/>
                  </a:lnTo>
                  <a:lnTo>
                    <a:pt x="672" y="252"/>
                  </a:lnTo>
                  <a:lnTo>
                    <a:pt x="672" y="258"/>
                  </a:lnTo>
                  <a:lnTo>
                    <a:pt x="666" y="264"/>
                  </a:lnTo>
                  <a:lnTo>
                    <a:pt x="678" y="264"/>
                  </a:lnTo>
                  <a:lnTo>
                    <a:pt x="684" y="276"/>
                  </a:lnTo>
                  <a:lnTo>
                    <a:pt x="684" y="288"/>
                  </a:lnTo>
                  <a:lnTo>
                    <a:pt x="672" y="300"/>
                  </a:lnTo>
                  <a:lnTo>
                    <a:pt x="660" y="318"/>
                  </a:lnTo>
                  <a:lnTo>
                    <a:pt x="660" y="336"/>
                  </a:lnTo>
                  <a:lnTo>
                    <a:pt x="654" y="342"/>
                  </a:lnTo>
                  <a:lnTo>
                    <a:pt x="660" y="354"/>
                  </a:lnTo>
                  <a:lnTo>
                    <a:pt x="660" y="366"/>
                  </a:lnTo>
                  <a:lnTo>
                    <a:pt x="666" y="378"/>
                  </a:lnTo>
                  <a:lnTo>
                    <a:pt x="672" y="390"/>
                  </a:lnTo>
                  <a:lnTo>
                    <a:pt x="678" y="396"/>
                  </a:lnTo>
                  <a:lnTo>
                    <a:pt x="684" y="390"/>
                  </a:lnTo>
                  <a:lnTo>
                    <a:pt x="690" y="390"/>
                  </a:lnTo>
                  <a:lnTo>
                    <a:pt x="690" y="396"/>
                  </a:lnTo>
                  <a:lnTo>
                    <a:pt x="684" y="396"/>
                  </a:lnTo>
                  <a:lnTo>
                    <a:pt x="684" y="402"/>
                  </a:lnTo>
                  <a:lnTo>
                    <a:pt x="684" y="408"/>
                  </a:lnTo>
                  <a:lnTo>
                    <a:pt x="678" y="414"/>
                  </a:lnTo>
                  <a:lnTo>
                    <a:pt x="684" y="414"/>
                  </a:lnTo>
                  <a:lnTo>
                    <a:pt x="684" y="420"/>
                  </a:lnTo>
                  <a:lnTo>
                    <a:pt x="684" y="426"/>
                  </a:lnTo>
                  <a:lnTo>
                    <a:pt x="690" y="420"/>
                  </a:lnTo>
                  <a:lnTo>
                    <a:pt x="696" y="420"/>
                  </a:lnTo>
                  <a:lnTo>
                    <a:pt x="696" y="426"/>
                  </a:lnTo>
                  <a:lnTo>
                    <a:pt x="690" y="426"/>
                  </a:lnTo>
                  <a:lnTo>
                    <a:pt x="696" y="426"/>
                  </a:lnTo>
                  <a:lnTo>
                    <a:pt x="708" y="426"/>
                  </a:lnTo>
                  <a:lnTo>
                    <a:pt x="726" y="414"/>
                  </a:lnTo>
                  <a:lnTo>
                    <a:pt x="732" y="408"/>
                  </a:lnTo>
                  <a:lnTo>
                    <a:pt x="744" y="402"/>
                  </a:lnTo>
                  <a:lnTo>
                    <a:pt x="756" y="402"/>
                  </a:lnTo>
                  <a:lnTo>
                    <a:pt x="768" y="402"/>
                  </a:lnTo>
                  <a:lnTo>
                    <a:pt x="786" y="408"/>
                  </a:lnTo>
                  <a:lnTo>
                    <a:pt x="786" y="414"/>
                  </a:lnTo>
                  <a:lnTo>
                    <a:pt x="774" y="420"/>
                  </a:lnTo>
                  <a:lnTo>
                    <a:pt x="774" y="426"/>
                  </a:lnTo>
                  <a:lnTo>
                    <a:pt x="768" y="432"/>
                  </a:lnTo>
                  <a:lnTo>
                    <a:pt x="762" y="438"/>
                  </a:lnTo>
                  <a:lnTo>
                    <a:pt x="756" y="438"/>
                  </a:lnTo>
                  <a:lnTo>
                    <a:pt x="756" y="444"/>
                  </a:lnTo>
                  <a:lnTo>
                    <a:pt x="756" y="450"/>
                  </a:lnTo>
                  <a:lnTo>
                    <a:pt x="762" y="450"/>
                  </a:lnTo>
                  <a:lnTo>
                    <a:pt x="750" y="456"/>
                  </a:lnTo>
                  <a:lnTo>
                    <a:pt x="738" y="468"/>
                  </a:lnTo>
                  <a:lnTo>
                    <a:pt x="726" y="480"/>
                  </a:lnTo>
                  <a:lnTo>
                    <a:pt x="726" y="486"/>
                  </a:lnTo>
                  <a:lnTo>
                    <a:pt x="732" y="486"/>
                  </a:lnTo>
                  <a:lnTo>
                    <a:pt x="732" y="492"/>
                  </a:lnTo>
                  <a:lnTo>
                    <a:pt x="732" y="504"/>
                  </a:lnTo>
                  <a:lnTo>
                    <a:pt x="738" y="504"/>
                  </a:lnTo>
                  <a:lnTo>
                    <a:pt x="744" y="510"/>
                  </a:lnTo>
                  <a:lnTo>
                    <a:pt x="738" y="522"/>
                  </a:lnTo>
                  <a:lnTo>
                    <a:pt x="744" y="528"/>
                  </a:lnTo>
                  <a:lnTo>
                    <a:pt x="756" y="534"/>
                  </a:lnTo>
                  <a:lnTo>
                    <a:pt x="756" y="540"/>
                  </a:lnTo>
                  <a:lnTo>
                    <a:pt x="744" y="552"/>
                  </a:lnTo>
                  <a:lnTo>
                    <a:pt x="738" y="552"/>
                  </a:lnTo>
                  <a:lnTo>
                    <a:pt x="738" y="558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64"/>
                  </a:lnTo>
                  <a:lnTo>
                    <a:pt x="744" y="576"/>
                  </a:lnTo>
                  <a:lnTo>
                    <a:pt x="738" y="588"/>
                  </a:lnTo>
                  <a:lnTo>
                    <a:pt x="738" y="594"/>
                  </a:lnTo>
                  <a:lnTo>
                    <a:pt x="738" y="600"/>
                  </a:lnTo>
                  <a:lnTo>
                    <a:pt x="738" y="606"/>
                  </a:lnTo>
                  <a:lnTo>
                    <a:pt x="732" y="612"/>
                  </a:lnTo>
                  <a:lnTo>
                    <a:pt x="726" y="624"/>
                  </a:lnTo>
                  <a:lnTo>
                    <a:pt x="726" y="636"/>
                  </a:lnTo>
                  <a:lnTo>
                    <a:pt x="726" y="648"/>
                  </a:lnTo>
                  <a:lnTo>
                    <a:pt x="738" y="654"/>
                  </a:lnTo>
                  <a:lnTo>
                    <a:pt x="750" y="660"/>
                  </a:lnTo>
                  <a:lnTo>
                    <a:pt x="750" y="666"/>
                  </a:lnTo>
                  <a:lnTo>
                    <a:pt x="750" y="678"/>
                  </a:lnTo>
                  <a:lnTo>
                    <a:pt x="744" y="678"/>
                  </a:lnTo>
                  <a:lnTo>
                    <a:pt x="738" y="684"/>
                  </a:lnTo>
                  <a:lnTo>
                    <a:pt x="732" y="684"/>
                  </a:lnTo>
                  <a:lnTo>
                    <a:pt x="720" y="678"/>
                  </a:lnTo>
                  <a:lnTo>
                    <a:pt x="714" y="684"/>
                  </a:lnTo>
                  <a:lnTo>
                    <a:pt x="708" y="684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0" y="690"/>
                  </a:lnTo>
                  <a:lnTo>
                    <a:pt x="690" y="684"/>
                  </a:lnTo>
                  <a:lnTo>
                    <a:pt x="690" y="690"/>
                  </a:lnTo>
                  <a:lnTo>
                    <a:pt x="684" y="690"/>
                  </a:lnTo>
                  <a:lnTo>
                    <a:pt x="684" y="684"/>
                  </a:lnTo>
                  <a:lnTo>
                    <a:pt x="678" y="684"/>
                  </a:lnTo>
                  <a:lnTo>
                    <a:pt x="672" y="678"/>
                  </a:lnTo>
                  <a:lnTo>
                    <a:pt x="672" y="672"/>
                  </a:lnTo>
                  <a:lnTo>
                    <a:pt x="678" y="672"/>
                  </a:lnTo>
                  <a:lnTo>
                    <a:pt x="672" y="672"/>
                  </a:lnTo>
                  <a:lnTo>
                    <a:pt x="666" y="672"/>
                  </a:lnTo>
                  <a:lnTo>
                    <a:pt x="660" y="672"/>
                  </a:lnTo>
                  <a:lnTo>
                    <a:pt x="654" y="672"/>
                  </a:lnTo>
                  <a:lnTo>
                    <a:pt x="654" y="666"/>
                  </a:lnTo>
                  <a:lnTo>
                    <a:pt x="648" y="666"/>
                  </a:lnTo>
                  <a:lnTo>
                    <a:pt x="642" y="660"/>
                  </a:lnTo>
                  <a:lnTo>
                    <a:pt x="642" y="654"/>
                  </a:lnTo>
                  <a:lnTo>
                    <a:pt x="642" y="648"/>
                  </a:lnTo>
                  <a:lnTo>
                    <a:pt x="636" y="648"/>
                  </a:lnTo>
                  <a:lnTo>
                    <a:pt x="630" y="648"/>
                  </a:lnTo>
                  <a:lnTo>
                    <a:pt x="624" y="648"/>
                  </a:lnTo>
                  <a:lnTo>
                    <a:pt x="624" y="642"/>
                  </a:lnTo>
                  <a:lnTo>
                    <a:pt x="618" y="636"/>
                  </a:lnTo>
                  <a:lnTo>
                    <a:pt x="624" y="636"/>
                  </a:lnTo>
                  <a:lnTo>
                    <a:pt x="624" y="630"/>
                  </a:lnTo>
                  <a:lnTo>
                    <a:pt x="618" y="630"/>
                  </a:lnTo>
                  <a:lnTo>
                    <a:pt x="618" y="624"/>
                  </a:lnTo>
                  <a:lnTo>
                    <a:pt x="618" y="618"/>
                  </a:lnTo>
                  <a:lnTo>
                    <a:pt x="618" y="612"/>
                  </a:lnTo>
                  <a:lnTo>
                    <a:pt x="618" y="606"/>
                  </a:lnTo>
                  <a:lnTo>
                    <a:pt x="624" y="606"/>
                  </a:lnTo>
                  <a:lnTo>
                    <a:pt x="624" y="600"/>
                  </a:lnTo>
                  <a:lnTo>
                    <a:pt x="618" y="600"/>
                  </a:lnTo>
                  <a:lnTo>
                    <a:pt x="618" y="594"/>
                  </a:lnTo>
                  <a:lnTo>
                    <a:pt x="618" y="588"/>
                  </a:lnTo>
                  <a:lnTo>
                    <a:pt x="618" y="582"/>
                  </a:lnTo>
                  <a:lnTo>
                    <a:pt x="612" y="582"/>
                  </a:lnTo>
                  <a:lnTo>
                    <a:pt x="606" y="582"/>
                  </a:lnTo>
                  <a:lnTo>
                    <a:pt x="612" y="582"/>
                  </a:lnTo>
                  <a:lnTo>
                    <a:pt x="612" y="588"/>
                  </a:lnTo>
                  <a:lnTo>
                    <a:pt x="612" y="594"/>
                  </a:lnTo>
                  <a:lnTo>
                    <a:pt x="618" y="594"/>
                  </a:lnTo>
                  <a:lnTo>
                    <a:pt x="618" y="600"/>
                  </a:lnTo>
                  <a:lnTo>
                    <a:pt x="618" y="606"/>
                  </a:lnTo>
                  <a:lnTo>
                    <a:pt x="618" y="612"/>
                  </a:lnTo>
                  <a:lnTo>
                    <a:pt x="612" y="612"/>
                  </a:lnTo>
                  <a:lnTo>
                    <a:pt x="612" y="618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94" y="612"/>
                  </a:lnTo>
                  <a:lnTo>
                    <a:pt x="588" y="606"/>
                  </a:lnTo>
                  <a:lnTo>
                    <a:pt x="588" y="612"/>
                  </a:lnTo>
                  <a:lnTo>
                    <a:pt x="594" y="612"/>
                  </a:lnTo>
                  <a:lnTo>
                    <a:pt x="594" y="618"/>
                  </a:lnTo>
                  <a:lnTo>
                    <a:pt x="588" y="618"/>
                  </a:lnTo>
                  <a:lnTo>
                    <a:pt x="588" y="624"/>
                  </a:lnTo>
                  <a:lnTo>
                    <a:pt x="582" y="624"/>
                  </a:lnTo>
                  <a:lnTo>
                    <a:pt x="582" y="630"/>
                  </a:lnTo>
                  <a:lnTo>
                    <a:pt x="576" y="630"/>
                  </a:lnTo>
                  <a:lnTo>
                    <a:pt x="576" y="636"/>
                  </a:lnTo>
                  <a:lnTo>
                    <a:pt x="570" y="636"/>
                  </a:lnTo>
                  <a:lnTo>
                    <a:pt x="570" y="642"/>
                  </a:lnTo>
                  <a:lnTo>
                    <a:pt x="564" y="642"/>
                  </a:lnTo>
                  <a:lnTo>
                    <a:pt x="564" y="636"/>
                  </a:lnTo>
                  <a:lnTo>
                    <a:pt x="564" y="630"/>
                  </a:lnTo>
                  <a:lnTo>
                    <a:pt x="564" y="624"/>
                  </a:lnTo>
                  <a:lnTo>
                    <a:pt x="564" y="618"/>
                  </a:lnTo>
                  <a:lnTo>
                    <a:pt x="570" y="612"/>
                  </a:lnTo>
                  <a:lnTo>
                    <a:pt x="564" y="606"/>
                  </a:lnTo>
                  <a:lnTo>
                    <a:pt x="564" y="600"/>
                  </a:lnTo>
                  <a:lnTo>
                    <a:pt x="564" y="594"/>
                  </a:lnTo>
                  <a:lnTo>
                    <a:pt x="558" y="594"/>
                  </a:lnTo>
                  <a:lnTo>
                    <a:pt x="558" y="588"/>
                  </a:lnTo>
                  <a:lnTo>
                    <a:pt x="552" y="582"/>
                  </a:lnTo>
                  <a:lnTo>
                    <a:pt x="552" y="576"/>
                  </a:lnTo>
                  <a:lnTo>
                    <a:pt x="552" y="570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6" y="582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58" y="588"/>
                  </a:lnTo>
                  <a:lnTo>
                    <a:pt x="558" y="594"/>
                  </a:lnTo>
                  <a:lnTo>
                    <a:pt x="558" y="600"/>
                  </a:lnTo>
                  <a:lnTo>
                    <a:pt x="558" y="606"/>
                  </a:lnTo>
                  <a:lnTo>
                    <a:pt x="552" y="612"/>
                  </a:lnTo>
                  <a:lnTo>
                    <a:pt x="558" y="612"/>
                  </a:lnTo>
                  <a:lnTo>
                    <a:pt x="558" y="618"/>
                  </a:lnTo>
                  <a:lnTo>
                    <a:pt x="558" y="624"/>
                  </a:lnTo>
                  <a:lnTo>
                    <a:pt x="558" y="630"/>
                  </a:lnTo>
                  <a:lnTo>
                    <a:pt x="552" y="630"/>
                  </a:lnTo>
                  <a:lnTo>
                    <a:pt x="552" y="624"/>
                  </a:lnTo>
                  <a:lnTo>
                    <a:pt x="546" y="624"/>
                  </a:lnTo>
                  <a:lnTo>
                    <a:pt x="546" y="618"/>
                  </a:lnTo>
                  <a:lnTo>
                    <a:pt x="546" y="612"/>
                  </a:lnTo>
                  <a:lnTo>
                    <a:pt x="540" y="612"/>
                  </a:lnTo>
                  <a:lnTo>
                    <a:pt x="534" y="612"/>
                  </a:lnTo>
                  <a:lnTo>
                    <a:pt x="528" y="612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28" y="618"/>
                  </a:lnTo>
                  <a:lnTo>
                    <a:pt x="534" y="618"/>
                  </a:lnTo>
                  <a:lnTo>
                    <a:pt x="540" y="618"/>
                  </a:lnTo>
                  <a:lnTo>
                    <a:pt x="540" y="624"/>
                  </a:lnTo>
                  <a:lnTo>
                    <a:pt x="546" y="624"/>
                  </a:lnTo>
                  <a:lnTo>
                    <a:pt x="546" y="630"/>
                  </a:lnTo>
                  <a:lnTo>
                    <a:pt x="552" y="630"/>
                  </a:lnTo>
                  <a:lnTo>
                    <a:pt x="552" y="636"/>
                  </a:lnTo>
                  <a:lnTo>
                    <a:pt x="546" y="642"/>
                  </a:lnTo>
                  <a:lnTo>
                    <a:pt x="546" y="648"/>
                  </a:lnTo>
                  <a:lnTo>
                    <a:pt x="540" y="648"/>
                  </a:lnTo>
                  <a:lnTo>
                    <a:pt x="540" y="654"/>
                  </a:lnTo>
                  <a:lnTo>
                    <a:pt x="540" y="660"/>
                  </a:lnTo>
                  <a:lnTo>
                    <a:pt x="534" y="666"/>
                  </a:lnTo>
                  <a:lnTo>
                    <a:pt x="534" y="672"/>
                  </a:lnTo>
                  <a:lnTo>
                    <a:pt x="534" y="678"/>
                  </a:lnTo>
                  <a:lnTo>
                    <a:pt x="534" y="684"/>
                  </a:lnTo>
                  <a:lnTo>
                    <a:pt x="534" y="678"/>
                  </a:lnTo>
                  <a:lnTo>
                    <a:pt x="528" y="678"/>
                  </a:lnTo>
                  <a:lnTo>
                    <a:pt x="528" y="684"/>
                  </a:lnTo>
                  <a:lnTo>
                    <a:pt x="522" y="690"/>
                  </a:lnTo>
                  <a:lnTo>
                    <a:pt x="528" y="690"/>
                  </a:lnTo>
                  <a:lnTo>
                    <a:pt x="528" y="684"/>
                  </a:lnTo>
                  <a:lnTo>
                    <a:pt x="534" y="684"/>
                  </a:lnTo>
                  <a:lnTo>
                    <a:pt x="534" y="690"/>
                  </a:lnTo>
                  <a:lnTo>
                    <a:pt x="534" y="696"/>
                  </a:lnTo>
                  <a:lnTo>
                    <a:pt x="540" y="696"/>
                  </a:lnTo>
                  <a:lnTo>
                    <a:pt x="540" y="702"/>
                  </a:lnTo>
                  <a:lnTo>
                    <a:pt x="540" y="708"/>
                  </a:lnTo>
                  <a:lnTo>
                    <a:pt x="534" y="708"/>
                  </a:lnTo>
                  <a:lnTo>
                    <a:pt x="528" y="708"/>
                  </a:lnTo>
                  <a:lnTo>
                    <a:pt x="522" y="708"/>
                  </a:lnTo>
                  <a:lnTo>
                    <a:pt x="516" y="708"/>
                  </a:lnTo>
                  <a:lnTo>
                    <a:pt x="510" y="708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2" y="708"/>
                  </a:lnTo>
                  <a:lnTo>
                    <a:pt x="486" y="714"/>
                  </a:lnTo>
                  <a:lnTo>
                    <a:pt x="480" y="708"/>
                  </a:lnTo>
                  <a:lnTo>
                    <a:pt x="474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68" y="714"/>
                  </a:lnTo>
                  <a:lnTo>
                    <a:pt x="456" y="714"/>
                  </a:lnTo>
                  <a:lnTo>
                    <a:pt x="450" y="714"/>
                  </a:lnTo>
                  <a:lnTo>
                    <a:pt x="450" y="708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50" y="690"/>
                  </a:lnTo>
                  <a:lnTo>
                    <a:pt x="450" y="684"/>
                  </a:lnTo>
                  <a:lnTo>
                    <a:pt x="450" y="678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56" y="660"/>
                  </a:lnTo>
                  <a:lnTo>
                    <a:pt x="462" y="660"/>
                  </a:lnTo>
                  <a:lnTo>
                    <a:pt x="462" y="654"/>
                  </a:lnTo>
                  <a:lnTo>
                    <a:pt x="456" y="654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48"/>
                  </a:lnTo>
                  <a:lnTo>
                    <a:pt x="444" y="648"/>
                  </a:lnTo>
                  <a:lnTo>
                    <a:pt x="444" y="642"/>
                  </a:lnTo>
                  <a:lnTo>
                    <a:pt x="444" y="636"/>
                  </a:lnTo>
                  <a:lnTo>
                    <a:pt x="450" y="636"/>
                  </a:lnTo>
                  <a:lnTo>
                    <a:pt x="450" y="630"/>
                  </a:lnTo>
                  <a:lnTo>
                    <a:pt x="456" y="630"/>
                  </a:lnTo>
                  <a:lnTo>
                    <a:pt x="462" y="630"/>
                  </a:lnTo>
                  <a:lnTo>
                    <a:pt x="462" y="624"/>
                  </a:lnTo>
                  <a:lnTo>
                    <a:pt x="468" y="624"/>
                  </a:lnTo>
                  <a:lnTo>
                    <a:pt x="474" y="624"/>
                  </a:lnTo>
                  <a:lnTo>
                    <a:pt x="474" y="618"/>
                  </a:lnTo>
                  <a:lnTo>
                    <a:pt x="480" y="618"/>
                  </a:lnTo>
                  <a:lnTo>
                    <a:pt x="486" y="618"/>
                  </a:lnTo>
                  <a:lnTo>
                    <a:pt x="486" y="624"/>
                  </a:lnTo>
                  <a:lnTo>
                    <a:pt x="486" y="636"/>
                  </a:lnTo>
                  <a:lnTo>
                    <a:pt x="486" y="642"/>
                  </a:lnTo>
                  <a:lnTo>
                    <a:pt x="486" y="648"/>
                  </a:lnTo>
                  <a:lnTo>
                    <a:pt x="492" y="648"/>
                  </a:lnTo>
                  <a:lnTo>
                    <a:pt x="492" y="642"/>
                  </a:lnTo>
                  <a:lnTo>
                    <a:pt x="498" y="636"/>
                  </a:lnTo>
                  <a:lnTo>
                    <a:pt x="492" y="636"/>
                  </a:lnTo>
                  <a:lnTo>
                    <a:pt x="492" y="630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6" y="618"/>
                  </a:lnTo>
                  <a:lnTo>
                    <a:pt x="486" y="612"/>
                  </a:lnTo>
                  <a:lnTo>
                    <a:pt x="486" y="606"/>
                  </a:lnTo>
                  <a:lnTo>
                    <a:pt x="480" y="606"/>
                  </a:lnTo>
                  <a:lnTo>
                    <a:pt x="480" y="612"/>
                  </a:lnTo>
                  <a:lnTo>
                    <a:pt x="474" y="618"/>
                  </a:lnTo>
                  <a:lnTo>
                    <a:pt x="468" y="618"/>
                  </a:lnTo>
                  <a:lnTo>
                    <a:pt x="462" y="618"/>
                  </a:lnTo>
                  <a:lnTo>
                    <a:pt x="462" y="612"/>
                  </a:lnTo>
                  <a:lnTo>
                    <a:pt x="456" y="612"/>
                  </a:lnTo>
                  <a:lnTo>
                    <a:pt x="456" y="618"/>
                  </a:lnTo>
                  <a:lnTo>
                    <a:pt x="462" y="618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30"/>
                  </a:lnTo>
                  <a:lnTo>
                    <a:pt x="444" y="630"/>
                  </a:lnTo>
                  <a:lnTo>
                    <a:pt x="444" y="636"/>
                  </a:lnTo>
                  <a:lnTo>
                    <a:pt x="444" y="642"/>
                  </a:lnTo>
                  <a:lnTo>
                    <a:pt x="444" y="654"/>
                  </a:lnTo>
                  <a:lnTo>
                    <a:pt x="444" y="660"/>
                  </a:lnTo>
                  <a:lnTo>
                    <a:pt x="438" y="660"/>
                  </a:lnTo>
                  <a:lnTo>
                    <a:pt x="432" y="660"/>
                  </a:lnTo>
                  <a:lnTo>
                    <a:pt x="432" y="654"/>
                  </a:lnTo>
                  <a:lnTo>
                    <a:pt x="438" y="654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48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26" y="660"/>
                  </a:lnTo>
                  <a:lnTo>
                    <a:pt x="432" y="666"/>
                  </a:lnTo>
                  <a:lnTo>
                    <a:pt x="432" y="672"/>
                  </a:lnTo>
                  <a:lnTo>
                    <a:pt x="438" y="672"/>
                  </a:lnTo>
                  <a:lnTo>
                    <a:pt x="438" y="678"/>
                  </a:lnTo>
                  <a:lnTo>
                    <a:pt x="444" y="678"/>
                  </a:lnTo>
                  <a:lnTo>
                    <a:pt x="444" y="684"/>
                  </a:lnTo>
                  <a:lnTo>
                    <a:pt x="438" y="690"/>
                  </a:lnTo>
                  <a:lnTo>
                    <a:pt x="438" y="696"/>
                  </a:lnTo>
                  <a:lnTo>
                    <a:pt x="438" y="702"/>
                  </a:lnTo>
                  <a:lnTo>
                    <a:pt x="432" y="702"/>
                  </a:lnTo>
                  <a:lnTo>
                    <a:pt x="426" y="702"/>
                  </a:lnTo>
                  <a:lnTo>
                    <a:pt x="426" y="696"/>
                  </a:lnTo>
                  <a:lnTo>
                    <a:pt x="414" y="696"/>
                  </a:lnTo>
                  <a:lnTo>
                    <a:pt x="402" y="696"/>
                  </a:lnTo>
                  <a:lnTo>
                    <a:pt x="402" y="690"/>
                  </a:lnTo>
                  <a:lnTo>
                    <a:pt x="396" y="690"/>
                  </a:lnTo>
                  <a:lnTo>
                    <a:pt x="390" y="690"/>
                  </a:lnTo>
                  <a:lnTo>
                    <a:pt x="384" y="690"/>
                  </a:lnTo>
                  <a:lnTo>
                    <a:pt x="384" y="684"/>
                  </a:lnTo>
                  <a:lnTo>
                    <a:pt x="384" y="678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390" y="660"/>
                  </a:lnTo>
                  <a:lnTo>
                    <a:pt x="390" y="654"/>
                  </a:lnTo>
                  <a:lnTo>
                    <a:pt x="384" y="648"/>
                  </a:lnTo>
                  <a:lnTo>
                    <a:pt x="384" y="642"/>
                  </a:lnTo>
                  <a:lnTo>
                    <a:pt x="378" y="636"/>
                  </a:lnTo>
                  <a:lnTo>
                    <a:pt x="378" y="642"/>
                  </a:lnTo>
                  <a:lnTo>
                    <a:pt x="378" y="648"/>
                  </a:lnTo>
                  <a:lnTo>
                    <a:pt x="372" y="648"/>
                  </a:lnTo>
                  <a:lnTo>
                    <a:pt x="378" y="654"/>
                  </a:lnTo>
                  <a:lnTo>
                    <a:pt x="378" y="660"/>
                  </a:lnTo>
                  <a:lnTo>
                    <a:pt x="378" y="666"/>
                  </a:lnTo>
                  <a:lnTo>
                    <a:pt x="372" y="672"/>
                  </a:lnTo>
                  <a:lnTo>
                    <a:pt x="378" y="672"/>
                  </a:lnTo>
                  <a:lnTo>
                    <a:pt x="378" y="678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54" y="666"/>
                  </a:lnTo>
                  <a:lnTo>
                    <a:pt x="354" y="660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0" y="654"/>
                  </a:lnTo>
                  <a:lnTo>
                    <a:pt x="324" y="648"/>
                  </a:lnTo>
                  <a:lnTo>
                    <a:pt x="318" y="648"/>
                  </a:lnTo>
                  <a:lnTo>
                    <a:pt x="318" y="642"/>
                  </a:lnTo>
                  <a:lnTo>
                    <a:pt x="312" y="642"/>
                  </a:lnTo>
                  <a:lnTo>
                    <a:pt x="306" y="636"/>
                  </a:lnTo>
                  <a:lnTo>
                    <a:pt x="300" y="636"/>
                  </a:lnTo>
                  <a:lnTo>
                    <a:pt x="300" y="630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0" y="618"/>
                  </a:lnTo>
                  <a:lnTo>
                    <a:pt x="306" y="612"/>
                  </a:lnTo>
                  <a:lnTo>
                    <a:pt x="300" y="612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294" y="612"/>
                  </a:lnTo>
                  <a:lnTo>
                    <a:pt x="288" y="618"/>
                  </a:lnTo>
                  <a:lnTo>
                    <a:pt x="288" y="612"/>
                  </a:lnTo>
                  <a:lnTo>
                    <a:pt x="288" y="618"/>
                  </a:lnTo>
                  <a:lnTo>
                    <a:pt x="294" y="618"/>
                  </a:lnTo>
                  <a:lnTo>
                    <a:pt x="300" y="624"/>
                  </a:lnTo>
                  <a:lnTo>
                    <a:pt x="294" y="624"/>
                  </a:lnTo>
                  <a:lnTo>
                    <a:pt x="288" y="624"/>
                  </a:lnTo>
                  <a:lnTo>
                    <a:pt x="282" y="61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70" y="600"/>
                  </a:lnTo>
                  <a:lnTo>
                    <a:pt x="270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82" y="588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594"/>
                  </a:lnTo>
                  <a:lnTo>
                    <a:pt x="264" y="600"/>
                  </a:lnTo>
                  <a:lnTo>
                    <a:pt x="264" y="594"/>
                  </a:lnTo>
                  <a:lnTo>
                    <a:pt x="270" y="594"/>
                  </a:lnTo>
                  <a:lnTo>
                    <a:pt x="270" y="588"/>
                  </a:lnTo>
                  <a:lnTo>
                    <a:pt x="264" y="594"/>
                  </a:lnTo>
                  <a:lnTo>
                    <a:pt x="258" y="594"/>
                  </a:lnTo>
                  <a:lnTo>
                    <a:pt x="258" y="588"/>
                  </a:lnTo>
                  <a:lnTo>
                    <a:pt x="252" y="588"/>
                  </a:lnTo>
                  <a:lnTo>
                    <a:pt x="246" y="588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52" y="588"/>
                  </a:lnTo>
                  <a:lnTo>
                    <a:pt x="252" y="594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46" y="594"/>
                  </a:lnTo>
                  <a:lnTo>
                    <a:pt x="246" y="588"/>
                  </a:lnTo>
                  <a:lnTo>
                    <a:pt x="240" y="588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2" y="570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64"/>
                  </a:lnTo>
                  <a:lnTo>
                    <a:pt x="234" y="564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34" y="558"/>
                  </a:lnTo>
                  <a:lnTo>
                    <a:pt x="228" y="558"/>
                  </a:lnTo>
                  <a:lnTo>
                    <a:pt x="222" y="558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2" y="564"/>
                  </a:lnTo>
                  <a:lnTo>
                    <a:pt x="222" y="558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04" y="546"/>
                  </a:lnTo>
                  <a:lnTo>
                    <a:pt x="204" y="540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10" y="540"/>
                  </a:lnTo>
                  <a:lnTo>
                    <a:pt x="210" y="534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8"/>
                  </a:lnTo>
                  <a:lnTo>
                    <a:pt x="174" y="516"/>
                  </a:lnTo>
                  <a:lnTo>
                    <a:pt x="168" y="510"/>
                  </a:lnTo>
                  <a:lnTo>
                    <a:pt x="162" y="504"/>
                  </a:lnTo>
                  <a:lnTo>
                    <a:pt x="156" y="498"/>
                  </a:lnTo>
                  <a:lnTo>
                    <a:pt x="156" y="492"/>
                  </a:lnTo>
                  <a:lnTo>
                    <a:pt x="150" y="486"/>
                  </a:lnTo>
                  <a:lnTo>
                    <a:pt x="144" y="480"/>
                  </a:lnTo>
                  <a:lnTo>
                    <a:pt x="144" y="474"/>
                  </a:lnTo>
                  <a:lnTo>
                    <a:pt x="138" y="474"/>
                  </a:lnTo>
                  <a:lnTo>
                    <a:pt x="138" y="468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26" y="450"/>
                  </a:lnTo>
                  <a:lnTo>
                    <a:pt x="126" y="444"/>
                  </a:lnTo>
                  <a:lnTo>
                    <a:pt x="114" y="438"/>
                  </a:lnTo>
                  <a:lnTo>
                    <a:pt x="114" y="432"/>
                  </a:lnTo>
                  <a:lnTo>
                    <a:pt x="114" y="426"/>
                  </a:lnTo>
                  <a:lnTo>
                    <a:pt x="114" y="432"/>
                  </a:lnTo>
                  <a:lnTo>
                    <a:pt x="120" y="432"/>
                  </a:lnTo>
                  <a:lnTo>
                    <a:pt x="120" y="438"/>
                  </a:lnTo>
                  <a:lnTo>
                    <a:pt x="120" y="444"/>
                  </a:lnTo>
                  <a:lnTo>
                    <a:pt x="126" y="444"/>
                  </a:lnTo>
                  <a:lnTo>
                    <a:pt x="126" y="438"/>
                  </a:lnTo>
                  <a:lnTo>
                    <a:pt x="120" y="438"/>
                  </a:lnTo>
                  <a:lnTo>
                    <a:pt x="126" y="432"/>
                  </a:lnTo>
                  <a:lnTo>
                    <a:pt x="126" y="426"/>
                  </a:lnTo>
                  <a:lnTo>
                    <a:pt x="132" y="420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08" y="414"/>
                  </a:lnTo>
                  <a:lnTo>
                    <a:pt x="102" y="414"/>
                  </a:lnTo>
                  <a:lnTo>
                    <a:pt x="102" y="408"/>
                  </a:lnTo>
                  <a:lnTo>
                    <a:pt x="96" y="402"/>
                  </a:lnTo>
                  <a:lnTo>
                    <a:pt x="96" y="396"/>
                  </a:lnTo>
                  <a:lnTo>
                    <a:pt x="96" y="390"/>
                  </a:lnTo>
                  <a:lnTo>
                    <a:pt x="90" y="390"/>
                  </a:lnTo>
                  <a:lnTo>
                    <a:pt x="90" y="384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78" y="372"/>
                  </a:lnTo>
                  <a:lnTo>
                    <a:pt x="78" y="366"/>
                  </a:lnTo>
                  <a:lnTo>
                    <a:pt x="78" y="360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6" y="348"/>
                  </a:lnTo>
                  <a:lnTo>
                    <a:pt x="66" y="342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6" y="336"/>
                  </a:lnTo>
                  <a:lnTo>
                    <a:pt x="66" y="342"/>
                  </a:lnTo>
                  <a:lnTo>
                    <a:pt x="72" y="348"/>
                  </a:lnTo>
                  <a:lnTo>
                    <a:pt x="78" y="354"/>
                  </a:lnTo>
                  <a:lnTo>
                    <a:pt x="84" y="360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0" y="360"/>
                  </a:lnTo>
                  <a:lnTo>
                    <a:pt x="84" y="360"/>
                  </a:lnTo>
                  <a:lnTo>
                    <a:pt x="84" y="354"/>
                  </a:lnTo>
                  <a:lnTo>
                    <a:pt x="78" y="348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66" y="330"/>
                  </a:lnTo>
                  <a:lnTo>
                    <a:pt x="66" y="324"/>
                  </a:lnTo>
                  <a:lnTo>
                    <a:pt x="60" y="318"/>
                  </a:lnTo>
                  <a:lnTo>
                    <a:pt x="60" y="312"/>
                  </a:lnTo>
                  <a:lnTo>
                    <a:pt x="54" y="306"/>
                  </a:lnTo>
                  <a:lnTo>
                    <a:pt x="54" y="300"/>
                  </a:lnTo>
                  <a:lnTo>
                    <a:pt x="54" y="294"/>
                  </a:lnTo>
                  <a:lnTo>
                    <a:pt x="48" y="288"/>
                  </a:lnTo>
                  <a:lnTo>
                    <a:pt x="48" y="294"/>
                  </a:lnTo>
                  <a:lnTo>
                    <a:pt x="48" y="288"/>
                  </a:lnTo>
                  <a:lnTo>
                    <a:pt x="48" y="282"/>
                  </a:lnTo>
                  <a:lnTo>
                    <a:pt x="48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18" y="216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62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68"/>
                  </a:lnTo>
                  <a:lnTo>
                    <a:pt x="42" y="168"/>
                  </a:lnTo>
                  <a:lnTo>
                    <a:pt x="42" y="174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86"/>
                  </a:lnTo>
                  <a:close/>
                  <a:moveTo>
                    <a:pt x="642" y="660"/>
                  </a:moveTo>
                  <a:lnTo>
                    <a:pt x="642" y="666"/>
                  </a:lnTo>
                  <a:lnTo>
                    <a:pt x="648" y="666"/>
                  </a:lnTo>
                  <a:lnTo>
                    <a:pt x="648" y="672"/>
                  </a:lnTo>
                  <a:lnTo>
                    <a:pt x="648" y="678"/>
                  </a:lnTo>
                  <a:lnTo>
                    <a:pt x="654" y="678"/>
                  </a:lnTo>
                  <a:lnTo>
                    <a:pt x="654" y="684"/>
                  </a:lnTo>
                  <a:lnTo>
                    <a:pt x="660" y="684"/>
                  </a:lnTo>
                  <a:lnTo>
                    <a:pt x="660" y="690"/>
                  </a:lnTo>
                  <a:lnTo>
                    <a:pt x="654" y="690"/>
                  </a:lnTo>
                  <a:lnTo>
                    <a:pt x="648" y="690"/>
                  </a:lnTo>
                  <a:lnTo>
                    <a:pt x="636" y="696"/>
                  </a:lnTo>
                  <a:lnTo>
                    <a:pt x="630" y="696"/>
                  </a:lnTo>
                  <a:lnTo>
                    <a:pt x="624" y="696"/>
                  </a:lnTo>
                  <a:lnTo>
                    <a:pt x="618" y="696"/>
                  </a:lnTo>
                  <a:lnTo>
                    <a:pt x="612" y="696"/>
                  </a:lnTo>
                  <a:lnTo>
                    <a:pt x="594" y="696"/>
                  </a:lnTo>
                  <a:lnTo>
                    <a:pt x="588" y="696"/>
                  </a:lnTo>
                  <a:lnTo>
                    <a:pt x="582" y="696"/>
                  </a:lnTo>
                  <a:lnTo>
                    <a:pt x="570" y="702"/>
                  </a:lnTo>
                  <a:lnTo>
                    <a:pt x="564" y="702"/>
                  </a:lnTo>
                  <a:lnTo>
                    <a:pt x="558" y="702"/>
                  </a:lnTo>
                  <a:lnTo>
                    <a:pt x="552" y="702"/>
                  </a:lnTo>
                  <a:lnTo>
                    <a:pt x="552" y="696"/>
                  </a:lnTo>
                  <a:lnTo>
                    <a:pt x="546" y="696"/>
                  </a:lnTo>
                  <a:lnTo>
                    <a:pt x="546" y="690"/>
                  </a:lnTo>
                  <a:lnTo>
                    <a:pt x="552" y="684"/>
                  </a:lnTo>
                  <a:lnTo>
                    <a:pt x="552" y="678"/>
                  </a:lnTo>
                  <a:lnTo>
                    <a:pt x="558" y="672"/>
                  </a:lnTo>
                  <a:lnTo>
                    <a:pt x="558" y="666"/>
                  </a:lnTo>
                  <a:lnTo>
                    <a:pt x="564" y="666"/>
                  </a:lnTo>
                  <a:lnTo>
                    <a:pt x="570" y="666"/>
                  </a:lnTo>
                  <a:lnTo>
                    <a:pt x="570" y="654"/>
                  </a:lnTo>
                  <a:lnTo>
                    <a:pt x="570" y="648"/>
                  </a:lnTo>
                  <a:lnTo>
                    <a:pt x="582" y="642"/>
                  </a:lnTo>
                  <a:lnTo>
                    <a:pt x="582" y="636"/>
                  </a:lnTo>
                  <a:lnTo>
                    <a:pt x="588" y="636"/>
                  </a:lnTo>
                  <a:lnTo>
                    <a:pt x="588" y="630"/>
                  </a:lnTo>
                  <a:lnTo>
                    <a:pt x="594" y="624"/>
                  </a:lnTo>
                  <a:lnTo>
                    <a:pt x="594" y="618"/>
                  </a:lnTo>
                  <a:lnTo>
                    <a:pt x="600" y="618"/>
                  </a:lnTo>
                  <a:lnTo>
                    <a:pt x="600" y="612"/>
                  </a:lnTo>
                  <a:lnTo>
                    <a:pt x="606" y="612"/>
                  </a:lnTo>
                  <a:lnTo>
                    <a:pt x="606" y="618"/>
                  </a:lnTo>
                  <a:lnTo>
                    <a:pt x="612" y="618"/>
                  </a:lnTo>
                  <a:lnTo>
                    <a:pt x="618" y="618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18" y="636"/>
                  </a:lnTo>
                  <a:lnTo>
                    <a:pt x="618" y="642"/>
                  </a:lnTo>
                  <a:lnTo>
                    <a:pt x="618" y="648"/>
                  </a:lnTo>
                  <a:lnTo>
                    <a:pt x="624" y="648"/>
                  </a:lnTo>
                  <a:lnTo>
                    <a:pt x="630" y="648"/>
                  </a:lnTo>
                  <a:lnTo>
                    <a:pt x="636" y="654"/>
                  </a:lnTo>
                  <a:lnTo>
                    <a:pt x="642" y="654"/>
                  </a:lnTo>
                  <a:lnTo>
                    <a:pt x="642" y="66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0" name="Freeform 5">
              <a:extLst>
                <a:ext uri="{FF2B5EF4-FFF2-40B4-BE49-F238E27FC236}">
                  <a16:creationId xmlns:a16="http://schemas.microsoft.com/office/drawing/2014/main" id="{5577BDCA-F2C7-42E0-A391-018D79AA29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0384" y="4231013"/>
              <a:ext cx="404750" cy="480848"/>
            </a:xfrm>
            <a:custGeom>
              <a:avLst/>
              <a:gdLst>
                <a:gd name="T0" fmla="*/ 9 w 762"/>
                <a:gd name="T1" fmla="*/ 58 h 900"/>
                <a:gd name="T2" fmla="*/ 4 w 762"/>
                <a:gd name="T3" fmla="*/ 56 h 900"/>
                <a:gd name="T4" fmla="*/ 0 w 762"/>
                <a:gd name="T5" fmla="*/ 49 h 900"/>
                <a:gd name="T6" fmla="*/ 4 w 762"/>
                <a:gd name="T7" fmla="*/ 36 h 900"/>
                <a:gd name="T8" fmla="*/ 8 w 762"/>
                <a:gd name="T9" fmla="*/ 28 h 900"/>
                <a:gd name="T10" fmla="*/ 7 w 762"/>
                <a:gd name="T11" fmla="*/ 13 h 900"/>
                <a:gd name="T12" fmla="*/ 15 w 762"/>
                <a:gd name="T13" fmla="*/ 0 h 900"/>
                <a:gd name="T14" fmla="*/ 16 w 762"/>
                <a:gd name="T15" fmla="*/ 13 h 900"/>
                <a:gd name="T16" fmla="*/ 31 w 762"/>
                <a:gd name="T17" fmla="*/ 28 h 900"/>
                <a:gd name="T18" fmla="*/ 49 w 762"/>
                <a:gd name="T19" fmla="*/ 33 h 900"/>
                <a:gd name="T20" fmla="*/ 42 w 762"/>
                <a:gd name="T21" fmla="*/ 48 h 900"/>
                <a:gd name="T22" fmla="*/ 51 w 762"/>
                <a:gd name="T23" fmla="*/ 48 h 900"/>
                <a:gd name="T24" fmla="*/ 61 w 762"/>
                <a:gd name="T25" fmla="*/ 51 h 900"/>
                <a:gd name="T26" fmla="*/ 63 w 762"/>
                <a:gd name="T27" fmla="*/ 60 h 900"/>
                <a:gd name="T28" fmla="*/ 63 w 762"/>
                <a:gd name="T29" fmla="*/ 66 h 900"/>
                <a:gd name="T30" fmla="*/ 65 w 762"/>
                <a:gd name="T31" fmla="*/ 69 h 900"/>
                <a:gd name="T32" fmla="*/ 66 w 762"/>
                <a:gd name="T33" fmla="*/ 72 h 900"/>
                <a:gd name="T34" fmla="*/ 56 w 762"/>
                <a:gd name="T35" fmla="*/ 73 h 900"/>
                <a:gd name="T36" fmla="*/ 55 w 762"/>
                <a:gd name="T37" fmla="*/ 69 h 900"/>
                <a:gd name="T38" fmla="*/ 57 w 762"/>
                <a:gd name="T39" fmla="*/ 67 h 900"/>
                <a:gd name="T40" fmla="*/ 55 w 762"/>
                <a:gd name="T41" fmla="*/ 65 h 900"/>
                <a:gd name="T42" fmla="*/ 53 w 762"/>
                <a:gd name="T43" fmla="*/ 68 h 900"/>
                <a:gd name="T44" fmla="*/ 49 w 762"/>
                <a:gd name="T45" fmla="*/ 68 h 900"/>
                <a:gd name="T46" fmla="*/ 44 w 762"/>
                <a:gd name="T47" fmla="*/ 63 h 900"/>
                <a:gd name="T48" fmla="*/ 40 w 762"/>
                <a:gd name="T49" fmla="*/ 59 h 900"/>
                <a:gd name="T50" fmla="*/ 38 w 762"/>
                <a:gd name="T51" fmla="*/ 57 h 900"/>
                <a:gd name="T52" fmla="*/ 43 w 762"/>
                <a:gd name="T53" fmla="*/ 62 h 900"/>
                <a:gd name="T54" fmla="*/ 43 w 762"/>
                <a:gd name="T55" fmla="*/ 66 h 900"/>
                <a:gd name="T56" fmla="*/ 41 w 762"/>
                <a:gd name="T57" fmla="*/ 71 h 900"/>
                <a:gd name="T58" fmla="*/ 37 w 762"/>
                <a:gd name="T59" fmla="*/ 69 h 900"/>
                <a:gd name="T60" fmla="*/ 35 w 762"/>
                <a:gd name="T61" fmla="*/ 64 h 900"/>
                <a:gd name="T62" fmla="*/ 31 w 762"/>
                <a:gd name="T63" fmla="*/ 57 h 900"/>
                <a:gd name="T64" fmla="*/ 30 w 762"/>
                <a:gd name="T65" fmla="*/ 62 h 900"/>
                <a:gd name="T66" fmla="*/ 29 w 762"/>
                <a:gd name="T67" fmla="*/ 61 h 900"/>
                <a:gd name="T68" fmla="*/ 31 w 762"/>
                <a:gd name="T69" fmla="*/ 66 h 900"/>
                <a:gd name="T70" fmla="*/ 33 w 762"/>
                <a:gd name="T71" fmla="*/ 72 h 900"/>
                <a:gd name="T72" fmla="*/ 32 w 762"/>
                <a:gd name="T73" fmla="*/ 76 h 900"/>
                <a:gd name="T74" fmla="*/ 28 w 762"/>
                <a:gd name="T75" fmla="*/ 75 h 900"/>
                <a:gd name="T76" fmla="*/ 24 w 762"/>
                <a:gd name="T77" fmla="*/ 69 h 900"/>
                <a:gd name="T78" fmla="*/ 24 w 762"/>
                <a:gd name="T79" fmla="*/ 62 h 900"/>
                <a:gd name="T80" fmla="*/ 23 w 762"/>
                <a:gd name="T81" fmla="*/ 62 h 900"/>
                <a:gd name="T82" fmla="*/ 23 w 762"/>
                <a:gd name="T83" fmla="*/ 68 h 900"/>
                <a:gd name="T84" fmla="*/ 25 w 762"/>
                <a:gd name="T85" fmla="*/ 77 h 900"/>
                <a:gd name="T86" fmla="*/ 17 w 762"/>
                <a:gd name="T87" fmla="*/ 74 h 900"/>
                <a:gd name="T88" fmla="*/ 17 w 762"/>
                <a:gd name="T89" fmla="*/ 67 h 900"/>
                <a:gd name="T90" fmla="*/ 16 w 762"/>
                <a:gd name="T91" fmla="*/ 67 h 900"/>
                <a:gd name="T92" fmla="*/ 15 w 762"/>
                <a:gd name="T93" fmla="*/ 71 h 900"/>
                <a:gd name="T94" fmla="*/ 12 w 762"/>
                <a:gd name="T95" fmla="*/ 68 h 900"/>
                <a:gd name="T96" fmla="*/ 15 w 762"/>
                <a:gd name="T97" fmla="*/ 72 h 900"/>
                <a:gd name="T98" fmla="*/ 17 w 762"/>
                <a:gd name="T99" fmla="*/ 77 h 900"/>
                <a:gd name="T100" fmla="*/ 11 w 762"/>
                <a:gd name="T101" fmla="*/ 77 h 900"/>
                <a:gd name="T102" fmla="*/ 10 w 762"/>
                <a:gd name="T103" fmla="*/ 69 h 900"/>
                <a:gd name="T104" fmla="*/ 11 w 762"/>
                <a:gd name="T105" fmla="*/ 72 h 900"/>
                <a:gd name="T106" fmla="*/ 9 w 762"/>
                <a:gd name="T107" fmla="*/ 78 h 900"/>
                <a:gd name="T108" fmla="*/ 43 w 762"/>
                <a:gd name="T109" fmla="*/ 71 h 900"/>
                <a:gd name="T110" fmla="*/ 51 w 762"/>
                <a:gd name="T111" fmla="*/ 69 h 900"/>
                <a:gd name="T112" fmla="*/ 43 w 762"/>
                <a:gd name="T113" fmla="*/ 76 h 900"/>
                <a:gd name="T114" fmla="*/ 36 w 762"/>
                <a:gd name="T115" fmla="*/ 65 h 900"/>
                <a:gd name="T116" fmla="*/ 38 w 762"/>
                <a:gd name="T117" fmla="*/ 72 h 900"/>
                <a:gd name="T118" fmla="*/ 34 w 762"/>
                <a:gd name="T119" fmla="*/ 69 h 900"/>
                <a:gd name="T120" fmla="*/ 29 w 762"/>
                <a:gd name="T121" fmla="*/ 64 h 900"/>
                <a:gd name="T122" fmla="*/ 32 w 762"/>
                <a:gd name="T123" fmla="*/ 66 h 9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900"/>
                <a:gd name="T188" fmla="*/ 762 w 762"/>
                <a:gd name="T189" fmla="*/ 900 h 90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900">
                  <a:moveTo>
                    <a:pt x="90" y="768"/>
                  </a:moveTo>
                  <a:lnTo>
                    <a:pt x="102" y="756"/>
                  </a:lnTo>
                  <a:lnTo>
                    <a:pt x="102" y="750"/>
                  </a:lnTo>
                  <a:lnTo>
                    <a:pt x="90" y="744"/>
                  </a:lnTo>
                  <a:lnTo>
                    <a:pt x="84" y="738"/>
                  </a:lnTo>
                  <a:lnTo>
                    <a:pt x="90" y="726"/>
                  </a:lnTo>
                  <a:lnTo>
                    <a:pt x="84" y="720"/>
                  </a:lnTo>
                  <a:lnTo>
                    <a:pt x="78" y="720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72" y="702"/>
                  </a:lnTo>
                  <a:lnTo>
                    <a:pt x="72" y="696"/>
                  </a:lnTo>
                  <a:lnTo>
                    <a:pt x="84" y="684"/>
                  </a:lnTo>
                  <a:lnTo>
                    <a:pt x="96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102" y="654"/>
                  </a:lnTo>
                  <a:lnTo>
                    <a:pt x="108" y="654"/>
                  </a:lnTo>
                  <a:lnTo>
                    <a:pt x="114" y="648"/>
                  </a:lnTo>
                  <a:lnTo>
                    <a:pt x="120" y="642"/>
                  </a:lnTo>
                  <a:lnTo>
                    <a:pt x="120" y="636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14" y="618"/>
                  </a:lnTo>
                  <a:lnTo>
                    <a:pt x="102" y="618"/>
                  </a:lnTo>
                  <a:lnTo>
                    <a:pt x="90" y="618"/>
                  </a:lnTo>
                  <a:lnTo>
                    <a:pt x="78" y="624"/>
                  </a:lnTo>
                  <a:lnTo>
                    <a:pt x="72" y="630"/>
                  </a:lnTo>
                  <a:lnTo>
                    <a:pt x="54" y="642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42" y="642"/>
                  </a:lnTo>
                  <a:lnTo>
                    <a:pt x="42" y="636"/>
                  </a:lnTo>
                  <a:lnTo>
                    <a:pt x="36" y="636"/>
                  </a:lnTo>
                  <a:lnTo>
                    <a:pt x="30" y="642"/>
                  </a:lnTo>
                  <a:lnTo>
                    <a:pt x="30" y="636"/>
                  </a:lnTo>
                  <a:lnTo>
                    <a:pt x="30" y="630"/>
                  </a:lnTo>
                  <a:lnTo>
                    <a:pt x="24" y="630"/>
                  </a:lnTo>
                  <a:lnTo>
                    <a:pt x="30" y="624"/>
                  </a:lnTo>
                  <a:lnTo>
                    <a:pt x="30" y="618"/>
                  </a:lnTo>
                  <a:lnTo>
                    <a:pt x="30" y="612"/>
                  </a:lnTo>
                  <a:lnTo>
                    <a:pt x="36" y="612"/>
                  </a:lnTo>
                  <a:lnTo>
                    <a:pt x="36" y="606"/>
                  </a:lnTo>
                  <a:lnTo>
                    <a:pt x="30" y="606"/>
                  </a:lnTo>
                  <a:lnTo>
                    <a:pt x="24" y="612"/>
                  </a:lnTo>
                  <a:lnTo>
                    <a:pt x="18" y="606"/>
                  </a:lnTo>
                  <a:lnTo>
                    <a:pt x="12" y="594"/>
                  </a:lnTo>
                  <a:lnTo>
                    <a:pt x="6" y="582"/>
                  </a:lnTo>
                  <a:lnTo>
                    <a:pt x="6" y="570"/>
                  </a:lnTo>
                  <a:lnTo>
                    <a:pt x="0" y="558"/>
                  </a:lnTo>
                  <a:lnTo>
                    <a:pt x="6" y="552"/>
                  </a:lnTo>
                  <a:lnTo>
                    <a:pt x="6" y="534"/>
                  </a:lnTo>
                  <a:lnTo>
                    <a:pt x="18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12" y="480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54" y="408"/>
                  </a:lnTo>
                  <a:lnTo>
                    <a:pt x="54" y="396"/>
                  </a:lnTo>
                  <a:lnTo>
                    <a:pt x="54" y="384"/>
                  </a:lnTo>
                  <a:lnTo>
                    <a:pt x="60" y="378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66"/>
                  </a:lnTo>
                  <a:lnTo>
                    <a:pt x="60" y="360"/>
                  </a:lnTo>
                  <a:lnTo>
                    <a:pt x="66" y="360"/>
                  </a:lnTo>
                  <a:lnTo>
                    <a:pt x="72" y="354"/>
                  </a:lnTo>
                  <a:lnTo>
                    <a:pt x="78" y="354"/>
                  </a:lnTo>
                  <a:lnTo>
                    <a:pt x="84" y="348"/>
                  </a:lnTo>
                  <a:lnTo>
                    <a:pt x="96" y="348"/>
                  </a:lnTo>
                  <a:lnTo>
                    <a:pt x="96" y="342"/>
                  </a:lnTo>
                  <a:lnTo>
                    <a:pt x="96" y="336"/>
                  </a:lnTo>
                  <a:lnTo>
                    <a:pt x="96" y="330"/>
                  </a:lnTo>
                  <a:lnTo>
                    <a:pt x="96" y="324"/>
                  </a:lnTo>
                  <a:lnTo>
                    <a:pt x="102" y="318"/>
                  </a:lnTo>
                  <a:lnTo>
                    <a:pt x="108" y="312"/>
                  </a:lnTo>
                  <a:lnTo>
                    <a:pt x="96" y="306"/>
                  </a:lnTo>
                  <a:lnTo>
                    <a:pt x="84" y="288"/>
                  </a:lnTo>
                  <a:lnTo>
                    <a:pt x="108" y="258"/>
                  </a:lnTo>
                  <a:lnTo>
                    <a:pt x="102" y="222"/>
                  </a:lnTo>
                  <a:lnTo>
                    <a:pt x="84" y="222"/>
                  </a:lnTo>
                  <a:lnTo>
                    <a:pt x="54" y="216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2"/>
                  </a:lnTo>
                  <a:lnTo>
                    <a:pt x="72" y="192"/>
                  </a:lnTo>
                  <a:lnTo>
                    <a:pt x="84" y="186"/>
                  </a:lnTo>
                  <a:lnTo>
                    <a:pt x="90" y="186"/>
                  </a:lnTo>
                  <a:lnTo>
                    <a:pt x="90" y="174"/>
                  </a:lnTo>
                  <a:lnTo>
                    <a:pt x="84" y="162"/>
                  </a:lnTo>
                  <a:lnTo>
                    <a:pt x="84" y="150"/>
                  </a:lnTo>
                  <a:lnTo>
                    <a:pt x="84" y="126"/>
                  </a:lnTo>
                  <a:lnTo>
                    <a:pt x="84" y="114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8" y="96"/>
                  </a:lnTo>
                  <a:lnTo>
                    <a:pt x="120" y="90"/>
                  </a:lnTo>
                  <a:lnTo>
                    <a:pt x="126" y="78"/>
                  </a:lnTo>
                  <a:lnTo>
                    <a:pt x="138" y="66"/>
                  </a:lnTo>
                  <a:lnTo>
                    <a:pt x="138" y="48"/>
                  </a:lnTo>
                  <a:lnTo>
                    <a:pt x="138" y="42"/>
                  </a:lnTo>
                  <a:lnTo>
                    <a:pt x="126" y="30"/>
                  </a:lnTo>
                  <a:lnTo>
                    <a:pt x="120" y="18"/>
                  </a:lnTo>
                  <a:lnTo>
                    <a:pt x="132" y="12"/>
                  </a:lnTo>
                  <a:lnTo>
                    <a:pt x="144" y="0"/>
                  </a:lnTo>
                  <a:lnTo>
                    <a:pt x="150" y="6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6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74" y="66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68" y="72"/>
                  </a:lnTo>
                  <a:lnTo>
                    <a:pt x="156" y="150"/>
                  </a:lnTo>
                  <a:lnTo>
                    <a:pt x="168" y="144"/>
                  </a:lnTo>
                  <a:lnTo>
                    <a:pt x="180" y="150"/>
                  </a:lnTo>
                  <a:lnTo>
                    <a:pt x="186" y="150"/>
                  </a:lnTo>
                  <a:lnTo>
                    <a:pt x="186" y="144"/>
                  </a:lnTo>
                  <a:lnTo>
                    <a:pt x="192" y="150"/>
                  </a:lnTo>
                  <a:lnTo>
                    <a:pt x="222" y="150"/>
                  </a:lnTo>
                  <a:lnTo>
                    <a:pt x="222" y="168"/>
                  </a:lnTo>
                  <a:lnTo>
                    <a:pt x="222" y="186"/>
                  </a:lnTo>
                  <a:lnTo>
                    <a:pt x="234" y="198"/>
                  </a:lnTo>
                  <a:lnTo>
                    <a:pt x="234" y="234"/>
                  </a:lnTo>
                  <a:lnTo>
                    <a:pt x="228" y="270"/>
                  </a:lnTo>
                  <a:lnTo>
                    <a:pt x="246" y="282"/>
                  </a:lnTo>
                  <a:lnTo>
                    <a:pt x="258" y="294"/>
                  </a:lnTo>
                  <a:lnTo>
                    <a:pt x="270" y="300"/>
                  </a:lnTo>
                  <a:lnTo>
                    <a:pt x="294" y="300"/>
                  </a:lnTo>
                  <a:lnTo>
                    <a:pt x="288" y="306"/>
                  </a:lnTo>
                  <a:lnTo>
                    <a:pt x="300" y="312"/>
                  </a:lnTo>
                  <a:lnTo>
                    <a:pt x="306" y="318"/>
                  </a:lnTo>
                  <a:lnTo>
                    <a:pt x="324" y="324"/>
                  </a:lnTo>
                  <a:lnTo>
                    <a:pt x="354" y="318"/>
                  </a:lnTo>
                  <a:lnTo>
                    <a:pt x="354" y="312"/>
                  </a:lnTo>
                  <a:lnTo>
                    <a:pt x="366" y="312"/>
                  </a:lnTo>
                  <a:lnTo>
                    <a:pt x="384" y="312"/>
                  </a:lnTo>
                  <a:lnTo>
                    <a:pt x="390" y="306"/>
                  </a:lnTo>
                  <a:lnTo>
                    <a:pt x="396" y="306"/>
                  </a:lnTo>
                  <a:lnTo>
                    <a:pt x="408" y="306"/>
                  </a:lnTo>
                  <a:lnTo>
                    <a:pt x="426" y="312"/>
                  </a:lnTo>
                  <a:lnTo>
                    <a:pt x="456" y="324"/>
                  </a:lnTo>
                  <a:lnTo>
                    <a:pt x="504" y="330"/>
                  </a:lnTo>
                  <a:lnTo>
                    <a:pt x="510" y="336"/>
                  </a:lnTo>
                  <a:lnTo>
                    <a:pt x="534" y="336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58" y="330"/>
                  </a:lnTo>
                  <a:lnTo>
                    <a:pt x="564" y="330"/>
                  </a:lnTo>
                  <a:lnTo>
                    <a:pt x="570" y="354"/>
                  </a:lnTo>
                  <a:lnTo>
                    <a:pt x="564" y="378"/>
                  </a:lnTo>
                  <a:lnTo>
                    <a:pt x="558" y="396"/>
                  </a:lnTo>
                  <a:lnTo>
                    <a:pt x="546" y="414"/>
                  </a:lnTo>
                  <a:lnTo>
                    <a:pt x="546" y="438"/>
                  </a:lnTo>
                  <a:lnTo>
                    <a:pt x="540" y="456"/>
                  </a:lnTo>
                  <a:lnTo>
                    <a:pt x="540" y="474"/>
                  </a:lnTo>
                  <a:lnTo>
                    <a:pt x="528" y="480"/>
                  </a:lnTo>
                  <a:lnTo>
                    <a:pt x="522" y="492"/>
                  </a:lnTo>
                  <a:lnTo>
                    <a:pt x="504" y="498"/>
                  </a:lnTo>
                  <a:lnTo>
                    <a:pt x="498" y="498"/>
                  </a:lnTo>
                  <a:lnTo>
                    <a:pt x="492" y="504"/>
                  </a:lnTo>
                  <a:lnTo>
                    <a:pt x="486" y="510"/>
                  </a:lnTo>
                  <a:lnTo>
                    <a:pt x="480" y="510"/>
                  </a:lnTo>
                  <a:lnTo>
                    <a:pt x="480" y="516"/>
                  </a:lnTo>
                  <a:lnTo>
                    <a:pt x="474" y="522"/>
                  </a:lnTo>
                  <a:lnTo>
                    <a:pt x="474" y="528"/>
                  </a:lnTo>
                  <a:lnTo>
                    <a:pt x="474" y="534"/>
                  </a:lnTo>
                  <a:lnTo>
                    <a:pt x="480" y="540"/>
                  </a:lnTo>
                  <a:lnTo>
                    <a:pt x="492" y="540"/>
                  </a:lnTo>
                  <a:lnTo>
                    <a:pt x="498" y="546"/>
                  </a:lnTo>
                  <a:lnTo>
                    <a:pt x="504" y="552"/>
                  </a:lnTo>
                  <a:lnTo>
                    <a:pt x="510" y="552"/>
                  </a:lnTo>
                  <a:lnTo>
                    <a:pt x="516" y="558"/>
                  </a:lnTo>
                  <a:lnTo>
                    <a:pt x="528" y="558"/>
                  </a:lnTo>
                  <a:lnTo>
                    <a:pt x="534" y="552"/>
                  </a:lnTo>
                  <a:lnTo>
                    <a:pt x="540" y="552"/>
                  </a:lnTo>
                  <a:lnTo>
                    <a:pt x="546" y="552"/>
                  </a:lnTo>
                  <a:lnTo>
                    <a:pt x="558" y="546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70" y="546"/>
                  </a:lnTo>
                  <a:lnTo>
                    <a:pt x="570" y="540"/>
                  </a:lnTo>
                  <a:lnTo>
                    <a:pt x="570" y="546"/>
                  </a:lnTo>
                  <a:lnTo>
                    <a:pt x="576" y="546"/>
                  </a:lnTo>
                  <a:lnTo>
                    <a:pt x="582" y="546"/>
                  </a:lnTo>
                  <a:lnTo>
                    <a:pt x="588" y="540"/>
                  </a:lnTo>
                  <a:lnTo>
                    <a:pt x="594" y="546"/>
                  </a:lnTo>
                  <a:lnTo>
                    <a:pt x="606" y="546"/>
                  </a:lnTo>
                  <a:lnTo>
                    <a:pt x="612" y="546"/>
                  </a:lnTo>
                  <a:lnTo>
                    <a:pt x="612" y="552"/>
                  </a:lnTo>
                  <a:lnTo>
                    <a:pt x="618" y="552"/>
                  </a:lnTo>
                  <a:lnTo>
                    <a:pt x="624" y="552"/>
                  </a:lnTo>
                  <a:lnTo>
                    <a:pt x="630" y="552"/>
                  </a:lnTo>
                  <a:lnTo>
                    <a:pt x="648" y="546"/>
                  </a:lnTo>
                  <a:lnTo>
                    <a:pt x="654" y="546"/>
                  </a:lnTo>
                  <a:lnTo>
                    <a:pt x="654" y="552"/>
                  </a:lnTo>
                  <a:lnTo>
                    <a:pt x="660" y="558"/>
                  </a:lnTo>
                  <a:lnTo>
                    <a:pt x="666" y="564"/>
                  </a:lnTo>
                  <a:lnTo>
                    <a:pt x="672" y="564"/>
                  </a:lnTo>
                  <a:lnTo>
                    <a:pt x="678" y="564"/>
                  </a:lnTo>
                  <a:lnTo>
                    <a:pt x="696" y="576"/>
                  </a:lnTo>
                  <a:lnTo>
                    <a:pt x="696" y="582"/>
                  </a:lnTo>
                  <a:lnTo>
                    <a:pt x="708" y="588"/>
                  </a:lnTo>
                  <a:lnTo>
                    <a:pt x="708" y="594"/>
                  </a:lnTo>
                  <a:lnTo>
                    <a:pt x="720" y="606"/>
                  </a:lnTo>
                  <a:lnTo>
                    <a:pt x="720" y="618"/>
                  </a:lnTo>
                  <a:lnTo>
                    <a:pt x="720" y="624"/>
                  </a:lnTo>
                  <a:lnTo>
                    <a:pt x="726" y="630"/>
                  </a:lnTo>
                  <a:lnTo>
                    <a:pt x="732" y="636"/>
                  </a:lnTo>
                  <a:lnTo>
                    <a:pt x="732" y="642"/>
                  </a:lnTo>
                  <a:lnTo>
                    <a:pt x="732" y="648"/>
                  </a:lnTo>
                  <a:lnTo>
                    <a:pt x="726" y="654"/>
                  </a:lnTo>
                  <a:lnTo>
                    <a:pt x="720" y="660"/>
                  </a:lnTo>
                  <a:lnTo>
                    <a:pt x="714" y="666"/>
                  </a:lnTo>
                  <a:lnTo>
                    <a:pt x="714" y="672"/>
                  </a:lnTo>
                  <a:lnTo>
                    <a:pt x="714" y="678"/>
                  </a:lnTo>
                  <a:lnTo>
                    <a:pt x="720" y="678"/>
                  </a:lnTo>
                  <a:lnTo>
                    <a:pt x="720" y="684"/>
                  </a:lnTo>
                  <a:lnTo>
                    <a:pt x="714" y="690"/>
                  </a:lnTo>
                  <a:lnTo>
                    <a:pt x="714" y="696"/>
                  </a:lnTo>
                  <a:lnTo>
                    <a:pt x="714" y="702"/>
                  </a:lnTo>
                  <a:lnTo>
                    <a:pt x="714" y="708"/>
                  </a:lnTo>
                  <a:lnTo>
                    <a:pt x="720" y="708"/>
                  </a:lnTo>
                  <a:lnTo>
                    <a:pt x="720" y="720"/>
                  </a:lnTo>
                  <a:lnTo>
                    <a:pt x="720" y="726"/>
                  </a:lnTo>
                  <a:lnTo>
                    <a:pt x="726" y="726"/>
                  </a:lnTo>
                  <a:lnTo>
                    <a:pt x="726" y="732"/>
                  </a:lnTo>
                  <a:lnTo>
                    <a:pt x="732" y="732"/>
                  </a:lnTo>
                  <a:lnTo>
                    <a:pt x="732" y="738"/>
                  </a:lnTo>
                  <a:lnTo>
                    <a:pt x="726" y="738"/>
                  </a:lnTo>
                  <a:lnTo>
                    <a:pt x="720" y="738"/>
                  </a:lnTo>
                  <a:lnTo>
                    <a:pt x="720" y="744"/>
                  </a:lnTo>
                  <a:lnTo>
                    <a:pt x="720" y="750"/>
                  </a:lnTo>
                  <a:lnTo>
                    <a:pt x="714" y="750"/>
                  </a:lnTo>
                  <a:lnTo>
                    <a:pt x="714" y="756"/>
                  </a:lnTo>
                  <a:lnTo>
                    <a:pt x="720" y="756"/>
                  </a:lnTo>
                  <a:lnTo>
                    <a:pt x="714" y="762"/>
                  </a:lnTo>
                  <a:lnTo>
                    <a:pt x="720" y="762"/>
                  </a:lnTo>
                  <a:lnTo>
                    <a:pt x="726" y="768"/>
                  </a:lnTo>
                  <a:lnTo>
                    <a:pt x="726" y="774"/>
                  </a:lnTo>
                  <a:lnTo>
                    <a:pt x="732" y="774"/>
                  </a:lnTo>
                  <a:lnTo>
                    <a:pt x="732" y="780"/>
                  </a:lnTo>
                  <a:lnTo>
                    <a:pt x="726" y="780"/>
                  </a:lnTo>
                  <a:lnTo>
                    <a:pt x="726" y="786"/>
                  </a:lnTo>
                  <a:lnTo>
                    <a:pt x="720" y="786"/>
                  </a:lnTo>
                  <a:lnTo>
                    <a:pt x="726" y="786"/>
                  </a:lnTo>
                  <a:lnTo>
                    <a:pt x="732" y="780"/>
                  </a:lnTo>
                  <a:lnTo>
                    <a:pt x="738" y="780"/>
                  </a:lnTo>
                  <a:lnTo>
                    <a:pt x="744" y="780"/>
                  </a:lnTo>
                  <a:lnTo>
                    <a:pt x="744" y="786"/>
                  </a:lnTo>
                  <a:lnTo>
                    <a:pt x="750" y="786"/>
                  </a:lnTo>
                  <a:lnTo>
                    <a:pt x="744" y="786"/>
                  </a:lnTo>
                  <a:lnTo>
                    <a:pt x="744" y="792"/>
                  </a:lnTo>
                  <a:lnTo>
                    <a:pt x="744" y="786"/>
                  </a:lnTo>
                  <a:lnTo>
                    <a:pt x="738" y="792"/>
                  </a:lnTo>
                  <a:lnTo>
                    <a:pt x="744" y="792"/>
                  </a:lnTo>
                  <a:lnTo>
                    <a:pt x="750" y="792"/>
                  </a:lnTo>
                  <a:lnTo>
                    <a:pt x="750" y="786"/>
                  </a:lnTo>
                  <a:lnTo>
                    <a:pt x="756" y="786"/>
                  </a:lnTo>
                  <a:lnTo>
                    <a:pt x="756" y="792"/>
                  </a:lnTo>
                  <a:lnTo>
                    <a:pt x="762" y="792"/>
                  </a:lnTo>
                  <a:lnTo>
                    <a:pt x="756" y="798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0" y="810"/>
                  </a:lnTo>
                  <a:lnTo>
                    <a:pt x="756" y="810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6" y="816"/>
                  </a:lnTo>
                  <a:lnTo>
                    <a:pt x="750" y="816"/>
                  </a:lnTo>
                  <a:lnTo>
                    <a:pt x="738" y="810"/>
                  </a:lnTo>
                  <a:lnTo>
                    <a:pt x="732" y="810"/>
                  </a:lnTo>
                  <a:lnTo>
                    <a:pt x="732" y="816"/>
                  </a:lnTo>
                  <a:lnTo>
                    <a:pt x="726" y="810"/>
                  </a:lnTo>
                  <a:lnTo>
                    <a:pt x="714" y="816"/>
                  </a:lnTo>
                  <a:lnTo>
                    <a:pt x="708" y="816"/>
                  </a:lnTo>
                  <a:lnTo>
                    <a:pt x="702" y="816"/>
                  </a:lnTo>
                  <a:lnTo>
                    <a:pt x="696" y="816"/>
                  </a:lnTo>
                  <a:lnTo>
                    <a:pt x="690" y="822"/>
                  </a:lnTo>
                  <a:lnTo>
                    <a:pt x="684" y="822"/>
                  </a:lnTo>
                  <a:lnTo>
                    <a:pt x="678" y="822"/>
                  </a:lnTo>
                  <a:lnTo>
                    <a:pt x="672" y="822"/>
                  </a:lnTo>
                  <a:lnTo>
                    <a:pt x="666" y="822"/>
                  </a:lnTo>
                  <a:lnTo>
                    <a:pt x="666" y="828"/>
                  </a:lnTo>
                  <a:lnTo>
                    <a:pt x="654" y="828"/>
                  </a:lnTo>
                  <a:lnTo>
                    <a:pt x="648" y="828"/>
                  </a:lnTo>
                  <a:lnTo>
                    <a:pt x="642" y="828"/>
                  </a:lnTo>
                  <a:lnTo>
                    <a:pt x="630" y="828"/>
                  </a:lnTo>
                  <a:lnTo>
                    <a:pt x="624" y="822"/>
                  </a:lnTo>
                  <a:lnTo>
                    <a:pt x="618" y="822"/>
                  </a:lnTo>
                  <a:lnTo>
                    <a:pt x="612" y="822"/>
                  </a:lnTo>
                  <a:lnTo>
                    <a:pt x="606" y="822"/>
                  </a:lnTo>
                  <a:lnTo>
                    <a:pt x="600" y="822"/>
                  </a:lnTo>
                  <a:lnTo>
                    <a:pt x="594" y="822"/>
                  </a:lnTo>
                  <a:lnTo>
                    <a:pt x="594" y="816"/>
                  </a:lnTo>
                  <a:lnTo>
                    <a:pt x="594" y="810"/>
                  </a:lnTo>
                  <a:lnTo>
                    <a:pt x="600" y="804"/>
                  </a:lnTo>
                  <a:lnTo>
                    <a:pt x="600" y="798"/>
                  </a:lnTo>
                  <a:lnTo>
                    <a:pt x="600" y="792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2" y="786"/>
                  </a:lnTo>
                  <a:lnTo>
                    <a:pt x="618" y="786"/>
                  </a:lnTo>
                  <a:lnTo>
                    <a:pt x="624" y="786"/>
                  </a:lnTo>
                  <a:lnTo>
                    <a:pt x="624" y="780"/>
                  </a:lnTo>
                  <a:lnTo>
                    <a:pt x="630" y="780"/>
                  </a:lnTo>
                  <a:lnTo>
                    <a:pt x="630" y="774"/>
                  </a:lnTo>
                  <a:lnTo>
                    <a:pt x="636" y="774"/>
                  </a:lnTo>
                  <a:lnTo>
                    <a:pt x="642" y="780"/>
                  </a:lnTo>
                  <a:lnTo>
                    <a:pt x="642" y="786"/>
                  </a:lnTo>
                  <a:lnTo>
                    <a:pt x="642" y="792"/>
                  </a:lnTo>
                  <a:lnTo>
                    <a:pt x="648" y="792"/>
                  </a:lnTo>
                  <a:lnTo>
                    <a:pt x="648" y="786"/>
                  </a:lnTo>
                  <a:lnTo>
                    <a:pt x="642" y="786"/>
                  </a:lnTo>
                  <a:lnTo>
                    <a:pt x="642" y="780"/>
                  </a:lnTo>
                  <a:lnTo>
                    <a:pt x="642" y="774"/>
                  </a:lnTo>
                  <a:lnTo>
                    <a:pt x="648" y="768"/>
                  </a:lnTo>
                  <a:lnTo>
                    <a:pt x="642" y="768"/>
                  </a:lnTo>
                  <a:lnTo>
                    <a:pt x="648" y="768"/>
                  </a:lnTo>
                  <a:lnTo>
                    <a:pt x="648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66" y="762"/>
                  </a:lnTo>
                  <a:lnTo>
                    <a:pt x="672" y="756"/>
                  </a:lnTo>
                  <a:lnTo>
                    <a:pt x="666" y="756"/>
                  </a:lnTo>
                  <a:lnTo>
                    <a:pt x="660" y="756"/>
                  </a:lnTo>
                  <a:lnTo>
                    <a:pt x="660" y="750"/>
                  </a:lnTo>
                  <a:lnTo>
                    <a:pt x="654" y="750"/>
                  </a:lnTo>
                  <a:lnTo>
                    <a:pt x="648" y="750"/>
                  </a:lnTo>
                  <a:lnTo>
                    <a:pt x="648" y="756"/>
                  </a:lnTo>
                  <a:lnTo>
                    <a:pt x="642" y="756"/>
                  </a:lnTo>
                  <a:lnTo>
                    <a:pt x="642" y="750"/>
                  </a:lnTo>
                  <a:lnTo>
                    <a:pt x="642" y="744"/>
                  </a:lnTo>
                  <a:lnTo>
                    <a:pt x="642" y="750"/>
                  </a:lnTo>
                  <a:lnTo>
                    <a:pt x="636" y="750"/>
                  </a:lnTo>
                  <a:lnTo>
                    <a:pt x="636" y="744"/>
                  </a:lnTo>
                  <a:lnTo>
                    <a:pt x="630" y="744"/>
                  </a:lnTo>
                  <a:lnTo>
                    <a:pt x="630" y="738"/>
                  </a:lnTo>
                  <a:lnTo>
                    <a:pt x="630" y="744"/>
                  </a:lnTo>
                  <a:lnTo>
                    <a:pt x="630" y="750"/>
                  </a:lnTo>
                  <a:lnTo>
                    <a:pt x="636" y="750"/>
                  </a:lnTo>
                  <a:lnTo>
                    <a:pt x="636" y="756"/>
                  </a:lnTo>
                  <a:lnTo>
                    <a:pt x="630" y="756"/>
                  </a:lnTo>
                  <a:lnTo>
                    <a:pt x="636" y="762"/>
                  </a:lnTo>
                  <a:lnTo>
                    <a:pt x="630" y="762"/>
                  </a:lnTo>
                  <a:lnTo>
                    <a:pt x="624" y="762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24" y="786"/>
                  </a:lnTo>
                  <a:lnTo>
                    <a:pt x="618" y="786"/>
                  </a:lnTo>
                  <a:lnTo>
                    <a:pt x="618" y="78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12" y="774"/>
                  </a:lnTo>
                  <a:lnTo>
                    <a:pt x="612" y="780"/>
                  </a:lnTo>
                  <a:lnTo>
                    <a:pt x="606" y="780"/>
                  </a:lnTo>
                  <a:lnTo>
                    <a:pt x="600" y="780"/>
                  </a:lnTo>
                  <a:lnTo>
                    <a:pt x="600" y="774"/>
                  </a:lnTo>
                  <a:lnTo>
                    <a:pt x="594" y="768"/>
                  </a:lnTo>
                  <a:lnTo>
                    <a:pt x="594" y="762"/>
                  </a:lnTo>
                  <a:lnTo>
                    <a:pt x="594" y="756"/>
                  </a:lnTo>
                  <a:lnTo>
                    <a:pt x="594" y="762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594" y="780"/>
                  </a:lnTo>
                  <a:lnTo>
                    <a:pt x="588" y="780"/>
                  </a:lnTo>
                  <a:lnTo>
                    <a:pt x="582" y="780"/>
                  </a:lnTo>
                  <a:lnTo>
                    <a:pt x="576" y="780"/>
                  </a:lnTo>
                  <a:lnTo>
                    <a:pt x="570" y="780"/>
                  </a:lnTo>
                  <a:lnTo>
                    <a:pt x="564" y="780"/>
                  </a:lnTo>
                  <a:lnTo>
                    <a:pt x="564" y="786"/>
                  </a:lnTo>
                  <a:lnTo>
                    <a:pt x="558" y="786"/>
                  </a:lnTo>
                  <a:lnTo>
                    <a:pt x="552" y="786"/>
                  </a:lnTo>
                  <a:lnTo>
                    <a:pt x="552" y="780"/>
                  </a:lnTo>
                  <a:lnTo>
                    <a:pt x="552" y="774"/>
                  </a:lnTo>
                  <a:lnTo>
                    <a:pt x="552" y="768"/>
                  </a:lnTo>
                  <a:lnTo>
                    <a:pt x="546" y="768"/>
                  </a:lnTo>
                  <a:lnTo>
                    <a:pt x="540" y="762"/>
                  </a:lnTo>
                  <a:lnTo>
                    <a:pt x="540" y="756"/>
                  </a:lnTo>
                  <a:lnTo>
                    <a:pt x="534" y="756"/>
                  </a:lnTo>
                  <a:lnTo>
                    <a:pt x="534" y="750"/>
                  </a:lnTo>
                  <a:lnTo>
                    <a:pt x="534" y="744"/>
                  </a:lnTo>
                  <a:lnTo>
                    <a:pt x="528" y="738"/>
                  </a:lnTo>
                  <a:lnTo>
                    <a:pt x="522" y="738"/>
                  </a:lnTo>
                  <a:lnTo>
                    <a:pt x="522" y="732"/>
                  </a:lnTo>
                  <a:lnTo>
                    <a:pt x="510" y="726"/>
                  </a:lnTo>
                  <a:lnTo>
                    <a:pt x="510" y="720"/>
                  </a:lnTo>
                  <a:lnTo>
                    <a:pt x="504" y="720"/>
                  </a:lnTo>
                  <a:lnTo>
                    <a:pt x="504" y="714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8" y="702"/>
                  </a:lnTo>
                  <a:lnTo>
                    <a:pt x="498" y="696"/>
                  </a:lnTo>
                  <a:lnTo>
                    <a:pt x="492" y="690"/>
                  </a:lnTo>
                  <a:lnTo>
                    <a:pt x="492" y="684"/>
                  </a:lnTo>
                  <a:lnTo>
                    <a:pt x="486" y="684"/>
                  </a:lnTo>
                  <a:lnTo>
                    <a:pt x="486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74" y="678"/>
                  </a:lnTo>
                  <a:lnTo>
                    <a:pt x="468" y="678"/>
                  </a:lnTo>
                  <a:lnTo>
                    <a:pt x="462" y="678"/>
                  </a:lnTo>
                  <a:lnTo>
                    <a:pt x="462" y="672"/>
                  </a:lnTo>
                  <a:lnTo>
                    <a:pt x="456" y="672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44" y="666"/>
                  </a:lnTo>
                  <a:lnTo>
                    <a:pt x="438" y="660"/>
                  </a:lnTo>
                  <a:lnTo>
                    <a:pt x="438" y="648"/>
                  </a:lnTo>
                  <a:lnTo>
                    <a:pt x="438" y="642"/>
                  </a:lnTo>
                  <a:lnTo>
                    <a:pt x="438" y="636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36"/>
                  </a:lnTo>
                  <a:lnTo>
                    <a:pt x="420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60"/>
                  </a:lnTo>
                  <a:lnTo>
                    <a:pt x="432" y="666"/>
                  </a:lnTo>
                  <a:lnTo>
                    <a:pt x="438" y="666"/>
                  </a:lnTo>
                  <a:lnTo>
                    <a:pt x="438" y="672"/>
                  </a:lnTo>
                  <a:lnTo>
                    <a:pt x="444" y="672"/>
                  </a:lnTo>
                  <a:lnTo>
                    <a:pt x="444" y="678"/>
                  </a:lnTo>
                  <a:lnTo>
                    <a:pt x="450" y="678"/>
                  </a:lnTo>
                  <a:lnTo>
                    <a:pt x="456" y="678"/>
                  </a:lnTo>
                  <a:lnTo>
                    <a:pt x="456" y="684"/>
                  </a:lnTo>
                  <a:lnTo>
                    <a:pt x="462" y="684"/>
                  </a:lnTo>
                  <a:lnTo>
                    <a:pt x="468" y="684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80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86" y="708"/>
                  </a:lnTo>
                  <a:lnTo>
                    <a:pt x="492" y="714"/>
                  </a:lnTo>
                  <a:lnTo>
                    <a:pt x="492" y="720"/>
                  </a:lnTo>
                  <a:lnTo>
                    <a:pt x="492" y="726"/>
                  </a:lnTo>
                  <a:lnTo>
                    <a:pt x="498" y="732"/>
                  </a:lnTo>
                  <a:lnTo>
                    <a:pt x="492" y="738"/>
                  </a:lnTo>
                  <a:lnTo>
                    <a:pt x="492" y="744"/>
                  </a:lnTo>
                  <a:lnTo>
                    <a:pt x="492" y="750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68" y="738"/>
                  </a:lnTo>
                  <a:lnTo>
                    <a:pt x="468" y="744"/>
                  </a:lnTo>
                  <a:lnTo>
                    <a:pt x="474" y="750"/>
                  </a:lnTo>
                  <a:lnTo>
                    <a:pt x="480" y="756"/>
                  </a:lnTo>
                  <a:lnTo>
                    <a:pt x="486" y="756"/>
                  </a:lnTo>
                  <a:lnTo>
                    <a:pt x="492" y="762"/>
                  </a:lnTo>
                  <a:lnTo>
                    <a:pt x="498" y="768"/>
                  </a:lnTo>
                  <a:lnTo>
                    <a:pt x="492" y="774"/>
                  </a:lnTo>
                  <a:lnTo>
                    <a:pt x="492" y="780"/>
                  </a:lnTo>
                  <a:lnTo>
                    <a:pt x="498" y="780"/>
                  </a:lnTo>
                  <a:lnTo>
                    <a:pt x="492" y="786"/>
                  </a:lnTo>
                  <a:lnTo>
                    <a:pt x="492" y="792"/>
                  </a:lnTo>
                  <a:lnTo>
                    <a:pt x="492" y="79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0" y="810"/>
                  </a:lnTo>
                  <a:lnTo>
                    <a:pt x="480" y="804"/>
                  </a:lnTo>
                  <a:lnTo>
                    <a:pt x="474" y="804"/>
                  </a:lnTo>
                  <a:lnTo>
                    <a:pt x="474" y="798"/>
                  </a:lnTo>
                  <a:lnTo>
                    <a:pt x="474" y="804"/>
                  </a:lnTo>
                  <a:lnTo>
                    <a:pt x="468" y="804"/>
                  </a:lnTo>
                  <a:lnTo>
                    <a:pt x="468" y="810"/>
                  </a:lnTo>
                  <a:lnTo>
                    <a:pt x="462" y="810"/>
                  </a:lnTo>
                  <a:lnTo>
                    <a:pt x="456" y="810"/>
                  </a:lnTo>
                  <a:lnTo>
                    <a:pt x="450" y="810"/>
                  </a:lnTo>
                  <a:lnTo>
                    <a:pt x="450" y="816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50" y="822"/>
                  </a:lnTo>
                  <a:lnTo>
                    <a:pt x="450" y="816"/>
                  </a:lnTo>
                  <a:lnTo>
                    <a:pt x="444" y="816"/>
                  </a:lnTo>
                  <a:lnTo>
                    <a:pt x="438" y="810"/>
                  </a:lnTo>
                  <a:lnTo>
                    <a:pt x="432" y="810"/>
                  </a:lnTo>
                  <a:lnTo>
                    <a:pt x="426" y="804"/>
                  </a:lnTo>
                  <a:lnTo>
                    <a:pt x="426" y="798"/>
                  </a:lnTo>
                  <a:lnTo>
                    <a:pt x="420" y="798"/>
                  </a:lnTo>
                  <a:lnTo>
                    <a:pt x="426" y="798"/>
                  </a:lnTo>
                  <a:lnTo>
                    <a:pt x="426" y="792"/>
                  </a:lnTo>
                  <a:lnTo>
                    <a:pt x="426" y="786"/>
                  </a:lnTo>
                  <a:lnTo>
                    <a:pt x="432" y="786"/>
                  </a:lnTo>
                  <a:lnTo>
                    <a:pt x="432" y="780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0" y="756"/>
                  </a:lnTo>
                  <a:lnTo>
                    <a:pt x="420" y="750"/>
                  </a:lnTo>
                  <a:lnTo>
                    <a:pt x="414" y="750"/>
                  </a:lnTo>
                  <a:lnTo>
                    <a:pt x="420" y="750"/>
                  </a:lnTo>
                  <a:lnTo>
                    <a:pt x="420" y="744"/>
                  </a:lnTo>
                  <a:lnTo>
                    <a:pt x="414" y="744"/>
                  </a:lnTo>
                  <a:lnTo>
                    <a:pt x="414" y="738"/>
                  </a:lnTo>
                  <a:lnTo>
                    <a:pt x="414" y="732"/>
                  </a:lnTo>
                  <a:lnTo>
                    <a:pt x="408" y="732"/>
                  </a:lnTo>
                  <a:lnTo>
                    <a:pt x="408" y="726"/>
                  </a:lnTo>
                  <a:lnTo>
                    <a:pt x="402" y="726"/>
                  </a:lnTo>
                  <a:lnTo>
                    <a:pt x="396" y="726"/>
                  </a:lnTo>
                  <a:lnTo>
                    <a:pt x="390" y="726"/>
                  </a:lnTo>
                  <a:lnTo>
                    <a:pt x="390" y="720"/>
                  </a:lnTo>
                  <a:lnTo>
                    <a:pt x="390" y="714"/>
                  </a:lnTo>
                  <a:lnTo>
                    <a:pt x="384" y="708"/>
                  </a:lnTo>
                  <a:lnTo>
                    <a:pt x="384" y="702"/>
                  </a:lnTo>
                  <a:lnTo>
                    <a:pt x="378" y="702"/>
                  </a:lnTo>
                  <a:lnTo>
                    <a:pt x="378" y="696"/>
                  </a:lnTo>
                  <a:lnTo>
                    <a:pt x="378" y="690"/>
                  </a:lnTo>
                  <a:lnTo>
                    <a:pt x="372" y="684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66" y="666"/>
                  </a:lnTo>
                  <a:lnTo>
                    <a:pt x="366" y="660"/>
                  </a:lnTo>
                  <a:lnTo>
                    <a:pt x="366" y="654"/>
                  </a:lnTo>
                  <a:lnTo>
                    <a:pt x="360" y="648"/>
                  </a:lnTo>
                  <a:lnTo>
                    <a:pt x="360" y="654"/>
                  </a:lnTo>
                  <a:lnTo>
                    <a:pt x="360" y="660"/>
                  </a:lnTo>
                  <a:lnTo>
                    <a:pt x="360" y="666"/>
                  </a:lnTo>
                  <a:lnTo>
                    <a:pt x="360" y="672"/>
                  </a:lnTo>
                  <a:lnTo>
                    <a:pt x="360" y="678"/>
                  </a:lnTo>
                  <a:lnTo>
                    <a:pt x="366" y="678"/>
                  </a:lnTo>
                  <a:lnTo>
                    <a:pt x="366" y="684"/>
                  </a:lnTo>
                  <a:lnTo>
                    <a:pt x="366" y="690"/>
                  </a:lnTo>
                  <a:lnTo>
                    <a:pt x="372" y="696"/>
                  </a:lnTo>
                  <a:lnTo>
                    <a:pt x="372" y="702"/>
                  </a:lnTo>
                  <a:lnTo>
                    <a:pt x="372" y="708"/>
                  </a:lnTo>
                  <a:lnTo>
                    <a:pt x="372" y="714"/>
                  </a:lnTo>
                  <a:lnTo>
                    <a:pt x="366" y="714"/>
                  </a:lnTo>
                  <a:lnTo>
                    <a:pt x="360" y="714"/>
                  </a:lnTo>
                  <a:lnTo>
                    <a:pt x="354" y="714"/>
                  </a:lnTo>
                  <a:lnTo>
                    <a:pt x="348" y="714"/>
                  </a:lnTo>
                  <a:lnTo>
                    <a:pt x="348" y="708"/>
                  </a:lnTo>
                  <a:lnTo>
                    <a:pt x="342" y="708"/>
                  </a:lnTo>
                  <a:lnTo>
                    <a:pt x="342" y="702"/>
                  </a:lnTo>
                  <a:lnTo>
                    <a:pt x="342" y="696"/>
                  </a:lnTo>
                  <a:lnTo>
                    <a:pt x="336" y="696"/>
                  </a:lnTo>
                  <a:lnTo>
                    <a:pt x="336" y="690"/>
                  </a:lnTo>
                  <a:lnTo>
                    <a:pt x="336" y="684"/>
                  </a:lnTo>
                  <a:lnTo>
                    <a:pt x="330" y="684"/>
                  </a:lnTo>
                  <a:lnTo>
                    <a:pt x="330" y="678"/>
                  </a:lnTo>
                  <a:lnTo>
                    <a:pt x="324" y="672"/>
                  </a:lnTo>
                  <a:lnTo>
                    <a:pt x="324" y="666"/>
                  </a:lnTo>
                  <a:lnTo>
                    <a:pt x="318" y="666"/>
                  </a:lnTo>
                  <a:lnTo>
                    <a:pt x="318" y="672"/>
                  </a:lnTo>
                  <a:lnTo>
                    <a:pt x="324" y="672"/>
                  </a:lnTo>
                  <a:lnTo>
                    <a:pt x="324" y="678"/>
                  </a:lnTo>
                  <a:lnTo>
                    <a:pt x="324" y="684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30" y="696"/>
                  </a:lnTo>
                  <a:lnTo>
                    <a:pt x="336" y="702"/>
                  </a:lnTo>
                  <a:lnTo>
                    <a:pt x="342" y="708"/>
                  </a:lnTo>
                  <a:lnTo>
                    <a:pt x="342" y="714"/>
                  </a:lnTo>
                  <a:lnTo>
                    <a:pt x="348" y="720"/>
                  </a:lnTo>
                  <a:lnTo>
                    <a:pt x="342" y="720"/>
                  </a:lnTo>
                  <a:lnTo>
                    <a:pt x="336" y="720"/>
                  </a:lnTo>
                  <a:lnTo>
                    <a:pt x="330" y="720"/>
                  </a:lnTo>
                  <a:lnTo>
                    <a:pt x="330" y="726"/>
                  </a:lnTo>
                  <a:lnTo>
                    <a:pt x="336" y="726"/>
                  </a:lnTo>
                  <a:lnTo>
                    <a:pt x="330" y="732"/>
                  </a:lnTo>
                  <a:lnTo>
                    <a:pt x="330" y="738"/>
                  </a:lnTo>
                  <a:lnTo>
                    <a:pt x="330" y="744"/>
                  </a:lnTo>
                  <a:lnTo>
                    <a:pt x="336" y="744"/>
                  </a:lnTo>
                  <a:lnTo>
                    <a:pt x="342" y="744"/>
                  </a:lnTo>
                  <a:lnTo>
                    <a:pt x="348" y="744"/>
                  </a:lnTo>
                  <a:lnTo>
                    <a:pt x="348" y="750"/>
                  </a:lnTo>
                  <a:lnTo>
                    <a:pt x="354" y="750"/>
                  </a:lnTo>
                  <a:lnTo>
                    <a:pt x="360" y="756"/>
                  </a:lnTo>
                  <a:lnTo>
                    <a:pt x="360" y="762"/>
                  </a:lnTo>
                  <a:lnTo>
                    <a:pt x="366" y="762"/>
                  </a:lnTo>
                  <a:lnTo>
                    <a:pt x="366" y="768"/>
                  </a:lnTo>
                  <a:lnTo>
                    <a:pt x="366" y="774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72" y="792"/>
                  </a:lnTo>
                  <a:lnTo>
                    <a:pt x="372" y="798"/>
                  </a:lnTo>
                  <a:lnTo>
                    <a:pt x="372" y="804"/>
                  </a:lnTo>
                  <a:lnTo>
                    <a:pt x="378" y="804"/>
                  </a:lnTo>
                  <a:lnTo>
                    <a:pt x="378" y="810"/>
                  </a:lnTo>
                  <a:lnTo>
                    <a:pt x="378" y="816"/>
                  </a:lnTo>
                  <a:lnTo>
                    <a:pt x="372" y="816"/>
                  </a:lnTo>
                  <a:lnTo>
                    <a:pt x="378" y="816"/>
                  </a:lnTo>
                  <a:lnTo>
                    <a:pt x="378" y="822"/>
                  </a:lnTo>
                  <a:lnTo>
                    <a:pt x="378" y="828"/>
                  </a:lnTo>
                  <a:lnTo>
                    <a:pt x="378" y="834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0" y="864"/>
                  </a:lnTo>
                  <a:lnTo>
                    <a:pt x="384" y="864"/>
                  </a:lnTo>
                  <a:lnTo>
                    <a:pt x="384" y="870"/>
                  </a:lnTo>
                  <a:lnTo>
                    <a:pt x="378" y="864"/>
                  </a:lnTo>
                  <a:lnTo>
                    <a:pt x="372" y="864"/>
                  </a:lnTo>
                  <a:lnTo>
                    <a:pt x="366" y="858"/>
                  </a:lnTo>
                  <a:lnTo>
                    <a:pt x="366" y="852"/>
                  </a:lnTo>
                  <a:lnTo>
                    <a:pt x="360" y="852"/>
                  </a:lnTo>
                  <a:lnTo>
                    <a:pt x="360" y="858"/>
                  </a:lnTo>
                  <a:lnTo>
                    <a:pt x="366" y="858"/>
                  </a:lnTo>
                  <a:lnTo>
                    <a:pt x="366" y="864"/>
                  </a:lnTo>
                  <a:lnTo>
                    <a:pt x="360" y="864"/>
                  </a:lnTo>
                  <a:lnTo>
                    <a:pt x="354" y="864"/>
                  </a:lnTo>
                  <a:lnTo>
                    <a:pt x="354" y="870"/>
                  </a:lnTo>
                  <a:lnTo>
                    <a:pt x="354" y="864"/>
                  </a:lnTo>
                  <a:lnTo>
                    <a:pt x="348" y="864"/>
                  </a:lnTo>
                  <a:lnTo>
                    <a:pt x="342" y="864"/>
                  </a:lnTo>
                  <a:lnTo>
                    <a:pt x="342" y="858"/>
                  </a:lnTo>
                  <a:lnTo>
                    <a:pt x="336" y="858"/>
                  </a:lnTo>
                  <a:lnTo>
                    <a:pt x="330" y="858"/>
                  </a:lnTo>
                  <a:lnTo>
                    <a:pt x="324" y="858"/>
                  </a:lnTo>
                  <a:lnTo>
                    <a:pt x="318" y="858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0" y="852"/>
                  </a:lnTo>
                  <a:lnTo>
                    <a:pt x="294" y="852"/>
                  </a:lnTo>
                  <a:lnTo>
                    <a:pt x="294" y="846"/>
                  </a:lnTo>
                  <a:lnTo>
                    <a:pt x="288" y="840"/>
                  </a:lnTo>
                  <a:lnTo>
                    <a:pt x="288" y="828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2" y="816"/>
                  </a:lnTo>
                  <a:lnTo>
                    <a:pt x="282" y="810"/>
                  </a:lnTo>
                  <a:lnTo>
                    <a:pt x="276" y="810"/>
                  </a:lnTo>
                  <a:lnTo>
                    <a:pt x="276" y="804"/>
                  </a:lnTo>
                  <a:lnTo>
                    <a:pt x="276" y="798"/>
                  </a:lnTo>
                  <a:lnTo>
                    <a:pt x="276" y="792"/>
                  </a:lnTo>
                  <a:lnTo>
                    <a:pt x="270" y="786"/>
                  </a:lnTo>
                  <a:lnTo>
                    <a:pt x="270" y="780"/>
                  </a:lnTo>
                  <a:lnTo>
                    <a:pt x="270" y="774"/>
                  </a:lnTo>
                  <a:lnTo>
                    <a:pt x="264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64" y="750"/>
                  </a:lnTo>
                  <a:lnTo>
                    <a:pt x="264" y="744"/>
                  </a:lnTo>
                  <a:lnTo>
                    <a:pt x="264" y="738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26"/>
                  </a:lnTo>
                  <a:lnTo>
                    <a:pt x="276" y="720"/>
                  </a:lnTo>
                  <a:lnTo>
                    <a:pt x="282" y="720"/>
                  </a:lnTo>
                  <a:lnTo>
                    <a:pt x="282" y="714"/>
                  </a:lnTo>
                  <a:lnTo>
                    <a:pt x="282" y="708"/>
                  </a:lnTo>
                  <a:lnTo>
                    <a:pt x="276" y="708"/>
                  </a:lnTo>
                  <a:lnTo>
                    <a:pt x="276" y="702"/>
                  </a:lnTo>
                  <a:lnTo>
                    <a:pt x="270" y="702"/>
                  </a:lnTo>
                  <a:lnTo>
                    <a:pt x="270" y="696"/>
                  </a:lnTo>
                  <a:lnTo>
                    <a:pt x="264" y="690"/>
                  </a:lnTo>
                  <a:lnTo>
                    <a:pt x="258" y="690"/>
                  </a:lnTo>
                  <a:lnTo>
                    <a:pt x="258" y="684"/>
                  </a:lnTo>
                  <a:lnTo>
                    <a:pt x="252" y="684"/>
                  </a:lnTo>
                  <a:lnTo>
                    <a:pt x="252" y="678"/>
                  </a:lnTo>
                  <a:lnTo>
                    <a:pt x="246" y="678"/>
                  </a:lnTo>
                  <a:lnTo>
                    <a:pt x="240" y="678"/>
                  </a:lnTo>
                  <a:lnTo>
                    <a:pt x="240" y="684"/>
                  </a:lnTo>
                  <a:lnTo>
                    <a:pt x="246" y="684"/>
                  </a:lnTo>
                  <a:lnTo>
                    <a:pt x="252" y="690"/>
                  </a:lnTo>
                  <a:lnTo>
                    <a:pt x="258" y="690"/>
                  </a:lnTo>
                  <a:lnTo>
                    <a:pt x="258" y="696"/>
                  </a:lnTo>
                  <a:lnTo>
                    <a:pt x="258" y="702"/>
                  </a:lnTo>
                  <a:lnTo>
                    <a:pt x="264" y="702"/>
                  </a:lnTo>
                  <a:lnTo>
                    <a:pt x="270" y="708"/>
                  </a:lnTo>
                  <a:lnTo>
                    <a:pt x="270" y="714"/>
                  </a:lnTo>
                  <a:lnTo>
                    <a:pt x="270" y="720"/>
                  </a:lnTo>
                  <a:lnTo>
                    <a:pt x="276" y="720"/>
                  </a:lnTo>
                  <a:lnTo>
                    <a:pt x="270" y="720"/>
                  </a:lnTo>
                  <a:lnTo>
                    <a:pt x="270" y="726"/>
                  </a:lnTo>
                  <a:lnTo>
                    <a:pt x="264" y="726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52" y="738"/>
                  </a:lnTo>
                  <a:lnTo>
                    <a:pt x="252" y="744"/>
                  </a:lnTo>
                  <a:lnTo>
                    <a:pt x="252" y="750"/>
                  </a:lnTo>
                  <a:lnTo>
                    <a:pt x="252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58" y="774"/>
                  </a:lnTo>
                  <a:lnTo>
                    <a:pt x="258" y="780"/>
                  </a:lnTo>
                  <a:lnTo>
                    <a:pt x="264" y="786"/>
                  </a:lnTo>
                  <a:lnTo>
                    <a:pt x="264" y="792"/>
                  </a:lnTo>
                  <a:lnTo>
                    <a:pt x="264" y="798"/>
                  </a:lnTo>
                  <a:lnTo>
                    <a:pt x="270" y="810"/>
                  </a:lnTo>
                  <a:lnTo>
                    <a:pt x="270" y="816"/>
                  </a:lnTo>
                  <a:lnTo>
                    <a:pt x="270" y="822"/>
                  </a:lnTo>
                  <a:lnTo>
                    <a:pt x="276" y="822"/>
                  </a:lnTo>
                  <a:lnTo>
                    <a:pt x="276" y="828"/>
                  </a:lnTo>
                  <a:lnTo>
                    <a:pt x="276" y="834"/>
                  </a:lnTo>
                  <a:lnTo>
                    <a:pt x="276" y="840"/>
                  </a:lnTo>
                  <a:lnTo>
                    <a:pt x="276" y="846"/>
                  </a:lnTo>
                  <a:lnTo>
                    <a:pt x="282" y="852"/>
                  </a:lnTo>
                  <a:lnTo>
                    <a:pt x="282" y="858"/>
                  </a:lnTo>
                  <a:lnTo>
                    <a:pt x="294" y="864"/>
                  </a:lnTo>
                  <a:lnTo>
                    <a:pt x="300" y="870"/>
                  </a:lnTo>
                  <a:lnTo>
                    <a:pt x="300" y="876"/>
                  </a:lnTo>
                  <a:lnTo>
                    <a:pt x="288" y="876"/>
                  </a:lnTo>
                  <a:lnTo>
                    <a:pt x="282" y="876"/>
                  </a:lnTo>
                  <a:lnTo>
                    <a:pt x="276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2" y="882"/>
                  </a:lnTo>
                  <a:lnTo>
                    <a:pt x="246" y="882"/>
                  </a:lnTo>
                  <a:lnTo>
                    <a:pt x="240" y="882"/>
                  </a:lnTo>
                  <a:lnTo>
                    <a:pt x="234" y="882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204" y="876"/>
                  </a:lnTo>
                  <a:lnTo>
                    <a:pt x="198" y="876"/>
                  </a:lnTo>
                  <a:lnTo>
                    <a:pt x="198" y="870"/>
                  </a:lnTo>
                  <a:lnTo>
                    <a:pt x="198" y="852"/>
                  </a:lnTo>
                  <a:lnTo>
                    <a:pt x="198" y="846"/>
                  </a:lnTo>
                  <a:lnTo>
                    <a:pt x="204" y="846"/>
                  </a:lnTo>
                  <a:lnTo>
                    <a:pt x="198" y="840"/>
                  </a:lnTo>
                  <a:lnTo>
                    <a:pt x="198" y="834"/>
                  </a:lnTo>
                  <a:lnTo>
                    <a:pt x="198" y="828"/>
                  </a:lnTo>
                  <a:lnTo>
                    <a:pt x="198" y="822"/>
                  </a:lnTo>
                  <a:lnTo>
                    <a:pt x="198" y="816"/>
                  </a:lnTo>
                  <a:lnTo>
                    <a:pt x="198" y="810"/>
                  </a:lnTo>
                  <a:lnTo>
                    <a:pt x="192" y="810"/>
                  </a:lnTo>
                  <a:lnTo>
                    <a:pt x="192" y="804"/>
                  </a:lnTo>
                  <a:lnTo>
                    <a:pt x="192" y="798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2" y="774"/>
                  </a:lnTo>
                  <a:lnTo>
                    <a:pt x="192" y="768"/>
                  </a:lnTo>
                  <a:lnTo>
                    <a:pt x="198" y="768"/>
                  </a:lnTo>
                  <a:lnTo>
                    <a:pt x="198" y="762"/>
                  </a:lnTo>
                  <a:lnTo>
                    <a:pt x="198" y="756"/>
                  </a:lnTo>
                  <a:lnTo>
                    <a:pt x="204" y="756"/>
                  </a:lnTo>
                  <a:lnTo>
                    <a:pt x="204" y="750"/>
                  </a:lnTo>
                  <a:lnTo>
                    <a:pt x="210" y="744"/>
                  </a:lnTo>
                  <a:lnTo>
                    <a:pt x="210" y="738"/>
                  </a:lnTo>
                  <a:lnTo>
                    <a:pt x="210" y="732"/>
                  </a:lnTo>
                  <a:lnTo>
                    <a:pt x="210" y="726"/>
                  </a:lnTo>
                  <a:lnTo>
                    <a:pt x="210" y="720"/>
                  </a:lnTo>
                  <a:lnTo>
                    <a:pt x="204" y="714"/>
                  </a:lnTo>
                  <a:lnTo>
                    <a:pt x="204" y="720"/>
                  </a:lnTo>
                  <a:lnTo>
                    <a:pt x="204" y="732"/>
                  </a:lnTo>
                  <a:lnTo>
                    <a:pt x="204" y="738"/>
                  </a:lnTo>
                  <a:lnTo>
                    <a:pt x="198" y="738"/>
                  </a:lnTo>
                  <a:lnTo>
                    <a:pt x="198" y="744"/>
                  </a:lnTo>
                  <a:lnTo>
                    <a:pt x="198" y="750"/>
                  </a:lnTo>
                  <a:lnTo>
                    <a:pt x="192" y="756"/>
                  </a:lnTo>
                  <a:lnTo>
                    <a:pt x="186" y="762"/>
                  </a:lnTo>
                  <a:lnTo>
                    <a:pt x="186" y="768"/>
                  </a:lnTo>
                  <a:lnTo>
                    <a:pt x="186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98"/>
                  </a:lnTo>
                  <a:lnTo>
                    <a:pt x="186" y="804"/>
                  </a:lnTo>
                  <a:lnTo>
                    <a:pt x="186" y="810"/>
                  </a:lnTo>
                  <a:lnTo>
                    <a:pt x="192" y="816"/>
                  </a:lnTo>
                  <a:lnTo>
                    <a:pt x="192" y="828"/>
                  </a:lnTo>
                  <a:lnTo>
                    <a:pt x="192" y="834"/>
                  </a:lnTo>
                  <a:lnTo>
                    <a:pt x="186" y="834"/>
                  </a:lnTo>
                  <a:lnTo>
                    <a:pt x="186" y="828"/>
                  </a:lnTo>
                  <a:lnTo>
                    <a:pt x="180" y="822"/>
                  </a:lnTo>
                  <a:lnTo>
                    <a:pt x="180" y="816"/>
                  </a:lnTo>
                  <a:lnTo>
                    <a:pt x="180" y="810"/>
                  </a:lnTo>
                  <a:lnTo>
                    <a:pt x="174" y="810"/>
                  </a:lnTo>
                  <a:lnTo>
                    <a:pt x="174" y="804"/>
                  </a:lnTo>
                  <a:lnTo>
                    <a:pt x="174" y="798"/>
                  </a:lnTo>
                  <a:lnTo>
                    <a:pt x="174" y="792"/>
                  </a:lnTo>
                  <a:lnTo>
                    <a:pt x="168" y="786"/>
                  </a:lnTo>
                  <a:lnTo>
                    <a:pt x="168" y="780"/>
                  </a:lnTo>
                  <a:lnTo>
                    <a:pt x="162" y="780"/>
                  </a:lnTo>
                  <a:lnTo>
                    <a:pt x="168" y="774"/>
                  </a:lnTo>
                  <a:lnTo>
                    <a:pt x="168" y="768"/>
                  </a:lnTo>
                  <a:lnTo>
                    <a:pt x="174" y="768"/>
                  </a:lnTo>
                  <a:lnTo>
                    <a:pt x="168" y="768"/>
                  </a:lnTo>
                  <a:lnTo>
                    <a:pt x="162" y="774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50" y="774"/>
                  </a:lnTo>
                  <a:lnTo>
                    <a:pt x="144" y="774"/>
                  </a:lnTo>
                  <a:lnTo>
                    <a:pt x="144" y="768"/>
                  </a:lnTo>
                  <a:lnTo>
                    <a:pt x="144" y="762"/>
                  </a:lnTo>
                  <a:lnTo>
                    <a:pt x="138" y="756"/>
                  </a:lnTo>
                  <a:lnTo>
                    <a:pt x="132" y="756"/>
                  </a:lnTo>
                  <a:lnTo>
                    <a:pt x="138" y="756"/>
                  </a:lnTo>
                  <a:lnTo>
                    <a:pt x="138" y="762"/>
                  </a:lnTo>
                  <a:lnTo>
                    <a:pt x="138" y="768"/>
                  </a:lnTo>
                  <a:lnTo>
                    <a:pt x="144" y="768"/>
                  </a:lnTo>
                  <a:lnTo>
                    <a:pt x="144" y="774"/>
                  </a:lnTo>
                  <a:lnTo>
                    <a:pt x="150" y="780"/>
                  </a:lnTo>
                  <a:lnTo>
                    <a:pt x="156" y="780"/>
                  </a:lnTo>
                  <a:lnTo>
                    <a:pt x="156" y="786"/>
                  </a:lnTo>
                  <a:lnTo>
                    <a:pt x="162" y="786"/>
                  </a:lnTo>
                  <a:lnTo>
                    <a:pt x="168" y="792"/>
                  </a:lnTo>
                  <a:lnTo>
                    <a:pt x="168" y="798"/>
                  </a:lnTo>
                  <a:lnTo>
                    <a:pt x="168" y="804"/>
                  </a:lnTo>
                  <a:lnTo>
                    <a:pt x="174" y="810"/>
                  </a:lnTo>
                  <a:lnTo>
                    <a:pt x="174" y="816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68" y="828"/>
                  </a:lnTo>
                  <a:lnTo>
                    <a:pt x="168" y="834"/>
                  </a:lnTo>
                  <a:lnTo>
                    <a:pt x="174" y="840"/>
                  </a:lnTo>
                  <a:lnTo>
                    <a:pt x="180" y="840"/>
                  </a:lnTo>
                  <a:lnTo>
                    <a:pt x="180" y="846"/>
                  </a:lnTo>
                  <a:lnTo>
                    <a:pt x="186" y="846"/>
                  </a:lnTo>
                  <a:lnTo>
                    <a:pt x="186" y="852"/>
                  </a:lnTo>
                  <a:lnTo>
                    <a:pt x="186" y="858"/>
                  </a:lnTo>
                  <a:lnTo>
                    <a:pt x="186" y="864"/>
                  </a:lnTo>
                  <a:lnTo>
                    <a:pt x="192" y="864"/>
                  </a:lnTo>
                  <a:lnTo>
                    <a:pt x="192" y="870"/>
                  </a:lnTo>
                  <a:lnTo>
                    <a:pt x="192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6" y="888"/>
                  </a:lnTo>
                  <a:lnTo>
                    <a:pt x="180" y="888"/>
                  </a:lnTo>
                  <a:lnTo>
                    <a:pt x="174" y="888"/>
                  </a:lnTo>
                  <a:lnTo>
                    <a:pt x="168" y="894"/>
                  </a:lnTo>
                  <a:lnTo>
                    <a:pt x="162" y="894"/>
                  </a:lnTo>
                  <a:lnTo>
                    <a:pt x="156" y="894"/>
                  </a:lnTo>
                  <a:lnTo>
                    <a:pt x="150" y="894"/>
                  </a:lnTo>
                  <a:lnTo>
                    <a:pt x="144" y="894"/>
                  </a:lnTo>
                  <a:lnTo>
                    <a:pt x="144" y="900"/>
                  </a:lnTo>
                  <a:lnTo>
                    <a:pt x="138" y="894"/>
                  </a:lnTo>
                  <a:lnTo>
                    <a:pt x="138" y="900"/>
                  </a:lnTo>
                  <a:lnTo>
                    <a:pt x="132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6" y="882"/>
                  </a:lnTo>
                  <a:lnTo>
                    <a:pt x="126" y="876"/>
                  </a:lnTo>
                  <a:lnTo>
                    <a:pt x="120" y="876"/>
                  </a:lnTo>
                  <a:lnTo>
                    <a:pt x="126" y="870"/>
                  </a:lnTo>
                  <a:lnTo>
                    <a:pt x="126" y="864"/>
                  </a:lnTo>
                  <a:lnTo>
                    <a:pt x="126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26" y="828"/>
                  </a:lnTo>
                  <a:lnTo>
                    <a:pt x="126" y="822"/>
                  </a:lnTo>
                  <a:lnTo>
                    <a:pt x="126" y="816"/>
                  </a:lnTo>
                  <a:lnTo>
                    <a:pt x="126" y="810"/>
                  </a:lnTo>
                  <a:lnTo>
                    <a:pt x="126" y="804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20" y="792"/>
                  </a:lnTo>
                  <a:lnTo>
                    <a:pt x="114" y="792"/>
                  </a:lnTo>
                  <a:lnTo>
                    <a:pt x="114" y="786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96" y="780"/>
                  </a:lnTo>
                  <a:lnTo>
                    <a:pt x="96" y="774"/>
                  </a:lnTo>
                  <a:lnTo>
                    <a:pt x="90" y="774"/>
                  </a:lnTo>
                  <a:lnTo>
                    <a:pt x="90" y="768"/>
                  </a:lnTo>
                  <a:close/>
                  <a:moveTo>
                    <a:pt x="96" y="780"/>
                  </a:moveTo>
                  <a:lnTo>
                    <a:pt x="102" y="780"/>
                  </a:lnTo>
                  <a:lnTo>
                    <a:pt x="102" y="786"/>
                  </a:lnTo>
                  <a:lnTo>
                    <a:pt x="108" y="786"/>
                  </a:lnTo>
                  <a:lnTo>
                    <a:pt x="114" y="792"/>
                  </a:lnTo>
                  <a:lnTo>
                    <a:pt x="120" y="798"/>
                  </a:lnTo>
                  <a:lnTo>
                    <a:pt x="120" y="804"/>
                  </a:lnTo>
                  <a:lnTo>
                    <a:pt x="126" y="810"/>
                  </a:lnTo>
                  <a:lnTo>
                    <a:pt x="126" y="816"/>
                  </a:lnTo>
                  <a:lnTo>
                    <a:pt x="126" y="822"/>
                  </a:lnTo>
                  <a:lnTo>
                    <a:pt x="120" y="828"/>
                  </a:lnTo>
                  <a:lnTo>
                    <a:pt x="120" y="840"/>
                  </a:lnTo>
                  <a:lnTo>
                    <a:pt x="120" y="852"/>
                  </a:lnTo>
                  <a:lnTo>
                    <a:pt x="120" y="858"/>
                  </a:lnTo>
                  <a:lnTo>
                    <a:pt x="120" y="864"/>
                  </a:lnTo>
                  <a:lnTo>
                    <a:pt x="120" y="870"/>
                  </a:lnTo>
                  <a:lnTo>
                    <a:pt x="114" y="870"/>
                  </a:lnTo>
                  <a:lnTo>
                    <a:pt x="108" y="870"/>
                  </a:lnTo>
                  <a:lnTo>
                    <a:pt x="108" y="876"/>
                  </a:lnTo>
                  <a:lnTo>
                    <a:pt x="114" y="876"/>
                  </a:lnTo>
                  <a:lnTo>
                    <a:pt x="120" y="876"/>
                  </a:lnTo>
                  <a:lnTo>
                    <a:pt x="120" y="882"/>
                  </a:lnTo>
                  <a:lnTo>
                    <a:pt x="114" y="888"/>
                  </a:lnTo>
                  <a:lnTo>
                    <a:pt x="120" y="888"/>
                  </a:lnTo>
                  <a:lnTo>
                    <a:pt x="120" y="894"/>
                  </a:lnTo>
                  <a:lnTo>
                    <a:pt x="114" y="894"/>
                  </a:lnTo>
                  <a:lnTo>
                    <a:pt x="108" y="894"/>
                  </a:lnTo>
                  <a:lnTo>
                    <a:pt x="96" y="894"/>
                  </a:lnTo>
                  <a:lnTo>
                    <a:pt x="96" y="882"/>
                  </a:lnTo>
                  <a:lnTo>
                    <a:pt x="96" y="876"/>
                  </a:lnTo>
                  <a:lnTo>
                    <a:pt x="84" y="870"/>
                  </a:lnTo>
                  <a:lnTo>
                    <a:pt x="72" y="864"/>
                  </a:lnTo>
                  <a:lnTo>
                    <a:pt x="72" y="852"/>
                  </a:lnTo>
                  <a:lnTo>
                    <a:pt x="72" y="840"/>
                  </a:lnTo>
                  <a:lnTo>
                    <a:pt x="78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90" y="792"/>
                  </a:lnTo>
                  <a:lnTo>
                    <a:pt x="96" y="780"/>
                  </a:lnTo>
                  <a:close/>
                  <a:moveTo>
                    <a:pt x="492" y="810"/>
                  </a:moveTo>
                  <a:lnTo>
                    <a:pt x="498" y="810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510" y="792"/>
                  </a:lnTo>
                  <a:lnTo>
                    <a:pt x="516" y="786"/>
                  </a:lnTo>
                  <a:lnTo>
                    <a:pt x="522" y="780"/>
                  </a:lnTo>
                  <a:lnTo>
                    <a:pt x="522" y="774"/>
                  </a:lnTo>
                  <a:lnTo>
                    <a:pt x="528" y="768"/>
                  </a:lnTo>
                  <a:lnTo>
                    <a:pt x="528" y="762"/>
                  </a:lnTo>
                  <a:lnTo>
                    <a:pt x="534" y="762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46" y="780"/>
                  </a:lnTo>
                  <a:lnTo>
                    <a:pt x="552" y="786"/>
                  </a:lnTo>
                  <a:lnTo>
                    <a:pt x="558" y="786"/>
                  </a:lnTo>
                  <a:lnTo>
                    <a:pt x="564" y="786"/>
                  </a:lnTo>
                  <a:lnTo>
                    <a:pt x="576" y="786"/>
                  </a:lnTo>
                  <a:lnTo>
                    <a:pt x="582" y="786"/>
                  </a:lnTo>
                  <a:lnTo>
                    <a:pt x="588" y="786"/>
                  </a:lnTo>
                  <a:lnTo>
                    <a:pt x="594" y="786"/>
                  </a:lnTo>
                  <a:lnTo>
                    <a:pt x="588" y="792"/>
                  </a:lnTo>
                  <a:lnTo>
                    <a:pt x="588" y="798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82" y="822"/>
                  </a:lnTo>
                  <a:lnTo>
                    <a:pt x="588" y="828"/>
                  </a:lnTo>
                  <a:lnTo>
                    <a:pt x="588" y="834"/>
                  </a:lnTo>
                  <a:lnTo>
                    <a:pt x="582" y="840"/>
                  </a:lnTo>
                  <a:lnTo>
                    <a:pt x="570" y="840"/>
                  </a:lnTo>
                  <a:lnTo>
                    <a:pt x="558" y="846"/>
                  </a:lnTo>
                  <a:lnTo>
                    <a:pt x="552" y="846"/>
                  </a:lnTo>
                  <a:lnTo>
                    <a:pt x="534" y="852"/>
                  </a:lnTo>
                  <a:lnTo>
                    <a:pt x="522" y="858"/>
                  </a:lnTo>
                  <a:lnTo>
                    <a:pt x="510" y="858"/>
                  </a:lnTo>
                  <a:lnTo>
                    <a:pt x="498" y="864"/>
                  </a:lnTo>
                  <a:lnTo>
                    <a:pt x="474" y="864"/>
                  </a:lnTo>
                  <a:lnTo>
                    <a:pt x="468" y="858"/>
                  </a:lnTo>
                  <a:lnTo>
                    <a:pt x="468" y="852"/>
                  </a:lnTo>
                  <a:lnTo>
                    <a:pt x="468" y="846"/>
                  </a:lnTo>
                  <a:lnTo>
                    <a:pt x="474" y="840"/>
                  </a:lnTo>
                  <a:lnTo>
                    <a:pt x="474" y="834"/>
                  </a:lnTo>
                  <a:lnTo>
                    <a:pt x="480" y="828"/>
                  </a:lnTo>
                  <a:lnTo>
                    <a:pt x="492" y="822"/>
                  </a:lnTo>
                  <a:lnTo>
                    <a:pt x="492" y="810"/>
                  </a:lnTo>
                  <a:close/>
                  <a:moveTo>
                    <a:pt x="384" y="720"/>
                  </a:moveTo>
                  <a:lnTo>
                    <a:pt x="384" y="726"/>
                  </a:lnTo>
                  <a:lnTo>
                    <a:pt x="390" y="726"/>
                  </a:lnTo>
                  <a:lnTo>
                    <a:pt x="396" y="726"/>
                  </a:lnTo>
                  <a:lnTo>
                    <a:pt x="402" y="732"/>
                  </a:lnTo>
                  <a:lnTo>
                    <a:pt x="408" y="732"/>
                  </a:lnTo>
                  <a:lnTo>
                    <a:pt x="414" y="732"/>
                  </a:lnTo>
                  <a:lnTo>
                    <a:pt x="414" y="738"/>
                  </a:lnTo>
                  <a:lnTo>
                    <a:pt x="414" y="744"/>
                  </a:lnTo>
                  <a:lnTo>
                    <a:pt x="414" y="750"/>
                  </a:lnTo>
                  <a:lnTo>
                    <a:pt x="414" y="756"/>
                  </a:lnTo>
                  <a:lnTo>
                    <a:pt x="414" y="762"/>
                  </a:lnTo>
                  <a:lnTo>
                    <a:pt x="420" y="768"/>
                  </a:lnTo>
                  <a:lnTo>
                    <a:pt x="420" y="774"/>
                  </a:lnTo>
                  <a:lnTo>
                    <a:pt x="426" y="780"/>
                  </a:lnTo>
                  <a:lnTo>
                    <a:pt x="426" y="786"/>
                  </a:lnTo>
                  <a:lnTo>
                    <a:pt x="420" y="786"/>
                  </a:lnTo>
                  <a:lnTo>
                    <a:pt x="420" y="792"/>
                  </a:lnTo>
                  <a:lnTo>
                    <a:pt x="420" y="798"/>
                  </a:lnTo>
                  <a:lnTo>
                    <a:pt x="420" y="804"/>
                  </a:lnTo>
                  <a:lnTo>
                    <a:pt x="426" y="804"/>
                  </a:lnTo>
                  <a:lnTo>
                    <a:pt x="426" y="810"/>
                  </a:lnTo>
                  <a:lnTo>
                    <a:pt x="426" y="816"/>
                  </a:lnTo>
                  <a:lnTo>
                    <a:pt x="432" y="816"/>
                  </a:lnTo>
                  <a:lnTo>
                    <a:pt x="438" y="816"/>
                  </a:lnTo>
                  <a:lnTo>
                    <a:pt x="438" y="822"/>
                  </a:lnTo>
                  <a:lnTo>
                    <a:pt x="432" y="822"/>
                  </a:lnTo>
                  <a:lnTo>
                    <a:pt x="426" y="828"/>
                  </a:lnTo>
                  <a:lnTo>
                    <a:pt x="420" y="828"/>
                  </a:lnTo>
                  <a:lnTo>
                    <a:pt x="414" y="828"/>
                  </a:lnTo>
                  <a:lnTo>
                    <a:pt x="408" y="828"/>
                  </a:lnTo>
                  <a:lnTo>
                    <a:pt x="402" y="828"/>
                  </a:lnTo>
                  <a:lnTo>
                    <a:pt x="402" y="822"/>
                  </a:lnTo>
                  <a:lnTo>
                    <a:pt x="396" y="822"/>
                  </a:lnTo>
                  <a:lnTo>
                    <a:pt x="402" y="822"/>
                  </a:lnTo>
                  <a:lnTo>
                    <a:pt x="402" y="816"/>
                  </a:lnTo>
                  <a:lnTo>
                    <a:pt x="396" y="816"/>
                  </a:lnTo>
                  <a:lnTo>
                    <a:pt x="396" y="810"/>
                  </a:lnTo>
                  <a:lnTo>
                    <a:pt x="396" y="804"/>
                  </a:lnTo>
                  <a:lnTo>
                    <a:pt x="390" y="798"/>
                  </a:lnTo>
                  <a:lnTo>
                    <a:pt x="390" y="792"/>
                  </a:lnTo>
                  <a:lnTo>
                    <a:pt x="390" y="786"/>
                  </a:lnTo>
                  <a:lnTo>
                    <a:pt x="390" y="780"/>
                  </a:lnTo>
                  <a:lnTo>
                    <a:pt x="390" y="774"/>
                  </a:lnTo>
                  <a:lnTo>
                    <a:pt x="390" y="768"/>
                  </a:lnTo>
                  <a:lnTo>
                    <a:pt x="390" y="762"/>
                  </a:lnTo>
                  <a:lnTo>
                    <a:pt x="384" y="756"/>
                  </a:lnTo>
                  <a:lnTo>
                    <a:pt x="384" y="750"/>
                  </a:lnTo>
                  <a:lnTo>
                    <a:pt x="384" y="744"/>
                  </a:lnTo>
                  <a:lnTo>
                    <a:pt x="378" y="744"/>
                  </a:lnTo>
                  <a:lnTo>
                    <a:pt x="384" y="744"/>
                  </a:lnTo>
                  <a:lnTo>
                    <a:pt x="384" y="738"/>
                  </a:lnTo>
                  <a:lnTo>
                    <a:pt x="378" y="738"/>
                  </a:lnTo>
                  <a:lnTo>
                    <a:pt x="378" y="732"/>
                  </a:lnTo>
                  <a:lnTo>
                    <a:pt x="378" y="726"/>
                  </a:lnTo>
                  <a:lnTo>
                    <a:pt x="378" y="720"/>
                  </a:lnTo>
                  <a:lnTo>
                    <a:pt x="384" y="720"/>
                  </a:lnTo>
                  <a:close/>
                  <a:moveTo>
                    <a:pt x="330" y="738"/>
                  </a:moveTo>
                  <a:lnTo>
                    <a:pt x="336" y="732"/>
                  </a:lnTo>
                  <a:lnTo>
                    <a:pt x="336" y="726"/>
                  </a:lnTo>
                  <a:lnTo>
                    <a:pt x="342" y="720"/>
                  </a:lnTo>
                  <a:lnTo>
                    <a:pt x="348" y="720"/>
                  </a:lnTo>
                  <a:lnTo>
                    <a:pt x="360" y="720"/>
                  </a:lnTo>
                  <a:lnTo>
                    <a:pt x="366" y="726"/>
                  </a:lnTo>
                  <a:lnTo>
                    <a:pt x="372" y="732"/>
                  </a:lnTo>
                  <a:lnTo>
                    <a:pt x="372" y="738"/>
                  </a:lnTo>
                  <a:lnTo>
                    <a:pt x="366" y="750"/>
                  </a:lnTo>
                  <a:lnTo>
                    <a:pt x="372" y="756"/>
                  </a:lnTo>
                  <a:lnTo>
                    <a:pt x="372" y="762"/>
                  </a:lnTo>
                  <a:lnTo>
                    <a:pt x="372" y="768"/>
                  </a:lnTo>
                  <a:lnTo>
                    <a:pt x="372" y="774"/>
                  </a:lnTo>
                  <a:lnTo>
                    <a:pt x="372" y="780"/>
                  </a:lnTo>
                  <a:lnTo>
                    <a:pt x="372" y="774"/>
                  </a:lnTo>
                  <a:lnTo>
                    <a:pt x="366" y="768"/>
                  </a:lnTo>
                  <a:lnTo>
                    <a:pt x="366" y="762"/>
                  </a:lnTo>
                  <a:lnTo>
                    <a:pt x="366" y="756"/>
                  </a:lnTo>
                  <a:lnTo>
                    <a:pt x="360" y="756"/>
                  </a:lnTo>
                  <a:lnTo>
                    <a:pt x="360" y="750"/>
                  </a:lnTo>
                  <a:lnTo>
                    <a:pt x="354" y="750"/>
                  </a:lnTo>
                  <a:lnTo>
                    <a:pt x="348" y="744"/>
                  </a:lnTo>
                  <a:lnTo>
                    <a:pt x="342" y="744"/>
                  </a:lnTo>
                  <a:lnTo>
                    <a:pt x="336" y="744"/>
                  </a:lnTo>
                  <a:lnTo>
                    <a:pt x="330" y="73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1" name="Freeform 6">
              <a:extLst>
                <a:ext uri="{FF2B5EF4-FFF2-40B4-BE49-F238E27FC236}">
                  <a16:creationId xmlns:a16="http://schemas.microsoft.com/office/drawing/2014/main" id="{0656C385-F30A-4AC8-AE9F-B1F66208B38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3123" y="4163918"/>
              <a:ext cx="266107" cy="248252"/>
            </a:xfrm>
            <a:custGeom>
              <a:avLst/>
              <a:gdLst>
                <a:gd name="T0" fmla="*/ 33 w 504"/>
                <a:gd name="T1" fmla="*/ 41 h 468"/>
                <a:gd name="T2" fmla="*/ 26 w 504"/>
                <a:gd name="T3" fmla="*/ 39 h 468"/>
                <a:gd name="T4" fmla="*/ 21 w 504"/>
                <a:gd name="T5" fmla="*/ 38 h 468"/>
                <a:gd name="T6" fmla="*/ 18 w 504"/>
                <a:gd name="T7" fmla="*/ 38 h 468"/>
                <a:gd name="T8" fmla="*/ 15 w 504"/>
                <a:gd name="T9" fmla="*/ 39 h 468"/>
                <a:gd name="T10" fmla="*/ 12 w 504"/>
                <a:gd name="T11" fmla="*/ 38 h 468"/>
                <a:gd name="T12" fmla="*/ 9 w 504"/>
                <a:gd name="T13" fmla="*/ 37 h 468"/>
                <a:gd name="T14" fmla="*/ 7 w 504"/>
                <a:gd name="T15" fmla="*/ 32 h 468"/>
                <a:gd name="T16" fmla="*/ 6 w 504"/>
                <a:gd name="T17" fmla="*/ 26 h 468"/>
                <a:gd name="T18" fmla="*/ 3 w 504"/>
                <a:gd name="T19" fmla="*/ 24 h 468"/>
                <a:gd name="T20" fmla="*/ 1 w 504"/>
                <a:gd name="T21" fmla="*/ 24 h 468"/>
                <a:gd name="T22" fmla="*/ 2 w 504"/>
                <a:gd name="T23" fmla="*/ 18 h 468"/>
                <a:gd name="T24" fmla="*/ 1 w 504"/>
                <a:gd name="T25" fmla="*/ 17 h 468"/>
                <a:gd name="T26" fmla="*/ 0 w 504"/>
                <a:gd name="T27" fmla="*/ 17 h 468"/>
                <a:gd name="T28" fmla="*/ 0 w 504"/>
                <a:gd name="T29" fmla="*/ 15 h 468"/>
                <a:gd name="T30" fmla="*/ 2 w 504"/>
                <a:gd name="T31" fmla="*/ 12 h 468"/>
                <a:gd name="T32" fmla="*/ 4 w 504"/>
                <a:gd name="T33" fmla="*/ 10 h 468"/>
                <a:gd name="T34" fmla="*/ 6 w 504"/>
                <a:gd name="T35" fmla="*/ 8 h 468"/>
                <a:gd name="T36" fmla="*/ 8 w 504"/>
                <a:gd name="T37" fmla="*/ 8 h 468"/>
                <a:gd name="T38" fmla="*/ 10 w 504"/>
                <a:gd name="T39" fmla="*/ 9 h 468"/>
                <a:gd name="T40" fmla="*/ 12 w 504"/>
                <a:gd name="T41" fmla="*/ 10 h 468"/>
                <a:gd name="T42" fmla="*/ 12 w 504"/>
                <a:gd name="T43" fmla="*/ 11 h 468"/>
                <a:gd name="T44" fmla="*/ 14 w 504"/>
                <a:gd name="T45" fmla="*/ 8 h 468"/>
                <a:gd name="T46" fmla="*/ 15 w 504"/>
                <a:gd name="T47" fmla="*/ 7 h 468"/>
                <a:gd name="T48" fmla="*/ 17 w 504"/>
                <a:gd name="T49" fmla="*/ 6 h 468"/>
                <a:gd name="T50" fmla="*/ 19 w 504"/>
                <a:gd name="T51" fmla="*/ 3 h 468"/>
                <a:gd name="T52" fmla="*/ 20 w 504"/>
                <a:gd name="T53" fmla="*/ 2 h 468"/>
                <a:gd name="T54" fmla="*/ 22 w 504"/>
                <a:gd name="T55" fmla="*/ 1 h 468"/>
                <a:gd name="T56" fmla="*/ 27 w 504"/>
                <a:gd name="T57" fmla="*/ 1 h 468"/>
                <a:gd name="T58" fmla="*/ 30 w 504"/>
                <a:gd name="T59" fmla="*/ 2 h 468"/>
                <a:gd name="T60" fmla="*/ 31 w 504"/>
                <a:gd name="T61" fmla="*/ 2 h 468"/>
                <a:gd name="T62" fmla="*/ 34 w 504"/>
                <a:gd name="T63" fmla="*/ 0 h 468"/>
                <a:gd name="T64" fmla="*/ 37 w 504"/>
                <a:gd name="T65" fmla="*/ 1 h 468"/>
                <a:gd name="T66" fmla="*/ 41 w 504"/>
                <a:gd name="T67" fmla="*/ 2 h 468"/>
                <a:gd name="T68" fmla="*/ 42 w 504"/>
                <a:gd name="T69" fmla="*/ 4 h 468"/>
                <a:gd name="T70" fmla="*/ 42 w 504"/>
                <a:gd name="T71" fmla="*/ 10 h 468"/>
                <a:gd name="T72" fmla="*/ 41 w 504"/>
                <a:gd name="T73" fmla="*/ 14 h 468"/>
                <a:gd name="T74" fmla="*/ 42 w 504"/>
                <a:gd name="T75" fmla="*/ 15 h 468"/>
                <a:gd name="T76" fmla="*/ 44 w 504"/>
                <a:gd name="T77" fmla="*/ 18 h 468"/>
                <a:gd name="T78" fmla="*/ 43 w 504"/>
                <a:gd name="T79" fmla="*/ 19 h 468"/>
                <a:gd name="T80" fmla="*/ 42 w 504"/>
                <a:gd name="T81" fmla="*/ 21 h 468"/>
                <a:gd name="T82" fmla="*/ 42 w 504"/>
                <a:gd name="T83" fmla="*/ 23 h 468"/>
                <a:gd name="T84" fmla="*/ 39 w 504"/>
                <a:gd name="T85" fmla="*/ 27 h 468"/>
                <a:gd name="T86" fmla="*/ 38 w 504"/>
                <a:gd name="T87" fmla="*/ 29 h 468"/>
                <a:gd name="T88" fmla="*/ 38 w 504"/>
                <a:gd name="T89" fmla="*/ 31 h 468"/>
                <a:gd name="T90" fmla="*/ 36 w 504"/>
                <a:gd name="T91" fmla="*/ 32 h 468"/>
                <a:gd name="T92" fmla="*/ 35 w 504"/>
                <a:gd name="T93" fmla="*/ 34 h 468"/>
                <a:gd name="T94" fmla="*/ 34 w 504"/>
                <a:gd name="T95" fmla="*/ 38 h 46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04"/>
                <a:gd name="T145" fmla="*/ 0 h 468"/>
                <a:gd name="T146" fmla="*/ 504 w 504"/>
                <a:gd name="T147" fmla="*/ 468 h 46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04" h="468">
                  <a:moveTo>
                    <a:pt x="390" y="456"/>
                  </a:moveTo>
                  <a:lnTo>
                    <a:pt x="384" y="468"/>
                  </a:lnTo>
                  <a:lnTo>
                    <a:pt x="378" y="468"/>
                  </a:lnTo>
                  <a:lnTo>
                    <a:pt x="354" y="468"/>
                  </a:lnTo>
                  <a:lnTo>
                    <a:pt x="348" y="462"/>
                  </a:lnTo>
                  <a:lnTo>
                    <a:pt x="300" y="456"/>
                  </a:lnTo>
                  <a:lnTo>
                    <a:pt x="270" y="444"/>
                  </a:lnTo>
                  <a:lnTo>
                    <a:pt x="252" y="438"/>
                  </a:lnTo>
                  <a:lnTo>
                    <a:pt x="240" y="438"/>
                  </a:lnTo>
                  <a:lnTo>
                    <a:pt x="234" y="438"/>
                  </a:lnTo>
                  <a:lnTo>
                    <a:pt x="228" y="444"/>
                  </a:lnTo>
                  <a:lnTo>
                    <a:pt x="210" y="444"/>
                  </a:lnTo>
                  <a:lnTo>
                    <a:pt x="198" y="444"/>
                  </a:lnTo>
                  <a:lnTo>
                    <a:pt x="198" y="450"/>
                  </a:lnTo>
                  <a:lnTo>
                    <a:pt x="168" y="456"/>
                  </a:lnTo>
                  <a:lnTo>
                    <a:pt x="150" y="450"/>
                  </a:lnTo>
                  <a:lnTo>
                    <a:pt x="144" y="444"/>
                  </a:lnTo>
                  <a:lnTo>
                    <a:pt x="132" y="438"/>
                  </a:lnTo>
                  <a:lnTo>
                    <a:pt x="138" y="432"/>
                  </a:lnTo>
                  <a:lnTo>
                    <a:pt x="114" y="432"/>
                  </a:lnTo>
                  <a:lnTo>
                    <a:pt x="102" y="426"/>
                  </a:lnTo>
                  <a:lnTo>
                    <a:pt x="90" y="414"/>
                  </a:lnTo>
                  <a:lnTo>
                    <a:pt x="72" y="402"/>
                  </a:lnTo>
                  <a:lnTo>
                    <a:pt x="78" y="366"/>
                  </a:lnTo>
                  <a:lnTo>
                    <a:pt x="78" y="330"/>
                  </a:lnTo>
                  <a:lnTo>
                    <a:pt x="66" y="318"/>
                  </a:lnTo>
                  <a:lnTo>
                    <a:pt x="66" y="300"/>
                  </a:lnTo>
                  <a:lnTo>
                    <a:pt x="66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30" y="282"/>
                  </a:lnTo>
                  <a:lnTo>
                    <a:pt x="24" y="282"/>
                  </a:lnTo>
                  <a:lnTo>
                    <a:pt x="12" y="276"/>
                  </a:lnTo>
                  <a:lnTo>
                    <a:pt x="0" y="282"/>
                  </a:lnTo>
                  <a:lnTo>
                    <a:pt x="12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2" y="198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6" y="180"/>
                  </a:lnTo>
                  <a:lnTo>
                    <a:pt x="12" y="186"/>
                  </a:lnTo>
                  <a:lnTo>
                    <a:pt x="18" y="138"/>
                  </a:lnTo>
                  <a:lnTo>
                    <a:pt x="24" y="126"/>
                  </a:lnTo>
                  <a:lnTo>
                    <a:pt x="30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20" y="102"/>
                  </a:lnTo>
                  <a:lnTo>
                    <a:pt x="126" y="108"/>
                  </a:lnTo>
                  <a:lnTo>
                    <a:pt x="126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0"/>
                  </a:lnTo>
                  <a:lnTo>
                    <a:pt x="156" y="96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16" y="42"/>
                  </a:lnTo>
                  <a:lnTo>
                    <a:pt x="222" y="36"/>
                  </a:lnTo>
                  <a:lnTo>
                    <a:pt x="228" y="36"/>
                  </a:lnTo>
                  <a:lnTo>
                    <a:pt x="228" y="30"/>
                  </a:lnTo>
                  <a:lnTo>
                    <a:pt x="228" y="24"/>
                  </a:lnTo>
                  <a:lnTo>
                    <a:pt x="246" y="18"/>
                  </a:lnTo>
                  <a:lnTo>
                    <a:pt x="252" y="18"/>
                  </a:lnTo>
                  <a:lnTo>
                    <a:pt x="258" y="12"/>
                  </a:lnTo>
                  <a:lnTo>
                    <a:pt x="270" y="6"/>
                  </a:lnTo>
                  <a:lnTo>
                    <a:pt x="288" y="6"/>
                  </a:lnTo>
                  <a:lnTo>
                    <a:pt x="312" y="12"/>
                  </a:lnTo>
                  <a:lnTo>
                    <a:pt x="324" y="12"/>
                  </a:lnTo>
                  <a:lnTo>
                    <a:pt x="336" y="18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14" y="12"/>
                  </a:lnTo>
                  <a:lnTo>
                    <a:pt x="426" y="12"/>
                  </a:lnTo>
                  <a:lnTo>
                    <a:pt x="444" y="18"/>
                  </a:lnTo>
                  <a:lnTo>
                    <a:pt x="462" y="18"/>
                  </a:lnTo>
                  <a:lnTo>
                    <a:pt x="474" y="18"/>
                  </a:lnTo>
                  <a:lnTo>
                    <a:pt x="480" y="18"/>
                  </a:lnTo>
                  <a:lnTo>
                    <a:pt x="486" y="36"/>
                  </a:lnTo>
                  <a:lnTo>
                    <a:pt x="480" y="42"/>
                  </a:lnTo>
                  <a:lnTo>
                    <a:pt x="480" y="54"/>
                  </a:lnTo>
                  <a:lnTo>
                    <a:pt x="486" y="78"/>
                  </a:lnTo>
                  <a:lnTo>
                    <a:pt x="486" y="114"/>
                  </a:lnTo>
                  <a:lnTo>
                    <a:pt x="486" y="150"/>
                  </a:lnTo>
                  <a:lnTo>
                    <a:pt x="468" y="150"/>
                  </a:lnTo>
                  <a:lnTo>
                    <a:pt x="474" y="162"/>
                  </a:lnTo>
                  <a:lnTo>
                    <a:pt x="480" y="162"/>
                  </a:lnTo>
                  <a:lnTo>
                    <a:pt x="486" y="174"/>
                  </a:lnTo>
                  <a:lnTo>
                    <a:pt x="492" y="174"/>
                  </a:lnTo>
                  <a:lnTo>
                    <a:pt x="492" y="192"/>
                  </a:lnTo>
                  <a:lnTo>
                    <a:pt x="498" y="198"/>
                  </a:lnTo>
                  <a:lnTo>
                    <a:pt x="504" y="204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8" y="222"/>
                  </a:lnTo>
                  <a:lnTo>
                    <a:pt x="492" y="228"/>
                  </a:lnTo>
                  <a:lnTo>
                    <a:pt x="492" y="234"/>
                  </a:lnTo>
                  <a:lnTo>
                    <a:pt x="492" y="240"/>
                  </a:lnTo>
                  <a:lnTo>
                    <a:pt x="486" y="246"/>
                  </a:lnTo>
                  <a:lnTo>
                    <a:pt x="486" y="258"/>
                  </a:lnTo>
                  <a:lnTo>
                    <a:pt x="480" y="264"/>
                  </a:lnTo>
                  <a:lnTo>
                    <a:pt x="474" y="276"/>
                  </a:lnTo>
                  <a:lnTo>
                    <a:pt x="468" y="288"/>
                  </a:lnTo>
                  <a:lnTo>
                    <a:pt x="456" y="306"/>
                  </a:lnTo>
                  <a:lnTo>
                    <a:pt x="456" y="312"/>
                  </a:lnTo>
                  <a:lnTo>
                    <a:pt x="444" y="318"/>
                  </a:lnTo>
                  <a:lnTo>
                    <a:pt x="432" y="336"/>
                  </a:lnTo>
                  <a:lnTo>
                    <a:pt x="432" y="342"/>
                  </a:lnTo>
                  <a:lnTo>
                    <a:pt x="432" y="348"/>
                  </a:lnTo>
                  <a:lnTo>
                    <a:pt x="432" y="354"/>
                  </a:lnTo>
                  <a:lnTo>
                    <a:pt x="426" y="366"/>
                  </a:lnTo>
                  <a:lnTo>
                    <a:pt x="420" y="366"/>
                  </a:lnTo>
                  <a:lnTo>
                    <a:pt x="420" y="372"/>
                  </a:lnTo>
                  <a:lnTo>
                    <a:pt x="414" y="378"/>
                  </a:lnTo>
                  <a:lnTo>
                    <a:pt x="414" y="390"/>
                  </a:lnTo>
                  <a:lnTo>
                    <a:pt x="408" y="390"/>
                  </a:lnTo>
                  <a:lnTo>
                    <a:pt x="408" y="402"/>
                  </a:lnTo>
                  <a:lnTo>
                    <a:pt x="402" y="414"/>
                  </a:lnTo>
                  <a:lnTo>
                    <a:pt x="396" y="438"/>
                  </a:lnTo>
                  <a:lnTo>
                    <a:pt x="396" y="444"/>
                  </a:lnTo>
                  <a:lnTo>
                    <a:pt x="390" y="45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11" name="Freeform 7">
              <a:extLst>
                <a:ext uri="{FF2B5EF4-FFF2-40B4-BE49-F238E27FC236}">
                  <a16:creationId xmlns:a16="http://schemas.microsoft.com/office/drawing/2014/main" id="{0D8DE62D-4554-4314-9F3A-7208D89B4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90838" y="4128134"/>
              <a:ext cx="283995" cy="411516"/>
            </a:xfrm>
            <a:custGeom>
              <a:avLst/>
              <a:gdLst>
                <a:gd name="T0" fmla="*/ 39 w 534"/>
                <a:gd name="T1" fmla="*/ 35 h 774"/>
                <a:gd name="T2" fmla="*/ 35 w 534"/>
                <a:gd name="T3" fmla="*/ 31 h 774"/>
                <a:gd name="T4" fmla="*/ 32 w 534"/>
                <a:gd name="T5" fmla="*/ 29 h 774"/>
                <a:gd name="T6" fmla="*/ 32 w 534"/>
                <a:gd name="T7" fmla="*/ 31 h 774"/>
                <a:gd name="T8" fmla="*/ 29 w 534"/>
                <a:gd name="T9" fmla="*/ 33 h 774"/>
                <a:gd name="T10" fmla="*/ 27 w 534"/>
                <a:gd name="T11" fmla="*/ 36 h 774"/>
                <a:gd name="T12" fmla="*/ 30 w 534"/>
                <a:gd name="T13" fmla="*/ 38 h 774"/>
                <a:gd name="T14" fmla="*/ 29 w 534"/>
                <a:gd name="T15" fmla="*/ 40 h 774"/>
                <a:gd name="T16" fmla="*/ 25 w 534"/>
                <a:gd name="T17" fmla="*/ 40 h 774"/>
                <a:gd name="T18" fmla="*/ 23 w 534"/>
                <a:gd name="T19" fmla="*/ 42 h 774"/>
                <a:gd name="T20" fmla="*/ 22 w 534"/>
                <a:gd name="T21" fmla="*/ 47 h 774"/>
                <a:gd name="T22" fmla="*/ 22 w 534"/>
                <a:gd name="T23" fmla="*/ 51 h 774"/>
                <a:gd name="T24" fmla="*/ 22 w 534"/>
                <a:gd name="T25" fmla="*/ 54 h 774"/>
                <a:gd name="T26" fmla="*/ 21 w 534"/>
                <a:gd name="T27" fmla="*/ 56 h 774"/>
                <a:gd name="T28" fmla="*/ 19 w 534"/>
                <a:gd name="T29" fmla="*/ 58 h 774"/>
                <a:gd name="T30" fmla="*/ 20 w 534"/>
                <a:gd name="T31" fmla="*/ 59 h 774"/>
                <a:gd name="T32" fmla="*/ 19 w 534"/>
                <a:gd name="T33" fmla="*/ 62 h 774"/>
                <a:gd name="T34" fmla="*/ 19 w 534"/>
                <a:gd name="T35" fmla="*/ 64 h 774"/>
                <a:gd name="T36" fmla="*/ 20 w 534"/>
                <a:gd name="T37" fmla="*/ 66 h 774"/>
                <a:gd name="T38" fmla="*/ 17 w 534"/>
                <a:gd name="T39" fmla="*/ 66 h 774"/>
                <a:gd name="T40" fmla="*/ 16 w 534"/>
                <a:gd name="T41" fmla="*/ 65 h 774"/>
                <a:gd name="T42" fmla="*/ 13 w 534"/>
                <a:gd name="T43" fmla="*/ 65 h 774"/>
                <a:gd name="T44" fmla="*/ 11 w 534"/>
                <a:gd name="T45" fmla="*/ 65 h 774"/>
                <a:gd name="T46" fmla="*/ 8 w 534"/>
                <a:gd name="T47" fmla="*/ 65 h 774"/>
                <a:gd name="T48" fmla="*/ 8 w 534"/>
                <a:gd name="T49" fmla="*/ 64 h 774"/>
                <a:gd name="T50" fmla="*/ 5 w 534"/>
                <a:gd name="T51" fmla="*/ 65 h 774"/>
                <a:gd name="T52" fmla="*/ 3 w 534"/>
                <a:gd name="T53" fmla="*/ 65 h 774"/>
                <a:gd name="T54" fmla="*/ 0 w 534"/>
                <a:gd name="T55" fmla="*/ 64 h 774"/>
                <a:gd name="T56" fmla="*/ 0 w 534"/>
                <a:gd name="T57" fmla="*/ 62 h 774"/>
                <a:gd name="T58" fmla="*/ 3 w 534"/>
                <a:gd name="T59" fmla="*/ 60 h 774"/>
                <a:gd name="T60" fmla="*/ 6 w 534"/>
                <a:gd name="T61" fmla="*/ 57 h 774"/>
                <a:gd name="T62" fmla="*/ 8 w 534"/>
                <a:gd name="T63" fmla="*/ 50 h 774"/>
                <a:gd name="T64" fmla="*/ 6 w 534"/>
                <a:gd name="T65" fmla="*/ 45 h 774"/>
                <a:gd name="T66" fmla="*/ 8 w 534"/>
                <a:gd name="T67" fmla="*/ 41 h 774"/>
                <a:gd name="T68" fmla="*/ 9 w 534"/>
                <a:gd name="T69" fmla="*/ 38 h 774"/>
                <a:gd name="T70" fmla="*/ 10 w 534"/>
                <a:gd name="T71" fmla="*/ 36 h 774"/>
                <a:gd name="T72" fmla="*/ 12 w 534"/>
                <a:gd name="T73" fmla="*/ 33 h 774"/>
                <a:gd name="T74" fmla="*/ 14 w 534"/>
                <a:gd name="T75" fmla="*/ 29 h 774"/>
                <a:gd name="T76" fmla="*/ 16 w 534"/>
                <a:gd name="T77" fmla="*/ 26 h 774"/>
                <a:gd name="T78" fmla="*/ 16 w 534"/>
                <a:gd name="T79" fmla="*/ 24 h 774"/>
                <a:gd name="T80" fmla="*/ 16 w 534"/>
                <a:gd name="T81" fmla="*/ 21 h 774"/>
                <a:gd name="T82" fmla="*/ 13 w 534"/>
                <a:gd name="T83" fmla="*/ 19 h 774"/>
                <a:gd name="T84" fmla="*/ 14 w 534"/>
                <a:gd name="T85" fmla="*/ 10 h 774"/>
                <a:gd name="T86" fmla="*/ 14 w 534"/>
                <a:gd name="T87" fmla="*/ 7 h 774"/>
                <a:gd name="T88" fmla="*/ 8 w 534"/>
                <a:gd name="T89" fmla="*/ 7 h 774"/>
                <a:gd name="T90" fmla="*/ 7 w 534"/>
                <a:gd name="T91" fmla="*/ 3 h 774"/>
                <a:gd name="T92" fmla="*/ 11 w 534"/>
                <a:gd name="T93" fmla="*/ 1 h 774"/>
                <a:gd name="T94" fmla="*/ 12 w 534"/>
                <a:gd name="T95" fmla="*/ 0 h 774"/>
                <a:gd name="T96" fmla="*/ 16 w 534"/>
                <a:gd name="T97" fmla="*/ 2 h 774"/>
                <a:gd name="T98" fmla="*/ 20 w 534"/>
                <a:gd name="T99" fmla="*/ 2 h 774"/>
                <a:gd name="T100" fmla="*/ 23 w 534"/>
                <a:gd name="T101" fmla="*/ 3 h 774"/>
                <a:gd name="T102" fmla="*/ 23 w 534"/>
                <a:gd name="T103" fmla="*/ 10 h 774"/>
                <a:gd name="T104" fmla="*/ 29 w 534"/>
                <a:gd name="T105" fmla="*/ 12 h 774"/>
                <a:gd name="T106" fmla="*/ 35 w 534"/>
                <a:gd name="T107" fmla="*/ 12 h 774"/>
                <a:gd name="T108" fmla="*/ 38 w 534"/>
                <a:gd name="T109" fmla="*/ 17 h 774"/>
                <a:gd name="T110" fmla="*/ 40 w 534"/>
                <a:gd name="T111" fmla="*/ 19 h 774"/>
                <a:gd name="T112" fmla="*/ 44 w 534"/>
                <a:gd name="T113" fmla="*/ 23 h 774"/>
                <a:gd name="T114" fmla="*/ 44 w 534"/>
                <a:gd name="T115" fmla="*/ 30 h 774"/>
                <a:gd name="T116" fmla="*/ 46 w 534"/>
                <a:gd name="T117" fmla="*/ 36 h 774"/>
                <a:gd name="T118" fmla="*/ 41 w 534"/>
                <a:gd name="T119" fmla="*/ 37 h 77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34"/>
                <a:gd name="T181" fmla="*/ 0 h 774"/>
                <a:gd name="T182" fmla="*/ 534 w 534"/>
                <a:gd name="T183" fmla="*/ 774 h 77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34" h="774">
                  <a:moveTo>
                    <a:pt x="462" y="426"/>
                  </a:moveTo>
                  <a:lnTo>
                    <a:pt x="462" y="414"/>
                  </a:lnTo>
                  <a:lnTo>
                    <a:pt x="450" y="402"/>
                  </a:lnTo>
                  <a:lnTo>
                    <a:pt x="444" y="396"/>
                  </a:lnTo>
                  <a:lnTo>
                    <a:pt x="420" y="396"/>
                  </a:lnTo>
                  <a:lnTo>
                    <a:pt x="408" y="390"/>
                  </a:lnTo>
                  <a:lnTo>
                    <a:pt x="402" y="366"/>
                  </a:lnTo>
                  <a:lnTo>
                    <a:pt x="390" y="354"/>
                  </a:lnTo>
                  <a:lnTo>
                    <a:pt x="384" y="336"/>
                  </a:lnTo>
                  <a:lnTo>
                    <a:pt x="378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8" y="348"/>
                  </a:lnTo>
                  <a:lnTo>
                    <a:pt x="360" y="354"/>
                  </a:lnTo>
                  <a:lnTo>
                    <a:pt x="360" y="390"/>
                  </a:lnTo>
                  <a:lnTo>
                    <a:pt x="348" y="390"/>
                  </a:lnTo>
                  <a:lnTo>
                    <a:pt x="342" y="384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90"/>
                  </a:lnTo>
                  <a:lnTo>
                    <a:pt x="312" y="402"/>
                  </a:lnTo>
                  <a:lnTo>
                    <a:pt x="306" y="420"/>
                  </a:lnTo>
                  <a:lnTo>
                    <a:pt x="324" y="414"/>
                  </a:lnTo>
                  <a:lnTo>
                    <a:pt x="330" y="414"/>
                  </a:lnTo>
                  <a:lnTo>
                    <a:pt x="336" y="420"/>
                  </a:lnTo>
                  <a:lnTo>
                    <a:pt x="336" y="432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6"/>
                  </a:lnTo>
                  <a:lnTo>
                    <a:pt x="318" y="456"/>
                  </a:lnTo>
                  <a:lnTo>
                    <a:pt x="300" y="456"/>
                  </a:lnTo>
                  <a:lnTo>
                    <a:pt x="288" y="462"/>
                  </a:lnTo>
                  <a:lnTo>
                    <a:pt x="276" y="462"/>
                  </a:lnTo>
                  <a:lnTo>
                    <a:pt x="270" y="462"/>
                  </a:lnTo>
                  <a:lnTo>
                    <a:pt x="270" y="468"/>
                  </a:lnTo>
                  <a:lnTo>
                    <a:pt x="252" y="468"/>
                  </a:lnTo>
                  <a:lnTo>
                    <a:pt x="258" y="480"/>
                  </a:lnTo>
                  <a:lnTo>
                    <a:pt x="258" y="492"/>
                  </a:lnTo>
                  <a:lnTo>
                    <a:pt x="258" y="498"/>
                  </a:lnTo>
                  <a:lnTo>
                    <a:pt x="258" y="510"/>
                  </a:lnTo>
                  <a:lnTo>
                    <a:pt x="252" y="540"/>
                  </a:lnTo>
                  <a:lnTo>
                    <a:pt x="246" y="564"/>
                  </a:lnTo>
                  <a:lnTo>
                    <a:pt x="246" y="570"/>
                  </a:lnTo>
                  <a:lnTo>
                    <a:pt x="252" y="576"/>
                  </a:lnTo>
                  <a:lnTo>
                    <a:pt x="246" y="582"/>
                  </a:lnTo>
                  <a:lnTo>
                    <a:pt x="252" y="600"/>
                  </a:lnTo>
                  <a:lnTo>
                    <a:pt x="258" y="606"/>
                  </a:lnTo>
                  <a:lnTo>
                    <a:pt x="258" y="612"/>
                  </a:lnTo>
                  <a:lnTo>
                    <a:pt x="252" y="618"/>
                  </a:lnTo>
                  <a:lnTo>
                    <a:pt x="246" y="624"/>
                  </a:lnTo>
                  <a:lnTo>
                    <a:pt x="246" y="630"/>
                  </a:lnTo>
                  <a:lnTo>
                    <a:pt x="246" y="636"/>
                  </a:lnTo>
                  <a:lnTo>
                    <a:pt x="240" y="642"/>
                  </a:lnTo>
                  <a:lnTo>
                    <a:pt x="234" y="654"/>
                  </a:lnTo>
                  <a:lnTo>
                    <a:pt x="228" y="654"/>
                  </a:lnTo>
                  <a:lnTo>
                    <a:pt x="222" y="660"/>
                  </a:lnTo>
                  <a:lnTo>
                    <a:pt x="216" y="666"/>
                  </a:lnTo>
                  <a:lnTo>
                    <a:pt x="210" y="666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22" y="684"/>
                  </a:lnTo>
                  <a:lnTo>
                    <a:pt x="222" y="690"/>
                  </a:lnTo>
                  <a:lnTo>
                    <a:pt x="222" y="696"/>
                  </a:lnTo>
                  <a:lnTo>
                    <a:pt x="222" y="702"/>
                  </a:lnTo>
                  <a:lnTo>
                    <a:pt x="216" y="708"/>
                  </a:lnTo>
                  <a:lnTo>
                    <a:pt x="210" y="720"/>
                  </a:lnTo>
                  <a:lnTo>
                    <a:pt x="216" y="732"/>
                  </a:lnTo>
                  <a:lnTo>
                    <a:pt x="210" y="732"/>
                  </a:lnTo>
                  <a:lnTo>
                    <a:pt x="216" y="738"/>
                  </a:lnTo>
                  <a:lnTo>
                    <a:pt x="216" y="744"/>
                  </a:lnTo>
                  <a:lnTo>
                    <a:pt x="222" y="750"/>
                  </a:lnTo>
                  <a:lnTo>
                    <a:pt x="228" y="756"/>
                  </a:lnTo>
                  <a:lnTo>
                    <a:pt x="222" y="762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04" y="762"/>
                  </a:lnTo>
                  <a:lnTo>
                    <a:pt x="198" y="762"/>
                  </a:lnTo>
                  <a:lnTo>
                    <a:pt x="192" y="762"/>
                  </a:lnTo>
                  <a:lnTo>
                    <a:pt x="186" y="756"/>
                  </a:lnTo>
                  <a:lnTo>
                    <a:pt x="180" y="750"/>
                  </a:lnTo>
                  <a:lnTo>
                    <a:pt x="180" y="744"/>
                  </a:lnTo>
                  <a:lnTo>
                    <a:pt x="174" y="744"/>
                  </a:lnTo>
                  <a:lnTo>
                    <a:pt x="156" y="750"/>
                  </a:lnTo>
                  <a:lnTo>
                    <a:pt x="150" y="750"/>
                  </a:lnTo>
                  <a:lnTo>
                    <a:pt x="144" y="750"/>
                  </a:lnTo>
                  <a:lnTo>
                    <a:pt x="138" y="750"/>
                  </a:lnTo>
                  <a:lnTo>
                    <a:pt x="138" y="744"/>
                  </a:lnTo>
                  <a:lnTo>
                    <a:pt x="132" y="744"/>
                  </a:lnTo>
                  <a:lnTo>
                    <a:pt x="120" y="744"/>
                  </a:lnTo>
                  <a:lnTo>
                    <a:pt x="114" y="738"/>
                  </a:lnTo>
                  <a:lnTo>
                    <a:pt x="108" y="744"/>
                  </a:lnTo>
                  <a:lnTo>
                    <a:pt x="102" y="744"/>
                  </a:lnTo>
                  <a:lnTo>
                    <a:pt x="96" y="744"/>
                  </a:lnTo>
                  <a:lnTo>
                    <a:pt x="96" y="738"/>
                  </a:lnTo>
                  <a:lnTo>
                    <a:pt x="96" y="744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44"/>
                  </a:lnTo>
                  <a:lnTo>
                    <a:pt x="72" y="750"/>
                  </a:lnTo>
                  <a:lnTo>
                    <a:pt x="66" y="750"/>
                  </a:lnTo>
                  <a:lnTo>
                    <a:pt x="60" y="750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0"/>
                  </a:lnTo>
                  <a:lnTo>
                    <a:pt x="30" y="750"/>
                  </a:lnTo>
                  <a:lnTo>
                    <a:pt x="24" y="744"/>
                  </a:lnTo>
                  <a:lnTo>
                    <a:pt x="18" y="738"/>
                  </a:lnTo>
                  <a:lnTo>
                    <a:pt x="6" y="738"/>
                  </a:lnTo>
                  <a:lnTo>
                    <a:pt x="0" y="732"/>
                  </a:lnTo>
                  <a:lnTo>
                    <a:pt x="0" y="726"/>
                  </a:lnTo>
                  <a:lnTo>
                    <a:pt x="0" y="720"/>
                  </a:lnTo>
                  <a:lnTo>
                    <a:pt x="6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8" y="702"/>
                  </a:lnTo>
                  <a:lnTo>
                    <a:pt x="24" y="696"/>
                  </a:lnTo>
                  <a:lnTo>
                    <a:pt x="30" y="696"/>
                  </a:lnTo>
                  <a:lnTo>
                    <a:pt x="48" y="690"/>
                  </a:lnTo>
                  <a:lnTo>
                    <a:pt x="54" y="678"/>
                  </a:lnTo>
                  <a:lnTo>
                    <a:pt x="66" y="672"/>
                  </a:lnTo>
                  <a:lnTo>
                    <a:pt x="66" y="654"/>
                  </a:lnTo>
                  <a:lnTo>
                    <a:pt x="72" y="636"/>
                  </a:lnTo>
                  <a:lnTo>
                    <a:pt x="72" y="612"/>
                  </a:lnTo>
                  <a:lnTo>
                    <a:pt x="84" y="594"/>
                  </a:lnTo>
                  <a:lnTo>
                    <a:pt x="90" y="576"/>
                  </a:lnTo>
                  <a:lnTo>
                    <a:pt x="96" y="552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72" y="522"/>
                  </a:lnTo>
                  <a:lnTo>
                    <a:pt x="78" y="510"/>
                  </a:lnTo>
                  <a:lnTo>
                    <a:pt x="78" y="504"/>
                  </a:lnTo>
                  <a:lnTo>
                    <a:pt x="84" y="480"/>
                  </a:lnTo>
                  <a:lnTo>
                    <a:pt x="90" y="468"/>
                  </a:lnTo>
                  <a:lnTo>
                    <a:pt x="90" y="456"/>
                  </a:lnTo>
                  <a:lnTo>
                    <a:pt x="96" y="456"/>
                  </a:lnTo>
                  <a:lnTo>
                    <a:pt x="96" y="444"/>
                  </a:lnTo>
                  <a:lnTo>
                    <a:pt x="102" y="438"/>
                  </a:lnTo>
                  <a:lnTo>
                    <a:pt x="102" y="432"/>
                  </a:lnTo>
                  <a:lnTo>
                    <a:pt x="108" y="432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14" y="408"/>
                  </a:lnTo>
                  <a:lnTo>
                    <a:pt x="114" y="402"/>
                  </a:lnTo>
                  <a:lnTo>
                    <a:pt x="126" y="384"/>
                  </a:lnTo>
                  <a:lnTo>
                    <a:pt x="138" y="378"/>
                  </a:lnTo>
                  <a:lnTo>
                    <a:pt x="138" y="372"/>
                  </a:lnTo>
                  <a:lnTo>
                    <a:pt x="150" y="354"/>
                  </a:lnTo>
                  <a:lnTo>
                    <a:pt x="156" y="342"/>
                  </a:lnTo>
                  <a:lnTo>
                    <a:pt x="162" y="330"/>
                  </a:lnTo>
                  <a:lnTo>
                    <a:pt x="168" y="324"/>
                  </a:lnTo>
                  <a:lnTo>
                    <a:pt x="168" y="312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74" y="294"/>
                  </a:lnTo>
                  <a:lnTo>
                    <a:pt x="180" y="288"/>
                  </a:lnTo>
                  <a:lnTo>
                    <a:pt x="180" y="276"/>
                  </a:lnTo>
                  <a:lnTo>
                    <a:pt x="186" y="276"/>
                  </a:lnTo>
                  <a:lnTo>
                    <a:pt x="186" y="270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40"/>
                  </a:lnTo>
                  <a:lnTo>
                    <a:pt x="168" y="240"/>
                  </a:lnTo>
                  <a:lnTo>
                    <a:pt x="162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68" y="216"/>
                  </a:lnTo>
                  <a:lnTo>
                    <a:pt x="168" y="180"/>
                  </a:lnTo>
                  <a:lnTo>
                    <a:pt x="168" y="144"/>
                  </a:lnTo>
                  <a:lnTo>
                    <a:pt x="162" y="120"/>
                  </a:lnTo>
                  <a:lnTo>
                    <a:pt x="162" y="108"/>
                  </a:lnTo>
                  <a:lnTo>
                    <a:pt x="168" y="102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44" y="84"/>
                  </a:lnTo>
                  <a:lnTo>
                    <a:pt x="126" y="84"/>
                  </a:lnTo>
                  <a:lnTo>
                    <a:pt x="108" y="78"/>
                  </a:lnTo>
                  <a:lnTo>
                    <a:pt x="96" y="78"/>
                  </a:lnTo>
                  <a:lnTo>
                    <a:pt x="78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8" y="36"/>
                  </a:lnTo>
                  <a:lnTo>
                    <a:pt x="96" y="24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56" y="0"/>
                  </a:lnTo>
                  <a:lnTo>
                    <a:pt x="156" y="6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18"/>
                  </a:lnTo>
                  <a:lnTo>
                    <a:pt x="198" y="18"/>
                  </a:lnTo>
                  <a:lnTo>
                    <a:pt x="210" y="18"/>
                  </a:lnTo>
                  <a:lnTo>
                    <a:pt x="222" y="18"/>
                  </a:lnTo>
                  <a:lnTo>
                    <a:pt x="234" y="12"/>
                  </a:lnTo>
                  <a:lnTo>
                    <a:pt x="252" y="18"/>
                  </a:lnTo>
                  <a:lnTo>
                    <a:pt x="252" y="24"/>
                  </a:lnTo>
                  <a:lnTo>
                    <a:pt x="258" y="36"/>
                  </a:lnTo>
                  <a:lnTo>
                    <a:pt x="258" y="66"/>
                  </a:lnTo>
                  <a:lnTo>
                    <a:pt x="252" y="84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82" y="126"/>
                  </a:lnTo>
                  <a:lnTo>
                    <a:pt x="294" y="132"/>
                  </a:lnTo>
                  <a:lnTo>
                    <a:pt x="306" y="138"/>
                  </a:lnTo>
                  <a:lnTo>
                    <a:pt x="324" y="138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60" y="144"/>
                  </a:lnTo>
                  <a:lnTo>
                    <a:pt x="396" y="144"/>
                  </a:lnTo>
                  <a:lnTo>
                    <a:pt x="408" y="150"/>
                  </a:lnTo>
                  <a:lnTo>
                    <a:pt x="414" y="180"/>
                  </a:lnTo>
                  <a:lnTo>
                    <a:pt x="420" y="186"/>
                  </a:lnTo>
                  <a:lnTo>
                    <a:pt x="426" y="192"/>
                  </a:lnTo>
                  <a:lnTo>
                    <a:pt x="426" y="198"/>
                  </a:lnTo>
                  <a:lnTo>
                    <a:pt x="432" y="198"/>
                  </a:lnTo>
                  <a:lnTo>
                    <a:pt x="438" y="210"/>
                  </a:lnTo>
                  <a:lnTo>
                    <a:pt x="450" y="216"/>
                  </a:lnTo>
                  <a:lnTo>
                    <a:pt x="468" y="228"/>
                  </a:lnTo>
                  <a:lnTo>
                    <a:pt x="492" y="234"/>
                  </a:lnTo>
                  <a:lnTo>
                    <a:pt x="492" y="246"/>
                  </a:lnTo>
                  <a:lnTo>
                    <a:pt x="492" y="270"/>
                  </a:lnTo>
                  <a:lnTo>
                    <a:pt x="486" y="294"/>
                  </a:lnTo>
                  <a:lnTo>
                    <a:pt x="486" y="312"/>
                  </a:lnTo>
                  <a:lnTo>
                    <a:pt x="486" y="330"/>
                  </a:lnTo>
                  <a:lnTo>
                    <a:pt x="492" y="348"/>
                  </a:lnTo>
                  <a:lnTo>
                    <a:pt x="498" y="360"/>
                  </a:lnTo>
                  <a:lnTo>
                    <a:pt x="510" y="366"/>
                  </a:lnTo>
                  <a:lnTo>
                    <a:pt x="516" y="384"/>
                  </a:lnTo>
                  <a:lnTo>
                    <a:pt x="522" y="414"/>
                  </a:lnTo>
                  <a:lnTo>
                    <a:pt x="528" y="414"/>
                  </a:lnTo>
                  <a:lnTo>
                    <a:pt x="534" y="426"/>
                  </a:lnTo>
                  <a:lnTo>
                    <a:pt x="528" y="432"/>
                  </a:lnTo>
                  <a:lnTo>
                    <a:pt x="468" y="426"/>
                  </a:lnTo>
                  <a:lnTo>
                    <a:pt x="462" y="4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3" name="Freeform 8">
              <a:extLst>
                <a:ext uri="{FF2B5EF4-FFF2-40B4-BE49-F238E27FC236}">
                  <a16:creationId xmlns:a16="http://schemas.microsoft.com/office/drawing/2014/main" id="{D473457C-872E-4E31-888A-D60FD52063A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98175" y="4307054"/>
              <a:ext cx="295177" cy="348894"/>
            </a:xfrm>
            <a:custGeom>
              <a:avLst/>
              <a:gdLst>
                <a:gd name="T0" fmla="*/ 3 w 552"/>
                <a:gd name="T1" fmla="*/ 46 h 660"/>
                <a:gd name="T2" fmla="*/ 4 w 552"/>
                <a:gd name="T3" fmla="*/ 42 h 660"/>
                <a:gd name="T4" fmla="*/ 2 w 552"/>
                <a:gd name="T5" fmla="*/ 38 h 660"/>
                <a:gd name="T6" fmla="*/ 0 w 552"/>
                <a:gd name="T7" fmla="*/ 34 h 660"/>
                <a:gd name="T8" fmla="*/ 2 w 552"/>
                <a:gd name="T9" fmla="*/ 30 h 660"/>
                <a:gd name="T10" fmla="*/ 3 w 552"/>
                <a:gd name="T11" fmla="*/ 27 h 660"/>
                <a:gd name="T12" fmla="*/ 5 w 552"/>
                <a:gd name="T13" fmla="*/ 23 h 660"/>
                <a:gd name="T14" fmla="*/ 5 w 552"/>
                <a:gd name="T15" fmla="*/ 15 h 660"/>
                <a:gd name="T16" fmla="*/ 6 w 552"/>
                <a:gd name="T17" fmla="*/ 11 h 660"/>
                <a:gd name="T18" fmla="*/ 11 w 552"/>
                <a:gd name="T19" fmla="*/ 9 h 660"/>
                <a:gd name="T20" fmla="*/ 10 w 552"/>
                <a:gd name="T21" fmla="*/ 5 h 660"/>
                <a:gd name="T22" fmla="*/ 12 w 552"/>
                <a:gd name="T23" fmla="*/ 1 h 660"/>
                <a:gd name="T24" fmla="*/ 16 w 552"/>
                <a:gd name="T25" fmla="*/ 2 h 660"/>
                <a:gd name="T26" fmla="*/ 23 w 552"/>
                <a:gd name="T27" fmla="*/ 8 h 660"/>
                <a:gd name="T28" fmla="*/ 23 w 552"/>
                <a:gd name="T29" fmla="*/ 11 h 660"/>
                <a:gd name="T30" fmla="*/ 27 w 552"/>
                <a:gd name="T31" fmla="*/ 12 h 660"/>
                <a:gd name="T32" fmla="*/ 29 w 552"/>
                <a:gd name="T33" fmla="*/ 17 h 660"/>
                <a:gd name="T34" fmla="*/ 31 w 552"/>
                <a:gd name="T35" fmla="*/ 15 h 660"/>
                <a:gd name="T36" fmla="*/ 33 w 552"/>
                <a:gd name="T37" fmla="*/ 17 h 660"/>
                <a:gd name="T38" fmla="*/ 36 w 552"/>
                <a:gd name="T39" fmla="*/ 23 h 660"/>
                <a:gd name="T40" fmla="*/ 41 w 552"/>
                <a:gd name="T41" fmla="*/ 33 h 660"/>
                <a:gd name="T42" fmla="*/ 43 w 552"/>
                <a:gd name="T43" fmla="*/ 36 h 660"/>
                <a:gd name="T44" fmla="*/ 43 w 552"/>
                <a:gd name="T45" fmla="*/ 37 h 660"/>
                <a:gd name="T46" fmla="*/ 41 w 552"/>
                <a:gd name="T47" fmla="*/ 35 h 660"/>
                <a:gd name="T48" fmla="*/ 43 w 552"/>
                <a:gd name="T49" fmla="*/ 37 h 660"/>
                <a:gd name="T50" fmla="*/ 44 w 552"/>
                <a:gd name="T51" fmla="*/ 39 h 660"/>
                <a:gd name="T52" fmla="*/ 47 w 552"/>
                <a:gd name="T53" fmla="*/ 41 h 660"/>
                <a:gd name="T54" fmla="*/ 47 w 552"/>
                <a:gd name="T55" fmla="*/ 44 h 660"/>
                <a:gd name="T56" fmla="*/ 48 w 552"/>
                <a:gd name="T57" fmla="*/ 46 h 660"/>
                <a:gd name="T58" fmla="*/ 47 w 552"/>
                <a:gd name="T59" fmla="*/ 46 h 660"/>
                <a:gd name="T60" fmla="*/ 44 w 552"/>
                <a:gd name="T61" fmla="*/ 46 h 660"/>
                <a:gd name="T62" fmla="*/ 47 w 552"/>
                <a:gd name="T63" fmla="*/ 47 h 660"/>
                <a:gd name="T64" fmla="*/ 47 w 552"/>
                <a:gd name="T65" fmla="*/ 49 h 660"/>
                <a:gd name="T66" fmla="*/ 47 w 552"/>
                <a:gd name="T67" fmla="*/ 52 h 660"/>
                <a:gd name="T68" fmla="*/ 46 w 552"/>
                <a:gd name="T69" fmla="*/ 53 h 660"/>
                <a:gd name="T70" fmla="*/ 43 w 552"/>
                <a:gd name="T71" fmla="*/ 54 h 660"/>
                <a:gd name="T72" fmla="*/ 37 w 552"/>
                <a:gd name="T73" fmla="*/ 54 h 660"/>
                <a:gd name="T74" fmla="*/ 30 w 552"/>
                <a:gd name="T75" fmla="*/ 54 h 660"/>
                <a:gd name="T76" fmla="*/ 29 w 552"/>
                <a:gd name="T77" fmla="*/ 53 h 660"/>
                <a:gd name="T78" fmla="*/ 27 w 552"/>
                <a:gd name="T79" fmla="*/ 53 h 660"/>
                <a:gd name="T80" fmla="*/ 29 w 552"/>
                <a:gd name="T81" fmla="*/ 53 h 660"/>
                <a:gd name="T82" fmla="*/ 28 w 552"/>
                <a:gd name="T83" fmla="*/ 54 h 660"/>
                <a:gd name="T84" fmla="*/ 24 w 552"/>
                <a:gd name="T85" fmla="*/ 54 h 660"/>
                <a:gd name="T86" fmla="*/ 20 w 552"/>
                <a:gd name="T87" fmla="*/ 55 h 660"/>
                <a:gd name="T88" fmla="*/ 15 w 552"/>
                <a:gd name="T89" fmla="*/ 56 h 660"/>
                <a:gd name="T90" fmla="*/ 12 w 552"/>
                <a:gd name="T91" fmla="*/ 56 h 660"/>
                <a:gd name="T92" fmla="*/ 11 w 552"/>
                <a:gd name="T93" fmla="*/ 57 h 660"/>
                <a:gd name="T94" fmla="*/ 9 w 552"/>
                <a:gd name="T95" fmla="*/ 57 h 660"/>
                <a:gd name="T96" fmla="*/ 7 w 552"/>
                <a:gd name="T97" fmla="*/ 56 h 660"/>
                <a:gd name="T98" fmla="*/ 5 w 552"/>
                <a:gd name="T99" fmla="*/ 55 h 660"/>
                <a:gd name="T100" fmla="*/ 7 w 552"/>
                <a:gd name="T101" fmla="*/ 54 h 660"/>
                <a:gd name="T102" fmla="*/ 5 w 552"/>
                <a:gd name="T103" fmla="*/ 54 h 660"/>
                <a:gd name="T104" fmla="*/ 5 w 552"/>
                <a:gd name="T105" fmla="*/ 53 h 660"/>
                <a:gd name="T106" fmla="*/ 4 w 552"/>
                <a:gd name="T107" fmla="*/ 49 h 660"/>
                <a:gd name="T108" fmla="*/ 45 w 552"/>
                <a:gd name="T109" fmla="*/ 38 h 66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52"/>
                <a:gd name="T166" fmla="*/ 0 h 660"/>
                <a:gd name="T167" fmla="*/ 552 w 552"/>
                <a:gd name="T168" fmla="*/ 660 h 66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52" h="660">
                  <a:moveTo>
                    <a:pt x="36" y="564"/>
                  </a:moveTo>
                  <a:lnTo>
                    <a:pt x="36" y="558"/>
                  </a:lnTo>
                  <a:lnTo>
                    <a:pt x="36" y="552"/>
                  </a:lnTo>
                  <a:lnTo>
                    <a:pt x="42" y="546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34"/>
                  </a:lnTo>
                  <a:lnTo>
                    <a:pt x="36" y="528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54" y="510"/>
                  </a:lnTo>
                  <a:lnTo>
                    <a:pt x="54" y="504"/>
                  </a:lnTo>
                  <a:lnTo>
                    <a:pt x="54" y="498"/>
                  </a:lnTo>
                  <a:lnTo>
                    <a:pt x="48" y="492"/>
                  </a:lnTo>
                  <a:lnTo>
                    <a:pt x="42" y="486"/>
                  </a:lnTo>
                  <a:lnTo>
                    <a:pt x="42" y="480"/>
                  </a:lnTo>
                  <a:lnTo>
                    <a:pt x="42" y="468"/>
                  </a:lnTo>
                  <a:lnTo>
                    <a:pt x="30" y="456"/>
                  </a:lnTo>
                  <a:lnTo>
                    <a:pt x="30" y="450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2"/>
                  </a:lnTo>
                  <a:lnTo>
                    <a:pt x="18" y="426"/>
                  </a:lnTo>
                  <a:lnTo>
                    <a:pt x="24" y="420"/>
                  </a:lnTo>
                  <a:lnTo>
                    <a:pt x="18" y="414"/>
                  </a:lnTo>
                  <a:lnTo>
                    <a:pt x="12" y="408"/>
                  </a:lnTo>
                  <a:lnTo>
                    <a:pt x="12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6" y="384"/>
                  </a:lnTo>
                  <a:lnTo>
                    <a:pt x="12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8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36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54" y="270"/>
                  </a:lnTo>
                  <a:lnTo>
                    <a:pt x="48" y="264"/>
                  </a:lnTo>
                  <a:lnTo>
                    <a:pt x="42" y="246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8" y="204"/>
                  </a:lnTo>
                  <a:lnTo>
                    <a:pt x="54" y="174"/>
                  </a:lnTo>
                  <a:lnTo>
                    <a:pt x="54" y="162"/>
                  </a:lnTo>
                  <a:lnTo>
                    <a:pt x="54" y="156"/>
                  </a:lnTo>
                  <a:lnTo>
                    <a:pt x="54" y="144"/>
                  </a:lnTo>
                  <a:lnTo>
                    <a:pt x="48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72" y="126"/>
                  </a:lnTo>
                  <a:lnTo>
                    <a:pt x="84" y="126"/>
                  </a:lnTo>
                  <a:lnTo>
                    <a:pt x="96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2" y="84"/>
                  </a:lnTo>
                  <a:lnTo>
                    <a:pt x="126" y="78"/>
                  </a:lnTo>
                  <a:lnTo>
                    <a:pt x="120" y="78"/>
                  </a:lnTo>
                  <a:lnTo>
                    <a:pt x="102" y="84"/>
                  </a:lnTo>
                  <a:lnTo>
                    <a:pt x="108" y="66"/>
                  </a:lnTo>
                  <a:lnTo>
                    <a:pt x="114" y="54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8" y="4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6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74" y="0"/>
                  </a:lnTo>
                  <a:lnTo>
                    <a:pt x="180" y="0"/>
                  </a:lnTo>
                  <a:lnTo>
                    <a:pt x="186" y="18"/>
                  </a:lnTo>
                  <a:lnTo>
                    <a:pt x="198" y="30"/>
                  </a:lnTo>
                  <a:lnTo>
                    <a:pt x="204" y="54"/>
                  </a:lnTo>
                  <a:lnTo>
                    <a:pt x="216" y="60"/>
                  </a:lnTo>
                  <a:lnTo>
                    <a:pt x="240" y="60"/>
                  </a:lnTo>
                  <a:lnTo>
                    <a:pt x="246" y="66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2" y="120"/>
                  </a:lnTo>
                  <a:lnTo>
                    <a:pt x="25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6" y="126"/>
                  </a:lnTo>
                  <a:lnTo>
                    <a:pt x="282" y="120"/>
                  </a:lnTo>
                  <a:lnTo>
                    <a:pt x="282" y="126"/>
                  </a:lnTo>
                  <a:lnTo>
                    <a:pt x="294" y="126"/>
                  </a:lnTo>
                  <a:lnTo>
                    <a:pt x="300" y="132"/>
                  </a:lnTo>
                  <a:lnTo>
                    <a:pt x="306" y="144"/>
                  </a:lnTo>
                  <a:lnTo>
                    <a:pt x="312" y="144"/>
                  </a:lnTo>
                  <a:lnTo>
                    <a:pt x="312" y="150"/>
                  </a:lnTo>
                  <a:lnTo>
                    <a:pt x="312" y="162"/>
                  </a:lnTo>
                  <a:lnTo>
                    <a:pt x="312" y="174"/>
                  </a:lnTo>
                  <a:lnTo>
                    <a:pt x="324" y="180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30" y="192"/>
                  </a:lnTo>
                  <a:lnTo>
                    <a:pt x="336" y="198"/>
                  </a:lnTo>
                  <a:lnTo>
                    <a:pt x="342" y="192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54" y="180"/>
                  </a:lnTo>
                  <a:lnTo>
                    <a:pt x="354" y="174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84" y="192"/>
                  </a:lnTo>
                  <a:lnTo>
                    <a:pt x="390" y="204"/>
                  </a:lnTo>
                  <a:lnTo>
                    <a:pt x="390" y="210"/>
                  </a:lnTo>
                  <a:lnTo>
                    <a:pt x="390" y="216"/>
                  </a:lnTo>
                  <a:lnTo>
                    <a:pt x="384" y="234"/>
                  </a:lnTo>
                  <a:lnTo>
                    <a:pt x="390" y="240"/>
                  </a:lnTo>
                  <a:lnTo>
                    <a:pt x="408" y="252"/>
                  </a:lnTo>
                  <a:lnTo>
                    <a:pt x="414" y="264"/>
                  </a:lnTo>
                  <a:lnTo>
                    <a:pt x="408" y="300"/>
                  </a:lnTo>
                  <a:lnTo>
                    <a:pt x="414" y="312"/>
                  </a:lnTo>
                  <a:lnTo>
                    <a:pt x="426" y="336"/>
                  </a:lnTo>
                  <a:lnTo>
                    <a:pt x="438" y="354"/>
                  </a:lnTo>
                  <a:lnTo>
                    <a:pt x="444" y="366"/>
                  </a:lnTo>
                  <a:lnTo>
                    <a:pt x="456" y="366"/>
                  </a:lnTo>
                  <a:lnTo>
                    <a:pt x="474" y="378"/>
                  </a:lnTo>
                  <a:lnTo>
                    <a:pt x="474" y="384"/>
                  </a:lnTo>
                  <a:lnTo>
                    <a:pt x="480" y="390"/>
                  </a:lnTo>
                  <a:lnTo>
                    <a:pt x="486" y="396"/>
                  </a:lnTo>
                  <a:lnTo>
                    <a:pt x="486" y="402"/>
                  </a:lnTo>
                  <a:lnTo>
                    <a:pt x="480" y="408"/>
                  </a:lnTo>
                  <a:lnTo>
                    <a:pt x="486" y="408"/>
                  </a:lnTo>
                  <a:lnTo>
                    <a:pt x="486" y="414"/>
                  </a:lnTo>
                  <a:lnTo>
                    <a:pt x="492" y="414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32"/>
                  </a:lnTo>
                  <a:lnTo>
                    <a:pt x="498" y="438"/>
                  </a:lnTo>
                  <a:lnTo>
                    <a:pt x="492" y="432"/>
                  </a:lnTo>
                  <a:lnTo>
                    <a:pt x="486" y="426"/>
                  </a:lnTo>
                  <a:lnTo>
                    <a:pt x="486" y="420"/>
                  </a:lnTo>
                  <a:lnTo>
                    <a:pt x="486" y="414"/>
                  </a:lnTo>
                  <a:lnTo>
                    <a:pt x="480" y="414"/>
                  </a:lnTo>
                  <a:lnTo>
                    <a:pt x="480" y="408"/>
                  </a:lnTo>
                  <a:lnTo>
                    <a:pt x="474" y="408"/>
                  </a:lnTo>
                  <a:lnTo>
                    <a:pt x="468" y="408"/>
                  </a:lnTo>
                  <a:lnTo>
                    <a:pt x="468" y="402"/>
                  </a:lnTo>
                  <a:lnTo>
                    <a:pt x="462" y="402"/>
                  </a:lnTo>
                  <a:lnTo>
                    <a:pt x="462" y="408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80" y="426"/>
                  </a:lnTo>
                  <a:lnTo>
                    <a:pt x="486" y="426"/>
                  </a:lnTo>
                  <a:lnTo>
                    <a:pt x="486" y="432"/>
                  </a:lnTo>
                  <a:lnTo>
                    <a:pt x="492" y="438"/>
                  </a:lnTo>
                  <a:lnTo>
                    <a:pt x="498" y="438"/>
                  </a:lnTo>
                  <a:lnTo>
                    <a:pt x="504" y="444"/>
                  </a:lnTo>
                  <a:lnTo>
                    <a:pt x="510" y="444"/>
                  </a:lnTo>
                  <a:lnTo>
                    <a:pt x="510" y="450"/>
                  </a:lnTo>
                  <a:lnTo>
                    <a:pt x="510" y="456"/>
                  </a:lnTo>
                  <a:lnTo>
                    <a:pt x="516" y="456"/>
                  </a:lnTo>
                  <a:lnTo>
                    <a:pt x="516" y="462"/>
                  </a:lnTo>
                  <a:lnTo>
                    <a:pt x="522" y="462"/>
                  </a:lnTo>
                  <a:lnTo>
                    <a:pt x="522" y="468"/>
                  </a:lnTo>
                  <a:lnTo>
                    <a:pt x="528" y="468"/>
                  </a:lnTo>
                  <a:lnTo>
                    <a:pt x="534" y="468"/>
                  </a:lnTo>
                  <a:lnTo>
                    <a:pt x="534" y="474"/>
                  </a:lnTo>
                  <a:lnTo>
                    <a:pt x="540" y="474"/>
                  </a:lnTo>
                  <a:lnTo>
                    <a:pt x="540" y="480"/>
                  </a:lnTo>
                  <a:lnTo>
                    <a:pt x="546" y="486"/>
                  </a:lnTo>
                  <a:lnTo>
                    <a:pt x="546" y="492"/>
                  </a:lnTo>
                  <a:lnTo>
                    <a:pt x="546" y="498"/>
                  </a:lnTo>
                  <a:lnTo>
                    <a:pt x="546" y="504"/>
                  </a:lnTo>
                  <a:lnTo>
                    <a:pt x="540" y="504"/>
                  </a:lnTo>
                  <a:lnTo>
                    <a:pt x="546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10"/>
                  </a:lnTo>
                  <a:lnTo>
                    <a:pt x="552" y="516"/>
                  </a:lnTo>
                  <a:lnTo>
                    <a:pt x="552" y="522"/>
                  </a:lnTo>
                  <a:lnTo>
                    <a:pt x="552" y="528"/>
                  </a:lnTo>
                  <a:lnTo>
                    <a:pt x="552" y="534"/>
                  </a:lnTo>
                  <a:lnTo>
                    <a:pt x="552" y="540"/>
                  </a:lnTo>
                  <a:lnTo>
                    <a:pt x="546" y="540"/>
                  </a:lnTo>
                  <a:lnTo>
                    <a:pt x="546" y="546"/>
                  </a:lnTo>
                  <a:lnTo>
                    <a:pt x="546" y="540"/>
                  </a:lnTo>
                  <a:lnTo>
                    <a:pt x="546" y="534"/>
                  </a:lnTo>
                  <a:lnTo>
                    <a:pt x="540" y="534"/>
                  </a:lnTo>
                  <a:lnTo>
                    <a:pt x="540" y="528"/>
                  </a:lnTo>
                  <a:lnTo>
                    <a:pt x="534" y="528"/>
                  </a:lnTo>
                  <a:lnTo>
                    <a:pt x="528" y="528"/>
                  </a:lnTo>
                  <a:lnTo>
                    <a:pt x="522" y="528"/>
                  </a:lnTo>
                  <a:lnTo>
                    <a:pt x="516" y="528"/>
                  </a:lnTo>
                  <a:lnTo>
                    <a:pt x="510" y="528"/>
                  </a:lnTo>
                  <a:lnTo>
                    <a:pt x="510" y="534"/>
                  </a:lnTo>
                  <a:lnTo>
                    <a:pt x="510" y="528"/>
                  </a:lnTo>
                  <a:lnTo>
                    <a:pt x="516" y="528"/>
                  </a:lnTo>
                  <a:lnTo>
                    <a:pt x="522" y="528"/>
                  </a:lnTo>
                  <a:lnTo>
                    <a:pt x="528" y="528"/>
                  </a:lnTo>
                  <a:lnTo>
                    <a:pt x="534" y="534"/>
                  </a:lnTo>
                  <a:lnTo>
                    <a:pt x="540" y="534"/>
                  </a:lnTo>
                  <a:lnTo>
                    <a:pt x="540" y="540"/>
                  </a:lnTo>
                  <a:lnTo>
                    <a:pt x="540" y="546"/>
                  </a:lnTo>
                  <a:lnTo>
                    <a:pt x="546" y="546"/>
                  </a:lnTo>
                  <a:lnTo>
                    <a:pt x="546" y="552"/>
                  </a:lnTo>
                  <a:lnTo>
                    <a:pt x="552" y="552"/>
                  </a:lnTo>
                  <a:lnTo>
                    <a:pt x="552" y="558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0" y="576"/>
                  </a:lnTo>
                  <a:lnTo>
                    <a:pt x="540" y="582"/>
                  </a:lnTo>
                  <a:lnTo>
                    <a:pt x="540" y="588"/>
                  </a:lnTo>
                  <a:lnTo>
                    <a:pt x="534" y="594"/>
                  </a:lnTo>
                  <a:lnTo>
                    <a:pt x="534" y="600"/>
                  </a:lnTo>
                  <a:lnTo>
                    <a:pt x="528" y="600"/>
                  </a:lnTo>
                  <a:lnTo>
                    <a:pt x="522" y="594"/>
                  </a:lnTo>
                  <a:lnTo>
                    <a:pt x="528" y="600"/>
                  </a:lnTo>
                  <a:lnTo>
                    <a:pt x="534" y="600"/>
                  </a:lnTo>
                  <a:lnTo>
                    <a:pt x="534" y="606"/>
                  </a:lnTo>
                  <a:lnTo>
                    <a:pt x="528" y="606"/>
                  </a:lnTo>
                  <a:lnTo>
                    <a:pt x="528" y="612"/>
                  </a:lnTo>
                  <a:lnTo>
                    <a:pt x="522" y="612"/>
                  </a:lnTo>
                  <a:lnTo>
                    <a:pt x="522" y="618"/>
                  </a:lnTo>
                  <a:lnTo>
                    <a:pt x="522" y="624"/>
                  </a:lnTo>
                  <a:lnTo>
                    <a:pt x="510" y="624"/>
                  </a:lnTo>
                  <a:lnTo>
                    <a:pt x="498" y="624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0" y="624"/>
                  </a:lnTo>
                  <a:lnTo>
                    <a:pt x="474" y="624"/>
                  </a:lnTo>
                  <a:lnTo>
                    <a:pt x="468" y="618"/>
                  </a:lnTo>
                  <a:lnTo>
                    <a:pt x="456" y="618"/>
                  </a:lnTo>
                  <a:lnTo>
                    <a:pt x="450" y="618"/>
                  </a:lnTo>
                  <a:lnTo>
                    <a:pt x="426" y="618"/>
                  </a:lnTo>
                  <a:lnTo>
                    <a:pt x="420" y="618"/>
                  </a:lnTo>
                  <a:lnTo>
                    <a:pt x="414" y="618"/>
                  </a:lnTo>
                  <a:lnTo>
                    <a:pt x="408" y="618"/>
                  </a:lnTo>
                  <a:lnTo>
                    <a:pt x="396" y="618"/>
                  </a:lnTo>
                  <a:lnTo>
                    <a:pt x="366" y="618"/>
                  </a:lnTo>
                  <a:lnTo>
                    <a:pt x="348" y="624"/>
                  </a:lnTo>
                  <a:lnTo>
                    <a:pt x="342" y="624"/>
                  </a:lnTo>
                  <a:lnTo>
                    <a:pt x="342" y="618"/>
                  </a:lnTo>
                  <a:lnTo>
                    <a:pt x="336" y="618"/>
                  </a:lnTo>
                  <a:lnTo>
                    <a:pt x="336" y="612"/>
                  </a:lnTo>
                  <a:lnTo>
                    <a:pt x="342" y="612"/>
                  </a:lnTo>
                  <a:lnTo>
                    <a:pt x="348" y="612"/>
                  </a:lnTo>
                  <a:lnTo>
                    <a:pt x="342" y="612"/>
                  </a:lnTo>
                  <a:lnTo>
                    <a:pt x="336" y="612"/>
                  </a:lnTo>
                  <a:lnTo>
                    <a:pt x="336" y="606"/>
                  </a:lnTo>
                  <a:lnTo>
                    <a:pt x="330" y="606"/>
                  </a:lnTo>
                  <a:lnTo>
                    <a:pt x="330" y="600"/>
                  </a:lnTo>
                  <a:lnTo>
                    <a:pt x="324" y="600"/>
                  </a:lnTo>
                  <a:lnTo>
                    <a:pt x="324" y="606"/>
                  </a:lnTo>
                  <a:lnTo>
                    <a:pt x="318" y="606"/>
                  </a:lnTo>
                  <a:lnTo>
                    <a:pt x="318" y="612"/>
                  </a:lnTo>
                  <a:lnTo>
                    <a:pt x="312" y="612"/>
                  </a:lnTo>
                  <a:lnTo>
                    <a:pt x="306" y="606"/>
                  </a:lnTo>
                  <a:lnTo>
                    <a:pt x="306" y="612"/>
                  </a:lnTo>
                  <a:lnTo>
                    <a:pt x="312" y="612"/>
                  </a:lnTo>
                  <a:lnTo>
                    <a:pt x="318" y="612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30" y="606"/>
                  </a:lnTo>
                  <a:lnTo>
                    <a:pt x="336" y="612"/>
                  </a:lnTo>
                  <a:lnTo>
                    <a:pt x="336" y="618"/>
                  </a:lnTo>
                  <a:lnTo>
                    <a:pt x="330" y="618"/>
                  </a:lnTo>
                  <a:lnTo>
                    <a:pt x="336" y="618"/>
                  </a:lnTo>
                  <a:lnTo>
                    <a:pt x="336" y="624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288" y="624"/>
                  </a:lnTo>
                  <a:lnTo>
                    <a:pt x="282" y="624"/>
                  </a:lnTo>
                  <a:lnTo>
                    <a:pt x="270" y="630"/>
                  </a:lnTo>
                  <a:lnTo>
                    <a:pt x="264" y="630"/>
                  </a:lnTo>
                  <a:lnTo>
                    <a:pt x="258" y="630"/>
                  </a:lnTo>
                  <a:lnTo>
                    <a:pt x="252" y="630"/>
                  </a:lnTo>
                  <a:lnTo>
                    <a:pt x="246" y="630"/>
                  </a:lnTo>
                  <a:lnTo>
                    <a:pt x="240" y="630"/>
                  </a:lnTo>
                  <a:lnTo>
                    <a:pt x="228" y="636"/>
                  </a:lnTo>
                  <a:lnTo>
                    <a:pt x="222" y="636"/>
                  </a:lnTo>
                  <a:lnTo>
                    <a:pt x="210" y="636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42"/>
                  </a:lnTo>
                  <a:lnTo>
                    <a:pt x="186" y="642"/>
                  </a:lnTo>
                  <a:lnTo>
                    <a:pt x="180" y="642"/>
                  </a:lnTo>
                  <a:lnTo>
                    <a:pt x="168" y="642"/>
                  </a:lnTo>
                  <a:lnTo>
                    <a:pt x="162" y="642"/>
                  </a:lnTo>
                  <a:lnTo>
                    <a:pt x="162" y="648"/>
                  </a:lnTo>
                  <a:lnTo>
                    <a:pt x="156" y="648"/>
                  </a:lnTo>
                  <a:lnTo>
                    <a:pt x="150" y="648"/>
                  </a:lnTo>
                  <a:lnTo>
                    <a:pt x="144" y="648"/>
                  </a:lnTo>
                  <a:lnTo>
                    <a:pt x="138" y="648"/>
                  </a:lnTo>
                  <a:lnTo>
                    <a:pt x="132" y="648"/>
                  </a:lnTo>
                  <a:lnTo>
                    <a:pt x="126" y="642"/>
                  </a:lnTo>
                  <a:lnTo>
                    <a:pt x="126" y="636"/>
                  </a:lnTo>
                  <a:lnTo>
                    <a:pt x="120" y="636"/>
                  </a:lnTo>
                  <a:lnTo>
                    <a:pt x="126" y="642"/>
                  </a:lnTo>
                  <a:lnTo>
                    <a:pt x="126" y="648"/>
                  </a:lnTo>
                  <a:lnTo>
                    <a:pt x="132" y="648"/>
                  </a:lnTo>
                  <a:lnTo>
                    <a:pt x="126" y="654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54"/>
                  </a:lnTo>
                  <a:lnTo>
                    <a:pt x="108" y="660"/>
                  </a:lnTo>
                  <a:lnTo>
                    <a:pt x="108" y="654"/>
                  </a:lnTo>
                  <a:lnTo>
                    <a:pt x="102" y="654"/>
                  </a:lnTo>
                  <a:lnTo>
                    <a:pt x="102" y="660"/>
                  </a:lnTo>
                  <a:lnTo>
                    <a:pt x="108" y="660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0" y="660"/>
                  </a:lnTo>
                  <a:lnTo>
                    <a:pt x="90" y="654"/>
                  </a:lnTo>
                  <a:lnTo>
                    <a:pt x="84" y="648"/>
                  </a:lnTo>
                  <a:lnTo>
                    <a:pt x="84" y="642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72" y="636"/>
                  </a:lnTo>
                  <a:lnTo>
                    <a:pt x="78" y="636"/>
                  </a:lnTo>
                  <a:lnTo>
                    <a:pt x="72" y="636"/>
                  </a:lnTo>
                  <a:lnTo>
                    <a:pt x="66" y="636"/>
                  </a:lnTo>
                  <a:lnTo>
                    <a:pt x="60" y="636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60" y="618"/>
                  </a:lnTo>
                  <a:lnTo>
                    <a:pt x="66" y="618"/>
                  </a:lnTo>
                  <a:lnTo>
                    <a:pt x="72" y="618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2" y="612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12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54" y="618"/>
                  </a:lnTo>
                  <a:lnTo>
                    <a:pt x="54" y="624"/>
                  </a:lnTo>
                  <a:lnTo>
                    <a:pt x="48" y="618"/>
                  </a:lnTo>
                  <a:lnTo>
                    <a:pt x="42" y="618"/>
                  </a:lnTo>
                  <a:lnTo>
                    <a:pt x="42" y="612"/>
                  </a:lnTo>
                  <a:lnTo>
                    <a:pt x="48" y="606"/>
                  </a:lnTo>
                  <a:lnTo>
                    <a:pt x="54" y="606"/>
                  </a:lnTo>
                  <a:lnTo>
                    <a:pt x="54" y="600"/>
                  </a:lnTo>
                  <a:lnTo>
                    <a:pt x="54" y="594"/>
                  </a:lnTo>
                  <a:lnTo>
                    <a:pt x="54" y="588"/>
                  </a:lnTo>
                  <a:lnTo>
                    <a:pt x="48" y="588"/>
                  </a:lnTo>
                  <a:lnTo>
                    <a:pt x="48" y="582"/>
                  </a:lnTo>
                  <a:lnTo>
                    <a:pt x="42" y="582"/>
                  </a:lnTo>
                  <a:lnTo>
                    <a:pt x="42" y="570"/>
                  </a:lnTo>
                  <a:lnTo>
                    <a:pt x="42" y="564"/>
                  </a:lnTo>
                  <a:lnTo>
                    <a:pt x="36" y="564"/>
                  </a:lnTo>
                  <a:close/>
                  <a:moveTo>
                    <a:pt x="498" y="420"/>
                  </a:moveTo>
                  <a:lnTo>
                    <a:pt x="504" y="426"/>
                  </a:lnTo>
                  <a:lnTo>
                    <a:pt x="510" y="432"/>
                  </a:lnTo>
                  <a:lnTo>
                    <a:pt x="516" y="432"/>
                  </a:lnTo>
                  <a:lnTo>
                    <a:pt x="516" y="438"/>
                  </a:lnTo>
                  <a:lnTo>
                    <a:pt x="510" y="438"/>
                  </a:lnTo>
                  <a:lnTo>
                    <a:pt x="504" y="438"/>
                  </a:lnTo>
                  <a:lnTo>
                    <a:pt x="504" y="432"/>
                  </a:lnTo>
                  <a:lnTo>
                    <a:pt x="498" y="432"/>
                  </a:lnTo>
                  <a:lnTo>
                    <a:pt x="498" y="426"/>
                  </a:lnTo>
                  <a:lnTo>
                    <a:pt x="498" y="4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4" name="Freeform 9">
              <a:extLst>
                <a:ext uri="{FF2B5EF4-FFF2-40B4-BE49-F238E27FC236}">
                  <a16:creationId xmlns:a16="http://schemas.microsoft.com/office/drawing/2014/main" id="{E0116D32-BD2E-45EA-B818-A3082585D5F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3055" y="2468650"/>
              <a:ext cx="800556" cy="1207710"/>
            </a:xfrm>
            <a:custGeom>
              <a:avLst/>
              <a:gdLst>
                <a:gd name="T0" fmla="*/ 24 w 1506"/>
                <a:gd name="T1" fmla="*/ 190 h 2274"/>
                <a:gd name="T2" fmla="*/ 25 w 1506"/>
                <a:gd name="T3" fmla="*/ 180 h 2274"/>
                <a:gd name="T4" fmla="*/ 21 w 1506"/>
                <a:gd name="T5" fmla="*/ 174 h 2274"/>
                <a:gd name="T6" fmla="*/ 17 w 1506"/>
                <a:gd name="T7" fmla="*/ 170 h 2274"/>
                <a:gd name="T8" fmla="*/ 12 w 1506"/>
                <a:gd name="T9" fmla="*/ 168 h 2274"/>
                <a:gd name="T10" fmla="*/ 10 w 1506"/>
                <a:gd name="T11" fmla="*/ 173 h 2274"/>
                <a:gd name="T12" fmla="*/ 7 w 1506"/>
                <a:gd name="T13" fmla="*/ 174 h 2274"/>
                <a:gd name="T14" fmla="*/ 0 w 1506"/>
                <a:gd name="T15" fmla="*/ 163 h 2274"/>
                <a:gd name="T16" fmla="*/ 16 w 1506"/>
                <a:gd name="T17" fmla="*/ 140 h 2274"/>
                <a:gd name="T18" fmla="*/ 19 w 1506"/>
                <a:gd name="T19" fmla="*/ 137 h 2274"/>
                <a:gd name="T20" fmla="*/ 24 w 1506"/>
                <a:gd name="T21" fmla="*/ 126 h 2274"/>
                <a:gd name="T22" fmla="*/ 23 w 1506"/>
                <a:gd name="T23" fmla="*/ 105 h 2274"/>
                <a:gd name="T24" fmla="*/ 14 w 1506"/>
                <a:gd name="T25" fmla="*/ 86 h 2274"/>
                <a:gd name="T26" fmla="*/ 8 w 1506"/>
                <a:gd name="T27" fmla="*/ 84 h 2274"/>
                <a:gd name="T28" fmla="*/ 5 w 1506"/>
                <a:gd name="T29" fmla="*/ 79 h 2274"/>
                <a:gd name="T30" fmla="*/ 16 w 1506"/>
                <a:gd name="T31" fmla="*/ 71 h 2274"/>
                <a:gd name="T32" fmla="*/ 28 w 1506"/>
                <a:gd name="T33" fmla="*/ 55 h 2274"/>
                <a:gd name="T34" fmla="*/ 29 w 1506"/>
                <a:gd name="T35" fmla="*/ 48 h 2274"/>
                <a:gd name="T36" fmla="*/ 35 w 1506"/>
                <a:gd name="T37" fmla="*/ 50 h 2274"/>
                <a:gd name="T38" fmla="*/ 42 w 1506"/>
                <a:gd name="T39" fmla="*/ 47 h 2274"/>
                <a:gd name="T40" fmla="*/ 63 w 1506"/>
                <a:gd name="T41" fmla="*/ 34 h 2274"/>
                <a:gd name="T42" fmla="*/ 74 w 1506"/>
                <a:gd name="T43" fmla="*/ 27 h 2274"/>
                <a:gd name="T44" fmla="*/ 81 w 1506"/>
                <a:gd name="T45" fmla="*/ 20 h 2274"/>
                <a:gd name="T46" fmla="*/ 89 w 1506"/>
                <a:gd name="T47" fmla="*/ 20 h 2274"/>
                <a:gd name="T48" fmla="*/ 98 w 1506"/>
                <a:gd name="T49" fmla="*/ 27 h 2274"/>
                <a:gd name="T50" fmla="*/ 106 w 1506"/>
                <a:gd name="T51" fmla="*/ 17 h 2274"/>
                <a:gd name="T52" fmla="*/ 111 w 1506"/>
                <a:gd name="T53" fmla="*/ 8 h 2274"/>
                <a:gd name="T54" fmla="*/ 121 w 1506"/>
                <a:gd name="T55" fmla="*/ 2 h 2274"/>
                <a:gd name="T56" fmla="*/ 129 w 1506"/>
                <a:gd name="T57" fmla="*/ 5 h 2274"/>
                <a:gd name="T58" fmla="*/ 125 w 1506"/>
                <a:gd name="T59" fmla="*/ 12 h 2274"/>
                <a:gd name="T60" fmla="*/ 122 w 1506"/>
                <a:gd name="T61" fmla="*/ 20 h 2274"/>
                <a:gd name="T62" fmla="*/ 122 w 1506"/>
                <a:gd name="T63" fmla="*/ 27 h 2274"/>
                <a:gd name="T64" fmla="*/ 120 w 1506"/>
                <a:gd name="T65" fmla="*/ 36 h 2274"/>
                <a:gd name="T66" fmla="*/ 116 w 1506"/>
                <a:gd name="T67" fmla="*/ 43 h 2274"/>
                <a:gd name="T68" fmla="*/ 109 w 1506"/>
                <a:gd name="T69" fmla="*/ 47 h 2274"/>
                <a:gd name="T70" fmla="*/ 108 w 1506"/>
                <a:gd name="T71" fmla="*/ 54 h 2274"/>
                <a:gd name="T72" fmla="*/ 106 w 1506"/>
                <a:gd name="T73" fmla="*/ 59 h 2274"/>
                <a:gd name="T74" fmla="*/ 109 w 1506"/>
                <a:gd name="T75" fmla="*/ 64 h 2274"/>
                <a:gd name="T76" fmla="*/ 106 w 1506"/>
                <a:gd name="T77" fmla="*/ 70 h 2274"/>
                <a:gd name="T78" fmla="*/ 105 w 1506"/>
                <a:gd name="T79" fmla="*/ 75 h 2274"/>
                <a:gd name="T80" fmla="*/ 101 w 1506"/>
                <a:gd name="T81" fmla="*/ 78 h 2274"/>
                <a:gd name="T82" fmla="*/ 92 w 1506"/>
                <a:gd name="T83" fmla="*/ 81 h 2274"/>
                <a:gd name="T84" fmla="*/ 85 w 1506"/>
                <a:gd name="T85" fmla="*/ 85 h 2274"/>
                <a:gd name="T86" fmla="*/ 87 w 1506"/>
                <a:gd name="T87" fmla="*/ 91 h 2274"/>
                <a:gd name="T88" fmla="*/ 86 w 1506"/>
                <a:gd name="T89" fmla="*/ 98 h 2274"/>
                <a:gd name="T90" fmla="*/ 86 w 1506"/>
                <a:gd name="T91" fmla="*/ 103 h 2274"/>
                <a:gd name="T92" fmla="*/ 82 w 1506"/>
                <a:gd name="T93" fmla="*/ 111 h 2274"/>
                <a:gd name="T94" fmla="*/ 81 w 1506"/>
                <a:gd name="T95" fmla="*/ 116 h 2274"/>
                <a:gd name="T96" fmla="*/ 78 w 1506"/>
                <a:gd name="T97" fmla="*/ 120 h 2274"/>
                <a:gd name="T98" fmla="*/ 76 w 1506"/>
                <a:gd name="T99" fmla="*/ 126 h 2274"/>
                <a:gd name="T100" fmla="*/ 68 w 1506"/>
                <a:gd name="T101" fmla="*/ 129 h 2274"/>
                <a:gd name="T102" fmla="*/ 62 w 1506"/>
                <a:gd name="T103" fmla="*/ 131 h 2274"/>
                <a:gd name="T104" fmla="*/ 58 w 1506"/>
                <a:gd name="T105" fmla="*/ 136 h 2274"/>
                <a:gd name="T106" fmla="*/ 51 w 1506"/>
                <a:gd name="T107" fmla="*/ 138 h 2274"/>
                <a:gd name="T108" fmla="*/ 51 w 1506"/>
                <a:gd name="T109" fmla="*/ 147 h 2274"/>
                <a:gd name="T110" fmla="*/ 49 w 1506"/>
                <a:gd name="T111" fmla="*/ 159 h 2274"/>
                <a:gd name="T112" fmla="*/ 48 w 1506"/>
                <a:gd name="T113" fmla="*/ 166 h 2274"/>
                <a:gd name="T114" fmla="*/ 41 w 1506"/>
                <a:gd name="T115" fmla="*/ 174 h 2274"/>
                <a:gd name="T116" fmla="*/ 39 w 1506"/>
                <a:gd name="T117" fmla="*/ 181 h 2274"/>
                <a:gd name="T118" fmla="*/ 37 w 1506"/>
                <a:gd name="T119" fmla="*/ 190 h 2274"/>
                <a:gd name="T120" fmla="*/ 29 w 1506"/>
                <a:gd name="T121" fmla="*/ 198 h 22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06"/>
                <a:gd name="T184" fmla="*/ 0 h 2274"/>
                <a:gd name="T185" fmla="*/ 1506 w 1506"/>
                <a:gd name="T186" fmla="*/ 2274 h 227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06" h="2274">
                  <a:moveTo>
                    <a:pt x="330" y="2274"/>
                  </a:moveTo>
                  <a:lnTo>
                    <a:pt x="318" y="2262"/>
                  </a:lnTo>
                  <a:lnTo>
                    <a:pt x="312" y="2238"/>
                  </a:lnTo>
                  <a:lnTo>
                    <a:pt x="312" y="2232"/>
                  </a:lnTo>
                  <a:lnTo>
                    <a:pt x="294" y="2214"/>
                  </a:lnTo>
                  <a:lnTo>
                    <a:pt x="288" y="2208"/>
                  </a:lnTo>
                  <a:lnTo>
                    <a:pt x="288" y="2202"/>
                  </a:lnTo>
                  <a:lnTo>
                    <a:pt x="276" y="2196"/>
                  </a:lnTo>
                  <a:lnTo>
                    <a:pt x="276" y="2190"/>
                  </a:lnTo>
                  <a:lnTo>
                    <a:pt x="282" y="2190"/>
                  </a:lnTo>
                  <a:lnTo>
                    <a:pt x="282" y="2184"/>
                  </a:lnTo>
                  <a:lnTo>
                    <a:pt x="276" y="2172"/>
                  </a:lnTo>
                  <a:lnTo>
                    <a:pt x="276" y="2166"/>
                  </a:lnTo>
                  <a:lnTo>
                    <a:pt x="282" y="2166"/>
                  </a:lnTo>
                  <a:lnTo>
                    <a:pt x="282" y="2154"/>
                  </a:lnTo>
                  <a:lnTo>
                    <a:pt x="276" y="2136"/>
                  </a:lnTo>
                  <a:lnTo>
                    <a:pt x="276" y="2112"/>
                  </a:lnTo>
                  <a:lnTo>
                    <a:pt x="282" y="2088"/>
                  </a:lnTo>
                  <a:lnTo>
                    <a:pt x="282" y="2082"/>
                  </a:lnTo>
                  <a:lnTo>
                    <a:pt x="282" y="2076"/>
                  </a:lnTo>
                  <a:lnTo>
                    <a:pt x="282" y="2070"/>
                  </a:lnTo>
                  <a:lnTo>
                    <a:pt x="288" y="2070"/>
                  </a:lnTo>
                  <a:lnTo>
                    <a:pt x="288" y="2064"/>
                  </a:lnTo>
                  <a:lnTo>
                    <a:pt x="282" y="2052"/>
                  </a:lnTo>
                  <a:lnTo>
                    <a:pt x="282" y="2046"/>
                  </a:lnTo>
                  <a:lnTo>
                    <a:pt x="276" y="2040"/>
                  </a:lnTo>
                  <a:lnTo>
                    <a:pt x="270" y="2034"/>
                  </a:lnTo>
                  <a:lnTo>
                    <a:pt x="264" y="2022"/>
                  </a:lnTo>
                  <a:lnTo>
                    <a:pt x="258" y="2022"/>
                  </a:lnTo>
                  <a:lnTo>
                    <a:pt x="258" y="2016"/>
                  </a:lnTo>
                  <a:lnTo>
                    <a:pt x="252" y="2016"/>
                  </a:lnTo>
                  <a:lnTo>
                    <a:pt x="246" y="2016"/>
                  </a:lnTo>
                  <a:lnTo>
                    <a:pt x="240" y="2010"/>
                  </a:lnTo>
                  <a:lnTo>
                    <a:pt x="234" y="2004"/>
                  </a:lnTo>
                  <a:lnTo>
                    <a:pt x="228" y="2004"/>
                  </a:lnTo>
                  <a:lnTo>
                    <a:pt x="228" y="1998"/>
                  </a:lnTo>
                  <a:lnTo>
                    <a:pt x="228" y="1992"/>
                  </a:lnTo>
                  <a:lnTo>
                    <a:pt x="222" y="1992"/>
                  </a:lnTo>
                  <a:lnTo>
                    <a:pt x="222" y="1986"/>
                  </a:lnTo>
                  <a:lnTo>
                    <a:pt x="216" y="1986"/>
                  </a:lnTo>
                  <a:lnTo>
                    <a:pt x="210" y="1980"/>
                  </a:lnTo>
                  <a:lnTo>
                    <a:pt x="216" y="1974"/>
                  </a:lnTo>
                  <a:lnTo>
                    <a:pt x="210" y="1968"/>
                  </a:lnTo>
                  <a:lnTo>
                    <a:pt x="198" y="1956"/>
                  </a:lnTo>
                  <a:lnTo>
                    <a:pt x="192" y="1956"/>
                  </a:lnTo>
                  <a:lnTo>
                    <a:pt x="186" y="1956"/>
                  </a:lnTo>
                  <a:lnTo>
                    <a:pt x="180" y="1944"/>
                  </a:lnTo>
                  <a:lnTo>
                    <a:pt x="180" y="1938"/>
                  </a:lnTo>
                  <a:lnTo>
                    <a:pt x="174" y="1932"/>
                  </a:lnTo>
                  <a:lnTo>
                    <a:pt x="168" y="1932"/>
                  </a:lnTo>
                  <a:lnTo>
                    <a:pt x="162" y="1932"/>
                  </a:lnTo>
                  <a:lnTo>
                    <a:pt x="150" y="1932"/>
                  </a:lnTo>
                  <a:lnTo>
                    <a:pt x="150" y="1926"/>
                  </a:lnTo>
                  <a:lnTo>
                    <a:pt x="150" y="1932"/>
                  </a:lnTo>
                  <a:lnTo>
                    <a:pt x="144" y="1932"/>
                  </a:lnTo>
                  <a:lnTo>
                    <a:pt x="138" y="1932"/>
                  </a:lnTo>
                  <a:lnTo>
                    <a:pt x="132" y="1932"/>
                  </a:lnTo>
                  <a:lnTo>
                    <a:pt x="132" y="1938"/>
                  </a:lnTo>
                  <a:lnTo>
                    <a:pt x="126" y="1944"/>
                  </a:lnTo>
                  <a:lnTo>
                    <a:pt x="126" y="1956"/>
                  </a:lnTo>
                  <a:lnTo>
                    <a:pt x="120" y="1968"/>
                  </a:lnTo>
                  <a:lnTo>
                    <a:pt x="120" y="1974"/>
                  </a:lnTo>
                  <a:lnTo>
                    <a:pt x="120" y="1980"/>
                  </a:lnTo>
                  <a:lnTo>
                    <a:pt x="126" y="1980"/>
                  </a:lnTo>
                  <a:lnTo>
                    <a:pt x="120" y="1986"/>
                  </a:lnTo>
                  <a:lnTo>
                    <a:pt x="120" y="1992"/>
                  </a:lnTo>
                  <a:lnTo>
                    <a:pt x="114" y="1992"/>
                  </a:lnTo>
                  <a:lnTo>
                    <a:pt x="114" y="1986"/>
                  </a:lnTo>
                  <a:lnTo>
                    <a:pt x="108" y="1992"/>
                  </a:lnTo>
                  <a:lnTo>
                    <a:pt x="108" y="1998"/>
                  </a:lnTo>
                  <a:lnTo>
                    <a:pt x="114" y="2004"/>
                  </a:lnTo>
                  <a:lnTo>
                    <a:pt x="108" y="2004"/>
                  </a:lnTo>
                  <a:lnTo>
                    <a:pt x="102" y="2010"/>
                  </a:lnTo>
                  <a:lnTo>
                    <a:pt x="102" y="2004"/>
                  </a:lnTo>
                  <a:lnTo>
                    <a:pt x="90" y="2004"/>
                  </a:lnTo>
                  <a:lnTo>
                    <a:pt x="84" y="2004"/>
                  </a:lnTo>
                  <a:lnTo>
                    <a:pt x="78" y="1998"/>
                  </a:lnTo>
                  <a:lnTo>
                    <a:pt x="78" y="1992"/>
                  </a:lnTo>
                  <a:lnTo>
                    <a:pt x="78" y="1986"/>
                  </a:lnTo>
                  <a:lnTo>
                    <a:pt x="72" y="1986"/>
                  </a:lnTo>
                  <a:lnTo>
                    <a:pt x="66" y="1980"/>
                  </a:lnTo>
                  <a:lnTo>
                    <a:pt x="66" y="1968"/>
                  </a:lnTo>
                  <a:lnTo>
                    <a:pt x="60" y="1956"/>
                  </a:lnTo>
                  <a:lnTo>
                    <a:pt x="60" y="1950"/>
                  </a:lnTo>
                  <a:lnTo>
                    <a:pt x="48" y="1944"/>
                  </a:lnTo>
                  <a:lnTo>
                    <a:pt x="30" y="1926"/>
                  </a:lnTo>
                  <a:lnTo>
                    <a:pt x="12" y="1890"/>
                  </a:lnTo>
                  <a:lnTo>
                    <a:pt x="6" y="1872"/>
                  </a:lnTo>
                  <a:lnTo>
                    <a:pt x="0" y="1854"/>
                  </a:lnTo>
                  <a:lnTo>
                    <a:pt x="6" y="1824"/>
                  </a:lnTo>
                  <a:lnTo>
                    <a:pt x="30" y="1794"/>
                  </a:lnTo>
                  <a:lnTo>
                    <a:pt x="66" y="1752"/>
                  </a:lnTo>
                  <a:lnTo>
                    <a:pt x="72" y="1752"/>
                  </a:lnTo>
                  <a:lnTo>
                    <a:pt x="78" y="1746"/>
                  </a:lnTo>
                  <a:lnTo>
                    <a:pt x="84" y="1746"/>
                  </a:lnTo>
                  <a:lnTo>
                    <a:pt x="90" y="1746"/>
                  </a:lnTo>
                  <a:lnTo>
                    <a:pt x="138" y="1674"/>
                  </a:lnTo>
                  <a:lnTo>
                    <a:pt x="186" y="1620"/>
                  </a:lnTo>
                  <a:lnTo>
                    <a:pt x="186" y="1614"/>
                  </a:lnTo>
                  <a:lnTo>
                    <a:pt x="186" y="1608"/>
                  </a:lnTo>
                  <a:lnTo>
                    <a:pt x="192" y="1608"/>
                  </a:lnTo>
                  <a:lnTo>
                    <a:pt x="192" y="1614"/>
                  </a:lnTo>
                  <a:lnTo>
                    <a:pt x="198" y="1614"/>
                  </a:lnTo>
                  <a:lnTo>
                    <a:pt x="198" y="1608"/>
                  </a:lnTo>
                  <a:lnTo>
                    <a:pt x="198" y="1602"/>
                  </a:lnTo>
                  <a:lnTo>
                    <a:pt x="204" y="1602"/>
                  </a:lnTo>
                  <a:lnTo>
                    <a:pt x="204" y="1596"/>
                  </a:lnTo>
                  <a:lnTo>
                    <a:pt x="210" y="1590"/>
                  </a:lnTo>
                  <a:lnTo>
                    <a:pt x="216" y="1590"/>
                  </a:lnTo>
                  <a:lnTo>
                    <a:pt x="216" y="1584"/>
                  </a:lnTo>
                  <a:lnTo>
                    <a:pt x="222" y="1584"/>
                  </a:lnTo>
                  <a:lnTo>
                    <a:pt x="228" y="1572"/>
                  </a:lnTo>
                  <a:lnTo>
                    <a:pt x="222" y="1572"/>
                  </a:lnTo>
                  <a:lnTo>
                    <a:pt x="228" y="1566"/>
                  </a:lnTo>
                  <a:lnTo>
                    <a:pt x="228" y="1560"/>
                  </a:lnTo>
                  <a:lnTo>
                    <a:pt x="252" y="1548"/>
                  </a:lnTo>
                  <a:lnTo>
                    <a:pt x="276" y="1530"/>
                  </a:lnTo>
                  <a:lnTo>
                    <a:pt x="282" y="1512"/>
                  </a:lnTo>
                  <a:lnTo>
                    <a:pt x="282" y="1506"/>
                  </a:lnTo>
                  <a:lnTo>
                    <a:pt x="282" y="1494"/>
                  </a:lnTo>
                  <a:lnTo>
                    <a:pt x="282" y="1452"/>
                  </a:lnTo>
                  <a:lnTo>
                    <a:pt x="288" y="1440"/>
                  </a:lnTo>
                  <a:lnTo>
                    <a:pt x="294" y="1440"/>
                  </a:lnTo>
                  <a:lnTo>
                    <a:pt x="294" y="1428"/>
                  </a:lnTo>
                  <a:lnTo>
                    <a:pt x="324" y="1368"/>
                  </a:lnTo>
                  <a:lnTo>
                    <a:pt x="330" y="1362"/>
                  </a:lnTo>
                  <a:lnTo>
                    <a:pt x="330" y="1356"/>
                  </a:lnTo>
                  <a:lnTo>
                    <a:pt x="360" y="1338"/>
                  </a:lnTo>
                  <a:lnTo>
                    <a:pt x="366" y="1296"/>
                  </a:lnTo>
                  <a:lnTo>
                    <a:pt x="354" y="1278"/>
                  </a:lnTo>
                  <a:lnTo>
                    <a:pt x="336" y="1230"/>
                  </a:lnTo>
                  <a:lnTo>
                    <a:pt x="270" y="1212"/>
                  </a:lnTo>
                  <a:lnTo>
                    <a:pt x="264" y="1212"/>
                  </a:lnTo>
                  <a:lnTo>
                    <a:pt x="252" y="1200"/>
                  </a:lnTo>
                  <a:lnTo>
                    <a:pt x="234" y="1188"/>
                  </a:lnTo>
                  <a:lnTo>
                    <a:pt x="222" y="1182"/>
                  </a:lnTo>
                  <a:lnTo>
                    <a:pt x="228" y="1104"/>
                  </a:lnTo>
                  <a:lnTo>
                    <a:pt x="228" y="1098"/>
                  </a:lnTo>
                  <a:lnTo>
                    <a:pt x="198" y="1038"/>
                  </a:lnTo>
                  <a:lnTo>
                    <a:pt x="192" y="1032"/>
                  </a:lnTo>
                  <a:lnTo>
                    <a:pt x="180" y="1020"/>
                  </a:lnTo>
                  <a:lnTo>
                    <a:pt x="168" y="996"/>
                  </a:lnTo>
                  <a:lnTo>
                    <a:pt x="162" y="990"/>
                  </a:lnTo>
                  <a:lnTo>
                    <a:pt x="156" y="990"/>
                  </a:lnTo>
                  <a:lnTo>
                    <a:pt x="150" y="990"/>
                  </a:lnTo>
                  <a:lnTo>
                    <a:pt x="132" y="990"/>
                  </a:lnTo>
                  <a:lnTo>
                    <a:pt x="120" y="984"/>
                  </a:lnTo>
                  <a:lnTo>
                    <a:pt x="120" y="990"/>
                  </a:lnTo>
                  <a:lnTo>
                    <a:pt x="114" y="990"/>
                  </a:lnTo>
                  <a:lnTo>
                    <a:pt x="102" y="984"/>
                  </a:lnTo>
                  <a:lnTo>
                    <a:pt x="96" y="984"/>
                  </a:lnTo>
                  <a:lnTo>
                    <a:pt x="96" y="978"/>
                  </a:lnTo>
                  <a:lnTo>
                    <a:pt x="90" y="978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84" y="960"/>
                  </a:lnTo>
                  <a:lnTo>
                    <a:pt x="84" y="954"/>
                  </a:lnTo>
                  <a:lnTo>
                    <a:pt x="78" y="948"/>
                  </a:lnTo>
                  <a:lnTo>
                    <a:pt x="72" y="948"/>
                  </a:lnTo>
                  <a:lnTo>
                    <a:pt x="72" y="942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06"/>
                  </a:lnTo>
                  <a:lnTo>
                    <a:pt x="60" y="888"/>
                  </a:lnTo>
                  <a:lnTo>
                    <a:pt x="54" y="882"/>
                  </a:lnTo>
                  <a:lnTo>
                    <a:pt x="60" y="882"/>
                  </a:lnTo>
                  <a:lnTo>
                    <a:pt x="72" y="876"/>
                  </a:lnTo>
                  <a:lnTo>
                    <a:pt x="78" y="876"/>
                  </a:lnTo>
                  <a:lnTo>
                    <a:pt x="90" y="870"/>
                  </a:lnTo>
                  <a:lnTo>
                    <a:pt x="90" y="864"/>
                  </a:lnTo>
                  <a:lnTo>
                    <a:pt x="96" y="840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80" y="822"/>
                  </a:lnTo>
                  <a:lnTo>
                    <a:pt x="204" y="798"/>
                  </a:lnTo>
                  <a:lnTo>
                    <a:pt x="222" y="786"/>
                  </a:lnTo>
                  <a:lnTo>
                    <a:pt x="252" y="780"/>
                  </a:lnTo>
                  <a:lnTo>
                    <a:pt x="264" y="762"/>
                  </a:lnTo>
                  <a:lnTo>
                    <a:pt x="276" y="762"/>
                  </a:lnTo>
                  <a:lnTo>
                    <a:pt x="288" y="744"/>
                  </a:lnTo>
                  <a:lnTo>
                    <a:pt x="306" y="738"/>
                  </a:lnTo>
                  <a:lnTo>
                    <a:pt x="318" y="732"/>
                  </a:lnTo>
                  <a:lnTo>
                    <a:pt x="324" y="648"/>
                  </a:lnTo>
                  <a:lnTo>
                    <a:pt x="324" y="636"/>
                  </a:lnTo>
                  <a:lnTo>
                    <a:pt x="324" y="630"/>
                  </a:lnTo>
                  <a:lnTo>
                    <a:pt x="330" y="624"/>
                  </a:lnTo>
                  <a:lnTo>
                    <a:pt x="324" y="618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24" y="588"/>
                  </a:lnTo>
                  <a:lnTo>
                    <a:pt x="318" y="576"/>
                  </a:lnTo>
                  <a:lnTo>
                    <a:pt x="318" y="570"/>
                  </a:lnTo>
                  <a:lnTo>
                    <a:pt x="324" y="570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30" y="558"/>
                  </a:lnTo>
                  <a:lnTo>
                    <a:pt x="336" y="558"/>
                  </a:lnTo>
                  <a:lnTo>
                    <a:pt x="342" y="558"/>
                  </a:lnTo>
                  <a:lnTo>
                    <a:pt x="348" y="558"/>
                  </a:lnTo>
                  <a:lnTo>
                    <a:pt x="354" y="564"/>
                  </a:lnTo>
                  <a:lnTo>
                    <a:pt x="360" y="564"/>
                  </a:lnTo>
                  <a:lnTo>
                    <a:pt x="366" y="570"/>
                  </a:lnTo>
                  <a:lnTo>
                    <a:pt x="366" y="576"/>
                  </a:lnTo>
                  <a:lnTo>
                    <a:pt x="372" y="570"/>
                  </a:lnTo>
                  <a:lnTo>
                    <a:pt x="378" y="570"/>
                  </a:lnTo>
                  <a:lnTo>
                    <a:pt x="390" y="570"/>
                  </a:lnTo>
                  <a:lnTo>
                    <a:pt x="402" y="570"/>
                  </a:lnTo>
                  <a:lnTo>
                    <a:pt x="408" y="570"/>
                  </a:lnTo>
                  <a:lnTo>
                    <a:pt x="414" y="564"/>
                  </a:lnTo>
                  <a:lnTo>
                    <a:pt x="420" y="564"/>
                  </a:lnTo>
                  <a:lnTo>
                    <a:pt x="420" y="570"/>
                  </a:lnTo>
                  <a:lnTo>
                    <a:pt x="426" y="570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44" y="570"/>
                  </a:lnTo>
                  <a:lnTo>
                    <a:pt x="450" y="564"/>
                  </a:lnTo>
                  <a:lnTo>
                    <a:pt x="474" y="558"/>
                  </a:lnTo>
                  <a:lnTo>
                    <a:pt x="486" y="54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40" y="474"/>
                  </a:lnTo>
                  <a:lnTo>
                    <a:pt x="558" y="456"/>
                  </a:lnTo>
                  <a:lnTo>
                    <a:pt x="582" y="450"/>
                  </a:lnTo>
                  <a:lnTo>
                    <a:pt x="594" y="414"/>
                  </a:lnTo>
                  <a:lnTo>
                    <a:pt x="612" y="390"/>
                  </a:lnTo>
                  <a:lnTo>
                    <a:pt x="636" y="390"/>
                  </a:lnTo>
                  <a:lnTo>
                    <a:pt x="666" y="390"/>
                  </a:lnTo>
                  <a:lnTo>
                    <a:pt x="696" y="390"/>
                  </a:lnTo>
                  <a:lnTo>
                    <a:pt x="726" y="390"/>
                  </a:lnTo>
                  <a:lnTo>
                    <a:pt x="762" y="378"/>
                  </a:lnTo>
                  <a:lnTo>
                    <a:pt x="780" y="366"/>
                  </a:lnTo>
                  <a:lnTo>
                    <a:pt x="780" y="342"/>
                  </a:lnTo>
                  <a:lnTo>
                    <a:pt x="786" y="342"/>
                  </a:lnTo>
                  <a:lnTo>
                    <a:pt x="786" y="336"/>
                  </a:lnTo>
                  <a:lnTo>
                    <a:pt x="786" y="330"/>
                  </a:lnTo>
                  <a:lnTo>
                    <a:pt x="786" y="324"/>
                  </a:lnTo>
                  <a:lnTo>
                    <a:pt x="816" y="318"/>
                  </a:lnTo>
                  <a:lnTo>
                    <a:pt x="834" y="312"/>
                  </a:lnTo>
                  <a:lnTo>
                    <a:pt x="840" y="318"/>
                  </a:lnTo>
                  <a:lnTo>
                    <a:pt x="852" y="318"/>
                  </a:lnTo>
                  <a:lnTo>
                    <a:pt x="858" y="306"/>
                  </a:lnTo>
                  <a:lnTo>
                    <a:pt x="864" y="288"/>
                  </a:lnTo>
                  <a:lnTo>
                    <a:pt x="870" y="282"/>
                  </a:lnTo>
                  <a:lnTo>
                    <a:pt x="876" y="276"/>
                  </a:lnTo>
                  <a:lnTo>
                    <a:pt x="882" y="264"/>
                  </a:lnTo>
                  <a:lnTo>
                    <a:pt x="882" y="258"/>
                  </a:lnTo>
                  <a:lnTo>
                    <a:pt x="888" y="252"/>
                  </a:lnTo>
                  <a:lnTo>
                    <a:pt x="894" y="240"/>
                  </a:lnTo>
                  <a:lnTo>
                    <a:pt x="906" y="228"/>
                  </a:lnTo>
                  <a:lnTo>
                    <a:pt x="912" y="228"/>
                  </a:lnTo>
                  <a:lnTo>
                    <a:pt x="936" y="228"/>
                  </a:lnTo>
                  <a:lnTo>
                    <a:pt x="942" y="222"/>
                  </a:lnTo>
                  <a:lnTo>
                    <a:pt x="948" y="216"/>
                  </a:lnTo>
                  <a:lnTo>
                    <a:pt x="954" y="216"/>
                  </a:lnTo>
                  <a:lnTo>
                    <a:pt x="960" y="216"/>
                  </a:lnTo>
                  <a:lnTo>
                    <a:pt x="966" y="216"/>
                  </a:lnTo>
                  <a:lnTo>
                    <a:pt x="978" y="216"/>
                  </a:lnTo>
                  <a:lnTo>
                    <a:pt x="990" y="222"/>
                  </a:lnTo>
                  <a:lnTo>
                    <a:pt x="996" y="222"/>
                  </a:lnTo>
                  <a:lnTo>
                    <a:pt x="1002" y="228"/>
                  </a:lnTo>
                  <a:lnTo>
                    <a:pt x="1014" y="234"/>
                  </a:lnTo>
                  <a:lnTo>
                    <a:pt x="1020" y="234"/>
                  </a:lnTo>
                  <a:lnTo>
                    <a:pt x="1032" y="240"/>
                  </a:lnTo>
                  <a:lnTo>
                    <a:pt x="1044" y="240"/>
                  </a:lnTo>
                  <a:lnTo>
                    <a:pt x="1050" y="240"/>
                  </a:lnTo>
                  <a:lnTo>
                    <a:pt x="1056" y="246"/>
                  </a:lnTo>
                  <a:lnTo>
                    <a:pt x="1068" y="264"/>
                  </a:lnTo>
                  <a:lnTo>
                    <a:pt x="1086" y="276"/>
                  </a:lnTo>
                  <a:lnTo>
                    <a:pt x="1092" y="276"/>
                  </a:lnTo>
                  <a:lnTo>
                    <a:pt x="1104" y="282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8" y="312"/>
                  </a:lnTo>
                  <a:lnTo>
                    <a:pt x="1152" y="324"/>
                  </a:lnTo>
                  <a:lnTo>
                    <a:pt x="1188" y="324"/>
                  </a:lnTo>
                  <a:lnTo>
                    <a:pt x="1206" y="318"/>
                  </a:lnTo>
                  <a:lnTo>
                    <a:pt x="1200" y="294"/>
                  </a:lnTo>
                  <a:lnTo>
                    <a:pt x="1206" y="252"/>
                  </a:lnTo>
                  <a:lnTo>
                    <a:pt x="1218" y="222"/>
                  </a:lnTo>
                  <a:lnTo>
                    <a:pt x="1212" y="222"/>
                  </a:lnTo>
                  <a:lnTo>
                    <a:pt x="1212" y="216"/>
                  </a:lnTo>
                  <a:lnTo>
                    <a:pt x="1218" y="204"/>
                  </a:lnTo>
                  <a:lnTo>
                    <a:pt x="1224" y="198"/>
                  </a:lnTo>
                  <a:lnTo>
                    <a:pt x="1224" y="192"/>
                  </a:lnTo>
                  <a:lnTo>
                    <a:pt x="1236" y="180"/>
                  </a:lnTo>
                  <a:lnTo>
                    <a:pt x="1254" y="156"/>
                  </a:lnTo>
                  <a:lnTo>
                    <a:pt x="1260" y="150"/>
                  </a:lnTo>
                  <a:lnTo>
                    <a:pt x="1260" y="144"/>
                  </a:lnTo>
                  <a:lnTo>
                    <a:pt x="1266" y="138"/>
                  </a:lnTo>
                  <a:lnTo>
                    <a:pt x="1272" y="138"/>
                  </a:lnTo>
                  <a:lnTo>
                    <a:pt x="1272" y="120"/>
                  </a:lnTo>
                  <a:lnTo>
                    <a:pt x="1278" y="114"/>
                  </a:lnTo>
                  <a:lnTo>
                    <a:pt x="1278" y="108"/>
                  </a:lnTo>
                  <a:lnTo>
                    <a:pt x="1278" y="102"/>
                  </a:lnTo>
                  <a:lnTo>
                    <a:pt x="1278" y="90"/>
                  </a:lnTo>
                  <a:lnTo>
                    <a:pt x="1278" y="84"/>
                  </a:lnTo>
                  <a:lnTo>
                    <a:pt x="1278" y="78"/>
                  </a:lnTo>
                  <a:lnTo>
                    <a:pt x="1278" y="72"/>
                  </a:lnTo>
                  <a:lnTo>
                    <a:pt x="1278" y="60"/>
                  </a:lnTo>
                  <a:lnTo>
                    <a:pt x="1284" y="48"/>
                  </a:lnTo>
                  <a:lnTo>
                    <a:pt x="1284" y="24"/>
                  </a:lnTo>
                  <a:lnTo>
                    <a:pt x="1284" y="18"/>
                  </a:lnTo>
                  <a:lnTo>
                    <a:pt x="1308" y="24"/>
                  </a:lnTo>
                  <a:lnTo>
                    <a:pt x="1332" y="30"/>
                  </a:lnTo>
                  <a:lnTo>
                    <a:pt x="1368" y="30"/>
                  </a:lnTo>
                  <a:lnTo>
                    <a:pt x="1392" y="24"/>
                  </a:lnTo>
                  <a:lnTo>
                    <a:pt x="1410" y="18"/>
                  </a:lnTo>
                  <a:lnTo>
                    <a:pt x="1416" y="6"/>
                  </a:lnTo>
                  <a:lnTo>
                    <a:pt x="1500" y="6"/>
                  </a:lnTo>
                  <a:lnTo>
                    <a:pt x="1506" y="0"/>
                  </a:lnTo>
                  <a:lnTo>
                    <a:pt x="1506" y="6"/>
                  </a:lnTo>
                  <a:lnTo>
                    <a:pt x="1506" y="18"/>
                  </a:lnTo>
                  <a:lnTo>
                    <a:pt x="1506" y="24"/>
                  </a:lnTo>
                  <a:lnTo>
                    <a:pt x="1500" y="30"/>
                  </a:lnTo>
                  <a:lnTo>
                    <a:pt x="1500" y="42"/>
                  </a:lnTo>
                  <a:lnTo>
                    <a:pt x="1494" y="54"/>
                  </a:lnTo>
                  <a:lnTo>
                    <a:pt x="1488" y="60"/>
                  </a:lnTo>
                  <a:lnTo>
                    <a:pt x="1482" y="60"/>
                  </a:lnTo>
                  <a:lnTo>
                    <a:pt x="1476" y="66"/>
                  </a:lnTo>
                  <a:lnTo>
                    <a:pt x="1476" y="72"/>
                  </a:lnTo>
                  <a:lnTo>
                    <a:pt x="1476" y="78"/>
                  </a:lnTo>
                  <a:lnTo>
                    <a:pt x="1470" y="78"/>
                  </a:lnTo>
                  <a:lnTo>
                    <a:pt x="1464" y="90"/>
                  </a:lnTo>
                  <a:lnTo>
                    <a:pt x="1458" y="96"/>
                  </a:lnTo>
                  <a:lnTo>
                    <a:pt x="1458" y="102"/>
                  </a:lnTo>
                  <a:lnTo>
                    <a:pt x="1452" y="120"/>
                  </a:lnTo>
                  <a:lnTo>
                    <a:pt x="1452" y="132"/>
                  </a:lnTo>
                  <a:lnTo>
                    <a:pt x="1446" y="144"/>
                  </a:lnTo>
                  <a:lnTo>
                    <a:pt x="1446" y="150"/>
                  </a:lnTo>
                  <a:lnTo>
                    <a:pt x="1440" y="150"/>
                  </a:lnTo>
                  <a:lnTo>
                    <a:pt x="1434" y="156"/>
                  </a:lnTo>
                  <a:lnTo>
                    <a:pt x="1428" y="168"/>
                  </a:lnTo>
                  <a:lnTo>
                    <a:pt x="1422" y="168"/>
                  </a:lnTo>
                  <a:lnTo>
                    <a:pt x="1416" y="174"/>
                  </a:lnTo>
                  <a:lnTo>
                    <a:pt x="1410" y="186"/>
                  </a:lnTo>
                  <a:lnTo>
                    <a:pt x="1410" y="204"/>
                  </a:lnTo>
                  <a:lnTo>
                    <a:pt x="1404" y="210"/>
                  </a:lnTo>
                  <a:lnTo>
                    <a:pt x="1404" y="216"/>
                  </a:lnTo>
                  <a:lnTo>
                    <a:pt x="1410" y="228"/>
                  </a:lnTo>
                  <a:lnTo>
                    <a:pt x="1410" y="234"/>
                  </a:lnTo>
                  <a:lnTo>
                    <a:pt x="1410" y="240"/>
                  </a:lnTo>
                  <a:lnTo>
                    <a:pt x="1416" y="252"/>
                  </a:lnTo>
                  <a:lnTo>
                    <a:pt x="1416" y="258"/>
                  </a:lnTo>
                  <a:lnTo>
                    <a:pt x="1422" y="264"/>
                  </a:lnTo>
                  <a:lnTo>
                    <a:pt x="1422" y="270"/>
                  </a:lnTo>
                  <a:lnTo>
                    <a:pt x="1422" y="282"/>
                  </a:lnTo>
                  <a:lnTo>
                    <a:pt x="1416" y="288"/>
                  </a:lnTo>
                  <a:lnTo>
                    <a:pt x="1410" y="294"/>
                  </a:lnTo>
                  <a:lnTo>
                    <a:pt x="1404" y="300"/>
                  </a:lnTo>
                  <a:lnTo>
                    <a:pt x="1404" y="306"/>
                  </a:lnTo>
                  <a:lnTo>
                    <a:pt x="1398" y="324"/>
                  </a:lnTo>
                  <a:lnTo>
                    <a:pt x="1404" y="330"/>
                  </a:lnTo>
                  <a:lnTo>
                    <a:pt x="1404" y="342"/>
                  </a:lnTo>
                  <a:lnTo>
                    <a:pt x="1392" y="354"/>
                  </a:lnTo>
                  <a:lnTo>
                    <a:pt x="1392" y="360"/>
                  </a:lnTo>
                  <a:lnTo>
                    <a:pt x="1392" y="372"/>
                  </a:lnTo>
                  <a:lnTo>
                    <a:pt x="1392" y="384"/>
                  </a:lnTo>
                  <a:lnTo>
                    <a:pt x="1392" y="396"/>
                  </a:lnTo>
                  <a:lnTo>
                    <a:pt x="1392" y="408"/>
                  </a:lnTo>
                  <a:lnTo>
                    <a:pt x="1386" y="414"/>
                  </a:lnTo>
                  <a:lnTo>
                    <a:pt x="1380" y="420"/>
                  </a:lnTo>
                  <a:lnTo>
                    <a:pt x="1380" y="426"/>
                  </a:lnTo>
                  <a:lnTo>
                    <a:pt x="1368" y="432"/>
                  </a:lnTo>
                  <a:lnTo>
                    <a:pt x="1362" y="444"/>
                  </a:lnTo>
                  <a:lnTo>
                    <a:pt x="1362" y="450"/>
                  </a:lnTo>
                  <a:lnTo>
                    <a:pt x="1362" y="462"/>
                  </a:lnTo>
                  <a:lnTo>
                    <a:pt x="1362" y="468"/>
                  </a:lnTo>
                  <a:lnTo>
                    <a:pt x="1362" y="474"/>
                  </a:lnTo>
                  <a:lnTo>
                    <a:pt x="1356" y="474"/>
                  </a:lnTo>
                  <a:lnTo>
                    <a:pt x="1350" y="480"/>
                  </a:lnTo>
                  <a:lnTo>
                    <a:pt x="1344" y="486"/>
                  </a:lnTo>
                  <a:lnTo>
                    <a:pt x="1338" y="498"/>
                  </a:lnTo>
                  <a:lnTo>
                    <a:pt x="1332" y="510"/>
                  </a:lnTo>
                  <a:lnTo>
                    <a:pt x="1320" y="510"/>
                  </a:lnTo>
                  <a:lnTo>
                    <a:pt x="1314" y="516"/>
                  </a:lnTo>
                  <a:lnTo>
                    <a:pt x="1302" y="522"/>
                  </a:lnTo>
                  <a:lnTo>
                    <a:pt x="1296" y="522"/>
                  </a:lnTo>
                  <a:lnTo>
                    <a:pt x="1284" y="516"/>
                  </a:lnTo>
                  <a:lnTo>
                    <a:pt x="1278" y="516"/>
                  </a:lnTo>
                  <a:lnTo>
                    <a:pt x="1272" y="522"/>
                  </a:lnTo>
                  <a:lnTo>
                    <a:pt x="1266" y="522"/>
                  </a:lnTo>
                  <a:lnTo>
                    <a:pt x="1266" y="528"/>
                  </a:lnTo>
                  <a:lnTo>
                    <a:pt x="1254" y="540"/>
                  </a:lnTo>
                  <a:lnTo>
                    <a:pt x="1248" y="546"/>
                  </a:lnTo>
                  <a:lnTo>
                    <a:pt x="1242" y="558"/>
                  </a:lnTo>
                  <a:lnTo>
                    <a:pt x="1230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30" y="594"/>
                  </a:lnTo>
                  <a:lnTo>
                    <a:pt x="1230" y="600"/>
                  </a:lnTo>
                  <a:lnTo>
                    <a:pt x="1236" y="606"/>
                  </a:lnTo>
                  <a:lnTo>
                    <a:pt x="1242" y="606"/>
                  </a:lnTo>
                  <a:lnTo>
                    <a:pt x="1242" y="612"/>
                  </a:lnTo>
                  <a:lnTo>
                    <a:pt x="1242" y="618"/>
                  </a:lnTo>
                  <a:lnTo>
                    <a:pt x="1242" y="624"/>
                  </a:lnTo>
                  <a:lnTo>
                    <a:pt x="1236" y="630"/>
                  </a:lnTo>
                  <a:lnTo>
                    <a:pt x="1230" y="642"/>
                  </a:lnTo>
                  <a:lnTo>
                    <a:pt x="1230" y="648"/>
                  </a:lnTo>
                  <a:lnTo>
                    <a:pt x="1218" y="654"/>
                  </a:lnTo>
                  <a:lnTo>
                    <a:pt x="1212" y="654"/>
                  </a:lnTo>
                  <a:lnTo>
                    <a:pt x="1212" y="660"/>
                  </a:lnTo>
                  <a:lnTo>
                    <a:pt x="1212" y="666"/>
                  </a:lnTo>
                  <a:lnTo>
                    <a:pt x="1212" y="672"/>
                  </a:lnTo>
                  <a:lnTo>
                    <a:pt x="1212" y="678"/>
                  </a:lnTo>
                  <a:lnTo>
                    <a:pt x="1218" y="684"/>
                  </a:lnTo>
                  <a:lnTo>
                    <a:pt x="1218" y="690"/>
                  </a:lnTo>
                  <a:lnTo>
                    <a:pt x="1224" y="696"/>
                  </a:lnTo>
                  <a:lnTo>
                    <a:pt x="1230" y="702"/>
                  </a:lnTo>
                  <a:lnTo>
                    <a:pt x="1236" y="696"/>
                  </a:lnTo>
                  <a:lnTo>
                    <a:pt x="1242" y="702"/>
                  </a:lnTo>
                  <a:lnTo>
                    <a:pt x="1248" y="708"/>
                  </a:lnTo>
                  <a:lnTo>
                    <a:pt x="1254" y="714"/>
                  </a:lnTo>
                  <a:lnTo>
                    <a:pt x="1254" y="720"/>
                  </a:lnTo>
                  <a:lnTo>
                    <a:pt x="1260" y="720"/>
                  </a:lnTo>
                  <a:lnTo>
                    <a:pt x="1254" y="732"/>
                  </a:lnTo>
                  <a:lnTo>
                    <a:pt x="1248" y="738"/>
                  </a:lnTo>
                  <a:lnTo>
                    <a:pt x="1242" y="744"/>
                  </a:lnTo>
                  <a:lnTo>
                    <a:pt x="1236" y="750"/>
                  </a:lnTo>
                  <a:lnTo>
                    <a:pt x="1236" y="756"/>
                  </a:lnTo>
                  <a:lnTo>
                    <a:pt x="1236" y="762"/>
                  </a:lnTo>
                  <a:lnTo>
                    <a:pt x="1236" y="768"/>
                  </a:lnTo>
                  <a:lnTo>
                    <a:pt x="1236" y="780"/>
                  </a:lnTo>
                  <a:lnTo>
                    <a:pt x="1230" y="780"/>
                  </a:lnTo>
                  <a:lnTo>
                    <a:pt x="1230" y="786"/>
                  </a:lnTo>
                  <a:lnTo>
                    <a:pt x="1230" y="792"/>
                  </a:lnTo>
                  <a:lnTo>
                    <a:pt x="1230" y="804"/>
                  </a:lnTo>
                  <a:lnTo>
                    <a:pt x="1224" y="810"/>
                  </a:lnTo>
                  <a:lnTo>
                    <a:pt x="1218" y="816"/>
                  </a:lnTo>
                  <a:lnTo>
                    <a:pt x="1224" y="822"/>
                  </a:lnTo>
                  <a:lnTo>
                    <a:pt x="1224" y="828"/>
                  </a:lnTo>
                  <a:lnTo>
                    <a:pt x="1218" y="834"/>
                  </a:lnTo>
                  <a:lnTo>
                    <a:pt x="1224" y="834"/>
                  </a:lnTo>
                  <a:lnTo>
                    <a:pt x="1224" y="840"/>
                  </a:lnTo>
                  <a:lnTo>
                    <a:pt x="1224" y="846"/>
                  </a:lnTo>
                  <a:lnTo>
                    <a:pt x="1224" y="852"/>
                  </a:lnTo>
                  <a:lnTo>
                    <a:pt x="1218" y="858"/>
                  </a:lnTo>
                  <a:lnTo>
                    <a:pt x="1218" y="870"/>
                  </a:lnTo>
                  <a:lnTo>
                    <a:pt x="1212" y="870"/>
                  </a:lnTo>
                  <a:lnTo>
                    <a:pt x="1212" y="876"/>
                  </a:lnTo>
                  <a:lnTo>
                    <a:pt x="1206" y="888"/>
                  </a:lnTo>
                  <a:lnTo>
                    <a:pt x="1200" y="882"/>
                  </a:lnTo>
                  <a:lnTo>
                    <a:pt x="1194" y="888"/>
                  </a:lnTo>
                  <a:lnTo>
                    <a:pt x="1188" y="894"/>
                  </a:lnTo>
                  <a:lnTo>
                    <a:pt x="1182" y="894"/>
                  </a:lnTo>
                  <a:lnTo>
                    <a:pt x="1182" y="900"/>
                  </a:lnTo>
                  <a:lnTo>
                    <a:pt x="1176" y="900"/>
                  </a:lnTo>
                  <a:lnTo>
                    <a:pt x="1170" y="894"/>
                  </a:lnTo>
                  <a:lnTo>
                    <a:pt x="1164" y="900"/>
                  </a:lnTo>
                  <a:lnTo>
                    <a:pt x="1158" y="900"/>
                  </a:lnTo>
                  <a:lnTo>
                    <a:pt x="1152" y="900"/>
                  </a:lnTo>
                  <a:lnTo>
                    <a:pt x="1140" y="900"/>
                  </a:lnTo>
                  <a:lnTo>
                    <a:pt x="1134" y="900"/>
                  </a:lnTo>
                  <a:lnTo>
                    <a:pt x="1128" y="906"/>
                  </a:lnTo>
                  <a:lnTo>
                    <a:pt x="1110" y="906"/>
                  </a:lnTo>
                  <a:lnTo>
                    <a:pt x="1104" y="906"/>
                  </a:lnTo>
                  <a:lnTo>
                    <a:pt x="1098" y="906"/>
                  </a:lnTo>
                  <a:lnTo>
                    <a:pt x="1092" y="912"/>
                  </a:lnTo>
                  <a:lnTo>
                    <a:pt x="1080" y="918"/>
                  </a:lnTo>
                  <a:lnTo>
                    <a:pt x="1068" y="930"/>
                  </a:lnTo>
                  <a:lnTo>
                    <a:pt x="1062" y="930"/>
                  </a:lnTo>
                  <a:lnTo>
                    <a:pt x="1056" y="930"/>
                  </a:lnTo>
                  <a:lnTo>
                    <a:pt x="1050" y="930"/>
                  </a:lnTo>
                  <a:lnTo>
                    <a:pt x="1050" y="936"/>
                  </a:lnTo>
                  <a:lnTo>
                    <a:pt x="1038" y="942"/>
                  </a:lnTo>
                  <a:lnTo>
                    <a:pt x="1032" y="948"/>
                  </a:lnTo>
                  <a:lnTo>
                    <a:pt x="1026" y="954"/>
                  </a:lnTo>
                  <a:lnTo>
                    <a:pt x="1020" y="960"/>
                  </a:lnTo>
                  <a:lnTo>
                    <a:pt x="1014" y="966"/>
                  </a:lnTo>
                  <a:lnTo>
                    <a:pt x="1002" y="966"/>
                  </a:lnTo>
                  <a:lnTo>
                    <a:pt x="990" y="978"/>
                  </a:lnTo>
                  <a:lnTo>
                    <a:pt x="984" y="978"/>
                  </a:lnTo>
                  <a:lnTo>
                    <a:pt x="978" y="984"/>
                  </a:lnTo>
                  <a:lnTo>
                    <a:pt x="972" y="984"/>
                  </a:lnTo>
                  <a:lnTo>
                    <a:pt x="978" y="990"/>
                  </a:lnTo>
                  <a:lnTo>
                    <a:pt x="972" y="996"/>
                  </a:lnTo>
                  <a:lnTo>
                    <a:pt x="978" y="1002"/>
                  </a:lnTo>
                  <a:lnTo>
                    <a:pt x="1002" y="1002"/>
                  </a:lnTo>
                  <a:lnTo>
                    <a:pt x="1002" y="1008"/>
                  </a:lnTo>
                  <a:lnTo>
                    <a:pt x="1008" y="1020"/>
                  </a:lnTo>
                  <a:lnTo>
                    <a:pt x="1002" y="1026"/>
                  </a:lnTo>
                  <a:lnTo>
                    <a:pt x="1002" y="1032"/>
                  </a:lnTo>
                  <a:lnTo>
                    <a:pt x="1002" y="1050"/>
                  </a:lnTo>
                  <a:lnTo>
                    <a:pt x="1002" y="1056"/>
                  </a:lnTo>
                  <a:lnTo>
                    <a:pt x="1008" y="1062"/>
                  </a:lnTo>
                  <a:lnTo>
                    <a:pt x="1008" y="1074"/>
                  </a:lnTo>
                  <a:lnTo>
                    <a:pt x="1008" y="1086"/>
                  </a:lnTo>
                  <a:lnTo>
                    <a:pt x="996" y="1092"/>
                  </a:lnTo>
                  <a:lnTo>
                    <a:pt x="996" y="1098"/>
                  </a:lnTo>
                  <a:lnTo>
                    <a:pt x="996" y="1104"/>
                  </a:lnTo>
                  <a:lnTo>
                    <a:pt x="990" y="1110"/>
                  </a:lnTo>
                  <a:lnTo>
                    <a:pt x="990" y="1116"/>
                  </a:lnTo>
                  <a:lnTo>
                    <a:pt x="996" y="1122"/>
                  </a:lnTo>
                  <a:lnTo>
                    <a:pt x="990" y="1128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96" y="1140"/>
                  </a:lnTo>
                  <a:lnTo>
                    <a:pt x="996" y="1146"/>
                  </a:lnTo>
                  <a:lnTo>
                    <a:pt x="996" y="1152"/>
                  </a:lnTo>
                  <a:lnTo>
                    <a:pt x="996" y="1158"/>
                  </a:lnTo>
                  <a:lnTo>
                    <a:pt x="996" y="1164"/>
                  </a:lnTo>
                  <a:lnTo>
                    <a:pt x="996" y="1170"/>
                  </a:lnTo>
                  <a:lnTo>
                    <a:pt x="996" y="1176"/>
                  </a:lnTo>
                  <a:lnTo>
                    <a:pt x="990" y="1182"/>
                  </a:lnTo>
                  <a:lnTo>
                    <a:pt x="990" y="1188"/>
                  </a:lnTo>
                  <a:lnTo>
                    <a:pt x="984" y="1200"/>
                  </a:lnTo>
                  <a:lnTo>
                    <a:pt x="990" y="1206"/>
                  </a:lnTo>
                  <a:lnTo>
                    <a:pt x="990" y="1212"/>
                  </a:lnTo>
                  <a:lnTo>
                    <a:pt x="990" y="1218"/>
                  </a:lnTo>
                  <a:lnTo>
                    <a:pt x="978" y="1230"/>
                  </a:lnTo>
                  <a:lnTo>
                    <a:pt x="972" y="1236"/>
                  </a:lnTo>
                  <a:lnTo>
                    <a:pt x="972" y="1242"/>
                  </a:lnTo>
                  <a:lnTo>
                    <a:pt x="966" y="1248"/>
                  </a:lnTo>
                  <a:lnTo>
                    <a:pt x="960" y="1260"/>
                  </a:lnTo>
                  <a:lnTo>
                    <a:pt x="954" y="1266"/>
                  </a:lnTo>
                  <a:lnTo>
                    <a:pt x="942" y="1278"/>
                  </a:lnTo>
                  <a:lnTo>
                    <a:pt x="936" y="1278"/>
                  </a:lnTo>
                  <a:lnTo>
                    <a:pt x="936" y="1284"/>
                  </a:lnTo>
                  <a:lnTo>
                    <a:pt x="936" y="1296"/>
                  </a:lnTo>
                  <a:lnTo>
                    <a:pt x="936" y="1302"/>
                  </a:lnTo>
                  <a:lnTo>
                    <a:pt x="942" y="1302"/>
                  </a:lnTo>
                  <a:lnTo>
                    <a:pt x="942" y="1308"/>
                  </a:lnTo>
                  <a:lnTo>
                    <a:pt x="936" y="1314"/>
                  </a:lnTo>
                  <a:lnTo>
                    <a:pt x="930" y="1320"/>
                  </a:lnTo>
                  <a:lnTo>
                    <a:pt x="930" y="1326"/>
                  </a:lnTo>
                  <a:lnTo>
                    <a:pt x="930" y="1332"/>
                  </a:lnTo>
                  <a:lnTo>
                    <a:pt x="936" y="1338"/>
                  </a:lnTo>
                  <a:lnTo>
                    <a:pt x="936" y="1344"/>
                  </a:lnTo>
                  <a:lnTo>
                    <a:pt x="942" y="1356"/>
                  </a:lnTo>
                  <a:lnTo>
                    <a:pt x="948" y="1368"/>
                  </a:lnTo>
                  <a:lnTo>
                    <a:pt x="942" y="1380"/>
                  </a:lnTo>
                  <a:lnTo>
                    <a:pt x="936" y="1386"/>
                  </a:lnTo>
                  <a:lnTo>
                    <a:pt x="930" y="1392"/>
                  </a:lnTo>
                  <a:lnTo>
                    <a:pt x="924" y="1392"/>
                  </a:lnTo>
                  <a:lnTo>
                    <a:pt x="918" y="1386"/>
                  </a:lnTo>
                  <a:lnTo>
                    <a:pt x="912" y="1386"/>
                  </a:lnTo>
                  <a:lnTo>
                    <a:pt x="906" y="1386"/>
                  </a:lnTo>
                  <a:lnTo>
                    <a:pt x="900" y="1386"/>
                  </a:lnTo>
                  <a:lnTo>
                    <a:pt x="900" y="1392"/>
                  </a:lnTo>
                  <a:lnTo>
                    <a:pt x="894" y="1392"/>
                  </a:lnTo>
                  <a:lnTo>
                    <a:pt x="888" y="1392"/>
                  </a:lnTo>
                  <a:lnTo>
                    <a:pt x="888" y="1398"/>
                  </a:lnTo>
                  <a:lnTo>
                    <a:pt x="882" y="1404"/>
                  </a:lnTo>
                  <a:lnTo>
                    <a:pt x="882" y="1416"/>
                  </a:lnTo>
                  <a:lnTo>
                    <a:pt x="882" y="1428"/>
                  </a:lnTo>
                  <a:lnTo>
                    <a:pt x="882" y="1434"/>
                  </a:lnTo>
                  <a:lnTo>
                    <a:pt x="870" y="1440"/>
                  </a:lnTo>
                  <a:lnTo>
                    <a:pt x="864" y="1452"/>
                  </a:lnTo>
                  <a:lnTo>
                    <a:pt x="870" y="1452"/>
                  </a:lnTo>
                  <a:lnTo>
                    <a:pt x="864" y="1458"/>
                  </a:lnTo>
                  <a:lnTo>
                    <a:pt x="858" y="1464"/>
                  </a:lnTo>
                  <a:lnTo>
                    <a:pt x="852" y="1464"/>
                  </a:lnTo>
                  <a:lnTo>
                    <a:pt x="846" y="1458"/>
                  </a:lnTo>
                  <a:lnTo>
                    <a:pt x="840" y="1458"/>
                  </a:lnTo>
                  <a:lnTo>
                    <a:pt x="828" y="1470"/>
                  </a:lnTo>
                  <a:lnTo>
                    <a:pt x="810" y="1482"/>
                  </a:lnTo>
                  <a:lnTo>
                    <a:pt x="804" y="1488"/>
                  </a:lnTo>
                  <a:lnTo>
                    <a:pt x="798" y="1488"/>
                  </a:lnTo>
                  <a:lnTo>
                    <a:pt x="792" y="1488"/>
                  </a:lnTo>
                  <a:lnTo>
                    <a:pt x="786" y="1488"/>
                  </a:lnTo>
                  <a:lnTo>
                    <a:pt x="768" y="1482"/>
                  </a:lnTo>
                  <a:lnTo>
                    <a:pt x="762" y="1476"/>
                  </a:lnTo>
                  <a:lnTo>
                    <a:pt x="744" y="1476"/>
                  </a:lnTo>
                  <a:lnTo>
                    <a:pt x="738" y="1476"/>
                  </a:lnTo>
                  <a:lnTo>
                    <a:pt x="732" y="1476"/>
                  </a:lnTo>
                  <a:lnTo>
                    <a:pt x="726" y="1482"/>
                  </a:lnTo>
                  <a:lnTo>
                    <a:pt x="726" y="1488"/>
                  </a:lnTo>
                  <a:lnTo>
                    <a:pt x="726" y="1494"/>
                  </a:lnTo>
                  <a:lnTo>
                    <a:pt x="726" y="1500"/>
                  </a:lnTo>
                  <a:lnTo>
                    <a:pt x="720" y="1500"/>
                  </a:lnTo>
                  <a:lnTo>
                    <a:pt x="720" y="1506"/>
                  </a:lnTo>
                  <a:lnTo>
                    <a:pt x="714" y="1512"/>
                  </a:lnTo>
                  <a:lnTo>
                    <a:pt x="714" y="1518"/>
                  </a:lnTo>
                  <a:lnTo>
                    <a:pt x="708" y="1518"/>
                  </a:lnTo>
                  <a:lnTo>
                    <a:pt x="708" y="1530"/>
                  </a:lnTo>
                  <a:lnTo>
                    <a:pt x="708" y="1536"/>
                  </a:lnTo>
                  <a:lnTo>
                    <a:pt x="708" y="1542"/>
                  </a:lnTo>
                  <a:lnTo>
                    <a:pt x="696" y="1554"/>
                  </a:lnTo>
                  <a:lnTo>
                    <a:pt x="690" y="1560"/>
                  </a:lnTo>
                  <a:lnTo>
                    <a:pt x="684" y="1566"/>
                  </a:lnTo>
                  <a:lnTo>
                    <a:pt x="672" y="1566"/>
                  </a:lnTo>
                  <a:lnTo>
                    <a:pt x="666" y="1566"/>
                  </a:lnTo>
                  <a:lnTo>
                    <a:pt x="660" y="1566"/>
                  </a:lnTo>
                  <a:lnTo>
                    <a:pt x="654" y="1572"/>
                  </a:lnTo>
                  <a:lnTo>
                    <a:pt x="654" y="1578"/>
                  </a:lnTo>
                  <a:lnTo>
                    <a:pt x="642" y="1578"/>
                  </a:lnTo>
                  <a:lnTo>
                    <a:pt x="630" y="1572"/>
                  </a:lnTo>
                  <a:lnTo>
                    <a:pt x="624" y="1572"/>
                  </a:lnTo>
                  <a:lnTo>
                    <a:pt x="618" y="1578"/>
                  </a:lnTo>
                  <a:lnTo>
                    <a:pt x="612" y="1584"/>
                  </a:lnTo>
                  <a:lnTo>
                    <a:pt x="606" y="1584"/>
                  </a:lnTo>
                  <a:lnTo>
                    <a:pt x="600" y="1590"/>
                  </a:lnTo>
                  <a:lnTo>
                    <a:pt x="594" y="1590"/>
                  </a:lnTo>
                  <a:lnTo>
                    <a:pt x="588" y="1590"/>
                  </a:lnTo>
                  <a:lnTo>
                    <a:pt x="582" y="1590"/>
                  </a:lnTo>
                  <a:lnTo>
                    <a:pt x="582" y="1596"/>
                  </a:lnTo>
                  <a:lnTo>
                    <a:pt x="576" y="1614"/>
                  </a:lnTo>
                  <a:lnTo>
                    <a:pt x="570" y="1632"/>
                  </a:lnTo>
                  <a:lnTo>
                    <a:pt x="570" y="1638"/>
                  </a:lnTo>
                  <a:lnTo>
                    <a:pt x="576" y="1644"/>
                  </a:lnTo>
                  <a:lnTo>
                    <a:pt x="576" y="1650"/>
                  </a:lnTo>
                  <a:lnTo>
                    <a:pt x="582" y="1662"/>
                  </a:lnTo>
                  <a:lnTo>
                    <a:pt x="582" y="1668"/>
                  </a:lnTo>
                  <a:lnTo>
                    <a:pt x="588" y="1692"/>
                  </a:lnTo>
                  <a:lnTo>
                    <a:pt x="594" y="1728"/>
                  </a:lnTo>
                  <a:lnTo>
                    <a:pt x="594" y="1752"/>
                  </a:lnTo>
                  <a:lnTo>
                    <a:pt x="594" y="1764"/>
                  </a:lnTo>
                  <a:lnTo>
                    <a:pt x="582" y="1770"/>
                  </a:lnTo>
                  <a:lnTo>
                    <a:pt x="582" y="1782"/>
                  </a:lnTo>
                  <a:lnTo>
                    <a:pt x="576" y="1788"/>
                  </a:lnTo>
                  <a:lnTo>
                    <a:pt x="570" y="1794"/>
                  </a:lnTo>
                  <a:lnTo>
                    <a:pt x="564" y="1806"/>
                  </a:lnTo>
                  <a:lnTo>
                    <a:pt x="564" y="1812"/>
                  </a:lnTo>
                  <a:lnTo>
                    <a:pt x="558" y="1812"/>
                  </a:lnTo>
                  <a:lnTo>
                    <a:pt x="564" y="1824"/>
                  </a:lnTo>
                  <a:lnTo>
                    <a:pt x="564" y="1830"/>
                  </a:lnTo>
                  <a:lnTo>
                    <a:pt x="564" y="1842"/>
                  </a:lnTo>
                  <a:lnTo>
                    <a:pt x="564" y="1848"/>
                  </a:lnTo>
                  <a:lnTo>
                    <a:pt x="564" y="1854"/>
                  </a:lnTo>
                  <a:lnTo>
                    <a:pt x="570" y="1860"/>
                  </a:lnTo>
                  <a:lnTo>
                    <a:pt x="570" y="1866"/>
                  </a:lnTo>
                  <a:lnTo>
                    <a:pt x="570" y="1872"/>
                  </a:lnTo>
                  <a:lnTo>
                    <a:pt x="570" y="1878"/>
                  </a:lnTo>
                  <a:lnTo>
                    <a:pt x="564" y="1890"/>
                  </a:lnTo>
                  <a:lnTo>
                    <a:pt x="558" y="1896"/>
                  </a:lnTo>
                  <a:lnTo>
                    <a:pt x="552" y="1908"/>
                  </a:lnTo>
                  <a:lnTo>
                    <a:pt x="546" y="1914"/>
                  </a:lnTo>
                  <a:lnTo>
                    <a:pt x="540" y="1920"/>
                  </a:lnTo>
                  <a:lnTo>
                    <a:pt x="534" y="1932"/>
                  </a:lnTo>
                  <a:lnTo>
                    <a:pt x="528" y="1944"/>
                  </a:lnTo>
                  <a:lnTo>
                    <a:pt x="516" y="1950"/>
                  </a:lnTo>
                  <a:lnTo>
                    <a:pt x="510" y="1956"/>
                  </a:lnTo>
                  <a:lnTo>
                    <a:pt x="498" y="1962"/>
                  </a:lnTo>
                  <a:lnTo>
                    <a:pt x="492" y="1974"/>
                  </a:lnTo>
                  <a:lnTo>
                    <a:pt x="486" y="1980"/>
                  </a:lnTo>
                  <a:lnTo>
                    <a:pt x="480" y="1998"/>
                  </a:lnTo>
                  <a:lnTo>
                    <a:pt x="474" y="2004"/>
                  </a:lnTo>
                  <a:lnTo>
                    <a:pt x="474" y="2010"/>
                  </a:lnTo>
                  <a:lnTo>
                    <a:pt x="474" y="2016"/>
                  </a:lnTo>
                  <a:lnTo>
                    <a:pt x="468" y="2016"/>
                  </a:lnTo>
                  <a:lnTo>
                    <a:pt x="468" y="2028"/>
                  </a:lnTo>
                  <a:lnTo>
                    <a:pt x="462" y="2034"/>
                  </a:lnTo>
                  <a:lnTo>
                    <a:pt x="456" y="2040"/>
                  </a:lnTo>
                  <a:lnTo>
                    <a:pt x="456" y="2052"/>
                  </a:lnTo>
                  <a:lnTo>
                    <a:pt x="450" y="2058"/>
                  </a:lnTo>
                  <a:lnTo>
                    <a:pt x="450" y="2070"/>
                  </a:lnTo>
                  <a:lnTo>
                    <a:pt x="450" y="2076"/>
                  </a:lnTo>
                  <a:lnTo>
                    <a:pt x="450" y="2082"/>
                  </a:lnTo>
                  <a:lnTo>
                    <a:pt x="444" y="2088"/>
                  </a:lnTo>
                  <a:lnTo>
                    <a:pt x="438" y="2094"/>
                  </a:lnTo>
                  <a:lnTo>
                    <a:pt x="444" y="2100"/>
                  </a:lnTo>
                  <a:lnTo>
                    <a:pt x="444" y="2124"/>
                  </a:lnTo>
                  <a:lnTo>
                    <a:pt x="444" y="2142"/>
                  </a:lnTo>
                  <a:lnTo>
                    <a:pt x="444" y="2160"/>
                  </a:lnTo>
                  <a:lnTo>
                    <a:pt x="450" y="2166"/>
                  </a:lnTo>
                  <a:lnTo>
                    <a:pt x="456" y="2178"/>
                  </a:lnTo>
                  <a:lnTo>
                    <a:pt x="438" y="2184"/>
                  </a:lnTo>
                  <a:lnTo>
                    <a:pt x="432" y="2184"/>
                  </a:lnTo>
                  <a:lnTo>
                    <a:pt x="426" y="2190"/>
                  </a:lnTo>
                  <a:lnTo>
                    <a:pt x="408" y="2190"/>
                  </a:lnTo>
                  <a:lnTo>
                    <a:pt x="402" y="2196"/>
                  </a:lnTo>
                  <a:lnTo>
                    <a:pt x="396" y="2196"/>
                  </a:lnTo>
                  <a:lnTo>
                    <a:pt x="384" y="2208"/>
                  </a:lnTo>
                  <a:lnTo>
                    <a:pt x="378" y="2220"/>
                  </a:lnTo>
                  <a:lnTo>
                    <a:pt x="366" y="2232"/>
                  </a:lnTo>
                  <a:lnTo>
                    <a:pt x="366" y="2238"/>
                  </a:lnTo>
                  <a:lnTo>
                    <a:pt x="360" y="2238"/>
                  </a:lnTo>
                  <a:lnTo>
                    <a:pt x="360" y="2244"/>
                  </a:lnTo>
                  <a:lnTo>
                    <a:pt x="354" y="2244"/>
                  </a:lnTo>
                  <a:lnTo>
                    <a:pt x="330" y="227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5" name="Freeform 10">
              <a:extLst>
                <a:ext uri="{FF2B5EF4-FFF2-40B4-BE49-F238E27FC236}">
                  <a16:creationId xmlns:a16="http://schemas.microsoft.com/office/drawing/2014/main" id="{3AD2FC58-3490-4B7F-A8BE-621F3CDD69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1996" y="1931890"/>
              <a:ext cx="805029" cy="1037736"/>
            </a:xfrm>
            <a:custGeom>
              <a:avLst/>
              <a:gdLst>
                <a:gd name="T0" fmla="*/ 124 w 1512"/>
                <a:gd name="T1" fmla="*/ 76 h 1956"/>
                <a:gd name="T2" fmla="*/ 120 w 1512"/>
                <a:gd name="T3" fmla="*/ 80 h 1956"/>
                <a:gd name="T4" fmla="*/ 106 w 1512"/>
                <a:gd name="T5" fmla="*/ 84 h 1956"/>
                <a:gd name="T6" fmla="*/ 105 w 1512"/>
                <a:gd name="T7" fmla="*/ 91 h 1956"/>
                <a:gd name="T8" fmla="*/ 101 w 1512"/>
                <a:gd name="T9" fmla="*/ 99 h 1956"/>
                <a:gd name="T10" fmla="*/ 105 w 1512"/>
                <a:gd name="T11" fmla="*/ 107 h 1956"/>
                <a:gd name="T12" fmla="*/ 119 w 1512"/>
                <a:gd name="T13" fmla="*/ 116 h 1956"/>
                <a:gd name="T14" fmla="*/ 121 w 1512"/>
                <a:gd name="T15" fmla="*/ 128 h 1956"/>
                <a:gd name="T16" fmla="*/ 112 w 1512"/>
                <a:gd name="T17" fmla="*/ 136 h 1956"/>
                <a:gd name="T18" fmla="*/ 119 w 1512"/>
                <a:gd name="T19" fmla="*/ 143 h 1956"/>
                <a:gd name="T20" fmla="*/ 126 w 1512"/>
                <a:gd name="T21" fmla="*/ 148 h 1956"/>
                <a:gd name="T22" fmla="*/ 126 w 1512"/>
                <a:gd name="T23" fmla="*/ 160 h 1956"/>
                <a:gd name="T24" fmla="*/ 104 w 1512"/>
                <a:gd name="T25" fmla="*/ 170 h 1956"/>
                <a:gd name="T26" fmla="*/ 99 w 1512"/>
                <a:gd name="T27" fmla="*/ 164 h 1956"/>
                <a:gd name="T28" fmla="*/ 73 w 1512"/>
                <a:gd name="T29" fmla="*/ 152 h 1956"/>
                <a:gd name="T30" fmla="*/ 56 w 1512"/>
                <a:gd name="T31" fmla="*/ 165 h 1956"/>
                <a:gd name="T32" fmla="*/ 33 w 1512"/>
                <a:gd name="T33" fmla="*/ 162 h 1956"/>
                <a:gd name="T34" fmla="*/ 25 w 1512"/>
                <a:gd name="T35" fmla="*/ 155 h 1956"/>
                <a:gd name="T36" fmla="*/ 31 w 1512"/>
                <a:gd name="T37" fmla="*/ 142 h 1956"/>
                <a:gd name="T38" fmla="*/ 24 w 1512"/>
                <a:gd name="T39" fmla="*/ 137 h 1956"/>
                <a:gd name="T40" fmla="*/ 14 w 1512"/>
                <a:gd name="T41" fmla="*/ 136 h 1956"/>
                <a:gd name="T42" fmla="*/ 11 w 1512"/>
                <a:gd name="T43" fmla="*/ 125 h 1956"/>
                <a:gd name="T44" fmla="*/ 3 w 1512"/>
                <a:gd name="T45" fmla="*/ 116 h 1956"/>
                <a:gd name="T46" fmla="*/ 2 w 1512"/>
                <a:gd name="T47" fmla="*/ 106 h 1956"/>
                <a:gd name="T48" fmla="*/ 5 w 1512"/>
                <a:gd name="T49" fmla="*/ 101 h 1956"/>
                <a:gd name="T50" fmla="*/ 2 w 1512"/>
                <a:gd name="T51" fmla="*/ 95 h 1956"/>
                <a:gd name="T52" fmla="*/ 1 w 1512"/>
                <a:gd name="T53" fmla="*/ 88 h 1956"/>
                <a:gd name="T54" fmla="*/ 4 w 1512"/>
                <a:gd name="T55" fmla="*/ 80 h 1956"/>
                <a:gd name="T56" fmla="*/ 12 w 1512"/>
                <a:gd name="T57" fmla="*/ 73 h 1956"/>
                <a:gd name="T58" fmla="*/ 16 w 1512"/>
                <a:gd name="T59" fmla="*/ 68 h 1956"/>
                <a:gd name="T60" fmla="*/ 22 w 1512"/>
                <a:gd name="T61" fmla="*/ 66 h 1956"/>
                <a:gd name="T62" fmla="*/ 32 w 1512"/>
                <a:gd name="T63" fmla="*/ 65 h 1956"/>
                <a:gd name="T64" fmla="*/ 45 w 1512"/>
                <a:gd name="T65" fmla="*/ 66 h 1956"/>
                <a:gd name="T66" fmla="*/ 50 w 1512"/>
                <a:gd name="T67" fmla="*/ 70 h 1956"/>
                <a:gd name="T68" fmla="*/ 55 w 1512"/>
                <a:gd name="T69" fmla="*/ 70 h 1956"/>
                <a:gd name="T70" fmla="*/ 63 w 1512"/>
                <a:gd name="T71" fmla="*/ 71 h 1956"/>
                <a:gd name="T72" fmla="*/ 61 w 1512"/>
                <a:gd name="T73" fmla="*/ 75 h 1956"/>
                <a:gd name="T74" fmla="*/ 66 w 1512"/>
                <a:gd name="T75" fmla="*/ 84 h 1956"/>
                <a:gd name="T76" fmla="*/ 81 w 1512"/>
                <a:gd name="T77" fmla="*/ 85 h 1956"/>
                <a:gd name="T78" fmla="*/ 83 w 1512"/>
                <a:gd name="T79" fmla="*/ 79 h 1956"/>
                <a:gd name="T80" fmla="*/ 89 w 1512"/>
                <a:gd name="T81" fmla="*/ 77 h 1956"/>
                <a:gd name="T82" fmla="*/ 89 w 1512"/>
                <a:gd name="T83" fmla="*/ 73 h 1956"/>
                <a:gd name="T84" fmla="*/ 83 w 1512"/>
                <a:gd name="T85" fmla="*/ 72 h 1956"/>
                <a:gd name="T86" fmla="*/ 77 w 1512"/>
                <a:gd name="T87" fmla="*/ 70 h 1956"/>
                <a:gd name="T88" fmla="*/ 71 w 1512"/>
                <a:gd name="T89" fmla="*/ 70 h 1956"/>
                <a:gd name="T90" fmla="*/ 59 w 1512"/>
                <a:gd name="T91" fmla="*/ 58 h 1956"/>
                <a:gd name="T92" fmla="*/ 54 w 1512"/>
                <a:gd name="T93" fmla="*/ 45 h 1956"/>
                <a:gd name="T94" fmla="*/ 49 w 1512"/>
                <a:gd name="T95" fmla="*/ 42 h 1956"/>
                <a:gd name="T96" fmla="*/ 51 w 1512"/>
                <a:gd name="T97" fmla="*/ 39 h 1956"/>
                <a:gd name="T98" fmla="*/ 55 w 1512"/>
                <a:gd name="T99" fmla="*/ 36 h 1956"/>
                <a:gd name="T100" fmla="*/ 63 w 1512"/>
                <a:gd name="T101" fmla="*/ 34 h 1956"/>
                <a:gd name="T102" fmla="*/ 68 w 1512"/>
                <a:gd name="T103" fmla="*/ 32 h 1956"/>
                <a:gd name="T104" fmla="*/ 73 w 1512"/>
                <a:gd name="T105" fmla="*/ 29 h 1956"/>
                <a:gd name="T106" fmla="*/ 78 w 1512"/>
                <a:gd name="T107" fmla="*/ 27 h 1956"/>
                <a:gd name="T108" fmla="*/ 81 w 1512"/>
                <a:gd name="T109" fmla="*/ 17 h 1956"/>
                <a:gd name="T110" fmla="*/ 84 w 1512"/>
                <a:gd name="T111" fmla="*/ 6 h 1956"/>
                <a:gd name="T112" fmla="*/ 95 w 1512"/>
                <a:gd name="T113" fmla="*/ 6 h 1956"/>
                <a:gd name="T114" fmla="*/ 99 w 1512"/>
                <a:gd name="T115" fmla="*/ 3 h 1956"/>
                <a:gd name="T116" fmla="*/ 103 w 1512"/>
                <a:gd name="T117" fmla="*/ 0 h 1956"/>
                <a:gd name="T118" fmla="*/ 110 w 1512"/>
                <a:gd name="T119" fmla="*/ 4 h 1956"/>
                <a:gd name="T120" fmla="*/ 114 w 1512"/>
                <a:gd name="T121" fmla="*/ 33 h 1956"/>
                <a:gd name="T122" fmla="*/ 117 w 1512"/>
                <a:gd name="T123" fmla="*/ 41 h 1956"/>
                <a:gd name="T124" fmla="*/ 119 w 1512"/>
                <a:gd name="T125" fmla="*/ 62 h 195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12"/>
                <a:gd name="T190" fmla="*/ 0 h 1956"/>
                <a:gd name="T191" fmla="*/ 1512 w 1512"/>
                <a:gd name="T192" fmla="*/ 1956 h 195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12" h="1956">
                  <a:moveTo>
                    <a:pt x="1512" y="780"/>
                  </a:moveTo>
                  <a:lnTo>
                    <a:pt x="1482" y="786"/>
                  </a:lnTo>
                  <a:lnTo>
                    <a:pt x="1476" y="792"/>
                  </a:lnTo>
                  <a:lnTo>
                    <a:pt x="1476" y="798"/>
                  </a:lnTo>
                  <a:lnTo>
                    <a:pt x="1476" y="804"/>
                  </a:lnTo>
                  <a:lnTo>
                    <a:pt x="1476" y="816"/>
                  </a:lnTo>
                  <a:lnTo>
                    <a:pt x="1470" y="834"/>
                  </a:lnTo>
                  <a:lnTo>
                    <a:pt x="1464" y="840"/>
                  </a:lnTo>
                  <a:lnTo>
                    <a:pt x="1452" y="852"/>
                  </a:lnTo>
                  <a:lnTo>
                    <a:pt x="1440" y="864"/>
                  </a:lnTo>
                  <a:lnTo>
                    <a:pt x="1434" y="864"/>
                  </a:lnTo>
                  <a:lnTo>
                    <a:pt x="1434" y="870"/>
                  </a:lnTo>
                  <a:lnTo>
                    <a:pt x="1422" y="876"/>
                  </a:lnTo>
                  <a:lnTo>
                    <a:pt x="1410" y="894"/>
                  </a:lnTo>
                  <a:lnTo>
                    <a:pt x="1404" y="894"/>
                  </a:lnTo>
                  <a:lnTo>
                    <a:pt x="1404" y="900"/>
                  </a:lnTo>
                  <a:lnTo>
                    <a:pt x="1404" y="906"/>
                  </a:lnTo>
                  <a:lnTo>
                    <a:pt x="1410" y="918"/>
                  </a:lnTo>
                  <a:lnTo>
                    <a:pt x="1404" y="918"/>
                  </a:lnTo>
                  <a:lnTo>
                    <a:pt x="1392" y="924"/>
                  </a:lnTo>
                  <a:lnTo>
                    <a:pt x="1386" y="924"/>
                  </a:lnTo>
                  <a:lnTo>
                    <a:pt x="1380" y="924"/>
                  </a:lnTo>
                  <a:lnTo>
                    <a:pt x="1380" y="930"/>
                  </a:lnTo>
                  <a:lnTo>
                    <a:pt x="1374" y="930"/>
                  </a:lnTo>
                  <a:lnTo>
                    <a:pt x="1374" y="924"/>
                  </a:lnTo>
                  <a:lnTo>
                    <a:pt x="1374" y="918"/>
                  </a:lnTo>
                  <a:lnTo>
                    <a:pt x="1368" y="912"/>
                  </a:lnTo>
                  <a:lnTo>
                    <a:pt x="1368" y="906"/>
                  </a:lnTo>
                  <a:lnTo>
                    <a:pt x="1368" y="900"/>
                  </a:lnTo>
                  <a:lnTo>
                    <a:pt x="1368" y="894"/>
                  </a:lnTo>
                  <a:lnTo>
                    <a:pt x="1362" y="894"/>
                  </a:lnTo>
                  <a:lnTo>
                    <a:pt x="1326" y="894"/>
                  </a:lnTo>
                  <a:lnTo>
                    <a:pt x="1302" y="906"/>
                  </a:lnTo>
                  <a:lnTo>
                    <a:pt x="1284" y="918"/>
                  </a:lnTo>
                  <a:lnTo>
                    <a:pt x="1284" y="924"/>
                  </a:lnTo>
                  <a:lnTo>
                    <a:pt x="1278" y="930"/>
                  </a:lnTo>
                  <a:lnTo>
                    <a:pt x="1266" y="930"/>
                  </a:lnTo>
                  <a:lnTo>
                    <a:pt x="1236" y="954"/>
                  </a:lnTo>
                  <a:lnTo>
                    <a:pt x="1212" y="972"/>
                  </a:lnTo>
                  <a:lnTo>
                    <a:pt x="1218" y="996"/>
                  </a:lnTo>
                  <a:lnTo>
                    <a:pt x="1224" y="1008"/>
                  </a:lnTo>
                  <a:lnTo>
                    <a:pt x="1236" y="1014"/>
                  </a:lnTo>
                  <a:lnTo>
                    <a:pt x="1242" y="1026"/>
                  </a:lnTo>
                  <a:lnTo>
                    <a:pt x="1248" y="1038"/>
                  </a:lnTo>
                  <a:lnTo>
                    <a:pt x="1260" y="1050"/>
                  </a:lnTo>
                  <a:lnTo>
                    <a:pt x="1260" y="1056"/>
                  </a:lnTo>
                  <a:lnTo>
                    <a:pt x="1260" y="1074"/>
                  </a:lnTo>
                  <a:lnTo>
                    <a:pt x="1254" y="1074"/>
                  </a:lnTo>
                  <a:lnTo>
                    <a:pt x="1236" y="1056"/>
                  </a:lnTo>
                  <a:lnTo>
                    <a:pt x="1224" y="1050"/>
                  </a:lnTo>
                  <a:lnTo>
                    <a:pt x="1212" y="1050"/>
                  </a:lnTo>
                  <a:lnTo>
                    <a:pt x="1206" y="1050"/>
                  </a:lnTo>
                  <a:lnTo>
                    <a:pt x="1200" y="1056"/>
                  </a:lnTo>
                  <a:lnTo>
                    <a:pt x="1194" y="1062"/>
                  </a:lnTo>
                  <a:lnTo>
                    <a:pt x="1188" y="1068"/>
                  </a:lnTo>
                  <a:lnTo>
                    <a:pt x="1188" y="1074"/>
                  </a:lnTo>
                  <a:lnTo>
                    <a:pt x="1176" y="1086"/>
                  </a:lnTo>
                  <a:lnTo>
                    <a:pt x="1170" y="1086"/>
                  </a:lnTo>
                  <a:lnTo>
                    <a:pt x="1170" y="1092"/>
                  </a:lnTo>
                  <a:lnTo>
                    <a:pt x="1164" y="1098"/>
                  </a:lnTo>
                  <a:lnTo>
                    <a:pt x="1158" y="1110"/>
                  </a:lnTo>
                  <a:lnTo>
                    <a:pt x="1152" y="1116"/>
                  </a:lnTo>
                  <a:lnTo>
                    <a:pt x="1152" y="1122"/>
                  </a:lnTo>
                  <a:lnTo>
                    <a:pt x="1146" y="1128"/>
                  </a:lnTo>
                  <a:lnTo>
                    <a:pt x="1152" y="1140"/>
                  </a:lnTo>
                  <a:lnTo>
                    <a:pt x="1158" y="1140"/>
                  </a:lnTo>
                  <a:lnTo>
                    <a:pt x="1164" y="1146"/>
                  </a:lnTo>
                  <a:lnTo>
                    <a:pt x="1164" y="1152"/>
                  </a:lnTo>
                  <a:lnTo>
                    <a:pt x="1170" y="1164"/>
                  </a:lnTo>
                  <a:lnTo>
                    <a:pt x="1164" y="1176"/>
                  </a:lnTo>
                  <a:lnTo>
                    <a:pt x="1170" y="1182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82" y="1218"/>
                  </a:lnTo>
                  <a:lnTo>
                    <a:pt x="1188" y="1218"/>
                  </a:lnTo>
                  <a:lnTo>
                    <a:pt x="1194" y="1218"/>
                  </a:lnTo>
                  <a:lnTo>
                    <a:pt x="1194" y="1224"/>
                  </a:lnTo>
                  <a:lnTo>
                    <a:pt x="1200" y="1230"/>
                  </a:lnTo>
                  <a:lnTo>
                    <a:pt x="1200" y="1248"/>
                  </a:lnTo>
                  <a:lnTo>
                    <a:pt x="1212" y="1266"/>
                  </a:lnTo>
                  <a:lnTo>
                    <a:pt x="1218" y="1278"/>
                  </a:lnTo>
                  <a:lnTo>
                    <a:pt x="1224" y="1284"/>
                  </a:lnTo>
                  <a:lnTo>
                    <a:pt x="1236" y="1296"/>
                  </a:lnTo>
                  <a:lnTo>
                    <a:pt x="1242" y="1302"/>
                  </a:lnTo>
                  <a:lnTo>
                    <a:pt x="1242" y="1308"/>
                  </a:lnTo>
                  <a:lnTo>
                    <a:pt x="1272" y="1308"/>
                  </a:lnTo>
                  <a:lnTo>
                    <a:pt x="1296" y="1314"/>
                  </a:lnTo>
                  <a:lnTo>
                    <a:pt x="1320" y="1320"/>
                  </a:lnTo>
                  <a:lnTo>
                    <a:pt x="1338" y="1320"/>
                  </a:lnTo>
                  <a:lnTo>
                    <a:pt x="1356" y="1332"/>
                  </a:lnTo>
                  <a:lnTo>
                    <a:pt x="1368" y="1344"/>
                  </a:lnTo>
                  <a:lnTo>
                    <a:pt x="1374" y="1362"/>
                  </a:lnTo>
                  <a:lnTo>
                    <a:pt x="1368" y="1362"/>
                  </a:lnTo>
                  <a:lnTo>
                    <a:pt x="1368" y="1398"/>
                  </a:lnTo>
                  <a:lnTo>
                    <a:pt x="1368" y="1410"/>
                  </a:lnTo>
                  <a:lnTo>
                    <a:pt x="1368" y="1428"/>
                  </a:lnTo>
                  <a:lnTo>
                    <a:pt x="1368" y="1434"/>
                  </a:lnTo>
                  <a:lnTo>
                    <a:pt x="1368" y="1440"/>
                  </a:lnTo>
                  <a:lnTo>
                    <a:pt x="1374" y="1446"/>
                  </a:lnTo>
                  <a:lnTo>
                    <a:pt x="1374" y="1452"/>
                  </a:lnTo>
                  <a:lnTo>
                    <a:pt x="1380" y="1458"/>
                  </a:lnTo>
                  <a:lnTo>
                    <a:pt x="1386" y="1464"/>
                  </a:lnTo>
                  <a:lnTo>
                    <a:pt x="1386" y="1470"/>
                  </a:lnTo>
                  <a:lnTo>
                    <a:pt x="1380" y="1476"/>
                  </a:lnTo>
                  <a:lnTo>
                    <a:pt x="1374" y="1482"/>
                  </a:lnTo>
                  <a:lnTo>
                    <a:pt x="1362" y="1500"/>
                  </a:lnTo>
                  <a:lnTo>
                    <a:pt x="1362" y="1506"/>
                  </a:lnTo>
                  <a:lnTo>
                    <a:pt x="1362" y="1512"/>
                  </a:lnTo>
                  <a:lnTo>
                    <a:pt x="1362" y="1518"/>
                  </a:lnTo>
                  <a:lnTo>
                    <a:pt x="1362" y="1524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38" y="1548"/>
                  </a:lnTo>
                  <a:lnTo>
                    <a:pt x="1296" y="1548"/>
                  </a:lnTo>
                  <a:lnTo>
                    <a:pt x="1290" y="1554"/>
                  </a:lnTo>
                  <a:lnTo>
                    <a:pt x="1284" y="1560"/>
                  </a:lnTo>
                  <a:lnTo>
                    <a:pt x="1284" y="1566"/>
                  </a:lnTo>
                  <a:lnTo>
                    <a:pt x="1290" y="1578"/>
                  </a:lnTo>
                  <a:lnTo>
                    <a:pt x="1296" y="1590"/>
                  </a:lnTo>
                  <a:lnTo>
                    <a:pt x="1302" y="1590"/>
                  </a:lnTo>
                  <a:lnTo>
                    <a:pt x="1308" y="1596"/>
                  </a:lnTo>
                  <a:lnTo>
                    <a:pt x="1320" y="1602"/>
                  </a:lnTo>
                  <a:lnTo>
                    <a:pt x="1326" y="1602"/>
                  </a:lnTo>
                  <a:lnTo>
                    <a:pt x="1326" y="1608"/>
                  </a:lnTo>
                  <a:lnTo>
                    <a:pt x="1332" y="1614"/>
                  </a:lnTo>
                  <a:lnTo>
                    <a:pt x="1344" y="1620"/>
                  </a:lnTo>
                  <a:lnTo>
                    <a:pt x="1356" y="1626"/>
                  </a:lnTo>
                  <a:lnTo>
                    <a:pt x="1356" y="1632"/>
                  </a:lnTo>
                  <a:lnTo>
                    <a:pt x="1356" y="1638"/>
                  </a:lnTo>
                  <a:lnTo>
                    <a:pt x="1362" y="1644"/>
                  </a:lnTo>
                  <a:lnTo>
                    <a:pt x="1368" y="1644"/>
                  </a:lnTo>
                  <a:lnTo>
                    <a:pt x="1380" y="1650"/>
                  </a:lnTo>
                  <a:lnTo>
                    <a:pt x="1386" y="1650"/>
                  </a:lnTo>
                  <a:lnTo>
                    <a:pt x="1386" y="1656"/>
                  </a:lnTo>
                  <a:lnTo>
                    <a:pt x="1392" y="1656"/>
                  </a:lnTo>
                  <a:lnTo>
                    <a:pt x="1398" y="1662"/>
                  </a:lnTo>
                  <a:lnTo>
                    <a:pt x="1410" y="1674"/>
                  </a:lnTo>
                  <a:lnTo>
                    <a:pt x="1428" y="1680"/>
                  </a:lnTo>
                  <a:lnTo>
                    <a:pt x="1428" y="1686"/>
                  </a:lnTo>
                  <a:lnTo>
                    <a:pt x="1428" y="1698"/>
                  </a:lnTo>
                  <a:lnTo>
                    <a:pt x="1434" y="1704"/>
                  </a:lnTo>
                  <a:lnTo>
                    <a:pt x="1434" y="1710"/>
                  </a:lnTo>
                  <a:lnTo>
                    <a:pt x="1440" y="1710"/>
                  </a:lnTo>
                  <a:lnTo>
                    <a:pt x="1446" y="1710"/>
                  </a:lnTo>
                  <a:lnTo>
                    <a:pt x="1446" y="1716"/>
                  </a:lnTo>
                  <a:lnTo>
                    <a:pt x="1440" y="1722"/>
                  </a:lnTo>
                  <a:lnTo>
                    <a:pt x="1440" y="1728"/>
                  </a:lnTo>
                  <a:lnTo>
                    <a:pt x="1440" y="1734"/>
                  </a:lnTo>
                  <a:lnTo>
                    <a:pt x="1440" y="1740"/>
                  </a:lnTo>
                  <a:lnTo>
                    <a:pt x="1440" y="1746"/>
                  </a:lnTo>
                  <a:lnTo>
                    <a:pt x="1440" y="1788"/>
                  </a:lnTo>
                  <a:lnTo>
                    <a:pt x="1440" y="1800"/>
                  </a:lnTo>
                  <a:lnTo>
                    <a:pt x="1440" y="1806"/>
                  </a:lnTo>
                  <a:lnTo>
                    <a:pt x="1440" y="1836"/>
                  </a:lnTo>
                  <a:lnTo>
                    <a:pt x="1440" y="1848"/>
                  </a:lnTo>
                  <a:lnTo>
                    <a:pt x="1446" y="1848"/>
                  </a:lnTo>
                  <a:lnTo>
                    <a:pt x="1446" y="1854"/>
                  </a:lnTo>
                  <a:lnTo>
                    <a:pt x="1452" y="1848"/>
                  </a:lnTo>
                  <a:lnTo>
                    <a:pt x="1458" y="1854"/>
                  </a:lnTo>
                  <a:lnTo>
                    <a:pt x="1452" y="1860"/>
                  </a:lnTo>
                  <a:lnTo>
                    <a:pt x="1452" y="1866"/>
                  </a:lnTo>
                  <a:lnTo>
                    <a:pt x="1458" y="1872"/>
                  </a:lnTo>
                  <a:lnTo>
                    <a:pt x="1464" y="1884"/>
                  </a:lnTo>
                  <a:lnTo>
                    <a:pt x="1428" y="1878"/>
                  </a:lnTo>
                  <a:lnTo>
                    <a:pt x="1356" y="1890"/>
                  </a:lnTo>
                  <a:lnTo>
                    <a:pt x="1296" y="1926"/>
                  </a:lnTo>
                  <a:lnTo>
                    <a:pt x="1266" y="1944"/>
                  </a:lnTo>
                  <a:lnTo>
                    <a:pt x="1224" y="1944"/>
                  </a:lnTo>
                  <a:lnTo>
                    <a:pt x="1188" y="1956"/>
                  </a:lnTo>
                  <a:lnTo>
                    <a:pt x="1188" y="1950"/>
                  </a:lnTo>
                  <a:lnTo>
                    <a:pt x="1176" y="1944"/>
                  </a:lnTo>
                  <a:lnTo>
                    <a:pt x="1176" y="1938"/>
                  </a:lnTo>
                  <a:lnTo>
                    <a:pt x="1170" y="1938"/>
                  </a:lnTo>
                  <a:lnTo>
                    <a:pt x="1164" y="1932"/>
                  </a:lnTo>
                  <a:lnTo>
                    <a:pt x="1158" y="1926"/>
                  </a:lnTo>
                  <a:lnTo>
                    <a:pt x="1158" y="1920"/>
                  </a:lnTo>
                  <a:lnTo>
                    <a:pt x="1152" y="1920"/>
                  </a:lnTo>
                  <a:lnTo>
                    <a:pt x="1146" y="1914"/>
                  </a:lnTo>
                  <a:lnTo>
                    <a:pt x="1146" y="1908"/>
                  </a:lnTo>
                  <a:lnTo>
                    <a:pt x="1140" y="1908"/>
                  </a:lnTo>
                  <a:lnTo>
                    <a:pt x="1134" y="1902"/>
                  </a:lnTo>
                  <a:lnTo>
                    <a:pt x="1134" y="1896"/>
                  </a:lnTo>
                  <a:lnTo>
                    <a:pt x="1116" y="1896"/>
                  </a:lnTo>
                  <a:lnTo>
                    <a:pt x="1104" y="1884"/>
                  </a:lnTo>
                  <a:lnTo>
                    <a:pt x="1092" y="1860"/>
                  </a:lnTo>
                  <a:lnTo>
                    <a:pt x="1068" y="1854"/>
                  </a:lnTo>
                  <a:lnTo>
                    <a:pt x="1032" y="1842"/>
                  </a:lnTo>
                  <a:lnTo>
                    <a:pt x="1008" y="1836"/>
                  </a:lnTo>
                  <a:lnTo>
                    <a:pt x="978" y="1824"/>
                  </a:lnTo>
                  <a:lnTo>
                    <a:pt x="942" y="1818"/>
                  </a:lnTo>
                  <a:lnTo>
                    <a:pt x="924" y="1806"/>
                  </a:lnTo>
                  <a:lnTo>
                    <a:pt x="906" y="1788"/>
                  </a:lnTo>
                  <a:lnTo>
                    <a:pt x="894" y="1776"/>
                  </a:lnTo>
                  <a:lnTo>
                    <a:pt x="864" y="1758"/>
                  </a:lnTo>
                  <a:lnTo>
                    <a:pt x="834" y="1752"/>
                  </a:lnTo>
                  <a:lnTo>
                    <a:pt x="798" y="1746"/>
                  </a:lnTo>
                  <a:lnTo>
                    <a:pt x="792" y="1806"/>
                  </a:lnTo>
                  <a:lnTo>
                    <a:pt x="798" y="1812"/>
                  </a:lnTo>
                  <a:lnTo>
                    <a:pt x="810" y="1830"/>
                  </a:lnTo>
                  <a:lnTo>
                    <a:pt x="792" y="1842"/>
                  </a:lnTo>
                  <a:lnTo>
                    <a:pt x="768" y="1842"/>
                  </a:lnTo>
                  <a:lnTo>
                    <a:pt x="708" y="1848"/>
                  </a:lnTo>
                  <a:lnTo>
                    <a:pt x="690" y="1860"/>
                  </a:lnTo>
                  <a:lnTo>
                    <a:pt x="690" y="1866"/>
                  </a:lnTo>
                  <a:lnTo>
                    <a:pt x="678" y="1878"/>
                  </a:lnTo>
                  <a:lnTo>
                    <a:pt x="660" y="1884"/>
                  </a:lnTo>
                  <a:lnTo>
                    <a:pt x="660" y="1902"/>
                  </a:lnTo>
                  <a:lnTo>
                    <a:pt x="642" y="1902"/>
                  </a:lnTo>
                  <a:lnTo>
                    <a:pt x="582" y="1914"/>
                  </a:lnTo>
                  <a:lnTo>
                    <a:pt x="534" y="1908"/>
                  </a:lnTo>
                  <a:lnTo>
                    <a:pt x="510" y="1908"/>
                  </a:lnTo>
                  <a:lnTo>
                    <a:pt x="510" y="1896"/>
                  </a:lnTo>
                  <a:lnTo>
                    <a:pt x="492" y="1896"/>
                  </a:lnTo>
                  <a:lnTo>
                    <a:pt x="486" y="1902"/>
                  </a:lnTo>
                  <a:lnTo>
                    <a:pt x="474" y="1908"/>
                  </a:lnTo>
                  <a:lnTo>
                    <a:pt x="450" y="1908"/>
                  </a:lnTo>
                  <a:lnTo>
                    <a:pt x="432" y="1902"/>
                  </a:lnTo>
                  <a:lnTo>
                    <a:pt x="426" y="1896"/>
                  </a:lnTo>
                  <a:lnTo>
                    <a:pt x="402" y="1884"/>
                  </a:lnTo>
                  <a:lnTo>
                    <a:pt x="390" y="1872"/>
                  </a:lnTo>
                  <a:lnTo>
                    <a:pt x="384" y="1872"/>
                  </a:lnTo>
                  <a:lnTo>
                    <a:pt x="378" y="1872"/>
                  </a:lnTo>
                  <a:lnTo>
                    <a:pt x="378" y="1866"/>
                  </a:lnTo>
                  <a:lnTo>
                    <a:pt x="372" y="1860"/>
                  </a:lnTo>
                  <a:lnTo>
                    <a:pt x="372" y="1854"/>
                  </a:lnTo>
                  <a:lnTo>
                    <a:pt x="366" y="1842"/>
                  </a:lnTo>
                  <a:lnTo>
                    <a:pt x="366" y="1836"/>
                  </a:lnTo>
                  <a:lnTo>
                    <a:pt x="348" y="1830"/>
                  </a:lnTo>
                  <a:lnTo>
                    <a:pt x="348" y="1806"/>
                  </a:lnTo>
                  <a:lnTo>
                    <a:pt x="348" y="1800"/>
                  </a:lnTo>
                  <a:lnTo>
                    <a:pt x="348" y="1782"/>
                  </a:lnTo>
                  <a:lnTo>
                    <a:pt x="336" y="1788"/>
                  </a:lnTo>
                  <a:lnTo>
                    <a:pt x="312" y="1794"/>
                  </a:lnTo>
                  <a:lnTo>
                    <a:pt x="288" y="1788"/>
                  </a:lnTo>
                  <a:lnTo>
                    <a:pt x="264" y="1758"/>
                  </a:lnTo>
                  <a:lnTo>
                    <a:pt x="270" y="1758"/>
                  </a:lnTo>
                  <a:lnTo>
                    <a:pt x="270" y="1752"/>
                  </a:lnTo>
                  <a:lnTo>
                    <a:pt x="276" y="1752"/>
                  </a:lnTo>
                  <a:lnTo>
                    <a:pt x="282" y="1746"/>
                  </a:lnTo>
                  <a:lnTo>
                    <a:pt x="300" y="1746"/>
                  </a:lnTo>
                  <a:lnTo>
                    <a:pt x="312" y="1746"/>
                  </a:lnTo>
                  <a:lnTo>
                    <a:pt x="336" y="1710"/>
                  </a:lnTo>
                  <a:lnTo>
                    <a:pt x="342" y="1692"/>
                  </a:lnTo>
                  <a:lnTo>
                    <a:pt x="348" y="1680"/>
                  </a:lnTo>
                  <a:lnTo>
                    <a:pt x="342" y="1650"/>
                  </a:lnTo>
                  <a:lnTo>
                    <a:pt x="354" y="1644"/>
                  </a:lnTo>
                  <a:lnTo>
                    <a:pt x="354" y="1638"/>
                  </a:lnTo>
                  <a:lnTo>
                    <a:pt x="360" y="1632"/>
                  </a:lnTo>
                  <a:lnTo>
                    <a:pt x="354" y="1626"/>
                  </a:lnTo>
                  <a:lnTo>
                    <a:pt x="348" y="1626"/>
                  </a:lnTo>
                  <a:lnTo>
                    <a:pt x="348" y="1620"/>
                  </a:lnTo>
                  <a:lnTo>
                    <a:pt x="342" y="1620"/>
                  </a:lnTo>
                  <a:lnTo>
                    <a:pt x="348" y="1614"/>
                  </a:lnTo>
                  <a:lnTo>
                    <a:pt x="324" y="1566"/>
                  </a:lnTo>
                  <a:lnTo>
                    <a:pt x="318" y="1566"/>
                  </a:lnTo>
                  <a:lnTo>
                    <a:pt x="306" y="1572"/>
                  </a:lnTo>
                  <a:lnTo>
                    <a:pt x="300" y="1572"/>
                  </a:lnTo>
                  <a:lnTo>
                    <a:pt x="294" y="1578"/>
                  </a:lnTo>
                  <a:lnTo>
                    <a:pt x="288" y="1584"/>
                  </a:lnTo>
                  <a:lnTo>
                    <a:pt x="282" y="1584"/>
                  </a:lnTo>
                  <a:lnTo>
                    <a:pt x="282" y="1578"/>
                  </a:lnTo>
                  <a:lnTo>
                    <a:pt x="276" y="1578"/>
                  </a:lnTo>
                  <a:lnTo>
                    <a:pt x="270" y="1578"/>
                  </a:lnTo>
                  <a:lnTo>
                    <a:pt x="264" y="1578"/>
                  </a:lnTo>
                  <a:lnTo>
                    <a:pt x="258" y="1578"/>
                  </a:lnTo>
                  <a:lnTo>
                    <a:pt x="252" y="1578"/>
                  </a:lnTo>
                  <a:lnTo>
                    <a:pt x="252" y="1584"/>
                  </a:lnTo>
                  <a:lnTo>
                    <a:pt x="246" y="1584"/>
                  </a:lnTo>
                  <a:lnTo>
                    <a:pt x="210" y="1584"/>
                  </a:lnTo>
                  <a:lnTo>
                    <a:pt x="204" y="1584"/>
                  </a:lnTo>
                  <a:lnTo>
                    <a:pt x="192" y="1584"/>
                  </a:lnTo>
                  <a:lnTo>
                    <a:pt x="168" y="1596"/>
                  </a:lnTo>
                  <a:lnTo>
                    <a:pt x="156" y="1572"/>
                  </a:lnTo>
                  <a:lnTo>
                    <a:pt x="156" y="1566"/>
                  </a:lnTo>
                  <a:lnTo>
                    <a:pt x="156" y="1560"/>
                  </a:lnTo>
                  <a:lnTo>
                    <a:pt x="162" y="1548"/>
                  </a:lnTo>
                  <a:lnTo>
                    <a:pt x="162" y="1542"/>
                  </a:lnTo>
                  <a:lnTo>
                    <a:pt x="162" y="1536"/>
                  </a:lnTo>
                  <a:lnTo>
                    <a:pt x="168" y="1530"/>
                  </a:lnTo>
                  <a:lnTo>
                    <a:pt x="168" y="1524"/>
                  </a:lnTo>
                  <a:lnTo>
                    <a:pt x="168" y="1518"/>
                  </a:lnTo>
                  <a:lnTo>
                    <a:pt x="174" y="1518"/>
                  </a:lnTo>
                  <a:lnTo>
                    <a:pt x="174" y="1506"/>
                  </a:lnTo>
                  <a:lnTo>
                    <a:pt x="156" y="1470"/>
                  </a:lnTo>
                  <a:lnTo>
                    <a:pt x="138" y="1464"/>
                  </a:lnTo>
                  <a:lnTo>
                    <a:pt x="126" y="1446"/>
                  </a:lnTo>
                  <a:lnTo>
                    <a:pt x="126" y="1440"/>
                  </a:lnTo>
                  <a:lnTo>
                    <a:pt x="126" y="1434"/>
                  </a:lnTo>
                  <a:lnTo>
                    <a:pt x="120" y="1428"/>
                  </a:lnTo>
                  <a:lnTo>
                    <a:pt x="126" y="1398"/>
                  </a:lnTo>
                  <a:lnTo>
                    <a:pt x="120" y="1374"/>
                  </a:lnTo>
                  <a:lnTo>
                    <a:pt x="60" y="1374"/>
                  </a:lnTo>
                  <a:lnTo>
                    <a:pt x="60" y="1368"/>
                  </a:lnTo>
                  <a:lnTo>
                    <a:pt x="54" y="1362"/>
                  </a:lnTo>
                  <a:lnTo>
                    <a:pt x="48" y="1356"/>
                  </a:lnTo>
                  <a:lnTo>
                    <a:pt x="42" y="1356"/>
                  </a:lnTo>
                  <a:lnTo>
                    <a:pt x="42" y="1350"/>
                  </a:lnTo>
                  <a:lnTo>
                    <a:pt x="36" y="1344"/>
                  </a:lnTo>
                  <a:lnTo>
                    <a:pt x="36" y="1338"/>
                  </a:lnTo>
                  <a:lnTo>
                    <a:pt x="30" y="1332"/>
                  </a:lnTo>
                  <a:lnTo>
                    <a:pt x="30" y="1326"/>
                  </a:lnTo>
                  <a:lnTo>
                    <a:pt x="18" y="1326"/>
                  </a:lnTo>
                  <a:lnTo>
                    <a:pt x="18" y="1320"/>
                  </a:lnTo>
                  <a:lnTo>
                    <a:pt x="18" y="1326"/>
                  </a:lnTo>
                  <a:lnTo>
                    <a:pt x="6" y="1320"/>
                  </a:lnTo>
                  <a:lnTo>
                    <a:pt x="0" y="1314"/>
                  </a:lnTo>
                  <a:lnTo>
                    <a:pt x="12" y="1266"/>
                  </a:lnTo>
                  <a:lnTo>
                    <a:pt x="6" y="1242"/>
                  </a:lnTo>
                  <a:lnTo>
                    <a:pt x="12" y="1236"/>
                  </a:lnTo>
                  <a:lnTo>
                    <a:pt x="12" y="1230"/>
                  </a:lnTo>
                  <a:lnTo>
                    <a:pt x="18" y="1230"/>
                  </a:lnTo>
                  <a:lnTo>
                    <a:pt x="18" y="1224"/>
                  </a:lnTo>
                  <a:lnTo>
                    <a:pt x="24" y="1218"/>
                  </a:lnTo>
                  <a:lnTo>
                    <a:pt x="24" y="1212"/>
                  </a:lnTo>
                  <a:lnTo>
                    <a:pt x="30" y="1212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48" y="1188"/>
                  </a:lnTo>
                  <a:lnTo>
                    <a:pt x="48" y="1182"/>
                  </a:lnTo>
                  <a:lnTo>
                    <a:pt x="48" y="1176"/>
                  </a:lnTo>
                  <a:lnTo>
                    <a:pt x="48" y="1170"/>
                  </a:lnTo>
                  <a:lnTo>
                    <a:pt x="54" y="1170"/>
                  </a:lnTo>
                  <a:lnTo>
                    <a:pt x="60" y="1164"/>
                  </a:lnTo>
                  <a:lnTo>
                    <a:pt x="60" y="1158"/>
                  </a:lnTo>
                  <a:lnTo>
                    <a:pt x="66" y="1152"/>
                  </a:lnTo>
                  <a:lnTo>
                    <a:pt x="60" y="1140"/>
                  </a:lnTo>
                  <a:lnTo>
                    <a:pt x="60" y="1134"/>
                  </a:lnTo>
                  <a:lnTo>
                    <a:pt x="54" y="1134"/>
                  </a:lnTo>
                  <a:lnTo>
                    <a:pt x="54" y="1128"/>
                  </a:lnTo>
                  <a:lnTo>
                    <a:pt x="48" y="1122"/>
                  </a:lnTo>
                  <a:lnTo>
                    <a:pt x="48" y="1116"/>
                  </a:lnTo>
                  <a:lnTo>
                    <a:pt x="48" y="1110"/>
                  </a:lnTo>
                  <a:lnTo>
                    <a:pt x="42" y="1104"/>
                  </a:lnTo>
                  <a:lnTo>
                    <a:pt x="42" y="1098"/>
                  </a:lnTo>
                  <a:lnTo>
                    <a:pt x="36" y="1092"/>
                  </a:lnTo>
                  <a:lnTo>
                    <a:pt x="30" y="1092"/>
                  </a:lnTo>
                  <a:lnTo>
                    <a:pt x="24" y="1092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18" y="1080"/>
                  </a:lnTo>
                  <a:lnTo>
                    <a:pt x="18" y="1074"/>
                  </a:lnTo>
                  <a:lnTo>
                    <a:pt x="12" y="1068"/>
                  </a:lnTo>
                  <a:lnTo>
                    <a:pt x="6" y="1068"/>
                  </a:lnTo>
                  <a:lnTo>
                    <a:pt x="12" y="1056"/>
                  </a:lnTo>
                  <a:lnTo>
                    <a:pt x="6" y="1056"/>
                  </a:lnTo>
                  <a:lnTo>
                    <a:pt x="6" y="1050"/>
                  </a:lnTo>
                  <a:lnTo>
                    <a:pt x="6" y="1044"/>
                  </a:lnTo>
                  <a:lnTo>
                    <a:pt x="6" y="1026"/>
                  </a:lnTo>
                  <a:lnTo>
                    <a:pt x="12" y="1020"/>
                  </a:lnTo>
                  <a:lnTo>
                    <a:pt x="12" y="1014"/>
                  </a:lnTo>
                  <a:lnTo>
                    <a:pt x="18" y="1014"/>
                  </a:lnTo>
                  <a:lnTo>
                    <a:pt x="18" y="1008"/>
                  </a:lnTo>
                  <a:lnTo>
                    <a:pt x="18" y="1002"/>
                  </a:lnTo>
                  <a:lnTo>
                    <a:pt x="18" y="990"/>
                  </a:lnTo>
                  <a:lnTo>
                    <a:pt x="12" y="972"/>
                  </a:lnTo>
                  <a:lnTo>
                    <a:pt x="18" y="954"/>
                  </a:lnTo>
                  <a:lnTo>
                    <a:pt x="18" y="948"/>
                  </a:lnTo>
                  <a:lnTo>
                    <a:pt x="24" y="948"/>
                  </a:lnTo>
                  <a:lnTo>
                    <a:pt x="24" y="930"/>
                  </a:lnTo>
                  <a:lnTo>
                    <a:pt x="30" y="930"/>
                  </a:lnTo>
                  <a:lnTo>
                    <a:pt x="36" y="918"/>
                  </a:lnTo>
                  <a:lnTo>
                    <a:pt x="42" y="918"/>
                  </a:lnTo>
                  <a:lnTo>
                    <a:pt x="48" y="918"/>
                  </a:lnTo>
                  <a:lnTo>
                    <a:pt x="78" y="912"/>
                  </a:lnTo>
                  <a:lnTo>
                    <a:pt x="90" y="894"/>
                  </a:lnTo>
                  <a:lnTo>
                    <a:pt x="96" y="894"/>
                  </a:lnTo>
                  <a:lnTo>
                    <a:pt x="102" y="888"/>
                  </a:lnTo>
                  <a:lnTo>
                    <a:pt x="102" y="882"/>
                  </a:lnTo>
                  <a:lnTo>
                    <a:pt x="114" y="870"/>
                  </a:lnTo>
                  <a:lnTo>
                    <a:pt x="120" y="864"/>
                  </a:lnTo>
                  <a:lnTo>
                    <a:pt x="120" y="852"/>
                  </a:lnTo>
                  <a:lnTo>
                    <a:pt x="120" y="846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32" y="840"/>
                  </a:lnTo>
                  <a:lnTo>
                    <a:pt x="138" y="840"/>
                  </a:lnTo>
                  <a:lnTo>
                    <a:pt x="138" y="834"/>
                  </a:lnTo>
                  <a:lnTo>
                    <a:pt x="144" y="834"/>
                  </a:lnTo>
                  <a:lnTo>
                    <a:pt x="144" y="828"/>
                  </a:lnTo>
                  <a:lnTo>
                    <a:pt x="150" y="828"/>
                  </a:lnTo>
                  <a:lnTo>
                    <a:pt x="156" y="822"/>
                  </a:lnTo>
                  <a:lnTo>
                    <a:pt x="162" y="816"/>
                  </a:lnTo>
                  <a:lnTo>
                    <a:pt x="162" y="822"/>
                  </a:lnTo>
                  <a:lnTo>
                    <a:pt x="162" y="816"/>
                  </a:lnTo>
                  <a:lnTo>
                    <a:pt x="162" y="810"/>
                  </a:lnTo>
                  <a:lnTo>
                    <a:pt x="168" y="810"/>
                  </a:lnTo>
                  <a:lnTo>
                    <a:pt x="174" y="804"/>
                  </a:lnTo>
                  <a:lnTo>
                    <a:pt x="180" y="798"/>
                  </a:lnTo>
                  <a:lnTo>
                    <a:pt x="180" y="786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8" y="780"/>
                  </a:lnTo>
                  <a:lnTo>
                    <a:pt x="204" y="774"/>
                  </a:lnTo>
                  <a:lnTo>
                    <a:pt x="210" y="774"/>
                  </a:lnTo>
                  <a:lnTo>
                    <a:pt x="216" y="768"/>
                  </a:lnTo>
                  <a:lnTo>
                    <a:pt x="222" y="762"/>
                  </a:lnTo>
                  <a:lnTo>
                    <a:pt x="228" y="762"/>
                  </a:lnTo>
                  <a:lnTo>
                    <a:pt x="228" y="768"/>
                  </a:lnTo>
                  <a:lnTo>
                    <a:pt x="234" y="768"/>
                  </a:lnTo>
                  <a:lnTo>
                    <a:pt x="240" y="762"/>
                  </a:lnTo>
                  <a:lnTo>
                    <a:pt x="252" y="762"/>
                  </a:lnTo>
                  <a:lnTo>
                    <a:pt x="264" y="768"/>
                  </a:lnTo>
                  <a:lnTo>
                    <a:pt x="294" y="756"/>
                  </a:lnTo>
                  <a:lnTo>
                    <a:pt x="294" y="750"/>
                  </a:lnTo>
                  <a:lnTo>
                    <a:pt x="300" y="750"/>
                  </a:lnTo>
                  <a:lnTo>
                    <a:pt x="306" y="744"/>
                  </a:lnTo>
                  <a:lnTo>
                    <a:pt x="342" y="750"/>
                  </a:lnTo>
                  <a:lnTo>
                    <a:pt x="348" y="750"/>
                  </a:lnTo>
                  <a:lnTo>
                    <a:pt x="348" y="744"/>
                  </a:lnTo>
                  <a:lnTo>
                    <a:pt x="354" y="744"/>
                  </a:lnTo>
                  <a:lnTo>
                    <a:pt x="360" y="744"/>
                  </a:lnTo>
                  <a:lnTo>
                    <a:pt x="360" y="750"/>
                  </a:lnTo>
                  <a:lnTo>
                    <a:pt x="366" y="750"/>
                  </a:lnTo>
                  <a:lnTo>
                    <a:pt x="366" y="744"/>
                  </a:lnTo>
                  <a:lnTo>
                    <a:pt x="366" y="738"/>
                  </a:lnTo>
                  <a:lnTo>
                    <a:pt x="372" y="744"/>
                  </a:lnTo>
                  <a:lnTo>
                    <a:pt x="378" y="744"/>
                  </a:lnTo>
                  <a:lnTo>
                    <a:pt x="384" y="750"/>
                  </a:lnTo>
                  <a:lnTo>
                    <a:pt x="444" y="774"/>
                  </a:lnTo>
                  <a:lnTo>
                    <a:pt x="450" y="774"/>
                  </a:lnTo>
                  <a:lnTo>
                    <a:pt x="456" y="768"/>
                  </a:lnTo>
                  <a:lnTo>
                    <a:pt x="462" y="768"/>
                  </a:lnTo>
                  <a:lnTo>
                    <a:pt x="462" y="762"/>
                  </a:lnTo>
                  <a:lnTo>
                    <a:pt x="468" y="762"/>
                  </a:lnTo>
                  <a:lnTo>
                    <a:pt x="474" y="756"/>
                  </a:lnTo>
                  <a:lnTo>
                    <a:pt x="480" y="750"/>
                  </a:lnTo>
                  <a:lnTo>
                    <a:pt x="516" y="756"/>
                  </a:lnTo>
                  <a:lnTo>
                    <a:pt x="522" y="756"/>
                  </a:lnTo>
                  <a:lnTo>
                    <a:pt x="522" y="762"/>
                  </a:lnTo>
                  <a:lnTo>
                    <a:pt x="522" y="768"/>
                  </a:lnTo>
                  <a:lnTo>
                    <a:pt x="522" y="774"/>
                  </a:lnTo>
                  <a:lnTo>
                    <a:pt x="528" y="780"/>
                  </a:lnTo>
                  <a:lnTo>
                    <a:pt x="540" y="780"/>
                  </a:lnTo>
                  <a:lnTo>
                    <a:pt x="540" y="804"/>
                  </a:lnTo>
                  <a:lnTo>
                    <a:pt x="540" y="810"/>
                  </a:lnTo>
                  <a:lnTo>
                    <a:pt x="546" y="810"/>
                  </a:lnTo>
                  <a:lnTo>
                    <a:pt x="552" y="810"/>
                  </a:lnTo>
                  <a:lnTo>
                    <a:pt x="558" y="810"/>
                  </a:lnTo>
                  <a:lnTo>
                    <a:pt x="564" y="810"/>
                  </a:lnTo>
                  <a:lnTo>
                    <a:pt x="570" y="810"/>
                  </a:lnTo>
                  <a:lnTo>
                    <a:pt x="576" y="810"/>
                  </a:lnTo>
                  <a:lnTo>
                    <a:pt x="576" y="816"/>
                  </a:lnTo>
                  <a:lnTo>
                    <a:pt x="588" y="816"/>
                  </a:lnTo>
                  <a:lnTo>
                    <a:pt x="594" y="816"/>
                  </a:lnTo>
                  <a:lnTo>
                    <a:pt x="600" y="822"/>
                  </a:lnTo>
                  <a:lnTo>
                    <a:pt x="606" y="816"/>
                  </a:lnTo>
                  <a:lnTo>
                    <a:pt x="612" y="816"/>
                  </a:lnTo>
                  <a:lnTo>
                    <a:pt x="612" y="810"/>
                  </a:lnTo>
                  <a:lnTo>
                    <a:pt x="624" y="810"/>
                  </a:lnTo>
                  <a:lnTo>
                    <a:pt x="624" y="804"/>
                  </a:lnTo>
                  <a:lnTo>
                    <a:pt x="630" y="798"/>
                  </a:lnTo>
                  <a:lnTo>
                    <a:pt x="636" y="798"/>
                  </a:lnTo>
                  <a:lnTo>
                    <a:pt x="636" y="804"/>
                  </a:lnTo>
                  <a:lnTo>
                    <a:pt x="642" y="804"/>
                  </a:lnTo>
                  <a:lnTo>
                    <a:pt x="648" y="804"/>
                  </a:lnTo>
                  <a:lnTo>
                    <a:pt x="654" y="804"/>
                  </a:lnTo>
                  <a:lnTo>
                    <a:pt x="660" y="804"/>
                  </a:lnTo>
                  <a:lnTo>
                    <a:pt x="678" y="798"/>
                  </a:lnTo>
                  <a:lnTo>
                    <a:pt x="714" y="786"/>
                  </a:lnTo>
                  <a:lnTo>
                    <a:pt x="714" y="792"/>
                  </a:lnTo>
                  <a:lnTo>
                    <a:pt x="714" y="798"/>
                  </a:lnTo>
                  <a:lnTo>
                    <a:pt x="714" y="804"/>
                  </a:lnTo>
                  <a:lnTo>
                    <a:pt x="720" y="804"/>
                  </a:lnTo>
                  <a:lnTo>
                    <a:pt x="720" y="810"/>
                  </a:lnTo>
                  <a:lnTo>
                    <a:pt x="720" y="816"/>
                  </a:lnTo>
                  <a:lnTo>
                    <a:pt x="726" y="822"/>
                  </a:lnTo>
                  <a:lnTo>
                    <a:pt x="732" y="828"/>
                  </a:lnTo>
                  <a:lnTo>
                    <a:pt x="732" y="834"/>
                  </a:lnTo>
                  <a:lnTo>
                    <a:pt x="732" y="846"/>
                  </a:lnTo>
                  <a:lnTo>
                    <a:pt x="732" y="858"/>
                  </a:lnTo>
                  <a:lnTo>
                    <a:pt x="738" y="858"/>
                  </a:lnTo>
                  <a:lnTo>
                    <a:pt x="732" y="864"/>
                  </a:lnTo>
                  <a:lnTo>
                    <a:pt x="732" y="870"/>
                  </a:lnTo>
                  <a:lnTo>
                    <a:pt x="726" y="870"/>
                  </a:lnTo>
                  <a:lnTo>
                    <a:pt x="726" y="876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0" y="882"/>
                  </a:lnTo>
                  <a:lnTo>
                    <a:pt x="690" y="912"/>
                  </a:lnTo>
                  <a:lnTo>
                    <a:pt x="696" y="936"/>
                  </a:lnTo>
                  <a:lnTo>
                    <a:pt x="702" y="936"/>
                  </a:lnTo>
                  <a:lnTo>
                    <a:pt x="702" y="930"/>
                  </a:lnTo>
                  <a:lnTo>
                    <a:pt x="708" y="930"/>
                  </a:lnTo>
                  <a:lnTo>
                    <a:pt x="708" y="924"/>
                  </a:lnTo>
                  <a:lnTo>
                    <a:pt x="708" y="918"/>
                  </a:lnTo>
                  <a:lnTo>
                    <a:pt x="714" y="918"/>
                  </a:lnTo>
                  <a:lnTo>
                    <a:pt x="720" y="954"/>
                  </a:lnTo>
                  <a:lnTo>
                    <a:pt x="726" y="966"/>
                  </a:lnTo>
                  <a:lnTo>
                    <a:pt x="744" y="966"/>
                  </a:lnTo>
                  <a:lnTo>
                    <a:pt x="756" y="972"/>
                  </a:lnTo>
                  <a:lnTo>
                    <a:pt x="792" y="990"/>
                  </a:lnTo>
                  <a:lnTo>
                    <a:pt x="828" y="978"/>
                  </a:lnTo>
                  <a:lnTo>
                    <a:pt x="834" y="978"/>
                  </a:lnTo>
                  <a:lnTo>
                    <a:pt x="840" y="978"/>
                  </a:lnTo>
                  <a:lnTo>
                    <a:pt x="840" y="984"/>
                  </a:lnTo>
                  <a:lnTo>
                    <a:pt x="846" y="984"/>
                  </a:lnTo>
                  <a:lnTo>
                    <a:pt x="858" y="972"/>
                  </a:lnTo>
                  <a:lnTo>
                    <a:pt x="882" y="972"/>
                  </a:lnTo>
                  <a:lnTo>
                    <a:pt x="888" y="984"/>
                  </a:lnTo>
                  <a:lnTo>
                    <a:pt x="900" y="990"/>
                  </a:lnTo>
                  <a:lnTo>
                    <a:pt x="924" y="996"/>
                  </a:lnTo>
                  <a:lnTo>
                    <a:pt x="930" y="990"/>
                  </a:lnTo>
                  <a:lnTo>
                    <a:pt x="930" y="984"/>
                  </a:lnTo>
                  <a:lnTo>
                    <a:pt x="924" y="978"/>
                  </a:lnTo>
                  <a:lnTo>
                    <a:pt x="906" y="972"/>
                  </a:lnTo>
                  <a:lnTo>
                    <a:pt x="900" y="966"/>
                  </a:lnTo>
                  <a:lnTo>
                    <a:pt x="900" y="960"/>
                  </a:lnTo>
                  <a:lnTo>
                    <a:pt x="900" y="954"/>
                  </a:lnTo>
                  <a:lnTo>
                    <a:pt x="900" y="948"/>
                  </a:lnTo>
                  <a:lnTo>
                    <a:pt x="912" y="936"/>
                  </a:lnTo>
                  <a:lnTo>
                    <a:pt x="912" y="924"/>
                  </a:lnTo>
                  <a:lnTo>
                    <a:pt x="918" y="924"/>
                  </a:lnTo>
                  <a:lnTo>
                    <a:pt x="918" y="918"/>
                  </a:lnTo>
                  <a:lnTo>
                    <a:pt x="936" y="906"/>
                  </a:lnTo>
                  <a:lnTo>
                    <a:pt x="942" y="906"/>
                  </a:lnTo>
                  <a:lnTo>
                    <a:pt x="948" y="906"/>
                  </a:lnTo>
                  <a:lnTo>
                    <a:pt x="954" y="906"/>
                  </a:lnTo>
                  <a:lnTo>
                    <a:pt x="960" y="906"/>
                  </a:lnTo>
                  <a:lnTo>
                    <a:pt x="966" y="912"/>
                  </a:lnTo>
                  <a:lnTo>
                    <a:pt x="972" y="906"/>
                  </a:lnTo>
                  <a:lnTo>
                    <a:pt x="978" y="906"/>
                  </a:lnTo>
                  <a:lnTo>
                    <a:pt x="984" y="900"/>
                  </a:lnTo>
                  <a:lnTo>
                    <a:pt x="984" y="894"/>
                  </a:lnTo>
                  <a:lnTo>
                    <a:pt x="990" y="894"/>
                  </a:lnTo>
                  <a:lnTo>
                    <a:pt x="996" y="888"/>
                  </a:lnTo>
                  <a:lnTo>
                    <a:pt x="1002" y="888"/>
                  </a:lnTo>
                  <a:lnTo>
                    <a:pt x="1008" y="882"/>
                  </a:lnTo>
                  <a:lnTo>
                    <a:pt x="1014" y="882"/>
                  </a:lnTo>
                  <a:lnTo>
                    <a:pt x="1020" y="882"/>
                  </a:lnTo>
                  <a:lnTo>
                    <a:pt x="1020" y="888"/>
                  </a:lnTo>
                  <a:lnTo>
                    <a:pt x="1026" y="882"/>
                  </a:lnTo>
                  <a:lnTo>
                    <a:pt x="1026" y="876"/>
                  </a:lnTo>
                  <a:lnTo>
                    <a:pt x="1026" y="870"/>
                  </a:lnTo>
                  <a:lnTo>
                    <a:pt x="1032" y="864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44" y="852"/>
                  </a:lnTo>
                  <a:lnTo>
                    <a:pt x="1038" y="846"/>
                  </a:lnTo>
                  <a:lnTo>
                    <a:pt x="1038" y="840"/>
                  </a:lnTo>
                  <a:lnTo>
                    <a:pt x="1032" y="840"/>
                  </a:lnTo>
                  <a:lnTo>
                    <a:pt x="1026" y="840"/>
                  </a:lnTo>
                  <a:lnTo>
                    <a:pt x="1020" y="840"/>
                  </a:lnTo>
                  <a:lnTo>
                    <a:pt x="1014" y="846"/>
                  </a:lnTo>
                  <a:lnTo>
                    <a:pt x="1008" y="846"/>
                  </a:lnTo>
                  <a:lnTo>
                    <a:pt x="1002" y="840"/>
                  </a:lnTo>
                  <a:lnTo>
                    <a:pt x="996" y="840"/>
                  </a:lnTo>
                  <a:lnTo>
                    <a:pt x="990" y="834"/>
                  </a:lnTo>
                  <a:lnTo>
                    <a:pt x="984" y="834"/>
                  </a:lnTo>
                  <a:lnTo>
                    <a:pt x="978" y="834"/>
                  </a:lnTo>
                  <a:lnTo>
                    <a:pt x="972" y="834"/>
                  </a:lnTo>
                  <a:lnTo>
                    <a:pt x="966" y="834"/>
                  </a:lnTo>
                  <a:lnTo>
                    <a:pt x="966" y="828"/>
                  </a:lnTo>
                  <a:lnTo>
                    <a:pt x="960" y="828"/>
                  </a:lnTo>
                  <a:lnTo>
                    <a:pt x="954" y="828"/>
                  </a:lnTo>
                  <a:lnTo>
                    <a:pt x="942" y="828"/>
                  </a:lnTo>
                  <a:lnTo>
                    <a:pt x="936" y="828"/>
                  </a:lnTo>
                  <a:lnTo>
                    <a:pt x="930" y="828"/>
                  </a:lnTo>
                  <a:lnTo>
                    <a:pt x="918" y="828"/>
                  </a:lnTo>
                  <a:lnTo>
                    <a:pt x="918" y="822"/>
                  </a:lnTo>
                  <a:lnTo>
                    <a:pt x="912" y="828"/>
                  </a:lnTo>
                  <a:lnTo>
                    <a:pt x="912" y="822"/>
                  </a:lnTo>
                  <a:lnTo>
                    <a:pt x="906" y="816"/>
                  </a:lnTo>
                  <a:lnTo>
                    <a:pt x="900" y="816"/>
                  </a:lnTo>
                  <a:lnTo>
                    <a:pt x="894" y="816"/>
                  </a:lnTo>
                  <a:lnTo>
                    <a:pt x="888" y="816"/>
                  </a:lnTo>
                  <a:lnTo>
                    <a:pt x="882" y="816"/>
                  </a:lnTo>
                  <a:lnTo>
                    <a:pt x="882" y="810"/>
                  </a:lnTo>
                  <a:lnTo>
                    <a:pt x="876" y="804"/>
                  </a:lnTo>
                  <a:lnTo>
                    <a:pt x="870" y="804"/>
                  </a:lnTo>
                  <a:lnTo>
                    <a:pt x="864" y="798"/>
                  </a:lnTo>
                  <a:lnTo>
                    <a:pt x="858" y="798"/>
                  </a:lnTo>
                  <a:lnTo>
                    <a:pt x="858" y="804"/>
                  </a:lnTo>
                  <a:lnTo>
                    <a:pt x="852" y="804"/>
                  </a:lnTo>
                  <a:lnTo>
                    <a:pt x="846" y="804"/>
                  </a:lnTo>
                  <a:lnTo>
                    <a:pt x="846" y="798"/>
                  </a:lnTo>
                  <a:lnTo>
                    <a:pt x="840" y="804"/>
                  </a:lnTo>
                  <a:lnTo>
                    <a:pt x="834" y="804"/>
                  </a:lnTo>
                  <a:lnTo>
                    <a:pt x="828" y="804"/>
                  </a:lnTo>
                  <a:lnTo>
                    <a:pt x="828" y="810"/>
                  </a:lnTo>
                  <a:lnTo>
                    <a:pt x="822" y="810"/>
                  </a:lnTo>
                  <a:lnTo>
                    <a:pt x="810" y="804"/>
                  </a:lnTo>
                  <a:lnTo>
                    <a:pt x="810" y="798"/>
                  </a:lnTo>
                  <a:lnTo>
                    <a:pt x="780" y="798"/>
                  </a:lnTo>
                  <a:lnTo>
                    <a:pt x="756" y="774"/>
                  </a:lnTo>
                  <a:lnTo>
                    <a:pt x="750" y="768"/>
                  </a:lnTo>
                  <a:lnTo>
                    <a:pt x="750" y="744"/>
                  </a:lnTo>
                  <a:lnTo>
                    <a:pt x="732" y="738"/>
                  </a:lnTo>
                  <a:lnTo>
                    <a:pt x="732" y="720"/>
                  </a:lnTo>
                  <a:lnTo>
                    <a:pt x="714" y="690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6" y="666"/>
                  </a:lnTo>
                  <a:lnTo>
                    <a:pt x="690" y="666"/>
                  </a:lnTo>
                  <a:lnTo>
                    <a:pt x="678" y="672"/>
                  </a:lnTo>
                  <a:lnTo>
                    <a:pt x="678" y="654"/>
                  </a:lnTo>
                  <a:lnTo>
                    <a:pt x="684" y="630"/>
                  </a:lnTo>
                  <a:lnTo>
                    <a:pt x="690" y="618"/>
                  </a:lnTo>
                  <a:lnTo>
                    <a:pt x="696" y="612"/>
                  </a:lnTo>
                  <a:lnTo>
                    <a:pt x="696" y="588"/>
                  </a:lnTo>
                  <a:lnTo>
                    <a:pt x="690" y="576"/>
                  </a:lnTo>
                  <a:lnTo>
                    <a:pt x="696" y="552"/>
                  </a:lnTo>
                  <a:lnTo>
                    <a:pt x="684" y="522"/>
                  </a:lnTo>
                  <a:lnTo>
                    <a:pt x="672" y="504"/>
                  </a:lnTo>
                  <a:lnTo>
                    <a:pt x="654" y="504"/>
                  </a:lnTo>
                  <a:lnTo>
                    <a:pt x="642" y="504"/>
                  </a:lnTo>
                  <a:lnTo>
                    <a:pt x="624" y="510"/>
                  </a:lnTo>
                  <a:lnTo>
                    <a:pt x="612" y="516"/>
                  </a:lnTo>
                  <a:lnTo>
                    <a:pt x="594" y="516"/>
                  </a:lnTo>
                  <a:lnTo>
                    <a:pt x="588" y="516"/>
                  </a:lnTo>
                  <a:lnTo>
                    <a:pt x="588" y="522"/>
                  </a:lnTo>
                  <a:lnTo>
                    <a:pt x="582" y="516"/>
                  </a:lnTo>
                  <a:lnTo>
                    <a:pt x="588" y="510"/>
                  </a:lnTo>
                  <a:lnTo>
                    <a:pt x="582" y="510"/>
                  </a:lnTo>
                  <a:lnTo>
                    <a:pt x="582" y="504"/>
                  </a:lnTo>
                  <a:lnTo>
                    <a:pt x="576" y="498"/>
                  </a:lnTo>
                  <a:lnTo>
                    <a:pt x="570" y="498"/>
                  </a:lnTo>
                  <a:lnTo>
                    <a:pt x="570" y="492"/>
                  </a:lnTo>
                  <a:lnTo>
                    <a:pt x="564" y="492"/>
                  </a:lnTo>
                  <a:lnTo>
                    <a:pt x="570" y="486"/>
                  </a:lnTo>
                  <a:lnTo>
                    <a:pt x="564" y="486"/>
                  </a:lnTo>
                  <a:lnTo>
                    <a:pt x="564" y="480"/>
                  </a:lnTo>
                  <a:lnTo>
                    <a:pt x="564" y="474"/>
                  </a:lnTo>
                  <a:lnTo>
                    <a:pt x="558" y="468"/>
                  </a:lnTo>
                  <a:lnTo>
                    <a:pt x="564" y="468"/>
                  </a:lnTo>
                  <a:lnTo>
                    <a:pt x="564" y="462"/>
                  </a:lnTo>
                  <a:lnTo>
                    <a:pt x="570" y="462"/>
                  </a:lnTo>
                  <a:lnTo>
                    <a:pt x="570" y="456"/>
                  </a:lnTo>
                  <a:lnTo>
                    <a:pt x="570" y="450"/>
                  </a:lnTo>
                  <a:lnTo>
                    <a:pt x="576" y="450"/>
                  </a:lnTo>
                  <a:lnTo>
                    <a:pt x="576" y="444"/>
                  </a:lnTo>
                  <a:lnTo>
                    <a:pt x="582" y="438"/>
                  </a:lnTo>
                  <a:lnTo>
                    <a:pt x="588" y="438"/>
                  </a:lnTo>
                  <a:lnTo>
                    <a:pt x="588" y="444"/>
                  </a:lnTo>
                  <a:lnTo>
                    <a:pt x="594" y="438"/>
                  </a:lnTo>
                  <a:lnTo>
                    <a:pt x="594" y="432"/>
                  </a:lnTo>
                  <a:lnTo>
                    <a:pt x="600" y="432"/>
                  </a:lnTo>
                  <a:lnTo>
                    <a:pt x="600" y="426"/>
                  </a:lnTo>
                  <a:lnTo>
                    <a:pt x="600" y="420"/>
                  </a:lnTo>
                  <a:lnTo>
                    <a:pt x="606" y="420"/>
                  </a:lnTo>
                  <a:lnTo>
                    <a:pt x="600" y="420"/>
                  </a:lnTo>
                  <a:lnTo>
                    <a:pt x="600" y="414"/>
                  </a:lnTo>
                  <a:lnTo>
                    <a:pt x="606" y="408"/>
                  </a:lnTo>
                  <a:lnTo>
                    <a:pt x="612" y="408"/>
                  </a:lnTo>
                  <a:lnTo>
                    <a:pt x="612" y="414"/>
                  </a:lnTo>
                  <a:lnTo>
                    <a:pt x="618" y="414"/>
                  </a:lnTo>
                  <a:lnTo>
                    <a:pt x="624" y="414"/>
                  </a:lnTo>
                  <a:lnTo>
                    <a:pt x="630" y="414"/>
                  </a:lnTo>
                  <a:lnTo>
                    <a:pt x="636" y="414"/>
                  </a:lnTo>
                  <a:lnTo>
                    <a:pt x="642" y="408"/>
                  </a:lnTo>
                  <a:lnTo>
                    <a:pt x="648" y="408"/>
                  </a:lnTo>
                  <a:lnTo>
                    <a:pt x="660" y="408"/>
                  </a:lnTo>
                  <a:lnTo>
                    <a:pt x="666" y="402"/>
                  </a:lnTo>
                  <a:lnTo>
                    <a:pt x="672" y="402"/>
                  </a:lnTo>
                  <a:lnTo>
                    <a:pt x="684" y="396"/>
                  </a:lnTo>
                  <a:lnTo>
                    <a:pt x="690" y="396"/>
                  </a:lnTo>
                  <a:lnTo>
                    <a:pt x="696" y="396"/>
                  </a:lnTo>
                  <a:lnTo>
                    <a:pt x="702" y="396"/>
                  </a:lnTo>
                  <a:lnTo>
                    <a:pt x="708" y="396"/>
                  </a:lnTo>
                  <a:lnTo>
                    <a:pt x="714" y="390"/>
                  </a:lnTo>
                  <a:lnTo>
                    <a:pt x="714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32" y="384"/>
                  </a:lnTo>
                  <a:lnTo>
                    <a:pt x="738" y="378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56" y="372"/>
                  </a:lnTo>
                  <a:lnTo>
                    <a:pt x="762" y="366"/>
                  </a:lnTo>
                  <a:lnTo>
                    <a:pt x="768" y="366"/>
                  </a:lnTo>
                  <a:lnTo>
                    <a:pt x="774" y="366"/>
                  </a:lnTo>
                  <a:lnTo>
                    <a:pt x="774" y="360"/>
                  </a:lnTo>
                  <a:lnTo>
                    <a:pt x="780" y="366"/>
                  </a:lnTo>
                  <a:lnTo>
                    <a:pt x="786" y="366"/>
                  </a:lnTo>
                  <a:lnTo>
                    <a:pt x="786" y="360"/>
                  </a:lnTo>
                  <a:lnTo>
                    <a:pt x="792" y="354"/>
                  </a:lnTo>
                  <a:lnTo>
                    <a:pt x="786" y="354"/>
                  </a:lnTo>
                  <a:lnTo>
                    <a:pt x="792" y="348"/>
                  </a:lnTo>
                  <a:lnTo>
                    <a:pt x="798" y="348"/>
                  </a:lnTo>
                  <a:lnTo>
                    <a:pt x="804" y="348"/>
                  </a:lnTo>
                  <a:lnTo>
                    <a:pt x="810" y="342"/>
                  </a:lnTo>
                  <a:lnTo>
                    <a:pt x="816" y="342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28" y="336"/>
                  </a:lnTo>
                  <a:lnTo>
                    <a:pt x="834" y="336"/>
                  </a:lnTo>
                  <a:lnTo>
                    <a:pt x="840" y="336"/>
                  </a:lnTo>
                  <a:lnTo>
                    <a:pt x="846" y="330"/>
                  </a:lnTo>
                  <a:lnTo>
                    <a:pt x="852" y="330"/>
                  </a:lnTo>
                  <a:lnTo>
                    <a:pt x="858" y="330"/>
                  </a:lnTo>
                  <a:lnTo>
                    <a:pt x="864" y="324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0" y="312"/>
                  </a:lnTo>
                  <a:lnTo>
                    <a:pt x="876" y="312"/>
                  </a:lnTo>
                  <a:lnTo>
                    <a:pt x="882" y="312"/>
                  </a:lnTo>
                  <a:lnTo>
                    <a:pt x="882" y="318"/>
                  </a:lnTo>
                  <a:lnTo>
                    <a:pt x="888" y="312"/>
                  </a:lnTo>
                  <a:lnTo>
                    <a:pt x="894" y="306"/>
                  </a:lnTo>
                  <a:lnTo>
                    <a:pt x="900" y="306"/>
                  </a:lnTo>
                  <a:lnTo>
                    <a:pt x="906" y="306"/>
                  </a:lnTo>
                  <a:lnTo>
                    <a:pt x="912" y="300"/>
                  </a:lnTo>
                  <a:lnTo>
                    <a:pt x="906" y="294"/>
                  </a:lnTo>
                  <a:lnTo>
                    <a:pt x="912" y="276"/>
                  </a:lnTo>
                  <a:lnTo>
                    <a:pt x="912" y="252"/>
                  </a:lnTo>
                  <a:lnTo>
                    <a:pt x="906" y="234"/>
                  </a:lnTo>
                  <a:lnTo>
                    <a:pt x="912" y="228"/>
                  </a:lnTo>
                  <a:lnTo>
                    <a:pt x="912" y="216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24" y="192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36" y="186"/>
                  </a:lnTo>
                  <a:lnTo>
                    <a:pt x="930" y="180"/>
                  </a:lnTo>
                  <a:lnTo>
                    <a:pt x="930" y="174"/>
                  </a:lnTo>
                  <a:lnTo>
                    <a:pt x="936" y="156"/>
                  </a:lnTo>
                  <a:lnTo>
                    <a:pt x="930" y="156"/>
                  </a:lnTo>
                  <a:lnTo>
                    <a:pt x="924" y="150"/>
                  </a:lnTo>
                  <a:lnTo>
                    <a:pt x="942" y="78"/>
                  </a:lnTo>
                  <a:lnTo>
                    <a:pt x="948" y="78"/>
                  </a:lnTo>
                  <a:lnTo>
                    <a:pt x="954" y="66"/>
                  </a:lnTo>
                  <a:lnTo>
                    <a:pt x="954" y="72"/>
                  </a:lnTo>
                  <a:lnTo>
                    <a:pt x="954" y="66"/>
                  </a:lnTo>
                  <a:lnTo>
                    <a:pt x="960" y="66"/>
                  </a:lnTo>
                  <a:lnTo>
                    <a:pt x="966" y="66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54"/>
                  </a:lnTo>
                  <a:lnTo>
                    <a:pt x="990" y="54"/>
                  </a:lnTo>
                  <a:lnTo>
                    <a:pt x="996" y="48"/>
                  </a:lnTo>
                  <a:lnTo>
                    <a:pt x="1002" y="48"/>
                  </a:lnTo>
                  <a:lnTo>
                    <a:pt x="1032" y="48"/>
                  </a:lnTo>
                  <a:lnTo>
                    <a:pt x="1062" y="48"/>
                  </a:lnTo>
                  <a:lnTo>
                    <a:pt x="1068" y="78"/>
                  </a:lnTo>
                  <a:lnTo>
                    <a:pt x="1086" y="78"/>
                  </a:lnTo>
                  <a:lnTo>
                    <a:pt x="1092" y="66"/>
                  </a:lnTo>
                  <a:lnTo>
                    <a:pt x="1092" y="60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8" y="48"/>
                  </a:lnTo>
                  <a:lnTo>
                    <a:pt x="1104" y="48"/>
                  </a:lnTo>
                  <a:lnTo>
                    <a:pt x="1110" y="48"/>
                  </a:lnTo>
                  <a:lnTo>
                    <a:pt x="1110" y="42"/>
                  </a:lnTo>
                  <a:lnTo>
                    <a:pt x="1110" y="36"/>
                  </a:lnTo>
                  <a:lnTo>
                    <a:pt x="1116" y="36"/>
                  </a:lnTo>
                  <a:lnTo>
                    <a:pt x="1116" y="30"/>
                  </a:lnTo>
                  <a:lnTo>
                    <a:pt x="1122" y="30"/>
                  </a:lnTo>
                  <a:lnTo>
                    <a:pt x="1128" y="30"/>
                  </a:lnTo>
                  <a:lnTo>
                    <a:pt x="1134" y="30"/>
                  </a:lnTo>
                  <a:lnTo>
                    <a:pt x="1140" y="24"/>
                  </a:lnTo>
                  <a:lnTo>
                    <a:pt x="1152" y="18"/>
                  </a:lnTo>
                  <a:lnTo>
                    <a:pt x="1158" y="18"/>
                  </a:lnTo>
                  <a:lnTo>
                    <a:pt x="1152" y="12"/>
                  </a:lnTo>
                  <a:lnTo>
                    <a:pt x="1152" y="6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8"/>
                  </a:lnTo>
                  <a:lnTo>
                    <a:pt x="1170" y="12"/>
                  </a:lnTo>
                  <a:lnTo>
                    <a:pt x="1170" y="6"/>
                  </a:lnTo>
                  <a:lnTo>
                    <a:pt x="1176" y="6"/>
                  </a:lnTo>
                  <a:lnTo>
                    <a:pt x="1176" y="0"/>
                  </a:lnTo>
                  <a:lnTo>
                    <a:pt x="1182" y="6"/>
                  </a:lnTo>
                  <a:lnTo>
                    <a:pt x="1188" y="6"/>
                  </a:lnTo>
                  <a:lnTo>
                    <a:pt x="1188" y="0"/>
                  </a:lnTo>
                  <a:lnTo>
                    <a:pt x="1194" y="6"/>
                  </a:lnTo>
                  <a:lnTo>
                    <a:pt x="1200" y="12"/>
                  </a:lnTo>
                  <a:lnTo>
                    <a:pt x="1206" y="18"/>
                  </a:lnTo>
                  <a:lnTo>
                    <a:pt x="1212" y="18"/>
                  </a:lnTo>
                  <a:lnTo>
                    <a:pt x="1218" y="24"/>
                  </a:lnTo>
                  <a:lnTo>
                    <a:pt x="1236" y="36"/>
                  </a:lnTo>
                  <a:lnTo>
                    <a:pt x="1242" y="36"/>
                  </a:lnTo>
                  <a:lnTo>
                    <a:pt x="1248" y="42"/>
                  </a:lnTo>
                  <a:lnTo>
                    <a:pt x="1248" y="48"/>
                  </a:lnTo>
                  <a:lnTo>
                    <a:pt x="1260" y="48"/>
                  </a:lnTo>
                  <a:lnTo>
                    <a:pt x="1260" y="108"/>
                  </a:lnTo>
                  <a:lnTo>
                    <a:pt x="1266" y="168"/>
                  </a:lnTo>
                  <a:lnTo>
                    <a:pt x="1278" y="234"/>
                  </a:lnTo>
                  <a:lnTo>
                    <a:pt x="1284" y="240"/>
                  </a:lnTo>
                  <a:lnTo>
                    <a:pt x="1290" y="264"/>
                  </a:lnTo>
                  <a:lnTo>
                    <a:pt x="1296" y="288"/>
                  </a:lnTo>
                  <a:lnTo>
                    <a:pt x="1296" y="300"/>
                  </a:lnTo>
                  <a:lnTo>
                    <a:pt x="1296" y="312"/>
                  </a:lnTo>
                  <a:lnTo>
                    <a:pt x="1296" y="324"/>
                  </a:lnTo>
                  <a:lnTo>
                    <a:pt x="1296" y="354"/>
                  </a:lnTo>
                  <a:lnTo>
                    <a:pt x="1302" y="366"/>
                  </a:lnTo>
                  <a:lnTo>
                    <a:pt x="1308" y="372"/>
                  </a:lnTo>
                  <a:lnTo>
                    <a:pt x="1308" y="384"/>
                  </a:lnTo>
                  <a:lnTo>
                    <a:pt x="1314" y="390"/>
                  </a:lnTo>
                  <a:lnTo>
                    <a:pt x="1308" y="408"/>
                  </a:lnTo>
                  <a:lnTo>
                    <a:pt x="1314" y="408"/>
                  </a:lnTo>
                  <a:lnTo>
                    <a:pt x="1314" y="414"/>
                  </a:lnTo>
                  <a:lnTo>
                    <a:pt x="1308" y="420"/>
                  </a:lnTo>
                  <a:lnTo>
                    <a:pt x="1308" y="432"/>
                  </a:lnTo>
                  <a:lnTo>
                    <a:pt x="1320" y="432"/>
                  </a:lnTo>
                  <a:lnTo>
                    <a:pt x="1320" y="444"/>
                  </a:lnTo>
                  <a:lnTo>
                    <a:pt x="1332" y="444"/>
                  </a:lnTo>
                  <a:lnTo>
                    <a:pt x="1338" y="450"/>
                  </a:lnTo>
                  <a:lnTo>
                    <a:pt x="1344" y="456"/>
                  </a:lnTo>
                  <a:lnTo>
                    <a:pt x="1344" y="462"/>
                  </a:lnTo>
                  <a:lnTo>
                    <a:pt x="1344" y="474"/>
                  </a:lnTo>
                  <a:lnTo>
                    <a:pt x="1350" y="474"/>
                  </a:lnTo>
                  <a:lnTo>
                    <a:pt x="1368" y="504"/>
                  </a:lnTo>
                  <a:lnTo>
                    <a:pt x="1374" y="534"/>
                  </a:lnTo>
                  <a:lnTo>
                    <a:pt x="1380" y="558"/>
                  </a:lnTo>
                  <a:lnTo>
                    <a:pt x="1386" y="576"/>
                  </a:lnTo>
                  <a:lnTo>
                    <a:pt x="1386" y="600"/>
                  </a:lnTo>
                  <a:lnTo>
                    <a:pt x="1386" y="624"/>
                  </a:lnTo>
                  <a:lnTo>
                    <a:pt x="1386" y="648"/>
                  </a:lnTo>
                  <a:lnTo>
                    <a:pt x="1386" y="684"/>
                  </a:lnTo>
                  <a:lnTo>
                    <a:pt x="1380" y="684"/>
                  </a:lnTo>
                  <a:lnTo>
                    <a:pt x="1374" y="696"/>
                  </a:lnTo>
                  <a:lnTo>
                    <a:pt x="1368" y="702"/>
                  </a:lnTo>
                  <a:lnTo>
                    <a:pt x="1362" y="708"/>
                  </a:lnTo>
                  <a:lnTo>
                    <a:pt x="1356" y="714"/>
                  </a:lnTo>
                  <a:lnTo>
                    <a:pt x="1350" y="720"/>
                  </a:lnTo>
                  <a:lnTo>
                    <a:pt x="1338" y="720"/>
                  </a:lnTo>
                  <a:lnTo>
                    <a:pt x="1338" y="738"/>
                  </a:lnTo>
                  <a:lnTo>
                    <a:pt x="1362" y="750"/>
                  </a:lnTo>
                  <a:lnTo>
                    <a:pt x="1362" y="756"/>
                  </a:lnTo>
                  <a:lnTo>
                    <a:pt x="1374" y="756"/>
                  </a:lnTo>
                  <a:lnTo>
                    <a:pt x="1410" y="774"/>
                  </a:lnTo>
                  <a:lnTo>
                    <a:pt x="1446" y="774"/>
                  </a:lnTo>
                  <a:lnTo>
                    <a:pt x="1482" y="768"/>
                  </a:lnTo>
                  <a:lnTo>
                    <a:pt x="1500" y="774"/>
                  </a:lnTo>
                  <a:lnTo>
                    <a:pt x="1512" y="78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6" name="Freeform 11">
              <a:extLst>
                <a:ext uri="{FF2B5EF4-FFF2-40B4-BE49-F238E27FC236}">
                  <a16:creationId xmlns:a16="http://schemas.microsoft.com/office/drawing/2014/main" id="{1FF8E66F-B850-456A-B132-C45FEEDE95C6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2475" y="2345643"/>
              <a:ext cx="445003" cy="603855"/>
            </a:xfrm>
            <a:custGeom>
              <a:avLst/>
              <a:gdLst>
                <a:gd name="T0" fmla="*/ 47 w 840"/>
                <a:gd name="T1" fmla="*/ 98 h 1134"/>
                <a:gd name="T2" fmla="*/ 41 w 840"/>
                <a:gd name="T3" fmla="*/ 98 h 1134"/>
                <a:gd name="T4" fmla="*/ 37 w 840"/>
                <a:gd name="T5" fmla="*/ 98 h 1134"/>
                <a:gd name="T6" fmla="*/ 29 w 840"/>
                <a:gd name="T7" fmla="*/ 97 h 1134"/>
                <a:gd name="T8" fmla="*/ 27 w 840"/>
                <a:gd name="T9" fmla="*/ 94 h 1134"/>
                <a:gd name="T10" fmla="*/ 26 w 840"/>
                <a:gd name="T11" fmla="*/ 93 h 1134"/>
                <a:gd name="T12" fmla="*/ 26 w 840"/>
                <a:gd name="T13" fmla="*/ 83 h 1134"/>
                <a:gd name="T14" fmla="*/ 26 w 840"/>
                <a:gd name="T15" fmla="*/ 81 h 1134"/>
                <a:gd name="T16" fmla="*/ 23 w 840"/>
                <a:gd name="T17" fmla="*/ 77 h 1134"/>
                <a:gd name="T18" fmla="*/ 19 w 840"/>
                <a:gd name="T19" fmla="*/ 75 h 1134"/>
                <a:gd name="T20" fmla="*/ 16 w 840"/>
                <a:gd name="T21" fmla="*/ 72 h 1134"/>
                <a:gd name="T22" fmla="*/ 13 w 840"/>
                <a:gd name="T23" fmla="*/ 70 h 1134"/>
                <a:gd name="T24" fmla="*/ 17 w 840"/>
                <a:gd name="T25" fmla="*/ 67 h 1134"/>
                <a:gd name="T26" fmla="*/ 19 w 840"/>
                <a:gd name="T27" fmla="*/ 63 h 1134"/>
                <a:gd name="T28" fmla="*/ 20 w 840"/>
                <a:gd name="T29" fmla="*/ 59 h 1134"/>
                <a:gd name="T30" fmla="*/ 19 w 840"/>
                <a:gd name="T31" fmla="*/ 55 h 1134"/>
                <a:gd name="T32" fmla="*/ 17 w 840"/>
                <a:gd name="T33" fmla="*/ 47 h 1134"/>
                <a:gd name="T34" fmla="*/ 8 w 840"/>
                <a:gd name="T35" fmla="*/ 45 h 1134"/>
                <a:gd name="T36" fmla="*/ 4 w 840"/>
                <a:gd name="T37" fmla="*/ 39 h 1134"/>
                <a:gd name="T38" fmla="*/ 2 w 840"/>
                <a:gd name="T39" fmla="*/ 35 h 1134"/>
                <a:gd name="T40" fmla="*/ 0 w 840"/>
                <a:gd name="T41" fmla="*/ 31 h 1134"/>
                <a:gd name="T42" fmla="*/ 2 w 840"/>
                <a:gd name="T43" fmla="*/ 27 h 1134"/>
                <a:gd name="T44" fmla="*/ 5 w 840"/>
                <a:gd name="T45" fmla="*/ 24 h 1134"/>
                <a:gd name="T46" fmla="*/ 10 w 840"/>
                <a:gd name="T47" fmla="*/ 26 h 1134"/>
                <a:gd name="T48" fmla="*/ 7 w 840"/>
                <a:gd name="T49" fmla="*/ 20 h 1134"/>
                <a:gd name="T50" fmla="*/ 12 w 840"/>
                <a:gd name="T51" fmla="*/ 12 h 1134"/>
                <a:gd name="T52" fmla="*/ 19 w 840"/>
                <a:gd name="T53" fmla="*/ 10 h 1134"/>
                <a:gd name="T54" fmla="*/ 20 w 840"/>
                <a:gd name="T55" fmla="*/ 13 h 1134"/>
                <a:gd name="T56" fmla="*/ 22 w 840"/>
                <a:gd name="T57" fmla="*/ 11 h 1134"/>
                <a:gd name="T58" fmla="*/ 25 w 840"/>
                <a:gd name="T59" fmla="*/ 7 h 1134"/>
                <a:gd name="T60" fmla="*/ 29 w 840"/>
                <a:gd name="T61" fmla="*/ 2 h 1134"/>
                <a:gd name="T62" fmla="*/ 33 w 840"/>
                <a:gd name="T63" fmla="*/ 1 h 1134"/>
                <a:gd name="T64" fmla="*/ 37 w 840"/>
                <a:gd name="T65" fmla="*/ 2 h 1134"/>
                <a:gd name="T66" fmla="*/ 39 w 840"/>
                <a:gd name="T67" fmla="*/ 4 h 1134"/>
                <a:gd name="T68" fmla="*/ 43 w 840"/>
                <a:gd name="T69" fmla="*/ 5 h 1134"/>
                <a:gd name="T70" fmla="*/ 46 w 840"/>
                <a:gd name="T71" fmla="*/ 11 h 1134"/>
                <a:gd name="T72" fmla="*/ 49 w 840"/>
                <a:gd name="T73" fmla="*/ 12 h 1134"/>
                <a:gd name="T74" fmla="*/ 52 w 840"/>
                <a:gd name="T75" fmla="*/ 15 h 1134"/>
                <a:gd name="T76" fmla="*/ 54 w 840"/>
                <a:gd name="T77" fmla="*/ 18 h 1134"/>
                <a:gd name="T78" fmla="*/ 55 w 840"/>
                <a:gd name="T79" fmla="*/ 22 h 1134"/>
                <a:gd name="T80" fmla="*/ 56 w 840"/>
                <a:gd name="T81" fmla="*/ 26 h 1134"/>
                <a:gd name="T82" fmla="*/ 55 w 840"/>
                <a:gd name="T83" fmla="*/ 32 h 1134"/>
                <a:gd name="T84" fmla="*/ 55 w 840"/>
                <a:gd name="T85" fmla="*/ 36 h 1134"/>
                <a:gd name="T86" fmla="*/ 54 w 840"/>
                <a:gd name="T87" fmla="*/ 39 h 1134"/>
                <a:gd name="T88" fmla="*/ 56 w 840"/>
                <a:gd name="T89" fmla="*/ 39 h 1134"/>
                <a:gd name="T90" fmla="*/ 58 w 840"/>
                <a:gd name="T91" fmla="*/ 39 h 1134"/>
                <a:gd name="T92" fmla="*/ 61 w 840"/>
                <a:gd name="T93" fmla="*/ 39 h 1134"/>
                <a:gd name="T94" fmla="*/ 60 w 840"/>
                <a:gd name="T95" fmla="*/ 49 h 1134"/>
                <a:gd name="T96" fmla="*/ 59 w 840"/>
                <a:gd name="T97" fmla="*/ 53 h 1134"/>
                <a:gd name="T98" fmla="*/ 59 w 840"/>
                <a:gd name="T99" fmla="*/ 56 h 1134"/>
                <a:gd name="T100" fmla="*/ 60 w 840"/>
                <a:gd name="T101" fmla="*/ 59 h 1134"/>
                <a:gd name="T102" fmla="*/ 64 w 840"/>
                <a:gd name="T103" fmla="*/ 61 h 1134"/>
                <a:gd name="T104" fmla="*/ 69 w 840"/>
                <a:gd name="T105" fmla="*/ 63 h 1134"/>
                <a:gd name="T106" fmla="*/ 72 w 840"/>
                <a:gd name="T107" fmla="*/ 69 h 1134"/>
                <a:gd name="T108" fmla="*/ 72 w 840"/>
                <a:gd name="T109" fmla="*/ 73 h 1134"/>
                <a:gd name="T110" fmla="*/ 72 w 840"/>
                <a:gd name="T111" fmla="*/ 83 h 1134"/>
                <a:gd name="T112" fmla="*/ 63 w 840"/>
                <a:gd name="T113" fmla="*/ 88 h 1134"/>
                <a:gd name="T114" fmla="*/ 52 w 840"/>
                <a:gd name="T115" fmla="*/ 95 h 11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40"/>
                <a:gd name="T175" fmla="*/ 0 h 1134"/>
                <a:gd name="T176" fmla="*/ 840 w 840"/>
                <a:gd name="T177" fmla="*/ 1134 h 11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40" h="1134">
                  <a:moveTo>
                    <a:pt x="564" y="1110"/>
                  </a:moveTo>
                  <a:lnTo>
                    <a:pt x="564" y="1104"/>
                  </a:lnTo>
                  <a:lnTo>
                    <a:pt x="558" y="1104"/>
                  </a:lnTo>
                  <a:lnTo>
                    <a:pt x="552" y="1110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28" y="1128"/>
                  </a:lnTo>
                  <a:lnTo>
                    <a:pt x="498" y="1128"/>
                  </a:lnTo>
                  <a:lnTo>
                    <a:pt x="492" y="1128"/>
                  </a:lnTo>
                  <a:lnTo>
                    <a:pt x="486" y="1128"/>
                  </a:lnTo>
                  <a:lnTo>
                    <a:pt x="480" y="1128"/>
                  </a:lnTo>
                  <a:lnTo>
                    <a:pt x="474" y="1134"/>
                  </a:lnTo>
                  <a:lnTo>
                    <a:pt x="468" y="1134"/>
                  </a:lnTo>
                  <a:lnTo>
                    <a:pt x="462" y="1134"/>
                  </a:lnTo>
                  <a:lnTo>
                    <a:pt x="456" y="1134"/>
                  </a:lnTo>
                  <a:lnTo>
                    <a:pt x="456" y="1128"/>
                  </a:lnTo>
                  <a:lnTo>
                    <a:pt x="450" y="1122"/>
                  </a:lnTo>
                  <a:lnTo>
                    <a:pt x="426" y="1128"/>
                  </a:lnTo>
                  <a:lnTo>
                    <a:pt x="414" y="1128"/>
                  </a:lnTo>
                  <a:lnTo>
                    <a:pt x="348" y="1134"/>
                  </a:lnTo>
                  <a:lnTo>
                    <a:pt x="348" y="1128"/>
                  </a:lnTo>
                  <a:lnTo>
                    <a:pt x="342" y="1128"/>
                  </a:lnTo>
                  <a:lnTo>
                    <a:pt x="336" y="1122"/>
                  </a:lnTo>
                  <a:lnTo>
                    <a:pt x="330" y="1122"/>
                  </a:lnTo>
                  <a:lnTo>
                    <a:pt x="324" y="1116"/>
                  </a:lnTo>
                  <a:lnTo>
                    <a:pt x="324" y="1110"/>
                  </a:lnTo>
                  <a:lnTo>
                    <a:pt x="318" y="1110"/>
                  </a:lnTo>
                  <a:lnTo>
                    <a:pt x="318" y="1104"/>
                  </a:lnTo>
                  <a:lnTo>
                    <a:pt x="312" y="1092"/>
                  </a:lnTo>
                  <a:lnTo>
                    <a:pt x="306" y="1086"/>
                  </a:lnTo>
                  <a:lnTo>
                    <a:pt x="306" y="1080"/>
                  </a:lnTo>
                  <a:lnTo>
                    <a:pt x="312" y="1074"/>
                  </a:lnTo>
                  <a:lnTo>
                    <a:pt x="306" y="1068"/>
                  </a:lnTo>
                  <a:lnTo>
                    <a:pt x="300" y="1074"/>
                  </a:lnTo>
                  <a:lnTo>
                    <a:pt x="300" y="1068"/>
                  </a:lnTo>
                  <a:lnTo>
                    <a:pt x="294" y="1068"/>
                  </a:lnTo>
                  <a:lnTo>
                    <a:pt x="294" y="1056"/>
                  </a:lnTo>
                  <a:lnTo>
                    <a:pt x="294" y="1026"/>
                  </a:lnTo>
                  <a:lnTo>
                    <a:pt x="294" y="1020"/>
                  </a:lnTo>
                  <a:lnTo>
                    <a:pt x="294" y="1008"/>
                  </a:lnTo>
                  <a:lnTo>
                    <a:pt x="294" y="966"/>
                  </a:lnTo>
                  <a:lnTo>
                    <a:pt x="294" y="960"/>
                  </a:lnTo>
                  <a:lnTo>
                    <a:pt x="294" y="954"/>
                  </a:lnTo>
                  <a:lnTo>
                    <a:pt x="294" y="948"/>
                  </a:lnTo>
                  <a:lnTo>
                    <a:pt x="294" y="942"/>
                  </a:lnTo>
                  <a:lnTo>
                    <a:pt x="300" y="936"/>
                  </a:lnTo>
                  <a:lnTo>
                    <a:pt x="300" y="930"/>
                  </a:lnTo>
                  <a:lnTo>
                    <a:pt x="294" y="930"/>
                  </a:lnTo>
                  <a:lnTo>
                    <a:pt x="288" y="930"/>
                  </a:lnTo>
                  <a:lnTo>
                    <a:pt x="288" y="924"/>
                  </a:lnTo>
                  <a:lnTo>
                    <a:pt x="282" y="918"/>
                  </a:lnTo>
                  <a:lnTo>
                    <a:pt x="282" y="906"/>
                  </a:lnTo>
                  <a:lnTo>
                    <a:pt x="282" y="900"/>
                  </a:lnTo>
                  <a:lnTo>
                    <a:pt x="264" y="894"/>
                  </a:lnTo>
                  <a:lnTo>
                    <a:pt x="252" y="882"/>
                  </a:lnTo>
                  <a:lnTo>
                    <a:pt x="246" y="876"/>
                  </a:lnTo>
                  <a:lnTo>
                    <a:pt x="240" y="876"/>
                  </a:lnTo>
                  <a:lnTo>
                    <a:pt x="240" y="870"/>
                  </a:lnTo>
                  <a:lnTo>
                    <a:pt x="234" y="870"/>
                  </a:lnTo>
                  <a:lnTo>
                    <a:pt x="222" y="864"/>
                  </a:lnTo>
                  <a:lnTo>
                    <a:pt x="216" y="864"/>
                  </a:lnTo>
                  <a:lnTo>
                    <a:pt x="210" y="858"/>
                  </a:lnTo>
                  <a:lnTo>
                    <a:pt x="210" y="852"/>
                  </a:lnTo>
                  <a:lnTo>
                    <a:pt x="210" y="846"/>
                  </a:lnTo>
                  <a:lnTo>
                    <a:pt x="198" y="840"/>
                  </a:lnTo>
                  <a:lnTo>
                    <a:pt x="186" y="834"/>
                  </a:lnTo>
                  <a:lnTo>
                    <a:pt x="180" y="828"/>
                  </a:lnTo>
                  <a:lnTo>
                    <a:pt x="180" y="822"/>
                  </a:lnTo>
                  <a:lnTo>
                    <a:pt x="174" y="822"/>
                  </a:lnTo>
                  <a:lnTo>
                    <a:pt x="162" y="816"/>
                  </a:lnTo>
                  <a:lnTo>
                    <a:pt x="156" y="810"/>
                  </a:lnTo>
                  <a:lnTo>
                    <a:pt x="150" y="810"/>
                  </a:lnTo>
                  <a:lnTo>
                    <a:pt x="144" y="798"/>
                  </a:lnTo>
                  <a:lnTo>
                    <a:pt x="138" y="786"/>
                  </a:lnTo>
                  <a:lnTo>
                    <a:pt x="138" y="780"/>
                  </a:lnTo>
                  <a:lnTo>
                    <a:pt x="144" y="774"/>
                  </a:lnTo>
                  <a:lnTo>
                    <a:pt x="150" y="768"/>
                  </a:lnTo>
                  <a:lnTo>
                    <a:pt x="192" y="768"/>
                  </a:lnTo>
                  <a:lnTo>
                    <a:pt x="210" y="762"/>
                  </a:lnTo>
                  <a:lnTo>
                    <a:pt x="216" y="756"/>
                  </a:lnTo>
                  <a:lnTo>
                    <a:pt x="216" y="744"/>
                  </a:lnTo>
                  <a:lnTo>
                    <a:pt x="216" y="738"/>
                  </a:lnTo>
                  <a:lnTo>
                    <a:pt x="216" y="732"/>
                  </a:lnTo>
                  <a:lnTo>
                    <a:pt x="216" y="726"/>
                  </a:lnTo>
                  <a:lnTo>
                    <a:pt x="216" y="720"/>
                  </a:lnTo>
                  <a:lnTo>
                    <a:pt x="228" y="702"/>
                  </a:lnTo>
                  <a:lnTo>
                    <a:pt x="234" y="696"/>
                  </a:lnTo>
                  <a:lnTo>
                    <a:pt x="240" y="690"/>
                  </a:lnTo>
                  <a:lnTo>
                    <a:pt x="240" y="684"/>
                  </a:lnTo>
                  <a:lnTo>
                    <a:pt x="234" y="678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0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22" y="630"/>
                  </a:lnTo>
                  <a:lnTo>
                    <a:pt x="222" y="618"/>
                  </a:lnTo>
                  <a:lnTo>
                    <a:pt x="222" y="582"/>
                  </a:lnTo>
                  <a:lnTo>
                    <a:pt x="228" y="582"/>
                  </a:lnTo>
                  <a:lnTo>
                    <a:pt x="222" y="564"/>
                  </a:lnTo>
                  <a:lnTo>
                    <a:pt x="210" y="552"/>
                  </a:lnTo>
                  <a:lnTo>
                    <a:pt x="192" y="540"/>
                  </a:lnTo>
                  <a:lnTo>
                    <a:pt x="174" y="540"/>
                  </a:lnTo>
                  <a:lnTo>
                    <a:pt x="150" y="534"/>
                  </a:lnTo>
                  <a:lnTo>
                    <a:pt x="126" y="528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90" y="516"/>
                  </a:lnTo>
                  <a:lnTo>
                    <a:pt x="78" y="504"/>
                  </a:lnTo>
                  <a:lnTo>
                    <a:pt x="72" y="498"/>
                  </a:lnTo>
                  <a:lnTo>
                    <a:pt x="66" y="486"/>
                  </a:lnTo>
                  <a:lnTo>
                    <a:pt x="54" y="468"/>
                  </a:lnTo>
                  <a:lnTo>
                    <a:pt x="54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42" y="438"/>
                  </a:lnTo>
                  <a:lnTo>
                    <a:pt x="36" y="438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24" y="384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2" y="360"/>
                  </a:lnTo>
                  <a:lnTo>
                    <a:pt x="6" y="360"/>
                  </a:lnTo>
                  <a:lnTo>
                    <a:pt x="0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0"/>
                  </a:lnTo>
                  <a:lnTo>
                    <a:pt x="18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8" y="270"/>
                  </a:lnTo>
                  <a:lnTo>
                    <a:pt x="90" y="276"/>
                  </a:lnTo>
                  <a:lnTo>
                    <a:pt x="108" y="294"/>
                  </a:lnTo>
                  <a:lnTo>
                    <a:pt x="114" y="294"/>
                  </a:lnTo>
                  <a:lnTo>
                    <a:pt x="114" y="276"/>
                  </a:lnTo>
                  <a:lnTo>
                    <a:pt x="114" y="270"/>
                  </a:lnTo>
                  <a:lnTo>
                    <a:pt x="102" y="258"/>
                  </a:lnTo>
                  <a:lnTo>
                    <a:pt x="96" y="246"/>
                  </a:lnTo>
                  <a:lnTo>
                    <a:pt x="90" y="234"/>
                  </a:lnTo>
                  <a:lnTo>
                    <a:pt x="78" y="228"/>
                  </a:lnTo>
                  <a:lnTo>
                    <a:pt x="72" y="216"/>
                  </a:lnTo>
                  <a:lnTo>
                    <a:pt x="66" y="192"/>
                  </a:lnTo>
                  <a:lnTo>
                    <a:pt x="90" y="174"/>
                  </a:lnTo>
                  <a:lnTo>
                    <a:pt x="120" y="150"/>
                  </a:lnTo>
                  <a:lnTo>
                    <a:pt x="132" y="150"/>
                  </a:lnTo>
                  <a:lnTo>
                    <a:pt x="138" y="144"/>
                  </a:lnTo>
                  <a:lnTo>
                    <a:pt x="138" y="138"/>
                  </a:lnTo>
                  <a:lnTo>
                    <a:pt x="156" y="126"/>
                  </a:lnTo>
                  <a:lnTo>
                    <a:pt x="180" y="114"/>
                  </a:lnTo>
                  <a:lnTo>
                    <a:pt x="216" y="114"/>
                  </a:lnTo>
                  <a:lnTo>
                    <a:pt x="222" y="114"/>
                  </a:lnTo>
                  <a:lnTo>
                    <a:pt x="222" y="120"/>
                  </a:lnTo>
                  <a:lnTo>
                    <a:pt x="222" y="126"/>
                  </a:lnTo>
                  <a:lnTo>
                    <a:pt x="222" y="132"/>
                  </a:lnTo>
                  <a:lnTo>
                    <a:pt x="228" y="138"/>
                  </a:lnTo>
                  <a:lnTo>
                    <a:pt x="228" y="144"/>
                  </a:lnTo>
                  <a:lnTo>
                    <a:pt x="228" y="150"/>
                  </a:lnTo>
                  <a:lnTo>
                    <a:pt x="234" y="150"/>
                  </a:lnTo>
                  <a:lnTo>
                    <a:pt x="234" y="144"/>
                  </a:lnTo>
                  <a:lnTo>
                    <a:pt x="240" y="144"/>
                  </a:lnTo>
                  <a:lnTo>
                    <a:pt x="246" y="144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58" y="126"/>
                  </a:lnTo>
                  <a:lnTo>
                    <a:pt x="258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76" y="96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6" y="72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36"/>
                  </a:lnTo>
                  <a:lnTo>
                    <a:pt x="330" y="24"/>
                  </a:lnTo>
                  <a:lnTo>
                    <a:pt x="330" y="18"/>
                  </a:lnTo>
                  <a:lnTo>
                    <a:pt x="330" y="12"/>
                  </a:lnTo>
                  <a:lnTo>
                    <a:pt x="336" y="6"/>
                  </a:lnTo>
                  <a:lnTo>
                    <a:pt x="366" y="0"/>
                  </a:lnTo>
                  <a:lnTo>
                    <a:pt x="372" y="6"/>
                  </a:lnTo>
                  <a:lnTo>
                    <a:pt x="384" y="12"/>
                  </a:lnTo>
                  <a:lnTo>
                    <a:pt x="402" y="12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18"/>
                  </a:lnTo>
                  <a:lnTo>
                    <a:pt x="420" y="18"/>
                  </a:lnTo>
                  <a:lnTo>
                    <a:pt x="426" y="24"/>
                  </a:lnTo>
                  <a:lnTo>
                    <a:pt x="432" y="30"/>
                  </a:lnTo>
                  <a:lnTo>
                    <a:pt x="438" y="36"/>
                  </a:lnTo>
                  <a:lnTo>
                    <a:pt x="444" y="42"/>
                  </a:lnTo>
                  <a:lnTo>
                    <a:pt x="450" y="42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16" y="78"/>
                  </a:lnTo>
                  <a:lnTo>
                    <a:pt x="522" y="102"/>
                  </a:lnTo>
                  <a:lnTo>
                    <a:pt x="522" y="108"/>
                  </a:lnTo>
                  <a:lnTo>
                    <a:pt x="528" y="126"/>
                  </a:lnTo>
                  <a:lnTo>
                    <a:pt x="534" y="126"/>
                  </a:lnTo>
                  <a:lnTo>
                    <a:pt x="540" y="120"/>
                  </a:lnTo>
                  <a:lnTo>
                    <a:pt x="546" y="126"/>
                  </a:lnTo>
                  <a:lnTo>
                    <a:pt x="552" y="126"/>
                  </a:lnTo>
                  <a:lnTo>
                    <a:pt x="558" y="132"/>
                  </a:lnTo>
                  <a:lnTo>
                    <a:pt x="564" y="138"/>
                  </a:lnTo>
                  <a:lnTo>
                    <a:pt x="570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594" y="168"/>
                  </a:lnTo>
                  <a:lnTo>
                    <a:pt x="600" y="174"/>
                  </a:lnTo>
                  <a:lnTo>
                    <a:pt x="606" y="180"/>
                  </a:lnTo>
                  <a:lnTo>
                    <a:pt x="606" y="186"/>
                  </a:lnTo>
                  <a:lnTo>
                    <a:pt x="612" y="192"/>
                  </a:lnTo>
                  <a:lnTo>
                    <a:pt x="612" y="198"/>
                  </a:lnTo>
                  <a:lnTo>
                    <a:pt x="624" y="204"/>
                  </a:lnTo>
                  <a:lnTo>
                    <a:pt x="624" y="210"/>
                  </a:lnTo>
                  <a:lnTo>
                    <a:pt x="630" y="216"/>
                  </a:lnTo>
                  <a:lnTo>
                    <a:pt x="636" y="222"/>
                  </a:lnTo>
                  <a:lnTo>
                    <a:pt x="636" y="228"/>
                  </a:lnTo>
                  <a:lnTo>
                    <a:pt x="636" y="234"/>
                  </a:lnTo>
                  <a:lnTo>
                    <a:pt x="636" y="252"/>
                  </a:lnTo>
                  <a:lnTo>
                    <a:pt x="636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42" y="276"/>
                  </a:lnTo>
                  <a:lnTo>
                    <a:pt x="642" y="282"/>
                  </a:lnTo>
                  <a:lnTo>
                    <a:pt x="642" y="288"/>
                  </a:lnTo>
                  <a:lnTo>
                    <a:pt x="642" y="300"/>
                  </a:lnTo>
                  <a:lnTo>
                    <a:pt x="642" y="306"/>
                  </a:lnTo>
                  <a:lnTo>
                    <a:pt x="636" y="312"/>
                  </a:lnTo>
                  <a:lnTo>
                    <a:pt x="636" y="324"/>
                  </a:lnTo>
                  <a:lnTo>
                    <a:pt x="636" y="342"/>
                  </a:lnTo>
                  <a:lnTo>
                    <a:pt x="630" y="354"/>
                  </a:lnTo>
                  <a:lnTo>
                    <a:pt x="630" y="366"/>
                  </a:lnTo>
                  <a:lnTo>
                    <a:pt x="624" y="378"/>
                  </a:lnTo>
                  <a:lnTo>
                    <a:pt x="624" y="384"/>
                  </a:lnTo>
                  <a:lnTo>
                    <a:pt x="636" y="396"/>
                  </a:lnTo>
                  <a:lnTo>
                    <a:pt x="636" y="402"/>
                  </a:lnTo>
                  <a:lnTo>
                    <a:pt x="636" y="408"/>
                  </a:lnTo>
                  <a:lnTo>
                    <a:pt x="630" y="414"/>
                  </a:lnTo>
                  <a:lnTo>
                    <a:pt x="630" y="420"/>
                  </a:lnTo>
                  <a:lnTo>
                    <a:pt x="630" y="426"/>
                  </a:lnTo>
                  <a:lnTo>
                    <a:pt x="630" y="432"/>
                  </a:lnTo>
                  <a:lnTo>
                    <a:pt x="624" y="438"/>
                  </a:lnTo>
                  <a:lnTo>
                    <a:pt x="624" y="444"/>
                  </a:lnTo>
                  <a:lnTo>
                    <a:pt x="624" y="450"/>
                  </a:lnTo>
                  <a:lnTo>
                    <a:pt x="630" y="450"/>
                  </a:lnTo>
                  <a:lnTo>
                    <a:pt x="630" y="456"/>
                  </a:lnTo>
                  <a:lnTo>
                    <a:pt x="630" y="462"/>
                  </a:lnTo>
                  <a:lnTo>
                    <a:pt x="636" y="468"/>
                  </a:lnTo>
                  <a:lnTo>
                    <a:pt x="642" y="456"/>
                  </a:lnTo>
                  <a:lnTo>
                    <a:pt x="642" y="450"/>
                  </a:lnTo>
                  <a:lnTo>
                    <a:pt x="648" y="450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60" y="444"/>
                  </a:lnTo>
                  <a:lnTo>
                    <a:pt x="666" y="450"/>
                  </a:lnTo>
                  <a:lnTo>
                    <a:pt x="672" y="444"/>
                  </a:lnTo>
                  <a:lnTo>
                    <a:pt x="678" y="444"/>
                  </a:lnTo>
                  <a:lnTo>
                    <a:pt x="684" y="438"/>
                  </a:lnTo>
                  <a:lnTo>
                    <a:pt x="690" y="438"/>
                  </a:lnTo>
                  <a:lnTo>
                    <a:pt x="696" y="438"/>
                  </a:lnTo>
                  <a:lnTo>
                    <a:pt x="702" y="444"/>
                  </a:lnTo>
                  <a:lnTo>
                    <a:pt x="702" y="450"/>
                  </a:lnTo>
                  <a:lnTo>
                    <a:pt x="708" y="450"/>
                  </a:lnTo>
                  <a:lnTo>
                    <a:pt x="708" y="456"/>
                  </a:lnTo>
                  <a:lnTo>
                    <a:pt x="708" y="462"/>
                  </a:lnTo>
                  <a:lnTo>
                    <a:pt x="708" y="468"/>
                  </a:lnTo>
                  <a:lnTo>
                    <a:pt x="708" y="504"/>
                  </a:lnTo>
                  <a:lnTo>
                    <a:pt x="696" y="564"/>
                  </a:lnTo>
                  <a:lnTo>
                    <a:pt x="696" y="582"/>
                  </a:lnTo>
                  <a:lnTo>
                    <a:pt x="696" y="600"/>
                  </a:lnTo>
                  <a:lnTo>
                    <a:pt x="690" y="606"/>
                  </a:lnTo>
                  <a:lnTo>
                    <a:pt x="684" y="606"/>
                  </a:lnTo>
                  <a:lnTo>
                    <a:pt x="690" y="612"/>
                  </a:lnTo>
                  <a:lnTo>
                    <a:pt x="684" y="612"/>
                  </a:lnTo>
                  <a:lnTo>
                    <a:pt x="678" y="618"/>
                  </a:lnTo>
                  <a:lnTo>
                    <a:pt x="672" y="624"/>
                  </a:lnTo>
                  <a:lnTo>
                    <a:pt x="666" y="630"/>
                  </a:lnTo>
                  <a:lnTo>
                    <a:pt x="660" y="636"/>
                  </a:lnTo>
                  <a:lnTo>
                    <a:pt x="672" y="636"/>
                  </a:lnTo>
                  <a:lnTo>
                    <a:pt x="678" y="642"/>
                  </a:lnTo>
                  <a:lnTo>
                    <a:pt x="678" y="648"/>
                  </a:lnTo>
                  <a:lnTo>
                    <a:pt x="684" y="654"/>
                  </a:lnTo>
                  <a:lnTo>
                    <a:pt x="690" y="666"/>
                  </a:lnTo>
                  <a:lnTo>
                    <a:pt x="690" y="672"/>
                  </a:lnTo>
                  <a:lnTo>
                    <a:pt x="696" y="672"/>
                  </a:lnTo>
                  <a:lnTo>
                    <a:pt x="696" y="684"/>
                  </a:lnTo>
                  <a:lnTo>
                    <a:pt x="708" y="690"/>
                  </a:lnTo>
                  <a:lnTo>
                    <a:pt x="720" y="696"/>
                  </a:lnTo>
                  <a:lnTo>
                    <a:pt x="726" y="696"/>
                  </a:lnTo>
                  <a:lnTo>
                    <a:pt x="732" y="696"/>
                  </a:lnTo>
                  <a:lnTo>
                    <a:pt x="738" y="696"/>
                  </a:lnTo>
                  <a:lnTo>
                    <a:pt x="738" y="702"/>
                  </a:lnTo>
                  <a:lnTo>
                    <a:pt x="738" y="708"/>
                  </a:lnTo>
                  <a:lnTo>
                    <a:pt x="738" y="714"/>
                  </a:lnTo>
                  <a:lnTo>
                    <a:pt x="744" y="714"/>
                  </a:lnTo>
                  <a:lnTo>
                    <a:pt x="756" y="720"/>
                  </a:lnTo>
                  <a:lnTo>
                    <a:pt x="780" y="726"/>
                  </a:lnTo>
                  <a:lnTo>
                    <a:pt x="792" y="732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22" y="774"/>
                  </a:lnTo>
                  <a:lnTo>
                    <a:pt x="834" y="786"/>
                  </a:lnTo>
                  <a:lnTo>
                    <a:pt x="834" y="792"/>
                  </a:lnTo>
                  <a:lnTo>
                    <a:pt x="834" y="798"/>
                  </a:lnTo>
                  <a:lnTo>
                    <a:pt x="828" y="798"/>
                  </a:lnTo>
                  <a:lnTo>
                    <a:pt x="828" y="804"/>
                  </a:lnTo>
                  <a:lnTo>
                    <a:pt x="834" y="816"/>
                  </a:lnTo>
                  <a:lnTo>
                    <a:pt x="834" y="834"/>
                  </a:lnTo>
                  <a:lnTo>
                    <a:pt x="834" y="840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34" y="858"/>
                  </a:lnTo>
                  <a:lnTo>
                    <a:pt x="834" y="864"/>
                  </a:lnTo>
                  <a:lnTo>
                    <a:pt x="834" y="876"/>
                  </a:lnTo>
                  <a:lnTo>
                    <a:pt x="828" y="960"/>
                  </a:lnTo>
                  <a:lnTo>
                    <a:pt x="816" y="966"/>
                  </a:lnTo>
                  <a:lnTo>
                    <a:pt x="798" y="972"/>
                  </a:lnTo>
                  <a:lnTo>
                    <a:pt x="786" y="990"/>
                  </a:lnTo>
                  <a:lnTo>
                    <a:pt x="774" y="990"/>
                  </a:lnTo>
                  <a:lnTo>
                    <a:pt x="762" y="1008"/>
                  </a:lnTo>
                  <a:lnTo>
                    <a:pt x="732" y="1014"/>
                  </a:lnTo>
                  <a:lnTo>
                    <a:pt x="714" y="1026"/>
                  </a:lnTo>
                  <a:lnTo>
                    <a:pt x="690" y="1050"/>
                  </a:lnTo>
                  <a:lnTo>
                    <a:pt x="654" y="1056"/>
                  </a:lnTo>
                  <a:lnTo>
                    <a:pt x="630" y="1056"/>
                  </a:lnTo>
                  <a:lnTo>
                    <a:pt x="606" y="1068"/>
                  </a:lnTo>
                  <a:lnTo>
                    <a:pt x="600" y="1092"/>
                  </a:lnTo>
                  <a:lnTo>
                    <a:pt x="600" y="1098"/>
                  </a:lnTo>
                  <a:lnTo>
                    <a:pt x="588" y="1104"/>
                  </a:lnTo>
                  <a:lnTo>
                    <a:pt x="582" y="1104"/>
                  </a:lnTo>
                  <a:lnTo>
                    <a:pt x="570" y="1110"/>
                  </a:lnTo>
                  <a:lnTo>
                    <a:pt x="564" y="111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7" name="Freeform 12">
              <a:extLst>
                <a:ext uri="{FF2B5EF4-FFF2-40B4-BE49-F238E27FC236}">
                  <a16:creationId xmlns:a16="http://schemas.microsoft.com/office/drawing/2014/main" id="{6C93C114-E5D0-49BB-A44C-A127CE01CFE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810" y="2271838"/>
              <a:ext cx="923547" cy="845397"/>
            </a:xfrm>
            <a:custGeom>
              <a:avLst/>
              <a:gdLst>
                <a:gd name="T0" fmla="*/ 138 w 1740"/>
                <a:gd name="T1" fmla="*/ 134 h 1590"/>
                <a:gd name="T2" fmla="*/ 128 w 1740"/>
                <a:gd name="T3" fmla="*/ 131 h 1590"/>
                <a:gd name="T4" fmla="*/ 121 w 1740"/>
                <a:gd name="T5" fmla="*/ 130 h 1590"/>
                <a:gd name="T6" fmla="*/ 119 w 1740"/>
                <a:gd name="T7" fmla="*/ 134 h 1590"/>
                <a:gd name="T8" fmla="*/ 110 w 1740"/>
                <a:gd name="T9" fmla="*/ 132 h 1590"/>
                <a:gd name="T10" fmla="*/ 111 w 1740"/>
                <a:gd name="T11" fmla="*/ 127 h 1590"/>
                <a:gd name="T12" fmla="*/ 103 w 1740"/>
                <a:gd name="T13" fmla="*/ 117 h 1590"/>
                <a:gd name="T14" fmla="*/ 93 w 1740"/>
                <a:gd name="T15" fmla="*/ 123 h 1590"/>
                <a:gd name="T16" fmla="*/ 80 w 1740"/>
                <a:gd name="T17" fmla="*/ 118 h 1590"/>
                <a:gd name="T18" fmla="*/ 66 w 1740"/>
                <a:gd name="T19" fmla="*/ 117 h 1590"/>
                <a:gd name="T20" fmla="*/ 66 w 1740"/>
                <a:gd name="T21" fmla="*/ 110 h 1590"/>
                <a:gd name="T22" fmla="*/ 69 w 1740"/>
                <a:gd name="T23" fmla="*/ 107 h 1590"/>
                <a:gd name="T24" fmla="*/ 68 w 1740"/>
                <a:gd name="T25" fmla="*/ 102 h 1590"/>
                <a:gd name="T26" fmla="*/ 68 w 1740"/>
                <a:gd name="T27" fmla="*/ 96 h 1590"/>
                <a:gd name="T28" fmla="*/ 67 w 1740"/>
                <a:gd name="T29" fmla="*/ 82 h 1590"/>
                <a:gd name="T30" fmla="*/ 58 w 1740"/>
                <a:gd name="T31" fmla="*/ 82 h 1590"/>
                <a:gd name="T32" fmla="*/ 52 w 1740"/>
                <a:gd name="T33" fmla="*/ 82 h 1590"/>
                <a:gd name="T34" fmla="*/ 46 w 1740"/>
                <a:gd name="T35" fmla="*/ 80 h 1590"/>
                <a:gd name="T36" fmla="*/ 45 w 1740"/>
                <a:gd name="T37" fmla="*/ 74 h 1590"/>
                <a:gd name="T38" fmla="*/ 52 w 1740"/>
                <a:gd name="T39" fmla="*/ 70 h 1590"/>
                <a:gd name="T40" fmla="*/ 52 w 1740"/>
                <a:gd name="T41" fmla="*/ 64 h 1590"/>
                <a:gd name="T42" fmla="*/ 42 w 1740"/>
                <a:gd name="T43" fmla="*/ 53 h 1590"/>
                <a:gd name="T44" fmla="*/ 35 w 1740"/>
                <a:gd name="T45" fmla="*/ 52 h 1590"/>
                <a:gd name="T46" fmla="*/ 20 w 1740"/>
                <a:gd name="T47" fmla="*/ 51 h 1590"/>
                <a:gd name="T48" fmla="*/ 17 w 1740"/>
                <a:gd name="T49" fmla="*/ 56 h 1590"/>
                <a:gd name="T50" fmla="*/ 11 w 1740"/>
                <a:gd name="T51" fmla="*/ 61 h 1590"/>
                <a:gd name="T52" fmla="*/ 7 w 1740"/>
                <a:gd name="T53" fmla="*/ 63 h 1590"/>
                <a:gd name="T54" fmla="*/ 0 w 1740"/>
                <a:gd name="T55" fmla="*/ 55 h 1590"/>
                <a:gd name="T56" fmla="*/ 2 w 1740"/>
                <a:gd name="T57" fmla="*/ 50 h 1590"/>
                <a:gd name="T58" fmla="*/ 0 w 1740"/>
                <a:gd name="T59" fmla="*/ 44 h 1590"/>
                <a:gd name="T60" fmla="*/ 2 w 1740"/>
                <a:gd name="T61" fmla="*/ 38 h 1590"/>
                <a:gd name="T62" fmla="*/ 7 w 1740"/>
                <a:gd name="T63" fmla="*/ 35 h 1590"/>
                <a:gd name="T64" fmla="*/ 11 w 1740"/>
                <a:gd name="T65" fmla="*/ 30 h 1590"/>
                <a:gd name="T66" fmla="*/ 21 w 1740"/>
                <a:gd name="T67" fmla="*/ 26 h 1590"/>
                <a:gd name="T68" fmla="*/ 29 w 1740"/>
                <a:gd name="T69" fmla="*/ 25 h 1590"/>
                <a:gd name="T70" fmla="*/ 35 w 1740"/>
                <a:gd name="T71" fmla="*/ 21 h 1590"/>
                <a:gd name="T72" fmla="*/ 36 w 1740"/>
                <a:gd name="T73" fmla="*/ 16 h 1590"/>
                <a:gd name="T74" fmla="*/ 41 w 1740"/>
                <a:gd name="T75" fmla="*/ 11 h 1590"/>
                <a:gd name="T76" fmla="*/ 51 w 1740"/>
                <a:gd name="T77" fmla="*/ 9 h 1590"/>
                <a:gd name="T78" fmla="*/ 59 w 1740"/>
                <a:gd name="T79" fmla="*/ 21 h 1590"/>
                <a:gd name="T80" fmla="*/ 65 w 1740"/>
                <a:gd name="T81" fmla="*/ 13 h 1590"/>
                <a:gd name="T82" fmla="*/ 73 w 1740"/>
                <a:gd name="T83" fmla="*/ 8 h 1590"/>
                <a:gd name="T84" fmla="*/ 82 w 1740"/>
                <a:gd name="T85" fmla="*/ 12 h 1590"/>
                <a:gd name="T86" fmla="*/ 88 w 1740"/>
                <a:gd name="T87" fmla="*/ 12 h 1590"/>
                <a:gd name="T88" fmla="*/ 99 w 1740"/>
                <a:gd name="T89" fmla="*/ 7 h 1590"/>
                <a:gd name="T90" fmla="*/ 114 w 1740"/>
                <a:gd name="T91" fmla="*/ 0 h 1590"/>
                <a:gd name="T92" fmla="*/ 117 w 1740"/>
                <a:gd name="T93" fmla="*/ 10 h 1590"/>
                <a:gd name="T94" fmla="*/ 132 w 1740"/>
                <a:gd name="T95" fmla="*/ 17 h 1590"/>
                <a:gd name="T96" fmla="*/ 140 w 1740"/>
                <a:gd name="T97" fmla="*/ 25 h 1590"/>
                <a:gd name="T98" fmla="*/ 140 w 1740"/>
                <a:gd name="T99" fmla="*/ 33 h 1590"/>
                <a:gd name="T100" fmla="*/ 140 w 1740"/>
                <a:gd name="T101" fmla="*/ 44 h 1590"/>
                <a:gd name="T102" fmla="*/ 138 w 1740"/>
                <a:gd name="T103" fmla="*/ 48 h 1590"/>
                <a:gd name="T104" fmla="*/ 141 w 1740"/>
                <a:gd name="T105" fmla="*/ 49 h 1590"/>
                <a:gd name="T106" fmla="*/ 146 w 1740"/>
                <a:gd name="T107" fmla="*/ 50 h 1590"/>
                <a:gd name="T108" fmla="*/ 149 w 1740"/>
                <a:gd name="T109" fmla="*/ 59 h 1590"/>
                <a:gd name="T110" fmla="*/ 148 w 1740"/>
                <a:gd name="T111" fmla="*/ 67 h 1590"/>
                <a:gd name="T112" fmla="*/ 141 w 1740"/>
                <a:gd name="T113" fmla="*/ 78 h 1590"/>
                <a:gd name="T114" fmla="*/ 141 w 1740"/>
                <a:gd name="T115" fmla="*/ 91 h 1590"/>
                <a:gd name="T116" fmla="*/ 138 w 1740"/>
                <a:gd name="T117" fmla="*/ 102 h 1590"/>
                <a:gd name="T118" fmla="*/ 138 w 1740"/>
                <a:gd name="T119" fmla="*/ 110 h 1590"/>
                <a:gd name="T120" fmla="*/ 144 w 1740"/>
                <a:gd name="T121" fmla="*/ 118 h 1590"/>
                <a:gd name="T122" fmla="*/ 143 w 1740"/>
                <a:gd name="T123" fmla="*/ 125 h 159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740"/>
                <a:gd name="T187" fmla="*/ 0 h 1590"/>
                <a:gd name="T188" fmla="*/ 1740 w 1740"/>
                <a:gd name="T189" fmla="*/ 1590 h 159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740" h="1590">
                  <a:moveTo>
                    <a:pt x="1638" y="1458"/>
                  </a:moveTo>
                  <a:lnTo>
                    <a:pt x="1638" y="1482"/>
                  </a:lnTo>
                  <a:lnTo>
                    <a:pt x="1638" y="1500"/>
                  </a:lnTo>
                  <a:lnTo>
                    <a:pt x="1626" y="1500"/>
                  </a:lnTo>
                  <a:lnTo>
                    <a:pt x="1620" y="1500"/>
                  </a:lnTo>
                  <a:lnTo>
                    <a:pt x="1614" y="1500"/>
                  </a:lnTo>
                  <a:lnTo>
                    <a:pt x="1614" y="1506"/>
                  </a:lnTo>
                  <a:lnTo>
                    <a:pt x="1614" y="1512"/>
                  </a:lnTo>
                  <a:lnTo>
                    <a:pt x="1620" y="1518"/>
                  </a:lnTo>
                  <a:lnTo>
                    <a:pt x="1614" y="1524"/>
                  </a:lnTo>
                  <a:lnTo>
                    <a:pt x="1590" y="1536"/>
                  </a:lnTo>
                  <a:lnTo>
                    <a:pt x="1584" y="1566"/>
                  </a:lnTo>
                  <a:lnTo>
                    <a:pt x="1578" y="1590"/>
                  </a:lnTo>
                  <a:lnTo>
                    <a:pt x="1548" y="1590"/>
                  </a:lnTo>
                  <a:lnTo>
                    <a:pt x="1542" y="1584"/>
                  </a:lnTo>
                  <a:lnTo>
                    <a:pt x="1542" y="1572"/>
                  </a:lnTo>
                  <a:lnTo>
                    <a:pt x="1536" y="1566"/>
                  </a:lnTo>
                  <a:lnTo>
                    <a:pt x="1536" y="1554"/>
                  </a:lnTo>
                  <a:lnTo>
                    <a:pt x="1536" y="1548"/>
                  </a:lnTo>
                  <a:lnTo>
                    <a:pt x="1506" y="1530"/>
                  </a:lnTo>
                  <a:lnTo>
                    <a:pt x="1488" y="1506"/>
                  </a:lnTo>
                  <a:lnTo>
                    <a:pt x="1464" y="1500"/>
                  </a:lnTo>
                  <a:lnTo>
                    <a:pt x="1470" y="1494"/>
                  </a:lnTo>
                  <a:lnTo>
                    <a:pt x="1470" y="1488"/>
                  </a:lnTo>
                  <a:lnTo>
                    <a:pt x="1470" y="1482"/>
                  </a:lnTo>
                  <a:lnTo>
                    <a:pt x="1428" y="1464"/>
                  </a:lnTo>
                  <a:lnTo>
                    <a:pt x="1404" y="1470"/>
                  </a:lnTo>
                  <a:lnTo>
                    <a:pt x="1398" y="1470"/>
                  </a:lnTo>
                  <a:lnTo>
                    <a:pt x="1392" y="1476"/>
                  </a:lnTo>
                  <a:lnTo>
                    <a:pt x="1386" y="1476"/>
                  </a:lnTo>
                  <a:lnTo>
                    <a:pt x="1386" y="1482"/>
                  </a:lnTo>
                  <a:lnTo>
                    <a:pt x="1392" y="1482"/>
                  </a:lnTo>
                  <a:lnTo>
                    <a:pt x="1386" y="1488"/>
                  </a:lnTo>
                  <a:lnTo>
                    <a:pt x="1386" y="1494"/>
                  </a:lnTo>
                  <a:lnTo>
                    <a:pt x="1380" y="1494"/>
                  </a:lnTo>
                  <a:lnTo>
                    <a:pt x="1380" y="1500"/>
                  </a:lnTo>
                  <a:lnTo>
                    <a:pt x="1380" y="1512"/>
                  </a:lnTo>
                  <a:lnTo>
                    <a:pt x="1380" y="1518"/>
                  </a:lnTo>
                  <a:lnTo>
                    <a:pt x="1380" y="1524"/>
                  </a:lnTo>
                  <a:lnTo>
                    <a:pt x="1380" y="1530"/>
                  </a:lnTo>
                  <a:lnTo>
                    <a:pt x="1374" y="1536"/>
                  </a:lnTo>
                  <a:lnTo>
                    <a:pt x="1374" y="1542"/>
                  </a:lnTo>
                  <a:lnTo>
                    <a:pt x="1368" y="1542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44" y="1554"/>
                  </a:lnTo>
                  <a:lnTo>
                    <a:pt x="1332" y="1560"/>
                  </a:lnTo>
                  <a:lnTo>
                    <a:pt x="1302" y="1554"/>
                  </a:lnTo>
                  <a:lnTo>
                    <a:pt x="1290" y="1554"/>
                  </a:lnTo>
                  <a:lnTo>
                    <a:pt x="1278" y="1542"/>
                  </a:lnTo>
                  <a:lnTo>
                    <a:pt x="1272" y="1530"/>
                  </a:lnTo>
                  <a:lnTo>
                    <a:pt x="1272" y="1524"/>
                  </a:lnTo>
                  <a:lnTo>
                    <a:pt x="1272" y="1518"/>
                  </a:lnTo>
                  <a:lnTo>
                    <a:pt x="1266" y="1518"/>
                  </a:lnTo>
                  <a:lnTo>
                    <a:pt x="1266" y="1512"/>
                  </a:lnTo>
                  <a:lnTo>
                    <a:pt x="1266" y="1506"/>
                  </a:lnTo>
                  <a:lnTo>
                    <a:pt x="1272" y="1506"/>
                  </a:lnTo>
                  <a:lnTo>
                    <a:pt x="1272" y="1500"/>
                  </a:lnTo>
                  <a:lnTo>
                    <a:pt x="1278" y="1500"/>
                  </a:lnTo>
                  <a:lnTo>
                    <a:pt x="1278" y="1494"/>
                  </a:lnTo>
                  <a:lnTo>
                    <a:pt x="1278" y="1488"/>
                  </a:lnTo>
                  <a:lnTo>
                    <a:pt x="1284" y="1488"/>
                  </a:lnTo>
                  <a:lnTo>
                    <a:pt x="1284" y="1482"/>
                  </a:lnTo>
                  <a:lnTo>
                    <a:pt x="1290" y="1476"/>
                  </a:lnTo>
                  <a:lnTo>
                    <a:pt x="1284" y="1470"/>
                  </a:lnTo>
                  <a:lnTo>
                    <a:pt x="1278" y="1458"/>
                  </a:lnTo>
                  <a:lnTo>
                    <a:pt x="1278" y="1452"/>
                  </a:lnTo>
                  <a:lnTo>
                    <a:pt x="1260" y="1428"/>
                  </a:lnTo>
                  <a:lnTo>
                    <a:pt x="1254" y="1416"/>
                  </a:lnTo>
                  <a:lnTo>
                    <a:pt x="1254" y="1410"/>
                  </a:lnTo>
                  <a:lnTo>
                    <a:pt x="1248" y="1398"/>
                  </a:lnTo>
                  <a:lnTo>
                    <a:pt x="1242" y="1398"/>
                  </a:lnTo>
                  <a:lnTo>
                    <a:pt x="1236" y="1398"/>
                  </a:lnTo>
                  <a:lnTo>
                    <a:pt x="1218" y="1386"/>
                  </a:lnTo>
                  <a:lnTo>
                    <a:pt x="1212" y="1362"/>
                  </a:lnTo>
                  <a:lnTo>
                    <a:pt x="1200" y="1344"/>
                  </a:lnTo>
                  <a:lnTo>
                    <a:pt x="1188" y="1338"/>
                  </a:lnTo>
                  <a:lnTo>
                    <a:pt x="1164" y="1338"/>
                  </a:lnTo>
                  <a:lnTo>
                    <a:pt x="1158" y="1344"/>
                  </a:lnTo>
                  <a:lnTo>
                    <a:pt x="1152" y="1350"/>
                  </a:lnTo>
                  <a:lnTo>
                    <a:pt x="1152" y="1356"/>
                  </a:lnTo>
                  <a:lnTo>
                    <a:pt x="1140" y="1362"/>
                  </a:lnTo>
                  <a:lnTo>
                    <a:pt x="1134" y="1380"/>
                  </a:lnTo>
                  <a:lnTo>
                    <a:pt x="1116" y="1398"/>
                  </a:lnTo>
                  <a:lnTo>
                    <a:pt x="1110" y="1416"/>
                  </a:lnTo>
                  <a:lnTo>
                    <a:pt x="1086" y="1416"/>
                  </a:lnTo>
                  <a:lnTo>
                    <a:pt x="1080" y="1410"/>
                  </a:lnTo>
                  <a:lnTo>
                    <a:pt x="1074" y="1410"/>
                  </a:lnTo>
                  <a:lnTo>
                    <a:pt x="1074" y="1404"/>
                  </a:lnTo>
                  <a:lnTo>
                    <a:pt x="1062" y="1404"/>
                  </a:lnTo>
                  <a:lnTo>
                    <a:pt x="1062" y="1380"/>
                  </a:lnTo>
                  <a:lnTo>
                    <a:pt x="1038" y="1380"/>
                  </a:lnTo>
                  <a:lnTo>
                    <a:pt x="1026" y="1350"/>
                  </a:lnTo>
                  <a:lnTo>
                    <a:pt x="996" y="1326"/>
                  </a:lnTo>
                  <a:lnTo>
                    <a:pt x="966" y="1314"/>
                  </a:lnTo>
                  <a:lnTo>
                    <a:pt x="954" y="1320"/>
                  </a:lnTo>
                  <a:lnTo>
                    <a:pt x="942" y="1338"/>
                  </a:lnTo>
                  <a:lnTo>
                    <a:pt x="930" y="1338"/>
                  </a:lnTo>
                  <a:lnTo>
                    <a:pt x="924" y="1350"/>
                  </a:lnTo>
                  <a:lnTo>
                    <a:pt x="906" y="1356"/>
                  </a:lnTo>
                  <a:lnTo>
                    <a:pt x="846" y="1356"/>
                  </a:lnTo>
                  <a:lnTo>
                    <a:pt x="834" y="1368"/>
                  </a:lnTo>
                  <a:lnTo>
                    <a:pt x="810" y="1362"/>
                  </a:lnTo>
                  <a:lnTo>
                    <a:pt x="792" y="1362"/>
                  </a:lnTo>
                  <a:lnTo>
                    <a:pt x="780" y="1368"/>
                  </a:lnTo>
                  <a:lnTo>
                    <a:pt x="762" y="1368"/>
                  </a:lnTo>
                  <a:lnTo>
                    <a:pt x="762" y="1362"/>
                  </a:lnTo>
                  <a:lnTo>
                    <a:pt x="750" y="1362"/>
                  </a:lnTo>
                  <a:lnTo>
                    <a:pt x="750" y="1338"/>
                  </a:lnTo>
                  <a:lnTo>
                    <a:pt x="762" y="1338"/>
                  </a:lnTo>
                  <a:lnTo>
                    <a:pt x="762" y="1326"/>
                  </a:lnTo>
                  <a:lnTo>
                    <a:pt x="762" y="1314"/>
                  </a:lnTo>
                  <a:lnTo>
                    <a:pt x="732" y="1314"/>
                  </a:lnTo>
                  <a:lnTo>
                    <a:pt x="726" y="1308"/>
                  </a:lnTo>
                  <a:lnTo>
                    <a:pt x="732" y="1284"/>
                  </a:lnTo>
                  <a:lnTo>
                    <a:pt x="732" y="1278"/>
                  </a:lnTo>
                  <a:lnTo>
                    <a:pt x="738" y="1272"/>
                  </a:lnTo>
                  <a:lnTo>
                    <a:pt x="738" y="1266"/>
                  </a:lnTo>
                  <a:lnTo>
                    <a:pt x="744" y="1266"/>
                  </a:lnTo>
                  <a:lnTo>
                    <a:pt x="750" y="1272"/>
                  </a:lnTo>
                  <a:lnTo>
                    <a:pt x="756" y="1266"/>
                  </a:lnTo>
                  <a:lnTo>
                    <a:pt x="762" y="1266"/>
                  </a:lnTo>
                  <a:lnTo>
                    <a:pt x="768" y="1260"/>
                  </a:lnTo>
                  <a:lnTo>
                    <a:pt x="774" y="1260"/>
                  </a:lnTo>
                  <a:lnTo>
                    <a:pt x="780" y="1254"/>
                  </a:lnTo>
                  <a:lnTo>
                    <a:pt x="774" y="1254"/>
                  </a:lnTo>
                  <a:lnTo>
                    <a:pt x="768" y="1254"/>
                  </a:lnTo>
                  <a:lnTo>
                    <a:pt x="774" y="1248"/>
                  </a:lnTo>
                  <a:lnTo>
                    <a:pt x="774" y="1242"/>
                  </a:lnTo>
                  <a:lnTo>
                    <a:pt x="780" y="1236"/>
                  </a:lnTo>
                  <a:lnTo>
                    <a:pt x="786" y="1236"/>
                  </a:lnTo>
                  <a:lnTo>
                    <a:pt x="792" y="1230"/>
                  </a:lnTo>
                  <a:lnTo>
                    <a:pt x="792" y="1236"/>
                  </a:lnTo>
                  <a:lnTo>
                    <a:pt x="798" y="1236"/>
                  </a:lnTo>
                  <a:lnTo>
                    <a:pt x="798" y="1230"/>
                  </a:lnTo>
                  <a:lnTo>
                    <a:pt x="804" y="1230"/>
                  </a:lnTo>
                  <a:lnTo>
                    <a:pt x="804" y="1218"/>
                  </a:lnTo>
                  <a:lnTo>
                    <a:pt x="804" y="1206"/>
                  </a:lnTo>
                  <a:lnTo>
                    <a:pt x="792" y="1188"/>
                  </a:lnTo>
                  <a:lnTo>
                    <a:pt x="768" y="1182"/>
                  </a:lnTo>
                  <a:lnTo>
                    <a:pt x="768" y="1170"/>
                  </a:lnTo>
                  <a:lnTo>
                    <a:pt x="774" y="1170"/>
                  </a:lnTo>
                  <a:lnTo>
                    <a:pt x="780" y="1170"/>
                  </a:lnTo>
                  <a:lnTo>
                    <a:pt x="786" y="1170"/>
                  </a:lnTo>
                  <a:lnTo>
                    <a:pt x="780" y="1152"/>
                  </a:lnTo>
                  <a:lnTo>
                    <a:pt x="780" y="1146"/>
                  </a:lnTo>
                  <a:lnTo>
                    <a:pt x="744" y="1140"/>
                  </a:lnTo>
                  <a:lnTo>
                    <a:pt x="732" y="1128"/>
                  </a:lnTo>
                  <a:lnTo>
                    <a:pt x="720" y="1122"/>
                  </a:lnTo>
                  <a:lnTo>
                    <a:pt x="732" y="1116"/>
                  </a:lnTo>
                  <a:lnTo>
                    <a:pt x="750" y="1104"/>
                  </a:lnTo>
                  <a:lnTo>
                    <a:pt x="756" y="1116"/>
                  </a:lnTo>
                  <a:lnTo>
                    <a:pt x="774" y="1116"/>
                  </a:lnTo>
                  <a:lnTo>
                    <a:pt x="780" y="1104"/>
                  </a:lnTo>
                  <a:lnTo>
                    <a:pt x="780" y="1080"/>
                  </a:lnTo>
                  <a:lnTo>
                    <a:pt x="786" y="1080"/>
                  </a:lnTo>
                  <a:lnTo>
                    <a:pt x="786" y="1074"/>
                  </a:lnTo>
                  <a:lnTo>
                    <a:pt x="792" y="1074"/>
                  </a:lnTo>
                  <a:lnTo>
                    <a:pt x="786" y="1068"/>
                  </a:lnTo>
                  <a:lnTo>
                    <a:pt x="786" y="1062"/>
                  </a:lnTo>
                  <a:lnTo>
                    <a:pt x="786" y="1056"/>
                  </a:lnTo>
                  <a:lnTo>
                    <a:pt x="792" y="1050"/>
                  </a:lnTo>
                  <a:lnTo>
                    <a:pt x="786" y="1020"/>
                  </a:lnTo>
                  <a:lnTo>
                    <a:pt x="780" y="960"/>
                  </a:lnTo>
                  <a:lnTo>
                    <a:pt x="768" y="942"/>
                  </a:lnTo>
                  <a:lnTo>
                    <a:pt x="732" y="936"/>
                  </a:lnTo>
                  <a:lnTo>
                    <a:pt x="732" y="942"/>
                  </a:lnTo>
                  <a:lnTo>
                    <a:pt x="726" y="942"/>
                  </a:lnTo>
                  <a:lnTo>
                    <a:pt x="720" y="936"/>
                  </a:lnTo>
                  <a:lnTo>
                    <a:pt x="714" y="942"/>
                  </a:lnTo>
                  <a:lnTo>
                    <a:pt x="708" y="942"/>
                  </a:lnTo>
                  <a:lnTo>
                    <a:pt x="702" y="942"/>
                  </a:lnTo>
                  <a:lnTo>
                    <a:pt x="690" y="936"/>
                  </a:lnTo>
                  <a:lnTo>
                    <a:pt x="684" y="936"/>
                  </a:lnTo>
                  <a:lnTo>
                    <a:pt x="678" y="936"/>
                  </a:lnTo>
                  <a:lnTo>
                    <a:pt x="672" y="936"/>
                  </a:lnTo>
                  <a:lnTo>
                    <a:pt x="666" y="942"/>
                  </a:lnTo>
                  <a:lnTo>
                    <a:pt x="660" y="942"/>
                  </a:lnTo>
                  <a:lnTo>
                    <a:pt x="654" y="942"/>
                  </a:lnTo>
                  <a:lnTo>
                    <a:pt x="648" y="942"/>
                  </a:lnTo>
                  <a:lnTo>
                    <a:pt x="642" y="936"/>
                  </a:lnTo>
                  <a:lnTo>
                    <a:pt x="636" y="936"/>
                  </a:lnTo>
                  <a:lnTo>
                    <a:pt x="630" y="930"/>
                  </a:lnTo>
                  <a:lnTo>
                    <a:pt x="618" y="930"/>
                  </a:lnTo>
                  <a:lnTo>
                    <a:pt x="612" y="930"/>
                  </a:lnTo>
                  <a:lnTo>
                    <a:pt x="606" y="936"/>
                  </a:lnTo>
                  <a:lnTo>
                    <a:pt x="600" y="942"/>
                  </a:lnTo>
                  <a:lnTo>
                    <a:pt x="600" y="936"/>
                  </a:lnTo>
                  <a:lnTo>
                    <a:pt x="594" y="930"/>
                  </a:lnTo>
                  <a:lnTo>
                    <a:pt x="588" y="930"/>
                  </a:lnTo>
                  <a:lnTo>
                    <a:pt x="582" y="930"/>
                  </a:lnTo>
                  <a:lnTo>
                    <a:pt x="576" y="930"/>
                  </a:lnTo>
                  <a:lnTo>
                    <a:pt x="564" y="936"/>
                  </a:lnTo>
                  <a:lnTo>
                    <a:pt x="558" y="936"/>
                  </a:lnTo>
                  <a:lnTo>
                    <a:pt x="546" y="924"/>
                  </a:lnTo>
                  <a:lnTo>
                    <a:pt x="540" y="924"/>
                  </a:lnTo>
                  <a:lnTo>
                    <a:pt x="534" y="918"/>
                  </a:lnTo>
                  <a:lnTo>
                    <a:pt x="528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6" y="918"/>
                  </a:lnTo>
                  <a:lnTo>
                    <a:pt x="516" y="912"/>
                  </a:lnTo>
                  <a:lnTo>
                    <a:pt x="510" y="894"/>
                  </a:lnTo>
                  <a:lnTo>
                    <a:pt x="510" y="882"/>
                  </a:lnTo>
                  <a:lnTo>
                    <a:pt x="510" y="876"/>
                  </a:lnTo>
                  <a:lnTo>
                    <a:pt x="516" y="870"/>
                  </a:lnTo>
                  <a:lnTo>
                    <a:pt x="510" y="864"/>
                  </a:lnTo>
                  <a:lnTo>
                    <a:pt x="516" y="858"/>
                  </a:lnTo>
                  <a:lnTo>
                    <a:pt x="522" y="858"/>
                  </a:lnTo>
                  <a:lnTo>
                    <a:pt x="528" y="858"/>
                  </a:lnTo>
                  <a:lnTo>
                    <a:pt x="522" y="852"/>
                  </a:lnTo>
                  <a:lnTo>
                    <a:pt x="528" y="852"/>
                  </a:lnTo>
                  <a:lnTo>
                    <a:pt x="528" y="846"/>
                  </a:lnTo>
                  <a:lnTo>
                    <a:pt x="552" y="846"/>
                  </a:lnTo>
                  <a:lnTo>
                    <a:pt x="558" y="840"/>
                  </a:lnTo>
                  <a:lnTo>
                    <a:pt x="564" y="828"/>
                  </a:lnTo>
                  <a:lnTo>
                    <a:pt x="570" y="816"/>
                  </a:lnTo>
                  <a:lnTo>
                    <a:pt x="582" y="810"/>
                  </a:lnTo>
                  <a:lnTo>
                    <a:pt x="588" y="804"/>
                  </a:lnTo>
                  <a:lnTo>
                    <a:pt x="594" y="804"/>
                  </a:lnTo>
                  <a:lnTo>
                    <a:pt x="594" y="792"/>
                  </a:lnTo>
                  <a:lnTo>
                    <a:pt x="600" y="786"/>
                  </a:lnTo>
                  <a:lnTo>
                    <a:pt x="606" y="780"/>
                  </a:lnTo>
                  <a:lnTo>
                    <a:pt x="612" y="774"/>
                  </a:lnTo>
                  <a:lnTo>
                    <a:pt x="618" y="774"/>
                  </a:lnTo>
                  <a:lnTo>
                    <a:pt x="618" y="768"/>
                  </a:lnTo>
                  <a:lnTo>
                    <a:pt x="618" y="762"/>
                  </a:lnTo>
                  <a:lnTo>
                    <a:pt x="624" y="756"/>
                  </a:lnTo>
                  <a:lnTo>
                    <a:pt x="618" y="750"/>
                  </a:lnTo>
                  <a:lnTo>
                    <a:pt x="618" y="744"/>
                  </a:lnTo>
                  <a:lnTo>
                    <a:pt x="600" y="738"/>
                  </a:lnTo>
                  <a:lnTo>
                    <a:pt x="558" y="744"/>
                  </a:lnTo>
                  <a:lnTo>
                    <a:pt x="552" y="732"/>
                  </a:lnTo>
                  <a:lnTo>
                    <a:pt x="546" y="720"/>
                  </a:lnTo>
                  <a:lnTo>
                    <a:pt x="564" y="702"/>
                  </a:lnTo>
                  <a:lnTo>
                    <a:pt x="570" y="684"/>
                  </a:lnTo>
                  <a:lnTo>
                    <a:pt x="564" y="648"/>
                  </a:lnTo>
                  <a:lnTo>
                    <a:pt x="534" y="624"/>
                  </a:lnTo>
                  <a:lnTo>
                    <a:pt x="504" y="612"/>
                  </a:lnTo>
                  <a:lnTo>
                    <a:pt x="498" y="606"/>
                  </a:lnTo>
                  <a:lnTo>
                    <a:pt x="492" y="600"/>
                  </a:lnTo>
                  <a:lnTo>
                    <a:pt x="486" y="606"/>
                  </a:lnTo>
                  <a:lnTo>
                    <a:pt x="480" y="558"/>
                  </a:lnTo>
                  <a:lnTo>
                    <a:pt x="462" y="546"/>
                  </a:lnTo>
                  <a:lnTo>
                    <a:pt x="408" y="540"/>
                  </a:lnTo>
                  <a:lnTo>
                    <a:pt x="408" y="546"/>
                  </a:lnTo>
                  <a:lnTo>
                    <a:pt x="408" y="558"/>
                  </a:lnTo>
                  <a:lnTo>
                    <a:pt x="408" y="564"/>
                  </a:lnTo>
                  <a:lnTo>
                    <a:pt x="408" y="570"/>
                  </a:lnTo>
                  <a:lnTo>
                    <a:pt x="414" y="582"/>
                  </a:lnTo>
                  <a:lnTo>
                    <a:pt x="408" y="594"/>
                  </a:lnTo>
                  <a:lnTo>
                    <a:pt x="414" y="594"/>
                  </a:lnTo>
                  <a:lnTo>
                    <a:pt x="408" y="600"/>
                  </a:lnTo>
                  <a:lnTo>
                    <a:pt x="348" y="600"/>
                  </a:lnTo>
                  <a:lnTo>
                    <a:pt x="324" y="600"/>
                  </a:lnTo>
                  <a:lnTo>
                    <a:pt x="324" y="612"/>
                  </a:lnTo>
                  <a:lnTo>
                    <a:pt x="306" y="618"/>
                  </a:lnTo>
                  <a:lnTo>
                    <a:pt x="312" y="618"/>
                  </a:lnTo>
                  <a:lnTo>
                    <a:pt x="294" y="588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76"/>
                  </a:lnTo>
                  <a:lnTo>
                    <a:pt x="240" y="582"/>
                  </a:lnTo>
                  <a:lnTo>
                    <a:pt x="234" y="582"/>
                  </a:lnTo>
                  <a:lnTo>
                    <a:pt x="228" y="588"/>
                  </a:lnTo>
                  <a:lnTo>
                    <a:pt x="222" y="588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8" y="600"/>
                  </a:lnTo>
                  <a:lnTo>
                    <a:pt x="192" y="612"/>
                  </a:lnTo>
                  <a:lnTo>
                    <a:pt x="192" y="618"/>
                  </a:lnTo>
                  <a:lnTo>
                    <a:pt x="198" y="624"/>
                  </a:lnTo>
                  <a:lnTo>
                    <a:pt x="192" y="624"/>
                  </a:lnTo>
                  <a:lnTo>
                    <a:pt x="192" y="630"/>
                  </a:lnTo>
                  <a:lnTo>
                    <a:pt x="192" y="642"/>
                  </a:lnTo>
                  <a:lnTo>
                    <a:pt x="180" y="648"/>
                  </a:lnTo>
                  <a:lnTo>
                    <a:pt x="174" y="654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6"/>
                  </a:lnTo>
                  <a:lnTo>
                    <a:pt x="156" y="672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90"/>
                  </a:lnTo>
                  <a:lnTo>
                    <a:pt x="132" y="690"/>
                  </a:lnTo>
                  <a:lnTo>
                    <a:pt x="126" y="702"/>
                  </a:lnTo>
                  <a:lnTo>
                    <a:pt x="132" y="708"/>
                  </a:lnTo>
                  <a:lnTo>
                    <a:pt x="126" y="708"/>
                  </a:lnTo>
                  <a:lnTo>
                    <a:pt x="120" y="708"/>
                  </a:lnTo>
                  <a:lnTo>
                    <a:pt x="114" y="708"/>
                  </a:lnTo>
                  <a:lnTo>
                    <a:pt x="108" y="708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78" y="720"/>
                  </a:lnTo>
                  <a:lnTo>
                    <a:pt x="72" y="720"/>
                  </a:lnTo>
                  <a:lnTo>
                    <a:pt x="66" y="720"/>
                  </a:lnTo>
                  <a:lnTo>
                    <a:pt x="54" y="732"/>
                  </a:lnTo>
                  <a:lnTo>
                    <a:pt x="48" y="702"/>
                  </a:lnTo>
                  <a:lnTo>
                    <a:pt x="36" y="666"/>
                  </a:lnTo>
                  <a:lnTo>
                    <a:pt x="0" y="660"/>
                  </a:lnTo>
                  <a:lnTo>
                    <a:pt x="6" y="660"/>
                  </a:lnTo>
                  <a:lnTo>
                    <a:pt x="6" y="654"/>
                  </a:lnTo>
                  <a:lnTo>
                    <a:pt x="6" y="648"/>
                  </a:lnTo>
                  <a:lnTo>
                    <a:pt x="6" y="642"/>
                  </a:lnTo>
                  <a:lnTo>
                    <a:pt x="6" y="624"/>
                  </a:lnTo>
                  <a:lnTo>
                    <a:pt x="6" y="612"/>
                  </a:lnTo>
                  <a:lnTo>
                    <a:pt x="6" y="606"/>
                  </a:lnTo>
                  <a:lnTo>
                    <a:pt x="12" y="612"/>
                  </a:lnTo>
                  <a:lnTo>
                    <a:pt x="18" y="606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30" y="594"/>
                  </a:lnTo>
                  <a:lnTo>
                    <a:pt x="30" y="588"/>
                  </a:lnTo>
                  <a:lnTo>
                    <a:pt x="30" y="582"/>
                  </a:lnTo>
                  <a:lnTo>
                    <a:pt x="24" y="576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18" y="558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36" y="528"/>
                  </a:lnTo>
                  <a:lnTo>
                    <a:pt x="30" y="522"/>
                  </a:lnTo>
                  <a:lnTo>
                    <a:pt x="24" y="522"/>
                  </a:lnTo>
                  <a:lnTo>
                    <a:pt x="18" y="510"/>
                  </a:lnTo>
                  <a:lnTo>
                    <a:pt x="12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8" y="474"/>
                  </a:lnTo>
                  <a:lnTo>
                    <a:pt x="12" y="468"/>
                  </a:lnTo>
                  <a:lnTo>
                    <a:pt x="12" y="462"/>
                  </a:lnTo>
                  <a:lnTo>
                    <a:pt x="18" y="456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0" y="420"/>
                  </a:lnTo>
                  <a:lnTo>
                    <a:pt x="30" y="414"/>
                  </a:lnTo>
                  <a:lnTo>
                    <a:pt x="48" y="414"/>
                  </a:lnTo>
                  <a:lnTo>
                    <a:pt x="54" y="408"/>
                  </a:lnTo>
                  <a:lnTo>
                    <a:pt x="60" y="402"/>
                  </a:lnTo>
                  <a:lnTo>
                    <a:pt x="66" y="402"/>
                  </a:lnTo>
                  <a:lnTo>
                    <a:pt x="72" y="402"/>
                  </a:lnTo>
                  <a:lnTo>
                    <a:pt x="78" y="408"/>
                  </a:lnTo>
                  <a:lnTo>
                    <a:pt x="84" y="396"/>
                  </a:lnTo>
                  <a:lnTo>
                    <a:pt x="90" y="390"/>
                  </a:lnTo>
                  <a:lnTo>
                    <a:pt x="90" y="378"/>
                  </a:lnTo>
                  <a:lnTo>
                    <a:pt x="96" y="372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8" y="354"/>
                  </a:lnTo>
                  <a:lnTo>
                    <a:pt x="114" y="348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32" y="336"/>
                  </a:lnTo>
                  <a:lnTo>
                    <a:pt x="132" y="330"/>
                  </a:lnTo>
                  <a:lnTo>
                    <a:pt x="138" y="324"/>
                  </a:lnTo>
                  <a:lnTo>
                    <a:pt x="138" y="318"/>
                  </a:lnTo>
                  <a:lnTo>
                    <a:pt x="144" y="306"/>
                  </a:lnTo>
                  <a:lnTo>
                    <a:pt x="156" y="306"/>
                  </a:lnTo>
                  <a:lnTo>
                    <a:pt x="186" y="300"/>
                  </a:lnTo>
                  <a:lnTo>
                    <a:pt x="198" y="300"/>
                  </a:lnTo>
                  <a:lnTo>
                    <a:pt x="210" y="300"/>
                  </a:lnTo>
                  <a:lnTo>
                    <a:pt x="222" y="300"/>
                  </a:lnTo>
                  <a:lnTo>
                    <a:pt x="246" y="300"/>
                  </a:lnTo>
                  <a:lnTo>
                    <a:pt x="264" y="312"/>
                  </a:lnTo>
                  <a:lnTo>
                    <a:pt x="270" y="312"/>
                  </a:lnTo>
                  <a:lnTo>
                    <a:pt x="282" y="306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300" y="306"/>
                  </a:lnTo>
                  <a:lnTo>
                    <a:pt x="312" y="306"/>
                  </a:lnTo>
                  <a:lnTo>
                    <a:pt x="318" y="300"/>
                  </a:lnTo>
                  <a:lnTo>
                    <a:pt x="324" y="300"/>
                  </a:lnTo>
                  <a:lnTo>
                    <a:pt x="330" y="294"/>
                  </a:lnTo>
                  <a:lnTo>
                    <a:pt x="336" y="288"/>
                  </a:lnTo>
                  <a:lnTo>
                    <a:pt x="354" y="288"/>
                  </a:lnTo>
                  <a:lnTo>
                    <a:pt x="360" y="288"/>
                  </a:lnTo>
                  <a:lnTo>
                    <a:pt x="366" y="282"/>
                  </a:lnTo>
                  <a:lnTo>
                    <a:pt x="372" y="282"/>
                  </a:lnTo>
                  <a:lnTo>
                    <a:pt x="378" y="282"/>
                  </a:lnTo>
                  <a:lnTo>
                    <a:pt x="384" y="276"/>
                  </a:lnTo>
                  <a:lnTo>
                    <a:pt x="384" y="270"/>
                  </a:lnTo>
                  <a:lnTo>
                    <a:pt x="390" y="264"/>
                  </a:lnTo>
                  <a:lnTo>
                    <a:pt x="402" y="258"/>
                  </a:lnTo>
                  <a:lnTo>
                    <a:pt x="402" y="252"/>
                  </a:lnTo>
                  <a:lnTo>
                    <a:pt x="402" y="246"/>
                  </a:lnTo>
                  <a:lnTo>
                    <a:pt x="408" y="234"/>
                  </a:lnTo>
                  <a:lnTo>
                    <a:pt x="414" y="234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14" y="216"/>
                  </a:lnTo>
                  <a:lnTo>
                    <a:pt x="414" y="210"/>
                  </a:lnTo>
                  <a:lnTo>
                    <a:pt x="420" y="210"/>
                  </a:lnTo>
                  <a:lnTo>
                    <a:pt x="414" y="198"/>
                  </a:lnTo>
                  <a:lnTo>
                    <a:pt x="414" y="192"/>
                  </a:lnTo>
                  <a:lnTo>
                    <a:pt x="420" y="192"/>
                  </a:lnTo>
                  <a:lnTo>
                    <a:pt x="420" y="186"/>
                  </a:lnTo>
                  <a:lnTo>
                    <a:pt x="420" y="174"/>
                  </a:lnTo>
                  <a:lnTo>
                    <a:pt x="420" y="168"/>
                  </a:lnTo>
                  <a:lnTo>
                    <a:pt x="426" y="162"/>
                  </a:lnTo>
                  <a:lnTo>
                    <a:pt x="432" y="156"/>
                  </a:lnTo>
                  <a:lnTo>
                    <a:pt x="438" y="144"/>
                  </a:lnTo>
                  <a:lnTo>
                    <a:pt x="444" y="144"/>
                  </a:lnTo>
                  <a:lnTo>
                    <a:pt x="450" y="138"/>
                  </a:lnTo>
                  <a:lnTo>
                    <a:pt x="456" y="138"/>
                  </a:lnTo>
                  <a:lnTo>
                    <a:pt x="462" y="132"/>
                  </a:lnTo>
                  <a:lnTo>
                    <a:pt x="462" y="126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0"/>
                  </a:lnTo>
                  <a:lnTo>
                    <a:pt x="486" y="108"/>
                  </a:lnTo>
                  <a:lnTo>
                    <a:pt x="492" y="108"/>
                  </a:lnTo>
                  <a:lnTo>
                    <a:pt x="498" y="102"/>
                  </a:lnTo>
                  <a:lnTo>
                    <a:pt x="504" y="96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40" y="102"/>
                  </a:lnTo>
                  <a:lnTo>
                    <a:pt x="552" y="108"/>
                  </a:lnTo>
                  <a:lnTo>
                    <a:pt x="582" y="102"/>
                  </a:lnTo>
                  <a:lnTo>
                    <a:pt x="594" y="126"/>
                  </a:lnTo>
                  <a:lnTo>
                    <a:pt x="594" y="144"/>
                  </a:lnTo>
                  <a:lnTo>
                    <a:pt x="588" y="156"/>
                  </a:lnTo>
                  <a:lnTo>
                    <a:pt x="588" y="168"/>
                  </a:lnTo>
                  <a:lnTo>
                    <a:pt x="582" y="180"/>
                  </a:lnTo>
                  <a:lnTo>
                    <a:pt x="570" y="192"/>
                  </a:lnTo>
                  <a:lnTo>
                    <a:pt x="594" y="192"/>
                  </a:lnTo>
                  <a:lnTo>
                    <a:pt x="618" y="198"/>
                  </a:lnTo>
                  <a:lnTo>
                    <a:pt x="642" y="210"/>
                  </a:lnTo>
                  <a:lnTo>
                    <a:pt x="660" y="234"/>
                  </a:lnTo>
                  <a:lnTo>
                    <a:pt x="678" y="246"/>
                  </a:lnTo>
                  <a:lnTo>
                    <a:pt x="684" y="252"/>
                  </a:lnTo>
                  <a:lnTo>
                    <a:pt x="702" y="252"/>
                  </a:lnTo>
                  <a:lnTo>
                    <a:pt x="732" y="234"/>
                  </a:lnTo>
                  <a:lnTo>
                    <a:pt x="732" y="222"/>
                  </a:lnTo>
                  <a:lnTo>
                    <a:pt x="720" y="216"/>
                  </a:lnTo>
                  <a:lnTo>
                    <a:pt x="714" y="198"/>
                  </a:lnTo>
                  <a:lnTo>
                    <a:pt x="714" y="174"/>
                  </a:lnTo>
                  <a:lnTo>
                    <a:pt x="720" y="162"/>
                  </a:lnTo>
                  <a:lnTo>
                    <a:pt x="726" y="162"/>
                  </a:lnTo>
                  <a:lnTo>
                    <a:pt x="732" y="156"/>
                  </a:lnTo>
                  <a:lnTo>
                    <a:pt x="744" y="150"/>
                  </a:lnTo>
                  <a:lnTo>
                    <a:pt x="774" y="162"/>
                  </a:lnTo>
                  <a:lnTo>
                    <a:pt x="786" y="162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16" y="150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2" y="132"/>
                  </a:lnTo>
                  <a:lnTo>
                    <a:pt x="822" y="114"/>
                  </a:lnTo>
                  <a:lnTo>
                    <a:pt x="828" y="108"/>
                  </a:lnTo>
                  <a:lnTo>
                    <a:pt x="834" y="96"/>
                  </a:lnTo>
                  <a:lnTo>
                    <a:pt x="846" y="96"/>
                  </a:lnTo>
                  <a:lnTo>
                    <a:pt x="858" y="90"/>
                  </a:lnTo>
                  <a:lnTo>
                    <a:pt x="870" y="84"/>
                  </a:lnTo>
                  <a:lnTo>
                    <a:pt x="888" y="84"/>
                  </a:lnTo>
                  <a:lnTo>
                    <a:pt x="894" y="90"/>
                  </a:lnTo>
                  <a:lnTo>
                    <a:pt x="894" y="102"/>
                  </a:lnTo>
                  <a:lnTo>
                    <a:pt x="900" y="102"/>
                  </a:lnTo>
                  <a:lnTo>
                    <a:pt x="906" y="114"/>
                  </a:lnTo>
                  <a:lnTo>
                    <a:pt x="930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54" y="138"/>
                  </a:lnTo>
                  <a:lnTo>
                    <a:pt x="966" y="144"/>
                  </a:lnTo>
                  <a:lnTo>
                    <a:pt x="966" y="150"/>
                  </a:lnTo>
                  <a:lnTo>
                    <a:pt x="972" y="150"/>
                  </a:lnTo>
                  <a:lnTo>
                    <a:pt x="978" y="150"/>
                  </a:lnTo>
                  <a:lnTo>
                    <a:pt x="978" y="144"/>
                  </a:lnTo>
                  <a:lnTo>
                    <a:pt x="984" y="144"/>
                  </a:lnTo>
                  <a:lnTo>
                    <a:pt x="990" y="138"/>
                  </a:lnTo>
                  <a:lnTo>
                    <a:pt x="996" y="138"/>
                  </a:lnTo>
                  <a:lnTo>
                    <a:pt x="1002" y="138"/>
                  </a:lnTo>
                  <a:lnTo>
                    <a:pt x="1008" y="138"/>
                  </a:lnTo>
                  <a:lnTo>
                    <a:pt x="1026" y="132"/>
                  </a:lnTo>
                  <a:lnTo>
                    <a:pt x="1044" y="126"/>
                  </a:lnTo>
                  <a:lnTo>
                    <a:pt x="1056" y="120"/>
                  </a:lnTo>
                  <a:lnTo>
                    <a:pt x="1062" y="108"/>
                  </a:lnTo>
                  <a:lnTo>
                    <a:pt x="1056" y="102"/>
                  </a:lnTo>
                  <a:lnTo>
                    <a:pt x="1062" y="96"/>
                  </a:lnTo>
                  <a:lnTo>
                    <a:pt x="1074" y="90"/>
                  </a:lnTo>
                  <a:lnTo>
                    <a:pt x="1080" y="84"/>
                  </a:lnTo>
                  <a:lnTo>
                    <a:pt x="1128" y="84"/>
                  </a:lnTo>
                  <a:lnTo>
                    <a:pt x="1134" y="84"/>
                  </a:lnTo>
                  <a:lnTo>
                    <a:pt x="1140" y="78"/>
                  </a:lnTo>
                  <a:lnTo>
                    <a:pt x="1152" y="72"/>
                  </a:lnTo>
                  <a:lnTo>
                    <a:pt x="1164" y="66"/>
                  </a:lnTo>
                  <a:lnTo>
                    <a:pt x="1170" y="60"/>
                  </a:lnTo>
                  <a:lnTo>
                    <a:pt x="1188" y="48"/>
                  </a:lnTo>
                  <a:lnTo>
                    <a:pt x="1200" y="36"/>
                  </a:lnTo>
                  <a:lnTo>
                    <a:pt x="1218" y="24"/>
                  </a:lnTo>
                  <a:lnTo>
                    <a:pt x="1248" y="24"/>
                  </a:lnTo>
                  <a:lnTo>
                    <a:pt x="1272" y="24"/>
                  </a:lnTo>
                  <a:lnTo>
                    <a:pt x="1284" y="12"/>
                  </a:lnTo>
                  <a:lnTo>
                    <a:pt x="1302" y="0"/>
                  </a:lnTo>
                  <a:lnTo>
                    <a:pt x="1314" y="0"/>
                  </a:lnTo>
                  <a:lnTo>
                    <a:pt x="1326" y="18"/>
                  </a:lnTo>
                  <a:lnTo>
                    <a:pt x="1338" y="30"/>
                  </a:lnTo>
                  <a:lnTo>
                    <a:pt x="1338" y="54"/>
                  </a:lnTo>
                  <a:lnTo>
                    <a:pt x="1332" y="72"/>
                  </a:lnTo>
                  <a:lnTo>
                    <a:pt x="1326" y="72"/>
                  </a:lnTo>
                  <a:lnTo>
                    <a:pt x="1326" y="78"/>
                  </a:lnTo>
                  <a:lnTo>
                    <a:pt x="1326" y="102"/>
                  </a:lnTo>
                  <a:lnTo>
                    <a:pt x="1332" y="102"/>
                  </a:lnTo>
                  <a:lnTo>
                    <a:pt x="1332" y="108"/>
                  </a:lnTo>
                  <a:lnTo>
                    <a:pt x="1344" y="114"/>
                  </a:lnTo>
                  <a:lnTo>
                    <a:pt x="1350" y="114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404" y="132"/>
                  </a:lnTo>
                  <a:lnTo>
                    <a:pt x="1404" y="138"/>
                  </a:lnTo>
                  <a:lnTo>
                    <a:pt x="1410" y="150"/>
                  </a:lnTo>
                  <a:lnTo>
                    <a:pt x="1416" y="162"/>
                  </a:lnTo>
                  <a:lnTo>
                    <a:pt x="1428" y="168"/>
                  </a:lnTo>
                  <a:lnTo>
                    <a:pt x="1440" y="180"/>
                  </a:lnTo>
                  <a:lnTo>
                    <a:pt x="1476" y="174"/>
                  </a:lnTo>
                  <a:lnTo>
                    <a:pt x="1494" y="174"/>
                  </a:lnTo>
                  <a:lnTo>
                    <a:pt x="1512" y="192"/>
                  </a:lnTo>
                  <a:lnTo>
                    <a:pt x="1518" y="204"/>
                  </a:lnTo>
                  <a:lnTo>
                    <a:pt x="1530" y="216"/>
                  </a:lnTo>
                  <a:lnTo>
                    <a:pt x="1548" y="228"/>
                  </a:lnTo>
                  <a:lnTo>
                    <a:pt x="1548" y="234"/>
                  </a:lnTo>
                  <a:lnTo>
                    <a:pt x="1542" y="246"/>
                  </a:lnTo>
                  <a:lnTo>
                    <a:pt x="1560" y="246"/>
                  </a:lnTo>
                  <a:lnTo>
                    <a:pt x="1560" y="252"/>
                  </a:lnTo>
                  <a:lnTo>
                    <a:pt x="1566" y="258"/>
                  </a:lnTo>
                  <a:lnTo>
                    <a:pt x="1578" y="270"/>
                  </a:lnTo>
                  <a:lnTo>
                    <a:pt x="1596" y="270"/>
                  </a:lnTo>
                  <a:lnTo>
                    <a:pt x="1602" y="288"/>
                  </a:lnTo>
                  <a:lnTo>
                    <a:pt x="1608" y="306"/>
                  </a:lnTo>
                  <a:lnTo>
                    <a:pt x="1608" y="318"/>
                  </a:lnTo>
                  <a:lnTo>
                    <a:pt x="1608" y="324"/>
                  </a:lnTo>
                  <a:lnTo>
                    <a:pt x="1614" y="330"/>
                  </a:lnTo>
                  <a:lnTo>
                    <a:pt x="1614" y="336"/>
                  </a:lnTo>
                  <a:lnTo>
                    <a:pt x="1614" y="342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08" y="390"/>
                  </a:lnTo>
                  <a:lnTo>
                    <a:pt x="1602" y="390"/>
                  </a:lnTo>
                  <a:lnTo>
                    <a:pt x="1602" y="396"/>
                  </a:lnTo>
                  <a:lnTo>
                    <a:pt x="1584" y="420"/>
                  </a:lnTo>
                  <a:lnTo>
                    <a:pt x="1584" y="426"/>
                  </a:lnTo>
                  <a:lnTo>
                    <a:pt x="1602" y="474"/>
                  </a:lnTo>
                  <a:lnTo>
                    <a:pt x="1608" y="480"/>
                  </a:lnTo>
                  <a:lnTo>
                    <a:pt x="1608" y="486"/>
                  </a:lnTo>
                  <a:lnTo>
                    <a:pt x="1614" y="486"/>
                  </a:lnTo>
                  <a:lnTo>
                    <a:pt x="1608" y="504"/>
                  </a:lnTo>
                  <a:lnTo>
                    <a:pt x="1572" y="504"/>
                  </a:lnTo>
                  <a:lnTo>
                    <a:pt x="1560" y="510"/>
                  </a:lnTo>
                  <a:lnTo>
                    <a:pt x="1554" y="522"/>
                  </a:lnTo>
                  <a:lnTo>
                    <a:pt x="1560" y="552"/>
                  </a:lnTo>
                  <a:lnTo>
                    <a:pt x="1566" y="552"/>
                  </a:lnTo>
                  <a:lnTo>
                    <a:pt x="1566" y="558"/>
                  </a:lnTo>
                  <a:lnTo>
                    <a:pt x="1572" y="558"/>
                  </a:lnTo>
                  <a:lnTo>
                    <a:pt x="1578" y="558"/>
                  </a:lnTo>
                  <a:lnTo>
                    <a:pt x="1578" y="552"/>
                  </a:lnTo>
                  <a:lnTo>
                    <a:pt x="1584" y="552"/>
                  </a:lnTo>
                  <a:lnTo>
                    <a:pt x="1590" y="552"/>
                  </a:lnTo>
                  <a:lnTo>
                    <a:pt x="1590" y="546"/>
                  </a:lnTo>
                  <a:lnTo>
                    <a:pt x="1596" y="546"/>
                  </a:lnTo>
                  <a:lnTo>
                    <a:pt x="1602" y="552"/>
                  </a:lnTo>
                  <a:lnTo>
                    <a:pt x="1602" y="546"/>
                  </a:lnTo>
                  <a:lnTo>
                    <a:pt x="1608" y="546"/>
                  </a:lnTo>
                  <a:lnTo>
                    <a:pt x="1608" y="552"/>
                  </a:lnTo>
                  <a:lnTo>
                    <a:pt x="1614" y="552"/>
                  </a:lnTo>
                  <a:lnTo>
                    <a:pt x="1614" y="546"/>
                  </a:lnTo>
                  <a:lnTo>
                    <a:pt x="1620" y="552"/>
                  </a:lnTo>
                  <a:lnTo>
                    <a:pt x="1626" y="552"/>
                  </a:lnTo>
                  <a:lnTo>
                    <a:pt x="1626" y="558"/>
                  </a:lnTo>
                  <a:lnTo>
                    <a:pt x="1632" y="558"/>
                  </a:lnTo>
                  <a:lnTo>
                    <a:pt x="1638" y="558"/>
                  </a:lnTo>
                  <a:lnTo>
                    <a:pt x="1644" y="558"/>
                  </a:lnTo>
                  <a:lnTo>
                    <a:pt x="1650" y="558"/>
                  </a:lnTo>
                  <a:lnTo>
                    <a:pt x="1650" y="564"/>
                  </a:lnTo>
                  <a:lnTo>
                    <a:pt x="1656" y="564"/>
                  </a:lnTo>
                  <a:lnTo>
                    <a:pt x="1662" y="564"/>
                  </a:lnTo>
                  <a:lnTo>
                    <a:pt x="1668" y="564"/>
                  </a:lnTo>
                  <a:lnTo>
                    <a:pt x="1668" y="570"/>
                  </a:lnTo>
                  <a:lnTo>
                    <a:pt x="1674" y="570"/>
                  </a:lnTo>
                  <a:lnTo>
                    <a:pt x="1680" y="570"/>
                  </a:lnTo>
                  <a:lnTo>
                    <a:pt x="1686" y="576"/>
                  </a:lnTo>
                  <a:lnTo>
                    <a:pt x="1686" y="582"/>
                  </a:lnTo>
                  <a:lnTo>
                    <a:pt x="1710" y="588"/>
                  </a:lnTo>
                  <a:lnTo>
                    <a:pt x="1710" y="594"/>
                  </a:lnTo>
                  <a:lnTo>
                    <a:pt x="1704" y="600"/>
                  </a:lnTo>
                  <a:lnTo>
                    <a:pt x="1710" y="624"/>
                  </a:lnTo>
                  <a:lnTo>
                    <a:pt x="1698" y="672"/>
                  </a:lnTo>
                  <a:lnTo>
                    <a:pt x="1704" y="678"/>
                  </a:lnTo>
                  <a:lnTo>
                    <a:pt x="1716" y="684"/>
                  </a:lnTo>
                  <a:lnTo>
                    <a:pt x="1716" y="678"/>
                  </a:lnTo>
                  <a:lnTo>
                    <a:pt x="1716" y="684"/>
                  </a:lnTo>
                  <a:lnTo>
                    <a:pt x="1728" y="684"/>
                  </a:lnTo>
                  <a:lnTo>
                    <a:pt x="1728" y="690"/>
                  </a:lnTo>
                  <a:lnTo>
                    <a:pt x="1734" y="696"/>
                  </a:lnTo>
                  <a:lnTo>
                    <a:pt x="1734" y="702"/>
                  </a:lnTo>
                  <a:lnTo>
                    <a:pt x="1740" y="708"/>
                  </a:lnTo>
                  <a:lnTo>
                    <a:pt x="1740" y="714"/>
                  </a:lnTo>
                  <a:lnTo>
                    <a:pt x="1710" y="714"/>
                  </a:lnTo>
                  <a:lnTo>
                    <a:pt x="1710" y="756"/>
                  </a:lnTo>
                  <a:lnTo>
                    <a:pt x="1704" y="762"/>
                  </a:lnTo>
                  <a:lnTo>
                    <a:pt x="1698" y="762"/>
                  </a:lnTo>
                  <a:lnTo>
                    <a:pt x="1698" y="768"/>
                  </a:lnTo>
                  <a:lnTo>
                    <a:pt x="1698" y="774"/>
                  </a:lnTo>
                  <a:lnTo>
                    <a:pt x="1692" y="780"/>
                  </a:lnTo>
                  <a:lnTo>
                    <a:pt x="1692" y="786"/>
                  </a:lnTo>
                  <a:lnTo>
                    <a:pt x="1686" y="786"/>
                  </a:lnTo>
                  <a:lnTo>
                    <a:pt x="1668" y="798"/>
                  </a:lnTo>
                  <a:lnTo>
                    <a:pt x="1662" y="810"/>
                  </a:lnTo>
                  <a:lnTo>
                    <a:pt x="1650" y="810"/>
                  </a:lnTo>
                  <a:lnTo>
                    <a:pt x="1644" y="816"/>
                  </a:lnTo>
                  <a:lnTo>
                    <a:pt x="1638" y="816"/>
                  </a:lnTo>
                  <a:lnTo>
                    <a:pt x="1626" y="852"/>
                  </a:lnTo>
                  <a:lnTo>
                    <a:pt x="1620" y="888"/>
                  </a:lnTo>
                  <a:lnTo>
                    <a:pt x="1626" y="888"/>
                  </a:lnTo>
                  <a:lnTo>
                    <a:pt x="1638" y="912"/>
                  </a:lnTo>
                  <a:lnTo>
                    <a:pt x="1644" y="918"/>
                  </a:lnTo>
                  <a:lnTo>
                    <a:pt x="1650" y="966"/>
                  </a:lnTo>
                  <a:lnTo>
                    <a:pt x="1626" y="972"/>
                  </a:lnTo>
                  <a:lnTo>
                    <a:pt x="1608" y="978"/>
                  </a:lnTo>
                  <a:lnTo>
                    <a:pt x="1614" y="984"/>
                  </a:lnTo>
                  <a:lnTo>
                    <a:pt x="1620" y="984"/>
                  </a:lnTo>
                  <a:lnTo>
                    <a:pt x="1620" y="1020"/>
                  </a:lnTo>
                  <a:lnTo>
                    <a:pt x="1614" y="1038"/>
                  </a:lnTo>
                  <a:lnTo>
                    <a:pt x="1620" y="1044"/>
                  </a:lnTo>
                  <a:lnTo>
                    <a:pt x="1626" y="1056"/>
                  </a:lnTo>
                  <a:lnTo>
                    <a:pt x="1626" y="1074"/>
                  </a:lnTo>
                  <a:lnTo>
                    <a:pt x="1620" y="1080"/>
                  </a:lnTo>
                  <a:lnTo>
                    <a:pt x="1620" y="1104"/>
                  </a:lnTo>
                  <a:lnTo>
                    <a:pt x="1620" y="1110"/>
                  </a:lnTo>
                  <a:lnTo>
                    <a:pt x="1614" y="1116"/>
                  </a:lnTo>
                  <a:lnTo>
                    <a:pt x="1608" y="1140"/>
                  </a:lnTo>
                  <a:lnTo>
                    <a:pt x="1602" y="1146"/>
                  </a:lnTo>
                  <a:lnTo>
                    <a:pt x="1602" y="1164"/>
                  </a:lnTo>
                  <a:lnTo>
                    <a:pt x="1596" y="1170"/>
                  </a:lnTo>
                  <a:lnTo>
                    <a:pt x="1590" y="1164"/>
                  </a:lnTo>
                  <a:lnTo>
                    <a:pt x="1584" y="1164"/>
                  </a:lnTo>
                  <a:lnTo>
                    <a:pt x="1578" y="1164"/>
                  </a:lnTo>
                  <a:lnTo>
                    <a:pt x="1578" y="1188"/>
                  </a:lnTo>
                  <a:lnTo>
                    <a:pt x="1584" y="1194"/>
                  </a:lnTo>
                  <a:lnTo>
                    <a:pt x="1590" y="1194"/>
                  </a:lnTo>
                  <a:lnTo>
                    <a:pt x="1590" y="1212"/>
                  </a:lnTo>
                  <a:lnTo>
                    <a:pt x="1584" y="1212"/>
                  </a:lnTo>
                  <a:lnTo>
                    <a:pt x="1584" y="1224"/>
                  </a:lnTo>
                  <a:lnTo>
                    <a:pt x="1578" y="1224"/>
                  </a:lnTo>
                  <a:lnTo>
                    <a:pt x="1578" y="1236"/>
                  </a:lnTo>
                  <a:lnTo>
                    <a:pt x="1584" y="1254"/>
                  </a:lnTo>
                  <a:lnTo>
                    <a:pt x="1584" y="1260"/>
                  </a:lnTo>
                  <a:lnTo>
                    <a:pt x="1590" y="1260"/>
                  </a:lnTo>
                  <a:lnTo>
                    <a:pt x="1590" y="1266"/>
                  </a:lnTo>
                  <a:lnTo>
                    <a:pt x="1596" y="1284"/>
                  </a:lnTo>
                  <a:lnTo>
                    <a:pt x="1602" y="1278"/>
                  </a:lnTo>
                  <a:lnTo>
                    <a:pt x="1608" y="1284"/>
                  </a:lnTo>
                  <a:lnTo>
                    <a:pt x="1632" y="1350"/>
                  </a:lnTo>
                  <a:lnTo>
                    <a:pt x="1638" y="1356"/>
                  </a:lnTo>
                  <a:lnTo>
                    <a:pt x="1644" y="1356"/>
                  </a:lnTo>
                  <a:lnTo>
                    <a:pt x="1650" y="1356"/>
                  </a:lnTo>
                  <a:lnTo>
                    <a:pt x="1656" y="1356"/>
                  </a:lnTo>
                  <a:lnTo>
                    <a:pt x="1662" y="1362"/>
                  </a:lnTo>
                  <a:lnTo>
                    <a:pt x="1668" y="1356"/>
                  </a:lnTo>
                  <a:lnTo>
                    <a:pt x="1668" y="1380"/>
                  </a:lnTo>
                  <a:lnTo>
                    <a:pt x="1662" y="1392"/>
                  </a:lnTo>
                  <a:lnTo>
                    <a:pt x="1656" y="1404"/>
                  </a:lnTo>
                  <a:lnTo>
                    <a:pt x="1656" y="1410"/>
                  </a:lnTo>
                  <a:lnTo>
                    <a:pt x="1656" y="1416"/>
                  </a:lnTo>
                  <a:lnTo>
                    <a:pt x="1650" y="1422"/>
                  </a:lnTo>
                  <a:lnTo>
                    <a:pt x="1650" y="1428"/>
                  </a:lnTo>
                  <a:lnTo>
                    <a:pt x="1644" y="1428"/>
                  </a:lnTo>
                  <a:lnTo>
                    <a:pt x="1644" y="1434"/>
                  </a:lnTo>
                  <a:lnTo>
                    <a:pt x="1638" y="1434"/>
                  </a:lnTo>
                  <a:lnTo>
                    <a:pt x="1638" y="1440"/>
                  </a:lnTo>
                  <a:lnTo>
                    <a:pt x="1632" y="1440"/>
                  </a:lnTo>
                  <a:lnTo>
                    <a:pt x="1638" y="1458"/>
                  </a:lnTo>
                  <a:close/>
                </a:path>
              </a:pathLst>
            </a:custGeom>
            <a:solidFill>
              <a:srgbClr val="2A4F1D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8" name="Freeform 13">
              <a:extLst>
                <a:ext uri="{FF2B5EF4-FFF2-40B4-BE49-F238E27FC236}">
                  <a16:creationId xmlns:a16="http://schemas.microsoft.com/office/drawing/2014/main" id="{66308D9B-1739-4227-AAC3-BB866CD1F5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63374" y="2969626"/>
              <a:ext cx="330956" cy="357840"/>
            </a:xfrm>
            <a:custGeom>
              <a:avLst/>
              <a:gdLst>
                <a:gd name="T0" fmla="*/ 11 w 624"/>
                <a:gd name="T1" fmla="*/ 59 h 672"/>
                <a:gd name="T2" fmla="*/ 4 w 624"/>
                <a:gd name="T3" fmla="*/ 58 h 672"/>
                <a:gd name="T4" fmla="*/ 3 w 624"/>
                <a:gd name="T5" fmla="*/ 58 h 672"/>
                <a:gd name="T6" fmla="*/ 2 w 624"/>
                <a:gd name="T7" fmla="*/ 11 h 672"/>
                <a:gd name="T8" fmla="*/ 13 w 624"/>
                <a:gd name="T9" fmla="*/ 11 h 672"/>
                <a:gd name="T10" fmla="*/ 14 w 624"/>
                <a:gd name="T11" fmla="*/ 11 h 672"/>
                <a:gd name="T12" fmla="*/ 15 w 624"/>
                <a:gd name="T13" fmla="*/ 12 h 672"/>
                <a:gd name="T14" fmla="*/ 18 w 624"/>
                <a:gd name="T15" fmla="*/ 14 h 672"/>
                <a:gd name="T16" fmla="*/ 21 w 624"/>
                <a:gd name="T17" fmla="*/ 16 h 672"/>
                <a:gd name="T18" fmla="*/ 22 w 624"/>
                <a:gd name="T19" fmla="*/ 18 h 672"/>
                <a:gd name="T20" fmla="*/ 23 w 624"/>
                <a:gd name="T21" fmla="*/ 19 h 672"/>
                <a:gd name="T22" fmla="*/ 24 w 624"/>
                <a:gd name="T23" fmla="*/ 19 h 672"/>
                <a:gd name="T24" fmla="*/ 26 w 624"/>
                <a:gd name="T25" fmla="*/ 19 h 672"/>
                <a:gd name="T26" fmla="*/ 27 w 624"/>
                <a:gd name="T27" fmla="*/ 18 h 672"/>
                <a:gd name="T28" fmla="*/ 29 w 624"/>
                <a:gd name="T29" fmla="*/ 15 h 672"/>
                <a:gd name="T30" fmla="*/ 30 w 624"/>
                <a:gd name="T31" fmla="*/ 14 h 672"/>
                <a:gd name="T32" fmla="*/ 31 w 624"/>
                <a:gd name="T33" fmla="*/ 12 h 672"/>
                <a:gd name="T34" fmla="*/ 32 w 624"/>
                <a:gd name="T35" fmla="*/ 12 h 672"/>
                <a:gd name="T36" fmla="*/ 33 w 624"/>
                <a:gd name="T37" fmla="*/ 10 h 672"/>
                <a:gd name="T38" fmla="*/ 34 w 624"/>
                <a:gd name="T39" fmla="*/ 8 h 672"/>
                <a:gd name="T40" fmla="*/ 34 w 624"/>
                <a:gd name="T41" fmla="*/ 6 h 672"/>
                <a:gd name="T42" fmla="*/ 35 w 624"/>
                <a:gd name="T43" fmla="*/ 4 h 672"/>
                <a:gd name="T44" fmla="*/ 42 w 624"/>
                <a:gd name="T45" fmla="*/ 3 h 672"/>
                <a:gd name="T46" fmla="*/ 44 w 624"/>
                <a:gd name="T47" fmla="*/ 2 h 672"/>
                <a:gd name="T48" fmla="*/ 46 w 624"/>
                <a:gd name="T49" fmla="*/ 0 h 672"/>
                <a:gd name="T50" fmla="*/ 51 w 624"/>
                <a:gd name="T51" fmla="*/ 3 h 672"/>
                <a:gd name="T52" fmla="*/ 54 w 624"/>
                <a:gd name="T53" fmla="*/ 6 h 672"/>
                <a:gd name="T54" fmla="*/ 54 w 624"/>
                <a:gd name="T55" fmla="*/ 8 h 672"/>
                <a:gd name="T56" fmla="*/ 52 w 624"/>
                <a:gd name="T57" fmla="*/ 9 h 672"/>
                <a:gd name="T58" fmla="*/ 49 w 624"/>
                <a:gd name="T59" fmla="*/ 11 h 672"/>
                <a:gd name="T60" fmla="*/ 48 w 624"/>
                <a:gd name="T61" fmla="*/ 14 h 672"/>
                <a:gd name="T62" fmla="*/ 46 w 624"/>
                <a:gd name="T63" fmla="*/ 22 h 672"/>
                <a:gd name="T64" fmla="*/ 45 w 624"/>
                <a:gd name="T65" fmla="*/ 39 h 672"/>
                <a:gd name="T66" fmla="*/ 43 w 624"/>
                <a:gd name="T67" fmla="*/ 43 h 672"/>
                <a:gd name="T68" fmla="*/ 39 w 624"/>
                <a:gd name="T69" fmla="*/ 50 h 672"/>
                <a:gd name="T70" fmla="*/ 36 w 624"/>
                <a:gd name="T71" fmla="*/ 53 h 672"/>
                <a:gd name="T72" fmla="*/ 32 w 624"/>
                <a:gd name="T73" fmla="*/ 56 h 672"/>
                <a:gd name="T74" fmla="*/ 30 w 624"/>
                <a:gd name="T75" fmla="*/ 58 h 672"/>
                <a:gd name="T76" fmla="*/ 20 w 624"/>
                <a:gd name="T77" fmla="*/ 59 h 672"/>
                <a:gd name="T78" fmla="*/ 15 w 624"/>
                <a:gd name="T79" fmla="*/ 59 h 67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24"/>
                <a:gd name="T121" fmla="*/ 0 h 672"/>
                <a:gd name="T122" fmla="*/ 624 w 624"/>
                <a:gd name="T123" fmla="*/ 672 h 67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24" h="672">
                  <a:moveTo>
                    <a:pt x="168" y="672"/>
                  </a:moveTo>
                  <a:lnTo>
                    <a:pt x="132" y="672"/>
                  </a:lnTo>
                  <a:lnTo>
                    <a:pt x="72" y="666"/>
                  </a:lnTo>
                  <a:lnTo>
                    <a:pt x="42" y="666"/>
                  </a:lnTo>
                  <a:lnTo>
                    <a:pt x="36" y="666"/>
                  </a:lnTo>
                  <a:lnTo>
                    <a:pt x="30" y="660"/>
                  </a:lnTo>
                  <a:lnTo>
                    <a:pt x="0" y="660"/>
                  </a:lnTo>
                  <a:lnTo>
                    <a:pt x="24" y="120"/>
                  </a:lnTo>
                  <a:lnTo>
                    <a:pt x="60" y="120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62" y="120"/>
                  </a:lnTo>
                  <a:lnTo>
                    <a:pt x="168" y="120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10" y="156"/>
                  </a:lnTo>
                  <a:lnTo>
                    <a:pt x="222" y="174"/>
                  </a:lnTo>
                  <a:lnTo>
                    <a:pt x="240" y="186"/>
                  </a:lnTo>
                  <a:lnTo>
                    <a:pt x="252" y="198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216"/>
                  </a:lnTo>
                  <a:lnTo>
                    <a:pt x="270" y="216"/>
                  </a:lnTo>
                  <a:lnTo>
                    <a:pt x="282" y="222"/>
                  </a:lnTo>
                  <a:lnTo>
                    <a:pt x="288" y="222"/>
                  </a:lnTo>
                  <a:lnTo>
                    <a:pt x="294" y="216"/>
                  </a:lnTo>
                  <a:lnTo>
                    <a:pt x="294" y="210"/>
                  </a:lnTo>
                  <a:lnTo>
                    <a:pt x="312" y="204"/>
                  </a:lnTo>
                  <a:lnTo>
                    <a:pt x="330" y="186"/>
                  </a:lnTo>
                  <a:lnTo>
                    <a:pt x="336" y="174"/>
                  </a:lnTo>
                  <a:lnTo>
                    <a:pt x="342" y="162"/>
                  </a:lnTo>
                  <a:lnTo>
                    <a:pt x="342" y="156"/>
                  </a:lnTo>
                  <a:lnTo>
                    <a:pt x="348" y="150"/>
                  </a:lnTo>
                  <a:lnTo>
                    <a:pt x="354" y="144"/>
                  </a:lnTo>
                  <a:lnTo>
                    <a:pt x="360" y="138"/>
                  </a:lnTo>
                  <a:lnTo>
                    <a:pt x="366" y="132"/>
                  </a:lnTo>
                  <a:lnTo>
                    <a:pt x="372" y="114"/>
                  </a:lnTo>
                  <a:lnTo>
                    <a:pt x="378" y="114"/>
                  </a:lnTo>
                  <a:lnTo>
                    <a:pt x="378" y="96"/>
                  </a:lnTo>
                  <a:lnTo>
                    <a:pt x="390" y="96"/>
                  </a:lnTo>
                  <a:lnTo>
                    <a:pt x="396" y="84"/>
                  </a:lnTo>
                  <a:lnTo>
                    <a:pt x="396" y="72"/>
                  </a:lnTo>
                  <a:lnTo>
                    <a:pt x="396" y="54"/>
                  </a:lnTo>
                  <a:lnTo>
                    <a:pt x="408" y="42"/>
                  </a:lnTo>
                  <a:lnTo>
                    <a:pt x="468" y="42"/>
                  </a:lnTo>
                  <a:lnTo>
                    <a:pt x="486" y="36"/>
                  </a:lnTo>
                  <a:lnTo>
                    <a:pt x="492" y="24"/>
                  </a:lnTo>
                  <a:lnTo>
                    <a:pt x="504" y="24"/>
                  </a:lnTo>
                  <a:lnTo>
                    <a:pt x="516" y="6"/>
                  </a:lnTo>
                  <a:lnTo>
                    <a:pt x="528" y="0"/>
                  </a:lnTo>
                  <a:lnTo>
                    <a:pt x="558" y="12"/>
                  </a:lnTo>
                  <a:lnTo>
                    <a:pt x="588" y="36"/>
                  </a:lnTo>
                  <a:lnTo>
                    <a:pt x="600" y="66"/>
                  </a:lnTo>
                  <a:lnTo>
                    <a:pt x="624" y="66"/>
                  </a:lnTo>
                  <a:lnTo>
                    <a:pt x="624" y="90"/>
                  </a:lnTo>
                  <a:lnTo>
                    <a:pt x="618" y="90"/>
                  </a:lnTo>
                  <a:lnTo>
                    <a:pt x="618" y="96"/>
                  </a:lnTo>
                  <a:lnTo>
                    <a:pt x="600" y="102"/>
                  </a:lnTo>
                  <a:lnTo>
                    <a:pt x="588" y="108"/>
                  </a:lnTo>
                  <a:lnTo>
                    <a:pt x="570" y="120"/>
                  </a:lnTo>
                  <a:lnTo>
                    <a:pt x="564" y="138"/>
                  </a:lnTo>
                  <a:lnTo>
                    <a:pt x="558" y="162"/>
                  </a:lnTo>
                  <a:lnTo>
                    <a:pt x="540" y="210"/>
                  </a:lnTo>
                  <a:lnTo>
                    <a:pt x="528" y="252"/>
                  </a:lnTo>
                  <a:lnTo>
                    <a:pt x="528" y="402"/>
                  </a:lnTo>
                  <a:lnTo>
                    <a:pt x="522" y="444"/>
                  </a:lnTo>
                  <a:lnTo>
                    <a:pt x="510" y="468"/>
                  </a:lnTo>
                  <a:lnTo>
                    <a:pt x="498" y="498"/>
                  </a:lnTo>
                  <a:lnTo>
                    <a:pt x="474" y="534"/>
                  </a:lnTo>
                  <a:lnTo>
                    <a:pt x="456" y="570"/>
                  </a:lnTo>
                  <a:lnTo>
                    <a:pt x="444" y="576"/>
                  </a:lnTo>
                  <a:lnTo>
                    <a:pt x="420" y="606"/>
                  </a:lnTo>
                  <a:lnTo>
                    <a:pt x="390" y="624"/>
                  </a:lnTo>
                  <a:lnTo>
                    <a:pt x="372" y="642"/>
                  </a:lnTo>
                  <a:lnTo>
                    <a:pt x="366" y="654"/>
                  </a:lnTo>
                  <a:lnTo>
                    <a:pt x="342" y="660"/>
                  </a:lnTo>
                  <a:lnTo>
                    <a:pt x="300" y="666"/>
                  </a:lnTo>
                  <a:lnTo>
                    <a:pt x="234" y="672"/>
                  </a:lnTo>
                  <a:lnTo>
                    <a:pt x="192" y="672"/>
                  </a:lnTo>
                  <a:lnTo>
                    <a:pt x="168" y="67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9" name="Freeform 14">
              <a:extLst>
                <a:ext uri="{FF2B5EF4-FFF2-40B4-BE49-F238E27FC236}">
                  <a16:creationId xmlns:a16="http://schemas.microsoft.com/office/drawing/2014/main" id="{2EA1E999-9CDF-4391-8BC9-7DE71AF9C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0460" y="2983045"/>
              <a:ext cx="905658" cy="561362"/>
            </a:xfrm>
            <a:custGeom>
              <a:avLst/>
              <a:gdLst>
                <a:gd name="T0" fmla="*/ 31 w 1704"/>
                <a:gd name="T1" fmla="*/ 78 h 1056"/>
                <a:gd name="T2" fmla="*/ 23 w 1704"/>
                <a:gd name="T3" fmla="*/ 78 h 1056"/>
                <a:gd name="T4" fmla="*/ 11 w 1704"/>
                <a:gd name="T5" fmla="*/ 79 h 1056"/>
                <a:gd name="T6" fmla="*/ 1 w 1704"/>
                <a:gd name="T7" fmla="*/ 81 h 1056"/>
                <a:gd name="T8" fmla="*/ 0 w 1704"/>
                <a:gd name="T9" fmla="*/ 62 h 1056"/>
                <a:gd name="T10" fmla="*/ 9 w 1704"/>
                <a:gd name="T11" fmla="*/ 56 h 1056"/>
                <a:gd name="T12" fmla="*/ 27 w 1704"/>
                <a:gd name="T13" fmla="*/ 48 h 1056"/>
                <a:gd name="T14" fmla="*/ 35 w 1704"/>
                <a:gd name="T15" fmla="*/ 20 h 1056"/>
                <a:gd name="T16" fmla="*/ 43 w 1704"/>
                <a:gd name="T17" fmla="*/ 6 h 1056"/>
                <a:gd name="T18" fmla="*/ 47 w 1704"/>
                <a:gd name="T19" fmla="*/ 7 h 1056"/>
                <a:gd name="T20" fmla="*/ 52 w 1704"/>
                <a:gd name="T21" fmla="*/ 0 h 1056"/>
                <a:gd name="T22" fmla="*/ 59 w 1704"/>
                <a:gd name="T23" fmla="*/ 5 h 1056"/>
                <a:gd name="T24" fmla="*/ 63 w 1704"/>
                <a:gd name="T25" fmla="*/ 12 h 1056"/>
                <a:gd name="T26" fmla="*/ 62 w 1704"/>
                <a:gd name="T27" fmla="*/ 15 h 1056"/>
                <a:gd name="T28" fmla="*/ 62 w 1704"/>
                <a:gd name="T29" fmla="*/ 18 h 1056"/>
                <a:gd name="T30" fmla="*/ 70 w 1704"/>
                <a:gd name="T31" fmla="*/ 18 h 1056"/>
                <a:gd name="T32" fmla="*/ 71 w 1704"/>
                <a:gd name="T33" fmla="*/ 14 h 1056"/>
                <a:gd name="T34" fmla="*/ 72 w 1704"/>
                <a:gd name="T35" fmla="*/ 12 h 1056"/>
                <a:gd name="T36" fmla="*/ 78 w 1704"/>
                <a:gd name="T37" fmla="*/ 14 h 1056"/>
                <a:gd name="T38" fmla="*/ 85 w 1704"/>
                <a:gd name="T39" fmla="*/ 21 h 1056"/>
                <a:gd name="T40" fmla="*/ 91 w 1704"/>
                <a:gd name="T41" fmla="*/ 15 h 1056"/>
                <a:gd name="T42" fmla="*/ 93 w 1704"/>
                <a:gd name="T43" fmla="*/ 10 h 1056"/>
                <a:gd name="T44" fmla="*/ 101 w 1704"/>
                <a:gd name="T45" fmla="*/ 14 h 1056"/>
                <a:gd name="T46" fmla="*/ 103 w 1704"/>
                <a:gd name="T47" fmla="*/ 19 h 1056"/>
                <a:gd name="T48" fmla="*/ 115 w 1704"/>
                <a:gd name="T49" fmla="*/ 20 h 1056"/>
                <a:gd name="T50" fmla="*/ 118 w 1704"/>
                <a:gd name="T51" fmla="*/ 23 h 1056"/>
                <a:gd name="T52" fmla="*/ 117 w 1704"/>
                <a:gd name="T53" fmla="*/ 27 h 1056"/>
                <a:gd name="T54" fmla="*/ 111 w 1704"/>
                <a:gd name="T55" fmla="*/ 33 h 1056"/>
                <a:gd name="T56" fmla="*/ 108 w 1704"/>
                <a:gd name="T57" fmla="*/ 36 h 1056"/>
                <a:gd name="T58" fmla="*/ 109 w 1704"/>
                <a:gd name="T59" fmla="*/ 40 h 1056"/>
                <a:gd name="T60" fmla="*/ 111 w 1704"/>
                <a:gd name="T61" fmla="*/ 43 h 1056"/>
                <a:gd name="T62" fmla="*/ 113 w 1704"/>
                <a:gd name="T63" fmla="*/ 50 h 1056"/>
                <a:gd name="T64" fmla="*/ 121 w 1704"/>
                <a:gd name="T65" fmla="*/ 55 h 1056"/>
                <a:gd name="T66" fmla="*/ 132 w 1704"/>
                <a:gd name="T67" fmla="*/ 52 h 1056"/>
                <a:gd name="T68" fmla="*/ 148 w 1704"/>
                <a:gd name="T69" fmla="*/ 58 h 1056"/>
                <a:gd name="T70" fmla="*/ 148 w 1704"/>
                <a:gd name="T71" fmla="*/ 61 h 1056"/>
                <a:gd name="T72" fmla="*/ 148 w 1704"/>
                <a:gd name="T73" fmla="*/ 64 h 1056"/>
                <a:gd name="T74" fmla="*/ 135 w 1704"/>
                <a:gd name="T75" fmla="*/ 61 h 1056"/>
                <a:gd name="T76" fmla="*/ 135 w 1704"/>
                <a:gd name="T77" fmla="*/ 66 h 1056"/>
                <a:gd name="T78" fmla="*/ 137 w 1704"/>
                <a:gd name="T79" fmla="*/ 71 h 1056"/>
                <a:gd name="T80" fmla="*/ 136 w 1704"/>
                <a:gd name="T81" fmla="*/ 79 h 1056"/>
                <a:gd name="T82" fmla="*/ 126 w 1704"/>
                <a:gd name="T83" fmla="*/ 84 h 1056"/>
                <a:gd name="T84" fmla="*/ 121 w 1704"/>
                <a:gd name="T85" fmla="*/ 79 h 1056"/>
                <a:gd name="T86" fmla="*/ 117 w 1704"/>
                <a:gd name="T87" fmla="*/ 75 h 1056"/>
                <a:gd name="T88" fmla="*/ 98 w 1704"/>
                <a:gd name="T89" fmla="*/ 74 h 1056"/>
                <a:gd name="T90" fmla="*/ 81 w 1704"/>
                <a:gd name="T91" fmla="*/ 75 h 1056"/>
                <a:gd name="T92" fmla="*/ 83 w 1704"/>
                <a:gd name="T93" fmla="*/ 88 h 1056"/>
                <a:gd name="T94" fmla="*/ 82 w 1704"/>
                <a:gd name="T95" fmla="*/ 91 h 1056"/>
                <a:gd name="T96" fmla="*/ 77 w 1704"/>
                <a:gd name="T97" fmla="*/ 90 h 1056"/>
                <a:gd name="T98" fmla="*/ 73 w 1704"/>
                <a:gd name="T99" fmla="*/ 86 h 1056"/>
                <a:gd name="T100" fmla="*/ 68 w 1704"/>
                <a:gd name="T101" fmla="*/ 85 h 1056"/>
                <a:gd name="T102" fmla="*/ 64 w 1704"/>
                <a:gd name="T103" fmla="*/ 83 h 1056"/>
                <a:gd name="T104" fmla="*/ 57 w 1704"/>
                <a:gd name="T105" fmla="*/ 81 h 1056"/>
                <a:gd name="T106" fmla="*/ 52 w 1704"/>
                <a:gd name="T107" fmla="*/ 80 h 1056"/>
                <a:gd name="T108" fmla="*/ 50 w 1704"/>
                <a:gd name="T109" fmla="*/ 80 h 1056"/>
                <a:gd name="T110" fmla="*/ 46 w 1704"/>
                <a:gd name="T111" fmla="*/ 79 h 1056"/>
                <a:gd name="T112" fmla="*/ 41 w 1704"/>
                <a:gd name="T113" fmla="*/ 78 h 10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04"/>
                <a:gd name="T172" fmla="*/ 0 h 1056"/>
                <a:gd name="T173" fmla="*/ 1704 w 1704"/>
                <a:gd name="T174" fmla="*/ 1056 h 10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04" h="1056">
                  <a:moveTo>
                    <a:pt x="450" y="888"/>
                  </a:moveTo>
                  <a:lnTo>
                    <a:pt x="420" y="888"/>
                  </a:lnTo>
                  <a:lnTo>
                    <a:pt x="414" y="888"/>
                  </a:lnTo>
                  <a:lnTo>
                    <a:pt x="396" y="888"/>
                  </a:lnTo>
                  <a:lnTo>
                    <a:pt x="372" y="888"/>
                  </a:lnTo>
                  <a:lnTo>
                    <a:pt x="366" y="888"/>
                  </a:lnTo>
                  <a:lnTo>
                    <a:pt x="360" y="888"/>
                  </a:lnTo>
                  <a:lnTo>
                    <a:pt x="348" y="888"/>
                  </a:lnTo>
                  <a:lnTo>
                    <a:pt x="330" y="894"/>
                  </a:lnTo>
                  <a:lnTo>
                    <a:pt x="324" y="894"/>
                  </a:lnTo>
                  <a:lnTo>
                    <a:pt x="312" y="888"/>
                  </a:lnTo>
                  <a:lnTo>
                    <a:pt x="300" y="888"/>
                  </a:lnTo>
                  <a:lnTo>
                    <a:pt x="282" y="888"/>
                  </a:lnTo>
                  <a:lnTo>
                    <a:pt x="270" y="888"/>
                  </a:lnTo>
                  <a:lnTo>
                    <a:pt x="240" y="882"/>
                  </a:lnTo>
                  <a:lnTo>
                    <a:pt x="222" y="882"/>
                  </a:lnTo>
                  <a:lnTo>
                    <a:pt x="198" y="882"/>
                  </a:lnTo>
                  <a:lnTo>
                    <a:pt x="174" y="894"/>
                  </a:lnTo>
                  <a:lnTo>
                    <a:pt x="162" y="900"/>
                  </a:lnTo>
                  <a:lnTo>
                    <a:pt x="144" y="906"/>
                  </a:lnTo>
                  <a:lnTo>
                    <a:pt x="126" y="912"/>
                  </a:lnTo>
                  <a:lnTo>
                    <a:pt x="102" y="924"/>
                  </a:lnTo>
                  <a:lnTo>
                    <a:pt x="78" y="930"/>
                  </a:lnTo>
                  <a:lnTo>
                    <a:pt x="72" y="936"/>
                  </a:lnTo>
                  <a:lnTo>
                    <a:pt x="30" y="954"/>
                  </a:lnTo>
                  <a:lnTo>
                    <a:pt x="12" y="966"/>
                  </a:lnTo>
                  <a:lnTo>
                    <a:pt x="12" y="954"/>
                  </a:lnTo>
                  <a:lnTo>
                    <a:pt x="12" y="930"/>
                  </a:lnTo>
                  <a:lnTo>
                    <a:pt x="12" y="894"/>
                  </a:lnTo>
                  <a:lnTo>
                    <a:pt x="30" y="828"/>
                  </a:lnTo>
                  <a:lnTo>
                    <a:pt x="36" y="798"/>
                  </a:lnTo>
                  <a:lnTo>
                    <a:pt x="18" y="774"/>
                  </a:lnTo>
                  <a:lnTo>
                    <a:pt x="18" y="756"/>
                  </a:lnTo>
                  <a:lnTo>
                    <a:pt x="6" y="738"/>
                  </a:lnTo>
                  <a:lnTo>
                    <a:pt x="0" y="714"/>
                  </a:lnTo>
                  <a:lnTo>
                    <a:pt x="12" y="678"/>
                  </a:lnTo>
                  <a:lnTo>
                    <a:pt x="18" y="678"/>
                  </a:lnTo>
                  <a:lnTo>
                    <a:pt x="24" y="672"/>
                  </a:lnTo>
                  <a:lnTo>
                    <a:pt x="30" y="666"/>
                  </a:lnTo>
                  <a:lnTo>
                    <a:pt x="42" y="648"/>
                  </a:lnTo>
                  <a:lnTo>
                    <a:pt x="66" y="648"/>
                  </a:lnTo>
                  <a:lnTo>
                    <a:pt x="108" y="648"/>
                  </a:lnTo>
                  <a:lnTo>
                    <a:pt x="174" y="642"/>
                  </a:lnTo>
                  <a:lnTo>
                    <a:pt x="216" y="636"/>
                  </a:lnTo>
                  <a:lnTo>
                    <a:pt x="240" y="630"/>
                  </a:lnTo>
                  <a:lnTo>
                    <a:pt x="246" y="618"/>
                  </a:lnTo>
                  <a:lnTo>
                    <a:pt x="264" y="600"/>
                  </a:lnTo>
                  <a:lnTo>
                    <a:pt x="294" y="582"/>
                  </a:lnTo>
                  <a:lnTo>
                    <a:pt x="318" y="552"/>
                  </a:lnTo>
                  <a:lnTo>
                    <a:pt x="330" y="546"/>
                  </a:lnTo>
                  <a:lnTo>
                    <a:pt x="348" y="510"/>
                  </a:lnTo>
                  <a:lnTo>
                    <a:pt x="372" y="474"/>
                  </a:lnTo>
                  <a:lnTo>
                    <a:pt x="384" y="444"/>
                  </a:lnTo>
                  <a:lnTo>
                    <a:pt x="396" y="420"/>
                  </a:lnTo>
                  <a:lnTo>
                    <a:pt x="402" y="378"/>
                  </a:lnTo>
                  <a:lnTo>
                    <a:pt x="402" y="228"/>
                  </a:lnTo>
                  <a:lnTo>
                    <a:pt x="414" y="186"/>
                  </a:lnTo>
                  <a:lnTo>
                    <a:pt x="432" y="138"/>
                  </a:lnTo>
                  <a:lnTo>
                    <a:pt x="438" y="114"/>
                  </a:lnTo>
                  <a:lnTo>
                    <a:pt x="444" y="96"/>
                  </a:lnTo>
                  <a:lnTo>
                    <a:pt x="462" y="84"/>
                  </a:lnTo>
                  <a:lnTo>
                    <a:pt x="474" y="78"/>
                  </a:lnTo>
                  <a:lnTo>
                    <a:pt x="492" y="72"/>
                  </a:lnTo>
                  <a:lnTo>
                    <a:pt x="492" y="66"/>
                  </a:lnTo>
                  <a:lnTo>
                    <a:pt x="498" y="66"/>
                  </a:lnTo>
                  <a:lnTo>
                    <a:pt x="510" y="66"/>
                  </a:lnTo>
                  <a:lnTo>
                    <a:pt x="510" y="72"/>
                  </a:lnTo>
                  <a:lnTo>
                    <a:pt x="516" y="72"/>
                  </a:lnTo>
                  <a:lnTo>
                    <a:pt x="522" y="78"/>
                  </a:lnTo>
                  <a:lnTo>
                    <a:pt x="546" y="78"/>
                  </a:lnTo>
                  <a:lnTo>
                    <a:pt x="552" y="60"/>
                  </a:lnTo>
                  <a:lnTo>
                    <a:pt x="570" y="42"/>
                  </a:lnTo>
                  <a:lnTo>
                    <a:pt x="576" y="24"/>
                  </a:lnTo>
                  <a:lnTo>
                    <a:pt x="588" y="18"/>
                  </a:lnTo>
                  <a:lnTo>
                    <a:pt x="588" y="12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624" y="0"/>
                  </a:lnTo>
                  <a:lnTo>
                    <a:pt x="636" y="6"/>
                  </a:lnTo>
                  <a:lnTo>
                    <a:pt x="648" y="24"/>
                  </a:lnTo>
                  <a:lnTo>
                    <a:pt x="654" y="48"/>
                  </a:lnTo>
                  <a:lnTo>
                    <a:pt x="672" y="60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0" y="72"/>
                  </a:lnTo>
                  <a:lnTo>
                    <a:pt x="690" y="78"/>
                  </a:lnTo>
                  <a:lnTo>
                    <a:pt x="696" y="90"/>
                  </a:lnTo>
                  <a:lnTo>
                    <a:pt x="714" y="114"/>
                  </a:lnTo>
                  <a:lnTo>
                    <a:pt x="714" y="120"/>
                  </a:lnTo>
                  <a:lnTo>
                    <a:pt x="720" y="132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20" y="150"/>
                  </a:lnTo>
                  <a:lnTo>
                    <a:pt x="714" y="150"/>
                  </a:lnTo>
                  <a:lnTo>
                    <a:pt x="714" y="156"/>
                  </a:lnTo>
                  <a:lnTo>
                    <a:pt x="714" y="162"/>
                  </a:lnTo>
                  <a:lnTo>
                    <a:pt x="708" y="162"/>
                  </a:lnTo>
                  <a:lnTo>
                    <a:pt x="708" y="168"/>
                  </a:lnTo>
                  <a:lnTo>
                    <a:pt x="702" y="168"/>
                  </a:lnTo>
                  <a:lnTo>
                    <a:pt x="702" y="174"/>
                  </a:lnTo>
                  <a:lnTo>
                    <a:pt x="702" y="180"/>
                  </a:lnTo>
                  <a:lnTo>
                    <a:pt x="708" y="180"/>
                  </a:lnTo>
                  <a:lnTo>
                    <a:pt x="708" y="186"/>
                  </a:lnTo>
                  <a:lnTo>
                    <a:pt x="708" y="192"/>
                  </a:lnTo>
                  <a:lnTo>
                    <a:pt x="714" y="204"/>
                  </a:lnTo>
                  <a:lnTo>
                    <a:pt x="726" y="216"/>
                  </a:lnTo>
                  <a:lnTo>
                    <a:pt x="738" y="216"/>
                  </a:lnTo>
                  <a:lnTo>
                    <a:pt x="768" y="222"/>
                  </a:lnTo>
                  <a:lnTo>
                    <a:pt x="780" y="216"/>
                  </a:lnTo>
                  <a:lnTo>
                    <a:pt x="792" y="204"/>
                  </a:lnTo>
                  <a:lnTo>
                    <a:pt x="798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6" y="192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6" y="174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22" y="156"/>
                  </a:lnTo>
                  <a:lnTo>
                    <a:pt x="822" y="150"/>
                  </a:lnTo>
                  <a:lnTo>
                    <a:pt x="828" y="144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8" y="138"/>
                  </a:lnTo>
                  <a:lnTo>
                    <a:pt x="834" y="132"/>
                  </a:lnTo>
                  <a:lnTo>
                    <a:pt x="840" y="132"/>
                  </a:lnTo>
                  <a:lnTo>
                    <a:pt x="864" y="126"/>
                  </a:lnTo>
                  <a:lnTo>
                    <a:pt x="906" y="144"/>
                  </a:lnTo>
                  <a:lnTo>
                    <a:pt x="906" y="150"/>
                  </a:lnTo>
                  <a:lnTo>
                    <a:pt x="906" y="156"/>
                  </a:lnTo>
                  <a:lnTo>
                    <a:pt x="900" y="162"/>
                  </a:lnTo>
                  <a:lnTo>
                    <a:pt x="924" y="168"/>
                  </a:lnTo>
                  <a:lnTo>
                    <a:pt x="942" y="192"/>
                  </a:lnTo>
                  <a:lnTo>
                    <a:pt x="972" y="210"/>
                  </a:lnTo>
                  <a:lnTo>
                    <a:pt x="972" y="216"/>
                  </a:lnTo>
                  <a:lnTo>
                    <a:pt x="972" y="228"/>
                  </a:lnTo>
                  <a:lnTo>
                    <a:pt x="978" y="234"/>
                  </a:lnTo>
                  <a:lnTo>
                    <a:pt x="978" y="246"/>
                  </a:lnTo>
                  <a:lnTo>
                    <a:pt x="984" y="252"/>
                  </a:lnTo>
                  <a:lnTo>
                    <a:pt x="1014" y="252"/>
                  </a:lnTo>
                  <a:lnTo>
                    <a:pt x="1020" y="228"/>
                  </a:lnTo>
                  <a:lnTo>
                    <a:pt x="1026" y="198"/>
                  </a:lnTo>
                  <a:lnTo>
                    <a:pt x="1050" y="186"/>
                  </a:lnTo>
                  <a:lnTo>
                    <a:pt x="1056" y="180"/>
                  </a:lnTo>
                  <a:lnTo>
                    <a:pt x="1050" y="174"/>
                  </a:lnTo>
                  <a:lnTo>
                    <a:pt x="1050" y="168"/>
                  </a:lnTo>
                  <a:lnTo>
                    <a:pt x="1050" y="162"/>
                  </a:lnTo>
                  <a:lnTo>
                    <a:pt x="1056" y="162"/>
                  </a:lnTo>
                  <a:lnTo>
                    <a:pt x="1062" y="162"/>
                  </a:lnTo>
                  <a:lnTo>
                    <a:pt x="1074" y="162"/>
                  </a:lnTo>
                  <a:lnTo>
                    <a:pt x="1074" y="144"/>
                  </a:lnTo>
                  <a:lnTo>
                    <a:pt x="1074" y="120"/>
                  </a:lnTo>
                  <a:lnTo>
                    <a:pt x="1092" y="120"/>
                  </a:lnTo>
                  <a:lnTo>
                    <a:pt x="1098" y="126"/>
                  </a:lnTo>
                  <a:lnTo>
                    <a:pt x="1134" y="132"/>
                  </a:lnTo>
                  <a:lnTo>
                    <a:pt x="1146" y="132"/>
                  </a:lnTo>
                  <a:lnTo>
                    <a:pt x="1158" y="150"/>
                  </a:lnTo>
                  <a:lnTo>
                    <a:pt x="1158" y="156"/>
                  </a:lnTo>
                  <a:lnTo>
                    <a:pt x="1158" y="162"/>
                  </a:lnTo>
                  <a:lnTo>
                    <a:pt x="1158" y="180"/>
                  </a:lnTo>
                  <a:lnTo>
                    <a:pt x="1158" y="186"/>
                  </a:lnTo>
                  <a:lnTo>
                    <a:pt x="1164" y="192"/>
                  </a:lnTo>
                  <a:lnTo>
                    <a:pt x="1176" y="198"/>
                  </a:lnTo>
                  <a:lnTo>
                    <a:pt x="1182" y="198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8"/>
                  </a:lnTo>
                  <a:lnTo>
                    <a:pt x="1188" y="234"/>
                  </a:lnTo>
                  <a:lnTo>
                    <a:pt x="1212" y="234"/>
                  </a:lnTo>
                  <a:lnTo>
                    <a:pt x="1242" y="234"/>
                  </a:lnTo>
                  <a:lnTo>
                    <a:pt x="1248" y="234"/>
                  </a:lnTo>
                  <a:lnTo>
                    <a:pt x="1278" y="240"/>
                  </a:lnTo>
                  <a:lnTo>
                    <a:pt x="1320" y="234"/>
                  </a:lnTo>
                  <a:lnTo>
                    <a:pt x="1332" y="228"/>
                  </a:lnTo>
                  <a:lnTo>
                    <a:pt x="1344" y="228"/>
                  </a:lnTo>
                  <a:lnTo>
                    <a:pt x="1350" y="234"/>
                  </a:lnTo>
                  <a:lnTo>
                    <a:pt x="1350" y="240"/>
                  </a:lnTo>
                  <a:lnTo>
                    <a:pt x="1356" y="246"/>
                  </a:lnTo>
                  <a:lnTo>
                    <a:pt x="1350" y="252"/>
                  </a:lnTo>
                  <a:lnTo>
                    <a:pt x="1356" y="264"/>
                  </a:lnTo>
                  <a:lnTo>
                    <a:pt x="1356" y="270"/>
                  </a:lnTo>
                  <a:lnTo>
                    <a:pt x="1356" y="276"/>
                  </a:lnTo>
                  <a:lnTo>
                    <a:pt x="1356" y="282"/>
                  </a:lnTo>
                  <a:lnTo>
                    <a:pt x="1356" y="288"/>
                  </a:lnTo>
                  <a:lnTo>
                    <a:pt x="1350" y="294"/>
                  </a:lnTo>
                  <a:lnTo>
                    <a:pt x="1344" y="300"/>
                  </a:lnTo>
                  <a:lnTo>
                    <a:pt x="1344" y="306"/>
                  </a:lnTo>
                  <a:lnTo>
                    <a:pt x="1338" y="312"/>
                  </a:lnTo>
                  <a:lnTo>
                    <a:pt x="1326" y="342"/>
                  </a:lnTo>
                  <a:lnTo>
                    <a:pt x="1320" y="348"/>
                  </a:lnTo>
                  <a:lnTo>
                    <a:pt x="1314" y="354"/>
                  </a:lnTo>
                  <a:lnTo>
                    <a:pt x="1290" y="354"/>
                  </a:lnTo>
                  <a:lnTo>
                    <a:pt x="1284" y="360"/>
                  </a:lnTo>
                  <a:lnTo>
                    <a:pt x="1278" y="378"/>
                  </a:lnTo>
                  <a:lnTo>
                    <a:pt x="1278" y="384"/>
                  </a:lnTo>
                  <a:lnTo>
                    <a:pt x="1272" y="390"/>
                  </a:lnTo>
                  <a:lnTo>
                    <a:pt x="1266" y="396"/>
                  </a:lnTo>
                  <a:lnTo>
                    <a:pt x="1260" y="396"/>
                  </a:lnTo>
                  <a:lnTo>
                    <a:pt x="1248" y="402"/>
                  </a:lnTo>
                  <a:lnTo>
                    <a:pt x="1242" y="408"/>
                  </a:lnTo>
                  <a:lnTo>
                    <a:pt x="1242" y="414"/>
                  </a:lnTo>
                  <a:lnTo>
                    <a:pt x="1242" y="420"/>
                  </a:lnTo>
                  <a:lnTo>
                    <a:pt x="1236" y="432"/>
                  </a:lnTo>
                  <a:lnTo>
                    <a:pt x="1242" y="432"/>
                  </a:lnTo>
                  <a:lnTo>
                    <a:pt x="1242" y="444"/>
                  </a:lnTo>
                  <a:lnTo>
                    <a:pt x="1242" y="456"/>
                  </a:lnTo>
                  <a:lnTo>
                    <a:pt x="1248" y="456"/>
                  </a:lnTo>
                  <a:lnTo>
                    <a:pt x="1254" y="462"/>
                  </a:lnTo>
                  <a:lnTo>
                    <a:pt x="1248" y="468"/>
                  </a:lnTo>
                  <a:lnTo>
                    <a:pt x="1254" y="468"/>
                  </a:lnTo>
                  <a:lnTo>
                    <a:pt x="1266" y="474"/>
                  </a:lnTo>
                  <a:lnTo>
                    <a:pt x="1266" y="480"/>
                  </a:lnTo>
                  <a:lnTo>
                    <a:pt x="1266" y="486"/>
                  </a:lnTo>
                  <a:lnTo>
                    <a:pt x="1272" y="486"/>
                  </a:lnTo>
                  <a:lnTo>
                    <a:pt x="1272" y="492"/>
                  </a:lnTo>
                  <a:lnTo>
                    <a:pt x="1290" y="510"/>
                  </a:lnTo>
                  <a:lnTo>
                    <a:pt x="1296" y="516"/>
                  </a:lnTo>
                  <a:lnTo>
                    <a:pt x="1302" y="540"/>
                  </a:lnTo>
                  <a:lnTo>
                    <a:pt x="1302" y="546"/>
                  </a:lnTo>
                  <a:lnTo>
                    <a:pt x="1302" y="558"/>
                  </a:lnTo>
                  <a:lnTo>
                    <a:pt x="1302" y="570"/>
                  </a:lnTo>
                  <a:lnTo>
                    <a:pt x="1302" y="576"/>
                  </a:lnTo>
                  <a:lnTo>
                    <a:pt x="1344" y="570"/>
                  </a:lnTo>
                  <a:lnTo>
                    <a:pt x="1350" y="582"/>
                  </a:lnTo>
                  <a:lnTo>
                    <a:pt x="1368" y="594"/>
                  </a:lnTo>
                  <a:lnTo>
                    <a:pt x="1374" y="600"/>
                  </a:lnTo>
                  <a:lnTo>
                    <a:pt x="1380" y="600"/>
                  </a:lnTo>
                  <a:lnTo>
                    <a:pt x="1380" y="618"/>
                  </a:lnTo>
                  <a:lnTo>
                    <a:pt x="1386" y="624"/>
                  </a:lnTo>
                  <a:lnTo>
                    <a:pt x="1404" y="624"/>
                  </a:lnTo>
                  <a:lnTo>
                    <a:pt x="1410" y="612"/>
                  </a:lnTo>
                  <a:lnTo>
                    <a:pt x="1428" y="606"/>
                  </a:lnTo>
                  <a:lnTo>
                    <a:pt x="1488" y="606"/>
                  </a:lnTo>
                  <a:lnTo>
                    <a:pt x="1506" y="606"/>
                  </a:lnTo>
                  <a:lnTo>
                    <a:pt x="1512" y="600"/>
                  </a:lnTo>
                  <a:lnTo>
                    <a:pt x="1524" y="594"/>
                  </a:lnTo>
                  <a:lnTo>
                    <a:pt x="1554" y="594"/>
                  </a:lnTo>
                  <a:lnTo>
                    <a:pt x="1578" y="606"/>
                  </a:lnTo>
                  <a:lnTo>
                    <a:pt x="1596" y="624"/>
                  </a:lnTo>
                  <a:lnTo>
                    <a:pt x="1650" y="642"/>
                  </a:lnTo>
                  <a:lnTo>
                    <a:pt x="1686" y="648"/>
                  </a:lnTo>
                  <a:lnTo>
                    <a:pt x="1698" y="654"/>
                  </a:lnTo>
                  <a:lnTo>
                    <a:pt x="1698" y="660"/>
                  </a:lnTo>
                  <a:lnTo>
                    <a:pt x="1692" y="666"/>
                  </a:lnTo>
                  <a:lnTo>
                    <a:pt x="1692" y="672"/>
                  </a:lnTo>
                  <a:lnTo>
                    <a:pt x="1698" y="678"/>
                  </a:lnTo>
                  <a:lnTo>
                    <a:pt x="1698" y="684"/>
                  </a:lnTo>
                  <a:lnTo>
                    <a:pt x="1692" y="684"/>
                  </a:lnTo>
                  <a:lnTo>
                    <a:pt x="1692" y="690"/>
                  </a:lnTo>
                  <a:lnTo>
                    <a:pt x="1698" y="696"/>
                  </a:lnTo>
                  <a:lnTo>
                    <a:pt x="1698" y="702"/>
                  </a:lnTo>
                  <a:lnTo>
                    <a:pt x="1698" y="708"/>
                  </a:lnTo>
                  <a:lnTo>
                    <a:pt x="1704" y="714"/>
                  </a:lnTo>
                  <a:lnTo>
                    <a:pt x="1704" y="720"/>
                  </a:lnTo>
                  <a:lnTo>
                    <a:pt x="1704" y="726"/>
                  </a:lnTo>
                  <a:lnTo>
                    <a:pt x="1704" y="732"/>
                  </a:lnTo>
                  <a:lnTo>
                    <a:pt x="1704" y="738"/>
                  </a:lnTo>
                  <a:lnTo>
                    <a:pt x="1698" y="726"/>
                  </a:lnTo>
                  <a:lnTo>
                    <a:pt x="1668" y="720"/>
                  </a:lnTo>
                  <a:lnTo>
                    <a:pt x="1626" y="714"/>
                  </a:lnTo>
                  <a:lnTo>
                    <a:pt x="1614" y="708"/>
                  </a:lnTo>
                  <a:lnTo>
                    <a:pt x="1578" y="696"/>
                  </a:lnTo>
                  <a:lnTo>
                    <a:pt x="1566" y="696"/>
                  </a:lnTo>
                  <a:lnTo>
                    <a:pt x="1548" y="702"/>
                  </a:lnTo>
                  <a:lnTo>
                    <a:pt x="1542" y="714"/>
                  </a:lnTo>
                  <a:lnTo>
                    <a:pt x="1536" y="732"/>
                  </a:lnTo>
                  <a:lnTo>
                    <a:pt x="1530" y="750"/>
                  </a:lnTo>
                  <a:lnTo>
                    <a:pt x="1536" y="750"/>
                  </a:lnTo>
                  <a:lnTo>
                    <a:pt x="1542" y="756"/>
                  </a:lnTo>
                  <a:lnTo>
                    <a:pt x="1542" y="762"/>
                  </a:lnTo>
                  <a:lnTo>
                    <a:pt x="1548" y="762"/>
                  </a:lnTo>
                  <a:lnTo>
                    <a:pt x="1554" y="762"/>
                  </a:lnTo>
                  <a:lnTo>
                    <a:pt x="1554" y="768"/>
                  </a:lnTo>
                  <a:lnTo>
                    <a:pt x="1560" y="774"/>
                  </a:lnTo>
                  <a:lnTo>
                    <a:pt x="1566" y="774"/>
                  </a:lnTo>
                  <a:lnTo>
                    <a:pt x="1584" y="792"/>
                  </a:lnTo>
                  <a:lnTo>
                    <a:pt x="1584" y="810"/>
                  </a:lnTo>
                  <a:lnTo>
                    <a:pt x="1572" y="816"/>
                  </a:lnTo>
                  <a:lnTo>
                    <a:pt x="1578" y="834"/>
                  </a:lnTo>
                  <a:lnTo>
                    <a:pt x="1578" y="846"/>
                  </a:lnTo>
                  <a:lnTo>
                    <a:pt x="1584" y="858"/>
                  </a:lnTo>
                  <a:lnTo>
                    <a:pt x="1590" y="864"/>
                  </a:lnTo>
                  <a:lnTo>
                    <a:pt x="1590" y="876"/>
                  </a:lnTo>
                  <a:lnTo>
                    <a:pt x="1578" y="888"/>
                  </a:lnTo>
                  <a:lnTo>
                    <a:pt x="1560" y="906"/>
                  </a:lnTo>
                  <a:lnTo>
                    <a:pt x="1536" y="930"/>
                  </a:lnTo>
                  <a:lnTo>
                    <a:pt x="1530" y="930"/>
                  </a:lnTo>
                  <a:lnTo>
                    <a:pt x="1506" y="942"/>
                  </a:lnTo>
                  <a:lnTo>
                    <a:pt x="1488" y="948"/>
                  </a:lnTo>
                  <a:lnTo>
                    <a:pt x="1476" y="954"/>
                  </a:lnTo>
                  <a:lnTo>
                    <a:pt x="1458" y="960"/>
                  </a:lnTo>
                  <a:lnTo>
                    <a:pt x="1452" y="966"/>
                  </a:lnTo>
                  <a:lnTo>
                    <a:pt x="1446" y="966"/>
                  </a:lnTo>
                  <a:lnTo>
                    <a:pt x="1434" y="972"/>
                  </a:lnTo>
                  <a:lnTo>
                    <a:pt x="1434" y="954"/>
                  </a:lnTo>
                  <a:lnTo>
                    <a:pt x="1422" y="942"/>
                  </a:lnTo>
                  <a:lnTo>
                    <a:pt x="1398" y="924"/>
                  </a:lnTo>
                  <a:lnTo>
                    <a:pt x="1398" y="912"/>
                  </a:lnTo>
                  <a:lnTo>
                    <a:pt x="1398" y="906"/>
                  </a:lnTo>
                  <a:lnTo>
                    <a:pt x="1398" y="900"/>
                  </a:lnTo>
                  <a:lnTo>
                    <a:pt x="1380" y="900"/>
                  </a:lnTo>
                  <a:lnTo>
                    <a:pt x="1380" y="894"/>
                  </a:lnTo>
                  <a:lnTo>
                    <a:pt x="1368" y="888"/>
                  </a:lnTo>
                  <a:lnTo>
                    <a:pt x="1362" y="882"/>
                  </a:lnTo>
                  <a:lnTo>
                    <a:pt x="1356" y="876"/>
                  </a:lnTo>
                  <a:lnTo>
                    <a:pt x="1350" y="864"/>
                  </a:lnTo>
                  <a:lnTo>
                    <a:pt x="1344" y="858"/>
                  </a:lnTo>
                  <a:lnTo>
                    <a:pt x="1314" y="870"/>
                  </a:lnTo>
                  <a:lnTo>
                    <a:pt x="1272" y="876"/>
                  </a:lnTo>
                  <a:lnTo>
                    <a:pt x="1218" y="870"/>
                  </a:lnTo>
                  <a:lnTo>
                    <a:pt x="1200" y="864"/>
                  </a:lnTo>
                  <a:lnTo>
                    <a:pt x="1182" y="864"/>
                  </a:lnTo>
                  <a:lnTo>
                    <a:pt x="1134" y="858"/>
                  </a:lnTo>
                  <a:lnTo>
                    <a:pt x="1110" y="840"/>
                  </a:lnTo>
                  <a:lnTo>
                    <a:pt x="1086" y="828"/>
                  </a:lnTo>
                  <a:lnTo>
                    <a:pt x="1044" y="816"/>
                  </a:lnTo>
                  <a:lnTo>
                    <a:pt x="1014" y="816"/>
                  </a:lnTo>
                  <a:lnTo>
                    <a:pt x="990" y="822"/>
                  </a:lnTo>
                  <a:lnTo>
                    <a:pt x="948" y="858"/>
                  </a:lnTo>
                  <a:lnTo>
                    <a:pt x="930" y="864"/>
                  </a:lnTo>
                  <a:lnTo>
                    <a:pt x="924" y="876"/>
                  </a:lnTo>
                  <a:lnTo>
                    <a:pt x="918" y="906"/>
                  </a:lnTo>
                  <a:lnTo>
                    <a:pt x="924" y="930"/>
                  </a:lnTo>
                  <a:lnTo>
                    <a:pt x="948" y="984"/>
                  </a:lnTo>
                  <a:lnTo>
                    <a:pt x="954" y="1008"/>
                  </a:lnTo>
                  <a:lnTo>
                    <a:pt x="948" y="1014"/>
                  </a:lnTo>
                  <a:lnTo>
                    <a:pt x="954" y="1014"/>
                  </a:lnTo>
                  <a:lnTo>
                    <a:pt x="954" y="1032"/>
                  </a:lnTo>
                  <a:lnTo>
                    <a:pt x="966" y="1044"/>
                  </a:lnTo>
                  <a:lnTo>
                    <a:pt x="960" y="1056"/>
                  </a:lnTo>
                  <a:lnTo>
                    <a:pt x="954" y="1056"/>
                  </a:lnTo>
                  <a:lnTo>
                    <a:pt x="948" y="1056"/>
                  </a:lnTo>
                  <a:lnTo>
                    <a:pt x="942" y="1056"/>
                  </a:lnTo>
                  <a:lnTo>
                    <a:pt x="936" y="1050"/>
                  </a:lnTo>
                  <a:lnTo>
                    <a:pt x="930" y="1044"/>
                  </a:lnTo>
                  <a:lnTo>
                    <a:pt x="924" y="1044"/>
                  </a:lnTo>
                  <a:lnTo>
                    <a:pt x="918" y="1038"/>
                  </a:lnTo>
                  <a:lnTo>
                    <a:pt x="912" y="1038"/>
                  </a:lnTo>
                  <a:lnTo>
                    <a:pt x="906" y="1032"/>
                  </a:lnTo>
                  <a:lnTo>
                    <a:pt x="900" y="1032"/>
                  </a:lnTo>
                  <a:lnTo>
                    <a:pt x="888" y="1026"/>
                  </a:lnTo>
                  <a:lnTo>
                    <a:pt x="882" y="1026"/>
                  </a:lnTo>
                  <a:lnTo>
                    <a:pt x="876" y="1026"/>
                  </a:lnTo>
                  <a:lnTo>
                    <a:pt x="864" y="1014"/>
                  </a:lnTo>
                  <a:lnTo>
                    <a:pt x="846" y="1008"/>
                  </a:lnTo>
                  <a:lnTo>
                    <a:pt x="840" y="996"/>
                  </a:lnTo>
                  <a:lnTo>
                    <a:pt x="840" y="990"/>
                  </a:lnTo>
                  <a:lnTo>
                    <a:pt x="834" y="990"/>
                  </a:lnTo>
                  <a:lnTo>
                    <a:pt x="828" y="990"/>
                  </a:lnTo>
                  <a:lnTo>
                    <a:pt x="816" y="990"/>
                  </a:lnTo>
                  <a:lnTo>
                    <a:pt x="810" y="990"/>
                  </a:lnTo>
                  <a:lnTo>
                    <a:pt x="804" y="984"/>
                  </a:lnTo>
                  <a:lnTo>
                    <a:pt x="792" y="978"/>
                  </a:lnTo>
                  <a:lnTo>
                    <a:pt x="786" y="972"/>
                  </a:lnTo>
                  <a:lnTo>
                    <a:pt x="780" y="972"/>
                  </a:lnTo>
                  <a:lnTo>
                    <a:pt x="768" y="966"/>
                  </a:lnTo>
                  <a:lnTo>
                    <a:pt x="762" y="966"/>
                  </a:lnTo>
                  <a:lnTo>
                    <a:pt x="756" y="966"/>
                  </a:lnTo>
                  <a:lnTo>
                    <a:pt x="750" y="966"/>
                  </a:lnTo>
                  <a:lnTo>
                    <a:pt x="744" y="966"/>
                  </a:lnTo>
                  <a:lnTo>
                    <a:pt x="738" y="960"/>
                  </a:lnTo>
                  <a:lnTo>
                    <a:pt x="732" y="954"/>
                  </a:lnTo>
                  <a:lnTo>
                    <a:pt x="720" y="954"/>
                  </a:lnTo>
                  <a:lnTo>
                    <a:pt x="714" y="948"/>
                  </a:lnTo>
                  <a:lnTo>
                    <a:pt x="708" y="948"/>
                  </a:lnTo>
                  <a:lnTo>
                    <a:pt x="696" y="948"/>
                  </a:lnTo>
                  <a:lnTo>
                    <a:pt x="684" y="942"/>
                  </a:lnTo>
                  <a:lnTo>
                    <a:pt x="678" y="936"/>
                  </a:lnTo>
                  <a:lnTo>
                    <a:pt x="660" y="930"/>
                  </a:lnTo>
                  <a:lnTo>
                    <a:pt x="642" y="924"/>
                  </a:lnTo>
                  <a:lnTo>
                    <a:pt x="636" y="924"/>
                  </a:lnTo>
                  <a:lnTo>
                    <a:pt x="630" y="924"/>
                  </a:lnTo>
                  <a:lnTo>
                    <a:pt x="618" y="924"/>
                  </a:lnTo>
                  <a:lnTo>
                    <a:pt x="618" y="918"/>
                  </a:lnTo>
                  <a:lnTo>
                    <a:pt x="606" y="918"/>
                  </a:lnTo>
                  <a:lnTo>
                    <a:pt x="600" y="918"/>
                  </a:lnTo>
                  <a:lnTo>
                    <a:pt x="594" y="918"/>
                  </a:lnTo>
                  <a:lnTo>
                    <a:pt x="594" y="912"/>
                  </a:lnTo>
                  <a:lnTo>
                    <a:pt x="588" y="912"/>
                  </a:lnTo>
                  <a:lnTo>
                    <a:pt x="582" y="912"/>
                  </a:lnTo>
                  <a:lnTo>
                    <a:pt x="582" y="918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58" y="918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12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00"/>
                  </a:lnTo>
                  <a:lnTo>
                    <a:pt x="516" y="900"/>
                  </a:lnTo>
                  <a:lnTo>
                    <a:pt x="510" y="900"/>
                  </a:lnTo>
                  <a:lnTo>
                    <a:pt x="486" y="894"/>
                  </a:lnTo>
                  <a:lnTo>
                    <a:pt x="474" y="888"/>
                  </a:lnTo>
                  <a:lnTo>
                    <a:pt x="468" y="888"/>
                  </a:lnTo>
                  <a:lnTo>
                    <a:pt x="450" y="88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0" name="Freeform 15">
              <a:extLst>
                <a:ext uri="{FF2B5EF4-FFF2-40B4-BE49-F238E27FC236}">
                  <a16:creationId xmlns:a16="http://schemas.microsoft.com/office/drawing/2014/main" id="{8B991D7A-45C6-40F6-A035-24DFC733305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382" y="2652043"/>
              <a:ext cx="724526" cy="695552"/>
            </a:xfrm>
            <a:custGeom>
              <a:avLst/>
              <a:gdLst>
                <a:gd name="T0" fmla="*/ 44 w 1362"/>
                <a:gd name="T1" fmla="*/ 106 h 1308"/>
                <a:gd name="T2" fmla="*/ 32 w 1362"/>
                <a:gd name="T3" fmla="*/ 109 h 1308"/>
                <a:gd name="T4" fmla="*/ 25 w 1362"/>
                <a:gd name="T5" fmla="*/ 105 h 1308"/>
                <a:gd name="T6" fmla="*/ 22 w 1362"/>
                <a:gd name="T7" fmla="*/ 97 h 1308"/>
                <a:gd name="T8" fmla="*/ 21 w 1362"/>
                <a:gd name="T9" fmla="*/ 95 h 1308"/>
                <a:gd name="T10" fmla="*/ 20 w 1362"/>
                <a:gd name="T11" fmla="*/ 90 h 1308"/>
                <a:gd name="T12" fmla="*/ 23 w 1362"/>
                <a:gd name="T13" fmla="*/ 87 h 1308"/>
                <a:gd name="T14" fmla="*/ 29 w 1362"/>
                <a:gd name="T15" fmla="*/ 81 h 1308"/>
                <a:gd name="T16" fmla="*/ 30 w 1362"/>
                <a:gd name="T17" fmla="*/ 78 h 1308"/>
                <a:gd name="T18" fmla="*/ 27 w 1362"/>
                <a:gd name="T19" fmla="*/ 75 h 1308"/>
                <a:gd name="T20" fmla="*/ 15 w 1362"/>
                <a:gd name="T21" fmla="*/ 73 h 1308"/>
                <a:gd name="T22" fmla="*/ 12 w 1362"/>
                <a:gd name="T23" fmla="*/ 69 h 1308"/>
                <a:gd name="T24" fmla="*/ 5 w 1362"/>
                <a:gd name="T25" fmla="*/ 65 h 1308"/>
                <a:gd name="T26" fmla="*/ 6 w 1362"/>
                <a:gd name="T27" fmla="*/ 62 h 1308"/>
                <a:gd name="T28" fmla="*/ 7 w 1362"/>
                <a:gd name="T29" fmla="*/ 56 h 1308"/>
                <a:gd name="T30" fmla="*/ 2 w 1362"/>
                <a:gd name="T31" fmla="*/ 49 h 1308"/>
                <a:gd name="T32" fmla="*/ 0 w 1362"/>
                <a:gd name="T33" fmla="*/ 44 h 1308"/>
                <a:gd name="T34" fmla="*/ 0 w 1362"/>
                <a:gd name="T35" fmla="*/ 39 h 1308"/>
                <a:gd name="T36" fmla="*/ 3 w 1362"/>
                <a:gd name="T37" fmla="*/ 35 h 1308"/>
                <a:gd name="T38" fmla="*/ 3 w 1362"/>
                <a:gd name="T39" fmla="*/ 28 h 1308"/>
                <a:gd name="T40" fmla="*/ 6 w 1362"/>
                <a:gd name="T41" fmla="*/ 18 h 1308"/>
                <a:gd name="T42" fmla="*/ 6 w 1362"/>
                <a:gd name="T43" fmla="*/ 8 h 1308"/>
                <a:gd name="T44" fmla="*/ 10 w 1362"/>
                <a:gd name="T45" fmla="*/ 5 h 1308"/>
                <a:gd name="T46" fmla="*/ 15 w 1362"/>
                <a:gd name="T47" fmla="*/ 0 h 1308"/>
                <a:gd name="T48" fmla="*/ 21 w 1362"/>
                <a:gd name="T49" fmla="*/ 7 h 1308"/>
                <a:gd name="T50" fmla="*/ 25 w 1362"/>
                <a:gd name="T51" fmla="*/ 15 h 1308"/>
                <a:gd name="T52" fmla="*/ 24 w 1362"/>
                <a:gd name="T53" fmla="*/ 19 h 1308"/>
                <a:gd name="T54" fmla="*/ 32 w 1362"/>
                <a:gd name="T55" fmla="*/ 19 h 1308"/>
                <a:gd name="T56" fmla="*/ 35 w 1362"/>
                <a:gd name="T57" fmla="*/ 20 h 1308"/>
                <a:gd name="T58" fmla="*/ 40 w 1362"/>
                <a:gd name="T59" fmla="*/ 23 h 1308"/>
                <a:gd name="T60" fmla="*/ 40 w 1362"/>
                <a:gd name="T61" fmla="*/ 26 h 1308"/>
                <a:gd name="T62" fmla="*/ 34 w 1362"/>
                <a:gd name="T63" fmla="*/ 35 h 1308"/>
                <a:gd name="T64" fmla="*/ 41 w 1362"/>
                <a:gd name="T65" fmla="*/ 37 h 1308"/>
                <a:gd name="T66" fmla="*/ 43 w 1362"/>
                <a:gd name="T67" fmla="*/ 44 h 1308"/>
                <a:gd name="T68" fmla="*/ 48 w 1362"/>
                <a:gd name="T69" fmla="*/ 47 h 1308"/>
                <a:gd name="T70" fmla="*/ 57 w 1362"/>
                <a:gd name="T71" fmla="*/ 48 h 1308"/>
                <a:gd name="T72" fmla="*/ 70 w 1362"/>
                <a:gd name="T73" fmla="*/ 44 h 1308"/>
                <a:gd name="T74" fmla="*/ 80 w 1362"/>
                <a:gd name="T75" fmla="*/ 34 h 1308"/>
                <a:gd name="T76" fmla="*/ 95 w 1362"/>
                <a:gd name="T77" fmla="*/ 41 h 1308"/>
                <a:gd name="T78" fmla="*/ 109 w 1362"/>
                <a:gd name="T79" fmla="*/ 47 h 1308"/>
                <a:gd name="T80" fmla="*/ 111 w 1362"/>
                <a:gd name="T81" fmla="*/ 50 h 1308"/>
                <a:gd name="T82" fmla="*/ 113 w 1362"/>
                <a:gd name="T83" fmla="*/ 53 h 1308"/>
                <a:gd name="T84" fmla="*/ 113 w 1362"/>
                <a:gd name="T85" fmla="*/ 55 h 1308"/>
                <a:gd name="T86" fmla="*/ 113 w 1362"/>
                <a:gd name="T87" fmla="*/ 59 h 1308"/>
                <a:gd name="T88" fmla="*/ 113 w 1362"/>
                <a:gd name="T89" fmla="*/ 62 h 1308"/>
                <a:gd name="T90" fmla="*/ 115 w 1362"/>
                <a:gd name="T91" fmla="*/ 65 h 1308"/>
                <a:gd name="T92" fmla="*/ 115 w 1362"/>
                <a:gd name="T93" fmla="*/ 67 h 1308"/>
                <a:gd name="T94" fmla="*/ 116 w 1362"/>
                <a:gd name="T95" fmla="*/ 69 h 1308"/>
                <a:gd name="T96" fmla="*/ 116 w 1362"/>
                <a:gd name="T97" fmla="*/ 71 h 1308"/>
                <a:gd name="T98" fmla="*/ 118 w 1362"/>
                <a:gd name="T99" fmla="*/ 75 h 1308"/>
                <a:gd name="T100" fmla="*/ 116 w 1362"/>
                <a:gd name="T101" fmla="*/ 77 h 1308"/>
                <a:gd name="T102" fmla="*/ 116 w 1362"/>
                <a:gd name="T103" fmla="*/ 79 h 1308"/>
                <a:gd name="T104" fmla="*/ 101 w 1362"/>
                <a:gd name="T105" fmla="*/ 87 h 1308"/>
                <a:gd name="T106" fmla="*/ 85 w 1362"/>
                <a:gd name="T107" fmla="*/ 103 h 1308"/>
                <a:gd name="T108" fmla="*/ 67 w 1362"/>
                <a:gd name="T109" fmla="*/ 114 h 130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62"/>
                <a:gd name="T166" fmla="*/ 0 h 1308"/>
                <a:gd name="T167" fmla="*/ 1362 w 1362"/>
                <a:gd name="T168" fmla="*/ 1308 h 130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62" h="1308">
                  <a:moveTo>
                    <a:pt x="684" y="1278"/>
                  </a:moveTo>
                  <a:lnTo>
                    <a:pt x="672" y="1272"/>
                  </a:lnTo>
                  <a:lnTo>
                    <a:pt x="636" y="1266"/>
                  </a:lnTo>
                  <a:lnTo>
                    <a:pt x="582" y="1248"/>
                  </a:lnTo>
                  <a:lnTo>
                    <a:pt x="564" y="1230"/>
                  </a:lnTo>
                  <a:lnTo>
                    <a:pt x="540" y="1218"/>
                  </a:lnTo>
                  <a:lnTo>
                    <a:pt x="510" y="1218"/>
                  </a:lnTo>
                  <a:lnTo>
                    <a:pt x="498" y="1224"/>
                  </a:lnTo>
                  <a:lnTo>
                    <a:pt x="492" y="1230"/>
                  </a:lnTo>
                  <a:lnTo>
                    <a:pt x="474" y="1230"/>
                  </a:lnTo>
                  <a:lnTo>
                    <a:pt x="414" y="1230"/>
                  </a:lnTo>
                  <a:lnTo>
                    <a:pt x="396" y="1236"/>
                  </a:lnTo>
                  <a:lnTo>
                    <a:pt x="390" y="1248"/>
                  </a:lnTo>
                  <a:lnTo>
                    <a:pt x="372" y="1248"/>
                  </a:lnTo>
                  <a:lnTo>
                    <a:pt x="366" y="1242"/>
                  </a:lnTo>
                  <a:lnTo>
                    <a:pt x="366" y="1224"/>
                  </a:lnTo>
                  <a:lnTo>
                    <a:pt x="360" y="1224"/>
                  </a:lnTo>
                  <a:lnTo>
                    <a:pt x="354" y="1218"/>
                  </a:lnTo>
                  <a:lnTo>
                    <a:pt x="336" y="1206"/>
                  </a:lnTo>
                  <a:lnTo>
                    <a:pt x="330" y="1194"/>
                  </a:lnTo>
                  <a:lnTo>
                    <a:pt x="288" y="1200"/>
                  </a:lnTo>
                  <a:lnTo>
                    <a:pt x="288" y="1194"/>
                  </a:lnTo>
                  <a:lnTo>
                    <a:pt x="288" y="1182"/>
                  </a:lnTo>
                  <a:lnTo>
                    <a:pt x="288" y="1170"/>
                  </a:lnTo>
                  <a:lnTo>
                    <a:pt x="288" y="1164"/>
                  </a:lnTo>
                  <a:lnTo>
                    <a:pt x="282" y="1140"/>
                  </a:lnTo>
                  <a:lnTo>
                    <a:pt x="276" y="1134"/>
                  </a:lnTo>
                  <a:lnTo>
                    <a:pt x="258" y="1116"/>
                  </a:lnTo>
                  <a:lnTo>
                    <a:pt x="258" y="1110"/>
                  </a:lnTo>
                  <a:lnTo>
                    <a:pt x="252" y="1110"/>
                  </a:lnTo>
                  <a:lnTo>
                    <a:pt x="252" y="1104"/>
                  </a:lnTo>
                  <a:lnTo>
                    <a:pt x="252" y="1098"/>
                  </a:lnTo>
                  <a:lnTo>
                    <a:pt x="240" y="1092"/>
                  </a:lnTo>
                  <a:lnTo>
                    <a:pt x="234" y="1092"/>
                  </a:lnTo>
                  <a:lnTo>
                    <a:pt x="240" y="1086"/>
                  </a:lnTo>
                  <a:lnTo>
                    <a:pt x="234" y="1080"/>
                  </a:lnTo>
                  <a:lnTo>
                    <a:pt x="228" y="1080"/>
                  </a:lnTo>
                  <a:lnTo>
                    <a:pt x="228" y="1068"/>
                  </a:lnTo>
                  <a:lnTo>
                    <a:pt x="228" y="1056"/>
                  </a:lnTo>
                  <a:lnTo>
                    <a:pt x="222" y="1056"/>
                  </a:lnTo>
                  <a:lnTo>
                    <a:pt x="228" y="1044"/>
                  </a:lnTo>
                  <a:lnTo>
                    <a:pt x="228" y="1038"/>
                  </a:lnTo>
                  <a:lnTo>
                    <a:pt x="228" y="1032"/>
                  </a:lnTo>
                  <a:lnTo>
                    <a:pt x="234" y="1026"/>
                  </a:lnTo>
                  <a:lnTo>
                    <a:pt x="246" y="1020"/>
                  </a:lnTo>
                  <a:lnTo>
                    <a:pt x="252" y="1020"/>
                  </a:lnTo>
                  <a:lnTo>
                    <a:pt x="258" y="1014"/>
                  </a:lnTo>
                  <a:lnTo>
                    <a:pt x="264" y="1008"/>
                  </a:lnTo>
                  <a:lnTo>
                    <a:pt x="264" y="1002"/>
                  </a:lnTo>
                  <a:lnTo>
                    <a:pt x="270" y="984"/>
                  </a:lnTo>
                  <a:lnTo>
                    <a:pt x="276" y="978"/>
                  </a:lnTo>
                  <a:lnTo>
                    <a:pt x="300" y="978"/>
                  </a:lnTo>
                  <a:lnTo>
                    <a:pt x="306" y="972"/>
                  </a:lnTo>
                  <a:lnTo>
                    <a:pt x="312" y="966"/>
                  </a:lnTo>
                  <a:lnTo>
                    <a:pt x="324" y="936"/>
                  </a:lnTo>
                  <a:lnTo>
                    <a:pt x="330" y="930"/>
                  </a:lnTo>
                  <a:lnTo>
                    <a:pt x="330" y="924"/>
                  </a:lnTo>
                  <a:lnTo>
                    <a:pt x="336" y="918"/>
                  </a:lnTo>
                  <a:lnTo>
                    <a:pt x="342" y="912"/>
                  </a:lnTo>
                  <a:lnTo>
                    <a:pt x="342" y="906"/>
                  </a:lnTo>
                  <a:lnTo>
                    <a:pt x="342" y="900"/>
                  </a:lnTo>
                  <a:lnTo>
                    <a:pt x="342" y="894"/>
                  </a:lnTo>
                  <a:lnTo>
                    <a:pt x="342" y="888"/>
                  </a:lnTo>
                  <a:lnTo>
                    <a:pt x="336" y="876"/>
                  </a:lnTo>
                  <a:lnTo>
                    <a:pt x="342" y="870"/>
                  </a:lnTo>
                  <a:lnTo>
                    <a:pt x="336" y="864"/>
                  </a:lnTo>
                  <a:lnTo>
                    <a:pt x="336" y="858"/>
                  </a:lnTo>
                  <a:lnTo>
                    <a:pt x="330" y="852"/>
                  </a:lnTo>
                  <a:lnTo>
                    <a:pt x="318" y="852"/>
                  </a:lnTo>
                  <a:lnTo>
                    <a:pt x="306" y="858"/>
                  </a:lnTo>
                  <a:lnTo>
                    <a:pt x="264" y="864"/>
                  </a:lnTo>
                  <a:lnTo>
                    <a:pt x="234" y="858"/>
                  </a:lnTo>
                  <a:lnTo>
                    <a:pt x="228" y="858"/>
                  </a:lnTo>
                  <a:lnTo>
                    <a:pt x="198" y="858"/>
                  </a:lnTo>
                  <a:lnTo>
                    <a:pt x="174" y="858"/>
                  </a:lnTo>
                  <a:lnTo>
                    <a:pt x="168" y="852"/>
                  </a:lnTo>
                  <a:lnTo>
                    <a:pt x="168" y="840"/>
                  </a:lnTo>
                  <a:lnTo>
                    <a:pt x="168" y="834"/>
                  </a:lnTo>
                  <a:lnTo>
                    <a:pt x="168" y="822"/>
                  </a:lnTo>
                  <a:lnTo>
                    <a:pt x="162" y="822"/>
                  </a:lnTo>
                  <a:lnTo>
                    <a:pt x="150" y="816"/>
                  </a:lnTo>
                  <a:lnTo>
                    <a:pt x="144" y="810"/>
                  </a:lnTo>
                  <a:lnTo>
                    <a:pt x="144" y="804"/>
                  </a:lnTo>
                  <a:lnTo>
                    <a:pt x="144" y="786"/>
                  </a:lnTo>
                  <a:lnTo>
                    <a:pt x="144" y="780"/>
                  </a:lnTo>
                  <a:lnTo>
                    <a:pt x="144" y="774"/>
                  </a:lnTo>
                  <a:lnTo>
                    <a:pt x="132" y="756"/>
                  </a:lnTo>
                  <a:lnTo>
                    <a:pt x="120" y="756"/>
                  </a:lnTo>
                  <a:lnTo>
                    <a:pt x="84" y="750"/>
                  </a:lnTo>
                  <a:lnTo>
                    <a:pt x="78" y="744"/>
                  </a:lnTo>
                  <a:lnTo>
                    <a:pt x="60" y="744"/>
                  </a:lnTo>
                  <a:lnTo>
                    <a:pt x="54" y="726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66" y="720"/>
                  </a:lnTo>
                  <a:lnTo>
                    <a:pt x="66" y="714"/>
                  </a:lnTo>
                  <a:lnTo>
                    <a:pt x="72" y="714"/>
                  </a:lnTo>
                  <a:lnTo>
                    <a:pt x="72" y="708"/>
                  </a:lnTo>
                  <a:lnTo>
                    <a:pt x="78" y="702"/>
                  </a:lnTo>
                  <a:lnTo>
                    <a:pt x="78" y="696"/>
                  </a:lnTo>
                  <a:lnTo>
                    <a:pt x="78" y="690"/>
                  </a:lnTo>
                  <a:lnTo>
                    <a:pt x="84" y="678"/>
                  </a:lnTo>
                  <a:lnTo>
                    <a:pt x="90" y="666"/>
                  </a:lnTo>
                  <a:lnTo>
                    <a:pt x="90" y="642"/>
                  </a:lnTo>
                  <a:lnTo>
                    <a:pt x="84" y="648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66" y="642"/>
                  </a:lnTo>
                  <a:lnTo>
                    <a:pt x="60" y="642"/>
                  </a:lnTo>
                  <a:lnTo>
                    <a:pt x="54" y="636"/>
                  </a:lnTo>
                  <a:lnTo>
                    <a:pt x="30" y="570"/>
                  </a:lnTo>
                  <a:lnTo>
                    <a:pt x="24" y="564"/>
                  </a:lnTo>
                  <a:lnTo>
                    <a:pt x="18" y="570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6"/>
                  </a:lnTo>
                  <a:lnTo>
                    <a:pt x="6" y="540"/>
                  </a:lnTo>
                  <a:lnTo>
                    <a:pt x="0" y="522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2" y="480"/>
                  </a:lnTo>
                  <a:lnTo>
                    <a:pt x="6" y="480"/>
                  </a:lnTo>
                  <a:lnTo>
                    <a:pt x="0" y="474"/>
                  </a:lnTo>
                  <a:lnTo>
                    <a:pt x="0" y="450"/>
                  </a:lnTo>
                  <a:lnTo>
                    <a:pt x="6" y="450"/>
                  </a:lnTo>
                  <a:lnTo>
                    <a:pt x="12" y="450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32"/>
                  </a:lnTo>
                  <a:lnTo>
                    <a:pt x="30" y="426"/>
                  </a:lnTo>
                  <a:lnTo>
                    <a:pt x="36" y="402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2" y="366"/>
                  </a:lnTo>
                  <a:lnTo>
                    <a:pt x="48" y="360"/>
                  </a:lnTo>
                  <a:lnTo>
                    <a:pt x="48" y="342"/>
                  </a:lnTo>
                  <a:lnTo>
                    <a:pt x="42" y="330"/>
                  </a:lnTo>
                  <a:lnTo>
                    <a:pt x="36" y="324"/>
                  </a:lnTo>
                  <a:lnTo>
                    <a:pt x="42" y="306"/>
                  </a:lnTo>
                  <a:lnTo>
                    <a:pt x="42" y="270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48" y="258"/>
                  </a:lnTo>
                  <a:lnTo>
                    <a:pt x="72" y="252"/>
                  </a:lnTo>
                  <a:lnTo>
                    <a:pt x="66" y="204"/>
                  </a:lnTo>
                  <a:lnTo>
                    <a:pt x="60" y="198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8" y="13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84" y="96"/>
                  </a:lnTo>
                  <a:lnTo>
                    <a:pt x="90" y="84"/>
                  </a:lnTo>
                  <a:lnTo>
                    <a:pt x="108" y="72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20" y="60"/>
                  </a:lnTo>
                  <a:lnTo>
                    <a:pt x="120" y="54"/>
                  </a:lnTo>
                  <a:lnTo>
                    <a:pt x="120" y="48"/>
                  </a:lnTo>
                  <a:lnTo>
                    <a:pt x="126" y="48"/>
                  </a:lnTo>
                  <a:lnTo>
                    <a:pt x="132" y="42"/>
                  </a:lnTo>
                  <a:lnTo>
                    <a:pt x="132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240" y="18"/>
                  </a:lnTo>
                  <a:lnTo>
                    <a:pt x="246" y="42"/>
                  </a:lnTo>
                  <a:lnTo>
                    <a:pt x="240" y="72"/>
                  </a:lnTo>
                  <a:lnTo>
                    <a:pt x="246" y="78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8" y="108"/>
                  </a:lnTo>
                  <a:lnTo>
                    <a:pt x="276" y="114"/>
                  </a:lnTo>
                  <a:lnTo>
                    <a:pt x="294" y="150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82" y="186"/>
                  </a:lnTo>
                  <a:lnTo>
                    <a:pt x="282" y="192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76" y="216"/>
                  </a:lnTo>
                  <a:lnTo>
                    <a:pt x="288" y="240"/>
                  </a:lnTo>
                  <a:lnTo>
                    <a:pt x="312" y="228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66" y="228"/>
                  </a:lnTo>
                  <a:lnTo>
                    <a:pt x="372" y="228"/>
                  </a:lnTo>
                  <a:lnTo>
                    <a:pt x="372" y="222"/>
                  </a:lnTo>
                  <a:lnTo>
                    <a:pt x="378" y="222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6" y="222"/>
                  </a:lnTo>
                  <a:lnTo>
                    <a:pt x="402" y="222"/>
                  </a:lnTo>
                  <a:lnTo>
                    <a:pt x="402" y="228"/>
                  </a:lnTo>
                  <a:lnTo>
                    <a:pt x="408" y="228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26" y="216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68" y="258"/>
                  </a:lnTo>
                  <a:lnTo>
                    <a:pt x="462" y="264"/>
                  </a:lnTo>
                  <a:lnTo>
                    <a:pt x="468" y="264"/>
                  </a:lnTo>
                  <a:lnTo>
                    <a:pt x="468" y="270"/>
                  </a:lnTo>
                  <a:lnTo>
                    <a:pt x="474" y="270"/>
                  </a:lnTo>
                  <a:lnTo>
                    <a:pt x="480" y="276"/>
                  </a:lnTo>
                  <a:lnTo>
                    <a:pt x="474" y="282"/>
                  </a:lnTo>
                  <a:lnTo>
                    <a:pt x="474" y="288"/>
                  </a:lnTo>
                  <a:lnTo>
                    <a:pt x="462" y="294"/>
                  </a:lnTo>
                  <a:lnTo>
                    <a:pt x="468" y="324"/>
                  </a:lnTo>
                  <a:lnTo>
                    <a:pt x="462" y="336"/>
                  </a:lnTo>
                  <a:lnTo>
                    <a:pt x="456" y="354"/>
                  </a:lnTo>
                  <a:lnTo>
                    <a:pt x="432" y="390"/>
                  </a:lnTo>
                  <a:lnTo>
                    <a:pt x="420" y="390"/>
                  </a:lnTo>
                  <a:lnTo>
                    <a:pt x="402" y="390"/>
                  </a:lnTo>
                  <a:lnTo>
                    <a:pt x="396" y="396"/>
                  </a:lnTo>
                  <a:lnTo>
                    <a:pt x="390" y="396"/>
                  </a:lnTo>
                  <a:lnTo>
                    <a:pt x="390" y="402"/>
                  </a:lnTo>
                  <a:lnTo>
                    <a:pt x="384" y="402"/>
                  </a:lnTo>
                  <a:lnTo>
                    <a:pt x="408" y="432"/>
                  </a:lnTo>
                  <a:lnTo>
                    <a:pt x="432" y="438"/>
                  </a:lnTo>
                  <a:lnTo>
                    <a:pt x="456" y="432"/>
                  </a:lnTo>
                  <a:lnTo>
                    <a:pt x="468" y="426"/>
                  </a:lnTo>
                  <a:lnTo>
                    <a:pt x="468" y="444"/>
                  </a:lnTo>
                  <a:lnTo>
                    <a:pt x="468" y="450"/>
                  </a:lnTo>
                  <a:lnTo>
                    <a:pt x="468" y="474"/>
                  </a:lnTo>
                  <a:lnTo>
                    <a:pt x="486" y="480"/>
                  </a:lnTo>
                  <a:lnTo>
                    <a:pt x="486" y="486"/>
                  </a:lnTo>
                  <a:lnTo>
                    <a:pt x="492" y="498"/>
                  </a:lnTo>
                  <a:lnTo>
                    <a:pt x="492" y="504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504" y="516"/>
                  </a:lnTo>
                  <a:lnTo>
                    <a:pt x="510" y="516"/>
                  </a:lnTo>
                  <a:lnTo>
                    <a:pt x="522" y="528"/>
                  </a:lnTo>
                  <a:lnTo>
                    <a:pt x="546" y="540"/>
                  </a:lnTo>
                  <a:lnTo>
                    <a:pt x="552" y="546"/>
                  </a:lnTo>
                  <a:lnTo>
                    <a:pt x="570" y="552"/>
                  </a:lnTo>
                  <a:lnTo>
                    <a:pt x="594" y="552"/>
                  </a:lnTo>
                  <a:lnTo>
                    <a:pt x="606" y="546"/>
                  </a:lnTo>
                  <a:lnTo>
                    <a:pt x="612" y="540"/>
                  </a:lnTo>
                  <a:lnTo>
                    <a:pt x="630" y="540"/>
                  </a:lnTo>
                  <a:lnTo>
                    <a:pt x="630" y="552"/>
                  </a:lnTo>
                  <a:lnTo>
                    <a:pt x="654" y="552"/>
                  </a:lnTo>
                  <a:lnTo>
                    <a:pt x="702" y="558"/>
                  </a:lnTo>
                  <a:lnTo>
                    <a:pt x="762" y="546"/>
                  </a:lnTo>
                  <a:lnTo>
                    <a:pt x="780" y="546"/>
                  </a:lnTo>
                  <a:lnTo>
                    <a:pt x="780" y="528"/>
                  </a:lnTo>
                  <a:lnTo>
                    <a:pt x="798" y="522"/>
                  </a:lnTo>
                  <a:lnTo>
                    <a:pt x="810" y="510"/>
                  </a:lnTo>
                  <a:lnTo>
                    <a:pt x="810" y="504"/>
                  </a:lnTo>
                  <a:lnTo>
                    <a:pt x="828" y="492"/>
                  </a:lnTo>
                  <a:lnTo>
                    <a:pt x="888" y="486"/>
                  </a:lnTo>
                  <a:lnTo>
                    <a:pt x="912" y="486"/>
                  </a:lnTo>
                  <a:lnTo>
                    <a:pt x="930" y="474"/>
                  </a:lnTo>
                  <a:lnTo>
                    <a:pt x="918" y="456"/>
                  </a:lnTo>
                  <a:lnTo>
                    <a:pt x="912" y="450"/>
                  </a:lnTo>
                  <a:lnTo>
                    <a:pt x="918" y="390"/>
                  </a:lnTo>
                  <a:lnTo>
                    <a:pt x="954" y="396"/>
                  </a:lnTo>
                  <a:lnTo>
                    <a:pt x="984" y="402"/>
                  </a:lnTo>
                  <a:lnTo>
                    <a:pt x="1014" y="420"/>
                  </a:lnTo>
                  <a:lnTo>
                    <a:pt x="1026" y="432"/>
                  </a:lnTo>
                  <a:lnTo>
                    <a:pt x="1044" y="450"/>
                  </a:lnTo>
                  <a:lnTo>
                    <a:pt x="1062" y="462"/>
                  </a:lnTo>
                  <a:lnTo>
                    <a:pt x="1098" y="468"/>
                  </a:lnTo>
                  <a:lnTo>
                    <a:pt x="1128" y="480"/>
                  </a:lnTo>
                  <a:lnTo>
                    <a:pt x="1152" y="486"/>
                  </a:lnTo>
                  <a:lnTo>
                    <a:pt x="1188" y="498"/>
                  </a:lnTo>
                  <a:lnTo>
                    <a:pt x="1212" y="504"/>
                  </a:lnTo>
                  <a:lnTo>
                    <a:pt x="1224" y="528"/>
                  </a:lnTo>
                  <a:lnTo>
                    <a:pt x="1236" y="540"/>
                  </a:lnTo>
                  <a:lnTo>
                    <a:pt x="1254" y="540"/>
                  </a:lnTo>
                  <a:lnTo>
                    <a:pt x="1254" y="546"/>
                  </a:lnTo>
                  <a:lnTo>
                    <a:pt x="1260" y="552"/>
                  </a:lnTo>
                  <a:lnTo>
                    <a:pt x="1266" y="552"/>
                  </a:lnTo>
                  <a:lnTo>
                    <a:pt x="1266" y="558"/>
                  </a:lnTo>
                  <a:lnTo>
                    <a:pt x="1272" y="564"/>
                  </a:lnTo>
                  <a:lnTo>
                    <a:pt x="1278" y="564"/>
                  </a:lnTo>
                  <a:lnTo>
                    <a:pt x="1278" y="570"/>
                  </a:lnTo>
                  <a:lnTo>
                    <a:pt x="1284" y="576"/>
                  </a:lnTo>
                  <a:lnTo>
                    <a:pt x="1290" y="582"/>
                  </a:lnTo>
                  <a:lnTo>
                    <a:pt x="1296" y="582"/>
                  </a:lnTo>
                  <a:lnTo>
                    <a:pt x="1296" y="588"/>
                  </a:lnTo>
                  <a:lnTo>
                    <a:pt x="1308" y="594"/>
                  </a:lnTo>
                  <a:lnTo>
                    <a:pt x="1308" y="600"/>
                  </a:lnTo>
                  <a:lnTo>
                    <a:pt x="1308" y="606"/>
                  </a:lnTo>
                  <a:lnTo>
                    <a:pt x="1314" y="612"/>
                  </a:lnTo>
                  <a:lnTo>
                    <a:pt x="1308" y="618"/>
                  </a:lnTo>
                  <a:lnTo>
                    <a:pt x="1314" y="618"/>
                  </a:lnTo>
                  <a:lnTo>
                    <a:pt x="1314" y="624"/>
                  </a:lnTo>
                  <a:lnTo>
                    <a:pt x="1308" y="624"/>
                  </a:lnTo>
                  <a:lnTo>
                    <a:pt x="1302" y="630"/>
                  </a:lnTo>
                  <a:lnTo>
                    <a:pt x="1302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296" y="654"/>
                  </a:lnTo>
                  <a:lnTo>
                    <a:pt x="1302" y="660"/>
                  </a:lnTo>
                  <a:lnTo>
                    <a:pt x="1302" y="666"/>
                  </a:lnTo>
                  <a:lnTo>
                    <a:pt x="1308" y="666"/>
                  </a:lnTo>
                  <a:lnTo>
                    <a:pt x="1308" y="672"/>
                  </a:lnTo>
                  <a:lnTo>
                    <a:pt x="1308" y="678"/>
                  </a:lnTo>
                  <a:lnTo>
                    <a:pt x="1308" y="684"/>
                  </a:lnTo>
                  <a:lnTo>
                    <a:pt x="1308" y="690"/>
                  </a:lnTo>
                  <a:lnTo>
                    <a:pt x="1302" y="696"/>
                  </a:lnTo>
                  <a:lnTo>
                    <a:pt x="1302" y="702"/>
                  </a:lnTo>
                  <a:lnTo>
                    <a:pt x="1308" y="702"/>
                  </a:lnTo>
                  <a:lnTo>
                    <a:pt x="1302" y="708"/>
                  </a:lnTo>
                  <a:lnTo>
                    <a:pt x="1308" y="714"/>
                  </a:lnTo>
                  <a:lnTo>
                    <a:pt x="1308" y="720"/>
                  </a:lnTo>
                  <a:lnTo>
                    <a:pt x="1308" y="726"/>
                  </a:lnTo>
                  <a:lnTo>
                    <a:pt x="1308" y="732"/>
                  </a:lnTo>
                  <a:lnTo>
                    <a:pt x="1314" y="732"/>
                  </a:lnTo>
                  <a:lnTo>
                    <a:pt x="1314" y="738"/>
                  </a:lnTo>
                  <a:lnTo>
                    <a:pt x="1320" y="744"/>
                  </a:lnTo>
                  <a:lnTo>
                    <a:pt x="1326" y="750"/>
                  </a:lnTo>
                  <a:lnTo>
                    <a:pt x="1320" y="750"/>
                  </a:lnTo>
                  <a:lnTo>
                    <a:pt x="1320" y="756"/>
                  </a:lnTo>
                  <a:lnTo>
                    <a:pt x="1314" y="756"/>
                  </a:lnTo>
                  <a:lnTo>
                    <a:pt x="1314" y="762"/>
                  </a:lnTo>
                  <a:lnTo>
                    <a:pt x="1314" y="768"/>
                  </a:lnTo>
                  <a:lnTo>
                    <a:pt x="1320" y="768"/>
                  </a:lnTo>
                  <a:lnTo>
                    <a:pt x="1320" y="762"/>
                  </a:lnTo>
                  <a:lnTo>
                    <a:pt x="1320" y="768"/>
                  </a:lnTo>
                  <a:lnTo>
                    <a:pt x="1326" y="774"/>
                  </a:lnTo>
                  <a:lnTo>
                    <a:pt x="1332" y="774"/>
                  </a:lnTo>
                  <a:lnTo>
                    <a:pt x="1332" y="780"/>
                  </a:lnTo>
                  <a:lnTo>
                    <a:pt x="1332" y="786"/>
                  </a:lnTo>
                  <a:lnTo>
                    <a:pt x="1332" y="792"/>
                  </a:lnTo>
                  <a:lnTo>
                    <a:pt x="1338" y="786"/>
                  </a:lnTo>
                  <a:lnTo>
                    <a:pt x="1338" y="792"/>
                  </a:lnTo>
                  <a:lnTo>
                    <a:pt x="1344" y="798"/>
                  </a:lnTo>
                  <a:lnTo>
                    <a:pt x="1344" y="804"/>
                  </a:lnTo>
                  <a:lnTo>
                    <a:pt x="1344" y="810"/>
                  </a:lnTo>
                  <a:lnTo>
                    <a:pt x="1344" y="816"/>
                  </a:lnTo>
                  <a:lnTo>
                    <a:pt x="1344" y="822"/>
                  </a:lnTo>
                  <a:lnTo>
                    <a:pt x="1338" y="828"/>
                  </a:lnTo>
                  <a:lnTo>
                    <a:pt x="1332" y="828"/>
                  </a:lnTo>
                  <a:lnTo>
                    <a:pt x="1338" y="840"/>
                  </a:lnTo>
                  <a:lnTo>
                    <a:pt x="1344" y="846"/>
                  </a:lnTo>
                  <a:lnTo>
                    <a:pt x="1344" y="852"/>
                  </a:lnTo>
                  <a:lnTo>
                    <a:pt x="1350" y="852"/>
                  </a:lnTo>
                  <a:lnTo>
                    <a:pt x="1356" y="858"/>
                  </a:lnTo>
                  <a:lnTo>
                    <a:pt x="1362" y="858"/>
                  </a:lnTo>
                  <a:lnTo>
                    <a:pt x="1362" y="870"/>
                  </a:lnTo>
                  <a:lnTo>
                    <a:pt x="1356" y="870"/>
                  </a:lnTo>
                  <a:lnTo>
                    <a:pt x="1356" y="876"/>
                  </a:lnTo>
                  <a:lnTo>
                    <a:pt x="1350" y="876"/>
                  </a:lnTo>
                  <a:lnTo>
                    <a:pt x="1344" y="876"/>
                  </a:lnTo>
                  <a:lnTo>
                    <a:pt x="1344" y="882"/>
                  </a:lnTo>
                  <a:lnTo>
                    <a:pt x="1338" y="882"/>
                  </a:lnTo>
                  <a:lnTo>
                    <a:pt x="1338" y="888"/>
                  </a:lnTo>
                  <a:lnTo>
                    <a:pt x="1338" y="894"/>
                  </a:lnTo>
                  <a:lnTo>
                    <a:pt x="1344" y="900"/>
                  </a:lnTo>
                  <a:lnTo>
                    <a:pt x="1344" y="906"/>
                  </a:lnTo>
                  <a:lnTo>
                    <a:pt x="1338" y="906"/>
                  </a:lnTo>
                  <a:lnTo>
                    <a:pt x="1332" y="912"/>
                  </a:lnTo>
                  <a:lnTo>
                    <a:pt x="1332" y="918"/>
                  </a:lnTo>
                  <a:lnTo>
                    <a:pt x="1326" y="918"/>
                  </a:lnTo>
                  <a:lnTo>
                    <a:pt x="1332" y="924"/>
                  </a:lnTo>
                  <a:lnTo>
                    <a:pt x="1284" y="942"/>
                  </a:lnTo>
                  <a:lnTo>
                    <a:pt x="1236" y="948"/>
                  </a:lnTo>
                  <a:lnTo>
                    <a:pt x="1194" y="966"/>
                  </a:lnTo>
                  <a:lnTo>
                    <a:pt x="1170" y="1002"/>
                  </a:lnTo>
                  <a:lnTo>
                    <a:pt x="1134" y="1020"/>
                  </a:lnTo>
                  <a:lnTo>
                    <a:pt x="1116" y="1032"/>
                  </a:lnTo>
                  <a:lnTo>
                    <a:pt x="1098" y="1050"/>
                  </a:lnTo>
                  <a:lnTo>
                    <a:pt x="1074" y="1074"/>
                  </a:lnTo>
                  <a:lnTo>
                    <a:pt x="1008" y="1134"/>
                  </a:lnTo>
                  <a:lnTo>
                    <a:pt x="990" y="1158"/>
                  </a:lnTo>
                  <a:lnTo>
                    <a:pt x="978" y="1182"/>
                  </a:lnTo>
                  <a:lnTo>
                    <a:pt x="960" y="1194"/>
                  </a:lnTo>
                  <a:lnTo>
                    <a:pt x="942" y="1212"/>
                  </a:lnTo>
                  <a:lnTo>
                    <a:pt x="912" y="1242"/>
                  </a:lnTo>
                  <a:lnTo>
                    <a:pt x="888" y="1254"/>
                  </a:lnTo>
                  <a:lnTo>
                    <a:pt x="864" y="1278"/>
                  </a:lnTo>
                  <a:lnTo>
                    <a:pt x="828" y="1296"/>
                  </a:lnTo>
                  <a:lnTo>
                    <a:pt x="774" y="1308"/>
                  </a:lnTo>
                  <a:lnTo>
                    <a:pt x="732" y="1302"/>
                  </a:lnTo>
                  <a:lnTo>
                    <a:pt x="702" y="1284"/>
                  </a:lnTo>
                  <a:lnTo>
                    <a:pt x="684" y="12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1" name="Freeform 16">
              <a:extLst>
                <a:ext uri="{FF2B5EF4-FFF2-40B4-BE49-F238E27FC236}">
                  <a16:creationId xmlns:a16="http://schemas.microsoft.com/office/drawing/2014/main" id="{D8D8591A-D9DB-4301-BEBD-D8F5A26DA9E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3001" y="2929369"/>
              <a:ext cx="914601" cy="1037736"/>
            </a:xfrm>
            <a:custGeom>
              <a:avLst/>
              <a:gdLst>
                <a:gd name="T0" fmla="*/ 144 w 1722"/>
                <a:gd name="T1" fmla="*/ 131 h 1956"/>
                <a:gd name="T2" fmla="*/ 142 w 1722"/>
                <a:gd name="T3" fmla="*/ 139 h 1956"/>
                <a:gd name="T4" fmla="*/ 137 w 1722"/>
                <a:gd name="T5" fmla="*/ 143 h 1956"/>
                <a:gd name="T6" fmla="*/ 133 w 1722"/>
                <a:gd name="T7" fmla="*/ 147 h 1956"/>
                <a:gd name="T8" fmla="*/ 132 w 1722"/>
                <a:gd name="T9" fmla="*/ 152 h 1956"/>
                <a:gd name="T10" fmla="*/ 130 w 1722"/>
                <a:gd name="T11" fmla="*/ 159 h 1956"/>
                <a:gd name="T12" fmla="*/ 127 w 1722"/>
                <a:gd name="T13" fmla="*/ 164 h 1956"/>
                <a:gd name="T14" fmla="*/ 123 w 1722"/>
                <a:gd name="T15" fmla="*/ 168 h 1956"/>
                <a:gd name="T16" fmla="*/ 117 w 1722"/>
                <a:gd name="T17" fmla="*/ 169 h 1956"/>
                <a:gd name="T18" fmla="*/ 110 w 1722"/>
                <a:gd name="T19" fmla="*/ 168 h 1956"/>
                <a:gd name="T20" fmla="*/ 104 w 1722"/>
                <a:gd name="T21" fmla="*/ 166 h 1956"/>
                <a:gd name="T22" fmla="*/ 101 w 1722"/>
                <a:gd name="T23" fmla="*/ 159 h 1956"/>
                <a:gd name="T24" fmla="*/ 95 w 1722"/>
                <a:gd name="T25" fmla="*/ 156 h 1956"/>
                <a:gd name="T26" fmla="*/ 89 w 1722"/>
                <a:gd name="T27" fmla="*/ 151 h 1956"/>
                <a:gd name="T28" fmla="*/ 87 w 1722"/>
                <a:gd name="T29" fmla="*/ 144 h 1956"/>
                <a:gd name="T30" fmla="*/ 82 w 1722"/>
                <a:gd name="T31" fmla="*/ 141 h 1956"/>
                <a:gd name="T32" fmla="*/ 76 w 1722"/>
                <a:gd name="T33" fmla="*/ 134 h 1956"/>
                <a:gd name="T34" fmla="*/ 74 w 1722"/>
                <a:gd name="T35" fmla="*/ 143 h 1956"/>
                <a:gd name="T36" fmla="*/ 68 w 1722"/>
                <a:gd name="T37" fmla="*/ 147 h 1956"/>
                <a:gd name="T38" fmla="*/ 54 w 1722"/>
                <a:gd name="T39" fmla="*/ 144 h 1956"/>
                <a:gd name="T40" fmla="*/ 51 w 1722"/>
                <a:gd name="T41" fmla="*/ 142 h 1956"/>
                <a:gd name="T42" fmla="*/ 42 w 1722"/>
                <a:gd name="T43" fmla="*/ 151 h 1956"/>
                <a:gd name="T44" fmla="*/ 33 w 1722"/>
                <a:gd name="T45" fmla="*/ 154 h 1956"/>
                <a:gd name="T46" fmla="*/ 31 w 1722"/>
                <a:gd name="T47" fmla="*/ 159 h 1956"/>
                <a:gd name="T48" fmla="*/ 29 w 1722"/>
                <a:gd name="T49" fmla="*/ 166 h 1956"/>
                <a:gd name="T50" fmla="*/ 25 w 1722"/>
                <a:gd name="T51" fmla="*/ 169 h 1956"/>
                <a:gd name="T52" fmla="*/ 27 w 1722"/>
                <a:gd name="T53" fmla="*/ 154 h 1956"/>
                <a:gd name="T54" fmla="*/ 37 w 1722"/>
                <a:gd name="T55" fmla="*/ 133 h 1956"/>
                <a:gd name="T56" fmla="*/ 36 w 1722"/>
                <a:gd name="T57" fmla="*/ 109 h 1956"/>
                <a:gd name="T58" fmla="*/ 27 w 1722"/>
                <a:gd name="T59" fmla="*/ 101 h 1956"/>
                <a:gd name="T60" fmla="*/ 5 w 1722"/>
                <a:gd name="T61" fmla="*/ 98 h 1956"/>
                <a:gd name="T62" fmla="*/ 2 w 1722"/>
                <a:gd name="T63" fmla="*/ 93 h 1956"/>
                <a:gd name="T64" fmla="*/ 12 w 1722"/>
                <a:gd name="T65" fmla="*/ 82 h 1956"/>
                <a:gd name="T66" fmla="*/ 9 w 1722"/>
                <a:gd name="T67" fmla="*/ 74 h 1956"/>
                <a:gd name="T68" fmla="*/ 23 w 1722"/>
                <a:gd name="T69" fmla="*/ 72 h 1956"/>
                <a:gd name="T70" fmla="*/ 22 w 1722"/>
                <a:gd name="T71" fmla="*/ 67 h 1956"/>
                <a:gd name="T72" fmla="*/ 48 w 1722"/>
                <a:gd name="T73" fmla="*/ 57 h 1956"/>
                <a:gd name="T74" fmla="*/ 78 w 1722"/>
                <a:gd name="T75" fmla="*/ 34 h 1956"/>
                <a:gd name="T76" fmla="*/ 81 w 1722"/>
                <a:gd name="T77" fmla="*/ 31 h 1956"/>
                <a:gd name="T78" fmla="*/ 80 w 1722"/>
                <a:gd name="T79" fmla="*/ 26 h 1956"/>
                <a:gd name="T80" fmla="*/ 78 w 1722"/>
                <a:gd name="T81" fmla="*/ 21 h 1956"/>
                <a:gd name="T82" fmla="*/ 77 w 1722"/>
                <a:gd name="T83" fmla="*/ 18 h 1956"/>
                <a:gd name="T84" fmla="*/ 77 w 1722"/>
                <a:gd name="T85" fmla="*/ 12 h 1956"/>
                <a:gd name="T86" fmla="*/ 77 w 1722"/>
                <a:gd name="T87" fmla="*/ 7 h 1956"/>
                <a:gd name="T88" fmla="*/ 102 w 1722"/>
                <a:gd name="T89" fmla="*/ 2 h 1956"/>
                <a:gd name="T90" fmla="*/ 115 w 1722"/>
                <a:gd name="T91" fmla="*/ 3 h 1956"/>
                <a:gd name="T92" fmla="*/ 123 w 1722"/>
                <a:gd name="T93" fmla="*/ 3 h 1956"/>
                <a:gd name="T94" fmla="*/ 125 w 1722"/>
                <a:gd name="T95" fmla="*/ 9 h 1956"/>
                <a:gd name="T96" fmla="*/ 133 w 1722"/>
                <a:gd name="T97" fmla="*/ 13 h 1956"/>
                <a:gd name="T98" fmla="*/ 149 w 1722"/>
                <a:gd name="T99" fmla="*/ 37 h 1956"/>
                <a:gd name="T100" fmla="*/ 141 w 1722"/>
                <a:gd name="T101" fmla="*/ 57 h 1956"/>
                <a:gd name="T102" fmla="*/ 135 w 1722"/>
                <a:gd name="T103" fmla="*/ 63 h 1956"/>
                <a:gd name="T104" fmla="*/ 124 w 1722"/>
                <a:gd name="T105" fmla="*/ 77 h 1956"/>
                <a:gd name="T106" fmla="*/ 123 w 1722"/>
                <a:gd name="T107" fmla="*/ 96 h 1956"/>
                <a:gd name="T108" fmla="*/ 127 w 1722"/>
                <a:gd name="T109" fmla="*/ 97 h 1956"/>
                <a:gd name="T110" fmla="*/ 129 w 1722"/>
                <a:gd name="T111" fmla="*/ 92 h 1956"/>
                <a:gd name="T112" fmla="*/ 134 w 1722"/>
                <a:gd name="T113" fmla="*/ 94 h 1956"/>
                <a:gd name="T114" fmla="*/ 138 w 1722"/>
                <a:gd name="T115" fmla="*/ 99 h 1956"/>
                <a:gd name="T116" fmla="*/ 142 w 1722"/>
                <a:gd name="T117" fmla="*/ 104 h 1956"/>
                <a:gd name="T118" fmla="*/ 141 w 1722"/>
                <a:gd name="T119" fmla="*/ 115 h 19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722"/>
                <a:gd name="T181" fmla="*/ 0 h 1956"/>
                <a:gd name="T182" fmla="*/ 1722 w 1722"/>
                <a:gd name="T183" fmla="*/ 1956 h 19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722" h="1956">
                  <a:moveTo>
                    <a:pt x="1686" y="1404"/>
                  </a:moveTo>
                  <a:lnTo>
                    <a:pt x="1680" y="1416"/>
                  </a:lnTo>
                  <a:lnTo>
                    <a:pt x="1674" y="1422"/>
                  </a:lnTo>
                  <a:lnTo>
                    <a:pt x="1674" y="1428"/>
                  </a:lnTo>
                  <a:lnTo>
                    <a:pt x="1668" y="1428"/>
                  </a:lnTo>
                  <a:lnTo>
                    <a:pt x="1668" y="1434"/>
                  </a:lnTo>
                  <a:lnTo>
                    <a:pt x="1662" y="1446"/>
                  </a:lnTo>
                  <a:lnTo>
                    <a:pt x="1656" y="1464"/>
                  </a:lnTo>
                  <a:lnTo>
                    <a:pt x="1656" y="1476"/>
                  </a:lnTo>
                  <a:lnTo>
                    <a:pt x="1656" y="1488"/>
                  </a:lnTo>
                  <a:lnTo>
                    <a:pt x="1662" y="1500"/>
                  </a:lnTo>
                  <a:lnTo>
                    <a:pt x="1662" y="1506"/>
                  </a:lnTo>
                  <a:lnTo>
                    <a:pt x="1662" y="1524"/>
                  </a:lnTo>
                  <a:lnTo>
                    <a:pt x="1668" y="1542"/>
                  </a:lnTo>
                  <a:lnTo>
                    <a:pt x="1674" y="1560"/>
                  </a:lnTo>
                  <a:lnTo>
                    <a:pt x="1680" y="1578"/>
                  </a:lnTo>
                  <a:lnTo>
                    <a:pt x="1686" y="1578"/>
                  </a:lnTo>
                  <a:lnTo>
                    <a:pt x="1686" y="1584"/>
                  </a:lnTo>
                  <a:lnTo>
                    <a:pt x="1686" y="1590"/>
                  </a:lnTo>
                  <a:lnTo>
                    <a:pt x="1686" y="1596"/>
                  </a:lnTo>
                  <a:lnTo>
                    <a:pt x="1680" y="1596"/>
                  </a:lnTo>
                  <a:lnTo>
                    <a:pt x="1674" y="1602"/>
                  </a:lnTo>
                  <a:lnTo>
                    <a:pt x="1662" y="1602"/>
                  </a:lnTo>
                  <a:lnTo>
                    <a:pt x="1638" y="1596"/>
                  </a:lnTo>
                  <a:lnTo>
                    <a:pt x="1632" y="1596"/>
                  </a:lnTo>
                  <a:lnTo>
                    <a:pt x="1626" y="1602"/>
                  </a:lnTo>
                  <a:lnTo>
                    <a:pt x="1620" y="1602"/>
                  </a:lnTo>
                  <a:lnTo>
                    <a:pt x="1614" y="1602"/>
                  </a:lnTo>
                  <a:lnTo>
                    <a:pt x="1602" y="1602"/>
                  </a:lnTo>
                  <a:lnTo>
                    <a:pt x="1602" y="1608"/>
                  </a:lnTo>
                  <a:lnTo>
                    <a:pt x="1602" y="1620"/>
                  </a:lnTo>
                  <a:lnTo>
                    <a:pt x="1596" y="1620"/>
                  </a:lnTo>
                  <a:lnTo>
                    <a:pt x="1590" y="1620"/>
                  </a:lnTo>
                  <a:lnTo>
                    <a:pt x="1584" y="1626"/>
                  </a:lnTo>
                  <a:lnTo>
                    <a:pt x="1584" y="1632"/>
                  </a:lnTo>
                  <a:lnTo>
                    <a:pt x="1578" y="1644"/>
                  </a:lnTo>
                  <a:lnTo>
                    <a:pt x="1572" y="1644"/>
                  </a:lnTo>
                  <a:lnTo>
                    <a:pt x="1566" y="1644"/>
                  </a:lnTo>
                  <a:lnTo>
                    <a:pt x="1566" y="1650"/>
                  </a:lnTo>
                  <a:lnTo>
                    <a:pt x="1560" y="1650"/>
                  </a:lnTo>
                  <a:lnTo>
                    <a:pt x="1554" y="1650"/>
                  </a:lnTo>
                  <a:lnTo>
                    <a:pt x="1548" y="1650"/>
                  </a:lnTo>
                  <a:lnTo>
                    <a:pt x="1548" y="1656"/>
                  </a:lnTo>
                  <a:lnTo>
                    <a:pt x="1542" y="1668"/>
                  </a:lnTo>
                  <a:lnTo>
                    <a:pt x="1542" y="1674"/>
                  </a:lnTo>
                  <a:lnTo>
                    <a:pt x="1542" y="1692"/>
                  </a:lnTo>
                  <a:lnTo>
                    <a:pt x="1536" y="1698"/>
                  </a:lnTo>
                  <a:lnTo>
                    <a:pt x="1530" y="1698"/>
                  </a:lnTo>
                  <a:lnTo>
                    <a:pt x="1524" y="1698"/>
                  </a:lnTo>
                  <a:lnTo>
                    <a:pt x="1518" y="1704"/>
                  </a:lnTo>
                  <a:lnTo>
                    <a:pt x="1512" y="1710"/>
                  </a:lnTo>
                  <a:lnTo>
                    <a:pt x="1506" y="1722"/>
                  </a:lnTo>
                  <a:lnTo>
                    <a:pt x="1500" y="1728"/>
                  </a:lnTo>
                  <a:lnTo>
                    <a:pt x="1500" y="1734"/>
                  </a:lnTo>
                  <a:lnTo>
                    <a:pt x="1512" y="1734"/>
                  </a:lnTo>
                  <a:lnTo>
                    <a:pt x="1518" y="1740"/>
                  </a:lnTo>
                  <a:lnTo>
                    <a:pt x="1518" y="1746"/>
                  </a:lnTo>
                  <a:lnTo>
                    <a:pt x="1518" y="1752"/>
                  </a:lnTo>
                  <a:lnTo>
                    <a:pt x="1518" y="1758"/>
                  </a:lnTo>
                  <a:lnTo>
                    <a:pt x="1524" y="1758"/>
                  </a:lnTo>
                  <a:lnTo>
                    <a:pt x="1524" y="1764"/>
                  </a:lnTo>
                  <a:lnTo>
                    <a:pt x="1530" y="1770"/>
                  </a:lnTo>
                  <a:lnTo>
                    <a:pt x="1518" y="1770"/>
                  </a:lnTo>
                  <a:lnTo>
                    <a:pt x="1512" y="1782"/>
                  </a:lnTo>
                  <a:lnTo>
                    <a:pt x="1512" y="1788"/>
                  </a:lnTo>
                  <a:lnTo>
                    <a:pt x="1518" y="1788"/>
                  </a:lnTo>
                  <a:lnTo>
                    <a:pt x="1524" y="1800"/>
                  </a:lnTo>
                  <a:lnTo>
                    <a:pt x="1524" y="1806"/>
                  </a:lnTo>
                  <a:lnTo>
                    <a:pt x="1518" y="1812"/>
                  </a:lnTo>
                  <a:lnTo>
                    <a:pt x="1512" y="1818"/>
                  </a:lnTo>
                  <a:lnTo>
                    <a:pt x="1506" y="1818"/>
                  </a:lnTo>
                  <a:lnTo>
                    <a:pt x="1500" y="1824"/>
                  </a:lnTo>
                  <a:lnTo>
                    <a:pt x="1500" y="1836"/>
                  </a:lnTo>
                  <a:lnTo>
                    <a:pt x="1500" y="1842"/>
                  </a:lnTo>
                  <a:lnTo>
                    <a:pt x="1500" y="1848"/>
                  </a:lnTo>
                  <a:lnTo>
                    <a:pt x="1500" y="1854"/>
                  </a:lnTo>
                  <a:lnTo>
                    <a:pt x="1494" y="1860"/>
                  </a:lnTo>
                  <a:lnTo>
                    <a:pt x="1488" y="1860"/>
                  </a:lnTo>
                  <a:lnTo>
                    <a:pt x="1488" y="1866"/>
                  </a:lnTo>
                  <a:lnTo>
                    <a:pt x="1482" y="1872"/>
                  </a:lnTo>
                  <a:lnTo>
                    <a:pt x="1482" y="1878"/>
                  </a:lnTo>
                  <a:lnTo>
                    <a:pt x="1482" y="1884"/>
                  </a:lnTo>
                  <a:lnTo>
                    <a:pt x="1476" y="1890"/>
                  </a:lnTo>
                  <a:lnTo>
                    <a:pt x="1470" y="1890"/>
                  </a:lnTo>
                  <a:lnTo>
                    <a:pt x="1470" y="1896"/>
                  </a:lnTo>
                  <a:lnTo>
                    <a:pt x="1464" y="1896"/>
                  </a:lnTo>
                  <a:lnTo>
                    <a:pt x="1458" y="1896"/>
                  </a:lnTo>
                  <a:lnTo>
                    <a:pt x="1452" y="1896"/>
                  </a:lnTo>
                  <a:lnTo>
                    <a:pt x="1440" y="1890"/>
                  </a:lnTo>
                  <a:lnTo>
                    <a:pt x="1434" y="1896"/>
                  </a:lnTo>
                  <a:lnTo>
                    <a:pt x="1428" y="1896"/>
                  </a:lnTo>
                  <a:lnTo>
                    <a:pt x="1422" y="1896"/>
                  </a:lnTo>
                  <a:lnTo>
                    <a:pt x="1422" y="1902"/>
                  </a:lnTo>
                  <a:lnTo>
                    <a:pt x="1416" y="1902"/>
                  </a:lnTo>
                  <a:lnTo>
                    <a:pt x="1422" y="1914"/>
                  </a:lnTo>
                  <a:lnTo>
                    <a:pt x="1422" y="1932"/>
                  </a:lnTo>
                  <a:lnTo>
                    <a:pt x="1416" y="1938"/>
                  </a:lnTo>
                  <a:lnTo>
                    <a:pt x="1422" y="1938"/>
                  </a:lnTo>
                  <a:lnTo>
                    <a:pt x="1404" y="1938"/>
                  </a:lnTo>
                  <a:lnTo>
                    <a:pt x="1392" y="1944"/>
                  </a:lnTo>
                  <a:lnTo>
                    <a:pt x="1386" y="1944"/>
                  </a:lnTo>
                  <a:lnTo>
                    <a:pt x="1374" y="1944"/>
                  </a:lnTo>
                  <a:lnTo>
                    <a:pt x="1368" y="1950"/>
                  </a:lnTo>
                  <a:lnTo>
                    <a:pt x="1374" y="1956"/>
                  </a:lnTo>
                  <a:lnTo>
                    <a:pt x="1368" y="1956"/>
                  </a:lnTo>
                  <a:lnTo>
                    <a:pt x="1356" y="1956"/>
                  </a:lnTo>
                  <a:lnTo>
                    <a:pt x="1350" y="1956"/>
                  </a:lnTo>
                  <a:lnTo>
                    <a:pt x="1350" y="1950"/>
                  </a:lnTo>
                  <a:lnTo>
                    <a:pt x="1344" y="1944"/>
                  </a:lnTo>
                  <a:lnTo>
                    <a:pt x="1332" y="1938"/>
                  </a:lnTo>
                  <a:lnTo>
                    <a:pt x="1326" y="1938"/>
                  </a:lnTo>
                  <a:lnTo>
                    <a:pt x="1320" y="1938"/>
                  </a:lnTo>
                  <a:lnTo>
                    <a:pt x="1314" y="1944"/>
                  </a:lnTo>
                  <a:lnTo>
                    <a:pt x="1308" y="1944"/>
                  </a:lnTo>
                  <a:lnTo>
                    <a:pt x="1302" y="1944"/>
                  </a:lnTo>
                  <a:lnTo>
                    <a:pt x="1296" y="1938"/>
                  </a:lnTo>
                  <a:lnTo>
                    <a:pt x="1284" y="1938"/>
                  </a:lnTo>
                  <a:lnTo>
                    <a:pt x="1278" y="1938"/>
                  </a:lnTo>
                  <a:lnTo>
                    <a:pt x="1272" y="1938"/>
                  </a:lnTo>
                  <a:lnTo>
                    <a:pt x="1266" y="1932"/>
                  </a:lnTo>
                  <a:lnTo>
                    <a:pt x="1260" y="1932"/>
                  </a:lnTo>
                  <a:lnTo>
                    <a:pt x="1254" y="1920"/>
                  </a:lnTo>
                  <a:lnTo>
                    <a:pt x="1248" y="1920"/>
                  </a:lnTo>
                  <a:lnTo>
                    <a:pt x="1242" y="1920"/>
                  </a:lnTo>
                  <a:lnTo>
                    <a:pt x="1236" y="1926"/>
                  </a:lnTo>
                  <a:lnTo>
                    <a:pt x="1236" y="1932"/>
                  </a:lnTo>
                  <a:lnTo>
                    <a:pt x="1230" y="1932"/>
                  </a:lnTo>
                  <a:lnTo>
                    <a:pt x="1224" y="1932"/>
                  </a:lnTo>
                  <a:lnTo>
                    <a:pt x="1218" y="1938"/>
                  </a:lnTo>
                  <a:lnTo>
                    <a:pt x="1212" y="1932"/>
                  </a:lnTo>
                  <a:lnTo>
                    <a:pt x="1206" y="1926"/>
                  </a:lnTo>
                  <a:lnTo>
                    <a:pt x="1206" y="1908"/>
                  </a:lnTo>
                  <a:lnTo>
                    <a:pt x="1206" y="1884"/>
                  </a:lnTo>
                  <a:lnTo>
                    <a:pt x="1206" y="1866"/>
                  </a:lnTo>
                  <a:lnTo>
                    <a:pt x="1212" y="1848"/>
                  </a:lnTo>
                  <a:lnTo>
                    <a:pt x="1212" y="1842"/>
                  </a:lnTo>
                  <a:lnTo>
                    <a:pt x="1206" y="1836"/>
                  </a:lnTo>
                  <a:lnTo>
                    <a:pt x="1200" y="1830"/>
                  </a:lnTo>
                  <a:lnTo>
                    <a:pt x="1194" y="1824"/>
                  </a:lnTo>
                  <a:lnTo>
                    <a:pt x="1188" y="1824"/>
                  </a:lnTo>
                  <a:lnTo>
                    <a:pt x="1182" y="1824"/>
                  </a:lnTo>
                  <a:lnTo>
                    <a:pt x="1176" y="1824"/>
                  </a:lnTo>
                  <a:lnTo>
                    <a:pt x="1170" y="1818"/>
                  </a:lnTo>
                  <a:lnTo>
                    <a:pt x="1164" y="1830"/>
                  </a:lnTo>
                  <a:lnTo>
                    <a:pt x="1152" y="1836"/>
                  </a:lnTo>
                  <a:lnTo>
                    <a:pt x="1146" y="1842"/>
                  </a:lnTo>
                  <a:lnTo>
                    <a:pt x="1140" y="1842"/>
                  </a:lnTo>
                  <a:lnTo>
                    <a:pt x="1134" y="1842"/>
                  </a:lnTo>
                  <a:lnTo>
                    <a:pt x="1128" y="1842"/>
                  </a:lnTo>
                  <a:lnTo>
                    <a:pt x="1116" y="1836"/>
                  </a:lnTo>
                  <a:lnTo>
                    <a:pt x="1110" y="1842"/>
                  </a:lnTo>
                  <a:lnTo>
                    <a:pt x="1092" y="1830"/>
                  </a:lnTo>
                  <a:lnTo>
                    <a:pt x="1092" y="1824"/>
                  </a:lnTo>
                  <a:lnTo>
                    <a:pt x="1092" y="1806"/>
                  </a:lnTo>
                  <a:lnTo>
                    <a:pt x="1092" y="1800"/>
                  </a:lnTo>
                  <a:lnTo>
                    <a:pt x="1092" y="1794"/>
                  </a:lnTo>
                  <a:lnTo>
                    <a:pt x="1086" y="1788"/>
                  </a:lnTo>
                  <a:lnTo>
                    <a:pt x="1080" y="1794"/>
                  </a:lnTo>
                  <a:lnTo>
                    <a:pt x="1074" y="1788"/>
                  </a:lnTo>
                  <a:lnTo>
                    <a:pt x="1068" y="1770"/>
                  </a:lnTo>
                  <a:lnTo>
                    <a:pt x="1056" y="1764"/>
                  </a:lnTo>
                  <a:lnTo>
                    <a:pt x="1050" y="1764"/>
                  </a:lnTo>
                  <a:lnTo>
                    <a:pt x="1044" y="1764"/>
                  </a:lnTo>
                  <a:lnTo>
                    <a:pt x="1038" y="1758"/>
                  </a:lnTo>
                  <a:lnTo>
                    <a:pt x="1032" y="1752"/>
                  </a:lnTo>
                  <a:lnTo>
                    <a:pt x="1032" y="1746"/>
                  </a:lnTo>
                  <a:lnTo>
                    <a:pt x="1032" y="1740"/>
                  </a:lnTo>
                  <a:lnTo>
                    <a:pt x="1032" y="1734"/>
                  </a:lnTo>
                  <a:lnTo>
                    <a:pt x="1026" y="1734"/>
                  </a:lnTo>
                  <a:lnTo>
                    <a:pt x="1032" y="1728"/>
                  </a:lnTo>
                  <a:lnTo>
                    <a:pt x="1032" y="1722"/>
                  </a:lnTo>
                  <a:lnTo>
                    <a:pt x="1044" y="1686"/>
                  </a:lnTo>
                  <a:lnTo>
                    <a:pt x="1044" y="1680"/>
                  </a:lnTo>
                  <a:lnTo>
                    <a:pt x="1032" y="1674"/>
                  </a:lnTo>
                  <a:lnTo>
                    <a:pt x="1026" y="1674"/>
                  </a:lnTo>
                  <a:lnTo>
                    <a:pt x="1026" y="1668"/>
                  </a:lnTo>
                  <a:lnTo>
                    <a:pt x="1020" y="1662"/>
                  </a:lnTo>
                  <a:lnTo>
                    <a:pt x="1014" y="1668"/>
                  </a:lnTo>
                  <a:lnTo>
                    <a:pt x="1008" y="1662"/>
                  </a:lnTo>
                  <a:lnTo>
                    <a:pt x="1002" y="1662"/>
                  </a:lnTo>
                  <a:lnTo>
                    <a:pt x="1002" y="1668"/>
                  </a:lnTo>
                  <a:lnTo>
                    <a:pt x="996" y="1668"/>
                  </a:lnTo>
                  <a:lnTo>
                    <a:pt x="996" y="1662"/>
                  </a:lnTo>
                  <a:lnTo>
                    <a:pt x="984" y="1662"/>
                  </a:lnTo>
                  <a:lnTo>
                    <a:pt x="984" y="1656"/>
                  </a:lnTo>
                  <a:lnTo>
                    <a:pt x="978" y="1650"/>
                  </a:lnTo>
                  <a:lnTo>
                    <a:pt x="978" y="1644"/>
                  </a:lnTo>
                  <a:lnTo>
                    <a:pt x="966" y="1650"/>
                  </a:lnTo>
                  <a:lnTo>
                    <a:pt x="960" y="1638"/>
                  </a:lnTo>
                  <a:lnTo>
                    <a:pt x="954" y="1632"/>
                  </a:lnTo>
                  <a:lnTo>
                    <a:pt x="948" y="1632"/>
                  </a:lnTo>
                  <a:lnTo>
                    <a:pt x="942" y="1626"/>
                  </a:lnTo>
                  <a:lnTo>
                    <a:pt x="942" y="1614"/>
                  </a:lnTo>
                  <a:lnTo>
                    <a:pt x="930" y="1608"/>
                  </a:lnTo>
                  <a:lnTo>
                    <a:pt x="924" y="1614"/>
                  </a:lnTo>
                  <a:lnTo>
                    <a:pt x="912" y="1608"/>
                  </a:lnTo>
                  <a:lnTo>
                    <a:pt x="888" y="1590"/>
                  </a:lnTo>
                  <a:lnTo>
                    <a:pt x="894" y="1578"/>
                  </a:lnTo>
                  <a:lnTo>
                    <a:pt x="894" y="1572"/>
                  </a:lnTo>
                  <a:lnTo>
                    <a:pt x="894" y="1566"/>
                  </a:lnTo>
                  <a:lnTo>
                    <a:pt x="894" y="1548"/>
                  </a:lnTo>
                  <a:lnTo>
                    <a:pt x="888" y="1548"/>
                  </a:lnTo>
                  <a:lnTo>
                    <a:pt x="882" y="1542"/>
                  </a:lnTo>
                  <a:lnTo>
                    <a:pt x="876" y="1542"/>
                  </a:lnTo>
                  <a:lnTo>
                    <a:pt x="876" y="1536"/>
                  </a:lnTo>
                  <a:lnTo>
                    <a:pt x="870" y="1542"/>
                  </a:lnTo>
                  <a:lnTo>
                    <a:pt x="870" y="1554"/>
                  </a:lnTo>
                  <a:lnTo>
                    <a:pt x="870" y="1566"/>
                  </a:lnTo>
                  <a:lnTo>
                    <a:pt x="870" y="1578"/>
                  </a:lnTo>
                  <a:lnTo>
                    <a:pt x="870" y="1584"/>
                  </a:lnTo>
                  <a:lnTo>
                    <a:pt x="864" y="1584"/>
                  </a:lnTo>
                  <a:lnTo>
                    <a:pt x="870" y="1602"/>
                  </a:lnTo>
                  <a:lnTo>
                    <a:pt x="864" y="1608"/>
                  </a:lnTo>
                  <a:lnTo>
                    <a:pt x="870" y="1614"/>
                  </a:lnTo>
                  <a:lnTo>
                    <a:pt x="864" y="1644"/>
                  </a:lnTo>
                  <a:lnTo>
                    <a:pt x="858" y="1650"/>
                  </a:lnTo>
                  <a:lnTo>
                    <a:pt x="858" y="1656"/>
                  </a:lnTo>
                  <a:lnTo>
                    <a:pt x="852" y="1662"/>
                  </a:lnTo>
                  <a:lnTo>
                    <a:pt x="852" y="1680"/>
                  </a:lnTo>
                  <a:lnTo>
                    <a:pt x="846" y="1686"/>
                  </a:lnTo>
                  <a:lnTo>
                    <a:pt x="834" y="1692"/>
                  </a:lnTo>
                  <a:lnTo>
                    <a:pt x="828" y="1692"/>
                  </a:lnTo>
                  <a:lnTo>
                    <a:pt x="822" y="1698"/>
                  </a:lnTo>
                  <a:lnTo>
                    <a:pt x="822" y="1704"/>
                  </a:lnTo>
                  <a:lnTo>
                    <a:pt x="816" y="1704"/>
                  </a:lnTo>
                  <a:lnTo>
                    <a:pt x="804" y="1692"/>
                  </a:lnTo>
                  <a:lnTo>
                    <a:pt x="786" y="1698"/>
                  </a:lnTo>
                  <a:lnTo>
                    <a:pt x="780" y="1698"/>
                  </a:lnTo>
                  <a:lnTo>
                    <a:pt x="756" y="1698"/>
                  </a:lnTo>
                  <a:lnTo>
                    <a:pt x="744" y="1698"/>
                  </a:lnTo>
                  <a:lnTo>
                    <a:pt x="738" y="1698"/>
                  </a:lnTo>
                  <a:lnTo>
                    <a:pt x="732" y="1704"/>
                  </a:lnTo>
                  <a:lnTo>
                    <a:pt x="726" y="1704"/>
                  </a:lnTo>
                  <a:lnTo>
                    <a:pt x="678" y="1710"/>
                  </a:lnTo>
                  <a:lnTo>
                    <a:pt x="642" y="1710"/>
                  </a:lnTo>
                  <a:lnTo>
                    <a:pt x="618" y="1680"/>
                  </a:lnTo>
                  <a:lnTo>
                    <a:pt x="618" y="1674"/>
                  </a:lnTo>
                  <a:lnTo>
                    <a:pt x="618" y="1668"/>
                  </a:lnTo>
                  <a:lnTo>
                    <a:pt x="624" y="1662"/>
                  </a:lnTo>
                  <a:lnTo>
                    <a:pt x="624" y="1656"/>
                  </a:lnTo>
                  <a:lnTo>
                    <a:pt x="624" y="1650"/>
                  </a:lnTo>
                  <a:lnTo>
                    <a:pt x="618" y="1650"/>
                  </a:lnTo>
                  <a:lnTo>
                    <a:pt x="618" y="1644"/>
                  </a:lnTo>
                  <a:lnTo>
                    <a:pt x="618" y="1638"/>
                  </a:lnTo>
                  <a:lnTo>
                    <a:pt x="618" y="1632"/>
                  </a:lnTo>
                  <a:lnTo>
                    <a:pt x="618" y="1626"/>
                  </a:lnTo>
                  <a:lnTo>
                    <a:pt x="612" y="1626"/>
                  </a:lnTo>
                  <a:lnTo>
                    <a:pt x="612" y="1620"/>
                  </a:lnTo>
                  <a:lnTo>
                    <a:pt x="606" y="1614"/>
                  </a:lnTo>
                  <a:lnTo>
                    <a:pt x="594" y="1626"/>
                  </a:lnTo>
                  <a:lnTo>
                    <a:pt x="594" y="1632"/>
                  </a:lnTo>
                  <a:lnTo>
                    <a:pt x="588" y="1638"/>
                  </a:lnTo>
                  <a:lnTo>
                    <a:pt x="582" y="1638"/>
                  </a:lnTo>
                  <a:lnTo>
                    <a:pt x="564" y="1656"/>
                  </a:lnTo>
                  <a:lnTo>
                    <a:pt x="558" y="1662"/>
                  </a:lnTo>
                  <a:lnTo>
                    <a:pt x="552" y="1662"/>
                  </a:lnTo>
                  <a:lnTo>
                    <a:pt x="540" y="1674"/>
                  </a:lnTo>
                  <a:lnTo>
                    <a:pt x="534" y="1680"/>
                  </a:lnTo>
                  <a:lnTo>
                    <a:pt x="522" y="1692"/>
                  </a:lnTo>
                  <a:lnTo>
                    <a:pt x="516" y="1704"/>
                  </a:lnTo>
                  <a:lnTo>
                    <a:pt x="510" y="1704"/>
                  </a:lnTo>
                  <a:lnTo>
                    <a:pt x="504" y="1704"/>
                  </a:lnTo>
                  <a:lnTo>
                    <a:pt x="486" y="1722"/>
                  </a:lnTo>
                  <a:lnTo>
                    <a:pt x="480" y="1740"/>
                  </a:lnTo>
                  <a:lnTo>
                    <a:pt x="474" y="1740"/>
                  </a:lnTo>
                  <a:lnTo>
                    <a:pt x="468" y="1746"/>
                  </a:lnTo>
                  <a:lnTo>
                    <a:pt x="456" y="1758"/>
                  </a:lnTo>
                  <a:lnTo>
                    <a:pt x="444" y="1770"/>
                  </a:lnTo>
                  <a:lnTo>
                    <a:pt x="438" y="1782"/>
                  </a:lnTo>
                  <a:lnTo>
                    <a:pt x="426" y="1788"/>
                  </a:lnTo>
                  <a:lnTo>
                    <a:pt x="420" y="1788"/>
                  </a:lnTo>
                  <a:lnTo>
                    <a:pt x="420" y="1782"/>
                  </a:lnTo>
                  <a:lnTo>
                    <a:pt x="414" y="1782"/>
                  </a:lnTo>
                  <a:lnTo>
                    <a:pt x="390" y="1782"/>
                  </a:lnTo>
                  <a:lnTo>
                    <a:pt x="390" y="1776"/>
                  </a:lnTo>
                  <a:lnTo>
                    <a:pt x="384" y="1776"/>
                  </a:lnTo>
                  <a:lnTo>
                    <a:pt x="378" y="1776"/>
                  </a:lnTo>
                  <a:lnTo>
                    <a:pt x="372" y="1776"/>
                  </a:lnTo>
                  <a:lnTo>
                    <a:pt x="366" y="1770"/>
                  </a:lnTo>
                  <a:lnTo>
                    <a:pt x="366" y="1776"/>
                  </a:lnTo>
                  <a:lnTo>
                    <a:pt x="360" y="1788"/>
                  </a:lnTo>
                  <a:lnTo>
                    <a:pt x="360" y="1794"/>
                  </a:lnTo>
                  <a:lnTo>
                    <a:pt x="360" y="1800"/>
                  </a:lnTo>
                  <a:lnTo>
                    <a:pt x="354" y="1806"/>
                  </a:lnTo>
                  <a:lnTo>
                    <a:pt x="354" y="1812"/>
                  </a:lnTo>
                  <a:lnTo>
                    <a:pt x="354" y="1824"/>
                  </a:lnTo>
                  <a:lnTo>
                    <a:pt x="348" y="1830"/>
                  </a:lnTo>
                  <a:lnTo>
                    <a:pt x="354" y="1836"/>
                  </a:lnTo>
                  <a:lnTo>
                    <a:pt x="348" y="1842"/>
                  </a:lnTo>
                  <a:lnTo>
                    <a:pt x="354" y="1848"/>
                  </a:lnTo>
                  <a:lnTo>
                    <a:pt x="348" y="1854"/>
                  </a:lnTo>
                  <a:lnTo>
                    <a:pt x="354" y="1854"/>
                  </a:lnTo>
                  <a:lnTo>
                    <a:pt x="348" y="1860"/>
                  </a:lnTo>
                  <a:lnTo>
                    <a:pt x="348" y="1866"/>
                  </a:lnTo>
                  <a:lnTo>
                    <a:pt x="342" y="1866"/>
                  </a:lnTo>
                  <a:lnTo>
                    <a:pt x="342" y="1872"/>
                  </a:lnTo>
                  <a:lnTo>
                    <a:pt x="342" y="1878"/>
                  </a:lnTo>
                  <a:lnTo>
                    <a:pt x="342" y="1884"/>
                  </a:lnTo>
                  <a:lnTo>
                    <a:pt x="336" y="1896"/>
                  </a:lnTo>
                  <a:lnTo>
                    <a:pt x="330" y="1914"/>
                  </a:lnTo>
                  <a:lnTo>
                    <a:pt x="324" y="1920"/>
                  </a:lnTo>
                  <a:lnTo>
                    <a:pt x="324" y="1926"/>
                  </a:lnTo>
                  <a:lnTo>
                    <a:pt x="318" y="1944"/>
                  </a:lnTo>
                  <a:lnTo>
                    <a:pt x="318" y="1950"/>
                  </a:lnTo>
                  <a:lnTo>
                    <a:pt x="312" y="1956"/>
                  </a:lnTo>
                  <a:lnTo>
                    <a:pt x="312" y="1950"/>
                  </a:lnTo>
                  <a:lnTo>
                    <a:pt x="306" y="1950"/>
                  </a:lnTo>
                  <a:lnTo>
                    <a:pt x="306" y="1956"/>
                  </a:lnTo>
                  <a:lnTo>
                    <a:pt x="300" y="1950"/>
                  </a:lnTo>
                  <a:lnTo>
                    <a:pt x="294" y="1956"/>
                  </a:lnTo>
                  <a:lnTo>
                    <a:pt x="288" y="1950"/>
                  </a:lnTo>
                  <a:lnTo>
                    <a:pt x="288" y="1944"/>
                  </a:lnTo>
                  <a:lnTo>
                    <a:pt x="282" y="1938"/>
                  </a:lnTo>
                  <a:lnTo>
                    <a:pt x="282" y="1932"/>
                  </a:lnTo>
                  <a:lnTo>
                    <a:pt x="282" y="1890"/>
                  </a:lnTo>
                  <a:lnTo>
                    <a:pt x="288" y="1860"/>
                  </a:lnTo>
                  <a:lnTo>
                    <a:pt x="294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300" y="1818"/>
                  </a:lnTo>
                  <a:lnTo>
                    <a:pt x="306" y="1794"/>
                  </a:lnTo>
                  <a:lnTo>
                    <a:pt x="306" y="1788"/>
                  </a:lnTo>
                  <a:lnTo>
                    <a:pt x="306" y="1782"/>
                  </a:lnTo>
                  <a:lnTo>
                    <a:pt x="312" y="1776"/>
                  </a:lnTo>
                  <a:lnTo>
                    <a:pt x="306" y="1776"/>
                  </a:lnTo>
                  <a:lnTo>
                    <a:pt x="312" y="1770"/>
                  </a:lnTo>
                  <a:lnTo>
                    <a:pt x="312" y="1740"/>
                  </a:lnTo>
                  <a:lnTo>
                    <a:pt x="318" y="1722"/>
                  </a:lnTo>
                  <a:lnTo>
                    <a:pt x="312" y="1722"/>
                  </a:lnTo>
                  <a:lnTo>
                    <a:pt x="300" y="1716"/>
                  </a:lnTo>
                  <a:lnTo>
                    <a:pt x="306" y="1716"/>
                  </a:lnTo>
                  <a:lnTo>
                    <a:pt x="312" y="1710"/>
                  </a:lnTo>
                  <a:lnTo>
                    <a:pt x="324" y="1674"/>
                  </a:lnTo>
                  <a:lnTo>
                    <a:pt x="366" y="1590"/>
                  </a:lnTo>
                  <a:lnTo>
                    <a:pt x="408" y="1548"/>
                  </a:lnTo>
                  <a:lnTo>
                    <a:pt x="426" y="1530"/>
                  </a:lnTo>
                  <a:lnTo>
                    <a:pt x="432" y="1500"/>
                  </a:lnTo>
                  <a:lnTo>
                    <a:pt x="426" y="1494"/>
                  </a:lnTo>
                  <a:lnTo>
                    <a:pt x="426" y="1482"/>
                  </a:lnTo>
                  <a:lnTo>
                    <a:pt x="432" y="1464"/>
                  </a:lnTo>
                  <a:lnTo>
                    <a:pt x="438" y="1428"/>
                  </a:lnTo>
                  <a:lnTo>
                    <a:pt x="462" y="1398"/>
                  </a:lnTo>
                  <a:lnTo>
                    <a:pt x="468" y="1362"/>
                  </a:lnTo>
                  <a:lnTo>
                    <a:pt x="462" y="1314"/>
                  </a:lnTo>
                  <a:lnTo>
                    <a:pt x="444" y="1284"/>
                  </a:lnTo>
                  <a:lnTo>
                    <a:pt x="432" y="1260"/>
                  </a:lnTo>
                  <a:lnTo>
                    <a:pt x="426" y="1260"/>
                  </a:lnTo>
                  <a:lnTo>
                    <a:pt x="420" y="1254"/>
                  </a:lnTo>
                  <a:lnTo>
                    <a:pt x="408" y="1260"/>
                  </a:lnTo>
                  <a:lnTo>
                    <a:pt x="402" y="1260"/>
                  </a:lnTo>
                  <a:lnTo>
                    <a:pt x="402" y="1254"/>
                  </a:lnTo>
                  <a:lnTo>
                    <a:pt x="396" y="1254"/>
                  </a:lnTo>
                  <a:lnTo>
                    <a:pt x="396" y="1248"/>
                  </a:lnTo>
                  <a:lnTo>
                    <a:pt x="384" y="1248"/>
                  </a:lnTo>
                  <a:lnTo>
                    <a:pt x="372" y="1230"/>
                  </a:lnTo>
                  <a:lnTo>
                    <a:pt x="360" y="1212"/>
                  </a:lnTo>
                  <a:lnTo>
                    <a:pt x="348" y="1188"/>
                  </a:lnTo>
                  <a:lnTo>
                    <a:pt x="324" y="1170"/>
                  </a:lnTo>
                  <a:lnTo>
                    <a:pt x="318" y="1170"/>
                  </a:lnTo>
                  <a:lnTo>
                    <a:pt x="312" y="1158"/>
                  </a:lnTo>
                  <a:lnTo>
                    <a:pt x="312" y="1152"/>
                  </a:lnTo>
                  <a:lnTo>
                    <a:pt x="306" y="1146"/>
                  </a:lnTo>
                  <a:lnTo>
                    <a:pt x="270" y="1122"/>
                  </a:lnTo>
                  <a:lnTo>
                    <a:pt x="240" y="1122"/>
                  </a:lnTo>
                  <a:lnTo>
                    <a:pt x="180" y="1116"/>
                  </a:lnTo>
                  <a:lnTo>
                    <a:pt x="174" y="1122"/>
                  </a:lnTo>
                  <a:lnTo>
                    <a:pt x="174" y="1128"/>
                  </a:lnTo>
                  <a:lnTo>
                    <a:pt x="168" y="1122"/>
                  </a:lnTo>
                  <a:lnTo>
                    <a:pt x="162" y="1116"/>
                  </a:lnTo>
                  <a:lnTo>
                    <a:pt x="144" y="1122"/>
                  </a:lnTo>
                  <a:lnTo>
                    <a:pt x="120" y="1122"/>
                  </a:lnTo>
                  <a:lnTo>
                    <a:pt x="54" y="1134"/>
                  </a:lnTo>
                  <a:lnTo>
                    <a:pt x="24" y="1152"/>
                  </a:lnTo>
                  <a:lnTo>
                    <a:pt x="6" y="1146"/>
                  </a:lnTo>
                  <a:lnTo>
                    <a:pt x="0" y="1134"/>
                  </a:lnTo>
                  <a:lnTo>
                    <a:pt x="0" y="1128"/>
                  </a:lnTo>
                  <a:lnTo>
                    <a:pt x="18" y="1110"/>
                  </a:lnTo>
                  <a:lnTo>
                    <a:pt x="24" y="1104"/>
                  </a:lnTo>
                  <a:lnTo>
                    <a:pt x="24" y="1098"/>
                  </a:lnTo>
                  <a:lnTo>
                    <a:pt x="30" y="1086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24" y="1074"/>
                  </a:lnTo>
                  <a:lnTo>
                    <a:pt x="18" y="1068"/>
                  </a:lnTo>
                  <a:lnTo>
                    <a:pt x="24" y="1062"/>
                  </a:lnTo>
                  <a:lnTo>
                    <a:pt x="42" y="1056"/>
                  </a:lnTo>
                  <a:lnTo>
                    <a:pt x="54" y="1050"/>
                  </a:lnTo>
                  <a:lnTo>
                    <a:pt x="72" y="1044"/>
                  </a:lnTo>
                  <a:lnTo>
                    <a:pt x="96" y="1032"/>
                  </a:lnTo>
                  <a:lnTo>
                    <a:pt x="102" y="1032"/>
                  </a:lnTo>
                  <a:lnTo>
                    <a:pt x="126" y="1008"/>
                  </a:lnTo>
                  <a:lnTo>
                    <a:pt x="144" y="990"/>
                  </a:lnTo>
                  <a:lnTo>
                    <a:pt x="156" y="978"/>
                  </a:lnTo>
                  <a:lnTo>
                    <a:pt x="156" y="966"/>
                  </a:lnTo>
                  <a:lnTo>
                    <a:pt x="150" y="960"/>
                  </a:lnTo>
                  <a:lnTo>
                    <a:pt x="144" y="948"/>
                  </a:lnTo>
                  <a:lnTo>
                    <a:pt x="144" y="936"/>
                  </a:lnTo>
                  <a:lnTo>
                    <a:pt x="138" y="918"/>
                  </a:lnTo>
                  <a:lnTo>
                    <a:pt x="150" y="912"/>
                  </a:lnTo>
                  <a:lnTo>
                    <a:pt x="150" y="894"/>
                  </a:lnTo>
                  <a:lnTo>
                    <a:pt x="132" y="876"/>
                  </a:lnTo>
                  <a:lnTo>
                    <a:pt x="126" y="876"/>
                  </a:lnTo>
                  <a:lnTo>
                    <a:pt x="120" y="870"/>
                  </a:lnTo>
                  <a:lnTo>
                    <a:pt x="120" y="864"/>
                  </a:lnTo>
                  <a:lnTo>
                    <a:pt x="114" y="864"/>
                  </a:lnTo>
                  <a:lnTo>
                    <a:pt x="108" y="864"/>
                  </a:lnTo>
                  <a:lnTo>
                    <a:pt x="108" y="858"/>
                  </a:lnTo>
                  <a:lnTo>
                    <a:pt x="102" y="852"/>
                  </a:lnTo>
                  <a:lnTo>
                    <a:pt x="96" y="852"/>
                  </a:lnTo>
                  <a:lnTo>
                    <a:pt x="102" y="834"/>
                  </a:lnTo>
                  <a:lnTo>
                    <a:pt x="108" y="816"/>
                  </a:lnTo>
                  <a:lnTo>
                    <a:pt x="114" y="804"/>
                  </a:lnTo>
                  <a:lnTo>
                    <a:pt x="132" y="798"/>
                  </a:lnTo>
                  <a:lnTo>
                    <a:pt x="144" y="798"/>
                  </a:lnTo>
                  <a:lnTo>
                    <a:pt x="180" y="810"/>
                  </a:lnTo>
                  <a:lnTo>
                    <a:pt x="192" y="816"/>
                  </a:lnTo>
                  <a:lnTo>
                    <a:pt x="234" y="822"/>
                  </a:lnTo>
                  <a:lnTo>
                    <a:pt x="264" y="828"/>
                  </a:lnTo>
                  <a:lnTo>
                    <a:pt x="270" y="840"/>
                  </a:lnTo>
                  <a:lnTo>
                    <a:pt x="270" y="834"/>
                  </a:lnTo>
                  <a:lnTo>
                    <a:pt x="270" y="828"/>
                  </a:lnTo>
                  <a:lnTo>
                    <a:pt x="270" y="822"/>
                  </a:lnTo>
                  <a:lnTo>
                    <a:pt x="270" y="816"/>
                  </a:lnTo>
                  <a:lnTo>
                    <a:pt x="264" y="810"/>
                  </a:lnTo>
                  <a:lnTo>
                    <a:pt x="264" y="804"/>
                  </a:lnTo>
                  <a:lnTo>
                    <a:pt x="264" y="798"/>
                  </a:lnTo>
                  <a:lnTo>
                    <a:pt x="258" y="792"/>
                  </a:lnTo>
                  <a:lnTo>
                    <a:pt x="258" y="786"/>
                  </a:lnTo>
                  <a:lnTo>
                    <a:pt x="264" y="786"/>
                  </a:lnTo>
                  <a:lnTo>
                    <a:pt x="264" y="780"/>
                  </a:lnTo>
                  <a:lnTo>
                    <a:pt x="258" y="774"/>
                  </a:lnTo>
                  <a:lnTo>
                    <a:pt x="258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82" y="762"/>
                  </a:lnTo>
                  <a:lnTo>
                    <a:pt x="312" y="780"/>
                  </a:lnTo>
                  <a:lnTo>
                    <a:pt x="354" y="786"/>
                  </a:lnTo>
                  <a:lnTo>
                    <a:pt x="408" y="774"/>
                  </a:lnTo>
                  <a:lnTo>
                    <a:pt x="444" y="756"/>
                  </a:lnTo>
                  <a:lnTo>
                    <a:pt x="468" y="732"/>
                  </a:lnTo>
                  <a:lnTo>
                    <a:pt x="492" y="720"/>
                  </a:lnTo>
                  <a:lnTo>
                    <a:pt x="522" y="690"/>
                  </a:lnTo>
                  <a:lnTo>
                    <a:pt x="540" y="672"/>
                  </a:lnTo>
                  <a:lnTo>
                    <a:pt x="558" y="660"/>
                  </a:lnTo>
                  <a:lnTo>
                    <a:pt x="570" y="636"/>
                  </a:lnTo>
                  <a:lnTo>
                    <a:pt x="588" y="612"/>
                  </a:lnTo>
                  <a:lnTo>
                    <a:pt x="654" y="552"/>
                  </a:lnTo>
                  <a:lnTo>
                    <a:pt x="678" y="528"/>
                  </a:lnTo>
                  <a:lnTo>
                    <a:pt x="696" y="510"/>
                  </a:lnTo>
                  <a:lnTo>
                    <a:pt x="714" y="498"/>
                  </a:lnTo>
                  <a:lnTo>
                    <a:pt x="750" y="480"/>
                  </a:lnTo>
                  <a:lnTo>
                    <a:pt x="774" y="444"/>
                  </a:lnTo>
                  <a:lnTo>
                    <a:pt x="816" y="426"/>
                  </a:lnTo>
                  <a:lnTo>
                    <a:pt x="864" y="420"/>
                  </a:lnTo>
                  <a:lnTo>
                    <a:pt x="912" y="402"/>
                  </a:lnTo>
                  <a:lnTo>
                    <a:pt x="906" y="396"/>
                  </a:lnTo>
                  <a:lnTo>
                    <a:pt x="912" y="396"/>
                  </a:lnTo>
                  <a:lnTo>
                    <a:pt x="912" y="390"/>
                  </a:lnTo>
                  <a:lnTo>
                    <a:pt x="918" y="384"/>
                  </a:lnTo>
                  <a:lnTo>
                    <a:pt x="924" y="384"/>
                  </a:lnTo>
                  <a:lnTo>
                    <a:pt x="924" y="378"/>
                  </a:lnTo>
                  <a:lnTo>
                    <a:pt x="918" y="372"/>
                  </a:lnTo>
                  <a:lnTo>
                    <a:pt x="918" y="366"/>
                  </a:lnTo>
                  <a:lnTo>
                    <a:pt x="918" y="360"/>
                  </a:lnTo>
                  <a:lnTo>
                    <a:pt x="924" y="360"/>
                  </a:lnTo>
                  <a:lnTo>
                    <a:pt x="924" y="354"/>
                  </a:lnTo>
                  <a:lnTo>
                    <a:pt x="930" y="354"/>
                  </a:lnTo>
                  <a:lnTo>
                    <a:pt x="936" y="354"/>
                  </a:lnTo>
                  <a:lnTo>
                    <a:pt x="936" y="348"/>
                  </a:lnTo>
                  <a:lnTo>
                    <a:pt x="942" y="348"/>
                  </a:lnTo>
                  <a:lnTo>
                    <a:pt x="942" y="336"/>
                  </a:lnTo>
                  <a:lnTo>
                    <a:pt x="936" y="336"/>
                  </a:lnTo>
                  <a:lnTo>
                    <a:pt x="930" y="330"/>
                  </a:lnTo>
                  <a:lnTo>
                    <a:pt x="924" y="330"/>
                  </a:lnTo>
                  <a:lnTo>
                    <a:pt x="924" y="324"/>
                  </a:lnTo>
                  <a:lnTo>
                    <a:pt x="918" y="318"/>
                  </a:lnTo>
                  <a:lnTo>
                    <a:pt x="912" y="306"/>
                  </a:lnTo>
                  <a:lnTo>
                    <a:pt x="918" y="306"/>
                  </a:lnTo>
                  <a:lnTo>
                    <a:pt x="924" y="300"/>
                  </a:lnTo>
                  <a:lnTo>
                    <a:pt x="924" y="294"/>
                  </a:lnTo>
                  <a:lnTo>
                    <a:pt x="924" y="288"/>
                  </a:lnTo>
                  <a:lnTo>
                    <a:pt x="924" y="282"/>
                  </a:lnTo>
                  <a:lnTo>
                    <a:pt x="924" y="276"/>
                  </a:lnTo>
                  <a:lnTo>
                    <a:pt x="918" y="270"/>
                  </a:lnTo>
                  <a:lnTo>
                    <a:pt x="918" y="264"/>
                  </a:lnTo>
                  <a:lnTo>
                    <a:pt x="912" y="270"/>
                  </a:lnTo>
                  <a:lnTo>
                    <a:pt x="912" y="264"/>
                  </a:lnTo>
                  <a:lnTo>
                    <a:pt x="912" y="258"/>
                  </a:lnTo>
                  <a:lnTo>
                    <a:pt x="912" y="252"/>
                  </a:lnTo>
                  <a:lnTo>
                    <a:pt x="906" y="252"/>
                  </a:lnTo>
                  <a:lnTo>
                    <a:pt x="900" y="246"/>
                  </a:lnTo>
                  <a:lnTo>
                    <a:pt x="900" y="240"/>
                  </a:lnTo>
                  <a:lnTo>
                    <a:pt x="900" y="246"/>
                  </a:lnTo>
                  <a:lnTo>
                    <a:pt x="894" y="246"/>
                  </a:lnTo>
                  <a:lnTo>
                    <a:pt x="894" y="240"/>
                  </a:lnTo>
                  <a:lnTo>
                    <a:pt x="894" y="234"/>
                  </a:lnTo>
                  <a:lnTo>
                    <a:pt x="900" y="234"/>
                  </a:lnTo>
                  <a:lnTo>
                    <a:pt x="900" y="228"/>
                  </a:lnTo>
                  <a:lnTo>
                    <a:pt x="906" y="228"/>
                  </a:lnTo>
                  <a:lnTo>
                    <a:pt x="900" y="222"/>
                  </a:lnTo>
                  <a:lnTo>
                    <a:pt x="894" y="216"/>
                  </a:lnTo>
                  <a:lnTo>
                    <a:pt x="894" y="210"/>
                  </a:lnTo>
                  <a:lnTo>
                    <a:pt x="888" y="210"/>
                  </a:lnTo>
                  <a:lnTo>
                    <a:pt x="888" y="204"/>
                  </a:lnTo>
                  <a:lnTo>
                    <a:pt x="888" y="198"/>
                  </a:lnTo>
                  <a:lnTo>
                    <a:pt x="888" y="192"/>
                  </a:lnTo>
                  <a:lnTo>
                    <a:pt x="882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82" y="174"/>
                  </a:lnTo>
                  <a:lnTo>
                    <a:pt x="888" y="168"/>
                  </a:lnTo>
                  <a:lnTo>
                    <a:pt x="888" y="162"/>
                  </a:lnTo>
                  <a:lnTo>
                    <a:pt x="888" y="156"/>
                  </a:lnTo>
                  <a:lnTo>
                    <a:pt x="888" y="150"/>
                  </a:lnTo>
                  <a:lnTo>
                    <a:pt x="888" y="144"/>
                  </a:lnTo>
                  <a:lnTo>
                    <a:pt x="882" y="144"/>
                  </a:lnTo>
                  <a:lnTo>
                    <a:pt x="882" y="138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76" y="120"/>
                  </a:lnTo>
                  <a:lnTo>
                    <a:pt x="882" y="114"/>
                  </a:lnTo>
                  <a:lnTo>
                    <a:pt x="882" y="108"/>
                  </a:lnTo>
                  <a:lnTo>
                    <a:pt x="888" y="102"/>
                  </a:lnTo>
                  <a:lnTo>
                    <a:pt x="894" y="102"/>
                  </a:lnTo>
                  <a:lnTo>
                    <a:pt x="894" y="96"/>
                  </a:lnTo>
                  <a:lnTo>
                    <a:pt x="888" y="96"/>
                  </a:lnTo>
                  <a:lnTo>
                    <a:pt x="894" y="90"/>
                  </a:lnTo>
                  <a:lnTo>
                    <a:pt x="888" y="84"/>
                  </a:lnTo>
                  <a:lnTo>
                    <a:pt x="888" y="78"/>
                  </a:lnTo>
                  <a:lnTo>
                    <a:pt x="924" y="66"/>
                  </a:lnTo>
                  <a:lnTo>
                    <a:pt x="966" y="66"/>
                  </a:lnTo>
                  <a:lnTo>
                    <a:pt x="996" y="48"/>
                  </a:lnTo>
                  <a:lnTo>
                    <a:pt x="1056" y="12"/>
                  </a:lnTo>
                  <a:lnTo>
                    <a:pt x="1128" y="0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0" y="18"/>
                  </a:lnTo>
                  <a:lnTo>
                    <a:pt x="1176" y="24"/>
                  </a:lnTo>
                  <a:lnTo>
                    <a:pt x="1182" y="24"/>
                  </a:lnTo>
                  <a:lnTo>
                    <a:pt x="1188" y="30"/>
                  </a:lnTo>
                  <a:lnTo>
                    <a:pt x="1194" y="30"/>
                  </a:lnTo>
                  <a:lnTo>
                    <a:pt x="1194" y="36"/>
                  </a:lnTo>
                  <a:lnTo>
                    <a:pt x="1260" y="30"/>
                  </a:lnTo>
                  <a:lnTo>
                    <a:pt x="1272" y="30"/>
                  </a:lnTo>
                  <a:lnTo>
                    <a:pt x="1296" y="24"/>
                  </a:lnTo>
                  <a:lnTo>
                    <a:pt x="1302" y="30"/>
                  </a:lnTo>
                  <a:lnTo>
                    <a:pt x="1302" y="36"/>
                  </a:lnTo>
                  <a:lnTo>
                    <a:pt x="1308" y="36"/>
                  </a:lnTo>
                  <a:lnTo>
                    <a:pt x="1314" y="36"/>
                  </a:lnTo>
                  <a:lnTo>
                    <a:pt x="1320" y="36"/>
                  </a:lnTo>
                  <a:lnTo>
                    <a:pt x="1326" y="30"/>
                  </a:lnTo>
                  <a:lnTo>
                    <a:pt x="1332" y="30"/>
                  </a:lnTo>
                  <a:lnTo>
                    <a:pt x="1338" y="30"/>
                  </a:lnTo>
                  <a:lnTo>
                    <a:pt x="1344" y="30"/>
                  </a:lnTo>
                  <a:lnTo>
                    <a:pt x="1374" y="30"/>
                  </a:lnTo>
                  <a:lnTo>
                    <a:pt x="1386" y="30"/>
                  </a:lnTo>
                  <a:lnTo>
                    <a:pt x="1392" y="24"/>
                  </a:lnTo>
                  <a:lnTo>
                    <a:pt x="1398" y="12"/>
                  </a:lnTo>
                  <a:lnTo>
                    <a:pt x="1404" y="6"/>
                  </a:lnTo>
                  <a:lnTo>
                    <a:pt x="1410" y="6"/>
                  </a:lnTo>
                  <a:lnTo>
                    <a:pt x="1410" y="12"/>
                  </a:lnTo>
                  <a:lnTo>
                    <a:pt x="1416" y="18"/>
                  </a:lnTo>
                  <a:lnTo>
                    <a:pt x="1416" y="36"/>
                  </a:lnTo>
                  <a:lnTo>
                    <a:pt x="1434" y="54"/>
                  </a:lnTo>
                  <a:lnTo>
                    <a:pt x="1434" y="60"/>
                  </a:lnTo>
                  <a:lnTo>
                    <a:pt x="1434" y="66"/>
                  </a:lnTo>
                  <a:lnTo>
                    <a:pt x="1434" y="72"/>
                  </a:lnTo>
                  <a:lnTo>
                    <a:pt x="1428" y="72"/>
                  </a:lnTo>
                  <a:lnTo>
                    <a:pt x="1428" y="78"/>
                  </a:lnTo>
                  <a:lnTo>
                    <a:pt x="1434" y="78"/>
                  </a:lnTo>
                  <a:lnTo>
                    <a:pt x="1440" y="84"/>
                  </a:lnTo>
                  <a:lnTo>
                    <a:pt x="1440" y="90"/>
                  </a:lnTo>
                  <a:lnTo>
                    <a:pt x="1440" y="96"/>
                  </a:lnTo>
                  <a:lnTo>
                    <a:pt x="1446" y="96"/>
                  </a:lnTo>
                  <a:lnTo>
                    <a:pt x="1446" y="108"/>
                  </a:lnTo>
                  <a:lnTo>
                    <a:pt x="1452" y="108"/>
                  </a:lnTo>
                  <a:lnTo>
                    <a:pt x="1452" y="114"/>
                  </a:lnTo>
                  <a:lnTo>
                    <a:pt x="1458" y="114"/>
                  </a:lnTo>
                  <a:lnTo>
                    <a:pt x="1470" y="120"/>
                  </a:lnTo>
                  <a:lnTo>
                    <a:pt x="1476" y="120"/>
                  </a:lnTo>
                  <a:lnTo>
                    <a:pt x="1476" y="114"/>
                  </a:lnTo>
                  <a:lnTo>
                    <a:pt x="1488" y="120"/>
                  </a:lnTo>
                  <a:lnTo>
                    <a:pt x="1506" y="120"/>
                  </a:lnTo>
                  <a:lnTo>
                    <a:pt x="1512" y="120"/>
                  </a:lnTo>
                  <a:lnTo>
                    <a:pt x="1518" y="120"/>
                  </a:lnTo>
                  <a:lnTo>
                    <a:pt x="1524" y="126"/>
                  </a:lnTo>
                  <a:lnTo>
                    <a:pt x="1536" y="150"/>
                  </a:lnTo>
                  <a:lnTo>
                    <a:pt x="1548" y="162"/>
                  </a:lnTo>
                  <a:lnTo>
                    <a:pt x="1554" y="168"/>
                  </a:lnTo>
                  <a:lnTo>
                    <a:pt x="1584" y="228"/>
                  </a:lnTo>
                  <a:lnTo>
                    <a:pt x="1584" y="234"/>
                  </a:lnTo>
                  <a:lnTo>
                    <a:pt x="1578" y="312"/>
                  </a:lnTo>
                  <a:lnTo>
                    <a:pt x="1590" y="318"/>
                  </a:lnTo>
                  <a:lnTo>
                    <a:pt x="1608" y="330"/>
                  </a:lnTo>
                  <a:lnTo>
                    <a:pt x="1620" y="342"/>
                  </a:lnTo>
                  <a:lnTo>
                    <a:pt x="1626" y="342"/>
                  </a:lnTo>
                  <a:lnTo>
                    <a:pt x="1692" y="360"/>
                  </a:lnTo>
                  <a:lnTo>
                    <a:pt x="1710" y="408"/>
                  </a:lnTo>
                  <a:lnTo>
                    <a:pt x="1722" y="426"/>
                  </a:lnTo>
                  <a:lnTo>
                    <a:pt x="1716" y="468"/>
                  </a:lnTo>
                  <a:lnTo>
                    <a:pt x="1686" y="486"/>
                  </a:lnTo>
                  <a:lnTo>
                    <a:pt x="1686" y="492"/>
                  </a:lnTo>
                  <a:lnTo>
                    <a:pt x="1680" y="498"/>
                  </a:lnTo>
                  <a:lnTo>
                    <a:pt x="1650" y="558"/>
                  </a:lnTo>
                  <a:lnTo>
                    <a:pt x="1650" y="570"/>
                  </a:lnTo>
                  <a:lnTo>
                    <a:pt x="1644" y="570"/>
                  </a:lnTo>
                  <a:lnTo>
                    <a:pt x="1638" y="582"/>
                  </a:lnTo>
                  <a:lnTo>
                    <a:pt x="1638" y="624"/>
                  </a:lnTo>
                  <a:lnTo>
                    <a:pt x="1638" y="636"/>
                  </a:lnTo>
                  <a:lnTo>
                    <a:pt x="1638" y="642"/>
                  </a:lnTo>
                  <a:lnTo>
                    <a:pt x="1632" y="660"/>
                  </a:lnTo>
                  <a:lnTo>
                    <a:pt x="1608" y="678"/>
                  </a:lnTo>
                  <a:lnTo>
                    <a:pt x="1584" y="690"/>
                  </a:lnTo>
                  <a:lnTo>
                    <a:pt x="1584" y="696"/>
                  </a:lnTo>
                  <a:lnTo>
                    <a:pt x="1578" y="702"/>
                  </a:lnTo>
                  <a:lnTo>
                    <a:pt x="1584" y="702"/>
                  </a:lnTo>
                  <a:lnTo>
                    <a:pt x="1578" y="714"/>
                  </a:lnTo>
                  <a:lnTo>
                    <a:pt x="1572" y="714"/>
                  </a:lnTo>
                  <a:lnTo>
                    <a:pt x="1572" y="720"/>
                  </a:lnTo>
                  <a:lnTo>
                    <a:pt x="1566" y="720"/>
                  </a:lnTo>
                  <a:lnTo>
                    <a:pt x="1560" y="726"/>
                  </a:lnTo>
                  <a:lnTo>
                    <a:pt x="1560" y="732"/>
                  </a:lnTo>
                  <a:lnTo>
                    <a:pt x="1554" y="732"/>
                  </a:lnTo>
                  <a:lnTo>
                    <a:pt x="1554" y="738"/>
                  </a:lnTo>
                  <a:lnTo>
                    <a:pt x="1554" y="744"/>
                  </a:lnTo>
                  <a:lnTo>
                    <a:pt x="1548" y="744"/>
                  </a:lnTo>
                  <a:lnTo>
                    <a:pt x="1548" y="738"/>
                  </a:lnTo>
                  <a:lnTo>
                    <a:pt x="1542" y="738"/>
                  </a:lnTo>
                  <a:lnTo>
                    <a:pt x="1542" y="744"/>
                  </a:lnTo>
                  <a:lnTo>
                    <a:pt x="1542" y="750"/>
                  </a:lnTo>
                  <a:lnTo>
                    <a:pt x="1494" y="804"/>
                  </a:lnTo>
                  <a:lnTo>
                    <a:pt x="1446" y="876"/>
                  </a:lnTo>
                  <a:lnTo>
                    <a:pt x="1440" y="876"/>
                  </a:lnTo>
                  <a:lnTo>
                    <a:pt x="1434" y="876"/>
                  </a:lnTo>
                  <a:lnTo>
                    <a:pt x="1428" y="882"/>
                  </a:lnTo>
                  <a:lnTo>
                    <a:pt x="1422" y="882"/>
                  </a:lnTo>
                  <a:lnTo>
                    <a:pt x="1386" y="924"/>
                  </a:lnTo>
                  <a:lnTo>
                    <a:pt x="1362" y="954"/>
                  </a:lnTo>
                  <a:lnTo>
                    <a:pt x="1356" y="984"/>
                  </a:lnTo>
                  <a:lnTo>
                    <a:pt x="1362" y="1002"/>
                  </a:lnTo>
                  <a:lnTo>
                    <a:pt x="1368" y="1020"/>
                  </a:lnTo>
                  <a:lnTo>
                    <a:pt x="1386" y="1056"/>
                  </a:lnTo>
                  <a:lnTo>
                    <a:pt x="1404" y="1074"/>
                  </a:lnTo>
                  <a:lnTo>
                    <a:pt x="1416" y="1080"/>
                  </a:lnTo>
                  <a:lnTo>
                    <a:pt x="1416" y="1086"/>
                  </a:lnTo>
                  <a:lnTo>
                    <a:pt x="1422" y="1098"/>
                  </a:lnTo>
                  <a:lnTo>
                    <a:pt x="1422" y="1110"/>
                  </a:lnTo>
                  <a:lnTo>
                    <a:pt x="1428" y="1116"/>
                  </a:lnTo>
                  <a:lnTo>
                    <a:pt x="1434" y="1116"/>
                  </a:lnTo>
                  <a:lnTo>
                    <a:pt x="1434" y="1122"/>
                  </a:lnTo>
                  <a:lnTo>
                    <a:pt x="1434" y="1128"/>
                  </a:lnTo>
                  <a:lnTo>
                    <a:pt x="1440" y="1134"/>
                  </a:lnTo>
                  <a:lnTo>
                    <a:pt x="1446" y="1134"/>
                  </a:lnTo>
                  <a:lnTo>
                    <a:pt x="1458" y="1134"/>
                  </a:lnTo>
                  <a:lnTo>
                    <a:pt x="1458" y="1140"/>
                  </a:lnTo>
                  <a:lnTo>
                    <a:pt x="1464" y="1134"/>
                  </a:lnTo>
                  <a:lnTo>
                    <a:pt x="1470" y="1134"/>
                  </a:lnTo>
                  <a:lnTo>
                    <a:pt x="1464" y="1128"/>
                  </a:lnTo>
                  <a:lnTo>
                    <a:pt x="1464" y="1122"/>
                  </a:lnTo>
                  <a:lnTo>
                    <a:pt x="1470" y="1116"/>
                  </a:lnTo>
                  <a:lnTo>
                    <a:pt x="1470" y="1122"/>
                  </a:lnTo>
                  <a:lnTo>
                    <a:pt x="1476" y="1122"/>
                  </a:lnTo>
                  <a:lnTo>
                    <a:pt x="1476" y="1116"/>
                  </a:lnTo>
                  <a:lnTo>
                    <a:pt x="1482" y="1110"/>
                  </a:lnTo>
                  <a:lnTo>
                    <a:pt x="1476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82" y="1086"/>
                  </a:lnTo>
                  <a:lnTo>
                    <a:pt x="1482" y="1074"/>
                  </a:lnTo>
                  <a:lnTo>
                    <a:pt x="1488" y="1068"/>
                  </a:lnTo>
                  <a:lnTo>
                    <a:pt x="1488" y="1062"/>
                  </a:lnTo>
                  <a:lnTo>
                    <a:pt x="1494" y="1062"/>
                  </a:lnTo>
                  <a:lnTo>
                    <a:pt x="1500" y="1062"/>
                  </a:lnTo>
                  <a:lnTo>
                    <a:pt x="1506" y="1062"/>
                  </a:lnTo>
                  <a:lnTo>
                    <a:pt x="1506" y="1056"/>
                  </a:lnTo>
                  <a:lnTo>
                    <a:pt x="1506" y="1062"/>
                  </a:lnTo>
                  <a:lnTo>
                    <a:pt x="1518" y="1062"/>
                  </a:lnTo>
                  <a:lnTo>
                    <a:pt x="1524" y="1062"/>
                  </a:lnTo>
                  <a:lnTo>
                    <a:pt x="1530" y="1062"/>
                  </a:lnTo>
                  <a:lnTo>
                    <a:pt x="1536" y="1068"/>
                  </a:lnTo>
                  <a:lnTo>
                    <a:pt x="1536" y="1074"/>
                  </a:lnTo>
                  <a:lnTo>
                    <a:pt x="1542" y="1086"/>
                  </a:lnTo>
                  <a:lnTo>
                    <a:pt x="1548" y="1086"/>
                  </a:lnTo>
                  <a:lnTo>
                    <a:pt x="1554" y="1086"/>
                  </a:lnTo>
                  <a:lnTo>
                    <a:pt x="1566" y="1098"/>
                  </a:lnTo>
                  <a:lnTo>
                    <a:pt x="1572" y="1104"/>
                  </a:lnTo>
                  <a:lnTo>
                    <a:pt x="1566" y="1110"/>
                  </a:lnTo>
                  <a:lnTo>
                    <a:pt x="1572" y="1116"/>
                  </a:lnTo>
                  <a:lnTo>
                    <a:pt x="1578" y="1116"/>
                  </a:lnTo>
                  <a:lnTo>
                    <a:pt x="1578" y="1122"/>
                  </a:lnTo>
                  <a:lnTo>
                    <a:pt x="1584" y="1122"/>
                  </a:lnTo>
                  <a:lnTo>
                    <a:pt x="1584" y="1128"/>
                  </a:lnTo>
                  <a:lnTo>
                    <a:pt x="1584" y="1134"/>
                  </a:lnTo>
                  <a:lnTo>
                    <a:pt x="1590" y="1134"/>
                  </a:lnTo>
                  <a:lnTo>
                    <a:pt x="1596" y="1140"/>
                  </a:lnTo>
                  <a:lnTo>
                    <a:pt x="1602" y="1146"/>
                  </a:lnTo>
                  <a:lnTo>
                    <a:pt x="1608" y="1146"/>
                  </a:lnTo>
                  <a:lnTo>
                    <a:pt x="1614" y="1146"/>
                  </a:lnTo>
                  <a:lnTo>
                    <a:pt x="1614" y="1152"/>
                  </a:lnTo>
                  <a:lnTo>
                    <a:pt x="1620" y="1152"/>
                  </a:lnTo>
                  <a:lnTo>
                    <a:pt x="1626" y="1164"/>
                  </a:lnTo>
                  <a:lnTo>
                    <a:pt x="1632" y="1170"/>
                  </a:lnTo>
                  <a:lnTo>
                    <a:pt x="1638" y="1176"/>
                  </a:lnTo>
                  <a:lnTo>
                    <a:pt x="1638" y="1182"/>
                  </a:lnTo>
                  <a:lnTo>
                    <a:pt x="1644" y="1194"/>
                  </a:lnTo>
                  <a:lnTo>
                    <a:pt x="1644" y="1200"/>
                  </a:lnTo>
                  <a:lnTo>
                    <a:pt x="1638" y="1200"/>
                  </a:lnTo>
                  <a:lnTo>
                    <a:pt x="1638" y="1206"/>
                  </a:lnTo>
                  <a:lnTo>
                    <a:pt x="1638" y="1212"/>
                  </a:lnTo>
                  <a:lnTo>
                    <a:pt x="1638" y="1218"/>
                  </a:lnTo>
                  <a:lnTo>
                    <a:pt x="1632" y="1242"/>
                  </a:lnTo>
                  <a:lnTo>
                    <a:pt x="1632" y="1266"/>
                  </a:lnTo>
                  <a:lnTo>
                    <a:pt x="1638" y="1284"/>
                  </a:lnTo>
                  <a:lnTo>
                    <a:pt x="1638" y="1296"/>
                  </a:lnTo>
                  <a:lnTo>
                    <a:pt x="1632" y="1296"/>
                  </a:lnTo>
                  <a:lnTo>
                    <a:pt x="1632" y="1302"/>
                  </a:lnTo>
                  <a:lnTo>
                    <a:pt x="1638" y="1314"/>
                  </a:lnTo>
                  <a:lnTo>
                    <a:pt x="1638" y="1320"/>
                  </a:lnTo>
                  <a:lnTo>
                    <a:pt x="1632" y="1320"/>
                  </a:lnTo>
                  <a:lnTo>
                    <a:pt x="1632" y="1326"/>
                  </a:lnTo>
                  <a:lnTo>
                    <a:pt x="1644" y="1332"/>
                  </a:lnTo>
                  <a:lnTo>
                    <a:pt x="1644" y="1338"/>
                  </a:lnTo>
                  <a:lnTo>
                    <a:pt x="1650" y="1344"/>
                  </a:lnTo>
                  <a:lnTo>
                    <a:pt x="1668" y="1362"/>
                  </a:lnTo>
                  <a:lnTo>
                    <a:pt x="1668" y="1368"/>
                  </a:lnTo>
                  <a:lnTo>
                    <a:pt x="1674" y="1392"/>
                  </a:lnTo>
                  <a:lnTo>
                    <a:pt x="1686" y="140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2" name="Freeform 17">
              <a:extLst>
                <a:ext uri="{FF2B5EF4-FFF2-40B4-BE49-F238E27FC236}">
                  <a16:creationId xmlns:a16="http://schemas.microsoft.com/office/drawing/2014/main" id="{9F9DF7AF-2203-4CCB-AF1B-32CDAF87CC5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416927"/>
              <a:ext cx="816209" cy="574781"/>
            </a:xfrm>
            <a:custGeom>
              <a:avLst/>
              <a:gdLst>
                <a:gd name="T0" fmla="*/ 115 w 1536"/>
                <a:gd name="T1" fmla="*/ 89 h 1080"/>
                <a:gd name="T2" fmla="*/ 113 w 1536"/>
                <a:gd name="T3" fmla="*/ 92 h 1080"/>
                <a:gd name="T4" fmla="*/ 107 w 1536"/>
                <a:gd name="T5" fmla="*/ 93 h 1080"/>
                <a:gd name="T6" fmla="*/ 108 w 1536"/>
                <a:gd name="T7" fmla="*/ 90 h 1080"/>
                <a:gd name="T8" fmla="*/ 105 w 1536"/>
                <a:gd name="T9" fmla="*/ 87 h 1080"/>
                <a:gd name="T10" fmla="*/ 102 w 1536"/>
                <a:gd name="T11" fmla="*/ 85 h 1080"/>
                <a:gd name="T12" fmla="*/ 89 w 1536"/>
                <a:gd name="T13" fmla="*/ 80 h 1080"/>
                <a:gd name="T14" fmla="*/ 85 w 1536"/>
                <a:gd name="T15" fmla="*/ 82 h 1080"/>
                <a:gd name="T16" fmla="*/ 82 w 1536"/>
                <a:gd name="T17" fmla="*/ 80 h 1080"/>
                <a:gd name="T18" fmla="*/ 80 w 1536"/>
                <a:gd name="T19" fmla="*/ 75 h 1080"/>
                <a:gd name="T20" fmla="*/ 75 w 1536"/>
                <a:gd name="T21" fmla="*/ 72 h 1080"/>
                <a:gd name="T22" fmla="*/ 61 w 1536"/>
                <a:gd name="T23" fmla="*/ 70 h 1080"/>
                <a:gd name="T24" fmla="*/ 62 w 1536"/>
                <a:gd name="T25" fmla="*/ 72 h 1080"/>
                <a:gd name="T26" fmla="*/ 58 w 1536"/>
                <a:gd name="T27" fmla="*/ 75 h 1080"/>
                <a:gd name="T28" fmla="*/ 49 w 1536"/>
                <a:gd name="T29" fmla="*/ 76 h 1080"/>
                <a:gd name="T30" fmla="*/ 41 w 1536"/>
                <a:gd name="T31" fmla="*/ 79 h 1080"/>
                <a:gd name="T32" fmla="*/ 41 w 1536"/>
                <a:gd name="T33" fmla="*/ 77 h 1080"/>
                <a:gd name="T34" fmla="*/ 39 w 1536"/>
                <a:gd name="T35" fmla="*/ 74 h 1080"/>
                <a:gd name="T36" fmla="*/ 28 w 1536"/>
                <a:gd name="T37" fmla="*/ 78 h 1080"/>
                <a:gd name="T38" fmla="*/ 18 w 1536"/>
                <a:gd name="T39" fmla="*/ 85 h 1080"/>
                <a:gd name="T40" fmla="*/ 18 w 1536"/>
                <a:gd name="T41" fmla="*/ 77 h 1080"/>
                <a:gd name="T42" fmla="*/ 19 w 1536"/>
                <a:gd name="T43" fmla="*/ 69 h 1080"/>
                <a:gd name="T44" fmla="*/ 16 w 1536"/>
                <a:gd name="T45" fmla="*/ 69 h 1080"/>
                <a:gd name="T46" fmla="*/ 11 w 1536"/>
                <a:gd name="T47" fmla="*/ 69 h 1080"/>
                <a:gd name="T48" fmla="*/ 5 w 1536"/>
                <a:gd name="T49" fmla="*/ 68 h 1080"/>
                <a:gd name="T50" fmla="*/ 1 w 1536"/>
                <a:gd name="T51" fmla="*/ 63 h 1080"/>
                <a:gd name="T52" fmla="*/ 3 w 1536"/>
                <a:gd name="T53" fmla="*/ 59 h 1080"/>
                <a:gd name="T54" fmla="*/ 9 w 1536"/>
                <a:gd name="T55" fmla="*/ 54 h 1080"/>
                <a:gd name="T56" fmla="*/ 15 w 1536"/>
                <a:gd name="T57" fmla="*/ 47 h 1080"/>
                <a:gd name="T58" fmla="*/ 17 w 1536"/>
                <a:gd name="T59" fmla="*/ 40 h 1080"/>
                <a:gd name="T60" fmla="*/ 12 w 1536"/>
                <a:gd name="T61" fmla="*/ 33 h 1080"/>
                <a:gd name="T62" fmla="*/ 10 w 1536"/>
                <a:gd name="T63" fmla="*/ 21 h 1080"/>
                <a:gd name="T64" fmla="*/ 6 w 1536"/>
                <a:gd name="T65" fmla="*/ 14 h 1080"/>
                <a:gd name="T66" fmla="*/ 7 w 1536"/>
                <a:gd name="T67" fmla="*/ 9 h 1080"/>
                <a:gd name="T68" fmla="*/ 12 w 1536"/>
                <a:gd name="T69" fmla="*/ 7 h 1080"/>
                <a:gd name="T70" fmla="*/ 16 w 1536"/>
                <a:gd name="T71" fmla="*/ 8 h 1080"/>
                <a:gd name="T72" fmla="*/ 19 w 1536"/>
                <a:gd name="T73" fmla="*/ 8 h 1080"/>
                <a:gd name="T74" fmla="*/ 22 w 1536"/>
                <a:gd name="T75" fmla="*/ 9 h 1080"/>
                <a:gd name="T76" fmla="*/ 29 w 1536"/>
                <a:gd name="T77" fmla="*/ 12 h 1080"/>
                <a:gd name="T78" fmla="*/ 33 w 1536"/>
                <a:gd name="T79" fmla="*/ 13 h 1080"/>
                <a:gd name="T80" fmla="*/ 38 w 1536"/>
                <a:gd name="T81" fmla="*/ 15 h 1080"/>
                <a:gd name="T82" fmla="*/ 42 w 1536"/>
                <a:gd name="T83" fmla="*/ 17 h 1080"/>
                <a:gd name="T84" fmla="*/ 47 w 1536"/>
                <a:gd name="T85" fmla="*/ 19 h 1080"/>
                <a:gd name="T86" fmla="*/ 51 w 1536"/>
                <a:gd name="T87" fmla="*/ 21 h 1080"/>
                <a:gd name="T88" fmla="*/ 50 w 1536"/>
                <a:gd name="T89" fmla="*/ 15 h 1080"/>
                <a:gd name="T90" fmla="*/ 56 w 1536"/>
                <a:gd name="T91" fmla="*/ 0 h 1080"/>
                <a:gd name="T92" fmla="*/ 74 w 1536"/>
                <a:gd name="T93" fmla="*/ 5 h 1080"/>
                <a:gd name="T94" fmla="*/ 87 w 1536"/>
                <a:gd name="T95" fmla="*/ 6 h 1080"/>
                <a:gd name="T96" fmla="*/ 92 w 1536"/>
                <a:gd name="T97" fmla="*/ 11 h 1080"/>
                <a:gd name="T98" fmla="*/ 95 w 1536"/>
                <a:gd name="T99" fmla="*/ 15 h 1080"/>
                <a:gd name="T100" fmla="*/ 93 w 1536"/>
                <a:gd name="T101" fmla="*/ 20 h 1080"/>
                <a:gd name="T102" fmla="*/ 108 w 1536"/>
                <a:gd name="T103" fmla="*/ 18 h 1080"/>
                <a:gd name="T104" fmla="*/ 120 w 1536"/>
                <a:gd name="T105" fmla="*/ 21 h 1080"/>
                <a:gd name="T106" fmla="*/ 127 w 1536"/>
                <a:gd name="T107" fmla="*/ 29 h 1080"/>
                <a:gd name="T108" fmla="*/ 130 w 1536"/>
                <a:gd name="T109" fmla="*/ 30 h 1080"/>
                <a:gd name="T110" fmla="*/ 130 w 1536"/>
                <a:gd name="T111" fmla="*/ 49 h 1080"/>
                <a:gd name="T112" fmla="*/ 120 w 1536"/>
                <a:gd name="T113" fmla="*/ 69 h 1080"/>
                <a:gd name="T114" fmla="*/ 119 w 1536"/>
                <a:gd name="T115" fmla="*/ 74 h 1080"/>
                <a:gd name="T116" fmla="*/ 118 w 1536"/>
                <a:gd name="T117" fmla="*/ 80 h 108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536"/>
                <a:gd name="T178" fmla="*/ 0 h 1080"/>
                <a:gd name="T179" fmla="*/ 1536 w 1536"/>
                <a:gd name="T180" fmla="*/ 1080 h 108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536" h="1080">
                  <a:moveTo>
                    <a:pt x="1350" y="1020"/>
                  </a:moveTo>
                  <a:lnTo>
                    <a:pt x="1350" y="1026"/>
                  </a:lnTo>
                  <a:lnTo>
                    <a:pt x="1344" y="1026"/>
                  </a:lnTo>
                  <a:lnTo>
                    <a:pt x="1338" y="1032"/>
                  </a:lnTo>
                  <a:lnTo>
                    <a:pt x="1332" y="1026"/>
                  </a:lnTo>
                  <a:lnTo>
                    <a:pt x="1326" y="1026"/>
                  </a:lnTo>
                  <a:lnTo>
                    <a:pt x="1320" y="1020"/>
                  </a:lnTo>
                  <a:lnTo>
                    <a:pt x="1314" y="1026"/>
                  </a:lnTo>
                  <a:lnTo>
                    <a:pt x="1314" y="1032"/>
                  </a:lnTo>
                  <a:lnTo>
                    <a:pt x="1308" y="1038"/>
                  </a:lnTo>
                  <a:lnTo>
                    <a:pt x="1308" y="1044"/>
                  </a:lnTo>
                  <a:lnTo>
                    <a:pt x="1308" y="1050"/>
                  </a:lnTo>
                  <a:lnTo>
                    <a:pt x="1308" y="1056"/>
                  </a:lnTo>
                  <a:lnTo>
                    <a:pt x="1308" y="1062"/>
                  </a:lnTo>
                  <a:lnTo>
                    <a:pt x="1296" y="1068"/>
                  </a:lnTo>
                  <a:lnTo>
                    <a:pt x="1284" y="1074"/>
                  </a:lnTo>
                  <a:lnTo>
                    <a:pt x="1272" y="1080"/>
                  </a:lnTo>
                  <a:lnTo>
                    <a:pt x="1260" y="1080"/>
                  </a:lnTo>
                  <a:lnTo>
                    <a:pt x="1254" y="1074"/>
                  </a:lnTo>
                  <a:lnTo>
                    <a:pt x="1236" y="1074"/>
                  </a:lnTo>
                  <a:lnTo>
                    <a:pt x="1230" y="1074"/>
                  </a:lnTo>
                  <a:lnTo>
                    <a:pt x="1236" y="1074"/>
                  </a:lnTo>
                  <a:lnTo>
                    <a:pt x="1236" y="1068"/>
                  </a:lnTo>
                  <a:lnTo>
                    <a:pt x="1236" y="1062"/>
                  </a:lnTo>
                  <a:lnTo>
                    <a:pt x="1236" y="1056"/>
                  </a:lnTo>
                  <a:lnTo>
                    <a:pt x="1242" y="1050"/>
                  </a:lnTo>
                  <a:lnTo>
                    <a:pt x="1242" y="1044"/>
                  </a:lnTo>
                  <a:lnTo>
                    <a:pt x="1242" y="1038"/>
                  </a:lnTo>
                  <a:lnTo>
                    <a:pt x="1248" y="1032"/>
                  </a:lnTo>
                  <a:lnTo>
                    <a:pt x="1236" y="1026"/>
                  </a:lnTo>
                  <a:lnTo>
                    <a:pt x="1218" y="1020"/>
                  </a:lnTo>
                  <a:lnTo>
                    <a:pt x="1224" y="1014"/>
                  </a:lnTo>
                  <a:lnTo>
                    <a:pt x="1218" y="1008"/>
                  </a:lnTo>
                  <a:lnTo>
                    <a:pt x="1218" y="1002"/>
                  </a:lnTo>
                  <a:lnTo>
                    <a:pt x="1212" y="1008"/>
                  </a:lnTo>
                  <a:lnTo>
                    <a:pt x="1206" y="1002"/>
                  </a:lnTo>
                  <a:lnTo>
                    <a:pt x="1212" y="1002"/>
                  </a:lnTo>
                  <a:lnTo>
                    <a:pt x="1212" y="996"/>
                  </a:lnTo>
                  <a:lnTo>
                    <a:pt x="1200" y="990"/>
                  </a:lnTo>
                  <a:lnTo>
                    <a:pt x="1200" y="984"/>
                  </a:lnTo>
                  <a:lnTo>
                    <a:pt x="1188" y="984"/>
                  </a:lnTo>
                  <a:lnTo>
                    <a:pt x="1176" y="978"/>
                  </a:lnTo>
                  <a:lnTo>
                    <a:pt x="1164" y="960"/>
                  </a:lnTo>
                  <a:lnTo>
                    <a:pt x="1152" y="936"/>
                  </a:lnTo>
                  <a:lnTo>
                    <a:pt x="1146" y="936"/>
                  </a:lnTo>
                  <a:lnTo>
                    <a:pt x="1128" y="900"/>
                  </a:lnTo>
                  <a:lnTo>
                    <a:pt x="1038" y="912"/>
                  </a:lnTo>
                  <a:lnTo>
                    <a:pt x="1038" y="918"/>
                  </a:lnTo>
                  <a:lnTo>
                    <a:pt x="1032" y="924"/>
                  </a:lnTo>
                  <a:lnTo>
                    <a:pt x="1026" y="918"/>
                  </a:lnTo>
                  <a:lnTo>
                    <a:pt x="1020" y="924"/>
                  </a:lnTo>
                  <a:lnTo>
                    <a:pt x="1008" y="936"/>
                  </a:lnTo>
                  <a:lnTo>
                    <a:pt x="990" y="936"/>
                  </a:lnTo>
                  <a:lnTo>
                    <a:pt x="990" y="942"/>
                  </a:lnTo>
                  <a:lnTo>
                    <a:pt x="996" y="942"/>
                  </a:lnTo>
                  <a:lnTo>
                    <a:pt x="984" y="948"/>
                  </a:lnTo>
                  <a:lnTo>
                    <a:pt x="972" y="948"/>
                  </a:lnTo>
                  <a:lnTo>
                    <a:pt x="960" y="948"/>
                  </a:lnTo>
                  <a:lnTo>
                    <a:pt x="948" y="942"/>
                  </a:lnTo>
                  <a:lnTo>
                    <a:pt x="948" y="936"/>
                  </a:lnTo>
                  <a:lnTo>
                    <a:pt x="942" y="936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30" y="924"/>
                  </a:lnTo>
                  <a:lnTo>
                    <a:pt x="936" y="918"/>
                  </a:lnTo>
                  <a:lnTo>
                    <a:pt x="918" y="918"/>
                  </a:lnTo>
                  <a:lnTo>
                    <a:pt x="918" y="900"/>
                  </a:lnTo>
                  <a:lnTo>
                    <a:pt x="924" y="900"/>
                  </a:lnTo>
                  <a:lnTo>
                    <a:pt x="924" y="894"/>
                  </a:lnTo>
                  <a:lnTo>
                    <a:pt x="924" y="870"/>
                  </a:lnTo>
                  <a:lnTo>
                    <a:pt x="924" y="864"/>
                  </a:lnTo>
                  <a:lnTo>
                    <a:pt x="918" y="858"/>
                  </a:lnTo>
                  <a:lnTo>
                    <a:pt x="918" y="852"/>
                  </a:lnTo>
                  <a:lnTo>
                    <a:pt x="906" y="840"/>
                  </a:lnTo>
                  <a:lnTo>
                    <a:pt x="894" y="834"/>
                  </a:lnTo>
                  <a:lnTo>
                    <a:pt x="876" y="822"/>
                  </a:lnTo>
                  <a:lnTo>
                    <a:pt x="870" y="828"/>
                  </a:lnTo>
                  <a:lnTo>
                    <a:pt x="858" y="816"/>
                  </a:lnTo>
                  <a:lnTo>
                    <a:pt x="810" y="798"/>
                  </a:lnTo>
                  <a:lnTo>
                    <a:pt x="774" y="792"/>
                  </a:lnTo>
                  <a:lnTo>
                    <a:pt x="732" y="798"/>
                  </a:lnTo>
                  <a:lnTo>
                    <a:pt x="726" y="804"/>
                  </a:lnTo>
                  <a:lnTo>
                    <a:pt x="714" y="810"/>
                  </a:lnTo>
                  <a:lnTo>
                    <a:pt x="702" y="810"/>
                  </a:lnTo>
                  <a:lnTo>
                    <a:pt x="690" y="810"/>
                  </a:lnTo>
                  <a:lnTo>
                    <a:pt x="696" y="816"/>
                  </a:lnTo>
                  <a:lnTo>
                    <a:pt x="696" y="822"/>
                  </a:lnTo>
                  <a:lnTo>
                    <a:pt x="702" y="822"/>
                  </a:lnTo>
                  <a:lnTo>
                    <a:pt x="708" y="822"/>
                  </a:lnTo>
                  <a:lnTo>
                    <a:pt x="708" y="828"/>
                  </a:lnTo>
                  <a:lnTo>
                    <a:pt x="708" y="834"/>
                  </a:lnTo>
                  <a:lnTo>
                    <a:pt x="714" y="834"/>
                  </a:lnTo>
                  <a:lnTo>
                    <a:pt x="708" y="846"/>
                  </a:lnTo>
                  <a:lnTo>
                    <a:pt x="708" y="852"/>
                  </a:lnTo>
                  <a:lnTo>
                    <a:pt x="702" y="852"/>
                  </a:lnTo>
                  <a:lnTo>
                    <a:pt x="696" y="858"/>
                  </a:lnTo>
                  <a:lnTo>
                    <a:pt x="690" y="864"/>
                  </a:lnTo>
                  <a:lnTo>
                    <a:pt x="666" y="870"/>
                  </a:lnTo>
                  <a:lnTo>
                    <a:pt x="660" y="876"/>
                  </a:lnTo>
                  <a:lnTo>
                    <a:pt x="642" y="876"/>
                  </a:lnTo>
                  <a:lnTo>
                    <a:pt x="606" y="882"/>
                  </a:lnTo>
                  <a:lnTo>
                    <a:pt x="588" y="882"/>
                  </a:lnTo>
                  <a:lnTo>
                    <a:pt x="582" y="876"/>
                  </a:lnTo>
                  <a:lnTo>
                    <a:pt x="576" y="876"/>
                  </a:lnTo>
                  <a:lnTo>
                    <a:pt x="564" y="876"/>
                  </a:lnTo>
                  <a:lnTo>
                    <a:pt x="552" y="882"/>
                  </a:lnTo>
                  <a:lnTo>
                    <a:pt x="540" y="894"/>
                  </a:lnTo>
                  <a:lnTo>
                    <a:pt x="534" y="906"/>
                  </a:lnTo>
                  <a:lnTo>
                    <a:pt x="528" y="912"/>
                  </a:lnTo>
                  <a:lnTo>
                    <a:pt x="516" y="924"/>
                  </a:lnTo>
                  <a:lnTo>
                    <a:pt x="486" y="930"/>
                  </a:lnTo>
                  <a:lnTo>
                    <a:pt x="474" y="912"/>
                  </a:lnTo>
                  <a:lnTo>
                    <a:pt x="474" y="906"/>
                  </a:lnTo>
                  <a:lnTo>
                    <a:pt x="468" y="906"/>
                  </a:lnTo>
                  <a:lnTo>
                    <a:pt x="468" y="900"/>
                  </a:lnTo>
                  <a:lnTo>
                    <a:pt x="462" y="894"/>
                  </a:lnTo>
                  <a:lnTo>
                    <a:pt x="456" y="894"/>
                  </a:lnTo>
                  <a:lnTo>
                    <a:pt x="462" y="888"/>
                  </a:lnTo>
                  <a:lnTo>
                    <a:pt x="468" y="888"/>
                  </a:lnTo>
                  <a:lnTo>
                    <a:pt x="462" y="882"/>
                  </a:lnTo>
                  <a:lnTo>
                    <a:pt x="462" y="876"/>
                  </a:lnTo>
                  <a:lnTo>
                    <a:pt x="456" y="870"/>
                  </a:lnTo>
                  <a:lnTo>
                    <a:pt x="456" y="864"/>
                  </a:lnTo>
                  <a:lnTo>
                    <a:pt x="450" y="858"/>
                  </a:lnTo>
                  <a:lnTo>
                    <a:pt x="444" y="858"/>
                  </a:lnTo>
                  <a:lnTo>
                    <a:pt x="444" y="852"/>
                  </a:lnTo>
                  <a:lnTo>
                    <a:pt x="438" y="852"/>
                  </a:lnTo>
                  <a:lnTo>
                    <a:pt x="438" y="858"/>
                  </a:lnTo>
                  <a:lnTo>
                    <a:pt x="402" y="870"/>
                  </a:lnTo>
                  <a:lnTo>
                    <a:pt x="390" y="882"/>
                  </a:lnTo>
                  <a:lnTo>
                    <a:pt x="384" y="900"/>
                  </a:lnTo>
                  <a:lnTo>
                    <a:pt x="342" y="900"/>
                  </a:lnTo>
                  <a:lnTo>
                    <a:pt x="324" y="900"/>
                  </a:lnTo>
                  <a:lnTo>
                    <a:pt x="294" y="906"/>
                  </a:lnTo>
                  <a:lnTo>
                    <a:pt x="282" y="948"/>
                  </a:lnTo>
                  <a:lnTo>
                    <a:pt x="282" y="978"/>
                  </a:lnTo>
                  <a:lnTo>
                    <a:pt x="270" y="1008"/>
                  </a:lnTo>
                  <a:lnTo>
                    <a:pt x="240" y="1014"/>
                  </a:lnTo>
                  <a:lnTo>
                    <a:pt x="216" y="996"/>
                  </a:lnTo>
                  <a:lnTo>
                    <a:pt x="204" y="984"/>
                  </a:lnTo>
                  <a:lnTo>
                    <a:pt x="192" y="966"/>
                  </a:lnTo>
                  <a:lnTo>
                    <a:pt x="186" y="948"/>
                  </a:lnTo>
                  <a:lnTo>
                    <a:pt x="174" y="948"/>
                  </a:lnTo>
                  <a:lnTo>
                    <a:pt x="174" y="936"/>
                  </a:lnTo>
                  <a:lnTo>
                    <a:pt x="186" y="924"/>
                  </a:lnTo>
                  <a:lnTo>
                    <a:pt x="198" y="906"/>
                  </a:lnTo>
                  <a:lnTo>
                    <a:pt x="204" y="888"/>
                  </a:lnTo>
                  <a:lnTo>
                    <a:pt x="222" y="870"/>
                  </a:lnTo>
                  <a:lnTo>
                    <a:pt x="234" y="858"/>
                  </a:lnTo>
                  <a:lnTo>
                    <a:pt x="234" y="852"/>
                  </a:lnTo>
                  <a:lnTo>
                    <a:pt x="222" y="852"/>
                  </a:lnTo>
                  <a:lnTo>
                    <a:pt x="228" y="810"/>
                  </a:lnTo>
                  <a:lnTo>
                    <a:pt x="222" y="798"/>
                  </a:lnTo>
                  <a:lnTo>
                    <a:pt x="216" y="798"/>
                  </a:lnTo>
                  <a:lnTo>
                    <a:pt x="216" y="792"/>
                  </a:lnTo>
                  <a:lnTo>
                    <a:pt x="210" y="792"/>
                  </a:lnTo>
                  <a:lnTo>
                    <a:pt x="204" y="798"/>
                  </a:lnTo>
                  <a:lnTo>
                    <a:pt x="204" y="792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0" y="786"/>
                  </a:lnTo>
                  <a:lnTo>
                    <a:pt x="174" y="792"/>
                  </a:lnTo>
                  <a:lnTo>
                    <a:pt x="162" y="792"/>
                  </a:lnTo>
                  <a:lnTo>
                    <a:pt x="156" y="792"/>
                  </a:lnTo>
                  <a:lnTo>
                    <a:pt x="156" y="798"/>
                  </a:lnTo>
                  <a:lnTo>
                    <a:pt x="138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6" y="804"/>
                  </a:lnTo>
                  <a:lnTo>
                    <a:pt x="102" y="810"/>
                  </a:lnTo>
                  <a:lnTo>
                    <a:pt x="90" y="810"/>
                  </a:lnTo>
                  <a:lnTo>
                    <a:pt x="72" y="798"/>
                  </a:lnTo>
                  <a:lnTo>
                    <a:pt x="66" y="780"/>
                  </a:lnTo>
                  <a:lnTo>
                    <a:pt x="60" y="780"/>
                  </a:lnTo>
                  <a:lnTo>
                    <a:pt x="60" y="768"/>
                  </a:lnTo>
                  <a:lnTo>
                    <a:pt x="54" y="768"/>
                  </a:lnTo>
                  <a:lnTo>
                    <a:pt x="24" y="756"/>
                  </a:lnTo>
                  <a:lnTo>
                    <a:pt x="18" y="744"/>
                  </a:lnTo>
                  <a:lnTo>
                    <a:pt x="12" y="738"/>
                  </a:lnTo>
                  <a:lnTo>
                    <a:pt x="18" y="732"/>
                  </a:lnTo>
                  <a:lnTo>
                    <a:pt x="12" y="726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8" y="696"/>
                  </a:lnTo>
                  <a:lnTo>
                    <a:pt x="24" y="708"/>
                  </a:lnTo>
                  <a:lnTo>
                    <a:pt x="36" y="702"/>
                  </a:lnTo>
                  <a:lnTo>
                    <a:pt x="36" y="678"/>
                  </a:lnTo>
                  <a:lnTo>
                    <a:pt x="36" y="660"/>
                  </a:lnTo>
                  <a:lnTo>
                    <a:pt x="42" y="654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72" y="624"/>
                  </a:lnTo>
                  <a:lnTo>
                    <a:pt x="90" y="618"/>
                  </a:lnTo>
                  <a:lnTo>
                    <a:pt x="102" y="618"/>
                  </a:lnTo>
                  <a:lnTo>
                    <a:pt x="114" y="612"/>
                  </a:lnTo>
                  <a:lnTo>
                    <a:pt x="138" y="606"/>
                  </a:lnTo>
                  <a:lnTo>
                    <a:pt x="144" y="606"/>
                  </a:lnTo>
                  <a:lnTo>
                    <a:pt x="150" y="594"/>
                  </a:lnTo>
                  <a:lnTo>
                    <a:pt x="156" y="576"/>
                  </a:lnTo>
                  <a:lnTo>
                    <a:pt x="168" y="552"/>
                  </a:lnTo>
                  <a:lnTo>
                    <a:pt x="168" y="540"/>
                  </a:lnTo>
                  <a:lnTo>
                    <a:pt x="180" y="522"/>
                  </a:lnTo>
                  <a:lnTo>
                    <a:pt x="186" y="498"/>
                  </a:lnTo>
                  <a:lnTo>
                    <a:pt x="198" y="480"/>
                  </a:lnTo>
                  <a:lnTo>
                    <a:pt x="204" y="486"/>
                  </a:lnTo>
                  <a:lnTo>
                    <a:pt x="210" y="480"/>
                  </a:lnTo>
                  <a:lnTo>
                    <a:pt x="204" y="474"/>
                  </a:lnTo>
                  <a:lnTo>
                    <a:pt x="198" y="462"/>
                  </a:lnTo>
                  <a:lnTo>
                    <a:pt x="192" y="456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50"/>
                  </a:lnTo>
                  <a:lnTo>
                    <a:pt x="132" y="426"/>
                  </a:lnTo>
                  <a:lnTo>
                    <a:pt x="132" y="396"/>
                  </a:lnTo>
                  <a:lnTo>
                    <a:pt x="132" y="378"/>
                  </a:lnTo>
                  <a:lnTo>
                    <a:pt x="126" y="348"/>
                  </a:lnTo>
                  <a:lnTo>
                    <a:pt x="132" y="312"/>
                  </a:lnTo>
                  <a:lnTo>
                    <a:pt x="126" y="288"/>
                  </a:lnTo>
                  <a:lnTo>
                    <a:pt x="138" y="282"/>
                  </a:lnTo>
                  <a:lnTo>
                    <a:pt x="126" y="264"/>
                  </a:lnTo>
                  <a:lnTo>
                    <a:pt x="126" y="258"/>
                  </a:lnTo>
                  <a:lnTo>
                    <a:pt x="120" y="246"/>
                  </a:lnTo>
                  <a:lnTo>
                    <a:pt x="126" y="234"/>
                  </a:lnTo>
                  <a:lnTo>
                    <a:pt x="114" y="228"/>
                  </a:lnTo>
                  <a:lnTo>
                    <a:pt x="114" y="222"/>
                  </a:lnTo>
                  <a:lnTo>
                    <a:pt x="96" y="204"/>
                  </a:lnTo>
                  <a:lnTo>
                    <a:pt x="84" y="180"/>
                  </a:lnTo>
                  <a:lnTo>
                    <a:pt x="78" y="168"/>
                  </a:lnTo>
                  <a:lnTo>
                    <a:pt x="72" y="162"/>
                  </a:lnTo>
                  <a:lnTo>
                    <a:pt x="66" y="144"/>
                  </a:lnTo>
                  <a:lnTo>
                    <a:pt x="60" y="138"/>
                  </a:lnTo>
                  <a:lnTo>
                    <a:pt x="66" y="126"/>
                  </a:lnTo>
                  <a:lnTo>
                    <a:pt x="66" y="114"/>
                  </a:lnTo>
                  <a:lnTo>
                    <a:pt x="72" y="114"/>
                  </a:lnTo>
                  <a:lnTo>
                    <a:pt x="72" y="108"/>
                  </a:lnTo>
                  <a:lnTo>
                    <a:pt x="78" y="102"/>
                  </a:lnTo>
                  <a:lnTo>
                    <a:pt x="78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120" y="78"/>
                  </a:lnTo>
                  <a:lnTo>
                    <a:pt x="144" y="84"/>
                  </a:lnTo>
                  <a:lnTo>
                    <a:pt x="150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74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92" y="102"/>
                  </a:lnTo>
                  <a:lnTo>
                    <a:pt x="198" y="96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16" y="96"/>
                  </a:lnTo>
                  <a:lnTo>
                    <a:pt x="222" y="96"/>
                  </a:lnTo>
                  <a:lnTo>
                    <a:pt x="228" y="96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94" y="114"/>
                  </a:lnTo>
                  <a:lnTo>
                    <a:pt x="312" y="120"/>
                  </a:lnTo>
                  <a:lnTo>
                    <a:pt x="318" y="126"/>
                  </a:lnTo>
                  <a:lnTo>
                    <a:pt x="330" y="132"/>
                  </a:lnTo>
                  <a:lnTo>
                    <a:pt x="342" y="132"/>
                  </a:lnTo>
                  <a:lnTo>
                    <a:pt x="348" y="132"/>
                  </a:lnTo>
                  <a:lnTo>
                    <a:pt x="354" y="138"/>
                  </a:lnTo>
                  <a:lnTo>
                    <a:pt x="366" y="138"/>
                  </a:lnTo>
                  <a:lnTo>
                    <a:pt x="372" y="144"/>
                  </a:lnTo>
                  <a:lnTo>
                    <a:pt x="378" y="150"/>
                  </a:lnTo>
                  <a:lnTo>
                    <a:pt x="384" y="150"/>
                  </a:lnTo>
                  <a:lnTo>
                    <a:pt x="390" y="150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14" y="156"/>
                  </a:lnTo>
                  <a:lnTo>
                    <a:pt x="420" y="156"/>
                  </a:lnTo>
                  <a:lnTo>
                    <a:pt x="426" y="162"/>
                  </a:lnTo>
                  <a:lnTo>
                    <a:pt x="438" y="168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62" y="174"/>
                  </a:lnTo>
                  <a:lnTo>
                    <a:pt x="468" y="174"/>
                  </a:lnTo>
                  <a:lnTo>
                    <a:pt x="474" y="174"/>
                  </a:lnTo>
                  <a:lnTo>
                    <a:pt x="474" y="180"/>
                  </a:lnTo>
                  <a:lnTo>
                    <a:pt x="480" y="192"/>
                  </a:lnTo>
                  <a:lnTo>
                    <a:pt x="498" y="198"/>
                  </a:lnTo>
                  <a:lnTo>
                    <a:pt x="510" y="210"/>
                  </a:lnTo>
                  <a:lnTo>
                    <a:pt x="516" y="210"/>
                  </a:lnTo>
                  <a:lnTo>
                    <a:pt x="522" y="210"/>
                  </a:lnTo>
                  <a:lnTo>
                    <a:pt x="534" y="216"/>
                  </a:lnTo>
                  <a:lnTo>
                    <a:pt x="540" y="216"/>
                  </a:lnTo>
                  <a:lnTo>
                    <a:pt x="546" y="222"/>
                  </a:lnTo>
                  <a:lnTo>
                    <a:pt x="552" y="222"/>
                  </a:lnTo>
                  <a:lnTo>
                    <a:pt x="558" y="228"/>
                  </a:lnTo>
                  <a:lnTo>
                    <a:pt x="564" y="228"/>
                  </a:lnTo>
                  <a:lnTo>
                    <a:pt x="570" y="234"/>
                  </a:lnTo>
                  <a:lnTo>
                    <a:pt x="576" y="240"/>
                  </a:lnTo>
                  <a:lnTo>
                    <a:pt x="582" y="240"/>
                  </a:lnTo>
                  <a:lnTo>
                    <a:pt x="588" y="240"/>
                  </a:lnTo>
                  <a:lnTo>
                    <a:pt x="594" y="240"/>
                  </a:lnTo>
                  <a:lnTo>
                    <a:pt x="600" y="228"/>
                  </a:lnTo>
                  <a:lnTo>
                    <a:pt x="588" y="216"/>
                  </a:lnTo>
                  <a:lnTo>
                    <a:pt x="588" y="198"/>
                  </a:lnTo>
                  <a:lnTo>
                    <a:pt x="582" y="198"/>
                  </a:lnTo>
                  <a:lnTo>
                    <a:pt x="588" y="192"/>
                  </a:lnTo>
                  <a:lnTo>
                    <a:pt x="582" y="168"/>
                  </a:lnTo>
                  <a:lnTo>
                    <a:pt x="558" y="114"/>
                  </a:lnTo>
                  <a:lnTo>
                    <a:pt x="552" y="90"/>
                  </a:lnTo>
                  <a:lnTo>
                    <a:pt x="558" y="60"/>
                  </a:lnTo>
                  <a:lnTo>
                    <a:pt x="564" y="48"/>
                  </a:lnTo>
                  <a:lnTo>
                    <a:pt x="582" y="42"/>
                  </a:lnTo>
                  <a:lnTo>
                    <a:pt x="624" y="6"/>
                  </a:lnTo>
                  <a:lnTo>
                    <a:pt x="648" y="0"/>
                  </a:lnTo>
                  <a:lnTo>
                    <a:pt x="678" y="0"/>
                  </a:lnTo>
                  <a:lnTo>
                    <a:pt x="720" y="12"/>
                  </a:lnTo>
                  <a:lnTo>
                    <a:pt x="744" y="24"/>
                  </a:lnTo>
                  <a:lnTo>
                    <a:pt x="768" y="42"/>
                  </a:lnTo>
                  <a:lnTo>
                    <a:pt x="816" y="48"/>
                  </a:lnTo>
                  <a:lnTo>
                    <a:pt x="834" y="48"/>
                  </a:lnTo>
                  <a:lnTo>
                    <a:pt x="852" y="54"/>
                  </a:lnTo>
                  <a:lnTo>
                    <a:pt x="906" y="60"/>
                  </a:lnTo>
                  <a:lnTo>
                    <a:pt x="948" y="54"/>
                  </a:lnTo>
                  <a:lnTo>
                    <a:pt x="978" y="42"/>
                  </a:lnTo>
                  <a:lnTo>
                    <a:pt x="984" y="48"/>
                  </a:lnTo>
                  <a:lnTo>
                    <a:pt x="990" y="60"/>
                  </a:lnTo>
                  <a:lnTo>
                    <a:pt x="996" y="66"/>
                  </a:lnTo>
                  <a:lnTo>
                    <a:pt x="1002" y="72"/>
                  </a:lnTo>
                  <a:lnTo>
                    <a:pt x="1014" y="78"/>
                  </a:lnTo>
                  <a:lnTo>
                    <a:pt x="1014" y="84"/>
                  </a:lnTo>
                  <a:lnTo>
                    <a:pt x="1032" y="84"/>
                  </a:lnTo>
                  <a:lnTo>
                    <a:pt x="1032" y="90"/>
                  </a:lnTo>
                  <a:lnTo>
                    <a:pt x="1032" y="96"/>
                  </a:lnTo>
                  <a:lnTo>
                    <a:pt x="1032" y="108"/>
                  </a:lnTo>
                  <a:lnTo>
                    <a:pt x="1056" y="126"/>
                  </a:lnTo>
                  <a:lnTo>
                    <a:pt x="1068" y="138"/>
                  </a:lnTo>
                  <a:lnTo>
                    <a:pt x="1068" y="156"/>
                  </a:lnTo>
                  <a:lnTo>
                    <a:pt x="1080" y="150"/>
                  </a:lnTo>
                  <a:lnTo>
                    <a:pt x="1086" y="150"/>
                  </a:lnTo>
                  <a:lnTo>
                    <a:pt x="1092" y="156"/>
                  </a:lnTo>
                  <a:lnTo>
                    <a:pt x="1092" y="162"/>
                  </a:lnTo>
                  <a:lnTo>
                    <a:pt x="1092" y="168"/>
                  </a:lnTo>
                  <a:lnTo>
                    <a:pt x="1098" y="168"/>
                  </a:lnTo>
                  <a:lnTo>
                    <a:pt x="1092" y="180"/>
                  </a:lnTo>
                  <a:lnTo>
                    <a:pt x="1092" y="186"/>
                  </a:lnTo>
                  <a:lnTo>
                    <a:pt x="1086" y="192"/>
                  </a:lnTo>
                  <a:lnTo>
                    <a:pt x="1068" y="210"/>
                  </a:lnTo>
                  <a:lnTo>
                    <a:pt x="1068" y="216"/>
                  </a:lnTo>
                  <a:lnTo>
                    <a:pt x="1074" y="228"/>
                  </a:lnTo>
                  <a:lnTo>
                    <a:pt x="1092" y="234"/>
                  </a:lnTo>
                  <a:lnTo>
                    <a:pt x="1122" y="216"/>
                  </a:lnTo>
                  <a:lnTo>
                    <a:pt x="1188" y="204"/>
                  </a:lnTo>
                  <a:lnTo>
                    <a:pt x="1212" y="204"/>
                  </a:lnTo>
                  <a:lnTo>
                    <a:pt x="1230" y="198"/>
                  </a:lnTo>
                  <a:lnTo>
                    <a:pt x="1236" y="204"/>
                  </a:lnTo>
                  <a:lnTo>
                    <a:pt x="1242" y="210"/>
                  </a:lnTo>
                  <a:lnTo>
                    <a:pt x="1242" y="204"/>
                  </a:lnTo>
                  <a:lnTo>
                    <a:pt x="1248" y="198"/>
                  </a:lnTo>
                  <a:lnTo>
                    <a:pt x="1308" y="204"/>
                  </a:lnTo>
                  <a:lnTo>
                    <a:pt x="1338" y="204"/>
                  </a:lnTo>
                  <a:lnTo>
                    <a:pt x="1374" y="228"/>
                  </a:lnTo>
                  <a:lnTo>
                    <a:pt x="1380" y="234"/>
                  </a:lnTo>
                  <a:lnTo>
                    <a:pt x="1380" y="240"/>
                  </a:lnTo>
                  <a:lnTo>
                    <a:pt x="1386" y="252"/>
                  </a:lnTo>
                  <a:lnTo>
                    <a:pt x="1392" y="252"/>
                  </a:lnTo>
                  <a:lnTo>
                    <a:pt x="1416" y="270"/>
                  </a:lnTo>
                  <a:lnTo>
                    <a:pt x="1428" y="294"/>
                  </a:lnTo>
                  <a:lnTo>
                    <a:pt x="1440" y="312"/>
                  </a:lnTo>
                  <a:lnTo>
                    <a:pt x="1452" y="330"/>
                  </a:lnTo>
                  <a:lnTo>
                    <a:pt x="1464" y="330"/>
                  </a:lnTo>
                  <a:lnTo>
                    <a:pt x="1464" y="336"/>
                  </a:lnTo>
                  <a:lnTo>
                    <a:pt x="1470" y="336"/>
                  </a:lnTo>
                  <a:lnTo>
                    <a:pt x="1470" y="342"/>
                  </a:lnTo>
                  <a:lnTo>
                    <a:pt x="1476" y="342"/>
                  </a:lnTo>
                  <a:lnTo>
                    <a:pt x="1488" y="336"/>
                  </a:lnTo>
                  <a:lnTo>
                    <a:pt x="1494" y="342"/>
                  </a:lnTo>
                  <a:lnTo>
                    <a:pt x="1500" y="342"/>
                  </a:lnTo>
                  <a:lnTo>
                    <a:pt x="1512" y="366"/>
                  </a:lnTo>
                  <a:lnTo>
                    <a:pt x="1530" y="396"/>
                  </a:lnTo>
                  <a:lnTo>
                    <a:pt x="1536" y="444"/>
                  </a:lnTo>
                  <a:lnTo>
                    <a:pt x="1530" y="480"/>
                  </a:lnTo>
                  <a:lnTo>
                    <a:pt x="1506" y="510"/>
                  </a:lnTo>
                  <a:lnTo>
                    <a:pt x="1500" y="546"/>
                  </a:lnTo>
                  <a:lnTo>
                    <a:pt x="1494" y="564"/>
                  </a:lnTo>
                  <a:lnTo>
                    <a:pt x="1494" y="576"/>
                  </a:lnTo>
                  <a:lnTo>
                    <a:pt x="1500" y="582"/>
                  </a:lnTo>
                  <a:lnTo>
                    <a:pt x="1494" y="612"/>
                  </a:lnTo>
                  <a:lnTo>
                    <a:pt x="1476" y="630"/>
                  </a:lnTo>
                  <a:lnTo>
                    <a:pt x="1434" y="672"/>
                  </a:lnTo>
                  <a:lnTo>
                    <a:pt x="1392" y="756"/>
                  </a:lnTo>
                  <a:lnTo>
                    <a:pt x="1380" y="792"/>
                  </a:lnTo>
                  <a:lnTo>
                    <a:pt x="1374" y="798"/>
                  </a:lnTo>
                  <a:lnTo>
                    <a:pt x="1368" y="798"/>
                  </a:lnTo>
                  <a:lnTo>
                    <a:pt x="1380" y="804"/>
                  </a:lnTo>
                  <a:lnTo>
                    <a:pt x="1386" y="804"/>
                  </a:lnTo>
                  <a:lnTo>
                    <a:pt x="1380" y="822"/>
                  </a:lnTo>
                  <a:lnTo>
                    <a:pt x="1380" y="852"/>
                  </a:lnTo>
                  <a:lnTo>
                    <a:pt x="1374" y="858"/>
                  </a:lnTo>
                  <a:lnTo>
                    <a:pt x="1380" y="858"/>
                  </a:lnTo>
                  <a:lnTo>
                    <a:pt x="1374" y="864"/>
                  </a:lnTo>
                  <a:lnTo>
                    <a:pt x="1374" y="870"/>
                  </a:lnTo>
                  <a:lnTo>
                    <a:pt x="1374" y="876"/>
                  </a:lnTo>
                  <a:lnTo>
                    <a:pt x="1368" y="900"/>
                  </a:lnTo>
                  <a:lnTo>
                    <a:pt x="1362" y="906"/>
                  </a:lnTo>
                  <a:lnTo>
                    <a:pt x="1362" y="918"/>
                  </a:lnTo>
                  <a:lnTo>
                    <a:pt x="1362" y="924"/>
                  </a:lnTo>
                  <a:lnTo>
                    <a:pt x="1356" y="942"/>
                  </a:lnTo>
                  <a:lnTo>
                    <a:pt x="1350" y="972"/>
                  </a:lnTo>
                  <a:lnTo>
                    <a:pt x="1350" y="1014"/>
                  </a:lnTo>
                  <a:lnTo>
                    <a:pt x="1350" y="10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3" name="Freeform 18">
              <a:extLst>
                <a:ext uri="{FF2B5EF4-FFF2-40B4-BE49-F238E27FC236}">
                  <a16:creationId xmlns:a16="http://schemas.microsoft.com/office/drawing/2014/main" id="{EC11F2E0-3C06-46E2-8AD2-66EBE00FFE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32346" y="3837389"/>
              <a:ext cx="556811" cy="818559"/>
            </a:xfrm>
            <a:custGeom>
              <a:avLst/>
              <a:gdLst>
                <a:gd name="T0" fmla="*/ 12 w 1044"/>
                <a:gd name="T1" fmla="*/ 95 h 1542"/>
                <a:gd name="T2" fmla="*/ 7 w 1044"/>
                <a:gd name="T3" fmla="*/ 93 h 1542"/>
                <a:gd name="T4" fmla="*/ 0 w 1044"/>
                <a:gd name="T5" fmla="*/ 88 h 1542"/>
                <a:gd name="T6" fmla="*/ 3 w 1044"/>
                <a:gd name="T7" fmla="*/ 74 h 1542"/>
                <a:gd name="T8" fmla="*/ 4 w 1044"/>
                <a:gd name="T9" fmla="*/ 59 h 1542"/>
                <a:gd name="T10" fmla="*/ 7 w 1044"/>
                <a:gd name="T11" fmla="*/ 52 h 1542"/>
                <a:gd name="T12" fmla="*/ 20 w 1044"/>
                <a:gd name="T13" fmla="*/ 50 h 1542"/>
                <a:gd name="T14" fmla="*/ 24 w 1044"/>
                <a:gd name="T15" fmla="*/ 46 h 1542"/>
                <a:gd name="T16" fmla="*/ 29 w 1044"/>
                <a:gd name="T17" fmla="*/ 33 h 1542"/>
                <a:gd name="T18" fmla="*/ 32 w 1044"/>
                <a:gd name="T19" fmla="*/ 26 h 1542"/>
                <a:gd name="T20" fmla="*/ 30 w 1044"/>
                <a:gd name="T21" fmla="*/ 20 h 1542"/>
                <a:gd name="T22" fmla="*/ 26 w 1044"/>
                <a:gd name="T23" fmla="*/ 17 h 1542"/>
                <a:gd name="T24" fmla="*/ 28 w 1044"/>
                <a:gd name="T25" fmla="*/ 12 h 1542"/>
                <a:gd name="T26" fmla="*/ 44 w 1044"/>
                <a:gd name="T27" fmla="*/ 5 h 1542"/>
                <a:gd name="T28" fmla="*/ 57 w 1044"/>
                <a:gd name="T29" fmla="*/ 2 h 1542"/>
                <a:gd name="T30" fmla="*/ 65 w 1044"/>
                <a:gd name="T31" fmla="*/ 12 h 1542"/>
                <a:gd name="T32" fmla="*/ 81 w 1044"/>
                <a:gd name="T33" fmla="*/ 9 h 1542"/>
                <a:gd name="T34" fmla="*/ 91 w 1044"/>
                <a:gd name="T35" fmla="*/ 20 h 1542"/>
                <a:gd name="T36" fmla="*/ 89 w 1044"/>
                <a:gd name="T37" fmla="*/ 28 h 1542"/>
                <a:gd name="T38" fmla="*/ 83 w 1044"/>
                <a:gd name="T39" fmla="*/ 33 h 1542"/>
                <a:gd name="T40" fmla="*/ 74 w 1044"/>
                <a:gd name="T41" fmla="*/ 42 h 1542"/>
                <a:gd name="T42" fmla="*/ 58 w 1044"/>
                <a:gd name="T43" fmla="*/ 57 h 1542"/>
                <a:gd name="T44" fmla="*/ 54 w 1044"/>
                <a:gd name="T45" fmla="*/ 65 h 1542"/>
                <a:gd name="T46" fmla="*/ 59 w 1044"/>
                <a:gd name="T47" fmla="*/ 74 h 1542"/>
                <a:gd name="T48" fmla="*/ 55 w 1044"/>
                <a:gd name="T49" fmla="*/ 84 h 1542"/>
                <a:gd name="T50" fmla="*/ 52 w 1044"/>
                <a:gd name="T51" fmla="*/ 98 h 1542"/>
                <a:gd name="T52" fmla="*/ 47 w 1044"/>
                <a:gd name="T53" fmla="*/ 105 h 1542"/>
                <a:gd name="T54" fmla="*/ 42 w 1044"/>
                <a:gd name="T55" fmla="*/ 111 h 1542"/>
                <a:gd name="T56" fmla="*/ 43 w 1044"/>
                <a:gd name="T57" fmla="*/ 120 h 1542"/>
                <a:gd name="T58" fmla="*/ 45 w 1044"/>
                <a:gd name="T59" fmla="*/ 125 h 1542"/>
                <a:gd name="T60" fmla="*/ 44 w 1044"/>
                <a:gd name="T61" fmla="*/ 130 h 1542"/>
                <a:gd name="T62" fmla="*/ 45 w 1044"/>
                <a:gd name="T63" fmla="*/ 131 h 1542"/>
                <a:gd name="T64" fmla="*/ 48 w 1044"/>
                <a:gd name="T65" fmla="*/ 133 h 1542"/>
                <a:gd name="T66" fmla="*/ 39 w 1044"/>
                <a:gd name="T67" fmla="*/ 133 h 1542"/>
                <a:gd name="T68" fmla="*/ 42 w 1044"/>
                <a:gd name="T69" fmla="*/ 132 h 1542"/>
                <a:gd name="T70" fmla="*/ 38 w 1044"/>
                <a:gd name="T71" fmla="*/ 133 h 1542"/>
                <a:gd name="T72" fmla="*/ 37 w 1044"/>
                <a:gd name="T73" fmla="*/ 129 h 1542"/>
                <a:gd name="T74" fmla="*/ 40 w 1044"/>
                <a:gd name="T75" fmla="*/ 125 h 1542"/>
                <a:gd name="T76" fmla="*/ 40 w 1044"/>
                <a:gd name="T77" fmla="*/ 120 h 1542"/>
                <a:gd name="T78" fmla="*/ 40 w 1044"/>
                <a:gd name="T79" fmla="*/ 117 h 1542"/>
                <a:gd name="T80" fmla="*/ 37 w 1044"/>
                <a:gd name="T81" fmla="*/ 120 h 1542"/>
                <a:gd name="T82" fmla="*/ 34 w 1044"/>
                <a:gd name="T83" fmla="*/ 122 h 1542"/>
                <a:gd name="T84" fmla="*/ 36 w 1044"/>
                <a:gd name="T85" fmla="*/ 120 h 1542"/>
                <a:gd name="T86" fmla="*/ 30 w 1044"/>
                <a:gd name="T87" fmla="*/ 120 h 1542"/>
                <a:gd name="T88" fmla="*/ 31 w 1044"/>
                <a:gd name="T89" fmla="*/ 113 h 1542"/>
                <a:gd name="T90" fmla="*/ 29 w 1044"/>
                <a:gd name="T91" fmla="*/ 112 h 1542"/>
                <a:gd name="T92" fmla="*/ 31 w 1044"/>
                <a:gd name="T93" fmla="*/ 117 h 1542"/>
                <a:gd name="T94" fmla="*/ 27 w 1044"/>
                <a:gd name="T95" fmla="*/ 116 h 1542"/>
                <a:gd name="T96" fmla="*/ 25 w 1044"/>
                <a:gd name="T97" fmla="*/ 112 h 1542"/>
                <a:gd name="T98" fmla="*/ 21 w 1044"/>
                <a:gd name="T99" fmla="*/ 109 h 1542"/>
                <a:gd name="T100" fmla="*/ 21 w 1044"/>
                <a:gd name="T101" fmla="*/ 113 h 1542"/>
                <a:gd name="T102" fmla="*/ 40 w 1044"/>
                <a:gd name="T103" fmla="*/ 120 h 1542"/>
                <a:gd name="T104" fmla="*/ 40 w 1044"/>
                <a:gd name="T105" fmla="*/ 121 h 1542"/>
                <a:gd name="T106" fmla="*/ 40 w 1044"/>
                <a:gd name="T107" fmla="*/ 116 h 1542"/>
                <a:gd name="T108" fmla="*/ 38 w 1044"/>
                <a:gd name="T109" fmla="*/ 120 h 1542"/>
                <a:gd name="T110" fmla="*/ 23 w 1044"/>
                <a:gd name="T111" fmla="*/ 110 h 1542"/>
                <a:gd name="T112" fmla="*/ 37 w 1044"/>
                <a:gd name="T113" fmla="*/ 124 h 1542"/>
                <a:gd name="T114" fmla="*/ 40 w 1044"/>
                <a:gd name="T115" fmla="*/ 125 h 1542"/>
                <a:gd name="T116" fmla="*/ 38 w 1044"/>
                <a:gd name="T117" fmla="*/ 128 h 1542"/>
                <a:gd name="T118" fmla="*/ 25 w 1044"/>
                <a:gd name="T119" fmla="*/ 117 h 1542"/>
                <a:gd name="T120" fmla="*/ 27 w 1044"/>
                <a:gd name="T121" fmla="*/ 127 h 1542"/>
                <a:gd name="T122" fmla="*/ 24 w 1044"/>
                <a:gd name="T123" fmla="*/ 113 h 15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4"/>
                <a:gd name="T187" fmla="*/ 0 h 1542"/>
                <a:gd name="T188" fmla="*/ 1044 w 1044"/>
                <a:gd name="T189" fmla="*/ 1542 h 154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4" h="1542">
                  <a:moveTo>
                    <a:pt x="234" y="1278"/>
                  </a:moveTo>
                  <a:lnTo>
                    <a:pt x="228" y="1272"/>
                  </a:lnTo>
                  <a:lnTo>
                    <a:pt x="222" y="1266"/>
                  </a:lnTo>
                  <a:lnTo>
                    <a:pt x="222" y="1260"/>
                  </a:lnTo>
                  <a:lnTo>
                    <a:pt x="204" y="1248"/>
                  </a:lnTo>
                  <a:lnTo>
                    <a:pt x="192" y="1248"/>
                  </a:lnTo>
                  <a:lnTo>
                    <a:pt x="186" y="1236"/>
                  </a:lnTo>
                  <a:lnTo>
                    <a:pt x="174" y="1218"/>
                  </a:lnTo>
                  <a:lnTo>
                    <a:pt x="162" y="1194"/>
                  </a:lnTo>
                  <a:lnTo>
                    <a:pt x="156" y="1182"/>
                  </a:lnTo>
                  <a:lnTo>
                    <a:pt x="162" y="1146"/>
                  </a:lnTo>
                  <a:lnTo>
                    <a:pt x="156" y="1134"/>
                  </a:lnTo>
                  <a:lnTo>
                    <a:pt x="138" y="1122"/>
                  </a:lnTo>
                  <a:lnTo>
                    <a:pt x="132" y="1116"/>
                  </a:lnTo>
                  <a:lnTo>
                    <a:pt x="138" y="1098"/>
                  </a:lnTo>
                  <a:lnTo>
                    <a:pt x="138" y="1092"/>
                  </a:lnTo>
                  <a:lnTo>
                    <a:pt x="138" y="1086"/>
                  </a:lnTo>
                  <a:lnTo>
                    <a:pt x="132" y="1074"/>
                  </a:lnTo>
                  <a:lnTo>
                    <a:pt x="126" y="1074"/>
                  </a:lnTo>
                  <a:lnTo>
                    <a:pt x="126" y="1068"/>
                  </a:lnTo>
                  <a:lnTo>
                    <a:pt x="120" y="1062"/>
                  </a:lnTo>
                  <a:lnTo>
                    <a:pt x="120" y="1056"/>
                  </a:lnTo>
                  <a:lnTo>
                    <a:pt x="114" y="1050"/>
                  </a:lnTo>
                  <a:lnTo>
                    <a:pt x="108" y="1050"/>
                  </a:lnTo>
                  <a:lnTo>
                    <a:pt x="102" y="1056"/>
                  </a:lnTo>
                  <a:lnTo>
                    <a:pt x="102" y="1062"/>
                  </a:lnTo>
                  <a:lnTo>
                    <a:pt x="96" y="1062"/>
                  </a:lnTo>
                  <a:lnTo>
                    <a:pt x="96" y="1068"/>
                  </a:lnTo>
                  <a:lnTo>
                    <a:pt x="96" y="1074"/>
                  </a:lnTo>
                  <a:lnTo>
                    <a:pt x="90" y="1074"/>
                  </a:lnTo>
                  <a:lnTo>
                    <a:pt x="84" y="1080"/>
                  </a:lnTo>
                  <a:lnTo>
                    <a:pt x="78" y="1074"/>
                  </a:lnTo>
                  <a:lnTo>
                    <a:pt x="72" y="1074"/>
                  </a:lnTo>
                  <a:lnTo>
                    <a:pt x="72" y="1068"/>
                  </a:lnTo>
                  <a:lnTo>
                    <a:pt x="72" y="1062"/>
                  </a:lnTo>
                  <a:lnTo>
                    <a:pt x="60" y="1056"/>
                  </a:lnTo>
                  <a:lnTo>
                    <a:pt x="60" y="1044"/>
                  </a:lnTo>
                  <a:lnTo>
                    <a:pt x="60" y="1032"/>
                  </a:lnTo>
                  <a:lnTo>
                    <a:pt x="60" y="1026"/>
                  </a:lnTo>
                  <a:lnTo>
                    <a:pt x="54" y="1026"/>
                  </a:lnTo>
                  <a:lnTo>
                    <a:pt x="48" y="1014"/>
                  </a:lnTo>
                  <a:lnTo>
                    <a:pt x="42" y="1008"/>
                  </a:lnTo>
                  <a:lnTo>
                    <a:pt x="30" y="1008"/>
                  </a:lnTo>
                  <a:lnTo>
                    <a:pt x="30" y="1002"/>
                  </a:lnTo>
                  <a:lnTo>
                    <a:pt x="24" y="1008"/>
                  </a:lnTo>
                  <a:lnTo>
                    <a:pt x="12" y="1008"/>
                  </a:lnTo>
                  <a:lnTo>
                    <a:pt x="6" y="1008"/>
                  </a:lnTo>
                  <a:lnTo>
                    <a:pt x="0" y="1008"/>
                  </a:lnTo>
                  <a:lnTo>
                    <a:pt x="0" y="1002"/>
                  </a:lnTo>
                  <a:lnTo>
                    <a:pt x="6" y="990"/>
                  </a:lnTo>
                  <a:lnTo>
                    <a:pt x="6" y="984"/>
                  </a:lnTo>
                  <a:lnTo>
                    <a:pt x="0" y="978"/>
                  </a:lnTo>
                  <a:lnTo>
                    <a:pt x="6" y="972"/>
                  </a:lnTo>
                  <a:lnTo>
                    <a:pt x="12" y="972"/>
                  </a:lnTo>
                  <a:lnTo>
                    <a:pt x="72" y="978"/>
                  </a:lnTo>
                  <a:lnTo>
                    <a:pt x="78" y="972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30"/>
                  </a:lnTo>
                  <a:lnTo>
                    <a:pt x="54" y="912"/>
                  </a:lnTo>
                  <a:lnTo>
                    <a:pt x="42" y="906"/>
                  </a:lnTo>
                  <a:lnTo>
                    <a:pt x="36" y="894"/>
                  </a:lnTo>
                  <a:lnTo>
                    <a:pt x="30" y="876"/>
                  </a:lnTo>
                  <a:lnTo>
                    <a:pt x="30" y="858"/>
                  </a:lnTo>
                  <a:lnTo>
                    <a:pt x="30" y="840"/>
                  </a:lnTo>
                  <a:lnTo>
                    <a:pt x="36" y="816"/>
                  </a:lnTo>
                  <a:lnTo>
                    <a:pt x="36" y="792"/>
                  </a:lnTo>
                  <a:lnTo>
                    <a:pt x="36" y="780"/>
                  </a:lnTo>
                  <a:lnTo>
                    <a:pt x="12" y="774"/>
                  </a:lnTo>
                  <a:lnTo>
                    <a:pt x="24" y="756"/>
                  </a:lnTo>
                  <a:lnTo>
                    <a:pt x="24" y="744"/>
                  </a:lnTo>
                  <a:lnTo>
                    <a:pt x="30" y="738"/>
                  </a:lnTo>
                  <a:lnTo>
                    <a:pt x="30" y="732"/>
                  </a:lnTo>
                  <a:lnTo>
                    <a:pt x="36" y="720"/>
                  </a:lnTo>
                  <a:lnTo>
                    <a:pt x="42" y="714"/>
                  </a:lnTo>
                  <a:lnTo>
                    <a:pt x="54" y="708"/>
                  </a:lnTo>
                  <a:lnTo>
                    <a:pt x="60" y="702"/>
                  </a:lnTo>
                  <a:lnTo>
                    <a:pt x="48" y="690"/>
                  </a:lnTo>
                  <a:lnTo>
                    <a:pt x="48" y="684"/>
                  </a:lnTo>
                  <a:lnTo>
                    <a:pt x="48" y="678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66"/>
                  </a:lnTo>
                  <a:lnTo>
                    <a:pt x="72" y="654"/>
                  </a:lnTo>
                  <a:lnTo>
                    <a:pt x="72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84" y="630"/>
                  </a:lnTo>
                  <a:lnTo>
                    <a:pt x="90" y="630"/>
                  </a:lnTo>
                  <a:lnTo>
                    <a:pt x="96" y="630"/>
                  </a:lnTo>
                  <a:lnTo>
                    <a:pt x="96" y="624"/>
                  </a:lnTo>
                  <a:lnTo>
                    <a:pt x="90" y="624"/>
                  </a:lnTo>
                  <a:lnTo>
                    <a:pt x="84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90" y="600"/>
                  </a:lnTo>
                  <a:lnTo>
                    <a:pt x="84" y="600"/>
                  </a:lnTo>
                  <a:lnTo>
                    <a:pt x="78" y="594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126" y="564"/>
                  </a:lnTo>
                  <a:lnTo>
                    <a:pt x="144" y="564"/>
                  </a:lnTo>
                  <a:lnTo>
                    <a:pt x="156" y="582"/>
                  </a:lnTo>
                  <a:lnTo>
                    <a:pt x="162" y="600"/>
                  </a:lnTo>
                  <a:lnTo>
                    <a:pt x="180" y="588"/>
                  </a:lnTo>
                  <a:lnTo>
                    <a:pt x="192" y="588"/>
                  </a:lnTo>
                  <a:lnTo>
                    <a:pt x="198" y="588"/>
                  </a:lnTo>
                  <a:lnTo>
                    <a:pt x="210" y="582"/>
                  </a:lnTo>
                  <a:lnTo>
                    <a:pt x="216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58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46" y="558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58" y="570"/>
                  </a:lnTo>
                  <a:lnTo>
                    <a:pt x="264" y="570"/>
                  </a:lnTo>
                  <a:lnTo>
                    <a:pt x="270" y="564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46"/>
                  </a:lnTo>
                  <a:lnTo>
                    <a:pt x="276" y="540"/>
                  </a:lnTo>
                  <a:lnTo>
                    <a:pt x="276" y="534"/>
                  </a:lnTo>
                  <a:lnTo>
                    <a:pt x="276" y="528"/>
                  </a:lnTo>
                  <a:lnTo>
                    <a:pt x="282" y="528"/>
                  </a:lnTo>
                  <a:lnTo>
                    <a:pt x="282" y="522"/>
                  </a:lnTo>
                  <a:lnTo>
                    <a:pt x="282" y="516"/>
                  </a:lnTo>
                  <a:lnTo>
                    <a:pt x="282" y="510"/>
                  </a:lnTo>
                  <a:lnTo>
                    <a:pt x="282" y="504"/>
                  </a:lnTo>
                  <a:lnTo>
                    <a:pt x="282" y="492"/>
                  </a:lnTo>
                  <a:lnTo>
                    <a:pt x="288" y="486"/>
                  </a:lnTo>
                  <a:lnTo>
                    <a:pt x="300" y="480"/>
                  </a:lnTo>
                  <a:lnTo>
                    <a:pt x="306" y="462"/>
                  </a:lnTo>
                  <a:lnTo>
                    <a:pt x="318" y="444"/>
                  </a:lnTo>
                  <a:lnTo>
                    <a:pt x="330" y="444"/>
                  </a:lnTo>
                  <a:lnTo>
                    <a:pt x="330" y="432"/>
                  </a:lnTo>
                  <a:lnTo>
                    <a:pt x="342" y="432"/>
                  </a:lnTo>
                  <a:lnTo>
                    <a:pt x="354" y="402"/>
                  </a:lnTo>
                  <a:lnTo>
                    <a:pt x="348" y="390"/>
                  </a:lnTo>
                  <a:lnTo>
                    <a:pt x="336" y="384"/>
                  </a:lnTo>
                  <a:lnTo>
                    <a:pt x="336" y="360"/>
                  </a:lnTo>
                  <a:lnTo>
                    <a:pt x="336" y="354"/>
                  </a:lnTo>
                  <a:lnTo>
                    <a:pt x="336" y="342"/>
                  </a:lnTo>
                  <a:lnTo>
                    <a:pt x="342" y="336"/>
                  </a:lnTo>
                  <a:lnTo>
                    <a:pt x="342" y="324"/>
                  </a:lnTo>
                  <a:lnTo>
                    <a:pt x="372" y="324"/>
                  </a:lnTo>
                  <a:lnTo>
                    <a:pt x="378" y="324"/>
                  </a:lnTo>
                  <a:lnTo>
                    <a:pt x="378" y="318"/>
                  </a:lnTo>
                  <a:lnTo>
                    <a:pt x="372" y="312"/>
                  </a:lnTo>
                  <a:lnTo>
                    <a:pt x="378" y="312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84" y="300"/>
                  </a:lnTo>
                  <a:lnTo>
                    <a:pt x="384" y="294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66" y="294"/>
                  </a:lnTo>
                  <a:lnTo>
                    <a:pt x="366" y="288"/>
                  </a:lnTo>
                  <a:lnTo>
                    <a:pt x="372" y="288"/>
                  </a:lnTo>
                  <a:lnTo>
                    <a:pt x="372" y="282"/>
                  </a:lnTo>
                  <a:lnTo>
                    <a:pt x="366" y="276"/>
                  </a:lnTo>
                  <a:lnTo>
                    <a:pt x="360" y="270"/>
                  </a:lnTo>
                  <a:lnTo>
                    <a:pt x="360" y="264"/>
                  </a:lnTo>
                  <a:lnTo>
                    <a:pt x="354" y="264"/>
                  </a:lnTo>
                  <a:lnTo>
                    <a:pt x="348" y="258"/>
                  </a:lnTo>
                  <a:lnTo>
                    <a:pt x="354" y="258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40"/>
                  </a:lnTo>
                  <a:lnTo>
                    <a:pt x="354" y="240"/>
                  </a:lnTo>
                  <a:lnTo>
                    <a:pt x="342" y="234"/>
                  </a:lnTo>
                  <a:lnTo>
                    <a:pt x="342" y="228"/>
                  </a:lnTo>
                  <a:lnTo>
                    <a:pt x="348" y="228"/>
                  </a:lnTo>
                  <a:lnTo>
                    <a:pt x="342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6" y="216"/>
                  </a:lnTo>
                  <a:lnTo>
                    <a:pt x="330" y="222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24" y="210"/>
                  </a:lnTo>
                  <a:lnTo>
                    <a:pt x="318" y="210"/>
                  </a:lnTo>
                  <a:lnTo>
                    <a:pt x="318" y="204"/>
                  </a:lnTo>
                  <a:lnTo>
                    <a:pt x="312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294" y="192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300" y="174"/>
                  </a:lnTo>
                  <a:lnTo>
                    <a:pt x="300" y="168"/>
                  </a:lnTo>
                  <a:lnTo>
                    <a:pt x="300" y="162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88" y="150"/>
                  </a:lnTo>
                  <a:lnTo>
                    <a:pt x="288" y="144"/>
                  </a:lnTo>
                  <a:lnTo>
                    <a:pt x="282" y="144"/>
                  </a:lnTo>
                  <a:lnTo>
                    <a:pt x="282" y="138"/>
                  </a:lnTo>
                  <a:lnTo>
                    <a:pt x="312" y="132"/>
                  </a:lnTo>
                  <a:lnTo>
                    <a:pt x="324" y="120"/>
                  </a:lnTo>
                  <a:lnTo>
                    <a:pt x="330" y="114"/>
                  </a:lnTo>
                  <a:lnTo>
                    <a:pt x="336" y="102"/>
                  </a:lnTo>
                  <a:lnTo>
                    <a:pt x="348" y="90"/>
                  </a:lnTo>
                  <a:lnTo>
                    <a:pt x="360" y="84"/>
                  </a:lnTo>
                  <a:lnTo>
                    <a:pt x="372" y="84"/>
                  </a:lnTo>
                  <a:lnTo>
                    <a:pt x="378" y="84"/>
                  </a:lnTo>
                  <a:lnTo>
                    <a:pt x="384" y="90"/>
                  </a:lnTo>
                  <a:lnTo>
                    <a:pt x="402" y="90"/>
                  </a:lnTo>
                  <a:lnTo>
                    <a:pt x="438" y="84"/>
                  </a:lnTo>
                  <a:lnTo>
                    <a:pt x="456" y="84"/>
                  </a:lnTo>
                  <a:lnTo>
                    <a:pt x="462" y="78"/>
                  </a:lnTo>
                  <a:lnTo>
                    <a:pt x="486" y="72"/>
                  </a:lnTo>
                  <a:lnTo>
                    <a:pt x="492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04" y="54"/>
                  </a:lnTo>
                  <a:lnTo>
                    <a:pt x="510" y="42"/>
                  </a:lnTo>
                  <a:lnTo>
                    <a:pt x="504" y="42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498" y="30"/>
                  </a:lnTo>
                  <a:lnTo>
                    <a:pt x="492" y="30"/>
                  </a:lnTo>
                  <a:lnTo>
                    <a:pt x="492" y="24"/>
                  </a:lnTo>
                  <a:lnTo>
                    <a:pt x="486" y="18"/>
                  </a:lnTo>
                  <a:lnTo>
                    <a:pt x="498" y="18"/>
                  </a:lnTo>
                  <a:lnTo>
                    <a:pt x="510" y="18"/>
                  </a:lnTo>
                  <a:lnTo>
                    <a:pt x="522" y="12"/>
                  </a:lnTo>
                  <a:lnTo>
                    <a:pt x="528" y="6"/>
                  </a:lnTo>
                  <a:lnTo>
                    <a:pt x="570" y="0"/>
                  </a:lnTo>
                  <a:lnTo>
                    <a:pt x="606" y="6"/>
                  </a:lnTo>
                  <a:lnTo>
                    <a:pt x="654" y="24"/>
                  </a:lnTo>
                  <a:lnTo>
                    <a:pt x="666" y="36"/>
                  </a:lnTo>
                  <a:lnTo>
                    <a:pt x="672" y="30"/>
                  </a:lnTo>
                  <a:lnTo>
                    <a:pt x="690" y="42"/>
                  </a:lnTo>
                  <a:lnTo>
                    <a:pt x="702" y="48"/>
                  </a:lnTo>
                  <a:lnTo>
                    <a:pt x="714" y="60"/>
                  </a:lnTo>
                  <a:lnTo>
                    <a:pt x="714" y="66"/>
                  </a:lnTo>
                  <a:lnTo>
                    <a:pt x="720" y="72"/>
                  </a:lnTo>
                  <a:lnTo>
                    <a:pt x="720" y="78"/>
                  </a:lnTo>
                  <a:lnTo>
                    <a:pt x="720" y="102"/>
                  </a:lnTo>
                  <a:lnTo>
                    <a:pt x="720" y="108"/>
                  </a:lnTo>
                  <a:lnTo>
                    <a:pt x="714" y="108"/>
                  </a:lnTo>
                  <a:lnTo>
                    <a:pt x="714" y="126"/>
                  </a:lnTo>
                  <a:lnTo>
                    <a:pt x="732" y="126"/>
                  </a:lnTo>
                  <a:lnTo>
                    <a:pt x="726" y="132"/>
                  </a:lnTo>
                  <a:lnTo>
                    <a:pt x="738" y="132"/>
                  </a:lnTo>
                  <a:lnTo>
                    <a:pt x="738" y="138"/>
                  </a:lnTo>
                  <a:lnTo>
                    <a:pt x="738" y="144"/>
                  </a:lnTo>
                  <a:lnTo>
                    <a:pt x="744" y="144"/>
                  </a:lnTo>
                  <a:lnTo>
                    <a:pt x="744" y="150"/>
                  </a:lnTo>
                  <a:lnTo>
                    <a:pt x="756" y="156"/>
                  </a:lnTo>
                  <a:lnTo>
                    <a:pt x="768" y="156"/>
                  </a:lnTo>
                  <a:lnTo>
                    <a:pt x="780" y="156"/>
                  </a:lnTo>
                  <a:lnTo>
                    <a:pt x="792" y="150"/>
                  </a:lnTo>
                  <a:lnTo>
                    <a:pt x="786" y="150"/>
                  </a:lnTo>
                  <a:lnTo>
                    <a:pt x="786" y="144"/>
                  </a:lnTo>
                  <a:lnTo>
                    <a:pt x="804" y="144"/>
                  </a:lnTo>
                  <a:lnTo>
                    <a:pt x="816" y="132"/>
                  </a:lnTo>
                  <a:lnTo>
                    <a:pt x="822" y="126"/>
                  </a:lnTo>
                  <a:lnTo>
                    <a:pt x="828" y="132"/>
                  </a:lnTo>
                  <a:lnTo>
                    <a:pt x="834" y="126"/>
                  </a:lnTo>
                  <a:lnTo>
                    <a:pt x="834" y="120"/>
                  </a:lnTo>
                  <a:lnTo>
                    <a:pt x="924" y="108"/>
                  </a:lnTo>
                  <a:lnTo>
                    <a:pt x="942" y="144"/>
                  </a:lnTo>
                  <a:lnTo>
                    <a:pt x="948" y="144"/>
                  </a:lnTo>
                  <a:lnTo>
                    <a:pt x="960" y="168"/>
                  </a:lnTo>
                  <a:lnTo>
                    <a:pt x="972" y="186"/>
                  </a:lnTo>
                  <a:lnTo>
                    <a:pt x="984" y="192"/>
                  </a:lnTo>
                  <a:lnTo>
                    <a:pt x="996" y="192"/>
                  </a:lnTo>
                  <a:lnTo>
                    <a:pt x="996" y="198"/>
                  </a:lnTo>
                  <a:lnTo>
                    <a:pt x="1008" y="204"/>
                  </a:lnTo>
                  <a:lnTo>
                    <a:pt x="1008" y="210"/>
                  </a:lnTo>
                  <a:lnTo>
                    <a:pt x="1002" y="210"/>
                  </a:lnTo>
                  <a:lnTo>
                    <a:pt x="1008" y="216"/>
                  </a:lnTo>
                  <a:lnTo>
                    <a:pt x="1014" y="210"/>
                  </a:lnTo>
                  <a:lnTo>
                    <a:pt x="1014" y="216"/>
                  </a:lnTo>
                  <a:lnTo>
                    <a:pt x="1020" y="222"/>
                  </a:lnTo>
                  <a:lnTo>
                    <a:pt x="1014" y="228"/>
                  </a:lnTo>
                  <a:lnTo>
                    <a:pt x="1032" y="234"/>
                  </a:lnTo>
                  <a:lnTo>
                    <a:pt x="1044" y="240"/>
                  </a:lnTo>
                  <a:lnTo>
                    <a:pt x="1038" y="246"/>
                  </a:lnTo>
                  <a:lnTo>
                    <a:pt x="1038" y="252"/>
                  </a:lnTo>
                  <a:lnTo>
                    <a:pt x="1038" y="258"/>
                  </a:lnTo>
                  <a:lnTo>
                    <a:pt x="1032" y="264"/>
                  </a:lnTo>
                  <a:lnTo>
                    <a:pt x="1032" y="270"/>
                  </a:lnTo>
                  <a:lnTo>
                    <a:pt x="1032" y="276"/>
                  </a:lnTo>
                  <a:lnTo>
                    <a:pt x="1032" y="282"/>
                  </a:lnTo>
                  <a:lnTo>
                    <a:pt x="1026" y="282"/>
                  </a:lnTo>
                  <a:lnTo>
                    <a:pt x="1026" y="288"/>
                  </a:lnTo>
                  <a:lnTo>
                    <a:pt x="1026" y="294"/>
                  </a:lnTo>
                  <a:lnTo>
                    <a:pt x="1026" y="300"/>
                  </a:lnTo>
                  <a:lnTo>
                    <a:pt x="1026" y="306"/>
                  </a:lnTo>
                  <a:lnTo>
                    <a:pt x="1020" y="318"/>
                  </a:lnTo>
                  <a:lnTo>
                    <a:pt x="1020" y="324"/>
                  </a:lnTo>
                  <a:lnTo>
                    <a:pt x="1014" y="324"/>
                  </a:lnTo>
                  <a:lnTo>
                    <a:pt x="1014" y="330"/>
                  </a:lnTo>
                  <a:lnTo>
                    <a:pt x="1014" y="336"/>
                  </a:lnTo>
                  <a:lnTo>
                    <a:pt x="1008" y="366"/>
                  </a:lnTo>
                  <a:lnTo>
                    <a:pt x="1002" y="366"/>
                  </a:lnTo>
                  <a:lnTo>
                    <a:pt x="984" y="354"/>
                  </a:lnTo>
                  <a:lnTo>
                    <a:pt x="978" y="354"/>
                  </a:lnTo>
                  <a:lnTo>
                    <a:pt x="972" y="354"/>
                  </a:lnTo>
                  <a:lnTo>
                    <a:pt x="966" y="348"/>
                  </a:lnTo>
                  <a:lnTo>
                    <a:pt x="954" y="348"/>
                  </a:lnTo>
                  <a:lnTo>
                    <a:pt x="948" y="348"/>
                  </a:lnTo>
                  <a:lnTo>
                    <a:pt x="948" y="360"/>
                  </a:lnTo>
                  <a:lnTo>
                    <a:pt x="948" y="366"/>
                  </a:lnTo>
                  <a:lnTo>
                    <a:pt x="948" y="372"/>
                  </a:lnTo>
                  <a:lnTo>
                    <a:pt x="948" y="378"/>
                  </a:lnTo>
                  <a:lnTo>
                    <a:pt x="948" y="384"/>
                  </a:lnTo>
                  <a:lnTo>
                    <a:pt x="942" y="384"/>
                  </a:lnTo>
                  <a:lnTo>
                    <a:pt x="942" y="390"/>
                  </a:lnTo>
                  <a:lnTo>
                    <a:pt x="936" y="390"/>
                  </a:lnTo>
                  <a:lnTo>
                    <a:pt x="942" y="390"/>
                  </a:lnTo>
                  <a:lnTo>
                    <a:pt x="936" y="396"/>
                  </a:lnTo>
                  <a:lnTo>
                    <a:pt x="930" y="402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2" y="432"/>
                  </a:lnTo>
                  <a:lnTo>
                    <a:pt x="900" y="450"/>
                  </a:lnTo>
                  <a:lnTo>
                    <a:pt x="894" y="456"/>
                  </a:lnTo>
                  <a:lnTo>
                    <a:pt x="888" y="456"/>
                  </a:lnTo>
                  <a:lnTo>
                    <a:pt x="882" y="456"/>
                  </a:lnTo>
                  <a:lnTo>
                    <a:pt x="876" y="456"/>
                  </a:lnTo>
                  <a:lnTo>
                    <a:pt x="864" y="462"/>
                  </a:lnTo>
                  <a:lnTo>
                    <a:pt x="852" y="474"/>
                  </a:lnTo>
                  <a:lnTo>
                    <a:pt x="846" y="480"/>
                  </a:lnTo>
                  <a:lnTo>
                    <a:pt x="840" y="486"/>
                  </a:lnTo>
                  <a:lnTo>
                    <a:pt x="834" y="498"/>
                  </a:lnTo>
                  <a:lnTo>
                    <a:pt x="828" y="510"/>
                  </a:lnTo>
                  <a:lnTo>
                    <a:pt x="816" y="522"/>
                  </a:lnTo>
                  <a:lnTo>
                    <a:pt x="798" y="540"/>
                  </a:lnTo>
                  <a:lnTo>
                    <a:pt x="780" y="558"/>
                  </a:lnTo>
                  <a:lnTo>
                    <a:pt x="774" y="558"/>
                  </a:lnTo>
                  <a:lnTo>
                    <a:pt x="756" y="576"/>
                  </a:lnTo>
                  <a:lnTo>
                    <a:pt x="732" y="600"/>
                  </a:lnTo>
                  <a:lnTo>
                    <a:pt x="726" y="600"/>
                  </a:lnTo>
                  <a:lnTo>
                    <a:pt x="720" y="606"/>
                  </a:lnTo>
                  <a:lnTo>
                    <a:pt x="714" y="612"/>
                  </a:lnTo>
                  <a:lnTo>
                    <a:pt x="690" y="630"/>
                  </a:lnTo>
                  <a:lnTo>
                    <a:pt x="678" y="636"/>
                  </a:lnTo>
                  <a:lnTo>
                    <a:pt x="672" y="642"/>
                  </a:lnTo>
                  <a:lnTo>
                    <a:pt x="660" y="660"/>
                  </a:lnTo>
                  <a:lnTo>
                    <a:pt x="642" y="666"/>
                  </a:lnTo>
                  <a:lnTo>
                    <a:pt x="636" y="678"/>
                  </a:lnTo>
                  <a:lnTo>
                    <a:pt x="630" y="678"/>
                  </a:lnTo>
                  <a:lnTo>
                    <a:pt x="630" y="684"/>
                  </a:lnTo>
                  <a:lnTo>
                    <a:pt x="630" y="690"/>
                  </a:lnTo>
                  <a:lnTo>
                    <a:pt x="636" y="696"/>
                  </a:lnTo>
                  <a:lnTo>
                    <a:pt x="642" y="696"/>
                  </a:lnTo>
                  <a:lnTo>
                    <a:pt x="648" y="702"/>
                  </a:lnTo>
                  <a:lnTo>
                    <a:pt x="648" y="708"/>
                  </a:lnTo>
                  <a:lnTo>
                    <a:pt x="642" y="708"/>
                  </a:lnTo>
                  <a:lnTo>
                    <a:pt x="636" y="714"/>
                  </a:lnTo>
                  <a:lnTo>
                    <a:pt x="636" y="720"/>
                  </a:lnTo>
                  <a:lnTo>
                    <a:pt x="642" y="726"/>
                  </a:lnTo>
                  <a:lnTo>
                    <a:pt x="636" y="738"/>
                  </a:lnTo>
                  <a:lnTo>
                    <a:pt x="618" y="756"/>
                  </a:lnTo>
                  <a:lnTo>
                    <a:pt x="612" y="750"/>
                  </a:lnTo>
                  <a:lnTo>
                    <a:pt x="612" y="756"/>
                  </a:lnTo>
                  <a:lnTo>
                    <a:pt x="618" y="762"/>
                  </a:lnTo>
                  <a:lnTo>
                    <a:pt x="618" y="768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36" y="786"/>
                  </a:lnTo>
                  <a:lnTo>
                    <a:pt x="642" y="792"/>
                  </a:lnTo>
                  <a:lnTo>
                    <a:pt x="642" y="798"/>
                  </a:lnTo>
                  <a:lnTo>
                    <a:pt x="648" y="804"/>
                  </a:lnTo>
                  <a:lnTo>
                    <a:pt x="654" y="810"/>
                  </a:lnTo>
                  <a:lnTo>
                    <a:pt x="660" y="816"/>
                  </a:lnTo>
                  <a:lnTo>
                    <a:pt x="666" y="816"/>
                  </a:lnTo>
                  <a:lnTo>
                    <a:pt x="666" y="822"/>
                  </a:lnTo>
                  <a:lnTo>
                    <a:pt x="672" y="828"/>
                  </a:lnTo>
                  <a:lnTo>
                    <a:pt x="672" y="840"/>
                  </a:lnTo>
                  <a:lnTo>
                    <a:pt x="672" y="846"/>
                  </a:lnTo>
                  <a:lnTo>
                    <a:pt x="666" y="852"/>
                  </a:lnTo>
                  <a:lnTo>
                    <a:pt x="660" y="864"/>
                  </a:lnTo>
                  <a:lnTo>
                    <a:pt x="654" y="876"/>
                  </a:lnTo>
                  <a:lnTo>
                    <a:pt x="648" y="882"/>
                  </a:lnTo>
                  <a:lnTo>
                    <a:pt x="642" y="888"/>
                  </a:lnTo>
                  <a:lnTo>
                    <a:pt x="642" y="894"/>
                  </a:lnTo>
                  <a:lnTo>
                    <a:pt x="642" y="906"/>
                  </a:lnTo>
                  <a:lnTo>
                    <a:pt x="630" y="918"/>
                  </a:lnTo>
                  <a:lnTo>
                    <a:pt x="630" y="924"/>
                  </a:lnTo>
                  <a:lnTo>
                    <a:pt x="624" y="930"/>
                  </a:lnTo>
                  <a:lnTo>
                    <a:pt x="630" y="936"/>
                  </a:lnTo>
                  <a:lnTo>
                    <a:pt x="630" y="942"/>
                  </a:lnTo>
                  <a:lnTo>
                    <a:pt x="630" y="948"/>
                  </a:lnTo>
                  <a:lnTo>
                    <a:pt x="630" y="954"/>
                  </a:lnTo>
                  <a:lnTo>
                    <a:pt x="630" y="960"/>
                  </a:lnTo>
                  <a:lnTo>
                    <a:pt x="624" y="966"/>
                  </a:lnTo>
                  <a:lnTo>
                    <a:pt x="618" y="990"/>
                  </a:lnTo>
                  <a:lnTo>
                    <a:pt x="618" y="1008"/>
                  </a:lnTo>
                  <a:lnTo>
                    <a:pt x="612" y="1026"/>
                  </a:lnTo>
                  <a:lnTo>
                    <a:pt x="612" y="1038"/>
                  </a:lnTo>
                  <a:lnTo>
                    <a:pt x="612" y="1050"/>
                  </a:lnTo>
                  <a:lnTo>
                    <a:pt x="612" y="1056"/>
                  </a:lnTo>
                  <a:lnTo>
                    <a:pt x="612" y="1062"/>
                  </a:lnTo>
                  <a:lnTo>
                    <a:pt x="612" y="1068"/>
                  </a:lnTo>
                  <a:lnTo>
                    <a:pt x="612" y="1086"/>
                  </a:lnTo>
                  <a:lnTo>
                    <a:pt x="612" y="1092"/>
                  </a:lnTo>
                  <a:lnTo>
                    <a:pt x="606" y="1098"/>
                  </a:lnTo>
                  <a:lnTo>
                    <a:pt x="600" y="1110"/>
                  </a:lnTo>
                  <a:lnTo>
                    <a:pt x="600" y="1116"/>
                  </a:lnTo>
                  <a:lnTo>
                    <a:pt x="594" y="1122"/>
                  </a:lnTo>
                  <a:lnTo>
                    <a:pt x="594" y="1128"/>
                  </a:lnTo>
                  <a:lnTo>
                    <a:pt x="588" y="1134"/>
                  </a:lnTo>
                  <a:lnTo>
                    <a:pt x="582" y="1140"/>
                  </a:lnTo>
                  <a:lnTo>
                    <a:pt x="570" y="1140"/>
                  </a:lnTo>
                  <a:lnTo>
                    <a:pt x="564" y="1146"/>
                  </a:lnTo>
                  <a:lnTo>
                    <a:pt x="570" y="1146"/>
                  </a:lnTo>
                  <a:lnTo>
                    <a:pt x="564" y="1152"/>
                  </a:lnTo>
                  <a:lnTo>
                    <a:pt x="558" y="1158"/>
                  </a:lnTo>
                  <a:lnTo>
                    <a:pt x="552" y="1164"/>
                  </a:lnTo>
                  <a:lnTo>
                    <a:pt x="552" y="1170"/>
                  </a:lnTo>
                  <a:lnTo>
                    <a:pt x="546" y="1176"/>
                  </a:lnTo>
                  <a:lnTo>
                    <a:pt x="546" y="1182"/>
                  </a:lnTo>
                  <a:lnTo>
                    <a:pt x="546" y="1188"/>
                  </a:lnTo>
                  <a:lnTo>
                    <a:pt x="540" y="1188"/>
                  </a:lnTo>
                  <a:lnTo>
                    <a:pt x="540" y="1194"/>
                  </a:lnTo>
                  <a:lnTo>
                    <a:pt x="528" y="1206"/>
                  </a:lnTo>
                  <a:lnTo>
                    <a:pt x="528" y="1212"/>
                  </a:lnTo>
                  <a:lnTo>
                    <a:pt x="534" y="1212"/>
                  </a:lnTo>
                  <a:lnTo>
                    <a:pt x="540" y="1218"/>
                  </a:lnTo>
                  <a:lnTo>
                    <a:pt x="534" y="1218"/>
                  </a:lnTo>
                  <a:lnTo>
                    <a:pt x="528" y="1218"/>
                  </a:lnTo>
                  <a:lnTo>
                    <a:pt x="528" y="1224"/>
                  </a:lnTo>
                  <a:lnTo>
                    <a:pt x="522" y="1230"/>
                  </a:lnTo>
                  <a:lnTo>
                    <a:pt x="516" y="1236"/>
                  </a:lnTo>
                  <a:lnTo>
                    <a:pt x="522" y="1236"/>
                  </a:lnTo>
                  <a:lnTo>
                    <a:pt x="516" y="1242"/>
                  </a:lnTo>
                  <a:lnTo>
                    <a:pt x="510" y="1242"/>
                  </a:lnTo>
                  <a:lnTo>
                    <a:pt x="504" y="1248"/>
                  </a:lnTo>
                  <a:lnTo>
                    <a:pt x="510" y="1260"/>
                  </a:lnTo>
                  <a:lnTo>
                    <a:pt x="504" y="1266"/>
                  </a:lnTo>
                  <a:lnTo>
                    <a:pt x="492" y="1266"/>
                  </a:lnTo>
                  <a:lnTo>
                    <a:pt x="486" y="1272"/>
                  </a:lnTo>
                  <a:lnTo>
                    <a:pt x="486" y="1278"/>
                  </a:lnTo>
                  <a:lnTo>
                    <a:pt x="480" y="1278"/>
                  </a:lnTo>
                  <a:lnTo>
                    <a:pt x="480" y="1284"/>
                  </a:lnTo>
                  <a:lnTo>
                    <a:pt x="480" y="1290"/>
                  </a:lnTo>
                  <a:lnTo>
                    <a:pt x="480" y="1296"/>
                  </a:lnTo>
                  <a:lnTo>
                    <a:pt x="492" y="1302"/>
                  </a:lnTo>
                  <a:lnTo>
                    <a:pt x="492" y="1308"/>
                  </a:lnTo>
                  <a:lnTo>
                    <a:pt x="492" y="1320"/>
                  </a:lnTo>
                  <a:lnTo>
                    <a:pt x="492" y="1332"/>
                  </a:lnTo>
                  <a:lnTo>
                    <a:pt x="498" y="1344"/>
                  </a:lnTo>
                  <a:lnTo>
                    <a:pt x="498" y="1350"/>
                  </a:lnTo>
                  <a:lnTo>
                    <a:pt x="498" y="1356"/>
                  </a:lnTo>
                  <a:lnTo>
                    <a:pt x="504" y="1362"/>
                  </a:lnTo>
                  <a:lnTo>
                    <a:pt x="498" y="1362"/>
                  </a:lnTo>
                  <a:lnTo>
                    <a:pt x="498" y="1368"/>
                  </a:lnTo>
                  <a:lnTo>
                    <a:pt x="492" y="1368"/>
                  </a:lnTo>
                  <a:lnTo>
                    <a:pt x="492" y="1374"/>
                  </a:lnTo>
                  <a:lnTo>
                    <a:pt x="492" y="1380"/>
                  </a:lnTo>
                  <a:lnTo>
                    <a:pt x="498" y="1380"/>
                  </a:lnTo>
                  <a:lnTo>
                    <a:pt x="504" y="1380"/>
                  </a:lnTo>
                  <a:lnTo>
                    <a:pt x="498" y="1386"/>
                  </a:lnTo>
                  <a:lnTo>
                    <a:pt x="498" y="1392"/>
                  </a:lnTo>
                  <a:lnTo>
                    <a:pt x="498" y="1398"/>
                  </a:lnTo>
                  <a:lnTo>
                    <a:pt x="498" y="1404"/>
                  </a:lnTo>
                  <a:lnTo>
                    <a:pt x="498" y="1410"/>
                  </a:lnTo>
                  <a:lnTo>
                    <a:pt x="498" y="1416"/>
                  </a:lnTo>
                  <a:lnTo>
                    <a:pt x="492" y="1416"/>
                  </a:lnTo>
                  <a:lnTo>
                    <a:pt x="498" y="1416"/>
                  </a:lnTo>
                  <a:lnTo>
                    <a:pt x="504" y="1416"/>
                  </a:lnTo>
                  <a:lnTo>
                    <a:pt x="504" y="1422"/>
                  </a:lnTo>
                  <a:lnTo>
                    <a:pt x="510" y="1428"/>
                  </a:lnTo>
                  <a:lnTo>
                    <a:pt x="510" y="1434"/>
                  </a:lnTo>
                  <a:lnTo>
                    <a:pt x="510" y="1440"/>
                  </a:lnTo>
                  <a:lnTo>
                    <a:pt x="516" y="1446"/>
                  </a:lnTo>
                  <a:lnTo>
                    <a:pt x="516" y="1452"/>
                  </a:lnTo>
                  <a:lnTo>
                    <a:pt x="516" y="1458"/>
                  </a:lnTo>
                  <a:lnTo>
                    <a:pt x="516" y="1464"/>
                  </a:lnTo>
                  <a:lnTo>
                    <a:pt x="516" y="1482"/>
                  </a:lnTo>
                  <a:lnTo>
                    <a:pt x="516" y="1488"/>
                  </a:lnTo>
                  <a:lnTo>
                    <a:pt x="522" y="1488"/>
                  </a:lnTo>
                  <a:lnTo>
                    <a:pt x="522" y="1494"/>
                  </a:lnTo>
                  <a:lnTo>
                    <a:pt x="522" y="1500"/>
                  </a:lnTo>
                  <a:lnTo>
                    <a:pt x="516" y="1506"/>
                  </a:lnTo>
                  <a:lnTo>
                    <a:pt x="510" y="1500"/>
                  </a:lnTo>
                  <a:lnTo>
                    <a:pt x="504" y="1500"/>
                  </a:lnTo>
                  <a:lnTo>
                    <a:pt x="504" y="1494"/>
                  </a:lnTo>
                  <a:lnTo>
                    <a:pt x="504" y="1488"/>
                  </a:lnTo>
                  <a:lnTo>
                    <a:pt x="504" y="1482"/>
                  </a:lnTo>
                  <a:lnTo>
                    <a:pt x="504" y="1488"/>
                  </a:lnTo>
                  <a:lnTo>
                    <a:pt x="504" y="1494"/>
                  </a:lnTo>
                  <a:lnTo>
                    <a:pt x="504" y="1500"/>
                  </a:lnTo>
                  <a:lnTo>
                    <a:pt x="498" y="1500"/>
                  </a:lnTo>
                  <a:lnTo>
                    <a:pt x="492" y="1500"/>
                  </a:lnTo>
                  <a:lnTo>
                    <a:pt x="492" y="1494"/>
                  </a:lnTo>
                  <a:lnTo>
                    <a:pt x="492" y="1488"/>
                  </a:lnTo>
                  <a:lnTo>
                    <a:pt x="492" y="1494"/>
                  </a:lnTo>
                  <a:lnTo>
                    <a:pt x="492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00"/>
                  </a:lnTo>
                  <a:lnTo>
                    <a:pt x="510" y="1500"/>
                  </a:lnTo>
                  <a:lnTo>
                    <a:pt x="510" y="1506"/>
                  </a:lnTo>
                  <a:lnTo>
                    <a:pt x="516" y="1506"/>
                  </a:lnTo>
                  <a:lnTo>
                    <a:pt x="510" y="1506"/>
                  </a:lnTo>
                  <a:lnTo>
                    <a:pt x="510" y="1512"/>
                  </a:lnTo>
                  <a:lnTo>
                    <a:pt x="516" y="1506"/>
                  </a:lnTo>
                  <a:lnTo>
                    <a:pt x="522" y="1506"/>
                  </a:lnTo>
                  <a:lnTo>
                    <a:pt x="528" y="1506"/>
                  </a:lnTo>
                  <a:lnTo>
                    <a:pt x="528" y="1500"/>
                  </a:lnTo>
                  <a:lnTo>
                    <a:pt x="534" y="1500"/>
                  </a:lnTo>
                  <a:lnTo>
                    <a:pt x="534" y="1506"/>
                  </a:lnTo>
                  <a:lnTo>
                    <a:pt x="540" y="1512"/>
                  </a:lnTo>
                  <a:lnTo>
                    <a:pt x="540" y="1518"/>
                  </a:lnTo>
                  <a:lnTo>
                    <a:pt x="546" y="1518"/>
                  </a:lnTo>
                  <a:lnTo>
                    <a:pt x="540" y="1518"/>
                  </a:lnTo>
                  <a:lnTo>
                    <a:pt x="540" y="1524"/>
                  </a:lnTo>
                  <a:lnTo>
                    <a:pt x="534" y="1524"/>
                  </a:lnTo>
                  <a:lnTo>
                    <a:pt x="540" y="1524"/>
                  </a:lnTo>
                  <a:lnTo>
                    <a:pt x="546" y="1524"/>
                  </a:lnTo>
                  <a:lnTo>
                    <a:pt x="546" y="1530"/>
                  </a:lnTo>
                  <a:lnTo>
                    <a:pt x="540" y="1530"/>
                  </a:lnTo>
                  <a:lnTo>
                    <a:pt x="540" y="1536"/>
                  </a:lnTo>
                  <a:lnTo>
                    <a:pt x="534" y="1542"/>
                  </a:lnTo>
                  <a:lnTo>
                    <a:pt x="528" y="1542"/>
                  </a:lnTo>
                  <a:lnTo>
                    <a:pt x="522" y="1542"/>
                  </a:lnTo>
                  <a:lnTo>
                    <a:pt x="516" y="1542"/>
                  </a:lnTo>
                  <a:lnTo>
                    <a:pt x="510" y="1542"/>
                  </a:lnTo>
                  <a:lnTo>
                    <a:pt x="504" y="1542"/>
                  </a:lnTo>
                  <a:lnTo>
                    <a:pt x="492" y="1542"/>
                  </a:lnTo>
                  <a:lnTo>
                    <a:pt x="486" y="1536"/>
                  </a:lnTo>
                  <a:lnTo>
                    <a:pt x="480" y="1536"/>
                  </a:lnTo>
                  <a:lnTo>
                    <a:pt x="468" y="1536"/>
                  </a:lnTo>
                  <a:lnTo>
                    <a:pt x="468" y="1542"/>
                  </a:lnTo>
                  <a:lnTo>
                    <a:pt x="462" y="1542"/>
                  </a:lnTo>
                  <a:lnTo>
                    <a:pt x="456" y="1542"/>
                  </a:lnTo>
                  <a:lnTo>
                    <a:pt x="450" y="1542"/>
                  </a:lnTo>
                  <a:lnTo>
                    <a:pt x="444" y="1542"/>
                  </a:lnTo>
                  <a:lnTo>
                    <a:pt x="444" y="1536"/>
                  </a:lnTo>
                  <a:lnTo>
                    <a:pt x="450" y="1536"/>
                  </a:lnTo>
                  <a:lnTo>
                    <a:pt x="456" y="1536"/>
                  </a:lnTo>
                  <a:lnTo>
                    <a:pt x="450" y="1536"/>
                  </a:lnTo>
                  <a:lnTo>
                    <a:pt x="444" y="1536"/>
                  </a:lnTo>
                  <a:lnTo>
                    <a:pt x="444" y="1530"/>
                  </a:lnTo>
                  <a:lnTo>
                    <a:pt x="450" y="1530"/>
                  </a:lnTo>
                  <a:lnTo>
                    <a:pt x="456" y="1524"/>
                  </a:lnTo>
                  <a:lnTo>
                    <a:pt x="456" y="1518"/>
                  </a:lnTo>
                  <a:lnTo>
                    <a:pt x="462" y="1518"/>
                  </a:lnTo>
                  <a:lnTo>
                    <a:pt x="462" y="1524"/>
                  </a:lnTo>
                  <a:lnTo>
                    <a:pt x="468" y="1524"/>
                  </a:lnTo>
                  <a:lnTo>
                    <a:pt x="474" y="1524"/>
                  </a:lnTo>
                  <a:lnTo>
                    <a:pt x="474" y="1518"/>
                  </a:lnTo>
                  <a:lnTo>
                    <a:pt x="480" y="1518"/>
                  </a:lnTo>
                  <a:lnTo>
                    <a:pt x="474" y="1518"/>
                  </a:lnTo>
                  <a:lnTo>
                    <a:pt x="474" y="1524"/>
                  </a:lnTo>
                  <a:lnTo>
                    <a:pt x="468" y="1524"/>
                  </a:lnTo>
                  <a:lnTo>
                    <a:pt x="462" y="1518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62" y="1512"/>
                  </a:lnTo>
                  <a:lnTo>
                    <a:pt x="462" y="1506"/>
                  </a:lnTo>
                  <a:lnTo>
                    <a:pt x="456" y="1506"/>
                  </a:lnTo>
                  <a:lnTo>
                    <a:pt x="456" y="1512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50" y="1518"/>
                  </a:lnTo>
                  <a:lnTo>
                    <a:pt x="444" y="1518"/>
                  </a:lnTo>
                  <a:lnTo>
                    <a:pt x="444" y="1524"/>
                  </a:lnTo>
                  <a:lnTo>
                    <a:pt x="438" y="1524"/>
                  </a:lnTo>
                  <a:lnTo>
                    <a:pt x="438" y="1530"/>
                  </a:lnTo>
                  <a:lnTo>
                    <a:pt x="432" y="1530"/>
                  </a:lnTo>
                  <a:lnTo>
                    <a:pt x="432" y="1536"/>
                  </a:lnTo>
                  <a:lnTo>
                    <a:pt x="426" y="1530"/>
                  </a:lnTo>
                  <a:lnTo>
                    <a:pt x="420" y="1530"/>
                  </a:lnTo>
                  <a:lnTo>
                    <a:pt x="414" y="1530"/>
                  </a:lnTo>
                  <a:lnTo>
                    <a:pt x="414" y="1524"/>
                  </a:lnTo>
                  <a:lnTo>
                    <a:pt x="408" y="1518"/>
                  </a:lnTo>
                  <a:lnTo>
                    <a:pt x="414" y="1512"/>
                  </a:lnTo>
                  <a:lnTo>
                    <a:pt x="408" y="1512"/>
                  </a:lnTo>
                  <a:lnTo>
                    <a:pt x="408" y="1506"/>
                  </a:lnTo>
                  <a:lnTo>
                    <a:pt x="408" y="1500"/>
                  </a:lnTo>
                  <a:lnTo>
                    <a:pt x="408" y="1494"/>
                  </a:lnTo>
                  <a:lnTo>
                    <a:pt x="408" y="1488"/>
                  </a:lnTo>
                  <a:lnTo>
                    <a:pt x="408" y="1494"/>
                  </a:lnTo>
                  <a:lnTo>
                    <a:pt x="414" y="1494"/>
                  </a:lnTo>
                  <a:lnTo>
                    <a:pt x="420" y="1494"/>
                  </a:lnTo>
                  <a:lnTo>
                    <a:pt x="420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82"/>
                  </a:lnTo>
                  <a:lnTo>
                    <a:pt x="426" y="1476"/>
                  </a:lnTo>
                  <a:lnTo>
                    <a:pt x="432" y="1476"/>
                  </a:lnTo>
                  <a:lnTo>
                    <a:pt x="432" y="1470"/>
                  </a:lnTo>
                  <a:lnTo>
                    <a:pt x="438" y="1470"/>
                  </a:lnTo>
                  <a:lnTo>
                    <a:pt x="444" y="1464"/>
                  </a:lnTo>
                  <a:lnTo>
                    <a:pt x="450" y="1458"/>
                  </a:lnTo>
                  <a:lnTo>
                    <a:pt x="456" y="1458"/>
                  </a:lnTo>
                  <a:lnTo>
                    <a:pt x="462" y="1452"/>
                  </a:lnTo>
                  <a:lnTo>
                    <a:pt x="468" y="1452"/>
                  </a:lnTo>
                  <a:lnTo>
                    <a:pt x="468" y="1446"/>
                  </a:lnTo>
                  <a:lnTo>
                    <a:pt x="462" y="1440"/>
                  </a:lnTo>
                  <a:lnTo>
                    <a:pt x="456" y="1434"/>
                  </a:lnTo>
                  <a:lnTo>
                    <a:pt x="456" y="1428"/>
                  </a:lnTo>
                  <a:lnTo>
                    <a:pt x="456" y="1422"/>
                  </a:lnTo>
                  <a:lnTo>
                    <a:pt x="456" y="1416"/>
                  </a:lnTo>
                  <a:lnTo>
                    <a:pt x="450" y="1410"/>
                  </a:lnTo>
                  <a:lnTo>
                    <a:pt x="444" y="1410"/>
                  </a:lnTo>
                  <a:lnTo>
                    <a:pt x="450" y="1410"/>
                  </a:lnTo>
                  <a:lnTo>
                    <a:pt x="450" y="1404"/>
                  </a:lnTo>
                  <a:lnTo>
                    <a:pt x="456" y="1404"/>
                  </a:lnTo>
                  <a:lnTo>
                    <a:pt x="462" y="1404"/>
                  </a:lnTo>
                  <a:lnTo>
                    <a:pt x="468" y="1398"/>
                  </a:lnTo>
                  <a:lnTo>
                    <a:pt x="462" y="1398"/>
                  </a:lnTo>
                  <a:lnTo>
                    <a:pt x="462" y="1392"/>
                  </a:lnTo>
                  <a:lnTo>
                    <a:pt x="456" y="1392"/>
                  </a:lnTo>
                  <a:lnTo>
                    <a:pt x="456" y="1386"/>
                  </a:lnTo>
                  <a:lnTo>
                    <a:pt x="462" y="1386"/>
                  </a:lnTo>
                  <a:lnTo>
                    <a:pt x="468" y="1386"/>
                  </a:lnTo>
                  <a:lnTo>
                    <a:pt x="474" y="1386"/>
                  </a:lnTo>
                  <a:lnTo>
                    <a:pt x="468" y="1386"/>
                  </a:lnTo>
                  <a:lnTo>
                    <a:pt x="462" y="1386"/>
                  </a:lnTo>
                  <a:lnTo>
                    <a:pt x="456" y="1380"/>
                  </a:lnTo>
                  <a:lnTo>
                    <a:pt x="456" y="1374"/>
                  </a:lnTo>
                  <a:lnTo>
                    <a:pt x="462" y="1374"/>
                  </a:lnTo>
                  <a:lnTo>
                    <a:pt x="462" y="1368"/>
                  </a:lnTo>
                  <a:lnTo>
                    <a:pt x="456" y="1374"/>
                  </a:lnTo>
                  <a:lnTo>
                    <a:pt x="456" y="1368"/>
                  </a:lnTo>
                  <a:lnTo>
                    <a:pt x="456" y="1362"/>
                  </a:lnTo>
                  <a:lnTo>
                    <a:pt x="450" y="1362"/>
                  </a:lnTo>
                  <a:lnTo>
                    <a:pt x="450" y="1356"/>
                  </a:lnTo>
                  <a:lnTo>
                    <a:pt x="450" y="1350"/>
                  </a:lnTo>
                  <a:lnTo>
                    <a:pt x="450" y="1344"/>
                  </a:lnTo>
                  <a:lnTo>
                    <a:pt x="456" y="1344"/>
                  </a:lnTo>
                  <a:lnTo>
                    <a:pt x="456" y="1338"/>
                  </a:lnTo>
                  <a:lnTo>
                    <a:pt x="462" y="1338"/>
                  </a:lnTo>
                  <a:lnTo>
                    <a:pt x="462" y="1332"/>
                  </a:lnTo>
                  <a:lnTo>
                    <a:pt x="456" y="1332"/>
                  </a:lnTo>
                  <a:lnTo>
                    <a:pt x="456" y="1326"/>
                  </a:lnTo>
                  <a:lnTo>
                    <a:pt x="450" y="1326"/>
                  </a:lnTo>
                  <a:lnTo>
                    <a:pt x="444" y="1326"/>
                  </a:lnTo>
                  <a:lnTo>
                    <a:pt x="444" y="1332"/>
                  </a:lnTo>
                  <a:lnTo>
                    <a:pt x="438" y="1332"/>
                  </a:lnTo>
                  <a:lnTo>
                    <a:pt x="438" y="1338"/>
                  </a:lnTo>
                  <a:lnTo>
                    <a:pt x="432" y="1338"/>
                  </a:lnTo>
                  <a:lnTo>
                    <a:pt x="432" y="1344"/>
                  </a:lnTo>
                  <a:lnTo>
                    <a:pt x="432" y="1350"/>
                  </a:lnTo>
                  <a:lnTo>
                    <a:pt x="426" y="1356"/>
                  </a:lnTo>
                  <a:lnTo>
                    <a:pt x="426" y="1368"/>
                  </a:lnTo>
                  <a:lnTo>
                    <a:pt x="426" y="1374"/>
                  </a:lnTo>
                  <a:lnTo>
                    <a:pt x="426" y="1380"/>
                  </a:lnTo>
                  <a:lnTo>
                    <a:pt x="432" y="1386"/>
                  </a:lnTo>
                  <a:lnTo>
                    <a:pt x="432" y="1392"/>
                  </a:lnTo>
                  <a:lnTo>
                    <a:pt x="432" y="1398"/>
                  </a:lnTo>
                  <a:lnTo>
                    <a:pt x="426" y="1398"/>
                  </a:lnTo>
                  <a:lnTo>
                    <a:pt x="420" y="1398"/>
                  </a:lnTo>
                  <a:lnTo>
                    <a:pt x="414" y="1398"/>
                  </a:lnTo>
                  <a:lnTo>
                    <a:pt x="420" y="1398"/>
                  </a:lnTo>
                  <a:lnTo>
                    <a:pt x="414" y="1404"/>
                  </a:lnTo>
                  <a:lnTo>
                    <a:pt x="420" y="1404"/>
                  </a:lnTo>
                  <a:lnTo>
                    <a:pt x="414" y="1404"/>
                  </a:lnTo>
                  <a:lnTo>
                    <a:pt x="408" y="1404"/>
                  </a:lnTo>
                  <a:lnTo>
                    <a:pt x="402" y="1410"/>
                  </a:lnTo>
                  <a:lnTo>
                    <a:pt x="402" y="1404"/>
                  </a:lnTo>
                  <a:lnTo>
                    <a:pt x="396" y="1404"/>
                  </a:lnTo>
                  <a:lnTo>
                    <a:pt x="390" y="1404"/>
                  </a:lnTo>
                  <a:lnTo>
                    <a:pt x="384" y="1404"/>
                  </a:lnTo>
                  <a:lnTo>
                    <a:pt x="384" y="1398"/>
                  </a:lnTo>
                  <a:lnTo>
                    <a:pt x="384" y="1392"/>
                  </a:lnTo>
                  <a:lnTo>
                    <a:pt x="390" y="1392"/>
                  </a:lnTo>
                  <a:lnTo>
                    <a:pt x="390" y="1386"/>
                  </a:lnTo>
                  <a:lnTo>
                    <a:pt x="390" y="1380"/>
                  </a:lnTo>
                  <a:lnTo>
                    <a:pt x="396" y="1380"/>
                  </a:lnTo>
                  <a:lnTo>
                    <a:pt x="402" y="1380"/>
                  </a:lnTo>
                  <a:lnTo>
                    <a:pt x="408" y="1380"/>
                  </a:lnTo>
                  <a:lnTo>
                    <a:pt x="408" y="1374"/>
                  </a:lnTo>
                  <a:lnTo>
                    <a:pt x="414" y="1374"/>
                  </a:lnTo>
                  <a:lnTo>
                    <a:pt x="414" y="1368"/>
                  </a:lnTo>
                  <a:lnTo>
                    <a:pt x="414" y="1362"/>
                  </a:lnTo>
                  <a:lnTo>
                    <a:pt x="414" y="1368"/>
                  </a:lnTo>
                  <a:lnTo>
                    <a:pt x="414" y="1374"/>
                  </a:lnTo>
                  <a:lnTo>
                    <a:pt x="408" y="1374"/>
                  </a:lnTo>
                  <a:lnTo>
                    <a:pt x="402" y="1380"/>
                  </a:lnTo>
                  <a:lnTo>
                    <a:pt x="396" y="1380"/>
                  </a:lnTo>
                  <a:lnTo>
                    <a:pt x="396" y="1374"/>
                  </a:lnTo>
                  <a:lnTo>
                    <a:pt x="390" y="1374"/>
                  </a:lnTo>
                  <a:lnTo>
                    <a:pt x="390" y="1368"/>
                  </a:lnTo>
                  <a:lnTo>
                    <a:pt x="384" y="1368"/>
                  </a:lnTo>
                  <a:lnTo>
                    <a:pt x="384" y="1374"/>
                  </a:lnTo>
                  <a:lnTo>
                    <a:pt x="378" y="1374"/>
                  </a:lnTo>
                  <a:lnTo>
                    <a:pt x="378" y="1380"/>
                  </a:lnTo>
                  <a:lnTo>
                    <a:pt x="372" y="1380"/>
                  </a:lnTo>
                  <a:lnTo>
                    <a:pt x="366" y="1386"/>
                  </a:lnTo>
                  <a:lnTo>
                    <a:pt x="360" y="1386"/>
                  </a:lnTo>
                  <a:lnTo>
                    <a:pt x="354" y="1386"/>
                  </a:lnTo>
                  <a:lnTo>
                    <a:pt x="354" y="1380"/>
                  </a:lnTo>
                  <a:lnTo>
                    <a:pt x="348" y="1380"/>
                  </a:lnTo>
                  <a:lnTo>
                    <a:pt x="342" y="1380"/>
                  </a:lnTo>
                  <a:lnTo>
                    <a:pt x="342" y="1374"/>
                  </a:lnTo>
                  <a:lnTo>
                    <a:pt x="336" y="1368"/>
                  </a:lnTo>
                  <a:lnTo>
                    <a:pt x="342" y="1368"/>
                  </a:lnTo>
                  <a:lnTo>
                    <a:pt x="342" y="1362"/>
                  </a:lnTo>
                  <a:lnTo>
                    <a:pt x="348" y="1362"/>
                  </a:lnTo>
                  <a:lnTo>
                    <a:pt x="354" y="1362"/>
                  </a:lnTo>
                  <a:lnTo>
                    <a:pt x="354" y="1356"/>
                  </a:lnTo>
                  <a:lnTo>
                    <a:pt x="348" y="1356"/>
                  </a:lnTo>
                  <a:lnTo>
                    <a:pt x="348" y="1350"/>
                  </a:lnTo>
                  <a:lnTo>
                    <a:pt x="348" y="1344"/>
                  </a:lnTo>
                  <a:lnTo>
                    <a:pt x="354" y="1338"/>
                  </a:lnTo>
                  <a:lnTo>
                    <a:pt x="354" y="1332"/>
                  </a:lnTo>
                  <a:lnTo>
                    <a:pt x="354" y="1326"/>
                  </a:lnTo>
                  <a:lnTo>
                    <a:pt x="354" y="1320"/>
                  </a:lnTo>
                  <a:lnTo>
                    <a:pt x="354" y="1314"/>
                  </a:lnTo>
                  <a:lnTo>
                    <a:pt x="354" y="1308"/>
                  </a:lnTo>
                  <a:lnTo>
                    <a:pt x="348" y="1308"/>
                  </a:lnTo>
                  <a:lnTo>
                    <a:pt x="348" y="1302"/>
                  </a:lnTo>
                  <a:lnTo>
                    <a:pt x="342" y="1296"/>
                  </a:lnTo>
                  <a:lnTo>
                    <a:pt x="336" y="1296"/>
                  </a:lnTo>
                  <a:lnTo>
                    <a:pt x="336" y="1290"/>
                  </a:lnTo>
                  <a:lnTo>
                    <a:pt x="330" y="1290"/>
                  </a:lnTo>
                  <a:lnTo>
                    <a:pt x="324" y="1290"/>
                  </a:lnTo>
                  <a:lnTo>
                    <a:pt x="324" y="1284"/>
                  </a:lnTo>
                  <a:lnTo>
                    <a:pt x="318" y="1284"/>
                  </a:lnTo>
                  <a:lnTo>
                    <a:pt x="318" y="1278"/>
                  </a:lnTo>
                  <a:lnTo>
                    <a:pt x="312" y="1278"/>
                  </a:lnTo>
                  <a:lnTo>
                    <a:pt x="312" y="1272"/>
                  </a:lnTo>
                  <a:lnTo>
                    <a:pt x="312" y="1278"/>
                  </a:lnTo>
                  <a:lnTo>
                    <a:pt x="318" y="1284"/>
                  </a:lnTo>
                  <a:lnTo>
                    <a:pt x="324" y="1290"/>
                  </a:lnTo>
                  <a:lnTo>
                    <a:pt x="330" y="1290"/>
                  </a:lnTo>
                  <a:lnTo>
                    <a:pt x="330" y="1296"/>
                  </a:lnTo>
                  <a:lnTo>
                    <a:pt x="336" y="1296"/>
                  </a:lnTo>
                  <a:lnTo>
                    <a:pt x="336" y="1302"/>
                  </a:lnTo>
                  <a:lnTo>
                    <a:pt x="342" y="1302"/>
                  </a:lnTo>
                  <a:lnTo>
                    <a:pt x="348" y="1302"/>
                  </a:lnTo>
                  <a:lnTo>
                    <a:pt x="348" y="1308"/>
                  </a:lnTo>
                  <a:lnTo>
                    <a:pt x="348" y="1314"/>
                  </a:lnTo>
                  <a:lnTo>
                    <a:pt x="354" y="1314"/>
                  </a:lnTo>
                  <a:lnTo>
                    <a:pt x="354" y="1320"/>
                  </a:lnTo>
                  <a:lnTo>
                    <a:pt x="354" y="1326"/>
                  </a:lnTo>
                  <a:lnTo>
                    <a:pt x="348" y="1326"/>
                  </a:lnTo>
                  <a:lnTo>
                    <a:pt x="348" y="1332"/>
                  </a:lnTo>
                  <a:lnTo>
                    <a:pt x="348" y="1338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2" y="1350"/>
                  </a:lnTo>
                  <a:lnTo>
                    <a:pt x="336" y="1350"/>
                  </a:lnTo>
                  <a:lnTo>
                    <a:pt x="330" y="1350"/>
                  </a:lnTo>
                  <a:lnTo>
                    <a:pt x="330" y="1356"/>
                  </a:lnTo>
                  <a:lnTo>
                    <a:pt x="330" y="1350"/>
                  </a:lnTo>
                  <a:lnTo>
                    <a:pt x="324" y="1350"/>
                  </a:lnTo>
                  <a:lnTo>
                    <a:pt x="318" y="1344"/>
                  </a:lnTo>
                  <a:lnTo>
                    <a:pt x="318" y="1350"/>
                  </a:lnTo>
                  <a:lnTo>
                    <a:pt x="312" y="1344"/>
                  </a:lnTo>
                  <a:lnTo>
                    <a:pt x="312" y="1338"/>
                  </a:lnTo>
                  <a:lnTo>
                    <a:pt x="306" y="1338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6" y="1326"/>
                  </a:lnTo>
                  <a:lnTo>
                    <a:pt x="306" y="1320"/>
                  </a:lnTo>
                  <a:lnTo>
                    <a:pt x="306" y="1326"/>
                  </a:lnTo>
                  <a:lnTo>
                    <a:pt x="312" y="1326"/>
                  </a:lnTo>
                  <a:lnTo>
                    <a:pt x="312" y="1320"/>
                  </a:lnTo>
                  <a:lnTo>
                    <a:pt x="306" y="1320"/>
                  </a:lnTo>
                  <a:lnTo>
                    <a:pt x="300" y="1320"/>
                  </a:lnTo>
                  <a:lnTo>
                    <a:pt x="294" y="1320"/>
                  </a:lnTo>
                  <a:lnTo>
                    <a:pt x="294" y="1314"/>
                  </a:lnTo>
                  <a:lnTo>
                    <a:pt x="288" y="1314"/>
                  </a:lnTo>
                  <a:lnTo>
                    <a:pt x="288" y="1308"/>
                  </a:lnTo>
                  <a:lnTo>
                    <a:pt x="288" y="1302"/>
                  </a:lnTo>
                  <a:lnTo>
                    <a:pt x="294" y="1302"/>
                  </a:lnTo>
                  <a:lnTo>
                    <a:pt x="294" y="1296"/>
                  </a:lnTo>
                  <a:lnTo>
                    <a:pt x="288" y="1296"/>
                  </a:lnTo>
                  <a:lnTo>
                    <a:pt x="288" y="1290"/>
                  </a:lnTo>
                  <a:lnTo>
                    <a:pt x="288" y="1296"/>
                  </a:lnTo>
                  <a:lnTo>
                    <a:pt x="294" y="1302"/>
                  </a:lnTo>
                  <a:lnTo>
                    <a:pt x="288" y="1302"/>
                  </a:lnTo>
                  <a:lnTo>
                    <a:pt x="282" y="1296"/>
                  </a:lnTo>
                  <a:lnTo>
                    <a:pt x="276" y="1296"/>
                  </a:lnTo>
                  <a:lnTo>
                    <a:pt x="276" y="1290"/>
                  </a:lnTo>
                  <a:lnTo>
                    <a:pt x="270" y="1290"/>
                  </a:lnTo>
                  <a:lnTo>
                    <a:pt x="264" y="1284"/>
                  </a:lnTo>
                  <a:lnTo>
                    <a:pt x="264" y="1278"/>
                  </a:lnTo>
                  <a:lnTo>
                    <a:pt x="264" y="1272"/>
                  </a:lnTo>
                  <a:lnTo>
                    <a:pt x="264" y="1266"/>
                  </a:lnTo>
                  <a:lnTo>
                    <a:pt x="258" y="1266"/>
                  </a:lnTo>
                  <a:lnTo>
                    <a:pt x="252" y="1266"/>
                  </a:lnTo>
                  <a:lnTo>
                    <a:pt x="246" y="1260"/>
                  </a:lnTo>
                  <a:lnTo>
                    <a:pt x="240" y="1254"/>
                  </a:lnTo>
                  <a:lnTo>
                    <a:pt x="240" y="1260"/>
                  </a:lnTo>
                  <a:lnTo>
                    <a:pt x="240" y="1266"/>
                  </a:lnTo>
                  <a:lnTo>
                    <a:pt x="240" y="1272"/>
                  </a:lnTo>
                  <a:lnTo>
                    <a:pt x="246" y="1272"/>
                  </a:lnTo>
                  <a:lnTo>
                    <a:pt x="246" y="1278"/>
                  </a:lnTo>
                  <a:lnTo>
                    <a:pt x="246" y="1284"/>
                  </a:lnTo>
                  <a:lnTo>
                    <a:pt x="252" y="1284"/>
                  </a:lnTo>
                  <a:lnTo>
                    <a:pt x="252" y="1290"/>
                  </a:lnTo>
                  <a:lnTo>
                    <a:pt x="258" y="1296"/>
                  </a:lnTo>
                  <a:lnTo>
                    <a:pt x="264" y="1302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58" y="1314"/>
                  </a:lnTo>
                  <a:lnTo>
                    <a:pt x="258" y="1308"/>
                  </a:lnTo>
                  <a:lnTo>
                    <a:pt x="252" y="1308"/>
                  </a:lnTo>
                  <a:lnTo>
                    <a:pt x="252" y="1302"/>
                  </a:lnTo>
                  <a:lnTo>
                    <a:pt x="246" y="1302"/>
                  </a:lnTo>
                  <a:lnTo>
                    <a:pt x="246" y="1296"/>
                  </a:lnTo>
                  <a:lnTo>
                    <a:pt x="240" y="1296"/>
                  </a:lnTo>
                  <a:lnTo>
                    <a:pt x="240" y="1290"/>
                  </a:lnTo>
                  <a:lnTo>
                    <a:pt x="234" y="1284"/>
                  </a:lnTo>
                  <a:lnTo>
                    <a:pt x="234" y="1278"/>
                  </a:lnTo>
                  <a:close/>
                  <a:moveTo>
                    <a:pt x="444" y="1332"/>
                  </a:moveTo>
                  <a:lnTo>
                    <a:pt x="450" y="1326"/>
                  </a:lnTo>
                  <a:lnTo>
                    <a:pt x="456" y="1326"/>
                  </a:lnTo>
                  <a:lnTo>
                    <a:pt x="456" y="1332"/>
                  </a:lnTo>
                  <a:lnTo>
                    <a:pt x="456" y="1338"/>
                  </a:lnTo>
                  <a:lnTo>
                    <a:pt x="450" y="1338"/>
                  </a:lnTo>
                  <a:lnTo>
                    <a:pt x="444" y="1338"/>
                  </a:lnTo>
                  <a:lnTo>
                    <a:pt x="444" y="1332"/>
                  </a:lnTo>
                  <a:close/>
                  <a:moveTo>
                    <a:pt x="444" y="1368"/>
                  </a:moveTo>
                  <a:lnTo>
                    <a:pt x="456" y="1368"/>
                  </a:lnTo>
                  <a:lnTo>
                    <a:pt x="456" y="1374"/>
                  </a:lnTo>
                  <a:lnTo>
                    <a:pt x="444" y="1374"/>
                  </a:lnTo>
                  <a:lnTo>
                    <a:pt x="444" y="1368"/>
                  </a:lnTo>
                  <a:close/>
                  <a:moveTo>
                    <a:pt x="444" y="1386"/>
                  </a:moveTo>
                  <a:lnTo>
                    <a:pt x="444" y="1380"/>
                  </a:lnTo>
                  <a:lnTo>
                    <a:pt x="444" y="1374"/>
                  </a:lnTo>
                  <a:lnTo>
                    <a:pt x="444" y="1380"/>
                  </a:lnTo>
                  <a:lnTo>
                    <a:pt x="450" y="1380"/>
                  </a:lnTo>
                  <a:lnTo>
                    <a:pt x="456" y="1380"/>
                  </a:lnTo>
                  <a:lnTo>
                    <a:pt x="456" y="1386"/>
                  </a:lnTo>
                  <a:lnTo>
                    <a:pt x="456" y="1392"/>
                  </a:lnTo>
                  <a:lnTo>
                    <a:pt x="462" y="1392"/>
                  </a:lnTo>
                  <a:lnTo>
                    <a:pt x="462" y="1398"/>
                  </a:lnTo>
                  <a:lnTo>
                    <a:pt x="462" y="1404"/>
                  </a:lnTo>
                  <a:lnTo>
                    <a:pt x="456" y="1404"/>
                  </a:lnTo>
                  <a:lnTo>
                    <a:pt x="450" y="1404"/>
                  </a:lnTo>
                  <a:lnTo>
                    <a:pt x="450" y="1398"/>
                  </a:lnTo>
                  <a:lnTo>
                    <a:pt x="444" y="1398"/>
                  </a:lnTo>
                  <a:lnTo>
                    <a:pt x="444" y="1392"/>
                  </a:lnTo>
                  <a:lnTo>
                    <a:pt x="444" y="1386"/>
                  </a:lnTo>
                  <a:close/>
                  <a:moveTo>
                    <a:pt x="438" y="1362"/>
                  </a:moveTo>
                  <a:lnTo>
                    <a:pt x="444" y="1356"/>
                  </a:lnTo>
                  <a:lnTo>
                    <a:pt x="450" y="1356"/>
                  </a:lnTo>
                  <a:lnTo>
                    <a:pt x="450" y="1362"/>
                  </a:lnTo>
                  <a:lnTo>
                    <a:pt x="450" y="1368"/>
                  </a:lnTo>
                  <a:lnTo>
                    <a:pt x="444" y="1368"/>
                  </a:lnTo>
                  <a:lnTo>
                    <a:pt x="444" y="1362"/>
                  </a:lnTo>
                  <a:lnTo>
                    <a:pt x="438" y="1362"/>
                  </a:lnTo>
                  <a:close/>
                  <a:moveTo>
                    <a:pt x="438" y="1350"/>
                  </a:moveTo>
                  <a:lnTo>
                    <a:pt x="438" y="1344"/>
                  </a:lnTo>
                  <a:lnTo>
                    <a:pt x="438" y="1338"/>
                  </a:lnTo>
                  <a:lnTo>
                    <a:pt x="444" y="1338"/>
                  </a:lnTo>
                  <a:lnTo>
                    <a:pt x="450" y="1338"/>
                  </a:lnTo>
                  <a:lnTo>
                    <a:pt x="456" y="1338"/>
                  </a:lnTo>
                  <a:lnTo>
                    <a:pt x="450" y="1344"/>
                  </a:lnTo>
                  <a:lnTo>
                    <a:pt x="444" y="1350"/>
                  </a:lnTo>
                  <a:lnTo>
                    <a:pt x="438" y="1350"/>
                  </a:lnTo>
                  <a:close/>
                  <a:moveTo>
                    <a:pt x="432" y="1380"/>
                  </a:moveTo>
                  <a:lnTo>
                    <a:pt x="432" y="1368"/>
                  </a:lnTo>
                  <a:lnTo>
                    <a:pt x="432" y="1362"/>
                  </a:lnTo>
                  <a:lnTo>
                    <a:pt x="432" y="1356"/>
                  </a:lnTo>
                  <a:lnTo>
                    <a:pt x="438" y="1356"/>
                  </a:lnTo>
                  <a:lnTo>
                    <a:pt x="438" y="1362"/>
                  </a:lnTo>
                  <a:lnTo>
                    <a:pt x="438" y="1368"/>
                  </a:lnTo>
                  <a:lnTo>
                    <a:pt x="438" y="1374"/>
                  </a:lnTo>
                  <a:lnTo>
                    <a:pt x="438" y="1380"/>
                  </a:lnTo>
                  <a:lnTo>
                    <a:pt x="438" y="1386"/>
                  </a:lnTo>
                  <a:lnTo>
                    <a:pt x="438" y="1380"/>
                  </a:lnTo>
                  <a:lnTo>
                    <a:pt x="432" y="1380"/>
                  </a:lnTo>
                  <a:close/>
                  <a:moveTo>
                    <a:pt x="246" y="1272"/>
                  </a:moveTo>
                  <a:lnTo>
                    <a:pt x="252" y="1272"/>
                  </a:lnTo>
                  <a:lnTo>
                    <a:pt x="252" y="1278"/>
                  </a:lnTo>
                  <a:lnTo>
                    <a:pt x="246" y="1278"/>
                  </a:lnTo>
                  <a:lnTo>
                    <a:pt x="246" y="1272"/>
                  </a:lnTo>
                  <a:close/>
                  <a:moveTo>
                    <a:pt x="426" y="1416"/>
                  </a:moveTo>
                  <a:lnTo>
                    <a:pt x="432" y="1410"/>
                  </a:lnTo>
                  <a:lnTo>
                    <a:pt x="438" y="1410"/>
                  </a:lnTo>
                  <a:lnTo>
                    <a:pt x="438" y="1416"/>
                  </a:lnTo>
                  <a:lnTo>
                    <a:pt x="438" y="1422"/>
                  </a:lnTo>
                  <a:lnTo>
                    <a:pt x="432" y="1422"/>
                  </a:lnTo>
                  <a:lnTo>
                    <a:pt x="426" y="1422"/>
                  </a:lnTo>
                  <a:lnTo>
                    <a:pt x="426" y="1416"/>
                  </a:lnTo>
                  <a:close/>
                  <a:moveTo>
                    <a:pt x="246" y="1266"/>
                  </a:moveTo>
                  <a:lnTo>
                    <a:pt x="252" y="1266"/>
                  </a:lnTo>
                  <a:lnTo>
                    <a:pt x="258" y="1272"/>
                  </a:lnTo>
                  <a:lnTo>
                    <a:pt x="258" y="1278"/>
                  </a:lnTo>
                  <a:lnTo>
                    <a:pt x="258" y="1284"/>
                  </a:lnTo>
                  <a:lnTo>
                    <a:pt x="252" y="1284"/>
                  </a:lnTo>
                  <a:lnTo>
                    <a:pt x="252" y="1278"/>
                  </a:lnTo>
                  <a:lnTo>
                    <a:pt x="252" y="1272"/>
                  </a:lnTo>
                  <a:lnTo>
                    <a:pt x="252" y="1266"/>
                  </a:lnTo>
                  <a:lnTo>
                    <a:pt x="246" y="1266"/>
                  </a:lnTo>
                  <a:close/>
                  <a:moveTo>
                    <a:pt x="408" y="1458"/>
                  </a:moveTo>
                  <a:lnTo>
                    <a:pt x="408" y="1452"/>
                  </a:lnTo>
                  <a:lnTo>
                    <a:pt x="414" y="1452"/>
                  </a:lnTo>
                  <a:lnTo>
                    <a:pt x="414" y="1446"/>
                  </a:lnTo>
                  <a:lnTo>
                    <a:pt x="414" y="1440"/>
                  </a:lnTo>
                  <a:lnTo>
                    <a:pt x="420" y="1440"/>
                  </a:lnTo>
                  <a:lnTo>
                    <a:pt x="420" y="1434"/>
                  </a:lnTo>
                  <a:lnTo>
                    <a:pt x="420" y="1428"/>
                  </a:lnTo>
                  <a:lnTo>
                    <a:pt x="420" y="1422"/>
                  </a:lnTo>
                  <a:lnTo>
                    <a:pt x="426" y="1422"/>
                  </a:lnTo>
                  <a:lnTo>
                    <a:pt x="432" y="1428"/>
                  </a:lnTo>
                  <a:lnTo>
                    <a:pt x="438" y="1428"/>
                  </a:lnTo>
                  <a:lnTo>
                    <a:pt x="438" y="1434"/>
                  </a:lnTo>
                  <a:lnTo>
                    <a:pt x="438" y="1428"/>
                  </a:lnTo>
                  <a:lnTo>
                    <a:pt x="438" y="1422"/>
                  </a:lnTo>
                  <a:lnTo>
                    <a:pt x="444" y="1416"/>
                  </a:lnTo>
                  <a:lnTo>
                    <a:pt x="444" y="1410"/>
                  </a:lnTo>
                  <a:lnTo>
                    <a:pt x="450" y="1416"/>
                  </a:lnTo>
                  <a:lnTo>
                    <a:pt x="456" y="1416"/>
                  </a:lnTo>
                  <a:lnTo>
                    <a:pt x="456" y="1422"/>
                  </a:lnTo>
                  <a:lnTo>
                    <a:pt x="456" y="1428"/>
                  </a:lnTo>
                  <a:lnTo>
                    <a:pt x="456" y="1434"/>
                  </a:lnTo>
                  <a:lnTo>
                    <a:pt x="456" y="1440"/>
                  </a:lnTo>
                  <a:lnTo>
                    <a:pt x="462" y="1440"/>
                  </a:lnTo>
                  <a:lnTo>
                    <a:pt x="462" y="1446"/>
                  </a:lnTo>
                  <a:lnTo>
                    <a:pt x="462" y="1452"/>
                  </a:lnTo>
                  <a:lnTo>
                    <a:pt x="456" y="1452"/>
                  </a:lnTo>
                  <a:lnTo>
                    <a:pt x="450" y="1452"/>
                  </a:lnTo>
                  <a:lnTo>
                    <a:pt x="444" y="1446"/>
                  </a:lnTo>
                  <a:lnTo>
                    <a:pt x="444" y="1452"/>
                  </a:lnTo>
                  <a:lnTo>
                    <a:pt x="450" y="1452"/>
                  </a:lnTo>
                  <a:lnTo>
                    <a:pt x="450" y="1458"/>
                  </a:lnTo>
                  <a:lnTo>
                    <a:pt x="444" y="1458"/>
                  </a:lnTo>
                  <a:lnTo>
                    <a:pt x="438" y="1464"/>
                  </a:lnTo>
                  <a:lnTo>
                    <a:pt x="438" y="1458"/>
                  </a:lnTo>
                  <a:lnTo>
                    <a:pt x="432" y="1458"/>
                  </a:lnTo>
                  <a:lnTo>
                    <a:pt x="426" y="1458"/>
                  </a:lnTo>
                  <a:lnTo>
                    <a:pt x="432" y="1458"/>
                  </a:lnTo>
                  <a:lnTo>
                    <a:pt x="438" y="1464"/>
                  </a:lnTo>
                  <a:lnTo>
                    <a:pt x="432" y="1464"/>
                  </a:lnTo>
                  <a:lnTo>
                    <a:pt x="432" y="1470"/>
                  </a:lnTo>
                  <a:lnTo>
                    <a:pt x="426" y="1470"/>
                  </a:lnTo>
                  <a:lnTo>
                    <a:pt x="420" y="1476"/>
                  </a:lnTo>
                  <a:lnTo>
                    <a:pt x="420" y="1470"/>
                  </a:lnTo>
                  <a:lnTo>
                    <a:pt x="414" y="1470"/>
                  </a:lnTo>
                  <a:lnTo>
                    <a:pt x="414" y="1464"/>
                  </a:lnTo>
                  <a:lnTo>
                    <a:pt x="414" y="1458"/>
                  </a:lnTo>
                  <a:lnTo>
                    <a:pt x="408" y="1458"/>
                  </a:lnTo>
                  <a:close/>
                  <a:moveTo>
                    <a:pt x="270" y="1326"/>
                  </a:moveTo>
                  <a:lnTo>
                    <a:pt x="270" y="1320"/>
                  </a:lnTo>
                  <a:lnTo>
                    <a:pt x="276" y="1320"/>
                  </a:lnTo>
                  <a:lnTo>
                    <a:pt x="282" y="1326"/>
                  </a:lnTo>
                  <a:lnTo>
                    <a:pt x="288" y="1326"/>
                  </a:lnTo>
                  <a:lnTo>
                    <a:pt x="288" y="1332"/>
                  </a:lnTo>
                  <a:lnTo>
                    <a:pt x="288" y="1338"/>
                  </a:lnTo>
                  <a:lnTo>
                    <a:pt x="288" y="1344"/>
                  </a:lnTo>
                  <a:lnTo>
                    <a:pt x="282" y="1344"/>
                  </a:lnTo>
                  <a:lnTo>
                    <a:pt x="282" y="1338"/>
                  </a:lnTo>
                  <a:lnTo>
                    <a:pt x="276" y="1338"/>
                  </a:lnTo>
                  <a:lnTo>
                    <a:pt x="276" y="1332"/>
                  </a:lnTo>
                  <a:lnTo>
                    <a:pt x="270" y="1332"/>
                  </a:lnTo>
                  <a:lnTo>
                    <a:pt x="270" y="1326"/>
                  </a:lnTo>
                  <a:close/>
                  <a:moveTo>
                    <a:pt x="288" y="1458"/>
                  </a:moveTo>
                  <a:lnTo>
                    <a:pt x="294" y="1458"/>
                  </a:lnTo>
                  <a:lnTo>
                    <a:pt x="294" y="1452"/>
                  </a:lnTo>
                  <a:lnTo>
                    <a:pt x="294" y="1446"/>
                  </a:lnTo>
                  <a:lnTo>
                    <a:pt x="300" y="1446"/>
                  </a:lnTo>
                  <a:lnTo>
                    <a:pt x="300" y="1440"/>
                  </a:lnTo>
                  <a:lnTo>
                    <a:pt x="306" y="1440"/>
                  </a:lnTo>
                  <a:lnTo>
                    <a:pt x="306" y="1446"/>
                  </a:lnTo>
                  <a:lnTo>
                    <a:pt x="312" y="1452"/>
                  </a:lnTo>
                  <a:lnTo>
                    <a:pt x="306" y="1452"/>
                  </a:lnTo>
                  <a:lnTo>
                    <a:pt x="306" y="1458"/>
                  </a:lnTo>
                  <a:lnTo>
                    <a:pt x="312" y="1464"/>
                  </a:lnTo>
                  <a:lnTo>
                    <a:pt x="306" y="1464"/>
                  </a:lnTo>
                  <a:lnTo>
                    <a:pt x="306" y="1470"/>
                  </a:lnTo>
                  <a:lnTo>
                    <a:pt x="300" y="1476"/>
                  </a:lnTo>
                  <a:lnTo>
                    <a:pt x="294" y="1476"/>
                  </a:lnTo>
                  <a:lnTo>
                    <a:pt x="294" y="1470"/>
                  </a:lnTo>
                  <a:lnTo>
                    <a:pt x="288" y="1470"/>
                  </a:lnTo>
                  <a:lnTo>
                    <a:pt x="288" y="1464"/>
                  </a:lnTo>
                  <a:lnTo>
                    <a:pt x="288" y="1458"/>
                  </a:lnTo>
                  <a:close/>
                  <a:moveTo>
                    <a:pt x="270" y="1296"/>
                  </a:moveTo>
                  <a:lnTo>
                    <a:pt x="276" y="1296"/>
                  </a:lnTo>
                  <a:lnTo>
                    <a:pt x="282" y="1296"/>
                  </a:lnTo>
                  <a:lnTo>
                    <a:pt x="288" y="1296"/>
                  </a:lnTo>
                  <a:lnTo>
                    <a:pt x="288" y="1302"/>
                  </a:lnTo>
                  <a:lnTo>
                    <a:pt x="282" y="1308"/>
                  </a:lnTo>
                  <a:lnTo>
                    <a:pt x="276" y="1308"/>
                  </a:lnTo>
                  <a:lnTo>
                    <a:pt x="276" y="1302"/>
                  </a:lnTo>
                  <a:lnTo>
                    <a:pt x="270" y="12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4" name="Freeform 19">
              <a:extLst>
                <a:ext uri="{FF2B5EF4-FFF2-40B4-BE49-F238E27FC236}">
                  <a16:creationId xmlns:a16="http://schemas.microsoft.com/office/drawing/2014/main" id="{5B9020B8-E1C1-4611-A248-9642BBD69C9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7043" y="3765821"/>
              <a:ext cx="333193" cy="398097"/>
            </a:xfrm>
            <a:custGeom>
              <a:avLst/>
              <a:gdLst>
                <a:gd name="T0" fmla="*/ 30 w 624"/>
                <a:gd name="T1" fmla="*/ 61 h 750"/>
                <a:gd name="T2" fmla="*/ 27 w 624"/>
                <a:gd name="T3" fmla="*/ 62 h 750"/>
                <a:gd name="T4" fmla="*/ 23 w 624"/>
                <a:gd name="T5" fmla="*/ 59 h 750"/>
                <a:gd name="T6" fmla="*/ 20 w 624"/>
                <a:gd name="T7" fmla="*/ 58 h 750"/>
                <a:gd name="T8" fmla="*/ 19 w 624"/>
                <a:gd name="T9" fmla="*/ 56 h 750"/>
                <a:gd name="T10" fmla="*/ 17 w 624"/>
                <a:gd name="T11" fmla="*/ 55 h 750"/>
                <a:gd name="T12" fmla="*/ 16 w 624"/>
                <a:gd name="T13" fmla="*/ 51 h 750"/>
                <a:gd name="T14" fmla="*/ 14 w 624"/>
                <a:gd name="T15" fmla="*/ 48 h 750"/>
                <a:gd name="T16" fmla="*/ 12 w 624"/>
                <a:gd name="T17" fmla="*/ 46 h 750"/>
                <a:gd name="T18" fmla="*/ 12 w 624"/>
                <a:gd name="T19" fmla="*/ 44 h 750"/>
                <a:gd name="T20" fmla="*/ 11 w 624"/>
                <a:gd name="T21" fmla="*/ 41 h 750"/>
                <a:gd name="T22" fmla="*/ 8 w 624"/>
                <a:gd name="T23" fmla="*/ 38 h 750"/>
                <a:gd name="T24" fmla="*/ 6 w 624"/>
                <a:gd name="T25" fmla="*/ 38 h 750"/>
                <a:gd name="T26" fmla="*/ 6 w 624"/>
                <a:gd name="T27" fmla="*/ 35 h 750"/>
                <a:gd name="T28" fmla="*/ 7 w 624"/>
                <a:gd name="T29" fmla="*/ 31 h 750"/>
                <a:gd name="T30" fmla="*/ 10 w 624"/>
                <a:gd name="T31" fmla="*/ 27 h 750"/>
                <a:gd name="T32" fmla="*/ 8 w 624"/>
                <a:gd name="T33" fmla="*/ 23 h 750"/>
                <a:gd name="T34" fmla="*/ 6 w 624"/>
                <a:gd name="T35" fmla="*/ 23 h 750"/>
                <a:gd name="T36" fmla="*/ 3 w 624"/>
                <a:gd name="T37" fmla="*/ 22 h 750"/>
                <a:gd name="T38" fmla="*/ 0 w 624"/>
                <a:gd name="T39" fmla="*/ 22 h 750"/>
                <a:gd name="T40" fmla="*/ 0 w 624"/>
                <a:gd name="T41" fmla="*/ 19 h 750"/>
                <a:gd name="T42" fmla="*/ 1 w 624"/>
                <a:gd name="T43" fmla="*/ 18 h 750"/>
                <a:gd name="T44" fmla="*/ 2 w 624"/>
                <a:gd name="T45" fmla="*/ 14 h 750"/>
                <a:gd name="T46" fmla="*/ 4 w 624"/>
                <a:gd name="T47" fmla="*/ 17 h 750"/>
                <a:gd name="T48" fmla="*/ 6 w 624"/>
                <a:gd name="T49" fmla="*/ 17 h 750"/>
                <a:gd name="T50" fmla="*/ 7 w 624"/>
                <a:gd name="T51" fmla="*/ 17 h 750"/>
                <a:gd name="T52" fmla="*/ 9 w 624"/>
                <a:gd name="T53" fmla="*/ 15 h 750"/>
                <a:gd name="T54" fmla="*/ 10 w 624"/>
                <a:gd name="T55" fmla="*/ 14 h 750"/>
                <a:gd name="T56" fmla="*/ 11 w 624"/>
                <a:gd name="T57" fmla="*/ 12 h 750"/>
                <a:gd name="T58" fmla="*/ 13 w 624"/>
                <a:gd name="T59" fmla="*/ 12 h 750"/>
                <a:gd name="T60" fmla="*/ 18 w 624"/>
                <a:gd name="T61" fmla="*/ 10 h 750"/>
                <a:gd name="T62" fmla="*/ 22 w 624"/>
                <a:gd name="T63" fmla="*/ 4 h 750"/>
                <a:gd name="T64" fmla="*/ 24 w 624"/>
                <a:gd name="T65" fmla="*/ 4 h 750"/>
                <a:gd name="T66" fmla="*/ 26 w 624"/>
                <a:gd name="T67" fmla="*/ 2 h 750"/>
                <a:gd name="T68" fmla="*/ 29 w 624"/>
                <a:gd name="T69" fmla="*/ 0 h 750"/>
                <a:gd name="T70" fmla="*/ 32 w 624"/>
                <a:gd name="T71" fmla="*/ 2 h 750"/>
                <a:gd name="T72" fmla="*/ 34 w 624"/>
                <a:gd name="T73" fmla="*/ 5 h 750"/>
                <a:gd name="T74" fmla="*/ 35 w 624"/>
                <a:gd name="T75" fmla="*/ 8 h 750"/>
                <a:gd name="T76" fmla="*/ 39 w 624"/>
                <a:gd name="T77" fmla="*/ 11 h 750"/>
                <a:gd name="T78" fmla="*/ 42 w 624"/>
                <a:gd name="T79" fmla="*/ 14 h 750"/>
                <a:gd name="T80" fmla="*/ 46 w 624"/>
                <a:gd name="T81" fmla="*/ 12 h 750"/>
                <a:gd name="T82" fmla="*/ 49 w 624"/>
                <a:gd name="T83" fmla="*/ 12 h 750"/>
                <a:gd name="T84" fmla="*/ 51 w 624"/>
                <a:gd name="T85" fmla="*/ 12 h 750"/>
                <a:gd name="T86" fmla="*/ 53 w 624"/>
                <a:gd name="T87" fmla="*/ 12 h 750"/>
                <a:gd name="T88" fmla="*/ 53 w 624"/>
                <a:gd name="T89" fmla="*/ 17 h 750"/>
                <a:gd name="T90" fmla="*/ 51 w 624"/>
                <a:gd name="T91" fmla="*/ 20 h 750"/>
                <a:gd name="T92" fmla="*/ 49 w 624"/>
                <a:gd name="T93" fmla="*/ 26 h 750"/>
                <a:gd name="T94" fmla="*/ 47 w 624"/>
                <a:gd name="T95" fmla="*/ 26 h 750"/>
                <a:gd name="T96" fmla="*/ 44 w 624"/>
                <a:gd name="T97" fmla="*/ 26 h 750"/>
                <a:gd name="T98" fmla="*/ 43 w 624"/>
                <a:gd name="T99" fmla="*/ 27 h 750"/>
                <a:gd name="T100" fmla="*/ 45 w 624"/>
                <a:gd name="T101" fmla="*/ 32 h 750"/>
                <a:gd name="T102" fmla="*/ 44 w 624"/>
                <a:gd name="T103" fmla="*/ 43 h 750"/>
                <a:gd name="T104" fmla="*/ 44 w 624"/>
                <a:gd name="T105" fmla="*/ 47 h 750"/>
                <a:gd name="T106" fmla="*/ 44 w 624"/>
                <a:gd name="T107" fmla="*/ 54 h 750"/>
                <a:gd name="T108" fmla="*/ 41 w 624"/>
                <a:gd name="T109" fmla="*/ 60 h 750"/>
                <a:gd name="T110" fmla="*/ 42 w 624"/>
                <a:gd name="T111" fmla="*/ 62 h 750"/>
                <a:gd name="T112" fmla="*/ 43 w 624"/>
                <a:gd name="T113" fmla="*/ 65 h 750"/>
                <a:gd name="T114" fmla="*/ 39 w 624"/>
                <a:gd name="T115" fmla="*/ 63 h 750"/>
                <a:gd name="T116" fmla="*/ 35 w 624"/>
                <a:gd name="T117" fmla="*/ 62 h 75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24"/>
                <a:gd name="T178" fmla="*/ 0 h 750"/>
                <a:gd name="T179" fmla="*/ 624 w 624"/>
                <a:gd name="T180" fmla="*/ 750 h 75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24" h="750">
                  <a:moveTo>
                    <a:pt x="390" y="702"/>
                  </a:moveTo>
                  <a:lnTo>
                    <a:pt x="372" y="696"/>
                  </a:lnTo>
                  <a:lnTo>
                    <a:pt x="360" y="702"/>
                  </a:lnTo>
                  <a:lnTo>
                    <a:pt x="348" y="702"/>
                  </a:lnTo>
                  <a:lnTo>
                    <a:pt x="336" y="702"/>
                  </a:lnTo>
                  <a:lnTo>
                    <a:pt x="330" y="702"/>
                  </a:lnTo>
                  <a:lnTo>
                    <a:pt x="318" y="708"/>
                  </a:lnTo>
                  <a:lnTo>
                    <a:pt x="306" y="708"/>
                  </a:lnTo>
                  <a:lnTo>
                    <a:pt x="294" y="690"/>
                  </a:lnTo>
                  <a:lnTo>
                    <a:pt x="294" y="684"/>
                  </a:lnTo>
                  <a:lnTo>
                    <a:pt x="276" y="684"/>
                  </a:lnTo>
                  <a:lnTo>
                    <a:pt x="270" y="678"/>
                  </a:lnTo>
                  <a:lnTo>
                    <a:pt x="240" y="672"/>
                  </a:lnTo>
                  <a:lnTo>
                    <a:pt x="234" y="672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6"/>
                  </a:lnTo>
                  <a:lnTo>
                    <a:pt x="216" y="660"/>
                  </a:lnTo>
                  <a:lnTo>
                    <a:pt x="216" y="654"/>
                  </a:lnTo>
                  <a:lnTo>
                    <a:pt x="216" y="642"/>
                  </a:lnTo>
                  <a:lnTo>
                    <a:pt x="210" y="642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36"/>
                  </a:lnTo>
                  <a:lnTo>
                    <a:pt x="192" y="624"/>
                  </a:lnTo>
                  <a:lnTo>
                    <a:pt x="186" y="612"/>
                  </a:lnTo>
                  <a:lnTo>
                    <a:pt x="186" y="600"/>
                  </a:lnTo>
                  <a:lnTo>
                    <a:pt x="186" y="588"/>
                  </a:lnTo>
                  <a:lnTo>
                    <a:pt x="180" y="582"/>
                  </a:lnTo>
                  <a:lnTo>
                    <a:pt x="180" y="570"/>
                  </a:lnTo>
                  <a:lnTo>
                    <a:pt x="174" y="558"/>
                  </a:lnTo>
                  <a:lnTo>
                    <a:pt x="162" y="558"/>
                  </a:lnTo>
                  <a:lnTo>
                    <a:pt x="144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38" y="534"/>
                  </a:lnTo>
                  <a:lnTo>
                    <a:pt x="138" y="528"/>
                  </a:lnTo>
                  <a:lnTo>
                    <a:pt x="132" y="522"/>
                  </a:lnTo>
                  <a:lnTo>
                    <a:pt x="144" y="522"/>
                  </a:lnTo>
                  <a:lnTo>
                    <a:pt x="144" y="510"/>
                  </a:lnTo>
                  <a:lnTo>
                    <a:pt x="144" y="504"/>
                  </a:lnTo>
                  <a:lnTo>
                    <a:pt x="138" y="492"/>
                  </a:lnTo>
                  <a:lnTo>
                    <a:pt x="138" y="474"/>
                  </a:lnTo>
                  <a:lnTo>
                    <a:pt x="126" y="468"/>
                  </a:lnTo>
                  <a:lnTo>
                    <a:pt x="120" y="456"/>
                  </a:lnTo>
                  <a:lnTo>
                    <a:pt x="114" y="450"/>
                  </a:lnTo>
                  <a:lnTo>
                    <a:pt x="108" y="438"/>
                  </a:lnTo>
                  <a:lnTo>
                    <a:pt x="96" y="432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60" y="426"/>
                  </a:lnTo>
                  <a:lnTo>
                    <a:pt x="66" y="420"/>
                  </a:lnTo>
                  <a:lnTo>
                    <a:pt x="66" y="408"/>
                  </a:lnTo>
                  <a:lnTo>
                    <a:pt x="72" y="408"/>
                  </a:lnTo>
                  <a:lnTo>
                    <a:pt x="72" y="384"/>
                  </a:lnTo>
                  <a:lnTo>
                    <a:pt x="72" y="366"/>
                  </a:lnTo>
                  <a:lnTo>
                    <a:pt x="78" y="354"/>
                  </a:lnTo>
                  <a:lnTo>
                    <a:pt x="84" y="354"/>
                  </a:lnTo>
                  <a:lnTo>
                    <a:pt x="90" y="348"/>
                  </a:lnTo>
                  <a:lnTo>
                    <a:pt x="102" y="336"/>
                  </a:lnTo>
                  <a:lnTo>
                    <a:pt x="114" y="324"/>
                  </a:lnTo>
                  <a:lnTo>
                    <a:pt x="120" y="312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20" y="276"/>
                  </a:lnTo>
                  <a:lnTo>
                    <a:pt x="96" y="270"/>
                  </a:lnTo>
                  <a:lnTo>
                    <a:pt x="84" y="270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72" y="264"/>
                  </a:lnTo>
                  <a:lnTo>
                    <a:pt x="60" y="252"/>
                  </a:lnTo>
                  <a:lnTo>
                    <a:pt x="42" y="252"/>
                  </a:lnTo>
                  <a:lnTo>
                    <a:pt x="42" y="258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18" y="252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42" y="156"/>
                  </a:lnTo>
                  <a:lnTo>
                    <a:pt x="48" y="198"/>
                  </a:lnTo>
                  <a:lnTo>
                    <a:pt x="48" y="204"/>
                  </a:lnTo>
                  <a:lnTo>
                    <a:pt x="54" y="198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204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192"/>
                  </a:lnTo>
                  <a:lnTo>
                    <a:pt x="96" y="186"/>
                  </a:lnTo>
                  <a:lnTo>
                    <a:pt x="102" y="180"/>
                  </a:lnTo>
                  <a:lnTo>
                    <a:pt x="102" y="174"/>
                  </a:lnTo>
                  <a:lnTo>
                    <a:pt x="108" y="168"/>
                  </a:lnTo>
                  <a:lnTo>
                    <a:pt x="108" y="162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0"/>
                  </a:lnTo>
                  <a:lnTo>
                    <a:pt x="132" y="144"/>
                  </a:lnTo>
                  <a:lnTo>
                    <a:pt x="138" y="138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0" y="132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74" y="126"/>
                  </a:lnTo>
                  <a:lnTo>
                    <a:pt x="204" y="120"/>
                  </a:lnTo>
                  <a:lnTo>
                    <a:pt x="210" y="78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54"/>
                  </a:lnTo>
                  <a:lnTo>
                    <a:pt x="276" y="54"/>
                  </a:lnTo>
                  <a:lnTo>
                    <a:pt x="276" y="48"/>
                  </a:lnTo>
                  <a:lnTo>
                    <a:pt x="282" y="48"/>
                  </a:lnTo>
                  <a:lnTo>
                    <a:pt x="288" y="42"/>
                  </a:lnTo>
                  <a:lnTo>
                    <a:pt x="294" y="42"/>
                  </a:lnTo>
                  <a:lnTo>
                    <a:pt x="294" y="18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0"/>
                  </a:lnTo>
                  <a:lnTo>
                    <a:pt x="336" y="0"/>
                  </a:lnTo>
                  <a:lnTo>
                    <a:pt x="342" y="0"/>
                  </a:lnTo>
                  <a:lnTo>
                    <a:pt x="354" y="6"/>
                  </a:lnTo>
                  <a:lnTo>
                    <a:pt x="366" y="18"/>
                  </a:lnTo>
                  <a:lnTo>
                    <a:pt x="378" y="36"/>
                  </a:lnTo>
                  <a:lnTo>
                    <a:pt x="390" y="42"/>
                  </a:lnTo>
                  <a:lnTo>
                    <a:pt x="390" y="48"/>
                  </a:lnTo>
                  <a:lnTo>
                    <a:pt x="396" y="60"/>
                  </a:lnTo>
                  <a:lnTo>
                    <a:pt x="402" y="72"/>
                  </a:lnTo>
                  <a:lnTo>
                    <a:pt x="408" y="78"/>
                  </a:lnTo>
                  <a:lnTo>
                    <a:pt x="402" y="84"/>
                  </a:lnTo>
                  <a:lnTo>
                    <a:pt x="408" y="90"/>
                  </a:lnTo>
                  <a:lnTo>
                    <a:pt x="414" y="102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50" y="126"/>
                  </a:lnTo>
                  <a:lnTo>
                    <a:pt x="456" y="126"/>
                  </a:lnTo>
                  <a:lnTo>
                    <a:pt x="462" y="144"/>
                  </a:lnTo>
                  <a:lnTo>
                    <a:pt x="480" y="156"/>
                  </a:lnTo>
                  <a:lnTo>
                    <a:pt x="492" y="156"/>
                  </a:lnTo>
                  <a:lnTo>
                    <a:pt x="516" y="150"/>
                  </a:lnTo>
                  <a:lnTo>
                    <a:pt x="516" y="144"/>
                  </a:lnTo>
                  <a:lnTo>
                    <a:pt x="516" y="138"/>
                  </a:lnTo>
                  <a:lnTo>
                    <a:pt x="528" y="138"/>
                  </a:lnTo>
                  <a:lnTo>
                    <a:pt x="546" y="144"/>
                  </a:lnTo>
                  <a:lnTo>
                    <a:pt x="546" y="138"/>
                  </a:lnTo>
                  <a:lnTo>
                    <a:pt x="552" y="138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76" y="138"/>
                  </a:lnTo>
                  <a:lnTo>
                    <a:pt x="582" y="138"/>
                  </a:lnTo>
                  <a:lnTo>
                    <a:pt x="588" y="138"/>
                  </a:lnTo>
                  <a:lnTo>
                    <a:pt x="594" y="138"/>
                  </a:lnTo>
                  <a:lnTo>
                    <a:pt x="594" y="144"/>
                  </a:lnTo>
                  <a:lnTo>
                    <a:pt x="600" y="138"/>
                  </a:lnTo>
                  <a:lnTo>
                    <a:pt x="606" y="138"/>
                  </a:lnTo>
                  <a:lnTo>
                    <a:pt x="606" y="144"/>
                  </a:lnTo>
                  <a:lnTo>
                    <a:pt x="612" y="144"/>
                  </a:lnTo>
                  <a:lnTo>
                    <a:pt x="618" y="156"/>
                  </a:lnTo>
                  <a:lnTo>
                    <a:pt x="612" y="198"/>
                  </a:lnTo>
                  <a:lnTo>
                    <a:pt x="624" y="198"/>
                  </a:lnTo>
                  <a:lnTo>
                    <a:pt x="624" y="204"/>
                  </a:lnTo>
                  <a:lnTo>
                    <a:pt x="612" y="216"/>
                  </a:lnTo>
                  <a:lnTo>
                    <a:pt x="594" y="234"/>
                  </a:lnTo>
                  <a:lnTo>
                    <a:pt x="588" y="252"/>
                  </a:lnTo>
                  <a:lnTo>
                    <a:pt x="576" y="270"/>
                  </a:lnTo>
                  <a:lnTo>
                    <a:pt x="564" y="282"/>
                  </a:lnTo>
                  <a:lnTo>
                    <a:pt x="564" y="294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8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34" y="294"/>
                  </a:lnTo>
                  <a:lnTo>
                    <a:pt x="522" y="300"/>
                  </a:lnTo>
                  <a:lnTo>
                    <a:pt x="510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498" y="324"/>
                  </a:lnTo>
                  <a:lnTo>
                    <a:pt x="504" y="336"/>
                  </a:lnTo>
                  <a:lnTo>
                    <a:pt x="510" y="348"/>
                  </a:lnTo>
                  <a:lnTo>
                    <a:pt x="516" y="366"/>
                  </a:lnTo>
                  <a:lnTo>
                    <a:pt x="522" y="432"/>
                  </a:lnTo>
                  <a:lnTo>
                    <a:pt x="522" y="456"/>
                  </a:lnTo>
                  <a:lnTo>
                    <a:pt x="504" y="492"/>
                  </a:lnTo>
                  <a:lnTo>
                    <a:pt x="504" y="498"/>
                  </a:lnTo>
                  <a:lnTo>
                    <a:pt x="498" y="504"/>
                  </a:lnTo>
                  <a:lnTo>
                    <a:pt x="498" y="522"/>
                  </a:lnTo>
                  <a:lnTo>
                    <a:pt x="504" y="534"/>
                  </a:lnTo>
                  <a:lnTo>
                    <a:pt x="510" y="546"/>
                  </a:lnTo>
                  <a:lnTo>
                    <a:pt x="516" y="558"/>
                  </a:lnTo>
                  <a:lnTo>
                    <a:pt x="516" y="588"/>
                  </a:lnTo>
                  <a:lnTo>
                    <a:pt x="516" y="600"/>
                  </a:lnTo>
                  <a:lnTo>
                    <a:pt x="510" y="618"/>
                  </a:lnTo>
                  <a:lnTo>
                    <a:pt x="504" y="636"/>
                  </a:lnTo>
                  <a:lnTo>
                    <a:pt x="504" y="642"/>
                  </a:lnTo>
                  <a:lnTo>
                    <a:pt x="474" y="654"/>
                  </a:lnTo>
                  <a:lnTo>
                    <a:pt x="474" y="690"/>
                  </a:lnTo>
                  <a:lnTo>
                    <a:pt x="474" y="696"/>
                  </a:lnTo>
                  <a:lnTo>
                    <a:pt x="480" y="702"/>
                  </a:lnTo>
                  <a:lnTo>
                    <a:pt x="486" y="708"/>
                  </a:lnTo>
                  <a:lnTo>
                    <a:pt x="492" y="708"/>
                  </a:lnTo>
                  <a:lnTo>
                    <a:pt x="498" y="726"/>
                  </a:lnTo>
                  <a:lnTo>
                    <a:pt x="504" y="726"/>
                  </a:lnTo>
                  <a:lnTo>
                    <a:pt x="504" y="738"/>
                  </a:lnTo>
                  <a:lnTo>
                    <a:pt x="498" y="744"/>
                  </a:lnTo>
                  <a:lnTo>
                    <a:pt x="486" y="750"/>
                  </a:lnTo>
                  <a:lnTo>
                    <a:pt x="474" y="744"/>
                  </a:lnTo>
                  <a:lnTo>
                    <a:pt x="462" y="744"/>
                  </a:lnTo>
                  <a:lnTo>
                    <a:pt x="456" y="732"/>
                  </a:lnTo>
                  <a:lnTo>
                    <a:pt x="444" y="732"/>
                  </a:lnTo>
                  <a:lnTo>
                    <a:pt x="432" y="726"/>
                  </a:lnTo>
                  <a:lnTo>
                    <a:pt x="420" y="720"/>
                  </a:lnTo>
                  <a:lnTo>
                    <a:pt x="408" y="708"/>
                  </a:lnTo>
                  <a:lnTo>
                    <a:pt x="402" y="708"/>
                  </a:lnTo>
                  <a:lnTo>
                    <a:pt x="390" y="70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5" name="Freeform 20">
              <a:extLst>
                <a:ext uri="{FF2B5EF4-FFF2-40B4-BE49-F238E27FC236}">
                  <a16:creationId xmlns:a16="http://schemas.microsoft.com/office/drawing/2014/main" id="{B8342C3B-ECEC-465F-AAFF-4815B8AC392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870937"/>
              <a:ext cx="313067" cy="377968"/>
            </a:xfrm>
            <a:custGeom>
              <a:avLst/>
              <a:gdLst>
                <a:gd name="T0" fmla="*/ 15 w 588"/>
                <a:gd name="T1" fmla="*/ 59 h 714"/>
                <a:gd name="T2" fmla="*/ 14 w 588"/>
                <a:gd name="T3" fmla="*/ 58 h 714"/>
                <a:gd name="T4" fmla="*/ 9 w 588"/>
                <a:gd name="T5" fmla="*/ 54 h 714"/>
                <a:gd name="T6" fmla="*/ 4 w 588"/>
                <a:gd name="T7" fmla="*/ 54 h 714"/>
                <a:gd name="T8" fmla="*/ 0 w 588"/>
                <a:gd name="T9" fmla="*/ 50 h 714"/>
                <a:gd name="T10" fmla="*/ 0 w 588"/>
                <a:gd name="T11" fmla="*/ 44 h 714"/>
                <a:gd name="T12" fmla="*/ 4 w 588"/>
                <a:gd name="T13" fmla="*/ 46 h 714"/>
                <a:gd name="T14" fmla="*/ 7 w 588"/>
                <a:gd name="T15" fmla="*/ 47 h 714"/>
                <a:gd name="T16" fmla="*/ 10 w 588"/>
                <a:gd name="T17" fmla="*/ 46 h 714"/>
                <a:gd name="T18" fmla="*/ 8 w 588"/>
                <a:gd name="T19" fmla="*/ 44 h 714"/>
                <a:gd name="T20" fmla="*/ 10 w 588"/>
                <a:gd name="T21" fmla="*/ 39 h 714"/>
                <a:gd name="T22" fmla="*/ 11 w 588"/>
                <a:gd name="T23" fmla="*/ 34 h 714"/>
                <a:gd name="T24" fmla="*/ 9 w 588"/>
                <a:gd name="T25" fmla="*/ 28 h 714"/>
                <a:gd name="T26" fmla="*/ 11 w 588"/>
                <a:gd name="T27" fmla="*/ 22 h 714"/>
                <a:gd name="T28" fmla="*/ 10 w 588"/>
                <a:gd name="T29" fmla="*/ 12 h 714"/>
                <a:gd name="T30" fmla="*/ 9 w 588"/>
                <a:gd name="T31" fmla="*/ 9 h 714"/>
                <a:gd name="T32" fmla="*/ 12 w 588"/>
                <a:gd name="T33" fmla="*/ 8 h 714"/>
                <a:gd name="T34" fmla="*/ 14 w 588"/>
                <a:gd name="T35" fmla="*/ 7 h 714"/>
                <a:gd name="T36" fmla="*/ 17 w 588"/>
                <a:gd name="T37" fmla="*/ 10 h 714"/>
                <a:gd name="T38" fmla="*/ 23 w 588"/>
                <a:gd name="T39" fmla="*/ 14 h 714"/>
                <a:gd name="T40" fmla="*/ 28 w 588"/>
                <a:gd name="T41" fmla="*/ 4 h 714"/>
                <a:gd name="T42" fmla="*/ 35 w 588"/>
                <a:gd name="T43" fmla="*/ 2 h 714"/>
                <a:gd name="T44" fmla="*/ 38 w 588"/>
                <a:gd name="T45" fmla="*/ 0 h 714"/>
                <a:gd name="T46" fmla="*/ 40 w 588"/>
                <a:gd name="T47" fmla="*/ 2 h 714"/>
                <a:gd name="T48" fmla="*/ 39 w 588"/>
                <a:gd name="T49" fmla="*/ 4 h 714"/>
                <a:gd name="T50" fmla="*/ 41 w 588"/>
                <a:gd name="T51" fmla="*/ 5 h 714"/>
                <a:gd name="T52" fmla="*/ 42 w 588"/>
                <a:gd name="T53" fmla="*/ 7 h 714"/>
                <a:gd name="T54" fmla="*/ 43 w 588"/>
                <a:gd name="T55" fmla="*/ 9 h 714"/>
                <a:gd name="T56" fmla="*/ 43 w 588"/>
                <a:gd name="T57" fmla="*/ 10 h 714"/>
                <a:gd name="T58" fmla="*/ 43 w 588"/>
                <a:gd name="T59" fmla="*/ 12 h 714"/>
                <a:gd name="T60" fmla="*/ 44 w 588"/>
                <a:gd name="T61" fmla="*/ 12 h 714"/>
                <a:gd name="T62" fmla="*/ 46 w 588"/>
                <a:gd name="T63" fmla="*/ 13 h 714"/>
                <a:gd name="T64" fmla="*/ 47 w 588"/>
                <a:gd name="T65" fmla="*/ 14 h 714"/>
                <a:gd name="T66" fmla="*/ 48 w 588"/>
                <a:gd name="T67" fmla="*/ 15 h 714"/>
                <a:gd name="T68" fmla="*/ 49 w 588"/>
                <a:gd name="T69" fmla="*/ 15 h 714"/>
                <a:gd name="T70" fmla="*/ 48 w 588"/>
                <a:gd name="T71" fmla="*/ 17 h 714"/>
                <a:gd name="T72" fmla="*/ 49 w 588"/>
                <a:gd name="T73" fmla="*/ 19 h 714"/>
                <a:gd name="T74" fmla="*/ 49 w 588"/>
                <a:gd name="T75" fmla="*/ 20 h 714"/>
                <a:gd name="T76" fmla="*/ 51 w 588"/>
                <a:gd name="T77" fmla="*/ 21 h 714"/>
                <a:gd name="T78" fmla="*/ 50 w 588"/>
                <a:gd name="T79" fmla="*/ 22 h 714"/>
                <a:gd name="T80" fmla="*/ 47 w 588"/>
                <a:gd name="T81" fmla="*/ 23 h 714"/>
                <a:gd name="T82" fmla="*/ 47 w 588"/>
                <a:gd name="T83" fmla="*/ 26 h 714"/>
                <a:gd name="T84" fmla="*/ 47 w 588"/>
                <a:gd name="T85" fmla="*/ 32 h 714"/>
                <a:gd name="T86" fmla="*/ 44 w 588"/>
                <a:gd name="T87" fmla="*/ 35 h 714"/>
                <a:gd name="T88" fmla="*/ 42 w 588"/>
                <a:gd name="T89" fmla="*/ 39 h 714"/>
                <a:gd name="T90" fmla="*/ 42 w 588"/>
                <a:gd name="T91" fmla="*/ 41 h 714"/>
                <a:gd name="T92" fmla="*/ 42 w 588"/>
                <a:gd name="T93" fmla="*/ 42 h 714"/>
                <a:gd name="T94" fmla="*/ 41 w 588"/>
                <a:gd name="T95" fmla="*/ 44 h 714"/>
                <a:gd name="T96" fmla="*/ 39 w 588"/>
                <a:gd name="T97" fmla="*/ 43 h 714"/>
                <a:gd name="T98" fmla="*/ 37 w 588"/>
                <a:gd name="T99" fmla="*/ 44 h 714"/>
                <a:gd name="T100" fmla="*/ 35 w 588"/>
                <a:gd name="T101" fmla="*/ 46 h 714"/>
                <a:gd name="T102" fmla="*/ 31 w 588"/>
                <a:gd name="T103" fmla="*/ 45 h 714"/>
                <a:gd name="T104" fmla="*/ 24 w 588"/>
                <a:gd name="T105" fmla="*/ 45 h 714"/>
                <a:gd name="T106" fmla="*/ 25 w 588"/>
                <a:gd name="T107" fmla="*/ 47 h 714"/>
                <a:gd name="T108" fmla="*/ 25 w 588"/>
                <a:gd name="T109" fmla="*/ 49 h 714"/>
                <a:gd name="T110" fmla="*/ 25 w 588"/>
                <a:gd name="T111" fmla="*/ 50 h 714"/>
                <a:gd name="T112" fmla="*/ 24 w 588"/>
                <a:gd name="T113" fmla="*/ 51 h 714"/>
                <a:gd name="T114" fmla="*/ 22 w 588"/>
                <a:gd name="T115" fmla="*/ 53 h 714"/>
                <a:gd name="T116" fmla="*/ 23 w 588"/>
                <a:gd name="T117" fmla="*/ 56 h 714"/>
                <a:gd name="T118" fmla="*/ 20 w 588"/>
                <a:gd name="T119" fmla="*/ 58 h 714"/>
                <a:gd name="T120" fmla="*/ 19 w 588"/>
                <a:gd name="T121" fmla="*/ 62 h 7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8"/>
                <a:gd name="T184" fmla="*/ 0 h 714"/>
                <a:gd name="T185" fmla="*/ 588 w 588"/>
                <a:gd name="T186" fmla="*/ 714 h 7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8" h="714">
                  <a:moveTo>
                    <a:pt x="216" y="714"/>
                  </a:moveTo>
                  <a:lnTo>
                    <a:pt x="198" y="702"/>
                  </a:lnTo>
                  <a:lnTo>
                    <a:pt x="186" y="696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74" y="678"/>
                  </a:lnTo>
                  <a:lnTo>
                    <a:pt x="168" y="672"/>
                  </a:lnTo>
                  <a:lnTo>
                    <a:pt x="162" y="666"/>
                  </a:lnTo>
                  <a:lnTo>
                    <a:pt x="156" y="636"/>
                  </a:lnTo>
                  <a:lnTo>
                    <a:pt x="144" y="630"/>
                  </a:lnTo>
                  <a:lnTo>
                    <a:pt x="108" y="630"/>
                  </a:lnTo>
                  <a:lnTo>
                    <a:pt x="102" y="624"/>
                  </a:lnTo>
                  <a:lnTo>
                    <a:pt x="96" y="624"/>
                  </a:lnTo>
                  <a:lnTo>
                    <a:pt x="72" y="624"/>
                  </a:lnTo>
                  <a:lnTo>
                    <a:pt x="54" y="624"/>
                  </a:lnTo>
                  <a:lnTo>
                    <a:pt x="42" y="618"/>
                  </a:lnTo>
                  <a:lnTo>
                    <a:pt x="30" y="612"/>
                  </a:lnTo>
                  <a:lnTo>
                    <a:pt x="6" y="606"/>
                  </a:lnTo>
                  <a:lnTo>
                    <a:pt x="0" y="606"/>
                  </a:lnTo>
                  <a:lnTo>
                    <a:pt x="0" y="570"/>
                  </a:lnTo>
                  <a:lnTo>
                    <a:pt x="6" y="552"/>
                  </a:lnTo>
                  <a:lnTo>
                    <a:pt x="6" y="522"/>
                  </a:lnTo>
                  <a:lnTo>
                    <a:pt x="0" y="510"/>
                  </a:lnTo>
                  <a:lnTo>
                    <a:pt x="0" y="504"/>
                  </a:lnTo>
                  <a:lnTo>
                    <a:pt x="12" y="510"/>
                  </a:lnTo>
                  <a:lnTo>
                    <a:pt x="18" y="510"/>
                  </a:lnTo>
                  <a:lnTo>
                    <a:pt x="30" y="522"/>
                  </a:lnTo>
                  <a:lnTo>
                    <a:pt x="42" y="528"/>
                  </a:lnTo>
                  <a:lnTo>
                    <a:pt x="54" y="534"/>
                  </a:lnTo>
                  <a:lnTo>
                    <a:pt x="66" y="534"/>
                  </a:lnTo>
                  <a:lnTo>
                    <a:pt x="72" y="546"/>
                  </a:lnTo>
                  <a:lnTo>
                    <a:pt x="84" y="546"/>
                  </a:lnTo>
                  <a:lnTo>
                    <a:pt x="96" y="552"/>
                  </a:lnTo>
                  <a:lnTo>
                    <a:pt x="108" y="546"/>
                  </a:lnTo>
                  <a:lnTo>
                    <a:pt x="114" y="540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90" y="504"/>
                  </a:lnTo>
                  <a:lnTo>
                    <a:pt x="84" y="498"/>
                  </a:lnTo>
                  <a:lnTo>
                    <a:pt x="84" y="492"/>
                  </a:lnTo>
                  <a:lnTo>
                    <a:pt x="84" y="456"/>
                  </a:lnTo>
                  <a:lnTo>
                    <a:pt x="114" y="444"/>
                  </a:lnTo>
                  <a:lnTo>
                    <a:pt x="114" y="438"/>
                  </a:lnTo>
                  <a:lnTo>
                    <a:pt x="120" y="420"/>
                  </a:lnTo>
                  <a:lnTo>
                    <a:pt x="126" y="402"/>
                  </a:lnTo>
                  <a:lnTo>
                    <a:pt x="126" y="390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14" y="336"/>
                  </a:lnTo>
                  <a:lnTo>
                    <a:pt x="108" y="324"/>
                  </a:lnTo>
                  <a:lnTo>
                    <a:pt x="108" y="306"/>
                  </a:lnTo>
                  <a:lnTo>
                    <a:pt x="114" y="300"/>
                  </a:lnTo>
                  <a:lnTo>
                    <a:pt x="114" y="294"/>
                  </a:lnTo>
                  <a:lnTo>
                    <a:pt x="132" y="258"/>
                  </a:lnTo>
                  <a:lnTo>
                    <a:pt x="132" y="234"/>
                  </a:lnTo>
                  <a:lnTo>
                    <a:pt x="126" y="168"/>
                  </a:lnTo>
                  <a:lnTo>
                    <a:pt x="120" y="150"/>
                  </a:lnTo>
                  <a:lnTo>
                    <a:pt x="114" y="138"/>
                  </a:lnTo>
                  <a:lnTo>
                    <a:pt x="108" y="126"/>
                  </a:lnTo>
                  <a:lnTo>
                    <a:pt x="108" y="120"/>
                  </a:lnTo>
                  <a:lnTo>
                    <a:pt x="108" y="114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20" y="96"/>
                  </a:lnTo>
                  <a:lnTo>
                    <a:pt x="132" y="102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56" y="90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96"/>
                  </a:lnTo>
                  <a:lnTo>
                    <a:pt x="186" y="96"/>
                  </a:lnTo>
                  <a:lnTo>
                    <a:pt x="192" y="114"/>
                  </a:lnTo>
                  <a:lnTo>
                    <a:pt x="204" y="132"/>
                  </a:lnTo>
                  <a:lnTo>
                    <a:pt x="216" y="144"/>
                  </a:lnTo>
                  <a:lnTo>
                    <a:pt x="240" y="162"/>
                  </a:lnTo>
                  <a:lnTo>
                    <a:pt x="270" y="156"/>
                  </a:lnTo>
                  <a:lnTo>
                    <a:pt x="282" y="126"/>
                  </a:lnTo>
                  <a:lnTo>
                    <a:pt x="282" y="96"/>
                  </a:lnTo>
                  <a:lnTo>
                    <a:pt x="294" y="54"/>
                  </a:lnTo>
                  <a:lnTo>
                    <a:pt x="324" y="48"/>
                  </a:lnTo>
                  <a:lnTo>
                    <a:pt x="342" y="48"/>
                  </a:lnTo>
                  <a:lnTo>
                    <a:pt x="384" y="48"/>
                  </a:lnTo>
                  <a:lnTo>
                    <a:pt x="390" y="30"/>
                  </a:lnTo>
                  <a:lnTo>
                    <a:pt x="402" y="18"/>
                  </a:lnTo>
                  <a:lnTo>
                    <a:pt x="438" y="6"/>
                  </a:lnTo>
                  <a:lnTo>
                    <a:pt x="438" y="0"/>
                  </a:lnTo>
                  <a:lnTo>
                    <a:pt x="444" y="0"/>
                  </a:lnTo>
                  <a:lnTo>
                    <a:pt x="444" y="6"/>
                  </a:lnTo>
                  <a:lnTo>
                    <a:pt x="450" y="6"/>
                  </a:lnTo>
                  <a:lnTo>
                    <a:pt x="456" y="12"/>
                  </a:lnTo>
                  <a:lnTo>
                    <a:pt x="456" y="18"/>
                  </a:lnTo>
                  <a:lnTo>
                    <a:pt x="462" y="24"/>
                  </a:lnTo>
                  <a:lnTo>
                    <a:pt x="462" y="30"/>
                  </a:lnTo>
                  <a:lnTo>
                    <a:pt x="468" y="36"/>
                  </a:lnTo>
                  <a:lnTo>
                    <a:pt x="462" y="36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74" y="60"/>
                  </a:lnTo>
                  <a:lnTo>
                    <a:pt x="486" y="78"/>
                  </a:lnTo>
                  <a:lnTo>
                    <a:pt x="486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8" y="102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498" y="114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504" y="126"/>
                  </a:lnTo>
                  <a:lnTo>
                    <a:pt x="498" y="132"/>
                  </a:lnTo>
                  <a:lnTo>
                    <a:pt x="504" y="138"/>
                  </a:lnTo>
                  <a:lnTo>
                    <a:pt x="504" y="132"/>
                  </a:lnTo>
                  <a:lnTo>
                    <a:pt x="510" y="132"/>
                  </a:lnTo>
                  <a:lnTo>
                    <a:pt x="510" y="138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56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6" y="168"/>
                  </a:lnTo>
                  <a:lnTo>
                    <a:pt x="552" y="168"/>
                  </a:lnTo>
                  <a:lnTo>
                    <a:pt x="546" y="168"/>
                  </a:lnTo>
                  <a:lnTo>
                    <a:pt x="546" y="174"/>
                  </a:lnTo>
                  <a:lnTo>
                    <a:pt x="558" y="180"/>
                  </a:lnTo>
                  <a:lnTo>
                    <a:pt x="564" y="180"/>
                  </a:lnTo>
                  <a:lnTo>
                    <a:pt x="564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52" y="198"/>
                  </a:lnTo>
                  <a:lnTo>
                    <a:pt x="558" y="204"/>
                  </a:lnTo>
                  <a:lnTo>
                    <a:pt x="564" y="204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22"/>
                  </a:lnTo>
                  <a:lnTo>
                    <a:pt x="576" y="228"/>
                  </a:lnTo>
                  <a:lnTo>
                    <a:pt x="570" y="228"/>
                  </a:lnTo>
                  <a:lnTo>
                    <a:pt x="570" y="234"/>
                  </a:lnTo>
                  <a:lnTo>
                    <a:pt x="576" y="234"/>
                  </a:lnTo>
                  <a:lnTo>
                    <a:pt x="582" y="234"/>
                  </a:lnTo>
                  <a:lnTo>
                    <a:pt x="588" y="234"/>
                  </a:lnTo>
                  <a:lnTo>
                    <a:pt x="588" y="240"/>
                  </a:lnTo>
                  <a:lnTo>
                    <a:pt x="588" y="246"/>
                  </a:lnTo>
                  <a:lnTo>
                    <a:pt x="588" y="252"/>
                  </a:lnTo>
                  <a:lnTo>
                    <a:pt x="582" y="252"/>
                  </a:lnTo>
                  <a:lnTo>
                    <a:pt x="576" y="252"/>
                  </a:lnTo>
                  <a:lnTo>
                    <a:pt x="582" y="258"/>
                  </a:lnTo>
                  <a:lnTo>
                    <a:pt x="582" y="264"/>
                  </a:lnTo>
                  <a:lnTo>
                    <a:pt x="576" y="264"/>
                  </a:lnTo>
                  <a:lnTo>
                    <a:pt x="546" y="264"/>
                  </a:lnTo>
                  <a:lnTo>
                    <a:pt x="546" y="276"/>
                  </a:lnTo>
                  <a:lnTo>
                    <a:pt x="540" y="282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40" y="324"/>
                  </a:lnTo>
                  <a:lnTo>
                    <a:pt x="552" y="330"/>
                  </a:lnTo>
                  <a:lnTo>
                    <a:pt x="558" y="342"/>
                  </a:lnTo>
                  <a:lnTo>
                    <a:pt x="546" y="372"/>
                  </a:lnTo>
                  <a:lnTo>
                    <a:pt x="534" y="372"/>
                  </a:lnTo>
                  <a:lnTo>
                    <a:pt x="534" y="384"/>
                  </a:lnTo>
                  <a:lnTo>
                    <a:pt x="522" y="384"/>
                  </a:lnTo>
                  <a:lnTo>
                    <a:pt x="510" y="402"/>
                  </a:lnTo>
                  <a:lnTo>
                    <a:pt x="504" y="420"/>
                  </a:lnTo>
                  <a:lnTo>
                    <a:pt x="492" y="426"/>
                  </a:lnTo>
                  <a:lnTo>
                    <a:pt x="486" y="432"/>
                  </a:lnTo>
                  <a:lnTo>
                    <a:pt x="486" y="444"/>
                  </a:lnTo>
                  <a:lnTo>
                    <a:pt x="486" y="450"/>
                  </a:lnTo>
                  <a:lnTo>
                    <a:pt x="486" y="456"/>
                  </a:lnTo>
                  <a:lnTo>
                    <a:pt x="486" y="462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80" y="474"/>
                  </a:lnTo>
                  <a:lnTo>
                    <a:pt x="480" y="480"/>
                  </a:lnTo>
                  <a:lnTo>
                    <a:pt x="480" y="486"/>
                  </a:lnTo>
                  <a:lnTo>
                    <a:pt x="480" y="492"/>
                  </a:lnTo>
                  <a:lnTo>
                    <a:pt x="480" y="498"/>
                  </a:lnTo>
                  <a:lnTo>
                    <a:pt x="474" y="504"/>
                  </a:lnTo>
                  <a:lnTo>
                    <a:pt x="468" y="510"/>
                  </a:lnTo>
                  <a:lnTo>
                    <a:pt x="462" y="510"/>
                  </a:lnTo>
                  <a:lnTo>
                    <a:pt x="456" y="504"/>
                  </a:lnTo>
                  <a:lnTo>
                    <a:pt x="456" y="498"/>
                  </a:lnTo>
                  <a:lnTo>
                    <a:pt x="450" y="498"/>
                  </a:lnTo>
                  <a:lnTo>
                    <a:pt x="444" y="498"/>
                  </a:lnTo>
                  <a:lnTo>
                    <a:pt x="438" y="498"/>
                  </a:lnTo>
                  <a:lnTo>
                    <a:pt x="432" y="498"/>
                  </a:lnTo>
                  <a:lnTo>
                    <a:pt x="426" y="504"/>
                  </a:lnTo>
                  <a:lnTo>
                    <a:pt x="426" y="510"/>
                  </a:lnTo>
                  <a:lnTo>
                    <a:pt x="420" y="516"/>
                  </a:lnTo>
                  <a:lnTo>
                    <a:pt x="414" y="522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84" y="528"/>
                  </a:lnTo>
                  <a:lnTo>
                    <a:pt x="366" y="540"/>
                  </a:lnTo>
                  <a:lnTo>
                    <a:pt x="360" y="522"/>
                  </a:lnTo>
                  <a:lnTo>
                    <a:pt x="348" y="504"/>
                  </a:lnTo>
                  <a:lnTo>
                    <a:pt x="330" y="504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34"/>
                  </a:lnTo>
                  <a:lnTo>
                    <a:pt x="288" y="540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2" y="540"/>
                  </a:lnTo>
                  <a:lnTo>
                    <a:pt x="282" y="546"/>
                  </a:lnTo>
                  <a:lnTo>
                    <a:pt x="288" y="552"/>
                  </a:lnTo>
                  <a:lnTo>
                    <a:pt x="294" y="564"/>
                  </a:lnTo>
                  <a:lnTo>
                    <a:pt x="300" y="564"/>
                  </a:lnTo>
                  <a:lnTo>
                    <a:pt x="300" y="570"/>
                  </a:lnTo>
                  <a:lnTo>
                    <a:pt x="294" y="570"/>
                  </a:lnTo>
                  <a:lnTo>
                    <a:pt x="288" y="570"/>
                  </a:lnTo>
                  <a:lnTo>
                    <a:pt x="288" y="576"/>
                  </a:lnTo>
                  <a:lnTo>
                    <a:pt x="288" y="582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606"/>
                  </a:lnTo>
                  <a:lnTo>
                    <a:pt x="264" y="612"/>
                  </a:lnTo>
                  <a:lnTo>
                    <a:pt x="258" y="612"/>
                  </a:lnTo>
                  <a:lnTo>
                    <a:pt x="252" y="612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52" y="630"/>
                  </a:lnTo>
                  <a:lnTo>
                    <a:pt x="264" y="642"/>
                  </a:lnTo>
                  <a:lnTo>
                    <a:pt x="258" y="648"/>
                  </a:lnTo>
                  <a:lnTo>
                    <a:pt x="246" y="654"/>
                  </a:lnTo>
                  <a:lnTo>
                    <a:pt x="240" y="660"/>
                  </a:lnTo>
                  <a:lnTo>
                    <a:pt x="234" y="672"/>
                  </a:lnTo>
                  <a:lnTo>
                    <a:pt x="234" y="678"/>
                  </a:lnTo>
                  <a:lnTo>
                    <a:pt x="228" y="684"/>
                  </a:lnTo>
                  <a:lnTo>
                    <a:pt x="228" y="696"/>
                  </a:lnTo>
                  <a:lnTo>
                    <a:pt x="216" y="71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6" name="Freeform 21">
              <a:extLst>
                <a:ext uri="{FF2B5EF4-FFF2-40B4-BE49-F238E27FC236}">
                  <a16:creationId xmlns:a16="http://schemas.microsoft.com/office/drawing/2014/main" id="{DCB1E808-522D-4C19-B741-CC5DD56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4178" y="3866464"/>
              <a:ext cx="250453" cy="371259"/>
            </a:xfrm>
            <a:custGeom>
              <a:avLst/>
              <a:gdLst>
                <a:gd name="T0" fmla="*/ 0 w 468"/>
                <a:gd name="T1" fmla="*/ 61 h 696"/>
                <a:gd name="T2" fmla="*/ 1 w 468"/>
                <a:gd name="T3" fmla="*/ 58 h 696"/>
                <a:gd name="T4" fmla="*/ 2 w 468"/>
                <a:gd name="T5" fmla="*/ 54 h 696"/>
                <a:gd name="T6" fmla="*/ 3 w 468"/>
                <a:gd name="T7" fmla="*/ 51 h 696"/>
                <a:gd name="T8" fmla="*/ 4 w 468"/>
                <a:gd name="T9" fmla="*/ 48 h 696"/>
                <a:gd name="T10" fmla="*/ 6 w 468"/>
                <a:gd name="T11" fmla="*/ 44 h 696"/>
                <a:gd name="T12" fmla="*/ 5 w 468"/>
                <a:gd name="T13" fmla="*/ 41 h 696"/>
                <a:gd name="T14" fmla="*/ 7 w 468"/>
                <a:gd name="T15" fmla="*/ 38 h 696"/>
                <a:gd name="T16" fmla="*/ 8 w 468"/>
                <a:gd name="T17" fmla="*/ 36 h 696"/>
                <a:gd name="T18" fmla="*/ 7 w 468"/>
                <a:gd name="T19" fmla="*/ 33 h 696"/>
                <a:gd name="T20" fmla="*/ 6 w 468"/>
                <a:gd name="T21" fmla="*/ 29 h 696"/>
                <a:gd name="T22" fmla="*/ 4 w 468"/>
                <a:gd name="T23" fmla="*/ 22 h 696"/>
                <a:gd name="T24" fmla="*/ 2 w 468"/>
                <a:gd name="T25" fmla="*/ 14 h 696"/>
                <a:gd name="T26" fmla="*/ 12 w 468"/>
                <a:gd name="T27" fmla="*/ 11 h 696"/>
                <a:gd name="T28" fmla="*/ 14 w 468"/>
                <a:gd name="T29" fmla="*/ 2 h 696"/>
                <a:gd name="T30" fmla="*/ 16 w 468"/>
                <a:gd name="T31" fmla="*/ 0 h 696"/>
                <a:gd name="T32" fmla="*/ 17 w 468"/>
                <a:gd name="T33" fmla="*/ 0 h 696"/>
                <a:gd name="T34" fmla="*/ 18 w 468"/>
                <a:gd name="T35" fmla="*/ 1 h 696"/>
                <a:gd name="T36" fmla="*/ 17 w 468"/>
                <a:gd name="T37" fmla="*/ 2 h 696"/>
                <a:gd name="T38" fmla="*/ 17 w 468"/>
                <a:gd name="T39" fmla="*/ 4 h 696"/>
                <a:gd name="T40" fmla="*/ 17 w 468"/>
                <a:gd name="T41" fmla="*/ 6 h 696"/>
                <a:gd name="T42" fmla="*/ 20 w 468"/>
                <a:gd name="T43" fmla="*/ 6 h 696"/>
                <a:gd name="T44" fmla="*/ 22 w 468"/>
                <a:gd name="T45" fmla="*/ 5 h 696"/>
                <a:gd name="T46" fmla="*/ 24 w 468"/>
                <a:gd name="T47" fmla="*/ 7 h 696"/>
                <a:gd name="T48" fmla="*/ 28 w 468"/>
                <a:gd name="T49" fmla="*/ 7 h 696"/>
                <a:gd name="T50" fmla="*/ 28 w 468"/>
                <a:gd name="T51" fmla="*/ 11 h 696"/>
                <a:gd name="T52" fmla="*/ 25 w 468"/>
                <a:gd name="T53" fmla="*/ 14 h 696"/>
                <a:gd name="T54" fmla="*/ 23 w 468"/>
                <a:gd name="T55" fmla="*/ 15 h 696"/>
                <a:gd name="T56" fmla="*/ 23 w 468"/>
                <a:gd name="T57" fmla="*/ 19 h 696"/>
                <a:gd name="T58" fmla="*/ 23 w 468"/>
                <a:gd name="T59" fmla="*/ 21 h 696"/>
                <a:gd name="T60" fmla="*/ 24 w 468"/>
                <a:gd name="T61" fmla="*/ 21 h 696"/>
                <a:gd name="T62" fmla="*/ 27 w 468"/>
                <a:gd name="T63" fmla="*/ 23 h 696"/>
                <a:gd name="T64" fmla="*/ 29 w 468"/>
                <a:gd name="T65" fmla="*/ 24 h 696"/>
                <a:gd name="T66" fmla="*/ 29 w 468"/>
                <a:gd name="T67" fmla="*/ 28 h 696"/>
                <a:gd name="T68" fmla="*/ 29 w 468"/>
                <a:gd name="T69" fmla="*/ 29 h 696"/>
                <a:gd name="T70" fmla="*/ 29 w 468"/>
                <a:gd name="T71" fmla="*/ 32 h 696"/>
                <a:gd name="T72" fmla="*/ 32 w 468"/>
                <a:gd name="T73" fmla="*/ 32 h 696"/>
                <a:gd name="T74" fmla="*/ 33 w 468"/>
                <a:gd name="T75" fmla="*/ 35 h 696"/>
                <a:gd name="T76" fmla="*/ 34 w 468"/>
                <a:gd name="T77" fmla="*/ 38 h 696"/>
                <a:gd name="T78" fmla="*/ 35 w 468"/>
                <a:gd name="T79" fmla="*/ 39 h 696"/>
                <a:gd name="T80" fmla="*/ 36 w 468"/>
                <a:gd name="T81" fmla="*/ 40 h 696"/>
                <a:gd name="T82" fmla="*/ 37 w 468"/>
                <a:gd name="T83" fmla="*/ 41 h 696"/>
                <a:gd name="T84" fmla="*/ 38 w 468"/>
                <a:gd name="T85" fmla="*/ 42 h 696"/>
                <a:gd name="T86" fmla="*/ 41 w 468"/>
                <a:gd name="T87" fmla="*/ 44 h 696"/>
                <a:gd name="T88" fmla="*/ 40 w 468"/>
                <a:gd name="T89" fmla="*/ 44 h 696"/>
                <a:gd name="T90" fmla="*/ 37 w 468"/>
                <a:gd name="T91" fmla="*/ 45 h 696"/>
                <a:gd name="T92" fmla="*/ 36 w 468"/>
                <a:gd name="T93" fmla="*/ 48 h 696"/>
                <a:gd name="T94" fmla="*/ 34 w 468"/>
                <a:gd name="T95" fmla="*/ 49 h 696"/>
                <a:gd name="T96" fmla="*/ 32 w 468"/>
                <a:gd name="T97" fmla="*/ 51 h 696"/>
                <a:gd name="T98" fmla="*/ 31 w 468"/>
                <a:gd name="T99" fmla="*/ 51 h 696"/>
                <a:gd name="T100" fmla="*/ 26 w 468"/>
                <a:gd name="T101" fmla="*/ 49 h 696"/>
                <a:gd name="T102" fmla="*/ 23 w 468"/>
                <a:gd name="T103" fmla="*/ 51 h 696"/>
                <a:gd name="T104" fmla="*/ 21 w 468"/>
                <a:gd name="T105" fmla="*/ 51 h 696"/>
                <a:gd name="T106" fmla="*/ 20 w 468"/>
                <a:gd name="T107" fmla="*/ 52 h 696"/>
                <a:gd name="T108" fmla="*/ 17 w 468"/>
                <a:gd name="T109" fmla="*/ 55 h 696"/>
                <a:gd name="T110" fmla="*/ 15 w 468"/>
                <a:gd name="T111" fmla="*/ 56 h 696"/>
                <a:gd name="T112" fmla="*/ 15 w 468"/>
                <a:gd name="T113" fmla="*/ 59 h 696"/>
                <a:gd name="T114" fmla="*/ 14 w 468"/>
                <a:gd name="T115" fmla="*/ 59 h 696"/>
                <a:gd name="T116" fmla="*/ 12 w 468"/>
                <a:gd name="T117" fmla="*/ 59 h 696"/>
                <a:gd name="T118" fmla="*/ 11 w 468"/>
                <a:gd name="T119" fmla="*/ 57 h 696"/>
                <a:gd name="T120" fmla="*/ 9 w 468"/>
                <a:gd name="T121" fmla="*/ 57 h 696"/>
                <a:gd name="T122" fmla="*/ 6 w 468"/>
                <a:gd name="T123" fmla="*/ 58 h 696"/>
                <a:gd name="T124" fmla="*/ 4 w 468"/>
                <a:gd name="T125" fmla="*/ 60 h 69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8"/>
                <a:gd name="T190" fmla="*/ 0 h 696"/>
                <a:gd name="T191" fmla="*/ 468 w 468"/>
                <a:gd name="T192" fmla="*/ 696 h 69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8" h="696">
                  <a:moveTo>
                    <a:pt x="30" y="696"/>
                  </a:moveTo>
                  <a:lnTo>
                    <a:pt x="18" y="696"/>
                  </a:lnTo>
                  <a:lnTo>
                    <a:pt x="6" y="696"/>
                  </a:lnTo>
                  <a:lnTo>
                    <a:pt x="0" y="690"/>
                  </a:lnTo>
                  <a:lnTo>
                    <a:pt x="6" y="678"/>
                  </a:lnTo>
                  <a:lnTo>
                    <a:pt x="12" y="666"/>
                  </a:lnTo>
                  <a:lnTo>
                    <a:pt x="18" y="654"/>
                  </a:lnTo>
                  <a:lnTo>
                    <a:pt x="18" y="642"/>
                  </a:lnTo>
                  <a:lnTo>
                    <a:pt x="18" y="618"/>
                  </a:lnTo>
                  <a:lnTo>
                    <a:pt x="24" y="606"/>
                  </a:lnTo>
                  <a:lnTo>
                    <a:pt x="30" y="594"/>
                  </a:lnTo>
                  <a:lnTo>
                    <a:pt x="30" y="582"/>
                  </a:lnTo>
                  <a:lnTo>
                    <a:pt x="36" y="576"/>
                  </a:lnTo>
                  <a:lnTo>
                    <a:pt x="42" y="564"/>
                  </a:lnTo>
                  <a:lnTo>
                    <a:pt x="48" y="546"/>
                  </a:lnTo>
                  <a:lnTo>
                    <a:pt x="48" y="528"/>
                  </a:lnTo>
                  <a:lnTo>
                    <a:pt x="60" y="516"/>
                  </a:lnTo>
                  <a:lnTo>
                    <a:pt x="66" y="504"/>
                  </a:lnTo>
                  <a:lnTo>
                    <a:pt x="66" y="492"/>
                  </a:lnTo>
                  <a:lnTo>
                    <a:pt x="60" y="480"/>
                  </a:lnTo>
                  <a:lnTo>
                    <a:pt x="54" y="468"/>
                  </a:lnTo>
                  <a:lnTo>
                    <a:pt x="60" y="456"/>
                  </a:lnTo>
                  <a:lnTo>
                    <a:pt x="72" y="450"/>
                  </a:lnTo>
                  <a:lnTo>
                    <a:pt x="84" y="438"/>
                  </a:lnTo>
                  <a:lnTo>
                    <a:pt x="90" y="426"/>
                  </a:lnTo>
                  <a:lnTo>
                    <a:pt x="90" y="420"/>
                  </a:lnTo>
                  <a:lnTo>
                    <a:pt x="90" y="408"/>
                  </a:lnTo>
                  <a:lnTo>
                    <a:pt x="90" y="402"/>
                  </a:lnTo>
                  <a:lnTo>
                    <a:pt x="84" y="396"/>
                  </a:lnTo>
                  <a:lnTo>
                    <a:pt x="78" y="378"/>
                  </a:lnTo>
                  <a:lnTo>
                    <a:pt x="72" y="360"/>
                  </a:lnTo>
                  <a:lnTo>
                    <a:pt x="66" y="348"/>
                  </a:lnTo>
                  <a:lnTo>
                    <a:pt x="72" y="336"/>
                  </a:lnTo>
                  <a:lnTo>
                    <a:pt x="66" y="306"/>
                  </a:lnTo>
                  <a:lnTo>
                    <a:pt x="54" y="276"/>
                  </a:lnTo>
                  <a:lnTo>
                    <a:pt x="42" y="252"/>
                  </a:lnTo>
                  <a:lnTo>
                    <a:pt x="36" y="222"/>
                  </a:lnTo>
                  <a:lnTo>
                    <a:pt x="30" y="192"/>
                  </a:lnTo>
                  <a:lnTo>
                    <a:pt x="24" y="162"/>
                  </a:lnTo>
                  <a:lnTo>
                    <a:pt x="42" y="174"/>
                  </a:lnTo>
                  <a:lnTo>
                    <a:pt x="120" y="138"/>
                  </a:lnTo>
                  <a:lnTo>
                    <a:pt x="132" y="126"/>
                  </a:lnTo>
                  <a:lnTo>
                    <a:pt x="120" y="54"/>
                  </a:lnTo>
                  <a:lnTo>
                    <a:pt x="156" y="30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0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8" y="18"/>
                  </a:lnTo>
                  <a:lnTo>
                    <a:pt x="198" y="24"/>
                  </a:lnTo>
                  <a:lnTo>
                    <a:pt x="198" y="30"/>
                  </a:lnTo>
                  <a:lnTo>
                    <a:pt x="198" y="42"/>
                  </a:lnTo>
                  <a:lnTo>
                    <a:pt x="198" y="48"/>
                  </a:lnTo>
                  <a:lnTo>
                    <a:pt x="192" y="60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28" y="60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34" y="60"/>
                  </a:lnTo>
                  <a:lnTo>
                    <a:pt x="252" y="60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312" y="84"/>
                  </a:lnTo>
                  <a:lnTo>
                    <a:pt x="318" y="96"/>
                  </a:lnTo>
                  <a:lnTo>
                    <a:pt x="318" y="102"/>
                  </a:lnTo>
                  <a:lnTo>
                    <a:pt x="312" y="120"/>
                  </a:lnTo>
                  <a:lnTo>
                    <a:pt x="306" y="132"/>
                  </a:lnTo>
                  <a:lnTo>
                    <a:pt x="294" y="144"/>
                  </a:lnTo>
                  <a:lnTo>
                    <a:pt x="282" y="156"/>
                  </a:lnTo>
                  <a:lnTo>
                    <a:pt x="276" y="162"/>
                  </a:lnTo>
                  <a:lnTo>
                    <a:pt x="270" y="162"/>
                  </a:lnTo>
                  <a:lnTo>
                    <a:pt x="264" y="174"/>
                  </a:lnTo>
                  <a:lnTo>
                    <a:pt x="264" y="192"/>
                  </a:lnTo>
                  <a:lnTo>
                    <a:pt x="264" y="216"/>
                  </a:lnTo>
                  <a:lnTo>
                    <a:pt x="258" y="216"/>
                  </a:lnTo>
                  <a:lnTo>
                    <a:pt x="258" y="228"/>
                  </a:lnTo>
                  <a:lnTo>
                    <a:pt x="252" y="234"/>
                  </a:lnTo>
                  <a:lnTo>
                    <a:pt x="258" y="240"/>
                  </a:lnTo>
                  <a:lnTo>
                    <a:pt x="264" y="240"/>
                  </a:lnTo>
                  <a:lnTo>
                    <a:pt x="270" y="240"/>
                  </a:lnTo>
                  <a:lnTo>
                    <a:pt x="276" y="240"/>
                  </a:lnTo>
                  <a:lnTo>
                    <a:pt x="288" y="240"/>
                  </a:lnTo>
                  <a:lnTo>
                    <a:pt x="300" y="246"/>
                  </a:lnTo>
                  <a:lnTo>
                    <a:pt x="306" y="258"/>
                  </a:lnTo>
                  <a:lnTo>
                    <a:pt x="312" y="264"/>
                  </a:lnTo>
                  <a:lnTo>
                    <a:pt x="318" y="276"/>
                  </a:lnTo>
                  <a:lnTo>
                    <a:pt x="330" y="282"/>
                  </a:lnTo>
                  <a:lnTo>
                    <a:pt x="330" y="300"/>
                  </a:lnTo>
                  <a:lnTo>
                    <a:pt x="336" y="312"/>
                  </a:lnTo>
                  <a:lnTo>
                    <a:pt x="336" y="318"/>
                  </a:lnTo>
                  <a:lnTo>
                    <a:pt x="336" y="330"/>
                  </a:lnTo>
                  <a:lnTo>
                    <a:pt x="324" y="330"/>
                  </a:lnTo>
                  <a:lnTo>
                    <a:pt x="330" y="336"/>
                  </a:lnTo>
                  <a:lnTo>
                    <a:pt x="330" y="342"/>
                  </a:lnTo>
                  <a:lnTo>
                    <a:pt x="336" y="348"/>
                  </a:lnTo>
                  <a:lnTo>
                    <a:pt x="330" y="360"/>
                  </a:lnTo>
                  <a:lnTo>
                    <a:pt x="336" y="372"/>
                  </a:lnTo>
                  <a:lnTo>
                    <a:pt x="354" y="366"/>
                  </a:lnTo>
                  <a:lnTo>
                    <a:pt x="366" y="366"/>
                  </a:lnTo>
                  <a:lnTo>
                    <a:pt x="372" y="378"/>
                  </a:lnTo>
                  <a:lnTo>
                    <a:pt x="372" y="390"/>
                  </a:lnTo>
                  <a:lnTo>
                    <a:pt x="378" y="396"/>
                  </a:lnTo>
                  <a:lnTo>
                    <a:pt x="378" y="408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44"/>
                  </a:lnTo>
                  <a:lnTo>
                    <a:pt x="390" y="444"/>
                  </a:lnTo>
                  <a:lnTo>
                    <a:pt x="396" y="444"/>
                  </a:lnTo>
                  <a:lnTo>
                    <a:pt x="402" y="450"/>
                  </a:lnTo>
                  <a:lnTo>
                    <a:pt x="408" y="450"/>
                  </a:lnTo>
                  <a:lnTo>
                    <a:pt x="408" y="462"/>
                  </a:lnTo>
                  <a:lnTo>
                    <a:pt x="408" y="468"/>
                  </a:lnTo>
                  <a:lnTo>
                    <a:pt x="414" y="474"/>
                  </a:lnTo>
                  <a:lnTo>
                    <a:pt x="420" y="474"/>
                  </a:lnTo>
                  <a:lnTo>
                    <a:pt x="420" y="480"/>
                  </a:lnTo>
                  <a:lnTo>
                    <a:pt x="426" y="480"/>
                  </a:lnTo>
                  <a:lnTo>
                    <a:pt x="432" y="480"/>
                  </a:lnTo>
                  <a:lnTo>
                    <a:pt x="462" y="486"/>
                  </a:lnTo>
                  <a:lnTo>
                    <a:pt x="468" y="492"/>
                  </a:lnTo>
                  <a:lnTo>
                    <a:pt x="468" y="498"/>
                  </a:lnTo>
                  <a:lnTo>
                    <a:pt x="462" y="498"/>
                  </a:lnTo>
                  <a:lnTo>
                    <a:pt x="456" y="498"/>
                  </a:lnTo>
                  <a:lnTo>
                    <a:pt x="456" y="504"/>
                  </a:lnTo>
                  <a:lnTo>
                    <a:pt x="456" y="510"/>
                  </a:lnTo>
                  <a:lnTo>
                    <a:pt x="450" y="516"/>
                  </a:lnTo>
                  <a:lnTo>
                    <a:pt x="426" y="516"/>
                  </a:lnTo>
                  <a:lnTo>
                    <a:pt x="408" y="528"/>
                  </a:lnTo>
                  <a:lnTo>
                    <a:pt x="408" y="546"/>
                  </a:lnTo>
                  <a:lnTo>
                    <a:pt x="414" y="552"/>
                  </a:lnTo>
                  <a:lnTo>
                    <a:pt x="408" y="558"/>
                  </a:lnTo>
                  <a:lnTo>
                    <a:pt x="402" y="564"/>
                  </a:lnTo>
                  <a:lnTo>
                    <a:pt x="384" y="564"/>
                  </a:lnTo>
                  <a:lnTo>
                    <a:pt x="372" y="564"/>
                  </a:lnTo>
                  <a:lnTo>
                    <a:pt x="372" y="576"/>
                  </a:lnTo>
                  <a:lnTo>
                    <a:pt x="366" y="576"/>
                  </a:lnTo>
                  <a:lnTo>
                    <a:pt x="366" y="582"/>
                  </a:lnTo>
                  <a:lnTo>
                    <a:pt x="360" y="582"/>
                  </a:lnTo>
                  <a:lnTo>
                    <a:pt x="348" y="576"/>
                  </a:lnTo>
                  <a:lnTo>
                    <a:pt x="336" y="570"/>
                  </a:lnTo>
                  <a:lnTo>
                    <a:pt x="324" y="570"/>
                  </a:lnTo>
                  <a:lnTo>
                    <a:pt x="300" y="564"/>
                  </a:lnTo>
                  <a:lnTo>
                    <a:pt x="282" y="564"/>
                  </a:lnTo>
                  <a:lnTo>
                    <a:pt x="270" y="570"/>
                  </a:lnTo>
                  <a:lnTo>
                    <a:pt x="264" y="576"/>
                  </a:lnTo>
                  <a:lnTo>
                    <a:pt x="258" y="576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34" y="594"/>
                  </a:lnTo>
                  <a:lnTo>
                    <a:pt x="228" y="600"/>
                  </a:lnTo>
                  <a:lnTo>
                    <a:pt x="210" y="618"/>
                  </a:lnTo>
                  <a:lnTo>
                    <a:pt x="210" y="624"/>
                  </a:lnTo>
                  <a:lnTo>
                    <a:pt x="192" y="630"/>
                  </a:lnTo>
                  <a:lnTo>
                    <a:pt x="186" y="630"/>
                  </a:lnTo>
                  <a:lnTo>
                    <a:pt x="180" y="636"/>
                  </a:lnTo>
                  <a:lnTo>
                    <a:pt x="174" y="642"/>
                  </a:lnTo>
                  <a:lnTo>
                    <a:pt x="168" y="642"/>
                  </a:lnTo>
                  <a:lnTo>
                    <a:pt x="168" y="654"/>
                  </a:lnTo>
                  <a:lnTo>
                    <a:pt x="168" y="678"/>
                  </a:lnTo>
                  <a:lnTo>
                    <a:pt x="162" y="684"/>
                  </a:lnTo>
                  <a:lnTo>
                    <a:pt x="156" y="684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72"/>
                  </a:lnTo>
                  <a:lnTo>
                    <a:pt x="138" y="672"/>
                  </a:lnTo>
                  <a:lnTo>
                    <a:pt x="138" y="666"/>
                  </a:lnTo>
                  <a:lnTo>
                    <a:pt x="132" y="660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48"/>
                  </a:lnTo>
                  <a:lnTo>
                    <a:pt x="102" y="654"/>
                  </a:lnTo>
                  <a:lnTo>
                    <a:pt x="90" y="654"/>
                  </a:lnTo>
                  <a:lnTo>
                    <a:pt x="84" y="654"/>
                  </a:lnTo>
                  <a:lnTo>
                    <a:pt x="72" y="660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36" y="684"/>
                  </a:lnTo>
                  <a:lnTo>
                    <a:pt x="30" y="6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7" name="Freeform 22">
              <a:extLst>
                <a:ext uri="{FF2B5EF4-FFF2-40B4-BE49-F238E27FC236}">
                  <a16:creationId xmlns:a16="http://schemas.microsoft.com/office/drawing/2014/main" id="{2F7A477D-6CF8-44B3-8B32-64EE03DC4D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2895" y="3967106"/>
              <a:ext cx="610479" cy="507686"/>
            </a:xfrm>
            <a:custGeom>
              <a:avLst/>
              <a:gdLst>
                <a:gd name="T0" fmla="*/ 87 w 1146"/>
                <a:gd name="T1" fmla="*/ 56 h 954"/>
                <a:gd name="T2" fmla="*/ 83 w 1146"/>
                <a:gd name="T3" fmla="*/ 66 h 954"/>
                <a:gd name="T4" fmla="*/ 74 w 1146"/>
                <a:gd name="T5" fmla="*/ 69 h 954"/>
                <a:gd name="T6" fmla="*/ 67 w 1146"/>
                <a:gd name="T7" fmla="*/ 75 h 954"/>
                <a:gd name="T8" fmla="*/ 59 w 1146"/>
                <a:gd name="T9" fmla="*/ 78 h 954"/>
                <a:gd name="T10" fmla="*/ 52 w 1146"/>
                <a:gd name="T11" fmla="*/ 77 h 954"/>
                <a:gd name="T12" fmla="*/ 48 w 1146"/>
                <a:gd name="T13" fmla="*/ 79 h 954"/>
                <a:gd name="T14" fmla="*/ 41 w 1146"/>
                <a:gd name="T15" fmla="*/ 82 h 954"/>
                <a:gd name="T16" fmla="*/ 29 w 1146"/>
                <a:gd name="T17" fmla="*/ 78 h 954"/>
                <a:gd name="T18" fmla="*/ 28 w 1146"/>
                <a:gd name="T19" fmla="*/ 76 h 954"/>
                <a:gd name="T20" fmla="*/ 28 w 1146"/>
                <a:gd name="T21" fmla="*/ 72 h 954"/>
                <a:gd name="T22" fmla="*/ 28 w 1146"/>
                <a:gd name="T23" fmla="*/ 74 h 954"/>
                <a:gd name="T24" fmla="*/ 21 w 1146"/>
                <a:gd name="T25" fmla="*/ 74 h 954"/>
                <a:gd name="T26" fmla="*/ 20 w 1146"/>
                <a:gd name="T27" fmla="*/ 67 h 954"/>
                <a:gd name="T28" fmla="*/ 23 w 1146"/>
                <a:gd name="T29" fmla="*/ 64 h 954"/>
                <a:gd name="T30" fmla="*/ 28 w 1146"/>
                <a:gd name="T31" fmla="*/ 65 h 954"/>
                <a:gd name="T32" fmla="*/ 32 w 1146"/>
                <a:gd name="T33" fmla="*/ 62 h 954"/>
                <a:gd name="T34" fmla="*/ 31 w 1146"/>
                <a:gd name="T35" fmla="*/ 56 h 954"/>
                <a:gd name="T36" fmla="*/ 36 w 1146"/>
                <a:gd name="T37" fmla="*/ 54 h 954"/>
                <a:gd name="T38" fmla="*/ 38 w 1146"/>
                <a:gd name="T39" fmla="*/ 54 h 954"/>
                <a:gd name="T40" fmla="*/ 32 w 1146"/>
                <a:gd name="T41" fmla="*/ 54 h 954"/>
                <a:gd name="T42" fmla="*/ 29 w 1146"/>
                <a:gd name="T43" fmla="*/ 59 h 954"/>
                <a:gd name="T44" fmla="*/ 26 w 1146"/>
                <a:gd name="T45" fmla="*/ 59 h 954"/>
                <a:gd name="T46" fmla="*/ 25 w 1146"/>
                <a:gd name="T47" fmla="*/ 61 h 954"/>
                <a:gd name="T48" fmla="*/ 20 w 1146"/>
                <a:gd name="T49" fmla="*/ 61 h 954"/>
                <a:gd name="T50" fmla="*/ 11 w 1146"/>
                <a:gd name="T51" fmla="*/ 54 h 954"/>
                <a:gd name="T52" fmla="*/ 14 w 1146"/>
                <a:gd name="T53" fmla="*/ 50 h 954"/>
                <a:gd name="T54" fmla="*/ 21 w 1146"/>
                <a:gd name="T55" fmla="*/ 51 h 954"/>
                <a:gd name="T56" fmla="*/ 24 w 1146"/>
                <a:gd name="T57" fmla="*/ 50 h 954"/>
                <a:gd name="T58" fmla="*/ 28 w 1146"/>
                <a:gd name="T59" fmla="*/ 48 h 954"/>
                <a:gd name="T60" fmla="*/ 30 w 1146"/>
                <a:gd name="T61" fmla="*/ 49 h 954"/>
                <a:gd name="T62" fmla="*/ 26 w 1146"/>
                <a:gd name="T63" fmla="*/ 47 h 954"/>
                <a:gd name="T64" fmla="*/ 20 w 1146"/>
                <a:gd name="T65" fmla="*/ 50 h 954"/>
                <a:gd name="T66" fmla="*/ 20 w 1146"/>
                <a:gd name="T67" fmla="*/ 44 h 954"/>
                <a:gd name="T68" fmla="*/ 19 w 1146"/>
                <a:gd name="T69" fmla="*/ 46 h 954"/>
                <a:gd name="T70" fmla="*/ 15 w 1146"/>
                <a:gd name="T71" fmla="*/ 49 h 954"/>
                <a:gd name="T72" fmla="*/ 8 w 1146"/>
                <a:gd name="T73" fmla="*/ 48 h 954"/>
                <a:gd name="T74" fmla="*/ 6 w 1146"/>
                <a:gd name="T75" fmla="*/ 41 h 954"/>
                <a:gd name="T76" fmla="*/ 10 w 1146"/>
                <a:gd name="T77" fmla="*/ 41 h 954"/>
                <a:gd name="T78" fmla="*/ 9 w 1146"/>
                <a:gd name="T79" fmla="*/ 39 h 954"/>
                <a:gd name="T80" fmla="*/ 14 w 1146"/>
                <a:gd name="T81" fmla="*/ 35 h 954"/>
                <a:gd name="T82" fmla="*/ 19 w 1146"/>
                <a:gd name="T83" fmla="*/ 32 h 954"/>
                <a:gd name="T84" fmla="*/ 20 w 1146"/>
                <a:gd name="T85" fmla="*/ 29 h 954"/>
                <a:gd name="T86" fmla="*/ 27 w 1146"/>
                <a:gd name="T87" fmla="*/ 27 h 954"/>
                <a:gd name="T88" fmla="*/ 33 w 1146"/>
                <a:gd name="T89" fmla="*/ 28 h 954"/>
                <a:gd name="T90" fmla="*/ 44 w 1146"/>
                <a:gd name="T91" fmla="*/ 27 h 954"/>
                <a:gd name="T92" fmla="*/ 52 w 1146"/>
                <a:gd name="T93" fmla="*/ 41 h 954"/>
                <a:gd name="T94" fmla="*/ 61 w 1146"/>
                <a:gd name="T95" fmla="*/ 40 h 954"/>
                <a:gd name="T96" fmla="*/ 69 w 1146"/>
                <a:gd name="T97" fmla="*/ 34 h 954"/>
                <a:gd name="T98" fmla="*/ 62 w 1146"/>
                <a:gd name="T99" fmla="*/ 12 h 954"/>
                <a:gd name="T100" fmla="*/ 74 w 1146"/>
                <a:gd name="T101" fmla="*/ 8 h 954"/>
                <a:gd name="T102" fmla="*/ 87 w 1146"/>
                <a:gd name="T103" fmla="*/ 1 h 954"/>
                <a:gd name="T104" fmla="*/ 99 w 1146"/>
                <a:gd name="T105" fmla="*/ 12 h 954"/>
                <a:gd name="T106" fmla="*/ 98 w 1146"/>
                <a:gd name="T107" fmla="*/ 27 h 954"/>
                <a:gd name="T108" fmla="*/ 16 w 1146"/>
                <a:gd name="T109" fmla="*/ 33 h 954"/>
                <a:gd name="T110" fmla="*/ 11 w 1146"/>
                <a:gd name="T111" fmla="*/ 36 h 954"/>
                <a:gd name="T112" fmla="*/ 5 w 1146"/>
                <a:gd name="T113" fmla="*/ 41 h 954"/>
                <a:gd name="T114" fmla="*/ 2 w 1146"/>
                <a:gd name="T115" fmla="*/ 36 h 954"/>
                <a:gd name="T116" fmla="*/ 5 w 1146"/>
                <a:gd name="T117" fmla="*/ 26 h 954"/>
                <a:gd name="T118" fmla="*/ 10 w 1146"/>
                <a:gd name="T119" fmla="*/ 20 h 954"/>
                <a:gd name="T120" fmla="*/ 13 w 1146"/>
                <a:gd name="T121" fmla="*/ 20 h 954"/>
                <a:gd name="T122" fmla="*/ 15 w 1146"/>
                <a:gd name="T123" fmla="*/ 27 h 95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46"/>
                <a:gd name="T187" fmla="*/ 0 h 954"/>
                <a:gd name="T188" fmla="*/ 1146 w 1146"/>
                <a:gd name="T189" fmla="*/ 954 h 95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46" h="954">
                  <a:moveTo>
                    <a:pt x="1056" y="498"/>
                  </a:moveTo>
                  <a:lnTo>
                    <a:pt x="1044" y="510"/>
                  </a:lnTo>
                  <a:lnTo>
                    <a:pt x="1032" y="516"/>
                  </a:lnTo>
                  <a:lnTo>
                    <a:pt x="1038" y="528"/>
                  </a:lnTo>
                  <a:lnTo>
                    <a:pt x="1050" y="540"/>
                  </a:lnTo>
                  <a:lnTo>
                    <a:pt x="1050" y="546"/>
                  </a:lnTo>
                  <a:lnTo>
                    <a:pt x="1050" y="564"/>
                  </a:lnTo>
                  <a:lnTo>
                    <a:pt x="1038" y="576"/>
                  </a:lnTo>
                  <a:lnTo>
                    <a:pt x="1032" y="588"/>
                  </a:lnTo>
                  <a:lnTo>
                    <a:pt x="1020" y="594"/>
                  </a:lnTo>
                  <a:lnTo>
                    <a:pt x="1008" y="594"/>
                  </a:lnTo>
                  <a:lnTo>
                    <a:pt x="1002" y="600"/>
                  </a:lnTo>
                  <a:lnTo>
                    <a:pt x="996" y="612"/>
                  </a:lnTo>
                  <a:lnTo>
                    <a:pt x="996" y="624"/>
                  </a:lnTo>
                  <a:lnTo>
                    <a:pt x="996" y="648"/>
                  </a:lnTo>
                  <a:lnTo>
                    <a:pt x="996" y="660"/>
                  </a:lnTo>
                  <a:lnTo>
                    <a:pt x="1002" y="672"/>
                  </a:lnTo>
                  <a:lnTo>
                    <a:pt x="1002" y="684"/>
                  </a:lnTo>
                  <a:lnTo>
                    <a:pt x="996" y="684"/>
                  </a:lnTo>
                  <a:lnTo>
                    <a:pt x="984" y="690"/>
                  </a:lnTo>
                  <a:lnTo>
                    <a:pt x="972" y="690"/>
                  </a:lnTo>
                  <a:lnTo>
                    <a:pt x="966" y="696"/>
                  </a:lnTo>
                  <a:lnTo>
                    <a:pt x="966" y="702"/>
                  </a:lnTo>
                  <a:lnTo>
                    <a:pt x="966" y="714"/>
                  </a:lnTo>
                  <a:lnTo>
                    <a:pt x="972" y="726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2" y="756"/>
                  </a:lnTo>
                  <a:lnTo>
                    <a:pt x="966" y="756"/>
                  </a:lnTo>
                  <a:lnTo>
                    <a:pt x="942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18" y="768"/>
                  </a:lnTo>
                  <a:lnTo>
                    <a:pt x="906" y="768"/>
                  </a:lnTo>
                  <a:lnTo>
                    <a:pt x="894" y="762"/>
                  </a:lnTo>
                  <a:lnTo>
                    <a:pt x="882" y="756"/>
                  </a:lnTo>
                  <a:lnTo>
                    <a:pt x="876" y="756"/>
                  </a:lnTo>
                  <a:lnTo>
                    <a:pt x="876" y="762"/>
                  </a:lnTo>
                  <a:lnTo>
                    <a:pt x="864" y="768"/>
                  </a:lnTo>
                  <a:lnTo>
                    <a:pt x="858" y="774"/>
                  </a:lnTo>
                  <a:lnTo>
                    <a:pt x="852" y="774"/>
                  </a:lnTo>
                  <a:lnTo>
                    <a:pt x="840" y="780"/>
                  </a:lnTo>
                  <a:lnTo>
                    <a:pt x="840" y="786"/>
                  </a:lnTo>
                  <a:lnTo>
                    <a:pt x="840" y="792"/>
                  </a:lnTo>
                  <a:lnTo>
                    <a:pt x="840" y="804"/>
                  </a:lnTo>
                  <a:lnTo>
                    <a:pt x="840" y="810"/>
                  </a:lnTo>
                  <a:lnTo>
                    <a:pt x="828" y="816"/>
                  </a:lnTo>
                  <a:lnTo>
                    <a:pt x="810" y="810"/>
                  </a:lnTo>
                  <a:lnTo>
                    <a:pt x="792" y="810"/>
                  </a:lnTo>
                  <a:lnTo>
                    <a:pt x="786" y="816"/>
                  </a:lnTo>
                  <a:lnTo>
                    <a:pt x="780" y="816"/>
                  </a:lnTo>
                  <a:lnTo>
                    <a:pt x="780" y="822"/>
                  </a:lnTo>
                  <a:lnTo>
                    <a:pt x="780" y="828"/>
                  </a:lnTo>
                  <a:lnTo>
                    <a:pt x="780" y="834"/>
                  </a:lnTo>
                  <a:lnTo>
                    <a:pt x="786" y="840"/>
                  </a:lnTo>
                  <a:lnTo>
                    <a:pt x="786" y="846"/>
                  </a:lnTo>
                  <a:lnTo>
                    <a:pt x="786" y="852"/>
                  </a:lnTo>
                  <a:lnTo>
                    <a:pt x="780" y="858"/>
                  </a:lnTo>
                  <a:lnTo>
                    <a:pt x="768" y="858"/>
                  </a:lnTo>
                  <a:lnTo>
                    <a:pt x="762" y="864"/>
                  </a:lnTo>
                  <a:lnTo>
                    <a:pt x="756" y="864"/>
                  </a:lnTo>
                  <a:lnTo>
                    <a:pt x="750" y="870"/>
                  </a:lnTo>
                  <a:lnTo>
                    <a:pt x="744" y="876"/>
                  </a:lnTo>
                  <a:lnTo>
                    <a:pt x="732" y="876"/>
                  </a:lnTo>
                  <a:lnTo>
                    <a:pt x="726" y="876"/>
                  </a:lnTo>
                  <a:lnTo>
                    <a:pt x="720" y="870"/>
                  </a:lnTo>
                  <a:lnTo>
                    <a:pt x="714" y="864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6" y="876"/>
                  </a:lnTo>
                  <a:lnTo>
                    <a:pt x="696" y="882"/>
                  </a:lnTo>
                  <a:lnTo>
                    <a:pt x="696" y="894"/>
                  </a:lnTo>
                  <a:lnTo>
                    <a:pt x="690" y="900"/>
                  </a:lnTo>
                  <a:lnTo>
                    <a:pt x="684" y="900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54" y="888"/>
                  </a:lnTo>
                  <a:lnTo>
                    <a:pt x="654" y="882"/>
                  </a:lnTo>
                  <a:lnTo>
                    <a:pt x="642" y="876"/>
                  </a:lnTo>
                  <a:lnTo>
                    <a:pt x="636" y="876"/>
                  </a:lnTo>
                  <a:lnTo>
                    <a:pt x="630" y="876"/>
                  </a:lnTo>
                  <a:lnTo>
                    <a:pt x="630" y="870"/>
                  </a:lnTo>
                  <a:lnTo>
                    <a:pt x="618" y="858"/>
                  </a:lnTo>
                  <a:lnTo>
                    <a:pt x="612" y="858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06" y="876"/>
                  </a:lnTo>
                  <a:lnTo>
                    <a:pt x="606" y="882"/>
                  </a:lnTo>
                  <a:lnTo>
                    <a:pt x="606" y="888"/>
                  </a:lnTo>
                  <a:lnTo>
                    <a:pt x="600" y="894"/>
                  </a:lnTo>
                  <a:lnTo>
                    <a:pt x="594" y="894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76" y="894"/>
                  </a:lnTo>
                  <a:lnTo>
                    <a:pt x="582" y="900"/>
                  </a:lnTo>
                  <a:lnTo>
                    <a:pt x="576" y="906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64" y="918"/>
                  </a:lnTo>
                  <a:lnTo>
                    <a:pt x="558" y="918"/>
                  </a:lnTo>
                  <a:lnTo>
                    <a:pt x="558" y="912"/>
                  </a:lnTo>
                  <a:lnTo>
                    <a:pt x="552" y="906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06"/>
                  </a:lnTo>
                  <a:lnTo>
                    <a:pt x="534" y="906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0" y="924"/>
                  </a:lnTo>
                  <a:lnTo>
                    <a:pt x="504" y="924"/>
                  </a:lnTo>
                  <a:lnTo>
                    <a:pt x="498" y="930"/>
                  </a:lnTo>
                  <a:lnTo>
                    <a:pt x="492" y="924"/>
                  </a:lnTo>
                  <a:lnTo>
                    <a:pt x="486" y="930"/>
                  </a:lnTo>
                  <a:lnTo>
                    <a:pt x="480" y="942"/>
                  </a:lnTo>
                  <a:lnTo>
                    <a:pt x="468" y="948"/>
                  </a:lnTo>
                  <a:lnTo>
                    <a:pt x="444" y="942"/>
                  </a:lnTo>
                  <a:lnTo>
                    <a:pt x="438" y="954"/>
                  </a:lnTo>
                  <a:lnTo>
                    <a:pt x="426" y="954"/>
                  </a:lnTo>
                  <a:lnTo>
                    <a:pt x="420" y="948"/>
                  </a:lnTo>
                  <a:lnTo>
                    <a:pt x="408" y="936"/>
                  </a:lnTo>
                  <a:lnTo>
                    <a:pt x="396" y="936"/>
                  </a:lnTo>
                  <a:lnTo>
                    <a:pt x="390" y="930"/>
                  </a:lnTo>
                  <a:lnTo>
                    <a:pt x="390" y="924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66" y="924"/>
                  </a:lnTo>
                  <a:lnTo>
                    <a:pt x="360" y="924"/>
                  </a:lnTo>
                  <a:lnTo>
                    <a:pt x="348" y="918"/>
                  </a:lnTo>
                  <a:lnTo>
                    <a:pt x="342" y="906"/>
                  </a:lnTo>
                  <a:lnTo>
                    <a:pt x="336" y="906"/>
                  </a:lnTo>
                  <a:lnTo>
                    <a:pt x="330" y="906"/>
                  </a:lnTo>
                  <a:lnTo>
                    <a:pt x="312" y="906"/>
                  </a:lnTo>
                  <a:lnTo>
                    <a:pt x="312" y="900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888"/>
                  </a:lnTo>
                  <a:lnTo>
                    <a:pt x="312" y="882"/>
                  </a:lnTo>
                  <a:lnTo>
                    <a:pt x="306" y="876"/>
                  </a:lnTo>
                  <a:lnTo>
                    <a:pt x="312" y="876"/>
                  </a:lnTo>
                  <a:lnTo>
                    <a:pt x="312" y="870"/>
                  </a:lnTo>
                  <a:lnTo>
                    <a:pt x="318" y="876"/>
                  </a:lnTo>
                  <a:lnTo>
                    <a:pt x="318" y="870"/>
                  </a:lnTo>
                  <a:lnTo>
                    <a:pt x="324" y="876"/>
                  </a:lnTo>
                  <a:lnTo>
                    <a:pt x="330" y="876"/>
                  </a:lnTo>
                  <a:lnTo>
                    <a:pt x="336" y="876"/>
                  </a:lnTo>
                  <a:lnTo>
                    <a:pt x="342" y="876"/>
                  </a:lnTo>
                  <a:lnTo>
                    <a:pt x="336" y="876"/>
                  </a:lnTo>
                  <a:lnTo>
                    <a:pt x="330" y="870"/>
                  </a:lnTo>
                  <a:lnTo>
                    <a:pt x="324" y="870"/>
                  </a:lnTo>
                  <a:lnTo>
                    <a:pt x="318" y="870"/>
                  </a:lnTo>
                  <a:lnTo>
                    <a:pt x="312" y="870"/>
                  </a:lnTo>
                  <a:lnTo>
                    <a:pt x="318" y="864"/>
                  </a:lnTo>
                  <a:lnTo>
                    <a:pt x="318" y="858"/>
                  </a:lnTo>
                  <a:lnTo>
                    <a:pt x="318" y="852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6" y="846"/>
                  </a:lnTo>
                  <a:lnTo>
                    <a:pt x="312" y="828"/>
                  </a:lnTo>
                  <a:lnTo>
                    <a:pt x="312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06" y="816"/>
                  </a:lnTo>
                  <a:lnTo>
                    <a:pt x="306" y="810"/>
                  </a:lnTo>
                  <a:lnTo>
                    <a:pt x="306" y="816"/>
                  </a:lnTo>
                  <a:lnTo>
                    <a:pt x="312" y="822"/>
                  </a:lnTo>
                  <a:lnTo>
                    <a:pt x="306" y="822"/>
                  </a:lnTo>
                  <a:lnTo>
                    <a:pt x="306" y="828"/>
                  </a:lnTo>
                  <a:lnTo>
                    <a:pt x="306" y="834"/>
                  </a:lnTo>
                  <a:lnTo>
                    <a:pt x="300" y="840"/>
                  </a:lnTo>
                  <a:lnTo>
                    <a:pt x="300" y="846"/>
                  </a:lnTo>
                  <a:lnTo>
                    <a:pt x="306" y="852"/>
                  </a:lnTo>
                  <a:lnTo>
                    <a:pt x="306" y="858"/>
                  </a:lnTo>
                  <a:lnTo>
                    <a:pt x="312" y="858"/>
                  </a:lnTo>
                  <a:lnTo>
                    <a:pt x="312" y="864"/>
                  </a:lnTo>
                  <a:lnTo>
                    <a:pt x="306" y="864"/>
                  </a:lnTo>
                  <a:lnTo>
                    <a:pt x="300" y="864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82" y="870"/>
                  </a:lnTo>
                  <a:lnTo>
                    <a:pt x="276" y="870"/>
                  </a:lnTo>
                  <a:lnTo>
                    <a:pt x="270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8" y="870"/>
                  </a:lnTo>
                  <a:lnTo>
                    <a:pt x="252" y="870"/>
                  </a:lnTo>
                  <a:lnTo>
                    <a:pt x="252" y="864"/>
                  </a:lnTo>
                  <a:lnTo>
                    <a:pt x="246" y="858"/>
                  </a:lnTo>
                  <a:lnTo>
                    <a:pt x="246" y="852"/>
                  </a:lnTo>
                  <a:lnTo>
                    <a:pt x="246" y="846"/>
                  </a:lnTo>
                  <a:lnTo>
                    <a:pt x="246" y="840"/>
                  </a:lnTo>
                  <a:lnTo>
                    <a:pt x="246" y="834"/>
                  </a:lnTo>
                  <a:lnTo>
                    <a:pt x="246" y="828"/>
                  </a:lnTo>
                  <a:lnTo>
                    <a:pt x="246" y="822"/>
                  </a:lnTo>
                  <a:lnTo>
                    <a:pt x="240" y="816"/>
                  </a:lnTo>
                  <a:lnTo>
                    <a:pt x="240" y="810"/>
                  </a:lnTo>
                  <a:lnTo>
                    <a:pt x="240" y="804"/>
                  </a:lnTo>
                  <a:lnTo>
                    <a:pt x="240" y="798"/>
                  </a:lnTo>
                  <a:lnTo>
                    <a:pt x="234" y="798"/>
                  </a:lnTo>
                  <a:lnTo>
                    <a:pt x="234" y="792"/>
                  </a:lnTo>
                  <a:lnTo>
                    <a:pt x="234" y="786"/>
                  </a:lnTo>
                  <a:lnTo>
                    <a:pt x="234" y="780"/>
                  </a:lnTo>
                  <a:lnTo>
                    <a:pt x="228" y="780"/>
                  </a:lnTo>
                  <a:lnTo>
                    <a:pt x="228" y="774"/>
                  </a:lnTo>
                  <a:lnTo>
                    <a:pt x="228" y="768"/>
                  </a:lnTo>
                  <a:lnTo>
                    <a:pt x="222" y="762"/>
                  </a:lnTo>
                  <a:lnTo>
                    <a:pt x="222" y="756"/>
                  </a:lnTo>
                  <a:lnTo>
                    <a:pt x="222" y="750"/>
                  </a:lnTo>
                  <a:lnTo>
                    <a:pt x="222" y="744"/>
                  </a:lnTo>
                  <a:lnTo>
                    <a:pt x="222" y="738"/>
                  </a:lnTo>
                  <a:lnTo>
                    <a:pt x="216" y="732"/>
                  </a:lnTo>
                  <a:lnTo>
                    <a:pt x="222" y="732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32"/>
                  </a:lnTo>
                  <a:lnTo>
                    <a:pt x="246" y="732"/>
                  </a:lnTo>
                  <a:lnTo>
                    <a:pt x="246" y="738"/>
                  </a:lnTo>
                  <a:lnTo>
                    <a:pt x="252" y="738"/>
                  </a:lnTo>
                  <a:lnTo>
                    <a:pt x="258" y="738"/>
                  </a:lnTo>
                  <a:lnTo>
                    <a:pt x="258" y="732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8" y="732"/>
                  </a:lnTo>
                  <a:lnTo>
                    <a:pt x="294" y="732"/>
                  </a:lnTo>
                  <a:lnTo>
                    <a:pt x="300" y="732"/>
                  </a:lnTo>
                  <a:lnTo>
                    <a:pt x="300" y="738"/>
                  </a:lnTo>
                  <a:lnTo>
                    <a:pt x="306" y="738"/>
                  </a:lnTo>
                  <a:lnTo>
                    <a:pt x="306" y="744"/>
                  </a:lnTo>
                  <a:lnTo>
                    <a:pt x="306" y="750"/>
                  </a:lnTo>
                  <a:lnTo>
                    <a:pt x="312" y="750"/>
                  </a:lnTo>
                  <a:lnTo>
                    <a:pt x="312" y="756"/>
                  </a:lnTo>
                  <a:lnTo>
                    <a:pt x="318" y="756"/>
                  </a:lnTo>
                  <a:lnTo>
                    <a:pt x="318" y="750"/>
                  </a:lnTo>
                  <a:lnTo>
                    <a:pt x="312" y="750"/>
                  </a:lnTo>
                  <a:lnTo>
                    <a:pt x="312" y="744"/>
                  </a:lnTo>
                  <a:lnTo>
                    <a:pt x="318" y="738"/>
                  </a:lnTo>
                  <a:lnTo>
                    <a:pt x="324" y="738"/>
                  </a:lnTo>
                  <a:lnTo>
                    <a:pt x="330" y="738"/>
                  </a:lnTo>
                  <a:lnTo>
                    <a:pt x="336" y="738"/>
                  </a:lnTo>
                  <a:lnTo>
                    <a:pt x="342" y="738"/>
                  </a:lnTo>
                  <a:lnTo>
                    <a:pt x="348" y="732"/>
                  </a:lnTo>
                  <a:lnTo>
                    <a:pt x="354" y="732"/>
                  </a:lnTo>
                  <a:lnTo>
                    <a:pt x="360" y="732"/>
                  </a:lnTo>
                  <a:lnTo>
                    <a:pt x="360" y="726"/>
                  </a:lnTo>
                  <a:lnTo>
                    <a:pt x="366" y="726"/>
                  </a:lnTo>
                  <a:lnTo>
                    <a:pt x="366" y="720"/>
                  </a:lnTo>
                  <a:lnTo>
                    <a:pt x="366" y="714"/>
                  </a:lnTo>
                  <a:lnTo>
                    <a:pt x="360" y="708"/>
                  </a:lnTo>
                  <a:lnTo>
                    <a:pt x="354" y="708"/>
                  </a:lnTo>
                  <a:lnTo>
                    <a:pt x="348" y="702"/>
                  </a:lnTo>
                  <a:lnTo>
                    <a:pt x="354" y="702"/>
                  </a:lnTo>
                  <a:lnTo>
                    <a:pt x="354" y="696"/>
                  </a:lnTo>
                  <a:lnTo>
                    <a:pt x="348" y="696"/>
                  </a:lnTo>
                  <a:lnTo>
                    <a:pt x="348" y="690"/>
                  </a:lnTo>
                  <a:lnTo>
                    <a:pt x="342" y="690"/>
                  </a:lnTo>
                  <a:lnTo>
                    <a:pt x="342" y="684"/>
                  </a:lnTo>
                  <a:lnTo>
                    <a:pt x="342" y="678"/>
                  </a:lnTo>
                  <a:lnTo>
                    <a:pt x="342" y="666"/>
                  </a:lnTo>
                  <a:lnTo>
                    <a:pt x="342" y="660"/>
                  </a:lnTo>
                  <a:lnTo>
                    <a:pt x="348" y="654"/>
                  </a:lnTo>
                  <a:lnTo>
                    <a:pt x="348" y="642"/>
                  </a:lnTo>
                  <a:lnTo>
                    <a:pt x="354" y="642"/>
                  </a:lnTo>
                  <a:lnTo>
                    <a:pt x="360" y="642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66" y="642"/>
                  </a:lnTo>
                  <a:lnTo>
                    <a:pt x="372" y="642"/>
                  </a:lnTo>
                  <a:lnTo>
                    <a:pt x="378" y="642"/>
                  </a:lnTo>
                  <a:lnTo>
                    <a:pt x="384" y="642"/>
                  </a:lnTo>
                  <a:lnTo>
                    <a:pt x="390" y="642"/>
                  </a:lnTo>
                  <a:lnTo>
                    <a:pt x="396" y="642"/>
                  </a:lnTo>
                  <a:lnTo>
                    <a:pt x="396" y="636"/>
                  </a:lnTo>
                  <a:lnTo>
                    <a:pt x="402" y="636"/>
                  </a:lnTo>
                  <a:lnTo>
                    <a:pt x="408" y="636"/>
                  </a:lnTo>
                  <a:lnTo>
                    <a:pt x="402" y="636"/>
                  </a:lnTo>
                  <a:lnTo>
                    <a:pt x="402" y="630"/>
                  </a:lnTo>
                  <a:lnTo>
                    <a:pt x="408" y="630"/>
                  </a:lnTo>
                  <a:lnTo>
                    <a:pt x="408" y="624"/>
                  </a:lnTo>
                  <a:lnTo>
                    <a:pt x="408" y="618"/>
                  </a:lnTo>
                  <a:lnTo>
                    <a:pt x="414" y="618"/>
                  </a:lnTo>
                  <a:lnTo>
                    <a:pt x="420" y="618"/>
                  </a:lnTo>
                  <a:lnTo>
                    <a:pt x="426" y="624"/>
                  </a:lnTo>
                  <a:lnTo>
                    <a:pt x="432" y="624"/>
                  </a:lnTo>
                  <a:lnTo>
                    <a:pt x="438" y="624"/>
                  </a:lnTo>
                  <a:lnTo>
                    <a:pt x="438" y="618"/>
                  </a:lnTo>
                  <a:lnTo>
                    <a:pt x="444" y="618"/>
                  </a:lnTo>
                  <a:lnTo>
                    <a:pt x="450" y="618"/>
                  </a:lnTo>
                  <a:lnTo>
                    <a:pt x="444" y="618"/>
                  </a:lnTo>
                  <a:lnTo>
                    <a:pt x="438" y="618"/>
                  </a:lnTo>
                  <a:lnTo>
                    <a:pt x="438" y="612"/>
                  </a:lnTo>
                  <a:lnTo>
                    <a:pt x="438" y="618"/>
                  </a:lnTo>
                  <a:lnTo>
                    <a:pt x="432" y="624"/>
                  </a:lnTo>
                  <a:lnTo>
                    <a:pt x="426" y="618"/>
                  </a:lnTo>
                  <a:lnTo>
                    <a:pt x="420" y="612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402" y="624"/>
                  </a:lnTo>
                  <a:lnTo>
                    <a:pt x="396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78" y="630"/>
                  </a:lnTo>
                  <a:lnTo>
                    <a:pt x="378" y="636"/>
                  </a:lnTo>
                  <a:lnTo>
                    <a:pt x="372" y="630"/>
                  </a:lnTo>
                  <a:lnTo>
                    <a:pt x="366" y="630"/>
                  </a:lnTo>
                  <a:lnTo>
                    <a:pt x="360" y="630"/>
                  </a:lnTo>
                  <a:lnTo>
                    <a:pt x="354" y="630"/>
                  </a:lnTo>
                  <a:lnTo>
                    <a:pt x="354" y="636"/>
                  </a:lnTo>
                  <a:lnTo>
                    <a:pt x="348" y="636"/>
                  </a:lnTo>
                  <a:lnTo>
                    <a:pt x="348" y="642"/>
                  </a:lnTo>
                  <a:lnTo>
                    <a:pt x="342" y="642"/>
                  </a:lnTo>
                  <a:lnTo>
                    <a:pt x="342" y="648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6" y="660"/>
                  </a:lnTo>
                  <a:lnTo>
                    <a:pt x="336" y="666"/>
                  </a:lnTo>
                  <a:lnTo>
                    <a:pt x="330" y="672"/>
                  </a:lnTo>
                  <a:lnTo>
                    <a:pt x="330" y="678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24" y="696"/>
                  </a:lnTo>
                  <a:lnTo>
                    <a:pt x="324" y="702"/>
                  </a:lnTo>
                  <a:lnTo>
                    <a:pt x="318" y="702"/>
                  </a:lnTo>
                  <a:lnTo>
                    <a:pt x="318" y="708"/>
                  </a:lnTo>
                  <a:lnTo>
                    <a:pt x="312" y="708"/>
                  </a:lnTo>
                  <a:lnTo>
                    <a:pt x="312" y="702"/>
                  </a:lnTo>
                  <a:lnTo>
                    <a:pt x="306" y="702"/>
                  </a:lnTo>
                  <a:lnTo>
                    <a:pt x="300" y="702"/>
                  </a:lnTo>
                  <a:lnTo>
                    <a:pt x="294" y="696"/>
                  </a:lnTo>
                  <a:lnTo>
                    <a:pt x="288" y="696"/>
                  </a:lnTo>
                  <a:lnTo>
                    <a:pt x="282" y="690"/>
                  </a:lnTo>
                  <a:lnTo>
                    <a:pt x="288" y="684"/>
                  </a:lnTo>
                  <a:lnTo>
                    <a:pt x="294" y="684"/>
                  </a:lnTo>
                  <a:lnTo>
                    <a:pt x="294" y="678"/>
                  </a:lnTo>
                  <a:lnTo>
                    <a:pt x="300" y="678"/>
                  </a:lnTo>
                  <a:lnTo>
                    <a:pt x="294" y="678"/>
                  </a:lnTo>
                  <a:lnTo>
                    <a:pt x="294" y="672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94" y="672"/>
                  </a:lnTo>
                  <a:lnTo>
                    <a:pt x="288" y="678"/>
                  </a:lnTo>
                  <a:lnTo>
                    <a:pt x="282" y="684"/>
                  </a:lnTo>
                  <a:lnTo>
                    <a:pt x="282" y="678"/>
                  </a:lnTo>
                  <a:lnTo>
                    <a:pt x="276" y="678"/>
                  </a:lnTo>
                  <a:lnTo>
                    <a:pt x="282" y="684"/>
                  </a:lnTo>
                  <a:lnTo>
                    <a:pt x="282" y="690"/>
                  </a:lnTo>
                  <a:lnTo>
                    <a:pt x="282" y="696"/>
                  </a:lnTo>
                  <a:lnTo>
                    <a:pt x="288" y="702"/>
                  </a:lnTo>
                  <a:lnTo>
                    <a:pt x="294" y="708"/>
                  </a:lnTo>
                  <a:lnTo>
                    <a:pt x="294" y="714"/>
                  </a:lnTo>
                  <a:lnTo>
                    <a:pt x="288" y="714"/>
                  </a:lnTo>
                  <a:lnTo>
                    <a:pt x="282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64" y="714"/>
                  </a:lnTo>
                  <a:lnTo>
                    <a:pt x="258" y="714"/>
                  </a:lnTo>
                  <a:lnTo>
                    <a:pt x="252" y="714"/>
                  </a:lnTo>
                  <a:lnTo>
                    <a:pt x="246" y="714"/>
                  </a:lnTo>
                  <a:lnTo>
                    <a:pt x="240" y="714"/>
                  </a:lnTo>
                  <a:lnTo>
                    <a:pt x="240" y="708"/>
                  </a:lnTo>
                  <a:lnTo>
                    <a:pt x="234" y="708"/>
                  </a:lnTo>
                  <a:lnTo>
                    <a:pt x="228" y="708"/>
                  </a:lnTo>
                  <a:lnTo>
                    <a:pt x="222" y="702"/>
                  </a:lnTo>
                  <a:lnTo>
                    <a:pt x="216" y="702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2" y="690"/>
                  </a:lnTo>
                  <a:lnTo>
                    <a:pt x="186" y="690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68" y="684"/>
                  </a:lnTo>
                  <a:lnTo>
                    <a:pt x="168" y="678"/>
                  </a:lnTo>
                  <a:lnTo>
                    <a:pt x="156" y="672"/>
                  </a:lnTo>
                  <a:lnTo>
                    <a:pt x="150" y="660"/>
                  </a:lnTo>
                  <a:lnTo>
                    <a:pt x="126" y="630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12"/>
                  </a:lnTo>
                  <a:lnTo>
                    <a:pt x="126" y="606"/>
                  </a:lnTo>
                  <a:lnTo>
                    <a:pt x="126" y="600"/>
                  </a:lnTo>
                  <a:lnTo>
                    <a:pt x="132" y="594"/>
                  </a:lnTo>
                  <a:lnTo>
                    <a:pt x="138" y="594"/>
                  </a:lnTo>
                  <a:lnTo>
                    <a:pt x="144" y="588"/>
                  </a:lnTo>
                  <a:lnTo>
                    <a:pt x="144" y="582"/>
                  </a:lnTo>
                  <a:lnTo>
                    <a:pt x="150" y="582"/>
                  </a:lnTo>
                  <a:lnTo>
                    <a:pt x="150" y="576"/>
                  </a:lnTo>
                  <a:lnTo>
                    <a:pt x="156" y="576"/>
                  </a:lnTo>
                  <a:lnTo>
                    <a:pt x="156" y="582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8" y="576"/>
                  </a:lnTo>
                  <a:lnTo>
                    <a:pt x="174" y="576"/>
                  </a:lnTo>
                  <a:lnTo>
                    <a:pt x="180" y="582"/>
                  </a:lnTo>
                  <a:lnTo>
                    <a:pt x="192" y="582"/>
                  </a:lnTo>
                  <a:lnTo>
                    <a:pt x="198" y="582"/>
                  </a:lnTo>
                  <a:lnTo>
                    <a:pt x="204" y="582"/>
                  </a:lnTo>
                  <a:lnTo>
                    <a:pt x="210" y="582"/>
                  </a:lnTo>
                  <a:lnTo>
                    <a:pt x="216" y="588"/>
                  </a:lnTo>
                  <a:lnTo>
                    <a:pt x="222" y="588"/>
                  </a:lnTo>
                  <a:lnTo>
                    <a:pt x="234" y="588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46" y="594"/>
                  </a:lnTo>
                  <a:lnTo>
                    <a:pt x="252" y="588"/>
                  </a:lnTo>
                  <a:lnTo>
                    <a:pt x="258" y="588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52" y="600"/>
                  </a:lnTo>
                  <a:lnTo>
                    <a:pt x="246" y="600"/>
                  </a:lnTo>
                  <a:lnTo>
                    <a:pt x="246" y="606"/>
                  </a:lnTo>
                  <a:lnTo>
                    <a:pt x="246" y="600"/>
                  </a:lnTo>
                  <a:lnTo>
                    <a:pt x="252" y="600"/>
                  </a:lnTo>
                  <a:lnTo>
                    <a:pt x="258" y="594"/>
                  </a:lnTo>
                  <a:lnTo>
                    <a:pt x="264" y="594"/>
                  </a:lnTo>
                  <a:lnTo>
                    <a:pt x="264" y="588"/>
                  </a:lnTo>
                  <a:lnTo>
                    <a:pt x="270" y="588"/>
                  </a:lnTo>
                  <a:lnTo>
                    <a:pt x="270" y="582"/>
                  </a:lnTo>
                  <a:lnTo>
                    <a:pt x="270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76" y="564"/>
                  </a:lnTo>
                  <a:lnTo>
                    <a:pt x="270" y="558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58"/>
                  </a:lnTo>
                  <a:lnTo>
                    <a:pt x="282" y="558"/>
                  </a:lnTo>
                  <a:lnTo>
                    <a:pt x="288" y="558"/>
                  </a:lnTo>
                  <a:lnTo>
                    <a:pt x="294" y="558"/>
                  </a:lnTo>
                  <a:lnTo>
                    <a:pt x="300" y="558"/>
                  </a:lnTo>
                  <a:lnTo>
                    <a:pt x="306" y="558"/>
                  </a:lnTo>
                  <a:lnTo>
                    <a:pt x="312" y="558"/>
                  </a:lnTo>
                  <a:lnTo>
                    <a:pt x="318" y="558"/>
                  </a:lnTo>
                  <a:lnTo>
                    <a:pt x="318" y="564"/>
                  </a:lnTo>
                  <a:lnTo>
                    <a:pt x="324" y="564"/>
                  </a:lnTo>
                  <a:lnTo>
                    <a:pt x="324" y="570"/>
                  </a:lnTo>
                  <a:lnTo>
                    <a:pt x="330" y="570"/>
                  </a:lnTo>
                  <a:lnTo>
                    <a:pt x="336" y="570"/>
                  </a:lnTo>
                  <a:lnTo>
                    <a:pt x="342" y="570"/>
                  </a:lnTo>
                  <a:lnTo>
                    <a:pt x="348" y="570"/>
                  </a:lnTo>
                  <a:lnTo>
                    <a:pt x="354" y="570"/>
                  </a:lnTo>
                  <a:lnTo>
                    <a:pt x="360" y="570"/>
                  </a:lnTo>
                  <a:lnTo>
                    <a:pt x="366" y="570"/>
                  </a:lnTo>
                  <a:lnTo>
                    <a:pt x="360" y="570"/>
                  </a:lnTo>
                  <a:lnTo>
                    <a:pt x="360" y="564"/>
                  </a:lnTo>
                  <a:lnTo>
                    <a:pt x="354" y="564"/>
                  </a:lnTo>
                  <a:lnTo>
                    <a:pt x="348" y="564"/>
                  </a:lnTo>
                  <a:lnTo>
                    <a:pt x="342" y="564"/>
                  </a:lnTo>
                  <a:lnTo>
                    <a:pt x="342" y="570"/>
                  </a:lnTo>
                  <a:lnTo>
                    <a:pt x="336" y="564"/>
                  </a:lnTo>
                  <a:lnTo>
                    <a:pt x="336" y="570"/>
                  </a:lnTo>
                  <a:lnTo>
                    <a:pt x="336" y="564"/>
                  </a:lnTo>
                  <a:lnTo>
                    <a:pt x="330" y="564"/>
                  </a:lnTo>
                  <a:lnTo>
                    <a:pt x="324" y="558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18" y="558"/>
                  </a:lnTo>
                  <a:lnTo>
                    <a:pt x="312" y="552"/>
                  </a:lnTo>
                  <a:lnTo>
                    <a:pt x="312" y="558"/>
                  </a:lnTo>
                  <a:lnTo>
                    <a:pt x="312" y="552"/>
                  </a:lnTo>
                  <a:lnTo>
                    <a:pt x="306" y="552"/>
                  </a:lnTo>
                  <a:lnTo>
                    <a:pt x="300" y="546"/>
                  </a:lnTo>
                  <a:lnTo>
                    <a:pt x="294" y="546"/>
                  </a:lnTo>
                  <a:lnTo>
                    <a:pt x="288" y="546"/>
                  </a:lnTo>
                  <a:lnTo>
                    <a:pt x="282" y="546"/>
                  </a:lnTo>
                  <a:lnTo>
                    <a:pt x="276" y="546"/>
                  </a:lnTo>
                  <a:lnTo>
                    <a:pt x="276" y="552"/>
                  </a:lnTo>
                  <a:lnTo>
                    <a:pt x="270" y="552"/>
                  </a:lnTo>
                  <a:lnTo>
                    <a:pt x="270" y="558"/>
                  </a:lnTo>
                  <a:lnTo>
                    <a:pt x="270" y="564"/>
                  </a:lnTo>
                  <a:lnTo>
                    <a:pt x="264" y="570"/>
                  </a:lnTo>
                  <a:lnTo>
                    <a:pt x="258" y="576"/>
                  </a:lnTo>
                  <a:lnTo>
                    <a:pt x="258" y="582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34" y="576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16" y="552"/>
                  </a:lnTo>
                  <a:lnTo>
                    <a:pt x="216" y="546"/>
                  </a:lnTo>
                  <a:lnTo>
                    <a:pt x="216" y="540"/>
                  </a:lnTo>
                  <a:lnTo>
                    <a:pt x="222" y="534"/>
                  </a:lnTo>
                  <a:lnTo>
                    <a:pt x="222" y="528"/>
                  </a:lnTo>
                  <a:lnTo>
                    <a:pt x="228" y="522"/>
                  </a:lnTo>
                  <a:lnTo>
                    <a:pt x="228" y="516"/>
                  </a:lnTo>
                  <a:lnTo>
                    <a:pt x="228" y="510"/>
                  </a:lnTo>
                  <a:lnTo>
                    <a:pt x="234" y="510"/>
                  </a:lnTo>
                  <a:lnTo>
                    <a:pt x="240" y="516"/>
                  </a:lnTo>
                  <a:lnTo>
                    <a:pt x="246" y="522"/>
                  </a:lnTo>
                  <a:lnTo>
                    <a:pt x="246" y="516"/>
                  </a:lnTo>
                  <a:lnTo>
                    <a:pt x="240" y="516"/>
                  </a:lnTo>
                  <a:lnTo>
                    <a:pt x="240" y="510"/>
                  </a:lnTo>
                  <a:lnTo>
                    <a:pt x="234" y="510"/>
                  </a:lnTo>
                  <a:lnTo>
                    <a:pt x="234" y="504"/>
                  </a:lnTo>
                  <a:lnTo>
                    <a:pt x="228" y="504"/>
                  </a:lnTo>
                  <a:lnTo>
                    <a:pt x="222" y="504"/>
                  </a:lnTo>
                  <a:lnTo>
                    <a:pt x="222" y="498"/>
                  </a:lnTo>
                  <a:lnTo>
                    <a:pt x="222" y="504"/>
                  </a:lnTo>
                  <a:lnTo>
                    <a:pt x="222" y="510"/>
                  </a:lnTo>
                  <a:lnTo>
                    <a:pt x="222" y="516"/>
                  </a:lnTo>
                  <a:lnTo>
                    <a:pt x="216" y="522"/>
                  </a:lnTo>
                  <a:lnTo>
                    <a:pt x="216" y="528"/>
                  </a:lnTo>
                  <a:lnTo>
                    <a:pt x="210" y="528"/>
                  </a:lnTo>
                  <a:lnTo>
                    <a:pt x="216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04" y="546"/>
                  </a:lnTo>
                  <a:lnTo>
                    <a:pt x="204" y="552"/>
                  </a:lnTo>
                  <a:lnTo>
                    <a:pt x="204" y="558"/>
                  </a:lnTo>
                  <a:lnTo>
                    <a:pt x="204" y="564"/>
                  </a:lnTo>
                  <a:lnTo>
                    <a:pt x="198" y="570"/>
                  </a:lnTo>
                  <a:lnTo>
                    <a:pt x="192" y="564"/>
                  </a:lnTo>
                  <a:lnTo>
                    <a:pt x="186" y="564"/>
                  </a:lnTo>
                  <a:lnTo>
                    <a:pt x="180" y="564"/>
                  </a:lnTo>
                  <a:lnTo>
                    <a:pt x="174" y="564"/>
                  </a:lnTo>
                  <a:lnTo>
                    <a:pt x="168" y="564"/>
                  </a:lnTo>
                  <a:lnTo>
                    <a:pt x="162" y="564"/>
                  </a:lnTo>
                  <a:lnTo>
                    <a:pt x="156" y="570"/>
                  </a:lnTo>
                  <a:lnTo>
                    <a:pt x="150" y="570"/>
                  </a:lnTo>
                  <a:lnTo>
                    <a:pt x="150" y="564"/>
                  </a:lnTo>
                  <a:lnTo>
                    <a:pt x="150" y="570"/>
                  </a:lnTo>
                  <a:lnTo>
                    <a:pt x="150" y="576"/>
                  </a:lnTo>
                  <a:lnTo>
                    <a:pt x="144" y="576"/>
                  </a:lnTo>
                  <a:lnTo>
                    <a:pt x="138" y="576"/>
                  </a:lnTo>
                  <a:lnTo>
                    <a:pt x="132" y="582"/>
                  </a:lnTo>
                  <a:lnTo>
                    <a:pt x="126" y="582"/>
                  </a:lnTo>
                  <a:lnTo>
                    <a:pt x="120" y="582"/>
                  </a:lnTo>
                  <a:lnTo>
                    <a:pt x="114" y="576"/>
                  </a:lnTo>
                  <a:lnTo>
                    <a:pt x="108" y="564"/>
                  </a:lnTo>
                  <a:lnTo>
                    <a:pt x="102" y="558"/>
                  </a:lnTo>
                  <a:lnTo>
                    <a:pt x="96" y="552"/>
                  </a:lnTo>
                  <a:lnTo>
                    <a:pt x="90" y="546"/>
                  </a:lnTo>
                  <a:lnTo>
                    <a:pt x="90" y="540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2"/>
                  </a:lnTo>
                  <a:lnTo>
                    <a:pt x="78" y="516"/>
                  </a:lnTo>
                  <a:lnTo>
                    <a:pt x="72" y="510"/>
                  </a:lnTo>
                  <a:lnTo>
                    <a:pt x="66" y="504"/>
                  </a:lnTo>
                  <a:lnTo>
                    <a:pt x="66" y="498"/>
                  </a:lnTo>
                  <a:lnTo>
                    <a:pt x="66" y="492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6" y="474"/>
                  </a:lnTo>
                  <a:lnTo>
                    <a:pt x="72" y="474"/>
                  </a:lnTo>
                  <a:lnTo>
                    <a:pt x="72" y="468"/>
                  </a:lnTo>
                  <a:lnTo>
                    <a:pt x="78" y="462"/>
                  </a:lnTo>
                  <a:lnTo>
                    <a:pt x="78" y="456"/>
                  </a:lnTo>
                  <a:lnTo>
                    <a:pt x="84" y="456"/>
                  </a:lnTo>
                  <a:lnTo>
                    <a:pt x="84" y="450"/>
                  </a:lnTo>
                  <a:lnTo>
                    <a:pt x="84" y="444"/>
                  </a:lnTo>
                  <a:lnTo>
                    <a:pt x="90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02" y="450"/>
                  </a:lnTo>
                  <a:lnTo>
                    <a:pt x="108" y="450"/>
                  </a:lnTo>
                  <a:lnTo>
                    <a:pt x="108" y="456"/>
                  </a:lnTo>
                  <a:lnTo>
                    <a:pt x="108" y="462"/>
                  </a:lnTo>
                  <a:lnTo>
                    <a:pt x="114" y="462"/>
                  </a:lnTo>
                  <a:lnTo>
                    <a:pt x="114" y="468"/>
                  </a:lnTo>
                  <a:lnTo>
                    <a:pt x="114" y="474"/>
                  </a:lnTo>
                  <a:lnTo>
                    <a:pt x="114" y="480"/>
                  </a:lnTo>
                  <a:lnTo>
                    <a:pt x="114" y="486"/>
                  </a:lnTo>
                  <a:lnTo>
                    <a:pt x="120" y="486"/>
                  </a:lnTo>
                  <a:lnTo>
                    <a:pt x="126" y="486"/>
                  </a:lnTo>
                  <a:lnTo>
                    <a:pt x="132" y="486"/>
                  </a:lnTo>
                  <a:lnTo>
                    <a:pt x="126" y="480"/>
                  </a:lnTo>
                  <a:lnTo>
                    <a:pt x="120" y="480"/>
                  </a:lnTo>
                  <a:lnTo>
                    <a:pt x="114" y="480"/>
                  </a:lnTo>
                  <a:lnTo>
                    <a:pt x="120" y="480"/>
                  </a:lnTo>
                  <a:lnTo>
                    <a:pt x="120" y="474"/>
                  </a:lnTo>
                  <a:lnTo>
                    <a:pt x="120" y="468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108" y="450"/>
                  </a:lnTo>
                  <a:lnTo>
                    <a:pt x="108" y="444"/>
                  </a:lnTo>
                  <a:lnTo>
                    <a:pt x="114" y="438"/>
                  </a:lnTo>
                  <a:lnTo>
                    <a:pt x="120" y="438"/>
                  </a:lnTo>
                  <a:lnTo>
                    <a:pt x="120" y="432"/>
                  </a:lnTo>
                  <a:lnTo>
                    <a:pt x="132" y="426"/>
                  </a:lnTo>
                  <a:lnTo>
                    <a:pt x="138" y="420"/>
                  </a:lnTo>
                  <a:lnTo>
                    <a:pt x="144" y="420"/>
                  </a:lnTo>
                  <a:lnTo>
                    <a:pt x="144" y="414"/>
                  </a:lnTo>
                  <a:lnTo>
                    <a:pt x="144" y="420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6" y="414"/>
                  </a:lnTo>
                  <a:lnTo>
                    <a:pt x="162" y="414"/>
                  </a:lnTo>
                  <a:lnTo>
                    <a:pt x="162" y="408"/>
                  </a:lnTo>
                  <a:lnTo>
                    <a:pt x="168" y="408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86" y="396"/>
                  </a:lnTo>
                  <a:lnTo>
                    <a:pt x="186" y="390"/>
                  </a:lnTo>
                  <a:lnTo>
                    <a:pt x="192" y="390"/>
                  </a:lnTo>
                  <a:lnTo>
                    <a:pt x="198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210" y="378"/>
                  </a:lnTo>
                  <a:lnTo>
                    <a:pt x="210" y="372"/>
                  </a:lnTo>
                  <a:lnTo>
                    <a:pt x="216" y="372"/>
                  </a:lnTo>
                  <a:lnTo>
                    <a:pt x="222" y="366"/>
                  </a:lnTo>
                  <a:lnTo>
                    <a:pt x="228" y="360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6" y="348"/>
                  </a:lnTo>
                  <a:lnTo>
                    <a:pt x="252" y="348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0" y="342"/>
                  </a:lnTo>
                  <a:lnTo>
                    <a:pt x="234" y="342"/>
                  </a:lnTo>
                  <a:lnTo>
                    <a:pt x="228" y="336"/>
                  </a:lnTo>
                  <a:lnTo>
                    <a:pt x="222" y="336"/>
                  </a:lnTo>
                  <a:lnTo>
                    <a:pt x="216" y="336"/>
                  </a:lnTo>
                  <a:lnTo>
                    <a:pt x="222" y="324"/>
                  </a:lnTo>
                  <a:lnTo>
                    <a:pt x="222" y="318"/>
                  </a:lnTo>
                  <a:lnTo>
                    <a:pt x="222" y="312"/>
                  </a:lnTo>
                  <a:lnTo>
                    <a:pt x="234" y="318"/>
                  </a:lnTo>
                  <a:lnTo>
                    <a:pt x="246" y="318"/>
                  </a:lnTo>
                  <a:lnTo>
                    <a:pt x="258" y="318"/>
                  </a:lnTo>
                  <a:lnTo>
                    <a:pt x="270" y="312"/>
                  </a:lnTo>
                  <a:lnTo>
                    <a:pt x="276" y="312"/>
                  </a:lnTo>
                  <a:lnTo>
                    <a:pt x="288" y="324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94" y="306"/>
                  </a:lnTo>
                  <a:lnTo>
                    <a:pt x="300" y="300"/>
                  </a:lnTo>
                  <a:lnTo>
                    <a:pt x="306" y="306"/>
                  </a:lnTo>
                  <a:lnTo>
                    <a:pt x="312" y="318"/>
                  </a:lnTo>
                  <a:lnTo>
                    <a:pt x="318" y="312"/>
                  </a:lnTo>
                  <a:lnTo>
                    <a:pt x="324" y="312"/>
                  </a:lnTo>
                  <a:lnTo>
                    <a:pt x="330" y="312"/>
                  </a:lnTo>
                  <a:lnTo>
                    <a:pt x="342" y="306"/>
                  </a:lnTo>
                  <a:lnTo>
                    <a:pt x="348" y="306"/>
                  </a:lnTo>
                  <a:lnTo>
                    <a:pt x="348" y="312"/>
                  </a:lnTo>
                  <a:lnTo>
                    <a:pt x="348" y="318"/>
                  </a:lnTo>
                  <a:lnTo>
                    <a:pt x="354" y="318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60" y="336"/>
                  </a:lnTo>
                  <a:lnTo>
                    <a:pt x="366" y="330"/>
                  </a:lnTo>
                  <a:lnTo>
                    <a:pt x="378" y="324"/>
                  </a:lnTo>
                  <a:lnTo>
                    <a:pt x="384" y="324"/>
                  </a:lnTo>
                  <a:lnTo>
                    <a:pt x="384" y="318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6"/>
                  </a:lnTo>
                  <a:lnTo>
                    <a:pt x="402" y="306"/>
                  </a:lnTo>
                  <a:lnTo>
                    <a:pt x="408" y="306"/>
                  </a:lnTo>
                  <a:lnTo>
                    <a:pt x="414" y="300"/>
                  </a:lnTo>
                  <a:lnTo>
                    <a:pt x="420" y="300"/>
                  </a:lnTo>
                  <a:lnTo>
                    <a:pt x="426" y="300"/>
                  </a:lnTo>
                  <a:lnTo>
                    <a:pt x="432" y="300"/>
                  </a:lnTo>
                  <a:lnTo>
                    <a:pt x="444" y="288"/>
                  </a:lnTo>
                  <a:lnTo>
                    <a:pt x="450" y="294"/>
                  </a:lnTo>
                  <a:lnTo>
                    <a:pt x="468" y="300"/>
                  </a:lnTo>
                  <a:lnTo>
                    <a:pt x="498" y="312"/>
                  </a:lnTo>
                  <a:lnTo>
                    <a:pt x="504" y="324"/>
                  </a:lnTo>
                  <a:lnTo>
                    <a:pt x="516" y="330"/>
                  </a:lnTo>
                  <a:lnTo>
                    <a:pt x="516" y="336"/>
                  </a:lnTo>
                  <a:lnTo>
                    <a:pt x="540" y="342"/>
                  </a:lnTo>
                  <a:lnTo>
                    <a:pt x="558" y="372"/>
                  </a:lnTo>
                  <a:lnTo>
                    <a:pt x="594" y="384"/>
                  </a:lnTo>
                  <a:lnTo>
                    <a:pt x="606" y="402"/>
                  </a:lnTo>
                  <a:lnTo>
                    <a:pt x="600" y="420"/>
                  </a:lnTo>
                  <a:lnTo>
                    <a:pt x="588" y="444"/>
                  </a:lnTo>
                  <a:lnTo>
                    <a:pt x="588" y="450"/>
                  </a:lnTo>
                  <a:lnTo>
                    <a:pt x="588" y="456"/>
                  </a:lnTo>
                  <a:lnTo>
                    <a:pt x="594" y="456"/>
                  </a:lnTo>
                  <a:lnTo>
                    <a:pt x="594" y="462"/>
                  </a:lnTo>
                  <a:lnTo>
                    <a:pt x="594" y="468"/>
                  </a:lnTo>
                  <a:lnTo>
                    <a:pt x="594" y="474"/>
                  </a:lnTo>
                  <a:lnTo>
                    <a:pt x="600" y="474"/>
                  </a:lnTo>
                  <a:lnTo>
                    <a:pt x="606" y="480"/>
                  </a:lnTo>
                  <a:lnTo>
                    <a:pt x="606" y="486"/>
                  </a:lnTo>
                  <a:lnTo>
                    <a:pt x="612" y="486"/>
                  </a:lnTo>
                  <a:lnTo>
                    <a:pt x="618" y="486"/>
                  </a:lnTo>
                  <a:lnTo>
                    <a:pt x="624" y="486"/>
                  </a:lnTo>
                  <a:lnTo>
                    <a:pt x="636" y="486"/>
                  </a:lnTo>
                  <a:lnTo>
                    <a:pt x="642" y="486"/>
                  </a:lnTo>
                  <a:lnTo>
                    <a:pt x="648" y="480"/>
                  </a:lnTo>
                  <a:lnTo>
                    <a:pt x="654" y="474"/>
                  </a:lnTo>
                  <a:lnTo>
                    <a:pt x="660" y="468"/>
                  </a:lnTo>
                  <a:lnTo>
                    <a:pt x="666" y="468"/>
                  </a:lnTo>
                  <a:lnTo>
                    <a:pt x="684" y="468"/>
                  </a:lnTo>
                  <a:lnTo>
                    <a:pt x="696" y="468"/>
                  </a:lnTo>
                  <a:lnTo>
                    <a:pt x="696" y="462"/>
                  </a:lnTo>
                  <a:lnTo>
                    <a:pt x="702" y="456"/>
                  </a:lnTo>
                  <a:lnTo>
                    <a:pt x="708" y="450"/>
                  </a:lnTo>
                  <a:lnTo>
                    <a:pt x="714" y="450"/>
                  </a:lnTo>
                  <a:lnTo>
                    <a:pt x="720" y="450"/>
                  </a:lnTo>
                  <a:lnTo>
                    <a:pt x="720" y="438"/>
                  </a:lnTo>
                  <a:lnTo>
                    <a:pt x="726" y="432"/>
                  </a:lnTo>
                  <a:lnTo>
                    <a:pt x="738" y="420"/>
                  </a:lnTo>
                  <a:lnTo>
                    <a:pt x="744" y="420"/>
                  </a:lnTo>
                  <a:lnTo>
                    <a:pt x="750" y="414"/>
                  </a:lnTo>
                  <a:lnTo>
                    <a:pt x="762" y="408"/>
                  </a:lnTo>
                  <a:lnTo>
                    <a:pt x="768" y="408"/>
                  </a:lnTo>
                  <a:lnTo>
                    <a:pt x="768" y="402"/>
                  </a:lnTo>
                  <a:lnTo>
                    <a:pt x="780" y="396"/>
                  </a:lnTo>
                  <a:lnTo>
                    <a:pt x="786" y="396"/>
                  </a:lnTo>
                  <a:lnTo>
                    <a:pt x="786" y="390"/>
                  </a:lnTo>
                  <a:lnTo>
                    <a:pt x="792" y="384"/>
                  </a:lnTo>
                  <a:lnTo>
                    <a:pt x="792" y="378"/>
                  </a:lnTo>
                  <a:lnTo>
                    <a:pt x="798" y="366"/>
                  </a:lnTo>
                  <a:lnTo>
                    <a:pt x="804" y="360"/>
                  </a:lnTo>
                  <a:lnTo>
                    <a:pt x="816" y="342"/>
                  </a:lnTo>
                  <a:lnTo>
                    <a:pt x="816" y="312"/>
                  </a:lnTo>
                  <a:lnTo>
                    <a:pt x="804" y="300"/>
                  </a:lnTo>
                  <a:lnTo>
                    <a:pt x="798" y="288"/>
                  </a:lnTo>
                  <a:lnTo>
                    <a:pt x="762" y="264"/>
                  </a:lnTo>
                  <a:lnTo>
                    <a:pt x="738" y="234"/>
                  </a:lnTo>
                  <a:lnTo>
                    <a:pt x="738" y="222"/>
                  </a:lnTo>
                  <a:lnTo>
                    <a:pt x="744" y="210"/>
                  </a:lnTo>
                  <a:lnTo>
                    <a:pt x="732" y="174"/>
                  </a:lnTo>
                  <a:lnTo>
                    <a:pt x="714" y="156"/>
                  </a:lnTo>
                  <a:lnTo>
                    <a:pt x="708" y="144"/>
                  </a:lnTo>
                  <a:lnTo>
                    <a:pt x="714" y="126"/>
                  </a:lnTo>
                  <a:lnTo>
                    <a:pt x="720" y="114"/>
                  </a:lnTo>
                  <a:lnTo>
                    <a:pt x="732" y="102"/>
                  </a:lnTo>
                  <a:lnTo>
                    <a:pt x="744" y="102"/>
                  </a:lnTo>
                  <a:lnTo>
                    <a:pt x="762" y="108"/>
                  </a:lnTo>
                  <a:lnTo>
                    <a:pt x="774" y="114"/>
                  </a:lnTo>
                  <a:lnTo>
                    <a:pt x="780" y="138"/>
                  </a:lnTo>
                  <a:lnTo>
                    <a:pt x="786" y="144"/>
                  </a:lnTo>
                  <a:lnTo>
                    <a:pt x="798" y="138"/>
                  </a:lnTo>
                  <a:lnTo>
                    <a:pt x="804" y="132"/>
                  </a:lnTo>
                  <a:lnTo>
                    <a:pt x="816" y="120"/>
                  </a:lnTo>
                  <a:lnTo>
                    <a:pt x="816" y="108"/>
                  </a:lnTo>
                  <a:lnTo>
                    <a:pt x="828" y="102"/>
                  </a:lnTo>
                  <a:lnTo>
                    <a:pt x="828" y="96"/>
                  </a:lnTo>
                  <a:lnTo>
                    <a:pt x="840" y="96"/>
                  </a:lnTo>
                  <a:lnTo>
                    <a:pt x="840" y="84"/>
                  </a:lnTo>
                  <a:lnTo>
                    <a:pt x="852" y="90"/>
                  </a:lnTo>
                  <a:lnTo>
                    <a:pt x="852" y="96"/>
                  </a:lnTo>
                  <a:lnTo>
                    <a:pt x="870" y="90"/>
                  </a:lnTo>
                  <a:lnTo>
                    <a:pt x="894" y="78"/>
                  </a:lnTo>
                  <a:lnTo>
                    <a:pt x="912" y="78"/>
                  </a:lnTo>
                  <a:lnTo>
                    <a:pt x="942" y="66"/>
                  </a:lnTo>
                  <a:lnTo>
                    <a:pt x="942" y="60"/>
                  </a:lnTo>
                  <a:lnTo>
                    <a:pt x="954" y="48"/>
                  </a:lnTo>
                  <a:lnTo>
                    <a:pt x="966" y="30"/>
                  </a:lnTo>
                  <a:lnTo>
                    <a:pt x="978" y="30"/>
                  </a:lnTo>
                  <a:lnTo>
                    <a:pt x="978" y="24"/>
                  </a:lnTo>
                  <a:lnTo>
                    <a:pt x="984" y="12"/>
                  </a:lnTo>
                  <a:lnTo>
                    <a:pt x="990" y="12"/>
                  </a:lnTo>
                  <a:lnTo>
                    <a:pt x="996" y="12"/>
                  </a:lnTo>
                  <a:lnTo>
                    <a:pt x="1014" y="6"/>
                  </a:lnTo>
                  <a:lnTo>
                    <a:pt x="1026" y="6"/>
                  </a:lnTo>
                  <a:lnTo>
                    <a:pt x="1044" y="6"/>
                  </a:lnTo>
                  <a:lnTo>
                    <a:pt x="1050" y="6"/>
                  </a:lnTo>
                  <a:lnTo>
                    <a:pt x="1056" y="6"/>
                  </a:lnTo>
                  <a:lnTo>
                    <a:pt x="1062" y="6"/>
                  </a:lnTo>
                  <a:lnTo>
                    <a:pt x="1068" y="6"/>
                  </a:lnTo>
                  <a:lnTo>
                    <a:pt x="1074" y="6"/>
                  </a:lnTo>
                  <a:lnTo>
                    <a:pt x="1080" y="6"/>
                  </a:lnTo>
                  <a:lnTo>
                    <a:pt x="1086" y="0"/>
                  </a:lnTo>
                  <a:lnTo>
                    <a:pt x="1092" y="30"/>
                  </a:lnTo>
                  <a:lnTo>
                    <a:pt x="1098" y="60"/>
                  </a:lnTo>
                  <a:lnTo>
                    <a:pt x="1110" y="84"/>
                  </a:lnTo>
                  <a:lnTo>
                    <a:pt x="1122" y="114"/>
                  </a:lnTo>
                  <a:lnTo>
                    <a:pt x="1128" y="144"/>
                  </a:lnTo>
                  <a:lnTo>
                    <a:pt x="1122" y="156"/>
                  </a:lnTo>
                  <a:lnTo>
                    <a:pt x="1128" y="168"/>
                  </a:lnTo>
                  <a:lnTo>
                    <a:pt x="1134" y="186"/>
                  </a:lnTo>
                  <a:lnTo>
                    <a:pt x="1140" y="204"/>
                  </a:lnTo>
                  <a:lnTo>
                    <a:pt x="1146" y="210"/>
                  </a:lnTo>
                  <a:lnTo>
                    <a:pt x="1146" y="216"/>
                  </a:lnTo>
                  <a:lnTo>
                    <a:pt x="1146" y="228"/>
                  </a:lnTo>
                  <a:lnTo>
                    <a:pt x="1146" y="234"/>
                  </a:lnTo>
                  <a:lnTo>
                    <a:pt x="1140" y="246"/>
                  </a:lnTo>
                  <a:lnTo>
                    <a:pt x="1128" y="258"/>
                  </a:lnTo>
                  <a:lnTo>
                    <a:pt x="1116" y="264"/>
                  </a:lnTo>
                  <a:lnTo>
                    <a:pt x="1110" y="276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2" y="312"/>
                  </a:lnTo>
                  <a:lnTo>
                    <a:pt x="1116" y="324"/>
                  </a:lnTo>
                  <a:lnTo>
                    <a:pt x="1104" y="336"/>
                  </a:lnTo>
                  <a:lnTo>
                    <a:pt x="1104" y="354"/>
                  </a:lnTo>
                  <a:lnTo>
                    <a:pt x="1098" y="372"/>
                  </a:lnTo>
                  <a:lnTo>
                    <a:pt x="1092" y="384"/>
                  </a:lnTo>
                  <a:lnTo>
                    <a:pt x="1086" y="390"/>
                  </a:lnTo>
                  <a:lnTo>
                    <a:pt x="1086" y="402"/>
                  </a:lnTo>
                  <a:lnTo>
                    <a:pt x="1080" y="414"/>
                  </a:lnTo>
                  <a:lnTo>
                    <a:pt x="1074" y="426"/>
                  </a:lnTo>
                  <a:lnTo>
                    <a:pt x="1074" y="450"/>
                  </a:lnTo>
                  <a:lnTo>
                    <a:pt x="1074" y="462"/>
                  </a:lnTo>
                  <a:lnTo>
                    <a:pt x="1068" y="474"/>
                  </a:lnTo>
                  <a:lnTo>
                    <a:pt x="1062" y="486"/>
                  </a:lnTo>
                  <a:lnTo>
                    <a:pt x="1056" y="498"/>
                  </a:lnTo>
                  <a:close/>
                  <a:moveTo>
                    <a:pt x="186" y="378"/>
                  </a:moveTo>
                  <a:lnTo>
                    <a:pt x="186" y="384"/>
                  </a:lnTo>
                  <a:lnTo>
                    <a:pt x="180" y="390"/>
                  </a:lnTo>
                  <a:lnTo>
                    <a:pt x="174" y="396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14"/>
                  </a:lnTo>
                  <a:lnTo>
                    <a:pt x="126" y="414"/>
                  </a:lnTo>
                  <a:lnTo>
                    <a:pt x="120" y="414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2" y="426"/>
                  </a:lnTo>
                  <a:lnTo>
                    <a:pt x="102" y="432"/>
                  </a:lnTo>
                  <a:lnTo>
                    <a:pt x="96" y="432"/>
                  </a:lnTo>
                  <a:lnTo>
                    <a:pt x="90" y="432"/>
                  </a:lnTo>
                  <a:lnTo>
                    <a:pt x="84" y="438"/>
                  </a:lnTo>
                  <a:lnTo>
                    <a:pt x="78" y="438"/>
                  </a:lnTo>
                  <a:lnTo>
                    <a:pt x="78" y="444"/>
                  </a:lnTo>
                  <a:lnTo>
                    <a:pt x="72" y="444"/>
                  </a:lnTo>
                  <a:lnTo>
                    <a:pt x="72" y="450"/>
                  </a:lnTo>
                  <a:lnTo>
                    <a:pt x="66" y="456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48" y="468"/>
                  </a:lnTo>
                  <a:lnTo>
                    <a:pt x="42" y="468"/>
                  </a:lnTo>
                  <a:lnTo>
                    <a:pt x="42" y="462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8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0" y="396"/>
                  </a:lnTo>
                  <a:lnTo>
                    <a:pt x="6" y="384"/>
                  </a:lnTo>
                  <a:lnTo>
                    <a:pt x="18" y="372"/>
                  </a:lnTo>
                  <a:lnTo>
                    <a:pt x="30" y="348"/>
                  </a:lnTo>
                  <a:lnTo>
                    <a:pt x="30" y="342"/>
                  </a:lnTo>
                  <a:lnTo>
                    <a:pt x="42" y="330"/>
                  </a:lnTo>
                  <a:lnTo>
                    <a:pt x="42" y="324"/>
                  </a:lnTo>
                  <a:lnTo>
                    <a:pt x="48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60" y="282"/>
                  </a:lnTo>
                  <a:lnTo>
                    <a:pt x="60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2" y="258"/>
                  </a:lnTo>
                  <a:lnTo>
                    <a:pt x="84" y="246"/>
                  </a:lnTo>
                  <a:lnTo>
                    <a:pt x="90" y="234"/>
                  </a:lnTo>
                  <a:lnTo>
                    <a:pt x="96" y="234"/>
                  </a:lnTo>
                  <a:lnTo>
                    <a:pt x="96" y="228"/>
                  </a:lnTo>
                  <a:lnTo>
                    <a:pt x="102" y="222"/>
                  </a:lnTo>
                  <a:lnTo>
                    <a:pt x="102" y="228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14" y="228"/>
                  </a:lnTo>
                  <a:lnTo>
                    <a:pt x="114" y="234"/>
                  </a:lnTo>
                  <a:lnTo>
                    <a:pt x="120" y="228"/>
                  </a:lnTo>
                  <a:lnTo>
                    <a:pt x="120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26" y="228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8" y="234"/>
                  </a:lnTo>
                  <a:lnTo>
                    <a:pt x="144" y="234"/>
                  </a:lnTo>
                  <a:lnTo>
                    <a:pt x="144" y="228"/>
                  </a:lnTo>
                  <a:lnTo>
                    <a:pt x="150" y="228"/>
                  </a:lnTo>
                  <a:lnTo>
                    <a:pt x="156" y="228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46"/>
                  </a:lnTo>
                  <a:lnTo>
                    <a:pt x="162" y="240"/>
                  </a:lnTo>
                  <a:lnTo>
                    <a:pt x="162" y="246"/>
                  </a:lnTo>
                  <a:lnTo>
                    <a:pt x="162" y="258"/>
                  </a:lnTo>
                  <a:lnTo>
                    <a:pt x="162" y="264"/>
                  </a:lnTo>
                  <a:lnTo>
                    <a:pt x="156" y="270"/>
                  </a:lnTo>
                  <a:lnTo>
                    <a:pt x="162" y="270"/>
                  </a:lnTo>
                  <a:lnTo>
                    <a:pt x="162" y="282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86" y="288"/>
                  </a:lnTo>
                  <a:lnTo>
                    <a:pt x="186" y="294"/>
                  </a:lnTo>
                  <a:lnTo>
                    <a:pt x="180" y="300"/>
                  </a:lnTo>
                  <a:lnTo>
                    <a:pt x="174" y="318"/>
                  </a:lnTo>
                  <a:lnTo>
                    <a:pt x="174" y="324"/>
                  </a:lnTo>
                  <a:lnTo>
                    <a:pt x="168" y="330"/>
                  </a:lnTo>
                  <a:lnTo>
                    <a:pt x="168" y="342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74" y="360"/>
                  </a:lnTo>
                  <a:lnTo>
                    <a:pt x="180" y="366"/>
                  </a:lnTo>
                  <a:lnTo>
                    <a:pt x="186" y="3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8" name="Freeform 23">
              <a:extLst>
                <a:ext uri="{FF2B5EF4-FFF2-40B4-BE49-F238E27FC236}">
                  <a16:creationId xmlns:a16="http://schemas.microsoft.com/office/drawing/2014/main" id="{A539A33E-3F6E-4AF7-BD88-1853165307F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6312" y="3604793"/>
              <a:ext cx="581410" cy="621747"/>
            </a:xfrm>
            <a:custGeom>
              <a:avLst/>
              <a:gdLst>
                <a:gd name="T0" fmla="*/ 90 w 1092"/>
                <a:gd name="T1" fmla="*/ 60 h 1170"/>
                <a:gd name="T2" fmla="*/ 83 w 1092"/>
                <a:gd name="T3" fmla="*/ 62 h 1170"/>
                <a:gd name="T4" fmla="*/ 72 w 1092"/>
                <a:gd name="T5" fmla="*/ 68 h 1170"/>
                <a:gd name="T6" fmla="*/ 68 w 1092"/>
                <a:gd name="T7" fmla="*/ 71 h 1170"/>
                <a:gd name="T8" fmla="*/ 61 w 1092"/>
                <a:gd name="T9" fmla="*/ 69 h 1170"/>
                <a:gd name="T10" fmla="*/ 64 w 1092"/>
                <a:gd name="T11" fmla="*/ 82 h 1170"/>
                <a:gd name="T12" fmla="*/ 67 w 1092"/>
                <a:gd name="T13" fmla="*/ 93 h 1170"/>
                <a:gd name="T14" fmla="*/ 62 w 1092"/>
                <a:gd name="T15" fmla="*/ 96 h 1170"/>
                <a:gd name="T16" fmla="*/ 59 w 1092"/>
                <a:gd name="T17" fmla="*/ 99 h 1170"/>
                <a:gd name="T18" fmla="*/ 53 w 1092"/>
                <a:gd name="T19" fmla="*/ 101 h 1170"/>
                <a:gd name="T20" fmla="*/ 50 w 1092"/>
                <a:gd name="T21" fmla="*/ 100 h 1170"/>
                <a:gd name="T22" fmla="*/ 50 w 1092"/>
                <a:gd name="T23" fmla="*/ 93 h 1170"/>
                <a:gd name="T24" fmla="*/ 37 w 1092"/>
                <a:gd name="T25" fmla="*/ 85 h 1170"/>
                <a:gd name="T26" fmla="*/ 32 w 1092"/>
                <a:gd name="T27" fmla="*/ 86 h 1170"/>
                <a:gd name="T28" fmla="*/ 29 w 1092"/>
                <a:gd name="T29" fmla="*/ 88 h 1170"/>
                <a:gd name="T30" fmla="*/ 27 w 1092"/>
                <a:gd name="T31" fmla="*/ 86 h 1170"/>
                <a:gd name="T32" fmla="*/ 23 w 1092"/>
                <a:gd name="T33" fmla="*/ 87 h 1170"/>
                <a:gd name="T34" fmla="*/ 17 w 1092"/>
                <a:gd name="T35" fmla="*/ 87 h 1170"/>
                <a:gd name="T36" fmla="*/ 18 w 1092"/>
                <a:gd name="T37" fmla="*/ 89 h 1170"/>
                <a:gd name="T38" fmla="*/ 16 w 1092"/>
                <a:gd name="T39" fmla="*/ 92 h 1170"/>
                <a:gd name="T40" fmla="*/ 12 w 1092"/>
                <a:gd name="T41" fmla="*/ 89 h 1170"/>
                <a:gd name="T42" fmla="*/ 13 w 1092"/>
                <a:gd name="T43" fmla="*/ 84 h 1170"/>
                <a:gd name="T44" fmla="*/ 12 w 1092"/>
                <a:gd name="T45" fmla="*/ 80 h 1170"/>
                <a:gd name="T46" fmla="*/ 10 w 1092"/>
                <a:gd name="T47" fmla="*/ 80 h 1170"/>
                <a:gd name="T48" fmla="*/ 8 w 1092"/>
                <a:gd name="T49" fmla="*/ 79 h 1170"/>
                <a:gd name="T50" fmla="*/ 6 w 1092"/>
                <a:gd name="T51" fmla="*/ 78 h 1170"/>
                <a:gd name="T52" fmla="*/ 6 w 1092"/>
                <a:gd name="T53" fmla="*/ 77 h 1170"/>
                <a:gd name="T54" fmla="*/ 4 w 1092"/>
                <a:gd name="T55" fmla="*/ 75 h 1170"/>
                <a:gd name="T56" fmla="*/ 0 w 1092"/>
                <a:gd name="T57" fmla="*/ 72 h 1170"/>
                <a:gd name="T58" fmla="*/ 0 w 1092"/>
                <a:gd name="T59" fmla="*/ 69 h 1170"/>
                <a:gd name="T60" fmla="*/ 3 w 1092"/>
                <a:gd name="T61" fmla="*/ 67 h 1170"/>
                <a:gd name="T62" fmla="*/ 6 w 1092"/>
                <a:gd name="T63" fmla="*/ 62 h 1170"/>
                <a:gd name="T64" fmla="*/ 8 w 1092"/>
                <a:gd name="T65" fmla="*/ 58 h 1170"/>
                <a:gd name="T66" fmla="*/ 5 w 1092"/>
                <a:gd name="T67" fmla="*/ 54 h 1170"/>
                <a:gd name="T68" fmla="*/ 6 w 1092"/>
                <a:gd name="T69" fmla="*/ 50 h 1170"/>
                <a:gd name="T70" fmla="*/ 8 w 1092"/>
                <a:gd name="T71" fmla="*/ 46 h 1170"/>
                <a:gd name="T72" fmla="*/ 10 w 1092"/>
                <a:gd name="T73" fmla="*/ 43 h 1170"/>
                <a:gd name="T74" fmla="*/ 14 w 1092"/>
                <a:gd name="T75" fmla="*/ 38 h 1170"/>
                <a:gd name="T76" fmla="*/ 31 w 1092"/>
                <a:gd name="T77" fmla="*/ 40 h 1170"/>
                <a:gd name="T78" fmla="*/ 30 w 1092"/>
                <a:gd name="T79" fmla="*/ 46 h 1170"/>
                <a:gd name="T80" fmla="*/ 36 w 1092"/>
                <a:gd name="T81" fmla="*/ 47 h 1170"/>
                <a:gd name="T82" fmla="*/ 41 w 1092"/>
                <a:gd name="T83" fmla="*/ 44 h 1170"/>
                <a:gd name="T84" fmla="*/ 43 w 1092"/>
                <a:gd name="T85" fmla="*/ 39 h 1170"/>
                <a:gd name="T86" fmla="*/ 44 w 1092"/>
                <a:gd name="T87" fmla="*/ 35 h 1170"/>
                <a:gd name="T88" fmla="*/ 44 w 1092"/>
                <a:gd name="T89" fmla="*/ 29 h 1170"/>
                <a:gd name="T90" fmla="*/ 48 w 1092"/>
                <a:gd name="T91" fmla="*/ 24 h 1170"/>
                <a:gd name="T92" fmla="*/ 49 w 1092"/>
                <a:gd name="T93" fmla="*/ 19 h 1170"/>
                <a:gd name="T94" fmla="*/ 51 w 1092"/>
                <a:gd name="T95" fmla="*/ 14 h 1170"/>
                <a:gd name="T96" fmla="*/ 54 w 1092"/>
                <a:gd name="T97" fmla="*/ 10 h 1170"/>
                <a:gd name="T98" fmla="*/ 53 w 1092"/>
                <a:gd name="T99" fmla="*/ 7 h 1170"/>
                <a:gd name="T100" fmla="*/ 55 w 1092"/>
                <a:gd name="T101" fmla="*/ 3 h 1170"/>
                <a:gd name="T102" fmla="*/ 58 w 1092"/>
                <a:gd name="T103" fmla="*/ 0 h 1170"/>
                <a:gd name="T104" fmla="*/ 65 w 1092"/>
                <a:gd name="T105" fmla="*/ 2 h 1170"/>
                <a:gd name="T106" fmla="*/ 61 w 1092"/>
                <a:gd name="T107" fmla="*/ 6 h 1170"/>
                <a:gd name="T108" fmla="*/ 67 w 1092"/>
                <a:gd name="T109" fmla="*/ 7 h 1170"/>
                <a:gd name="T110" fmla="*/ 71 w 1092"/>
                <a:gd name="T111" fmla="*/ 6 h 1170"/>
                <a:gd name="T112" fmla="*/ 75 w 1092"/>
                <a:gd name="T113" fmla="*/ 9 h 1170"/>
                <a:gd name="T114" fmla="*/ 82 w 1092"/>
                <a:gd name="T115" fmla="*/ 12 h 1170"/>
                <a:gd name="T116" fmla="*/ 84 w 1092"/>
                <a:gd name="T117" fmla="*/ 17 h 1170"/>
                <a:gd name="T118" fmla="*/ 94 w 1092"/>
                <a:gd name="T119" fmla="*/ 23 h 1170"/>
                <a:gd name="T120" fmla="*/ 94 w 1092"/>
                <a:gd name="T121" fmla="*/ 34 h 1170"/>
                <a:gd name="T122" fmla="*/ 90 w 1092"/>
                <a:gd name="T123" fmla="*/ 41 h 1170"/>
                <a:gd name="T124" fmla="*/ 91 w 1092"/>
                <a:gd name="T125" fmla="*/ 51 h 11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92"/>
                <a:gd name="T190" fmla="*/ 0 h 1170"/>
                <a:gd name="T191" fmla="*/ 1092 w 1092"/>
                <a:gd name="T192" fmla="*/ 1170 h 117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92" h="1170">
                  <a:moveTo>
                    <a:pt x="1056" y="654"/>
                  </a:moveTo>
                  <a:lnTo>
                    <a:pt x="1062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0"/>
                  </a:lnTo>
                  <a:lnTo>
                    <a:pt x="1038" y="690"/>
                  </a:lnTo>
                  <a:lnTo>
                    <a:pt x="1032" y="690"/>
                  </a:lnTo>
                  <a:lnTo>
                    <a:pt x="1026" y="690"/>
                  </a:lnTo>
                  <a:lnTo>
                    <a:pt x="1020" y="690"/>
                  </a:lnTo>
                  <a:lnTo>
                    <a:pt x="1002" y="690"/>
                  </a:lnTo>
                  <a:lnTo>
                    <a:pt x="990" y="690"/>
                  </a:lnTo>
                  <a:lnTo>
                    <a:pt x="972" y="696"/>
                  </a:lnTo>
                  <a:lnTo>
                    <a:pt x="966" y="696"/>
                  </a:lnTo>
                  <a:lnTo>
                    <a:pt x="960" y="696"/>
                  </a:lnTo>
                  <a:lnTo>
                    <a:pt x="954" y="708"/>
                  </a:lnTo>
                  <a:lnTo>
                    <a:pt x="954" y="714"/>
                  </a:lnTo>
                  <a:lnTo>
                    <a:pt x="942" y="714"/>
                  </a:lnTo>
                  <a:lnTo>
                    <a:pt x="930" y="732"/>
                  </a:lnTo>
                  <a:lnTo>
                    <a:pt x="918" y="744"/>
                  </a:lnTo>
                  <a:lnTo>
                    <a:pt x="918" y="750"/>
                  </a:lnTo>
                  <a:lnTo>
                    <a:pt x="888" y="762"/>
                  </a:lnTo>
                  <a:lnTo>
                    <a:pt x="870" y="762"/>
                  </a:lnTo>
                  <a:lnTo>
                    <a:pt x="846" y="774"/>
                  </a:lnTo>
                  <a:lnTo>
                    <a:pt x="828" y="780"/>
                  </a:lnTo>
                  <a:lnTo>
                    <a:pt x="828" y="774"/>
                  </a:lnTo>
                  <a:lnTo>
                    <a:pt x="816" y="768"/>
                  </a:lnTo>
                  <a:lnTo>
                    <a:pt x="816" y="780"/>
                  </a:lnTo>
                  <a:lnTo>
                    <a:pt x="804" y="780"/>
                  </a:lnTo>
                  <a:lnTo>
                    <a:pt x="804" y="786"/>
                  </a:lnTo>
                  <a:lnTo>
                    <a:pt x="792" y="792"/>
                  </a:lnTo>
                  <a:lnTo>
                    <a:pt x="792" y="804"/>
                  </a:lnTo>
                  <a:lnTo>
                    <a:pt x="780" y="816"/>
                  </a:lnTo>
                  <a:lnTo>
                    <a:pt x="774" y="822"/>
                  </a:lnTo>
                  <a:lnTo>
                    <a:pt x="762" y="828"/>
                  </a:lnTo>
                  <a:lnTo>
                    <a:pt x="756" y="822"/>
                  </a:lnTo>
                  <a:lnTo>
                    <a:pt x="750" y="798"/>
                  </a:lnTo>
                  <a:lnTo>
                    <a:pt x="738" y="792"/>
                  </a:lnTo>
                  <a:lnTo>
                    <a:pt x="720" y="786"/>
                  </a:lnTo>
                  <a:lnTo>
                    <a:pt x="708" y="786"/>
                  </a:lnTo>
                  <a:lnTo>
                    <a:pt x="696" y="798"/>
                  </a:lnTo>
                  <a:lnTo>
                    <a:pt x="690" y="810"/>
                  </a:lnTo>
                  <a:lnTo>
                    <a:pt x="684" y="828"/>
                  </a:lnTo>
                  <a:lnTo>
                    <a:pt x="690" y="840"/>
                  </a:lnTo>
                  <a:lnTo>
                    <a:pt x="708" y="858"/>
                  </a:lnTo>
                  <a:lnTo>
                    <a:pt x="720" y="894"/>
                  </a:lnTo>
                  <a:lnTo>
                    <a:pt x="714" y="906"/>
                  </a:lnTo>
                  <a:lnTo>
                    <a:pt x="714" y="918"/>
                  </a:lnTo>
                  <a:lnTo>
                    <a:pt x="738" y="948"/>
                  </a:lnTo>
                  <a:lnTo>
                    <a:pt x="774" y="972"/>
                  </a:lnTo>
                  <a:lnTo>
                    <a:pt x="780" y="984"/>
                  </a:lnTo>
                  <a:lnTo>
                    <a:pt x="792" y="996"/>
                  </a:lnTo>
                  <a:lnTo>
                    <a:pt x="792" y="1026"/>
                  </a:lnTo>
                  <a:lnTo>
                    <a:pt x="780" y="1044"/>
                  </a:lnTo>
                  <a:lnTo>
                    <a:pt x="774" y="1050"/>
                  </a:lnTo>
                  <a:lnTo>
                    <a:pt x="768" y="1062"/>
                  </a:lnTo>
                  <a:lnTo>
                    <a:pt x="768" y="1068"/>
                  </a:lnTo>
                  <a:lnTo>
                    <a:pt x="762" y="1074"/>
                  </a:lnTo>
                  <a:lnTo>
                    <a:pt x="762" y="1080"/>
                  </a:lnTo>
                  <a:lnTo>
                    <a:pt x="756" y="1080"/>
                  </a:lnTo>
                  <a:lnTo>
                    <a:pt x="744" y="1086"/>
                  </a:lnTo>
                  <a:lnTo>
                    <a:pt x="744" y="1092"/>
                  </a:lnTo>
                  <a:lnTo>
                    <a:pt x="738" y="1092"/>
                  </a:lnTo>
                  <a:lnTo>
                    <a:pt x="726" y="1098"/>
                  </a:lnTo>
                  <a:lnTo>
                    <a:pt x="720" y="1104"/>
                  </a:lnTo>
                  <a:lnTo>
                    <a:pt x="714" y="1104"/>
                  </a:lnTo>
                  <a:lnTo>
                    <a:pt x="702" y="1116"/>
                  </a:lnTo>
                  <a:lnTo>
                    <a:pt x="696" y="1122"/>
                  </a:lnTo>
                  <a:lnTo>
                    <a:pt x="696" y="1134"/>
                  </a:lnTo>
                  <a:lnTo>
                    <a:pt x="690" y="1134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72" y="1146"/>
                  </a:lnTo>
                  <a:lnTo>
                    <a:pt x="672" y="1152"/>
                  </a:lnTo>
                  <a:lnTo>
                    <a:pt x="660" y="1152"/>
                  </a:lnTo>
                  <a:lnTo>
                    <a:pt x="642" y="1152"/>
                  </a:lnTo>
                  <a:lnTo>
                    <a:pt x="636" y="1152"/>
                  </a:lnTo>
                  <a:lnTo>
                    <a:pt x="630" y="1158"/>
                  </a:lnTo>
                  <a:lnTo>
                    <a:pt x="624" y="1164"/>
                  </a:lnTo>
                  <a:lnTo>
                    <a:pt x="618" y="1170"/>
                  </a:lnTo>
                  <a:lnTo>
                    <a:pt x="612" y="1170"/>
                  </a:lnTo>
                  <a:lnTo>
                    <a:pt x="600" y="1170"/>
                  </a:lnTo>
                  <a:lnTo>
                    <a:pt x="594" y="1170"/>
                  </a:lnTo>
                  <a:lnTo>
                    <a:pt x="588" y="1170"/>
                  </a:lnTo>
                  <a:lnTo>
                    <a:pt x="582" y="1170"/>
                  </a:lnTo>
                  <a:lnTo>
                    <a:pt x="582" y="1164"/>
                  </a:lnTo>
                  <a:lnTo>
                    <a:pt x="576" y="1158"/>
                  </a:lnTo>
                  <a:lnTo>
                    <a:pt x="570" y="1158"/>
                  </a:lnTo>
                  <a:lnTo>
                    <a:pt x="570" y="1152"/>
                  </a:lnTo>
                  <a:lnTo>
                    <a:pt x="570" y="1146"/>
                  </a:lnTo>
                  <a:lnTo>
                    <a:pt x="570" y="1140"/>
                  </a:lnTo>
                  <a:lnTo>
                    <a:pt x="564" y="1140"/>
                  </a:lnTo>
                  <a:lnTo>
                    <a:pt x="564" y="1134"/>
                  </a:lnTo>
                  <a:lnTo>
                    <a:pt x="564" y="1128"/>
                  </a:lnTo>
                  <a:lnTo>
                    <a:pt x="576" y="1104"/>
                  </a:lnTo>
                  <a:lnTo>
                    <a:pt x="582" y="1086"/>
                  </a:lnTo>
                  <a:lnTo>
                    <a:pt x="570" y="1068"/>
                  </a:lnTo>
                  <a:lnTo>
                    <a:pt x="534" y="1056"/>
                  </a:lnTo>
                  <a:lnTo>
                    <a:pt x="516" y="1026"/>
                  </a:lnTo>
                  <a:lnTo>
                    <a:pt x="492" y="1020"/>
                  </a:lnTo>
                  <a:lnTo>
                    <a:pt x="492" y="1014"/>
                  </a:lnTo>
                  <a:lnTo>
                    <a:pt x="480" y="1008"/>
                  </a:lnTo>
                  <a:lnTo>
                    <a:pt x="474" y="996"/>
                  </a:lnTo>
                  <a:lnTo>
                    <a:pt x="444" y="984"/>
                  </a:lnTo>
                  <a:lnTo>
                    <a:pt x="426" y="978"/>
                  </a:lnTo>
                  <a:lnTo>
                    <a:pt x="420" y="972"/>
                  </a:lnTo>
                  <a:lnTo>
                    <a:pt x="408" y="984"/>
                  </a:lnTo>
                  <a:lnTo>
                    <a:pt x="402" y="984"/>
                  </a:lnTo>
                  <a:lnTo>
                    <a:pt x="396" y="984"/>
                  </a:lnTo>
                  <a:lnTo>
                    <a:pt x="390" y="984"/>
                  </a:lnTo>
                  <a:lnTo>
                    <a:pt x="384" y="990"/>
                  </a:lnTo>
                  <a:lnTo>
                    <a:pt x="378" y="990"/>
                  </a:lnTo>
                  <a:lnTo>
                    <a:pt x="372" y="990"/>
                  </a:lnTo>
                  <a:lnTo>
                    <a:pt x="372" y="996"/>
                  </a:lnTo>
                  <a:lnTo>
                    <a:pt x="366" y="996"/>
                  </a:lnTo>
                  <a:lnTo>
                    <a:pt x="360" y="1002"/>
                  </a:lnTo>
                  <a:lnTo>
                    <a:pt x="360" y="1008"/>
                  </a:lnTo>
                  <a:lnTo>
                    <a:pt x="354" y="1008"/>
                  </a:lnTo>
                  <a:lnTo>
                    <a:pt x="342" y="1014"/>
                  </a:lnTo>
                  <a:lnTo>
                    <a:pt x="336" y="1020"/>
                  </a:lnTo>
                  <a:lnTo>
                    <a:pt x="336" y="1014"/>
                  </a:lnTo>
                  <a:lnTo>
                    <a:pt x="330" y="1014"/>
                  </a:lnTo>
                  <a:lnTo>
                    <a:pt x="330" y="1008"/>
                  </a:lnTo>
                  <a:lnTo>
                    <a:pt x="330" y="1002"/>
                  </a:lnTo>
                  <a:lnTo>
                    <a:pt x="324" y="1002"/>
                  </a:lnTo>
                  <a:lnTo>
                    <a:pt x="324" y="996"/>
                  </a:lnTo>
                  <a:lnTo>
                    <a:pt x="324" y="990"/>
                  </a:lnTo>
                  <a:lnTo>
                    <a:pt x="318" y="990"/>
                  </a:lnTo>
                  <a:lnTo>
                    <a:pt x="306" y="996"/>
                  </a:lnTo>
                  <a:lnTo>
                    <a:pt x="300" y="996"/>
                  </a:lnTo>
                  <a:lnTo>
                    <a:pt x="294" y="996"/>
                  </a:lnTo>
                  <a:lnTo>
                    <a:pt x="288" y="1002"/>
                  </a:lnTo>
                  <a:lnTo>
                    <a:pt x="282" y="990"/>
                  </a:lnTo>
                  <a:lnTo>
                    <a:pt x="276" y="984"/>
                  </a:lnTo>
                  <a:lnTo>
                    <a:pt x="270" y="990"/>
                  </a:lnTo>
                  <a:lnTo>
                    <a:pt x="270" y="996"/>
                  </a:lnTo>
                  <a:lnTo>
                    <a:pt x="270" y="1002"/>
                  </a:lnTo>
                  <a:lnTo>
                    <a:pt x="264" y="1008"/>
                  </a:lnTo>
                  <a:lnTo>
                    <a:pt x="252" y="996"/>
                  </a:lnTo>
                  <a:lnTo>
                    <a:pt x="246" y="996"/>
                  </a:lnTo>
                  <a:lnTo>
                    <a:pt x="234" y="1002"/>
                  </a:lnTo>
                  <a:lnTo>
                    <a:pt x="222" y="1002"/>
                  </a:lnTo>
                  <a:lnTo>
                    <a:pt x="210" y="1002"/>
                  </a:lnTo>
                  <a:lnTo>
                    <a:pt x="198" y="996"/>
                  </a:lnTo>
                  <a:lnTo>
                    <a:pt x="198" y="1002"/>
                  </a:lnTo>
                  <a:lnTo>
                    <a:pt x="198" y="1008"/>
                  </a:lnTo>
                  <a:lnTo>
                    <a:pt x="192" y="1020"/>
                  </a:lnTo>
                  <a:lnTo>
                    <a:pt x="198" y="1020"/>
                  </a:lnTo>
                  <a:lnTo>
                    <a:pt x="204" y="1020"/>
                  </a:lnTo>
                  <a:lnTo>
                    <a:pt x="210" y="1026"/>
                  </a:lnTo>
                  <a:lnTo>
                    <a:pt x="216" y="1026"/>
                  </a:lnTo>
                  <a:lnTo>
                    <a:pt x="216" y="1032"/>
                  </a:lnTo>
                  <a:lnTo>
                    <a:pt x="210" y="1032"/>
                  </a:lnTo>
                  <a:lnTo>
                    <a:pt x="210" y="1038"/>
                  </a:lnTo>
                  <a:lnTo>
                    <a:pt x="204" y="1038"/>
                  </a:lnTo>
                  <a:lnTo>
                    <a:pt x="204" y="1044"/>
                  </a:lnTo>
                  <a:lnTo>
                    <a:pt x="198" y="1044"/>
                  </a:lnTo>
                  <a:lnTo>
                    <a:pt x="192" y="1044"/>
                  </a:lnTo>
                  <a:lnTo>
                    <a:pt x="186" y="1050"/>
                  </a:lnTo>
                  <a:lnTo>
                    <a:pt x="186" y="1056"/>
                  </a:lnTo>
                  <a:lnTo>
                    <a:pt x="180" y="1056"/>
                  </a:lnTo>
                  <a:lnTo>
                    <a:pt x="180" y="1062"/>
                  </a:lnTo>
                  <a:lnTo>
                    <a:pt x="174" y="1062"/>
                  </a:lnTo>
                  <a:lnTo>
                    <a:pt x="168" y="1062"/>
                  </a:lnTo>
                  <a:lnTo>
                    <a:pt x="162" y="1062"/>
                  </a:lnTo>
                  <a:lnTo>
                    <a:pt x="156" y="1050"/>
                  </a:lnTo>
                  <a:lnTo>
                    <a:pt x="150" y="1044"/>
                  </a:lnTo>
                  <a:lnTo>
                    <a:pt x="150" y="1038"/>
                  </a:lnTo>
                  <a:lnTo>
                    <a:pt x="144" y="1032"/>
                  </a:lnTo>
                  <a:lnTo>
                    <a:pt x="144" y="1026"/>
                  </a:lnTo>
                  <a:lnTo>
                    <a:pt x="144" y="1014"/>
                  </a:lnTo>
                  <a:lnTo>
                    <a:pt x="150" y="1008"/>
                  </a:lnTo>
                  <a:lnTo>
                    <a:pt x="150" y="1002"/>
                  </a:lnTo>
                  <a:lnTo>
                    <a:pt x="156" y="984"/>
                  </a:lnTo>
                  <a:lnTo>
                    <a:pt x="162" y="978"/>
                  </a:lnTo>
                  <a:lnTo>
                    <a:pt x="162" y="972"/>
                  </a:lnTo>
                  <a:lnTo>
                    <a:pt x="150" y="966"/>
                  </a:lnTo>
                  <a:lnTo>
                    <a:pt x="144" y="966"/>
                  </a:lnTo>
                  <a:lnTo>
                    <a:pt x="138" y="966"/>
                  </a:lnTo>
                  <a:lnTo>
                    <a:pt x="138" y="954"/>
                  </a:lnTo>
                  <a:lnTo>
                    <a:pt x="132" y="954"/>
                  </a:lnTo>
                  <a:lnTo>
                    <a:pt x="138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8" y="924"/>
                  </a:lnTo>
                  <a:lnTo>
                    <a:pt x="132" y="930"/>
                  </a:lnTo>
                  <a:lnTo>
                    <a:pt x="132" y="924"/>
                  </a:lnTo>
                  <a:lnTo>
                    <a:pt x="126" y="918"/>
                  </a:lnTo>
                  <a:lnTo>
                    <a:pt x="132" y="918"/>
                  </a:lnTo>
                  <a:lnTo>
                    <a:pt x="132" y="912"/>
                  </a:lnTo>
                  <a:lnTo>
                    <a:pt x="126" y="912"/>
                  </a:lnTo>
                  <a:lnTo>
                    <a:pt x="120" y="912"/>
                  </a:lnTo>
                  <a:lnTo>
                    <a:pt x="120" y="918"/>
                  </a:lnTo>
                  <a:lnTo>
                    <a:pt x="114" y="918"/>
                  </a:lnTo>
                  <a:lnTo>
                    <a:pt x="114" y="912"/>
                  </a:lnTo>
                  <a:lnTo>
                    <a:pt x="108" y="912"/>
                  </a:lnTo>
                  <a:lnTo>
                    <a:pt x="102" y="912"/>
                  </a:lnTo>
                  <a:lnTo>
                    <a:pt x="108" y="906"/>
                  </a:lnTo>
                  <a:lnTo>
                    <a:pt x="102" y="906"/>
                  </a:lnTo>
                  <a:lnTo>
                    <a:pt x="96" y="906"/>
                  </a:lnTo>
                  <a:lnTo>
                    <a:pt x="96" y="912"/>
                  </a:lnTo>
                  <a:lnTo>
                    <a:pt x="90" y="918"/>
                  </a:lnTo>
                  <a:lnTo>
                    <a:pt x="90" y="912"/>
                  </a:lnTo>
                  <a:lnTo>
                    <a:pt x="84" y="912"/>
                  </a:lnTo>
                  <a:lnTo>
                    <a:pt x="84" y="918"/>
                  </a:lnTo>
                  <a:lnTo>
                    <a:pt x="78" y="918"/>
                  </a:lnTo>
                  <a:lnTo>
                    <a:pt x="78" y="912"/>
                  </a:lnTo>
                  <a:lnTo>
                    <a:pt x="78" y="906"/>
                  </a:lnTo>
                  <a:lnTo>
                    <a:pt x="72" y="900"/>
                  </a:lnTo>
                  <a:lnTo>
                    <a:pt x="78" y="900"/>
                  </a:lnTo>
                  <a:lnTo>
                    <a:pt x="72" y="900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8" y="888"/>
                  </a:lnTo>
                  <a:lnTo>
                    <a:pt x="72" y="888"/>
                  </a:lnTo>
                  <a:lnTo>
                    <a:pt x="72" y="882"/>
                  </a:lnTo>
                  <a:lnTo>
                    <a:pt x="66" y="876"/>
                  </a:lnTo>
                  <a:lnTo>
                    <a:pt x="60" y="882"/>
                  </a:lnTo>
                  <a:lnTo>
                    <a:pt x="54" y="876"/>
                  </a:lnTo>
                  <a:lnTo>
                    <a:pt x="54" y="882"/>
                  </a:lnTo>
                  <a:lnTo>
                    <a:pt x="48" y="882"/>
                  </a:lnTo>
                  <a:lnTo>
                    <a:pt x="42" y="870"/>
                  </a:lnTo>
                  <a:lnTo>
                    <a:pt x="42" y="864"/>
                  </a:lnTo>
                  <a:lnTo>
                    <a:pt x="36" y="858"/>
                  </a:lnTo>
                  <a:lnTo>
                    <a:pt x="36" y="852"/>
                  </a:lnTo>
                  <a:lnTo>
                    <a:pt x="30" y="852"/>
                  </a:lnTo>
                  <a:lnTo>
                    <a:pt x="30" y="846"/>
                  </a:lnTo>
                  <a:lnTo>
                    <a:pt x="24" y="846"/>
                  </a:lnTo>
                  <a:lnTo>
                    <a:pt x="18" y="840"/>
                  </a:lnTo>
                  <a:lnTo>
                    <a:pt x="12" y="834"/>
                  </a:lnTo>
                  <a:lnTo>
                    <a:pt x="0" y="828"/>
                  </a:lnTo>
                  <a:lnTo>
                    <a:pt x="0" y="822"/>
                  </a:lnTo>
                  <a:lnTo>
                    <a:pt x="0" y="816"/>
                  </a:lnTo>
                  <a:lnTo>
                    <a:pt x="0" y="810"/>
                  </a:lnTo>
                  <a:lnTo>
                    <a:pt x="6" y="804"/>
                  </a:lnTo>
                  <a:lnTo>
                    <a:pt x="12" y="804"/>
                  </a:lnTo>
                  <a:lnTo>
                    <a:pt x="12" y="798"/>
                  </a:lnTo>
                  <a:lnTo>
                    <a:pt x="12" y="792"/>
                  </a:lnTo>
                  <a:lnTo>
                    <a:pt x="6" y="792"/>
                  </a:lnTo>
                  <a:lnTo>
                    <a:pt x="6" y="786"/>
                  </a:lnTo>
                  <a:lnTo>
                    <a:pt x="6" y="780"/>
                  </a:lnTo>
                  <a:lnTo>
                    <a:pt x="18" y="780"/>
                  </a:lnTo>
                  <a:lnTo>
                    <a:pt x="18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0" y="774"/>
                  </a:lnTo>
                  <a:lnTo>
                    <a:pt x="36" y="768"/>
                  </a:lnTo>
                  <a:lnTo>
                    <a:pt x="42" y="768"/>
                  </a:lnTo>
                  <a:lnTo>
                    <a:pt x="60" y="750"/>
                  </a:lnTo>
                  <a:lnTo>
                    <a:pt x="60" y="744"/>
                  </a:lnTo>
                  <a:lnTo>
                    <a:pt x="54" y="738"/>
                  </a:lnTo>
                  <a:lnTo>
                    <a:pt x="60" y="732"/>
                  </a:lnTo>
                  <a:lnTo>
                    <a:pt x="54" y="732"/>
                  </a:lnTo>
                  <a:lnTo>
                    <a:pt x="60" y="726"/>
                  </a:lnTo>
                  <a:lnTo>
                    <a:pt x="66" y="720"/>
                  </a:lnTo>
                  <a:lnTo>
                    <a:pt x="72" y="714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84" y="696"/>
                  </a:lnTo>
                  <a:lnTo>
                    <a:pt x="90" y="684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66"/>
                  </a:lnTo>
                  <a:lnTo>
                    <a:pt x="90" y="660"/>
                  </a:lnTo>
                  <a:lnTo>
                    <a:pt x="84" y="654"/>
                  </a:lnTo>
                  <a:lnTo>
                    <a:pt x="84" y="648"/>
                  </a:lnTo>
                  <a:lnTo>
                    <a:pt x="78" y="636"/>
                  </a:lnTo>
                  <a:lnTo>
                    <a:pt x="66" y="630"/>
                  </a:lnTo>
                  <a:lnTo>
                    <a:pt x="66" y="624"/>
                  </a:lnTo>
                  <a:lnTo>
                    <a:pt x="60" y="624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60" y="600"/>
                  </a:lnTo>
                  <a:lnTo>
                    <a:pt x="66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6" y="588"/>
                  </a:lnTo>
                  <a:lnTo>
                    <a:pt x="66" y="582"/>
                  </a:lnTo>
                  <a:lnTo>
                    <a:pt x="72" y="582"/>
                  </a:lnTo>
                  <a:lnTo>
                    <a:pt x="78" y="576"/>
                  </a:lnTo>
                  <a:lnTo>
                    <a:pt x="72" y="576"/>
                  </a:lnTo>
                  <a:lnTo>
                    <a:pt x="66" y="570"/>
                  </a:lnTo>
                  <a:lnTo>
                    <a:pt x="72" y="564"/>
                  </a:lnTo>
                  <a:lnTo>
                    <a:pt x="78" y="558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90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102" y="516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0" y="504"/>
                  </a:lnTo>
                  <a:lnTo>
                    <a:pt x="120" y="498"/>
                  </a:lnTo>
                  <a:lnTo>
                    <a:pt x="120" y="492"/>
                  </a:lnTo>
                  <a:lnTo>
                    <a:pt x="126" y="480"/>
                  </a:lnTo>
                  <a:lnTo>
                    <a:pt x="132" y="474"/>
                  </a:lnTo>
                  <a:lnTo>
                    <a:pt x="132" y="468"/>
                  </a:lnTo>
                  <a:lnTo>
                    <a:pt x="138" y="462"/>
                  </a:lnTo>
                  <a:lnTo>
                    <a:pt x="138" y="456"/>
                  </a:lnTo>
                  <a:lnTo>
                    <a:pt x="138" y="450"/>
                  </a:lnTo>
                  <a:lnTo>
                    <a:pt x="144" y="444"/>
                  </a:lnTo>
                  <a:lnTo>
                    <a:pt x="162" y="438"/>
                  </a:lnTo>
                  <a:lnTo>
                    <a:pt x="186" y="438"/>
                  </a:lnTo>
                  <a:lnTo>
                    <a:pt x="210" y="444"/>
                  </a:lnTo>
                  <a:lnTo>
                    <a:pt x="276" y="450"/>
                  </a:lnTo>
                  <a:lnTo>
                    <a:pt x="342" y="450"/>
                  </a:lnTo>
                  <a:lnTo>
                    <a:pt x="348" y="450"/>
                  </a:lnTo>
                  <a:lnTo>
                    <a:pt x="354" y="450"/>
                  </a:lnTo>
                  <a:lnTo>
                    <a:pt x="360" y="456"/>
                  </a:lnTo>
                  <a:lnTo>
                    <a:pt x="354" y="462"/>
                  </a:lnTo>
                  <a:lnTo>
                    <a:pt x="354" y="468"/>
                  </a:lnTo>
                  <a:lnTo>
                    <a:pt x="354" y="474"/>
                  </a:lnTo>
                  <a:lnTo>
                    <a:pt x="348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48" y="498"/>
                  </a:lnTo>
                  <a:lnTo>
                    <a:pt x="342" y="510"/>
                  </a:lnTo>
                  <a:lnTo>
                    <a:pt x="348" y="528"/>
                  </a:lnTo>
                  <a:lnTo>
                    <a:pt x="348" y="534"/>
                  </a:lnTo>
                  <a:lnTo>
                    <a:pt x="354" y="552"/>
                  </a:lnTo>
                  <a:lnTo>
                    <a:pt x="366" y="546"/>
                  </a:lnTo>
                  <a:lnTo>
                    <a:pt x="372" y="540"/>
                  </a:lnTo>
                  <a:lnTo>
                    <a:pt x="384" y="540"/>
                  </a:lnTo>
                  <a:lnTo>
                    <a:pt x="396" y="534"/>
                  </a:lnTo>
                  <a:lnTo>
                    <a:pt x="402" y="534"/>
                  </a:lnTo>
                  <a:lnTo>
                    <a:pt x="414" y="546"/>
                  </a:lnTo>
                  <a:lnTo>
                    <a:pt x="432" y="540"/>
                  </a:lnTo>
                  <a:lnTo>
                    <a:pt x="450" y="534"/>
                  </a:lnTo>
                  <a:lnTo>
                    <a:pt x="450" y="528"/>
                  </a:lnTo>
                  <a:lnTo>
                    <a:pt x="456" y="528"/>
                  </a:lnTo>
                  <a:lnTo>
                    <a:pt x="456" y="522"/>
                  </a:lnTo>
                  <a:lnTo>
                    <a:pt x="456" y="516"/>
                  </a:lnTo>
                  <a:lnTo>
                    <a:pt x="462" y="516"/>
                  </a:lnTo>
                  <a:lnTo>
                    <a:pt x="468" y="510"/>
                  </a:lnTo>
                  <a:lnTo>
                    <a:pt x="468" y="504"/>
                  </a:lnTo>
                  <a:lnTo>
                    <a:pt x="474" y="504"/>
                  </a:lnTo>
                  <a:lnTo>
                    <a:pt x="480" y="504"/>
                  </a:lnTo>
                  <a:lnTo>
                    <a:pt x="486" y="498"/>
                  </a:lnTo>
                  <a:lnTo>
                    <a:pt x="492" y="498"/>
                  </a:lnTo>
                  <a:lnTo>
                    <a:pt x="486" y="480"/>
                  </a:lnTo>
                  <a:lnTo>
                    <a:pt x="492" y="462"/>
                  </a:lnTo>
                  <a:lnTo>
                    <a:pt x="498" y="444"/>
                  </a:lnTo>
                  <a:lnTo>
                    <a:pt x="498" y="426"/>
                  </a:lnTo>
                  <a:lnTo>
                    <a:pt x="498" y="420"/>
                  </a:lnTo>
                  <a:lnTo>
                    <a:pt x="504" y="426"/>
                  </a:lnTo>
                  <a:lnTo>
                    <a:pt x="504" y="420"/>
                  </a:lnTo>
                  <a:lnTo>
                    <a:pt x="510" y="420"/>
                  </a:lnTo>
                  <a:lnTo>
                    <a:pt x="510" y="414"/>
                  </a:lnTo>
                  <a:lnTo>
                    <a:pt x="510" y="408"/>
                  </a:lnTo>
                  <a:lnTo>
                    <a:pt x="504" y="402"/>
                  </a:lnTo>
                  <a:lnTo>
                    <a:pt x="504" y="396"/>
                  </a:lnTo>
                  <a:lnTo>
                    <a:pt x="504" y="384"/>
                  </a:lnTo>
                  <a:lnTo>
                    <a:pt x="504" y="378"/>
                  </a:lnTo>
                  <a:lnTo>
                    <a:pt x="504" y="360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510" y="348"/>
                  </a:lnTo>
                  <a:lnTo>
                    <a:pt x="510" y="336"/>
                  </a:lnTo>
                  <a:lnTo>
                    <a:pt x="516" y="330"/>
                  </a:lnTo>
                  <a:lnTo>
                    <a:pt x="522" y="324"/>
                  </a:lnTo>
                  <a:lnTo>
                    <a:pt x="528" y="318"/>
                  </a:lnTo>
                  <a:lnTo>
                    <a:pt x="534" y="312"/>
                  </a:lnTo>
                  <a:lnTo>
                    <a:pt x="534" y="300"/>
                  </a:lnTo>
                  <a:lnTo>
                    <a:pt x="540" y="294"/>
                  </a:lnTo>
                  <a:lnTo>
                    <a:pt x="546" y="288"/>
                  </a:lnTo>
                  <a:lnTo>
                    <a:pt x="552" y="276"/>
                  </a:lnTo>
                  <a:lnTo>
                    <a:pt x="558" y="264"/>
                  </a:lnTo>
                  <a:lnTo>
                    <a:pt x="558" y="258"/>
                  </a:lnTo>
                  <a:lnTo>
                    <a:pt x="558" y="252"/>
                  </a:lnTo>
                  <a:lnTo>
                    <a:pt x="558" y="246"/>
                  </a:lnTo>
                  <a:lnTo>
                    <a:pt x="564" y="246"/>
                  </a:lnTo>
                  <a:lnTo>
                    <a:pt x="564" y="240"/>
                  </a:lnTo>
                  <a:lnTo>
                    <a:pt x="570" y="234"/>
                  </a:lnTo>
                  <a:lnTo>
                    <a:pt x="564" y="216"/>
                  </a:lnTo>
                  <a:lnTo>
                    <a:pt x="564" y="210"/>
                  </a:lnTo>
                  <a:lnTo>
                    <a:pt x="570" y="210"/>
                  </a:lnTo>
                  <a:lnTo>
                    <a:pt x="570" y="204"/>
                  </a:lnTo>
                  <a:lnTo>
                    <a:pt x="570" y="198"/>
                  </a:lnTo>
                  <a:lnTo>
                    <a:pt x="582" y="180"/>
                  </a:lnTo>
                  <a:lnTo>
                    <a:pt x="582" y="174"/>
                  </a:lnTo>
                  <a:lnTo>
                    <a:pt x="582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606" y="150"/>
                  </a:lnTo>
                  <a:lnTo>
                    <a:pt x="612" y="150"/>
                  </a:lnTo>
                  <a:lnTo>
                    <a:pt x="618" y="150"/>
                  </a:lnTo>
                  <a:lnTo>
                    <a:pt x="624" y="138"/>
                  </a:lnTo>
                  <a:lnTo>
                    <a:pt x="618" y="132"/>
                  </a:lnTo>
                  <a:lnTo>
                    <a:pt x="618" y="126"/>
                  </a:lnTo>
                  <a:lnTo>
                    <a:pt x="618" y="120"/>
                  </a:lnTo>
                  <a:lnTo>
                    <a:pt x="618" y="114"/>
                  </a:lnTo>
                  <a:lnTo>
                    <a:pt x="612" y="108"/>
                  </a:lnTo>
                  <a:lnTo>
                    <a:pt x="612" y="102"/>
                  </a:lnTo>
                  <a:lnTo>
                    <a:pt x="618" y="90"/>
                  </a:lnTo>
                  <a:lnTo>
                    <a:pt x="624" y="84"/>
                  </a:lnTo>
                  <a:lnTo>
                    <a:pt x="618" y="84"/>
                  </a:lnTo>
                  <a:lnTo>
                    <a:pt x="618" y="78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0" y="72"/>
                  </a:lnTo>
                  <a:lnTo>
                    <a:pt x="600" y="66"/>
                  </a:lnTo>
                  <a:lnTo>
                    <a:pt x="600" y="60"/>
                  </a:lnTo>
                  <a:lnTo>
                    <a:pt x="600" y="48"/>
                  </a:lnTo>
                  <a:lnTo>
                    <a:pt x="612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36"/>
                  </a:lnTo>
                  <a:lnTo>
                    <a:pt x="630" y="30"/>
                  </a:lnTo>
                  <a:lnTo>
                    <a:pt x="636" y="24"/>
                  </a:lnTo>
                  <a:lnTo>
                    <a:pt x="642" y="24"/>
                  </a:lnTo>
                  <a:lnTo>
                    <a:pt x="648" y="24"/>
                  </a:lnTo>
                  <a:lnTo>
                    <a:pt x="648" y="18"/>
                  </a:lnTo>
                  <a:lnTo>
                    <a:pt x="654" y="12"/>
                  </a:lnTo>
                  <a:lnTo>
                    <a:pt x="660" y="0"/>
                  </a:lnTo>
                  <a:lnTo>
                    <a:pt x="678" y="0"/>
                  </a:lnTo>
                  <a:lnTo>
                    <a:pt x="696" y="0"/>
                  </a:lnTo>
                  <a:lnTo>
                    <a:pt x="702" y="0"/>
                  </a:lnTo>
                  <a:lnTo>
                    <a:pt x="714" y="0"/>
                  </a:lnTo>
                  <a:lnTo>
                    <a:pt x="720" y="6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44" y="24"/>
                  </a:lnTo>
                  <a:lnTo>
                    <a:pt x="744" y="30"/>
                  </a:lnTo>
                  <a:lnTo>
                    <a:pt x="732" y="42"/>
                  </a:lnTo>
                  <a:lnTo>
                    <a:pt x="726" y="42"/>
                  </a:lnTo>
                  <a:lnTo>
                    <a:pt x="720" y="42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54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90"/>
                  </a:lnTo>
                  <a:lnTo>
                    <a:pt x="726" y="84"/>
                  </a:lnTo>
                  <a:lnTo>
                    <a:pt x="738" y="84"/>
                  </a:lnTo>
                  <a:lnTo>
                    <a:pt x="750" y="96"/>
                  </a:lnTo>
                  <a:lnTo>
                    <a:pt x="768" y="96"/>
                  </a:lnTo>
                  <a:lnTo>
                    <a:pt x="768" y="90"/>
                  </a:lnTo>
                  <a:lnTo>
                    <a:pt x="774" y="84"/>
                  </a:lnTo>
                  <a:lnTo>
                    <a:pt x="780" y="78"/>
                  </a:lnTo>
                  <a:lnTo>
                    <a:pt x="786" y="78"/>
                  </a:lnTo>
                  <a:lnTo>
                    <a:pt x="792" y="72"/>
                  </a:lnTo>
                  <a:lnTo>
                    <a:pt x="804" y="72"/>
                  </a:lnTo>
                  <a:lnTo>
                    <a:pt x="804" y="66"/>
                  </a:lnTo>
                  <a:lnTo>
                    <a:pt x="810" y="66"/>
                  </a:lnTo>
                  <a:lnTo>
                    <a:pt x="810" y="72"/>
                  </a:lnTo>
                  <a:lnTo>
                    <a:pt x="816" y="66"/>
                  </a:lnTo>
                  <a:lnTo>
                    <a:pt x="828" y="66"/>
                  </a:lnTo>
                  <a:lnTo>
                    <a:pt x="834" y="72"/>
                  </a:lnTo>
                  <a:lnTo>
                    <a:pt x="840" y="72"/>
                  </a:lnTo>
                  <a:lnTo>
                    <a:pt x="840" y="78"/>
                  </a:lnTo>
                  <a:lnTo>
                    <a:pt x="840" y="84"/>
                  </a:lnTo>
                  <a:lnTo>
                    <a:pt x="852" y="84"/>
                  </a:lnTo>
                  <a:lnTo>
                    <a:pt x="858" y="96"/>
                  </a:lnTo>
                  <a:lnTo>
                    <a:pt x="864" y="108"/>
                  </a:lnTo>
                  <a:lnTo>
                    <a:pt x="876" y="114"/>
                  </a:lnTo>
                  <a:lnTo>
                    <a:pt x="894" y="114"/>
                  </a:lnTo>
                  <a:lnTo>
                    <a:pt x="906" y="114"/>
                  </a:lnTo>
                  <a:lnTo>
                    <a:pt x="906" y="126"/>
                  </a:lnTo>
                  <a:lnTo>
                    <a:pt x="912" y="144"/>
                  </a:lnTo>
                  <a:lnTo>
                    <a:pt x="930" y="138"/>
                  </a:lnTo>
                  <a:lnTo>
                    <a:pt x="936" y="138"/>
                  </a:lnTo>
                  <a:lnTo>
                    <a:pt x="942" y="144"/>
                  </a:lnTo>
                  <a:lnTo>
                    <a:pt x="948" y="150"/>
                  </a:lnTo>
                  <a:lnTo>
                    <a:pt x="954" y="156"/>
                  </a:lnTo>
                  <a:lnTo>
                    <a:pt x="954" y="168"/>
                  </a:lnTo>
                  <a:lnTo>
                    <a:pt x="954" y="174"/>
                  </a:lnTo>
                  <a:lnTo>
                    <a:pt x="960" y="180"/>
                  </a:lnTo>
                  <a:lnTo>
                    <a:pt x="966" y="186"/>
                  </a:lnTo>
                  <a:lnTo>
                    <a:pt x="960" y="186"/>
                  </a:lnTo>
                  <a:lnTo>
                    <a:pt x="966" y="192"/>
                  </a:lnTo>
                  <a:lnTo>
                    <a:pt x="966" y="198"/>
                  </a:lnTo>
                  <a:lnTo>
                    <a:pt x="978" y="204"/>
                  </a:lnTo>
                  <a:lnTo>
                    <a:pt x="1050" y="186"/>
                  </a:lnTo>
                  <a:lnTo>
                    <a:pt x="1056" y="198"/>
                  </a:lnTo>
                  <a:lnTo>
                    <a:pt x="1068" y="210"/>
                  </a:lnTo>
                  <a:lnTo>
                    <a:pt x="1074" y="216"/>
                  </a:lnTo>
                  <a:lnTo>
                    <a:pt x="1080" y="252"/>
                  </a:lnTo>
                  <a:lnTo>
                    <a:pt x="1086" y="270"/>
                  </a:lnTo>
                  <a:lnTo>
                    <a:pt x="1092" y="282"/>
                  </a:lnTo>
                  <a:lnTo>
                    <a:pt x="1086" y="300"/>
                  </a:lnTo>
                  <a:lnTo>
                    <a:pt x="1074" y="330"/>
                  </a:lnTo>
                  <a:lnTo>
                    <a:pt x="1068" y="336"/>
                  </a:lnTo>
                  <a:lnTo>
                    <a:pt x="1062" y="348"/>
                  </a:lnTo>
                  <a:lnTo>
                    <a:pt x="1062" y="360"/>
                  </a:lnTo>
                  <a:lnTo>
                    <a:pt x="1068" y="378"/>
                  </a:lnTo>
                  <a:lnTo>
                    <a:pt x="1074" y="390"/>
                  </a:lnTo>
                  <a:lnTo>
                    <a:pt x="1068" y="396"/>
                  </a:lnTo>
                  <a:lnTo>
                    <a:pt x="1068" y="408"/>
                  </a:lnTo>
                  <a:lnTo>
                    <a:pt x="1062" y="414"/>
                  </a:lnTo>
                  <a:lnTo>
                    <a:pt x="1050" y="432"/>
                  </a:lnTo>
                  <a:lnTo>
                    <a:pt x="1044" y="450"/>
                  </a:lnTo>
                  <a:lnTo>
                    <a:pt x="1038" y="456"/>
                  </a:lnTo>
                  <a:lnTo>
                    <a:pt x="1026" y="468"/>
                  </a:lnTo>
                  <a:lnTo>
                    <a:pt x="1026" y="474"/>
                  </a:lnTo>
                  <a:lnTo>
                    <a:pt x="1026" y="480"/>
                  </a:lnTo>
                  <a:lnTo>
                    <a:pt x="1032" y="492"/>
                  </a:lnTo>
                  <a:lnTo>
                    <a:pt x="1044" y="504"/>
                  </a:lnTo>
                  <a:lnTo>
                    <a:pt x="1044" y="516"/>
                  </a:lnTo>
                  <a:lnTo>
                    <a:pt x="1038" y="528"/>
                  </a:lnTo>
                  <a:lnTo>
                    <a:pt x="1032" y="546"/>
                  </a:lnTo>
                  <a:lnTo>
                    <a:pt x="1032" y="570"/>
                  </a:lnTo>
                  <a:lnTo>
                    <a:pt x="1050" y="594"/>
                  </a:lnTo>
                  <a:lnTo>
                    <a:pt x="1056" y="624"/>
                  </a:lnTo>
                  <a:lnTo>
                    <a:pt x="1056" y="65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9" name="Freeform 24">
              <a:extLst>
                <a:ext uri="{FF2B5EF4-FFF2-40B4-BE49-F238E27FC236}">
                  <a16:creationId xmlns:a16="http://schemas.microsoft.com/office/drawing/2014/main" id="{CAE689DA-332A-4F73-BDE6-8865C9170AA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84829" y="3213406"/>
              <a:ext cx="851989" cy="744754"/>
            </a:xfrm>
            <a:custGeom>
              <a:avLst/>
              <a:gdLst>
                <a:gd name="T0" fmla="*/ 116 w 1602"/>
                <a:gd name="T1" fmla="*/ 91 h 1404"/>
                <a:gd name="T2" fmla="*/ 111 w 1602"/>
                <a:gd name="T3" fmla="*/ 95 h 1404"/>
                <a:gd name="T4" fmla="*/ 102 w 1602"/>
                <a:gd name="T5" fmla="*/ 101 h 1404"/>
                <a:gd name="T6" fmla="*/ 99 w 1602"/>
                <a:gd name="T7" fmla="*/ 103 h 1404"/>
                <a:gd name="T8" fmla="*/ 96 w 1602"/>
                <a:gd name="T9" fmla="*/ 106 h 1404"/>
                <a:gd name="T10" fmla="*/ 93 w 1602"/>
                <a:gd name="T11" fmla="*/ 108 h 1404"/>
                <a:gd name="T12" fmla="*/ 88 w 1602"/>
                <a:gd name="T13" fmla="*/ 106 h 1404"/>
                <a:gd name="T14" fmla="*/ 86 w 1602"/>
                <a:gd name="T15" fmla="*/ 108 h 1404"/>
                <a:gd name="T16" fmla="*/ 81 w 1602"/>
                <a:gd name="T17" fmla="*/ 119 h 1404"/>
                <a:gd name="T18" fmla="*/ 71 w 1602"/>
                <a:gd name="T19" fmla="*/ 109 h 1404"/>
                <a:gd name="T20" fmla="*/ 72 w 1602"/>
                <a:gd name="T21" fmla="*/ 101 h 1404"/>
                <a:gd name="T22" fmla="*/ 74 w 1602"/>
                <a:gd name="T23" fmla="*/ 93 h 1404"/>
                <a:gd name="T24" fmla="*/ 73 w 1602"/>
                <a:gd name="T25" fmla="*/ 82 h 1404"/>
                <a:gd name="T26" fmla="*/ 64 w 1602"/>
                <a:gd name="T27" fmla="*/ 79 h 1404"/>
                <a:gd name="T28" fmla="*/ 59 w 1602"/>
                <a:gd name="T29" fmla="*/ 75 h 1404"/>
                <a:gd name="T30" fmla="*/ 54 w 1602"/>
                <a:gd name="T31" fmla="*/ 71 h 1404"/>
                <a:gd name="T32" fmla="*/ 51 w 1602"/>
                <a:gd name="T33" fmla="*/ 70 h 1404"/>
                <a:gd name="T34" fmla="*/ 45 w 1602"/>
                <a:gd name="T35" fmla="*/ 71 h 1404"/>
                <a:gd name="T36" fmla="*/ 43 w 1602"/>
                <a:gd name="T37" fmla="*/ 68 h 1404"/>
                <a:gd name="T38" fmla="*/ 43 w 1602"/>
                <a:gd name="T39" fmla="*/ 64 h 1404"/>
                <a:gd name="T40" fmla="*/ 36 w 1602"/>
                <a:gd name="T41" fmla="*/ 66 h 1404"/>
                <a:gd name="T42" fmla="*/ 31 w 1602"/>
                <a:gd name="T43" fmla="*/ 55 h 1404"/>
                <a:gd name="T44" fmla="*/ 25 w 1602"/>
                <a:gd name="T45" fmla="*/ 53 h 1404"/>
                <a:gd name="T46" fmla="*/ 19 w 1602"/>
                <a:gd name="T47" fmla="*/ 51 h 1404"/>
                <a:gd name="T48" fmla="*/ 17 w 1602"/>
                <a:gd name="T49" fmla="*/ 43 h 1404"/>
                <a:gd name="T50" fmla="*/ 17 w 1602"/>
                <a:gd name="T51" fmla="*/ 39 h 1404"/>
                <a:gd name="T52" fmla="*/ 12 w 1602"/>
                <a:gd name="T53" fmla="*/ 39 h 1404"/>
                <a:gd name="T54" fmla="*/ 10 w 1602"/>
                <a:gd name="T55" fmla="*/ 35 h 1404"/>
                <a:gd name="T56" fmla="*/ 5 w 1602"/>
                <a:gd name="T57" fmla="*/ 30 h 1404"/>
                <a:gd name="T58" fmla="*/ 3 w 1602"/>
                <a:gd name="T59" fmla="*/ 27 h 1404"/>
                <a:gd name="T60" fmla="*/ 2 w 1602"/>
                <a:gd name="T61" fmla="*/ 25 h 1404"/>
                <a:gd name="T62" fmla="*/ 0 w 1602"/>
                <a:gd name="T63" fmla="*/ 22 h 1404"/>
                <a:gd name="T64" fmla="*/ 8 w 1602"/>
                <a:gd name="T65" fmla="*/ 14 h 1404"/>
                <a:gd name="T66" fmla="*/ 16 w 1602"/>
                <a:gd name="T67" fmla="*/ 16 h 1404"/>
                <a:gd name="T68" fmla="*/ 31 w 1602"/>
                <a:gd name="T69" fmla="*/ 18 h 1404"/>
                <a:gd name="T70" fmla="*/ 43 w 1602"/>
                <a:gd name="T71" fmla="*/ 17 h 1404"/>
                <a:gd name="T72" fmla="*/ 47 w 1602"/>
                <a:gd name="T73" fmla="*/ 6 h 1404"/>
                <a:gd name="T74" fmla="*/ 52 w 1602"/>
                <a:gd name="T75" fmla="*/ 0 h 1404"/>
                <a:gd name="T76" fmla="*/ 55 w 1602"/>
                <a:gd name="T77" fmla="*/ 3 h 1404"/>
                <a:gd name="T78" fmla="*/ 59 w 1602"/>
                <a:gd name="T79" fmla="*/ 9 h 1404"/>
                <a:gd name="T80" fmla="*/ 62 w 1602"/>
                <a:gd name="T81" fmla="*/ 16 h 1404"/>
                <a:gd name="T82" fmla="*/ 66 w 1602"/>
                <a:gd name="T83" fmla="*/ 20 h 1404"/>
                <a:gd name="T84" fmla="*/ 70 w 1602"/>
                <a:gd name="T85" fmla="*/ 25 h 1404"/>
                <a:gd name="T86" fmla="*/ 74 w 1602"/>
                <a:gd name="T87" fmla="*/ 30 h 1404"/>
                <a:gd name="T88" fmla="*/ 76 w 1602"/>
                <a:gd name="T89" fmla="*/ 27 h 1404"/>
                <a:gd name="T90" fmla="*/ 78 w 1602"/>
                <a:gd name="T91" fmla="*/ 27 h 1404"/>
                <a:gd name="T92" fmla="*/ 78 w 1602"/>
                <a:gd name="T93" fmla="*/ 23 h 1404"/>
                <a:gd name="T94" fmla="*/ 82 w 1602"/>
                <a:gd name="T95" fmla="*/ 20 h 1404"/>
                <a:gd name="T96" fmla="*/ 82 w 1602"/>
                <a:gd name="T97" fmla="*/ 18 h 1404"/>
                <a:gd name="T98" fmla="*/ 90 w 1602"/>
                <a:gd name="T99" fmla="*/ 24 h 1404"/>
                <a:gd name="T100" fmla="*/ 90 w 1602"/>
                <a:gd name="T101" fmla="*/ 45 h 1404"/>
                <a:gd name="T102" fmla="*/ 104 w 1602"/>
                <a:gd name="T103" fmla="*/ 41 h 1404"/>
                <a:gd name="T104" fmla="*/ 117 w 1602"/>
                <a:gd name="T105" fmla="*/ 39 h 1404"/>
                <a:gd name="T106" fmla="*/ 125 w 1602"/>
                <a:gd name="T107" fmla="*/ 39 h 1404"/>
                <a:gd name="T108" fmla="*/ 127 w 1602"/>
                <a:gd name="T109" fmla="*/ 43 h 1404"/>
                <a:gd name="T110" fmla="*/ 131 w 1602"/>
                <a:gd name="T111" fmla="*/ 53 h 1404"/>
                <a:gd name="T112" fmla="*/ 133 w 1602"/>
                <a:gd name="T113" fmla="*/ 60 h 1404"/>
                <a:gd name="T114" fmla="*/ 138 w 1602"/>
                <a:gd name="T115" fmla="*/ 73 h 1404"/>
                <a:gd name="T116" fmla="*/ 136 w 1602"/>
                <a:gd name="T117" fmla="*/ 80 h 1404"/>
                <a:gd name="T118" fmla="*/ 129 w 1602"/>
                <a:gd name="T119" fmla="*/ 87 h 1404"/>
                <a:gd name="T120" fmla="*/ 123 w 1602"/>
                <a:gd name="T121" fmla="*/ 95 h 14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02"/>
                <a:gd name="T184" fmla="*/ 0 h 1404"/>
                <a:gd name="T185" fmla="*/ 1602 w 1602"/>
                <a:gd name="T186" fmla="*/ 1404 h 14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02" h="1404">
                  <a:moveTo>
                    <a:pt x="1392" y="1080"/>
                  </a:moveTo>
                  <a:lnTo>
                    <a:pt x="1380" y="1074"/>
                  </a:lnTo>
                  <a:lnTo>
                    <a:pt x="1368" y="1056"/>
                  </a:lnTo>
                  <a:lnTo>
                    <a:pt x="1356" y="1044"/>
                  </a:lnTo>
                  <a:lnTo>
                    <a:pt x="1344" y="1038"/>
                  </a:lnTo>
                  <a:lnTo>
                    <a:pt x="1338" y="1038"/>
                  </a:lnTo>
                  <a:lnTo>
                    <a:pt x="1332" y="1038"/>
                  </a:lnTo>
                  <a:lnTo>
                    <a:pt x="1326" y="1044"/>
                  </a:lnTo>
                  <a:lnTo>
                    <a:pt x="1320" y="1044"/>
                  </a:lnTo>
                  <a:lnTo>
                    <a:pt x="1314" y="1044"/>
                  </a:lnTo>
                  <a:lnTo>
                    <a:pt x="1296" y="1056"/>
                  </a:lnTo>
                  <a:lnTo>
                    <a:pt x="1296" y="1080"/>
                  </a:lnTo>
                  <a:lnTo>
                    <a:pt x="1290" y="1080"/>
                  </a:lnTo>
                  <a:lnTo>
                    <a:pt x="1284" y="1086"/>
                  </a:lnTo>
                  <a:lnTo>
                    <a:pt x="1278" y="1086"/>
                  </a:lnTo>
                  <a:lnTo>
                    <a:pt x="1278" y="1092"/>
                  </a:lnTo>
                  <a:lnTo>
                    <a:pt x="1272" y="1092"/>
                  </a:lnTo>
                  <a:lnTo>
                    <a:pt x="1266" y="1086"/>
                  </a:lnTo>
                  <a:lnTo>
                    <a:pt x="1260" y="1086"/>
                  </a:lnTo>
                  <a:lnTo>
                    <a:pt x="1260" y="1098"/>
                  </a:lnTo>
                  <a:lnTo>
                    <a:pt x="1248" y="1098"/>
                  </a:lnTo>
                  <a:lnTo>
                    <a:pt x="1212" y="1116"/>
                  </a:lnTo>
                  <a:lnTo>
                    <a:pt x="1206" y="1158"/>
                  </a:lnTo>
                  <a:lnTo>
                    <a:pt x="1176" y="1164"/>
                  </a:lnTo>
                  <a:lnTo>
                    <a:pt x="1158" y="1164"/>
                  </a:lnTo>
                  <a:lnTo>
                    <a:pt x="1152" y="1164"/>
                  </a:lnTo>
                  <a:lnTo>
                    <a:pt x="1152" y="1170"/>
                  </a:lnTo>
                  <a:lnTo>
                    <a:pt x="1152" y="1176"/>
                  </a:lnTo>
                  <a:lnTo>
                    <a:pt x="1146" y="1176"/>
                  </a:lnTo>
                  <a:lnTo>
                    <a:pt x="1140" y="1176"/>
                  </a:lnTo>
                  <a:lnTo>
                    <a:pt x="1134" y="1182"/>
                  </a:lnTo>
                  <a:lnTo>
                    <a:pt x="1134" y="1188"/>
                  </a:lnTo>
                  <a:lnTo>
                    <a:pt x="1128" y="1194"/>
                  </a:lnTo>
                  <a:lnTo>
                    <a:pt x="1122" y="1194"/>
                  </a:lnTo>
                  <a:lnTo>
                    <a:pt x="1116" y="1194"/>
                  </a:lnTo>
                  <a:lnTo>
                    <a:pt x="1110" y="1200"/>
                  </a:lnTo>
                  <a:lnTo>
                    <a:pt x="1110" y="1206"/>
                  </a:lnTo>
                  <a:lnTo>
                    <a:pt x="1104" y="1212"/>
                  </a:lnTo>
                  <a:lnTo>
                    <a:pt x="1104" y="1218"/>
                  </a:lnTo>
                  <a:lnTo>
                    <a:pt x="1098" y="1224"/>
                  </a:lnTo>
                  <a:lnTo>
                    <a:pt x="1092" y="1230"/>
                  </a:lnTo>
                  <a:lnTo>
                    <a:pt x="1086" y="1230"/>
                  </a:lnTo>
                  <a:lnTo>
                    <a:pt x="1080" y="1230"/>
                  </a:lnTo>
                  <a:lnTo>
                    <a:pt x="1080" y="1242"/>
                  </a:lnTo>
                  <a:lnTo>
                    <a:pt x="1074" y="1242"/>
                  </a:lnTo>
                  <a:lnTo>
                    <a:pt x="1068" y="1242"/>
                  </a:lnTo>
                  <a:lnTo>
                    <a:pt x="1068" y="1236"/>
                  </a:lnTo>
                  <a:lnTo>
                    <a:pt x="1062" y="1242"/>
                  </a:lnTo>
                  <a:lnTo>
                    <a:pt x="1056" y="1236"/>
                  </a:lnTo>
                  <a:lnTo>
                    <a:pt x="1050" y="1242"/>
                  </a:lnTo>
                  <a:lnTo>
                    <a:pt x="1050" y="1236"/>
                  </a:lnTo>
                  <a:lnTo>
                    <a:pt x="1044" y="1194"/>
                  </a:lnTo>
                  <a:lnTo>
                    <a:pt x="1032" y="1194"/>
                  </a:lnTo>
                  <a:lnTo>
                    <a:pt x="1032" y="1200"/>
                  </a:lnTo>
                  <a:lnTo>
                    <a:pt x="1026" y="1200"/>
                  </a:lnTo>
                  <a:lnTo>
                    <a:pt x="1014" y="1218"/>
                  </a:lnTo>
                  <a:lnTo>
                    <a:pt x="1014" y="1224"/>
                  </a:lnTo>
                  <a:lnTo>
                    <a:pt x="1014" y="1236"/>
                  </a:lnTo>
                  <a:lnTo>
                    <a:pt x="1014" y="1242"/>
                  </a:lnTo>
                  <a:lnTo>
                    <a:pt x="1008" y="1242"/>
                  </a:lnTo>
                  <a:lnTo>
                    <a:pt x="1002" y="1236"/>
                  </a:lnTo>
                  <a:lnTo>
                    <a:pt x="1002" y="1230"/>
                  </a:lnTo>
                  <a:lnTo>
                    <a:pt x="996" y="1236"/>
                  </a:lnTo>
                  <a:lnTo>
                    <a:pt x="990" y="1236"/>
                  </a:lnTo>
                  <a:lnTo>
                    <a:pt x="990" y="1230"/>
                  </a:lnTo>
                  <a:lnTo>
                    <a:pt x="984" y="1236"/>
                  </a:lnTo>
                  <a:lnTo>
                    <a:pt x="978" y="1248"/>
                  </a:lnTo>
                  <a:lnTo>
                    <a:pt x="972" y="1254"/>
                  </a:lnTo>
                  <a:lnTo>
                    <a:pt x="966" y="1260"/>
                  </a:lnTo>
                  <a:lnTo>
                    <a:pt x="930" y="1284"/>
                  </a:lnTo>
                  <a:lnTo>
                    <a:pt x="942" y="1356"/>
                  </a:lnTo>
                  <a:lnTo>
                    <a:pt x="930" y="1368"/>
                  </a:lnTo>
                  <a:lnTo>
                    <a:pt x="852" y="1404"/>
                  </a:lnTo>
                  <a:lnTo>
                    <a:pt x="834" y="1392"/>
                  </a:lnTo>
                  <a:lnTo>
                    <a:pt x="834" y="1362"/>
                  </a:lnTo>
                  <a:lnTo>
                    <a:pt x="828" y="1332"/>
                  </a:lnTo>
                  <a:lnTo>
                    <a:pt x="810" y="1308"/>
                  </a:lnTo>
                  <a:lnTo>
                    <a:pt x="810" y="1284"/>
                  </a:lnTo>
                  <a:lnTo>
                    <a:pt x="816" y="1266"/>
                  </a:lnTo>
                  <a:lnTo>
                    <a:pt x="822" y="1254"/>
                  </a:lnTo>
                  <a:lnTo>
                    <a:pt x="822" y="1242"/>
                  </a:lnTo>
                  <a:lnTo>
                    <a:pt x="810" y="1230"/>
                  </a:lnTo>
                  <a:lnTo>
                    <a:pt x="804" y="1218"/>
                  </a:lnTo>
                  <a:lnTo>
                    <a:pt x="804" y="1212"/>
                  </a:lnTo>
                  <a:lnTo>
                    <a:pt x="804" y="1206"/>
                  </a:lnTo>
                  <a:lnTo>
                    <a:pt x="816" y="1194"/>
                  </a:lnTo>
                  <a:lnTo>
                    <a:pt x="822" y="1188"/>
                  </a:lnTo>
                  <a:lnTo>
                    <a:pt x="828" y="1170"/>
                  </a:lnTo>
                  <a:lnTo>
                    <a:pt x="840" y="1152"/>
                  </a:lnTo>
                  <a:lnTo>
                    <a:pt x="846" y="1146"/>
                  </a:lnTo>
                  <a:lnTo>
                    <a:pt x="846" y="1134"/>
                  </a:lnTo>
                  <a:lnTo>
                    <a:pt x="852" y="1128"/>
                  </a:lnTo>
                  <a:lnTo>
                    <a:pt x="846" y="1116"/>
                  </a:lnTo>
                  <a:lnTo>
                    <a:pt x="840" y="1098"/>
                  </a:lnTo>
                  <a:lnTo>
                    <a:pt x="840" y="1086"/>
                  </a:lnTo>
                  <a:lnTo>
                    <a:pt x="846" y="1074"/>
                  </a:lnTo>
                  <a:lnTo>
                    <a:pt x="852" y="1068"/>
                  </a:lnTo>
                  <a:lnTo>
                    <a:pt x="864" y="1038"/>
                  </a:lnTo>
                  <a:lnTo>
                    <a:pt x="870" y="1020"/>
                  </a:lnTo>
                  <a:lnTo>
                    <a:pt x="864" y="1008"/>
                  </a:lnTo>
                  <a:lnTo>
                    <a:pt x="858" y="990"/>
                  </a:lnTo>
                  <a:lnTo>
                    <a:pt x="852" y="954"/>
                  </a:lnTo>
                  <a:lnTo>
                    <a:pt x="846" y="948"/>
                  </a:lnTo>
                  <a:lnTo>
                    <a:pt x="834" y="936"/>
                  </a:lnTo>
                  <a:lnTo>
                    <a:pt x="828" y="924"/>
                  </a:lnTo>
                  <a:lnTo>
                    <a:pt x="756" y="942"/>
                  </a:lnTo>
                  <a:lnTo>
                    <a:pt x="744" y="936"/>
                  </a:lnTo>
                  <a:lnTo>
                    <a:pt x="744" y="930"/>
                  </a:lnTo>
                  <a:lnTo>
                    <a:pt x="738" y="924"/>
                  </a:lnTo>
                  <a:lnTo>
                    <a:pt x="744" y="924"/>
                  </a:lnTo>
                  <a:lnTo>
                    <a:pt x="738" y="918"/>
                  </a:lnTo>
                  <a:lnTo>
                    <a:pt x="732" y="912"/>
                  </a:lnTo>
                  <a:lnTo>
                    <a:pt x="732" y="906"/>
                  </a:lnTo>
                  <a:lnTo>
                    <a:pt x="732" y="894"/>
                  </a:lnTo>
                  <a:lnTo>
                    <a:pt x="726" y="888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6"/>
                  </a:lnTo>
                  <a:lnTo>
                    <a:pt x="690" y="882"/>
                  </a:lnTo>
                  <a:lnTo>
                    <a:pt x="684" y="864"/>
                  </a:lnTo>
                  <a:lnTo>
                    <a:pt x="684" y="852"/>
                  </a:lnTo>
                  <a:lnTo>
                    <a:pt x="672" y="852"/>
                  </a:lnTo>
                  <a:lnTo>
                    <a:pt x="654" y="852"/>
                  </a:lnTo>
                  <a:lnTo>
                    <a:pt x="642" y="846"/>
                  </a:lnTo>
                  <a:lnTo>
                    <a:pt x="636" y="834"/>
                  </a:lnTo>
                  <a:lnTo>
                    <a:pt x="630" y="822"/>
                  </a:lnTo>
                  <a:lnTo>
                    <a:pt x="618" y="822"/>
                  </a:lnTo>
                  <a:lnTo>
                    <a:pt x="618" y="816"/>
                  </a:lnTo>
                  <a:lnTo>
                    <a:pt x="618" y="810"/>
                  </a:lnTo>
                  <a:lnTo>
                    <a:pt x="612" y="810"/>
                  </a:lnTo>
                  <a:lnTo>
                    <a:pt x="606" y="804"/>
                  </a:lnTo>
                  <a:lnTo>
                    <a:pt x="594" y="804"/>
                  </a:lnTo>
                  <a:lnTo>
                    <a:pt x="588" y="810"/>
                  </a:lnTo>
                  <a:lnTo>
                    <a:pt x="588" y="804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70" y="810"/>
                  </a:lnTo>
                  <a:lnTo>
                    <a:pt x="564" y="816"/>
                  </a:lnTo>
                  <a:lnTo>
                    <a:pt x="558" y="816"/>
                  </a:lnTo>
                  <a:lnTo>
                    <a:pt x="552" y="822"/>
                  </a:lnTo>
                  <a:lnTo>
                    <a:pt x="546" y="828"/>
                  </a:lnTo>
                  <a:lnTo>
                    <a:pt x="546" y="834"/>
                  </a:lnTo>
                  <a:lnTo>
                    <a:pt x="528" y="834"/>
                  </a:lnTo>
                  <a:lnTo>
                    <a:pt x="516" y="822"/>
                  </a:lnTo>
                  <a:lnTo>
                    <a:pt x="504" y="822"/>
                  </a:lnTo>
                  <a:lnTo>
                    <a:pt x="492" y="82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6" y="792"/>
                  </a:lnTo>
                  <a:lnTo>
                    <a:pt x="492" y="786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504" y="780"/>
                  </a:lnTo>
                  <a:lnTo>
                    <a:pt x="510" y="780"/>
                  </a:lnTo>
                  <a:lnTo>
                    <a:pt x="522" y="768"/>
                  </a:lnTo>
                  <a:lnTo>
                    <a:pt x="522" y="762"/>
                  </a:lnTo>
                  <a:lnTo>
                    <a:pt x="504" y="756"/>
                  </a:lnTo>
                  <a:lnTo>
                    <a:pt x="498" y="756"/>
                  </a:lnTo>
                  <a:lnTo>
                    <a:pt x="498" y="744"/>
                  </a:lnTo>
                  <a:lnTo>
                    <a:pt x="492" y="738"/>
                  </a:lnTo>
                  <a:lnTo>
                    <a:pt x="480" y="738"/>
                  </a:lnTo>
                  <a:lnTo>
                    <a:pt x="474" y="738"/>
                  </a:lnTo>
                  <a:lnTo>
                    <a:pt x="456" y="738"/>
                  </a:lnTo>
                  <a:lnTo>
                    <a:pt x="438" y="738"/>
                  </a:lnTo>
                  <a:lnTo>
                    <a:pt x="432" y="750"/>
                  </a:lnTo>
                  <a:lnTo>
                    <a:pt x="426" y="756"/>
                  </a:lnTo>
                  <a:lnTo>
                    <a:pt x="426" y="762"/>
                  </a:lnTo>
                  <a:lnTo>
                    <a:pt x="420" y="762"/>
                  </a:lnTo>
                  <a:lnTo>
                    <a:pt x="408" y="744"/>
                  </a:lnTo>
                  <a:lnTo>
                    <a:pt x="408" y="732"/>
                  </a:lnTo>
                  <a:lnTo>
                    <a:pt x="390" y="714"/>
                  </a:lnTo>
                  <a:lnTo>
                    <a:pt x="384" y="702"/>
                  </a:lnTo>
                  <a:lnTo>
                    <a:pt x="384" y="690"/>
                  </a:lnTo>
                  <a:lnTo>
                    <a:pt x="372" y="690"/>
                  </a:lnTo>
                  <a:lnTo>
                    <a:pt x="366" y="660"/>
                  </a:lnTo>
                  <a:lnTo>
                    <a:pt x="354" y="630"/>
                  </a:lnTo>
                  <a:lnTo>
                    <a:pt x="348" y="630"/>
                  </a:lnTo>
                  <a:lnTo>
                    <a:pt x="336" y="630"/>
                  </a:lnTo>
                  <a:lnTo>
                    <a:pt x="330" y="630"/>
                  </a:lnTo>
                  <a:lnTo>
                    <a:pt x="318" y="630"/>
                  </a:lnTo>
                  <a:lnTo>
                    <a:pt x="312" y="624"/>
                  </a:lnTo>
                  <a:lnTo>
                    <a:pt x="306" y="624"/>
                  </a:lnTo>
                  <a:lnTo>
                    <a:pt x="294" y="618"/>
                  </a:lnTo>
                  <a:lnTo>
                    <a:pt x="288" y="612"/>
                  </a:lnTo>
                  <a:lnTo>
                    <a:pt x="276" y="600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58" y="588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8"/>
                  </a:lnTo>
                  <a:lnTo>
                    <a:pt x="216" y="582"/>
                  </a:lnTo>
                  <a:lnTo>
                    <a:pt x="210" y="588"/>
                  </a:lnTo>
                  <a:lnTo>
                    <a:pt x="198" y="582"/>
                  </a:lnTo>
                  <a:lnTo>
                    <a:pt x="180" y="582"/>
                  </a:lnTo>
                  <a:lnTo>
                    <a:pt x="174" y="552"/>
                  </a:lnTo>
                  <a:lnTo>
                    <a:pt x="168" y="504"/>
                  </a:lnTo>
                  <a:lnTo>
                    <a:pt x="186" y="504"/>
                  </a:lnTo>
                  <a:lnTo>
                    <a:pt x="192" y="504"/>
                  </a:lnTo>
                  <a:lnTo>
                    <a:pt x="192" y="498"/>
                  </a:lnTo>
                  <a:lnTo>
                    <a:pt x="192" y="492"/>
                  </a:lnTo>
                  <a:lnTo>
                    <a:pt x="192" y="486"/>
                  </a:lnTo>
                  <a:lnTo>
                    <a:pt x="198" y="486"/>
                  </a:lnTo>
                  <a:lnTo>
                    <a:pt x="198" y="480"/>
                  </a:lnTo>
                  <a:lnTo>
                    <a:pt x="204" y="474"/>
                  </a:lnTo>
                  <a:lnTo>
                    <a:pt x="210" y="468"/>
                  </a:lnTo>
                  <a:lnTo>
                    <a:pt x="198" y="462"/>
                  </a:lnTo>
                  <a:lnTo>
                    <a:pt x="192" y="444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32"/>
                  </a:lnTo>
                  <a:lnTo>
                    <a:pt x="168" y="438"/>
                  </a:lnTo>
                  <a:lnTo>
                    <a:pt x="150" y="450"/>
                  </a:lnTo>
                  <a:lnTo>
                    <a:pt x="144" y="456"/>
                  </a:lnTo>
                  <a:lnTo>
                    <a:pt x="132" y="456"/>
                  </a:lnTo>
                  <a:lnTo>
                    <a:pt x="126" y="468"/>
                  </a:lnTo>
                  <a:lnTo>
                    <a:pt x="114" y="468"/>
                  </a:lnTo>
                  <a:lnTo>
                    <a:pt x="108" y="468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14"/>
                  </a:lnTo>
                  <a:lnTo>
                    <a:pt x="108" y="396"/>
                  </a:lnTo>
                  <a:lnTo>
                    <a:pt x="120" y="396"/>
                  </a:lnTo>
                  <a:lnTo>
                    <a:pt x="126" y="384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84" y="354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0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60" y="318"/>
                  </a:lnTo>
                  <a:lnTo>
                    <a:pt x="42" y="324"/>
                  </a:lnTo>
                  <a:lnTo>
                    <a:pt x="36" y="318"/>
                  </a:lnTo>
                  <a:lnTo>
                    <a:pt x="36" y="312"/>
                  </a:lnTo>
                  <a:lnTo>
                    <a:pt x="36" y="306"/>
                  </a:lnTo>
                  <a:lnTo>
                    <a:pt x="36" y="300"/>
                  </a:lnTo>
                  <a:lnTo>
                    <a:pt x="30" y="300"/>
                  </a:lnTo>
                  <a:lnTo>
                    <a:pt x="30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24" y="276"/>
                  </a:lnTo>
                  <a:lnTo>
                    <a:pt x="18" y="276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18" y="234"/>
                  </a:lnTo>
                  <a:lnTo>
                    <a:pt x="30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42" y="192"/>
                  </a:lnTo>
                  <a:lnTo>
                    <a:pt x="66" y="186"/>
                  </a:lnTo>
                  <a:lnTo>
                    <a:pt x="90" y="156"/>
                  </a:lnTo>
                  <a:lnTo>
                    <a:pt x="102" y="144"/>
                  </a:lnTo>
                  <a:lnTo>
                    <a:pt x="138" y="150"/>
                  </a:lnTo>
                  <a:lnTo>
                    <a:pt x="162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0" y="180"/>
                  </a:lnTo>
                  <a:lnTo>
                    <a:pt x="174" y="180"/>
                  </a:lnTo>
                  <a:lnTo>
                    <a:pt x="180" y="186"/>
                  </a:lnTo>
                  <a:lnTo>
                    <a:pt x="186" y="186"/>
                  </a:lnTo>
                  <a:lnTo>
                    <a:pt x="198" y="192"/>
                  </a:lnTo>
                  <a:lnTo>
                    <a:pt x="216" y="198"/>
                  </a:lnTo>
                  <a:lnTo>
                    <a:pt x="252" y="204"/>
                  </a:lnTo>
                  <a:lnTo>
                    <a:pt x="258" y="210"/>
                  </a:lnTo>
                  <a:lnTo>
                    <a:pt x="306" y="216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84" y="210"/>
                  </a:lnTo>
                  <a:lnTo>
                    <a:pt x="408" y="222"/>
                  </a:lnTo>
                  <a:lnTo>
                    <a:pt x="438" y="228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86" y="222"/>
                  </a:lnTo>
                  <a:lnTo>
                    <a:pt x="492" y="210"/>
                  </a:lnTo>
                  <a:lnTo>
                    <a:pt x="492" y="198"/>
                  </a:lnTo>
                  <a:lnTo>
                    <a:pt x="486" y="180"/>
                  </a:lnTo>
                  <a:lnTo>
                    <a:pt x="492" y="162"/>
                  </a:lnTo>
                  <a:lnTo>
                    <a:pt x="510" y="96"/>
                  </a:lnTo>
                  <a:lnTo>
                    <a:pt x="516" y="84"/>
                  </a:lnTo>
                  <a:lnTo>
                    <a:pt x="522" y="84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34" y="72"/>
                  </a:lnTo>
                  <a:lnTo>
                    <a:pt x="534" y="60"/>
                  </a:lnTo>
                  <a:lnTo>
                    <a:pt x="540" y="36"/>
                  </a:lnTo>
                  <a:lnTo>
                    <a:pt x="546" y="6"/>
                  </a:lnTo>
                  <a:lnTo>
                    <a:pt x="558" y="6"/>
                  </a:lnTo>
                  <a:lnTo>
                    <a:pt x="564" y="0"/>
                  </a:lnTo>
                  <a:lnTo>
                    <a:pt x="582" y="0"/>
                  </a:lnTo>
                  <a:lnTo>
                    <a:pt x="588" y="0"/>
                  </a:lnTo>
                  <a:lnTo>
                    <a:pt x="594" y="6"/>
                  </a:lnTo>
                  <a:lnTo>
                    <a:pt x="600" y="12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24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36" y="36"/>
                  </a:lnTo>
                  <a:lnTo>
                    <a:pt x="642" y="36"/>
                  </a:lnTo>
                  <a:lnTo>
                    <a:pt x="642" y="42"/>
                  </a:lnTo>
                  <a:lnTo>
                    <a:pt x="648" y="54"/>
                  </a:lnTo>
                  <a:lnTo>
                    <a:pt x="660" y="72"/>
                  </a:lnTo>
                  <a:lnTo>
                    <a:pt x="666" y="78"/>
                  </a:lnTo>
                  <a:lnTo>
                    <a:pt x="672" y="90"/>
                  </a:lnTo>
                  <a:lnTo>
                    <a:pt x="678" y="102"/>
                  </a:lnTo>
                  <a:lnTo>
                    <a:pt x="678" y="114"/>
                  </a:lnTo>
                  <a:lnTo>
                    <a:pt x="684" y="132"/>
                  </a:lnTo>
                  <a:lnTo>
                    <a:pt x="684" y="144"/>
                  </a:lnTo>
                  <a:lnTo>
                    <a:pt x="690" y="162"/>
                  </a:lnTo>
                  <a:lnTo>
                    <a:pt x="696" y="168"/>
                  </a:lnTo>
                  <a:lnTo>
                    <a:pt x="696" y="180"/>
                  </a:lnTo>
                  <a:lnTo>
                    <a:pt x="702" y="186"/>
                  </a:lnTo>
                  <a:lnTo>
                    <a:pt x="708" y="186"/>
                  </a:lnTo>
                  <a:lnTo>
                    <a:pt x="714" y="198"/>
                  </a:lnTo>
                  <a:lnTo>
                    <a:pt x="720" y="198"/>
                  </a:lnTo>
                  <a:lnTo>
                    <a:pt x="732" y="204"/>
                  </a:lnTo>
                  <a:lnTo>
                    <a:pt x="738" y="210"/>
                  </a:lnTo>
                  <a:lnTo>
                    <a:pt x="738" y="216"/>
                  </a:lnTo>
                  <a:lnTo>
                    <a:pt x="744" y="222"/>
                  </a:lnTo>
                  <a:lnTo>
                    <a:pt x="750" y="228"/>
                  </a:lnTo>
                  <a:lnTo>
                    <a:pt x="756" y="228"/>
                  </a:lnTo>
                  <a:lnTo>
                    <a:pt x="768" y="240"/>
                  </a:lnTo>
                  <a:lnTo>
                    <a:pt x="774" y="252"/>
                  </a:lnTo>
                  <a:lnTo>
                    <a:pt x="780" y="258"/>
                  </a:lnTo>
                  <a:lnTo>
                    <a:pt x="786" y="258"/>
                  </a:lnTo>
                  <a:lnTo>
                    <a:pt x="798" y="264"/>
                  </a:lnTo>
                  <a:lnTo>
                    <a:pt x="798" y="270"/>
                  </a:lnTo>
                  <a:lnTo>
                    <a:pt x="798" y="276"/>
                  </a:lnTo>
                  <a:lnTo>
                    <a:pt x="810" y="288"/>
                  </a:lnTo>
                  <a:lnTo>
                    <a:pt x="816" y="288"/>
                  </a:lnTo>
                  <a:lnTo>
                    <a:pt x="816" y="300"/>
                  </a:lnTo>
                  <a:lnTo>
                    <a:pt x="816" y="306"/>
                  </a:lnTo>
                  <a:lnTo>
                    <a:pt x="822" y="318"/>
                  </a:lnTo>
                  <a:lnTo>
                    <a:pt x="828" y="324"/>
                  </a:lnTo>
                  <a:lnTo>
                    <a:pt x="834" y="330"/>
                  </a:lnTo>
                  <a:lnTo>
                    <a:pt x="846" y="336"/>
                  </a:lnTo>
                  <a:lnTo>
                    <a:pt x="846" y="342"/>
                  </a:lnTo>
                  <a:lnTo>
                    <a:pt x="852" y="348"/>
                  </a:lnTo>
                  <a:lnTo>
                    <a:pt x="852" y="354"/>
                  </a:lnTo>
                  <a:lnTo>
                    <a:pt x="858" y="354"/>
                  </a:lnTo>
                  <a:lnTo>
                    <a:pt x="858" y="348"/>
                  </a:lnTo>
                  <a:lnTo>
                    <a:pt x="864" y="342"/>
                  </a:lnTo>
                  <a:lnTo>
                    <a:pt x="864" y="336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76" y="306"/>
                  </a:lnTo>
                  <a:lnTo>
                    <a:pt x="870" y="300"/>
                  </a:lnTo>
                  <a:lnTo>
                    <a:pt x="870" y="294"/>
                  </a:lnTo>
                  <a:lnTo>
                    <a:pt x="876" y="294"/>
                  </a:lnTo>
                  <a:lnTo>
                    <a:pt x="882" y="300"/>
                  </a:lnTo>
                  <a:lnTo>
                    <a:pt x="888" y="300"/>
                  </a:lnTo>
                  <a:lnTo>
                    <a:pt x="888" y="306"/>
                  </a:lnTo>
                  <a:lnTo>
                    <a:pt x="894" y="300"/>
                  </a:lnTo>
                  <a:lnTo>
                    <a:pt x="900" y="294"/>
                  </a:lnTo>
                  <a:lnTo>
                    <a:pt x="894" y="288"/>
                  </a:lnTo>
                  <a:lnTo>
                    <a:pt x="888" y="282"/>
                  </a:lnTo>
                  <a:lnTo>
                    <a:pt x="888" y="276"/>
                  </a:lnTo>
                  <a:lnTo>
                    <a:pt x="894" y="276"/>
                  </a:lnTo>
                  <a:lnTo>
                    <a:pt x="900" y="276"/>
                  </a:lnTo>
                  <a:lnTo>
                    <a:pt x="900" y="270"/>
                  </a:lnTo>
                  <a:lnTo>
                    <a:pt x="906" y="264"/>
                  </a:lnTo>
                  <a:lnTo>
                    <a:pt x="906" y="258"/>
                  </a:lnTo>
                  <a:lnTo>
                    <a:pt x="918" y="264"/>
                  </a:lnTo>
                  <a:lnTo>
                    <a:pt x="918" y="258"/>
                  </a:lnTo>
                  <a:lnTo>
                    <a:pt x="924" y="252"/>
                  </a:lnTo>
                  <a:lnTo>
                    <a:pt x="930" y="252"/>
                  </a:lnTo>
                  <a:lnTo>
                    <a:pt x="930" y="246"/>
                  </a:lnTo>
                  <a:lnTo>
                    <a:pt x="936" y="234"/>
                  </a:lnTo>
                  <a:lnTo>
                    <a:pt x="942" y="228"/>
                  </a:lnTo>
                  <a:lnTo>
                    <a:pt x="942" y="222"/>
                  </a:lnTo>
                  <a:lnTo>
                    <a:pt x="948" y="222"/>
                  </a:lnTo>
                  <a:lnTo>
                    <a:pt x="948" y="216"/>
                  </a:lnTo>
                  <a:lnTo>
                    <a:pt x="942" y="216"/>
                  </a:lnTo>
                  <a:lnTo>
                    <a:pt x="936" y="216"/>
                  </a:lnTo>
                  <a:lnTo>
                    <a:pt x="936" y="210"/>
                  </a:lnTo>
                  <a:lnTo>
                    <a:pt x="942" y="210"/>
                  </a:lnTo>
                  <a:lnTo>
                    <a:pt x="972" y="210"/>
                  </a:lnTo>
                  <a:lnTo>
                    <a:pt x="1032" y="216"/>
                  </a:lnTo>
                  <a:lnTo>
                    <a:pt x="1068" y="216"/>
                  </a:lnTo>
                  <a:lnTo>
                    <a:pt x="1056" y="234"/>
                  </a:lnTo>
                  <a:lnTo>
                    <a:pt x="1050" y="240"/>
                  </a:lnTo>
                  <a:lnTo>
                    <a:pt x="1044" y="246"/>
                  </a:lnTo>
                  <a:lnTo>
                    <a:pt x="1038" y="246"/>
                  </a:lnTo>
                  <a:lnTo>
                    <a:pt x="1026" y="282"/>
                  </a:lnTo>
                  <a:lnTo>
                    <a:pt x="1032" y="306"/>
                  </a:lnTo>
                  <a:lnTo>
                    <a:pt x="1044" y="324"/>
                  </a:lnTo>
                  <a:lnTo>
                    <a:pt x="1044" y="342"/>
                  </a:lnTo>
                  <a:lnTo>
                    <a:pt x="1062" y="366"/>
                  </a:lnTo>
                  <a:lnTo>
                    <a:pt x="1056" y="396"/>
                  </a:lnTo>
                  <a:lnTo>
                    <a:pt x="1038" y="462"/>
                  </a:lnTo>
                  <a:lnTo>
                    <a:pt x="1038" y="498"/>
                  </a:lnTo>
                  <a:lnTo>
                    <a:pt x="1038" y="522"/>
                  </a:lnTo>
                  <a:lnTo>
                    <a:pt x="1038" y="534"/>
                  </a:lnTo>
                  <a:lnTo>
                    <a:pt x="1056" y="522"/>
                  </a:lnTo>
                  <a:lnTo>
                    <a:pt x="1098" y="504"/>
                  </a:lnTo>
                  <a:lnTo>
                    <a:pt x="1104" y="498"/>
                  </a:lnTo>
                  <a:lnTo>
                    <a:pt x="1128" y="492"/>
                  </a:lnTo>
                  <a:lnTo>
                    <a:pt x="1152" y="480"/>
                  </a:lnTo>
                  <a:lnTo>
                    <a:pt x="1170" y="474"/>
                  </a:lnTo>
                  <a:lnTo>
                    <a:pt x="1188" y="468"/>
                  </a:lnTo>
                  <a:lnTo>
                    <a:pt x="1200" y="462"/>
                  </a:lnTo>
                  <a:lnTo>
                    <a:pt x="1224" y="450"/>
                  </a:lnTo>
                  <a:lnTo>
                    <a:pt x="1248" y="450"/>
                  </a:lnTo>
                  <a:lnTo>
                    <a:pt x="1266" y="450"/>
                  </a:lnTo>
                  <a:lnTo>
                    <a:pt x="1296" y="456"/>
                  </a:lnTo>
                  <a:lnTo>
                    <a:pt x="1308" y="456"/>
                  </a:lnTo>
                  <a:lnTo>
                    <a:pt x="1326" y="456"/>
                  </a:lnTo>
                  <a:lnTo>
                    <a:pt x="1338" y="456"/>
                  </a:lnTo>
                  <a:lnTo>
                    <a:pt x="1350" y="462"/>
                  </a:lnTo>
                  <a:lnTo>
                    <a:pt x="1356" y="462"/>
                  </a:lnTo>
                  <a:lnTo>
                    <a:pt x="1374" y="456"/>
                  </a:lnTo>
                  <a:lnTo>
                    <a:pt x="1386" y="456"/>
                  </a:lnTo>
                  <a:lnTo>
                    <a:pt x="1392" y="456"/>
                  </a:lnTo>
                  <a:lnTo>
                    <a:pt x="1398" y="456"/>
                  </a:lnTo>
                  <a:lnTo>
                    <a:pt x="1422" y="456"/>
                  </a:lnTo>
                  <a:lnTo>
                    <a:pt x="1440" y="456"/>
                  </a:lnTo>
                  <a:lnTo>
                    <a:pt x="1446" y="456"/>
                  </a:lnTo>
                  <a:lnTo>
                    <a:pt x="1476" y="456"/>
                  </a:lnTo>
                  <a:lnTo>
                    <a:pt x="1470" y="468"/>
                  </a:lnTo>
                  <a:lnTo>
                    <a:pt x="1470" y="474"/>
                  </a:lnTo>
                  <a:lnTo>
                    <a:pt x="1470" y="486"/>
                  </a:lnTo>
                  <a:lnTo>
                    <a:pt x="1464" y="492"/>
                  </a:lnTo>
                  <a:lnTo>
                    <a:pt x="1464" y="498"/>
                  </a:lnTo>
                  <a:lnTo>
                    <a:pt x="1458" y="498"/>
                  </a:lnTo>
                  <a:lnTo>
                    <a:pt x="1458" y="510"/>
                  </a:lnTo>
                  <a:lnTo>
                    <a:pt x="1452" y="522"/>
                  </a:lnTo>
                  <a:lnTo>
                    <a:pt x="1458" y="528"/>
                  </a:lnTo>
                  <a:lnTo>
                    <a:pt x="1464" y="546"/>
                  </a:lnTo>
                  <a:lnTo>
                    <a:pt x="1470" y="552"/>
                  </a:lnTo>
                  <a:lnTo>
                    <a:pt x="1476" y="564"/>
                  </a:lnTo>
                  <a:lnTo>
                    <a:pt x="1488" y="588"/>
                  </a:lnTo>
                  <a:lnTo>
                    <a:pt x="1506" y="606"/>
                  </a:lnTo>
                  <a:lnTo>
                    <a:pt x="1506" y="612"/>
                  </a:lnTo>
                  <a:lnTo>
                    <a:pt x="1518" y="618"/>
                  </a:lnTo>
                  <a:lnTo>
                    <a:pt x="1512" y="630"/>
                  </a:lnTo>
                  <a:lnTo>
                    <a:pt x="1518" y="642"/>
                  </a:lnTo>
                  <a:lnTo>
                    <a:pt x="1518" y="648"/>
                  </a:lnTo>
                  <a:lnTo>
                    <a:pt x="1530" y="666"/>
                  </a:lnTo>
                  <a:lnTo>
                    <a:pt x="1518" y="672"/>
                  </a:lnTo>
                  <a:lnTo>
                    <a:pt x="1524" y="696"/>
                  </a:lnTo>
                  <a:lnTo>
                    <a:pt x="1518" y="732"/>
                  </a:lnTo>
                  <a:lnTo>
                    <a:pt x="1524" y="762"/>
                  </a:lnTo>
                  <a:lnTo>
                    <a:pt x="1524" y="780"/>
                  </a:lnTo>
                  <a:lnTo>
                    <a:pt x="1524" y="810"/>
                  </a:lnTo>
                  <a:lnTo>
                    <a:pt x="1530" y="834"/>
                  </a:lnTo>
                  <a:lnTo>
                    <a:pt x="1536" y="846"/>
                  </a:lnTo>
                  <a:lnTo>
                    <a:pt x="1542" y="846"/>
                  </a:lnTo>
                  <a:lnTo>
                    <a:pt x="1584" y="840"/>
                  </a:lnTo>
                  <a:lnTo>
                    <a:pt x="1590" y="846"/>
                  </a:lnTo>
                  <a:lnTo>
                    <a:pt x="1596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90" y="864"/>
                  </a:lnTo>
                  <a:lnTo>
                    <a:pt x="1578" y="882"/>
                  </a:lnTo>
                  <a:lnTo>
                    <a:pt x="1572" y="906"/>
                  </a:lnTo>
                  <a:lnTo>
                    <a:pt x="1560" y="924"/>
                  </a:lnTo>
                  <a:lnTo>
                    <a:pt x="1560" y="936"/>
                  </a:lnTo>
                  <a:lnTo>
                    <a:pt x="1548" y="960"/>
                  </a:lnTo>
                  <a:lnTo>
                    <a:pt x="1542" y="978"/>
                  </a:lnTo>
                  <a:lnTo>
                    <a:pt x="1536" y="990"/>
                  </a:lnTo>
                  <a:lnTo>
                    <a:pt x="1530" y="990"/>
                  </a:lnTo>
                  <a:lnTo>
                    <a:pt x="1506" y="996"/>
                  </a:lnTo>
                  <a:lnTo>
                    <a:pt x="1494" y="1002"/>
                  </a:lnTo>
                  <a:lnTo>
                    <a:pt x="1482" y="1002"/>
                  </a:lnTo>
                  <a:lnTo>
                    <a:pt x="1464" y="1008"/>
                  </a:lnTo>
                  <a:lnTo>
                    <a:pt x="1446" y="1026"/>
                  </a:lnTo>
                  <a:lnTo>
                    <a:pt x="1440" y="1026"/>
                  </a:lnTo>
                  <a:lnTo>
                    <a:pt x="1434" y="1038"/>
                  </a:lnTo>
                  <a:lnTo>
                    <a:pt x="1428" y="1044"/>
                  </a:lnTo>
                  <a:lnTo>
                    <a:pt x="1428" y="1062"/>
                  </a:lnTo>
                  <a:lnTo>
                    <a:pt x="1428" y="1086"/>
                  </a:lnTo>
                  <a:lnTo>
                    <a:pt x="1416" y="1092"/>
                  </a:lnTo>
                  <a:lnTo>
                    <a:pt x="1410" y="1080"/>
                  </a:lnTo>
                  <a:lnTo>
                    <a:pt x="1392" y="10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0" name="Freeform 25">
              <a:extLst>
                <a:ext uri="{FF2B5EF4-FFF2-40B4-BE49-F238E27FC236}">
                  <a16:creationId xmlns:a16="http://schemas.microsoft.com/office/drawing/2014/main" id="{39FDFF90-5ACF-4D65-81AD-C44D2CBE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70228" y="3063559"/>
              <a:ext cx="644023" cy="704498"/>
            </a:xfrm>
            <a:custGeom>
              <a:avLst/>
              <a:gdLst>
                <a:gd name="T0" fmla="*/ 74 w 1212"/>
                <a:gd name="T1" fmla="*/ 113 h 1326"/>
                <a:gd name="T2" fmla="*/ 60 w 1212"/>
                <a:gd name="T3" fmla="*/ 116 h 1326"/>
                <a:gd name="T4" fmla="*/ 62 w 1212"/>
                <a:gd name="T5" fmla="*/ 110 h 1326"/>
                <a:gd name="T6" fmla="*/ 60 w 1212"/>
                <a:gd name="T7" fmla="*/ 105 h 1326"/>
                <a:gd name="T8" fmla="*/ 52 w 1212"/>
                <a:gd name="T9" fmla="*/ 96 h 1326"/>
                <a:gd name="T10" fmla="*/ 47 w 1212"/>
                <a:gd name="T11" fmla="*/ 98 h 1326"/>
                <a:gd name="T12" fmla="*/ 44 w 1212"/>
                <a:gd name="T13" fmla="*/ 93 h 1326"/>
                <a:gd name="T14" fmla="*/ 40 w 1212"/>
                <a:gd name="T15" fmla="*/ 96 h 1326"/>
                <a:gd name="T16" fmla="*/ 35 w 1212"/>
                <a:gd name="T17" fmla="*/ 102 h 1326"/>
                <a:gd name="T18" fmla="*/ 27 w 1212"/>
                <a:gd name="T19" fmla="*/ 100 h 1326"/>
                <a:gd name="T20" fmla="*/ 23 w 1212"/>
                <a:gd name="T21" fmla="*/ 96 h 1326"/>
                <a:gd name="T22" fmla="*/ 20 w 1212"/>
                <a:gd name="T23" fmla="*/ 90 h 1326"/>
                <a:gd name="T24" fmla="*/ 18 w 1212"/>
                <a:gd name="T25" fmla="*/ 89 h 1326"/>
                <a:gd name="T26" fmla="*/ 18 w 1212"/>
                <a:gd name="T27" fmla="*/ 85 h 1326"/>
                <a:gd name="T28" fmla="*/ 19 w 1212"/>
                <a:gd name="T29" fmla="*/ 83 h 1326"/>
                <a:gd name="T30" fmla="*/ 19 w 1212"/>
                <a:gd name="T31" fmla="*/ 82 h 1326"/>
                <a:gd name="T32" fmla="*/ 20 w 1212"/>
                <a:gd name="T33" fmla="*/ 79 h 1326"/>
                <a:gd name="T34" fmla="*/ 19 w 1212"/>
                <a:gd name="T35" fmla="*/ 75 h 1326"/>
                <a:gd name="T36" fmla="*/ 17 w 1212"/>
                <a:gd name="T37" fmla="*/ 77 h 1326"/>
                <a:gd name="T38" fmla="*/ 14 w 1212"/>
                <a:gd name="T39" fmla="*/ 76 h 1326"/>
                <a:gd name="T40" fmla="*/ 12 w 1212"/>
                <a:gd name="T41" fmla="*/ 71 h 1326"/>
                <a:gd name="T42" fmla="*/ 8 w 1212"/>
                <a:gd name="T43" fmla="*/ 69 h 1326"/>
                <a:gd name="T44" fmla="*/ 0 w 1212"/>
                <a:gd name="T45" fmla="*/ 72 h 1326"/>
                <a:gd name="T46" fmla="*/ 2 w 1212"/>
                <a:gd name="T47" fmla="*/ 67 h 1326"/>
                <a:gd name="T48" fmla="*/ 3 w 1212"/>
                <a:gd name="T49" fmla="*/ 61 h 1326"/>
                <a:gd name="T50" fmla="*/ 4 w 1212"/>
                <a:gd name="T51" fmla="*/ 56 h 1326"/>
                <a:gd name="T52" fmla="*/ 4 w 1212"/>
                <a:gd name="T53" fmla="*/ 52 h 1326"/>
                <a:gd name="T54" fmla="*/ 2 w 1212"/>
                <a:gd name="T55" fmla="*/ 47 h 1326"/>
                <a:gd name="T56" fmla="*/ 2 w 1212"/>
                <a:gd name="T57" fmla="*/ 42 h 1326"/>
                <a:gd name="T58" fmla="*/ 5 w 1212"/>
                <a:gd name="T59" fmla="*/ 39 h 1326"/>
                <a:gd name="T60" fmla="*/ 5 w 1212"/>
                <a:gd name="T61" fmla="*/ 35 h 1326"/>
                <a:gd name="T62" fmla="*/ 7 w 1212"/>
                <a:gd name="T63" fmla="*/ 31 h 1326"/>
                <a:gd name="T64" fmla="*/ 14 w 1212"/>
                <a:gd name="T65" fmla="*/ 31 h 1326"/>
                <a:gd name="T66" fmla="*/ 18 w 1212"/>
                <a:gd name="T67" fmla="*/ 27 h 1326"/>
                <a:gd name="T68" fmla="*/ 22 w 1212"/>
                <a:gd name="T69" fmla="*/ 24 h 1326"/>
                <a:gd name="T70" fmla="*/ 27 w 1212"/>
                <a:gd name="T71" fmla="*/ 20 h 1326"/>
                <a:gd name="T72" fmla="*/ 35 w 1212"/>
                <a:gd name="T73" fmla="*/ 21 h 1326"/>
                <a:gd name="T74" fmla="*/ 61 w 1212"/>
                <a:gd name="T75" fmla="*/ 8 h 1326"/>
                <a:gd name="T76" fmla="*/ 73 w 1212"/>
                <a:gd name="T77" fmla="*/ 4 h 1326"/>
                <a:gd name="T78" fmla="*/ 86 w 1212"/>
                <a:gd name="T79" fmla="*/ 12 h 1326"/>
                <a:gd name="T80" fmla="*/ 92 w 1212"/>
                <a:gd name="T81" fmla="*/ 13 h 1326"/>
                <a:gd name="T82" fmla="*/ 86 w 1212"/>
                <a:gd name="T83" fmla="*/ 18 h 1326"/>
                <a:gd name="T84" fmla="*/ 88 w 1212"/>
                <a:gd name="T85" fmla="*/ 33 h 1326"/>
                <a:gd name="T86" fmla="*/ 97 w 1212"/>
                <a:gd name="T87" fmla="*/ 49 h 1326"/>
                <a:gd name="T88" fmla="*/ 102 w 1212"/>
                <a:gd name="T89" fmla="*/ 57 h 1326"/>
                <a:gd name="T90" fmla="*/ 104 w 1212"/>
                <a:gd name="T91" fmla="*/ 67 h 1326"/>
                <a:gd name="T92" fmla="*/ 101 w 1212"/>
                <a:gd name="T93" fmla="*/ 69 h 1326"/>
                <a:gd name="T94" fmla="*/ 97 w 1212"/>
                <a:gd name="T95" fmla="*/ 69 h 1326"/>
                <a:gd name="T96" fmla="*/ 96 w 1212"/>
                <a:gd name="T97" fmla="*/ 71 h 1326"/>
                <a:gd name="T98" fmla="*/ 93 w 1212"/>
                <a:gd name="T99" fmla="*/ 70 h 1326"/>
                <a:gd name="T100" fmla="*/ 86 w 1212"/>
                <a:gd name="T101" fmla="*/ 69 h 1326"/>
                <a:gd name="T102" fmla="*/ 82 w 1212"/>
                <a:gd name="T103" fmla="*/ 73 h 1326"/>
                <a:gd name="T104" fmla="*/ 79 w 1212"/>
                <a:gd name="T105" fmla="*/ 74 h 1326"/>
                <a:gd name="T106" fmla="*/ 78 w 1212"/>
                <a:gd name="T107" fmla="*/ 79 h 1326"/>
                <a:gd name="T108" fmla="*/ 78 w 1212"/>
                <a:gd name="T109" fmla="*/ 83 h 1326"/>
                <a:gd name="T110" fmla="*/ 82 w 1212"/>
                <a:gd name="T111" fmla="*/ 87 h 1326"/>
                <a:gd name="T112" fmla="*/ 83 w 1212"/>
                <a:gd name="T113" fmla="*/ 90 h 1326"/>
                <a:gd name="T114" fmla="*/ 82 w 1212"/>
                <a:gd name="T115" fmla="*/ 94 h 1326"/>
                <a:gd name="T116" fmla="*/ 82 w 1212"/>
                <a:gd name="T117" fmla="*/ 98 h 1326"/>
                <a:gd name="T118" fmla="*/ 82 w 1212"/>
                <a:gd name="T119" fmla="*/ 104 h 1326"/>
                <a:gd name="T120" fmla="*/ 78 w 1212"/>
                <a:gd name="T121" fmla="*/ 110 h 132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12"/>
                <a:gd name="T184" fmla="*/ 0 h 1326"/>
                <a:gd name="T185" fmla="*/ 1212 w 1212"/>
                <a:gd name="T186" fmla="*/ 1326 h 132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12" h="1326">
                  <a:moveTo>
                    <a:pt x="906" y="1290"/>
                  </a:moveTo>
                  <a:lnTo>
                    <a:pt x="906" y="1296"/>
                  </a:lnTo>
                  <a:lnTo>
                    <a:pt x="900" y="1296"/>
                  </a:lnTo>
                  <a:lnTo>
                    <a:pt x="876" y="1290"/>
                  </a:lnTo>
                  <a:lnTo>
                    <a:pt x="870" y="1290"/>
                  </a:lnTo>
                  <a:lnTo>
                    <a:pt x="864" y="1296"/>
                  </a:lnTo>
                  <a:lnTo>
                    <a:pt x="852" y="1296"/>
                  </a:lnTo>
                  <a:lnTo>
                    <a:pt x="840" y="1302"/>
                  </a:lnTo>
                  <a:lnTo>
                    <a:pt x="834" y="1308"/>
                  </a:lnTo>
                  <a:lnTo>
                    <a:pt x="822" y="1320"/>
                  </a:lnTo>
                  <a:lnTo>
                    <a:pt x="816" y="1320"/>
                  </a:lnTo>
                  <a:lnTo>
                    <a:pt x="732" y="1320"/>
                  </a:lnTo>
                  <a:lnTo>
                    <a:pt x="696" y="1320"/>
                  </a:lnTo>
                  <a:lnTo>
                    <a:pt x="690" y="1326"/>
                  </a:lnTo>
                  <a:lnTo>
                    <a:pt x="678" y="1326"/>
                  </a:lnTo>
                  <a:lnTo>
                    <a:pt x="672" y="1308"/>
                  </a:lnTo>
                  <a:lnTo>
                    <a:pt x="696" y="1302"/>
                  </a:lnTo>
                  <a:lnTo>
                    <a:pt x="708" y="1296"/>
                  </a:lnTo>
                  <a:lnTo>
                    <a:pt x="720" y="1284"/>
                  </a:lnTo>
                  <a:lnTo>
                    <a:pt x="714" y="1278"/>
                  </a:lnTo>
                  <a:lnTo>
                    <a:pt x="714" y="1266"/>
                  </a:lnTo>
                  <a:lnTo>
                    <a:pt x="708" y="1260"/>
                  </a:lnTo>
                  <a:lnTo>
                    <a:pt x="708" y="1254"/>
                  </a:lnTo>
                  <a:lnTo>
                    <a:pt x="708" y="1248"/>
                  </a:lnTo>
                  <a:lnTo>
                    <a:pt x="702" y="1236"/>
                  </a:lnTo>
                  <a:lnTo>
                    <a:pt x="702" y="1230"/>
                  </a:lnTo>
                  <a:lnTo>
                    <a:pt x="702" y="1218"/>
                  </a:lnTo>
                  <a:lnTo>
                    <a:pt x="696" y="1200"/>
                  </a:lnTo>
                  <a:lnTo>
                    <a:pt x="696" y="1182"/>
                  </a:lnTo>
                  <a:lnTo>
                    <a:pt x="666" y="1182"/>
                  </a:lnTo>
                  <a:lnTo>
                    <a:pt x="672" y="1134"/>
                  </a:lnTo>
                  <a:lnTo>
                    <a:pt x="666" y="1128"/>
                  </a:lnTo>
                  <a:lnTo>
                    <a:pt x="660" y="1092"/>
                  </a:lnTo>
                  <a:lnTo>
                    <a:pt x="654" y="1098"/>
                  </a:lnTo>
                  <a:lnTo>
                    <a:pt x="594" y="1098"/>
                  </a:lnTo>
                  <a:lnTo>
                    <a:pt x="576" y="1098"/>
                  </a:lnTo>
                  <a:lnTo>
                    <a:pt x="570" y="1104"/>
                  </a:lnTo>
                  <a:lnTo>
                    <a:pt x="564" y="1110"/>
                  </a:lnTo>
                  <a:lnTo>
                    <a:pt x="558" y="1110"/>
                  </a:lnTo>
                  <a:lnTo>
                    <a:pt x="552" y="1110"/>
                  </a:lnTo>
                  <a:lnTo>
                    <a:pt x="546" y="1110"/>
                  </a:lnTo>
                  <a:lnTo>
                    <a:pt x="546" y="1116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10" y="1128"/>
                  </a:lnTo>
                  <a:lnTo>
                    <a:pt x="522" y="1104"/>
                  </a:lnTo>
                  <a:lnTo>
                    <a:pt x="510" y="1098"/>
                  </a:lnTo>
                  <a:lnTo>
                    <a:pt x="510" y="1074"/>
                  </a:lnTo>
                  <a:lnTo>
                    <a:pt x="504" y="1068"/>
                  </a:lnTo>
                  <a:lnTo>
                    <a:pt x="498" y="1068"/>
                  </a:lnTo>
                  <a:lnTo>
                    <a:pt x="492" y="1068"/>
                  </a:lnTo>
                  <a:lnTo>
                    <a:pt x="474" y="1080"/>
                  </a:lnTo>
                  <a:lnTo>
                    <a:pt x="474" y="1086"/>
                  </a:lnTo>
                  <a:lnTo>
                    <a:pt x="474" y="1092"/>
                  </a:lnTo>
                  <a:lnTo>
                    <a:pt x="468" y="1098"/>
                  </a:lnTo>
                  <a:lnTo>
                    <a:pt x="462" y="1104"/>
                  </a:lnTo>
                  <a:lnTo>
                    <a:pt x="456" y="1110"/>
                  </a:lnTo>
                  <a:lnTo>
                    <a:pt x="456" y="1122"/>
                  </a:lnTo>
                  <a:lnTo>
                    <a:pt x="456" y="1128"/>
                  </a:lnTo>
                  <a:lnTo>
                    <a:pt x="450" y="1140"/>
                  </a:lnTo>
                  <a:lnTo>
                    <a:pt x="444" y="1146"/>
                  </a:lnTo>
                  <a:lnTo>
                    <a:pt x="426" y="1170"/>
                  </a:lnTo>
                  <a:lnTo>
                    <a:pt x="408" y="1176"/>
                  </a:lnTo>
                  <a:lnTo>
                    <a:pt x="402" y="1170"/>
                  </a:lnTo>
                  <a:lnTo>
                    <a:pt x="396" y="1170"/>
                  </a:lnTo>
                  <a:lnTo>
                    <a:pt x="396" y="1158"/>
                  </a:lnTo>
                  <a:lnTo>
                    <a:pt x="384" y="1152"/>
                  </a:lnTo>
                  <a:lnTo>
                    <a:pt x="372" y="1140"/>
                  </a:lnTo>
                  <a:lnTo>
                    <a:pt x="354" y="1140"/>
                  </a:lnTo>
                  <a:lnTo>
                    <a:pt x="306" y="1146"/>
                  </a:lnTo>
                  <a:lnTo>
                    <a:pt x="294" y="1134"/>
                  </a:lnTo>
                  <a:lnTo>
                    <a:pt x="294" y="1128"/>
                  </a:lnTo>
                  <a:lnTo>
                    <a:pt x="288" y="1122"/>
                  </a:lnTo>
                  <a:lnTo>
                    <a:pt x="276" y="1122"/>
                  </a:lnTo>
                  <a:lnTo>
                    <a:pt x="276" y="1110"/>
                  </a:lnTo>
                  <a:lnTo>
                    <a:pt x="276" y="1104"/>
                  </a:lnTo>
                  <a:lnTo>
                    <a:pt x="270" y="1098"/>
                  </a:lnTo>
                  <a:lnTo>
                    <a:pt x="264" y="1086"/>
                  </a:lnTo>
                  <a:lnTo>
                    <a:pt x="264" y="1074"/>
                  </a:lnTo>
                  <a:lnTo>
                    <a:pt x="258" y="1068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34" y="1038"/>
                  </a:lnTo>
                  <a:lnTo>
                    <a:pt x="228" y="1038"/>
                  </a:lnTo>
                  <a:lnTo>
                    <a:pt x="222" y="1038"/>
                  </a:lnTo>
                  <a:lnTo>
                    <a:pt x="216" y="1038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0"/>
                  </a:lnTo>
                  <a:lnTo>
                    <a:pt x="204" y="1014"/>
                  </a:lnTo>
                  <a:lnTo>
                    <a:pt x="204" y="1008"/>
                  </a:lnTo>
                  <a:lnTo>
                    <a:pt x="198" y="1002"/>
                  </a:lnTo>
                  <a:lnTo>
                    <a:pt x="198" y="996"/>
                  </a:lnTo>
                  <a:lnTo>
                    <a:pt x="198" y="990"/>
                  </a:lnTo>
                  <a:lnTo>
                    <a:pt x="204" y="990"/>
                  </a:lnTo>
                  <a:lnTo>
                    <a:pt x="204" y="984"/>
                  </a:lnTo>
                  <a:lnTo>
                    <a:pt x="210" y="978"/>
                  </a:lnTo>
                  <a:lnTo>
                    <a:pt x="210" y="972"/>
                  </a:lnTo>
                  <a:lnTo>
                    <a:pt x="210" y="966"/>
                  </a:lnTo>
                  <a:lnTo>
                    <a:pt x="216" y="960"/>
                  </a:lnTo>
                  <a:lnTo>
                    <a:pt x="216" y="954"/>
                  </a:lnTo>
                  <a:lnTo>
                    <a:pt x="210" y="954"/>
                  </a:lnTo>
                  <a:lnTo>
                    <a:pt x="204" y="954"/>
                  </a:lnTo>
                  <a:lnTo>
                    <a:pt x="216" y="954"/>
                  </a:lnTo>
                  <a:lnTo>
                    <a:pt x="216" y="948"/>
                  </a:lnTo>
                  <a:lnTo>
                    <a:pt x="210" y="948"/>
                  </a:lnTo>
                  <a:lnTo>
                    <a:pt x="210" y="942"/>
                  </a:lnTo>
                  <a:lnTo>
                    <a:pt x="216" y="942"/>
                  </a:lnTo>
                  <a:lnTo>
                    <a:pt x="222" y="942"/>
                  </a:lnTo>
                  <a:lnTo>
                    <a:pt x="222" y="936"/>
                  </a:lnTo>
                  <a:lnTo>
                    <a:pt x="216" y="936"/>
                  </a:lnTo>
                  <a:lnTo>
                    <a:pt x="210" y="936"/>
                  </a:lnTo>
                  <a:lnTo>
                    <a:pt x="210" y="930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22" y="918"/>
                  </a:lnTo>
                  <a:lnTo>
                    <a:pt x="228" y="912"/>
                  </a:lnTo>
                  <a:lnTo>
                    <a:pt x="228" y="906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2" y="888"/>
                  </a:lnTo>
                  <a:lnTo>
                    <a:pt x="222" y="882"/>
                  </a:lnTo>
                  <a:lnTo>
                    <a:pt x="222" y="876"/>
                  </a:lnTo>
                  <a:lnTo>
                    <a:pt x="222" y="858"/>
                  </a:lnTo>
                  <a:lnTo>
                    <a:pt x="216" y="858"/>
                  </a:lnTo>
                  <a:lnTo>
                    <a:pt x="216" y="852"/>
                  </a:lnTo>
                  <a:lnTo>
                    <a:pt x="210" y="852"/>
                  </a:lnTo>
                  <a:lnTo>
                    <a:pt x="210" y="840"/>
                  </a:lnTo>
                  <a:lnTo>
                    <a:pt x="198" y="840"/>
                  </a:lnTo>
                  <a:lnTo>
                    <a:pt x="198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0" y="894"/>
                  </a:lnTo>
                  <a:lnTo>
                    <a:pt x="180" y="906"/>
                  </a:lnTo>
                  <a:lnTo>
                    <a:pt x="156" y="912"/>
                  </a:lnTo>
                  <a:lnTo>
                    <a:pt x="156" y="894"/>
                  </a:lnTo>
                  <a:lnTo>
                    <a:pt x="156" y="882"/>
                  </a:lnTo>
                  <a:lnTo>
                    <a:pt x="156" y="876"/>
                  </a:lnTo>
                  <a:lnTo>
                    <a:pt x="150" y="876"/>
                  </a:lnTo>
                  <a:lnTo>
                    <a:pt x="144" y="876"/>
                  </a:lnTo>
                  <a:lnTo>
                    <a:pt x="138" y="870"/>
                  </a:lnTo>
                  <a:lnTo>
                    <a:pt x="132" y="864"/>
                  </a:lnTo>
                  <a:lnTo>
                    <a:pt x="138" y="840"/>
                  </a:lnTo>
                  <a:lnTo>
                    <a:pt x="132" y="840"/>
                  </a:lnTo>
                  <a:lnTo>
                    <a:pt x="138" y="810"/>
                  </a:lnTo>
                  <a:lnTo>
                    <a:pt x="144" y="804"/>
                  </a:lnTo>
                  <a:lnTo>
                    <a:pt x="144" y="798"/>
                  </a:lnTo>
                  <a:lnTo>
                    <a:pt x="156" y="798"/>
                  </a:lnTo>
                  <a:lnTo>
                    <a:pt x="156" y="792"/>
                  </a:lnTo>
                  <a:lnTo>
                    <a:pt x="120" y="792"/>
                  </a:lnTo>
                  <a:lnTo>
                    <a:pt x="108" y="786"/>
                  </a:lnTo>
                  <a:lnTo>
                    <a:pt x="96" y="786"/>
                  </a:lnTo>
                  <a:lnTo>
                    <a:pt x="96" y="780"/>
                  </a:lnTo>
                  <a:lnTo>
                    <a:pt x="78" y="780"/>
                  </a:lnTo>
                  <a:lnTo>
                    <a:pt x="72" y="804"/>
                  </a:lnTo>
                  <a:lnTo>
                    <a:pt x="60" y="816"/>
                  </a:lnTo>
                  <a:lnTo>
                    <a:pt x="36" y="828"/>
                  </a:lnTo>
                  <a:lnTo>
                    <a:pt x="18" y="840"/>
                  </a:lnTo>
                  <a:lnTo>
                    <a:pt x="0" y="822"/>
                  </a:lnTo>
                  <a:lnTo>
                    <a:pt x="6" y="816"/>
                  </a:lnTo>
                  <a:lnTo>
                    <a:pt x="12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18" y="786"/>
                  </a:lnTo>
                  <a:lnTo>
                    <a:pt x="24" y="780"/>
                  </a:lnTo>
                  <a:lnTo>
                    <a:pt x="24" y="768"/>
                  </a:lnTo>
                  <a:lnTo>
                    <a:pt x="24" y="762"/>
                  </a:lnTo>
                  <a:lnTo>
                    <a:pt x="24" y="750"/>
                  </a:lnTo>
                  <a:lnTo>
                    <a:pt x="36" y="714"/>
                  </a:lnTo>
                  <a:lnTo>
                    <a:pt x="36" y="708"/>
                  </a:lnTo>
                  <a:lnTo>
                    <a:pt x="42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6" y="690"/>
                  </a:lnTo>
                  <a:lnTo>
                    <a:pt x="42" y="684"/>
                  </a:lnTo>
                  <a:lnTo>
                    <a:pt x="42" y="672"/>
                  </a:lnTo>
                  <a:lnTo>
                    <a:pt x="42" y="666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48" y="648"/>
                  </a:lnTo>
                  <a:lnTo>
                    <a:pt x="54" y="642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54" y="612"/>
                  </a:lnTo>
                  <a:lnTo>
                    <a:pt x="48" y="606"/>
                  </a:lnTo>
                  <a:lnTo>
                    <a:pt x="48" y="600"/>
                  </a:lnTo>
                  <a:lnTo>
                    <a:pt x="42" y="600"/>
                  </a:lnTo>
                  <a:lnTo>
                    <a:pt x="36" y="594"/>
                  </a:lnTo>
                  <a:lnTo>
                    <a:pt x="36" y="588"/>
                  </a:lnTo>
                  <a:lnTo>
                    <a:pt x="30" y="582"/>
                  </a:lnTo>
                  <a:lnTo>
                    <a:pt x="30" y="570"/>
                  </a:lnTo>
                  <a:lnTo>
                    <a:pt x="18" y="552"/>
                  </a:lnTo>
                  <a:lnTo>
                    <a:pt x="18" y="546"/>
                  </a:lnTo>
                  <a:lnTo>
                    <a:pt x="18" y="540"/>
                  </a:lnTo>
                  <a:lnTo>
                    <a:pt x="18" y="528"/>
                  </a:lnTo>
                  <a:lnTo>
                    <a:pt x="18" y="522"/>
                  </a:lnTo>
                  <a:lnTo>
                    <a:pt x="24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30" y="474"/>
                  </a:lnTo>
                  <a:lnTo>
                    <a:pt x="36" y="474"/>
                  </a:lnTo>
                  <a:lnTo>
                    <a:pt x="42" y="468"/>
                  </a:lnTo>
                  <a:lnTo>
                    <a:pt x="48" y="468"/>
                  </a:lnTo>
                  <a:lnTo>
                    <a:pt x="48" y="462"/>
                  </a:lnTo>
                  <a:lnTo>
                    <a:pt x="48" y="456"/>
                  </a:lnTo>
                  <a:lnTo>
                    <a:pt x="54" y="450"/>
                  </a:lnTo>
                  <a:lnTo>
                    <a:pt x="60" y="438"/>
                  </a:lnTo>
                  <a:lnTo>
                    <a:pt x="54" y="438"/>
                  </a:lnTo>
                  <a:lnTo>
                    <a:pt x="54" y="432"/>
                  </a:ln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54" y="402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6" y="384"/>
                  </a:lnTo>
                  <a:lnTo>
                    <a:pt x="72" y="372"/>
                  </a:lnTo>
                  <a:lnTo>
                    <a:pt x="78" y="366"/>
                  </a:lnTo>
                  <a:lnTo>
                    <a:pt x="84" y="360"/>
                  </a:lnTo>
                  <a:lnTo>
                    <a:pt x="102" y="360"/>
                  </a:lnTo>
                  <a:lnTo>
                    <a:pt x="114" y="36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8" y="360"/>
                  </a:lnTo>
                  <a:lnTo>
                    <a:pt x="156" y="360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74" y="342"/>
                  </a:lnTo>
                  <a:lnTo>
                    <a:pt x="180" y="342"/>
                  </a:lnTo>
                  <a:lnTo>
                    <a:pt x="186" y="336"/>
                  </a:lnTo>
                  <a:lnTo>
                    <a:pt x="192" y="330"/>
                  </a:lnTo>
                  <a:lnTo>
                    <a:pt x="204" y="312"/>
                  </a:lnTo>
                  <a:lnTo>
                    <a:pt x="210" y="312"/>
                  </a:lnTo>
                  <a:lnTo>
                    <a:pt x="216" y="306"/>
                  </a:lnTo>
                  <a:lnTo>
                    <a:pt x="216" y="300"/>
                  </a:lnTo>
                  <a:lnTo>
                    <a:pt x="222" y="288"/>
                  </a:lnTo>
                  <a:lnTo>
                    <a:pt x="234" y="288"/>
                  </a:lnTo>
                  <a:lnTo>
                    <a:pt x="240" y="282"/>
                  </a:lnTo>
                  <a:lnTo>
                    <a:pt x="246" y="282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70" y="270"/>
                  </a:lnTo>
                  <a:lnTo>
                    <a:pt x="276" y="264"/>
                  </a:lnTo>
                  <a:lnTo>
                    <a:pt x="282" y="26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8" y="234"/>
                  </a:lnTo>
                  <a:lnTo>
                    <a:pt x="330" y="234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72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14" y="240"/>
                  </a:lnTo>
                  <a:lnTo>
                    <a:pt x="444" y="216"/>
                  </a:lnTo>
                  <a:lnTo>
                    <a:pt x="480" y="204"/>
                  </a:lnTo>
                  <a:lnTo>
                    <a:pt x="600" y="150"/>
                  </a:lnTo>
                  <a:lnTo>
                    <a:pt x="648" y="126"/>
                  </a:lnTo>
                  <a:lnTo>
                    <a:pt x="702" y="96"/>
                  </a:lnTo>
                  <a:lnTo>
                    <a:pt x="708" y="54"/>
                  </a:lnTo>
                  <a:lnTo>
                    <a:pt x="720" y="24"/>
                  </a:lnTo>
                  <a:lnTo>
                    <a:pt x="738" y="12"/>
                  </a:lnTo>
                  <a:lnTo>
                    <a:pt x="768" y="0"/>
                  </a:lnTo>
                  <a:lnTo>
                    <a:pt x="792" y="6"/>
                  </a:lnTo>
                  <a:lnTo>
                    <a:pt x="804" y="12"/>
                  </a:lnTo>
                  <a:lnTo>
                    <a:pt x="834" y="48"/>
                  </a:lnTo>
                  <a:lnTo>
                    <a:pt x="834" y="60"/>
                  </a:lnTo>
                  <a:lnTo>
                    <a:pt x="852" y="84"/>
                  </a:lnTo>
                  <a:lnTo>
                    <a:pt x="864" y="96"/>
                  </a:lnTo>
                  <a:lnTo>
                    <a:pt x="888" y="102"/>
                  </a:lnTo>
                  <a:lnTo>
                    <a:pt x="978" y="120"/>
                  </a:lnTo>
                  <a:lnTo>
                    <a:pt x="984" y="126"/>
                  </a:lnTo>
                  <a:lnTo>
                    <a:pt x="984" y="132"/>
                  </a:lnTo>
                  <a:lnTo>
                    <a:pt x="996" y="138"/>
                  </a:lnTo>
                  <a:lnTo>
                    <a:pt x="1038" y="126"/>
                  </a:lnTo>
                  <a:lnTo>
                    <a:pt x="1056" y="114"/>
                  </a:lnTo>
                  <a:lnTo>
                    <a:pt x="1068" y="126"/>
                  </a:lnTo>
                  <a:lnTo>
                    <a:pt x="1074" y="132"/>
                  </a:lnTo>
                  <a:lnTo>
                    <a:pt x="1068" y="138"/>
                  </a:lnTo>
                  <a:lnTo>
                    <a:pt x="1056" y="150"/>
                  </a:lnTo>
                  <a:lnTo>
                    <a:pt x="1038" y="162"/>
                  </a:lnTo>
                  <a:lnTo>
                    <a:pt x="1038" y="168"/>
                  </a:lnTo>
                  <a:lnTo>
                    <a:pt x="1020" y="174"/>
                  </a:lnTo>
                  <a:lnTo>
                    <a:pt x="1014" y="180"/>
                  </a:lnTo>
                  <a:lnTo>
                    <a:pt x="1008" y="186"/>
                  </a:lnTo>
                  <a:lnTo>
                    <a:pt x="1002" y="198"/>
                  </a:lnTo>
                  <a:lnTo>
                    <a:pt x="984" y="204"/>
                  </a:lnTo>
                  <a:lnTo>
                    <a:pt x="984" y="246"/>
                  </a:lnTo>
                  <a:lnTo>
                    <a:pt x="978" y="270"/>
                  </a:lnTo>
                  <a:lnTo>
                    <a:pt x="990" y="306"/>
                  </a:lnTo>
                  <a:lnTo>
                    <a:pt x="990" y="324"/>
                  </a:lnTo>
                  <a:lnTo>
                    <a:pt x="1002" y="336"/>
                  </a:lnTo>
                  <a:lnTo>
                    <a:pt x="1020" y="372"/>
                  </a:lnTo>
                  <a:lnTo>
                    <a:pt x="1014" y="378"/>
                  </a:lnTo>
                  <a:lnTo>
                    <a:pt x="1014" y="384"/>
                  </a:lnTo>
                  <a:lnTo>
                    <a:pt x="1020" y="384"/>
                  </a:lnTo>
                  <a:lnTo>
                    <a:pt x="1020" y="396"/>
                  </a:lnTo>
                  <a:lnTo>
                    <a:pt x="1062" y="468"/>
                  </a:lnTo>
                  <a:lnTo>
                    <a:pt x="1092" y="522"/>
                  </a:lnTo>
                  <a:lnTo>
                    <a:pt x="1110" y="546"/>
                  </a:lnTo>
                  <a:lnTo>
                    <a:pt x="1122" y="564"/>
                  </a:lnTo>
                  <a:lnTo>
                    <a:pt x="1134" y="576"/>
                  </a:lnTo>
                  <a:lnTo>
                    <a:pt x="1146" y="582"/>
                  </a:lnTo>
                  <a:lnTo>
                    <a:pt x="1146" y="588"/>
                  </a:lnTo>
                  <a:lnTo>
                    <a:pt x="1164" y="600"/>
                  </a:lnTo>
                  <a:lnTo>
                    <a:pt x="1170" y="612"/>
                  </a:lnTo>
                  <a:lnTo>
                    <a:pt x="1170" y="624"/>
                  </a:lnTo>
                  <a:lnTo>
                    <a:pt x="1176" y="654"/>
                  </a:lnTo>
                  <a:lnTo>
                    <a:pt x="1176" y="666"/>
                  </a:lnTo>
                  <a:lnTo>
                    <a:pt x="1182" y="684"/>
                  </a:lnTo>
                  <a:lnTo>
                    <a:pt x="1194" y="696"/>
                  </a:lnTo>
                  <a:lnTo>
                    <a:pt x="1212" y="696"/>
                  </a:lnTo>
                  <a:lnTo>
                    <a:pt x="1206" y="762"/>
                  </a:lnTo>
                  <a:lnTo>
                    <a:pt x="1200" y="768"/>
                  </a:lnTo>
                  <a:lnTo>
                    <a:pt x="1194" y="768"/>
                  </a:lnTo>
                  <a:lnTo>
                    <a:pt x="1194" y="774"/>
                  </a:lnTo>
                  <a:lnTo>
                    <a:pt x="1188" y="774"/>
                  </a:lnTo>
                  <a:lnTo>
                    <a:pt x="1182" y="780"/>
                  </a:lnTo>
                  <a:lnTo>
                    <a:pt x="1176" y="780"/>
                  </a:lnTo>
                  <a:lnTo>
                    <a:pt x="1170" y="780"/>
                  </a:lnTo>
                  <a:lnTo>
                    <a:pt x="1164" y="786"/>
                  </a:lnTo>
                  <a:lnTo>
                    <a:pt x="1158" y="786"/>
                  </a:lnTo>
                  <a:lnTo>
                    <a:pt x="1152" y="786"/>
                  </a:lnTo>
                  <a:lnTo>
                    <a:pt x="1140" y="786"/>
                  </a:lnTo>
                  <a:lnTo>
                    <a:pt x="1134" y="786"/>
                  </a:lnTo>
                  <a:lnTo>
                    <a:pt x="1134" y="780"/>
                  </a:lnTo>
                  <a:lnTo>
                    <a:pt x="1122" y="780"/>
                  </a:lnTo>
                  <a:lnTo>
                    <a:pt x="1116" y="786"/>
                  </a:lnTo>
                  <a:lnTo>
                    <a:pt x="1116" y="792"/>
                  </a:lnTo>
                  <a:lnTo>
                    <a:pt x="1122" y="804"/>
                  </a:lnTo>
                  <a:lnTo>
                    <a:pt x="1128" y="804"/>
                  </a:lnTo>
                  <a:lnTo>
                    <a:pt x="1128" y="816"/>
                  </a:lnTo>
                  <a:lnTo>
                    <a:pt x="1122" y="822"/>
                  </a:lnTo>
                  <a:lnTo>
                    <a:pt x="1116" y="816"/>
                  </a:lnTo>
                  <a:lnTo>
                    <a:pt x="1110" y="816"/>
                  </a:lnTo>
                  <a:lnTo>
                    <a:pt x="1104" y="816"/>
                  </a:lnTo>
                  <a:lnTo>
                    <a:pt x="1098" y="816"/>
                  </a:lnTo>
                  <a:lnTo>
                    <a:pt x="1098" y="822"/>
                  </a:lnTo>
                  <a:lnTo>
                    <a:pt x="1092" y="834"/>
                  </a:lnTo>
                  <a:lnTo>
                    <a:pt x="1092" y="840"/>
                  </a:lnTo>
                  <a:lnTo>
                    <a:pt x="1074" y="840"/>
                  </a:lnTo>
                  <a:lnTo>
                    <a:pt x="1074" y="828"/>
                  </a:lnTo>
                  <a:lnTo>
                    <a:pt x="1062" y="804"/>
                  </a:lnTo>
                  <a:lnTo>
                    <a:pt x="1056" y="792"/>
                  </a:lnTo>
                  <a:lnTo>
                    <a:pt x="1056" y="786"/>
                  </a:lnTo>
                  <a:lnTo>
                    <a:pt x="1026" y="780"/>
                  </a:lnTo>
                  <a:lnTo>
                    <a:pt x="1026" y="768"/>
                  </a:lnTo>
                  <a:lnTo>
                    <a:pt x="1008" y="768"/>
                  </a:lnTo>
                  <a:lnTo>
                    <a:pt x="1002" y="780"/>
                  </a:lnTo>
                  <a:lnTo>
                    <a:pt x="996" y="792"/>
                  </a:lnTo>
                  <a:lnTo>
                    <a:pt x="978" y="798"/>
                  </a:lnTo>
                  <a:lnTo>
                    <a:pt x="972" y="810"/>
                  </a:lnTo>
                  <a:lnTo>
                    <a:pt x="972" y="822"/>
                  </a:lnTo>
                  <a:lnTo>
                    <a:pt x="978" y="828"/>
                  </a:lnTo>
                  <a:lnTo>
                    <a:pt x="978" y="834"/>
                  </a:lnTo>
                  <a:lnTo>
                    <a:pt x="960" y="840"/>
                  </a:lnTo>
                  <a:lnTo>
                    <a:pt x="936" y="840"/>
                  </a:lnTo>
                  <a:lnTo>
                    <a:pt x="918" y="846"/>
                  </a:lnTo>
                  <a:lnTo>
                    <a:pt x="912" y="840"/>
                  </a:lnTo>
                  <a:lnTo>
                    <a:pt x="912" y="834"/>
                  </a:lnTo>
                  <a:lnTo>
                    <a:pt x="906" y="834"/>
                  </a:lnTo>
                  <a:lnTo>
                    <a:pt x="906" y="840"/>
                  </a:lnTo>
                  <a:lnTo>
                    <a:pt x="900" y="846"/>
                  </a:lnTo>
                  <a:lnTo>
                    <a:pt x="906" y="852"/>
                  </a:lnTo>
                  <a:lnTo>
                    <a:pt x="900" y="864"/>
                  </a:lnTo>
                  <a:lnTo>
                    <a:pt x="900" y="876"/>
                  </a:lnTo>
                  <a:lnTo>
                    <a:pt x="900" y="882"/>
                  </a:lnTo>
                  <a:lnTo>
                    <a:pt x="894" y="888"/>
                  </a:lnTo>
                  <a:lnTo>
                    <a:pt x="900" y="900"/>
                  </a:lnTo>
                  <a:lnTo>
                    <a:pt x="900" y="906"/>
                  </a:lnTo>
                  <a:lnTo>
                    <a:pt x="894" y="906"/>
                  </a:lnTo>
                  <a:lnTo>
                    <a:pt x="894" y="912"/>
                  </a:lnTo>
                  <a:lnTo>
                    <a:pt x="900" y="918"/>
                  </a:lnTo>
                  <a:lnTo>
                    <a:pt x="900" y="924"/>
                  </a:lnTo>
                  <a:lnTo>
                    <a:pt x="900" y="948"/>
                  </a:lnTo>
                  <a:lnTo>
                    <a:pt x="888" y="948"/>
                  </a:lnTo>
                  <a:lnTo>
                    <a:pt x="888" y="954"/>
                  </a:lnTo>
                  <a:lnTo>
                    <a:pt x="894" y="954"/>
                  </a:lnTo>
                  <a:lnTo>
                    <a:pt x="900" y="960"/>
                  </a:lnTo>
                  <a:lnTo>
                    <a:pt x="900" y="972"/>
                  </a:lnTo>
                  <a:lnTo>
                    <a:pt x="906" y="984"/>
                  </a:lnTo>
                  <a:lnTo>
                    <a:pt x="912" y="984"/>
                  </a:lnTo>
                  <a:lnTo>
                    <a:pt x="918" y="990"/>
                  </a:lnTo>
                  <a:lnTo>
                    <a:pt x="936" y="990"/>
                  </a:lnTo>
                  <a:lnTo>
                    <a:pt x="936" y="996"/>
                  </a:lnTo>
                  <a:lnTo>
                    <a:pt x="942" y="996"/>
                  </a:lnTo>
                  <a:lnTo>
                    <a:pt x="942" y="1002"/>
                  </a:lnTo>
                  <a:lnTo>
                    <a:pt x="942" y="1008"/>
                  </a:lnTo>
                  <a:lnTo>
                    <a:pt x="948" y="1008"/>
                  </a:lnTo>
                  <a:lnTo>
                    <a:pt x="948" y="1014"/>
                  </a:lnTo>
                  <a:lnTo>
                    <a:pt x="948" y="1020"/>
                  </a:lnTo>
                  <a:lnTo>
                    <a:pt x="954" y="1032"/>
                  </a:lnTo>
                  <a:lnTo>
                    <a:pt x="948" y="1038"/>
                  </a:lnTo>
                  <a:lnTo>
                    <a:pt x="954" y="1044"/>
                  </a:lnTo>
                  <a:lnTo>
                    <a:pt x="954" y="1056"/>
                  </a:lnTo>
                  <a:lnTo>
                    <a:pt x="960" y="1056"/>
                  </a:lnTo>
                  <a:lnTo>
                    <a:pt x="960" y="1062"/>
                  </a:lnTo>
                  <a:lnTo>
                    <a:pt x="954" y="1068"/>
                  </a:lnTo>
                  <a:lnTo>
                    <a:pt x="948" y="1074"/>
                  </a:lnTo>
                  <a:lnTo>
                    <a:pt x="948" y="1080"/>
                  </a:lnTo>
                  <a:lnTo>
                    <a:pt x="948" y="1086"/>
                  </a:lnTo>
                  <a:lnTo>
                    <a:pt x="942" y="1092"/>
                  </a:lnTo>
                  <a:lnTo>
                    <a:pt x="942" y="1098"/>
                  </a:lnTo>
                  <a:lnTo>
                    <a:pt x="942" y="1104"/>
                  </a:lnTo>
                  <a:lnTo>
                    <a:pt x="942" y="1110"/>
                  </a:lnTo>
                  <a:lnTo>
                    <a:pt x="936" y="1116"/>
                  </a:lnTo>
                  <a:lnTo>
                    <a:pt x="936" y="1122"/>
                  </a:lnTo>
                  <a:lnTo>
                    <a:pt x="936" y="1128"/>
                  </a:lnTo>
                  <a:lnTo>
                    <a:pt x="936" y="1134"/>
                  </a:lnTo>
                  <a:lnTo>
                    <a:pt x="942" y="1146"/>
                  </a:lnTo>
                  <a:lnTo>
                    <a:pt x="936" y="1158"/>
                  </a:lnTo>
                  <a:lnTo>
                    <a:pt x="936" y="1170"/>
                  </a:lnTo>
                  <a:lnTo>
                    <a:pt x="936" y="1194"/>
                  </a:lnTo>
                  <a:lnTo>
                    <a:pt x="930" y="1200"/>
                  </a:lnTo>
                  <a:lnTo>
                    <a:pt x="930" y="1212"/>
                  </a:lnTo>
                  <a:lnTo>
                    <a:pt x="918" y="1218"/>
                  </a:lnTo>
                  <a:lnTo>
                    <a:pt x="918" y="1230"/>
                  </a:lnTo>
                  <a:lnTo>
                    <a:pt x="906" y="1230"/>
                  </a:lnTo>
                  <a:lnTo>
                    <a:pt x="900" y="1254"/>
                  </a:lnTo>
                  <a:lnTo>
                    <a:pt x="900" y="1260"/>
                  </a:lnTo>
                  <a:lnTo>
                    <a:pt x="900" y="1266"/>
                  </a:lnTo>
                  <a:lnTo>
                    <a:pt x="900" y="1272"/>
                  </a:lnTo>
                  <a:lnTo>
                    <a:pt x="900" y="1278"/>
                  </a:lnTo>
                  <a:lnTo>
                    <a:pt x="900" y="1284"/>
                  </a:lnTo>
                  <a:lnTo>
                    <a:pt x="906" y="129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1" name="Freeform 26">
              <a:extLst>
                <a:ext uri="{FF2B5EF4-FFF2-40B4-BE49-F238E27FC236}">
                  <a16:creationId xmlns:a16="http://schemas.microsoft.com/office/drawing/2014/main" id="{25725EFE-FE00-49A8-A87A-6752B785C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79173" y="3477313"/>
              <a:ext cx="650731" cy="559125"/>
            </a:xfrm>
            <a:custGeom>
              <a:avLst/>
              <a:gdLst>
                <a:gd name="T0" fmla="*/ 95 w 1224"/>
                <a:gd name="T1" fmla="*/ 89 h 1050"/>
                <a:gd name="T2" fmla="*/ 90 w 1224"/>
                <a:gd name="T3" fmla="*/ 84 h 1050"/>
                <a:gd name="T4" fmla="*/ 84 w 1224"/>
                <a:gd name="T5" fmla="*/ 83 h 1050"/>
                <a:gd name="T6" fmla="*/ 82 w 1224"/>
                <a:gd name="T7" fmla="*/ 80 h 1050"/>
                <a:gd name="T8" fmla="*/ 85 w 1224"/>
                <a:gd name="T9" fmla="*/ 77 h 1050"/>
                <a:gd name="T10" fmla="*/ 81 w 1224"/>
                <a:gd name="T11" fmla="*/ 76 h 1050"/>
                <a:gd name="T12" fmla="*/ 77 w 1224"/>
                <a:gd name="T13" fmla="*/ 77 h 1050"/>
                <a:gd name="T14" fmla="*/ 78 w 1224"/>
                <a:gd name="T15" fmla="*/ 73 h 1050"/>
                <a:gd name="T16" fmla="*/ 59 w 1224"/>
                <a:gd name="T17" fmla="*/ 71 h 1050"/>
                <a:gd name="T18" fmla="*/ 41 w 1224"/>
                <a:gd name="T19" fmla="*/ 73 h 1050"/>
                <a:gd name="T20" fmla="*/ 33 w 1224"/>
                <a:gd name="T21" fmla="*/ 71 h 1050"/>
                <a:gd name="T22" fmla="*/ 30 w 1224"/>
                <a:gd name="T23" fmla="*/ 75 h 1050"/>
                <a:gd name="T24" fmla="*/ 27 w 1224"/>
                <a:gd name="T25" fmla="*/ 80 h 1050"/>
                <a:gd name="T26" fmla="*/ 12 w 1224"/>
                <a:gd name="T27" fmla="*/ 81 h 1050"/>
                <a:gd name="T28" fmla="*/ 9 w 1224"/>
                <a:gd name="T29" fmla="*/ 84 h 1050"/>
                <a:gd name="T30" fmla="*/ 6 w 1224"/>
                <a:gd name="T31" fmla="*/ 83 h 1050"/>
                <a:gd name="T32" fmla="*/ 1 w 1224"/>
                <a:gd name="T33" fmla="*/ 83 h 1050"/>
                <a:gd name="T34" fmla="*/ 3 w 1224"/>
                <a:gd name="T35" fmla="*/ 77 h 1050"/>
                <a:gd name="T36" fmla="*/ 5 w 1224"/>
                <a:gd name="T37" fmla="*/ 70 h 1050"/>
                <a:gd name="T38" fmla="*/ 2 w 1224"/>
                <a:gd name="T39" fmla="*/ 65 h 1050"/>
                <a:gd name="T40" fmla="*/ 3 w 1224"/>
                <a:gd name="T41" fmla="*/ 58 h 1050"/>
                <a:gd name="T42" fmla="*/ 4 w 1224"/>
                <a:gd name="T43" fmla="*/ 51 h 1050"/>
                <a:gd name="T44" fmla="*/ 3 w 1224"/>
                <a:gd name="T45" fmla="*/ 47 h 1050"/>
                <a:gd name="T46" fmla="*/ 4 w 1224"/>
                <a:gd name="T47" fmla="*/ 39 h 1050"/>
                <a:gd name="T48" fmla="*/ 6 w 1224"/>
                <a:gd name="T49" fmla="*/ 29 h 1050"/>
                <a:gd name="T50" fmla="*/ 3 w 1224"/>
                <a:gd name="T51" fmla="*/ 22 h 1050"/>
                <a:gd name="T52" fmla="*/ 2 w 1224"/>
                <a:gd name="T53" fmla="*/ 14 h 1050"/>
                <a:gd name="T54" fmla="*/ 0 w 1224"/>
                <a:gd name="T55" fmla="*/ 6 h 1050"/>
                <a:gd name="T56" fmla="*/ 9 w 1224"/>
                <a:gd name="T57" fmla="*/ 1 h 1050"/>
                <a:gd name="T58" fmla="*/ 11 w 1224"/>
                <a:gd name="T59" fmla="*/ 8 h 1050"/>
                <a:gd name="T60" fmla="*/ 15 w 1224"/>
                <a:gd name="T61" fmla="*/ 9 h 1050"/>
                <a:gd name="T62" fmla="*/ 18 w 1224"/>
                <a:gd name="T63" fmla="*/ 8 h 1050"/>
                <a:gd name="T64" fmla="*/ 18 w 1224"/>
                <a:gd name="T65" fmla="*/ 13 h 1050"/>
                <a:gd name="T66" fmla="*/ 17 w 1224"/>
                <a:gd name="T67" fmla="*/ 15 h 1050"/>
                <a:gd name="T68" fmla="*/ 17 w 1224"/>
                <a:gd name="T69" fmla="*/ 17 h 1050"/>
                <a:gd name="T70" fmla="*/ 17 w 1224"/>
                <a:gd name="T71" fmla="*/ 21 h 1050"/>
                <a:gd name="T72" fmla="*/ 21 w 1224"/>
                <a:gd name="T73" fmla="*/ 25 h 1050"/>
                <a:gd name="T74" fmla="*/ 24 w 1224"/>
                <a:gd name="T75" fmla="*/ 31 h 1050"/>
                <a:gd name="T76" fmla="*/ 35 w 1224"/>
                <a:gd name="T77" fmla="*/ 34 h 1050"/>
                <a:gd name="T78" fmla="*/ 40 w 1224"/>
                <a:gd name="T79" fmla="*/ 27 h 1050"/>
                <a:gd name="T80" fmla="*/ 46 w 1224"/>
                <a:gd name="T81" fmla="*/ 30 h 1050"/>
                <a:gd name="T82" fmla="*/ 51 w 1224"/>
                <a:gd name="T83" fmla="*/ 27 h 1050"/>
                <a:gd name="T84" fmla="*/ 59 w 1224"/>
                <a:gd name="T85" fmla="*/ 39 h 1050"/>
                <a:gd name="T86" fmla="*/ 59 w 1224"/>
                <a:gd name="T87" fmla="*/ 45 h 1050"/>
                <a:gd name="T88" fmla="*/ 72 w 1224"/>
                <a:gd name="T89" fmla="*/ 45 h 1050"/>
                <a:gd name="T90" fmla="*/ 79 w 1224"/>
                <a:gd name="T91" fmla="*/ 44 h 1050"/>
                <a:gd name="T92" fmla="*/ 87 w 1224"/>
                <a:gd name="T93" fmla="*/ 48 h 1050"/>
                <a:gd name="T94" fmla="*/ 93 w 1224"/>
                <a:gd name="T95" fmla="*/ 50 h 1050"/>
                <a:gd name="T96" fmla="*/ 98 w 1224"/>
                <a:gd name="T97" fmla="*/ 51 h 1050"/>
                <a:gd name="T98" fmla="*/ 106 w 1224"/>
                <a:gd name="T99" fmla="*/ 50 h 1050"/>
                <a:gd name="T100" fmla="*/ 104 w 1224"/>
                <a:gd name="T101" fmla="*/ 54 h 1050"/>
                <a:gd name="T102" fmla="*/ 104 w 1224"/>
                <a:gd name="T103" fmla="*/ 60 h 1050"/>
                <a:gd name="T104" fmla="*/ 101 w 1224"/>
                <a:gd name="T105" fmla="*/ 63 h 1050"/>
                <a:gd name="T106" fmla="*/ 98 w 1224"/>
                <a:gd name="T107" fmla="*/ 66 h 1050"/>
                <a:gd name="T108" fmla="*/ 95 w 1224"/>
                <a:gd name="T109" fmla="*/ 68 h 1050"/>
                <a:gd name="T110" fmla="*/ 93 w 1224"/>
                <a:gd name="T111" fmla="*/ 72 h 1050"/>
                <a:gd name="T112" fmla="*/ 98 w 1224"/>
                <a:gd name="T113" fmla="*/ 75 h 1050"/>
                <a:gd name="T114" fmla="*/ 102 w 1224"/>
                <a:gd name="T115" fmla="*/ 77 h 1050"/>
                <a:gd name="T116" fmla="*/ 107 w 1224"/>
                <a:gd name="T117" fmla="*/ 76 h 1050"/>
                <a:gd name="T118" fmla="*/ 104 w 1224"/>
                <a:gd name="T119" fmla="*/ 84 h 1050"/>
                <a:gd name="T120" fmla="*/ 103 w 1224"/>
                <a:gd name="T121" fmla="*/ 87 h 1050"/>
                <a:gd name="T122" fmla="*/ 104 w 1224"/>
                <a:gd name="T123" fmla="*/ 91 h 105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24"/>
                <a:gd name="T187" fmla="*/ 0 h 1050"/>
                <a:gd name="T188" fmla="*/ 1224 w 1224"/>
                <a:gd name="T189" fmla="*/ 1050 h 105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24" h="1050">
                  <a:moveTo>
                    <a:pt x="1128" y="1032"/>
                  </a:moveTo>
                  <a:lnTo>
                    <a:pt x="1122" y="1026"/>
                  </a:lnTo>
                  <a:lnTo>
                    <a:pt x="1116" y="1026"/>
                  </a:lnTo>
                  <a:lnTo>
                    <a:pt x="1110" y="1026"/>
                  </a:lnTo>
                  <a:lnTo>
                    <a:pt x="1104" y="1026"/>
                  </a:lnTo>
                  <a:lnTo>
                    <a:pt x="1104" y="1020"/>
                  </a:lnTo>
                  <a:lnTo>
                    <a:pt x="1098" y="1020"/>
                  </a:lnTo>
                  <a:lnTo>
                    <a:pt x="1092" y="1020"/>
                  </a:lnTo>
                  <a:lnTo>
                    <a:pt x="1086" y="1020"/>
                  </a:lnTo>
                  <a:lnTo>
                    <a:pt x="1080" y="1014"/>
                  </a:lnTo>
                  <a:lnTo>
                    <a:pt x="1068" y="1014"/>
                  </a:lnTo>
                  <a:lnTo>
                    <a:pt x="1062" y="1014"/>
                  </a:lnTo>
                  <a:lnTo>
                    <a:pt x="1062" y="1008"/>
                  </a:lnTo>
                  <a:lnTo>
                    <a:pt x="1062" y="990"/>
                  </a:lnTo>
                  <a:lnTo>
                    <a:pt x="1062" y="984"/>
                  </a:lnTo>
                  <a:lnTo>
                    <a:pt x="1062" y="972"/>
                  </a:lnTo>
                  <a:lnTo>
                    <a:pt x="1044" y="966"/>
                  </a:lnTo>
                  <a:lnTo>
                    <a:pt x="1026" y="966"/>
                  </a:lnTo>
                  <a:lnTo>
                    <a:pt x="1014" y="966"/>
                  </a:lnTo>
                  <a:lnTo>
                    <a:pt x="996" y="966"/>
                  </a:lnTo>
                  <a:lnTo>
                    <a:pt x="996" y="972"/>
                  </a:lnTo>
                  <a:lnTo>
                    <a:pt x="990" y="972"/>
                  </a:lnTo>
                  <a:lnTo>
                    <a:pt x="984" y="966"/>
                  </a:lnTo>
                  <a:lnTo>
                    <a:pt x="978" y="966"/>
                  </a:lnTo>
                  <a:lnTo>
                    <a:pt x="978" y="960"/>
                  </a:lnTo>
                  <a:lnTo>
                    <a:pt x="972" y="954"/>
                  </a:lnTo>
                  <a:lnTo>
                    <a:pt x="966" y="954"/>
                  </a:lnTo>
                  <a:lnTo>
                    <a:pt x="960" y="954"/>
                  </a:lnTo>
                  <a:lnTo>
                    <a:pt x="954" y="954"/>
                  </a:lnTo>
                  <a:lnTo>
                    <a:pt x="954" y="948"/>
                  </a:lnTo>
                  <a:lnTo>
                    <a:pt x="942" y="942"/>
                  </a:lnTo>
                  <a:lnTo>
                    <a:pt x="936" y="942"/>
                  </a:lnTo>
                  <a:lnTo>
                    <a:pt x="936" y="936"/>
                  </a:lnTo>
                  <a:lnTo>
                    <a:pt x="936" y="930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42" y="918"/>
                  </a:lnTo>
                  <a:lnTo>
                    <a:pt x="948" y="918"/>
                  </a:lnTo>
                  <a:lnTo>
                    <a:pt x="960" y="918"/>
                  </a:lnTo>
                  <a:lnTo>
                    <a:pt x="966" y="912"/>
                  </a:lnTo>
                  <a:lnTo>
                    <a:pt x="978" y="906"/>
                  </a:lnTo>
                  <a:lnTo>
                    <a:pt x="978" y="900"/>
                  </a:lnTo>
                  <a:lnTo>
                    <a:pt x="978" y="894"/>
                  </a:lnTo>
                  <a:lnTo>
                    <a:pt x="978" y="888"/>
                  </a:lnTo>
                  <a:lnTo>
                    <a:pt x="972" y="888"/>
                  </a:lnTo>
                  <a:lnTo>
                    <a:pt x="978" y="888"/>
                  </a:lnTo>
                  <a:lnTo>
                    <a:pt x="978" y="882"/>
                  </a:lnTo>
                  <a:lnTo>
                    <a:pt x="972" y="876"/>
                  </a:lnTo>
                  <a:lnTo>
                    <a:pt x="966" y="870"/>
                  </a:lnTo>
                  <a:lnTo>
                    <a:pt x="954" y="876"/>
                  </a:lnTo>
                  <a:lnTo>
                    <a:pt x="948" y="876"/>
                  </a:lnTo>
                  <a:lnTo>
                    <a:pt x="942" y="870"/>
                  </a:lnTo>
                  <a:lnTo>
                    <a:pt x="936" y="876"/>
                  </a:lnTo>
                  <a:lnTo>
                    <a:pt x="930" y="876"/>
                  </a:lnTo>
                  <a:lnTo>
                    <a:pt x="924" y="882"/>
                  </a:lnTo>
                  <a:lnTo>
                    <a:pt x="912" y="888"/>
                  </a:lnTo>
                  <a:lnTo>
                    <a:pt x="906" y="894"/>
                  </a:lnTo>
                  <a:lnTo>
                    <a:pt x="900" y="900"/>
                  </a:lnTo>
                  <a:lnTo>
                    <a:pt x="894" y="888"/>
                  </a:lnTo>
                  <a:lnTo>
                    <a:pt x="888" y="894"/>
                  </a:lnTo>
                  <a:lnTo>
                    <a:pt x="882" y="888"/>
                  </a:lnTo>
                  <a:lnTo>
                    <a:pt x="876" y="894"/>
                  </a:lnTo>
                  <a:lnTo>
                    <a:pt x="876" y="888"/>
                  </a:lnTo>
                  <a:lnTo>
                    <a:pt x="876" y="882"/>
                  </a:lnTo>
                  <a:lnTo>
                    <a:pt x="876" y="876"/>
                  </a:lnTo>
                  <a:lnTo>
                    <a:pt x="870" y="858"/>
                  </a:lnTo>
                  <a:lnTo>
                    <a:pt x="864" y="858"/>
                  </a:lnTo>
                  <a:lnTo>
                    <a:pt x="870" y="852"/>
                  </a:lnTo>
                  <a:lnTo>
                    <a:pt x="870" y="846"/>
                  </a:lnTo>
                  <a:lnTo>
                    <a:pt x="876" y="846"/>
                  </a:lnTo>
                  <a:lnTo>
                    <a:pt x="882" y="846"/>
                  </a:lnTo>
                  <a:lnTo>
                    <a:pt x="888" y="840"/>
                  </a:lnTo>
                  <a:lnTo>
                    <a:pt x="894" y="834"/>
                  </a:lnTo>
                  <a:lnTo>
                    <a:pt x="894" y="828"/>
                  </a:lnTo>
                  <a:lnTo>
                    <a:pt x="894" y="816"/>
                  </a:lnTo>
                  <a:lnTo>
                    <a:pt x="858" y="810"/>
                  </a:lnTo>
                  <a:lnTo>
                    <a:pt x="858" y="816"/>
                  </a:lnTo>
                  <a:lnTo>
                    <a:pt x="852" y="816"/>
                  </a:lnTo>
                  <a:lnTo>
                    <a:pt x="780" y="816"/>
                  </a:lnTo>
                  <a:lnTo>
                    <a:pt x="750" y="816"/>
                  </a:lnTo>
                  <a:lnTo>
                    <a:pt x="684" y="816"/>
                  </a:lnTo>
                  <a:lnTo>
                    <a:pt x="636" y="816"/>
                  </a:lnTo>
                  <a:lnTo>
                    <a:pt x="612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0" y="816"/>
                  </a:lnTo>
                  <a:lnTo>
                    <a:pt x="480" y="822"/>
                  </a:lnTo>
                  <a:lnTo>
                    <a:pt x="480" y="834"/>
                  </a:lnTo>
                  <a:lnTo>
                    <a:pt x="474" y="840"/>
                  </a:lnTo>
                  <a:lnTo>
                    <a:pt x="468" y="840"/>
                  </a:lnTo>
                  <a:lnTo>
                    <a:pt x="432" y="840"/>
                  </a:lnTo>
                  <a:lnTo>
                    <a:pt x="426" y="834"/>
                  </a:lnTo>
                  <a:lnTo>
                    <a:pt x="420" y="834"/>
                  </a:lnTo>
                  <a:lnTo>
                    <a:pt x="420" y="828"/>
                  </a:lnTo>
                  <a:lnTo>
                    <a:pt x="414" y="822"/>
                  </a:lnTo>
                  <a:lnTo>
                    <a:pt x="408" y="822"/>
                  </a:lnTo>
                  <a:lnTo>
                    <a:pt x="396" y="822"/>
                  </a:lnTo>
                  <a:lnTo>
                    <a:pt x="396" y="816"/>
                  </a:lnTo>
                  <a:lnTo>
                    <a:pt x="384" y="816"/>
                  </a:lnTo>
                  <a:lnTo>
                    <a:pt x="372" y="810"/>
                  </a:lnTo>
                  <a:lnTo>
                    <a:pt x="372" y="804"/>
                  </a:lnTo>
                  <a:lnTo>
                    <a:pt x="366" y="804"/>
                  </a:lnTo>
                  <a:lnTo>
                    <a:pt x="360" y="804"/>
                  </a:lnTo>
                  <a:lnTo>
                    <a:pt x="348" y="828"/>
                  </a:lnTo>
                  <a:lnTo>
                    <a:pt x="348" y="834"/>
                  </a:lnTo>
                  <a:lnTo>
                    <a:pt x="348" y="852"/>
                  </a:lnTo>
                  <a:lnTo>
                    <a:pt x="348" y="858"/>
                  </a:lnTo>
                  <a:lnTo>
                    <a:pt x="342" y="864"/>
                  </a:lnTo>
                  <a:lnTo>
                    <a:pt x="342" y="870"/>
                  </a:lnTo>
                  <a:lnTo>
                    <a:pt x="330" y="876"/>
                  </a:lnTo>
                  <a:lnTo>
                    <a:pt x="324" y="888"/>
                  </a:lnTo>
                  <a:lnTo>
                    <a:pt x="324" y="894"/>
                  </a:lnTo>
                  <a:lnTo>
                    <a:pt x="330" y="900"/>
                  </a:lnTo>
                  <a:lnTo>
                    <a:pt x="330" y="906"/>
                  </a:lnTo>
                  <a:lnTo>
                    <a:pt x="324" y="906"/>
                  </a:lnTo>
                  <a:lnTo>
                    <a:pt x="318" y="912"/>
                  </a:lnTo>
                  <a:lnTo>
                    <a:pt x="312" y="918"/>
                  </a:lnTo>
                  <a:lnTo>
                    <a:pt x="306" y="924"/>
                  </a:lnTo>
                  <a:lnTo>
                    <a:pt x="288" y="924"/>
                  </a:lnTo>
                  <a:lnTo>
                    <a:pt x="282" y="924"/>
                  </a:lnTo>
                  <a:lnTo>
                    <a:pt x="276" y="930"/>
                  </a:lnTo>
                  <a:lnTo>
                    <a:pt x="270" y="930"/>
                  </a:lnTo>
                  <a:lnTo>
                    <a:pt x="264" y="930"/>
                  </a:lnTo>
                  <a:lnTo>
                    <a:pt x="198" y="930"/>
                  </a:lnTo>
                  <a:lnTo>
                    <a:pt x="132" y="930"/>
                  </a:lnTo>
                  <a:lnTo>
                    <a:pt x="132" y="936"/>
                  </a:lnTo>
                  <a:lnTo>
                    <a:pt x="132" y="942"/>
                  </a:lnTo>
                  <a:lnTo>
                    <a:pt x="132" y="948"/>
                  </a:lnTo>
                  <a:lnTo>
                    <a:pt x="126" y="948"/>
                  </a:lnTo>
                  <a:lnTo>
                    <a:pt x="120" y="948"/>
                  </a:lnTo>
                  <a:lnTo>
                    <a:pt x="120" y="954"/>
                  </a:lnTo>
                  <a:lnTo>
                    <a:pt x="114" y="954"/>
                  </a:lnTo>
                  <a:lnTo>
                    <a:pt x="114" y="960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02" y="966"/>
                  </a:lnTo>
                  <a:lnTo>
                    <a:pt x="102" y="972"/>
                  </a:lnTo>
                  <a:lnTo>
                    <a:pt x="96" y="972"/>
                  </a:lnTo>
                  <a:lnTo>
                    <a:pt x="96" y="966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78" y="960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60"/>
                  </a:lnTo>
                  <a:lnTo>
                    <a:pt x="54" y="966"/>
                  </a:lnTo>
                  <a:lnTo>
                    <a:pt x="48" y="966"/>
                  </a:lnTo>
                  <a:lnTo>
                    <a:pt x="42" y="966"/>
                  </a:lnTo>
                  <a:lnTo>
                    <a:pt x="36" y="966"/>
                  </a:lnTo>
                  <a:lnTo>
                    <a:pt x="30" y="966"/>
                  </a:lnTo>
                  <a:lnTo>
                    <a:pt x="24" y="960"/>
                  </a:lnTo>
                  <a:lnTo>
                    <a:pt x="18" y="960"/>
                  </a:lnTo>
                  <a:lnTo>
                    <a:pt x="12" y="960"/>
                  </a:lnTo>
                  <a:lnTo>
                    <a:pt x="12" y="948"/>
                  </a:lnTo>
                  <a:lnTo>
                    <a:pt x="18" y="942"/>
                  </a:lnTo>
                  <a:lnTo>
                    <a:pt x="18" y="936"/>
                  </a:lnTo>
                  <a:lnTo>
                    <a:pt x="18" y="930"/>
                  </a:lnTo>
                  <a:lnTo>
                    <a:pt x="18" y="924"/>
                  </a:lnTo>
                  <a:lnTo>
                    <a:pt x="18" y="912"/>
                  </a:lnTo>
                  <a:lnTo>
                    <a:pt x="24" y="906"/>
                  </a:lnTo>
                  <a:lnTo>
                    <a:pt x="30" y="900"/>
                  </a:lnTo>
                  <a:lnTo>
                    <a:pt x="36" y="894"/>
                  </a:lnTo>
                  <a:lnTo>
                    <a:pt x="36" y="882"/>
                  </a:lnTo>
                  <a:lnTo>
                    <a:pt x="30" y="876"/>
                  </a:lnTo>
                  <a:lnTo>
                    <a:pt x="30" y="870"/>
                  </a:lnTo>
                  <a:lnTo>
                    <a:pt x="24" y="858"/>
                  </a:lnTo>
                  <a:lnTo>
                    <a:pt x="24" y="846"/>
                  </a:lnTo>
                  <a:lnTo>
                    <a:pt x="36" y="822"/>
                  </a:lnTo>
                  <a:lnTo>
                    <a:pt x="42" y="816"/>
                  </a:lnTo>
                  <a:lnTo>
                    <a:pt x="48" y="816"/>
                  </a:lnTo>
                  <a:lnTo>
                    <a:pt x="60" y="804"/>
                  </a:lnTo>
                  <a:lnTo>
                    <a:pt x="60" y="786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54" y="762"/>
                  </a:lnTo>
                  <a:lnTo>
                    <a:pt x="42" y="762"/>
                  </a:lnTo>
                  <a:lnTo>
                    <a:pt x="36" y="762"/>
                  </a:lnTo>
                  <a:lnTo>
                    <a:pt x="30" y="762"/>
                  </a:lnTo>
                  <a:lnTo>
                    <a:pt x="30" y="756"/>
                  </a:lnTo>
                  <a:lnTo>
                    <a:pt x="24" y="750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702"/>
                  </a:lnTo>
                  <a:lnTo>
                    <a:pt x="36" y="684"/>
                  </a:lnTo>
                  <a:lnTo>
                    <a:pt x="36" y="678"/>
                  </a:lnTo>
                  <a:lnTo>
                    <a:pt x="36" y="666"/>
                  </a:lnTo>
                  <a:lnTo>
                    <a:pt x="36" y="654"/>
                  </a:lnTo>
                  <a:lnTo>
                    <a:pt x="18" y="654"/>
                  </a:lnTo>
                  <a:lnTo>
                    <a:pt x="18" y="648"/>
                  </a:lnTo>
                  <a:lnTo>
                    <a:pt x="18" y="618"/>
                  </a:lnTo>
                  <a:lnTo>
                    <a:pt x="18" y="612"/>
                  </a:lnTo>
                  <a:lnTo>
                    <a:pt x="24" y="612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54" y="588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76"/>
                  </a:lnTo>
                  <a:lnTo>
                    <a:pt x="48" y="564"/>
                  </a:lnTo>
                  <a:lnTo>
                    <a:pt x="42" y="564"/>
                  </a:lnTo>
                  <a:lnTo>
                    <a:pt x="36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6" y="540"/>
                  </a:lnTo>
                  <a:lnTo>
                    <a:pt x="48" y="534"/>
                  </a:lnTo>
                  <a:lnTo>
                    <a:pt x="54" y="528"/>
                  </a:lnTo>
                  <a:lnTo>
                    <a:pt x="60" y="504"/>
                  </a:lnTo>
                  <a:lnTo>
                    <a:pt x="60" y="492"/>
                  </a:lnTo>
                  <a:lnTo>
                    <a:pt x="54" y="492"/>
                  </a:lnTo>
                  <a:lnTo>
                    <a:pt x="54" y="480"/>
                  </a:lnTo>
                  <a:lnTo>
                    <a:pt x="48" y="456"/>
                  </a:lnTo>
                  <a:lnTo>
                    <a:pt x="42" y="450"/>
                  </a:lnTo>
                  <a:lnTo>
                    <a:pt x="36" y="444"/>
                  </a:lnTo>
                  <a:lnTo>
                    <a:pt x="36" y="420"/>
                  </a:lnTo>
                  <a:lnTo>
                    <a:pt x="36" y="408"/>
                  </a:lnTo>
                  <a:lnTo>
                    <a:pt x="36" y="37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60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6" y="300"/>
                  </a:lnTo>
                  <a:lnTo>
                    <a:pt x="60" y="294"/>
                  </a:lnTo>
                  <a:lnTo>
                    <a:pt x="60" y="288"/>
                  </a:lnTo>
                  <a:lnTo>
                    <a:pt x="54" y="282"/>
                  </a:lnTo>
                  <a:lnTo>
                    <a:pt x="42" y="276"/>
                  </a:lnTo>
                  <a:lnTo>
                    <a:pt x="36" y="276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0" y="252"/>
                  </a:lnTo>
                  <a:lnTo>
                    <a:pt x="24" y="246"/>
                  </a:lnTo>
                  <a:lnTo>
                    <a:pt x="24" y="240"/>
                  </a:lnTo>
                  <a:lnTo>
                    <a:pt x="24" y="228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62"/>
                  </a:lnTo>
                  <a:lnTo>
                    <a:pt x="24" y="144"/>
                  </a:lnTo>
                  <a:lnTo>
                    <a:pt x="24" y="132"/>
                  </a:lnTo>
                  <a:lnTo>
                    <a:pt x="24" y="114"/>
                  </a:lnTo>
                  <a:lnTo>
                    <a:pt x="24" y="102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18" y="48"/>
                  </a:lnTo>
                  <a:lnTo>
                    <a:pt x="42" y="36"/>
                  </a:lnTo>
                  <a:lnTo>
                    <a:pt x="54" y="24"/>
                  </a:lnTo>
                  <a:lnTo>
                    <a:pt x="60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10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14" y="60"/>
                  </a:lnTo>
                  <a:lnTo>
                    <a:pt x="120" y="60"/>
                  </a:lnTo>
                  <a:lnTo>
                    <a:pt x="114" y="84"/>
                  </a:lnTo>
                  <a:lnTo>
                    <a:pt x="120" y="90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38" y="114"/>
                  </a:lnTo>
                  <a:lnTo>
                    <a:pt x="138" y="132"/>
                  </a:lnTo>
                  <a:lnTo>
                    <a:pt x="162" y="126"/>
                  </a:lnTo>
                  <a:lnTo>
                    <a:pt x="162" y="114"/>
                  </a:lnTo>
                  <a:lnTo>
                    <a:pt x="174" y="108"/>
                  </a:lnTo>
                  <a:lnTo>
                    <a:pt x="174" y="102"/>
                  </a:lnTo>
                  <a:lnTo>
                    <a:pt x="180" y="96"/>
                  </a:lnTo>
                  <a:lnTo>
                    <a:pt x="180" y="60"/>
                  </a:lnTo>
                  <a:lnTo>
                    <a:pt x="192" y="60"/>
                  </a:lnTo>
                  <a:lnTo>
                    <a:pt x="192" y="72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04" y="108"/>
                  </a:lnTo>
                  <a:lnTo>
                    <a:pt x="204" y="114"/>
                  </a:lnTo>
                  <a:lnTo>
                    <a:pt x="204" y="120"/>
                  </a:lnTo>
                  <a:lnTo>
                    <a:pt x="204" y="126"/>
                  </a:lnTo>
                  <a:lnTo>
                    <a:pt x="210" y="126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8" y="174"/>
                  </a:lnTo>
                  <a:lnTo>
                    <a:pt x="198" y="180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86" y="204"/>
                  </a:lnTo>
                  <a:lnTo>
                    <a:pt x="186" y="210"/>
                  </a:lnTo>
                  <a:lnTo>
                    <a:pt x="180" y="210"/>
                  </a:lnTo>
                  <a:lnTo>
                    <a:pt x="180" y="216"/>
                  </a:lnTo>
                  <a:lnTo>
                    <a:pt x="180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92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8" y="258"/>
                  </a:lnTo>
                  <a:lnTo>
                    <a:pt x="204" y="258"/>
                  </a:lnTo>
                  <a:lnTo>
                    <a:pt x="210" y="258"/>
                  </a:lnTo>
                  <a:lnTo>
                    <a:pt x="216" y="258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34" y="276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46" y="306"/>
                  </a:lnTo>
                  <a:lnTo>
                    <a:pt x="252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42"/>
                  </a:lnTo>
                  <a:lnTo>
                    <a:pt x="270" y="342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88" y="366"/>
                  </a:lnTo>
                  <a:lnTo>
                    <a:pt x="336" y="360"/>
                  </a:lnTo>
                  <a:lnTo>
                    <a:pt x="354" y="360"/>
                  </a:lnTo>
                  <a:lnTo>
                    <a:pt x="366" y="372"/>
                  </a:lnTo>
                  <a:lnTo>
                    <a:pt x="378" y="378"/>
                  </a:lnTo>
                  <a:lnTo>
                    <a:pt x="378" y="390"/>
                  </a:lnTo>
                  <a:lnTo>
                    <a:pt x="384" y="390"/>
                  </a:lnTo>
                  <a:lnTo>
                    <a:pt x="390" y="396"/>
                  </a:lnTo>
                  <a:lnTo>
                    <a:pt x="408" y="390"/>
                  </a:lnTo>
                  <a:lnTo>
                    <a:pt x="426" y="366"/>
                  </a:lnTo>
                  <a:lnTo>
                    <a:pt x="432" y="360"/>
                  </a:lnTo>
                  <a:lnTo>
                    <a:pt x="438" y="348"/>
                  </a:lnTo>
                  <a:lnTo>
                    <a:pt x="438" y="342"/>
                  </a:lnTo>
                  <a:lnTo>
                    <a:pt x="438" y="330"/>
                  </a:lnTo>
                  <a:lnTo>
                    <a:pt x="444" y="324"/>
                  </a:lnTo>
                  <a:lnTo>
                    <a:pt x="450" y="318"/>
                  </a:lnTo>
                  <a:lnTo>
                    <a:pt x="456" y="312"/>
                  </a:lnTo>
                  <a:lnTo>
                    <a:pt x="456" y="306"/>
                  </a:lnTo>
                  <a:lnTo>
                    <a:pt x="456" y="300"/>
                  </a:lnTo>
                  <a:lnTo>
                    <a:pt x="474" y="288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92" y="294"/>
                  </a:lnTo>
                  <a:lnTo>
                    <a:pt x="492" y="318"/>
                  </a:lnTo>
                  <a:lnTo>
                    <a:pt x="504" y="324"/>
                  </a:lnTo>
                  <a:lnTo>
                    <a:pt x="492" y="348"/>
                  </a:lnTo>
                  <a:lnTo>
                    <a:pt x="522" y="348"/>
                  </a:lnTo>
                  <a:lnTo>
                    <a:pt x="528" y="342"/>
                  </a:lnTo>
                  <a:lnTo>
                    <a:pt x="528" y="336"/>
                  </a:lnTo>
                  <a:lnTo>
                    <a:pt x="528" y="330"/>
                  </a:lnTo>
                  <a:lnTo>
                    <a:pt x="534" y="330"/>
                  </a:lnTo>
                  <a:lnTo>
                    <a:pt x="540" y="330"/>
                  </a:lnTo>
                  <a:lnTo>
                    <a:pt x="546" y="330"/>
                  </a:lnTo>
                  <a:lnTo>
                    <a:pt x="552" y="324"/>
                  </a:lnTo>
                  <a:lnTo>
                    <a:pt x="558" y="318"/>
                  </a:lnTo>
                  <a:lnTo>
                    <a:pt x="576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8" y="348"/>
                  </a:lnTo>
                  <a:lnTo>
                    <a:pt x="654" y="354"/>
                  </a:lnTo>
                  <a:lnTo>
                    <a:pt x="648" y="402"/>
                  </a:lnTo>
                  <a:lnTo>
                    <a:pt x="678" y="402"/>
                  </a:lnTo>
                  <a:lnTo>
                    <a:pt x="678" y="420"/>
                  </a:lnTo>
                  <a:lnTo>
                    <a:pt x="684" y="438"/>
                  </a:lnTo>
                  <a:lnTo>
                    <a:pt x="684" y="450"/>
                  </a:lnTo>
                  <a:lnTo>
                    <a:pt x="684" y="456"/>
                  </a:lnTo>
                  <a:lnTo>
                    <a:pt x="690" y="468"/>
                  </a:lnTo>
                  <a:lnTo>
                    <a:pt x="690" y="474"/>
                  </a:lnTo>
                  <a:lnTo>
                    <a:pt x="690" y="480"/>
                  </a:lnTo>
                  <a:lnTo>
                    <a:pt x="696" y="486"/>
                  </a:lnTo>
                  <a:lnTo>
                    <a:pt x="696" y="498"/>
                  </a:lnTo>
                  <a:lnTo>
                    <a:pt x="702" y="504"/>
                  </a:lnTo>
                  <a:lnTo>
                    <a:pt x="690" y="516"/>
                  </a:lnTo>
                  <a:lnTo>
                    <a:pt x="678" y="522"/>
                  </a:lnTo>
                  <a:lnTo>
                    <a:pt x="654" y="528"/>
                  </a:lnTo>
                  <a:lnTo>
                    <a:pt x="660" y="546"/>
                  </a:lnTo>
                  <a:lnTo>
                    <a:pt x="672" y="546"/>
                  </a:lnTo>
                  <a:lnTo>
                    <a:pt x="678" y="540"/>
                  </a:lnTo>
                  <a:lnTo>
                    <a:pt x="714" y="540"/>
                  </a:lnTo>
                  <a:lnTo>
                    <a:pt x="798" y="540"/>
                  </a:lnTo>
                  <a:lnTo>
                    <a:pt x="804" y="540"/>
                  </a:lnTo>
                  <a:lnTo>
                    <a:pt x="816" y="528"/>
                  </a:lnTo>
                  <a:lnTo>
                    <a:pt x="822" y="522"/>
                  </a:lnTo>
                  <a:lnTo>
                    <a:pt x="834" y="516"/>
                  </a:lnTo>
                  <a:lnTo>
                    <a:pt x="846" y="516"/>
                  </a:lnTo>
                  <a:lnTo>
                    <a:pt x="852" y="510"/>
                  </a:lnTo>
                  <a:lnTo>
                    <a:pt x="858" y="510"/>
                  </a:lnTo>
                  <a:lnTo>
                    <a:pt x="882" y="516"/>
                  </a:lnTo>
                  <a:lnTo>
                    <a:pt x="888" y="516"/>
                  </a:lnTo>
                  <a:lnTo>
                    <a:pt x="888" y="510"/>
                  </a:lnTo>
                  <a:lnTo>
                    <a:pt x="894" y="510"/>
                  </a:lnTo>
                  <a:lnTo>
                    <a:pt x="906" y="504"/>
                  </a:lnTo>
                  <a:lnTo>
                    <a:pt x="918" y="498"/>
                  </a:lnTo>
                  <a:lnTo>
                    <a:pt x="930" y="492"/>
                  </a:lnTo>
                  <a:lnTo>
                    <a:pt x="936" y="492"/>
                  </a:lnTo>
                  <a:lnTo>
                    <a:pt x="948" y="492"/>
                  </a:lnTo>
                  <a:lnTo>
                    <a:pt x="954" y="528"/>
                  </a:lnTo>
                  <a:lnTo>
                    <a:pt x="954" y="564"/>
                  </a:lnTo>
                  <a:lnTo>
                    <a:pt x="972" y="564"/>
                  </a:lnTo>
                  <a:lnTo>
                    <a:pt x="978" y="558"/>
                  </a:lnTo>
                  <a:lnTo>
                    <a:pt x="990" y="552"/>
                  </a:lnTo>
                  <a:lnTo>
                    <a:pt x="1002" y="540"/>
                  </a:lnTo>
                  <a:lnTo>
                    <a:pt x="1026" y="534"/>
                  </a:lnTo>
                  <a:lnTo>
                    <a:pt x="1032" y="540"/>
                  </a:lnTo>
                  <a:lnTo>
                    <a:pt x="1044" y="546"/>
                  </a:lnTo>
                  <a:lnTo>
                    <a:pt x="1062" y="552"/>
                  </a:lnTo>
                  <a:lnTo>
                    <a:pt x="1068" y="552"/>
                  </a:lnTo>
                  <a:lnTo>
                    <a:pt x="1068" y="570"/>
                  </a:lnTo>
                  <a:lnTo>
                    <a:pt x="1068" y="576"/>
                  </a:lnTo>
                  <a:lnTo>
                    <a:pt x="1068" y="582"/>
                  </a:lnTo>
                  <a:lnTo>
                    <a:pt x="1068" y="588"/>
                  </a:lnTo>
                  <a:lnTo>
                    <a:pt x="1068" y="594"/>
                  </a:lnTo>
                  <a:lnTo>
                    <a:pt x="1080" y="600"/>
                  </a:lnTo>
                  <a:lnTo>
                    <a:pt x="1086" y="606"/>
                  </a:lnTo>
                  <a:lnTo>
                    <a:pt x="1092" y="594"/>
                  </a:lnTo>
                  <a:lnTo>
                    <a:pt x="1104" y="588"/>
                  </a:lnTo>
                  <a:lnTo>
                    <a:pt x="1116" y="588"/>
                  </a:lnTo>
                  <a:lnTo>
                    <a:pt x="1122" y="588"/>
                  </a:lnTo>
                  <a:lnTo>
                    <a:pt x="1122" y="594"/>
                  </a:lnTo>
                  <a:lnTo>
                    <a:pt x="1128" y="594"/>
                  </a:lnTo>
                  <a:lnTo>
                    <a:pt x="1134" y="594"/>
                  </a:lnTo>
                  <a:lnTo>
                    <a:pt x="1140" y="594"/>
                  </a:lnTo>
                  <a:lnTo>
                    <a:pt x="1146" y="588"/>
                  </a:lnTo>
                  <a:lnTo>
                    <a:pt x="1158" y="582"/>
                  </a:lnTo>
                  <a:lnTo>
                    <a:pt x="1164" y="576"/>
                  </a:lnTo>
                  <a:lnTo>
                    <a:pt x="1176" y="576"/>
                  </a:lnTo>
                  <a:lnTo>
                    <a:pt x="1194" y="576"/>
                  </a:lnTo>
                  <a:lnTo>
                    <a:pt x="1218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24" y="594"/>
                  </a:lnTo>
                  <a:lnTo>
                    <a:pt x="1212" y="600"/>
                  </a:lnTo>
                  <a:lnTo>
                    <a:pt x="1206" y="606"/>
                  </a:lnTo>
                  <a:lnTo>
                    <a:pt x="1200" y="606"/>
                  </a:lnTo>
                  <a:lnTo>
                    <a:pt x="1200" y="612"/>
                  </a:lnTo>
                  <a:lnTo>
                    <a:pt x="1194" y="612"/>
                  </a:lnTo>
                  <a:lnTo>
                    <a:pt x="1194" y="618"/>
                  </a:lnTo>
                  <a:lnTo>
                    <a:pt x="1194" y="624"/>
                  </a:lnTo>
                  <a:lnTo>
                    <a:pt x="1194" y="630"/>
                  </a:lnTo>
                  <a:lnTo>
                    <a:pt x="1194" y="648"/>
                  </a:lnTo>
                  <a:lnTo>
                    <a:pt x="1194" y="660"/>
                  </a:lnTo>
                  <a:lnTo>
                    <a:pt x="1194" y="666"/>
                  </a:lnTo>
                  <a:lnTo>
                    <a:pt x="1194" y="672"/>
                  </a:lnTo>
                  <a:lnTo>
                    <a:pt x="1194" y="678"/>
                  </a:lnTo>
                  <a:lnTo>
                    <a:pt x="1188" y="684"/>
                  </a:lnTo>
                  <a:lnTo>
                    <a:pt x="1188" y="690"/>
                  </a:lnTo>
                  <a:lnTo>
                    <a:pt x="1188" y="696"/>
                  </a:lnTo>
                  <a:lnTo>
                    <a:pt x="1188" y="702"/>
                  </a:lnTo>
                  <a:lnTo>
                    <a:pt x="1188" y="708"/>
                  </a:lnTo>
                  <a:lnTo>
                    <a:pt x="1188" y="714"/>
                  </a:lnTo>
                  <a:lnTo>
                    <a:pt x="1182" y="720"/>
                  </a:lnTo>
                  <a:lnTo>
                    <a:pt x="1170" y="720"/>
                  </a:lnTo>
                  <a:lnTo>
                    <a:pt x="1158" y="726"/>
                  </a:lnTo>
                  <a:lnTo>
                    <a:pt x="1152" y="726"/>
                  </a:lnTo>
                  <a:lnTo>
                    <a:pt x="1152" y="732"/>
                  </a:lnTo>
                  <a:lnTo>
                    <a:pt x="1146" y="738"/>
                  </a:lnTo>
                  <a:lnTo>
                    <a:pt x="1140" y="738"/>
                  </a:lnTo>
                  <a:lnTo>
                    <a:pt x="1140" y="744"/>
                  </a:lnTo>
                  <a:lnTo>
                    <a:pt x="1134" y="744"/>
                  </a:lnTo>
                  <a:lnTo>
                    <a:pt x="1128" y="744"/>
                  </a:lnTo>
                  <a:lnTo>
                    <a:pt x="1122" y="750"/>
                  </a:lnTo>
                  <a:lnTo>
                    <a:pt x="1128" y="750"/>
                  </a:lnTo>
                  <a:lnTo>
                    <a:pt x="1122" y="756"/>
                  </a:lnTo>
                  <a:lnTo>
                    <a:pt x="1116" y="756"/>
                  </a:lnTo>
                  <a:lnTo>
                    <a:pt x="1110" y="762"/>
                  </a:lnTo>
                  <a:lnTo>
                    <a:pt x="1104" y="762"/>
                  </a:lnTo>
                  <a:lnTo>
                    <a:pt x="1104" y="768"/>
                  </a:lnTo>
                  <a:lnTo>
                    <a:pt x="1098" y="768"/>
                  </a:lnTo>
                  <a:lnTo>
                    <a:pt x="1098" y="774"/>
                  </a:lnTo>
                  <a:lnTo>
                    <a:pt x="1092" y="774"/>
                  </a:lnTo>
                  <a:lnTo>
                    <a:pt x="1092" y="780"/>
                  </a:lnTo>
                  <a:lnTo>
                    <a:pt x="1086" y="780"/>
                  </a:lnTo>
                  <a:lnTo>
                    <a:pt x="1086" y="786"/>
                  </a:lnTo>
                  <a:lnTo>
                    <a:pt x="1080" y="786"/>
                  </a:lnTo>
                  <a:lnTo>
                    <a:pt x="1080" y="792"/>
                  </a:lnTo>
                  <a:lnTo>
                    <a:pt x="1080" y="798"/>
                  </a:lnTo>
                  <a:lnTo>
                    <a:pt x="1080" y="804"/>
                  </a:lnTo>
                  <a:lnTo>
                    <a:pt x="1086" y="810"/>
                  </a:lnTo>
                  <a:lnTo>
                    <a:pt x="1080" y="816"/>
                  </a:lnTo>
                  <a:lnTo>
                    <a:pt x="1080" y="822"/>
                  </a:lnTo>
                  <a:lnTo>
                    <a:pt x="1074" y="822"/>
                  </a:lnTo>
                  <a:lnTo>
                    <a:pt x="1068" y="828"/>
                  </a:lnTo>
                  <a:lnTo>
                    <a:pt x="1074" y="828"/>
                  </a:lnTo>
                  <a:lnTo>
                    <a:pt x="1074" y="834"/>
                  </a:lnTo>
                  <a:lnTo>
                    <a:pt x="1080" y="846"/>
                  </a:lnTo>
                  <a:lnTo>
                    <a:pt x="1086" y="846"/>
                  </a:lnTo>
                  <a:lnTo>
                    <a:pt x="1092" y="852"/>
                  </a:lnTo>
                  <a:lnTo>
                    <a:pt x="1092" y="858"/>
                  </a:lnTo>
                  <a:lnTo>
                    <a:pt x="1098" y="858"/>
                  </a:lnTo>
                  <a:lnTo>
                    <a:pt x="1110" y="864"/>
                  </a:lnTo>
                  <a:lnTo>
                    <a:pt x="1116" y="864"/>
                  </a:lnTo>
                  <a:lnTo>
                    <a:pt x="1122" y="864"/>
                  </a:lnTo>
                  <a:lnTo>
                    <a:pt x="1128" y="864"/>
                  </a:lnTo>
                  <a:lnTo>
                    <a:pt x="1134" y="876"/>
                  </a:lnTo>
                  <a:lnTo>
                    <a:pt x="1140" y="882"/>
                  </a:lnTo>
                  <a:lnTo>
                    <a:pt x="1140" y="888"/>
                  </a:lnTo>
                  <a:lnTo>
                    <a:pt x="1152" y="918"/>
                  </a:lnTo>
                  <a:lnTo>
                    <a:pt x="1158" y="894"/>
                  </a:lnTo>
                  <a:lnTo>
                    <a:pt x="1164" y="888"/>
                  </a:lnTo>
                  <a:lnTo>
                    <a:pt x="1164" y="882"/>
                  </a:lnTo>
                  <a:lnTo>
                    <a:pt x="1176" y="864"/>
                  </a:lnTo>
                  <a:lnTo>
                    <a:pt x="1182" y="858"/>
                  </a:lnTo>
                  <a:lnTo>
                    <a:pt x="1188" y="846"/>
                  </a:lnTo>
                  <a:lnTo>
                    <a:pt x="1200" y="840"/>
                  </a:lnTo>
                  <a:lnTo>
                    <a:pt x="1212" y="840"/>
                  </a:lnTo>
                  <a:lnTo>
                    <a:pt x="1218" y="846"/>
                  </a:lnTo>
                  <a:lnTo>
                    <a:pt x="1224" y="858"/>
                  </a:lnTo>
                  <a:lnTo>
                    <a:pt x="1224" y="864"/>
                  </a:lnTo>
                  <a:lnTo>
                    <a:pt x="1224" y="876"/>
                  </a:lnTo>
                  <a:lnTo>
                    <a:pt x="1212" y="912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00" y="930"/>
                  </a:lnTo>
                  <a:lnTo>
                    <a:pt x="1200" y="942"/>
                  </a:lnTo>
                  <a:lnTo>
                    <a:pt x="1194" y="948"/>
                  </a:lnTo>
                  <a:lnTo>
                    <a:pt x="1194" y="960"/>
                  </a:lnTo>
                  <a:lnTo>
                    <a:pt x="1194" y="966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70" y="984"/>
                  </a:lnTo>
                  <a:lnTo>
                    <a:pt x="1164" y="984"/>
                  </a:lnTo>
                  <a:lnTo>
                    <a:pt x="1158" y="984"/>
                  </a:lnTo>
                  <a:lnTo>
                    <a:pt x="1146" y="984"/>
                  </a:lnTo>
                  <a:lnTo>
                    <a:pt x="1140" y="990"/>
                  </a:lnTo>
                  <a:lnTo>
                    <a:pt x="1140" y="996"/>
                  </a:lnTo>
                  <a:lnTo>
                    <a:pt x="1152" y="996"/>
                  </a:lnTo>
                  <a:lnTo>
                    <a:pt x="1176" y="1002"/>
                  </a:lnTo>
                  <a:lnTo>
                    <a:pt x="1194" y="1008"/>
                  </a:lnTo>
                  <a:lnTo>
                    <a:pt x="1206" y="1008"/>
                  </a:lnTo>
                  <a:lnTo>
                    <a:pt x="1218" y="1014"/>
                  </a:lnTo>
                  <a:lnTo>
                    <a:pt x="1212" y="1038"/>
                  </a:lnTo>
                  <a:lnTo>
                    <a:pt x="1212" y="1044"/>
                  </a:lnTo>
                  <a:lnTo>
                    <a:pt x="1206" y="1044"/>
                  </a:lnTo>
                  <a:lnTo>
                    <a:pt x="1206" y="1050"/>
                  </a:lnTo>
                  <a:lnTo>
                    <a:pt x="1194" y="1050"/>
                  </a:lnTo>
                  <a:lnTo>
                    <a:pt x="1188" y="1044"/>
                  </a:lnTo>
                  <a:lnTo>
                    <a:pt x="1158" y="1020"/>
                  </a:lnTo>
                  <a:lnTo>
                    <a:pt x="1152" y="1020"/>
                  </a:lnTo>
                  <a:lnTo>
                    <a:pt x="1140" y="1020"/>
                  </a:lnTo>
                  <a:lnTo>
                    <a:pt x="1134" y="1020"/>
                  </a:lnTo>
                  <a:lnTo>
                    <a:pt x="1134" y="1026"/>
                  </a:lnTo>
                  <a:lnTo>
                    <a:pt x="1134" y="1032"/>
                  </a:lnTo>
                  <a:lnTo>
                    <a:pt x="1128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2" name="Freeform 27">
              <a:extLst>
                <a:ext uri="{FF2B5EF4-FFF2-40B4-BE49-F238E27FC236}">
                  <a16:creationId xmlns:a16="http://schemas.microsoft.com/office/drawing/2014/main" id="{CE95C9DF-B651-4085-946F-65424BC51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2063" y="3421400"/>
              <a:ext cx="342138" cy="377969"/>
            </a:xfrm>
            <a:custGeom>
              <a:avLst/>
              <a:gdLst>
                <a:gd name="T0" fmla="*/ 43 w 642"/>
                <a:gd name="T1" fmla="*/ 41 h 708"/>
                <a:gd name="T2" fmla="*/ 39 w 642"/>
                <a:gd name="T3" fmla="*/ 41 h 708"/>
                <a:gd name="T4" fmla="*/ 38 w 642"/>
                <a:gd name="T5" fmla="*/ 47 h 708"/>
                <a:gd name="T6" fmla="*/ 38 w 642"/>
                <a:gd name="T7" fmla="*/ 49 h 708"/>
                <a:gd name="T8" fmla="*/ 38 w 642"/>
                <a:gd name="T9" fmla="*/ 50 h 708"/>
                <a:gd name="T10" fmla="*/ 36 w 642"/>
                <a:gd name="T11" fmla="*/ 52 h 708"/>
                <a:gd name="T12" fmla="*/ 35 w 642"/>
                <a:gd name="T13" fmla="*/ 53 h 708"/>
                <a:gd name="T14" fmla="*/ 33 w 642"/>
                <a:gd name="T15" fmla="*/ 55 h 708"/>
                <a:gd name="T16" fmla="*/ 32 w 642"/>
                <a:gd name="T17" fmla="*/ 56 h 708"/>
                <a:gd name="T18" fmla="*/ 31 w 642"/>
                <a:gd name="T19" fmla="*/ 59 h 708"/>
                <a:gd name="T20" fmla="*/ 26 w 642"/>
                <a:gd name="T21" fmla="*/ 59 h 708"/>
                <a:gd name="T22" fmla="*/ 23 w 642"/>
                <a:gd name="T23" fmla="*/ 61 h 708"/>
                <a:gd name="T24" fmla="*/ 20 w 642"/>
                <a:gd name="T25" fmla="*/ 61 h 708"/>
                <a:gd name="T26" fmla="*/ 17 w 642"/>
                <a:gd name="T27" fmla="*/ 59 h 708"/>
                <a:gd name="T28" fmla="*/ 15 w 642"/>
                <a:gd name="T29" fmla="*/ 56 h 708"/>
                <a:gd name="T30" fmla="*/ 9 w 642"/>
                <a:gd name="T31" fmla="*/ 58 h 708"/>
                <a:gd name="T32" fmla="*/ 6 w 642"/>
                <a:gd name="T33" fmla="*/ 52 h 708"/>
                <a:gd name="T34" fmla="*/ 2 w 642"/>
                <a:gd name="T35" fmla="*/ 53 h 708"/>
                <a:gd name="T36" fmla="*/ 1 w 642"/>
                <a:gd name="T37" fmla="*/ 51 h 708"/>
                <a:gd name="T38" fmla="*/ 4 w 642"/>
                <a:gd name="T39" fmla="*/ 47 h 708"/>
                <a:gd name="T40" fmla="*/ 5 w 642"/>
                <a:gd name="T41" fmla="*/ 41 h 708"/>
                <a:gd name="T42" fmla="*/ 5 w 642"/>
                <a:gd name="T43" fmla="*/ 38 h 708"/>
                <a:gd name="T44" fmla="*/ 5 w 642"/>
                <a:gd name="T45" fmla="*/ 35 h 708"/>
                <a:gd name="T46" fmla="*/ 6 w 642"/>
                <a:gd name="T47" fmla="*/ 33 h 708"/>
                <a:gd name="T48" fmla="*/ 5 w 642"/>
                <a:gd name="T49" fmla="*/ 29 h 708"/>
                <a:gd name="T50" fmla="*/ 4 w 642"/>
                <a:gd name="T51" fmla="*/ 28 h 708"/>
                <a:gd name="T52" fmla="*/ 1 w 642"/>
                <a:gd name="T53" fmla="*/ 26 h 708"/>
                <a:gd name="T54" fmla="*/ 1 w 642"/>
                <a:gd name="T55" fmla="*/ 24 h 708"/>
                <a:gd name="T56" fmla="*/ 1 w 642"/>
                <a:gd name="T57" fmla="*/ 20 h 708"/>
                <a:gd name="T58" fmla="*/ 1 w 642"/>
                <a:gd name="T59" fmla="*/ 16 h 708"/>
                <a:gd name="T60" fmla="*/ 2 w 642"/>
                <a:gd name="T61" fmla="*/ 14 h 708"/>
                <a:gd name="T62" fmla="*/ 8 w 642"/>
                <a:gd name="T63" fmla="*/ 14 h 708"/>
                <a:gd name="T64" fmla="*/ 9 w 642"/>
                <a:gd name="T65" fmla="*/ 10 h 708"/>
                <a:gd name="T66" fmla="*/ 15 w 642"/>
                <a:gd name="T67" fmla="*/ 9 h 708"/>
                <a:gd name="T68" fmla="*/ 18 w 642"/>
                <a:gd name="T69" fmla="*/ 14 h 708"/>
                <a:gd name="T70" fmla="*/ 20 w 642"/>
                <a:gd name="T71" fmla="*/ 12 h 708"/>
                <a:gd name="T72" fmla="*/ 20 w 642"/>
                <a:gd name="T73" fmla="*/ 11 h 708"/>
                <a:gd name="T74" fmla="*/ 21 w 642"/>
                <a:gd name="T75" fmla="*/ 9 h 708"/>
                <a:gd name="T76" fmla="*/ 24 w 642"/>
                <a:gd name="T77" fmla="*/ 9 h 708"/>
                <a:gd name="T78" fmla="*/ 27 w 642"/>
                <a:gd name="T79" fmla="*/ 8 h 708"/>
                <a:gd name="T80" fmla="*/ 33 w 642"/>
                <a:gd name="T81" fmla="*/ 2 h 708"/>
                <a:gd name="T82" fmla="*/ 42 w 642"/>
                <a:gd name="T83" fmla="*/ 2 h 708"/>
                <a:gd name="T84" fmla="*/ 49 w 642"/>
                <a:gd name="T85" fmla="*/ 1 h 708"/>
                <a:gd name="T86" fmla="*/ 53 w 642"/>
                <a:gd name="T87" fmla="*/ 4 h 708"/>
                <a:gd name="T88" fmla="*/ 55 w 642"/>
                <a:gd name="T89" fmla="*/ 4 h 708"/>
                <a:gd name="T90" fmla="*/ 55 w 642"/>
                <a:gd name="T91" fmla="*/ 7 h 708"/>
                <a:gd name="T92" fmla="*/ 52 w 642"/>
                <a:gd name="T93" fmla="*/ 9 h 708"/>
                <a:gd name="T94" fmla="*/ 49 w 642"/>
                <a:gd name="T95" fmla="*/ 12 h 708"/>
                <a:gd name="T96" fmla="*/ 47 w 642"/>
                <a:gd name="T97" fmla="*/ 14 h 708"/>
                <a:gd name="T98" fmla="*/ 47 w 642"/>
                <a:gd name="T99" fmla="*/ 17 h 708"/>
                <a:gd name="T100" fmla="*/ 45 w 642"/>
                <a:gd name="T101" fmla="*/ 26 h 708"/>
                <a:gd name="T102" fmla="*/ 50 w 642"/>
                <a:gd name="T103" fmla="*/ 37 h 70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42"/>
                <a:gd name="T157" fmla="*/ 0 h 708"/>
                <a:gd name="T158" fmla="*/ 642 w 642"/>
                <a:gd name="T159" fmla="*/ 708 h 70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42" h="708">
                  <a:moveTo>
                    <a:pt x="576" y="468"/>
                  </a:moveTo>
                  <a:lnTo>
                    <a:pt x="564" y="468"/>
                  </a:lnTo>
                  <a:lnTo>
                    <a:pt x="516" y="468"/>
                  </a:lnTo>
                  <a:lnTo>
                    <a:pt x="498" y="474"/>
                  </a:lnTo>
                  <a:lnTo>
                    <a:pt x="492" y="468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68" y="474"/>
                  </a:lnTo>
                  <a:lnTo>
                    <a:pt x="456" y="468"/>
                  </a:lnTo>
                  <a:lnTo>
                    <a:pt x="444" y="474"/>
                  </a:lnTo>
                  <a:lnTo>
                    <a:pt x="438" y="492"/>
                  </a:lnTo>
                  <a:lnTo>
                    <a:pt x="438" y="504"/>
                  </a:lnTo>
                  <a:lnTo>
                    <a:pt x="432" y="516"/>
                  </a:lnTo>
                  <a:lnTo>
                    <a:pt x="432" y="528"/>
                  </a:lnTo>
                  <a:lnTo>
                    <a:pt x="432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52"/>
                  </a:lnTo>
                  <a:lnTo>
                    <a:pt x="432" y="558"/>
                  </a:lnTo>
                  <a:lnTo>
                    <a:pt x="438" y="564"/>
                  </a:lnTo>
                  <a:lnTo>
                    <a:pt x="444" y="564"/>
                  </a:lnTo>
                  <a:lnTo>
                    <a:pt x="438" y="564"/>
                  </a:lnTo>
                  <a:lnTo>
                    <a:pt x="438" y="570"/>
                  </a:lnTo>
                  <a:lnTo>
                    <a:pt x="432" y="570"/>
                  </a:lnTo>
                  <a:lnTo>
                    <a:pt x="432" y="576"/>
                  </a:lnTo>
                  <a:lnTo>
                    <a:pt x="426" y="588"/>
                  </a:lnTo>
                  <a:lnTo>
                    <a:pt x="420" y="594"/>
                  </a:lnTo>
                  <a:lnTo>
                    <a:pt x="420" y="600"/>
                  </a:lnTo>
                  <a:lnTo>
                    <a:pt x="414" y="600"/>
                  </a:lnTo>
                  <a:lnTo>
                    <a:pt x="414" y="606"/>
                  </a:lnTo>
                  <a:lnTo>
                    <a:pt x="408" y="606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396" y="612"/>
                  </a:lnTo>
                  <a:lnTo>
                    <a:pt x="390" y="612"/>
                  </a:lnTo>
                  <a:lnTo>
                    <a:pt x="390" y="618"/>
                  </a:lnTo>
                  <a:lnTo>
                    <a:pt x="384" y="618"/>
                  </a:lnTo>
                  <a:lnTo>
                    <a:pt x="378" y="618"/>
                  </a:lnTo>
                  <a:lnTo>
                    <a:pt x="378" y="624"/>
                  </a:lnTo>
                  <a:lnTo>
                    <a:pt x="384" y="630"/>
                  </a:lnTo>
                  <a:lnTo>
                    <a:pt x="384" y="636"/>
                  </a:lnTo>
                  <a:lnTo>
                    <a:pt x="378" y="630"/>
                  </a:lnTo>
                  <a:lnTo>
                    <a:pt x="372" y="636"/>
                  </a:lnTo>
                  <a:lnTo>
                    <a:pt x="372" y="642"/>
                  </a:lnTo>
                  <a:lnTo>
                    <a:pt x="366" y="642"/>
                  </a:lnTo>
                  <a:lnTo>
                    <a:pt x="360" y="654"/>
                  </a:lnTo>
                  <a:lnTo>
                    <a:pt x="354" y="666"/>
                  </a:lnTo>
                  <a:lnTo>
                    <a:pt x="354" y="672"/>
                  </a:lnTo>
                  <a:lnTo>
                    <a:pt x="354" y="678"/>
                  </a:lnTo>
                  <a:lnTo>
                    <a:pt x="354" y="684"/>
                  </a:lnTo>
                  <a:lnTo>
                    <a:pt x="348" y="678"/>
                  </a:lnTo>
                  <a:lnTo>
                    <a:pt x="324" y="678"/>
                  </a:lnTo>
                  <a:lnTo>
                    <a:pt x="306" y="678"/>
                  </a:lnTo>
                  <a:lnTo>
                    <a:pt x="294" y="678"/>
                  </a:lnTo>
                  <a:lnTo>
                    <a:pt x="288" y="684"/>
                  </a:lnTo>
                  <a:lnTo>
                    <a:pt x="276" y="690"/>
                  </a:lnTo>
                  <a:lnTo>
                    <a:pt x="270" y="696"/>
                  </a:lnTo>
                  <a:lnTo>
                    <a:pt x="264" y="696"/>
                  </a:lnTo>
                  <a:lnTo>
                    <a:pt x="258" y="696"/>
                  </a:lnTo>
                  <a:lnTo>
                    <a:pt x="252" y="696"/>
                  </a:lnTo>
                  <a:lnTo>
                    <a:pt x="252" y="690"/>
                  </a:lnTo>
                  <a:lnTo>
                    <a:pt x="246" y="690"/>
                  </a:lnTo>
                  <a:lnTo>
                    <a:pt x="234" y="690"/>
                  </a:lnTo>
                  <a:lnTo>
                    <a:pt x="222" y="696"/>
                  </a:lnTo>
                  <a:lnTo>
                    <a:pt x="216" y="708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8" y="690"/>
                  </a:lnTo>
                  <a:lnTo>
                    <a:pt x="198" y="684"/>
                  </a:lnTo>
                  <a:lnTo>
                    <a:pt x="198" y="678"/>
                  </a:lnTo>
                  <a:lnTo>
                    <a:pt x="198" y="672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74" y="648"/>
                  </a:lnTo>
                  <a:lnTo>
                    <a:pt x="162" y="642"/>
                  </a:lnTo>
                  <a:lnTo>
                    <a:pt x="156" y="636"/>
                  </a:lnTo>
                  <a:lnTo>
                    <a:pt x="132" y="642"/>
                  </a:lnTo>
                  <a:lnTo>
                    <a:pt x="120" y="654"/>
                  </a:lnTo>
                  <a:lnTo>
                    <a:pt x="108" y="660"/>
                  </a:lnTo>
                  <a:lnTo>
                    <a:pt x="102" y="666"/>
                  </a:lnTo>
                  <a:lnTo>
                    <a:pt x="84" y="666"/>
                  </a:lnTo>
                  <a:lnTo>
                    <a:pt x="84" y="630"/>
                  </a:lnTo>
                  <a:lnTo>
                    <a:pt x="78" y="594"/>
                  </a:lnTo>
                  <a:lnTo>
                    <a:pt x="66" y="594"/>
                  </a:lnTo>
                  <a:lnTo>
                    <a:pt x="60" y="594"/>
                  </a:lnTo>
                  <a:lnTo>
                    <a:pt x="48" y="600"/>
                  </a:lnTo>
                  <a:lnTo>
                    <a:pt x="36" y="606"/>
                  </a:lnTo>
                  <a:lnTo>
                    <a:pt x="24" y="612"/>
                  </a:lnTo>
                  <a:lnTo>
                    <a:pt x="18" y="612"/>
                  </a:lnTo>
                  <a:lnTo>
                    <a:pt x="12" y="606"/>
                  </a:lnTo>
                  <a:lnTo>
                    <a:pt x="12" y="600"/>
                  </a:lnTo>
                  <a:lnTo>
                    <a:pt x="12" y="594"/>
                  </a:lnTo>
                  <a:lnTo>
                    <a:pt x="12" y="588"/>
                  </a:lnTo>
                  <a:lnTo>
                    <a:pt x="12" y="582"/>
                  </a:lnTo>
                  <a:lnTo>
                    <a:pt x="12" y="576"/>
                  </a:lnTo>
                  <a:lnTo>
                    <a:pt x="18" y="552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42" y="534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48" y="492"/>
                  </a:lnTo>
                  <a:lnTo>
                    <a:pt x="48" y="480"/>
                  </a:lnTo>
                  <a:lnTo>
                    <a:pt x="54" y="468"/>
                  </a:lnTo>
                  <a:lnTo>
                    <a:pt x="48" y="456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66" y="390"/>
                  </a:lnTo>
                  <a:lnTo>
                    <a:pt x="72" y="384"/>
                  </a:lnTo>
                  <a:lnTo>
                    <a:pt x="72" y="378"/>
                  </a:lnTo>
                  <a:lnTo>
                    <a:pt x="66" y="378"/>
                  </a:lnTo>
                  <a:lnTo>
                    <a:pt x="66" y="366"/>
                  </a:lnTo>
                  <a:lnTo>
                    <a:pt x="60" y="360"/>
                  </a:lnTo>
                  <a:lnTo>
                    <a:pt x="66" y="354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48" y="312"/>
                  </a:lnTo>
                  <a:lnTo>
                    <a:pt x="30" y="312"/>
                  </a:lnTo>
                  <a:lnTo>
                    <a:pt x="24" y="306"/>
                  </a:lnTo>
                  <a:lnTo>
                    <a:pt x="18" y="306"/>
                  </a:lnTo>
                  <a:lnTo>
                    <a:pt x="12" y="294"/>
                  </a:lnTo>
                  <a:lnTo>
                    <a:pt x="12" y="282"/>
                  </a:lnTo>
                  <a:lnTo>
                    <a:pt x="6" y="276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12" y="270"/>
                  </a:lnTo>
                  <a:lnTo>
                    <a:pt x="12" y="246"/>
                  </a:lnTo>
                  <a:lnTo>
                    <a:pt x="12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8" y="174"/>
                  </a:lnTo>
                  <a:lnTo>
                    <a:pt x="12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48" y="162"/>
                  </a:lnTo>
                  <a:lnTo>
                    <a:pt x="72" y="162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84" y="132"/>
                  </a:lnTo>
                  <a:lnTo>
                    <a:pt x="90" y="120"/>
                  </a:lnTo>
                  <a:lnTo>
                    <a:pt x="108" y="114"/>
                  </a:lnTo>
                  <a:lnTo>
                    <a:pt x="114" y="102"/>
                  </a:lnTo>
                  <a:lnTo>
                    <a:pt x="120" y="90"/>
                  </a:lnTo>
                  <a:lnTo>
                    <a:pt x="138" y="90"/>
                  </a:lnTo>
                  <a:lnTo>
                    <a:pt x="138" y="102"/>
                  </a:lnTo>
                  <a:lnTo>
                    <a:pt x="168" y="108"/>
                  </a:lnTo>
                  <a:lnTo>
                    <a:pt x="168" y="114"/>
                  </a:lnTo>
                  <a:lnTo>
                    <a:pt x="174" y="126"/>
                  </a:lnTo>
                  <a:lnTo>
                    <a:pt x="186" y="150"/>
                  </a:lnTo>
                  <a:lnTo>
                    <a:pt x="186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34" y="144"/>
                  </a:lnTo>
                  <a:lnTo>
                    <a:pt x="240" y="138"/>
                  </a:lnTo>
                  <a:lnTo>
                    <a:pt x="240" y="126"/>
                  </a:lnTo>
                  <a:lnTo>
                    <a:pt x="234" y="126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34" y="102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82" y="102"/>
                  </a:lnTo>
                  <a:lnTo>
                    <a:pt x="288" y="102"/>
                  </a:lnTo>
                  <a:lnTo>
                    <a:pt x="294" y="102"/>
                  </a:lnTo>
                  <a:lnTo>
                    <a:pt x="300" y="96"/>
                  </a:lnTo>
                  <a:lnTo>
                    <a:pt x="306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84"/>
                  </a:lnTo>
                  <a:lnTo>
                    <a:pt x="324" y="18"/>
                  </a:lnTo>
                  <a:lnTo>
                    <a:pt x="360" y="18"/>
                  </a:lnTo>
                  <a:lnTo>
                    <a:pt x="378" y="18"/>
                  </a:lnTo>
                  <a:lnTo>
                    <a:pt x="378" y="30"/>
                  </a:lnTo>
                  <a:lnTo>
                    <a:pt x="390" y="30"/>
                  </a:lnTo>
                  <a:lnTo>
                    <a:pt x="432" y="30"/>
                  </a:lnTo>
                  <a:lnTo>
                    <a:pt x="456" y="24"/>
                  </a:lnTo>
                  <a:lnTo>
                    <a:pt x="480" y="24"/>
                  </a:lnTo>
                  <a:lnTo>
                    <a:pt x="498" y="30"/>
                  </a:lnTo>
                  <a:lnTo>
                    <a:pt x="522" y="18"/>
                  </a:lnTo>
                  <a:lnTo>
                    <a:pt x="528" y="0"/>
                  </a:lnTo>
                  <a:lnTo>
                    <a:pt x="558" y="6"/>
                  </a:lnTo>
                  <a:lnTo>
                    <a:pt x="558" y="12"/>
                  </a:lnTo>
                  <a:lnTo>
                    <a:pt x="570" y="18"/>
                  </a:lnTo>
                  <a:lnTo>
                    <a:pt x="576" y="24"/>
                  </a:lnTo>
                  <a:lnTo>
                    <a:pt x="588" y="36"/>
                  </a:lnTo>
                  <a:lnTo>
                    <a:pt x="594" y="48"/>
                  </a:lnTo>
                  <a:lnTo>
                    <a:pt x="606" y="48"/>
                  </a:lnTo>
                  <a:lnTo>
                    <a:pt x="606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42"/>
                  </a:lnTo>
                  <a:lnTo>
                    <a:pt x="636" y="42"/>
                  </a:lnTo>
                  <a:lnTo>
                    <a:pt x="636" y="48"/>
                  </a:lnTo>
                  <a:lnTo>
                    <a:pt x="642" y="54"/>
                  </a:lnTo>
                  <a:lnTo>
                    <a:pt x="636" y="60"/>
                  </a:lnTo>
                  <a:lnTo>
                    <a:pt x="636" y="66"/>
                  </a:lnTo>
                  <a:lnTo>
                    <a:pt x="636" y="78"/>
                  </a:lnTo>
                  <a:lnTo>
                    <a:pt x="624" y="84"/>
                  </a:lnTo>
                  <a:lnTo>
                    <a:pt x="618" y="90"/>
                  </a:lnTo>
                  <a:lnTo>
                    <a:pt x="612" y="90"/>
                  </a:lnTo>
                  <a:lnTo>
                    <a:pt x="600" y="102"/>
                  </a:lnTo>
                  <a:lnTo>
                    <a:pt x="594" y="108"/>
                  </a:lnTo>
                  <a:lnTo>
                    <a:pt x="582" y="114"/>
                  </a:lnTo>
                  <a:lnTo>
                    <a:pt x="570" y="132"/>
                  </a:lnTo>
                  <a:lnTo>
                    <a:pt x="564" y="132"/>
                  </a:lnTo>
                  <a:lnTo>
                    <a:pt x="564" y="138"/>
                  </a:lnTo>
                  <a:lnTo>
                    <a:pt x="558" y="144"/>
                  </a:lnTo>
                  <a:lnTo>
                    <a:pt x="558" y="150"/>
                  </a:lnTo>
                  <a:lnTo>
                    <a:pt x="552" y="150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0" y="162"/>
                  </a:lnTo>
                  <a:lnTo>
                    <a:pt x="534" y="168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6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28" y="234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16" y="294"/>
                  </a:lnTo>
                  <a:lnTo>
                    <a:pt x="516" y="312"/>
                  </a:lnTo>
                  <a:lnTo>
                    <a:pt x="528" y="318"/>
                  </a:lnTo>
                  <a:lnTo>
                    <a:pt x="540" y="360"/>
                  </a:lnTo>
                  <a:lnTo>
                    <a:pt x="558" y="408"/>
                  </a:lnTo>
                  <a:lnTo>
                    <a:pt x="570" y="426"/>
                  </a:lnTo>
                  <a:lnTo>
                    <a:pt x="576" y="432"/>
                  </a:lnTo>
                  <a:lnTo>
                    <a:pt x="576" y="438"/>
                  </a:lnTo>
                  <a:lnTo>
                    <a:pt x="576" y="444"/>
                  </a:lnTo>
                  <a:lnTo>
                    <a:pt x="576" y="46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3" name="Freeform 28">
              <a:extLst>
                <a:ext uri="{FF2B5EF4-FFF2-40B4-BE49-F238E27FC236}">
                  <a16:creationId xmlns:a16="http://schemas.microsoft.com/office/drawing/2014/main" id="{CF9B4F31-BF73-448E-83AA-188F6CF1BDC5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4879" y="3432583"/>
              <a:ext cx="324248" cy="270616"/>
            </a:xfrm>
            <a:custGeom>
              <a:avLst/>
              <a:gdLst>
                <a:gd name="T0" fmla="*/ 5 w 606"/>
                <a:gd name="T1" fmla="*/ 36 h 510"/>
                <a:gd name="T2" fmla="*/ 4 w 606"/>
                <a:gd name="T3" fmla="*/ 34 h 510"/>
                <a:gd name="T4" fmla="*/ 0 w 606"/>
                <a:gd name="T5" fmla="*/ 25 h 510"/>
                <a:gd name="T6" fmla="*/ 1 w 606"/>
                <a:gd name="T7" fmla="*/ 20 h 510"/>
                <a:gd name="T8" fmla="*/ 2 w 606"/>
                <a:gd name="T9" fmla="*/ 15 h 510"/>
                <a:gd name="T10" fmla="*/ 2 w 606"/>
                <a:gd name="T11" fmla="*/ 13 h 510"/>
                <a:gd name="T12" fmla="*/ 3 w 606"/>
                <a:gd name="T13" fmla="*/ 12 h 510"/>
                <a:gd name="T14" fmla="*/ 4 w 606"/>
                <a:gd name="T15" fmla="*/ 11 h 510"/>
                <a:gd name="T16" fmla="*/ 4 w 606"/>
                <a:gd name="T17" fmla="*/ 10 h 510"/>
                <a:gd name="T18" fmla="*/ 7 w 606"/>
                <a:gd name="T19" fmla="*/ 8 h 510"/>
                <a:gd name="T20" fmla="*/ 9 w 606"/>
                <a:gd name="T21" fmla="*/ 6 h 510"/>
                <a:gd name="T22" fmla="*/ 11 w 606"/>
                <a:gd name="T23" fmla="*/ 4 h 510"/>
                <a:gd name="T24" fmla="*/ 12 w 606"/>
                <a:gd name="T25" fmla="*/ 3 h 510"/>
                <a:gd name="T26" fmla="*/ 13 w 606"/>
                <a:gd name="T27" fmla="*/ 4 h 510"/>
                <a:gd name="T28" fmla="*/ 15 w 606"/>
                <a:gd name="T29" fmla="*/ 2 h 510"/>
                <a:gd name="T30" fmla="*/ 17 w 606"/>
                <a:gd name="T31" fmla="*/ 2 h 510"/>
                <a:gd name="T32" fmla="*/ 19 w 606"/>
                <a:gd name="T33" fmla="*/ 5 h 510"/>
                <a:gd name="T34" fmla="*/ 22 w 606"/>
                <a:gd name="T35" fmla="*/ 5 h 510"/>
                <a:gd name="T36" fmla="*/ 25 w 606"/>
                <a:gd name="T37" fmla="*/ 6 h 510"/>
                <a:gd name="T38" fmla="*/ 29 w 606"/>
                <a:gd name="T39" fmla="*/ 1 h 510"/>
                <a:gd name="T40" fmla="*/ 38 w 606"/>
                <a:gd name="T41" fmla="*/ 0 h 510"/>
                <a:gd name="T42" fmla="*/ 38 w 606"/>
                <a:gd name="T43" fmla="*/ 5 h 510"/>
                <a:gd name="T44" fmla="*/ 41 w 606"/>
                <a:gd name="T45" fmla="*/ 4 h 510"/>
                <a:gd name="T46" fmla="*/ 45 w 606"/>
                <a:gd name="T47" fmla="*/ 2 h 510"/>
                <a:gd name="T48" fmla="*/ 46 w 606"/>
                <a:gd name="T49" fmla="*/ 2 h 510"/>
                <a:gd name="T50" fmla="*/ 47 w 606"/>
                <a:gd name="T51" fmla="*/ 5 h 510"/>
                <a:gd name="T52" fmla="*/ 45 w 606"/>
                <a:gd name="T53" fmla="*/ 6 h 510"/>
                <a:gd name="T54" fmla="*/ 45 w 606"/>
                <a:gd name="T55" fmla="*/ 7 h 510"/>
                <a:gd name="T56" fmla="*/ 43 w 606"/>
                <a:gd name="T57" fmla="*/ 8 h 510"/>
                <a:gd name="T58" fmla="*/ 45 w 606"/>
                <a:gd name="T59" fmla="*/ 15 h 510"/>
                <a:gd name="T60" fmla="*/ 49 w 606"/>
                <a:gd name="T61" fmla="*/ 15 h 510"/>
                <a:gd name="T62" fmla="*/ 51 w 606"/>
                <a:gd name="T63" fmla="*/ 15 h 510"/>
                <a:gd name="T64" fmla="*/ 53 w 606"/>
                <a:gd name="T65" fmla="*/ 16 h 510"/>
                <a:gd name="T66" fmla="*/ 52 w 606"/>
                <a:gd name="T67" fmla="*/ 20 h 510"/>
                <a:gd name="T68" fmla="*/ 48 w 606"/>
                <a:gd name="T69" fmla="*/ 23 h 510"/>
                <a:gd name="T70" fmla="*/ 45 w 606"/>
                <a:gd name="T71" fmla="*/ 25 h 510"/>
                <a:gd name="T72" fmla="*/ 44 w 606"/>
                <a:gd name="T73" fmla="*/ 28 h 510"/>
                <a:gd name="T74" fmla="*/ 43 w 606"/>
                <a:gd name="T75" fmla="*/ 33 h 510"/>
                <a:gd name="T76" fmla="*/ 39 w 606"/>
                <a:gd name="T77" fmla="*/ 38 h 510"/>
                <a:gd name="T78" fmla="*/ 37 w 606"/>
                <a:gd name="T79" fmla="*/ 41 h 510"/>
                <a:gd name="T80" fmla="*/ 31 w 606"/>
                <a:gd name="T81" fmla="*/ 44 h 510"/>
                <a:gd name="T82" fmla="*/ 28 w 606"/>
                <a:gd name="T83" fmla="*/ 43 h 510"/>
                <a:gd name="T84" fmla="*/ 28 w 606"/>
                <a:gd name="T85" fmla="*/ 41 h 510"/>
                <a:gd name="T86" fmla="*/ 28 w 606"/>
                <a:gd name="T87" fmla="*/ 40 h 510"/>
                <a:gd name="T88" fmla="*/ 27 w 606"/>
                <a:gd name="T89" fmla="*/ 38 h 510"/>
                <a:gd name="T90" fmla="*/ 27 w 606"/>
                <a:gd name="T91" fmla="*/ 36 h 510"/>
                <a:gd name="T92" fmla="*/ 24 w 606"/>
                <a:gd name="T93" fmla="*/ 35 h 510"/>
                <a:gd name="T94" fmla="*/ 16 w 606"/>
                <a:gd name="T95" fmla="*/ 34 h 510"/>
                <a:gd name="T96" fmla="*/ 13 w 606"/>
                <a:gd name="T97" fmla="*/ 34 h 510"/>
                <a:gd name="T98" fmla="*/ 9 w 606"/>
                <a:gd name="T99" fmla="*/ 36 h 510"/>
                <a:gd name="T100" fmla="*/ 8 w 606"/>
                <a:gd name="T101" fmla="*/ 38 h 510"/>
                <a:gd name="T102" fmla="*/ 7 w 606"/>
                <a:gd name="T103" fmla="*/ 39 h 51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06"/>
                <a:gd name="T157" fmla="*/ 0 h 510"/>
                <a:gd name="T158" fmla="*/ 606 w 606"/>
                <a:gd name="T159" fmla="*/ 510 h 51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06" h="510">
                  <a:moveTo>
                    <a:pt x="60" y="450"/>
                  </a:move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42" y="390"/>
                  </a:lnTo>
                  <a:lnTo>
                    <a:pt x="24" y="342"/>
                  </a:lnTo>
                  <a:lnTo>
                    <a:pt x="12" y="300"/>
                  </a:lnTo>
                  <a:lnTo>
                    <a:pt x="0" y="294"/>
                  </a:lnTo>
                  <a:lnTo>
                    <a:pt x="0" y="276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24" y="192"/>
                  </a:lnTo>
                  <a:lnTo>
                    <a:pt x="24" y="180"/>
                  </a:lnTo>
                  <a:lnTo>
                    <a:pt x="24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6" y="96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108" y="66"/>
                  </a:lnTo>
                  <a:lnTo>
                    <a:pt x="120" y="60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36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62" y="36"/>
                  </a:lnTo>
                  <a:lnTo>
                    <a:pt x="162" y="30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0" y="54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46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76" y="66"/>
                  </a:lnTo>
                  <a:lnTo>
                    <a:pt x="312" y="66"/>
                  </a:lnTo>
                  <a:lnTo>
                    <a:pt x="318" y="60"/>
                  </a:lnTo>
                  <a:lnTo>
                    <a:pt x="330" y="12"/>
                  </a:lnTo>
                  <a:lnTo>
                    <a:pt x="414" y="6"/>
                  </a:lnTo>
                  <a:lnTo>
                    <a:pt x="420" y="0"/>
                  </a:lnTo>
                  <a:lnTo>
                    <a:pt x="426" y="6"/>
                  </a:lnTo>
                  <a:lnTo>
                    <a:pt x="426" y="12"/>
                  </a:lnTo>
                  <a:lnTo>
                    <a:pt x="426" y="54"/>
                  </a:lnTo>
                  <a:lnTo>
                    <a:pt x="432" y="54"/>
                  </a:lnTo>
                  <a:lnTo>
                    <a:pt x="444" y="54"/>
                  </a:lnTo>
                  <a:lnTo>
                    <a:pt x="450" y="42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86" y="24"/>
                  </a:lnTo>
                  <a:lnTo>
                    <a:pt x="504" y="18"/>
                  </a:lnTo>
                  <a:lnTo>
                    <a:pt x="510" y="12"/>
                  </a:lnTo>
                  <a:lnTo>
                    <a:pt x="516" y="18"/>
                  </a:lnTo>
                  <a:lnTo>
                    <a:pt x="522" y="24"/>
                  </a:lnTo>
                  <a:lnTo>
                    <a:pt x="510" y="30"/>
                  </a:lnTo>
                  <a:lnTo>
                    <a:pt x="516" y="48"/>
                  </a:lnTo>
                  <a:lnTo>
                    <a:pt x="528" y="54"/>
                  </a:lnTo>
                  <a:lnTo>
                    <a:pt x="522" y="60"/>
                  </a:lnTo>
                  <a:lnTo>
                    <a:pt x="516" y="66"/>
                  </a:lnTo>
                  <a:lnTo>
                    <a:pt x="516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0" y="84"/>
                  </a:lnTo>
                  <a:lnTo>
                    <a:pt x="510" y="90"/>
                  </a:lnTo>
                  <a:lnTo>
                    <a:pt x="504" y="90"/>
                  </a:lnTo>
                  <a:lnTo>
                    <a:pt x="486" y="90"/>
                  </a:lnTo>
                  <a:lnTo>
                    <a:pt x="492" y="138"/>
                  </a:lnTo>
                  <a:lnTo>
                    <a:pt x="498" y="168"/>
                  </a:lnTo>
                  <a:lnTo>
                    <a:pt x="516" y="168"/>
                  </a:lnTo>
                  <a:lnTo>
                    <a:pt x="528" y="174"/>
                  </a:lnTo>
                  <a:lnTo>
                    <a:pt x="534" y="168"/>
                  </a:lnTo>
                  <a:lnTo>
                    <a:pt x="558" y="174"/>
                  </a:lnTo>
                  <a:lnTo>
                    <a:pt x="564" y="168"/>
                  </a:lnTo>
                  <a:lnTo>
                    <a:pt x="570" y="168"/>
                  </a:lnTo>
                  <a:lnTo>
                    <a:pt x="576" y="174"/>
                  </a:lnTo>
                  <a:lnTo>
                    <a:pt x="588" y="168"/>
                  </a:lnTo>
                  <a:lnTo>
                    <a:pt x="594" y="168"/>
                  </a:lnTo>
                  <a:lnTo>
                    <a:pt x="594" y="186"/>
                  </a:lnTo>
                  <a:lnTo>
                    <a:pt x="606" y="198"/>
                  </a:lnTo>
                  <a:lnTo>
                    <a:pt x="600" y="210"/>
                  </a:lnTo>
                  <a:lnTo>
                    <a:pt x="588" y="234"/>
                  </a:lnTo>
                  <a:lnTo>
                    <a:pt x="564" y="246"/>
                  </a:lnTo>
                  <a:lnTo>
                    <a:pt x="546" y="258"/>
                  </a:lnTo>
                  <a:lnTo>
                    <a:pt x="540" y="270"/>
                  </a:lnTo>
                  <a:lnTo>
                    <a:pt x="534" y="294"/>
                  </a:lnTo>
                  <a:lnTo>
                    <a:pt x="528" y="300"/>
                  </a:lnTo>
                  <a:lnTo>
                    <a:pt x="516" y="294"/>
                  </a:lnTo>
                  <a:lnTo>
                    <a:pt x="510" y="300"/>
                  </a:lnTo>
                  <a:lnTo>
                    <a:pt x="498" y="318"/>
                  </a:lnTo>
                  <a:lnTo>
                    <a:pt x="492" y="324"/>
                  </a:lnTo>
                  <a:lnTo>
                    <a:pt x="486" y="336"/>
                  </a:lnTo>
                  <a:lnTo>
                    <a:pt x="486" y="354"/>
                  </a:lnTo>
                  <a:lnTo>
                    <a:pt x="486" y="384"/>
                  </a:lnTo>
                  <a:lnTo>
                    <a:pt x="474" y="408"/>
                  </a:lnTo>
                  <a:lnTo>
                    <a:pt x="450" y="426"/>
                  </a:lnTo>
                  <a:lnTo>
                    <a:pt x="444" y="444"/>
                  </a:lnTo>
                  <a:lnTo>
                    <a:pt x="426" y="474"/>
                  </a:lnTo>
                  <a:lnTo>
                    <a:pt x="420" y="486"/>
                  </a:lnTo>
                  <a:lnTo>
                    <a:pt x="414" y="486"/>
                  </a:lnTo>
                  <a:lnTo>
                    <a:pt x="414" y="498"/>
                  </a:lnTo>
                  <a:lnTo>
                    <a:pt x="378" y="504"/>
                  </a:lnTo>
                  <a:lnTo>
                    <a:pt x="348" y="510"/>
                  </a:lnTo>
                  <a:lnTo>
                    <a:pt x="330" y="510"/>
                  </a:lnTo>
                  <a:lnTo>
                    <a:pt x="324" y="504"/>
                  </a:lnTo>
                  <a:lnTo>
                    <a:pt x="318" y="504"/>
                  </a:lnTo>
                  <a:lnTo>
                    <a:pt x="312" y="504"/>
                  </a:lnTo>
                  <a:lnTo>
                    <a:pt x="312" y="498"/>
                  </a:lnTo>
                  <a:lnTo>
                    <a:pt x="312" y="486"/>
                  </a:lnTo>
                  <a:lnTo>
                    <a:pt x="312" y="480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56"/>
                  </a:lnTo>
                  <a:lnTo>
                    <a:pt x="312" y="450"/>
                  </a:lnTo>
                  <a:lnTo>
                    <a:pt x="306" y="444"/>
                  </a:lnTo>
                  <a:lnTo>
                    <a:pt x="306" y="438"/>
                  </a:lnTo>
                  <a:lnTo>
                    <a:pt x="300" y="426"/>
                  </a:lnTo>
                  <a:lnTo>
                    <a:pt x="300" y="420"/>
                  </a:lnTo>
                  <a:lnTo>
                    <a:pt x="294" y="414"/>
                  </a:lnTo>
                  <a:lnTo>
                    <a:pt x="294" y="408"/>
                  </a:lnTo>
                  <a:lnTo>
                    <a:pt x="270" y="408"/>
                  </a:lnTo>
                  <a:lnTo>
                    <a:pt x="246" y="408"/>
                  </a:lnTo>
                  <a:lnTo>
                    <a:pt x="222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56" y="402"/>
                  </a:lnTo>
                  <a:lnTo>
                    <a:pt x="144" y="396"/>
                  </a:lnTo>
                  <a:lnTo>
                    <a:pt x="126" y="396"/>
                  </a:lnTo>
                  <a:lnTo>
                    <a:pt x="108" y="408"/>
                  </a:lnTo>
                  <a:lnTo>
                    <a:pt x="102" y="414"/>
                  </a:lnTo>
                  <a:lnTo>
                    <a:pt x="102" y="420"/>
                  </a:lnTo>
                  <a:lnTo>
                    <a:pt x="96" y="426"/>
                  </a:lnTo>
                  <a:lnTo>
                    <a:pt x="96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78" y="450"/>
                  </a:lnTo>
                  <a:lnTo>
                    <a:pt x="60" y="45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4" name="Freeform 29">
              <a:extLst>
                <a:ext uri="{FF2B5EF4-FFF2-40B4-BE49-F238E27FC236}">
                  <a16:creationId xmlns:a16="http://schemas.microsoft.com/office/drawing/2014/main" id="{B6AC2B96-1504-4082-8778-17130FDA021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401" y="3537698"/>
              <a:ext cx="559048" cy="641876"/>
            </a:xfrm>
            <a:custGeom>
              <a:avLst/>
              <a:gdLst>
                <a:gd name="T0" fmla="*/ 39 w 1056"/>
                <a:gd name="T1" fmla="*/ 94 h 1206"/>
                <a:gd name="T2" fmla="*/ 35 w 1056"/>
                <a:gd name="T3" fmla="*/ 103 h 1206"/>
                <a:gd name="T4" fmla="*/ 29 w 1056"/>
                <a:gd name="T5" fmla="*/ 99 h 1206"/>
                <a:gd name="T6" fmla="*/ 23 w 1056"/>
                <a:gd name="T7" fmla="*/ 94 h 1206"/>
                <a:gd name="T8" fmla="*/ 21 w 1056"/>
                <a:gd name="T9" fmla="*/ 91 h 1206"/>
                <a:gd name="T10" fmla="*/ 18 w 1056"/>
                <a:gd name="T11" fmla="*/ 89 h 1206"/>
                <a:gd name="T12" fmla="*/ 15 w 1056"/>
                <a:gd name="T13" fmla="*/ 86 h 1206"/>
                <a:gd name="T14" fmla="*/ 11 w 1056"/>
                <a:gd name="T15" fmla="*/ 83 h 1206"/>
                <a:gd name="T16" fmla="*/ 8 w 1056"/>
                <a:gd name="T17" fmla="*/ 81 h 1206"/>
                <a:gd name="T18" fmla="*/ 6 w 1056"/>
                <a:gd name="T19" fmla="*/ 79 h 1206"/>
                <a:gd name="T20" fmla="*/ 13 w 1056"/>
                <a:gd name="T21" fmla="*/ 78 h 1206"/>
                <a:gd name="T22" fmla="*/ 8 w 1056"/>
                <a:gd name="T23" fmla="*/ 75 h 1206"/>
                <a:gd name="T24" fmla="*/ 13 w 1056"/>
                <a:gd name="T25" fmla="*/ 71 h 1206"/>
                <a:gd name="T26" fmla="*/ 10 w 1056"/>
                <a:gd name="T27" fmla="*/ 63 h 1206"/>
                <a:gd name="T28" fmla="*/ 6 w 1056"/>
                <a:gd name="T29" fmla="*/ 66 h 1206"/>
                <a:gd name="T30" fmla="*/ 1 w 1056"/>
                <a:gd name="T31" fmla="*/ 63 h 1206"/>
                <a:gd name="T32" fmla="*/ 1 w 1056"/>
                <a:gd name="T33" fmla="*/ 59 h 1206"/>
                <a:gd name="T34" fmla="*/ 3 w 1056"/>
                <a:gd name="T35" fmla="*/ 57 h 1206"/>
                <a:gd name="T36" fmla="*/ 6 w 1056"/>
                <a:gd name="T37" fmla="*/ 55 h 1206"/>
                <a:gd name="T38" fmla="*/ 10 w 1056"/>
                <a:gd name="T39" fmla="*/ 51 h 1206"/>
                <a:gd name="T40" fmla="*/ 11 w 1056"/>
                <a:gd name="T41" fmla="*/ 46 h 1206"/>
                <a:gd name="T42" fmla="*/ 14 w 1056"/>
                <a:gd name="T43" fmla="*/ 42 h 1206"/>
                <a:gd name="T44" fmla="*/ 15 w 1056"/>
                <a:gd name="T45" fmla="*/ 36 h 1206"/>
                <a:gd name="T46" fmla="*/ 17 w 1056"/>
                <a:gd name="T47" fmla="*/ 34 h 1206"/>
                <a:gd name="T48" fmla="*/ 20 w 1056"/>
                <a:gd name="T49" fmla="*/ 31 h 1206"/>
                <a:gd name="T50" fmla="*/ 21 w 1056"/>
                <a:gd name="T51" fmla="*/ 29 h 1206"/>
                <a:gd name="T52" fmla="*/ 23 w 1056"/>
                <a:gd name="T53" fmla="*/ 22 h 1206"/>
                <a:gd name="T54" fmla="*/ 35 w 1056"/>
                <a:gd name="T55" fmla="*/ 22 h 1206"/>
                <a:gd name="T56" fmla="*/ 41 w 1056"/>
                <a:gd name="T57" fmla="*/ 18 h 1206"/>
                <a:gd name="T58" fmla="*/ 54 w 1056"/>
                <a:gd name="T59" fmla="*/ 20 h 1206"/>
                <a:gd name="T60" fmla="*/ 54 w 1056"/>
                <a:gd name="T61" fmla="*/ 26 h 1206"/>
                <a:gd name="T62" fmla="*/ 64 w 1056"/>
                <a:gd name="T63" fmla="*/ 25 h 1206"/>
                <a:gd name="T64" fmla="*/ 71 w 1056"/>
                <a:gd name="T65" fmla="*/ 10 h 1206"/>
                <a:gd name="T66" fmla="*/ 80 w 1056"/>
                <a:gd name="T67" fmla="*/ 1 h 1206"/>
                <a:gd name="T68" fmla="*/ 86 w 1056"/>
                <a:gd name="T69" fmla="*/ 2 h 1206"/>
                <a:gd name="T70" fmla="*/ 91 w 1056"/>
                <a:gd name="T71" fmla="*/ 13 h 1206"/>
                <a:gd name="T72" fmla="*/ 88 w 1056"/>
                <a:gd name="T73" fmla="*/ 17 h 1206"/>
                <a:gd name="T74" fmla="*/ 89 w 1056"/>
                <a:gd name="T75" fmla="*/ 21 h 1206"/>
                <a:gd name="T76" fmla="*/ 86 w 1056"/>
                <a:gd name="T77" fmla="*/ 25 h 1206"/>
                <a:gd name="T78" fmla="*/ 85 w 1056"/>
                <a:gd name="T79" fmla="*/ 31 h 1206"/>
                <a:gd name="T80" fmla="*/ 83 w 1056"/>
                <a:gd name="T81" fmla="*/ 36 h 1206"/>
                <a:gd name="T82" fmla="*/ 80 w 1056"/>
                <a:gd name="T83" fmla="*/ 42 h 1206"/>
                <a:gd name="T84" fmla="*/ 80 w 1056"/>
                <a:gd name="T85" fmla="*/ 47 h 1206"/>
                <a:gd name="T86" fmla="*/ 77 w 1056"/>
                <a:gd name="T87" fmla="*/ 55 h 1206"/>
                <a:gd name="T88" fmla="*/ 75 w 1056"/>
                <a:gd name="T89" fmla="*/ 57 h 1206"/>
                <a:gd name="T90" fmla="*/ 66 w 1056"/>
                <a:gd name="T91" fmla="*/ 57 h 1206"/>
                <a:gd name="T92" fmla="*/ 66 w 1056"/>
                <a:gd name="T93" fmla="*/ 51 h 1206"/>
                <a:gd name="T94" fmla="*/ 48 w 1056"/>
                <a:gd name="T95" fmla="*/ 50 h 1206"/>
                <a:gd name="T96" fmla="*/ 46 w 1056"/>
                <a:gd name="T97" fmla="*/ 55 h 1206"/>
                <a:gd name="T98" fmla="*/ 42 w 1056"/>
                <a:gd name="T99" fmla="*/ 59 h 1206"/>
                <a:gd name="T100" fmla="*/ 41 w 1056"/>
                <a:gd name="T101" fmla="*/ 62 h 1206"/>
                <a:gd name="T102" fmla="*/ 43 w 1056"/>
                <a:gd name="T103" fmla="*/ 67 h 1206"/>
                <a:gd name="T104" fmla="*/ 42 w 1056"/>
                <a:gd name="T105" fmla="*/ 72 h 1206"/>
                <a:gd name="T106" fmla="*/ 39 w 1056"/>
                <a:gd name="T107" fmla="*/ 77 h 1206"/>
                <a:gd name="T108" fmla="*/ 36 w 1056"/>
                <a:gd name="T109" fmla="*/ 80 h 1206"/>
                <a:gd name="T110" fmla="*/ 37 w 1056"/>
                <a:gd name="T111" fmla="*/ 83 h 1206"/>
                <a:gd name="T112" fmla="*/ 40 w 1056"/>
                <a:gd name="T113" fmla="*/ 87 h 1206"/>
                <a:gd name="T114" fmla="*/ 42 w 1056"/>
                <a:gd name="T115" fmla="*/ 89 h 12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56"/>
                <a:gd name="T175" fmla="*/ 0 h 1206"/>
                <a:gd name="T176" fmla="*/ 1056 w 1056"/>
                <a:gd name="T177" fmla="*/ 1206 h 12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56" h="1206">
                  <a:moveTo>
                    <a:pt x="492" y="1032"/>
                  </a:moveTo>
                  <a:lnTo>
                    <a:pt x="486" y="1038"/>
                  </a:lnTo>
                  <a:lnTo>
                    <a:pt x="486" y="1044"/>
                  </a:lnTo>
                  <a:lnTo>
                    <a:pt x="480" y="1044"/>
                  </a:lnTo>
                  <a:lnTo>
                    <a:pt x="474" y="1056"/>
                  </a:lnTo>
                  <a:lnTo>
                    <a:pt x="462" y="1068"/>
                  </a:lnTo>
                  <a:lnTo>
                    <a:pt x="456" y="1080"/>
                  </a:lnTo>
                  <a:lnTo>
                    <a:pt x="450" y="1080"/>
                  </a:lnTo>
                  <a:lnTo>
                    <a:pt x="450" y="1086"/>
                  </a:lnTo>
                  <a:lnTo>
                    <a:pt x="450" y="1092"/>
                  </a:lnTo>
                  <a:lnTo>
                    <a:pt x="444" y="1104"/>
                  </a:lnTo>
                  <a:lnTo>
                    <a:pt x="444" y="1116"/>
                  </a:lnTo>
                  <a:lnTo>
                    <a:pt x="438" y="1128"/>
                  </a:lnTo>
                  <a:lnTo>
                    <a:pt x="432" y="1134"/>
                  </a:lnTo>
                  <a:lnTo>
                    <a:pt x="432" y="1140"/>
                  </a:lnTo>
                  <a:lnTo>
                    <a:pt x="420" y="1152"/>
                  </a:lnTo>
                  <a:lnTo>
                    <a:pt x="420" y="1158"/>
                  </a:lnTo>
                  <a:lnTo>
                    <a:pt x="408" y="1182"/>
                  </a:lnTo>
                  <a:lnTo>
                    <a:pt x="396" y="1194"/>
                  </a:lnTo>
                  <a:lnTo>
                    <a:pt x="390" y="1206"/>
                  </a:lnTo>
                  <a:lnTo>
                    <a:pt x="390" y="1200"/>
                  </a:lnTo>
                  <a:lnTo>
                    <a:pt x="384" y="1194"/>
                  </a:lnTo>
                  <a:lnTo>
                    <a:pt x="378" y="1188"/>
                  </a:lnTo>
                  <a:lnTo>
                    <a:pt x="366" y="1176"/>
                  </a:lnTo>
                  <a:lnTo>
                    <a:pt x="366" y="1170"/>
                  </a:lnTo>
                  <a:lnTo>
                    <a:pt x="348" y="1152"/>
                  </a:lnTo>
                  <a:lnTo>
                    <a:pt x="336" y="1140"/>
                  </a:lnTo>
                  <a:lnTo>
                    <a:pt x="330" y="1134"/>
                  </a:lnTo>
                  <a:lnTo>
                    <a:pt x="324" y="1128"/>
                  </a:lnTo>
                  <a:lnTo>
                    <a:pt x="318" y="1122"/>
                  </a:lnTo>
                  <a:lnTo>
                    <a:pt x="312" y="1116"/>
                  </a:lnTo>
                  <a:lnTo>
                    <a:pt x="306" y="1110"/>
                  </a:lnTo>
                  <a:lnTo>
                    <a:pt x="300" y="1104"/>
                  </a:lnTo>
                  <a:lnTo>
                    <a:pt x="294" y="1098"/>
                  </a:lnTo>
                  <a:lnTo>
                    <a:pt x="276" y="1080"/>
                  </a:lnTo>
                  <a:lnTo>
                    <a:pt x="270" y="1080"/>
                  </a:lnTo>
                  <a:lnTo>
                    <a:pt x="270" y="1074"/>
                  </a:lnTo>
                  <a:lnTo>
                    <a:pt x="264" y="1068"/>
                  </a:lnTo>
                  <a:lnTo>
                    <a:pt x="258" y="1062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40" y="1050"/>
                  </a:lnTo>
                  <a:lnTo>
                    <a:pt x="234" y="1044"/>
                  </a:lnTo>
                  <a:lnTo>
                    <a:pt x="228" y="1044"/>
                  </a:lnTo>
                  <a:lnTo>
                    <a:pt x="222" y="1038"/>
                  </a:lnTo>
                  <a:lnTo>
                    <a:pt x="222" y="1032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6"/>
                  </a:lnTo>
                  <a:lnTo>
                    <a:pt x="204" y="1020"/>
                  </a:lnTo>
                  <a:lnTo>
                    <a:pt x="204" y="1014"/>
                  </a:lnTo>
                  <a:lnTo>
                    <a:pt x="198" y="1014"/>
                  </a:lnTo>
                  <a:lnTo>
                    <a:pt x="192" y="1014"/>
                  </a:lnTo>
                  <a:lnTo>
                    <a:pt x="192" y="1008"/>
                  </a:lnTo>
                  <a:lnTo>
                    <a:pt x="186" y="1008"/>
                  </a:lnTo>
                  <a:lnTo>
                    <a:pt x="186" y="1002"/>
                  </a:lnTo>
                  <a:lnTo>
                    <a:pt x="180" y="1002"/>
                  </a:lnTo>
                  <a:lnTo>
                    <a:pt x="174" y="996"/>
                  </a:lnTo>
                  <a:lnTo>
                    <a:pt x="168" y="996"/>
                  </a:lnTo>
                  <a:lnTo>
                    <a:pt x="168" y="990"/>
                  </a:lnTo>
                  <a:lnTo>
                    <a:pt x="162" y="990"/>
                  </a:lnTo>
                  <a:lnTo>
                    <a:pt x="162" y="984"/>
                  </a:lnTo>
                  <a:lnTo>
                    <a:pt x="150" y="978"/>
                  </a:lnTo>
                  <a:lnTo>
                    <a:pt x="144" y="972"/>
                  </a:lnTo>
                  <a:lnTo>
                    <a:pt x="138" y="972"/>
                  </a:lnTo>
                  <a:lnTo>
                    <a:pt x="138" y="966"/>
                  </a:lnTo>
                  <a:lnTo>
                    <a:pt x="132" y="966"/>
                  </a:lnTo>
                  <a:lnTo>
                    <a:pt x="126" y="960"/>
                  </a:lnTo>
                  <a:lnTo>
                    <a:pt x="126" y="954"/>
                  </a:lnTo>
                  <a:lnTo>
                    <a:pt x="120" y="954"/>
                  </a:lnTo>
                  <a:lnTo>
                    <a:pt x="114" y="948"/>
                  </a:lnTo>
                  <a:lnTo>
                    <a:pt x="108" y="948"/>
                  </a:lnTo>
                  <a:lnTo>
                    <a:pt x="108" y="942"/>
                  </a:lnTo>
                  <a:lnTo>
                    <a:pt x="102" y="942"/>
                  </a:lnTo>
                  <a:lnTo>
                    <a:pt x="96" y="942"/>
                  </a:lnTo>
                  <a:lnTo>
                    <a:pt x="96" y="936"/>
                  </a:lnTo>
                  <a:lnTo>
                    <a:pt x="90" y="936"/>
                  </a:lnTo>
                  <a:lnTo>
                    <a:pt x="90" y="930"/>
                  </a:lnTo>
                  <a:lnTo>
                    <a:pt x="84" y="930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18"/>
                  </a:lnTo>
                  <a:lnTo>
                    <a:pt x="66" y="918"/>
                  </a:lnTo>
                  <a:lnTo>
                    <a:pt x="66" y="912"/>
                  </a:lnTo>
                  <a:lnTo>
                    <a:pt x="66" y="906"/>
                  </a:lnTo>
                  <a:lnTo>
                    <a:pt x="72" y="906"/>
                  </a:lnTo>
                  <a:lnTo>
                    <a:pt x="84" y="906"/>
                  </a:lnTo>
                  <a:lnTo>
                    <a:pt x="90" y="906"/>
                  </a:lnTo>
                  <a:lnTo>
                    <a:pt x="120" y="930"/>
                  </a:lnTo>
                  <a:lnTo>
                    <a:pt x="126" y="936"/>
                  </a:lnTo>
                  <a:lnTo>
                    <a:pt x="138" y="936"/>
                  </a:lnTo>
                  <a:lnTo>
                    <a:pt x="138" y="930"/>
                  </a:lnTo>
                  <a:lnTo>
                    <a:pt x="144" y="930"/>
                  </a:lnTo>
                  <a:lnTo>
                    <a:pt x="144" y="924"/>
                  </a:lnTo>
                  <a:lnTo>
                    <a:pt x="150" y="900"/>
                  </a:lnTo>
                  <a:lnTo>
                    <a:pt x="138" y="894"/>
                  </a:lnTo>
                  <a:lnTo>
                    <a:pt x="126" y="894"/>
                  </a:lnTo>
                  <a:lnTo>
                    <a:pt x="108" y="888"/>
                  </a:lnTo>
                  <a:lnTo>
                    <a:pt x="84" y="882"/>
                  </a:lnTo>
                  <a:lnTo>
                    <a:pt x="72" y="882"/>
                  </a:lnTo>
                  <a:lnTo>
                    <a:pt x="72" y="876"/>
                  </a:lnTo>
                  <a:lnTo>
                    <a:pt x="78" y="870"/>
                  </a:lnTo>
                  <a:lnTo>
                    <a:pt x="90" y="870"/>
                  </a:lnTo>
                  <a:lnTo>
                    <a:pt x="96" y="870"/>
                  </a:lnTo>
                  <a:lnTo>
                    <a:pt x="102" y="870"/>
                  </a:lnTo>
                  <a:lnTo>
                    <a:pt x="114" y="870"/>
                  </a:lnTo>
                  <a:lnTo>
                    <a:pt x="120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34"/>
                  </a:lnTo>
                  <a:lnTo>
                    <a:pt x="132" y="828"/>
                  </a:lnTo>
                  <a:lnTo>
                    <a:pt x="132" y="816"/>
                  </a:lnTo>
                  <a:lnTo>
                    <a:pt x="150" y="816"/>
                  </a:lnTo>
                  <a:lnTo>
                    <a:pt x="150" y="804"/>
                  </a:lnTo>
                  <a:lnTo>
                    <a:pt x="144" y="798"/>
                  </a:lnTo>
                  <a:lnTo>
                    <a:pt x="156" y="762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32"/>
                  </a:lnTo>
                  <a:lnTo>
                    <a:pt x="144" y="726"/>
                  </a:lnTo>
                  <a:lnTo>
                    <a:pt x="132" y="726"/>
                  </a:lnTo>
                  <a:lnTo>
                    <a:pt x="120" y="732"/>
                  </a:lnTo>
                  <a:lnTo>
                    <a:pt x="114" y="744"/>
                  </a:lnTo>
                  <a:lnTo>
                    <a:pt x="108" y="750"/>
                  </a:lnTo>
                  <a:lnTo>
                    <a:pt x="96" y="768"/>
                  </a:lnTo>
                  <a:lnTo>
                    <a:pt x="96" y="774"/>
                  </a:lnTo>
                  <a:lnTo>
                    <a:pt x="90" y="780"/>
                  </a:lnTo>
                  <a:lnTo>
                    <a:pt x="84" y="804"/>
                  </a:lnTo>
                  <a:lnTo>
                    <a:pt x="72" y="774"/>
                  </a:lnTo>
                  <a:lnTo>
                    <a:pt x="72" y="768"/>
                  </a:lnTo>
                  <a:lnTo>
                    <a:pt x="66" y="762"/>
                  </a:lnTo>
                  <a:lnTo>
                    <a:pt x="60" y="750"/>
                  </a:lnTo>
                  <a:lnTo>
                    <a:pt x="54" y="750"/>
                  </a:lnTo>
                  <a:lnTo>
                    <a:pt x="48" y="750"/>
                  </a:lnTo>
                  <a:lnTo>
                    <a:pt x="42" y="750"/>
                  </a:lnTo>
                  <a:lnTo>
                    <a:pt x="30" y="744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12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2" y="702"/>
                  </a:lnTo>
                  <a:lnTo>
                    <a:pt x="18" y="696"/>
                  </a:lnTo>
                  <a:lnTo>
                    <a:pt x="12" y="690"/>
                  </a:lnTo>
                  <a:lnTo>
                    <a:pt x="12" y="684"/>
                  </a:lnTo>
                  <a:lnTo>
                    <a:pt x="12" y="678"/>
                  </a:lnTo>
                  <a:lnTo>
                    <a:pt x="12" y="672"/>
                  </a:lnTo>
                  <a:lnTo>
                    <a:pt x="18" y="672"/>
                  </a:lnTo>
                  <a:lnTo>
                    <a:pt x="18" y="666"/>
                  </a:lnTo>
                  <a:lnTo>
                    <a:pt x="24" y="666"/>
                  </a:lnTo>
                  <a:lnTo>
                    <a:pt x="24" y="660"/>
                  </a:lnTo>
                  <a:lnTo>
                    <a:pt x="30" y="660"/>
                  </a:lnTo>
                  <a:lnTo>
                    <a:pt x="30" y="654"/>
                  </a:lnTo>
                  <a:lnTo>
                    <a:pt x="36" y="654"/>
                  </a:lnTo>
                  <a:lnTo>
                    <a:pt x="36" y="648"/>
                  </a:lnTo>
                  <a:lnTo>
                    <a:pt x="42" y="648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60" y="630"/>
                  </a:lnTo>
                  <a:lnTo>
                    <a:pt x="66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78" y="624"/>
                  </a:lnTo>
                  <a:lnTo>
                    <a:pt x="84" y="618"/>
                  </a:lnTo>
                  <a:lnTo>
                    <a:pt x="84" y="612"/>
                  </a:lnTo>
                  <a:lnTo>
                    <a:pt x="90" y="612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20" y="588"/>
                  </a:lnTo>
                  <a:lnTo>
                    <a:pt x="120" y="582"/>
                  </a:lnTo>
                  <a:lnTo>
                    <a:pt x="120" y="576"/>
                  </a:lnTo>
                  <a:lnTo>
                    <a:pt x="120" y="570"/>
                  </a:lnTo>
                  <a:lnTo>
                    <a:pt x="126" y="564"/>
                  </a:lnTo>
                  <a:lnTo>
                    <a:pt x="126" y="558"/>
                  </a:lnTo>
                  <a:lnTo>
                    <a:pt x="126" y="552"/>
                  </a:lnTo>
                  <a:lnTo>
                    <a:pt x="126" y="546"/>
                  </a:lnTo>
                  <a:lnTo>
                    <a:pt x="126" y="534"/>
                  </a:lnTo>
                  <a:lnTo>
                    <a:pt x="126" y="516"/>
                  </a:lnTo>
                  <a:lnTo>
                    <a:pt x="126" y="510"/>
                  </a:lnTo>
                  <a:lnTo>
                    <a:pt x="126" y="504"/>
                  </a:lnTo>
                  <a:lnTo>
                    <a:pt x="126" y="498"/>
                  </a:lnTo>
                  <a:lnTo>
                    <a:pt x="132" y="498"/>
                  </a:lnTo>
                  <a:lnTo>
                    <a:pt x="132" y="492"/>
                  </a:lnTo>
                  <a:lnTo>
                    <a:pt x="138" y="492"/>
                  </a:lnTo>
                  <a:lnTo>
                    <a:pt x="144" y="486"/>
                  </a:lnTo>
                  <a:lnTo>
                    <a:pt x="156" y="480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6" y="462"/>
                  </a:lnTo>
                  <a:lnTo>
                    <a:pt x="156" y="456"/>
                  </a:lnTo>
                  <a:lnTo>
                    <a:pt x="156" y="450"/>
                  </a:lnTo>
                  <a:lnTo>
                    <a:pt x="162" y="438"/>
                  </a:lnTo>
                  <a:lnTo>
                    <a:pt x="168" y="426"/>
                  </a:lnTo>
                  <a:lnTo>
                    <a:pt x="174" y="426"/>
                  </a:lnTo>
                  <a:lnTo>
                    <a:pt x="174" y="420"/>
                  </a:lnTo>
                  <a:lnTo>
                    <a:pt x="180" y="414"/>
                  </a:lnTo>
                  <a:lnTo>
                    <a:pt x="186" y="420"/>
                  </a:lnTo>
                  <a:lnTo>
                    <a:pt x="186" y="414"/>
                  </a:lnTo>
                  <a:lnTo>
                    <a:pt x="180" y="408"/>
                  </a:lnTo>
                  <a:lnTo>
                    <a:pt x="180" y="402"/>
                  </a:lnTo>
                  <a:lnTo>
                    <a:pt x="186" y="402"/>
                  </a:lnTo>
                  <a:lnTo>
                    <a:pt x="192" y="402"/>
                  </a:lnTo>
                  <a:lnTo>
                    <a:pt x="192" y="396"/>
                  </a:lnTo>
                  <a:lnTo>
                    <a:pt x="198" y="396"/>
                  </a:lnTo>
                  <a:lnTo>
                    <a:pt x="204" y="396"/>
                  </a:lnTo>
                  <a:lnTo>
                    <a:pt x="210" y="396"/>
                  </a:lnTo>
                  <a:lnTo>
                    <a:pt x="210" y="390"/>
                  </a:lnTo>
                  <a:lnTo>
                    <a:pt x="216" y="390"/>
                  </a:lnTo>
                  <a:lnTo>
                    <a:pt x="216" y="384"/>
                  </a:lnTo>
                  <a:lnTo>
                    <a:pt x="222" y="384"/>
                  </a:lnTo>
                  <a:lnTo>
                    <a:pt x="222" y="378"/>
                  </a:lnTo>
                  <a:lnTo>
                    <a:pt x="228" y="372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0" y="348"/>
                  </a:lnTo>
                  <a:lnTo>
                    <a:pt x="234" y="342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46" y="330"/>
                  </a:lnTo>
                  <a:lnTo>
                    <a:pt x="246" y="324"/>
                  </a:lnTo>
                  <a:lnTo>
                    <a:pt x="234" y="318"/>
                  </a:lnTo>
                  <a:lnTo>
                    <a:pt x="234" y="312"/>
                  </a:lnTo>
                  <a:lnTo>
                    <a:pt x="234" y="300"/>
                  </a:lnTo>
                  <a:lnTo>
                    <a:pt x="240" y="288"/>
                  </a:lnTo>
                  <a:lnTo>
                    <a:pt x="240" y="276"/>
                  </a:lnTo>
                  <a:lnTo>
                    <a:pt x="246" y="258"/>
                  </a:lnTo>
                  <a:lnTo>
                    <a:pt x="258" y="252"/>
                  </a:lnTo>
                  <a:lnTo>
                    <a:pt x="270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294" y="252"/>
                  </a:lnTo>
                  <a:lnTo>
                    <a:pt x="300" y="258"/>
                  </a:lnTo>
                  <a:lnTo>
                    <a:pt x="318" y="252"/>
                  </a:lnTo>
                  <a:lnTo>
                    <a:pt x="366" y="252"/>
                  </a:lnTo>
                  <a:lnTo>
                    <a:pt x="378" y="252"/>
                  </a:lnTo>
                  <a:lnTo>
                    <a:pt x="396" y="252"/>
                  </a:lnTo>
                  <a:lnTo>
                    <a:pt x="408" y="252"/>
                  </a:lnTo>
                  <a:lnTo>
                    <a:pt x="408" y="246"/>
                  </a:lnTo>
                  <a:lnTo>
                    <a:pt x="414" y="240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20" y="216"/>
                  </a:lnTo>
                  <a:lnTo>
                    <a:pt x="426" y="210"/>
                  </a:lnTo>
                  <a:lnTo>
                    <a:pt x="444" y="198"/>
                  </a:lnTo>
                  <a:lnTo>
                    <a:pt x="462" y="198"/>
                  </a:lnTo>
                  <a:lnTo>
                    <a:pt x="474" y="204"/>
                  </a:lnTo>
                  <a:lnTo>
                    <a:pt x="498" y="198"/>
                  </a:lnTo>
                  <a:lnTo>
                    <a:pt x="498" y="204"/>
                  </a:lnTo>
                  <a:lnTo>
                    <a:pt x="540" y="210"/>
                  </a:lnTo>
                  <a:lnTo>
                    <a:pt x="564" y="210"/>
                  </a:lnTo>
                  <a:lnTo>
                    <a:pt x="588" y="210"/>
                  </a:lnTo>
                  <a:lnTo>
                    <a:pt x="612" y="210"/>
                  </a:lnTo>
                  <a:lnTo>
                    <a:pt x="612" y="216"/>
                  </a:lnTo>
                  <a:lnTo>
                    <a:pt x="618" y="222"/>
                  </a:lnTo>
                  <a:lnTo>
                    <a:pt x="618" y="228"/>
                  </a:lnTo>
                  <a:lnTo>
                    <a:pt x="624" y="240"/>
                  </a:lnTo>
                  <a:lnTo>
                    <a:pt x="624" y="246"/>
                  </a:lnTo>
                  <a:lnTo>
                    <a:pt x="630" y="252"/>
                  </a:lnTo>
                  <a:lnTo>
                    <a:pt x="630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0" y="282"/>
                  </a:lnTo>
                  <a:lnTo>
                    <a:pt x="630" y="288"/>
                  </a:lnTo>
                  <a:lnTo>
                    <a:pt x="630" y="300"/>
                  </a:lnTo>
                  <a:lnTo>
                    <a:pt x="630" y="306"/>
                  </a:lnTo>
                  <a:lnTo>
                    <a:pt x="636" y="306"/>
                  </a:lnTo>
                  <a:lnTo>
                    <a:pt x="642" y="306"/>
                  </a:lnTo>
                  <a:lnTo>
                    <a:pt x="648" y="312"/>
                  </a:lnTo>
                  <a:lnTo>
                    <a:pt x="666" y="312"/>
                  </a:lnTo>
                  <a:lnTo>
                    <a:pt x="696" y="306"/>
                  </a:lnTo>
                  <a:lnTo>
                    <a:pt x="732" y="300"/>
                  </a:lnTo>
                  <a:lnTo>
                    <a:pt x="732" y="288"/>
                  </a:lnTo>
                  <a:lnTo>
                    <a:pt x="738" y="288"/>
                  </a:lnTo>
                  <a:lnTo>
                    <a:pt x="744" y="276"/>
                  </a:lnTo>
                  <a:lnTo>
                    <a:pt x="762" y="246"/>
                  </a:lnTo>
                  <a:lnTo>
                    <a:pt x="768" y="228"/>
                  </a:lnTo>
                  <a:lnTo>
                    <a:pt x="792" y="210"/>
                  </a:lnTo>
                  <a:lnTo>
                    <a:pt x="804" y="186"/>
                  </a:lnTo>
                  <a:lnTo>
                    <a:pt x="804" y="156"/>
                  </a:lnTo>
                  <a:lnTo>
                    <a:pt x="804" y="138"/>
                  </a:lnTo>
                  <a:lnTo>
                    <a:pt x="810" y="126"/>
                  </a:lnTo>
                  <a:lnTo>
                    <a:pt x="816" y="120"/>
                  </a:lnTo>
                  <a:lnTo>
                    <a:pt x="828" y="102"/>
                  </a:lnTo>
                  <a:lnTo>
                    <a:pt x="834" y="96"/>
                  </a:lnTo>
                  <a:lnTo>
                    <a:pt x="846" y="102"/>
                  </a:lnTo>
                  <a:lnTo>
                    <a:pt x="852" y="96"/>
                  </a:lnTo>
                  <a:lnTo>
                    <a:pt x="858" y="72"/>
                  </a:lnTo>
                  <a:lnTo>
                    <a:pt x="864" y="60"/>
                  </a:lnTo>
                  <a:lnTo>
                    <a:pt x="882" y="48"/>
                  </a:lnTo>
                  <a:lnTo>
                    <a:pt x="906" y="36"/>
                  </a:lnTo>
                  <a:lnTo>
                    <a:pt x="918" y="12"/>
                  </a:lnTo>
                  <a:lnTo>
                    <a:pt x="924" y="0"/>
                  </a:lnTo>
                  <a:lnTo>
                    <a:pt x="930" y="6"/>
                  </a:lnTo>
                  <a:lnTo>
                    <a:pt x="942" y="12"/>
                  </a:lnTo>
                  <a:lnTo>
                    <a:pt x="948" y="12"/>
                  </a:lnTo>
                  <a:lnTo>
                    <a:pt x="954" y="18"/>
                  </a:lnTo>
                  <a:lnTo>
                    <a:pt x="966" y="18"/>
                  </a:lnTo>
                  <a:lnTo>
                    <a:pt x="972" y="18"/>
                  </a:lnTo>
                  <a:lnTo>
                    <a:pt x="984" y="18"/>
                  </a:lnTo>
                  <a:lnTo>
                    <a:pt x="990" y="18"/>
                  </a:lnTo>
                  <a:lnTo>
                    <a:pt x="1002" y="48"/>
                  </a:lnTo>
                  <a:lnTo>
                    <a:pt x="1008" y="78"/>
                  </a:lnTo>
                  <a:lnTo>
                    <a:pt x="1020" y="78"/>
                  </a:lnTo>
                  <a:lnTo>
                    <a:pt x="1020" y="90"/>
                  </a:lnTo>
                  <a:lnTo>
                    <a:pt x="1026" y="102"/>
                  </a:lnTo>
                  <a:lnTo>
                    <a:pt x="1044" y="120"/>
                  </a:lnTo>
                  <a:lnTo>
                    <a:pt x="1044" y="132"/>
                  </a:lnTo>
                  <a:lnTo>
                    <a:pt x="1056" y="150"/>
                  </a:lnTo>
                  <a:lnTo>
                    <a:pt x="1050" y="150"/>
                  </a:lnTo>
                  <a:lnTo>
                    <a:pt x="1044" y="156"/>
                  </a:lnTo>
                  <a:lnTo>
                    <a:pt x="1044" y="162"/>
                  </a:lnTo>
                  <a:lnTo>
                    <a:pt x="1038" y="162"/>
                  </a:lnTo>
                  <a:lnTo>
                    <a:pt x="1032" y="162"/>
                  </a:lnTo>
                  <a:lnTo>
                    <a:pt x="1026" y="168"/>
                  </a:lnTo>
                  <a:lnTo>
                    <a:pt x="1014" y="174"/>
                  </a:lnTo>
                  <a:lnTo>
                    <a:pt x="1014" y="186"/>
                  </a:lnTo>
                  <a:lnTo>
                    <a:pt x="1014" y="192"/>
                  </a:lnTo>
                  <a:lnTo>
                    <a:pt x="1014" y="198"/>
                  </a:lnTo>
                  <a:lnTo>
                    <a:pt x="1020" y="204"/>
                  </a:lnTo>
                  <a:lnTo>
                    <a:pt x="1026" y="204"/>
                  </a:lnTo>
                  <a:lnTo>
                    <a:pt x="1032" y="204"/>
                  </a:lnTo>
                  <a:lnTo>
                    <a:pt x="1032" y="210"/>
                  </a:lnTo>
                  <a:lnTo>
                    <a:pt x="1038" y="210"/>
                  </a:lnTo>
                  <a:lnTo>
                    <a:pt x="1032" y="216"/>
                  </a:lnTo>
                  <a:lnTo>
                    <a:pt x="1026" y="228"/>
                  </a:lnTo>
                  <a:lnTo>
                    <a:pt x="1026" y="234"/>
                  </a:lnTo>
                  <a:lnTo>
                    <a:pt x="1032" y="240"/>
                  </a:lnTo>
                  <a:lnTo>
                    <a:pt x="1032" y="246"/>
                  </a:lnTo>
                  <a:lnTo>
                    <a:pt x="1032" y="252"/>
                  </a:lnTo>
                  <a:lnTo>
                    <a:pt x="1032" y="258"/>
                  </a:lnTo>
                  <a:lnTo>
                    <a:pt x="1038" y="264"/>
                  </a:lnTo>
                  <a:lnTo>
                    <a:pt x="1032" y="276"/>
                  </a:lnTo>
                  <a:lnTo>
                    <a:pt x="1026" y="276"/>
                  </a:lnTo>
                  <a:lnTo>
                    <a:pt x="1020" y="276"/>
                  </a:lnTo>
                  <a:lnTo>
                    <a:pt x="996" y="282"/>
                  </a:lnTo>
                  <a:lnTo>
                    <a:pt x="996" y="288"/>
                  </a:lnTo>
                  <a:lnTo>
                    <a:pt x="996" y="294"/>
                  </a:lnTo>
                  <a:lnTo>
                    <a:pt x="996" y="300"/>
                  </a:lnTo>
                  <a:lnTo>
                    <a:pt x="996" y="306"/>
                  </a:lnTo>
                  <a:lnTo>
                    <a:pt x="984" y="324"/>
                  </a:lnTo>
                  <a:lnTo>
                    <a:pt x="984" y="330"/>
                  </a:lnTo>
                  <a:lnTo>
                    <a:pt x="984" y="336"/>
                  </a:lnTo>
                  <a:lnTo>
                    <a:pt x="978" y="336"/>
                  </a:lnTo>
                  <a:lnTo>
                    <a:pt x="978" y="342"/>
                  </a:lnTo>
                  <a:lnTo>
                    <a:pt x="984" y="360"/>
                  </a:lnTo>
                  <a:lnTo>
                    <a:pt x="978" y="366"/>
                  </a:lnTo>
                  <a:lnTo>
                    <a:pt x="978" y="372"/>
                  </a:lnTo>
                  <a:lnTo>
                    <a:pt x="972" y="372"/>
                  </a:lnTo>
                  <a:lnTo>
                    <a:pt x="972" y="378"/>
                  </a:lnTo>
                  <a:lnTo>
                    <a:pt x="972" y="384"/>
                  </a:lnTo>
                  <a:lnTo>
                    <a:pt x="972" y="390"/>
                  </a:lnTo>
                  <a:lnTo>
                    <a:pt x="966" y="402"/>
                  </a:lnTo>
                  <a:lnTo>
                    <a:pt x="960" y="414"/>
                  </a:lnTo>
                  <a:lnTo>
                    <a:pt x="954" y="420"/>
                  </a:lnTo>
                  <a:lnTo>
                    <a:pt x="948" y="426"/>
                  </a:lnTo>
                  <a:lnTo>
                    <a:pt x="948" y="438"/>
                  </a:lnTo>
                  <a:lnTo>
                    <a:pt x="942" y="444"/>
                  </a:lnTo>
                  <a:lnTo>
                    <a:pt x="936" y="450"/>
                  </a:lnTo>
                  <a:lnTo>
                    <a:pt x="930" y="456"/>
                  </a:lnTo>
                  <a:lnTo>
                    <a:pt x="924" y="462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18" y="522"/>
                  </a:lnTo>
                  <a:lnTo>
                    <a:pt x="918" y="528"/>
                  </a:lnTo>
                  <a:lnTo>
                    <a:pt x="924" y="534"/>
                  </a:lnTo>
                  <a:lnTo>
                    <a:pt x="924" y="540"/>
                  </a:lnTo>
                  <a:lnTo>
                    <a:pt x="924" y="546"/>
                  </a:lnTo>
                  <a:lnTo>
                    <a:pt x="918" y="546"/>
                  </a:lnTo>
                  <a:lnTo>
                    <a:pt x="918" y="552"/>
                  </a:lnTo>
                  <a:lnTo>
                    <a:pt x="912" y="546"/>
                  </a:lnTo>
                  <a:lnTo>
                    <a:pt x="912" y="552"/>
                  </a:lnTo>
                  <a:lnTo>
                    <a:pt x="912" y="570"/>
                  </a:lnTo>
                  <a:lnTo>
                    <a:pt x="906" y="588"/>
                  </a:lnTo>
                  <a:lnTo>
                    <a:pt x="900" y="606"/>
                  </a:lnTo>
                  <a:lnTo>
                    <a:pt x="906" y="624"/>
                  </a:lnTo>
                  <a:lnTo>
                    <a:pt x="900" y="624"/>
                  </a:lnTo>
                  <a:lnTo>
                    <a:pt x="894" y="630"/>
                  </a:lnTo>
                  <a:lnTo>
                    <a:pt x="888" y="630"/>
                  </a:lnTo>
                  <a:lnTo>
                    <a:pt x="882" y="630"/>
                  </a:lnTo>
                  <a:lnTo>
                    <a:pt x="882" y="636"/>
                  </a:lnTo>
                  <a:lnTo>
                    <a:pt x="876" y="642"/>
                  </a:lnTo>
                  <a:lnTo>
                    <a:pt x="870" y="642"/>
                  </a:lnTo>
                  <a:lnTo>
                    <a:pt x="870" y="648"/>
                  </a:lnTo>
                  <a:lnTo>
                    <a:pt x="870" y="654"/>
                  </a:lnTo>
                  <a:lnTo>
                    <a:pt x="864" y="654"/>
                  </a:lnTo>
                  <a:lnTo>
                    <a:pt x="864" y="660"/>
                  </a:lnTo>
                  <a:lnTo>
                    <a:pt x="846" y="666"/>
                  </a:lnTo>
                  <a:lnTo>
                    <a:pt x="828" y="672"/>
                  </a:lnTo>
                  <a:lnTo>
                    <a:pt x="816" y="660"/>
                  </a:lnTo>
                  <a:lnTo>
                    <a:pt x="810" y="660"/>
                  </a:lnTo>
                  <a:lnTo>
                    <a:pt x="798" y="666"/>
                  </a:lnTo>
                  <a:lnTo>
                    <a:pt x="786" y="666"/>
                  </a:lnTo>
                  <a:lnTo>
                    <a:pt x="780" y="672"/>
                  </a:lnTo>
                  <a:lnTo>
                    <a:pt x="768" y="678"/>
                  </a:lnTo>
                  <a:lnTo>
                    <a:pt x="762" y="660"/>
                  </a:lnTo>
                  <a:lnTo>
                    <a:pt x="762" y="654"/>
                  </a:lnTo>
                  <a:lnTo>
                    <a:pt x="756" y="636"/>
                  </a:lnTo>
                  <a:lnTo>
                    <a:pt x="762" y="624"/>
                  </a:lnTo>
                  <a:lnTo>
                    <a:pt x="756" y="606"/>
                  </a:lnTo>
                  <a:lnTo>
                    <a:pt x="756" y="600"/>
                  </a:lnTo>
                  <a:lnTo>
                    <a:pt x="762" y="594"/>
                  </a:lnTo>
                  <a:lnTo>
                    <a:pt x="768" y="600"/>
                  </a:lnTo>
                  <a:lnTo>
                    <a:pt x="768" y="594"/>
                  </a:lnTo>
                  <a:lnTo>
                    <a:pt x="768" y="588"/>
                  </a:lnTo>
                  <a:lnTo>
                    <a:pt x="774" y="582"/>
                  </a:lnTo>
                  <a:lnTo>
                    <a:pt x="768" y="576"/>
                  </a:lnTo>
                  <a:lnTo>
                    <a:pt x="762" y="576"/>
                  </a:lnTo>
                  <a:lnTo>
                    <a:pt x="756" y="576"/>
                  </a:lnTo>
                  <a:lnTo>
                    <a:pt x="690" y="576"/>
                  </a:lnTo>
                  <a:lnTo>
                    <a:pt x="624" y="570"/>
                  </a:lnTo>
                  <a:lnTo>
                    <a:pt x="600" y="564"/>
                  </a:lnTo>
                  <a:lnTo>
                    <a:pt x="576" y="564"/>
                  </a:lnTo>
                  <a:lnTo>
                    <a:pt x="558" y="570"/>
                  </a:lnTo>
                  <a:lnTo>
                    <a:pt x="552" y="576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46" y="594"/>
                  </a:lnTo>
                  <a:lnTo>
                    <a:pt x="546" y="600"/>
                  </a:lnTo>
                  <a:lnTo>
                    <a:pt x="540" y="606"/>
                  </a:lnTo>
                  <a:lnTo>
                    <a:pt x="534" y="618"/>
                  </a:lnTo>
                  <a:lnTo>
                    <a:pt x="534" y="624"/>
                  </a:lnTo>
                  <a:lnTo>
                    <a:pt x="534" y="630"/>
                  </a:lnTo>
                  <a:lnTo>
                    <a:pt x="534" y="636"/>
                  </a:lnTo>
                  <a:lnTo>
                    <a:pt x="528" y="636"/>
                  </a:lnTo>
                  <a:lnTo>
                    <a:pt x="516" y="642"/>
                  </a:lnTo>
                  <a:lnTo>
                    <a:pt x="516" y="648"/>
                  </a:lnTo>
                  <a:lnTo>
                    <a:pt x="510" y="648"/>
                  </a:lnTo>
                  <a:lnTo>
                    <a:pt x="504" y="654"/>
                  </a:lnTo>
                  <a:lnTo>
                    <a:pt x="492" y="666"/>
                  </a:lnTo>
                  <a:lnTo>
                    <a:pt x="492" y="672"/>
                  </a:lnTo>
                  <a:lnTo>
                    <a:pt x="492" y="684"/>
                  </a:lnTo>
                  <a:lnTo>
                    <a:pt x="486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92" y="702"/>
                  </a:lnTo>
                  <a:lnTo>
                    <a:pt x="486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74" y="720"/>
                  </a:lnTo>
                  <a:lnTo>
                    <a:pt x="480" y="726"/>
                  </a:lnTo>
                  <a:lnTo>
                    <a:pt x="474" y="726"/>
                  </a:lnTo>
                  <a:lnTo>
                    <a:pt x="474" y="738"/>
                  </a:lnTo>
                  <a:lnTo>
                    <a:pt x="474" y="744"/>
                  </a:lnTo>
                  <a:lnTo>
                    <a:pt x="474" y="750"/>
                  </a:lnTo>
                  <a:lnTo>
                    <a:pt x="480" y="750"/>
                  </a:lnTo>
                  <a:lnTo>
                    <a:pt x="480" y="756"/>
                  </a:lnTo>
                  <a:lnTo>
                    <a:pt x="492" y="762"/>
                  </a:lnTo>
                  <a:lnTo>
                    <a:pt x="498" y="774"/>
                  </a:lnTo>
                  <a:lnTo>
                    <a:pt x="498" y="780"/>
                  </a:lnTo>
                  <a:lnTo>
                    <a:pt x="504" y="786"/>
                  </a:lnTo>
                  <a:lnTo>
                    <a:pt x="510" y="792"/>
                  </a:lnTo>
                  <a:lnTo>
                    <a:pt x="504" y="798"/>
                  </a:lnTo>
                  <a:lnTo>
                    <a:pt x="504" y="804"/>
                  </a:lnTo>
                  <a:lnTo>
                    <a:pt x="504" y="810"/>
                  </a:lnTo>
                  <a:lnTo>
                    <a:pt x="498" y="822"/>
                  </a:lnTo>
                  <a:lnTo>
                    <a:pt x="492" y="828"/>
                  </a:lnTo>
                  <a:lnTo>
                    <a:pt x="492" y="834"/>
                  </a:lnTo>
                  <a:lnTo>
                    <a:pt x="486" y="840"/>
                  </a:lnTo>
                  <a:lnTo>
                    <a:pt x="480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74" y="858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876"/>
                  </a:lnTo>
                  <a:lnTo>
                    <a:pt x="456" y="894"/>
                  </a:lnTo>
                  <a:lnTo>
                    <a:pt x="450" y="894"/>
                  </a:lnTo>
                  <a:lnTo>
                    <a:pt x="444" y="900"/>
                  </a:lnTo>
                  <a:lnTo>
                    <a:pt x="444" y="894"/>
                  </a:lnTo>
                  <a:lnTo>
                    <a:pt x="438" y="894"/>
                  </a:lnTo>
                  <a:lnTo>
                    <a:pt x="432" y="900"/>
                  </a:lnTo>
                  <a:lnTo>
                    <a:pt x="432" y="906"/>
                  </a:lnTo>
                  <a:lnTo>
                    <a:pt x="420" y="906"/>
                  </a:lnTo>
                  <a:lnTo>
                    <a:pt x="420" y="912"/>
                  </a:lnTo>
                  <a:lnTo>
                    <a:pt x="420" y="918"/>
                  </a:lnTo>
                  <a:lnTo>
                    <a:pt x="426" y="918"/>
                  </a:lnTo>
                  <a:lnTo>
                    <a:pt x="426" y="924"/>
                  </a:lnTo>
                  <a:lnTo>
                    <a:pt x="426" y="930"/>
                  </a:lnTo>
                  <a:lnTo>
                    <a:pt x="420" y="930"/>
                  </a:lnTo>
                  <a:lnTo>
                    <a:pt x="414" y="936"/>
                  </a:lnTo>
                  <a:lnTo>
                    <a:pt x="414" y="942"/>
                  </a:lnTo>
                  <a:lnTo>
                    <a:pt x="414" y="948"/>
                  </a:lnTo>
                  <a:lnTo>
                    <a:pt x="414" y="954"/>
                  </a:lnTo>
                  <a:lnTo>
                    <a:pt x="426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44" y="972"/>
                  </a:lnTo>
                  <a:lnTo>
                    <a:pt x="444" y="978"/>
                  </a:lnTo>
                  <a:lnTo>
                    <a:pt x="450" y="978"/>
                  </a:lnTo>
                  <a:lnTo>
                    <a:pt x="450" y="984"/>
                  </a:lnTo>
                  <a:lnTo>
                    <a:pt x="456" y="990"/>
                  </a:lnTo>
                  <a:lnTo>
                    <a:pt x="456" y="996"/>
                  </a:lnTo>
                  <a:lnTo>
                    <a:pt x="462" y="1008"/>
                  </a:lnTo>
                  <a:lnTo>
                    <a:pt x="468" y="1008"/>
                  </a:lnTo>
                  <a:lnTo>
                    <a:pt x="468" y="1002"/>
                  </a:lnTo>
                  <a:lnTo>
                    <a:pt x="474" y="1008"/>
                  </a:lnTo>
                  <a:lnTo>
                    <a:pt x="480" y="1002"/>
                  </a:lnTo>
                  <a:lnTo>
                    <a:pt x="486" y="1008"/>
                  </a:lnTo>
                  <a:lnTo>
                    <a:pt x="486" y="1014"/>
                  </a:lnTo>
                  <a:lnTo>
                    <a:pt x="492" y="1014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86" y="1026"/>
                  </a:lnTo>
                  <a:lnTo>
                    <a:pt x="492" y="1026"/>
                  </a:lnTo>
                  <a:lnTo>
                    <a:pt x="486" y="1026"/>
                  </a:lnTo>
                  <a:lnTo>
                    <a:pt x="492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5" name="Freeform 30">
              <a:extLst>
                <a:ext uri="{FF2B5EF4-FFF2-40B4-BE49-F238E27FC236}">
                  <a16:creationId xmlns:a16="http://schemas.microsoft.com/office/drawing/2014/main" id="{85C7B827-0C1A-4D72-AEBD-F01CFE7EC12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3645" y="3904484"/>
              <a:ext cx="559048" cy="111825"/>
            </a:xfrm>
            <a:custGeom>
              <a:avLst/>
              <a:gdLst>
                <a:gd name="T0" fmla="*/ 69 w 1056"/>
                <a:gd name="T1" fmla="*/ 7 h 210"/>
                <a:gd name="T2" fmla="*/ 63 w 1056"/>
                <a:gd name="T3" fmla="*/ 5 h 210"/>
                <a:gd name="T4" fmla="*/ 57 w 1056"/>
                <a:gd name="T5" fmla="*/ 5 h 210"/>
                <a:gd name="T6" fmla="*/ 54 w 1056"/>
                <a:gd name="T7" fmla="*/ 6 h 210"/>
                <a:gd name="T8" fmla="*/ 51 w 1056"/>
                <a:gd name="T9" fmla="*/ 7 h 210"/>
                <a:gd name="T10" fmla="*/ 46 w 1056"/>
                <a:gd name="T11" fmla="*/ 9 h 210"/>
                <a:gd name="T12" fmla="*/ 42 w 1056"/>
                <a:gd name="T13" fmla="*/ 8 h 210"/>
                <a:gd name="T14" fmla="*/ 42 w 1056"/>
                <a:gd name="T15" fmla="*/ 5 h 210"/>
                <a:gd name="T16" fmla="*/ 41 w 1056"/>
                <a:gd name="T17" fmla="*/ 7 h 210"/>
                <a:gd name="T18" fmla="*/ 38 w 1056"/>
                <a:gd name="T19" fmla="*/ 10 h 210"/>
                <a:gd name="T20" fmla="*/ 37 w 1056"/>
                <a:gd name="T21" fmla="*/ 12 h 210"/>
                <a:gd name="T22" fmla="*/ 37 w 1056"/>
                <a:gd name="T23" fmla="*/ 15 h 210"/>
                <a:gd name="T24" fmla="*/ 37 w 1056"/>
                <a:gd name="T25" fmla="*/ 16 h 210"/>
                <a:gd name="T26" fmla="*/ 38 w 1056"/>
                <a:gd name="T27" fmla="*/ 16 h 210"/>
                <a:gd name="T28" fmla="*/ 34 w 1056"/>
                <a:gd name="T29" fmla="*/ 16 h 210"/>
                <a:gd name="T30" fmla="*/ 26 w 1056"/>
                <a:gd name="T31" fmla="*/ 16 h 210"/>
                <a:gd name="T32" fmla="*/ 20 w 1056"/>
                <a:gd name="T33" fmla="*/ 17 h 210"/>
                <a:gd name="T34" fmla="*/ 13 w 1056"/>
                <a:gd name="T35" fmla="*/ 17 h 210"/>
                <a:gd name="T36" fmla="*/ 6 w 1056"/>
                <a:gd name="T37" fmla="*/ 17 h 210"/>
                <a:gd name="T38" fmla="*/ 1 w 1056"/>
                <a:gd name="T39" fmla="*/ 18 h 210"/>
                <a:gd name="T40" fmla="*/ 3 w 1056"/>
                <a:gd name="T41" fmla="*/ 14 h 210"/>
                <a:gd name="T42" fmla="*/ 8 w 1056"/>
                <a:gd name="T43" fmla="*/ 15 h 210"/>
                <a:gd name="T44" fmla="*/ 11 w 1056"/>
                <a:gd name="T45" fmla="*/ 12 h 210"/>
                <a:gd name="T46" fmla="*/ 26 w 1056"/>
                <a:gd name="T47" fmla="*/ 10 h 210"/>
                <a:gd name="T48" fmla="*/ 29 w 1056"/>
                <a:gd name="T49" fmla="*/ 5 h 210"/>
                <a:gd name="T50" fmla="*/ 34 w 1056"/>
                <a:gd name="T51" fmla="*/ 1 h 210"/>
                <a:gd name="T52" fmla="*/ 41 w 1056"/>
                <a:gd name="T53" fmla="*/ 3 h 210"/>
                <a:gd name="T54" fmla="*/ 73 w 1056"/>
                <a:gd name="T55" fmla="*/ 1 h 210"/>
                <a:gd name="T56" fmla="*/ 75 w 1056"/>
                <a:gd name="T57" fmla="*/ 4 h 210"/>
                <a:gd name="T58" fmla="*/ 85 w 1056"/>
                <a:gd name="T59" fmla="*/ 15 h 210"/>
                <a:gd name="T60" fmla="*/ 91 w 1056"/>
                <a:gd name="T61" fmla="*/ 18 h 210"/>
                <a:gd name="T62" fmla="*/ 85 w 1056"/>
                <a:gd name="T63" fmla="*/ 18 h 210"/>
                <a:gd name="T64" fmla="*/ 79 w 1056"/>
                <a:gd name="T65" fmla="*/ 16 h 210"/>
                <a:gd name="T66" fmla="*/ 74 w 1056"/>
                <a:gd name="T67" fmla="*/ 16 h 210"/>
                <a:gd name="T68" fmla="*/ 69 w 1056"/>
                <a:gd name="T69" fmla="*/ 15 h 210"/>
                <a:gd name="T70" fmla="*/ 65 w 1056"/>
                <a:gd name="T71" fmla="*/ 14 h 210"/>
                <a:gd name="T72" fmla="*/ 59 w 1056"/>
                <a:gd name="T73" fmla="*/ 15 h 210"/>
                <a:gd name="T74" fmla="*/ 54 w 1056"/>
                <a:gd name="T75" fmla="*/ 15 h 210"/>
                <a:gd name="T76" fmla="*/ 49 w 1056"/>
                <a:gd name="T77" fmla="*/ 15 h 210"/>
                <a:gd name="T78" fmla="*/ 42 w 1056"/>
                <a:gd name="T79" fmla="*/ 15 h 210"/>
                <a:gd name="T80" fmla="*/ 38 w 1056"/>
                <a:gd name="T81" fmla="*/ 16 h 210"/>
                <a:gd name="T82" fmla="*/ 41 w 1056"/>
                <a:gd name="T83" fmla="*/ 14 h 210"/>
                <a:gd name="T84" fmla="*/ 42 w 1056"/>
                <a:gd name="T85" fmla="*/ 13 h 210"/>
                <a:gd name="T86" fmla="*/ 45 w 1056"/>
                <a:gd name="T87" fmla="*/ 13 h 210"/>
                <a:gd name="T88" fmla="*/ 48 w 1056"/>
                <a:gd name="T89" fmla="*/ 12 h 210"/>
                <a:gd name="T90" fmla="*/ 51 w 1056"/>
                <a:gd name="T91" fmla="*/ 11 h 210"/>
                <a:gd name="T92" fmla="*/ 54 w 1056"/>
                <a:gd name="T93" fmla="*/ 9 h 210"/>
                <a:gd name="T94" fmla="*/ 57 w 1056"/>
                <a:gd name="T95" fmla="*/ 8 h 210"/>
                <a:gd name="T96" fmla="*/ 60 w 1056"/>
                <a:gd name="T97" fmla="*/ 5 h 210"/>
                <a:gd name="T98" fmla="*/ 65 w 1056"/>
                <a:gd name="T99" fmla="*/ 5 h 210"/>
                <a:gd name="T100" fmla="*/ 72 w 1056"/>
                <a:gd name="T101" fmla="*/ 7 h 210"/>
                <a:gd name="T102" fmla="*/ 77 w 1056"/>
                <a:gd name="T103" fmla="*/ 11 h 210"/>
                <a:gd name="T104" fmla="*/ 69 w 1056"/>
                <a:gd name="T105" fmla="*/ 10 h 210"/>
                <a:gd name="T106" fmla="*/ 72 w 1056"/>
                <a:gd name="T107" fmla="*/ 12 h 210"/>
                <a:gd name="T108" fmla="*/ 78 w 1056"/>
                <a:gd name="T109" fmla="*/ 15 h 210"/>
                <a:gd name="T110" fmla="*/ 84 w 1056"/>
                <a:gd name="T111" fmla="*/ 14 h 210"/>
                <a:gd name="T112" fmla="*/ 84 w 1056"/>
                <a:gd name="T113" fmla="*/ 14 h 210"/>
                <a:gd name="T114" fmla="*/ 78 w 1056"/>
                <a:gd name="T115" fmla="*/ 13 h 210"/>
                <a:gd name="T116" fmla="*/ 76 w 1056"/>
                <a:gd name="T117" fmla="*/ 14 h 210"/>
                <a:gd name="T118" fmla="*/ 38 w 1056"/>
                <a:gd name="T119" fmla="*/ 12 h 210"/>
                <a:gd name="T120" fmla="*/ 41 w 1056"/>
                <a:gd name="T121" fmla="*/ 12 h 210"/>
                <a:gd name="T122" fmla="*/ 40 w 1056"/>
                <a:gd name="T123" fmla="*/ 14 h 2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6"/>
                <a:gd name="T187" fmla="*/ 0 h 210"/>
                <a:gd name="T188" fmla="*/ 1056 w 1056"/>
                <a:gd name="T189" fmla="*/ 210 h 21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6" h="210">
                  <a:moveTo>
                    <a:pt x="870" y="90"/>
                  </a:moveTo>
                  <a:lnTo>
                    <a:pt x="864" y="90"/>
                  </a:lnTo>
                  <a:lnTo>
                    <a:pt x="852" y="84"/>
                  </a:lnTo>
                  <a:lnTo>
                    <a:pt x="846" y="84"/>
                  </a:lnTo>
                  <a:lnTo>
                    <a:pt x="846" y="78"/>
                  </a:lnTo>
                  <a:lnTo>
                    <a:pt x="840" y="78"/>
                  </a:lnTo>
                  <a:lnTo>
                    <a:pt x="834" y="78"/>
                  </a:lnTo>
                  <a:lnTo>
                    <a:pt x="834" y="72"/>
                  </a:lnTo>
                  <a:lnTo>
                    <a:pt x="804" y="78"/>
                  </a:lnTo>
                  <a:lnTo>
                    <a:pt x="798" y="78"/>
                  </a:lnTo>
                  <a:lnTo>
                    <a:pt x="792" y="72"/>
                  </a:lnTo>
                  <a:lnTo>
                    <a:pt x="780" y="60"/>
                  </a:lnTo>
                  <a:lnTo>
                    <a:pt x="768" y="54"/>
                  </a:lnTo>
                  <a:lnTo>
                    <a:pt x="756" y="54"/>
                  </a:lnTo>
                  <a:lnTo>
                    <a:pt x="750" y="54"/>
                  </a:lnTo>
                  <a:lnTo>
                    <a:pt x="750" y="48"/>
                  </a:lnTo>
                  <a:lnTo>
                    <a:pt x="744" y="48"/>
                  </a:lnTo>
                  <a:lnTo>
                    <a:pt x="738" y="48"/>
                  </a:lnTo>
                  <a:lnTo>
                    <a:pt x="732" y="48"/>
                  </a:lnTo>
                  <a:lnTo>
                    <a:pt x="732" y="54"/>
                  </a:lnTo>
                  <a:lnTo>
                    <a:pt x="726" y="48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48"/>
                  </a:lnTo>
                  <a:lnTo>
                    <a:pt x="702" y="48"/>
                  </a:lnTo>
                  <a:lnTo>
                    <a:pt x="696" y="48"/>
                  </a:lnTo>
                  <a:lnTo>
                    <a:pt x="684" y="48"/>
                  </a:lnTo>
                  <a:lnTo>
                    <a:pt x="678" y="48"/>
                  </a:lnTo>
                  <a:lnTo>
                    <a:pt x="672" y="48"/>
                  </a:lnTo>
                  <a:lnTo>
                    <a:pt x="666" y="54"/>
                  </a:lnTo>
                  <a:lnTo>
                    <a:pt x="660" y="54"/>
                  </a:lnTo>
                  <a:lnTo>
                    <a:pt x="660" y="48"/>
                  </a:lnTo>
                  <a:lnTo>
                    <a:pt x="654" y="48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42" y="54"/>
                  </a:lnTo>
                  <a:lnTo>
                    <a:pt x="63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30" y="66"/>
                  </a:lnTo>
                  <a:lnTo>
                    <a:pt x="624" y="66"/>
                  </a:lnTo>
                  <a:lnTo>
                    <a:pt x="618" y="66"/>
                  </a:lnTo>
                  <a:lnTo>
                    <a:pt x="618" y="72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6" y="84"/>
                  </a:lnTo>
                  <a:lnTo>
                    <a:pt x="600" y="84"/>
                  </a:lnTo>
                  <a:lnTo>
                    <a:pt x="594" y="90"/>
                  </a:lnTo>
                  <a:lnTo>
                    <a:pt x="588" y="90"/>
                  </a:lnTo>
                  <a:lnTo>
                    <a:pt x="588" y="84"/>
                  </a:lnTo>
                  <a:lnTo>
                    <a:pt x="582" y="84"/>
                  </a:lnTo>
                  <a:lnTo>
                    <a:pt x="576" y="84"/>
                  </a:lnTo>
                  <a:lnTo>
                    <a:pt x="570" y="84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58" y="96"/>
                  </a:lnTo>
                  <a:lnTo>
                    <a:pt x="552" y="96"/>
                  </a:lnTo>
                  <a:lnTo>
                    <a:pt x="546" y="102"/>
                  </a:lnTo>
                  <a:lnTo>
                    <a:pt x="540" y="102"/>
                  </a:lnTo>
                  <a:lnTo>
                    <a:pt x="534" y="102"/>
                  </a:lnTo>
                  <a:lnTo>
                    <a:pt x="528" y="102"/>
                  </a:lnTo>
                  <a:lnTo>
                    <a:pt x="528" y="108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16" y="102"/>
                  </a:lnTo>
                  <a:lnTo>
                    <a:pt x="510" y="102"/>
                  </a:lnTo>
                  <a:lnTo>
                    <a:pt x="504" y="102"/>
                  </a:lnTo>
                  <a:lnTo>
                    <a:pt x="498" y="102"/>
                  </a:lnTo>
                  <a:lnTo>
                    <a:pt x="498" y="96"/>
                  </a:lnTo>
                  <a:lnTo>
                    <a:pt x="492" y="96"/>
                  </a:lnTo>
                  <a:lnTo>
                    <a:pt x="492" y="90"/>
                  </a:lnTo>
                  <a:lnTo>
                    <a:pt x="492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498" y="66"/>
                  </a:lnTo>
                  <a:lnTo>
                    <a:pt x="504" y="60"/>
                  </a:lnTo>
                  <a:lnTo>
                    <a:pt x="498" y="60"/>
                  </a:lnTo>
                  <a:lnTo>
                    <a:pt x="498" y="54"/>
                  </a:lnTo>
                  <a:lnTo>
                    <a:pt x="492" y="54"/>
                  </a:lnTo>
                  <a:lnTo>
                    <a:pt x="492" y="60"/>
                  </a:lnTo>
                  <a:lnTo>
                    <a:pt x="486" y="60"/>
                  </a:lnTo>
                  <a:lnTo>
                    <a:pt x="486" y="66"/>
                  </a:lnTo>
                  <a:lnTo>
                    <a:pt x="480" y="66"/>
                  </a:lnTo>
                  <a:lnTo>
                    <a:pt x="474" y="72"/>
                  </a:lnTo>
                  <a:lnTo>
                    <a:pt x="474" y="66"/>
                  </a:lnTo>
                  <a:lnTo>
                    <a:pt x="474" y="72"/>
                  </a:lnTo>
                  <a:lnTo>
                    <a:pt x="468" y="72"/>
                  </a:lnTo>
                  <a:lnTo>
                    <a:pt x="468" y="78"/>
                  </a:lnTo>
                  <a:lnTo>
                    <a:pt x="468" y="84"/>
                  </a:lnTo>
                  <a:lnTo>
                    <a:pt x="462" y="90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0" y="84"/>
                  </a:lnTo>
                  <a:lnTo>
                    <a:pt x="450" y="90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44" y="102"/>
                  </a:lnTo>
                  <a:lnTo>
                    <a:pt x="444" y="108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38" y="126"/>
                  </a:lnTo>
                  <a:lnTo>
                    <a:pt x="438" y="132"/>
                  </a:lnTo>
                  <a:lnTo>
                    <a:pt x="438" y="138"/>
                  </a:lnTo>
                  <a:lnTo>
                    <a:pt x="438" y="144"/>
                  </a:lnTo>
                  <a:lnTo>
                    <a:pt x="432" y="144"/>
                  </a:lnTo>
                  <a:lnTo>
                    <a:pt x="432" y="150"/>
                  </a:lnTo>
                  <a:lnTo>
                    <a:pt x="432" y="144"/>
                  </a:lnTo>
                  <a:lnTo>
                    <a:pt x="426" y="144"/>
                  </a:lnTo>
                  <a:lnTo>
                    <a:pt x="426" y="150"/>
                  </a:lnTo>
                  <a:lnTo>
                    <a:pt x="426" y="156"/>
                  </a:lnTo>
                  <a:lnTo>
                    <a:pt x="432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2"/>
                  </a:lnTo>
                  <a:lnTo>
                    <a:pt x="432" y="168"/>
                  </a:lnTo>
                  <a:lnTo>
                    <a:pt x="426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44" y="168"/>
                  </a:lnTo>
                  <a:lnTo>
                    <a:pt x="444" y="174"/>
                  </a:lnTo>
                  <a:lnTo>
                    <a:pt x="444" y="180"/>
                  </a:lnTo>
                  <a:lnTo>
                    <a:pt x="444" y="186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2" y="192"/>
                  </a:lnTo>
                  <a:lnTo>
                    <a:pt x="426" y="192"/>
                  </a:lnTo>
                  <a:lnTo>
                    <a:pt x="420" y="186"/>
                  </a:lnTo>
                  <a:lnTo>
                    <a:pt x="414" y="186"/>
                  </a:lnTo>
                  <a:lnTo>
                    <a:pt x="408" y="186"/>
                  </a:lnTo>
                  <a:lnTo>
                    <a:pt x="402" y="186"/>
                  </a:lnTo>
                  <a:lnTo>
                    <a:pt x="396" y="186"/>
                  </a:lnTo>
                  <a:lnTo>
                    <a:pt x="390" y="186"/>
                  </a:lnTo>
                  <a:lnTo>
                    <a:pt x="384" y="186"/>
                  </a:lnTo>
                  <a:lnTo>
                    <a:pt x="378" y="186"/>
                  </a:lnTo>
                  <a:lnTo>
                    <a:pt x="372" y="186"/>
                  </a:lnTo>
                  <a:lnTo>
                    <a:pt x="354" y="186"/>
                  </a:lnTo>
                  <a:lnTo>
                    <a:pt x="342" y="186"/>
                  </a:lnTo>
                  <a:lnTo>
                    <a:pt x="324" y="186"/>
                  </a:lnTo>
                  <a:lnTo>
                    <a:pt x="312" y="186"/>
                  </a:lnTo>
                  <a:lnTo>
                    <a:pt x="306" y="186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82" y="186"/>
                  </a:lnTo>
                  <a:lnTo>
                    <a:pt x="270" y="186"/>
                  </a:lnTo>
                  <a:lnTo>
                    <a:pt x="264" y="186"/>
                  </a:lnTo>
                  <a:lnTo>
                    <a:pt x="258" y="192"/>
                  </a:lnTo>
                  <a:lnTo>
                    <a:pt x="258" y="186"/>
                  </a:lnTo>
                  <a:lnTo>
                    <a:pt x="246" y="186"/>
                  </a:lnTo>
                  <a:lnTo>
                    <a:pt x="240" y="186"/>
                  </a:lnTo>
                  <a:lnTo>
                    <a:pt x="234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2"/>
                  </a:lnTo>
                  <a:lnTo>
                    <a:pt x="204" y="192"/>
                  </a:lnTo>
                  <a:lnTo>
                    <a:pt x="198" y="192"/>
                  </a:lnTo>
                  <a:lnTo>
                    <a:pt x="192" y="192"/>
                  </a:lnTo>
                  <a:lnTo>
                    <a:pt x="180" y="192"/>
                  </a:lnTo>
                  <a:lnTo>
                    <a:pt x="168" y="192"/>
                  </a:lnTo>
                  <a:lnTo>
                    <a:pt x="162" y="192"/>
                  </a:lnTo>
                  <a:lnTo>
                    <a:pt x="150" y="192"/>
                  </a:lnTo>
                  <a:lnTo>
                    <a:pt x="138" y="192"/>
                  </a:lnTo>
                  <a:lnTo>
                    <a:pt x="132" y="192"/>
                  </a:lnTo>
                  <a:lnTo>
                    <a:pt x="120" y="192"/>
                  </a:lnTo>
                  <a:lnTo>
                    <a:pt x="114" y="192"/>
                  </a:lnTo>
                  <a:lnTo>
                    <a:pt x="108" y="192"/>
                  </a:lnTo>
                  <a:lnTo>
                    <a:pt x="102" y="192"/>
                  </a:lnTo>
                  <a:lnTo>
                    <a:pt x="90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2" y="198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36" y="198"/>
                  </a:lnTo>
                  <a:lnTo>
                    <a:pt x="30" y="204"/>
                  </a:lnTo>
                  <a:lnTo>
                    <a:pt x="24" y="204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6" y="210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54" y="156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56"/>
                  </a:lnTo>
                  <a:lnTo>
                    <a:pt x="78" y="162"/>
                  </a:lnTo>
                  <a:lnTo>
                    <a:pt x="84" y="162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9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0" y="126"/>
                  </a:lnTo>
                  <a:lnTo>
                    <a:pt x="276" y="120"/>
                  </a:lnTo>
                  <a:lnTo>
                    <a:pt x="282" y="120"/>
                  </a:lnTo>
                  <a:lnTo>
                    <a:pt x="300" y="120"/>
                  </a:lnTo>
                  <a:lnTo>
                    <a:pt x="306" y="114"/>
                  </a:lnTo>
                  <a:lnTo>
                    <a:pt x="312" y="108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8"/>
                  </a:lnTo>
                  <a:lnTo>
                    <a:pt x="342" y="30"/>
                  </a:lnTo>
                  <a:lnTo>
                    <a:pt x="342" y="24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8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24"/>
                  </a:lnTo>
                  <a:lnTo>
                    <a:pt x="414" y="30"/>
                  </a:lnTo>
                  <a:lnTo>
                    <a:pt x="420" y="30"/>
                  </a:lnTo>
                  <a:lnTo>
                    <a:pt x="42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74" y="30"/>
                  </a:lnTo>
                  <a:lnTo>
                    <a:pt x="474" y="18"/>
                  </a:lnTo>
                  <a:lnTo>
                    <a:pt x="474" y="12"/>
                  </a:lnTo>
                  <a:lnTo>
                    <a:pt x="480" y="12"/>
                  </a:lnTo>
                  <a:lnTo>
                    <a:pt x="486" y="12"/>
                  </a:lnTo>
                  <a:lnTo>
                    <a:pt x="606" y="12"/>
                  </a:lnTo>
                  <a:lnTo>
                    <a:pt x="630" y="12"/>
                  </a:lnTo>
                  <a:lnTo>
                    <a:pt x="678" y="12"/>
                  </a:lnTo>
                  <a:lnTo>
                    <a:pt x="744" y="12"/>
                  </a:lnTo>
                  <a:lnTo>
                    <a:pt x="774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2" y="6"/>
                  </a:lnTo>
                  <a:lnTo>
                    <a:pt x="888" y="12"/>
                  </a:lnTo>
                  <a:lnTo>
                    <a:pt x="888" y="24"/>
                  </a:lnTo>
                  <a:lnTo>
                    <a:pt x="888" y="30"/>
                  </a:lnTo>
                  <a:lnTo>
                    <a:pt x="882" y="36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64" y="42"/>
                  </a:lnTo>
                  <a:lnTo>
                    <a:pt x="864" y="48"/>
                  </a:lnTo>
                  <a:lnTo>
                    <a:pt x="858" y="54"/>
                  </a:lnTo>
                  <a:lnTo>
                    <a:pt x="864" y="54"/>
                  </a:lnTo>
                  <a:lnTo>
                    <a:pt x="870" y="72"/>
                  </a:lnTo>
                  <a:lnTo>
                    <a:pt x="870" y="78"/>
                  </a:lnTo>
                  <a:lnTo>
                    <a:pt x="870" y="84"/>
                  </a:lnTo>
                  <a:lnTo>
                    <a:pt x="870" y="90"/>
                  </a:lnTo>
                  <a:close/>
                  <a:moveTo>
                    <a:pt x="972" y="156"/>
                  </a:moveTo>
                  <a:lnTo>
                    <a:pt x="972" y="162"/>
                  </a:lnTo>
                  <a:lnTo>
                    <a:pt x="978" y="162"/>
                  </a:lnTo>
                  <a:lnTo>
                    <a:pt x="984" y="168"/>
                  </a:lnTo>
                  <a:lnTo>
                    <a:pt x="990" y="168"/>
                  </a:lnTo>
                  <a:lnTo>
                    <a:pt x="990" y="162"/>
                  </a:lnTo>
                  <a:lnTo>
                    <a:pt x="1008" y="162"/>
                  </a:lnTo>
                  <a:lnTo>
                    <a:pt x="1020" y="162"/>
                  </a:lnTo>
                  <a:lnTo>
                    <a:pt x="1038" y="162"/>
                  </a:lnTo>
                  <a:lnTo>
                    <a:pt x="1056" y="168"/>
                  </a:lnTo>
                  <a:lnTo>
                    <a:pt x="1056" y="180"/>
                  </a:lnTo>
                  <a:lnTo>
                    <a:pt x="1056" y="186"/>
                  </a:lnTo>
                  <a:lnTo>
                    <a:pt x="1056" y="204"/>
                  </a:lnTo>
                  <a:lnTo>
                    <a:pt x="1050" y="204"/>
                  </a:lnTo>
                  <a:lnTo>
                    <a:pt x="1044" y="204"/>
                  </a:lnTo>
                  <a:lnTo>
                    <a:pt x="1038" y="204"/>
                  </a:lnTo>
                  <a:lnTo>
                    <a:pt x="1032" y="204"/>
                  </a:lnTo>
                  <a:lnTo>
                    <a:pt x="1026" y="204"/>
                  </a:lnTo>
                  <a:lnTo>
                    <a:pt x="1020" y="204"/>
                  </a:lnTo>
                  <a:lnTo>
                    <a:pt x="1014" y="204"/>
                  </a:lnTo>
                  <a:lnTo>
                    <a:pt x="1008" y="204"/>
                  </a:lnTo>
                  <a:lnTo>
                    <a:pt x="1002" y="204"/>
                  </a:lnTo>
                  <a:lnTo>
                    <a:pt x="996" y="204"/>
                  </a:lnTo>
                  <a:lnTo>
                    <a:pt x="984" y="204"/>
                  </a:lnTo>
                  <a:lnTo>
                    <a:pt x="984" y="198"/>
                  </a:lnTo>
                  <a:lnTo>
                    <a:pt x="978" y="198"/>
                  </a:lnTo>
                  <a:lnTo>
                    <a:pt x="966" y="198"/>
                  </a:lnTo>
                  <a:lnTo>
                    <a:pt x="948" y="192"/>
                  </a:lnTo>
                  <a:lnTo>
                    <a:pt x="942" y="192"/>
                  </a:lnTo>
                  <a:lnTo>
                    <a:pt x="936" y="192"/>
                  </a:lnTo>
                  <a:lnTo>
                    <a:pt x="924" y="192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12" y="186"/>
                  </a:lnTo>
                  <a:lnTo>
                    <a:pt x="906" y="186"/>
                  </a:lnTo>
                  <a:lnTo>
                    <a:pt x="900" y="186"/>
                  </a:lnTo>
                  <a:lnTo>
                    <a:pt x="894" y="186"/>
                  </a:lnTo>
                  <a:lnTo>
                    <a:pt x="888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76" y="180"/>
                  </a:lnTo>
                  <a:lnTo>
                    <a:pt x="870" y="180"/>
                  </a:lnTo>
                  <a:lnTo>
                    <a:pt x="864" y="180"/>
                  </a:lnTo>
                  <a:lnTo>
                    <a:pt x="858" y="180"/>
                  </a:lnTo>
                  <a:lnTo>
                    <a:pt x="852" y="180"/>
                  </a:lnTo>
                  <a:lnTo>
                    <a:pt x="852" y="174"/>
                  </a:lnTo>
                  <a:lnTo>
                    <a:pt x="846" y="174"/>
                  </a:lnTo>
                  <a:lnTo>
                    <a:pt x="840" y="174"/>
                  </a:lnTo>
                  <a:lnTo>
                    <a:pt x="834" y="174"/>
                  </a:lnTo>
                  <a:lnTo>
                    <a:pt x="828" y="174"/>
                  </a:lnTo>
                  <a:lnTo>
                    <a:pt x="822" y="174"/>
                  </a:lnTo>
                  <a:lnTo>
                    <a:pt x="816" y="174"/>
                  </a:lnTo>
                  <a:lnTo>
                    <a:pt x="810" y="168"/>
                  </a:lnTo>
                  <a:lnTo>
                    <a:pt x="804" y="168"/>
                  </a:lnTo>
                  <a:lnTo>
                    <a:pt x="798" y="168"/>
                  </a:lnTo>
                  <a:lnTo>
                    <a:pt x="792" y="168"/>
                  </a:lnTo>
                  <a:lnTo>
                    <a:pt x="786" y="168"/>
                  </a:lnTo>
                  <a:lnTo>
                    <a:pt x="780" y="168"/>
                  </a:lnTo>
                  <a:lnTo>
                    <a:pt x="774" y="168"/>
                  </a:lnTo>
                  <a:lnTo>
                    <a:pt x="768" y="168"/>
                  </a:lnTo>
                  <a:lnTo>
                    <a:pt x="762" y="168"/>
                  </a:lnTo>
                  <a:lnTo>
                    <a:pt x="756" y="168"/>
                  </a:lnTo>
                  <a:lnTo>
                    <a:pt x="750" y="168"/>
                  </a:lnTo>
                  <a:lnTo>
                    <a:pt x="750" y="162"/>
                  </a:lnTo>
                  <a:lnTo>
                    <a:pt x="744" y="168"/>
                  </a:lnTo>
                  <a:lnTo>
                    <a:pt x="738" y="162"/>
                  </a:lnTo>
                  <a:lnTo>
                    <a:pt x="732" y="162"/>
                  </a:lnTo>
                  <a:lnTo>
                    <a:pt x="726" y="162"/>
                  </a:lnTo>
                  <a:lnTo>
                    <a:pt x="714" y="162"/>
                  </a:lnTo>
                  <a:lnTo>
                    <a:pt x="702" y="162"/>
                  </a:lnTo>
                  <a:lnTo>
                    <a:pt x="696" y="168"/>
                  </a:lnTo>
                  <a:lnTo>
                    <a:pt x="690" y="168"/>
                  </a:lnTo>
                  <a:lnTo>
                    <a:pt x="684" y="168"/>
                  </a:lnTo>
                  <a:lnTo>
                    <a:pt x="678" y="168"/>
                  </a:lnTo>
                  <a:lnTo>
                    <a:pt x="672" y="168"/>
                  </a:lnTo>
                  <a:lnTo>
                    <a:pt x="666" y="168"/>
                  </a:lnTo>
                  <a:lnTo>
                    <a:pt x="660" y="168"/>
                  </a:lnTo>
                  <a:lnTo>
                    <a:pt x="654" y="168"/>
                  </a:lnTo>
                  <a:lnTo>
                    <a:pt x="648" y="174"/>
                  </a:lnTo>
                  <a:lnTo>
                    <a:pt x="648" y="168"/>
                  </a:lnTo>
                  <a:lnTo>
                    <a:pt x="642" y="174"/>
                  </a:lnTo>
                  <a:lnTo>
                    <a:pt x="636" y="174"/>
                  </a:lnTo>
                  <a:lnTo>
                    <a:pt x="630" y="174"/>
                  </a:lnTo>
                  <a:lnTo>
                    <a:pt x="624" y="174"/>
                  </a:lnTo>
                  <a:lnTo>
                    <a:pt x="618" y="174"/>
                  </a:lnTo>
                  <a:lnTo>
                    <a:pt x="612" y="174"/>
                  </a:lnTo>
                  <a:lnTo>
                    <a:pt x="606" y="174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74"/>
                  </a:lnTo>
                  <a:lnTo>
                    <a:pt x="582" y="174"/>
                  </a:lnTo>
                  <a:lnTo>
                    <a:pt x="576" y="174"/>
                  </a:lnTo>
                  <a:lnTo>
                    <a:pt x="570" y="174"/>
                  </a:lnTo>
                  <a:lnTo>
                    <a:pt x="564" y="174"/>
                  </a:lnTo>
                  <a:lnTo>
                    <a:pt x="558" y="174"/>
                  </a:lnTo>
                  <a:lnTo>
                    <a:pt x="552" y="174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0" y="174"/>
                  </a:lnTo>
                  <a:lnTo>
                    <a:pt x="504" y="174"/>
                  </a:lnTo>
                  <a:lnTo>
                    <a:pt x="498" y="174"/>
                  </a:lnTo>
                  <a:lnTo>
                    <a:pt x="492" y="174"/>
                  </a:lnTo>
                  <a:lnTo>
                    <a:pt x="486" y="174"/>
                  </a:lnTo>
                  <a:lnTo>
                    <a:pt x="480" y="174"/>
                  </a:lnTo>
                  <a:lnTo>
                    <a:pt x="474" y="174"/>
                  </a:lnTo>
                  <a:lnTo>
                    <a:pt x="468" y="174"/>
                  </a:lnTo>
                  <a:lnTo>
                    <a:pt x="462" y="174"/>
                  </a:lnTo>
                  <a:lnTo>
                    <a:pt x="456" y="174"/>
                  </a:lnTo>
                  <a:lnTo>
                    <a:pt x="450" y="180"/>
                  </a:lnTo>
                  <a:lnTo>
                    <a:pt x="450" y="186"/>
                  </a:lnTo>
                  <a:lnTo>
                    <a:pt x="450" y="192"/>
                  </a:lnTo>
                  <a:lnTo>
                    <a:pt x="444" y="192"/>
                  </a:lnTo>
                  <a:lnTo>
                    <a:pt x="444" y="186"/>
                  </a:lnTo>
                  <a:lnTo>
                    <a:pt x="444" y="180"/>
                  </a:lnTo>
                  <a:lnTo>
                    <a:pt x="450" y="180"/>
                  </a:lnTo>
                  <a:lnTo>
                    <a:pt x="450" y="174"/>
                  </a:lnTo>
                  <a:lnTo>
                    <a:pt x="450" y="168"/>
                  </a:lnTo>
                  <a:lnTo>
                    <a:pt x="450" y="162"/>
                  </a:lnTo>
                  <a:lnTo>
                    <a:pt x="456" y="162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62" y="162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74" y="168"/>
                  </a:lnTo>
                  <a:lnTo>
                    <a:pt x="480" y="168"/>
                  </a:lnTo>
                  <a:lnTo>
                    <a:pt x="480" y="162"/>
                  </a:lnTo>
                  <a:lnTo>
                    <a:pt x="480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56"/>
                  </a:lnTo>
                  <a:lnTo>
                    <a:pt x="492" y="156"/>
                  </a:lnTo>
                  <a:lnTo>
                    <a:pt x="486" y="150"/>
                  </a:lnTo>
                  <a:lnTo>
                    <a:pt x="492" y="150"/>
                  </a:lnTo>
                  <a:lnTo>
                    <a:pt x="498" y="150"/>
                  </a:lnTo>
                  <a:lnTo>
                    <a:pt x="498" y="156"/>
                  </a:lnTo>
                  <a:lnTo>
                    <a:pt x="504" y="156"/>
                  </a:lnTo>
                  <a:lnTo>
                    <a:pt x="504" y="162"/>
                  </a:lnTo>
                  <a:lnTo>
                    <a:pt x="504" y="156"/>
                  </a:lnTo>
                  <a:lnTo>
                    <a:pt x="510" y="156"/>
                  </a:lnTo>
                  <a:lnTo>
                    <a:pt x="510" y="150"/>
                  </a:lnTo>
                  <a:lnTo>
                    <a:pt x="516" y="150"/>
                  </a:lnTo>
                  <a:lnTo>
                    <a:pt x="522" y="150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28" y="150"/>
                  </a:lnTo>
                  <a:lnTo>
                    <a:pt x="528" y="144"/>
                  </a:lnTo>
                  <a:lnTo>
                    <a:pt x="540" y="144"/>
                  </a:lnTo>
                  <a:lnTo>
                    <a:pt x="546" y="144"/>
                  </a:lnTo>
                  <a:lnTo>
                    <a:pt x="552" y="138"/>
                  </a:lnTo>
                  <a:lnTo>
                    <a:pt x="552" y="132"/>
                  </a:lnTo>
                  <a:lnTo>
                    <a:pt x="558" y="132"/>
                  </a:lnTo>
                  <a:lnTo>
                    <a:pt x="558" y="126"/>
                  </a:lnTo>
                  <a:lnTo>
                    <a:pt x="558" y="120"/>
                  </a:lnTo>
                  <a:lnTo>
                    <a:pt x="558" y="114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6" y="114"/>
                  </a:lnTo>
                  <a:lnTo>
                    <a:pt x="582" y="120"/>
                  </a:lnTo>
                  <a:lnTo>
                    <a:pt x="588" y="120"/>
                  </a:lnTo>
                  <a:lnTo>
                    <a:pt x="588" y="126"/>
                  </a:lnTo>
                  <a:lnTo>
                    <a:pt x="588" y="120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600" y="114"/>
                  </a:lnTo>
                  <a:lnTo>
                    <a:pt x="606" y="114"/>
                  </a:lnTo>
                  <a:lnTo>
                    <a:pt x="618" y="114"/>
                  </a:lnTo>
                  <a:lnTo>
                    <a:pt x="618" y="108"/>
                  </a:lnTo>
                  <a:lnTo>
                    <a:pt x="624" y="108"/>
                  </a:lnTo>
                  <a:lnTo>
                    <a:pt x="624" y="102"/>
                  </a:lnTo>
                  <a:lnTo>
                    <a:pt x="630" y="102"/>
                  </a:lnTo>
                  <a:lnTo>
                    <a:pt x="636" y="102"/>
                  </a:lnTo>
                  <a:lnTo>
                    <a:pt x="636" y="108"/>
                  </a:lnTo>
                  <a:lnTo>
                    <a:pt x="642" y="108"/>
                  </a:lnTo>
                  <a:lnTo>
                    <a:pt x="648" y="108"/>
                  </a:lnTo>
                  <a:lnTo>
                    <a:pt x="648" y="102"/>
                  </a:lnTo>
                  <a:lnTo>
                    <a:pt x="654" y="102"/>
                  </a:lnTo>
                  <a:lnTo>
                    <a:pt x="660" y="102"/>
                  </a:lnTo>
                  <a:lnTo>
                    <a:pt x="660" y="96"/>
                  </a:lnTo>
                  <a:lnTo>
                    <a:pt x="660" y="90"/>
                  </a:lnTo>
                  <a:lnTo>
                    <a:pt x="666" y="90"/>
                  </a:lnTo>
                  <a:lnTo>
                    <a:pt x="666" y="84"/>
                  </a:lnTo>
                  <a:lnTo>
                    <a:pt x="672" y="78"/>
                  </a:lnTo>
                  <a:lnTo>
                    <a:pt x="672" y="72"/>
                  </a:lnTo>
                  <a:lnTo>
                    <a:pt x="678" y="66"/>
                  </a:lnTo>
                  <a:lnTo>
                    <a:pt x="684" y="66"/>
                  </a:lnTo>
                  <a:lnTo>
                    <a:pt x="684" y="60"/>
                  </a:lnTo>
                  <a:lnTo>
                    <a:pt x="690" y="60"/>
                  </a:lnTo>
                  <a:lnTo>
                    <a:pt x="696" y="60"/>
                  </a:lnTo>
                  <a:lnTo>
                    <a:pt x="702" y="60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66"/>
                  </a:lnTo>
                  <a:lnTo>
                    <a:pt x="720" y="66"/>
                  </a:lnTo>
                  <a:lnTo>
                    <a:pt x="720" y="60"/>
                  </a:lnTo>
                  <a:lnTo>
                    <a:pt x="726" y="60"/>
                  </a:lnTo>
                  <a:lnTo>
                    <a:pt x="732" y="60"/>
                  </a:lnTo>
                  <a:lnTo>
                    <a:pt x="744" y="60"/>
                  </a:lnTo>
                  <a:lnTo>
                    <a:pt x="750" y="54"/>
                  </a:lnTo>
                  <a:lnTo>
                    <a:pt x="762" y="60"/>
                  </a:lnTo>
                  <a:lnTo>
                    <a:pt x="774" y="60"/>
                  </a:lnTo>
                  <a:lnTo>
                    <a:pt x="774" y="66"/>
                  </a:lnTo>
                  <a:lnTo>
                    <a:pt x="780" y="72"/>
                  </a:lnTo>
                  <a:lnTo>
                    <a:pt x="786" y="78"/>
                  </a:lnTo>
                  <a:lnTo>
                    <a:pt x="792" y="78"/>
                  </a:lnTo>
                  <a:lnTo>
                    <a:pt x="810" y="84"/>
                  </a:lnTo>
                  <a:lnTo>
                    <a:pt x="822" y="84"/>
                  </a:lnTo>
                  <a:lnTo>
                    <a:pt x="828" y="84"/>
                  </a:lnTo>
                  <a:lnTo>
                    <a:pt x="834" y="84"/>
                  </a:lnTo>
                  <a:lnTo>
                    <a:pt x="840" y="96"/>
                  </a:lnTo>
                  <a:lnTo>
                    <a:pt x="846" y="102"/>
                  </a:lnTo>
                  <a:lnTo>
                    <a:pt x="858" y="102"/>
                  </a:lnTo>
                  <a:lnTo>
                    <a:pt x="864" y="102"/>
                  </a:lnTo>
                  <a:lnTo>
                    <a:pt x="876" y="96"/>
                  </a:lnTo>
                  <a:lnTo>
                    <a:pt x="882" y="102"/>
                  </a:lnTo>
                  <a:lnTo>
                    <a:pt x="888" y="108"/>
                  </a:lnTo>
                  <a:lnTo>
                    <a:pt x="888" y="114"/>
                  </a:lnTo>
                  <a:lnTo>
                    <a:pt x="888" y="120"/>
                  </a:lnTo>
                  <a:lnTo>
                    <a:pt x="888" y="126"/>
                  </a:lnTo>
                  <a:lnTo>
                    <a:pt x="888" y="132"/>
                  </a:lnTo>
                  <a:lnTo>
                    <a:pt x="882" y="132"/>
                  </a:lnTo>
                  <a:lnTo>
                    <a:pt x="864" y="126"/>
                  </a:lnTo>
                  <a:lnTo>
                    <a:pt x="852" y="120"/>
                  </a:lnTo>
                  <a:lnTo>
                    <a:pt x="840" y="126"/>
                  </a:lnTo>
                  <a:lnTo>
                    <a:pt x="834" y="120"/>
                  </a:lnTo>
                  <a:lnTo>
                    <a:pt x="828" y="120"/>
                  </a:lnTo>
                  <a:lnTo>
                    <a:pt x="822" y="120"/>
                  </a:lnTo>
                  <a:lnTo>
                    <a:pt x="810" y="114"/>
                  </a:lnTo>
                  <a:lnTo>
                    <a:pt x="804" y="114"/>
                  </a:lnTo>
                  <a:lnTo>
                    <a:pt x="798" y="114"/>
                  </a:lnTo>
                  <a:lnTo>
                    <a:pt x="792" y="114"/>
                  </a:lnTo>
                  <a:lnTo>
                    <a:pt x="786" y="114"/>
                  </a:lnTo>
                  <a:lnTo>
                    <a:pt x="780" y="114"/>
                  </a:lnTo>
                  <a:lnTo>
                    <a:pt x="780" y="126"/>
                  </a:lnTo>
                  <a:lnTo>
                    <a:pt x="786" y="126"/>
                  </a:lnTo>
                  <a:lnTo>
                    <a:pt x="798" y="126"/>
                  </a:lnTo>
                  <a:lnTo>
                    <a:pt x="804" y="126"/>
                  </a:lnTo>
                  <a:lnTo>
                    <a:pt x="822" y="132"/>
                  </a:lnTo>
                  <a:lnTo>
                    <a:pt x="828" y="132"/>
                  </a:lnTo>
                  <a:lnTo>
                    <a:pt x="834" y="132"/>
                  </a:lnTo>
                  <a:lnTo>
                    <a:pt x="840" y="144"/>
                  </a:lnTo>
                  <a:lnTo>
                    <a:pt x="846" y="150"/>
                  </a:lnTo>
                  <a:lnTo>
                    <a:pt x="858" y="150"/>
                  </a:lnTo>
                  <a:lnTo>
                    <a:pt x="864" y="162"/>
                  </a:lnTo>
                  <a:lnTo>
                    <a:pt x="870" y="162"/>
                  </a:lnTo>
                  <a:lnTo>
                    <a:pt x="876" y="168"/>
                  </a:lnTo>
                  <a:lnTo>
                    <a:pt x="888" y="168"/>
                  </a:lnTo>
                  <a:lnTo>
                    <a:pt x="894" y="174"/>
                  </a:lnTo>
                  <a:lnTo>
                    <a:pt x="900" y="174"/>
                  </a:lnTo>
                  <a:lnTo>
                    <a:pt x="918" y="174"/>
                  </a:lnTo>
                  <a:lnTo>
                    <a:pt x="924" y="174"/>
                  </a:lnTo>
                  <a:lnTo>
                    <a:pt x="930" y="174"/>
                  </a:lnTo>
                  <a:lnTo>
                    <a:pt x="942" y="174"/>
                  </a:lnTo>
                  <a:lnTo>
                    <a:pt x="954" y="174"/>
                  </a:lnTo>
                  <a:lnTo>
                    <a:pt x="960" y="174"/>
                  </a:lnTo>
                  <a:lnTo>
                    <a:pt x="966" y="174"/>
                  </a:lnTo>
                  <a:lnTo>
                    <a:pt x="966" y="168"/>
                  </a:lnTo>
                  <a:lnTo>
                    <a:pt x="972" y="162"/>
                  </a:lnTo>
                  <a:lnTo>
                    <a:pt x="972" y="156"/>
                  </a:lnTo>
                  <a:close/>
                  <a:moveTo>
                    <a:pt x="942" y="174"/>
                  </a:moveTo>
                  <a:lnTo>
                    <a:pt x="936" y="174"/>
                  </a:lnTo>
                  <a:lnTo>
                    <a:pt x="936" y="168"/>
                  </a:lnTo>
                  <a:lnTo>
                    <a:pt x="936" y="162"/>
                  </a:lnTo>
                  <a:lnTo>
                    <a:pt x="948" y="162"/>
                  </a:lnTo>
                  <a:lnTo>
                    <a:pt x="948" y="156"/>
                  </a:lnTo>
                  <a:lnTo>
                    <a:pt x="954" y="156"/>
                  </a:lnTo>
                  <a:lnTo>
                    <a:pt x="960" y="156"/>
                  </a:lnTo>
                  <a:lnTo>
                    <a:pt x="966" y="156"/>
                  </a:lnTo>
                  <a:lnTo>
                    <a:pt x="966" y="162"/>
                  </a:lnTo>
                  <a:lnTo>
                    <a:pt x="960" y="168"/>
                  </a:lnTo>
                  <a:lnTo>
                    <a:pt x="942" y="174"/>
                  </a:lnTo>
                  <a:close/>
                  <a:moveTo>
                    <a:pt x="900" y="168"/>
                  </a:moveTo>
                  <a:lnTo>
                    <a:pt x="894" y="168"/>
                  </a:lnTo>
                  <a:lnTo>
                    <a:pt x="882" y="156"/>
                  </a:lnTo>
                  <a:lnTo>
                    <a:pt x="882" y="150"/>
                  </a:lnTo>
                  <a:lnTo>
                    <a:pt x="888" y="156"/>
                  </a:lnTo>
                  <a:lnTo>
                    <a:pt x="894" y="150"/>
                  </a:lnTo>
                  <a:lnTo>
                    <a:pt x="900" y="150"/>
                  </a:lnTo>
                  <a:lnTo>
                    <a:pt x="906" y="150"/>
                  </a:lnTo>
                  <a:lnTo>
                    <a:pt x="912" y="150"/>
                  </a:lnTo>
                  <a:lnTo>
                    <a:pt x="924" y="150"/>
                  </a:lnTo>
                  <a:lnTo>
                    <a:pt x="924" y="156"/>
                  </a:lnTo>
                  <a:lnTo>
                    <a:pt x="924" y="162"/>
                  </a:lnTo>
                  <a:lnTo>
                    <a:pt x="924" y="168"/>
                  </a:lnTo>
                  <a:lnTo>
                    <a:pt x="918" y="168"/>
                  </a:lnTo>
                  <a:lnTo>
                    <a:pt x="906" y="168"/>
                  </a:lnTo>
                  <a:lnTo>
                    <a:pt x="900" y="168"/>
                  </a:lnTo>
                  <a:close/>
                  <a:moveTo>
                    <a:pt x="870" y="162"/>
                  </a:moveTo>
                  <a:lnTo>
                    <a:pt x="876" y="162"/>
                  </a:lnTo>
                  <a:lnTo>
                    <a:pt x="876" y="168"/>
                  </a:lnTo>
                  <a:lnTo>
                    <a:pt x="870" y="168"/>
                  </a:lnTo>
                  <a:lnTo>
                    <a:pt x="870" y="162"/>
                  </a:lnTo>
                  <a:close/>
                  <a:moveTo>
                    <a:pt x="450" y="162"/>
                  </a:moveTo>
                  <a:lnTo>
                    <a:pt x="444" y="162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2" y="150"/>
                  </a:lnTo>
                  <a:lnTo>
                    <a:pt x="438" y="150"/>
                  </a:lnTo>
                  <a:lnTo>
                    <a:pt x="438" y="144"/>
                  </a:lnTo>
                  <a:lnTo>
                    <a:pt x="438" y="150"/>
                  </a:lnTo>
                  <a:lnTo>
                    <a:pt x="444" y="150"/>
                  </a:lnTo>
                  <a:lnTo>
                    <a:pt x="450" y="150"/>
                  </a:lnTo>
                  <a:lnTo>
                    <a:pt x="450" y="156"/>
                  </a:lnTo>
                  <a:lnTo>
                    <a:pt x="456" y="156"/>
                  </a:lnTo>
                  <a:lnTo>
                    <a:pt x="456" y="150"/>
                  </a:lnTo>
                  <a:lnTo>
                    <a:pt x="456" y="156"/>
                  </a:lnTo>
                  <a:lnTo>
                    <a:pt x="462" y="150"/>
                  </a:lnTo>
                  <a:lnTo>
                    <a:pt x="462" y="144"/>
                  </a:lnTo>
                  <a:lnTo>
                    <a:pt x="468" y="144"/>
                  </a:lnTo>
                  <a:lnTo>
                    <a:pt x="468" y="150"/>
                  </a:lnTo>
                  <a:lnTo>
                    <a:pt x="474" y="150"/>
                  </a:lnTo>
                  <a:lnTo>
                    <a:pt x="480" y="150"/>
                  </a:lnTo>
                  <a:lnTo>
                    <a:pt x="480" y="156"/>
                  </a:lnTo>
                  <a:lnTo>
                    <a:pt x="480" y="162"/>
                  </a:lnTo>
                  <a:lnTo>
                    <a:pt x="474" y="162"/>
                  </a:lnTo>
                  <a:lnTo>
                    <a:pt x="474" y="168"/>
                  </a:lnTo>
                  <a:lnTo>
                    <a:pt x="474" y="162"/>
                  </a:lnTo>
                  <a:lnTo>
                    <a:pt x="468" y="162"/>
                  </a:lnTo>
                  <a:lnTo>
                    <a:pt x="462" y="162"/>
                  </a:lnTo>
                  <a:lnTo>
                    <a:pt x="456" y="162"/>
                  </a:lnTo>
                  <a:lnTo>
                    <a:pt x="450" y="16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6" name="Freeform 31">
              <a:extLst>
                <a:ext uri="{FF2B5EF4-FFF2-40B4-BE49-F238E27FC236}">
                  <a16:creationId xmlns:a16="http://schemas.microsoft.com/office/drawing/2014/main" id="{0989F057-38E8-4AA5-8B73-27F6355E235C}"/>
                </a:ext>
              </a:extLst>
            </p:cNvPr>
            <p:cNvSpPr>
              <a:spLocks/>
            </p:cNvSpPr>
            <p:nvPr/>
          </p:nvSpPr>
          <p:spPr bwMode="gray">
            <a:xfrm>
              <a:off x="792590" y="2728084"/>
              <a:ext cx="1182944" cy="740282"/>
            </a:xfrm>
            <a:custGeom>
              <a:avLst/>
              <a:gdLst>
                <a:gd name="T0" fmla="*/ 138 w 2226"/>
                <a:gd name="T1" fmla="*/ 121 h 1392"/>
                <a:gd name="T2" fmla="*/ 133 w 2226"/>
                <a:gd name="T3" fmla="*/ 119 h 1392"/>
                <a:gd name="T4" fmla="*/ 128 w 2226"/>
                <a:gd name="T5" fmla="*/ 117 h 1392"/>
                <a:gd name="T6" fmla="*/ 119 w 2226"/>
                <a:gd name="T7" fmla="*/ 116 h 1392"/>
                <a:gd name="T8" fmla="*/ 101 w 2226"/>
                <a:gd name="T9" fmla="*/ 116 h 1392"/>
                <a:gd name="T10" fmla="*/ 94 w 2226"/>
                <a:gd name="T11" fmla="*/ 104 h 1392"/>
                <a:gd name="T12" fmla="*/ 82 w 2226"/>
                <a:gd name="T13" fmla="*/ 83 h 1392"/>
                <a:gd name="T14" fmla="*/ 87 w 2226"/>
                <a:gd name="T15" fmla="*/ 69 h 1392"/>
                <a:gd name="T16" fmla="*/ 82 w 2226"/>
                <a:gd name="T17" fmla="*/ 65 h 1392"/>
                <a:gd name="T18" fmla="*/ 59 w 2226"/>
                <a:gd name="T19" fmla="*/ 57 h 1392"/>
                <a:gd name="T20" fmla="*/ 29 w 2226"/>
                <a:gd name="T21" fmla="*/ 77 h 1392"/>
                <a:gd name="T22" fmla="*/ 20 w 2226"/>
                <a:gd name="T23" fmla="*/ 78 h 1392"/>
                <a:gd name="T24" fmla="*/ 15 w 2226"/>
                <a:gd name="T25" fmla="*/ 82 h 1392"/>
                <a:gd name="T26" fmla="*/ 8 w 2226"/>
                <a:gd name="T27" fmla="*/ 86 h 1392"/>
                <a:gd name="T28" fmla="*/ 1 w 2226"/>
                <a:gd name="T29" fmla="*/ 88 h 1392"/>
                <a:gd name="T30" fmla="*/ 0 w 2226"/>
                <a:gd name="T31" fmla="*/ 82 h 1392"/>
                <a:gd name="T32" fmla="*/ 0 w 2226"/>
                <a:gd name="T33" fmla="*/ 76 h 1392"/>
                <a:gd name="T34" fmla="*/ 2 w 2226"/>
                <a:gd name="T35" fmla="*/ 70 h 1392"/>
                <a:gd name="T36" fmla="*/ 3 w 2226"/>
                <a:gd name="T37" fmla="*/ 65 h 1392"/>
                <a:gd name="T38" fmla="*/ 2 w 2226"/>
                <a:gd name="T39" fmla="*/ 63 h 1392"/>
                <a:gd name="T40" fmla="*/ 9 w 2226"/>
                <a:gd name="T41" fmla="*/ 60 h 1392"/>
                <a:gd name="T42" fmla="*/ 17 w 2226"/>
                <a:gd name="T43" fmla="*/ 59 h 1392"/>
                <a:gd name="T44" fmla="*/ 22 w 2226"/>
                <a:gd name="T45" fmla="*/ 51 h 1392"/>
                <a:gd name="T46" fmla="*/ 23 w 2226"/>
                <a:gd name="T47" fmla="*/ 43 h 1392"/>
                <a:gd name="T48" fmla="*/ 27 w 2226"/>
                <a:gd name="T49" fmla="*/ 34 h 1392"/>
                <a:gd name="T50" fmla="*/ 30 w 2226"/>
                <a:gd name="T51" fmla="*/ 27 h 1392"/>
                <a:gd name="T52" fmla="*/ 33 w 2226"/>
                <a:gd name="T53" fmla="*/ 22 h 1392"/>
                <a:gd name="T54" fmla="*/ 42 w 2226"/>
                <a:gd name="T55" fmla="*/ 17 h 1392"/>
                <a:gd name="T56" fmla="*/ 47 w 2226"/>
                <a:gd name="T57" fmla="*/ 14 h 1392"/>
                <a:gd name="T58" fmla="*/ 49 w 2226"/>
                <a:gd name="T59" fmla="*/ 5 h 1392"/>
                <a:gd name="T60" fmla="*/ 53 w 2226"/>
                <a:gd name="T61" fmla="*/ 0 h 1392"/>
                <a:gd name="T62" fmla="*/ 55 w 2226"/>
                <a:gd name="T63" fmla="*/ 4 h 1392"/>
                <a:gd name="T64" fmla="*/ 59 w 2226"/>
                <a:gd name="T65" fmla="*/ 7 h 1392"/>
                <a:gd name="T66" fmla="*/ 63 w 2226"/>
                <a:gd name="T67" fmla="*/ 7 h 1392"/>
                <a:gd name="T68" fmla="*/ 66 w 2226"/>
                <a:gd name="T69" fmla="*/ 9 h 1392"/>
                <a:gd name="T70" fmla="*/ 67 w 2226"/>
                <a:gd name="T71" fmla="*/ 12 h 1392"/>
                <a:gd name="T72" fmla="*/ 67 w 2226"/>
                <a:gd name="T73" fmla="*/ 13 h 1392"/>
                <a:gd name="T74" fmla="*/ 70 w 2226"/>
                <a:gd name="T75" fmla="*/ 15 h 1392"/>
                <a:gd name="T76" fmla="*/ 74 w 2226"/>
                <a:gd name="T77" fmla="*/ 17 h 1392"/>
                <a:gd name="T78" fmla="*/ 78 w 2226"/>
                <a:gd name="T79" fmla="*/ 18 h 1392"/>
                <a:gd name="T80" fmla="*/ 97 w 2226"/>
                <a:gd name="T81" fmla="*/ 40 h 1392"/>
                <a:gd name="T82" fmla="*/ 102 w 2226"/>
                <a:gd name="T83" fmla="*/ 44 h 1392"/>
                <a:gd name="T84" fmla="*/ 110 w 2226"/>
                <a:gd name="T85" fmla="*/ 49 h 1392"/>
                <a:gd name="T86" fmla="*/ 113 w 2226"/>
                <a:gd name="T87" fmla="*/ 53 h 1392"/>
                <a:gd name="T88" fmla="*/ 118 w 2226"/>
                <a:gd name="T89" fmla="*/ 57 h 1392"/>
                <a:gd name="T90" fmla="*/ 124 w 2226"/>
                <a:gd name="T91" fmla="*/ 54 h 1392"/>
                <a:gd name="T92" fmla="*/ 133 w 2226"/>
                <a:gd name="T93" fmla="*/ 58 h 1392"/>
                <a:gd name="T94" fmla="*/ 137 w 2226"/>
                <a:gd name="T95" fmla="*/ 64 h 1392"/>
                <a:gd name="T96" fmla="*/ 145 w 2226"/>
                <a:gd name="T97" fmla="*/ 65 h 1392"/>
                <a:gd name="T98" fmla="*/ 152 w 2226"/>
                <a:gd name="T99" fmla="*/ 67 h 1392"/>
                <a:gd name="T100" fmla="*/ 161 w 2226"/>
                <a:gd name="T101" fmla="*/ 72 h 1392"/>
                <a:gd name="T102" fmla="*/ 168 w 2226"/>
                <a:gd name="T103" fmla="*/ 76 h 1392"/>
                <a:gd name="T104" fmla="*/ 177 w 2226"/>
                <a:gd name="T105" fmla="*/ 78 h 1392"/>
                <a:gd name="T106" fmla="*/ 184 w 2226"/>
                <a:gd name="T107" fmla="*/ 78 h 1392"/>
                <a:gd name="T108" fmla="*/ 190 w 2226"/>
                <a:gd name="T109" fmla="*/ 81 h 1392"/>
                <a:gd name="T110" fmla="*/ 192 w 2226"/>
                <a:gd name="T111" fmla="*/ 86 h 1392"/>
                <a:gd name="T112" fmla="*/ 187 w 2226"/>
                <a:gd name="T113" fmla="*/ 99 h 1392"/>
                <a:gd name="T114" fmla="*/ 165 w 2226"/>
                <a:gd name="T115" fmla="*/ 97 h 1392"/>
                <a:gd name="T116" fmla="*/ 155 w 2226"/>
                <a:gd name="T117" fmla="*/ 92 h 1392"/>
                <a:gd name="T118" fmla="*/ 146 w 2226"/>
                <a:gd name="T119" fmla="*/ 102 h 1392"/>
                <a:gd name="T120" fmla="*/ 149 w 2226"/>
                <a:gd name="T121" fmla="*/ 106 h 1392"/>
                <a:gd name="T122" fmla="*/ 151 w 2226"/>
                <a:gd name="T123" fmla="*/ 108 h 1392"/>
                <a:gd name="T124" fmla="*/ 157 w 2226"/>
                <a:gd name="T125" fmla="*/ 113 h 13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1392"/>
                <a:gd name="T191" fmla="*/ 2226 w 2226"/>
                <a:gd name="T192" fmla="*/ 1392 h 13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1392">
                  <a:moveTo>
                    <a:pt x="1782" y="1326"/>
                  </a:moveTo>
                  <a:lnTo>
                    <a:pt x="1776" y="1332"/>
                  </a:lnTo>
                  <a:lnTo>
                    <a:pt x="1692" y="1338"/>
                  </a:lnTo>
                  <a:lnTo>
                    <a:pt x="1680" y="1386"/>
                  </a:lnTo>
                  <a:lnTo>
                    <a:pt x="1674" y="1392"/>
                  </a:lnTo>
                  <a:lnTo>
                    <a:pt x="1638" y="1392"/>
                  </a:lnTo>
                  <a:lnTo>
                    <a:pt x="1620" y="1392"/>
                  </a:lnTo>
                  <a:lnTo>
                    <a:pt x="1614" y="1392"/>
                  </a:lnTo>
                  <a:lnTo>
                    <a:pt x="1608" y="1386"/>
                  </a:lnTo>
                  <a:lnTo>
                    <a:pt x="1584" y="1386"/>
                  </a:lnTo>
                  <a:lnTo>
                    <a:pt x="1578" y="1386"/>
                  </a:lnTo>
                  <a:lnTo>
                    <a:pt x="1572" y="1380"/>
                  </a:lnTo>
                  <a:lnTo>
                    <a:pt x="1578" y="1356"/>
                  </a:lnTo>
                  <a:lnTo>
                    <a:pt x="1572" y="1356"/>
                  </a:lnTo>
                  <a:lnTo>
                    <a:pt x="1560" y="1350"/>
                  </a:lnTo>
                  <a:lnTo>
                    <a:pt x="1554" y="1350"/>
                  </a:lnTo>
                  <a:lnTo>
                    <a:pt x="1542" y="1350"/>
                  </a:lnTo>
                  <a:lnTo>
                    <a:pt x="1530" y="1350"/>
                  </a:lnTo>
                  <a:lnTo>
                    <a:pt x="1524" y="1356"/>
                  </a:lnTo>
                  <a:lnTo>
                    <a:pt x="1524" y="1362"/>
                  </a:lnTo>
                  <a:lnTo>
                    <a:pt x="1512" y="1374"/>
                  </a:lnTo>
                  <a:lnTo>
                    <a:pt x="1506" y="1374"/>
                  </a:lnTo>
                  <a:lnTo>
                    <a:pt x="1500" y="1368"/>
                  </a:lnTo>
                  <a:lnTo>
                    <a:pt x="1500" y="1362"/>
                  </a:lnTo>
                  <a:lnTo>
                    <a:pt x="1488" y="1362"/>
                  </a:lnTo>
                  <a:lnTo>
                    <a:pt x="1482" y="1356"/>
                  </a:lnTo>
                  <a:lnTo>
                    <a:pt x="1482" y="1350"/>
                  </a:lnTo>
                  <a:lnTo>
                    <a:pt x="1476" y="1350"/>
                  </a:lnTo>
                  <a:lnTo>
                    <a:pt x="1470" y="1344"/>
                  </a:lnTo>
                  <a:lnTo>
                    <a:pt x="1464" y="1344"/>
                  </a:lnTo>
                  <a:lnTo>
                    <a:pt x="1452" y="1350"/>
                  </a:lnTo>
                  <a:lnTo>
                    <a:pt x="1452" y="1356"/>
                  </a:lnTo>
                  <a:lnTo>
                    <a:pt x="1440" y="1356"/>
                  </a:lnTo>
                  <a:lnTo>
                    <a:pt x="1434" y="1344"/>
                  </a:lnTo>
                  <a:lnTo>
                    <a:pt x="1422" y="1332"/>
                  </a:lnTo>
                  <a:lnTo>
                    <a:pt x="1416" y="1326"/>
                  </a:lnTo>
                  <a:lnTo>
                    <a:pt x="1404" y="1320"/>
                  </a:lnTo>
                  <a:lnTo>
                    <a:pt x="1404" y="1314"/>
                  </a:lnTo>
                  <a:lnTo>
                    <a:pt x="1374" y="1308"/>
                  </a:lnTo>
                  <a:lnTo>
                    <a:pt x="1368" y="1326"/>
                  </a:lnTo>
                  <a:lnTo>
                    <a:pt x="1344" y="1338"/>
                  </a:lnTo>
                  <a:lnTo>
                    <a:pt x="1326" y="1332"/>
                  </a:lnTo>
                  <a:lnTo>
                    <a:pt x="1302" y="1332"/>
                  </a:lnTo>
                  <a:lnTo>
                    <a:pt x="1278" y="1338"/>
                  </a:lnTo>
                  <a:lnTo>
                    <a:pt x="1236" y="1338"/>
                  </a:lnTo>
                  <a:lnTo>
                    <a:pt x="1224" y="1338"/>
                  </a:lnTo>
                  <a:lnTo>
                    <a:pt x="1224" y="1326"/>
                  </a:lnTo>
                  <a:lnTo>
                    <a:pt x="1206" y="1326"/>
                  </a:lnTo>
                  <a:lnTo>
                    <a:pt x="1170" y="1326"/>
                  </a:lnTo>
                  <a:lnTo>
                    <a:pt x="1152" y="1326"/>
                  </a:lnTo>
                  <a:lnTo>
                    <a:pt x="1140" y="1314"/>
                  </a:lnTo>
                  <a:lnTo>
                    <a:pt x="1134" y="1296"/>
                  </a:lnTo>
                  <a:lnTo>
                    <a:pt x="1134" y="1284"/>
                  </a:lnTo>
                  <a:lnTo>
                    <a:pt x="1128" y="1254"/>
                  </a:lnTo>
                  <a:lnTo>
                    <a:pt x="1128" y="1242"/>
                  </a:lnTo>
                  <a:lnTo>
                    <a:pt x="1122" y="1230"/>
                  </a:lnTo>
                  <a:lnTo>
                    <a:pt x="1104" y="1218"/>
                  </a:lnTo>
                  <a:lnTo>
                    <a:pt x="1104" y="1212"/>
                  </a:lnTo>
                  <a:lnTo>
                    <a:pt x="1092" y="1206"/>
                  </a:lnTo>
                  <a:lnTo>
                    <a:pt x="1080" y="1194"/>
                  </a:lnTo>
                  <a:lnTo>
                    <a:pt x="1068" y="1176"/>
                  </a:lnTo>
                  <a:lnTo>
                    <a:pt x="1050" y="1152"/>
                  </a:lnTo>
                  <a:lnTo>
                    <a:pt x="1020" y="1098"/>
                  </a:lnTo>
                  <a:lnTo>
                    <a:pt x="978" y="1026"/>
                  </a:lnTo>
                  <a:lnTo>
                    <a:pt x="978" y="1014"/>
                  </a:lnTo>
                  <a:lnTo>
                    <a:pt x="972" y="1014"/>
                  </a:lnTo>
                  <a:lnTo>
                    <a:pt x="972" y="1008"/>
                  </a:lnTo>
                  <a:lnTo>
                    <a:pt x="978" y="1002"/>
                  </a:lnTo>
                  <a:lnTo>
                    <a:pt x="960" y="966"/>
                  </a:lnTo>
                  <a:lnTo>
                    <a:pt x="948" y="954"/>
                  </a:lnTo>
                  <a:lnTo>
                    <a:pt x="948" y="936"/>
                  </a:lnTo>
                  <a:lnTo>
                    <a:pt x="936" y="900"/>
                  </a:lnTo>
                  <a:lnTo>
                    <a:pt x="942" y="876"/>
                  </a:lnTo>
                  <a:lnTo>
                    <a:pt x="942" y="834"/>
                  </a:lnTo>
                  <a:lnTo>
                    <a:pt x="960" y="828"/>
                  </a:lnTo>
                  <a:lnTo>
                    <a:pt x="966" y="816"/>
                  </a:lnTo>
                  <a:lnTo>
                    <a:pt x="972" y="810"/>
                  </a:lnTo>
                  <a:lnTo>
                    <a:pt x="978" y="804"/>
                  </a:lnTo>
                  <a:lnTo>
                    <a:pt x="996" y="798"/>
                  </a:lnTo>
                  <a:lnTo>
                    <a:pt x="996" y="792"/>
                  </a:lnTo>
                  <a:lnTo>
                    <a:pt x="1014" y="780"/>
                  </a:lnTo>
                  <a:lnTo>
                    <a:pt x="1026" y="768"/>
                  </a:lnTo>
                  <a:lnTo>
                    <a:pt x="1032" y="762"/>
                  </a:lnTo>
                  <a:lnTo>
                    <a:pt x="1026" y="756"/>
                  </a:lnTo>
                  <a:lnTo>
                    <a:pt x="1014" y="744"/>
                  </a:lnTo>
                  <a:lnTo>
                    <a:pt x="996" y="756"/>
                  </a:lnTo>
                  <a:lnTo>
                    <a:pt x="954" y="768"/>
                  </a:lnTo>
                  <a:lnTo>
                    <a:pt x="942" y="762"/>
                  </a:lnTo>
                  <a:lnTo>
                    <a:pt x="942" y="756"/>
                  </a:lnTo>
                  <a:lnTo>
                    <a:pt x="936" y="750"/>
                  </a:lnTo>
                  <a:lnTo>
                    <a:pt x="846" y="732"/>
                  </a:lnTo>
                  <a:lnTo>
                    <a:pt x="822" y="726"/>
                  </a:lnTo>
                  <a:lnTo>
                    <a:pt x="810" y="714"/>
                  </a:lnTo>
                  <a:lnTo>
                    <a:pt x="792" y="690"/>
                  </a:lnTo>
                  <a:lnTo>
                    <a:pt x="792" y="678"/>
                  </a:lnTo>
                  <a:lnTo>
                    <a:pt x="762" y="642"/>
                  </a:lnTo>
                  <a:lnTo>
                    <a:pt x="750" y="636"/>
                  </a:lnTo>
                  <a:lnTo>
                    <a:pt x="726" y="630"/>
                  </a:lnTo>
                  <a:lnTo>
                    <a:pt x="696" y="642"/>
                  </a:lnTo>
                  <a:lnTo>
                    <a:pt x="678" y="654"/>
                  </a:lnTo>
                  <a:lnTo>
                    <a:pt x="666" y="684"/>
                  </a:lnTo>
                  <a:lnTo>
                    <a:pt x="660" y="726"/>
                  </a:lnTo>
                  <a:lnTo>
                    <a:pt x="606" y="756"/>
                  </a:lnTo>
                  <a:lnTo>
                    <a:pt x="558" y="780"/>
                  </a:lnTo>
                  <a:lnTo>
                    <a:pt x="438" y="834"/>
                  </a:lnTo>
                  <a:lnTo>
                    <a:pt x="402" y="846"/>
                  </a:lnTo>
                  <a:lnTo>
                    <a:pt x="372" y="870"/>
                  </a:lnTo>
                  <a:lnTo>
                    <a:pt x="360" y="876"/>
                  </a:lnTo>
                  <a:lnTo>
                    <a:pt x="354" y="876"/>
                  </a:lnTo>
                  <a:lnTo>
                    <a:pt x="330" y="882"/>
                  </a:lnTo>
                  <a:lnTo>
                    <a:pt x="306" y="882"/>
                  </a:lnTo>
                  <a:lnTo>
                    <a:pt x="300" y="876"/>
                  </a:lnTo>
                  <a:lnTo>
                    <a:pt x="294" y="876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76" y="864"/>
                  </a:lnTo>
                  <a:lnTo>
                    <a:pt x="270" y="870"/>
                  </a:lnTo>
                  <a:lnTo>
                    <a:pt x="264" y="870"/>
                  </a:lnTo>
                  <a:lnTo>
                    <a:pt x="240" y="894"/>
                  </a:lnTo>
                  <a:lnTo>
                    <a:pt x="234" y="894"/>
                  </a:lnTo>
                  <a:lnTo>
                    <a:pt x="228" y="900"/>
                  </a:lnTo>
                  <a:lnTo>
                    <a:pt x="222" y="906"/>
                  </a:lnTo>
                  <a:lnTo>
                    <a:pt x="210" y="912"/>
                  </a:lnTo>
                  <a:lnTo>
                    <a:pt x="204" y="912"/>
                  </a:lnTo>
                  <a:lnTo>
                    <a:pt x="198" y="912"/>
                  </a:lnTo>
                  <a:lnTo>
                    <a:pt x="192" y="918"/>
                  </a:lnTo>
                  <a:lnTo>
                    <a:pt x="180" y="918"/>
                  </a:lnTo>
                  <a:lnTo>
                    <a:pt x="174" y="930"/>
                  </a:lnTo>
                  <a:lnTo>
                    <a:pt x="174" y="936"/>
                  </a:lnTo>
                  <a:lnTo>
                    <a:pt x="168" y="942"/>
                  </a:lnTo>
                  <a:lnTo>
                    <a:pt x="162" y="942"/>
                  </a:lnTo>
                  <a:lnTo>
                    <a:pt x="150" y="960"/>
                  </a:lnTo>
                  <a:lnTo>
                    <a:pt x="144" y="966"/>
                  </a:lnTo>
                  <a:lnTo>
                    <a:pt x="138" y="972"/>
                  </a:lnTo>
                  <a:lnTo>
                    <a:pt x="132" y="972"/>
                  </a:lnTo>
                  <a:lnTo>
                    <a:pt x="126" y="984"/>
                  </a:lnTo>
                  <a:lnTo>
                    <a:pt x="120" y="984"/>
                  </a:lnTo>
                  <a:lnTo>
                    <a:pt x="114" y="990"/>
                  </a:lnTo>
                  <a:lnTo>
                    <a:pt x="96" y="990"/>
                  </a:lnTo>
                  <a:lnTo>
                    <a:pt x="90" y="990"/>
                  </a:lnTo>
                  <a:lnTo>
                    <a:pt x="78" y="990"/>
                  </a:lnTo>
                  <a:lnTo>
                    <a:pt x="72" y="990"/>
                  </a:lnTo>
                  <a:lnTo>
                    <a:pt x="60" y="990"/>
                  </a:lnTo>
                  <a:lnTo>
                    <a:pt x="42" y="990"/>
                  </a:lnTo>
                  <a:lnTo>
                    <a:pt x="36" y="996"/>
                  </a:lnTo>
                  <a:lnTo>
                    <a:pt x="30" y="1002"/>
                  </a:lnTo>
                  <a:lnTo>
                    <a:pt x="24" y="1014"/>
                  </a:lnTo>
                  <a:lnTo>
                    <a:pt x="24" y="1020"/>
                  </a:lnTo>
                  <a:lnTo>
                    <a:pt x="18" y="1020"/>
                  </a:lnTo>
                  <a:lnTo>
                    <a:pt x="12" y="1014"/>
                  </a:lnTo>
                  <a:lnTo>
                    <a:pt x="12" y="1008"/>
                  </a:lnTo>
                  <a:lnTo>
                    <a:pt x="12" y="990"/>
                  </a:lnTo>
                  <a:lnTo>
                    <a:pt x="12" y="984"/>
                  </a:lnTo>
                  <a:lnTo>
                    <a:pt x="12" y="972"/>
                  </a:lnTo>
                  <a:lnTo>
                    <a:pt x="12" y="966"/>
                  </a:lnTo>
                  <a:lnTo>
                    <a:pt x="6" y="966"/>
                  </a:lnTo>
                  <a:lnTo>
                    <a:pt x="6" y="960"/>
                  </a:lnTo>
                  <a:lnTo>
                    <a:pt x="6" y="954"/>
                  </a:lnTo>
                  <a:lnTo>
                    <a:pt x="6" y="948"/>
                  </a:lnTo>
                  <a:lnTo>
                    <a:pt x="6" y="942"/>
                  </a:lnTo>
                  <a:lnTo>
                    <a:pt x="12" y="930"/>
                  </a:lnTo>
                  <a:lnTo>
                    <a:pt x="6" y="924"/>
                  </a:lnTo>
                  <a:lnTo>
                    <a:pt x="6" y="918"/>
                  </a:lnTo>
                  <a:lnTo>
                    <a:pt x="6" y="912"/>
                  </a:lnTo>
                  <a:lnTo>
                    <a:pt x="6" y="906"/>
                  </a:lnTo>
                  <a:lnTo>
                    <a:pt x="6" y="900"/>
                  </a:lnTo>
                  <a:lnTo>
                    <a:pt x="0" y="894"/>
                  </a:lnTo>
                  <a:lnTo>
                    <a:pt x="0" y="888"/>
                  </a:lnTo>
                  <a:lnTo>
                    <a:pt x="0" y="882"/>
                  </a:lnTo>
                  <a:lnTo>
                    <a:pt x="6" y="876"/>
                  </a:lnTo>
                  <a:lnTo>
                    <a:pt x="6" y="870"/>
                  </a:lnTo>
                  <a:lnTo>
                    <a:pt x="18" y="864"/>
                  </a:lnTo>
                  <a:lnTo>
                    <a:pt x="18" y="858"/>
                  </a:lnTo>
                  <a:lnTo>
                    <a:pt x="18" y="846"/>
                  </a:lnTo>
                  <a:lnTo>
                    <a:pt x="18" y="834"/>
                  </a:lnTo>
                  <a:lnTo>
                    <a:pt x="18" y="828"/>
                  </a:lnTo>
                  <a:lnTo>
                    <a:pt x="24" y="828"/>
                  </a:lnTo>
                  <a:lnTo>
                    <a:pt x="24" y="810"/>
                  </a:lnTo>
                  <a:lnTo>
                    <a:pt x="24" y="804"/>
                  </a:lnTo>
                  <a:lnTo>
                    <a:pt x="18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24" y="792"/>
                  </a:lnTo>
                  <a:lnTo>
                    <a:pt x="30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6" y="762"/>
                  </a:lnTo>
                  <a:lnTo>
                    <a:pt x="36" y="756"/>
                  </a:lnTo>
                  <a:lnTo>
                    <a:pt x="30" y="756"/>
                  </a:lnTo>
                  <a:lnTo>
                    <a:pt x="30" y="750"/>
                  </a:lnTo>
                  <a:lnTo>
                    <a:pt x="36" y="750"/>
                  </a:lnTo>
                  <a:lnTo>
                    <a:pt x="36" y="744"/>
                  </a:lnTo>
                  <a:lnTo>
                    <a:pt x="30" y="744"/>
                  </a:lnTo>
                  <a:lnTo>
                    <a:pt x="30" y="738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0" y="732"/>
                  </a:lnTo>
                  <a:lnTo>
                    <a:pt x="36" y="726"/>
                  </a:lnTo>
                  <a:lnTo>
                    <a:pt x="30" y="726"/>
                  </a:lnTo>
                  <a:lnTo>
                    <a:pt x="24" y="726"/>
                  </a:lnTo>
                  <a:lnTo>
                    <a:pt x="30" y="720"/>
                  </a:lnTo>
                  <a:lnTo>
                    <a:pt x="30" y="714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696"/>
                  </a:lnTo>
                  <a:lnTo>
                    <a:pt x="66" y="702"/>
                  </a:lnTo>
                  <a:lnTo>
                    <a:pt x="78" y="702"/>
                  </a:lnTo>
                  <a:lnTo>
                    <a:pt x="84" y="702"/>
                  </a:lnTo>
                  <a:lnTo>
                    <a:pt x="96" y="696"/>
                  </a:lnTo>
                  <a:lnTo>
                    <a:pt x="102" y="690"/>
                  </a:lnTo>
                  <a:lnTo>
                    <a:pt x="102" y="684"/>
                  </a:lnTo>
                  <a:lnTo>
                    <a:pt x="114" y="684"/>
                  </a:lnTo>
                  <a:lnTo>
                    <a:pt x="144" y="684"/>
                  </a:lnTo>
                  <a:lnTo>
                    <a:pt x="150" y="690"/>
                  </a:lnTo>
                  <a:lnTo>
                    <a:pt x="162" y="696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6" y="690"/>
                  </a:lnTo>
                  <a:lnTo>
                    <a:pt x="192" y="690"/>
                  </a:lnTo>
                  <a:lnTo>
                    <a:pt x="198" y="684"/>
                  </a:lnTo>
                  <a:lnTo>
                    <a:pt x="204" y="684"/>
                  </a:lnTo>
                  <a:lnTo>
                    <a:pt x="210" y="684"/>
                  </a:lnTo>
                  <a:lnTo>
                    <a:pt x="222" y="678"/>
                  </a:lnTo>
                  <a:lnTo>
                    <a:pt x="228" y="678"/>
                  </a:lnTo>
                  <a:lnTo>
                    <a:pt x="228" y="660"/>
                  </a:lnTo>
                  <a:lnTo>
                    <a:pt x="234" y="642"/>
                  </a:lnTo>
                  <a:lnTo>
                    <a:pt x="246" y="618"/>
                  </a:lnTo>
                  <a:lnTo>
                    <a:pt x="252" y="618"/>
                  </a:lnTo>
                  <a:lnTo>
                    <a:pt x="252" y="600"/>
                  </a:lnTo>
                  <a:lnTo>
                    <a:pt x="252" y="588"/>
                  </a:lnTo>
                  <a:lnTo>
                    <a:pt x="252" y="582"/>
                  </a:lnTo>
                  <a:lnTo>
                    <a:pt x="258" y="576"/>
                  </a:lnTo>
                  <a:lnTo>
                    <a:pt x="270" y="564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70" y="522"/>
                  </a:lnTo>
                  <a:lnTo>
                    <a:pt x="270" y="510"/>
                  </a:lnTo>
                  <a:lnTo>
                    <a:pt x="270" y="498"/>
                  </a:lnTo>
                  <a:lnTo>
                    <a:pt x="258" y="468"/>
                  </a:lnTo>
                  <a:lnTo>
                    <a:pt x="252" y="456"/>
                  </a:lnTo>
                  <a:lnTo>
                    <a:pt x="258" y="444"/>
                  </a:lnTo>
                  <a:lnTo>
                    <a:pt x="264" y="432"/>
                  </a:lnTo>
                  <a:lnTo>
                    <a:pt x="270" y="426"/>
                  </a:lnTo>
                  <a:lnTo>
                    <a:pt x="276" y="420"/>
                  </a:lnTo>
                  <a:lnTo>
                    <a:pt x="288" y="420"/>
                  </a:lnTo>
                  <a:lnTo>
                    <a:pt x="288" y="414"/>
                  </a:lnTo>
                  <a:lnTo>
                    <a:pt x="294" y="414"/>
                  </a:lnTo>
                  <a:lnTo>
                    <a:pt x="306" y="390"/>
                  </a:lnTo>
                  <a:lnTo>
                    <a:pt x="312" y="384"/>
                  </a:lnTo>
                  <a:lnTo>
                    <a:pt x="318" y="378"/>
                  </a:lnTo>
                  <a:lnTo>
                    <a:pt x="318" y="372"/>
                  </a:lnTo>
                  <a:lnTo>
                    <a:pt x="324" y="366"/>
                  </a:lnTo>
                  <a:lnTo>
                    <a:pt x="330" y="354"/>
                  </a:lnTo>
                  <a:lnTo>
                    <a:pt x="336" y="348"/>
                  </a:lnTo>
                  <a:lnTo>
                    <a:pt x="336" y="330"/>
                  </a:lnTo>
                  <a:lnTo>
                    <a:pt x="342" y="324"/>
                  </a:lnTo>
                  <a:lnTo>
                    <a:pt x="342" y="318"/>
                  </a:lnTo>
                  <a:lnTo>
                    <a:pt x="348" y="318"/>
                  </a:lnTo>
                  <a:lnTo>
                    <a:pt x="360" y="318"/>
                  </a:lnTo>
                  <a:lnTo>
                    <a:pt x="372" y="318"/>
                  </a:lnTo>
                  <a:lnTo>
                    <a:pt x="384" y="306"/>
                  </a:lnTo>
                  <a:lnTo>
                    <a:pt x="396" y="300"/>
                  </a:lnTo>
                  <a:lnTo>
                    <a:pt x="396" y="294"/>
                  </a:lnTo>
                  <a:lnTo>
                    <a:pt x="396" y="288"/>
                  </a:lnTo>
                  <a:lnTo>
                    <a:pt x="390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2"/>
                  </a:lnTo>
                  <a:lnTo>
                    <a:pt x="378" y="246"/>
                  </a:lnTo>
                  <a:lnTo>
                    <a:pt x="384" y="228"/>
                  </a:lnTo>
                  <a:lnTo>
                    <a:pt x="390" y="216"/>
                  </a:lnTo>
                  <a:lnTo>
                    <a:pt x="402" y="210"/>
                  </a:lnTo>
                  <a:lnTo>
                    <a:pt x="408" y="210"/>
                  </a:lnTo>
                  <a:lnTo>
                    <a:pt x="420" y="204"/>
                  </a:lnTo>
                  <a:lnTo>
                    <a:pt x="444" y="198"/>
                  </a:lnTo>
                  <a:lnTo>
                    <a:pt x="462" y="192"/>
                  </a:lnTo>
                  <a:lnTo>
                    <a:pt x="474" y="186"/>
                  </a:lnTo>
                  <a:lnTo>
                    <a:pt x="480" y="192"/>
                  </a:lnTo>
                  <a:lnTo>
                    <a:pt x="492" y="192"/>
                  </a:lnTo>
                  <a:lnTo>
                    <a:pt x="498" y="192"/>
                  </a:lnTo>
                  <a:lnTo>
                    <a:pt x="504" y="192"/>
                  </a:lnTo>
                  <a:lnTo>
                    <a:pt x="510" y="192"/>
                  </a:lnTo>
                  <a:lnTo>
                    <a:pt x="516" y="186"/>
                  </a:lnTo>
                  <a:lnTo>
                    <a:pt x="522" y="180"/>
                  </a:lnTo>
                  <a:lnTo>
                    <a:pt x="522" y="174"/>
                  </a:lnTo>
                  <a:lnTo>
                    <a:pt x="528" y="168"/>
                  </a:lnTo>
                  <a:lnTo>
                    <a:pt x="534" y="168"/>
                  </a:lnTo>
                  <a:lnTo>
                    <a:pt x="534" y="156"/>
                  </a:lnTo>
                  <a:lnTo>
                    <a:pt x="534" y="150"/>
                  </a:lnTo>
                  <a:lnTo>
                    <a:pt x="552" y="138"/>
                  </a:lnTo>
                  <a:lnTo>
                    <a:pt x="558" y="126"/>
                  </a:lnTo>
                  <a:lnTo>
                    <a:pt x="558" y="114"/>
                  </a:lnTo>
                  <a:lnTo>
                    <a:pt x="564" y="102"/>
                  </a:lnTo>
                  <a:lnTo>
                    <a:pt x="564" y="96"/>
                  </a:lnTo>
                  <a:lnTo>
                    <a:pt x="564" y="90"/>
                  </a:lnTo>
                  <a:lnTo>
                    <a:pt x="564" y="72"/>
                  </a:lnTo>
                  <a:lnTo>
                    <a:pt x="564" y="60"/>
                  </a:lnTo>
                  <a:lnTo>
                    <a:pt x="564" y="54"/>
                  </a:lnTo>
                  <a:lnTo>
                    <a:pt x="570" y="42"/>
                  </a:lnTo>
                  <a:lnTo>
                    <a:pt x="576" y="42"/>
                  </a:lnTo>
                  <a:lnTo>
                    <a:pt x="582" y="36"/>
                  </a:lnTo>
                  <a:lnTo>
                    <a:pt x="594" y="36"/>
                  </a:lnTo>
                  <a:lnTo>
                    <a:pt x="594" y="30"/>
                  </a:lnTo>
                  <a:lnTo>
                    <a:pt x="600" y="24"/>
                  </a:lnTo>
                  <a:lnTo>
                    <a:pt x="600" y="12"/>
                  </a:lnTo>
                  <a:lnTo>
                    <a:pt x="606" y="6"/>
                  </a:lnTo>
                  <a:lnTo>
                    <a:pt x="606" y="0"/>
                  </a:lnTo>
                  <a:lnTo>
                    <a:pt x="612" y="0"/>
                  </a:lnTo>
                  <a:lnTo>
                    <a:pt x="618" y="0"/>
                  </a:lnTo>
                  <a:lnTo>
                    <a:pt x="624" y="6"/>
                  </a:lnTo>
                  <a:lnTo>
                    <a:pt x="624" y="12"/>
                  </a:lnTo>
                  <a:lnTo>
                    <a:pt x="624" y="18"/>
                  </a:lnTo>
                  <a:lnTo>
                    <a:pt x="624" y="24"/>
                  </a:lnTo>
                  <a:lnTo>
                    <a:pt x="624" y="30"/>
                  </a:lnTo>
                  <a:lnTo>
                    <a:pt x="630" y="30"/>
                  </a:lnTo>
                  <a:lnTo>
                    <a:pt x="630" y="36"/>
                  </a:lnTo>
                  <a:lnTo>
                    <a:pt x="630" y="42"/>
                  </a:lnTo>
                  <a:lnTo>
                    <a:pt x="630" y="48"/>
                  </a:lnTo>
                  <a:lnTo>
                    <a:pt x="636" y="54"/>
                  </a:lnTo>
                  <a:lnTo>
                    <a:pt x="642" y="48"/>
                  </a:lnTo>
                  <a:lnTo>
                    <a:pt x="648" y="48"/>
                  </a:lnTo>
                  <a:lnTo>
                    <a:pt x="648" y="60"/>
                  </a:lnTo>
                  <a:lnTo>
                    <a:pt x="654" y="66"/>
                  </a:lnTo>
                  <a:lnTo>
                    <a:pt x="660" y="72"/>
                  </a:lnTo>
                  <a:lnTo>
                    <a:pt x="666" y="72"/>
                  </a:lnTo>
                  <a:lnTo>
                    <a:pt x="666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72" y="66"/>
                  </a:lnTo>
                  <a:lnTo>
                    <a:pt x="678" y="66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6" y="66"/>
                  </a:lnTo>
                  <a:lnTo>
                    <a:pt x="696" y="72"/>
                  </a:lnTo>
                  <a:lnTo>
                    <a:pt x="702" y="72"/>
                  </a:lnTo>
                  <a:lnTo>
                    <a:pt x="708" y="72"/>
                  </a:lnTo>
                  <a:lnTo>
                    <a:pt x="720" y="66"/>
                  </a:lnTo>
                  <a:lnTo>
                    <a:pt x="726" y="78"/>
                  </a:lnTo>
                  <a:lnTo>
                    <a:pt x="744" y="84"/>
                  </a:lnTo>
                  <a:lnTo>
                    <a:pt x="744" y="90"/>
                  </a:lnTo>
                  <a:lnTo>
                    <a:pt x="744" y="96"/>
                  </a:lnTo>
                  <a:lnTo>
                    <a:pt x="738" y="96"/>
                  </a:lnTo>
                  <a:lnTo>
                    <a:pt x="738" y="102"/>
                  </a:lnTo>
                  <a:lnTo>
                    <a:pt x="732" y="102"/>
                  </a:lnTo>
                  <a:lnTo>
                    <a:pt x="732" y="108"/>
                  </a:lnTo>
                  <a:lnTo>
                    <a:pt x="738" y="108"/>
                  </a:lnTo>
                  <a:lnTo>
                    <a:pt x="744" y="114"/>
                  </a:lnTo>
                  <a:lnTo>
                    <a:pt x="750" y="108"/>
                  </a:lnTo>
                  <a:lnTo>
                    <a:pt x="756" y="108"/>
                  </a:lnTo>
                  <a:lnTo>
                    <a:pt x="762" y="108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80" y="120"/>
                  </a:lnTo>
                  <a:lnTo>
                    <a:pt x="774" y="120"/>
                  </a:lnTo>
                  <a:lnTo>
                    <a:pt x="768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74" y="138"/>
                  </a:lnTo>
                  <a:lnTo>
                    <a:pt x="774" y="132"/>
                  </a:lnTo>
                  <a:lnTo>
                    <a:pt x="780" y="132"/>
                  </a:lnTo>
                  <a:lnTo>
                    <a:pt x="786" y="132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44"/>
                  </a:lnTo>
                  <a:lnTo>
                    <a:pt x="786" y="150"/>
                  </a:lnTo>
                  <a:lnTo>
                    <a:pt x="780" y="150"/>
                  </a:lnTo>
                  <a:lnTo>
                    <a:pt x="774" y="150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74" y="162"/>
                  </a:lnTo>
                  <a:lnTo>
                    <a:pt x="780" y="162"/>
                  </a:lnTo>
                  <a:lnTo>
                    <a:pt x="786" y="168"/>
                  </a:lnTo>
                  <a:lnTo>
                    <a:pt x="792" y="162"/>
                  </a:lnTo>
                  <a:lnTo>
                    <a:pt x="798" y="168"/>
                  </a:lnTo>
                  <a:lnTo>
                    <a:pt x="798" y="174"/>
                  </a:lnTo>
                  <a:lnTo>
                    <a:pt x="804" y="168"/>
                  </a:lnTo>
                  <a:lnTo>
                    <a:pt x="810" y="168"/>
                  </a:lnTo>
                  <a:lnTo>
                    <a:pt x="810" y="174"/>
                  </a:lnTo>
                  <a:lnTo>
                    <a:pt x="816" y="168"/>
                  </a:lnTo>
                  <a:lnTo>
                    <a:pt x="822" y="162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74"/>
                  </a:lnTo>
                  <a:lnTo>
                    <a:pt x="834" y="192"/>
                  </a:lnTo>
                  <a:lnTo>
                    <a:pt x="834" y="198"/>
                  </a:lnTo>
                  <a:lnTo>
                    <a:pt x="840" y="192"/>
                  </a:lnTo>
                  <a:lnTo>
                    <a:pt x="846" y="192"/>
                  </a:lnTo>
                  <a:lnTo>
                    <a:pt x="852" y="186"/>
                  </a:lnTo>
                  <a:lnTo>
                    <a:pt x="858" y="192"/>
                  </a:lnTo>
                  <a:lnTo>
                    <a:pt x="864" y="192"/>
                  </a:lnTo>
                  <a:lnTo>
                    <a:pt x="870" y="198"/>
                  </a:lnTo>
                  <a:lnTo>
                    <a:pt x="876" y="180"/>
                  </a:lnTo>
                  <a:lnTo>
                    <a:pt x="882" y="180"/>
                  </a:lnTo>
                  <a:lnTo>
                    <a:pt x="888" y="180"/>
                  </a:lnTo>
                  <a:lnTo>
                    <a:pt x="894" y="186"/>
                  </a:lnTo>
                  <a:lnTo>
                    <a:pt x="888" y="198"/>
                  </a:lnTo>
                  <a:lnTo>
                    <a:pt x="894" y="204"/>
                  </a:lnTo>
                  <a:lnTo>
                    <a:pt x="906" y="210"/>
                  </a:lnTo>
                  <a:lnTo>
                    <a:pt x="918" y="246"/>
                  </a:lnTo>
                  <a:lnTo>
                    <a:pt x="930" y="258"/>
                  </a:lnTo>
                  <a:lnTo>
                    <a:pt x="942" y="282"/>
                  </a:lnTo>
                  <a:lnTo>
                    <a:pt x="966" y="288"/>
                  </a:lnTo>
                  <a:lnTo>
                    <a:pt x="972" y="300"/>
                  </a:lnTo>
                  <a:lnTo>
                    <a:pt x="972" y="318"/>
                  </a:lnTo>
                  <a:lnTo>
                    <a:pt x="996" y="336"/>
                  </a:lnTo>
                  <a:lnTo>
                    <a:pt x="1050" y="390"/>
                  </a:lnTo>
                  <a:lnTo>
                    <a:pt x="1116" y="462"/>
                  </a:lnTo>
                  <a:lnTo>
                    <a:pt x="1122" y="468"/>
                  </a:lnTo>
                  <a:lnTo>
                    <a:pt x="1128" y="474"/>
                  </a:lnTo>
                  <a:lnTo>
                    <a:pt x="1140" y="474"/>
                  </a:lnTo>
                  <a:lnTo>
                    <a:pt x="1152" y="486"/>
                  </a:lnTo>
                  <a:lnTo>
                    <a:pt x="1152" y="492"/>
                  </a:lnTo>
                  <a:lnTo>
                    <a:pt x="1158" y="492"/>
                  </a:lnTo>
                  <a:lnTo>
                    <a:pt x="1164" y="492"/>
                  </a:lnTo>
                  <a:lnTo>
                    <a:pt x="1170" y="504"/>
                  </a:lnTo>
                  <a:lnTo>
                    <a:pt x="1176" y="504"/>
                  </a:lnTo>
                  <a:lnTo>
                    <a:pt x="1176" y="510"/>
                  </a:lnTo>
                  <a:lnTo>
                    <a:pt x="1200" y="516"/>
                  </a:lnTo>
                  <a:lnTo>
                    <a:pt x="1200" y="522"/>
                  </a:lnTo>
                  <a:lnTo>
                    <a:pt x="1212" y="534"/>
                  </a:lnTo>
                  <a:lnTo>
                    <a:pt x="1218" y="540"/>
                  </a:lnTo>
                  <a:lnTo>
                    <a:pt x="1224" y="552"/>
                  </a:lnTo>
                  <a:lnTo>
                    <a:pt x="1230" y="552"/>
                  </a:lnTo>
                  <a:lnTo>
                    <a:pt x="1242" y="552"/>
                  </a:lnTo>
                  <a:lnTo>
                    <a:pt x="1248" y="558"/>
                  </a:lnTo>
                  <a:lnTo>
                    <a:pt x="1254" y="558"/>
                  </a:lnTo>
                  <a:lnTo>
                    <a:pt x="1260" y="564"/>
                  </a:lnTo>
                  <a:lnTo>
                    <a:pt x="1266" y="564"/>
                  </a:lnTo>
                  <a:lnTo>
                    <a:pt x="1272" y="564"/>
                  </a:lnTo>
                  <a:lnTo>
                    <a:pt x="1284" y="564"/>
                  </a:lnTo>
                  <a:lnTo>
                    <a:pt x="1290" y="570"/>
                  </a:lnTo>
                  <a:lnTo>
                    <a:pt x="1296" y="576"/>
                  </a:lnTo>
                  <a:lnTo>
                    <a:pt x="1302" y="588"/>
                  </a:lnTo>
                  <a:lnTo>
                    <a:pt x="1296" y="594"/>
                  </a:lnTo>
                  <a:lnTo>
                    <a:pt x="1296" y="600"/>
                  </a:lnTo>
                  <a:lnTo>
                    <a:pt x="1296" y="606"/>
                  </a:lnTo>
                  <a:lnTo>
                    <a:pt x="1290" y="612"/>
                  </a:lnTo>
                  <a:lnTo>
                    <a:pt x="1290" y="624"/>
                  </a:lnTo>
                  <a:lnTo>
                    <a:pt x="1290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308" y="654"/>
                  </a:lnTo>
                  <a:lnTo>
                    <a:pt x="1320" y="654"/>
                  </a:lnTo>
                  <a:lnTo>
                    <a:pt x="1326" y="660"/>
                  </a:lnTo>
                  <a:lnTo>
                    <a:pt x="1338" y="654"/>
                  </a:lnTo>
                  <a:lnTo>
                    <a:pt x="1344" y="654"/>
                  </a:lnTo>
                  <a:lnTo>
                    <a:pt x="1356" y="654"/>
                  </a:lnTo>
                  <a:lnTo>
                    <a:pt x="1362" y="648"/>
                  </a:lnTo>
                  <a:lnTo>
                    <a:pt x="1368" y="642"/>
                  </a:lnTo>
                  <a:lnTo>
                    <a:pt x="1374" y="636"/>
                  </a:lnTo>
                  <a:lnTo>
                    <a:pt x="1380" y="636"/>
                  </a:lnTo>
                  <a:lnTo>
                    <a:pt x="1392" y="636"/>
                  </a:lnTo>
                  <a:lnTo>
                    <a:pt x="1398" y="636"/>
                  </a:lnTo>
                  <a:lnTo>
                    <a:pt x="1404" y="636"/>
                  </a:lnTo>
                  <a:lnTo>
                    <a:pt x="1410" y="630"/>
                  </a:lnTo>
                  <a:lnTo>
                    <a:pt x="1410" y="624"/>
                  </a:lnTo>
                  <a:lnTo>
                    <a:pt x="1422" y="618"/>
                  </a:lnTo>
                  <a:lnTo>
                    <a:pt x="1428" y="618"/>
                  </a:lnTo>
                  <a:lnTo>
                    <a:pt x="1440" y="612"/>
                  </a:lnTo>
                  <a:lnTo>
                    <a:pt x="1446" y="612"/>
                  </a:lnTo>
                  <a:lnTo>
                    <a:pt x="1458" y="612"/>
                  </a:lnTo>
                  <a:lnTo>
                    <a:pt x="1470" y="624"/>
                  </a:lnTo>
                  <a:lnTo>
                    <a:pt x="1488" y="642"/>
                  </a:lnTo>
                  <a:lnTo>
                    <a:pt x="1500" y="648"/>
                  </a:lnTo>
                  <a:lnTo>
                    <a:pt x="1512" y="654"/>
                  </a:lnTo>
                  <a:lnTo>
                    <a:pt x="1518" y="660"/>
                  </a:lnTo>
                  <a:lnTo>
                    <a:pt x="1524" y="660"/>
                  </a:lnTo>
                  <a:lnTo>
                    <a:pt x="1530" y="660"/>
                  </a:lnTo>
                  <a:lnTo>
                    <a:pt x="1536" y="666"/>
                  </a:lnTo>
                  <a:lnTo>
                    <a:pt x="1542" y="672"/>
                  </a:lnTo>
                  <a:lnTo>
                    <a:pt x="1548" y="672"/>
                  </a:lnTo>
                  <a:lnTo>
                    <a:pt x="1554" y="684"/>
                  </a:lnTo>
                  <a:lnTo>
                    <a:pt x="1554" y="690"/>
                  </a:lnTo>
                  <a:lnTo>
                    <a:pt x="1566" y="702"/>
                  </a:lnTo>
                  <a:lnTo>
                    <a:pt x="1572" y="720"/>
                  </a:lnTo>
                  <a:lnTo>
                    <a:pt x="1572" y="726"/>
                  </a:lnTo>
                  <a:lnTo>
                    <a:pt x="1578" y="732"/>
                  </a:lnTo>
                  <a:lnTo>
                    <a:pt x="1584" y="738"/>
                  </a:lnTo>
                  <a:lnTo>
                    <a:pt x="1590" y="738"/>
                  </a:lnTo>
                  <a:lnTo>
                    <a:pt x="1596" y="738"/>
                  </a:lnTo>
                  <a:lnTo>
                    <a:pt x="1602" y="744"/>
                  </a:lnTo>
                  <a:lnTo>
                    <a:pt x="1608" y="744"/>
                  </a:lnTo>
                  <a:lnTo>
                    <a:pt x="1614" y="744"/>
                  </a:lnTo>
                  <a:lnTo>
                    <a:pt x="1626" y="744"/>
                  </a:lnTo>
                  <a:lnTo>
                    <a:pt x="1638" y="744"/>
                  </a:lnTo>
                  <a:lnTo>
                    <a:pt x="1650" y="744"/>
                  </a:lnTo>
                  <a:lnTo>
                    <a:pt x="1662" y="744"/>
                  </a:lnTo>
                  <a:lnTo>
                    <a:pt x="1668" y="744"/>
                  </a:lnTo>
                  <a:lnTo>
                    <a:pt x="1674" y="744"/>
                  </a:lnTo>
                  <a:lnTo>
                    <a:pt x="1686" y="744"/>
                  </a:lnTo>
                  <a:lnTo>
                    <a:pt x="1698" y="750"/>
                  </a:lnTo>
                  <a:lnTo>
                    <a:pt x="1704" y="750"/>
                  </a:lnTo>
                  <a:lnTo>
                    <a:pt x="1716" y="756"/>
                  </a:lnTo>
                  <a:lnTo>
                    <a:pt x="1722" y="756"/>
                  </a:lnTo>
                  <a:lnTo>
                    <a:pt x="1728" y="756"/>
                  </a:lnTo>
                  <a:lnTo>
                    <a:pt x="1734" y="762"/>
                  </a:lnTo>
                  <a:lnTo>
                    <a:pt x="1740" y="768"/>
                  </a:lnTo>
                  <a:lnTo>
                    <a:pt x="1758" y="780"/>
                  </a:lnTo>
                  <a:lnTo>
                    <a:pt x="1770" y="780"/>
                  </a:lnTo>
                  <a:lnTo>
                    <a:pt x="1776" y="780"/>
                  </a:lnTo>
                  <a:lnTo>
                    <a:pt x="1782" y="780"/>
                  </a:lnTo>
                  <a:lnTo>
                    <a:pt x="1800" y="798"/>
                  </a:lnTo>
                  <a:lnTo>
                    <a:pt x="1818" y="810"/>
                  </a:lnTo>
                  <a:lnTo>
                    <a:pt x="1830" y="816"/>
                  </a:lnTo>
                  <a:lnTo>
                    <a:pt x="1836" y="822"/>
                  </a:lnTo>
                  <a:lnTo>
                    <a:pt x="1836" y="828"/>
                  </a:lnTo>
                  <a:lnTo>
                    <a:pt x="1842" y="828"/>
                  </a:lnTo>
                  <a:lnTo>
                    <a:pt x="1848" y="834"/>
                  </a:lnTo>
                  <a:lnTo>
                    <a:pt x="1854" y="840"/>
                  </a:lnTo>
                  <a:lnTo>
                    <a:pt x="1860" y="846"/>
                  </a:lnTo>
                  <a:lnTo>
                    <a:pt x="1872" y="852"/>
                  </a:lnTo>
                  <a:lnTo>
                    <a:pt x="1884" y="852"/>
                  </a:lnTo>
                  <a:lnTo>
                    <a:pt x="1896" y="852"/>
                  </a:lnTo>
                  <a:lnTo>
                    <a:pt x="1902" y="846"/>
                  </a:lnTo>
                  <a:lnTo>
                    <a:pt x="1908" y="852"/>
                  </a:lnTo>
                  <a:lnTo>
                    <a:pt x="1920" y="858"/>
                  </a:lnTo>
                  <a:lnTo>
                    <a:pt x="1926" y="870"/>
                  </a:lnTo>
                  <a:lnTo>
                    <a:pt x="1938" y="888"/>
                  </a:lnTo>
                  <a:lnTo>
                    <a:pt x="1944" y="900"/>
                  </a:lnTo>
                  <a:lnTo>
                    <a:pt x="1950" y="900"/>
                  </a:lnTo>
                  <a:lnTo>
                    <a:pt x="1962" y="906"/>
                  </a:lnTo>
                  <a:lnTo>
                    <a:pt x="1968" y="906"/>
                  </a:lnTo>
                  <a:lnTo>
                    <a:pt x="1980" y="906"/>
                  </a:lnTo>
                  <a:lnTo>
                    <a:pt x="1998" y="906"/>
                  </a:lnTo>
                  <a:lnTo>
                    <a:pt x="2010" y="900"/>
                  </a:lnTo>
                  <a:lnTo>
                    <a:pt x="2022" y="900"/>
                  </a:lnTo>
                  <a:lnTo>
                    <a:pt x="2028" y="900"/>
                  </a:lnTo>
                  <a:lnTo>
                    <a:pt x="2034" y="906"/>
                  </a:lnTo>
                  <a:lnTo>
                    <a:pt x="2046" y="906"/>
                  </a:lnTo>
                  <a:lnTo>
                    <a:pt x="2052" y="900"/>
                  </a:lnTo>
                  <a:lnTo>
                    <a:pt x="2058" y="900"/>
                  </a:lnTo>
                  <a:lnTo>
                    <a:pt x="2064" y="900"/>
                  </a:lnTo>
                  <a:lnTo>
                    <a:pt x="2070" y="900"/>
                  </a:lnTo>
                  <a:lnTo>
                    <a:pt x="2076" y="900"/>
                  </a:lnTo>
                  <a:lnTo>
                    <a:pt x="2076" y="906"/>
                  </a:lnTo>
                  <a:lnTo>
                    <a:pt x="2088" y="906"/>
                  </a:lnTo>
                  <a:lnTo>
                    <a:pt x="2106" y="900"/>
                  </a:lnTo>
                  <a:lnTo>
                    <a:pt x="2118" y="900"/>
                  </a:lnTo>
                  <a:lnTo>
                    <a:pt x="2130" y="900"/>
                  </a:lnTo>
                  <a:lnTo>
                    <a:pt x="2142" y="900"/>
                  </a:lnTo>
                  <a:lnTo>
                    <a:pt x="2148" y="906"/>
                  </a:lnTo>
                  <a:lnTo>
                    <a:pt x="2154" y="906"/>
                  </a:lnTo>
                  <a:lnTo>
                    <a:pt x="2160" y="906"/>
                  </a:lnTo>
                  <a:lnTo>
                    <a:pt x="2166" y="906"/>
                  </a:lnTo>
                  <a:lnTo>
                    <a:pt x="2178" y="918"/>
                  </a:lnTo>
                  <a:lnTo>
                    <a:pt x="2178" y="924"/>
                  </a:lnTo>
                  <a:lnTo>
                    <a:pt x="2184" y="924"/>
                  </a:lnTo>
                  <a:lnTo>
                    <a:pt x="2190" y="924"/>
                  </a:lnTo>
                  <a:lnTo>
                    <a:pt x="2196" y="924"/>
                  </a:lnTo>
                  <a:lnTo>
                    <a:pt x="2202" y="918"/>
                  </a:lnTo>
                  <a:lnTo>
                    <a:pt x="2208" y="918"/>
                  </a:lnTo>
                  <a:lnTo>
                    <a:pt x="2214" y="918"/>
                  </a:lnTo>
                  <a:lnTo>
                    <a:pt x="2226" y="918"/>
                  </a:lnTo>
                  <a:lnTo>
                    <a:pt x="2220" y="948"/>
                  </a:lnTo>
                  <a:lnTo>
                    <a:pt x="2214" y="972"/>
                  </a:lnTo>
                  <a:lnTo>
                    <a:pt x="2214" y="984"/>
                  </a:lnTo>
                  <a:lnTo>
                    <a:pt x="2208" y="990"/>
                  </a:lnTo>
                  <a:lnTo>
                    <a:pt x="2208" y="996"/>
                  </a:lnTo>
                  <a:lnTo>
                    <a:pt x="2202" y="996"/>
                  </a:lnTo>
                  <a:lnTo>
                    <a:pt x="2196" y="996"/>
                  </a:lnTo>
                  <a:lnTo>
                    <a:pt x="2190" y="1008"/>
                  </a:lnTo>
                  <a:lnTo>
                    <a:pt x="2172" y="1074"/>
                  </a:lnTo>
                  <a:lnTo>
                    <a:pt x="2166" y="1092"/>
                  </a:lnTo>
                  <a:lnTo>
                    <a:pt x="2172" y="1110"/>
                  </a:lnTo>
                  <a:lnTo>
                    <a:pt x="2172" y="1122"/>
                  </a:lnTo>
                  <a:lnTo>
                    <a:pt x="2166" y="1134"/>
                  </a:lnTo>
                  <a:lnTo>
                    <a:pt x="2148" y="1140"/>
                  </a:lnTo>
                  <a:lnTo>
                    <a:pt x="2148" y="1134"/>
                  </a:lnTo>
                  <a:lnTo>
                    <a:pt x="2118" y="1140"/>
                  </a:lnTo>
                  <a:lnTo>
                    <a:pt x="2088" y="1134"/>
                  </a:lnTo>
                  <a:lnTo>
                    <a:pt x="2064" y="1122"/>
                  </a:lnTo>
                  <a:lnTo>
                    <a:pt x="2034" y="1122"/>
                  </a:lnTo>
                  <a:lnTo>
                    <a:pt x="2022" y="1128"/>
                  </a:lnTo>
                  <a:lnTo>
                    <a:pt x="1986" y="1128"/>
                  </a:lnTo>
                  <a:lnTo>
                    <a:pt x="1938" y="1122"/>
                  </a:lnTo>
                  <a:lnTo>
                    <a:pt x="1932" y="1116"/>
                  </a:lnTo>
                  <a:lnTo>
                    <a:pt x="1896" y="1110"/>
                  </a:lnTo>
                  <a:lnTo>
                    <a:pt x="1878" y="1104"/>
                  </a:lnTo>
                  <a:lnTo>
                    <a:pt x="1866" y="1098"/>
                  </a:lnTo>
                  <a:lnTo>
                    <a:pt x="1860" y="1098"/>
                  </a:lnTo>
                  <a:lnTo>
                    <a:pt x="1854" y="1092"/>
                  </a:lnTo>
                  <a:lnTo>
                    <a:pt x="1860" y="1092"/>
                  </a:lnTo>
                  <a:lnTo>
                    <a:pt x="1860" y="1086"/>
                  </a:lnTo>
                  <a:lnTo>
                    <a:pt x="1854" y="1086"/>
                  </a:lnTo>
                  <a:lnTo>
                    <a:pt x="1842" y="1080"/>
                  </a:lnTo>
                  <a:lnTo>
                    <a:pt x="1818" y="1062"/>
                  </a:lnTo>
                  <a:lnTo>
                    <a:pt x="1782" y="1056"/>
                  </a:lnTo>
                  <a:lnTo>
                    <a:pt x="1770" y="1068"/>
                  </a:lnTo>
                  <a:lnTo>
                    <a:pt x="1746" y="1098"/>
                  </a:lnTo>
                  <a:lnTo>
                    <a:pt x="1722" y="1104"/>
                  </a:lnTo>
                  <a:lnTo>
                    <a:pt x="1710" y="1122"/>
                  </a:lnTo>
                  <a:lnTo>
                    <a:pt x="1710" y="1128"/>
                  </a:lnTo>
                  <a:lnTo>
                    <a:pt x="1710" y="1140"/>
                  </a:lnTo>
                  <a:lnTo>
                    <a:pt x="1698" y="1146"/>
                  </a:lnTo>
                  <a:lnTo>
                    <a:pt x="1686" y="1152"/>
                  </a:lnTo>
                  <a:lnTo>
                    <a:pt x="1680" y="1164"/>
                  </a:lnTo>
                  <a:lnTo>
                    <a:pt x="1680" y="1170"/>
                  </a:lnTo>
                  <a:lnTo>
                    <a:pt x="1686" y="1170"/>
                  </a:lnTo>
                  <a:lnTo>
                    <a:pt x="1686" y="1176"/>
                  </a:lnTo>
                  <a:lnTo>
                    <a:pt x="1698" y="1188"/>
                  </a:lnTo>
                  <a:lnTo>
                    <a:pt x="1704" y="1188"/>
                  </a:lnTo>
                  <a:lnTo>
                    <a:pt x="1698" y="1194"/>
                  </a:lnTo>
                  <a:lnTo>
                    <a:pt x="1704" y="1194"/>
                  </a:lnTo>
                  <a:lnTo>
                    <a:pt x="1704" y="1200"/>
                  </a:lnTo>
                  <a:lnTo>
                    <a:pt x="1704" y="1206"/>
                  </a:lnTo>
                  <a:lnTo>
                    <a:pt x="1704" y="1212"/>
                  </a:lnTo>
                  <a:lnTo>
                    <a:pt x="1704" y="1218"/>
                  </a:lnTo>
                  <a:lnTo>
                    <a:pt x="1710" y="1218"/>
                  </a:lnTo>
                  <a:lnTo>
                    <a:pt x="1710" y="1212"/>
                  </a:lnTo>
                  <a:lnTo>
                    <a:pt x="1716" y="1212"/>
                  </a:lnTo>
                  <a:lnTo>
                    <a:pt x="1716" y="1218"/>
                  </a:lnTo>
                  <a:lnTo>
                    <a:pt x="1716" y="1224"/>
                  </a:lnTo>
                  <a:lnTo>
                    <a:pt x="1716" y="1230"/>
                  </a:lnTo>
                  <a:lnTo>
                    <a:pt x="1722" y="1236"/>
                  </a:lnTo>
                  <a:lnTo>
                    <a:pt x="1740" y="1230"/>
                  </a:lnTo>
                  <a:lnTo>
                    <a:pt x="1734" y="1236"/>
                  </a:lnTo>
                  <a:lnTo>
                    <a:pt x="1734" y="1242"/>
                  </a:lnTo>
                  <a:lnTo>
                    <a:pt x="1734" y="1248"/>
                  </a:lnTo>
                  <a:lnTo>
                    <a:pt x="1734" y="1254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52" y="1266"/>
                  </a:lnTo>
                  <a:lnTo>
                    <a:pt x="1764" y="1266"/>
                  </a:lnTo>
                  <a:lnTo>
                    <a:pt x="1788" y="1260"/>
                  </a:lnTo>
                  <a:lnTo>
                    <a:pt x="1800" y="1260"/>
                  </a:lnTo>
                  <a:lnTo>
                    <a:pt x="1806" y="1272"/>
                  </a:lnTo>
                  <a:lnTo>
                    <a:pt x="1806" y="1296"/>
                  </a:lnTo>
                  <a:lnTo>
                    <a:pt x="1800" y="1308"/>
                  </a:lnTo>
                  <a:lnTo>
                    <a:pt x="1788" y="1308"/>
                  </a:lnTo>
                  <a:lnTo>
                    <a:pt x="1782" y="13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7" name="Freeform 32">
              <a:extLst>
                <a:ext uri="{FF2B5EF4-FFF2-40B4-BE49-F238E27FC236}">
                  <a16:creationId xmlns:a16="http://schemas.microsoft.com/office/drawing/2014/main" id="{1EF84438-BF7A-47D2-9156-E231EA2A279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3295" y="2316568"/>
              <a:ext cx="1290281" cy="1084704"/>
            </a:xfrm>
            <a:custGeom>
              <a:avLst/>
              <a:gdLst>
                <a:gd name="T0" fmla="*/ 177 w 2430"/>
                <a:gd name="T1" fmla="*/ 169 h 2040"/>
                <a:gd name="T2" fmla="*/ 174 w 2430"/>
                <a:gd name="T3" fmla="*/ 173 h 2040"/>
                <a:gd name="T4" fmla="*/ 169 w 2430"/>
                <a:gd name="T5" fmla="*/ 171 h 2040"/>
                <a:gd name="T6" fmla="*/ 160 w 2430"/>
                <a:gd name="T7" fmla="*/ 163 h 2040"/>
                <a:gd name="T8" fmla="*/ 154 w 2430"/>
                <a:gd name="T9" fmla="*/ 149 h 2040"/>
                <a:gd name="T10" fmla="*/ 144 w 2430"/>
                <a:gd name="T11" fmla="*/ 147 h 2040"/>
                <a:gd name="T12" fmla="*/ 133 w 2430"/>
                <a:gd name="T13" fmla="*/ 146 h 2040"/>
                <a:gd name="T14" fmla="*/ 121 w 2430"/>
                <a:gd name="T15" fmla="*/ 145 h 2040"/>
                <a:gd name="T16" fmla="*/ 110 w 2430"/>
                <a:gd name="T17" fmla="*/ 137 h 2040"/>
                <a:gd name="T18" fmla="*/ 97 w 2430"/>
                <a:gd name="T19" fmla="*/ 131 h 2040"/>
                <a:gd name="T20" fmla="*/ 87 w 2430"/>
                <a:gd name="T21" fmla="*/ 125 h 2040"/>
                <a:gd name="T22" fmla="*/ 75 w 2430"/>
                <a:gd name="T23" fmla="*/ 122 h 2040"/>
                <a:gd name="T24" fmla="*/ 65 w 2430"/>
                <a:gd name="T25" fmla="*/ 122 h 2040"/>
                <a:gd name="T26" fmla="*/ 59 w 2430"/>
                <a:gd name="T27" fmla="*/ 115 h 2040"/>
                <a:gd name="T28" fmla="*/ 50 w 2430"/>
                <a:gd name="T29" fmla="*/ 107 h 2040"/>
                <a:gd name="T30" fmla="*/ 28 w 2430"/>
                <a:gd name="T31" fmla="*/ 84 h 2040"/>
                <a:gd name="T32" fmla="*/ 22 w 2430"/>
                <a:gd name="T33" fmla="*/ 82 h 2040"/>
                <a:gd name="T34" fmla="*/ 20 w 2430"/>
                <a:gd name="T35" fmla="*/ 79 h 2040"/>
                <a:gd name="T36" fmla="*/ 16 w 2430"/>
                <a:gd name="T37" fmla="*/ 76 h 2040"/>
                <a:gd name="T38" fmla="*/ 11 w 2430"/>
                <a:gd name="T39" fmla="*/ 74 h 2040"/>
                <a:gd name="T40" fmla="*/ 7 w 2430"/>
                <a:gd name="T41" fmla="*/ 69 h 2040"/>
                <a:gd name="T42" fmla="*/ 0 w 2430"/>
                <a:gd name="T43" fmla="*/ 60 h 2040"/>
                <a:gd name="T44" fmla="*/ 10 w 2430"/>
                <a:gd name="T45" fmla="*/ 53 h 2040"/>
                <a:gd name="T46" fmla="*/ 15 w 2430"/>
                <a:gd name="T47" fmla="*/ 40 h 2040"/>
                <a:gd name="T48" fmla="*/ 9 w 2430"/>
                <a:gd name="T49" fmla="*/ 29 h 2040"/>
                <a:gd name="T50" fmla="*/ 7 w 2430"/>
                <a:gd name="T51" fmla="*/ 16 h 2040"/>
                <a:gd name="T52" fmla="*/ 18 w 2430"/>
                <a:gd name="T53" fmla="*/ 21 h 2040"/>
                <a:gd name="T54" fmla="*/ 48 w 2430"/>
                <a:gd name="T55" fmla="*/ 27 h 2040"/>
                <a:gd name="T56" fmla="*/ 62 w 2430"/>
                <a:gd name="T57" fmla="*/ 25 h 2040"/>
                <a:gd name="T58" fmla="*/ 59 w 2430"/>
                <a:gd name="T59" fmla="*/ 42 h 2040"/>
                <a:gd name="T60" fmla="*/ 54 w 2430"/>
                <a:gd name="T61" fmla="*/ 65 h 2040"/>
                <a:gd name="T62" fmla="*/ 65 w 2430"/>
                <a:gd name="T63" fmla="*/ 60 h 2040"/>
                <a:gd name="T64" fmla="*/ 68 w 2430"/>
                <a:gd name="T65" fmla="*/ 40 h 2040"/>
                <a:gd name="T66" fmla="*/ 75 w 2430"/>
                <a:gd name="T67" fmla="*/ 36 h 2040"/>
                <a:gd name="T68" fmla="*/ 83 w 2430"/>
                <a:gd name="T69" fmla="*/ 29 h 2040"/>
                <a:gd name="T70" fmla="*/ 81 w 2430"/>
                <a:gd name="T71" fmla="*/ 17 h 2040"/>
                <a:gd name="T72" fmla="*/ 66 w 2430"/>
                <a:gd name="T73" fmla="*/ 7 h 2040"/>
                <a:gd name="T74" fmla="*/ 80 w 2430"/>
                <a:gd name="T75" fmla="*/ 5 h 2040"/>
                <a:gd name="T76" fmla="*/ 89 w 2430"/>
                <a:gd name="T77" fmla="*/ 1 h 2040"/>
                <a:gd name="T78" fmla="*/ 101 w 2430"/>
                <a:gd name="T79" fmla="*/ 10 h 2040"/>
                <a:gd name="T80" fmla="*/ 103 w 2430"/>
                <a:gd name="T81" fmla="*/ 18 h 2040"/>
                <a:gd name="T82" fmla="*/ 110 w 2430"/>
                <a:gd name="T83" fmla="*/ 23 h 2040"/>
                <a:gd name="T84" fmla="*/ 121 w 2430"/>
                <a:gd name="T85" fmla="*/ 20 h 2040"/>
                <a:gd name="T86" fmla="*/ 129 w 2430"/>
                <a:gd name="T87" fmla="*/ 15 h 2040"/>
                <a:gd name="T88" fmla="*/ 142 w 2430"/>
                <a:gd name="T89" fmla="*/ 23 h 2040"/>
                <a:gd name="T90" fmla="*/ 141 w 2430"/>
                <a:gd name="T91" fmla="*/ 30 h 2040"/>
                <a:gd name="T92" fmla="*/ 140 w 2430"/>
                <a:gd name="T93" fmla="*/ 38 h 2040"/>
                <a:gd name="T94" fmla="*/ 139 w 2430"/>
                <a:gd name="T95" fmla="*/ 46 h 2040"/>
                <a:gd name="T96" fmla="*/ 147 w 2430"/>
                <a:gd name="T97" fmla="*/ 54 h 2040"/>
                <a:gd name="T98" fmla="*/ 152 w 2430"/>
                <a:gd name="T99" fmla="*/ 50 h 2040"/>
                <a:gd name="T100" fmla="*/ 159 w 2430"/>
                <a:gd name="T101" fmla="*/ 43 h 2040"/>
                <a:gd name="T102" fmla="*/ 174 w 2430"/>
                <a:gd name="T103" fmla="*/ 41 h 2040"/>
                <a:gd name="T104" fmla="*/ 190 w 2430"/>
                <a:gd name="T105" fmla="*/ 57 h 2040"/>
                <a:gd name="T106" fmla="*/ 187 w 2430"/>
                <a:gd name="T107" fmla="*/ 66 h 2040"/>
                <a:gd name="T108" fmla="*/ 183 w 2430"/>
                <a:gd name="T109" fmla="*/ 72 h 2040"/>
                <a:gd name="T110" fmla="*/ 194 w 2430"/>
                <a:gd name="T111" fmla="*/ 73 h 2040"/>
                <a:gd name="T112" fmla="*/ 202 w 2430"/>
                <a:gd name="T113" fmla="*/ 74 h 2040"/>
                <a:gd name="T114" fmla="*/ 204 w 2430"/>
                <a:gd name="T115" fmla="*/ 89 h 2040"/>
                <a:gd name="T116" fmla="*/ 208 w 2430"/>
                <a:gd name="T117" fmla="*/ 99 h 2040"/>
                <a:gd name="T118" fmla="*/ 203 w 2430"/>
                <a:gd name="T119" fmla="*/ 103 h 2040"/>
                <a:gd name="T120" fmla="*/ 209 w 2430"/>
                <a:gd name="T121" fmla="*/ 111 h 2040"/>
                <a:gd name="T122" fmla="*/ 204 w 2430"/>
                <a:gd name="T123" fmla="*/ 124 h 2040"/>
                <a:gd name="T124" fmla="*/ 190 w 2430"/>
                <a:gd name="T125" fmla="*/ 117 h 20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30"/>
                <a:gd name="T190" fmla="*/ 0 h 2040"/>
                <a:gd name="T191" fmla="*/ 2430 w 2430"/>
                <a:gd name="T192" fmla="*/ 2040 h 20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30" h="2040">
                  <a:moveTo>
                    <a:pt x="2076" y="1896"/>
                  </a:moveTo>
                  <a:lnTo>
                    <a:pt x="2070" y="1896"/>
                  </a:lnTo>
                  <a:lnTo>
                    <a:pt x="2070" y="1902"/>
                  </a:lnTo>
                  <a:lnTo>
                    <a:pt x="2076" y="1902"/>
                  </a:lnTo>
                  <a:lnTo>
                    <a:pt x="2082" y="1902"/>
                  </a:lnTo>
                  <a:lnTo>
                    <a:pt x="2082" y="1908"/>
                  </a:lnTo>
                  <a:lnTo>
                    <a:pt x="2076" y="1908"/>
                  </a:lnTo>
                  <a:lnTo>
                    <a:pt x="2076" y="1914"/>
                  </a:lnTo>
                  <a:lnTo>
                    <a:pt x="2070" y="1920"/>
                  </a:lnTo>
                  <a:lnTo>
                    <a:pt x="2064" y="1932"/>
                  </a:lnTo>
                  <a:lnTo>
                    <a:pt x="2064" y="1938"/>
                  </a:lnTo>
                  <a:lnTo>
                    <a:pt x="2058" y="1938"/>
                  </a:lnTo>
                  <a:lnTo>
                    <a:pt x="2052" y="1944"/>
                  </a:lnTo>
                  <a:lnTo>
                    <a:pt x="2052" y="1950"/>
                  </a:lnTo>
                  <a:lnTo>
                    <a:pt x="2040" y="1944"/>
                  </a:lnTo>
                  <a:lnTo>
                    <a:pt x="2040" y="1950"/>
                  </a:lnTo>
                  <a:lnTo>
                    <a:pt x="2034" y="1956"/>
                  </a:lnTo>
                  <a:lnTo>
                    <a:pt x="2034" y="1962"/>
                  </a:lnTo>
                  <a:lnTo>
                    <a:pt x="2028" y="1962"/>
                  </a:lnTo>
                  <a:lnTo>
                    <a:pt x="2022" y="1962"/>
                  </a:lnTo>
                  <a:lnTo>
                    <a:pt x="2022" y="1968"/>
                  </a:lnTo>
                  <a:lnTo>
                    <a:pt x="2028" y="1974"/>
                  </a:lnTo>
                  <a:lnTo>
                    <a:pt x="2034" y="1980"/>
                  </a:lnTo>
                  <a:lnTo>
                    <a:pt x="2028" y="1986"/>
                  </a:lnTo>
                  <a:lnTo>
                    <a:pt x="2022" y="1992"/>
                  </a:lnTo>
                  <a:lnTo>
                    <a:pt x="2022" y="1986"/>
                  </a:lnTo>
                  <a:lnTo>
                    <a:pt x="2016" y="1986"/>
                  </a:lnTo>
                  <a:lnTo>
                    <a:pt x="2010" y="1980"/>
                  </a:lnTo>
                  <a:lnTo>
                    <a:pt x="2004" y="1980"/>
                  </a:lnTo>
                  <a:lnTo>
                    <a:pt x="2004" y="1986"/>
                  </a:lnTo>
                  <a:lnTo>
                    <a:pt x="2010" y="1992"/>
                  </a:lnTo>
                  <a:lnTo>
                    <a:pt x="2010" y="1998"/>
                  </a:lnTo>
                  <a:lnTo>
                    <a:pt x="2004" y="2004"/>
                  </a:lnTo>
                  <a:lnTo>
                    <a:pt x="1998" y="2004"/>
                  </a:lnTo>
                  <a:lnTo>
                    <a:pt x="1998" y="2022"/>
                  </a:lnTo>
                  <a:lnTo>
                    <a:pt x="1998" y="2028"/>
                  </a:lnTo>
                  <a:lnTo>
                    <a:pt x="1992" y="2034"/>
                  </a:lnTo>
                  <a:lnTo>
                    <a:pt x="1992" y="2040"/>
                  </a:lnTo>
                  <a:lnTo>
                    <a:pt x="1986" y="2040"/>
                  </a:lnTo>
                  <a:lnTo>
                    <a:pt x="1986" y="2034"/>
                  </a:lnTo>
                  <a:lnTo>
                    <a:pt x="1980" y="2028"/>
                  </a:lnTo>
                  <a:lnTo>
                    <a:pt x="1980" y="2022"/>
                  </a:lnTo>
                  <a:lnTo>
                    <a:pt x="1968" y="2016"/>
                  </a:lnTo>
                  <a:lnTo>
                    <a:pt x="1962" y="2010"/>
                  </a:lnTo>
                  <a:lnTo>
                    <a:pt x="1956" y="2004"/>
                  </a:lnTo>
                  <a:lnTo>
                    <a:pt x="1950" y="1992"/>
                  </a:lnTo>
                  <a:lnTo>
                    <a:pt x="1950" y="1986"/>
                  </a:lnTo>
                  <a:lnTo>
                    <a:pt x="1950" y="1974"/>
                  </a:lnTo>
                  <a:lnTo>
                    <a:pt x="1944" y="1974"/>
                  </a:lnTo>
                  <a:lnTo>
                    <a:pt x="1932" y="1962"/>
                  </a:lnTo>
                  <a:lnTo>
                    <a:pt x="1932" y="1956"/>
                  </a:lnTo>
                  <a:lnTo>
                    <a:pt x="1932" y="1950"/>
                  </a:lnTo>
                  <a:lnTo>
                    <a:pt x="1920" y="1944"/>
                  </a:lnTo>
                  <a:lnTo>
                    <a:pt x="1914" y="1944"/>
                  </a:lnTo>
                  <a:lnTo>
                    <a:pt x="1908" y="1938"/>
                  </a:lnTo>
                  <a:lnTo>
                    <a:pt x="1902" y="1926"/>
                  </a:lnTo>
                  <a:lnTo>
                    <a:pt x="1890" y="1914"/>
                  </a:lnTo>
                  <a:lnTo>
                    <a:pt x="1884" y="1914"/>
                  </a:lnTo>
                  <a:lnTo>
                    <a:pt x="1878" y="1908"/>
                  </a:lnTo>
                  <a:lnTo>
                    <a:pt x="1872" y="1902"/>
                  </a:lnTo>
                  <a:lnTo>
                    <a:pt x="1872" y="1896"/>
                  </a:lnTo>
                  <a:lnTo>
                    <a:pt x="1866" y="1890"/>
                  </a:lnTo>
                  <a:lnTo>
                    <a:pt x="1854" y="1884"/>
                  </a:lnTo>
                  <a:lnTo>
                    <a:pt x="1848" y="1884"/>
                  </a:lnTo>
                  <a:lnTo>
                    <a:pt x="1842" y="1872"/>
                  </a:lnTo>
                  <a:lnTo>
                    <a:pt x="1836" y="1872"/>
                  </a:lnTo>
                  <a:lnTo>
                    <a:pt x="1830" y="1866"/>
                  </a:lnTo>
                  <a:lnTo>
                    <a:pt x="1830" y="1854"/>
                  </a:lnTo>
                  <a:lnTo>
                    <a:pt x="1824" y="1848"/>
                  </a:lnTo>
                  <a:lnTo>
                    <a:pt x="1818" y="1830"/>
                  </a:lnTo>
                  <a:lnTo>
                    <a:pt x="1818" y="1818"/>
                  </a:lnTo>
                  <a:lnTo>
                    <a:pt x="1812" y="1800"/>
                  </a:lnTo>
                  <a:lnTo>
                    <a:pt x="1812" y="1788"/>
                  </a:lnTo>
                  <a:lnTo>
                    <a:pt x="1806" y="1776"/>
                  </a:lnTo>
                  <a:lnTo>
                    <a:pt x="1800" y="1764"/>
                  </a:lnTo>
                  <a:lnTo>
                    <a:pt x="1794" y="1758"/>
                  </a:lnTo>
                  <a:lnTo>
                    <a:pt x="1782" y="1740"/>
                  </a:lnTo>
                  <a:lnTo>
                    <a:pt x="1776" y="1728"/>
                  </a:lnTo>
                  <a:lnTo>
                    <a:pt x="1776" y="1722"/>
                  </a:lnTo>
                  <a:lnTo>
                    <a:pt x="1770" y="1722"/>
                  </a:lnTo>
                  <a:lnTo>
                    <a:pt x="1770" y="1716"/>
                  </a:lnTo>
                  <a:lnTo>
                    <a:pt x="1764" y="1716"/>
                  </a:lnTo>
                  <a:lnTo>
                    <a:pt x="1758" y="1710"/>
                  </a:lnTo>
                  <a:lnTo>
                    <a:pt x="1752" y="1704"/>
                  </a:lnTo>
                  <a:lnTo>
                    <a:pt x="1746" y="1704"/>
                  </a:lnTo>
                  <a:lnTo>
                    <a:pt x="1740" y="1704"/>
                  </a:lnTo>
                  <a:lnTo>
                    <a:pt x="1734" y="1704"/>
                  </a:lnTo>
                  <a:lnTo>
                    <a:pt x="1734" y="1698"/>
                  </a:lnTo>
                  <a:lnTo>
                    <a:pt x="1728" y="1692"/>
                  </a:lnTo>
                  <a:lnTo>
                    <a:pt x="1722" y="1686"/>
                  </a:lnTo>
                  <a:lnTo>
                    <a:pt x="1716" y="1686"/>
                  </a:lnTo>
                  <a:lnTo>
                    <a:pt x="1698" y="1686"/>
                  </a:lnTo>
                  <a:lnTo>
                    <a:pt x="1692" y="1692"/>
                  </a:lnTo>
                  <a:lnTo>
                    <a:pt x="1680" y="1692"/>
                  </a:lnTo>
                  <a:lnTo>
                    <a:pt x="1668" y="1692"/>
                  </a:lnTo>
                  <a:lnTo>
                    <a:pt x="1662" y="1692"/>
                  </a:lnTo>
                  <a:lnTo>
                    <a:pt x="1656" y="1692"/>
                  </a:lnTo>
                  <a:lnTo>
                    <a:pt x="1650" y="1698"/>
                  </a:lnTo>
                  <a:lnTo>
                    <a:pt x="1644" y="1698"/>
                  </a:lnTo>
                  <a:lnTo>
                    <a:pt x="1638" y="1698"/>
                  </a:lnTo>
                  <a:lnTo>
                    <a:pt x="1632" y="1698"/>
                  </a:lnTo>
                  <a:lnTo>
                    <a:pt x="1632" y="1692"/>
                  </a:lnTo>
                  <a:lnTo>
                    <a:pt x="1620" y="1680"/>
                  </a:lnTo>
                  <a:lnTo>
                    <a:pt x="1614" y="1680"/>
                  </a:lnTo>
                  <a:lnTo>
                    <a:pt x="1608" y="1680"/>
                  </a:lnTo>
                  <a:lnTo>
                    <a:pt x="1602" y="1680"/>
                  </a:lnTo>
                  <a:lnTo>
                    <a:pt x="1596" y="1674"/>
                  </a:lnTo>
                  <a:lnTo>
                    <a:pt x="1584" y="1674"/>
                  </a:lnTo>
                  <a:lnTo>
                    <a:pt x="1572" y="1674"/>
                  </a:lnTo>
                  <a:lnTo>
                    <a:pt x="1560" y="1674"/>
                  </a:lnTo>
                  <a:lnTo>
                    <a:pt x="1542" y="1680"/>
                  </a:lnTo>
                  <a:lnTo>
                    <a:pt x="1530" y="1680"/>
                  </a:lnTo>
                  <a:lnTo>
                    <a:pt x="1530" y="1674"/>
                  </a:lnTo>
                  <a:lnTo>
                    <a:pt x="1524" y="1674"/>
                  </a:lnTo>
                  <a:lnTo>
                    <a:pt x="1518" y="1674"/>
                  </a:lnTo>
                  <a:lnTo>
                    <a:pt x="1512" y="1674"/>
                  </a:lnTo>
                  <a:lnTo>
                    <a:pt x="1506" y="1674"/>
                  </a:lnTo>
                  <a:lnTo>
                    <a:pt x="1500" y="1680"/>
                  </a:lnTo>
                  <a:lnTo>
                    <a:pt x="1488" y="1680"/>
                  </a:lnTo>
                  <a:lnTo>
                    <a:pt x="1482" y="1674"/>
                  </a:lnTo>
                  <a:lnTo>
                    <a:pt x="1476" y="1674"/>
                  </a:lnTo>
                  <a:lnTo>
                    <a:pt x="1464" y="1674"/>
                  </a:lnTo>
                  <a:lnTo>
                    <a:pt x="1452" y="1680"/>
                  </a:lnTo>
                  <a:lnTo>
                    <a:pt x="1434" y="1680"/>
                  </a:lnTo>
                  <a:lnTo>
                    <a:pt x="1422" y="1680"/>
                  </a:lnTo>
                  <a:lnTo>
                    <a:pt x="1416" y="1680"/>
                  </a:lnTo>
                  <a:lnTo>
                    <a:pt x="1404" y="1674"/>
                  </a:lnTo>
                  <a:lnTo>
                    <a:pt x="1398" y="1674"/>
                  </a:lnTo>
                  <a:lnTo>
                    <a:pt x="1392" y="1662"/>
                  </a:lnTo>
                  <a:lnTo>
                    <a:pt x="1380" y="1644"/>
                  </a:lnTo>
                  <a:lnTo>
                    <a:pt x="1374" y="1632"/>
                  </a:lnTo>
                  <a:lnTo>
                    <a:pt x="1362" y="1626"/>
                  </a:lnTo>
                  <a:lnTo>
                    <a:pt x="1356" y="1620"/>
                  </a:lnTo>
                  <a:lnTo>
                    <a:pt x="1350" y="1626"/>
                  </a:lnTo>
                  <a:lnTo>
                    <a:pt x="1338" y="1626"/>
                  </a:lnTo>
                  <a:lnTo>
                    <a:pt x="1326" y="1626"/>
                  </a:lnTo>
                  <a:lnTo>
                    <a:pt x="1314" y="1620"/>
                  </a:lnTo>
                  <a:lnTo>
                    <a:pt x="1308" y="1614"/>
                  </a:lnTo>
                  <a:lnTo>
                    <a:pt x="1302" y="1608"/>
                  </a:lnTo>
                  <a:lnTo>
                    <a:pt x="1296" y="1602"/>
                  </a:lnTo>
                  <a:lnTo>
                    <a:pt x="1290" y="1602"/>
                  </a:lnTo>
                  <a:lnTo>
                    <a:pt x="1290" y="1596"/>
                  </a:lnTo>
                  <a:lnTo>
                    <a:pt x="1284" y="1590"/>
                  </a:lnTo>
                  <a:lnTo>
                    <a:pt x="1272" y="1584"/>
                  </a:lnTo>
                  <a:lnTo>
                    <a:pt x="1254" y="1572"/>
                  </a:lnTo>
                  <a:lnTo>
                    <a:pt x="1236" y="1554"/>
                  </a:lnTo>
                  <a:lnTo>
                    <a:pt x="1230" y="1554"/>
                  </a:lnTo>
                  <a:lnTo>
                    <a:pt x="1224" y="1554"/>
                  </a:lnTo>
                  <a:lnTo>
                    <a:pt x="1212" y="1554"/>
                  </a:lnTo>
                  <a:lnTo>
                    <a:pt x="1194" y="1542"/>
                  </a:lnTo>
                  <a:lnTo>
                    <a:pt x="1188" y="1536"/>
                  </a:lnTo>
                  <a:lnTo>
                    <a:pt x="1182" y="1530"/>
                  </a:lnTo>
                  <a:lnTo>
                    <a:pt x="1176" y="1530"/>
                  </a:lnTo>
                  <a:lnTo>
                    <a:pt x="1170" y="1530"/>
                  </a:lnTo>
                  <a:lnTo>
                    <a:pt x="1158" y="1524"/>
                  </a:lnTo>
                  <a:lnTo>
                    <a:pt x="1152" y="1524"/>
                  </a:lnTo>
                  <a:lnTo>
                    <a:pt x="1140" y="1518"/>
                  </a:lnTo>
                  <a:lnTo>
                    <a:pt x="1128" y="1518"/>
                  </a:lnTo>
                  <a:lnTo>
                    <a:pt x="1122" y="1518"/>
                  </a:lnTo>
                  <a:lnTo>
                    <a:pt x="1116" y="1518"/>
                  </a:lnTo>
                  <a:lnTo>
                    <a:pt x="1104" y="1518"/>
                  </a:lnTo>
                  <a:lnTo>
                    <a:pt x="1092" y="1518"/>
                  </a:lnTo>
                  <a:lnTo>
                    <a:pt x="1080" y="1518"/>
                  </a:lnTo>
                  <a:lnTo>
                    <a:pt x="1068" y="1518"/>
                  </a:lnTo>
                  <a:lnTo>
                    <a:pt x="1062" y="1518"/>
                  </a:lnTo>
                  <a:lnTo>
                    <a:pt x="1056" y="1518"/>
                  </a:lnTo>
                  <a:lnTo>
                    <a:pt x="1050" y="1512"/>
                  </a:lnTo>
                  <a:lnTo>
                    <a:pt x="1044" y="1512"/>
                  </a:lnTo>
                  <a:lnTo>
                    <a:pt x="1038" y="1512"/>
                  </a:lnTo>
                  <a:lnTo>
                    <a:pt x="1032" y="1506"/>
                  </a:lnTo>
                  <a:lnTo>
                    <a:pt x="1026" y="1500"/>
                  </a:lnTo>
                  <a:lnTo>
                    <a:pt x="1026" y="1494"/>
                  </a:lnTo>
                  <a:lnTo>
                    <a:pt x="1020" y="1476"/>
                  </a:lnTo>
                  <a:lnTo>
                    <a:pt x="1008" y="1464"/>
                  </a:lnTo>
                  <a:lnTo>
                    <a:pt x="1008" y="1458"/>
                  </a:lnTo>
                  <a:lnTo>
                    <a:pt x="1002" y="1446"/>
                  </a:lnTo>
                  <a:lnTo>
                    <a:pt x="996" y="1446"/>
                  </a:lnTo>
                  <a:lnTo>
                    <a:pt x="990" y="1440"/>
                  </a:lnTo>
                  <a:lnTo>
                    <a:pt x="984" y="1434"/>
                  </a:lnTo>
                  <a:lnTo>
                    <a:pt x="978" y="1434"/>
                  </a:lnTo>
                  <a:lnTo>
                    <a:pt x="972" y="1434"/>
                  </a:lnTo>
                  <a:lnTo>
                    <a:pt x="966" y="1428"/>
                  </a:lnTo>
                  <a:lnTo>
                    <a:pt x="954" y="1422"/>
                  </a:lnTo>
                  <a:lnTo>
                    <a:pt x="942" y="1416"/>
                  </a:lnTo>
                  <a:lnTo>
                    <a:pt x="924" y="1398"/>
                  </a:lnTo>
                  <a:lnTo>
                    <a:pt x="912" y="1386"/>
                  </a:lnTo>
                  <a:lnTo>
                    <a:pt x="900" y="1386"/>
                  </a:lnTo>
                  <a:lnTo>
                    <a:pt x="894" y="1386"/>
                  </a:lnTo>
                  <a:lnTo>
                    <a:pt x="882" y="1392"/>
                  </a:lnTo>
                  <a:lnTo>
                    <a:pt x="876" y="1392"/>
                  </a:lnTo>
                  <a:lnTo>
                    <a:pt x="864" y="1398"/>
                  </a:lnTo>
                  <a:lnTo>
                    <a:pt x="864" y="1404"/>
                  </a:lnTo>
                  <a:lnTo>
                    <a:pt x="858" y="1410"/>
                  </a:lnTo>
                  <a:lnTo>
                    <a:pt x="852" y="1410"/>
                  </a:lnTo>
                  <a:lnTo>
                    <a:pt x="846" y="1410"/>
                  </a:lnTo>
                  <a:lnTo>
                    <a:pt x="834" y="1410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10" y="1428"/>
                  </a:lnTo>
                  <a:lnTo>
                    <a:pt x="798" y="1428"/>
                  </a:lnTo>
                  <a:lnTo>
                    <a:pt x="792" y="1428"/>
                  </a:lnTo>
                  <a:lnTo>
                    <a:pt x="780" y="1434"/>
                  </a:lnTo>
                  <a:lnTo>
                    <a:pt x="774" y="1428"/>
                  </a:lnTo>
                  <a:lnTo>
                    <a:pt x="762" y="1428"/>
                  </a:lnTo>
                  <a:lnTo>
                    <a:pt x="756" y="1422"/>
                  </a:lnTo>
                  <a:lnTo>
                    <a:pt x="750" y="1416"/>
                  </a:lnTo>
                  <a:lnTo>
                    <a:pt x="744" y="1410"/>
                  </a:lnTo>
                  <a:lnTo>
                    <a:pt x="744" y="1398"/>
                  </a:lnTo>
                  <a:lnTo>
                    <a:pt x="744" y="1386"/>
                  </a:lnTo>
                  <a:lnTo>
                    <a:pt x="750" y="1380"/>
                  </a:lnTo>
                  <a:lnTo>
                    <a:pt x="750" y="1374"/>
                  </a:lnTo>
                  <a:lnTo>
                    <a:pt x="750" y="1368"/>
                  </a:lnTo>
                  <a:lnTo>
                    <a:pt x="756" y="1362"/>
                  </a:lnTo>
                  <a:lnTo>
                    <a:pt x="750" y="1350"/>
                  </a:lnTo>
                  <a:lnTo>
                    <a:pt x="744" y="1344"/>
                  </a:lnTo>
                  <a:lnTo>
                    <a:pt x="738" y="1338"/>
                  </a:lnTo>
                  <a:lnTo>
                    <a:pt x="726" y="1338"/>
                  </a:lnTo>
                  <a:lnTo>
                    <a:pt x="720" y="1338"/>
                  </a:lnTo>
                  <a:lnTo>
                    <a:pt x="714" y="1338"/>
                  </a:lnTo>
                  <a:lnTo>
                    <a:pt x="708" y="1332"/>
                  </a:lnTo>
                  <a:lnTo>
                    <a:pt x="702" y="1332"/>
                  </a:lnTo>
                  <a:lnTo>
                    <a:pt x="696" y="1326"/>
                  </a:lnTo>
                  <a:lnTo>
                    <a:pt x="684" y="1326"/>
                  </a:lnTo>
                  <a:lnTo>
                    <a:pt x="678" y="1326"/>
                  </a:lnTo>
                  <a:lnTo>
                    <a:pt x="672" y="1314"/>
                  </a:lnTo>
                  <a:lnTo>
                    <a:pt x="666" y="1308"/>
                  </a:lnTo>
                  <a:lnTo>
                    <a:pt x="654" y="1296"/>
                  </a:lnTo>
                  <a:lnTo>
                    <a:pt x="654" y="1290"/>
                  </a:lnTo>
                  <a:lnTo>
                    <a:pt x="630" y="1284"/>
                  </a:lnTo>
                  <a:lnTo>
                    <a:pt x="630" y="1278"/>
                  </a:lnTo>
                  <a:lnTo>
                    <a:pt x="624" y="1278"/>
                  </a:lnTo>
                  <a:lnTo>
                    <a:pt x="618" y="1266"/>
                  </a:lnTo>
                  <a:lnTo>
                    <a:pt x="612" y="1266"/>
                  </a:lnTo>
                  <a:lnTo>
                    <a:pt x="606" y="1266"/>
                  </a:lnTo>
                  <a:lnTo>
                    <a:pt x="606" y="1260"/>
                  </a:lnTo>
                  <a:lnTo>
                    <a:pt x="594" y="1248"/>
                  </a:lnTo>
                  <a:lnTo>
                    <a:pt x="582" y="1248"/>
                  </a:lnTo>
                  <a:lnTo>
                    <a:pt x="576" y="1242"/>
                  </a:lnTo>
                  <a:lnTo>
                    <a:pt x="570" y="1236"/>
                  </a:lnTo>
                  <a:lnTo>
                    <a:pt x="504" y="1164"/>
                  </a:lnTo>
                  <a:lnTo>
                    <a:pt x="450" y="1110"/>
                  </a:lnTo>
                  <a:lnTo>
                    <a:pt x="426" y="1092"/>
                  </a:lnTo>
                  <a:lnTo>
                    <a:pt x="426" y="1074"/>
                  </a:lnTo>
                  <a:lnTo>
                    <a:pt x="420" y="1062"/>
                  </a:lnTo>
                  <a:lnTo>
                    <a:pt x="396" y="1056"/>
                  </a:lnTo>
                  <a:lnTo>
                    <a:pt x="384" y="1032"/>
                  </a:lnTo>
                  <a:lnTo>
                    <a:pt x="372" y="1020"/>
                  </a:lnTo>
                  <a:lnTo>
                    <a:pt x="360" y="984"/>
                  </a:lnTo>
                  <a:lnTo>
                    <a:pt x="348" y="978"/>
                  </a:lnTo>
                  <a:lnTo>
                    <a:pt x="342" y="972"/>
                  </a:lnTo>
                  <a:lnTo>
                    <a:pt x="348" y="960"/>
                  </a:lnTo>
                  <a:lnTo>
                    <a:pt x="342" y="954"/>
                  </a:lnTo>
                  <a:lnTo>
                    <a:pt x="336" y="954"/>
                  </a:lnTo>
                  <a:lnTo>
                    <a:pt x="330" y="954"/>
                  </a:lnTo>
                  <a:lnTo>
                    <a:pt x="324" y="972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0" y="966"/>
                  </a:lnTo>
                  <a:lnTo>
                    <a:pt x="294" y="966"/>
                  </a:lnTo>
                  <a:lnTo>
                    <a:pt x="288" y="972"/>
                  </a:lnTo>
                  <a:lnTo>
                    <a:pt x="288" y="966"/>
                  </a:lnTo>
                  <a:lnTo>
                    <a:pt x="282" y="948"/>
                  </a:lnTo>
                  <a:lnTo>
                    <a:pt x="282" y="942"/>
                  </a:lnTo>
                  <a:lnTo>
                    <a:pt x="276" y="942"/>
                  </a:lnTo>
                  <a:lnTo>
                    <a:pt x="276" y="936"/>
                  </a:lnTo>
                  <a:lnTo>
                    <a:pt x="270" y="942"/>
                  </a:lnTo>
                  <a:lnTo>
                    <a:pt x="264" y="948"/>
                  </a:lnTo>
                  <a:lnTo>
                    <a:pt x="264" y="942"/>
                  </a:lnTo>
                  <a:lnTo>
                    <a:pt x="258" y="942"/>
                  </a:lnTo>
                  <a:lnTo>
                    <a:pt x="252" y="948"/>
                  </a:lnTo>
                  <a:lnTo>
                    <a:pt x="252" y="942"/>
                  </a:lnTo>
                  <a:lnTo>
                    <a:pt x="246" y="936"/>
                  </a:lnTo>
                  <a:lnTo>
                    <a:pt x="240" y="942"/>
                  </a:lnTo>
                  <a:lnTo>
                    <a:pt x="234" y="936"/>
                  </a:lnTo>
                  <a:lnTo>
                    <a:pt x="228" y="936"/>
                  </a:lnTo>
                  <a:lnTo>
                    <a:pt x="222" y="936"/>
                  </a:lnTo>
                  <a:lnTo>
                    <a:pt x="222" y="930"/>
                  </a:lnTo>
                  <a:lnTo>
                    <a:pt x="222" y="924"/>
                  </a:lnTo>
                  <a:lnTo>
                    <a:pt x="228" y="924"/>
                  </a:lnTo>
                  <a:lnTo>
                    <a:pt x="234" y="924"/>
                  </a:lnTo>
                  <a:lnTo>
                    <a:pt x="240" y="924"/>
                  </a:lnTo>
                  <a:lnTo>
                    <a:pt x="240" y="918"/>
                  </a:lnTo>
                  <a:lnTo>
                    <a:pt x="246" y="918"/>
                  </a:lnTo>
                  <a:lnTo>
                    <a:pt x="246" y="912"/>
                  </a:lnTo>
                  <a:lnTo>
                    <a:pt x="240" y="906"/>
                  </a:lnTo>
                  <a:lnTo>
                    <a:pt x="234" y="906"/>
                  </a:lnTo>
                  <a:lnTo>
                    <a:pt x="228" y="906"/>
                  </a:lnTo>
                  <a:lnTo>
                    <a:pt x="228" y="912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8" y="894"/>
                  </a:lnTo>
                  <a:lnTo>
                    <a:pt x="234" y="894"/>
                  </a:lnTo>
                  <a:lnTo>
                    <a:pt x="228" y="888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198" y="888"/>
                  </a:lnTo>
                  <a:lnTo>
                    <a:pt x="192" y="882"/>
                  </a:lnTo>
                  <a:lnTo>
                    <a:pt x="186" y="882"/>
                  </a:lnTo>
                  <a:lnTo>
                    <a:pt x="186" y="876"/>
                  </a:lnTo>
                  <a:lnTo>
                    <a:pt x="192" y="876"/>
                  </a:lnTo>
                  <a:lnTo>
                    <a:pt x="192" y="870"/>
                  </a:lnTo>
                  <a:lnTo>
                    <a:pt x="198" y="870"/>
                  </a:lnTo>
                  <a:lnTo>
                    <a:pt x="198" y="864"/>
                  </a:lnTo>
                  <a:lnTo>
                    <a:pt x="198" y="858"/>
                  </a:lnTo>
                  <a:lnTo>
                    <a:pt x="180" y="852"/>
                  </a:lnTo>
                  <a:lnTo>
                    <a:pt x="174" y="840"/>
                  </a:lnTo>
                  <a:lnTo>
                    <a:pt x="162" y="846"/>
                  </a:lnTo>
                  <a:lnTo>
                    <a:pt x="156" y="846"/>
                  </a:lnTo>
                  <a:lnTo>
                    <a:pt x="150" y="846"/>
                  </a:lnTo>
                  <a:lnTo>
                    <a:pt x="150" y="840"/>
                  </a:lnTo>
                  <a:lnTo>
                    <a:pt x="138" y="834"/>
                  </a:lnTo>
                  <a:lnTo>
                    <a:pt x="132" y="834"/>
                  </a:lnTo>
                  <a:lnTo>
                    <a:pt x="132" y="840"/>
                  </a:lnTo>
                  <a:lnTo>
                    <a:pt x="126" y="840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58"/>
                  </a:lnTo>
                  <a:lnTo>
                    <a:pt x="120" y="846"/>
                  </a:lnTo>
                  <a:lnTo>
                    <a:pt x="114" y="846"/>
                  </a:lnTo>
                  <a:lnTo>
                    <a:pt x="108" y="840"/>
                  </a:lnTo>
                  <a:lnTo>
                    <a:pt x="102" y="834"/>
                  </a:lnTo>
                  <a:lnTo>
                    <a:pt x="102" y="822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78" y="804"/>
                  </a:lnTo>
                  <a:lnTo>
                    <a:pt x="78" y="798"/>
                  </a:lnTo>
                  <a:lnTo>
                    <a:pt x="78" y="792"/>
                  </a:lnTo>
                  <a:lnTo>
                    <a:pt x="78" y="786"/>
                  </a:lnTo>
                  <a:lnTo>
                    <a:pt x="78" y="780"/>
                  </a:lnTo>
                  <a:lnTo>
                    <a:pt x="72" y="774"/>
                  </a:lnTo>
                  <a:lnTo>
                    <a:pt x="66" y="774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60" y="762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6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2" y="666"/>
                  </a:lnTo>
                  <a:lnTo>
                    <a:pt x="18" y="648"/>
                  </a:lnTo>
                  <a:lnTo>
                    <a:pt x="24" y="636"/>
                  </a:lnTo>
                  <a:lnTo>
                    <a:pt x="30" y="630"/>
                  </a:lnTo>
                  <a:lnTo>
                    <a:pt x="30" y="624"/>
                  </a:lnTo>
                  <a:lnTo>
                    <a:pt x="30" y="612"/>
                  </a:lnTo>
                  <a:lnTo>
                    <a:pt x="30" y="606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66" y="582"/>
                  </a:lnTo>
                  <a:lnTo>
                    <a:pt x="72" y="588"/>
                  </a:lnTo>
                  <a:lnTo>
                    <a:pt x="84" y="594"/>
                  </a:lnTo>
                  <a:lnTo>
                    <a:pt x="90" y="600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14" y="612"/>
                  </a:lnTo>
                  <a:lnTo>
                    <a:pt x="120" y="612"/>
                  </a:lnTo>
                  <a:lnTo>
                    <a:pt x="126" y="618"/>
                  </a:lnTo>
                  <a:lnTo>
                    <a:pt x="138" y="594"/>
                  </a:lnTo>
                  <a:lnTo>
                    <a:pt x="138" y="582"/>
                  </a:lnTo>
                  <a:lnTo>
                    <a:pt x="138" y="570"/>
                  </a:lnTo>
                  <a:lnTo>
                    <a:pt x="138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50" y="528"/>
                  </a:lnTo>
                  <a:lnTo>
                    <a:pt x="156" y="510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62"/>
                  </a:lnTo>
                  <a:lnTo>
                    <a:pt x="168" y="450"/>
                  </a:lnTo>
                  <a:lnTo>
                    <a:pt x="168" y="444"/>
                  </a:lnTo>
                  <a:lnTo>
                    <a:pt x="162" y="432"/>
                  </a:lnTo>
                  <a:lnTo>
                    <a:pt x="162" y="426"/>
                  </a:lnTo>
                  <a:lnTo>
                    <a:pt x="156" y="420"/>
                  </a:lnTo>
                  <a:lnTo>
                    <a:pt x="144" y="414"/>
                  </a:lnTo>
                  <a:lnTo>
                    <a:pt x="132" y="402"/>
                  </a:lnTo>
                  <a:lnTo>
                    <a:pt x="126" y="390"/>
                  </a:lnTo>
                  <a:lnTo>
                    <a:pt x="120" y="384"/>
                  </a:lnTo>
                  <a:lnTo>
                    <a:pt x="120" y="372"/>
                  </a:lnTo>
                  <a:lnTo>
                    <a:pt x="114" y="360"/>
                  </a:lnTo>
                  <a:lnTo>
                    <a:pt x="108" y="360"/>
                  </a:lnTo>
                  <a:lnTo>
                    <a:pt x="108" y="354"/>
                  </a:lnTo>
                  <a:lnTo>
                    <a:pt x="102" y="348"/>
                  </a:lnTo>
                  <a:lnTo>
                    <a:pt x="102" y="342"/>
                  </a:lnTo>
                  <a:lnTo>
                    <a:pt x="108" y="330"/>
                  </a:lnTo>
                  <a:lnTo>
                    <a:pt x="114" y="312"/>
                  </a:lnTo>
                  <a:lnTo>
                    <a:pt x="114" y="300"/>
                  </a:lnTo>
                  <a:lnTo>
                    <a:pt x="120" y="288"/>
                  </a:lnTo>
                  <a:lnTo>
                    <a:pt x="120" y="282"/>
                  </a:lnTo>
                  <a:lnTo>
                    <a:pt x="114" y="270"/>
                  </a:lnTo>
                  <a:lnTo>
                    <a:pt x="114" y="258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84" y="222"/>
                  </a:lnTo>
                  <a:lnTo>
                    <a:pt x="84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84" y="186"/>
                  </a:lnTo>
                  <a:lnTo>
                    <a:pt x="84" y="180"/>
                  </a:lnTo>
                  <a:lnTo>
                    <a:pt x="108" y="174"/>
                  </a:lnTo>
                  <a:lnTo>
                    <a:pt x="132" y="186"/>
                  </a:lnTo>
                  <a:lnTo>
                    <a:pt x="138" y="192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56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74" y="204"/>
                  </a:lnTo>
                  <a:lnTo>
                    <a:pt x="180" y="216"/>
                  </a:lnTo>
                  <a:lnTo>
                    <a:pt x="186" y="228"/>
                  </a:lnTo>
                  <a:lnTo>
                    <a:pt x="192" y="234"/>
                  </a:lnTo>
                  <a:lnTo>
                    <a:pt x="198" y="234"/>
                  </a:lnTo>
                  <a:lnTo>
                    <a:pt x="204" y="240"/>
                  </a:lnTo>
                  <a:lnTo>
                    <a:pt x="210" y="240"/>
                  </a:lnTo>
                  <a:lnTo>
                    <a:pt x="216" y="240"/>
                  </a:lnTo>
                  <a:lnTo>
                    <a:pt x="222" y="240"/>
                  </a:lnTo>
                  <a:lnTo>
                    <a:pt x="228" y="246"/>
                  </a:lnTo>
                  <a:lnTo>
                    <a:pt x="234" y="246"/>
                  </a:lnTo>
                  <a:lnTo>
                    <a:pt x="240" y="246"/>
                  </a:lnTo>
                  <a:lnTo>
                    <a:pt x="252" y="252"/>
                  </a:lnTo>
                  <a:lnTo>
                    <a:pt x="330" y="246"/>
                  </a:lnTo>
                  <a:lnTo>
                    <a:pt x="360" y="228"/>
                  </a:lnTo>
                  <a:lnTo>
                    <a:pt x="396" y="228"/>
                  </a:lnTo>
                  <a:lnTo>
                    <a:pt x="402" y="240"/>
                  </a:lnTo>
                  <a:lnTo>
                    <a:pt x="432" y="240"/>
                  </a:lnTo>
                  <a:lnTo>
                    <a:pt x="450" y="258"/>
                  </a:lnTo>
                  <a:lnTo>
                    <a:pt x="468" y="258"/>
                  </a:lnTo>
                  <a:lnTo>
                    <a:pt x="474" y="294"/>
                  </a:lnTo>
                  <a:lnTo>
                    <a:pt x="558" y="318"/>
                  </a:lnTo>
                  <a:lnTo>
                    <a:pt x="588" y="318"/>
                  </a:lnTo>
                  <a:lnTo>
                    <a:pt x="588" y="312"/>
                  </a:lnTo>
                  <a:lnTo>
                    <a:pt x="594" y="306"/>
                  </a:lnTo>
                  <a:lnTo>
                    <a:pt x="600" y="306"/>
                  </a:lnTo>
                  <a:lnTo>
                    <a:pt x="612" y="300"/>
                  </a:lnTo>
                  <a:lnTo>
                    <a:pt x="618" y="300"/>
                  </a:lnTo>
                  <a:lnTo>
                    <a:pt x="630" y="300"/>
                  </a:lnTo>
                  <a:lnTo>
                    <a:pt x="642" y="306"/>
                  </a:lnTo>
                  <a:lnTo>
                    <a:pt x="660" y="306"/>
                  </a:lnTo>
                  <a:lnTo>
                    <a:pt x="666" y="306"/>
                  </a:lnTo>
                  <a:lnTo>
                    <a:pt x="672" y="306"/>
                  </a:lnTo>
                  <a:lnTo>
                    <a:pt x="684" y="300"/>
                  </a:lnTo>
                  <a:lnTo>
                    <a:pt x="696" y="294"/>
                  </a:lnTo>
                  <a:lnTo>
                    <a:pt x="702" y="288"/>
                  </a:lnTo>
                  <a:lnTo>
                    <a:pt x="714" y="282"/>
                  </a:lnTo>
                  <a:lnTo>
                    <a:pt x="714" y="288"/>
                  </a:lnTo>
                  <a:lnTo>
                    <a:pt x="726" y="300"/>
                  </a:lnTo>
                  <a:lnTo>
                    <a:pt x="732" y="306"/>
                  </a:lnTo>
                  <a:lnTo>
                    <a:pt x="732" y="318"/>
                  </a:lnTo>
                  <a:lnTo>
                    <a:pt x="732" y="330"/>
                  </a:lnTo>
                  <a:lnTo>
                    <a:pt x="726" y="342"/>
                  </a:lnTo>
                  <a:lnTo>
                    <a:pt x="720" y="354"/>
                  </a:lnTo>
                  <a:lnTo>
                    <a:pt x="720" y="360"/>
                  </a:lnTo>
                  <a:lnTo>
                    <a:pt x="714" y="372"/>
                  </a:lnTo>
                  <a:lnTo>
                    <a:pt x="714" y="378"/>
                  </a:lnTo>
                  <a:lnTo>
                    <a:pt x="714" y="408"/>
                  </a:lnTo>
                  <a:lnTo>
                    <a:pt x="708" y="420"/>
                  </a:lnTo>
                  <a:lnTo>
                    <a:pt x="714" y="432"/>
                  </a:lnTo>
                  <a:lnTo>
                    <a:pt x="708" y="450"/>
                  </a:lnTo>
                  <a:lnTo>
                    <a:pt x="708" y="468"/>
                  </a:lnTo>
                  <a:lnTo>
                    <a:pt x="696" y="480"/>
                  </a:lnTo>
                  <a:lnTo>
                    <a:pt x="684" y="486"/>
                  </a:lnTo>
                  <a:lnTo>
                    <a:pt x="672" y="492"/>
                  </a:lnTo>
                  <a:lnTo>
                    <a:pt x="660" y="498"/>
                  </a:lnTo>
                  <a:lnTo>
                    <a:pt x="654" y="510"/>
                  </a:lnTo>
                  <a:lnTo>
                    <a:pt x="648" y="516"/>
                  </a:lnTo>
                  <a:lnTo>
                    <a:pt x="642" y="522"/>
                  </a:lnTo>
                  <a:lnTo>
                    <a:pt x="630" y="522"/>
                  </a:lnTo>
                  <a:lnTo>
                    <a:pt x="624" y="528"/>
                  </a:lnTo>
                  <a:lnTo>
                    <a:pt x="618" y="540"/>
                  </a:lnTo>
                  <a:lnTo>
                    <a:pt x="618" y="558"/>
                  </a:lnTo>
                  <a:lnTo>
                    <a:pt x="612" y="576"/>
                  </a:lnTo>
                  <a:lnTo>
                    <a:pt x="612" y="684"/>
                  </a:lnTo>
                  <a:lnTo>
                    <a:pt x="618" y="696"/>
                  </a:lnTo>
                  <a:lnTo>
                    <a:pt x="636" y="696"/>
                  </a:lnTo>
                  <a:lnTo>
                    <a:pt x="636" y="720"/>
                  </a:lnTo>
                  <a:lnTo>
                    <a:pt x="636" y="732"/>
                  </a:lnTo>
                  <a:lnTo>
                    <a:pt x="618" y="750"/>
                  </a:lnTo>
                  <a:lnTo>
                    <a:pt x="606" y="762"/>
                  </a:lnTo>
                  <a:lnTo>
                    <a:pt x="600" y="774"/>
                  </a:lnTo>
                  <a:lnTo>
                    <a:pt x="594" y="798"/>
                  </a:lnTo>
                  <a:lnTo>
                    <a:pt x="606" y="798"/>
                  </a:lnTo>
                  <a:lnTo>
                    <a:pt x="660" y="792"/>
                  </a:lnTo>
                  <a:lnTo>
                    <a:pt x="696" y="798"/>
                  </a:lnTo>
                  <a:lnTo>
                    <a:pt x="720" y="798"/>
                  </a:lnTo>
                  <a:lnTo>
                    <a:pt x="720" y="786"/>
                  </a:lnTo>
                  <a:lnTo>
                    <a:pt x="720" y="774"/>
                  </a:lnTo>
                  <a:lnTo>
                    <a:pt x="702" y="762"/>
                  </a:lnTo>
                  <a:lnTo>
                    <a:pt x="702" y="750"/>
                  </a:lnTo>
                  <a:lnTo>
                    <a:pt x="702" y="726"/>
                  </a:lnTo>
                  <a:lnTo>
                    <a:pt x="714" y="714"/>
                  </a:lnTo>
                  <a:lnTo>
                    <a:pt x="720" y="702"/>
                  </a:lnTo>
                  <a:lnTo>
                    <a:pt x="720" y="696"/>
                  </a:lnTo>
                  <a:lnTo>
                    <a:pt x="744" y="690"/>
                  </a:lnTo>
                  <a:lnTo>
                    <a:pt x="744" y="696"/>
                  </a:lnTo>
                  <a:lnTo>
                    <a:pt x="756" y="696"/>
                  </a:lnTo>
                  <a:lnTo>
                    <a:pt x="762" y="690"/>
                  </a:lnTo>
                  <a:lnTo>
                    <a:pt x="768" y="690"/>
                  </a:lnTo>
                  <a:lnTo>
                    <a:pt x="774" y="696"/>
                  </a:lnTo>
                  <a:lnTo>
                    <a:pt x="780" y="696"/>
                  </a:lnTo>
                  <a:lnTo>
                    <a:pt x="786" y="696"/>
                  </a:lnTo>
                  <a:lnTo>
                    <a:pt x="804" y="684"/>
                  </a:lnTo>
                  <a:lnTo>
                    <a:pt x="810" y="684"/>
                  </a:lnTo>
                  <a:lnTo>
                    <a:pt x="810" y="654"/>
                  </a:lnTo>
                  <a:lnTo>
                    <a:pt x="816" y="588"/>
                  </a:lnTo>
                  <a:lnTo>
                    <a:pt x="804" y="582"/>
                  </a:lnTo>
                  <a:lnTo>
                    <a:pt x="798" y="552"/>
                  </a:lnTo>
                  <a:lnTo>
                    <a:pt x="798" y="480"/>
                  </a:lnTo>
                  <a:lnTo>
                    <a:pt x="780" y="468"/>
                  </a:lnTo>
                  <a:lnTo>
                    <a:pt x="780" y="462"/>
                  </a:lnTo>
                  <a:lnTo>
                    <a:pt x="774" y="450"/>
                  </a:lnTo>
                  <a:lnTo>
                    <a:pt x="762" y="444"/>
                  </a:lnTo>
                  <a:lnTo>
                    <a:pt x="762" y="438"/>
                  </a:lnTo>
                  <a:lnTo>
                    <a:pt x="768" y="432"/>
                  </a:lnTo>
                  <a:lnTo>
                    <a:pt x="774" y="426"/>
                  </a:lnTo>
                  <a:lnTo>
                    <a:pt x="780" y="426"/>
                  </a:lnTo>
                  <a:lnTo>
                    <a:pt x="780" y="414"/>
                  </a:lnTo>
                  <a:lnTo>
                    <a:pt x="834" y="414"/>
                  </a:lnTo>
                  <a:lnTo>
                    <a:pt x="834" y="426"/>
                  </a:lnTo>
                  <a:lnTo>
                    <a:pt x="840" y="432"/>
                  </a:lnTo>
                  <a:lnTo>
                    <a:pt x="846" y="432"/>
                  </a:lnTo>
                  <a:lnTo>
                    <a:pt x="852" y="432"/>
                  </a:lnTo>
                  <a:lnTo>
                    <a:pt x="858" y="432"/>
                  </a:lnTo>
                  <a:lnTo>
                    <a:pt x="870" y="432"/>
                  </a:lnTo>
                  <a:lnTo>
                    <a:pt x="870" y="426"/>
                  </a:lnTo>
                  <a:lnTo>
                    <a:pt x="870" y="420"/>
                  </a:lnTo>
                  <a:lnTo>
                    <a:pt x="876" y="420"/>
                  </a:lnTo>
                  <a:lnTo>
                    <a:pt x="882" y="420"/>
                  </a:lnTo>
                  <a:lnTo>
                    <a:pt x="894" y="414"/>
                  </a:lnTo>
                  <a:lnTo>
                    <a:pt x="900" y="414"/>
                  </a:lnTo>
                  <a:lnTo>
                    <a:pt x="906" y="408"/>
                  </a:lnTo>
                  <a:lnTo>
                    <a:pt x="918" y="408"/>
                  </a:lnTo>
                  <a:lnTo>
                    <a:pt x="924" y="402"/>
                  </a:lnTo>
                  <a:lnTo>
                    <a:pt x="930" y="384"/>
                  </a:lnTo>
                  <a:lnTo>
                    <a:pt x="948" y="396"/>
                  </a:lnTo>
                  <a:lnTo>
                    <a:pt x="954" y="384"/>
                  </a:lnTo>
                  <a:lnTo>
                    <a:pt x="960" y="384"/>
                  </a:lnTo>
                  <a:lnTo>
                    <a:pt x="972" y="384"/>
                  </a:lnTo>
                  <a:lnTo>
                    <a:pt x="978" y="378"/>
                  </a:lnTo>
                  <a:lnTo>
                    <a:pt x="972" y="366"/>
                  </a:lnTo>
                  <a:lnTo>
                    <a:pt x="966" y="342"/>
                  </a:lnTo>
                  <a:lnTo>
                    <a:pt x="960" y="330"/>
                  </a:lnTo>
                  <a:lnTo>
                    <a:pt x="942" y="324"/>
                  </a:lnTo>
                  <a:lnTo>
                    <a:pt x="936" y="318"/>
                  </a:lnTo>
                  <a:lnTo>
                    <a:pt x="936" y="294"/>
                  </a:lnTo>
                  <a:lnTo>
                    <a:pt x="942" y="294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282"/>
                  </a:lnTo>
                  <a:lnTo>
                    <a:pt x="954" y="276"/>
                  </a:lnTo>
                  <a:lnTo>
                    <a:pt x="960" y="276"/>
                  </a:lnTo>
                  <a:lnTo>
                    <a:pt x="966" y="276"/>
                  </a:lnTo>
                  <a:lnTo>
                    <a:pt x="960" y="258"/>
                  </a:lnTo>
                  <a:lnTo>
                    <a:pt x="954" y="240"/>
                  </a:lnTo>
                  <a:lnTo>
                    <a:pt x="948" y="204"/>
                  </a:lnTo>
                  <a:lnTo>
                    <a:pt x="954" y="204"/>
                  </a:lnTo>
                  <a:lnTo>
                    <a:pt x="960" y="198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00" y="186"/>
                  </a:lnTo>
                  <a:lnTo>
                    <a:pt x="876" y="180"/>
                  </a:lnTo>
                  <a:lnTo>
                    <a:pt x="858" y="180"/>
                  </a:lnTo>
                  <a:lnTo>
                    <a:pt x="852" y="168"/>
                  </a:lnTo>
                  <a:lnTo>
                    <a:pt x="834" y="156"/>
                  </a:lnTo>
                  <a:lnTo>
                    <a:pt x="822" y="156"/>
                  </a:lnTo>
                  <a:lnTo>
                    <a:pt x="804" y="156"/>
                  </a:lnTo>
                  <a:lnTo>
                    <a:pt x="804" y="150"/>
                  </a:lnTo>
                  <a:lnTo>
                    <a:pt x="792" y="144"/>
                  </a:lnTo>
                  <a:lnTo>
                    <a:pt x="762" y="138"/>
                  </a:lnTo>
                  <a:lnTo>
                    <a:pt x="768" y="120"/>
                  </a:lnTo>
                  <a:lnTo>
                    <a:pt x="756" y="120"/>
                  </a:lnTo>
                  <a:lnTo>
                    <a:pt x="744" y="108"/>
                  </a:lnTo>
                  <a:lnTo>
                    <a:pt x="744" y="96"/>
                  </a:lnTo>
                  <a:lnTo>
                    <a:pt x="762" y="84"/>
                  </a:lnTo>
                  <a:lnTo>
                    <a:pt x="768" y="84"/>
                  </a:lnTo>
                  <a:lnTo>
                    <a:pt x="768" y="72"/>
                  </a:lnTo>
                  <a:lnTo>
                    <a:pt x="780" y="66"/>
                  </a:lnTo>
                  <a:lnTo>
                    <a:pt x="798" y="54"/>
                  </a:lnTo>
                  <a:lnTo>
                    <a:pt x="792" y="54"/>
                  </a:lnTo>
                  <a:lnTo>
                    <a:pt x="798" y="36"/>
                  </a:lnTo>
                  <a:lnTo>
                    <a:pt x="804" y="36"/>
                  </a:lnTo>
                  <a:lnTo>
                    <a:pt x="816" y="30"/>
                  </a:lnTo>
                  <a:lnTo>
                    <a:pt x="828" y="30"/>
                  </a:lnTo>
                  <a:lnTo>
                    <a:pt x="846" y="12"/>
                  </a:lnTo>
                  <a:lnTo>
                    <a:pt x="876" y="0"/>
                  </a:lnTo>
                  <a:lnTo>
                    <a:pt x="882" y="6"/>
                  </a:lnTo>
                  <a:lnTo>
                    <a:pt x="900" y="6"/>
                  </a:lnTo>
                  <a:lnTo>
                    <a:pt x="912" y="36"/>
                  </a:lnTo>
                  <a:lnTo>
                    <a:pt x="918" y="42"/>
                  </a:lnTo>
                  <a:lnTo>
                    <a:pt x="924" y="54"/>
                  </a:lnTo>
                  <a:lnTo>
                    <a:pt x="930" y="54"/>
                  </a:lnTo>
                  <a:lnTo>
                    <a:pt x="930" y="78"/>
                  </a:lnTo>
                  <a:lnTo>
                    <a:pt x="954" y="72"/>
                  </a:lnTo>
                  <a:lnTo>
                    <a:pt x="954" y="60"/>
                  </a:lnTo>
                  <a:lnTo>
                    <a:pt x="966" y="66"/>
                  </a:lnTo>
                  <a:lnTo>
                    <a:pt x="966" y="78"/>
                  </a:lnTo>
                  <a:lnTo>
                    <a:pt x="960" y="84"/>
                  </a:lnTo>
                  <a:lnTo>
                    <a:pt x="954" y="102"/>
                  </a:lnTo>
                  <a:lnTo>
                    <a:pt x="972" y="102"/>
                  </a:lnTo>
                  <a:lnTo>
                    <a:pt x="978" y="84"/>
                  </a:lnTo>
                  <a:lnTo>
                    <a:pt x="984" y="72"/>
                  </a:lnTo>
                  <a:lnTo>
                    <a:pt x="990" y="72"/>
                  </a:lnTo>
                  <a:lnTo>
                    <a:pt x="996" y="18"/>
                  </a:lnTo>
                  <a:lnTo>
                    <a:pt x="990" y="12"/>
                  </a:lnTo>
                  <a:lnTo>
                    <a:pt x="1014" y="12"/>
                  </a:lnTo>
                  <a:lnTo>
                    <a:pt x="1026" y="12"/>
                  </a:lnTo>
                  <a:lnTo>
                    <a:pt x="1026" y="24"/>
                  </a:lnTo>
                  <a:lnTo>
                    <a:pt x="1050" y="24"/>
                  </a:lnTo>
                  <a:lnTo>
                    <a:pt x="1050" y="36"/>
                  </a:lnTo>
                  <a:lnTo>
                    <a:pt x="1062" y="66"/>
                  </a:lnTo>
                  <a:lnTo>
                    <a:pt x="1074" y="66"/>
                  </a:lnTo>
                  <a:lnTo>
                    <a:pt x="1080" y="60"/>
                  </a:lnTo>
                  <a:lnTo>
                    <a:pt x="1074" y="24"/>
                  </a:lnTo>
                  <a:lnTo>
                    <a:pt x="1086" y="18"/>
                  </a:lnTo>
                  <a:lnTo>
                    <a:pt x="1086" y="12"/>
                  </a:lnTo>
                  <a:lnTo>
                    <a:pt x="1104" y="6"/>
                  </a:lnTo>
                  <a:lnTo>
                    <a:pt x="1122" y="0"/>
                  </a:lnTo>
                  <a:lnTo>
                    <a:pt x="1134" y="6"/>
                  </a:lnTo>
                  <a:lnTo>
                    <a:pt x="1134" y="42"/>
                  </a:lnTo>
                  <a:lnTo>
                    <a:pt x="1140" y="72"/>
                  </a:lnTo>
                  <a:lnTo>
                    <a:pt x="1158" y="114"/>
                  </a:lnTo>
                  <a:lnTo>
                    <a:pt x="1170" y="114"/>
                  </a:lnTo>
                  <a:lnTo>
                    <a:pt x="1170" y="126"/>
                  </a:lnTo>
                  <a:lnTo>
                    <a:pt x="1182" y="126"/>
                  </a:lnTo>
                  <a:lnTo>
                    <a:pt x="1182" y="138"/>
                  </a:lnTo>
                  <a:lnTo>
                    <a:pt x="1194" y="144"/>
                  </a:lnTo>
                  <a:lnTo>
                    <a:pt x="1194" y="156"/>
                  </a:lnTo>
                  <a:lnTo>
                    <a:pt x="1188" y="156"/>
                  </a:lnTo>
                  <a:lnTo>
                    <a:pt x="1194" y="162"/>
                  </a:lnTo>
                  <a:lnTo>
                    <a:pt x="1194" y="168"/>
                  </a:lnTo>
                  <a:lnTo>
                    <a:pt x="1188" y="168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82" y="180"/>
                  </a:lnTo>
                  <a:lnTo>
                    <a:pt x="1188" y="186"/>
                  </a:lnTo>
                  <a:lnTo>
                    <a:pt x="1188" y="192"/>
                  </a:lnTo>
                  <a:lnTo>
                    <a:pt x="1182" y="198"/>
                  </a:lnTo>
                  <a:lnTo>
                    <a:pt x="1182" y="204"/>
                  </a:lnTo>
                  <a:lnTo>
                    <a:pt x="1182" y="210"/>
                  </a:lnTo>
                  <a:lnTo>
                    <a:pt x="1188" y="210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2"/>
                  </a:lnTo>
                  <a:lnTo>
                    <a:pt x="1194" y="264"/>
                  </a:lnTo>
                  <a:lnTo>
                    <a:pt x="1200" y="264"/>
                  </a:lnTo>
                  <a:lnTo>
                    <a:pt x="1212" y="264"/>
                  </a:lnTo>
                  <a:lnTo>
                    <a:pt x="1212" y="258"/>
                  </a:lnTo>
                  <a:lnTo>
                    <a:pt x="1224" y="258"/>
                  </a:lnTo>
                  <a:lnTo>
                    <a:pt x="1248" y="252"/>
                  </a:lnTo>
                  <a:lnTo>
                    <a:pt x="1248" y="264"/>
                  </a:lnTo>
                  <a:lnTo>
                    <a:pt x="1254" y="264"/>
                  </a:lnTo>
                  <a:lnTo>
                    <a:pt x="1254" y="270"/>
                  </a:lnTo>
                  <a:lnTo>
                    <a:pt x="1260" y="270"/>
                  </a:lnTo>
                  <a:lnTo>
                    <a:pt x="1266" y="270"/>
                  </a:lnTo>
                  <a:lnTo>
                    <a:pt x="1272" y="270"/>
                  </a:lnTo>
                  <a:lnTo>
                    <a:pt x="1272" y="264"/>
                  </a:lnTo>
                  <a:lnTo>
                    <a:pt x="1272" y="258"/>
                  </a:lnTo>
                  <a:lnTo>
                    <a:pt x="1278" y="258"/>
                  </a:lnTo>
                  <a:lnTo>
                    <a:pt x="1278" y="252"/>
                  </a:lnTo>
                  <a:lnTo>
                    <a:pt x="1290" y="252"/>
                  </a:lnTo>
                  <a:lnTo>
                    <a:pt x="1296" y="246"/>
                  </a:lnTo>
                  <a:lnTo>
                    <a:pt x="1308" y="246"/>
                  </a:lnTo>
                  <a:lnTo>
                    <a:pt x="1308" y="240"/>
                  </a:lnTo>
                  <a:lnTo>
                    <a:pt x="1320" y="240"/>
                  </a:lnTo>
                  <a:lnTo>
                    <a:pt x="1326" y="246"/>
                  </a:lnTo>
                  <a:lnTo>
                    <a:pt x="1338" y="246"/>
                  </a:lnTo>
                  <a:lnTo>
                    <a:pt x="1338" y="240"/>
                  </a:lnTo>
                  <a:lnTo>
                    <a:pt x="1350" y="240"/>
                  </a:lnTo>
                  <a:lnTo>
                    <a:pt x="1386" y="234"/>
                  </a:lnTo>
                  <a:lnTo>
                    <a:pt x="1398" y="228"/>
                  </a:lnTo>
                  <a:lnTo>
                    <a:pt x="1404" y="216"/>
                  </a:lnTo>
                  <a:lnTo>
                    <a:pt x="1416" y="204"/>
                  </a:lnTo>
                  <a:lnTo>
                    <a:pt x="1434" y="192"/>
                  </a:lnTo>
                  <a:lnTo>
                    <a:pt x="1446" y="198"/>
                  </a:lnTo>
                  <a:lnTo>
                    <a:pt x="1446" y="204"/>
                  </a:lnTo>
                  <a:lnTo>
                    <a:pt x="1452" y="210"/>
                  </a:lnTo>
                  <a:lnTo>
                    <a:pt x="1464" y="222"/>
                  </a:lnTo>
                  <a:lnTo>
                    <a:pt x="1464" y="228"/>
                  </a:lnTo>
                  <a:lnTo>
                    <a:pt x="1464" y="234"/>
                  </a:lnTo>
                  <a:lnTo>
                    <a:pt x="1470" y="240"/>
                  </a:lnTo>
                  <a:lnTo>
                    <a:pt x="1476" y="228"/>
                  </a:lnTo>
                  <a:lnTo>
                    <a:pt x="1476" y="222"/>
                  </a:lnTo>
                  <a:lnTo>
                    <a:pt x="1482" y="210"/>
                  </a:lnTo>
                  <a:lnTo>
                    <a:pt x="1488" y="192"/>
                  </a:lnTo>
                  <a:lnTo>
                    <a:pt x="1488" y="186"/>
                  </a:lnTo>
                  <a:lnTo>
                    <a:pt x="1488" y="180"/>
                  </a:lnTo>
                  <a:lnTo>
                    <a:pt x="1500" y="180"/>
                  </a:lnTo>
                  <a:lnTo>
                    <a:pt x="1500" y="174"/>
                  </a:lnTo>
                  <a:lnTo>
                    <a:pt x="1518" y="162"/>
                  </a:lnTo>
                  <a:lnTo>
                    <a:pt x="1536" y="150"/>
                  </a:lnTo>
                  <a:lnTo>
                    <a:pt x="1554" y="168"/>
                  </a:lnTo>
                  <a:lnTo>
                    <a:pt x="1572" y="180"/>
                  </a:lnTo>
                  <a:lnTo>
                    <a:pt x="1596" y="216"/>
                  </a:lnTo>
                  <a:lnTo>
                    <a:pt x="1602" y="216"/>
                  </a:lnTo>
                  <a:lnTo>
                    <a:pt x="1614" y="228"/>
                  </a:lnTo>
                  <a:lnTo>
                    <a:pt x="1614" y="234"/>
                  </a:lnTo>
                  <a:lnTo>
                    <a:pt x="1620" y="240"/>
                  </a:lnTo>
                  <a:lnTo>
                    <a:pt x="1620" y="246"/>
                  </a:lnTo>
                  <a:lnTo>
                    <a:pt x="1626" y="252"/>
                  </a:lnTo>
                  <a:lnTo>
                    <a:pt x="1632" y="258"/>
                  </a:lnTo>
                  <a:lnTo>
                    <a:pt x="1632" y="264"/>
                  </a:lnTo>
                  <a:lnTo>
                    <a:pt x="1638" y="264"/>
                  </a:lnTo>
                  <a:lnTo>
                    <a:pt x="1638" y="270"/>
                  </a:lnTo>
                  <a:lnTo>
                    <a:pt x="1638" y="276"/>
                  </a:lnTo>
                  <a:lnTo>
                    <a:pt x="1638" y="282"/>
                  </a:lnTo>
                  <a:lnTo>
                    <a:pt x="1644" y="288"/>
                  </a:lnTo>
                  <a:lnTo>
                    <a:pt x="1644" y="294"/>
                  </a:lnTo>
                  <a:lnTo>
                    <a:pt x="1644" y="300"/>
                  </a:lnTo>
                  <a:lnTo>
                    <a:pt x="1644" y="306"/>
                  </a:lnTo>
                  <a:lnTo>
                    <a:pt x="1650" y="306"/>
                  </a:lnTo>
                  <a:lnTo>
                    <a:pt x="1650" y="312"/>
                  </a:lnTo>
                  <a:lnTo>
                    <a:pt x="1650" y="318"/>
                  </a:lnTo>
                  <a:lnTo>
                    <a:pt x="1650" y="324"/>
                  </a:lnTo>
                  <a:lnTo>
                    <a:pt x="1644" y="330"/>
                  </a:lnTo>
                  <a:lnTo>
                    <a:pt x="1626" y="330"/>
                  </a:lnTo>
                  <a:lnTo>
                    <a:pt x="1626" y="336"/>
                  </a:lnTo>
                  <a:lnTo>
                    <a:pt x="1626" y="342"/>
                  </a:lnTo>
                  <a:lnTo>
                    <a:pt x="1626" y="348"/>
                  </a:lnTo>
                  <a:lnTo>
                    <a:pt x="1620" y="354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14" y="390"/>
                  </a:lnTo>
                  <a:lnTo>
                    <a:pt x="1614" y="396"/>
                  </a:lnTo>
                  <a:lnTo>
                    <a:pt x="1614" y="402"/>
                  </a:lnTo>
                  <a:lnTo>
                    <a:pt x="1614" y="408"/>
                  </a:lnTo>
                  <a:lnTo>
                    <a:pt x="1614" y="414"/>
                  </a:lnTo>
                  <a:lnTo>
                    <a:pt x="1602" y="420"/>
                  </a:lnTo>
                  <a:lnTo>
                    <a:pt x="1602" y="426"/>
                  </a:lnTo>
                  <a:lnTo>
                    <a:pt x="1608" y="432"/>
                  </a:lnTo>
                  <a:lnTo>
                    <a:pt x="1614" y="426"/>
                  </a:lnTo>
                  <a:lnTo>
                    <a:pt x="1620" y="438"/>
                  </a:lnTo>
                  <a:lnTo>
                    <a:pt x="1626" y="438"/>
                  </a:lnTo>
                  <a:lnTo>
                    <a:pt x="1632" y="444"/>
                  </a:lnTo>
                  <a:lnTo>
                    <a:pt x="1626" y="456"/>
                  </a:lnTo>
                  <a:lnTo>
                    <a:pt x="1626" y="468"/>
                  </a:lnTo>
                  <a:lnTo>
                    <a:pt x="1620" y="474"/>
                  </a:lnTo>
                  <a:lnTo>
                    <a:pt x="1614" y="474"/>
                  </a:lnTo>
                  <a:lnTo>
                    <a:pt x="1614" y="486"/>
                  </a:lnTo>
                  <a:lnTo>
                    <a:pt x="1614" y="492"/>
                  </a:lnTo>
                  <a:lnTo>
                    <a:pt x="1620" y="492"/>
                  </a:lnTo>
                  <a:lnTo>
                    <a:pt x="1626" y="498"/>
                  </a:lnTo>
                  <a:lnTo>
                    <a:pt x="1626" y="504"/>
                  </a:lnTo>
                  <a:lnTo>
                    <a:pt x="1626" y="510"/>
                  </a:lnTo>
                  <a:lnTo>
                    <a:pt x="1620" y="516"/>
                  </a:lnTo>
                  <a:lnTo>
                    <a:pt x="1620" y="522"/>
                  </a:lnTo>
                  <a:lnTo>
                    <a:pt x="1614" y="522"/>
                  </a:lnTo>
                  <a:lnTo>
                    <a:pt x="1608" y="528"/>
                  </a:lnTo>
                  <a:lnTo>
                    <a:pt x="1602" y="522"/>
                  </a:lnTo>
                  <a:lnTo>
                    <a:pt x="1602" y="528"/>
                  </a:lnTo>
                  <a:lnTo>
                    <a:pt x="1602" y="540"/>
                  </a:lnTo>
                  <a:lnTo>
                    <a:pt x="1602" y="558"/>
                  </a:lnTo>
                  <a:lnTo>
                    <a:pt x="1602" y="564"/>
                  </a:lnTo>
                  <a:lnTo>
                    <a:pt x="1602" y="570"/>
                  </a:lnTo>
                  <a:lnTo>
                    <a:pt x="1602" y="576"/>
                  </a:lnTo>
                  <a:lnTo>
                    <a:pt x="1596" y="576"/>
                  </a:lnTo>
                  <a:lnTo>
                    <a:pt x="1632" y="582"/>
                  </a:lnTo>
                  <a:lnTo>
                    <a:pt x="1644" y="618"/>
                  </a:lnTo>
                  <a:lnTo>
                    <a:pt x="1650" y="648"/>
                  </a:lnTo>
                  <a:lnTo>
                    <a:pt x="1662" y="636"/>
                  </a:lnTo>
                  <a:lnTo>
                    <a:pt x="1668" y="636"/>
                  </a:lnTo>
                  <a:lnTo>
                    <a:pt x="1674" y="636"/>
                  </a:lnTo>
                  <a:lnTo>
                    <a:pt x="1680" y="630"/>
                  </a:lnTo>
                  <a:lnTo>
                    <a:pt x="1686" y="630"/>
                  </a:lnTo>
                  <a:lnTo>
                    <a:pt x="1692" y="630"/>
                  </a:lnTo>
                  <a:lnTo>
                    <a:pt x="1698" y="630"/>
                  </a:lnTo>
                  <a:lnTo>
                    <a:pt x="1704" y="630"/>
                  </a:lnTo>
                  <a:lnTo>
                    <a:pt x="1704" y="624"/>
                  </a:lnTo>
                  <a:lnTo>
                    <a:pt x="1710" y="624"/>
                  </a:lnTo>
                  <a:lnTo>
                    <a:pt x="1716" y="624"/>
                  </a:lnTo>
                  <a:lnTo>
                    <a:pt x="1722" y="624"/>
                  </a:lnTo>
                  <a:lnTo>
                    <a:pt x="1728" y="624"/>
                  </a:lnTo>
                  <a:lnTo>
                    <a:pt x="1722" y="618"/>
                  </a:lnTo>
                  <a:lnTo>
                    <a:pt x="1728" y="606"/>
                  </a:lnTo>
                  <a:lnTo>
                    <a:pt x="1734" y="606"/>
                  </a:lnTo>
                  <a:lnTo>
                    <a:pt x="1740" y="600"/>
                  </a:lnTo>
                  <a:lnTo>
                    <a:pt x="1746" y="594"/>
                  </a:lnTo>
                  <a:lnTo>
                    <a:pt x="1752" y="588"/>
                  </a:lnTo>
                  <a:lnTo>
                    <a:pt x="1752" y="582"/>
                  </a:lnTo>
                  <a:lnTo>
                    <a:pt x="1758" y="576"/>
                  </a:lnTo>
                  <a:lnTo>
                    <a:pt x="1764" y="576"/>
                  </a:lnTo>
                  <a:lnTo>
                    <a:pt x="1770" y="570"/>
                  </a:lnTo>
                  <a:lnTo>
                    <a:pt x="1776" y="564"/>
                  </a:lnTo>
                  <a:lnTo>
                    <a:pt x="1788" y="558"/>
                  </a:lnTo>
                  <a:lnTo>
                    <a:pt x="1788" y="546"/>
                  </a:lnTo>
                  <a:lnTo>
                    <a:pt x="1788" y="540"/>
                  </a:lnTo>
                  <a:lnTo>
                    <a:pt x="1794" y="540"/>
                  </a:lnTo>
                  <a:lnTo>
                    <a:pt x="1788" y="534"/>
                  </a:lnTo>
                  <a:lnTo>
                    <a:pt x="1788" y="528"/>
                  </a:lnTo>
                  <a:lnTo>
                    <a:pt x="1794" y="516"/>
                  </a:lnTo>
                  <a:lnTo>
                    <a:pt x="1800" y="510"/>
                  </a:lnTo>
                  <a:lnTo>
                    <a:pt x="1812" y="510"/>
                  </a:lnTo>
                  <a:lnTo>
                    <a:pt x="1818" y="504"/>
                  </a:lnTo>
                  <a:lnTo>
                    <a:pt x="1824" y="504"/>
                  </a:lnTo>
                  <a:lnTo>
                    <a:pt x="1830" y="498"/>
                  </a:lnTo>
                  <a:lnTo>
                    <a:pt x="1836" y="498"/>
                  </a:lnTo>
                  <a:lnTo>
                    <a:pt x="1848" y="492"/>
                  </a:lnTo>
                  <a:lnTo>
                    <a:pt x="1848" y="480"/>
                  </a:lnTo>
                  <a:lnTo>
                    <a:pt x="1854" y="480"/>
                  </a:lnTo>
                  <a:lnTo>
                    <a:pt x="1890" y="504"/>
                  </a:lnTo>
                  <a:lnTo>
                    <a:pt x="1908" y="534"/>
                  </a:lnTo>
                  <a:lnTo>
                    <a:pt x="1902" y="534"/>
                  </a:lnTo>
                  <a:lnTo>
                    <a:pt x="1920" y="528"/>
                  </a:lnTo>
                  <a:lnTo>
                    <a:pt x="1920" y="516"/>
                  </a:lnTo>
                  <a:lnTo>
                    <a:pt x="1944" y="516"/>
                  </a:lnTo>
                  <a:lnTo>
                    <a:pt x="2004" y="516"/>
                  </a:lnTo>
                  <a:lnTo>
                    <a:pt x="2010" y="510"/>
                  </a:lnTo>
                  <a:lnTo>
                    <a:pt x="2004" y="510"/>
                  </a:lnTo>
                  <a:lnTo>
                    <a:pt x="2010" y="498"/>
                  </a:lnTo>
                  <a:lnTo>
                    <a:pt x="2004" y="486"/>
                  </a:lnTo>
                  <a:lnTo>
                    <a:pt x="2004" y="480"/>
                  </a:lnTo>
                  <a:lnTo>
                    <a:pt x="2004" y="474"/>
                  </a:lnTo>
                  <a:lnTo>
                    <a:pt x="2004" y="462"/>
                  </a:lnTo>
                  <a:lnTo>
                    <a:pt x="2004" y="456"/>
                  </a:lnTo>
                  <a:lnTo>
                    <a:pt x="2058" y="462"/>
                  </a:lnTo>
                  <a:lnTo>
                    <a:pt x="2076" y="474"/>
                  </a:lnTo>
                  <a:lnTo>
                    <a:pt x="2082" y="522"/>
                  </a:lnTo>
                  <a:lnTo>
                    <a:pt x="2088" y="516"/>
                  </a:lnTo>
                  <a:lnTo>
                    <a:pt x="2094" y="522"/>
                  </a:lnTo>
                  <a:lnTo>
                    <a:pt x="2100" y="528"/>
                  </a:lnTo>
                  <a:lnTo>
                    <a:pt x="2130" y="540"/>
                  </a:lnTo>
                  <a:lnTo>
                    <a:pt x="2160" y="564"/>
                  </a:lnTo>
                  <a:lnTo>
                    <a:pt x="2166" y="600"/>
                  </a:lnTo>
                  <a:lnTo>
                    <a:pt x="2160" y="618"/>
                  </a:lnTo>
                  <a:lnTo>
                    <a:pt x="2142" y="636"/>
                  </a:lnTo>
                  <a:lnTo>
                    <a:pt x="2148" y="648"/>
                  </a:lnTo>
                  <a:lnTo>
                    <a:pt x="2154" y="660"/>
                  </a:lnTo>
                  <a:lnTo>
                    <a:pt x="2196" y="654"/>
                  </a:lnTo>
                  <a:lnTo>
                    <a:pt x="2214" y="660"/>
                  </a:lnTo>
                  <a:lnTo>
                    <a:pt x="2214" y="666"/>
                  </a:lnTo>
                  <a:lnTo>
                    <a:pt x="2220" y="672"/>
                  </a:lnTo>
                  <a:lnTo>
                    <a:pt x="2214" y="678"/>
                  </a:lnTo>
                  <a:lnTo>
                    <a:pt x="2214" y="684"/>
                  </a:lnTo>
                  <a:lnTo>
                    <a:pt x="2214" y="690"/>
                  </a:lnTo>
                  <a:lnTo>
                    <a:pt x="2208" y="690"/>
                  </a:lnTo>
                  <a:lnTo>
                    <a:pt x="2202" y="696"/>
                  </a:lnTo>
                  <a:lnTo>
                    <a:pt x="2196" y="702"/>
                  </a:lnTo>
                  <a:lnTo>
                    <a:pt x="2190" y="708"/>
                  </a:lnTo>
                  <a:lnTo>
                    <a:pt x="2190" y="720"/>
                  </a:lnTo>
                  <a:lnTo>
                    <a:pt x="2184" y="720"/>
                  </a:lnTo>
                  <a:lnTo>
                    <a:pt x="2178" y="726"/>
                  </a:lnTo>
                  <a:lnTo>
                    <a:pt x="2166" y="732"/>
                  </a:lnTo>
                  <a:lnTo>
                    <a:pt x="2160" y="744"/>
                  </a:lnTo>
                  <a:lnTo>
                    <a:pt x="2154" y="756"/>
                  </a:lnTo>
                  <a:lnTo>
                    <a:pt x="2148" y="762"/>
                  </a:lnTo>
                  <a:lnTo>
                    <a:pt x="2124" y="762"/>
                  </a:lnTo>
                  <a:lnTo>
                    <a:pt x="2124" y="768"/>
                  </a:lnTo>
                  <a:lnTo>
                    <a:pt x="2118" y="768"/>
                  </a:lnTo>
                  <a:lnTo>
                    <a:pt x="2124" y="774"/>
                  </a:lnTo>
                  <a:lnTo>
                    <a:pt x="2118" y="774"/>
                  </a:lnTo>
                  <a:lnTo>
                    <a:pt x="2112" y="774"/>
                  </a:lnTo>
                  <a:lnTo>
                    <a:pt x="2106" y="780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06" y="798"/>
                  </a:lnTo>
                  <a:lnTo>
                    <a:pt x="2106" y="810"/>
                  </a:lnTo>
                  <a:lnTo>
                    <a:pt x="2112" y="828"/>
                  </a:lnTo>
                  <a:lnTo>
                    <a:pt x="2112" y="834"/>
                  </a:lnTo>
                  <a:lnTo>
                    <a:pt x="2112" y="840"/>
                  </a:lnTo>
                  <a:lnTo>
                    <a:pt x="2112" y="834"/>
                  </a:lnTo>
                  <a:lnTo>
                    <a:pt x="2124" y="834"/>
                  </a:lnTo>
                  <a:lnTo>
                    <a:pt x="2130" y="834"/>
                  </a:lnTo>
                  <a:lnTo>
                    <a:pt x="2136" y="840"/>
                  </a:lnTo>
                  <a:lnTo>
                    <a:pt x="2142" y="840"/>
                  </a:lnTo>
                  <a:lnTo>
                    <a:pt x="2154" y="852"/>
                  </a:lnTo>
                  <a:lnTo>
                    <a:pt x="2160" y="852"/>
                  </a:lnTo>
                  <a:lnTo>
                    <a:pt x="2172" y="846"/>
                  </a:lnTo>
                  <a:lnTo>
                    <a:pt x="2178" y="846"/>
                  </a:lnTo>
                  <a:lnTo>
                    <a:pt x="2184" y="846"/>
                  </a:lnTo>
                  <a:lnTo>
                    <a:pt x="2190" y="846"/>
                  </a:lnTo>
                  <a:lnTo>
                    <a:pt x="2196" y="852"/>
                  </a:lnTo>
                  <a:lnTo>
                    <a:pt x="2196" y="858"/>
                  </a:lnTo>
                  <a:lnTo>
                    <a:pt x="2202" y="852"/>
                  </a:lnTo>
                  <a:lnTo>
                    <a:pt x="2208" y="846"/>
                  </a:lnTo>
                  <a:lnTo>
                    <a:pt x="2214" y="846"/>
                  </a:lnTo>
                  <a:lnTo>
                    <a:pt x="2226" y="846"/>
                  </a:lnTo>
                  <a:lnTo>
                    <a:pt x="2232" y="852"/>
                  </a:lnTo>
                  <a:lnTo>
                    <a:pt x="2238" y="852"/>
                  </a:lnTo>
                  <a:lnTo>
                    <a:pt x="2244" y="858"/>
                  </a:lnTo>
                  <a:lnTo>
                    <a:pt x="2250" y="858"/>
                  </a:lnTo>
                  <a:lnTo>
                    <a:pt x="2256" y="858"/>
                  </a:lnTo>
                  <a:lnTo>
                    <a:pt x="2262" y="858"/>
                  </a:lnTo>
                  <a:lnTo>
                    <a:pt x="2268" y="852"/>
                  </a:lnTo>
                  <a:lnTo>
                    <a:pt x="2274" y="852"/>
                  </a:lnTo>
                  <a:lnTo>
                    <a:pt x="2280" y="852"/>
                  </a:lnTo>
                  <a:lnTo>
                    <a:pt x="2286" y="852"/>
                  </a:lnTo>
                  <a:lnTo>
                    <a:pt x="2298" y="858"/>
                  </a:lnTo>
                  <a:lnTo>
                    <a:pt x="2304" y="858"/>
                  </a:lnTo>
                  <a:lnTo>
                    <a:pt x="2310" y="858"/>
                  </a:lnTo>
                  <a:lnTo>
                    <a:pt x="2316" y="852"/>
                  </a:lnTo>
                  <a:lnTo>
                    <a:pt x="2322" y="858"/>
                  </a:lnTo>
                  <a:lnTo>
                    <a:pt x="2328" y="858"/>
                  </a:lnTo>
                  <a:lnTo>
                    <a:pt x="2328" y="852"/>
                  </a:lnTo>
                  <a:lnTo>
                    <a:pt x="2364" y="858"/>
                  </a:lnTo>
                  <a:lnTo>
                    <a:pt x="2376" y="876"/>
                  </a:lnTo>
                  <a:lnTo>
                    <a:pt x="2382" y="936"/>
                  </a:lnTo>
                  <a:lnTo>
                    <a:pt x="2388" y="966"/>
                  </a:lnTo>
                  <a:lnTo>
                    <a:pt x="2382" y="972"/>
                  </a:lnTo>
                  <a:lnTo>
                    <a:pt x="2382" y="978"/>
                  </a:lnTo>
                  <a:lnTo>
                    <a:pt x="2382" y="984"/>
                  </a:lnTo>
                  <a:lnTo>
                    <a:pt x="2388" y="990"/>
                  </a:lnTo>
                  <a:lnTo>
                    <a:pt x="2382" y="990"/>
                  </a:lnTo>
                  <a:lnTo>
                    <a:pt x="2382" y="996"/>
                  </a:lnTo>
                  <a:lnTo>
                    <a:pt x="2376" y="996"/>
                  </a:lnTo>
                  <a:lnTo>
                    <a:pt x="2376" y="1020"/>
                  </a:lnTo>
                  <a:lnTo>
                    <a:pt x="2370" y="1032"/>
                  </a:lnTo>
                  <a:lnTo>
                    <a:pt x="2352" y="1032"/>
                  </a:lnTo>
                  <a:lnTo>
                    <a:pt x="2346" y="1020"/>
                  </a:lnTo>
                  <a:lnTo>
                    <a:pt x="2328" y="1032"/>
                  </a:lnTo>
                  <a:lnTo>
                    <a:pt x="2316" y="1038"/>
                  </a:lnTo>
                  <a:lnTo>
                    <a:pt x="2328" y="1044"/>
                  </a:lnTo>
                  <a:lnTo>
                    <a:pt x="2340" y="1056"/>
                  </a:lnTo>
                  <a:lnTo>
                    <a:pt x="2376" y="1062"/>
                  </a:lnTo>
                  <a:lnTo>
                    <a:pt x="2376" y="1068"/>
                  </a:lnTo>
                  <a:lnTo>
                    <a:pt x="2382" y="1086"/>
                  </a:lnTo>
                  <a:lnTo>
                    <a:pt x="2376" y="1086"/>
                  </a:lnTo>
                  <a:lnTo>
                    <a:pt x="2370" y="1086"/>
                  </a:lnTo>
                  <a:lnTo>
                    <a:pt x="2364" y="1086"/>
                  </a:lnTo>
                  <a:lnTo>
                    <a:pt x="2364" y="1098"/>
                  </a:lnTo>
                  <a:lnTo>
                    <a:pt x="2388" y="1104"/>
                  </a:lnTo>
                  <a:lnTo>
                    <a:pt x="2400" y="1122"/>
                  </a:lnTo>
                  <a:lnTo>
                    <a:pt x="2400" y="1134"/>
                  </a:lnTo>
                  <a:lnTo>
                    <a:pt x="2400" y="1146"/>
                  </a:lnTo>
                  <a:lnTo>
                    <a:pt x="2394" y="1146"/>
                  </a:lnTo>
                  <a:lnTo>
                    <a:pt x="2394" y="1152"/>
                  </a:lnTo>
                  <a:lnTo>
                    <a:pt x="2388" y="1152"/>
                  </a:lnTo>
                  <a:lnTo>
                    <a:pt x="2388" y="1146"/>
                  </a:lnTo>
                  <a:lnTo>
                    <a:pt x="2382" y="1152"/>
                  </a:lnTo>
                  <a:lnTo>
                    <a:pt x="2376" y="1152"/>
                  </a:lnTo>
                  <a:lnTo>
                    <a:pt x="2370" y="1158"/>
                  </a:lnTo>
                  <a:lnTo>
                    <a:pt x="2370" y="1164"/>
                  </a:lnTo>
                  <a:lnTo>
                    <a:pt x="2364" y="1170"/>
                  </a:lnTo>
                  <a:lnTo>
                    <a:pt x="2370" y="1170"/>
                  </a:lnTo>
                  <a:lnTo>
                    <a:pt x="2376" y="1170"/>
                  </a:lnTo>
                  <a:lnTo>
                    <a:pt x="2370" y="1176"/>
                  </a:lnTo>
                  <a:lnTo>
                    <a:pt x="2364" y="1176"/>
                  </a:lnTo>
                  <a:lnTo>
                    <a:pt x="2358" y="1182"/>
                  </a:lnTo>
                  <a:lnTo>
                    <a:pt x="2352" y="1182"/>
                  </a:lnTo>
                  <a:lnTo>
                    <a:pt x="2346" y="1188"/>
                  </a:lnTo>
                  <a:lnTo>
                    <a:pt x="2340" y="1182"/>
                  </a:lnTo>
                  <a:lnTo>
                    <a:pt x="2334" y="1182"/>
                  </a:lnTo>
                  <a:lnTo>
                    <a:pt x="2334" y="1188"/>
                  </a:lnTo>
                  <a:lnTo>
                    <a:pt x="2328" y="1194"/>
                  </a:lnTo>
                  <a:lnTo>
                    <a:pt x="2328" y="1200"/>
                  </a:lnTo>
                  <a:lnTo>
                    <a:pt x="2322" y="1224"/>
                  </a:lnTo>
                  <a:lnTo>
                    <a:pt x="2328" y="1230"/>
                  </a:lnTo>
                  <a:lnTo>
                    <a:pt x="2358" y="1230"/>
                  </a:lnTo>
                  <a:lnTo>
                    <a:pt x="2358" y="1242"/>
                  </a:lnTo>
                  <a:lnTo>
                    <a:pt x="2358" y="1254"/>
                  </a:lnTo>
                  <a:lnTo>
                    <a:pt x="2346" y="1254"/>
                  </a:lnTo>
                  <a:lnTo>
                    <a:pt x="2346" y="1278"/>
                  </a:lnTo>
                  <a:lnTo>
                    <a:pt x="2358" y="1278"/>
                  </a:lnTo>
                  <a:lnTo>
                    <a:pt x="2358" y="1284"/>
                  </a:lnTo>
                  <a:lnTo>
                    <a:pt x="2376" y="1284"/>
                  </a:lnTo>
                  <a:lnTo>
                    <a:pt x="2388" y="1278"/>
                  </a:lnTo>
                  <a:lnTo>
                    <a:pt x="2406" y="1278"/>
                  </a:lnTo>
                  <a:lnTo>
                    <a:pt x="2430" y="1284"/>
                  </a:lnTo>
                  <a:lnTo>
                    <a:pt x="2430" y="1302"/>
                  </a:lnTo>
                  <a:lnTo>
                    <a:pt x="2430" y="1314"/>
                  </a:lnTo>
                  <a:lnTo>
                    <a:pt x="2424" y="1326"/>
                  </a:lnTo>
                  <a:lnTo>
                    <a:pt x="2412" y="1326"/>
                  </a:lnTo>
                  <a:lnTo>
                    <a:pt x="2412" y="1344"/>
                  </a:lnTo>
                  <a:lnTo>
                    <a:pt x="2406" y="1344"/>
                  </a:lnTo>
                  <a:lnTo>
                    <a:pt x="2400" y="1362"/>
                  </a:lnTo>
                  <a:lnTo>
                    <a:pt x="2394" y="1368"/>
                  </a:lnTo>
                  <a:lnTo>
                    <a:pt x="2388" y="1374"/>
                  </a:lnTo>
                  <a:lnTo>
                    <a:pt x="2382" y="1380"/>
                  </a:lnTo>
                  <a:lnTo>
                    <a:pt x="2376" y="1386"/>
                  </a:lnTo>
                  <a:lnTo>
                    <a:pt x="2376" y="1392"/>
                  </a:lnTo>
                  <a:lnTo>
                    <a:pt x="2370" y="1404"/>
                  </a:lnTo>
                  <a:lnTo>
                    <a:pt x="2364" y="1416"/>
                  </a:lnTo>
                  <a:lnTo>
                    <a:pt x="2346" y="1434"/>
                  </a:lnTo>
                  <a:lnTo>
                    <a:pt x="2328" y="1440"/>
                  </a:lnTo>
                  <a:lnTo>
                    <a:pt x="2328" y="1446"/>
                  </a:lnTo>
                  <a:lnTo>
                    <a:pt x="2322" y="1452"/>
                  </a:lnTo>
                  <a:lnTo>
                    <a:pt x="2316" y="1452"/>
                  </a:lnTo>
                  <a:lnTo>
                    <a:pt x="2304" y="1446"/>
                  </a:lnTo>
                  <a:lnTo>
                    <a:pt x="2298" y="1446"/>
                  </a:lnTo>
                  <a:lnTo>
                    <a:pt x="2298" y="1434"/>
                  </a:lnTo>
                  <a:lnTo>
                    <a:pt x="2292" y="1434"/>
                  </a:lnTo>
                  <a:lnTo>
                    <a:pt x="2286" y="1428"/>
                  </a:lnTo>
                  <a:lnTo>
                    <a:pt x="2274" y="1416"/>
                  </a:lnTo>
                  <a:lnTo>
                    <a:pt x="2256" y="1404"/>
                  </a:lnTo>
                  <a:lnTo>
                    <a:pt x="2244" y="1386"/>
                  </a:lnTo>
                  <a:lnTo>
                    <a:pt x="2220" y="1368"/>
                  </a:lnTo>
                  <a:lnTo>
                    <a:pt x="2208" y="1362"/>
                  </a:lnTo>
                  <a:lnTo>
                    <a:pt x="2202" y="1350"/>
                  </a:lnTo>
                  <a:lnTo>
                    <a:pt x="2196" y="1350"/>
                  </a:lnTo>
                  <a:lnTo>
                    <a:pt x="2190" y="1356"/>
                  </a:lnTo>
                  <a:lnTo>
                    <a:pt x="2184" y="1356"/>
                  </a:lnTo>
                  <a:lnTo>
                    <a:pt x="2094" y="1350"/>
                  </a:lnTo>
                  <a:lnTo>
                    <a:pt x="2058" y="1350"/>
                  </a:lnTo>
                  <a:lnTo>
                    <a:pt x="2034" y="1890"/>
                  </a:lnTo>
                  <a:lnTo>
                    <a:pt x="2064" y="1890"/>
                  </a:lnTo>
                  <a:lnTo>
                    <a:pt x="2070" y="1896"/>
                  </a:lnTo>
                  <a:lnTo>
                    <a:pt x="2076" y="18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8" name="Freeform 33">
              <a:extLst>
                <a:ext uri="{FF2B5EF4-FFF2-40B4-BE49-F238E27FC236}">
                  <a16:creationId xmlns:a16="http://schemas.microsoft.com/office/drawing/2014/main" id="{0E96F118-1F4D-4E52-AF27-149259451CD6}"/>
                </a:ext>
              </a:extLst>
            </p:cNvPr>
            <p:cNvSpPr>
              <a:spLocks/>
            </p:cNvSpPr>
            <p:nvPr/>
          </p:nvSpPr>
          <p:spPr bwMode="gray">
            <a:xfrm>
              <a:off x="1266662" y="1459989"/>
              <a:ext cx="903421" cy="778302"/>
            </a:xfrm>
            <a:custGeom>
              <a:avLst/>
              <a:gdLst>
                <a:gd name="T0" fmla="*/ 143 w 1698"/>
                <a:gd name="T1" fmla="*/ 43 h 1464"/>
                <a:gd name="T2" fmla="*/ 131 w 1698"/>
                <a:gd name="T3" fmla="*/ 44 h 1464"/>
                <a:gd name="T4" fmla="*/ 126 w 1698"/>
                <a:gd name="T5" fmla="*/ 41 h 1464"/>
                <a:gd name="T6" fmla="*/ 119 w 1698"/>
                <a:gd name="T7" fmla="*/ 45 h 1464"/>
                <a:gd name="T8" fmla="*/ 111 w 1698"/>
                <a:gd name="T9" fmla="*/ 46 h 1464"/>
                <a:gd name="T10" fmla="*/ 107 w 1698"/>
                <a:gd name="T11" fmla="*/ 50 h 1464"/>
                <a:gd name="T12" fmla="*/ 107 w 1698"/>
                <a:gd name="T13" fmla="*/ 60 h 1464"/>
                <a:gd name="T14" fmla="*/ 104 w 1698"/>
                <a:gd name="T15" fmla="*/ 62 h 1464"/>
                <a:gd name="T16" fmla="*/ 97 w 1698"/>
                <a:gd name="T17" fmla="*/ 59 h 1464"/>
                <a:gd name="T18" fmla="*/ 92 w 1698"/>
                <a:gd name="T19" fmla="*/ 59 h 1464"/>
                <a:gd name="T20" fmla="*/ 90 w 1698"/>
                <a:gd name="T21" fmla="*/ 62 h 1464"/>
                <a:gd name="T22" fmla="*/ 93 w 1698"/>
                <a:gd name="T23" fmla="*/ 77 h 1464"/>
                <a:gd name="T24" fmla="*/ 85 w 1698"/>
                <a:gd name="T25" fmla="*/ 88 h 1464"/>
                <a:gd name="T26" fmla="*/ 70 w 1698"/>
                <a:gd name="T27" fmla="*/ 89 h 1464"/>
                <a:gd name="T28" fmla="*/ 65 w 1698"/>
                <a:gd name="T29" fmla="*/ 88 h 1464"/>
                <a:gd name="T30" fmla="*/ 50 w 1698"/>
                <a:gd name="T31" fmla="*/ 88 h 1464"/>
                <a:gd name="T32" fmla="*/ 48 w 1698"/>
                <a:gd name="T33" fmla="*/ 107 h 1464"/>
                <a:gd name="T34" fmla="*/ 47 w 1698"/>
                <a:gd name="T35" fmla="*/ 120 h 1464"/>
                <a:gd name="T36" fmla="*/ 43 w 1698"/>
                <a:gd name="T37" fmla="*/ 121 h 1464"/>
                <a:gd name="T38" fmla="*/ 40 w 1698"/>
                <a:gd name="T39" fmla="*/ 120 h 1464"/>
                <a:gd name="T40" fmla="*/ 35 w 1698"/>
                <a:gd name="T41" fmla="*/ 122 h 1464"/>
                <a:gd name="T42" fmla="*/ 29 w 1698"/>
                <a:gd name="T43" fmla="*/ 123 h 1464"/>
                <a:gd name="T44" fmla="*/ 24 w 1698"/>
                <a:gd name="T45" fmla="*/ 125 h 1464"/>
                <a:gd name="T46" fmla="*/ 20 w 1698"/>
                <a:gd name="T47" fmla="*/ 125 h 1464"/>
                <a:gd name="T48" fmla="*/ 18 w 1698"/>
                <a:gd name="T49" fmla="*/ 122 h 1464"/>
                <a:gd name="T50" fmla="*/ 26 w 1698"/>
                <a:gd name="T51" fmla="*/ 108 h 1464"/>
                <a:gd name="T52" fmla="*/ 24 w 1698"/>
                <a:gd name="T53" fmla="*/ 89 h 1464"/>
                <a:gd name="T54" fmla="*/ 28 w 1698"/>
                <a:gd name="T55" fmla="*/ 85 h 1464"/>
                <a:gd name="T56" fmla="*/ 32 w 1698"/>
                <a:gd name="T57" fmla="*/ 80 h 1464"/>
                <a:gd name="T58" fmla="*/ 36 w 1698"/>
                <a:gd name="T59" fmla="*/ 86 h 1464"/>
                <a:gd name="T60" fmla="*/ 39 w 1698"/>
                <a:gd name="T61" fmla="*/ 80 h 1464"/>
                <a:gd name="T62" fmla="*/ 41 w 1698"/>
                <a:gd name="T63" fmla="*/ 73 h 1464"/>
                <a:gd name="T64" fmla="*/ 38 w 1698"/>
                <a:gd name="T65" fmla="*/ 64 h 1464"/>
                <a:gd name="T66" fmla="*/ 39 w 1698"/>
                <a:gd name="T67" fmla="*/ 59 h 1464"/>
                <a:gd name="T68" fmla="*/ 32 w 1698"/>
                <a:gd name="T69" fmla="*/ 54 h 1464"/>
                <a:gd name="T70" fmla="*/ 32 w 1698"/>
                <a:gd name="T71" fmla="*/ 45 h 1464"/>
                <a:gd name="T72" fmla="*/ 31 w 1698"/>
                <a:gd name="T73" fmla="*/ 41 h 1464"/>
                <a:gd name="T74" fmla="*/ 24 w 1698"/>
                <a:gd name="T75" fmla="*/ 43 h 1464"/>
                <a:gd name="T76" fmla="*/ 17 w 1698"/>
                <a:gd name="T77" fmla="*/ 40 h 1464"/>
                <a:gd name="T78" fmla="*/ 11 w 1698"/>
                <a:gd name="T79" fmla="*/ 38 h 1464"/>
                <a:gd name="T80" fmla="*/ 2 w 1698"/>
                <a:gd name="T81" fmla="*/ 36 h 1464"/>
                <a:gd name="T82" fmla="*/ 0 w 1698"/>
                <a:gd name="T83" fmla="*/ 24 h 1464"/>
                <a:gd name="T84" fmla="*/ 11 w 1698"/>
                <a:gd name="T85" fmla="*/ 18 h 1464"/>
                <a:gd name="T86" fmla="*/ 19 w 1698"/>
                <a:gd name="T87" fmla="*/ 10 h 1464"/>
                <a:gd name="T88" fmla="*/ 28 w 1698"/>
                <a:gd name="T89" fmla="*/ 9 h 1464"/>
                <a:gd name="T90" fmla="*/ 40 w 1698"/>
                <a:gd name="T91" fmla="*/ 6 h 1464"/>
                <a:gd name="T92" fmla="*/ 49 w 1698"/>
                <a:gd name="T93" fmla="*/ 8 h 1464"/>
                <a:gd name="T94" fmla="*/ 56 w 1698"/>
                <a:gd name="T95" fmla="*/ 8 h 1464"/>
                <a:gd name="T96" fmla="*/ 64 w 1698"/>
                <a:gd name="T97" fmla="*/ 7 h 1464"/>
                <a:gd name="T98" fmla="*/ 74 w 1698"/>
                <a:gd name="T99" fmla="*/ 1 h 1464"/>
                <a:gd name="T100" fmla="*/ 83 w 1698"/>
                <a:gd name="T101" fmla="*/ 3 h 1464"/>
                <a:gd name="T102" fmla="*/ 99 w 1698"/>
                <a:gd name="T103" fmla="*/ 9 h 1464"/>
                <a:gd name="T104" fmla="*/ 112 w 1698"/>
                <a:gd name="T105" fmla="*/ 14 h 1464"/>
                <a:gd name="T106" fmla="*/ 119 w 1698"/>
                <a:gd name="T107" fmla="*/ 12 h 1464"/>
                <a:gd name="T108" fmla="*/ 128 w 1698"/>
                <a:gd name="T109" fmla="*/ 17 h 1464"/>
                <a:gd name="T110" fmla="*/ 141 w 1698"/>
                <a:gd name="T111" fmla="*/ 29 h 1464"/>
                <a:gd name="T112" fmla="*/ 145 w 1698"/>
                <a:gd name="T113" fmla="*/ 35 h 14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98"/>
                <a:gd name="T172" fmla="*/ 0 h 1464"/>
                <a:gd name="T173" fmla="*/ 1698 w 1698"/>
                <a:gd name="T174" fmla="*/ 1464 h 14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98" h="1464">
                  <a:moveTo>
                    <a:pt x="1698" y="462"/>
                  </a:moveTo>
                  <a:lnTo>
                    <a:pt x="1686" y="468"/>
                  </a:lnTo>
                  <a:lnTo>
                    <a:pt x="1680" y="474"/>
                  </a:lnTo>
                  <a:lnTo>
                    <a:pt x="1674" y="480"/>
                  </a:lnTo>
                  <a:lnTo>
                    <a:pt x="1668" y="480"/>
                  </a:lnTo>
                  <a:lnTo>
                    <a:pt x="1662" y="486"/>
                  </a:lnTo>
                  <a:lnTo>
                    <a:pt x="1656" y="492"/>
                  </a:lnTo>
                  <a:lnTo>
                    <a:pt x="1644" y="498"/>
                  </a:lnTo>
                  <a:lnTo>
                    <a:pt x="1626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0" y="516"/>
                  </a:lnTo>
                  <a:lnTo>
                    <a:pt x="1590" y="522"/>
                  </a:lnTo>
                  <a:lnTo>
                    <a:pt x="1566" y="522"/>
                  </a:lnTo>
                  <a:lnTo>
                    <a:pt x="1506" y="510"/>
                  </a:lnTo>
                  <a:lnTo>
                    <a:pt x="1500" y="510"/>
                  </a:lnTo>
                  <a:lnTo>
                    <a:pt x="1488" y="504"/>
                  </a:lnTo>
                  <a:lnTo>
                    <a:pt x="1482" y="498"/>
                  </a:lnTo>
                  <a:lnTo>
                    <a:pt x="1476" y="498"/>
                  </a:lnTo>
                  <a:lnTo>
                    <a:pt x="1476" y="492"/>
                  </a:lnTo>
                  <a:lnTo>
                    <a:pt x="1470" y="492"/>
                  </a:lnTo>
                  <a:lnTo>
                    <a:pt x="1464" y="486"/>
                  </a:lnTo>
                  <a:lnTo>
                    <a:pt x="1452" y="486"/>
                  </a:lnTo>
                  <a:lnTo>
                    <a:pt x="1446" y="474"/>
                  </a:lnTo>
                  <a:lnTo>
                    <a:pt x="1434" y="468"/>
                  </a:lnTo>
                  <a:lnTo>
                    <a:pt x="1416" y="468"/>
                  </a:lnTo>
                  <a:lnTo>
                    <a:pt x="1392" y="468"/>
                  </a:lnTo>
                  <a:lnTo>
                    <a:pt x="1374" y="474"/>
                  </a:lnTo>
                  <a:lnTo>
                    <a:pt x="1368" y="474"/>
                  </a:lnTo>
                  <a:lnTo>
                    <a:pt x="1368" y="486"/>
                  </a:lnTo>
                  <a:lnTo>
                    <a:pt x="1368" y="498"/>
                  </a:lnTo>
                  <a:lnTo>
                    <a:pt x="1368" y="522"/>
                  </a:lnTo>
                  <a:lnTo>
                    <a:pt x="1368" y="534"/>
                  </a:lnTo>
                  <a:lnTo>
                    <a:pt x="1362" y="546"/>
                  </a:lnTo>
                  <a:lnTo>
                    <a:pt x="1356" y="546"/>
                  </a:lnTo>
                  <a:lnTo>
                    <a:pt x="1344" y="540"/>
                  </a:lnTo>
                  <a:lnTo>
                    <a:pt x="1338" y="534"/>
                  </a:lnTo>
                  <a:lnTo>
                    <a:pt x="1308" y="522"/>
                  </a:lnTo>
                  <a:lnTo>
                    <a:pt x="1296" y="522"/>
                  </a:lnTo>
                  <a:lnTo>
                    <a:pt x="1278" y="528"/>
                  </a:lnTo>
                  <a:lnTo>
                    <a:pt x="1260" y="534"/>
                  </a:lnTo>
                  <a:lnTo>
                    <a:pt x="1242" y="546"/>
                  </a:lnTo>
                  <a:lnTo>
                    <a:pt x="1236" y="552"/>
                  </a:lnTo>
                  <a:lnTo>
                    <a:pt x="1224" y="558"/>
                  </a:lnTo>
                  <a:lnTo>
                    <a:pt x="1218" y="558"/>
                  </a:lnTo>
                  <a:lnTo>
                    <a:pt x="1218" y="564"/>
                  </a:lnTo>
                  <a:lnTo>
                    <a:pt x="1224" y="570"/>
                  </a:lnTo>
                  <a:lnTo>
                    <a:pt x="1224" y="582"/>
                  </a:lnTo>
                  <a:lnTo>
                    <a:pt x="1224" y="594"/>
                  </a:lnTo>
                  <a:lnTo>
                    <a:pt x="1212" y="618"/>
                  </a:lnTo>
                  <a:lnTo>
                    <a:pt x="1212" y="624"/>
                  </a:lnTo>
                  <a:lnTo>
                    <a:pt x="1212" y="630"/>
                  </a:lnTo>
                  <a:lnTo>
                    <a:pt x="1212" y="636"/>
                  </a:lnTo>
                  <a:lnTo>
                    <a:pt x="1218" y="654"/>
                  </a:lnTo>
                  <a:lnTo>
                    <a:pt x="1224" y="672"/>
                  </a:lnTo>
                  <a:lnTo>
                    <a:pt x="1230" y="696"/>
                  </a:lnTo>
                  <a:lnTo>
                    <a:pt x="1236" y="708"/>
                  </a:lnTo>
                  <a:lnTo>
                    <a:pt x="1236" y="714"/>
                  </a:lnTo>
                  <a:lnTo>
                    <a:pt x="1236" y="720"/>
                  </a:lnTo>
                  <a:lnTo>
                    <a:pt x="1218" y="726"/>
                  </a:lnTo>
                  <a:lnTo>
                    <a:pt x="1212" y="726"/>
                  </a:lnTo>
                  <a:lnTo>
                    <a:pt x="1206" y="726"/>
                  </a:lnTo>
                  <a:lnTo>
                    <a:pt x="1194" y="720"/>
                  </a:lnTo>
                  <a:lnTo>
                    <a:pt x="1194" y="714"/>
                  </a:lnTo>
                  <a:lnTo>
                    <a:pt x="1176" y="714"/>
                  </a:lnTo>
                  <a:lnTo>
                    <a:pt x="1164" y="708"/>
                  </a:lnTo>
                  <a:lnTo>
                    <a:pt x="1158" y="708"/>
                  </a:lnTo>
                  <a:lnTo>
                    <a:pt x="1140" y="702"/>
                  </a:lnTo>
                  <a:lnTo>
                    <a:pt x="1134" y="696"/>
                  </a:lnTo>
                  <a:lnTo>
                    <a:pt x="1128" y="690"/>
                  </a:lnTo>
                  <a:lnTo>
                    <a:pt x="1116" y="678"/>
                  </a:lnTo>
                  <a:lnTo>
                    <a:pt x="1110" y="678"/>
                  </a:lnTo>
                  <a:lnTo>
                    <a:pt x="1104" y="672"/>
                  </a:lnTo>
                  <a:lnTo>
                    <a:pt x="1092" y="672"/>
                  </a:lnTo>
                  <a:lnTo>
                    <a:pt x="1086" y="672"/>
                  </a:lnTo>
                  <a:lnTo>
                    <a:pt x="1080" y="672"/>
                  </a:lnTo>
                  <a:lnTo>
                    <a:pt x="1074" y="672"/>
                  </a:lnTo>
                  <a:lnTo>
                    <a:pt x="1068" y="672"/>
                  </a:lnTo>
                  <a:lnTo>
                    <a:pt x="1062" y="678"/>
                  </a:lnTo>
                  <a:lnTo>
                    <a:pt x="1056" y="678"/>
                  </a:lnTo>
                  <a:lnTo>
                    <a:pt x="1056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6"/>
                  </a:lnTo>
                  <a:lnTo>
                    <a:pt x="1032" y="708"/>
                  </a:lnTo>
                  <a:lnTo>
                    <a:pt x="1026" y="708"/>
                  </a:lnTo>
                  <a:lnTo>
                    <a:pt x="1032" y="714"/>
                  </a:lnTo>
                  <a:lnTo>
                    <a:pt x="1026" y="720"/>
                  </a:lnTo>
                  <a:lnTo>
                    <a:pt x="1020" y="720"/>
                  </a:lnTo>
                  <a:lnTo>
                    <a:pt x="1014" y="732"/>
                  </a:lnTo>
                  <a:lnTo>
                    <a:pt x="1014" y="744"/>
                  </a:lnTo>
                  <a:lnTo>
                    <a:pt x="1038" y="810"/>
                  </a:lnTo>
                  <a:lnTo>
                    <a:pt x="1050" y="834"/>
                  </a:lnTo>
                  <a:lnTo>
                    <a:pt x="1056" y="858"/>
                  </a:lnTo>
                  <a:lnTo>
                    <a:pt x="1062" y="876"/>
                  </a:lnTo>
                  <a:lnTo>
                    <a:pt x="1068" y="882"/>
                  </a:lnTo>
                  <a:lnTo>
                    <a:pt x="1062" y="972"/>
                  </a:lnTo>
                  <a:lnTo>
                    <a:pt x="1056" y="972"/>
                  </a:lnTo>
                  <a:lnTo>
                    <a:pt x="1050" y="996"/>
                  </a:lnTo>
                  <a:lnTo>
                    <a:pt x="1044" y="1014"/>
                  </a:lnTo>
                  <a:lnTo>
                    <a:pt x="1008" y="1014"/>
                  </a:lnTo>
                  <a:lnTo>
                    <a:pt x="1008" y="1008"/>
                  </a:lnTo>
                  <a:lnTo>
                    <a:pt x="990" y="1008"/>
                  </a:lnTo>
                  <a:lnTo>
                    <a:pt x="972" y="1014"/>
                  </a:lnTo>
                  <a:lnTo>
                    <a:pt x="948" y="1020"/>
                  </a:lnTo>
                  <a:lnTo>
                    <a:pt x="918" y="1026"/>
                  </a:lnTo>
                  <a:lnTo>
                    <a:pt x="840" y="1032"/>
                  </a:lnTo>
                  <a:lnTo>
                    <a:pt x="834" y="1032"/>
                  </a:lnTo>
                  <a:lnTo>
                    <a:pt x="834" y="1026"/>
                  </a:lnTo>
                  <a:lnTo>
                    <a:pt x="822" y="1026"/>
                  </a:lnTo>
                  <a:lnTo>
                    <a:pt x="816" y="1032"/>
                  </a:lnTo>
                  <a:lnTo>
                    <a:pt x="804" y="1032"/>
                  </a:lnTo>
                  <a:lnTo>
                    <a:pt x="798" y="1026"/>
                  </a:lnTo>
                  <a:lnTo>
                    <a:pt x="780" y="1026"/>
                  </a:lnTo>
                  <a:lnTo>
                    <a:pt x="762" y="1026"/>
                  </a:lnTo>
                  <a:lnTo>
                    <a:pt x="756" y="1026"/>
                  </a:lnTo>
                  <a:lnTo>
                    <a:pt x="750" y="1026"/>
                  </a:lnTo>
                  <a:lnTo>
                    <a:pt x="756" y="1020"/>
                  </a:lnTo>
                  <a:lnTo>
                    <a:pt x="750" y="1020"/>
                  </a:lnTo>
                  <a:lnTo>
                    <a:pt x="744" y="1014"/>
                  </a:lnTo>
                  <a:lnTo>
                    <a:pt x="684" y="1020"/>
                  </a:lnTo>
                  <a:lnTo>
                    <a:pt x="648" y="1020"/>
                  </a:lnTo>
                  <a:lnTo>
                    <a:pt x="630" y="1020"/>
                  </a:lnTo>
                  <a:lnTo>
                    <a:pt x="618" y="1020"/>
                  </a:lnTo>
                  <a:lnTo>
                    <a:pt x="606" y="1014"/>
                  </a:lnTo>
                  <a:lnTo>
                    <a:pt x="582" y="1014"/>
                  </a:lnTo>
                  <a:lnTo>
                    <a:pt x="576" y="1014"/>
                  </a:lnTo>
                  <a:lnTo>
                    <a:pt x="570" y="1014"/>
                  </a:lnTo>
                  <a:lnTo>
                    <a:pt x="564" y="1020"/>
                  </a:lnTo>
                  <a:lnTo>
                    <a:pt x="558" y="1026"/>
                  </a:lnTo>
                  <a:lnTo>
                    <a:pt x="552" y="1032"/>
                  </a:lnTo>
                  <a:lnTo>
                    <a:pt x="552" y="1038"/>
                  </a:lnTo>
                  <a:lnTo>
                    <a:pt x="558" y="1194"/>
                  </a:lnTo>
                  <a:lnTo>
                    <a:pt x="558" y="1206"/>
                  </a:lnTo>
                  <a:lnTo>
                    <a:pt x="552" y="1218"/>
                  </a:lnTo>
                  <a:lnTo>
                    <a:pt x="552" y="1236"/>
                  </a:lnTo>
                  <a:lnTo>
                    <a:pt x="546" y="1272"/>
                  </a:lnTo>
                  <a:lnTo>
                    <a:pt x="546" y="1308"/>
                  </a:lnTo>
                  <a:lnTo>
                    <a:pt x="540" y="1332"/>
                  </a:lnTo>
                  <a:lnTo>
                    <a:pt x="546" y="1356"/>
                  </a:lnTo>
                  <a:lnTo>
                    <a:pt x="546" y="1362"/>
                  </a:lnTo>
                  <a:lnTo>
                    <a:pt x="546" y="1374"/>
                  </a:lnTo>
                  <a:lnTo>
                    <a:pt x="546" y="1380"/>
                  </a:lnTo>
                  <a:lnTo>
                    <a:pt x="540" y="1380"/>
                  </a:lnTo>
                  <a:lnTo>
                    <a:pt x="522" y="1380"/>
                  </a:lnTo>
                  <a:lnTo>
                    <a:pt x="516" y="1380"/>
                  </a:lnTo>
                  <a:lnTo>
                    <a:pt x="516" y="1386"/>
                  </a:lnTo>
                  <a:lnTo>
                    <a:pt x="516" y="1392"/>
                  </a:lnTo>
                  <a:lnTo>
                    <a:pt x="510" y="1392"/>
                  </a:lnTo>
                  <a:lnTo>
                    <a:pt x="504" y="1386"/>
                  </a:lnTo>
                  <a:lnTo>
                    <a:pt x="498" y="1392"/>
                  </a:lnTo>
                  <a:lnTo>
                    <a:pt x="492" y="1398"/>
                  </a:lnTo>
                  <a:lnTo>
                    <a:pt x="486" y="1398"/>
                  </a:lnTo>
                  <a:lnTo>
                    <a:pt x="486" y="1392"/>
                  </a:lnTo>
                  <a:lnTo>
                    <a:pt x="486" y="1380"/>
                  </a:lnTo>
                  <a:lnTo>
                    <a:pt x="486" y="1374"/>
                  </a:lnTo>
                  <a:lnTo>
                    <a:pt x="480" y="1374"/>
                  </a:lnTo>
                  <a:lnTo>
                    <a:pt x="474" y="1374"/>
                  </a:lnTo>
                  <a:lnTo>
                    <a:pt x="468" y="1380"/>
                  </a:lnTo>
                  <a:lnTo>
                    <a:pt x="462" y="1380"/>
                  </a:lnTo>
                  <a:lnTo>
                    <a:pt x="456" y="1380"/>
                  </a:lnTo>
                  <a:lnTo>
                    <a:pt x="450" y="1386"/>
                  </a:lnTo>
                  <a:lnTo>
                    <a:pt x="444" y="1386"/>
                  </a:lnTo>
                  <a:lnTo>
                    <a:pt x="444" y="1392"/>
                  </a:lnTo>
                  <a:lnTo>
                    <a:pt x="432" y="1398"/>
                  </a:lnTo>
                  <a:lnTo>
                    <a:pt x="426" y="1404"/>
                  </a:lnTo>
                  <a:lnTo>
                    <a:pt x="420" y="1404"/>
                  </a:lnTo>
                  <a:lnTo>
                    <a:pt x="408" y="1404"/>
                  </a:lnTo>
                  <a:lnTo>
                    <a:pt x="378" y="1410"/>
                  </a:lnTo>
                  <a:lnTo>
                    <a:pt x="372" y="1410"/>
                  </a:lnTo>
                  <a:lnTo>
                    <a:pt x="360" y="1410"/>
                  </a:lnTo>
                  <a:lnTo>
                    <a:pt x="354" y="1416"/>
                  </a:lnTo>
                  <a:lnTo>
                    <a:pt x="348" y="1416"/>
                  </a:lnTo>
                  <a:lnTo>
                    <a:pt x="342" y="1410"/>
                  </a:lnTo>
                  <a:lnTo>
                    <a:pt x="336" y="1410"/>
                  </a:lnTo>
                  <a:lnTo>
                    <a:pt x="336" y="1416"/>
                  </a:lnTo>
                  <a:lnTo>
                    <a:pt x="330" y="1422"/>
                  </a:lnTo>
                  <a:lnTo>
                    <a:pt x="324" y="1422"/>
                  </a:lnTo>
                  <a:lnTo>
                    <a:pt x="318" y="1422"/>
                  </a:lnTo>
                  <a:lnTo>
                    <a:pt x="312" y="1428"/>
                  </a:lnTo>
                  <a:lnTo>
                    <a:pt x="312" y="1434"/>
                  </a:lnTo>
                  <a:lnTo>
                    <a:pt x="300" y="1428"/>
                  </a:lnTo>
                  <a:lnTo>
                    <a:pt x="288" y="1434"/>
                  </a:lnTo>
                  <a:lnTo>
                    <a:pt x="282" y="1440"/>
                  </a:lnTo>
                  <a:lnTo>
                    <a:pt x="282" y="1446"/>
                  </a:lnTo>
                  <a:lnTo>
                    <a:pt x="276" y="1446"/>
                  </a:lnTo>
                  <a:lnTo>
                    <a:pt x="276" y="1452"/>
                  </a:lnTo>
                  <a:lnTo>
                    <a:pt x="270" y="1452"/>
                  </a:lnTo>
                  <a:lnTo>
                    <a:pt x="258" y="1464"/>
                  </a:lnTo>
                  <a:lnTo>
                    <a:pt x="240" y="1458"/>
                  </a:lnTo>
                  <a:lnTo>
                    <a:pt x="234" y="1452"/>
                  </a:lnTo>
                  <a:lnTo>
                    <a:pt x="234" y="1446"/>
                  </a:lnTo>
                  <a:lnTo>
                    <a:pt x="228" y="1446"/>
                  </a:lnTo>
                  <a:lnTo>
                    <a:pt x="222" y="1440"/>
                  </a:lnTo>
                  <a:lnTo>
                    <a:pt x="216" y="1440"/>
                  </a:lnTo>
                  <a:lnTo>
                    <a:pt x="210" y="1428"/>
                  </a:lnTo>
                  <a:lnTo>
                    <a:pt x="210" y="1422"/>
                  </a:lnTo>
                  <a:lnTo>
                    <a:pt x="198" y="1416"/>
                  </a:lnTo>
                  <a:lnTo>
                    <a:pt x="204" y="1410"/>
                  </a:lnTo>
                  <a:lnTo>
                    <a:pt x="210" y="1404"/>
                  </a:lnTo>
                  <a:lnTo>
                    <a:pt x="210" y="1398"/>
                  </a:lnTo>
                  <a:lnTo>
                    <a:pt x="252" y="1368"/>
                  </a:lnTo>
                  <a:lnTo>
                    <a:pt x="276" y="1350"/>
                  </a:lnTo>
                  <a:lnTo>
                    <a:pt x="300" y="1338"/>
                  </a:lnTo>
                  <a:lnTo>
                    <a:pt x="294" y="1314"/>
                  </a:lnTo>
                  <a:lnTo>
                    <a:pt x="288" y="1308"/>
                  </a:lnTo>
                  <a:lnTo>
                    <a:pt x="300" y="1266"/>
                  </a:lnTo>
                  <a:lnTo>
                    <a:pt x="300" y="1242"/>
                  </a:lnTo>
                  <a:lnTo>
                    <a:pt x="300" y="1206"/>
                  </a:lnTo>
                  <a:lnTo>
                    <a:pt x="300" y="1164"/>
                  </a:lnTo>
                  <a:lnTo>
                    <a:pt x="294" y="1134"/>
                  </a:lnTo>
                  <a:lnTo>
                    <a:pt x="282" y="1086"/>
                  </a:lnTo>
                  <a:lnTo>
                    <a:pt x="276" y="1074"/>
                  </a:lnTo>
                  <a:lnTo>
                    <a:pt x="276" y="1056"/>
                  </a:lnTo>
                  <a:lnTo>
                    <a:pt x="270" y="1038"/>
                  </a:lnTo>
                  <a:lnTo>
                    <a:pt x="270" y="1020"/>
                  </a:lnTo>
                  <a:lnTo>
                    <a:pt x="282" y="1020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94" y="1002"/>
                  </a:lnTo>
                  <a:lnTo>
                    <a:pt x="306" y="996"/>
                  </a:lnTo>
                  <a:lnTo>
                    <a:pt x="312" y="990"/>
                  </a:lnTo>
                  <a:lnTo>
                    <a:pt x="318" y="990"/>
                  </a:lnTo>
                  <a:lnTo>
                    <a:pt x="324" y="984"/>
                  </a:lnTo>
                  <a:lnTo>
                    <a:pt x="324" y="978"/>
                  </a:lnTo>
                  <a:lnTo>
                    <a:pt x="324" y="972"/>
                  </a:lnTo>
                  <a:lnTo>
                    <a:pt x="324" y="954"/>
                  </a:lnTo>
                  <a:lnTo>
                    <a:pt x="336" y="948"/>
                  </a:lnTo>
                  <a:lnTo>
                    <a:pt x="342" y="936"/>
                  </a:lnTo>
                  <a:lnTo>
                    <a:pt x="348" y="924"/>
                  </a:lnTo>
                  <a:lnTo>
                    <a:pt x="354" y="924"/>
                  </a:lnTo>
                  <a:lnTo>
                    <a:pt x="372" y="924"/>
                  </a:lnTo>
                  <a:lnTo>
                    <a:pt x="372" y="930"/>
                  </a:lnTo>
                  <a:lnTo>
                    <a:pt x="378" y="930"/>
                  </a:lnTo>
                  <a:lnTo>
                    <a:pt x="378" y="936"/>
                  </a:lnTo>
                  <a:lnTo>
                    <a:pt x="384" y="936"/>
                  </a:lnTo>
                  <a:lnTo>
                    <a:pt x="384" y="942"/>
                  </a:lnTo>
                  <a:lnTo>
                    <a:pt x="402" y="942"/>
                  </a:lnTo>
                  <a:lnTo>
                    <a:pt x="402" y="996"/>
                  </a:lnTo>
                  <a:lnTo>
                    <a:pt x="414" y="996"/>
                  </a:lnTo>
                  <a:lnTo>
                    <a:pt x="420" y="996"/>
                  </a:lnTo>
                  <a:lnTo>
                    <a:pt x="426" y="996"/>
                  </a:lnTo>
                  <a:lnTo>
                    <a:pt x="432" y="996"/>
                  </a:lnTo>
                  <a:lnTo>
                    <a:pt x="438" y="996"/>
                  </a:lnTo>
                  <a:lnTo>
                    <a:pt x="438" y="942"/>
                  </a:lnTo>
                  <a:lnTo>
                    <a:pt x="444" y="930"/>
                  </a:lnTo>
                  <a:lnTo>
                    <a:pt x="444" y="924"/>
                  </a:lnTo>
                  <a:lnTo>
                    <a:pt x="444" y="918"/>
                  </a:lnTo>
                  <a:lnTo>
                    <a:pt x="462" y="918"/>
                  </a:lnTo>
                  <a:lnTo>
                    <a:pt x="474" y="906"/>
                  </a:lnTo>
                  <a:lnTo>
                    <a:pt x="480" y="900"/>
                  </a:lnTo>
                  <a:lnTo>
                    <a:pt x="486" y="888"/>
                  </a:lnTo>
                  <a:lnTo>
                    <a:pt x="492" y="876"/>
                  </a:lnTo>
                  <a:lnTo>
                    <a:pt x="492" y="858"/>
                  </a:lnTo>
                  <a:lnTo>
                    <a:pt x="480" y="858"/>
                  </a:lnTo>
                  <a:lnTo>
                    <a:pt x="474" y="840"/>
                  </a:lnTo>
                  <a:lnTo>
                    <a:pt x="450" y="834"/>
                  </a:lnTo>
                  <a:lnTo>
                    <a:pt x="438" y="816"/>
                  </a:lnTo>
                  <a:lnTo>
                    <a:pt x="432" y="792"/>
                  </a:lnTo>
                  <a:lnTo>
                    <a:pt x="432" y="786"/>
                  </a:lnTo>
                  <a:lnTo>
                    <a:pt x="432" y="774"/>
                  </a:lnTo>
                  <a:lnTo>
                    <a:pt x="432" y="762"/>
                  </a:lnTo>
                  <a:lnTo>
                    <a:pt x="438" y="750"/>
                  </a:lnTo>
                  <a:lnTo>
                    <a:pt x="438" y="738"/>
                  </a:lnTo>
                  <a:lnTo>
                    <a:pt x="444" y="732"/>
                  </a:lnTo>
                  <a:lnTo>
                    <a:pt x="450" y="732"/>
                  </a:lnTo>
                  <a:lnTo>
                    <a:pt x="456" y="732"/>
                  </a:lnTo>
                  <a:lnTo>
                    <a:pt x="456" y="726"/>
                  </a:lnTo>
                  <a:lnTo>
                    <a:pt x="456" y="714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44" y="684"/>
                  </a:lnTo>
                  <a:lnTo>
                    <a:pt x="438" y="666"/>
                  </a:lnTo>
                  <a:lnTo>
                    <a:pt x="426" y="666"/>
                  </a:lnTo>
                  <a:lnTo>
                    <a:pt x="432" y="666"/>
                  </a:lnTo>
                  <a:lnTo>
                    <a:pt x="420" y="666"/>
                  </a:lnTo>
                  <a:lnTo>
                    <a:pt x="414" y="660"/>
                  </a:lnTo>
                  <a:lnTo>
                    <a:pt x="396" y="654"/>
                  </a:lnTo>
                  <a:lnTo>
                    <a:pt x="384" y="642"/>
                  </a:lnTo>
                  <a:lnTo>
                    <a:pt x="366" y="624"/>
                  </a:lnTo>
                  <a:lnTo>
                    <a:pt x="354" y="606"/>
                  </a:lnTo>
                  <a:lnTo>
                    <a:pt x="342" y="588"/>
                  </a:lnTo>
                  <a:lnTo>
                    <a:pt x="342" y="582"/>
                  </a:lnTo>
                  <a:lnTo>
                    <a:pt x="360" y="564"/>
                  </a:lnTo>
                  <a:lnTo>
                    <a:pt x="372" y="540"/>
                  </a:lnTo>
                  <a:lnTo>
                    <a:pt x="366" y="528"/>
                  </a:lnTo>
                  <a:lnTo>
                    <a:pt x="366" y="522"/>
                  </a:lnTo>
                  <a:lnTo>
                    <a:pt x="372" y="516"/>
                  </a:lnTo>
                  <a:lnTo>
                    <a:pt x="384" y="504"/>
                  </a:lnTo>
                  <a:lnTo>
                    <a:pt x="378" y="492"/>
                  </a:lnTo>
                  <a:lnTo>
                    <a:pt x="378" y="486"/>
                  </a:lnTo>
                  <a:lnTo>
                    <a:pt x="378" y="480"/>
                  </a:lnTo>
                  <a:lnTo>
                    <a:pt x="378" y="474"/>
                  </a:lnTo>
                  <a:lnTo>
                    <a:pt x="378" y="468"/>
                  </a:lnTo>
                  <a:lnTo>
                    <a:pt x="366" y="468"/>
                  </a:lnTo>
                  <a:lnTo>
                    <a:pt x="360" y="474"/>
                  </a:lnTo>
                  <a:lnTo>
                    <a:pt x="354" y="480"/>
                  </a:lnTo>
                  <a:lnTo>
                    <a:pt x="348" y="486"/>
                  </a:lnTo>
                  <a:lnTo>
                    <a:pt x="348" y="492"/>
                  </a:lnTo>
                  <a:lnTo>
                    <a:pt x="336" y="510"/>
                  </a:lnTo>
                  <a:lnTo>
                    <a:pt x="300" y="516"/>
                  </a:lnTo>
                  <a:lnTo>
                    <a:pt x="300" y="510"/>
                  </a:lnTo>
                  <a:lnTo>
                    <a:pt x="282" y="504"/>
                  </a:lnTo>
                  <a:lnTo>
                    <a:pt x="282" y="498"/>
                  </a:lnTo>
                  <a:lnTo>
                    <a:pt x="264" y="486"/>
                  </a:lnTo>
                  <a:lnTo>
                    <a:pt x="258" y="492"/>
                  </a:lnTo>
                  <a:lnTo>
                    <a:pt x="234" y="492"/>
                  </a:lnTo>
                  <a:lnTo>
                    <a:pt x="222" y="486"/>
                  </a:lnTo>
                  <a:lnTo>
                    <a:pt x="204" y="480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92" y="462"/>
                  </a:lnTo>
                  <a:lnTo>
                    <a:pt x="186" y="462"/>
                  </a:lnTo>
                  <a:lnTo>
                    <a:pt x="180" y="468"/>
                  </a:lnTo>
                  <a:lnTo>
                    <a:pt x="150" y="450"/>
                  </a:lnTo>
                  <a:lnTo>
                    <a:pt x="144" y="438"/>
                  </a:lnTo>
                  <a:lnTo>
                    <a:pt x="138" y="438"/>
                  </a:lnTo>
                  <a:lnTo>
                    <a:pt x="132" y="432"/>
                  </a:lnTo>
                  <a:lnTo>
                    <a:pt x="126" y="432"/>
                  </a:lnTo>
                  <a:lnTo>
                    <a:pt x="120" y="432"/>
                  </a:lnTo>
                  <a:lnTo>
                    <a:pt x="102" y="426"/>
                  </a:lnTo>
                  <a:lnTo>
                    <a:pt x="96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2" y="414"/>
                  </a:lnTo>
                  <a:lnTo>
                    <a:pt x="60" y="414"/>
                  </a:lnTo>
                  <a:lnTo>
                    <a:pt x="30" y="414"/>
                  </a:lnTo>
                  <a:lnTo>
                    <a:pt x="24" y="414"/>
                  </a:lnTo>
                  <a:lnTo>
                    <a:pt x="12" y="414"/>
                  </a:lnTo>
                  <a:lnTo>
                    <a:pt x="0" y="420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0" y="336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30" y="270"/>
                  </a:lnTo>
                  <a:lnTo>
                    <a:pt x="42" y="270"/>
                  </a:lnTo>
                  <a:lnTo>
                    <a:pt x="54" y="264"/>
                  </a:lnTo>
                  <a:lnTo>
                    <a:pt x="78" y="240"/>
                  </a:lnTo>
                  <a:lnTo>
                    <a:pt x="102" y="216"/>
                  </a:lnTo>
                  <a:lnTo>
                    <a:pt x="114" y="210"/>
                  </a:lnTo>
                  <a:lnTo>
                    <a:pt x="120" y="204"/>
                  </a:lnTo>
                  <a:lnTo>
                    <a:pt x="126" y="198"/>
                  </a:lnTo>
                  <a:lnTo>
                    <a:pt x="138" y="18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38"/>
                  </a:lnTo>
                  <a:lnTo>
                    <a:pt x="210" y="126"/>
                  </a:lnTo>
                  <a:lnTo>
                    <a:pt x="216" y="120"/>
                  </a:lnTo>
                  <a:lnTo>
                    <a:pt x="222" y="120"/>
                  </a:lnTo>
                  <a:lnTo>
                    <a:pt x="258" y="114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300" y="102"/>
                  </a:lnTo>
                  <a:lnTo>
                    <a:pt x="312" y="102"/>
                  </a:lnTo>
                  <a:lnTo>
                    <a:pt x="318" y="102"/>
                  </a:lnTo>
                  <a:lnTo>
                    <a:pt x="348" y="96"/>
                  </a:lnTo>
                  <a:lnTo>
                    <a:pt x="366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408" y="84"/>
                  </a:lnTo>
                  <a:lnTo>
                    <a:pt x="420" y="84"/>
                  </a:lnTo>
                  <a:lnTo>
                    <a:pt x="462" y="72"/>
                  </a:lnTo>
                  <a:lnTo>
                    <a:pt x="474" y="72"/>
                  </a:lnTo>
                  <a:lnTo>
                    <a:pt x="474" y="78"/>
                  </a:lnTo>
                  <a:lnTo>
                    <a:pt x="492" y="90"/>
                  </a:lnTo>
                  <a:lnTo>
                    <a:pt x="498" y="90"/>
                  </a:lnTo>
                  <a:lnTo>
                    <a:pt x="522" y="96"/>
                  </a:lnTo>
                  <a:lnTo>
                    <a:pt x="540" y="96"/>
                  </a:lnTo>
                  <a:lnTo>
                    <a:pt x="546" y="96"/>
                  </a:lnTo>
                  <a:lnTo>
                    <a:pt x="558" y="96"/>
                  </a:lnTo>
                  <a:lnTo>
                    <a:pt x="564" y="96"/>
                  </a:lnTo>
                  <a:lnTo>
                    <a:pt x="576" y="96"/>
                  </a:lnTo>
                  <a:lnTo>
                    <a:pt x="588" y="96"/>
                  </a:lnTo>
                  <a:lnTo>
                    <a:pt x="612" y="90"/>
                  </a:lnTo>
                  <a:lnTo>
                    <a:pt x="624" y="90"/>
                  </a:lnTo>
                  <a:lnTo>
                    <a:pt x="636" y="90"/>
                  </a:lnTo>
                  <a:lnTo>
                    <a:pt x="642" y="90"/>
                  </a:lnTo>
                  <a:lnTo>
                    <a:pt x="648" y="96"/>
                  </a:lnTo>
                  <a:lnTo>
                    <a:pt x="660" y="96"/>
                  </a:lnTo>
                  <a:lnTo>
                    <a:pt x="666" y="96"/>
                  </a:lnTo>
                  <a:lnTo>
                    <a:pt x="672" y="96"/>
                  </a:lnTo>
                  <a:lnTo>
                    <a:pt x="684" y="96"/>
                  </a:lnTo>
                  <a:lnTo>
                    <a:pt x="708" y="96"/>
                  </a:lnTo>
                  <a:lnTo>
                    <a:pt x="714" y="96"/>
                  </a:lnTo>
                  <a:lnTo>
                    <a:pt x="726" y="96"/>
                  </a:lnTo>
                  <a:lnTo>
                    <a:pt x="738" y="84"/>
                  </a:lnTo>
                  <a:lnTo>
                    <a:pt x="744" y="78"/>
                  </a:lnTo>
                  <a:lnTo>
                    <a:pt x="756" y="66"/>
                  </a:lnTo>
                  <a:lnTo>
                    <a:pt x="774" y="42"/>
                  </a:lnTo>
                  <a:lnTo>
                    <a:pt x="780" y="30"/>
                  </a:lnTo>
                  <a:lnTo>
                    <a:pt x="816" y="24"/>
                  </a:lnTo>
                  <a:lnTo>
                    <a:pt x="840" y="18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64" y="6"/>
                  </a:lnTo>
                  <a:lnTo>
                    <a:pt x="870" y="6"/>
                  </a:lnTo>
                  <a:lnTo>
                    <a:pt x="894" y="0"/>
                  </a:lnTo>
                  <a:lnTo>
                    <a:pt x="900" y="6"/>
                  </a:lnTo>
                  <a:lnTo>
                    <a:pt x="930" y="18"/>
                  </a:lnTo>
                  <a:lnTo>
                    <a:pt x="942" y="24"/>
                  </a:lnTo>
                  <a:lnTo>
                    <a:pt x="954" y="30"/>
                  </a:lnTo>
                  <a:lnTo>
                    <a:pt x="1026" y="60"/>
                  </a:lnTo>
                  <a:lnTo>
                    <a:pt x="1032" y="60"/>
                  </a:lnTo>
                  <a:lnTo>
                    <a:pt x="1038" y="66"/>
                  </a:lnTo>
                  <a:lnTo>
                    <a:pt x="1068" y="72"/>
                  </a:lnTo>
                  <a:lnTo>
                    <a:pt x="1098" y="84"/>
                  </a:lnTo>
                  <a:lnTo>
                    <a:pt x="1122" y="90"/>
                  </a:lnTo>
                  <a:lnTo>
                    <a:pt x="1122" y="96"/>
                  </a:lnTo>
                  <a:lnTo>
                    <a:pt x="1140" y="102"/>
                  </a:lnTo>
                  <a:lnTo>
                    <a:pt x="1182" y="114"/>
                  </a:lnTo>
                  <a:lnTo>
                    <a:pt x="1188" y="114"/>
                  </a:lnTo>
                  <a:lnTo>
                    <a:pt x="1200" y="120"/>
                  </a:lnTo>
                  <a:lnTo>
                    <a:pt x="1212" y="126"/>
                  </a:lnTo>
                  <a:lnTo>
                    <a:pt x="1224" y="126"/>
                  </a:lnTo>
                  <a:lnTo>
                    <a:pt x="1248" y="138"/>
                  </a:lnTo>
                  <a:lnTo>
                    <a:pt x="1272" y="150"/>
                  </a:lnTo>
                  <a:lnTo>
                    <a:pt x="1284" y="156"/>
                  </a:lnTo>
                  <a:lnTo>
                    <a:pt x="1290" y="162"/>
                  </a:lnTo>
                  <a:lnTo>
                    <a:pt x="1296" y="162"/>
                  </a:lnTo>
                  <a:lnTo>
                    <a:pt x="1308" y="156"/>
                  </a:lnTo>
                  <a:lnTo>
                    <a:pt x="1320" y="150"/>
                  </a:lnTo>
                  <a:lnTo>
                    <a:pt x="1326" y="150"/>
                  </a:lnTo>
                  <a:lnTo>
                    <a:pt x="1338" y="144"/>
                  </a:lnTo>
                  <a:lnTo>
                    <a:pt x="1362" y="144"/>
                  </a:lnTo>
                  <a:lnTo>
                    <a:pt x="1368" y="144"/>
                  </a:lnTo>
                  <a:lnTo>
                    <a:pt x="1374" y="144"/>
                  </a:lnTo>
                  <a:lnTo>
                    <a:pt x="1386" y="150"/>
                  </a:lnTo>
                  <a:lnTo>
                    <a:pt x="1392" y="150"/>
                  </a:lnTo>
                  <a:lnTo>
                    <a:pt x="1398" y="150"/>
                  </a:lnTo>
                  <a:lnTo>
                    <a:pt x="1416" y="162"/>
                  </a:lnTo>
                  <a:lnTo>
                    <a:pt x="1458" y="186"/>
                  </a:lnTo>
                  <a:lnTo>
                    <a:pt x="1464" y="186"/>
                  </a:lnTo>
                  <a:lnTo>
                    <a:pt x="1470" y="192"/>
                  </a:lnTo>
                  <a:lnTo>
                    <a:pt x="1482" y="204"/>
                  </a:lnTo>
                  <a:lnTo>
                    <a:pt x="1512" y="234"/>
                  </a:lnTo>
                  <a:lnTo>
                    <a:pt x="1554" y="276"/>
                  </a:lnTo>
                  <a:lnTo>
                    <a:pt x="1560" y="276"/>
                  </a:lnTo>
                  <a:lnTo>
                    <a:pt x="1566" y="282"/>
                  </a:lnTo>
                  <a:lnTo>
                    <a:pt x="1578" y="294"/>
                  </a:lnTo>
                  <a:lnTo>
                    <a:pt x="1602" y="318"/>
                  </a:lnTo>
                  <a:lnTo>
                    <a:pt x="1614" y="330"/>
                  </a:lnTo>
                  <a:lnTo>
                    <a:pt x="1620" y="336"/>
                  </a:lnTo>
                  <a:lnTo>
                    <a:pt x="1626" y="342"/>
                  </a:lnTo>
                  <a:lnTo>
                    <a:pt x="1632" y="354"/>
                  </a:lnTo>
                  <a:lnTo>
                    <a:pt x="1644" y="366"/>
                  </a:lnTo>
                  <a:lnTo>
                    <a:pt x="1650" y="378"/>
                  </a:lnTo>
                  <a:lnTo>
                    <a:pt x="1650" y="384"/>
                  </a:lnTo>
                  <a:lnTo>
                    <a:pt x="1656" y="384"/>
                  </a:lnTo>
                  <a:lnTo>
                    <a:pt x="1662" y="402"/>
                  </a:lnTo>
                  <a:lnTo>
                    <a:pt x="1668" y="408"/>
                  </a:lnTo>
                  <a:lnTo>
                    <a:pt x="1674" y="426"/>
                  </a:lnTo>
                  <a:lnTo>
                    <a:pt x="1686" y="438"/>
                  </a:lnTo>
                  <a:lnTo>
                    <a:pt x="1698" y="46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9" name="Freeform 34">
              <a:extLst>
                <a:ext uri="{FF2B5EF4-FFF2-40B4-BE49-F238E27FC236}">
                  <a16:creationId xmlns:a16="http://schemas.microsoft.com/office/drawing/2014/main" id="{94603F24-8CF7-4226-A433-00D18CA7D9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1988" y="1681402"/>
              <a:ext cx="869877" cy="1060101"/>
            </a:xfrm>
            <a:custGeom>
              <a:avLst/>
              <a:gdLst>
                <a:gd name="T0" fmla="*/ 4 w 1638"/>
                <a:gd name="T1" fmla="*/ 111 h 1998"/>
                <a:gd name="T2" fmla="*/ 6 w 1638"/>
                <a:gd name="T3" fmla="*/ 87 h 1998"/>
                <a:gd name="T4" fmla="*/ 10 w 1638"/>
                <a:gd name="T5" fmla="*/ 80 h 1998"/>
                <a:gd name="T6" fmla="*/ 10 w 1638"/>
                <a:gd name="T7" fmla="*/ 71 h 1998"/>
                <a:gd name="T8" fmla="*/ 9 w 1638"/>
                <a:gd name="T9" fmla="*/ 56 h 1998"/>
                <a:gd name="T10" fmla="*/ 8 w 1638"/>
                <a:gd name="T11" fmla="*/ 40 h 1998"/>
                <a:gd name="T12" fmla="*/ 20 w 1638"/>
                <a:gd name="T13" fmla="*/ 30 h 1998"/>
                <a:gd name="T14" fmla="*/ 30 w 1638"/>
                <a:gd name="T15" fmla="*/ 19 h 1998"/>
                <a:gd name="T16" fmla="*/ 35 w 1638"/>
                <a:gd name="T17" fmla="*/ 2 h 1998"/>
                <a:gd name="T18" fmla="*/ 47 w 1638"/>
                <a:gd name="T19" fmla="*/ 2 h 1998"/>
                <a:gd name="T20" fmla="*/ 56 w 1638"/>
                <a:gd name="T21" fmla="*/ 7 h 1998"/>
                <a:gd name="T22" fmla="*/ 67 w 1638"/>
                <a:gd name="T23" fmla="*/ 5 h 1998"/>
                <a:gd name="T24" fmla="*/ 65 w 1638"/>
                <a:gd name="T25" fmla="*/ 15 h 1998"/>
                <a:gd name="T26" fmla="*/ 74 w 1638"/>
                <a:gd name="T27" fmla="*/ 24 h 1998"/>
                <a:gd name="T28" fmla="*/ 73 w 1638"/>
                <a:gd name="T29" fmla="*/ 33 h 1998"/>
                <a:gd name="T30" fmla="*/ 74 w 1638"/>
                <a:gd name="T31" fmla="*/ 44 h 1998"/>
                <a:gd name="T32" fmla="*/ 68 w 1638"/>
                <a:gd name="T33" fmla="*/ 45 h 1998"/>
                <a:gd name="T34" fmla="*/ 63 w 1638"/>
                <a:gd name="T35" fmla="*/ 50 h 1998"/>
                <a:gd name="T36" fmla="*/ 61 w 1638"/>
                <a:gd name="T37" fmla="*/ 62 h 1998"/>
                <a:gd name="T38" fmla="*/ 53 w 1638"/>
                <a:gd name="T39" fmla="*/ 86 h 1998"/>
                <a:gd name="T40" fmla="*/ 59 w 1638"/>
                <a:gd name="T41" fmla="*/ 90 h 1998"/>
                <a:gd name="T42" fmla="*/ 65 w 1638"/>
                <a:gd name="T43" fmla="*/ 86 h 1998"/>
                <a:gd name="T44" fmla="*/ 74 w 1638"/>
                <a:gd name="T45" fmla="*/ 84 h 1998"/>
                <a:gd name="T46" fmla="*/ 79 w 1638"/>
                <a:gd name="T47" fmla="*/ 85 h 1998"/>
                <a:gd name="T48" fmla="*/ 84 w 1638"/>
                <a:gd name="T49" fmla="*/ 84 h 1998"/>
                <a:gd name="T50" fmla="*/ 91 w 1638"/>
                <a:gd name="T51" fmla="*/ 84 h 1998"/>
                <a:gd name="T52" fmla="*/ 94 w 1638"/>
                <a:gd name="T53" fmla="*/ 81 h 1998"/>
                <a:gd name="T54" fmla="*/ 100 w 1638"/>
                <a:gd name="T55" fmla="*/ 81 h 1998"/>
                <a:gd name="T56" fmla="*/ 102 w 1638"/>
                <a:gd name="T57" fmla="*/ 84 h 1998"/>
                <a:gd name="T58" fmla="*/ 108 w 1638"/>
                <a:gd name="T59" fmla="*/ 85 h 1998"/>
                <a:gd name="T60" fmla="*/ 113 w 1638"/>
                <a:gd name="T61" fmla="*/ 88 h 1998"/>
                <a:gd name="T62" fmla="*/ 116 w 1638"/>
                <a:gd name="T63" fmla="*/ 88 h 1998"/>
                <a:gd name="T64" fmla="*/ 123 w 1638"/>
                <a:gd name="T65" fmla="*/ 87 h 1998"/>
                <a:gd name="T66" fmla="*/ 128 w 1638"/>
                <a:gd name="T67" fmla="*/ 86 h 1998"/>
                <a:gd name="T68" fmla="*/ 132 w 1638"/>
                <a:gd name="T69" fmla="*/ 90 h 1998"/>
                <a:gd name="T70" fmla="*/ 138 w 1638"/>
                <a:gd name="T71" fmla="*/ 96 h 1998"/>
                <a:gd name="T72" fmla="*/ 138 w 1638"/>
                <a:gd name="T73" fmla="*/ 110 h 1998"/>
                <a:gd name="T74" fmla="*/ 137 w 1638"/>
                <a:gd name="T75" fmla="*/ 118 h 1998"/>
                <a:gd name="T76" fmla="*/ 133 w 1638"/>
                <a:gd name="T77" fmla="*/ 124 h 1998"/>
                <a:gd name="T78" fmla="*/ 122 w 1638"/>
                <a:gd name="T79" fmla="*/ 125 h 1998"/>
                <a:gd name="T80" fmla="*/ 116 w 1638"/>
                <a:gd name="T81" fmla="*/ 127 h 1998"/>
                <a:gd name="T82" fmla="*/ 108 w 1638"/>
                <a:gd name="T83" fmla="*/ 123 h 1998"/>
                <a:gd name="T84" fmla="*/ 109 w 1638"/>
                <a:gd name="T85" fmla="*/ 119 h 1998"/>
                <a:gd name="T86" fmla="*/ 104 w 1638"/>
                <a:gd name="T87" fmla="*/ 104 h 1998"/>
                <a:gd name="T88" fmla="*/ 94 w 1638"/>
                <a:gd name="T89" fmla="*/ 105 h 1998"/>
                <a:gd name="T90" fmla="*/ 88 w 1638"/>
                <a:gd name="T91" fmla="*/ 109 h 1998"/>
                <a:gd name="T92" fmla="*/ 76 w 1638"/>
                <a:gd name="T93" fmla="*/ 107 h 1998"/>
                <a:gd name="T94" fmla="*/ 72 w 1638"/>
                <a:gd name="T95" fmla="*/ 114 h 1998"/>
                <a:gd name="T96" fmla="*/ 86 w 1638"/>
                <a:gd name="T97" fmla="*/ 121 h 1998"/>
                <a:gd name="T98" fmla="*/ 87 w 1638"/>
                <a:gd name="T99" fmla="*/ 129 h 1998"/>
                <a:gd name="T100" fmla="*/ 86 w 1638"/>
                <a:gd name="T101" fmla="*/ 137 h 1998"/>
                <a:gd name="T102" fmla="*/ 79 w 1638"/>
                <a:gd name="T103" fmla="*/ 141 h 1998"/>
                <a:gd name="T104" fmla="*/ 73 w 1638"/>
                <a:gd name="T105" fmla="*/ 144 h 1998"/>
                <a:gd name="T106" fmla="*/ 72 w 1638"/>
                <a:gd name="T107" fmla="*/ 164 h 1998"/>
                <a:gd name="T108" fmla="*/ 68 w 1638"/>
                <a:gd name="T109" fmla="*/ 172 h 1998"/>
                <a:gd name="T110" fmla="*/ 59 w 1638"/>
                <a:gd name="T111" fmla="*/ 164 h 1998"/>
                <a:gd name="T112" fmla="*/ 65 w 1638"/>
                <a:gd name="T113" fmla="*/ 146 h 1998"/>
                <a:gd name="T114" fmla="*/ 69 w 1638"/>
                <a:gd name="T115" fmla="*/ 133 h 1998"/>
                <a:gd name="T116" fmla="*/ 61 w 1638"/>
                <a:gd name="T117" fmla="*/ 131 h 1998"/>
                <a:gd name="T118" fmla="*/ 43 w 1638"/>
                <a:gd name="T119" fmla="*/ 125 h 1998"/>
                <a:gd name="T120" fmla="*/ 23 w 1638"/>
                <a:gd name="T121" fmla="*/ 125 h 1998"/>
                <a:gd name="T122" fmla="*/ 17 w 1638"/>
                <a:gd name="T123" fmla="*/ 121 h 19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638"/>
                <a:gd name="T187" fmla="*/ 0 h 1998"/>
                <a:gd name="T188" fmla="*/ 1638 w 1638"/>
                <a:gd name="T189" fmla="*/ 1998 h 19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638" h="1998">
                  <a:moveTo>
                    <a:pt x="144" y="1380"/>
                  </a:moveTo>
                  <a:lnTo>
                    <a:pt x="150" y="1368"/>
                  </a:lnTo>
                  <a:lnTo>
                    <a:pt x="150" y="1362"/>
                  </a:lnTo>
                  <a:lnTo>
                    <a:pt x="150" y="1356"/>
                  </a:lnTo>
                  <a:lnTo>
                    <a:pt x="144" y="1356"/>
                  </a:lnTo>
                  <a:lnTo>
                    <a:pt x="138" y="1356"/>
                  </a:lnTo>
                  <a:lnTo>
                    <a:pt x="126" y="1356"/>
                  </a:lnTo>
                  <a:lnTo>
                    <a:pt x="114" y="1344"/>
                  </a:lnTo>
                  <a:lnTo>
                    <a:pt x="84" y="1320"/>
                  </a:lnTo>
                  <a:lnTo>
                    <a:pt x="54" y="1296"/>
                  </a:lnTo>
                  <a:lnTo>
                    <a:pt x="48" y="1290"/>
                  </a:lnTo>
                  <a:lnTo>
                    <a:pt x="42" y="1278"/>
                  </a:lnTo>
                  <a:lnTo>
                    <a:pt x="30" y="1272"/>
                  </a:lnTo>
                  <a:lnTo>
                    <a:pt x="0" y="1248"/>
                  </a:lnTo>
                  <a:lnTo>
                    <a:pt x="6" y="1230"/>
                  </a:lnTo>
                  <a:lnTo>
                    <a:pt x="12" y="1194"/>
                  </a:lnTo>
                  <a:lnTo>
                    <a:pt x="18" y="1170"/>
                  </a:lnTo>
                  <a:lnTo>
                    <a:pt x="30" y="1134"/>
                  </a:lnTo>
                  <a:lnTo>
                    <a:pt x="36" y="1086"/>
                  </a:lnTo>
                  <a:lnTo>
                    <a:pt x="42" y="1050"/>
                  </a:lnTo>
                  <a:lnTo>
                    <a:pt x="48" y="1044"/>
                  </a:lnTo>
                  <a:lnTo>
                    <a:pt x="54" y="1026"/>
                  </a:lnTo>
                  <a:lnTo>
                    <a:pt x="60" y="1014"/>
                  </a:lnTo>
                  <a:lnTo>
                    <a:pt x="66" y="1002"/>
                  </a:lnTo>
                  <a:lnTo>
                    <a:pt x="66" y="996"/>
                  </a:lnTo>
                  <a:lnTo>
                    <a:pt x="72" y="996"/>
                  </a:lnTo>
                  <a:lnTo>
                    <a:pt x="72" y="990"/>
                  </a:lnTo>
                  <a:lnTo>
                    <a:pt x="78" y="990"/>
                  </a:lnTo>
                  <a:lnTo>
                    <a:pt x="90" y="978"/>
                  </a:lnTo>
                  <a:lnTo>
                    <a:pt x="96" y="966"/>
                  </a:lnTo>
                  <a:lnTo>
                    <a:pt x="102" y="966"/>
                  </a:lnTo>
                  <a:lnTo>
                    <a:pt x="114" y="954"/>
                  </a:lnTo>
                  <a:lnTo>
                    <a:pt x="120" y="954"/>
                  </a:lnTo>
                  <a:lnTo>
                    <a:pt x="120" y="948"/>
                  </a:lnTo>
                  <a:lnTo>
                    <a:pt x="114" y="930"/>
                  </a:lnTo>
                  <a:lnTo>
                    <a:pt x="114" y="924"/>
                  </a:lnTo>
                  <a:lnTo>
                    <a:pt x="108" y="918"/>
                  </a:lnTo>
                  <a:lnTo>
                    <a:pt x="102" y="912"/>
                  </a:lnTo>
                  <a:lnTo>
                    <a:pt x="90" y="906"/>
                  </a:lnTo>
                  <a:lnTo>
                    <a:pt x="84" y="900"/>
                  </a:lnTo>
                  <a:lnTo>
                    <a:pt x="84" y="888"/>
                  </a:lnTo>
                  <a:lnTo>
                    <a:pt x="84" y="882"/>
                  </a:lnTo>
                  <a:lnTo>
                    <a:pt x="78" y="858"/>
                  </a:lnTo>
                  <a:lnTo>
                    <a:pt x="78" y="852"/>
                  </a:lnTo>
                  <a:lnTo>
                    <a:pt x="84" y="846"/>
                  </a:lnTo>
                  <a:lnTo>
                    <a:pt x="84" y="840"/>
                  </a:lnTo>
                  <a:lnTo>
                    <a:pt x="96" y="828"/>
                  </a:lnTo>
                  <a:lnTo>
                    <a:pt x="114" y="816"/>
                  </a:lnTo>
                  <a:lnTo>
                    <a:pt x="114" y="810"/>
                  </a:lnTo>
                  <a:lnTo>
                    <a:pt x="114" y="804"/>
                  </a:lnTo>
                  <a:lnTo>
                    <a:pt x="108" y="780"/>
                  </a:lnTo>
                  <a:lnTo>
                    <a:pt x="96" y="756"/>
                  </a:lnTo>
                  <a:lnTo>
                    <a:pt x="96" y="750"/>
                  </a:lnTo>
                  <a:lnTo>
                    <a:pt x="90" y="720"/>
                  </a:lnTo>
                  <a:lnTo>
                    <a:pt x="90" y="708"/>
                  </a:lnTo>
                  <a:lnTo>
                    <a:pt x="90" y="690"/>
                  </a:lnTo>
                  <a:lnTo>
                    <a:pt x="96" y="672"/>
                  </a:lnTo>
                  <a:lnTo>
                    <a:pt x="90" y="666"/>
                  </a:lnTo>
                  <a:lnTo>
                    <a:pt x="96" y="666"/>
                  </a:lnTo>
                  <a:lnTo>
                    <a:pt x="102" y="642"/>
                  </a:lnTo>
                  <a:lnTo>
                    <a:pt x="108" y="624"/>
                  </a:lnTo>
                  <a:lnTo>
                    <a:pt x="102" y="618"/>
                  </a:lnTo>
                  <a:lnTo>
                    <a:pt x="102" y="588"/>
                  </a:lnTo>
                  <a:lnTo>
                    <a:pt x="102" y="564"/>
                  </a:lnTo>
                  <a:lnTo>
                    <a:pt x="102" y="546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0"/>
                  </a:lnTo>
                  <a:lnTo>
                    <a:pt x="96" y="498"/>
                  </a:lnTo>
                  <a:lnTo>
                    <a:pt x="96" y="486"/>
                  </a:lnTo>
                  <a:lnTo>
                    <a:pt x="96" y="474"/>
                  </a:lnTo>
                  <a:lnTo>
                    <a:pt x="96" y="462"/>
                  </a:lnTo>
                  <a:lnTo>
                    <a:pt x="114" y="450"/>
                  </a:lnTo>
                  <a:lnTo>
                    <a:pt x="126" y="438"/>
                  </a:lnTo>
                  <a:lnTo>
                    <a:pt x="132" y="432"/>
                  </a:lnTo>
                  <a:lnTo>
                    <a:pt x="144" y="426"/>
                  </a:lnTo>
                  <a:lnTo>
                    <a:pt x="144" y="420"/>
                  </a:lnTo>
                  <a:lnTo>
                    <a:pt x="156" y="414"/>
                  </a:lnTo>
                  <a:lnTo>
                    <a:pt x="162" y="408"/>
                  </a:lnTo>
                  <a:lnTo>
                    <a:pt x="180" y="396"/>
                  </a:lnTo>
                  <a:lnTo>
                    <a:pt x="210" y="372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34" y="348"/>
                  </a:lnTo>
                  <a:lnTo>
                    <a:pt x="240" y="348"/>
                  </a:lnTo>
                  <a:lnTo>
                    <a:pt x="246" y="342"/>
                  </a:lnTo>
                  <a:lnTo>
                    <a:pt x="276" y="318"/>
                  </a:lnTo>
                  <a:lnTo>
                    <a:pt x="282" y="312"/>
                  </a:lnTo>
                  <a:lnTo>
                    <a:pt x="288" y="306"/>
                  </a:lnTo>
                  <a:lnTo>
                    <a:pt x="300" y="288"/>
                  </a:lnTo>
                  <a:lnTo>
                    <a:pt x="306" y="276"/>
                  </a:lnTo>
                  <a:lnTo>
                    <a:pt x="324" y="246"/>
                  </a:lnTo>
                  <a:lnTo>
                    <a:pt x="330" y="240"/>
                  </a:lnTo>
                  <a:lnTo>
                    <a:pt x="336" y="234"/>
                  </a:lnTo>
                  <a:lnTo>
                    <a:pt x="342" y="228"/>
                  </a:lnTo>
                  <a:lnTo>
                    <a:pt x="342" y="216"/>
                  </a:lnTo>
                  <a:lnTo>
                    <a:pt x="354" y="204"/>
                  </a:lnTo>
                  <a:lnTo>
                    <a:pt x="360" y="204"/>
                  </a:lnTo>
                  <a:lnTo>
                    <a:pt x="366" y="186"/>
                  </a:lnTo>
                  <a:lnTo>
                    <a:pt x="384" y="162"/>
                  </a:lnTo>
                  <a:lnTo>
                    <a:pt x="390" y="144"/>
                  </a:lnTo>
                  <a:lnTo>
                    <a:pt x="396" y="114"/>
                  </a:lnTo>
                  <a:lnTo>
                    <a:pt x="396" y="102"/>
                  </a:lnTo>
                  <a:lnTo>
                    <a:pt x="402" y="90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08" y="36"/>
                  </a:lnTo>
                  <a:lnTo>
                    <a:pt x="408" y="24"/>
                  </a:lnTo>
                  <a:lnTo>
                    <a:pt x="408" y="6"/>
                  </a:lnTo>
                  <a:lnTo>
                    <a:pt x="420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68" y="0"/>
                  </a:lnTo>
                  <a:lnTo>
                    <a:pt x="480" y="0"/>
                  </a:lnTo>
                  <a:lnTo>
                    <a:pt x="492" y="0"/>
                  </a:lnTo>
                  <a:lnTo>
                    <a:pt x="498" y="0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8" y="18"/>
                  </a:lnTo>
                  <a:lnTo>
                    <a:pt x="534" y="18"/>
                  </a:lnTo>
                  <a:lnTo>
                    <a:pt x="540" y="18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8" y="36"/>
                  </a:lnTo>
                  <a:lnTo>
                    <a:pt x="588" y="54"/>
                  </a:lnTo>
                  <a:lnTo>
                    <a:pt x="594" y="48"/>
                  </a:lnTo>
                  <a:lnTo>
                    <a:pt x="600" y="48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12" y="66"/>
                  </a:lnTo>
                  <a:lnTo>
                    <a:pt x="630" y="72"/>
                  </a:lnTo>
                  <a:lnTo>
                    <a:pt x="642" y="78"/>
                  </a:lnTo>
                  <a:lnTo>
                    <a:pt x="666" y="78"/>
                  </a:lnTo>
                  <a:lnTo>
                    <a:pt x="672" y="72"/>
                  </a:lnTo>
                  <a:lnTo>
                    <a:pt x="690" y="84"/>
                  </a:lnTo>
                  <a:lnTo>
                    <a:pt x="690" y="90"/>
                  </a:lnTo>
                  <a:lnTo>
                    <a:pt x="708" y="96"/>
                  </a:lnTo>
                  <a:lnTo>
                    <a:pt x="708" y="102"/>
                  </a:lnTo>
                  <a:lnTo>
                    <a:pt x="744" y="96"/>
                  </a:lnTo>
                  <a:lnTo>
                    <a:pt x="756" y="78"/>
                  </a:lnTo>
                  <a:lnTo>
                    <a:pt x="756" y="72"/>
                  </a:lnTo>
                  <a:lnTo>
                    <a:pt x="762" y="66"/>
                  </a:lnTo>
                  <a:lnTo>
                    <a:pt x="768" y="60"/>
                  </a:lnTo>
                  <a:lnTo>
                    <a:pt x="774" y="54"/>
                  </a:lnTo>
                  <a:lnTo>
                    <a:pt x="786" y="54"/>
                  </a:lnTo>
                  <a:lnTo>
                    <a:pt x="786" y="60"/>
                  </a:lnTo>
                  <a:lnTo>
                    <a:pt x="786" y="66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92" y="90"/>
                  </a:lnTo>
                  <a:lnTo>
                    <a:pt x="780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26"/>
                  </a:lnTo>
                  <a:lnTo>
                    <a:pt x="768" y="150"/>
                  </a:lnTo>
                  <a:lnTo>
                    <a:pt x="750" y="168"/>
                  </a:lnTo>
                  <a:lnTo>
                    <a:pt x="750" y="174"/>
                  </a:lnTo>
                  <a:lnTo>
                    <a:pt x="762" y="192"/>
                  </a:lnTo>
                  <a:lnTo>
                    <a:pt x="774" y="210"/>
                  </a:lnTo>
                  <a:lnTo>
                    <a:pt x="792" y="228"/>
                  </a:lnTo>
                  <a:lnTo>
                    <a:pt x="804" y="240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40" y="252"/>
                  </a:lnTo>
                  <a:lnTo>
                    <a:pt x="834" y="252"/>
                  </a:lnTo>
                  <a:lnTo>
                    <a:pt x="846" y="252"/>
                  </a:lnTo>
                  <a:lnTo>
                    <a:pt x="852" y="270"/>
                  </a:lnTo>
                  <a:lnTo>
                    <a:pt x="858" y="282"/>
                  </a:lnTo>
                  <a:lnTo>
                    <a:pt x="858" y="288"/>
                  </a:lnTo>
                  <a:lnTo>
                    <a:pt x="864" y="300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58" y="318"/>
                  </a:lnTo>
                  <a:lnTo>
                    <a:pt x="852" y="318"/>
                  </a:lnTo>
                  <a:lnTo>
                    <a:pt x="846" y="324"/>
                  </a:lnTo>
                  <a:lnTo>
                    <a:pt x="846" y="336"/>
                  </a:lnTo>
                  <a:lnTo>
                    <a:pt x="840" y="348"/>
                  </a:lnTo>
                  <a:lnTo>
                    <a:pt x="840" y="360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46" y="402"/>
                  </a:lnTo>
                  <a:lnTo>
                    <a:pt x="858" y="420"/>
                  </a:lnTo>
                  <a:lnTo>
                    <a:pt x="882" y="426"/>
                  </a:lnTo>
                  <a:lnTo>
                    <a:pt x="888" y="444"/>
                  </a:lnTo>
                  <a:lnTo>
                    <a:pt x="900" y="444"/>
                  </a:lnTo>
                  <a:lnTo>
                    <a:pt x="900" y="462"/>
                  </a:lnTo>
                  <a:lnTo>
                    <a:pt x="894" y="474"/>
                  </a:lnTo>
                  <a:lnTo>
                    <a:pt x="888" y="486"/>
                  </a:lnTo>
                  <a:lnTo>
                    <a:pt x="882" y="492"/>
                  </a:lnTo>
                  <a:lnTo>
                    <a:pt x="870" y="504"/>
                  </a:lnTo>
                  <a:lnTo>
                    <a:pt x="852" y="504"/>
                  </a:lnTo>
                  <a:lnTo>
                    <a:pt x="852" y="510"/>
                  </a:lnTo>
                  <a:lnTo>
                    <a:pt x="852" y="516"/>
                  </a:lnTo>
                  <a:lnTo>
                    <a:pt x="846" y="528"/>
                  </a:lnTo>
                  <a:lnTo>
                    <a:pt x="846" y="582"/>
                  </a:lnTo>
                  <a:lnTo>
                    <a:pt x="840" y="582"/>
                  </a:lnTo>
                  <a:lnTo>
                    <a:pt x="834" y="582"/>
                  </a:lnTo>
                  <a:lnTo>
                    <a:pt x="828" y="582"/>
                  </a:lnTo>
                  <a:lnTo>
                    <a:pt x="822" y="582"/>
                  </a:lnTo>
                  <a:lnTo>
                    <a:pt x="810" y="582"/>
                  </a:lnTo>
                  <a:lnTo>
                    <a:pt x="810" y="528"/>
                  </a:lnTo>
                  <a:lnTo>
                    <a:pt x="792" y="528"/>
                  </a:lnTo>
                  <a:lnTo>
                    <a:pt x="792" y="522"/>
                  </a:lnTo>
                  <a:lnTo>
                    <a:pt x="786" y="522"/>
                  </a:lnTo>
                  <a:lnTo>
                    <a:pt x="786" y="516"/>
                  </a:lnTo>
                  <a:lnTo>
                    <a:pt x="780" y="516"/>
                  </a:lnTo>
                  <a:lnTo>
                    <a:pt x="780" y="510"/>
                  </a:lnTo>
                  <a:lnTo>
                    <a:pt x="762" y="510"/>
                  </a:lnTo>
                  <a:lnTo>
                    <a:pt x="756" y="510"/>
                  </a:lnTo>
                  <a:lnTo>
                    <a:pt x="750" y="522"/>
                  </a:lnTo>
                  <a:lnTo>
                    <a:pt x="744" y="534"/>
                  </a:lnTo>
                  <a:lnTo>
                    <a:pt x="732" y="540"/>
                  </a:lnTo>
                  <a:lnTo>
                    <a:pt x="732" y="558"/>
                  </a:lnTo>
                  <a:lnTo>
                    <a:pt x="732" y="564"/>
                  </a:lnTo>
                  <a:lnTo>
                    <a:pt x="732" y="570"/>
                  </a:lnTo>
                  <a:lnTo>
                    <a:pt x="726" y="576"/>
                  </a:lnTo>
                  <a:lnTo>
                    <a:pt x="720" y="576"/>
                  </a:lnTo>
                  <a:lnTo>
                    <a:pt x="714" y="582"/>
                  </a:lnTo>
                  <a:lnTo>
                    <a:pt x="702" y="588"/>
                  </a:lnTo>
                  <a:lnTo>
                    <a:pt x="696" y="594"/>
                  </a:lnTo>
                  <a:lnTo>
                    <a:pt x="690" y="600"/>
                  </a:lnTo>
                  <a:lnTo>
                    <a:pt x="690" y="606"/>
                  </a:lnTo>
                  <a:lnTo>
                    <a:pt x="678" y="606"/>
                  </a:lnTo>
                  <a:lnTo>
                    <a:pt x="678" y="624"/>
                  </a:lnTo>
                  <a:lnTo>
                    <a:pt x="684" y="642"/>
                  </a:lnTo>
                  <a:lnTo>
                    <a:pt x="684" y="660"/>
                  </a:lnTo>
                  <a:lnTo>
                    <a:pt x="690" y="672"/>
                  </a:lnTo>
                  <a:lnTo>
                    <a:pt x="702" y="720"/>
                  </a:lnTo>
                  <a:lnTo>
                    <a:pt x="708" y="750"/>
                  </a:lnTo>
                  <a:lnTo>
                    <a:pt x="708" y="792"/>
                  </a:lnTo>
                  <a:lnTo>
                    <a:pt x="708" y="828"/>
                  </a:lnTo>
                  <a:lnTo>
                    <a:pt x="708" y="852"/>
                  </a:lnTo>
                  <a:lnTo>
                    <a:pt x="696" y="894"/>
                  </a:lnTo>
                  <a:lnTo>
                    <a:pt x="702" y="900"/>
                  </a:lnTo>
                  <a:lnTo>
                    <a:pt x="708" y="924"/>
                  </a:lnTo>
                  <a:lnTo>
                    <a:pt x="684" y="936"/>
                  </a:lnTo>
                  <a:lnTo>
                    <a:pt x="660" y="954"/>
                  </a:lnTo>
                  <a:lnTo>
                    <a:pt x="618" y="984"/>
                  </a:lnTo>
                  <a:lnTo>
                    <a:pt x="618" y="990"/>
                  </a:lnTo>
                  <a:lnTo>
                    <a:pt x="612" y="996"/>
                  </a:lnTo>
                  <a:lnTo>
                    <a:pt x="606" y="1002"/>
                  </a:lnTo>
                  <a:lnTo>
                    <a:pt x="618" y="1008"/>
                  </a:lnTo>
                  <a:lnTo>
                    <a:pt x="618" y="1014"/>
                  </a:lnTo>
                  <a:lnTo>
                    <a:pt x="624" y="1026"/>
                  </a:lnTo>
                  <a:lnTo>
                    <a:pt x="630" y="1026"/>
                  </a:lnTo>
                  <a:lnTo>
                    <a:pt x="636" y="1032"/>
                  </a:lnTo>
                  <a:lnTo>
                    <a:pt x="642" y="1032"/>
                  </a:lnTo>
                  <a:lnTo>
                    <a:pt x="642" y="1038"/>
                  </a:lnTo>
                  <a:lnTo>
                    <a:pt x="648" y="1044"/>
                  </a:lnTo>
                  <a:lnTo>
                    <a:pt x="666" y="1050"/>
                  </a:lnTo>
                  <a:lnTo>
                    <a:pt x="678" y="1038"/>
                  </a:lnTo>
                  <a:lnTo>
                    <a:pt x="684" y="1038"/>
                  </a:lnTo>
                  <a:lnTo>
                    <a:pt x="684" y="1032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20"/>
                  </a:lnTo>
                  <a:lnTo>
                    <a:pt x="708" y="1014"/>
                  </a:lnTo>
                  <a:lnTo>
                    <a:pt x="720" y="1020"/>
                  </a:lnTo>
                  <a:lnTo>
                    <a:pt x="720" y="1014"/>
                  </a:lnTo>
                  <a:lnTo>
                    <a:pt x="726" y="1008"/>
                  </a:lnTo>
                  <a:lnTo>
                    <a:pt x="732" y="1008"/>
                  </a:lnTo>
                  <a:lnTo>
                    <a:pt x="738" y="1008"/>
                  </a:lnTo>
                  <a:lnTo>
                    <a:pt x="744" y="1002"/>
                  </a:lnTo>
                  <a:lnTo>
                    <a:pt x="744" y="996"/>
                  </a:lnTo>
                  <a:lnTo>
                    <a:pt x="750" y="996"/>
                  </a:lnTo>
                  <a:lnTo>
                    <a:pt x="756" y="1002"/>
                  </a:lnTo>
                  <a:lnTo>
                    <a:pt x="762" y="1002"/>
                  </a:lnTo>
                  <a:lnTo>
                    <a:pt x="768" y="996"/>
                  </a:lnTo>
                  <a:lnTo>
                    <a:pt x="780" y="996"/>
                  </a:lnTo>
                  <a:lnTo>
                    <a:pt x="786" y="996"/>
                  </a:lnTo>
                  <a:lnTo>
                    <a:pt x="816" y="990"/>
                  </a:lnTo>
                  <a:lnTo>
                    <a:pt x="828" y="990"/>
                  </a:lnTo>
                  <a:lnTo>
                    <a:pt x="834" y="990"/>
                  </a:lnTo>
                  <a:lnTo>
                    <a:pt x="840" y="984"/>
                  </a:lnTo>
                  <a:lnTo>
                    <a:pt x="852" y="978"/>
                  </a:lnTo>
                  <a:lnTo>
                    <a:pt x="852" y="972"/>
                  </a:lnTo>
                  <a:lnTo>
                    <a:pt x="858" y="972"/>
                  </a:lnTo>
                  <a:lnTo>
                    <a:pt x="864" y="966"/>
                  </a:lnTo>
                  <a:lnTo>
                    <a:pt x="870" y="966"/>
                  </a:lnTo>
                  <a:lnTo>
                    <a:pt x="876" y="966"/>
                  </a:lnTo>
                  <a:lnTo>
                    <a:pt x="882" y="960"/>
                  </a:lnTo>
                  <a:lnTo>
                    <a:pt x="888" y="960"/>
                  </a:lnTo>
                  <a:lnTo>
                    <a:pt x="894" y="960"/>
                  </a:lnTo>
                  <a:lnTo>
                    <a:pt x="894" y="966"/>
                  </a:lnTo>
                  <a:lnTo>
                    <a:pt x="894" y="978"/>
                  </a:lnTo>
                  <a:lnTo>
                    <a:pt x="894" y="984"/>
                  </a:lnTo>
                  <a:lnTo>
                    <a:pt x="900" y="984"/>
                  </a:lnTo>
                  <a:lnTo>
                    <a:pt x="906" y="978"/>
                  </a:lnTo>
                  <a:lnTo>
                    <a:pt x="912" y="972"/>
                  </a:lnTo>
                  <a:lnTo>
                    <a:pt x="918" y="978"/>
                  </a:lnTo>
                  <a:lnTo>
                    <a:pt x="924" y="978"/>
                  </a:lnTo>
                  <a:lnTo>
                    <a:pt x="924" y="972"/>
                  </a:lnTo>
                  <a:lnTo>
                    <a:pt x="924" y="966"/>
                  </a:lnTo>
                  <a:lnTo>
                    <a:pt x="930" y="966"/>
                  </a:lnTo>
                  <a:lnTo>
                    <a:pt x="948" y="966"/>
                  </a:lnTo>
                  <a:lnTo>
                    <a:pt x="954" y="966"/>
                  </a:lnTo>
                  <a:lnTo>
                    <a:pt x="954" y="960"/>
                  </a:lnTo>
                  <a:lnTo>
                    <a:pt x="960" y="960"/>
                  </a:lnTo>
                  <a:lnTo>
                    <a:pt x="966" y="960"/>
                  </a:lnTo>
                  <a:lnTo>
                    <a:pt x="966" y="966"/>
                  </a:lnTo>
                  <a:lnTo>
                    <a:pt x="978" y="972"/>
                  </a:lnTo>
                  <a:lnTo>
                    <a:pt x="978" y="978"/>
                  </a:lnTo>
                  <a:lnTo>
                    <a:pt x="978" y="984"/>
                  </a:lnTo>
                  <a:lnTo>
                    <a:pt x="984" y="978"/>
                  </a:lnTo>
                  <a:lnTo>
                    <a:pt x="990" y="978"/>
                  </a:lnTo>
                  <a:lnTo>
                    <a:pt x="996" y="984"/>
                  </a:lnTo>
                  <a:lnTo>
                    <a:pt x="1002" y="990"/>
                  </a:lnTo>
                  <a:lnTo>
                    <a:pt x="1008" y="972"/>
                  </a:lnTo>
                  <a:lnTo>
                    <a:pt x="1026" y="972"/>
                  </a:lnTo>
                  <a:lnTo>
                    <a:pt x="1032" y="972"/>
                  </a:lnTo>
                  <a:lnTo>
                    <a:pt x="1038" y="972"/>
                  </a:lnTo>
                  <a:lnTo>
                    <a:pt x="1050" y="972"/>
                  </a:lnTo>
                  <a:lnTo>
                    <a:pt x="1056" y="972"/>
                  </a:lnTo>
                  <a:lnTo>
                    <a:pt x="1062" y="966"/>
                  </a:lnTo>
                  <a:lnTo>
                    <a:pt x="1074" y="966"/>
                  </a:lnTo>
                  <a:lnTo>
                    <a:pt x="1074" y="960"/>
                  </a:lnTo>
                  <a:lnTo>
                    <a:pt x="1080" y="954"/>
                  </a:lnTo>
                  <a:lnTo>
                    <a:pt x="1080" y="948"/>
                  </a:lnTo>
                  <a:lnTo>
                    <a:pt x="1074" y="948"/>
                  </a:lnTo>
                  <a:lnTo>
                    <a:pt x="1068" y="948"/>
                  </a:lnTo>
                  <a:lnTo>
                    <a:pt x="1062" y="942"/>
                  </a:lnTo>
                  <a:lnTo>
                    <a:pt x="1068" y="936"/>
                  </a:lnTo>
                  <a:lnTo>
                    <a:pt x="1074" y="936"/>
                  </a:lnTo>
                  <a:lnTo>
                    <a:pt x="1080" y="936"/>
                  </a:lnTo>
                  <a:lnTo>
                    <a:pt x="1086" y="942"/>
                  </a:lnTo>
                  <a:lnTo>
                    <a:pt x="1092" y="942"/>
                  </a:lnTo>
                  <a:lnTo>
                    <a:pt x="1098" y="948"/>
                  </a:lnTo>
                  <a:lnTo>
                    <a:pt x="1104" y="954"/>
                  </a:lnTo>
                  <a:lnTo>
                    <a:pt x="1110" y="954"/>
                  </a:lnTo>
                  <a:lnTo>
                    <a:pt x="1116" y="948"/>
                  </a:lnTo>
                  <a:lnTo>
                    <a:pt x="1122" y="942"/>
                  </a:lnTo>
                  <a:lnTo>
                    <a:pt x="1128" y="942"/>
                  </a:lnTo>
                  <a:lnTo>
                    <a:pt x="1134" y="942"/>
                  </a:lnTo>
                  <a:lnTo>
                    <a:pt x="1140" y="948"/>
                  </a:lnTo>
                  <a:lnTo>
                    <a:pt x="1146" y="942"/>
                  </a:lnTo>
                  <a:lnTo>
                    <a:pt x="1152" y="942"/>
                  </a:lnTo>
                  <a:lnTo>
                    <a:pt x="1152" y="930"/>
                  </a:lnTo>
                  <a:lnTo>
                    <a:pt x="1164" y="936"/>
                  </a:lnTo>
                  <a:lnTo>
                    <a:pt x="1158" y="942"/>
                  </a:lnTo>
                  <a:lnTo>
                    <a:pt x="1158" y="948"/>
                  </a:lnTo>
                  <a:lnTo>
                    <a:pt x="1146" y="954"/>
                  </a:lnTo>
                  <a:lnTo>
                    <a:pt x="1152" y="954"/>
                  </a:lnTo>
                  <a:lnTo>
                    <a:pt x="1158" y="954"/>
                  </a:lnTo>
                  <a:lnTo>
                    <a:pt x="1158" y="948"/>
                  </a:lnTo>
                  <a:lnTo>
                    <a:pt x="1164" y="948"/>
                  </a:lnTo>
                  <a:lnTo>
                    <a:pt x="1170" y="948"/>
                  </a:lnTo>
                  <a:lnTo>
                    <a:pt x="1176" y="954"/>
                  </a:lnTo>
                  <a:lnTo>
                    <a:pt x="1176" y="966"/>
                  </a:lnTo>
                  <a:lnTo>
                    <a:pt x="1182" y="972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88" y="984"/>
                  </a:lnTo>
                  <a:lnTo>
                    <a:pt x="1194" y="984"/>
                  </a:lnTo>
                  <a:lnTo>
                    <a:pt x="1200" y="984"/>
                  </a:lnTo>
                  <a:lnTo>
                    <a:pt x="1212" y="984"/>
                  </a:lnTo>
                  <a:lnTo>
                    <a:pt x="1218" y="990"/>
                  </a:lnTo>
                  <a:lnTo>
                    <a:pt x="1224" y="990"/>
                  </a:lnTo>
                  <a:lnTo>
                    <a:pt x="1224" y="984"/>
                  </a:lnTo>
                  <a:lnTo>
                    <a:pt x="1230" y="990"/>
                  </a:lnTo>
                  <a:lnTo>
                    <a:pt x="1236" y="984"/>
                  </a:lnTo>
                  <a:lnTo>
                    <a:pt x="1242" y="984"/>
                  </a:lnTo>
                  <a:lnTo>
                    <a:pt x="1248" y="990"/>
                  </a:lnTo>
                  <a:lnTo>
                    <a:pt x="1254" y="990"/>
                  </a:lnTo>
                  <a:lnTo>
                    <a:pt x="1254" y="996"/>
                  </a:lnTo>
                  <a:lnTo>
                    <a:pt x="1254" y="1002"/>
                  </a:lnTo>
                  <a:lnTo>
                    <a:pt x="1254" y="1008"/>
                  </a:lnTo>
                  <a:lnTo>
                    <a:pt x="1260" y="1014"/>
                  </a:lnTo>
                  <a:lnTo>
                    <a:pt x="1266" y="1014"/>
                  </a:lnTo>
                  <a:lnTo>
                    <a:pt x="1272" y="1014"/>
                  </a:lnTo>
                  <a:lnTo>
                    <a:pt x="1278" y="1020"/>
                  </a:lnTo>
                  <a:lnTo>
                    <a:pt x="1284" y="1020"/>
                  </a:lnTo>
                  <a:lnTo>
                    <a:pt x="1290" y="1014"/>
                  </a:lnTo>
                  <a:lnTo>
                    <a:pt x="1290" y="1008"/>
                  </a:lnTo>
                  <a:lnTo>
                    <a:pt x="1296" y="1008"/>
                  </a:lnTo>
                  <a:lnTo>
                    <a:pt x="1302" y="1014"/>
                  </a:lnTo>
                  <a:lnTo>
                    <a:pt x="1308" y="1014"/>
                  </a:lnTo>
                  <a:lnTo>
                    <a:pt x="1314" y="1008"/>
                  </a:lnTo>
                  <a:lnTo>
                    <a:pt x="1320" y="1008"/>
                  </a:lnTo>
                  <a:lnTo>
                    <a:pt x="1320" y="1002"/>
                  </a:lnTo>
                  <a:lnTo>
                    <a:pt x="1320" y="996"/>
                  </a:lnTo>
                  <a:lnTo>
                    <a:pt x="1332" y="1002"/>
                  </a:lnTo>
                  <a:lnTo>
                    <a:pt x="1332" y="1008"/>
                  </a:lnTo>
                  <a:lnTo>
                    <a:pt x="1326" y="1014"/>
                  </a:lnTo>
                  <a:lnTo>
                    <a:pt x="1332" y="1014"/>
                  </a:lnTo>
                  <a:lnTo>
                    <a:pt x="1338" y="1014"/>
                  </a:lnTo>
                  <a:lnTo>
                    <a:pt x="1338" y="1008"/>
                  </a:lnTo>
                  <a:lnTo>
                    <a:pt x="1344" y="1008"/>
                  </a:lnTo>
                  <a:lnTo>
                    <a:pt x="1350" y="1008"/>
                  </a:lnTo>
                  <a:lnTo>
                    <a:pt x="1356" y="1014"/>
                  </a:lnTo>
                  <a:lnTo>
                    <a:pt x="1356" y="1008"/>
                  </a:lnTo>
                  <a:lnTo>
                    <a:pt x="1362" y="1014"/>
                  </a:lnTo>
                  <a:lnTo>
                    <a:pt x="1392" y="1014"/>
                  </a:lnTo>
                  <a:lnTo>
                    <a:pt x="1398" y="1014"/>
                  </a:lnTo>
                  <a:lnTo>
                    <a:pt x="1404" y="1008"/>
                  </a:lnTo>
                  <a:lnTo>
                    <a:pt x="1404" y="1014"/>
                  </a:lnTo>
                  <a:lnTo>
                    <a:pt x="1410" y="1008"/>
                  </a:lnTo>
                  <a:lnTo>
                    <a:pt x="1416" y="1008"/>
                  </a:lnTo>
                  <a:lnTo>
                    <a:pt x="1422" y="1002"/>
                  </a:lnTo>
                  <a:lnTo>
                    <a:pt x="1428" y="1002"/>
                  </a:lnTo>
                  <a:lnTo>
                    <a:pt x="1428" y="996"/>
                  </a:lnTo>
                  <a:lnTo>
                    <a:pt x="1428" y="990"/>
                  </a:lnTo>
                  <a:lnTo>
                    <a:pt x="1440" y="1002"/>
                  </a:lnTo>
                  <a:lnTo>
                    <a:pt x="1446" y="1002"/>
                  </a:lnTo>
                  <a:lnTo>
                    <a:pt x="1452" y="1002"/>
                  </a:lnTo>
                  <a:lnTo>
                    <a:pt x="1446" y="996"/>
                  </a:lnTo>
                  <a:lnTo>
                    <a:pt x="1452" y="996"/>
                  </a:lnTo>
                  <a:lnTo>
                    <a:pt x="1458" y="996"/>
                  </a:lnTo>
                  <a:lnTo>
                    <a:pt x="1464" y="996"/>
                  </a:lnTo>
                  <a:lnTo>
                    <a:pt x="1464" y="1002"/>
                  </a:lnTo>
                  <a:lnTo>
                    <a:pt x="1476" y="1014"/>
                  </a:lnTo>
                  <a:lnTo>
                    <a:pt x="1476" y="1008"/>
                  </a:lnTo>
                  <a:lnTo>
                    <a:pt x="1482" y="1008"/>
                  </a:lnTo>
                  <a:lnTo>
                    <a:pt x="1488" y="1020"/>
                  </a:lnTo>
                  <a:lnTo>
                    <a:pt x="1494" y="1020"/>
                  </a:lnTo>
                  <a:lnTo>
                    <a:pt x="1500" y="1014"/>
                  </a:lnTo>
                  <a:lnTo>
                    <a:pt x="1500" y="1020"/>
                  </a:lnTo>
                  <a:lnTo>
                    <a:pt x="1506" y="1026"/>
                  </a:lnTo>
                  <a:lnTo>
                    <a:pt x="1512" y="1032"/>
                  </a:lnTo>
                  <a:lnTo>
                    <a:pt x="1518" y="1032"/>
                  </a:lnTo>
                  <a:lnTo>
                    <a:pt x="1518" y="1038"/>
                  </a:lnTo>
                  <a:lnTo>
                    <a:pt x="1518" y="1044"/>
                  </a:lnTo>
                  <a:lnTo>
                    <a:pt x="1524" y="1044"/>
                  </a:lnTo>
                  <a:lnTo>
                    <a:pt x="1524" y="1050"/>
                  </a:lnTo>
                  <a:lnTo>
                    <a:pt x="1530" y="1056"/>
                  </a:lnTo>
                  <a:lnTo>
                    <a:pt x="1548" y="1062"/>
                  </a:lnTo>
                  <a:lnTo>
                    <a:pt x="1560" y="1074"/>
                  </a:lnTo>
                  <a:lnTo>
                    <a:pt x="1560" y="1080"/>
                  </a:lnTo>
                  <a:lnTo>
                    <a:pt x="1560" y="1086"/>
                  </a:lnTo>
                  <a:lnTo>
                    <a:pt x="1566" y="1086"/>
                  </a:lnTo>
                  <a:lnTo>
                    <a:pt x="1572" y="1098"/>
                  </a:lnTo>
                  <a:lnTo>
                    <a:pt x="1572" y="1104"/>
                  </a:lnTo>
                  <a:lnTo>
                    <a:pt x="1584" y="1110"/>
                  </a:lnTo>
                  <a:lnTo>
                    <a:pt x="1590" y="1116"/>
                  </a:lnTo>
                  <a:lnTo>
                    <a:pt x="1596" y="1116"/>
                  </a:lnTo>
                  <a:lnTo>
                    <a:pt x="1608" y="1122"/>
                  </a:lnTo>
                  <a:lnTo>
                    <a:pt x="1620" y="1140"/>
                  </a:lnTo>
                  <a:lnTo>
                    <a:pt x="1626" y="1158"/>
                  </a:lnTo>
                  <a:lnTo>
                    <a:pt x="1638" y="1200"/>
                  </a:lnTo>
                  <a:lnTo>
                    <a:pt x="1638" y="1218"/>
                  </a:lnTo>
                  <a:lnTo>
                    <a:pt x="1620" y="1230"/>
                  </a:lnTo>
                  <a:lnTo>
                    <a:pt x="1554" y="1230"/>
                  </a:lnTo>
                  <a:lnTo>
                    <a:pt x="1560" y="1248"/>
                  </a:lnTo>
                  <a:lnTo>
                    <a:pt x="1584" y="1260"/>
                  </a:lnTo>
                  <a:lnTo>
                    <a:pt x="1584" y="1266"/>
                  </a:lnTo>
                  <a:lnTo>
                    <a:pt x="1578" y="1272"/>
                  </a:lnTo>
                  <a:lnTo>
                    <a:pt x="1572" y="1272"/>
                  </a:lnTo>
                  <a:lnTo>
                    <a:pt x="1566" y="1278"/>
                  </a:lnTo>
                  <a:lnTo>
                    <a:pt x="1566" y="1284"/>
                  </a:lnTo>
                  <a:lnTo>
                    <a:pt x="1560" y="1290"/>
                  </a:lnTo>
                  <a:lnTo>
                    <a:pt x="1554" y="1290"/>
                  </a:lnTo>
                  <a:lnTo>
                    <a:pt x="1554" y="1296"/>
                  </a:lnTo>
                  <a:lnTo>
                    <a:pt x="1554" y="1302"/>
                  </a:lnTo>
                  <a:lnTo>
                    <a:pt x="1560" y="1332"/>
                  </a:lnTo>
                  <a:lnTo>
                    <a:pt x="1566" y="1356"/>
                  </a:lnTo>
                  <a:lnTo>
                    <a:pt x="1572" y="1356"/>
                  </a:lnTo>
                  <a:lnTo>
                    <a:pt x="1572" y="1362"/>
                  </a:lnTo>
                  <a:lnTo>
                    <a:pt x="1578" y="1362"/>
                  </a:lnTo>
                  <a:lnTo>
                    <a:pt x="1560" y="1374"/>
                  </a:lnTo>
                  <a:lnTo>
                    <a:pt x="1560" y="1380"/>
                  </a:lnTo>
                  <a:lnTo>
                    <a:pt x="1548" y="1380"/>
                  </a:lnTo>
                  <a:lnTo>
                    <a:pt x="1548" y="1386"/>
                  </a:lnTo>
                  <a:lnTo>
                    <a:pt x="1548" y="1392"/>
                  </a:lnTo>
                  <a:lnTo>
                    <a:pt x="1542" y="1410"/>
                  </a:lnTo>
                  <a:lnTo>
                    <a:pt x="1536" y="1422"/>
                  </a:lnTo>
                  <a:lnTo>
                    <a:pt x="1536" y="1428"/>
                  </a:lnTo>
                  <a:lnTo>
                    <a:pt x="1530" y="1440"/>
                  </a:lnTo>
                  <a:lnTo>
                    <a:pt x="1524" y="1434"/>
                  </a:lnTo>
                  <a:lnTo>
                    <a:pt x="1524" y="1428"/>
                  </a:lnTo>
                  <a:lnTo>
                    <a:pt x="1524" y="1422"/>
                  </a:lnTo>
                  <a:lnTo>
                    <a:pt x="1512" y="1410"/>
                  </a:lnTo>
                  <a:lnTo>
                    <a:pt x="1506" y="1404"/>
                  </a:lnTo>
                  <a:lnTo>
                    <a:pt x="1506" y="1398"/>
                  </a:lnTo>
                  <a:lnTo>
                    <a:pt x="1494" y="1392"/>
                  </a:lnTo>
                  <a:lnTo>
                    <a:pt x="1476" y="1404"/>
                  </a:lnTo>
                  <a:lnTo>
                    <a:pt x="1464" y="1416"/>
                  </a:lnTo>
                  <a:lnTo>
                    <a:pt x="1458" y="1428"/>
                  </a:lnTo>
                  <a:lnTo>
                    <a:pt x="1446" y="1434"/>
                  </a:lnTo>
                  <a:lnTo>
                    <a:pt x="1410" y="1440"/>
                  </a:lnTo>
                  <a:lnTo>
                    <a:pt x="1398" y="1440"/>
                  </a:lnTo>
                  <a:lnTo>
                    <a:pt x="1398" y="1446"/>
                  </a:lnTo>
                  <a:lnTo>
                    <a:pt x="1386" y="1446"/>
                  </a:lnTo>
                  <a:lnTo>
                    <a:pt x="1380" y="1440"/>
                  </a:lnTo>
                  <a:lnTo>
                    <a:pt x="1368" y="1440"/>
                  </a:lnTo>
                  <a:lnTo>
                    <a:pt x="1368" y="1446"/>
                  </a:lnTo>
                  <a:lnTo>
                    <a:pt x="1356" y="1446"/>
                  </a:lnTo>
                  <a:lnTo>
                    <a:pt x="1350" y="1452"/>
                  </a:lnTo>
                  <a:lnTo>
                    <a:pt x="1338" y="1452"/>
                  </a:lnTo>
                  <a:lnTo>
                    <a:pt x="1338" y="1458"/>
                  </a:lnTo>
                  <a:lnTo>
                    <a:pt x="1332" y="1458"/>
                  </a:lnTo>
                  <a:lnTo>
                    <a:pt x="1332" y="1464"/>
                  </a:lnTo>
                  <a:lnTo>
                    <a:pt x="1332" y="1470"/>
                  </a:lnTo>
                  <a:lnTo>
                    <a:pt x="1326" y="1470"/>
                  </a:lnTo>
                  <a:lnTo>
                    <a:pt x="1320" y="1470"/>
                  </a:lnTo>
                  <a:lnTo>
                    <a:pt x="1314" y="1470"/>
                  </a:lnTo>
                  <a:lnTo>
                    <a:pt x="1314" y="1464"/>
                  </a:lnTo>
                  <a:lnTo>
                    <a:pt x="1308" y="1464"/>
                  </a:lnTo>
                  <a:lnTo>
                    <a:pt x="1308" y="1452"/>
                  </a:lnTo>
                  <a:lnTo>
                    <a:pt x="1284" y="1458"/>
                  </a:lnTo>
                  <a:lnTo>
                    <a:pt x="1272" y="1458"/>
                  </a:lnTo>
                  <a:lnTo>
                    <a:pt x="1272" y="1464"/>
                  </a:lnTo>
                  <a:lnTo>
                    <a:pt x="1260" y="1464"/>
                  </a:lnTo>
                  <a:lnTo>
                    <a:pt x="1254" y="1464"/>
                  </a:lnTo>
                  <a:lnTo>
                    <a:pt x="1242" y="1422"/>
                  </a:lnTo>
                  <a:lnTo>
                    <a:pt x="1242" y="1416"/>
                  </a:lnTo>
                  <a:lnTo>
                    <a:pt x="1242" y="1410"/>
                  </a:lnTo>
                  <a:lnTo>
                    <a:pt x="1248" y="1410"/>
                  </a:lnTo>
                  <a:lnTo>
                    <a:pt x="1242" y="1410"/>
                  </a:lnTo>
                  <a:lnTo>
                    <a:pt x="1242" y="1404"/>
                  </a:lnTo>
                  <a:lnTo>
                    <a:pt x="1242" y="1398"/>
                  </a:lnTo>
                  <a:lnTo>
                    <a:pt x="1248" y="1392"/>
                  </a:lnTo>
                  <a:lnTo>
                    <a:pt x="1248" y="1386"/>
                  </a:lnTo>
                  <a:lnTo>
                    <a:pt x="1242" y="1380"/>
                  </a:lnTo>
                  <a:lnTo>
                    <a:pt x="1248" y="1380"/>
                  </a:lnTo>
                  <a:lnTo>
                    <a:pt x="1248" y="1374"/>
                  </a:lnTo>
                  <a:lnTo>
                    <a:pt x="1248" y="1368"/>
                  </a:lnTo>
                  <a:lnTo>
                    <a:pt x="1254" y="1368"/>
                  </a:lnTo>
                  <a:lnTo>
                    <a:pt x="1254" y="1362"/>
                  </a:lnTo>
                  <a:lnTo>
                    <a:pt x="1248" y="1356"/>
                  </a:lnTo>
                  <a:lnTo>
                    <a:pt x="1254" y="1356"/>
                  </a:lnTo>
                  <a:lnTo>
                    <a:pt x="1254" y="1344"/>
                  </a:lnTo>
                  <a:lnTo>
                    <a:pt x="1242" y="1338"/>
                  </a:lnTo>
                  <a:lnTo>
                    <a:pt x="1242" y="1326"/>
                  </a:lnTo>
                  <a:lnTo>
                    <a:pt x="1230" y="1326"/>
                  </a:lnTo>
                  <a:lnTo>
                    <a:pt x="1230" y="1314"/>
                  </a:lnTo>
                  <a:lnTo>
                    <a:pt x="1218" y="1314"/>
                  </a:lnTo>
                  <a:lnTo>
                    <a:pt x="1200" y="1272"/>
                  </a:lnTo>
                  <a:lnTo>
                    <a:pt x="1194" y="1242"/>
                  </a:lnTo>
                  <a:lnTo>
                    <a:pt x="1194" y="1206"/>
                  </a:lnTo>
                  <a:lnTo>
                    <a:pt x="1182" y="1200"/>
                  </a:lnTo>
                  <a:lnTo>
                    <a:pt x="1164" y="1206"/>
                  </a:lnTo>
                  <a:lnTo>
                    <a:pt x="1146" y="1212"/>
                  </a:lnTo>
                  <a:lnTo>
                    <a:pt x="1146" y="1218"/>
                  </a:lnTo>
                  <a:lnTo>
                    <a:pt x="1134" y="1224"/>
                  </a:lnTo>
                  <a:lnTo>
                    <a:pt x="1140" y="1260"/>
                  </a:lnTo>
                  <a:lnTo>
                    <a:pt x="1134" y="1266"/>
                  </a:lnTo>
                  <a:lnTo>
                    <a:pt x="1122" y="1266"/>
                  </a:lnTo>
                  <a:lnTo>
                    <a:pt x="1110" y="1236"/>
                  </a:lnTo>
                  <a:lnTo>
                    <a:pt x="1110" y="1224"/>
                  </a:lnTo>
                  <a:lnTo>
                    <a:pt x="1086" y="1224"/>
                  </a:lnTo>
                  <a:lnTo>
                    <a:pt x="1086" y="1212"/>
                  </a:lnTo>
                  <a:lnTo>
                    <a:pt x="1074" y="1212"/>
                  </a:lnTo>
                  <a:lnTo>
                    <a:pt x="1050" y="1212"/>
                  </a:lnTo>
                  <a:lnTo>
                    <a:pt x="1056" y="1218"/>
                  </a:lnTo>
                  <a:lnTo>
                    <a:pt x="1050" y="1272"/>
                  </a:lnTo>
                  <a:lnTo>
                    <a:pt x="1044" y="1272"/>
                  </a:lnTo>
                  <a:lnTo>
                    <a:pt x="1038" y="1284"/>
                  </a:lnTo>
                  <a:lnTo>
                    <a:pt x="1032" y="1302"/>
                  </a:lnTo>
                  <a:lnTo>
                    <a:pt x="1014" y="1302"/>
                  </a:lnTo>
                  <a:lnTo>
                    <a:pt x="1020" y="1284"/>
                  </a:lnTo>
                  <a:lnTo>
                    <a:pt x="1026" y="1278"/>
                  </a:lnTo>
                  <a:lnTo>
                    <a:pt x="1026" y="1266"/>
                  </a:lnTo>
                  <a:lnTo>
                    <a:pt x="1014" y="1260"/>
                  </a:lnTo>
                  <a:lnTo>
                    <a:pt x="1014" y="1272"/>
                  </a:lnTo>
                  <a:lnTo>
                    <a:pt x="990" y="1278"/>
                  </a:lnTo>
                  <a:lnTo>
                    <a:pt x="990" y="1254"/>
                  </a:lnTo>
                  <a:lnTo>
                    <a:pt x="984" y="1254"/>
                  </a:lnTo>
                  <a:lnTo>
                    <a:pt x="978" y="1242"/>
                  </a:lnTo>
                  <a:lnTo>
                    <a:pt x="972" y="1236"/>
                  </a:lnTo>
                  <a:lnTo>
                    <a:pt x="960" y="1206"/>
                  </a:lnTo>
                  <a:lnTo>
                    <a:pt x="942" y="1206"/>
                  </a:lnTo>
                  <a:lnTo>
                    <a:pt x="936" y="1200"/>
                  </a:lnTo>
                  <a:lnTo>
                    <a:pt x="906" y="1212"/>
                  </a:lnTo>
                  <a:lnTo>
                    <a:pt x="888" y="1230"/>
                  </a:lnTo>
                  <a:lnTo>
                    <a:pt x="876" y="1230"/>
                  </a:lnTo>
                  <a:lnTo>
                    <a:pt x="864" y="1236"/>
                  </a:lnTo>
                  <a:lnTo>
                    <a:pt x="858" y="1236"/>
                  </a:lnTo>
                  <a:lnTo>
                    <a:pt x="852" y="1254"/>
                  </a:lnTo>
                  <a:lnTo>
                    <a:pt x="858" y="1254"/>
                  </a:lnTo>
                  <a:lnTo>
                    <a:pt x="840" y="1266"/>
                  </a:lnTo>
                  <a:lnTo>
                    <a:pt x="828" y="1272"/>
                  </a:lnTo>
                  <a:lnTo>
                    <a:pt x="828" y="1284"/>
                  </a:lnTo>
                  <a:lnTo>
                    <a:pt x="822" y="1284"/>
                  </a:lnTo>
                  <a:lnTo>
                    <a:pt x="804" y="1296"/>
                  </a:lnTo>
                  <a:lnTo>
                    <a:pt x="804" y="1308"/>
                  </a:lnTo>
                  <a:lnTo>
                    <a:pt x="816" y="1320"/>
                  </a:lnTo>
                  <a:lnTo>
                    <a:pt x="828" y="1320"/>
                  </a:lnTo>
                  <a:lnTo>
                    <a:pt x="822" y="1338"/>
                  </a:lnTo>
                  <a:lnTo>
                    <a:pt x="852" y="1344"/>
                  </a:lnTo>
                  <a:lnTo>
                    <a:pt x="864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94" y="1356"/>
                  </a:lnTo>
                  <a:lnTo>
                    <a:pt x="912" y="1368"/>
                  </a:lnTo>
                  <a:lnTo>
                    <a:pt x="918" y="1380"/>
                  </a:lnTo>
                  <a:lnTo>
                    <a:pt x="936" y="1380"/>
                  </a:lnTo>
                  <a:lnTo>
                    <a:pt x="960" y="1386"/>
                  </a:lnTo>
                  <a:lnTo>
                    <a:pt x="990" y="1386"/>
                  </a:lnTo>
                  <a:lnTo>
                    <a:pt x="990" y="1392"/>
                  </a:lnTo>
                  <a:lnTo>
                    <a:pt x="1020" y="1398"/>
                  </a:lnTo>
                  <a:lnTo>
                    <a:pt x="1014" y="1404"/>
                  </a:lnTo>
                  <a:lnTo>
                    <a:pt x="1008" y="1404"/>
                  </a:lnTo>
                  <a:lnTo>
                    <a:pt x="1014" y="1440"/>
                  </a:lnTo>
                  <a:lnTo>
                    <a:pt x="1020" y="1458"/>
                  </a:lnTo>
                  <a:lnTo>
                    <a:pt x="1026" y="1476"/>
                  </a:lnTo>
                  <a:lnTo>
                    <a:pt x="1020" y="1476"/>
                  </a:lnTo>
                  <a:lnTo>
                    <a:pt x="1014" y="1476"/>
                  </a:lnTo>
                  <a:lnTo>
                    <a:pt x="1014" y="1482"/>
                  </a:lnTo>
                  <a:lnTo>
                    <a:pt x="1014" y="1488"/>
                  </a:lnTo>
                  <a:lnTo>
                    <a:pt x="1002" y="1488"/>
                  </a:lnTo>
                  <a:lnTo>
                    <a:pt x="1002" y="1494"/>
                  </a:lnTo>
                  <a:lnTo>
                    <a:pt x="996" y="1494"/>
                  </a:lnTo>
                  <a:lnTo>
                    <a:pt x="996" y="1518"/>
                  </a:lnTo>
                  <a:lnTo>
                    <a:pt x="1002" y="1524"/>
                  </a:lnTo>
                  <a:lnTo>
                    <a:pt x="1020" y="1530"/>
                  </a:lnTo>
                  <a:lnTo>
                    <a:pt x="1026" y="1542"/>
                  </a:lnTo>
                  <a:lnTo>
                    <a:pt x="1032" y="1566"/>
                  </a:lnTo>
                  <a:lnTo>
                    <a:pt x="1038" y="1578"/>
                  </a:lnTo>
                  <a:lnTo>
                    <a:pt x="1032" y="1584"/>
                  </a:lnTo>
                  <a:lnTo>
                    <a:pt x="1020" y="1584"/>
                  </a:lnTo>
                  <a:lnTo>
                    <a:pt x="1014" y="1584"/>
                  </a:lnTo>
                  <a:lnTo>
                    <a:pt x="1008" y="1596"/>
                  </a:lnTo>
                  <a:lnTo>
                    <a:pt x="990" y="1584"/>
                  </a:lnTo>
                  <a:lnTo>
                    <a:pt x="984" y="1602"/>
                  </a:lnTo>
                  <a:lnTo>
                    <a:pt x="978" y="1608"/>
                  </a:lnTo>
                  <a:lnTo>
                    <a:pt x="966" y="1608"/>
                  </a:lnTo>
                  <a:lnTo>
                    <a:pt x="960" y="1614"/>
                  </a:lnTo>
                  <a:lnTo>
                    <a:pt x="954" y="1614"/>
                  </a:lnTo>
                  <a:lnTo>
                    <a:pt x="942" y="1620"/>
                  </a:lnTo>
                  <a:lnTo>
                    <a:pt x="936" y="1620"/>
                  </a:lnTo>
                  <a:lnTo>
                    <a:pt x="930" y="1620"/>
                  </a:lnTo>
                  <a:lnTo>
                    <a:pt x="930" y="1626"/>
                  </a:lnTo>
                  <a:lnTo>
                    <a:pt x="930" y="1632"/>
                  </a:lnTo>
                  <a:lnTo>
                    <a:pt x="918" y="1632"/>
                  </a:lnTo>
                  <a:lnTo>
                    <a:pt x="912" y="1632"/>
                  </a:lnTo>
                  <a:lnTo>
                    <a:pt x="906" y="1632"/>
                  </a:lnTo>
                  <a:lnTo>
                    <a:pt x="900" y="1632"/>
                  </a:lnTo>
                  <a:lnTo>
                    <a:pt x="894" y="1626"/>
                  </a:lnTo>
                  <a:lnTo>
                    <a:pt x="894" y="1614"/>
                  </a:lnTo>
                  <a:lnTo>
                    <a:pt x="840" y="1614"/>
                  </a:lnTo>
                  <a:lnTo>
                    <a:pt x="840" y="1626"/>
                  </a:lnTo>
                  <a:lnTo>
                    <a:pt x="834" y="1626"/>
                  </a:lnTo>
                  <a:lnTo>
                    <a:pt x="828" y="1632"/>
                  </a:lnTo>
                  <a:lnTo>
                    <a:pt x="822" y="1638"/>
                  </a:lnTo>
                  <a:lnTo>
                    <a:pt x="822" y="1644"/>
                  </a:lnTo>
                  <a:lnTo>
                    <a:pt x="834" y="1650"/>
                  </a:lnTo>
                  <a:lnTo>
                    <a:pt x="840" y="1662"/>
                  </a:lnTo>
                  <a:lnTo>
                    <a:pt x="840" y="1668"/>
                  </a:lnTo>
                  <a:lnTo>
                    <a:pt x="858" y="1680"/>
                  </a:lnTo>
                  <a:lnTo>
                    <a:pt x="858" y="1752"/>
                  </a:lnTo>
                  <a:lnTo>
                    <a:pt x="864" y="1782"/>
                  </a:lnTo>
                  <a:lnTo>
                    <a:pt x="876" y="1788"/>
                  </a:lnTo>
                  <a:lnTo>
                    <a:pt x="870" y="1854"/>
                  </a:lnTo>
                  <a:lnTo>
                    <a:pt x="870" y="1884"/>
                  </a:lnTo>
                  <a:lnTo>
                    <a:pt x="864" y="1884"/>
                  </a:lnTo>
                  <a:lnTo>
                    <a:pt x="846" y="1896"/>
                  </a:lnTo>
                  <a:lnTo>
                    <a:pt x="840" y="1896"/>
                  </a:lnTo>
                  <a:lnTo>
                    <a:pt x="834" y="1896"/>
                  </a:lnTo>
                  <a:lnTo>
                    <a:pt x="828" y="1890"/>
                  </a:lnTo>
                  <a:lnTo>
                    <a:pt x="822" y="1890"/>
                  </a:lnTo>
                  <a:lnTo>
                    <a:pt x="816" y="1896"/>
                  </a:lnTo>
                  <a:lnTo>
                    <a:pt x="804" y="1896"/>
                  </a:lnTo>
                  <a:lnTo>
                    <a:pt x="804" y="1890"/>
                  </a:lnTo>
                  <a:lnTo>
                    <a:pt x="780" y="1896"/>
                  </a:lnTo>
                  <a:lnTo>
                    <a:pt x="780" y="1902"/>
                  </a:lnTo>
                  <a:lnTo>
                    <a:pt x="774" y="1914"/>
                  </a:lnTo>
                  <a:lnTo>
                    <a:pt x="762" y="1926"/>
                  </a:lnTo>
                  <a:lnTo>
                    <a:pt x="762" y="1950"/>
                  </a:lnTo>
                  <a:lnTo>
                    <a:pt x="762" y="1962"/>
                  </a:lnTo>
                  <a:lnTo>
                    <a:pt x="780" y="1974"/>
                  </a:lnTo>
                  <a:lnTo>
                    <a:pt x="780" y="1986"/>
                  </a:lnTo>
                  <a:lnTo>
                    <a:pt x="780" y="1998"/>
                  </a:lnTo>
                  <a:lnTo>
                    <a:pt x="756" y="1998"/>
                  </a:lnTo>
                  <a:lnTo>
                    <a:pt x="720" y="1992"/>
                  </a:lnTo>
                  <a:lnTo>
                    <a:pt x="666" y="1998"/>
                  </a:lnTo>
                  <a:lnTo>
                    <a:pt x="654" y="1998"/>
                  </a:lnTo>
                  <a:lnTo>
                    <a:pt x="660" y="1974"/>
                  </a:lnTo>
                  <a:lnTo>
                    <a:pt x="666" y="1962"/>
                  </a:lnTo>
                  <a:lnTo>
                    <a:pt x="678" y="1950"/>
                  </a:lnTo>
                  <a:lnTo>
                    <a:pt x="696" y="1932"/>
                  </a:lnTo>
                  <a:lnTo>
                    <a:pt x="696" y="1920"/>
                  </a:lnTo>
                  <a:lnTo>
                    <a:pt x="696" y="1896"/>
                  </a:lnTo>
                  <a:lnTo>
                    <a:pt x="678" y="1896"/>
                  </a:lnTo>
                  <a:lnTo>
                    <a:pt x="672" y="1884"/>
                  </a:lnTo>
                  <a:lnTo>
                    <a:pt x="672" y="1776"/>
                  </a:lnTo>
                  <a:lnTo>
                    <a:pt x="678" y="1758"/>
                  </a:lnTo>
                  <a:lnTo>
                    <a:pt x="678" y="1740"/>
                  </a:lnTo>
                  <a:lnTo>
                    <a:pt x="684" y="1728"/>
                  </a:lnTo>
                  <a:lnTo>
                    <a:pt x="690" y="1722"/>
                  </a:lnTo>
                  <a:lnTo>
                    <a:pt x="702" y="1722"/>
                  </a:lnTo>
                  <a:lnTo>
                    <a:pt x="708" y="1716"/>
                  </a:lnTo>
                  <a:lnTo>
                    <a:pt x="714" y="1710"/>
                  </a:lnTo>
                  <a:lnTo>
                    <a:pt x="720" y="1698"/>
                  </a:lnTo>
                  <a:lnTo>
                    <a:pt x="732" y="1692"/>
                  </a:lnTo>
                  <a:lnTo>
                    <a:pt x="744" y="1686"/>
                  </a:lnTo>
                  <a:lnTo>
                    <a:pt x="756" y="1680"/>
                  </a:lnTo>
                  <a:lnTo>
                    <a:pt x="768" y="1668"/>
                  </a:lnTo>
                  <a:lnTo>
                    <a:pt x="768" y="1650"/>
                  </a:lnTo>
                  <a:lnTo>
                    <a:pt x="774" y="1632"/>
                  </a:lnTo>
                  <a:lnTo>
                    <a:pt x="768" y="1620"/>
                  </a:lnTo>
                  <a:lnTo>
                    <a:pt x="774" y="1608"/>
                  </a:lnTo>
                  <a:lnTo>
                    <a:pt x="774" y="1578"/>
                  </a:lnTo>
                  <a:lnTo>
                    <a:pt x="774" y="1572"/>
                  </a:lnTo>
                  <a:lnTo>
                    <a:pt x="780" y="1560"/>
                  </a:lnTo>
                  <a:lnTo>
                    <a:pt x="780" y="1554"/>
                  </a:lnTo>
                  <a:lnTo>
                    <a:pt x="786" y="1542"/>
                  </a:lnTo>
                  <a:lnTo>
                    <a:pt x="792" y="1530"/>
                  </a:lnTo>
                  <a:lnTo>
                    <a:pt x="792" y="1518"/>
                  </a:lnTo>
                  <a:lnTo>
                    <a:pt x="792" y="1506"/>
                  </a:lnTo>
                  <a:lnTo>
                    <a:pt x="786" y="1500"/>
                  </a:lnTo>
                  <a:lnTo>
                    <a:pt x="774" y="1488"/>
                  </a:lnTo>
                  <a:lnTo>
                    <a:pt x="774" y="1482"/>
                  </a:lnTo>
                  <a:lnTo>
                    <a:pt x="762" y="1488"/>
                  </a:lnTo>
                  <a:lnTo>
                    <a:pt x="756" y="1494"/>
                  </a:lnTo>
                  <a:lnTo>
                    <a:pt x="744" y="1500"/>
                  </a:lnTo>
                  <a:lnTo>
                    <a:pt x="732" y="1506"/>
                  </a:lnTo>
                  <a:lnTo>
                    <a:pt x="726" y="1506"/>
                  </a:lnTo>
                  <a:lnTo>
                    <a:pt x="720" y="1506"/>
                  </a:lnTo>
                  <a:lnTo>
                    <a:pt x="702" y="1506"/>
                  </a:lnTo>
                  <a:lnTo>
                    <a:pt x="690" y="1500"/>
                  </a:lnTo>
                  <a:lnTo>
                    <a:pt x="678" y="1500"/>
                  </a:lnTo>
                  <a:lnTo>
                    <a:pt x="672" y="1500"/>
                  </a:lnTo>
                  <a:lnTo>
                    <a:pt x="660" y="1506"/>
                  </a:lnTo>
                  <a:lnTo>
                    <a:pt x="654" y="1506"/>
                  </a:lnTo>
                  <a:lnTo>
                    <a:pt x="648" y="1512"/>
                  </a:lnTo>
                  <a:lnTo>
                    <a:pt x="648" y="1518"/>
                  </a:lnTo>
                  <a:lnTo>
                    <a:pt x="618" y="1518"/>
                  </a:lnTo>
                  <a:lnTo>
                    <a:pt x="534" y="1494"/>
                  </a:lnTo>
                  <a:lnTo>
                    <a:pt x="528" y="1458"/>
                  </a:lnTo>
                  <a:lnTo>
                    <a:pt x="510" y="1458"/>
                  </a:lnTo>
                  <a:lnTo>
                    <a:pt x="492" y="1440"/>
                  </a:lnTo>
                  <a:lnTo>
                    <a:pt x="462" y="1440"/>
                  </a:lnTo>
                  <a:lnTo>
                    <a:pt x="456" y="1428"/>
                  </a:lnTo>
                  <a:lnTo>
                    <a:pt x="420" y="1428"/>
                  </a:lnTo>
                  <a:lnTo>
                    <a:pt x="390" y="1446"/>
                  </a:lnTo>
                  <a:lnTo>
                    <a:pt x="312" y="1452"/>
                  </a:lnTo>
                  <a:lnTo>
                    <a:pt x="300" y="1446"/>
                  </a:lnTo>
                  <a:lnTo>
                    <a:pt x="294" y="1446"/>
                  </a:lnTo>
                  <a:lnTo>
                    <a:pt x="288" y="1446"/>
                  </a:lnTo>
                  <a:lnTo>
                    <a:pt x="282" y="1440"/>
                  </a:lnTo>
                  <a:lnTo>
                    <a:pt x="276" y="1440"/>
                  </a:lnTo>
                  <a:lnTo>
                    <a:pt x="270" y="1440"/>
                  </a:lnTo>
                  <a:lnTo>
                    <a:pt x="264" y="1440"/>
                  </a:lnTo>
                  <a:lnTo>
                    <a:pt x="258" y="1434"/>
                  </a:lnTo>
                  <a:lnTo>
                    <a:pt x="252" y="1434"/>
                  </a:lnTo>
                  <a:lnTo>
                    <a:pt x="246" y="1428"/>
                  </a:lnTo>
                  <a:lnTo>
                    <a:pt x="240" y="1416"/>
                  </a:lnTo>
                  <a:lnTo>
                    <a:pt x="234" y="1404"/>
                  </a:lnTo>
                  <a:lnTo>
                    <a:pt x="228" y="1398"/>
                  </a:lnTo>
                  <a:lnTo>
                    <a:pt x="222" y="1398"/>
                  </a:lnTo>
                  <a:lnTo>
                    <a:pt x="216" y="1404"/>
                  </a:lnTo>
                  <a:lnTo>
                    <a:pt x="210" y="1404"/>
                  </a:lnTo>
                  <a:lnTo>
                    <a:pt x="204" y="1404"/>
                  </a:lnTo>
                  <a:lnTo>
                    <a:pt x="204" y="1398"/>
                  </a:lnTo>
                  <a:lnTo>
                    <a:pt x="198" y="1392"/>
                  </a:lnTo>
                  <a:lnTo>
                    <a:pt x="192" y="1386"/>
                  </a:lnTo>
                  <a:lnTo>
                    <a:pt x="168" y="1374"/>
                  </a:lnTo>
                  <a:lnTo>
                    <a:pt x="144" y="138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0" name="Freeform 35">
              <a:extLst>
                <a:ext uri="{FF2B5EF4-FFF2-40B4-BE49-F238E27FC236}">
                  <a16:creationId xmlns:a16="http://schemas.microsoft.com/office/drawing/2014/main" id="{F64BF16E-9D62-438E-A1CC-CD4088AC7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2895" y="1706004"/>
              <a:ext cx="767013" cy="785011"/>
            </a:xfrm>
            <a:custGeom>
              <a:avLst/>
              <a:gdLst>
                <a:gd name="T0" fmla="*/ 102 w 1440"/>
                <a:gd name="T1" fmla="*/ 104 h 1476"/>
                <a:gd name="T2" fmla="*/ 99 w 1440"/>
                <a:gd name="T3" fmla="*/ 108 h 1476"/>
                <a:gd name="T4" fmla="*/ 98 w 1440"/>
                <a:gd name="T5" fmla="*/ 112 h 1476"/>
                <a:gd name="T6" fmla="*/ 96 w 1440"/>
                <a:gd name="T7" fmla="*/ 116 h 1476"/>
                <a:gd name="T8" fmla="*/ 91 w 1440"/>
                <a:gd name="T9" fmla="*/ 118 h 1476"/>
                <a:gd name="T10" fmla="*/ 87 w 1440"/>
                <a:gd name="T11" fmla="*/ 120 h 1476"/>
                <a:gd name="T12" fmla="*/ 75 w 1440"/>
                <a:gd name="T13" fmla="*/ 120 h 1476"/>
                <a:gd name="T14" fmla="*/ 72 w 1440"/>
                <a:gd name="T15" fmla="*/ 123 h 1476"/>
                <a:gd name="T16" fmla="*/ 69 w 1440"/>
                <a:gd name="T17" fmla="*/ 128 h 1476"/>
                <a:gd name="T18" fmla="*/ 67 w 1440"/>
                <a:gd name="T19" fmla="*/ 127 h 1476"/>
                <a:gd name="T20" fmla="*/ 66 w 1440"/>
                <a:gd name="T21" fmla="*/ 123 h 1476"/>
                <a:gd name="T22" fmla="*/ 63 w 1440"/>
                <a:gd name="T23" fmla="*/ 119 h 1476"/>
                <a:gd name="T24" fmla="*/ 54 w 1440"/>
                <a:gd name="T25" fmla="*/ 114 h 1476"/>
                <a:gd name="T26" fmla="*/ 55 w 1440"/>
                <a:gd name="T27" fmla="*/ 106 h 1476"/>
                <a:gd name="T28" fmla="*/ 60 w 1440"/>
                <a:gd name="T29" fmla="*/ 100 h 1476"/>
                <a:gd name="T30" fmla="*/ 55 w 1440"/>
                <a:gd name="T31" fmla="*/ 91 h 1476"/>
                <a:gd name="T32" fmla="*/ 51 w 1440"/>
                <a:gd name="T33" fmla="*/ 86 h 1476"/>
                <a:gd name="T34" fmla="*/ 47 w 1440"/>
                <a:gd name="T35" fmla="*/ 85 h 1476"/>
                <a:gd name="T36" fmla="*/ 44 w 1440"/>
                <a:gd name="T37" fmla="*/ 82 h 1476"/>
                <a:gd name="T38" fmla="*/ 41 w 1440"/>
                <a:gd name="T39" fmla="*/ 83 h 1476"/>
                <a:gd name="T40" fmla="*/ 36 w 1440"/>
                <a:gd name="T41" fmla="*/ 83 h 1476"/>
                <a:gd name="T42" fmla="*/ 33 w 1440"/>
                <a:gd name="T43" fmla="*/ 83 h 1476"/>
                <a:gd name="T44" fmla="*/ 30 w 1440"/>
                <a:gd name="T45" fmla="*/ 83 h 1476"/>
                <a:gd name="T46" fmla="*/ 27 w 1440"/>
                <a:gd name="T47" fmla="*/ 83 h 1476"/>
                <a:gd name="T48" fmla="*/ 24 w 1440"/>
                <a:gd name="T49" fmla="*/ 82 h 1476"/>
                <a:gd name="T50" fmla="*/ 21 w 1440"/>
                <a:gd name="T51" fmla="*/ 80 h 1476"/>
                <a:gd name="T52" fmla="*/ 18 w 1440"/>
                <a:gd name="T53" fmla="*/ 79 h 1476"/>
                <a:gd name="T54" fmla="*/ 17 w 1440"/>
                <a:gd name="T55" fmla="*/ 78 h 1476"/>
                <a:gd name="T56" fmla="*/ 12 w 1440"/>
                <a:gd name="T57" fmla="*/ 78 h 1476"/>
                <a:gd name="T58" fmla="*/ 12 w 1440"/>
                <a:gd name="T59" fmla="*/ 78 h 1476"/>
                <a:gd name="T60" fmla="*/ 7 w 1440"/>
                <a:gd name="T61" fmla="*/ 80 h 1476"/>
                <a:gd name="T62" fmla="*/ 3 w 1440"/>
                <a:gd name="T63" fmla="*/ 81 h 1476"/>
                <a:gd name="T64" fmla="*/ 0 w 1440"/>
                <a:gd name="T65" fmla="*/ 76 h 1476"/>
                <a:gd name="T66" fmla="*/ 1 w 1440"/>
                <a:gd name="T67" fmla="*/ 50 h 1476"/>
                <a:gd name="T68" fmla="*/ 8 w 1440"/>
                <a:gd name="T69" fmla="*/ 48 h 1476"/>
                <a:gd name="T70" fmla="*/ 20 w 1440"/>
                <a:gd name="T71" fmla="*/ 49 h 1476"/>
                <a:gd name="T72" fmla="*/ 26 w 1440"/>
                <a:gd name="T73" fmla="*/ 50 h 1476"/>
                <a:gd name="T74" fmla="*/ 44 w 1440"/>
                <a:gd name="T75" fmla="*/ 47 h 1476"/>
                <a:gd name="T76" fmla="*/ 41 w 1440"/>
                <a:gd name="T77" fmla="*/ 24 h 1476"/>
                <a:gd name="T78" fmla="*/ 44 w 1440"/>
                <a:gd name="T79" fmla="*/ 20 h 1476"/>
                <a:gd name="T80" fmla="*/ 47 w 1440"/>
                <a:gd name="T81" fmla="*/ 18 h 1476"/>
                <a:gd name="T82" fmla="*/ 54 w 1440"/>
                <a:gd name="T83" fmla="*/ 21 h 1476"/>
                <a:gd name="T84" fmla="*/ 61 w 1440"/>
                <a:gd name="T85" fmla="*/ 23 h 1476"/>
                <a:gd name="T86" fmla="*/ 59 w 1440"/>
                <a:gd name="T87" fmla="*/ 14 h 1476"/>
                <a:gd name="T88" fmla="*/ 61 w 1440"/>
                <a:gd name="T89" fmla="*/ 8 h 1476"/>
                <a:gd name="T90" fmla="*/ 71 w 1440"/>
                <a:gd name="T91" fmla="*/ 7 h 1476"/>
                <a:gd name="T92" fmla="*/ 75 w 1440"/>
                <a:gd name="T93" fmla="*/ 0 h 1476"/>
                <a:gd name="T94" fmla="*/ 82 w 1440"/>
                <a:gd name="T95" fmla="*/ 3 h 1476"/>
                <a:gd name="T96" fmla="*/ 93 w 1440"/>
                <a:gd name="T97" fmla="*/ 5 h 1476"/>
                <a:gd name="T98" fmla="*/ 100 w 1440"/>
                <a:gd name="T99" fmla="*/ 1 h 1476"/>
                <a:gd name="T100" fmla="*/ 104 w 1440"/>
                <a:gd name="T101" fmla="*/ 4 h 1476"/>
                <a:gd name="T102" fmla="*/ 110 w 1440"/>
                <a:gd name="T103" fmla="*/ 10 h 1476"/>
                <a:gd name="T104" fmla="*/ 115 w 1440"/>
                <a:gd name="T105" fmla="*/ 23 h 1476"/>
                <a:gd name="T106" fmla="*/ 117 w 1440"/>
                <a:gd name="T107" fmla="*/ 42 h 1476"/>
                <a:gd name="T108" fmla="*/ 121 w 1440"/>
                <a:gd name="T109" fmla="*/ 52 h 1476"/>
                <a:gd name="T110" fmla="*/ 118 w 1440"/>
                <a:gd name="T111" fmla="*/ 62 h 1476"/>
                <a:gd name="T112" fmla="*/ 124 w 1440"/>
                <a:gd name="T113" fmla="*/ 66 h 1476"/>
                <a:gd name="T114" fmla="*/ 121 w 1440"/>
                <a:gd name="T115" fmla="*/ 71 h 1476"/>
                <a:gd name="T116" fmla="*/ 115 w 1440"/>
                <a:gd name="T117" fmla="*/ 76 h 1476"/>
                <a:gd name="T118" fmla="*/ 109 w 1440"/>
                <a:gd name="T119" fmla="*/ 76 h 1476"/>
                <a:gd name="T120" fmla="*/ 105 w 1440"/>
                <a:gd name="T121" fmla="*/ 86 h 1476"/>
                <a:gd name="T122" fmla="*/ 107 w 1440"/>
                <a:gd name="T123" fmla="*/ 97 h 147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40"/>
                <a:gd name="T187" fmla="*/ 0 h 1476"/>
                <a:gd name="T188" fmla="*/ 1440 w 1440"/>
                <a:gd name="T189" fmla="*/ 1476 h 147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40" h="1476">
                  <a:moveTo>
                    <a:pt x="1212" y="1164"/>
                  </a:moveTo>
                  <a:lnTo>
                    <a:pt x="1206" y="1170"/>
                  </a:lnTo>
                  <a:lnTo>
                    <a:pt x="1200" y="1176"/>
                  </a:lnTo>
                  <a:lnTo>
                    <a:pt x="1194" y="1176"/>
                  </a:lnTo>
                  <a:lnTo>
                    <a:pt x="1188" y="1188"/>
                  </a:lnTo>
                  <a:lnTo>
                    <a:pt x="1182" y="1194"/>
                  </a:lnTo>
                  <a:lnTo>
                    <a:pt x="1176" y="1194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64" y="1206"/>
                  </a:lnTo>
                  <a:lnTo>
                    <a:pt x="1158" y="1206"/>
                  </a:lnTo>
                  <a:lnTo>
                    <a:pt x="1152" y="1212"/>
                  </a:lnTo>
                  <a:lnTo>
                    <a:pt x="1146" y="1212"/>
                  </a:lnTo>
                  <a:lnTo>
                    <a:pt x="1140" y="1224"/>
                  </a:lnTo>
                  <a:lnTo>
                    <a:pt x="1134" y="1230"/>
                  </a:lnTo>
                  <a:lnTo>
                    <a:pt x="1128" y="1236"/>
                  </a:lnTo>
                  <a:lnTo>
                    <a:pt x="1128" y="1242"/>
                  </a:lnTo>
                  <a:lnTo>
                    <a:pt x="1128" y="1254"/>
                  </a:lnTo>
                  <a:lnTo>
                    <a:pt x="1128" y="1260"/>
                  </a:lnTo>
                  <a:lnTo>
                    <a:pt x="1122" y="1260"/>
                  </a:lnTo>
                  <a:lnTo>
                    <a:pt x="1122" y="1266"/>
                  </a:lnTo>
                  <a:lnTo>
                    <a:pt x="1128" y="1278"/>
                  </a:lnTo>
                  <a:lnTo>
                    <a:pt x="1122" y="1278"/>
                  </a:lnTo>
                  <a:lnTo>
                    <a:pt x="1122" y="1284"/>
                  </a:lnTo>
                  <a:lnTo>
                    <a:pt x="1128" y="1290"/>
                  </a:lnTo>
                  <a:lnTo>
                    <a:pt x="1122" y="1296"/>
                  </a:lnTo>
                  <a:lnTo>
                    <a:pt x="1122" y="1302"/>
                  </a:lnTo>
                  <a:lnTo>
                    <a:pt x="1116" y="1302"/>
                  </a:lnTo>
                  <a:lnTo>
                    <a:pt x="1110" y="1314"/>
                  </a:lnTo>
                  <a:lnTo>
                    <a:pt x="1110" y="1320"/>
                  </a:lnTo>
                  <a:lnTo>
                    <a:pt x="1110" y="1326"/>
                  </a:lnTo>
                  <a:lnTo>
                    <a:pt x="1098" y="1332"/>
                  </a:lnTo>
                  <a:lnTo>
                    <a:pt x="1092" y="1338"/>
                  </a:lnTo>
                  <a:lnTo>
                    <a:pt x="1092" y="1344"/>
                  </a:lnTo>
                  <a:lnTo>
                    <a:pt x="1086" y="1350"/>
                  </a:lnTo>
                  <a:lnTo>
                    <a:pt x="1080" y="1350"/>
                  </a:lnTo>
                  <a:lnTo>
                    <a:pt x="1074" y="1350"/>
                  </a:lnTo>
                  <a:lnTo>
                    <a:pt x="1068" y="1356"/>
                  </a:lnTo>
                  <a:lnTo>
                    <a:pt x="1062" y="1356"/>
                  </a:lnTo>
                  <a:lnTo>
                    <a:pt x="1044" y="1356"/>
                  </a:lnTo>
                  <a:lnTo>
                    <a:pt x="1038" y="1362"/>
                  </a:lnTo>
                  <a:lnTo>
                    <a:pt x="1032" y="1368"/>
                  </a:lnTo>
                  <a:lnTo>
                    <a:pt x="1026" y="1368"/>
                  </a:lnTo>
                  <a:lnTo>
                    <a:pt x="1020" y="1374"/>
                  </a:lnTo>
                  <a:lnTo>
                    <a:pt x="1008" y="1374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74"/>
                  </a:lnTo>
                  <a:lnTo>
                    <a:pt x="978" y="1380"/>
                  </a:lnTo>
                  <a:lnTo>
                    <a:pt x="972" y="1380"/>
                  </a:lnTo>
                  <a:lnTo>
                    <a:pt x="954" y="1368"/>
                  </a:lnTo>
                  <a:lnTo>
                    <a:pt x="930" y="1368"/>
                  </a:lnTo>
                  <a:lnTo>
                    <a:pt x="918" y="1368"/>
                  </a:lnTo>
                  <a:lnTo>
                    <a:pt x="906" y="1368"/>
                  </a:lnTo>
                  <a:lnTo>
                    <a:pt x="894" y="1368"/>
                  </a:lnTo>
                  <a:lnTo>
                    <a:pt x="864" y="1374"/>
                  </a:lnTo>
                  <a:lnTo>
                    <a:pt x="852" y="1374"/>
                  </a:lnTo>
                  <a:lnTo>
                    <a:pt x="846" y="1386"/>
                  </a:lnTo>
                  <a:lnTo>
                    <a:pt x="846" y="1392"/>
                  </a:lnTo>
                  <a:lnTo>
                    <a:pt x="840" y="1398"/>
                  </a:lnTo>
                  <a:lnTo>
                    <a:pt x="840" y="1404"/>
                  </a:lnTo>
                  <a:lnTo>
                    <a:pt x="834" y="1416"/>
                  </a:lnTo>
                  <a:lnTo>
                    <a:pt x="828" y="1416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04" y="1428"/>
                  </a:lnTo>
                  <a:lnTo>
                    <a:pt x="804" y="1434"/>
                  </a:lnTo>
                  <a:lnTo>
                    <a:pt x="804" y="1440"/>
                  </a:lnTo>
                  <a:lnTo>
                    <a:pt x="798" y="1446"/>
                  </a:lnTo>
                  <a:lnTo>
                    <a:pt x="798" y="1458"/>
                  </a:lnTo>
                  <a:lnTo>
                    <a:pt x="792" y="1464"/>
                  </a:lnTo>
                  <a:lnTo>
                    <a:pt x="786" y="1476"/>
                  </a:lnTo>
                  <a:lnTo>
                    <a:pt x="780" y="1470"/>
                  </a:lnTo>
                  <a:lnTo>
                    <a:pt x="774" y="1470"/>
                  </a:lnTo>
                  <a:lnTo>
                    <a:pt x="768" y="1470"/>
                  </a:lnTo>
                  <a:lnTo>
                    <a:pt x="762" y="1476"/>
                  </a:lnTo>
                  <a:lnTo>
                    <a:pt x="762" y="1470"/>
                  </a:lnTo>
                  <a:lnTo>
                    <a:pt x="762" y="1464"/>
                  </a:lnTo>
                  <a:lnTo>
                    <a:pt x="762" y="1458"/>
                  </a:lnTo>
                  <a:lnTo>
                    <a:pt x="756" y="1458"/>
                  </a:lnTo>
                  <a:lnTo>
                    <a:pt x="756" y="1452"/>
                  </a:lnTo>
                  <a:lnTo>
                    <a:pt x="756" y="1446"/>
                  </a:lnTo>
                  <a:lnTo>
                    <a:pt x="756" y="1440"/>
                  </a:lnTo>
                  <a:lnTo>
                    <a:pt x="750" y="1434"/>
                  </a:lnTo>
                  <a:lnTo>
                    <a:pt x="750" y="1428"/>
                  </a:lnTo>
                  <a:lnTo>
                    <a:pt x="750" y="1422"/>
                  </a:lnTo>
                  <a:lnTo>
                    <a:pt x="750" y="1416"/>
                  </a:lnTo>
                  <a:lnTo>
                    <a:pt x="744" y="1416"/>
                  </a:lnTo>
                  <a:lnTo>
                    <a:pt x="744" y="1410"/>
                  </a:lnTo>
                  <a:lnTo>
                    <a:pt x="738" y="1404"/>
                  </a:lnTo>
                  <a:lnTo>
                    <a:pt x="732" y="1398"/>
                  </a:lnTo>
                  <a:lnTo>
                    <a:pt x="732" y="1392"/>
                  </a:lnTo>
                  <a:lnTo>
                    <a:pt x="726" y="1386"/>
                  </a:lnTo>
                  <a:lnTo>
                    <a:pt x="726" y="1380"/>
                  </a:lnTo>
                  <a:lnTo>
                    <a:pt x="714" y="1368"/>
                  </a:lnTo>
                  <a:lnTo>
                    <a:pt x="708" y="1368"/>
                  </a:lnTo>
                  <a:lnTo>
                    <a:pt x="684" y="1332"/>
                  </a:lnTo>
                  <a:lnTo>
                    <a:pt x="666" y="1320"/>
                  </a:lnTo>
                  <a:lnTo>
                    <a:pt x="648" y="1302"/>
                  </a:lnTo>
                  <a:lnTo>
                    <a:pt x="630" y="1314"/>
                  </a:lnTo>
                  <a:lnTo>
                    <a:pt x="624" y="1314"/>
                  </a:lnTo>
                  <a:lnTo>
                    <a:pt x="624" y="1308"/>
                  </a:lnTo>
                  <a:lnTo>
                    <a:pt x="618" y="1308"/>
                  </a:lnTo>
                  <a:lnTo>
                    <a:pt x="612" y="1284"/>
                  </a:lnTo>
                  <a:lnTo>
                    <a:pt x="606" y="1254"/>
                  </a:lnTo>
                  <a:lnTo>
                    <a:pt x="606" y="1248"/>
                  </a:lnTo>
                  <a:lnTo>
                    <a:pt x="606" y="1242"/>
                  </a:lnTo>
                  <a:lnTo>
                    <a:pt x="612" y="1242"/>
                  </a:lnTo>
                  <a:lnTo>
                    <a:pt x="618" y="1236"/>
                  </a:lnTo>
                  <a:lnTo>
                    <a:pt x="618" y="1230"/>
                  </a:lnTo>
                  <a:lnTo>
                    <a:pt x="624" y="1224"/>
                  </a:lnTo>
                  <a:lnTo>
                    <a:pt x="630" y="1224"/>
                  </a:lnTo>
                  <a:lnTo>
                    <a:pt x="636" y="1218"/>
                  </a:lnTo>
                  <a:lnTo>
                    <a:pt x="636" y="1212"/>
                  </a:lnTo>
                  <a:lnTo>
                    <a:pt x="612" y="1200"/>
                  </a:lnTo>
                  <a:lnTo>
                    <a:pt x="606" y="1182"/>
                  </a:lnTo>
                  <a:lnTo>
                    <a:pt x="672" y="1182"/>
                  </a:lnTo>
                  <a:lnTo>
                    <a:pt x="690" y="1170"/>
                  </a:lnTo>
                  <a:lnTo>
                    <a:pt x="690" y="1152"/>
                  </a:lnTo>
                  <a:lnTo>
                    <a:pt x="678" y="1110"/>
                  </a:lnTo>
                  <a:lnTo>
                    <a:pt x="672" y="1092"/>
                  </a:lnTo>
                  <a:lnTo>
                    <a:pt x="660" y="1074"/>
                  </a:lnTo>
                  <a:lnTo>
                    <a:pt x="648" y="1068"/>
                  </a:lnTo>
                  <a:lnTo>
                    <a:pt x="642" y="1068"/>
                  </a:lnTo>
                  <a:lnTo>
                    <a:pt x="636" y="1062"/>
                  </a:lnTo>
                  <a:lnTo>
                    <a:pt x="624" y="1056"/>
                  </a:lnTo>
                  <a:lnTo>
                    <a:pt x="624" y="1050"/>
                  </a:lnTo>
                  <a:lnTo>
                    <a:pt x="618" y="1038"/>
                  </a:lnTo>
                  <a:lnTo>
                    <a:pt x="612" y="1038"/>
                  </a:lnTo>
                  <a:lnTo>
                    <a:pt x="612" y="1032"/>
                  </a:lnTo>
                  <a:lnTo>
                    <a:pt x="612" y="1026"/>
                  </a:lnTo>
                  <a:lnTo>
                    <a:pt x="600" y="1014"/>
                  </a:lnTo>
                  <a:lnTo>
                    <a:pt x="582" y="1008"/>
                  </a:lnTo>
                  <a:lnTo>
                    <a:pt x="576" y="1002"/>
                  </a:lnTo>
                  <a:lnTo>
                    <a:pt x="576" y="996"/>
                  </a:lnTo>
                  <a:lnTo>
                    <a:pt x="570" y="996"/>
                  </a:lnTo>
                  <a:lnTo>
                    <a:pt x="570" y="990"/>
                  </a:lnTo>
                  <a:lnTo>
                    <a:pt x="570" y="984"/>
                  </a:lnTo>
                  <a:lnTo>
                    <a:pt x="564" y="984"/>
                  </a:lnTo>
                  <a:lnTo>
                    <a:pt x="558" y="978"/>
                  </a:lnTo>
                  <a:lnTo>
                    <a:pt x="552" y="972"/>
                  </a:lnTo>
                  <a:lnTo>
                    <a:pt x="552" y="966"/>
                  </a:lnTo>
                  <a:lnTo>
                    <a:pt x="546" y="972"/>
                  </a:lnTo>
                  <a:lnTo>
                    <a:pt x="540" y="972"/>
                  </a:lnTo>
                  <a:lnTo>
                    <a:pt x="534" y="960"/>
                  </a:lnTo>
                  <a:lnTo>
                    <a:pt x="528" y="960"/>
                  </a:lnTo>
                  <a:lnTo>
                    <a:pt x="528" y="966"/>
                  </a:lnTo>
                  <a:lnTo>
                    <a:pt x="516" y="954"/>
                  </a:lnTo>
                  <a:lnTo>
                    <a:pt x="516" y="948"/>
                  </a:lnTo>
                  <a:lnTo>
                    <a:pt x="510" y="948"/>
                  </a:lnTo>
                  <a:lnTo>
                    <a:pt x="504" y="948"/>
                  </a:lnTo>
                  <a:lnTo>
                    <a:pt x="498" y="948"/>
                  </a:lnTo>
                  <a:lnTo>
                    <a:pt x="504" y="954"/>
                  </a:lnTo>
                  <a:lnTo>
                    <a:pt x="498" y="954"/>
                  </a:lnTo>
                  <a:lnTo>
                    <a:pt x="492" y="954"/>
                  </a:lnTo>
                  <a:lnTo>
                    <a:pt x="480" y="942"/>
                  </a:lnTo>
                  <a:lnTo>
                    <a:pt x="480" y="948"/>
                  </a:lnTo>
                  <a:lnTo>
                    <a:pt x="480" y="954"/>
                  </a:lnTo>
                  <a:lnTo>
                    <a:pt x="474" y="954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56" y="966"/>
                  </a:lnTo>
                  <a:lnTo>
                    <a:pt x="456" y="960"/>
                  </a:lnTo>
                  <a:lnTo>
                    <a:pt x="450" y="966"/>
                  </a:lnTo>
                  <a:lnTo>
                    <a:pt x="444" y="966"/>
                  </a:lnTo>
                  <a:lnTo>
                    <a:pt x="414" y="966"/>
                  </a:lnTo>
                  <a:lnTo>
                    <a:pt x="408" y="960"/>
                  </a:lnTo>
                  <a:lnTo>
                    <a:pt x="408" y="966"/>
                  </a:lnTo>
                  <a:lnTo>
                    <a:pt x="402" y="960"/>
                  </a:lnTo>
                  <a:lnTo>
                    <a:pt x="396" y="960"/>
                  </a:lnTo>
                  <a:lnTo>
                    <a:pt x="390" y="960"/>
                  </a:lnTo>
                  <a:lnTo>
                    <a:pt x="390" y="966"/>
                  </a:lnTo>
                  <a:lnTo>
                    <a:pt x="384" y="966"/>
                  </a:lnTo>
                  <a:lnTo>
                    <a:pt x="378" y="966"/>
                  </a:lnTo>
                  <a:lnTo>
                    <a:pt x="384" y="960"/>
                  </a:lnTo>
                  <a:lnTo>
                    <a:pt x="384" y="954"/>
                  </a:lnTo>
                  <a:lnTo>
                    <a:pt x="372" y="948"/>
                  </a:lnTo>
                  <a:lnTo>
                    <a:pt x="372" y="954"/>
                  </a:lnTo>
                  <a:lnTo>
                    <a:pt x="372" y="960"/>
                  </a:lnTo>
                  <a:lnTo>
                    <a:pt x="366" y="960"/>
                  </a:lnTo>
                  <a:lnTo>
                    <a:pt x="360" y="966"/>
                  </a:lnTo>
                  <a:lnTo>
                    <a:pt x="354" y="966"/>
                  </a:lnTo>
                  <a:lnTo>
                    <a:pt x="348" y="960"/>
                  </a:lnTo>
                  <a:lnTo>
                    <a:pt x="342" y="960"/>
                  </a:lnTo>
                  <a:lnTo>
                    <a:pt x="342" y="966"/>
                  </a:lnTo>
                  <a:lnTo>
                    <a:pt x="336" y="972"/>
                  </a:lnTo>
                  <a:lnTo>
                    <a:pt x="330" y="972"/>
                  </a:lnTo>
                  <a:lnTo>
                    <a:pt x="324" y="966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6" y="954"/>
                  </a:lnTo>
                  <a:lnTo>
                    <a:pt x="306" y="948"/>
                  </a:lnTo>
                  <a:lnTo>
                    <a:pt x="306" y="942"/>
                  </a:lnTo>
                  <a:lnTo>
                    <a:pt x="300" y="942"/>
                  </a:lnTo>
                  <a:lnTo>
                    <a:pt x="294" y="936"/>
                  </a:lnTo>
                  <a:lnTo>
                    <a:pt x="288" y="936"/>
                  </a:lnTo>
                  <a:lnTo>
                    <a:pt x="282" y="942"/>
                  </a:lnTo>
                  <a:lnTo>
                    <a:pt x="276" y="936"/>
                  </a:lnTo>
                  <a:lnTo>
                    <a:pt x="276" y="942"/>
                  </a:lnTo>
                  <a:lnTo>
                    <a:pt x="270" y="942"/>
                  </a:lnTo>
                  <a:lnTo>
                    <a:pt x="264" y="936"/>
                  </a:lnTo>
                  <a:lnTo>
                    <a:pt x="252" y="936"/>
                  </a:lnTo>
                  <a:lnTo>
                    <a:pt x="246" y="936"/>
                  </a:lnTo>
                  <a:lnTo>
                    <a:pt x="240" y="936"/>
                  </a:lnTo>
                  <a:lnTo>
                    <a:pt x="234" y="936"/>
                  </a:lnTo>
                  <a:lnTo>
                    <a:pt x="240" y="924"/>
                  </a:lnTo>
                  <a:lnTo>
                    <a:pt x="234" y="924"/>
                  </a:lnTo>
                  <a:lnTo>
                    <a:pt x="228" y="918"/>
                  </a:lnTo>
                  <a:lnTo>
                    <a:pt x="228" y="906"/>
                  </a:lnTo>
                  <a:lnTo>
                    <a:pt x="222" y="900"/>
                  </a:lnTo>
                  <a:lnTo>
                    <a:pt x="216" y="900"/>
                  </a:lnTo>
                  <a:lnTo>
                    <a:pt x="210" y="900"/>
                  </a:lnTo>
                  <a:lnTo>
                    <a:pt x="210" y="906"/>
                  </a:lnTo>
                  <a:lnTo>
                    <a:pt x="204" y="906"/>
                  </a:lnTo>
                  <a:lnTo>
                    <a:pt x="198" y="906"/>
                  </a:lnTo>
                  <a:lnTo>
                    <a:pt x="210" y="900"/>
                  </a:lnTo>
                  <a:lnTo>
                    <a:pt x="210" y="894"/>
                  </a:lnTo>
                  <a:lnTo>
                    <a:pt x="216" y="888"/>
                  </a:lnTo>
                  <a:lnTo>
                    <a:pt x="204" y="882"/>
                  </a:lnTo>
                  <a:lnTo>
                    <a:pt x="204" y="894"/>
                  </a:lnTo>
                  <a:lnTo>
                    <a:pt x="198" y="894"/>
                  </a:lnTo>
                  <a:lnTo>
                    <a:pt x="192" y="900"/>
                  </a:lnTo>
                  <a:lnTo>
                    <a:pt x="186" y="894"/>
                  </a:lnTo>
                  <a:lnTo>
                    <a:pt x="180" y="894"/>
                  </a:lnTo>
                  <a:lnTo>
                    <a:pt x="174" y="894"/>
                  </a:lnTo>
                  <a:lnTo>
                    <a:pt x="168" y="900"/>
                  </a:lnTo>
                  <a:lnTo>
                    <a:pt x="162" y="906"/>
                  </a:lnTo>
                  <a:lnTo>
                    <a:pt x="156" y="906"/>
                  </a:lnTo>
                  <a:lnTo>
                    <a:pt x="150" y="900"/>
                  </a:lnTo>
                  <a:lnTo>
                    <a:pt x="144" y="894"/>
                  </a:lnTo>
                  <a:lnTo>
                    <a:pt x="138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0" y="888"/>
                  </a:lnTo>
                  <a:lnTo>
                    <a:pt x="114" y="894"/>
                  </a:lnTo>
                  <a:lnTo>
                    <a:pt x="120" y="900"/>
                  </a:lnTo>
                  <a:lnTo>
                    <a:pt x="126" y="900"/>
                  </a:lnTo>
                  <a:lnTo>
                    <a:pt x="132" y="900"/>
                  </a:lnTo>
                  <a:lnTo>
                    <a:pt x="132" y="906"/>
                  </a:lnTo>
                  <a:lnTo>
                    <a:pt x="126" y="912"/>
                  </a:lnTo>
                  <a:lnTo>
                    <a:pt x="126" y="918"/>
                  </a:lnTo>
                  <a:lnTo>
                    <a:pt x="114" y="918"/>
                  </a:lnTo>
                  <a:lnTo>
                    <a:pt x="108" y="924"/>
                  </a:lnTo>
                  <a:lnTo>
                    <a:pt x="102" y="924"/>
                  </a:lnTo>
                  <a:lnTo>
                    <a:pt x="90" y="924"/>
                  </a:lnTo>
                  <a:lnTo>
                    <a:pt x="84" y="924"/>
                  </a:lnTo>
                  <a:lnTo>
                    <a:pt x="78" y="924"/>
                  </a:lnTo>
                  <a:lnTo>
                    <a:pt x="60" y="924"/>
                  </a:lnTo>
                  <a:lnTo>
                    <a:pt x="54" y="942"/>
                  </a:lnTo>
                  <a:lnTo>
                    <a:pt x="48" y="936"/>
                  </a:lnTo>
                  <a:lnTo>
                    <a:pt x="42" y="930"/>
                  </a:lnTo>
                  <a:lnTo>
                    <a:pt x="36" y="930"/>
                  </a:lnTo>
                  <a:lnTo>
                    <a:pt x="30" y="936"/>
                  </a:lnTo>
                  <a:lnTo>
                    <a:pt x="30" y="930"/>
                  </a:lnTo>
                  <a:lnTo>
                    <a:pt x="30" y="924"/>
                  </a:lnTo>
                  <a:lnTo>
                    <a:pt x="18" y="918"/>
                  </a:lnTo>
                  <a:lnTo>
                    <a:pt x="18" y="912"/>
                  </a:lnTo>
                  <a:lnTo>
                    <a:pt x="12" y="912"/>
                  </a:lnTo>
                  <a:lnTo>
                    <a:pt x="6" y="912"/>
                  </a:lnTo>
                  <a:lnTo>
                    <a:pt x="6" y="900"/>
                  </a:lnTo>
                  <a:lnTo>
                    <a:pt x="6" y="894"/>
                  </a:lnTo>
                  <a:lnTo>
                    <a:pt x="0" y="870"/>
                  </a:lnTo>
                  <a:lnTo>
                    <a:pt x="6" y="846"/>
                  </a:lnTo>
                  <a:lnTo>
                    <a:pt x="6" y="810"/>
                  </a:lnTo>
                  <a:lnTo>
                    <a:pt x="12" y="774"/>
                  </a:lnTo>
                  <a:lnTo>
                    <a:pt x="12" y="756"/>
                  </a:lnTo>
                  <a:lnTo>
                    <a:pt x="18" y="744"/>
                  </a:lnTo>
                  <a:lnTo>
                    <a:pt x="18" y="732"/>
                  </a:lnTo>
                  <a:lnTo>
                    <a:pt x="12" y="576"/>
                  </a:lnTo>
                  <a:lnTo>
                    <a:pt x="12" y="570"/>
                  </a:lnTo>
                  <a:lnTo>
                    <a:pt x="18" y="564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42" y="552"/>
                  </a:lnTo>
                  <a:lnTo>
                    <a:pt x="66" y="552"/>
                  </a:lnTo>
                  <a:lnTo>
                    <a:pt x="78" y="558"/>
                  </a:lnTo>
                  <a:lnTo>
                    <a:pt x="90" y="558"/>
                  </a:lnTo>
                  <a:lnTo>
                    <a:pt x="108" y="558"/>
                  </a:lnTo>
                  <a:lnTo>
                    <a:pt x="144" y="558"/>
                  </a:lnTo>
                  <a:lnTo>
                    <a:pt x="204" y="552"/>
                  </a:lnTo>
                  <a:lnTo>
                    <a:pt x="210" y="558"/>
                  </a:lnTo>
                  <a:lnTo>
                    <a:pt x="216" y="558"/>
                  </a:lnTo>
                  <a:lnTo>
                    <a:pt x="210" y="564"/>
                  </a:lnTo>
                  <a:lnTo>
                    <a:pt x="216" y="564"/>
                  </a:lnTo>
                  <a:lnTo>
                    <a:pt x="222" y="564"/>
                  </a:lnTo>
                  <a:lnTo>
                    <a:pt x="240" y="564"/>
                  </a:lnTo>
                  <a:lnTo>
                    <a:pt x="258" y="564"/>
                  </a:lnTo>
                  <a:lnTo>
                    <a:pt x="264" y="570"/>
                  </a:lnTo>
                  <a:lnTo>
                    <a:pt x="276" y="570"/>
                  </a:lnTo>
                  <a:lnTo>
                    <a:pt x="282" y="564"/>
                  </a:lnTo>
                  <a:lnTo>
                    <a:pt x="294" y="564"/>
                  </a:lnTo>
                  <a:lnTo>
                    <a:pt x="294" y="570"/>
                  </a:lnTo>
                  <a:lnTo>
                    <a:pt x="300" y="570"/>
                  </a:lnTo>
                  <a:lnTo>
                    <a:pt x="378" y="564"/>
                  </a:lnTo>
                  <a:lnTo>
                    <a:pt x="408" y="558"/>
                  </a:lnTo>
                  <a:lnTo>
                    <a:pt x="432" y="552"/>
                  </a:lnTo>
                  <a:lnTo>
                    <a:pt x="450" y="546"/>
                  </a:lnTo>
                  <a:lnTo>
                    <a:pt x="468" y="546"/>
                  </a:lnTo>
                  <a:lnTo>
                    <a:pt x="468" y="552"/>
                  </a:lnTo>
                  <a:lnTo>
                    <a:pt x="504" y="552"/>
                  </a:lnTo>
                  <a:lnTo>
                    <a:pt x="510" y="534"/>
                  </a:lnTo>
                  <a:lnTo>
                    <a:pt x="516" y="510"/>
                  </a:lnTo>
                  <a:lnTo>
                    <a:pt x="522" y="510"/>
                  </a:lnTo>
                  <a:lnTo>
                    <a:pt x="528" y="420"/>
                  </a:lnTo>
                  <a:lnTo>
                    <a:pt x="522" y="414"/>
                  </a:lnTo>
                  <a:lnTo>
                    <a:pt x="516" y="396"/>
                  </a:lnTo>
                  <a:lnTo>
                    <a:pt x="510" y="372"/>
                  </a:lnTo>
                  <a:lnTo>
                    <a:pt x="498" y="348"/>
                  </a:lnTo>
                  <a:lnTo>
                    <a:pt x="474" y="282"/>
                  </a:lnTo>
                  <a:lnTo>
                    <a:pt x="474" y="270"/>
                  </a:lnTo>
                  <a:lnTo>
                    <a:pt x="480" y="258"/>
                  </a:lnTo>
                  <a:lnTo>
                    <a:pt x="486" y="258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92" y="246"/>
                  </a:lnTo>
                  <a:lnTo>
                    <a:pt x="504" y="234"/>
                  </a:lnTo>
                  <a:lnTo>
                    <a:pt x="510" y="228"/>
                  </a:lnTo>
                  <a:lnTo>
                    <a:pt x="516" y="228"/>
                  </a:lnTo>
                  <a:lnTo>
                    <a:pt x="516" y="222"/>
                  </a:lnTo>
                  <a:lnTo>
                    <a:pt x="516" y="216"/>
                  </a:lnTo>
                  <a:lnTo>
                    <a:pt x="522" y="216"/>
                  </a:lnTo>
                  <a:lnTo>
                    <a:pt x="528" y="210"/>
                  </a:lnTo>
                  <a:lnTo>
                    <a:pt x="534" y="210"/>
                  </a:lnTo>
                  <a:lnTo>
                    <a:pt x="540" y="210"/>
                  </a:lnTo>
                  <a:lnTo>
                    <a:pt x="546" y="210"/>
                  </a:lnTo>
                  <a:lnTo>
                    <a:pt x="552" y="210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16"/>
                  </a:lnTo>
                  <a:lnTo>
                    <a:pt x="588" y="228"/>
                  </a:lnTo>
                  <a:lnTo>
                    <a:pt x="594" y="234"/>
                  </a:lnTo>
                  <a:lnTo>
                    <a:pt x="600" y="240"/>
                  </a:lnTo>
                  <a:lnTo>
                    <a:pt x="618" y="246"/>
                  </a:lnTo>
                  <a:lnTo>
                    <a:pt x="624" y="246"/>
                  </a:lnTo>
                  <a:lnTo>
                    <a:pt x="636" y="252"/>
                  </a:lnTo>
                  <a:lnTo>
                    <a:pt x="654" y="252"/>
                  </a:lnTo>
                  <a:lnTo>
                    <a:pt x="654" y="258"/>
                  </a:lnTo>
                  <a:lnTo>
                    <a:pt x="666" y="264"/>
                  </a:lnTo>
                  <a:lnTo>
                    <a:pt x="672" y="264"/>
                  </a:lnTo>
                  <a:lnTo>
                    <a:pt x="678" y="264"/>
                  </a:lnTo>
                  <a:lnTo>
                    <a:pt x="696" y="258"/>
                  </a:lnTo>
                  <a:lnTo>
                    <a:pt x="696" y="252"/>
                  </a:lnTo>
                  <a:lnTo>
                    <a:pt x="696" y="246"/>
                  </a:lnTo>
                  <a:lnTo>
                    <a:pt x="690" y="234"/>
                  </a:lnTo>
                  <a:lnTo>
                    <a:pt x="684" y="210"/>
                  </a:lnTo>
                  <a:lnTo>
                    <a:pt x="678" y="192"/>
                  </a:lnTo>
                  <a:lnTo>
                    <a:pt x="672" y="174"/>
                  </a:lnTo>
                  <a:lnTo>
                    <a:pt x="672" y="168"/>
                  </a:lnTo>
                  <a:lnTo>
                    <a:pt x="672" y="162"/>
                  </a:lnTo>
                  <a:lnTo>
                    <a:pt x="672" y="156"/>
                  </a:lnTo>
                  <a:lnTo>
                    <a:pt x="684" y="132"/>
                  </a:lnTo>
                  <a:lnTo>
                    <a:pt x="684" y="120"/>
                  </a:lnTo>
                  <a:lnTo>
                    <a:pt x="684" y="108"/>
                  </a:lnTo>
                  <a:lnTo>
                    <a:pt x="678" y="102"/>
                  </a:lnTo>
                  <a:lnTo>
                    <a:pt x="678" y="96"/>
                  </a:lnTo>
                  <a:lnTo>
                    <a:pt x="684" y="96"/>
                  </a:lnTo>
                  <a:lnTo>
                    <a:pt x="696" y="90"/>
                  </a:lnTo>
                  <a:lnTo>
                    <a:pt x="702" y="84"/>
                  </a:lnTo>
                  <a:lnTo>
                    <a:pt x="720" y="72"/>
                  </a:lnTo>
                  <a:lnTo>
                    <a:pt x="738" y="66"/>
                  </a:lnTo>
                  <a:lnTo>
                    <a:pt x="756" y="60"/>
                  </a:lnTo>
                  <a:lnTo>
                    <a:pt x="768" y="60"/>
                  </a:lnTo>
                  <a:lnTo>
                    <a:pt x="798" y="72"/>
                  </a:lnTo>
                  <a:lnTo>
                    <a:pt x="804" y="78"/>
                  </a:lnTo>
                  <a:lnTo>
                    <a:pt x="816" y="84"/>
                  </a:lnTo>
                  <a:lnTo>
                    <a:pt x="822" y="84"/>
                  </a:lnTo>
                  <a:lnTo>
                    <a:pt x="828" y="72"/>
                  </a:lnTo>
                  <a:lnTo>
                    <a:pt x="828" y="60"/>
                  </a:lnTo>
                  <a:lnTo>
                    <a:pt x="828" y="36"/>
                  </a:lnTo>
                  <a:lnTo>
                    <a:pt x="828" y="24"/>
                  </a:lnTo>
                  <a:lnTo>
                    <a:pt x="828" y="12"/>
                  </a:lnTo>
                  <a:lnTo>
                    <a:pt x="834" y="12"/>
                  </a:lnTo>
                  <a:lnTo>
                    <a:pt x="852" y="6"/>
                  </a:lnTo>
                  <a:lnTo>
                    <a:pt x="876" y="6"/>
                  </a:lnTo>
                  <a:lnTo>
                    <a:pt x="894" y="6"/>
                  </a:lnTo>
                  <a:lnTo>
                    <a:pt x="906" y="12"/>
                  </a:lnTo>
                  <a:lnTo>
                    <a:pt x="912" y="24"/>
                  </a:lnTo>
                  <a:lnTo>
                    <a:pt x="924" y="24"/>
                  </a:lnTo>
                  <a:lnTo>
                    <a:pt x="930" y="30"/>
                  </a:lnTo>
                  <a:lnTo>
                    <a:pt x="936" y="30"/>
                  </a:lnTo>
                  <a:lnTo>
                    <a:pt x="936" y="36"/>
                  </a:lnTo>
                  <a:lnTo>
                    <a:pt x="942" y="36"/>
                  </a:lnTo>
                  <a:lnTo>
                    <a:pt x="948" y="42"/>
                  </a:lnTo>
                  <a:lnTo>
                    <a:pt x="960" y="48"/>
                  </a:lnTo>
                  <a:lnTo>
                    <a:pt x="966" y="48"/>
                  </a:lnTo>
                  <a:lnTo>
                    <a:pt x="1026" y="60"/>
                  </a:lnTo>
                  <a:lnTo>
                    <a:pt x="1050" y="60"/>
                  </a:lnTo>
                  <a:lnTo>
                    <a:pt x="1050" y="54"/>
                  </a:lnTo>
                  <a:lnTo>
                    <a:pt x="1062" y="54"/>
                  </a:lnTo>
                  <a:lnTo>
                    <a:pt x="1074" y="48"/>
                  </a:lnTo>
                  <a:lnTo>
                    <a:pt x="1086" y="42"/>
                  </a:lnTo>
                  <a:lnTo>
                    <a:pt x="1104" y="36"/>
                  </a:lnTo>
                  <a:lnTo>
                    <a:pt x="1116" y="30"/>
                  </a:lnTo>
                  <a:lnTo>
                    <a:pt x="1122" y="24"/>
                  </a:lnTo>
                  <a:lnTo>
                    <a:pt x="1128" y="18"/>
                  </a:lnTo>
                  <a:lnTo>
                    <a:pt x="1134" y="18"/>
                  </a:lnTo>
                  <a:lnTo>
                    <a:pt x="1140" y="12"/>
                  </a:lnTo>
                  <a:lnTo>
                    <a:pt x="1146" y="6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24"/>
                  </a:lnTo>
                  <a:lnTo>
                    <a:pt x="1176" y="36"/>
                  </a:lnTo>
                  <a:lnTo>
                    <a:pt x="1188" y="42"/>
                  </a:lnTo>
                  <a:lnTo>
                    <a:pt x="1200" y="54"/>
                  </a:lnTo>
                  <a:lnTo>
                    <a:pt x="1224" y="84"/>
                  </a:lnTo>
                  <a:lnTo>
                    <a:pt x="1224" y="90"/>
                  </a:lnTo>
                  <a:lnTo>
                    <a:pt x="1236" y="96"/>
                  </a:lnTo>
                  <a:lnTo>
                    <a:pt x="1236" y="108"/>
                  </a:lnTo>
                  <a:lnTo>
                    <a:pt x="1248" y="114"/>
                  </a:lnTo>
                  <a:lnTo>
                    <a:pt x="1254" y="114"/>
                  </a:lnTo>
                  <a:lnTo>
                    <a:pt x="1260" y="114"/>
                  </a:lnTo>
                  <a:lnTo>
                    <a:pt x="1296" y="114"/>
                  </a:lnTo>
                  <a:lnTo>
                    <a:pt x="1302" y="114"/>
                  </a:lnTo>
                  <a:lnTo>
                    <a:pt x="1320" y="108"/>
                  </a:lnTo>
                  <a:lnTo>
                    <a:pt x="1326" y="108"/>
                  </a:lnTo>
                  <a:lnTo>
                    <a:pt x="1326" y="138"/>
                  </a:lnTo>
                  <a:lnTo>
                    <a:pt x="1326" y="210"/>
                  </a:lnTo>
                  <a:lnTo>
                    <a:pt x="1320" y="252"/>
                  </a:lnTo>
                  <a:lnTo>
                    <a:pt x="1320" y="270"/>
                  </a:lnTo>
                  <a:lnTo>
                    <a:pt x="1320" y="288"/>
                  </a:lnTo>
                  <a:lnTo>
                    <a:pt x="1320" y="318"/>
                  </a:lnTo>
                  <a:lnTo>
                    <a:pt x="1326" y="354"/>
                  </a:lnTo>
                  <a:lnTo>
                    <a:pt x="1326" y="372"/>
                  </a:lnTo>
                  <a:lnTo>
                    <a:pt x="1332" y="420"/>
                  </a:lnTo>
                  <a:lnTo>
                    <a:pt x="1332" y="450"/>
                  </a:lnTo>
                  <a:lnTo>
                    <a:pt x="1338" y="480"/>
                  </a:lnTo>
                  <a:lnTo>
                    <a:pt x="1344" y="486"/>
                  </a:lnTo>
                  <a:lnTo>
                    <a:pt x="1338" y="492"/>
                  </a:lnTo>
                  <a:lnTo>
                    <a:pt x="1344" y="492"/>
                  </a:lnTo>
                  <a:lnTo>
                    <a:pt x="1344" y="498"/>
                  </a:lnTo>
                  <a:lnTo>
                    <a:pt x="1350" y="498"/>
                  </a:lnTo>
                  <a:lnTo>
                    <a:pt x="1350" y="522"/>
                  </a:lnTo>
                  <a:lnTo>
                    <a:pt x="1362" y="564"/>
                  </a:lnTo>
                  <a:lnTo>
                    <a:pt x="1368" y="582"/>
                  </a:lnTo>
                  <a:lnTo>
                    <a:pt x="1380" y="600"/>
                  </a:lnTo>
                  <a:lnTo>
                    <a:pt x="1386" y="636"/>
                  </a:lnTo>
                  <a:lnTo>
                    <a:pt x="1380" y="660"/>
                  </a:lnTo>
                  <a:lnTo>
                    <a:pt x="1380" y="678"/>
                  </a:lnTo>
                  <a:lnTo>
                    <a:pt x="1380" y="684"/>
                  </a:lnTo>
                  <a:lnTo>
                    <a:pt x="1374" y="684"/>
                  </a:lnTo>
                  <a:lnTo>
                    <a:pt x="1368" y="690"/>
                  </a:lnTo>
                  <a:lnTo>
                    <a:pt x="1356" y="702"/>
                  </a:lnTo>
                  <a:lnTo>
                    <a:pt x="1350" y="708"/>
                  </a:lnTo>
                  <a:lnTo>
                    <a:pt x="1356" y="714"/>
                  </a:lnTo>
                  <a:lnTo>
                    <a:pt x="1368" y="726"/>
                  </a:lnTo>
                  <a:lnTo>
                    <a:pt x="1380" y="738"/>
                  </a:lnTo>
                  <a:lnTo>
                    <a:pt x="1386" y="744"/>
                  </a:lnTo>
                  <a:lnTo>
                    <a:pt x="1392" y="744"/>
                  </a:lnTo>
                  <a:lnTo>
                    <a:pt x="1410" y="750"/>
                  </a:lnTo>
                  <a:lnTo>
                    <a:pt x="1416" y="756"/>
                  </a:lnTo>
                  <a:lnTo>
                    <a:pt x="1422" y="756"/>
                  </a:lnTo>
                  <a:lnTo>
                    <a:pt x="1422" y="762"/>
                  </a:lnTo>
                  <a:lnTo>
                    <a:pt x="1428" y="774"/>
                  </a:lnTo>
                  <a:lnTo>
                    <a:pt x="1428" y="780"/>
                  </a:lnTo>
                  <a:lnTo>
                    <a:pt x="1434" y="780"/>
                  </a:lnTo>
                  <a:lnTo>
                    <a:pt x="1440" y="798"/>
                  </a:lnTo>
                  <a:lnTo>
                    <a:pt x="1422" y="816"/>
                  </a:lnTo>
                  <a:lnTo>
                    <a:pt x="1386" y="810"/>
                  </a:lnTo>
                  <a:lnTo>
                    <a:pt x="1380" y="816"/>
                  </a:lnTo>
                  <a:lnTo>
                    <a:pt x="1374" y="840"/>
                  </a:lnTo>
                  <a:lnTo>
                    <a:pt x="1350" y="852"/>
                  </a:lnTo>
                  <a:lnTo>
                    <a:pt x="1350" y="858"/>
                  </a:lnTo>
                  <a:lnTo>
                    <a:pt x="1350" y="864"/>
                  </a:lnTo>
                  <a:lnTo>
                    <a:pt x="1344" y="864"/>
                  </a:lnTo>
                  <a:lnTo>
                    <a:pt x="1338" y="870"/>
                  </a:lnTo>
                  <a:lnTo>
                    <a:pt x="1332" y="876"/>
                  </a:lnTo>
                  <a:lnTo>
                    <a:pt x="1314" y="876"/>
                  </a:lnTo>
                  <a:lnTo>
                    <a:pt x="1314" y="870"/>
                  </a:lnTo>
                  <a:lnTo>
                    <a:pt x="1308" y="870"/>
                  </a:lnTo>
                  <a:lnTo>
                    <a:pt x="1302" y="864"/>
                  </a:lnTo>
                  <a:lnTo>
                    <a:pt x="1296" y="864"/>
                  </a:lnTo>
                  <a:lnTo>
                    <a:pt x="1284" y="870"/>
                  </a:lnTo>
                  <a:lnTo>
                    <a:pt x="1266" y="870"/>
                  </a:lnTo>
                  <a:lnTo>
                    <a:pt x="1260" y="870"/>
                  </a:lnTo>
                  <a:lnTo>
                    <a:pt x="1248" y="876"/>
                  </a:lnTo>
                  <a:lnTo>
                    <a:pt x="1236" y="876"/>
                  </a:lnTo>
                  <a:lnTo>
                    <a:pt x="1230" y="882"/>
                  </a:lnTo>
                  <a:lnTo>
                    <a:pt x="1224" y="894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18" y="942"/>
                  </a:lnTo>
                  <a:lnTo>
                    <a:pt x="1212" y="948"/>
                  </a:lnTo>
                  <a:lnTo>
                    <a:pt x="1200" y="984"/>
                  </a:lnTo>
                  <a:lnTo>
                    <a:pt x="1194" y="1008"/>
                  </a:lnTo>
                  <a:lnTo>
                    <a:pt x="1218" y="1038"/>
                  </a:lnTo>
                  <a:lnTo>
                    <a:pt x="1224" y="1044"/>
                  </a:lnTo>
                  <a:lnTo>
                    <a:pt x="1224" y="1062"/>
                  </a:lnTo>
                  <a:lnTo>
                    <a:pt x="1236" y="1080"/>
                  </a:lnTo>
                  <a:lnTo>
                    <a:pt x="1236" y="1086"/>
                  </a:lnTo>
                  <a:lnTo>
                    <a:pt x="1230" y="1092"/>
                  </a:lnTo>
                  <a:lnTo>
                    <a:pt x="1224" y="1110"/>
                  </a:lnTo>
                  <a:lnTo>
                    <a:pt x="1218" y="1122"/>
                  </a:lnTo>
                  <a:lnTo>
                    <a:pt x="1224" y="1140"/>
                  </a:lnTo>
                  <a:lnTo>
                    <a:pt x="1218" y="1146"/>
                  </a:lnTo>
                  <a:lnTo>
                    <a:pt x="1218" y="1152"/>
                  </a:lnTo>
                  <a:lnTo>
                    <a:pt x="1212" y="116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1" name="Freeform 36">
              <a:extLst>
                <a:ext uri="{FF2B5EF4-FFF2-40B4-BE49-F238E27FC236}">
                  <a16:creationId xmlns:a16="http://schemas.microsoft.com/office/drawing/2014/main" id="{B9C0D6BE-CB1C-4E69-B224-1ABF097AA8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90208" y="1647855"/>
              <a:ext cx="742415" cy="758173"/>
            </a:xfrm>
            <a:custGeom>
              <a:avLst/>
              <a:gdLst>
                <a:gd name="T0" fmla="*/ 75 w 1398"/>
                <a:gd name="T1" fmla="*/ 48 h 1428"/>
                <a:gd name="T2" fmla="*/ 68 w 1398"/>
                <a:gd name="T3" fmla="*/ 54 h 1428"/>
                <a:gd name="T4" fmla="*/ 57 w 1398"/>
                <a:gd name="T5" fmla="*/ 59 h 1428"/>
                <a:gd name="T6" fmla="*/ 55 w 1398"/>
                <a:gd name="T7" fmla="*/ 68 h 1428"/>
                <a:gd name="T8" fmla="*/ 55 w 1398"/>
                <a:gd name="T9" fmla="*/ 77 h 1428"/>
                <a:gd name="T10" fmla="*/ 57 w 1398"/>
                <a:gd name="T11" fmla="*/ 81 h 1428"/>
                <a:gd name="T12" fmla="*/ 56 w 1398"/>
                <a:gd name="T13" fmla="*/ 86 h 1428"/>
                <a:gd name="T14" fmla="*/ 57 w 1398"/>
                <a:gd name="T15" fmla="*/ 89 h 1428"/>
                <a:gd name="T16" fmla="*/ 58 w 1398"/>
                <a:gd name="T17" fmla="*/ 92 h 1428"/>
                <a:gd name="T18" fmla="*/ 58 w 1398"/>
                <a:gd name="T19" fmla="*/ 96 h 1428"/>
                <a:gd name="T20" fmla="*/ 49 w 1398"/>
                <a:gd name="T21" fmla="*/ 100 h 1428"/>
                <a:gd name="T22" fmla="*/ 47 w 1398"/>
                <a:gd name="T23" fmla="*/ 108 h 1428"/>
                <a:gd name="T24" fmla="*/ 48 w 1398"/>
                <a:gd name="T25" fmla="*/ 113 h 1428"/>
                <a:gd name="T26" fmla="*/ 43 w 1398"/>
                <a:gd name="T27" fmla="*/ 114 h 1428"/>
                <a:gd name="T28" fmla="*/ 39 w 1398"/>
                <a:gd name="T29" fmla="*/ 113 h 1428"/>
                <a:gd name="T30" fmla="*/ 33 w 1398"/>
                <a:gd name="T31" fmla="*/ 109 h 1428"/>
                <a:gd name="T32" fmla="*/ 29 w 1398"/>
                <a:gd name="T33" fmla="*/ 114 h 1428"/>
                <a:gd name="T34" fmla="*/ 22 w 1398"/>
                <a:gd name="T35" fmla="*/ 115 h 1428"/>
                <a:gd name="T36" fmla="*/ 21 w 1398"/>
                <a:gd name="T37" fmla="*/ 121 h 1428"/>
                <a:gd name="T38" fmla="*/ 12 w 1398"/>
                <a:gd name="T39" fmla="*/ 119 h 1428"/>
                <a:gd name="T40" fmla="*/ 9 w 1398"/>
                <a:gd name="T41" fmla="*/ 113 h 1428"/>
                <a:gd name="T42" fmla="*/ 2 w 1398"/>
                <a:gd name="T43" fmla="*/ 109 h 1428"/>
                <a:gd name="T44" fmla="*/ 4 w 1398"/>
                <a:gd name="T45" fmla="*/ 103 h 1428"/>
                <a:gd name="T46" fmla="*/ 2 w 1398"/>
                <a:gd name="T47" fmla="*/ 91 h 1428"/>
                <a:gd name="T48" fmla="*/ 6 w 1398"/>
                <a:gd name="T49" fmla="*/ 85 h 1428"/>
                <a:gd name="T50" fmla="*/ 10 w 1398"/>
                <a:gd name="T51" fmla="*/ 85 h 1428"/>
                <a:gd name="T52" fmla="*/ 15 w 1398"/>
                <a:gd name="T53" fmla="*/ 82 h 1428"/>
                <a:gd name="T54" fmla="*/ 20 w 1398"/>
                <a:gd name="T55" fmla="*/ 77 h 1428"/>
                <a:gd name="T56" fmla="*/ 16 w 1398"/>
                <a:gd name="T57" fmla="*/ 73 h 1428"/>
                <a:gd name="T58" fmla="*/ 16 w 1398"/>
                <a:gd name="T59" fmla="*/ 69 h 1428"/>
                <a:gd name="T60" fmla="*/ 14 w 1398"/>
                <a:gd name="T61" fmla="*/ 54 h 1428"/>
                <a:gd name="T62" fmla="*/ 12 w 1398"/>
                <a:gd name="T63" fmla="*/ 48 h 1428"/>
                <a:gd name="T64" fmla="*/ 11 w 1398"/>
                <a:gd name="T65" fmla="*/ 31 h 1428"/>
                <a:gd name="T66" fmla="*/ 14 w 1398"/>
                <a:gd name="T67" fmla="*/ 18 h 1428"/>
                <a:gd name="T68" fmla="*/ 19 w 1398"/>
                <a:gd name="T69" fmla="*/ 15 h 1428"/>
                <a:gd name="T70" fmla="*/ 26 w 1398"/>
                <a:gd name="T71" fmla="*/ 13 h 1428"/>
                <a:gd name="T72" fmla="*/ 34 w 1398"/>
                <a:gd name="T73" fmla="*/ 12 h 1428"/>
                <a:gd name="T74" fmla="*/ 39 w 1398"/>
                <a:gd name="T75" fmla="*/ 9 h 1428"/>
                <a:gd name="T76" fmla="*/ 43 w 1398"/>
                <a:gd name="T77" fmla="*/ 7 h 1428"/>
                <a:gd name="T78" fmla="*/ 48 w 1398"/>
                <a:gd name="T79" fmla="*/ 3 h 1428"/>
                <a:gd name="T80" fmla="*/ 54 w 1398"/>
                <a:gd name="T81" fmla="*/ 0 h 1428"/>
                <a:gd name="T82" fmla="*/ 58 w 1398"/>
                <a:gd name="T83" fmla="*/ 0 h 1428"/>
                <a:gd name="T84" fmla="*/ 66 w 1398"/>
                <a:gd name="T85" fmla="*/ 2 h 1428"/>
                <a:gd name="T86" fmla="*/ 70 w 1398"/>
                <a:gd name="T87" fmla="*/ 3 h 1428"/>
                <a:gd name="T88" fmla="*/ 75 w 1398"/>
                <a:gd name="T89" fmla="*/ 6 h 1428"/>
                <a:gd name="T90" fmla="*/ 80 w 1398"/>
                <a:gd name="T91" fmla="*/ 9 h 1428"/>
                <a:gd name="T92" fmla="*/ 83 w 1398"/>
                <a:gd name="T93" fmla="*/ 12 h 1428"/>
                <a:gd name="T94" fmla="*/ 87 w 1398"/>
                <a:gd name="T95" fmla="*/ 15 h 1428"/>
                <a:gd name="T96" fmla="*/ 94 w 1398"/>
                <a:gd name="T97" fmla="*/ 15 h 1428"/>
                <a:gd name="T98" fmla="*/ 99 w 1398"/>
                <a:gd name="T99" fmla="*/ 21 h 1428"/>
                <a:gd name="T100" fmla="*/ 103 w 1398"/>
                <a:gd name="T101" fmla="*/ 23 h 1428"/>
                <a:gd name="T102" fmla="*/ 110 w 1398"/>
                <a:gd name="T103" fmla="*/ 26 h 1428"/>
                <a:gd name="T104" fmla="*/ 116 w 1398"/>
                <a:gd name="T105" fmla="*/ 27 h 1428"/>
                <a:gd name="T106" fmla="*/ 120 w 1398"/>
                <a:gd name="T107" fmla="*/ 27 h 1428"/>
                <a:gd name="T108" fmla="*/ 116 w 1398"/>
                <a:gd name="T109" fmla="*/ 35 h 1428"/>
                <a:gd name="T110" fmla="*/ 104 w 1398"/>
                <a:gd name="T111" fmla="*/ 37 h 1428"/>
                <a:gd name="T112" fmla="*/ 97 w 1398"/>
                <a:gd name="T113" fmla="*/ 34 h 1428"/>
                <a:gd name="T114" fmla="*/ 91 w 1398"/>
                <a:gd name="T115" fmla="*/ 29 h 1428"/>
                <a:gd name="T116" fmla="*/ 75 w 1398"/>
                <a:gd name="T117" fmla="*/ 29 h 1428"/>
                <a:gd name="T118" fmla="*/ 72 w 1398"/>
                <a:gd name="T119" fmla="*/ 39 h 1428"/>
                <a:gd name="T120" fmla="*/ 80 w 1398"/>
                <a:gd name="T121" fmla="*/ 41 h 142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98"/>
                <a:gd name="T184" fmla="*/ 0 h 1428"/>
                <a:gd name="T185" fmla="*/ 1398 w 1398"/>
                <a:gd name="T186" fmla="*/ 1428 h 142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98" h="1428">
                  <a:moveTo>
                    <a:pt x="924" y="474"/>
                  </a:moveTo>
                  <a:lnTo>
                    <a:pt x="900" y="480"/>
                  </a:lnTo>
                  <a:lnTo>
                    <a:pt x="864" y="486"/>
                  </a:lnTo>
                  <a:lnTo>
                    <a:pt x="864" y="504"/>
                  </a:lnTo>
                  <a:lnTo>
                    <a:pt x="858" y="522"/>
                  </a:lnTo>
                  <a:lnTo>
                    <a:pt x="864" y="528"/>
                  </a:lnTo>
                  <a:lnTo>
                    <a:pt x="864" y="552"/>
                  </a:lnTo>
                  <a:lnTo>
                    <a:pt x="852" y="552"/>
                  </a:lnTo>
                  <a:lnTo>
                    <a:pt x="846" y="564"/>
                  </a:lnTo>
                  <a:lnTo>
                    <a:pt x="840" y="582"/>
                  </a:lnTo>
                  <a:lnTo>
                    <a:pt x="834" y="594"/>
                  </a:lnTo>
                  <a:lnTo>
                    <a:pt x="828" y="606"/>
                  </a:lnTo>
                  <a:lnTo>
                    <a:pt x="828" y="618"/>
                  </a:lnTo>
                  <a:lnTo>
                    <a:pt x="786" y="630"/>
                  </a:lnTo>
                  <a:lnTo>
                    <a:pt x="774" y="636"/>
                  </a:lnTo>
                  <a:lnTo>
                    <a:pt x="762" y="642"/>
                  </a:lnTo>
                  <a:lnTo>
                    <a:pt x="744" y="648"/>
                  </a:lnTo>
                  <a:lnTo>
                    <a:pt x="714" y="660"/>
                  </a:lnTo>
                  <a:lnTo>
                    <a:pt x="696" y="666"/>
                  </a:lnTo>
                  <a:lnTo>
                    <a:pt x="666" y="672"/>
                  </a:lnTo>
                  <a:lnTo>
                    <a:pt x="654" y="684"/>
                  </a:lnTo>
                  <a:lnTo>
                    <a:pt x="648" y="684"/>
                  </a:lnTo>
                  <a:lnTo>
                    <a:pt x="642" y="696"/>
                  </a:lnTo>
                  <a:lnTo>
                    <a:pt x="636" y="696"/>
                  </a:lnTo>
                  <a:lnTo>
                    <a:pt x="630" y="714"/>
                  </a:lnTo>
                  <a:lnTo>
                    <a:pt x="624" y="738"/>
                  </a:lnTo>
                  <a:lnTo>
                    <a:pt x="624" y="762"/>
                  </a:lnTo>
                  <a:lnTo>
                    <a:pt x="630" y="780"/>
                  </a:lnTo>
                  <a:lnTo>
                    <a:pt x="636" y="804"/>
                  </a:lnTo>
                  <a:lnTo>
                    <a:pt x="642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6" y="834"/>
                  </a:lnTo>
                  <a:lnTo>
                    <a:pt x="636" y="870"/>
                  </a:lnTo>
                  <a:lnTo>
                    <a:pt x="636" y="882"/>
                  </a:lnTo>
                  <a:lnTo>
                    <a:pt x="636" y="906"/>
                  </a:lnTo>
                  <a:lnTo>
                    <a:pt x="630" y="906"/>
                  </a:lnTo>
                  <a:lnTo>
                    <a:pt x="636" y="918"/>
                  </a:lnTo>
                  <a:lnTo>
                    <a:pt x="642" y="918"/>
                  </a:lnTo>
                  <a:lnTo>
                    <a:pt x="642" y="930"/>
                  </a:lnTo>
                  <a:lnTo>
                    <a:pt x="648" y="936"/>
                  </a:lnTo>
                  <a:lnTo>
                    <a:pt x="654" y="936"/>
                  </a:lnTo>
                  <a:lnTo>
                    <a:pt x="654" y="942"/>
                  </a:lnTo>
                  <a:lnTo>
                    <a:pt x="654" y="948"/>
                  </a:lnTo>
                  <a:lnTo>
                    <a:pt x="648" y="954"/>
                  </a:lnTo>
                  <a:lnTo>
                    <a:pt x="648" y="960"/>
                  </a:lnTo>
                  <a:lnTo>
                    <a:pt x="648" y="966"/>
                  </a:lnTo>
                  <a:lnTo>
                    <a:pt x="648" y="972"/>
                  </a:lnTo>
                  <a:lnTo>
                    <a:pt x="648" y="990"/>
                  </a:lnTo>
                  <a:lnTo>
                    <a:pt x="654" y="996"/>
                  </a:lnTo>
                  <a:lnTo>
                    <a:pt x="648" y="1002"/>
                  </a:lnTo>
                  <a:lnTo>
                    <a:pt x="648" y="1008"/>
                  </a:lnTo>
                  <a:lnTo>
                    <a:pt x="654" y="1014"/>
                  </a:lnTo>
                  <a:lnTo>
                    <a:pt x="654" y="1020"/>
                  </a:lnTo>
                  <a:lnTo>
                    <a:pt x="654" y="1026"/>
                  </a:lnTo>
                  <a:lnTo>
                    <a:pt x="660" y="1026"/>
                  </a:lnTo>
                  <a:lnTo>
                    <a:pt x="660" y="1032"/>
                  </a:lnTo>
                  <a:lnTo>
                    <a:pt x="660" y="1038"/>
                  </a:lnTo>
                  <a:lnTo>
                    <a:pt x="666" y="1044"/>
                  </a:lnTo>
                  <a:lnTo>
                    <a:pt x="672" y="1050"/>
                  </a:lnTo>
                  <a:lnTo>
                    <a:pt x="672" y="1056"/>
                  </a:lnTo>
                  <a:lnTo>
                    <a:pt x="672" y="1062"/>
                  </a:lnTo>
                  <a:lnTo>
                    <a:pt x="672" y="1068"/>
                  </a:lnTo>
                  <a:lnTo>
                    <a:pt x="672" y="1074"/>
                  </a:lnTo>
                  <a:lnTo>
                    <a:pt x="678" y="1074"/>
                  </a:lnTo>
                  <a:lnTo>
                    <a:pt x="678" y="1080"/>
                  </a:lnTo>
                  <a:lnTo>
                    <a:pt x="678" y="1086"/>
                  </a:lnTo>
                  <a:lnTo>
                    <a:pt x="672" y="1092"/>
                  </a:lnTo>
                  <a:lnTo>
                    <a:pt x="672" y="1098"/>
                  </a:lnTo>
                  <a:lnTo>
                    <a:pt x="672" y="1104"/>
                  </a:lnTo>
                  <a:lnTo>
                    <a:pt x="666" y="1116"/>
                  </a:lnTo>
                  <a:lnTo>
                    <a:pt x="624" y="1122"/>
                  </a:lnTo>
                  <a:lnTo>
                    <a:pt x="576" y="1134"/>
                  </a:lnTo>
                  <a:lnTo>
                    <a:pt x="570" y="1140"/>
                  </a:lnTo>
                  <a:lnTo>
                    <a:pt x="570" y="1146"/>
                  </a:lnTo>
                  <a:lnTo>
                    <a:pt x="564" y="1146"/>
                  </a:lnTo>
                  <a:lnTo>
                    <a:pt x="564" y="1152"/>
                  </a:lnTo>
                  <a:lnTo>
                    <a:pt x="564" y="1164"/>
                  </a:lnTo>
                  <a:lnTo>
                    <a:pt x="564" y="1170"/>
                  </a:lnTo>
                  <a:lnTo>
                    <a:pt x="564" y="1176"/>
                  </a:lnTo>
                  <a:lnTo>
                    <a:pt x="546" y="1176"/>
                  </a:lnTo>
                  <a:lnTo>
                    <a:pt x="540" y="1212"/>
                  </a:lnTo>
                  <a:lnTo>
                    <a:pt x="540" y="1230"/>
                  </a:lnTo>
                  <a:lnTo>
                    <a:pt x="546" y="1242"/>
                  </a:lnTo>
                  <a:lnTo>
                    <a:pt x="546" y="1254"/>
                  </a:lnTo>
                  <a:lnTo>
                    <a:pt x="558" y="1266"/>
                  </a:lnTo>
                  <a:lnTo>
                    <a:pt x="576" y="1272"/>
                  </a:lnTo>
                  <a:lnTo>
                    <a:pt x="570" y="1278"/>
                  </a:lnTo>
                  <a:lnTo>
                    <a:pt x="576" y="1284"/>
                  </a:lnTo>
                  <a:lnTo>
                    <a:pt x="570" y="1296"/>
                  </a:lnTo>
                  <a:lnTo>
                    <a:pt x="558" y="1302"/>
                  </a:lnTo>
                  <a:lnTo>
                    <a:pt x="540" y="1308"/>
                  </a:lnTo>
                  <a:lnTo>
                    <a:pt x="522" y="1314"/>
                  </a:lnTo>
                  <a:lnTo>
                    <a:pt x="516" y="1314"/>
                  </a:lnTo>
                  <a:lnTo>
                    <a:pt x="510" y="1314"/>
                  </a:lnTo>
                  <a:lnTo>
                    <a:pt x="504" y="1314"/>
                  </a:lnTo>
                  <a:lnTo>
                    <a:pt x="498" y="1320"/>
                  </a:lnTo>
                  <a:lnTo>
                    <a:pt x="492" y="1320"/>
                  </a:lnTo>
                  <a:lnTo>
                    <a:pt x="492" y="1326"/>
                  </a:lnTo>
                  <a:lnTo>
                    <a:pt x="486" y="1326"/>
                  </a:lnTo>
                  <a:lnTo>
                    <a:pt x="480" y="1326"/>
                  </a:lnTo>
                  <a:lnTo>
                    <a:pt x="480" y="1320"/>
                  </a:lnTo>
                  <a:lnTo>
                    <a:pt x="468" y="1314"/>
                  </a:lnTo>
                  <a:lnTo>
                    <a:pt x="462" y="1308"/>
                  </a:lnTo>
                  <a:lnTo>
                    <a:pt x="456" y="1302"/>
                  </a:lnTo>
                  <a:lnTo>
                    <a:pt x="444" y="1296"/>
                  </a:lnTo>
                  <a:lnTo>
                    <a:pt x="420" y="1290"/>
                  </a:lnTo>
                  <a:lnTo>
                    <a:pt x="414" y="1278"/>
                  </a:lnTo>
                  <a:lnTo>
                    <a:pt x="408" y="1278"/>
                  </a:lnTo>
                  <a:lnTo>
                    <a:pt x="408" y="1266"/>
                  </a:lnTo>
                  <a:lnTo>
                    <a:pt x="402" y="1260"/>
                  </a:lnTo>
                  <a:lnTo>
                    <a:pt x="384" y="1260"/>
                  </a:lnTo>
                  <a:lnTo>
                    <a:pt x="372" y="1266"/>
                  </a:lnTo>
                  <a:lnTo>
                    <a:pt x="360" y="1272"/>
                  </a:lnTo>
                  <a:lnTo>
                    <a:pt x="348" y="1272"/>
                  </a:lnTo>
                  <a:lnTo>
                    <a:pt x="342" y="1284"/>
                  </a:lnTo>
                  <a:lnTo>
                    <a:pt x="336" y="1290"/>
                  </a:lnTo>
                  <a:lnTo>
                    <a:pt x="336" y="1308"/>
                  </a:lnTo>
                  <a:lnTo>
                    <a:pt x="336" y="1314"/>
                  </a:lnTo>
                  <a:lnTo>
                    <a:pt x="336" y="1320"/>
                  </a:lnTo>
                  <a:lnTo>
                    <a:pt x="330" y="1326"/>
                  </a:lnTo>
                  <a:lnTo>
                    <a:pt x="330" y="1332"/>
                  </a:lnTo>
                  <a:lnTo>
                    <a:pt x="330" y="1338"/>
                  </a:lnTo>
                  <a:lnTo>
                    <a:pt x="300" y="1338"/>
                  </a:lnTo>
                  <a:lnTo>
                    <a:pt x="288" y="1338"/>
                  </a:lnTo>
                  <a:lnTo>
                    <a:pt x="258" y="1326"/>
                  </a:lnTo>
                  <a:lnTo>
                    <a:pt x="246" y="1332"/>
                  </a:lnTo>
                  <a:lnTo>
                    <a:pt x="240" y="1338"/>
                  </a:lnTo>
                  <a:lnTo>
                    <a:pt x="234" y="1338"/>
                  </a:lnTo>
                  <a:lnTo>
                    <a:pt x="228" y="1350"/>
                  </a:lnTo>
                  <a:lnTo>
                    <a:pt x="228" y="1374"/>
                  </a:lnTo>
                  <a:lnTo>
                    <a:pt x="234" y="1392"/>
                  </a:lnTo>
                  <a:lnTo>
                    <a:pt x="246" y="1398"/>
                  </a:lnTo>
                  <a:lnTo>
                    <a:pt x="246" y="1410"/>
                  </a:lnTo>
                  <a:lnTo>
                    <a:pt x="216" y="1428"/>
                  </a:lnTo>
                  <a:lnTo>
                    <a:pt x="198" y="1428"/>
                  </a:lnTo>
                  <a:lnTo>
                    <a:pt x="192" y="1422"/>
                  </a:lnTo>
                  <a:lnTo>
                    <a:pt x="174" y="1410"/>
                  </a:lnTo>
                  <a:lnTo>
                    <a:pt x="156" y="1386"/>
                  </a:lnTo>
                  <a:lnTo>
                    <a:pt x="132" y="1374"/>
                  </a:lnTo>
                  <a:lnTo>
                    <a:pt x="108" y="1368"/>
                  </a:lnTo>
                  <a:lnTo>
                    <a:pt x="84" y="1368"/>
                  </a:lnTo>
                  <a:lnTo>
                    <a:pt x="96" y="1356"/>
                  </a:lnTo>
                  <a:lnTo>
                    <a:pt x="102" y="1344"/>
                  </a:lnTo>
                  <a:lnTo>
                    <a:pt x="102" y="1332"/>
                  </a:lnTo>
                  <a:lnTo>
                    <a:pt x="108" y="1320"/>
                  </a:lnTo>
                  <a:lnTo>
                    <a:pt x="108" y="1302"/>
                  </a:lnTo>
                  <a:lnTo>
                    <a:pt x="96" y="1278"/>
                  </a:lnTo>
                  <a:lnTo>
                    <a:pt x="66" y="1284"/>
                  </a:lnTo>
                  <a:lnTo>
                    <a:pt x="54" y="1278"/>
                  </a:lnTo>
                  <a:lnTo>
                    <a:pt x="36" y="1278"/>
                  </a:lnTo>
                  <a:lnTo>
                    <a:pt x="18" y="1284"/>
                  </a:lnTo>
                  <a:lnTo>
                    <a:pt x="18" y="1272"/>
                  </a:lnTo>
                  <a:lnTo>
                    <a:pt x="24" y="1260"/>
                  </a:lnTo>
                  <a:lnTo>
                    <a:pt x="24" y="1254"/>
                  </a:lnTo>
                  <a:lnTo>
                    <a:pt x="30" y="1248"/>
                  </a:lnTo>
                  <a:lnTo>
                    <a:pt x="24" y="1230"/>
                  </a:lnTo>
                  <a:lnTo>
                    <a:pt x="30" y="1218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30" y="1170"/>
                  </a:lnTo>
                  <a:lnTo>
                    <a:pt x="30" y="1152"/>
                  </a:lnTo>
                  <a:lnTo>
                    <a:pt x="24" y="1146"/>
                  </a:lnTo>
                  <a:lnTo>
                    <a:pt x="0" y="1116"/>
                  </a:lnTo>
                  <a:lnTo>
                    <a:pt x="6" y="1092"/>
                  </a:lnTo>
                  <a:lnTo>
                    <a:pt x="18" y="1056"/>
                  </a:lnTo>
                  <a:lnTo>
                    <a:pt x="24" y="1050"/>
                  </a:lnTo>
                  <a:lnTo>
                    <a:pt x="24" y="1038"/>
                  </a:lnTo>
                  <a:lnTo>
                    <a:pt x="24" y="1026"/>
                  </a:lnTo>
                  <a:lnTo>
                    <a:pt x="30" y="1002"/>
                  </a:lnTo>
                  <a:lnTo>
                    <a:pt x="36" y="990"/>
                  </a:lnTo>
                  <a:lnTo>
                    <a:pt x="42" y="984"/>
                  </a:lnTo>
                  <a:lnTo>
                    <a:pt x="54" y="984"/>
                  </a:lnTo>
                  <a:lnTo>
                    <a:pt x="66" y="978"/>
                  </a:lnTo>
                  <a:lnTo>
                    <a:pt x="72" y="978"/>
                  </a:lnTo>
                  <a:lnTo>
                    <a:pt x="90" y="978"/>
                  </a:lnTo>
                  <a:lnTo>
                    <a:pt x="102" y="972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78"/>
                  </a:lnTo>
                  <a:lnTo>
                    <a:pt x="120" y="984"/>
                  </a:lnTo>
                  <a:lnTo>
                    <a:pt x="138" y="984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6" y="972"/>
                  </a:lnTo>
                  <a:lnTo>
                    <a:pt x="156" y="966"/>
                  </a:lnTo>
                  <a:lnTo>
                    <a:pt x="156" y="960"/>
                  </a:lnTo>
                  <a:lnTo>
                    <a:pt x="180" y="948"/>
                  </a:lnTo>
                  <a:lnTo>
                    <a:pt x="186" y="924"/>
                  </a:lnTo>
                  <a:lnTo>
                    <a:pt x="192" y="918"/>
                  </a:lnTo>
                  <a:lnTo>
                    <a:pt x="228" y="924"/>
                  </a:lnTo>
                  <a:lnTo>
                    <a:pt x="246" y="906"/>
                  </a:lnTo>
                  <a:lnTo>
                    <a:pt x="240" y="888"/>
                  </a:lnTo>
                  <a:lnTo>
                    <a:pt x="234" y="888"/>
                  </a:lnTo>
                  <a:lnTo>
                    <a:pt x="234" y="882"/>
                  </a:lnTo>
                  <a:lnTo>
                    <a:pt x="228" y="870"/>
                  </a:lnTo>
                  <a:lnTo>
                    <a:pt x="228" y="864"/>
                  </a:lnTo>
                  <a:lnTo>
                    <a:pt x="222" y="864"/>
                  </a:lnTo>
                  <a:lnTo>
                    <a:pt x="216" y="858"/>
                  </a:lnTo>
                  <a:lnTo>
                    <a:pt x="198" y="852"/>
                  </a:lnTo>
                  <a:lnTo>
                    <a:pt x="192" y="852"/>
                  </a:lnTo>
                  <a:lnTo>
                    <a:pt x="186" y="846"/>
                  </a:lnTo>
                  <a:lnTo>
                    <a:pt x="174" y="834"/>
                  </a:lnTo>
                  <a:lnTo>
                    <a:pt x="162" y="822"/>
                  </a:lnTo>
                  <a:lnTo>
                    <a:pt x="156" y="816"/>
                  </a:lnTo>
                  <a:lnTo>
                    <a:pt x="162" y="810"/>
                  </a:lnTo>
                  <a:lnTo>
                    <a:pt x="174" y="798"/>
                  </a:lnTo>
                  <a:lnTo>
                    <a:pt x="180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68"/>
                  </a:lnTo>
                  <a:lnTo>
                    <a:pt x="192" y="744"/>
                  </a:lnTo>
                  <a:lnTo>
                    <a:pt x="186" y="708"/>
                  </a:lnTo>
                  <a:lnTo>
                    <a:pt x="174" y="690"/>
                  </a:lnTo>
                  <a:lnTo>
                    <a:pt x="168" y="672"/>
                  </a:lnTo>
                  <a:lnTo>
                    <a:pt x="156" y="630"/>
                  </a:lnTo>
                  <a:lnTo>
                    <a:pt x="156" y="606"/>
                  </a:lnTo>
                  <a:lnTo>
                    <a:pt x="150" y="606"/>
                  </a:lnTo>
                  <a:lnTo>
                    <a:pt x="150" y="600"/>
                  </a:lnTo>
                  <a:lnTo>
                    <a:pt x="144" y="600"/>
                  </a:lnTo>
                  <a:lnTo>
                    <a:pt x="150" y="594"/>
                  </a:lnTo>
                  <a:lnTo>
                    <a:pt x="144" y="588"/>
                  </a:lnTo>
                  <a:lnTo>
                    <a:pt x="138" y="558"/>
                  </a:lnTo>
                  <a:lnTo>
                    <a:pt x="138" y="528"/>
                  </a:lnTo>
                  <a:lnTo>
                    <a:pt x="132" y="480"/>
                  </a:lnTo>
                  <a:lnTo>
                    <a:pt x="132" y="462"/>
                  </a:lnTo>
                  <a:lnTo>
                    <a:pt x="126" y="426"/>
                  </a:lnTo>
                  <a:lnTo>
                    <a:pt x="126" y="396"/>
                  </a:lnTo>
                  <a:lnTo>
                    <a:pt x="126" y="378"/>
                  </a:lnTo>
                  <a:lnTo>
                    <a:pt x="126" y="360"/>
                  </a:lnTo>
                  <a:lnTo>
                    <a:pt x="132" y="318"/>
                  </a:lnTo>
                  <a:lnTo>
                    <a:pt x="132" y="24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2" y="210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92" y="198"/>
                  </a:lnTo>
                  <a:lnTo>
                    <a:pt x="198" y="198"/>
                  </a:lnTo>
                  <a:lnTo>
                    <a:pt x="216" y="180"/>
                  </a:lnTo>
                  <a:lnTo>
                    <a:pt x="222" y="174"/>
                  </a:lnTo>
                  <a:lnTo>
                    <a:pt x="222" y="168"/>
                  </a:lnTo>
                  <a:lnTo>
                    <a:pt x="228" y="168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44"/>
                  </a:lnTo>
                  <a:lnTo>
                    <a:pt x="258" y="144"/>
                  </a:lnTo>
                  <a:lnTo>
                    <a:pt x="276" y="150"/>
                  </a:lnTo>
                  <a:lnTo>
                    <a:pt x="300" y="150"/>
                  </a:lnTo>
                  <a:lnTo>
                    <a:pt x="312" y="150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8" y="156"/>
                  </a:lnTo>
                  <a:lnTo>
                    <a:pt x="354" y="150"/>
                  </a:lnTo>
                  <a:lnTo>
                    <a:pt x="372" y="144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08" y="126"/>
                  </a:lnTo>
                  <a:lnTo>
                    <a:pt x="414" y="120"/>
                  </a:lnTo>
                  <a:lnTo>
                    <a:pt x="420" y="120"/>
                  </a:lnTo>
                  <a:lnTo>
                    <a:pt x="426" y="120"/>
                  </a:lnTo>
                  <a:lnTo>
                    <a:pt x="432" y="114"/>
                  </a:lnTo>
                  <a:lnTo>
                    <a:pt x="450" y="102"/>
                  </a:lnTo>
                  <a:lnTo>
                    <a:pt x="456" y="96"/>
                  </a:lnTo>
                  <a:lnTo>
                    <a:pt x="468" y="90"/>
                  </a:lnTo>
                  <a:lnTo>
                    <a:pt x="474" y="90"/>
                  </a:lnTo>
                  <a:lnTo>
                    <a:pt x="480" y="84"/>
                  </a:lnTo>
                  <a:lnTo>
                    <a:pt x="486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504" y="72"/>
                  </a:lnTo>
                  <a:lnTo>
                    <a:pt x="510" y="66"/>
                  </a:lnTo>
                  <a:lnTo>
                    <a:pt x="516" y="66"/>
                  </a:lnTo>
                  <a:lnTo>
                    <a:pt x="522" y="60"/>
                  </a:lnTo>
                  <a:lnTo>
                    <a:pt x="552" y="42"/>
                  </a:lnTo>
                  <a:lnTo>
                    <a:pt x="558" y="36"/>
                  </a:lnTo>
                  <a:lnTo>
                    <a:pt x="576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94" y="18"/>
                  </a:lnTo>
                  <a:lnTo>
                    <a:pt x="600" y="12"/>
                  </a:lnTo>
                  <a:lnTo>
                    <a:pt x="612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6"/>
                  </a:lnTo>
                  <a:lnTo>
                    <a:pt x="648" y="6"/>
                  </a:lnTo>
                  <a:lnTo>
                    <a:pt x="660" y="6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38" y="18"/>
                  </a:lnTo>
                  <a:lnTo>
                    <a:pt x="744" y="18"/>
                  </a:lnTo>
                  <a:lnTo>
                    <a:pt x="756" y="18"/>
                  </a:lnTo>
                  <a:lnTo>
                    <a:pt x="762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80" y="24"/>
                  </a:lnTo>
                  <a:lnTo>
                    <a:pt x="792" y="24"/>
                  </a:lnTo>
                  <a:lnTo>
                    <a:pt x="792" y="30"/>
                  </a:lnTo>
                  <a:lnTo>
                    <a:pt x="810" y="30"/>
                  </a:lnTo>
                  <a:lnTo>
                    <a:pt x="822" y="36"/>
                  </a:lnTo>
                  <a:lnTo>
                    <a:pt x="834" y="42"/>
                  </a:lnTo>
                  <a:lnTo>
                    <a:pt x="840" y="48"/>
                  </a:lnTo>
                  <a:lnTo>
                    <a:pt x="846" y="54"/>
                  </a:lnTo>
                  <a:lnTo>
                    <a:pt x="852" y="60"/>
                  </a:lnTo>
                  <a:lnTo>
                    <a:pt x="858" y="66"/>
                  </a:lnTo>
                  <a:lnTo>
                    <a:pt x="864" y="66"/>
                  </a:lnTo>
                  <a:lnTo>
                    <a:pt x="864" y="72"/>
                  </a:lnTo>
                  <a:lnTo>
                    <a:pt x="876" y="78"/>
                  </a:lnTo>
                  <a:lnTo>
                    <a:pt x="900" y="84"/>
                  </a:lnTo>
                  <a:lnTo>
                    <a:pt x="906" y="90"/>
                  </a:lnTo>
                  <a:lnTo>
                    <a:pt x="912" y="90"/>
                  </a:lnTo>
                  <a:lnTo>
                    <a:pt x="912" y="96"/>
                  </a:lnTo>
                  <a:lnTo>
                    <a:pt x="924" y="108"/>
                  </a:lnTo>
                  <a:lnTo>
                    <a:pt x="930" y="108"/>
                  </a:lnTo>
                  <a:lnTo>
                    <a:pt x="936" y="114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60" y="138"/>
                  </a:lnTo>
                  <a:lnTo>
                    <a:pt x="966" y="144"/>
                  </a:lnTo>
                  <a:lnTo>
                    <a:pt x="972" y="156"/>
                  </a:lnTo>
                  <a:lnTo>
                    <a:pt x="978" y="162"/>
                  </a:lnTo>
                  <a:lnTo>
                    <a:pt x="984" y="162"/>
                  </a:lnTo>
                  <a:lnTo>
                    <a:pt x="990" y="168"/>
                  </a:lnTo>
                  <a:lnTo>
                    <a:pt x="996" y="174"/>
                  </a:lnTo>
                  <a:lnTo>
                    <a:pt x="1002" y="180"/>
                  </a:lnTo>
                  <a:lnTo>
                    <a:pt x="1008" y="180"/>
                  </a:lnTo>
                  <a:lnTo>
                    <a:pt x="1020" y="180"/>
                  </a:lnTo>
                  <a:lnTo>
                    <a:pt x="1038" y="174"/>
                  </a:lnTo>
                  <a:lnTo>
                    <a:pt x="1050" y="174"/>
                  </a:lnTo>
                  <a:lnTo>
                    <a:pt x="1056" y="174"/>
                  </a:lnTo>
                  <a:lnTo>
                    <a:pt x="1068" y="180"/>
                  </a:lnTo>
                  <a:lnTo>
                    <a:pt x="1080" y="180"/>
                  </a:lnTo>
                  <a:lnTo>
                    <a:pt x="1086" y="186"/>
                  </a:lnTo>
                  <a:lnTo>
                    <a:pt x="1098" y="192"/>
                  </a:lnTo>
                  <a:lnTo>
                    <a:pt x="1116" y="204"/>
                  </a:lnTo>
                  <a:lnTo>
                    <a:pt x="1122" y="210"/>
                  </a:lnTo>
                  <a:lnTo>
                    <a:pt x="1134" y="222"/>
                  </a:lnTo>
                  <a:lnTo>
                    <a:pt x="1146" y="234"/>
                  </a:lnTo>
                  <a:lnTo>
                    <a:pt x="1146" y="240"/>
                  </a:lnTo>
                  <a:lnTo>
                    <a:pt x="1152" y="246"/>
                  </a:lnTo>
                  <a:lnTo>
                    <a:pt x="1152" y="252"/>
                  </a:lnTo>
                  <a:lnTo>
                    <a:pt x="1152" y="258"/>
                  </a:lnTo>
                  <a:lnTo>
                    <a:pt x="1164" y="258"/>
                  </a:lnTo>
                  <a:lnTo>
                    <a:pt x="1170" y="264"/>
                  </a:lnTo>
                  <a:lnTo>
                    <a:pt x="1182" y="270"/>
                  </a:lnTo>
                  <a:lnTo>
                    <a:pt x="1188" y="270"/>
                  </a:lnTo>
                  <a:lnTo>
                    <a:pt x="1194" y="270"/>
                  </a:lnTo>
                  <a:lnTo>
                    <a:pt x="1206" y="276"/>
                  </a:lnTo>
                  <a:lnTo>
                    <a:pt x="1224" y="282"/>
                  </a:lnTo>
                  <a:lnTo>
                    <a:pt x="1236" y="282"/>
                  </a:lnTo>
                  <a:lnTo>
                    <a:pt x="1242" y="288"/>
                  </a:lnTo>
                  <a:lnTo>
                    <a:pt x="1254" y="288"/>
                  </a:lnTo>
                  <a:lnTo>
                    <a:pt x="1266" y="294"/>
                  </a:lnTo>
                  <a:lnTo>
                    <a:pt x="1272" y="294"/>
                  </a:lnTo>
                  <a:lnTo>
                    <a:pt x="1284" y="300"/>
                  </a:lnTo>
                  <a:lnTo>
                    <a:pt x="1290" y="300"/>
                  </a:lnTo>
                  <a:lnTo>
                    <a:pt x="1296" y="300"/>
                  </a:lnTo>
                  <a:lnTo>
                    <a:pt x="1302" y="306"/>
                  </a:lnTo>
                  <a:lnTo>
                    <a:pt x="1326" y="312"/>
                  </a:lnTo>
                  <a:lnTo>
                    <a:pt x="1338" y="312"/>
                  </a:lnTo>
                  <a:lnTo>
                    <a:pt x="1338" y="318"/>
                  </a:lnTo>
                  <a:lnTo>
                    <a:pt x="1344" y="318"/>
                  </a:lnTo>
                  <a:lnTo>
                    <a:pt x="1350" y="318"/>
                  </a:lnTo>
                  <a:lnTo>
                    <a:pt x="1362" y="324"/>
                  </a:lnTo>
                  <a:lnTo>
                    <a:pt x="1368" y="318"/>
                  </a:lnTo>
                  <a:lnTo>
                    <a:pt x="1374" y="318"/>
                  </a:lnTo>
                  <a:lnTo>
                    <a:pt x="1386" y="318"/>
                  </a:lnTo>
                  <a:lnTo>
                    <a:pt x="1398" y="324"/>
                  </a:lnTo>
                  <a:lnTo>
                    <a:pt x="1398" y="342"/>
                  </a:lnTo>
                  <a:lnTo>
                    <a:pt x="1356" y="342"/>
                  </a:lnTo>
                  <a:lnTo>
                    <a:pt x="1350" y="348"/>
                  </a:lnTo>
                  <a:lnTo>
                    <a:pt x="1350" y="372"/>
                  </a:lnTo>
                  <a:lnTo>
                    <a:pt x="1338" y="384"/>
                  </a:lnTo>
                  <a:lnTo>
                    <a:pt x="1332" y="408"/>
                  </a:lnTo>
                  <a:lnTo>
                    <a:pt x="1320" y="420"/>
                  </a:lnTo>
                  <a:lnTo>
                    <a:pt x="1254" y="426"/>
                  </a:lnTo>
                  <a:lnTo>
                    <a:pt x="1248" y="432"/>
                  </a:lnTo>
                  <a:lnTo>
                    <a:pt x="1230" y="432"/>
                  </a:lnTo>
                  <a:lnTo>
                    <a:pt x="1212" y="432"/>
                  </a:lnTo>
                  <a:lnTo>
                    <a:pt x="1212" y="426"/>
                  </a:lnTo>
                  <a:lnTo>
                    <a:pt x="1200" y="426"/>
                  </a:lnTo>
                  <a:lnTo>
                    <a:pt x="1182" y="414"/>
                  </a:lnTo>
                  <a:lnTo>
                    <a:pt x="1182" y="420"/>
                  </a:lnTo>
                  <a:lnTo>
                    <a:pt x="1164" y="420"/>
                  </a:lnTo>
                  <a:lnTo>
                    <a:pt x="1158" y="414"/>
                  </a:lnTo>
                  <a:lnTo>
                    <a:pt x="1152" y="408"/>
                  </a:lnTo>
                  <a:lnTo>
                    <a:pt x="1146" y="402"/>
                  </a:lnTo>
                  <a:lnTo>
                    <a:pt x="1122" y="396"/>
                  </a:lnTo>
                  <a:lnTo>
                    <a:pt x="1116" y="366"/>
                  </a:lnTo>
                  <a:lnTo>
                    <a:pt x="1116" y="348"/>
                  </a:lnTo>
                  <a:lnTo>
                    <a:pt x="1110" y="342"/>
                  </a:lnTo>
                  <a:lnTo>
                    <a:pt x="1104" y="336"/>
                  </a:lnTo>
                  <a:lnTo>
                    <a:pt x="1092" y="330"/>
                  </a:lnTo>
                  <a:lnTo>
                    <a:pt x="1074" y="330"/>
                  </a:lnTo>
                  <a:lnTo>
                    <a:pt x="1044" y="330"/>
                  </a:lnTo>
                  <a:lnTo>
                    <a:pt x="1014" y="336"/>
                  </a:lnTo>
                  <a:lnTo>
                    <a:pt x="984" y="342"/>
                  </a:lnTo>
                  <a:lnTo>
                    <a:pt x="978" y="330"/>
                  </a:lnTo>
                  <a:lnTo>
                    <a:pt x="966" y="324"/>
                  </a:lnTo>
                  <a:lnTo>
                    <a:pt x="888" y="336"/>
                  </a:lnTo>
                  <a:lnTo>
                    <a:pt x="888" y="330"/>
                  </a:lnTo>
                  <a:lnTo>
                    <a:pt x="870" y="336"/>
                  </a:lnTo>
                  <a:lnTo>
                    <a:pt x="858" y="336"/>
                  </a:lnTo>
                  <a:lnTo>
                    <a:pt x="852" y="354"/>
                  </a:lnTo>
                  <a:lnTo>
                    <a:pt x="852" y="402"/>
                  </a:lnTo>
                  <a:lnTo>
                    <a:pt x="840" y="414"/>
                  </a:lnTo>
                  <a:lnTo>
                    <a:pt x="834" y="420"/>
                  </a:lnTo>
                  <a:lnTo>
                    <a:pt x="834" y="444"/>
                  </a:lnTo>
                  <a:lnTo>
                    <a:pt x="834" y="450"/>
                  </a:lnTo>
                  <a:lnTo>
                    <a:pt x="852" y="456"/>
                  </a:lnTo>
                  <a:lnTo>
                    <a:pt x="864" y="462"/>
                  </a:lnTo>
                  <a:lnTo>
                    <a:pt x="894" y="456"/>
                  </a:lnTo>
                  <a:lnTo>
                    <a:pt x="900" y="468"/>
                  </a:lnTo>
                  <a:lnTo>
                    <a:pt x="918" y="462"/>
                  </a:lnTo>
                  <a:lnTo>
                    <a:pt x="924" y="468"/>
                  </a:lnTo>
                  <a:lnTo>
                    <a:pt x="924" y="47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2" name="Freeform 37">
              <a:extLst>
                <a:ext uri="{FF2B5EF4-FFF2-40B4-BE49-F238E27FC236}">
                  <a16:creationId xmlns:a16="http://schemas.microsoft.com/office/drawing/2014/main" id="{DED8A1FF-B656-4D37-BD26-5B0A7B1A4A6D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441" y="1898343"/>
              <a:ext cx="567992" cy="686605"/>
            </a:xfrm>
            <a:custGeom>
              <a:avLst/>
              <a:gdLst>
                <a:gd name="T0" fmla="*/ 79 w 1068"/>
                <a:gd name="T1" fmla="*/ 72 h 1290"/>
                <a:gd name="T2" fmla="*/ 75 w 1068"/>
                <a:gd name="T3" fmla="*/ 73 h 1290"/>
                <a:gd name="T4" fmla="*/ 72 w 1068"/>
                <a:gd name="T5" fmla="*/ 76 h 1290"/>
                <a:gd name="T6" fmla="*/ 70 w 1068"/>
                <a:gd name="T7" fmla="*/ 78 h 1290"/>
                <a:gd name="T8" fmla="*/ 67 w 1068"/>
                <a:gd name="T9" fmla="*/ 82 h 1290"/>
                <a:gd name="T10" fmla="*/ 61 w 1068"/>
                <a:gd name="T11" fmla="*/ 86 h 1290"/>
                <a:gd name="T12" fmla="*/ 60 w 1068"/>
                <a:gd name="T13" fmla="*/ 93 h 1290"/>
                <a:gd name="T14" fmla="*/ 59 w 1068"/>
                <a:gd name="T15" fmla="*/ 97 h 1290"/>
                <a:gd name="T16" fmla="*/ 61 w 1068"/>
                <a:gd name="T17" fmla="*/ 101 h 1290"/>
                <a:gd name="T18" fmla="*/ 63 w 1068"/>
                <a:gd name="T19" fmla="*/ 104 h 1290"/>
                <a:gd name="T20" fmla="*/ 62 w 1068"/>
                <a:gd name="T21" fmla="*/ 108 h 1290"/>
                <a:gd name="T22" fmla="*/ 60 w 1068"/>
                <a:gd name="T23" fmla="*/ 111 h 1290"/>
                <a:gd name="T24" fmla="*/ 56 w 1068"/>
                <a:gd name="T25" fmla="*/ 111 h 1290"/>
                <a:gd name="T26" fmla="*/ 53 w 1068"/>
                <a:gd name="T27" fmla="*/ 110 h 1290"/>
                <a:gd name="T28" fmla="*/ 50 w 1068"/>
                <a:gd name="T29" fmla="*/ 109 h 1290"/>
                <a:gd name="T30" fmla="*/ 47 w 1068"/>
                <a:gd name="T31" fmla="*/ 110 h 1290"/>
                <a:gd name="T32" fmla="*/ 51 w 1068"/>
                <a:gd name="T33" fmla="*/ 104 h 1290"/>
                <a:gd name="T34" fmla="*/ 50 w 1068"/>
                <a:gd name="T35" fmla="*/ 95 h 1290"/>
                <a:gd name="T36" fmla="*/ 51 w 1068"/>
                <a:gd name="T37" fmla="*/ 90 h 1290"/>
                <a:gd name="T38" fmla="*/ 47 w 1068"/>
                <a:gd name="T39" fmla="*/ 84 h 1290"/>
                <a:gd name="T40" fmla="*/ 42 w 1068"/>
                <a:gd name="T41" fmla="*/ 78 h 1290"/>
                <a:gd name="T42" fmla="*/ 33 w 1068"/>
                <a:gd name="T43" fmla="*/ 73 h 1290"/>
                <a:gd name="T44" fmla="*/ 26 w 1068"/>
                <a:gd name="T45" fmla="*/ 68 h 1290"/>
                <a:gd name="T46" fmla="*/ 22 w 1068"/>
                <a:gd name="T47" fmla="*/ 63 h 1290"/>
                <a:gd name="T48" fmla="*/ 11 w 1068"/>
                <a:gd name="T49" fmla="*/ 67 h 1290"/>
                <a:gd name="T50" fmla="*/ 0 w 1068"/>
                <a:gd name="T51" fmla="*/ 68 h 1290"/>
                <a:gd name="T52" fmla="*/ 2 w 1068"/>
                <a:gd name="T53" fmla="*/ 59 h 1290"/>
                <a:gd name="T54" fmla="*/ 12 w 1068"/>
                <a:gd name="T55" fmla="*/ 55 h 1290"/>
                <a:gd name="T56" fmla="*/ 12 w 1068"/>
                <a:gd name="T57" fmla="*/ 51 h 1290"/>
                <a:gd name="T58" fmla="*/ 10 w 1068"/>
                <a:gd name="T59" fmla="*/ 47 h 1290"/>
                <a:gd name="T60" fmla="*/ 9 w 1068"/>
                <a:gd name="T61" fmla="*/ 42 h 1290"/>
                <a:gd name="T62" fmla="*/ 8 w 1068"/>
                <a:gd name="T63" fmla="*/ 38 h 1290"/>
                <a:gd name="T64" fmla="*/ 8 w 1068"/>
                <a:gd name="T65" fmla="*/ 29 h 1290"/>
                <a:gd name="T66" fmla="*/ 10 w 1068"/>
                <a:gd name="T67" fmla="*/ 18 h 1290"/>
                <a:gd name="T68" fmla="*/ 25 w 1068"/>
                <a:gd name="T69" fmla="*/ 12 h 1290"/>
                <a:gd name="T70" fmla="*/ 27 w 1068"/>
                <a:gd name="T71" fmla="*/ 4 h 1290"/>
                <a:gd name="T72" fmla="*/ 35 w 1068"/>
                <a:gd name="T73" fmla="*/ 6 h 1290"/>
                <a:gd name="T74" fmla="*/ 39 w 1068"/>
                <a:gd name="T75" fmla="*/ 8 h 1290"/>
                <a:gd name="T76" fmla="*/ 41 w 1068"/>
                <a:gd name="T77" fmla="*/ 3 h 1290"/>
                <a:gd name="T78" fmla="*/ 45 w 1068"/>
                <a:gd name="T79" fmla="*/ 0 h 1290"/>
                <a:gd name="T80" fmla="*/ 51 w 1068"/>
                <a:gd name="T81" fmla="*/ 0 h 1290"/>
                <a:gd name="T82" fmla="*/ 56 w 1068"/>
                <a:gd name="T83" fmla="*/ 4 h 1290"/>
                <a:gd name="T84" fmla="*/ 62 w 1068"/>
                <a:gd name="T85" fmla="*/ 12 h 1290"/>
                <a:gd name="T86" fmla="*/ 58 w 1068"/>
                <a:gd name="T87" fmla="*/ 17 h 1290"/>
                <a:gd name="T88" fmla="*/ 60 w 1068"/>
                <a:gd name="T89" fmla="*/ 18 h 1290"/>
                <a:gd name="T90" fmla="*/ 64 w 1068"/>
                <a:gd name="T91" fmla="*/ 16 h 1290"/>
                <a:gd name="T92" fmla="*/ 68 w 1068"/>
                <a:gd name="T93" fmla="*/ 18 h 1290"/>
                <a:gd name="T94" fmla="*/ 71 w 1068"/>
                <a:gd name="T95" fmla="*/ 27 h 1290"/>
                <a:gd name="T96" fmla="*/ 74 w 1068"/>
                <a:gd name="T97" fmla="*/ 30 h 1290"/>
                <a:gd name="T98" fmla="*/ 82 w 1068"/>
                <a:gd name="T99" fmla="*/ 30 h 1290"/>
                <a:gd name="T100" fmla="*/ 87 w 1068"/>
                <a:gd name="T101" fmla="*/ 35 h 1290"/>
                <a:gd name="T102" fmla="*/ 85 w 1068"/>
                <a:gd name="T103" fmla="*/ 42 h 1290"/>
                <a:gd name="T104" fmla="*/ 81 w 1068"/>
                <a:gd name="T105" fmla="*/ 46 h 1290"/>
                <a:gd name="T106" fmla="*/ 86 w 1068"/>
                <a:gd name="T107" fmla="*/ 50 h 1290"/>
                <a:gd name="T108" fmla="*/ 89 w 1068"/>
                <a:gd name="T109" fmla="*/ 58 h 1290"/>
                <a:gd name="T110" fmla="*/ 92 w 1068"/>
                <a:gd name="T111" fmla="*/ 61 h 1290"/>
                <a:gd name="T112" fmla="*/ 86 w 1068"/>
                <a:gd name="T113" fmla="*/ 66 h 1290"/>
                <a:gd name="T114" fmla="*/ 85 w 1068"/>
                <a:gd name="T115" fmla="*/ 70 h 129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68"/>
                <a:gd name="T175" fmla="*/ 0 h 1290"/>
                <a:gd name="T176" fmla="*/ 1068 w 1068"/>
                <a:gd name="T177" fmla="*/ 1290 h 129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68" h="1290">
                  <a:moveTo>
                    <a:pt x="978" y="804"/>
                  </a:moveTo>
                  <a:lnTo>
                    <a:pt x="972" y="810"/>
                  </a:lnTo>
                  <a:lnTo>
                    <a:pt x="966" y="810"/>
                  </a:lnTo>
                  <a:lnTo>
                    <a:pt x="966" y="816"/>
                  </a:lnTo>
                  <a:lnTo>
                    <a:pt x="936" y="828"/>
                  </a:lnTo>
                  <a:lnTo>
                    <a:pt x="924" y="822"/>
                  </a:lnTo>
                  <a:lnTo>
                    <a:pt x="912" y="822"/>
                  </a:lnTo>
                  <a:lnTo>
                    <a:pt x="906" y="828"/>
                  </a:lnTo>
                  <a:lnTo>
                    <a:pt x="900" y="828"/>
                  </a:lnTo>
                  <a:lnTo>
                    <a:pt x="900" y="822"/>
                  </a:lnTo>
                  <a:lnTo>
                    <a:pt x="894" y="822"/>
                  </a:lnTo>
                  <a:lnTo>
                    <a:pt x="888" y="828"/>
                  </a:lnTo>
                  <a:lnTo>
                    <a:pt x="882" y="834"/>
                  </a:lnTo>
                  <a:lnTo>
                    <a:pt x="876" y="834"/>
                  </a:lnTo>
                  <a:lnTo>
                    <a:pt x="870" y="840"/>
                  </a:lnTo>
                  <a:lnTo>
                    <a:pt x="864" y="840"/>
                  </a:lnTo>
                  <a:lnTo>
                    <a:pt x="864" y="846"/>
                  </a:lnTo>
                  <a:lnTo>
                    <a:pt x="858" y="846"/>
                  </a:lnTo>
                  <a:lnTo>
                    <a:pt x="852" y="846"/>
                  </a:lnTo>
                  <a:lnTo>
                    <a:pt x="852" y="858"/>
                  </a:lnTo>
                  <a:lnTo>
                    <a:pt x="846" y="864"/>
                  </a:lnTo>
                  <a:lnTo>
                    <a:pt x="840" y="870"/>
                  </a:lnTo>
                  <a:lnTo>
                    <a:pt x="834" y="870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34" y="876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10" y="894"/>
                  </a:lnTo>
                  <a:lnTo>
                    <a:pt x="810" y="900"/>
                  </a:lnTo>
                  <a:lnTo>
                    <a:pt x="804" y="900"/>
                  </a:lnTo>
                  <a:lnTo>
                    <a:pt x="798" y="900"/>
                  </a:lnTo>
                  <a:lnTo>
                    <a:pt x="798" y="906"/>
                  </a:lnTo>
                  <a:lnTo>
                    <a:pt x="792" y="906"/>
                  </a:lnTo>
                  <a:lnTo>
                    <a:pt x="792" y="912"/>
                  </a:lnTo>
                  <a:lnTo>
                    <a:pt x="792" y="924"/>
                  </a:lnTo>
                  <a:lnTo>
                    <a:pt x="786" y="930"/>
                  </a:lnTo>
                  <a:lnTo>
                    <a:pt x="774" y="942"/>
                  </a:lnTo>
                  <a:lnTo>
                    <a:pt x="774" y="948"/>
                  </a:lnTo>
                  <a:lnTo>
                    <a:pt x="768" y="954"/>
                  </a:lnTo>
                  <a:lnTo>
                    <a:pt x="762" y="954"/>
                  </a:lnTo>
                  <a:lnTo>
                    <a:pt x="750" y="972"/>
                  </a:lnTo>
                  <a:lnTo>
                    <a:pt x="720" y="978"/>
                  </a:lnTo>
                  <a:lnTo>
                    <a:pt x="714" y="978"/>
                  </a:lnTo>
                  <a:lnTo>
                    <a:pt x="708" y="978"/>
                  </a:lnTo>
                  <a:lnTo>
                    <a:pt x="702" y="990"/>
                  </a:lnTo>
                  <a:lnTo>
                    <a:pt x="696" y="990"/>
                  </a:lnTo>
                  <a:lnTo>
                    <a:pt x="696" y="1008"/>
                  </a:lnTo>
                  <a:lnTo>
                    <a:pt x="690" y="1008"/>
                  </a:lnTo>
                  <a:lnTo>
                    <a:pt x="690" y="1014"/>
                  </a:lnTo>
                  <a:lnTo>
                    <a:pt x="684" y="1032"/>
                  </a:lnTo>
                  <a:lnTo>
                    <a:pt x="690" y="1050"/>
                  </a:lnTo>
                  <a:lnTo>
                    <a:pt x="690" y="1062"/>
                  </a:lnTo>
                  <a:lnTo>
                    <a:pt x="690" y="1068"/>
                  </a:lnTo>
                  <a:lnTo>
                    <a:pt x="690" y="1074"/>
                  </a:lnTo>
                  <a:lnTo>
                    <a:pt x="684" y="1074"/>
                  </a:lnTo>
                  <a:lnTo>
                    <a:pt x="684" y="1080"/>
                  </a:lnTo>
                  <a:lnTo>
                    <a:pt x="678" y="1086"/>
                  </a:lnTo>
                  <a:lnTo>
                    <a:pt x="678" y="1104"/>
                  </a:lnTo>
                  <a:lnTo>
                    <a:pt x="678" y="1110"/>
                  </a:lnTo>
                  <a:lnTo>
                    <a:pt x="678" y="1116"/>
                  </a:lnTo>
                  <a:lnTo>
                    <a:pt x="684" y="1116"/>
                  </a:lnTo>
                  <a:lnTo>
                    <a:pt x="678" y="1128"/>
                  </a:lnTo>
                  <a:lnTo>
                    <a:pt x="684" y="1128"/>
                  </a:lnTo>
                  <a:lnTo>
                    <a:pt x="690" y="1134"/>
                  </a:lnTo>
                  <a:lnTo>
                    <a:pt x="690" y="1140"/>
                  </a:lnTo>
                  <a:lnTo>
                    <a:pt x="696" y="1140"/>
                  </a:lnTo>
                  <a:lnTo>
                    <a:pt x="696" y="1146"/>
                  </a:lnTo>
                  <a:lnTo>
                    <a:pt x="696" y="1152"/>
                  </a:lnTo>
                  <a:lnTo>
                    <a:pt x="702" y="1152"/>
                  </a:lnTo>
                  <a:lnTo>
                    <a:pt x="708" y="1152"/>
                  </a:lnTo>
                  <a:lnTo>
                    <a:pt x="714" y="1158"/>
                  </a:lnTo>
                  <a:lnTo>
                    <a:pt x="714" y="1164"/>
                  </a:lnTo>
                  <a:lnTo>
                    <a:pt x="720" y="1170"/>
                  </a:lnTo>
                  <a:lnTo>
                    <a:pt x="720" y="1176"/>
                  </a:lnTo>
                  <a:lnTo>
                    <a:pt x="720" y="1182"/>
                  </a:lnTo>
                  <a:lnTo>
                    <a:pt x="726" y="1188"/>
                  </a:lnTo>
                  <a:lnTo>
                    <a:pt x="726" y="1194"/>
                  </a:lnTo>
                  <a:lnTo>
                    <a:pt x="732" y="1194"/>
                  </a:lnTo>
                  <a:lnTo>
                    <a:pt x="732" y="1200"/>
                  </a:lnTo>
                  <a:lnTo>
                    <a:pt x="738" y="1212"/>
                  </a:lnTo>
                  <a:lnTo>
                    <a:pt x="732" y="1218"/>
                  </a:lnTo>
                  <a:lnTo>
                    <a:pt x="732" y="1224"/>
                  </a:lnTo>
                  <a:lnTo>
                    <a:pt x="726" y="1230"/>
                  </a:lnTo>
                  <a:lnTo>
                    <a:pt x="720" y="1230"/>
                  </a:lnTo>
                  <a:lnTo>
                    <a:pt x="720" y="1236"/>
                  </a:lnTo>
                  <a:lnTo>
                    <a:pt x="720" y="1242"/>
                  </a:lnTo>
                  <a:lnTo>
                    <a:pt x="720" y="1248"/>
                  </a:lnTo>
                  <a:lnTo>
                    <a:pt x="714" y="1248"/>
                  </a:lnTo>
                  <a:lnTo>
                    <a:pt x="714" y="1254"/>
                  </a:lnTo>
                  <a:lnTo>
                    <a:pt x="708" y="1260"/>
                  </a:lnTo>
                  <a:lnTo>
                    <a:pt x="702" y="1272"/>
                  </a:lnTo>
                  <a:lnTo>
                    <a:pt x="696" y="1272"/>
                  </a:lnTo>
                  <a:lnTo>
                    <a:pt x="696" y="1278"/>
                  </a:lnTo>
                  <a:lnTo>
                    <a:pt x="690" y="1284"/>
                  </a:lnTo>
                  <a:lnTo>
                    <a:pt x="690" y="1290"/>
                  </a:lnTo>
                  <a:lnTo>
                    <a:pt x="684" y="1290"/>
                  </a:lnTo>
                  <a:lnTo>
                    <a:pt x="660" y="1284"/>
                  </a:lnTo>
                  <a:lnTo>
                    <a:pt x="660" y="1278"/>
                  </a:lnTo>
                  <a:lnTo>
                    <a:pt x="654" y="1272"/>
                  </a:lnTo>
                  <a:lnTo>
                    <a:pt x="648" y="1272"/>
                  </a:lnTo>
                  <a:lnTo>
                    <a:pt x="642" y="1272"/>
                  </a:lnTo>
                  <a:lnTo>
                    <a:pt x="642" y="1266"/>
                  </a:lnTo>
                  <a:lnTo>
                    <a:pt x="636" y="1266"/>
                  </a:lnTo>
                  <a:lnTo>
                    <a:pt x="630" y="1266"/>
                  </a:lnTo>
                  <a:lnTo>
                    <a:pt x="624" y="1266"/>
                  </a:lnTo>
                  <a:lnTo>
                    <a:pt x="624" y="1260"/>
                  </a:lnTo>
                  <a:lnTo>
                    <a:pt x="618" y="1260"/>
                  </a:lnTo>
                  <a:lnTo>
                    <a:pt x="612" y="1260"/>
                  </a:lnTo>
                  <a:lnTo>
                    <a:pt x="606" y="1260"/>
                  </a:lnTo>
                  <a:lnTo>
                    <a:pt x="600" y="1260"/>
                  </a:lnTo>
                  <a:lnTo>
                    <a:pt x="600" y="1254"/>
                  </a:lnTo>
                  <a:lnTo>
                    <a:pt x="594" y="1254"/>
                  </a:lnTo>
                  <a:lnTo>
                    <a:pt x="588" y="1248"/>
                  </a:lnTo>
                  <a:lnTo>
                    <a:pt x="588" y="1254"/>
                  </a:lnTo>
                  <a:lnTo>
                    <a:pt x="582" y="1254"/>
                  </a:lnTo>
                  <a:lnTo>
                    <a:pt x="582" y="1248"/>
                  </a:lnTo>
                  <a:lnTo>
                    <a:pt x="576" y="1248"/>
                  </a:lnTo>
                  <a:lnTo>
                    <a:pt x="576" y="1254"/>
                  </a:lnTo>
                  <a:lnTo>
                    <a:pt x="570" y="1248"/>
                  </a:lnTo>
                  <a:lnTo>
                    <a:pt x="564" y="1248"/>
                  </a:lnTo>
                  <a:lnTo>
                    <a:pt x="564" y="1254"/>
                  </a:lnTo>
                  <a:lnTo>
                    <a:pt x="558" y="1254"/>
                  </a:lnTo>
                  <a:lnTo>
                    <a:pt x="552" y="1254"/>
                  </a:lnTo>
                  <a:lnTo>
                    <a:pt x="552" y="1260"/>
                  </a:lnTo>
                  <a:lnTo>
                    <a:pt x="546" y="1260"/>
                  </a:lnTo>
                  <a:lnTo>
                    <a:pt x="540" y="1260"/>
                  </a:lnTo>
                  <a:lnTo>
                    <a:pt x="540" y="1254"/>
                  </a:lnTo>
                  <a:lnTo>
                    <a:pt x="534" y="1254"/>
                  </a:lnTo>
                  <a:lnTo>
                    <a:pt x="528" y="1224"/>
                  </a:lnTo>
                  <a:lnTo>
                    <a:pt x="534" y="1212"/>
                  </a:lnTo>
                  <a:lnTo>
                    <a:pt x="546" y="1206"/>
                  </a:lnTo>
                  <a:lnTo>
                    <a:pt x="582" y="1206"/>
                  </a:lnTo>
                  <a:lnTo>
                    <a:pt x="588" y="1188"/>
                  </a:lnTo>
                  <a:lnTo>
                    <a:pt x="582" y="1188"/>
                  </a:lnTo>
                  <a:lnTo>
                    <a:pt x="582" y="1182"/>
                  </a:lnTo>
                  <a:lnTo>
                    <a:pt x="576" y="1176"/>
                  </a:lnTo>
                  <a:lnTo>
                    <a:pt x="558" y="1128"/>
                  </a:lnTo>
                  <a:lnTo>
                    <a:pt x="558" y="1122"/>
                  </a:lnTo>
                  <a:lnTo>
                    <a:pt x="576" y="1098"/>
                  </a:lnTo>
                  <a:lnTo>
                    <a:pt x="576" y="1092"/>
                  </a:lnTo>
                  <a:lnTo>
                    <a:pt x="582" y="1092"/>
                  </a:lnTo>
                  <a:lnTo>
                    <a:pt x="582" y="1086"/>
                  </a:lnTo>
                  <a:lnTo>
                    <a:pt x="582" y="1080"/>
                  </a:lnTo>
                  <a:lnTo>
                    <a:pt x="582" y="1074"/>
                  </a:lnTo>
                  <a:lnTo>
                    <a:pt x="588" y="1074"/>
                  </a:lnTo>
                  <a:lnTo>
                    <a:pt x="588" y="1062"/>
                  </a:lnTo>
                  <a:lnTo>
                    <a:pt x="588" y="1056"/>
                  </a:lnTo>
                  <a:lnTo>
                    <a:pt x="588" y="1044"/>
                  </a:lnTo>
                  <a:lnTo>
                    <a:pt x="588" y="1038"/>
                  </a:lnTo>
                  <a:lnTo>
                    <a:pt x="588" y="1032"/>
                  </a:lnTo>
                  <a:lnTo>
                    <a:pt x="582" y="1026"/>
                  </a:lnTo>
                  <a:lnTo>
                    <a:pt x="582" y="1020"/>
                  </a:lnTo>
                  <a:lnTo>
                    <a:pt x="582" y="1008"/>
                  </a:lnTo>
                  <a:lnTo>
                    <a:pt x="576" y="990"/>
                  </a:lnTo>
                  <a:lnTo>
                    <a:pt x="570" y="972"/>
                  </a:lnTo>
                  <a:lnTo>
                    <a:pt x="552" y="972"/>
                  </a:lnTo>
                  <a:lnTo>
                    <a:pt x="540" y="960"/>
                  </a:lnTo>
                  <a:lnTo>
                    <a:pt x="534" y="954"/>
                  </a:lnTo>
                  <a:lnTo>
                    <a:pt x="534" y="948"/>
                  </a:lnTo>
                  <a:lnTo>
                    <a:pt x="516" y="948"/>
                  </a:lnTo>
                  <a:lnTo>
                    <a:pt x="522" y="936"/>
                  </a:lnTo>
                  <a:lnTo>
                    <a:pt x="522" y="930"/>
                  </a:lnTo>
                  <a:lnTo>
                    <a:pt x="504" y="918"/>
                  </a:lnTo>
                  <a:lnTo>
                    <a:pt x="492" y="906"/>
                  </a:lnTo>
                  <a:lnTo>
                    <a:pt x="486" y="894"/>
                  </a:lnTo>
                  <a:lnTo>
                    <a:pt x="468" y="876"/>
                  </a:lnTo>
                  <a:lnTo>
                    <a:pt x="450" y="876"/>
                  </a:lnTo>
                  <a:lnTo>
                    <a:pt x="414" y="882"/>
                  </a:lnTo>
                  <a:lnTo>
                    <a:pt x="402" y="870"/>
                  </a:lnTo>
                  <a:lnTo>
                    <a:pt x="390" y="864"/>
                  </a:lnTo>
                  <a:lnTo>
                    <a:pt x="384" y="852"/>
                  </a:lnTo>
                  <a:lnTo>
                    <a:pt x="378" y="840"/>
                  </a:lnTo>
                  <a:lnTo>
                    <a:pt x="378" y="834"/>
                  </a:lnTo>
                  <a:lnTo>
                    <a:pt x="360" y="822"/>
                  </a:lnTo>
                  <a:lnTo>
                    <a:pt x="342" y="828"/>
                  </a:lnTo>
                  <a:lnTo>
                    <a:pt x="324" y="816"/>
                  </a:lnTo>
                  <a:lnTo>
                    <a:pt x="318" y="816"/>
                  </a:lnTo>
                  <a:lnTo>
                    <a:pt x="306" y="810"/>
                  </a:lnTo>
                  <a:lnTo>
                    <a:pt x="306" y="804"/>
                  </a:lnTo>
                  <a:lnTo>
                    <a:pt x="300" y="804"/>
                  </a:lnTo>
                  <a:lnTo>
                    <a:pt x="300" y="780"/>
                  </a:lnTo>
                  <a:lnTo>
                    <a:pt x="300" y="774"/>
                  </a:lnTo>
                  <a:lnTo>
                    <a:pt x="306" y="774"/>
                  </a:lnTo>
                  <a:lnTo>
                    <a:pt x="312" y="756"/>
                  </a:lnTo>
                  <a:lnTo>
                    <a:pt x="312" y="732"/>
                  </a:lnTo>
                  <a:lnTo>
                    <a:pt x="300" y="720"/>
                  </a:lnTo>
                  <a:lnTo>
                    <a:pt x="288" y="702"/>
                  </a:lnTo>
                  <a:lnTo>
                    <a:pt x="276" y="702"/>
                  </a:lnTo>
                  <a:lnTo>
                    <a:pt x="258" y="714"/>
                  </a:lnTo>
                  <a:lnTo>
                    <a:pt x="246" y="726"/>
                  </a:lnTo>
                  <a:lnTo>
                    <a:pt x="222" y="726"/>
                  </a:lnTo>
                  <a:lnTo>
                    <a:pt x="192" y="726"/>
                  </a:lnTo>
                  <a:lnTo>
                    <a:pt x="174" y="738"/>
                  </a:lnTo>
                  <a:lnTo>
                    <a:pt x="162" y="750"/>
                  </a:lnTo>
                  <a:lnTo>
                    <a:pt x="144" y="762"/>
                  </a:lnTo>
                  <a:lnTo>
                    <a:pt x="138" y="768"/>
                  </a:lnTo>
                  <a:lnTo>
                    <a:pt x="126" y="774"/>
                  </a:lnTo>
                  <a:lnTo>
                    <a:pt x="114" y="780"/>
                  </a:lnTo>
                  <a:lnTo>
                    <a:pt x="108" y="786"/>
                  </a:lnTo>
                  <a:lnTo>
                    <a:pt x="102" y="786"/>
                  </a:lnTo>
                  <a:lnTo>
                    <a:pt x="54" y="786"/>
                  </a:lnTo>
                  <a:lnTo>
                    <a:pt x="48" y="792"/>
                  </a:lnTo>
                  <a:lnTo>
                    <a:pt x="36" y="798"/>
                  </a:lnTo>
                  <a:lnTo>
                    <a:pt x="18" y="792"/>
                  </a:lnTo>
                  <a:lnTo>
                    <a:pt x="6" y="780"/>
                  </a:lnTo>
                  <a:lnTo>
                    <a:pt x="6" y="768"/>
                  </a:lnTo>
                  <a:lnTo>
                    <a:pt x="0" y="756"/>
                  </a:lnTo>
                  <a:lnTo>
                    <a:pt x="0" y="738"/>
                  </a:lnTo>
                  <a:lnTo>
                    <a:pt x="6" y="702"/>
                  </a:lnTo>
                  <a:lnTo>
                    <a:pt x="24" y="702"/>
                  </a:lnTo>
                  <a:lnTo>
                    <a:pt x="24" y="696"/>
                  </a:lnTo>
                  <a:lnTo>
                    <a:pt x="24" y="690"/>
                  </a:lnTo>
                  <a:lnTo>
                    <a:pt x="24" y="678"/>
                  </a:lnTo>
                  <a:lnTo>
                    <a:pt x="24" y="672"/>
                  </a:lnTo>
                  <a:lnTo>
                    <a:pt x="30" y="672"/>
                  </a:lnTo>
                  <a:lnTo>
                    <a:pt x="30" y="666"/>
                  </a:lnTo>
                  <a:lnTo>
                    <a:pt x="36" y="660"/>
                  </a:lnTo>
                  <a:lnTo>
                    <a:pt x="84" y="648"/>
                  </a:lnTo>
                  <a:lnTo>
                    <a:pt x="126" y="642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32" y="618"/>
                  </a:lnTo>
                  <a:lnTo>
                    <a:pt x="138" y="612"/>
                  </a:lnTo>
                  <a:lnTo>
                    <a:pt x="138" y="606"/>
                  </a:lnTo>
                  <a:lnTo>
                    <a:pt x="138" y="600"/>
                  </a:lnTo>
                  <a:lnTo>
                    <a:pt x="132" y="600"/>
                  </a:lnTo>
                  <a:lnTo>
                    <a:pt x="132" y="594"/>
                  </a:lnTo>
                  <a:lnTo>
                    <a:pt x="132" y="588"/>
                  </a:lnTo>
                  <a:lnTo>
                    <a:pt x="132" y="582"/>
                  </a:lnTo>
                  <a:lnTo>
                    <a:pt x="132" y="576"/>
                  </a:lnTo>
                  <a:lnTo>
                    <a:pt x="126" y="570"/>
                  </a:lnTo>
                  <a:lnTo>
                    <a:pt x="120" y="564"/>
                  </a:lnTo>
                  <a:lnTo>
                    <a:pt x="120" y="558"/>
                  </a:lnTo>
                  <a:lnTo>
                    <a:pt x="120" y="552"/>
                  </a:lnTo>
                  <a:lnTo>
                    <a:pt x="114" y="552"/>
                  </a:lnTo>
                  <a:lnTo>
                    <a:pt x="114" y="546"/>
                  </a:lnTo>
                  <a:lnTo>
                    <a:pt x="114" y="540"/>
                  </a:lnTo>
                  <a:lnTo>
                    <a:pt x="108" y="534"/>
                  </a:lnTo>
                  <a:lnTo>
                    <a:pt x="108" y="528"/>
                  </a:lnTo>
                  <a:lnTo>
                    <a:pt x="114" y="522"/>
                  </a:lnTo>
                  <a:lnTo>
                    <a:pt x="108" y="516"/>
                  </a:lnTo>
                  <a:lnTo>
                    <a:pt x="108" y="498"/>
                  </a:lnTo>
                  <a:lnTo>
                    <a:pt x="108" y="492"/>
                  </a:lnTo>
                  <a:lnTo>
                    <a:pt x="108" y="486"/>
                  </a:lnTo>
                  <a:lnTo>
                    <a:pt x="108" y="480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08" y="462"/>
                  </a:lnTo>
                  <a:lnTo>
                    <a:pt x="102" y="456"/>
                  </a:lnTo>
                  <a:lnTo>
                    <a:pt x="102" y="444"/>
                  </a:lnTo>
                  <a:lnTo>
                    <a:pt x="96" y="444"/>
                  </a:lnTo>
                  <a:lnTo>
                    <a:pt x="90" y="432"/>
                  </a:lnTo>
                  <a:lnTo>
                    <a:pt x="96" y="432"/>
                  </a:lnTo>
                  <a:lnTo>
                    <a:pt x="96" y="408"/>
                  </a:lnTo>
                  <a:lnTo>
                    <a:pt x="96" y="396"/>
                  </a:lnTo>
                  <a:lnTo>
                    <a:pt x="96" y="360"/>
                  </a:lnTo>
                  <a:lnTo>
                    <a:pt x="96" y="354"/>
                  </a:lnTo>
                  <a:lnTo>
                    <a:pt x="102" y="354"/>
                  </a:lnTo>
                  <a:lnTo>
                    <a:pt x="102" y="348"/>
                  </a:lnTo>
                  <a:lnTo>
                    <a:pt x="96" y="330"/>
                  </a:lnTo>
                  <a:lnTo>
                    <a:pt x="90" y="306"/>
                  </a:lnTo>
                  <a:lnTo>
                    <a:pt x="84" y="288"/>
                  </a:lnTo>
                  <a:lnTo>
                    <a:pt x="84" y="264"/>
                  </a:lnTo>
                  <a:lnTo>
                    <a:pt x="90" y="240"/>
                  </a:lnTo>
                  <a:lnTo>
                    <a:pt x="96" y="222"/>
                  </a:lnTo>
                  <a:lnTo>
                    <a:pt x="102" y="222"/>
                  </a:lnTo>
                  <a:lnTo>
                    <a:pt x="108" y="210"/>
                  </a:lnTo>
                  <a:lnTo>
                    <a:pt x="114" y="210"/>
                  </a:lnTo>
                  <a:lnTo>
                    <a:pt x="126" y="198"/>
                  </a:lnTo>
                  <a:lnTo>
                    <a:pt x="156" y="192"/>
                  </a:lnTo>
                  <a:lnTo>
                    <a:pt x="174" y="186"/>
                  </a:lnTo>
                  <a:lnTo>
                    <a:pt x="204" y="174"/>
                  </a:lnTo>
                  <a:lnTo>
                    <a:pt x="222" y="168"/>
                  </a:lnTo>
                  <a:lnTo>
                    <a:pt x="234" y="162"/>
                  </a:lnTo>
                  <a:lnTo>
                    <a:pt x="246" y="156"/>
                  </a:lnTo>
                  <a:lnTo>
                    <a:pt x="288" y="144"/>
                  </a:lnTo>
                  <a:lnTo>
                    <a:pt x="288" y="132"/>
                  </a:lnTo>
                  <a:lnTo>
                    <a:pt x="294" y="120"/>
                  </a:lnTo>
                  <a:lnTo>
                    <a:pt x="300" y="108"/>
                  </a:lnTo>
                  <a:lnTo>
                    <a:pt x="306" y="90"/>
                  </a:lnTo>
                  <a:lnTo>
                    <a:pt x="312" y="78"/>
                  </a:lnTo>
                  <a:lnTo>
                    <a:pt x="324" y="78"/>
                  </a:lnTo>
                  <a:lnTo>
                    <a:pt x="324" y="54"/>
                  </a:lnTo>
                  <a:lnTo>
                    <a:pt x="318" y="48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60" y="6"/>
                  </a:lnTo>
                  <a:lnTo>
                    <a:pt x="384" y="0"/>
                  </a:lnTo>
                  <a:lnTo>
                    <a:pt x="390" y="6"/>
                  </a:lnTo>
                  <a:lnTo>
                    <a:pt x="390" y="18"/>
                  </a:lnTo>
                  <a:lnTo>
                    <a:pt x="390" y="54"/>
                  </a:lnTo>
                  <a:lnTo>
                    <a:pt x="396" y="66"/>
                  </a:lnTo>
                  <a:lnTo>
                    <a:pt x="414" y="84"/>
                  </a:lnTo>
                  <a:lnTo>
                    <a:pt x="426" y="90"/>
                  </a:lnTo>
                  <a:lnTo>
                    <a:pt x="432" y="96"/>
                  </a:lnTo>
                  <a:lnTo>
                    <a:pt x="426" y="102"/>
                  </a:lnTo>
                  <a:lnTo>
                    <a:pt x="438" y="102"/>
                  </a:lnTo>
                  <a:lnTo>
                    <a:pt x="444" y="108"/>
                  </a:lnTo>
                  <a:lnTo>
                    <a:pt x="444" y="102"/>
                  </a:lnTo>
                  <a:lnTo>
                    <a:pt x="450" y="90"/>
                  </a:lnTo>
                  <a:lnTo>
                    <a:pt x="450" y="84"/>
                  </a:lnTo>
                  <a:lnTo>
                    <a:pt x="450" y="78"/>
                  </a:lnTo>
                  <a:lnTo>
                    <a:pt x="456" y="72"/>
                  </a:lnTo>
                  <a:lnTo>
                    <a:pt x="462" y="66"/>
                  </a:lnTo>
                  <a:lnTo>
                    <a:pt x="462" y="60"/>
                  </a:lnTo>
                  <a:lnTo>
                    <a:pt x="462" y="54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74" y="24"/>
                  </a:lnTo>
                  <a:lnTo>
                    <a:pt x="480" y="18"/>
                  </a:lnTo>
                  <a:lnTo>
                    <a:pt x="486" y="12"/>
                  </a:lnTo>
                  <a:lnTo>
                    <a:pt x="492" y="12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2" y="6"/>
                  </a:lnTo>
                  <a:lnTo>
                    <a:pt x="534" y="6"/>
                  </a:lnTo>
                  <a:lnTo>
                    <a:pt x="540" y="6"/>
                  </a:lnTo>
                  <a:lnTo>
                    <a:pt x="546" y="6"/>
                  </a:lnTo>
                  <a:lnTo>
                    <a:pt x="564" y="0"/>
                  </a:lnTo>
                  <a:lnTo>
                    <a:pt x="570" y="0"/>
                  </a:lnTo>
                  <a:lnTo>
                    <a:pt x="576" y="6"/>
                  </a:lnTo>
                  <a:lnTo>
                    <a:pt x="582" y="6"/>
                  </a:lnTo>
                  <a:lnTo>
                    <a:pt x="594" y="6"/>
                  </a:lnTo>
                  <a:lnTo>
                    <a:pt x="600" y="6"/>
                  </a:lnTo>
                  <a:lnTo>
                    <a:pt x="606" y="6"/>
                  </a:lnTo>
                  <a:lnTo>
                    <a:pt x="624" y="0"/>
                  </a:lnTo>
                  <a:lnTo>
                    <a:pt x="636" y="0"/>
                  </a:lnTo>
                  <a:lnTo>
                    <a:pt x="636" y="6"/>
                  </a:lnTo>
                  <a:lnTo>
                    <a:pt x="654" y="18"/>
                  </a:lnTo>
                  <a:lnTo>
                    <a:pt x="654" y="30"/>
                  </a:lnTo>
                  <a:lnTo>
                    <a:pt x="642" y="42"/>
                  </a:lnTo>
                  <a:lnTo>
                    <a:pt x="630" y="66"/>
                  </a:lnTo>
                  <a:lnTo>
                    <a:pt x="636" y="84"/>
                  </a:lnTo>
                  <a:lnTo>
                    <a:pt x="636" y="96"/>
                  </a:lnTo>
                  <a:lnTo>
                    <a:pt x="648" y="102"/>
                  </a:lnTo>
                  <a:lnTo>
                    <a:pt x="672" y="114"/>
                  </a:lnTo>
                  <a:lnTo>
                    <a:pt x="702" y="120"/>
                  </a:lnTo>
                  <a:lnTo>
                    <a:pt x="714" y="126"/>
                  </a:lnTo>
                  <a:lnTo>
                    <a:pt x="720" y="144"/>
                  </a:lnTo>
                  <a:lnTo>
                    <a:pt x="720" y="156"/>
                  </a:lnTo>
                  <a:lnTo>
                    <a:pt x="708" y="156"/>
                  </a:lnTo>
                  <a:lnTo>
                    <a:pt x="702" y="162"/>
                  </a:lnTo>
                  <a:lnTo>
                    <a:pt x="702" y="174"/>
                  </a:lnTo>
                  <a:lnTo>
                    <a:pt x="696" y="174"/>
                  </a:lnTo>
                  <a:lnTo>
                    <a:pt x="690" y="180"/>
                  </a:lnTo>
                  <a:lnTo>
                    <a:pt x="678" y="186"/>
                  </a:lnTo>
                  <a:lnTo>
                    <a:pt x="672" y="192"/>
                  </a:lnTo>
                  <a:lnTo>
                    <a:pt x="654" y="210"/>
                  </a:lnTo>
                  <a:lnTo>
                    <a:pt x="654" y="216"/>
                  </a:lnTo>
                  <a:lnTo>
                    <a:pt x="648" y="246"/>
                  </a:lnTo>
                  <a:lnTo>
                    <a:pt x="660" y="246"/>
                  </a:lnTo>
                  <a:lnTo>
                    <a:pt x="666" y="234"/>
                  </a:lnTo>
                  <a:lnTo>
                    <a:pt x="678" y="240"/>
                  </a:lnTo>
                  <a:lnTo>
                    <a:pt x="684" y="228"/>
                  </a:lnTo>
                  <a:lnTo>
                    <a:pt x="690" y="210"/>
                  </a:lnTo>
                  <a:lnTo>
                    <a:pt x="696" y="204"/>
                  </a:lnTo>
                  <a:lnTo>
                    <a:pt x="702" y="204"/>
                  </a:lnTo>
                  <a:lnTo>
                    <a:pt x="708" y="192"/>
                  </a:lnTo>
                  <a:lnTo>
                    <a:pt x="714" y="192"/>
                  </a:lnTo>
                  <a:lnTo>
                    <a:pt x="714" y="186"/>
                  </a:lnTo>
                  <a:lnTo>
                    <a:pt x="726" y="186"/>
                  </a:lnTo>
                  <a:lnTo>
                    <a:pt x="732" y="186"/>
                  </a:lnTo>
                  <a:lnTo>
                    <a:pt x="738" y="186"/>
                  </a:lnTo>
                  <a:lnTo>
                    <a:pt x="744" y="216"/>
                  </a:lnTo>
                  <a:lnTo>
                    <a:pt x="750" y="210"/>
                  </a:lnTo>
                  <a:lnTo>
                    <a:pt x="750" y="204"/>
                  </a:lnTo>
                  <a:lnTo>
                    <a:pt x="756" y="192"/>
                  </a:lnTo>
                  <a:lnTo>
                    <a:pt x="762" y="192"/>
                  </a:lnTo>
                  <a:lnTo>
                    <a:pt x="768" y="192"/>
                  </a:lnTo>
                  <a:lnTo>
                    <a:pt x="780" y="186"/>
                  </a:lnTo>
                  <a:lnTo>
                    <a:pt x="786" y="204"/>
                  </a:lnTo>
                  <a:lnTo>
                    <a:pt x="774" y="210"/>
                  </a:lnTo>
                  <a:lnTo>
                    <a:pt x="774" y="234"/>
                  </a:lnTo>
                  <a:lnTo>
                    <a:pt x="780" y="246"/>
                  </a:lnTo>
                  <a:lnTo>
                    <a:pt x="804" y="264"/>
                  </a:lnTo>
                  <a:lnTo>
                    <a:pt x="816" y="276"/>
                  </a:lnTo>
                  <a:lnTo>
                    <a:pt x="822" y="288"/>
                  </a:lnTo>
                  <a:lnTo>
                    <a:pt x="822" y="312"/>
                  </a:lnTo>
                  <a:lnTo>
                    <a:pt x="816" y="312"/>
                  </a:lnTo>
                  <a:lnTo>
                    <a:pt x="810" y="318"/>
                  </a:lnTo>
                  <a:lnTo>
                    <a:pt x="810" y="348"/>
                  </a:lnTo>
                  <a:lnTo>
                    <a:pt x="816" y="348"/>
                  </a:lnTo>
                  <a:lnTo>
                    <a:pt x="816" y="342"/>
                  </a:lnTo>
                  <a:lnTo>
                    <a:pt x="834" y="342"/>
                  </a:lnTo>
                  <a:lnTo>
                    <a:pt x="834" y="348"/>
                  </a:lnTo>
                  <a:lnTo>
                    <a:pt x="846" y="348"/>
                  </a:lnTo>
                  <a:lnTo>
                    <a:pt x="846" y="342"/>
                  </a:lnTo>
                  <a:lnTo>
                    <a:pt x="882" y="342"/>
                  </a:lnTo>
                  <a:lnTo>
                    <a:pt x="894" y="366"/>
                  </a:lnTo>
                  <a:lnTo>
                    <a:pt x="900" y="372"/>
                  </a:lnTo>
                  <a:lnTo>
                    <a:pt x="906" y="384"/>
                  </a:lnTo>
                  <a:lnTo>
                    <a:pt x="924" y="384"/>
                  </a:lnTo>
                  <a:lnTo>
                    <a:pt x="930" y="372"/>
                  </a:lnTo>
                  <a:lnTo>
                    <a:pt x="936" y="372"/>
                  </a:lnTo>
                  <a:lnTo>
                    <a:pt x="942" y="348"/>
                  </a:lnTo>
                  <a:lnTo>
                    <a:pt x="954" y="348"/>
                  </a:lnTo>
                  <a:lnTo>
                    <a:pt x="954" y="342"/>
                  </a:lnTo>
                  <a:lnTo>
                    <a:pt x="984" y="342"/>
                  </a:lnTo>
                  <a:lnTo>
                    <a:pt x="978" y="390"/>
                  </a:lnTo>
                  <a:lnTo>
                    <a:pt x="984" y="390"/>
                  </a:lnTo>
                  <a:lnTo>
                    <a:pt x="990" y="396"/>
                  </a:lnTo>
                  <a:lnTo>
                    <a:pt x="996" y="396"/>
                  </a:lnTo>
                  <a:lnTo>
                    <a:pt x="1002" y="396"/>
                  </a:lnTo>
                  <a:lnTo>
                    <a:pt x="1002" y="408"/>
                  </a:lnTo>
                  <a:lnTo>
                    <a:pt x="990" y="414"/>
                  </a:lnTo>
                  <a:lnTo>
                    <a:pt x="984" y="426"/>
                  </a:lnTo>
                  <a:lnTo>
                    <a:pt x="990" y="444"/>
                  </a:lnTo>
                  <a:lnTo>
                    <a:pt x="996" y="450"/>
                  </a:lnTo>
                  <a:lnTo>
                    <a:pt x="990" y="462"/>
                  </a:lnTo>
                  <a:lnTo>
                    <a:pt x="990" y="468"/>
                  </a:lnTo>
                  <a:lnTo>
                    <a:pt x="984" y="480"/>
                  </a:lnTo>
                  <a:lnTo>
                    <a:pt x="978" y="486"/>
                  </a:lnTo>
                  <a:lnTo>
                    <a:pt x="972" y="486"/>
                  </a:lnTo>
                  <a:lnTo>
                    <a:pt x="966" y="492"/>
                  </a:lnTo>
                  <a:lnTo>
                    <a:pt x="966" y="498"/>
                  </a:lnTo>
                  <a:lnTo>
                    <a:pt x="954" y="510"/>
                  </a:lnTo>
                  <a:lnTo>
                    <a:pt x="948" y="510"/>
                  </a:lnTo>
                  <a:lnTo>
                    <a:pt x="942" y="516"/>
                  </a:lnTo>
                  <a:lnTo>
                    <a:pt x="936" y="528"/>
                  </a:lnTo>
                  <a:lnTo>
                    <a:pt x="936" y="534"/>
                  </a:lnTo>
                  <a:lnTo>
                    <a:pt x="936" y="546"/>
                  </a:lnTo>
                  <a:lnTo>
                    <a:pt x="936" y="558"/>
                  </a:lnTo>
                  <a:lnTo>
                    <a:pt x="948" y="558"/>
                  </a:lnTo>
                  <a:lnTo>
                    <a:pt x="954" y="558"/>
                  </a:lnTo>
                  <a:lnTo>
                    <a:pt x="996" y="558"/>
                  </a:lnTo>
                  <a:lnTo>
                    <a:pt x="1002" y="570"/>
                  </a:lnTo>
                  <a:lnTo>
                    <a:pt x="996" y="576"/>
                  </a:lnTo>
                  <a:lnTo>
                    <a:pt x="996" y="588"/>
                  </a:lnTo>
                  <a:lnTo>
                    <a:pt x="984" y="588"/>
                  </a:lnTo>
                  <a:lnTo>
                    <a:pt x="990" y="612"/>
                  </a:lnTo>
                  <a:lnTo>
                    <a:pt x="1014" y="606"/>
                  </a:lnTo>
                  <a:lnTo>
                    <a:pt x="1014" y="636"/>
                  </a:lnTo>
                  <a:lnTo>
                    <a:pt x="1014" y="648"/>
                  </a:lnTo>
                  <a:lnTo>
                    <a:pt x="1020" y="648"/>
                  </a:lnTo>
                  <a:lnTo>
                    <a:pt x="1026" y="660"/>
                  </a:lnTo>
                  <a:lnTo>
                    <a:pt x="1038" y="654"/>
                  </a:lnTo>
                  <a:lnTo>
                    <a:pt x="1050" y="654"/>
                  </a:lnTo>
                  <a:lnTo>
                    <a:pt x="1062" y="654"/>
                  </a:lnTo>
                  <a:lnTo>
                    <a:pt x="1068" y="660"/>
                  </a:lnTo>
                  <a:lnTo>
                    <a:pt x="1068" y="678"/>
                  </a:lnTo>
                  <a:lnTo>
                    <a:pt x="1068" y="684"/>
                  </a:lnTo>
                  <a:lnTo>
                    <a:pt x="1062" y="690"/>
                  </a:lnTo>
                  <a:lnTo>
                    <a:pt x="1056" y="696"/>
                  </a:lnTo>
                  <a:lnTo>
                    <a:pt x="1056" y="702"/>
                  </a:lnTo>
                  <a:lnTo>
                    <a:pt x="1038" y="714"/>
                  </a:lnTo>
                  <a:lnTo>
                    <a:pt x="1026" y="720"/>
                  </a:lnTo>
                  <a:lnTo>
                    <a:pt x="1008" y="726"/>
                  </a:lnTo>
                  <a:lnTo>
                    <a:pt x="1008" y="732"/>
                  </a:lnTo>
                  <a:lnTo>
                    <a:pt x="990" y="732"/>
                  </a:lnTo>
                  <a:lnTo>
                    <a:pt x="984" y="744"/>
                  </a:lnTo>
                  <a:lnTo>
                    <a:pt x="990" y="750"/>
                  </a:lnTo>
                  <a:lnTo>
                    <a:pt x="984" y="762"/>
                  </a:lnTo>
                  <a:lnTo>
                    <a:pt x="984" y="768"/>
                  </a:lnTo>
                  <a:lnTo>
                    <a:pt x="984" y="774"/>
                  </a:lnTo>
                  <a:lnTo>
                    <a:pt x="984" y="780"/>
                  </a:lnTo>
                  <a:lnTo>
                    <a:pt x="984" y="786"/>
                  </a:lnTo>
                  <a:lnTo>
                    <a:pt x="984" y="792"/>
                  </a:lnTo>
                  <a:lnTo>
                    <a:pt x="978" y="798"/>
                  </a:lnTo>
                  <a:lnTo>
                    <a:pt x="978" y="80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3" name="Freeform 38">
              <a:extLst>
                <a:ext uri="{FF2B5EF4-FFF2-40B4-BE49-F238E27FC236}">
                  <a16:creationId xmlns:a16="http://schemas.microsoft.com/office/drawing/2014/main" id="{819B99CE-D972-4530-8964-A992C1EC87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2825" y="1634436"/>
              <a:ext cx="959326" cy="959458"/>
            </a:xfrm>
            <a:custGeom>
              <a:avLst/>
              <a:gdLst>
                <a:gd name="T0" fmla="*/ 105 w 1806"/>
                <a:gd name="T1" fmla="*/ 155 h 1806"/>
                <a:gd name="T2" fmla="*/ 103 w 1806"/>
                <a:gd name="T3" fmla="*/ 155 h 1806"/>
                <a:gd name="T4" fmla="*/ 103 w 1806"/>
                <a:gd name="T5" fmla="*/ 150 h 1806"/>
                <a:gd name="T6" fmla="*/ 104 w 1806"/>
                <a:gd name="T7" fmla="*/ 141 h 1806"/>
                <a:gd name="T8" fmla="*/ 104 w 1806"/>
                <a:gd name="T9" fmla="*/ 136 h 1806"/>
                <a:gd name="T10" fmla="*/ 100 w 1806"/>
                <a:gd name="T11" fmla="*/ 131 h 1806"/>
                <a:gd name="T12" fmla="*/ 96 w 1806"/>
                <a:gd name="T13" fmla="*/ 127 h 1806"/>
                <a:gd name="T14" fmla="*/ 91 w 1806"/>
                <a:gd name="T15" fmla="*/ 121 h 1806"/>
                <a:gd name="T16" fmla="*/ 87 w 1806"/>
                <a:gd name="T17" fmla="*/ 120 h 1806"/>
                <a:gd name="T18" fmla="*/ 81 w 1806"/>
                <a:gd name="T19" fmla="*/ 117 h 1806"/>
                <a:gd name="T20" fmla="*/ 65 w 1806"/>
                <a:gd name="T21" fmla="*/ 113 h 1806"/>
                <a:gd name="T22" fmla="*/ 69 w 1806"/>
                <a:gd name="T23" fmla="*/ 105 h 1806"/>
                <a:gd name="T24" fmla="*/ 66 w 1806"/>
                <a:gd name="T25" fmla="*/ 89 h 1806"/>
                <a:gd name="T26" fmla="*/ 63 w 1806"/>
                <a:gd name="T27" fmla="*/ 84 h 1806"/>
                <a:gd name="T28" fmla="*/ 62 w 1806"/>
                <a:gd name="T29" fmla="*/ 74 h 1806"/>
                <a:gd name="T30" fmla="*/ 58 w 1806"/>
                <a:gd name="T31" fmla="*/ 52 h 1806"/>
                <a:gd name="T32" fmla="*/ 53 w 1806"/>
                <a:gd name="T33" fmla="*/ 49 h 1806"/>
                <a:gd name="T34" fmla="*/ 51 w 1806"/>
                <a:gd name="T35" fmla="*/ 36 h 1806"/>
                <a:gd name="T36" fmla="*/ 43 w 1806"/>
                <a:gd name="T37" fmla="*/ 32 h 1806"/>
                <a:gd name="T38" fmla="*/ 33 w 1806"/>
                <a:gd name="T39" fmla="*/ 30 h 1806"/>
                <a:gd name="T40" fmla="*/ 30 w 1806"/>
                <a:gd name="T41" fmla="*/ 21 h 1806"/>
                <a:gd name="T42" fmla="*/ 17 w 1806"/>
                <a:gd name="T43" fmla="*/ 25 h 1806"/>
                <a:gd name="T44" fmla="*/ 4 w 1806"/>
                <a:gd name="T45" fmla="*/ 33 h 1806"/>
                <a:gd name="T46" fmla="*/ 7 w 1806"/>
                <a:gd name="T47" fmla="*/ 26 h 1806"/>
                <a:gd name="T48" fmla="*/ 11 w 1806"/>
                <a:gd name="T49" fmla="*/ 20 h 1806"/>
                <a:gd name="T50" fmla="*/ 18 w 1806"/>
                <a:gd name="T51" fmla="*/ 12 h 1806"/>
                <a:gd name="T52" fmla="*/ 26 w 1806"/>
                <a:gd name="T53" fmla="*/ 8 h 1806"/>
                <a:gd name="T54" fmla="*/ 35 w 1806"/>
                <a:gd name="T55" fmla="*/ 6 h 1806"/>
                <a:gd name="T56" fmla="*/ 44 w 1806"/>
                <a:gd name="T57" fmla="*/ 5 h 1806"/>
                <a:gd name="T58" fmla="*/ 54 w 1806"/>
                <a:gd name="T59" fmla="*/ 2 h 1806"/>
                <a:gd name="T60" fmla="*/ 65 w 1806"/>
                <a:gd name="T61" fmla="*/ 0 h 1806"/>
                <a:gd name="T62" fmla="*/ 76 w 1806"/>
                <a:gd name="T63" fmla="*/ 0 h 1806"/>
                <a:gd name="T64" fmla="*/ 85 w 1806"/>
                <a:gd name="T65" fmla="*/ 0 h 1806"/>
                <a:gd name="T66" fmla="*/ 97 w 1806"/>
                <a:gd name="T67" fmla="*/ 0 h 1806"/>
                <a:gd name="T68" fmla="*/ 108 w 1806"/>
                <a:gd name="T69" fmla="*/ 3 h 1806"/>
                <a:gd name="T70" fmla="*/ 115 w 1806"/>
                <a:gd name="T71" fmla="*/ 5 h 1806"/>
                <a:gd name="T72" fmla="*/ 123 w 1806"/>
                <a:gd name="T73" fmla="*/ 7 h 1806"/>
                <a:gd name="T74" fmla="*/ 133 w 1806"/>
                <a:gd name="T75" fmla="*/ 14 h 1806"/>
                <a:gd name="T76" fmla="*/ 138 w 1806"/>
                <a:gd name="T77" fmla="*/ 16 h 1806"/>
                <a:gd name="T78" fmla="*/ 140 w 1806"/>
                <a:gd name="T79" fmla="*/ 14 h 1806"/>
                <a:gd name="T80" fmla="*/ 145 w 1806"/>
                <a:gd name="T81" fmla="*/ 16 h 1806"/>
                <a:gd name="T82" fmla="*/ 147 w 1806"/>
                <a:gd name="T83" fmla="*/ 16 h 1806"/>
                <a:gd name="T84" fmla="*/ 150 w 1806"/>
                <a:gd name="T85" fmla="*/ 17 h 1806"/>
                <a:gd name="T86" fmla="*/ 152 w 1806"/>
                <a:gd name="T87" fmla="*/ 18 h 1806"/>
                <a:gd name="T88" fmla="*/ 155 w 1806"/>
                <a:gd name="T89" fmla="*/ 37 h 1806"/>
                <a:gd name="T90" fmla="*/ 146 w 1806"/>
                <a:gd name="T91" fmla="*/ 66 h 1806"/>
                <a:gd name="T92" fmla="*/ 143 w 1806"/>
                <a:gd name="T93" fmla="*/ 88 h 1806"/>
                <a:gd name="T94" fmla="*/ 144 w 1806"/>
                <a:gd name="T95" fmla="*/ 98 h 1806"/>
                <a:gd name="T96" fmla="*/ 137 w 1806"/>
                <a:gd name="T97" fmla="*/ 118 h 1806"/>
                <a:gd name="T98" fmla="*/ 132 w 1806"/>
                <a:gd name="T99" fmla="*/ 129 h 1806"/>
                <a:gd name="T100" fmla="*/ 124 w 1806"/>
                <a:gd name="T101" fmla="*/ 135 h 1806"/>
                <a:gd name="T102" fmla="*/ 119 w 1806"/>
                <a:gd name="T103" fmla="*/ 136 h 1806"/>
                <a:gd name="T104" fmla="*/ 116 w 1806"/>
                <a:gd name="T105" fmla="*/ 137 h 1806"/>
                <a:gd name="T106" fmla="*/ 112 w 1806"/>
                <a:gd name="T107" fmla="*/ 139 h 1806"/>
                <a:gd name="T108" fmla="*/ 112 w 1806"/>
                <a:gd name="T109" fmla="*/ 141 h 1806"/>
                <a:gd name="T110" fmla="*/ 116 w 1806"/>
                <a:gd name="T111" fmla="*/ 146 h 1806"/>
                <a:gd name="T112" fmla="*/ 116 w 1806"/>
                <a:gd name="T113" fmla="*/ 151 h 1806"/>
                <a:gd name="T114" fmla="*/ 113 w 1806"/>
                <a:gd name="T115" fmla="*/ 153 h 18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6"/>
                <a:gd name="T175" fmla="*/ 0 h 1806"/>
                <a:gd name="T176" fmla="*/ 1806 w 1806"/>
                <a:gd name="T177" fmla="*/ 1806 h 18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6" h="1806">
                  <a:moveTo>
                    <a:pt x="1260" y="1776"/>
                  </a:moveTo>
                  <a:lnTo>
                    <a:pt x="1254" y="1776"/>
                  </a:lnTo>
                  <a:lnTo>
                    <a:pt x="1248" y="1776"/>
                  </a:lnTo>
                  <a:lnTo>
                    <a:pt x="1242" y="1782"/>
                  </a:lnTo>
                  <a:lnTo>
                    <a:pt x="1236" y="1782"/>
                  </a:lnTo>
                  <a:lnTo>
                    <a:pt x="1230" y="1788"/>
                  </a:lnTo>
                  <a:lnTo>
                    <a:pt x="1224" y="1782"/>
                  </a:lnTo>
                  <a:lnTo>
                    <a:pt x="1218" y="1782"/>
                  </a:lnTo>
                  <a:lnTo>
                    <a:pt x="1218" y="1788"/>
                  </a:lnTo>
                  <a:lnTo>
                    <a:pt x="1212" y="1788"/>
                  </a:lnTo>
                  <a:lnTo>
                    <a:pt x="1206" y="1788"/>
                  </a:lnTo>
                  <a:lnTo>
                    <a:pt x="1206" y="1794"/>
                  </a:lnTo>
                  <a:lnTo>
                    <a:pt x="1200" y="1806"/>
                  </a:lnTo>
                  <a:lnTo>
                    <a:pt x="1194" y="1800"/>
                  </a:lnTo>
                  <a:lnTo>
                    <a:pt x="1194" y="1794"/>
                  </a:lnTo>
                  <a:lnTo>
                    <a:pt x="1194" y="1788"/>
                  </a:lnTo>
                  <a:lnTo>
                    <a:pt x="1188" y="1788"/>
                  </a:lnTo>
                  <a:lnTo>
                    <a:pt x="1188" y="1782"/>
                  </a:lnTo>
                  <a:lnTo>
                    <a:pt x="1188" y="1776"/>
                  </a:lnTo>
                  <a:lnTo>
                    <a:pt x="1194" y="1770"/>
                  </a:lnTo>
                  <a:lnTo>
                    <a:pt x="1194" y="1764"/>
                  </a:lnTo>
                  <a:lnTo>
                    <a:pt x="1194" y="1758"/>
                  </a:lnTo>
                  <a:lnTo>
                    <a:pt x="1194" y="1752"/>
                  </a:lnTo>
                  <a:lnTo>
                    <a:pt x="1200" y="1746"/>
                  </a:lnTo>
                  <a:lnTo>
                    <a:pt x="1200" y="1740"/>
                  </a:lnTo>
                  <a:lnTo>
                    <a:pt x="1200" y="1734"/>
                  </a:lnTo>
                  <a:lnTo>
                    <a:pt x="1188" y="1722"/>
                  </a:lnTo>
                  <a:lnTo>
                    <a:pt x="1188" y="1716"/>
                  </a:lnTo>
                  <a:lnTo>
                    <a:pt x="1194" y="1704"/>
                  </a:lnTo>
                  <a:lnTo>
                    <a:pt x="1194" y="1692"/>
                  </a:lnTo>
                  <a:lnTo>
                    <a:pt x="1200" y="1680"/>
                  </a:lnTo>
                  <a:lnTo>
                    <a:pt x="1200" y="1662"/>
                  </a:lnTo>
                  <a:lnTo>
                    <a:pt x="1200" y="1650"/>
                  </a:lnTo>
                  <a:lnTo>
                    <a:pt x="1206" y="1644"/>
                  </a:lnTo>
                  <a:lnTo>
                    <a:pt x="1206" y="1638"/>
                  </a:lnTo>
                  <a:lnTo>
                    <a:pt x="1206" y="1626"/>
                  </a:lnTo>
                  <a:lnTo>
                    <a:pt x="1206" y="1620"/>
                  </a:lnTo>
                  <a:lnTo>
                    <a:pt x="1206" y="1614"/>
                  </a:lnTo>
                  <a:lnTo>
                    <a:pt x="1200" y="1608"/>
                  </a:lnTo>
                  <a:lnTo>
                    <a:pt x="1200" y="1602"/>
                  </a:lnTo>
                  <a:lnTo>
                    <a:pt x="1200" y="1596"/>
                  </a:lnTo>
                  <a:lnTo>
                    <a:pt x="1200" y="1590"/>
                  </a:lnTo>
                  <a:lnTo>
                    <a:pt x="1200" y="1572"/>
                  </a:lnTo>
                  <a:lnTo>
                    <a:pt x="1200" y="1566"/>
                  </a:lnTo>
                  <a:lnTo>
                    <a:pt x="1200" y="1560"/>
                  </a:lnTo>
                  <a:lnTo>
                    <a:pt x="1194" y="1554"/>
                  </a:lnTo>
                  <a:lnTo>
                    <a:pt x="1188" y="1548"/>
                  </a:lnTo>
                  <a:lnTo>
                    <a:pt x="1188" y="1542"/>
                  </a:lnTo>
                  <a:lnTo>
                    <a:pt x="1176" y="1536"/>
                  </a:lnTo>
                  <a:lnTo>
                    <a:pt x="1176" y="1530"/>
                  </a:lnTo>
                  <a:lnTo>
                    <a:pt x="1170" y="1524"/>
                  </a:lnTo>
                  <a:lnTo>
                    <a:pt x="1170" y="1518"/>
                  </a:lnTo>
                  <a:lnTo>
                    <a:pt x="1164" y="1512"/>
                  </a:lnTo>
                  <a:lnTo>
                    <a:pt x="1158" y="1506"/>
                  </a:lnTo>
                  <a:lnTo>
                    <a:pt x="1152" y="1500"/>
                  </a:lnTo>
                  <a:lnTo>
                    <a:pt x="1146" y="1494"/>
                  </a:lnTo>
                  <a:lnTo>
                    <a:pt x="1140" y="1488"/>
                  </a:lnTo>
                  <a:lnTo>
                    <a:pt x="1134" y="1482"/>
                  </a:lnTo>
                  <a:lnTo>
                    <a:pt x="1128" y="1476"/>
                  </a:lnTo>
                  <a:lnTo>
                    <a:pt x="1122" y="1470"/>
                  </a:lnTo>
                  <a:lnTo>
                    <a:pt x="1116" y="1464"/>
                  </a:lnTo>
                  <a:lnTo>
                    <a:pt x="1110" y="1464"/>
                  </a:lnTo>
                  <a:lnTo>
                    <a:pt x="1104" y="1458"/>
                  </a:lnTo>
                  <a:lnTo>
                    <a:pt x="1098" y="1464"/>
                  </a:lnTo>
                  <a:lnTo>
                    <a:pt x="1092" y="1464"/>
                  </a:lnTo>
                  <a:lnTo>
                    <a:pt x="1086" y="1446"/>
                  </a:lnTo>
                  <a:lnTo>
                    <a:pt x="1086" y="1440"/>
                  </a:lnTo>
                  <a:lnTo>
                    <a:pt x="1080" y="1416"/>
                  </a:lnTo>
                  <a:lnTo>
                    <a:pt x="1068" y="1404"/>
                  </a:lnTo>
                  <a:lnTo>
                    <a:pt x="1062" y="1398"/>
                  </a:lnTo>
                  <a:lnTo>
                    <a:pt x="1056" y="1398"/>
                  </a:lnTo>
                  <a:lnTo>
                    <a:pt x="1050" y="1398"/>
                  </a:lnTo>
                  <a:lnTo>
                    <a:pt x="1044" y="1398"/>
                  </a:lnTo>
                  <a:lnTo>
                    <a:pt x="1044" y="1392"/>
                  </a:lnTo>
                  <a:lnTo>
                    <a:pt x="1038" y="1392"/>
                  </a:lnTo>
                  <a:lnTo>
                    <a:pt x="1032" y="1392"/>
                  </a:lnTo>
                  <a:lnTo>
                    <a:pt x="1020" y="1386"/>
                  </a:lnTo>
                  <a:lnTo>
                    <a:pt x="1014" y="1386"/>
                  </a:lnTo>
                  <a:lnTo>
                    <a:pt x="1014" y="1380"/>
                  </a:lnTo>
                  <a:lnTo>
                    <a:pt x="1008" y="1380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62"/>
                  </a:lnTo>
                  <a:lnTo>
                    <a:pt x="984" y="1356"/>
                  </a:lnTo>
                  <a:lnTo>
                    <a:pt x="978" y="1356"/>
                  </a:lnTo>
                  <a:lnTo>
                    <a:pt x="972" y="1356"/>
                  </a:lnTo>
                  <a:lnTo>
                    <a:pt x="966" y="1356"/>
                  </a:lnTo>
                  <a:lnTo>
                    <a:pt x="966" y="1350"/>
                  </a:lnTo>
                  <a:lnTo>
                    <a:pt x="948" y="1350"/>
                  </a:lnTo>
                  <a:lnTo>
                    <a:pt x="936" y="1344"/>
                  </a:lnTo>
                  <a:lnTo>
                    <a:pt x="930" y="1338"/>
                  </a:lnTo>
                  <a:lnTo>
                    <a:pt x="918" y="1332"/>
                  </a:lnTo>
                  <a:lnTo>
                    <a:pt x="900" y="1326"/>
                  </a:lnTo>
                  <a:lnTo>
                    <a:pt x="864" y="1332"/>
                  </a:lnTo>
                  <a:lnTo>
                    <a:pt x="828" y="1332"/>
                  </a:lnTo>
                  <a:lnTo>
                    <a:pt x="792" y="1314"/>
                  </a:lnTo>
                  <a:lnTo>
                    <a:pt x="780" y="1314"/>
                  </a:lnTo>
                  <a:lnTo>
                    <a:pt x="780" y="1308"/>
                  </a:lnTo>
                  <a:lnTo>
                    <a:pt x="756" y="1296"/>
                  </a:lnTo>
                  <a:lnTo>
                    <a:pt x="756" y="1278"/>
                  </a:lnTo>
                  <a:lnTo>
                    <a:pt x="768" y="1278"/>
                  </a:lnTo>
                  <a:lnTo>
                    <a:pt x="774" y="1272"/>
                  </a:lnTo>
                  <a:lnTo>
                    <a:pt x="780" y="1266"/>
                  </a:lnTo>
                  <a:lnTo>
                    <a:pt x="786" y="1260"/>
                  </a:lnTo>
                  <a:lnTo>
                    <a:pt x="792" y="1254"/>
                  </a:lnTo>
                  <a:lnTo>
                    <a:pt x="798" y="1242"/>
                  </a:lnTo>
                  <a:lnTo>
                    <a:pt x="804" y="1242"/>
                  </a:lnTo>
                  <a:lnTo>
                    <a:pt x="804" y="1206"/>
                  </a:lnTo>
                  <a:lnTo>
                    <a:pt x="804" y="1182"/>
                  </a:lnTo>
                  <a:lnTo>
                    <a:pt x="804" y="1158"/>
                  </a:lnTo>
                  <a:lnTo>
                    <a:pt x="804" y="1134"/>
                  </a:lnTo>
                  <a:lnTo>
                    <a:pt x="798" y="1116"/>
                  </a:lnTo>
                  <a:lnTo>
                    <a:pt x="792" y="1092"/>
                  </a:lnTo>
                  <a:lnTo>
                    <a:pt x="786" y="1062"/>
                  </a:lnTo>
                  <a:lnTo>
                    <a:pt x="768" y="1032"/>
                  </a:lnTo>
                  <a:lnTo>
                    <a:pt x="762" y="1032"/>
                  </a:lnTo>
                  <a:lnTo>
                    <a:pt x="762" y="1020"/>
                  </a:lnTo>
                  <a:lnTo>
                    <a:pt x="762" y="1014"/>
                  </a:lnTo>
                  <a:lnTo>
                    <a:pt x="756" y="1008"/>
                  </a:lnTo>
                  <a:lnTo>
                    <a:pt x="750" y="1002"/>
                  </a:lnTo>
                  <a:lnTo>
                    <a:pt x="738" y="1002"/>
                  </a:lnTo>
                  <a:lnTo>
                    <a:pt x="738" y="990"/>
                  </a:lnTo>
                  <a:lnTo>
                    <a:pt x="726" y="990"/>
                  </a:lnTo>
                  <a:lnTo>
                    <a:pt x="726" y="978"/>
                  </a:lnTo>
                  <a:lnTo>
                    <a:pt x="732" y="972"/>
                  </a:lnTo>
                  <a:lnTo>
                    <a:pt x="732" y="966"/>
                  </a:lnTo>
                  <a:lnTo>
                    <a:pt x="726" y="966"/>
                  </a:lnTo>
                  <a:lnTo>
                    <a:pt x="732" y="948"/>
                  </a:lnTo>
                  <a:lnTo>
                    <a:pt x="726" y="942"/>
                  </a:lnTo>
                  <a:lnTo>
                    <a:pt x="726" y="930"/>
                  </a:lnTo>
                  <a:lnTo>
                    <a:pt x="720" y="924"/>
                  </a:lnTo>
                  <a:lnTo>
                    <a:pt x="714" y="912"/>
                  </a:lnTo>
                  <a:lnTo>
                    <a:pt x="714" y="882"/>
                  </a:lnTo>
                  <a:lnTo>
                    <a:pt x="714" y="870"/>
                  </a:lnTo>
                  <a:lnTo>
                    <a:pt x="714" y="858"/>
                  </a:lnTo>
                  <a:lnTo>
                    <a:pt x="714" y="846"/>
                  </a:lnTo>
                  <a:lnTo>
                    <a:pt x="708" y="822"/>
                  </a:lnTo>
                  <a:lnTo>
                    <a:pt x="702" y="798"/>
                  </a:lnTo>
                  <a:lnTo>
                    <a:pt x="696" y="792"/>
                  </a:lnTo>
                  <a:lnTo>
                    <a:pt x="684" y="726"/>
                  </a:lnTo>
                  <a:lnTo>
                    <a:pt x="678" y="666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66" y="600"/>
                  </a:lnTo>
                  <a:lnTo>
                    <a:pt x="660" y="594"/>
                  </a:lnTo>
                  <a:lnTo>
                    <a:pt x="654" y="594"/>
                  </a:lnTo>
                  <a:lnTo>
                    <a:pt x="636" y="582"/>
                  </a:lnTo>
                  <a:lnTo>
                    <a:pt x="630" y="576"/>
                  </a:lnTo>
                  <a:lnTo>
                    <a:pt x="624" y="576"/>
                  </a:lnTo>
                  <a:lnTo>
                    <a:pt x="618" y="570"/>
                  </a:lnTo>
                  <a:lnTo>
                    <a:pt x="612" y="564"/>
                  </a:lnTo>
                  <a:lnTo>
                    <a:pt x="606" y="558"/>
                  </a:lnTo>
                  <a:lnTo>
                    <a:pt x="606" y="564"/>
                  </a:lnTo>
                  <a:lnTo>
                    <a:pt x="600" y="564"/>
                  </a:lnTo>
                  <a:lnTo>
                    <a:pt x="594" y="558"/>
                  </a:lnTo>
                  <a:lnTo>
                    <a:pt x="594" y="540"/>
                  </a:lnTo>
                  <a:lnTo>
                    <a:pt x="594" y="528"/>
                  </a:lnTo>
                  <a:lnTo>
                    <a:pt x="594" y="516"/>
                  </a:lnTo>
                  <a:lnTo>
                    <a:pt x="594" y="510"/>
                  </a:lnTo>
                  <a:lnTo>
                    <a:pt x="594" y="492"/>
                  </a:lnTo>
                  <a:lnTo>
                    <a:pt x="594" y="456"/>
                  </a:lnTo>
                  <a:lnTo>
                    <a:pt x="588" y="414"/>
                  </a:lnTo>
                  <a:lnTo>
                    <a:pt x="588" y="408"/>
                  </a:lnTo>
                  <a:lnTo>
                    <a:pt x="582" y="396"/>
                  </a:lnTo>
                  <a:lnTo>
                    <a:pt x="582" y="384"/>
                  </a:lnTo>
                  <a:lnTo>
                    <a:pt x="582" y="372"/>
                  </a:lnTo>
                  <a:lnTo>
                    <a:pt x="564" y="372"/>
                  </a:lnTo>
                  <a:lnTo>
                    <a:pt x="552" y="366"/>
                  </a:lnTo>
                  <a:lnTo>
                    <a:pt x="552" y="372"/>
                  </a:lnTo>
                  <a:lnTo>
                    <a:pt x="498" y="372"/>
                  </a:lnTo>
                  <a:lnTo>
                    <a:pt x="498" y="366"/>
                  </a:lnTo>
                  <a:lnTo>
                    <a:pt x="474" y="360"/>
                  </a:lnTo>
                  <a:lnTo>
                    <a:pt x="456" y="354"/>
                  </a:lnTo>
                  <a:lnTo>
                    <a:pt x="438" y="348"/>
                  </a:lnTo>
                  <a:lnTo>
                    <a:pt x="426" y="354"/>
                  </a:lnTo>
                  <a:lnTo>
                    <a:pt x="408" y="360"/>
                  </a:lnTo>
                  <a:lnTo>
                    <a:pt x="378" y="360"/>
                  </a:lnTo>
                  <a:lnTo>
                    <a:pt x="378" y="354"/>
                  </a:lnTo>
                  <a:lnTo>
                    <a:pt x="378" y="348"/>
                  </a:lnTo>
                  <a:lnTo>
                    <a:pt x="378" y="342"/>
                  </a:lnTo>
                  <a:lnTo>
                    <a:pt x="390" y="330"/>
                  </a:lnTo>
                  <a:lnTo>
                    <a:pt x="396" y="312"/>
                  </a:lnTo>
                  <a:lnTo>
                    <a:pt x="396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8"/>
                  </a:lnTo>
                  <a:lnTo>
                    <a:pt x="372" y="234"/>
                  </a:lnTo>
                  <a:lnTo>
                    <a:pt x="354" y="234"/>
                  </a:lnTo>
                  <a:lnTo>
                    <a:pt x="342" y="246"/>
                  </a:lnTo>
                  <a:lnTo>
                    <a:pt x="330" y="252"/>
                  </a:lnTo>
                  <a:lnTo>
                    <a:pt x="318" y="252"/>
                  </a:lnTo>
                  <a:lnTo>
                    <a:pt x="276" y="258"/>
                  </a:lnTo>
                  <a:lnTo>
                    <a:pt x="276" y="264"/>
                  </a:lnTo>
                  <a:lnTo>
                    <a:pt x="252" y="270"/>
                  </a:lnTo>
                  <a:lnTo>
                    <a:pt x="240" y="270"/>
                  </a:lnTo>
                  <a:lnTo>
                    <a:pt x="228" y="276"/>
                  </a:lnTo>
                  <a:lnTo>
                    <a:pt x="210" y="282"/>
                  </a:lnTo>
                  <a:lnTo>
                    <a:pt x="198" y="288"/>
                  </a:lnTo>
                  <a:lnTo>
                    <a:pt x="186" y="294"/>
                  </a:lnTo>
                  <a:lnTo>
                    <a:pt x="174" y="330"/>
                  </a:lnTo>
                  <a:lnTo>
                    <a:pt x="162" y="342"/>
                  </a:lnTo>
                  <a:lnTo>
                    <a:pt x="156" y="354"/>
                  </a:lnTo>
                  <a:lnTo>
                    <a:pt x="150" y="360"/>
                  </a:lnTo>
                  <a:lnTo>
                    <a:pt x="150" y="366"/>
                  </a:lnTo>
                  <a:lnTo>
                    <a:pt x="108" y="372"/>
                  </a:lnTo>
                  <a:lnTo>
                    <a:pt x="60" y="378"/>
                  </a:lnTo>
                  <a:lnTo>
                    <a:pt x="42" y="378"/>
                  </a:lnTo>
                  <a:lnTo>
                    <a:pt x="12" y="378"/>
                  </a:lnTo>
                  <a:lnTo>
                    <a:pt x="6" y="378"/>
                  </a:lnTo>
                  <a:lnTo>
                    <a:pt x="0" y="366"/>
                  </a:lnTo>
                  <a:lnTo>
                    <a:pt x="12" y="360"/>
                  </a:lnTo>
                  <a:lnTo>
                    <a:pt x="24" y="348"/>
                  </a:lnTo>
                  <a:lnTo>
                    <a:pt x="30" y="342"/>
                  </a:lnTo>
                  <a:lnTo>
                    <a:pt x="36" y="330"/>
                  </a:lnTo>
                  <a:lnTo>
                    <a:pt x="72" y="300"/>
                  </a:lnTo>
                  <a:lnTo>
                    <a:pt x="78" y="294"/>
                  </a:lnTo>
                  <a:lnTo>
                    <a:pt x="78" y="288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96" y="270"/>
                  </a:lnTo>
                  <a:lnTo>
                    <a:pt x="102" y="264"/>
                  </a:lnTo>
                  <a:lnTo>
                    <a:pt x="108" y="258"/>
                  </a:lnTo>
                  <a:lnTo>
                    <a:pt x="114" y="246"/>
                  </a:lnTo>
                  <a:lnTo>
                    <a:pt x="120" y="240"/>
                  </a:lnTo>
                  <a:lnTo>
                    <a:pt x="126" y="234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0" y="210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86" y="174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22" y="138"/>
                  </a:lnTo>
                  <a:lnTo>
                    <a:pt x="234" y="132"/>
                  </a:lnTo>
                  <a:lnTo>
                    <a:pt x="246" y="126"/>
                  </a:lnTo>
                  <a:lnTo>
                    <a:pt x="246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88" y="102"/>
                  </a:lnTo>
                  <a:lnTo>
                    <a:pt x="300" y="96"/>
                  </a:lnTo>
                  <a:lnTo>
                    <a:pt x="306" y="90"/>
                  </a:lnTo>
                  <a:lnTo>
                    <a:pt x="318" y="90"/>
                  </a:lnTo>
                  <a:lnTo>
                    <a:pt x="324" y="84"/>
                  </a:lnTo>
                  <a:lnTo>
                    <a:pt x="348" y="72"/>
                  </a:lnTo>
                  <a:lnTo>
                    <a:pt x="354" y="72"/>
                  </a:lnTo>
                  <a:lnTo>
                    <a:pt x="384" y="66"/>
                  </a:lnTo>
                  <a:lnTo>
                    <a:pt x="390" y="66"/>
                  </a:lnTo>
                  <a:lnTo>
                    <a:pt x="396" y="66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66"/>
                  </a:lnTo>
                  <a:lnTo>
                    <a:pt x="438" y="66"/>
                  </a:lnTo>
                  <a:lnTo>
                    <a:pt x="468" y="66"/>
                  </a:lnTo>
                  <a:lnTo>
                    <a:pt x="480" y="66"/>
                  </a:lnTo>
                  <a:lnTo>
                    <a:pt x="486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22" y="60"/>
                  </a:lnTo>
                  <a:lnTo>
                    <a:pt x="534" y="54"/>
                  </a:lnTo>
                  <a:lnTo>
                    <a:pt x="564" y="42"/>
                  </a:lnTo>
                  <a:lnTo>
                    <a:pt x="570" y="42"/>
                  </a:lnTo>
                  <a:lnTo>
                    <a:pt x="582" y="36"/>
                  </a:lnTo>
                  <a:lnTo>
                    <a:pt x="588" y="36"/>
                  </a:lnTo>
                  <a:lnTo>
                    <a:pt x="600" y="30"/>
                  </a:lnTo>
                  <a:lnTo>
                    <a:pt x="606" y="30"/>
                  </a:lnTo>
                  <a:lnTo>
                    <a:pt x="618" y="24"/>
                  </a:lnTo>
                  <a:lnTo>
                    <a:pt x="642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72" y="12"/>
                  </a:lnTo>
                  <a:lnTo>
                    <a:pt x="696" y="12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50" y="6"/>
                  </a:lnTo>
                  <a:lnTo>
                    <a:pt x="768" y="6"/>
                  </a:lnTo>
                  <a:lnTo>
                    <a:pt x="774" y="6"/>
                  </a:lnTo>
                  <a:lnTo>
                    <a:pt x="786" y="6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6" y="6"/>
                  </a:lnTo>
                  <a:lnTo>
                    <a:pt x="846" y="6"/>
                  </a:lnTo>
                  <a:lnTo>
                    <a:pt x="852" y="0"/>
                  </a:lnTo>
                  <a:lnTo>
                    <a:pt x="876" y="0"/>
                  </a:lnTo>
                  <a:lnTo>
                    <a:pt x="876" y="6"/>
                  </a:lnTo>
                  <a:lnTo>
                    <a:pt x="888" y="0"/>
                  </a:lnTo>
                  <a:lnTo>
                    <a:pt x="900" y="0"/>
                  </a:lnTo>
                  <a:lnTo>
                    <a:pt x="906" y="0"/>
                  </a:lnTo>
                  <a:lnTo>
                    <a:pt x="912" y="0"/>
                  </a:lnTo>
                  <a:lnTo>
                    <a:pt x="948" y="0"/>
                  </a:lnTo>
                  <a:lnTo>
                    <a:pt x="954" y="0"/>
                  </a:lnTo>
                  <a:lnTo>
                    <a:pt x="972" y="0"/>
                  </a:lnTo>
                  <a:lnTo>
                    <a:pt x="978" y="0"/>
                  </a:lnTo>
                  <a:lnTo>
                    <a:pt x="996" y="0"/>
                  </a:lnTo>
                  <a:lnTo>
                    <a:pt x="1032" y="0"/>
                  </a:lnTo>
                  <a:lnTo>
                    <a:pt x="1044" y="0"/>
                  </a:lnTo>
                  <a:lnTo>
                    <a:pt x="1050" y="0"/>
                  </a:lnTo>
                  <a:lnTo>
                    <a:pt x="1056" y="6"/>
                  </a:lnTo>
                  <a:lnTo>
                    <a:pt x="1056" y="0"/>
                  </a:lnTo>
                  <a:lnTo>
                    <a:pt x="1074" y="0"/>
                  </a:lnTo>
                  <a:lnTo>
                    <a:pt x="1098" y="6"/>
                  </a:lnTo>
                  <a:lnTo>
                    <a:pt x="1116" y="6"/>
                  </a:lnTo>
                  <a:lnTo>
                    <a:pt x="1140" y="12"/>
                  </a:lnTo>
                  <a:lnTo>
                    <a:pt x="1152" y="12"/>
                  </a:lnTo>
                  <a:lnTo>
                    <a:pt x="1158" y="12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6" y="12"/>
                  </a:lnTo>
                  <a:lnTo>
                    <a:pt x="1194" y="18"/>
                  </a:lnTo>
                  <a:lnTo>
                    <a:pt x="1206" y="18"/>
                  </a:lnTo>
                  <a:lnTo>
                    <a:pt x="1242" y="36"/>
                  </a:lnTo>
                  <a:lnTo>
                    <a:pt x="1248" y="36"/>
                  </a:lnTo>
                  <a:lnTo>
                    <a:pt x="1254" y="36"/>
                  </a:lnTo>
                  <a:lnTo>
                    <a:pt x="1260" y="42"/>
                  </a:lnTo>
                  <a:lnTo>
                    <a:pt x="1272" y="48"/>
                  </a:lnTo>
                  <a:lnTo>
                    <a:pt x="1278" y="48"/>
                  </a:lnTo>
                  <a:lnTo>
                    <a:pt x="1284" y="48"/>
                  </a:lnTo>
                  <a:lnTo>
                    <a:pt x="1290" y="54"/>
                  </a:lnTo>
                  <a:lnTo>
                    <a:pt x="1308" y="60"/>
                  </a:lnTo>
                  <a:lnTo>
                    <a:pt x="1326" y="60"/>
                  </a:lnTo>
                  <a:lnTo>
                    <a:pt x="1338" y="66"/>
                  </a:lnTo>
                  <a:lnTo>
                    <a:pt x="1344" y="66"/>
                  </a:lnTo>
                  <a:lnTo>
                    <a:pt x="1350" y="66"/>
                  </a:lnTo>
                  <a:lnTo>
                    <a:pt x="1356" y="66"/>
                  </a:lnTo>
                  <a:lnTo>
                    <a:pt x="1362" y="72"/>
                  </a:lnTo>
                  <a:lnTo>
                    <a:pt x="1368" y="72"/>
                  </a:lnTo>
                  <a:lnTo>
                    <a:pt x="1380" y="72"/>
                  </a:lnTo>
                  <a:lnTo>
                    <a:pt x="1386" y="72"/>
                  </a:lnTo>
                  <a:lnTo>
                    <a:pt x="1422" y="84"/>
                  </a:lnTo>
                  <a:lnTo>
                    <a:pt x="1428" y="84"/>
                  </a:lnTo>
                  <a:lnTo>
                    <a:pt x="1446" y="90"/>
                  </a:lnTo>
                  <a:lnTo>
                    <a:pt x="1458" y="102"/>
                  </a:lnTo>
                  <a:lnTo>
                    <a:pt x="1494" y="126"/>
                  </a:lnTo>
                  <a:lnTo>
                    <a:pt x="1500" y="132"/>
                  </a:lnTo>
                  <a:lnTo>
                    <a:pt x="1512" y="138"/>
                  </a:lnTo>
                  <a:lnTo>
                    <a:pt x="1512" y="144"/>
                  </a:lnTo>
                  <a:lnTo>
                    <a:pt x="1518" y="150"/>
                  </a:lnTo>
                  <a:lnTo>
                    <a:pt x="1530" y="156"/>
                  </a:lnTo>
                  <a:lnTo>
                    <a:pt x="1530" y="162"/>
                  </a:lnTo>
                  <a:lnTo>
                    <a:pt x="1548" y="168"/>
                  </a:lnTo>
                  <a:lnTo>
                    <a:pt x="1566" y="180"/>
                  </a:lnTo>
                  <a:lnTo>
                    <a:pt x="1578" y="186"/>
                  </a:lnTo>
                  <a:lnTo>
                    <a:pt x="1578" y="180"/>
                  </a:lnTo>
                  <a:lnTo>
                    <a:pt x="1584" y="186"/>
                  </a:lnTo>
                  <a:lnTo>
                    <a:pt x="1584" y="174"/>
                  </a:lnTo>
                  <a:lnTo>
                    <a:pt x="1590" y="174"/>
                  </a:lnTo>
                  <a:lnTo>
                    <a:pt x="1590" y="180"/>
                  </a:lnTo>
                  <a:lnTo>
                    <a:pt x="1596" y="180"/>
                  </a:lnTo>
                  <a:lnTo>
                    <a:pt x="1596" y="174"/>
                  </a:lnTo>
                  <a:lnTo>
                    <a:pt x="1602" y="174"/>
                  </a:lnTo>
                  <a:lnTo>
                    <a:pt x="1608" y="174"/>
                  </a:lnTo>
                  <a:lnTo>
                    <a:pt x="1614" y="180"/>
                  </a:lnTo>
                  <a:lnTo>
                    <a:pt x="1620" y="174"/>
                  </a:lnTo>
                  <a:lnTo>
                    <a:pt x="1614" y="168"/>
                  </a:lnTo>
                  <a:lnTo>
                    <a:pt x="1614" y="162"/>
                  </a:lnTo>
                  <a:lnTo>
                    <a:pt x="1620" y="162"/>
                  </a:lnTo>
                  <a:lnTo>
                    <a:pt x="1626" y="162"/>
                  </a:lnTo>
                  <a:lnTo>
                    <a:pt x="1632" y="162"/>
                  </a:lnTo>
                  <a:lnTo>
                    <a:pt x="1638" y="168"/>
                  </a:lnTo>
                  <a:lnTo>
                    <a:pt x="1644" y="168"/>
                  </a:lnTo>
                  <a:lnTo>
                    <a:pt x="1650" y="174"/>
                  </a:lnTo>
                  <a:lnTo>
                    <a:pt x="1656" y="168"/>
                  </a:lnTo>
                  <a:lnTo>
                    <a:pt x="1668" y="168"/>
                  </a:lnTo>
                  <a:lnTo>
                    <a:pt x="1674" y="174"/>
                  </a:lnTo>
                  <a:lnTo>
                    <a:pt x="1674" y="180"/>
                  </a:lnTo>
                  <a:lnTo>
                    <a:pt x="1674" y="186"/>
                  </a:lnTo>
                  <a:lnTo>
                    <a:pt x="1680" y="186"/>
                  </a:lnTo>
                  <a:lnTo>
                    <a:pt x="1680" y="192"/>
                  </a:lnTo>
                  <a:lnTo>
                    <a:pt x="1686" y="192"/>
                  </a:lnTo>
                  <a:lnTo>
                    <a:pt x="1686" y="186"/>
                  </a:lnTo>
                  <a:lnTo>
                    <a:pt x="1680" y="186"/>
                  </a:lnTo>
                  <a:lnTo>
                    <a:pt x="1686" y="180"/>
                  </a:lnTo>
                  <a:lnTo>
                    <a:pt x="1692" y="180"/>
                  </a:lnTo>
                  <a:lnTo>
                    <a:pt x="1698" y="180"/>
                  </a:lnTo>
                  <a:lnTo>
                    <a:pt x="1704" y="180"/>
                  </a:lnTo>
                  <a:lnTo>
                    <a:pt x="1704" y="186"/>
                  </a:lnTo>
                  <a:lnTo>
                    <a:pt x="1710" y="186"/>
                  </a:lnTo>
                  <a:lnTo>
                    <a:pt x="1716" y="186"/>
                  </a:lnTo>
                  <a:lnTo>
                    <a:pt x="1716" y="192"/>
                  </a:lnTo>
                  <a:lnTo>
                    <a:pt x="1716" y="198"/>
                  </a:lnTo>
                  <a:lnTo>
                    <a:pt x="1722" y="192"/>
                  </a:lnTo>
                  <a:lnTo>
                    <a:pt x="1722" y="186"/>
                  </a:lnTo>
                  <a:lnTo>
                    <a:pt x="1728" y="192"/>
                  </a:lnTo>
                  <a:lnTo>
                    <a:pt x="1734" y="192"/>
                  </a:lnTo>
                  <a:lnTo>
                    <a:pt x="1734" y="186"/>
                  </a:lnTo>
                  <a:lnTo>
                    <a:pt x="1740" y="186"/>
                  </a:lnTo>
                  <a:lnTo>
                    <a:pt x="1740" y="192"/>
                  </a:lnTo>
                  <a:lnTo>
                    <a:pt x="1746" y="192"/>
                  </a:lnTo>
                  <a:lnTo>
                    <a:pt x="1758" y="192"/>
                  </a:lnTo>
                  <a:lnTo>
                    <a:pt x="1764" y="192"/>
                  </a:lnTo>
                  <a:lnTo>
                    <a:pt x="1764" y="198"/>
                  </a:lnTo>
                  <a:lnTo>
                    <a:pt x="1758" y="204"/>
                  </a:lnTo>
                  <a:lnTo>
                    <a:pt x="1752" y="210"/>
                  </a:lnTo>
                  <a:lnTo>
                    <a:pt x="1746" y="216"/>
                  </a:lnTo>
                  <a:lnTo>
                    <a:pt x="1746" y="222"/>
                  </a:lnTo>
                  <a:lnTo>
                    <a:pt x="1734" y="228"/>
                  </a:lnTo>
                  <a:lnTo>
                    <a:pt x="1734" y="234"/>
                  </a:lnTo>
                  <a:lnTo>
                    <a:pt x="1734" y="258"/>
                  </a:lnTo>
                  <a:lnTo>
                    <a:pt x="1740" y="330"/>
                  </a:lnTo>
                  <a:lnTo>
                    <a:pt x="1746" y="372"/>
                  </a:lnTo>
                  <a:lnTo>
                    <a:pt x="1788" y="426"/>
                  </a:lnTo>
                  <a:lnTo>
                    <a:pt x="1806" y="438"/>
                  </a:lnTo>
                  <a:lnTo>
                    <a:pt x="1794" y="480"/>
                  </a:lnTo>
                  <a:lnTo>
                    <a:pt x="1770" y="516"/>
                  </a:lnTo>
                  <a:lnTo>
                    <a:pt x="1746" y="546"/>
                  </a:lnTo>
                  <a:lnTo>
                    <a:pt x="1716" y="570"/>
                  </a:lnTo>
                  <a:lnTo>
                    <a:pt x="1680" y="594"/>
                  </a:lnTo>
                  <a:lnTo>
                    <a:pt x="1668" y="630"/>
                  </a:lnTo>
                  <a:lnTo>
                    <a:pt x="1680" y="684"/>
                  </a:lnTo>
                  <a:lnTo>
                    <a:pt x="1686" y="756"/>
                  </a:lnTo>
                  <a:lnTo>
                    <a:pt x="1662" y="870"/>
                  </a:lnTo>
                  <a:lnTo>
                    <a:pt x="1656" y="888"/>
                  </a:lnTo>
                  <a:lnTo>
                    <a:pt x="1650" y="972"/>
                  </a:lnTo>
                  <a:lnTo>
                    <a:pt x="1656" y="978"/>
                  </a:lnTo>
                  <a:lnTo>
                    <a:pt x="1650" y="984"/>
                  </a:lnTo>
                  <a:lnTo>
                    <a:pt x="1650" y="990"/>
                  </a:lnTo>
                  <a:lnTo>
                    <a:pt x="1650" y="1002"/>
                  </a:lnTo>
                  <a:lnTo>
                    <a:pt x="1656" y="1008"/>
                  </a:lnTo>
                  <a:lnTo>
                    <a:pt x="1656" y="1014"/>
                  </a:lnTo>
                  <a:lnTo>
                    <a:pt x="1662" y="1026"/>
                  </a:lnTo>
                  <a:lnTo>
                    <a:pt x="1650" y="1032"/>
                  </a:lnTo>
                  <a:lnTo>
                    <a:pt x="1638" y="1044"/>
                  </a:lnTo>
                  <a:lnTo>
                    <a:pt x="1626" y="1080"/>
                  </a:lnTo>
                  <a:lnTo>
                    <a:pt x="1614" y="1116"/>
                  </a:lnTo>
                  <a:lnTo>
                    <a:pt x="1614" y="1128"/>
                  </a:lnTo>
                  <a:lnTo>
                    <a:pt x="1626" y="1134"/>
                  </a:lnTo>
                  <a:lnTo>
                    <a:pt x="1644" y="1134"/>
                  </a:lnTo>
                  <a:lnTo>
                    <a:pt x="1662" y="1134"/>
                  </a:lnTo>
                  <a:lnTo>
                    <a:pt x="1680" y="1140"/>
                  </a:lnTo>
                  <a:lnTo>
                    <a:pt x="1698" y="1170"/>
                  </a:lnTo>
                  <a:lnTo>
                    <a:pt x="1704" y="1194"/>
                  </a:lnTo>
                  <a:lnTo>
                    <a:pt x="1692" y="1206"/>
                  </a:lnTo>
                  <a:lnTo>
                    <a:pt x="1662" y="1242"/>
                  </a:lnTo>
                  <a:lnTo>
                    <a:pt x="1632" y="1266"/>
                  </a:lnTo>
                  <a:lnTo>
                    <a:pt x="1620" y="1314"/>
                  </a:lnTo>
                  <a:lnTo>
                    <a:pt x="1584" y="1356"/>
                  </a:lnTo>
                  <a:lnTo>
                    <a:pt x="1578" y="1356"/>
                  </a:lnTo>
                  <a:lnTo>
                    <a:pt x="1578" y="1362"/>
                  </a:lnTo>
                  <a:lnTo>
                    <a:pt x="1572" y="1410"/>
                  </a:lnTo>
                  <a:lnTo>
                    <a:pt x="1584" y="1452"/>
                  </a:lnTo>
                  <a:lnTo>
                    <a:pt x="1608" y="1476"/>
                  </a:lnTo>
                  <a:lnTo>
                    <a:pt x="1596" y="1476"/>
                  </a:lnTo>
                  <a:lnTo>
                    <a:pt x="1584" y="1482"/>
                  </a:lnTo>
                  <a:lnTo>
                    <a:pt x="1560" y="1482"/>
                  </a:lnTo>
                  <a:lnTo>
                    <a:pt x="1536" y="1482"/>
                  </a:lnTo>
                  <a:lnTo>
                    <a:pt x="1524" y="1482"/>
                  </a:lnTo>
                  <a:lnTo>
                    <a:pt x="1506" y="1500"/>
                  </a:lnTo>
                  <a:lnTo>
                    <a:pt x="1482" y="1530"/>
                  </a:lnTo>
                  <a:lnTo>
                    <a:pt x="1452" y="1542"/>
                  </a:lnTo>
                  <a:lnTo>
                    <a:pt x="1446" y="1542"/>
                  </a:lnTo>
                  <a:lnTo>
                    <a:pt x="1440" y="1542"/>
                  </a:lnTo>
                  <a:lnTo>
                    <a:pt x="1440" y="1548"/>
                  </a:lnTo>
                  <a:lnTo>
                    <a:pt x="1434" y="1548"/>
                  </a:lnTo>
                  <a:lnTo>
                    <a:pt x="1428" y="1548"/>
                  </a:lnTo>
                  <a:lnTo>
                    <a:pt x="1428" y="1554"/>
                  </a:lnTo>
                  <a:lnTo>
                    <a:pt x="1422" y="1560"/>
                  </a:lnTo>
                  <a:lnTo>
                    <a:pt x="1416" y="1560"/>
                  </a:lnTo>
                  <a:lnTo>
                    <a:pt x="1410" y="1566"/>
                  </a:lnTo>
                  <a:lnTo>
                    <a:pt x="1410" y="1560"/>
                  </a:lnTo>
                  <a:lnTo>
                    <a:pt x="1404" y="1560"/>
                  </a:lnTo>
                  <a:lnTo>
                    <a:pt x="1392" y="1560"/>
                  </a:lnTo>
                  <a:lnTo>
                    <a:pt x="1386" y="1560"/>
                  </a:lnTo>
                  <a:lnTo>
                    <a:pt x="1380" y="1566"/>
                  </a:lnTo>
                  <a:lnTo>
                    <a:pt x="1374" y="1560"/>
                  </a:lnTo>
                  <a:lnTo>
                    <a:pt x="1368" y="1566"/>
                  </a:lnTo>
                  <a:lnTo>
                    <a:pt x="1362" y="1566"/>
                  </a:lnTo>
                  <a:lnTo>
                    <a:pt x="1362" y="1572"/>
                  </a:lnTo>
                  <a:lnTo>
                    <a:pt x="1356" y="1572"/>
                  </a:lnTo>
                  <a:lnTo>
                    <a:pt x="1356" y="1578"/>
                  </a:lnTo>
                  <a:lnTo>
                    <a:pt x="1350" y="1578"/>
                  </a:lnTo>
                  <a:lnTo>
                    <a:pt x="1350" y="1572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32" y="1584"/>
                  </a:lnTo>
                  <a:lnTo>
                    <a:pt x="1326" y="1590"/>
                  </a:lnTo>
                  <a:lnTo>
                    <a:pt x="1320" y="1584"/>
                  </a:lnTo>
                  <a:lnTo>
                    <a:pt x="1314" y="1590"/>
                  </a:lnTo>
                  <a:lnTo>
                    <a:pt x="1308" y="1596"/>
                  </a:lnTo>
                  <a:lnTo>
                    <a:pt x="1302" y="1596"/>
                  </a:lnTo>
                  <a:lnTo>
                    <a:pt x="1296" y="1596"/>
                  </a:lnTo>
                  <a:lnTo>
                    <a:pt x="1290" y="1596"/>
                  </a:lnTo>
                  <a:lnTo>
                    <a:pt x="1284" y="1596"/>
                  </a:lnTo>
                  <a:lnTo>
                    <a:pt x="1278" y="1602"/>
                  </a:lnTo>
                  <a:lnTo>
                    <a:pt x="1266" y="1602"/>
                  </a:lnTo>
                  <a:lnTo>
                    <a:pt x="1272" y="1608"/>
                  </a:lnTo>
                  <a:lnTo>
                    <a:pt x="1278" y="1608"/>
                  </a:lnTo>
                  <a:lnTo>
                    <a:pt x="1284" y="1608"/>
                  </a:lnTo>
                  <a:lnTo>
                    <a:pt x="1290" y="1614"/>
                  </a:lnTo>
                  <a:lnTo>
                    <a:pt x="1296" y="1620"/>
                  </a:lnTo>
                  <a:lnTo>
                    <a:pt x="1302" y="1626"/>
                  </a:lnTo>
                  <a:lnTo>
                    <a:pt x="1308" y="1632"/>
                  </a:lnTo>
                  <a:lnTo>
                    <a:pt x="1314" y="1638"/>
                  </a:lnTo>
                  <a:lnTo>
                    <a:pt x="1314" y="1644"/>
                  </a:lnTo>
                  <a:lnTo>
                    <a:pt x="1320" y="1644"/>
                  </a:lnTo>
                  <a:lnTo>
                    <a:pt x="1320" y="1650"/>
                  </a:lnTo>
                  <a:lnTo>
                    <a:pt x="1326" y="1656"/>
                  </a:lnTo>
                  <a:lnTo>
                    <a:pt x="1332" y="1668"/>
                  </a:lnTo>
                  <a:lnTo>
                    <a:pt x="1338" y="1680"/>
                  </a:lnTo>
                  <a:lnTo>
                    <a:pt x="1338" y="1698"/>
                  </a:lnTo>
                  <a:lnTo>
                    <a:pt x="1350" y="1710"/>
                  </a:lnTo>
                  <a:lnTo>
                    <a:pt x="1350" y="1716"/>
                  </a:lnTo>
                  <a:lnTo>
                    <a:pt x="1350" y="1722"/>
                  </a:lnTo>
                  <a:lnTo>
                    <a:pt x="1350" y="1728"/>
                  </a:lnTo>
                  <a:lnTo>
                    <a:pt x="1356" y="1728"/>
                  </a:lnTo>
                  <a:lnTo>
                    <a:pt x="1356" y="1734"/>
                  </a:lnTo>
                  <a:lnTo>
                    <a:pt x="1350" y="1734"/>
                  </a:lnTo>
                  <a:lnTo>
                    <a:pt x="1344" y="1740"/>
                  </a:lnTo>
                  <a:lnTo>
                    <a:pt x="1338" y="1740"/>
                  </a:lnTo>
                  <a:lnTo>
                    <a:pt x="1332" y="1746"/>
                  </a:lnTo>
                  <a:lnTo>
                    <a:pt x="1326" y="1746"/>
                  </a:lnTo>
                  <a:lnTo>
                    <a:pt x="1326" y="1752"/>
                  </a:lnTo>
                  <a:lnTo>
                    <a:pt x="1320" y="1752"/>
                  </a:lnTo>
                  <a:lnTo>
                    <a:pt x="1320" y="1758"/>
                  </a:lnTo>
                  <a:lnTo>
                    <a:pt x="1314" y="1758"/>
                  </a:lnTo>
                  <a:lnTo>
                    <a:pt x="1308" y="1758"/>
                  </a:lnTo>
                  <a:lnTo>
                    <a:pt x="1302" y="1758"/>
                  </a:lnTo>
                  <a:lnTo>
                    <a:pt x="1296" y="1758"/>
                  </a:lnTo>
                  <a:lnTo>
                    <a:pt x="1290" y="1764"/>
                  </a:lnTo>
                  <a:lnTo>
                    <a:pt x="1284" y="1770"/>
                  </a:lnTo>
                  <a:lnTo>
                    <a:pt x="1278" y="1770"/>
                  </a:lnTo>
                  <a:lnTo>
                    <a:pt x="1272" y="1770"/>
                  </a:lnTo>
                  <a:lnTo>
                    <a:pt x="1266" y="1770"/>
                  </a:lnTo>
                  <a:lnTo>
                    <a:pt x="1266" y="1776"/>
                  </a:lnTo>
                  <a:lnTo>
                    <a:pt x="1260" y="1776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4" name="Freeform 39">
              <a:extLst>
                <a:ext uri="{FF2B5EF4-FFF2-40B4-BE49-F238E27FC236}">
                  <a16:creationId xmlns:a16="http://schemas.microsoft.com/office/drawing/2014/main" id="{E01CDA8B-32C7-421A-B23E-968CAC7F78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2974" y="1759680"/>
              <a:ext cx="825155" cy="700024"/>
            </a:xfrm>
            <a:custGeom>
              <a:avLst/>
              <a:gdLst>
                <a:gd name="T0" fmla="*/ 60 w 1554"/>
                <a:gd name="T1" fmla="*/ 86 h 1320"/>
                <a:gd name="T2" fmla="*/ 66 w 1554"/>
                <a:gd name="T3" fmla="*/ 80 h 1320"/>
                <a:gd name="T4" fmla="*/ 61 w 1554"/>
                <a:gd name="T5" fmla="*/ 73 h 1320"/>
                <a:gd name="T6" fmla="*/ 57 w 1554"/>
                <a:gd name="T7" fmla="*/ 67 h 1320"/>
                <a:gd name="T8" fmla="*/ 60 w 1554"/>
                <a:gd name="T9" fmla="*/ 59 h 1320"/>
                <a:gd name="T10" fmla="*/ 56 w 1554"/>
                <a:gd name="T11" fmla="*/ 55 h 1320"/>
                <a:gd name="T12" fmla="*/ 45 w 1554"/>
                <a:gd name="T13" fmla="*/ 53 h 1320"/>
                <a:gd name="T14" fmla="*/ 42 w 1554"/>
                <a:gd name="T15" fmla="*/ 41 h 1320"/>
                <a:gd name="T16" fmla="*/ 37 w 1554"/>
                <a:gd name="T17" fmla="*/ 39 h 1320"/>
                <a:gd name="T18" fmla="*/ 31 w 1554"/>
                <a:gd name="T19" fmla="*/ 44 h 1320"/>
                <a:gd name="T20" fmla="*/ 37 w 1554"/>
                <a:gd name="T21" fmla="*/ 35 h 1320"/>
                <a:gd name="T22" fmla="*/ 30 w 1554"/>
                <a:gd name="T23" fmla="*/ 23 h 1320"/>
                <a:gd name="T24" fmla="*/ 21 w 1554"/>
                <a:gd name="T25" fmla="*/ 23 h 1320"/>
                <a:gd name="T26" fmla="*/ 15 w 1554"/>
                <a:gd name="T27" fmla="*/ 27 h 1320"/>
                <a:gd name="T28" fmla="*/ 11 w 1554"/>
                <a:gd name="T29" fmla="*/ 32 h 1320"/>
                <a:gd name="T30" fmla="*/ 6 w 1554"/>
                <a:gd name="T31" fmla="*/ 22 h 1320"/>
                <a:gd name="T32" fmla="*/ 3 w 1554"/>
                <a:gd name="T33" fmla="*/ 11 h 1320"/>
                <a:gd name="T34" fmla="*/ 24 w 1554"/>
                <a:gd name="T35" fmla="*/ 12 h 1320"/>
                <a:gd name="T36" fmla="*/ 33 w 1554"/>
                <a:gd name="T37" fmla="*/ 19 h 1320"/>
                <a:gd name="T38" fmla="*/ 49 w 1554"/>
                <a:gd name="T39" fmla="*/ 12 h 1320"/>
                <a:gd name="T40" fmla="*/ 58 w 1554"/>
                <a:gd name="T41" fmla="*/ 10 h 1320"/>
                <a:gd name="T42" fmla="*/ 68 w 1554"/>
                <a:gd name="T43" fmla="*/ 11 h 1320"/>
                <a:gd name="T44" fmla="*/ 79 w 1554"/>
                <a:gd name="T45" fmla="*/ 12 h 1320"/>
                <a:gd name="T46" fmla="*/ 96 w 1554"/>
                <a:gd name="T47" fmla="*/ 11 h 1320"/>
                <a:gd name="T48" fmla="*/ 107 w 1554"/>
                <a:gd name="T49" fmla="*/ 2 h 1320"/>
                <a:gd name="T50" fmla="*/ 117 w 1554"/>
                <a:gd name="T51" fmla="*/ 8 h 1320"/>
                <a:gd name="T52" fmla="*/ 126 w 1554"/>
                <a:gd name="T53" fmla="*/ 12 h 1320"/>
                <a:gd name="T54" fmla="*/ 134 w 1554"/>
                <a:gd name="T55" fmla="*/ 24 h 1320"/>
                <a:gd name="T56" fmla="*/ 133 w 1554"/>
                <a:gd name="T57" fmla="*/ 29 h 1320"/>
                <a:gd name="T58" fmla="*/ 129 w 1554"/>
                <a:gd name="T59" fmla="*/ 31 h 1320"/>
                <a:gd name="T60" fmla="*/ 125 w 1554"/>
                <a:gd name="T61" fmla="*/ 32 h 1320"/>
                <a:gd name="T62" fmla="*/ 115 w 1554"/>
                <a:gd name="T63" fmla="*/ 34 h 1320"/>
                <a:gd name="T64" fmla="*/ 113 w 1554"/>
                <a:gd name="T65" fmla="*/ 44 h 1320"/>
                <a:gd name="T66" fmla="*/ 111 w 1554"/>
                <a:gd name="T67" fmla="*/ 54 h 1320"/>
                <a:gd name="T68" fmla="*/ 107 w 1554"/>
                <a:gd name="T69" fmla="*/ 56 h 1320"/>
                <a:gd name="T70" fmla="*/ 102 w 1554"/>
                <a:gd name="T71" fmla="*/ 58 h 1320"/>
                <a:gd name="T72" fmla="*/ 99 w 1554"/>
                <a:gd name="T73" fmla="*/ 60 h 1320"/>
                <a:gd name="T74" fmla="*/ 93 w 1554"/>
                <a:gd name="T75" fmla="*/ 62 h 1320"/>
                <a:gd name="T76" fmla="*/ 87 w 1554"/>
                <a:gd name="T77" fmla="*/ 64 h 1320"/>
                <a:gd name="T78" fmla="*/ 84 w 1554"/>
                <a:gd name="T79" fmla="*/ 65 h 1320"/>
                <a:gd name="T80" fmla="*/ 81 w 1554"/>
                <a:gd name="T81" fmla="*/ 69 h 1320"/>
                <a:gd name="T82" fmla="*/ 83 w 1554"/>
                <a:gd name="T83" fmla="*/ 72 h 1320"/>
                <a:gd name="T84" fmla="*/ 92 w 1554"/>
                <a:gd name="T85" fmla="*/ 73 h 1320"/>
                <a:gd name="T86" fmla="*/ 93 w 1554"/>
                <a:gd name="T87" fmla="*/ 87 h 1320"/>
                <a:gd name="T88" fmla="*/ 104 w 1554"/>
                <a:gd name="T89" fmla="*/ 98 h 1320"/>
                <a:gd name="T90" fmla="*/ 108 w 1554"/>
                <a:gd name="T91" fmla="*/ 98 h 1320"/>
                <a:gd name="T92" fmla="*/ 112 w 1554"/>
                <a:gd name="T93" fmla="*/ 100 h 1320"/>
                <a:gd name="T94" fmla="*/ 118 w 1554"/>
                <a:gd name="T95" fmla="*/ 100 h 1320"/>
                <a:gd name="T96" fmla="*/ 122 w 1554"/>
                <a:gd name="T97" fmla="*/ 102 h 1320"/>
                <a:gd name="T98" fmla="*/ 118 w 1554"/>
                <a:gd name="T99" fmla="*/ 105 h 1320"/>
                <a:gd name="T100" fmla="*/ 114 w 1554"/>
                <a:gd name="T101" fmla="*/ 107 h 1320"/>
                <a:gd name="T102" fmla="*/ 113 w 1554"/>
                <a:gd name="T103" fmla="*/ 113 h 1320"/>
                <a:gd name="T104" fmla="*/ 104 w 1554"/>
                <a:gd name="T105" fmla="*/ 113 h 1320"/>
                <a:gd name="T106" fmla="*/ 93 w 1554"/>
                <a:gd name="T107" fmla="*/ 109 h 1320"/>
                <a:gd name="T108" fmla="*/ 96 w 1554"/>
                <a:gd name="T109" fmla="*/ 103 h 1320"/>
                <a:gd name="T110" fmla="*/ 95 w 1554"/>
                <a:gd name="T111" fmla="*/ 97 h 1320"/>
                <a:gd name="T112" fmla="*/ 87 w 1554"/>
                <a:gd name="T113" fmla="*/ 98 h 1320"/>
                <a:gd name="T114" fmla="*/ 81 w 1554"/>
                <a:gd name="T115" fmla="*/ 98 h 1320"/>
                <a:gd name="T116" fmla="*/ 78 w 1554"/>
                <a:gd name="T117" fmla="*/ 93 h 1320"/>
                <a:gd name="T118" fmla="*/ 65 w 1554"/>
                <a:gd name="T119" fmla="*/ 92 h 1320"/>
                <a:gd name="T120" fmla="*/ 59 w 1554"/>
                <a:gd name="T121" fmla="*/ 92 h 13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54"/>
                <a:gd name="T184" fmla="*/ 0 h 1320"/>
                <a:gd name="T185" fmla="*/ 1554 w 1554"/>
                <a:gd name="T186" fmla="*/ 1320 h 132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54" h="1320">
                  <a:moveTo>
                    <a:pt x="684" y="1068"/>
                  </a:moveTo>
                  <a:lnTo>
                    <a:pt x="684" y="1062"/>
                  </a:lnTo>
                  <a:lnTo>
                    <a:pt x="690" y="1056"/>
                  </a:lnTo>
                  <a:lnTo>
                    <a:pt x="690" y="1050"/>
                  </a:lnTo>
                  <a:lnTo>
                    <a:pt x="690" y="1044"/>
                  </a:lnTo>
                  <a:lnTo>
                    <a:pt x="690" y="1038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14"/>
                  </a:lnTo>
                  <a:lnTo>
                    <a:pt x="690" y="1008"/>
                  </a:lnTo>
                  <a:lnTo>
                    <a:pt x="696" y="996"/>
                  </a:lnTo>
                  <a:lnTo>
                    <a:pt x="714" y="996"/>
                  </a:lnTo>
                  <a:lnTo>
                    <a:pt x="714" y="990"/>
                  </a:lnTo>
                  <a:lnTo>
                    <a:pt x="732" y="984"/>
                  </a:lnTo>
                  <a:lnTo>
                    <a:pt x="744" y="978"/>
                  </a:lnTo>
                  <a:lnTo>
                    <a:pt x="762" y="966"/>
                  </a:lnTo>
                  <a:lnTo>
                    <a:pt x="762" y="960"/>
                  </a:lnTo>
                  <a:lnTo>
                    <a:pt x="768" y="954"/>
                  </a:lnTo>
                  <a:lnTo>
                    <a:pt x="774" y="948"/>
                  </a:lnTo>
                  <a:lnTo>
                    <a:pt x="774" y="942"/>
                  </a:lnTo>
                  <a:lnTo>
                    <a:pt x="774" y="924"/>
                  </a:lnTo>
                  <a:lnTo>
                    <a:pt x="768" y="918"/>
                  </a:lnTo>
                  <a:lnTo>
                    <a:pt x="756" y="918"/>
                  </a:lnTo>
                  <a:lnTo>
                    <a:pt x="744" y="918"/>
                  </a:lnTo>
                  <a:lnTo>
                    <a:pt x="732" y="924"/>
                  </a:lnTo>
                  <a:lnTo>
                    <a:pt x="726" y="912"/>
                  </a:lnTo>
                  <a:lnTo>
                    <a:pt x="720" y="912"/>
                  </a:lnTo>
                  <a:lnTo>
                    <a:pt x="720" y="900"/>
                  </a:lnTo>
                  <a:lnTo>
                    <a:pt x="720" y="870"/>
                  </a:lnTo>
                  <a:lnTo>
                    <a:pt x="696" y="876"/>
                  </a:lnTo>
                  <a:lnTo>
                    <a:pt x="690" y="852"/>
                  </a:lnTo>
                  <a:lnTo>
                    <a:pt x="702" y="852"/>
                  </a:lnTo>
                  <a:lnTo>
                    <a:pt x="702" y="840"/>
                  </a:lnTo>
                  <a:lnTo>
                    <a:pt x="708" y="834"/>
                  </a:lnTo>
                  <a:lnTo>
                    <a:pt x="702" y="822"/>
                  </a:lnTo>
                  <a:lnTo>
                    <a:pt x="660" y="822"/>
                  </a:lnTo>
                  <a:lnTo>
                    <a:pt x="654" y="822"/>
                  </a:lnTo>
                  <a:lnTo>
                    <a:pt x="642" y="822"/>
                  </a:lnTo>
                  <a:lnTo>
                    <a:pt x="642" y="810"/>
                  </a:lnTo>
                  <a:lnTo>
                    <a:pt x="642" y="798"/>
                  </a:lnTo>
                  <a:lnTo>
                    <a:pt x="642" y="792"/>
                  </a:lnTo>
                  <a:lnTo>
                    <a:pt x="648" y="780"/>
                  </a:lnTo>
                  <a:lnTo>
                    <a:pt x="654" y="774"/>
                  </a:lnTo>
                  <a:lnTo>
                    <a:pt x="660" y="774"/>
                  </a:lnTo>
                  <a:lnTo>
                    <a:pt x="672" y="762"/>
                  </a:lnTo>
                  <a:lnTo>
                    <a:pt x="672" y="756"/>
                  </a:lnTo>
                  <a:lnTo>
                    <a:pt x="678" y="750"/>
                  </a:lnTo>
                  <a:lnTo>
                    <a:pt x="684" y="750"/>
                  </a:lnTo>
                  <a:lnTo>
                    <a:pt x="690" y="744"/>
                  </a:lnTo>
                  <a:lnTo>
                    <a:pt x="696" y="732"/>
                  </a:lnTo>
                  <a:lnTo>
                    <a:pt x="696" y="726"/>
                  </a:lnTo>
                  <a:lnTo>
                    <a:pt x="702" y="714"/>
                  </a:lnTo>
                  <a:lnTo>
                    <a:pt x="696" y="708"/>
                  </a:lnTo>
                  <a:lnTo>
                    <a:pt x="690" y="690"/>
                  </a:lnTo>
                  <a:lnTo>
                    <a:pt x="696" y="678"/>
                  </a:lnTo>
                  <a:lnTo>
                    <a:pt x="708" y="672"/>
                  </a:lnTo>
                  <a:lnTo>
                    <a:pt x="708" y="660"/>
                  </a:lnTo>
                  <a:lnTo>
                    <a:pt x="702" y="660"/>
                  </a:lnTo>
                  <a:lnTo>
                    <a:pt x="696" y="660"/>
                  </a:lnTo>
                  <a:lnTo>
                    <a:pt x="690" y="654"/>
                  </a:lnTo>
                  <a:lnTo>
                    <a:pt x="684" y="654"/>
                  </a:lnTo>
                  <a:lnTo>
                    <a:pt x="690" y="606"/>
                  </a:lnTo>
                  <a:lnTo>
                    <a:pt x="660" y="606"/>
                  </a:lnTo>
                  <a:lnTo>
                    <a:pt x="660" y="612"/>
                  </a:lnTo>
                  <a:lnTo>
                    <a:pt x="648" y="612"/>
                  </a:lnTo>
                  <a:lnTo>
                    <a:pt x="642" y="636"/>
                  </a:lnTo>
                  <a:lnTo>
                    <a:pt x="636" y="636"/>
                  </a:lnTo>
                  <a:lnTo>
                    <a:pt x="630" y="648"/>
                  </a:lnTo>
                  <a:lnTo>
                    <a:pt x="612" y="648"/>
                  </a:lnTo>
                  <a:lnTo>
                    <a:pt x="606" y="636"/>
                  </a:lnTo>
                  <a:lnTo>
                    <a:pt x="600" y="630"/>
                  </a:lnTo>
                  <a:lnTo>
                    <a:pt x="588" y="606"/>
                  </a:lnTo>
                  <a:lnTo>
                    <a:pt x="552" y="606"/>
                  </a:lnTo>
                  <a:lnTo>
                    <a:pt x="552" y="612"/>
                  </a:lnTo>
                  <a:lnTo>
                    <a:pt x="540" y="612"/>
                  </a:lnTo>
                  <a:lnTo>
                    <a:pt x="540" y="606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16" y="612"/>
                  </a:lnTo>
                  <a:lnTo>
                    <a:pt x="516" y="582"/>
                  </a:lnTo>
                  <a:lnTo>
                    <a:pt x="522" y="576"/>
                  </a:lnTo>
                  <a:lnTo>
                    <a:pt x="528" y="576"/>
                  </a:lnTo>
                  <a:lnTo>
                    <a:pt x="528" y="552"/>
                  </a:lnTo>
                  <a:lnTo>
                    <a:pt x="522" y="540"/>
                  </a:lnTo>
                  <a:lnTo>
                    <a:pt x="510" y="528"/>
                  </a:lnTo>
                  <a:lnTo>
                    <a:pt x="486" y="510"/>
                  </a:lnTo>
                  <a:lnTo>
                    <a:pt x="480" y="498"/>
                  </a:lnTo>
                  <a:lnTo>
                    <a:pt x="480" y="474"/>
                  </a:lnTo>
                  <a:lnTo>
                    <a:pt x="492" y="468"/>
                  </a:lnTo>
                  <a:lnTo>
                    <a:pt x="486" y="450"/>
                  </a:lnTo>
                  <a:lnTo>
                    <a:pt x="474" y="456"/>
                  </a:lnTo>
                  <a:lnTo>
                    <a:pt x="468" y="456"/>
                  </a:lnTo>
                  <a:lnTo>
                    <a:pt x="462" y="456"/>
                  </a:lnTo>
                  <a:lnTo>
                    <a:pt x="456" y="468"/>
                  </a:lnTo>
                  <a:lnTo>
                    <a:pt x="456" y="474"/>
                  </a:lnTo>
                  <a:lnTo>
                    <a:pt x="450" y="480"/>
                  </a:lnTo>
                  <a:lnTo>
                    <a:pt x="444" y="450"/>
                  </a:lnTo>
                  <a:lnTo>
                    <a:pt x="438" y="450"/>
                  </a:lnTo>
                  <a:lnTo>
                    <a:pt x="432" y="450"/>
                  </a:lnTo>
                  <a:lnTo>
                    <a:pt x="420" y="450"/>
                  </a:lnTo>
                  <a:lnTo>
                    <a:pt x="420" y="456"/>
                  </a:lnTo>
                  <a:lnTo>
                    <a:pt x="414" y="456"/>
                  </a:lnTo>
                  <a:lnTo>
                    <a:pt x="408" y="468"/>
                  </a:lnTo>
                  <a:lnTo>
                    <a:pt x="402" y="468"/>
                  </a:lnTo>
                  <a:lnTo>
                    <a:pt x="396" y="474"/>
                  </a:lnTo>
                  <a:lnTo>
                    <a:pt x="390" y="492"/>
                  </a:lnTo>
                  <a:lnTo>
                    <a:pt x="384" y="504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54" y="510"/>
                  </a:lnTo>
                  <a:lnTo>
                    <a:pt x="360" y="480"/>
                  </a:lnTo>
                  <a:lnTo>
                    <a:pt x="360" y="474"/>
                  </a:lnTo>
                  <a:lnTo>
                    <a:pt x="378" y="456"/>
                  </a:lnTo>
                  <a:lnTo>
                    <a:pt x="384" y="450"/>
                  </a:lnTo>
                  <a:lnTo>
                    <a:pt x="396" y="444"/>
                  </a:lnTo>
                  <a:lnTo>
                    <a:pt x="402" y="438"/>
                  </a:lnTo>
                  <a:lnTo>
                    <a:pt x="408" y="438"/>
                  </a:lnTo>
                  <a:lnTo>
                    <a:pt x="408" y="426"/>
                  </a:lnTo>
                  <a:lnTo>
                    <a:pt x="414" y="420"/>
                  </a:lnTo>
                  <a:lnTo>
                    <a:pt x="426" y="420"/>
                  </a:lnTo>
                  <a:lnTo>
                    <a:pt x="426" y="408"/>
                  </a:lnTo>
                  <a:lnTo>
                    <a:pt x="420" y="390"/>
                  </a:lnTo>
                  <a:lnTo>
                    <a:pt x="408" y="384"/>
                  </a:lnTo>
                  <a:lnTo>
                    <a:pt x="378" y="378"/>
                  </a:lnTo>
                  <a:lnTo>
                    <a:pt x="354" y="366"/>
                  </a:lnTo>
                  <a:lnTo>
                    <a:pt x="342" y="360"/>
                  </a:lnTo>
                  <a:lnTo>
                    <a:pt x="342" y="348"/>
                  </a:lnTo>
                  <a:lnTo>
                    <a:pt x="336" y="330"/>
                  </a:lnTo>
                  <a:lnTo>
                    <a:pt x="348" y="306"/>
                  </a:lnTo>
                  <a:lnTo>
                    <a:pt x="360" y="294"/>
                  </a:lnTo>
                  <a:lnTo>
                    <a:pt x="360" y="282"/>
                  </a:lnTo>
                  <a:lnTo>
                    <a:pt x="342" y="270"/>
                  </a:lnTo>
                  <a:lnTo>
                    <a:pt x="342" y="264"/>
                  </a:lnTo>
                  <a:lnTo>
                    <a:pt x="330" y="264"/>
                  </a:lnTo>
                  <a:lnTo>
                    <a:pt x="312" y="270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88" y="270"/>
                  </a:lnTo>
                  <a:lnTo>
                    <a:pt x="282" y="270"/>
                  </a:lnTo>
                  <a:lnTo>
                    <a:pt x="276" y="264"/>
                  </a:lnTo>
                  <a:lnTo>
                    <a:pt x="270" y="264"/>
                  </a:lnTo>
                  <a:lnTo>
                    <a:pt x="252" y="270"/>
                  </a:lnTo>
                  <a:lnTo>
                    <a:pt x="246" y="270"/>
                  </a:lnTo>
                  <a:lnTo>
                    <a:pt x="240" y="270"/>
                  </a:lnTo>
                  <a:lnTo>
                    <a:pt x="228" y="270"/>
                  </a:lnTo>
                  <a:lnTo>
                    <a:pt x="216" y="276"/>
                  </a:lnTo>
                  <a:lnTo>
                    <a:pt x="210" y="270"/>
                  </a:lnTo>
                  <a:lnTo>
                    <a:pt x="204" y="270"/>
                  </a:lnTo>
                  <a:lnTo>
                    <a:pt x="198" y="276"/>
                  </a:lnTo>
                  <a:lnTo>
                    <a:pt x="192" y="276"/>
                  </a:lnTo>
                  <a:lnTo>
                    <a:pt x="186" y="282"/>
                  </a:lnTo>
                  <a:lnTo>
                    <a:pt x="180" y="288"/>
                  </a:lnTo>
                  <a:lnTo>
                    <a:pt x="174" y="300"/>
                  </a:lnTo>
                  <a:lnTo>
                    <a:pt x="168" y="306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8" y="330"/>
                  </a:lnTo>
                  <a:lnTo>
                    <a:pt x="162" y="336"/>
                  </a:lnTo>
                  <a:lnTo>
                    <a:pt x="156" y="342"/>
                  </a:lnTo>
                  <a:lnTo>
                    <a:pt x="156" y="348"/>
                  </a:lnTo>
                  <a:lnTo>
                    <a:pt x="156" y="354"/>
                  </a:lnTo>
                  <a:lnTo>
                    <a:pt x="150" y="366"/>
                  </a:lnTo>
                  <a:lnTo>
                    <a:pt x="150" y="372"/>
                  </a:lnTo>
                  <a:lnTo>
                    <a:pt x="144" y="366"/>
                  </a:lnTo>
                  <a:lnTo>
                    <a:pt x="132" y="366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20" y="348"/>
                  </a:lnTo>
                  <a:lnTo>
                    <a:pt x="102" y="330"/>
                  </a:lnTo>
                  <a:lnTo>
                    <a:pt x="96" y="318"/>
                  </a:lnTo>
                  <a:lnTo>
                    <a:pt x="96" y="282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0" y="258"/>
                  </a:lnTo>
                  <a:lnTo>
                    <a:pt x="84" y="252"/>
                  </a:lnTo>
                  <a:lnTo>
                    <a:pt x="66" y="258"/>
                  </a:lnTo>
                  <a:lnTo>
                    <a:pt x="60" y="246"/>
                  </a:lnTo>
                  <a:lnTo>
                    <a:pt x="30" y="252"/>
                  </a:lnTo>
                  <a:lnTo>
                    <a:pt x="18" y="246"/>
                  </a:lnTo>
                  <a:lnTo>
                    <a:pt x="0" y="240"/>
                  </a:lnTo>
                  <a:lnTo>
                    <a:pt x="0" y="234"/>
                  </a:lnTo>
                  <a:lnTo>
                    <a:pt x="0" y="210"/>
                  </a:lnTo>
                  <a:lnTo>
                    <a:pt x="6" y="204"/>
                  </a:lnTo>
                  <a:lnTo>
                    <a:pt x="18" y="192"/>
                  </a:lnTo>
                  <a:lnTo>
                    <a:pt x="18" y="144"/>
                  </a:lnTo>
                  <a:lnTo>
                    <a:pt x="24" y="126"/>
                  </a:lnTo>
                  <a:lnTo>
                    <a:pt x="36" y="126"/>
                  </a:lnTo>
                  <a:lnTo>
                    <a:pt x="54" y="120"/>
                  </a:lnTo>
                  <a:lnTo>
                    <a:pt x="54" y="126"/>
                  </a:lnTo>
                  <a:lnTo>
                    <a:pt x="132" y="114"/>
                  </a:lnTo>
                  <a:lnTo>
                    <a:pt x="144" y="120"/>
                  </a:lnTo>
                  <a:lnTo>
                    <a:pt x="150" y="132"/>
                  </a:lnTo>
                  <a:lnTo>
                    <a:pt x="180" y="126"/>
                  </a:lnTo>
                  <a:lnTo>
                    <a:pt x="210" y="120"/>
                  </a:lnTo>
                  <a:lnTo>
                    <a:pt x="240" y="120"/>
                  </a:lnTo>
                  <a:lnTo>
                    <a:pt x="258" y="120"/>
                  </a:lnTo>
                  <a:lnTo>
                    <a:pt x="270" y="126"/>
                  </a:lnTo>
                  <a:lnTo>
                    <a:pt x="276" y="132"/>
                  </a:lnTo>
                  <a:lnTo>
                    <a:pt x="282" y="138"/>
                  </a:lnTo>
                  <a:lnTo>
                    <a:pt x="282" y="156"/>
                  </a:lnTo>
                  <a:lnTo>
                    <a:pt x="288" y="186"/>
                  </a:lnTo>
                  <a:lnTo>
                    <a:pt x="312" y="192"/>
                  </a:lnTo>
                  <a:lnTo>
                    <a:pt x="318" y="198"/>
                  </a:lnTo>
                  <a:lnTo>
                    <a:pt x="324" y="204"/>
                  </a:lnTo>
                  <a:lnTo>
                    <a:pt x="330" y="210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66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86" y="210"/>
                  </a:lnTo>
                  <a:lnTo>
                    <a:pt x="498" y="198"/>
                  </a:lnTo>
                  <a:lnTo>
                    <a:pt x="504" y="174"/>
                  </a:lnTo>
                  <a:lnTo>
                    <a:pt x="516" y="162"/>
                  </a:lnTo>
                  <a:lnTo>
                    <a:pt x="516" y="138"/>
                  </a:lnTo>
                  <a:lnTo>
                    <a:pt x="522" y="132"/>
                  </a:lnTo>
                  <a:lnTo>
                    <a:pt x="564" y="132"/>
                  </a:lnTo>
                  <a:lnTo>
                    <a:pt x="564" y="114"/>
                  </a:lnTo>
                  <a:lnTo>
                    <a:pt x="582" y="114"/>
                  </a:lnTo>
                  <a:lnTo>
                    <a:pt x="594" y="114"/>
                  </a:lnTo>
                  <a:lnTo>
                    <a:pt x="606" y="114"/>
                  </a:lnTo>
                  <a:lnTo>
                    <a:pt x="612" y="114"/>
                  </a:lnTo>
                  <a:lnTo>
                    <a:pt x="630" y="114"/>
                  </a:lnTo>
                  <a:lnTo>
                    <a:pt x="636" y="114"/>
                  </a:lnTo>
                  <a:lnTo>
                    <a:pt x="648" y="114"/>
                  </a:lnTo>
                  <a:lnTo>
                    <a:pt x="654" y="114"/>
                  </a:lnTo>
                  <a:lnTo>
                    <a:pt x="660" y="120"/>
                  </a:lnTo>
                  <a:lnTo>
                    <a:pt x="672" y="120"/>
                  </a:lnTo>
                  <a:lnTo>
                    <a:pt x="684" y="120"/>
                  </a:lnTo>
                  <a:lnTo>
                    <a:pt x="690" y="120"/>
                  </a:lnTo>
                  <a:lnTo>
                    <a:pt x="702" y="120"/>
                  </a:lnTo>
                  <a:lnTo>
                    <a:pt x="708" y="120"/>
                  </a:lnTo>
                  <a:lnTo>
                    <a:pt x="726" y="126"/>
                  </a:lnTo>
                  <a:lnTo>
                    <a:pt x="732" y="126"/>
                  </a:lnTo>
                  <a:lnTo>
                    <a:pt x="738" y="126"/>
                  </a:lnTo>
                  <a:lnTo>
                    <a:pt x="750" y="126"/>
                  </a:lnTo>
                  <a:lnTo>
                    <a:pt x="756" y="126"/>
                  </a:lnTo>
                  <a:lnTo>
                    <a:pt x="768" y="126"/>
                  </a:lnTo>
                  <a:lnTo>
                    <a:pt x="780" y="126"/>
                  </a:lnTo>
                  <a:lnTo>
                    <a:pt x="786" y="120"/>
                  </a:lnTo>
                  <a:lnTo>
                    <a:pt x="792" y="120"/>
                  </a:lnTo>
                  <a:lnTo>
                    <a:pt x="810" y="120"/>
                  </a:lnTo>
                  <a:lnTo>
                    <a:pt x="822" y="120"/>
                  </a:lnTo>
                  <a:lnTo>
                    <a:pt x="846" y="126"/>
                  </a:lnTo>
                  <a:lnTo>
                    <a:pt x="858" y="126"/>
                  </a:lnTo>
                  <a:lnTo>
                    <a:pt x="870" y="132"/>
                  </a:lnTo>
                  <a:lnTo>
                    <a:pt x="882" y="132"/>
                  </a:lnTo>
                  <a:lnTo>
                    <a:pt x="894" y="132"/>
                  </a:lnTo>
                  <a:lnTo>
                    <a:pt x="900" y="132"/>
                  </a:lnTo>
                  <a:lnTo>
                    <a:pt x="912" y="132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36" y="132"/>
                  </a:lnTo>
                  <a:lnTo>
                    <a:pt x="960" y="132"/>
                  </a:lnTo>
                  <a:lnTo>
                    <a:pt x="966" y="144"/>
                  </a:lnTo>
                  <a:lnTo>
                    <a:pt x="972" y="144"/>
                  </a:lnTo>
                  <a:lnTo>
                    <a:pt x="1002" y="144"/>
                  </a:lnTo>
                  <a:lnTo>
                    <a:pt x="1020" y="144"/>
                  </a:lnTo>
                  <a:lnTo>
                    <a:pt x="1068" y="138"/>
                  </a:lnTo>
                  <a:lnTo>
                    <a:pt x="1110" y="132"/>
                  </a:lnTo>
                  <a:lnTo>
                    <a:pt x="1110" y="126"/>
                  </a:lnTo>
                  <a:lnTo>
                    <a:pt x="1116" y="120"/>
                  </a:lnTo>
                  <a:lnTo>
                    <a:pt x="1122" y="108"/>
                  </a:lnTo>
                  <a:lnTo>
                    <a:pt x="1134" y="96"/>
                  </a:lnTo>
                  <a:lnTo>
                    <a:pt x="1146" y="60"/>
                  </a:lnTo>
                  <a:lnTo>
                    <a:pt x="1158" y="54"/>
                  </a:lnTo>
                  <a:lnTo>
                    <a:pt x="1170" y="48"/>
                  </a:lnTo>
                  <a:lnTo>
                    <a:pt x="1188" y="42"/>
                  </a:lnTo>
                  <a:lnTo>
                    <a:pt x="1200" y="36"/>
                  </a:lnTo>
                  <a:lnTo>
                    <a:pt x="1212" y="36"/>
                  </a:lnTo>
                  <a:lnTo>
                    <a:pt x="1236" y="30"/>
                  </a:lnTo>
                  <a:lnTo>
                    <a:pt x="1236" y="24"/>
                  </a:lnTo>
                  <a:lnTo>
                    <a:pt x="1278" y="18"/>
                  </a:lnTo>
                  <a:lnTo>
                    <a:pt x="1290" y="18"/>
                  </a:lnTo>
                  <a:lnTo>
                    <a:pt x="1302" y="12"/>
                  </a:lnTo>
                  <a:lnTo>
                    <a:pt x="1314" y="0"/>
                  </a:lnTo>
                  <a:lnTo>
                    <a:pt x="1332" y="0"/>
                  </a:lnTo>
                  <a:lnTo>
                    <a:pt x="1338" y="24"/>
                  </a:lnTo>
                  <a:lnTo>
                    <a:pt x="1344" y="30"/>
                  </a:lnTo>
                  <a:lnTo>
                    <a:pt x="1350" y="42"/>
                  </a:lnTo>
                  <a:lnTo>
                    <a:pt x="1356" y="48"/>
                  </a:lnTo>
                  <a:lnTo>
                    <a:pt x="1356" y="78"/>
                  </a:lnTo>
                  <a:lnTo>
                    <a:pt x="1350" y="96"/>
                  </a:lnTo>
                  <a:lnTo>
                    <a:pt x="1338" y="108"/>
                  </a:lnTo>
                  <a:lnTo>
                    <a:pt x="1338" y="114"/>
                  </a:lnTo>
                  <a:lnTo>
                    <a:pt x="1338" y="120"/>
                  </a:lnTo>
                  <a:lnTo>
                    <a:pt x="1338" y="126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398" y="114"/>
                  </a:lnTo>
                  <a:lnTo>
                    <a:pt x="1416" y="120"/>
                  </a:lnTo>
                  <a:lnTo>
                    <a:pt x="1434" y="126"/>
                  </a:lnTo>
                  <a:lnTo>
                    <a:pt x="1458" y="132"/>
                  </a:lnTo>
                  <a:lnTo>
                    <a:pt x="1458" y="138"/>
                  </a:lnTo>
                  <a:lnTo>
                    <a:pt x="1512" y="138"/>
                  </a:lnTo>
                  <a:lnTo>
                    <a:pt x="1512" y="132"/>
                  </a:lnTo>
                  <a:lnTo>
                    <a:pt x="1524" y="138"/>
                  </a:lnTo>
                  <a:lnTo>
                    <a:pt x="1542" y="138"/>
                  </a:lnTo>
                  <a:lnTo>
                    <a:pt x="1542" y="150"/>
                  </a:lnTo>
                  <a:lnTo>
                    <a:pt x="1542" y="162"/>
                  </a:lnTo>
                  <a:lnTo>
                    <a:pt x="1548" y="174"/>
                  </a:lnTo>
                  <a:lnTo>
                    <a:pt x="1548" y="180"/>
                  </a:lnTo>
                  <a:lnTo>
                    <a:pt x="1554" y="222"/>
                  </a:lnTo>
                  <a:lnTo>
                    <a:pt x="1554" y="258"/>
                  </a:lnTo>
                  <a:lnTo>
                    <a:pt x="1554" y="276"/>
                  </a:lnTo>
                  <a:lnTo>
                    <a:pt x="1554" y="282"/>
                  </a:lnTo>
                  <a:lnTo>
                    <a:pt x="1554" y="294"/>
                  </a:lnTo>
                  <a:lnTo>
                    <a:pt x="1554" y="306"/>
                  </a:lnTo>
                  <a:lnTo>
                    <a:pt x="1554" y="324"/>
                  </a:lnTo>
                  <a:lnTo>
                    <a:pt x="1554" y="330"/>
                  </a:lnTo>
                  <a:lnTo>
                    <a:pt x="1548" y="330"/>
                  </a:lnTo>
                  <a:lnTo>
                    <a:pt x="1548" y="336"/>
                  </a:lnTo>
                  <a:lnTo>
                    <a:pt x="1548" y="342"/>
                  </a:lnTo>
                  <a:lnTo>
                    <a:pt x="1542" y="336"/>
                  </a:lnTo>
                  <a:lnTo>
                    <a:pt x="1542" y="330"/>
                  </a:lnTo>
                  <a:lnTo>
                    <a:pt x="1536" y="330"/>
                  </a:lnTo>
                  <a:lnTo>
                    <a:pt x="1530" y="330"/>
                  </a:lnTo>
                  <a:lnTo>
                    <a:pt x="1530" y="336"/>
                  </a:lnTo>
                  <a:lnTo>
                    <a:pt x="1536" y="342"/>
                  </a:lnTo>
                  <a:lnTo>
                    <a:pt x="1530" y="342"/>
                  </a:lnTo>
                  <a:lnTo>
                    <a:pt x="1518" y="348"/>
                  </a:lnTo>
                  <a:lnTo>
                    <a:pt x="1512" y="354"/>
                  </a:lnTo>
                  <a:lnTo>
                    <a:pt x="1506" y="354"/>
                  </a:lnTo>
                  <a:lnTo>
                    <a:pt x="1500" y="354"/>
                  </a:lnTo>
                  <a:lnTo>
                    <a:pt x="1494" y="354"/>
                  </a:lnTo>
                  <a:lnTo>
                    <a:pt x="1494" y="360"/>
                  </a:lnTo>
                  <a:lnTo>
                    <a:pt x="1488" y="360"/>
                  </a:lnTo>
                  <a:lnTo>
                    <a:pt x="1488" y="366"/>
                  </a:lnTo>
                  <a:lnTo>
                    <a:pt x="1488" y="372"/>
                  </a:lnTo>
                  <a:lnTo>
                    <a:pt x="1482" y="372"/>
                  </a:lnTo>
                  <a:lnTo>
                    <a:pt x="1476" y="372"/>
                  </a:lnTo>
                  <a:lnTo>
                    <a:pt x="1470" y="372"/>
                  </a:lnTo>
                  <a:lnTo>
                    <a:pt x="1470" y="378"/>
                  </a:lnTo>
                  <a:lnTo>
                    <a:pt x="1470" y="384"/>
                  </a:lnTo>
                  <a:lnTo>
                    <a:pt x="1470" y="390"/>
                  </a:lnTo>
                  <a:lnTo>
                    <a:pt x="1464" y="402"/>
                  </a:lnTo>
                  <a:lnTo>
                    <a:pt x="1446" y="402"/>
                  </a:lnTo>
                  <a:lnTo>
                    <a:pt x="1440" y="372"/>
                  </a:lnTo>
                  <a:lnTo>
                    <a:pt x="1410" y="372"/>
                  </a:lnTo>
                  <a:lnTo>
                    <a:pt x="1380" y="372"/>
                  </a:lnTo>
                  <a:lnTo>
                    <a:pt x="1374" y="372"/>
                  </a:lnTo>
                  <a:lnTo>
                    <a:pt x="1368" y="378"/>
                  </a:lnTo>
                  <a:lnTo>
                    <a:pt x="1362" y="378"/>
                  </a:lnTo>
                  <a:lnTo>
                    <a:pt x="1356" y="378"/>
                  </a:lnTo>
                  <a:lnTo>
                    <a:pt x="1350" y="384"/>
                  </a:lnTo>
                  <a:lnTo>
                    <a:pt x="1350" y="390"/>
                  </a:lnTo>
                  <a:lnTo>
                    <a:pt x="1344" y="390"/>
                  </a:lnTo>
                  <a:lnTo>
                    <a:pt x="1338" y="390"/>
                  </a:lnTo>
                  <a:lnTo>
                    <a:pt x="1332" y="390"/>
                  </a:lnTo>
                  <a:lnTo>
                    <a:pt x="1332" y="396"/>
                  </a:lnTo>
                  <a:lnTo>
                    <a:pt x="1332" y="390"/>
                  </a:lnTo>
                  <a:lnTo>
                    <a:pt x="1326" y="402"/>
                  </a:lnTo>
                  <a:lnTo>
                    <a:pt x="1320" y="402"/>
                  </a:lnTo>
                  <a:lnTo>
                    <a:pt x="1302" y="474"/>
                  </a:lnTo>
                  <a:lnTo>
                    <a:pt x="1308" y="480"/>
                  </a:lnTo>
                  <a:lnTo>
                    <a:pt x="1314" y="480"/>
                  </a:lnTo>
                  <a:lnTo>
                    <a:pt x="1308" y="498"/>
                  </a:lnTo>
                  <a:lnTo>
                    <a:pt x="1308" y="504"/>
                  </a:lnTo>
                  <a:lnTo>
                    <a:pt x="1314" y="510"/>
                  </a:lnTo>
                  <a:lnTo>
                    <a:pt x="1308" y="510"/>
                  </a:lnTo>
                  <a:lnTo>
                    <a:pt x="1308" y="516"/>
                  </a:lnTo>
                  <a:lnTo>
                    <a:pt x="1302" y="516"/>
                  </a:lnTo>
                  <a:lnTo>
                    <a:pt x="1296" y="510"/>
                  </a:lnTo>
                  <a:lnTo>
                    <a:pt x="1296" y="516"/>
                  </a:lnTo>
                  <a:lnTo>
                    <a:pt x="1290" y="540"/>
                  </a:lnTo>
                  <a:lnTo>
                    <a:pt x="1290" y="552"/>
                  </a:lnTo>
                  <a:lnTo>
                    <a:pt x="1284" y="558"/>
                  </a:lnTo>
                  <a:lnTo>
                    <a:pt x="1290" y="576"/>
                  </a:lnTo>
                  <a:lnTo>
                    <a:pt x="1290" y="600"/>
                  </a:lnTo>
                  <a:lnTo>
                    <a:pt x="1284" y="618"/>
                  </a:lnTo>
                  <a:lnTo>
                    <a:pt x="1290" y="624"/>
                  </a:lnTo>
                  <a:lnTo>
                    <a:pt x="1284" y="630"/>
                  </a:lnTo>
                  <a:lnTo>
                    <a:pt x="1278" y="630"/>
                  </a:lnTo>
                  <a:lnTo>
                    <a:pt x="1272" y="630"/>
                  </a:lnTo>
                  <a:lnTo>
                    <a:pt x="1266" y="636"/>
                  </a:lnTo>
                  <a:lnTo>
                    <a:pt x="1260" y="642"/>
                  </a:lnTo>
                  <a:lnTo>
                    <a:pt x="1260" y="636"/>
                  </a:lnTo>
                  <a:lnTo>
                    <a:pt x="1254" y="636"/>
                  </a:lnTo>
                  <a:lnTo>
                    <a:pt x="1248" y="636"/>
                  </a:lnTo>
                  <a:lnTo>
                    <a:pt x="1248" y="642"/>
                  </a:lnTo>
                  <a:lnTo>
                    <a:pt x="1242" y="642"/>
                  </a:lnTo>
                  <a:lnTo>
                    <a:pt x="1242" y="648"/>
                  </a:lnTo>
                  <a:lnTo>
                    <a:pt x="1236" y="654"/>
                  </a:lnTo>
                  <a:lnTo>
                    <a:pt x="1230" y="654"/>
                  </a:lnTo>
                  <a:lnTo>
                    <a:pt x="1224" y="654"/>
                  </a:lnTo>
                  <a:lnTo>
                    <a:pt x="1218" y="660"/>
                  </a:lnTo>
                  <a:lnTo>
                    <a:pt x="1212" y="660"/>
                  </a:lnTo>
                  <a:lnTo>
                    <a:pt x="1206" y="660"/>
                  </a:lnTo>
                  <a:lnTo>
                    <a:pt x="1200" y="660"/>
                  </a:lnTo>
                  <a:lnTo>
                    <a:pt x="1200" y="666"/>
                  </a:lnTo>
                  <a:lnTo>
                    <a:pt x="1194" y="666"/>
                  </a:lnTo>
                  <a:lnTo>
                    <a:pt x="1188" y="666"/>
                  </a:lnTo>
                  <a:lnTo>
                    <a:pt x="1182" y="672"/>
                  </a:lnTo>
                  <a:lnTo>
                    <a:pt x="1176" y="672"/>
                  </a:lnTo>
                  <a:lnTo>
                    <a:pt x="1170" y="672"/>
                  </a:lnTo>
                  <a:lnTo>
                    <a:pt x="1164" y="678"/>
                  </a:lnTo>
                  <a:lnTo>
                    <a:pt x="1170" y="678"/>
                  </a:lnTo>
                  <a:lnTo>
                    <a:pt x="1164" y="684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52" y="684"/>
                  </a:lnTo>
                  <a:lnTo>
                    <a:pt x="1152" y="690"/>
                  </a:lnTo>
                  <a:lnTo>
                    <a:pt x="1146" y="690"/>
                  </a:lnTo>
                  <a:lnTo>
                    <a:pt x="1140" y="690"/>
                  </a:lnTo>
                  <a:lnTo>
                    <a:pt x="1134" y="696"/>
                  </a:lnTo>
                  <a:lnTo>
                    <a:pt x="1128" y="696"/>
                  </a:lnTo>
                  <a:lnTo>
                    <a:pt x="1122" y="702"/>
                  </a:lnTo>
                  <a:lnTo>
                    <a:pt x="1116" y="702"/>
                  </a:lnTo>
                  <a:lnTo>
                    <a:pt x="1110" y="708"/>
                  </a:lnTo>
                  <a:lnTo>
                    <a:pt x="1104" y="708"/>
                  </a:lnTo>
                  <a:lnTo>
                    <a:pt x="1098" y="708"/>
                  </a:lnTo>
                  <a:lnTo>
                    <a:pt x="1092" y="708"/>
                  </a:lnTo>
                  <a:lnTo>
                    <a:pt x="1092" y="714"/>
                  </a:lnTo>
                  <a:lnTo>
                    <a:pt x="1086" y="720"/>
                  </a:lnTo>
                  <a:lnTo>
                    <a:pt x="1080" y="720"/>
                  </a:lnTo>
                  <a:lnTo>
                    <a:pt x="1074" y="720"/>
                  </a:lnTo>
                  <a:lnTo>
                    <a:pt x="1068" y="720"/>
                  </a:lnTo>
                  <a:lnTo>
                    <a:pt x="1062" y="720"/>
                  </a:lnTo>
                  <a:lnTo>
                    <a:pt x="1050" y="726"/>
                  </a:lnTo>
                  <a:lnTo>
                    <a:pt x="1044" y="726"/>
                  </a:lnTo>
                  <a:lnTo>
                    <a:pt x="1038" y="732"/>
                  </a:lnTo>
                  <a:lnTo>
                    <a:pt x="1026" y="732"/>
                  </a:lnTo>
                  <a:lnTo>
                    <a:pt x="1020" y="732"/>
                  </a:lnTo>
                  <a:lnTo>
                    <a:pt x="1014" y="738"/>
                  </a:lnTo>
                  <a:lnTo>
                    <a:pt x="1008" y="738"/>
                  </a:lnTo>
                  <a:lnTo>
                    <a:pt x="1002" y="738"/>
                  </a:lnTo>
                  <a:lnTo>
                    <a:pt x="996" y="738"/>
                  </a:lnTo>
                  <a:lnTo>
                    <a:pt x="990" y="738"/>
                  </a:lnTo>
                  <a:lnTo>
                    <a:pt x="990" y="732"/>
                  </a:lnTo>
                  <a:lnTo>
                    <a:pt x="984" y="732"/>
                  </a:lnTo>
                  <a:lnTo>
                    <a:pt x="978" y="738"/>
                  </a:lnTo>
                  <a:lnTo>
                    <a:pt x="978" y="744"/>
                  </a:lnTo>
                  <a:lnTo>
                    <a:pt x="984" y="744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8" y="756"/>
                  </a:lnTo>
                  <a:lnTo>
                    <a:pt x="972" y="756"/>
                  </a:lnTo>
                  <a:lnTo>
                    <a:pt x="972" y="762"/>
                  </a:lnTo>
                  <a:lnTo>
                    <a:pt x="966" y="768"/>
                  </a:lnTo>
                  <a:lnTo>
                    <a:pt x="966" y="762"/>
                  </a:lnTo>
                  <a:lnTo>
                    <a:pt x="960" y="762"/>
                  </a:lnTo>
                  <a:lnTo>
                    <a:pt x="954" y="768"/>
                  </a:lnTo>
                  <a:lnTo>
                    <a:pt x="954" y="774"/>
                  </a:lnTo>
                  <a:lnTo>
                    <a:pt x="948" y="774"/>
                  </a:lnTo>
                  <a:lnTo>
                    <a:pt x="948" y="780"/>
                  </a:lnTo>
                  <a:lnTo>
                    <a:pt x="948" y="786"/>
                  </a:lnTo>
                  <a:lnTo>
                    <a:pt x="942" y="786"/>
                  </a:lnTo>
                  <a:lnTo>
                    <a:pt x="942" y="792"/>
                  </a:lnTo>
                  <a:lnTo>
                    <a:pt x="936" y="792"/>
                  </a:lnTo>
                  <a:lnTo>
                    <a:pt x="942" y="798"/>
                  </a:lnTo>
                  <a:lnTo>
                    <a:pt x="942" y="804"/>
                  </a:lnTo>
                  <a:lnTo>
                    <a:pt x="942" y="810"/>
                  </a:lnTo>
                  <a:lnTo>
                    <a:pt x="948" y="810"/>
                  </a:lnTo>
                  <a:lnTo>
                    <a:pt x="942" y="816"/>
                  </a:lnTo>
                  <a:lnTo>
                    <a:pt x="948" y="816"/>
                  </a:lnTo>
                  <a:lnTo>
                    <a:pt x="948" y="822"/>
                  </a:lnTo>
                  <a:lnTo>
                    <a:pt x="954" y="822"/>
                  </a:lnTo>
                  <a:lnTo>
                    <a:pt x="960" y="828"/>
                  </a:lnTo>
                  <a:lnTo>
                    <a:pt x="960" y="834"/>
                  </a:lnTo>
                  <a:lnTo>
                    <a:pt x="966" y="834"/>
                  </a:lnTo>
                  <a:lnTo>
                    <a:pt x="960" y="840"/>
                  </a:lnTo>
                  <a:lnTo>
                    <a:pt x="966" y="846"/>
                  </a:lnTo>
                  <a:lnTo>
                    <a:pt x="966" y="840"/>
                  </a:lnTo>
                  <a:lnTo>
                    <a:pt x="972" y="840"/>
                  </a:lnTo>
                  <a:lnTo>
                    <a:pt x="990" y="840"/>
                  </a:lnTo>
                  <a:lnTo>
                    <a:pt x="1002" y="834"/>
                  </a:lnTo>
                  <a:lnTo>
                    <a:pt x="1020" y="828"/>
                  </a:lnTo>
                  <a:lnTo>
                    <a:pt x="1032" y="828"/>
                  </a:lnTo>
                  <a:lnTo>
                    <a:pt x="1050" y="828"/>
                  </a:lnTo>
                  <a:lnTo>
                    <a:pt x="1062" y="846"/>
                  </a:lnTo>
                  <a:lnTo>
                    <a:pt x="1074" y="876"/>
                  </a:lnTo>
                  <a:lnTo>
                    <a:pt x="1068" y="900"/>
                  </a:lnTo>
                  <a:lnTo>
                    <a:pt x="1074" y="912"/>
                  </a:lnTo>
                  <a:lnTo>
                    <a:pt x="1074" y="936"/>
                  </a:lnTo>
                  <a:lnTo>
                    <a:pt x="1068" y="942"/>
                  </a:lnTo>
                  <a:lnTo>
                    <a:pt x="1062" y="954"/>
                  </a:lnTo>
                  <a:lnTo>
                    <a:pt x="1056" y="978"/>
                  </a:lnTo>
                  <a:lnTo>
                    <a:pt x="1056" y="996"/>
                  </a:lnTo>
                  <a:lnTo>
                    <a:pt x="1068" y="990"/>
                  </a:lnTo>
                  <a:lnTo>
                    <a:pt x="1074" y="990"/>
                  </a:lnTo>
                  <a:lnTo>
                    <a:pt x="1074" y="1008"/>
                  </a:lnTo>
                  <a:lnTo>
                    <a:pt x="1080" y="1008"/>
                  </a:lnTo>
                  <a:lnTo>
                    <a:pt x="1092" y="1014"/>
                  </a:lnTo>
                  <a:lnTo>
                    <a:pt x="1110" y="1044"/>
                  </a:lnTo>
                  <a:lnTo>
                    <a:pt x="1110" y="1062"/>
                  </a:lnTo>
                  <a:lnTo>
                    <a:pt x="1128" y="1068"/>
                  </a:lnTo>
                  <a:lnTo>
                    <a:pt x="1128" y="1092"/>
                  </a:lnTo>
                  <a:lnTo>
                    <a:pt x="1134" y="1098"/>
                  </a:lnTo>
                  <a:lnTo>
                    <a:pt x="1158" y="1122"/>
                  </a:lnTo>
                  <a:lnTo>
                    <a:pt x="1188" y="1122"/>
                  </a:lnTo>
                  <a:lnTo>
                    <a:pt x="1188" y="1128"/>
                  </a:lnTo>
                  <a:lnTo>
                    <a:pt x="1200" y="1134"/>
                  </a:lnTo>
                  <a:lnTo>
                    <a:pt x="1206" y="1134"/>
                  </a:lnTo>
                  <a:lnTo>
                    <a:pt x="1206" y="1128"/>
                  </a:lnTo>
                  <a:lnTo>
                    <a:pt x="1212" y="1128"/>
                  </a:lnTo>
                  <a:lnTo>
                    <a:pt x="1218" y="1128"/>
                  </a:lnTo>
                  <a:lnTo>
                    <a:pt x="1224" y="1122"/>
                  </a:lnTo>
                  <a:lnTo>
                    <a:pt x="1224" y="1128"/>
                  </a:lnTo>
                  <a:lnTo>
                    <a:pt x="1230" y="1128"/>
                  </a:lnTo>
                  <a:lnTo>
                    <a:pt x="1236" y="1128"/>
                  </a:lnTo>
                  <a:lnTo>
                    <a:pt x="1236" y="1122"/>
                  </a:lnTo>
                  <a:lnTo>
                    <a:pt x="1242" y="1122"/>
                  </a:lnTo>
                  <a:lnTo>
                    <a:pt x="1248" y="1128"/>
                  </a:lnTo>
                  <a:lnTo>
                    <a:pt x="1254" y="1128"/>
                  </a:lnTo>
                  <a:lnTo>
                    <a:pt x="1260" y="1134"/>
                  </a:lnTo>
                  <a:lnTo>
                    <a:pt x="1260" y="1140"/>
                  </a:lnTo>
                  <a:lnTo>
                    <a:pt x="1266" y="1140"/>
                  </a:lnTo>
                  <a:lnTo>
                    <a:pt x="1272" y="1140"/>
                  </a:lnTo>
                  <a:lnTo>
                    <a:pt x="1278" y="1140"/>
                  </a:lnTo>
                  <a:lnTo>
                    <a:pt x="1284" y="1140"/>
                  </a:lnTo>
                  <a:lnTo>
                    <a:pt x="1290" y="1146"/>
                  </a:lnTo>
                  <a:lnTo>
                    <a:pt x="1290" y="1152"/>
                  </a:lnTo>
                  <a:lnTo>
                    <a:pt x="1296" y="1146"/>
                  </a:lnTo>
                  <a:lnTo>
                    <a:pt x="1296" y="1152"/>
                  </a:lnTo>
                  <a:lnTo>
                    <a:pt x="1308" y="1152"/>
                  </a:lnTo>
                  <a:lnTo>
                    <a:pt x="1314" y="1152"/>
                  </a:lnTo>
                  <a:lnTo>
                    <a:pt x="1320" y="1152"/>
                  </a:lnTo>
                  <a:lnTo>
                    <a:pt x="1332" y="1152"/>
                  </a:lnTo>
                  <a:lnTo>
                    <a:pt x="1338" y="1152"/>
                  </a:lnTo>
                  <a:lnTo>
                    <a:pt x="1344" y="1152"/>
                  </a:lnTo>
                  <a:lnTo>
                    <a:pt x="1344" y="1158"/>
                  </a:lnTo>
                  <a:lnTo>
                    <a:pt x="1350" y="1158"/>
                  </a:lnTo>
                  <a:lnTo>
                    <a:pt x="1356" y="1158"/>
                  </a:lnTo>
                  <a:lnTo>
                    <a:pt x="1362" y="1158"/>
                  </a:lnTo>
                  <a:lnTo>
                    <a:pt x="1368" y="1158"/>
                  </a:lnTo>
                  <a:lnTo>
                    <a:pt x="1374" y="1164"/>
                  </a:lnTo>
                  <a:lnTo>
                    <a:pt x="1380" y="1164"/>
                  </a:lnTo>
                  <a:lnTo>
                    <a:pt x="1386" y="1170"/>
                  </a:lnTo>
                  <a:lnTo>
                    <a:pt x="1392" y="1170"/>
                  </a:lnTo>
                  <a:lnTo>
                    <a:pt x="1398" y="1164"/>
                  </a:lnTo>
                  <a:lnTo>
                    <a:pt x="1404" y="1164"/>
                  </a:lnTo>
                  <a:lnTo>
                    <a:pt x="1410" y="1164"/>
                  </a:lnTo>
                  <a:lnTo>
                    <a:pt x="1416" y="1164"/>
                  </a:lnTo>
                  <a:lnTo>
                    <a:pt x="1416" y="1170"/>
                  </a:lnTo>
                  <a:lnTo>
                    <a:pt x="1422" y="1176"/>
                  </a:lnTo>
                  <a:lnTo>
                    <a:pt x="1416" y="1176"/>
                  </a:lnTo>
                  <a:lnTo>
                    <a:pt x="1416" y="1182"/>
                  </a:lnTo>
                  <a:lnTo>
                    <a:pt x="1410" y="1188"/>
                  </a:lnTo>
                  <a:lnTo>
                    <a:pt x="1404" y="1194"/>
                  </a:lnTo>
                  <a:lnTo>
                    <a:pt x="1404" y="1200"/>
                  </a:lnTo>
                  <a:lnTo>
                    <a:pt x="1404" y="1206"/>
                  </a:lnTo>
                  <a:lnTo>
                    <a:pt x="1398" y="1212"/>
                  </a:lnTo>
                  <a:lnTo>
                    <a:pt x="1398" y="1206"/>
                  </a:lnTo>
                  <a:lnTo>
                    <a:pt x="1392" y="1206"/>
                  </a:lnTo>
                  <a:lnTo>
                    <a:pt x="1386" y="1206"/>
                  </a:lnTo>
                  <a:lnTo>
                    <a:pt x="1380" y="1212"/>
                  </a:lnTo>
                  <a:lnTo>
                    <a:pt x="1374" y="1212"/>
                  </a:lnTo>
                  <a:lnTo>
                    <a:pt x="1368" y="1218"/>
                  </a:lnTo>
                  <a:lnTo>
                    <a:pt x="1362" y="1218"/>
                  </a:lnTo>
                  <a:lnTo>
                    <a:pt x="1362" y="1224"/>
                  </a:lnTo>
                  <a:lnTo>
                    <a:pt x="1356" y="1230"/>
                  </a:lnTo>
                  <a:lnTo>
                    <a:pt x="1350" y="1230"/>
                  </a:lnTo>
                  <a:lnTo>
                    <a:pt x="1344" y="1236"/>
                  </a:lnTo>
                  <a:lnTo>
                    <a:pt x="1338" y="1230"/>
                  </a:lnTo>
                  <a:lnTo>
                    <a:pt x="1332" y="1230"/>
                  </a:lnTo>
                  <a:lnTo>
                    <a:pt x="1326" y="1230"/>
                  </a:lnTo>
                  <a:lnTo>
                    <a:pt x="1320" y="1230"/>
                  </a:lnTo>
                  <a:lnTo>
                    <a:pt x="1314" y="1230"/>
                  </a:lnTo>
                  <a:lnTo>
                    <a:pt x="1296" y="1242"/>
                  </a:lnTo>
                  <a:lnTo>
                    <a:pt x="1296" y="1248"/>
                  </a:lnTo>
                  <a:lnTo>
                    <a:pt x="1290" y="1248"/>
                  </a:lnTo>
                  <a:lnTo>
                    <a:pt x="1290" y="1260"/>
                  </a:lnTo>
                  <a:lnTo>
                    <a:pt x="1278" y="1272"/>
                  </a:lnTo>
                  <a:lnTo>
                    <a:pt x="1278" y="1278"/>
                  </a:lnTo>
                  <a:lnTo>
                    <a:pt x="1278" y="1284"/>
                  </a:lnTo>
                  <a:lnTo>
                    <a:pt x="1278" y="1290"/>
                  </a:lnTo>
                  <a:lnTo>
                    <a:pt x="1284" y="1296"/>
                  </a:lnTo>
                  <a:lnTo>
                    <a:pt x="1302" y="1302"/>
                  </a:lnTo>
                  <a:lnTo>
                    <a:pt x="1308" y="1308"/>
                  </a:lnTo>
                  <a:lnTo>
                    <a:pt x="1308" y="1314"/>
                  </a:lnTo>
                  <a:lnTo>
                    <a:pt x="1302" y="1320"/>
                  </a:lnTo>
                  <a:lnTo>
                    <a:pt x="1278" y="1314"/>
                  </a:lnTo>
                  <a:lnTo>
                    <a:pt x="1266" y="1308"/>
                  </a:lnTo>
                  <a:lnTo>
                    <a:pt x="1260" y="1296"/>
                  </a:lnTo>
                  <a:lnTo>
                    <a:pt x="1236" y="1296"/>
                  </a:lnTo>
                  <a:lnTo>
                    <a:pt x="1224" y="1308"/>
                  </a:lnTo>
                  <a:lnTo>
                    <a:pt x="1218" y="1308"/>
                  </a:lnTo>
                  <a:lnTo>
                    <a:pt x="1218" y="1302"/>
                  </a:lnTo>
                  <a:lnTo>
                    <a:pt x="1212" y="1302"/>
                  </a:lnTo>
                  <a:lnTo>
                    <a:pt x="1206" y="1302"/>
                  </a:lnTo>
                  <a:lnTo>
                    <a:pt x="1170" y="1314"/>
                  </a:lnTo>
                  <a:lnTo>
                    <a:pt x="1134" y="1296"/>
                  </a:lnTo>
                  <a:lnTo>
                    <a:pt x="1122" y="1290"/>
                  </a:lnTo>
                  <a:lnTo>
                    <a:pt x="1104" y="1290"/>
                  </a:lnTo>
                  <a:lnTo>
                    <a:pt x="1098" y="1278"/>
                  </a:lnTo>
                  <a:lnTo>
                    <a:pt x="1092" y="1242"/>
                  </a:lnTo>
                  <a:lnTo>
                    <a:pt x="1086" y="1242"/>
                  </a:lnTo>
                  <a:lnTo>
                    <a:pt x="1086" y="1248"/>
                  </a:lnTo>
                  <a:lnTo>
                    <a:pt x="1086" y="1254"/>
                  </a:lnTo>
                  <a:lnTo>
                    <a:pt x="1080" y="1254"/>
                  </a:lnTo>
                  <a:lnTo>
                    <a:pt x="1080" y="1260"/>
                  </a:lnTo>
                  <a:lnTo>
                    <a:pt x="1074" y="1260"/>
                  </a:lnTo>
                  <a:lnTo>
                    <a:pt x="1068" y="1236"/>
                  </a:lnTo>
                  <a:lnTo>
                    <a:pt x="1068" y="1206"/>
                  </a:lnTo>
                  <a:lnTo>
                    <a:pt x="1080" y="1194"/>
                  </a:lnTo>
                  <a:lnTo>
                    <a:pt x="1086" y="1194"/>
                  </a:lnTo>
                  <a:lnTo>
                    <a:pt x="1092" y="1200"/>
                  </a:lnTo>
                  <a:lnTo>
                    <a:pt x="1098" y="1206"/>
                  </a:lnTo>
                  <a:lnTo>
                    <a:pt x="1104" y="1200"/>
                  </a:lnTo>
                  <a:lnTo>
                    <a:pt x="1104" y="1194"/>
                  </a:lnTo>
                  <a:lnTo>
                    <a:pt x="1110" y="1194"/>
                  </a:lnTo>
                  <a:lnTo>
                    <a:pt x="1110" y="1188"/>
                  </a:lnTo>
                  <a:lnTo>
                    <a:pt x="1116" y="1182"/>
                  </a:lnTo>
                  <a:lnTo>
                    <a:pt x="1110" y="1182"/>
                  </a:lnTo>
                  <a:lnTo>
                    <a:pt x="1110" y="1170"/>
                  </a:lnTo>
                  <a:lnTo>
                    <a:pt x="1110" y="1158"/>
                  </a:lnTo>
                  <a:lnTo>
                    <a:pt x="1110" y="1152"/>
                  </a:lnTo>
                  <a:lnTo>
                    <a:pt x="1104" y="1146"/>
                  </a:lnTo>
                  <a:lnTo>
                    <a:pt x="1098" y="1140"/>
                  </a:lnTo>
                  <a:lnTo>
                    <a:pt x="1098" y="1134"/>
                  </a:lnTo>
                  <a:lnTo>
                    <a:pt x="1098" y="1128"/>
                  </a:lnTo>
                  <a:lnTo>
                    <a:pt x="1092" y="1128"/>
                  </a:lnTo>
                  <a:lnTo>
                    <a:pt x="1092" y="1122"/>
                  </a:lnTo>
                  <a:lnTo>
                    <a:pt x="1092" y="1116"/>
                  </a:lnTo>
                  <a:lnTo>
                    <a:pt x="1092" y="1110"/>
                  </a:lnTo>
                  <a:lnTo>
                    <a:pt x="1056" y="1122"/>
                  </a:lnTo>
                  <a:lnTo>
                    <a:pt x="1038" y="1128"/>
                  </a:lnTo>
                  <a:lnTo>
                    <a:pt x="1032" y="1128"/>
                  </a:lnTo>
                  <a:lnTo>
                    <a:pt x="1026" y="1128"/>
                  </a:lnTo>
                  <a:lnTo>
                    <a:pt x="1020" y="1128"/>
                  </a:lnTo>
                  <a:lnTo>
                    <a:pt x="1014" y="1128"/>
                  </a:lnTo>
                  <a:lnTo>
                    <a:pt x="1014" y="1122"/>
                  </a:lnTo>
                  <a:lnTo>
                    <a:pt x="1008" y="1122"/>
                  </a:lnTo>
                  <a:lnTo>
                    <a:pt x="1002" y="1128"/>
                  </a:lnTo>
                  <a:lnTo>
                    <a:pt x="1002" y="1134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84" y="1140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66" y="1140"/>
                  </a:lnTo>
                  <a:lnTo>
                    <a:pt x="954" y="1140"/>
                  </a:lnTo>
                  <a:lnTo>
                    <a:pt x="954" y="1134"/>
                  </a:lnTo>
                  <a:lnTo>
                    <a:pt x="948" y="1134"/>
                  </a:lnTo>
                  <a:lnTo>
                    <a:pt x="942" y="1134"/>
                  </a:lnTo>
                  <a:lnTo>
                    <a:pt x="936" y="1134"/>
                  </a:lnTo>
                  <a:lnTo>
                    <a:pt x="930" y="1134"/>
                  </a:lnTo>
                  <a:lnTo>
                    <a:pt x="924" y="1134"/>
                  </a:lnTo>
                  <a:lnTo>
                    <a:pt x="918" y="1134"/>
                  </a:lnTo>
                  <a:lnTo>
                    <a:pt x="918" y="1128"/>
                  </a:lnTo>
                  <a:lnTo>
                    <a:pt x="918" y="1104"/>
                  </a:lnTo>
                  <a:lnTo>
                    <a:pt x="906" y="1104"/>
                  </a:lnTo>
                  <a:lnTo>
                    <a:pt x="900" y="1098"/>
                  </a:lnTo>
                  <a:lnTo>
                    <a:pt x="900" y="1092"/>
                  </a:lnTo>
                  <a:lnTo>
                    <a:pt x="900" y="1086"/>
                  </a:lnTo>
                  <a:lnTo>
                    <a:pt x="900" y="1080"/>
                  </a:lnTo>
                  <a:lnTo>
                    <a:pt x="894" y="1080"/>
                  </a:lnTo>
                  <a:lnTo>
                    <a:pt x="858" y="1074"/>
                  </a:lnTo>
                  <a:lnTo>
                    <a:pt x="852" y="1080"/>
                  </a:lnTo>
                  <a:lnTo>
                    <a:pt x="846" y="1086"/>
                  </a:lnTo>
                  <a:lnTo>
                    <a:pt x="840" y="1086"/>
                  </a:lnTo>
                  <a:lnTo>
                    <a:pt x="840" y="1092"/>
                  </a:lnTo>
                  <a:lnTo>
                    <a:pt x="834" y="1092"/>
                  </a:lnTo>
                  <a:lnTo>
                    <a:pt x="828" y="1098"/>
                  </a:lnTo>
                  <a:lnTo>
                    <a:pt x="822" y="1098"/>
                  </a:lnTo>
                  <a:lnTo>
                    <a:pt x="762" y="1074"/>
                  </a:lnTo>
                  <a:lnTo>
                    <a:pt x="756" y="1068"/>
                  </a:lnTo>
                  <a:lnTo>
                    <a:pt x="750" y="1068"/>
                  </a:lnTo>
                  <a:lnTo>
                    <a:pt x="744" y="1062"/>
                  </a:lnTo>
                  <a:lnTo>
                    <a:pt x="744" y="1068"/>
                  </a:lnTo>
                  <a:lnTo>
                    <a:pt x="744" y="1074"/>
                  </a:lnTo>
                  <a:lnTo>
                    <a:pt x="738" y="1074"/>
                  </a:lnTo>
                  <a:lnTo>
                    <a:pt x="738" y="1068"/>
                  </a:lnTo>
                  <a:lnTo>
                    <a:pt x="732" y="1068"/>
                  </a:lnTo>
                  <a:lnTo>
                    <a:pt x="726" y="1068"/>
                  </a:lnTo>
                  <a:lnTo>
                    <a:pt x="726" y="1074"/>
                  </a:lnTo>
                  <a:lnTo>
                    <a:pt x="720" y="1074"/>
                  </a:lnTo>
                  <a:lnTo>
                    <a:pt x="684" y="106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5" name="Freeform 40">
              <a:extLst>
                <a:ext uri="{FF2B5EF4-FFF2-40B4-BE49-F238E27FC236}">
                  <a16:creationId xmlns:a16="http://schemas.microsoft.com/office/drawing/2014/main" id="{37EC2F22-BDB9-4162-8FA4-08493F6898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3558" y="1520374"/>
              <a:ext cx="1057717" cy="1252440"/>
            </a:xfrm>
            <a:custGeom>
              <a:avLst/>
              <a:gdLst>
                <a:gd name="T0" fmla="*/ 98 w 1992"/>
                <a:gd name="T1" fmla="*/ 162 h 2358"/>
                <a:gd name="T2" fmla="*/ 93 w 1992"/>
                <a:gd name="T3" fmla="*/ 172 h 2358"/>
                <a:gd name="T4" fmla="*/ 82 w 1992"/>
                <a:gd name="T5" fmla="*/ 179 h 2358"/>
                <a:gd name="T6" fmla="*/ 70 w 1992"/>
                <a:gd name="T7" fmla="*/ 174 h 2358"/>
                <a:gd name="T8" fmla="*/ 62 w 1992"/>
                <a:gd name="T9" fmla="*/ 182 h 2358"/>
                <a:gd name="T10" fmla="*/ 45 w 1992"/>
                <a:gd name="T11" fmla="*/ 189 h 2358"/>
                <a:gd name="T12" fmla="*/ 24 w 1992"/>
                <a:gd name="T13" fmla="*/ 205 h 2358"/>
                <a:gd name="T14" fmla="*/ 17 w 1992"/>
                <a:gd name="T15" fmla="*/ 204 h 2358"/>
                <a:gd name="T16" fmla="*/ 7 w 1992"/>
                <a:gd name="T17" fmla="*/ 197 h 2358"/>
                <a:gd name="T18" fmla="*/ 1 w 1992"/>
                <a:gd name="T19" fmla="*/ 191 h 2358"/>
                <a:gd name="T20" fmla="*/ 4 w 1992"/>
                <a:gd name="T21" fmla="*/ 175 h 2358"/>
                <a:gd name="T22" fmla="*/ 7 w 1992"/>
                <a:gd name="T23" fmla="*/ 172 h 2358"/>
                <a:gd name="T24" fmla="*/ 11 w 1992"/>
                <a:gd name="T25" fmla="*/ 168 h 2358"/>
                <a:gd name="T26" fmla="*/ 5 w 1992"/>
                <a:gd name="T27" fmla="*/ 159 h 2358"/>
                <a:gd name="T28" fmla="*/ 10 w 1992"/>
                <a:gd name="T29" fmla="*/ 156 h 2358"/>
                <a:gd name="T30" fmla="*/ 15 w 1992"/>
                <a:gd name="T31" fmla="*/ 155 h 2358"/>
                <a:gd name="T32" fmla="*/ 24 w 1992"/>
                <a:gd name="T33" fmla="*/ 149 h 2358"/>
                <a:gd name="T34" fmla="*/ 38 w 1992"/>
                <a:gd name="T35" fmla="*/ 127 h 2358"/>
                <a:gd name="T36" fmla="*/ 38 w 1992"/>
                <a:gd name="T37" fmla="*/ 107 h 2358"/>
                <a:gd name="T38" fmla="*/ 45 w 1992"/>
                <a:gd name="T39" fmla="*/ 66 h 2358"/>
                <a:gd name="T40" fmla="*/ 47 w 1992"/>
                <a:gd name="T41" fmla="*/ 36 h 2358"/>
                <a:gd name="T42" fmla="*/ 51 w 1992"/>
                <a:gd name="T43" fmla="*/ 35 h 2358"/>
                <a:gd name="T44" fmla="*/ 55 w 1992"/>
                <a:gd name="T45" fmla="*/ 30 h 2358"/>
                <a:gd name="T46" fmla="*/ 56 w 1992"/>
                <a:gd name="T47" fmla="*/ 27 h 2358"/>
                <a:gd name="T48" fmla="*/ 60 w 1992"/>
                <a:gd name="T49" fmla="*/ 23 h 2358"/>
                <a:gd name="T50" fmla="*/ 63 w 1992"/>
                <a:gd name="T51" fmla="*/ 23 h 2358"/>
                <a:gd name="T52" fmla="*/ 70 w 1992"/>
                <a:gd name="T53" fmla="*/ 18 h 2358"/>
                <a:gd name="T54" fmla="*/ 71 w 1992"/>
                <a:gd name="T55" fmla="*/ 15 h 2358"/>
                <a:gd name="T56" fmla="*/ 72 w 1992"/>
                <a:gd name="T57" fmla="*/ 13 h 2358"/>
                <a:gd name="T58" fmla="*/ 77 w 1992"/>
                <a:gd name="T59" fmla="*/ 12 h 2358"/>
                <a:gd name="T60" fmla="*/ 83 w 1992"/>
                <a:gd name="T61" fmla="*/ 10 h 2358"/>
                <a:gd name="T62" fmla="*/ 87 w 1992"/>
                <a:gd name="T63" fmla="*/ 10 h 2358"/>
                <a:gd name="T64" fmla="*/ 89 w 1992"/>
                <a:gd name="T65" fmla="*/ 10 h 2358"/>
                <a:gd name="T66" fmla="*/ 93 w 1992"/>
                <a:gd name="T67" fmla="*/ 8 h 2358"/>
                <a:gd name="T68" fmla="*/ 95 w 1992"/>
                <a:gd name="T69" fmla="*/ 4 h 2358"/>
                <a:gd name="T70" fmla="*/ 99 w 1992"/>
                <a:gd name="T71" fmla="*/ 0 h 2358"/>
                <a:gd name="T72" fmla="*/ 111 w 1992"/>
                <a:gd name="T73" fmla="*/ 0 h 2358"/>
                <a:gd name="T74" fmla="*/ 121 w 1992"/>
                <a:gd name="T75" fmla="*/ 9 h 2358"/>
                <a:gd name="T76" fmla="*/ 128 w 1992"/>
                <a:gd name="T77" fmla="*/ 19 h 2358"/>
                <a:gd name="T78" fmla="*/ 138 w 1992"/>
                <a:gd name="T79" fmla="*/ 33 h 2358"/>
                <a:gd name="T80" fmla="*/ 142 w 1992"/>
                <a:gd name="T81" fmla="*/ 47 h 2358"/>
                <a:gd name="T82" fmla="*/ 145 w 1992"/>
                <a:gd name="T83" fmla="*/ 62 h 2358"/>
                <a:gd name="T84" fmla="*/ 145 w 1992"/>
                <a:gd name="T85" fmla="*/ 70 h 2358"/>
                <a:gd name="T86" fmla="*/ 147 w 1992"/>
                <a:gd name="T87" fmla="*/ 75 h 2358"/>
                <a:gd name="T88" fmla="*/ 153 w 1992"/>
                <a:gd name="T89" fmla="*/ 75 h 2358"/>
                <a:gd name="T90" fmla="*/ 160 w 1992"/>
                <a:gd name="T91" fmla="*/ 76 h 2358"/>
                <a:gd name="T92" fmla="*/ 164 w 1992"/>
                <a:gd name="T93" fmla="*/ 79 h 2358"/>
                <a:gd name="T94" fmla="*/ 168 w 1992"/>
                <a:gd name="T95" fmla="*/ 83 h 2358"/>
                <a:gd name="T96" fmla="*/ 172 w 1992"/>
                <a:gd name="T97" fmla="*/ 86 h 2358"/>
                <a:gd name="T98" fmla="*/ 170 w 1992"/>
                <a:gd name="T99" fmla="*/ 93 h 2358"/>
                <a:gd name="T100" fmla="*/ 170 w 1992"/>
                <a:gd name="T101" fmla="*/ 99 h 2358"/>
                <a:gd name="T102" fmla="*/ 169 w 1992"/>
                <a:gd name="T103" fmla="*/ 106 h 2358"/>
                <a:gd name="T104" fmla="*/ 166 w 1992"/>
                <a:gd name="T105" fmla="*/ 113 h 2358"/>
                <a:gd name="T106" fmla="*/ 170 w 1992"/>
                <a:gd name="T107" fmla="*/ 122 h 2358"/>
                <a:gd name="T108" fmla="*/ 159 w 1992"/>
                <a:gd name="T109" fmla="*/ 128 h 2358"/>
                <a:gd name="T110" fmla="*/ 148 w 1992"/>
                <a:gd name="T111" fmla="*/ 134 h 2358"/>
                <a:gd name="T112" fmla="*/ 139 w 1992"/>
                <a:gd name="T113" fmla="*/ 136 h 2358"/>
                <a:gd name="T114" fmla="*/ 132 w 1992"/>
                <a:gd name="T115" fmla="*/ 138 h 2358"/>
                <a:gd name="T116" fmla="*/ 128 w 1992"/>
                <a:gd name="T117" fmla="*/ 145 h 2358"/>
                <a:gd name="T118" fmla="*/ 124 w 1992"/>
                <a:gd name="T119" fmla="*/ 150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92"/>
                <a:gd name="T181" fmla="*/ 0 h 2358"/>
                <a:gd name="T182" fmla="*/ 1992 w 1992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92" h="2358">
                  <a:moveTo>
                    <a:pt x="1356" y="1782"/>
                  </a:moveTo>
                  <a:lnTo>
                    <a:pt x="1350" y="1788"/>
                  </a:lnTo>
                  <a:lnTo>
                    <a:pt x="1266" y="1788"/>
                  </a:lnTo>
                  <a:lnTo>
                    <a:pt x="1260" y="1800"/>
                  </a:lnTo>
                  <a:lnTo>
                    <a:pt x="1242" y="1806"/>
                  </a:lnTo>
                  <a:lnTo>
                    <a:pt x="1218" y="1812"/>
                  </a:lnTo>
                  <a:lnTo>
                    <a:pt x="1182" y="1812"/>
                  </a:lnTo>
                  <a:lnTo>
                    <a:pt x="1158" y="1806"/>
                  </a:lnTo>
                  <a:lnTo>
                    <a:pt x="1134" y="1800"/>
                  </a:lnTo>
                  <a:lnTo>
                    <a:pt x="1134" y="1806"/>
                  </a:lnTo>
                  <a:lnTo>
                    <a:pt x="1134" y="1830"/>
                  </a:lnTo>
                  <a:lnTo>
                    <a:pt x="1128" y="1842"/>
                  </a:lnTo>
                  <a:lnTo>
                    <a:pt x="1128" y="1854"/>
                  </a:lnTo>
                  <a:lnTo>
                    <a:pt x="1128" y="1860"/>
                  </a:lnTo>
                  <a:lnTo>
                    <a:pt x="1128" y="1866"/>
                  </a:lnTo>
                  <a:lnTo>
                    <a:pt x="1128" y="1872"/>
                  </a:lnTo>
                  <a:lnTo>
                    <a:pt x="1128" y="1884"/>
                  </a:lnTo>
                  <a:lnTo>
                    <a:pt x="1128" y="1890"/>
                  </a:lnTo>
                  <a:lnTo>
                    <a:pt x="1128" y="1896"/>
                  </a:lnTo>
                  <a:lnTo>
                    <a:pt x="1122" y="1902"/>
                  </a:lnTo>
                  <a:lnTo>
                    <a:pt x="1122" y="1920"/>
                  </a:lnTo>
                  <a:lnTo>
                    <a:pt x="1116" y="1920"/>
                  </a:lnTo>
                  <a:lnTo>
                    <a:pt x="1110" y="1926"/>
                  </a:lnTo>
                  <a:lnTo>
                    <a:pt x="1110" y="1932"/>
                  </a:lnTo>
                  <a:lnTo>
                    <a:pt x="1104" y="1938"/>
                  </a:lnTo>
                  <a:lnTo>
                    <a:pt x="1086" y="1962"/>
                  </a:lnTo>
                  <a:lnTo>
                    <a:pt x="1074" y="1974"/>
                  </a:lnTo>
                  <a:lnTo>
                    <a:pt x="1074" y="1980"/>
                  </a:lnTo>
                  <a:lnTo>
                    <a:pt x="1068" y="1986"/>
                  </a:lnTo>
                  <a:lnTo>
                    <a:pt x="1062" y="1998"/>
                  </a:lnTo>
                  <a:lnTo>
                    <a:pt x="1062" y="2004"/>
                  </a:lnTo>
                  <a:lnTo>
                    <a:pt x="1068" y="2004"/>
                  </a:lnTo>
                  <a:lnTo>
                    <a:pt x="1056" y="2034"/>
                  </a:lnTo>
                  <a:lnTo>
                    <a:pt x="1050" y="2076"/>
                  </a:lnTo>
                  <a:lnTo>
                    <a:pt x="1056" y="2100"/>
                  </a:lnTo>
                  <a:lnTo>
                    <a:pt x="1038" y="2106"/>
                  </a:lnTo>
                  <a:lnTo>
                    <a:pt x="1002" y="2106"/>
                  </a:lnTo>
                  <a:lnTo>
                    <a:pt x="978" y="2094"/>
                  </a:lnTo>
                  <a:lnTo>
                    <a:pt x="972" y="2082"/>
                  </a:lnTo>
                  <a:lnTo>
                    <a:pt x="966" y="2070"/>
                  </a:lnTo>
                  <a:lnTo>
                    <a:pt x="954" y="2064"/>
                  </a:lnTo>
                  <a:lnTo>
                    <a:pt x="942" y="2058"/>
                  </a:lnTo>
                  <a:lnTo>
                    <a:pt x="936" y="2058"/>
                  </a:lnTo>
                  <a:lnTo>
                    <a:pt x="918" y="2046"/>
                  </a:lnTo>
                  <a:lnTo>
                    <a:pt x="906" y="2028"/>
                  </a:lnTo>
                  <a:lnTo>
                    <a:pt x="900" y="2022"/>
                  </a:lnTo>
                  <a:lnTo>
                    <a:pt x="894" y="2022"/>
                  </a:lnTo>
                  <a:lnTo>
                    <a:pt x="882" y="2022"/>
                  </a:lnTo>
                  <a:lnTo>
                    <a:pt x="870" y="2016"/>
                  </a:lnTo>
                  <a:lnTo>
                    <a:pt x="864" y="2016"/>
                  </a:lnTo>
                  <a:lnTo>
                    <a:pt x="852" y="2010"/>
                  </a:lnTo>
                  <a:lnTo>
                    <a:pt x="846" y="2004"/>
                  </a:lnTo>
                  <a:lnTo>
                    <a:pt x="840" y="2004"/>
                  </a:lnTo>
                  <a:lnTo>
                    <a:pt x="828" y="1998"/>
                  </a:lnTo>
                  <a:lnTo>
                    <a:pt x="816" y="1998"/>
                  </a:lnTo>
                  <a:lnTo>
                    <a:pt x="810" y="1998"/>
                  </a:lnTo>
                  <a:lnTo>
                    <a:pt x="804" y="1998"/>
                  </a:lnTo>
                  <a:lnTo>
                    <a:pt x="798" y="1998"/>
                  </a:lnTo>
                  <a:lnTo>
                    <a:pt x="792" y="2004"/>
                  </a:lnTo>
                  <a:lnTo>
                    <a:pt x="786" y="2010"/>
                  </a:lnTo>
                  <a:lnTo>
                    <a:pt x="762" y="2010"/>
                  </a:lnTo>
                  <a:lnTo>
                    <a:pt x="756" y="2010"/>
                  </a:lnTo>
                  <a:lnTo>
                    <a:pt x="744" y="2022"/>
                  </a:lnTo>
                  <a:lnTo>
                    <a:pt x="738" y="2034"/>
                  </a:lnTo>
                  <a:lnTo>
                    <a:pt x="732" y="2040"/>
                  </a:lnTo>
                  <a:lnTo>
                    <a:pt x="732" y="2046"/>
                  </a:lnTo>
                  <a:lnTo>
                    <a:pt x="726" y="2058"/>
                  </a:lnTo>
                  <a:lnTo>
                    <a:pt x="720" y="2064"/>
                  </a:lnTo>
                  <a:lnTo>
                    <a:pt x="714" y="2070"/>
                  </a:lnTo>
                  <a:lnTo>
                    <a:pt x="708" y="2088"/>
                  </a:lnTo>
                  <a:lnTo>
                    <a:pt x="702" y="2100"/>
                  </a:lnTo>
                  <a:lnTo>
                    <a:pt x="690" y="2100"/>
                  </a:lnTo>
                  <a:lnTo>
                    <a:pt x="684" y="2094"/>
                  </a:lnTo>
                  <a:lnTo>
                    <a:pt x="666" y="2100"/>
                  </a:lnTo>
                  <a:lnTo>
                    <a:pt x="636" y="2106"/>
                  </a:lnTo>
                  <a:lnTo>
                    <a:pt x="636" y="2112"/>
                  </a:lnTo>
                  <a:lnTo>
                    <a:pt x="636" y="2118"/>
                  </a:lnTo>
                  <a:lnTo>
                    <a:pt x="636" y="2124"/>
                  </a:lnTo>
                  <a:lnTo>
                    <a:pt x="630" y="2124"/>
                  </a:lnTo>
                  <a:lnTo>
                    <a:pt x="630" y="2148"/>
                  </a:lnTo>
                  <a:lnTo>
                    <a:pt x="612" y="2160"/>
                  </a:lnTo>
                  <a:lnTo>
                    <a:pt x="576" y="2172"/>
                  </a:lnTo>
                  <a:lnTo>
                    <a:pt x="546" y="2172"/>
                  </a:lnTo>
                  <a:lnTo>
                    <a:pt x="516" y="2172"/>
                  </a:lnTo>
                  <a:lnTo>
                    <a:pt x="486" y="2172"/>
                  </a:lnTo>
                  <a:lnTo>
                    <a:pt x="462" y="2172"/>
                  </a:lnTo>
                  <a:lnTo>
                    <a:pt x="444" y="2196"/>
                  </a:lnTo>
                  <a:lnTo>
                    <a:pt x="432" y="2232"/>
                  </a:lnTo>
                  <a:lnTo>
                    <a:pt x="408" y="2238"/>
                  </a:lnTo>
                  <a:lnTo>
                    <a:pt x="390" y="2256"/>
                  </a:lnTo>
                  <a:lnTo>
                    <a:pt x="372" y="2274"/>
                  </a:lnTo>
                  <a:lnTo>
                    <a:pt x="360" y="2274"/>
                  </a:lnTo>
                  <a:lnTo>
                    <a:pt x="336" y="2328"/>
                  </a:lnTo>
                  <a:lnTo>
                    <a:pt x="324" y="2340"/>
                  </a:lnTo>
                  <a:lnTo>
                    <a:pt x="300" y="2346"/>
                  </a:lnTo>
                  <a:lnTo>
                    <a:pt x="294" y="2352"/>
                  </a:lnTo>
                  <a:lnTo>
                    <a:pt x="288" y="2352"/>
                  </a:lnTo>
                  <a:lnTo>
                    <a:pt x="282" y="2352"/>
                  </a:lnTo>
                  <a:lnTo>
                    <a:pt x="276" y="2352"/>
                  </a:lnTo>
                  <a:lnTo>
                    <a:pt x="270" y="2352"/>
                  </a:lnTo>
                  <a:lnTo>
                    <a:pt x="270" y="2346"/>
                  </a:lnTo>
                  <a:lnTo>
                    <a:pt x="264" y="2346"/>
                  </a:lnTo>
                  <a:lnTo>
                    <a:pt x="258" y="2352"/>
                  </a:lnTo>
                  <a:lnTo>
                    <a:pt x="252" y="2352"/>
                  </a:lnTo>
                  <a:lnTo>
                    <a:pt x="240" y="2352"/>
                  </a:lnTo>
                  <a:lnTo>
                    <a:pt x="228" y="2352"/>
                  </a:lnTo>
                  <a:lnTo>
                    <a:pt x="222" y="2352"/>
                  </a:lnTo>
                  <a:lnTo>
                    <a:pt x="216" y="2358"/>
                  </a:lnTo>
                  <a:lnTo>
                    <a:pt x="216" y="2352"/>
                  </a:lnTo>
                  <a:lnTo>
                    <a:pt x="210" y="2346"/>
                  </a:lnTo>
                  <a:lnTo>
                    <a:pt x="204" y="2346"/>
                  </a:lnTo>
                  <a:lnTo>
                    <a:pt x="198" y="2340"/>
                  </a:lnTo>
                  <a:lnTo>
                    <a:pt x="192" y="2340"/>
                  </a:lnTo>
                  <a:lnTo>
                    <a:pt x="186" y="2340"/>
                  </a:lnTo>
                  <a:lnTo>
                    <a:pt x="180" y="2340"/>
                  </a:lnTo>
                  <a:lnTo>
                    <a:pt x="174" y="2340"/>
                  </a:lnTo>
                  <a:lnTo>
                    <a:pt x="162" y="2328"/>
                  </a:lnTo>
                  <a:lnTo>
                    <a:pt x="156" y="2322"/>
                  </a:lnTo>
                  <a:lnTo>
                    <a:pt x="156" y="2316"/>
                  </a:lnTo>
                  <a:lnTo>
                    <a:pt x="156" y="2310"/>
                  </a:lnTo>
                  <a:lnTo>
                    <a:pt x="132" y="2286"/>
                  </a:lnTo>
                  <a:lnTo>
                    <a:pt x="120" y="2280"/>
                  </a:lnTo>
                  <a:lnTo>
                    <a:pt x="96" y="2274"/>
                  </a:lnTo>
                  <a:lnTo>
                    <a:pt x="84" y="2268"/>
                  </a:lnTo>
                  <a:lnTo>
                    <a:pt x="78" y="2268"/>
                  </a:lnTo>
                  <a:lnTo>
                    <a:pt x="78" y="2262"/>
                  </a:lnTo>
                  <a:lnTo>
                    <a:pt x="78" y="2256"/>
                  </a:lnTo>
                  <a:lnTo>
                    <a:pt x="78" y="2250"/>
                  </a:lnTo>
                  <a:lnTo>
                    <a:pt x="72" y="2250"/>
                  </a:lnTo>
                  <a:lnTo>
                    <a:pt x="66" y="2250"/>
                  </a:lnTo>
                  <a:lnTo>
                    <a:pt x="60" y="2250"/>
                  </a:lnTo>
                  <a:lnTo>
                    <a:pt x="48" y="2244"/>
                  </a:lnTo>
                  <a:lnTo>
                    <a:pt x="36" y="2238"/>
                  </a:lnTo>
                  <a:lnTo>
                    <a:pt x="36" y="2226"/>
                  </a:lnTo>
                  <a:lnTo>
                    <a:pt x="30" y="2226"/>
                  </a:lnTo>
                  <a:lnTo>
                    <a:pt x="30" y="2220"/>
                  </a:lnTo>
                  <a:lnTo>
                    <a:pt x="24" y="2208"/>
                  </a:lnTo>
                  <a:lnTo>
                    <a:pt x="18" y="2202"/>
                  </a:lnTo>
                  <a:lnTo>
                    <a:pt x="18" y="2196"/>
                  </a:lnTo>
                  <a:lnTo>
                    <a:pt x="12" y="2190"/>
                  </a:lnTo>
                  <a:lnTo>
                    <a:pt x="0" y="2190"/>
                  </a:lnTo>
                  <a:lnTo>
                    <a:pt x="6" y="2184"/>
                  </a:lnTo>
                  <a:lnTo>
                    <a:pt x="12" y="2178"/>
                  </a:lnTo>
                  <a:lnTo>
                    <a:pt x="18" y="2172"/>
                  </a:lnTo>
                  <a:lnTo>
                    <a:pt x="24" y="2166"/>
                  </a:lnTo>
                  <a:lnTo>
                    <a:pt x="30" y="2166"/>
                  </a:lnTo>
                  <a:lnTo>
                    <a:pt x="24" y="2160"/>
                  </a:lnTo>
                  <a:lnTo>
                    <a:pt x="30" y="2160"/>
                  </a:lnTo>
                  <a:lnTo>
                    <a:pt x="36" y="2154"/>
                  </a:lnTo>
                  <a:lnTo>
                    <a:pt x="36" y="2136"/>
                  </a:lnTo>
                  <a:lnTo>
                    <a:pt x="36" y="2118"/>
                  </a:lnTo>
                  <a:lnTo>
                    <a:pt x="48" y="2058"/>
                  </a:lnTo>
                  <a:lnTo>
                    <a:pt x="48" y="2022"/>
                  </a:lnTo>
                  <a:lnTo>
                    <a:pt x="48" y="2016"/>
                  </a:lnTo>
                  <a:lnTo>
                    <a:pt x="48" y="2010"/>
                  </a:lnTo>
                  <a:lnTo>
                    <a:pt x="48" y="2004"/>
                  </a:lnTo>
                  <a:lnTo>
                    <a:pt x="42" y="2004"/>
                  </a:lnTo>
                  <a:lnTo>
                    <a:pt x="42" y="1998"/>
                  </a:lnTo>
                  <a:lnTo>
                    <a:pt x="36" y="1992"/>
                  </a:lnTo>
                  <a:lnTo>
                    <a:pt x="42" y="1992"/>
                  </a:lnTo>
                  <a:lnTo>
                    <a:pt x="42" y="1986"/>
                  </a:lnTo>
                  <a:lnTo>
                    <a:pt x="48" y="1986"/>
                  </a:lnTo>
                  <a:lnTo>
                    <a:pt x="54" y="1986"/>
                  </a:lnTo>
                  <a:lnTo>
                    <a:pt x="60" y="1986"/>
                  </a:lnTo>
                  <a:lnTo>
                    <a:pt x="66" y="1980"/>
                  </a:lnTo>
                  <a:lnTo>
                    <a:pt x="72" y="1974"/>
                  </a:lnTo>
                  <a:lnTo>
                    <a:pt x="78" y="1974"/>
                  </a:lnTo>
                  <a:lnTo>
                    <a:pt x="84" y="1974"/>
                  </a:lnTo>
                  <a:lnTo>
                    <a:pt x="90" y="1974"/>
                  </a:lnTo>
                  <a:lnTo>
                    <a:pt x="96" y="1974"/>
                  </a:lnTo>
                  <a:lnTo>
                    <a:pt x="96" y="1968"/>
                  </a:lnTo>
                  <a:lnTo>
                    <a:pt x="102" y="1968"/>
                  </a:lnTo>
                  <a:lnTo>
                    <a:pt x="102" y="1962"/>
                  </a:lnTo>
                  <a:lnTo>
                    <a:pt x="108" y="1962"/>
                  </a:lnTo>
                  <a:lnTo>
                    <a:pt x="114" y="1956"/>
                  </a:lnTo>
                  <a:lnTo>
                    <a:pt x="120" y="1956"/>
                  </a:lnTo>
                  <a:lnTo>
                    <a:pt x="126" y="1950"/>
                  </a:lnTo>
                  <a:lnTo>
                    <a:pt x="132" y="1950"/>
                  </a:lnTo>
                  <a:lnTo>
                    <a:pt x="132" y="1944"/>
                  </a:lnTo>
                  <a:lnTo>
                    <a:pt x="126" y="1944"/>
                  </a:lnTo>
                  <a:lnTo>
                    <a:pt x="126" y="1938"/>
                  </a:lnTo>
                  <a:lnTo>
                    <a:pt x="126" y="1932"/>
                  </a:lnTo>
                  <a:lnTo>
                    <a:pt x="126" y="1926"/>
                  </a:lnTo>
                  <a:lnTo>
                    <a:pt x="114" y="1914"/>
                  </a:lnTo>
                  <a:lnTo>
                    <a:pt x="114" y="1896"/>
                  </a:lnTo>
                  <a:lnTo>
                    <a:pt x="108" y="1884"/>
                  </a:lnTo>
                  <a:lnTo>
                    <a:pt x="102" y="1872"/>
                  </a:lnTo>
                  <a:lnTo>
                    <a:pt x="96" y="1866"/>
                  </a:lnTo>
                  <a:lnTo>
                    <a:pt x="96" y="1860"/>
                  </a:lnTo>
                  <a:lnTo>
                    <a:pt x="90" y="1860"/>
                  </a:lnTo>
                  <a:lnTo>
                    <a:pt x="90" y="1854"/>
                  </a:lnTo>
                  <a:lnTo>
                    <a:pt x="84" y="1848"/>
                  </a:lnTo>
                  <a:lnTo>
                    <a:pt x="78" y="1842"/>
                  </a:lnTo>
                  <a:lnTo>
                    <a:pt x="72" y="1836"/>
                  </a:lnTo>
                  <a:lnTo>
                    <a:pt x="66" y="1830"/>
                  </a:lnTo>
                  <a:lnTo>
                    <a:pt x="60" y="1824"/>
                  </a:lnTo>
                  <a:lnTo>
                    <a:pt x="54" y="1824"/>
                  </a:lnTo>
                  <a:lnTo>
                    <a:pt x="48" y="1824"/>
                  </a:lnTo>
                  <a:lnTo>
                    <a:pt x="42" y="1818"/>
                  </a:lnTo>
                  <a:lnTo>
                    <a:pt x="54" y="1818"/>
                  </a:lnTo>
                  <a:lnTo>
                    <a:pt x="60" y="1812"/>
                  </a:lnTo>
                  <a:lnTo>
                    <a:pt x="66" y="1812"/>
                  </a:lnTo>
                  <a:lnTo>
                    <a:pt x="72" y="1812"/>
                  </a:lnTo>
                  <a:lnTo>
                    <a:pt x="78" y="1812"/>
                  </a:lnTo>
                  <a:lnTo>
                    <a:pt x="84" y="1812"/>
                  </a:lnTo>
                  <a:lnTo>
                    <a:pt x="90" y="1806"/>
                  </a:lnTo>
                  <a:lnTo>
                    <a:pt x="96" y="1800"/>
                  </a:lnTo>
                  <a:lnTo>
                    <a:pt x="102" y="1806"/>
                  </a:lnTo>
                  <a:lnTo>
                    <a:pt x="108" y="1800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26" y="1788"/>
                  </a:lnTo>
                  <a:lnTo>
                    <a:pt x="126" y="1794"/>
                  </a:lnTo>
                  <a:lnTo>
                    <a:pt x="132" y="1794"/>
                  </a:lnTo>
                  <a:lnTo>
                    <a:pt x="132" y="1788"/>
                  </a:lnTo>
                  <a:lnTo>
                    <a:pt x="138" y="1788"/>
                  </a:lnTo>
                  <a:lnTo>
                    <a:pt x="138" y="1782"/>
                  </a:lnTo>
                  <a:lnTo>
                    <a:pt x="144" y="1782"/>
                  </a:lnTo>
                  <a:lnTo>
                    <a:pt x="150" y="1776"/>
                  </a:lnTo>
                  <a:lnTo>
                    <a:pt x="156" y="1782"/>
                  </a:lnTo>
                  <a:lnTo>
                    <a:pt x="162" y="1776"/>
                  </a:lnTo>
                  <a:lnTo>
                    <a:pt x="168" y="1776"/>
                  </a:lnTo>
                  <a:lnTo>
                    <a:pt x="180" y="1776"/>
                  </a:lnTo>
                  <a:lnTo>
                    <a:pt x="186" y="1776"/>
                  </a:lnTo>
                  <a:lnTo>
                    <a:pt x="186" y="1782"/>
                  </a:lnTo>
                  <a:lnTo>
                    <a:pt x="192" y="1776"/>
                  </a:lnTo>
                  <a:lnTo>
                    <a:pt x="198" y="1776"/>
                  </a:lnTo>
                  <a:lnTo>
                    <a:pt x="204" y="1770"/>
                  </a:lnTo>
                  <a:lnTo>
                    <a:pt x="204" y="1764"/>
                  </a:lnTo>
                  <a:lnTo>
                    <a:pt x="210" y="1764"/>
                  </a:lnTo>
                  <a:lnTo>
                    <a:pt x="216" y="1764"/>
                  </a:lnTo>
                  <a:lnTo>
                    <a:pt x="216" y="1758"/>
                  </a:lnTo>
                  <a:lnTo>
                    <a:pt x="222" y="1758"/>
                  </a:lnTo>
                  <a:lnTo>
                    <a:pt x="228" y="1758"/>
                  </a:lnTo>
                  <a:lnTo>
                    <a:pt x="258" y="1746"/>
                  </a:lnTo>
                  <a:lnTo>
                    <a:pt x="282" y="1716"/>
                  </a:lnTo>
                  <a:lnTo>
                    <a:pt x="300" y="1698"/>
                  </a:lnTo>
                  <a:lnTo>
                    <a:pt x="312" y="1698"/>
                  </a:lnTo>
                  <a:lnTo>
                    <a:pt x="336" y="1698"/>
                  </a:lnTo>
                  <a:lnTo>
                    <a:pt x="360" y="1698"/>
                  </a:lnTo>
                  <a:lnTo>
                    <a:pt x="372" y="1692"/>
                  </a:lnTo>
                  <a:lnTo>
                    <a:pt x="384" y="1692"/>
                  </a:lnTo>
                  <a:lnTo>
                    <a:pt x="360" y="1668"/>
                  </a:lnTo>
                  <a:lnTo>
                    <a:pt x="348" y="1626"/>
                  </a:lnTo>
                  <a:lnTo>
                    <a:pt x="354" y="1578"/>
                  </a:lnTo>
                  <a:lnTo>
                    <a:pt x="354" y="1572"/>
                  </a:lnTo>
                  <a:lnTo>
                    <a:pt x="360" y="1572"/>
                  </a:lnTo>
                  <a:lnTo>
                    <a:pt x="396" y="1530"/>
                  </a:lnTo>
                  <a:lnTo>
                    <a:pt x="408" y="1482"/>
                  </a:lnTo>
                  <a:lnTo>
                    <a:pt x="438" y="1458"/>
                  </a:lnTo>
                  <a:lnTo>
                    <a:pt x="468" y="1422"/>
                  </a:lnTo>
                  <a:lnTo>
                    <a:pt x="480" y="1410"/>
                  </a:lnTo>
                  <a:lnTo>
                    <a:pt x="474" y="1386"/>
                  </a:lnTo>
                  <a:lnTo>
                    <a:pt x="456" y="1356"/>
                  </a:lnTo>
                  <a:lnTo>
                    <a:pt x="438" y="1350"/>
                  </a:lnTo>
                  <a:lnTo>
                    <a:pt x="420" y="1350"/>
                  </a:lnTo>
                  <a:lnTo>
                    <a:pt x="402" y="1350"/>
                  </a:lnTo>
                  <a:lnTo>
                    <a:pt x="390" y="1344"/>
                  </a:lnTo>
                  <a:lnTo>
                    <a:pt x="390" y="1332"/>
                  </a:lnTo>
                  <a:lnTo>
                    <a:pt x="402" y="1296"/>
                  </a:lnTo>
                  <a:lnTo>
                    <a:pt x="414" y="1260"/>
                  </a:lnTo>
                  <a:lnTo>
                    <a:pt x="426" y="1248"/>
                  </a:lnTo>
                  <a:lnTo>
                    <a:pt x="438" y="1242"/>
                  </a:lnTo>
                  <a:lnTo>
                    <a:pt x="432" y="1230"/>
                  </a:lnTo>
                  <a:lnTo>
                    <a:pt x="432" y="1224"/>
                  </a:lnTo>
                  <a:lnTo>
                    <a:pt x="426" y="1218"/>
                  </a:lnTo>
                  <a:lnTo>
                    <a:pt x="426" y="1206"/>
                  </a:lnTo>
                  <a:lnTo>
                    <a:pt x="426" y="1200"/>
                  </a:lnTo>
                  <a:lnTo>
                    <a:pt x="432" y="1194"/>
                  </a:lnTo>
                  <a:lnTo>
                    <a:pt x="426" y="1188"/>
                  </a:lnTo>
                  <a:lnTo>
                    <a:pt x="432" y="1104"/>
                  </a:lnTo>
                  <a:lnTo>
                    <a:pt x="438" y="1086"/>
                  </a:lnTo>
                  <a:lnTo>
                    <a:pt x="462" y="972"/>
                  </a:lnTo>
                  <a:lnTo>
                    <a:pt x="456" y="900"/>
                  </a:lnTo>
                  <a:lnTo>
                    <a:pt x="444" y="846"/>
                  </a:lnTo>
                  <a:lnTo>
                    <a:pt x="456" y="810"/>
                  </a:lnTo>
                  <a:lnTo>
                    <a:pt x="492" y="786"/>
                  </a:lnTo>
                  <a:lnTo>
                    <a:pt x="522" y="762"/>
                  </a:lnTo>
                  <a:lnTo>
                    <a:pt x="546" y="732"/>
                  </a:lnTo>
                  <a:lnTo>
                    <a:pt x="570" y="696"/>
                  </a:lnTo>
                  <a:lnTo>
                    <a:pt x="582" y="654"/>
                  </a:lnTo>
                  <a:lnTo>
                    <a:pt x="564" y="642"/>
                  </a:lnTo>
                  <a:lnTo>
                    <a:pt x="522" y="588"/>
                  </a:lnTo>
                  <a:lnTo>
                    <a:pt x="516" y="546"/>
                  </a:lnTo>
                  <a:lnTo>
                    <a:pt x="510" y="474"/>
                  </a:lnTo>
                  <a:lnTo>
                    <a:pt x="510" y="450"/>
                  </a:lnTo>
                  <a:lnTo>
                    <a:pt x="510" y="444"/>
                  </a:lnTo>
                  <a:lnTo>
                    <a:pt x="522" y="438"/>
                  </a:lnTo>
                  <a:lnTo>
                    <a:pt x="522" y="432"/>
                  </a:lnTo>
                  <a:lnTo>
                    <a:pt x="528" y="426"/>
                  </a:lnTo>
                  <a:lnTo>
                    <a:pt x="534" y="420"/>
                  </a:lnTo>
                  <a:lnTo>
                    <a:pt x="540" y="414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08"/>
                  </a:lnTo>
                  <a:lnTo>
                    <a:pt x="546" y="408"/>
                  </a:lnTo>
                  <a:lnTo>
                    <a:pt x="558" y="414"/>
                  </a:lnTo>
                  <a:lnTo>
                    <a:pt x="564" y="414"/>
                  </a:lnTo>
                  <a:lnTo>
                    <a:pt x="570" y="414"/>
                  </a:lnTo>
                  <a:lnTo>
                    <a:pt x="582" y="414"/>
                  </a:lnTo>
                  <a:lnTo>
                    <a:pt x="582" y="420"/>
                  </a:lnTo>
                  <a:lnTo>
                    <a:pt x="588" y="414"/>
                  </a:lnTo>
                  <a:lnTo>
                    <a:pt x="582" y="408"/>
                  </a:lnTo>
                  <a:lnTo>
                    <a:pt x="588" y="402"/>
                  </a:lnTo>
                  <a:lnTo>
                    <a:pt x="594" y="402"/>
                  </a:lnTo>
                  <a:lnTo>
                    <a:pt x="594" y="396"/>
                  </a:lnTo>
                  <a:lnTo>
                    <a:pt x="594" y="390"/>
                  </a:lnTo>
                  <a:lnTo>
                    <a:pt x="594" y="384"/>
                  </a:lnTo>
                  <a:lnTo>
                    <a:pt x="594" y="378"/>
                  </a:lnTo>
                  <a:lnTo>
                    <a:pt x="600" y="366"/>
                  </a:lnTo>
                  <a:lnTo>
                    <a:pt x="606" y="366"/>
                  </a:lnTo>
                  <a:lnTo>
                    <a:pt x="612" y="360"/>
                  </a:lnTo>
                  <a:lnTo>
                    <a:pt x="612" y="366"/>
                  </a:lnTo>
                  <a:lnTo>
                    <a:pt x="618" y="366"/>
                  </a:lnTo>
                  <a:lnTo>
                    <a:pt x="624" y="366"/>
                  </a:lnTo>
                  <a:lnTo>
                    <a:pt x="630" y="360"/>
                  </a:lnTo>
                  <a:lnTo>
                    <a:pt x="636" y="354"/>
                  </a:lnTo>
                  <a:lnTo>
                    <a:pt x="630" y="354"/>
                  </a:lnTo>
                  <a:lnTo>
                    <a:pt x="630" y="348"/>
                  </a:lnTo>
                  <a:lnTo>
                    <a:pt x="630" y="342"/>
                  </a:lnTo>
                  <a:lnTo>
                    <a:pt x="636" y="342"/>
                  </a:lnTo>
                  <a:lnTo>
                    <a:pt x="642" y="336"/>
                  </a:lnTo>
                  <a:lnTo>
                    <a:pt x="636" y="330"/>
                  </a:lnTo>
                  <a:lnTo>
                    <a:pt x="630" y="336"/>
                  </a:lnTo>
                  <a:lnTo>
                    <a:pt x="624" y="336"/>
                  </a:lnTo>
                  <a:lnTo>
                    <a:pt x="624" y="330"/>
                  </a:lnTo>
                  <a:lnTo>
                    <a:pt x="624" y="324"/>
                  </a:lnTo>
                  <a:lnTo>
                    <a:pt x="618" y="324"/>
                  </a:lnTo>
                  <a:lnTo>
                    <a:pt x="624" y="324"/>
                  </a:lnTo>
                  <a:lnTo>
                    <a:pt x="630" y="330"/>
                  </a:lnTo>
                  <a:lnTo>
                    <a:pt x="630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2" y="306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8" y="288"/>
                  </a:lnTo>
                  <a:lnTo>
                    <a:pt x="648" y="282"/>
                  </a:lnTo>
                  <a:lnTo>
                    <a:pt x="654" y="288"/>
                  </a:lnTo>
                  <a:lnTo>
                    <a:pt x="654" y="282"/>
                  </a:lnTo>
                  <a:lnTo>
                    <a:pt x="660" y="282"/>
                  </a:lnTo>
                  <a:lnTo>
                    <a:pt x="666" y="282"/>
                  </a:lnTo>
                  <a:lnTo>
                    <a:pt x="672" y="282"/>
                  </a:lnTo>
                  <a:lnTo>
                    <a:pt x="678" y="282"/>
                  </a:lnTo>
                  <a:lnTo>
                    <a:pt x="684" y="276"/>
                  </a:lnTo>
                  <a:lnTo>
                    <a:pt x="690" y="270"/>
                  </a:lnTo>
                  <a:lnTo>
                    <a:pt x="690" y="264"/>
                  </a:lnTo>
                  <a:lnTo>
                    <a:pt x="690" y="270"/>
                  </a:lnTo>
                  <a:lnTo>
                    <a:pt x="690" y="276"/>
                  </a:lnTo>
                  <a:lnTo>
                    <a:pt x="696" y="276"/>
                  </a:lnTo>
                  <a:lnTo>
                    <a:pt x="702" y="276"/>
                  </a:lnTo>
                  <a:lnTo>
                    <a:pt x="702" y="282"/>
                  </a:lnTo>
                  <a:lnTo>
                    <a:pt x="708" y="282"/>
                  </a:lnTo>
                  <a:lnTo>
                    <a:pt x="720" y="270"/>
                  </a:lnTo>
                  <a:lnTo>
                    <a:pt x="720" y="264"/>
                  </a:lnTo>
                  <a:lnTo>
                    <a:pt x="720" y="258"/>
                  </a:lnTo>
                  <a:lnTo>
                    <a:pt x="726" y="258"/>
                  </a:lnTo>
                  <a:lnTo>
                    <a:pt x="732" y="258"/>
                  </a:lnTo>
                  <a:lnTo>
                    <a:pt x="732" y="264"/>
                  </a:lnTo>
                  <a:lnTo>
                    <a:pt x="738" y="264"/>
                  </a:lnTo>
                  <a:lnTo>
                    <a:pt x="738" y="258"/>
                  </a:lnTo>
                  <a:lnTo>
                    <a:pt x="732" y="258"/>
                  </a:lnTo>
                  <a:lnTo>
                    <a:pt x="732" y="252"/>
                  </a:lnTo>
                  <a:lnTo>
                    <a:pt x="744" y="252"/>
                  </a:lnTo>
                  <a:lnTo>
                    <a:pt x="750" y="252"/>
                  </a:lnTo>
                  <a:lnTo>
                    <a:pt x="750" y="246"/>
                  </a:lnTo>
                  <a:lnTo>
                    <a:pt x="750" y="240"/>
                  </a:lnTo>
                  <a:lnTo>
                    <a:pt x="762" y="234"/>
                  </a:lnTo>
                  <a:lnTo>
                    <a:pt x="768" y="234"/>
                  </a:lnTo>
                  <a:lnTo>
                    <a:pt x="774" y="234"/>
                  </a:lnTo>
                  <a:lnTo>
                    <a:pt x="780" y="228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16"/>
                  </a:lnTo>
                  <a:lnTo>
                    <a:pt x="792" y="210"/>
                  </a:lnTo>
                  <a:lnTo>
                    <a:pt x="804" y="204"/>
                  </a:lnTo>
                  <a:lnTo>
                    <a:pt x="804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0" y="192"/>
                  </a:lnTo>
                  <a:lnTo>
                    <a:pt x="798" y="186"/>
                  </a:lnTo>
                  <a:lnTo>
                    <a:pt x="810" y="186"/>
                  </a:lnTo>
                  <a:lnTo>
                    <a:pt x="810" y="180"/>
                  </a:lnTo>
                  <a:lnTo>
                    <a:pt x="810" y="186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0" y="180"/>
                  </a:lnTo>
                  <a:lnTo>
                    <a:pt x="816" y="174"/>
                  </a:lnTo>
                  <a:lnTo>
                    <a:pt x="822" y="174"/>
                  </a:lnTo>
                  <a:lnTo>
                    <a:pt x="822" y="180"/>
                  </a:lnTo>
                  <a:lnTo>
                    <a:pt x="828" y="180"/>
                  </a:lnTo>
                  <a:lnTo>
                    <a:pt x="828" y="174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62"/>
                  </a:lnTo>
                  <a:lnTo>
                    <a:pt x="828" y="156"/>
                  </a:lnTo>
                  <a:lnTo>
                    <a:pt x="822" y="156"/>
                  </a:lnTo>
                  <a:lnTo>
                    <a:pt x="828" y="156"/>
                  </a:lnTo>
                  <a:lnTo>
                    <a:pt x="828" y="150"/>
                  </a:lnTo>
                  <a:lnTo>
                    <a:pt x="834" y="150"/>
                  </a:lnTo>
                  <a:lnTo>
                    <a:pt x="840" y="156"/>
                  </a:lnTo>
                  <a:lnTo>
                    <a:pt x="840" y="150"/>
                  </a:lnTo>
                  <a:lnTo>
                    <a:pt x="834" y="150"/>
                  </a:lnTo>
                  <a:lnTo>
                    <a:pt x="834" y="144"/>
                  </a:lnTo>
                  <a:lnTo>
                    <a:pt x="840" y="138"/>
                  </a:lnTo>
                  <a:lnTo>
                    <a:pt x="846" y="144"/>
                  </a:lnTo>
                  <a:lnTo>
                    <a:pt x="846" y="150"/>
                  </a:lnTo>
                  <a:lnTo>
                    <a:pt x="852" y="150"/>
                  </a:lnTo>
                  <a:lnTo>
                    <a:pt x="858" y="150"/>
                  </a:lnTo>
                  <a:lnTo>
                    <a:pt x="870" y="150"/>
                  </a:lnTo>
                  <a:lnTo>
                    <a:pt x="870" y="144"/>
                  </a:lnTo>
                  <a:lnTo>
                    <a:pt x="876" y="138"/>
                  </a:lnTo>
                  <a:lnTo>
                    <a:pt x="882" y="138"/>
                  </a:lnTo>
                  <a:lnTo>
                    <a:pt x="888" y="132"/>
                  </a:lnTo>
                  <a:lnTo>
                    <a:pt x="888" y="138"/>
                  </a:lnTo>
                  <a:lnTo>
                    <a:pt x="894" y="138"/>
                  </a:lnTo>
                  <a:lnTo>
                    <a:pt x="894" y="132"/>
                  </a:lnTo>
                  <a:lnTo>
                    <a:pt x="900" y="126"/>
                  </a:lnTo>
                  <a:lnTo>
                    <a:pt x="900" y="132"/>
                  </a:lnTo>
                  <a:lnTo>
                    <a:pt x="906" y="132"/>
                  </a:lnTo>
                  <a:lnTo>
                    <a:pt x="912" y="132"/>
                  </a:lnTo>
                  <a:lnTo>
                    <a:pt x="918" y="126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24" y="126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8" y="120"/>
                  </a:lnTo>
                  <a:lnTo>
                    <a:pt x="948" y="114"/>
                  </a:lnTo>
                  <a:lnTo>
                    <a:pt x="948" y="108"/>
                  </a:lnTo>
                  <a:lnTo>
                    <a:pt x="954" y="114"/>
                  </a:lnTo>
                  <a:lnTo>
                    <a:pt x="960" y="108"/>
                  </a:lnTo>
                  <a:lnTo>
                    <a:pt x="966" y="108"/>
                  </a:lnTo>
                  <a:lnTo>
                    <a:pt x="972" y="108"/>
                  </a:lnTo>
                  <a:lnTo>
                    <a:pt x="966" y="114"/>
                  </a:lnTo>
                  <a:lnTo>
                    <a:pt x="960" y="114"/>
                  </a:lnTo>
                  <a:lnTo>
                    <a:pt x="960" y="120"/>
                  </a:lnTo>
                  <a:lnTo>
                    <a:pt x="966" y="126"/>
                  </a:lnTo>
                  <a:lnTo>
                    <a:pt x="972" y="126"/>
                  </a:lnTo>
                  <a:lnTo>
                    <a:pt x="978" y="126"/>
                  </a:lnTo>
                  <a:lnTo>
                    <a:pt x="984" y="120"/>
                  </a:lnTo>
                  <a:lnTo>
                    <a:pt x="984" y="114"/>
                  </a:lnTo>
                  <a:lnTo>
                    <a:pt x="996" y="126"/>
                  </a:lnTo>
                  <a:lnTo>
                    <a:pt x="996" y="120"/>
                  </a:lnTo>
                  <a:lnTo>
                    <a:pt x="1002" y="120"/>
                  </a:lnTo>
                  <a:lnTo>
                    <a:pt x="996" y="114"/>
                  </a:lnTo>
                  <a:lnTo>
                    <a:pt x="1002" y="114"/>
                  </a:lnTo>
                  <a:lnTo>
                    <a:pt x="1008" y="114"/>
                  </a:lnTo>
                  <a:lnTo>
                    <a:pt x="1008" y="108"/>
                  </a:lnTo>
                  <a:lnTo>
                    <a:pt x="1014" y="108"/>
                  </a:lnTo>
                  <a:lnTo>
                    <a:pt x="1008" y="114"/>
                  </a:lnTo>
                  <a:lnTo>
                    <a:pt x="1008" y="120"/>
                  </a:lnTo>
                  <a:lnTo>
                    <a:pt x="1008" y="126"/>
                  </a:lnTo>
                  <a:lnTo>
                    <a:pt x="1014" y="126"/>
                  </a:lnTo>
                  <a:lnTo>
                    <a:pt x="1014" y="132"/>
                  </a:lnTo>
                  <a:lnTo>
                    <a:pt x="1020" y="132"/>
                  </a:lnTo>
                  <a:lnTo>
                    <a:pt x="1020" y="126"/>
                  </a:lnTo>
                  <a:lnTo>
                    <a:pt x="1020" y="120"/>
                  </a:lnTo>
                  <a:lnTo>
                    <a:pt x="1032" y="120"/>
                  </a:lnTo>
                  <a:lnTo>
                    <a:pt x="1038" y="120"/>
                  </a:lnTo>
                  <a:lnTo>
                    <a:pt x="1038" y="126"/>
                  </a:lnTo>
                  <a:lnTo>
                    <a:pt x="1044" y="132"/>
                  </a:lnTo>
                  <a:lnTo>
                    <a:pt x="1044" y="126"/>
                  </a:lnTo>
                  <a:lnTo>
                    <a:pt x="1050" y="120"/>
                  </a:lnTo>
                  <a:lnTo>
                    <a:pt x="1050" y="114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68" y="102"/>
                  </a:lnTo>
                  <a:lnTo>
                    <a:pt x="1074" y="96"/>
                  </a:lnTo>
                  <a:lnTo>
                    <a:pt x="1074" y="90"/>
                  </a:lnTo>
                  <a:lnTo>
                    <a:pt x="1068" y="90"/>
                  </a:lnTo>
                  <a:lnTo>
                    <a:pt x="1068" y="84"/>
                  </a:lnTo>
                  <a:lnTo>
                    <a:pt x="1080" y="84"/>
                  </a:lnTo>
                  <a:lnTo>
                    <a:pt x="1086" y="78"/>
                  </a:lnTo>
                  <a:lnTo>
                    <a:pt x="1086" y="72"/>
                  </a:lnTo>
                  <a:lnTo>
                    <a:pt x="1080" y="78"/>
                  </a:lnTo>
                  <a:lnTo>
                    <a:pt x="1080" y="72"/>
                  </a:lnTo>
                  <a:lnTo>
                    <a:pt x="1080" y="66"/>
                  </a:lnTo>
                  <a:lnTo>
                    <a:pt x="1074" y="66"/>
                  </a:lnTo>
                  <a:lnTo>
                    <a:pt x="1080" y="66"/>
                  </a:lnTo>
                  <a:lnTo>
                    <a:pt x="1080" y="60"/>
                  </a:lnTo>
                  <a:lnTo>
                    <a:pt x="1086" y="60"/>
                  </a:lnTo>
                  <a:lnTo>
                    <a:pt x="1086" y="54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2" y="42"/>
                  </a:lnTo>
                  <a:lnTo>
                    <a:pt x="1098" y="42"/>
                  </a:lnTo>
                  <a:lnTo>
                    <a:pt x="1104" y="36"/>
                  </a:lnTo>
                  <a:lnTo>
                    <a:pt x="1110" y="36"/>
                  </a:lnTo>
                  <a:lnTo>
                    <a:pt x="1110" y="30"/>
                  </a:lnTo>
                  <a:lnTo>
                    <a:pt x="1110" y="24"/>
                  </a:lnTo>
                  <a:lnTo>
                    <a:pt x="1116" y="24"/>
                  </a:lnTo>
                  <a:lnTo>
                    <a:pt x="1116" y="18"/>
                  </a:lnTo>
                  <a:lnTo>
                    <a:pt x="1122" y="18"/>
                  </a:lnTo>
                  <a:lnTo>
                    <a:pt x="1128" y="18"/>
                  </a:lnTo>
                  <a:lnTo>
                    <a:pt x="1134" y="12"/>
                  </a:lnTo>
                  <a:lnTo>
                    <a:pt x="1134" y="6"/>
                  </a:lnTo>
                  <a:lnTo>
                    <a:pt x="1140" y="6"/>
                  </a:lnTo>
                  <a:lnTo>
                    <a:pt x="1146" y="0"/>
                  </a:lnTo>
                  <a:lnTo>
                    <a:pt x="1152" y="0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70" y="0"/>
                  </a:lnTo>
                  <a:lnTo>
                    <a:pt x="1176" y="6"/>
                  </a:lnTo>
                  <a:lnTo>
                    <a:pt x="1182" y="6"/>
                  </a:lnTo>
                  <a:lnTo>
                    <a:pt x="1194" y="6"/>
                  </a:lnTo>
                  <a:lnTo>
                    <a:pt x="1200" y="6"/>
                  </a:lnTo>
                  <a:lnTo>
                    <a:pt x="1212" y="0"/>
                  </a:lnTo>
                  <a:lnTo>
                    <a:pt x="1212" y="6"/>
                  </a:lnTo>
                  <a:lnTo>
                    <a:pt x="1218" y="6"/>
                  </a:lnTo>
                  <a:lnTo>
                    <a:pt x="1266" y="6"/>
                  </a:lnTo>
                  <a:lnTo>
                    <a:pt x="1272" y="0"/>
                  </a:lnTo>
                  <a:lnTo>
                    <a:pt x="1278" y="6"/>
                  </a:lnTo>
                  <a:lnTo>
                    <a:pt x="1290" y="6"/>
                  </a:lnTo>
                  <a:lnTo>
                    <a:pt x="1296" y="6"/>
                  </a:lnTo>
                  <a:lnTo>
                    <a:pt x="1308" y="6"/>
                  </a:lnTo>
                  <a:lnTo>
                    <a:pt x="1314" y="6"/>
                  </a:lnTo>
                  <a:lnTo>
                    <a:pt x="1320" y="6"/>
                  </a:lnTo>
                  <a:lnTo>
                    <a:pt x="1326" y="12"/>
                  </a:lnTo>
                  <a:lnTo>
                    <a:pt x="1338" y="30"/>
                  </a:lnTo>
                  <a:lnTo>
                    <a:pt x="1344" y="36"/>
                  </a:lnTo>
                  <a:lnTo>
                    <a:pt x="1356" y="48"/>
                  </a:lnTo>
                  <a:lnTo>
                    <a:pt x="1362" y="60"/>
                  </a:lnTo>
                  <a:lnTo>
                    <a:pt x="1368" y="66"/>
                  </a:lnTo>
                  <a:lnTo>
                    <a:pt x="1374" y="72"/>
                  </a:lnTo>
                  <a:lnTo>
                    <a:pt x="1374" y="78"/>
                  </a:lnTo>
                  <a:lnTo>
                    <a:pt x="1398" y="108"/>
                  </a:lnTo>
                  <a:lnTo>
                    <a:pt x="1398" y="114"/>
                  </a:lnTo>
                  <a:lnTo>
                    <a:pt x="1404" y="114"/>
                  </a:lnTo>
                  <a:lnTo>
                    <a:pt x="1404" y="120"/>
                  </a:lnTo>
                  <a:lnTo>
                    <a:pt x="1410" y="132"/>
                  </a:lnTo>
                  <a:lnTo>
                    <a:pt x="1416" y="132"/>
                  </a:lnTo>
                  <a:lnTo>
                    <a:pt x="1416" y="138"/>
                  </a:lnTo>
                  <a:lnTo>
                    <a:pt x="1422" y="144"/>
                  </a:lnTo>
                  <a:lnTo>
                    <a:pt x="1428" y="150"/>
                  </a:lnTo>
                  <a:lnTo>
                    <a:pt x="1428" y="156"/>
                  </a:lnTo>
                  <a:lnTo>
                    <a:pt x="1458" y="192"/>
                  </a:lnTo>
                  <a:lnTo>
                    <a:pt x="1458" y="198"/>
                  </a:lnTo>
                  <a:lnTo>
                    <a:pt x="1464" y="204"/>
                  </a:lnTo>
                  <a:lnTo>
                    <a:pt x="1470" y="210"/>
                  </a:lnTo>
                  <a:lnTo>
                    <a:pt x="1476" y="216"/>
                  </a:lnTo>
                  <a:lnTo>
                    <a:pt x="1482" y="228"/>
                  </a:lnTo>
                  <a:lnTo>
                    <a:pt x="1488" y="234"/>
                  </a:lnTo>
                  <a:lnTo>
                    <a:pt x="1512" y="270"/>
                  </a:lnTo>
                  <a:lnTo>
                    <a:pt x="1512" y="276"/>
                  </a:lnTo>
                  <a:lnTo>
                    <a:pt x="1530" y="300"/>
                  </a:lnTo>
                  <a:lnTo>
                    <a:pt x="1536" y="306"/>
                  </a:lnTo>
                  <a:lnTo>
                    <a:pt x="1542" y="312"/>
                  </a:lnTo>
                  <a:lnTo>
                    <a:pt x="1542" y="318"/>
                  </a:lnTo>
                  <a:lnTo>
                    <a:pt x="1560" y="336"/>
                  </a:lnTo>
                  <a:lnTo>
                    <a:pt x="1566" y="348"/>
                  </a:lnTo>
                  <a:lnTo>
                    <a:pt x="1572" y="354"/>
                  </a:lnTo>
                  <a:lnTo>
                    <a:pt x="1578" y="360"/>
                  </a:lnTo>
                  <a:lnTo>
                    <a:pt x="1584" y="378"/>
                  </a:lnTo>
                  <a:lnTo>
                    <a:pt x="1590" y="378"/>
                  </a:lnTo>
                  <a:lnTo>
                    <a:pt x="1596" y="390"/>
                  </a:lnTo>
                  <a:lnTo>
                    <a:pt x="1602" y="396"/>
                  </a:lnTo>
                  <a:lnTo>
                    <a:pt x="1608" y="408"/>
                  </a:lnTo>
                  <a:lnTo>
                    <a:pt x="1614" y="408"/>
                  </a:lnTo>
                  <a:lnTo>
                    <a:pt x="1614" y="432"/>
                  </a:lnTo>
                  <a:lnTo>
                    <a:pt x="1620" y="438"/>
                  </a:lnTo>
                  <a:lnTo>
                    <a:pt x="1620" y="450"/>
                  </a:lnTo>
                  <a:lnTo>
                    <a:pt x="1620" y="462"/>
                  </a:lnTo>
                  <a:lnTo>
                    <a:pt x="1626" y="474"/>
                  </a:lnTo>
                  <a:lnTo>
                    <a:pt x="1626" y="480"/>
                  </a:lnTo>
                  <a:lnTo>
                    <a:pt x="1626" y="486"/>
                  </a:lnTo>
                  <a:lnTo>
                    <a:pt x="1632" y="522"/>
                  </a:lnTo>
                  <a:lnTo>
                    <a:pt x="1632" y="528"/>
                  </a:lnTo>
                  <a:lnTo>
                    <a:pt x="1632" y="534"/>
                  </a:lnTo>
                  <a:lnTo>
                    <a:pt x="1638" y="540"/>
                  </a:lnTo>
                  <a:lnTo>
                    <a:pt x="1638" y="558"/>
                  </a:lnTo>
                  <a:lnTo>
                    <a:pt x="1638" y="570"/>
                  </a:lnTo>
                  <a:lnTo>
                    <a:pt x="1644" y="582"/>
                  </a:lnTo>
                  <a:lnTo>
                    <a:pt x="1650" y="618"/>
                  </a:lnTo>
                  <a:lnTo>
                    <a:pt x="1650" y="624"/>
                  </a:lnTo>
                  <a:lnTo>
                    <a:pt x="1650" y="636"/>
                  </a:lnTo>
                  <a:lnTo>
                    <a:pt x="1656" y="642"/>
                  </a:lnTo>
                  <a:lnTo>
                    <a:pt x="1656" y="648"/>
                  </a:lnTo>
                  <a:lnTo>
                    <a:pt x="1656" y="654"/>
                  </a:lnTo>
                  <a:lnTo>
                    <a:pt x="1656" y="660"/>
                  </a:lnTo>
                  <a:lnTo>
                    <a:pt x="1662" y="696"/>
                  </a:lnTo>
                  <a:lnTo>
                    <a:pt x="1668" y="708"/>
                  </a:lnTo>
                  <a:lnTo>
                    <a:pt x="1668" y="714"/>
                  </a:lnTo>
                  <a:lnTo>
                    <a:pt x="1668" y="732"/>
                  </a:lnTo>
                  <a:lnTo>
                    <a:pt x="1668" y="744"/>
                  </a:lnTo>
                  <a:lnTo>
                    <a:pt x="1674" y="756"/>
                  </a:lnTo>
                  <a:lnTo>
                    <a:pt x="1680" y="762"/>
                  </a:lnTo>
                  <a:lnTo>
                    <a:pt x="1680" y="768"/>
                  </a:lnTo>
                  <a:lnTo>
                    <a:pt x="1680" y="774"/>
                  </a:lnTo>
                  <a:lnTo>
                    <a:pt x="1680" y="780"/>
                  </a:lnTo>
                  <a:lnTo>
                    <a:pt x="1674" y="786"/>
                  </a:lnTo>
                  <a:lnTo>
                    <a:pt x="1668" y="792"/>
                  </a:lnTo>
                  <a:lnTo>
                    <a:pt x="1668" y="798"/>
                  </a:lnTo>
                  <a:lnTo>
                    <a:pt x="1668" y="804"/>
                  </a:lnTo>
                  <a:lnTo>
                    <a:pt x="1674" y="804"/>
                  </a:lnTo>
                  <a:lnTo>
                    <a:pt x="1668" y="810"/>
                  </a:lnTo>
                  <a:lnTo>
                    <a:pt x="1674" y="810"/>
                  </a:lnTo>
                  <a:lnTo>
                    <a:pt x="1680" y="810"/>
                  </a:lnTo>
                  <a:lnTo>
                    <a:pt x="1680" y="816"/>
                  </a:lnTo>
                  <a:lnTo>
                    <a:pt x="1680" y="822"/>
                  </a:lnTo>
                  <a:lnTo>
                    <a:pt x="1674" y="822"/>
                  </a:lnTo>
                  <a:lnTo>
                    <a:pt x="1674" y="828"/>
                  </a:lnTo>
                  <a:lnTo>
                    <a:pt x="1668" y="828"/>
                  </a:lnTo>
                  <a:lnTo>
                    <a:pt x="1674" y="834"/>
                  </a:lnTo>
                  <a:lnTo>
                    <a:pt x="1668" y="834"/>
                  </a:lnTo>
                  <a:lnTo>
                    <a:pt x="1668" y="840"/>
                  </a:lnTo>
                  <a:lnTo>
                    <a:pt x="1674" y="840"/>
                  </a:lnTo>
                  <a:lnTo>
                    <a:pt x="1686" y="852"/>
                  </a:lnTo>
                  <a:lnTo>
                    <a:pt x="1692" y="858"/>
                  </a:lnTo>
                  <a:lnTo>
                    <a:pt x="1698" y="858"/>
                  </a:lnTo>
                  <a:lnTo>
                    <a:pt x="1698" y="864"/>
                  </a:lnTo>
                  <a:lnTo>
                    <a:pt x="1698" y="870"/>
                  </a:lnTo>
                  <a:lnTo>
                    <a:pt x="1704" y="864"/>
                  </a:lnTo>
                  <a:lnTo>
                    <a:pt x="1716" y="864"/>
                  </a:lnTo>
                  <a:lnTo>
                    <a:pt x="1722" y="864"/>
                  </a:lnTo>
                  <a:lnTo>
                    <a:pt x="1728" y="864"/>
                  </a:lnTo>
                  <a:lnTo>
                    <a:pt x="1734" y="864"/>
                  </a:lnTo>
                  <a:lnTo>
                    <a:pt x="1740" y="864"/>
                  </a:lnTo>
                  <a:lnTo>
                    <a:pt x="1746" y="876"/>
                  </a:lnTo>
                  <a:lnTo>
                    <a:pt x="1746" y="870"/>
                  </a:lnTo>
                  <a:lnTo>
                    <a:pt x="1740" y="864"/>
                  </a:lnTo>
                  <a:lnTo>
                    <a:pt x="1746" y="864"/>
                  </a:lnTo>
                  <a:lnTo>
                    <a:pt x="1752" y="870"/>
                  </a:lnTo>
                  <a:lnTo>
                    <a:pt x="1758" y="864"/>
                  </a:lnTo>
                  <a:lnTo>
                    <a:pt x="1764" y="864"/>
                  </a:lnTo>
                  <a:lnTo>
                    <a:pt x="1770" y="858"/>
                  </a:lnTo>
                  <a:lnTo>
                    <a:pt x="1782" y="864"/>
                  </a:lnTo>
                  <a:lnTo>
                    <a:pt x="1782" y="870"/>
                  </a:lnTo>
                  <a:lnTo>
                    <a:pt x="1788" y="864"/>
                  </a:lnTo>
                  <a:lnTo>
                    <a:pt x="1794" y="864"/>
                  </a:lnTo>
                  <a:lnTo>
                    <a:pt x="1800" y="870"/>
                  </a:lnTo>
                  <a:lnTo>
                    <a:pt x="1818" y="864"/>
                  </a:lnTo>
                  <a:lnTo>
                    <a:pt x="1824" y="870"/>
                  </a:lnTo>
                  <a:lnTo>
                    <a:pt x="1830" y="864"/>
                  </a:lnTo>
                  <a:lnTo>
                    <a:pt x="1836" y="864"/>
                  </a:lnTo>
                  <a:lnTo>
                    <a:pt x="1842" y="870"/>
                  </a:lnTo>
                  <a:lnTo>
                    <a:pt x="1842" y="876"/>
                  </a:lnTo>
                  <a:lnTo>
                    <a:pt x="1848" y="876"/>
                  </a:lnTo>
                  <a:lnTo>
                    <a:pt x="1848" y="870"/>
                  </a:lnTo>
                  <a:lnTo>
                    <a:pt x="1854" y="870"/>
                  </a:lnTo>
                  <a:lnTo>
                    <a:pt x="1860" y="870"/>
                  </a:lnTo>
                  <a:lnTo>
                    <a:pt x="1860" y="876"/>
                  </a:lnTo>
                  <a:lnTo>
                    <a:pt x="1866" y="876"/>
                  </a:lnTo>
                  <a:lnTo>
                    <a:pt x="1866" y="882"/>
                  </a:lnTo>
                  <a:lnTo>
                    <a:pt x="1872" y="882"/>
                  </a:lnTo>
                  <a:lnTo>
                    <a:pt x="1878" y="888"/>
                  </a:lnTo>
                  <a:lnTo>
                    <a:pt x="1890" y="888"/>
                  </a:lnTo>
                  <a:lnTo>
                    <a:pt x="1890" y="894"/>
                  </a:lnTo>
                  <a:lnTo>
                    <a:pt x="1890" y="900"/>
                  </a:lnTo>
                  <a:lnTo>
                    <a:pt x="1884" y="900"/>
                  </a:lnTo>
                  <a:lnTo>
                    <a:pt x="1884" y="906"/>
                  </a:lnTo>
                  <a:lnTo>
                    <a:pt x="1884" y="912"/>
                  </a:lnTo>
                  <a:lnTo>
                    <a:pt x="1890" y="912"/>
                  </a:lnTo>
                  <a:lnTo>
                    <a:pt x="1896" y="912"/>
                  </a:lnTo>
                  <a:lnTo>
                    <a:pt x="1902" y="912"/>
                  </a:lnTo>
                  <a:lnTo>
                    <a:pt x="1908" y="918"/>
                  </a:lnTo>
                  <a:lnTo>
                    <a:pt x="1908" y="924"/>
                  </a:lnTo>
                  <a:lnTo>
                    <a:pt x="1908" y="930"/>
                  </a:lnTo>
                  <a:lnTo>
                    <a:pt x="1908" y="936"/>
                  </a:lnTo>
                  <a:lnTo>
                    <a:pt x="1914" y="936"/>
                  </a:lnTo>
                  <a:lnTo>
                    <a:pt x="1914" y="942"/>
                  </a:lnTo>
                  <a:lnTo>
                    <a:pt x="1908" y="948"/>
                  </a:lnTo>
                  <a:lnTo>
                    <a:pt x="1914" y="948"/>
                  </a:lnTo>
                  <a:lnTo>
                    <a:pt x="1920" y="954"/>
                  </a:lnTo>
                  <a:lnTo>
                    <a:pt x="1926" y="954"/>
                  </a:lnTo>
                  <a:lnTo>
                    <a:pt x="1932" y="954"/>
                  </a:lnTo>
                  <a:lnTo>
                    <a:pt x="1938" y="954"/>
                  </a:lnTo>
                  <a:lnTo>
                    <a:pt x="1938" y="960"/>
                  </a:lnTo>
                  <a:lnTo>
                    <a:pt x="1944" y="966"/>
                  </a:lnTo>
                  <a:lnTo>
                    <a:pt x="1944" y="972"/>
                  </a:lnTo>
                  <a:lnTo>
                    <a:pt x="1944" y="978"/>
                  </a:lnTo>
                  <a:lnTo>
                    <a:pt x="1950" y="978"/>
                  </a:lnTo>
                  <a:lnTo>
                    <a:pt x="1950" y="984"/>
                  </a:lnTo>
                  <a:lnTo>
                    <a:pt x="1956" y="984"/>
                  </a:lnTo>
                  <a:lnTo>
                    <a:pt x="1962" y="984"/>
                  </a:lnTo>
                  <a:lnTo>
                    <a:pt x="1962" y="978"/>
                  </a:lnTo>
                  <a:lnTo>
                    <a:pt x="1968" y="978"/>
                  </a:lnTo>
                  <a:lnTo>
                    <a:pt x="1974" y="978"/>
                  </a:lnTo>
                  <a:lnTo>
                    <a:pt x="1980" y="972"/>
                  </a:lnTo>
                  <a:lnTo>
                    <a:pt x="1980" y="978"/>
                  </a:lnTo>
                  <a:lnTo>
                    <a:pt x="1980" y="984"/>
                  </a:lnTo>
                  <a:lnTo>
                    <a:pt x="1986" y="984"/>
                  </a:lnTo>
                  <a:lnTo>
                    <a:pt x="1992" y="990"/>
                  </a:lnTo>
                  <a:lnTo>
                    <a:pt x="1992" y="996"/>
                  </a:lnTo>
                  <a:lnTo>
                    <a:pt x="1992" y="1002"/>
                  </a:lnTo>
                  <a:lnTo>
                    <a:pt x="1974" y="1008"/>
                  </a:lnTo>
                  <a:lnTo>
                    <a:pt x="1974" y="1014"/>
                  </a:lnTo>
                  <a:lnTo>
                    <a:pt x="1974" y="1020"/>
                  </a:lnTo>
                  <a:lnTo>
                    <a:pt x="1974" y="1026"/>
                  </a:lnTo>
                  <a:lnTo>
                    <a:pt x="1968" y="1038"/>
                  </a:lnTo>
                  <a:lnTo>
                    <a:pt x="1968" y="1044"/>
                  </a:lnTo>
                  <a:lnTo>
                    <a:pt x="1974" y="1056"/>
                  </a:lnTo>
                  <a:lnTo>
                    <a:pt x="1968" y="1062"/>
                  </a:lnTo>
                  <a:lnTo>
                    <a:pt x="1962" y="1062"/>
                  </a:lnTo>
                  <a:lnTo>
                    <a:pt x="1956" y="1068"/>
                  </a:lnTo>
                  <a:lnTo>
                    <a:pt x="1956" y="1074"/>
                  </a:lnTo>
                  <a:lnTo>
                    <a:pt x="1956" y="1080"/>
                  </a:lnTo>
                  <a:lnTo>
                    <a:pt x="1956" y="1086"/>
                  </a:lnTo>
                  <a:lnTo>
                    <a:pt x="1956" y="1092"/>
                  </a:lnTo>
                  <a:lnTo>
                    <a:pt x="1962" y="1092"/>
                  </a:lnTo>
                  <a:lnTo>
                    <a:pt x="1962" y="1104"/>
                  </a:lnTo>
                  <a:lnTo>
                    <a:pt x="1968" y="1110"/>
                  </a:lnTo>
                  <a:lnTo>
                    <a:pt x="1968" y="1116"/>
                  </a:lnTo>
                  <a:lnTo>
                    <a:pt x="1974" y="1116"/>
                  </a:lnTo>
                  <a:lnTo>
                    <a:pt x="1974" y="1122"/>
                  </a:lnTo>
                  <a:lnTo>
                    <a:pt x="1980" y="1122"/>
                  </a:lnTo>
                  <a:lnTo>
                    <a:pt x="1974" y="1128"/>
                  </a:lnTo>
                  <a:lnTo>
                    <a:pt x="1968" y="1134"/>
                  </a:lnTo>
                  <a:lnTo>
                    <a:pt x="1962" y="1140"/>
                  </a:lnTo>
                  <a:lnTo>
                    <a:pt x="1962" y="1146"/>
                  </a:lnTo>
                  <a:lnTo>
                    <a:pt x="1968" y="1152"/>
                  </a:lnTo>
                  <a:lnTo>
                    <a:pt x="1968" y="1158"/>
                  </a:lnTo>
                  <a:lnTo>
                    <a:pt x="1962" y="1158"/>
                  </a:lnTo>
                  <a:lnTo>
                    <a:pt x="1962" y="1164"/>
                  </a:lnTo>
                  <a:lnTo>
                    <a:pt x="1956" y="1164"/>
                  </a:lnTo>
                  <a:lnTo>
                    <a:pt x="1956" y="1170"/>
                  </a:lnTo>
                  <a:lnTo>
                    <a:pt x="1944" y="1182"/>
                  </a:lnTo>
                  <a:lnTo>
                    <a:pt x="1944" y="1188"/>
                  </a:lnTo>
                  <a:lnTo>
                    <a:pt x="1950" y="1188"/>
                  </a:lnTo>
                  <a:lnTo>
                    <a:pt x="1944" y="1200"/>
                  </a:lnTo>
                  <a:lnTo>
                    <a:pt x="1944" y="1206"/>
                  </a:lnTo>
                  <a:lnTo>
                    <a:pt x="1944" y="1212"/>
                  </a:lnTo>
                  <a:lnTo>
                    <a:pt x="1944" y="1218"/>
                  </a:lnTo>
                  <a:lnTo>
                    <a:pt x="1944" y="1230"/>
                  </a:lnTo>
                  <a:lnTo>
                    <a:pt x="1944" y="1236"/>
                  </a:lnTo>
                  <a:lnTo>
                    <a:pt x="1944" y="1242"/>
                  </a:lnTo>
                  <a:lnTo>
                    <a:pt x="1938" y="1248"/>
                  </a:lnTo>
                  <a:lnTo>
                    <a:pt x="1938" y="1254"/>
                  </a:lnTo>
                  <a:lnTo>
                    <a:pt x="1932" y="1254"/>
                  </a:lnTo>
                  <a:lnTo>
                    <a:pt x="1926" y="1260"/>
                  </a:lnTo>
                  <a:lnTo>
                    <a:pt x="1920" y="1266"/>
                  </a:lnTo>
                  <a:lnTo>
                    <a:pt x="1914" y="1272"/>
                  </a:lnTo>
                  <a:lnTo>
                    <a:pt x="1908" y="1272"/>
                  </a:lnTo>
                  <a:lnTo>
                    <a:pt x="1908" y="1278"/>
                  </a:lnTo>
                  <a:lnTo>
                    <a:pt x="1914" y="1278"/>
                  </a:lnTo>
                  <a:lnTo>
                    <a:pt x="1914" y="1290"/>
                  </a:lnTo>
                  <a:lnTo>
                    <a:pt x="1920" y="1296"/>
                  </a:lnTo>
                  <a:lnTo>
                    <a:pt x="1938" y="1302"/>
                  </a:lnTo>
                  <a:lnTo>
                    <a:pt x="1944" y="1308"/>
                  </a:lnTo>
                  <a:lnTo>
                    <a:pt x="1950" y="1314"/>
                  </a:lnTo>
                  <a:lnTo>
                    <a:pt x="1956" y="1314"/>
                  </a:lnTo>
                  <a:lnTo>
                    <a:pt x="1962" y="1320"/>
                  </a:lnTo>
                  <a:lnTo>
                    <a:pt x="1962" y="1326"/>
                  </a:lnTo>
                  <a:lnTo>
                    <a:pt x="1968" y="1326"/>
                  </a:lnTo>
                  <a:lnTo>
                    <a:pt x="1968" y="1332"/>
                  </a:lnTo>
                  <a:lnTo>
                    <a:pt x="1968" y="1344"/>
                  </a:lnTo>
                  <a:lnTo>
                    <a:pt x="1968" y="1350"/>
                  </a:lnTo>
                  <a:lnTo>
                    <a:pt x="1968" y="1368"/>
                  </a:lnTo>
                  <a:lnTo>
                    <a:pt x="1962" y="1380"/>
                  </a:lnTo>
                  <a:lnTo>
                    <a:pt x="1968" y="1392"/>
                  </a:lnTo>
                  <a:lnTo>
                    <a:pt x="1962" y="1398"/>
                  </a:lnTo>
                  <a:lnTo>
                    <a:pt x="1956" y="1404"/>
                  </a:lnTo>
                  <a:lnTo>
                    <a:pt x="1950" y="1410"/>
                  </a:lnTo>
                  <a:lnTo>
                    <a:pt x="1944" y="1410"/>
                  </a:lnTo>
                  <a:lnTo>
                    <a:pt x="1932" y="1416"/>
                  </a:lnTo>
                  <a:lnTo>
                    <a:pt x="1926" y="1416"/>
                  </a:lnTo>
                  <a:lnTo>
                    <a:pt x="1896" y="1428"/>
                  </a:lnTo>
                  <a:lnTo>
                    <a:pt x="1884" y="1434"/>
                  </a:lnTo>
                  <a:lnTo>
                    <a:pt x="1878" y="1434"/>
                  </a:lnTo>
                  <a:lnTo>
                    <a:pt x="1866" y="1434"/>
                  </a:lnTo>
                  <a:lnTo>
                    <a:pt x="1854" y="1440"/>
                  </a:lnTo>
                  <a:lnTo>
                    <a:pt x="1848" y="1440"/>
                  </a:lnTo>
                  <a:lnTo>
                    <a:pt x="1842" y="1446"/>
                  </a:lnTo>
                  <a:lnTo>
                    <a:pt x="1842" y="1458"/>
                  </a:lnTo>
                  <a:lnTo>
                    <a:pt x="1836" y="1470"/>
                  </a:lnTo>
                  <a:lnTo>
                    <a:pt x="1830" y="1476"/>
                  </a:lnTo>
                  <a:lnTo>
                    <a:pt x="1824" y="1476"/>
                  </a:lnTo>
                  <a:lnTo>
                    <a:pt x="1806" y="1482"/>
                  </a:lnTo>
                  <a:lnTo>
                    <a:pt x="1800" y="1488"/>
                  </a:lnTo>
                  <a:lnTo>
                    <a:pt x="1794" y="1488"/>
                  </a:lnTo>
                  <a:lnTo>
                    <a:pt x="1788" y="1488"/>
                  </a:lnTo>
                  <a:lnTo>
                    <a:pt x="1776" y="1494"/>
                  </a:lnTo>
                  <a:lnTo>
                    <a:pt x="1764" y="1494"/>
                  </a:lnTo>
                  <a:lnTo>
                    <a:pt x="1758" y="1500"/>
                  </a:lnTo>
                  <a:lnTo>
                    <a:pt x="1746" y="1506"/>
                  </a:lnTo>
                  <a:lnTo>
                    <a:pt x="1728" y="1518"/>
                  </a:lnTo>
                  <a:lnTo>
                    <a:pt x="1716" y="1524"/>
                  </a:lnTo>
                  <a:lnTo>
                    <a:pt x="1710" y="1530"/>
                  </a:lnTo>
                  <a:lnTo>
                    <a:pt x="1704" y="1536"/>
                  </a:lnTo>
                  <a:lnTo>
                    <a:pt x="1698" y="1542"/>
                  </a:lnTo>
                  <a:lnTo>
                    <a:pt x="1692" y="1554"/>
                  </a:lnTo>
                  <a:lnTo>
                    <a:pt x="1686" y="1560"/>
                  </a:lnTo>
                  <a:lnTo>
                    <a:pt x="1680" y="1560"/>
                  </a:lnTo>
                  <a:lnTo>
                    <a:pt x="1674" y="1560"/>
                  </a:lnTo>
                  <a:lnTo>
                    <a:pt x="1656" y="1572"/>
                  </a:lnTo>
                  <a:lnTo>
                    <a:pt x="1650" y="1572"/>
                  </a:lnTo>
                  <a:lnTo>
                    <a:pt x="1644" y="1572"/>
                  </a:lnTo>
                  <a:lnTo>
                    <a:pt x="1638" y="1578"/>
                  </a:lnTo>
                  <a:lnTo>
                    <a:pt x="1632" y="1578"/>
                  </a:lnTo>
                  <a:lnTo>
                    <a:pt x="1626" y="1578"/>
                  </a:lnTo>
                  <a:lnTo>
                    <a:pt x="1620" y="1572"/>
                  </a:lnTo>
                  <a:lnTo>
                    <a:pt x="1614" y="1572"/>
                  </a:lnTo>
                  <a:lnTo>
                    <a:pt x="1608" y="1566"/>
                  </a:lnTo>
                  <a:lnTo>
                    <a:pt x="1602" y="1560"/>
                  </a:lnTo>
                  <a:lnTo>
                    <a:pt x="1596" y="1554"/>
                  </a:lnTo>
                  <a:lnTo>
                    <a:pt x="1590" y="1548"/>
                  </a:lnTo>
                  <a:lnTo>
                    <a:pt x="1578" y="1548"/>
                  </a:lnTo>
                  <a:lnTo>
                    <a:pt x="1572" y="1548"/>
                  </a:lnTo>
                  <a:lnTo>
                    <a:pt x="1566" y="1548"/>
                  </a:lnTo>
                  <a:lnTo>
                    <a:pt x="1554" y="1536"/>
                  </a:lnTo>
                  <a:lnTo>
                    <a:pt x="1548" y="1536"/>
                  </a:lnTo>
                  <a:lnTo>
                    <a:pt x="1542" y="1542"/>
                  </a:lnTo>
                  <a:lnTo>
                    <a:pt x="1536" y="1548"/>
                  </a:lnTo>
                  <a:lnTo>
                    <a:pt x="1536" y="1566"/>
                  </a:lnTo>
                  <a:lnTo>
                    <a:pt x="1530" y="1572"/>
                  </a:lnTo>
                  <a:lnTo>
                    <a:pt x="1524" y="1578"/>
                  </a:lnTo>
                  <a:lnTo>
                    <a:pt x="1518" y="1584"/>
                  </a:lnTo>
                  <a:lnTo>
                    <a:pt x="1512" y="1596"/>
                  </a:lnTo>
                  <a:lnTo>
                    <a:pt x="1506" y="1602"/>
                  </a:lnTo>
                  <a:lnTo>
                    <a:pt x="1506" y="1608"/>
                  </a:lnTo>
                  <a:lnTo>
                    <a:pt x="1506" y="1614"/>
                  </a:lnTo>
                  <a:lnTo>
                    <a:pt x="1500" y="1614"/>
                  </a:lnTo>
                  <a:lnTo>
                    <a:pt x="1500" y="1620"/>
                  </a:lnTo>
                  <a:lnTo>
                    <a:pt x="1500" y="1626"/>
                  </a:lnTo>
                  <a:lnTo>
                    <a:pt x="1494" y="1632"/>
                  </a:lnTo>
                  <a:lnTo>
                    <a:pt x="1488" y="1638"/>
                  </a:lnTo>
                  <a:lnTo>
                    <a:pt x="1482" y="1638"/>
                  </a:lnTo>
                  <a:lnTo>
                    <a:pt x="1482" y="1644"/>
                  </a:lnTo>
                  <a:lnTo>
                    <a:pt x="1482" y="1650"/>
                  </a:lnTo>
                  <a:lnTo>
                    <a:pt x="1482" y="1656"/>
                  </a:lnTo>
                  <a:lnTo>
                    <a:pt x="1476" y="1662"/>
                  </a:lnTo>
                  <a:lnTo>
                    <a:pt x="1470" y="1668"/>
                  </a:lnTo>
                  <a:lnTo>
                    <a:pt x="1464" y="1674"/>
                  </a:lnTo>
                  <a:lnTo>
                    <a:pt x="1464" y="1680"/>
                  </a:lnTo>
                  <a:lnTo>
                    <a:pt x="1458" y="1680"/>
                  </a:lnTo>
                  <a:lnTo>
                    <a:pt x="1452" y="1686"/>
                  </a:lnTo>
                  <a:lnTo>
                    <a:pt x="1446" y="1686"/>
                  </a:lnTo>
                  <a:lnTo>
                    <a:pt x="1440" y="1698"/>
                  </a:lnTo>
                  <a:lnTo>
                    <a:pt x="1440" y="1704"/>
                  </a:lnTo>
                  <a:lnTo>
                    <a:pt x="1434" y="1710"/>
                  </a:lnTo>
                  <a:lnTo>
                    <a:pt x="1434" y="1716"/>
                  </a:lnTo>
                  <a:lnTo>
                    <a:pt x="1428" y="1716"/>
                  </a:lnTo>
                  <a:lnTo>
                    <a:pt x="1428" y="1722"/>
                  </a:lnTo>
                  <a:lnTo>
                    <a:pt x="1428" y="1728"/>
                  </a:lnTo>
                  <a:lnTo>
                    <a:pt x="1422" y="1728"/>
                  </a:lnTo>
                  <a:lnTo>
                    <a:pt x="1422" y="1734"/>
                  </a:lnTo>
                  <a:lnTo>
                    <a:pt x="1416" y="1734"/>
                  </a:lnTo>
                  <a:lnTo>
                    <a:pt x="1410" y="1734"/>
                  </a:lnTo>
                  <a:lnTo>
                    <a:pt x="1392" y="1746"/>
                  </a:lnTo>
                  <a:lnTo>
                    <a:pt x="1386" y="1746"/>
                  </a:lnTo>
                  <a:lnTo>
                    <a:pt x="1368" y="1752"/>
                  </a:lnTo>
                  <a:lnTo>
                    <a:pt x="1362" y="1758"/>
                  </a:lnTo>
                  <a:lnTo>
                    <a:pt x="1362" y="1770"/>
                  </a:lnTo>
                  <a:lnTo>
                    <a:pt x="1356" y="178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</p:grpSp>
      <p:graphicFrame>
        <p:nvGraphicFramePr>
          <p:cNvPr id="357" name="Group 76">
            <a:extLst>
              <a:ext uri="{FF2B5EF4-FFF2-40B4-BE49-F238E27FC236}">
                <a16:creationId xmlns:a16="http://schemas.microsoft.com/office/drawing/2014/main" id="{57830D68-CF73-4A3E-9D36-141B03AADB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7803125"/>
              </p:ext>
            </p:extLst>
          </p:nvPr>
        </p:nvGraphicFramePr>
        <p:xfrm>
          <a:off x="541338" y="3402013"/>
          <a:ext cx="3735387" cy="1827306"/>
        </p:xfrm>
        <a:graphic>
          <a:graphicData uri="http://schemas.openxmlformats.org/drawingml/2006/table">
            <a:tbl>
              <a:tblPr/>
              <a:tblGrid>
                <a:gridCol w="1316931">
                  <a:extLst>
                    <a:ext uri="{9D8B030D-6E8A-4147-A177-3AD203B41FA5}">
                      <a16:colId xmlns:a16="http://schemas.microsoft.com/office/drawing/2014/main" val="2027704273"/>
                    </a:ext>
                  </a:extLst>
                </a:gridCol>
                <a:gridCol w="603796">
                  <a:extLst>
                    <a:ext uri="{9D8B030D-6E8A-4147-A177-3AD203B41FA5}">
                      <a16:colId xmlns:a16="http://schemas.microsoft.com/office/drawing/2014/main" val="3432768286"/>
                    </a:ext>
                  </a:extLst>
                </a:gridCol>
                <a:gridCol w="744015">
                  <a:extLst>
                    <a:ext uri="{9D8B030D-6E8A-4147-A177-3AD203B41FA5}">
                      <a16:colId xmlns:a16="http://schemas.microsoft.com/office/drawing/2014/main" val="3730294207"/>
                    </a:ext>
                  </a:extLst>
                </a:gridCol>
                <a:gridCol w="1070645">
                  <a:extLst>
                    <a:ext uri="{9D8B030D-6E8A-4147-A177-3AD203B41FA5}">
                      <a16:colId xmlns:a16="http://schemas.microsoft.com/office/drawing/2014/main" val="2258321117"/>
                    </a:ext>
                  </a:extLst>
                </a:gridCol>
              </a:tblGrid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apital</a:t>
                      </a:r>
                      <a:endParaRPr kumimoji="0" lang="en-SG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292929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SG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Kadun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703009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nd Are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42,481 km</a:t>
                      </a:r>
                      <a:r>
                        <a:rPr kumimoji="0" lang="en-US" altLang="en-US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6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603614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Population (2017E)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8,216,037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 of 37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505851"/>
                  </a:ext>
                </a:extLst>
              </a:tr>
              <a:tr h="203024">
                <a:tc row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Dem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0-14: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3,791,172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41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130093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5-64: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4,191,018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56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387564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65+: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    233,847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[3%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38801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bour force 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3,258,609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6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797882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limate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ropical savann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3942226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op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Shrubs and grasses, loamy, sandy and cla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32899"/>
                  </a:ext>
                </a:extLst>
              </a:tr>
            </a:tbl>
          </a:graphicData>
        </a:graphic>
      </p:graphicFrame>
      <p:pic>
        <p:nvPicPr>
          <p:cNvPr id="23609" name="Picture 13">
            <a:extLst>
              <a:ext uri="{FF2B5EF4-FFF2-40B4-BE49-F238E27FC236}">
                <a16:creationId xmlns:a16="http://schemas.microsoft.com/office/drawing/2014/main" id="{952964D5-F0ED-4CAE-B71C-DB4A723FA5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0" y="3006725"/>
            <a:ext cx="1116013" cy="155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9" name="TextBox 378">
            <a:extLst>
              <a:ext uri="{FF2B5EF4-FFF2-40B4-BE49-F238E27FC236}">
                <a16:creationId xmlns:a16="http://schemas.microsoft.com/office/drawing/2014/main" id="{1B3FD4BF-4685-4C74-821F-10048D6246BF}"/>
              </a:ext>
            </a:extLst>
          </p:cNvPr>
          <p:cNvSpPr txBox="1"/>
          <p:nvPr/>
        </p:nvSpPr>
        <p:spPr>
          <a:xfrm>
            <a:off x="6124575" y="957263"/>
            <a:ext cx="3475038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mpetitive Advantages</a:t>
            </a: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455FE7A1-ADE5-4F7B-A489-00196671A53E}"/>
              </a:ext>
            </a:extLst>
          </p:cNvPr>
          <p:cNvSpPr/>
          <p:nvPr/>
        </p:nvSpPr>
        <p:spPr>
          <a:xfrm>
            <a:off x="4267248" y="1187511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265bn/$86.9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EBB25788-D073-4A78-9D6C-DF3836CFFFBB}"/>
              </a:ext>
            </a:extLst>
          </p:cNvPr>
          <p:cNvSpPr txBox="1"/>
          <p:nvPr/>
        </p:nvSpPr>
        <p:spPr>
          <a:xfrm>
            <a:off x="4267200" y="955675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GR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6F07DF39-553B-44F0-8864-1F897C2BD79A}"/>
              </a:ext>
            </a:extLst>
          </p:cNvPr>
          <p:cNvSpPr/>
          <p:nvPr/>
        </p:nvSpPr>
        <p:spPr>
          <a:xfrm>
            <a:off x="4267252" y="1809750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216.6bn/$710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2508695A-2D2C-45A3-80FE-9C2CB18200C2}"/>
              </a:ext>
            </a:extLst>
          </p:cNvPr>
          <p:cNvSpPr txBox="1"/>
          <p:nvPr/>
        </p:nvSpPr>
        <p:spPr>
          <a:xfrm>
            <a:off x="4267200" y="1576388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Budget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8)</a:t>
            </a: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86A33ABE-3AE3-40A7-A6A6-1B757A6A9B0F}"/>
              </a:ext>
            </a:extLst>
          </p:cNvPr>
          <p:cNvSpPr/>
          <p:nvPr/>
        </p:nvSpPr>
        <p:spPr>
          <a:xfrm>
            <a:off x="4256076" y="2667155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1.9trn /$6.5bn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1E919764-A18B-4532-A533-A84A31D7FEFE}"/>
              </a:ext>
            </a:extLst>
          </p:cNvPr>
          <p:cNvSpPr txBox="1"/>
          <p:nvPr/>
        </p:nvSpPr>
        <p:spPr>
          <a:xfrm>
            <a:off x="4256088" y="2185988"/>
            <a:ext cx="1811337" cy="50641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Household </a:t>
            </a:r>
          </a:p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nsumption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96" name="Plaque 95">
            <a:extLst>
              <a:ext uri="{FF2B5EF4-FFF2-40B4-BE49-F238E27FC236}">
                <a16:creationId xmlns:a16="http://schemas.microsoft.com/office/drawing/2014/main" id="{E3BE1182-17B4-4194-8641-F1EA2CCBB757}"/>
              </a:ext>
            </a:extLst>
          </p:cNvPr>
          <p:cNvSpPr/>
          <p:nvPr/>
        </p:nvSpPr>
        <p:spPr>
          <a:xfrm>
            <a:off x="5583996" y="2805162"/>
            <a:ext cx="483429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0 of 36</a:t>
            </a:r>
          </a:p>
        </p:txBody>
      </p:sp>
      <p:sp>
        <p:nvSpPr>
          <p:cNvPr id="99" name="Plaque 98">
            <a:extLst>
              <a:ext uri="{FF2B5EF4-FFF2-40B4-BE49-F238E27FC236}">
                <a16:creationId xmlns:a16="http://schemas.microsoft.com/office/drawing/2014/main" id="{8620E393-1C52-4CE1-9888-20922FA6DFEA}"/>
              </a:ext>
            </a:extLst>
          </p:cNvPr>
          <p:cNvSpPr/>
          <p:nvPr/>
        </p:nvSpPr>
        <p:spPr>
          <a:xfrm>
            <a:off x="5638800" y="1951087"/>
            <a:ext cx="428625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1 of 36</a:t>
            </a:r>
          </a:p>
        </p:txBody>
      </p:sp>
      <p:sp>
        <p:nvSpPr>
          <p:cNvPr id="100" name="Plaque 99">
            <a:extLst>
              <a:ext uri="{FF2B5EF4-FFF2-40B4-BE49-F238E27FC236}">
                <a16:creationId xmlns:a16="http://schemas.microsoft.com/office/drawing/2014/main" id="{3BFA6D28-9A42-4459-8BF1-090CE1B45216}"/>
              </a:ext>
            </a:extLst>
          </p:cNvPr>
          <p:cNvSpPr/>
          <p:nvPr/>
        </p:nvSpPr>
        <p:spPr>
          <a:xfrm>
            <a:off x="5638800" y="1333500"/>
            <a:ext cx="430213" cy="1539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latin typeface="Calibri" panose="020F0502020204030204" pitchFamily="34" charset="0"/>
                <a:cs typeface="Calibri" panose="020F0502020204030204" pitchFamily="34" charset="0"/>
              </a:rPr>
              <a:t>6 of 36</a:t>
            </a:r>
          </a:p>
        </p:txBody>
      </p:sp>
      <p:sp>
        <p:nvSpPr>
          <p:cNvPr id="101" name="Pentagon 19">
            <a:extLst>
              <a:ext uri="{FF2B5EF4-FFF2-40B4-BE49-F238E27FC236}">
                <a16:creationId xmlns:a16="http://schemas.microsoft.com/office/drawing/2014/main" id="{CCD74FA4-19D0-4356-90C9-B3B49BCC3F54}"/>
              </a:ext>
            </a:extLst>
          </p:cNvPr>
          <p:cNvSpPr>
            <a:spLocks/>
          </p:cNvSpPr>
          <p:nvPr/>
        </p:nvSpPr>
        <p:spPr bwMode="auto">
          <a:xfrm>
            <a:off x="688340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5 of 37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12EE735-1E43-4799-A46A-5D0787F375CE}"/>
              </a:ext>
            </a:extLst>
          </p:cNvPr>
          <p:cNvSpPr/>
          <p:nvPr/>
        </p:nvSpPr>
        <p:spPr>
          <a:xfrm>
            <a:off x="6880225" y="5726113"/>
            <a:ext cx="642938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Starting a Business</a:t>
            </a:r>
          </a:p>
        </p:txBody>
      </p:sp>
      <p:pic>
        <p:nvPicPr>
          <p:cNvPr id="23622" name="Picture 3">
            <a:extLst>
              <a:ext uri="{FF2B5EF4-FFF2-40B4-BE49-F238E27FC236}">
                <a16:creationId xmlns:a16="http://schemas.microsoft.com/office/drawing/2014/main" id="{53FAD0C6-8FFE-437B-B7E4-F2A938D3BE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350" y="5249863"/>
            <a:ext cx="41910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23" name="Freeform 15">
            <a:extLst>
              <a:ext uri="{FF2B5EF4-FFF2-40B4-BE49-F238E27FC236}">
                <a16:creationId xmlns:a16="http://schemas.microsoft.com/office/drawing/2014/main" id="{183A3C8B-011E-4D99-9165-3FF03A2D3207}"/>
              </a:ext>
            </a:extLst>
          </p:cNvPr>
          <p:cNvSpPr>
            <a:spLocks noEditPoints="1"/>
          </p:cNvSpPr>
          <p:nvPr/>
        </p:nvSpPr>
        <p:spPr bwMode="auto">
          <a:xfrm>
            <a:off x="9093200" y="5257800"/>
            <a:ext cx="276225" cy="347663"/>
          </a:xfrm>
          <a:custGeom>
            <a:avLst/>
            <a:gdLst>
              <a:gd name="T0" fmla="*/ 2147483646 w 3556"/>
              <a:gd name="T1" fmla="*/ 2147483646 h 3950"/>
              <a:gd name="T2" fmla="*/ 2147483646 w 3556"/>
              <a:gd name="T3" fmla="*/ 2147483646 h 3950"/>
              <a:gd name="T4" fmla="*/ 2147483646 w 3556"/>
              <a:gd name="T5" fmla="*/ 2147483646 h 3950"/>
              <a:gd name="T6" fmla="*/ 2147483646 w 3556"/>
              <a:gd name="T7" fmla="*/ 2147483646 h 3950"/>
              <a:gd name="T8" fmla="*/ 2147483646 w 3556"/>
              <a:gd name="T9" fmla="*/ 2147483646 h 3950"/>
              <a:gd name="T10" fmla="*/ 2147483646 w 3556"/>
              <a:gd name="T11" fmla="*/ 2147483646 h 3950"/>
              <a:gd name="T12" fmla="*/ 2147483646 w 3556"/>
              <a:gd name="T13" fmla="*/ 2147483646 h 3950"/>
              <a:gd name="T14" fmla="*/ 2147483646 w 3556"/>
              <a:gd name="T15" fmla="*/ 2147483646 h 3950"/>
              <a:gd name="T16" fmla="*/ 2147483646 w 3556"/>
              <a:gd name="T17" fmla="*/ 2147483646 h 3950"/>
              <a:gd name="T18" fmla="*/ 2147483646 w 3556"/>
              <a:gd name="T19" fmla="*/ 2147483646 h 3950"/>
              <a:gd name="T20" fmla="*/ 2147483646 w 3556"/>
              <a:gd name="T21" fmla="*/ 2147483646 h 3950"/>
              <a:gd name="T22" fmla="*/ 0 w 3556"/>
              <a:gd name="T23" fmla="*/ 2147483646 h 3950"/>
              <a:gd name="T24" fmla="*/ 2147483646 w 3556"/>
              <a:gd name="T25" fmla="*/ 2147483646 h 3950"/>
              <a:gd name="T26" fmla="*/ 2147483646 w 3556"/>
              <a:gd name="T27" fmla="*/ 2147483646 h 3950"/>
              <a:gd name="T28" fmla="*/ 2147483646 w 3556"/>
              <a:gd name="T29" fmla="*/ 2147483646 h 3950"/>
              <a:gd name="T30" fmla="*/ 2147483646 w 3556"/>
              <a:gd name="T31" fmla="*/ 2147483646 h 3950"/>
              <a:gd name="T32" fmla="*/ 2147483646 w 3556"/>
              <a:gd name="T33" fmla="*/ 2147483646 h 3950"/>
              <a:gd name="T34" fmla="*/ 2147483646 w 3556"/>
              <a:gd name="T35" fmla="*/ 2147483646 h 3950"/>
              <a:gd name="T36" fmla="*/ 2147483646 w 3556"/>
              <a:gd name="T37" fmla="*/ 2147483646 h 3950"/>
              <a:gd name="T38" fmla="*/ 2147483646 w 3556"/>
              <a:gd name="T39" fmla="*/ 2147483646 h 3950"/>
              <a:gd name="T40" fmla="*/ 2147483646 w 3556"/>
              <a:gd name="T41" fmla="*/ 2147483646 h 3950"/>
              <a:gd name="T42" fmla="*/ 2147483646 w 3556"/>
              <a:gd name="T43" fmla="*/ 2147483646 h 3950"/>
              <a:gd name="T44" fmla="*/ 2147483646 w 3556"/>
              <a:gd name="T45" fmla="*/ 2147483646 h 3950"/>
              <a:gd name="T46" fmla="*/ 2147483646 w 3556"/>
              <a:gd name="T47" fmla="*/ 2147483646 h 3950"/>
              <a:gd name="T48" fmla="*/ 2147483646 w 3556"/>
              <a:gd name="T49" fmla="*/ 2147483646 h 3950"/>
              <a:gd name="T50" fmla="*/ 2147483646 w 3556"/>
              <a:gd name="T51" fmla="*/ 2147483646 h 3950"/>
              <a:gd name="T52" fmla="*/ 2147483646 w 3556"/>
              <a:gd name="T53" fmla="*/ 2147483646 h 3950"/>
              <a:gd name="T54" fmla="*/ 2147483646 w 3556"/>
              <a:gd name="T55" fmla="*/ 2147483646 h 3950"/>
              <a:gd name="T56" fmla="*/ 2147483646 w 3556"/>
              <a:gd name="T57" fmla="*/ 2147483646 h 3950"/>
              <a:gd name="T58" fmla="*/ 2147483646 w 3556"/>
              <a:gd name="T59" fmla="*/ 2147483646 h 3950"/>
              <a:gd name="T60" fmla="*/ 2147483646 w 3556"/>
              <a:gd name="T61" fmla="*/ 2147483646 h 3950"/>
              <a:gd name="T62" fmla="*/ 2147483646 w 3556"/>
              <a:gd name="T63" fmla="*/ 2147483646 h 3950"/>
              <a:gd name="T64" fmla="*/ 2147483646 w 3556"/>
              <a:gd name="T65" fmla="*/ 2147483646 h 3950"/>
              <a:gd name="T66" fmla="*/ 2147483646 w 3556"/>
              <a:gd name="T67" fmla="*/ 2147483646 h 3950"/>
              <a:gd name="T68" fmla="*/ 2147483646 w 3556"/>
              <a:gd name="T69" fmla="*/ 2147483646 h 3950"/>
              <a:gd name="T70" fmla="*/ 2147483646 w 3556"/>
              <a:gd name="T71" fmla="*/ 2147483646 h 3950"/>
              <a:gd name="T72" fmla="*/ 2147483646 w 3556"/>
              <a:gd name="T73" fmla="*/ 2147483646 h 3950"/>
              <a:gd name="T74" fmla="*/ 2147483646 w 3556"/>
              <a:gd name="T75" fmla="*/ 2147483646 h 3950"/>
              <a:gd name="T76" fmla="*/ 2147483646 w 3556"/>
              <a:gd name="T77" fmla="*/ 2147483646 h 3950"/>
              <a:gd name="T78" fmla="*/ 2147483646 w 3556"/>
              <a:gd name="T79" fmla="*/ 2147483646 h 3950"/>
              <a:gd name="T80" fmla="*/ 2147483646 w 3556"/>
              <a:gd name="T81" fmla="*/ 0 h 3950"/>
              <a:gd name="T82" fmla="*/ 2147483646 w 3556"/>
              <a:gd name="T83" fmla="*/ 2147483646 h 3950"/>
              <a:gd name="T84" fmla="*/ 2147483646 w 3556"/>
              <a:gd name="T85" fmla="*/ 2147483646 h 3950"/>
              <a:gd name="T86" fmla="*/ 2147483646 w 3556"/>
              <a:gd name="T87" fmla="*/ 2147483646 h 395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556"/>
              <a:gd name="T133" fmla="*/ 0 h 3950"/>
              <a:gd name="T134" fmla="*/ 3556 w 3556"/>
              <a:gd name="T135" fmla="*/ 3950 h 395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556" h="3950">
                <a:moveTo>
                  <a:pt x="909" y="3917"/>
                </a:moveTo>
                <a:cubicBezTo>
                  <a:pt x="824" y="3832"/>
                  <a:pt x="894" y="3725"/>
                  <a:pt x="1036" y="3725"/>
                </a:cubicBezTo>
                <a:cubicBezTo>
                  <a:pt x="1119" y="3725"/>
                  <a:pt x="1129" y="3717"/>
                  <a:pt x="1129" y="3645"/>
                </a:cubicBezTo>
                <a:cubicBezTo>
                  <a:pt x="1129" y="3472"/>
                  <a:pt x="1135" y="3471"/>
                  <a:pt x="2192" y="3471"/>
                </a:cubicBezTo>
                <a:cubicBezTo>
                  <a:pt x="3086" y="3471"/>
                  <a:pt x="3155" y="3475"/>
                  <a:pt x="3199" y="3523"/>
                </a:cubicBezTo>
                <a:cubicBezTo>
                  <a:pt x="3225" y="3551"/>
                  <a:pt x="3246" y="3608"/>
                  <a:pt x="3246" y="3648"/>
                </a:cubicBezTo>
                <a:cubicBezTo>
                  <a:pt x="3246" y="3712"/>
                  <a:pt x="3259" y="3723"/>
                  <a:pt x="3349" y="3730"/>
                </a:cubicBezTo>
                <a:cubicBezTo>
                  <a:pt x="3470" y="3741"/>
                  <a:pt x="3530" y="3811"/>
                  <a:pt x="3482" y="3887"/>
                </a:cubicBezTo>
                <a:cubicBezTo>
                  <a:pt x="3453" y="3933"/>
                  <a:pt x="3356" y="3937"/>
                  <a:pt x="2197" y="3944"/>
                </a:cubicBezTo>
                <a:cubicBezTo>
                  <a:pt x="1245" y="3950"/>
                  <a:pt x="935" y="3943"/>
                  <a:pt x="909" y="3917"/>
                </a:cubicBezTo>
                <a:close/>
                <a:moveTo>
                  <a:pt x="87" y="3370"/>
                </a:moveTo>
                <a:cubicBezTo>
                  <a:pt x="24" y="3317"/>
                  <a:pt x="0" y="3272"/>
                  <a:pt x="0" y="3209"/>
                </a:cubicBezTo>
                <a:cubicBezTo>
                  <a:pt x="0" y="3132"/>
                  <a:pt x="86" y="3035"/>
                  <a:pt x="705" y="2414"/>
                </a:cubicBezTo>
                <a:lnTo>
                  <a:pt x="1411" y="1706"/>
                </a:lnTo>
                <a:lnTo>
                  <a:pt x="1235" y="1530"/>
                </a:lnTo>
                <a:lnTo>
                  <a:pt x="1059" y="1355"/>
                </a:lnTo>
                <a:lnTo>
                  <a:pt x="1510" y="903"/>
                </a:lnTo>
                <a:lnTo>
                  <a:pt x="1960" y="452"/>
                </a:lnTo>
                <a:lnTo>
                  <a:pt x="2135" y="624"/>
                </a:lnTo>
                <a:cubicBezTo>
                  <a:pt x="2305" y="793"/>
                  <a:pt x="2310" y="796"/>
                  <a:pt x="2374" y="751"/>
                </a:cubicBezTo>
                <a:cubicBezTo>
                  <a:pt x="2469" y="685"/>
                  <a:pt x="2547" y="695"/>
                  <a:pt x="2633" y="785"/>
                </a:cubicBezTo>
                <a:cubicBezTo>
                  <a:pt x="2720" y="875"/>
                  <a:pt x="2731" y="974"/>
                  <a:pt x="2662" y="1050"/>
                </a:cubicBezTo>
                <a:cubicBezTo>
                  <a:pt x="2616" y="1100"/>
                  <a:pt x="2624" y="1112"/>
                  <a:pt x="2823" y="1313"/>
                </a:cubicBezTo>
                <a:lnTo>
                  <a:pt x="3033" y="1524"/>
                </a:lnTo>
                <a:lnTo>
                  <a:pt x="2582" y="1975"/>
                </a:lnTo>
                <a:lnTo>
                  <a:pt x="2132" y="2427"/>
                </a:lnTo>
                <a:lnTo>
                  <a:pt x="1933" y="2229"/>
                </a:lnTo>
                <a:cubicBezTo>
                  <a:pt x="1824" y="2121"/>
                  <a:pt x="1722" y="2032"/>
                  <a:pt x="1707" y="2032"/>
                </a:cubicBezTo>
                <a:cubicBezTo>
                  <a:pt x="1693" y="2032"/>
                  <a:pt x="1362" y="2349"/>
                  <a:pt x="973" y="2737"/>
                </a:cubicBezTo>
                <a:cubicBezTo>
                  <a:pt x="584" y="3125"/>
                  <a:pt x="245" y="3443"/>
                  <a:pt x="220" y="3443"/>
                </a:cubicBezTo>
                <a:cubicBezTo>
                  <a:pt x="194" y="3443"/>
                  <a:pt x="135" y="3410"/>
                  <a:pt x="87" y="3370"/>
                </a:cubicBezTo>
                <a:close/>
                <a:moveTo>
                  <a:pt x="2258" y="2887"/>
                </a:moveTo>
                <a:cubicBezTo>
                  <a:pt x="2196" y="2865"/>
                  <a:pt x="2145" y="2792"/>
                  <a:pt x="2145" y="2725"/>
                </a:cubicBezTo>
                <a:cubicBezTo>
                  <a:pt x="2145" y="2686"/>
                  <a:pt x="2337" y="2474"/>
                  <a:pt x="2703" y="2109"/>
                </a:cubicBezTo>
                <a:cubicBezTo>
                  <a:pt x="3289" y="1523"/>
                  <a:pt x="3346" y="1485"/>
                  <a:pt x="3453" y="1604"/>
                </a:cubicBezTo>
                <a:cubicBezTo>
                  <a:pt x="3556" y="1717"/>
                  <a:pt x="3522" y="1766"/>
                  <a:pt x="2956" y="2331"/>
                </a:cubicBezTo>
                <a:cubicBezTo>
                  <a:pt x="2657" y="2630"/>
                  <a:pt x="2388" y="2880"/>
                  <a:pt x="2357" y="2888"/>
                </a:cubicBezTo>
                <a:cubicBezTo>
                  <a:pt x="2326" y="2895"/>
                  <a:pt x="2281" y="2895"/>
                  <a:pt x="2258" y="2887"/>
                </a:cubicBezTo>
                <a:close/>
                <a:moveTo>
                  <a:pt x="637" y="1282"/>
                </a:moveTo>
                <a:cubicBezTo>
                  <a:pt x="528" y="1172"/>
                  <a:pt x="568" y="1113"/>
                  <a:pt x="1137" y="544"/>
                </a:cubicBezTo>
                <a:cubicBezTo>
                  <a:pt x="1607" y="74"/>
                  <a:pt x="1693" y="0"/>
                  <a:pt x="1767" y="0"/>
                </a:cubicBezTo>
                <a:cubicBezTo>
                  <a:pt x="1862" y="0"/>
                  <a:pt x="1947" y="73"/>
                  <a:pt x="1947" y="156"/>
                </a:cubicBezTo>
                <a:cubicBezTo>
                  <a:pt x="1947" y="186"/>
                  <a:pt x="1715" y="442"/>
                  <a:pt x="1391" y="767"/>
                </a:cubicBezTo>
                <a:cubicBezTo>
                  <a:pt x="808" y="1353"/>
                  <a:pt x="749" y="1393"/>
                  <a:pt x="637" y="12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4" name="Group 118">
            <a:extLst>
              <a:ext uri="{FF2B5EF4-FFF2-40B4-BE49-F238E27FC236}">
                <a16:creationId xmlns:a16="http://schemas.microsoft.com/office/drawing/2014/main" id="{FB3D6A90-C4FD-433A-A1C1-A4B3864804A5}"/>
              </a:ext>
            </a:extLst>
          </p:cNvPr>
          <p:cNvGrpSpPr/>
          <p:nvPr/>
        </p:nvGrpSpPr>
        <p:grpSpPr>
          <a:xfrm>
            <a:off x="8409631" y="5248358"/>
            <a:ext cx="346498" cy="347472"/>
            <a:chOff x="1468138" y="5997240"/>
            <a:chExt cx="283642" cy="307072"/>
          </a:xfrm>
          <a:solidFill>
            <a:schemeClr val="bg1"/>
          </a:solidFill>
        </p:grpSpPr>
        <p:sp>
          <p:nvSpPr>
            <p:cNvPr id="120" name="Freeform 16">
              <a:extLst>
                <a:ext uri="{FF2B5EF4-FFF2-40B4-BE49-F238E27FC236}">
                  <a16:creationId xmlns:a16="http://schemas.microsoft.com/office/drawing/2014/main" id="{D6134FC8-4249-4088-8AE8-003C8AAC7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6136" y="6255221"/>
              <a:ext cx="26428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1 w 349"/>
                <a:gd name="T25" fmla="*/ 226 h 350"/>
                <a:gd name="T26" fmla="*/ 225 w 349"/>
                <a:gd name="T27" fmla="*/ 213 h 350"/>
                <a:gd name="T28" fmla="*/ 234 w 349"/>
                <a:gd name="T29" fmla="*/ 194 h 350"/>
                <a:gd name="T30" fmla="*/ 237 w 349"/>
                <a:gd name="T31" fmla="*/ 175 h 350"/>
                <a:gd name="T32" fmla="*/ 235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5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4 w 349"/>
                <a:gd name="T47" fmla="*/ 3 h 350"/>
                <a:gd name="T48" fmla="*/ 234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8 w 349"/>
                <a:gd name="T55" fmla="*/ 63 h 350"/>
                <a:gd name="T56" fmla="*/ 325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5 w 349"/>
                <a:gd name="T65" fmla="*/ 210 h 350"/>
                <a:gd name="T66" fmla="*/ 335 w 349"/>
                <a:gd name="T67" fmla="*/ 243 h 350"/>
                <a:gd name="T68" fmla="*/ 319 w 349"/>
                <a:gd name="T69" fmla="*/ 273 h 350"/>
                <a:gd name="T70" fmla="*/ 297 w 349"/>
                <a:gd name="T71" fmla="*/ 299 h 350"/>
                <a:gd name="T72" fmla="*/ 272 w 349"/>
                <a:gd name="T73" fmla="*/ 319 h 350"/>
                <a:gd name="T74" fmla="*/ 242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39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29 w 349"/>
                <a:gd name="T89" fmla="*/ 273 h 350"/>
                <a:gd name="T90" fmla="*/ 14 w 349"/>
                <a:gd name="T91" fmla="*/ 243 h 350"/>
                <a:gd name="T92" fmla="*/ 3 w 349"/>
                <a:gd name="T93" fmla="*/ 210 h 350"/>
                <a:gd name="T94" fmla="*/ 0 w 349"/>
                <a:gd name="T95" fmla="*/ 175 h 350"/>
                <a:gd name="T96" fmla="*/ 3 w 349"/>
                <a:gd name="T97" fmla="*/ 140 h 350"/>
                <a:gd name="T98" fmla="*/ 14 w 349"/>
                <a:gd name="T99" fmla="*/ 107 h 350"/>
                <a:gd name="T100" fmla="*/ 29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39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1" y="226"/>
                  </a:lnTo>
                  <a:lnTo>
                    <a:pt x="225" y="213"/>
                  </a:lnTo>
                  <a:lnTo>
                    <a:pt x="234" y="194"/>
                  </a:lnTo>
                  <a:lnTo>
                    <a:pt x="237" y="175"/>
                  </a:lnTo>
                  <a:lnTo>
                    <a:pt x="235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5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4" y="3"/>
                  </a:lnTo>
                  <a:lnTo>
                    <a:pt x="234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8" y="63"/>
                  </a:lnTo>
                  <a:lnTo>
                    <a:pt x="325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5" y="210"/>
                  </a:lnTo>
                  <a:lnTo>
                    <a:pt x="335" y="243"/>
                  </a:lnTo>
                  <a:lnTo>
                    <a:pt x="319" y="273"/>
                  </a:lnTo>
                  <a:lnTo>
                    <a:pt x="297" y="299"/>
                  </a:lnTo>
                  <a:lnTo>
                    <a:pt x="272" y="319"/>
                  </a:lnTo>
                  <a:lnTo>
                    <a:pt x="242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39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29" y="273"/>
                  </a:lnTo>
                  <a:lnTo>
                    <a:pt x="14" y="243"/>
                  </a:lnTo>
                  <a:lnTo>
                    <a:pt x="3" y="210"/>
                  </a:lnTo>
                  <a:lnTo>
                    <a:pt x="0" y="175"/>
                  </a:lnTo>
                  <a:lnTo>
                    <a:pt x="3" y="140"/>
                  </a:lnTo>
                  <a:lnTo>
                    <a:pt x="14" y="107"/>
                  </a:lnTo>
                  <a:lnTo>
                    <a:pt x="29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39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1" name="Freeform 17">
              <a:extLst>
                <a:ext uri="{FF2B5EF4-FFF2-40B4-BE49-F238E27FC236}">
                  <a16:creationId xmlns:a16="http://schemas.microsoft.com/office/drawing/2014/main" id="{67A5F0B0-C078-4A85-9E32-409FF0B3D5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2133" y="6255221"/>
              <a:ext cx="26656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2 w 349"/>
                <a:gd name="T25" fmla="*/ 226 h 350"/>
                <a:gd name="T26" fmla="*/ 226 w 349"/>
                <a:gd name="T27" fmla="*/ 213 h 350"/>
                <a:gd name="T28" fmla="*/ 235 w 349"/>
                <a:gd name="T29" fmla="*/ 194 h 350"/>
                <a:gd name="T30" fmla="*/ 237 w 349"/>
                <a:gd name="T31" fmla="*/ 175 h 350"/>
                <a:gd name="T32" fmla="*/ 236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7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5 w 349"/>
                <a:gd name="T47" fmla="*/ 3 h 350"/>
                <a:gd name="T48" fmla="*/ 235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9 w 349"/>
                <a:gd name="T55" fmla="*/ 63 h 350"/>
                <a:gd name="T56" fmla="*/ 326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6 w 349"/>
                <a:gd name="T65" fmla="*/ 210 h 350"/>
                <a:gd name="T66" fmla="*/ 336 w 349"/>
                <a:gd name="T67" fmla="*/ 243 h 350"/>
                <a:gd name="T68" fmla="*/ 319 w 349"/>
                <a:gd name="T69" fmla="*/ 273 h 350"/>
                <a:gd name="T70" fmla="*/ 298 w 349"/>
                <a:gd name="T71" fmla="*/ 299 h 350"/>
                <a:gd name="T72" fmla="*/ 272 w 349"/>
                <a:gd name="T73" fmla="*/ 319 h 350"/>
                <a:gd name="T74" fmla="*/ 243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40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30 w 349"/>
                <a:gd name="T89" fmla="*/ 273 h 350"/>
                <a:gd name="T90" fmla="*/ 14 w 349"/>
                <a:gd name="T91" fmla="*/ 243 h 350"/>
                <a:gd name="T92" fmla="*/ 4 w 349"/>
                <a:gd name="T93" fmla="*/ 210 h 350"/>
                <a:gd name="T94" fmla="*/ 0 w 349"/>
                <a:gd name="T95" fmla="*/ 175 h 350"/>
                <a:gd name="T96" fmla="*/ 4 w 349"/>
                <a:gd name="T97" fmla="*/ 140 h 350"/>
                <a:gd name="T98" fmla="*/ 14 w 349"/>
                <a:gd name="T99" fmla="*/ 107 h 350"/>
                <a:gd name="T100" fmla="*/ 30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40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7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7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5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19" y="273"/>
                  </a:lnTo>
                  <a:lnTo>
                    <a:pt x="298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2" name="Freeform 18">
              <a:extLst>
                <a:ext uri="{FF2B5EF4-FFF2-40B4-BE49-F238E27FC236}">
                  <a16:creationId xmlns:a16="http://schemas.microsoft.com/office/drawing/2014/main" id="{BF1784DA-3E40-44FD-998D-DB1DD379C0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8357" y="6255221"/>
              <a:ext cx="26428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7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1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7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8 w 350"/>
                <a:gd name="T31" fmla="*/ 175 h 350"/>
                <a:gd name="T32" fmla="*/ 236 w 350"/>
                <a:gd name="T33" fmla="*/ 158 h 350"/>
                <a:gd name="T34" fmla="*/ 229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7 w 350"/>
                <a:gd name="T53" fmla="*/ 41 h 350"/>
                <a:gd name="T54" fmla="*/ 309 w 350"/>
                <a:gd name="T55" fmla="*/ 63 h 350"/>
                <a:gd name="T56" fmla="*/ 326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2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7 w 350"/>
                <a:gd name="T85" fmla="*/ 319 h 350"/>
                <a:gd name="T86" fmla="*/ 51 w 350"/>
                <a:gd name="T87" fmla="*/ 299 h 350"/>
                <a:gd name="T88" fmla="*/ 30 w 350"/>
                <a:gd name="T89" fmla="*/ 273 h 350"/>
                <a:gd name="T90" fmla="*/ 14 w 350"/>
                <a:gd name="T91" fmla="*/ 243 h 350"/>
                <a:gd name="T92" fmla="*/ 4 w 350"/>
                <a:gd name="T93" fmla="*/ 210 h 350"/>
                <a:gd name="T94" fmla="*/ 0 w 350"/>
                <a:gd name="T95" fmla="*/ 175 h 350"/>
                <a:gd name="T96" fmla="*/ 4 w 350"/>
                <a:gd name="T97" fmla="*/ 140 h 350"/>
                <a:gd name="T98" fmla="*/ 14 w 350"/>
                <a:gd name="T99" fmla="*/ 107 h 350"/>
                <a:gd name="T100" fmla="*/ 30 w 350"/>
                <a:gd name="T101" fmla="*/ 78 h 350"/>
                <a:gd name="T102" fmla="*/ 51 w 350"/>
                <a:gd name="T103" fmla="*/ 52 h 350"/>
                <a:gd name="T104" fmla="*/ 77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8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3" name="Freeform 19">
              <a:extLst>
                <a:ext uri="{FF2B5EF4-FFF2-40B4-BE49-F238E27FC236}">
                  <a16:creationId xmlns:a16="http://schemas.microsoft.com/office/drawing/2014/main" id="{FF26547B-24B3-4108-8095-A2794E966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4353" y="6255221"/>
              <a:ext cx="26656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8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3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8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9 w 350"/>
                <a:gd name="T31" fmla="*/ 175 h 350"/>
                <a:gd name="T32" fmla="*/ 236 w 350"/>
                <a:gd name="T33" fmla="*/ 158 h 350"/>
                <a:gd name="T34" fmla="*/ 231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8 w 350"/>
                <a:gd name="T53" fmla="*/ 41 h 350"/>
                <a:gd name="T54" fmla="*/ 309 w 350"/>
                <a:gd name="T55" fmla="*/ 63 h 350"/>
                <a:gd name="T56" fmla="*/ 327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3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8 w 350"/>
                <a:gd name="T85" fmla="*/ 319 h 350"/>
                <a:gd name="T86" fmla="*/ 53 w 350"/>
                <a:gd name="T87" fmla="*/ 299 h 350"/>
                <a:gd name="T88" fmla="*/ 31 w 350"/>
                <a:gd name="T89" fmla="*/ 273 h 350"/>
                <a:gd name="T90" fmla="*/ 15 w 350"/>
                <a:gd name="T91" fmla="*/ 243 h 350"/>
                <a:gd name="T92" fmla="*/ 5 w 350"/>
                <a:gd name="T93" fmla="*/ 210 h 350"/>
                <a:gd name="T94" fmla="*/ 0 w 350"/>
                <a:gd name="T95" fmla="*/ 175 h 350"/>
                <a:gd name="T96" fmla="*/ 5 w 350"/>
                <a:gd name="T97" fmla="*/ 140 h 350"/>
                <a:gd name="T98" fmla="*/ 15 w 350"/>
                <a:gd name="T99" fmla="*/ 107 h 350"/>
                <a:gd name="T100" fmla="*/ 31 w 350"/>
                <a:gd name="T101" fmla="*/ 78 h 350"/>
                <a:gd name="T102" fmla="*/ 53 w 350"/>
                <a:gd name="T103" fmla="*/ 52 h 350"/>
                <a:gd name="T104" fmla="*/ 78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8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3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8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9" y="175"/>
                  </a:lnTo>
                  <a:lnTo>
                    <a:pt x="236" y="158"/>
                  </a:lnTo>
                  <a:lnTo>
                    <a:pt x="231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8" y="41"/>
                  </a:lnTo>
                  <a:lnTo>
                    <a:pt x="309" y="63"/>
                  </a:lnTo>
                  <a:lnTo>
                    <a:pt x="327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3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8" y="319"/>
                  </a:lnTo>
                  <a:lnTo>
                    <a:pt x="53" y="299"/>
                  </a:lnTo>
                  <a:lnTo>
                    <a:pt x="31" y="273"/>
                  </a:lnTo>
                  <a:lnTo>
                    <a:pt x="15" y="243"/>
                  </a:lnTo>
                  <a:lnTo>
                    <a:pt x="5" y="210"/>
                  </a:lnTo>
                  <a:lnTo>
                    <a:pt x="0" y="175"/>
                  </a:lnTo>
                  <a:lnTo>
                    <a:pt x="5" y="140"/>
                  </a:lnTo>
                  <a:lnTo>
                    <a:pt x="15" y="107"/>
                  </a:lnTo>
                  <a:lnTo>
                    <a:pt x="31" y="78"/>
                  </a:lnTo>
                  <a:lnTo>
                    <a:pt x="53" y="52"/>
                  </a:lnTo>
                  <a:lnTo>
                    <a:pt x="78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4" name="Freeform 20">
              <a:extLst>
                <a:ext uri="{FF2B5EF4-FFF2-40B4-BE49-F238E27FC236}">
                  <a16:creationId xmlns:a16="http://schemas.microsoft.com/office/drawing/2014/main" id="{6F553FA1-4728-401A-8C20-F18E165CA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80832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2 h 111"/>
                <a:gd name="T10" fmla="*/ 168 w 171"/>
                <a:gd name="T11" fmla="*/ 37 h 111"/>
                <a:gd name="T12" fmla="*/ 171 w 171"/>
                <a:gd name="T13" fmla="*/ 55 h 111"/>
                <a:gd name="T14" fmla="*/ 168 w 171"/>
                <a:gd name="T15" fmla="*/ 72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8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8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2 h 111"/>
                <a:gd name="T34" fmla="*/ 0 w 171"/>
                <a:gd name="T35" fmla="*/ 55 h 111"/>
                <a:gd name="T36" fmla="*/ 2 w 171"/>
                <a:gd name="T37" fmla="*/ 37 h 111"/>
                <a:gd name="T38" fmla="*/ 10 w 171"/>
                <a:gd name="T39" fmla="*/ 22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2"/>
                  </a:lnTo>
                  <a:lnTo>
                    <a:pt x="168" y="37"/>
                  </a:lnTo>
                  <a:lnTo>
                    <a:pt x="171" y="55"/>
                  </a:lnTo>
                  <a:lnTo>
                    <a:pt x="168" y="72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8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8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2"/>
                  </a:lnTo>
                  <a:lnTo>
                    <a:pt x="0" y="55"/>
                  </a:lnTo>
                  <a:lnTo>
                    <a:pt x="2" y="37"/>
                  </a:lnTo>
                  <a:lnTo>
                    <a:pt x="10" y="22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5" name="Freeform 21">
              <a:extLst>
                <a:ext uri="{FF2B5EF4-FFF2-40B4-BE49-F238E27FC236}">
                  <a16:creationId xmlns:a16="http://schemas.microsoft.com/office/drawing/2014/main" id="{2A783787-5E9B-43C9-9BF4-073950C97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95860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3 h 111"/>
                <a:gd name="T10" fmla="*/ 168 w 171"/>
                <a:gd name="T11" fmla="*/ 38 h 111"/>
                <a:gd name="T12" fmla="*/ 171 w 171"/>
                <a:gd name="T13" fmla="*/ 55 h 111"/>
                <a:gd name="T14" fmla="*/ 168 w 171"/>
                <a:gd name="T15" fmla="*/ 74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9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9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4 h 111"/>
                <a:gd name="T34" fmla="*/ 0 w 171"/>
                <a:gd name="T35" fmla="*/ 55 h 111"/>
                <a:gd name="T36" fmla="*/ 2 w 171"/>
                <a:gd name="T37" fmla="*/ 38 h 111"/>
                <a:gd name="T38" fmla="*/ 10 w 171"/>
                <a:gd name="T39" fmla="*/ 23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3"/>
                  </a:lnTo>
                  <a:lnTo>
                    <a:pt x="168" y="38"/>
                  </a:lnTo>
                  <a:lnTo>
                    <a:pt x="171" y="55"/>
                  </a:lnTo>
                  <a:lnTo>
                    <a:pt x="168" y="74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9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9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4"/>
                  </a:lnTo>
                  <a:lnTo>
                    <a:pt x="0" y="55"/>
                  </a:lnTo>
                  <a:lnTo>
                    <a:pt x="2" y="38"/>
                  </a:lnTo>
                  <a:lnTo>
                    <a:pt x="10" y="23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6" name="Freeform 22">
              <a:extLst>
                <a:ext uri="{FF2B5EF4-FFF2-40B4-BE49-F238E27FC236}">
                  <a16:creationId xmlns:a16="http://schemas.microsoft.com/office/drawing/2014/main" id="{6465D05A-ED22-49B3-924E-6DFC4C8C8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8138" y="5997240"/>
              <a:ext cx="283642" cy="307072"/>
            </a:xfrm>
            <a:custGeom>
              <a:avLst/>
              <a:gdLst>
                <a:gd name="T0" fmla="*/ 185 w 3736"/>
                <a:gd name="T1" fmla="*/ 3069 h 3678"/>
                <a:gd name="T2" fmla="*/ 125 w 3736"/>
                <a:gd name="T3" fmla="*/ 3352 h 3678"/>
                <a:gd name="T4" fmla="*/ 325 w 3736"/>
                <a:gd name="T5" fmla="*/ 3554 h 3678"/>
                <a:gd name="T6" fmla="*/ 2002 w 3736"/>
                <a:gd name="T7" fmla="*/ 3518 h 3678"/>
                <a:gd name="T8" fmla="*/ 2140 w 3736"/>
                <a:gd name="T9" fmla="*/ 3266 h 3678"/>
                <a:gd name="T10" fmla="*/ 2002 w 3736"/>
                <a:gd name="T11" fmla="*/ 3013 h 3678"/>
                <a:gd name="T12" fmla="*/ 943 w 3736"/>
                <a:gd name="T13" fmla="*/ 2853 h 3678"/>
                <a:gd name="T14" fmla="*/ 2970 w 3736"/>
                <a:gd name="T15" fmla="*/ 2765 h 3678"/>
                <a:gd name="T16" fmla="*/ 3240 w 3736"/>
                <a:gd name="T17" fmla="*/ 2787 h 3678"/>
                <a:gd name="T18" fmla="*/ 3506 w 3736"/>
                <a:gd name="T19" fmla="*/ 2599 h 3678"/>
                <a:gd name="T20" fmla="*/ 302 w 3736"/>
                <a:gd name="T21" fmla="*/ 2099 h 3678"/>
                <a:gd name="T22" fmla="*/ 333 w 3736"/>
                <a:gd name="T23" fmla="*/ 2613 h 3678"/>
                <a:gd name="T24" fmla="*/ 3524 w 3736"/>
                <a:gd name="T25" fmla="*/ 1966 h 3678"/>
                <a:gd name="T26" fmla="*/ 3542 w 3736"/>
                <a:gd name="T27" fmla="*/ 2077 h 3678"/>
                <a:gd name="T28" fmla="*/ 3622 w 3736"/>
                <a:gd name="T29" fmla="*/ 1998 h 3678"/>
                <a:gd name="T30" fmla="*/ 893 w 3736"/>
                <a:gd name="T31" fmla="*/ 1458 h 3678"/>
                <a:gd name="T32" fmla="*/ 1843 w 3736"/>
                <a:gd name="T33" fmla="*/ 2616 h 3678"/>
                <a:gd name="T34" fmla="*/ 1132 w 3736"/>
                <a:gd name="T35" fmla="*/ 2414 h 3678"/>
                <a:gd name="T36" fmla="*/ 954 w 3736"/>
                <a:gd name="T37" fmla="*/ 2256 h 3678"/>
                <a:gd name="T38" fmla="*/ 1082 w 3736"/>
                <a:gd name="T39" fmla="*/ 2271 h 3678"/>
                <a:gd name="T40" fmla="*/ 1271 w 3736"/>
                <a:gd name="T41" fmla="*/ 1557 h 3678"/>
                <a:gd name="T42" fmla="*/ 1360 w 3736"/>
                <a:gd name="T43" fmla="*/ 1601 h 3678"/>
                <a:gd name="T44" fmla="*/ 1958 w 3736"/>
                <a:gd name="T45" fmla="*/ 2171 h 3678"/>
                <a:gd name="T46" fmla="*/ 1525 w 3736"/>
                <a:gd name="T47" fmla="*/ 1457 h 3678"/>
                <a:gd name="T48" fmla="*/ 2749 w 3736"/>
                <a:gd name="T49" fmla="*/ 361 h 3678"/>
                <a:gd name="T50" fmla="*/ 3541 w 3736"/>
                <a:gd name="T51" fmla="*/ 1844 h 3678"/>
                <a:gd name="T52" fmla="*/ 1658 w 3736"/>
                <a:gd name="T53" fmla="*/ 1439 h 3678"/>
                <a:gd name="T54" fmla="*/ 2419 w 3736"/>
                <a:gd name="T55" fmla="*/ 427 h 3678"/>
                <a:gd name="T56" fmla="*/ 2498 w 3736"/>
                <a:gd name="T57" fmla="*/ 124 h 3678"/>
                <a:gd name="T58" fmla="*/ 2441 w 3736"/>
                <a:gd name="T59" fmla="*/ 287 h 3678"/>
                <a:gd name="T60" fmla="*/ 2599 w 3736"/>
                <a:gd name="T61" fmla="*/ 347 h 3678"/>
                <a:gd name="T62" fmla="*/ 2672 w 3736"/>
                <a:gd name="T63" fmla="*/ 256 h 3678"/>
                <a:gd name="T64" fmla="*/ 2625 w 3736"/>
                <a:gd name="T65" fmla="*/ 136 h 3678"/>
                <a:gd name="T66" fmla="*/ 2665 w 3736"/>
                <a:gd name="T67" fmla="*/ 28 h 3678"/>
                <a:gd name="T68" fmla="*/ 3734 w 3736"/>
                <a:gd name="T69" fmla="*/ 1986 h 3678"/>
                <a:gd name="T70" fmla="*/ 3646 w 3736"/>
                <a:gd name="T71" fmla="*/ 2170 h 3678"/>
                <a:gd name="T72" fmla="*/ 3580 w 3736"/>
                <a:gd name="T73" fmla="*/ 2724 h 3678"/>
                <a:gd name="T74" fmla="*/ 3180 w 3736"/>
                <a:gd name="T75" fmla="*/ 2918 h 3678"/>
                <a:gd name="T76" fmla="*/ 2865 w 3736"/>
                <a:gd name="T77" fmla="*/ 2826 h 3678"/>
                <a:gd name="T78" fmla="*/ 2459 w 3736"/>
                <a:gd name="T79" fmla="*/ 2397 h 3678"/>
                <a:gd name="T80" fmla="*/ 3431 w 3736"/>
                <a:gd name="T81" fmla="*/ 2200 h 3678"/>
                <a:gd name="T82" fmla="*/ 3506 w 3736"/>
                <a:gd name="T83" fmla="*/ 2183 h 3678"/>
                <a:gd name="T84" fmla="*/ 1983 w 3736"/>
                <a:gd name="T85" fmla="*/ 1926 h 3678"/>
                <a:gd name="T86" fmla="*/ 2073 w 3736"/>
                <a:gd name="T87" fmla="*/ 2433 h 3678"/>
                <a:gd name="T88" fmla="*/ 2059 w 3736"/>
                <a:gd name="T89" fmla="*/ 2469 h 3678"/>
                <a:gd name="T90" fmla="*/ 2043 w 3736"/>
                <a:gd name="T91" fmla="*/ 2482 h 3678"/>
                <a:gd name="T92" fmla="*/ 2024 w 3736"/>
                <a:gd name="T93" fmla="*/ 2489 h 3678"/>
                <a:gd name="T94" fmla="*/ 1942 w 3736"/>
                <a:gd name="T95" fmla="*/ 2705 h 3678"/>
                <a:gd name="T96" fmla="*/ 1890 w 3736"/>
                <a:gd name="T97" fmla="*/ 2857 h 3678"/>
                <a:gd name="T98" fmla="*/ 2177 w 3736"/>
                <a:gd name="T99" fmla="*/ 3030 h 3678"/>
                <a:gd name="T100" fmla="*/ 2238 w 3736"/>
                <a:gd name="T101" fmla="*/ 3367 h 3678"/>
                <a:gd name="T102" fmla="*/ 2032 w 3736"/>
                <a:gd name="T103" fmla="*/ 3630 h 3678"/>
                <a:gd name="T104" fmla="*/ 311 w 3736"/>
                <a:gd name="T105" fmla="*/ 3666 h 3678"/>
                <a:gd name="T106" fmla="*/ 49 w 3736"/>
                <a:gd name="T107" fmla="*/ 3460 h 3678"/>
                <a:gd name="T108" fmla="*/ 28 w 3736"/>
                <a:gd name="T109" fmla="*/ 3116 h 3678"/>
                <a:gd name="T110" fmla="*/ 263 w 3736"/>
                <a:gd name="T111" fmla="*/ 2882 h 3678"/>
                <a:gd name="T112" fmla="*/ 317 w 3736"/>
                <a:gd name="T113" fmla="*/ 2724 h 3678"/>
                <a:gd name="T114" fmla="*/ 178 w 3736"/>
                <a:gd name="T115" fmla="*/ 2553 h 3678"/>
                <a:gd name="T116" fmla="*/ 284 w 3736"/>
                <a:gd name="T117" fmla="*/ 1975 h 3678"/>
                <a:gd name="T118" fmla="*/ 740 w 3736"/>
                <a:gd name="T119" fmla="*/ 1477 h 3678"/>
                <a:gd name="T120" fmla="*/ 963 w 3736"/>
                <a:gd name="T121" fmla="*/ 1310 h 3678"/>
                <a:gd name="T122" fmla="*/ 2410 w 3736"/>
                <a:gd name="T123" fmla="*/ 48 h 3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6" h="3678">
                  <a:moveTo>
                    <a:pt x="413" y="2964"/>
                  </a:moveTo>
                  <a:lnTo>
                    <a:pt x="367" y="2968"/>
                  </a:lnTo>
                  <a:lnTo>
                    <a:pt x="325" y="2978"/>
                  </a:lnTo>
                  <a:lnTo>
                    <a:pt x="286" y="2993"/>
                  </a:lnTo>
                  <a:lnTo>
                    <a:pt x="248" y="3013"/>
                  </a:lnTo>
                  <a:lnTo>
                    <a:pt x="215" y="3039"/>
                  </a:lnTo>
                  <a:lnTo>
                    <a:pt x="185" y="3069"/>
                  </a:lnTo>
                  <a:lnTo>
                    <a:pt x="160" y="3102"/>
                  </a:lnTo>
                  <a:lnTo>
                    <a:pt x="139" y="3139"/>
                  </a:lnTo>
                  <a:lnTo>
                    <a:pt x="125" y="3179"/>
                  </a:lnTo>
                  <a:lnTo>
                    <a:pt x="114" y="3222"/>
                  </a:lnTo>
                  <a:lnTo>
                    <a:pt x="111" y="3266"/>
                  </a:lnTo>
                  <a:lnTo>
                    <a:pt x="114" y="3310"/>
                  </a:lnTo>
                  <a:lnTo>
                    <a:pt x="125" y="3352"/>
                  </a:lnTo>
                  <a:lnTo>
                    <a:pt x="139" y="3393"/>
                  </a:lnTo>
                  <a:lnTo>
                    <a:pt x="160" y="3430"/>
                  </a:lnTo>
                  <a:lnTo>
                    <a:pt x="185" y="3464"/>
                  </a:lnTo>
                  <a:lnTo>
                    <a:pt x="215" y="3493"/>
                  </a:lnTo>
                  <a:lnTo>
                    <a:pt x="248" y="3518"/>
                  </a:lnTo>
                  <a:lnTo>
                    <a:pt x="286" y="3538"/>
                  </a:lnTo>
                  <a:lnTo>
                    <a:pt x="325" y="3554"/>
                  </a:lnTo>
                  <a:lnTo>
                    <a:pt x="367" y="3563"/>
                  </a:lnTo>
                  <a:lnTo>
                    <a:pt x="413" y="3567"/>
                  </a:lnTo>
                  <a:lnTo>
                    <a:pt x="1838" y="3567"/>
                  </a:lnTo>
                  <a:lnTo>
                    <a:pt x="1882" y="3563"/>
                  </a:lnTo>
                  <a:lnTo>
                    <a:pt x="1925" y="3554"/>
                  </a:lnTo>
                  <a:lnTo>
                    <a:pt x="1965" y="3538"/>
                  </a:lnTo>
                  <a:lnTo>
                    <a:pt x="2002" y="3518"/>
                  </a:lnTo>
                  <a:lnTo>
                    <a:pt x="2035" y="3493"/>
                  </a:lnTo>
                  <a:lnTo>
                    <a:pt x="2065" y="3464"/>
                  </a:lnTo>
                  <a:lnTo>
                    <a:pt x="2091" y="3430"/>
                  </a:lnTo>
                  <a:lnTo>
                    <a:pt x="2111" y="3393"/>
                  </a:lnTo>
                  <a:lnTo>
                    <a:pt x="2126" y="3352"/>
                  </a:lnTo>
                  <a:lnTo>
                    <a:pt x="2136" y="3310"/>
                  </a:lnTo>
                  <a:lnTo>
                    <a:pt x="2140" y="3266"/>
                  </a:lnTo>
                  <a:lnTo>
                    <a:pt x="2136" y="3222"/>
                  </a:lnTo>
                  <a:lnTo>
                    <a:pt x="2126" y="3179"/>
                  </a:lnTo>
                  <a:lnTo>
                    <a:pt x="2111" y="3139"/>
                  </a:lnTo>
                  <a:lnTo>
                    <a:pt x="2091" y="3102"/>
                  </a:lnTo>
                  <a:lnTo>
                    <a:pt x="2065" y="3069"/>
                  </a:lnTo>
                  <a:lnTo>
                    <a:pt x="2035" y="3039"/>
                  </a:lnTo>
                  <a:lnTo>
                    <a:pt x="2002" y="3013"/>
                  </a:lnTo>
                  <a:lnTo>
                    <a:pt x="1965" y="2993"/>
                  </a:lnTo>
                  <a:lnTo>
                    <a:pt x="1925" y="2978"/>
                  </a:lnTo>
                  <a:lnTo>
                    <a:pt x="1882" y="2968"/>
                  </a:lnTo>
                  <a:lnTo>
                    <a:pt x="1838" y="2964"/>
                  </a:lnTo>
                  <a:lnTo>
                    <a:pt x="413" y="2964"/>
                  </a:lnTo>
                  <a:close/>
                  <a:moveTo>
                    <a:pt x="943" y="2727"/>
                  </a:moveTo>
                  <a:lnTo>
                    <a:pt x="943" y="2853"/>
                  </a:lnTo>
                  <a:lnTo>
                    <a:pt x="1307" y="2853"/>
                  </a:lnTo>
                  <a:lnTo>
                    <a:pt x="1307" y="2727"/>
                  </a:lnTo>
                  <a:lnTo>
                    <a:pt x="943" y="2727"/>
                  </a:lnTo>
                  <a:close/>
                  <a:moveTo>
                    <a:pt x="3407" y="2328"/>
                  </a:moveTo>
                  <a:lnTo>
                    <a:pt x="2754" y="2590"/>
                  </a:lnTo>
                  <a:lnTo>
                    <a:pt x="2936" y="2741"/>
                  </a:lnTo>
                  <a:lnTo>
                    <a:pt x="2970" y="2765"/>
                  </a:lnTo>
                  <a:lnTo>
                    <a:pt x="3005" y="2783"/>
                  </a:lnTo>
                  <a:lnTo>
                    <a:pt x="3042" y="2797"/>
                  </a:lnTo>
                  <a:lnTo>
                    <a:pt x="3081" y="2806"/>
                  </a:lnTo>
                  <a:lnTo>
                    <a:pt x="3121" y="2809"/>
                  </a:lnTo>
                  <a:lnTo>
                    <a:pt x="3161" y="2808"/>
                  </a:lnTo>
                  <a:lnTo>
                    <a:pt x="3201" y="2800"/>
                  </a:lnTo>
                  <a:lnTo>
                    <a:pt x="3240" y="2787"/>
                  </a:lnTo>
                  <a:lnTo>
                    <a:pt x="3429" y="2711"/>
                  </a:lnTo>
                  <a:lnTo>
                    <a:pt x="3452" y="2700"/>
                  </a:lnTo>
                  <a:lnTo>
                    <a:pt x="3470" y="2684"/>
                  </a:lnTo>
                  <a:lnTo>
                    <a:pt x="3485" y="2666"/>
                  </a:lnTo>
                  <a:lnTo>
                    <a:pt x="3496" y="2646"/>
                  </a:lnTo>
                  <a:lnTo>
                    <a:pt x="3504" y="2623"/>
                  </a:lnTo>
                  <a:lnTo>
                    <a:pt x="3506" y="2599"/>
                  </a:lnTo>
                  <a:lnTo>
                    <a:pt x="3504" y="2575"/>
                  </a:lnTo>
                  <a:lnTo>
                    <a:pt x="3497" y="2551"/>
                  </a:lnTo>
                  <a:lnTo>
                    <a:pt x="3407" y="2328"/>
                  </a:lnTo>
                  <a:close/>
                  <a:moveTo>
                    <a:pt x="353" y="2073"/>
                  </a:moveTo>
                  <a:lnTo>
                    <a:pt x="333" y="2076"/>
                  </a:lnTo>
                  <a:lnTo>
                    <a:pt x="315" y="2085"/>
                  </a:lnTo>
                  <a:lnTo>
                    <a:pt x="302" y="2099"/>
                  </a:lnTo>
                  <a:lnTo>
                    <a:pt x="292" y="2116"/>
                  </a:lnTo>
                  <a:lnTo>
                    <a:pt x="289" y="2136"/>
                  </a:lnTo>
                  <a:lnTo>
                    <a:pt x="289" y="2553"/>
                  </a:lnTo>
                  <a:lnTo>
                    <a:pt x="292" y="2572"/>
                  </a:lnTo>
                  <a:lnTo>
                    <a:pt x="302" y="2590"/>
                  </a:lnTo>
                  <a:lnTo>
                    <a:pt x="315" y="2604"/>
                  </a:lnTo>
                  <a:lnTo>
                    <a:pt x="333" y="2613"/>
                  </a:lnTo>
                  <a:lnTo>
                    <a:pt x="353" y="2616"/>
                  </a:lnTo>
                  <a:lnTo>
                    <a:pt x="713" y="2616"/>
                  </a:lnTo>
                  <a:lnTo>
                    <a:pt x="713" y="2073"/>
                  </a:lnTo>
                  <a:lnTo>
                    <a:pt x="353" y="2073"/>
                  </a:lnTo>
                  <a:close/>
                  <a:moveTo>
                    <a:pt x="3562" y="1955"/>
                  </a:moveTo>
                  <a:lnTo>
                    <a:pt x="3542" y="1957"/>
                  </a:lnTo>
                  <a:lnTo>
                    <a:pt x="3524" y="1966"/>
                  </a:lnTo>
                  <a:lnTo>
                    <a:pt x="3511" y="1980"/>
                  </a:lnTo>
                  <a:lnTo>
                    <a:pt x="3502" y="1998"/>
                  </a:lnTo>
                  <a:lnTo>
                    <a:pt x="3498" y="2017"/>
                  </a:lnTo>
                  <a:lnTo>
                    <a:pt x="3502" y="2038"/>
                  </a:lnTo>
                  <a:lnTo>
                    <a:pt x="3511" y="2055"/>
                  </a:lnTo>
                  <a:lnTo>
                    <a:pt x="3524" y="2068"/>
                  </a:lnTo>
                  <a:lnTo>
                    <a:pt x="3542" y="2077"/>
                  </a:lnTo>
                  <a:lnTo>
                    <a:pt x="3562" y="2081"/>
                  </a:lnTo>
                  <a:lnTo>
                    <a:pt x="3582" y="2077"/>
                  </a:lnTo>
                  <a:lnTo>
                    <a:pt x="3599" y="2068"/>
                  </a:lnTo>
                  <a:lnTo>
                    <a:pt x="3613" y="2055"/>
                  </a:lnTo>
                  <a:lnTo>
                    <a:pt x="3622" y="2038"/>
                  </a:lnTo>
                  <a:lnTo>
                    <a:pt x="3625" y="2017"/>
                  </a:lnTo>
                  <a:lnTo>
                    <a:pt x="3622" y="1998"/>
                  </a:lnTo>
                  <a:lnTo>
                    <a:pt x="3613" y="1980"/>
                  </a:lnTo>
                  <a:lnTo>
                    <a:pt x="3599" y="1966"/>
                  </a:lnTo>
                  <a:lnTo>
                    <a:pt x="3582" y="1957"/>
                  </a:lnTo>
                  <a:lnTo>
                    <a:pt x="3562" y="1955"/>
                  </a:lnTo>
                  <a:close/>
                  <a:moveTo>
                    <a:pt x="950" y="1428"/>
                  </a:moveTo>
                  <a:lnTo>
                    <a:pt x="921" y="1441"/>
                  </a:lnTo>
                  <a:lnTo>
                    <a:pt x="893" y="1458"/>
                  </a:lnTo>
                  <a:lnTo>
                    <a:pt x="871" y="1481"/>
                  </a:lnTo>
                  <a:lnTo>
                    <a:pt x="851" y="1507"/>
                  </a:lnTo>
                  <a:lnTo>
                    <a:pt x="837" y="1536"/>
                  </a:lnTo>
                  <a:lnTo>
                    <a:pt x="828" y="1568"/>
                  </a:lnTo>
                  <a:lnTo>
                    <a:pt x="824" y="1601"/>
                  </a:lnTo>
                  <a:lnTo>
                    <a:pt x="824" y="2616"/>
                  </a:lnTo>
                  <a:lnTo>
                    <a:pt x="1843" y="2616"/>
                  </a:lnTo>
                  <a:lnTo>
                    <a:pt x="1843" y="2489"/>
                  </a:lnTo>
                  <a:lnTo>
                    <a:pt x="1556" y="2489"/>
                  </a:lnTo>
                  <a:lnTo>
                    <a:pt x="1468" y="2487"/>
                  </a:lnTo>
                  <a:lnTo>
                    <a:pt x="1382" y="2478"/>
                  </a:lnTo>
                  <a:lnTo>
                    <a:pt x="1297" y="2462"/>
                  </a:lnTo>
                  <a:lnTo>
                    <a:pt x="1213" y="2441"/>
                  </a:lnTo>
                  <a:lnTo>
                    <a:pt x="1132" y="2414"/>
                  </a:lnTo>
                  <a:lnTo>
                    <a:pt x="1050" y="2382"/>
                  </a:lnTo>
                  <a:lnTo>
                    <a:pt x="1026" y="2369"/>
                  </a:lnTo>
                  <a:lnTo>
                    <a:pt x="1005" y="2352"/>
                  </a:lnTo>
                  <a:lnTo>
                    <a:pt x="985" y="2331"/>
                  </a:lnTo>
                  <a:lnTo>
                    <a:pt x="971" y="2309"/>
                  </a:lnTo>
                  <a:lnTo>
                    <a:pt x="960" y="2284"/>
                  </a:lnTo>
                  <a:lnTo>
                    <a:pt x="954" y="2256"/>
                  </a:lnTo>
                  <a:lnTo>
                    <a:pt x="950" y="2228"/>
                  </a:lnTo>
                  <a:lnTo>
                    <a:pt x="950" y="1428"/>
                  </a:lnTo>
                  <a:close/>
                  <a:moveTo>
                    <a:pt x="1062" y="1419"/>
                  </a:moveTo>
                  <a:lnTo>
                    <a:pt x="1062" y="2228"/>
                  </a:lnTo>
                  <a:lnTo>
                    <a:pt x="1065" y="2245"/>
                  </a:lnTo>
                  <a:lnTo>
                    <a:pt x="1071" y="2259"/>
                  </a:lnTo>
                  <a:lnTo>
                    <a:pt x="1082" y="2271"/>
                  </a:lnTo>
                  <a:lnTo>
                    <a:pt x="1095" y="2280"/>
                  </a:lnTo>
                  <a:lnTo>
                    <a:pt x="1171" y="2311"/>
                  </a:lnTo>
                  <a:lnTo>
                    <a:pt x="1248" y="2335"/>
                  </a:lnTo>
                  <a:lnTo>
                    <a:pt x="1248" y="1601"/>
                  </a:lnTo>
                  <a:lnTo>
                    <a:pt x="1251" y="1584"/>
                  </a:lnTo>
                  <a:lnTo>
                    <a:pt x="1259" y="1568"/>
                  </a:lnTo>
                  <a:lnTo>
                    <a:pt x="1271" y="1557"/>
                  </a:lnTo>
                  <a:lnTo>
                    <a:pt x="1286" y="1549"/>
                  </a:lnTo>
                  <a:lnTo>
                    <a:pt x="1304" y="1545"/>
                  </a:lnTo>
                  <a:lnTo>
                    <a:pt x="1321" y="1549"/>
                  </a:lnTo>
                  <a:lnTo>
                    <a:pt x="1337" y="1557"/>
                  </a:lnTo>
                  <a:lnTo>
                    <a:pt x="1348" y="1568"/>
                  </a:lnTo>
                  <a:lnTo>
                    <a:pt x="1356" y="1584"/>
                  </a:lnTo>
                  <a:lnTo>
                    <a:pt x="1360" y="1601"/>
                  </a:lnTo>
                  <a:lnTo>
                    <a:pt x="1360" y="2361"/>
                  </a:lnTo>
                  <a:lnTo>
                    <a:pt x="1424" y="2370"/>
                  </a:lnTo>
                  <a:lnTo>
                    <a:pt x="1490" y="2376"/>
                  </a:lnTo>
                  <a:lnTo>
                    <a:pt x="1556" y="2378"/>
                  </a:lnTo>
                  <a:lnTo>
                    <a:pt x="1961" y="2378"/>
                  </a:lnTo>
                  <a:lnTo>
                    <a:pt x="1961" y="2221"/>
                  </a:lnTo>
                  <a:lnTo>
                    <a:pt x="1958" y="2171"/>
                  </a:lnTo>
                  <a:lnTo>
                    <a:pt x="1949" y="2123"/>
                  </a:lnTo>
                  <a:lnTo>
                    <a:pt x="1936" y="2076"/>
                  </a:lnTo>
                  <a:lnTo>
                    <a:pt x="1915" y="2031"/>
                  </a:lnTo>
                  <a:lnTo>
                    <a:pt x="1890" y="1988"/>
                  </a:lnTo>
                  <a:lnTo>
                    <a:pt x="1566" y="1500"/>
                  </a:lnTo>
                  <a:lnTo>
                    <a:pt x="1547" y="1477"/>
                  </a:lnTo>
                  <a:lnTo>
                    <a:pt x="1525" y="1457"/>
                  </a:lnTo>
                  <a:lnTo>
                    <a:pt x="1500" y="1441"/>
                  </a:lnTo>
                  <a:lnTo>
                    <a:pt x="1473" y="1428"/>
                  </a:lnTo>
                  <a:lnTo>
                    <a:pt x="1445" y="1422"/>
                  </a:lnTo>
                  <a:lnTo>
                    <a:pt x="1414" y="1419"/>
                  </a:lnTo>
                  <a:lnTo>
                    <a:pt x="1062" y="1419"/>
                  </a:lnTo>
                  <a:close/>
                  <a:moveTo>
                    <a:pt x="2753" y="353"/>
                  </a:moveTo>
                  <a:lnTo>
                    <a:pt x="2749" y="361"/>
                  </a:lnTo>
                  <a:lnTo>
                    <a:pt x="2571" y="659"/>
                  </a:lnTo>
                  <a:lnTo>
                    <a:pt x="3419" y="1917"/>
                  </a:lnTo>
                  <a:lnTo>
                    <a:pt x="3437" y="1895"/>
                  </a:lnTo>
                  <a:lnTo>
                    <a:pt x="3460" y="1876"/>
                  </a:lnTo>
                  <a:lnTo>
                    <a:pt x="3485" y="1861"/>
                  </a:lnTo>
                  <a:lnTo>
                    <a:pt x="3512" y="1850"/>
                  </a:lnTo>
                  <a:lnTo>
                    <a:pt x="3541" y="1844"/>
                  </a:lnTo>
                  <a:lnTo>
                    <a:pt x="2753" y="353"/>
                  </a:lnTo>
                  <a:close/>
                  <a:moveTo>
                    <a:pt x="2334" y="320"/>
                  </a:moveTo>
                  <a:lnTo>
                    <a:pt x="1562" y="1348"/>
                  </a:lnTo>
                  <a:lnTo>
                    <a:pt x="1590" y="1366"/>
                  </a:lnTo>
                  <a:lnTo>
                    <a:pt x="1616" y="1387"/>
                  </a:lnTo>
                  <a:lnTo>
                    <a:pt x="1638" y="1411"/>
                  </a:lnTo>
                  <a:lnTo>
                    <a:pt x="1658" y="1439"/>
                  </a:lnTo>
                  <a:lnTo>
                    <a:pt x="1827" y="1690"/>
                  </a:lnTo>
                  <a:lnTo>
                    <a:pt x="2555" y="467"/>
                  </a:lnTo>
                  <a:lnTo>
                    <a:pt x="2551" y="467"/>
                  </a:lnTo>
                  <a:lnTo>
                    <a:pt x="2515" y="465"/>
                  </a:lnTo>
                  <a:lnTo>
                    <a:pt x="2481" y="457"/>
                  </a:lnTo>
                  <a:lnTo>
                    <a:pt x="2448" y="444"/>
                  </a:lnTo>
                  <a:lnTo>
                    <a:pt x="2419" y="427"/>
                  </a:lnTo>
                  <a:lnTo>
                    <a:pt x="2391" y="405"/>
                  </a:lnTo>
                  <a:lnTo>
                    <a:pt x="2369" y="380"/>
                  </a:lnTo>
                  <a:lnTo>
                    <a:pt x="2349" y="351"/>
                  </a:lnTo>
                  <a:lnTo>
                    <a:pt x="2334" y="320"/>
                  </a:lnTo>
                  <a:close/>
                  <a:moveTo>
                    <a:pt x="2551" y="111"/>
                  </a:moveTo>
                  <a:lnTo>
                    <a:pt x="2523" y="115"/>
                  </a:lnTo>
                  <a:lnTo>
                    <a:pt x="2498" y="124"/>
                  </a:lnTo>
                  <a:lnTo>
                    <a:pt x="2475" y="138"/>
                  </a:lnTo>
                  <a:lnTo>
                    <a:pt x="2456" y="157"/>
                  </a:lnTo>
                  <a:lnTo>
                    <a:pt x="2441" y="180"/>
                  </a:lnTo>
                  <a:lnTo>
                    <a:pt x="2432" y="205"/>
                  </a:lnTo>
                  <a:lnTo>
                    <a:pt x="2429" y="234"/>
                  </a:lnTo>
                  <a:lnTo>
                    <a:pt x="2432" y="262"/>
                  </a:lnTo>
                  <a:lnTo>
                    <a:pt x="2441" y="287"/>
                  </a:lnTo>
                  <a:lnTo>
                    <a:pt x="2456" y="311"/>
                  </a:lnTo>
                  <a:lnTo>
                    <a:pt x="2475" y="329"/>
                  </a:lnTo>
                  <a:lnTo>
                    <a:pt x="2498" y="344"/>
                  </a:lnTo>
                  <a:lnTo>
                    <a:pt x="2523" y="353"/>
                  </a:lnTo>
                  <a:lnTo>
                    <a:pt x="2551" y="356"/>
                  </a:lnTo>
                  <a:lnTo>
                    <a:pt x="2576" y="354"/>
                  </a:lnTo>
                  <a:lnTo>
                    <a:pt x="2599" y="347"/>
                  </a:lnTo>
                  <a:lnTo>
                    <a:pt x="2619" y="336"/>
                  </a:lnTo>
                  <a:lnTo>
                    <a:pt x="2638" y="321"/>
                  </a:lnTo>
                  <a:lnTo>
                    <a:pt x="2653" y="303"/>
                  </a:lnTo>
                  <a:lnTo>
                    <a:pt x="2656" y="298"/>
                  </a:lnTo>
                  <a:lnTo>
                    <a:pt x="2657" y="297"/>
                  </a:lnTo>
                  <a:lnTo>
                    <a:pt x="2666" y="278"/>
                  </a:lnTo>
                  <a:lnTo>
                    <a:pt x="2672" y="256"/>
                  </a:lnTo>
                  <a:lnTo>
                    <a:pt x="2674" y="234"/>
                  </a:lnTo>
                  <a:lnTo>
                    <a:pt x="2672" y="210"/>
                  </a:lnTo>
                  <a:lnTo>
                    <a:pt x="2665" y="187"/>
                  </a:lnTo>
                  <a:lnTo>
                    <a:pt x="2661" y="180"/>
                  </a:lnTo>
                  <a:lnTo>
                    <a:pt x="2658" y="174"/>
                  </a:lnTo>
                  <a:lnTo>
                    <a:pt x="2643" y="153"/>
                  </a:lnTo>
                  <a:lnTo>
                    <a:pt x="2625" y="136"/>
                  </a:lnTo>
                  <a:lnTo>
                    <a:pt x="2603" y="123"/>
                  </a:lnTo>
                  <a:lnTo>
                    <a:pt x="2579" y="115"/>
                  </a:lnTo>
                  <a:lnTo>
                    <a:pt x="2551" y="111"/>
                  </a:lnTo>
                  <a:close/>
                  <a:moveTo>
                    <a:pt x="2551" y="0"/>
                  </a:moveTo>
                  <a:lnTo>
                    <a:pt x="2591" y="3"/>
                  </a:lnTo>
                  <a:lnTo>
                    <a:pt x="2630" y="12"/>
                  </a:lnTo>
                  <a:lnTo>
                    <a:pt x="2665" y="28"/>
                  </a:lnTo>
                  <a:lnTo>
                    <a:pt x="2696" y="50"/>
                  </a:lnTo>
                  <a:lnTo>
                    <a:pt x="2724" y="75"/>
                  </a:lnTo>
                  <a:lnTo>
                    <a:pt x="2747" y="106"/>
                  </a:lnTo>
                  <a:lnTo>
                    <a:pt x="2766" y="138"/>
                  </a:lnTo>
                  <a:lnTo>
                    <a:pt x="3713" y="1930"/>
                  </a:lnTo>
                  <a:lnTo>
                    <a:pt x="3726" y="1957"/>
                  </a:lnTo>
                  <a:lnTo>
                    <a:pt x="3734" y="1986"/>
                  </a:lnTo>
                  <a:lnTo>
                    <a:pt x="3736" y="2017"/>
                  </a:lnTo>
                  <a:lnTo>
                    <a:pt x="3733" y="2050"/>
                  </a:lnTo>
                  <a:lnTo>
                    <a:pt x="3725" y="2080"/>
                  </a:lnTo>
                  <a:lnTo>
                    <a:pt x="3711" y="2108"/>
                  </a:lnTo>
                  <a:lnTo>
                    <a:pt x="3693" y="2132"/>
                  </a:lnTo>
                  <a:lnTo>
                    <a:pt x="3672" y="2153"/>
                  </a:lnTo>
                  <a:lnTo>
                    <a:pt x="3646" y="2170"/>
                  </a:lnTo>
                  <a:lnTo>
                    <a:pt x="3617" y="2183"/>
                  </a:lnTo>
                  <a:lnTo>
                    <a:pt x="3617" y="2612"/>
                  </a:lnTo>
                  <a:lnTo>
                    <a:pt x="3617" y="2620"/>
                  </a:lnTo>
                  <a:lnTo>
                    <a:pt x="3616" y="2626"/>
                  </a:lnTo>
                  <a:lnTo>
                    <a:pt x="3609" y="2660"/>
                  </a:lnTo>
                  <a:lnTo>
                    <a:pt x="3597" y="2693"/>
                  </a:lnTo>
                  <a:lnTo>
                    <a:pt x="3580" y="2724"/>
                  </a:lnTo>
                  <a:lnTo>
                    <a:pt x="3559" y="2752"/>
                  </a:lnTo>
                  <a:lnTo>
                    <a:pt x="3533" y="2777"/>
                  </a:lnTo>
                  <a:lnTo>
                    <a:pt x="3504" y="2799"/>
                  </a:lnTo>
                  <a:lnTo>
                    <a:pt x="3471" y="2815"/>
                  </a:lnTo>
                  <a:lnTo>
                    <a:pt x="3282" y="2891"/>
                  </a:lnTo>
                  <a:lnTo>
                    <a:pt x="3231" y="2908"/>
                  </a:lnTo>
                  <a:lnTo>
                    <a:pt x="3180" y="2918"/>
                  </a:lnTo>
                  <a:lnTo>
                    <a:pt x="3127" y="2920"/>
                  </a:lnTo>
                  <a:lnTo>
                    <a:pt x="3081" y="2918"/>
                  </a:lnTo>
                  <a:lnTo>
                    <a:pt x="3034" y="2910"/>
                  </a:lnTo>
                  <a:lnTo>
                    <a:pt x="2989" y="2896"/>
                  </a:lnTo>
                  <a:lnTo>
                    <a:pt x="2946" y="2878"/>
                  </a:lnTo>
                  <a:lnTo>
                    <a:pt x="2904" y="2855"/>
                  </a:lnTo>
                  <a:lnTo>
                    <a:pt x="2865" y="2826"/>
                  </a:lnTo>
                  <a:lnTo>
                    <a:pt x="2454" y="2487"/>
                  </a:lnTo>
                  <a:lnTo>
                    <a:pt x="2442" y="2474"/>
                  </a:lnTo>
                  <a:lnTo>
                    <a:pt x="2436" y="2458"/>
                  </a:lnTo>
                  <a:lnTo>
                    <a:pt x="2433" y="2441"/>
                  </a:lnTo>
                  <a:lnTo>
                    <a:pt x="2438" y="2424"/>
                  </a:lnTo>
                  <a:lnTo>
                    <a:pt x="2447" y="2409"/>
                  </a:lnTo>
                  <a:lnTo>
                    <a:pt x="2459" y="2397"/>
                  </a:lnTo>
                  <a:lnTo>
                    <a:pt x="2475" y="2390"/>
                  </a:lnTo>
                  <a:lnTo>
                    <a:pt x="2492" y="2388"/>
                  </a:lnTo>
                  <a:lnTo>
                    <a:pt x="2509" y="2393"/>
                  </a:lnTo>
                  <a:lnTo>
                    <a:pt x="2525" y="2402"/>
                  </a:lnTo>
                  <a:lnTo>
                    <a:pt x="2656" y="2509"/>
                  </a:lnTo>
                  <a:lnTo>
                    <a:pt x="3418" y="2203"/>
                  </a:lnTo>
                  <a:lnTo>
                    <a:pt x="3431" y="2200"/>
                  </a:lnTo>
                  <a:lnTo>
                    <a:pt x="3446" y="2200"/>
                  </a:lnTo>
                  <a:lnTo>
                    <a:pt x="3460" y="2204"/>
                  </a:lnTo>
                  <a:lnTo>
                    <a:pt x="3472" y="2211"/>
                  </a:lnTo>
                  <a:lnTo>
                    <a:pt x="3482" y="2221"/>
                  </a:lnTo>
                  <a:lnTo>
                    <a:pt x="3490" y="2235"/>
                  </a:lnTo>
                  <a:lnTo>
                    <a:pt x="3506" y="2275"/>
                  </a:lnTo>
                  <a:lnTo>
                    <a:pt x="3506" y="2183"/>
                  </a:lnTo>
                  <a:lnTo>
                    <a:pt x="3478" y="2170"/>
                  </a:lnTo>
                  <a:lnTo>
                    <a:pt x="3452" y="2152"/>
                  </a:lnTo>
                  <a:lnTo>
                    <a:pt x="3429" y="2131"/>
                  </a:lnTo>
                  <a:lnTo>
                    <a:pt x="3411" y="2106"/>
                  </a:lnTo>
                  <a:lnTo>
                    <a:pt x="2507" y="766"/>
                  </a:lnTo>
                  <a:lnTo>
                    <a:pt x="1895" y="1794"/>
                  </a:lnTo>
                  <a:lnTo>
                    <a:pt x="1983" y="1926"/>
                  </a:lnTo>
                  <a:lnTo>
                    <a:pt x="2010" y="1971"/>
                  </a:lnTo>
                  <a:lnTo>
                    <a:pt x="2032" y="2018"/>
                  </a:lnTo>
                  <a:lnTo>
                    <a:pt x="2050" y="2067"/>
                  </a:lnTo>
                  <a:lnTo>
                    <a:pt x="2063" y="2117"/>
                  </a:lnTo>
                  <a:lnTo>
                    <a:pt x="2069" y="2168"/>
                  </a:lnTo>
                  <a:lnTo>
                    <a:pt x="2073" y="2221"/>
                  </a:lnTo>
                  <a:lnTo>
                    <a:pt x="2073" y="2433"/>
                  </a:lnTo>
                  <a:lnTo>
                    <a:pt x="2072" y="2441"/>
                  </a:lnTo>
                  <a:lnTo>
                    <a:pt x="2069" y="2452"/>
                  </a:lnTo>
                  <a:lnTo>
                    <a:pt x="2066" y="2460"/>
                  </a:lnTo>
                  <a:lnTo>
                    <a:pt x="2064" y="2463"/>
                  </a:lnTo>
                  <a:lnTo>
                    <a:pt x="2063" y="2465"/>
                  </a:lnTo>
                  <a:lnTo>
                    <a:pt x="2060" y="2469"/>
                  </a:lnTo>
                  <a:lnTo>
                    <a:pt x="2059" y="2469"/>
                  </a:lnTo>
                  <a:lnTo>
                    <a:pt x="2058" y="2471"/>
                  </a:lnTo>
                  <a:lnTo>
                    <a:pt x="2056" y="2473"/>
                  </a:lnTo>
                  <a:lnTo>
                    <a:pt x="2055" y="2474"/>
                  </a:lnTo>
                  <a:lnTo>
                    <a:pt x="2052" y="2477"/>
                  </a:lnTo>
                  <a:lnTo>
                    <a:pt x="2050" y="2478"/>
                  </a:lnTo>
                  <a:lnTo>
                    <a:pt x="2048" y="2480"/>
                  </a:lnTo>
                  <a:lnTo>
                    <a:pt x="2043" y="2482"/>
                  </a:lnTo>
                  <a:lnTo>
                    <a:pt x="2039" y="2485"/>
                  </a:lnTo>
                  <a:lnTo>
                    <a:pt x="2039" y="2485"/>
                  </a:lnTo>
                  <a:lnTo>
                    <a:pt x="2035" y="2486"/>
                  </a:lnTo>
                  <a:lnTo>
                    <a:pt x="2033" y="2487"/>
                  </a:lnTo>
                  <a:lnTo>
                    <a:pt x="2031" y="2488"/>
                  </a:lnTo>
                  <a:lnTo>
                    <a:pt x="2027" y="2488"/>
                  </a:lnTo>
                  <a:lnTo>
                    <a:pt x="2024" y="2489"/>
                  </a:lnTo>
                  <a:lnTo>
                    <a:pt x="2023" y="2489"/>
                  </a:lnTo>
                  <a:lnTo>
                    <a:pt x="2019" y="2489"/>
                  </a:lnTo>
                  <a:lnTo>
                    <a:pt x="2017" y="2489"/>
                  </a:lnTo>
                  <a:lnTo>
                    <a:pt x="1954" y="2489"/>
                  </a:lnTo>
                  <a:lnTo>
                    <a:pt x="1954" y="2672"/>
                  </a:lnTo>
                  <a:lnTo>
                    <a:pt x="1950" y="2689"/>
                  </a:lnTo>
                  <a:lnTo>
                    <a:pt x="1942" y="2705"/>
                  </a:lnTo>
                  <a:lnTo>
                    <a:pt x="1931" y="2716"/>
                  </a:lnTo>
                  <a:lnTo>
                    <a:pt x="1915" y="2724"/>
                  </a:lnTo>
                  <a:lnTo>
                    <a:pt x="1898" y="2727"/>
                  </a:lnTo>
                  <a:lnTo>
                    <a:pt x="1418" y="2727"/>
                  </a:lnTo>
                  <a:lnTo>
                    <a:pt x="1418" y="2853"/>
                  </a:lnTo>
                  <a:lnTo>
                    <a:pt x="1838" y="2853"/>
                  </a:lnTo>
                  <a:lnTo>
                    <a:pt x="1890" y="2857"/>
                  </a:lnTo>
                  <a:lnTo>
                    <a:pt x="1940" y="2866"/>
                  </a:lnTo>
                  <a:lnTo>
                    <a:pt x="1988" y="2882"/>
                  </a:lnTo>
                  <a:lnTo>
                    <a:pt x="2032" y="2902"/>
                  </a:lnTo>
                  <a:lnTo>
                    <a:pt x="2074" y="2927"/>
                  </a:lnTo>
                  <a:lnTo>
                    <a:pt x="2112" y="2958"/>
                  </a:lnTo>
                  <a:lnTo>
                    <a:pt x="2146" y="2992"/>
                  </a:lnTo>
                  <a:lnTo>
                    <a:pt x="2177" y="3030"/>
                  </a:lnTo>
                  <a:lnTo>
                    <a:pt x="2202" y="3072"/>
                  </a:lnTo>
                  <a:lnTo>
                    <a:pt x="2222" y="3116"/>
                  </a:lnTo>
                  <a:lnTo>
                    <a:pt x="2238" y="3164"/>
                  </a:lnTo>
                  <a:lnTo>
                    <a:pt x="2247" y="3214"/>
                  </a:lnTo>
                  <a:lnTo>
                    <a:pt x="2251" y="3266"/>
                  </a:lnTo>
                  <a:lnTo>
                    <a:pt x="2247" y="3317"/>
                  </a:lnTo>
                  <a:lnTo>
                    <a:pt x="2238" y="3367"/>
                  </a:lnTo>
                  <a:lnTo>
                    <a:pt x="2222" y="3415"/>
                  </a:lnTo>
                  <a:lnTo>
                    <a:pt x="2202" y="3460"/>
                  </a:lnTo>
                  <a:lnTo>
                    <a:pt x="2177" y="3501"/>
                  </a:lnTo>
                  <a:lnTo>
                    <a:pt x="2146" y="3540"/>
                  </a:lnTo>
                  <a:lnTo>
                    <a:pt x="2112" y="3574"/>
                  </a:lnTo>
                  <a:lnTo>
                    <a:pt x="2074" y="3604"/>
                  </a:lnTo>
                  <a:lnTo>
                    <a:pt x="2032" y="3630"/>
                  </a:lnTo>
                  <a:lnTo>
                    <a:pt x="1988" y="3651"/>
                  </a:lnTo>
                  <a:lnTo>
                    <a:pt x="1940" y="3666"/>
                  </a:lnTo>
                  <a:lnTo>
                    <a:pt x="1890" y="3676"/>
                  </a:lnTo>
                  <a:lnTo>
                    <a:pt x="1838" y="3678"/>
                  </a:lnTo>
                  <a:lnTo>
                    <a:pt x="413" y="3678"/>
                  </a:lnTo>
                  <a:lnTo>
                    <a:pt x="360" y="3676"/>
                  </a:lnTo>
                  <a:lnTo>
                    <a:pt x="311" y="3666"/>
                  </a:lnTo>
                  <a:lnTo>
                    <a:pt x="263" y="3651"/>
                  </a:lnTo>
                  <a:lnTo>
                    <a:pt x="219" y="3630"/>
                  </a:lnTo>
                  <a:lnTo>
                    <a:pt x="177" y="3604"/>
                  </a:lnTo>
                  <a:lnTo>
                    <a:pt x="138" y="3574"/>
                  </a:lnTo>
                  <a:lnTo>
                    <a:pt x="104" y="3540"/>
                  </a:lnTo>
                  <a:lnTo>
                    <a:pt x="74" y="3501"/>
                  </a:lnTo>
                  <a:lnTo>
                    <a:pt x="49" y="3460"/>
                  </a:lnTo>
                  <a:lnTo>
                    <a:pt x="28" y="3415"/>
                  </a:lnTo>
                  <a:lnTo>
                    <a:pt x="12" y="3367"/>
                  </a:lnTo>
                  <a:lnTo>
                    <a:pt x="3" y="3317"/>
                  </a:lnTo>
                  <a:lnTo>
                    <a:pt x="0" y="3266"/>
                  </a:lnTo>
                  <a:lnTo>
                    <a:pt x="3" y="3214"/>
                  </a:lnTo>
                  <a:lnTo>
                    <a:pt x="12" y="3164"/>
                  </a:lnTo>
                  <a:lnTo>
                    <a:pt x="28" y="3116"/>
                  </a:lnTo>
                  <a:lnTo>
                    <a:pt x="49" y="3072"/>
                  </a:lnTo>
                  <a:lnTo>
                    <a:pt x="74" y="3030"/>
                  </a:lnTo>
                  <a:lnTo>
                    <a:pt x="104" y="2992"/>
                  </a:lnTo>
                  <a:lnTo>
                    <a:pt x="138" y="2958"/>
                  </a:lnTo>
                  <a:lnTo>
                    <a:pt x="177" y="2927"/>
                  </a:lnTo>
                  <a:lnTo>
                    <a:pt x="219" y="2902"/>
                  </a:lnTo>
                  <a:lnTo>
                    <a:pt x="263" y="2882"/>
                  </a:lnTo>
                  <a:lnTo>
                    <a:pt x="311" y="2866"/>
                  </a:lnTo>
                  <a:lnTo>
                    <a:pt x="360" y="2857"/>
                  </a:lnTo>
                  <a:lnTo>
                    <a:pt x="413" y="2853"/>
                  </a:lnTo>
                  <a:lnTo>
                    <a:pt x="832" y="2853"/>
                  </a:lnTo>
                  <a:lnTo>
                    <a:pt x="832" y="2727"/>
                  </a:lnTo>
                  <a:lnTo>
                    <a:pt x="353" y="2727"/>
                  </a:lnTo>
                  <a:lnTo>
                    <a:pt x="317" y="2724"/>
                  </a:lnTo>
                  <a:lnTo>
                    <a:pt x="284" y="2714"/>
                  </a:lnTo>
                  <a:lnTo>
                    <a:pt x="255" y="2698"/>
                  </a:lnTo>
                  <a:lnTo>
                    <a:pt x="229" y="2676"/>
                  </a:lnTo>
                  <a:lnTo>
                    <a:pt x="209" y="2650"/>
                  </a:lnTo>
                  <a:lnTo>
                    <a:pt x="192" y="2621"/>
                  </a:lnTo>
                  <a:lnTo>
                    <a:pt x="181" y="2588"/>
                  </a:lnTo>
                  <a:lnTo>
                    <a:pt x="178" y="2553"/>
                  </a:lnTo>
                  <a:lnTo>
                    <a:pt x="178" y="2136"/>
                  </a:lnTo>
                  <a:lnTo>
                    <a:pt x="181" y="2101"/>
                  </a:lnTo>
                  <a:lnTo>
                    <a:pt x="192" y="2068"/>
                  </a:lnTo>
                  <a:lnTo>
                    <a:pt x="209" y="2039"/>
                  </a:lnTo>
                  <a:lnTo>
                    <a:pt x="229" y="2013"/>
                  </a:lnTo>
                  <a:lnTo>
                    <a:pt x="255" y="1991"/>
                  </a:lnTo>
                  <a:lnTo>
                    <a:pt x="284" y="1975"/>
                  </a:lnTo>
                  <a:lnTo>
                    <a:pt x="317" y="1965"/>
                  </a:lnTo>
                  <a:lnTo>
                    <a:pt x="353" y="1962"/>
                  </a:lnTo>
                  <a:lnTo>
                    <a:pt x="713" y="1962"/>
                  </a:lnTo>
                  <a:lnTo>
                    <a:pt x="713" y="1601"/>
                  </a:lnTo>
                  <a:lnTo>
                    <a:pt x="717" y="1558"/>
                  </a:lnTo>
                  <a:lnTo>
                    <a:pt x="726" y="1517"/>
                  </a:lnTo>
                  <a:lnTo>
                    <a:pt x="740" y="1477"/>
                  </a:lnTo>
                  <a:lnTo>
                    <a:pt x="761" y="1442"/>
                  </a:lnTo>
                  <a:lnTo>
                    <a:pt x="785" y="1409"/>
                  </a:lnTo>
                  <a:lnTo>
                    <a:pt x="814" y="1380"/>
                  </a:lnTo>
                  <a:lnTo>
                    <a:pt x="847" y="1355"/>
                  </a:lnTo>
                  <a:lnTo>
                    <a:pt x="883" y="1335"/>
                  </a:lnTo>
                  <a:lnTo>
                    <a:pt x="922" y="1321"/>
                  </a:lnTo>
                  <a:lnTo>
                    <a:pt x="963" y="1310"/>
                  </a:lnTo>
                  <a:lnTo>
                    <a:pt x="1007" y="1308"/>
                  </a:lnTo>
                  <a:lnTo>
                    <a:pt x="1414" y="1308"/>
                  </a:lnTo>
                  <a:lnTo>
                    <a:pt x="1452" y="1310"/>
                  </a:lnTo>
                  <a:lnTo>
                    <a:pt x="2359" y="101"/>
                  </a:lnTo>
                  <a:lnTo>
                    <a:pt x="2359" y="101"/>
                  </a:lnTo>
                  <a:lnTo>
                    <a:pt x="2382" y="73"/>
                  </a:lnTo>
                  <a:lnTo>
                    <a:pt x="2410" y="48"/>
                  </a:lnTo>
                  <a:lnTo>
                    <a:pt x="2441" y="27"/>
                  </a:lnTo>
                  <a:lnTo>
                    <a:pt x="2475" y="12"/>
                  </a:lnTo>
                  <a:lnTo>
                    <a:pt x="2513" y="3"/>
                  </a:lnTo>
                  <a:lnTo>
                    <a:pt x="2551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</p:grpSp>
      <p:sp>
        <p:nvSpPr>
          <p:cNvPr id="23625" name="TextBox 158">
            <a:extLst>
              <a:ext uri="{FF2B5EF4-FFF2-40B4-BE49-F238E27FC236}">
                <a16:creationId xmlns:a16="http://schemas.microsoft.com/office/drawing/2014/main" id="{E039C87F-72AD-4054-B63A-554ACFFB9E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4663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6" name="TextBox 159">
            <a:extLst>
              <a:ext uri="{FF2B5EF4-FFF2-40B4-BE49-F238E27FC236}">
                <a16:creationId xmlns:a16="http://schemas.microsoft.com/office/drawing/2014/main" id="{C89D28E8-6E73-4458-A352-42A749EC09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3488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7" name="TextBox 127">
            <a:extLst>
              <a:ext uri="{FF2B5EF4-FFF2-40B4-BE49-F238E27FC236}">
                <a16:creationId xmlns:a16="http://schemas.microsoft.com/office/drawing/2014/main" id="{D2C4F5E9-E854-4896-8355-45DEC69063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7813" y="6378575"/>
            <a:ext cx="426243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Sources: National Bureau of Statistics, World Bank Report on Doing Business in Nigeria 2018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climate-data.org, State Government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Exchange rate= $1/N305 (Central Bank of Nigeria)</a:t>
            </a:r>
          </a:p>
        </p:txBody>
      </p:sp>
      <p:sp>
        <p:nvSpPr>
          <p:cNvPr id="23628" name="TextBox 128">
            <a:extLst>
              <a:ext uri="{FF2B5EF4-FFF2-40B4-BE49-F238E27FC236}">
                <a16:creationId xmlns:a16="http://schemas.microsoft.com/office/drawing/2014/main" id="{409BCC6F-A5F0-4C79-BB4A-38A1ABC14F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53213" y="3649889"/>
            <a:ext cx="883575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Transportation</a:t>
            </a:r>
          </a:p>
        </p:txBody>
      </p:sp>
      <p:sp>
        <p:nvSpPr>
          <p:cNvPr id="23629" name="TextBox 129">
            <a:extLst>
              <a:ext uri="{FF2B5EF4-FFF2-40B4-BE49-F238E27FC236}">
                <a16:creationId xmlns:a16="http://schemas.microsoft.com/office/drawing/2014/main" id="{489E7B41-20C9-4493-8E7D-07238EB8FA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2892" y="3654980"/>
            <a:ext cx="566181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Housing</a:t>
            </a:r>
          </a:p>
        </p:txBody>
      </p:sp>
      <p:sp>
        <p:nvSpPr>
          <p:cNvPr id="23630" name="TextBox 130">
            <a:extLst>
              <a:ext uri="{FF2B5EF4-FFF2-40B4-BE49-F238E27FC236}">
                <a16:creationId xmlns:a16="http://schemas.microsoft.com/office/drawing/2014/main" id="{048DE5D8-5309-42DA-9D97-2935A10CB7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31" name="TextBox 131">
            <a:extLst>
              <a:ext uri="{FF2B5EF4-FFF2-40B4-BE49-F238E27FC236}">
                <a16:creationId xmlns:a16="http://schemas.microsoft.com/office/drawing/2014/main" id="{FF8B6C80-43E2-43AF-A364-A31845F05C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5388" y="3656613"/>
            <a:ext cx="49725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Ginger</a:t>
            </a:r>
          </a:p>
        </p:txBody>
      </p:sp>
      <p:sp>
        <p:nvSpPr>
          <p:cNvPr id="23632" name="TextBox 132">
            <a:extLst>
              <a:ext uri="{FF2B5EF4-FFF2-40B4-BE49-F238E27FC236}">
                <a16:creationId xmlns:a16="http://schemas.microsoft.com/office/drawing/2014/main" id="{A1C640C1-61D1-4BA5-8A76-E684397E8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70489" y="3650683"/>
            <a:ext cx="68800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Agro allied</a:t>
            </a:r>
          </a:p>
        </p:txBody>
      </p:sp>
      <p:sp>
        <p:nvSpPr>
          <p:cNvPr id="23638" name="TextBox 141">
            <a:extLst>
              <a:ext uri="{FF2B5EF4-FFF2-40B4-BE49-F238E27FC236}">
                <a16:creationId xmlns:a16="http://schemas.microsoft.com/office/drawing/2014/main" id="{EE481231-8673-4FD7-B5CC-900AEE7A9F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8233" y="3652271"/>
            <a:ext cx="579005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Logistics</a:t>
            </a:r>
          </a:p>
        </p:txBody>
      </p:sp>
      <p:sp>
        <p:nvSpPr>
          <p:cNvPr id="23649" name="TextBox 165">
            <a:extLst>
              <a:ext uri="{FF2B5EF4-FFF2-40B4-BE49-F238E27FC236}">
                <a16:creationId xmlns:a16="http://schemas.microsoft.com/office/drawing/2014/main" id="{1242633E-9CB1-48ED-83F4-2223DFC7ED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81236" y="4459560"/>
            <a:ext cx="468398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Maize</a:t>
            </a:r>
          </a:p>
        </p:txBody>
      </p:sp>
      <p:sp>
        <p:nvSpPr>
          <p:cNvPr id="23650" name="TextBox 166">
            <a:extLst>
              <a:ext uri="{FF2B5EF4-FFF2-40B4-BE49-F238E27FC236}">
                <a16:creationId xmlns:a16="http://schemas.microsoft.com/office/drawing/2014/main" id="{6B51369B-8FA6-464A-B908-12B0FFE6B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71713" y="4458812"/>
            <a:ext cx="105509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Renewable energy</a:t>
            </a:r>
          </a:p>
        </p:txBody>
      </p:sp>
      <p:sp>
        <p:nvSpPr>
          <p:cNvPr id="23651" name="TextBox 167">
            <a:extLst>
              <a:ext uri="{FF2B5EF4-FFF2-40B4-BE49-F238E27FC236}">
                <a16:creationId xmlns:a16="http://schemas.microsoft.com/office/drawing/2014/main" id="{4F9404E1-8339-401B-8B10-4C7D1A8CEC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30834" y="4457881"/>
            <a:ext cx="56778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Tourism</a:t>
            </a:r>
          </a:p>
        </p:txBody>
      </p:sp>
      <p:sp>
        <p:nvSpPr>
          <p:cNvPr id="23652" name="TextBox 168">
            <a:extLst>
              <a:ext uri="{FF2B5EF4-FFF2-40B4-BE49-F238E27FC236}">
                <a16:creationId xmlns:a16="http://schemas.microsoft.com/office/drawing/2014/main" id="{1C04917D-B2C3-4C21-8CC2-A45C349B4B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65456" y="4457133"/>
            <a:ext cx="61587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Livestock</a:t>
            </a:r>
          </a:p>
        </p:txBody>
      </p:sp>
      <p:sp>
        <p:nvSpPr>
          <p:cNvPr id="23653" name="TextBox 169">
            <a:extLst>
              <a:ext uri="{FF2B5EF4-FFF2-40B4-BE49-F238E27FC236}">
                <a16:creationId xmlns:a16="http://schemas.microsoft.com/office/drawing/2014/main" id="{4BADA327-4F2D-4897-B7C0-4647A1484B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24571" y="4457973"/>
            <a:ext cx="33054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ICT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8A28B48-1841-45BB-BFBC-EADE77B37C6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779712" y="2589213"/>
          <a:ext cx="1482725" cy="812800"/>
        </p:xfrm>
        <a:graphic>
          <a:graphicData uri="http://schemas.openxmlformats.org/drawingml/2006/table">
            <a:tbl>
              <a:tblPr/>
              <a:tblGrid>
                <a:gridCol w="11367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9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32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GB" sz="1000" b="1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Domestic</a:t>
                      </a:r>
                      <a:r>
                        <a:rPr lang="en-GB" sz="10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US" sz="1000" b="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International 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Yes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Railway</a:t>
                      </a:r>
                      <a:r>
                        <a:rPr lang="en-GB" sz="1000" b="1" kern="1200" baseline="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 Station</a:t>
                      </a:r>
                      <a:endParaRPr lang="en-GB" sz="1000" b="1" kern="1200" dirty="0">
                        <a:solidFill>
                          <a:srgbClr val="292929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Yes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3250">
                <a:tc>
                  <a:txBody>
                    <a:bodyPr/>
                    <a:lstStyle/>
                    <a:p>
                      <a:r>
                        <a:rPr lang="en-GB" sz="1000" b="1" kern="1200" dirty="0" err="1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Dryport</a:t>
                      </a:r>
                      <a:endParaRPr lang="en-GB" sz="1000" b="1" kern="1200" dirty="0">
                        <a:solidFill>
                          <a:srgbClr val="292929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7" name="TextBox 136">
            <a:extLst>
              <a:ext uri="{FF2B5EF4-FFF2-40B4-BE49-F238E27FC236}">
                <a16:creationId xmlns:a16="http://schemas.microsoft.com/office/drawing/2014/main" id="{2F4C4876-7073-4C13-A183-127A8909BDC0}"/>
              </a:ext>
            </a:extLst>
          </p:cNvPr>
          <p:cNvSpPr txBox="1"/>
          <p:nvPr/>
        </p:nvSpPr>
        <p:spPr>
          <a:xfrm>
            <a:off x="538163" y="5268913"/>
            <a:ext cx="373856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For further details</a:t>
            </a:r>
          </a:p>
        </p:txBody>
      </p:sp>
      <p:sp>
        <p:nvSpPr>
          <p:cNvPr id="23676" name="TextBox 156">
            <a:extLst>
              <a:ext uri="{FF2B5EF4-FFF2-40B4-BE49-F238E27FC236}">
                <a16:creationId xmlns:a16="http://schemas.microsoft.com/office/drawing/2014/main" id="{95D66AAF-6B48-4B9E-9E5B-F1BB063A89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6300" y="6342063"/>
            <a:ext cx="37306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Abbreviations: </a:t>
            </a:r>
            <a:r>
              <a:rPr lang="en-GB" altLang="en-US" sz="800" b="1" dirty="0">
                <a:latin typeface="Calibri" panose="020F0502020204030204" pitchFamily="34" charset="0"/>
              </a:rPr>
              <a:t>	NICPS</a:t>
            </a:r>
            <a:r>
              <a:rPr lang="en-GB" altLang="en-US" sz="800" dirty="0">
                <a:latin typeface="Calibri" panose="020F0502020204030204" pitchFamily="34" charset="0"/>
              </a:rPr>
              <a:t>: Nigerian Investment Certification Programme for States                  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	</a:t>
            </a:r>
            <a:r>
              <a:rPr lang="en-GB" altLang="en-US" sz="800" b="1" dirty="0">
                <a:latin typeface="Calibri" panose="020F0502020204030204" pitchFamily="34" charset="0"/>
              </a:rPr>
              <a:t>IGR</a:t>
            </a:r>
            <a:r>
              <a:rPr lang="en-GB" altLang="en-US" sz="800" dirty="0">
                <a:latin typeface="Calibri" panose="020F0502020204030204" pitchFamily="34" charset="0"/>
              </a:rPr>
              <a:t>:     Internal Generated Revenue</a:t>
            </a:r>
          </a:p>
        </p:txBody>
      </p:sp>
      <p:sp>
        <p:nvSpPr>
          <p:cNvPr id="23678" name="TextBox 152">
            <a:extLst>
              <a:ext uri="{FF2B5EF4-FFF2-40B4-BE49-F238E27FC236}">
                <a16:creationId xmlns:a16="http://schemas.microsoft.com/office/drawing/2014/main" id="{BFAF6896-F732-45FC-AC47-950DF99D9E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4575" y="1125096"/>
            <a:ext cx="3446463" cy="16927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15888" indent="-11588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85725" indent="-85725">
              <a:buFont typeface="Arial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Major economic and industrial centre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Largest producer of ginger in Nigeria 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Efficient transportation infrastructure (road, rail and airport)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Efficient land management system (30 days processing time)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</a:rPr>
              <a:t>High graphite deposits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</a:rPr>
              <a:t>19+ deposit of solid minerals</a:t>
            </a:r>
            <a:endParaRPr lang="en-GB" sz="1300" dirty="0">
              <a:latin typeface="Calibri" panose="020F0502020204030204" pitchFamily="34" charset="0"/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D4E23C6-26A0-4545-B8F7-7007C8EEBFE4}"/>
              </a:ext>
            </a:extLst>
          </p:cNvPr>
          <p:cNvSpPr txBox="1"/>
          <p:nvPr/>
        </p:nvSpPr>
        <p:spPr>
          <a:xfrm>
            <a:off x="4338638" y="5265738"/>
            <a:ext cx="247491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id you know?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132" name="Text Placeholder 42">
            <a:extLst>
              <a:ext uri="{FF2B5EF4-FFF2-40B4-BE49-F238E27FC236}">
                <a16:creationId xmlns:a16="http://schemas.microsoft.com/office/drawing/2014/main" id="{D510D0DC-1548-4249-8DB1-9A1055126D07}"/>
              </a:ext>
            </a:extLst>
          </p:cNvPr>
          <p:cNvSpPr txBox="1">
            <a:spLocks/>
          </p:cNvSpPr>
          <p:nvPr/>
        </p:nvSpPr>
        <p:spPr>
          <a:xfrm>
            <a:off x="522288" y="5511800"/>
            <a:ext cx="3733800" cy="701675"/>
          </a:xfrm>
          <a:prstGeom prst="rect">
            <a:avLst/>
          </a:prstGeom>
        </p:spPr>
        <p:txBody>
          <a:bodyPr lIns="36576" tIns="0" rIns="36576" bIns="0"/>
          <a:lstStyle>
            <a:lvl1pPr marL="0" indent="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/>
              <a:buNone/>
              <a:defRPr sz="800" b="1" baseline="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6575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93763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 charset="0"/>
              <a:buChar char="►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50950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619250" indent="-188913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0764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25336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29908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34480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NIGERIAN INVESTMENT PROMOTION COMMISSION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>
                <a:solidFill>
                  <a:schemeClr val="tx1"/>
                </a:solidFill>
                <a:hlinkClick r:id="rId7"/>
              </a:rPr>
              <a:t>statesco@nipc.gov.ng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endParaRPr lang="en-US" sz="5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KADUNA STATE INVESTMENT PROMOTION AGENCY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 err="1">
                <a:solidFill>
                  <a:schemeClr val="tx1"/>
                </a:solidFill>
                <a:hlinkClick r:id="rId8"/>
              </a:rPr>
              <a:t>contact.kadipa@kdsg.gov.ng</a:t>
            </a:r>
            <a:r>
              <a:rPr lang="en-US" sz="1000" b="0" kern="0" dirty="0">
                <a:solidFill>
                  <a:schemeClr val="tx1"/>
                </a:solidFill>
              </a:rPr>
              <a:t> </a:t>
            </a:r>
          </a:p>
        </p:txBody>
      </p:sp>
      <p:pic>
        <p:nvPicPr>
          <p:cNvPr id="157" name="Picture 156" descr="livestock.jpg"/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t="17215" r="72671" b="56268"/>
          <a:stretch>
            <a:fillRect/>
          </a:stretch>
        </p:blipFill>
        <p:spPr>
          <a:xfrm>
            <a:off x="8194115" y="3840661"/>
            <a:ext cx="750278" cy="524341"/>
          </a:xfrm>
          <a:prstGeom prst="rect">
            <a:avLst/>
          </a:prstGeom>
        </p:spPr>
      </p:pic>
      <p:pic>
        <p:nvPicPr>
          <p:cNvPr id="158" name="Picture 157" descr="Maize.jpg"/>
          <p:cNvPicPr>
            <a:picLocks noChangeAspect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951815" y="3907457"/>
            <a:ext cx="549919" cy="537806"/>
          </a:xfrm>
          <a:prstGeom prst="rect">
            <a:avLst/>
          </a:prstGeom>
        </p:spPr>
      </p:pic>
      <p:pic>
        <p:nvPicPr>
          <p:cNvPr id="159" name="Picture 158">
            <a:extLst>
              <a:ext uri="{FF2B5EF4-FFF2-40B4-BE49-F238E27FC236}">
                <a16:creationId xmlns:a16="http://schemas.microsoft.com/office/drawing/2014/main" id="{D8040F76-C139-48FE-AF25-46289E2AE7FC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49165" t="247" r="356" b="71572"/>
          <a:stretch/>
        </p:blipFill>
        <p:spPr>
          <a:xfrm>
            <a:off x="8309112" y="3167309"/>
            <a:ext cx="457928" cy="358086"/>
          </a:xfrm>
          <a:prstGeom prst="rect">
            <a:avLst/>
          </a:prstGeom>
        </p:spPr>
      </p:pic>
      <p:pic>
        <p:nvPicPr>
          <p:cNvPr id="160" name="Picture 159">
            <a:extLst>
              <a:ext uri="{FF2B5EF4-FFF2-40B4-BE49-F238E27FC236}">
                <a16:creationId xmlns:a16="http://schemas.microsoft.com/office/drawing/2014/main" id="{92BE5D6A-F622-4648-8A88-61C1DE2ECB7C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25768" t="9739" r="24719" b="8669"/>
          <a:stretch/>
        </p:blipFill>
        <p:spPr>
          <a:xfrm>
            <a:off x="6928503" y="3873160"/>
            <a:ext cx="300580" cy="495323"/>
          </a:xfrm>
          <a:prstGeom prst="rect">
            <a:avLst/>
          </a:prstGeom>
        </p:spPr>
      </p:pic>
      <p:pic>
        <p:nvPicPr>
          <p:cNvPr id="161" name="Picture 160" descr="Logistic.png"/>
          <p:cNvPicPr>
            <a:picLocks noChangeAspect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169499" y="3135045"/>
            <a:ext cx="442964" cy="392110"/>
          </a:xfrm>
          <a:prstGeom prst="rect">
            <a:avLst/>
          </a:prstGeom>
        </p:spPr>
      </p:pic>
      <p:pic>
        <p:nvPicPr>
          <p:cNvPr id="163" name="Picture 162" descr="ginger.jpg"/>
          <p:cNvPicPr>
            <a:picLocks noChangeAspect="1"/>
          </p:cNvPicPr>
          <p:nvPr/>
        </p:nvPicPr>
        <p:blipFill>
          <a:blip r:embed="rId14" cstate="print">
            <a:clrChange>
              <a:clrFrom>
                <a:srgbClr val="F6F6F6"/>
              </a:clrFrom>
              <a:clrTo>
                <a:srgbClr val="F6F6F6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r="41045"/>
          <a:stretch>
            <a:fillRect/>
          </a:stretch>
        </p:blipFill>
        <p:spPr>
          <a:xfrm>
            <a:off x="7601567" y="3050192"/>
            <a:ext cx="400104" cy="602747"/>
          </a:xfrm>
          <a:prstGeom prst="rect">
            <a:avLst/>
          </a:prstGeom>
          <a:noFill/>
          <a:ln>
            <a:noFill/>
          </a:ln>
        </p:spPr>
      </p:pic>
      <p:sp>
        <p:nvSpPr>
          <p:cNvPr id="191" name="Oval 190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238751" y="3833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2" name="Oval 191">
            <a:extLst>
              <a:ext uri="{FF2B5EF4-FFF2-40B4-BE49-F238E27FC236}">
                <a16:creationId xmlns:a16="http://schemas.microsoft.com/office/drawing/2014/main" id="{FF015425-7997-4612-9D0E-1F6C433DFCC7}"/>
              </a:ext>
            </a:extLst>
          </p:cNvPr>
          <p:cNvSpPr/>
          <p:nvPr/>
        </p:nvSpPr>
        <p:spPr>
          <a:xfrm>
            <a:off x="6080877" y="3040856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3" name="Oval 192">
            <a:extLst>
              <a:ext uri="{FF2B5EF4-FFF2-40B4-BE49-F238E27FC236}">
                <a16:creationId xmlns:a16="http://schemas.microsoft.com/office/drawing/2014/main" id="{4C0B7457-CABD-4AC8-8A1A-1FD468581E4D}"/>
              </a:ext>
            </a:extLst>
          </p:cNvPr>
          <p:cNvSpPr/>
          <p:nvPr/>
        </p:nvSpPr>
        <p:spPr>
          <a:xfrm>
            <a:off x="6784796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4" name="Oval 193">
            <a:extLst>
              <a:ext uri="{FF2B5EF4-FFF2-40B4-BE49-F238E27FC236}">
                <a16:creationId xmlns:a16="http://schemas.microsoft.com/office/drawing/2014/main" id="{2D626A89-F50C-45A3-9271-5D3F2EEA9C83}"/>
              </a:ext>
            </a:extLst>
          </p:cNvPr>
          <p:cNvSpPr/>
          <p:nvPr/>
        </p:nvSpPr>
        <p:spPr>
          <a:xfrm>
            <a:off x="7518399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5" name="Oval 194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240713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6" name="Oval 195">
            <a:extLst>
              <a:ext uri="{FF2B5EF4-FFF2-40B4-BE49-F238E27FC236}">
                <a16:creationId xmlns:a16="http://schemas.microsoft.com/office/drawing/2014/main" id="{A62E850A-D87D-46D0-9257-0071E677FCF0}"/>
              </a:ext>
            </a:extLst>
          </p:cNvPr>
          <p:cNvSpPr/>
          <p:nvPr/>
        </p:nvSpPr>
        <p:spPr>
          <a:xfrm>
            <a:off x="8947150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7" name="Oval 196">
            <a:extLst>
              <a:ext uri="{FF2B5EF4-FFF2-40B4-BE49-F238E27FC236}">
                <a16:creationId xmlns:a16="http://schemas.microsoft.com/office/drawing/2014/main" id="{4D1FAA17-3EFF-404B-B4C4-B468BCE2E9A5}"/>
              </a:ext>
            </a:extLst>
          </p:cNvPr>
          <p:cNvSpPr/>
          <p:nvPr/>
        </p:nvSpPr>
        <p:spPr>
          <a:xfrm>
            <a:off x="6078265" y="3836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8" name="Oval 197">
            <a:extLst>
              <a:ext uri="{FF2B5EF4-FFF2-40B4-BE49-F238E27FC236}">
                <a16:creationId xmlns:a16="http://schemas.microsoft.com/office/drawing/2014/main" id="{E861211D-5D09-4577-8A09-FD96D972A5D4}"/>
              </a:ext>
            </a:extLst>
          </p:cNvPr>
          <p:cNvSpPr/>
          <p:nvPr/>
        </p:nvSpPr>
        <p:spPr>
          <a:xfrm>
            <a:off x="6780509" y="3833831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9" name="Oval 198">
            <a:extLst>
              <a:ext uri="{FF2B5EF4-FFF2-40B4-BE49-F238E27FC236}">
                <a16:creationId xmlns:a16="http://schemas.microsoft.com/office/drawing/2014/main" id="{3CBEFD1C-6360-47CD-AEDD-DFB49FC0E0C7}"/>
              </a:ext>
            </a:extLst>
          </p:cNvPr>
          <p:cNvSpPr/>
          <p:nvPr/>
        </p:nvSpPr>
        <p:spPr>
          <a:xfrm>
            <a:off x="7518603" y="3830834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0" name="Oval 199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953126" y="3843338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2" name="object 41">
            <a:extLst>
              <a:ext uri="{FF2B5EF4-FFF2-40B4-BE49-F238E27FC236}">
                <a16:creationId xmlns:a16="http://schemas.microsoft.com/office/drawing/2014/main" id="{2CCB99A3-0CDA-4815-A7F5-E90EBA59CD5F}"/>
              </a:ext>
            </a:extLst>
          </p:cNvPr>
          <p:cNvSpPr txBox="1"/>
          <p:nvPr/>
        </p:nvSpPr>
        <p:spPr>
          <a:xfrm>
            <a:off x="4583798" y="4623825"/>
            <a:ext cx="1340600" cy="646331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R="5080" indent="12700" algn="ctr">
              <a:lnSpc>
                <a:spcPct val="100000"/>
              </a:lnSpc>
            </a:pPr>
            <a:r>
              <a:rPr lang="en-GB" sz="1400" b="1" spc="-5" dirty="0">
                <a:solidFill>
                  <a:srgbClr val="FF0000"/>
                </a:solidFill>
                <a:latin typeface="Calibri" panose="020F0502020204030204" pitchFamily="34" charset="0"/>
                <a:cs typeface="Arial"/>
              </a:rPr>
              <a:t>State Investment Certification Process  Ongoing</a:t>
            </a:r>
            <a:endParaRPr sz="1400" b="1" dirty="0">
              <a:solidFill>
                <a:srgbClr val="FF0000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295256" y="5428987"/>
            <a:ext cx="256381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Kaduna's name derives from the Hausa word "</a:t>
            </a:r>
            <a:r>
              <a:rPr lang="en-US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kada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" for crocodil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15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814" t="22008" r="16198" b="36386"/>
          <a:stretch/>
        </p:blipFill>
        <p:spPr>
          <a:xfrm>
            <a:off x="6070371" y="3940777"/>
            <a:ext cx="614920" cy="38192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1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26" t="7038" r="14573" b="21637"/>
          <a:stretch/>
        </p:blipFill>
        <p:spPr>
          <a:xfrm>
            <a:off x="7592244" y="3885234"/>
            <a:ext cx="453451" cy="46071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1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76" t="16966" r="5088" b="31307"/>
          <a:stretch/>
        </p:blipFill>
        <p:spPr>
          <a:xfrm>
            <a:off x="6830421" y="3153149"/>
            <a:ext cx="549960" cy="320230"/>
          </a:xfrm>
          <a:prstGeom prst="rect">
            <a:avLst/>
          </a:prstGeom>
        </p:spPr>
      </p:pic>
      <p:pic>
        <p:nvPicPr>
          <p:cNvPr id="127" name="Picture 126"/>
          <p:cNvPicPr>
            <a:picLocks noChangeAspect="1"/>
          </p:cNvPicPr>
          <p:nvPr/>
        </p:nvPicPr>
        <p:blipFill rotWithShape="1">
          <a:blip r:embed="rId18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52" t="4498" r="11860" b="18554"/>
          <a:stretch/>
        </p:blipFill>
        <p:spPr>
          <a:xfrm>
            <a:off x="9027299" y="3090977"/>
            <a:ext cx="446498" cy="447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4028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Pentagon 19">
            <a:extLst>
              <a:ext uri="{FF2B5EF4-FFF2-40B4-BE49-F238E27FC236}">
                <a16:creationId xmlns:a16="http://schemas.microsoft.com/office/drawing/2014/main" id="{CAD93C59-72A9-4F6D-A654-02B9F8A5EFF9}"/>
              </a:ext>
            </a:extLst>
          </p:cNvPr>
          <p:cNvSpPr>
            <a:spLocks/>
          </p:cNvSpPr>
          <p:nvPr/>
        </p:nvSpPr>
        <p:spPr bwMode="auto">
          <a:xfrm>
            <a:off x="756602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dirty="0">
                <a:solidFill>
                  <a:prstClr val="white"/>
                </a:solidFill>
                <a:latin typeface="Calibri" panose="020F0502020204030204" pitchFamily="34" charset="0"/>
              </a:rPr>
              <a:t>7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of 37</a:t>
            </a:r>
          </a:p>
        </p:txBody>
      </p:sp>
      <p:sp>
        <p:nvSpPr>
          <p:cNvPr id="376" name="Pentagon 19">
            <a:extLst>
              <a:ext uri="{FF2B5EF4-FFF2-40B4-BE49-F238E27FC236}">
                <a16:creationId xmlns:a16="http://schemas.microsoft.com/office/drawing/2014/main" id="{1BDC5465-6022-4404-B4D8-ED55CF961B8A}"/>
              </a:ext>
            </a:extLst>
          </p:cNvPr>
          <p:cNvSpPr>
            <a:spLocks/>
          </p:cNvSpPr>
          <p:nvPr/>
        </p:nvSpPr>
        <p:spPr bwMode="auto">
          <a:xfrm>
            <a:off x="824865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 of 3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57F1EBC-D01A-4083-B657-63AFB1490839}"/>
              </a:ext>
            </a:extLst>
          </p:cNvPr>
          <p:cNvSpPr txBox="1"/>
          <p:nvPr/>
        </p:nvSpPr>
        <p:spPr>
          <a:xfrm>
            <a:off x="6122988" y="2749550"/>
            <a:ext cx="3475037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Investment Opportunit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D251BD-538A-4F4F-847E-620EEDA298A0}"/>
              </a:ext>
            </a:extLst>
          </p:cNvPr>
          <p:cNvSpPr txBox="1"/>
          <p:nvPr/>
        </p:nvSpPr>
        <p:spPr>
          <a:xfrm>
            <a:off x="6881813" y="4632911"/>
            <a:ext cx="2697162" cy="33855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Doing Business Ranking(2018)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1B8F13C-F732-4DA1-9250-DB02936E7688}"/>
              </a:ext>
            </a:extLst>
          </p:cNvPr>
          <p:cNvSpPr/>
          <p:nvPr/>
        </p:nvSpPr>
        <p:spPr>
          <a:xfrm>
            <a:off x="756602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egistering Propert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6BA1818-32ED-44D1-975C-958200BDD124}"/>
              </a:ext>
            </a:extLst>
          </p:cNvPr>
          <p:cNvSpPr/>
          <p:nvPr/>
        </p:nvSpPr>
        <p:spPr>
          <a:xfrm>
            <a:off x="8248650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ealing with Construction Permits</a:t>
            </a:r>
          </a:p>
        </p:txBody>
      </p:sp>
      <p:sp>
        <p:nvSpPr>
          <p:cNvPr id="23560" name="TextBox 174">
            <a:extLst>
              <a:ext uri="{FF2B5EF4-FFF2-40B4-BE49-F238E27FC236}">
                <a16:creationId xmlns:a16="http://schemas.microsoft.com/office/drawing/2014/main" id="{1573FD4E-62B9-45E8-8F28-CED990ED2D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0B63A6C-2A5E-4CA3-BC66-4CBC6008BC9A}"/>
              </a:ext>
            </a:extLst>
          </p:cNvPr>
          <p:cNvSpPr/>
          <p:nvPr/>
        </p:nvSpPr>
        <p:spPr>
          <a:xfrm>
            <a:off x="893127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nforcing Contracts</a:t>
            </a:r>
          </a:p>
        </p:txBody>
      </p:sp>
      <p:pic>
        <p:nvPicPr>
          <p:cNvPr id="23562" name="Picture 4">
            <a:extLst>
              <a:ext uri="{FF2B5EF4-FFF2-40B4-BE49-F238E27FC236}">
                <a16:creationId xmlns:a16="http://schemas.microsoft.com/office/drawing/2014/main" id="{7C8EEAB2-0239-4BB5-94B3-23E319AF1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513" y="5249863"/>
            <a:ext cx="439737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6" name="Pentagon 19">
            <a:extLst>
              <a:ext uri="{FF2B5EF4-FFF2-40B4-BE49-F238E27FC236}">
                <a16:creationId xmlns:a16="http://schemas.microsoft.com/office/drawing/2014/main" id="{5F8E9670-D71A-4765-B6B5-D711BC9AD6E1}"/>
              </a:ext>
            </a:extLst>
          </p:cNvPr>
          <p:cNvSpPr>
            <a:spLocks/>
          </p:cNvSpPr>
          <p:nvPr/>
        </p:nvSpPr>
        <p:spPr bwMode="auto">
          <a:xfrm>
            <a:off x="893127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dirty="0">
                <a:solidFill>
                  <a:prstClr val="white"/>
                </a:solidFill>
                <a:latin typeface="Calibri" panose="020F0502020204030204" pitchFamily="34" charset="0"/>
              </a:rPr>
              <a:t>10</a:t>
            </a:r>
            <a:r>
              <a:rPr kumimoji="0" lang="en-GB" sz="10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f 37</a:t>
            </a:r>
          </a:p>
        </p:txBody>
      </p:sp>
      <p:sp>
        <p:nvSpPr>
          <p:cNvPr id="23564" name="Title 3">
            <a:extLst>
              <a:ext uri="{FF2B5EF4-FFF2-40B4-BE49-F238E27FC236}">
                <a16:creationId xmlns:a16="http://schemas.microsoft.com/office/drawing/2014/main" id="{C62A749B-CFC7-4224-A789-D20A772AC33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en-GB" alt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ano State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6882DF2C-9120-4A66-8487-575D9494F4D6}"/>
              </a:ext>
            </a:extLst>
          </p:cNvPr>
          <p:cNvSpPr txBox="1"/>
          <p:nvPr/>
        </p:nvSpPr>
        <p:spPr>
          <a:xfrm rot="16200000">
            <a:off x="-2290084" y="3478372"/>
            <a:ext cx="5303837" cy="2743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prstClr val="white"/>
                </a:solidFill>
                <a:latin typeface="Calibri" panose="020F0502020204030204" pitchFamily="34" charset="0"/>
                <a:cs typeface="Arial" charset="0"/>
              </a:rPr>
              <a:t>Centre of Commerce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grpSp>
        <p:nvGrpSpPr>
          <p:cNvPr id="23566" name="Group 9">
            <a:extLst>
              <a:ext uri="{FF2B5EF4-FFF2-40B4-BE49-F238E27FC236}">
                <a16:creationId xmlns:a16="http://schemas.microsoft.com/office/drawing/2014/main" id="{5B6131BD-3CE3-4FC4-B13A-FA9B797C1EF5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41338" y="963613"/>
            <a:ext cx="2897187" cy="2319337"/>
            <a:chOff x="770228" y="1459989"/>
            <a:chExt cx="4081047" cy="3267527"/>
          </a:xfrm>
        </p:grpSpPr>
        <p:sp>
          <p:nvSpPr>
            <p:cNvPr id="299" name="Freeform 4">
              <a:extLst>
                <a:ext uri="{FF2B5EF4-FFF2-40B4-BE49-F238E27FC236}">
                  <a16:creationId xmlns:a16="http://schemas.microsoft.com/office/drawing/2014/main" id="{B6150C82-CBE5-48B4-B60C-C210BB7B26A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91538" y="4349548"/>
              <a:ext cx="418167" cy="377968"/>
            </a:xfrm>
            <a:custGeom>
              <a:avLst/>
              <a:gdLst>
                <a:gd name="T0" fmla="*/ 12 w 786"/>
                <a:gd name="T1" fmla="*/ 19 h 714"/>
                <a:gd name="T2" fmla="*/ 22 w 786"/>
                <a:gd name="T3" fmla="*/ 18 h 714"/>
                <a:gd name="T4" fmla="*/ 27 w 786"/>
                <a:gd name="T5" fmla="*/ 17 h 714"/>
                <a:gd name="T6" fmla="*/ 30 w 786"/>
                <a:gd name="T7" fmla="*/ 14 h 714"/>
                <a:gd name="T8" fmla="*/ 37 w 786"/>
                <a:gd name="T9" fmla="*/ 16 h 714"/>
                <a:gd name="T10" fmla="*/ 43 w 786"/>
                <a:gd name="T11" fmla="*/ 13 h 714"/>
                <a:gd name="T12" fmla="*/ 48 w 786"/>
                <a:gd name="T13" fmla="*/ 8 h 714"/>
                <a:gd name="T14" fmla="*/ 55 w 786"/>
                <a:gd name="T15" fmla="*/ 4 h 714"/>
                <a:gd name="T16" fmla="*/ 66 w 786"/>
                <a:gd name="T17" fmla="*/ 0 h 714"/>
                <a:gd name="T18" fmla="*/ 63 w 786"/>
                <a:gd name="T19" fmla="*/ 12 h 714"/>
                <a:gd name="T20" fmla="*/ 59 w 786"/>
                <a:gd name="T21" fmla="*/ 19 h 714"/>
                <a:gd name="T22" fmla="*/ 57 w 786"/>
                <a:gd name="T23" fmla="*/ 29 h 714"/>
                <a:gd name="T24" fmla="*/ 59 w 786"/>
                <a:gd name="T25" fmla="*/ 36 h 714"/>
                <a:gd name="T26" fmla="*/ 66 w 786"/>
                <a:gd name="T27" fmla="*/ 35 h 714"/>
                <a:gd name="T28" fmla="*/ 64 w 786"/>
                <a:gd name="T29" fmla="*/ 41 h 714"/>
                <a:gd name="T30" fmla="*/ 64 w 786"/>
                <a:gd name="T31" fmla="*/ 48 h 714"/>
                <a:gd name="T32" fmla="*/ 63 w 786"/>
                <a:gd name="T33" fmla="*/ 56 h 714"/>
                <a:gd name="T34" fmla="*/ 60 w 786"/>
                <a:gd name="T35" fmla="*/ 60 h 714"/>
                <a:gd name="T36" fmla="*/ 57 w 786"/>
                <a:gd name="T37" fmla="*/ 58 h 714"/>
                <a:gd name="T38" fmla="*/ 54 w 786"/>
                <a:gd name="T39" fmla="*/ 54 h 714"/>
                <a:gd name="T40" fmla="*/ 53 w 786"/>
                <a:gd name="T41" fmla="*/ 51 h 714"/>
                <a:gd name="T42" fmla="*/ 51 w 786"/>
                <a:gd name="T43" fmla="*/ 53 h 714"/>
                <a:gd name="T44" fmla="*/ 49 w 786"/>
                <a:gd name="T45" fmla="*/ 54 h 714"/>
                <a:gd name="T46" fmla="*/ 47 w 786"/>
                <a:gd name="T47" fmla="*/ 50 h 714"/>
                <a:gd name="T48" fmla="*/ 48 w 786"/>
                <a:gd name="T49" fmla="*/ 54 h 714"/>
                <a:gd name="T50" fmla="*/ 47 w 786"/>
                <a:gd name="T51" fmla="*/ 54 h 714"/>
                <a:gd name="T52" fmla="*/ 46 w 786"/>
                <a:gd name="T53" fmla="*/ 59 h 714"/>
                <a:gd name="T54" fmla="*/ 47 w 786"/>
                <a:gd name="T55" fmla="*/ 62 h 714"/>
                <a:gd name="T56" fmla="*/ 42 w 786"/>
                <a:gd name="T57" fmla="*/ 62 h 714"/>
                <a:gd name="T58" fmla="*/ 39 w 786"/>
                <a:gd name="T59" fmla="*/ 57 h 714"/>
                <a:gd name="T60" fmla="*/ 40 w 786"/>
                <a:gd name="T61" fmla="*/ 54 h 714"/>
                <a:gd name="T62" fmla="*/ 43 w 786"/>
                <a:gd name="T63" fmla="*/ 55 h 714"/>
                <a:gd name="T64" fmla="*/ 40 w 786"/>
                <a:gd name="T65" fmla="*/ 53 h 714"/>
                <a:gd name="T66" fmla="*/ 38 w 786"/>
                <a:gd name="T67" fmla="*/ 57 h 714"/>
                <a:gd name="T68" fmla="*/ 37 w 786"/>
                <a:gd name="T69" fmla="*/ 57 h 714"/>
                <a:gd name="T70" fmla="*/ 37 w 786"/>
                <a:gd name="T71" fmla="*/ 60 h 714"/>
                <a:gd name="T72" fmla="*/ 33 w 786"/>
                <a:gd name="T73" fmla="*/ 56 h 714"/>
                <a:gd name="T74" fmla="*/ 32 w 786"/>
                <a:gd name="T75" fmla="*/ 58 h 714"/>
                <a:gd name="T76" fmla="*/ 26 w 786"/>
                <a:gd name="T77" fmla="*/ 54 h 714"/>
                <a:gd name="T78" fmla="*/ 26 w 786"/>
                <a:gd name="T79" fmla="*/ 54 h 714"/>
                <a:gd name="T80" fmla="*/ 24 w 786"/>
                <a:gd name="T81" fmla="*/ 51 h 714"/>
                <a:gd name="T82" fmla="*/ 22 w 786"/>
                <a:gd name="T83" fmla="*/ 51 h 714"/>
                <a:gd name="T84" fmla="*/ 20 w 786"/>
                <a:gd name="T85" fmla="*/ 50 h 714"/>
                <a:gd name="T86" fmla="*/ 20 w 786"/>
                <a:gd name="T87" fmla="*/ 48 h 714"/>
                <a:gd name="T88" fmla="*/ 18 w 786"/>
                <a:gd name="T89" fmla="*/ 47 h 714"/>
                <a:gd name="T90" fmla="*/ 15 w 786"/>
                <a:gd name="T91" fmla="*/ 45 h 714"/>
                <a:gd name="T92" fmla="*/ 11 w 786"/>
                <a:gd name="T93" fmla="*/ 39 h 714"/>
                <a:gd name="T94" fmla="*/ 12 w 786"/>
                <a:gd name="T95" fmla="*/ 36 h 714"/>
                <a:gd name="T96" fmla="*/ 7 w 786"/>
                <a:gd name="T97" fmla="*/ 33 h 714"/>
                <a:gd name="T98" fmla="*/ 5 w 786"/>
                <a:gd name="T99" fmla="*/ 28 h 714"/>
                <a:gd name="T100" fmla="*/ 7 w 786"/>
                <a:gd name="T101" fmla="*/ 30 h 714"/>
                <a:gd name="T102" fmla="*/ 4 w 786"/>
                <a:gd name="T103" fmla="*/ 24 h 714"/>
                <a:gd name="T104" fmla="*/ 2 w 786"/>
                <a:gd name="T105" fmla="*/ 20 h 714"/>
                <a:gd name="T106" fmla="*/ 0 w 786"/>
                <a:gd name="T107" fmla="*/ 15 h 714"/>
                <a:gd name="T108" fmla="*/ 4 w 786"/>
                <a:gd name="T109" fmla="*/ 16 h 714"/>
                <a:gd name="T110" fmla="*/ 55 w 786"/>
                <a:gd name="T111" fmla="*/ 60 h 714"/>
                <a:gd name="T112" fmla="*/ 47 w 786"/>
                <a:gd name="T113" fmla="*/ 60 h 714"/>
                <a:gd name="T114" fmla="*/ 51 w 786"/>
                <a:gd name="T115" fmla="*/ 54 h 714"/>
                <a:gd name="T116" fmla="*/ 54 w 786"/>
                <a:gd name="T117" fmla="*/ 56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86"/>
                <a:gd name="T178" fmla="*/ 0 h 714"/>
                <a:gd name="T179" fmla="*/ 786 w 786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86" h="714">
                  <a:moveTo>
                    <a:pt x="54" y="186"/>
                  </a:moveTo>
                  <a:lnTo>
                    <a:pt x="54" y="192"/>
                  </a:lnTo>
                  <a:lnTo>
                    <a:pt x="72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204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20" y="210"/>
                  </a:lnTo>
                  <a:lnTo>
                    <a:pt x="126" y="210"/>
                  </a:lnTo>
                  <a:lnTo>
                    <a:pt x="132" y="210"/>
                  </a:lnTo>
                  <a:lnTo>
                    <a:pt x="132" y="216"/>
                  </a:lnTo>
                  <a:lnTo>
                    <a:pt x="138" y="222"/>
                  </a:lnTo>
                  <a:lnTo>
                    <a:pt x="150" y="222"/>
                  </a:lnTo>
                  <a:lnTo>
                    <a:pt x="162" y="234"/>
                  </a:lnTo>
                  <a:lnTo>
                    <a:pt x="168" y="240"/>
                  </a:lnTo>
                  <a:lnTo>
                    <a:pt x="180" y="240"/>
                  </a:lnTo>
                  <a:lnTo>
                    <a:pt x="186" y="228"/>
                  </a:lnTo>
                  <a:lnTo>
                    <a:pt x="210" y="234"/>
                  </a:lnTo>
                  <a:lnTo>
                    <a:pt x="222" y="228"/>
                  </a:lnTo>
                  <a:lnTo>
                    <a:pt x="228" y="216"/>
                  </a:lnTo>
                  <a:lnTo>
                    <a:pt x="234" y="210"/>
                  </a:lnTo>
                  <a:lnTo>
                    <a:pt x="240" y="216"/>
                  </a:lnTo>
                  <a:lnTo>
                    <a:pt x="246" y="210"/>
                  </a:lnTo>
                  <a:lnTo>
                    <a:pt x="252" y="210"/>
                  </a:lnTo>
                  <a:lnTo>
                    <a:pt x="258" y="210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192"/>
                  </a:lnTo>
                  <a:lnTo>
                    <a:pt x="270" y="192"/>
                  </a:lnTo>
                  <a:lnTo>
                    <a:pt x="276" y="192"/>
                  </a:lnTo>
                  <a:lnTo>
                    <a:pt x="282" y="192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192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198"/>
                  </a:lnTo>
                  <a:lnTo>
                    <a:pt x="312" y="198"/>
                  </a:lnTo>
                  <a:lnTo>
                    <a:pt x="312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24" y="186"/>
                  </a:lnTo>
                  <a:lnTo>
                    <a:pt x="318" y="180"/>
                  </a:lnTo>
                  <a:lnTo>
                    <a:pt x="324" y="180"/>
                  </a:lnTo>
                  <a:lnTo>
                    <a:pt x="330" y="186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74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54" y="144"/>
                  </a:lnTo>
                  <a:lnTo>
                    <a:pt x="360" y="144"/>
                  </a:lnTo>
                  <a:lnTo>
                    <a:pt x="372" y="156"/>
                  </a:lnTo>
                  <a:lnTo>
                    <a:pt x="372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96" y="168"/>
                  </a:lnTo>
                  <a:lnTo>
                    <a:pt x="396" y="174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26" y="186"/>
                  </a:lnTo>
                  <a:lnTo>
                    <a:pt x="432" y="186"/>
                  </a:lnTo>
                  <a:lnTo>
                    <a:pt x="438" y="180"/>
                  </a:lnTo>
                  <a:lnTo>
                    <a:pt x="438" y="168"/>
                  </a:lnTo>
                  <a:lnTo>
                    <a:pt x="438" y="162"/>
                  </a:lnTo>
                  <a:lnTo>
                    <a:pt x="444" y="156"/>
                  </a:lnTo>
                  <a:lnTo>
                    <a:pt x="450" y="156"/>
                  </a:lnTo>
                  <a:lnTo>
                    <a:pt x="456" y="150"/>
                  </a:lnTo>
                  <a:lnTo>
                    <a:pt x="462" y="156"/>
                  </a:lnTo>
                  <a:lnTo>
                    <a:pt x="468" y="162"/>
                  </a:lnTo>
                  <a:lnTo>
                    <a:pt x="474" y="162"/>
                  </a:lnTo>
                  <a:lnTo>
                    <a:pt x="486" y="162"/>
                  </a:lnTo>
                  <a:lnTo>
                    <a:pt x="492" y="156"/>
                  </a:lnTo>
                  <a:lnTo>
                    <a:pt x="498" y="150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28" y="126"/>
                  </a:lnTo>
                  <a:lnTo>
                    <a:pt x="522" y="120"/>
                  </a:lnTo>
                  <a:lnTo>
                    <a:pt x="522" y="114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28" y="102"/>
                  </a:lnTo>
                  <a:lnTo>
                    <a:pt x="534" y="96"/>
                  </a:lnTo>
                  <a:lnTo>
                    <a:pt x="552" y="96"/>
                  </a:lnTo>
                  <a:lnTo>
                    <a:pt x="570" y="102"/>
                  </a:lnTo>
                  <a:lnTo>
                    <a:pt x="582" y="96"/>
                  </a:lnTo>
                  <a:lnTo>
                    <a:pt x="582" y="90"/>
                  </a:lnTo>
                  <a:lnTo>
                    <a:pt x="582" y="78"/>
                  </a:lnTo>
                  <a:lnTo>
                    <a:pt x="582" y="72"/>
                  </a:lnTo>
                  <a:lnTo>
                    <a:pt x="582" y="66"/>
                  </a:lnTo>
                  <a:lnTo>
                    <a:pt x="594" y="60"/>
                  </a:lnTo>
                  <a:lnTo>
                    <a:pt x="600" y="60"/>
                  </a:lnTo>
                  <a:lnTo>
                    <a:pt x="606" y="54"/>
                  </a:lnTo>
                  <a:lnTo>
                    <a:pt x="618" y="48"/>
                  </a:lnTo>
                  <a:lnTo>
                    <a:pt x="618" y="42"/>
                  </a:lnTo>
                  <a:lnTo>
                    <a:pt x="624" y="42"/>
                  </a:lnTo>
                  <a:lnTo>
                    <a:pt x="636" y="48"/>
                  </a:lnTo>
                  <a:lnTo>
                    <a:pt x="648" y="54"/>
                  </a:lnTo>
                  <a:lnTo>
                    <a:pt x="660" y="54"/>
                  </a:lnTo>
                  <a:lnTo>
                    <a:pt x="666" y="60"/>
                  </a:lnTo>
                  <a:lnTo>
                    <a:pt x="672" y="54"/>
                  </a:lnTo>
                  <a:lnTo>
                    <a:pt x="684" y="48"/>
                  </a:lnTo>
                  <a:lnTo>
                    <a:pt x="708" y="42"/>
                  </a:lnTo>
                  <a:lnTo>
                    <a:pt x="714" y="42"/>
                  </a:lnTo>
                  <a:lnTo>
                    <a:pt x="720" y="36"/>
                  </a:lnTo>
                  <a:lnTo>
                    <a:pt x="720" y="30"/>
                  </a:lnTo>
                  <a:lnTo>
                    <a:pt x="714" y="12"/>
                  </a:lnTo>
                  <a:lnTo>
                    <a:pt x="708" y="0"/>
                  </a:lnTo>
                  <a:lnTo>
                    <a:pt x="738" y="6"/>
                  </a:lnTo>
                  <a:lnTo>
                    <a:pt x="756" y="6"/>
                  </a:lnTo>
                  <a:lnTo>
                    <a:pt x="762" y="42"/>
                  </a:lnTo>
                  <a:lnTo>
                    <a:pt x="738" y="72"/>
                  </a:lnTo>
                  <a:lnTo>
                    <a:pt x="750" y="90"/>
                  </a:lnTo>
                  <a:lnTo>
                    <a:pt x="762" y="96"/>
                  </a:lnTo>
                  <a:lnTo>
                    <a:pt x="756" y="102"/>
                  </a:lnTo>
                  <a:lnTo>
                    <a:pt x="750" y="108"/>
                  </a:lnTo>
                  <a:lnTo>
                    <a:pt x="750" y="114"/>
                  </a:lnTo>
                  <a:lnTo>
                    <a:pt x="750" y="120"/>
                  </a:lnTo>
                  <a:lnTo>
                    <a:pt x="750" y="126"/>
                  </a:lnTo>
                  <a:lnTo>
                    <a:pt x="750" y="132"/>
                  </a:lnTo>
                  <a:lnTo>
                    <a:pt x="738" y="132"/>
                  </a:lnTo>
                  <a:lnTo>
                    <a:pt x="732" y="138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14" y="144"/>
                  </a:lnTo>
                  <a:lnTo>
                    <a:pt x="714" y="150"/>
                  </a:lnTo>
                  <a:lnTo>
                    <a:pt x="720" y="156"/>
                  </a:lnTo>
                  <a:lnTo>
                    <a:pt x="720" y="162"/>
                  </a:lnTo>
                  <a:lnTo>
                    <a:pt x="714" y="162"/>
                  </a:lnTo>
                  <a:lnTo>
                    <a:pt x="708" y="168"/>
                  </a:lnTo>
                  <a:lnTo>
                    <a:pt x="708" y="180"/>
                  </a:lnTo>
                  <a:lnTo>
                    <a:pt x="708" y="192"/>
                  </a:lnTo>
                  <a:lnTo>
                    <a:pt x="696" y="198"/>
                  </a:lnTo>
                  <a:lnTo>
                    <a:pt x="696" y="204"/>
                  </a:lnTo>
                  <a:lnTo>
                    <a:pt x="684" y="210"/>
                  </a:lnTo>
                  <a:lnTo>
                    <a:pt x="684" y="216"/>
                  </a:lnTo>
                  <a:lnTo>
                    <a:pt x="684" y="222"/>
                  </a:lnTo>
                  <a:lnTo>
                    <a:pt x="678" y="228"/>
                  </a:lnTo>
                  <a:lnTo>
                    <a:pt x="678" y="234"/>
                  </a:lnTo>
                  <a:lnTo>
                    <a:pt x="672" y="240"/>
                  </a:lnTo>
                  <a:lnTo>
                    <a:pt x="672" y="252"/>
                  </a:lnTo>
                  <a:lnTo>
                    <a:pt x="672" y="258"/>
                  </a:lnTo>
                  <a:lnTo>
                    <a:pt x="666" y="264"/>
                  </a:lnTo>
                  <a:lnTo>
                    <a:pt x="678" y="264"/>
                  </a:lnTo>
                  <a:lnTo>
                    <a:pt x="684" y="276"/>
                  </a:lnTo>
                  <a:lnTo>
                    <a:pt x="684" y="288"/>
                  </a:lnTo>
                  <a:lnTo>
                    <a:pt x="672" y="300"/>
                  </a:lnTo>
                  <a:lnTo>
                    <a:pt x="660" y="318"/>
                  </a:lnTo>
                  <a:lnTo>
                    <a:pt x="660" y="336"/>
                  </a:lnTo>
                  <a:lnTo>
                    <a:pt x="654" y="342"/>
                  </a:lnTo>
                  <a:lnTo>
                    <a:pt x="660" y="354"/>
                  </a:lnTo>
                  <a:lnTo>
                    <a:pt x="660" y="366"/>
                  </a:lnTo>
                  <a:lnTo>
                    <a:pt x="666" y="378"/>
                  </a:lnTo>
                  <a:lnTo>
                    <a:pt x="672" y="390"/>
                  </a:lnTo>
                  <a:lnTo>
                    <a:pt x="678" y="396"/>
                  </a:lnTo>
                  <a:lnTo>
                    <a:pt x="684" y="390"/>
                  </a:lnTo>
                  <a:lnTo>
                    <a:pt x="690" y="390"/>
                  </a:lnTo>
                  <a:lnTo>
                    <a:pt x="690" y="396"/>
                  </a:lnTo>
                  <a:lnTo>
                    <a:pt x="684" y="396"/>
                  </a:lnTo>
                  <a:lnTo>
                    <a:pt x="684" y="402"/>
                  </a:lnTo>
                  <a:lnTo>
                    <a:pt x="684" y="408"/>
                  </a:lnTo>
                  <a:lnTo>
                    <a:pt x="678" y="414"/>
                  </a:lnTo>
                  <a:lnTo>
                    <a:pt x="684" y="414"/>
                  </a:lnTo>
                  <a:lnTo>
                    <a:pt x="684" y="420"/>
                  </a:lnTo>
                  <a:lnTo>
                    <a:pt x="684" y="426"/>
                  </a:lnTo>
                  <a:lnTo>
                    <a:pt x="690" y="420"/>
                  </a:lnTo>
                  <a:lnTo>
                    <a:pt x="696" y="420"/>
                  </a:lnTo>
                  <a:lnTo>
                    <a:pt x="696" y="426"/>
                  </a:lnTo>
                  <a:lnTo>
                    <a:pt x="690" y="426"/>
                  </a:lnTo>
                  <a:lnTo>
                    <a:pt x="696" y="426"/>
                  </a:lnTo>
                  <a:lnTo>
                    <a:pt x="708" y="426"/>
                  </a:lnTo>
                  <a:lnTo>
                    <a:pt x="726" y="414"/>
                  </a:lnTo>
                  <a:lnTo>
                    <a:pt x="732" y="408"/>
                  </a:lnTo>
                  <a:lnTo>
                    <a:pt x="744" y="402"/>
                  </a:lnTo>
                  <a:lnTo>
                    <a:pt x="756" y="402"/>
                  </a:lnTo>
                  <a:lnTo>
                    <a:pt x="768" y="402"/>
                  </a:lnTo>
                  <a:lnTo>
                    <a:pt x="786" y="408"/>
                  </a:lnTo>
                  <a:lnTo>
                    <a:pt x="786" y="414"/>
                  </a:lnTo>
                  <a:lnTo>
                    <a:pt x="774" y="420"/>
                  </a:lnTo>
                  <a:lnTo>
                    <a:pt x="774" y="426"/>
                  </a:lnTo>
                  <a:lnTo>
                    <a:pt x="768" y="432"/>
                  </a:lnTo>
                  <a:lnTo>
                    <a:pt x="762" y="438"/>
                  </a:lnTo>
                  <a:lnTo>
                    <a:pt x="756" y="438"/>
                  </a:lnTo>
                  <a:lnTo>
                    <a:pt x="756" y="444"/>
                  </a:lnTo>
                  <a:lnTo>
                    <a:pt x="756" y="450"/>
                  </a:lnTo>
                  <a:lnTo>
                    <a:pt x="762" y="450"/>
                  </a:lnTo>
                  <a:lnTo>
                    <a:pt x="750" y="456"/>
                  </a:lnTo>
                  <a:lnTo>
                    <a:pt x="738" y="468"/>
                  </a:lnTo>
                  <a:lnTo>
                    <a:pt x="726" y="480"/>
                  </a:lnTo>
                  <a:lnTo>
                    <a:pt x="726" y="486"/>
                  </a:lnTo>
                  <a:lnTo>
                    <a:pt x="732" y="486"/>
                  </a:lnTo>
                  <a:lnTo>
                    <a:pt x="732" y="492"/>
                  </a:lnTo>
                  <a:lnTo>
                    <a:pt x="732" y="504"/>
                  </a:lnTo>
                  <a:lnTo>
                    <a:pt x="738" y="504"/>
                  </a:lnTo>
                  <a:lnTo>
                    <a:pt x="744" y="510"/>
                  </a:lnTo>
                  <a:lnTo>
                    <a:pt x="738" y="522"/>
                  </a:lnTo>
                  <a:lnTo>
                    <a:pt x="744" y="528"/>
                  </a:lnTo>
                  <a:lnTo>
                    <a:pt x="756" y="534"/>
                  </a:lnTo>
                  <a:lnTo>
                    <a:pt x="756" y="540"/>
                  </a:lnTo>
                  <a:lnTo>
                    <a:pt x="744" y="552"/>
                  </a:lnTo>
                  <a:lnTo>
                    <a:pt x="738" y="552"/>
                  </a:lnTo>
                  <a:lnTo>
                    <a:pt x="738" y="558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64"/>
                  </a:lnTo>
                  <a:lnTo>
                    <a:pt x="744" y="576"/>
                  </a:lnTo>
                  <a:lnTo>
                    <a:pt x="738" y="588"/>
                  </a:lnTo>
                  <a:lnTo>
                    <a:pt x="738" y="594"/>
                  </a:lnTo>
                  <a:lnTo>
                    <a:pt x="738" y="600"/>
                  </a:lnTo>
                  <a:lnTo>
                    <a:pt x="738" y="606"/>
                  </a:lnTo>
                  <a:lnTo>
                    <a:pt x="732" y="612"/>
                  </a:lnTo>
                  <a:lnTo>
                    <a:pt x="726" y="624"/>
                  </a:lnTo>
                  <a:lnTo>
                    <a:pt x="726" y="636"/>
                  </a:lnTo>
                  <a:lnTo>
                    <a:pt x="726" y="648"/>
                  </a:lnTo>
                  <a:lnTo>
                    <a:pt x="738" y="654"/>
                  </a:lnTo>
                  <a:lnTo>
                    <a:pt x="750" y="660"/>
                  </a:lnTo>
                  <a:lnTo>
                    <a:pt x="750" y="666"/>
                  </a:lnTo>
                  <a:lnTo>
                    <a:pt x="750" y="678"/>
                  </a:lnTo>
                  <a:lnTo>
                    <a:pt x="744" y="678"/>
                  </a:lnTo>
                  <a:lnTo>
                    <a:pt x="738" y="684"/>
                  </a:lnTo>
                  <a:lnTo>
                    <a:pt x="732" y="684"/>
                  </a:lnTo>
                  <a:lnTo>
                    <a:pt x="720" y="678"/>
                  </a:lnTo>
                  <a:lnTo>
                    <a:pt x="714" y="684"/>
                  </a:lnTo>
                  <a:lnTo>
                    <a:pt x="708" y="684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0" y="690"/>
                  </a:lnTo>
                  <a:lnTo>
                    <a:pt x="690" y="684"/>
                  </a:lnTo>
                  <a:lnTo>
                    <a:pt x="690" y="690"/>
                  </a:lnTo>
                  <a:lnTo>
                    <a:pt x="684" y="690"/>
                  </a:lnTo>
                  <a:lnTo>
                    <a:pt x="684" y="684"/>
                  </a:lnTo>
                  <a:lnTo>
                    <a:pt x="678" y="684"/>
                  </a:lnTo>
                  <a:lnTo>
                    <a:pt x="672" y="678"/>
                  </a:lnTo>
                  <a:lnTo>
                    <a:pt x="672" y="672"/>
                  </a:lnTo>
                  <a:lnTo>
                    <a:pt x="678" y="672"/>
                  </a:lnTo>
                  <a:lnTo>
                    <a:pt x="672" y="672"/>
                  </a:lnTo>
                  <a:lnTo>
                    <a:pt x="666" y="672"/>
                  </a:lnTo>
                  <a:lnTo>
                    <a:pt x="660" y="672"/>
                  </a:lnTo>
                  <a:lnTo>
                    <a:pt x="654" y="672"/>
                  </a:lnTo>
                  <a:lnTo>
                    <a:pt x="654" y="666"/>
                  </a:lnTo>
                  <a:lnTo>
                    <a:pt x="648" y="666"/>
                  </a:lnTo>
                  <a:lnTo>
                    <a:pt x="642" y="660"/>
                  </a:lnTo>
                  <a:lnTo>
                    <a:pt x="642" y="654"/>
                  </a:lnTo>
                  <a:lnTo>
                    <a:pt x="642" y="648"/>
                  </a:lnTo>
                  <a:lnTo>
                    <a:pt x="636" y="648"/>
                  </a:lnTo>
                  <a:lnTo>
                    <a:pt x="630" y="648"/>
                  </a:lnTo>
                  <a:lnTo>
                    <a:pt x="624" y="648"/>
                  </a:lnTo>
                  <a:lnTo>
                    <a:pt x="624" y="642"/>
                  </a:lnTo>
                  <a:lnTo>
                    <a:pt x="618" y="636"/>
                  </a:lnTo>
                  <a:lnTo>
                    <a:pt x="624" y="636"/>
                  </a:lnTo>
                  <a:lnTo>
                    <a:pt x="624" y="630"/>
                  </a:lnTo>
                  <a:lnTo>
                    <a:pt x="618" y="630"/>
                  </a:lnTo>
                  <a:lnTo>
                    <a:pt x="618" y="624"/>
                  </a:lnTo>
                  <a:lnTo>
                    <a:pt x="618" y="618"/>
                  </a:lnTo>
                  <a:lnTo>
                    <a:pt x="618" y="612"/>
                  </a:lnTo>
                  <a:lnTo>
                    <a:pt x="618" y="606"/>
                  </a:lnTo>
                  <a:lnTo>
                    <a:pt x="624" y="606"/>
                  </a:lnTo>
                  <a:lnTo>
                    <a:pt x="624" y="600"/>
                  </a:lnTo>
                  <a:lnTo>
                    <a:pt x="618" y="600"/>
                  </a:lnTo>
                  <a:lnTo>
                    <a:pt x="618" y="594"/>
                  </a:lnTo>
                  <a:lnTo>
                    <a:pt x="618" y="588"/>
                  </a:lnTo>
                  <a:lnTo>
                    <a:pt x="618" y="582"/>
                  </a:lnTo>
                  <a:lnTo>
                    <a:pt x="612" y="582"/>
                  </a:lnTo>
                  <a:lnTo>
                    <a:pt x="606" y="582"/>
                  </a:lnTo>
                  <a:lnTo>
                    <a:pt x="612" y="582"/>
                  </a:lnTo>
                  <a:lnTo>
                    <a:pt x="612" y="588"/>
                  </a:lnTo>
                  <a:lnTo>
                    <a:pt x="612" y="594"/>
                  </a:lnTo>
                  <a:lnTo>
                    <a:pt x="618" y="594"/>
                  </a:lnTo>
                  <a:lnTo>
                    <a:pt x="618" y="600"/>
                  </a:lnTo>
                  <a:lnTo>
                    <a:pt x="618" y="606"/>
                  </a:lnTo>
                  <a:lnTo>
                    <a:pt x="618" y="612"/>
                  </a:lnTo>
                  <a:lnTo>
                    <a:pt x="612" y="612"/>
                  </a:lnTo>
                  <a:lnTo>
                    <a:pt x="612" y="618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94" y="612"/>
                  </a:lnTo>
                  <a:lnTo>
                    <a:pt x="588" y="606"/>
                  </a:lnTo>
                  <a:lnTo>
                    <a:pt x="588" y="612"/>
                  </a:lnTo>
                  <a:lnTo>
                    <a:pt x="594" y="612"/>
                  </a:lnTo>
                  <a:lnTo>
                    <a:pt x="594" y="618"/>
                  </a:lnTo>
                  <a:lnTo>
                    <a:pt x="588" y="618"/>
                  </a:lnTo>
                  <a:lnTo>
                    <a:pt x="588" y="624"/>
                  </a:lnTo>
                  <a:lnTo>
                    <a:pt x="582" y="624"/>
                  </a:lnTo>
                  <a:lnTo>
                    <a:pt x="582" y="630"/>
                  </a:lnTo>
                  <a:lnTo>
                    <a:pt x="576" y="630"/>
                  </a:lnTo>
                  <a:lnTo>
                    <a:pt x="576" y="636"/>
                  </a:lnTo>
                  <a:lnTo>
                    <a:pt x="570" y="636"/>
                  </a:lnTo>
                  <a:lnTo>
                    <a:pt x="570" y="642"/>
                  </a:lnTo>
                  <a:lnTo>
                    <a:pt x="564" y="642"/>
                  </a:lnTo>
                  <a:lnTo>
                    <a:pt x="564" y="636"/>
                  </a:lnTo>
                  <a:lnTo>
                    <a:pt x="564" y="630"/>
                  </a:lnTo>
                  <a:lnTo>
                    <a:pt x="564" y="624"/>
                  </a:lnTo>
                  <a:lnTo>
                    <a:pt x="564" y="618"/>
                  </a:lnTo>
                  <a:lnTo>
                    <a:pt x="570" y="612"/>
                  </a:lnTo>
                  <a:lnTo>
                    <a:pt x="564" y="606"/>
                  </a:lnTo>
                  <a:lnTo>
                    <a:pt x="564" y="600"/>
                  </a:lnTo>
                  <a:lnTo>
                    <a:pt x="564" y="594"/>
                  </a:lnTo>
                  <a:lnTo>
                    <a:pt x="558" y="594"/>
                  </a:lnTo>
                  <a:lnTo>
                    <a:pt x="558" y="588"/>
                  </a:lnTo>
                  <a:lnTo>
                    <a:pt x="552" y="582"/>
                  </a:lnTo>
                  <a:lnTo>
                    <a:pt x="552" y="576"/>
                  </a:lnTo>
                  <a:lnTo>
                    <a:pt x="552" y="570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6" y="582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58" y="588"/>
                  </a:lnTo>
                  <a:lnTo>
                    <a:pt x="558" y="594"/>
                  </a:lnTo>
                  <a:lnTo>
                    <a:pt x="558" y="600"/>
                  </a:lnTo>
                  <a:lnTo>
                    <a:pt x="558" y="606"/>
                  </a:lnTo>
                  <a:lnTo>
                    <a:pt x="552" y="612"/>
                  </a:lnTo>
                  <a:lnTo>
                    <a:pt x="558" y="612"/>
                  </a:lnTo>
                  <a:lnTo>
                    <a:pt x="558" y="618"/>
                  </a:lnTo>
                  <a:lnTo>
                    <a:pt x="558" y="624"/>
                  </a:lnTo>
                  <a:lnTo>
                    <a:pt x="558" y="630"/>
                  </a:lnTo>
                  <a:lnTo>
                    <a:pt x="552" y="630"/>
                  </a:lnTo>
                  <a:lnTo>
                    <a:pt x="552" y="624"/>
                  </a:lnTo>
                  <a:lnTo>
                    <a:pt x="546" y="624"/>
                  </a:lnTo>
                  <a:lnTo>
                    <a:pt x="546" y="618"/>
                  </a:lnTo>
                  <a:lnTo>
                    <a:pt x="546" y="612"/>
                  </a:lnTo>
                  <a:lnTo>
                    <a:pt x="540" y="612"/>
                  </a:lnTo>
                  <a:lnTo>
                    <a:pt x="534" y="612"/>
                  </a:lnTo>
                  <a:lnTo>
                    <a:pt x="528" y="612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28" y="618"/>
                  </a:lnTo>
                  <a:lnTo>
                    <a:pt x="534" y="618"/>
                  </a:lnTo>
                  <a:lnTo>
                    <a:pt x="540" y="618"/>
                  </a:lnTo>
                  <a:lnTo>
                    <a:pt x="540" y="624"/>
                  </a:lnTo>
                  <a:lnTo>
                    <a:pt x="546" y="624"/>
                  </a:lnTo>
                  <a:lnTo>
                    <a:pt x="546" y="630"/>
                  </a:lnTo>
                  <a:lnTo>
                    <a:pt x="552" y="630"/>
                  </a:lnTo>
                  <a:lnTo>
                    <a:pt x="552" y="636"/>
                  </a:lnTo>
                  <a:lnTo>
                    <a:pt x="546" y="642"/>
                  </a:lnTo>
                  <a:lnTo>
                    <a:pt x="546" y="648"/>
                  </a:lnTo>
                  <a:lnTo>
                    <a:pt x="540" y="648"/>
                  </a:lnTo>
                  <a:lnTo>
                    <a:pt x="540" y="654"/>
                  </a:lnTo>
                  <a:lnTo>
                    <a:pt x="540" y="660"/>
                  </a:lnTo>
                  <a:lnTo>
                    <a:pt x="534" y="666"/>
                  </a:lnTo>
                  <a:lnTo>
                    <a:pt x="534" y="672"/>
                  </a:lnTo>
                  <a:lnTo>
                    <a:pt x="534" y="678"/>
                  </a:lnTo>
                  <a:lnTo>
                    <a:pt x="534" y="684"/>
                  </a:lnTo>
                  <a:lnTo>
                    <a:pt x="534" y="678"/>
                  </a:lnTo>
                  <a:lnTo>
                    <a:pt x="528" y="678"/>
                  </a:lnTo>
                  <a:lnTo>
                    <a:pt x="528" y="684"/>
                  </a:lnTo>
                  <a:lnTo>
                    <a:pt x="522" y="690"/>
                  </a:lnTo>
                  <a:lnTo>
                    <a:pt x="528" y="690"/>
                  </a:lnTo>
                  <a:lnTo>
                    <a:pt x="528" y="684"/>
                  </a:lnTo>
                  <a:lnTo>
                    <a:pt x="534" y="684"/>
                  </a:lnTo>
                  <a:lnTo>
                    <a:pt x="534" y="690"/>
                  </a:lnTo>
                  <a:lnTo>
                    <a:pt x="534" y="696"/>
                  </a:lnTo>
                  <a:lnTo>
                    <a:pt x="540" y="696"/>
                  </a:lnTo>
                  <a:lnTo>
                    <a:pt x="540" y="702"/>
                  </a:lnTo>
                  <a:lnTo>
                    <a:pt x="540" y="708"/>
                  </a:lnTo>
                  <a:lnTo>
                    <a:pt x="534" y="708"/>
                  </a:lnTo>
                  <a:lnTo>
                    <a:pt x="528" y="708"/>
                  </a:lnTo>
                  <a:lnTo>
                    <a:pt x="522" y="708"/>
                  </a:lnTo>
                  <a:lnTo>
                    <a:pt x="516" y="708"/>
                  </a:lnTo>
                  <a:lnTo>
                    <a:pt x="510" y="708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2" y="708"/>
                  </a:lnTo>
                  <a:lnTo>
                    <a:pt x="486" y="714"/>
                  </a:lnTo>
                  <a:lnTo>
                    <a:pt x="480" y="708"/>
                  </a:lnTo>
                  <a:lnTo>
                    <a:pt x="474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68" y="714"/>
                  </a:lnTo>
                  <a:lnTo>
                    <a:pt x="456" y="714"/>
                  </a:lnTo>
                  <a:lnTo>
                    <a:pt x="450" y="714"/>
                  </a:lnTo>
                  <a:lnTo>
                    <a:pt x="450" y="708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50" y="690"/>
                  </a:lnTo>
                  <a:lnTo>
                    <a:pt x="450" y="684"/>
                  </a:lnTo>
                  <a:lnTo>
                    <a:pt x="450" y="678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56" y="660"/>
                  </a:lnTo>
                  <a:lnTo>
                    <a:pt x="462" y="660"/>
                  </a:lnTo>
                  <a:lnTo>
                    <a:pt x="462" y="654"/>
                  </a:lnTo>
                  <a:lnTo>
                    <a:pt x="456" y="654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48"/>
                  </a:lnTo>
                  <a:lnTo>
                    <a:pt x="444" y="648"/>
                  </a:lnTo>
                  <a:lnTo>
                    <a:pt x="444" y="642"/>
                  </a:lnTo>
                  <a:lnTo>
                    <a:pt x="444" y="636"/>
                  </a:lnTo>
                  <a:lnTo>
                    <a:pt x="450" y="636"/>
                  </a:lnTo>
                  <a:lnTo>
                    <a:pt x="450" y="630"/>
                  </a:lnTo>
                  <a:lnTo>
                    <a:pt x="456" y="630"/>
                  </a:lnTo>
                  <a:lnTo>
                    <a:pt x="462" y="630"/>
                  </a:lnTo>
                  <a:lnTo>
                    <a:pt x="462" y="624"/>
                  </a:lnTo>
                  <a:lnTo>
                    <a:pt x="468" y="624"/>
                  </a:lnTo>
                  <a:lnTo>
                    <a:pt x="474" y="624"/>
                  </a:lnTo>
                  <a:lnTo>
                    <a:pt x="474" y="618"/>
                  </a:lnTo>
                  <a:lnTo>
                    <a:pt x="480" y="618"/>
                  </a:lnTo>
                  <a:lnTo>
                    <a:pt x="486" y="618"/>
                  </a:lnTo>
                  <a:lnTo>
                    <a:pt x="486" y="624"/>
                  </a:lnTo>
                  <a:lnTo>
                    <a:pt x="486" y="636"/>
                  </a:lnTo>
                  <a:lnTo>
                    <a:pt x="486" y="642"/>
                  </a:lnTo>
                  <a:lnTo>
                    <a:pt x="486" y="648"/>
                  </a:lnTo>
                  <a:lnTo>
                    <a:pt x="492" y="648"/>
                  </a:lnTo>
                  <a:lnTo>
                    <a:pt x="492" y="642"/>
                  </a:lnTo>
                  <a:lnTo>
                    <a:pt x="498" y="636"/>
                  </a:lnTo>
                  <a:lnTo>
                    <a:pt x="492" y="636"/>
                  </a:lnTo>
                  <a:lnTo>
                    <a:pt x="492" y="630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6" y="618"/>
                  </a:lnTo>
                  <a:lnTo>
                    <a:pt x="486" y="612"/>
                  </a:lnTo>
                  <a:lnTo>
                    <a:pt x="486" y="606"/>
                  </a:lnTo>
                  <a:lnTo>
                    <a:pt x="480" y="606"/>
                  </a:lnTo>
                  <a:lnTo>
                    <a:pt x="480" y="612"/>
                  </a:lnTo>
                  <a:lnTo>
                    <a:pt x="474" y="618"/>
                  </a:lnTo>
                  <a:lnTo>
                    <a:pt x="468" y="618"/>
                  </a:lnTo>
                  <a:lnTo>
                    <a:pt x="462" y="618"/>
                  </a:lnTo>
                  <a:lnTo>
                    <a:pt x="462" y="612"/>
                  </a:lnTo>
                  <a:lnTo>
                    <a:pt x="456" y="612"/>
                  </a:lnTo>
                  <a:lnTo>
                    <a:pt x="456" y="618"/>
                  </a:lnTo>
                  <a:lnTo>
                    <a:pt x="462" y="618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30"/>
                  </a:lnTo>
                  <a:lnTo>
                    <a:pt x="444" y="630"/>
                  </a:lnTo>
                  <a:lnTo>
                    <a:pt x="444" y="636"/>
                  </a:lnTo>
                  <a:lnTo>
                    <a:pt x="444" y="642"/>
                  </a:lnTo>
                  <a:lnTo>
                    <a:pt x="444" y="654"/>
                  </a:lnTo>
                  <a:lnTo>
                    <a:pt x="444" y="660"/>
                  </a:lnTo>
                  <a:lnTo>
                    <a:pt x="438" y="660"/>
                  </a:lnTo>
                  <a:lnTo>
                    <a:pt x="432" y="660"/>
                  </a:lnTo>
                  <a:lnTo>
                    <a:pt x="432" y="654"/>
                  </a:lnTo>
                  <a:lnTo>
                    <a:pt x="438" y="654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48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26" y="660"/>
                  </a:lnTo>
                  <a:lnTo>
                    <a:pt x="432" y="666"/>
                  </a:lnTo>
                  <a:lnTo>
                    <a:pt x="432" y="672"/>
                  </a:lnTo>
                  <a:lnTo>
                    <a:pt x="438" y="672"/>
                  </a:lnTo>
                  <a:lnTo>
                    <a:pt x="438" y="678"/>
                  </a:lnTo>
                  <a:lnTo>
                    <a:pt x="444" y="678"/>
                  </a:lnTo>
                  <a:lnTo>
                    <a:pt x="444" y="684"/>
                  </a:lnTo>
                  <a:lnTo>
                    <a:pt x="438" y="690"/>
                  </a:lnTo>
                  <a:lnTo>
                    <a:pt x="438" y="696"/>
                  </a:lnTo>
                  <a:lnTo>
                    <a:pt x="438" y="702"/>
                  </a:lnTo>
                  <a:lnTo>
                    <a:pt x="432" y="702"/>
                  </a:lnTo>
                  <a:lnTo>
                    <a:pt x="426" y="702"/>
                  </a:lnTo>
                  <a:lnTo>
                    <a:pt x="426" y="696"/>
                  </a:lnTo>
                  <a:lnTo>
                    <a:pt x="414" y="696"/>
                  </a:lnTo>
                  <a:lnTo>
                    <a:pt x="402" y="696"/>
                  </a:lnTo>
                  <a:lnTo>
                    <a:pt x="402" y="690"/>
                  </a:lnTo>
                  <a:lnTo>
                    <a:pt x="396" y="690"/>
                  </a:lnTo>
                  <a:lnTo>
                    <a:pt x="390" y="690"/>
                  </a:lnTo>
                  <a:lnTo>
                    <a:pt x="384" y="690"/>
                  </a:lnTo>
                  <a:lnTo>
                    <a:pt x="384" y="684"/>
                  </a:lnTo>
                  <a:lnTo>
                    <a:pt x="384" y="678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390" y="660"/>
                  </a:lnTo>
                  <a:lnTo>
                    <a:pt x="390" y="654"/>
                  </a:lnTo>
                  <a:lnTo>
                    <a:pt x="384" y="648"/>
                  </a:lnTo>
                  <a:lnTo>
                    <a:pt x="384" y="642"/>
                  </a:lnTo>
                  <a:lnTo>
                    <a:pt x="378" y="636"/>
                  </a:lnTo>
                  <a:lnTo>
                    <a:pt x="378" y="642"/>
                  </a:lnTo>
                  <a:lnTo>
                    <a:pt x="378" y="648"/>
                  </a:lnTo>
                  <a:lnTo>
                    <a:pt x="372" y="648"/>
                  </a:lnTo>
                  <a:lnTo>
                    <a:pt x="378" y="654"/>
                  </a:lnTo>
                  <a:lnTo>
                    <a:pt x="378" y="660"/>
                  </a:lnTo>
                  <a:lnTo>
                    <a:pt x="378" y="666"/>
                  </a:lnTo>
                  <a:lnTo>
                    <a:pt x="372" y="672"/>
                  </a:lnTo>
                  <a:lnTo>
                    <a:pt x="378" y="672"/>
                  </a:lnTo>
                  <a:lnTo>
                    <a:pt x="378" y="678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54" y="666"/>
                  </a:lnTo>
                  <a:lnTo>
                    <a:pt x="354" y="660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0" y="654"/>
                  </a:lnTo>
                  <a:lnTo>
                    <a:pt x="324" y="648"/>
                  </a:lnTo>
                  <a:lnTo>
                    <a:pt x="318" y="648"/>
                  </a:lnTo>
                  <a:lnTo>
                    <a:pt x="318" y="642"/>
                  </a:lnTo>
                  <a:lnTo>
                    <a:pt x="312" y="642"/>
                  </a:lnTo>
                  <a:lnTo>
                    <a:pt x="306" y="636"/>
                  </a:lnTo>
                  <a:lnTo>
                    <a:pt x="300" y="636"/>
                  </a:lnTo>
                  <a:lnTo>
                    <a:pt x="300" y="630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0" y="618"/>
                  </a:lnTo>
                  <a:lnTo>
                    <a:pt x="306" y="612"/>
                  </a:lnTo>
                  <a:lnTo>
                    <a:pt x="300" y="612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294" y="612"/>
                  </a:lnTo>
                  <a:lnTo>
                    <a:pt x="288" y="618"/>
                  </a:lnTo>
                  <a:lnTo>
                    <a:pt x="288" y="612"/>
                  </a:lnTo>
                  <a:lnTo>
                    <a:pt x="288" y="618"/>
                  </a:lnTo>
                  <a:lnTo>
                    <a:pt x="294" y="618"/>
                  </a:lnTo>
                  <a:lnTo>
                    <a:pt x="300" y="624"/>
                  </a:lnTo>
                  <a:lnTo>
                    <a:pt x="294" y="624"/>
                  </a:lnTo>
                  <a:lnTo>
                    <a:pt x="288" y="624"/>
                  </a:lnTo>
                  <a:lnTo>
                    <a:pt x="282" y="61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70" y="600"/>
                  </a:lnTo>
                  <a:lnTo>
                    <a:pt x="270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82" y="588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594"/>
                  </a:lnTo>
                  <a:lnTo>
                    <a:pt x="264" y="600"/>
                  </a:lnTo>
                  <a:lnTo>
                    <a:pt x="264" y="594"/>
                  </a:lnTo>
                  <a:lnTo>
                    <a:pt x="270" y="594"/>
                  </a:lnTo>
                  <a:lnTo>
                    <a:pt x="270" y="588"/>
                  </a:lnTo>
                  <a:lnTo>
                    <a:pt x="264" y="594"/>
                  </a:lnTo>
                  <a:lnTo>
                    <a:pt x="258" y="594"/>
                  </a:lnTo>
                  <a:lnTo>
                    <a:pt x="258" y="588"/>
                  </a:lnTo>
                  <a:lnTo>
                    <a:pt x="252" y="588"/>
                  </a:lnTo>
                  <a:lnTo>
                    <a:pt x="246" y="588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52" y="588"/>
                  </a:lnTo>
                  <a:lnTo>
                    <a:pt x="252" y="594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46" y="594"/>
                  </a:lnTo>
                  <a:lnTo>
                    <a:pt x="246" y="588"/>
                  </a:lnTo>
                  <a:lnTo>
                    <a:pt x="240" y="588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2" y="570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64"/>
                  </a:lnTo>
                  <a:lnTo>
                    <a:pt x="234" y="564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34" y="558"/>
                  </a:lnTo>
                  <a:lnTo>
                    <a:pt x="228" y="558"/>
                  </a:lnTo>
                  <a:lnTo>
                    <a:pt x="222" y="558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2" y="564"/>
                  </a:lnTo>
                  <a:lnTo>
                    <a:pt x="222" y="558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04" y="546"/>
                  </a:lnTo>
                  <a:lnTo>
                    <a:pt x="204" y="540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10" y="540"/>
                  </a:lnTo>
                  <a:lnTo>
                    <a:pt x="210" y="534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8"/>
                  </a:lnTo>
                  <a:lnTo>
                    <a:pt x="174" y="516"/>
                  </a:lnTo>
                  <a:lnTo>
                    <a:pt x="168" y="510"/>
                  </a:lnTo>
                  <a:lnTo>
                    <a:pt x="162" y="504"/>
                  </a:lnTo>
                  <a:lnTo>
                    <a:pt x="156" y="498"/>
                  </a:lnTo>
                  <a:lnTo>
                    <a:pt x="156" y="492"/>
                  </a:lnTo>
                  <a:lnTo>
                    <a:pt x="150" y="486"/>
                  </a:lnTo>
                  <a:lnTo>
                    <a:pt x="144" y="480"/>
                  </a:lnTo>
                  <a:lnTo>
                    <a:pt x="144" y="474"/>
                  </a:lnTo>
                  <a:lnTo>
                    <a:pt x="138" y="474"/>
                  </a:lnTo>
                  <a:lnTo>
                    <a:pt x="138" y="468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26" y="450"/>
                  </a:lnTo>
                  <a:lnTo>
                    <a:pt x="126" y="444"/>
                  </a:lnTo>
                  <a:lnTo>
                    <a:pt x="114" y="438"/>
                  </a:lnTo>
                  <a:lnTo>
                    <a:pt x="114" y="432"/>
                  </a:lnTo>
                  <a:lnTo>
                    <a:pt x="114" y="426"/>
                  </a:lnTo>
                  <a:lnTo>
                    <a:pt x="114" y="432"/>
                  </a:lnTo>
                  <a:lnTo>
                    <a:pt x="120" y="432"/>
                  </a:lnTo>
                  <a:lnTo>
                    <a:pt x="120" y="438"/>
                  </a:lnTo>
                  <a:lnTo>
                    <a:pt x="120" y="444"/>
                  </a:lnTo>
                  <a:lnTo>
                    <a:pt x="126" y="444"/>
                  </a:lnTo>
                  <a:lnTo>
                    <a:pt x="126" y="438"/>
                  </a:lnTo>
                  <a:lnTo>
                    <a:pt x="120" y="438"/>
                  </a:lnTo>
                  <a:lnTo>
                    <a:pt x="126" y="432"/>
                  </a:lnTo>
                  <a:lnTo>
                    <a:pt x="126" y="426"/>
                  </a:lnTo>
                  <a:lnTo>
                    <a:pt x="132" y="420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08" y="414"/>
                  </a:lnTo>
                  <a:lnTo>
                    <a:pt x="102" y="414"/>
                  </a:lnTo>
                  <a:lnTo>
                    <a:pt x="102" y="408"/>
                  </a:lnTo>
                  <a:lnTo>
                    <a:pt x="96" y="402"/>
                  </a:lnTo>
                  <a:lnTo>
                    <a:pt x="96" y="396"/>
                  </a:lnTo>
                  <a:lnTo>
                    <a:pt x="96" y="390"/>
                  </a:lnTo>
                  <a:lnTo>
                    <a:pt x="90" y="390"/>
                  </a:lnTo>
                  <a:lnTo>
                    <a:pt x="90" y="384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78" y="372"/>
                  </a:lnTo>
                  <a:lnTo>
                    <a:pt x="78" y="366"/>
                  </a:lnTo>
                  <a:lnTo>
                    <a:pt x="78" y="360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6" y="348"/>
                  </a:lnTo>
                  <a:lnTo>
                    <a:pt x="66" y="342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6" y="336"/>
                  </a:lnTo>
                  <a:lnTo>
                    <a:pt x="66" y="342"/>
                  </a:lnTo>
                  <a:lnTo>
                    <a:pt x="72" y="348"/>
                  </a:lnTo>
                  <a:lnTo>
                    <a:pt x="78" y="354"/>
                  </a:lnTo>
                  <a:lnTo>
                    <a:pt x="84" y="360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0" y="360"/>
                  </a:lnTo>
                  <a:lnTo>
                    <a:pt x="84" y="360"/>
                  </a:lnTo>
                  <a:lnTo>
                    <a:pt x="84" y="354"/>
                  </a:lnTo>
                  <a:lnTo>
                    <a:pt x="78" y="348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66" y="330"/>
                  </a:lnTo>
                  <a:lnTo>
                    <a:pt x="66" y="324"/>
                  </a:lnTo>
                  <a:lnTo>
                    <a:pt x="60" y="318"/>
                  </a:lnTo>
                  <a:lnTo>
                    <a:pt x="60" y="312"/>
                  </a:lnTo>
                  <a:lnTo>
                    <a:pt x="54" y="306"/>
                  </a:lnTo>
                  <a:lnTo>
                    <a:pt x="54" y="300"/>
                  </a:lnTo>
                  <a:lnTo>
                    <a:pt x="54" y="294"/>
                  </a:lnTo>
                  <a:lnTo>
                    <a:pt x="48" y="288"/>
                  </a:lnTo>
                  <a:lnTo>
                    <a:pt x="48" y="294"/>
                  </a:lnTo>
                  <a:lnTo>
                    <a:pt x="48" y="288"/>
                  </a:lnTo>
                  <a:lnTo>
                    <a:pt x="48" y="282"/>
                  </a:lnTo>
                  <a:lnTo>
                    <a:pt x="48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18" y="216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62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68"/>
                  </a:lnTo>
                  <a:lnTo>
                    <a:pt x="42" y="168"/>
                  </a:lnTo>
                  <a:lnTo>
                    <a:pt x="42" y="174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86"/>
                  </a:lnTo>
                  <a:close/>
                  <a:moveTo>
                    <a:pt x="642" y="660"/>
                  </a:moveTo>
                  <a:lnTo>
                    <a:pt x="642" y="666"/>
                  </a:lnTo>
                  <a:lnTo>
                    <a:pt x="648" y="666"/>
                  </a:lnTo>
                  <a:lnTo>
                    <a:pt x="648" y="672"/>
                  </a:lnTo>
                  <a:lnTo>
                    <a:pt x="648" y="678"/>
                  </a:lnTo>
                  <a:lnTo>
                    <a:pt x="654" y="678"/>
                  </a:lnTo>
                  <a:lnTo>
                    <a:pt x="654" y="684"/>
                  </a:lnTo>
                  <a:lnTo>
                    <a:pt x="660" y="684"/>
                  </a:lnTo>
                  <a:lnTo>
                    <a:pt x="660" y="690"/>
                  </a:lnTo>
                  <a:lnTo>
                    <a:pt x="654" y="690"/>
                  </a:lnTo>
                  <a:lnTo>
                    <a:pt x="648" y="690"/>
                  </a:lnTo>
                  <a:lnTo>
                    <a:pt x="636" y="696"/>
                  </a:lnTo>
                  <a:lnTo>
                    <a:pt x="630" y="696"/>
                  </a:lnTo>
                  <a:lnTo>
                    <a:pt x="624" y="696"/>
                  </a:lnTo>
                  <a:lnTo>
                    <a:pt x="618" y="696"/>
                  </a:lnTo>
                  <a:lnTo>
                    <a:pt x="612" y="696"/>
                  </a:lnTo>
                  <a:lnTo>
                    <a:pt x="594" y="696"/>
                  </a:lnTo>
                  <a:lnTo>
                    <a:pt x="588" y="696"/>
                  </a:lnTo>
                  <a:lnTo>
                    <a:pt x="582" y="696"/>
                  </a:lnTo>
                  <a:lnTo>
                    <a:pt x="570" y="702"/>
                  </a:lnTo>
                  <a:lnTo>
                    <a:pt x="564" y="702"/>
                  </a:lnTo>
                  <a:lnTo>
                    <a:pt x="558" y="702"/>
                  </a:lnTo>
                  <a:lnTo>
                    <a:pt x="552" y="702"/>
                  </a:lnTo>
                  <a:lnTo>
                    <a:pt x="552" y="696"/>
                  </a:lnTo>
                  <a:lnTo>
                    <a:pt x="546" y="696"/>
                  </a:lnTo>
                  <a:lnTo>
                    <a:pt x="546" y="690"/>
                  </a:lnTo>
                  <a:lnTo>
                    <a:pt x="552" y="684"/>
                  </a:lnTo>
                  <a:lnTo>
                    <a:pt x="552" y="678"/>
                  </a:lnTo>
                  <a:lnTo>
                    <a:pt x="558" y="672"/>
                  </a:lnTo>
                  <a:lnTo>
                    <a:pt x="558" y="666"/>
                  </a:lnTo>
                  <a:lnTo>
                    <a:pt x="564" y="666"/>
                  </a:lnTo>
                  <a:lnTo>
                    <a:pt x="570" y="666"/>
                  </a:lnTo>
                  <a:lnTo>
                    <a:pt x="570" y="654"/>
                  </a:lnTo>
                  <a:lnTo>
                    <a:pt x="570" y="648"/>
                  </a:lnTo>
                  <a:lnTo>
                    <a:pt x="582" y="642"/>
                  </a:lnTo>
                  <a:lnTo>
                    <a:pt x="582" y="636"/>
                  </a:lnTo>
                  <a:lnTo>
                    <a:pt x="588" y="636"/>
                  </a:lnTo>
                  <a:lnTo>
                    <a:pt x="588" y="630"/>
                  </a:lnTo>
                  <a:lnTo>
                    <a:pt x="594" y="624"/>
                  </a:lnTo>
                  <a:lnTo>
                    <a:pt x="594" y="618"/>
                  </a:lnTo>
                  <a:lnTo>
                    <a:pt x="600" y="618"/>
                  </a:lnTo>
                  <a:lnTo>
                    <a:pt x="600" y="612"/>
                  </a:lnTo>
                  <a:lnTo>
                    <a:pt x="606" y="612"/>
                  </a:lnTo>
                  <a:lnTo>
                    <a:pt x="606" y="618"/>
                  </a:lnTo>
                  <a:lnTo>
                    <a:pt x="612" y="618"/>
                  </a:lnTo>
                  <a:lnTo>
                    <a:pt x="618" y="618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18" y="636"/>
                  </a:lnTo>
                  <a:lnTo>
                    <a:pt x="618" y="642"/>
                  </a:lnTo>
                  <a:lnTo>
                    <a:pt x="618" y="648"/>
                  </a:lnTo>
                  <a:lnTo>
                    <a:pt x="624" y="648"/>
                  </a:lnTo>
                  <a:lnTo>
                    <a:pt x="630" y="648"/>
                  </a:lnTo>
                  <a:lnTo>
                    <a:pt x="636" y="654"/>
                  </a:lnTo>
                  <a:lnTo>
                    <a:pt x="642" y="654"/>
                  </a:lnTo>
                  <a:lnTo>
                    <a:pt x="642" y="66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00" name="Freeform 5">
              <a:extLst>
                <a:ext uri="{FF2B5EF4-FFF2-40B4-BE49-F238E27FC236}">
                  <a16:creationId xmlns:a16="http://schemas.microsoft.com/office/drawing/2014/main" id="{5577BDCA-F2C7-42E0-A391-018D79AA29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0384" y="4231013"/>
              <a:ext cx="404750" cy="480848"/>
            </a:xfrm>
            <a:custGeom>
              <a:avLst/>
              <a:gdLst>
                <a:gd name="T0" fmla="*/ 9 w 762"/>
                <a:gd name="T1" fmla="*/ 58 h 900"/>
                <a:gd name="T2" fmla="*/ 4 w 762"/>
                <a:gd name="T3" fmla="*/ 56 h 900"/>
                <a:gd name="T4" fmla="*/ 0 w 762"/>
                <a:gd name="T5" fmla="*/ 49 h 900"/>
                <a:gd name="T6" fmla="*/ 4 w 762"/>
                <a:gd name="T7" fmla="*/ 36 h 900"/>
                <a:gd name="T8" fmla="*/ 8 w 762"/>
                <a:gd name="T9" fmla="*/ 28 h 900"/>
                <a:gd name="T10" fmla="*/ 7 w 762"/>
                <a:gd name="T11" fmla="*/ 13 h 900"/>
                <a:gd name="T12" fmla="*/ 15 w 762"/>
                <a:gd name="T13" fmla="*/ 0 h 900"/>
                <a:gd name="T14" fmla="*/ 16 w 762"/>
                <a:gd name="T15" fmla="*/ 13 h 900"/>
                <a:gd name="T16" fmla="*/ 31 w 762"/>
                <a:gd name="T17" fmla="*/ 28 h 900"/>
                <a:gd name="T18" fmla="*/ 49 w 762"/>
                <a:gd name="T19" fmla="*/ 33 h 900"/>
                <a:gd name="T20" fmla="*/ 42 w 762"/>
                <a:gd name="T21" fmla="*/ 48 h 900"/>
                <a:gd name="T22" fmla="*/ 51 w 762"/>
                <a:gd name="T23" fmla="*/ 48 h 900"/>
                <a:gd name="T24" fmla="*/ 61 w 762"/>
                <a:gd name="T25" fmla="*/ 51 h 900"/>
                <a:gd name="T26" fmla="*/ 63 w 762"/>
                <a:gd name="T27" fmla="*/ 60 h 900"/>
                <a:gd name="T28" fmla="*/ 63 w 762"/>
                <a:gd name="T29" fmla="*/ 66 h 900"/>
                <a:gd name="T30" fmla="*/ 65 w 762"/>
                <a:gd name="T31" fmla="*/ 69 h 900"/>
                <a:gd name="T32" fmla="*/ 66 w 762"/>
                <a:gd name="T33" fmla="*/ 72 h 900"/>
                <a:gd name="T34" fmla="*/ 56 w 762"/>
                <a:gd name="T35" fmla="*/ 73 h 900"/>
                <a:gd name="T36" fmla="*/ 55 w 762"/>
                <a:gd name="T37" fmla="*/ 69 h 900"/>
                <a:gd name="T38" fmla="*/ 57 w 762"/>
                <a:gd name="T39" fmla="*/ 67 h 900"/>
                <a:gd name="T40" fmla="*/ 55 w 762"/>
                <a:gd name="T41" fmla="*/ 65 h 900"/>
                <a:gd name="T42" fmla="*/ 53 w 762"/>
                <a:gd name="T43" fmla="*/ 68 h 900"/>
                <a:gd name="T44" fmla="*/ 49 w 762"/>
                <a:gd name="T45" fmla="*/ 68 h 900"/>
                <a:gd name="T46" fmla="*/ 44 w 762"/>
                <a:gd name="T47" fmla="*/ 63 h 900"/>
                <a:gd name="T48" fmla="*/ 40 w 762"/>
                <a:gd name="T49" fmla="*/ 59 h 900"/>
                <a:gd name="T50" fmla="*/ 38 w 762"/>
                <a:gd name="T51" fmla="*/ 57 h 900"/>
                <a:gd name="T52" fmla="*/ 43 w 762"/>
                <a:gd name="T53" fmla="*/ 62 h 900"/>
                <a:gd name="T54" fmla="*/ 43 w 762"/>
                <a:gd name="T55" fmla="*/ 66 h 900"/>
                <a:gd name="T56" fmla="*/ 41 w 762"/>
                <a:gd name="T57" fmla="*/ 71 h 900"/>
                <a:gd name="T58" fmla="*/ 37 w 762"/>
                <a:gd name="T59" fmla="*/ 69 h 900"/>
                <a:gd name="T60" fmla="*/ 35 w 762"/>
                <a:gd name="T61" fmla="*/ 64 h 900"/>
                <a:gd name="T62" fmla="*/ 31 w 762"/>
                <a:gd name="T63" fmla="*/ 57 h 900"/>
                <a:gd name="T64" fmla="*/ 30 w 762"/>
                <a:gd name="T65" fmla="*/ 62 h 900"/>
                <a:gd name="T66" fmla="*/ 29 w 762"/>
                <a:gd name="T67" fmla="*/ 61 h 900"/>
                <a:gd name="T68" fmla="*/ 31 w 762"/>
                <a:gd name="T69" fmla="*/ 66 h 900"/>
                <a:gd name="T70" fmla="*/ 33 w 762"/>
                <a:gd name="T71" fmla="*/ 72 h 900"/>
                <a:gd name="T72" fmla="*/ 32 w 762"/>
                <a:gd name="T73" fmla="*/ 76 h 900"/>
                <a:gd name="T74" fmla="*/ 28 w 762"/>
                <a:gd name="T75" fmla="*/ 75 h 900"/>
                <a:gd name="T76" fmla="*/ 24 w 762"/>
                <a:gd name="T77" fmla="*/ 69 h 900"/>
                <a:gd name="T78" fmla="*/ 24 w 762"/>
                <a:gd name="T79" fmla="*/ 62 h 900"/>
                <a:gd name="T80" fmla="*/ 23 w 762"/>
                <a:gd name="T81" fmla="*/ 62 h 900"/>
                <a:gd name="T82" fmla="*/ 23 w 762"/>
                <a:gd name="T83" fmla="*/ 68 h 900"/>
                <a:gd name="T84" fmla="*/ 25 w 762"/>
                <a:gd name="T85" fmla="*/ 77 h 900"/>
                <a:gd name="T86" fmla="*/ 17 w 762"/>
                <a:gd name="T87" fmla="*/ 74 h 900"/>
                <a:gd name="T88" fmla="*/ 17 w 762"/>
                <a:gd name="T89" fmla="*/ 67 h 900"/>
                <a:gd name="T90" fmla="*/ 16 w 762"/>
                <a:gd name="T91" fmla="*/ 67 h 900"/>
                <a:gd name="T92" fmla="*/ 15 w 762"/>
                <a:gd name="T93" fmla="*/ 71 h 900"/>
                <a:gd name="T94" fmla="*/ 12 w 762"/>
                <a:gd name="T95" fmla="*/ 68 h 900"/>
                <a:gd name="T96" fmla="*/ 15 w 762"/>
                <a:gd name="T97" fmla="*/ 72 h 900"/>
                <a:gd name="T98" fmla="*/ 17 w 762"/>
                <a:gd name="T99" fmla="*/ 77 h 900"/>
                <a:gd name="T100" fmla="*/ 11 w 762"/>
                <a:gd name="T101" fmla="*/ 77 h 900"/>
                <a:gd name="T102" fmla="*/ 10 w 762"/>
                <a:gd name="T103" fmla="*/ 69 h 900"/>
                <a:gd name="T104" fmla="*/ 11 w 762"/>
                <a:gd name="T105" fmla="*/ 72 h 900"/>
                <a:gd name="T106" fmla="*/ 9 w 762"/>
                <a:gd name="T107" fmla="*/ 78 h 900"/>
                <a:gd name="T108" fmla="*/ 43 w 762"/>
                <a:gd name="T109" fmla="*/ 71 h 900"/>
                <a:gd name="T110" fmla="*/ 51 w 762"/>
                <a:gd name="T111" fmla="*/ 69 h 900"/>
                <a:gd name="T112" fmla="*/ 43 w 762"/>
                <a:gd name="T113" fmla="*/ 76 h 900"/>
                <a:gd name="T114" fmla="*/ 36 w 762"/>
                <a:gd name="T115" fmla="*/ 65 h 900"/>
                <a:gd name="T116" fmla="*/ 38 w 762"/>
                <a:gd name="T117" fmla="*/ 72 h 900"/>
                <a:gd name="T118" fmla="*/ 34 w 762"/>
                <a:gd name="T119" fmla="*/ 69 h 900"/>
                <a:gd name="T120" fmla="*/ 29 w 762"/>
                <a:gd name="T121" fmla="*/ 64 h 900"/>
                <a:gd name="T122" fmla="*/ 32 w 762"/>
                <a:gd name="T123" fmla="*/ 66 h 9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900"/>
                <a:gd name="T188" fmla="*/ 762 w 762"/>
                <a:gd name="T189" fmla="*/ 900 h 90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900">
                  <a:moveTo>
                    <a:pt x="90" y="768"/>
                  </a:moveTo>
                  <a:lnTo>
                    <a:pt x="102" y="756"/>
                  </a:lnTo>
                  <a:lnTo>
                    <a:pt x="102" y="750"/>
                  </a:lnTo>
                  <a:lnTo>
                    <a:pt x="90" y="744"/>
                  </a:lnTo>
                  <a:lnTo>
                    <a:pt x="84" y="738"/>
                  </a:lnTo>
                  <a:lnTo>
                    <a:pt x="90" y="726"/>
                  </a:lnTo>
                  <a:lnTo>
                    <a:pt x="84" y="720"/>
                  </a:lnTo>
                  <a:lnTo>
                    <a:pt x="78" y="720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72" y="702"/>
                  </a:lnTo>
                  <a:lnTo>
                    <a:pt x="72" y="696"/>
                  </a:lnTo>
                  <a:lnTo>
                    <a:pt x="84" y="684"/>
                  </a:lnTo>
                  <a:lnTo>
                    <a:pt x="96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102" y="654"/>
                  </a:lnTo>
                  <a:lnTo>
                    <a:pt x="108" y="654"/>
                  </a:lnTo>
                  <a:lnTo>
                    <a:pt x="114" y="648"/>
                  </a:lnTo>
                  <a:lnTo>
                    <a:pt x="120" y="642"/>
                  </a:lnTo>
                  <a:lnTo>
                    <a:pt x="120" y="636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14" y="618"/>
                  </a:lnTo>
                  <a:lnTo>
                    <a:pt x="102" y="618"/>
                  </a:lnTo>
                  <a:lnTo>
                    <a:pt x="90" y="618"/>
                  </a:lnTo>
                  <a:lnTo>
                    <a:pt x="78" y="624"/>
                  </a:lnTo>
                  <a:lnTo>
                    <a:pt x="72" y="630"/>
                  </a:lnTo>
                  <a:lnTo>
                    <a:pt x="54" y="642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42" y="642"/>
                  </a:lnTo>
                  <a:lnTo>
                    <a:pt x="42" y="636"/>
                  </a:lnTo>
                  <a:lnTo>
                    <a:pt x="36" y="636"/>
                  </a:lnTo>
                  <a:lnTo>
                    <a:pt x="30" y="642"/>
                  </a:lnTo>
                  <a:lnTo>
                    <a:pt x="30" y="636"/>
                  </a:lnTo>
                  <a:lnTo>
                    <a:pt x="30" y="630"/>
                  </a:lnTo>
                  <a:lnTo>
                    <a:pt x="24" y="630"/>
                  </a:lnTo>
                  <a:lnTo>
                    <a:pt x="30" y="624"/>
                  </a:lnTo>
                  <a:lnTo>
                    <a:pt x="30" y="618"/>
                  </a:lnTo>
                  <a:lnTo>
                    <a:pt x="30" y="612"/>
                  </a:lnTo>
                  <a:lnTo>
                    <a:pt x="36" y="612"/>
                  </a:lnTo>
                  <a:lnTo>
                    <a:pt x="36" y="606"/>
                  </a:lnTo>
                  <a:lnTo>
                    <a:pt x="30" y="606"/>
                  </a:lnTo>
                  <a:lnTo>
                    <a:pt x="24" y="612"/>
                  </a:lnTo>
                  <a:lnTo>
                    <a:pt x="18" y="606"/>
                  </a:lnTo>
                  <a:lnTo>
                    <a:pt x="12" y="594"/>
                  </a:lnTo>
                  <a:lnTo>
                    <a:pt x="6" y="582"/>
                  </a:lnTo>
                  <a:lnTo>
                    <a:pt x="6" y="570"/>
                  </a:lnTo>
                  <a:lnTo>
                    <a:pt x="0" y="558"/>
                  </a:lnTo>
                  <a:lnTo>
                    <a:pt x="6" y="552"/>
                  </a:lnTo>
                  <a:lnTo>
                    <a:pt x="6" y="534"/>
                  </a:lnTo>
                  <a:lnTo>
                    <a:pt x="18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12" y="480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54" y="408"/>
                  </a:lnTo>
                  <a:lnTo>
                    <a:pt x="54" y="396"/>
                  </a:lnTo>
                  <a:lnTo>
                    <a:pt x="54" y="384"/>
                  </a:lnTo>
                  <a:lnTo>
                    <a:pt x="60" y="378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66"/>
                  </a:lnTo>
                  <a:lnTo>
                    <a:pt x="60" y="360"/>
                  </a:lnTo>
                  <a:lnTo>
                    <a:pt x="66" y="360"/>
                  </a:lnTo>
                  <a:lnTo>
                    <a:pt x="72" y="354"/>
                  </a:lnTo>
                  <a:lnTo>
                    <a:pt x="78" y="354"/>
                  </a:lnTo>
                  <a:lnTo>
                    <a:pt x="84" y="348"/>
                  </a:lnTo>
                  <a:lnTo>
                    <a:pt x="96" y="348"/>
                  </a:lnTo>
                  <a:lnTo>
                    <a:pt x="96" y="342"/>
                  </a:lnTo>
                  <a:lnTo>
                    <a:pt x="96" y="336"/>
                  </a:lnTo>
                  <a:lnTo>
                    <a:pt x="96" y="330"/>
                  </a:lnTo>
                  <a:lnTo>
                    <a:pt x="96" y="324"/>
                  </a:lnTo>
                  <a:lnTo>
                    <a:pt x="102" y="318"/>
                  </a:lnTo>
                  <a:lnTo>
                    <a:pt x="108" y="312"/>
                  </a:lnTo>
                  <a:lnTo>
                    <a:pt x="96" y="306"/>
                  </a:lnTo>
                  <a:lnTo>
                    <a:pt x="84" y="288"/>
                  </a:lnTo>
                  <a:lnTo>
                    <a:pt x="108" y="258"/>
                  </a:lnTo>
                  <a:lnTo>
                    <a:pt x="102" y="222"/>
                  </a:lnTo>
                  <a:lnTo>
                    <a:pt x="84" y="222"/>
                  </a:lnTo>
                  <a:lnTo>
                    <a:pt x="54" y="216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2"/>
                  </a:lnTo>
                  <a:lnTo>
                    <a:pt x="72" y="192"/>
                  </a:lnTo>
                  <a:lnTo>
                    <a:pt x="84" y="186"/>
                  </a:lnTo>
                  <a:lnTo>
                    <a:pt x="90" y="186"/>
                  </a:lnTo>
                  <a:lnTo>
                    <a:pt x="90" y="174"/>
                  </a:lnTo>
                  <a:lnTo>
                    <a:pt x="84" y="162"/>
                  </a:lnTo>
                  <a:lnTo>
                    <a:pt x="84" y="150"/>
                  </a:lnTo>
                  <a:lnTo>
                    <a:pt x="84" y="126"/>
                  </a:lnTo>
                  <a:lnTo>
                    <a:pt x="84" y="114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8" y="96"/>
                  </a:lnTo>
                  <a:lnTo>
                    <a:pt x="120" y="90"/>
                  </a:lnTo>
                  <a:lnTo>
                    <a:pt x="126" y="78"/>
                  </a:lnTo>
                  <a:lnTo>
                    <a:pt x="138" y="66"/>
                  </a:lnTo>
                  <a:lnTo>
                    <a:pt x="138" y="48"/>
                  </a:lnTo>
                  <a:lnTo>
                    <a:pt x="138" y="42"/>
                  </a:lnTo>
                  <a:lnTo>
                    <a:pt x="126" y="30"/>
                  </a:lnTo>
                  <a:lnTo>
                    <a:pt x="120" y="18"/>
                  </a:lnTo>
                  <a:lnTo>
                    <a:pt x="132" y="12"/>
                  </a:lnTo>
                  <a:lnTo>
                    <a:pt x="144" y="0"/>
                  </a:lnTo>
                  <a:lnTo>
                    <a:pt x="150" y="6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6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74" y="66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68" y="72"/>
                  </a:lnTo>
                  <a:lnTo>
                    <a:pt x="156" y="150"/>
                  </a:lnTo>
                  <a:lnTo>
                    <a:pt x="168" y="144"/>
                  </a:lnTo>
                  <a:lnTo>
                    <a:pt x="180" y="150"/>
                  </a:lnTo>
                  <a:lnTo>
                    <a:pt x="186" y="150"/>
                  </a:lnTo>
                  <a:lnTo>
                    <a:pt x="186" y="144"/>
                  </a:lnTo>
                  <a:lnTo>
                    <a:pt x="192" y="150"/>
                  </a:lnTo>
                  <a:lnTo>
                    <a:pt x="222" y="150"/>
                  </a:lnTo>
                  <a:lnTo>
                    <a:pt x="222" y="168"/>
                  </a:lnTo>
                  <a:lnTo>
                    <a:pt x="222" y="186"/>
                  </a:lnTo>
                  <a:lnTo>
                    <a:pt x="234" y="198"/>
                  </a:lnTo>
                  <a:lnTo>
                    <a:pt x="234" y="234"/>
                  </a:lnTo>
                  <a:lnTo>
                    <a:pt x="228" y="270"/>
                  </a:lnTo>
                  <a:lnTo>
                    <a:pt x="246" y="282"/>
                  </a:lnTo>
                  <a:lnTo>
                    <a:pt x="258" y="294"/>
                  </a:lnTo>
                  <a:lnTo>
                    <a:pt x="270" y="300"/>
                  </a:lnTo>
                  <a:lnTo>
                    <a:pt x="294" y="300"/>
                  </a:lnTo>
                  <a:lnTo>
                    <a:pt x="288" y="306"/>
                  </a:lnTo>
                  <a:lnTo>
                    <a:pt x="300" y="312"/>
                  </a:lnTo>
                  <a:lnTo>
                    <a:pt x="306" y="318"/>
                  </a:lnTo>
                  <a:lnTo>
                    <a:pt x="324" y="324"/>
                  </a:lnTo>
                  <a:lnTo>
                    <a:pt x="354" y="318"/>
                  </a:lnTo>
                  <a:lnTo>
                    <a:pt x="354" y="312"/>
                  </a:lnTo>
                  <a:lnTo>
                    <a:pt x="366" y="312"/>
                  </a:lnTo>
                  <a:lnTo>
                    <a:pt x="384" y="312"/>
                  </a:lnTo>
                  <a:lnTo>
                    <a:pt x="390" y="306"/>
                  </a:lnTo>
                  <a:lnTo>
                    <a:pt x="396" y="306"/>
                  </a:lnTo>
                  <a:lnTo>
                    <a:pt x="408" y="306"/>
                  </a:lnTo>
                  <a:lnTo>
                    <a:pt x="426" y="312"/>
                  </a:lnTo>
                  <a:lnTo>
                    <a:pt x="456" y="324"/>
                  </a:lnTo>
                  <a:lnTo>
                    <a:pt x="504" y="330"/>
                  </a:lnTo>
                  <a:lnTo>
                    <a:pt x="510" y="336"/>
                  </a:lnTo>
                  <a:lnTo>
                    <a:pt x="534" y="336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58" y="330"/>
                  </a:lnTo>
                  <a:lnTo>
                    <a:pt x="564" y="330"/>
                  </a:lnTo>
                  <a:lnTo>
                    <a:pt x="570" y="354"/>
                  </a:lnTo>
                  <a:lnTo>
                    <a:pt x="564" y="378"/>
                  </a:lnTo>
                  <a:lnTo>
                    <a:pt x="558" y="396"/>
                  </a:lnTo>
                  <a:lnTo>
                    <a:pt x="546" y="414"/>
                  </a:lnTo>
                  <a:lnTo>
                    <a:pt x="546" y="438"/>
                  </a:lnTo>
                  <a:lnTo>
                    <a:pt x="540" y="456"/>
                  </a:lnTo>
                  <a:lnTo>
                    <a:pt x="540" y="474"/>
                  </a:lnTo>
                  <a:lnTo>
                    <a:pt x="528" y="480"/>
                  </a:lnTo>
                  <a:lnTo>
                    <a:pt x="522" y="492"/>
                  </a:lnTo>
                  <a:lnTo>
                    <a:pt x="504" y="498"/>
                  </a:lnTo>
                  <a:lnTo>
                    <a:pt x="498" y="498"/>
                  </a:lnTo>
                  <a:lnTo>
                    <a:pt x="492" y="504"/>
                  </a:lnTo>
                  <a:lnTo>
                    <a:pt x="486" y="510"/>
                  </a:lnTo>
                  <a:lnTo>
                    <a:pt x="480" y="510"/>
                  </a:lnTo>
                  <a:lnTo>
                    <a:pt x="480" y="516"/>
                  </a:lnTo>
                  <a:lnTo>
                    <a:pt x="474" y="522"/>
                  </a:lnTo>
                  <a:lnTo>
                    <a:pt x="474" y="528"/>
                  </a:lnTo>
                  <a:lnTo>
                    <a:pt x="474" y="534"/>
                  </a:lnTo>
                  <a:lnTo>
                    <a:pt x="480" y="540"/>
                  </a:lnTo>
                  <a:lnTo>
                    <a:pt x="492" y="540"/>
                  </a:lnTo>
                  <a:lnTo>
                    <a:pt x="498" y="546"/>
                  </a:lnTo>
                  <a:lnTo>
                    <a:pt x="504" y="552"/>
                  </a:lnTo>
                  <a:lnTo>
                    <a:pt x="510" y="552"/>
                  </a:lnTo>
                  <a:lnTo>
                    <a:pt x="516" y="558"/>
                  </a:lnTo>
                  <a:lnTo>
                    <a:pt x="528" y="558"/>
                  </a:lnTo>
                  <a:lnTo>
                    <a:pt x="534" y="552"/>
                  </a:lnTo>
                  <a:lnTo>
                    <a:pt x="540" y="552"/>
                  </a:lnTo>
                  <a:lnTo>
                    <a:pt x="546" y="552"/>
                  </a:lnTo>
                  <a:lnTo>
                    <a:pt x="558" y="546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70" y="546"/>
                  </a:lnTo>
                  <a:lnTo>
                    <a:pt x="570" y="540"/>
                  </a:lnTo>
                  <a:lnTo>
                    <a:pt x="570" y="546"/>
                  </a:lnTo>
                  <a:lnTo>
                    <a:pt x="576" y="546"/>
                  </a:lnTo>
                  <a:lnTo>
                    <a:pt x="582" y="546"/>
                  </a:lnTo>
                  <a:lnTo>
                    <a:pt x="588" y="540"/>
                  </a:lnTo>
                  <a:lnTo>
                    <a:pt x="594" y="546"/>
                  </a:lnTo>
                  <a:lnTo>
                    <a:pt x="606" y="546"/>
                  </a:lnTo>
                  <a:lnTo>
                    <a:pt x="612" y="546"/>
                  </a:lnTo>
                  <a:lnTo>
                    <a:pt x="612" y="552"/>
                  </a:lnTo>
                  <a:lnTo>
                    <a:pt x="618" y="552"/>
                  </a:lnTo>
                  <a:lnTo>
                    <a:pt x="624" y="552"/>
                  </a:lnTo>
                  <a:lnTo>
                    <a:pt x="630" y="552"/>
                  </a:lnTo>
                  <a:lnTo>
                    <a:pt x="648" y="546"/>
                  </a:lnTo>
                  <a:lnTo>
                    <a:pt x="654" y="546"/>
                  </a:lnTo>
                  <a:lnTo>
                    <a:pt x="654" y="552"/>
                  </a:lnTo>
                  <a:lnTo>
                    <a:pt x="660" y="558"/>
                  </a:lnTo>
                  <a:lnTo>
                    <a:pt x="666" y="564"/>
                  </a:lnTo>
                  <a:lnTo>
                    <a:pt x="672" y="564"/>
                  </a:lnTo>
                  <a:lnTo>
                    <a:pt x="678" y="564"/>
                  </a:lnTo>
                  <a:lnTo>
                    <a:pt x="696" y="576"/>
                  </a:lnTo>
                  <a:lnTo>
                    <a:pt x="696" y="582"/>
                  </a:lnTo>
                  <a:lnTo>
                    <a:pt x="708" y="588"/>
                  </a:lnTo>
                  <a:lnTo>
                    <a:pt x="708" y="594"/>
                  </a:lnTo>
                  <a:lnTo>
                    <a:pt x="720" y="606"/>
                  </a:lnTo>
                  <a:lnTo>
                    <a:pt x="720" y="618"/>
                  </a:lnTo>
                  <a:lnTo>
                    <a:pt x="720" y="624"/>
                  </a:lnTo>
                  <a:lnTo>
                    <a:pt x="726" y="630"/>
                  </a:lnTo>
                  <a:lnTo>
                    <a:pt x="732" y="636"/>
                  </a:lnTo>
                  <a:lnTo>
                    <a:pt x="732" y="642"/>
                  </a:lnTo>
                  <a:lnTo>
                    <a:pt x="732" y="648"/>
                  </a:lnTo>
                  <a:lnTo>
                    <a:pt x="726" y="654"/>
                  </a:lnTo>
                  <a:lnTo>
                    <a:pt x="720" y="660"/>
                  </a:lnTo>
                  <a:lnTo>
                    <a:pt x="714" y="666"/>
                  </a:lnTo>
                  <a:lnTo>
                    <a:pt x="714" y="672"/>
                  </a:lnTo>
                  <a:lnTo>
                    <a:pt x="714" y="678"/>
                  </a:lnTo>
                  <a:lnTo>
                    <a:pt x="720" y="678"/>
                  </a:lnTo>
                  <a:lnTo>
                    <a:pt x="720" y="684"/>
                  </a:lnTo>
                  <a:lnTo>
                    <a:pt x="714" y="690"/>
                  </a:lnTo>
                  <a:lnTo>
                    <a:pt x="714" y="696"/>
                  </a:lnTo>
                  <a:lnTo>
                    <a:pt x="714" y="702"/>
                  </a:lnTo>
                  <a:lnTo>
                    <a:pt x="714" y="708"/>
                  </a:lnTo>
                  <a:lnTo>
                    <a:pt x="720" y="708"/>
                  </a:lnTo>
                  <a:lnTo>
                    <a:pt x="720" y="720"/>
                  </a:lnTo>
                  <a:lnTo>
                    <a:pt x="720" y="726"/>
                  </a:lnTo>
                  <a:lnTo>
                    <a:pt x="726" y="726"/>
                  </a:lnTo>
                  <a:lnTo>
                    <a:pt x="726" y="732"/>
                  </a:lnTo>
                  <a:lnTo>
                    <a:pt x="732" y="732"/>
                  </a:lnTo>
                  <a:lnTo>
                    <a:pt x="732" y="738"/>
                  </a:lnTo>
                  <a:lnTo>
                    <a:pt x="726" y="738"/>
                  </a:lnTo>
                  <a:lnTo>
                    <a:pt x="720" y="738"/>
                  </a:lnTo>
                  <a:lnTo>
                    <a:pt x="720" y="744"/>
                  </a:lnTo>
                  <a:lnTo>
                    <a:pt x="720" y="750"/>
                  </a:lnTo>
                  <a:lnTo>
                    <a:pt x="714" y="750"/>
                  </a:lnTo>
                  <a:lnTo>
                    <a:pt x="714" y="756"/>
                  </a:lnTo>
                  <a:lnTo>
                    <a:pt x="720" y="756"/>
                  </a:lnTo>
                  <a:lnTo>
                    <a:pt x="714" y="762"/>
                  </a:lnTo>
                  <a:lnTo>
                    <a:pt x="720" y="762"/>
                  </a:lnTo>
                  <a:lnTo>
                    <a:pt x="726" y="768"/>
                  </a:lnTo>
                  <a:lnTo>
                    <a:pt x="726" y="774"/>
                  </a:lnTo>
                  <a:lnTo>
                    <a:pt x="732" y="774"/>
                  </a:lnTo>
                  <a:lnTo>
                    <a:pt x="732" y="780"/>
                  </a:lnTo>
                  <a:lnTo>
                    <a:pt x="726" y="780"/>
                  </a:lnTo>
                  <a:lnTo>
                    <a:pt x="726" y="786"/>
                  </a:lnTo>
                  <a:lnTo>
                    <a:pt x="720" y="786"/>
                  </a:lnTo>
                  <a:lnTo>
                    <a:pt x="726" y="786"/>
                  </a:lnTo>
                  <a:lnTo>
                    <a:pt x="732" y="780"/>
                  </a:lnTo>
                  <a:lnTo>
                    <a:pt x="738" y="780"/>
                  </a:lnTo>
                  <a:lnTo>
                    <a:pt x="744" y="780"/>
                  </a:lnTo>
                  <a:lnTo>
                    <a:pt x="744" y="786"/>
                  </a:lnTo>
                  <a:lnTo>
                    <a:pt x="750" y="786"/>
                  </a:lnTo>
                  <a:lnTo>
                    <a:pt x="744" y="786"/>
                  </a:lnTo>
                  <a:lnTo>
                    <a:pt x="744" y="792"/>
                  </a:lnTo>
                  <a:lnTo>
                    <a:pt x="744" y="786"/>
                  </a:lnTo>
                  <a:lnTo>
                    <a:pt x="738" y="792"/>
                  </a:lnTo>
                  <a:lnTo>
                    <a:pt x="744" y="792"/>
                  </a:lnTo>
                  <a:lnTo>
                    <a:pt x="750" y="792"/>
                  </a:lnTo>
                  <a:lnTo>
                    <a:pt x="750" y="786"/>
                  </a:lnTo>
                  <a:lnTo>
                    <a:pt x="756" y="786"/>
                  </a:lnTo>
                  <a:lnTo>
                    <a:pt x="756" y="792"/>
                  </a:lnTo>
                  <a:lnTo>
                    <a:pt x="762" y="792"/>
                  </a:lnTo>
                  <a:lnTo>
                    <a:pt x="756" y="798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0" y="810"/>
                  </a:lnTo>
                  <a:lnTo>
                    <a:pt x="756" y="810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6" y="816"/>
                  </a:lnTo>
                  <a:lnTo>
                    <a:pt x="750" y="816"/>
                  </a:lnTo>
                  <a:lnTo>
                    <a:pt x="738" y="810"/>
                  </a:lnTo>
                  <a:lnTo>
                    <a:pt x="732" y="810"/>
                  </a:lnTo>
                  <a:lnTo>
                    <a:pt x="732" y="816"/>
                  </a:lnTo>
                  <a:lnTo>
                    <a:pt x="726" y="810"/>
                  </a:lnTo>
                  <a:lnTo>
                    <a:pt x="714" y="816"/>
                  </a:lnTo>
                  <a:lnTo>
                    <a:pt x="708" y="816"/>
                  </a:lnTo>
                  <a:lnTo>
                    <a:pt x="702" y="816"/>
                  </a:lnTo>
                  <a:lnTo>
                    <a:pt x="696" y="816"/>
                  </a:lnTo>
                  <a:lnTo>
                    <a:pt x="690" y="822"/>
                  </a:lnTo>
                  <a:lnTo>
                    <a:pt x="684" y="822"/>
                  </a:lnTo>
                  <a:lnTo>
                    <a:pt x="678" y="822"/>
                  </a:lnTo>
                  <a:lnTo>
                    <a:pt x="672" y="822"/>
                  </a:lnTo>
                  <a:lnTo>
                    <a:pt x="666" y="822"/>
                  </a:lnTo>
                  <a:lnTo>
                    <a:pt x="666" y="828"/>
                  </a:lnTo>
                  <a:lnTo>
                    <a:pt x="654" y="828"/>
                  </a:lnTo>
                  <a:lnTo>
                    <a:pt x="648" y="828"/>
                  </a:lnTo>
                  <a:lnTo>
                    <a:pt x="642" y="828"/>
                  </a:lnTo>
                  <a:lnTo>
                    <a:pt x="630" y="828"/>
                  </a:lnTo>
                  <a:lnTo>
                    <a:pt x="624" y="822"/>
                  </a:lnTo>
                  <a:lnTo>
                    <a:pt x="618" y="822"/>
                  </a:lnTo>
                  <a:lnTo>
                    <a:pt x="612" y="822"/>
                  </a:lnTo>
                  <a:lnTo>
                    <a:pt x="606" y="822"/>
                  </a:lnTo>
                  <a:lnTo>
                    <a:pt x="600" y="822"/>
                  </a:lnTo>
                  <a:lnTo>
                    <a:pt x="594" y="822"/>
                  </a:lnTo>
                  <a:lnTo>
                    <a:pt x="594" y="816"/>
                  </a:lnTo>
                  <a:lnTo>
                    <a:pt x="594" y="810"/>
                  </a:lnTo>
                  <a:lnTo>
                    <a:pt x="600" y="804"/>
                  </a:lnTo>
                  <a:lnTo>
                    <a:pt x="600" y="798"/>
                  </a:lnTo>
                  <a:lnTo>
                    <a:pt x="600" y="792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2" y="786"/>
                  </a:lnTo>
                  <a:lnTo>
                    <a:pt x="618" y="786"/>
                  </a:lnTo>
                  <a:lnTo>
                    <a:pt x="624" y="786"/>
                  </a:lnTo>
                  <a:lnTo>
                    <a:pt x="624" y="780"/>
                  </a:lnTo>
                  <a:lnTo>
                    <a:pt x="630" y="780"/>
                  </a:lnTo>
                  <a:lnTo>
                    <a:pt x="630" y="774"/>
                  </a:lnTo>
                  <a:lnTo>
                    <a:pt x="636" y="774"/>
                  </a:lnTo>
                  <a:lnTo>
                    <a:pt x="642" y="780"/>
                  </a:lnTo>
                  <a:lnTo>
                    <a:pt x="642" y="786"/>
                  </a:lnTo>
                  <a:lnTo>
                    <a:pt x="642" y="792"/>
                  </a:lnTo>
                  <a:lnTo>
                    <a:pt x="648" y="792"/>
                  </a:lnTo>
                  <a:lnTo>
                    <a:pt x="648" y="786"/>
                  </a:lnTo>
                  <a:lnTo>
                    <a:pt x="642" y="786"/>
                  </a:lnTo>
                  <a:lnTo>
                    <a:pt x="642" y="780"/>
                  </a:lnTo>
                  <a:lnTo>
                    <a:pt x="642" y="774"/>
                  </a:lnTo>
                  <a:lnTo>
                    <a:pt x="648" y="768"/>
                  </a:lnTo>
                  <a:lnTo>
                    <a:pt x="642" y="768"/>
                  </a:lnTo>
                  <a:lnTo>
                    <a:pt x="648" y="768"/>
                  </a:lnTo>
                  <a:lnTo>
                    <a:pt x="648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66" y="762"/>
                  </a:lnTo>
                  <a:lnTo>
                    <a:pt x="672" y="756"/>
                  </a:lnTo>
                  <a:lnTo>
                    <a:pt x="666" y="756"/>
                  </a:lnTo>
                  <a:lnTo>
                    <a:pt x="660" y="756"/>
                  </a:lnTo>
                  <a:lnTo>
                    <a:pt x="660" y="750"/>
                  </a:lnTo>
                  <a:lnTo>
                    <a:pt x="654" y="750"/>
                  </a:lnTo>
                  <a:lnTo>
                    <a:pt x="648" y="750"/>
                  </a:lnTo>
                  <a:lnTo>
                    <a:pt x="648" y="756"/>
                  </a:lnTo>
                  <a:lnTo>
                    <a:pt x="642" y="756"/>
                  </a:lnTo>
                  <a:lnTo>
                    <a:pt x="642" y="750"/>
                  </a:lnTo>
                  <a:lnTo>
                    <a:pt x="642" y="744"/>
                  </a:lnTo>
                  <a:lnTo>
                    <a:pt x="642" y="750"/>
                  </a:lnTo>
                  <a:lnTo>
                    <a:pt x="636" y="750"/>
                  </a:lnTo>
                  <a:lnTo>
                    <a:pt x="636" y="744"/>
                  </a:lnTo>
                  <a:lnTo>
                    <a:pt x="630" y="744"/>
                  </a:lnTo>
                  <a:lnTo>
                    <a:pt x="630" y="738"/>
                  </a:lnTo>
                  <a:lnTo>
                    <a:pt x="630" y="744"/>
                  </a:lnTo>
                  <a:lnTo>
                    <a:pt x="630" y="750"/>
                  </a:lnTo>
                  <a:lnTo>
                    <a:pt x="636" y="750"/>
                  </a:lnTo>
                  <a:lnTo>
                    <a:pt x="636" y="756"/>
                  </a:lnTo>
                  <a:lnTo>
                    <a:pt x="630" y="756"/>
                  </a:lnTo>
                  <a:lnTo>
                    <a:pt x="636" y="762"/>
                  </a:lnTo>
                  <a:lnTo>
                    <a:pt x="630" y="762"/>
                  </a:lnTo>
                  <a:lnTo>
                    <a:pt x="624" y="762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24" y="786"/>
                  </a:lnTo>
                  <a:lnTo>
                    <a:pt x="618" y="786"/>
                  </a:lnTo>
                  <a:lnTo>
                    <a:pt x="618" y="78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12" y="774"/>
                  </a:lnTo>
                  <a:lnTo>
                    <a:pt x="612" y="780"/>
                  </a:lnTo>
                  <a:lnTo>
                    <a:pt x="606" y="780"/>
                  </a:lnTo>
                  <a:lnTo>
                    <a:pt x="600" y="780"/>
                  </a:lnTo>
                  <a:lnTo>
                    <a:pt x="600" y="774"/>
                  </a:lnTo>
                  <a:lnTo>
                    <a:pt x="594" y="768"/>
                  </a:lnTo>
                  <a:lnTo>
                    <a:pt x="594" y="762"/>
                  </a:lnTo>
                  <a:lnTo>
                    <a:pt x="594" y="756"/>
                  </a:lnTo>
                  <a:lnTo>
                    <a:pt x="594" y="762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594" y="780"/>
                  </a:lnTo>
                  <a:lnTo>
                    <a:pt x="588" y="780"/>
                  </a:lnTo>
                  <a:lnTo>
                    <a:pt x="582" y="780"/>
                  </a:lnTo>
                  <a:lnTo>
                    <a:pt x="576" y="780"/>
                  </a:lnTo>
                  <a:lnTo>
                    <a:pt x="570" y="780"/>
                  </a:lnTo>
                  <a:lnTo>
                    <a:pt x="564" y="780"/>
                  </a:lnTo>
                  <a:lnTo>
                    <a:pt x="564" y="786"/>
                  </a:lnTo>
                  <a:lnTo>
                    <a:pt x="558" y="786"/>
                  </a:lnTo>
                  <a:lnTo>
                    <a:pt x="552" y="786"/>
                  </a:lnTo>
                  <a:lnTo>
                    <a:pt x="552" y="780"/>
                  </a:lnTo>
                  <a:lnTo>
                    <a:pt x="552" y="774"/>
                  </a:lnTo>
                  <a:lnTo>
                    <a:pt x="552" y="768"/>
                  </a:lnTo>
                  <a:lnTo>
                    <a:pt x="546" y="768"/>
                  </a:lnTo>
                  <a:lnTo>
                    <a:pt x="540" y="762"/>
                  </a:lnTo>
                  <a:lnTo>
                    <a:pt x="540" y="756"/>
                  </a:lnTo>
                  <a:lnTo>
                    <a:pt x="534" y="756"/>
                  </a:lnTo>
                  <a:lnTo>
                    <a:pt x="534" y="750"/>
                  </a:lnTo>
                  <a:lnTo>
                    <a:pt x="534" y="744"/>
                  </a:lnTo>
                  <a:lnTo>
                    <a:pt x="528" y="738"/>
                  </a:lnTo>
                  <a:lnTo>
                    <a:pt x="522" y="738"/>
                  </a:lnTo>
                  <a:lnTo>
                    <a:pt x="522" y="732"/>
                  </a:lnTo>
                  <a:lnTo>
                    <a:pt x="510" y="726"/>
                  </a:lnTo>
                  <a:lnTo>
                    <a:pt x="510" y="720"/>
                  </a:lnTo>
                  <a:lnTo>
                    <a:pt x="504" y="720"/>
                  </a:lnTo>
                  <a:lnTo>
                    <a:pt x="504" y="714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8" y="702"/>
                  </a:lnTo>
                  <a:lnTo>
                    <a:pt x="498" y="696"/>
                  </a:lnTo>
                  <a:lnTo>
                    <a:pt x="492" y="690"/>
                  </a:lnTo>
                  <a:lnTo>
                    <a:pt x="492" y="684"/>
                  </a:lnTo>
                  <a:lnTo>
                    <a:pt x="486" y="684"/>
                  </a:lnTo>
                  <a:lnTo>
                    <a:pt x="486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74" y="678"/>
                  </a:lnTo>
                  <a:lnTo>
                    <a:pt x="468" y="678"/>
                  </a:lnTo>
                  <a:lnTo>
                    <a:pt x="462" y="678"/>
                  </a:lnTo>
                  <a:lnTo>
                    <a:pt x="462" y="672"/>
                  </a:lnTo>
                  <a:lnTo>
                    <a:pt x="456" y="672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44" y="666"/>
                  </a:lnTo>
                  <a:lnTo>
                    <a:pt x="438" y="660"/>
                  </a:lnTo>
                  <a:lnTo>
                    <a:pt x="438" y="648"/>
                  </a:lnTo>
                  <a:lnTo>
                    <a:pt x="438" y="642"/>
                  </a:lnTo>
                  <a:lnTo>
                    <a:pt x="438" y="636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36"/>
                  </a:lnTo>
                  <a:lnTo>
                    <a:pt x="420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60"/>
                  </a:lnTo>
                  <a:lnTo>
                    <a:pt x="432" y="666"/>
                  </a:lnTo>
                  <a:lnTo>
                    <a:pt x="438" y="666"/>
                  </a:lnTo>
                  <a:lnTo>
                    <a:pt x="438" y="672"/>
                  </a:lnTo>
                  <a:lnTo>
                    <a:pt x="444" y="672"/>
                  </a:lnTo>
                  <a:lnTo>
                    <a:pt x="444" y="678"/>
                  </a:lnTo>
                  <a:lnTo>
                    <a:pt x="450" y="678"/>
                  </a:lnTo>
                  <a:lnTo>
                    <a:pt x="456" y="678"/>
                  </a:lnTo>
                  <a:lnTo>
                    <a:pt x="456" y="684"/>
                  </a:lnTo>
                  <a:lnTo>
                    <a:pt x="462" y="684"/>
                  </a:lnTo>
                  <a:lnTo>
                    <a:pt x="468" y="684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80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86" y="708"/>
                  </a:lnTo>
                  <a:lnTo>
                    <a:pt x="492" y="714"/>
                  </a:lnTo>
                  <a:lnTo>
                    <a:pt x="492" y="720"/>
                  </a:lnTo>
                  <a:lnTo>
                    <a:pt x="492" y="726"/>
                  </a:lnTo>
                  <a:lnTo>
                    <a:pt x="498" y="732"/>
                  </a:lnTo>
                  <a:lnTo>
                    <a:pt x="492" y="738"/>
                  </a:lnTo>
                  <a:lnTo>
                    <a:pt x="492" y="744"/>
                  </a:lnTo>
                  <a:lnTo>
                    <a:pt x="492" y="750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68" y="738"/>
                  </a:lnTo>
                  <a:lnTo>
                    <a:pt x="468" y="744"/>
                  </a:lnTo>
                  <a:lnTo>
                    <a:pt x="474" y="750"/>
                  </a:lnTo>
                  <a:lnTo>
                    <a:pt x="480" y="756"/>
                  </a:lnTo>
                  <a:lnTo>
                    <a:pt x="486" y="756"/>
                  </a:lnTo>
                  <a:lnTo>
                    <a:pt x="492" y="762"/>
                  </a:lnTo>
                  <a:lnTo>
                    <a:pt x="498" y="768"/>
                  </a:lnTo>
                  <a:lnTo>
                    <a:pt x="492" y="774"/>
                  </a:lnTo>
                  <a:lnTo>
                    <a:pt x="492" y="780"/>
                  </a:lnTo>
                  <a:lnTo>
                    <a:pt x="498" y="780"/>
                  </a:lnTo>
                  <a:lnTo>
                    <a:pt x="492" y="786"/>
                  </a:lnTo>
                  <a:lnTo>
                    <a:pt x="492" y="792"/>
                  </a:lnTo>
                  <a:lnTo>
                    <a:pt x="492" y="79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0" y="810"/>
                  </a:lnTo>
                  <a:lnTo>
                    <a:pt x="480" y="804"/>
                  </a:lnTo>
                  <a:lnTo>
                    <a:pt x="474" y="804"/>
                  </a:lnTo>
                  <a:lnTo>
                    <a:pt x="474" y="798"/>
                  </a:lnTo>
                  <a:lnTo>
                    <a:pt x="474" y="804"/>
                  </a:lnTo>
                  <a:lnTo>
                    <a:pt x="468" y="804"/>
                  </a:lnTo>
                  <a:lnTo>
                    <a:pt x="468" y="810"/>
                  </a:lnTo>
                  <a:lnTo>
                    <a:pt x="462" y="810"/>
                  </a:lnTo>
                  <a:lnTo>
                    <a:pt x="456" y="810"/>
                  </a:lnTo>
                  <a:lnTo>
                    <a:pt x="450" y="810"/>
                  </a:lnTo>
                  <a:lnTo>
                    <a:pt x="450" y="816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50" y="822"/>
                  </a:lnTo>
                  <a:lnTo>
                    <a:pt x="450" y="816"/>
                  </a:lnTo>
                  <a:lnTo>
                    <a:pt x="444" y="816"/>
                  </a:lnTo>
                  <a:lnTo>
                    <a:pt x="438" y="810"/>
                  </a:lnTo>
                  <a:lnTo>
                    <a:pt x="432" y="810"/>
                  </a:lnTo>
                  <a:lnTo>
                    <a:pt x="426" y="804"/>
                  </a:lnTo>
                  <a:lnTo>
                    <a:pt x="426" y="798"/>
                  </a:lnTo>
                  <a:lnTo>
                    <a:pt x="420" y="798"/>
                  </a:lnTo>
                  <a:lnTo>
                    <a:pt x="426" y="798"/>
                  </a:lnTo>
                  <a:lnTo>
                    <a:pt x="426" y="792"/>
                  </a:lnTo>
                  <a:lnTo>
                    <a:pt x="426" y="786"/>
                  </a:lnTo>
                  <a:lnTo>
                    <a:pt x="432" y="786"/>
                  </a:lnTo>
                  <a:lnTo>
                    <a:pt x="432" y="780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0" y="756"/>
                  </a:lnTo>
                  <a:lnTo>
                    <a:pt x="420" y="750"/>
                  </a:lnTo>
                  <a:lnTo>
                    <a:pt x="414" y="750"/>
                  </a:lnTo>
                  <a:lnTo>
                    <a:pt x="420" y="750"/>
                  </a:lnTo>
                  <a:lnTo>
                    <a:pt x="420" y="744"/>
                  </a:lnTo>
                  <a:lnTo>
                    <a:pt x="414" y="744"/>
                  </a:lnTo>
                  <a:lnTo>
                    <a:pt x="414" y="738"/>
                  </a:lnTo>
                  <a:lnTo>
                    <a:pt x="414" y="732"/>
                  </a:lnTo>
                  <a:lnTo>
                    <a:pt x="408" y="732"/>
                  </a:lnTo>
                  <a:lnTo>
                    <a:pt x="408" y="726"/>
                  </a:lnTo>
                  <a:lnTo>
                    <a:pt x="402" y="726"/>
                  </a:lnTo>
                  <a:lnTo>
                    <a:pt x="396" y="726"/>
                  </a:lnTo>
                  <a:lnTo>
                    <a:pt x="390" y="726"/>
                  </a:lnTo>
                  <a:lnTo>
                    <a:pt x="390" y="720"/>
                  </a:lnTo>
                  <a:lnTo>
                    <a:pt x="390" y="714"/>
                  </a:lnTo>
                  <a:lnTo>
                    <a:pt x="384" y="708"/>
                  </a:lnTo>
                  <a:lnTo>
                    <a:pt x="384" y="702"/>
                  </a:lnTo>
                  <a:lnTo>
                    <a:pt x="378" y="702"/>
                  </a:lnTo>
                  <a:lnTo>
                    <a:pt x="378" y="696"/>
                  </a:lnTo>
                  <a:lnTo>
                    <a:pt x="378" y="690"/>
                  </a:lnTo>
                  <a:lnTo>
                    <a:pt x="372" y="684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66" y="666"/>
                  </a:lnTo>
                  <a:lnTo>
                    <a:pt x="366" y="660"/>
                  </a:lnTo>
                  <a:lnTo>
                    <a:pt x="366" y="654"/>
                  </a:lnTo>
                  <a:lnTo>
                    <a:pt x="360" y="648"/>
                  </a:lnTo>
                  <a:lnTo>
                    <a:pt x="360" y="654"/>
                  </a:lnTo>
                  <a:lnTo>
                    <a:pt x="360" y="660"/>
                  </a:lnTo>
                  <a:lnTo>
                    <a:pt x="360" y="666"/>
                  </a:lnTo>
                  <a:lnTo>
                    <a:pt x="360" y="672"/>
                  </a:lnTo>
                  <a:lnTo>
                    <a:pt x="360" y="678"/>
                  </a:lnTo>
                  <a:lnTo>
                    <a:pt x="366" y="678"/>
                  </a:lnTo>
                  <a:lnTo>
                    <a:pt x="366" y="684"/>
                  </a:lnTo>
                  <a:lnTo>
                    <a:pt x="366" y="690"/>
                  </a:lnTo>
                  <a:lnTo>
                    <a:pt x="372" y="696"/>
                  </a:lnTo>
                  <a:lnTo>
                    <a:pt x="372" y="702"/>
                  </a:lnTo>
                  <a:lnTo>
                    <a:pt x="372" y="708"/>
                  </a:lnTo>
                  <a:lnTo>
                    <a:pt x="372" y="714"/>
                  </a:lnTo>
                  <a:lnTo>
                    <a:pt x="366" y="714"/>
                  </a:lnTo>
                  <a:lnTo>
                    <a:pt x="360" y="714"/>
                  </a:lnTo>
                  <a:lnTo>
                    <a:pt x="354" y="714"/>
                  </a:lnTo>
                  <a:lnTo>
                    <a:pt x="348" y="714"/>
                  </a:lnTo>
                  <a:lnTo>
                    <a:pt x="348" y="708"/>
                  </a:lnTo>
                  <a:lnTo>
                    <a:pt x="342" y="708"/>
                  </a:lnTo>
                  <a:lnTo>
                    <a:pt x="342" y="702"/>
                  </a:lnTo>
                  <a:lnTo>
                    <a:pt x="342" y="696"/>
                  </a:lnTo>
                  <a:lnTo>
                    <a:pt x="336" y="696"/>
                  </a:lnTo>
                  <a:lnTo>
                    <a:pt x="336" y="690"/>
                  </a:lnTo>
                  <a:lnTo>
                    <a:pt x="336" y="684"/>
                  </a:lnTo>
                  <a:lnTo>
                    <a:pt x="330" y="684"/>
                  </a:lnTo>
                  <a:lnTo>
                    <a:pt x="330" y="678"/>
                  </a:lnTo>
                  <a:lnTo>
                    <a:pt x="324" y="672"/>
                  </a:lnTo>
                  <a:lnTo>
                    <a:pt x="324" y="666"/>
                  </a:lnTo>
                  <a:lnTo>
                    <a:pt x="318" y="666"/>
                  </a:lnTo>
                  <a:lnTo>
                    <a:pt x="318" y="672"/>
                  </a:lnTo>
                  <a:lnTo>
                    <a:pt x="324" y="672"/>
                  </a:lnTo>
                  <a:lnTo>
                    <a:pt x="324" y="678"/>
                  </a:lnTo>
                  <a:lnTo>
                    <a:pt x="324" y="684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30" y="696"/>
                  </a:lnTo>
                  <a:lnTo>
                    <a:pt x="336" y="702"/>
                  </a:lnTo>
                  <a:lnTo>
                    <a:pt x="342" y="708"/>
                  </a:lnTo>
                  <a:lnTo>
                    <a:pt x="342" y="714"/>
                  </a:lnTo>
                  <a:lnTo>
                    <a:pt x="348" y="720"/>
                  </a:lnTo>
                  <a:lnTo>
                    <a:pt x="342" y="720"/>
                  </a:lnTo>
                  <a:lnTo>
                    <a:pt x="336" y="720"/>
                  </a:lnTo>
                  <a:lnTo>
                    <a:pt x="330" y="720"/>
                  </a:lnTo>
                  <a:lnTo>
                    <a:pt x="330" y="726"/>
                  </a:lnTo>
                  <a:lnTo>
                    <a:pt x="336" y="726"/>
                  </a:lnTo>
                  <a:lnTo>
                    <a:pt x="330" y="732"/>
                  </a:lnTo>
                  <a:lnTo>
                    <a:pt x="330" y="738"/>
                  </a:lnTo>
                  <a:lnTo>
                    <a:pt x="330" y="744"/>
                  </a:lnTo>
                  <a:lnTo>
                    <a:pt x="336" y="744"/>
                  </a:lnTo>
                  <a:lnTo>
                    <a:pt x="342" y="744"/>
                  </a:lnTo>
                  <a:lnTo>
                    <a:pt x="348" y="744"/>
                  </a:lnTo>
                  <a:lnTo>
                    <a:pt x="348" y="750"/>
                  </a:lnTo>
                  <a:lnTo>
                    <a:pt x="354" y="750"/>
                  </a:lnTo>
                  <a:lnTo>
                    <a:pt x="360" y="756"/>
                  </a:lnTo>
                  <a:lnTo>
                    <a:pt x="360" y="762"/>
                  </a:lnTo>
                  <a:lnTo>
                    <a:pt x="366" y="762"/>
                  </a:lnTo>
                  <a:lnTo>
                    <a:pt x="366" y="768"/>
                  </a:lnTo>
                  <a:lnTo>
                    <a:pt x="366" y="774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72" y="792"/>
                  </a:lnTo>
                  <a:lnTo>
                    <a:pt x="372" y="798"/>
                  </a:lnTo>
                  <a:lnTo>
                    <a:pt x="372" y="804"/>
                  </a:lnTo>
                  <a:lnTo>
                    <a:pt x="378" y="804"/>
                  </a:lnTo>
                  <a:lnTo>
                    <a:pt x="378" y="810"/>
                  </a:lnTo>
                  <a:lnTo>
                    <a:pt x="378" y="816"/>
                  </a:lnTo>
                  <a:lnTo>
                    <a:pt x="372" y="816"/>
                  </a:lnTo>
                  <a:lnTo>
                    <a:pt x="378" y="816"/>
                  </a:lnTo>
                  <a:lnTo>
                    <a:pt x="378" y="822"/>
                  </a:lnTo>
                  <a:lnTo>
                    <a:pt x="378" y="828"/>
                  </a:lnTo>
                  <a:lnTo>
                    <a:pt x="378" y="834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0" y="864"/>
                  </a:lnTo>
                  <a:lnTo>
                    <a:pt x="384" y="864"/>
                  </a:lnTo>
                  <a:lnTo>
                    <a:pt x="384" y="870"/>
                  </a:lnTo>
                  <a:lnTo>
                    <a:pt x="378" y="864"/>
                  </a:lnTo>
                  <a:lnTo>
                    <a:pt x="372" y="864"/>
                  </a:lnTo>
                  <a:lnTo>
                    <a:pt x="366" y="858"/>
                  </a:lnTo>
                  <a:lnTo>
                    <a:pt x="366" y="852"/>
                  </a:lnTo>
                  <a:lnTo>
                    <a:pt x="360" y="852"/>
                  </a:lnTo>
                  <a:lnTo>
                    <a:pt x="360" y="858"/>
                  </a:lnTo>
                  <a:lnTo>
                    <a:pt x="366" y="858"/>
                  </a:lnTo>
                  <a:lnTo>
                    <a:pt x="366" y="864"/>
                  </a:lnTo>
                  <a:lnTo>
                    <a:pt x="360" y="864"/>
                  </a:lnTo>
                  <a:lnTo>
                    <a:pt x="354" y="864"/>
                  </a:lnTo>
                  <a:lnTo>
                    <a:pt x="354" y="870"/>
                  </a:lnTo>
                  <a:lnTo>
                    <a:pt x="354" y="864"/>
                  </a:lnTo>
                  <a:lnTo>
                    <a:pt x="348" y="864"/>
                  </a:lnTo>
                  <a:lnTo>
                    <a:pt x="342" y="864"/>
                  </a:lnTo>
                  <a:lnTo>
                    <a:pt x="342" y="858"/>
                  </a:lnTo>
                  <a:lnTo>
                    <a:pt x="336" y="858"/>
                  </a:lnTo>
                  <a:lnTo>
                    <a:pt x="330" y="858"/>
                  </a:lnTo>
                  <a:lnTo>
                    <a:pt x="324" y="858"/>
                  </a:lnTo>
                  <a:lnTo>
                    <a:pt x="318" y="858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0" y="852"/>
                  </a:lnTo>
                  <a:lnTo>
                    <a:pt x="294" y="852"/>
                  </a:lnTo>
                  <a:lnTo>
                    <a:pt x="294" y="846"/>
                  </a:lnTo>
                  <a:lnTo>
                    <a:pt x="288" y="840"/>
                  </a:lnTo>
                  <a:lnTo>
                    <a:pt x="288" y="828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2" y="816"/>
                  </a:lnTo>
                  <a:lnTo>
                    <a:pt x="282" y="810"/>
                  </a:lnTo>
                  <a:lnTo>
                    <a:pt x="276" y="810"/>
                  </a:lnTo>
                  <a:lnTo>
                    <a:pt x="276" y="804"/>
                  </a:lnTo>
                  <a:lnTo>
                    <a:pt x="276" y="798"/>
                  </a:lnTo>
                  <a:lnTo>
                    <a:pt x="276" y="792"/>
                  </a:lnTo>
                  <a:lnTo>
                    <a:pt x="270" y="786"/>
                  </a:lnTo>
                  <a:lnTo>
                    <a:pt x="270" y="780"/>
                  </a:lnTo>
                  <a:lnTo>
                    <a:pt x="270" y="774"/>
                  </a:lnTo>
                  <a:lnTo>
                    <a:pt x="264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64" y="750"/>
                  </a:lnTo>
                  <a:lnTo>
                    <a:pt x="264" y="744"/>
                  </a:lnTo>
                  <a:lnTo>
                    <a:pt x="264" y="738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26"/>
                  </a:lnTo>
                  <a:lnTo>
                    <a:pt x="276" y="720"/>
                  </a:lnTo>
                  <a:lnTo>
                    <a:pt x="282" y="720"/>
                  </a:lnTo>
                  <a:lnTo>
                    <a:pt x="282" y="714"/>
                  </a:lnTo>
                  <a:lnTo>
                    <a:pt x="282" y="708"/>
                  </a:lnTo>
                  <a:lnTo>
                    <a:pt x="276" y="708"/>
                  </a:lnTo>
                  <a:lnTo>
                    <a:pt x="276" y="702"/>
                  </a:lnTo>
                  <a:lnTo>
                    <a:pt x="270" y="702"/>
                  </a:lnTo>
                  <a:lnTo>
                    <a:pt x="270" y="696"/>
                  </a:lnTo>
                  <a:lnTo>
                    <a:pt x="264" y="690"/>
                  </a:lnTo>
                  <a:lnTo>
                    <a:pt x="258" y="690"/>
                  </a:lnTo>
                  <a:lnTo>
                    <a:pt x="258" y="684"/>
                  </a:lnTo>
                  <a:lnTo>
                    <a:pt x="252" y="684"/>
                  </a:lnTo>
                  <a:lnTo>
                    <a:pt x="252" y="678"/>
                  </a:lnTo>
                  <a:lnTo>
                    <a:pt x="246" y="678"/>
                  </a:lnTo>
                  <a:lnTo>
                    <a:pt x="240" y="678"/>
                  </a:lnTo>
                  <a:lnTo>
                    <a:pt x="240" y="684"/>
                  </a:lnTo>
                  <a:lnTo>
                    <a:pt x="246" y="684"/>
                  </a:lnTo>
                  <a:lnTo>
                    <a:pt x="252" y="690"/>
                  </a:lnTo>
                  <a:lnTo>
                    <a:pt x="258" y="690"/>
                  </a:lnTo>
                  <a:lnTo>
                    <a:pt x="258" y="696"/>
                  </a:lnTo>
                  <a:lnTo>
                    <a:pt x="258" y="702"/>
                  </a:lnTo>
                  <a:lnTo>
                    <a:pt x="264" y="702"/>
                  </a:lnTo>
                  <a:lnTo>
                    <a:pt x="270" y="708"/>
                  </a:lnTo>
                  <a:lnTo>
                    <a:pt x="270" y="714"/>
                  </a:lnTo>
                  <a:lnTo>
                    <a:pt x="270" y="720"/>
                  </a:lnTo>
                  <a:lnTo>
                    <a:pt x="276" y="720"/>
                  </a:lnTo>
                  <a:lnTo>
                    <a:pt x="270" y="720"/>
                  </a:lnTo>
                  <a:lnTo>
                    <a:pt x="270" y="726"/>
                  </a:lnTo>
                  <a:lnTo>
                    <a:pt x="264" y="726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52" y="738"/>
                  </a:lnTo>
                  <a:lnTo>
                    <a:pt x="252" y="744"/>
                  </a:lnTo>
                  <a:lnTo>
                    <a:pt x="252" y="750"/>
                  </a:lnTo>
                  <a:lnTo>
                    <a:pt x="252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58" y="774"/>
                  </a:lnTo>
                  <a:lnTo>
                    <a:pt x="258" y="780"/>
                  </a:lnTo>
                  <a:lnTo>
                    <a:pt x="264" y="786"/>
                  </a:lnTo>
                  <a:lnTo>
                    <a:pt x="264" y="792"/>
                  </a:lnTo>
                  <a:lnTo>
                    <a:pt x="264" y="798"/>
                  </a:lnTo>
                  <a:lnTo>
                    <a:pt x="270" y="810"/>
                  </a:lnTo>
                  <a:lnTo>
                    <a:pt x="270" y="816"/>
                  </a:lnTo>
                  <a:lnTo>
                    <a:pt x="270" y="822"/>
                  </a:lnTo>
                  <a:lnTo>
                    <a:pt x="276" y="822"/>
                  </a:lnTo>
                  <a:lnTo>
                    <a:pt x="276" y="828"/>
                  </a:lnTo>
                  <a:lnTo>
                    <a:pt x="276" y="834"/>
                  </a:lnTo>
                  <a:lnTo>
                    <a:pt x="276" y="840"/>
                  </a:lnTo>
                  <a:lnTo>
                    <a:pt x="276" y="846"/>
                  </a:lnTo>
                  <a:lnTo>
                    <a:pt x="282" y="852"/>
                  </a:lnTo>
                  <a:lnTo>
                    <a:pt x="282" y="858"/>
                  </a:lnTo>
                  <a:lnTo>
                    <a:pt x="294" y="864"/>
                  </a:lnTo>
                  <a:lnTo>
                    <a:pt x="300" y="870"/>
                  </a:lnTo>
                  <a:lnTo>
                    <a:pt x="300" y="876"/>
                  </a:lnTo>
                  <a:lnTo>
                    <a:pt x="288" y="876"/>
                  </a:lnTo>
                  <a:lnTo>
                    <a:pt x="282" y="876"/>
                  </a:lnTo>
                  <a:lnTo>
                    <a:pt x="276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2" y="882"/>
                  </a:lnTo>
                  <a:lnTo>
                    <a:pt x="246" y="882"/>
                  </a:lnTo>
                  <a:lnTo>
                    <a:pt x="240" y="882"/>
                  </a:lnTo>
                  <a:lnTo>
                    <a:pt x="234" y="882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204" y="876"/>
                  </a:lnTo>
                  <a:lnTo>
                    <a:pt x="198" y="876"/>
                  </a:lnTo>
                  <a:lnTo>
                    <a:pt x="198" y="870"/>
                  </a:lnTo>
                  <a:lnTo>
                    <a:pt x="198" y="852"/>
                  </a:lnTo>
                  <a:lnTo>
                    <a:pt x="198" y="846"/>
                  </a:lnTo>
                  <a:lnTo>
                    <a:pt x="204" y="846"/>
                  </a:lnTo>
                  <a:lnTo>
                    <a:pt x="198" y="840"/>
                  </a:lnTo>
                  <a:lnTo>
                    <a:pt x="198" y="834"/>
                  </a:lnTo>
                  <a:lnTo>
                    <a:pt x="198" y="828"/>
                  </a:lnTo>
                  <a:lnTo>
                    <a:pt x="198" y="822"/>
                  </a:lnTo>
                  <a:lnTo>
                    <a:pt x="198" y="816"/>
                  </a:lnTo>
                  <a:lnTo>
                    <a:pt x="198" y="810"/>
                  </a:lnTo>
                  <a:lnTo>
                    <a:pt x="192" y="810"/>
                  </a:lnTo>
                  <a:lnTo>
                    <a:pt x="192" y="804"/>
                  </a:lnTo>
                  <a:lnTo>
                    <a:pt x="192" y="798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2" y="774"/>
                  </a:lnTo>
                  <a:lnTo>
                    <a:pt x="192" y="768"/>
                  </a:lnTo>
                  <a:lnTo>
                    <a:pt x="198" y="768"/>
                  </a:lnTo>
                  <a:lnTo>
                    <a:pt x="198" y="762"/>
                  </a:lnTo>
                  <a:lnTo>
                    <a:pt x="198" y="756"/>
                  </a:lnTo>
                  <a:lnTo>
                    <a:pt x="204" y="756"/>
                  </a:lnTo>
                  <a:lnTo>
                    <a:pt x="204" y="750"/>
                  </a:lnTo>
                  <a:lnTo>
                    <a:pt x="210" y="744"/>
                  </a:lnTo>
                  <a:lnTo>
                    <a:pt x="210" y="738"/>
                  </a:lnTo>
                  <a:lnTo>
                    <a:pt x="210" y="732"/>
                  </a:lnTo>
                  <a:lnTo>
                    <a:pt x="210" y="726"/>
                  </a:lnTo>
                  <a:lnTo>
                    <a:pt x="210" y="720"/>
                  </a:lnTo>
                  <a:lnTo>
                    <a:pt x="204" y="714"/>
                  </a:lnTo>
                  <a:lnTo>
                    <a:pt x="204" y="720"/>
                  </a:lnTo>
                  <a:lnTo>
                    <a:pt x="204" y="732"/>
                  </a:lnTo>
                  <a:lnTo>
                    <a:pt x="204" y="738"/>
                  </a:lnTo>
                  <a:lnTo>
                    <a:pt x="198" y="738"/>
                  </a:lnTo>
                  <a:lnTo>
                    <a:pt x="198" y="744"/>
                  </a:lnTo>
                  <a:lnTo>
                    <a:pt x="198" y="750"/>
                  </a:lnTo>
                  <a:lnTo>
                    <a:pt x="192" y="756"/>
                  </a:lnTo>
                  <a:lnTo>
                    <a:pt x="186" y="762"/>
                  </a:lnTo>
                  <a:lnTo>
                    <a:pt x="186" y="768"/>
                  </a:lnTo>
                  <a:lnTo>
                    <a:pt x="186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98"/>
                  </a:lnTo>
                  <a:lnTo>
                    <a:pt x="186" y="804"/>
                  </a:lnTo>
                  <a:lnTo>
                    <a:pt x="186" y="810"/>
                  </a:lnTo>
                  <a:lnTo>
                    <a:pt x="192" y="816"/>
                  </a:lnTo>
                  <a:lnTo>
                    <a:pt x="192" y="828"/>
                  </a:lnTo>
                  <a:lnTo>
                    <a:pt x="192" y="834"/>
                  </a:lnTo>
                  <a:lnTo>
                    <a:pt x="186" y="834"/>
                  </a:lnTo>
                  <a:lnTo>
                    <a:pt x="186" y="828"/>
                  </a:lnTo>
                  <a:lnTo>
                    <a:pt x="180" y="822"/>
                  </a:lnTo>
                  <a:lnTo>
                    <a:pt x="180" y="816"/>
                  </a:lnTo>
                  <a:lnTo>
                    <a:pt x="180" y="810"/>
                  </a:lnTo>
                  <a:lnTo>
                    <a:pt x="174" y="810"/>
                  </a:lnTo>
                  <a:lnTo>
                    <a:pt x="174" y="804"/>
                  </a:lnTo>
                  <a:lnTo>
                    <a:pt x="174" y="798"/>
                  </a:lnTo>
                  <a:lnTo>
                    <a:pt x="174" y="792"/>
                  </a:lnTo>
                  <a:lnTo>
                    <a:pt x="168" y="786"/>
                  </a:lnTo>
                  <a:lnTo>
                    <a:pt x="168" y="780"/>
                  </a:lnTo>
                  <a:lnTo>
                    <a:pt x="162" y="780"/>
                  </a:lnTo>
                  <a:lnTo>
                    <a:pt x="168" y="774"/>
                  </a:lnTo>
                  <a:lnTo>
                    <a:pt x="168" y="768"/>
                  </a:lnTo>
                  <a:lnTo>
                    <a:pt x="174" y="768"/>
                  </a:lnTo>
                  <a:lnTo>
                    <a:pt x="168" y="768"/>
                  </a:lnTo>
                  <a:lnTo>
                    <a:pt x="162" y="774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50" y="774"/>
                  </a:lnTo>
                  <a:lnTo>
                    <a:pt x="144" y="774"/>
                  </a:lnTo>
                  <a:lnTo>
                    <a:pt x="144" y="768"/>
                  </a:lnTo>
                  <a:lnTo>
                    <a:pt x="144" y="762"/>
                  </a:lnTo>
                  <a:lnTo>
                    <a:pt x="138" y="756"/>
                  </a:lnTo>
                  <a:lnTo>
                    <a:pt x="132" y="756"/>
                  </a:lnTo>
                  <a:lnTo>
                    <a:pt x="138" y="756"/>
                  </a:lnTo>
                  <a:lnTo>
                    <a:pt x="138" y="762"/>
                  </a:lnTo>
                  <a:lnTo>
                    <a:pt x="138" y="768"/>
                  </a:lnTo>
                  <a:lnTo>
                    <a:pt x="144" y="768"/>
                  </a:lnTo>
                  <a:lnTo>
                    <a:pt x="144" y="774"/>
                  </a:lnTo>
                  <a:lnTo>
                    <a:pt x="150" y="780"/>
                  </a:lnTo>
                  <a:lnTo>
                    <a:pt x="156" y="780"/>
                  </a:lnTo>
                  <a:lnTo>
                    <a:pt x="156" y="786"/>
                  </a:lnTo>
                  <a:lnTo>
                    <a:pt x="162" y="786"/>
                  </a:lnTo>
                  <a:lnTo>
                    <a:pt x="168" y="792"/>
                  </a:lnTo>
                  <a:lnTo>
                    <a:pt x="168" y="798"/>
                  </a:lnTo>
                  <a:lnTo>
                    <a:pt x="168" y="804"/>
                  </a:lnTo>
                  <a:lnTo>
                    <a:pt x="174" y="810"/>
                  </a:lnTo>
                  <a:lnTo>
                    <a:pt x="174" y="816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68" y="828"/>
                  </a:lnTo>
                  <a:lnTo>
                    <a:pt x="168" y="834"/>
                  </a:lnTo>
                  <a:lnTo>
                    <a:pt x="174" y="840"/>
                  </a:lnTo>
                  <a:lnTo>
                    <a:pt x="180" y="840"/>
                  </a:lnTo>
                  <a:lnTo>
                    <a:pt x="180" y="846"/>
                  </a:lnTo>
                  <a:lnTo>
                    <a:pt x="186" y="846"/>
                  </a:lnTo>
                  <a:lnTo>
                    <a:pt x="186" y="852"/>
                  </a:lnTo>
                  <a:lnTo>
                    <a:pt x="186" y="858"/>
                  </a:lnTo>
                  <a:lnTo>
                    <a:pt x="186" y="864"/>
                  </a:lnTo>
                  <a:lnTo>
                    <a:pt x="192" y="864"/>
                  </a:lnTo>
                  <a:lnTo>
                    <a:pt x="192" y="870"/>
                  </a:lnTo>
                  <a:lnTo>
                    <a:pt x="192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6" y="888"/>
                  </a:lnTo>
                  <a:lnTo>
                    <a:pt x="180" y="888"/>
                  </a:lnTo>
                  <a:lnTo>
                    <a:pt x="174" y="888"/>
                  </a:lnTo>
                  <a:lnTo>
                    <a:pt x="168" y="894"/>
                  </a:lnTo>
                  <a:lnTo>
                    <a:pt x="162" y="894"/>
                  </a:lnTo>
                  <a:lnTo>
                    <a:pt x="156" y="894"/>
                  </a:lnTo>
                  <a:lnTo>
                    <a:pt x="150" y="894"/>
                  </a:lnTo>
                  <a:lnTo>
                    <a:pt x="144" y="894"/>
                  </a:lnTo>
                  <a:lnTo>
                    <a:pt x="144" y="900"/>
                  </a:lnTo>
                  <a:lnTo>
                    <a:pt x="138" y="894"/>
                  </a:lnTo>
                  <a:lnTo>
                    <a:pt x="138" y="900"/>
                  </a:lnTo>
                  <a:lnTo>
                    <a:pt x="132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6" y="882"/>
                  </a:lnTo>
                  <a:lnTo>
                    <a:pt x="126" y="876"/>
                  </a:lnTo>
                  <a:lnTo>
                    <a:pt x="120" y="876"/>
                  </a:lnTo>
                  <a:lnTo>
                    <a:pt x="126" y="870"/>
                  </a:lnTo>
                  <a:lnTo>
                    <a:pt x="126" y="864"/>
                  </a:lnTo>
                  <a:lnTo>
                    <a:pt x="126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26" y="828"/>
                  </a:lnTo>
                  <a:lnTo>
                    <a:pt x="126" y="822"/>
                  </a:lnTo>
                  <a:lnTo>
                    <a:pt x="126" y="816"/>
                  </a:lnTo>
                  <a:lnTo>
                    <a:pt x="126" y="810"/>
                  </a:lnTo>
                  <a:lnTo>
                    <a:pt x="126" y="804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20" y="792"/>
                  </a:lnTo>
                  <a:lnTo>
                    <a:pt x="114" y="792"/>
                  </a:lnTo>
                  <a:lnTo>
                    <a:pt x="114" y="786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96" y="780"/>
                  </a:lnTo>
                  <a:lnTo>
                    <a:pt x="96" y="774"/>
                  </a:lnTo>
                  <a:lnTo>
                    <a:pt x="90" y="774"/>
                  </a:lnTo>
                  <a:lnTo>
                    <a:pt x="90" y="768"/>
                  </a:lnTo>
                  <a:close/>
                  <a:moveTo>
                    <a:pt x="96" y="780"/>
                  </a:moveTo>
                  <a:lnTo>
                    <a:pt x="102" y="780"/>
                  </a:lnTo>
                  <a:lnTo>
                    <a:pt x="102" y="786"/>
                  </a:lnTo>
                  <a:lnTo>
                    <a:pt x="108" y="786"/>
                  </a:lnTo>
                  <a:lnTo>
                    <a:pt x="114" y="792"/>
                  </a:lnTo>
                  <a:lnTo>
                    <a:pt x="120" y="798"/>
                  </a:lnTo>
                  <a:lnTo>
                    <a:pt x="120" y="804"/>
                  </a:lnTo>
                  <a:lnTo>
                    <a:pt x="126" y="810"/>
                  </a:lnTo>
                  <a:lnTo>
                    <a:pt x="126" y="816"/>
                  </a:lnTo>
                  <a:lnTo>
                    <a:pt x="126" y="822"/>
                  </a:lnTo>
                  <a:lnTo>
                    <a:pt x="120" y="828"/>
                  </a:lnTo>
                  <a:lnTo>
                    <a:pt x="120" y="840"/>
                  </a:lnTo>
                  <a:lnTo>
                    <a:pt x="120" y="852"/>
                  </a:lnTo>
                  <a:lnTo>
                    <a:pt x="120" y="858"/>
                  </a:lnTo>
                  <a:lnTo>
                    <a:pt x="120" y="864"/>
                  </a:lnTo>
                  <a:lnTo>
                    <a:pt x="120" y="870"/>
                  </a:lnTo>
                  <a:lnTo>
                    <a:pt x="114" y="870"/>
                  </a:lnTo>
                  <a:lnTo>
                    <a:pt x="108" y="870"/>
                  </a:lnTo>
                  <a:lnTo>
                    <a:pt x="108" y="876"/>
                  </a:lnTo>
                  <a:lnTo>
                    <a:pt x="114" y="876"/>
                  </a:lnTo>
                  <a:lnTo>
                    <a:pt x="120" y="876"/>
                  </a:lnTo>
                  <a:lnTo>
                    <a:pt x="120" y="882"/>
                  </a:lnTo>
                  <a:lnTo>
                    <a:pt x="114" y="888"/>
                  </a:lnTo>
                  <a:lnTo>
                    <a:pt x="120" y="888"/>
                  </a:lnTo>
                  <a:lnTo>
                    <a:pt x="120" y="894"/>
                  </a:lnTo>
                  <a:lnTo>
                    <a:pt x="114" y="894"/>
                  </a:lnTo>
                  <a:lnTo>
                    <a:pt x="108" y="894"/>
                  </a:lnTo>
                  <a:lnTo>
                    <a:pt x="96" y="894"/>
                  </a:lnTo>
                  <a:lnTo>
                    <a:pt x="96" y="882"/>
                  </a:lnTo>
                  <a:lnTo>
                    <a:pt x="96" y="876"/>
                  </a:lnTo>
                  <a:lnTo>
                    <a:pt x="84" y="870"/>
                  </a:lnTo>
                  <a:lnTo>
                    <a:pt x="72" y="864"/>
                  </a:lnTo>
                  <a:lnTo>
                    <a:pt x="72" y="852"/>
                  </a:lnTo>
                  <a:lnTo>
                    <a:pt x="72" y="840"/>
                  </a:lnTo>
                  <a:lnTo>
                    <a:pt x="78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90" y="792"/>
                  </a:lnTo>
                  <a:lnTo>
                    <a:pt x="96" y="780"/>
                  </a:lnTo>
                  <a:close/>
                  <a:moveTo>
                    <a:pt x="492" y="810"/>
                  </a:moveTo>
                  <a:lnTo>
                    <a:pt x="498" y="810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510" y="792"/>
                  </a:lnTo>
                  <a:lnTo>
                    <a:pt x="516" y="786"/>
                  </a:lnTo>
                  <a:lnTo>
                    <a:pt x="522" y="780"/>
                  </a:lnTo>
                  <a:lnTo>
                    <a:pt x="522" y="774"/>
                  </a:lnTo>
                  <a:lnTo>
                    <a:pt x="528" y="768"/>
                  </a:lnTo>
                  <a:lnTo>
                    <a:pt x="528" y="762"/>
                  </a:lnTo>
                  <a:lnTo>
                    <a:pt x="534" y="762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46" y="780"/>
                  </a:lnTo>
                  <a:lnTo>
                    <a:pt x="552" y="786"/>
                  </a:lnTo>
                  <a:lnTo>
                    <a:pt x="558" y="786"/>
                  </a:lnTo>
                  <a:lnTo>
                    <a:pt x="564" y="786"/>
                  </a:lnTo>
                  <a:lnTo>
                    <a:pt x="576" y="786"/>
                  </a:lnTo>
                  <a:lnTo>
                    <a:pt x="582" y="786"/>
                  </a:lnTo>
                  <a:lnTo>
                    <a:pt x="588" y="786"/>
                  </a:lnTo>
                  <a:lnTo>
                    <a:pt x="594" y="786"/>
                  </a:lnTo>
                  <a:lnTo>
                    <a:pt x="588" y="792"/>
                  </a:lnTo>
                  <a:lnTo>
                    <a:pt x="588" y="798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82" y="822"/>
                  </a:lnTo>
                  <a:lnTo>
                    <a:pt x="588" y="828"/>
                  </a:lnTo>
                  <a:lnTo>
                    <a:pt x="588" y="834"/>
                  </a:lnTo>
                  <a:lnTo>
                    <a:pt x="582" y="840"/>
                  </a:lnTo>
                  <a:lnTo>
                    <a:pt x="570" y="840"/>
                  </a:lnTo>
                  <a:lnTo>
                    <a:pt x="558" y="846"/>
                  </a:lnTo>
                  <a:lnTo>
                    <a:pt x="552" y="846"/>
                  </a:lnTo>
                  <a:lnTo>
                    <a:pt x="534" y="852"/>
                  </a:lnTo>
                  <a:lnTo>
                    <a:pt x="522" y="858"/>
                  </a:lnTo>
                  <a:lnTo>
                    <a:pt x="510" y="858"/>
                  </a:lnTo>
                  <a:lnTo>
                    <a:pt x="498" y="864"/>
                  </a:lnTo>
                  <a:lnTo>
                    <a:pt x="474" y="864"/>
                  </a:lnTo>
                  <a:lnTo>
                    <a:pt x="468" y="858"/>
                  </a:lnTo>
                  <a:lnTo>
                    <a:pt x="468" y="852"/>
                  </a:lnTo>
                  <a:lnTo>
                    <a:pt x="468" y="846"/>
                  </a:lnTo>
                  <a:lnTo>
                    <a:pt x="474" y="840"/>
                  </a:lnTo>
                  <a:lnTo>
                    <a:pt x="474" y="834"/>
                  </a:lnTo>
                  <a:lnTo>
                    <a:pt x="480" y="828"/>
                  </a:lnTo>
                  <a:lnTo>
                    <a:pt x="492" y="822"/>
                  </a:lnTo>
                  <a:lnTo>
                    <a:pt x="492" y="810"/>
                  </a:lnTo>
                  <a:close/>
                  <a:moveTo>
                    <a:pt x="384" y="720"/>
                  </a:moveTo>
                  <a:lnTo>
                    <a:pt x="384" y="726"/>
                  </a:lnTo>
                  <a:lnTo>
                    <a:pt x="390" y="726"/>
                  </a:lnTo>
                  <a:lnTo>
                    <a:pt x="396" y="726"/>
                  </a:lnTo>
                  <a:lnTo>
                    <a:pt x="402" y="732"/>
                  </a:lnTo>
                  <a:lnTo>
                    <a:pt x="408" y="732"/>
                  </a:lnTo>
                  <a:lnTo>
                    <a:pt x="414" y="732"/>
                  </a:lnTo>
                  <a:lnTo>
                    <a:pt x="414" y="738"/>
                  </a:lnTo>
                  <a:lnTo>
                    <a:pt x="414" y="744"/>
                  </a:lnTo>
                  <a:lnTo>
                    <a:pt x="414" y="750"/>
                  </a:lnTo>
                  <a:lnTo>
                    <a:pt x="414" y="756"/>
                  </a:lnTo>
                  <a:lnTo>
                    <a:pt x="414" y="762"/>
                  </a:lnTo>
                  <a:lnTo>
                    <a:pt x="420" y="768"/>
                  </a:lnTo>
                  <a:lnTo>
                    <a:pt x="420" y="774"/>
                  </a:lnTo>
                  <a:lnTo>
                    <a:pt x="426" y="780"/>
                  </a:lnTo>
                  <a:lnTo>
                    <a:pt x="426" y="786"/>
                  </a:lnTo>
                  <a:lnTo>
                    <a:pt x="420" y="786"/>
                  </a:lnTo>
                  <a:lnTo>
                    <a:pt x="420" y="792"/>
                  </a:lnTo>
                  <a:lnTo>
                    <a:pt x="420" y="798"/>
                  </a:lnTo>
                  <a:lnTo>
                    <a:pt x="420" y="804"/>
                  </a:lnTo>
                  <a:lnTo>
                    <a:pt x="426" y="804"/>
                  </a:lnTo>
                  <a:lnTo>
                    <a:pt x="426" y="810"/>
                  </a:lnTo>
                  <a:lnTo>
                    <a:pt x="426" y="816"/>
                  </a:lnTo>
                  <a:lnTo>
                    <a:pt x="432" y="816"/>
                  </a:lnTo>
                  <a:lnTo>
                    <a:pt x="438" y="816"/>
                  </a:lnTo>
                  <a:lnTo>
                    <a:pt x="438" y="822"/>
                  </a:lnTo>
                  <a:lnTo>
                    <a:pt x="432" y="822"/>
                  </a:lnTo>
                  <a:lnTo>
                    <a:pt x="426" y="828"/>
                  </a:lnTo>
                  <a:lnTo>
                    <a:pt x="420" y="828"/>
                  </a:lnTo>
                  <a:lnTo>
                    <a:pt x="414" y="828"/>
                  </a:lnTo>
                  <a:lnTo>
                    <a:pt x="408" y="828"/>
                  </a:lnTo>
                  <a:lnTo>
                    <a:pt x="402" y="828"/>
                  </a:lnTo>
                  <a:lnTo>
                    <a:pt x="402" y="822"/>
                  </a:lnTo>
                  <a:lnTo>
                    <a:pt x="396" y="822"/>
                  </a:lnTo>
                  <a:lnTo>
                    <a:pt x="402" y="822"/>
                  </a:lnTo>
                  <a:lnTo>
                    <a:pt x="402" y="816"/>
                  </a:lnTo>
                  <a:lnTo>
                    <a:pt x="396" y="816"/>
                  </a:lnTo>
                  <a:lnTo>
                    <a:pt x="396" y="810"/>
                  </a:lnTo>
                  <a:lnTo>
                    <a:pt x="396" y="804"/>
                  </a:lnTo>
                  <a:lnTo>
                    <a:pt x="390" y="798"/>
                  </a:lnTo>
                  <a:lnTo>
                    <a:pt x="390" y="792"/>
                  </a:lnTo>
                  <a:lnTo>
                    <a:pt x="390" y="786"/>
                  </a:lnTo>
                  <a:lnTo>
                    <a:pt x="390" y="780"/>
                  </a:lnTo>
                  <a:lnTo>
                    <a:pt x="390" y="774"/>
                  </a:lnTo>
                  <a:lnTo>
                    <a:pt x="390" y="768"/>
                  </a:lnTo>
                  <a:lnTo>
                    <a:pt x="390" y="762"/>
                  </a:lnTo>
                  <a:lnTo>
                    <a:pt x="384" y="756"/>
                  </a:lnTo>
                  <a:lnTo>
                    <a:pt x="384" y="750"/>
                  </a:lnTo>
                  <a:lnTo>
                    <a:pt x="384" y="744"/>
                  </a:lnTo>
                  <a:lnTo>
                    <a:pt x="378" y="744"/>
                  </a:lnTo>
                  <a:lnTo>
                    <a:pt x="384" y="744"/>
                  </a:lnTo>
                  <a:lnTo>
                    <a:pt x="384" y="738"/>
                  </a:lnTo>
                  <a:lnTo>
                    <a:pt x="378" y="738"/>
                  </a:lnTo>
                  <a:lnTo>
                    <a:pt x="378" y="732"/>
                  </a:lnTo>
                  <a:lnTo>
                    <a:pt x="378" y="726"/>
                  </a:lnTo>
                  <a:lnTo>
                    <a:pt x="378" y="720"/>
                  </a:lnTo>
                  <a:lnTo>
                    <a:pt x="384" y="720"/>
                  </a:lnTo>
                  <a:close/>
                  <a:moveTo>
                    <a:pt x="330" y="738"/>
                  </a:moveTo>
                  <a:lnTo>
                    <a:pt x="336" y="732"/>
                  </a:lnTo>
                  <a:lnTo>
                    <a:pt x="336" y="726"/>
                  </a:lnTo>
                  <a:lnTo>
                    <a:pt x="342" y="720"/>
                  </a:lnTo>
                  <a:lnTo>
                    <a:pt x="348" y="720"/>
                  </a:lnTo>
                  <a:lnTo>
                    <a:pt x="360" y="720"/>
                  </a:lnTo>
                  <a:lnTo>
                    <a:pt x="366" y="726"/>
                  </a:lnTo>
                  <a:lnTo>
                    <a:pt x="372" y="732"/>
                  </a:lnTo>
                  <a:lnTo>
                    <a:pt x="372" y="738"/>
                  </a:lnTo>
                  <a:lnTo>
                    <a:pt x="366" y="750"/>
                  </a:lnTo>
                  <a:lnTo>
                    <a:pt x="372" y="756"/>
                  </a:lnTo>
                  <a:lnTo>
                    <a:pt x="372" y="762"/>
                  </a:lnTo>
                  <a:lnTo>
                    <a:pt x="372" y="768"/>
                  </a:lnTo>
                  <a:lnTo>
                    <a:pt x="372" y="774"/>
                  </a:lnTo>
                  <a:lnTo>
                    <a:pt x="372" y="780"/>
                  </a:lnTo>
                  <a:lnTo>
                    <a:pt x="372" y="774"/>
                  </a:lnTo>
                  <a:lnTo>
                    <a:pt x="366" y="768"/>
                  </a:lnTo>
                  <a:lnTo>
                    <a:pt x="366" y="762"/>
                  </a:lnTo>
                  <a:lnTo>
                    <a:pt x="366" y="756"/>
                  </a:lnTo>
                  <a:lnTo>
                    <a:pt x="360" y="756"/>
                  </a:lnTo>
                  <a:lnTo>
                    <a:pt x="360" y="750"/>
                  </a:lnTo>
                  <a:lnTo>
                    <a:pt x="354" y="750"/>
                  </a:lnTo>
                  <a:lnTo>
                    <a:pt x="348" y="744"/>
                  </a:lnTo>
                  <a:lnTo>
                    <a:pt x="342" y="744"/>
                  </a:lnTo>
                  <a:lnTo>
                    <a:pt x="336" y="744"/>
                  </a:lnTo>
                  <a:lnTo>
                    <a:pt x="330" y="73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01" name="Freeform 6">
              <a:extLst>
                <a:ext uri="{FF2B5EF4-FFF2-40B4-BE49-F238E27FC236}">
                  <a16:creationId xmlns:a16="http://schemas.microsoft.com/office/drawing/2014/main" id="{0656C385-F30A-4AC8-AE9F-B1F66208B38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3123" y="4163918"/>
              <a:ext cx="266107" cy="248252"/>
            </a:xfrm>
            <a:custGeom>
              <a:avLst/>
              <a:gdLst>
                <a:gd name="T0" fmla="*/ 33 w 504"/>
                <a:gd name="T1" fmla="*/ 41 h 468"/>
                <a:gd name="T2" fmla="*/ 26 w 504"/>
                <a:gd name="T3" fmla="*/ 39 h 468"/>
                <a:gd name="T4" fmla="*/ 21 w 504"/>
                <a:gd name="T5" fmla="*/ 38 h 468"/>
                <a:gd name="T6" fmla="*/ 18 w 504"/>
                <a:gd name="T7" fmla="*/ 38 h 468"/>
                <a:gd name="T8" fmla="*/ 15 w 504"/>
                <a:gd name="T9" fmla="*/ 39 h 468"/>
                <a:gd name="T10" fmla="*/ 12 w 504"/>
                <a:gd name="T11" fmla="*/ 38 h 468"/>
                <a:gd name="T12" fmla="*/ 9 w 504"/>
                <a:gd name="T13" fmla="*/ 37 h 468"/>
                <a:gd name="T14" fmla="*/ 7 w 504"/>
                <a:gd name="T15" fmla="*/ 32 h 468"/>
                <a:gd name="T16" fmla="*/ 6 w 504"/>
                <a:gd name="T17" fmla="*/ 26 h 468"/>
                <a:gd name="T18" fmla="*/ 3 w 504"/>
                <a:gd name="T19" fmla="*/ 24 h 468"/>
                <a:gd name="T20" fmla="*/ 1 w 504"/>
                <a:gd name="T21" fmla="*/ 24 h 468"/>
                <a:gd name="T22" fmla="*/ 2 w 504"/>
                <a:gd name="T23" fmla="*/ 18 h 468"/>
                <a:gd name="T24" fmla="*/ 1 w 504"/>
                <a:gd name="T25" fmla="*/ 17 h 468"/>
                <a:gd name="T26" fmla="*/ 0 w 504"/>
                <a:gd name="T27" fmla="*/ 17 h 468"/>
                <a:gd name="T28" fmla="*/ 0 w 504"/>
                <a:gd name="T29" fmla="*/ 15 h 468"/>
                <a:gd name="T30" fmla="*/ 2 w 504"/>
                <a:gd name="T31" fmla="*/ 12 h 468"/>
                <a:gd name="T32" fmla="*/ 4 w 504"/>
                <a:gd name="T33" fmla="*/ 10 h 468"/>
                <a:gd name="T34" fmla="*/ 6 w 504"/>
                <a:gd name="T35" fmla="*/ 8 h 468"/>
                <a:gd name="T36" fmla="*/ 8 w 504"/>
                <a:gd name="T37" fmla="*/ 8 h 468"/>
                <a:gd name="T38" fmla="*/ 10 w 504"/>
                <a:gd name="T39" fmla="*/ 9 h 468"/>
                <a:gd name="T40" fmla="*/ 12 w 504"/>
                <a:gd name="T41" fmla="*/ 10 h 468"/>
                <a:gd name="T42" fmla="*/ 12 w 504"/>
                <a:gd name="T43" fmla="*/ 11 h 468"/>
                <a:gd name="T44" fmla="*/ 14 w 504"/>
                <a:gd name="T45" fmla="*/ 8 h 468"/>
                <a:gd name="T46" fmla="*/ 15 w 504"/>
                <a:gd name="T47" fmla="*/ 7 h 468"/>
                <a:gd name="T48" fmla="*/ 17 w 504"/>
                <a:gd name="T49" fmla="*/ 6 h 468"/>
                <a:gd name="T50" fmla="*/ 19 w 504"/>
                <a:gd name="T51" fmla="*/ 3 h 468"/>
                <a:gd name="T52" fmla="*/ 20 w 504"/>
                <a:gd name="T53" fmla="*/ 2 h 468"/>
                <a:gd name="T54" fmla="*/ 22 w 504"/>
                <a:gd name="T55" fmla="*/ 1 h 468"/>
                <a:gd name="T56" fmla="*/ 27 w 504"/>
                <a:gd name="T57" fmla="*/ 1 h 468"/>
                <a:gd name="T58" fmla="*/ 30 w 504"/>
                <a:gd name="T59" fmla="*/ 2 h 468"/>
                <a:gd name="T60" fmla="*/ 31 w 504"/>
                <a:gd name="T61" fmla="*/ 2 h 468"/>
                <a:gd name="T62" fmla="*/ 34 w 504"/>
                <a:gd name="T63" fmla="*/ 0 h 468"/>
                <a:gd name="T64" fmla="*/ 37 w 504"/>
                <a:gd name="T65" fmla="*/ 1 h 468"/>
                <a:gd name="T66" fmla="*/ 41 w 504"/>
                <a:gd name="T67" fmla="*/ 2 h 468"/>
                <a:gd name="T68" fmla="*/ 42 w 504"/>
                <a:gd name="T69" fmla="*/ 4 h 468"/>
                <a:gd name="T70" fmla="*/ 42 w 504"/>
                <a:gd name="T71" fmla="*/ 10 h 468"/>
                <a:gd name="T72" fmla="*/ 41 w 504"/>
                <a:gd name="T73" fmla="*/ 14 h 468"/>
                <a:gd name="T74" fmla="*/ 42 w 504"/>
                <a:gd name="T75" fmla="*/ 15 h 468"/>
                <a:gd name="T76" fmla="*/ 44 w 504"/>
                <a:gd name="T77" fmla="*/ 18 h 468"/>
                <a:gd name="T78" fmla="*/ 43 w 504"/>
                <a:gd name="T79" fmla="*/ 19 h 468"/>
                <a:gd name="T80" fmla="*/ 42 w 504"/>
                <a:gd name="T81" fmla="*/ 21 h 468"/>
                <a:gd name="T82" fmla="*/ 42 w 504"/>
                <a:gd name="T83" fmla="*/ 23 h 468"/>
                <a:gd name="T84" fmla="*/ 39 w 504"/>
                <a:gd name="T85" fmla="*/ 27 h 468"/>
                <a:gd name="T86" fmla="*/ 38 w 504"/>
                <a:gd name="T87" fmla="*/ 29 h 468"/>
                <a:gd name="T88" fmla="*/ 38 w 504"/>
                <a:gd name="T89" fmla="*/ 31 h 468"/>
                <a:gd name="T90" fmla="*/ 36 w 504"/>
                <a:gd name="T91" fmla="*/ 32 h 468"/>
                <a:gd name="T92" fmla="*/ 35 w 504"/>
                <a:gd name="T93" fmla="*/ 34 h 468"/>
                <a:gd name="T94" fmla="*/ 34 w 504"/>
                <a:gd name="T95" fmla="*/ 38 h 46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04"/>
                <a:gd name="T145" fmla="*/ 0 h 468"/>
                <a:gd name="T146" fmla="*/ 504 w 504"/>
                <a:gd name="T147" fmla="*/ 468 h 46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04" h="468">
                  <a:moveTo>
                    <a:pt x="390" y="456"/>
                  </a:moveTo>
                  <a:lnTo>
                    <a:pt x="384" y="468"/>
                  </a:lnTo>
                  <a:lnTo>
                    <a:pt x="378" y="468"/>
                  </a:lnTo>
                  <a:lnTo>
                    <a:pt x="354" y="468"/>
                  </a:lnTo>
                  <a:lnTo>
                    <a:pt x="348" y="462"/>
                  </a:lnTo>
                  <a:lnTo>
                    <a:pt x="300" y="456"/>
                  </a:lnTo>
                  <a:lnTo>
                    <a:pt x="270" y="444"/>
                  </a:lnTo>
                  <a:lnTo>
                    <a:pt x="252" y="438"/>
                  </a:lnTo>
                  <a:lnTo>
                    <a:pt x="240" y="438"/>
                  </a:lnTo>
                  <a:lnTo>
                    <a:pt x="234" y="438"/>
                  </a:lnTo>
                  <a:lnTo>
                    <a:pt x="228" y="444"/>
                  </a:lnTo>
                  <a:lnTo>
                    <a:pt x="210" y="444"/>
                  </a:lnTo>
                  <a:lnTo>
                    <a:pt x="198" y="444"/>
                  </a:lnTo>
                  <a:lnTo>
                    <a:pt x="198" y="450"/>
                  </a:lnTo>
                  <a:lnTo>
                    <a:pt x="168" y="456"/>
                  </a:lnTo>
                  <a:lnTo>
                    <a:pt x="150" y="450"/>
                  </a:lnTo>
                  <a:lnTo>
                    <a:pt x="144" y="444"/>
                  </a:lnTo>
                  <a:lnTo>
                    <a:pt x="132" y="438"/>
                  </a:lnTo>
                  <a:lnTo>
                    <a:pt x="138" y="432"/>
                  </a:lnTo>
                  <a:lnTo>
                    <a:pt x="114" y="432"/>
                  </a:lnTo>
                  <a:lnTo>
                    <a:pt x="102" y="426"/>
                  </a:lnTo>
                  <a:lnTo>
                    <a:pt x="90" y="414"/>
                  </a:lnTo>
                  <a:lnTo>
                    <a:pt x="72" y="402"/>
                  </a:lnTo>
                  <a:lnTo>
                    <a:pt x="78" y="366"/>
                  </a:lnTo>
                  <a:lnTo>
                    <a:pt x="78" y="330"/>
                  </a:lnTo>
                  <a:lnTo>
                    <a:pt x="66" y="318"/>
                  </a:lnTo>
                  <a:lnTo>
                    <a:pt x="66" y="300"/>
                  </a:lnTo>
                  <a:lnTo>
                    <a:pt x="66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30" y="282"/>
                  </a:lnTo>
                  <a:lnTo>
                    <a:pt x="24" y="282"/>
                  </a:lnTo>
                  <a:lnTo>
                    <a:pt x="12" y="276"/>
                  </a:lnTo>
                  <a:lnTo>
                    <a:pt x="0" y="282"/>
                  </a:lnTo>
                  <a:lnTo>
                    <a:pt x="12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2" y="198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6" y="180"/>
                  </a:lnTo>
                  <a:lnTo>
                    <a:pt x="12" y="186"/>
                  </a:lnTo>
                  <a:lnTo>
                    <a:pt x="18" y="138"/>
                  </a:lnTo>
                  <a:lnTo>
                    <a:pt x="24" y="126"/>
                  </a:lnTo>
                  <a:lnTo>
                    <a:pt x="30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20" y="102"/>
                  </a:lnTo>
                  <a:lnTo>
                    <a:pt x="126" y="108"/>
                  </a:lnTo>
                  <a:lnTo>
                    <a:pt x="126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0"/>
                  </a:lnTo>
                  <a:lnTo>
                    <a:pt x="156" y="96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16" y="42"/>
                  </a:lnTo>
                  <a:lnTo>
                    <a:pt x="222" y="36"/>
                  </a:lnTo>
                  <a:lnTo>
                    <a:pt x="228" y="36"/>
                  </a:lnTo>
                  <a:lnTo>
                    <a:pt x="228" y="30"/>
                  </a:lnTo>
                  <a:lnTo>
                    <a:pt x="228" y="24"/>
                  </a:lnTo>
                  <a:lnTo>
                    <a:pt x="246" y="18"/>
                  </a:lnTo>
                  <a:lnTo>
                    <a:pt x="252" y="18"/>
                  </a:lnTo>
                  <a:lnTo>
                    <a:pt x="258" y="12"/>
                  </a:lnTo>
                  <a:lnTo>
                    <a:pt x="270" y="6"/>
                  </a:lnTo>
                  <a:lnTo>
                    <a:pt x="288" y="6"/>
                  </a:lnTo>
                  <a:lnTo>
                    <a:pt x="312" y="12"/>
                  </a:lnTo>
                  <a:lnTo>
                    <a:pt x="324" y="12"/>
                  </a:lnTo>
                  <a:lnTo>
                    <a:pt x="336" y="18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14" y="12"/>
                  </a:lnTo>
                  <a:lnTo>
                    <a:pt x="426" y="12"/>
                  </a:lnTo>
                  <a:lnTo>
                    <a:pt x="444" y="18"/>
                  </a:lnTo>
                  <a:lnTo>
                    <a:pt x="462" y="18"/>
                  </a:lnTo>
                  <a:lnTo>
                    <a:pt x="474" y="18"/>
                  </a:lnTo>
                  <a:lnTo>
                    <a:pt x="480" y="18"/>
                  </a:lnTo>
                  <a:lnTo>
                    <a:pt x="486" y="36"/>
                  </a:lnTo>
                  <a:lnTo>
                    <a:pt x="480" y="42"/>
                  </a:lnTo>
                  <a:lnTo>
                    <a:pt x="480" y="54"/>
                  </a:lnTo>
                  <a:lnTo>
                    <a:pt x="486" y="78"/>
                  </a:lnTo>
                  <a:lnTo>
                    <a:pt x="486" y="114"/>
                  </a:lnTo>
                  <a:lnTo>
                    <a:pt x="486" y="150"/>
                  </a:lnTo>
                  <a:lnTo>
                    <a:pt x="468" y="150"/>
                  </a:lnTo>
                  <a:lnTo>
                    <a:pt x="474" y="162"/>
                  </a:lnTo>
                  <a:lnTo>
                    <a:pt x="480" y="162"/>
                  </a:lnTo>
                  <a:lnTo>
                    <a:pt x="486" y="174"/>
                  </a:lnTo>
                  <a:lnTo>
                    <a:pt x="492" y="174"/>
                  </a:lnTo>
                  <a:lnTo>
                    <a:pt x="492" y="192"/>
                  </a:lnTo>
                  <a:lnTo>
                    <a:pt x="498" y="198"/>
                  </a:lnTo>
                  <a:lnTo>
                    <a:pt x="504" y="204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8" y="222"/>
                  </a:lnTo>
                  <a:lnTo>
                    <a:pt x="492" y="228"/>
                  </a:lnTo>
                  <a:lnTo>
                    <a:pt x="492" y="234"/>
                  </a:lnTo>
                  <a:lnTo>
                    <a:pt x="492" y="240"/>
                  </a:lnTo>
                  <a:lnTo>
                    <a:pt x="486" y="246"/>
                  </a:lnTo>
                  <a:lnTo>
                    <a:pt x="486" y="258"/>
                  </a:lnTo>
                  <a:lnTo>
                    <a:pt x="480" y="264"/>
                  </a:lnTo>
                  <a:lnTo>
                    <a:pt x="474" y="276"/>
                  </a:lnTo>
                  <a:lnTo>
                    <a:pt x="468" y="288"/>
                  </a:lnTo>
                  <a:lnTo>
                    <a:pt x="456" y="306"/>
                  </a:lnTo>
                  <a:lnTo>
                    <a:pt x="456" y="312"/>
                  </a:lnTo>
                  <a:lnTo>
                    <a:pt x="444" y="318"/>
                  </a:lnTo>
                  <a:lnTo>
                    <a:pt x="432" y="336"/>
                  </a:lnTo>
                  <a:lnTo>
                    <a:pt x="432" y="342"/>
                  </a:lnTo>
                  <a:lnTo>
                    <a:pt x="432" y="348"/>
                  </a:lnTo>
                  <a:lnTo>
                    <a:pt x="432" y="354"/>
                  </a:lnTo>
                  <a:lnTo>
                    <a:pt x="426" y="366"/>
                  </a:lnTo>
                  <a:lnTo>
                    <a:pt x="420" y="366"/>
                  </a:lnTo>
                  <a:lnTo>
                    <a:pt x="420" y="372"/>
                  </a:lnTo>
                  <a:lnTo>
                    <a:pt x="414" y="378"/>
                  </a:lnTo>
                  <a:lnTo>
                    <a:pt x="414" y="390"/>
                  </a:lnTo>
                  <a:lnTo>
                    <a:pt x="408" y="390"/>
                  </a:lnTo>
                  <a:lnTo>
                    <a:pt x="408" y="402"/>
                  </a:lnTo>
                  <a:lnTo>
                    <a:pt x="402" y="414"/>
                  </a:lnTo>
                  <a:lnTo>
                    <a:pt x="396" y="438"/>
                  </a:lnTo>
                  <a:lnTo>
                    <a:pt x="396" y="444"/>
                  </a:lnTo>
                  <a:lnTo>
                    <a:pt x="390" y="45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11" name="Freeform 7">
              <a:extLst>
                <a:ext uri="{FF2B5EF4-FFF2-40B4-BE49-F238E27FC236}">
                  <a16:creationId xmlns:a16="http://schemas.microsoft.com/office/drawing/2014/main" id="{0D8DE62D-4554-4314-9F3A-7208D89B4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90838" y="4128134"/>
              <a:ext cx="283995" cy="411516"/>
            </a:xfrm>
            <a:custGeom>
              <a:avLst/>
              <a:gdLst>
                <a:gd name="T0" fmla="*/ 39 w 534"/>
                <a:gd name="T1" fmla="*/ 35 h 774"/>
                <a:gd name="T2" fmla="*/ 35 w 534"/>
                <a:gd name="T3" fmla="*/ 31 h 774"/>
                <a:gd name="T4" fmla="*/ 32 w 534"/>
                <a:gd name="T5" fmla="*/ 29 h 774"/>
                <a:gd name="T6" fmla="*/ 32 w 534"/>
                <a:gd name="T7" fmla="*/ 31 h 774"/>
                <a:gd name="T8" fmla="*/ 29 w 534"/>
                <a:gd name="T9" fmla="*/ 33 h 774"/>
                <a:gd name="T10" fmla="*/ 27 w 534"/>
                <a:gd name="T11" fmla="*/ 36 h 774"/>
                <a:gd name="T12" fmla="*/ 30 w 534"/>
                <a:gd name="T13" fmla="*/ 38 h 774"/>
                <a:gd name="T14" fmla="*/ 29 w 534"/>
                <a:gd name="T15" fmla="*/ 40 h 774"/>
                <a:gd name="T16" fmla="*/ 25 w 534"/>
                <a:gd name="T17" fmla="*/ 40 h 774"/>
                <a:gd name="T18" fmla="*/ 23 w 534"/>
                <a:gd name="T19" fmla="*/ 42 h 774"/>
                <a:gd name="T20" fmla="*/ 22 w 534"/>
                <a:gd name="T21" fmla="*/ 47 h 774"/>
                <a:gd name="T22" fmla="*/ 22 w 534"/>
                <a:gd name="T23" fmla="*/ 51 h 774"/>
                <a:gd name="T24" fmla="*/ 22 w 534"/>
                <a:gd name="T25" fmla="*/ 54 h 774"/>
                <a:gd name="T26" fmla="*/ 21 w 534"/>
                <a:gd name="T27" fmla="*/ 56 h 774"/>
                <a:gd name="T28" fmla="*/ 19 w 534"/>
                <a:gd name="T29" fmla="*/ 58 h 774"/>
                <a:gd name="T30" fmla="*/ 20 w 534"/>
                <a:gd name="T31" fmla="*/ 59 h 774"/>
                <a:gd name="T32" fmla="*/ 19 w 534"/>
                <a:gd name="T33" fmla="*/ 62 h 774"/>
                <a:gd name="T34" fmla="*/ 19 w 534"/>
                <a:gd name="T35" fmla="*/ 64 h 774"/>
                <a:gd name="T36" fmla="*/ 20 w 534"/>
                <a:gd name="T37" fmla="*/ 66 h 774"/>
                <a:gd name="T38" fmla="*/ 17 w 534"/>
                <a:gd name="T39" fmla="*/ 66 h 774"/>
                <a:gd name="T40" fmla="*/ 16 w 534"/>
                <a:gd name="T41" fmla="*/ 65 h 774"/>
                <a:gd name="T42" fmla="*/ 13 w 534"/>
                <a:gd name="T43" fmla="*/ 65 h 774"/>
                <a:gd name="T44" fmla="*/ 11 w 534"/>
                <a:gd name="T45" fmla="*/ 65 h 774"/>
                <a:gd name="T46" fmla="*/ 8 w 534"/>
                <a:gd name="T47" fmla="*/ 65 h 774"/>
                <a:gd name="T48" fmla="*/ 8 w 534"/>
                <a:gd name="T49" fmla="*/ 64 h 774"/>
                <a:gd name="T50" fmla="*/ 5 w 534"/>
                <a:gd name="T51" fmla="*/ 65 h 774"/>
                <a:gd name="T52" fmla="*/ 3 w 534"/>
                <a:gd name="T53" fmla="*/ 65 h 774"/>
                <a:gd name="T54" fmla="*/ 0 w 534"/>
                <a:gd name="T55" fmla="*/ 64 h 774"/>
                <a:gd name="T56" fmla="*/ 0 w 534"/>
                <a:gd name="T57" fmla="*/ 62 h 774"/>
                <a:gd name="T58" fmla="*/ 3 w 534"/>
                <a:gd name="T59" fmla="*/ 60 h 774"/>
                <a:gd name="T60" fmla="*/ 6 w 534"/>
                <a:gd name="T61" fmla="*/ 57 h 774"/>
                <a:gd name="T62" fmla="*/ 8 w 534"/>
                <a:gd name="T63" fmla="*/ 50 h 774"/>
                <a:gd name="T64" fmla="*/ 6 w 534"/>
                <a:gd name="T65" fmla="*/ 45 h 774"/>
                <a:gd name="T66" fmla="*/ 8 w 534"/>
                <a:gd name="T67" fmla="*/ 41 h 774"/>
                <a:gd name="T68" fmla="*/ 9 w 534"/>
                <a:gd name="T69" fmla="*/ 38 h 774"/>
                <a:gd name="T70" fmla="*/ 10 w 534"/>
                <a:gd name="T71" fmla="*/ 36 h 774"/>
                <a:gd name="T72" fmla="*/ 12 w 534"/>
                <a:gd name="T73" fmla="*/ 33 h 774"/>
                <a:gd name="T74" fmla="*/ 14 w 534"/>
                <a:gd name="T75" fmla="*/ 29 h 774"/>
                <a:gd name="T76" fmla="*/ 16 w 534"/>
                <a:gd name="T77" fmla="*/ 26 h 774"/>
                <a:gd name="T78" fmla="*/ 16 w 534"/>
                <a:gd name="T79" fmla="*/ 24 h 774"/>
                <a:gd name="T80" fmla="*/ 16 w 534"/>
                <a:gd name="T81" fmla="*/ 21 h 774"/>
                <a:gd name="T82" fmla="*/ 13 w 534"/>
                <a:gd name="T83" fmla="*/ 19 h 774"/>
                <a:gd name="T84" fmla="*/ 14 w 534"/>
                <a:gd name="T85" fmla="*/ 10 h 774"/>
                <a:gd name="T86" fmla="*/ 14 w 534"/>
                <a:gd name="T87" fmla="*/ 7 h 774"/>
                <a:gd name="T88" fmla="*/ 8 w 534"/>
                <a:gd name="T89" fmla="*/ 7 h 774"/>
                <a:gd name="T90" fmla="*/ 7 w 534"/>
                <a:gd name="T91" fmla="*/ 3 h 774"/>
                <a:gd name="T92" fmla="*/ 11 w 534"/>
                <a:gd name="T93" fmla="*/ 1 h 774"/>
                <a:gd name="T94" fmla="*/ 12 w 534"/>
                <a:gd name="T95" fmla="*/ 0 h 774"/>
                <a:gd name="T96" fmla="*/ 16 w 534"/>
                <a:gd name="T97" fmla="*/ 2 h 774"/>
                <a:gd name="T98" fmla="*/ 20 w 534"/>
                <a:gd name="T99" fmla="*/ 2 h 774"/>
                <a:gd name="T100" fmla="*/ 23 w 534"/>
                <a:gd name="T101" fmla="*/ 3 h 774"/>
                <a:gd name="T102" fmla="*/ 23 w 534"/>
                <a:gd name="T103" fmla="*/ 10 h 774"/>
                <a:gd name="T104" fmla="*/ 29 w 534"/>
                <a:gd name="T105" fmla="*/ 12 h 774"/>
                <a:gd name="T106" fmla="*/ 35 w 534"/>
                <a:gd name="T107" fmla="*/ 12 h 774"/>
                <a:gd name="T108" fmla="*/ 38 w 534"/>
                <a:gd name="T109" fmla="*/ 17 h 774"/>
                <a:gd name="T110" fmla="*/ 40 w 534"/>
                <a:gd name="T111" fmla="*/ 19 h 774"/>
                <a:gd name="T112" fmla="*/ 44 w 534"/>
                <a:gd name="T113" fmla="*/ 23 h 774"/>
                <a:gd name="T114" fmla="*/ 44 w 534"/>
                <a:gd name="T115" fmla="*/ 30 h 774"/>
                <a:gd name="T116" fmla="*/ 46 w 534"/>
                <a:gd name="T117" fmla="*/ 36 h 774"/>
                <a:gd name="T118" fmla="*/ 41 w 534"/>
                <a:gd name="T119" fmla="*/ 37 h 77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34"/>
                <a:gd name="T181" fmla="*/ 0 h 774"/>
                <a:gd name="T182" fmla="*/ 534 w 534"/>
                <a:gd name="T183" fmla="*/ 774 h 77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34" h="774">
                  <a:moveTo>
                    <a:pt x="462" y="426"/>
                  </a:moveTo>
                  <a:lnTo>
                    <a:pt x="462" y="414"/>
                  </a:lnTo>
                  <a:lnTo>
                    <a:pt x="450" y="402"/>
                  </a:lnTo>
                  <a:lnTo>
                    <a:pt x="444" y="396"/>
                  </a:lnTo>
                  <a:lnTo>
                    <a:pt x="420" y="396"/>
                  </a:lnTo>
                  <a:lnTo>
                    <a:pt x="408" y="390"/>
                  </a:lnTo>
                  <a:lnTo>
                    <a:pt x="402" y="366"/>
                  </a:lnTo>
                  <a:lnTo>
                    <a:pt x="390" y="354"/>
                  </a:lnTo>
                  <a:lnTo>
                    <a:pt x="384" y="336"/>
                  </a:lnTo>
                  <a:lnTo>
                    <a:pt x="378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8" y="348"/>
                  </a:lnTo>
                  <a:lnTo>
                    <a:pt x="360" y="354"/>
                  </a:lnTo>
                  <a:lnTo>
                    <a:pt x="360" y="390"/>
                  </a:lnTo>
                  <a:lnTo>
                    <a:pt x="348" y="390"/>
                  </a:lnTo>
                  <a:lnTo>
                    <a:pt x="342" y="384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90"/>
                  </a:lnTo>
                  <a:lnTo>
                    <a:pt x="312" y="402"/>
                  </a:lnTo>
                  <a:lnTo>
                    <a:pt x="306" y="420"/>
                  </a:lnTo>
                  <a:lnTo>
                    <a:pt x="324" y="414"/>
                  </a:lnTo>
                  <a:lnTo>
                    <a:pt x="330" y="414"/>
                  </a:lnTo>
                  <a:lnTo>
                    <a:pt x="336" y="420"/>
                  </a:lnTo>
                  <a:lnTo>
                    <a:pt x="336" y="432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6"/>
                  </a:lnTo>
                  <a:lnTo>
                    <a:pt x="318" y="456"/>
                  </a:lnTo>
                  <a:lnTo>
                    <a:pt x="300" y="456"/>
                  </a:lnTo>
                  <a:lnTo>
                    <a:pt x="288" y="462"/>
                  </a:lnTo>
                  <a:lnTo>
                    <a:pt x="276" y="462"/>
                  </a:lnTo>
                  <a:lnTo>
                    <a:pt x="270" y="462"/>
                  </a:lnTo>
                  <a:lnTo>
                    <a:pt x="270" y="468"/>
                  </a:lnTo>
                  <a:lnTo>
                    <a:pt x="252" y="468"/>
                  </a:lnTo>
                  <a:lnTo>
                    <a:pt x="258" y="480"/>
                  </a:lnTo>
                  <a:lnTo>
                    <a:pt x="258" y="492"/>
                  </a:lnTo>
                  <a:lnTo>
                    <a:pt x="258" y="498"/>
                  </a:lnTo>
                  <a:lnTo>
                    <a:pt x="258" y="510"/>
                  </a:lnTo>
                  <a:lnTo>
                    <a:pt x="252" y="540"/>
                  </a:lnTo>
                  <a:lnTo>
                    <a:pt x="246" y="564"/>
                  </a:lnTo>
                  <a:lnTo>
                    <a:pt x="246" y="570"/>
                  </a:lnTo>
                  <a:lnTo>
                    <a:pt x="252" y="576"/>
                  </a:lnTo>
                  <a:lnTo>
                    <a:pt x="246" y="582"/>
                  </a:lnTo>
                  <a:lnTo>
                    <a:pt x="252" y="600"/>
                  </a:lnTo>
                  <a:lnTo>
                    <a:pt x="258" y="606"/>
                  </a:lnTo>
                  <a:lnTo>
                    <a:pt x="258" y="612"/>
                  </a:lnTo>
                  <a:lnTo>
                    <a:pt x="252" y="618"/>
                  </a:lnTo>
                  <a:lnTo>
                    <a:pt x="246" y="624"/>
                  </a:lnTo>
                  <a:lnTo>
                    <a:pt x="246" y="630"/>
                  </a:lnTo>
                  <a:lnTo>
                    <a:pt x="246" y="636"/>
                  </a:lnTo>
                  <a:lnTo>
                    <a:pt x="240" y="642"/>
                  </a:lnTo>
                  <a:lnTo>
                    <a:pt x="234" y="654"/>
                  </a:lnTo>
                  <a:lnTo>
                    <a:pt x="228" y="654"/>
                  </a:lnTo>
                  <a:lnTo>
                    <a:pt x="222" y="660"/>
                  </a:lnTo>
                  <a:lnTo>
                    <a:pt x="216" y="666"/>
                  </a:lnTo>
                  <a:lnTo>
                    <a:pt x="210" y="666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22" y="684"/>
                  </a:lnTo>
                  <a:lnTo>
                    <a:pt x="222" y="690"/>
                  </a:lnTo>
                  <a:lnTo>
                    <a:pt x="222" y="696"/>
                  </a:lnTo>
                  <a:lnTo>
                    <a:pt x="222" y="702"/>
                  </a:lnTo>
                  <a:lnTo>
                    <a:pt x="216" y="708"/>
                  </a:lnTo>
                  <a:lnTo>
                    <a:pt x="210" y="720"/>
                  </a:lnTo>
                  <a:lnTo>
                    <a:pt x="216" y="732"/>
                  </a:lnTo>
                  <a:lnTo>
                    <a:pt x="210" y="732"/>
                  </a:lnTo>
                  <a:lnTo>
                    <a:pt x="216" y="738"/>
                  </a:lnTo>
                  <a:lnTo>
                    <a:pt x="216" y="744"/>
                  </a:lnTo>
                  <a:lnTo>
                    <a:pt x="222" y="750"/>
                  </a:lnTo>
                  <a:lnTo>
                    <a:pt x="228" y="756"/>
                  </a:lnTo>
                  <a:lnTo>
                    <a:pt x="222" y="762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04" y="762"/>
                  </a:lnTo>
                  <a:lnTo>
                    <a:pt x="198" y="762"/>
                  </a:lnTo>
                  <a:lnTo>
                    <a:pt x="192" y="762"/>
                  </a:lnTo>
                  <a:lnTo>
                    <a:pt x="186" y="756"/>
                  </a:lnTo>
                  <a:lnTo>
                    <a:pt x="180" y="750"/>
                  </a:lnTo>
                  <a:lnTo>
                    <a:pt x="180" y="744"/>
                  </a:lnTo>
                  <a:lnTo>
                    <a:pt x="174" y="744"/>
                  </a:lnTo>
                  <a:lnTo>
                    <a:pt x="156" y="750"/>
                  </a:lnTo>
                  <a:lnTo>
                    <a:pt x="150" y="750"/>
                  </a:lnTo>
                  <a:lnTo>
                    <a:pt x="144" y="750"/>
                  </a:lnTo>
                  <a:lnTo>
                    <a:pt x="138" y="750"/>
                  </a:lnTo>
                  <a:lnTo>
                    <a:pt x="138" y="744"/>
                  </a:lnTo>
                  <a:lnTo>
                    <a:pt x="132" y="744"/>
                  </a:lnTo>
                  <a:lnTo>
                    <a:pt x="120" y="744"/>
                  </a:lnTo>
                  <a:lnTo>
                    <a:pt x="114" y="738"/>
                  </a:lnTo>
                  <a:lnTo>
                    <a:pt x="108" y="744"/>
                  </a:lnTo>
                  <a:lnTo>
                    <a:pt x="102" y="744"/>
                  </a:lnTo>
                  <a:lnTo>
                    <a:pt x="96" y="744"/>
                  </a:lnTo>
                  <a:lnTo>
                    <a:pt x="96" y="738"/>
                  </a:lnTo>
                  <a:lnTo>
                    <a:pt x="96" y="744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44"/>
                  </a:lnTo>
                  <a:lnTo>
                    <a:pt x="72" y="750"/>
                  </a:lnTo>
                  <a:lnTo>
                    <a:pt x="66" y="750"/>
                  </a:lnTo>
                  <a:lnTo>
                    <a:pt x="60" y="750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0"/>
                  </a:lnTo>
                  <a:lnTo>
                    <a:pt x="30" y="750"/>
                  </a:lnTo>
                  <a:lnTo>
                    <a:pt x="24" y="744"/>
                  </a:lnTo>
                  <a:lnTo>
                    <a:pt x="18" y="738"/>
                  </a:lnTo>
                  <a:lnTo>
                    <a:pt x="6" y="738"/>
                  </a:lnTo>
                  <a:lnTo>
                    <a:pt x="0" y="732"/>
                  </a:lnTo>
                  <a:lnTo>
                    <a:pt x="0" y="726"/>
                  </a:lnTo>
                  <a:lnTo>
                    <a:pt x="0" y="720"/>
                  </a:lnTo>
                  <a:lnTo>
                    <a:pt x="6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8" y="702"/>
                  </a:lnTo>
                  <a:lnTo>
                    <a:pt x="24" y="696"/>
                  </a:lnTo>
                  <a:lnTo>
                    <a:pt x="30" y="696"/>
                  </a:lnTo>
                  <a:lnTo>
                    <a:pt x="48" y="690"/>
                  </a:lnTo>
                  <a:lnTo>
                    <a:pt x="54" y="678"/>
                  </a:lnTo>
                  <a:lnTo>
                    <a:pt x="66" y="672"/>
                  </a:lnTo>
                  <a:lnTo>
                    <a:pt x="66" y="654"/>
                  </a:lnTo>
                  <a:lnTo>
                    <a:pt x="72" y="636"/>
                  </a:lnTo>
                  <a:lnTo>
                    <a:pt x="72" y="612"/>
                  </a:lnTo>
                  <a:lnTo>
                    <a:pt x="84" y="594"/>
                  </a:lnTo>
                  <a:lnTo>
                    <a:pt x="90" y="576"/>
                  </a:lnTo>
                  <a:lnTo>
                    <a:pt x="96" y="552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72" y="522"/>
                  </a:lnTo>
                  <a:lnTo>
                    <a:pt x="78" y="510"/>
                  </a:lnTo>
                  <a:lnTo>
                    <a:pt x="78" y="504"/>
                  </a:lnTo>
                  <a:lnTo>
                    <a:pt x="84" y="480"/>
                  </a:lnTo>
                  <a:lnTo>
                    <a:pt x="90" y="468"/>
                  </a:lnTo>
                  <a:lnTo>
                    <a:pt x="90" y="456"/>
                  </a:lnTo>
                  <a:lnTo>
                    <a:pt x="96" y="456"/>
                  </a:lnTo>
                  <a:lnTo>
                    <a:pt x="96" y="444"/>
                  </a:lnTo>
                  <a:lnTo>
                    <a:pt x="102" y="438"/>
                  </a:lnTo>
                  <a:lnTo>
                    <a:pt x="102" y="432"/>
                  </a:lnTo>
                  <a:lnTo>
                    <a:pt x="108" y="432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14" y="408"/>
                  </a:lnTo>
                  <a:lnTo>
                    <a:pt x="114" y="402"/>
                  </a:lnTo>
                  <a:lnTo>
                    <a:pt x="126" y="384"/>
                  </a:lnTo>
                  <a:lnTo>
                    <a:pt x="138" y="378"/>
                  </a:lnTo>
                  <a:lnTo>
                    <a:pt x="138" y="372"/>
                  </a:lnTo>
                  <a:lnTo>
                    <a:pt x="150" y="354"/>
                  </a:lnTo>
                  <a:lnTo>
                    <a:pt x="156" y="342"/>
                  </a:lnTo>
                  <a:lnTo>
                    <a:pt x="162" y="330"/>
                  </a:lnTo>
                  <a:lnTo>
                    <a:pt x="168" y="324"/>
                  </a:lnTo>
                  <a:lnTo>
                    <a:pt x="168" y="312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74" y="294"/>
                  </a:lnTo>
                  <a:lnTo>
                    <a:pt x="180" y="288"/>
                  </a:lnTo>
                  <a:lnTo>
                    <a:pt x="180" y="276"/>
                  </a:lnTo>
                  <a:lnTo>
                    <a:pt x="186" y="276"/>
                  </a:lnTo>
                  <a:lnTo>
                    <a:pt x="186" y="270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40"/>
                  </a:lnTo>
                  <a:lnTo>
                    <a:pt x="168" y="240"/>
                  </a:lnTo>
                  <a:lnTo>
                    <a:pt x="162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68" y="216"/>
                  </a:lnTo>
                  <a:lnTo>
                    <a:pt x="168" y="180"/>
                  </a:lnTo>
                  <a:lnTo>
                    <a:pt x="168" y="144"/>
                  </a:lnTo>
                  <a:lnTo>
                    <a:pt x="162" y="120"/>
                  </a:lnTo>
                  <a:lnTo>
                    <a:pt x="162" y="108"/>
                  </a:lnTo>
                  <a:lnTo>
                    <a:pt x="168" y="102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44" y="84"/>
                  </a:lnTo>
                  <a:lnTo>
                    <a:pt x="126" y="84"/>
                  </a:lnTo>
                  <a:lnTo>
                    <a:pt x="108" y="78"/>
                  </a:lnTo>
                  <a:lnTo>
                    <a:pt x="96" y="78"/>
                  </a:lnTo>
                  <a:lnTo>
                    <a:pt x="78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8" y="36"/>
                  </a:lnTo>
                  <a:lnTo>
                    <a:pt x="96" y="24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56" y="0"/>
                  </a:lnTo>
                  <a:lnTo>
                    <a:pt x="156" y="6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18"/>
                  </a:lnTo>
                  <a:lnTo>
                    <a:pt x="198" y="18"/>
                  </a:lnTo>
                  <a:lnTo>
                    <a:pt x="210" y="18"/>
                  </a:lnTo>
                  <a:lnTo>
                    <a:pt x="222" y="18"/>
                  </a:lnTo>
                  <a:lnTo>
                    <a:pt x="234" y="12"/>
                  </a:lnTo>
                  <a:lnTo>
                    <a:pt x="252" y="18"/>
                  </a:lnTo>
                  <a:lnTo>
                    <a:pt x="252" y="24"/>
                  </a:lnTo>
                  <a:lnTo>
                    <a:pt x="258" y="36"/>
                  </a:lnTo>
                  <a:lnTo>
                    <a:pt x="258" y="66"/>
                  </a:lnTo>
                  <a:lnTo>
                    <a:pt x="252" y="84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82" y="126"/>
                  </a:lnTo>
                  <a:lnTo>
                    <a:pt x="294" y="132"/>
                  </a:lnTo>
                  <a:lnTo>
                    <a:pt x="306" y="138"/>
                  </a:lnTo>
                  <a:lnTo>
                    <a:pt x="324" y="138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60" y="144"/>
                  </a:lnTo>
                  <a:lnTo>
                    <a:pt x="396" y="144"/>
                  </a:lnTo>
                  <a:lnTo>
                    <a:pt x="408" y="150"/>
                  </a:lnTo>
                  <a:lnTo>
                    <a:pt x="414" y="180"/>
                  </a:lnTo>
                  <a:lnTo>
                    <a:pt x="420" y="186"/>
                  </a:lnTo>
                  <a:lnTo>
                    <a:pt x="426" y="192"/>
                  </a:lnTo>
                  <a:lnTo>
                    <a:pt x="426" y="198"/>
                  </a:lnTo>
                  <a:lnTo>
                    <a:pt x="432" y="198"/>
                  </a:lnTo>
                  <a:lnTo>
                    <a:pt x="438" y="210"/>
                  </a:lnTo>
                  <a:lnTo>
                    <a:pt x="450" y="216"/>
                  </a:lnTo>
                  <a:lnTo>
                    <a:pt x="468" y="228"/>
                  </a:lnTo>
                  <a:lnTo>
                    <a:pt x="492" y="234"/>
                  </a:lnTo>
                  <a:lnTo>
                    <a:pt x="492" y="246"/>
                  </a:lnTo>
                  <a:lnTo>
                    <a:pt x="492" y="270"/>
                  </a:lnTo>
                  <a:lnTo>
                    <a:pt x="486" y="294"/>
                  </a:lnTo>
                  <a:lnTo>
                    <a:pt x="486" y="312"/>
                  </a:lnTo>
                  <a:lnTo>
                    <a:pt x="486" y="330"/>
                  </a:lnTo>
                  <a:lnTo>
                    <a:pt x="492" y="348"/>
                  </a:lnTo>
                  <a:lnTo>
                    <a:pt x="498" y="360"/>
                  </a:lnTo>
                  <a:lnTo>
                    <a:pt x="510" y="366"/>
                  </a:lnTo>
                  <a:lnTo>
                    <a:pt x="516" y="384"/>
                  </a:lnTo>
                  <a:lnTo>
                    <a:pt x="522" y="414"/>
                  </a:lnTo>
                  <a:lnTo>
                    <a:pt x="528" y="414"/>
                  </a:lnTo>
                  <a:lnTo>
                    <a:pt x="534" y="426"/>
                  </a:lnTo>
                  <a:lnTo>
                    <a:pt x="528" y="432"/>
                  </a:lnTo>
                  <a:lnTo>
                    <a:pt x="468" y="426"/>
                  </a:lnTo>
                  <a:lnTo>
                    <a:pt x="462" y="4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3" name="Freeform 8">
              <a:extLst>
                <a:ext uri="{FF2B5EF4-FFF2-40B4-BE49-F238E27FC236}">
                  <a16:creationId xmlns:a16="http://schemas.microsoft.com/office/drawing/2014/main" id="{D473457C-872E-4E31-888A-D60FD52063A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98175" y="4307054"/>
              <a:ext cx="295177" cy="348894"/>
            </a:xfrm>
            <a:custGeom>
              <a:avLst/>
              <a:gdLst>
                <a:gd name="T0" fmla="*/ 3 w 552"/>
                <a:gd name="T1" fmla="*/ 46 h 660"/>
                <a:gd name="T2" fmla="*/ 4 w 552"/>
                <a:gd name="T3" fmla="*/ 42 h 660"/>
                <a:gd name="T4" fmla="*/ 2 w 552"/>
                <a:gd name="T5" fmla="*/ 38 h 660"/>
                <a:gd name="T6" fmla="*/ 0 w 552"/>
                <a:gd name="T7" fmla="*/ 34 h 660"/>
                <a:gd name="T8" fmla="*/ 2 w 552"/>
                <a:gd name="T9" fmla="*/ 30 h 660"/>
                <a:gd name="T10" fmla="*/ 3 w 552"/>
                <a:gd name="T11" fmla="*/ 27 h 660"/>
                <a:gd name="T12" fmla="*/ 5 w 552"/>
                <a:gd name="T13" fmla="*/ 23 h 660"/>
                <a:gd name="T14" fmla="*/ 5 w 552"/>
                <a:gd name="T15" fmla="*/ 15 h 660"/>
                <a:gd name="T16" fmla="*/ 6 w 552"/>
                <a:gd name="T17" fmla="*/ 11 h 660"/>
                <a:gd name="T18" fmla="*/ 11 w 552"/>
                <a:gd name="T19" fmla="*/ 9 h 660"/>
                <a:gd name="T20" fmla="*/ 10 w 552"/>
                <a:gd name="T21" fmla="*/ 5 h 660"/>
                <a:gd name="T22" fmla="*/ 12 w 552"/>
                <a:gd name="T23" fmla="*/ 1 h 660"/>
                <a:gd name="T24" fmla="*/ 16 w 552"/>
                <a:gd name="T25" fmla="*/ 2 h 660"/>
                <a:gd name="T26" fmla="*/ 23 w 552"/>
                <a:gd name="T27" fmla="*/ 8 h 660"/>
                <a:gd name="T28" fmla="*/ 23 w 552"/>
                <a:gd name="T29" fmla="*/ 11 h 660"/>
                <a:gd name="T30" fmla="*/ 27 w 552"/>
                <a:gd name="T31" fmla="*/ 12 h 660"/>
                <a:gd name="T32" fmla="*/ 29 w 552"/>
                <a:gd name="T33" fmla="*/ 17 h 660"/>
                <a:gd name="T34" fmla="*/ 31 w 552"/>
                <a:gd name="T35" fmla="*/ 15 h 660"/>
                <a:gd name="T36" fmla="*/ 33 w 552"/>
                <a:gd name="T37" fmla="*/ 17 h 660"/>
                <a:gd name="T38" fmla="*/ 36 w 552"/>
                <a:gd name="T39" fmla="*/ 23 h 660"/>
                <a:gd name="T40" fmla="*/ 41 w 552"/>
                <a:gd name="T41" fmla="*/ 33 h 660"/>
                <a:gd name="T42" fmla="*/ 43 w 552"/>
                <a:gd name="T43" fmla="*/ 36 h 660"/>
                <a:gd name="T44" fmla="*/ 43 w 552"/>
                <a:gd name="T45" fmla="*/ 37 h 660"/>
                <a:gd name="T46" fmla="*/ 41 w 552"/>
                <a:gd name="T47" fmla="*/ 35 h 660"/>
                <a:gd name="T48" fmla="*/ 43 w 552"/>
                <a:gd name="T49" fmla="*/ 37 h 660"/>
                <a:gd name="T50" fmla="*/ 44 w 552"/>
                <a:gd name="T51" fmla="*/ 39 h 660"/>
                <a:gd name="T52" fmla="*/ 47 w 552"/>
                <a:gd name="T53" fmla="*/ 41 h 660"/>
                <a:gd name="T54" fmla="*/ 47 w 552"/>
                <a:gd name="T55" fmla="*/ 44 h 660"/>
                <a:gd name="T56" fmla="*/ 48 w 552"/>
                <a:gd name="T57" fmla="*/ 46 h 660"/>
                <a:gd name="T58" fmla="*/ 47 w 552"/>
                <a:gd name="T59" fmla="*/ 46 h 660"/>
                <a:gd name="T60" fmla="*/ 44 w 552"/>
                <a:gd name="T61" fmla="*/ 46 h 660"/>
                <a:gd name="T62" fmla="*/ 47 w 552"/>
                <a:gd name="T63" fmla="*/ 47 h 660"/>
                <a:gd name="T64" fmla="*/ 47 w 552"/>
                <a:gd name="T65" fmla="*/ 49 h 660"/>
                <a:gd name="T66" fmla="*/ 47 w 552"/>
                <a:gd name="T67" fmla="*/ 52 h 660"/>
                <a:gd name="T68" fmla="*/ 46 w 552"/>
                <a:gd name="T69" fmla="*/ 53 h 660"/>
                <a:gd name="T70" fmla="*/ 43 w 552"/>
                <a:gd name="T71" fmla="*/ 54 h 660"/>
                <a:gd name="T72" fmla="*/ 37 w 552"/>
                <a:gd name="T73" fmla="*/ 54 h 660"/>
                <a:gd name="T74" fmla="*/ 30 w 552"/>
                <a:gd name="T75" fmla="*/ 54 h 660"/>
                <a:gd name="T76" fmla="*/ 29 w 552"/>
                <a:gd name="T77" fmla="*/ 53 h 660"/>
                <a:gd name="T78" fmla="*/ 27 w 552"/>
                <a:gd name="T79" fmla="*/ 53 h 660"/>
                <a:gd name="T80" fmla="*/ 29 w 552"/>
                <a:gd name="T81" fmla="*/ 53 h 660"/>
                <a:gd name="T82" fmla="*/ 28 w 552"/>
                <a:gd name="T83" fmla="*/ 54 h 660"/>
                <a:gd name="T84" fmla="*/ 24 w 552"/>
                <a:gd name="T85" fmla="*/ 54 h 660"/>
                <a:gd name="T86" fmla="*/ 20 w 552"/>
                <a:gd name="T87" fmla="*/ 55 h 660"/>
                <a:gd name="T88" fmla="*/ 15 w 552"/>
                <a:gd name="T89" fmla="*/ 56 h 660"/>
                <a:gd name="T90" fmla="*/ 12 w 552"/>
                <a:gd name="T91" fmla="*/ 56 h 660"/>
                <a:gd name="T92" fmla="*/ 11 w 552"/>
                <a:gd name="T93" fmla="*/ 57 h 660"/>
                <a:gd name="T94" fmla="*/ 9 w 552"/>
                <a:gd name="T95" fmla="*/ 57 h 660"/>
                <a:gd name="T96" fmla="*/ 7 w 552"/>
                <a:gd name="T97" fmla="*/ 56 h 660"/>
                <a:gd name="T98" fmla="*/ 5 w 552"/>
                <a:gd name="T99" fmla="*/ 55 h 660"/>
                <a:gd name="T100" fmla="*/ 7 w 552"/>
                <a:gd name="T101" fmla="*/ 54 h 660"/>
                <a:gd name="T102" fmla="*/ 5 w 552"/>
                <a:gd name="T103" fmla="*/ 54 h 660"/>
                <a:gd name="T104" fmla="*/ 5 w 552"/>
                <a:gd name="T105" fmla="*/ 53 h 660"/>
                <a:gd name="T106" fmla="*/ 4 w 552"/>
                <a:gd name="T107" fmla="*/ 49 h 660"/>
                <a:gd name="T108" fmla="*/ 45 w 552"/>
                <a:gd name="T109" fmla="*/ 38 h 66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52"/>
                <a:gd name="T166" fmla="*/ 0 h 660"/>
                <a:gd name="T167" fmla="*/ 552 w 552"/>
                <a:gd name="T168" fmla="*/ 660 h 66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52" h="660">
                  <a:moveTo>
                    <a:pt x="36" y="564"/>
                  </a:moveTo>
                  <a:lnTo>
                    <a:pt x="36" y="558"/>
                  </a:lnTo>
                  <a:lnTo>
                    <a:pt x="36" y="552"/>
                  </a:lnTo>
                  <a:lnTo>
                    <a:pt x="42" y="546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34"/>
                  </a:lnTo>
                  <a:lnTo>
                    <a:pt x="36" y="528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54" y="510"/>
                  </a:lnTo>
                  <a:lnTo>
                    <a:pt x="54" y="504"/>
                  </a:lnTo>
                  <a:lnTo>
                    <a:pt x="54" y="498"/>
                  </a:lnTo>
                  <a:lnTo>
                    <a:pt x="48" y="492"/>
                  </a:lnTo>
                  <a:lnTo>
                    <a:pt x="42" y="486"/>
                  </a:lnTo>
                  <a:lnTo>
                    <a:pt x="42" y="480"/>
                  </a:lnTo>
                  <a:lnTo>
                    <a:pt x="42" y="468"/>
                  </a:lnTo>
                  <a:lnTo>
                    <a:pt x="30" y="456"/>
                  </a:lnTo>
                  <a:lnTo>
                    <a:pt x="30" y="450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2"/>
                  </a:lnTo>
                  <a:lnTo>
                    <a:pt x="18" y="426"/>
                  </a:lnTo>
                  <a:lnTo>
                    <a:pt x="24" y="420"/>
                  </a:lnTo>
                  <a:lnTo>
                    <a:pt x="18" y="414"/>
                  </a:lnTo>
                  <a:lnTo>
                    <a:pt x="12" y="408"/>
                  </a:lnTo>
                  <a:lnTo>
                    <a:pt x="12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6" y="384"/>
                  </a:lnTo>
                  <a:lnTo>
                    <a:pt x="12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8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36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54" y="270"/>
                  </a:lnTo>
                  <a:lnTo>
                    <a:pt x="48" y="264"/>
                  </a:lnTo>
                  <a:lnTo>
                    <a:pt x="42" y="246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8" y="204"/>
                  </a:lnTo>
                  <a:lnTo>
                    <a:pt x="54" y="174"/>
                  </a:lnTo>
                  <a:lnTo>
                    <a:pt x="54" y="162"/>
                  </a:lnTo>
                  <a:lnTo>
                    <a:pt x="54" y="156"/>
                  </a:lnTo>
                  <a:lnTo>
                    <a:pt x="54" y="144"/>
                  </a:lnTo>
                  <a:lnTo>
                    <a:pt x="48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72" y="126"/>
                  </a:lnTo>
                  <a:lnTo>
                    <a:pt x="84" y="126"/>
                  </a:lnTo>
                  <a:lnTo>
                    <a:pt x="96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2" y="84"/>
                  </a:lnTo>
                  <a:lnTo>
                    <a:pt x="126" y="78"/>
                  </a:lnTo>
                  <a:lnTo>
                    <a:pt x="120" y="78"/>
                  </a:lnTo>
                  <a:lnTo>
                    <a:pt x="102" y="84"/>
                  </a:lnTo>
                  <a:lnTo>
                    <a:pt x="108" y="66"/>
                  </a:lnTo>
                  <a:lnTo>
                    <a:pt x="114" y="54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8" y="4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6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74" y="0"/>
                  </a:lnTo>
                  <a:lnTo>
                    <a:pt x="180" y="0"/>
                  </a:lnTo>
                  <a:lnTo>
                    <a:pt x="186" y="18"/>
                  </a:lnTo>
                  <a:lnTo>
                    <a:pt x="198" y="30"/>
                  </a:lnTo>
                  <a:lnTo>
                    <a:pt x="204" y="54"/>
                  </a:lnTo>
                  <a:lnTo>
                    <a:pt x="216" y="60"/>
                  </a:lnTo>
                  <a:lnTo>
                    <a:pt x="240" y="60"/>
                  </a:lnTo>
                  <a:lnTo>
                    <a:pt x="246" y="66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2" y="120"/>
                  </a:lnTo>
                  <a:lnTo>
                    <a:pt x="25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6" y="126"/>
                  </a:lnTo>
                  <a:lnTo>
                    <a:pt x="282" y="120"/>
                  </a:lnTo>
                  <a:lnTo>
                    <a:pt x="282" y="126"/>
                  </a:lnTo>
                  <a:lnTo>
                    <a:pt x="294" y="126"/>
                  </a:lnTo>
                  <a:lnTo>
                    <a:pt x="300" y="132"/>
                  </a:lnTo>
                  <a:lnTo>
                    <a:pt x="306" y="144"/>
                  </a:lnTo>
                  <a:lnTo>
                    <a:pt x="312" y="144"/>
                  </a:lnTo>
                  <a:lnTo>
                    <a:pt x="312" y="150"/>
                  </a:lnTo>
                  <a:lnTo>
                    <a:pt x="312" y="162"/>
                  </a:lnTo>
                  <a:lnTo>
                    <a:pt x="312" y="174"/>
                  </a:lnTo>
                  <a:lnTo>
                    <a:pt x="324" y="180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30" y="192"/>
                  </a:lnTo>
                  <a:lnTo>
                    <a:pt x="336" y="198"/>
                  </a:lnTo>
                  <a:lnTo>
                    <a:pt x="342" y="192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54" y="180"/>
                  </a:lnTo>
                  <a:lnTo>
                    <a:pt x="354" y="174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84" y="192"/>
                  </a:lnTo>
                  <a:lnTo>
                    <a:pt x="390" y="204"/>
                  </a:lnTo>
                  <a:lnTo>
                    <a:pt x="390" y="210"/>
                  </a:lnTo>
                  <a:lnTo>
                    <a:pt x="390" y="216"/>
                  </a:lnTo>
                  <a:lnTo>
                    <a:pt x="384" y="234"/>
                  </a:lnTo>
                  <a:lnTo>
                    <a:pt x="390" y="240"/>
                  </a:lnTo>
                  <a:lnTo>
                    <a:pt x="408" y="252"/>
                  </a:lnTo>
                  <a:lnTo>
                    <a:pt x="414" y="264"/>
                  </a:lnTo>
                  <a:lnTo>
                    <a:pt x="408" y="300"/>
                  </a:lnTo>
                  <a:lnTo>
                    <a:pt x="414" y="312"/>
                  </a:lnTo>
                  <a:lnTo>
                    <a:pt x="426" y="336"/>
                  </a:lnTo>
                  <a:lnTo>
                    <a:pt x="438" y="354"/>
                  </a:lnTo>
                  <a:lnTo>
                    <a:pt x="444" y="366"/>
                  </a:lnTo>
                  <a:lnTo>
                    <a:pt x="456" y="366"/>
                  </a:lnTo>
                  <a:lnTo>
                    <a:pt x="474" y="378"/>
                  </a:lnTo>
                  <a:lnTo>
                    <a:pt x="474" y="384"/>
                  </a:lnTo>
                  <a:lnTo>
                    <a:pt x="480" y="390"/>
                  </a:lnTo>
                  <a:lnTo>
                    <a:pt x="486" y="396"/>
                  </a:lnTo>
                  <a:lnTo>
                    <a:pt x="486" y="402"/>
                  </a:lnTo>
                  <a:lnTo>
                    <a:pt x="480" y="408"/>
                  </a:lnTo>
                  <a:lnTo>
                    <a:pt x="486" y="408"/>
                  </a:lnTo>
                  <a:lnTo>
                    <a:pt x="486" y="414"/>
                  </a:lnTo>
                  <a:lnTo>
                    <a:pt x="492" y="414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32"/>
                  </a:lnTo>
                  <a:lnTo>
                    <a:pt x="498" y="438"/>
                  </a:lnTo>
                  <a:lnTo>
                    <a:pt x="492" y="432"/>
                  </a:lnTo>
                  <a:lnTo>
                    <a:pt x="486" y="426"/>
                  </a:lnTo>
                  <a:lnTo>
                    <a:pt x="486" y="420"/>
                  </a:lnTo>
                  <a:lnTo>
                    <a:pt x="486" y="414"/>
                  </a:lnTo>
                  <a:lnTo>
                    <a:pt x="480" y="414"/>
                  </a:lnTo>
                  <a:lnTo>
                    <a:pt x="480" y="408"/>
                  </a:lnTo>
                  <a:lnTo>
                    <a:pt x="474" y="408"/>
                  </a:lnTo>
                  <a:lnTo>
                    <a:pt x="468" y="408"/>
                  </a:lnTo>
                  <a:lnTo>
                    <a:pt x="468" y="402"/>
                  </a:lnTo>
                  <a:lnTo>
                    <a:pt x="462" y="402"/>
                  </a:lnTo>
                  <a:lnTo>
                    <a:pt x="462" y="408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80" y="426"/>
                  </a:lnTo>
                  <a:lnTo>
                    <a:pt x="486" y="426"/>
                  </a:lnTo>
                  <a:lnTo>
                    <a:pt x="486" y="432"/>
                  </a:lnTo>
                  <a:lnTo>
                    <a:pt x="492" y="438"/>
                  </a:lnTo>
                  <a:lnTo>
                    <a:pt x="498" y="438"/>
                  </a:lnTo>
                  <a:lnTo>
                    <a:pt x="504" y="444"/>
                  </a:lnTo>
                  <a:lnTo>
                    <a:pt x="510" y="444"/>
                  </a:lnTo>
                  <a:lnTo>
                    <a:pt x="510" y="450"/>
                  </a:lnTo>
                  <a:lnTo>
                    <a:pt x="510" y="456"/>
                  </a:lnTo>
                  <a:lnTo>
                    <a:pt x="516" y="456"/>
                  </a:lnTo>
                  <a:lnTo>
                    <a:pt x="516" y="462"/>
                  </a:lnTo>
                  <a:lnTo>
                    <a:pt x="522" y="462"/>
                  </a:lnTo>
                  <a:lnTo>
                    <a:pt x="522" y="468"/>
                  </a:lnTo>
                  <a:lnTo>
                    <a:pt x="528" y="468"/>
                  </a:lnTo>
                  <a:lnTo>
                    <a:pt x="534" y="468"/>
                  </a:lnTo>
                  <a:lnTo>
                    <a:pt x="534" y="474"/>
                  </a:lnTo>
                  <a:lnTo>
                    <a:pt x="540" y="474"/>
                  </a:lnTo>
                  <a:lnTo>
                    <a:pt x="540" y="480"/>
                  </a:lnTo>
                  <a:lnTo>
                    <a:pt x="546" y="486"/>
                  </a:lnTo>
                  <a:lnTo>
                    <a:pt x="546" y="492"/>
                  </a:lnTo>
                  <a:lnTo>
                    <a:pt x="546" y="498"/>
                  </a:lnTo>
                  <a:lnTo>
                    <a:pt x="546" y="504"/>
                  </a:lnTo>
                  <a:lnTo>
                    <a:pt x="540" y="504"/>
                  </a:lnTo>
                  <a:lnTo>
                    <a:pt x="546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10"/>
                  </a:lnTo>
                  <a:lnTo>
                    <a:pt x="552" y="516"/>
                  </a:lnTo>
                  <a:lnTo>
                    <a:pt x="552" y="522"/>
                  </a:lnTo>
                  <a:lnTo>
                    <a:pt x="552" y="528"/>
                  </a:lnTo>
                  <a:lnTo>
                    <a:pt x="552" y="534"/>
                  </a:lnTo>
                  <a:lnTo>
                    <a:pt x="552" y="540"/>
                  </a:lnTo>
                  <a:lnTo>
                    <a:pt x="546" y="540"/>
                  </a:lnTo>
                  <a:lnTo>
                    <a:pt x="546" y="546"/>
                  </a:lnTo>
                  <a:lnTo>
                    <a:pt x="546" y="540"/>
                  </a:lnTo>
                  <a:lnTo>
                    <a:pt x="546" y="534"/>
                  </a:lnTo>
                  <a:lnTo>
                    <a:pt x="540" y="534"/>
                  </a:lnTo>
                  <a:lnTo>
                    <a:pt x="540" y="528"/>
                  </a:lnTo>
                  <a:lnTo>
                    <a:pt x="534" y="528"/>
                  </a:lnTo>
                  <a:lnTo>
                    <a:pt x="528" y="528"/>
                  </a:lnTo>
                  <a:lnTo>
                    <a:pt x="522" y="528"/>
                  </a:lnTo>
                  <a:lnTo>
                    <a:pt x="516" y="528"/>
                  </a:lnTo>
                  <a:lnTo>
                    <a:pt x="510" y="528"/>
                  </a:lnTo>
                  <a:lnTo>
                    <a:pt x="510" y="534"/>
                  </a:lnTo>
                  <a:lnTo>
                    <a:pt x="510" y="528"/>
                  </a:lnTo>
                  <a:lnTo>
                    <a:pt x="516" y="528"/>
                  </a:lnTo>
                  <a:lnTo>
                    <a:pt x="522" y="528"/>
                  </a:lnTo>
                  <a:lnTo>
                    <a:pt x="528" y="528"/>
                  </a:lnTo>
                  <a:lnTo>
                    <a:pt x="534" y="534"/>
                  </a:lnTo>
                  <a:lnTo>
                    <a:pt x="540" y="534"/>
                  </a:lnTo>
                  <a:lnTo>
                    <a:pt x="540" y="540"/>
                  </a:lnTo>
                  <a:lnTo>
                    <a:pt x="540" y="546"/>
                  </a:lnTo>
                  <a:lnTo>
                    <a:pt x="546" y="546"/>
                  </a:lnTo>
                  <a:lnTo>
                    <a:pt x="546" y="552"/>
                  </a:lnTo>
                  <a:lnTo>
                    <a:pt x="552" y="552"/>
                  </a:lnTo>
                  <a:lnTo>
                    <a:pt x="552" y="558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0" y="576"/>
                  </a:lnTo>
                  <a:lnTo>
                    <a:pt x="540" y="582"/>
                  </a:lnTo>
                  <a:lnTo>
                    <a:pt x="540" y="588"/>
                  </a:lnTo>
                  <a:lnTo>
                    <a:pt x="534" y="594"/>
                  </a:lnTo>
                  <a:lnTo>
                    <a:pt x="534" y="600"/>
                  </a:lnTo>
                  <a:lnTo>
                    <a:pt x="528" y="600"/>
                  </a:lnTo>
                  <a:lnTo>
                    <a:pt x="522" y="594"/>
                  </a:lnTo>
                  <a:lnTo>
                    <a:pt x="528" y="600"/>
                  </a:lnTo>
                  <a:lnTo>
                    <a:pt x="534" y="600"/>
                  </a:lnTo>
                  <a:lnTo>
                    <a:pt x="534" y="606"/>
                  </a:lnTo>
                  <a:lnTo>
                    <a:pt x="528" y="606"/>
                  </a:lnTo>
                  <a:lnTo>
                    <a:pt x="528" y="612"/>
                  </a:lnTo>
                  <a:lnTo>
                    <a:pt x="522" y="612"/>
                  </a:lnTo>
                  <a:lnTo>
                    <a:pt x="522" y="618"/>
                  </a:lnTo>
                  <a:lnTo>
                    <a:pt x="522" y="624"/>
                  </a:lnTo>
                  <a:lnTo>
                    <a:pt x="510" y="624"/>
                  </a:lnTo>
                  <a:lnTo>
                    <a:pt x="498" y="624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0" y="624"/>
                  </a:lnTo>
                  <a:lnTo>
                    <a:pt x="474" y="624"/>
                  </a:lnTo>
                  <a:lnTo>
                    <a:pt x="468" y="618"/>
                  </a:lnTo>
                  <a:lnTo>
                    <a:pt x="456" y="618"/>
                  </a:lnTo>
                  <a:lnTo>
                    <a:pt x="450" y="618"/>
                  </a:lnTo>
                  <a:lnTo>
                    <a:pt x="426" y="618"/>
                  </a:lnTo>
                  <a:lnTo>
                    <a:pt x="420" y="618"/>
                  </a:lnTo>
                  <a:lnTo>
                    <a:pt x="414" y="618"/>
                  </a:lnTo>
                  <a:lnTo>
                    <a:pt x="408" y="618"/>
                  </a:lnTo>
                  <a:lnTo>
                    <a:pt x="396" y="618"/>
                  </a:lnTo>
                  <a:lnTo>
                    <a:pt x="366" y="618"/>
                  </a:lnTo>
                  <a:lnTo>
                    <a:pt x="348" y="624"/>
                  </a:lnTo>
                  <a:lnTo>
                    <a:pt x="342" y="624"/>
                  </a:lnTo>
                  <a:lnTo>
                    <a:pt x="342" y="618"/>
                  </a:lnTo>
                  <a:lnTo>
                    <a:pt x="336" y="618"/>
                  </a:lnTo>
                  <a:lnTo>
                    <a:pt x="336" y="612"/>
                  </a:lnTo>
                  <a:lnTo>
                    <a:pt x="342" y="612"/>
                  </a:lnTo>
                  <a:lnTo>
                    <a:pt x="348" y="612"/>
                  </a:lnTo>
                  <a:lnTo>
                    <a:pt x="342" y="612"/>
                  </a:lnTo>
                  <a:lnTo>
                    <a:pt x="336" y="612"/>
                  </a:lnTo>
                  <a:lnTo>
                    <a:pt x="336" y="606"/>
                  </a:lnTo>
                  <a:lnTo>
                    <a:pt x="330" y="606"/>
                  </a:lnTo>
                  <a:lnTo>
                    <a:pt x="330" y="600"/>
                  </a:lnTo>
                  <a:lnTo>
                    <a:pt x="324" y="600"/>
                  </a:lnTo>
                  <a:lnTo>
                    <a:pt x="324" y="606"/>
                  </a:lnTo>
                  <a:lnTo>
                    <a:pt x="318" y="606"/>
                  </a:lnTo>
                  <a:lnTo>
                    <a:pt x="318" y="612"/>
                  </a:lnTo>
                  <a:lnTo>
                    <a:pt x="312" y="612"/>
                  </a:lnTo>
                  <a:lnTo>
                    <a:pt x="306" y="606"/>
                  </a:lnTo>
                  <a:lnTo>
                    <a:pt x="306" y="612"/>
                  </a:lnTo>
                  <a:lnTo>
                    <a:pt x="312" y="612"/>
                  </a:lnTo>
                  <a:lnTo>
                    <a:pt x="318" y="612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30" y="606"/>
                  </a:lnTo>
                  <a:lnTo>
                    <a:pt x="336" y="612"/>
                  </a:lnTo>
                  <a:lnTo>
                    <a:pt x="336" y="618"/>
                  </a:lnTo>
                  <a:lnTo>
                    <a:pt x="330" y="618"/>
                  </a:lnTo>
                  <a:lnTo>
                    <a:pt x="336" y="618"/>
                  </a:lnTo>
                  <a:lnTo>
                    <a:pt x="336" y="624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288" y="624"/>
                  </a:lnTo>
                  <a:lnTo>
                    <a:pt x="282" y="624"/>
                  </a:lnTo>
                  <a:lnTo>
                    <a:pt x="270" y="630"/>
                  </a:lnTo>
                  <a:lnTo>
                    <a:pt x="264" y="630"/>
                  </a:lnTo>
                  <a:lnTo>
                    <a:pt x="258" y="630"/>
                  </a:lnTo>
                  <a:lnTo>
                    <a:pt x="252" y="630"/>
                  </a:lnTo>
                  <a:lnTo>
                    <a:pt x="246" y="630"/>
                  </a:lnTo>
                  <a:lnTo>
                    <a:pt x="240" y="630"/>
                  </a:lnTo>
                  <a:lnTo>
                    <a:pt x="228" y="636"/>
                  </a:lnTo>
                  <a:lnTo>
                    <a:pt x="222" y="636"/>
                  </a:lnTo>
                  <a:lnTo>
                    <a:pt x="210" y="636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42"/>
                  </a:lnTo>
                  <a:lnTo>
                    <a:pt x="186" y="642"/>
                  </a:lnTo>
                  <a:lnTo>
                    <a:pt x="180" y="642"/>
                  </a:lnTo>
                  <a:lnTo>
                    <a:pt x="168" y="642"/>
                  </a:lnTo>
                  <a:lnTo>
                    <a:pt x="162" y="642"/>
                  </a:lnTo>
                  <a:lnTo>
                    <a:pt x="162" y="648"/>
                  </a:lnTo>
                  <a:lnTo>
                    <a:pt x="156" y="648"/>
                  </a:lnTo>
                  <a:lnTo>
                    <a:pt x="150" y="648"/>
                  </a:lnTo>
                  <a:lnTo>
                    <a:pt x="144" y="648"/>
                  </a:lnTo>
                  <a:lnTo>
                    <a:pt x="138" y="648"/>
                  </a:lnTo>
                  <a:lnTo>
                    <a:pt x="132" y="648"/>
                  </a:lnTo>
                  <a:lnTo>
                    <a:pt x="126" y="642"/>
                  </a:lnTo>
                  <a:lnTo>
                    <a:pt x="126" y="636"/>
                  </a:lnTo>
                  <a:lnTo>
                    <a:pt x="120" y="636"/>
                  </a:lnTo>
                  <a:lnTo>
                    <a:pt x="126" y="642"/>
                  </a:lnTo>
                  <a:lnTo>
                    <a:pt x="126" y="648"/>
                  </a:lnTo>
                  <a:lnTo>
                    <a:pt x="132" y="648"/>
                  </a:lnTo>
                  <a:lnTo>
                    <a:pt x="126" y="654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54"/>
                  </a:lnTo>
                  <a:lnTo>
                    <a:pt x="108" y="660"/>
                  </a:lnTo>
                  <a:lnTo>
                    <a:pt x="108" y="654"/>
                  </a:lnTo>
                  <a:lnTo>
                    <a:pt x="102" y="654"/>
                  </a:lnTo>
                  <a:lnTo>
                    <a:pt x="102" y="660"/>
                  </a:lnTo>
                  <a:lnTo>
                    <a:pt x="108" y="660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0" y="660"/>
                  </a:lnTo>
                  <a:lnTo>
                    <a:pt x="90" y="654"/>
                  </a:lnTo>
                  <a:lnTo>
                    <a:pt x="84" y="648"/>
                  </a:lnTo>
                  <a:lnTo>
                    <a:pt x="84" y="642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72" y="636"/>
                  </a:lnTo>
                  <a:lnTo>
                    <a:pt x="78" y="636"/>
                  </a:lnTo>
                  <a:lnTo>
                    <a:pt x="72" y="636"/>
                  </a:lnTo>
                  <a:lnTo>
                    <a:pt x="66" y="636"/>
                  </a:lnTo>
                  <a:lnTo>
                    <a:pt x="60" y="636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60" y="618"/>
                  </a:lnTo>
                  <a:lnTo>
                    <a:pt x="66" y="618"/>
                  </a:lnTo>
                  <a:lnTo>
                    <a:pt x="72" y="618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2" y="612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12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54" y="618"/>
                  </a:lnTo>
                  <a:lnTo>
                    <a:pt x="54" y="624"/>
                  </a:lnTo>
                  <a:lnTo>
                    <a:pt x="48" y="618"/>
                  </a:lnTo>
                  <a:lnTo>
                    <a:pt x="42" y="618"/>
                  </a:lnTo>
                  <a:lnTo>
                    <a:pt x="42" y="612"/>
                  </a:lnTo>
                  <a:lnTo>
                    <a:pt x="48" y="606"/>
                  </a:lnTo>
                  <a:lnTo>
                    <a:pt x="54" y="606"/>
                  </a:lnTo>
                  <a:lnTo>
                    <a:pt x="54" y="600"/>
                  </a:lnTo>
                  <a:lnTo>
                    <a:pt x="54" y="594"/>
                  </a:lnTo>
                  <a:lnTo>
                    <a:pt x="54" y="588"/>
                  </a:lnTo>
                  <a:lnTo>
                    <a:pt x="48" y="588"/>
                  </a:lnTo>
                  <a:lnTo>
                    <a:pt x="48" y="582"/>
                  </a:lnTo>
                  <a:lnTo>
                    <a:pt x="42" y="582"/>
                  </a:lnTo>
                  <a:lnTo>
                    <a:pt x="42" y="570"/>
                  </a:lnTo>
                  <a:lnTo>
                    <a:pt x="42" y="564"/>
                  </a:lnTo>
                  <a:lnTo>
                    <a:pt x="36" y="564"/>
                  </a:lnTo>
                  <a:close/>
                  <a:moveTo>
                    <a:pt x="498" y="420"/>
                  </a:moveTo>
                  <a:lnTo>
                    <a:pt x="504" y="426"/>
                  </a:lnTo>
                  <a:lnTo>
                    <a:pt x="510" y="432"/>
                  </a:lnTo>
                  <a:lnTo>
                    <a:pt x="516" y="432"/>
                  </a:lnTo>
                  <a:lnTo>
                    <a:pt x="516" y="438"/>
                  </a:lnTo>
                  <a:lnTo>
                    <a:pt x="510" y="438"/>
                  </a:lnTo>
                  <a:lnTo>
                    <a:pt x="504" y="438"/>
                  </a:lnTo>
                  <a:lnTo>
                    <a:pt x="504" y="432"/>
                  </a:lnTo>
                  <a:lnTo>
                    <a:pt x="498" y="432"/>
                  </a:lnTo>
                  <a:lnTo>
                    <a:pt x="498" y="426"/>
                  </a:lnTo>
                  <a:lnTo>
                    <a:pt x="498" y="4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4" name="Freeform 9">
              <a:extLst>
                <a:ext uri="{FF2B5EF4-FFF2-40B4-BE49-F238E27FC236}">
                  <a16:creationId xmlns:a16="http://schemas.microsoft.com/office/drawing/2014/main" id="{E0116D32-BD2E-45EA-B818-A3082585D5F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3055" y="2468650"/>
              <a:ext cx="800556" cy="1207710"/>
            </a:xfrm>
            <a:custGeom>
              <a:avLst/>
              <a:gdLst>
                <a:gd name="T0" fmla="*/ 24 w 1506"/>
                <a:gd name="T1" fmla="*/ 190 h 2274"/>
                <a:gd name="T2" fmla="*/ 25 w 1506"/>
                <a:gd name="T3" fmla="*/ 180 h 2274"/>
                <a:gd name="T4" fmla="*/ 21 w 1506"/>
                <a:gd name="T5" fmla="*/ 174 h 2274"/>
                <a:gd name="T6" fmla="*/ 17 w 1506"/>
                <a:gd name="T7" fmla="*/ 170 h 2274"/>
                <a:gd name="T8" fmla="*/ 12 w 1506"/>
                <a:gd name="T9" fmla="*/ 168 h 2274"/>
                <a:gd name="T10" fmla="*/ 10 w 1506"/>
                <a:gd name="T11" fmla="*/ 173 h 2274"/>
                <a:gd name="T12" fmla="*/ 7 w 1506"/>
                <a:gd name="T13" fmla="*/ 174 h 2274"/>
                <a:gd name="T14" fmla="*/ 0 w 1506"/>
                <a:gd name="T15" fmla="*/ 163 h 2274"/>
                <a:gd name="T16" fmla="*/ 16 w 1506"/>
                <a:gd name="T17" fmla="*/ 140 h 2274"/>
                <a:gd name="T18" fmla="*/ 19 w 1506"/>
                <a:gd name="T19" fmla="*/ 137 h 2274"/>
                <a:gd name="T20" fmla="*/ 24 w 1506"/>
                <a:gd name="T21" fmla="*/ 126 h 2274"/>
                <a:gd name="T22" fmla="*/ 23 w 1506"/>
                <a:gd name="T23" fmla="*/ 105 h 2274"/>
                <a:gd name="T24" fmla="*/ 14 w 1506"/>
                <a:gd name="T25" fmla="*/ 86 h 2274"/>
                <a:gd name="T26" fmla="*/ 8 w 1506"/>
                <a:gd name="T27" fmla="*/ 84 h 2274"/>
                <a:gd name="T28" fmla="*/ 5 w 1506"/>
                <a:gd name="T29" fmla="*/ 79 h 2274"/>
                <a:gd name="T30" fmla="*/ 16 w 1506"/>
                <a:gd name="T31" fmla="*/ 71 h 2274"/>
                <a:gd name="T32" fmla="*/ 28 w 1506"/>
                <a:gd name="T33" fmla="*/ 55 h 2274"/>
                <a:gd name="T34" fmla="*/ 29 w 1506"/>
                <a:gd name="T35" fmla="*/ 48 h 2274"/>
                <a:gd name="T36" fmla="*/ 35 w 1506"/>
                <a:gd name="T37" fmla="*/ 50 h 2274"/>
                <a:gd name="T38" fmla="*/ 42 w 1506"/>
                <a:gd name="T39" fmla="*/ 47 h 2274"/>
                <a:gd name="T40" fmla="*/ 63 w 1506"/>
                <a:gd name="T41" fmla="*/ 34 h 2274"/>
                <a:gd name="T42" fmla="*/ 74 w 1506"/>
                <a:gd name="T43" fmla="*/ 27 h 2274"/>
                <a:gd name="T44" fmla="*/ 81 w 1506"/>
                <a:gd name="T45" fmla="*/ 20 h 2274"/>
                <a:gd name="T46" fmla="*/ 89 w 1506"/>
                <a:gd name="T47" fmla="*/ 20 h 2274"/>
                <a:gd name="T48" fmla="*/ 98 w 1506"/>
                <a:gd name="T49" fmla="*/ 27 h 2274"/>
                <a:gd name="T50" fmla="*/ 106 w 1506"/>
                <a:gd name="T51" fmla="*/ 17 h 2274"/>
                <a:gd name="T52" fmla="*/ 111 w 1506"/>
                <a:gd name="T53" fmla="*/ 8 h 2274"/>
                <a:gd name="T54" fmla="*/ 121 w 1506"/>
                <a:gd name="T55" fmla="*/ 2 h 2274"/>
                <a:gd name="T56" fmla="*/ 129 w 1506"/>
                <a:gd name="T57" fmla="*/ 5 h 2274"/>
                <a:gd name="T58" fmla="*/ 125 w 1506"/>
                <a:gd name="T59" fmla="*/ 12 h 2274"/>
                <a:gd name="T60" fmla="*/ 122 w 1506"/>
                <a:gd name="T61" fmla="*/ 20 h 2274"/>
                <a:gd name="T62" fmla="*/ 122 w 1506"/>
                <a:gd name="T63" fmla="*/ 27 h 2274"/>
                <a:gd name="T64" fmla="*/ 120 w 1506"/>
                <a:gd name="T65" fmla="*/ 36 h 2274"/>
                <a:gd name="T66" fmla="*/ 116 w 1506"/>
                <a:gd name="T67" fmla="*/ 43 h 2274"/>
                <a:gd name="T68" fmla="*/ 109 w 1506"/>
                <a:gd name="T69" fmla="*/ 47 h 2274"/>
                <a:gd name="T70" fmla="*/ 108 w 1506"/>
                <a:gd name="T71" fmla="*/ 54 h 2274"/>
                <a:gd name="T72" fmla="*/ 106 w 1506"/>
                <a:gd name="T73" fmla="*/ 59 h 2274"/>
                <a:gd name="T74" fmla="*/ 109 w 1506"/>
                <a:gd name="T75" fmla="*/ 64 h 2274"/>
                <a:gd name="T76" fmla="*/ 106 w 1506"/>
                <a:gd name="T77" fmla="*/ 70 h 2274"/>
                <a:gd name="T78" fmla="*/ 105 w 1506"/>
                <a:gd name="T79" fmla="*/ 75 h 2274"/>
                <a:gd name="T80" fmla="*/ 101 w 1506"/>
                <a:gd name="T81" fmla="*/ 78 h 2274"/>
                <a:gd name="T82" fmla="*/ 92 w 1506"/>
                <a:gd name="T83" fmla="*/ 81 h 2274"/>
                <a:gd name="T84" fmla="*/ 85 w 1506"/>
                <a:gd name="T85" fmla="*/ 85 h 2274"/>
                <a:gd name="T86" fmla="*/ 87 w 1506"/>
                <a:gd name="T87" fmla="*/ 91 h 2274"/>
                <a:gd name="T88" fmla="*/ 86 w 1506"/>
                <a:gd name="T89" fmla="*/ 98 h 2274"/>
                <a:gd name="T90" fmla="*/ 86 w 1506"/>
                <a:gd name="T91" fmla="*/ 103 h 2274"/>
                <a:gd name="T92" fmla="*/ 82 w 1506"/>
                <a:gd name="T93" fmla="*/ 111 h 2274"/>
                <a:gd name="T94" fmla="*/ 81 w 1506"/>
                <a:gd name="T95" fmla="*/ 116 h 2274"/>
                <a:gd name="T96" fmla="*/ 78 w 1506"/>
                <a:gd name="T97" fmla="*/ 120 h 2274"/>
                <a:gd name="T98" fmla="*/ 76 w 1506"/>
                <a:gd name="T99" fmla="*/ 126 h 2274"/>
                <a:gd name="T100" fmla="*/ 68 w 1506"/>
                <a:gd name="T101" fmla="*/ 129 h 2274"/>
                <a:gd name="T102" fmla="*/ 62 w 1506"/>
                <a:gd name="T103" fmla="*/ 131 h 2274"/>
                <a:gd name="T104" fmla="*/ 58 w 1506"/>
                <a:gd name="T105" fmla="*/ 136 h 2274"/>
                <a:gd name="T106" fmla="*/ 51 w 1506"/>
                <a:gd name="T107" fmla="*/ 138 h 2274"/>
                <a:gd name="T108" fmla="*/ 51 w 1506"/>
                <a:gd name="T109" fmla="*/ 147 h 2274"/>
                <a:gd name="T110" fmla="*/ 49 w 1506"/>
                <a:gd name="T111" fmla="*/ 159 h 2274"/>
                <a:gd name="T112" fmla="*/ 48 w 1506"/>
                <a:gd name="T113" fmla="*/ 166 h 2274"/>
                <a:gd name="T114" fmla="*/ 41 w 1506"/>
                <a:gd name="T115" fmla="*/ 174 h 2274"/>
                <a:gd name="T116" fmla="*/ 39 w 1506"/>
                <a:gd name="T117" fmla="*/ 181 h 2274"/>
                <a:gd name="T118" fmla="*/ 37 w 1506"/>
                <a:gd name="T119" fmla="*/ 190 h 2274"/>
                <a:gd name="T120" fmla="*/ 29 w 1506"/>
                <a:gd name="T121" fmla="*/ 198 h 22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06"/>
                <a:gd name="T184" fmla="*/ 0 h 2274"/>
                <a:gd name="T185" fmla="*/ 1506 w 1506"/>
                <a:gd name="T186" fmla="*/ 2274 h 227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06" h="2274">
                  <a:moveTo>
                    <a:pt x="330" y="2274"/>
                  </a:moveTo>
                  <a:lnTo>
                    <a:pt x="318" y="2262"/>
                  </a:lnTo>
                  <a:lnTo>
                    <a:pt x="312" y="2238"/>
                  </a:lnTo>
                  <a:lnTo>
                    <a:pt x="312" y="2232"/>
                  </a:lnTo>
                  <a:lnTo>
                    <a:pt x="294" y="2214"/>
                  </a:lnTo>
                  <a:lnTo>
                    <a:pt x="288" y="2208"/>
                  </a:lnTo>
                  <a:lnTo>
                    <a:pt x="288" y="2202"/>
                  </a:lnTo>
                  <a:lnTo>
                    <a:pt x="276" y="2196"/>
                  </a:lnTo>
                  <a:lnTo>
                    <a:pt x="276" y="2190"/>
                  </a:lnTo>
                  <a:lnTo>
                    <a:pt x="282" y="2190"/>
                  </a:lnTo>
                  <a:lnTo>
                    <a:pt x="282" y="2184"/>
                  </a:lnTo>
                  <a:lnTo>
                    <a:pt x="276" y="2172"/>
                  </a:lnTo>
                  <a:lnTo>
                    <a:pt x="276" y="2166"/>
                  </a:lnTo>
                  <a:lnTo>
                    <a:pt x="282" y="2166"/>
                  </a:lnTo>
                  <a:lnTo>
                    <a:pt x="282" y="2154"/>
                  </a:lnTo>
                  <a:lnTo>
                    <a:pt x="276" y="2136"/>
                  </a:lnTo>
                  <a:lnTo>
                    <a:pt x="276" y="2112"/>
                  </a:lnTo>
                  <a:lnTo>
                    <a:pt x="282" y="2088"/>
                  </a:lnTo>
                  <a:lnTo>
                    <a:pt x="282" y="2082"/>
                  </a:lnTo>
                  <a:lnTo>
                    <a:pt x="282" y="2076"/>
                  </a:lnTo>
                  <a:lnTo>
                    <a:pt x="282" y="2070"/>
                  </a:lnTo>
                  <a:lnTo>
                    <a:pt x="288" y="2070"/>
                  </a:lnTo>
                  <a:lnTo>
                    <a:pt x="288" y="2064"/>
                  </a:lnTo>
                  <a:lnTo>
                    <a:pt x="282" y="2052"/>
                  </a:lnTo>
                  <a:lnTo>
                    <a:pt x="282" y="2046"/>
                  </a:lnTo>
                  <a:lnTo>
                    <a:pt x="276" y="2040"/>
                  </a:lnTo>
                  <a:lnTo>
                    <a:pt x="270" y="2034"/>
                  </a:lnTo>
                  <a:lnTo>
                    <a:pt x="264" y="2022"/>
                  </a:lnTo>
                  <a:lnTo>
                    <a:pt x="258" y="2022"/>
                  </a:lnTo>
                  <a:lnTo>
                    <a:pt x="258" y="2016"/>
                  </a:lnTo>
                  <a:lnTo>
                    <a:pt x="252" y="2016"/>
                  </a:lnTo>
                  <a:lnTo>
                    <a:pt x="246" y="2016"/>
                  </a:lnTo>
                  <a:lnTo>
                    <a:pt x="240" y="2010"/>
                  </a:lnTo>
                  <a:lnTo>
                    <a:pt x="234" y="2004"/>
                  </a:lnTo>
                  <a:lnTo>
                    <a:pt x="228" y="2004"/>
                  </a:lnTo>
                  <a:lnTo>
                    <a:pt x="228" y="1998"/>
                  </a:lnTo>
                  <a:lnTo>
                    <a:pt x="228" y="1992"/>
                  </a:lnTo>
                  <a:lnTo>
                    <a:pt x="222" y="1992"/>
                  </a:lnTo>
                  <a:lnTo>
                    <a:pt x="222" y="1986"/>
                  </a:lnTo>
                  <a:lnTo>
                    <a:pt x="216" y="1986"/>
                  </a:lnTo>
                  <a:lnTo>
                    <a:pt x="210" y="1980"/>
                  </a:lnTo>
                  <a:lnTo>
                    <a:pt x="216" y="1974"/>
                  </a:lnTo>
                  <a:lnTo>
                    <a:pt x="210" y="1968"/>
                  </a:lnTo>
                  <a:lnTo>
                    <a:pt x="198" y="1956"/>
                  </a:lnTo>
                  <a:lnTo>
                    <a:pt x="192" y="1956"/>
                  </a:lnTo>
                  <a:lnTo>
                    <a:pt x="186" y="1956"/>
                  </a:lnTo>
                  <a:lnTo>
                    <a:pt x="180" y="1944"/>
                  </a:lnTo>
                  <a:lnTo>
                    <a:pt x="180" y="1938"/>
                  </a:lnTo>
                  <a:lnTo>
                    <a:pt x="174" y="1932"/>
                  </a:lnTo>
                  <a:lnTo>
                    <a:pt x="168" y="1932"/>
                  </a:lnTo>
                  <a:lnTo>
                    <a:pt x="162" y="1932"/>
                  </a:lnTo>
                  <a:lnTo>
                    <a:pt x="150" y="1932"/>
                  </a:lnTo>
                  <a:lnTo>
                    <a:pt x="150" y="1926"/>
                  </a:lnTo>
                  <a:lnTo>
                    <a:pt x="150" y="1932"/>
                  </a:lnTo>
                  <a:lnTo>
                    <a:pt x="144" y="1932"/>
                  </a:lnTo>
                  <a:lnTo>
                    <a:pt x="138" y="1932"/>
                  </a:lnTo>
                  <a:lnTo>
                    <a:pt x="132" y="1932"/>
                  </a:lnTo>
                  <a:lnTo>
                    <a:pt x="132" y="1938"/>
                  </a:lnTo>
                  <a:lnTo>
                    <a:pt x="126" y="1944"/>
                  </a:lnTo>
                  <a:lnTo>
                    <a:pt x="126" y="1956"/>
                  </a:lnTo>
                  <a:lnTo>
                    <a:pt x="120" y="1968"/>
                  </a:lnTo>
                  <a:lnTo>
                    <a:pt x="120" y="1974"/>
                  </a:lnTo>
                  <a:lnTo>
                    <a:pt x="120" y="1980"/>
                  </a:lnTo>
                  <a:lnTo>
                    <a:pt x="126" y="1980"/>
                  </a:lnTo>
                  <a:lnTo>
                    <a:pt x="120" y="1986"/>
                  </a:lnTo>
                  <a:lnTo>
                    <a:pt x="120" y="1992"/>
                  </a:lnTo>
                  <a:lnTo>
                    <a:pt x="114" y="1992"/>
                  </a:lnTo>
                  <a:lnTo>
                    <a:pt x="114" y="1986"/>
                  </a:lnTo>
                  <a:lnTo>
                    <a:pt x="108" y="1992"/>
                  </a:lnTo>
                  <a:lnTo>
                    <a:pt x="108" y="1998"/>
                  </a:lnTo>
                  <a:lnTo>
                    <a:pt x="114" y="2004"/>
                  </a:lnTo>
                  <a:lnTo>
                    <a:pt x="108" y="2004"/>
                  </a:lnTo>
                  <a:lnTo>
                    <a:pt x="102" y="2010"/>
                  </a:lnTo>
                  <a:lnTo>
                    <a:pt x="102" y="2004"/>
                  </a:lnTo>
                  <a:lnTo>
                    <a:pt x="90" y="2004"/>
                  </a:lnTo>
                  <a:lnTo>
                    <a:pt x="84" y="2004"/>
                  </a:lnTo>
                  <a:lnTo>
                    <a:pt x="78" y="1998"/>
                  </a:lnTo>
                  <a:lnTo>
                    <a:pt x="78" y="1992"/>
                  </a:lnTo>
                  <a:lnTo>
                    <a:pt x="78" y="1986"/>
                  </a:lnTo>
                  <a:lnTo>
                    <a:pt x="72" y="1986"/>
                  </a:lnTo>
                  <a:lnTo>
                    <a:pt x="66" y="1980"/>
                  </a:lnTo>
                  <a:lnTo>
                    <a:pt x="66" y="1968"/>
                  </a:lnTo>
                  <a:lnTo>
                    <a:pt x="60" y="1956"/>
                  </a:lnTo>
                  <a:lnTo>
                    <a:pt x="60" y="1950"/>
                  </a:lnTo>
                  <a:lnTo>
                    <a:pt x="48" y="1944"/>
                  </a:lnTo>
                  <a:lnTo>
                    <a:pt x="30" y="1926"/>
                  </a:lnTo>
                  <a:lnTo>
                    <a:pt x="12" y="1890"/>
                  </a:lnTo>
                  <a:lnTo>
                    <a:pt x="6" y="1872"/>
                  </a:lnTo>
                  <a:lnTo>
                    <a:pt x="0" y="1854"/>
                  </a:lnTo>
                  <a:lnTo>
                    <a:pt x="6" y="1824"/>
                  </a:lnTo>
                  <a:lnTo>
                    <a:pt x="30" y="1794"/>
                  </a:lnTo>
                  <a:lnTo>
                    <a:pt x="66" y="1752"/>
                  </a:lnTo>
                  <a:lnTo>
                    <a:pt x="72" y="1752"/>
                  </a:lnTo>
                  <a:lnTo>
                    <a:pt x="78" y="1746"/>
                  </a:lnTo>
                  <a:lnTo>
                    <a:pt x="84" y="1746"/>
                  </a:lnTo>
                  <a:lnTo>
                    <a:pt x="90" y="1746"/>
                  </a:lnTo>
                  <a:lnTo>
                    <a:pt x="138" y="1674"/>
                  </a:lnTo>
                  <a:lnTo>
                    <a:pt x="186" y="1620"/>
                  </a:lnTo>
                  <a:lnTo>
                    <a:pt x="186" y="1614"/>
                  </a:lnTo>
                  <a:lnTo>
                    <a:pt x="186" y="1608"/>
                  </a:lnTo>
                  <a:lnTo>
                    <a:pt x="192" y="1608"/>
                  </a:lnTo>
                  <a:lnTo>
                    <a:pt x="192" y="1614"/>
                  </a:lnTo>
                  <a:lnTo>
                    <a:pt x="198" y="1614"/>
                  </a:lnTo>
                  <a:lnTo>
                    <a:pt x="198" y="1608"/>
                  </a:lnTo>
                  <a:lnTo>
                    <a:pt x="198" y="1602"/>
                  </a:lnTo>
                  <a:lnTo>
                    <a:pt x="204" y="1602"/>
                  </a:lnTo>
                  <a:lnTo>
                    <a:pt x="204" y="1596"/>
                  </a:lnTo>
                  <a:lnTo>
                    <a:pt x="210" y="1590"/>
                  </a:lnTo>
                  <a:lnTo>
                    <a:pt x="216" y="1590"/>
                  </a:lnTo>
                  <a:lnTo>
                    <a:pt x="216" y="1584"/>
                  </a:lnTo>
                  <a:lnTo>
                    <a:pt x="222" y="1584"/>
                  </a:lnTo>
                  <a:lnTo>
                    <a:pt x="228" y="1572"/>
                  </a:lnTo>
                  <a:lnTo>
                    <a:pt x="222" y="1572"/>
                  </a:lnTo>
                  <a:lnTo>
                    <a:pt x="228" y="1566"/>
                  </a:lnTo>
                  <a:lnTo>
                    <a:pt x="228" y="1560"/>
                  </a:lnTo>
                  <a:lnTo>
                    <a:pt x="252" y="1548"/>
                  </a:lnTo>
                  <a:lnTo>
                    <a:pt x="276" y="1530"/>
                  </a:lnTo>
                  <a:lnTo>
                    <a:pt x="282" y="1512"/>
                  </a:lnTo>
                  <a:lnTo>
                    <a:pt x="282" y="1506"/>
                  </a:lnTo>
                  <a:lnTo>
                    <a:pt x="282" y="1494"/>
                  </a:lnTo>
                  <a:lnTo>
                    <a:pt x="282" y="1452"/>
                  </a:lnTo>
                  <a:lnTo>
                    <a:pt x="288" y="1440"/>
                  </a:lnTo>
                  <a:lnTo>
                    <a:pt x="294" y="1440"/>
                  </a:lnTo>
                  <a:lnTo>
                    <a:pt x="294" y="1428"/>
                  </a:lnTo>
                  <a:lnTo>
                    <a:pt x="324" y="1368"/>
                  </a:lnTo>
                  <a:lnTo>
                    <a:pt x="330" y="1362"/>
                  </a:lnTo>
                  <a:lnTo>
                    <a:pt x="330" y="1356"/>
                  </a:lnTo>
                  <a:lnTo>
                    <a:pt x="360" y="1338"/>
                  </a:lnTo>
                  <a:lnTo>
                    <a:pt x="366" y="1296"/>
                  </a:lnTo>
                  <a:lnTo>
                    <a:pt x="354" y="1278"/>
                  </a:lnTo>
                  <a:lnTo>
                    <a:pt x="336" y="1230"/>
                  </a:lnTo>
                  <a:lnTo>
                    <a:pt x="270" y="1212"/>
                  </a:lnTo>
                  <a:lnTo>
                    <a:pt x="264" y="1212"/>
                  </a:lnTo>
                  <a:lnTo>
                    <a:pt x="252" y="1200"/>
                  </a:lnTo>
                  <a:lnTo>
                    <a:pt x="234" y="1188"/>
                  </a:lnTo>
                  <a:lnTo>
                    <a:pt x="222" y="1182"/>
                  </a:lnTo>
                  <a:lnTo>
                    <a:pt x="228" y="1104"/>
                  </a:lnTo>
                  <a:lnTo>
                    <a:pt x="228" y="1098"/>
                  </a:lnTo>
                  <a:lnTo>
                    <a:pt x="198" y="1038"/>
                  </a:lnTo>
                  <a:lnTo>
                    <a:pt x="192" y="1032"/>
                  </a:lnTo>
                  <a:lnTo>
                    <a:pt x="180" y="1020"/>
                  </a:lnTo>
                  <a:lnTo>
                    <a:pt x="168" y="996"/>
                  </a:lnTo>
                  <a:lnTo>
                    <a:pt x="162" y="990"/>
                  </a:lnTo>
                  <a:lnTo>
                    <a:pt x="156" y="990"/>
                  </a:lnTo>
                  <a:lnTo>
                    <a:pt x="150" y="990"/>
                  </a:lnTo>
                  <a:lnTo>
                    <a:pt x="132" y="990"/>
                  </a:lnTo>
                  <a:lnTo>
                    <a:pt x="120" y="984"/>
                  </a:lnTo>
                  <a:lnTo>
                    <a:pt x="120" y="990"/>
                  </a:lnTo>
                  <a:lnTo>
                    <a:pt x="114" y="990"/>
                  </a:lnTo>
                  <a:lnTo>
                    <a:pt x="102" y="984"/>
                  </a:lnTo>
                  <a:lnTo>
                    <a:pt x="96" y="984"/>
                  </a:lnTo>
                  <a:lnTo>
                    <a:pt x="96" y="978"/>
                  </a:lnTo>
                  <a:lnTo>
                    <a:pt x="90" y="978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84" y="960"/>
                  </a:lnTo>
                  <a:lnTo>
                    <a:pt x="84" y="954"/>
                  </a:lnTo>
                  <a:lnTo>
                    <a:pt x="78" y="948"/>
                  </a:lnTo>
                  <a:lnTo>
                    <a:pt x="72" y="948"/>
                  </a:lnTo>
                  <a:lnTo>
                    <a:pt x="72" y="942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06"/>
                  </a:lnTo>
                  <a:lnTo>
                    <a:pt x="60" y="888"/>
                  </a:lnTo>
                  <a:lnTo>
                    <a:pt x="54" y="882"/>
                  </a:lnTo>
                  <a:lnTo>
                    <a:pt x="60" y="882"/>
                  </a:lnTo>
                  <a:lnTo>
                    <a:pt x="72" y="876"/>
                  </a:lnTo>
                  <a:lnTo>
                    <a:pt x="78" y="876"/>
                  </a:lnTo>
                  <a:lnTo>
                    <a:pt x="90" y="870"/>
                  </a:lnTo>
                  <a:lnTo>
                    <a:pt x="90" y="864"/>
                  </a:lnTo>
                  <a:lnTo>
                    <a:pt x="96" y="840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80" y="822"/>
                  </a:lnTo>
                  <a:lnTo>
                    <a:pt x="204" y="798"/>
                  </a:lnTo>
                  <a:lnTo>
                    <a:pt x="222" y="786"/>
                  </a:lnTo>
                  <a:lnTo>
                    <a:pt x="252" y="780"/>
                  </a:lnTo>
                  <a:lnTo>
                    <a:pt x="264" y="762"/>
                  </a:lnTo>
                  <a:lnTo>
                    <a:pt x="276" y="762"/>
                  </a:lnTo>
                  <a:lnTo>
                    <a:pt x="288" y="744"/>
                  </a:lnTo>
                  <a:lnTo>
                    <a:pt x="306" y="738"/>
                  </a:lnTo>
                  <a:lnTo>
                    <a:pt x="318" y="732"/>
                  </a:lnTo>
                  <a:lnTo>
                    <a:pt x="324" y="648"/>
                  </a:lnTo>
                  <a:lnTo>
                    <a:pt x="324" y="636"/>
                  </a:lnTo>
                  <a:lnTo>
                    <a:pt x="324" y="630"/>
                  </a:lnTo>
                  <a:lnTo>
                    <a:pt x="330" y="624"/>
                  </a:lnTo>
                  <a:lnTo>
                    <a:pt x="324" y="618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24" y="588"/>
                  </a:lnTo>
                  <a:lnTo>
                    <a:pt x="318" y="576"/>
                  </a:lnTo>
                  <a:lnTo>
                    <a:pt x="318" y="570"/>
                  </a:lnTo>
                  <a:lnTo>
                    <a:pt x="324" y="570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30" y="558"/>
                  </a:lnTo>
                  <a:lnTo>
                    <a:pt x="336" y="558"/>
                  </a:lnTo>
                  <a:lnTo>
                    <a:pt x="342" y="558"/>
                  </a:lnTo>
                  <a:lnTo>
                    <a:pt x="348" y="558"/>
                  </a:lnTo>
                  <a:lnTo>
                    <a:pt x="354" y="564"/>
                  </a:lnTo>
                  <a:lnTo>
                    <a:pt x="360" y="564"/>
                  </a:lnTo>
                  <a:lnTo>
                    <a:pt x="366" y="570"/>
                  </a:lnTo>
                  <a:lnTo>
                    <a:pt x="366" y="576"/>
                  </a:lnTo>
                  <a:lnTo>
                    <a:pt x="372" y="570"/>
                  </a:lnTo>
                  <a:lnTo>
                    <a:pt x="378" y="570"/>
                  </a:lnTo>
                  <a:lnTo>
                    <a:pt x="390" y="570"/>
                  </a:lnTo>
                  <a:lnTo>
                    <a:pt x="402" y="570"/>
                  </a:lnTo>
                  <a:lnTo>
                    <a:pt x="408" y="570"/>
                  </a:lnTo>
                  <a:lnTo>
                    <a:pt x="414" y="564"/>
                  </a:lnTo>
                  <a:lnTo>
                    <a:pt x="420" y="564"/>
                  </a:lnTo>
                  <a:lnTo>
                    <a:pt x="420" y="570"/>
                  </a:lnTo>
                  <a:lnTo>
                    <a:pt x="426" y="570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44" y="570"/>
                  </a:lnTo>
                  <a:lnTo>
                    <a:pt x="450" y="564"/>
                  </a:lnTo>
                  <a:lnTo>
                    <a:pt x="474" y="558"/>
                  </a:lnTo>
                  <a:lnTo>
                    <a:pt x="486" y="54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40" y="474"/>
                  </a:lnTo>
                  <a:lnTo>
                    <a:pt x="558" y="456"/>
                  </a:lnTo>
                  <a:lnTo>
                    <a:pt x="582" y="450"/>
                  </a:lnTo>
                  <a:lnTo>
                    <a:pt x="594" y="414"/>
                  </a:lnTo>
                  <a:lnTo>
                    <a:pt x="612" y="390"/>
                  </a:lnTo>
                  <a:lnTo>
                    <a:pt x="636" y="390"/>
                  </a:lnTo>
                  <a:lnTo>
                    <a:pt x="666" y="390"/>
                  </a:lnTo>
                  <a:lnTo>
                    <a:pt x="696" y="390"/>
                  </a:lnTo>
                  <a:lnTo>
                    <a:pt x="726" y="390"/>
                  </a:lnTo>
                  <a:lnTo>
                    <a:pt x="762" y="378"/>
                  </a:lnTo>
                  <a:lnTo>
                    <a:pt x="780" y="366"/>
                  </a:lnTo>
                  <a:lnTo>
                    <a:pt x="780" y="342"/>
                  </a:lnTo>
                  <a:lnTo>
                    <a:pt x="786" y="342"/>
                  </a:lnTo>
                  <a:lnTo>
                    <a:pt x="786" y="336"/>
                  </a:lnTo>
                  <a:lnTo>
                    <a:pt x="786" y="330"/>
                  </a:lnTo>
                  <a:lnTo>
                    <a:pt x="786" y="324"/>
                  </a:lnTo>
                  <a:lnTo>
                    <a:pt x="816" y="318"/>
                  </a:lnTo>
                  <a:lnTo>
                    <a:pt x="834" y="312"/>
                  </a:lnTo>
                  <a:lnTo>
                    <a:pt x="840" y="318"/>
                  </a:lnTo>
                  <a:lnTo>
                    <a:pt x="852" y="318"/>
                  </a:lnTo>
                  <a:lnTo>
                    <a:pt x="858" y="306"/>
                  </a:lnTo>
                  <a:lnTo>
                    <a:pt x="864" y="288"/>
                  </a:lnTo>
                  <a:lnTo>
                    <a:pt x="870" y="282"/>
                  </a:lnTo>
                  <a:lnTo>
                    <a:pt x="876" y="276"/>
                  </a:lnTo>
                  <a:lnTo>
                    <a:pt x="882" y="264"/>
                  </a:lnTo>
                  <a:lnTo>
                    <a:pt x="882" y="258"/>
                  </a:lnTo>
                  <a:lnTo>
                    <a:pt x="888" y="252"/>
                  </a:lnTo>
                  <a:lnTo>
                    <a:pt x="894" y="240"/>
                  </a:lnTo>
                  <a:lnTo>
                    <a:pt x="906" y="228"/>
                  </a:lnTo>
                  <a:lnTo>
                    <a:pt x="912" y="228"/>
                  </a:lnTo>
                  <a:lnTo>
                    <a:pt x="936" y="228"/>
                  </a:lnTo>
                  <a:lnTo>
                    <a:pt x="942" y="222"/>
                  </a:lnTo>
                  <a:lnTo>
                    <a:pt x="948" y="216"/>
                  </a:lnTo>
                  <a:lnTo>
                    <a:pt x="954" y="216"/>
                  </a:lnTo>
                  <a:lnTo>
                    <a:pt x="960" y="216"/>
                  </a:lnTo>
                  <a:lnTo>
                    <a:pt x="966" y="216"/>
                  </a:lnTo>
                  <a:lnTo>
                    <a:pt x="978" y="216"/>
                  </a:lnTo>
                  <a:lnTo>
                    <a:pt x="990" y="222"/>
                  </a:lnTo>
                  <a:lnTo>
                    <a:pt x="996" y="222"/>
                  </a:lnTo>
                  <a:lnTo>
                    <a:pt x="1002" y="228"/>
                  </a:lnTo>
                  <a:lnTo>
                    <a:pt x="1014" y="234"/>
                  </a:lnTo>
                  <a:lnTo>
                    <a:pt x="1020" y="234"/>
                  </a:lnTo>
                  <a:lnTo>
                    <a:pt x="1032" y="240"/>
                  </a:lnTo>
                  <a:lnTo>
                    <a:pt x="1044" y="240"/>
                  </a:lnTo>
                  <a:lnTo>
                    <a:pt x="1050" y="240"/>
                  </a:lnTo>
                  <a:lnTo>
                    <a:pt x="1056" y="246"/>
                  </a:lnTo>
                  <a:lnTo>
                    <a:pt x="1068" y="264"/>
                  </a:lnTo>
                  <a:lnTo>
                    <a:pt x="1086" y="276"/>
                  </a:lnTo>
                  <a:lnTo>
                    <a:pt x="1092" y="276"/>
                  </a:lnTo>
                  <a:lnTo>
                    <a:pt x="1104" y="282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8" y="312"/>
                  </a:lnTo>
                  <a:lnTo>
                    <a:pt x="1152" y="324"/>
                  </a:lnTo>
                  <a:lnTo>
                    <a:pt x="1188" y="324"/>
                  </a:lnTo>
                  <a:lnTo>
                    <a:pt x="1206" y="318"/>
                  </a:lnTo>
                  <a:lnTo>
                    <a:pt x="1200" y="294"/>
                  </a:lnTo>
                  <a:lnTo>
                    <a:pt x="1206" y="252"/>
                  </a:lnTo>
                  <a:lnTo>
                    <a:pt x="1218" y="222"/>
                  </a:lnTo>
                  <a:lnTo>
                    <a:pt x="1212" y="222"/>
                  </a:lnTo>
                  <a:lnTo>
                    <a:pt x="1212" y="216"/>
                  </a:lnTo>
                  <a:lnTo>
                    <a:pt x="1218" y="204"/>
                  </a:lnTo>
                  <a:lnTo>
                    <a:pt x="1224" y="198"/>
                  </a:lnTo>
                  <a:lnTo>
                    <a:pt x="1224" y="192"/>
                  </a:lnTo>
                  <a:lnTo>
                    <a:pt x="1236" y="180"/>
                  </a:lnTo>
                  <a:lnTo>
                    <a:pt x="1254" y="156"/>
                  </a:lnTo>
                  <a:lnTo>
                    <a:pt x="1260" y="150"/>
                  </a:lnTo>
                  <a:lnTo>
                    <a:pt x="1260" y="144"/>
                  </a:lnTo>
                  <a:lnTo>
                    <a:pt x="1266" y="138"/>
                  </a:lnTo>
                  <a:lnTo>
                    <a:pt x="1272" y="138"/>
                  </a:lnTo>
                  <a:lnTo>
                    <a:pt x="1272" y="120"/>
                  </a:lnTo>
                  <a:lnTo>
                    <a:pt x="1278" y="114"/>
                  </a:lnTo>
                  <a:lnTo>
                    <a:pt x="1278" y="108"/>
                  </a:lnTo>
                  <a:lnTo>
                    <a:pt x="1278" y="102"/>
                  </a:lnTo>
                  <a:lnTo>
                    <a:pt x="1278" y="90"/>
                  </a:lnTo>
                  <a:lnTo>
                    <a:pt x="1278" y="84"/>
                  </a:lnTo>
                  <a:lnTo>
                    <a:pt x="1278" y="78"/>
                  </a:lnTo>
                  <a:lnTo>
                    <a:pt x="1278" y="72"/>
                  </a:lnTo>
                  <a:lnTo>
                    <a:pt x="1278" y="60"/>
                  </a:lnTo>
                  <a:lnTo>
                    <a:pt x="1284" y="48"/>
                  </a:lnTo>
                  <a:lnTo>
                    <a:pt x="1284" y="24"/>
                  </a:lnTo>
                  <a:lnTo>
                    <a:pt x="1284" y="18"/>
                  </a:lnTo>
                  <a:lnTo>
                    <a:pt x="1308" y="24"/>
                  </a:lnTo>
                  <a:lnTo>
                    <a:pt x="1332" y="30"/>
                  </a:lnTo>
                  <a:lnTo>
                    <a:pt x="1368" y="30"/>
                  </a:lnTo>
                  <a:lnTo>
                    <a:pt x="1392" y="24"/>
                  </a:lnTo>
                  <a:lnTo>
                    <a:pt x="1410" y="18"/>
                  </a:lnTo>
                  <a:lnTo>
                    <a:pt x="1416" y="6"/>
                  </a:lnTo>
                  <a:lnTo>
                    <a:pt x="1500" y="6"/>
                  </a:lnTo>
                  <a:lnTo>
                    <a:pt x="1506" y="0"/>
                  </a:lnTo>
                  <a:lnTo>
                    <a:pt x="1506" y="6"/>
                  </a:lnTo>
                  <a:lnTo>
                    <a:pt x="1506" y="18"/>
                  </a:lnTo>
                  <a:lnTo>
                    <a:pt x="1506" y="24"/>
                  </a:lnTo>
                  <a:lnTo>
                    <a:pt x="1500" y="30"/>
                  </a:lnTo>
                  <a:lnTo>
                    <a:pt x="1500" y="42"/>
                  </a:lnTo>
                  <a:lnTo>
                    <a:pt x="1494" y="54"/>
                  </a:lnTo>
                  <a:lnTo>
                    <a:pt x="1488" y="60"/>
                  </a:lnTo>
                  <a:lnTo>
                    <a:pt x="1482" y="60"/>
                  </a:lnTo>
                  <a:lnTo>
                    <a:pt x="1476" y="66"/>
                  </a:lnTo>
                  <a:lnTo>
                    <a:pt x="1476" y="72"/>
                  </a:lnTo>
                  <a:lnTo>
                    <a:pt x="1476" y="78"/>
                  </a:lnTo>
                  <a:lnTo>
                    <a:pt x="1470" y="78"/>
                  </a:lnTo>
                  <a:lnTo>
                    <a:pt x="1464" y="90"/>
                  </a:lnTo>
                  <a:lnTo>
                    <a:pt x="1458" y="96"/>
                  </a:lnTo>
                  <a:lnTo>
                    <a:pt x="1458" y="102"/>
                  </a:lnTo>
                  <a:lnTo>
                    <a:pt x="1452" y="120"/>
                  </a:lnTo>
                  <a:lnTo>
                    <a:pt x="1452" y="132"/>
                  </a:lnTo>
                  <a:lnTo>
                    <a:pt x="1446" y="144"/>
                  </a:lnTo>
                  <a:lnTo>
                    <a:pt x="1446" y="150"/>
                  </a:lnTo>
                  <a:lnTo>
                    <a:pt x="1440" y="150"/>
                  </a:lnTo>
                  <a:lnTo>
                    <a:pt x="1434" y="156"/>
                  </a:lnTo>
                  <a:lnTo>
                    <a:pt x="1428" y="168"/>
                  </a:lnTo>
                  <a:lnTo>
                    <a:pt x="1422" y="168"/>
                  </a:lnTo>
                  <a:lnTo>
                    <a:pt x="1416" y="174"/>
                  </a:lnTo>
                  <a:lnTo>
                    <a:pt x="1410" y="186"/>
                  </a:lnTo>
                  <a:lnTo>
                    <a:pt x="1410" y="204"/>
                  </a:lnTo>
                  <a:lnTo>
                    <a:pt x="1404" y="210"/>
                  </a:lnTo>
                  <a:lnTo>
                    <a:pt x="1404" y="216"/>
                  </a:lnTo>
                  <a:lnTo>
                    <a:pt x="1410" y="228"/>
                  </a:lnTo>
                  <a:lnTo>
                    <a:pt x="1410" y="234"/>
                  </a:lnTo>
                  <a:lnTo>
                    <a:pt x="1410" y="240"/>
                  </a:lnTo>
                  <a:lnTo>
                    <a:pt x="1416" y="252"/>
                  </a:lnTo>
                  <a:lnTo>
                    <a:pt x="1416" y="258"/>
                  </a:lnTo>
                  <a:lnTo>
                    <a:pt x="1422" y="264"/>
                  </a:lnTo>
                  <a:lnTo>
                    <a:pt x="1422" y="270"/>
                  </a:lnTo>
                  <a:lnTo>
                    <a:pt x="1422" y="282"/>
                  </a:lnTo>
                  <a:lnTo>
                    <a:pt x="1416" y="288"/>
                  </a:lnTo>
                  <a:lnTo>
                    <a:pt x="1410" y="294"/>
                  </a:lnTo>
                  <a:lnTo>
                    <a:pt x="1404" y="300"/>
                  </a:lnTo>
                  <a:lnTo>
                    <a:pt x="1404" y="306"/>
                  </a:lnTo>
                  <a:lnTo>
                    <a:pt x="1398" y="324"/>
                  </a:lnTo>
                  <a:lnTo>
                    <a:pt x="1404" y="330"/>
                  </a:lnTo>
                  <a:lnTo>
                    <a:pt x="1404" y="342"/>
                  </a:lnTo>
                  <a:lnTo>
                    <a:pt x="1392" y="354"/>
                  </a:lnTo>
                  <a:lnTo>
                    <a:pt x="1392" y="360"/>
                  </a:lnTo>
                  <a:lnTo>
                    <a:pt x="1392" y="372"/>
                  </a:lnTo>
                  <a:lnTo>
                    <a:pt x="1392" y="384"/>
                  </a:lnTo>
                  <a:lnTo>
                    <a:pt x="1392" y="396"/>
                  </a:lnTo>
                  <a:lnTo>
                    <a:pt x="1392" y="408"/>
                  </a:lnTo>
                  <a:lnTo>
                    <a:pt x="1386" y="414"/>
                  </a:lnTo>
                  <a:lnTo>
                    <a:pt x="1380" y="420"/>
                  </a:lnTo>
                  <a:lnTo>
                    <a:pt x="1380" y="426"/>
                  </a:lnTo>
                  <a:lnTo>
                    <a:pt x="1368" y="432"/>
                  </a:lnTo>
                  <a:lnTo>
                    <a:pt x="1362" y="444"/>
                  </a:lnTo>
                  <a:lnTo>
                    <a:pt x="1362" y="450"/>
                  </a:lnTo>
                  <a:lnTo>
                    <a:pt x="1362" y="462"/>
                  </a:lnTo>
                  <a:lnTo>
                    <a:pt x="1362" y="468"/>
                  </a:lnTo>
                  <a:lnTo>
                    <a:pt x="1362" y="474"/>
                  </a:lnTo>
                  <a:lnTo>
                    <a:pt x="1356" y="474"/>
                  </a:lnTo>
                  <a:lnTo>
                    <a:pt x="1350" y="480"/>
                  </a:lnTo>
                  <a:lnTo>
                    <a:pt x="1344" y="486"/>
                  </a:lnTo>
                  <a:lnTo>
                    <a:pt x="1338" y="498"/>
                  </a:lnTo>
                  <a:lnTo>
                    <a:pt x="1332" y="510"/>
                  </a:lnTo>
                  <a:lnTo>
                    <a:pt x="1320" y="510"/>
                  </a:lnTo>
                  <a:lnTo>
                    <a:pt x="1314" y="516"/>
                  </a:lnTo>
                  <a:lnTo>
                    <a:pt x="1302" y="522"/>
                  </a:lnTo>
                  <a:lnTo>
                    <a:pt x="1296" y="522"/>
                  </a:lnTo>
                  <a:lnTo>
                    <a:pt x="1284" y="516"/>
                  </a:lnTo>
                  <a:lnTo>
                    <a:pt x="1278" y="516"/>
                  </a:lnTo>
                  <a:lnTo>
                    <a:pt x="1272" y="522"/>
                  </a:lnTo>
                  <a:lnTo>
                    <a:pt x="1266" y="522"/>
                  </a:lnTo>
                  <a:lnTo>
                    <a:pt x="1266" y="528"/>
                  </a:lnTo>
                  <a:lnTo>
                    <a:pt x="1254" y="540"/>
                  </a:lnTo>
                  <a:lnTo>
                    <a:pt x="1248" y="546"/>
                  </a:lnTo>
                  <a:lnTo>
                    <a:pt x="1242" y="558"/>
                  </a:lnTo>
                  <a:lnTo>
                    <a:pt x="1230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30" y="594"/>
                  </a:lnTo>
                  <a:lnTo>
                    <a:pt x="1230" y="600"/>
                  </a:lnTo>
                  <a:lnTo>
                    <a:pt x="1236" y="606"/>
                  </a:lnTo>
                  <a:lnTo>
                    <a:pt x="1242" y="606"/>
                  </a:lnTo>
                  <a:lnTo>
                    <a:pt x="1242" y="612"/>
                  </a:lnTo>
                  <a:lnTo>
                    <a:pt x="1242" y="618"/>
                  </a:lnTo>
                  <a:lnTo>
                    <a:pt x="1242" y="624"/>
                  </a:lnTo>
                  <a:lnTo>
                    <a:pt x="1236" y="630"/>
                  </a:lnTo>
                  <a:lnTo>
                    <a:pt x="1230" y="642"/>
                  </a:lnTo>
                  <a:lnTo>
                    <a:pt x="1230" y="648"/>
                  </a:lnTo>
                  <a:lnTo>
                    <a:pt x="1218" y="654"/>
                  </a:lnTo>
                  <a:lnTo>
                    <a:pt x="1212" y="654"/>
                  </a:lnTo>
                  <a:lnTo>
                    <a:pt x="1212" y="660"/>
                  </a:lnTo>
                  <a:lnTo>
                    <a:pt x="1212" y="666"/>
                  </a:lnTo>
                  <a:lnTo>
                    <a:pt x="1212" y="672"/>
                  </a:lnTo>
                  <a:lnTo>
                    <a:pt x="1212" y="678"/>
                  </a:lnTo>
                  <a:lnTo>
                    <a:pt x="1218" y="684"/>
                  </a:lnTo>
                  <a:lnTo>
                    <a:pt x="1218" y="690"/>
                  </a:lnTo>
                  <a:lnTo>
                    <a:pt x="1224" y="696"/>
                  </a:lnTo>
                  <a:lnTo>
                    <a:pt x="1230" y="702"/>
                  </a:lnTo>
                  <a:lnTo>
                    <a:pt x="1236" y="696"/>
                  </a:lnTo>
                  <a:lnTo>
                    <a:pt x="1242" y="702"/>
                  </a:lnTo>
                  <a:lnTo>
                    <a:pt x="1248" y="708"/>
                  </a:lnTo>
                  <a:lnTo>
                    <a:pt x="1254" y="714"/>
                  </a:lnTo>
                  <a:lnTo>
                    <a:pt x="1254" y="720"/>
                  </a:lnTo>
                  <a:lnTo>
                    <a:pt x="1260" y="720"/>
                  </a:lnTo>
                  <a:lnTo>
                    <a:pt x="1254" y="732"/>
                  </a:lnTo>
                  <a:lnTo>
                    <a:pt x="1248" y="738"/>
                  </a:lnTo>
                  <a:lnTo>
                    <a:pt x="1242" y="744"/>
                  </a:lnTo>
                  <a:lnTo>
                    <a:pt x="1236" y="750"/>
                  </a:lnTo>
                  <a:lnTo>
                    <a:pt x="1236" y="756"/>
                  </a:lnTo>
                  <a:lnTo>
                    <a:pt x="1236" y="762"/>
                  </a:lnTo>
                  <a:lnTo>
                    <a:pt x="1236" y="768"/>
                  </a:lnTo>
                  <a:lnTo>
                    <a:pt x="1236" y="780"/>
                  </a:lnTo>
                  <a:lnTo>
                    <a:pt x="1230" y="780"/>
                  </a:lnTo>
                  <a:lnTo>
                    <a:pt x="1230" y="786"/>
                  </a:lnTo>
                  <a:lnTo>
                    <a:pt x="1230" y="792"/>
                  </a:lnTo>
                  <a:lnTo>
                    <a:pt x="1230" y="804"/>
                  </a:lnTo>
                  <a:lnTo>
                    <a:pt x="1224" y="810"/>
                  </a:lnTo>
                  <a:lnTo>
                    <a:pt x="1218" y="816"/>
                  </a:lnTo>
                  <a:lnTo>
                    <a:pt x="1224" y="822"/>
                  </a:lnTo>
                  <a:lnTo>
                    <a:pt x="1224" y="828"/>
                  </a:lnTo>
                  <a:lnTo>
                    <a:pt x="1218" y="834"/>
                  </a:lnTo>
                  <a:lnTo>
                    <a:pt x="1224" y="834"/>
                  </a:lnTo>
                  <a:lnTo>
                    <a:pt x="1224" y="840"/>
                  </a:lnTo>
                  <a:lnTo>
                    <a:pt x="1224" y="846"/>
                  </a:lnTo>
                  <a:lnTo>
                    <a:pt x="1224" y="852"/>
                  </a:lnTo>
                  <a:lnTo>
                    <a:pt x="1218" y="858"/>
                  </a:lnTo>
                  <a:lnTo>
                    <a:pt x="1218" y="870"/>
                  </a:lnTo>
                  <a:lnTo>
                    <a:pt x="1212" y="870"/>
                  </a:lnTo>
                  <a:lnTo>
                    <a:pt x="1212" y="876"/>
                  </a:lnTo>
                  <a:lnTo>
                    <a:pt x="1206" y="888"/>
                  </a:lnTo>
                  <a:lnTo>
                    <a:pt x="1200" y="882"/>
                  </a:lnTo>
                  <a:lnTo>
                    <a:pt x="1194" y="888"/>
                  </a:lnTo>
                  <a:lnTo>
                    <a:pt x="1188" y="894"/>
                  </a:lnTo>
                  <a:lnTo>
                    <a:pt x="1182" y="894"/>
                  </a:lnTo>
                  <a:lnTo>
                    <a:pt x="1182" y="900"/>
                  </a:lnTo>
                  <a:lnTo>
                    <a:pt x="1176" y="900"/>
                  </a:lnTo>
                  <a:lnTo>
                    <a:pt x="1170" y="894"/>
                  </a:lnTo>
                  <a:lnTo>
                    <a:pt x="1164" y="900"/>
                  </a:lnTo>
                  <a:lnTo>
                    <a:pt x="1158" y="900"/>
                  </a:lnTo>
                  <a:lnTo>
                    <a:pt x="1152" y="900"/>
                  </a:lnTo>
                  <a:lnTo>
                    <a:pt x="1140" y="900"/>
                  </a:lnTo>
                  <a:lnTo>
                    <a:pt x="1134" y="900"/>
                  </a:lnTo>
                  <a:lnTo>
                    <a:pt x="1128" y="906"/>
                  </a:lnTo>
                  <a:lnTo>
                    <a:pt x="1110" y="906"/>
                  </a:lnTo>
                  <a:lnTo>
                    <a:pt x="1104" y="906"/>
                  </a:lnTo>
                  <a:lnTo>
                    <a:pt x="1098" y="906"/>
                  </a:lnTo>
                  <a:lnTo>
                    <a:pt x="1092" y="912"/>
                  </a:lnTo>
                  <a:lnTo>
                    <a:pt x="1080" y="918"/>
                  </a:lnTo>
                  <a:lnTo>
                    <a:pt x="1068" y="930"/>
                  </a:lnTo>
                  <a:lnTo>
                    <a:pt x="1062" y="930"/>
                  </a:lnTo>
                  <a:lnTo>
                    <a:pt x="1056" y="930"/>
                  </a:lnTo>
                  <a:lnTo>
                    <a:pt x="1050" y="930"/>
                  </a:lnTo>
                  <a:lnTo>
                    <a:pt x="1050" y="936"/>
                  </a:lnTo>
                  <a:lnTo>
                    <a:pt x="1038" y="942"/>
                  </a:lnTo>
                  <a:lnTo>
                    <a:pt x="1032" y="948"/>
                  </a:lnTo>
                  <a:lnTo>
                    <a:pt x="1026" y="954"/>
                  </a:lnTo>
                  <a:lnTo>
                    <a:pt x="1020" y="960"/>
                  </a:lnTo>
                  <a:lnTo>
                    <a:pt x="1014" y="966"/>
                  </a:lnTo>
                  <a:lnTo>
                    <a:pt x="1002" y="966"/>
                  </a:lnTo>
                  <a:lnTo>
                    <a:pt x="990" y="978"/>
                  </a:lnTo>
                  <a:lnTo>
                    <a:pt x="984" y="978"/>
                  </a:lnTo>
                  <a:lnTo>
                    <a:pt x="978" y="984"/>
                  </a:lnTo>
                  <a:lnTo>
                    <a:pt x="972" y="984"/>
                  </a:lnTo>
                  <a:lnTo>
                    <a:pt x="978" y="990"/>
                  </a:lnTo>
                  <a:lnTo>
                    <a:pt x="972" y="996"/>
                  </a:lnTo>
                  <a:lnTo>
                    <a:pt x="978" y="1002"/>
                  </a:lnTo>
                  <a:lnTo>
                    <a:pt x="1002" y="1002"/>
                  </a:lnTo>
                  <a:lnTo>
                    <a:pt x="1002" y="1008"/>
                  </a:lnTo>
                  <a:lnTo>
                    <a:pt x="1008" y="1020"/>
                  </a:lnTo>
                  <a:lnTo>
                    <a:pt x="1002" y="1026"/>
                  </a:lnTo>
                  <a:lnTo>
                    <a:pt x="1002" y="1032"/>
                  </a:lnTo>
                  <a:lnTo>
                    <a:pt x="1002" y="1050"/>
                  </a:lnTo>
                  <a:lnTo>
                    <a:pt x="1002" y="1056"/>
                  </a:lnTo>
                  <a:lnTo>
                    <a:pt x="1008" y="1062"/>
                  </a:lnTo>
                  <a:lnTo>
                    <a:pt x="1008" y="1074"/>
                  </a:lnTo>
                  <a:lnTo>
                    <a:pt x="1008" y="1086"/>
                  </a:lnTo>
                  <a:lnTo>
                    <a:pt x="996" y="1092"/>
                  </a:lnTo>
                  <a:lnTo>
                    <a:pt x="996" y="1098"/>
                  </a:lnTo>
                  <a:lnTo>
                    <a:pt x="996" y="1104"/>
                  </a:lnTo>
                  <a:lnTo>
                    <a:pt x="990" y="1110"/>
                  </a:lnTo>
                  <a:lnTo>
                    <a:pt x="990" y="1116"/>
                  </a:lnTo>
                  <a:lnTo>
                    <a:pt x="996" y="1122"/>
                  </a:lnTo>
                  <a:lnTo>
                    <a:pt x="990" y="1128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96" y="1140"/>
                  </a:lnTo>
                  <a:lnTo>
                    <a:pt x="996" y="1146"/>
                  </a:lnTo>
                  <a:lnTo>
                    <a:pt x="996" y="1152"/>
                  </a:lnTo>
                  <a:lnTo>
                    <a:pt x="996" y="1158"/>
                  </a:lnTo>
                  <a:lnTo>
                    <a:pt x="996" y="1164"/>
                  </a:lnTo>
                  <a:lnTo>
                    <a:pt x="996" y="1170"/>
                  </a:lnTo>
                  <a:lnTo>
                    <a:pt x="996" y="1176"/>
                  </a:lnTo>
                  <a:lnTo>
                    <a:pt x="990" y="1182"/>
                  </a:lnTo>
                  <a:lnTo>
                    <a:pt x="990" y="1188"/>
                  </a:lnTo>
                  <a:lnTo>
                    <a:pt x="984" y="1200"/>
                  </a:lnTo>
                  <a:lnTo>
                    <a:pt x="990" y="1206"/>
                  </a:lnTo>
                  <a:lnTo>
                    <a:pt x="990" y="1212"/>
                  </a:lnTo>
                  <a:lnTo>
                    <a:pt x="990" y="1218"/>
                  </a:lnTo>
                  <a:lnTo>
                    <a:pt x="978" y="1230"/>
                  </a:lnTo>
                  <a:lnTo>
                    <a:pt x="972" y="1236"/>
                  </a:lnTo>
                  <a:lnTo>
                    <a:pt x="972" y="1242"/>
                  </a:lnTo>
                  <a:lnTo>
                    <a:pt x="966" y="1248"/>
                  </a:lnTo>
                  <a:lnTo>
                    <a:pt x="960" y="1260"/>
                  </a:lnTo>
                  <a:lnTo>
                    <a:pt x="954" y="1266"/>
                  </a:lnTo>
                  <a:lnTo>
                    <a:pt x="942" y="1278"/>
                  </a:lnTo>
                  <a:lnTo>
                    <a:pt x="936" y="1278"/>
                  </a:lnTo>
                  <a:lnTo>
                    <a:pt x="936" y="1284"/>
                  </a:lnTo>
                  <a:lnTo>
                    <a:pt x="936" y="1296"/>
                  </a:lnTo>
                  <a:lnTo>
                    <a:pt x="936" y="1302"/>
                  </a:lnTo>
                  <a:lnTo>
                    <a:pt x="942" y="1302"/>
                  </a:lnTo>
                  <a:lnTo>
                    <a:pt x="942" y="1308"/>
                  </a:lnTo>
                  <a:lnTo>
                    <a:pt x="936" y="1314"/>
                  </a:lnTo>
                  <a:lnTo>
                    <a:pt x="930" y="1320"/>
                  </a:lnTo>
                  <a:lnTo>
                    <a:pt x="930" y="1326"/>
                  </a:lnTo>
                  <a:lnTo>
                    <a:pt x="930" y="1332"/>
                  </a:lnTo>
                  <a:lnTo>
                    <a:pt x="936" y="1338"/>
                  </a:lnTo>
                  <a:lnTo>
                    <a:pt x="936" y="1344"/>
                  </a:lnTo>
                  <a:lnTo>
                    <a:pt x="942" y="1356"/>
                  </a:lnTo>
                  <a:lnTo>
                    <a:pt x="948" y="1368"/>
                  </a:lnTo>
                  <a:lnTo>
                    <a:pt x="942" y="1380"/>
                  </a:lnTo>
                  <a:lnTo>
                    <a:pt x="936" y="1386"/>
                  </a:lnTo>
                  <a:lnTo>
                    <a:pt x="930" y="1392"/>
                  </a:lnTo>
                  <a:lnTo>
                    <a:pt x="924" y="1392"/>
                  </a:lnTo>
                  <a:lnTo>
                    <a:pt x="918" y="1386"/>
                  </a:lnTo>
                  <a:lnTo>
                    <a:pt x="912" y="1386"/>
                  </a:lnTo>
                  <a:lnTo>
                    <a:pt x="906" y="1386"/>
                  </a:lnTo>
                  <a:lnTo>
                    <a:pt x="900" y="1386"/>
                  </a:lnTo>
                  <a:lnTo>
                    <a:pt x="900" y="1392"/>
                  </a:lnTo>
                  <a:lnTo>
                    <a:pt x="894" y="1392"/>
                  </a:lnTo>
                  <a:lnTo>
                    <a:pt x="888" y="1392"/>
                  </a:lnTo>
                  <a:lnTo>
                    <a:pt x="888" y="1398"/>
                  </a:lnTo>
                  <a:lnTo>
                    <a:pt x="882" y="1404"/>
                  </a:lnTo>
                  <a:lnTo>
                    <a:pt x="882" y="1416"/>
                  </a:lnTo>
                  <a:lnTo>
                    <a:pt x="882" y="1428"/>
                  </a:lnTo>
                  <a:lnTo>
                    <a:pt x="882" y="1434"/>
                  </a:lnTo>
                  <a:lnTo>
                    <a:pt x="870" y="1440"/>
                  </a:lnTo>
                  <a:lnTo>
                    <a:pt x="864" y="1452"/>
                  </a:lnTo>
                  <a:lnTo>
                    <a:pt x="870" y="1452"/>
                  </a:lnTo>
                  <a:lnTo>
                    <a:pt x="864" y="1458"/>
                  </a:lnTo>
                  <a:lnTo>
                    <a:pt x="858" y="1464"/>
                  </a:lnTo>
                  <a:lnTo>
                    <a:pt x="852" y="1464"/>
                  </a:lnTo>
                  <a:lnTo>
                    <a:pt x="846" y="1458"/>
                  </a:lnTo>
                  <a:lnTo>
                    <a:pt x="840" y="1458"/>
                  </a:lnTo>
                  <a:lnTo>
                    <a:pt x="828" y="1470"/>
                  </a:lnTo>
                  <a:lnTo>
                    <a:pt x="810" y="1482"/>
                  </a:lnTo>
                  <a:lnTo>
                    <a:pt x="804" y="1488"/>
                  </a:lnTo>
                  <a:lnTo>
                    <a:pt x="798" y="1488"/>
                  </a:lnTo>
                  <a:lnTo>
                    <a:pt x="792" y="1488"/>
                  </a:lnTo>
                  <a:lnTo>
                    <a:pt x="786" y="1488"/>
                  </a:lnTo>
                  <a:lnTo>
                    <a:pt x="768" y="1482"/>
                  </a:lnTo>
                  <a:lnTo>
                    <a:pt x="762" y="1476"/>
                  </a:lnTo>
                  <a:lnTo>
                    <a:pt x="744" y="1476"/>
                  </a:lnTo>
                  <a:lnTo>
                    <a:pt x="738" y="1476"/>
                  </a:lnTo>
                  <a:lnTo>
                    <a:pt x="732" y="1476"/>
                  </a:lnTo>
                  <a:lnTo>
                    <a:pt x="726" y="1482"/>
                  </a:lnTo>
                  <a:lnTo>
                    <a:pt x="726" y="1488"/>
                  </a:lnTo>
                  <a:lnTo>
                    <a:pt x="726" y="1494"/>
                  </a:lnTo>
                  <a:lnTo>
                    <a:pt x="726" y="1500"/>
                  </a:lnTo>
                  <a:lnTo>
                    <a:pt x="720" y="1500"/>
                  </a:lnTo>
                  <a:lnTo>
                    <a:pt x="720" y="1506"/>
                  </a:lnTo>
                  <a:lnTo>
                    <a:pt x="714" y="1512"/>
                  </a:lnTo>
                  <a:lnTo>
                    <a:pt x="714" y="1518"/>
                  </a:lnTo>
                  <a:lnTo>
                    <a:pt x="708" y="1518"/>
                  </a:lnTo>
                  <a:lnTo>
                    <a:pt x="708" y="1530"/>
                  </a:lnTo>
                  <a:lnTo>
                    <a:pt x="708" y="1536"/>
                  </a:lnTo>
                  <a:lnTo>
                    <a:pt x="708" y="1542"/>
                  </a:lnTo>
                  <a:lnTo>
                    <a:pt x="696" y="1554"/>
                  </a:lnTo>
                  <a:lnTo>
                    <a:pt x="690" y="1560"/>
                  </a:lnTo>
                  <a:lnTo>
                    <a:pt x="684" y="1566"/>
                  </a:lnTo>
                  <a:lnTo>
                    <a:pt x="672" y="1566"/>
                  </a:lnTo>
                  <a:lnTo>
                    <a:pt x="666" y="1566"/>
                  </a:lnTo>
                  <a:lnTo>
                    <a:pt x="660" y="1566"/>
                  </a:lnTo>
                  <a:lnTo>
                    <a:pt x="654" y="1572"/>
                  </a:lnTo>
                  <a:lnTo>
                    <a:pt x="654" y="1578"/>
                  </a:lnTo>
                  <a:lnTo>
                    <a:pt x="642" y="1578"/>
                  </a:lnTo>
                  <a:lnTo>
                    <a:pt x="630" y="1572"/>
                  </a:lnTo>
                  <a:lnTo>
                    <a:pt x="624" y="1572"/>
                  </a:lnTo>
                  <a:lnTo>
                    <a:pt x="618" y="1578"/>
                  </a:lnTo>
                  <a:lnTo>
                    <a:pt x="612" y="1584"/>
                  </a:lnTo>
                  <a:lnTo>
                    <a:pt x="606" y="1584"/>
                  </a:lnTo>
                  <a:lnTo>
                    <a:pt x="600" y="1590"/>
                  </a:lnTo>
                  <a:lnTo>
                    <a:pt x="594" y="1590"/>
                  </a:lnTo>
                  <a:lnTo>
                    <a:pt x="588" y="1590"/>
                  </a:lnTo>
                  <a:lnTo>
                    <a:pt x="582" y="1590"/>
                  </a:lnTo>
                  <a:lnTo>
                    <a:pt x="582" y="1596"/>
                  </a:lnTo>
                  <a:lnTo>
                    <a:pt x="576" y="1614"/>
                  </a:lnTo>
                  <a:lnTo>
                    <a:pt x="570" y="1632"/>
                  </a:lnTo>
                  <a:lnTo>
                    <a:pt x="570" y="1638"/>
                  </a:lnTo>
                  <a:lnTo>
                    <a:pt x="576" y="1644"/>
                  </a:lnTo>
                  <a:lnTo>
                    <a:pt x="576" y="1650"/>
                  </a:lnTo>
                  <a:lnTo>
                    <a:pt x="582" y="1662"/>
                  </a:lnTo>
                  <a:lnTo>
                    <a:pt x="582" y="1668"/>
                  </a:lnTo>
                  <a:lnTo>
                    <a:pt x="588" y="1692"/>
                  </a:lnTo>
                  <a:lnTo>
                    <a:pt x="594" y="1728"/>
                  </a:lnTo>
                  <a:lnTo>
                    <a:pt x="594" y="1752"/>
                  </a:lnTo>
                  <a:lnTo>
                    <a:pt x="594" y="1764"/>
                  </a:lnTo>
                  <a:lnTo>
                    <a:pt x="582" y="1770"/>
                  </a:lnTo>
                  <a:lnTo>
                    <a:pt x="582" y="1782"/>
                  </a:lnTo>
                  <a:lnTo>
                    <a:pt x="576" y="1788"/>
                  </a:lnTo>
                  <a:lnTo>
                    <a:pt x="570" y="1794"/>
                  </a:lnTo>
                  <a:lnTo>
                    <a:pt x="564" y="1806"/>
                  </a:lnTo>
                  <a:lnTo>
                    <a:pt x="564" y="1812"/>
                  </a:lnTo>
                  <a:lnTo>
                    <a:pt x="558" y="1812"/>
                  </a:lnTo>
                  <a:lnTo>
                    <a:pt x="564" y="1824"/>
                  </a:lnTo>
                  <a:lnTo>
                    <a:pt x="564" y="1830"/>
                  </a:lnTo>
                  <a:lnTo>
                    <a:pt x="564" y="1842"/>
                  </a:lnTo>
                  <a:lnTo>
                    <a:pt x="564" y="1848"/>
                  </a:lnTo>
                  <a:lnTo>
                    <a:pt x="564" y="1854"/>
                  </a:lnTo>
                  <a:lnTo>
                    <a:pt x="570" y="1860"/>
                  </a:lnTo>
                  <a:lnTo>
                    <a:pt x="570" y="1866"/>
                  </a:lnTo>
                  <a:lnTo>
                    <a:pt x="570" y="1872"/>
                  </a:lnTo>
                  <a:lnTo>
                    <a:pt x="570" y="1878"/>
                  </a:lnTo>
                  <a:lnTo>
                    <a:pt x="564" y="1890"/>
                  </a:lnTo>
                  <a:lnTo>
                    <a:pt x="558" y="1896"/>
                  </a:lnTo>
                  <a:lnTo>
                    <a:pt x="552" y="1908"/>
                  </a:lnTo>
                  <a:lnTo>
                    <a:pt x="546" y="1914"/>
                  </a:lnTo>
                  <a:lnTo>
                    <a:pt x="540" y="1920"/>
                  </a:lnTo>
                  <a:lnTo>
                    <a:pt x="534" y="1932"/>
                  </a:lnTo>
                  <a:lnTo>
                    <a:pt x="528" y="1944"/>
                  </a:lnTo>
                  <a:lnTo>
                    <a:pt x="516" y="1950"/>
                  </a:lnTo>
                  <a:lnTo>
                    <a:pt x="510" y="1956"/>
                  </a:lnTo>
                  <a:lnTo>
                    <a:pt x="498" y="1962"/>
                  </a:lnTo>
                  <a:lnTo>
                    <a:pt x="492" y="1974"/>
                  </a:lnTo>
                  <a:lnTo>
                    <a:pt x="486" y="1980"/>
                  </a:lnTo>
                  <a:lnTo>
                    <a:pt x="480" y="1998"/>
                  </a:lnTo>
                  <a:lnTo>
                    <a:pt x="474" y="2004"/>
                  </a:lnTo>
                  <a:lnTo>
                    <a:pt x="474" y="2010"/>
                  </a:lnTo>
                  <a:lnTo>
                    <a:pt x="474" y="2016"/>
                  </a:lnTo>
                  <a:lnTo>
                    <a:pt x="468" y="2016"/>
                  </a:lnTo>
                  <a:lnTo>
                    <a:pt x="468" y="2028"/>
                  </a:lnTo>
                  <a:lnTo>
                    <a:pt x="462" y="2034"/>
                  </a:lnTo>
                  <a:lnTo>
                    <a:pt x="456" y="2040"/>
                  </a:lnTo>
                  <a:lnTo>
                    <a:pt x="456" y="2052"/>
                  </a:lnTo>
                  <a:lnTo>
                    <a:pt x="450" y="2058"/>
                  </a:lnTo>
                  <a:lnTo>
                    <a:pt x="450" y="2070"/>
                  </a:lnTo>
                  <a:lnTo>
                    <a:pt x="450" y="2076"/>
                  </a:lnTo>
                  <a:lnTo>
                    <a:pt x="450" y="2082"/>
                  </a:lnTo>
                  <a:lnTo>
                    <a:pt x="444" y="2088"/>
                  </a:lnTo>
                  <a:lnTo>
                    <a:pt x="438" y="2094"/>
                  </a:lnTo>
                  <a:lnTo>
                    <a:pt x="444" y="2100"/>
                  </a:lnTo>
                  <a:lnTo>
                    <a:pt x="444" y="2124"/>
                  </a:lnTo>
                  <a:lnTo>
                    <a:pt x="444" y="2142"/>
                  </a:lnTo>
                  <a:lnTo>
                    <a:pt x="444" y="2160"/>
                  </a:lnTo>
                  <a:lnTo>
                    <a:pt x="450" y="2166"/>
                  </a:lnTo>
                  <a:lnTo>
                    <a:pt x="456" y="2178"/>
                  </a:lnTo>
                  <a:lnTo>
                    <a:pt x="438" y="2184"/>
                  </a:lnTo>
                  <a:lnTo>
                    <a:pt x="432" y="2184"/>
                  </a:lnTo>
                  <a:lnTo>
                    <a:pt x="426" y="2190"/>
                  </a:lnTo>
                  <a:lnTo>
                    <a:pt x="408" y="2190"/>
                  </a:lnTo>
                  <a:lnTo>
                    <a:pt x="402" y="2196"/>
                  </a:lnTo>
                  <a:lnTo>
                    <a:pt x="396" y="2196"/>
                  </a:lnTo>
                  <a:lnTo>
                    <a:pt x="384" y="2208"/>
                  </a:lnTo>
                  <a:lnTo>
                    <a:pt x="378" y="2220"/>
                  </a:lnTo>
                  <a:lnTo>
                    <a:pt x="366" y="2232"/>
                  </a:lnTo>
                  <a:lnTo>
                    <a:pt x="366" y="2238"/>
                  </a:lnTo>
                  <a:lnTo>
                    <a:pt x="360" y="2238"/>
                  </a:lnTo>
                  <a:lnTo>
                    <a:pt x="360" y="2244"/>
                  </a:lnTo>
                  <a:lnTo>
                    <a:pt x="354" y="2244"/>
                  </a:lnTo>
                  <a:lnTo>
                    <a:pt x="330" y="227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5" name="Freeform 10">
              <a:extLst>
                <a:ext uri="{FF2B5EF4-FFF2-40B4-BE49-F238E27FC236}">
                  <a16:creationId xmlns:a16="http://schemas.microsoft.com/office/drawing/2014/main" id="{3AD2FC58-3490-4B7F-A8BE-621F3CDD69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1996" y="1931890"/>
              <a:ext cx="805029" cy="1037736"/>
            </a:xfrm>
            <a:custGeom>
              <a:avLst/>
              <a:gdLst>
                <a:gd name="T0" fmla="*/ 124 w 1512"/>
                <a:gd name="T1" fmla="*/ 76 h 1956"/>
                <a:gd name="T2" fmla="*/ 120 w 1512"/>
                <a:gd name="T3" fmla="*/ 80 h 1956"/>
                <a:gd name="T4" fmla="*/ 106 w 1512"/>
                <a:gd name="T5" fmla="*/ 84 h 1956"/>
                <a:gd name="T6" fmla="*/ 105 w 1512"/>
                <a:gd name="T7" fmla="*/ 91 h 1956"/>
                <a:gd name="T8" fmla="*/ 101 w 1512"/>
                <a:gd name="T9" fmla="*/ 99 h 1956"/>
                <a:gd name="T10" fmla="*/ 105 w 1512"/>
                <a:gd name="T11" fmla="*/ 107 h 1956"/>
                <a:gd name="T12" fmla="*/ 119 w 1512"/>
                <a:gd name="T13" fmla="*/ 116 h 1956"/>
                <a:gd name="T14" fmla="*/ 121 w 1512"/>
                <a:gd name="T15" fmla="*/ 128 h 1956"/>
                <a:gd name="T16" fmla="*/ 112 w 1512"/>
                <a:gd name="T17" fmla="*/ 136 h 1956"/>
                <a:gd name="T18" fmla="*/ 119 w 1512"/>
                <a:gd name="T19" fmla="*/ 143 h 1956"/>
                <a:gd name="T20" fmla="*/ 126 w 1512"/>
                <a:gd name="T21" fmla="*/ 148 h 1956"/>
                <a:gd name="T22" fmla="*/ 126 w 1512"/>
                <a:gd name="T23" fmla="*/ 160 h 1956"/>
                <a:gd name="T24" fmla="*/ 104 w 1512"/>
                <a:gd name="T25" fmla="*/ 170 h 1956"/>
                <a:gd name="T26" fmla="*/ 99 w 1512"/>
                <a:gd name="T27" fmla="*/ 164 h 1956"/>
                <a:gd name="T28" fmla="*/ 73 w 1512"/>
                <a:gd name="T29" fmla="*/ 152 h 1956"/>
                <a:gd name="T30" fmla="*/ 56 w 1512"/>
                <a:gd name="T31" fmla="*/ 165 h 1956"/>
                <a:gd name="T32" fmla="*/ 33 w 1512"/>
                <a:gd name="T33" fmla="*/ 162 h 1956"/>
                <a:gd name="T34" fmla="*/ 25 w 1512"/>
                <a:gd name="T35" fmla="*/ 155 h 1956"/>
                <a:gd name="T36" fmla="*/ 31 w 1512"/>
                <a:gd name="T37" fmla="*/ 142 h 1956"/>
                <a:gd name="T38" fmla="*/ 24 w 1512"/>
                <a:gd name="T39" fmla="*/ 137 h 1956"/>
                <a:gd name="T40" fmla="*/ 14 w 1512"/>
                <a:gd name="T41" fmla="*/ 136 h 1956"/>
                <a:gd name="T42" fmla="*/ 11 w 1512"/>
                <a:gd name="T43" fmla="*/ 125 h 1956"/>
                <a:gd name="T44" fmla="*/ 3 w 1512"/>
                <a:gd name="T45" fmla="*/ 116 h 1956"/>
                <a:gd name="T46" fmla="*/ 2 w 1512"/>
                <a:gd name="T47" fmla="*/ 106 h 1956"/>
                <a:gd name="T48" fmla="*/ 5 w 1512"/>
                <a:gd name="T49" fmla="*/ 101 h 1956"/>
                <a:gd name="T50" fmla="*/ 2 w 1512"/>
                <a:gd name="T51" fmla="*/ 95 h 1956"/>
                <a:gd name="T52" fmla="*/ 1 w 1512"/>
                <a:gd name="T53" fmla="*/ 88 h 1956"/>
                <a:gd name="T54" fmla="*/ 4 w 1512"/>
                <a:gd name="T55" fmla="*/ 80 h 1956"/>
                <a:gd name="T56" fmla="*/ 12 w 1512"/>
                <a:gd name="T57" fmla="*/ 73 h 1956"/>
                <a:gd name="T58" fmla="*/ 16 w 1512"/>
                <a:gd name="T59" fmla="*/ 68 h 1956"/>
                <a:gd name="T60" fmla="*/ 22 w 1512"/>
                <a:gd name="T61" fmla="*/ 66 h 1956"/>
                <a:gd name="T62" fmla="*/ 32 w 1512"/>
                <a:gd name="T63" fmla="*/ 65 h 1956"/>
                <a:gd name="T64" fmla="*/ 45 w 1512"/>
                <a:gd name="T65" fmla="*/ 66 h 1956"/>
                <a:gd name="T66" fmla="*/ 50 w 1512"/>
                <a:gd name="T67" fmla="*/ 70 h 1956"/>
                <a:gd name="T68" fmla="*/ 55 w 1512"/>
                <a:gd name="T69" fmla="*/ 70 h 1956"/>
                <a:gd name="T70" fmla="*/ 63 w 1512"/>
                <a:gd name="T71" fmla="*/ 71 h 1956"/>
                <a:gd name="T72" fmla="*/ 61 w 1512"/>
                <a:gd name="T73" fmla="*/ 75 h 1956"/>
                <a:gd name="T74" fmla="*/ 66 w 1512"/>
                <a:gd name="T75" fmla="*/ 84 h 1956"/>
                <a:gd name="T76" fmla="*/ 81 w 1512"/>
                <a:gd name="T77" fmla="*/ 85 h 1956"/>
                <a:gd name="T78" fmla="*/ 83 w 1512"/>
                <a:gd name="T79" fmla="*/ 79 h 1956"/>
                <a:gd name="T80" fmla="*/ 89 w 1512"/>
                <a:gd name="T81" fmla="*/ 77 h 1956"/>
                <a:gd name="T82" fmla="*/ 89 w 1512"/>
                <a:gd name="T83" fmla="*/ 73 h 1956"/>
                <a:gd name="T84" fmla="*/ 83 w 1512"/>
                <a:gd name="T85" fmla="*/ 72 h 1956"/>
                <a:gd name="T86" fmla="*/ 77 w 1512"/>
                <a:gd name="T87" fmla="*/ 70 h 1956"/>
                <a:gd name="T88" fmla="*/ 71 w 1512"/>
                <a:gd name="T89" fmla="*/ 70 h 1956"/>
                <a:gd name="T90" fmla="*/ 59 w 1512"/>
                <a:gd name="T91" fmla="*/ 58 h 1956"/>
                <a:gd name="T92" fmla="*/ 54 w 1512"/>
                <a:gd name="T93" fmla="*/ 45 h 1956"/>
                <a:gd name="T94" fmla="*/ 49 w 1512"/>
                <a:gd name="T95" fmla="*/ 42 h 1956"/>
                <a:gd name="T96" fmla="*/ 51 w 1512"/>
                <a:gd name="T97" fmla="*/ 39 h 1956"/>
                <a:gd name="T98" fmla="*/ 55 w 1512"/>
                <a:gd name="T99" fmla="*/ 36 h 1956"/>
                <a:gd name="T100" fmla="*/ 63 w 1512"/>
                <a:gd name="T101" fmla="*/ 34 h 1956"/>
                <a:gd name="T102" fmla="*/ 68 w 1512"/>
                <a:gd name="T103" fmla="*/ 32 h 1956"/>
                <a:gd name="T104" fmla="*/ 73 w 1512"/>
                <a:gd name="T105" fmla="*/ 29 h 1956"/>
                <a:gd name="T106" fmla="*/ 78 w 1512"/>
                <a:gd name="T107" fmla="*/ 27 h 1956"/>
                <a:gd name="T108" fmla="*/ 81 w 1512"/>
                <a:gd name="T109" fmla="*/ 17 h 1956"/>
                <a:gd name="T110" fmla="*/ 84 w 1512"/>
                <a:gd name="T111" fmla="*/ 6 h 1956"/>
                <a:gd name="T112" fmla="*/ 95 w 1512"/>
                <a:gd name="T113" fmla="*/ 6 h 1956"/>
                <a:gd name="T114" fmla="*/ 99 w 1512"/>
                <a:gd name="T115" fmla="*/ 3 h 1956"/>
                <a:gd name="T116" fmla="*/ 103 w 1512"/>
                <a:gd name="T117" fmla="*/ 0 h 1956"/>
                <a:gd name="T118" fmla="*/ 110 w 1512"/>
                <a:gd name="T119" fmla="*/ 4 h 1956"/>
                <a:gd name="T120" fmla="*/ 114 w 1512"/>
                <a:gd name="T121" fmla="*/ 33 h 1956"/>
                <a:gd name="T122" fmla="*/ 117 w 1512"/>
                <a:gd name="T123" fmla="*/ 41 h 1956"/>
                <a:gd name="T124" fmla="*/ 119 w 1512"/>
                <a:gd name="T125" fmla="*/ 62 h 195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12"/>
                <a:gd name="T190" fmla="*/ 0 h 1956"/>
                <a:gd name="T191" fmla="*/ 1512 w 1512"/>
                <a:gd name="T192" fmla="*/ 1956 h 195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12" h="1956">
                  <a:moveTo>
                    <a:pt x="1512" y="780"/>
                  </a:moveTo>
                  <a:lnTo>
                    <a:pt x="1482" y="786"/>
                  </a:lnTo>
                  <a:lnTo>
                    <a:pt x="1476" y="792"/>
                  </a:lnTo>
                  <a:lnTo>
                    <a:pt x="1476" y="798"/>
                  </a:lnTo>
                  <a:lnTo>
                    <a:pt x="1476" y="804"/>
                  </a:lnTo>
                  <a:lnTo>
                    <a:pt x="1476" y="816"/>
                  </a:lnTo>
                  <a:lnTo>
                    <a:pt x="1470" y="834"/>
                  </a:lnTo>
                  <a:lnTo>
                    <a:pt x="1464" y="840"/>
                  </a:lnTo>
                  <a:lnTo>
                    <a:pt x="1452" y="852"/>
                  </a:lnTo>
                  <a:lnTo>
                    <a:pt x="1440" y="864"/>
                  </a:lnTo>
                  <a:lnTo>
                    <a:pt x="1434" y="864"/>
                  </a:lnTo>
                  <a:lnTo>
                    <a:pt x="1434" y="870"/>
                  </a:lnTo>
                  <a:lnTo>
                    <a:pt x="1422" y="876"/>
                  </a:lnTo>
                  <a:lnTo>
                    <a:pt x="1410" y="894"/>
                  </a:lnTo>
                  <a:lnTo>
                    <a:pt x="1404" y="894"/>
                  </a:lnTo>
                  <a:lnTo>
                    <a:pt x="1404" y="900"/>
                  </a:lnTo>
                  <a:lnTo>
                    <a:pt x="1404" y="906"/>
                  </a:lnTo>
                  <a:lnTo>
                    <a:pt x="1410" y="918"/>
                  </a:lnTo>
                  <a:lnTo>
                    <a:pt x="1404" y="918"/>
                  </a:lnTo>
                  <a:lnTo>
                    <a:pt x="1392" y="924"/>
                  </a:lnTo>
                  <a:lnTo>
                    <a:pt x="1386" y="924"/>
                  </a:lnTo>
                  <a:lnTo>
                    <a:pt x="1380" y="924"/>
                  </a:lnTo>
                  <a:lnTo>
                    <a:pt x="1380" y="930"/>
                  </a:lnTo>
                  <a:lnTo>
                    <a:pt x="1374" y="930"/>
                  </a:lnTo>
                  <a:lnTo>
                    <a:pt x="1374" y="924"/>
                  </a:lnTo>
                  <a:lnTo>
                    <a:pt x="1374" y="918"/>
                  </a:lnTo>
                  <a:lnTo>
                    <a:pt x="1368" y="912"/>
                  </a:lnTo>
                  <a:lnTo>
                    <a:pt x="1368" y="906"/>
                  </a:lnTo>
                  <a:lnTo>
                    <a:pt x="1368" y="900"/>
                  </a:lnTo>
                  <a:lnTo>
                    <a:pt x="1368" y="894"/>
                  </a:lnTo>
                  <a:lnTo>
                    <a:pt x="1362" y="894"/>
                  </a:lnTo>
                  <a:lnTo>
                    <a:pt x="1326" y="894"/>
                  </a:lnTo>
                  <a:lnTo>
                    <a:pt x="1302" y="906"/>
                  </a:lnTo>
                  <a:lnTo>
                    <a:pt x="1284" y="918"/>
                  </a:lnTo>
                  <a:lnTo>
                    <a:pt x="1284" y="924"/>
                  </a:lnTo>
                  <a:lnTo>
                    <a:pt x="1278" y="930"/>
                  </a:lnTo>
                  <a:lnTo>
                    <a:pt x="1266" y="930"/>
                  </a:lnTo>
                  <a:lnTo>
                    <a:pt x="1236" y="954"/>
                  </a:lnTo>
                  <a:lnTo>
                    <a:pt x="1212" y="972"/>
                  </a:lnTo>
                  <a:lnTo>
                    <a:pt x="1218" y="996"/>
                  </a:lnTo>
                  <a:lnTo>
                    <a:pt x="1224" y="1008"/>
                  </a:lnTo>
                  <a:lnTo>
                    <a:pt x="1236" y="1014"/>
                  </a:lnTo>
                  <a:lnTo>
                    <a:pt x="1242" y="1026"/>
                  </a:lnTo>
                  <a:lnTo>
                    <a:pt x="1248" y="1038"/>
                  </a:lnTo>
                  <a:lnTo>
                    <a:pt x="1260" y="1050"/>
                  </a:lnTo>
                  <a:lnTo>
                    <a:pt x="1260" y="1056"/>
                  </a:lnTo>
                  <a:lnTo>
                    <a:pt x="1260" y="1074"/>
                  </a:lnTo>
                  <a:lnTo>
                    <a:pt x="1254" y="1074"/>
                  </a:lnTo>
                  <a:lnTo>
                    <a:pt x="1236" y="1056"/>
                  </a:lnTo>
                  <a:lnTo>
                    <a:pt x="1224" y="1050"/>
                  </a:lnTo>
                  <a:lnTo>
                    <a:pt x="1212" y="1050"/>
                  </a:lnTo>
                  <a:lnTo>
                    <a:pt x="1206" y="1050"/>
                  </a:lnTo>
                  <a:lnTo>
                    <a:pt x="1200" y="1056"/>
                  </a:lnTo>
                  <a:lnTo>
                    <a:pt x="1194" y="1062"/>
                  </a:lnTo>
                  <a:lnTo>
                    <a:pt x="1188" y="1068"/>
                  </a:lnTo>
                  <a:lnTo>
                    <a:pt x="1188" y="1074"/>
                  </a:lnTo>
                  <a:lnTo>
                    <a:pt x="1176" y="1086"/>
                  </a:lnTo>
                  <a:lnTo>
                    <a:pt x="1170" y="1086"/>
                  </a:lnTo>
                  <a:lnTo>
                    <a:pt x="1170" y="1092"/>
                  </a:lnTo>
                  <a:lnTo>
                    <a:pt x="1164" y="1098"/>
                  </a:lnTo>
                  <a:lnTo>
                    <a:pt x="1158" y="1110"/>
                  </a:lnTo>
                  <a:lnTo>
                    <a:pt x="1152" y="1116"/>
                  </a:lnTo>
                  <a:lnTo>
                    <a:pt x="1152" y="1122"/>
                  </a:lnTo>
                  <a:lnTo>
                    <a:pt x="1146" y="1128"/>
                  </a:lnTo>
                  <a:lnTo>
                    <a:pt x="1152" y="1140"/>
                  </a:lnTo>
                  <a:lnTo>
                    <a:pt x="1158" y="1140"/>
                  </a:lnTo>
                  <a:lnTo>
                    <a:pt x="1164" y="1146"/>
                  </a:lnTo>
                  <a:lnTo>
                    <a:pt x="1164" y="1152"/>
                  </a:lnTo>
                  <a:lnTo>
                    <a:pt x="1170" y="1164"/>
                  </a:lnTo>
                  <a:lnTo>
                    <a:pt x="1164" y="1176"/>
                  </a:lnTo>
                  <a:lnTo>
                    <a:pt x="1170" y="1182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82" y="1218"/>
                  </a:lnTo>
                  <a:lnTo>
                    <a:pt x="1188" y="1218"/>
                  </a:lnTo>
                  <a:lnTo>
                    <a:pt x="1194" y="1218"/>
                  </a:lnTo>
                  <a:lnTo>
                    <a:pt x="1194" y="1224"/>
                  </a:lnTo>
                  <a:lnTo>
                    <a:pt x="1200" y="1230"/>
                  </a:lnTo>
                  <a:lnTo>
                    <a:pt x="1200" y="1248"/>
                  </a:lnTo>
                  <a:lnTo>
                    <a:pt x="1212" y="1266"/>
                  </a:lnTo>
                  <a:lnTo>
                    <a:pt x="1218" y="1278"/>
                  </a:lnTo>
                  <a:lnTo>
                    <a:pt x="1224" y="1284"/>
                  </a:lnTo>
                  <a:lnTo>
                    <a:pt x="1236" y="1296"/>
                  </a:lnTo>
                  <a:lnTo>
                    <a:pt x="1242" y="1302"/>
                  </a:lnTo>
                  <a:lnTo>
                    <a:pt x="1242" y="1308"/>
                  </a:lnTo>
                  <a:lnTo>
                    <a:pt x="1272" y="1308"/>
                  </a:lnTo>
                  <a:lnTo>
                    <a:pt x="1296" y="1314"/>
                  </a:lnTo>
                  <a:lnTo>
                    <a:pt x="1320" y="1320"/>
                  </a:lnTo>
                  <a:lnTo>
                    <a:pt x="1338" y="1320"/>
                  </a:lnTo>
                  <a:lnTo>
                    <a:pt x="1356" y="1332"/>
                  </a:lnTo>
                  <a:lnTo>
                    <a:pt x="1368" y="1344"/>
                  </a:lnTo>
                  <a:lnTo>
                    <a:pt x="1374" y="1362"/>
                  </a:lnTo>
                  <a:lnTo>
                    <a:pt x="1368" y="1362"/>
                  </a:lnTo>
                  <a:lnTo>
                    <a:pt x="1368" y="1398"/>
                  </a:lnTo>
                  <a:lnTo>
                    <a:pt x="1368" y="1410"/>
                  </a:lnTo>
                  <a:lnTo>
                    <a:pt x="1368" y="1428"/>
                  </a:lnTo>
                  <a:lnTo>
                    <a:pt x="1368" y="1434"/>
                  </a:lnTo>
                  <a:lnTo>
                    <a:pt x="1368" y="1440"/>
                  </a:lnTo>
                  <a:lnTo>
                    <a:pt x="1374" y="1446"/>
                  </a:lnTo>
                  <a:lnTo>
                    <a:pt x="1374" y="1452"/>
                  </a:lnTo>
                  <a:lnTo>
                    <a:pt x="1380" y="1458"/>
                  </a:lnTo>
                  <a:lnTo>
                    <a:pt x="1386" y="1464"/>
                  </a:lnTo>
                  <a:lnTo>
                    <a:pt x="1386" y="1470"/>
                  </a:lnTo>
                  <a:lnTo>
                    <a:pt x="1380" y="1476"/>
                  </a:lnTo>
                  <a:lnTo>
                    <a:pt x="1374" y="1482"/>
                  </a:lnTo>
                  <a:lnTo>
                    <a:pt x="1362" y="1500"/>
                  </a:lnTo>
                  <a:lnTo>
                    <a:pt x="1362" y="1506"/>
                  </a:lnTo>
                  <a:lnTo>
                    <a:pt x="1362" y="1512"/>
                  </a:lnTo>
                  <a:lnTo>
                    <a:pt x="1362" y="1518"/>
                  </a:lnTo>
                  <a:lnTo>
                    <a:pt x="1362" y="1524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38" y="1548"/>
                  </a:lnTo>
                  <a:lnTo>
                    <a:pt x="1296" y="1548"/>
                  </a:lnTo>
                  <a:lnTo>
                    <a:pt x="1290" y="1554"/>
                  </a:lnTo>
                  <a:lnTo>
                    <a:pt x="1284" y="1560"/>
                  </a:lnTo>
                  <a:lnTo>
                    <a:pt x="1284" y="1566"/>
                  </a:lnTo>
                  <a:lnTo>
                    <a:pt x="1290" y="1578"/>
                  </a:lnTo>
                  <a:lnTo>
                    <a:pt x="1296" y="1590"/>
                  </a:lnTo>
                  <a:lnTo>
                    <a:pt x="1302" y="1590"/>
                  </a:lnTo>
                  <a:lnTo>
                    <a:pt x="1308" y="1596"/>
                  </a:lnTo>
                  <a:lnTo>
                    <a:pt x="1320" y="1602"/>
                  </a:lnTo>
                  <a:lnTo>
                    <a:pt x="1326" y="1602"/>
                  </a:lnTo>
                  <a:lnTo>
                    <a:pt x="1326" y="1608"/>
                  </a:lnTo>
                  <a:lnTo>
                    <a:pt x="1332" y="1614"/>
                  </a:lnTo>
                  <a:lnTo>
                    <a:pt x="1344" y="1620"/>
                  </a:lnTo>
                  <a:lnTo>
                    <a:pt x="1356" y="1626"/>
                  </a:lnTo>
                  <a:lnTo>
                    <a:pt x="1356" y="1632"/>
                  </a:lnTo>
                  <a:lnTo>
                    <a:pt x="1356" y="1638"/>
                  </a:lnTo>
                  <a:lnTo>
                    <a:pt x="1362" y="1644"/>
                  </a:lnTo>
                  <a:lnTo>
                    <a:pt x="1368" y="1644"/>
                  </a:lnTo>
                  <a:lnTo>
                    <a:pt x="1380" y="1650"/>
                  </a:lnTo>
                  <a:lnTo>
                    <a:pt x="1386" y="1650"/>
                  </a:lnTo>
                  <a:lnTo>
                    <a:pt x="1386" y="1656"/>
                  </a:lnTo>
                  <a:lnTo>
                    <a:pt x="1392" y="1656"/>
                  </a:lnTo>
                  <a:lnTo>
                    <a:pt x="1398" y="1662"/>
                  </a:lnTo>
                  <a:lnTo>
                    <a:pt x="1410" y="1674"/>
                  </a:lnTo>
                  <a:lnTo>
                    <a:pt x="1428" y="1680"/>
                  </a:lnTo>
                  <a:lnTo>
                    <a:pt x="1428" y="1686"/>
                  </a:lnTo>
                  <a:lnTo>
                    <a:pt x="1428" y="1698"/>
                  </a:lnTo>
                  <a:lnTo>
                    <a:pt x="1434" y="1704"/>
                  </a:lnTo>
                  <a:lnTo>
                    <a:pt x="1434" y="1710"/>
                  </a:lnTo>
                  <a:lnTo>
                    <a:pt x="1440" y="1710"/>
                  </a:lnTo>
                  <a:lnTo>
                    <a:pt x="1446" y="1710"/>
                  </a:lnTo>
                  <a:lnTo>
                    <a:pt x="1446" y="1716"/>
                  </a:lnTo>
                  <a:lnTo>
                    <a:pt x="1440" y="1722"/>
                  </a:lnTo>
                  <a:lnTo>
                    <a:pt x="1440" y="1728"/>
                  </a:lnTo>
                  <a:lnTo>
                    <a:pt x="1440" y="1734"/>
                  </a:lnTo>
                  <a:lnTo>
                    <a:pt x="1440" y="1740"/>
                  </a:lnTo>
                  <a:lnTo>
                    <a:pt x="1440" y="1746"/>
                  </a:lnTo>
                  <a:lnTo>
                    <a:pt x="1440" y="1788"/>
                  </a:lnTo>
                  <a:lnTo>
                    <a:pt x="1440" y="1800"/>
                  </a:lnTo>
                  <a:lnTo>
                    <a:pt x="1440" y="1806"/>
                  </a:lnTo>
                  <a:lnTo>
                    <a:pt x="1440" y="1836"/>
                  </a:lnTo>
                  <a:lnTo>
                    <a:pt x="1440" y="1848"/>
                  </a:lnTo>
                  <a:lnTo>
                    <a:pt x="1446" y="1848"/>
                  </a:lnTo>
                  <a:lnTo>
                    <a:pt x="1446" y="1854"/>
                  </a:lnTo>
                  <a:lnTo>
                    <a:pt x="1452" y="1848"/>
                  </a:lnTo>
                  <a:lnTo>
                    <a:pt x="1458" y="1854"/>
                  </a:lnTo>
                  <a:lnTo>
                    <a:pt x="1452" y="1860"/>
                  </a:lnTo>
                  <a:lnTo>
                    <a:pt x="1452" y="1866"/>
                  </a:lnTo>
                  <a:lnTo>
                    <a:pt x="1458" y="1872"/>
                  </a:lnTo>
                  <a:lnTo>
                    <a:pt x="1464" y="1884"/>
                  </a:lnTo>
                  <a:lnTo>
                    <a:pt x="1428" y="1878"/>
                  </a:lnTo>
                  <a:lnTo>
                    <a:pt x="1356" y="1890"/>
                  </a:lnTo>
                  <a:lnTo>
                    <a:pt x="1296" y="1926"/>
                  </a:lnTo>
                  <a:lnTo>
                    <a:pt x="1266" y="1944"/>
                  </a:lnTo>
                  <a:lnTo>
                    <a:pt x="1224" y="1944"/>
                  </a:lnTo>
                  <a:lnTo>
                    <a:pt x="1188" y="1956"/>
                  </a:lnTo>
                  <a:lnTo>
                    <a:pt x="1188" y="1950"/>
                  </a:lnTo>
                  <a:lnTo>
                    <a:pt x="1176" y="1944"/>
                  </a:lnTo>
                  <a:lnTo>
                    <a:pt x="1176" y="1938"/>
                  </a:lnTo>
                  <a:lnTo>
                    <a:pt x="1170" y="1938"/>
                  </a:lnTo>
                  <a:lnTo>
                    <a:pt x="1164" y="1932"/>
                  </a:lnTo>
                  <a:lnTo>
                    <a:pt x="1158" y="1926"/>
                  </a:lnTo>
                  <a:lnTo>
                    <a:pt x="1158" y="1920"/>
                  </a:lnTo>
                  <a:lnTo>
                    <a:pt x="1152" y="1920"/>
                  </a:lnTo>
                  <a:lnTo>
                    <a:pt x="1146" y="1914"/>
                  </a:lnTo>
                  <a:lnTo>
                    <a:pt x="1146" y="1908"/>
                  </a:lnTo>
                  <a:lnTo>
                    <a:pt x="1140" y="1908"/>
                  </a:lnTo>
                  <a:lnTo>
                    <a:pt x="1134" y="1902"/>
                  </a:lnTo>
                  <a:lnTo>
                    <a:pt x="1134" y="1896"/>
                  </a:lnTo>
                  <a:lnTo>
                    <a:pt x="1116" y="1896"/>
                  </a:lnTo>
                  <a:lnTo>
                    <a:pt x="1104" y="1884"/>
                  </a:lnTo>
                  <a:lnTo>
                    <a:pt x="1092" y="1860"/>
                  </a:lnTo>
                  <a:lnTo>
                    <a:pt x="1068" y="1854"/>
                  </a:lnTo>
                  <a:lnTo>
                    <a:pt x="1032" y="1842"/>
                  </a:lnTo>
                  <a:lnTo>
                    <a:pt x="1008" y="1836"/>
                  </a:lnTo>
                  <a:lnTo>
                    <a:pt x="978" y="1824"/>
                  </a:lnTo>
                  <a:lnTo>
                    <a:pt x="942" y="1818"/>
                  </a:lnTo>
                  <a:lnTo>
                    <a:pt x="924" y="1806"/>
                  </a:lnTo>
                  <a:lnTo>
                    <a:pt x="906" y="1788"/>
                  </a:lnTo>
                  <a:lnTo>
                    <a:pt x="894" y="1776"/>
                  </a:lnTo>
                  <a:lnTo>
                    <a:pt x="864" y="1758"/>
                  </a:lnTo>
                  <a:lnTo>
                    <a:pt x="834" y="1752"/>
                  </a:lnTo>
                  <a:lnTo>
                    <a:pt x="798" y="1746"/>
                  </a:lnTo>
                  <a:lnTo>
                    <a:pt x="792" y="1806"/>
                  </a:lnTo>
                  <a:lnTo>
                    <a:pt x="798" y="1812"/>
                  </a:lnTo>
                  <a:lnTo>
                    <a:pt x="810" y="1830"/>
                  </a:lnTo>
                  <a:lnTo>
                    <a:pt x="792" y="1842"/>
                  </a:lnTo>
                  <a:lnTo>
                    <a:pt x="768" y="1842"/>
                  </a:lnTo>
                  <a:lnTo>
                    <a:pt x="708" y="1848"/>
                  </a:lnTo>
                  <a:lnTo>
                    <a:pt x="690" y="1860"/>
                  </a:lnTo>
                  <a:lnTo>
                    <a:pt x="690" y="1866"/>
                  </a:lnTo>
                  <a:lnTo>
                    <a:pt x="678" y="1878"/>
                  </a:lnTo>
                  <a:lnTo>
                    <a:pt x="660" y="1884"/>
                  </a:lnTo>
                  <a:lnTo>
                    <a:pt x="660" y="1902"/>
                  </a:lnTo>
                  <a:lnTo>
                    <a:pt x="642" y="1902"/>
                  </a:lnTo>
                  <a:lnTo>
                    <a:pt x="582" y="1914"/>
                  </a:lnTo>
                  <a:lnTo>
                    <a:pt x="534" y="1908"/>
                  </a:lnTo>
                  <a:lnTo>
                    <a:pt x="510" y="1908"/>
                  </a:lnTo>
                  <a:lnTo>
                    <a:pt x="510" y="1896"/>
                  </a:lnTo>
                  <a:lnTo>
                    <a:pt x="492" y="1896"/>
                  </a:lnTo>
                  <a:lnTo>
                    <a:pt x="486" y="1902"/>
                  </a:lnTo>
                  <a:lnTo>
                    <a:pt x="474" y="1908"/>
                  </a:lnTo>
                  <a:lnTo>
                    <a:pt x="450" y="1908"/>
                  </a:lnTo>
                  <a:lnTo>
                    <a:pt x="432" y="1902"/>
                  </a:lnTo>
                  <a:lnTo>
                    <a:pt x="426" y="1896"/>
                  </a:lnTo>
                  <a:lnTo>
                    <a:pt x="402" y="1884"/>
                  </a:lnTo>
                  <a:lnTo>
                    <a:pt x="390" y="1872"/>
                  </a:lnTo>
                  <a:lnTo>
                    <a:pt x="384" y="1872"/>
                  </a:lnTo>
                  <a:lnTo>
                    <a:pt x="378" y="1872"/>
                  </a:lnTo>
                  <a:lnTo>
                    <a:pt x="378" y="1866"/>
                  </a:lnTo>
                  <a:lnTo>
                    <a:pt x="372" y="1860"/>
                  </a:lnTo>
                  <a:lnTo>
                    <a:pt x="372" y="1854"/>
                  </a:lnTo>
                  <a:lnTo>
                    <a:pt x="366" y="1842"/>
                  </a:lnTo>
                  <a:lnTo>
                    <a:pt x="366" y="1836"/>
                  </a:lnTo>
                  <a:lnTo>
                    <a:pt x="348" y="1830"/>
                  </a:lnTo>
                  <a:lnTo>
                    <a:pt x="348" y="1806"/>
                  </a:lnTo>
                  <a:lnTo>
                    <a:pt x="348" y="1800"/>
                  </a:lnTo>
                  <a:lnTo>
                    <a:pt x="348" y="1782"/>
                  </a:lnTo>
                  <a:lnTo>
                    <a:pt x="336" y="1788"/>
                  </a:lnTo>
                  <a:lnTo>
                    <a:pt x="312" y="1794"/>
                  </a:lnTo>
                  <a:lnTo>
                    <a:pt x="288" y="1788"/>
                  </a:lnTo>
                  <a:lnTo>
                    <a:pt x="264" y="1758"/>
                  </a:lnTo>
                  <a:lnTo>
                    <a:pt x="270" y="1758"/>
                  </a:lnTo>
                  <a:lnTo>
                    <a:pt x="270" y="1752"/>
                  </a:lnTo>
                  <a:lnTo>
                    <a:pt x="276" y="1752"/>
                  </a:lnTo>
                  <a:lnTo>
                    <a:pt x="282" y="1746"/>
                  </a:lnTo>
                  <a:lnTo>
                    <a:pt x="300" y="1746"/>
                  </a:lnTo>
                  <a:lnTo>
                    <a:pt x="312" y="1746"/>
                  </a:lnTo>
                  <a:lnTo>
                    <a:pt x="336" y="1710"/>
                  </a:lnTo>
                  <a:lnTo>
                    <a:pt x="342" y="1692"/>
                  </a:lnTo>
                  <a:lnTo>
                    <a:pt x="348" y="1680"/>
                  </a:lnTo>
                  <a:lnTo>
                    <a:pt x="342" y="1650"/>
                  </a:lnTo>
                  <a:lnTo>
                    <a:pt x="354" y="1644"/>
                  </a:lnTo>
                  <a:lnTo>
                    <a:pt x="354" y="1638"/>
                  </a:lnTo>
                  <a:lnTo>
                    <a:pt x="360" y="1632"/>
                  </a:lnTo>
                  <a:lnTo>
                    <a:pt x="354" y="1626"/>
                  </a:lnTo>
                  <a:lnTo>
                    <a:pt x="348" y="1626"/>
                  </a:lnTo>
                  <a:lnTo>
                    <a:pt x="348" y="1620"/>
                  </a:lnTo>
                  <a:lnTo>
                    <a:pt x="342" y="1620"/>
                  </a:lnTo>
                  <a:lnTo>
                    <a:pt x="348" y="1614"/>
                  </a:lnTo>
                  <a:lnTo>
                    <a:pt x="324" y="1566"/>
                  </a:lnTo>
                  <a:lnTo>
                    <a:pt x="318" y="1566"/>
                  </a:lnTo>
                  <a:lnTo>
                    <a:pt x="306" y="1572"/>
                  </a:lnTo>
                  <a:lnTo>
                    <a:pt x="300" y="1572"/>
                  </a:lnTo>
                  <a:lnTo>
                    <a:pt x="294" y="1578"/>
                  </a:lnTo>
                  <a:lnTo>
                    <a:pt x="288" y="1584"/>
                  </a:lnTo>
                  <a:lnTo>
                    <a:pt x="282" y="1584"/>
                  </a:lnTo>
                  <a:lnTo>
                    <a:pt x="282" y="1578"/>
                  </a:lnTo>
                  <a:lnTo>
                    <a:pt x="276" y="1578"/>
                  </a:lnTo>
                  <a:lnTo>
                    <a:pt x="270" y="1578"/>
                  </a:lnTo>
                  <a:lnTo>
                    <a:pt x="264" y="1578"/>
                  </a:lnTo>
                  <a:lnTo>
                    <a:pt x="258" y="1578"/>
                  </a:lnTo>
                  <a:lnTo>
                    <a:pt x="252" y="1578"/>
                  </a:lnTo>
                  <a:lnTo>
                    <a:pt x="252" y="1584"/>
                  </a:lnTo>
                  <a:lnTo>
                    <a:pt x="246" y="1584"/>
                  </a:lnTo>
                  <a:lnTo>
                    <a:pt x="210" y="1584"/>
                  </a:lnTo>
                  <a:lnTo>
                    <a:pt x="204" y="1584"/>
                  </a:lnTo>
                  <a:lnTo>
                    <a:pt x="192" y="1584"/>
                  </a:lnTo>
                  <a:lnTo>
                    <a:pt x="168" y="1596"/>
                  </a:lnTo>
                  <a:lnTo>
                    <a:pt x="156" y="1572"/>
                  </a:lnTo>
                  <a:lnTo>
                    <a:pt x="156" y="1566"/>
                  </a:lnTo>
                  <a:lnTo>
                    <a:pt x="156" y="1560"/>
                  </a:lnTo>
                  <a:lnTo>
                    <a:pt x="162" y="1548"/>
                  </a:lnTo>
                  <a:lnTo>
                    <a:pt x="162" y="1542"/>
                  </a:lnTo>
                  <a:lnTo>
                    <a:pt x="162" y="1536"/>
                  </a:lnTo>
                  <a:lnTo>
                    <a:pt x="168" y="1530"/>
                  </a:lnTo>
                  <a:lnTo>
                    <a:pt x="168" y="1524"/>
                  </a:lnTo>
                  <a:lnTo>
                    <a:pt x="168" y="1518"/>
                  </a:lnTo>
                  <a:lnTo>
                    <a:pt x="174" y="1518"/>
                  </a:lnTo>
                  <a:lnTo>
                    <a:pt x="174" y="1506"/>
                  </a:lnTo>
                  <a:lnTo>
                    <a:pt x="156" y="1470"/>
                  </a:lnTo>
                  <a:lnTo>
                    <a:pt x="138" y="1464"/>
                  </a:lnTo>
                  <a:lnTo>
                    <a:pt x="126" y="1446"/>
                  </a:lnTo>
                  <a:lnTo>
                    <a:pt x="126" y="1440"/>
                  </a:lnTo>
                  <a:lnTo>
                    <a:pt x="126" y="1434"/>
                  </a:lnTo>
                  <a:lnTo>
                    <a:pt x="120" y="1428"/>
                  </a:lnTo>
                  <a:lnTo>
                    <a:pt x="126" y="1398"/>
                  </a:lnTo>
                  <a:lnTo>
                    <a:pt x="120" y="1374"/>
                  </a:lnTo>
                  <a:lnTo>
                    <a:pt x="60" y="1374"/>
                  </a:lnTo>
                  <a:lnTo>
                    <a:pt x="60" y="1368"/>
                  </a:lnTo>
                  <a:lnTo>
                    <a:pt x="54" y="1362"/>
                  </a:lnTo>
                  <a:lnTo>
                    <a:pt x="48" y="1356"/>
                  </a:lnTo>
                  <a:lnTo>
                    <a:pt x="42" y="1356"/>
                  </a:lnTo>
                  <a:lnTo>
                    <a:pt x="42" y="1350"/>
                  </a:lnTo>
                  <a:lnTo>
                    <a:pt x="36" y="1344"/>
                  </a:lnTo>
                  <a:lnTo>
                    <a:pt x="36" y="1338"/>
                  </a:lnTo>
                  <a:lnTo>
                    <a:pt x="30" y="1332"/>
                  </a:lnTo>
                  <a:lnTo>
                    <a:pt x="30" y="1326"/>
                  </a:lnTo>
                  <a:lnTo>
                    <a:pt x="18" y="1326"/>
                  </a:lnTo>
                  <a:lnTo>
                    <a:pt x="18" y="1320"/>
                  </a:lnTo>
                  <a:lnTo>
                    <a:pt x="18" y="1326"/>
                  </a:lnTo>
                  <a:lnTo>
                    <a:pt x="6" y="1320"/>
                  </a:lnTo>
                  <a:lnTo>
                    <a:pt x="0" y="1314"/>
                  </a:lnTo>
                  <a:lnTo>
                    <a:pt x="12" y="1266"/>
                  </a:lnTo>
                  <a:lnTo>
                    <a:pt x="6" y="1242"/>
                  </a:lnTo>
                  <a:lnTo>
                    <a:pt x="12" y="1236"/>
                  </a:lnTo>
                  <a:lnTo>
                    <a:pt x="12" y="1230"/>
                  </a:lnTo>
                  <a:lnTo>
                    <a:pt x="18" y="1230"/>
                  </a:lnTo>
                  <a:lnTo>
                    <a:pt x="18" y="1224"/>
                  </a:lnTo>
                  <a:lnTo>
                    <a:pt x="24" y="1218"/>
                  </a:lnTo>
                  <a:lnTo>
                    <a:pt x="24" y="1212"/>
                  </a:lnTo>
                  <a:lnTo>
                    <a:pt x="30" y="1212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48" y="1188"/>
                  </a:lnTo>
                  <a:lnTo>
                    <a:pt x="48" y="1182"/>
                  </a:lnTo>
                  <a:lnTo>
                    <a:pt x="48" y="1176"/>
                  </a:lnTo>
                  <a:lnTo>
                    <a:pt x="48" y="1170"/>
                  </a:lnTo>
                  <a:lnTo>
                    <a:pt x="54" y="1170"/>
                  </a:lnTo>
                  <a:lnTo>
                    <a:pt x="60" y="1164"/>
                  </a:lnTo>
                  <a:lnTo>
                    <a:pt x="60" y="1158"/>
                  </a:lnTo>
                  <a:lnTo>
                    <a:pt x="66" y="1152"/>
                  </a:lnTo>
                  <a:lnTo>
                    <a:pt x="60" y="1140"/>
                  </a:lnTo>
                  <a:lnTo>
                    <a:pt x="60" y="1134"/>
                  </a:lnTo>
                  <a:lnTo>
                    <a:pt x="54" y="1134"/>
                  </a:lnTo>
                  <a:lnTo>
                    <a:pt x="54" y="1128"/>
                  </a:lnTo>
                  <a:lnTo>
                    <a:pt x="48" y="1122"/>
                  </a:lnTo>
                  <a:lnTo>
                    <a:pt x="48" y="1116"/>
                  </a:lnTo>
                  <a:lnTo>
                    <a:pt x="48" y="1110"/>
                  </a:lnTo>
                  <a:lnTo>
                    <a:pt x="42" y="1104"/>
                  </a:lnTo>
                  <a:lnTo>
                    <a:pt x="42" y="1098"/>
                  </a:lnTo>
                  <a:lnTo>
                    <a:pt x="36" y="1092"/>
                  </a:lnTo>
                  <a:lnTo>
                    <a:pt x="30" y="1092"/>
                  </a:lnTo>
                  <a:lnTo>
                    <a:pt x="24" y="1092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18" y="1080"/>
                  </a:lnTo>
                  <a:lnTo>
                    <a:pt x="18" y="1074"/>
                  </a:lnTo>
                  <a:lnTo>
                    <a:pt x="12" y="1068"/>
                  </a:lnTo>
                  <a:lnTo>
                    <a:pt x="6" y="1068"/>
                  </a:lnTo>
                  <a:lnTo>
                    <a:pt x="12" y="1056"/>
                  </a:lnTo>
                  <a:lnTo>
                    <a:pt x="6" y="1056"/>
                  </a:lnTo>
                  <a:lnTo>
                    <a:pt x="6" y="1050"/>
                  </a:lnTo>
                  <a:lnTo>
                    <a:pt x="6" y="1044"/>
                  </a:lnTo>
                  <a:lnTo>
                    <a:pt x="6" y="1026"/>
                  </a:lnTo>
                  <a:lnTo>
                    <a:pt x="12" y="1020"/>
                  </a:lnTo>
                  <a:lnTo>
                    <a:pt x="12" y="1014"/>
                  </a:lnTo>
                  <a:lnTo>
                    <a:pt x="18" y="1014"/>
                  </a:lnTo>
                  <a:lnTo>
                    <a:pt x="18" y="1008"/>
                  </a:lnTo>
                  <a:lnTo>
                    <a:pt x="18" y="1002"/>
                  </a:lnTo>
                  <a:lnTo>
                    <a:pt x="18" y="990"/>
                  </a:lnTo>
                  <a:lnTo>
                    <a:pt x="12" y="972"/>
                  </a:lnTo>
                  <a:lnTo>
                    <a:pt x="18" y="954"/>
                  </a:lnTo>
                  <a:lnTo>
                    <a:pt x="18" y="948"/>
                  </a:lnTo>
                  <a:lnTo>
                    <a:pt x="24" y="948"/>
                  </a:lnTo>
                  <a:lnTo>
                    <a:pt x="24" y="930"/>
                  </a:lnTo>
                  <a:lnTo>
                    <a:pt x="30" y="930"/>
                  </a:lnTo>
                  <a:lnTo>
                    <a:pt x="36" y="918"/>
                  </a:lnTo>
                  <a:lnTo>
                    <a:pt x="42" y="918"/>
                  </a:lnTo>
                  <a:lnTo>
                    <a:pt x="48" y="918"/>
                  </a:lnTo>
                  <a:lnTo>
                    <a:pt x="78" y="912"/>
                  </a:lnTo>
                  <a:lnTo>
                    <a:pt x="90" y="894"/>
                  </a:lnTo>
                  <a:lnTo>
                    <a:pt x="96" y="894"/>
                  </a:lnTo>
                  <a:lnTo>
                    <a:pt x="102" y="888"/>
                  </a:lnTo>
                  <a:lnTo>
                    <a:pt x="102" y="882"/>
                  </a:lnTo>
                  <a:lnTo>
                    <a:pt x="114" y="870"/>
                  </a:lnTo>
                  <a:lnTo>
                    <a:pt x="120" y="864"/>
                  </a:lnTo>
                  <a:lnTo>
                    <a:pt x="120" y="852"/>
                  </a:lnTo>
                  <a:lnTo>
                    <a:pt x="120" y="846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32" y="840"/>
                  </a:lnTo>
                  <a:lnTo>
                    <a:pt x="138" y="840"/>
                  </a:lnTo>
                  <a:lnTo>
                    <a:pt x="138" y="834"/>
                  </a:lnTo>
                  <a:lnTo>
                    <a:pt x="144" y="834"/>
                  </a:lnTo>
                  <a:lnTo>
                    <a:pt x="144" y="828"/>
                  </a:lnTo>
                  <a:lnTo>
                    <a:pt x="150" y="828"/>
                  </a:lnTo>
                  <a:lnTo>
                    <a:pt x="156" y="822"/>
                  </a:lnTo>
                  <a:lnTo>
                    <a:pt x="162" y="816"/>
                  </a:lnTo>
                  <a:lnTo>
                    <a:pt x="162" y="822"/>
                  </a:lnTo>
                  <a:lnTo>
                    <a:pt x="162" y="816"/>
                  </a:lnTo>
                  <a:lnTo>
                    <a:pt x="162" y="810"/>
                  </a:lnTo>
                  <a:lnTo>
                    <a:pt x="168" y="810"/>
                  </a:lnTo>
                  <a:lnTo>
                    <a:pt x="174" y="804"/>
                  </a:lnTo>
                  <a:lnTo>
                    <a:pt x="180" y="798"/>
                  </a:lnTo>
                  <a:lnTo>
                    <a:pt x="180" y="786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8" y="780"/>
                  </a:lnTo>
                  <a:lnTo>
                    <a:pt x="204" y="774"/>
                  </a:lnTo>
                  <a:lnTo>
                    <a:pt x="210" y="774"/>
                  </a:lnTo>
                  <a:lnTo>
                    <a:pt x="216" y="768"/>
                  </a:lnTo>
                  <a:lnTo>
                    <a:pt x="222" y="762"/>
                  </a:lnTo>
                  <a:lnTo>
                    <a:pt x="228" y="762"/>
                  </a:lnTo>
                  <a:lnTo>
                    <a:pt x="228" y="768"/>
                  </a:lnTo>
                  <a:lnTo>
                    <a:pt x="234" y="768"/>
                  </a:lnTo>
                  <a:lnTo>
                    <a:pt x="240" y="762"/>
                  </a:lnTo>
                  <a:lnTo>
                    <a:pt x="252" y="762"/>
                  </a:lnTo>
                  <a:lnTo>
                    <a:pt x="264" y="768"/>
                  </a:lnTo>
                  <a:lnTo>
                    <a:pt x="294" y="756"/>
                  </a:lnTo>
                  <a:lnTo>
                    <a:pt x="294" y="750"/>
                  </a:lnTo>
                  <a:lnTo>
                    <a:pt x="300" y="750"/>
                  </a:lnTo>
                  <a:lnTo>
                    <a:pt x="306" y="744"/>
                  </a:lnTo>
                  <a:lnTo>
                    <a:pt x="342" y="750"/>
                  </a:lnTo>
                  <a:lnTo>
                    <a:pt x="348" y="750"/>
                  </a:lnTo>
                  <a:lnTo>
                    <a:pt x="348" y="744"/>
                  </a:lnTo>
                  <a:lnTo>
                    <a:pt x="354" y="744"/>
                  </a:lnTo>
                  <a:lnTo>
                    <a:pt x="360" y="744"/>
                  </a:lnTo>
                  <a:lnTo>
                    <a:pt x="360" y="750"/>
                  </a:lnTo>
                  <a:lnTo>
                    <a:pt x="366" y="750"/>
                  </a:lnTo>
                  <a:lnTo>
                    <a:pt x="366" y="744"/>
                  </a:lnTo>
                  <a:lnTo>
                    <a:pt x="366" y="738"/>
                  </a:lnTo>
                  <a:lnTo>
                    <a:pt x="372" y="744"/>
                  </a:lnTo>
                  <a:lnTo>
                    <a:pt x="378" y="744"/>
                  </a:lnTo>
                  <a:lnTo>
                    <a:pt x="384" y="750"/>
                  </a:lnTo>
                  <a:lnTo>
                    <a:pt x="444" y="774"/>
                  </a:lnTo>
                  <a:lnTo>
                    <a:pt x="450" y="774"/>
                  </a:lnTo>
                  <a:lnTo>
                    <a:pt x="456" y="768"/>
                  </a:lnTo>
                  <a:lnTo>
                    <a:pt x="462" y="768"/>
                  </a:lnTo>
                  <a:lnTo>
                    <a:pt x="462" y="762"/>
                  </a:lnTo>
                  <a:lnTo>
                    <a:pt x="468" y="762"/>
                  </a:lnTo>
                  <a:lnTo>
                    <a:pt x="474" y="756"/>
                  </a:lnTo>
                  <a:lnTo>
                    <a:pt x="480" y="750"/>
                  </a:lnTo>
                  <a:lnTo>
                    <a:pt x="516" y="756"/>
                  </a:lnTo>
                  <a:lnTo>
                    <a:pt x="522" y="756"/>
                  </a:lnTo>
                  <a:lnTo>
                    <a:pt x="522" y="762"/>
                  </a:lnTo>
                  <a:lnTo>
                    <a:pt x="522" y="768"/>
                  </a:lnTo>
                  <a:lnTo>
                    <a:pt x="522" y="774"/>
                  </a:lnTo>
                  <a:lnTo>
                    <a:pt x="528" y="780"/>
                  </a:lnTo>
                  <a:lnTo>
                    <a:pt x="540" y="780"/>
                  </a:lnTo>
                  <a:lnTo>
                    <a:pt x="540" y="804"/>
                  </a:lnTo>
                  <a:lnTo>
                    <a:pt x="540" y="810"/>
                  </a:lnTo>
                  <a:lnTo>
                    <a:pt x="546" y="810"/>
                  </a:lnTo>
                  <a:lnTo>
                    <a:pt x="552" y="810"/>
                  </a:lnTo>
                  <a:lnTo>
                    <a:pt x="558" y="810"/>
                  </a:lnTo>
                  <a:lnTo>
                    <a:pt x="564" y="810"/>
                  </a:lnTo>
                  <a:lnTo>
                    <a:pt x="570" y="810"/>
                  </a:lnTo>
                  <a:lnTo>
                    <a:pt x="576" y="810"/>
                  </a:lnTo>
                  <a:lnTo>
                    <a:pt x="576" y="816"/>
                  </a:lnTo>
                  <a:lnTo>
                    <a:pt x="588" y="816"/>
                  </a:lnTo>
                  <a:lnTo>
                    <a:pt x="594" y="816"/>
                  </a:lnTo>
                  <a:lnTo>
                    <a:pt x="600" y="822"/>
                  </a:lnTo>
                  <a:lnTo>
                    <a:pt x="606" y="816"/>
                  </a:lnTo>
                  <a:lnTo>
                    <a:pt x="612" y="816"/>
                  </a:lnTo>
                  <a:lnTo>
                    <a:pt x="612" y="810"/>
                  </a:lnTo>
                  <a:lnTo>
                    <a:pt x="624" y="810"/>
                  </a:lnTo>
                  <a:lnTo>
                    <a:pt x="624" y="804"/>
                  </a:lnTo>
                  <a:lnTo>
                    <a:pt x="630" y="798"/>
                  </a:lnTo>
                  <a:lnTo>
                    <a:pt x="636" y="798"/>
                  </a:lnTo>
                  <a:lnTo>
                    <a:pt x="636" y="804"/>
                  </a:lnTo>
                  <a:lnTo>
                    <a:pt x="642" y="804"/>
                  </a:lnTo>
                  <a:lnTo>
                    <a:pt x="648" y="804"/>
                  </a:lnTo>
                  <a:lnTo>
                    <a:pt x="654" y="804"/>
                  </a:lnTo>
                  <a:lnTo>
                    <a:pt x="660" y="804"/>
                  </a:lnTo>
                  <a:lnTo>
                    <a:pt x="678" y="798"/>
                  </a:lnTo>
                  <a:lnTo>
                    <a:pt x="714" y="786"/>
                  </a:lnTo>
                  <a:lnTo>
                    <a:pt x="714" y="792"/>
                  </a:lnTo>
                  <a:lnTo>
                    <a:pt x="714" y="798"/>
                  </a:lnTo>
                  <a:lnTo>
                    <a:pt x="714" y="804"/>
                  </a:lnTo>
                  <a:lnTo>
                    <a:pt x="720" y="804"/>
                  </a:lnTo>
                  <a:lnTo>
                    <a:pt x="720" y="810"/>
                  </a:lnTo>
                  <a:lnTo>
                    <a:pt x="720" y="816"/>
                  </a:lnTo>
                  <a:lnTo>
                    <a:pt x="726" y="822"/>
                  </a:lnTo>
                  <a:lnTo>
                    <a:pt x="732" y="828"/>
                  </a:lnTo>
                  <a:lnTo>
                    <a:pt x="732" y="834"/>
                  </a:lnTo>
                  <a:lnTo>
                    <a:pt x="732" y="846"/>
                  </a:lnTo>
                  <a:lnTo>
                    <a:pt x="732" y="858"/>
                  </a:lnTo>
                  <a:lnTo>
                    <a:pt x="738" y="858"/>
                  </a:lnTo>
                  <a:lnTo>
                    <a:pt x="732" y="864"/>
                  </a:lnTo>
                  <a:lnTo>
                    <a:pt x="732" y="870"/>
                  </a:lnTo>
                  <a:lnTo>
                    <a:pt x="726" y="870"/>
                  </a:lnTo>
                  <a:lnTo>
                    <a:pt x="726" y="876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0" y="882"/>
                  </a:lnTo>
                  <a:lnTo>
                    <a:pt x="690" y="912"/>
                  </a:lnTo>
                  <a:lnTo>
                    <a:pt x="696" y="936"/>
                  </a:lnTo>
                  <a:lnTo>
                    <a:pt x="702" y="936"/>
                  </a:lnTo>
                  <a:lnTo>
                    <a:pt x="702" y="930"/>
                  </a:lnTo>
                  <a:lnTo>
                    <a:pt x="708" y="930"/>
                  </a:lnTo>
                  <a:lnTo>
                    <a:pt x="708" y="924"/>
                  </a:lnTo>
                  <a:lnTo>
                    <a:pt x="708" y="918"/>
                  </a:lnTo>
                  <a:lnTo>
                    <a:pt x="714" y="918"/>
                  </a:lnTo>
                  <a:lnTo>
                    <a:pt x="720" y="954"/>
                  </a:lnTo>
                  <a:lnTo>
                    <a:pt x="726" y="966"/>
                  </a:lnTo>
                  <a:lnTo>
                    <a:pt x="744" y="966"/>
                  </a:lnTo>
                  <a:lnTo>
                    <a:pt x="756" y="972"/>
                  </a:lnTo>
                  <a:lnTo>
                    <a:pt x="792" y="990"/>
                  </a:lnTo>
                  <a:lnTo>
                    <a:pt x="828" y="978"/>
                  </a:lnTo>
                  <a:lnTo>
                    <a:pt x="834" y="978"/>
                  </a:lnTo>
                  <a:lnTo>
                    <a:pt x="840" y="978"/>
                  </a:lnTo>
                  <a:lnTo>
                    <a:pt x="840" y="984"/>
                  </a:lnTo>
                  <a:lnTo>
                    <a:pt x="846" y="984"/>
                  </a:lnTo>
                  <a:lnTo>
                    <a:pt x="858" y="972"/>
                  </a:lnTo>
                  <a:lnTo>
                    <a:pt x="882" y="972"/>
                  </a:lnTo>
                  <a:lnTo>
                    <a:pt x="888" y="984"/>
                  </a:lnTo>
                  <a:lnTo>
                    <a:pt x="900" y="990"/>
                  </a:lnTo>
                  <a:lnTo>
                    <a:pt x="924" y="996"/>
                  </a:lnTo>
                  <a:lnTo>
                    <a:pt x="930" y="990"/>
                  </a:lnTo>
                  <a:lnTo>
                    <a:pt x="930" y="984"/>
                  </a:lnTo>
                  <a:lnTo>
                    <a:pt x="924" y="978"/>
                  </a:lnTo>
                  <a:lnTo>
                    <a:pt x="906" y="972"/>
                  </a:lnTo>
                  <a:lnTo>
                    <a:pt x="900" y="966"/>
                  </a:lnTo>
                  <a:lnTo>
                    <a:pt x="900" y="960"/>
                  </a:lnTo>
                  <a:lnTo>
                    <a:pt x="900" y="954"/>
                  </a:lnTo>
                  <a:lnTo>
                    <a:pt x="900" y="948"/>
                  </a:lnTo>
                  <a:lnTo>
                    <a:pt x="912" y="936"/>
                  </a:lnTo>
                  <a:lnTo>
                    <a:pt x="912" y="924"/>
                  </a:lnTo>
                  <a:lnTo>
                    <a:pt x="918" y="924"/>
                  </a:lnTo>
                  <a:lnTo>
                    <a:pt x="918" y="918"/>
                  </a:lnTo>
                  <a:lnTo>
                    <a:pt x="936" y="906"/>
                  </a:lnTo>
                  <a:lnTo>
                    <a:pt x="942" y="906"/>
                  </a:lnTo>
                  <a:lnTo>
                    <a:pt x="948" y="906"/>
                  </a:lnTo>
                  <a:lnTo>
                    <a:pt x="954" y="906"/>
                  </a:lnTo>
                  <a:lnTo>
                    <a:pt x="960" y="906"/>
                  </a:lnTo>
                  <a:lnTo>
                    <a:pt x="966" y="912"/>
                  </a:lnTo>
                  <a:lnTo>
                    <a:pt x="972" y="906"/>
                  </a:lnTo>
                  <a:lnTo>
                    <a:pt x="978" y="906"/>
                  </a:lnTo>
                  <a:lnTo>
                    <a:pt x="984" y="900"/>
                  </a:lnTo>
                  <a:lnTo>
                    <a:pt x="984" y="894"/>
                  </a:lnTo>
                  <a:lnTo>
                    <a:pt x="990" y="894"/>
                  </a:lnTo>
                  <a:lnTo>
                    <a:pt x="996" y="888"/>
                  </a:lnTo>
                  <a:lnTo>
                    <a:pt x="1002" y="888"/>
                  </a:lnTo>
                  <a:lnTo>
                    <a:pt x="1008" y="882"/>
                  </a:lnTo>
                  <a:lnTo>
                    <a:pt x="1014" y="882"/>
                  </a:lnTo>
                  <a:lnTo>
                    <a:pt x="1020" y="882"/>
                  </a:lnTo>
                  <a:lnTo>
                    <a:pt x="1020" y="888"/>
                  </a:lnTo>
                  <a:lnTo>
                    <a:pt x="1026" y="882"/>
                  </a:lnTo>
                  <a:lnTo>
                    <a:pt x="1026" y="876"/>
                  </a:lnTo>
                  <a:lnTo>
                    <a:pt x="1026" y="870"/>
                  </a:lnTo>
                  <a:lnTo>
                    <a:pt x="1032" y="864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44" y="852"/>
                  </a:lnTo>
                  <a:lnTo>
                    <a:pt x="1038" y="846"/>
                  </a:lnTo>
                  <a:lnTo>
                    <a:pt x="1038" y="840"/>
                  </a:lnTo>
                  <a:lnTo>
                    <a:pt x="1032" y="840"/>
                  </a:lnTo>
                  <a:lnTo>
                    <a:pt x="1026" y="840"/>
                  </a:lnTo>
                  <a:lnTo>
                    <a:pt x="1020" y="840"/>
                  </a:lnTo>
                  <a:lnTo>
                    <a:pt x="1014" y="846"/>
                  </a:lnTo>
                  <a:lnTo>
                    <a:pt x="1008" y="846"/>
                  </a:lnTo>
                  <a:lnTo>
                    <a:pt x="1002" y="840"/>
                  </a:lnTo>
                  <a:lnTo>
                    <a:pt x="996" y="840"/>
                  </a:lnTo>
                  <a:lnTo>
                    <a:pt x="990" y="834"/>
                  </a:lnTo>
                  <a:lnTo>
                    <a:pt x="984" y="834"/>
                  </a:lnTo>
                  <a:lnTo>
                    <a:pt x="978" y="834"/>
                  </a:lnTo>
                  <a:lnTo>
                    <a:pt x="972" y="834"/>
                  </a:lnTo>
                  <a:lnTo>
                    <a:pt x="966" y="834"/>
                  </a:lnTo>
                  <a:lnTo>
                    <a:pt x="966" y="828"/>
                  </a:lnTo>
                  <a:lnTo>
                    <a:pt x="960" y="828"/>
                  </a:lnTo>
                  <a:lnTo>
                    <a:pt x="954" y="828"/>
                  </a:lnTo>
                  <a:lnTo>
                    <a:pt x="942" y="828"/>
                  </a:lnTo>
                  <a:lnTo>
                    <a:pt x="936" y="828"/>
                  </a:lnTo>
                  <a:lnTo>
                    <a:pt x="930" y="828"/>
                  </a:lnTo>
                  <a:lnTo>
                    <a:pt x="918" y="828"/>
                  </a:lnTo>
                  <a:lnTo>
                    <a:pt x="918" y="822"/>
                  </a:lnTo>
                  <a:lnTo>
                    <a:pt x="912" y="828"/>
                  </a:lnTo>
                  <a:lnTo>
                    <a:pt x="912" y="822"/>
                  </a:lnTo>
                  <a:lnTo>
                    <a:pt x="906" y="816"/>
                  </a:lnTo>
                  <a:lnTo>
                    <a:pt x="900" y="816"/>
                  </a:lnTo>
                  <a:lnTo>
                    <a:pt x="894" y="816"/>
                  </a:lnTo>
                  <a:lnTo>
                    <a:pt x="888" y="816"/>
                  </a:lnTo>
                  <a:lnTo>
                    <a:pt x="882" y="816"/>
                  </a:lnTo>
                  <a:lnTo>
                    <a:pt x="882" y="810"/>
                  </a:lnTo>
                  <a:lnTo>
                    <a:pt x="876" y="804"/>
                  </a:lnTo>
                  <a:lnTo>
                    <a:pt x="870" y="804"/>
                  </a:lnTo>
                  <a:lnTo>
                    <a:pt x="864" y="798"/>
                  </a:lnTo>
                  <a:lnTo>
                    <a:pt x="858" y="798"/>
                  </a:lnTo>
                  <a:lnTo>
                    <a:pt x="858" y="804"/>
                  </a:lnTo>
                  <a:lnTo>
                    <a:pt x="852" y="804"/>
                  </a:lnTo>
                  <a:lnTo>
                    <a:pt x="846" y="804"/>
                  </a:lnTo>
                  <a:lnTo>
                    <a:pt x="846" y="798"/>
                  </a:lnTo>
                  <a:lnTo>
                    <a:pt x="840" y="804"/>
                  </a:lnTo>
                  <a:lnTo>
                    <a:pt x="834" y="804"/>
                  </a:lnTo>
                  <a:lnTo>
                    <a:pt x="828" y="804"/>
                  </a:lnTo>
                  <a:lnTo>
                    <a:pt x="828" y="810"/>
                  </a:lnTo>
                  <a:lnTo>
                    <a:pt x="822" y="810"/>
                  </a:lnTo>
                  <a:lnTo>
                    <a:pt x="810" y="804"/>
                  </a:lnTo>
                  <a:lnTo>
                    <a:pt x="810" y="798"/>
                  </a:lnTo>
                  <a:lnTo>
                    <a:pt x="780" y="798"/>
                  </a:lnTo>
                  <a:lnTo>
                    <a:pt x="756" y="774"/>
                  </a:lnTo>
                  <a:lnTo>
                    <a:pt x="750" y="768"/>
                  </a:lnTo>
                  <a:lnTo>
                    <a:pt x="750" y="744"/>
                  </a:lnTo>
                  <a:lnTo>
                    <a:pt x="732" y="738"/>
                  </a:lnTo>
                  <a:lnTo>
                    <a:pt x="732" y="720"/>
                  </a:lnTo>
                  <a:lnTo>
                    <a:pt x="714" y="690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6" y="666"/>
                  </a:lnTo>
                  <a:lnTo>
                    <a:pt x="690" y="666"/>
                  </a:lnTo>
                  <a:lnTo>
                    <a:pt x="678" y="672"/>
                  </a:lnTo>
                  <a:lnTo>
                    <a:pt x="678" y="654"/>
                  </a:lnTo>
                  <a:lnTo>
                    <a:pt x="684" y="630"/>
                  </a:lnTo>
                  <a:lnTo>
                    <a:pt x="690" y="618"/>
                  </a:lnTo>
                  <a:lnTo>
                    <a:pt x="696" y="612"/>
                  </a:lnTo>
                  <a:lnTo>
                    <a:pt x="696" y="588"/>
                  </a:lnTo>
                  <a:lnTo>
                    <a:pt x="690" y="576"/>
                  </a:lnTo>
                  <a:lnTo>
                    <a:pt x="696" y="552"/>
                  </a:lnTo>
                  <a:lnTo>
                    <a:pt x="684" y="522"/>
                  </a:lnTo>
                  <a:lnTo>
                    <a:pt x="672" y="504"/>
                  </a:lnTo>
                  <a:lnTo>
                    <a:pt x="654" y="504"/>
                  </a:lnTo>
                  <a:lnTo>
                    <a:pt x="642" y="504"/>
                  </a:lnTo>
                  <a:lnTo>
                    <a:pt x="624" y="510"/>
                  </a:lnTo>
                  <a:lnTo>
                    <a:pt x="612" y="516"/>
                  </a:lnTo>
                  <a:lnTo>
                    <a:pt x="594" y="516"/>
                  </a:lnTo>
                  <a:lnTo>
                    <a:pt x="588" y="516"/>
                  </a:lnTo>
                  <a:lnTo>
                    <a:pt x="588" y="522"/>
                  </a:lnTo>
                  <a:lnTo>
                    <a:pt x="582" y="516"/>
                  </a:lnTo>
                  <a:lnTo>
                    <a:pt x="588" y="510"/>
                  </a:lnTo>
                  <a:lnTo>
                    <a:pt x="582" y="510"/>
                  </a:lnTo>
                  <a:lnTo>
                    <a:pt x="582" y="504"/>
                  </a:lnTo>
                  <a:lnTo>
                    <a:pt x="576" y="498"/>
                  </a:lnTo>
                  <a:lnTo>
                    <a:pt x="570" y="498"/>
                  </a:lnTo>
                  <a:lnTo>
                    <a:pt x="570" y="492"/>
                  </a:lnTo>
                  <a:lnTo>
                    <a:pt x="564" y="492"/>
                  </a:lnTo>
                  <a:lnTo>
                    <a:pt x="570" y="486"/>
                  </a:lnTo>
                  <a:lnTo>
                    <a:pt x="564" y="486"/>
                  </a:lnTo>
                  <a:lnTo>
                    <a:pt x="564" y="480"/>
                  </a:lnTo>
                  <a:lnTo>
                    <a:pt x="564" y="474"/>
                  </a:lnTo>
                  <a:lnTo>
                    <a:pt x="558" y="468"/>
                  </a:lnTo>
                  <a:lnTo>
                    <a:pt x="564" y="468"/>
                  </a:lnTo>
                  <a:lnTo>
                    <a:pt x="564" y="462"/>
                  </a:lnTo>
                  <a:lnTo>
                    <a:pt x="570" y="462"/>
                  </a:lnTo>
                  <a:lnTo>
                    <a:pt x="570" y="456"/>
                  </a:lnTo>
                  <a:lnTo>
                    <a:pt x="570" y="450"/>
                  </a:lnTo>
                  <a:lnTo>
                    <a:pt x="576" y="450"/>
                  </a:lnTo>
                  <a:lnTo>
                    <a:pt x="576" y="444"/>
                  </a:lnTo>
                  <a:lnTo>
                    <a:pt x="582" y="438"/>
                  </a:lnTo>
                  <a:lnTo>
                    <a:pt x="588" y="438"/>
                  </a:lnTo>
                  <a:lnTo>
                    <a:pt x="588" y="444"/>
                  </a:lnTo>
                  <a:lnTo>
                    <a:pt x="594" y="438"/>
                  </a:lnTo>
                  <a:lnTo>
                    <a:pt x="594" y="432"/>
                  </a:lnTo>
                  <a:lnTo>
                    <a:pt x="600" y="432"/>
                  </a:lnTo>
                  <a:lnTo>
                    <a:pt x="600" y="426"/>
                  </a:lnTo>
                  <a:lnTo>
                    <a:pt x="600" y="420"/>
                  </a:lnTo>
                  <a:lnTo>
                    <a:pt x="606" y="420"/>
                  </a:lnTo>
                  <a:lnTo>
                    <a:pt x="600" y="420"/>
                  </a:lnTo>
                  <a:lnTo>
                    <a:pt x="600" y="414"/>
                  </a:lnTo>
                  <a:lnTo>
                    <a:pt x="606" y="408"/>
                  </a:lnTo>
                  <a:lnTo>
                    <a:pt x="612" y="408"/>
                  </a:lnTo>
                  <a:lnTo>
                    <a:pt x="612" y="414"/>
                  </a:lnTo>
                  <a:lnTo>
                    <a:pt x="618" y="414"/>
                  </a:lnTo>
                  <a:lnTo>
                    <a:pt x="624" y="414"/>
                  </a:lnTo>
                  <a:lnTo>
                    <a:pt x="630" y="414"/>
                  </a:lnTo>
                  <a:lnTo>
                    <a:pt x="636" y="414"/>
                  </a:lnTo>
                  <a:lnTo>
                    <a:pt x="642" y="408"/>
                  </a:lnTo>
                  <a:lnTo>
                    <a:pt x="648" y="408"/>
                  </a:lnTo>
                  <a:lnTo>
                    <a:pt x="660" y="408"/>
                  </a:lnTo>
                  <a:lnTo>
                    <a:pt x="666" y="402"/>
                  </a:lnTo>
                  <a:lnTo>
                    <a:pt x="672" y="402"/>
                  </a:lnTo>
                  <a:lnTo>
                    <a:pt x="684" y="396"/>
                  </a:lnTo>
                  <a:lnTo>
                    <a:pt x="690" y="396"/>
                  </a:lnTo>
                  <a:lnTo>
                    <a:pt x="696" y="396"/>
                  </a:lnTo>
                  <a:lnTo>
                    <a:pt x="702" y="396"/>
                  </a:lnTo>
                  <a:lnTo>
                    <a:pt x="708" y="396"/>
                  </a:lnTo>
                  <a:lnTo>
                    <a:pt x="714" y="390"/>
                  </a:lnTo>
                  <a:lnTo>
                    <a:pt x="714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32" y="384"/>
                  </a:lnTo>
                  <a:lnTo>
                    <a:pt x="738" y="378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56" y="372"/>
                  </a:lnTo>
                  <a:lnTo>
                    <a:pt x="762" y="366"/>
                  </a:lnTo>
                  <a:lnTo>
                    <a:pt x="768" y="366"/>
                  </a:lnTo>
                  <a:lnTo>
                    <a:pt x="774" y="366"/>
                  </a:lnTo>
                  <a:lnTo>
                    <a:pt x="774" y="360"/>
                  </a:lnTo>
                  <a:lnTo>
                    <a:pt x="780" y="366"/>
                  </a:lnTo>
                  <a:lnTo>
                    <a:pt x="786" y="366"/>
                  </a:lnTo>
                  <a:lnTo>
                    <a:pt x="786" y="360"/>
                  </a:lnTo>
                  <a:lnTo>
                    <a:pt x="792" y="354"/>
                  </a:lnTo>
                  <a:lnTo>
                    <a:pt x="786" y="354"/>
                  </a:lnTo>
                  <a:lnTo>
                    <a:pt x="792" y="348"/>
                  </a:lnTo>
                  <a:lnTo>
                    <a:pt x="798" y="348"/>
                  </a:lnTo>
                  <a:lnTo>
                    <a:pt x="804" y="348"/>
                  </a:lnTo>
                  <a:lnTo>
                    <a:pt x="810" y="342"/>
                  </a:lnTo>
                  <a:lnTo>
                    <a:pt x="816" y="342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28" y="336"/>
                  </a:lnTo>
                  <a:lnTo>
                    <a:pt x="834" y="336"/>
                  </a:lnTo>
                  <a:lnTo>
                    <a:pt x="840" y="336"/>
                  </a:lnTo>
                  <a:lnTo>
                    <a:pt x="846" y="330"/>
                  </a:lnTo>
                  <a:lnTo>
                    <a:pt x="852" y="330"/>
                  </a:lnTo>
                  <a:lnTo>
                    <a:pt x="858" y="330"/>
                  </a:lnTo>
                  <a:lnTo>
                    <a:pt x="864" y="324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0" y="312"/>
                  </a:lnTo>
                  <a:lnTo>
                    <a:pt x="876" y="312"/>
                  </a:lnTo>
                  <a:lnTo>
                    <a:pt x="882" y="312"/>
                  </a:lnTo>
                  <a:lnTo>
                    <a:pt x="882" y="318"/>
                  </a:lnTo>
                  <a:lnTo>
                    <a:pt x="888" y="312"/>
                  </a:lnTo>
                  <a:lnTo>
                    <a:pt x="894" y="306"/>
                  </a:lnTo>
                  <a:lnTo>
                    <a:pt x="900" y="306"/>
                  </a:lnTo>
                  <a:lnTo>
                    <a:pt x="906" y="306"/>
                  </a:lnTo>
                  <a:lnTo>
                    <a:pt x="912" y="300"/>
                  </a:lnTo>
                  <a:lnTo>
                    <a:pt x="906" y="294"/>
                  </a:lnTo>
                  <a:lnTo>
                    <a:pt x="912" y="276"/>
                  </a:lnTo>
                  <a:lnTo>
                    <a:pt x="912" y="252"/>
                  </a:lnTo>
                  <a:lnTo>
                    <a:pt x="906" y="234"/>
                  </a:lnTo>
                  <a:lnTo>
                    <a:pt x="912" y="228"/>
                  </a:lnTo>
                  <a:lnTo>
                    <a:pt x="912" y="216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24" y="192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36" y="186"/>
                  </a:lnTo>
                  <a:lnTo>
                    <a:pt x="930" y="180"/>
                  </a:lnTo>
                  <a:lnTo>
                    <a:pt x="930" y="174"/>
                  </a:lnTo>
                  <a:lnTo>
                    <a:pt x="936" y="156"/>
                  </a:lnTo>
                  <a:lnTo>
                    <a:pt x="930" y="156"/>
                  </a:lnTo>
                  <a:lnTo>
                    <a:pt x="924" y="150"/>
                  </a:lnTo>
                  <a:lnTo>
                    <a:pt x="942" y="78"/>
                  </a:lnTo>
                  <a:lnTo>
                    <a:pt x="948" y="78"/>
                  </a:lnTo>
                  <a:lnTo>
                    <a:pt x="954" y="66"/>
                  </a:lnTo>
                  <a:lnTo>
                    <a:pt x="954" y="72"/>
                  </a:lnTo>
                  <a:lnTo>
                    <a:pt x="954" y="66"/>
                  </a:lnTo>
                  <a:lnTo>
                    <a:pt x="960" y="66"/>
                  </a:lnTo>
                  <a:lnTo>
                    <a:pt x="966" y="66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54"/>
                  </a:lnTo>
                  <a:lnTo>
                    <a:pt x="990" y="54"/>
                  </a:lnTo>
                  <a:lnTo>
                    <a:pt x="996" y="48"/>
                  </a:lnTo>
                  <a:lnTo>
                    <a:pt x="1002" y="48"/>
                  </a:lnTo>
                  <a:lnTo>
                    <a:pt x="1032" y="48"/>
                  </a:lnTo>
                  <a:lnTo>
                    <a:pt x="1062" y="48"/>
                  </a:lnTo>
                  <a:lnTo>
                    <a:pt x="1068" y="78"/>
                  </a:lnTo>
                  <a:lnTo>
                    <a:pt x="1086" y="78"/>
                  </a:lnTo>
                  <a:lnTo>
                    <a:pt x="1092" y="66"/>
                  </a:lnTo>
                  <a:lnTo>
                    <a:pt x="1092" y="60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8" y="48"/>
                  </a:lnTo>
                  <a:lnTo>
                    <a:pt x="1104" y="48"/>
                  </a:lnTo>
                  <a:lnTo>
                    <a:pt x="1110" y="48"/>
                  </a:lnTo>
                  <a:lnTo>
                    <a:pt x="1110" y="42"/>
                  </a:lnTo>
                  <a:lnTo>
                    <a:pt x="1110" y="36"/>
                  </a:lnTo>
                  <a:lnTo>
                    <a:pt x="1116" y="36"/>
                  </a:lnTo>
                  <a:lnTo>
                    <a:pt x="1116" y="30"/>
                  </a:lnTo>
                  <a:lnTo>
                    <a:pt x="1122" y="30"/>
                  </a:lnTo>
                  <a:lnTo>
                    <a:pt x="1128" y="30"/>
                  </a:lnTo>
                  <a:lnTo>
                    <a:pt x="1134" y="30"/>
                  </a:lnTo>
                  <a:lnTo>
                    <a:pt x="1140" y="24"/>
                  </a:lnTo>
                  <a:lnTo>
                    <a:pt x="1152" y="18"/>
                  </a:lnTo>
                  <a:lnTo>
                    <a:pt x="1158" y="18"/>
                  </a:lnTo>
                  <a:lnTo>
                    <a:pt x="1152" y="12"/>
                  </a:lnTo>
                  <a:lnTo>
                    <a:pt x="1152" y="6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8"/>
                  </a:lnTo>
                  <a:lnTo>
                    <a:pt x="1170" y="12"/>
                  </a:lnTo>
                  <a:lnTo>
                    <a:pt x="1170" y="6"/>
                  </a:lnTo>
                  <a:lnTo>
                    <a:pt x="1176" y="6"/>
                  </a:lnTo>
                  <a:lnTo>
                    <a:pt x="1176" y="0"/>
                  </a:lnTo>
                  <a:lnTo>
                    <a:pt x="1182" y="6"/>
                  </a:lnTo>
                  <a:lnTo>
                    <a:pt x="1188" y="6"/>
                  </a:lnTo>
                  <a:lnTo>
                    <a:pt x="1188" y="0"/>
                  </a:lnTo>
                  <a:lnTo>
                    <a:pt x="1194" y="6"/>
                  </a:lnTo>
                  <a:lnTo>
                    <a:pt x="1200" y="12"/>
                  </a:lnTo>
                  <a:lnTo>
                    <a:pt x="1206" y="18"/>
                  </a:lnTo>
                  <a:lnTo>
                    <a:pt x="1212" y="18"/>
                  </a:lnTo>
                  <a:lnTo>
                    <a:pt x="1218" y="24"/>
                  </a:lnTo>
                  <a:lnTo>
                    <a:pt x="1236" y="36"/>
                  </a:lnTo>
                  <a:lnTo>
                    <a:pt x="1242" y="36"/>
                  </a:lnTo>
                  <a:lnTo>
                    <a:pt x="1248" y="42"/>
                  </a:lnTo>
                  <a:lnTo>
                    <a:pt x="1248" y="48"/>
                  </a:lnTo>
                  <a:lnTo>
                    <a:pt x="1260" y="48"/>
                  </a:lnTo>
                  <a:lnTo>
                    <a:pt x="1260" y="108"/>
                  </a:lnTo>
                  <a:lnTo>
                    <a:pt x="1266" y="168"/>
                  </a:lnTo>
                  <a:lnTo>
                    <a:pt x="1278" y="234"/>
                  </a:lnTo>
                  <a:lnTo>
                    <a:pt x="1284" y="240"/>
                  </a:lnTo>
                  <a:lnTo>
                    <a:pt x="1290" y="264"/>
                  </a:lnTo>
                  <a:lnTo>
                    <a:pt x="1296" y="288"/>
                  </a:lnTo>
                  <a:lnTo>
                    <a:pt x="1296" y="300"/>
                  </a:lnTo>
                  <a:lnTo>
                    <a:pt x="1296" y="312"/>
                  </a:lnTo>
                  <a:lnTo>
                    <a:pt x="1296" y="324"/>
                  </a:lnTo>
                  <a:lnTo>
                    <a:pt x="1296" y="354"/>
                  </a:lnTo>
                  <a:lnTo>
                    <a:pt x="1302" y="366"/>
                  </a:lnTo>
                  <a:lnTo>
                    <a:pt x="1308" y="372"/>
                  </a:lnTo>
                  <a:lnTo>
                    <a:pt x="1308" y="384"/>
                  </a:lnTo>
                  <a:lnTo>
                    <a:pt x="1314" y="390"/>
                  </a:lnTo>
                  <a:lnTo>
                    <a:pt x="1308" y="408"/>
                  </a:lnTo>
                  <a:lnTo>
                    <a:pt x="1314" y="408"/>
                  </a:lnTo>
                  <a:lnTo>
                    <a:pt x="1314" y="414"/>
                  </a:lnTo>
                  <a:lnTo>
                    <a:pt x="1308" y="420"/>
                  </a:lnTo>
                  <a:lnTo>
                    <a:pt x="1308" y="432"/>
                  </a:lnTo>
                  <a:lnTo>
                    <a:pt x="1320" y="432"/>
                  </a:lnTo>
                  <a:lnTo>
                    <a:pt x="1320" y="444"/>
                  </a:lnTo>
                  <a:lnTo>
                    <a:pt x="1332" y="444"/>
                  </a:lnTo>
                  <a:lnTo>
                    <a:pt x="1338" y="450"/>
                  </a:lnTo>
                  <a:lnTo>
                    <a:pt x="1344" y="456"/>
                  </a:lnTo>
                  <a:lnTo>
                    <a:pt x="1344" y="462"/>
                  </a:lnTo>
                  <a:lnTo>
                    <a:pt x="1344" y="474"/>
                  </a:lnTo>
                  <a:lnTo>
                    <a:pt x="1350" y="474"/>
                  </a:lnTo>
                  <a:lnTo>
                    <a:pt x="1368" y="504"/>
                  </a:lnTo>
                  <a:lnTo>
                    <a:pt x="1374" y="534"/>
                  </a:lnTo>
                  <a:lnTo>
                    <a:pt x="1380" y="558"/>
                  </a:lnTo>
                  <a:lnTo>
                    <a:pt x="1386" y="576"/>
                  </a:lnTo>
                  <a:lnTo>
                    <a:pt x="1386" y="600"/>
                  </a:lnTo>
                  <a:lnTo>
                    <a:pt x="1386" y="624"/>
                  </a:lnTo>
                  <a:lnTo>
                    <a:pt x="1386" y="648"/>
                  </a:lnTo>
                  <a:lnTo>
                    <a:pt x="1386" y="684"/>
                  </a:lnTo>
                  <a:lnTo>
                    <a:pt x="1380" y="684"/>
                  </a:lnTo>
                  <a:lnTo>
                    <a:pt x="1374" y="696"/>
                  </a:lnTo>
                  <a:lnTo>
                    <a:pt x="1368" y="702"/>
                  </a:lnTo>
                  <a:lnTo>
                    <a:pt x="1362" y="708"/>
                  </a:lnTo>
                  <a:lnTo>
                    <a:pt x="1356" y="714"/>
                  </a:lnTo>
                  <a:lnTo>
                    <a:pt x="1350" y="720"/>
                  </a:lnTo>
                  <a:lnTo>
                    <a:pt x="1338" y="720"/>
                  </a:lnTo>
                  <a:lnTo>
                    <a:pt x="1338" y="738"/>
                  </a:lnTo>
                  <a:lnTo>
                    <a:pt x="1362" y="750"/>
                  </a:lnTo>
                  <a:lnTo>
                    <a:pt x="1362" y="756"/>
                  </a:lnTo>
                  <a:lnTo>
                    <a:pt x="1374" y="756"/>
                  </a:lnTo>
                  <a:lnTo>
                    <a:pt x="1410" y="774"/>
                  </a:lnTo>
                  <a:lnTo>
                    <a:pt x="1446" y="774"/>
                  </a:lnTo>
                  <a:lnTo>
                    <a:pt x="1482" y="768"/>
                  </a:lnTo>
                  <a:lnTo>
                    <a:pt x="1500" y="774"/>
                  </a:lnTo>
                  <a:lnTo>
                    <a:pt x="1512" y="78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6" name="Freeform 11">
              <a:extLst>
                <a:ext uri="{FF2B5EF4-FFF2-40B4-BE49-F238E27FC236}">
                  <a16:creationId xmlns:a16="http://schemas.microsoft.com/office/drawing/2014/main" id="{1FF8E66F-B850-456A-B132-C45FEEDE95C6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2475" y="2345643"/>
              <a:ext cx="445003" cy="603855"/>
            </a:xfrm>
            <a:custGeom>
              <a:avLst/>
              <a:gdLst>
                <a:gd name="T0" fmla="*/ 47 w 840"/>
                <a:gd name="T1" fmla="*/ 98 h 1134"/>
                <a:gd name="T2" fmla="*/ 41 w 840"/>
                <a:gd name="T3" fmla="*/ 98 h 1134"/>
                <a:gd name="T4" fmla="*/ 37 w 840"/>
                <a:gd name="T5" fmla="*/ 98 h 1134"/>
                <a:gd name="T6" fmla="*/ 29 w 840"/>
                <a:gd name="T7" fmla="*/ 97 h 1134"/>
                <a:gd name="T8" fmla="*/ 27 w 840"/>
                <a:gd name="T9" fmla="*/ 94 h 1134"/>
                <a:gd name="T10" fmla="*/ 26 w 840"/>
                <a:gd name="T11" fmla="*/ 93 h 1134"/>
                <a:gd name="T12" fmla="*/ 26 w 840"/>
                <a:gd name="T13" fmla="*/ 83 h 1134"/>
                <a:gd name="T14" fmla="*/ 26 w 840"/>
                <a:gd name="T15" fmla="*/ 81 h 1134"/>
                <a:gd name="T16" fmla="*/ 23 w 840"/>
                <a:gd name="T17" fmla="*/ 77 h 1134"/>
                <a:gd name="T18" fmla="*/ 19 w 840"/>
                <a:gd name="T19" fmla="*/ 75 h 1134"/>
                <a:gd name="T20" fmla="*/ 16 w 840"/>
                <a:gd name="T21" fmla="*/ 72 h 1134"/>
                <a:gd name="T22" fmla="*/ 13 w 840"/>
                <a:gd name="T23" fmla="*/ 70 h 1134"/>
                <a:gd name="T24" fmla="*/ 17 w 840"/>
                <a:gd name="T25" fmla="*/ 67 h 1134"/>
                <a:gd name="T26" fmla="*/ 19 w 840"/>
                <a:gd name="T27" fmla="*/ 63 h 1134"/>
                <a:gd name="T28" fmla="*/ 20 w 840"/>
                <a:gd name="T29" fmla="*/ 59 h 1134"/>
                <a:gd name="T30" fmla="*/ 19 w 840"/>
                <a:gd name="T31" fmla="*/ 55 h 1134"/>
                <a:gd name="T32" fmla="*/ 17 w 840"/>
                <a:gd name="T33" fmla="*/ 47 h 1134"/>
                <a:gd name="T34" fmla="*/ 8 w 840"/>
                <a:gd name="T35" fmla="*/ 45 h 1134"/>
                <a:gd name="T36" fmla="*/ 4 w 840"/>
                <a:gd name="T37" fmla="*/ 39 h 1134"/>
                <a:gd name="T38" fmla="*/ 2 w 840"/>
                <a:gd name="T39" fmla="*/ 35 h 1134"/>
                <a:gd name="T40" fmla="*/ 0 w 840"/>
                <a:gd name="T41" fmla="*/ 31 h 1134"/>
                <a:gd name="T42" fmla="*/ 2 w 840"/>
                <a:gd name="T43" fmla="*/ 27 h 1134"/>
                <a:gd name="T44" fmla="*/ 5 w 840"/>
                <a:gd name="T45" fmla="*/ 24 h 1134"/>
                <a:gd name="T46" fmla="*/ 10 w 840"/>
                <a:gd name="T47" fmla="*/ 26 h 1134"/>
                <a:gd name="T48" fmla="*/ 7 w 840"/>
                <a:gd name="T49" fmla="*/ 20 h 1134"/>
                <a:gd name="T50" fmla="*/ 12 w 840"/>
                <a:gd name="T51" fmla="*/ 12 h 1134"/>
                <a:gd name="T52" fmla="*/ 19 w 840"/>
                <a:gd name="T53" fmla="*/ 10 h 1134"/>
                <a:gd name="T54" fmla="*/ 20 w 840"/>
                <a:gd name="T55" fmla="*/ 13 h 1134"/>
                <a:gd name="T56" fmla="*/ 22 w 840"/>
                <a:gd name="T57" fmla="*/ 11 h 1134"/>
                <a:gd name="T58" fmla="*/ 25 w 840"/>
                <a:gd name="T59" fmla="*/ 7 h 1134"/>
                <a:gd name="T60" fmla="*/ 29 w 840"/>
                <a:gd name="T61" fmla="*/ 2 h 1134"/>
                <a:gd name="T62" fmla="*/ 33 w 840"/>
                <a:gd name="T63" fmla="*/ 1 h 1134"/>
                <a:gd name="T64" fmla="*/ 37 w 840"/>
                <a:gd name="T65" fmla="*/ 2 h 1134"/>
                <a:gd name="T66" fmla="*/ 39 w 840"/>
                <a:gd name="T67" fmla="*/ 4 h 1134"/>
                <a:gd name="T68" fmla="*/ 43 w 840"/>
                <a:gd name="T69" fmla="*/ 5 h 1134"/>
                <a:gd name="T70" fmla="*/ 46 w 840"/>
                <a:gd name="T71" fmla="*/ 11 h 1134"/>
                <a:gd name="T72" fmla="*/ 49 w 840"/>
                <a:gd name="T73" fmla="*/ 12 h 1134"/>
                <a:gd name="T74" fmla="*/ 52 w 840"/>
                <a:gd name="T75" fmla="*/ 15 h 1134"/>
                <a:gd name="T76" fmla="*/ 54 w 840"/>
                <a:gd name="T77" fmla="*/ 18 h 1134"/>
                <a:gd name="T78" fmla="*/ 55 w 840"/>
                <a:gd name="T79" fmla="*/ 22 h 1134"/>
                <a:gd name="T80" fmla="*/ 56 w 840"/>
                <a:gd name="T81" fmla="*/ 26 h 1134"/>
                <a:gd name="T82" fmla="*/ 55 w 840"/>
                <a:gd name="T83" fmla="*/ 32 h 1134"/>
                <a:gd name="T84" fmla="*/ 55 w 840"/>
                <a:gd name="T85" fmla="*/ 36 h 1134"/>
                <a:gd name="T86" fmla="*/ 54 w 840"/>
                <a:gd name="T87" fmla="*/ 39 h 1134"/>
                <a:gd name="T88" fmla="*/ 56 w 840"/>
                <a:gd name="T89" fmla="*/ 39 h 1134"/>
                <a:gd name="T90" fmla="*/ 58 w 840"/>
                <a:gd name="T91" fmla="*/ 39 h 1134"/>
                <a:gd name="T92" fmla="*/ 61 w 840"/>
                <a:gd name="T93" fmla="*/ 39 h 1134"/>
                <a:gd name="T94" fmla="*/ 60 w 840"/>
                <a:gd name="T95" fmla="*/ 49 h 1134"/>
                <a:gd name="T96" fmla="*/ 59 w 840"/>
                <a:gd name="T97" fmla="*/ 53 h 1134"/>
                <a:gd name="T98" fmla="*/ 59 w 840"/>
                <a:gd name="T99" fmla="*/ 56 h 1134"/>
                <a:gd name="T100" fmla="*/ 60 w 840"/>
                <a:gd name="T101" fmla="*/ 59 h 1134"/>
                <a:gd name="T102" fmla="*/ 64 w 840"/>
                <a:gd name="T103" fmla="*/ 61 h 1134"/>
                <a:gd name="T104" fmla="*/ 69 w 840"/>
                <a:gd name="T105" fmla="*/ 63 h 1134"/>
                <a:gd name="T106" fmla="*/ 72 w 840"/>
                <a:gd name="T107" fmla="*/ 69 h 1134"/>
                <a:gd name="T108" fmla="*/ 72 w 840"/>
                <a:gd name="T109" fmla="*/ 73 h 1134"/>
                <a:gd name="T110" fmla="*/ 72 w 840"/>
                <a:gd name="T111" fmla="*/ 83 h 1134"/>
                <a:gd name="T112" fmla="*/ 63 w 840"/>
                <a:gd name="T113" fmla="*/ 88 h 1134"/>
                <a:gd name="T114" fmla="*/ 52 w 840"/>
                <a:gd name="T115" fmla="*/ 95 h 11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40"/>
                <a:gd name="T175" fmla="*/ 0 h 1134"/>
                <a:gd name="T176" fmla="*/ 840 w 840"/>
                <a:gd name="T177" fmla="*/ 1134 h 11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40" h="1134">
                  <a:moveTo>
                    <a:pt x="564" y="1110"/>
                  </a:moveTo>
                  <a:lnTo>
                    <a:pt x="564" y="1104"/>
                  </a:lnTo>
                  <a:lnTo>
                    <a:pt x="558" y="1104"/>
                  </a:lnTo>
                  <a:lnTo>
                    <a:pt x="552" y="1110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28" y="1128"/>
                  </a:lnTo>
                  <a:lnTo>
                    <a:pt x="498" y="1128"/>
                  </a:lnTo>
                  <a:lnTo>
                    <a:pt x="492" y="1128"/>
                  </a:lnTo>
                  <a:lnTo>
                    <a:pt x="486" y="1128"/>
                  </a:lnTo>
                  <a:lnTo>
                    <a:pt x="480" y="1128"/>
                  </a:lnTo>
                  <a:lnTo>
                    <a:pt x="474" y="1134"/>
                  </a:lnTo>
                  <a:lnTo>
                    <a:pt x="468" y="1134"/>
                  </a:lnTo>
                  <a:lnTo>
                    <a:pt x="462" y="1134"/>
                  </a:lnTo>
                  <a:lnTo>
                    <a:pt x="456" y="1134"/>
                  </a:lnTo>
                  <a:lnTo>
                    <a:pt x="456" y="1128"/>
                  </a:lnTo>
                  <a:lnTo>
                    <a:pt x="450" y="1122"/>
                  </a:lnTo>
                  <a:lnTo>
                    <a:pt x="426" y="1128"/>
                  </a:lnTo>
                  <a:lnTo>
                    <a:pt x="414" y="1128"/>
                  </a:lnTo>
                  <a:lnTo>
                    <a:pt x="348" y="1134"/>
                  </a:lnTo>
                  <a:lnTo>
                    <a:pt x="348" y="1128"/>
                  </a:lnTo>
                  <a:lnTo>
                    <a:pt x="342" y="1128"/>
                  </a:lnTo>
                  <a:lnTo>
                    <a:pt x="336" y="1122"/>
                  </a:lnTo>
                  <a:lnTo>
                    <a:pt x="330" y="1122"/>
                  </a:lnTo>
                  <a:lnTo>
                    <a:pt x="324" y="1116"/>
                  </a:lnTo>
                  <a:lnTo>
                    <a:pt x="324" y="1110"/>
                  </a:lnTo>
                  <a:lnTo>
                    <a:pt x="318" y="1110"/>
                  </a:lnTo>
                  <a:lnTo>
                    <a:pt x="318" y="1104"/>
                  </a:lnTo>
                  <a:lnTo>
                    <a:pt x="312" y="1092"/>
                  </a:lnTo>
                  <a:lnTo>
                    <a:pt x="306" y="1086"/>
                  </a:lnTo>
                  <a:lnTo>
                    <a:pt x="306" y="1080"/>
                  </a:lnTo>
                  <a:lnTo>
                    <a:pt x="312" y="1074"/>
                  </a:lnTo>
                  <a:lnTo>
                    <a:pt x="306" y="1068"/>
                  </a:lnTo>
                  <a:lnTo>
                    <a:pt x="300" y="1074"/>
                  </a:lnTo>
                  <a:lnTo>
                    <a:pt x="300" y="1068"/>
                  </a:lnTo>
                  <a:lnTo>
                    <a:pt x="294" y="1068"/>
                  </a:lnTo>
                  <a:lnTo>
                    <a:pt x="294" y="1056"/>
                  </a:lnTo>
                  <a:lnTo>
                    <a:pt x="294" y="1026"/>
                  </a:lnTo>
                  <a:lnTo>
                    <a:pt x="294" y="1020"/>
                  </a:lnTo>
                  <a:lnTo>
                    <a:pt x="294" y="1008"/>
                  </a:lnTo>
                  <a:lnTo>
                    <a:pt x="294" y="966"/>
                  </a:lnTo>
                  <a:lnTo>
                    <a:pt x="294" y="960"/>
                  </a:lnTo>
                  <a:lnTo>
                    <a:pt x="294" y="954"/>
                  </a:lnTo>
                  <a:lnTo>
                    <a:pt x="294" y="948"/>
                  </a:lnTo>
                  <a:lnTo>
                    <a:pt x="294" y="942"/>
                  </a:lnTo>
                  <a:lnTo>
                    <a:pt x="300" y="936"/>
                  </a:lnTo>
                  <a:lnTo>
                    <a:pt x="300" y="930"/>
                  </a:lnTo>
                  <a:lnTo>
                    <a:pt x="294" y="930"/>
                  </a:lnTo>
                  <a:lnTo>
                    <a:pt x="288" y="930"/>
                  </a:lnTo>
                  <a:lnTo>
                    <a:pt x="288" y="924"/>
                  </a:lnTo>
                  <a:lnTo>
                    <a:pt x="282" y="918"/>
                  </a:lnTo>
                  <a:lnTo>
                    <a:pt x="282" y="906"/>
                  </a:lnTo>
                  <a:lnTo>
                    <a:pt x="282" y="900"/>
                  </a:lnTo>
                  <a:lnTo>
                    <a:pt x="264" y="894"/>
                  </a:lnTo>
                  <a:lnTo>
                    <a:pt x="252" y="882"/>
                  </a:lnTo>
                  <a:lnTo>
                    <a:pt x="246" y="876"/>
                  </a:lnTo>
                  <a:lnTo>
                    <a:pt x="240" y="876"/>
                  </a:lnTo>
                  <a:lnTo>
                    <a:pt x="240" y="870"/>
                  </a:lnTo>
                  <a:lnTo>
                    <a:pt x="234" y="870"/>
                  </a:lnTo>
                  <a:lnTo>
                    <a:pt x="222" y="864"/>
                  </a:lnTo>
                  <a:lnTo>
                    <a:pt x="216" y="864"/>
                  </a:lnTo>
                  <a:lnTo>
                    <a:pt x="210" y="858"/>
                  </a:lnTo>
                  <a:lnTo>
                    <a:pt x="210" y="852"/>
                  </a:lnTo>
                  <a:lnTo>
                    <a:pt x="210" y="846"/>
                  </a:lnTo>
                  <a:lnTo>
                    <a:pt x="198" y="840"/>
                  </a:lnTo>
                  <a:lnTo>
                    <a:pt x="186" y="834"/>
                  </a:lnTo>
                  <a:lnTo>
                    <a:pt x="180" y="828"/>
                  </a:lnTo>
                  <a:lnTo>
                    <a:pt x="180" y="822"/>
                  </a:lnTo>
                  <a:lnTo>
                    <a:pt x="174" y="822"/>
                  </a:lnTo>
                  <a:lnTo>
                    <a:pt x="162" y="816"/>
                  </a:lnTo>
                  <a:lnTo>
                    <a:pt x="156" y="810"/>
                  </a:lnTo>
                  <a:lnTo>
                    <a:pt x="150" y="810"/>
                  </a:lnTo>
                  <a:lnTo>
                    <a:pt x="144" y="798"/>
                  </a:lnTo>
                  <a:lnTo>
                    <a:pt x="138" y="786"/>
                  </a:lnTo>
                  <a:lnTo>
                    <a:pt x="138" y="780"/>
                  </a:lnTo>
                  <a:lnTo>
                    <a:pt x="144" y="774"/>
                  </a:lnTo>
                  <a:lnTo>
                    <a:pt x="150" y="768"/>
                  </a:lnTo>
                  <a:lnTo>
                    <a:pt x="192" y="768"/>
                  </a:lnTo>
                  <a:lnTo>
                    <a:pt x="210" y="762"/>
                  </a:lnTo>
                  <a:lnTo>
                    <a:pt x="216" y="756"/>
                  </a:lnTo>
                  <a:lnTo>
                    <a:pt x="216" y="744"/>
                  </a:lnTo>
                  <a:lnTo>
                    <a:pt x="216" y="738"/>
                  </a:lnTo>
                  <a:lnTo>
                    <a:pt x="216" y="732"/>
                  </a:lnTo>
                  <a:lnTo>
                    <a:pt x="216" y="726"/>
                  </a:lnTo>
                  <a:lnTo>
                    <a:pt x="216" y="720"/>
                  </a:lnTo>
                  <a:lnTo>
                    <a:pt x="228" y="702"/>
                  </a:lnTo>
                  <a:lnTo>
                    <a:pt x="234" y="696"/>
                  </a:lnTo>
                  <a:lnTo>
                    <a:pt x="240" y="690"/>
                  </a:lnTo>
                  <a:lnTo>
                    <a:pt x="240" y="684"/>
                  </a:lnTo>
                  <a:lnTo>
                    <a:pt x="234" y="678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0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22" y="630"/>
                  </a:lnTo>
                  <a:lnTo>
                    <a:pt x="222" y="618"/>
                  </a:lnTo>
                  <a:lnTo>
                    <a:pt x="222" y="582"/>
                  </a:lnTo>
                  <a:lnTo>
                    <a:pt x="228" y="582"/>
                  </a:lnTo>
                  <a:lnTo>
                    <a:pt x="222" y="564"/>
                  </a:lnTo>
                  <a:lnTo>
                    <a:pt x="210" y="552"/>
                  </a:lnTo>
                  <a:lnTo>
                    <a:pt x="192" y="540"/>
                  </a:lnTo>
                  <a:lnTo>
                    <a:pt x="174" y="540"/>
                  </a:lnTo>
                  <a:lnTo>
                    <a:pt x="150" y="534"/>
                  </a:lnTo>
                  <a:lnTo>
                    <a:pt x="126" y="528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90" y="516"/>
                  </a:lnTo>
                  <a:lnTo>
                    <a:pt x="78" y="504"/>
                  </a:lnTo>
                  <a:lnTo>
                    <a:pt x="72" y="498"/>
                  </a:lnTo>
                  <a:lnTo>
                    <a:pt x="66" y="486"/>
                  </a:lnTo>
                  <a:lnTo>
                    <a:pt x="54" y="468"/>
                  </a:lnTo>
                  <a:lnTo>
                    <a:pt x="54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42" y="438"/>
                  </a:lnTo>
                  <a:lnTo>
                    <a:pt x="36" y="438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24" y="384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2" y="360"/>
                  </a:lnTo>
                  <a:lnTo>
                    <a:pt x="6" y="360"/>
                  </a:lnTo>
                  <a:lnTo>
                    <a:pt x="0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0"/>
                  </a:lnTo>
                  <a:lnTo>
                    <a:pt x="18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8" y="270"/>
                  </a:lnTo>
                  <a:lnTo>
                    <a:pt x="90" y="276"/>
                  </a:lnTo>
                  <a:lnTo>
                    <a:pt x="108" y="294"/>
                  </a:lnTo>
                  <a:lnTo>
                    <a:pt x="114" y="294"/>
                  </a:lnTo>
                  <a:lnTo>
                    <a:pt x="114" y="276"/>
                  </a:lnTo>
                  <a:lnTo>
                    <a:pt x="114" y="270"/>
                  </a:lnTo>
                  <a:lnTo>
                    <a:pt x="102" y="258"/>
                  </a:lnTo>
                  <a:lnTo>
                    <a:pt x="96" y="246"/>
                  </a:lnTo>
                  <a:lnTo>
                    <a:pt x="90" y="234"/>
                  </a:lnTo>
                  <a:lnTo>
                    <a:pt x="78" y="228"/>
                  </a:lnTo>
                  <a:lnTo>
                    <a:pt x="72" y="216"/>
                  </a:lnTo>
                  <a:lnTo>
                    <a:pt x="66" y="192"/>
                  </a:lnTo>
                  <a:lnTo>
                    <a:pt x="90" y="174"/>
                  </a:lnTo>
                  <a:lnTo>
                    <a:pt x="120" y="150"/>
                  </a:lnTo>
                  <a:lnTo>
                    <a:pt x="132" y="150"/>
                  </a:lnTo>
                  <a:lnTo>
                    <a:pt x="138" y="144"/>
                  </a:lnTo>
                  <a:lnTo>
                    <a:pt x="138" y="138"/>
                  </a:lnTo>
                  <a:lnTo>
                    <a:pt x="156" y="126"/>
                  </a:lnTo>
                  <a:lnTo>
                    <a:pt x="180" y="114"/>
                  </a:lnTo>
                  <a:lnTo>
                    <a:pt x="216" y="114"/>
                  </a:lnTo>
                  <a:lnTo>
                    <a:pt x="222" y="114"/>
                  </a:lnTo>
                  <a:lnTo>
                    <a:pt x="222" y="120"/>
                  </a:lnTo>
                  <a:lnTo>
                    <a:pt x="222" y="126"/>
                  </a:lnTo>
                  <a:lnTo>
                    <a:pt x="222" y="132"/>
                  </a:lnTo>
                  <a:lnTo>
                    <a:pt x="228" y="138"/>
                  </a:lnTo>
                  <a:lnTo>
                    <a:pt x="228" y="144"/>
                  </a:lnTo>
                  <a:lnTo>
                    <a:pt x="228" y="150"/>
                  </a:lnTo>
                  <a:lnTo>
                    <a:pt x="234" y="150"/>
                  </a:lnTo>
                  <a:lnTo>
                    <a:pt x="234" y="144"/>
                  </a:lnTo>
                  <a:lnTo>
                    <a:pt x="240" y="144"/>
                  </a:lnTo>
                  <a:lnTo>
                    <a:pt x="246" y="144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58" y="126"/>
                  </a:lnTo>
                  <a:lnTo>
                    <a:pt x="258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76" y="96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6" y="72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36"/>
                  </a:lnTo>
                  <a:lnTo>
                    <a:pt x="330" y="24"/>
                  </a:lnTo>
                  <a:lnTo>
                    <a:pt x="330" y="18"/>
                  </a:lnTo>
                  <a:lnTo>
                    <a:pt x="330" y="12"/>
                  </a:lnTo>
                  <a:lnTo>
                    <a:pt x="336" y="6"/>
                  </a:lnTo>
                  <a:lnTo>
                    <a:pt x="366" y="0"/>
                  </a:lnTo>
                  <a:lnTo>
                    <a:pt x="372" y="6"/>
                  </a:lnTo>
                  <a:lnTo>
                    <a:pt x="384" y="12"/>
                  </a:lnTo>
                  <a:lnTo>
                    <a:pt x="402" y="12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18"/>
                  </a:lnTo>
                  <a:lnTo>
                    <a:pt x="420" y="18"/>
                  </a:lnTo>
                  <a:lnTo>
                    <a:pt x="426" y="24"/>
                  </a:lnTo>
                  <a:lnTo>
                    <a:pt x="432" y="30"/>
                  </a:lnTo>
                  <a:lnTo>
                    <a:pt x="438" y="36"/>
                  </a:lnTo>
                  <a:lnTo>
                    <a:pt x="444" y="42"/>
                  </a:lnTo>
                  <a:lnTo>
                    <a:pt x="450" y="42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16" y="78"/>
                  </a:lnTo>
                  <a:lnTo>
                    <a:pt x="522" y="102"/>
                  </a:lnTo>
                  <a:lnTo>
                    <a:pt x="522" y="108"/>
                  </a:lnTo>
                  <a:lnTo>
                    <a:pt x="528" y="126"/>
                  </a:lnTo>
                  <a:lnTo>
                    <a:pt x="534" y="126"/>
                  </a:lnTo>
                  <a:lnTo>
                    <a:pt x="540" y="120"/>
                  </a:lnTo>
                  <a:lnTo>
                    <a:pt x="546" y="126"/>
                  </a:lnTo>
                  <a:lnTo>
                    <a:pt x="552" y="126"/>
                  </a:lnTo>
                  <a:lnTo>
                    <a:pt x="558" y="132"/>
                  </a:lnTo>
                  <a:lnTo>
                    <a:pt x="564" y="138"/>
                  </a:lnTo>
                  <a:lnTo>
                    <a:pt x="570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594" y="168"/>
                  </a:lnTo>
                  <a:lnTo>
                    <a:pt x="600" y="174"/>
                  </a:lnTo>
                  <a:lnTo>
                    <a:pt x="606" y="180"/>
                  </a:lnTo>
                  <a:lnTo>
                    <a:pt x="606" y="186"/>
                  </a:lnTo>
                  <a:lnTo>
                    <a:pt x="612" y="192"/>
                  </a:lnTo>
                  <a:lnTo>
                    <a:pt x="612" y="198"/>
                  </a:lnTo>
                  <a:lnTo>
                    <a:pt x="624" y="204"/>
                  </a:lnTo>
                  <a:lnTo>
                    <a:pt x="624" y="210"/>
                  </a:lnTo>
                  <a:lnTo>
                    <a:pt x="630" y="216"/>
                  </a:lnTo>
                  <a:lnTo>
                    <a:pt x="636" y="222"/>
                  </a:lnTo>
                  <a:lnTo>
                    <a:pt x="636" y="228"/>
                  </a:lnTo>
                  <a:lnTo>
                    <a:pt x="636" y="234"/>
                  </a:lnTo>
                  <a:lnTo>
                    <a:pt x="636" y="252"/>
                  </a:lnTo>
                  <a:lnTo>
                    <a:pt x="636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42" y="276"/>
                  </a:lnTo>
                  <a:lnTo>
                    <a:pt x="642" y="282"/>
                  </a:lnTo>
                  <a:lnTo>
                    <a:pt x="642" y="288"/>
                  </a:lnTo>
                  <a:lnTo>
                    <a:pt x="642" y="300"/>
                  </a:lnTo>
                  <a:lnTo>
                    <a:pt x="642" y="306"/>
                  </a:lnTo>
                  <a:lnTo>
                    <a:pt x="636" y="312"/>
                  </a:lnTo>
                  <a:lnTo>
                    <a:pt x="636" y="324"/>
                  </a:lnTo>
                  <a:lnTo>
                    <a:pt x="636" y="342"/>
                  </a:lnTo>
                  <a:lnTo>
                    <a:pt x="630" y="354"/>
                  </a:lnTo>
                  <a:lnTo>
                    <a:pt x="630" y="366"/>
                  </a:lnTo>
                  <a:lnTo>
                    <a:pt x="624" y="378"/>
                  </a:lnTo>
                  <a:lnTo>
                    <a:pt x="624" y="384"/>
                  </a:lnTo>
                  <a:lnTo>
                    <a:pt x="636" y="396"/>
                  </a:lnTo>
                  <a:lnTo>
                    <a:pt x="636" y="402"/>
                  </a:lnTo>
                  <a:lnTo>
                    <a:pt x="636" y="408"/>
                  </a:lnTo>
                  <a:lnTo>
                    <a:pt x="630" y="414"/>
                  </a:lnTo>
                  <a:lnTo>
                    <a:pt x="630" y="420"/>
                  </a:lnTo>
                  <a:lnTo>
                    <a:pt x="630" y="426"/>
                  </a:lnTo>
                  <a:lnTo>
                    <a:pt x="630" y="432"/>
                  </a:lnTo>
                  <a:lnTo>
                    <a:pt x="624" y="438"/>
                  </a:lnTo>
                  <a:lnTo>
                    <a:pt x="624" y="444"/>
                  </a:lnTo>
                  <a:lnTo>
                    <a:pt x="624" y="450"/>
                  </a:lnTo>
                  <a:lnTo>
                    <a:pt x="630" y="450"/>
                  </a:lnTo>
                  <a:lnTo>
                    <a:pt x="630" y="456"/>
                  </a:lnTo>
                  <a:lnTo>
                    <a:pt x="630" y="462"/>
                  </a:lnTo>
                  <a:lnTo>
                    <a:pt x="636" y="468"/>
                  </a:lnTo>
                  <a:lnTo>
                    <a:pt x="642" y="456"/>
                  </a:lnTo>
                  <a:lnTo>
                    <a:pt x="642" y="450"/>
                  </a:lnTo>
                  <a:lnTo>
                    <a:pt x="648" y="450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60" y="444"/>
                  </a:lnTo>
                  <a:lnTo>
                    <a:pt x="666" y="450"/>
                  </a:lnTo>
                  <a:lnTo>
                    <a:pt x="672" y="444"/>
                  </a:lnTo>
                  <a:lnTo>
                    <a:pt x="678" y="444"/>
                  </a:lnTo>
                  <a:lnTo>
                    <a:pt x="684" y="438"/>
                  </a:lnTo>
                  <a:lnTo>
                    <a:pt x="690" y="438"/>
                  </a:lnTo>
                  <a:lnTo>
                    <a:pt x="696" y="438"/>
                  </a:lnTo>
                  <a:lnTo>
                    <a:pt x="702" y="444"/>
                  </a:lnTo>
                  <a:lnTo>
                    <a:pt x="702" y="450"/>
                  </a:lnTo>
                  <a:lnTo>
                    <a:pt x="708" y="450"/>
                  </a:lnTo>
                  <a:lnTo>
                    <a:pt x="708" y="456"/>
                  </a:lnTo>
                  <a:lnTo>
                    <a:pt x="708" y="462"/>
                  </a:lnTo>
                  <a:lnTo>
                    <a:pt x="708" y="468"/>
                  </a:lnTo>
                  <a:lnTo>
                    <a:pt x="708" y="504"/>
                  </a:lnTo>
                  <a:lnTo>
                    <a:pt x="696" y="564"/>
                  </a:lnTo>
                  <a:lnTo>
                    <a:pt x="696" y="582"/>
                  </a:lnTo>
                  <a:lnTo>
                    <a:pt x="696" y="600"/>
                  </a:lnTo>
                  <a:lnTo>
                    <a:pt x="690" y="606"/>
                  </a:lnTo>
                  <a:lnTo>
                    <a:pt x="684" y="606"/>
                  </a:lnTo>
                  <a:lnTo>
                    <a:pt x="690" y="612"/>
                  </a:lnTo>
                  <a:lnTo>
                    <a:pt x="684" y="612"/>
                  </a:lnTo>
                  <a:lnTo>
                    <a:pt x="678" y="618"/>
                  </a:lnTo>
                  <a:lnTo>
                    <a:pt x="672" y="624"/>
                  </a:lnTo>
                  <a:lnTo>
                    <a:pt x="666" y="630"/>
                  </a:lnTo>
                  <a:lnTo>
                    <a:pt x="660" y="636"/>
                  </a:lnTo>
                  <a:lnTo>
                    <a:pt x="672" y="636"/>
                  </a:lnTo>
                  <a:lnTo>
                    <a:pt x="678" y="642"/>
                  </a:lnTo>
                  <a:lnTo>
                    <a:pt x="678" y="648"/>
                  </a:lnTo>
                  <a:lnTo>
                    <a:pt x="684" y="654"/>
                  </a:lnTo>
                  <a:lnTo>
                    <a:pt x="690" y="666"/>
                  </a:lnTo>
                  <a:lnTo>
                    <a:pt x="690" y="672"/>
                  </a:lnTo>
                  <a:lnTo>
                    <a:pt x="696" y="672"/>
                  </a:lnTo>
                  <a:lnTo>
                    <a:pt x="696" y="684"/>
                  </a:lnTo>
                  <a:lnTo>
                    <a:pt x="708" y="690"/>
                  </a:lnTo>
                  <a:lnTo>
                    <a:pt x="720" y="696"/>
                  </a:lnTo>
                  <a:lnTo>
                    <a:pt x="726" y="696"/>
                  </a:lnTo>
                  <a:lnTo>
                    <a:pt x="732" y="696"/>
                  </a:lnTo>
                  <a:lnTo>
                    <a:pt x="738" y="696"/>
                  </a:lnTo>
                  <a:lnTo>
                    <a:pt x="738" y="702"/>
                  </a:lnTo>
                  <a:lnTo>
                    <a:pt x="738" y="708"/>
                  </a:lnTo>
                  <a:lnTo>
                    <a:pt x="738" y="714"/>
                  </a:lnTo>
                  <a:lnTo>
                    <a:pt x="744" y="714"/>
                  </a:lnTo>
                  <a:lnTo>
                    <a:pt x="756" y="720"/>
                  </a:lnTo>
                  <a:lnTo>
                    <a:pt x="780" y="726"/>
                  </a:lnTo>
                  <a:lnTo>
                    <a:pt x="792" y="732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22" y="774"/>
                  </a:lnTo>
                  <a:lnTo>
                    <a:pt x="834" y="786"/>
                  </a:lnTo>
                  <a:lnTo>
                    <a:pt x="834" y="792"/>
                  </a:lnTo>
                  <a:lnTo>
                    <a:pt x="834" y="798"/>
                  </a:lnTo>
                  <a:lnTo>
                    <a:pt x="828" y="798"/>
                  </a:lnTo>
                  <a:lnTo>
                    <a:pt x="828" y="804"/>
                  </a:lnTo>
                  <a:lnTo>
                    <a:pt x="834" y="816"/>
                  </a:lnTo>
                  <a:lnTo>
                    <a:pt x="834" y="834"/>
                  </a:lnTo>
                  <a:lnTo>
                    <a:pt x="834" y="840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34" y="858"/>
                  </a:lnTo>
                  <a:lnTo>
                    <a:pt x="834" y="864"/>
                  </a:lnTo>
                  <a:lnTo>
                    <a:pt x="834" y="876"/>
                  </a:lnTo>
                  <a:lnTo>
                    <a:pt x="828" y="960"/>
                  </a:lnTo>
                  <a:lnTo>
                    <a:pt x="816" y="966"/>
                  </a:lnTo>
                  <a:lnTo>
                    <a:pt x="798" y="972"/>
                  </a:lnTo>
                  <a:lnTo>
                    <a:pt x="786" y="990"/>
                  </a:lnTo>
                  <a:lnTo>
                    <a:pt x="774" y="990"/>
                  </a:lnTo>
                  <a:lnTo>
                    <a:pt x="762" y="1008"/>
                  </a:lnTo>
                  <a:lnTo>
                    <a:pt x="732" y="1014"/>
                  </a:lnTo>
                  <a:lnTo>
                    <a:pt x="714" y="1026"/>
                  </a:lnTo>
                  <a:lnTo>
                    <a:pt x="690" y="1050"/>
                  </a:lnTo>
                  <a:lnTo>
                    <a:pt x="654" y="1056"/>
                  </a:lnTo>
                  <a:lnTo>
                    <a:pt x="630" y="1056"/>
                  </a:lnTo>
                  <a:lnTo>
                    <a:pt x="606" y="1068"/>
                  </a:lnTo>
                  <a:lnTo>
                    <a:pt x="600" y="1092"/>
                  </a:lnTo>
                  <a:lnTo>
                    <a:pt x="600" y="1098"/>
                  </a:lnTo>
                  <a:lnTo>
                    <a:pt x="588" y="1104"/>
                  </a:lnTo>
                  <a:lnTo>
                    <a:pt x="582" y="1104"/>
                  </a:lnTo>
                  <a:lnTo>
                    <a:pt x="570" y="1110"/>
                  </a:lnTo>
                  <a:lnTo>
                    <a:pt x="564" y="111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7" name="Freeform 12">
              <a:extLst>
                <a:ext uri="{FF2B5EF4-FFF2-40B4-BE49-F238E27FC236}">
                  <a16:creationId xmlns:a16="http://schemas.microsoft.com/office/drawing/2014/main" id="{6C93C114-E5D0-49BB-A44C-A127CE01CFE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810" y="2271838"/>
              <a:ext cx="923547" cy="845397"/>
            </a:xfrm>
            <a:custGeom>
              <a:avLst/>
              <a:gdLst>
                <a:gd name="T0" fmla="*/ 138 w 1740"/>
                <a:gd name="T1" fmla="*/ 134 h 1590"/>
                <a:gd name="T2" fmla="*/ 128 w 1740"/>
                <a:gd name="T3" fmla="*/ 131 h 1590"/>
                <a:gd name="T4" fmla="*/ 121 w 1740"/>
                <a:gd name="T5" fmla="*/ 130 h 1590"/>
                <a:gd name="T6" fmla="*/ 119 w 1740"/>
                <a:gd name="T7" fmla="*/ 134 h 1590"/>
                <a:gd name="T8" fmla="*/ 110 w 1740"/>
                <a:gd name="T9" fmla="*/ 132 h 1590"/>
                <a:gd name="T10" fmla="*/ 111 w 1740"/>
                <a:gd name="T11" fmla="*/ 127 h 1590"/>
                <a:gd name="T12" fmla="*/ 103 w 1740"/>
                <a:gd name="T13" fmla="*/ 117 h 1590"/>
                <a:gd name="T14" fmla="*/ 93 w 1740"/>
                <a:gd name="T15" fmla="*/ 123 h 1590"/>
                <a:gd name="T16" fmla="*/ 80 w 1740"/>
                <a:gd name="T17" fmla="*/ 118 h 1590"/>
                <a:gd name="T18" fmla="*/ 66 w 1740"/>
                <a:gd name="T19" fmla="*/ 117 h 1590"/>
                <a:gd name="T20" fmla="*/ 66 w 1740"/>
                <a:gd name="T21" fmla="*/ 110 h 1590"/>
                <a:gd name="T22" fmla="*/ 69 w 1740"/>
                <a:gd name="T23" fmla="*/ 107 h 1590"/>
                <a:gd name="T24" fmla="*/ 68 w 1740"/>
                <a:gd name="T25" fmla="*/ 102 h 1590"/>
                <a:gd name="T26" fmla="*/ 68 w 1740"/>
                <a:gd name="T27" fmla="*/ 96 h 1590"/>
                <a:gd name="T28" fmla="*/ 67 w 1740"/>
                <a:gd name="T29" fmla="*/ 82 h 1590"/>
                <a:gd name="T30" fmla="*/ 58 w 1740"/>
                <a:gd name="T31" fmla="*/ 82 h 1590"/>
                <a:gd name="T32" fmla="*/ 52 w 1740"/>
                <a:gd name="T33" fmla="*/ 82 h 1590"/>
                <a:gd name="T34" fmla="*/ 46 w 1740"/>
                <a:gd name="T35" fmla="*/ 80 h 1590"/>
                <a:gd name="T36" fmla="*/ 45 w 1740"/>
                <a:gd name="T37" fmla="*/ 74 h 1590"/>
                <a:gd name="T38" fmla="*/ 52 w 1740"/>
                <a:gd name="T39" fmla="*/ 70 h 1590"/>
                <a:gd name="T40" fmla="*/ 52 w 1740"/>
                <a:gd name="T41" fmla="*/ 64 h 1590"/>
                <a:gd name="T42" fmla="*/ 42 w 1740"/>
                <a:gd name="T43" fmla="*/ 53 h 1590"/>
                <a:gd name="T44" fmla="*/ 35 w 1740"/>
                <a:gd name="T45" fmla="*/ 52 h 1590"/>
                <a:gd name="T46" fmla="*/ 20 w 1740"/>
                <a:gd name="T47" fmla="*/ 51 h 1590"/>
                <a:gd name="T48" fmla="*/ 17 w 1740"/>
                <a:gd name="T49" fmla="*/ 56 h 1590"/>
                <a:gd name="T50" fmla="*/ 11 w 1740"/>
                <a:gd name="T51" fmla="*/ 61 h 1590"/>
                <a:gd name="T52" fmla="*/ 7 w 1740"/>
                <a:gd name="T53" fmla="*/ 63 h 1590"/>
                <a:gd name="T54" fmla="*/ 0 w 1740"/>
                <a:gd name="T55" fmla="*/ 55 h 1590"/>
                <a:gd name="T56" fmla="*/ 2 w 1740"/>
                <a:gd name="T57" fmla="*/ 50 h 1590"/>
                <a:gd name="T58" fmla="*/ 0 w 1740"/>
                <a:gd name="T59" fmla="*/ 44 h 1590"/>
                <a:gd name="T60" fmla="*/ 2 w 1740"/>
                <a:gd name="T61" fmla="*/ 38 h 1590"/>
                <a:gd name="T62" fmla="*/ 7 w 1740"/>
                <a:gd name="T63" fmla="*/ 35 h 1590"/>
                <a:gd name="T64" fmla="*/ 11 w 1740"/>
                <a:gd name="T65" fmla="*/ 30 h 1590"/>
                <a:gd name="T66" fmla="*/ 21 w 1740"/>
                <a:gd name="T67" fmla="*/ 26 h 1590"/>
                <a:gd name="T68" fmla="*/ 29 w 1740"/>
                <a:gd name="T69" fmla="*/ 25 h 1590"/>
                <a:gd name="T70" fmla="*/ 35 w 1740"/>
                <a:gd name="T71" fmla="*/ 21 h 1590"/>
                <a:gd name="T72" fmla="*/ 36 w 1740"/>
                <a:gd name="T73" fmla="*/ 16 h 1590"/>
                <a:gd name="T74" fmla="*/ 41 w 1740"/>
                <a:gd name="T75" fmla="*/ 11 h 1590"/>
                <a:gd name="T76" fmla="*/ 51 w 1740"/>
                <a:gd name="T77" fmla="*/ 9 h 1590"/>
                <a:gd name="T78" fmla="*/ 59 w 1740"/>
                <a:gd name="T79" fmla="*/ 21 h 1590"/>
                <a:gd name="T80" fmla="*/ 65 w 1740"/>
                <a:gd name="T81" fmla="*/ 13 h 1590"/>
                <a:gd name="T82" fmla="*/ 73 w 1740"/>
                <a:gd name="T83" fmla="*/ 8 h 1590"/>
                <a:gd name="T84" fmla="*/ 82 w 1740"/>
                <a:gd name="T85" fmla="*/ 12 h 1590"/>
                <a:gd name="T86" fmla="*/ 88 w 1740"/>
                <a:gd name="T87" fmla="*/ 12 h 1590"/>
                <a:gd name="T88" fmla="*/ 99 w 1740"/>
                <a:gd name="T89" fmla="*/ 7 h 1590"/>
                <a:gd name="T90" fmla="*/ 114 w 1740"/>
                <a:gd name="T91" fmla="*/ 0 h 1590"/>
                <a:gd name="T92" fmla="*/ 117 w 1740"/>
                <a:gd name="T93" fmla="*/ 10 h 1590"/>
                <a:gd name="T94" fmla="*/ 132 w 1740"/>
                <a:gd name="T95" fmla="*/ 17 h 1590"/>
                <a:gd name="T96" fmla="*/ 140 w 1740"/>
                <a:gd name="T97" fmla="*/ 25 h 1590"/>
                <a:gd name="T98" fmla="*/ 140 w 1740"/>
                <a:gd name="T99" fmla="*/ 33 h 1590"/>
                <a:gd name="T100" fmla="*/ 140 w 1740"/>
                <a:gd name="T101" fmla="*/ 44 h 1590"/>
                <a:gd name="T102" fmla="*/ 138 w 1740"/>
                <a:gd name="T103" fmla="*/ 48 h 1590"/>
                <a:gd name="T104" fmla="*/ 141 w 1740"/>
                <a:gd name="T105" fmla="*/ 49 h 1590"/>
                <a:gd name="T106" fmla="*/ 146 w 1740"/>
                <a:gd name="T107" fmla="*/ 50 h 1590"/>
                <a:gd name="T108" fmla="*/ 149 w 1740"/>
                <a:gd name="T109" fmla="*/ 59 h 1590"/>
                <a:gd name="T110" fmla="*/ 148 w 1740"/>
                <a:gd name="T111" fmla="*/ 67 h 1590"/>
                <a:gd name="T112" fmla="*/ 141 w 1740"/>
                <a:gd name="T113" fmla="*/ 78 h 1590"/>
                <a:gd name="T114" fmla="*/ 141 w 1740"/>
                <a:gd name="T115" fmla="*/ 91 h 1590"/>
                <a:gd name="T116" fmla="*/ 138 w 1740"/>
                <a:gd name="T117" fmla="*/ 102 h 1590"/>
                <a:gd name="T118" fmla="*/ 138 w 1740"/>
                <a:gd name="T119" fmla="*/ 110 h 1590"/>
                <a:gd name="T120" fmla="*/ 144 w 1740"/>
                <a:gd name="T121" fmla="*/ 118 h 1590"/>
                <a:gd name="T122" fmla="*/ 143 w 1740"/>
                <a:gd name="T123" fmla="*/ 125 h 159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740"/>
                <a:gd name="T187" fmla="*/ 0 h 1590"/>
                <a:gd name="T188" fmla="*/ 1740 w 1740"/>
                <a:gd name="T189" fmla="*/ 1590 h 159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740" h="1590">
                  <a:moveTo>
                    <a:pt x="1638" y="1458"/>
                  </a:moveTo>
                  <a:lnTo>
                    <a:pt x="1638" y="1482"/>
                  </a:lnTo>
                  <a:lnTo>
                    <a:pt x="1638" y="1500"/>
                  </a:lnTo>
                  <a:lnTo>
                    <a:pt x="1626" y="1500"/>
                  </a:lnTo>
                  <a:lnTo>
                    <a:pt x="1620" y="1500"/>
                  </a:lnTo>
                  <a:lnTo>
                    <a:pt x="1614" y="1500"/>
                  </a:lnTo>
                  <a:lnTo>
                    <a:pt x="1614" y="1506"/>
                  </a:lnTo>
                  <a:lnTo>
                    <a:pt x="1614" y="1512"/>
                  </a:lnTo>
                  <a:lnTo>
                    <a:pt x="1620" y="1518"/>
                  </a:lnTo>
                  <a:lnTo>
                    <a:pt x="1614" y="1524"/>
                  </a:lnTo>
                  <a:lnTo>
                    <a:pt x="1590" y="1536"/>
                  </a:lnTo>
                  <a:lnTo>
                    <a:pt x="1584" y="1566"/>
                  </a:lnTo>
                  <a:lnTo>
                    <a:pt x="1578" y="1590"/>
                  </a:lnTo>
                  <a:lnTo>
                    <a:pt x="1548" y="1590"/>
                  </a:lnTo>
                  <a:lnTo>
                    <a:pt x="1542" y="1584"/>
                  </a:lnTo>
                  <a:lnTo>
                    <a:pt x="1542" y="1572"/>
                  </a:lnTo>
                  <a:lnTo>
                    <a:pt x="1536" y="1566"/>
                  </a:lnTo>
                  <a:lnTo>
                    <a:pt x="1536" y="1554"/>
                  </a:lnTo>
                  <a:lnTo>
                    <a:pt x="1536" y="1548"/>
                  </a:lnTo>
                  <a:lnTo>
                    <a:pt x="1506" y="1530"/>
                  </a:lnTo>
                  <a:lnTo>
                    <a:pt x="1488" y="1506"/>
                  </a:lnTo>
                  <a:lnTo>
                    <a:pt x="1464" y="1500"/>
                  </a:lnTo>
                  <a:lnTo>
                    <a:pt x="1470" y="1494"/>
                  </a:lnTo>
                  <a:lnTo>
                    <a:pt x="1470" y="1488"/>
                  </a:lnTo>
                  <a:lnTo>
                    <a:pt x="1470" y="1482"/>
                  </a:lnTo>
                  <a:lnTo>
                    <a:pt x="1428" y="1464"/>
                  </a:lnTo>
                  <a:lnTo>
                    <a:pt x="1404" y="1470"/>
                  </a:lnTo>
                  <a:lnTo>
                    <a:pt x="1398" y="1470"/>
                  </a:lnTo>
                  <a:lnTo>
                    <a:pt x="1392" y="1476"/>
                  </a:lnTo>
                  <a:lnTo>
                    <a:pt x="1386" y="1476"/>
                  </a:lnTo>
                  <a:lnTo>
                    <a:pt x="1386" y="1482"/>
                  </a:lnTo>
                  <a:lnTo>
                    <a:pt x="1392" y="1482"/>
                  </a:lnTo>
                  <a:lnTo>
                    <a:pt x="1386" y="1488"/>
                  </a:lnTo>
                  <a:lnTo>
                    <a:pt x="1386" y="1494"/>
                  </a:lnTo>
                  <a:lnTo>
                    <a:pt x="1380" y="1494"/>
                  </a:lnTo>
                  <a:lnTo>
                    <a:pt x="1380" y="1500"/>
                  </a:lnTo>
                  <a:lnTo>
                    <a:pt x="1380" y="1512"/>
                  </a:lnTo>
                  <a:lnTo>
                    <a:pt x="1380" y="1518"/>
                  </a:lnTo>
                  <a:lnTo>
                    <a:pt x="1380" y="1524"/>
                  </a:lnTo>
                  <a:lnTo>
                    <a:pt x="1380" y="1530"/>
                  </a:lnTo>
                  <a:lnTo>
                    <a:pt x="1374" y="1536"/>
                  </a:lnTo>
                  <a:lnTo>
                    <a:pt x="1374" y="1542"/>
                  </a:lnTo>
                  <a:lnTo>
                    <a:pt x="1368" y="1542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44" y="1554"/>
                  </a:lnTo>
                  <a:lnTo>
                    <a:pt x="1332" y="1560"/>
                  </a:lnTo>
                  <a:lnTo>
                    <a:pt x="1302" y="1554"/>
                  </a:lnTo>
                  <a:lnTo>
                    <a:pt x="1290" y="1554"/>
                  </a:lnTo>
                  <a:lnTo>
                    <a:pt x="1278" y="1542"/>
                  </a:lnTo>
                  <a:lnTo>
                    <a:pt x="1272" y="1530"/>
                  </a:lnTo>
                  <a:lnTo>
                    <a:pt x="1272" y="1524"/>
                  </a:lnTo>
                  <a:lnTo>
                    <a:pt x="1272" y="1518"/>
                  </a:lnTo>
                  <a:lnTo>
                    <a:pt x="1266" y="1518"/>
                  </a:lnTo>
                  <a:lnTo>
                    <a:pt x="1266" y="1512"/>
                  </a:lnTo>
                  <a:lnTo>
                    <a:pt x="1266" y="1506"/>
                  </a:lnTo>
                  <a:lnTo>
                    <a:pt x="1272" y="1506"/>
                  </a:lnTo>
                  <a:lnTo>
                    <a:pt x="1272" y="1500"/>
                  </a:lnTo>
                  <a:lnTo>
                    <a:pt x="1278" y="1500"/>
                  </a:lnTo>
                  <a:lnTo>
                    <a:pt x="1278" y="1494"/>
                  </a:lnTo>
                  <a:lnTo>
                    <a:pt x="1278" y="1488"/>
                  </a:lnTo>
                  <a:lnTo>
                    <a:pt x="1284" y="1488"/>
                  </a:lnTo>
                  <a:lnTo>
                    <a:pt x="1284" y="1482"/>
                  </a:lnTo>
                  <a:lnTo>
                    <a:pt x="1290" y="1476"/>
                  </a:lnTo>
                  <a:lnTo>
                    <a:pt x="1284" y="1470"/>
                  </a:lnTo>
                  <a:lnTo>
                    <a:pt x="1278" y="1458"/>
                  </a:lnTo>
                  <a:lnTo>
                    <a:pt x="1278" y="1452"/>
                  </a:lnTo>
                  <a:lnTo>
                    <a:pt x="1260" y="1428"/>
                  </a:lnTo>
                  <a:lnTo>
                    <a:pt x="1254" y="1416"/>
                  </a:lnTo>
                  <a:lnTo>
                    <a:pt x="1254" y="1410"/>
                  </a:lnTo>
                  <a:lnTo>
                    <a:pt x="1248" y="1398"/>
                  </a:lnTo>
                  <a:lnTo>
                    <a:pt x="1242" y="1398"/>
                  </a:lnTo>
                  <a:lnTo>
                    <a:pt x="1236" y="1398"/>
                  </a:lnTo>
                  <a:lnTo>
                    <a:pt x="1218" y="1386"/>
                  </a:lnTo>
                  <a:lnTo>
                    <a:pt x="1212" y="1362"/>
                  </a:lnTo>
                  <a:lnTo>
                    <a:pt x="1200" y="1344"/>
                  </a:lnTo>
                  <a:lnTo>
                    <a:pt x="1188" y="1338"/>
                  </a:lnTo>
                  <a:lnTo>
                    <a:pt x="1164" y="1338"/>
                  </a:lnTo>
                  <a:lnTo>
                    <a:pt x="1158" y="1344"/>
                  </a:lnTo>
                  <a:lnTo>
                    <a:pt x="1152" y="1350"/>
                  </a:lnTo>
                  <a:lnTo>
                    <a:pt x="1152" y="1356"/>
                  </a:lnTo>
                  <a:lnTo>
                    <a:pt x="1140" y="1362"/>
                  </a:lnTo>
                  <a:lnTo>
                    <a:pt x="1134" y="1380"/>
                  </a:lnTo>
                  <a:lnTo>
                    <a:pt x="1116" y="1398"/>
                  </a:lnTo>
                  <a:lnTo>
                    <a:pt x="1110" y="1416"/>
                  </a:lnTo>
                  <a:lnTo>
                    <a:pt x="1086" y="1416"/>
                  </a:lnTo>
                  <a:lnTo>
                    <a:pt x="1080" y="1410"/>
                  </a:lnTo>
                  <a:lnTo>
                    <a:pt x="1074" y="1410"/>
                  </a:lnTo>
                  <a:lnTo>
                    <a:pt x="1074" y="1404"/>
                  </a:lnTo>
                  <a:lnTo>
                    <a:pt x="1062" y="1404"/>
                  </a:lnTo>
                  <a:lnTo>
                    <a:pt x="1062" y="1380"/>
                  </a:lnTo>
                  <a:lnTo>
                    <a:pt x="1038" y="1380"/>
                  </a:lnTo>
                  <a:lnTo>
                    <a:pt x="1026" y="1350"/>
                  </a:lnTo>
                  <a:lnTo>
                    <a:pt x="996" y="1326"/>
                  </a:lnTo>
                  <a:lnTo>
                    <a:pt x="966" y="1314"/>
                  </a:lnTo>
                  <a:lnTo>
                    <a:pt x="954" y="1320"/>
                  </a:lnTo>
                  <a:lnTo>
                    <a:pt x="942" y="1338"/>
                  </a:lnTo>
                  <a:lnTo>
                    <a:pt x="930" y="1338"/>
                  </a:lnTo>
                  <a:lnTo>
                    <a:pt x="924" y="1350"/>
                  </a:lnTo>
                  <a:lnTo>
                    <a:pt x="906" y="1356"/>
                  </a:lnTo>
                  <a:lnTo>
                    <a:pt x="846" y="1356"/>
                  </a:lnTo>
                  <a:lnTo>
                    <a:pt x="834" y="1368"/>
                  </a:lnTo>
                  <a:lnTo>
                    <a:pt x="810" y="1362"/>
                  </a:lnTo>
                  <a:lnTo>
                    <a:pt x="792" y="1362"/>
                  </a:lnTo>
                  <a:lnTo>
                    <a:pt x="780" y="1368"/>
                  </a:lnTo>
                  <a:lnTo>
                    <a:pt x="762" y="1368"/>
                  </a:lnTo>
                  <a:lnTo>
                    <a:pt x="762" y="1362"/>
                  </a:lnTo>
                  <a:lnTo>
                    <a:pt x="750" y="1362"/>
                  </a:lnTo>
                  <a:lnTo>
                    <a:pt x="750" y="1338"/>
                  </a:lnTo>
                  <a:lnTo>
                    <a:pt x="762" y="1338"/>
                  </a:lnTo>
                  <a:lnTo>
                    <a:pt x="762" y="1326"/>
                  </a:lnTo>
                  <a:lnTo>
                    <a:pt x="762" y="1314"/>
                  </a:lnTo>
                  <a:lnTo>
                    <a:pt x="732" y="1314"/>
                  </a:lnTo>
                  <a:lnTo>
                    <a:pt x="726" y="1308"/>
                  </a:lnTo>
                  <a:lnTo>
                    <a:pt x="732" y="1284"/>
                  </a:lnTo>
                  <a:lnTo>
                    <a:pt x="732" y="1278"/>
                  </a:lnTo>
                  <a:lnTo>
                    <a:pt x="738" y="1272"/>
                  </a:lnTo>
                  <a:lnTo>
                    <a:pt x="738" y="1266"/>
                  </a:lnTo>
                  <a:lnTo>
                    <a:pt x="744" y="1266"/>
                  </a:lnTo>
                  <a:lnTo>
                    <a:pt x="750" y="1272"/>
                  </a:lnTo>
                  <a:lnTo>
                    <a:pt x="756" y="1266"/>
                  </a:lnTo>
                  <a:lnTo>
                    <a:pt x="762" y="1266"/>
                  </a:lnTo>
                  <a:lnTo>
                    <a:pt x="768" y="1260"/>
                  </a:lnTo>
                  <a:lnTo>
                    <a:pt x="774" y="1260"/>
                  </a:lnTo>
                  <a:lnTo>
                    <a:pt x="780" y="1254"/>
                  </a:lnTo>
                  <a:lnTo>
                    <a:pt x="774" y="1254"/>
                  </a:lnTo>
                  <a:lnTo>
                    <a:pt x="768" y="1254"/>
                  </a:lnTo>
                  <a:lnTo>
                    <a:pt x="774" y="1248"/>
                  </a:lnTo>
                  <a:lnTo>
                    <a:pt x="774" y="1242"/>
                  </a:lnTo>
                  <a:lnTo>
                    <a:pt x="780" y="1236"/>
                  </a:lnTo>
                  <a:lnTo>
                    <a:pt x="786" y="1236"/>
                  </a:lnTo>
                  <a:lnTo>
                    <a:pt x="792" y="1230"/>
                  </a:lnTo>
                  <a:lnTo>
                    <a:pt x="792" y="1236"/>
                  </a:lnTo>
                  <a:lnTo>
                    <a:pt x="798" y="1236"/>
                  </a:lnTo>
                  <a:lnTo>
                    <a:pt x="798" y="1230"/>
                  </a:lnTo>
                  <a:lnTo>
                    <a:pt x="804" y="1230"/>
                  </a:lnTo>
                  <a:lnTo>
                    <a:pt x="804" y="1218"/>
                  </a:lnTo>
                  <a:lnTo>
                    <a:pt x="804" y="1206"/>
                  </a:lnTo>
                  <a:lnTo>
                    <a:pt x="792" y="1188"/>
                  </a:lnTo>
                  <a:lnTo>
                    <a:pt x="768" y="1182"/>
                  </a:lnTo>
                  <a:lnTo>
                    <a:pt x="768" y="1170"/>
                  </a:lnTo>
                  <a:lnTo>
                    <a:pt x="774" y="1170"/>
                  </a:lnTo>
                  <a:lnTo>
                    <a:pt x="780" y="1170"/>
                  </a:lnTo>
                  <a:lnTo>
                    <a:pt x="786" y="1170"/>
                  </a:lnTo>
                  <a:lnTo>
                    <a:pt x="780" y="1152"/>
                  </a:lnTo>
                  <a:lnTo>
                    <a:pt x="780" y="1146"/>
                  </a:lnTo>
                  <a:lnTo>
                    <a:pt x="744" y="1140"/>
                  </a:lnTo>
                  <a:lnTo>
                    <a:pt x="732" y="1128"/>
                  </a:lnTo>
                  <a:lnTo>
                    <a:pt x="720" y="1122"/>
                  </a:lnTo>
                  <a:lnTo>
                    <a:pt x="732" y="1116"/>
                  </a:lnTo>
                  <a:lnTo>
                    <a:pt x="750" y="1104"/>
                  </a:lnTo>
                  <a:lnTo>
                    <a:pt x="756" y="1116"/>
                  </a:lnTo>
                  <a:lnTo>
                    <a:pt x="774" y="1116"/>
                  </a:lnTo>
                  <a:lnTo>
                    <a:pt x="780" y="1104"/>
                  </a:lnTo>
                  <a:lnTo>
                    <a:pt x="780" y="1080"/>
                  </a:lnTo>
                  <a:lnTo>
                    <a:pt x="786" y="1080"/>
                  </a:lnTo>
                  <a:lnTo>
                    <a:pt x="786" y="1074"/>
                  </a:lnTo>
                  <a:lnTo>
                    <a:pt x="792" y="1074"/>
                  </a:lnTo>
                  <a:lnTo>
                    <a:pt x="786" y="1068"/>
                  </a:lnTo>
                  <a:lnTo>
                    <a:pt x="786" y="1062"/>
                  </a:lnTo>
                  <a:lnTo>
                    <a:pt x="786" y="1056"/>
                  </a:lnTo>
                  <a:lnTo>
                    <a:pt x="792" y="1050"/>
                  </a:lnTo>
                  <a:lnTo>
                    <a:pt x="786" y="1020"/>
                  </a:lnTo>
                  <a:lnTo>
                    <a:pt x="780" y="960"/>
                  </a:lnTo>
                  <a:lnTo>
                    <a:pt x="768" y="942"/>
                  </a:lnTo>
                  <a:lnTo>
                    <a:pt x="732" y="936"/>
                  </a:lnTo>
                  <a:lnTo>
                    <a:pt x="732" y="942"/>
                  </a:lnTo>
                  <a:lnTo>
                    <a:pt x="726" y="942"/>
                  </a:lnTo>
                  <a:lnTo>
                    <a:pt x="720" y="936"/>
                  </a:lnTo>
                  <a:lnTo>
                    <a:pt x="714" y="942"/>
                  </a:lnTo>
                  <a:lnTo>
                    <a:pt x="708" y="942"/>
                  </a:lnTo>
                  <a:lnTo>
                    <a:pt x="702" y="942"/>
                  </a:lnTo>
                  <a:lnTo>
                    <a:pt x="690" y="936"/>
                  </a:lnTo>
                  <a:lnTo>
                    <a:pt x="684" y="936"/>
                  </a:lnTo>
                  <a:lnTo>
                    <a:pt x="678" y="936"/>
                  </a:lnTo>
                  <a:lnTo>
                    <a:pt x="672" y="936"/>
                  </a:lnTo>
                  <a:lnTo>
                    <a:pt x="666" y="942"/>
                  </a:lnTo>
                  <a:lnTo>
                    <a:pt x="660" y="942"/>
                  </a:lnTo>
                  <a:lnTo>
                    <a:pt x="654" y="942"/>
                  </a:lnTo>
                  <a:lnTo>
                    <a:pt x="648" y="942"/>
                  </a:lnTo>
                  <a:lnTo>
                    <a:pt x="642" y="936"/>
                  </a:lnTo>
                  <a:lnTo>
                    <a:pt x="636" y="936"/>
                  </a:lnTo>
                  <a:lnTo>
                    <a:pt x="630" y="930"/>
                  </a:lnTo>
                  <a:lnTo>
                    <a:pt x="618" y="930"/>
                  </a:lnTo>
                  <a:lnTo>
                    <a:pt x="612" y="930"/>
                  </a:lnTo>
                  <a:lnTo>
                    <a:pt x="606" y="936"/>
                  </a:lnTo>
                  <a:lnTo>
                    <a:pt x="600" y="942"/>
                  </a:lnTo>
                  <a:lnTo>
                    <a:pt x="600" y="936"/>
                  </a:lnTo>
                  <a:lnTo>
                    <a:pt x="594" y="930"/>
                  </a:lnTo>
                  <a:lnTo>
                    <a:pt x="588" y="930"/>
                  </a:lnTo>
                  <a:lnTo>
                    <a:pt x="582" y="930"/>
                  </a:lnTo>
                  <a:lnTo>
                    <a:pt x="576" y="930"/>
                  </a:lnTo>
                  <a:lnTo>
                    <a:pt x="564" y="936"/>
                  </a:lnTo>
                  <a:lnTo>
                    <a:pt x="558" y="936"/>
                  </a:lnTo>
                  <a:lnTo>
                    <a:pt x="546" y="924"/>
                  </a:lnTo>
                  <a:lnTo>
                    <a:pt x="540" y="924"/>
                  </a:lnTo>
                  <a:lnTo>
                    <a:pt x="534" y="918"/>
                  </a:lnTo>
                  <a:lnTo>
                    <a:pt x="528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6" y="918"/>
                  </a:lnTo>
                  <a:lnTo>
                    <a:pt x="516" y="912"/>
                  </a:lnTo>
                  <a:lnTo>
                    <a:pt x="510" y="894"/>
                  </a:lnTo>
                  <a:lnTo>
                    <a:pt x="510" y="882"/>
                  </a:lnTo>
                  <a:lnTo>
                    <a:pt x="510" y="876"/>
                  </a:lnTo>
                  <a:lnTo>
                    <a:pt x="516" y="870"/>
                  </a:lnTo>
                  <a:lnTo>
                    <a:pt x="510" y="864"/>
                  </a:lnTo>
                  <a:lnTo>
                    <a:pt x="516" y="858"/>
                  </a:lnTo>
                  <a:lnTo>
                    <a:pt x="522" y="858"/>
                  </a:lnTo>
                  <a:lnTo>
                    <a:pt x="528" y="858"/>
                  </a:lnTo>
                  <a:lnTo>
                    <a:pt x="522" y="852"/>
                  </a:lnTo>
                  <a:lnTo>
                    <a:pt x="528" y="852"/>
                  </a:lnTo>
                  <a:lnTo>
                    <a:pt x="528" y="846"/>
                  </a:lnTo>
                  <a:lnTo>
                    <a:pt x="552" y="846"/>
                  </a:lnTo>
                  <a:lnTo>
                    <a:pt x="558" y="840"/>
                  </a:lnTo>
                  <a:lnTo>
                    <a:pt x="564" y="828"/>
                  </a:lnTo>
                  <a:lnTo>
                    <a:pt x="570" y="816"/>
                  </a:lnTo>
                  <a:lnTo>
                    <a:pt x="582" y="810"/>
                  </a:lnTo>
                  <a:lnTo>
                    <a:pt x="588" y="804"/>
                  </a:lnTo>
                  <a:lnTo>
                    <a:pt x="594" y="804"/>
                  </a:lnTo>
                  <a:lnTo>
                    <a:pt x="594" y="792"/>
                  </a:lnTo>
                  <a:lnTo>
                    <a:pt x="600" y="786"/>
                  </a:lnTo>
                  <a:lnTo>
                    <a:pt x="606" y="780"/>
                  </a:lnTo>
                  <a:lnTo>
                    <a:pt x="612" y="774"/>
                  </a:lnTo>
                  <a:lnTo>
                    <a:pt x="618" y="774"/>
                  </a:lnTo>
                  <a:lnTo>
                    <a:pt x="618" y="768"/>
                  </a:lnTo>
                  <a:lnTo>
                    <a:pt x="618" y="762"/>
                  </a:lnTo>
                  <a:lnTo>
                    <a:pt x="624" y="756"/>
                  </a:lnTo>
                  <a:lnTo>
                    <a:pt x="618" y="750"/>
                  </a:lnTo>
                  <a:lnTo>
                    <a:pt x="618" y="744"/>
                  </a:lnTo>
                  <a:lnTo>
                    <a:pt x="600" y="738"/>
                  </a:lnTo>
                  <a:lnTo>
                    <a:pt x="558" y="744"/>
                  </a:lnTo>
                  <a:lnTo>
                    <a:pt x="552" y="732"/>
                  </a:lnTo>
                  <a:lnTo>
                    <a:pt x="546" y="720"/>
                  </a:lnTo>
                  <a:lnTo>
                    <a:pt x="564" y="702"/>
                  </a:lnTo>
                  <a:lnTo>
                    <a:pt x="570" y="684"/>
                  </a:lnTo>
                  <a:lnTo>
                    <a:pt x="564" y="648"/>
                  </a:lnTo>
                  <a:lnTo>
                    <a:pt x="534" y="624"/>
                  </a:lnTo>
                  <a:lnTo>
                    <a:pt x="504" y="612"/>
                  </a:lnTo>
                  <a:lnTo>
                    <a:pt x="498" y="606"/>
                  </a:lnTo>
                  <a:lnTo>
                    <a:pt x="492" y="600"/>
                  </a:lnTo>
                  <a:lnTo>
                    <a:pt x="486" y="606"/>
                  </a:lnTo>
                  <a:lnTo>
                    <a:pt x="480" y="558"/>
                  </a:lnTo>
                  <a:lnTo>
                    <a:pt x="462" y="546"/>
                  </a:lnTo>
                  <a:lnTo>
                    <a:pt x="408" y="540"/>
                  </a:lnTo>
                  <a:lnTo>
                    <a:pt x="408" y="546"/>
                  </a:lnTo>
                  <a:lnTo>
                    <a:pt x="408" y="558"/>
                  </a:lnTo>
                  <a:lnTo>
                    <a:pt x="408" y="564"/>
                  </a:lnTo>
                  <a:lnTo>
                    <a:pt x="408" y="570"/>
                  </a:lnTo>
                  <a:lnTo>
                    <a:pt x="414" y="582"/>
                  </a:lnTo>
                  <a:lnTo>
                    <a:pt x="408" y="594"/>
                  </a:lnTo>
                  <a:lnTo>
                    <a:pt x="414" y="594"/>
                  </a:lnTo>
                  <a:lnTo>
                    <a:pt x="408" y="600"/>
                  </a:lnTo>
                  <a:lnTo>
                    <a:pt x="348" y="600"/>
                  </a:lnTo>
                  <a:lnTo>
                    <a:pt x="324" y="600"/>
                  </a:lnTo>
                  <a:lnTo>
                    <a:pt x="324" y="612"/>
                  </a:lnTo>
                  <a:lnTo>
                    <a:pt x="306" y="618"/>
                  </a:lnTo>
                  <a:lnTo>
                    <a:pt x="312" y="618"/>
                  </a:lnTo>
                  <a:lnTo>
                    <a:pt x="294" y="588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76"/>
                  </a:lnTo>
                  <a:lnTo>
                    <a:pt x="240" y="582"/>
                  </a:lnTo>
                  <a:lnTo>
                    <a:pt x="234" y="582"/>
                  </a:lnTo>
                  <a:lnTo>
                    <a:pt x="228" y="588"/>
                  </a:lnTo>
                  <a:lnTo>
                    <a:pt x="222" y="588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8" y="600"/>
                  </a:lnTo>
                  <a:lnTo>
                    <a:pt x="192" y="612"/>
                  </a:lnTo>
                  <a:lnTo>
                    <a:pt x="192" y="618"/>
                  </a:lnTo>
                  <a:lnTo>
                    <a:pt x="198" y="624"/>
                  </a:lnTo>
                  <a:lnTo>
                    <a:pt x="192" y="624"/>
                  </a:lnTo>
                  <a:lnTo>
                    <a:pt x="192" y="630"/>
                  </a:lnTo>
                  <a:lnTo>
                    <a:pt x="192" y="642"/>
                  </a:lnTo>
                  <a:lnTo>
                    <a:pt x="180" y="648"/>
                  </a:lnTo>
                  <a:lnTo>
                    <a:pt x="174" y="654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6"/>
                  </a:lnTo>
                  <a:lnTo>
                    <a:pt x="156" y="672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90"/>
                  </a:lnTo>
                  <a:lnTo>
                    <a:pt x="132" y="690"/>
                  </a:lnTo>
                  <a:lnTo>
                    <a:pt x="126" y="702"/>
                  </a:lnTo>
                  <a:lnTo>
                    <a:pt x="132" y="708"/>
                  </a:lnTo>
                  <a:lnTo>
                    <a:pt x="126" y="708"/>
                  </a:lnTo>
                  <a:lnTo>
                    <a:pt x="120" y="708"/>
                  </a:lnTo>
                  <a:lnTo>
                    <a:pt x="114" y="708"/>
                  </a:lnTo>
                  <a:lnTo>
                    <a:pt x="108" y="708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78" y="720"/>
                  </a:lnTo>
                  <a:lnTo>
                    <a:pt x="72" y="720"/>
                  </a:lnTo>
                  <a:lnTo>
                    <a:pt x="66" y="720"/>
                  </a:lnTo>
                  <a:lnTo>
                    <a:pt x="54" y="732"/>
                  </a:lnTo>
                  <a:lnTo>
                    <a:pt x="48" y="702"/>
                  </a:lnTo>
                  <a:lnTo>
                    <a:pt x="36" y="666"/>
                  </a:lnTo>
                  <a:lnTo>
                    <a:pt x="0" y="660"/>
                  </a:lnTo>
                  <a:lnTo>
                    <a:pt x="6" y="660"/>
                  </a:lnTo>
                  <a:lnTo>
                    <a:pt x="6" y="654"/>
                  </a:lnTo>
                  <a:lnTo>
                    <a:pt x="6" y="648"/>
                  </a:lnTo>
                  <a:lnTo>
                    <a:pt x="6" y="642"/>
                  </a:lnTo>
                  <a:lnTo>
                    <a:pt x="6" y="624"/>
                  </a:lnTo>
                  <a:lnTo>
                    <a:pt x="6" y="612"/>
                  </a:lnTo>
                  <a:lnTo>
                    <a:pt x="6" y="606"/>
                  </a:lnTo>
                  <a:lnTo>
                    <a:pt x="12" y="612"/>
                  </a:lnTo>
                  <a:lnTo>
                    <a:pt x="18" y="606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30" y="594"/>
                  </a:lnTo>
                  <a:lnTo>
                    <a:pt x="30" y="588"/>
                  </a:lnTo>
                  <a:lnTo>
                    <a:pt x="30" y="582"/>
                  </a:lnTo>
                  <a:lnTo>
                    <a:pt x="24" y="576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18" y="558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36" y="528"/>
                  </a:lnTo>
                  <a:lnTo>
                    <a:pt x="30" y="522"/>
                  </a:lnTo>
                  <a:lnTo>
                    <a:pt x="24" y="522"/>
                  </a:lnTo>
                  <a:lnTo>
                    <a:pt x="18" y="510"/>
                  </a:lnTo>
                  <a:lnTo>
                    <a:pt x="12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8" y="474"/>
                  </a:lnTo>
                  <a:lnTo>
                    <a:pt x="12" y="468"/>
                  </a:lnTo>
                  <a:lnTo>
                    <a:pt x="12" y="462"/>
                  </a:lnTo>
                  <a:lnTo>
                    <a:pt x="18" y="456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0" y="420"/>
                  </a:lnTo>
                  <a:lnTo>
                    <a:pt x="30" y="414"/>
                  </a:lnTo>
                  <a:lnTo>
                    <a:pt x="48" y="414"/>
                  </a:lnTo>
                  <a:lnTo>
                    <a:pt x="54" y="408"/>
                  </a:lnTo>
                  <a:lnTo>
                    <a:pt x="60" y="402"/>
                  </a:lnTo>
                  <a:lnTo>
                    <a:pt x="66" y="402"/>
                  </a:lnTo>
                  <a:lnTo>
                    <a:pt x="72" y="402"/>
                  </a:lnTo>
                  <a:lnTo>
                    <a:pt x="78" y="408"/>
                  </a:lnTo>
                  <a:lnTo>
                    <a:pt x="84" y="396"/>
                  </a:lnTo>
                  <a:lnTo>
                    <a:pt x="90" y="390"/>
                  </a:lnTo>
                  <a:lnTo>
                    <a:pt x="90" y="378"/>
                  </a:lnTo>
                  <a:lnTo>
                    <a:pt x="96" y="372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8" y="354"/>
                  </a:lnTo>
                  <a:lnTo>
                    <a:pt x="114" y="348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32" y="336"/>
                  </a:lnTo>
                  <a:lnTo>
                    <a:pt x="132" y="330"/>
                  </a:lnTo>
                  <a:lnTo>
                    <a:pt x="138" y="324"/>
                  </a:lnTo>
                  <a:lnTo>
                    <a:pt x="138" y="318"/>
                  </a:lnTo>
                  <a:lnTo>
                    <a:pt x="144" y="306"/>
                  </a:lnTo>
                  <a:lnTo>
                    <a:pt x="156" y="306"/>
                  </a:lnTo>
                  <a:lnTo>
                    <a:pt x="186" y="300"/>
                  </a:lnTo>
                  <a:lnTo>
                    <a:pt x="198" y="300"/>
                  </a:lnTo>
                  <a:lnTo>
                    <a:pt x="210" y="300"/>
                  </a:lnTo>
                  <a:lnTo>
                    <a:pt x="222" y="300"/>
                  </a:lnTo>
                  <a:lnTo>
                    <a:pt x="246" y="300"/>
                  </a:lnTo>
                  <a:lnTo>
                    <a:pt x="264" y="312"/>
                  </a:lnTo>
                  <a:lnTo>
                    <a:pt x="270" y="312"/>
                  </a:lnTo>
                  <a:lnTo>
                    <a:pt x="282" y="306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300" y="306"/>
                  </a:lnTo>
                  <a:lnTo>
                    <a:pt x="312" y="306"/>
                  </a:lnTo>
                  <a:lnTo>
                    <a:pt x="318" y="300"/>
                  </a:lnTo>
                  <a:lnTo>
                    <a:pt x="324" y="300"/>
                  </a:lnTo>
                  <a:lnTo>
                    <a:pt x="330" y="294"/>
                  </a:lnTo>
                  <a:lnTo>
                    <a:pt x="336" y="288"/>
                  </a:lnTo>
                  <a:lnTo>
                    <a:pt x="354" y="288"/>
                  </a:lnTo>
                  <a:lnTo>
                    <a:pt x="360" y="288"/>
                  </a:lnTo>
                  <a:lnTo>
                    <a:pt x="366" y="282"/>
                  </a:lnTo>
                  <a:lnTo>
                    <a:pt x="372" y="282"/>
                  </a:lnTo>
                  <a:lnTo>
                    <a:pt x="378" y="282"/>
                  </a:lnTo>
                  <a:lnTo>
                    <a:pt x="384" y="276"/>
                  </a:lnTo>
                  <a:lnTo>
                    <a:pt x="384" y="270"/>
                  </a:lnTo>
                  <a:lnTo>
                    <a:pt x="390" y="264"/>
                  </a:lnTo>
                  <a:lnTo>
                    <a:pt x="402" y="258"/>
                  </a:lnTo>
                  <a:lnTo>
                    <a:pt x="402" y="252"/>
                  </a:lnTo>
                  <a:lnTo>
                    <a:pt x="402" y="246"/>
                  </a:lnTo>
                  <a:lnTo>
                    <a:pt x="408" y="234"/>
                  </a:lnTo>
                  <a:lnTo>
                    <a:pt x="414" y="234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14" y="216"/>
                  </a:lnTo>
                  <a:lnTo>
                    <a:pt x="414" y="210"/>
                  </a:lnTo>
                  <a:lnTo>
                    <a:pt x="420" y="210"/>
                  </a:lnTo>
                  <a:lnTo>
                    <a:pt x="414" y="198"/>
                  </a:lnTo>
                  <a:lnTo>
                    <a:pt x="414" y="192"/>
                  </a:lnTo>
                  <a:lnTo>
                    <a:pt x="420" y="192"/>
                  </a:lnTo>
                  <a:lnTo>
                    <a:pt x="420" y="186"/>
                  </a:lnTo>
                  <a:lnTo>
                    <a:pt x="420" y="174"/>
                  </a:lnTo>
                  <a:lnTo>
                    <a:pt x="420" y="168"/>
                  </a:lnTo>
                  <a:lnTo>
                    <a:pt x="426" y="162"/>
                  </a:lnTo>
                  <a:lnTo>
                    <a:pt x="432" y="156"/>
                  </a:lnTo>
                  <a:lnTo>
                    <a:pt x="438" y="144"/>
                  </a:lnTo>
                  <a:lnTo>
                    <a:pt x="444" y="144"/>
                  </a:lnTo>
                  <a:lnTo>
                    <a:pt x="450" y="138"/>
                  </a:lnTo>
                  <a:lnTo>
                    <a:pt x="456" y="138"/>
                  </a:lnTo>
                  <a:lnTo>
                    <a:pt x="462" y="132"/>
                  </a:lnTo>
                  <a:lnTo>
                    <a:pt x="462" y="126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0"/>
                  </a:lnTo>
                  <a:lnTo>
                    <a:pt x="486" y="108"/>
                  </a:lnTo>
                  <a:lnTo>
                    <a:pt x="492" y="108"/>
                  </a:lnTo>
                  <a:lnTo>
                    <a:pt x="498" y="102"/>
                  </a:lnTo>
                  <a:lnTo>
                    <a:pt x="504" y="96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40" y="102"/>
                  </a:lnTo>
                  <a:lnTo>
                    <a:pt x="552" y="108"/>
                  </a:lnTo>
                  <a:lnTo>
                    <a:pt x="582" y="102"/>
                  </a:lnTo>
                  <a:lnTo>
                    <a:pt x="594" y="126"/>
                  </a:lnTo>
                  <a:lnTo>
                    <a:pt x="594" y="144"/>
                  </a:lnTo>
                  <a:lnTo>
                    <a:pt x="588" y="156"/>
                  </a:lnTo>
                  <a:lnTo>
                    <a:pt x="588" y="168"/>
                  </a:lnTo>
                  <a:lnTo>
                    <a:pt x="582" y="180"/>
                  </a:lnTo>
                  <a:lnTo>
                    <a:pt x="570" y="192"/>
                  </a:lnTo>
                  <a:lnTo>
                    <a:pt x="594" y="192"/>
                  </a:lnTo>
                  <a:lnTo>
                    <a:pt x="618" y="198"/>
                  </a:lnTo>
                  <a:lnTo>
                    <a:pt x="642" y="210"/>
                  </a:lnTo>
                  <a:lnTo>
                    <a:pt x="660" y="234"/>
                  </a:lnTo>
                  <a:lnTo>
                    <a:pt x="678" y="246"/>
                  </a:lnTo>
                  <a:lnTo>
                    <a:pt x="684" y="252"/>
                  </a:lnTo>
                  <a:lnTo>
                    <a:pt x="702" y="252"/>
                  </a:lnTo>
                  <a:lnTo>
                    <a:pt x="732" y="234"/>
                  </a:lnTo>
                  <a:lnTo>
                    <a:pt x="732" y="222"/>
                  </a:lnTo>
                  <a:lnTo>
                    <a:pt x="720" y="216"/>
                  </a:lnTo>
                  <a:lnTo>
                    <a:pt x="714" y="198"/>
                  </a:lnTo>
                  <a:lnTo>
                    <a:pt x="714" y="174"/>
                  </a:lnTo>
                  <a:lnTo>
                    <a:pt x="720" y="162"/>
                  </a:lnTo>
                  <a:lnTo>
                    <a:pt x="726" y="162"/>
                  </a:lnTo>
                  <a:lnTo>
                    <a:pt x="732" y="156"/>
                  </a:lnTo>
                  <a:lnTo>
                    <a:pt x="744" y="150"/>
                  </a:lnTo>
                  <a:lnTo>
                    <a:pt x="774" y="162"/>
                  </a:lnTo>
                  <a:lnTo>
                    <a:pt x="786" y="162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16" y="150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2" y="132"/>
                  </a:lnTo>
                  <a:lnTo>
                    <a:pt x="822" y="114"/>
                  </a:lnTo>
                  <a:lnTo>
                    <a:pt x="828" y="108"/>
                  </a:lnTo>
                  <a:lnTo>
                    <a:pt x="834" y="96"/>
                  </a:lnTo>
                  <a:lnTo>
                    <a:pt x="846" y="96"/>
                  </a:lnTo>
                  <a:lnTo>
                    <a:pt x="858" y="90"/>
                  </a:lnTo>
                  <a:lnTo>
                    <a:pt x="870" y="84"/>
                  </a:lnTo>
                  <a:lnTo>
                    <a:pt x="888" y="84"/>
                  </a:lnTo>
                  <a:lnTo>
                    <a:pt x="894" y="90"/>
                  </a:lnTo>
                  <a:lnTo>
                    <a:pt x="894" y="102"/>
                  </a:lnTo>
                  <a:lnTo>
                    <a:pt x="900" y="102"/>
                  </a:lnTo>
                  <a:lnTo>
                    <a:pt x="906" y="114"/>
                  </a:lnTo>
                  <a:lnTo>
                    <a:pt x="930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54" y="138"/>
                  </a:lnTo>
                  <a:lnTo>
                    <a:pt x="966" y="144"/>
                  </a:lnTo>
                  <a:lnTo>
                    <a:pt x="966" y="150"/>
                  </a:lnTo>
                  <a:lnTo>
                    <a:pt x="972" y="150"/>
                  </a:lnTo>
                  <a:lnTo>
                    <a:pt x="978" y="150"/>
                  </a:lnTo>
                  <a:lnTo>
                    <a:pt x="978" y="144"/>
                  </a:lnTo>
                  <a:lnTo>
                    <a:pt x="984" y="144"/>
                  </a:lnTo>
                  <a:lnTo>
                    <a:pt x="990" y="138"/>
                  </a:lnTo>
                  <a:lnTo>
                    <a:pt x="996" y="138"/>
                  </a:lnTo>
                  <a:lnTo>
                    <a:pt x="1002" y="138"/>
                  </a:lnTo>
                  <a:lnTo>
                    <a:pt x="1008" y="138"/>
                  </a:lnTo>
                  <a:lnTo>
                    <a:pt x="1026" y="132"/>
                  </a:lnTo>
                  <a:lnTo>
                    <a:pt x="1044" y="126"/>
                  </a:lnTo>
                  <a:lnTo>
                    <a:pt x="1056" y="120"/>
                  </a:lnTo>
                  <a:lnTo>
                    <a:pt x="1062" y="108"/>
                  </a:lnTo>
                  <a:lnTo>
                    <a:pt x="1056" y="102"/>
                  </a:lnTo>
                  <a:lnTo>
                    <a:pt x="1062" y="96"/>
                  </a:lnTo>
                  <a:lnTo>
                    <a:pt x="1074" y="90"/>
                  </a:lnTo>
                  <a:lnTo>
                    <a:pt x="1080" y="84"/>
                  </a:lnTo>
                  <a:lnTo>
                    <a:pt x="1128" y="84"/>
                  </a:lnTo>
                  <a:lnTo>
                    <a:pt x="1134" y="84"/>
                  </a:lnTo>
                  <a:lnTo>
                    <a:pt x="1140" y="78"/>
                  </a:lnTo>
                  <a:lnTo>
                    <a:pt x="1152" y="72"/>
                  </a:lnTo>
                  <a:lnTo>
                    <a:pt x="1164" y="66"/>
                  </a:lnTo>
                  <a:lnTo>
                    <a:pt x="1170" y="60"/>
                  </a:lnTo>
                  <a:lnTo>
                    <a:pt x="1188" y="48"/>
                  </a:lnTo>
                  <a:lnTo>
                    <a:pt x="1200" y="36"/>
                  </a:lnTo>
                  <a:lnTo>
                    <a:pt x="1218" y="24"/>
                  </a:lnTo>
                  <a:lnTo>
                    <a:pt x="1248" y="24"/>
                  </a:lnTo>
                  <a:lnTo>
                    <a:pt x="1272" y="24"/>
                  </a:lnTo>
                  <a:lnTo>
                    <a:pt x="1284" y="12"/>
                  </a:lnTo>
                  <a:lnTo>
                    <a:pt x="1302" y="0"/>
                  </a:lnTo>
                  <a:lnTo>
                    <a:pt x="1314" y="0"/>
                  </a:lnTo>
                  <a:lnTo>
                    <a:pt x="1326" y="18"/>
                  </a:lnTo>
                  <a:lnTo>
                    <a:pt x="1338" y="30"/>
                  </a:lnTo>
                  <a:lnTo>
                    <a:pt x="1338" y="54"/>
                  </a:lnTo>
                  <a:lnTo>
                    <a:pt x="1332" y="72"/>
                  </a:lnTo>
                  <a:lnTo>
                    <a:pt x="1326" y="72"/>
                  </a:lnTo>
                  <a:lnTo>
                    <a:pt x="1326" y="78"/>
                  </a:lnTo>
                  <a:lnTo>
                    <a:pt x="1326" y="102"/>
                  </a:lnTo>
                  <a:lnTo>
                    <a:pt x="1332" y="102"/>
                  </a:lnTo>
                  <a:lnTo>
                    <a:pt x="1332" y="108"/>
                  </a:lnTo>
                  <a:lnTo>
                    <a:pt x="1344" y="114"/>
                  </a:lnTo>
                  <a:lnTo>
                    <a:pt x="1350" y="114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404" y="132"/>
                  </a:lnTo>
                  <a:lnTo>
                    <a:pt x="1404" y="138"/>
                  </a:lnTo>
                  <a:lnTo>
                    <a:pt x="1410" y="150"/>
                  </a:lnTo>
                  <a:lnTo>
                    <a:pt x="1416" y="162"/>
                  </a:lnTo>
                  <a:lnTo>
                    <a:pt x="1428" y="168"/>
                  </a:lnTo>
                  <a:lnTo>
                    <a:pt x="1440" y="180"/>
                  </a:lnTo>
                  <a:lnTo>
                    <a:pt x="1476" y="174"/>
                  </a:lnTo>
                  <a:lnTo>
                    <a:pt x="1494" y="174"/>
                  </a:lnTo>
                  <a:lnTo>
                    <a:pt x="1512" y="192"/>
                  </a:lnTo>
                  <a:lnTo>
                    <a:pt x="1518" y="204"/>
                  </a:lnTo>
                  <a:lnTo>
                    <a:pt x="1530" y="216"/>
                  </a:lnTo>
                  <a:lnTo>
                    <a:pt x="1548" y="228"/>
                  </a:lnTo>
                  <a:lnTo>
                    <a:pt x="1548" y="234"/>
                  </a:lnTo>
                  <a:lnTo>
                    <a:pt x="1542" y="246"/>
                  </a:lnTo>
                  <a:lnTo>
                    <a:pt x="1560" y="246"/>
                  </a:lnTo>
                  <a:lnTo>
                    <a:pt x="1560" y="252"/>
                  </a:lnTo>
                  <a:lnTo>
                    <a:pt x="1566" y="258"/>
                  </a:lnTo>
                  <a:lnTo>
                    <a:pt x="1578" y="270"/>
                  </a:lnTo>
                  <a:lnTo>
                    <a:pt x="1596" y="270"/>
                  </a:lnTo>
                  <a:lnTo>
                    <a:pt x="1602" y="288"/>
                  </a:lnTo>
                  <a:lnTo>
                    <a:pt x="1608" y="306"/>
                  </a:lnTo>
                  <a:lnTo>
                    <a:pt x="1608" y="318"/>
                  </a:lnTo>
                  <a:lnTo>
                    <a:pt x="1608" y="324"/>
                  </a:lnTo>
                  <a:lnTo>
                    <a:pt x="1614" y="330"/>
                  </a:lnTo>
                  <a:lnTo>
                    <a:pt x="1614" y="336"/>
                  </a:lnTo>
                  <a:lnTo>
                    <a:pt x="1614" y="342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08" y="390"/>
                  </a:lnTo>
                  <a:lnTo>
                    <a:pt x="1602" y="390"/>
                  </a:lnTo>
                  <a:lnTo>
                    <a:pt x="1602" y="396"/>
                  </a:lnTo>
                  <a:lnTo>
                    <a:pt x="1584" y="420"/>
                  </a:lnTo>
                  <a:lnTo>
                    <a:pt x="1584" y="426"/>
                  </a:lnTo>
                  <a:lnTo>
                    <a:pt x="1602" y="474"/>
                  </a:lnTo>
                  <a:lnTo>
                    <a:pt x="1608" y="480"/>
                  </a:lnTo>
                  <a:lnTo>
                    <a:pt x="1608" y="486"/>
                  </a:lnTo>
                  <a:lnTo>
                    <a:pt x="1614" y="486"/>
                  </a:lnTo>
                  <a:lnTo>
                    <a:pt x="1608" y="504"/>
                  </a:lnTo>
                  <a:lnTo>
                    <a:pt x="1572" y="504"/>
                  </a:lnTo>
                  <a:lnTo>
                    <a:pt x="1560" y="510"/>
                  </a:lnTo>
                  <a:lnTo>
                    <a:pt x="1554" y="522"/>
                  </a:lnTo>
                  <a:lnTo>
                    <a:pt x="1560" y="552"/>
                  </a:lnTo>
                  <a:lnTo>
                    <a:pt x="1566" y="552"/>
                  </a:lnTo>
                  <a:lnTo>
                    <a:pt x="1566" y="558"/>
                  </a:lnTo>
                  <a:lnTo>
                    <a:pt x="1572" y="558"/>
                  </a:lnTo>
                  <a:lnTo>
                    <a:pt x="1578" y="558"/>
                  </a:lnTo>
                  <a:lnTo>
                    <a:pt x="1578" y="552"/>
                  </a:lnTo>
                  <a:lnTo>
                    <a:pt x="1584" y="552"/>
                  </a:lnTo>
                  <a:lnTo>
                    <a:pt x="1590" y="552"/>
                  </a:lnTo>
                  <a:lnTo>
                    <a:pt x="1590" y="546"/>
                  </a:lnTo>
                  <a:lnTo>
                    <a:pt x="1596" y="546"/>
                  </a:lnTo>
                  <a:lnTo>
                    <a:pt x="1602" y="552"/>
                  </a:lnTo>
                  <a:lnTo>
                    <a:pt x="1602" y="546"/>
                  </a:lnTo>
                  <a:lnTo>
                    <a:pt x="1608" y="546"/>
                  </a:lnTo>
                  <a:lnTo>
                    <a:pt x="1608" y="552"/>
                  </a:lnTo>
                  <a:lnTo>
                    <a:pt x="1614" y="552"/>
                  </a:lnTo>
                  <a:lnTo>
                    <a:pt x="1614" y="546"/>
                  </a:lnTo>
                  <a:lnTo>
                    <a:pt x="1620" y="552"/>
                  </a:lnTo>
                  <a:lnTo>
                    <a:pt x="1626" y="552"/>
                  </a:lnTo>
                  <a:lnTo>
                    <a:pt x="1626" y="558"/>
                  </a:lnTo>
                  <a:lnTo>
                    <a:pt x="1632" y="558"/>
                  </a:lnTo>
                  <a:lnTo>
                    <a:pt x="1638" y="558"/>
                  </a:lnTo>
                  <a:lnTo>
                    <a:pt x="1644" y="558"/>
                  </a:lnTo>
                  <a:lnTo>
                    <a:pt x="1650" y="558"/>
                  </a:lnTo>
                  <a:lnTo>
                    <a:pt x="1650" y="564"/>
                  </a:lnTo>
                  <a:lnTo>
                    <a:pt x="1656" y="564"/>
                  </a:lnTo>
                  <a:lnTo>
                    <a:pt x="1662" y="564"/>
                  </a:lnTo>
                  <a:lnTo>
                    <a:pt x="1668" y="564"/>
                  </a:lnTo>
                  <a:lnTo>
                    <a:pt x="1668" y="570"/>
                  </a:lnTo>
                  <a:lnTo>
                    <a:pt x="1674" y="570"/>
                  </a:lnTo>
                  <a:lnTo>
                    <a:pt x="1680" y="570"/>
                  </a:lnTo>
                  <a:lnTo>
                    <a:pt x="1686" y="576"/>
                  </a:lnTo>
                  <a:lnTo>
                    <a:pt x="1686" y="582"/>
                  </a:lnTo>
                  <a:lnTo>
                    <a:pt x="1710" y="588"/>
                  </a:lnTo>
                  <a:lnTo>
                    <a:pt x="1710" y="594"/>
                  </a:lnTo>
                  <a:lnTo>
                    <a:pt x="1704" y="600"/>
                  </a:lnTo>
                  <a:lnTo>
                    <a:pt x="1710" y="624"/>
                  </a:lnTo>
                  <a:lnTo>
                    <a:pt x="1698" y="672"/>
                  </a:lnTo>
                  <a:lnTo>
                    <a:pt x="1704" y="678"/>
                  </a:lnTo>
                  <a:lnTo>
                    <a:pt x="1716" y="684"/>
                  </a:lnTo>
                  <a:lnTo>
                    <a:pt x="1716" y="678"/>
                  </a:lnTo>
                  <a:lnTo>
                    <a:pt x="1716" y="684"/>
                  </a:lnTo>
                  <a:lnTo>
                    <a:pt x="1728" y="684"/>
                  </a:lnTo>
                  <a:lnTo>
                    <a:pt x="1728" y="690"/>
                  </a:lnTo>
                  <a:lnTo>
                    <a:pt x="1734" y="696"/>
                  </a:lnTo>
                  <a:lnTo>
                    <a:pt x="1734" y="702"/>
                  </a:lnTo>
                  <a:lnTo>
                    <a:pt x="1740" y="708"/>
                  </a:lnTo>
                  <a:lnTo>
                    <a:pt x="1740" y="714"/>
                  </a:lnTo>
                  <a:lnTo>
                    <a:pt x="1710" y="714"/>
                  </a:lnTo>
                  <a:lnTo>
                    <a:pt x="1710" y="756"/>
                  </a:lnTo>
                  <a:lnTo>
                    <a:pt x="1704" y="762"/>
                  </a:lnTo>
                  <a:lnTo>
                    <a:pt x="1698" y="762"/>
                  </a:lnTo>
                  <a:lnTo>
                    <a:pt x="1698" y="768"/>
                  </a:lnTo>
                  <a:lnTo>
                    <a:pt x="1698" y="774"/>
                  </a:lnTo>
                  <a:lnTo>
                    <a:pt x="1692" y="780"/>
                  </a:lnTo>
                  <a:lnTo>
                    <a:pt x="1692" y="786"/>
                  </a:lnTo>
                  <a:lnTo>
                    <a:pt x="1686" y="786"/>
                  </a:lnTo>
                  <a:lnTo>
                    <a:pt x="1668" y="798"/>
                  </a:lnTo>
                  <a:lnTo>
                    <a:pt x="1662" y="810"/>
                  </a:lnTo>
                  <a:lnTo>
                    <a:pt x="1650" y="810"/>
                  </a:lnTo>
                  <a:lnTo>
                    <a:pt x="1644" y="816"/>
                  </a:lnTo>
                  <a:lnTo>
                    <a:pt x="1638" y="816"/>
                  </a:lnTo>
                  <a:lnTo>
                    <a:pt x="1626" y="852"/>
                  </a:lnTo>
                  <a:lnTo>
                    <a:pt x="1620" y="888"/>
                  </a:lnTo>
                  <a:lnTo>
                    <a:pt x="1626" y="888"/>
                  </a:lnTo>
                  <a:lnTo>
                    <a:pt x="1638" y="912"/>
                  </a:lnTo>
                  <a:lnTo>
                    <a:pt x="1644" y="918"/>
                  </a:lnTo>
                  <a:lnTo>
                    <a:pt x="1650" y="966"/>
                  </a:lnTo>
                  <a:lnTo>
                    <a:pt x="1626" y="972"/>
                  </a:lnTo>
                  <a:lnTo>
                    <a:pt x="1608" y="978"/>
                  </a:lnTo>
                  <a:lnTo>
                    <a:pt x="1614" y="984"/>
                  </a:lnTo>
                  <a:lnTo>
                    <a:pt x="1620" y="984"/>
                  </a:lnTo>
                  <a:lnTo>
                    <a:pt x="1620" y="1020"/>
                  </a:lnTo>
                  <a:lnTo>
                    <a:pt x="1614" y="1038"/>
                  </a:lnTo>
                  <a:lnTo>
                    <a:pt x="1620" y="1044"/>
                  </a:lnTo>
                  <a:lnTo>
                    <a:pt x="1626" y="1056"/>
                  </a:lnTo>
                  <a:lnTo>
                    <a:pt x="1626" y="1074"/>
                  </a:lnTo>
                  <a:lnTo>
                    <a:pt x="1620" y="1080"/>
                  </a:lnTo>
                  <a:lnTo>
                    <a:pt x="1620" y="1104"/>
                  </a:lnTo>
                  <a:lnTo>
                    <a:pt x="1620" y="1110"/>
                  </a:lnTo>
                  <a:lnTo>
                    <a:pt x="1614" y="1116"/>
                  </a:lnTo>
                  <a:lnTo>
                    <a:pt x="1608" y="1140"/>
                  </a:lnTo>
                  <a:lnTo>
                    <a:pt x="1602" y="1146"/>
                  </a:lnTo>
                  <a:lnTo>
                    <a:pt x="1602" y="1164"/>
                  </a:lnTo>
                  <a:lnTo>
                    <a:pt x="1596" y="1170"/>
                  </a:lnTo>
                  <a:lnTo>
                    <a:pt x="1590" y="1164"/>
                  </a:lnTo>
                  <a:lnTo>
                    <a:pt x="1584" y="1164"/>
                  </a:lnTo>
                  <a:lnTo>
                    <a:pt x="1578" y="1164"/>
                  </a:lnTo>
                  <a:lnTo>
                    <a:pt x="1578" y="1188"/>
                  </a:lnTo>
                  <a:lnTo>
                    <a:pt x="1584" y="1194"/>
                  </a:lnTo>
                  <a:lnTo>
                    <a:pt x="1590" y="1194"/>
                  </a:lnTo>
                  <a:lnTo>
                    <a:pt x="1590" y="1212"/>
                  </a:lnTo>
                  <a:lnTo>
                    <a:pt x="1584" y="1212"/>
                  </a:lnTo>
                  <a:lnTo>
                    <a:pt x="1584" y="1224"/>
                  </a:lnTo>
                  <a:lnTo>
                    <a:pt x="1578" y="1224"/>
                  </a:lnTo>
                  <a:lnTo>
                    <a:pt x="1578" y="1236"/>
                  </a:lnTo>
                  <a:lnTo>
                    <a:pt x="1584" y="1254"/>
                  </a:lnTo>
                  <a:lnTo>
                    <a:pt x="1584" y="1260"/>
                  </a:lnTo>
                  <a:lnTo>
                    <a:pt x="1590" y="1260"/>
                  </a:lnTo>
                  <a:lnTo>
                    <a:pt x="1590" y="1266"/>
                  </a:lnTo>
                  <a:lnTo>
                    <a:pt x="1596" y="1284"/>
                  </a:lnTo>
                  <a:lnTo>
                    <a:pt x="1602" y="1278"/>
                  </a:lnTo>
                  <a:lnTo>
                    <a:pt x="1608" y="1284"/>
                  </a:lnTo>
                  <a:lnTo>
                    <a:pt x="1632" y="1350"/>
                  </a:lnTo>
                  <a:lnTo>
                    <a:pt x="1638" y="1356"/>
                  </a:lnTo>
                  <a:lnTo>
                    <a:pt x="1644" y="1356"/>
                  </a:lnTo>
                  <a:lnTo>
                    <a:pt x="1650" y="1356"/>
                  </a:lnTo>
                  <a:lnTo>
                    <a:pt x="1656" y="1356"/>
                  </a:lnTo>
                  <a:lnTo>
                    <a:pt x="1662" y="1362"/>
                  </a:lnTo>
                  <a:lnTo>
                    <a:pt x="1668" y="1356"/>
                  </a:lnTo>
                  <a:lnTo>
                    <a:pt x="1668" y="1380"/>
                  </a:lnTo>
                  <a:lnTo>
                    <a:pt x="1662" y="1392"/>
                  </a:lnTo>
                  <a:lnTo>
                    <a:pt x="1656" y="1404"/>
                  </a:lnTo>
                  <a:lnTo>
                    <a:pt x="1656" y="1410"/>
                  </a:lnTo>
                  <a:lnTo>
                    <a:pt x="1656" y="1416"/>
                  </a:lnTo>
                  <a:lnTo>
                    <a:pt x="1650" y="1422"/>
                  </a:lnTo>
                  <a:lnTo>
                    <a:pt x="1650" y="1428"/>
                  </a:lnTo>
                  <a:lnTo>
                    <a:pt x="1644" y="1428"/>
                  </a:lnTo>
                  <a:lnTo>
                    <a:pt x="1644" y="1434"/>
                  </a:lnTo>
                  <a:lnTo>
                    <a:pt x="1638" y="1434"/>
                  </a:lnTo>
                  <a:lnTo>
                    <a:pt x="1638" y="1440"/>
                  </a:lnTo>
                  <a:lnTo>
                    <a:pt x="1632" y="1440"/>
                  </a:lnTo>
                  <a:lnTo>
                    <a:pt x="1638" y="145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8" name="Freeform 13">
              <a:extLst>
                <a:ext uri="{FF2B5EF4-FFF2-40B4-BE49-F238E27FC236}">
                  <a16:creationId xmlns:a16="http://schemas.microsoft.com/office/drawing/2014/main" id="{66308D9B-1739-4227-AAC3-BB866CD1F5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63374" y="2969626"/>
              <a:ext cx="330956" cy="357840"/>
            </a:xfrm>
            <a:custGeom>
              <a:avLst/>
              <a:gdLst>
                <a:gd name="T0" fmla="*/ 11 w 624"/>
                <a:gd name="T1" fmla="*/ 59 h 672"/>
                <a:gd name="T2" fmla="*/ 4 w 624"/>
                <a:gd name="T3" fmla="*/ 58 h 672"/>
                <a:gd name="T4" fmla="*/ 3 w 624"/>
                <a:gd name="T5" fmla="*/ 58 h 672"/>
                <a:gd name="T6" fmla="*/ 2 w 624"/>
                <a:gd name="T7" fmla="*/ 11 h 672"/>
                <a:gd name="T8" fmla="*/ 13 w 624"/>
                <a:gd name="T9" fmla="*/ 11 h 672"/>
                <a:gd name="T10" fmla="*/ 14 w 624"/>
                <a:gd name="T11" fmla="*/ 11 h 672"/>
                <a:gd name="T12" fmla="*/ 15 w 624"/>
                <a:gd name="T13" fmla="*/ 12 h 672"/>
                <a:gd name="T14" fmla="*/ 18 w 624"/>
                <a:gd name="T15" fmla="*/ 14 h 672"/>
                <a:gd name="T16" fmla="*/ 21 w 624"/>
                <a:gd name="T17" fmla="*/ 16 h 672"/>
                <a:gd name="T18" fmla="*/ 22 w 624"/>
                <a:gd name="T19" fmla="*/ 18 h 672"/>
                <a:gd name="T20" fmla="*/ 23 w 624"/>
                <a:gd name="T21" fmla="*/ 19 h 672"/>
                <a:gd name="T22" fmla="*/ 24 w 624"/>
                <a:gd name="T23" fmla="*/ 19 h 672"/>
                <a:gd name="T24" fmla="*/ 26 w 624"/>
                <a:gd name="T25" fmla="*/ 19 h 672"/>
                <a:gd name="T26" fmla="*/ 27 w 624"/>
                <a:gd name="T27" fmla="*/ 18 h 672"/>
                <a:gd name="T28" fmla="*/ 29 w 624"/>
                <a:gd name="T29" fmla="*/ 15 h 672"/>
                <a:gd name="T30" fmla="*/ 30 w 624"/>
                <a:gd name="T31" fmla="*/ 14 h 672"/>
                <a:gd name="T32" fmla="*/ 31 w 624"/>
                <a:gd name="T33" fmla="*/ 12 h 672"/>
                <a:gd name="T34" fmla="*/ 32 w 624"/>
                <a:gd name="T35" fmla="*/ 12 h 672"/>
                <a:gd name="T36" fmla="*/ 33 w 624"/>
                <a:gd name="T37" fmla="*/ 10 h 672"/>
                <a:gd name="T38" fmla="*/ 34 w 624"/>
                <a:gd name="T39" fmla="*/ 8 h 672"/>
                <a:gd name="T40" fmla="*/ 34 w 624"/>
                <a:gd name="T41" fmla="*/ 6 h 672"/>
                <a:gd name="T42" fmla="*/ 35 w 624"/>
                <a:gd name="T43" fmla="*/ 4 h 672"/>
                <a:gd name="T44" fmla="*/ 42 w 624"/>
                <a:gd name="T45" fmla="*/ 3 h 672"/>
                <a:gd name="T46" fmla="*/ 44 w 624"/>
                <a:gd name="T47" fmla="*/ 2 h 672"/>
                <a:gd name="T48" fmla="*/ 46 w 624"/>
                <a:gd name="T49" fmla="*/ 0 h 672"/>
                <a:gd name="T50" fmla="*/ 51 w 624"/>
                <a:gd name="T51" fmla="*/ 3 h 672"/>
                <a:gd name="T52" fmla="*/ 54 w 624"/>
                <a:gd name="T53" fmla="*/ 6 h 672"/>
                <a:gd name="T54" fmla="*/ 54 w 624"/>
                <a:gd name="T55" fmla="*/ 8 h 672"/>
                <a:gd name="T56" fmla="*/ 52 w 624"/>
                <a:gd name="T57" fmla="*/ 9 h 672"/>
                <a:gd name="T58" fmla="*/ 49 w 624"/>
                <a:gd name="T59" fmla="*/ 11 h 672"/>
                <a:gd name="T60" fmla="*/ 48 w 624"/>
                <a:gd name="T61" fmla="*/ 14 h 672"/>
                <a:gd name="T62" fmla="*/ 46 w 624"/>
                <a:gd name="T63" fmla="*/ 22 h 672"/>
                <a:gd name="T64" fmla="*/ 45 w 624"/>
                <a:gd name="T65" fmla="*/ 39 h 672"/>
                <a:gd name="T66" fmla="*/ 43 w 624"/>
                <a:gd name="T67" fmla="*/ 43 h 672"/>
                <a:gd name="T68" fmla="*/ 39 w 624"/>
                <a:gd name="T69" fmla="*/ 50 h 672"/>
                <a:gd name="T70" fmla="*/ 36 w 624"/>
                <a:gd name="T71" fmla="*/ 53 h 672"/>
                <a:gd name="T72" fmla="*/ 32 w 624"/>
                <a:gd name="T73" fmla="*/ 56 h 672"/>
                <a:gd name="T74" fmla="*/ 30 w 624"/>
                <a:gd name="T75" fmla="*/ 58 h 672"/>
                <a:gd name="T76" fmla="*/ 20 w 624"/>
                <a:gd name="T77" fmla="*/ 59 h 672"/>
                <a:gd name="T78" fmla="*/ 15 w 624"/>
                <a:gd name="T79" fmla="*/ 59 h 67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24"/>
                <a:gd name="T121" fmla="*/ 0 h 672"/>
                <a:gd name="T122" fmla="*/ 624 w 624"/>
                <a:gd name="T123" fmla="*/ 672 h 67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24" h="672">
                  <a:moveTo>
                    <a:pt x="168" y="672"/>
                  </a:moveTo>
                  <a:lnTo>
                    <a:pt x="132" y="672"/>
                  </a:lnTo>
                  <a:lnTo>
                    <a:pt x="72" y="666"/>
                  </a:lnTo>
                  <a:lnTo>
                    <a:pt x="42" y="666"/>
                  </a:lnTo>
                  <a:lnTo>
                    <a:pt x="36" y="666"/>
                  </a:lnTo>
                  <a:lnTo>
                    <a:pt x="30" y="660"/>
                  </a:lnTo>
                  <a:lnTo>
                    <a:pt x="0" y="660"/>
                  </a:lnTo>
                  <a:lnTo>
                    <a:pt x="24" y="120"/>
                  </a:lnTo>
                  <a:lnTo>
                    <a:pt x="60" y="120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62" y="120"/>
                  </a:lnTo>
                  <a:lnTo>
                    <a:pt x="168" y="120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10" y="156"/>
                  </a:lnTo>
                  <a:lnTo>
                    <a:pt x="222" y="174"/>
                  </a:lnTo>
                  <a:lnTo>
                    <a:pt x="240" y="186"/>
                  </a:lnTo>
                  <a:lnTo>
                    <a:pt x="252" y="198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216"/>
                  </a:lnTo>
                  <a:lnTo>
                    <a:pt x="270" y="216"/>
                  </a:lnTo>
                  <a:lnTo>
                    <a:pt x="282" y="222"/>
                  </a:lnTo>
                  <a:lnTo>
                    <a:pt x="288" y="222"/>
                  </a:lnTo>
                  <a:lnTo>
                    <a:pt x="294" y="216"/>
                  </a:lnTo>
                  <a:lnTo>
                    <a:pt x="294" y="210"/>
                  </a:lnTo>
                  <a:lnTo>
                    <a:pt x="312" y="204"/>
                  </a:lnTo>
                  <a:lnTo>
                    <a:pt x="330" y="186"/>
                  </a:lnTo>
                  <a:lnTo>
                    <a:pt x="336" y="174"/>
                  </a:lnTo>
                  <a:lnTo>
                    <a:pt x="342" y="162"/>
                  </a:lnTo>
                  <a:lnTo>
                    <a:pt x="342" y="156"/>
                  </a:lnTo>
                  <a:lnTo>
                    <a:pt x="348" y="150"/>
                  </a:lnTo>
                  <a:lnTo>
                    <a:pt x="354" y="144"/>
                  </a:lnTo>
                  <a:lnTo>
                    <a:pt x="360" y="138"/>
                  </a:lnTo>
                  <a:lnTo>
                    <a:pt x="366" y="132"/>
                  </a:lnTo>
                  <a:lnTo>
                    <a:pt x="372" y="114"/>
                  </a:lnTo>
                  <a:lnTo>
                    <a:pt x="378" y="114"/>
                  </a:lnTo>
                  <a:lnTo>
                    <a:pt x="378" y="96"/>
                  </a:lnTo>
                  <a:lnTo>
                    <a:pt x="390" y="96"/>
                  </a:lnTo>
                  <a:lnTo>
                    <a:pt x="396" y="84"/>
                  </a:lnTo>
                  <a:lnTo>
                    <a:pt x="396" y="72"/>
                  </a:lnTo>
                  <a:lnTo>
                    <a:pt x="396" y="54"/>
                  </a:lnTo>
                  <a:lnTo>
                    <a:pt x="408" y="42"/>
                  </a:lnTo>
                  <a:lnTo>
                    <a:pt x="468" y="42"/>
                  </a:lnTo>
                  <a:lnTo>
                    <a:pt x="486" y="36"/>
                  </a:lnTo>
                  <a:lnTo>
                    <a:pt x="492" y="24"/>
                  </a:lnTo>
                  <a:lnTo>
                    <a:pt x="504" y="24"/>
                  </a:lnTo>
                  <a:lnTo>
                    <a:pt x="516" y="6"/>
                  </a:lnTo>
                  <a:lnTo>
                    <a:pt x="528" y="0"/>
                  </a:lnTo>
                  <a:lnTo>
                    <a:pt x="558" y="12"/>
                  </a:lnTo>
                  <a:lnTo>
                    <a:pt x="588" y="36"/>
                  </a:lnTo>
                  <a:lnTo>
                    <a:pt x="600" y="66"/>
                  </a:lnTo>
                  <a:lnTo>
                    <a:pt x="624" y="66"/>
                  </a:lnTo>
                  <a:lnTo>
                    <a:pt x="624" y="90"/>
                  </a:lnTo>
                  <a:lnTo>
                    <a:pt x="618" y="90"/>
                  </a:lnTo>
                  <a:lnTo>
                    <a:pt x="618" y="96"/>
                  </a:lnTo>
                  <a:lnTo>
                    <a:pt x="600" y="102"/>
                  </a:lnTo>
                  <a:lnTo>
                    <a:pt x="588" y="108"/>
                  </a:lnTo>
                  <a:lnTo>
                    <a:pt x="570" y="120"/>
                  </a:lnTo>
                  <a:lnTo>
                    <a:pt x="564" y="138"/>
                  </a:lnTo>
                  <a:lnTo>
                    <a:pt x="558" y="162"/>
                  </a:lnTo>
                  <a:lnTo>
                    <a:pt x="540" y="210"/>
                  </a:lnTo>
                  <a:lnTo>
                    <a:pt x="528" y="252"/>
                  </a:lnTo>
                  <a:lnTo>
                    <a:pt x="528" y="402"/>
                  </a:lnTo>
                  <a:lnTo>
                    <a:pt x="522" y="444"/>
                  </a:lnTo>
                  <a:lnTo>
                    <a:pt x="510" y="468"/>
                  </a:lnTo>
                  <a:lnTo>
                    <a:pt x="498" y="498"/>
                  </a:lnTo>
                  <a:lnTo>
                    <a:pt x="474" y="534"/>
                  </a:lnTo>
                  <a:lnTo>
                    <a:pt x="456" y="570"/>
                  </a:lnTo>
                  <a:lnTo>
                    <a:pt x="444" y="576"/>
                  </a:lnTo>
                  <a:lnTo>
                    <a:pt x="420" y="606"/>
                  </a:lnTo>
                  <a:lnTo>
                    <a:pt x="390" y="624"/>
                  </a:lnTo>
                  <a:lnTo>
                    <a:pt x="372" y="642"/>
                  </a:lnTo>
                  <a:lnTo>
                    <a:pt x="366" y="654"/>
                  </a:lnTo>
                  <a:lnTo>
                    <a:pt x="342" y="660"/>
                  </a:lnTo>
                  <a:lnTo>
                    <a:pt x="300" y="666"/>
                  </a:lnTo>
                  <a:lnTo>
                    <a:pt x="234" y="672"/>
                  </a:lnTo>
                  <a:lnTo>
                    <a:pt x="192" y="672"/>
                  </a:lnTo>
                  <a:lnTo>
                    <a:pt x="168" y="67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9" name="Freeform 14">
              <a:extLst>
                <a:ext uri="{FF2B5EF4-FFF2-40B4-BE49-F238E27FC236}">
                  <a16:creationId xmlns:a16="http://schemas.microsoft.com/office/drawing/2014/main" id="{2EA1E999-9CDF-4391-8BC9-7DE71AF9C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0460" y="2983045"/>
              <a:ext cx="905658" cy="561362"/>
            </a:xfrm>
            <a:custGeom>
              <a:avLst/>
              <a:gdLst>
                <a:gd name="T0" fmla="*/ 31 w 1704"/>
                <a:gd name="T1" fmla="*/ 78 h 1056"/>
                <a:gd name="T2" fmla="*/ 23 w 1704"/>
                <a:gd name="T3" fmla="*/ 78 h 1056"/>
                <a:gd name="T4" fmla="*/ 11 w 1704"/>
                <a:gd name="T5" fmla="*/ 79 h 1056"/>
                <a:gd name="T6" fmla="*/ 1 w 1704"/>
                <a:gd name="T7" fmla="*/ 81 h 1056"/>
                <a:gd name="T8" fmla="*/ 0 w 1704"/>
                <a:gd name="T9" fmla="*/ 62 h 1056"/>
                <a:gd name="T10" fmla="*/ 9 w 1704"/>
                <a:gd name="T11" fmla="*/ 56 h 1056"/>
                <a:gd name="T12" fmla="*/ 27 w 1704"/>
                <a:gd name="T13" fmla="*/ 48 h 1056"/>
                <a:gd name="T14" fmla="*/ 35 w 1704"/>
                <a:gd name="T15" fmla="*/ 20 h 1056"/>
                <a:gd name="T16" fmla="*/ 43 w 1704"/>
                <a:gd name="T17" fmla="*/ 6 h 1056"/>
                <a:gd name="T18" fmla="*/ 47 w 1704"/>
                <a:gd name="T19" fmla="*/ 7 h 1056"/>
                <a:gd name="T20" fmla="*/ 52 w 1704"/>
                <a:gd name="T21" fmla="*/ 0 h 1056"/>
                <a:gd name="T22" fmla="*/ 59 w 1704"/>
                <a:gd name="T23" fmla="*/ 5 h 1056"/>
                <a:gd name="T24" fmla="*/ 63 w 1704"/>
                <a:gd name="T25" fmla="*/ 12 h 1056"/>
                <a:gd name="T26" fmla="*/ 62 w 1704"/>
                <a:gd name="T27" fmla="*/ 15 h 1056"/>
                <a:gd name="T28" fmla="*/ 62 w 1704"/>
                <a:gd name="T29" fmla="*/ 18 h 1056"/>
                <a:gd name="T30" fmla="*/ 70 w 1704"/>
                <a:gd name="T31" fmla="*/ 18 h 1056"/>
                <a:gd name="T32" fmla="*/ 71 w 1704"/>
                <a:gd name="T33" fmla="*/ 14 h 1056"/>
                <a:gd name="T34" fmla="*/ 72 w 1704"/>
                <a:gd name="T35" fmla="*/ 12 h 1056"/>
                <a:gd name="T36" fmla="*/ 78 w 1704"/>
                <a:gd name="T37" fmla="*/ 14 h 1056"/>
                <a:gd name="T38" fmla="*/ 85 w 1704"/>
                <a:gd name="T39" fmla="*/ 21 h 1056"/>
                <a:gd name="T40" fmla="*/ 91 w 1704"/>
                <a:gd name="T41" fmla="*/ 15 h 1056"/>
                <a:gd name="T42" fmla="*/ 93 w 1704"/>
                <a:gd name="T43" fmla="*/ 10 h 1056"/>
                <a:gd name="T44" fmla="*/ 101 w 1704"/>
                <a:gd name="T45" fmla="*/ 14 h 1056"/>
                <a:gd name="T46" fmla="*/ 103 w 1704"/>
                <a:gd name="T47" fmla="*/ 19 h 1056"/>
                <a:gd name="T48" fmla="*/ 115 w 1704"/>
                <a:gd name="T49" fmla="*/ 20 h 1056"/>
                <a:gd name="T50" fmla="*/ 118 w 1704"/>
                <a:gd name="T51" fmla="*/ 23 h 1056"/>
                <a:gd name="T52" fmla="*/ 117 w 1704"/>
                <a:gd name="T53" fmla="*/ 27 h 1056"/>
                <a:gd name="T54" fmla="*/ 111 w 1704"/>
                <a:gd name="T55" fmla="*/ 33 h 1056"/>
                <a:gd name="T56" fmla="*/ 108 w 1704"/>
                <a:gd name="T57" fmla="*/ 36 h 1056"/>
                <a:gd name="T58" fmla="*/ 109 w 1704"/>
                <a:gd name="T59" fmla="*/ 40 h 1056"/>
                <a:gd name="T60" fmla="*/ 111 w 1704"/>
                <a:gd name="T61" fmla="*/ 43 h 1056"/>
                <a:gd name="T62" fmla="*/ 113 w 1704"/>
                <a:gd name="T63" fmla="*/ 50 h 1056"/>
                <a:gd name="T64" fmla="*/ 121 w 1704"/>
                <a:gd name="T65" fmla="*/ 55 h 1056"/>
                <a:gd name="T66" fmla="*/ 132 w 1704"/>
                <a:gd name="T67" fmla="*/ 52 h 1056"/>
                <a:gd name="T68" fmla="*/ 148 w 1704"/>
                <a:gd name="T69" fmla="*/ 58 h 1056"/>
                <a:gd name="T70" fmla="*/ 148 w 1704"/>
                <a:gd name="T71" fmla="*/ 61 h 1056"/>
                <a:gd name="T72" fmla="*/ 148 w 1704"/>
                <a:gd name="T73" fmla="*/ 64 h 1056"/>
                <a:gd name="T74" fmla="*/ 135 w 1704"/>
                <a:gd name="T75" fmla="*/ 61 h 1056"/>
                <a:gd name="T76" fmla="*/ 135 w 1704"/>
                <a:gd name="T77" fmla="*/ 66 h 1056"/>
                <a:gd name="T78" fmla="*/ 137 w 1704"/>
                <a:gd name="T79" fmla="*/ 71 h 1056"/>
                <a:gd name="T80" fmla="*/ 136 w 1704"/>
                <a:gd name="T81" fmla="*/ 79 h 1056"/>
                <a:gd name="T82" fmla="*/ 126 w 1704"/>
                <a:gd name="T83" fmla="*/ 84 h 1056"/>
                <a:gd name="T84" fmla="*/ 121 w 1704"/>
                <a:gd name="T85" fmla="*/ 79 h 1056"/>
                <a:gd name="T86" fmla="*/ 117 w 1704"/>
                <a:gd name="T87" fmla="*/ 75 h 1056"/>
                <a:gd name="T88" fmla="*/ 98 w 1704"/>
                <a:gd name="T89" fmla="*/ 74 h 1056"/>
                <a:gd name="T90" fmla="*/ 81 w 1704"/>
                <a:gd name="T91" fmla="*/ 75 h 1056"/>
                <a:gd name="T92" fmla="*/ 83 w 1704"/>
                <a:gd name="T93" fmla="*/ 88 h 1056"/>
                <a:gd name="T94" fmla="*/ 82 w 1704"/>
                <a:gd name="T95" fmla="*/ 91 h 1056"/>
                <a:gd name="T96" fmla="*/ 77 w 1704"/>
                <a:gd name="T97" fmla="*/ 90 h 1056"/>
                <a:gd name="T98" fmla="*/ 73 w 1704"/>
                <a:gd name="T99" fmla="*/ 86 h 1056"/>
                <a:gd name="T100" fmla="*/ 68 w 1704"/>
                <a:gd name="T101" fmla="*/ 85 h 1056"/>
                <a:gd name="T102" fmla="*/ 64 w 1704"/>
                <a:gd name="T103" fmla="*/ 83 h 1056"/>
                <a:gd name="T104" fmla="*/ 57 w 1704"/>
                <a:gd name="T105" fmla="*/ 81 h 1056"/>
                <a:gd name="T106" fmla="*/ 52 w 1704"/>
                <a:gd name="T107" fmla="*/ 80 h 1056"/>
                <a:gd name="T108" fmla="*/ 50 w 1704"/>
                <a:gd name="T109" fmla="*/ 80 h 1056"/>
                <a:gd name="T110" fmla="*/ 46 w 1704"/>
                <a:gd name="T111" fmla="*/ 79 h 1056"/>
                <a:gd name="T112" fmla="*/ 41 w 1704"/>
                <a:gd name="T113" fmla="*/ 78 h 10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04"/>
                <a:gd name="T172" fmla="*/ 0 h 1056"/>
                <a:gd name="T173" fmla="*/ 1704 w 1704"/>
                <a:gd name="T174" fmla="*/ 1056 h 10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04" h="1056">
                  <a:moveTo>
                    <a:pt x="450" y="888"/>
                  </a:moveTo>
                  <a:lnTo>
                    <a:pt x="420" y="888"/>
                  </a:lnTo>
                  <a:lnTo>
                    <a:pt x="414" y="888"/>
                  </a:lnTo>
                  <a:lnTo>
                    <a:pt x="396" y="888"/>
                  </a:lnTo>
                  <a:lnTo>
                    <a:pt x="372" y="888"/>
                  </a:lnTo>
                  <a:lnTo>
                    <a:pt x="366" y="888"/>
                  </a:lnTo>
                  <a:lnTo>
                    <a:pt x="360" y="888"/>
                  </a:lnTo>
                  <a:lnTo>
                    <a:pt x="348" y="888"/>
                  </a:lnTo>
                  <a:lnTo>
                    <a:pt x="330" y="894"/>
                  </a:lnTo>
                  <a:lnTo>
                    <a:pt x="324" y="894"/>
                  </a:lnTo>
                  <a:lnTo>
                    <a:pt x="312" y="888"/>
                  </a:lnTo>
                  <a:lnTo>
                    <a:pt x="300" y="888"/>
                  </a:lnTo>
                  <a:lnTo>
                    <a:pt x="282" y="888"/>
                  </a:lnTo>
                  <a:lnTo>
                    <a:pt x="270" y="888"/>
                  </a:lnTo>
                  <a:lnTo>
                    <a:pt x="240" y="882"/>
                  </a:lnTo>
                  <a:lnTo>
                    <a:pt x="222" y="882"/>
                  </a:lnTo>
                  <a:lnTo>
                    <a:pt x="198" y="882"/>
                  </a:lnTo>
                  <a:lnTo>
                    <a:pt x="174" y="894"/>
                  </a:lnTo>
                  <a:lnTo>
                    <a:pt x="162" y="900"/>
                  </a:lnTo>
                  <a:lnTo>
                    <a:pt x="144" y="906"/>
                  </a:lnTo>
                  <a:lnTo>
                    <a:pt x="126" y="912"/>
                  </a:lnTo>
                  <a:lnTo>
                    <a:pt x="102" y="924"/>
                  </a:lnTo>
                  <a:lnTo>
                    <a:pt x="78" y="930"/>
                  </a:lnTo>
                  <a:lnTo>
                    <a:pt x="72" y="936"/>
                  </a:lnTo>
                  <a:lnTo>
                    <a:pt x="30" y="954"/>
                  </a:lnTo>
                  <a:lnTo>
                    <a:pt x="12" y="966"/>
                  </a:lnTo>
                  <a:lnTo>
                    <a:pt x="12" y="954"/>
                  </a:lnTo>
                  <a:lnTo>
                    <a:pt x="12" y="930"/>
                  </a:lnTo>
                  <a:lnTo>
                    <a:pt x="12" y="894"/>
                  </a:lnTo>
                  <a:lnTo>
                    <a:pt x="30" y="828"/>
                  </a:lnTo>
                  <a:lnTo>
                    <a:pt x="36" y="798"/>
                  </a:lnTo>
                  <a:lnTo>
                    <a:pt x="18" y="774"/>
                  </a:lnTo>
                  <a:lnTo>
                    <a:pt x="18" y="756"/>
                  </a:lnTo>
                  <a:lnTo>
                    <a:pt x="6" y="738"/>
                  </a:lnTo>
                  <a:lnTo>
                    <a:pt x="0" y="714"/>
                  </a:lnTo>
                  <a:lnTo>
                    <a:pt x="12" y="678"/>
                  </a:lnTo>
                  <a:lnTo>
                    <a:pt x="18" y="678"/>
                  </a:lnTo>
                  <a:lnTo>
                    <a:pt x="24" y="672"/>
                  </a:lnTo>
                  <a:lnTo>
                    <a:pt x="30" y="666"/>
                  </a:lnTo>
                  <a:lnTo>
                    <a:pt x="42" y="648"/>
                  </a:lnTo>
                  <a:lnTo>
                    <a:pt x="66" y="648"/>
                  </a:lnTo>
                  <a:lnTo>
                    <a:pt x="108" y="648"/>
                  </a:lnTo>
                  <a:lnTo>
                    <a:pt x="174" y="642"/>
                  </a:lnTo>
                  <a:lnTo>
                    <a:pt x="216" y="636"/>
                  </a:lnTo>
                  <a:lnTo>
                    <a:pt x="240" y="630"/>
                  </a:lnTo>
                  <a:lnTo>
                    <a:pt x="246" y="618"/>
                  </a:lnTo>
                  <a:lnTo>
                    <a:pt x="264" y="600"/>
                  </a:lnTo>
                  <a:lnTo>
                    <a:pt x="294" y="582"/>
                  </a:lnTo>
                  <a:lnTo>
                    <a:pt x="318" y="552"/>
                  </a:lnTo>
                  <a:lnTo>
                    <a:pt x="330" y="546"/>
                  </a:lnTo>
                  <a:lnTo>
                    <a:pt x="348" y="510"/>
                  </a:lnTo>
                  <a:lnTo>
                    <a:pt x="372" y="474"/>
                  </a:lnTo>
                  <a:lnTo>
                    <a:pt x="384" y="444"/>
                  </a:lnTo>
                  <a:lnTo>
                    <a:pt x="396" y="420"/>
                  </a:lnTo>
                  <a:lnTo>
                    <a:pt x="402" y="378"/>
                  </a:lnTo>
                  <a:lnTo>
                    <a:pt x="402" y="228"/>
                  </a:lnTo>
                  <a:lnTo>
                    <a:pt x="414" y="186"/>
                  </a:lnTo>
                  <a:lnTo>
                    <a:pt x="432" y="138"/>
                  </a:lnTo>
                  <a:lnTo>
                    <a:pt x="438" y="114"/>
                  </a:lnTo>
                  <a:lnTo>
                    <a:pt x="444" y="96"/>
                  </a:lnTo>
                  <a:lnTo>
                    <a:pt x="462" y="84"/>
                  </a:lnTo>
                  <a:lnTo>
                    <a:pt x="474" y="78"/>
                  </a:lnTo>
                  <a:lnTo>
                    <a:pt x="492" y="72"/>
                  </a:lnTo>
                  <a:lnTo>
                    <a:pt x="492" y="66"/>
                  </a:lnTo>
                  <a:lnTo>
                    <a:pt x="498" y="66"/>
                  </a:lnTo>
                  <a:lnTo>
                    <a:pt x="510" y="66"/>
                  </a:lnTo>
                  <a:lnTo>
                    <a:pt x="510" y="72"/>
                  </a:lnTo>
                  <a:lnTo>
                    <a:pt x="516" y="72"/>
                  </a:lnTo>
                  <a:lnTo>
                    <a:pt x="522" y="78"/>
                  </a:lnTo>
                  <a:lnTo>
                    <a:pt x="546" y="78"/>
                  </a:lnTo>
                  <a:lnTo>
                    <a:pt x="552" y="60"/>
                  </a:lnTo>
                  <a:lnTo>
                    <a:pt x="570" y="42"/>
                  </a:lnTo>
                  <a:lnTo>
                    <a:pt x="576" y="24"/>
                  </a:lnTo>
                  <a:lnTo>
                    <a:pt x="588" y="18"/>
                  </a:lnTo>
                  <a:lnTo>
                    <a:pt x="588" y="12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624" y="0"/>
                  </a:lnTo>
                  <a:lnTo>
                    <a:pt x="636" y="6"/>
                  </a:lnTo>
                  <a:lnTo>
                    <a:pt x="648" y="24"/>
                  </a:lnTo>
                  <a:lnTo>
                    <a:pt x="654" y="48"/>
                  </a:lnTo>
                  <a:lnTo>
                    <a:pt x="672" y="60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0" y="72"/>
                  </a:lnTo>
                  <a:lnTo>
                    <a:pt x="690" y="78"/>
                  </a:lnTo>
                  <a:lnTo>
                    <a:pt x="696" y="90"/>
                  </a:lnTo>
                  <a:lnTo>
                    <a:pt x="714" y="114"/>
                  </a:lnTo>
                  <a:lnTo>
                    <a:pt x="714" y="120"/>
                  </a:lnTo>
                  <a:lnTo>
                    <a:pt x="720" y="132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20" y="150"/>
                  </a:lnTo>
                  <a:lnTo>
                    <a:pt x="714" y="150"/>
                  </a:lnTo>
                  <a:lnTo>
                    <a:pt x="714" y="156"/>
                  </a:lnTo>
                  <a:lnTo>
                    <a:pt x="714" y="162"/>
                  </a:lnTo>
                  <a:lnTo>
                    <a:pt x="708" y="162"/>
                  </a:lnTo>
                  <a:lnTo>
                    <a:pt x="708" y="168"/>
                  </a:lnTo>
                  <a:lnTo>
                    <a:pt x="702" y="168"/>
                  </a:lnTo>
                  <a:lnTo>
                    <a:pt x="702" y="174"/>
                  </a:lnTo>
                  <a:lnTo>
                    <a:pt x="702" y="180"/>
                  </a:lnTo>
                  <a:lnTo>
                    <a:pt x="708" y="180"/>
                  </a:lnTo>
                  <a:lnTo>
                    <a:pt x="708" y="186"/>
                  </a:lnTo>
                  <a:lnTo>
                    <a:pt x="708" y="192"/>
                  </a:lnTo>
                  <a:lnTo>
                    <a:pt x="714" y="204"/>
                  </a:lnTo>
                  <a:lnTo>
                    <a:pt x="726" y="216"/>
                  </a:lnTo>
                  <a:lnTo>
                    <a:pt x="738" y="216"/>
                  </a:lnTo>
                  <a:lnTo>
                    <a:pt x="768" y="222"/>
                  </a:lnTo>
                  <a:lnTo>
                    <a:pt x="780" y="216"/>
                  </a:lnTo>
                  <a:lnTo>
                    <a:pt x="792" y="204"/>
                  </a:lnTo>
                  <a:lnTo>
                    <a:pt x="798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6" y="192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6" y="174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22" y="156"/>
                  </a:lnTo>
                  <a:lnTo>
                    <a:pt x="822" y="150"/>
                  </a:lnTo>
                  <a:lnTo>
                    <a:pt x="828" y="144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8" y="138"/>
                  </a:lnTo>
                  <a:lnTo>
                    <a:pt x="834" y="132"/>
                  </a:lnTo>
                  <a:lnTo>
                    <a:pt x="840" y="132"/>
                  </a:lnTo>
                  <a:lnTo>
                    <a:pt x="864" y="126"/>
                  </a:lnTo>
                  <a:lnTo>
                    <a:pt x="906" y="144"/>
                  </a:lnTo>
                  <a:lnTo>
                    <a:pt x="906" y="150"/>
                  </a:lnTo>
                  <a:lnTo>
                    <a:pt x="906" y="156"/>
                  </a:lnTo>
                  <a:lnTo>
                    <a:pt x="900" y="162"/>
                  </a:lnTo>
                  <a:lnTo>
                    <a:pt x="924" y="168"/>
                  </a:lnTo>
                  <a:lnTo>
                    <a:pt x="942" y="192"/>
                  </a:lnTo>
                  <a:lnTo>
                    <a:pt x="972" y="210"/>
                  </a:lnTo>
                  <a:lnTo>
                    <a:pt x="972" y="216"/>
                  </a:lnTo>
                  <a:lnTo>
                    <a:pt x="972" y="228"/>
                  </a:lnTo>
                  <a:lnTo>
                    <a:pt x="978" y="234"/>
                  </a:lnTo>
                  <a:lnTo>
                    <a:pt x="978" y="246"/>
                  </a:lnTo>
                  <a:lnTo>
                    <a:pt x="984" y="252"/>
                  </a:lnTo>
                  <a:lnTo>
                    <a:pt x="1014" y="252"/>
                  </a:lnTo>
                  <a:lnTo>
                    <a:pt x="1020" y="228"/>
                  </a:lnTo>
                  <a:lnTo>
                    <a:pt x="1026" y="198"/>
                  </a:lnTo>
                  <a:lnTo>
                    <a:pt x="1050" y="186"/>
                  </a:lnTo>
                  <a:lnTo>
                    <a:pt x="1056" y="180"/>
                  </a:lnTo>
                  <a:lnTo>
                    <a:pt x="1050" y="174"/>
                  </a:lnTo>
                  <a:lnTo>
                    <a:pt x="1050" y="168"/>
                  </a:lnTo>
                  <a:lnTo>
                    <a:pt x="1050" y="162"/>
                  </a:lnTo>
                  <a:lnTo>
                    <a:pt x="1056" y="162"/>
                  </a:lnTo>
                  <a:lnTo>
                    <a:pt x="1062" y="162"/>
                  </a:lnTo>
                  <a:lnTo>
                    <a:pt x="1074" y="162"/>
                  </a:lnTo>
                  <a:lnTo>
                    <a:pt x="1074" y="144"/>
                  </a:lnTo>
                  <a:lnTo>
                    <a:pt x="1074" y="120"/>
                  </a:lnTo>
                  <a:lnTo>
                    <a:pt x="1092" y="120"/>
                  </a:lnTo>
                  <a:lnTo>
                    <a:pt x="1098" y="126"/>
                  </a:lnTo>
                  <a:lnTo>
                    <a:pt x="1134" y="132"/>
                  </a:lnTo>
                  <a:lnTo>
                    <a:pt x="1146" y="132"/>
                  </a:lnTo>
                  <a:lnTo>
                    <a:pt x="1158" y="150"/>
                  </a:lnTo>
                  <a:lnTo>
                    <a:pt x="1158" y="156"/>
                  </a:lnTo>
                  <a:lnTo>
                    <a:pt x="1158" y="162"/>
                  </a:lnTo>
                  <a:lnTo>
                    <a:pt x="1158" y="180"/>
                  </a:lnTo>
                  <a:lnTo>
                    <a:pt x="1158" y="186"/>
                  </a:lnTo>
                  <a:lnTo>
                    <a:pt x="1164" y="192"/>
                  </a:lnTo>
                  <a:lnTo>
                    <a:pt x="1176" y="198"/>
                  </a:lnTo>
                  <a:lnTo>
                    <a:pt x="1182" y="198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8"/>
                  </a:lnTo>
                  <a:lnTo>
                    <a:pt x="1188" y="234"/>
                  </a:lnTo>
                  <a:lnTo>
                    <a:pt x="1212" y="234"/>
                  </a:lnTo>
                  <a:lnTo>
                    <a:pt x="1242" y="234"/>
                  </a:lnTo>
                  <a:lnTo>
                    <a:pt x="1248" y="234"/>
                  </a:lnTo>
                  <a:lnTo>
                    <a:pt x="1278" y="240"/>
                  </a:lnTo>
                  <a:lnTo>
                    <a:pt x="1320" y="234"/>
                  </a:lnTo>
                  <a:lnTo>
                    <a:pt x="1332" y="228"/>
                  </a:lnTo>
                  <a:lnTo>
                    <a:pt x="1344" y="228"/>
                  </a:lnTo>
                  <a:lnTo>
                    <a:pt x="1350" y="234"/>
                  </a:lnTo>
                  <a:lnTo>
                    <a:pt x="1350" y="240"/>
                  </a:lnTo>
                  <a:lnTo>
                    <a:pt x="1356" y="246"/>
                  </a:lnTo>
                  <a:lnTo>
                    <a:pt x="1350" y="252"/>
                  </a:lnTo>
                  <a:lnTo>
                    <a:pt x="1356" y="264"/>
                  </a:lnTo>
                  <a:lnTo>
                    <a:pt x="1356" y="270"/>
                  </a:lnTo>
                  <a:lnTo>
                    <a:pt x="1356" y="276"/>
                  </a:lnTo>
                  <a:lnTo>
                    <a:pt x="1356" y="282"/>
                  </a:lnTo>
                  <a:lnTo>
                    <a:pt x="1356" y="288"/>
                  </a:lnTo>
                  <a:lnTo>
                    <a:pt x="1350" y="294"/>
                  </a:lnTo>
                  <a:lnTo>
                    <a:pt x="1344" y="300"/>
                  </a:lnTo>
                  <a:lnTo>
                    <a:pt x="1344" y="306"/>
                  </a:lnTo>
                  <a:lnTo>
                    <a:pt x="1338" y="312"/>
                  </a:lnTo>
                  <a:lnTo>
                    <a:pt x="1326" y="342"/>
                  </a:lnTo>
                  <a:lnTo>
                    <a:pt x="1320" y="348"/>
                  </a:lnTo>
                  <a:lnTo>
                    <a:pt x="1314" y="354"/>
                  </a:lnTo>
                  <a:lnTo>
                    <a:pt x="1290" y="354"/>
                  </a:lnTo>
                  <a:lnTo>
                    <a:pt x="1284" y="360"/>
                  </a:lnTo>
                  <a:lnTo>
                    <a:pt x="1278" y="378"/>
                  </a:lnTo>
                  <a:lnTo>
                    <a:pt x="1278" y="384"/>
                  </a:lnTo>
                  <a:lnTo>
                    <a:pt x="1272" y="390"/>
                  </a:lnTo>
                  <a:lnTo>
                    <a:pt x="1266" y="396"/>
                  </a:lnTo>
                  <a:lnTo>
                    <a:pt x="1260" y="396"/>
                  </a:lnTo>
                  <a:lnTo>
                    <a:pt x="1248" y="402"/>
                  </a:lnTo>
                  <a:lnTo>
                    <a:pt x="1242" y="408"/>
                  </a:lnTo>
                  <a:lnTo>
                    <a:pt x="1242" y="414"/>
                  </a:lnTo>
                  <a:lnTo>
                    <a:pt x="1242" y="420"/>
                  </a:lnTo>
                  <a:lnTo>
                    <a:pt x="1236" y="432"/>
                  </a:lnTo>
                  <a:lnTo>
                    <a:pt x="1242" y="432"/>
                  </a:lnTo>
                  <a:lnTo>
                    <a:pt x="1242" y="444"/>
                  </a:lnTo>
                  <a:lnTo>
                    <a:pt x="1242" y="456"/>
                  </a:lnTo>
                  <a:lnTo>
                    <a:pt x="1248" y="456"/>
                  </a:lnTo>
                  <a:lnTo>
                    <a:pt x="1254" y="462"/>
                  </a:lnTo>
                  <a:lnTo>
                    <a:pt x="1248" y="468"/>
                  </a:lnTo>
                  <a:lnTo>
                    <a:pt x="1254" y="468"/>
                  </a:lnTo>
                  <a:lnTo>
                    <a:pt x="1266" y="474"/>
                  </a:lnTo>
                  <a:lnTo>
                    <a:pt x="1266" y="480"/>
                  </a:lnTo>
                  <a:lnTo>
                    <a:pt x="1266" y="486"/>
                  </a:lnTo>
                  <a:lnTo>
                    <a:pt x="1272" y="486"/>
                  </a:lnTo>
                  <a:lnTo>
                    <a:pt x="1272" y="492"/>
                  </a:lnTo>
                  <a:lnTo>
                    <a:pt x="1290" y="510"/>
                  </a:lnTo>
                  <a:lnTo>
                    <a:pt x="1296" y="516"/>
                  </a:lnTo>
                  <a:lnTo>
                    <a:pt x="1302" y="540"/>
                  </a:lnTo>
                  <a:lnTo>
                    <a:pt x="1302" y="546"/>
                  </a:lnTo>
                  <a:lnTo>
                    <a:pt x="1302" y="558"/>
                  </a:lnTo>
                  <a:lnTo>
                    <a:pt x="1302" y="570"/>
                  </a:lnTo>
                  <a:lnTo>
                    <a:pt x="1302" y="576"/>
                  </a:lnTo>
                  <a:lnTo>
                    <a:pt x="1344" y="570"/>
                  </a:lnTo>
                  <a:lnTo>
                    <a:pt x="1350" y="582"/>
                  </a:lnTo>
                  <a:lnTo>
                    <a:pt x="1368" y="594"/>
                  </a:lnTo>
                  <a:lnTo>
                    <a:pt x="1374" y="600"/>
                  </a:lnTo>
                  <a:lnTo>
                    <a:pt x="1380" y="600"/>
                  </a:lnTo>
                  <a:lnTo>
                    <a:pt x="1380" y="618"/>
                  </a:lnTo>
                  <a:lnTo>
                    <a:pt x="1386" y="624"/>
                  </a:lnTo>
                  <a:lnTo>
                    <a:pt x="1404" y="624"/>
                  </a:lnTo>
                  <a:lnTo>
                    <a:pt x="1410" y="612"/>
                  </a:lnTo>
                  <a:lnTo>
                    <a:pt x="1428" y="606"/>
                  </a:lnTo>
                  <a:lnTo>
                    <a:pt x="1488" y="606"/>
                  </a:lnTo>
                  <a:lnTo>
                    <a:pt x="1506" y="606"/>
                  </a:lnTo>
                  <a:lnTo>
                    <a:pt x="1512" y="600"/>
                  </a:lnTo>
                  <a:lnTo>
                    <a:pt x="1524" y="594"/>
                  </a:lnTo>
                  <a:lnTo>
                    <a:pt x="1554" y="594"/>
                  </a:lnTo>
                  <a:lnTo>
                    <a:pt x="1578" y="606"/>
                  </a:lnTo>
                  <a:lnTo>
                    <a:pt x="1596" y="624"/>
                  </a:lnTo>
                  <a:lnTo>
                    <a:pt x="1650" y="642"/>
                  </a:lnTo>
                  <a:lnTo>
                    <a:pt x="1686" y="648"/>
                  </a:lnTo>
                  <a:lnTo>
                    <a:pt x="1698" y="654"/>
                  </a:lnTo>
                  <a:lnTo>
                    <a:pt x="1698" y="660"/>
                  </a:lnTo>
                  <a:lnTo>
                    <a:pt x="1692" y="666"/>
                  </a:lnTo>
                  <a:lnTo>
                    <a:pt x="1692" y="672"/>
                  </a:lnTo>
                  <a:lnTo>
                    <a:pt x="1698" y="678"/>
                  </a:lnTo>
                  <a:lnTo>
                    <a:pt x="1698" y="684"/>
                  </a:lnTo>
                  <a:lnTo>
                    <a:pt x="1692" y="684"/>
                  </a:lnTo>
                  <a:lnTo>
                    <a:pt x="1692" y="690"/>
                  </a:lnTo>
                  <a:lnTo>
                    <a:pt x="1698" y="696"/>
                  </a:lnTo>
                  <a:lnTo>
                    <a:pt x="1698" y="702"/>
                  </a:lnTo>
                  <a:lnTo>
                    <a:pt x="1698" y="708"/>
                  </a:lnTo>
                  <a:lnTo>
                    <a:pt x="1704" y="714"/>
                  </a:lnTo>
                  <a:lnTo>
                    <a:pt x="1704" y="720"/>
                  </a:lnTo>
                  <a:lnTo>
                    <a:pt x="1704" y="726"/>
                  </a:lnTo>
                  <a:lnTo>
                    <a:pt x="1704" y="732"/>
                  </a:lnTo>
                  <a:lnTo>
                    <a:pt x="1704" y="738"/>
                  </a:lnTo>
                  <a:lnTo>
                    <a:pt x="1698" y="726"/>
                  </a:lnTo>
                  <a:lnTo>
                    <a:pt x="1668" y="720"/>
                  </a:lnTo>
                  <a:lnTo>
                    <a:pt x="1626" y="714"/>
                  </a:lnTo>
                  <a:lnTo>
                    <a:pt x="1614" y="708"/>
                  </a:lnTo>
                  <a:lnTo>
                    <a:pt x="1578" y="696"/>
                  </a:lnTo>
                  <a:lnTo>
                    <a:pt x="1566" y="696"/>
                  </a:lnTo>
                  <a:lnTo>
                    <a:pt x="1548" y="702"/>
                  </a:lnTo>
                  <a:lnTo>
                    <a:pt x="1542" y="714"/>
                  </a:lnTo>
                  <a:lnTo>
                    <a:pt x="1536" y="732"/>
                  </a:lnTo>
                  <a:lnTo>
                    <a:pt x="1530" y="750"/>
                  </a:lnTo>
                  <a:lnTo>
                    <a:pt x="1536" y="750"/>
                  </a:lnTo>
                  <a:lnTo>
                    <a:pt x="1542" y="756"/>
                  </a:lnTo>
                  <a:lnTo>
                    <a:pt x="1542" y="762"/>
                  </a:lnTo>
                  <a:lnTo>
                    <a:pt x="1548" y="762"/>
                  </a:lnTo>
                  <a:lnTo>
                    <a:pt x="1554" y="762"/>
                  </a:lnTo>
                  <a:lnTo>
                    <a:pt x="1554" y="768"/>
                  </a:lnTo>
                  <a:lnTo>
                    <a:pt x="1560" y="774"/>
                  </a:lnTo>
                  <a:lnTo>
                    <a:pt x="1566" y="774"/>
                  </a:lnTo>
                  <a:lnTo>
                    <a:pt x="1584" y="792"/>
                  </a:lnTo>
                  <a:lnTo>
                    <a:pt x="1584" y="810"/>
                  </a:lnTo>
                  <a:lnTo>
                    <a:pt x="1572" y="816"/>
                  </a:lnTo>
                  <a:lnTo>
                    <a:pt x="1578" y="834"/>
                  </a:lnTo>
                  <a:lnTo>
                    <a:pt x="1578" y="846"/>
                  </a:lnTo>
                  <a:lnTo>
                    <a:pt x="1584" y="858"/>
                  </a:lnTo>
                  <a:lnTo>
                    <a:pt x="1590" y="864"/>
                  </a:lnTo>
                  <a:lnTo>
                    <a:pt x="1590" y="876"/>
                  </a:lnTo>
                  <a:lnTo>
                    <a:pt x="1578" y="888"/>
                  </a:lnTo>
                  <a:lnTo>
                    <a:pt x="1560" y="906"/>
                  </a:lnTo>
                  <a:lnTo>
                    <a:pt x="1536" y="930"/>
                  </a:lnTo>
                  <a:lnTo>
                    <a:pt x="1530" y="930"/>
                  </a:lnTo>
                  <a:lnTo>
                    <a:pt x="1506" y="942"/>
                  </a:lnTo>
                  <a:lnTo>
                    <a:pt x="1488" y="948"/>
                  </a:lnTo>
                  <a:lnTo>
                    <a:pt x="1476" y="954"/>
                  </a:lnTo>
                  <a:lnTo>
                    <a:pt x="1458" y="960"/>
                  </a:lnTo>
                  <a:lnTo>
                    <a:pt x="1452" y="966"/>
                  </a:lnTo>
                  <a:lnTo>
                    <a:pt x="1446" y="966"/>
                  </a:lnTo>
                  <a:lnTo>
                    <a:pt x="1434" y="972"/>
                  </a:lnTo>
                  <a:lnTo>
                    <a:pt x="1434" y="954"/>
                  </a:lnTo>
                  <a:lnTo>
                    <a:pt x="1422" y="942"/>
                  </a:lnTo>
                  <a:lnTo>
                    <a:pt x="1398" y="924"/>
                  </a:lnTo>
                  <a:lnTo>
                    <a:pt x="1398" y="912"/>
                  </a:lnTo>
                  <a:lnTo>
                    <a:pt x="1398" y="906"/>
                  </a:lnTo>
                  <a:lnTo>
                    <a:pt x="1398" y="900"/>
                  </a:lnTo>
                  <a:lnTo>
                    <a:pt x="1380" y="900"/>
                  </a:lnTo>
                  <a:lnTo>
                    <a:pt x="1380" y="894"/>
                  </a:lnTo>
                  <a:lnTo>
                    <a:pt x="1368" y="888"/>
                  </a:lnTo>
                  <a:lnTo>
                    <a:pt x="1362" y="882"/>
                  </a:lnTo>
                  <a:lnTo>
                    <a:pt x="1356" y="876"/>
                  </a:lnTo>
                  <a:lnTo>
                    <a:pt x="1350" y="864"/>
                  </a:lnTo>
                  <a:lnTo>
                    <a:pt x="1344" y="858"/>
                  </a:lnTo>
                  <a:lnTo>
                    <a:pt x="1314" y="870"/>
                  </a:lnTo>
                  <a:lnTo>
                    <a:pt x="1272" y="876"/>
                  </a:lnTo>
                  <a:lnTo>
                    <a:pt x="1218" y="870"/>
                  </a:lnTo>
                  <a:lnTo>
                    <a:pt x="1200" y="864"/>
                  </a:lnTo>
                  <a:lnTo>
                    <a:pt x="1182" y="864"/>
                  </a:lnTo>
                  <a:lnTo>
                    <a:pt x="1134" y="858"/>
                  </a:lnTo>
                  <a:lnTo>
                    <a:pt x="1110" y="840"/>
                  </a:lnTo>
                  <a:lnTo>
                    <a:pt x="1086" y="828"/>
                  </a:lnTo>
                  <a:lnTo>
                    <a:pt x="1044" y="816"/>
                  </a:lnTo>
                  <a:lnTo>
                    <a:pt x="1014" y="816"/>
                  </a:lnTo>
                  <a:lnTo>
                    <a:pt x="990" y="822"/>
                  </a:lnTo>
                  <a:lnTo>
                    <a:pt x="948" y="858"/>
                  </a:lnTo>
                  <a:lnTo>
                    <a:pt x="930" y="864"/>
                  </a:lnTo>
                  <a:lnTo>
                    <a:pt x="924" y="876"/>
                  </a:lnTo>
                  <a:lnTo>
                    <a:pt x="918" y="906"/>
                  </a:lnTo>
                  <a:lnTo>
                    <a:pt x="924" y="930"/>
                  </a:lnTo>
                  <a:lnTo>
                    <a:pt x="948" y="984"/>
                  </a:lnTo>
                  <a:lnTo>
                    <a:pt x="954" y="1008"/>
                  </a:lnTo>
                  <a:lnTo>
                    <a:pt x="948" y="1014"/>
                  </a:lnTo>
                  <a:lnTo>
                    <a:pt x="954" y="1014"/>
                  </a:lnTo>
                  <a:lnTo>
                    <a:pt x="954" y="1032"/>
                  </a:lnTo>
                  <a:lnTo>
                    <a:pt x="966" y="1044"/>
                  </a:lnTo>
                  <a:lnTo>
                    <a:pt x="960" y="1056"/>
                  </a:lnTo>
                  <a:lnTo>
                    <a:pt x="954" y="1056"/>
                  </a:lnTo>
                  <a:lnTo>
                    <a:pt x="948" y="1056"/>
                  </a:lnTo>
                  <a:lnTo>
                    <a:pt x="942" y="1056"/>
                  </a:lnTo>
                  <a:lnTo>
                    <a:pt x="936" y="1050"/>
                  </a:lnTo>
                  <a:lnTo>
                    <a:pt x="930" y="1044"/>
                  </a:lnTo>
                  <a:lnTo>
                    <a:pt x="924" y="1044"/>
                  </a:lnTo>
                  <a:lnTo>
                    <a:pt x="918" y="1038"/>
                  </a:lnTo>
                  <a:lnTo>
                    <a:pt x="912" y="1038"/>
                  </a:lnTo>
                  <a:lnTo>
                    <a:pt x="906" y="1032"/>
                  </a:lnTo>
                  <a:lnTo>
                    <a:pt x="900" y="1032"/>
                  </a:lnTo>
                  <a:lnTo>
                    <a:pt x="888" y="1026"/>
                  </a:lnTo>
                  <a:lnTo>
                    <a:pt x="882" y="1026"/>
                  </a:lnTo>
                  <a:lnTo>
                    <a:pt x="876" y="1026"/>
                  </a:lnTo>
                  <a:lnTo>
                    <a:pt x="864" y="1014"/>
                  </a:lnTo>
                  <a:lnTo>
                    <a:pt x="846" y="1008"/>
                  </a:lnTo>
                  <a:lnTo>
                    <a:pt x="840" y="996"/>
                  </a:lnTo>
                  <a:lnTo>
                    <a:pt x="840" y="990"/>
                  </a:lnTo>
                  <a:lnTo>
                    <a:pt x="834" y="990"/>
                  </a:lnTo>
                  <a:lnTo>
                    <a:pt x="828" y="990"/>
                  </a:lnTo>
                  <a:lnTo>
                    <a:pt x="816" y="990"/>
                  </a:lnTo>
                  <a:lnTo>
                    <a:pt x="810" y="990"/>
                  </a:lnTo>
                  <a:lnTo>
                    <a:pt x="804" y="984"/>
                  </a:lnTo>
                  <a:lnTo>
                    <a:pt x="792" y="978"/>
                  </a:lnTo>
                  <a:lnTo>
                    <a:pt x="786" y="972"/>
                  </a:lnTo>
                  <a:lnTo>
                    <a:pt x="780" y="972"/>
                  </a:lnTo>
                  <a:lnTo>
                    <a:pt x="768" y="966"/>
                  </a:lnTo>
                  <a:lnTo>
                    <a:pt x="762" y="966"/>
                  </a:lnTo>
                  <a:lnTo>
                    <a:pt x="756" y="966"/>
                  </a:lnTo>
                  <a:lnTo>
                    <a:pt x="750" y="966"/>
                  </a:lnTo>
                  <a:lnTo>
                    <a:pt x="744" y="966"/>
                  </a:lnTo>
                  <a:lnTo>
                    <a:pt x="738" y="960"/>
                  </a:lnTo>
                  <a:lnTo>
                    <a:pt x="732" y="954"/>
                  </a:lnTo>
                  <a:lnTo>
                    <a:pt x="720" y="954"/>
                  </a:lnTo>
                  <a:lnTo>
                    <a:pt x="714" y="948"/>
                  </a:lnTo>
                  <a:lnTo>
                    <a:pt x="708" y="948"/>
                  </a:lnTo>
                  <a:lnTo>
                    <a:pt x="696" y="948"/>
                  </a:lnTo>
                  <a:lnTo>
                    <a:pt x="684" y="942"/>
                  </a:lnTo>
                  <a:lnTo>
                    <a:pt x="678" y="936"/>
                  </a:lnTo>
                  <a:lnTo>
                    <a:pt x="660" y="930"/>
                  </a:lnTo>
                  <a:lnTo>
                    <a:pt x="642" y="924"/>
                  </a:lnTo>
                  <a:lnTo>
                    <a:pt x="636" y="924"/>
                  </a:lnTo>
                  <a:lnTo>
                    <a:pt x="630" y="924"/>
                  </a:lnTo>
                  <a:lnTo>
                    <a:pt x="618" y="924"/>
                  </a:lnTo>
                  <a:lnTo>
                    <a:pt x="618" y="918"/>
                  </a:lnTo>
                  <a:lnTo>
                    <a:pt x="606" y="918"/>
                  </a:lnTo>
                  <a:lnTo>
                    <a:pt x="600" y="918"/>
                  </a:lnTo>
                  <a:lnTo>
                    <a:pt x="594" y="918"/>
                  </a:lnTo>
                  <a:lnTo>
                    <a:pt x="594" y="912"/>
                  </a:lnTo>
                  <a:lnTo>
                    <a:pt x="588" y="912"/>
                  </a:lnTo>
                  <a:lnTo>
                    <a:pt x="582" y="912"/>
                  </a:lnTo>
                  <a:lnTo>
                    <a:pt x="582" y="918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58" y="918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12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00"/>
                  </a:lnTo>
                  <a:lnTo>
                    <a:pt x="516" y="900"/>
                  </a:lnTo>
                  <a:lnTo>
                    <a:pt x="510" y="900"/>
                  </a:lnTo>
                  <a:lnTo>
                    <a:pt x="486" y="894"/>
                  </a:lnTo>
                  <a:lnTo>
                    <a:pt x="474" y="888"/>
                  </a:lnTo>
                  <a:lnTo>
                    <a:pt x="468" y="888"/>
                  </a:lnTo>
                  <a:lnTo>
                    <a:pt x="450" y="88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0" name="Freeform 15">
              <a:extLst>
                <a:ext uri="{FF2B5EF4-FFF2-40B4-BE49-F238E27FC236}">
                  <a16:creationId xmlns:a16="http://schemas.microsoft.com/office/drawing/2014/main" id="{8B991D7A-45C6-40F6-A035-24DFC733305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382" y="2652043"/>
              <a:ext cx="724526" cy="695552"/>
            </a:xfrm>
            <a:custGeom>
              <a:avLst/>
              <a:gdLst>
                <a:gd name="T0" fmla="*/ 44 w 1362"/>
                <a:gd name="T1" fmla="*/ 106 h 1308"/>
                <a:gd name="T2" fmla="*/ 32 w 1362"/>
                <a:gd name="T3" fmla="*/ 109 h 1308"/>
                <a:gd name="T4" fmla="*/ 25 w 1362"/>
                <a:gd name="T5" fmla="*/ 105 h 1308"/>
                <a:gd name="T6" fmla="*/ 22 w 1362"/>
                <a:gd name="T7" fmla="*/ 97 h 1308"/>
                <a:gd name="T8" fmla="*/ 21 w 1362"/>
                <a:gd name="T9" fmla="*/ 95 h 1308"/>
                <a:gd name="T10" fmla="*/ 20 w 1362"/>
                <a:gd name="T11" fmla="*/ 90 h 1308"/>
                <a:gd name="T12" fmla="*/ 23 w 1362"/>
                <a:gd name="T13" fmla="*/ 87 h 1308"/>
                <a:gd name="T14" fmla="*/ 29 w 1362"/>
                <a:gd name="T15" fmla="*/ 81 h 1308"/>
                <a:gd name="T16" fmla="*/ 30 w 1362"/>
                <a:gd name="T17" fmla="*/ 78 h 1308"/>
                <a:gd name="T18" fmla="*/ 27 w 1362"/>
                <a:gd name="T19" fmla="*/ 75 h 1308"/>
                <a:gd name="T20" fmla="*/ 15 w 1362"/>
                <a:gd name="T21" fmla="*/ 73 h 1308"/>
                <a:gd name="T22" fmla="*/ 12 w 1362"/>
                <a:gd name="T23" fmla="*/ 69 h 1308"/>
                <a:gd name="T24" fmla="*/ 5 w 1362"/>
                <a:gd name="T25" fmla="*/ 65 h 1308"/>
                <a:gd name="T26" fmla="*/ 6 w 1362"/>
                <a:gd name="T27" fmla="*/ 62 h 1308"/>
                <a:gd name="T28" fmla="*/ 7 w 1362"/>
                <a:gd name="T29" fmla="*/ 56 h 1308"/>
                <a:gd name="T30" fmla="*/ 2 w 1362"/>
                <a:gd name="T31" fmla="*/ 49 h 1308"/>
                <a:gd name="T32" fmla="*/ 0 w 1362"/>
                <a:gd name="T33" fmla="*/ 44 h 1308"/>
                <a:gd name="T34" fmla="*/ 0 w 1362"/>
                <a:gd name="T35" fmla="*/ 39 h 1308"/>
                <a:gd name="T36" fmla="*/ 3 w 1362"/>
                <a:gd name="T37" fmla="*/ 35 h 1308"/>
                <a:gd name="T38" fmla="*/ 3 w 1362"/>
                <a:gd name="T39" fmla="*/ 28 h 1308"/>
                <a:gd name="T40" fmla="*/ 6 w 1362"/>
                <a:gd name="T41" fmla="*/ 18 h 1308"/>
                <a:gd name="T42" fmla="*/ 6 w 1362"/>
                <a:gd name="T43" fmla="*/ 8 h 1308"/>
                <a:gd name="T44" fmla="*/ 10 w 1362"/>
                <a:gd name="T45" fmla="*/ 5 h 1308"/>
                <a:gd name="T46" fmla="*/ 15 w 1362"/>
                <a:gd name="T47" fmla="*/ 0 h 1308"/>
                <a:gd name="T48" fmla="*/ 21 w 1362"/>
                <a:gd name="T49" fmla="*/ 7 h 1308"/>
                <a:gd name="T50" fmla="*/ 25 w 1362"/>
                <a:gd name="T51" fmla="*/ 15 h 1308"/>
                <a:gd name="T52" fmla="*/ 24 w 1362"/>
                <a:gd name="T53" fmla="*/ 19 h 1308"/>
                <a:gd name="T54" fmla="*/ 32 w 1362"/>
                <a:gd name="T55" fmla="*/ 19 h 1308"/>
                <a:gd name="T56" fmla="*/ 35 w 1362"/>
                <a:gd name="T57" fmla="*/ 20 h 1308"/>
                <a:gd name="T58" fmla="*/ 40 w 1362"/>
                <a:gd name="T59" fmla="*/ 23 h 1308"/>
                <a:gd name="T60" fmla="*/ 40 w 1362"/>
                <a:gd name="T61" fmla="*/ 26 h 1308"/>
                <a:gd name="T62" fmla="*/ 34 w 1362"/>
                <a:gd name="T63" fmla="*/ 35 h 1308"/>
                <a:gd name="T64" fmla="*/ 41 w 1362"/>
                <a:gd name="T65" fmla="*/ 37 h 1308"/>
                <a:gd name="T66" fmla="*/ 43 w 1362"/>
                <a:gd name="T67" fmla="*/ 44 h 1308"/>
                <a:gd name="T68" fmla="*/ 48 w 1362"/>
                <a:gd name="T69" fmla="*/ 47 h 1308"/>
                <a:gd name="T70" fmla="*/ 57 w 1362"/>
                <a:gd name="T71" fmla="*/ 48 h 1308"/>
                <a:gd name="T72" fmla="*/ 70 w 1362"/>
                <a:gd name="T73" fmla="*/ 44 h 1308"/>
                <a:gd name="T74" fmla="*/ 80 w 1362"/>
                <a:gd name="T75" fmla="*/ 34 h 1308"/>
                <a:gd name="T76" fmla="*/ 95 w 1362"/>
                <a:gd name="T77" fmla="*/ 41 h 1308"/>
                <a:gd name="T78" fmla="*/ 109 w 1362"/>
                <a:gd name="T79" fmla="*/ 47 h 1308"/>
                <a:gd name="T80" fmla="*/ 111 w 1362"/>
                <a:gd name="T81" fmla="*/ 50 h 1308"/>
                <a:gd name="T82" fmla="*/ 113 w 1362"/>
                <a:gd name="T83" fmla="*/ 53 h 1308"/>
                <a:gd name="T84" fmla="*/ 113 w 1362"/>
                <a:gd name="T85" fmla="*/ 55 h 1308"/>
                <a:gd name="T86" fmla="*/ 113 w 1362"/>
                <a:gd name="T87" fmla="*/ 59 h 1308"/>
                <a:gd name="T88" fmla="*/ 113 w 1362"/>
                <a:gd name="T89" fmla="*/ 62 h 1308"/>
                <a:gd name="T90" fmla="*/ 115 w 1362"/>
                <a:gd name="T91" fmla="*/ 65 h 1308"/>
                <a:gd name="T92" fmla="*/ 115 w 1362"/>
                <a:gd name="T93" fmla="*/ 67 h 1308"/>
                <a:gd name="T94" fmla="*/ 116 w 1362"/>
                <a:gd name="T95" fmla="*/ 69 h 1308"/>
                <a:gd name="T96" fmla="*/ 116 w 1362"/>
                <a:gd name="T97" fmla="*/ 71 h 1308"/>
                <a:gd name="T98" fmla="*/ 118 w 1362"/>
                <a:gd name="T99" fmla="*/ 75 h 1308"/>
                <a:gd name="T100" fmla="*/ 116 w 1362"/>
                <a:gd name="T101" fmla="*/ 77 h 1308"/>
                <a:gd name="T102" fmla="*/ 116 w 1362"/>
                <a:gd name="T103" fmla="*/ 79 h 1308"/>
                <a:gd name="T104" fmla="*/ 101 w 1362"/>
                <a:gd name="T105" fmla="*/ 87 h 1308"/>
                <a:gd name="T106" fmla="*/ 85 w 1362"/>
                <a:gd name="T107" fmla="*/ 103 h 1308"/>
                <a:gd name="T108" fmla="*/ 67 w 1362"/>
                <a:gd name="T109" fmla="*/ 114 h 130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62"/>
                <a:gd name="T166" fmla="*/ 0 h 1308"/>
                <a:gd name="T167" fmla="*/ 1362 w 1362"/>
                <a:gd name="T168" fmla="*/ 1308 h 130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62" h="1308">
                  <a:moveTo>
                    <a:pt x="684" y="1278"/>
                  </a:moveTo>
                  <a:lnTo>
                    <a:pt x="672" y="1272"/>
                  </a:lnTo>
                  <a:lnTo>
                    <a:pt x="636" y="1266"/>
                  </a:lnTo>
                  <a:lnTo>
                    <a:pt x="582" y="1248"/>
                  </a:lnTo>
                  <a:lnTo>
                    <a:pt x="564" y="1230"/>
                  </a:lnTo>
                  <a:lnTo>
                    <a:pt x="540" y="1218"/>
                  </a:lnTo>
                  <a:lnTo>
                    <a:pt x="510" y="1218"/>
                  </a:lnTo>
                  <a:lnTo>
                    <a:pt x="498" y="1224"/>
                  </a:lnTo>
                  <a:lnTo>
                    <a:pt x="492" y="1230"/>
                  </a:lnTo>
                  <a:lnTo>
                    <a:pt x="474" y="1230"/>
                  </a:lnTo>
                  <a:lnTo>
                    <a:pt x="414" y="1230"/>
                  </a:lnTo>
                  <a:lnTo>
                    <a:pt x="396" y="1236"/>
                  </a:lnTo>
                  <a:lnTo>
                    <a:pt x="390" y="1248"/>
                  </a:lnTo>
                  <a:lnTo>
                    <a:pt x="372" y="1248"/>
                  </a:lnTo>
                  <a:lnTo>
                    <a:pt x="366" y="1242"/>
                  </a:lnTo>
                  <a:lnTo>
                    <a:pt x="366" y="1224"/>
                  </a:lnTo>
                  <a:lnTo>
                    <a:pt x="360" y="1224"/>
                  </a:lnTo>
                  <a:lnTo>
                    <a:pt x="354" y="1218"/>
                  </a:lnTo>
                  <a:lnTo>
                    <a:pt x="336" y="1206"/>
                  </a:lnTo>
                  <a:lnTo>
                    <a:pt x="330" y="1194"/>
                  </a:lnTo>
                  <a:lnTo>
                    <a:pt x="288" y="1200"/>
                  </a:lnTo>
                  <a:lnTo>
                    <a:pt x="288" y="1194"/>
                  </a:lnTo>
                  <a:lnTo>
                    <a:pt x="288" y="1182"/>
                  </a:lnTo>
                  <a:lnTo>
                    <a:pt x="288" y="1170"/>
                  </a:lnTo>
                  <a:lnTo>
                    <a:pt x="288" y="1164"/>
                  </a:lnTo>
                  <a:lnTo>
                    <a:pt x="282" y="1140"/>
                  </a:lnTo>
                  <a:lnTo>
                    <a:pt x="276" y="1134"/>
                  </a:lnTo>
                  <a:lnTo>
                    <a:pt x="258" y="1116"/>
                  </a:lnTo>
                  <a:lnTo>
                    <a:pt x="258" y="1110"/>
                  </a:lnTo>
                  <a:lnTo>
                    <a:pt x="252" y="1110"/>
                  </a:lnTo>
                  <a:lnTo>
                    <a:pt x="252" y="1104"/>
                  </a:lnTo>
                  <a:lnTo>
                    <a:pt x="252" y="1098"/>
                  </a:lnTo>
                  <a:lnTo>
                    <a:pt x="240" y="1092"/>
                  </a:lnTo>
                  <a:lnTo>
                    <a:pt x="234" y="1092"/>
                  </a:lnTo>
                  <a:lnTo>
                    <a:pt x="240" y="1086"/>
                  </a:lnTo>
                  <a:lnTo>
                    <a:pt x="234" y="1080"/>
                  </a:lnTo>
                  <a:lnTo>
                    <a:pt x="228" y="1080"/>
                  </a:lnTo>
                  <a:lnTo>
                    <a:pt x="228" y="1068"/>
                  </a:lnTo>
                  <a:lnTo>
                    <a:pt x="228" y="1056"/>
                  </a:lnTo>
                  <a:lnTo>
                    <a:pt x="222" y="1056"/>
                  </a:lnTo>
                  <a:lnTo>
                    <a:pt x="228" y="1044"/>
                  </a:lnTo>
                  <a:lnTo>
                    <a:pt x="228" y="1038"/>
                  </a:lnTo>
                  <a:lnTo>
                    <a:pt x="228" y="1032"/>
                  </a:lnTo>
                  <a:lnTo>
                    <a:pt x="234" y="1026"/>
                  </a:lnTo>
                  <a:lnTo>
                    <a:pt x="246" y="1020"/>
                  </a:lnTo>
                  <a:lnTo>
                    <a:pt x="252" y="1020"/>
                  </a:lnTo>
                  <a:lnTo>
                    <a:pt x="258" y="1014"/>
                  </a:lnTo>
                  <a:lnTo>
                    <a:pt x="264" y="1008"/>
                  </a:lnTo>
                  <a:lnTo>
                    <a:pt x="264" y="1002"/>
                  </a:lnTo>
                  <a:lnTo>
                    <a:pt x="270" y="984"/>
                  </a:lnTo>
                  <a:lnTo>
                    <a:pt x="276" y="978"/>
                  </a:lnTo>
                  <a:lnTo>
                    <a:pt x="300" y="978"/>
                  </a:lnTo>
                  <a:lnTo>
                    <a:pt x="306" y="972"/>
                  </a:lnTo>
                  <a:lnTo>
                    <a:pt x="312" y="966"/>
                  </a:lnTo>
                  <a:lnTo>
                    <a:pt x="324" y="936"/>
                  </a:lnTo>
                  <a:lnTo>
                    <a:pt x="330" y="930"/>
                  </a:lnTo>
                  <a:lnTo>
                    <a:pt x="330" y="924"/>
                  </a:lnTo>
                  <a:lnTo>
                    <a:pt x="336" y="918"/>
                  </a:lnTo>
                  <a:lnTo>
                    <a:pt x="342" y="912"/>
                  </a:lnTo>
                  <a:lnTo>
                    <a:pt x="342" y="906"/>
                  </a:lnTo>
                  <a:lnTo>
                    <a:pt x="342" y="900"/>
                  </a:lnTo>
                  <a:lnTo>
                    <a:pt x="342" y="894"/>
                  </a:lnTo>
                  <a:lnTo>
                    <a:pt x="342" y="888"/>
                  </a:lnTo>
                  <a:lnTo>
                    <a:pt x="336" y="876"/>
                  </a:lnTo>
                  <a:lnTo>
                    <a:pt x="342" y="870"/>
                  </a:lnTo>
                  <a:lnTo>
                    <a:pt x="336" y="864"/>
                  </a:lnTo>
                  <a:lnTo>
                    <a:pt x="336" y="858"/>
                  </a:lnTo>
                  <a:lnTo>
                    <a:pt x="330" y="852"/>
                  </a:lnTo>
                  <a:lnTo>
                    <a:pt x="318" y="852"/>
                  </a:lnTo>
                  <a:lnTo>
                    <a:pt x="306" y="858"/>
                  </a:lnTo>
                  <a:lnTo>
                    <a:pt x="264" y="864"/>
                  </a:lnTo>
                  <a:lnTo>
                    <a:pt x="234" y="858"/>
                  </a:lnTo>
                  <a:lnTo>
                    <a:pt x="228" y="858"/>
                  </a:lnTo>
                  <a:lnTo>
                    <a:pt x="198" y="858"/>
                  </a:lnTo>
                  <a:lnTo>
                    <a:pt x="174" y="858"/>
                  </a:lnTo>
                  <a:lnTo>
                    <a:pt x="168" y="852"/>
                  </a:lnTo>
                  <a:lnTo>
                    <a:pt x="168" y="840"/>
                  </a:lnTo>
                  <a:lnTo>
                    <a:pt x="168" y="834"/>
                  </a:lnTo>
                  <a:lnTo>
                    <a:pt x="168" y="822"/>
                  </a:lnTo>
                  <a:lnTo>
                    <a:pt x="162" y="822"/>
                  </a:lnTo>
                  <a:lnTo>
                    <a:pt x="150" y="816"/>
                  </a:lnTo>
                  <a:lnTo>
                    <a:pt x="144" y="810"/>
                  </a:lnTo>
                  <a:lnTo>
                    <a:pt x="144" y="804"/>
                  </a:lnTo>
                  <a:lnTo>
                    <a:pt x="144" y="786"/>
                  </a:lnTo>
                  <a:lnTo>
                    <a:pt x="144" y="780"/>
                  </a:lnTo>
                  <a:lnTo>
                    <a:pt x="144" y="774"/>
                  </a:lnTo>
                  <a:lnTo>
                    <a:pt x="132" y="756"/>
                  </a:lnTo>
                  <a:lnTo>
                    <a:pt x="120" y="756"/>
                  </a:lnTo>
                  <a:lnTo>
                    <a:pt x="84" y="750"/>
                  </a:lnTo>
                  <a:lnTo>
                    <a:pt x="78" y="744"/>
                  </a:lnTo>
                  <a:lnTo>
                    <a:pt x="60" y="744"/>
                  </a:lnTo>
                  <a:lnTo>
                    <a:pt x="54" y="726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66" y="720"/>
                  </a:lnTo>
                  <a:lnTo>
                    <a:pt x="66" y="714"/>
                  </a:lnTo>
                  <a:lnTo>
                    <a:pt x="72" y="714"/>
                  </a:lnTo>
                  <a:lnTo>
                    <a:pt x="72" y="708"/>
                  </a:lnTo>
                  <a:lnTo>
                    <a:pt x="78" y="702"/>
                  </a:lnTo>
                  <a:lnTo>
                    <a:pt x="78" y="696"/>
                  </a:lnTo>
                  <a:lnTo>
                    <a:pt x="78" y="690"/>
                  </a:lnTo>
                  <a:lnTo>
                    <a:pt x="84" y="678"/>
                  </a:lnTo>
                  <a:lnTo>
                    <a:pt x="90" y="666"/>
                  </a:lnTo>
                  <a:lnTo>
                    <a:pt x="90" y="642"/>
                  </a:lnTo>
                  <a:lnTo>
                    <a:pt x="84" y="648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66" y="642"/>
                  </a:lnTo>
                  <a:lnTo>
                    <a:pt x="60" y="642"/>
                  </a:lnTo>
                  <a:lnTo>
                    <a:pt x="54" y="636"/>
                  </a:lnTo>
                  <a:lnTo>
                    <a:pt x="30" y="570"/>
                  </a:lnTo>
                  <a:lnTo>
                    <a:pt x="24" y="564"/>
                  </a:lnTo>
                  <a:lnTo>
                    <a:pt x="18" y="570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6"/>
                  </a:lnTo>
                  <a:lnTo>
                    <a:pt x="6" y="540"/>
                  </a:lnTo>
                  <a:lnTo>
                    <a:pt x="0" y="522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2" y="480"/>
                  </a:lnTo>
                  <a:lnTo>
                    <a:pt x="6" y="480"/>
                  </a:lnTo>
                  <a:lnTo>
                    <a:pt x="0" y="474"/>
                  </a:lnTo>
                  <a:lnTo>
                    <a:pt x="0" y="450"/>
                  </a:lnTo>
                  <a:lnTo>
                    <a:pt x="6" y="450"/>
                  </a:lnTo>
                  <a:lnTo>
                    <a:pt x="12" y="450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32"/>
                  </a:lnTo>
                  <a:lnTo>
                    <a:pt x="30" y="426"/>
                  </a:lnTo>
                  <a:lnTo>
                    <a:pt x="36" y="402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2" y="366"/>
                  </a:lnTo>
                  <a:lnTo>
                    <a:pt x="48" y="360"/>
                  </a:lnTo>
                  <a:lnTo>
                    <a:pt x="48" y="342"/>
                  </a:lnTo>
                  <a:lnTo>
                    <a:pt x="42" y="330"/>
                  </a:lnTo>
                  <a:lnTo>
                    <a:pt x="36" y="324"/>
                  </a:lnTo>
                  <a:lnTo>
                    <a:pt x="42" y="306"/>
                  </a:lnTo>
                  <a:lnTo>
                    <a:pt x="42" y="270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48" y="258"/>
                  </a:lnTo>
                  <a:lnTo>
                    <a:pt x="72" y="252"/>
                  </a:lnTo>
                  <a:lnTo>
                    <a:pt x="66" y="204"/>
                  </a:lnTo>
                  <a:lnTo>
                    <a:pt x="60" y="198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8" y="13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84" y="96"/>
                  </a:lnTo>
                  <a:lnTo>
                    <a:pt x="90" y="84"/>
                  </a:lnTo>
                  <a:lnTo>
                    <a:pt x="108" y="72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20" y="60"/>
                  </a:lnTo>
                  <a:lnTo>
                    <a:pt x="120" y="54"/>
                  </a:lnTo>
                  <a:lnTo>
                    <a:pt x="120" y="48"/>
                  </a:lnTo>
                  <a:lnTo>
                    <a:pt x="126" y="48"/>
                  </a:lnTo>
                  <a:lnTo>
                    <a:pt x="132" y="42"/>
                  </a:lnTo>
                  <a:lnTo>
                    <a:pt x="132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240" y="18"/>
                  </a:lnTo>
                  <a:lnTo>
                    <a:pt x="246" y="42"/>
                  </a:lnTo>
                  <a:lnTo>
                    <a:pt x="240" y="72"/>
                  </a:lnTo>
                  <a:lnTo>
                    <a:pt x="246" y="78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8" y="108"/>
                  </a:lnTo>
                  <a:lnTo>
                    <a:pt x="276" y="114"/>
                  </a:lnTo>
                  <a:lnTo>
                    <a:pt x="294" y="150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82" y="186"/>
                  </a:lnTo>
                  <a:lnTo>
                    <a:pt x="282" y="192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76" y="216"/>
                  </a:lnTo>
                  <a:lnTo>
                    <a:pt x="288" y="240"/>
                  </a:lnTo>
                  <a:lnTo>
                    <a:pt x="312" y="228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66" y="228"/>
                  </a:lnTo>
                  <a:lnTo>
                    <a:pt x="372" y="228"/>
                  </a:lnTo>
                  <a:lnTo>
                    <a:pt x="372" y="222"/>
                  </a:lnTo>
                  <a:lnTo>
                    <a:pt x="378" y="222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6" y="222"/>
                  </a:lnTo>
                  <a:lnTo>
                    <a:pt x="402" y="222"/>
                  </a:lnTo>
                  <a:lnTo>
                    <a:pt x="402" y="228"/>
                  </a:lnTo>
                  <a:lnTo>
                    <a:pt x="408" y="228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26" y="216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68" y="258"/>
                  </a:lnTo>
                  <a:lnTo>
                    <a:pt x="462" y="264"/>
                  </a:lnTo>
                  <a:lnTo>
                    <a:pt x="468" y="264"/>
                  </a:lnTo>
                  <a:lnTo>
                    <a:pt x="468" y="270"/>
                  </a:lnTo>
                  <a:lnTo>
                    <a:pt x="474" y="270"/>
                  </a:lnTo>
                  <a:lnTo>
                    <a:pt x="480" y="276"/>
                  </a:lnTo>
                  <a:lnTo>
                    <a:pt x="474" y="282"/>
                  </a:lnTo>
                  <a:lnTo>
                    <a:pt x="474" y="288"/>
                  </a:lnTo>
                  <a:lnTo>
                    <a:pt x="462" y="294"/>
                  </a:lnTo>
                  <a:lnTo>
                    <a:pt x="468" y="324"/>
                  </a:lnTo>
                  <a:lnTo>
                    <a:pt x="462" y="336"/>
                  </a:lnTo>
                  <a:lnTo>
                    <a:pt x="456" y="354"/>
                  </a:lnTo>
                  <a:lnTo>
                    <a:pt x="432" y="390"/>
                  </a:lnTo>
                  <a:lnTo>
                    <a:pt x="420" y="390"/>
                  </a:lnTo>
                  <a:lnTo>
                    <a:pt x="402" y="390"/>
                  </a:lnTo>
                  <a:lnTo>
                    <a:pt x="396" y="396"/>
                  </a:lnTo>
                  <a:lnTo>
                    <a:pt x="390" y="396"/>
                  </a:lnTo>
                  <a:lnTo>
                    <a:pt x="390" y="402"/>
                  </a:lnTo>
                  <a:lnTo>
                    <a:pt x="384" y="402"/>
                  </a:lnTo>
                  <a:lnTo>
                    <a:pt x="408" y="432"/>
                  </a:lnTo>
                  <a:lnTo>
                    <a:pt x="432" y="438"/>
                  </a:lnTo>
                  <a:lnTo>
                    <a:pt x="456" y="432"/>
                  </a:lnTo>
                  <a:lnTo>
                    <a:pt x="468" y="426"/>
                  </a:lnTo>
                  <a:lnTo>
                    <a:pt x="468" y="444"/>
                  </a:lnTo>
                  <a:lnTo>
                    <a:pt x="468" y="450"/>
                  </a:lnTo>
                  <a:lnTo>
                    <a:pt x="468" y="474"/>
                  </a:lnTo>
                  <a:lnTo>
                    <a:pt x="486" y="480"/>
                  </a:lnTo>
                  <a:lnTo>
                    <a:pt x="486" y="486"/>
                  </a:lnTo>
                  <a:lnTo>
                    <a:pt x="492" y="498"/>
                  </a:lnTo>
                  <a:lnTo>
                    <a:pt x="492" y="504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504" y="516"/>
                  </a:lnTo>
                  <a:lnTo>
                    <a:pt x="510" y="516"/>
                  </a:lnTo>
                  <a:lnTo>
                    <a:pt x="522" y="528"/>
                  </a:lnTo>
                  <a:lnTo>
                    <a:pt x="546" y="540"/>
                  </a:lnTo>
                  <a:lnTo>
                    <a:pt x="552" y="546"/>
                  </a:lnTo>
                  <a:lnTo>
                    <a:pt x="570" y="552"/>
                  </a:lnTo>
                  <a:lnTo>
                    <a:pt x="594" y="552"/>
                  </a:lnTo>
                  <a:lnTo>
                    <a:pt x="606" y="546"/>
                  </a:lnTo>
                  <a:lnTo>
                    <a:pt x="612" y="540"/>
                  </a:lnTo>
                  <a:lnTo>
                    <a:pt x="630" y="540"/>
                  </a:lnTo>
                  <a:lnTo>
                    <a:pt x="630" y="552"/>
                  </a:lnTo>
                  <a:lnTo>
                    <a:pt x="654" y="552"/>
                  </a:lnTo>
                  <a:lnTo>
                    <a:pt x="702" y="558"/>
                  </a:lnTo>
                  <a:lnTo>
                    <a:pt x="762" y="546"/>
                  </a:lnTo>
                  <a:lnTo>
                    <a:pt x="780" y="546"/>
                  </a:lnTo>
                  <a:lnTo>
                    <a:pt x="780" y="528"/>
                  </a:lnTo>
                  <a:lnTo>
                    <a:pt x="798" y="522"/>
                  </a:lnTo>
                  <a:lnTo>
                    <a:pt x="810" y="510"/>
                  </a:lnTo>
                  <a:lnTo>
                    <a:pt x="810" y="504"/>
                  </a:lnTo>
                  <a:lnTo>
                    <a:pt x="828" y="492"/>
                  </a:lnTo>
                  <a:lnTo>
                    <a:pt x="888" y="486"/>
                  </a:lnTo>
                  <a:lnTo>
                    <a:pt x="912" y="486"/>
                  </a:lnTo>
                  <a:lnTo>
                    <a:pt x="930" y="474"/>
                  </a:lnTo>
                  <a:lnTo>
                    <a:pt x="918" y="456"/>
                  </a:lnTo>
                  <a:lnTo>
                    <a:pt x="912" y="450"/>
                  </a:lnTo>
                  <a:lnTo>
                    <a:pt x="918" y="390"/>
                  </a:lnTo>
                  <a:lnTo>
                    <a:pt x="954" y="396"/>
                  </a:lnTo>
                  <a:lnTo>
                    <a:pt x="984" y="402"/>
                  </a:lnTo>
                  <a:lnTo>
                    <a:pt x="1014" y="420"/>
                  </a:lnTo>
                  <a:lnTo>
                    <a:pt x="1026" y="432"/>
                  </a:lnTo>
                  <a:lnTo>
                    <a:pt x="1044" y="450"/>
                  </a:lnTo>
                  <a:lnTo>
                    <a:pt x="1062" y="462"/>
                  </a:lnTo>
                  <a:lnTo>
                    <a:pt x="1098" y="468"/>
                  </a:lnTo>
                  <a:lnTo>
                    <a:pt x="1128" y="480"/>
                  </a:lnTo>
                  <a:lnTo>
                    <a:pt x="1152" y="486"/>
                  </a:lnTo>
                  <a:lnTo>
                    <a:pt x="1188" y="498"/>
                  </a:lnTo>
                  <a:lnTo>
                    <a:pt x="1212" y="504"/>
                  </a:lnTo>
                  <a:lnTo>
                    <a:pt x="1224" y="528"/>
                  </a:lnTo>
                  <a:lnTo>
                    <a:pt x="1236" y="540"/>
                  </a:lnTo>
                  <a:lnTo>
                    <a:pt x="1254" y="540"/>
                  </a:lnTo>
                  <a:lnTo>
                    <a:pt x="1254" y="546"/>
                  </a:lnTo>
                  <a:lnTo>
                    <a:pt x="1260" y="552"/>
                  </a:lnTo>
                  <a:lnTo>
                    <a:pt x="1266" y="552"/>
                  </a:lnTo>
                  <a:lnTo>
                    <a:pt x="1266" y="558"/>
                  </a:lnTo>
                  <a:lnTo>
                    <a:pt x="1272" y="564"/>
                  </a:lnTo>
                  <a:lnTo>
                    <a:pt x="1278" y="564"/>
                  </a:lnTo>
                  <a:lnTo>
                    <a:pt x="1278" y="570"/>
                  </a:lnTo>
                  <a:lnTo>
                    <a:pt x="1284" y="576"/>
                  </a:lnTo>
                  <a:lnTo>
                    <a:pt x="1290" y="582"/>
                  </a:lnTo>
                  <a:lnTo>
                    <a:pt x="1296" y="582"/>
                  </a:lnTo>
                  <a:lnTo>
                    <a:pt x="1296" y="588"/>
                  </a:lnTo>
                  <a:lnTo>
                    <a:pt x="1308" y="594"/>
                  </a:lnTo>
                  <a:lnTo>
                    <a:pt x="1308" y="600"/>
                  </a:lnTo>
                  <a:lnTo>
                    <a:pt x="1308" y="606"/>
                  </a:lnTo>
                  <a:lnTo>
                    <a:pt x="1314" y="612"/>
                  </a:lnTo>
                  <a:lnTo>
                    <a:pt x="1308" y="618"/>
                  </a:lnTo>
                  <a:lnTo>
                    <a:pt x="1314" y="618"/>
                  </a:lnTo>
                  <a:lnTo>
                    <a:pt x="1314" y="624"/>
                  </a:lnTo>
                  <a:lnTo>
                    <a:pt x="1308" y="624"/>
                  </a:lnTo>
                  <a:lnTo>
                    <a:pt x="1302" y="630"/>
                  </a:lnTo>
                  <a:lnTo>
                    <a:pt x="1302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296" y="654"/>
                  </a:lnTo>
                  <a:lnTo>
                    <a:pt x="1302" y="660"/>
                  </a:lnTo>
                  <a:lnTo>
                    <a:pt x="1302" y="666"/>
                  </a:lnTo>
                  <a:lnTo>
                    <a:pt x="1308" y="666"/>
                  </a:lnTo>
                  <a:lnTo>
                    <a:pt x="1308" y="672"/>
                  </a:lnTo>
                  <a:lnTo>
                    <a:pt x="1308" y="678"/>
                  </a:lnTo>
                  <a:lnTo>
                    <a:pt x="1308" y="684"/>
                  </a:lnTo>
                  <a:lnTo>
                    <a:pt x="1308" y="690"/>
                  </a:lnTo>
                  <a:lnTo>
                    <a:pt x="1302" y="696"/>
                  </a:lnTo>
                  <a:lnTo>
                    <a:pt x="1302" y="702"/>
                  </a:lnTo>
                  <a:lnTo>
                    <a:pt x="1308" y="702"/>
                  </a:lnTo>
                  <a:lnTo>
                    <a:pt x="1302" y="708"/>
                  </a:lnTo>
                  <a:lnTo>
                    <a:pt x="1308" y="714"/>
                  </a:lnTo>
                  <a:lnTo>
                    <a:pt x="1308" y="720"/>
                  </a:lnTo>
                  <a:lnTo>
                    <a:pt x="1308" y="726"/>
                  </a:lnTo>
                  <a:lnTo>
                    <a:pt x="1308" y="732"/>
                  </a:lnTo>
                  <a:lnTo>
                    <a:pt x="1314" y="732"/>
                  </a:lnTo>
                  <a:lnTo>
                    <a:pt x="1314" y="738"/>
                  </a:lnTo>
                  <a:lnTo>
                    <a:pt x="1320" y="744"/>
                  </a:lnTo>
                  <a:lnTo>
                    <a:pt x="1326" y="750"/>
                  </a:lnTo>
                  <a:lnTo>
                    <a:pt x="1320" y="750"/>
                  </a:lnTo>
                  <a:lnTo>
                    <a:pt x="1320" y="756"/>
                  </a:lnTo>
                  <a:lnTo>
                    <a:pt x="1314" y="756"/>
                  </a:lnTo>
                  <a:lnTo>
                    <a:pt x="1314" y="762"/>
                  </a:lnTo>
                  <a:lnTo>
                    <a:pt x="1314" y="768"/>
                  </a:lnTo>
                  <a:lnTo>
                    <a:pt x="1320" y="768"/>
                  </a:lnTo>
                  <a:lnTo>
                    <a:pt x="1320" y="762"/>
                  </a:lnTo>
                  <a:lnTo>
                    <a:pt x="1320" y="768"/>
                  </a:lnTo>
                  <a:lnTo>
                    <a:pt x="1326" y="774"/>
                  </a:lnTo>
                  <a:lnTo>
                    <a:pt x="1332" y="774"/>
                  </a:lnTo>
                  <a:lnTo>
                    <a:pt x="1332" y="780"/>
                  </a:lnTo>
                  <a:lnTo>
                    <a:pt x="1332" y="786"/>
                  </a:lnTo>
                  <a:lnTo>
                    <a:pt x="1332" y="792"/>
                  </a:lnTo>
                  <a:lnTo>
                    <a:pt x="1338" y="786"/>
                  </a:lnTo>
                  <a:lnTo>
                    <a:pt x="1338" y="792"/>
                  </a:lnTo>
                  <a:lnTo>
                    <a:pt x="1344" y="798"/>
                  </a:lnTo>
                  <a:lnTo>
                    <a:pt x="1344" y="804"/>
                  </a:lnTo>
                  <a:lnTo>
                    <a:pt x="1344" y="810"/>
                  </a:lnTo>
                  <a:lnTo>
                    <a:pt x="1344" y="816"/>
                  </a:lnTo>
                  <a:lnTo>
                    <a:pt x="1344" y="822"/>
                  </a:lnTo>
                  <a:lnTo>
                    <a:pt x="1338" y="828"/>
                  </a:lnTo>
                  <a:lnTo>
                    <a:pt x="1332" y="828"/>
                  </a:lnTo>
                  <a:lnTo>
                    <a:pt x="1338" y="840"/>
                  </a:lnTo>
                  <a:lnTo>
                    <a:pt x="1344" y="846"/>
                  </a:lnTo>
                  <a:lnTo>
                    <a:pt x="1344" y="852"/>
                  </a:lnTo>
                  <a:lnTo>
                    <a:pt x="1350" y="852"/>
                  </a:lnTo>
                  <a:lnTo>
                    <a:pt x="1356" y="858"/>
                  </a:lnTo>
                  <a:lnTo>
                    <a:pt x="1362" y="858"/>
                  </a:lnTo>
                  <a:lnTo>
                    <a:pt x="1362" y="870"/>
                  </a:lnTo>
                  <a:lnTo>
                    <a:pt x="1356" y="870"/>
                  </a:lnTo>
                  <a:lnTo>
                    <a:pt x="1356" y="876"/>
                  </a:lnTo>
                  <a:lnTo>
                    <a:pt x="1350" y="876"/>
                  </a:lnTo>
                  <a:lnTo>
                    <a:pt x="1344" y="876"/>
                  </a:lnTo>
                  <a:lnTo>
                    <a:pt x="1344" y="882"/>
                  </a:lnTo>
                  <a:lnTo>
                    <a:pt x="1338" y="882"/>
                  </a:lnTo>
                  <a:lnTo>
                    <a:pt x="1338" y="888"/>
                  </a:lnTo>
                  <a:lnTo>
                    <a:pt x="1338" y="894"/>
                  </a:lnTo>
                  <a:lnTo>
                    <a:pt x="1344" y="900"/>
                  </a:lnTo>
                  <a:lnTo>
                    <a:pt x="1344" y="906"/>
                  </a:lnTo>
                  <a:lnTo>
                    <a:pt x="1338" y="906"/>
                  </a:lnTo>
                  <a:lnTo>
                    <a:pt x="1332" y="912"/>
                  </a:lnTo>
                  <a:lnTo>
                    <a:pt x="1332" y="918"/>
                  </a:lnTo>
                  <a:lnTo>
                    <a:pt x="1326" y="918"/>
                  </a:lnTo>
                  <a:lnTo>
                    <a:pt x="1332" y="924"/>
                  </a:lnTo>
                  <a:lnTo>
                    <a:pt x="1284" y="942"/>
                  </a:lnTo>
                  <a:lnTo>
                    <a:pt x="1236" y="948"/>
                  </a:lnTo>
                  <a:lnTo>
                    <a:pt x="1194" y="966"/>
                  </a:lnTo>
                  <a:lnTo>
                    <a:pt x="1170" y="1002"/>
                  </a:lnTo>
                  <a:lnTo>
                    <a:pt x="1134" y="1020"/>
                  </a:lnTo>
                  <a:lnTo>
                    <a:pt x="1116" y="1032"/>
                  </a:lnTo>
                  <a:lnTo>
                    <a:pt x="1098" y="1050"/>
                  </a:lnTo>
                  <a:lnTo>
                    <a:pt x="1074" y="1074"/>
                  </a:lnTo>
                  <a:lnTo>
                    <a:pt x="1008" y="1134"/>
                  </a:lnTo>
                  <a:lnTo>
                    <a:pt x="990" y="1158"/>
                  </a:lnTo>
                  <a:lnTo>
                    <a:pt x="978" y="1182"/>
                  </a:lnTo>
                  <a:lnTo>
                    <a:pt x="960" y="1194"/>
                  </a:lnTo>
                  <a:lnTo>
                    <a:pt x="942" y="1212"/>
                  </a:lnTo>
                  <a:lnTo>
                    <a:pt x="912" y="1242"/>
                  </a:lnTo>
                  <a:lnTo>
                    <a:pt x="888" y="1254"/>
                  </a:lnTo>
                  <a:lnTo>
                    <a:pt x="864" y="1278"/>
                  </a:lnTo>
                  <a:lnTo>
                    <a:pt x="828" y="1296"/>
                  </a:lnTo>
                  <a:lnTo>
                    <a:pt x="774" y="1308"/>
                  </a:lnTo>
                  <a:lnTo>
                    <a:pt x="732" y="1302"/>
                  </a:lnTo>
                  <a:lnTo>
                    <a:pt x="702" y="1284"/>
                  </a:lnTo>
                  <a:lnTo>
                    <a:pt x="684" y="127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1" name="Freeform 16">
              <a:extLst>
                <a:ext uri="{FF2B5EF4-FFF2-40B4-BE49-F238E27FC236}">
                  <a16:creationId xmlns:a16="http://schemas.microsoft.com/office/drawing/2014/main" id="{D8D8591A-D9DB-4301-BEBD-D8F5A26DA9E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3001" y="2929369"/>
              <a:ext cx="914601" cy="1037736"/>
            </a:xfrm>
            <a:custGeom>
              <a:avLst/>
              <a:gdLst>
                <a:gd name="T0" fmla="*/ 144 w 1722"/>
                <a:gd name="T1" fmla="*/ 131 h 1956"/>
                <a:gd name="T2" fmla="*/ 142 w 1722"/>
                <a:gd name="T3" fmla="*/ 139 h 1956"/>
                <a:gd name="T4" fmla="*/ 137 w 1722"/>
                <a:gd name="T5" fmla="*/ 143 h 1956"/>
                <a:gd name="T6" fmla="*/ 133 w 1722"/>
                <a:gd name="T7" fmla="*/ 147 h 1956"/>
                <a:gd name="T8" fmla="*/ 132 w 1722"/>
                <a:gd name="T9" fmla="*/ 152 h 1956"/>
                <a:gd name="T10" fmla="*/ 130 w 1722"/>
                <a:gd name="T11" fmla="*/ 159 h 1956"/>
                <a:gd name="T12" fmla="*/ 127 w 1722"/>
                <a:gd name="T13" fmla="*/ 164 h 1956"/>
                <a:gd name="T14" fmla="*/ 123 w 1722"/>
                <a:gd name="T15" fmla="*/ 168 h 1956"/>
                <a:gd name="T16" fmla="*/ 117 w 1722"/>
                <a:gd name="T17" fmla="*/ 169 h 1956"/>
                <a:gd name="T18" fmla="*/ 110 w 1722"/>
                <a:gd name="T19" fmla="*/ 168 h 1956"/>
                <a:gd name="T20" fmla="*/ 104 w 1722"/>
                <a:gd name="T21" fmla="*/ 166 h 1956"/>
                <a:gd name="T22" fmla="*/ 101 w 1722"/>
                <a:gd name="T23" fmla="*/ 159 h 1956"/>
                <a:gd name="T24" fmla="*/ 95 w 1722"/>
                <a:gd name="T25" fmla="*/ 156 h 1956"/>
                <a:gd name="T26" fmla="*/ 89 w 1722"/>
                <a:gd name="T27" fmla="*/ 151 h 1956"/>
                <a:gd name="T28" fmla="*/ 87 w 1722"/>
                <a:gd name="T29" fmla="*/ 144 h 1956"/>
                <a:gd name="T30" fmla="*/ 82 w 1722"/>
                <a:gd name="T31" fmla="*/ 141 h 1956"/>
                <a:gd name="T32" fmla="*/ 76 w 1722"/>
                <a:gd name="T33" fmla="*/ 134 h 1956"/>
                <a:gd name="T34" fmla="*/ 74 w 1722"/>
                <a:gd name="T35" fmla="*/ 143 h 1956"/>
                <a:gd name="T36" fmla="*/ 68 w 1722"/>
                <a:gd name="T37" fmla="*/ 147 h 1956"/>
                <a:gd name="T38" fmla="*/ 54 w 1722"/>
                <a:gd name="T39" fmla="*/ 144 h 1956"/>
                <a:gd name="T40" fmla="*/ 51 w 1722"/>
                <a:gd name="T41" fmla="*/ 142 h 1956"/>
                <a:gd name="T42" fmla="*/ 42 w 1722"/>
                <a:gd name="T43" fmla="*/ 151 h 1956"/>
                <a:gd name="T44" fmla="*/ 33 w 1722"/>
                <a:gd name="T45" fmla="*/ 154 h 1956"/>
                <a:gd name="T46" fmla="*/ 31 w 1722"/>
                <a:gd name="T47" fmla="*/ 159 h 1956"/>
                <a:gd name="T48" fmla="*/ 29 w 1722"/>
                <a:gd name="T49" fmla="*/ 166 h 1956"/>
                <a:gd name="T50" fmla="*/ 25 w 1722"/>
                <a:gd name="T51" fmla="*/ 169 h 1956"/>
                <a:gd name="T52" fmla="*/ 27 w 1722"/>
                <a:gd name="T53" fmla="*/ 154 h 1956"/>
                <a:gd name="T54" fmla="*/ 37 w 1722"/>
                <a:gd name="T55" fmla="*/ 133 h 1956"/>
                <a:gd name="T56" fmla="*/ 36 w 1722"/>
                <a:gd name="T57" fmla="*/ 109 h 1956"/>
                <a:gd name="T58" fmla="*/ 27 w 1722"/>
                <a:gd name="T59" fmla="*/ 101 h 1956"/>
                <a:gd name="T60" fmla="*/ 5 w 1722"/>
                <a:gd name="T61" fmla="*/ 98 h 1956"/>
                <a:gd name="T62" fmla="*/ 2 w 1722"/>
                <a:gd name="T63" fmla="*/ 93 h 1956"/>
                <a:gd name="T64" fmla="*/ 12 w 1722"/>
                <a:gd name="T65" fmla="*/ 82 h 1956"/>
                <a:gd name="T66" fmla="*/ 9 w 1722"/>
                <a:gd name="T67" fmla="*/ 74 h 1956"/>
                <a:gd name="T68" fmla="*/ 23 w 1722"/>
                <a:gd name="T69" fmla="*/ 72 h 1956"/>
                <a:gd name="T70" fmla="*/ 22 w 1722"/>
                <a:gd name="T71" fmla="*/ 67 h 1956"/>
                <a:gd name="T72" fmla="*/ 48 w 1722"/>
                <a:gd name="T73" fmla="*/ 57 h 1956"/>
                <a:gd name="T74" fmla="*/ 78 w 1722"/>
                <a:gd name="T75" fmla="*/ 34 h 1956"/>
                <a:gd name="T76" fmla="*/ 81 w 1722"/>
                <a:gd name="T77" fmla="*/ 31 h 1956"/>
                <a:gd name="T78" fmla="*/ 80 w 1722"/>
                <a:gd name="T79" fmla="*/ 26 h 1956"/>
                <a:gd name="T80" fmla="*/ 78 w 1722"/>
                <a:gd name="T81" fmla="*/ 21 h 1956"/>
                <a:gd name="T82" fmla="*/ 77 w 1722"/>
                <a:gd name="T83" fmla="*/ 18 h 1956"/>
                <a:gd name="T84" fmla="*/ 77 w 1722"/>
                <a:gd name="T85" fmla="*/ 12 h 1956"/>
                <a:gd name="T86" fmla="*/ 77 w 1722"/>
                <a:gd name="T87" fmla="*/ 7 h 1956"/>
                <a:gd name="T88" fmla="*/ 102 w 1722"/>
                <a:gd name="T89" fmla="*/ 2 h 1956"/>
                <a:gd name="T90" fmla="*/ 115 w 1722"/>
                <a:gd name="T91" fmla="*/ 3 h 1956"/>
                <a:gd name="T92" fmla="*/ 123 w 1722"/>
                <a:gd name="T93" fmla="*/ 3 h 1956"/>
                <a:gd name="T94" fmla="*/ 125 w 1722"/>
                <a:gd name="T95" fmla="*/ 9 h 1956"/>
                <a:gd name="T96" fmla="*/ 133 w 1722"/>
                <a:gd name="T97" fmla="*/ 13 h 1956"/>
                <a:gd name="T98" fmla="*/ 149 w 1722"/>
                <a:gd name="T99" fmla="*/ 37 h 1956"/>
                <a:gd name="T100" fmla="*/ 141 w 1722"/>
                <a:gd name="T101" fmla="*/ 57 h 1956"/>
                <a:gd name="T102" fmla="*/ 135 w 1722"/>
                <a:gd name="T103" fmla="*/ 63 h 1956"/>
                <a:gd name="T104" fmla="*/ 124 w 1722"/>
                <a:gd name="T105" fmla="*/ 77 h 1956"/>
                <a:gd name="T106" fmla="*/ 123 w 1722"/>
                <a:gd name="T107" fmla="*/ 96 h 1956"/>
                <a:gd name="T108" fmla="*/ 127 w 1722"/>
                <a:gd name="T109" fmla="*/ 97 h 1956"/>
                <a:gd name="T110" fmla="*/ 129 w 1722"/>
                <a:gd name="T111" fmla="*/ 92 h 1956"/>
                <a:gd name="T112" fmla="*/ 134 w 1722"/>
                <a:gd name="T113" fmla="*/ 94 h 1956"/>
                <a:gd name="T114" fmla="*/ 138 w 1722"/>
                <a:gd name="T115" fmla="*/ 99 h 1956"/>
                <a:gd name="T116" fmla="*/ 142 w 1722"/>
                <a:gd name="T117" fmla="*/ 104 h 1956"/>
                <a:gd name="T118" fmla="*/ 141 w 1722"/>
                <a:gd name="T119" fmla="*/ 115 h 19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722"/>
                <a:gd name="T181" fmla="*/ 0 h 1956"/>
                <a:gd name="T182" fmla="*/ 1722 w 1722"/>
                <a:gd name="T183" fmla="*/ 1956 h 19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722" h="1956">
                  <a:moveTo>
                    <a:pt x="1686" y="1404"/>
                  </a:moveTo>
                  <a:lnTo>
                    <a:pt x="1680" y="1416"/>
                  </a:lnTo>
                  <a:lnTo>
                    <a:pt x="1674" y="1422"/>
                  </a:lnTo>
                  <a:lnTo>
                    <a:pt x="1674" y="1428"/>
                  </a:lnTo>
                  <a:lnTo>
                    <a:pt x="1668" y="1428"/>
                  </a:lnTo>
                  <a:lnTo>
                    <a:pt x="1668" y="1434"/>
                  </a:lnTo>
                  <a:lnTo>
                    <a:pt x="1662" y="1446"/>
                  </a:lnTo>
                  <a:lnTo>
                    <a:pt x="1656" y="1464"/>
                  </a:lnTo>
                  <a:lnTo>
                    <a:pt x="1656" y="1476"/>
                  </a:lnTo>
                  <a:lnTo>
                    <a:pt x="1656" y="1488"/>
                  </a:lnTo>
                  <a:lnTo>
                    <a:pt x="1662" y="1500"/>
                  </a:lnTo>
                  <a:lnTo>
                    <a:pt x="1662" y="1506"/>
                  </a:lnTo>
                  <a:lnTo>
                    <a:pt x="1662" y="1524"/>
                  </a:lnTo>
                  <a:lnTo>
                    <a:pt x="1668" y="1542"/>
                  </a:lnTo>
                  <a:lnTo>
                    <a:pt x="1674" y="1560"/>
                  </a:lnTo>
                  <a:lnTo>
                    <a:pt x="1680" y="1578"/>
                  </a:lnTo>
                  <a:lnTo>
                    <a:pt x="1686" y="1578"/>
                  </a:lnTo>
                  <a:lnTo>
                    <a:pt x="1686" y="1584"/>
                  </a:lnTo>
                  <a:lnTo>
                    <a:pt x="1686" y="1590"/>
                  </a:lnTo>
                  <a:lnTo>
                    <a:pt x="1686" y="1596"/>
                  </a:lnTo>
                  <a:lnTo>
                    <a:pt x="1680" y="1596"/>
                  </a:lnTo>
                  <a:lnTo>
                    <a:pt x="1674" y="1602"/>
                  </a:lnTo>
                  <a:lnTo>
                    <a:pt x="1662" y="1602"/>
                  </a:lnTo>
                  <a:lnTo>
                    <a:pt x="1638" y="1596"/>
                  </a:lnTo>
                  <a:lnTo>
                    <a:pt x="1632" y="1596"/>
                  </a:lnTo>
                  <a:lnTo>
                    <a:pt x="1626" y="1602"/>
                  </a:lnTo>
                  <a:lnTo>
                    <a:pt x="1620" y="1602"/>
                  </a:lnTo>
                  <a:lnTo>
                    <a:pt x="1614" y="1602"/>
                  </a:lnTo>
                  <a:lnTo>
                    <a:pt x="1602" y="1602"/>
                  </a:lnTo>
                  <a:lnTo>
                    <a:pt x="1602" y="1608"/>
                  </a:lnTo>
                  <a:lnTo>
                    <a:pt x="1602" y="1620"/>
                  </a:lnTo>
                  <a:lnTo>
                    <a:pt x="1596" y="1620"/>
                  </a:lnTo>
                  <a:lnTo>
                    <a:pt x="1590" y="1620"/>
                  </a:lnTo>
                  <a:lnTo>
                    <a:pt x="1584" y="1626"/>
                  </a:lnTo>
                  <a:lnTo>
                    <a:pt x="1584" y="1632"/>
                  </a:lnTo>
                  <a:lnTo>
                    <a:pt x="1578" y="1644"/>
                  </a:lnTo>
                  <a:lnTo>
                    <a:pt x="1572" y="1644"/>
                  </a:lnTo>
                  <a:lnTo>
                    <a:pt x="1566" y="1644"/>
                  </a:lnTo>
                  <a:lnTo>
                    <a:pt x="1566" y="1650"/>
                  </a:lnTo>
                  <a:lnTo>
                    <a:pt x="1560" y="1650"/>
                  </a:lnTo>
                  <a:lnTo>
                    <a:pt x="1554" y="1650"/>
                  </a:lnTo>
                  <a:lnTo>
                    <a:pt x="1548" y="1650"/>
                  </a:lnTo>
                  <a:lnTo>
                    <a:pt x="1548" y="1656"/>
                  </a:lnTo>
                  <a:lnTo>
                    <a:pt x="1542" y="1668"/>
                  </a:lnTo>
                  <a:lnTo>
                    <a:pt x="1542" y="1674"/>
                  </a:lnTo>
                  <a:lnTo>
                    <a:pt x="1542" y="1692"/>
                  </a:lnTo>
                  <a:lnTo>
                    <a:pt x="1536" y="1698"/>
                  </a:lnTo>
                  <a:lnTo>
                    <a:pt x="1530" y="1698"/>
                  </a:lnTo>
                  <a:lnTo>
                    <a:pt x="1524" y="1698"/>
                  </a:lnTo>
                  <a:lnTo>
                    <a:pt x="1518" y="1704"/>
                  </a:lnTo>
                  <a:lnTo>
                    <a:pt x="1512" y="1710"/>
                  </a:lnTo>
                  <a:lnTo>
                    <a:pt x="1506" y="1722"/>
                  </a:lnTo>
                  <a:lnTo>
                    <a:pt x="1500" y="1728"/>
                  </a:lnTo>
                  <a:lnTo>
                    <a:pt x="1500" y="1734"/>
                  </a:lnTo>
                  <a:lnTo>
                    <a:pt x="1512" y="1734"/>
                  </a:lnTo>
                  <a:lnTo>
                    <a:pt x="1518" y="1740"/>
                  </a:lnTo>
                  <a:lnTo>
                    <a:pt x="1518" y="1746"/>
                  </a:lnTo>
                  <a:lnTo>
                    <a:pt x="1518" y="1752"/>
                  </a:lnTo>
                  <a:lnTo>
                    <a:pt x="1518" y="1758"/>
                  </a:lnTo>
                  <a:lnTo>
                    <a:pt x="1524" y="1758"/>
                  </a:lnTo>
                  <a:lnTo>
                    <a:pt x="1524" y="1764"/>
                  </a:lnTo>
                  <a:lnTo>
                    <a:pt x="1530" y="1770"/>
                  </a:lnTo>
                  <a:lnTo>
                    <a:pt x="1518" y="1770"/>
                  </a:lnTo>
                  <a:lnTo>
                    <a:pt x="1512" y="1782"/>
                  </a:lnTo>
                  <a:lnTo>
                    <a:pt x="1512" y="1788"/>
                  </a:lnTo>
                  <a:lnTo>
                    <a:pt x="1518" y="1788"/>
                  </a:lnTo>
                  <a:lnTo>
                    <a:pt x="1524" y="1800"/>
                  </a:lnTo>
                  <a:lnTo>
                    <a:pt x="1524" y="1806"/>
                  </a:lnTo>
                  <a:lnTo>
                    <a:pt x="1518" y="1812"/>
                  </a:lnTo>
                  <a:lnTo>
                    <a:pt x="1512" y="1818"/>
                  </a:lnTo>
                  <a:lnTo>
                    <a:pt x="1506" y="1818"/>
                  </a:lnTo>
                  <a:lnTo>
                    <a:pt x="1500" y="1824"/>
                  </a:lnTo>
                  <a:lnTo>
                    <a:pt x="1500" y="1836"/>
                  </a:lnTo>
                  <a:lnTo>
                    <a:pt x="1500" y="1842"/>
                  </a:lnTo>
                  <a:lnTo>
                    <a:pt x="1500" y="1848"/>
                  </a:lnTo>
                  <a:lnTo>
                    <a:pt x="1500" y="1854"/>
                  </a:lnTo>
                  <a:lnTo>
                    <a:pt x="1494" y="1860"/>
                  </a:lnTo>
                  <a:lnTo>
                    <a:pt x="1488" y="1860"/>
                  </a:lnTo>
                  <a:lnTo>
                    <a:pt x="1488" y="1866"/>
                  </a:lnTo>
                  <a:lnTo>
                    <a:pt x="1482" y="1872"/>
                  </a:lnTo>
                  <a:lnTo>
                    <a:pt x="1482" y="1878"/>
                  </a:lnTo>
                  <a:lnTo>
                    <a:pt x="1482" y="1884"/>
                  </a:lnTo>
                  <a:lnTo>
                    <a:pt x="1476" y="1890"/>
                  </a:lnTo>
                  <a:lnTo>
                    <a:pt x="1470" y="1890"/>
                  </a:lnTo>
                  <a:lnTo>
                    <a:pt x="1470" y="1896"/>
                  </a:lnTo>
                  <a:lnTo>
                    <a:pt x="1464" y="1896"/>
                  </a:lnTo>
                  <a:lnTo>
                    <a:pt x="1458" y="1896"/>
                  </a:lnTo>
                  <a:lnTo>
                    <a:pt x="1452" y="1896"/>
                  </a:lnTo>
                  <a:lnTo>
                    <a:pt x="1440" y="1890"/>
                  </a:lnTo>
                  <a:lnTo>
                    <a:pt x="1434" y="1896"/>
                  </a:lnTo>
                  <a:lnTo>
                    <a:pt x="1428" y="1896"/>
                  </a:lnTo>
                  <a:lnTo>
                    <a:pt x="1422" y="1896"/>
                  </a:lnTo>
                  <a:lnTo>
                    <a:pt x="1422" y="1902"/>
                  </a:lnTo>
                  <a:lnTo>
                    <a:pt x="1416" y="1902"/>
                  </a:lnTo>
                  <a:lnTo>
                    <a:pt x="1422" y="1914"/>
                  </a:lnTo>
                  <a:lnTo>
                    <a:pt x="1422" y="1932"/>
                  </a:lnTo>
                  <a:lnTo>
                    <a:pt x="1416" y="1938"/>
                  </a:lnTo>
                  <a:lnTo>
                    <a:pt x="1422" y="1938"/>
                  </a:lnTo>
                  <a:lnTo>
                    <a:pt x="1404" y="1938"/>
                  </a:lnTo>
                  <a:lnTo>
                    <a:pt x="1392" y="1944"/>
                  </a:lnTo>
                  <a:lnTo>
                    <a:pt x="1386" y="1944"/>
                  </a:lnTo>
                  <a:lnTo>
                    <a:pt x="1374" y="1944"/>
                  </a:lnTo>
                  <a:lnTo>
                    <a:pt x="1368" y="1950"/>
                  </a:lnTo>
                  <a:lnTo>
                    <a:pt x="1374" y="1956"/>
                  </a:lnTo>
                  <a:lnTo>
                    <a:pt x="1368" y="1956"/>
                  </a:lnTo>
                  <a:lnTo>
                    <a:pt x="1356" y="1956"/>
                  </a:lnTo>
                  <a:lnTo>
                    <a:pt x="1350" y="1956"/>
                  </a:lnTo>
                  <a:lnTo>
                    <a:pt x="1350" y="1950"/>
                  </a:lnTo>
                  <a:lnTo>
                    <a:pt x="1344" y="1944"/>
                  </a:lnTo>
                  <a:lnTo>
                    <a:pt x="1332" y="1938"/>
                  </a:lnTo>
                  <a:lnTo>
                    <a:pt x="1326" y="1938"/>
                  </a:lnTo>
                  <a:lnTo>
                    <a:pt x="1320" y="1938"/>
                  </a:lnTo>
                  <a:lnTo>
                    <a:pt x="1314" y="1944"/>
                  </a:lnTo>
                  <a:lnTo>
                    <a:pt x="1308" y="1944"/>
                  </a:lnTo>
                  <a:lnTo>
                    <a:pt x="1302" y="1944"/>
                  </a:lnTo>
                  <a:lnTo>
                    <a:pt x="1296" y="1938"/>
                  </a:lnTo>
                  <a:lnTo>
                    <a:pt x="1284" y="1938"/>
                  </a:lnTo>
                  <a:lnTo>
                    <a:pt x="1278" y="1938"/>
                  </a:lnTo>
                  <a:lnTo>
                    <a:pt x="1272" y="1938"/>
                  </a:lnTo>
                  <a:lnTo>
                    <a:pt x="1266" y="1932"/>
                  </a:lnTo>
                  <a:lnTo>
                    <a:pt x="1260" y="1932"/>
                  </a:lnTo>
                  <a:lnTo>
                    <a:pt x="1254" y="1920"/>
                  </a:lnTo>
                  <a:lnTo>
                    <a:pt x="1248" y="1920"/>
                  </a:lnTo>
                  <a:lnTo>
                    <a:pt x="1242" y="1920"/>
                  </a:lnTo>
                  <a:lnTo>
                    <a:pt x="1236" y="1926"/>
                  </a:lnTo>
                  <a:lnTo>
                    <a:pt x="1236" y="1932"/>
                  </a:lnTo>
                  <a:lnTo>
                    <a:pt x="1230" y="1932"/>
                  </a:lnTo>
                  <a:lnTo>
                    <a:pt x="1224" y="1932"/>
                  </a:lnTo>
                  <a:lnTo>
                    <a:pt x="1218" y="1938"/>
                  </a:lnTo>
                  <a:lnTo>
                    <a:pt x="1212" y="1932"/>
                  </a:lnTo>
                  <a:lnTo>
                    <a:pt x="1206" y="1926"/>
                  </a:lnTo>
                  <a:lnTo>
                    <a:pt x="1206" y="1908"/>
                  </a:lnTo>
                  <a:lnTo>
                    <a:pt x="1206" y="1884"/>
                  </a:lnTo>
                  <a:lnTo>
                    <a:pt x="1206" y="1866"/>
                  </a:lnTo>
                  <a:lnTo>
                    <a:pt x="1212" y="1848"/>
                  </a:lnTo>
                  <a:lnTo>
                    <a:pt x="1212" y="1842"/>
                  </a:lnTo>
                  <a:lnTo>
                    <a:pt x="1206" y="1836"/>
                  </a:lnTo>
                  <a:lnTo>
                    <a:pt x="1200" y="1830"/>
                  </a:lnTo>
                  <a:lnTo>
                    <a:pt x="1194" y="1824"/>
                  </a:lnTo>
                  <a:lnTo>
                    <a:pt x="1188" y="1824"/>
                  </a:lnTo>
                  <a:lnTo>
                    <a:pt x="1182" y="1824"/>
                  </a:lnTo>
                  <a:lnTo>
                    <a:pt x="1176" y="1824"/>
                  </a:lnTo>
                  <a:lnTo>
                    <a:pt x="1170" y="1818"/>
                  </a:lnTo>
                  <a:lnTo>
                    <a:pt x="1164" y="1830"/>
                  </a:lnTo>
                  <a:lnTo>
                    <a:pt x="1152" y="1836"/>
                  </a:lnTo>
                  <a:lnTo>
                    <a:pt x="1146" y="1842"/>
                  </a:lnTo>
                  <a:lnTo>
                    <a:pt x="1140" y="1842"/>
                  </a:lnTo>
                  <a:lnTo>
                    <a:pt x="1134" y="1842"/>
                  </a:lnTo>
                  <a:lnTo>
                    <a:pt x="1128" y="1842"/>
                  </a:lnTo>
                  <a:lnTo>
                    <a:pt x="1116" y="1836"/>
                  </a:lnTo>
                  <a:lnTo>
                    <a:pt x="1110" y="1842"/>
                  </a:lnTo>
                  <a:lnTo>
                    <a:pt x="1092" y="1830"/>
                  </a:lnTo>
                  <a:lnTo>
                    <a:pt x="1092" y="1824"/>
                  </a:lnTo>
                  <a:lnTo>
                    <a:pt x="1092" y="1806"/>
                  </a:lnTo>
                  <a:lnTo>
                    <a:pt x="1092" y="1800"/>
                  </a:lnTo>
                  <a:lnTo>
                    <a:pt x="1092" y="1794"/>
                  </a:lnTo>
                  <a:lnTo>
                    <a:pt x="1086" y="1788"/>
                  </a:lnTo>
                  <a:lnTo>
                    <a:pt x="1080" y="1794"/>
                  </a:lnTo>
                  <a:lnTo>
                    <a:pt x="1074" y="1788"/>
                  </a:lnTo>
                  <a:lnTo>
                    <a:pt x="1068" y="1770"/>
                  </a:lnTo>
                  <a:lnTo>
                    <a:pt x="1056" y="1764"/>
                  </a:lnTo>
                  <a:lnTo>
                    <a:pt x="1050" y="1764"/>
                  </a:lnTo>
                  <a:lnTo>
                    <a:pt x="1044" y="1764"/>
                  </a:lnTo>
                  <a:lnTo>
                    <a:pt x="1038" y="1758"/>
                  </a:lnTo>
                  <a:lnTo>
                    <a:pt x="1032" y="1752"/>
                  </a:lnTo>
                  <a:lnTo>
                    <a:pt x="1032" y="1746"/>
                  </a:lnTo>
                  <a:lnTo>
                    <a:pt x="1032" y="1740"/>
                  </a:lnTo>
                  <a:lnTo>
                    <a:pt x="1032" y="1734"/>
                  </a:lnTo>
                  <a:lnTo>
                    <a:pt x="1026" y="1734"/>
                  </a:lnTo>
                  <a:lnTo>
                    <a:pt x="1032" y="1728"/>
                  </a:lnTo>
                  <a:lnTo>
                    <a:pt x="1032" y="1722"/>
                  </a:lnTo>
                  <a:lnTo>
                    <a:pt x="1044" y="1686"/>
                  </a:lnTo>
                  <a:lnTo>
                    <a:pt x="1044" y="1680"/>
                  </a:lnTo>
                  <a:lnTo>
                    <a:pt x="1032" y="1674"/>
                  </a:lnTo>
                  <a:lnTo>
                    <a:pt x="1026" y="1674"/>
                  </a:lnTo>
                  <a:lnTo>
                    <a:pt x="1026" y="1668"/>
                  </a:lnTo>
                  <a:lnTo>
                    <a:pt x="1020" y="1662"/>
                  </a:lnTo>
                  <a:lnTo>
                    <a:pt x="1014" y="1668"/>
                  </a:lnTo>
                  <a:lnTo>
                    <a:pt x="1008" y="1662"/>
                  </a:lnTo>
                  <a:lnTo>
                    <a:pt x="1002" y="1662"/>
                  </a:lnTo>
                  <a:lnTo>
                    <a:pt x="1002" y="1668"/>
                  </a:lnTo>
                  <a:lnTo>
                    <a:pt x="996" y="1668"/>
                  </a:lnTo>
                  <a:lnTo>
                    <a:pt x="996" y="1662"/>
                  </a:lnTo>
                  <a:lnTo>
                    <a:pt x="984" y="1662"/>
                  </a:lnTo>
                  <a:lnTo>
                    <a:pt x="984" y="1656"/>
                  </a:lnTo>
                  <a:lnTo>
                    <a:pt x="978" y="1650"/>
                  </a:lnTo>
                  <a:lnTo>
                    <a:pt x="978" y="1644"/>
                  </a:lnTo>
                  <a:lnTo>
                    <a:pt x="966" y="1650"/>
                  </a:lnTo>
                  <a:lnTo>
                    <a:pt x="960" y="1638"/>
                  </a:lnTo>
                  <a:lnTo>
                    <a:pt x="954" y="1632"/>
                  </a:lnTo>
                  <a:lnTo>
                    <a:pt x="948" y="1632"/>
                  </a:lnTo>
                  <a:lnTo>
                    <a:pt x="942" y="1626"/>
                  </a:lnTo>
                  <a:lnTo>
                    <a:pt x="942" y="1614"/>
                  </a:lnTo>
                  <a:lnTo>
                    <a:pt x="930" y="1608"/>
                  </a:lnTo>
                  <a:lnTo>
                    <a:pt x="924" y="1614"/>
                  </a:lnTo>
                  <a:lnTo>
                    <a:pt x="912" y="1608"/>
                  </a:lnTo>
                  <a:lnTo>
                    <a:pt x="888" y="1590"/>
                  </a:lnTo>
                  <a:lnTo>
                    <a:pt x="894" y="1578"/>
                  </a:lnTo>
                  <a:lnTo>
                    <a:pt x="894" y="1572"/>
                  </a:lnTo>
                  <a:lnTo>
                    <a:pt x="894" y="1566"/>
                  </a:lnTo>
                  <a:lnTo>
                    <a:pt x="894" y="1548"/>
                  </a:lnTo>
                  <a:lnTo>
                    <a:pt x="888" y="1548"/>
                  </a:lnTo>
                  <a:lnTo>
                    <a:pt x="882" y="1542"/>
                  </a:lnTo>
                  <a:lnTo>
                    <a:pt x="876" y="1542"/>
                  </a:lnTo>
                  <a:lnTo>
                    <a:pt x="876" y="1536"/>
                  </a:lnTo>
                  <a:lnTo>
                    <a:pt x="870" y="1542"/>
                  </a:lnTo>
                  <a:lnTo>
                    <a:pt x="870" y="1554"/>
                  </a:lnTo>
                  <a:lnTo>
                    <a:pt x="870" y="1566"/>
                  </a:lnTo>
                  <a:lnTo>
                    <a:pt x="870" y="1578"/>
                  </a:lnTo>
                  <a:lnTo>
                    <a:pt x="870" y="1584"/>
                  </a:lnTo>
                  <a:lnTo>
                    <a:pt x="864" y="1584"/>
                  </a:lnTo>
                  <a:lnTo>
                    <a:pt x="870" y="1602"/>
                  </a:lnTo>
                  <a:lnTo>
                    <a:pt x="864" y="1608"/>
                  </a:lnTo>
                  <a:lnTo>
                    <a:pt x="870" y="1614"/>
                  </a:lnTo>
                  <a:lnTo>
                    <a:pt x="864" y="1644"/>
                  </a:lnTo>
                  <a:lnTo>
                    <a:pt x="858" y="1650"/>
                  </a:lnTo>
                  <a:lnTo>
                    <a:pt x="858" y="1656"/>
                  </a:lnTo>
                  <a:lnTo>
                    <a:pt x="852" y="1662"/>
                  </a:lnTo>
                  <a:lnTo>
                    <a:pt x="852" y="1680"/>
                  </a:lnTo>
                  <a:lnTo>
                    <a:pt x="846" y="1686"/>
                  </a:lnTo>
                  <a:lnTo>
                    <a:pt x="834" y="1692"/>
                  </a:lnTo>
                  <a:lnTo>
                    <a:pt x="828" y="1692"/>
                  </a:lnTo>
                  <a:lnTo>
                    <a:pt x="822" y="1698"/>
                  </a:lnTo>
                  <a:lnTo>
                    <a:pt x="822" y="1704"/>
                  </a:lnTo>
                  <a:lnTo>
                    <a:pt x="816" y="1704"/>
                  </a:lnTo>
                  <a:lnTo>
                    <a:pt x="804" y="1692"/>
                  </a:lnTo>
                  <a:lnTo>
                    <a:pt x="786" y="1698"/>
                  </a:lnTo>
                  <a:lnTo>
                    <a:pt x="780" y="1698"/>
                  </a:lnTo>
                  <a:lnTo>
                    <a:pt x="756" y="1698"/>
                  </a:lnTo>
                  <a:lnTo>
                    <a:pt x="744" y="1698"/>
                  </a:lnTo>
                  <a:lnTo>
                    <a:pt x="738" y="1698"/>
                  </a:lnTo>
                  <a:lnTo>
                    <a:pt x="732" y="1704"/>
                  </a:lnTo>
                  <a:lnTo>
                    <a:pt x="726" y="1704"/>
                  </a:lnTo>
                  <a:lnTo>
                    <a:pt x="678" y="1710"/>
                  </a:lnTo>
                  <a:lnTo>
                    <a:pt x="642" y="1710"/>
                  </a:lnTo>
                  <a:lnTo>
                    <a:pt x="618" y="1680"/>
                  </a:lnTo>
                  <a:lnTo>
                    <a:pt x="618" y="1674"/>
                  </a:lnTo>
                  <a:lnTo>
                    <a:pt x="618" y="1668"/>
                  </a:lnTo>
                  <a:lnTo>
                    <a:pt x="624" y="1662"/>
                  </a:lnTo>
                  <a:lnTo>
                    <a:pt x="624" y="1656"/>
                  </a:lnTo>
                  <a:lnTo>
                    <a:pt x="624" y="1650"/>
                  </a:lnTo>
                  <a:lnTo>
                    <a:pt x="618" y="1650"/>
                  </a:lnTo>
                  <a:lnTo>
                    <a:pt x="618" y="1644"/>
                  </a:lnTo>
                  <a:lnTo>
                    <a:pt x="618" y="1638"/>
                  </a:lnTo>
                  <a:lnTo>
                    <a:pt x="618" y="1632"/>
                  </a:lnTo>
                  <a:lnTo>
                    <a:pt x="618" y="1626"/>
                  </a:lnTo>
                  <a:lnTo>
                    <a:pt x="612" y="1626"/>
                  </a:lnTo>
                  <a:lnTo>
                    <a:pt x="612" y="1620"/>
                  </a:lnTo>
                  <a:lnTo>
                    <a:pt x="606" y="1614"/>
                  </a:lnTo>
                  <a:lnTo>
                    <a:pt x="594" y="1626"/>
                  </a:lnTo>
                  <a:lnTo>
                    <a:pt x="594" y="1632"/>
                  </a:lnTo>
                  <a:lnTo>
                    <a:pt x="588" y="1638"/>
                  </a:lnTo>
                  <a:lnTo>
                    <a:pt x="582" y="1638"/>
                  </a:lnTo>
                  <a:lnTo>
                    <a:pt x="564" y="1656"/>
                  </a:lnTo>
                  <a:lnTo>
                    <a:pt x="558" y="1662"/>
                  </a:lnTo>
                  <a:lnTo>
                    <a:pt x="552" y="1662"/>
                  </a:lnTo>
                  <a:lnTo>
                    <a:pt x="540" y="1674"/>
                  </a:lnTo>
                  <a:lnTo>
                    <a:pt x="534" y="1680"/>
                  </a:lnTo>
                  <a:lnTo>
                    <a:pt x="522" y="1692"/>
                  </a:lnTo>
                  <a:lnTo>
                    <a:pt x="516" y="1704"/>
                  </a:lnTo>
                  <a:lnTo>
                    <a:pt x="510" y="1704"/>
                  </a:lnTo>
                  <a:lnTo>
                    <a:pt x="504" y="1704"/>
                  </a:lnTo>
                  <a:lnTo>
                    <a:pt x="486" y="1722"/>
                  </a:lnTo>
                  <a:lnTo>
                    <a:pt x="480" y="1740"/>
                  </a:lnTo>
                  <a:lnTo>
                    <a:pt x="474" y="1740"/>
                  </a:lnTo>
                  <a:lnTo>
                    <a:pt x="468" y="1746"/>
                  </a:lnTo>
                  <a:lnTo>
                    <a:pt x="456" y="1758"/>
                  </a:lnTo>
                  <a:lnTo>
                    <a:pt x="444" y="1770"/>
                  </a:lnTo>
                  <a:lnTo>
                    <a:pt x="438" y="1782"/>
                  </a:lnTo>
                  <a:lnTo>
                    <a:pt x="426" y="1788"/>
                  </a:lnTo>
                  <a:lnTo>
                    <a:pt x="420" y="1788"/>
                  </a:lnTo>
                  <a:lnTo>
                    <a:pt x="420" y="1782"/>
                  </a:lnTo>
                  <a:lnTo>
                    <a:pt x="414" y="1782"/>
                  </a:lnTo>
                  <a:lnTo>
                    <a:pt x="390" y="1782"/>
                  </a:lnTo>
                  <a:lnTo>
                    <a:pt x="390" y="1776"/>
                  </a:lnTo>
                  <a:lnTo>
                    <a:pt x="384" y="1776"/>
                  </a:lnTo>
                  <a:lnTo>
                    <a:pt x="378" y="1776"/>
                  </a:lnTo>
                  <a:lnTo>
                    <a:pt x="372" y="1776"/>
                  </a:lnTo>
                  <a:lnTo>
                    <a:pt x="366" y="1770"/>
                  </a:lnTo>
                  <a:lnTo>
                    <a:pt x="366" y="1776"/>
                  </a:lnTo>
                  <a:lnTo>
                    <a:pt x="360" y="1788"/>
                  </a:lnTo>
                  <a:lnTo>
                    <a:pt x="360" y="1794"/>
                  </a:lnTo>
                  <a:lnTo>
                    <a:pt x="360" y="1800"/>
                  </a:lnTo>
                  <a:lnTo>
                    <a:pt x="354" y="1806"/>
                  </a:lnTo>
                  <a:lnTo>
                    <a:pt x="354" y="1812"/>
                  </a:lnTo>
                  <a:lnTo>
                    <a:pt x="354" y="1824"/>
                  </a:lnTo>
                  <a:lnTo>
                    <a:pt x="348" y="1830"/>
                  </a:lnTo>
                  <a:lnTo>
                    <a:pt x="354" y="1836"/>
                  </a:lnTo>
                  <a:lnTo>
                    <a:pt x="348" y="1842"/>
                  </a:lnTo>
                  <a:lnTo>
                    <a:pt x="354" y="1848"/>
                  </a:lnTo>
                  <a:lnTo>
                    <a:pt x="348" y="1854"/>
                  </a:lnTo>
                  <a:lnTo>
                    <a:pt x="354" y="1854"/>
                  </a:lnTo>
                  <a:lnTo>
                    <a:pt x="348" y="1860"/>
                  </a:lnTo>
                  <a:lnTo>
                    <a:pt x="348" y="1866"/>
                  </a:lnTo>
                  <a:lnTo>
                    <a:pt x="342" y="1866"/>
                  </a:lnTo>
                  <a:lnTo>
                    <a:pt x="342" y="1872"/>
                  </a:lnTo>
                  <a:lnTo>
                    <a:pt x="342" y="1878"/>
                  </a:lnTo>
                  <a:lnTo>
                    <a:pt x="342" y="1884"/>
                  </a:lnTo>
                  <a:lnTo>
                    <a:pt x="336" y="1896"/>
                  </a:lnTo>
                  <a:lnTo>
                    <a:pt x="330" y="1914"/>
                  </a:lnTo>
                  <a:lnTo>
                    <a:pt x="324" y="1920"/>
                  </a:lnTo>
                  <a:lnTo>
                    <a:pt x="324" y="1926"/>
                  </a:lnTo>
                  <a:lnTo>
                    <a:pt x="318" y="1944"/>
                  </a:lnTo>
                  <a:lnTo>
                    <a:pt x="318" y="1950"/>
                  </a:lnTo>
                  <a:lnTo>
                    <a:pt x="312" y="1956"/>
                  </a:lnTo>
                  <a:lnTo>
                    <a:pt x="312" y="1950"/>
                  </a:lnTo>
                  <a:lnTo>
                    <a:pt x="306" y="1950"/>
                  </a:lnTo>
                  <a:lnTo>
                    <a:pt x="306" y="1956"/>
                  </a:lnTo>
                  <a:lnTo>
                    <a:pt x="300" y="1950"/>
                  </a:lnTo>
                  <a:lnTo>
                    <a:pt x="294" y="1956"/>
                  </a:lnTo>
                  <a:lnTo>
                    <a:pt x="288" y="1950"/>
                  </a:lnTo>
                  <a:lnTo>
                    <a:pt x="288" y="1944"/>
                  </a:lnTo>
                  <a:lnTo>
                    <a:pt x="282" y="1938"/>
                  </a:lnTo>
                  <a:lnTo>
                    <a:pt x="282" y="1932"/>
                  </a:lnTo>
                  <a:lnTo>
                    <a:pt x="282" y="1890"/>
                  </a:lnTo>
                  <a:lnTo>
                    <a:pt x="288" y="1860"/>
                  </a:lnTo>
                  <a:lnTo>
                    <a:pt x="294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300" y="1818"/>
                  </a:lnTo>
                  <a:lnTo>
                    <a:pt x="306" y="1794"/>
                  </a:lnTo>
                  <a:lnTo>
                    <a:pt x="306" y="1788"/>
                  </a:lnTo>
                  <a:lnTo>
                    <a:pt x="306" y="1782"/>
                  </a:lnTo>
                  <a:lnTo>
                    <a:pt x="312" y="1776"/>
                  </a:lnTo>
                  <a:lnTo>
                    <a:pt x="306" y="1776"/>
                  </a:lnTo>
                  <a:lnTo>
                    <a:pt x="312" y="1770"/>
                  </a:lnTo>
                  <a:lnTo>
                    <a:pt x="312" y="1740"/>
                  </a:lnTo>
                  <a:lnTo>
                    <a:pt x="318" y="1722"/>
                  </a:lnTo>
                  <a:lnTo>
                    <a:pt x="312" y="1722"/>
                  </a:lnTo>
                  <a:lnTo>
                    <a:pt x="300" y="1716"/>
                  </a:lnTo>
                  <a:lnTo>
                    <a:pt x="306" y="1716"/>
                  </a:lnTo>
                  <a:lnTo>
                    <a:pt x="312" y="1710"/>
                  </a:lnTo>
                  <a:lnTo>
                    <a:pt x="324" y="1674"/>
                  </a:lnTo>
                  <a:lnTo>
                    <a:pt x="366" y="1590"/>
                  </a:lnTo>
                  <a:lnTo>
                    <a:pt x="408" y="1548"/>
                  </a:lnTo>
                  <a:lnTo>
                    <a:pt x="426" y="1530"/>
                  </a:lnTo>
                  <a:lnTo>
                    <a:pt x="432" y="1500"/>
                  </a:lnTo>
                  <a:lnTo>
                    <a:pt x="426" y="1494"/>
                  </a:lnTo>
                  <a:lnTo>
                    <a:pt x="426" y="1482"/>
                  </a:lnTo>
                  <a:lnTo>
                    <a:pt x="432" y="1464"/>
                  </a:lnTo>
                  <a:lnTo>
                    <a:pt x="438" y="1428"/>
                  </a:lnTo>
                  <a:lnTo>
                    <a:pt x="462" y="1398"/>
                  </a:lnTo>
                  <a:lnTo>
                    <a:pt x="468" y="1362"/>
                  </a:lnTo>
                  <a:lnTo>
                    <a:pt x="462" y="1314"/>
                  </a:lnTo>
                  <a:lnTo>
                    <a:pt x="444" y="1284"/>
                  </a:lnTo>
                  <a:lnTo>
                    <a:pt x="432" y="1260"/>
                  </a:lnTo>
                  <a:lnTo>
                    <a:pt x="426" y="1260"/>
                  </a:lnTo>
                  <a:lnTo>
                    <a:pt x="420" y="1254"/>
                  </a:lnTo>
                  <a:lnTo>
                    <a:pt x="408" y="1260"/>
                  </a:lnTo>
                  <a:lnTo>
                    <a:pt x="402" y="1260"/>
                  </a:lnTo>
                  <a:lnTo>
                    <a:pt x="402" y="1254"/>
                  </a:lnTo>
                  <a:lnTo>
                    <a:pt x="396" y="1254"/>
                  </a:lnTo>
                  <a:lnTo>
                    <a:pt x="396" y="1248"/>
                  </a:lnTo>
                  <a:lnTo>
                    <a:pt x="384" y="1248"/>
                  </a:lnTo>
                  <a:lnTo>
                    <a:pt x="372" y="1230"/>
                  </a:lnTo>
                  <a:lnTo>
                    <a:pt x="360" y="1212"/>
                  </a:lnTo>
                  <a:lnTo>
                    <a:pt x="348" y="1188"/>
                  </a:lnTo>
                  <a:lnTo>
                    <a:pt x="324" y="1170"/>
                  </a:lnTo>
                  <a:lnTo>
                    <a:pt x="318" y="1170"/>
                  </a:lnTo>
                  <a:lnTo>
                    <a:pt x="312" y="1158"/>
                  </a:lnTo>
                  <a:lnTo>
                    <a:pt x="312" y="1152"/>
                  </a:lnTo>
                  <a:lnTo>
                    <a:pt x="306" y="1146"/>
                  </a:lnTo>
                  <a:lnTo>
                    <a:pt x="270" y="1122"/>
                  </a:lnTo>
                  <a:lnTo>
                    <a:pt x="240" y="1122"/>
                  </a:lnTo>
                  <a:lnTo>
                    <a:pt x="180" y="1116"/>
                  </a:lnTo>
                  <a:lnTo>
                    <a:pt x="174" y="1122"/>
                  </a:lnTo>
                  <a:lnTo>
                    <a:pt x="174" y="1128"/>
                  </a:lnTo>
                  <a:lnTo>
                    <a:pt x="168" y="1122"/>
                  </a:lnTo>
                  <a:lnTo>
                    <a:pt x="162" y="1116"/>
                  </a:lnTo>
                  <a:lnTo>
                    <a:pt x="144" y="1122"/>
                  </a:lnTo>
                  <a:lnTo>
                    <a:pt x="120" y="1122"/>
                  </a:lnTo>
                  <a:lnTo>
                    <a:pt x="54" y="1134"/>
                  </a:lnTo>
                  <a:lnTo>
                    <a:pt x="24" y="1152"/>
                  </a:lnTo>
                  <a:lnTo>
                    <a:pt x="6" y="1146"/>
                  </a:lnTo>
                  <a:lnTo>
                    <a:pt x="0" y="1134"/>
                  </a:lnTo>
                  <a:lnTo>
                    <a:pt x="0" y="1128"/>
                  </a:lnTo>
                  <a:lnTo>
                    <a:pt x="18" y="1110"/>
                  </a:lnTo>
                  <a:lnTo>
                    <a:pt x="24" y="1104"/>
                  </a:lnTo>
                  <a:lnTo>
                    <a:pt x="24" y="1098"/>
                  </a:lnTo>
                  <a:lnTo>
                    <a:pt x="30" y="1086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24" y="1074"/>
                  </a:lnTo>
                  <a:lnTo>
                    <a:pt x="18" y="1068"/>
                  </a:lnTo>
                  <a:lnTo>
                    <a:pt x="24" y="1062"/>
                  </a:lnTo>
                  <a:lnTo>
                    <a:pt x="42" y="1056"/>
                  </a:lnTo>
                  <a:lnTo>
                    <a:pt x="54" y="1050"/>
                  </a:lnTo>
                  <a:lnTo>
                    <a:pt x="72" y="1044"/>
                  </a:lnTo>
                  <a:lnTo>
                    <a:pt x="96" y="1032"/>
                  </a:lnTo>
                  <a:lnTo>
                    <a:pt x="102" y="1032"/>
                  </a:lnTo>
                  <a:lnTo>
                    <a:pt x="126" y="1008"/>
                  </a:lnTo>
                  <a:lnTo>
                    <a:pt x="144" y="990"/>
                  </a:lnTo>
                  <a:lnTo>
                    <a:pt x="156" y="978"/>
                  </a:lnTo>
                  <a:lnTo>
                    <a:pt x="156" y="966"/>
                  </a:lnTo>
                  <a:lnTo>
                    <a:pt x="150" y="960"/>
                  </a:lnTo>
                  <a:lnTo>
                    <a:pt x="144" y="948"/>
                  </a:lnTo>
                  <a:lnTo>
                    <a:pt x="144" y="936"/>
                  </a:lnTo>
                  <a:lnTo>
                    <a:pt x="138" y="918"/>
                  </a:lnTo>
                  <a:lnTo>
                    <a:pt x="150" y="912"/>
                  </a:lnTo>
                  <a:lnTo>
                    <a:pt x="150" y="894"/>
                  </a:lnTo>
                  <a:lnTo>
                    <a:pt x="132" y="876"/>
                  </a:lnTo>
                  <a:lnTo>
                    <a:pt x="126" y="876"/>
                  </a:lnTo>
                  <a:lnTo>
                    <a:pt x="120" y="870"/>
                  </a:lnTo>
                  <a:lnTo>
                    <a:pt x="120" y="864"/>
                  </a:lnTo>
                  <a:lnTo>
                    <a:pt x="114" y="864"/>
                  </a:lnTo>
                  <a:lnTo>
                    <a:pt x="108" y="864"/>
                  </a:lnTo>
                  <a:lnTo>
                    <a:pt x="108" y="858"/>
                  </a:lnTo>
                  <a:lnTo>
                    <a:pt x="102" y="852"/>
                  </a:lnTo>
                  <a:lnTo>
                    <a:pt x="96" y="852"/>
                  </a:lnTo>
                  <a:lnTo>
                    <a:pt x="102" y="834"/>
                  </a:lnTo>
                  <a:lnTo>
                    <a:pt x="108" y="816"/>
                  </a:lnTo>
                  <a:lnTo>
                    <a:pt x="114" y="804"/>
                  </a:lnTo>
                  <a:lnTo>
                    <a:pt x="132" y="798"/>
                  </a:lnTo>
                  <a:lnTo>
                    <a:pt x="144" y="798"/>
                  </a:lnTo>
                  <a:lnTo>
                    <a:pt x="180" y="810"/>
                  </a:lnTo>
                  <a:lnTo>
                    <a:pt x="192" y="816"/>
                  </a:lnTo>
                  <a:lnTo>
                    <a:pt x="234" y="822"/>
                  </a:lnTo>
                  <a:lnTo>
                    <a:pt x="264" y="828"/>
                  </a:lnTo>
                  <a:lnTo>
                    <a:pt x="270" y="840"/>
                  </a:lnTo>
                  <a:lnTo>
                    <a:pt x="270" y="834"/>
                  </a:lnTo>
                  <a:lnTo>
                    <a:pt x="270" y="828"/>
                  </a:lnTo>
                  <a:lnTo>
                    <a:pt x="270" y="822"/>
                  </a:lnTo>
                  <a:lnTo>
                    <a:pt x="270" y="816"/>
                  </a:lnTo>
                  <a:lnTo>
                    <a:pt x="264" y="810"/>
                  </a:lnTo>
                  <a:lnTo>
                    <a:pt x="264" y="804"/>
                  </a:lnTo>
                  <a:lnTo>
                    <a:pt x="264" y="798"/>
                  </a:lnTo>
                  <a:lnTo>
                    <a:pt x="258" y="792"/>
                  </a:lnTo>
                  <a:lnTo>
                    <a:pt x="258" y="786"/>
                  </a:lnTo>
                  <a:lnTo>
                    <a:pt x="264" y="786"/>
                  </a:lnTo>
                  <a:lnTo>
                    <a:pt x="264" y="780"/>
                  </a:lnTo>
                  <a:lnTo>
                    <a:pt x="258" y="774"/>
                  </a:lnTo>
                  <a:lnTo>
                    <a:pt x="258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82" y="762"/>
                  </a:lnTo>
                  <a:lnTo>
                    <a:pt x="312" y="780"/>
                  </a:lnTo>
                  <a:lnTo>
                    <a:pt x="354" y="786"/>
                  </a:lnTo>
                  <a:lnTo>
                    <a:pt x="408" y="774"/>
                  </a:lnTo>
                  <a:lnTo>
                    <a:pt x="444" y="756"/>
                  </a:lnTo>
                  <a:lnTo>
                    <a:pt x="468" y="732"/>
                  </a:lnTo>
                  <a:lnTo>
                    <a:pt x="492" y="720"/>
                  </a:lnTo>
                  <a:lnTo>
                    <a:pt x="522" y="690"/>
                  </a:lnTo>
                  <a:lnTo>
                    <a:pt x="540" y="672"/>
                  </a:lnTo>
                  <a:lnTo>
                    <a:pt x="558" y="660"/>
                  </a:lnTo>
                  <a:lnTo>
                    <a:pt x="570" y="636"/>
                  </a:lnTo>
                  <a:lnTo>
                    <a:pt x="588" y="612"/>
                  </a:lnTo>
                  <a:lnTo>
                    <a:pt x="654" y="552"/>
                  </a:lnTo>
                  <a:lnTo>
                    <a:pt x="678" y="528"/>
                  </a:lnTo>
                  <a:lnTo>
                    <a:pt x="696" y="510"/>
                  </a:lnTo>
                  <a:lnTo>
                    <a:pt x="714" y="498"/>
                  </a:lnTo>
                  <a:lnTo>
                    <a:pt x="750" y="480"/>
                  </a:lnTo>
                  <a:lnTo>
                    <a:pt x="774" y="444"/>
                  </a:lnTo>
                  <a:lnTo>
                    <a:pt x="816" y="426"/>
                  </a:lnTo>
                  <a:lnTo>
                    <a:pt x="864" y="420"/>
                  </a:lnTo>
                  <a:lnTo>
                    <a:pt x="912" y="402"/>
                  </a:lnTo>
                  <a:lnTo>
                    <a:pt x="906" y="396"/>
                  </a:lnTo>
                  <a:lnTo>
                    <a:pt x="912" y="396"/>
                  </a:lnTo>
                  <a:lnTo>
                    <a:pt x="912" y="390"/>
                  </a:lnTo>
                  <a:lnTo>
                    <a:pt x="918" y="384"/>
                  </a:lnTo>
                  <a:lnTo>
                    <a:pt x="924" y="384"/>
                  </a:lnTo>
                  <a:lnTo>
                    <a:pt x="924" y="378"/>
                  </a:lnTo>
                  <a:lnTo>
                    <a:pt x="918" y="372"/>
                  </a:lnTo>
                  <a:lnTo>
                    <a:pt x="918" y="366"/>
                  </a:lnTo>
                  <a:lnTo>
                    <a:pt x="918" y="360"/>
                  </a:lnTo>
                  <a:lnTo>
                    <a:pt x="924" y="360"/>
                  </a:lnTo>
                  <a:lnTo>
                    <a:pt x="924" y="354"/>
                  </a:lnTo>
                  <a:lnTo>
                    <a:pt x="930" y="354"/>
                  </a:lnTo>
                  <a:lnTo>
                    <a:pt x="936" y="354"/>
                  </a:lnTo>
                  <a:lnTo>
                    <a:pt x="936" y="348"/>
                  </a:lnTo>
                  <a:lnTo>
                    <a:pt x="942" y="348"/>
                  </a:lnTo>
                  <a:lnTo>
                    <a:pt x="942" y="336"/>
                  </a:lnTo>
                  <a:lnTo>
                    <a:pt x="936" y="336"/>
                  </a:lnTo>
                  <a:lnTo>
                    <a:pt x="930" y="330"/>
                  </a:lnTo>
                  <a:lnTo>
                    <a:pt x="924" y="330"/>
                  </a:lnTo>
                  <a:lnTo>
                    <a:pt x="924" y="324"/>
                  </a:lnTo>
                  <a:lnTo>
                    <a:pt x="918" y="318"/>
                  </a:lnTo>
                  <a:lnTo>
                    <a:pt x="912" y="306"/>
                  </a:lnTo>
                  <a:lnTo>
                    <a:pt x="918" y="306"/>
                  </a:lnTo>
                  <a:lnTo>
                    <a:pt x="924" y="300"/>
                  </a:lnTo>
                  <a:lnTo>
                    <a:pt x="924" y="294"/>
                  </a:lnTo>
                  <a:lnTo>
                    <a:pt x="924" y="288"/>
                  </a:lnTo>
                  <a:lnTo>
                    <a:pt x="924" y="282"/>
                  </a:lnTo>
                  <a:lnTo>
                    <a:pt x="924" y="276"/>
                  </a:lnTo>
                  <a:lnTo>
                    <a:pt x="918" y="270"/>
                  </a:lnTo>
                  <a:lnTo>
                    <a:pt x="918" y="264"/>
                  </a:lnTo>
                  <a:lnTo>
                    <a:pt x="912" y="270"/>
                  </a:lnTo>
                  <a:lnTo>
                    <a:pt x="912" y="264"/>
                  </a:lnTo>
                  <a:lnTo>
                    <a:pt x="912" y="258"/>
                  </a:lnTo>
                  <a:lnTo>
                    <a:pt x="912" y="252"/>
                  </a:lnTo>
                  <a:lnTo>
                    <a:pt x="906" y="252"/>
                  </a:lnTo>
                  <a:lnTo>
                    <a:pt x="900" y="246"/>
                  </a:lnTo>
                  <a:lnTo>
                    <a:pt x="900" y="240"/>
                  </a:lnTo>
                  <a:lnTo>
                    <a:pt x="900" y="246"/>
                  </a:lnTo>
                  <a:lnTo>
                    <a:pt x="894" y="246"/>
                  </a:lnTo>
                  <a:lnTo>
                    <a:pt x="894" y="240"/>
                  </a:lnTo>
                  <a:lnTo>
                    <a:pt x="894" y="234"/>
                  </a:lnTo>
                  <a:lnTo>
                    <a:pt x="900" y="234"/>
                  </a:lnTo>
                  <a:lnTo>
                    <a:pt x="900" y="228"/>
                  </a:lnTo>
                  <a:lnTo>
                    <a:pt x="906" y="228"/>
                  </a:lnTo>
                  <a:lnTo>
                    <a:pt x="900" y="222"/>
                  </a:lnTo>
                  <a:lnTo>
                    <a:pt x="894" y="216"/>
                  </a:lnTo>
                  <a:lnTo>
                    <a:pt x="894" y="210"/>
                  </a:lnTo>
                  <a:lnTo>
                    <a:pt x="888" y="210"/>
                  </a:lnTo>
                  <a:lnTo>
                    <a:pt x="888" y="204"/>
                  </a:lnTo>
                  <a:lnTo>
                    <a:pt x="888" y="198"/>
                  </a:lnTo>
                  <a:lnTo>
                    <a:pt x="888" y="192"/>
                  </a:lnTo>
                  <a:lnTo>
                    <a:pt x="882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82" y="174"/>
                  </a:lnTo>
                  <a:lnTo>
                    <a:pt x="888" y="168"/>
                  </a:lnTo>
                  <a:lnTo>
                    <a:pt x="888" y="162"/>
                  </a:lnTo>
                  <a:lnTo>
                    <a:pt x="888" y="156"/>
                  </a:lnTo>
                  <a:lnTo>
                    <a:pt x="888" y="150"/>
                  </a:lnTo>
                  <a:lnTo>
                    <a:pt x="888" y="144"/>
                  </a:lnTo>
                  <a:lnTo>
                    <a:pt x="882" y="144"/>
                  </a:lnTo>
                  <a:lnTo>
                    <a:pt x="882" y="138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76" y="120"/>
                  </a:lnTo>
                  <a:lnTo>
                    <a:pt x="882" y="114"/>
                  </a:lnTo>
                  <a:lnTo>
                    <a:pt x="882" y="108"/>
                  </a:lnTo>
                  <a:lnTo>
                    <a:pt x="888" y="102"/>
                  </a:lnTo>
                  <a:lnTo>
                    <a:pt x="894" y="102"/>
                  </a:lnTo>
                  <a:lnTo>
                    <a:pt x="894" y="96"/>
                  </a:lnTo>
                  <a:lnTo>
                    <a:pt x="888" y="96"/>
                  </a:lnTo>
                  <a:lnTo>
                    <a:pt x="894" y="90"/>
                  </a:lnTo>
                  <a:lnTo>
                    <a:pt x="888" y="84"/>
                  </a:lnTo>
                  <a:lnTo>
                    <a:pt x="888" y="78"/>
                  </a:lnTo>
                  <a:lnTo>
                    <a:pt x="924" y="66"/>
                  </a:lnTo>
                  <a:lnTo>
                    <a:pt x="966" y="66"/>
                  </a:lnTo>
                  <a:lnTo>
                    <a:pt x="996" y="48"/>
                  </a:lnTo>
                  <a:lnTo>
                    <a:pt x="1056" y="12"/>
                  </a:lnTo>
                  <a:lnTo>
                    <a:pt x="1128" y="0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0" y="18"/>
                  </a:lnTo>
                  <a:lnTo>
                    <a:pt x="1176" y="24"/>
                  </a:lnTo>
                  <a:lnTo>
                    <a:pt x="1182" y="24"/>
                  </a:lnTo>
                  <a:lnTo>
                    <a:pt x="1188" y="30"/>
                  </a:lnTo>
                  <a:lnTo>
                    <a:pt x="1194" y="30"/>
                  </a:lnTo>
                  <a:lnTo>
                    <a:pt x="1194" y="36"/>
                  </a:lnTo>
                  <a:lnTo>
                    <a:pt x="1260" y="30"/>
                  </a:lnTo>
                  <a:lnTo>
                    <a:pt x="1272" y="30"/>
                  </a:lnTo>
                  <a:lnTo>
                    <a:pt x="1296" y="24"/>
                  </a:lnTo>
                  <a:lnTo>
                    <a:pt x="1302" y="30"/>
                  </a:lnTo>
                  <a:lnTo>
                    <a:pt x="1302" y="36"/>
                  </a:lnTo>
                  <a:lnTo>
                    <a:pt x="1308" y="36"/>
                  </a:lnTo>
                  <a:lnTo>
                    <a:pt x="1314" y="36"/>
                  </a:lnTo>
                  <a:lnTo>
                    <a:pt x="1320" y="36"/>
                  </a:lnTo>
                  <a:lnTo>
                    <a:pt x="1326" y="30"/>
                  </a:lnTo>
                  <a:lnTo>
                    <a:pt x="1332" y="30"/>
                  </a:lnTo>
                  <a:lnTo>
                    <a:pt x="1338" y="30"/>
                  </a:lnTo>
                  <a:lnTo>
                    <a:pt x="1344" y="30"/>
                  </a:lnTo>
                  <a:lnTo>
                    <a:pt x="1374" y="30"/>
                  </a:lnTo>
                  <a:lnTo>
                    <a:pt x="1386" y="30"/>
                  </a:lnTo>
                  <a:lnTo>
                    <a:pt x="1392" y="24"/>
                  </a:lnTo>
                  <a:lnTo>
                    <a:pt x="1398" y="12"/>
                  </a:lnTo>
                  <a:lnTo>
                    <a:pt x="1404" y="6"/>
                  </a:lnTo>
                  <a:lnTo>
                    <a:pt x="1410" y="6"/>
                  </a:lnTo>
                  <a:lnTo>
                    <a:pt x="1410" y="12"/>
                  </a:lnTo>
                  <a:lnTo>
                    <a:pt x="1416" y="18"/>
                  </a:lnTo>
                  <a:lnTo>
                    <a:pt x="1416" y="36"/>
                  </a:lnTo>
                  <a:lnTo>
                    <a:pt x="1434" y="54"/>
                  </a:lnTo>
                  <a:lnTo>
                    <a:pt x="1434" y="60"/>
                  </a:lnTo>
                  <a:lnTo>
                    <a:pt x="1434" y="66"/>
                  </a:lnTo>
                  <a:lnTo>
                    <a:pt x="1434" y="72"/>
                  </a:lnTo>
                  <a:lnTo>
                    <a:pt x="1428" y="72"/>
                  </a:lnTo>
                  <a:lnTo>
                    <a:pt x="1428" y="78"/>
                  </a:lnTo>
                  <a:lnTo>
                    <a:pt x="1434" y="78"/>
                  </a:lnTo>
                  <a:lnTo>
                    <a:pt x="1440" y="84"/>
                  </a:lnTo>
                  <a:lnTo>
                    <a:pt x="1440" y="90"/>
                  </a:lnTo>
                  <a:lnTo>
                    <a:pt x="1440" y="96"/>
                  </a:lnTo>
                  <a:lnTo>
                    <a:pt x="1446" y="96"/>
                  </a:lnTo>
                  <a:lnTo>
                    <a:pt x="1446" y="108"/>
                  </a:lnTo>
                  <a:lnTo>
                    <a:pt x="1452" y="108"/>
                  </a:lnTo>
                  <a:lnTo>
                    <a:pt x="1452" y="114"/>
                  </a:lnTo>
                  <a:lnTo>
                    <a:pt x="1458" y="114"/>
                  </a:lnTo>
                  <a:lnTo>
                    <a:pt x="1470" y="120"/>
                  </a:lnTo>
                  <a:lnTo>
                    <a:pt x="1476" y="120"/>
                  </a:lnTo>
                  <a:lnTo>
                    <a:pt x="1476" y="114"/>
                  </a:lnTo>
                  <a:lnTo>
                    <a:pt x="1488" y="120"/>
                  </a:lnTo>
                  <a:lnTo>
                    <a:pt x="1506" y="120"/>
                  </a:lnTo>
                  <a:lnTo>
                    <a:pt x="1512" y="120"/>
                  </a:lnTo>
                  <a:lnTo>
                    <a:pt x="1518" y="120"/>
                  </a:lnTo>
                  <a:lnTo>
                    <a:pt x="1524" y="126"/>
                  </a:lnTo>
                  <a:lnTo>
                    <a:pt x="1536" y="150"/>
                  </a:lnTo>
                  <a:lnTo>
                    <a:pt x="1548" y="162"/>
                  </a:lnTo>
                  <a:lnTo>
                    <a:pt x="1554" y="168"/>
                  </a:lnTo>
                  <a:lnTo>
                    <a:pt x="1584" y="228"/>
                  </a:lnTo>
                  <a:lnTo>
                    <a:pt x="1584" y="234"/>
                  </a:lnTo>
                  <a:lnTo>
                    <a:pt x="1578" y="312"/>
                  </a:lnTo>
                  <a:lnTo>
                    <a:pt x="1590" y="318"/>
                  </a:lnTo>
                  <a:lnTo>
                    <a:pt x="1608" y="330"/>
                  </a:lnTo>
                  <a:lnTo>
                    <a:pt x="1620" y="342"/>
                  </a:lnTo>
                  <a:lnTo>
                    <a:pt x="1626" y="342"/>
                  </a:lnTo>
                  <a:lnTo>
                    <a:pt x="1692" y="360"/>
                  </a:lnTo>
                  <a:lnTo>
                    <a:pt x="1710" y="408"/>
                  </a:lnTo>
                  <a:lnTo>
                    <a:pt x="1722" y="426"/>
                  </a:lnTo>
                  <a:lnTo>
                    <a:pt x="1716" y="468"/>
                  </a:lnTo>
                  <a:lnTo>
                    <a:pt x="1686" y="486"/>
                  </a:lnTo>
                  <a:lnTo>
                    <a:pt x="1686" y="492"/>
                  </a:lnTo>
                  <a:lnTo>
                    <a:pt x="1680" y="498"/>
                  </a:lnTo>
                  <a:lnTo>
                    <a:pt x="1650" y="558"/>
                  </a:lnTo>
                  <a:lnTo>
                    <a:pt x="1650" y="570"/>
                  </a:lnTo>
                  <a:lnTo>
                    <a:pt x="1644" y="570"/>
                  </a:lnTo>
                  <a:lnTo>
                    <a:pt x="1638" y="582"/>
                  </a:lnTo>
                  <a:lnTo>
                    <a:pt x="1638" y="624"/>
                  </a:lnTo>
                  <a:lnTo>
                    <a:pt x="1638" y="636"/>
                  </a:lnTo>
                  <a:lnTo>
                    <a:pt x="1638" y="642"/>
                  </a:lnTo>
                  <a:lnTo>
                    <a:pt x="1632" y="660"/>
                  </a:lnTo>
                  <a:lnTo>
                    <a:pt x="1608" y="678"/>
                  </a:lnTo>
                  <a:lnTo>
                    <a:pt x="1584" y="690"/>
                  </a:lnTo>
                  <a:lnTo>
                    <a:pt x="1584" y="696"/>
                  </a:lnTo>
                  <a:lnTo>
                    <a:pt x="1578" y="702"/>
                  </a:lnTo>
                  <a:lnTo>
                    <a:pt x="1584" y="702"/>
                  </a:lnTo>
                  <a:lnTo>
                    <a:pt x="1578" y="714"/>
                  </a:lnTo>
                  <a:lnTo>
                    <a:pt x="1572" y="714"/>
                  </a:lnTo>
                  <a:lnTo>
                    <a:pt x="1572" y="720"/>
                  </a:lnTo>
                  <a:lnTo>
                    <a:pt x="1566" y="720"/>
                  </a:lnTo>
                  <a:lnTo>
                    <a:pt x="1560" y="726"/>
                  </a:lnTo>
                  <a:lnTo>
                    <a:pt x="1560" y="732"/>
                  </a:lnTo>
                  <a:lnTo>
                    <a:pt x="1554" y="732"/>
                  </a:lnTo>
                  <a:lnTo>
                    <a:pt x="1554" y="738"/>
                  </a:lnTo>
                  <a:lnTo>
                    <a:pt x="1554" y="744"/>
                  </a:lnTo>
                  <a:lnTo>
                    <a:pt x="1548" y="744"/>
                  </a:lnTo>
                  <a:lnTo>
                    <a:pt x="1548" y="738"/>
                  </a:lnTo>
                  <a:lnTo>
                    <a:pt x="1542" y="738"/>
                  </a:lnTo>
                  <a:lnTo>
                    <a:pt x="1542" y="744"/>
                  </a:lnTo>
                  <a:lnTo>
                    <a:pt x="1542" y="750"/>
                  </a:lnTo>
                  <a:lnTo>
                    <a:pt x="1494" y="804"/>
                  </a:lnTo>
                  <a:lnTo>
                    <a:pt x="1446" y="876"/>
                  </a:lnTo>
                  <a:lnTo>
                    <a:pt x="1440" y="876"/>
                  </a:lnTo>
                  <a:lnTo>
                    <a:pt x="1434" y="876"/>
                  </a:lnTo>
                  <a:lnTo>
                    <a:pt x="1428" y="882"/>
                  </a:lnTo>
                  <a:lnTo>
                    <a:pt x="1422" y="882"/>
                  </a:lnTo>
                  <a:lnTo>
                    <a:pt x="1386" y="924"/>
                  </a:lnTo>
                  <a:lnTo>
                    <a:pt x="1362" y="954"/>
                  </a:lnTo>
                  <a:lnTo>
                    <a:pt x="1356" y="984"/>
                  </a:lnTo>
                  <a:lnTo>
                    <a:pt x="1362" y="1002"/>
                  </a:lnTo>
                  <a:lnTo>
                    <a:pt x="1368" y="1020"/>
                  </a:lnTo>
                  <a:lnTo>
                    <a:pt x="1386" y="1056"/>
                  </a:lnTo>
                  <a:lnTo>
                    <a:pt x="1404" y="1074"/>
                  </a:lnTo>
                  <a:lnTo>
                    <a:pt x="1416" y="1080"/>
                  </a:lnTo>
                  <a:lnTo>
                    <a:pt x="1416" y="1086"/>
                  </a:lnTo>
                  <a:lnTo>
                    <a:pt x="1422" y="1098"/>
                  </a:lnTo>
                  <a:lnTo>
                    <a:pt x="1422" y="1110"/>
                  </a:lnTo>
                  <a:lnTo>
                    <a:pt x="1428" y="1116"/>
                  </a:lnTo>
                  <a:lnTo>
                    <a:pt x="1434" y="1116"/>
                  </a:lnTo>
                  <a:lnTo>
                    <a:pt x="1434" y="1122"/>
                  </a:lnTo>
                  <a:lnTo>
                    <a:pt x="1434" y="1128"/>
                  </a:lnTo>
                  <a:lnTo>
                    <a:pt x="1440" y="1134"/>
                  </a:lnTo>
                  <a:lnTo>
                    <a:pt x="1446" y="1134"/>
                  </a:lnTo>
                  <a:lnTo>
                    <a:pt x="1458" y="1134"/>
                  </a:lnTo>
                  <a:lnTo>
                    <a:pt x="1458" y="1140"/>
                  </a:lnTo>
                  <a:lnTo>
                    <a:pt x="1464" y="1134"/>
                  </a:lnTo>
                  <a:lnTo>
                    <a:pt x="1470" y="1134"/>
                  </a:lnTo>
                  <a:lnTo>
                    <a:pt x="1464" y="1128"/>
                  </a:lnTo>
                  <a:lnTo>
                    <a:pt x="1464" y="1122"/>
                  </a:lnTo>
                  <a:lnTo>
                    <a:pt x="1470" y="1116"/>
                  </a:lnTo>
                  <a:lnTo>
                    <a:pt x="1470" y="1122"/>
                  </a:lnTo>
                  <a:lnTo>
                    <a:pt x="1476" y="1122"/>
                  </a:lnTo>
                  <a:lnTo>
                    <a:pt x="1476" y="1116"/>
                  </a:lnTo>
                  <a:lnTo>
                    <a:pt x="1482" y="1110"/>
                  </a:lnTo>
                  <a:lnTo>
                    <a:pt x="1476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82" y="1086"/>
                  </a:lnTo>
                  <a:lnTo>
                    <a:pt x="1482" y="1074"/>
                  </a:lnTo>
                  <a:lnTo>
                    <a:pt x="1488" y="1068"/>
                  </a:lnTo>
                  <a:lnTo>
                    <a:pt x="1488" y="1062"/>
                  </a:lnTo>
                  <a:lnTo>
                    <a:pt x="1494" y="1062"/>
                  </a:lnTo>
                  <a:lnTo>
                    <a:pt x="1500" y="1062"/>
                  </a:lnTo>
                  <a:lnTo>
                    <a:pt x="1506" y="1062"/>
                  </a:lnTo>
                  <a:lnTo>
                    <a:pt x="1506" y="1056"/>
                  </a:lnTo>
                  <a:lnTo>
                    <a:pt x="1506" y="1062"/>
                  </a:lnTo>
                  <a:lnTo>
                    <a:pt x="1518" y="1062"/>
                  </a:lnTo>
                  <a:lnTo>
                    <a:pt x="1524" y="1062"/>
                  </a:lnTo>
                  <a:lnTo>
                    <a:pt x="1530" y="1062"/>
                  </a:lnTo>
                  <a:lnTo>
                    <a:pt x="1536" y="1068"/>
                  </a:lnTo>
                  <a:lnTo>
                    <a:pt x="1536" y="1074"/>
                  </a:lnTo>
                  <a:lnTo>
                    <a:pt x="1542" y="1086"/>
                  </a:lnTo>
                  <a:lnTo>
                    <a:pt x="1548" y="1086"/>
                  </a:lnTo>
                  <a:lnTo>
                    <a:pt x="1554" y="1086"/>
                  </a:lnTo>
                  <a:lnTo>
                    <a:pt x="1566" y="1098"/>
                  </a:lnTo>
                  <a:lnTo>
                    <a:pt x="1572" y="1104"/>
                  </a:lnTo>
                  <a:lnTo>
                    <a:pt x="1566" y="1110"/>
                  </a:lnTo>
                  <a:lnTo>
                    <a:pt x="1572" y="1116"/>
                  </a:lnTo>
                  <a:lnTo>
                    <a:pt x="1578" y="1116"/>
                  </a:lnTo>
                  <a:lnTo>
                    <a:pt x="1578" y="1122"/>
                  </a:lnTo>
                  <a:lnTo>
                    <a:pt x="1584" y="1122"/>
                  </a:lnTo>
                  <a:lnTo>
                    <a:pt x="1584" y="1128"/>
                  </a:lnTo>
                  <a:lnTo>
                    <a:pt x="1584" y="1134"/>
                  </a:lnTo>
                  <a:lnTo>
                    <a:pt x="1590" y="1134"/>
                  </a:lnTo>
                  <a:lnTo>
                    <a:pt x="1596" y="1140"/>
                  </a:lnTo>
                  <a:lnTo>
                    <a:pt x="1602" y="1146"/>
                  </a:lnTo>
                  <a:lnTo>
                    <a:pt x="1608" y="1146"/>
                  </a:lnTo>
                  <a:lnTo>
                    <a:pt x="1614" y="1146"/>
                  </a:lnTo>
                  <a:lnTo>
                    <a:pt x="1614" y="1152"/>
                  </a:lnTo>
                  <a:lnTo>
                    <a:pt x="1620" y="1152"/>
                  </a:lnTo>
                  <a:lnTo>
                    <a:pt x="1626" y="1164"/>
                  </a:lnTo>
                  <a:lnTo>
                    <a:pt x="1632" y="1170"/>
                  </a:lnTo>
                  <a:lnTo>
                    <a:pt x="1638" y="1176"/>
                  </a:lnTo>
                  <a:lnTo>
                    <a:pt x="1638" y="1182"/>
                  </a:lnTo>
                  <a:lnTo>
                    <a:pt x="1644" y="1194"/>
                  </a:lnTo>
                  <a:lnTo>
                    <a:pt x="1644" y="1200"/>
                  </a:lnTo>
                  <a:lnTo>
                    <a:pt x="1638" y="1200"/>
                  </a:lnTo>
                  <a:lnTo>
                    <a:pt x="1638" y="1206"/>
                  </a:lnTo>
                  <a:lnTo>
                    <a:pt x="1638" y="1212"/>
                  </a:lnTo>
                  <a:lnTo>
                    <a:pt x="1638" y="1218"/>
                  </a:lnTo>
                  <a:lnTo>
                    <a:pt x="1632" y="1242"/>
                  </a:lnTo>
                  <a:lnTo>
                    <a:pt x="1632" y="1266"/>
                  </a:lnTo>
                  <a:lnTo>
                    <a:pt x="1638" y="1284"/>
                  </a:lnTo>
                  <a:lnTo>
                    <a:pt x="1638" y="1296"/>
                  </a:lnTo>
                  <a:lnTo>
                    <a:pt x="1632" y="1296"/>
                  </a:lnTo>
                  <a:lnTo>
                    <a:pt x="1632" y="1302"/>
                  </a:lnTo>
                  <a:lnTo>
                    <a:pt x="1638" y="1314"/>
                  </a:lnTo>
                  <a:lnTo>
                    <a:pt x="1638" y="1320"/>
                  </a:lnTo>
                  <a:lnTo>
                    <a:pt x="1632" y="1320"/>
                  </a:lnTo>
                  <a:lnTo>
                    <a:pt x="1632" y="1326"/>
                  </a:lnTo>
                  <a:lnTo>
                    <a:pt x="1644" y="1332"/>
                  </a:lnTo>
                  <a:lnTo>
                    <a:pt x="1644" y="1338"/>
                  </a:lnTo>
                  <a:lnTo>
                    <a:pt x="1650" y="1344"/>
                  </a:lnTo>
                  <a:lnTo>
                    <a:pt x="1668" y="1362"/>
                  </a:lnTo>
                  <a:lnTo>
                    <a:pt x="1668" y="1368"/>
                  </a:lnTo>
                  <a:lnTo>
                    <a:pt x="1674" y="1392"/>
                  </a:lnTo>
                  <a:lnTo>
                    <a:pt x="1686" y="140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2" name="Freeform 17">
              <a:extLst>
                <a:ext uri="{FF2B5EF4-FFF2-40B4-BE49-F238E27FC236}">
                  <a16:creationId xmlns:a16="http://schemas.microsoft.com/office/drawing/2014/main" id="{9F9DF7AF-2203-4CCB-AF1B-32CDAF87CC5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416927"/>
              <a:ext cx="816209" cy="574781"/>
            </a:xfrm>
            <a:custGeom>
              <a:avLst/>
              <a:gdLst>
                <a:gd name="T0" fmla="*/ 115 w 1536"/>
                <a:gd name="T1" fmla="*/ 89 h 1080"/>
                <a:gd name="T2" fmla="*/ 113 w 1536"/>
                <a:gd name="T3" fmla="*/ 92 h 1080"/>
                <a:gd name="T4" fmla="*/ 107 w 1536"/>
                <a:gd name="T5" fmla="*/ 93 h 1080"/>
                <a:gd name="T6" fmla="*/ 108 w 1536"/>
                <a:gd name="T7" fmla="*/ 90 h 1080"/>
                <a:gd name="T8" fmla="*/ 105 w 1536"/>
                <a:gd name="T9" fmla="*/ 87 h 1080"/>
                <a:gd name="T10" fmla="*/ 102 w 1536"/>
                <a:gd name="T11" fmla="*/ 85 h 1080"/>
                <a:gd name="T12" fmla="*/ 89 w 1536"/>
                <a:gd name="T13" fmla="*/ 80 h 1080"/>
                <a:gd name="T14" fmla="*/ 85 w 1536"/>
                <a:gd name="T15" fmla="*/ 82 h 1080"/>
                <a:gd name="T16" fmla="*/ 82 w 1536"/>
                <a:gd name="T17" fmla="*/ 80 h 1080"/>
                <a:gd name="T18" fmla="*/ 80 w 1536"/>
                <a:gd name="T19" fmla="*/ 75 h 1080"/>
                <a:gd name="T20" fmla="*/ 75 w 1536"/>
                <a:gd name="T21" fmla="*/ 72 h 1080"/>
                <a:gd name="T22" fmla="*/ 61 w 1536"/>
                <a:gd name="T23" fmla="*/ 70 h 1080"/>
                <a:gd name="T24" fmla="*/ 62 w 1536"/>
                <a:gd name="T25" fmla="*/ 72 h 1080"/>
                <a:gd name="T26" fmla="*/ 58 w 1536"/>
                <a:gd name="T27" fmla="*/ 75 h 1080"/>
                <a:gd name="T28" fmla="*/ 49 w 1536"/>
                <a:gd name="T29" fmla="*/ 76 h 1080"/>
                <a:gd name="T30" fmla="*/ 41 w 1536"/>
                <a:gd name="T31" fmla="*/ 79 h 1080"/>
                <a:gd name="T32" fmla="*/ 41 w 1536"/>
                <a:gd name="T33" fmla="*/ 77 h 1080"/>
                <a:gd name="T34" fmla="*/ 39 w 1536"/>
                <a:gd name="T35" fmla="*/ 74 h 1080"/>
                <a:gd name="T36" fmla="*/ 28 w 1536"/>
                <a:gd name="T37" fmla="*/ 78 h 1080"/>
                <a:gd name="T38" fmla="*/ 18 w 1536"/>
                <a:gd name="T39" fmla="*/ 85 h 1080"/>
                <a:gd name="T40" fmla="*/ 18 w 1536"/>
                <a:gd name="T41" fmla="*/ 77 h 1080"/>
                <a:gd name="T42" fmla="*/ 19 w 1536"/>
                <a:gd name="T43" fmla="*/ 69 h 1080"/>
                <a:gd name="T44" fmla="*/ 16 w 1536"/>
                <a:gd name="T45" fmla="*/ 69 h 1080"/>
                <a:gd name="T46" fmla="*/ 11 w 1536"/>
                <a:gd name="T47" fmla="*/ 69 h 1080"/>
                <a:gd name="T48" fmla="*/ 5 w 1536"/>
                <a:gd name="T49" fmla="*/ 68 h 1080"/>
                <a:gd name="T50" fmla="*/ 1 w 1536"/>
                <a:gd name="T51" fmla="*/ 63 h 1080"/>
                <a:gd name="T52" fmla="*/ 3 w 1536"/>
                <a:gd name="T53" fmla="*/ 59 h 1080"/>
                <a:gd name="T54" fmla="*/ 9 w 1536"/>
                <a:gd name="T55" fmla="*/ 54 h 1080"/>
                <a:gd name="T56" fmla="*/ 15 w 1536"/>
                <a:gd name="T57" fmla="*/ 47 h 1080"/>
                <a:gd name="T58" fmla="*/ 17 w 1536"/>
                <a:gd name="T59" fmla="*/ 40 h 1080"/>
                <a:gd name="T60" fmla="*/ 12 w 1536"/>
                <a:gd name="T61" fmla="*/ 33 h 1080"/>
                <a:gd name="T62" fmla="*/ 10 w 1536"/>
                <a:gd name="T63" fmla="*/ 21 h 1080"/>
                <a:gd name="T64" fmla="*/ 6 w 1536"/>
                <a:gd name="T65" fmla="*/ 14 h 1080"/>
                <a:gd name="T66" fmla="*/ 7 w 1536"/>
                <a:gd name="T67" fmla="*/ 9 h 1080"/>
                <a:gd name="T68" fmla="*/ 12 w 1536"/>
                <a:gd name="T69" fmla="*/ 7 h 1080"/>
                <a:gd name="T70" fmla="*/ 16 w 1536"/>
                <a:gd name="T71" fmla="*/ 8 h 1080"/>
                <a:gd name="T72" fmla="*/ 19 w 1536"/>
                <a:gd name="T73" fmla="*/ 8 h 1080"/>
                <a:gd name="T74" fmla="*/ 22 w 1536"/>
                <a:gd name="T75" fmla="*/ 9 h 1080"/>
                <a:gd name="T76" fmla="*/ 29 w 1536"/>
                <a:gd name="T77" fmla="*/ 12 h 1080"/>
                <a:gd name="T78" fmla="*/ 33 w 1536"/>
                <a:gd name="T79" fmla="*/ 13 h 1080"/>
                <a:gd name="T80" fmla="*/ 38 w 1536"/>
                <a:gd name="T81" fmla="*/ 15 h 1080"/>
                <a:gd name="T82" fmla="*/ 42 w 1536"/>
                <a:gd name="T83" fmla="*/ 17 h 1080"/>
                <a:gd name="T84" fmla="*/ 47 w 1536"/>
                <a:gd name="T85" fmla="*/ 19 h 1080"/>
                <a:gd name="T86" fmla="*/ 51 w 1536"/>
                <a:gd name="T87" fmla="*/ 21 h 1080"/>
                <a:gd name="T88" fmla="*/ 50 w 1536"/>
                <a:gd name="T89" fmla="*/ 15 h 1080"/>
                <a:gd name="T90" fmla="*/ 56 w 1536"/>
                <a:gd name="T91" fmla="*/ 0 h 1080"/>
                <a:gd name="T92" fmla="*/ 74 w 1536"/>
                <a:gd name="T93" fmla="*/ 5 h 1080"/>
                <a:gd name="T94" fmla="*/ 87 w 1536"/>
                <a:gd name="T95" fmla="*/ 6 h 1080"/>
                <a:gd name="T96" fmla="*/ 92 w 1536"/>
                <a:gd name="T97" fmla="*/ 11 h 1080"/>
                <a:gd name="T98" fmla="*/ 95 w 1536"/>
                <a:gd name="T99" fmla="*/ 15 h 1080"/>
                <a:gd name="T100" fmla="*/ 93 w 1536"/>
                <a:gd name="T101" fmla="*/ 20 h 1080"/>
                <a:gd name="T102" fmla="*/ 108 w 1536"/>
                <a:gd name="T103" fmla="*/ 18 h 1080"/>
                <a:gd name="T104" fmla="*/ 120 w 1536"/>
                <a:gd name="T105" fmla="*/ 21 h 1080"/>
                <a:gd name="T106" fmla="*/ 127 w 1536"/>
                <a:gd name="T107" fmla="*/ 29 h 1080"/>
                <a:gd name="T108" fmla="*/ 130 w 1536"/>
                <a:gd name="T109" fmla="*/ 30 h 1080"/>
                <a:gd name="T110" fmla="*/ 130 w 1536"/>
                <a:gd name="T111" fmla="*/ 49 h 1080"/>
                <a:gd name="T112" fmla="*/ 120 w 1536"/>
                <a:gd name="T113" fmla="*/ 69 h 1080"/>
                <a:gd name="T114" fmla="*/ 119 w 1536"/>
                <a:gd name="T115" fmla="*/ 74 h 1080"/>
                <a:gd name="T116" fmla="*/ 118 w 1536"/>
                <a:gd name="T117" fmla="*/ 80 h 108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536"/>
                <a:gd name="T178" fmla="*/ 0 h 1080"/>
                <a:gd name="T179" fmla="*/ 1536 w 1536"/>
                <a:gd name="T180" fmla="*/ 1080 h 108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536" h="1080">
                  <a:moveTo>
                    <a:pt x="1350" y="1020"/>
                  </a:moveTo>
                  <a:lnTo>
                    <a:pt x="1350" y="1026"/>
                  </a:lnTo>
                  <a:lnTo>
                    <a:pt x="1344" y="1026"/>
                  </a:lnTo>
                  <a:lnTo>
                    <a:pt x="1338" y="1032"/>
                  </a:lnTo>
                  <a:lnTo>
                    <a:pt x="1332" y="1026"/>
                  </a:lnTo>
                  <a:lnTo>
                    <a:pt x="1326" y="1026"/>
                  </a:lnTo>
                  <a:lnTo>
                    <a:pt x="1320" y="1020"/>
                  </a:lnTo>
                  <a:lnTo>
                    <a:pt x="1314" y="1026"/>
                  </a:lnTo>
                  <a:lnTo>
                    <a:pt x="1314" y="1032"/>
                  </a:lnTo>
                  <a:lnTo>
                    <a:pt x="1308" y="1038"/>
                  </a:lnTo>
                  <a:lnTo>
                    <a:pt x="1308" y="1044"/>
                  </a:lnTo>
                  <a:lnTo>
                    <a:pt x="1308" y="1050"/>
                  </a:lnTo>
                  <a:lnTo>
                    <a:pt x="1308" y="1056"/>
                  </a:lnTo>
                  <a:lnTo>
                    <a:pt x="1308" y="1062"/>
                  </a:lnTo>
                  <a:lnTo>
                    <a:pt x="1296" y="1068"/>
                  </a:lnTo>
                  <a:lnTo>
                    <a:pt x="1284" y="1074"/>
                  </a:lnTo>
                  <a:lnTo>
                    <a:pt x="1272" y="1080"/>
                  </a:lnTo>
                  <a:lnTo>
                    <a:pt x="1260" y="1080"/>
                  </a:lnTo>
                  <a:lnTo>
                    <a:pt x="1254" y="1074"/>
                  </a:lnTo>
                  <a:lnTo>
                    <a:pt x="1236" y="1074"/>
                  </a:lnTo>
                  <a:lnTo>
                    <a:pt x="1230" y="1074"/>
                  </a:lnTo>
                  <a:lnTo>
                    <a:pt x="1236" y="1074"/>
                  </a:lnTo>
                  <a:lnTo>
                    <a:pt x="1236" y="1068"/>
                  </a:lnTo>
                  <a:lnTo>
                    <a:pt x="1236" y="1062"/>
                  </a:lnTo>
                  <a:lnTo>
                    <a:pt x="1236" y="1056"/>
                  </a:lnTo>
                  <a:lnTo>
                    <a:pt x="1242" y="1050"/>
                  </a:lnTo>
                  <a:lnTo>
                    <a:pt x="1242" y="1044"/>
                  </a:lnTo>
                  <a:lnTo>
                    <a:pt x="1242" y="1038"/>
                  </a:lnTo>
                  <a:lnTo>
                    <a:pt x="1248" y="1032"/>
                  </a:lnTo>
                  <a:lnTo>
                    <a:pt x="1236" y="1026"/>
                  </a:lnTo>
                  <a:lnTo>
                    <a:pt x="1218" y="1020"/>
                  </a:lnTo>
                  <a:lnTo>
                    <a:pt x="1224" y="1014"/>
                  </a:lnTo>
                  <a:lnTo>
                    <a:pt x="1218" y="1008"/>
                  </a:lnTo>
                  <a:lnTo>
                    <a:pt x="1218" y="1002"/>
                  </a:lnTo>
                  <a:lnTo>
                    <a:pt x="1212" y="1008"/>
                  </a:lnTo>
                  <a:lnTo>
                    <a:pt x="1206" y="1002"/>
                  </a:lnTo>
                  <a:lnTo>
                    <a:pt x="1212" y="1002"/>
                  </a:lnTo>
                  <a:lnTo>
                    <a:pt x="1212" y="996"/>
                  </a:lnTo>
                  <a:lnTo>
                    <a:pt x="1200" y="990"/>
                  </a:lnTo>
                  <a:lnTo>
                    <a:pt x="1200" y="984"/>
                  </a:lnTo>
                  <a:lnTo>
                    <a:pt x="1188" y="984"/>
                  </a:lnTo>
                  <a:lnTo>
                    <a:pt x="1176" y="978"/>
                  </a:lnTo>
                  <a:lnTo>
                    <a:pt x="1164" y="960"/>
                  </a:lnTo>
                  <a:lnTo>
                    <a:pt x="1152" y="936"/>
                  </a:lnTo>
                  <a:lnTo>
                    <a:pt x="1146" y="936"/>
                  </a:lnTo>
                  <a:lnTo>
                    <a:pt x="1128" y="900"/>
                  </a:lnTo>
                  <a:lnTo>
                    <a:pt x="1038" y="912"/>
                  </a:lnTo>
                  <a:lnTo>
                    <a:pt x="1038" y="918"/>
                  </a:lnTo>
                  <a:lnTo>
                    <a:pt x="1032" y="924"/>
                  </a:lnTo>
                  <a:lnTo>
                    <a:pt x="1026" y="918"/>
                  </a:lnTo>
                  <a:lnTo>
                    <a:pt x="1020" y="924"/>
                  </a:lnTo>
                  <a:lnTo>
                    <a:pt x="1008" y="936"/>
                  </a:lnTo>
                  <a:lnTo>
                    <a:pt x="990" y="936"/>
                  </a:lnTo>
                  <a:lnTo>
                    <a:pt x="990" y="942"/>
                  </a:lnTo>
                  <a:lnTo>
                    <a:pt x="996" y="942"/>
                  </a:lnTo>
                  <a:lnTo>
                    <a:pt x="984" y="948"/>
                  </a:lnTo>
                  <a:lnTo>
                    <a:pt x="972" y="948"/>
                  </a:lnTo>
                  <a:lnTo>
                    <a:pt x="960" y="948"/>
                  </a:lnTo>
                  <a:lnTo>
                    <a:pt x="948" y="942"/>
                  </a:lnTo>
                  <a:lnTo>
                    <a:pt x="948" y="936"/>
                  </a:lnTo>
                  <a:lnTo>
                    <a:pt x="942" y="936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30" y="924"/>
                  </a:lnTo>
                  <a:lnTo>
                    <a:pt x="936" y="918"/>
                  </a:lnTo>
                  <a:lnTo>
                    <a:pt x="918" y="918"/>
                  </a:lnTo>
                  <a:lnTo>
                    <a:pt x="918" y="900"/>
                  </a:lnTo>
                  <a:lnTo>
                    <a:pt x="924" y="900"/>
                  </a:lnTo>
                  <a:lnTo>
                    <a:pt x="924" y="894"/>
                  </a:lnTo>
                  <a:lnTo>
                    <a:pt x="924" y="870"/>
                  </a:lnTo>
                  <a:lnTo>
                    <a:pt x="924" y="864"/>
                  </a:lnTo>
                  <a:lnTo>
                    <a:pt x="918" y="858"/>
                  </a:lnTo>
                  <a:lnTo>
                    <a:pt x="918" y="852"/>
                  </a:lnTo>
                  <a:lnTo>
                    <a:pt x="906" y="840"/>
                  </a:lnTo>
                  <a:lnTo>
                    <a:pt x="894" y="834"/>
                  </a:lnTo>
                  <a:lnTo>
                    <a:pt x="876" y="822"/>
                  </a:lnTo>
                  <a:lnTo>
                    <a:pt x="870" y="828"/>
                  </a:lnTo>
                  <a:lnTo>
                    <a:pt x="858" y="816"/>
                  </a:lnTo>
                  <a:lnTo>
                    <a:pt x="810" y="798"/>
                  </a:lnTo>
                  <a:lnTo>
                    <a:pt x="774" y="792"/>
                  </a:lnTo>
                  <a:lnTo>
                    <a:pt x="732" y="798"/>
                  </a:lnTo>
                  <a:lnTo>
                    <a:pt x="726" y="804"/>
                  </a:lnTo>
                  <a:lnTo>
                    <a:pt x="714" y="810"/>
                  </a:lnTo>
                  <a:lnTo>
                    <a:pt x="702" y="810"/>
                  </a:lnTo>
                  <a:lnTo>
                    <a:pt x="690" y="810"/>
                  </a:lnTo>
                  <a:lnTo>
                    <a:pt x="696" y="816"/>
                  </a:lnTo>
                  <a:lnTo>
                    <a:pt x="696" y="822"/>
                  </a:lnTo>
                  <a:lnTo>
                    <a:pt x="702" y="822"/>
                  </a:lnTo>
                  <a:lnTo>
                    <a:pt x="708" y="822"/>
                  </a:lnTo>
                  <a:lnTo>
                    <a:pt x="708" y="828"/>
                  </a:lnTo>
                  <a:lnTo>
                    <a:pt x="708" y="834"/>
                  </a:lnTo>
                  <a:lnTo>
                    <a:pt x="714" y="834"/>
                  </a:lnTo>
                  <a:lnTo>
                    <a:pt x="708" y="846"/>
                  </a:lnTo>
                  <a:lnTo>
                    <a:pt x="708" y="852"/>
                  </a:lnTo>
                  <a:lnTo>
                    <a:pt x="702" y="852"/>
                  </a:lnTo>
                  <a:lnTo>
                    <a:pt x="696" y="858"/>
                  </a:lnTo>
                  <a:lnTo>
                    <a:pt x="690" y="864"/>
                  </a:lnTo>
                  <a:lnTo>
                    <a:pt x="666" y="870"/>
                  </a:lnTo>
                  <a:lnTo>
                    <a:pt x="660" y="876"/>
                  </a:lnTo>
                  <a:lnTo>
                    <a:pt x="642" y="876"/>
                  </a:lnTo>
                  <a:lnTo>
                    <a:pt x="606" y="882"/>
                  </a:lnTo>
                  <a:lnTo>
                    <a:pt x="588" y="882"/>
                  </a:lnTo>
                  <a:lnTo>
                    <a:pt x="582" y="876"/>
                  </a:lnTo>
                  <a:lnTo>
                    <a:pt x="576" y="876"/>
                  </a:lnTo>
                  <a:lnTo>
                    <a:pt x="564" y="876"/>
                  </a:lnTo>
                  <a:lnTo>
                    <a:pt x="552" y="882"/>
                  </a:lnTo>
                  <a:lnTo>
                    <a:pt x="540" y="894"/>
                  </a:lnTo>
                  <a:lnTo>
                    <a:pt x="534" y="906"/>
                  </a:lnTo>
                  <a:lnTo>
                    <a:pt x="528" y="912"/>
                  </a:lnTo>
                  <a:lnTo>
                    <a:pt x="516" y="924"/>
                  </a:lnTo>
                  <a:lnTo>
                    <a:pt x="486" y="930"/>
                  </a:lnTo>
                  <a:lnTo>
                    <a:pt x="474" y="912"/>
                  </a:lnTo>
                  <a:lnTo>
                    <a:pt x="474" y="906"/>
                  </a:lnTo>
                  <a:lnTo>
                    <a:pt x="468" y="906"/>
                  </a:lnTo>
                  <a:lnTo>
                    <a:pt x="468" y="900"/>
                  </a:lnTo>
                  <a:lnTo>
                    <a:pt x="462" y="894"/>
                  </a:lnTo>
                  <a:lnTo>
                    <a:pt x="456" y="894"/>
                  </a:lnTo>
                  <a:lnTo>
                    <a:pt x="462" y="888"/>
                  </a:lnTo>
                  <a:lnTo>
                    <a:pt x="468" y="888"/>
                  </a:lnTo>
                  <a:lnTo>
                    <a:pt x="462" y="882"/>
                  </a:lnTo>
                  <a:lnTo>
                    <a:pt x="462" y="876"/>
                  </a:lnTo>
                  <a:lnTo>
                    <a:pt x="456" y="870"/>
                  </a:lnTo>
                  <a:lnTo>
                    <a:pt x="456" y="864"/>
                  </a:lnTo>
                  <a:lnTo>
                    <a:pt x="450" y="858"/>
                  </a:lnTo>
                  <a:lnTo>
                    <a:pt x="444" y="858"/>
                  </a:lnTo>
                  <a:lnTo>
                    <a:pt x="444" y="852"/>
                  </a:lnTo>
                  <a:lnTo>
                    <a:pt x="438" y="852"/>
                  </a:lnTo>
                  <a:lnTo>
                    <a:pt x="438" y="858"/>
                  </a:lnTo>
                  <a:lnTo>
                    <a:pt x="402" y="870"/>
                  </a:lnTo>
                  <a:lnTo>
                    <a:pt x="390" y="882"/>
                  </a:lnTo>
                  <a:lnTo>
                    <a:pt x="384" y="900"/>
                  </a:lnTo>
                  <a:lnTo>
                    <a:pt x="342" y="900"/>
                  </a:lnTo>
                  <a:lnTo>
                    <a:pt x="324" y="900"/>
                  </a:lnTo>
                  <a:lnTo>
                    <a:pt x="294" y="906"/>
                  </a:lnTo>
                  <a:lnTo>
                    <a:pt x="282" y="948"/>
                  </a:lnTo>
                  <a:lnTo>
                    <a:pt x="282" y="978"/>
                  </a:lnTo>
                  <a:lnTo>
                    <a:pt x="270" y="1008"/>
                  </a:lnTo>
                  <a:lnTo>
                    <a:pt x="240" y="1014"/>
                  </a:lnTo>
                  <a:lnTo>
                    <a:pt x="216" y="996"/>
                  </a:lnTo>
                  <a:lnTo>
                    <a:pt x="204" y="984"/>
                  </a:lnTo>
                  <a:lnTo>
                    <a:pt x="192" y="966"/>
                  </a:lnTo>
                  <a:lnTo>
                    <a:pt x="186" y="948"/>
                  </a:lnTo>
                  <a:lnTo>
                    <a:pt x="174" y="948"/>
                  </a:lnTo>
                  <a:lnTo>
                    <a:pt x="174" y="936"/>
                  </a:lnTo>
                  <a:lnTo>
                    <a:pt x="186" y="924"/>
                  </a:lnTo>
                  <a:lnTo>
                    <a:pt x="198" y="906"/>
                  </a:lnTo>
                  <a:lnTo>
                    <a:pt x="204" y="888"/>
                  </a:lnTo>
                  <a:lnTo>
                    <a:pt x="222" y="870"/>
                  </a:lnTo>
                  <a:lnTo>
                    <a:pt x="234" y="858"/>
                  </a:lnTo>
                  <a:lnTo>
                    <a:pt x="234" y="852"/>
                  </a:lnTo>
                  <a:lnTo>
                    <a:pt x="222" y="852"/>
                  </a:lnTo>
                  <a:lnTo>
                    <a:pt x="228" y="810"/>
                  </a:lnTo>
                  <a:lnTo>
                    <a:pt x="222" y="798"/>
                  </a:lnTo>
                  <a:lnTo>
                    <a:pt x="216" y="798"/>
                  </a:lnTo>
                  <a:lnTo>
                    <a:pt x="216" y="792"/>
                  </a:lnTo>
                  <a:lnTo>
                    <a:pt x="210" y="792"/>
                  </a:lnTo>
                  <a:lnTo>
                    <a:pt x="204" y="798"/>
                  </a:lnTo>
                  <a:lnTo>
                    <a:pt x="204" y="792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0" y="786"/>
                  </a:lnTo>
                  <a:lnTo>
                    <a:pt x="174" y="792"/>
                  </a:lnTo>
                  <a:lnTo>
                    <a:pt x="162" y="792"/>
                  </a:lnTo>
                  <a:lnTo>
                    <a:pt x="156" y="792"/>
                  </a:lnTo>
                  <a:lnTo>
                    <a:pt x="156" y="798"/>
                  </a:lnTo>
                  <a:lnTo>
                    <a:pt x="138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6" y="804"/>
                  </a:lnTo>
                  <a:lnTo>
                    <a:pt x="102" y="810"/>
                  </a:lnTo>
                  <a:lnTo>
                    <a:pt x="90" y="810"/>
                  </a:lnTo>
                  <a:lnTo>
                    <a:pt x="72" y="798"/>
                  </a:lnTo>
                  <a:lnTo>
                    <a:pt x="66" y="780"/>
                  </a:lnTo>
                  <a:lnTo>
                    <a:pt x="60" y="780"/>
                  </a:lnTo>
                  <a:lnTo>
                    <a:pt x="60" y="768"/>
                  </a:lnTo>
                  <a:lnTo>
                    <a:pt x="54" y="768"/>
                  </a:lnTo>
                  <a:lnTo>
                    <a:pt x="24" y="756"/>
                  </a:lnTo>
                  <a:lnTo>
                    <a:pt x="18" y="744"/>
                  </a:lnTo>
                  <a:lnTo>
                    <a:pt x="12" y="738"/>
                  </a:lnTo>
                  <a:lnTo>
                    <a:pt x="18" y="732"/>
                  </a:lnTo>
                  <a:lnTo>
                    <a:pt x="12" y="726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8" y="696"/>
                  </a:lnTo>
                  <a:lnTo>
                    <a:pt x="24" y="708"/>
                  </a:lnTo>
                  <a:lnTo>
                    <a:pt x="36" y="702"/>
                  </a:lnTo>
                  <a:lnTo>
                    <a:pt x="36" y="678"/>
                  </a:lnTo>
                  <a:lnTo>
                    <a:pt x="36" y="660"/>
                  </a:lnTo>
                  <a:lnTo>
                    <a:pt x="42" y="654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72" y="624"/>
                  </a:lnTo>
                  <a:lnTo>
                    <a:pt x="90" y="618"/>
                  </a:lnTo>
                  <a:lnTo>
                    <a:pt x="102" y="618"/>
                  </a:lnTo>
                  <a:lnTo>
                    <a:pt x="114" y="612"/>
                  </a:lnTo>
                  <a:lnTo>
                    <a:pt x="138" y="606"/>
                  </a:lnTo>
                  <a:lnTo>
                    <a:pt x="144" y="606"/>
                  </a:lnTo>
                  <a:lnTo>
                    <a:pt x="150" y="594"/>
                  </a:lnTo>
                  <a:lnTo>
                    <a:pt x="156" y="576"/>
                  </a:lnTo>
                  <a:lnTo>
                    <a:pt x="168" y="552"/>
                  </a:lnTo>
                  <a:lnTo>
                    <a:pt x="168" y="540"/>
                  </a:lnTo>
                  <a:lnTo>
                    <a:pt x="180" y="522"/>
                  </a:lnTo>
                  <a:lnTo>
                    <a:pt x="186" y="498"/>
                  </a:lnTo>
                  <a:lnTo>
                    <a:pt x="198" y="480"/>
                  </a:lnTo>
                  <a:lnTo>
                    <a:pt x="204" y="486"/>
                  </a:lnTo>
                  <a:lnTo>
                    <a:pt x="210" y="480"/>
                  </a:lnTo>
                  <a:lnTo>
                    <a:pt x="204" y="474"/>
                  </a:lnTo>
                  <a:lnTo>
                    <a:pt x="198" y="462"/>
                  </a:lnTo>
                  <a:lnTo>
                    <a:pt x="192" y="456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50"/>
                  </a:lnTo>
                  <a:lnTo>
                    <a:pt x="132" y="426"/>
                  </a:lnTo>
                  <a:lnTo>
                    <a:pt x="132" y="396"/>
                  </a:lnTo>
                  <a:lnTo>
                    <a:pt x="132" y="378"/>
                  </a:lnTo>
                  <a:lnTo>
                    <a:pt x="126" y="348"/>
                  </a:lnTo>
                  <a:lnTo>
                    <a:pt x="132" y="312"/>
                  </a:lnTo>
                  <a:lnTo>
                    <a:pt x="126" y="288"/>
                  </a:lnTo>
                  <a:lnTo>
                    <a:pt x="138" y="282"/>
                  </a:lnTo>
                  <a:lnTo>
                    <a:pt x="126" y="264"/>
                  </a:lnTo>
                  <a:lnTo>
                    <a:pt x="126" y="258"/>
                  </a:lnTo>
                  <a:lnTo>
                    <a:pt x="120" y="246"/>
                  </a:lnTo>
                  <a:lnTo>
                    <a:pt x="126" y="234"/>
                  </a:lnTo>
                  <a:lnTo>
                    <a:pt x="114" y="228"/>
                  </a:lnTo>
                  <a:lnTo>
                    <a:pt x="114" y="222"/>
                  </a:lnTo>
                  <a:lnTo>
                    <a:pt x="96" y="204"/>
                  </a:lnTo>
                  <a:lnTo>
                    <a:pt x="84" y="180"/>
                  </a:lnTo>
                  <a:lnTo>
                    <a:pt x="78" y="168"/>
                  </a:lnTo>
                  <a:lnTo>
                    <a:pt x="72" y="162"/>
                  </a:lnTo>
                  <a:lnTo>
                    <a:pt x="66" y="144"/>
                  </a:lnTo>
                  <a:lnTo>
                    <a:pt x="60" y="138"/>
                  </a:lnTo>
                  <a:lnTo>
                    <a:pt x="66" y="126"/>
                  </a:lnTo>
                  <a:lnTo>
                    <a:pt x="66" y="114"/>
                  </a:lnTo>
                  <a:lnTo>
                    <a:pt x="72" y="114"/>
                  </a:lnTo>
                  <a:lnTo>
                    <a:pt x="72" y="108"/>
                  </a:lnTo>
                  <a:lnTo>
                    <a:pt x="78" y="102"/>
                  </a:lnTo>
                  <a:lnTo>
                    <a:pt x="78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120" y="78"/>
                  </a:lnTo>
                  <a:lnTo>
                    <a:pt x="144" y="84"/>
                  </a:lnTo>
                  <a:lnTo>
                    <a:pt x="150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74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92" y="102"/>
                  </a:lnTo>
                  <a:lnTo>
                    <a:pt x="198" y="96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16" y="96"/>
                  </a:lnTo>
                  <a:lnTo>
                    <a:pt x="222" y="96"/>
                  </a:lnTo>
                  <a:lnTo>
                    <a:pt x="228" y="96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94" y="114"/>
                  </a:lnTo>
                  <a:lnTo>
                    <a:pt x="312" y="120"/>
                  </a:lnTo>
                  <a:lnTo>
                    <a:pt x="318" y="126"/>
                  </a:lnTo>
                  <a:lnTo>
                    <a:pt x="330" y="132"/>
                  </a:lnTo>
                  <a:lnTo>
                    <a:pt x="342" y="132"/>
                  </a:lnTo>
                  <a:lnTo>
                    <a:pt x="348" y="132"/>
                  </a:lnTo>
                  <a:lnTo>
                    <a:pt x="354" y="138"/>
                  </a:lnTo>
                  <a:lnTo>
                    <a:pt x="366" y="138"/>
                  </a:lnTo>
                  <a:lnTo>
                    <a:pt x="372" y="144"/>
                  </a:lnTo>
                  <a:lnTo>
                    <a:pt x="378" y="150"/>
                  </a:lnTo>
                  <a:lnTo>
                    <a:pt x="384" y="150"/>
                  </a:lnTo>
                  <a:lnTo>
                    <a:pt x="390" y="150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14" y="156"/>
                  </a:lnTo>
                  <a:lnTo>
                    <a:pt x="420" y="156"/>
                  </a:lnTo>
                  <a:lnTo>
                    <a:pt x="426" y="162"/>
                  </a:lnTo>
                  <a:lnTo>
                    <a:pt x="438" y="168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62" y="174"/>
                  </a:lnTo>
                  <a:lnTo>
                    <a:pt x="468" y="174"/>
                  </a:lnTo>
                  <a:lnTo>
                    <a:pt x="474" y="174"/>
                  </a:lnTo>
                  <a:lnTo>
                    <a:pt x="474" y="180"/>
                  </a:lnTo>
                  <a:lnTo>
                    <a:pt x="480" y="192"/>
                  </a:lnTo>
                  <a:lnTo>
                    <a:pt x="498" y="198"/>
                  </a:lnTo>
                  <a:lnTo>
                    <a:pt x="510" y="210"/>
                  </a:lnTo>
                  <a:lnTo>
                    <a:pt x="516" y="210"/>
                  </a:lnTo>
                  <a:lnTo>
                    <a:pt x="522" y="210"/>
                  </a:lnTo>
                  <a:lnTo>
                    <a:pt x="534" y="216"/>
                  </a:lnTo>
                  <a:lnTo>
                    <a:pt x="540" y="216"/>
                  </a:lnTo>
                  <a:lnTo>
                    <a:pt x="546" y="222"/>
                  </a:lnTo>
                  <a:lnTo>
                    <a:pt x="552" y="222"/>
                  </a:lnTo>
                  <a:lnTo>
                    <a:pt x="558" y="228"/>
                  </a:lnTo>
                  <a:lnTo>
                    <a:pt x="564" y="228"/>
                  </a:lnTo>
                  <a:lnTo>
                    <a:pt x="570" y="234"/>
                  </a:lnTo>
                  <a:lnTo>
                    <a:pt x="576" y="240"/>
                  </a:lnTo>
                  <a:lnTo>
                    <a:pt x="582" y="240"/>
                  </a:lnTo>
                  <a:lnTo>
                    <a:pt x="588" y="240"/>
                  </a:lnTo>
                  <a:lnTo>
                    <a:pt x="594" y="240"/>
                  </a:lnTo>
                  <a:lnTo>
                    <a:pt x="600" y="228"/>
                  </a:lnTo>
                  <a:lnTo>
                    <a:pt x="588" y="216"/>
                  </a:lnTo>
                  <a:lnTo>
                    <a:pt x="588" y="198"/>
                  </a:lnTo>
                  <a:lnTo>
                    <a:pt x="582" y="198"/>
                  </a:lnTo>
                  <a:lnTo>
                    <a:pt x="588" y="192"/>
                  </a:lnTo>
                  <a:lnTo>
                    <a:pt x="582" y="168"/>
                  </a:lnTo>
                  <a:lnTo>
                    <a:pt x="558" y="114"/>
                  </a:lnTo>
                  <a:lnTo>
                    <a:pt x="552" y="90"/>
                  </a:lnTo>
                  <a:lnTo>
                    <a:pt x="558" y="60"/>
                  </a:lnTo>
                  <a:lnTo>
                    <a:pt x="564" y="48"/>
                  </a:lnTo>
                  <a:lnTo>
                    <a:pt x="582" y="42"/>
                  </a:lnTo>
                  <a:lnTo>
                    <a:pt x="624" y="6"/>
                  </a:lnTo>
                  <a:lnTo>
                    <a:pt x="648" y="0"/>
                  </a:lnTo>
                  <a:lnTo>
                    <a:pt x="678" y="0"/>
                  </a:lnTo>
                  <a:lnTo>
                    <a:pt x="720" y="12"/>
                  </a:lnTo>
                  <a:lnTo>
                    <a:pt x="744" y="24"/>
                  </a:lnTo>
                  <a:lnTo>
                    <a:pt x="768" y="42"/>
                  </a:lnTo>
                  <a:lnTo>
                    <a:pt x="816" y="48"/>
                  </a:lnTo>
                  <a:lnTo>
                    <a:pt x="834" y="48"/>
                  </a:lnTo>
                  <a:lnTo>
                    <a:pt x="852" y="54"/>
                  </a:lnTo>
                  <a:lnTo>
                    <a:pt x="906" y="60"/>
                  </a:lnTo>
                  <a:lnTo>
                    <a:pt x="948" y="54"/>
                  </a:lnTo>
                  <a:lnTo>
                    <a:pt x="978" y="42"/>
                  </a:lnTo>
                  <a:lnTo>
                    <a:pt x="984" y="48"/>
                  </a:lnTo>
                  <a:lnTo>
                    <a:pt x="990" y="60"/>
                  </a:lnTo>
                  <a:lnTo>
                    <a:pt x="996" y="66"/>
                  </a:lnTo>
                  <a:lnTo>
                    <a:pt x="1002" y="72"/>
                  </a:lnTo>
                  <a:lnTo>
                    <a:pt x="1014" y="78"/>
                  </a:lnTo>
                  <a:lnTo>
                    <a:pt x="1014" y="84"/>
                  </a:lnTo>
                  <a:lnTo>
                    <a:pt x="1032" y="84"/>
                  </a:lnTo>
                  <a:lnTo>
                    <a:pt x="1032" y="90"/>
                  </a:lnTo>
                  <a:lnTo>
                    <a:pt x="1032" y="96"/>
                  </a:lnTo>
                  <a:lnTo>
                    <a:pt x="1032" y="108"/>
                  </a:lnTo>
                  <a:lnTo>
                    <a:pt x="1056" y="126"/>
                  </a:lnTo>
                  <a:lnTo>
                    <a:pt x="1068" y="138"/>
                  </a:lnTo>
                  <a:lnTo>
                    <a:pt x="1068" y="156"/>
                  </a:lnTo>
                  <a:lnTo>
                    <a:pt x="1080" y="150"/>
                  </a:lnTo>
                  <a:lnTo>
                    <a:pt x="1086" y="150"/>
                  </a:lnTo>
                  <a:lnTo>
                    <a:pt x="1092" y="156"/>
                  </a:lnTo>
                  <a:lnTo>
                    <a:pt x="1092" y="162"/>
                  </a:lnTo>
                  <a:lnTo>
                    <a:pt x="1092" y="168"/>
                  </a:lnTo>
                  <a:lnTo>
                    <a:pt x="1098" y="168"/>
                  </a:lnTo>
                  <a:lnTo>
                    <a:pt x="1092" y="180"/>
                  </a:lnTo>
                  <a:lnTo>
                    <a:pt x="1092" y="186"/>
                  </a:lnTo>
                  <a:lnTo>
                    <a:pt x="1086" y="192"/>
                  </a:lnTo>
                  <a:lnTo>
                    <a:pt x="1068" y="210"/>
                  </a:lnTo>
                  <a:lnTo>
                    <a:pt x="1068" y="216"/>
                  </a:lnTo>
                  <a:lnTo>
                    <a:pt x="1074" y="228"/>
                  </a:lnTo>
                  <a:lnTo>
                    <a:pt x="1092" y="234"/>
                  </a:lnTo>
                  <a:lnTo>
                    <a:pt x="1122" y="216"/>
                  </a:lnTo>
                  <a:lnTo>
                    <a:pt x="1188" y="204"/>
                  </a:lnTo>
                  <a:lnTo>
                    <a:pt x="1212" y="204"/>
                  </a:lnTo>
                  <a:lnTo>
                    <a:pt x="1230" y="198"/>
                  </a:lnTo>
                  <a:lnTo>
                    <a:pt x="1236" y="204"/>
                  </a:lnTo>
                  <a:lnTo>
                    <a:pt x="1242" y="210"/>
                  </a:lnTo>
                  <a:lnTo>
                    <a:pt x="1242" y="204"/>
                  </a:lnTo>
                  <a:lnTo>
                    <a:pt x="1248" y="198"/>
                  </a:lnTo>
                  <a:lnTo>
                    <a:pt x="1308" y="204"/>
                  </a:lnTo>
                  <a:lnTo>
                    <a:pt x="1338" y="204"/>
                  </a:lnTo>
                  <a:lnTo>
                    <a:pt x="1374" y="228"/>
                  </a:lnTo>
                  <a:lnTo>
                    <a:pt x="1380" y="234"/>
                  </a:lnTo>
                  <a:lnTo>
                    <a:pt x="1380" y="240"/>
                  </a:lnTo>
                  <a:lnTo>
                    <a:pt x="1386" y="252"/>
                  </a:lnTo>
                  <a:lnTo>
                    <a:pt x="1392" y="252"/>
                  </a:lnTo>
                  <a:lnTo>
                    <a:pt x="1416" y="270"/>
                  </a:lnTo>
                  <a:lnTo>
                    <a:pt x="1428" y="294"/>
                  </a:lnTo>
                  <a:lnTo>
                    <a:pt x="1440" y="312"/>
                  </a:lnTo>
                  <a:lnTo>
                    <a:pt x="1452" y="330"/>
                  </a:lnTo>
                  <a:lnTo>
                    <a:pt x="1464" y="330"/>
                  </a:lnTo>
                  <a:lnTo>
                    <a:pt x="1464" y="336"/>
                  </a:lnTo>
                  <a:lnTo>
                    <a:pt x="1470" y="336"/>
                  </a:lnTo>
                  <a:lnTo>
                    <a:pt x="1470" y="342"/>
                  </a:lnTo>
                  <a:lnTo>
                    <a:pt x="1476" y="342"/>
                  </a:lnTo>
                  <a:lnTo>
                    <a:pt x="1488" y="336"/>
                  </a:lnTo>
                  <a:lnTo>
                    <a:pt x="1494" y="342"/>
                  </a:lnTo>
                  <a:lnTo>
                    <a:pt x="1500" y="342"/>
                  </a:lnTo>
                  <a:lnTo>
                    <a:pt x="1512" y="366"/>
                  </a:lnTo>
                  <a:lnTo>
                    <a:pt x="1530" y="396"/>
                  </a:lnTo>
                  <a:lnTo>
                    <a:pt x="1536" y="444"/>
                  </a:lnTo>
                  <a:lnTo>
                    <a:pt x="1530" y="480"/>
                  </a:lnTo>
                  <a:lnTo>
                    <a:pt x="1506" y="510"/>
                  </a:lnTo>
                  <a:lnTo>
                    <a:pt x="1500" y="546"/>
                  </a:lnTo>
                  <a:lnTo>
                    <a:pt x="1494" y="564"/>
                  </a:lnTo>
                  <a:lnTo>
                    <a:pt x="1494" y="576"/>
                  </a:lnTo>
                  <a:lnTo>
                    <a:pt x="1500" y="582"/>
                  </a:lnTo>
                  <a:lnTo>
                    <a:pt x="1494" y="612"/>
                  </a:lnTo>
                  <a:lnTo>
                    <a:pt x="1476" y="630"/>
                  </a:lnTo>
                  <a:lnTo>
                    <a:pt x="1434" y="672"/>
                  </a:lnTo>
                  <a:lnTo>
                    <a:pt x="1392" y="756"/>
                  </a:lnTo>
                  <a:lnTo>
                    <a:pt x="1380" y="792"/>
                  </a:lnTo>
                  <a:lnTo>
                    <a:pt x="1374" y="798"/>
                  </a:lnTo>
                  <a:lnTo>
                    <a:pt x="1368" y="798"/>
                  </a:lnTo>
                  <a:lnTo>
                    <a:pt x="1380" y="804"/>
                  </a:lnTo>
                  <a:lnTo>
                    <a:pt x="1386" y="804"/>
                  </a:lnTo>
                  <a:lnTo>
                    <a:pt x="1380" y="822"/>
                  </a:lnTo>
                  <a:lnTo>
                    <a:pt x="1380" y="852"/>
                  </a:lnTo>
                  <a:lnTo>
                    <a:pt x="1374" y="858"/>
                  </a:lnTo>
                  <a:lnTo>
                    <a:pt x="1380" y="858"/>
                  </a:lnTo>
                  <a:lnTo>
                    <a:pt x="1374" y="864"/>
                  </a:lnTo>
                  <a:lnTo>
                    <a:pt x="1374" y="870"/>
                  </a:lnTo>
                  <a:lnTo>
                    <a:pt x="1374" y="876"/>
                  </a:lnTo>
                  <a:lnTo>
                    <a:pt x="1368" y="900"/>
                  </a:lnTo>
                  <a:lnTo>
                    <a:pt x="1362" y="906"/>
                  </a:lnTo>
                  <a:lnTo>
                    <a:pt x="1362" y="918"/>
                  </a:lnTo>
                  <a:lnTo>
                    <a:pt x="1362" y="924"/>
                  </a:lnTo>
                  <a:lnTo>
                    <a:pt x="1356" y="942"/>
                  </a:lnTo>
                  <a:lnTo>
                    <a:pt x="1350" y="972"/>
                  </a:lnTo>
                  <a:lnTo>
                    <a:pt x="1350" y="1014"/>
                  </a:lnTo>
                  <a:lnTo>
                    <a:pt x="1350" y="102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3" name="Freeform 18">
              <a:extLst>
                <a:ext uri="{FF2B5EF4-FFF2-40B4-BE49-F238E27FC236}">
                  <a16:creationId xmlns:a16="http://schemas.microsoft.com/office/drawing/2014/main" id="{EC11F2E0-3C06-46E2-8AD2-66EBE00FFE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32346" y="3837389"/>
              <a:ext cx="556811" cy="818559"/>
            </a:xfrm>
            <a:custGeom>
              <a:avLst/>
              <a:gdLst>
                <a:gd name="T0" fmla="*/ 12 w 1044"/>
                <a:gd name="T1" fmla="*/ 95 h 1542"/>
                <a:gd name="T2" fmla="*/ 7 w 1044"/>
                <a:gd name="T3" fmla="*/ 93 h 1542"/>
                <a:gd name="T4" fmla="*/ 0 w 1044"/>
                <a:gd name="T5" fmla="*/ 88 h 1542"/>
                <a:gd name="T6" fmla="*/ 3 w 1044"/>
                <a:gd name="T7" fmla="*/ 74 h 1542"/>
                <a:gd name="T8" fmla="*/ 4 w 1044"/>
                <a:gd name="T9" fmla="*/ 59 h 1542"/>
                <a:gd name="T10" fmla="*/ 7 w 1044"/>
                <a:gd name="T11" fmla="*/ 52 h 1542"/>
                <a:gd name="T12" fmla="*/ 20 w 1044"/>
                <a:gd name="T13" fmla="*/ 50 h 1542"/>
                <a:gd name="T14" fmla="*/ 24 w 1044"/>
                <a:gd name="T15" fmla="*/ 46 h 1542"/>
                <a:gd name="T16" fmla="*/ 29 w 1044"/>
                <a:gd name="T17" fmla="*/ 33 h 1542"/>
                <a:gd name="T18" fmla="*/ 32 w 1044"/>
                <a:gd name="T19" fmla="*/ 26 h 1542"/>
                <a:gd name="T20" fmla="*/ 30 w 1044"/>
                <a:gd name="T21" fmla="*/ 20 h 1542"/>
                <a:gd name="T22" fmla="*/ 26 w 1044"/>
                <a:gd name="T23" fmla="*/ 17 h 1542"/>
                <a:gd name="T24" fmla="*/ 28 w 1044"/>
                <a:gd name="T25" fmla="*/ 12 h 1542"/>
                <a:gd name="T26" fmla="*/ 44 w 1044"/>
                <a:gd name="T27" fmla="*/ 5 h 1542"/>
                <a:gd name="T28" fmla="*/ 57 w 1044"/>
                <a:gd name="T29" fmla="*/ 2 h 1542"/>
                <a:gd name="T30" fmla="*/ 65 w 1044"/>
                <a:gd name="T31" fmla="*/ 12 h 1542"/>
                <a:gd name="T32" fmla="*/ 81 w 1044"/>
                <a:gd name="T33" fmla="*/ 9 h 1542"/>
                <a:gd name="T34" fmla="*/ 91 w 1044"/>
                <a:gd name="T35" fmla="*/ 20 h 1542"/>
                <a:gd name="T36" fmla="*/ 89 w 1044"/>
                <a:gd name="T37" fmla="*/ 28 h 1542"/>
                <a:gd name="T38" fmla="*/ 83 w 1044"/>
                <a:gd name="T39" fmla="*/ 33 h 1542"/>
                <a:gd name="T40" fmla="*/ 74 w 1044"/>
                <a:gd name="T41" fmla="*/ 42 h 1542"/>
                <a:gd name="T42" fmla="*/ 58 w 1044"/>
                <a:gd name="T43" fmla="*/ 57 h 1542"/>
                <a:gd name="T44" fmla="*/ 54 w 1044"/>
                <a:gd name="T45" fmla="*/ 65 h 1542"/>
                <a:gd name="T46" fmla="*/ 59 w 1044"/>
                <a:gd name="T47" fmla="*/ 74 h 1542"/>
                <a:gd name="T48" fmla="*/ 55 w 1044"/>
                <a:gd name="T49" fmla="*/ 84 h 1542"/>
                <a:gd name="T50" fmla="*/ 52 w 1044"/>
                <a:gd name="T51" fmla="*/ 98 h 1542"/>
                <a:gd name="T52" fmla="*/ 47 w 1044"/>
                <a:gd name="T53" fmla="*/ 105 h 1542"/>
                <a:gd name="T54" fmla="*/ 42 w 1044"/>
                <a:gd name="T55" fmla="*/ 111 h 1542"/>
                <a:gd name="T56" fmla="*/ 43 w 1044"/>
                <a:gd name="T57" fmla="*/ 120 h 1542"/>
                <a:gd name="T58" fmla="*/ 45 w 1044"/>
                <a:gd name="T59" fmla="*/ 125 h 1542"/>
                <a:gd name="T60" fmla="*/ 44 w 1044"/>
                <a:gd name="T61" fmla="*/ 130 h 1542"/>
                <a:gd name="T62" fmla="*/ 45 w 1044"/>
                <a:gd name="T63" fmla="*/ 131 h 1542"/>
                <a:gd name="T64" fmla="*/ 48 w 1044"/>
                <a:gd name="T65" fmla="*/ 133 h 1542"/>
                <a:gd name="T66" fmla="*/ 39 w 1044"/>
                <a:gd name="T67" fmla="*/ 133 h 1542"/>
                <a:gd name="T68" fmla="*/ 42 w 1044"/>
                <a:gd name="T69" fmla="*/ 132 h 1542"/>
                <a:gd name="T70" fmla="*/ 38 w 1044"/>
                <a:gd name="T71" fmla="*/ 133 h 1542"/>
                <a:gd name="T72" fmla="*/ 37 w 1044"/>
                <a:gd name="T73" fmla="*/ 129 h 1542"/>
                <a:gd name="T74" fmla="*/ 40 w 1044"/>
                <a:gd name="T75" fmla="*/ 125 h 1542"/>
                <a:gd name="T76" fmla="*/ 40 w 1044"/>
                <a:gd name="T77" fmla="*/ 120 h 1542"/>
                <a:gd name="T78" fmla="*/ 40 w 1044"/>
                <a:gd name="T79" fmla="*/ 117 h 1542"/>
                <a:gd name="T80" fmla="*/ 37 w 1044"/>
                <a:gd name="T81" fmla="*/ 120 h 1542"/>
                <a:gd name="T82" fmla="*/ 34 w 1044"/>
                <a:gd name="T83" fmla="*/ 122 h 1542"/>
                <a:gd name="T84" fmla="*/ 36 w 1044"/>
                <a:gd name="T85" fmla="*/ 120 h 1542"/>
                <a:gd name="T86" fmla="*/ 30 w 1044"/>
                <a:gd name="T87" fmla="*/ 120 h 1542"/>
                <a:gd name="T88" fmla="*/ 31 w 1044"/>
                <a:gd name="T89" fmla="*/ 113 h 1542"/>
                <a:gd name="T90" fmla="*/ 29 w 1044"/>
                <a:gd name="T91" fmla="*/ 112 h 1542"/>
                <a:gd name="T92" fmla="*/ 31 w 1044"/>
                <a:gd name="T93" fmla="*/ 117 h 1542"/>
                <a:gd name="T94" fmla="*/ 27 w 1044"/>
                <a:gd name="T95" fmla="*/ 116 h 1542"/>
                <a:gd name="T96" fmla="*/ 25 w 1044"/>
                <a:gd name="T97" fmla="*/ 112 h 1542"/>
                <a:gd name="T98" fmla="*/ 21 w 1044"/>
                <a:gd name="T99" fmla="*/ 109 h 1542"/>
                <a:gd name="T100" fmla="*/ 21 w 1044"/>
                <a:gd name="T101" fmla="*/ 113 h 1542"/>
                <a:gd name="T102" fmla="*/ 40 w 1044"/>
                <a:gd name="T103" fmla="*/ 120 h 1542"/>
                <a:gd name="T104" fmla="*/ 40 w 1044"/>
                <a:gd name="T105" fmla="*/ 121 h 1542"/>
                <a:gd name="T106" fmla="*/ 40 w 1044"/>
                <a:gd name="T107" fmla="*/ 116 h 1542"/>
                <a:gd name="T108" fmla="*/ 38 w 1044"/>
                <a:gd name="T109" fmla="*/ 120 h 1542"/>
                <a:gd name="T110" fmla="*/ 23 w 1044"/>
                <a:gd name="T111" fmla="*/ 110 h 1542"/>
                <a:gd name="T112" fmla="*/ 37 w 1044"/>
                <a:gd name="T113" fmla="*/ 124 h 1542"/>
                <a:gd name="T114" fmla="*/ 40 w 1044"/>
                <a:gd name="T115" fmla="*/ 125 h 1542"/>
                <a:gd name="T116" fmla="*/ 38 w 1044"/>
                <a:gd name="T117" fmla="*/ 128 h 1542"/>
                <a:gd name="T118" fmla="*/ 25 w 1044"/>
                <a:gd name="T119" fmla="*/ 117 h 1542"/>
                <a:gd name="T120" fmla="*/ 27 w 1044"/>
                <a:gd name="T121" fmla="*/ 127 h 1542"/>
                <a:gd name="T122" fmla="*/ 24 w 1044"/>
                <a:gd name="T123" fmla="*/ 113 h 15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4"/>
                <a:gd name="T187" fmla="*/ 0 h 1542"/>
                <a:gd name="T188" fmla="*/ 1044 w 1044"/>
                <a:gd name="T189" fmla="*/ 1542 h 154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4" h="1542">
                  <a:moveTo>
                    <a:pt x="234" y="1278"/>
                  </a:moveTo>
                  <a:lnTo>
                    <a:pt x="228" y="1272"/>
                  </a:lnTo>
                  <a:lnTo>
                    <a:pt x="222" y="1266"/>
                  </a:lnTo>
                  <a:lnTo>
                    <a:pt x="222" y="1260"/>
                  </a:lnTo>
                  <a:lnTo>
                    <a:pt x="204" y="1248"/>
                  </a:lnTo>
                  <a:lnTo>
                    <a:pt x="192" y="1248"/>
                  </a:lnTo>
                  <a:lnTo>
                    <a:pt x="186" y="1236"/>
                  </a:lnTo>
                  <a:lnTo>
                    <a:pt x="174" y="1218"/>
                  </a:lnTo>
                  <a:lnTo>
                    <a:pt x="162" y="1194"/>
                  </a:lnTo>
                  <a:lnTo>
                    <a:pt x="156" y="1182"/>
                  </a:lnTo>
                  <a:lnTo>
                    <a:pt x="162" y="1146"/>
                  </a:lnTo>
                  <a:lnTo>
                    <a:pt x="156" y="1134"/>
                  </a:lnTo>
                  <a:lnTo>
                    <a:pt x="138" y="1122"/>
                  </a:lnTo>
                  <a:lnTo>
                    <a:pt x="132" y="1116"/>
                  </a:lnTo>
                  <a:lnTo>
                    <a:pt x="138" y="1098"/>
                  </a:lnTo>
                  <a:lnTo>
                    <a:pt x="138" y="1092"/>
                  </a:lnTo>
                  <a:lnTo>
                    <a:pt x="138" y="1086"/>
                  </a:lnTo>
                  <a:lnTo>
                    <a:pt x="132" y="1074"/>
                  </a:lnTo>
                  <a:lnTo>
                    <a:pt x="126" y="1074"/>
                  </a:lnTo>
                  <a:lnTo>
                    <a:pt x="126" y="1068"/>
                  </a:lnTo>
                  <a:lnTo>
                    <a:pt x="120" y="1062"/>
                  </a:lnTo>
                  <a:lnTo>
                    <a:pt x="120" y="1056"/>
                  </a:lnTo>
                  <a:lnTo>
                    <a:pt x="114" y="1050"/>
                  </a:lnTo>
                  <a:lnTo>
                    <a:pt x="108" y="1050"/>
                  </a:lnTo>
                  <a:lnTo>
                    <a:pt x="102" y="1056"/>
                  </a:lnTo>
                  <a:lnTo>
                    <a:pt x="102" y="1062"/>
                  </a:lnTo>
                  <a:lnTo>
                    <a:pt x="96" y="1062"/>
                  </a:lnTo>
                  <a:lnTo>
                    <a:pt x="96" y="1068"/>
                  </a:lnTo>
                  <a:lnTo>
                    <a:pt x="96" y="1074"/>
                  </a:lnTo>
                  <a:lnTo>
                    <a:pt x="90" y="1074"/>
                  </a:lnTo>
                  <a:lnTo>
                    <a:pt x="84" y="1080"/>
                  </a:lnTo>
                  <a:lnTo>
                    <a:pt x="78" y="1074"/>
                  </a:lnTo>
                  <a:lnTo>
                    <a:pt x="72" y="1074"/>
                  </a:lnTo>
                  <a:lnTo>
                    <a:pt x="72" y="1068"/>
                  </a:lnTo>
                  <a:lnTo>
                    <a:pt x="72" y="1062"/>
                  </a:lnTo>
                  <a:lnTo>
                    <a:pt x="60" y="1056"/>
                  </a:lnTo>
                  <a:lnTo>
                    <a:pt x="60" y="1044"/>
                  </a:lnTo>
                  <a:lnTo>
                    <a:pt x="60" y="1032"/>
                  </a:lnTo>
                  <a:lnTo>
                    <a:pt x="60" y="1026"/>
                  </a:lnTo>
                  <a:lnTo>
                    <a:pt x="54" y="1026"/>
                  </a:lnTo>
                  <a:lnTo>
                    <a:pt x="48" y="1014"/>
                  </a:lnTo>
                  <a:lnTo>
                    <a:pt x="42" y="1008"/>
                  </a:lnTo>
                  <a:lnTo>
                    <a:pt x="30" y="1008"/>
                  </a:lnTo>
                  <a:lnTo>
                    <a:pt x="30" y="1002"/>
                  </a:lnTo>
                  <a:lnTo>
                    <a:pt x="24" y="1008"/>
                  </a:lnTo>
                  <a:lnTo>
                    <a:pt x="12" y="1008"/>
                  </a:lnTo>
                  <a:lnTo>
                    <a:pt x="6" y="1008"/>
                  </a:lnTo>
                  <a:lnTo>
                    <a:pt x="0" y="1008"/>
                  </a:lnTo>
                  <a:lnTo>
                    <a:pt x="0" y="1002"/>
                  </a:lnTo>
                  <a:lnTo>
                    <a:pt x="6" y="990"/>
                  </a:lnTo>
                  <a:lnTo>
                    <a:pt x="6" y="984"/>
                  </a:lnTo>
                  <a:lnTo>
                    <a:pt x="0" y="978"/>
                  </a:lnTo>
                  <a:lnTo>
                    <a:pt x="6" y="972"/>
                  </a:lnTo>
                  <a:lnTo>
                    <a:pt x="12" y="972"/>
                  </a:lnTo>
                  <a:lnTo>
                    <a:pt x="72" y="978"/>
                  </a:lnTo>
                  <a:lnTo>
                    <a:pt x="78" y="972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30"/>
                  </a:lnTo>
                  <a:lnTo>
                    <a:pt x="54" y="912"/>
                  </a:lnTo>
                  <a:lnTo>
                    <a:pt x="42" y="906"/>
                  </a:lnTo>
                  <a:lnTo>
                    <a:pt x="36" y="894"/>
                  </a:lnTo>
                  <a:lnTo>
                    <a:pt x="30" y="876"/>
                  </a:lnTo>
                  <a:lnTo>
                    <a:pt x="30" y="858"/>
                  </a:lnTo>
                  <a:lnTo>
                    <a:pt x="30" y="840"/>
                  </a:lnTo>
                  <a:lnTo>
                    <a:pt x="36" y="816"/>
                  </a:lnTo>
                  <a:lnTo>
                    <a:pt x="36" y="792"/>
                  </a:lnTo>
                  <a:lnTo>
                    <a:pt x="36" y="780"/>
                  </a:lnTo>
                  <a:lnTo>
                    <a:pt x="12" y="774"/>
                  </a:lnTo>
                  <a:lnTo>
                    <a:pt x="24" y="756"/>
                  </a:lnTo>
                  <a:lnTo>
                    <a:pt x="24" y="744"/>
                  </a:lnTo>
                  <a:lnTo>
                    <a:pt x="30" y="738"/>
                  </a:lnTo>
                  <a:lnTo>
                    <a:pt x="30" y="732"/>
                  </a:lnTo>
                  <a:lnTo>
                    <a:pt x="36" y="720"/>
                  </a:lnTo>
                  <a:lnTo>
                    <a:pt x="42" y="714"/>
                  </a:lnTo>
                  <a:lnTo>
                    <a:pt x="54" y="708"/>
                  </a:lnTo>
                  <a:lnTo>
                    <a:pt x="60" y="702"/>
                  </a:lnTo>
                  <a:lnTo>
                    <a:pt x="48" y="690"/>
                  </a:lnTo>
                  <a:lnTo>
                    <a:pt x="48" y="684"/>
                  </a:lnTo>
                  <a:lnTo>
                    <a:pt x="48" y="678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66"/>
                  </a:lnTo>
                  <a:lnTo>
                    <a:pt x="72" y="654"/>
                  </a:lnTo>
                  <a:lnTo>
                    <a:pt x="72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84" y="630"/>
                  </a:lnTo>
                  <a:lnTo>
                    <a:pt x="90" y="630"/>
                  </a:lnTo>
                  <a:lnTo>
                    <a:pt x="96" y="630"/>
                  </a:lnTo>
                  <a:lnTo>
                    <a:pt x="96" y="624"/>
                  </a:lnTo>
                  <a:lnTo>
                    <a:pt x="90" y="624"/>
                  </a:lnTo>
                  <a:lnTo>
                    <a:pt x="84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90" y="600"/>
                  </a:lnTo>
                  <a:lnTo>
                    <a:pt x="84" y="600"/>
                  </a:lnTo>
                  <a:lnTo>
                    <a:pt x="78" y="594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126" y="564"/>
                  </a:lnTo>
                  <a:lnTo>
                    <a:pt x="144" y="564"/>
                  </a:lnTo>
                  <a:lnTo>
                    <a:pt x="156" y="582"/>
                  </a:lnTo>
                  <a:lnTo>
                    <a:pt x="162" y="600"/>
                  </a:lnTo>
                  <a:lnTo>
                    <a:pt x="180" y="588"/>
                  </a:lnTo>
                  <a:lnTo>
                    <a:pt x="192" y="588"/>
                  </a:lnTo>
                  <a:lnTo>
                    <a:pt x="198" y="588"/>
                  </a:lnTo>
                  <a:lnTo>
                    <a:pt x="210" y="582"/>
                  </a:lnTo>
                  <a:lnTo>
                    <a:pt x="216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58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46" y="558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58" y="570"/>
                  </a:lnTo>
                  <a:lnTo>
                    <a:pt x="264" y="570"/>
                  </a:lnTo>
                  <a:lnTo>
                    <a:pt x="270" y="564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46"/>
                  </a:lnTo>
                  <a:lnTo>
                    <a:pt x="276" y="540"/>
                  </a:lnTo>
                  <a:lnTo>
                    <a:pt x="276" y="534"/>
                  </a:lnTo>
                  <a:lnTo>
                    <a:pt x="276" y="528"/>
                  </a:lnTo>
                  <a:lnTo>
                    <a:pt x="282" y="528"/>
                  </a:lnTo>
                  <a:lnTo>
                    <a:pt x="282" y="522"/>
                  </a:lnTo>
                  <a:lnTo>
                    <a:pt x="282" y="516"/>
                  </a:lnTo>
                  <a:lnTo>
                    <a:pt x="282" y="510"/>
                  </a:lnTo>
                  <a:lnTo>
                    <a:pt x="282" y="504"/>
                  </a:lnTo>
                  <a:lnTo>
                    <a:pt x="282" y="492"/>
                  </a:lnTo>
                  <a:lnTo>
                    <a:pt x="288" y="486"/>
                  </a:lnTo>
                  <a:lnTo>
                    <a:pt x="300" y="480"/>
                  </a:lnTo>
                  <a:lnTo>
                    <a:pt x="306" y="462"/>
                  </a:lnTo>
                  <a:lnTo>
                    <a:pt x="318" y="444"/>
                  </a:lnTo>
                  <a:lnTo>
                    <a:pt x="330" y="444"/>
                  </a:lnTo>
                  <a:lnTo>
                    <a:pt x="330" y="432"/>
                  </a:lnTo>
                  <a:lnTo>
                    <a:pt x="342" y="432"/>
                  </a:lnTo>
                  <a:lnTo>
                    <a:pt x="354" y="402"/>
                  </a:lnTo>
                  <a:lnTo>
                    <a:pt x="348" y="390"/>
                  </a:lnTo>
                  <a:lnTo>
                    <a:pt x="336" y="384"/>
                  </a:lnTo>
                  <a:lnTo>
                    <a:pt x="336" y="360"/>
                  </a:lnTo>
                  <a:lnTo>
                    <a:pt x="336" y="354"/>
                  </a:lnTo>
                  <a:lnTo>
                    <a:pt x="336" y="342"/>
                  </a:lnTo>
                  <a:lnTo>
                    <a:pt x="342" y="336"/>
                  </a:lnTo>
                  <a:lnTo>
                    <a:pt x="342" y="324"/>
                  </a:lnTo>
                  <a:lnTo>
                    <a:pt x="372" y="324"/>
                  </a:lnTo>
                  <a:lnTo>
                    <a:pt x="378" y="324"/>
                  </a:lnTo>
                  <a:lnTo>
                    <a:pt x="378" y="318"/>
                  </a:lnTo>
                  <a:lnTo>
                    <a:pt x="372" y="312"/>
                  </a:lnTo>
                  <a:lnTo>
                    <a:pt x="378" y="312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84" y="300"/>
                  </a:lnTo>
                  <a:lnTo>
                    <a:pt x="384" y="294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66" y="294"/>
                  </a:lnTo>
                  <a:lnTo>
                    <a:pt x="366" y="288"/>
                  </a:lnTo>
                  <a:lnTo>
                    <a:pt x="372" y="288"/>
                  </a:lnTo>
                  <a:lnTo>
                    <a:pt x="372" y="282"/>
                  </a:lnTo>
                  <a:lnTo>
                    <a:pt x="366" y="276"/>
                  </a:lnTo>
                  <a:lnTo>
                    <a:pt x="360" y="270"/>
                  </a:lnTo>
                  <a:lnTo>
                    <a:pt x="360" y="264"/>
                  </a:lnTo>
                  <a:lnTo>
                    <a:pt x="354" y="264"/>
                  </a:lnTo>
                  <a:lnTo>
                    <a:pt x="348" y="258"/>
                  </a:lnTo>
                  <a:lnTo>
                    <a:pt x="354" y="258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40"/>
                  </a:lnTo>
                  <a:lnTo>
                    <a:pt x="354" y="240"/>
                  </a:lnTo>
                  <a:lnTo>
                    <a:pt x="342" y="234"/>
                  </a:lnTo>
                  <a:lnTo>
                    <a:pt x="342" y="228"/>
                  </a:lnTo>
                  <a:lnTo>
                    <a:pt x="348" y="228"/>
                  </a:lnTo>
                  <a:lnTo>
                    <a:pt x="342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6" y="216"/>
                  </a:lnTo>
                  <a:lnTo>
                    <a:pt x="330" y="222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24" y="210"/>
                  </a:lnTo>
                  <a:lnTo>
                    <a:pt x="318" y="210"/>
                  </a:lnTo>
                  <a:lnTo>
                    <a:pt x="318" y="204"/>
                  </a:lnTo>
                  <a:lnTo>
                    <a:pt x="312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294" y="192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300" y="174"/>
                  </a:lnTo>
                  <a:lnTo>
                    <a:pt x="300" y="168"/>
                  </a:lnTo>
                  <a:lnTo>
                    <a:pt x="300" y="162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88" y="150"/>
                  </a:lnTo>
                  <a:lnTo>
                    <a:pt x="288" y="144"/>
                  </a:lnTo>
                  <a:lnTo>
                    <a:pt x="282" y="144"/>
                  </a:lnTo>
                  <a:lnTo>
                    <a:pt x="282" y="138"/>
                  </a:lnTo>
                  <a:lnTo>
                    <a:pt x="312" y="132"/>
                  </a:lnTo>
                  <a:lnTo>
                    <a:pt x="324" y="120"/>
                  </a:lnTo>
                  <a:lnTo>
                    <a:pt x="330" y="114"/>
                  </a:lnTo>
                  <a:lnTo>
                    <a:pt x="336" y="102"/>
                  </a:lnTo>
                  <a:lnTo>
                    <a:pt x="348" y="90"/>
                  </a:lnTo>
                  <a:lnTo>
                    <a:pt x="360" y="84"/>
                  </a:lnTo>
                  <a:lnTo>
                    <a:pt x="372" y="84"/>
                  </a:lnTo>
                  <a:lnTo>
                    <a:pt x="378" y="84"/>
                  </a:lnTo>
                  <a:lnTo>
                    <a:pt x="384" y="90"/>
                  </a:lnTo>
                  <a:lnTo>
                    <a:pt x="402" y="90"/>
                  </a:lnTo>
                  <a:lnTo>
                    <a:pt x="438" y="84"/>
                  </a:lnTo>
                  <a:lnTo>
                    <a:pt x="456" y="84"/>
                  </a:lnTo>
                  <a:lnTo>
                    <a:pt x="462" y="78"/>
                  </a:lnTo>
                  <a:lnTo>
                    <a:pt x="486" y="72"/>
                  </a:lnTo>
                  <a:lnTo>
                    <a:pt x="492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04" y="54"/>
                  </a:lnTo>
                  <a:lnTo>
                    <a:pt x="510" y="42"/>
                  </a:lnTo>
                  <a:lnTo>
                    <a:pt x="504" y="42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498" y="30"/>
                  </a:lnTo>
                  <a:lnTo>
                    <a:pt x="492" y="30"/>
                  </a:lnTo>
                  <a:lnTo>
                    <a:pt x="492" y="24"/>
                  </a:lnTo>
                  <a:lnTo>
                    <a:pt x="486" y="18"/>
                  </a:lnTo>
                  <a:lnTo>
                    <a:pt x="498" y="18"/>
                  </a:lnTo>
                  <a:lnTo>
                    <a:pt x="510" y="18"/>
                  </a:lnTo>
                  <a:lnTo>
                    <a:pt x="522" y="12"/>
                  </a:lnTo>
                  <a:lnTo>
                    <a:pt x="528" y="6"/>
                  </a:lnTo>
                  <a:lnTo>
                    <a:pt x="570" y="0"/>
                  </a:lnTo>
                  <a:lnTo>
                    <a:pt x="606" y="6"/>
                  </a:lnTo>
                  <a:lnTo>
                    <a:pt x="654" y="24"/>
                  </a:lnTo>
                  <a:lnTo>
                    <a:pt x="666" y="36"/>
                  </a:lnTo>
                  <a:lnTo>
                    <a:pt x="672" y="30"/>
                  </a:lnTo>
                  <a:lnTo>
                    <a:pt x="690" y="42"/>
                  </a:lnTo>
                  <a:lnTo>
                    <a:pt x="702" y="48"/>
                  </a:lnTo>
                  <a:lnTo>
                    <a:pt x="714" y="60"/>
                  </a:lnTo>
                  <a:lnTo>
                    <a:pt x="714" y="66"/>
                  </a:lnTo>
                  <a:lnTo>
                    <a:pt x="720" y="72"/>
                  </a:lnTo>
                  <a:lnTo>
                    <a:pt x="720" y="78"/>
                  </a:lnTo>
                  <a:lnTo>
                    <a:pt x="720" y="102"/>
                  </a:lnTo>
                  <a:lnTo>
                    <a:pt x="720" y="108"/>
                  </a:lnTo>
                  <a:lnTo>
                    <a:pt x="714" y="108"/>
                  </a:lnTo>
                  <a:lnTo>
                    <a:pt x="714" y="126"/>
                  </a:lnTo>
                  <a:lnTo>
                    <a:pt x="732" y="126"/>
                  </a:lnTo>
                  <a:lnTo>
                    <a:pt x="726" y="132"/>
                  </a:lnTo>
                  <a:lnTo>
                    <a:pt x="738" y="132"/>
                  </a:lnTo>
                  <a:lnTo>
                    <a:pt x="738" y="138"/>
                  </a:lnTo>
                  <a:lnTo>
                    <a:pt x="738" y="144"/>
                  </a:lnTo>
                  <a:lnTo>
                    <a:pt x="744" y="144"/>
                  </a:lnTo>
                  <a:lnTo>
                    <a:pt x="744" y="150"/>
                  </a:lnTo>
                  <a:lnTo>
                    <a:pt x="756" y="156"/>
                  </a:lnTo>
                  <a:lnTo>
                    <a:pt x="768" y="156"/>
                  </a:lnTo>
                  <a:lnTo>
                    <a:pt x="780" y="156"/>
                  </a:lnTo>
                  <a:lnTo>
                    <a:pt x="792" y="150"/>
                  </a:lnTo>
                  <a:lnTo>
                    <a:pt x="786" y="150"/>
                  </a:lnTo>
                  <a:lnTo>
                    <a:pt x="786" y="144"/>
                  </a:lnTo>
                  <a:lnTo>
                    <a:pt x="804" y="144"/>
                  </a:lnTo>
                  <a:lnTo>
                    <a:pt x="816" y="132"/>
                  </a:lnTo>
                  <a:lnTo>
                    <a:pt x="822" y="126"/>
                  </a:lnTo>
                  <a:lnTo>
                    <a:pt x="828" y="132"/>
                  </a:lnTo>
                  <a:lnTo>
                    <a:pt x="834" y="126"/>
                  </a:lnTo>
                  <a:lnTo>
                    <a:pt x="834" y="120"/>
                  </a:lnTo>
                  <a:lnTo>
                    <a:pt x="924" y="108"/>
                  </a:lnTo>
                  <a:lnTo>
                    <a:pt x="942" y="144"/>
                  </a:lnTo>
                  <a:lnTo>
                    <a:pt x="948" y="144"/>
                  </a:lnTo>
                  <a:lnTo>
                    <a:pt x="960" y="168"/>
                  </a:lnTo>
                  <a:lnTo>
                    <a:pt x="972" y="186"/>
                  </a:lnTo>
                  <a:lnTo>
                    <a:pt x="984" y="192"/>
                  </a:lnTo>
                  <a:lnTo>
                    <a:pt x="996" y="192"/>
                  </a:lnTo>
                  <a:lnTo>
                    <a:pt x="996" y="198"/>
                  </a:lnTo>
                  <a:lnTo>
                    <a:pt x="1008" y="204"/>
                  </a:lnTo>
                  <a:lnTo>
                    <a:pt x="1008" y="210"/>
                  </a:lnTo>
                  <a:lnTo>
                    <a:pt x="1002" y="210"/>
                  </a:lnTo>
                  <a:lnTo>
                    <a:pt x="1008" y="216"/>
                  </a:lnTo>
                  <a:lnTo>
                    <a:pt x="1014" y="210"/>
                  </a:lnTo>
                  <a:lnTo>
                    <a:pt x="1014" y="216"/>
                  </a:lnTo>
                  <a:lnTo>
                    <a:pt x="1020" y="222"/>
                  </a:lnTo>
                  <a:lnTo>
                    <a:pt x="1014" y="228"/>
                  </a:lnTo>
                  <a:lnTo>
                    <a:pt x="1032" y="234"/>
                  </a:lnTo>
                  <a:lnTo>
                    <a:pt x="1044" y="240"/>
                  </a:lnTo>
                  <a:lnTo>
                    <a:pt x="1038" y="246"/>
                  </a:lnTo>
                  <a:lnTo>
                    <a:pt x="1038" y="252"/>
                  </a:lnTo>
                  <a:lnTo>
                    <a:pt x="1038" y="258"/>
                  </a:lnTo>
                  <a:lnTo>
                    <a:pt x="1032" y="264"/>
                  </a:lnTo>
                  <a:lnTo>
                    <a:pt x="1032" y="270"/>
                  </a:lnTo>
                  <a:lnTo>
                    <a:pt x="1032" y="276"/>
                  </a:lnTo>
                  <a:lnTo>
                    <a:pt x="1032" y="282"/>
                  </a:lnTo>
                  <a:lnTo>
                    <a:pt x="1026" y="282"/>
                  </a:lnTo>
                  <a:lnTo>
                    <a:pt x="1026" y="288"/>
                  </a:lnTo>
                  <a:lnTo>
                    <a:pt x="1026" y="294"/>
                  </a:lnTo>
                  <a:lnTo>
                    <a:pt x="1026" y="300"/>
                  </a:lnTo>
                  <a:lnTo>
                    <a:pt x="1026" y="306"/>
                  </a:lnTo>
                  <a:lnTo>
                    <a:pt x="1020" y="318"/>
                  </a:lnTo>
                  <a:lnTo>
                    <a:pt x="1020" y="324"/>
                  </a:lnTo>
                  <a:lnTo>
                    <a:pt x="1014" y="324"/>
                  </a:lnTo>
                  <a:lnTo>
                    <a:pt x="1014" y="330"/>
                  </a:lnTo>
                  <a:lnTo>
                    <a:pt x="1014" y="336"/>
                  </a:lnTo>
                  <a:lnTo>
                    <a:pt x="1008" y="366"/>
                  </a:lnTo>
                  <a:lnTo>
                    <a:pt x="1002" y="366"/>
                  </a:lnTo>
                  <a:lnTo>
                    <a:pt x="984" y="354"/>
                  </a:lnTo>
                  <a:lnTo>
                    <a:pt x="978" y="354"/>
                  </a:lnTo>
                  <a:lnTo>
                    <a:pt x="972" y="354"/>
                  </a:lnTo>
                  <a:lnTo>
                    <a:pt x="966" y="348"/>
                  </a:lnTo>
                  <a:lnTo>
                    <a:pt x="954" y="348"/>
                  </a:lnTo>
                  <a:lnTo>
                    <a:pt x="948" y="348"/>
                  </a:lnTo>
                  <a:lnTo>
                    <a:pt x="948" y="360"/>
                  </a:lnTo>
                  <a:lnTo>
                    <a:pt x="948" y="366"/>
                  </a:lnTo>
                  <a:lnTo>
                    <a:pt x="948" y="372"/>
                  </a:lnTo>
                  <a:lnTo>
                    <a:pt x="948" y="378"/>
                  </a:lnTo>
                  <a:lnTo>
                    <a:pt x="948" y="384"/>
                  </a:lnTo>
                  <a:lnTo>
                    <a:pt x="942" y="384"/>
                  </a:lnTo>
                  <a:lnTo>
                    <a:pt x="942" y="390"/>
                  </a:lnTo>
                  <a:lnTo>
                    <a:pt x="936" y="390"/>
                  </a:lnTo>
                  <a:lnTo>
                    <a:pt x="942" y="390"/>
                  </a:lnTo>
                  <a:lnTo>
                    <a:pt x="936" y="396"/>
                  </a:lnTo>
                  <a:lnTo>
                    <a:pt x="930" y="402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2" y="432"/>
                  </a:lnTo>
                  <a:lnTo>
                    <a:pt x="900" y="450"/>
                  </a:lnTo>
                  <a:lnTo>
                    <a:pt x="894" y="456"/>
                  </a:lnTo>
                  <a:lnTo>
                    <a:pt x="888" y="456"/>
                  </a:lnTo>
                  <a:lnTo>
                    <a:pt x="882" y="456"/>
                  </a:lnTo>
                  <a:lnTo>
                    <a:pt x="876" y="456"/>
                  </a:lnTo>
                  <a:lnTo>
                    <a:pt x="864" y="462"/>
                  </a:lnTo>
                  <a:lnTo>
                    <a:pt x="852" y="474"/>
                  </a:lnTo>
                  <a:lnTo>
                    <a:pt x="846" y="480"/>
                  </a:lnTo>
                  <a:lnTo>
                    <a:pt x="840" y="486"/>
                  </a:lnTo>
                  <a:lnTo>
                    <a:pt x="834" y="498"/>
                  </a:lnTo>
                  <a:lnTo>
                    <a:pt x="828" y="510"/>
                  </a:lnTo>
                  <a:lnTo>
                    <a:pt x="816" y="522"/>
                  </a:lnTo>
                  <a:lnTo>
                    <a:pt x="798" y="540"/>
                  </a:lnTo>
                  <a:lnTo>
                    <a:pt x="780" y="558"/>
                  </a:lnTo>
                  <a:lnTo>
                    <a:pt x="774" y="558"/>
                  </a:lnTo>
                  <a:lnTo>
                    <a:pt x="756" y="576"/>
                  </a:lnTo>
                  <a:lnTo>
                    <a:pt x="732" y="600"/>
                  </a:lnTo>
                  <a:lnTo>
                    <a:pt x="726" y="600"/>
                  </a:lnTo>
                  <a:lnTo>
                    <a:pt x="720" y="606"/>
                  </a:lnTo>
                  <a:lnTo>
                    <a:pt x="714" y="612"/>
                  </a:lnTo>
                  <a:lnTo>
                    <a:pt x="690" y="630"/>
                  </a:lnTo>
                  <a:lnTo>
                    <a:pt x="678" y="636"/>
                  </a:lnTo>
                  <a:lnTo>
                    <a:pt x="672" y="642"/>
                  </a:lnTo>
                  <a:lnTo>
                    <a:pt x="660" y="660"/>
                  </a:lnTo>
                  <a:lnTo>
                    <a:pt x="642" y="666"/>
                  </a:lnTo>
                  <a:lnTo>
                    <a:pt x="636" y="678"/>
                  </a:lnTo>
                  <a:lnTo>
                    <a:pt x="630" y="678"/>
                  </a:lnTo>
                  <a:lnTo>
                    <a:pt x="630" y="684"/>
                  </a:lnTo>
                  <a:lnTo>
                    <a:pt x="630" y="690"/>
                  </a:lnTo>
                  <a:lnTo>
                    <a:pt x="636" y="696"/>
                  </a:lnTo>
                  <a:lnTo>
                    <a:pt x="642" y="696"/>
                  </a:lnTo>
                  <a:lnTo>
                    <a:pt x="648" y="702"/>
                  </a:lnTo>
                  <a:lnTo>
                    <a:pt x="648" y="708"/>
                  </a:lnTo>
                  <a:lnTo>
                    <a:pt x="642" y="708"/>
                  </a:lnTo>
                  <a:lnTo>
                    <a:pt x="636" y="714"/>
                  </a:lnTo>
                  <a:lnTo>
                    <a:pt x="636" y="720"/>
                  </a:lnTo>
                  <a:lnTo>
                    <a:pt x="642" y="726"/>
                  </a:lnTo>
                  <a:lnTo>
                    <a:pt x="636" y="738"/>
                  </a:lnTo>
                  <a:lnTo>
                    <a:pt x="618" y="756"/>
                  </a:lnTo>
                  <a:lnTo>
                    <a:pt x="612" y="750"/>
                  </a:lnTo>
                  <a:lnTo>
                    <a:pt x="612" y="756"/>
                  </a:lnTo>
                  <a:lnTo>
                    <a:pt x="618" y="762"/>
                  </a:lnTo>
                  <a:lnTo>
                    <a:pt x="618" y="768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36" y="786"/>
                  </a:lnTo>
                  <a:lnTo>
                    <a:pt x="642" y="792"/>
                  </a:lnTo>
                  <a:lnTo>
                    <a:pt x="642" y="798"/>
                  </a:lnTo>
                  <a:lnTo>
                    <a:pt x="648" y="804"/>
                  </a:lnTo>
                  <a:lnTo>
                    <a:pt x="654" y="810"/>
                  </a:lnTo>
                  <a:lnTo>
                    <a:pt x="660" y="816"/>
                  </a:lnTo>
                  <a:lnTo>
                    <a:pt x="666" y="816"/>
                  </a:lnTo>
                  <a:lnTo>
                    <a:pt x="666" y="822"/>
                  </a:lnTo>
                  <a:lnTo>
                    <a:pt x="672" y="828"/>
                  </a:lnTo>
                  <a:lnTo>
                    <a:pt x="672" y="840"/>
                  </a:lnTo>
                  <a:lnTo>
                    <a:pt x="672" y="846"/>
                  </a:lnTo>
                  <a:lnTo>
                    <a:pt x="666" y="852"/>
                  </a:lnTo>
                  <a:lnTo>
                    <a:pt x="660" y="864"/>
                  </a:lnTo>
                  <a:lnTo>
                    <a:pt x="654" y="876"/>
                  </a:lnTo>
                  <a:lnTo>
                    <a:pt x="648" y="882"/>
                  </a:lnTo>
                  <a:lnTo>
                    <a:pt x="642" y="888"/>
                  </a:lnTo>
                  <a:lnTo>
                    <a:pt x="642" y="894"/>
                  </a:lnTo>
                  <a:lnTo>
                    <a:pt x="642" y="906"/>
                  </a:lnTo>
                  <a:lnTo>
                    <a:pt x="630" y="918"/>
                  </a:lnTo>
                  <a:lnTo>
                    <a:pt x="630" y="924"/>
                  </a:lnTo>
                  <a:lnTo>
                    <a:pt x="624" y="930"/>
                  </a:lnTo>
                  <a:lnTo>
                    <a:pt x="630" y="936"/>
                  </a:lnTo>
                  <a:lnTo>
                    <a:pt x="630" y="942"/>
                  </a:lnTo>
                  <a:lnTo>
                    <a:pt x="630" y="948"/>
                  </a:lnTo>
                  <a:lnTo>
                    <a:pt x="630" y="954"/>
                  </a:lnTo>
                  <a:lnTo>
                    <a:pt x="630" y="960"/>
                  </a:lnTo>
                  <a:lnTo>
                    <a:pt x="624" y="966"/>
                  </a:lnTo>
                  <a:lnTo>
                    <a:pt x="618" y="990"/>
                  </a:lnTo>
                  <a:lnTo>
                    <a:pt x="618" y="1008"/>
                  </a:lnTo>
                  <a:lnTo>
                    <a:pt x="612" y="1026"/>
                  </a:lnTo>
                  <a:lnTo>
                    <a:pt x="612" y="1038"/>
                  </a:lnTo>
                  <a:lnTo>
                    <a:pt x="612" y="1050"/>
                  </a:lnTo>
                  <a:lnTo>
                    <a:pt x="612" y="1056"/>
                  </a:lnTo>
                  <a:lnTo>
                    <a:pt x="612" y="1062"/>
                  </a:lnTo>
                  <a:lnTo>
                    <a:pt x="612" y="1068"/>
                  </a:lnTo>
                  <a:lnTo>
                    <a:pt x="612" y="1086"/>
                  </a:lnTo>
                  <a:lnTo>
                    <a:pt x="612" y="1092"/>
                  </a:lnTo>
                  <a:lnTo>
                    <a:pt x="606" y="1098"/>
                  </a:lnTo>
                  <a:lnTo>
                    <a:pt x="600" y="1110"/>
                  </a:lnTo>
                  <a:lnTo>
                    <a:pt x="600" y="1116"/>
                  </a:lnTo>
                  <a:lnTo>
                    <a:pt x="594" y="1122"/>
                  </a:lnTo>
                  <a:lnTo>
                    <a:pt x="594" y="1128"/>
                  </a:lnTo>
                  <a:lnTo>
                    <a:pt x="588" y="1134"/>
                  </a:lnTo>
                  <a:lnTo>
                    <a:pt x="582" y="1140"/>
                  </a:lnTo>
                  <a:lnTo>
                    <a:pt x="570" y="1140"/>
                  </a:lnTo>
                  <a:lnTo>
                    <a:pt x="564" y="1146"/>
                  </a:lnTo>
                  <a:lnTo>
                    <a:pt x="570" y="1146"/>
                  </a:lnTo>
                  <a:lnTo>
                    <a:pt x="564" y="1152"/>
                  </a:lnTo>
                  <a:lnTo>
                    <a:pt x="558" y="1158"/>
                  </a:lnTo>
                  <a:lnTo>
                    <a:pt x="552" y="1164"/>
                  </a:lnTo>
                  <a:lnTo>
                    <a:pt x="552" y="1170"/>
                  </a:lnTo>
                  <a:lnTo>
                    <a:pt x="546" y="1176"/>
                  </a:lnTo>
                  <a:lnTo>
                    <a:pt x="546" y="1182"/>
                  </a:lnTo>
                  <a:lnTo>
                    <a:pt x="546" y="1188"/>
                  </a:lnTo>
                  <a:lnTo>
                    <a:pt x="540" y="1188"/>
                  </a:lnTo>
                  <a:lnTo>
                    <a:pt x="540" y="1194"/>
                  </a:lnTo>
                  <a:lnTo>
                    <a:pt x="528" y="1206"/>
                  </a:lnTo>
                  <a:lnTo>
                    <a:pt x="528" y="1212"/>
                  </a:lnTo>
                  <a:lnTo>
                    <a:pt x="534" y="1212"/>
                  </a:lnTo>
                  <a:lnTo>
                    <a:pt x="540" y="1218"/>
                  </a:lnTo>
                  <a:lnTo>
                    <a:pt x="534" y="1218"/>
                  </a:lnTo>
                  <a:lnTo>
                    <a:pt x="528" y="1218"/>
                  </a:lnTo>
                  <a:lnTo>
                    <a:pt x="528" y="1224"/>
                  </a:lnTo>
                  <a:lnTo>
                    <a:pt x="522" y="1230"/>
                  </a:lnTo>
                  <a:lnTo>
                    <a:pt x="516" y="1236"/>
                  </a:lnTo>
                  <a:lnTo>
                    <a:pt x="522" y="1236"/>
                  </a:lnTo>
                  <a:lnTo>
                    <a:pt x="516" y="1242"/>
                  </a:lnTo>
                  <a:lnTo>
                    <a:pt x="510" y="1242"/>
                  </a:lnTo>
                  <a:lnTo>
                    <a:pt x="504" y="1248"/>
                  </a:lnTo>
                  <a:lnTo>
                    <a:pt x="510" y="1260"/>
                  </a:lnTo>
                  <a:lnTo>
                    <a:pt x="504" y="1266"/>
                  </a:lnTo>
                  <a:lnTo>
                    <a:pt x="492" y="1266"/>
                  </a:lnTo>
                  <a:lnTo>
                    <a:pt x="486" y="1272"/>
                  </a:lnTo>
                  <a:lnTo>
                    <a:pt x="486" y="1278"/>
                  </a:lnTo>
                  <a:lnTo>
                    <a:pt x="480" y="1278"/>
                  </a:lnTo>
                  <a:lnTo>
                    <a:pt x="480" y="1284"/>
                  </a:lnTo>
                  <a:lnTo>
                    <a:pt x="480" y="1290"/>
                  </a:lnTo>
                  <a:lnTo>
                    <a:pt x="480" y="1296"/>
                  </a:lnTo>
                  <a:lnTo>
                    <a:pt x="492" y="1302"/>
                  </a:lnTo>
                  <a:lnTo>
                    <a:pt x="492" y="1308"/>
                  </a:lnTo>
                  <a:lnTo>
                    <a:pt x="492" y="1320"/>
                  </a:lnTo>
                  <a:lnTo>
                    <a:pt x="492" y="1332"/>
                  </a:lnTo>
                  <a:lnTo>
                    <a:pt x="498" y="1344"/>
                  </a:lnTo>
                  <a:lnTo>
                    <a:pt x="498" y="1350"/>
                  </a:lnTo>
                  <a:lnTo>
                    <a:pt x="498" y="1356"/>
                  </a:lnTo>
                  <a:lnTo>
                    <a:pt x="504" y="1362"/>
                  </a:lnTo>
                  <a:lnTo>
                    <a:pt x="498" y="1362"/>
                  </a:lnTo>
                  <a:lnTo>
                    <a:pt x="498" y="1368"/>
                  </a:lnTo>
                  <a:lnTo>
                    <a:pt x="492" y="1368"/>
                  </a:lnTo>
                  <a:lnTo>
                    <a:pt x="492" y="1374"/>
                  </a:lnTo>
                  <a:lnTo>
                    <a:pt x="492" y="1380"/>
                  </a:lnTo>
                  <a:lnTo>
                    <a:pt x="498" y="1380"/>
                  </a:lnTo>
                  <a:lnTo>
                    <a:pt x="504" y="1380"/>
                  </a:lnTo>
                  <a:lnTo>
                    <a:pt x="498" y="1386"/>
                  </a:lnTo>
                  <a:lnTo>
                    <a:pt x="498" y="1392"/>
                  </a:lnTo>
                  <a:lnTo>
                    <a:pt x="498" y="1398"/>
                  </a:lnTo>
                  <a:lnTo>
                    <a:pt x="498" y="1404"/>
                  </a:lnTo>
                  <a:lnTo>
                    <a:pt x="498" y="1410"/>
                  </a:lnTo>
                  <a:lnTo>
                    <a:pt x="498" y="1416"/>
                  </a:lnTo>
                  <a:lnTo>
                    <a:pt x="492" y="1416"/>
                  </a:lnTo>
                  <a:lnTo>
                    <a:pt x="498" y="1416"/>
                  </a:lnTo>
                  <a:lnTo>
                    <a:pt x="504" y="1416"/>
                  </a:lnTo>
                  <a:lnTo>
                    <a:pt x="504" y="1422"/>
                  </a:lnTo>
                  <a:lnTo>
                    <a:pt x="510" y="1428"/>
                  </a:lnTo>
                  <a:lnTo>
                    <a:pt x="510" y="1434"/>
                  </a:lnTo>
                  <a:lnTo>
                    <a:pt x="510" y="1440"/>
                  </a:lnTo>
                  <a:lnTo>
                    <a:pt x="516" y="1446"/>
                  </a:lnTo>
                  <a:lnTo>
                    <a:pt x="516" y="1452"/>
                  </a:lnTo>
                  <a:lnTo>
                    <a:pt x="516" y="1458"/>
                  </a:lnTo>
                  <a:lnTo>
                    <a:pt x="516" y="1464"/>
                  </a:lnTo>
                  <a:lnTo>
                    <a:pt x="516" y="1482"/>
                  </a:lnTo>
                  <a:lnTo>
                    <a:pt x="516" y="1488"/>
                  </a:lnTo>
                  <a:lnTo>
                    <a:pt x="522" y="1488"/>
                  </a:lnTo>
                  <a:lnTo>
                    <a:pt x="522" y="1494"/>
                  </a:lnTo>
                  <a:lnTo>
                    <a:pt x="522" y="1500"/>
                  </a:lnTo>
                  <a:lnTo>
                    <a:pt x="516" y="1506"/>
                  </a:lnTo>
                  <a:lnTo>
                    <a:pt x="510" y="1500"/>
                  </a:lnTo>
                  <a:lnTo>
                    <a:pt x="504" y="1500"/>
                  </a:lnTo>
                  <a:lnTo>
                    <a:pt x="504" y="1494"/>
                  </a:lnTo>
                  <a:lnTo>
                    <a:pt x="504" y="1488"/>
                  </a:lnTo>
                  <a:lnTo>
                    <a:pt x="504" y="1482"/>
                  </a:lnTo>
                  <a:lnTo>
                    <a:pt x="504" y="1488"/>
                  </a:lnTo>
                  <a:lnTo>
                    <a:pt x="504" y="1494"/>
                  </a:lnTo>
                  <a:lnTo>
                    <a:pt x="504" y="1500"/>
                  </a:lnTo>
                  <a:lnTo>
                    <a:pt x="498" y="1500"/>
                  </a:lnTo>
                  <a:lnTo>
                    <a:pt x="492" y="1500"/>
                  </a:lnTo>
                  <a:lnTo>
                    <a:pt x="492" y="1494"/>
                  </a:lnTo>
                  <a:lnTo>
                    <a:pt x="492" y="1488"/>
                  </a:lnTo>
                  <a:lnTo>
                    <a:pt x="492" y="1494"/>
                  </a:lnTo>
                  <a:lnTo>
                    <a:pt x="492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00"/>
                  </a:lnTo>
                  <a:lnTo>
                    <a:pt x="510" y="1500"/>
                  </a:lnTo>
                  <a:lnTo>
                    <a:pt x="510" y="1506"/>
                  </a:lnTo>
                  <a:lnTo>
                    <a:pt x="516" y="1506"/>
                  </a:lnTo>
                  <a:lnTo>
                    <a:pt x="510" y="1506"/>
                  </a:lnTo>
                  <a:lnTo>
                    <a:pt x="510" y="1512"/>
                  </a:lnTo>
                  <a:lnTo>
                    <a:pt x="516" y="1506"/>
                  </a:lnTo>
                  <a:lnTo>
                    <a:pt x="522" y="1506"/>
                  </a:lnTo>
                  <a:lnTo>
                    <a:pt x="528" y="1506"/>
                  </a:lnTo>
                  <a:lnTo>
                    <a:pt x="528" y="1500"/>
                  </a:lnTo>
                  <a:lnTo>
                    <a:pt x="534" y="1500"/>
                  </a:lnTo>
                  <a:lnTo>
                    <a:pt x="534" y="1506"/>
                  </a:lnTo>
                  <a:lnTo>
                    <a:pt x="540" y="1512"/>
                  </a:lnTo>
                  <a:lnTo>
                    <a:pt x="540" y="1518"/>
                  </a:lnTo>
                  <a:lnTo>
                    <a:pt x="546" y="1518"/>
                  </a:lnTo>
                  <a:lnTo>
                    <a:pt x="540" y="1518"/>
                  </a:lnTo>
                  <a:lnTo>
                    <a:pt x="540" y="1524"/>
                  </a:lnTo>
                  <a:lnTo>
                    <a:pt x="534" y="1524"/>
                  </a:lnTo>
                  <a:lnTo>
                    <a:pt x="540" y="1524"/>
                  </a:lnTo>
                  <a:lnTo>
                    <a:pt x="546" y="1524"/>
                  </a:lnTo>
                  <a:lnTo>
                    <a:pt x="546" y="1530"/>
                  </a:lnTo>
                  <a:lnTo>
                    <a:pt x="540" y="1530"/>
                  </a:lnTo>
                  <a:lnTo>
                    <a:pt x="540" y="1536"/>
                  </a:lnTo>
                  <a:lnTo>
                    <a:pt x="534" y="1542"/>
                  </a:lnTo>
                  <a:lnTo>
                    <a:pt x="528" y="1542"/>
                  </a:lnTo>
                  <a:lnTo>
                    <a:pt x="522" y="1542"/>
                  </a:lnTo>
                  <a:lnTo>
                    <a:pt x="516" y="1542"/>
                  </a:lnTo>
                  <a:lnTo>
                    <a:pt x="510" y="1542"/>
                  </a:lnTo>
                  <a:lnTo>
                    <a:pt x="504" y="1542"/>
                  </a:lnTo>
                  <a:lnTo>
                    <a:pt x="492" y="1542"/>
                  </a:lnTo>
                  <a:lnTo>
                    <a:pt x="486" y="1536"/>
                  </a:lnTo>
                  <a:lnTo>
                    <a:pt x="480" y="1536"/>
                  </a:lnTo>
                  <a:lnTo>
                    <a:pt x="468" y="1536"/>
                  </a:lnTo>
                  <a:lnTo>
                    <a:pt x="468" y="1542"/>
                  </a:lnTo>
                  <a:lnTo>
                    <a:pt x="462" y="1542"/>
                  </a:lnTo>
                  <a:lnTo>
                    <a:pt x="456" y="1542"/>
                  </a:lnTo>
                  <a:lnTo>
                    <a:pt x="450" y="1542"/>
                  </a:lnTo>
                  <a:lnTo>
                    <a:pt x="444" y="1542"/>
                  </a:lnTo>
                  <a:lnTo>
                    <a:pt x="444" y="1536"/>
                  </a:lnTo>
                  <a:lnTo>
                    <a:pt x="450" y="1536"/>
                  </a:lnTo>
                  <a:lnTo>
                    <a:pt x="456" y="1536"/>
                  </a:lnTo>
                  <a:lnTo>
                    <a:pt x="450" y="1536"/>
                  </a:lnTo>
                  <a:lnTo>
                    <a:pt x="444" y="1536"/>
                  </a:lnTo>
                  <a:lnTo>
                    <a:pt x="444" y="1530"/>
                  </a:lnTo>
                  <a:lnTo>
                    <a:pt x="450" y="1530"/>
                  </a:lnTo>
                  <a:lnTo>
                    <a:pt x="456" y="1524"/>
                  </a:lnTo>
                  <a:lnTo>
                    <a:pt x="456" y="1518"/>
                  </a:lnTo>
                  <a:lnTo>
                    <a:pt x="462" y="1518"/>
                  </a:lnTo>
                  <a:lnTo>
                    <a:pt x="462" y="1524"/>
                  </a:lnTo>
                  <a:lnTo>
                    <a:pt x="468" y="1524"/>
                  </a:lnTo>
                  <a:lnTo>
                    <a:pt x="474" y="1524"/>
                  </a:lnTo>
                  <a:lnTo>
                    <a:pt x="474" y="1518"/>
                  </a:lnTo>
                  <a:lnTo>
                    <a:pt x="480" y="1518"/>
                  </a:lnTo>
                  <a:lnTo>
                    <a:pt x="474" y="1518"/>
                  </a:lnTo>
                  <a:lnTo>
                    <a:pt x="474" y="1524"/>
                  </a:lnTo>
                  <a:lnTo>
                    <a:pt x="468" y="1524"/>
                  </a:lnTo>
                  <a:lnTo>
                    <a:pt x="462" y="1518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62" y="1512"/>
                  </a:lnTo>
                  <a:lnTo>
                    <a:pt x="462" y="1506"/>
                  </a:lnTo>
                  <a:lnTo>
                    <a:pt x="456" y="1506"/>
                  </a:lnTo>
                  <a:lnTo>
                    <a:pt x="456" y="1512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50" y="1518"/>
                  </a:lnTo>
                  <a:lnTo>
                    <a:pt x="444" y="1518"/>
                  </a:lnTo>
                  <a:lnTo>
                    <a:pt x="444" y="1524"/>
                  </a:lnTo>
                  <a:lnTo>
                    <a:pt x="438" y="1524"/>
                  </a:lnTo>
                  <a:lnTo>
                    <a:pt x="438" y="1530"/>
                  </a:lnTo>
                  <a:lnTo>
                    <a:pt x="432" y="1530"/>
                  </a:lnTo>
                  <a:lnTo>
                    <a:pt x="432" y="1536"/>
                  </a:lnTo>
                  <a:lnTo>
                    <a:pt x="426" y="1530"/>
                  </a:lnTo>
                  <a:lnTo>
                    <a:pt x="420" y="1530"/>
                  </a:lnTo>
                  <a:lnTo>
                    <a:pt x="414" y="1530"/>
                  </a:lnTo>
                  <a:lnTo>
                    <a:pt x="414" y="1524"/>
                  </a:lnTo>
                  <a:lnTo>
                    <a:pt x="408" y="1518"/>
                  </a:lnTo>
                  <a:lnTo>
                    <a:pt x="414" y="1512"/>
                  </a:lnTo>
                  <a:lnTo>
                    <a:pt x="408" y="1512"/>
                  </a:lnTo>
                  <a:lnTo>
                    <a:pt x="408" y="1506"/>
                  </a:lnTo>
                  <a:lnTo>
                    <a:pt x="408" y="1500"/>
                  </a:lnTo>
                  <a:lnTo>
                    <a:pt x="408" y="1494"/>
                  </a:lnTo>
                  <a:lnTo>
                    <a:pt x="408" y="1488"/>
                  </a:lnTo>
                  <a:lnTo>
                    <a:pt x="408" y="1494"/>
                  </a:lnTo>
                  <a:lnTo>
                    <a:pt x="414" y="1494"/>
                  </a:lnTo>
                  <a:lnTo>
                    <a:pt x="420" y="1494"/>
                  </a:lnTo>
                  <a:lnTo>
                    <a:pt x="420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82"/>
                  </a:lnTo>
                  <a:lnTo>
                    <a:pt x="426" y="1476"/>
                  </a:lnTo>
                  <a:lnTo>
                    <a:pt x="432" y="1476"/>
                  </a:lnTo>
                  <a:lnTo>
                    <a:pt x="432" y="1470"/>
                  </a:lnTo>
                  <a:lnTo>
                    <a:pt x="438" y="1470"/>
                  </a:lnTo>
                  <a:lnTo>
                    <a:pt x="444" y="1464"/>
                  </a:lnTo>
                  <a:lnTo>
                    <a:pt x="450" y="1458"/>
                  </a:lnTo>
                  <a:lnTo>
                    <a:pt x="456" y="1458"/>
                  </a:lnTo>
                  <a:lnTo>
                    <a:pt x="462" y="1452"/>
                  </a:lnTo>
                  <a:lnTo>
                    <a:pt x="468" y="1452"/>
                  </a:lnTo>
                  <a:lnTo>
                    <a:pt x="468" y="1446"/>
                  </a:lnTo>
                  <a:lnTo>
                    <a:pt x="462" y="1440"/>
                  </a:lnTo>
                  <a:lnTo>
                    <a:pt x="456" y="1434"/>
                  </a:lnTo>
                  <a:lnTo>
                    <a:pt x="456" y="1428"/>
                  </a:lnTo>
                  <a:lnTo>
                    <a:pt x="456" y="1422"/>
                  </a:lnTo>
                  <a:lnTo>
                    <a:pt x="456" y="1416"/>
                  </a:lnTo>
                  <a:lnTo>
                    <a:pt x="450" y="1410"/>
                  </a:lnTo>
                  <a:lnTo>
                    <a:pt x="444" y="1410"/>
                  </a:lnTo>
                  <a:lnTo>
                    <a:pt x="450" y="1410"/>
                  </a:lnTo>
                  <a:lnTo>
                    <a:pt x="450" y="1404"/>
                  </a:lnTo>
                  <a:lnTo>
                    <a:pt x="456" y="1404"/>
                  </a:lnTo>
                  <a:lnTo>
                    <a:pt x="462" y="1404"/>
                  </a:lnTo>
                  <a:lnTo>
                    <a:pt x="468" y="1398"/>
                  </a:lnTo>
                  <a:lnTo>
                    <a:pt x="462" y="1398"/>
                  </a:lnTo>
                  <a:lnTo>
                    <a:pt x="462" y="1392"/>
                  </a:lnTo>
                  <a:lnTo>
                    <a:pt x="456" y="1392"/>
                  </a:lnTo>
                  <a:lnTo>
                    <a:pt x="456" y="1386"/>
                  </a:lnTo>
                  <a:lnTo>
                    <a:pt x="462" y="1386"/>
                  </a:lnTo>
                  <a:lnTo>
                    <a:pt x="468" y="1386"/>
                  </a:lnTo>
                  <a:lnTo>
                    <a:pt x="474" y="1386"/>
                  </a:lnTo>
                  <a:lnTo>
                    <a:pt x="468" y="1386"/>
                  </a:lnTo>
                  <a:lnTo>
                    <a:pt x="462" y="1386"/>
                  </a:lnTo>
                  <a:lnTo>
                    <a:pt x="456" y="1380"/>
                  </a:lnTo>
                  <a:lnTo>
                    <a:pt x="456" y="1374"/>
                  </a:lnTo>
                  <a:lnTo>
                    <a:pt x="462" y="1374"/>
                  </a:lnTo>
                  <a:lnTo>
                    <a:pt x="462" y="1368"/>
                  </a:lnTo>
                  <a:lnTo>
                    <a:pt x="456" y="1374"/>
                  </a:lnTo>
                  <a:lnTo>
                    <a:pt x="456" y="1368"/>
                  </a:lnTo>
                  <a:lnTo>
                    <a:pt x="456" y="1362"/>
                  </a:lnTo>
                  <a:lnTo>
                    <a:pt x="450" y="1362"/>
                  </a:lnTo>
                  <a:lnTo>
                    <a:pt x="450" y="1356"/>
                  </a:lnTo>
                  <a:lnTo>
                    <a:pt x="450" y="1350"/>
                  </a:lnTo>
                  <a:lnTo>
                    <a:pt x="450" y="1344"/>
                  </a:lnTo>
                  <a:lnTo>
                    <a:pt x="456" y="1344"/>
                  </a:lnTo>
                  <a:lnTo>
                    <a:pt x="456" y="1338"/>
                  </a:lnTo>
                  <a:lnTo>
                    <a:pt x="462" y="1338"/>
                  </a:lnTo>
                  <a:lnTo>
                    <a:pt x="462" y="1332"/>
                  </a:lnTo>
                  <a:lnTo>
                    <a:pt x="456" y="1332"/>
                  </a:lnTo>
                  <a:lnTo>
                    <a:pt x="456" y="1326"/>
                  </a:lnTo>
                  <a:lnTo>
                    <a:pt x="450" y="1326"/>
                  </a:lnTo>
                  <a:lnTo>
                    <a:pt x="444" y="1326"/>
                  </a:lnTo>
                  <a:lnTo>
                    <a:pt x="444" y="1332"/>
                  </a:lnTo>
                  <a:lnTo>
                    <a:pt x="438" y="1332"/>
                  </a:lnTo>
                  <a:lnTo>
                    <a:pt x="438" y="1338"/>
                  </a:lnTo>
                  <a:lnTo>
                    <a:pt x="432" y="1338"/>
                  </a:lnTo>
                  <a:lnTo>
                    <a:pt x="432" y="1344"/>
                  </a:lnTo>
                  <a:lnTo>
                    <a:pt x="432" y="1350"/>
                  </a:lnTo>
                  <a:lnTo>
                    <a:pt x="426" y="1356"/>
                  </a:lnTo>
                  <a:lnTo>
                    <a:pt x="426" y="1368"/>
                  </a:lnTo>
                  <a:lnTo>
                    <a:pt x="426" y="1374"/>
                  </a:lnTo>
                  <a:lnTo>
                    <a:pt x="426" y="1380"/>
                  </a:lnTo>
                  <a:lnTo>
                    <a:pt x="432" y="1386"/>
                  </a:lnTo>
                  <a:lnTo>
                    <a:pt x="432" y="1392"/>
                  </a:lnTo>
                  <a:lnTo>
                    <a:pt x="432" y="1398"/>
                  </a:lnTo>
                  <a:lnTo>
                    <a:pt x="426" y="1398"/>
                  </a:lnTo>
                  <a:lnTo>
                    <a:pt x="420" y="1398"/>
                  </a:lnTo>
                  <a:lnTo>
                    <a:pt x="414" y="1398"/>
                  </a:lnTo>
                  <a:lnTo>
                    <a:pt x="420" y="1398"/>
                  </a:lnTo>
                  <a:lnTo>
                    <a:pt x="414" y="1404"/>
                  </a:lnTo>
                  <a:lnTo>
                    <a:pt x="420" y="1404"/>
                  </a:lnTo>
                  <a:lnTo>
                    <a:pt x="414" y="1404"/>
                  </a:lnTo>
                  <a:lnTo>
                    <a:pt x="408" y="1404"/>
                  </a:lnTo>
                  <a:lnTo>
                    <a:pt x="402" y="1410"/>
                  </a:lnTo>
                  <a:lnTo>
                    <a:pt x="402" y="1404"/>
                  </a:lnTo>
                  <a:lnTo>
                    <a:pt x="396" y="1404"/>
                  </a:lnTo>
                  <a:lnTo>
                    <a:pt x="390" y="1404"/>
                  </a:lnTo>
                  <a:lnTo>
                    <a:pt x="384" y="1404"/>
                  </a:lnTo>
                  <a:lnTo>
                    <a:pt x="384" y="1398"/>
                  </a:lnTo>
                  <a:lnTo>
                    <a:pt x="384" y="1392"/>
                  </a:lnTo>
                  <a:lnTo>
                    <a:pt x="390" y="1392"/>
                  </a:lnTo>
                  <a:lnTo>
                    <a:pt x="390" y="1386"/>
                  </a:lnTo>
                  <a:lnTo>
                    <a:pt x="390" y="1380"/>
                  </a:lnTo>
                  <a:lnTo>
                    <a:pt x="396" y="1380"/>
                  </a:lnTo>
                  <a:lnTo>
                    <a:pt x="402" y="1380"/>
                  </a:lnTo>
                  <a:lnTo>
                    <a:pt x="408" y="1380"/>
                  </a:lnTo>
                  <a:lnTo>
                    <a:pt x="408" y="1374"/>
                  </a:lnTo>
                  <a:lnTo>
                    <a:pt x="414" y="1374"/>
                  </a:lnTo>
                  <a:lnTo>
                    <a:pt x="414" y="1368"/>
                  </a:lnTo>
                  <a:lnTo>
                    <a:pt x="414" y="1362"/>
                  </a:lnTo>
                  <a:lnTo>
                    <a:pt x="414" y="1368"/>
                  </a:lnTo>
                  <a:lnTo>
                    <a:pt x="414" y="1374"/>
                  </a:lnTo>
                  <a:lnTo>
                    <a:pt x="408" y="1374"/>
                  </a:lnTo>
                  <a:lnTo>
                    <a:pt x="402" y="1380"/>
                  </a:lnTo>
                  <a:lnTo>
                    <a:pt x="396" y="1380"/>
                  </a:lnTo>
                  <a:lnTo>
                    <a:pt x="396" y="1374"/>
                  </a:lnTo>
                  <a:lnTo>
                    <a:pt x="390" y="1374"/>
                  </a:lnTo>
                  <a:lnTo>
                    <a:pt x="390" y="1368"/>
                  </a:lnTo>
                  <a:lnTo>
                    <a:pt x="384" y="1368"/>
                  </a:lnTo>
                  <a:lnTo>
                    <a:pt x="384" y="1374"/>
                  </a:lnTo>
                  <a:lnTo>
                    <a:pt x="378" y="1374"/>
                  </a:lnTo>
                  <a:lnTo>
                    <a:pt x="378" y="1380"/>
                  </a:lnTo>
                  <a:lnTo>
                    <a:pt x="372" y="1380"/>
                  </a:lnTo>
                  <a:lnTo>
                    <a:pt x="366" y="1386"/>
                  </a:lnTo>
                  <a:lnTo>
                    <a:pt x="360" y="1386"/>
                  </a:lnTo>
                  <a:lnTo>
                    <a:pt x="354" y="1386"/>
                  </a:lnTo>
                  <a:lnTo>
                    <a:pt x="354" y="1380"/>
                  </a:lnTo>
                  <a:lnTo>
                    <a:pt x="348" y="1380"/>
                  </a:lnTo>
                  <a:lnTo>
                    <a:pt x="342" y="1380"/>
                  </a:lnTo>
                  <a:lnTo>
                    <a:pt x="342" y="1374"/>
                  </a:lnTo>
                  <a:lnTo>
                    <a:pt x="336" y="1368"/>
                  </a:lnTo>
                  <a:lnTo>
                    <a:pt x="342" y="1368"/>
                  </a:lnTo>
                  <a:lnTo>
                    <a:pt x="342" y="1362"/>
                  </a:lnTo>
                  <a:lnTo>
                    <a:pt x="348" y="1362"/>
                  </a:lnTo>
                  <a:lnTo>
                    <a:pt x="354" y="1362"/>
                  </a:lnTo>
                  <a:lnTo>
                    <a:pt x="354" y="1356"/>
                  </a:lnTo>
                  <a:lnTo>
                    <a:pt x="348" y="1356"/>
                  </a:lnTo>
                  <a:lnTo>
                    <a:pt x="348" y="1350"/>
                  </a:lnTo>
                  <a:lnTo>
                    <a:pt x="348" y="1344"/>
                  </a:lnTo>
                  <a:lnTo>
                    <a:pt x="354" y="1338"/>
                  </a:lnTo>
                  <a:lnTo>
                    <a:pt x="354" y="1332"/>
                  </a:lnTo>
                  <a:lnTo>
                    <a:pt x="354" y="1326"/>
                  </a:lnTo>
                  <a:lnTo>
                    <a:pt x="354" y="1320"/>
                  </a:lnTo>
                  <a:lnTo>
                    <a:pt x="354" y="1314"/>
                  </a:lnTo>
                  <a:lnTo>
                    <a:pt x="354" y="1308"/>
                  </a:lnTo>
                  <a:lnTo>
                    <a:pt x="348" y="1308"/>
                  </a:lnTo>
                  <a:lnTo>
                    <a:pt x="348" y="1302"/>
                  </a:lnTo>
                  <a:lnTo>
                    <a:pt x="342" y="1296"/>
                  </a:lnTo>
                  <a:lnTo>
                    <a:pt x="336" y="1296"/>
                  </a:lnTo>
                  <a:lnTo>
                    <a:pt x="336" y="1290"/>
                  </a:lnTo>
                  <a:lnTo>
                    <a:pt x="330" y="1290"/>
                  </a:lnTo>
                  <a:lnTo>
                    <a:pt x="324" y="1290"/>
                  </a:lnTo>
                  <a:lnTo>
                    <a:pt x="324" y="1284"/>
                  </a:lnTo>
                  <a:lnTo>
                    <a:pt x="318" y="1284"/>
                  </a:lnTo>
                  <a:lnTo>
                    <a:pt x="318" y="1278"/>
                  </a:lnTo>
                  <a:lnTo>
                    <a:pt x="312" y="1278"/>
                  </a:lnTo>
                  <a:lnTo>
                    <a:pt x="312" y="1272"/>
                  </a:lnTo>
                  <a:lnTo>
                    <a:pt x="312" y="1278"/>
                  </a:lnTo>
                  <a:lnTo>
                    <a:pt x="318" y="1284"/>
                  </a:lnTo>
                  <a:lnTo>
                    <a:pt x="324" y="1290"/>
                  </a:lnTo>
                  <a:lnTo>
                    <a:pt x="330" y="1290"/>
                  </a:lnTo>
                  <a:lnTo>
                    <a:pt x="330" y="1296"/>
                  </a:lnTo>
                  <a:lnTo>
                    <a:pt x="336" y="1296"/>
                  </a:lnTo>
                  <a:lnTo>
                    <a:pt x="336" y="1302"/>
                  </a:lnTo>
                  <a:lnTo>
                    <a:pt x="342" y="1302"/>
                  </a:lnTo>
                  <a:lnTo>
                    <a:pt x="348" y="1302"/>
                  </a:lnTo>
                  <a:lnTo>
                    <a:pt x="348" y="1308"/>
                  </a:lnTo>
                  <a:lnTo>
                    <a:pt x="348" y="1314"/>
                  </a:lnTo>
                  <a:lnTo>
                    <a:pt x="354" y="1314"/>
                  </a:lnTo>
                  <a:lnTo>
                    <a:pt x="354" y="1320"/>
                  </a:lnTo>
                  <a:lnTo>
                    <a:pt x="354" y="1326"/>
                  </a:lnTo>
                  <a:lnTo>
                    <a:pt x="348" y="1326"/>
                  </a:lnTo>
                  <a:lnTo>
                    <a:pt x="348" y="1332"/>
                  </a:lnTo>
                  <a:lnTo>
                    <a:pt x="348" y="1338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2" y="1350"/>
                  </a:lnTo>
                  <a:lnTo>
                    <a:pt x="336" y="1350"/>
                  </a:lnTo>
                  <a:lnTo>
                    <a:pt x="330" y="1350"/>
                  </a:lnTo>
                  <a:lnTo>
                    <a:pt x="330" y="1356"/>
                  </a:lnTo>
                  <a:lnTo>
                    <a:pt x="330" y="1350"/>
                  </a:lnTo>
                  <a:lnTo>
                    <a:pt x="324" y="1350"/>
                  </a:lnTo>
                  <a:lnTo>
                    <a:pt x="318" y="1344"/>
                  </a:lnTo>
                  <a:lnTo>
                    <a:pt x="318" y="1350"/>
                  </a:lnTo>
                  <a:lnTo>
                    <a:pt x="312" y="1344"/>
                  </a:lnTo>
                  <a:lnTo>
                    <a:pt x="312" y="1338"/>
                  </a:lnTo>
                  <a:lnTo>
                    <a:pt x="306" y="1338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6" y="1326"/>
                  </a:lnTo>
                  <a:lnTo>
                    <a:pt x="306" y="1320"/>
                  </a:lnTo>
                  <a:lnTo>
                    <a:pt x="306" y="1326"/>
                  </a:lnTo>
                  <a:lnTo>
                    <a:pt x="312" y="1326"/>
                  </a:lnTo>
                  <a:lnTo>
                    <a:pt x="312" y="1320"/>
                  </a:lnTo>
                  <a:lnTo>
                    <a:pt x="306" y="1320"/>
                  </a:lnTo>
                  <a:lnTo>
                    <a:pt x="300" y="1320"/>
                  </a:lnTo>
                  <a:lnTo>
                    <a:pt x="294" y="1320"/>
                  </a:lnTo>
                  <a:lnTo>
                    <a:pt x="294" y="1314"/>
                  </a:lnTo>
                  <a:lnTo>
                    <a:pt x="288" y="1314"/>
                  </a:lnTo>
                  <a:lnTo>
                    <a:pt x="288" y="1308"/>
                  </a:lnTo>
                  <a:lnTo>
                    <a:pt x="288" y="1302"/>
                  </a:lnTo>
                  <a:lnTo>
                    <a:pt x="294" y="1302"/>
                  </a:lnTo>
                  <a:lnTo>
                    <a:pt x="294" y="1296"/>
                  </a:lnTo>
                  <a:lnTo>
                    <a:pt x="288" y="1296"/>
                  </a:lnTo>
                  <a:lnTo>
                    <a:pt x="288" y="1290"/>
                  </a:lnTo>
                  <a:lnTo>
                    <a:pt x="288" y="1296"/>
                  </a:lnTo>
                  <a:lnTo>
                    <a:pt x="294" y="1302"/>
                  </a:lnTo>
                  <a:lnTo>
                    <a:pt x="288" y="1302"/>
                  </a:lnTo>
                  <a:lnTo>
                    <a:pt x="282" y="1296"/>
                  </a:lnTo>
                  <a:lnTo>
                    <a:pt x="276" y="1296"/>
                  </a:lnTo>
                  <a:lnTo>
                    <a:pt x="276" y="1290"/>
                  </a:lnTo>
                  <a:lnTo>
                    <a:pt x="270" y="1290"/>
                  </a:lnTo>
                  <a:lnTo>
                    <a:pt x="264" y="1284"/>
                  </a:lnTo>
                  <a:lnTo>
                    <a:pt x="264" y="1278"/>
                  </a:lnTo>
                  <a:lnTo>
                    <a:pt x="264" y="1272"/>
                  </a:lnTo>
                  <a:lnTo>
                    <a:pt x="264" y="1266"/>
                  </a:lnTo>
                  <a:lnTo>
                    <a:pt x="258" y="1266"/>
                  </a:lnTo>
                  <a:lnTo>
                    <a:pt x="252" y="1266"/>
                  </a:lnTo>
                  <a:lnTo>
                    <a:pt x="246" y="1260"/>
                  </a:lnTo>
                  <a:lnTo>
                    <a:pt x="240" y="1254"/>
                  </a:lnTo>
                  <a:lnTo>
                    <a:pt x="240" y="1260"/>
                  </a:lnTo>
                  <a:lnTo>
                    <a:pt x="240" y="1266"/>
                  </a:lnTo>
                  <a:lnTo>
                    <a:pt x="240" y="1272"/>
                  </a:lnTo>
                  <a:lnTo>
                    <a:pt x="246" y="1272"/>
                  </a:lnTo>
                  <a:lnTo>
                    <a:pt x="246" y="1278"/>
                  </a:lnTo>
                  <a:lnTo>
                    <a:pt x="246" y="1284"/>
                  </a:lnTo>
                  <a:lnTo>
                    <a:pt x="252" y="1284"/>
                  </a:lnTo>
                  <a:lnTo>
                    <a:pt x="252" y="1290"/>
                  </a:lnTo>
                  <a:lnTo>
                    <a:pt x="258" y="1296"/>
                  </a:lnTo>
                  <a:lnTo>
                    <a:pt x="264" y="1302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58" y="1314"/>
                  </a:lnTo>
                  <a:lnTo>
                    <a:pt x="258" y="1308"/>
                  </a:lnTo>
                  <a:lnTo>
                    <a:pt x="252" y="1308"/>
                  </a:lnTo>
                  <a:lnTo>
                    <a:pt x="252" y="1302"/>
                  </a:lnTo>
                  <a:lnTo>
                    <a:pt x="246" y="1302"/>
                  </a:lnTo>
                  <a:lnTo>
                    <a:pt x="246" y="1296"/>
                  </a:lnTo>
                  <a:lnTo>
                    <a:pt x="240" y="1296"/>
                  </a:lnTo>
                  <a:lnTo>
                    <a:pt x="240" y="1290"/>
                  </a:lnTo>
                  <a:lnTo>
                    <a:pt x="234" y="1284"/>
                  </a:lnTo>
                  <a:lnTo>
                    <a:pt x="234" y="1278"/>
                  </a:lnTo>
                  <a:close/>
                  <a:moveTo>
                    <a:pt x="444" y="1332"/>
                  </a:moveTo>
                  <a:lnTo>
                    <a:pt x="450" y="1326"/>
                  </a:lnTo>
                  <a:lnTo>
                    <a:pt x="456" y="1326"/>
                  </a:lnTo>
                  <a:lnTo>
                    <a:pt x="456" y="1332"/>
                  </a:lnTo>
                  <a:lnTo>
                    <a:pt x="456" y="1338"/>
                  </a:lnTo>
                  <a:lnTo>
                    <a:pt x="450" y="1338"/>
                  </a:lnTo>
                  <a:lnTo>
                    <a:pt x="444" y="1338"/>
                  </a:lnTo>
                  <a:lnTo>
                    <a:pt x="444" y="1332"/>
                  </a:lnTo>
                  <a:close/>
                  <a:moveTo>
                    <a:pt x="444" y="1368"/>
                  </a:moveTo>
                  <a:lnTo>
                    <a:pt x="456" y="1368"/>
                  </a:lnTo>
                  <a:lnTo>
                    <a:pt x="456" y="1374"/>
                  </a:lnTo>
                  <a:lnTo>
                    <a:pt x="444" y="1374"/>
                  </a:lnTo>
                  <a:lnTo>
                    <a:pt x="444" y="1368"/>
                  </a:lnTo>
                  <a:close/>
                  <a:moveTo>
                    <a:pt x="444" y="1386"/>
                  </a:moveTo>
                  <a:lnTo>
                    <a:pt x="444" y="1380"/>
                  </a:lnTo>
                  <a:lnTo>
                    <a:pt x="444" y="1374"/>
                  </a:lnTo>
                  <a:lnTo>
                    <a:pt x="444" y="1380"/>
                  </a:lnTo>
                  <a:lnTo>
                    <a:pt x="450" y="1380"/>
                  </a:lnTo>
                  <a:lnTo>
                    <a:pt x="456" y="1380"/>
                  </a:lnTo>
                  <a:lnTo>
                    <a:pt x="456" y="1386"/>
                  </a:lnTo>
                  <a:lnTo>
                    <a:pt x="456" y="1392"/>
                  </a:lnTo>
                  <a:lnTo>
                    <a:pt x="462" y="1392"/>
                  </a:lnTo>
                  <a:lnTo>
                    <a:pt x="462" y="1398"/>
                  </a:lnTo>
                  <a:lnTo>
                    <a:pt x="462" y="1404"/>
                  </a:lnTo>
                  <a:lnTo>
                    <a:pt x="456" y="1404"/>
                  </a:lnTo>
                  <a:lnTo>
                    <a:pt x="450" y="1404"/>
                  </a:lnTo>
                  <a:lnTo>
                    <a:pt x="450" y="1398"/>
                  </a:lnTo>
                  <a:lnTo>
                    <a:pt x="444" y="1398"/>
                  </a:lnTo>
                  <a:lnTo>
                    <a:pt x="444" y="1392"/>
                  </a:lnTo>
                  <a:lnTo>
                    <a:pt x="444" y="1386"/>
                  </a:lnTo>
                  <a:close/>
                  <a:moveTo>
                    <a:pt x="438" y="1362"/>
                  </a:moveTo>
                  <a:lnTo>
                    <a:pt x="444" y="1356"/>
                  </a:lnTo>
                  <a:lnTo>
                    <a:pt x="450" y="1356"/>
                  </a:lnTo>
                  <a:lnTo>
                    <a:pt x="450" y="1362"/>
                  </a:lnTo>
                  <a:lnTo>
                    <a:pt x="450" y="1368"/>
                  </a:lnTo>
                  <a:lnTo>
                    <a:pt x="444" y="1368"/>
                  </a:lnTo>
                  <a:lnTo>
                    <a:pt x="444" y="1362"/>
                  </a:lnTo>
                  <a:lnTo>
                    <a:pt x="438" y="1362"/>
                  </a:lnTo>
                  <a:close/>
                  <a:moveTo>
                    <a:pt x="438" y="1350"/>
                  </a:moveTo>
                  <a:lnTo>
                    <a:pt x="438" y="1344"/>
                  </a:lnTo>
                  <a:lnTo>
                    <a:pt x="438" y="1338"/>
                  </a:lnTo>
                  <a:lnTo>
                    <a:pt x="444" y="1338"/>
                  </a:lnTo>
                  <a:lnTo>
                    <a:pt x="450" y="1338"/>
                  </a:lnTo>
                  <a:lnTo>
                    <a:pt x="456" y="1338"/>
                  </a:lnTo>
                  <a:lnTo>
                    <a:pt x="450" y="1344"/>
                  </a:lnTo>
                  <a:lnTo>
                    <a:pt x="444" y="1350"/>
                  </a:lnTo>
                  <a:lnTo>
                    <a:pt x="438" y="1350"/>
                  </a:lnTo>
                  <a:close/>
                  <a:moveTo>
                    <a:pt x="432" y="1380"/>
                  </a:moveTo>
                  <a:lnTo>
                    <a:pt x="432" y="1368"/>
                  </a:lnTo>
                  <a:lnTo>
                    <a:pt x="432" y="1362"/>
                  </a:lnTo>
                  <a:lnTo>
                    <a:pt x="432" y="1356"/>
                  </a:lnTo>
                  <a:lnTo>
                    <a:pt x="438" y="1356"/>
                  </a:lnTo>
                  <a:lnTo>
                    <a:pt x="438" y="1362"/>
                  </a:lnTo>
                  <a:lnTo>
                    <a:pt x="438" y="1368"/>
                  </a:lnTo>
                  <a:lnTo>
                    <a:pt x="438" y="1374"/>
                  </a:lnTo>
                  <a:lnTo>
                    <a:pt x="438" y="1380"/>
                  </a:lnTo>
                  <a:lnTo>
                    <a:pt x="438" y="1386"/>
                  </a:lnTo>
                  <a:lnTo>
                    <a:pt x="438" y="1380"/>
                  </a:lnTo>
                  <a:lnTo>
                    <a:pt x="432" y="1380"/>
                  </a:lnTo>
                  <a:close/>
                  <a:moveTo>
                    <a:pt x="246" y="1272"/>
                  </a:moveTo>
                  <a:lnTo>
                    <a:pt x="252" y="1272"/>
                  </a:lnTo>
                  <a:lnTo>
                    <a:pt x="252" y="1278"/>
                  </a:lnTo>
                  <a:lnTo>
                    <a:pt x="246" y="1278"/>
                  </a:lnTo>
                  <a:lnTo>
                    <a:pt x="246" y="1272"/>
                  </a:lnTo>
                  <a:close/>
                  <a:moveTo>
                    <a:pt x="426" y="1416"/>
                  </a:moveTo>
                  <a:lnTo>
                    <a:pt x="432" y="1410"/>
                  </a:lnTo>
                  <a:lnTo>
                    <a:pt x="438" y="1410"/>
                  </a:lnTo>
                  <a:lnTo>
                    <a:pt x="438" y="1416"/>
                  </a:lnTo>
                  <a:lnTo>
                    <a:pt x="438" y="1422"/>
                  </a:lnTo>
                  <a:lnTo>
                    <a:pt x="432" y="1422"/>
                  </a:lnTo>
                  <a:lnTo>
                    <a:pt x="426" y="1422"/>
                  </a:lnTo>
                  <a:lnTo>
                    <a:pt x="426" y="1416"/>
                  </a:lnTo>
                  <a:close/>
                  <a:moveTo>
                    <a:pt x="246" y="1266"/>
                  </a:moveTo>
                  <a:lnTo>
                    <a:pt x="252" y="1266"/>
                  </a:lnTo>
                  <a:lnTo>
                    <a:pt x="258" y="1272"/>
                  </a:lnTo>
                  <a:lnTo>
                    <a:pt x="258" y="1278"/>
                  </a:lnTo>
                  <a:lnTo>
                    <a:pt x="258" y="1284"/>
                  </a:lnTo>
                  <a:lnTo>
                    <a:pt x="252" y="1284"/>
                  </a:lnTo>
                  <a:lnTo>
                    <a:pt x="252" y="1278"/>
                  </a:lnTo>
                  <a:lnTo>
                    <a:pt x="252" y="1272"/>
                  </a:lnTo>
                  <a:lnTo>
                    <a:pt x="252" y="1266"/>
                  </a:lnTo>
                  <a:lnTo>
                    <a:pt x="246" y="1266"/>
                  </a:lnTo>
                  <a:close/>
                  <a:moveTo>
                    <a:pt x="408" y="1458"/>
                  </a:moveTo>
                  <a:lnTo>
                    <a:pt x="408" y="1452"/>
                  </a:lnTo>
                  <a:lnTo>
                    <a:pt x="414" y="1452"/>
                  </a:lnTo>
                  <a:lnTo>
                    <a:pt x="414" y="1446"/>
                  </a:lnTo>
                  <a:lnTo>
                    <a:pt x="414" y="1440"/>
                  </a:lnTo>
                  <a:lnTo>
                    <a:pt x="420" y="1440"/>
                  </a:lnTo>
                  <a:lnTo>
                    <a:pt x="420" y="1434"/>
                  </a:lnTo>
                  <a:lnTo>
                    <a:pt x="420" y="1428"/>
                  </a:lnTo>
                  <a:lnTo>
                    <a:pt x="420" y="1422"/>
                  </a:lnTo>
                  <a:lnTo>
                    <a:pt x="426" y="1422"/>
                  </a:lnTo>
                  <a:lnTo>
                    <a:pt x="432" y="1428"/>
                  </a:lnTo>
                  <a:lnTo>
                    <a:pt x="438" y="1428"/>
                  </a:lnTo>
                  <a:lnTo>
                    <a:pt x="438" y="1434"/>
                  </a:lnTo>
                  <a:lnTo>
                    <a:pt x="438" y="1428"/>
                  </a:lnTo>
                  <a:lnTo>
                    <a:pt x="438" y="1422"/>
                  </a:lnTo>
                  <a:lnTo>
                    <a:pt x="444" y="1416"/>
                  </a:lnTo>
                  <a:lnTo>
                    <a:pt x="444" y="1410"/>
                  </a:lnTo>
                  <a:lnTo>
                    <a:pt x="450" y="1416"/>
                  </a:lnTo>
                  <a:lnTo>
                    <a:pt x="456" y="1416"/>
                  </a:lnTo>
                  <a:lnTo>
                    <a:pt x="456" y="1422"/>
                  </a:lnTo>
                  <a:lnTo>
                    <a:pt x="456" y="1428"/>
                  </a:lnTo>
                  <a:lnTo>
                    <a:pt x="456" y="1434"/>
                  </a:lnTo>
                  <a:lnTo>
                    <a:pt x="456" y="1440"/>
                  </a:lnTo>
                  <a:lnTo>
                    <a:pt x="462" y="1440"/>
                  </a:lnTo>
                  <a:lnTo>
                    <a:pt x="462" y="1446"/>
                  </a:lnTo>
                  <a:lnTo>
                    <a:pt x="462" y="1452"/>
                  </a:lnTo>
                  <a:lnTo>
                    <a:pt x="456" y="1452"/>
                  </a:lnTo>
                  <a:lnTo>
                    <a:pt x="450" y="1452"/>
                  </a:lnTo>
                  <a:lnTo>
                    <a:pt x="444" y="1446"/>
                  </a:lnTo>
                  <a:lnTo>
                    <a:pt x="444" y="1452"/>
                  </a:lnTo>
                  <a:lnTo>
                    <a:pt x="450" y="1452"/>
                  </a:lnTo>
                  <a:lnTo>
                    <a:pt x="450" y="1458"/>
                  </a:lnTo>
                  <a:lnTo>
                    <a:pt x="444" y="1458"/>
                  </a:lnTo>
                  <a:lnTo>
                    <a:pt x="438" y="1464"/>
                  </a:lnTo>
                  <a:lnTo>
                    <a:pt x="438" y="1458"/>
                  </a:lnTo>
                  <a:lnTo>
                    <a:pt x="432" y="1458"/>
                  </a:lnTo>
                  <a:lnTo>
                    <a:pt x="426" y="1458"/>
                  </a:lnTo>
                  <a:lnTo>
                    <a:pt x="432" y="1458"/>
                  </a:lnTo>
                  <a:lnTo>
                    <a:pt x="438" y="1464"/>
                  </a:lnTo>
                  <a:lnTo>
                    <a:pt x="432" y="1464"/>
                  </a:lnTo>
                  <a:lnTo>
                    <a:pt x="432" y="1470"/>
                  </a:lnTo>
                  <a:lnTo>
                    <a:pt x="426" y="1470"/>
                  </a:lnTo>
                  <a:lnTo>
                    <a:pt x="420" y="1476"/>
                  </a:lnTo>
                  <a:lnTo>
                    <a:pt x="420" y="1470"/>
                  </a:lnTo>
                  <a:lnTo>
                    <a:pt x="414" y="1470"/>
                  </a:lnTo>
                  <a:lnTo>
                    <a:pt x="414" y="1464"/>
                  </a:lnTo>
                  <a:lnTo>
                    <a:pt x="414" y="1458"/>
                  </a:lnTo>
                  <a:lnTo>
                    <a:pt x="408" y="1458"/>
                  </a:lnTo>
                  <a:close/>
                  <a:moveTo>
                    <a:pt x="270" y="1326"/>
                  </a:moveTo>
                  <a:lnTo>
                    <a:pt x="270" y="1320"/>
                  </a:lnTo>
                  <a:lnTo>
                    <a:pt x="276" y="1320"/>
                  </a:lnTo>
                  <a:lnTo>
                    <a:pt x="282" y="1326"/>
                  </a:lnTo>
                  <a:lnTo>
                    <a:pt x="288" y="1326"/>
                  </a:lnTo>
                  <a:lnTo>
                    <a:pt x="288" y="1332"/>
                  </a:lnTo>
                  <a:lnTo>
                    <a:pt x="288" y="1338"/>
                  </a:lnTo>
                  <a:lnTo>
                    <a:pt x="288" y="1344"/>
                  </a:lnTo>
                  <a:lnTo>
                    <a:pt x="282" y="1344"/>
                  </a:lnTo>
                  <a:lnTo>
                    <a:pt x="282" y="1338"/>
                  </a:lnTo>
                  <a:lnTo>
                    <a:pt x="276" y="1338"/>
                  </a:lnTo>
                  <a:lnTo>
                    <a:pt x="276" y="1332"/>
                  </a:lnTo>
                  <a:lnTo>
                    <a:pt x="270" y="1332"/>
                  </a:lnTo>
                  <a:lnTo>
                    <a:pt x="270" y="1326"/>
                  </a:lnTo>
                  <a:close/>
                  <a:moveTo>
                    <a:pt x="288" y="1458"/>
                  </a:moveTo>
                  <a:lnTo>
                    <a:pt x="294" y="1458"/>
                  </a:lnTo>
                  <a:lnTo>
                    <a:pt x="294" y="1452"/>
                  </a:lnTo>
                  <a:lnTo>
                    <a:pt x="294" y="1446"/>
                  </a:lnTo>
                  <a:lnTo>
                    <a:pt x="300" y="1446"/>
                  </a:lnTo>
                  <a:lnTo>
                    <a:pt x="300" y="1440"/>
                  </a:lnTo>
                  <a:lnTo>
                    <a:pt x="306" y="1440"/>
                  </a:lnTo>
                  <a:lnTo>
                    <a:pt x="306" y="1446"/>
                  </a:lnTo>
                  <a:lnTo>
                    <a:pt x="312" y="1452"/>
                  </a:lnTo>
                  <a:lnTo>
                    <a:pt x="306" y="1452"/>
                  </a:lnTo>
                  <a:lnTo>
                    <a:pt x="306" y="1458"/>
                  </a:lnTo>
                  <a:lnTo>
                    <a:pt x="312" y="1464"/>
                  </a:lnTo>
                  <a:lnTo>
                    <a:pt x="306" y="1464"/>
                  </a:lnTo>
                  <a:lnTo>
                    <a:pt x="306" y="1470"/>
                  </a:lnTo>
                  <a:lnTo>
                    <a:pt x="300" y="1476"/>
                  </a:lnTo>
                  <a:lnTo>
                    <a:pt x="294" y="1476"/>
                  </a:lnTo>
                  <a:lnTo>
                    <a:pt x="294" y="1470"/>
                  </a:lnTo>
                  <a:lnTo>
                    <a:pt x="288" y="1470"/>
                  </a:lnTo>
                  <a:lnTo>
                    <a:pt x="288" y="1464"/>
                  </a:lnTo>
                  <a:lnTo>
                    <a:pt x="288" y="1458"/>
                  </a:lnTo>
                  <a:close/>
                  <a:moveTo>
                    <a:pt x="270" y="1296"/>
                  </a:moveTo>
                  <a:lnTo>
                    <a:pt x="276" y="1296"/>
                  </a:lnTo>
                  <a:lnTo>
                    <a:pt x="282" y="1296"/>
                  </a:lnTo>
                  <a:lnTo>
                    <a:pt x="288" y="1296"/>
                  </a:lnTo>
                  <a:lnTo>
                    <a:pt x="288" y="1302"/>
                  </a:lnTo>
                  <a:lnTo>
                    <a:pt x="282" y="1308"/>
                  </a:lnTo>
                  <a:lnTo>
                    <a:pt x="276" y="1308"/>
                  </a:lnTo>
                  <a:lnTo>
                    <a:pt x="276" y="1302"/>
                  </a:lnTo>
                  <a:lnTo>
                    <a:pt x="270" y="12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4" name="Freeform 19">
              <a:extLst>
                <a:ext uri="{FF2B5EF4-FFF2-40B4-BE49-F238E27FC236}">
                  <a16:creationId xmlns:a16="http://schemas.microsoft.com/office/drawing/2014/main" id="{5B9020B8-E1C1-4611-A248-9642BBD69C9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7043" y="3765821"/>
              <a:ext cx="333193" cy="398097"/>
            </a:xfrm>
            <a:custGeom>
              <a:avLst/>
              <a:gdLst>
                <a:gd name="T0" fmla="*/ 30 w 624"/>
                <a:gd name="T1" fmla="*/ 61 h 750"/>
                <a:gd name="T2" fmla="*/ 27 w 624"/>
                <a:gd name="T3" fmla="*/ 62 h 750"/>
                <a:gd name="T4" fmla="*/ 23 w 624"/>
                <a:gd name="T5" fmla="*/ 59 h 750"/>
                <a:gd name="T6" fmla="*/ 20 w 624"/>
                <a:gd name="T7" fmla="*/ 58 h 750"/>
                <a:gd name="T8" fmla="*/ 19 w 624"/>
                <a:gd name="T9" fmla="*/ 56 h 750"/>
                <a:gd name="T10" fmla="*/ 17 w 624"/>
                <a:gd name="T11" fmla="*/ 55 h 750"/>
                <a:gd name="T12" fmla="*/ 16 w 624"/>
                <a:gd name="T13" fmla="*/ 51 h 750"/>
                <a:gd name="T14" fmla="*/ 14 w 624"/>
                <a:gd name="T15" fmla="*/ 48 h 750"/>
                <a:gd name="T16" fmla="*/ 12 w 624"/>
                <a:gd name="T17" fmla="*/ 46 h 750"/>
                <a:gd name="T18" fmla="*/ 12 w 624"/>
                <a:gd name="T19" fmla="*/ 44 h 750"/>
                <a:gd name="T20" fmla="*/ 11 w 624"/>
                <a:gd name="T21" fmla="*/ 41 h 750"/>
                <a:gd name="T22" fmla="*/ 8 w 624"/>
                <a:gd name="T23" fmla="*/ 38 h 750"/>
                <a:gd name="T24" fmla="*/ 6 w 624"/>
                <a:gd name="T25" fmla="*/ 38 h 750"/>
                <a:gd name="T26" fmla="*/ 6 w 624"/>
                <a:gd name="T27" fmla="*/ 35 h 750"/>
                <a:gd name="T28" fmla="*/ 7 w 624"/>
                <a:gd name="T29" fmla="*/ 31 h 750"/>
                <a:gd name="T30" fmla="*/ 10 w 624"/>
                <a:gd name="T31" fmla="*/ 27 h 750"/>
                <a:gd name="T32" fmla="*/ 8 w 624"/>
                <a:gd name="T33" fmla="*/ 23 h 750"/>
                <a:gd name="T34" fmla="*/ 6 w 624"/>
                <a:gd name="T35" fmla="*/ 23 h 750"/>
                <a:gd name="T36" fmla="*/ 3 w 624"/>
                <a:gd name="T37" fmla="*/ 22 h 750"/>
                <a:gd name="T38" fmla="*/ 0 w 624"/>
                <a:gd name="T39" fmla="*/ 22 h 750"/>
                <a:gd name="T40" fmla="*/ 0 w 624"/>
                <a:gd name="T41" fmla="*/ 19 h 750"/>
                <a:gd name="T42" fmla="*/ 1 w 624"/>
                <a:gd name="T43" fmla="*/ 18 h 750"/>
                <a:gd name="T44" fmla="*/ 2 w 624"/>
                <a:gd name="T45" fmla="*/ 14 h 750"/>
                <a:gd name="T46" fmla="*/ 4 w 624"/>
                <a:gd name="T47" fmla="*/ 17 h 750"/>
                <a:gd name="T48" fmla="*/ 6 w 624"/>
                <a:gd name="T49" fmla="*/ 17 h 750"/>
                <a:gd name="T50" fmla="*/ 7 w 624"/>
                <a:gd name="T51" fmla="*/ 17 h 750"/>
                <a:gd name="T52" fmla="*/ 9 w 624"/>
                <a:gd name="T53" fmla="*/ 15 h 750"/>
                <a:gd name="T54" fmla="*/ 10 w 624"/>
                <a:gd name="T55" fmla="*/ 14 h 750"/>
                <a:gd name="T56" fmla="*/ 11 w 624"/>
                <a:gd name="T57" fmla="*/ 12 h 750"/>
                <a:gd name="T58" fmla="*/ 13 w 624"/>
                <a:gd name="T59" fmla="*/ 12 h 750"/>
                <a:gd name="T60" fmla="*/ 18 w 624"/>
                <a:gd name="T61" fmla="*/ 10 h 750"/>
                <a:gd name="T62" fmla="*/ 22 w 624"/>
                <a:gd name="T63" fmla="*/ 4 h 750"/>
                <a:gd name="T64" fmla="*/ 24 w 624"/>
                <a:gd name="T65" fmla="*/ 4 h 750"/>
                <a:gd name="T66" fmla="*/ 26 w 624"/>
                <a:gd name="T67" fmla="*/ 2 h 750"/>
                <a:gd name="T68" fmla="*/ 29 w 624"/>
                <a:gd name="T69" fmla="*/ 0 h 750"/>
                <a:gd name="T70" fmla="*/ 32 w 624"/>
                <a:gd name="T71" fmla="*/ 2 h 750"/>
                <a:gd name="T72" fmla="*/ 34 w 624"/>
                <a:gd name="T73" fmla="*/ 5 h 750"/>
                <a:gd name="T74" fmla="*/ 35 w 624"/>
                <a:gd name="T75" fmla="*/ 8 h 750"/>
                <a:gd name="T76" fmla="*/ 39 w 624"/>
                <a:gd name="T77" fmla="*/ 11 h 750"/>
                <a:gd name="T78" fmla="*/ 42 w 624"/>
                <a:gd name="T79" fmla="*/ 14 h 750"/>
                <a:gd name="T80" fmla="*/ 46 w 624"/>
                <a:gd name="T81" fmla="*/ 12 h 750"/>
                <a:gd name="T82" fmla="*/ 49 w 624"/>
                <a:gd name="T83" fmla="*/ 12 h 750"/>
                <a:gd name="T84" fmla="*/ 51 w 624"/>
                <a:gd name="T85" fmla="*/ 12 h 750"/>
                <a:gd name="T86" fmla="*/ 53 w 624"/>
                <a:gd name="T87" fmla="*/ 12 h 750"/>
                <a:gd name="T88" fmla="*/ 53 w 624"/>
                <a:gd name="T89" fmla="*/ 17 h 750"/>
                <a:gd name="T90" fmla="*/ 51 w 624"/>
                <a:gd name="T91" fmla="*/ 20 h 750"/>
                <a:gd name="T92" fmla="*/ 49 w 624"/>
                <a:gd name="T93" fmla="*/ 26 h 750"/>
                <a:gd name="T94" fmla="*/ 47 w 624"/>
                <a:gd name="T95" fmla="*/ 26 h 750"/>
                <a:gd name="T96" fmla="*/ 44 w 624"/>
                <a:gd name="T97" fmla="*/ 26 h 750"/>
                <a:gd name="T98" fmla="*/ 43 w 624"/>
                <a:gd name="T99" fmla="*/ 27 h 750"/>
                <a:gd name="T100" fmla="*/ 45 w 624"/>
                <a:gd name="T101" fmla="*/ 32 h 750"/>
                <a:gd name="T102" fmla="*/ 44 w 624"/>
                <a:gd name="T103" fmla="*/ 43 h 750"/>
                <a:gd name="T104" fmla="*/ 44 w 624"/>
                <a:gd name="T105" fmla="*/ 47 h 750"/>
                <a:gd name="T106" fmla="*/ 44 w 624"/>
                <a:gd name="T107" fmla="*/ 54 h 750"/>
                <a:gd name="T108" fmla="*/ 41 w 624"/>
                <a:gd name="T109" fmla="*/ 60 h 750"/>
                <a:gd name="T110" fmla="*/ 42 w 624"/>
                <a:gd name="T111" fmla="*/ 62 h 750"/>
                <a:gd name="T112" fmla="*/ 43 w 624"/>
                <a:gd name="T113" fmla="*/ 65 h 750"/>
                <a:gd name="T114" fmla="*/ 39 w 624"/>
                <a:gd name="T115" fmla="*/ 63 h 750"/>
                <a:gd name="T116" fmla="*/ 35 w 624"/>
                <a:gd name="T117" fmla="*/ 62 h 75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24"/>
                <a:gd name="T178" fmla="*/ 0 h 750"/>
                <a:gd name="T179" fmla="*/ 624 w 624"/>
                <a:gd name="T180" fmla="*/ 750 h 75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24" h="750">
                  <a:moveTo>
                    <a:pt x="390" y="702"/>
                  </a:moveTo>
                  <a:lnTo>
                    <a:pt x="372" y="696"/>
                  </a:lnTo>
                  <a:lnTo>
                    <a:pt x="360" y="702"/>
                  </a:lnTo>
                  <a:lnTo>
                    <a:pt x="348" y="702"/>
                  </a:lnTo>
                  <a:lnTo>
                    <a:pt x="336" y="702"/>
                  </a:lnTo>
                  <a:lnTo>
                    <a:pt x="330" y="702"/>
                  </a:lnTo>
                  <a:lnTo>
                    <a:pt x="318" y="708"/>
                  </a:lnTo>
                  <a:lnTo>
                    <a:pt x="306" y="708"/>
                  </a:lnTo>
                  <a:lnTo>
                    <a:pt x="294" y="690"/>
                  </a:lnTo>
                  <a:lnTo>
                    <a:pt x="294" y="684"/>
                  </a:lnTo>
                  <a:lnTo>
                    <a:pt x="276" y="684"/>
                  </a:lnTo>
                  <a:lnTo>
                    <a:pt x="270" y="678"/>
                  </a:lnTo>
                  <a:lnTo>
                    <a:pt x="240" y="672"/>
                  </a:lnTo>
                  <a:lnTo>
                    <a:pt x="234" y="672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6"/>
                  </a:lnTo>
                  <a:lnTo>
                    <a:pt x="216" y="660"/>
                  </a:lnTo>
                  <a:lnTo>
                    <a:pt x="216" y="654"/>
                  </a:lnTo>
                  <a:lnTo>
                    <a:pt x="216" y="642"/>
                  </a:lnTo>
                  <a:lnTo>
                    <a:pt x="210" y="642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36"/>
                  </a:lnTo>
                  <a:lnTo>
                    <a:pt x="192" y="624"/>
                  </a:lnTo>
                  <a:lnTo>
                    <a:pt x="186" y="612"/>
                  </a:lnTo>
                  <a:lnTo>
                    <a:pt x="186" y="600"/>
                  </a:lnTo>
                  <a:lnTo>
                    <a:pt x="186" y="588"/>
                  </a:lnTo>
                  <a:lnTo>
                    <a:pt x="180" y="582"/>
                  </a:lnTo>
                  <a:lnTo>
                    <a:pt x="180" y="570"/>
                  </a:lnTo>
                  <a:lnTo>
                    <a:pt x="174" y="558"/>
                  </a:lnTo>
                  <a:lnTo>
                    <a:pt x="162" y="558"/>
                  </a:lnTo>
                  <a:lnTo>
                    <a:pt x="144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38" y="534"/>
                  </a:lnTo>
                  <a:lnTo>
                    <a:pt x="138" y="528"/>
                  </a:lnTo>
                  <a:lnTo>
                    <a:pt x="132" y="522"/>
                  </a:lnTo>
                  <a:lnTo>
                    <a:pt x="144" y="522"/>
                  </a:lnTo>
                  <a:lnTo>
                    <a:pt x="144" y="510"/>
                  </a:lnTo>
                  <a:lnTo>
                    <a:pt x="144" y="504"/>
                  </a:lnTo>
                  <a:lnTo>
                    <a:pt x="138" y="492"/>
                  </a:lnTo>
                  <a:lnTo>
                    <a:pt x="138" y="474"/>
                  </a:lnTo>
                  <a:lnTo>
                    <a:pt x="126" y="468"/>
                  </a:lnTo>
                  <a:lnTo>
                    <a:pt x="120" y="456"/>
                  </a:lnTo>
                  <a:lnTo>
                    <a:pt x="114" y="450"/>
                  </a:lnTo>
                  <a:lnTo>
                    <a:pt x="108" y="438"/>
                  </a:lnTo>
                  <a:lnTo>
                    <a:pt x="96" y="432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60" y="426"/>
                  </a:lnTo>
                  <a:lnTo>
                    <a:pt x="66" y="420"/>
                  </a:lnTo>
                  <a:lnTo>
                    <a:pt x="66" y="408"/>
                  </a:lnTo>
                  <a:lnTo>
                    <a:pt x="72" y="408"/>
                  </a:lnTo>
                  <a:lnTo>
                    <a:pt x="72" y="384"/>
                  </a:lnTo>
                  <a:lnTo>
                    <a:pt x="72" y="366"/>
                  </a:lnTo>
                  <a:lnTo>
                    <a:pt x="78" y="354"/>
                  </a:lnTo>
                  <a:lnTo>
                    <a:pt x="84" y="354"/>
                  </a:lnTo>
                  <a:lnTo>
                    <a:pt x="90" y="348"/>
                  </a:lnTo>
                  <a:lnTo>
                    <a:pt x="102" y="336"/>
                  </a:lnTo>
                  <a:lnTo>
                    <a:pt x="114" y="324"/>
                  </a:lnTo>
                  <a:lnTo>
                    <a:pt x="120" y="312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20" y="276"/>
                  </a:lnTo>
                  <a:lnTo>
                    <a:pt x="96" y="270"/>
                  </a:lnTo>
                  <a:lnTo>
                    <a:pt x="84" y="270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72" y="264"/>
                  </a:lnTo>
                  <a:lnTo>
                    <a:pt x="60" y="252"/>
                  </a:lnTo>
                  <a:lnTo>
                    <a:pt x="42" y="252"/>
                  </a:lnTo>
                  <a:lnTo>
                    <a:pt x="42" y="258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18" y="252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42" y="156"/>
                  </a:lnTo>
                  <a:lnTo>
                    <a:pt x="48" y="198"/>
                  </a:lnTo>
                  <a:lnTo>
                    <a:pt x="48" y="204"/>
                  </a:lnTo>
                  <a:lnTo>
                    <a:pt x="54" y="198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204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192"/>
                  </a:lnTo>
                  <a:lnTo>
                    <a:pt x="96" y="186"/>
                  </a:lnTo>
                  <a:lnTo>
                    <a:pt x="102" y="180"/>
                  </a:lnTo>
                  <a:lnTo>
                    <a:pt x="102" y="174"/>
                  </a:lnTo>
                  <a:lnTo>
                    <a:pt x="108" y="168"/>
                  </a:lnTo>
                  <a:lnTo>
                    <a:pt x="108" y="162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0"/>
                  </a:lnTo>
                  <a:lnTo>
                    <a:pt x="132" y="144"/>
                  </a:lnTo>
                  <a:lnTo>
                    <a:pt x="138" y="138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0" y="132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74" y="126"/>
                  </a:lnTo>
                  <a:lnTo>
                    <a:pt x="204" y="120"/>
                  </a:lnTo>
                  <a:lnTo>
                    <a:pt x="210" y="78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54"/>
                  </a:lnTo>
                  <a:lnTo>
                    <a:pt x="276" y="54"/>
                  </a:lnTo>
                  <a:lnTo>
                    <a:pt x="276" y="48"/>
                  </a:lnTo>
                  <a:lnTo>
                    <a:pt x="282" y="48"/>
                  </a:lnTo>
                  <a:lnTo>
                    <a:pt x="288" y="42"/>
                  </a:lnTo>
                  <a:lnTo>
                    <a:pt x="294" y="42"/>
                  </a:lnTo>
                  <a:lnTo>
                    <a:pt x="294" y="18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0"/>
                  </a:lnTo>
                  <a:lnTo>
                    <a:pt x="336" y="0"/>
                  </a:lnTo>
                  <a:lnTo>
                    <a:pt x="342" y="0"/>
                  </a:lnTo>
                  <a:lnTo>
                    <a:pt x="354" y="6"/>
                  </a:lnTo>
                  <a:lnTo>
                    <a:pt x="366" y="18"/>
                  </a:lnTo>
                  <a:lnTo>
                    <a:pt x="378" y="36"/>
                  </a:lnTo>
                  <a:lnTo>
                    <a:pt x="390" y="42"/>
                  </a:lnTo>
                  <a:lnTo>
                    <a:pt x="390" y="48"/>
                  </a:lnTo>
                  <a:lnTo>
                    <a:pt x="396" y="60"/>
                  </a:lnTo>
                  <a:lnTo>
                    <a:pt x="402" y="72"/>
                  </a:lnTo>
                  <a:lnTo>
                    <a:pt x="408" y="78"/>
                  </a:lnTo>
                  <a:lnTo>
                    <a:pt x="402" y="84"/>
                  </a:lnTo>
                  <a:lnTo>
                    <a:pt x="408" y="90"/>
                  </a:lnTo>
                  <a:lnTo>
                    <a:pt x="414" y="102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50" y="126"/>
                  </a:lnTo>
                  <a:lnTo>
                    <a:pt x="456" y="126"/>
                  </a:lnTo>
                  <a:lnTo>
                    <a:pt x="462" y="144"/>
                  </a:lnTo>
                  <a:lnTo>
                    <a:pt x="480" y="156"/>
                  </a:lnTo>
                  <a:lnTo>
                    <a:pt x="492" y="156"/>
                  </a:lnTo>
                  <a:lnTo>
                    <a:pt x="516" y="150"/>
                  </a:lnTo>
                  <a:lnTo>
                    <a:pt x="516" y="144"/>
                  </a:lnTo>
                  <a:lnTo>
                    <a:pt x="516" y="138"/>
                  </a:lnTo>
                  <a:lnTo>
                    <a:pt x="528" y="138"/>
                  </a:lnTo>
                  <a:lnTo>
                    <a:pt x="546" y="144"/>
                  </a:lnTo>
                  <a:lnTo>
                    <a:pt x="546" y="138"/>
                  </a:lnTo>
                  <a:lnTo>
                    <a:pt x="552" y="138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76" y="138"/>
                  </a:lnTo>
                  <a:lnTo>
                    <a:pt x="582" y="138"/>
                  </a:lnTo>
                  <a:lnTo>
                    <a:pt x="588" y="138"/>
                  </a:lnTo>
                  <a:lnTo>
                    <a:pt x="594" y="138"/>
                  </a:lnTo>
                  <a:lnTo>
                    <a:pt x="594" y="144"/>
                  </a:lnTo>
                  <a:lnTo>
                    <a:pt x="600" y="138"/>
                  </a:lnTo>
                  <a:lnTo>
                    <a:pt x="606" y="138"/>
                  </a:lnTo>
                  <a:lnTo>
                    <a:pt x="606" y="144"/>
                  </a:lnTo>
                  <a:lnTo>
                    <a:pt x="612" y="144"/>
                  </a:lnTo>
                  <a:lnTo>
                    <a:pt x="618" y="156"/>
                  </a:lnTo>
                  <a:lnTo>
                    <a:pt x="612" y="198"/>
                  </a:lnTo>
                  <a:lnTo>
                    <a:pt x="624" y="198"/>
                  </a:lnTo>
                  <a:lnTo>
                    <a:pt x="624" y="204"/>
                  </a:lnTo>
                  <a:lnTo>
                    <a:pt x="612" y="216"/>
                  </a:lnTo>
                  <a:lnTo>
                    <a:pt x="594" y="234"/>
                  </a:lnTo>
                  <a:lnTo>
                    <a:pt x="588" y="252"/>
                  </a:lnTo>
                  <a:lnTo>
                    <a:pt x="576" y="270"/>
                  </a:lnTo>
                  <a:lnTo>
                    <a:pt x="564" y="282"/>
                  </a:lnTo>
                  <a:lnTo>
                    <a:pt x="564" y="294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8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34" y="294"/>
                  </a:lnTo>
                  <a:lnTo>
                    <a:pt x="522" y="300"/>
                  </a:lnTo>
                  <a:lnTo>
                    <a:pt x="510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498" y="324"/>
                  </a:lnTo>
                  <a:lnTo>
                    <a:pt x="504" y="336"/>
                  </a:lnTo>
                  <a:lnTo>
                    <a:pt x="510" y="348"/>
                  </a:lnTo>
                  <a:lnTo>
                    <a:pt x="516" y="366"/>
                  </a:lnTo>
                  <a:lnTo>
                    <a:pt x="522" y="432"/>
                  </a:lnTo>
                  <a:lnTo>
                    <a:pt x="522" y="456"/>
                  </a:lnTo>
                  <a:lnTo>
                    <a:pt x="504" y="492"/>
                  </a:lnTo>
                  <a:lnTo>
                    <a:pt x="504" y="498"/>
                  </a:lnTo>
                  <a:lnTo>
                    <a:pt x="498" y="504"/>
                  </a:lnTo>
                  <a:lnTo>
                    <a:pt x="498" y="522"/>
                  </a:lnTo>
                  <a:lnTo>
                    <a:pt x="504" y="534"/>
                  </a:lnTo>
                  <a:lnTo>
                    <a:pt x="510" y="546"/>
                  </a:lnTo>
                  <a:lnTo>
                    <a:pt x="516" y="558"/>
                  </a:lnTo>
                  <a:lnTo>
                    <a:pt x="516" y="588"/>
                  </a:lnTo>
                  <a:lnTo>
                    <a:pt x="516" y="600"/>
                  </a:lnTo>
                  <a:lnTo>
                    <a:pt x="510" y="618"/>
                  </a:lnTo>
                  <a:lnTo>
                    <a:pt x="504" y="636"/>
                  </a:lnTo>
                  <a:lnTo>
                    <a:pt x="504" y="642"/>
                  </a:lnTo>
                  <a:lnTo>
                    <a:pt x="474" y="654"/>
                  </a:lnTo>
                  <a:lnTo>
                    <a:pt x="474" y="690"/>
                  </a:lnTo>
                  <a:lnTo>
                    <a:pt x="474" y="696"/>
                  </a:lnTo>
                  <a:lnTo>
                    <a:pt x="480" y="702"/>
                  </a:lnTo>
                  <a:lnTo>
                    <a:pt x="486" y="708"/>
                  </a:lnTo>
                  <a:lnTo>
                    <a:pt x="492" y="708"/>
                  </a:lnTo>
                  <a:lnTo>
                    <a:pt x="498" y="726"/>
                  </a:lnTo>
                  <a:lnTo>
                    <a:pt x="504" y="726"/>
                  </a:lnTo>
                  <a:lnTo>
                    <a:pt x="504" y="738"/>
                  </a:lnTo>
                  <a:lnTo>
                    <a:pt x="498" y="744"/>
                  </a:lnTo>
                  <a:lnTo>
                    <a:pt x="486" y="750"/>
                  </a:lnTo>
                  <a:lnTo>
                    <a:pt x="474" y="744"/>
                  </a:lnTo>
                  <a:lnTo>
                    <a:pt x="462" y="744"/>
                  </a:lnTo>
                  <a:lnTo>
                    <a:pt x="456" y="732"/>
                  </a:lnTo>
                  <a:lnTo>
                    <a:pt x="444" y="732"/>
                  </a:lnTo>
                  <a:lnTo>
                    <a:pt x="432" y="726"/>
                  </a:lnTo>
                  <a:lnTo>
                    <a:pt x="420" y="720"/>
                  </a:lnTo>
                  <a:lnTo>
                    <a:pt x="408" y="708"/>
                  </a:lnTo>
                  <a:lnTo>
                    <a:pt x="402" y="708"/>
                  </a:lnTo>
                  <a:lnTo>
                    <a:pt x="390" y="70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5" name="Freeform 20">
              <a:extLst>
                <a:ext uri="{FF2B5EF4-FFF2-40B4-BE49-F238E27FC236}">
                  <a16:creationId xmlns:a16="http://schemas.microsoft.com/office/drawing/2014/main" id="{B8342C3B-ECEC-465F-AAFF-4815B8AC392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870937"/>
              <a:ext cx="313067" cy="377968"/>
            </a:xfrm>
            <a:custGeom>
              <a:avLst/>
              <a:gdLst>
                <a:gd name="T0" fmla="*/ 15 w 588"/>
                <a:gd name="T1" fmla="*/ 59 h 714"/>
                <a:gd name="T2" fmla="*/ 14 w 588"/>
                <a:gd name="T3" fmla="*/ 58 h 714"/>
                <a:gd name="T4" fmla="*/ 9 w 588"/>
                <a:gd name="T5" fmla="*/ 54 h 714"/>
                <a:gd name="T6" fmla="*/ 4 w 588"/>
                <a:gd name="T7" fmla="*/ 54 h 714"/>
                <a:gd name="T8" fmla="*/ 0 w 588"/>
                <a:gd name="T9" fmla="*/ 50 h 714"/>
                <a:gd name="T10" fmla="*/ 0 w 588"/>
                <a:gd name="T11" fmla="*/ 44 h 714"/>
                <a:gd name="T12" fmla="*/ 4 w 588"/>
                <a:gd name="T13" fmla="*/ 46 h 714"/>
                <a:gd name="T14" fmla="*/ 7 w 588"/>
                <a:gd name="T15" fmla="*/ 47 h 714"/>
                <a:gd name="T16" fmla="*/ 10 w 588"/>
                <a:gd name="T17" fmla="*/ 46 h 714"/>
                <a:gd name="T18" fmla="*/ 8 w 588"/>
                <a:gd name="T19" fmla="*/ 44 h 714"/>
                <a:gd name="T20" fmla="*/ 10 w 588"/>
                <a:gd name="T21" fmla="*/ 39 h 714"/>
                <a:gd name="T22" fmla="*/ 11 w 588"/>
                <a:gd name="T23" fmla="*/ 34 h 714"/>
                <a:gd name="T24" fmla="*/ 9 w 588"/>
                <a:gd name="T25" fmla="*/ 28 h 714"/>
                <a:gd name="T26" fmla="*/ 11 w 588"/>
                <a:gd name="T27" fmla="*/ 22 h 714"/>
                <a:gd name="T28" fmla="*/ 10 w 588"/>
                <a:gd name="T29" fmla="*/ 12 h 714"/>
                <a:gd name="T30" fmla="*/ 9 w 588"/>
                <a:gd name="T31" fmla="*/ 9 h 714"/>
                <a:gd name="T32" fmla="*/ 12 w 588"/>
                <a:gd name="T33" fmla="*/ 8 h 714"/>
                <a:gd name="T34" fmla="*/ 14 w 588"/>
                <a:gd name="T35" fmla="*/ 7 h 714"/>
                <a:gd name="T36" fmla="*/ 17 w 588"/>
                <a:gd name="T37" fmla="*/ 10 h 714"/>
                <a:gd name="T38" fmla="*/ 23 w 588"/>
                <a:gd name="T39" fmla="*/ 14 h 714"/>
                <a:gd name="T40" fmla="*/ 28 w 588"/>
                <a:gd name="T41" fmla="*/ 4 h 714"/>
                <a:gd name="T42" fmla="*/ 35 w 588"/>
                <a:gd name="T43" fmla="*/ 2 h 714"/>
                <a:gd name="T44" fmla="*/ 38 w 588"/>
                <a:gd name="T45" fmla="*/ 0 h 714"/>
                <a:gd name="T46" fmla="*/ 40 w 588"/>
                <a:gd name="T47" fmla="*/ 2 h 714"/>
                <a:gd name="T48" fmla="*/ 39 w 588"/>
                <a:gd name="T49" fmla="*/ 4 h 714"/>
                <a:gd name="T50" fmla="*/ 41 w 588"/>
                <a:gd name="T51" fmla="*/ 5 h 714"/>
                <a:gd name="T52" fmla="*/ 42 w 588"/>
                <a:gd name="T53" fmla="*/ 7 h 714"/>
                <a:gd name="T54" fmla="*/ 43 w 588"/>
                <a:gd name="T55" fmla="*/ 9 h 714"/>
                <a:gd name="T56" fmla="*/ 43 w 588"/>
                <a:gd name="T57" fmla="*/ 10 h 714"/>
                <a:gd name="T58" fmla="*/ 43 w 588"/>
                <a:gd name="T59" fmla="*/ 12 h 714"/>
                <a:gd name="T60" fmla="*/ 44 w 588"/>
                <a:gd name="T61" fmla="*/ 12 h 714"/>
                <a:gd name="T62" fmla="*/ 46 w 588"/>
                <a:gd name="T63" fmla="*/ 13 h 714"/>
                <a:gd name="T64" fmla="*/ 47 w 588"/>
                <a:gd name="T65" fmla="*/ 14 h 714"/>
                <a:gd name="T66" fmla="*/ 48 w 588"/>
                <a:gd name="T67" fmla="*/ 15 h 714"/>
                <a:gd name="T68" fmla="*/ 49 w 588"/>
                <a:gd name="T69" fmla="*/ 15 h 714"/>
                <a:gd name="T70" fmla="*/ 48 w 588"/>
                <a:gd name="T71" fmla="*/ 17 h 714"/>
                <a:gd name="T72" fmla="*/ 49 w 588"/>
                <a:gd name="T73" fmla="*/ 19 h 714"/>
                <a:gd name="T74" fmla="*/ 49 w 588"/>
                <a:gd name="T75" fmla="*/ 20 h 714"/>
                <a:gd name="T76" fmla="*/ 51 w 588"/>
                <a:gd name="T77" fmla="*/ 21 h 714"/>
                <a:gd name="T78" fmla="*/ 50 w 588"/>
                <a:gd name="T79" fmla="*/ 22 h 714"/>
                <a:gd name="T80" fmla="*/ 47 w 588"/>
                <a:gd name="T81" fmla="*/ 23 h 714"/>
                <a:gd name="T82" fmla="*/ 47 w 588"/>
                <a:gd name="T83" fmla="*/ 26 h 714"/>
                <a:gd name="T84" fmla="*/ 47 w 588"/>
                <a:gd name="T85" fmla="*/ 32 h 714"/>
                <a:gd name="T86" fmla="*/ 44 w 588"/>
                <a:gd name="T87" fmla="*/ 35 h 714"/>
                <a:gd name="T88" fmla="*/ 42 w 588"/>
                <a:gd name="T89" fmla="*/ 39 h 714"/>
                <a:gd name="T90" fmla="*/ 42 w 588"/>
                <a:gd name="T91" fmla="*/ 41 h 714"/>
                <a:gd name="T92" fmla="*/ 42 w 588"/>
                <a:gd name="T93" fmla="*/ 42 h 714"/>
                <a:gd name="T94" fmla="*/ 41 w 588"/>
                <a:gd name="T95" fmla="*/ 44 h 714"/>
                <a:gd name="T96" fmla="*/ 39 w 588"/>
                <a:gd name="T97" fmla="*/ 43 h 714"/>
                <a:gd name="T98" fmla="*/ 37 w 588"/>
                <a:gd name="T99" fmla="*/ 44 h 714"/>
                <a:gd name="T100" fmla="*/ 35 w 588"/>
                <a:gd name="T101" fmla="*/ 46 h 714"/>
                <a:gd name="T102" fmla="*/ 31 w 588"/>
                <a:gd name="T103" fmla="*/ 45 h 714"/>
                <a:gd name="T104" fmla="*/ 24 w 588"/>
                <a:gd name="T105" fmla="*/ 45 h 714"/>
                <a:gd name="T106" fmla="*/ 25 w 588"/>
                <a:gd name="T107" fmla="*/ 47 h 714"/>
                <a:gd name="T108" fmla="*/ 25 w 588"/>
                <a:gd name="T109" fmla="*/ 49 h 714"/>
                <a:gd name="T110" fmla="*/ 25 w 588"/>
                <a:gd name="T111" fmla="*/ 50 h 714"/>
                <a:gd name="T112" fmla="*/ 24 w 588"/>
                <a:gd name="T113" fmla="*/ 51 h 714"/>
                <a:gd name="T114" fmla="*/ 22 w 588"/>
                <a:gd name="T115" fmla="*/ 53 h 714"/>
                <a:gd name="T116" fmla="*/ 23 w 588"/>
                <a:gd name="T117" fmla="*/ 56 h 714"/>
                <a:gd name="T118" fmla="*/ 20 w 588"/>
                <a:gd name="T119" fmla="*/ 58 h 714"/>
                <a:gd name="T120" fmla="*/ 19 w 588"/>
                <a:gd name="T121" fmla="*/ 62 h 7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8"/>
                <a:gd name="T184" fmla="*/ 0 h 714"/>
                <a:gd name="T185" fmla="*/ 588 w 588"/>
                <a:gd name="T186" fmla="*/ 714 h 7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8" h="714">
                  <a:moveTo>
                    <a:pt x="216" y="714"/>
                  </a:moveTo>
                  <a:lnTo>
                    <a:pt x="198" y="702"/>
                  </a:lnTo>
                  <a:lnTo>
                    <a:pt x="186" y="696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74" y="678"/>
                  </a:lnTo>
                  <a:lnTo>
                    <a:pt x="168" y="672"/>
                  </a:lnTo>
                  <a:lnTo>
                    <a:pt x="162" y="666"/>
                  </a:lnTo>
                  <a:lnTo>
                    <a:pt x="156" y="636"/>
                  </a:lnTo>
                  <a:lnTo>
                    <a:pt x="144" y="630"/>
                  </a:lnTo>
                  <a:lnTo>
                    <a:pt x="108" y="630"/>
                  </a:lnTo>
                  <a:lnTo>
                    <a:pt x="102" y="624"/>
                  </a:lnTo>
                  <a:lnTo>
                    <a:pt x="96" y="624"/>
                  </a:lnTo>
                  <a:lnTo>
                    <a:pt x="72" y="624"/>
                  </a:lnTo>
                  <a:lnTo>
                    <a:pt x="54" y="624"/>
                  </a:lnTo>
                  <a:lnTo>
                    <a:pt x="42" y="618"/>
                  </a:lnTo>
                  <a:lnTo>
                    <a:pt x="30" y="612"/>
                  </a:lnTo>
                  <a:lnTo>
                    <a:pt x="6" y="606"/>
                  </a:lnTo>
                  <a:lnTo>
                    <a:pt x="0" y="606"/>
                  </a:lnTo>
                  <a:lnTo>
                    <a:pt x="0" y="570"/>
                  </a:lnTo>
                  <a:lnTo>
                    <a:pt x="6" y="552"/>
                  </a:lnTo>
                  <a:lnTo>
                    <a:pt x="6" y="522"/>
                  </a:lnTo>
                  <a:lnTo>
                    <a:pt x="0" y="510"/>
                  </a:lnTo>
                  <a:lnTo>
                    <a:pt x="0" y="504"/>
                  </a:lnTo>
                  <a:lnTo>
                    <a:pt x="12" y="510"/>
                  </a:lnTo>
                  <a:lnTo>
                    <a:pt x="18" y="510"/>
                  </a:lnTo>
                  <a:lnTo>
                    <a:pt x="30" y="522"/>
                  </a:lnTo>
                  <a:lnTo>
                    <a:pt x="42" y="528"/>
                  </a:lnTo>
                  <a:lnTo>
                    <a:pt x="54" y="534"/>
                  </a:lnTo>
                  <a:lnTo>
                    <a:pt x="66" y="534"/>
                  </a:lnTo>
                  <a:lnTo>
                    <a:pt x="72" y="546"/>
                  </a:lnTo>
                  <a:lnTo>
                    <a:pt x="84" y="546"/>
                  </a:lnTo>
                  <a:lnTo>
                    <a:pt x="96" y="552"/>
                  </a:lnTo>
                  <a:lnTo>
                    <a:pt x="108" y="546"/>
                  </a:lnTo>
                  <a:lnTo>
                    <a:pt x="114" y="540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90" y="504"/>
                  </a:lnTo>
                  <a:lnTo>
                    <a:pt x="84" y="498"/>
                  </a:lnTo>
                  <a:lnTo>
                    <a:pt x="84" y="492"/>
                  </a:lnTo>
                  <a:lnTo>
                    <a:pt x="84" y="456"/>
                  </a:lnTo>
                  <a:lnTo>
                    <a:pt x="114" y="444"/>
                  </a:lnTo>
                  <a:lnTo>
                    <a:pt x="114" y="438"/>
                  </a:lnTo>
                  <a:lnTo>
                    <a:pt x="120" y="420"/>
                  </a:lnTo>
                  <a:lnTo>
                    <a:pt x="126" y="402"/>
                  </a:lnTo>
                  <a:lnTo>
                    <a:pt x="126" y="390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14" y="336"/>
                  </a:lnTo>
                  <a:lnTo>
                    <a:pt x="108" y="324"/>
                  </a:lnTo>
                  <a:lnTo>
                    <a:pt x="108" y="306"/>
                  </a:lnTo>
                  <a:lnTo>
                    <a:pt x="114" y="300"/>
                  </a:lnTo>
                  <a:lnTo>
                    <a:pt x="114" y="294"/>
                  </a:lnTo>
                  <a:lnTo>
                    <a:pt x="132" y="258"/>
                  </a:lnTo>
                  <a:lnTo>
                    <a:pt x="132" y="234"/>
                  </a:lnTo>
                  <a:lnTo>
                    <a:pt x="126" y="168"/>
                  </a:lnTo>
                  <a:lnTo>
                    <a:pt x="120" y="150"/>
                  </a:lnTo>
                  <a:lnTo>
                    <a:pt x="114" y="138"/>
                  </a:lnTo>
                  <a:lnTo>
                    <a:pt x="108" y="126"/>
                  </a:lnTo>
                  <a:lnTo>
                    <a:pt x="108" y="120"/>
                  </a:lnTo>
                  <a:lnTo>
                    <a:pt x="108" y="114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20" y="96"/>
                  </a:lnTo>
                  <a:lnTo>
                    <a:pt x="132" y="102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56" y="90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96"/>
                  </a:lnTo>
                  <a:lnTo>
                    <a:pt x="186" y="96"/>
                  </a:lnTo>
                  <a:lnTo>
                    <a:pt x="192" y="114"/>
                  </a:lnTo>
                  <a:lnTo>
                    <a:pt x="204" y="132"/>
                  </a:lnTo>
                  <a:lnTo>
                    <a:pt x="216" y="144"/>
                  </a:lnTo>
                  <a:lnTo>
                    <a:pt x="240" y="162"/>
                  </a:lnTo>
                  <a:lnTo>
                    <a:pt x="270" y="156"/>
                  </a:lnTo>
                  <a:lnTo>
                    <a:pt x="282" y="126"/>
                  </a:lnTo>
                  <a:lnTo>
                    <a:pt x="282" y="96"/>
                  </a:lnTo>
                  <a:lnTo>
                    <a:pt x="294" y="54"/>
                  </a:lnTo>
                  <a:lnTo>
                    <a:pt x="324" y="48"/>
                  </a:lnTo>
                  <a:lnTo>
                    <a:pt x="342" y="48"/>
                  </a:lnTo>
                  <a:lnTo>
                    <a:pt x="384" y="48"/>
                  </a:lnTo>
                  <a:lnTo>
                    <a:pt x="390" y="30"/>
                  </a:lnTo>
                  <a:lnTo>
                    <a:pt x="402" y="18"/>
                  </a:lnTo>
                  <a:lnTo>
                    <a:pt x="438" y="6"/>
                  </a:lnTo>
                  <a:lnTo>
                    <a:pt x="438" y="0"/>
                  </a:lnTo>
                  <a:lnTo>
                    <a:pt x="444" y="0"/>
                  </a:lnTo>
                  <a:lnTo>
                    <a:pt x="444" y="6"/>
                  </a:lnTo>
                  <a:lnTo>
                    <a:pt x="450" y="6"/>
                  </a:lnTo>
                  <a:lnTo>
                    <a:pt x="456" y="12"/>
                  </a:lnTo>
                  <a:lnTo>
                    <a:pt x="456" y="18"/>
                  </a:lnTo>
                  <a:lnTo>
                    <a:pt x="462" y="24"/>
                  </a:lnTo>
                  <a:lnTo>
                    <a:pt x="462" y="30"/>
                  </a:lnTo>
                  <a:lnTo>
                    <a:pt x="468" y="36"/>
                  </a:lnTo>
                  <a:lnTo>
                    <a:pt x="462" y="36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74" y="60"/>
                  </a:lnTo>
                  <a:lnTo>
                    <a:pt x="486" y="78"/>
                  </a:lnTo>
                  <a:lnTo>
                    <a:pt x="486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8" y="102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498" y="114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504" y="126"/>
                  </a:lnTo>
                  <a:lnTo>
                    <a:pt x="498" y="132"/>
                  </a:lnTo>
                  <a:lnTo>
                    <a:pt x="504" y="138"/>
                  </a:lnTo>
                  <a:lnTo>
                    <a:pt x="504" y="132"/>
                  </a:lnTo>
                  <a:lnTo>
                    <a:pt x="510" y="132"/>
                  </a:lnTo>
                  <a:lnTo>
                    <a:pt x="510" y="138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56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6" y="168"/>
                  </a:lnTo>
                  <a:lnTo>
                    <a:pt x="552" y="168"/>
                  </a:lnTo>
                  <a:lnTo>
                    <a:pt x="546" y="168"/>
                  </a:lnTo>
                  <a:lnTo>
                    <a:pt x="546" y="174"/>
                  </a:lnTo>
                  <a:lnTo>
                    <a:pt x="558" y="180"/>
                  </a:lnTo>
                  <a:lnTo>
                    <a:pt x="564" y="180"/>
                  </a:lnTo>
                  <a:lnTo>
                    <a:pt x="564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52" y="198"/>
                  </a:lnTo>
                  <a:lnTo>
                    <a:pt x="558" y="204"/>
                  </a:lnTo>
                  <a:lnTo>
                    <a:pt x="564" y="204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22"/>
                  </a:lnTo>
                  <a:lnTo>
                    <a:pt x="576" y="228"/>
                  </a:lnTo>
                  <a:lnTo>
                    <a:pt x="570" y="228"/>
                  </a:lnTo>
                  <a:lnTo>
                    <a:pt x="570" y="234"/>
                  </a:lnTo>
                  <a:lnTo>
                    <a:pt x="576" y="234"/>
                  </a:lnTo>
                  <a:lnTo>
                    <a:pt x="582" y="234"/>
                  </a:lnTo>
                  <a:lnTo>
                    <a:pt x="588" y="234"/>
                  </a:lnTo>
                  <a:lnTo>
                    <a:pt x="588" y="240"/>
                  </a:lnTo>
                  <a:lnTo>
                    <a:pt x="588" y="246"/>
                  </a:lnTo>
                  <a:lnTo>
                    <a:pt x="588" y="252"/>
                  </a:lnTo>
                  <a:lnTo>
                    <a:pt x="582" y="252"/>
                  </a:lnTo>
                  <a:lnTo>
                    <a:pt x="576" y="252"/>
                  </a:lnTo>
                  <a:lnTo>
                    <a:pt x="582" y="258"/>
                  </a:lnTo>
                  <a:lnTo>
                    <a:pt x="582" y="264"/>
                  </a:lnTo>
                  <a:lnTo>
                    <a:pt x="576" y="264"/>
                  </a:lnTo>
                  <a:lnTo>
                    <a:pt x="546" y="264"/>
                  </a:lnTo>
                  <a:lnTo>
                    <a:pt x="546" y="276"/>
                  </a:lnTo>
                  <a:lnTo>
                    <a:pt x="540" y="282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40" y="324"/>
                  </a:lnTo>
                  <a:lnTo>
                    <a:pt x="552" y="330"/>
                  </a:lnTo>
                  <a:lnTo>
                    <a:pt x="558" y="342"/>
                  </a:lnTo>
                  <a:lnTo>
                    <a:pt x="546" y="372"/>
                  </a:lnTo>
                  <a:lnTo>
                    <a:pt x="534" y="372"/>
                  </a:lnTo>
                  <a:lnTo>
                    <a:pt x="534" y="384"/>
                  </a:lnTo>
                  <a:lnTo>
                    <a:pt x="522" y="384"/>
                  </a:lnTo>
                  <a:lnTo>
                    <a:pt x="510" y="402"/>
                  </a:lnTo>
                  <a:lnTo>
                    <a:pt x="504" y="420"/>
                  </a:lnTo>
                  <a:lnTo>
                    <a:pt x="492" y="426"/>
                  </a:lnTo>
                  <a:lnTo>
                    <a:pt x="486" y="432"/>
                  </a:lnTo>
                  <a:lnTo>
                    <a:pt x="486" y="444"/>
                  </a:lnTo>
                  <a:lnTo>
                    <a:pt x="486" y="450"/>
                  </a:lnTo>
                  <a:lnTo>
                    <a:pt x="486" y="456"/>
                  </a:lnTo>
                  <a:lnTo>
                    <a:pt x="486" y="462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80" y="474"/>
                  </a:lnTo>
                  <a:lnTo>
                    <a:pt x="480" y="480"/>
                  </a:lnTo>
                  <a:lnTo>
                    <a:pt x="480" y="486"/>
                  </a:lnTo>
                  <a:lnTo>
                    <a:pt x="480" y="492"/>
                  </a:lnTo>
                  <a:lnTo>
                    <a:pt x="480" y="498"/>
                  </a:lnTo>
                  <a:lnTo>
                    <a:pt x="474" y="504"/>
                  </a:lnTo>
                  <a:lnTo>
                    <a:pt x="468" y="510"/>
                  </a:lnTo>
                  <a:lnTo>
                    <a:pt x="462" y="510"/>
                  </a:lnTo>
                  <a:lnTo>
                    <a:pt x="456" y="504"/>
                  </a:lnTo>
                  <a:lnTo>
                    <a:pt x="456" y="498"/>
                  </a:lnTo>
                  <a:lnTo>
                    <a:pt x="450" y="498"/>
                  </a:lnTo>
                  <a:lnTo>
                    <a:pt x="444" y="498"/>
                  </a:lnTo>
                  <a:lnTo>
                    <a:pt x="438" y="498"/>
                  </a:lnTo>
                  <a:lnTo>
                    <a:pt x="432" y="498"/>
                  </a:lnTo>
                  <a:lnTo>
                    <a:pt x="426" y="504"/>
                  </a:lnTo>
                  <a:lnTo>
                    <a:pt x="426" y="510"/>
                  </a:lnTo>
                  <a:lnTo>
                    <a:pt x="420" y="516"/>
                  </a:lnTo>
                  <a:lnTo>
                    <a:pt x="414" y="522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84" y="528"/>
                  </a:lnTo>
                  <a:lnTo>
                    <a:pt x="366" y="540"/>
                  </a:lnTo>
                  <a:lnTo>
                    <a:pt x="360" y="522"/>
                  </a:lnTo>
                  <a:lnTo>
                    <a:pt x="348" y="504"/>
                  </a:lnTo>
                  <a:lnTo>
                    <a:pt x="330" y="504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34"/>
                  </a:lnTo>
                  <a:lnTo>
                    <a:pt x="288" y="540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2" y="540"/>
                  </a:lnTo>
                  <a:lnTo>
                    <a:pt x="282" y="546"/>
                  </a:lnTo>
                  <a:lnTo>
                    <a:pt x="288" y="552"/>
                  </a:lnTo>
                  <a:lnTo>
                    <a:pt x="294" y="564"/>
                  </a:lnTo>
                  <a:lnTo>
                    <a:pt x="300" y="564"/>
                  </a:lnTo>
                  <a:lnTo>
                    <a:pt x="300" y="570"/>
                  </a:lnTo>
                  <a:lnTo>
                    <a:pt x="294" y="570"/>
                  </a:lnTo>
                  <a:lnTo>
                    <a:pt x="288" y="570"/>
                  </a:lnTo>
                  <a:lnTo>
                    <a:pt x="288" y="576"/>
                  </a:lnTo>
                  <a:lnTo>
                    <a:pt x="288" y="582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606"/>
                  </a:lnTo>
                  <a:lnTo>
                    <a:pt x="264" y="612"/>
                  </a:lnTo>
                  <a:lnTo>
                    <a:pt x="258" y="612"/>
                  </a:lnTo>
                  <a:lnTo>
                    <a:pt x="252" y="612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52" y="630"/>
                  </a:lnTo>
                  <a:lnTo>
                    <a:pt x="264" y="642"/>
                  </a:lnTo>
                  <a:lnTo>
                    <a:pt x="258" y="648"/>
                  </a:lnTo>
                  <a:lnTo>
                    <a:pt x="246" y="654"/>
                  </a:lnTo>
                  <a:lnTo>
                    <a:pt x="240" y="660"/>
                  </a:lnTo>
                  <a:lnTo>
                    <a:pt x="234" y="672"/>
                  </a:lnTo>
                  <a:lnTo>
                    <a:pt x="234" y="678"/>
                  </a:lnTo>
                  <a:lnTo>
                    <a:pt x="228" y="684"/>
                  </a:lnTo>
                  <a:lnTo>
                    <a:pt x="228" y="696"/>
                  </a:lnTo>
                  <a:lnTo>
                    <a:pt x="216" y="71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6" name="Freeform 21">
              <a:extLst>
                <a:ext uri="{FF2B5EF4-FFF2-40B4-BE49-F238E27FC236}">
                  <a16:creationId xmlns:a16="http://schemas.microsoft.com/office/drawing/2014/main" id="{DCB1E808-522D-4C19-B741-CC5DD56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4178" y="3866464"/>
              <a:ext cx="250453" cy="371259"/>
            </a:xfrm>
            <a:custGeom>
              <a:avLst/>
              <a:gdLst>
                <a:gd name="T0" fmla="*/ 0 w 468"/>
                <a:gd name="T1" fmla="*/ 61 h 696"/>
                <a:gd name="T2" fmla="*/ 1 w 468"/>
                <a:gd name="T3" fmla="*/ 58 h 696"/>
                <a:gd name="T4" fmla="*/ 2 w 468"/>
                <a:gd name="T5" fmla="*/ 54 h 696"/>
                <a:gd name="T6" fmla="*/ 3 w 468"/>
                <a:gd name="T7" fmla="*/ 51 h 696"/>
                <a:gd name="T8" fmla="*/ 4 w 468"/>
                <a:gd name="T9" fmla="*/ 48 h 696"/>
                <a:gd name="T10" fmla="*/ 6 w 468"/>
                <a:gd name="T11" fmla="*/ 44 h 696"/>
                <a:gd name="T12" fmla="*/ 5 w 468"/>
                <a:gd name="T13" fmla="*/ 41 h 696"/>
                <a:gd name="T14" fmla="*/ 7 w 468"/>
                <a:gd name="T15" fmla="*/ 38 h 696"/>
                <a:gd name="T16" fmla="*/ 8 w 468"/>
                <a:gd name="T17" fmla="*/ 36 h 696"/>
                <a:gd name="T18" fmla="*/ 7 w 468"/>
                <a:gd name="T19" fmla="*/ 33 h 696"/>
                <a:gd name="T20" fmla="*/ 6 w 468"/>
                <a:gd name="T21" fmla="*/ 29 h 696"/>
                <a:gd name="T22" fmla="*/ 4 w 468"/>
                <a:gd name="T23" fmla="*/ 22 h 696"/>
                <a:gd name="T24" fmla="*/ 2 w 468"/>
                <a:gd name="T25" fmla="*/ 14 h 696"/>
                <a:gd name="T26" fmla="*/ 12 w 468"/>
                <a:gd name="T27" fmla="*/ 11 h 696"/>
                <a:gd name="T28" fmla="*/ 14 w 468"/>
                <a:gd name="T29" fmla="*/ 2 h 696"/>
                <a:gd name="T30" fmla="*/ 16 w 468"/>
                <a:gd name="T31" fmla="*/ 0 h 696"/>
                <a:gd name="T32" fmla="*/ 17 w 468"/>
                <a:gd name="T33" fmla="*/ 0 h 696"/>
                <a:gd name="T34" fmla="*/ 18 w 468"/>
                <a:gd name="T35" fmla="*/ 1 h 696"/>
                <a:gd name="T36" fmla="*/ 17 w 468"/>
                <a:gd name="T37" fmla="*/ 2 h 696"/>
                <a:gd name="T38" fmla="*/ 17 w 468"/>
                <a:gd name="T39" fmla="*/ 4 h 696"/>
                <a:gd name="T40" fmla="*/ 17 w 468"/>
                <a:gd name="T41" fmla="*/ 6 h 696"/>
                <a:gd name="T42" fmla="*/ 20 w 468"/>
                <a:gd name="T43" fmla="*/ 6 h 696"/>
                <a:gd name="T44" fmla="*/ 22 w 468"/>
                <a:gd name="T45" fmla="*/ 5 h 696"/>
                <a:gd name="T46" fmla="*/ 24 w 468"/>
                <a:gd name="T47" fmla="*/ 7 h 696"/>
                <a:gd name="T48" fmla="*/ 28 w 468"/>
                <a:gd name="T49" fmla="*/ 7 h 696"/>
                <a:gd name="T50" fmla="*/ 28 w 468"/>
                <a:gd name="T51" fmla="*/ 11 h 696"/>
                <a:gd name="T52" fmla="*/ 25 w 468"/>
                <a:gd name="T53" fmla="*/ 14 h 696"/>
                <a:gd name="T54" fmla="*/ 23 w 468"/>
                <a:gd name="T55" fmla="*/ 15 h 696"/>
                <a:gd name="T56" fmla="*/ 23 w 468"/>
                <a:gd name="T57" fmla="*/ 19 h 696"/>
                <a:gd name="T58" fmla="*/ 23 w 468"/>
                <a:gd name="T59" fmla="*/ 21 h 696"/>
                <a:gd name="T60" fmla="*/ 24 w 468"/>
                <a:gd name="T61" fmla="*/ 21 h 696"/>
                <a:gd name="T62" fmla="*/ 27 w 468"/>
                <a:gd name="T63" fmla="*/ 23 h 696"/>
                <a:gd name="T64" fmla="*/ 29 w 468"/>
                <a:gd name="T65" fmla="*/ 24 h 696"/>
                <a:gd name="T66" fmla="*/ 29 w 468"/>
                <a:gd name="T67" fmla="*/ 28 h 696"/>
                <a:gd name="T68" fmla="*/ 29 w 468"/>
                <a:gd name="T69" fmla="*/ 29 h 696"/>
                <a:gd name="T70" fmla="*/ 29 w 468"/>
                <a:gd name="T71" fmla="*/ 32 h 696"/>
                <a:gd name="T72" fmla="*/ 32 w 468"/>
                <a:gd name="T73" fmla="*/ 32 h 696"/>
                <a:gd name="T74" fmla="*/ 33 w 468"/>
                <a:gd name="T75" fmla="*/ 35 h 696"/>
                <a:gd name="T76" fmla="*/ 34 w 468"/>
                <a:gd name="T77" fmla="*/ 38 h 696"/>
                <a:gd name="T78" fmla="*/ 35 w 468"/>
                <a:gd name="T79" fmla="*/ 39 h 696"/>
                <a:gd name="T80" fmla="*/ 36 w 468"/>
                <a:gd name="T81" fmla="*/ 40 h 696"/>
                <a:gd name="T82" fmla="*/ 37 w 468"/>
                <a:gd name="T83" fmla="*/ 41 h 696"/>
                <a:gd name="T84" fmla="*/ 38 w 468"/>
                <a:gd name="T85" fmla="*/ 42 h 696"/>
                <a:gd name="T86" fmla="*/ 41 w 468"/>
                <a:gd name="T87" fmla="*/ 44 h 696"/>
                <a:gd name="T88" fmla="*/ 40 w 468"/>
                <a:gd name="T89" fmla="*/ 44 h 696"/>
                <a:gd name="T90" fmla="*/ 37 w 468"/>
                <a:gd name="T91" fmla="*/ 45 h 696"/>
                <a:gd name="T92" fmla="*/ 36 w 468"/>
                <a:gd name="T93" fmla="*/ 48 h 696"/>
                <a:gd name="T94" fmla="*/ 34 w 468"/>
                <a:gd name="T95" fmla="*/ 49 h 696"/>
                <a:gd name="T96" fmla="*/ 32 w 468"/>
                <a:gd name="T97" fmla="*/ 51 h 696"/>
                <a:gd name="T98" fmla="*/ 31 w 468"/>
                <a:gd name="T99" fmla="*/ 51 h 696"/>
                <a:gd name="T100" fmla="*/ 26 w 468"/>
                <a:gd name="T101" fmla="*/ 49 h 696"/>
                <a:gd name="T102" fmla="*/ 23 w 468"/>
                <a:gd name="T103" fmla="*/ 51 h 696"/>
                <a:gd name="T104" fmla="*/ 21 w 468"/>
                <a:gd name="T105" fmla="*/ 51 h 696"/>
                <a:gd name="T106" fmla="*/ 20 w 468"/>
                <a:gd name="T107" fmla="*/ 52 h 696"/>
                <a:gd name="T108" fmla="*/ 17 w 468"/>
                <a:gd name="T109" fmla="*/ 55 h 696"/>
                <a:gd name="T110" fmla="*/ 15 w 468"/>
                <a:gd name="T111" fmla="*/ 56 h 696"/>
                <a:gd name="T112" fmla="*/ 15 w 468"/>
                <a:gd name="T113" fmla="*/ 59 h 696"/>
                <a:gd name="T114" fmla="*/ 14 w 468"/>
                <a:gd name="T115" fmla="*/ 59 h 696"/>
                <a:gd name="T116" fmla="*/ 12 w 468"/>
                <a:gd name="T117" fmla="*/ 59 h 696"/>
                <a:gd name="T118" fmla="*/ 11 w 468"/>
                <a:gd name="T119" fmla="*/ 57 h 696"/>
                <a:gd name="T120" fmla="*/ 9 w 468"/>
                <a:gd name="T121" fmla="*/ 57 h 696"/>
                <a:gd name="T122" fmla="*/ 6 w 468"/>
                <a:gd name="T123" fmla="*/ 58 h 696"/>
                <a:gd name="T124" fmla="*/ 4 w 468"/>
                <a:gd name="T125" fmla="*/ 60 h 69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8"/>
                <a:gd name="T190" fmla="*/ 0 h 696"/>
                <a:gd name="T191" fmla="*/ 468 w 468"/>
                <a:gd name="T192" fmla="*/ 696 h 69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8" h="696">
                  <a:moveTo>
                    <a:pt x="30" y="696"/>
                  </a:moveTo>
                  <a:lnTo>
                    <a:pt x="18" y="696"/>
                  </a:lnTo>
                  <a:lnTo>
                    <a:pt x="6" y="696"/>
                  </a:lnTo>
                  <a:lnTo>
                    <a:pt x="0" y="690"/>
                  </a:lnTo>
                  <a:lnTo>
                    <a:pt x="6" y="678"/>
                  </a:lnTo>
                  <a:lnTo>
                    <a:pt x="12" y="666"/>
                  </a:lnTo>
                  <a:lnTo>
                    <a:pt x="18" y="654"/>
                  </a:lnTo>
                  <a:lnTo>
                    <a:pt x="18" y="642"/>
                  </a:lnTo>
                  <a:lnTo>
                    <a:pt x="18" y="618"/>
                  </a:lnTo>
                  <a:lnTo>
                    <a:pt x="24" y="606"/>
                  </a:lnTo>
                  <a:lnTo>
                    <a:pt x="30" y="594"/>
                  </a:lnTo>
                  <a:lnTo>
                    <a:pt x="30" y="582"/>
                  </a:lnTo>
                  <a:lnTo>
                    <a:pt x="36" y="576"/>
                  </a:lnTo>
                  <a:lnTo>
                    <a:pt x="42" y="564"/>
                  </a:lnTo>
                  <a:lnTo>
                    <a:pt x="48" y="546"/>
                  </a:lnTo>
                  <a:lnTo>
                    <a:pt x="48" y="528"/>
                  </a:lnTo>
                  <a:lnTo>
                    <a:pt x="60" y="516"/>
                  </a:lnTo>
                  <a:lnTo>
                    <a:pt x="66" y="504"/>
                  </a:lnTo>
                  <a:lnTo>
                    <a:pt x="66" y="492"/>
                  </a:lnTo>
                  <a:lnTo>
                    <a:pt x="60" y="480"/>
                  </a:lnTo>
                  <a:lnTo>
                    <a:pt x="54" y="468"/>
                  </a:lnTo>
                  <a:lnTo>
                    <a:pt x="60" y="456"/>
                  </a:lnTo>
                  <a:lnTo>
                    <a:pt x="72" y="450"/>
                  </a:lnTo>
                  <a:lnTo>
                    <a:pt x="84" y="438"/>
                  </a:lnTo>
                  <a:lnTo>
                    <a:pt x="90" y="426"/>
                  </a:lnTo>
                  <a:lnTo>
                    <a:pt x="90" y="420"/>
                  </a:lnTo>
                  <a:lnTo>
                    <a:pt x="90" y="408"/>
                  </a:lnTo>
                  <a:lnTo>
                    <a:pt x="90" y="402"/>
                  </a:lnTo>
                  <a:lnTo>
                    <a:pt x="84" y="396"/>
                  </a:lnTo>
                  <a:lnTo>
                    <a:pt x="78" y="378"/>
                  </a:lnTo>
                  <a:lnTo>
                    <a:pt x="72" y="360"/>
                  </a:lnTo>
                  <a:lnTo>
                    <a:pt x="66" y="348"/>
                  </a:lnTo>
                  <a:lnTo>
                    <a:pt x="72" y="336"/>
                  </a:lnTo>
                  <a:lnTo>
                    <a:pt x="66" y="306"/>
                  </a:lnTo>
                  <a:lnTo>
                    <a:pt x="54" y="276"/>
                  </a:lnTo>
                  <a:lnTo>
                    <a:pt x="42" y="252"/>
                  </a:lnTo>
                  <a:lnTo>
                    <a:pt x="36" y="222"/>
                  </a:lnTo>
                  <a:lnTo>
                    <a:pt x="30" y="192"/>
                  </a:lnTo>
                  <a:lnTo>
                    <a:pt x="24" y="162"/>
                  </a:lnTo>
                  <a:lnTo>
                    <a:pt x="42" y="174"/>
                  </a:lnTo>
                  <a:lnTo>
                    <a:pt x="120" y="138"/>
                  </a:lnTo>
                  <a:lnTo>
                    <a:pt x="132" y="126"/>
                  </a:lnTo>
                  <a:lnTo>
                    <a:pt x="120" y="54"/>
                  </a:lnTo>
                  <a:lnTo>
                    <a:pt x="156" y="30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0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8" y="18"/>
                  </a:lnTo>
                  <a:lnTo>
                    <a:pt x="198" y="24"/>
                  </a:lnTo>
                  <a:lnTo>
                    <a:pt x="198" y="30"/>
                  </a:lnTo>
                  <a:lnTo>
                    <a:pt x="198" y="42"/>
                  </a:lnTo>
                  <a:lnTo>
                    <a:pt x="198" y="48"/>
                  </a:lnTo>
                  <a:lnTo>
                    <a:pt x="192" y="60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28" y="60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34" y="60"/>
                  </a:lnTo>
                  <a:lnTo>
                    <a:pt x="252" y="60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312" y="84"/>
                  </a:lnTo>
                  <a:lnTo>
                    <a:pt x="318" y="96"/>
                  </a:lnTo>
                  <a:lnTo>
                    <a:pt x="318" y="102"/>
                  </a:lnTo>
                  <a:lnTo>
                    <a:pt x="312" y="120"/>
                  </a:lnTo>
                  <a:lnTo>
                    <a:pt x="306" y="132"/>
                  </a:lnTo>
                  <a:lnTo>
                    <a:pt x="294" y="144"/>
                  </a:lnTo>
                  <a:lnTo>
                    <a:pt x="282" y="156"/>
                  </a:lnTo>
                  <a:lnTo>
                    <a:pt x="276" y="162"/>
                  </a:lnTo>
                  <a:lnTo>
                    <a:pt x="270" y="162"/>
                  </a:lnTo>
                  <a:lnTo>
                    <a:pt x="264" y="174"/>
                  </a:lnTo>
                  <a:lnTo>
                    <a:pt x="264" y="192"/>
                  </a:lnTo>
                  <a:lnTo>
                    <a:pt x="264" y="216"/>
                  </a:lnTo>
                  <a:lnTo>
                    <a:pt x="258" y="216"/>
                  </a:lnTo>
                  <a:lnTo>
                    <a:pt x="258" y="228"/>
                  </a:lnTo>
                  <a:lnTo>
                    <a:pt x="252" y="234"/>
                  </a:lnTo>
                  <a:lnTo>
                    <a:pt x="258" y="240"/>
                  </a:lnTo>
                  <a:lnTo>
                    <a:pt x="264" y="240"/>
                  </a:lnTo>
                  <a:lnTo>
                    <a:pt x="270" y="240"/>
                  </a:lnTo>
                  <a:lnTo>
                    <a:pt x="276" y="240"/>
                  </a:lnTo>
                  <a:lnTo>
                    <a:pt x="288" y="240"/>
                  </a:lnTo>
                  <a:lnTo>
                    <a:pt x="300" y="246"/>
                  </a:lnTo>
                  <a:lnTo>
                    <a:pt x="306" y="258"/>
                  </a:lnTo>
                  <a:lnTo>
                    <a:pt x="312" y="264"/>
                  </a:lnTo>
                  <a:lnTo>
                    <a:pt x="318" y="276"/>
                  </a:lnTo>
                  <a:lnTo>
                    <a:pt x="330" y="282"/>
                  </a:lnTo>
                  <a:lnTo>
                    <a:pt x="330" y="300"/>
                  </a:lnTo>
                  <a:lnTo>
                    <a:pt x="336" y="312"/>
                  </a:lnTo>
                  <a:lnTo>
                    <a:pt x="336" y="318"/>
                  </a:lnTo>
                  <a:lnTo>
                    <a:pt x="336" y="330"/>
                  </a:lnTo>
                  <a:lnTo>
                    <a:pt x="324" y="330"/>
                  </a:lnTo>
                  <a:lnTo>
                    <a:pt x="330" y="336"/>
                  </a:lnTo>
                  <a:lnTo>
                    <a:pt x="330" y="342"/>
                  </a:lnTo>
                  <a:lnTo>
                    <a:pt x="336" y="348"/>
                  </a:lnTo>
                  <a:lnTo>
                    <a:pt x="330" y="360"/>
                  </a:lnTo>
                  <a:lnTo>
                    <a:pt x="336" y="372"/>
                  </a:lnTo>
                  <a:lnTo>
                    <a:pt x="354" y="366"/>
                  </a:lnTo>
                  <a:lnTo>
                    <a:pt x="366" y="366"/>
                  </a:lnTo>
                  <a:lnTo>
                    <a:pt x="372" y="378"/>
                  </a:lnTo>
                  <a:lnTo>
                    <a:pt x="372" y="390"/>
                  </a:lnTo>
                  <a:lnTo>
                    <a:pt x="378" y="396"/>
                  </a:lnTo>
                  <a:lnTo>
                    <a:pt x="378" y="408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44"/>
                  </a:lnTo>
                  <a:lnTo>
                    <a:pt x="390" y="444"/>
                  </a:lnTo>
                  <a:lnTo>
                    <a:pt x="396" y="444"/>
                  </a:lnTo>
                  <a:lnTo>
                    <a:pt x="402" y="450"/>
                  </a:lnTo>
                  <a:lnTo>
                    <a:pt x="408" y="450"/>
                  </a:lnTo>
                  <a:lnTo>
                    <a:pt x="408" y="462"/>
                  </a:lnTo>
                  <a:lnTo>
                    <a:pt x="408" y="468"/>
                  </a:lnTo>
                  <a:lnTo>
                    <a:pt x="414" y="474"/>
                  </a:lnTo>
                  <a:lnTo>
                    <a:pt x="420" y="474"/>
                  </a:lnTo>
                  <a:lnTo>
                    <a:pt x="420" y="480"/>
                  </a:lnTo>
                  <a:lnTo>
                    <a:pt x="426" y="480"/>
                  </a:lnTo>
                  <a:lnTo>
                    <a:pt x="432" y="480"/>
                  </a:lnTo>
                  <a:lnTo>
                    <a:pt x="462" y="486"/>
                  </a:lnTo>
                  <a:lnTo>
                    <a:pt x="468" y="492"/>
                  </a:lnTo>
                  <a:lnTo>
                    <a:pt x="468" y="498"/>
                  </a:lnTo>
                  <a:lnTo>
                    <a:pt x="462" y="498"/>
                  </a:lnTo>
                  <a:lnTo>
                    <a:pt x="456" y="498"/>
                  </a:lnTo>
                  <a:lnTo>
                    <a:pt x="456" y="504"/>
                  </a:lnTo>
                  <a:lnTo>
                    <a:pt x="456" y="510"/>
                  </a:lnTo>
                  <a:lnTo>
                    <a:pt x="450" y="516"/>
                  </a:lnTo>
                  <a:lnTo>
                    <a:pt x="426" y="516"/>
                  </a:lnTo>
                  <a:lnTo>
                    <a:pt x="408" y="528"/>
                  </a:lnTo>
                  <a:lnTo>
                    <a:pt x="408" y="546"/>
                  </a:lnTo>
                  <a:lnTo>
                    <a:pt x="414" y="552"/>
                  </a:lnTo>
                  <a:lnTo>
                    <a:pt x="408" y="558"/>
                  </a:lnTo>
                  <a:lnTo>
                    <a:pt x="402" y="564"/>
                  </a:lnTo>
                  <a:lnTo>
                    <a:pt x="384" y="564"/>
                  </a:lnTo>
                  <a:lnTo>
                    <a:pt x="372" y="564"/>
                  </a:lnTo>
                  <a:lnTo>
                    <a:pt x="372" y="576"/>
                  </a:lnTo>
                  <a:lnTo>
                    <a:pt x="366" y="576"/>
                  </a:lnTo>
                  <a:lnTo>
                    <a:pt x="366" y="582"/>
                  </a:lnTo>
                  <a:lnTo>
                    <a:pt x="360" y="582"/>
                  </a:lnTo>
                  <a:lnTo>
                    <a:pt x="348" y="576"/>
                  </a:lnTo>
                  <a:lnTo>
                    <a:pt x="336" y="570"/>
                  </a:lnTo>
                  <a:lnTo>
                    <a:pt x="324" y="570"/>
                  </a:lnTo>
                  <a:lnTo>
                    <a:pt x="300" y="564"/>
                  </a:lnTo>
                  <a:lnTo>
                    <a:pt x="282" y="564"/>
                  </a:lnTo>
                  <a:lnTo>
                    <a:pt x="270" y="570"/>
                  </a:lnTo>
                  <a:lnTo>
                    <a:pt x="264" y="576"/>
                  </a:lnTo>
                  <a:lnTo>
                    <a:pt x="258" y="576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34" y="594"/>
                  </a:lnTo>
                  <a:lnTo>
                    <a:pt x="228" y="600"/>
                  </a:lnTo>
                  <a:lnTo>
                    <a:pt x="210" y="618"/>
                  </a:lnTo>
                  <a:lnTo>
                    <a:pt x="210" y="624"/>
                  </a:lnTo>
                  <a:lnTo>
                    <a:pt x="192" y="630"/>
                  </a:lnTo>
                  <a:lnTo>
                    <a:pt x="186" y="630"/>
                  </a:lnTo>
                  <a:lnTo>
                    <a:pt x="180" y="636"/>
                  </a:lnTo>
                  <a:lnTo>
                    <a:pt x="174" y="642"/>
                  </a:lnTo>
                  <a:lnTo>
                    <a:pt x="168" y="642"/>
                  </a:lnTo>
                  <a:lnTo>
                    <a:pt x="168" y="654"/>
                  </a:lnTo>
                  <a:lnTo>
                    <a:pt x="168" y="678"/>
                  </a:lnTo>
                  <a:lnTo>
                    <a:pt x="162" y="684"/>
                  </a:lnTo>
                  <a:lnTo>
                    <a:pt x="156" y="684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72"/>
                  </a:lnTo>
                  <a:lnTo>
                    <a:pt x="138" y="672"/>
                  </a:lnTo>
                  <a:lnTo>
                    <a:pt x="138" y="666"/>
                  </a:lnTo>
                  <a:lnTo>
                    <a:pt x="132" y="660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48"/>
                  </a:lnTo>
                  <a:lnTo>
                    <a:pt x="102" y="654"/>
                  </a:lnTo>
                  <a:lnTo>
                    <a:pt x="90" y="654"/>
                  </a:lnTo>
                  <a:lnTo>
                    <a:pt x="84" y="654"/>
                  </a:lnTo>
                  <a:lnTo>
                    <a:pt x="72" y="660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36" y="684"/>
                  </a:lnTo>
                  <a:lnTo>
                    <a:pt x="30" y="6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7" name="Freeform 22">
              <a:extLst>
                <a:ext uri="{FF2B5EF4-FFF2-40B4-BE49-F238E27FC236}">
                  <a16:creationId xmlns:a16="http://schemas.microsoft.com/office/drawing/2014/main" id="{2F7A477D-6CF8-44B3-8B32-64EE03DC4D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2895" y="3967106"/>
              <a:ext cx="610479" cy="507686"/>
            </a:xfrm>
            <a:custGeom>
              <a:avLst/>
              <a:gdLst>
                <a:gd name="T0" fmla="*/ 87 w 1146"/>
                <a:gd name="T1" fmla="*/ 56 h 954"/>
                <a:gd name="T2" fmla="*/ 83 w 1146"/>
                <a:gd name="T3" fmla="*/ 66 h 954"/>
                <a:gd name="T4" fmla="*/ 74 w 1146"/>
                <a:gd name="T5" fmla="*/ 69 h 954"/>
                <a:gd name="T6" fmla="*/ 67 w 1146"/>
                <a:gd name="T7" fmla="*/ 75 h 954"/>
                <a:gd name="T8" fmla="*/ 59 w 1146"/>
                <a:gd name="T9" fmla="*/ 78 h 954"/>
                <a:gd name="T10" fmla="*/ 52 w 1146"/>
                <a:gd name="T11" fmla="*/ 77 h 954"/>
                <a:gd name="T12" fmla="*/ 48 w 1146"/>
                <a:gd name="T13" fmla="*/ 79 h 954"/>
                <a:gd name="T14" fmla="*/ 41 w 1146"/>
                <a:gd name="T15" fmla="*/ 82 h 954"/>
                <a:gd name="T16" fmla="*/ 29 w 1146"/>
                <a:gd name="T17" fmla="*/ 78 h 954"/>
                <a:gd name="T18" fmla="*/ 28 w 1146"/>
                <a:gd name="T19" fmla="*/ 76 h 954"/>
                <a:gd name="T20" fmla="*/ 28 w 1146"/>
                <a:gd name="T21" fmla="*/ 72 h 954"/>
                <a:gd name="T22" fmla="*/ 28 w 1146"/>
                <a:gd name="T23" fmla="*/ 74 h 954"/>
                <a:gd name="T24" fmla="*/ 21 w 1146"/>
                <a:gd name="T25" fmla="*/ 74 h 954"/>
                <a:gd name="T26" fmla="*/ 20 w 1146"/>
                <a:gd name="T27" fmla="*/ 67 h 954"/>
                <a:gd name="T28" fmla="*/ 23 w 1146"/>
                <a:gd name="T29" fmla="*/ 64 h 954"/>
                <a:gd name="T30" fmla="*/ 28 w 1146"/>
                <a:gd name="T31" fmla="*/ 65 h 954"/>
                <a:gd name="T32" fmla="*/ 32 w 1146"/>
                <a:gd name="T33" fmla="*/ 62 h 954"/>
                <a:gd name="T34" fmla="*/ 31 w 1146"/>
                <a:gd name="T35" fmla="*/ 56 h 954"/>
                <a:gd name="T36" fmla="*/ 36 w 1146"/>
                <a:gd name="T37" fmla="*/ 54 h 954"/>
                <a:gd name="T38" fmla="*/ 38 w 1146"/>
                <a:gd name="T39" fmla="*/ 54 h 954"/>
                <a:gd name="T40" fmla="*/ 32 w 1146"/>
                <a:gd name="T41" fmla="*/ 54 h 954"/>
                <a:gd name="T42" fmla="*/ 29 w 1146"/>
                <a:gd name="T43" fmla="*/ 59 h 954"/>
                <a:gd name="T44" fmla="*/ 26 w 1146"/>
                <a:gd name="T45" fmla="*/ 59 h 954"/>
                <a:gd name="T46" fmla="*/ 25 w 1146"/>
                <a:gd name="T47" fmla="*/ 61 h 954"/>
                <a:gd name="T48" fmla="*/ 20 w 1146"/>
                <a:gd name="T49" fmla="*/ 61 h 954"/>
                <a:gd name="T50" fmla="*/ 11 w 1146"/>
                <a:gd name="T51" fmla="*/ 54 h 954"/>
                <a:gd name="T52" fmla="*/ 14 w 1146"/>
                <a:gd name="T53" fmla="*/ 50 h 954"/>
                <a:gd name="T54" fmla="*/ 21 w 1146"/>
                <a:gd name="T55" fmla="*/ 51 h 954"/>
                <a:gd name="T56" fmla="*/ 24 w 1146"/>
                <a:gd name="T57" fmla="*/ 50 h 954"/>
                <a:gd name="T58" fmla="*/ 28 w 1146"/>
                <a:gd name="T59" fmla="*/ 48 h 954"/>
                <a:gd name="T60" fmla="*/ 30 w 1146"/>
                <a:gd name="T61" fmla="*/ 49 h 954"/>
                <a:gd name="T62" fmla="*/ 26 w 1146"/>
                <a:gd name="T63" fmla="*/ 47 h 954"/>
                <a:gd name="T64" fmla="*/ 20 w 1146"/>
                <a:gd name="T65" fmla="*/ 50 h 954"/>
                <a:gd name="T66" fmla="*/ 20 w 1146"/>
                <a:gd name="T67" fmla="*/ 44 h 954"/>
                <a:gd name="T68" fmla="*/ 19 w 1146"/>
                <a:gd name="T69" fmla="*/ 46 h 954"/>
                <a:gd name="T70" fmla="*/ 15 w 1146"/>
                <a:gd name="T71" fmla="*/ 49 h 954"/>
                <a:gd name="T72" fmla="*/ 8 w 1146"/>
                <a:gd name="T73" fmla="*/ 48 h 954"/>
                <a:gd name="T74" fmla="*/ 6 w 1146"/>
                <a:gd name="T75" fmla="*/ 41 h 954"/>
                <a:gd name="T76" fmla="*/ 10 w 1146"/>
                <a:gd name="T77" fmla="*/ 41 h 954"/>
                <a:gd name="T78" fmla="*/ 9 w 1146"/>
                <a:gd name="T79" fmla="*/ 39 h 954"/>
                <a:gd name="T80" fmla="*/ 14 w 1146"/>
                <a:gd name="T81" fmla="*/ 35 h 954"/>
                <a:gd name="T82" fmla="*/ 19 w 1146"/>
                <a:gd name="T83" fmla="*/ 32 h 954"/>
                <a:gd name="T84" fmla="*/ 20 w 1146"/>
                <a:gd name="T85" fmla="*/ 29 h 954"/>
                <a:gd name="T86" fmla="*/ 27 w 1146"/>
                <a:gd name="T87" fmla="*/ 27 h 954"/>
                <a:gd name="T88" fmla="*/ 33 w 1146"/>
                <a:gd name="T89" fmla="*/ 28 h 954"/>
                <a:gd name="T90" fmla="*/ 44 w 1146"/>
                <a:gd name="T91" fmla="*/ 27 h 954"/>
                <a:gd name="T92" fmla="*/ 52 w 1146"/>
                <a:gd name="T93" fmla="*/ 41 h 954"/>
                <a:gd name="T94" fmla="*/ 61 w 1146"/>
                <a:gd name="T95" fmla="*/ 40 h 954"/>
                <a:gd name="T96" fmla="*/ 69 w 1146"/>
                <a:gd name="T97" fmla="*/ 34 h 954"/>
                <a:gd name="T98" fmla="*/ 62 w 1146"/>
                <a:gd name="T99" fmla="*/ 12 h 954"/>
                <a:gd name="T100" fmla="*/ 74 w 1146"/>
                <a:gd name="T101" fmla="*/ 8 h 954"/>
                <a:gd name="T102" fmla="*/ 87 w 1146"/>
                <a:gd name="T103" fmla="*/ 1 h 954"/>
                <a:gd name="T104" fmla="*/ 99 w 1146"/>
                <a:gd name="T105" fmla="*/ 12 h 954"/>
                <a:gd name="T106" fmla="*/ 98 w 1146"/>
                <a:gd name="T107" fmla="*/ 27 h 954"/>
                <a:gd name="T108" fmla="*/ 16 w 1146"/>
                <a:gd name="T109" fmla="*/ 33 h 954"/>
                <a:gd name="T110" fmla="*/ 11 w 1146"/>
                <a:gd name="T111" fmla="*/ 36 h 954"/>
                <a:gd name="T112" fmla="*/ 5 w 1146"/>
                <a:gd name="T113" fmla="*/ 41 h 954"/>
                <a:gd name="T114" fmla="*/ 2 w 1146"/>
                <a:gd name="T115" fmla="*/ 36 h 954"/>
                <a:gd name="T116" fmla="*/ 5 w 1146"/>
                <a:gd name="T117" fmla="*/ 26 h 954"/>
                <a:gd name="T118" fmla="*/ 10 w 1146"/>
                <a:gd name="T119" fmla="*/ 20 h 954"/>
                <a:gd name="T120" fmla="*/ 13 w 1146"/>
                <a:gd name="T121" fmla="*/ 20 h 954"/>
                <a:gd name="T122" fmla="*/ 15 w 1146"/>
                <a:gd name="T123" fmla="*/ 27 h 95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46"/>
                <a:gd name="T187" fmla="*/ 0 h 954"/>
                <a:gd name="T188" fmla="*/ 1146 w 1146"/>
                <a:gd name="T189" fmla="*/ 954 h 95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46" h="954">
                  <a:moveTo>
                    <a:pt x="1056" y="498"/>
                  </a:moveTo>
                  <a:lnTo>
                    <a:pt x="1044" y="510"/>
                  </a:lnTo>
                  <a:lnTo>
                    <a:pt x="1032" y="516"/>
                  </a:lnTo>
                  <a:lnTo>
                    <a:pt x="1038" y="528"/>
                  </a:lnTo>
                  <a:lnTo>
                    <a:pt x="1050" y="540"/>
                  </a:lnTo>
                  <a:lnTo>
                    <a:pt x="1050" y="546"/>
                  </a:lnTo>
                  <a:lnTo>
                    <a:pt x="1050" y="564"/>
                  </a:lnTo>
                  <a:lnTo>
                    <a:pt x="1038" y="576"/>
                  </a:lnTo>
                  <a:lnTo>
                    <a:pt x="1032" y="588"/>
                  </a:lnTo>
                  <a:lnTo>
                    <a:pt x="1020" y="594"/>
                  </a:lnTo>
                  <a:lnTo>
                    <a:pt x="1008" y="594"/>
                  </a:lnTo>
                  <a:lnTo>
                    <a:pt x="1002" y="600"/>
                  </a:lnTo>
                  <a:lnTo>
                    <a:pt x="996" y="612"/>
                  </a:lnTo>
                  <a:lnTo>
                    <a:pt x="996" y="624"/>
                  </a:lnTo>
                  <a:lnTo>
                    <a:pt x="996" y="648"/>
                  </a:lnTo>
                  <a:lnTo>
                    <a:pt x="996" y="660"/>
                  </a:lnTo>
                  <a:lnTo>
                    <a:pt x="1002" y="672"/>
                  </a:lnTo>
                  <a:lnTo>
                    <a:pt x="1002" y="684"/>
                  </a:lnTo>
                  <a:lnTo>
                    <a:pt x="996" y="684"/>
                  </a:lnTo>
                  <a:lnTo>
                    <a:pt x="984" y="690"/>
                  </a:lnTo>
                  <a:lnTo>
                    <a:pt x="972" y="690"/>
                  </a:lnTo>
                  <a:lnTo>
                    <a:pt x="966" y="696"/>
                  </a:lnTo>
                  <a:lnTo>
                    <a:pt x="966" y="702"/>
                  </a:lnTo>
                  <a:lnTo>
                    <a:pt x="966" y="714"/>
                  </a:lnTo>
                  <a:lnTo>
                    <a:pt x="972" y="726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2" y="756"/>
                  </a:lnTo>
                  <a:lnTo>
                    <a:pt x="966" y="756"/>
                  </a:lnTo>
                  <a:lnTo>
                    <a:pt x="942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18" y="768"/>
                  </a:lnTo>
                  <a:lnTo>
                    <a:pt x="906" y="768"/>
                  </a:lnTo>
                  <a:lnTo>
                    <a:pt x="894" y="762"/>
                  </a:lnTo>
                  <a:lnTo>
                    <a:pt x="882" y="756"/>
                  </a:lnTo>
                  <a:lnTo>
                    <a:pt x="876" y="756"/>
                  </a:lnTo>
                  <a:lnTo>
                    <a:pt x="876" y="762"/>
                  </a:lnTo>
                  <a:lnTo>
                    <a:pt x="864" y="768"/>
                  </a:lnTo>
                  <a:lnTo>
                    <a:pt x="858" y="774"/>
                  </a:lnTo>
                  <a:lnTo>
                    <a:pt x="852" y="774"/>
                  </a:lnTo>
                  <a:lnTo>
                    <a:pt x="840" y="780"/>
                  </a:lnTo>
                  <a:lnTo>
                    <a:pt x="840" y="786"/>
                  </a:lnTo>
                  <a:lnTo>
                    <a:pt x="840" y="792"/>
                  </a:lnTo>
                  <a:lnTo>
                    <a:pt x="840" y="804"/>
                  </a:lnTo>
                  <a:lnTo>
                    <a:pt x="840" y="810"/>
                  </a:lnTo>
                  <a:lnTo>
                    <a:pt x="828" y="816"/>
                  </a:lnTo>
                  <a:lnTo>
                    <a:pt x="810" y="810"/>
                  </a:lnTo>
                  <a:lnTo>
                    <a:pt x="792" y="810"/>
                  </a:lnTo>
                  <a:lnTo>
                    <a:pt x="786" y="816"/>
                  </a:lnTo>
                  <a:lnTo>
                    <a:pt x="780" y="816"/>
                  </a:lnTo>
                  <a:lnTo>
                    <a:pt x="780" y="822"/>
                  </a:lnTo>
                  <a:lnTo>
                    <a:pt x="780" y="828"/>
                  </a:lnTo>
                  <a:lnTo>
                    <a:pt x="780" y="834"/>
                  </a:lnTo>
                  <a:lnTo>
                    <a:pt x="786" y="840"/>
                  </a:lnTo>
                  <a:lnTo>
                    <a:pt x="786" y="846"/>
                  </a:lnTo>
                  <a:lnTo>
                    <a:pt x="786" y="852"/>
                  </a:lnTo>
                  <a:lnTo>
                    <a:pt x="780" y="858"/>
                  </a:lnTo>
                  <a:lnTo>
                    <a:pt x="768" y="858"/>
                  </a:lnTo>
                  <a:lnTo>
                    <a:pt x="762" y="864"/>
                  </a:lnTo>
                  <a:lnTo>
                    <a:pt x="756" y="864"/>
                  </a:lnTo>
                  <a:lnTo>
                    <a:pt x="750" y="870"/>
                  </a:lnTo>
                  <a:lnTo>
                    <a:pt x="744" y="876"/>
                  </a:lnTo>
                  <a:lnTo>
                    <a:pt x="732" y="876"/>
                  </a:lnTo>
                  <a:lnTo>
                    <a:pt x="726" y="876"/>
                  </a:lnTo>
                  <a:lnTo>
                    <a:pt x="720" y="870"/>
                  </a:lnTo>
                  <a:lnTo>
                    <a:pt x="714" y="864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6" y="876"/>
                  </a:lnTo>
                  <a:lnTo>
                    <a:pt x="696" y="882"/>
                  </a:lnTo>
                  <a:lnTo>
                    <a:pt x="696" y="894"/>
                  </a:lnTo>
                  <a:lnTo>
                    <a:pt x="690" y="900"/>
                  </a:lnTo>
                  <a:lnTo>
                    <a:pt x="684" y="900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54" y="888"/>
                  </a:lnTo>
                  <a:lnTo>
                    <a:pt x="654" y="882"/>
                  </a:lnTo>
                  <a:lnTo>
                    <a:pt x="642" y="876"/>
                  </a:lnTo>
                  <a:lnTo>
                    <a:pt x="636" y="876"/>
                  </a:lnTo>
                  <a:lnTo>
                    <a:pt x="630" y="876"/>
                  </a:lnTo>
                  <a:lnTo>
                    <a:pt x="630" y="870"/>
                  </a:lnTo>
                  <a:lnTo>
                    <a:pt x="618" y="858"/>
                  </a:lnTo>
                  <a:lnTo>
                    <a:pt x="612" y="858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06" y="876"/>
                  </a:lnTo>
                  <a:lnTo>
                    <a:pt x="606" y="882"/>
                  </a:lnTo>
                  <a:lnTo>
                    <a:pt x="606" y="888"/>
                  </a:lnTo>
                  <a:lnTo>
                    <a:pt x="600" y="894"/>
                  </a:lnTo>
                  <a:lnTo>
                    <a:pt x="594" y="894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76" y="894"/>
                  </a:lnTo>
                  <a:lnTo>
                    <a:pt x="582" y="900"/>
                  </a:lnTo>
                  <a:lnTo>
                    <a:pt x="576" y="906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64" y="918"/>
                  </a:lnTo>
                  <a:lnTo>
                    <a:pt x="558" y="918"/>
                  </a:lnTo>
                  <a:lnTo>
                    <a:pt x="558" y="912"/>
                  </a:lnTo>
                  <a:lnTo>
                    <a:pt x="552" y="906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06"/>
                  </a:lnTo>
                  <a:lnTo>
                    <a:pt x="534" y="906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0" y="924"/>
                  </a:lnTo>
                  <a:lnTo>
                    <a:pt x="504" y="924"/>
                  </a:lnTo>
                  <a:lnTo>
                    <a:pt x="498" y="930"/>
                  </a:lnTo>
                  <a:lnTo>
                    <a:pt x="492" y="924"/>
                  </a:lnTo>
                  <a:lnTo>
                    <a:pt x="486" y="930"/>
                  </a:lnTo>
                  <a:lnTo>
                    <a:pt x="480" y="942"/>
                  </a:lnTo>
                  <a:lnTo>
                    <a:pt x="468" y="948"/>
                  </a:lnTo>
                  <a:lnTo>
                    <a:pt x="444" y="942"/>
                  </a:lnTo>
                  <a:lnTo>
                    <a:pt x="438" y="954"/>
                  </a:lnTo>
                  <a:lnTo>
                    <a:pt x="426" y="954"/>
                  </a:lnTo>
                  <a:lnTo>
                    <a:pt x="420" y="948"/>
                  </a:lnTo>
                  <a:lnTo>
                    <a:pt x="408" y="936"/>
                  </a:lnTo>
                  <a:lnTo>
                    <a:pt x="396" y="936"/>
                  </a:lnTo>
                  <a:lnTo>
                    <a:pt x="390" y="930"/>
                  </a:lnTo>
                  <a:lnTo>
                    <a:pt x="390" y="924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66" y="924"/>
                  </a:lnTo>
                  <a:lnTo>
                    <a:pt x="360" y="924"/>
                  </a:lnTo>
                  <a:lnTo>
                    <a:pt x="348" y="918"/>
                  </a:lnTo>
                  <a:lnTo>
                    <a:pt x="342" y="906"/>
                  </a:lnTo>
                  <a:lnTo>
                    <a:pt x="336" y="906"/>
                  </a:lnTo>
                  <a:lnTo>
                    <a:pt x="330" y="906"/>
                  </a:lnTo>
                  <a:lnTo>
                    <a:pt x="312" y="906"/>
                  </a:lnTo>
                  <a:lnTo>
                    <a:pt x="312" y="900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888"/>
                  </a:lnTo>
                  <a:lnTo>
                    <a:pt x="312" y="882"/>
                  </a:lnTo>
                  <a:lnTo>
                    <a:pt x="306" y="876"/>
                  </a:lnTo>
                  <a:lnTo>
                    <a:pt x="312" y="876"/>
                  </a:lnTo>
                  <a:lnTo>
                    <a:pt x="312" y="870"/>
                  </a:lnTo>
                  <a:lnTo>
                    <a:pt x="318" y="876"/>
                  </a:lnTo>
                  <a:lnTo>
                    <a:pt x="318" y="870"/>
                  </a:lnTo>
                  <a:lnTo>
                    <a:pt x="324" y="876"/>
                  </a:lnTo>
                  <a:lnTo>
                    <a:pt x="330" y="876"/>
                  </a:lnTo>
                  <a:lnTo>
                    <a:pt x="336" y="876"/>
                  </a:lnTo>
                  <a:lnTo>
                    <a:pt x="342" y="876"/>
                  </a:lnTo>
                  <a:lnTo>
                    <a:pt x="336" y="876"/>
                  </a:lnTo>
                  <a:lnTo>
                    <a:pt x="330" y="870"/>
                  </a:lnTo>
                  <a:lnTo>
                    <a:pt x="324" y="870"/>
                  </a:lnTo>
                  <a:lnTo>
                    <a:pt x="318" y="870"/>
                  </a:lnTo>
                  <a:lnTo>
                    <a:pt x="312" y="870"/>
                  </a:lnTo>
                  <a:lnTo>
                    <a:pt x="318" y="864"/>
                  </a:lnTo>
                  <a:lnTo>
                    <a:pt x="318" y="858"/>
                  </a:lnTo>
                  <a:lnTo>
                    <a:pt x="318" y="852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6" y="846"/>
                  </a:lnTo>
                  <a:lnTo>
                    <a:pt x="312" y="828"/>
                  </a:lnTo>
                  <a:lnTo>
                    <a:pt x="312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06" y="816"/>
                  </a:lnTo>
                  <a:lnTo>
                    <a:pt x="306" y="810"/>
                  </a:lnTo>
                  <a:lnTo>
                    <a:pt x="306" y="816"/>
                  </a:lnTo>
                  <a:lnTo>
                    <a:pt x="312" y="822"/>
                  </a:lnTo>
                  <a:lnTo>
                    <a:pt x="306" y="822"/>
                  </a:lnTo>
                  <a:lnTo>
                    <a:pt x="306" y="828"/>
                  </a:lnTo>
                  <a:lnTo>
                    <a:pt x="306" y="834"/>
                  </a:lnTo>
                  <a:lnTo>
                    <a:pt x="300" y="840"/>
                  </a:lnTo>
                  <a:lnTo>
                    <a:pt x="300" y="846"/>
                  </a:lnTo>
                  <a:lnTo>
                    <a:pt x="306" y="852"/>
                  </a:lnTo>
                  <a:lnTo>
                    <a:pt x="306" y="858"/>
                  </a:lnTo>
                  <a:lnTo>
                    <a:pt x="312" y="858"/>
                  </a:lnTo>
                  <a:lnTo>
                    <a:pt x="312" y="864"/>
                  </a:lnTo>
                  <a:lnTo>
                    <a:pt x="306" y="864"/>
                  </a:lnTo>
                  <a:lnTo>
                    <a:pt x="300" y="864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82" y="870"/>
                  </a:lnTo>
                  <a:lnTo>
                    <a:pt x="276" y="870"/>
                  </a:lnTo>
                  <a:lnTo>
                    <a:pt x="270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8" y="870"/>
                  </a:lnTo>
                  <a:lnTo>
                    <a:pt x="252" y="870"/>
                  </a:lnTo>
                  <a:lnTo>
                    <a:pt x="252" y="864"/>
                  </a:lnTo>
                  <a:lnTo>
                    <a:pt x="246" y="858"/>
                  </a:lnTo>
                  <a:lnTo>
                    <a:pt x="246" y="852"/>
                  </a:lnTo>
                  <a:lnTo>
                    <a:pt x="246" y="846"/>
                  </a:lnTo>
                  <a:lnTo>
                    <a:pt x="246" y="840"/>
                  </a:lnTo>
                  <a:lnTo>
                    <a:pt x="246" y="834"/>
                  </a:lnTo>
                  <a:lnTo>
                    <a:pt x="246" y="828"/>
                  </a:lnTo>
                  <a:lnTo>
                    <a:pt x="246" y="822"/>
                  </a:lnTo>
                  <a:lnTo>
                    <a:pt x="240" y="816"/>
                  </a:lnTo>
                  <a:lnTo>
                    <a:pt x="240" y="810"/>
                  </a:lnTo>
                  <a:lnTo>
                    <a:pt x="240" y="804"/>
                  </a:lnTo>
                  <a:lnTo>
                    <a:pt x="240" y="798"/>
                  </a:lnTo>
                  <a:lnTo>
                    <a:pt x="234" y="798"/>
                  </a:lnTo>
                  <a:lnTo>
                    <a:pt x="234" y="792"/>
                  </a:lnTo>
                  <a:lnTo>
                    <a:pt x="234" y="786"/>
                  </a:lnTo>
                  <a:lnTo>
                    <a:pt x="234" y="780"/>
                  </a:lnTo>
                  <a:lnTo>
                    <a:pt x="228" y="780"/>
                  </a:lnTo>
                  <a:lnTo>
                    <a:pt x="228" y="774"/>
                  </a:lnTo>
                  <a:lnTo>
                    <a:pt x="228" y="768"/>
                  </a:lnTo>
                  <a:lnTo>
                    <a:pt x="222" y="762"/>
                  </a:lnTo>
                  <a:lnTo>
                    <a:pt x="222" y="756"/>
                  </a:lnTo>
                  <a:lnTo>
                    <a:pt x="222" y="750"/>
                  </a:lnTo>
                  <a:lnTo>
                    <a:pt x="222" y="744"/>
                  </a:lnTo>
                  <a:lnTo>
                    <a:pt x="222" y="738"/>
                  </a:lnTo>
                  <a:lnTo>
                    <a:pt x="216" y="732"/>
                  </a:lnTo>
                  <a:lnTo>
                    <a:pt x="222" y="732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32"/>
                  </a:lnTo>
                  <a:lnTo>
                    <a:pt x="246" y="732"/>
                  </a:lnTo>
                  <a:lnTo>
                    <a:pt x="246" y="738"/>
                  </a:lnTo>
                  <a:lnTo>
                    <a:pt x="252" y="738"/>
                  </a:lnTo>
                  <a:lnTo>
                    <a:pt x="258" y="738"/>
                  </a:lnTo>
                  <a:lnTo>
                    <a:pt x="258" y="732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8" y="732"/>
                  </a:lnTo>
                  <a:lnTo>
                    <a:pt x="294" y="732"/>
                  </a:lnTo>
                  <a:lnTo>
                    <a:pt x="300" y="732"/>
                  </a:lnTo>
                  <a:lnTo>
                    <a:pt x="300" y="738"/>
                  </a:lnTo>
                  <a:lnTo>
                    <a:pt x="306" y="738"/>
                  </a:lnTo>
                  <a:lnTo>
                    <a:pt x="306" y="744"/>
                  </a:lnTo>
                  <a:lnTo>
                    <a:pt x="306" y="750"/>
                  </a:lnTo>
                  <a:lnTo>
                    <a:pt x="312" y="750"/>
                  </a:lnTo>
                  <a:lnTo>
                    <a:pt x="312" y="756"/>
                  </a:lnTo>
                  <a:lnTo>
                    <a:pt x="318" y="756"/>
                  </a:lnTo>
                  <a:lnTo>
                    <a:pt x="318" y="750"/>
                  </a:lnTo>
                  <a:lnTo>
                    <a:pt x="312" y="750"/>
                  </a:lnTo>
                  <a:lnTo>
                    <a:pt x="312" y="744"/>
                  </a:lnTo>
                  <a:lnTo>
                    <a:pt x="318" y="738"/>
                  </a:lnTo>
                  <a:lnTo>
                    <a:pt x="324" y="738"/>
                  </a:lnTo>
                  <a:lnTo>
                    <a:pt x="330" y="738"/>
                  </a:lnTo>
                  <a:lnTo>
                    <a:pt x="336" y="738"/>
                  </a:lnTo>
                  <a:lnTo>
                    <a:pt x="342" y="738"/>
                  </a:lnTo>
                  <a:lnTo>
                    <a:pt x="348" y="732"/>
                  </a:lnTo>
                  <a:lnTo>
                    <a:pt x="354" y="732"/>
                  </a:lnTo>
                  <a:lnTo>
                    <a:pt x="360" y="732"/>
                  </a:lnTo>
                  <a:lnTo>
                    <a:pt x="360" y="726"/>
                  </a:lnTo>
                  <a:lnTo>
                    <a:pt x="366" y="726"/>
                  </a:lnTo>
                  <a:lnTo>
                    <a:pt x="366" y="720"/>
                  </a:lnTo>
                  <a:lnTo>
                    <a:pt x="366" y="714"/>
                  </a:lnTo>
                  <a:lnTo>
                    <a:pt x="360" y="708"/>
                  </a:lnTo>
                  <a:lnTo>
                    <a:pt x="354" y="708"/>
                  </a:lnTo>
                  <a:lnTo>
                    <a:pt x="348" y="702"/>
                  </a:lnTo>
                  <a:lnTo>
                    <a:pt x="354" y="702"/>
                  </a:lnTo>
                  <a:lnTo>
                    <a:pt x="354" y="696"/>
                  </a:lnTo>
                  <a:lnTo>
                    <a:pt x="348" y="696"/>
                  </a:lnTo>
                  <a:lnTo>
                    <a:pt x="348" y="690"/>
                  </a:lnTo>
                  <a:lnTo>
                    <a:pt x="342" y="690"/>
                  </a:lnTo>
                  <a:lnTo>
                    <a:pt x="342" y="684"/>
                  </a:lnTo>
                  <a:lnTo>
                    <a:pt x="342" y="678"/>
                  </a:lnTo>
                  <a:lnTo>
                    <a:pt x="342" y="666"/>
                  </a:lnTo>
                  <a:lnTo>
                    <a:pt x="342" y="660"/>
                  </a:lnTo>
                  <a:lnTo>
                    <a:pt x="348" y="654"/>
                  </a:lnTo>
                  <a:lnTo>
                    <a:pt x="348" y="642"/>
                  </a:lnTo>
                  <a:lnTo>
                    <a:pt x="354" y="642"/>
                  </a:lnTo>
                  <a:lnTo>
                    <a:pt x="360" y="642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66" y="642"/>
                  </a:lnTo>
                  <a:lnTo>
                    <a:pt x="372" y="642"/>
                  </a:lnTo>
                  <a:lnTo>
                    <a:pt x="378" y="642"/>
                  </a:lnTo>
                  <a:lnTo>
                    <a:pt x="384" y="642"/>
                  </a:lnTo>
                  <a:lnTo>
                    <a:pt x="390" y="642"/>
                  </a:lnTo>
                  <a:lnTo>
                    <a:pt x="396" y="642"/>
                  </a:lnTo>
                  <a:lnTo>
                    <a:pt x="396" y="636"/>
                  </a:lnTo>
                  <a:lnTo>
                    <a:pt x="402" y="636"/>
                  </a:lnTo>
                  <a:lnTo>
                    <a:pt x="408" y="636"/>
                  </a:lnTo>
                  <a:lnTo>
                    <a:pt x="402" y="636"/>
                  </a:lnTo>
                  <a:lnTo>
                    <a:pt x="402" y="630"/>
                  </a:lnTo>
                  <a:lnTo>
                    <a:pt x="408" y="630"/>
                  </a:lnTo>
                  <a:lnTo>
                    <a:pt x="408" y="624"/>
                  </a:lnTo>
                  <a:lnTo>
                    <a:pt x="408" y="618"/>
                  </a:lnTo>
                  <a:lnTo>
                    <a:pt x="414" y="618"/>
                  </a:lnTo>
                  <a:lnTo>
                    <a:pt x="420" y="618"/>
                  </a:lnTo>
                  <a:lnTo>
                    <a:pt x="426" y="624"/>
                  </a:lnTo>
                  <a:lnTo>
                    <a:pt x="432" y="624"/>
                  </a:lnTo>
                  <a:lnTo>
                    <a:pt x="438" y="624"/>
                  </a:lnTo>
                  <a:lnTo>
                    <a:pt x="438" y="618"/>
                  </a:lnTo>
                  <a:lnTo>
                    <a:pt x="444" y="618"/>
                  </a:lnTo>
                  <a:lnTo>
                    <a:pt x="450" y="618"/>
                  </a:lnTo>
                  <a:lnTo>
                    <a:pt x="444" y="618"/>
                  </a:lnTo>
                  <a:lnTo>
                    <a:pt x="438" y="618"/>
                  </a:lnTo>
                  <a:lnTo>
                    <a:pt x="438" y="612"/>
                  </a:lnTo>
                  <a:lnTo>
                    <a:pt x="438" y="618"/>
                  </a:lnTo>
                  <a:lnTo>
                    <a:pt x="432" y="624"/>
                  </a:lnTo>
                  <a:lnTo>
                    <a:pt x="426" y="618"/>
                  </a:lnTo>
                  <a:lnTo>
                    <a:pt x="420" y="612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402" y="624"/>
                  </a:lnTo>
                  <a:lnTo>
                    <a:pt x="396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78" y="630"/>
                  </a:lnTo>
                  <a:lnTo>
                    <a:pt x="378" y="636"/>
                  </a:lnTo>
                  <a:lnTo>
                    <a:pt x="372" y="630"/>
                  </a:lnTo>
                  <a:lnTo>
                    <a:pt x="366" y="630"/>
                  </a:lnTo>
                  <a:lnTo>
                    <a:pt x="360" y="630"/>
                  </a:lnTo>
                  <a:lnTo>
                    <a:pt x="354" y="630"/>
                  </a:lnTo>
                  <a:lnTo>
                    <a:pt x="354" y="636"/>
                  </a:lnTo>
                  <a:lnTo>
                    <a:pt x="348" y="636"/>
                  </a:lnTo>
                  <a:lnTo>
                    <a:pt x="348" y="642"/>
                  </a:lnTo>
                  <a:lnTo>
                    <a:pt x="342" y="642"/>
                  </a:lnTo>
                  <a:lnTo>
                    <a:pt x="342" y="648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6" y="660"/>
                  </a:lnTo>
                  <a:lnTo>
                    <a:pt x="336" y="666"/>
                  </a:lnTo>
                  <a:lnTo>
                    <a:pt x="330" y="672"/>
                  </a:lnTo>
                  <a:lnTo>
                    <a:pt x="330" y="678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24" y="696"/>
                  </a:lnTo>
                  <a:lnTo>
                    <a:pt x="324" y="702"/>
                  </a:lnTo>
                  <a:lnTo>
                    <a:pt x="318" y="702"/>
                  </a:lnTo>
                  <a:lnTo>
                    <a:pt x="318" y="708"/>
                  </a:lnTo>
                  <a:lnTo>
                    <a:pt x="312" y="708"/>
                  </a:lnTo>
                  <a:lnTo>
                    <a:pt x="312" y="702"/>
                  </a:lnTo>
                  <a:lnTo>
                    <a:pt x="306" y="702"/>
                  </a:lnTo>
                  <a:lnTo>
                    <a:pt x="300" y="702"/>
                  </a:lnTo>
                  <a:lnTo>
                    <a:pt x="294" y="696"/>
                  </a:lnTo>
                  <a:lnTo>
                    <a:pt x="288" y="696"/>
                  </a:lnTo>
                  <a:lnTo>
                    <a:pt x="282" y="690"/>
                  </a:lnTo>
                  <a:lnTo>
                    <a:pt x="288" y="684"/>
                  </a:lnTo>
                  <a:lnTo>
                    <a:pt x="294" y="684"/>
                  </a:lnTo>
                  <a:lnTo>
                    <a:pt x="294" y="678"/>
                  </a:lnTo>
                  <a:lnTo>
                    <a:pt x="300" y="678"/>
                  </a:lnTo>
                  <a:lnTo>
                    <a:pt x="294" y="678"/>
                  </a:lnTo>
                  <a:lnTo>
                    <a:pt x="294" y="672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94" y="672"/>
                  </a:lnTo>
                  <a:lnTo>
                    <a:pt x="288" y="678"/>
                  </a:lnTo>
                  <a:lnTo>
                    <a:pt x="282" y="684"/>
                  </a:lnTo>
                  <a:lnTo>
                    <a:pt x="282" y="678"/>
                  </a:lnTo>
                  <a:lnTo>
                    <a:pt x="276" y="678"/>
                  </a:lnTo>
                  <a:lnTo>
                    <a:pt x="282" y="684"/>
                  </a:lnTo>
                  <a:lnTo>
                    <a:pt x="282" y="690"/>
                  </a:lnTo>
                  <a:lnTo>
                    <a:pt x="282" y="696"/>
                  </a:lnTo>
                  <a:lnTo>
                    <a:pt x="288" y="702"/>
                  </a:lnTo>
                  <a:lnTo>
                    <a:pt x="294" y="708"/>
                  </a:lnTo>
                  <a:lnTo>
                    <a:pt x="294" y="714"/>
                  </a:lnTo>
                  <a:lnTo>
                    <a:pt x="288" y="714"/>
                  </a:lnTo>
                  <a:lnTo>
                    <a:pt x="282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64" y="714"/>
                  </a:lnTo>
                  <a:lnTo>
                    <a:pt x="258" y="714"/>
                  </a:lnTo>
                  <a:lnTo>
                    <a:pt x="252" y="714"/>
                  </a:lnTo>
                  <a:lnTo>
                    <a:pt x="246" y="714"/>
                  </a:lnTo>
                  <a:lnTo>
                    <a:pt x="240" y="714"/>
                  </a:lnTo>
                  <a:lnTo>
                    <a:pt x="240" y="708"/>
                  </a:lnTo>
                  <a:lnTo>
                    <a:pt x="234" y="708"/>
                  </a:lnTo>
                  <a:lnTo>
                    <a:pt x="228" y="708"/>
                  </a:lnTo>
                  <a:lnTo>
                    <a:pt x="222" y="702"/>
                  </a:lnTo>
                  <a:lnTo>
                    <a:pt x="216" y="702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2" y="690"/>
                  </a:lnTo>
                  <a:lnTo>
                    <a:pt x="186" y="690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68" y="684"/>
                  </a:lnTo>
                  <a:lnTo>
                    <a:pt x="168" y="678"/>
                  </a:lnTo>
                  <a:lnTo>
                    <a:pt x="156" y="672"/>
                  </a:lnTo>
                  <a:lnTo>
                    <a:pt x="150" y="660"/>
                  </a:lnTo>
                  <a:lnTo>
                    <a:pt x="126" y="630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12"/>
                  </a:lnTo>
                  <a:lnTo>
                    <a:pt x="126" y="606"/>
                  </a:lnTo>
                  <a:lnTo>
                    <a:pt x="126" y="600"/>
                  </a:lnTo>
                  <a:lnTo>
                    <a:pt x="132" y="594"/>
                  </a:lnTo>
                  <a:lnTo>
                    <a:pt x="138" y="594"/>
                  </a:lnTo>
                  <a:lnTo>
                    <a:pt x="144" y="588"/>
                  </a:lnTo>
                  <a:lnTo>
                    <a:pt x="144" y="582"/>
                  </a:lnTo>
                  <a:lnTo>
                    <a:pt x="150" y="582"/>
                  </a:lnTo>
                  <a:lnTo>
                    <a:pt x="150" y="576"/>
                  </a:lnTo>
                  <a:lnTo>
                    <a:pt x="156" y="576"/>
                  </a:lnTo>
                  <a:lnTo>
                    <a:pt x="156" y="582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8" y="576"/>
                  </a:lnTo>
                  <a:lnTo>
                    <a:pt x="174" y="576"/>
                  </a:lnTo>
                  <a:lnTo>
                    <a:pt x="180" y="582"/>
                  </a:lnTo>
                  <a:lnTo>
                    <a:pt x="192" y="582"/>
                  </a:lnTo>
                  <a:lnTo>
                    <a:pt x="198" y="582"/>
                  </a:lnTo>
                  <a:lnTo>
                    <a:pt x="204" y="582"/>
                  </a:lnTo>
                  <a:lnTo>
                    <a:pt x="210" y="582"/>
                  </a:lnTo>
                  <a:lnTo>
                    <a:pt x="216" y="588"/>
                  </a:lnTo>
                  <a:lnTo>
                    <a:pt x="222" y="588"/>
                  </a:lnTo>
                  <a:lnTo>
                    <a:pt x="234" y="588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46" y="594"/>
                  </a:lnTo>
                  <a:lnTo>
                    <a:pt x="252" y="588"/>
                  </a:lnTo>
                  <a:lnTo>
                    <a:pt x="258" y="588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52" y="600"/>
                  </a:lnTo>
                  <a:lnTo>
                    <a:pt x="246" y="600"/>
                  </a:lnTo>
                  <a:lnTo>
                    <a:pt x="246" y="606"/>
                  </a:lnTo>
                  <a:lnTo>
                    <a:pt x="246" y="600"/>
                  </a:lnTo>
                  <a:lnTo>
                    <a:pt x="252" y="600"/>
                  </a:lnTo>
                  <a:lnTo>
                    <a:pt x="258" y="594"/>
                  </a:lnTo>
                  <a:lnTo>
                    <a:pt x="264" y="594"/>
                  </a:lnTo>
                  <a:lnTo>
                    <a:pt x="264" y="588"/>
                  </a:lnTo>
                  <a:lnTo>
                    <a:pt x="270" y="588"/>
                  </a:lnTo>
                  <a:lnTo>
                    <a:pt x="270" y="582"/>
                  </a:lnTo>
                  <a:lnTo>
                    <a:pt x="270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76" y="564"/>
                  </a:lnTo>
                  <a:lnTo>
                    <a:pt x="270" y="558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58"/>
                  </a:lnTo>
                  <a:lnTo>
                    <a:pt x="282" y="558"/>
                  </a:lnTo>
                  <a:lnTo>
                    <a:pt x="288" y="558"/>
                  </a:lnTo>
                  <a:lnTo>
                    <a:pt x="294" y="558"/>
                  </a:lnTo>
                  <a:lnTo>
                    <a:pt x="300" y="558"/>
                  </a:lnTo>
                  <a:lnTo>
                    <a:pt x="306" y="558"/>
                  </a:lnTo>
                  <a:lnTo>
                    <a:pt x="312" y="558"/>
                  </a:lnTo>
                  <a:lnTo>
                    <a:pt x="318" y="558"/>
                  </a:lnTo>
                  <a:lnTo>
                    <a:pt x="318" y="564"/>
                  </a:lnTo>
                  <a:lnTo>
                    <a:pt x="324" y="564"/>
                  </a:lnTo>
                  <a:lnTo>
                    <a:pt x="324" y="570"/>
                  </a:lnTo>
                  <a:lnTo>
                    <a:pt x="330" y="570"/>
                  </a:lnTo>
                  <a:lnTo>
                    <a:pt x="336" y="570"/>
                  </a:lnTo>
                  <a:lnTo>
                    <a:pt x="342" y="570"/>
                  </a:lnTo>
                  <a:lnTo>
                    <a:pt x="348" y="570"/>
                  </a:lnTo>
                  <a:lnTo>
                    <a:pt x="354" y="570"/>
                  </a:lnTo>
                  <a:lnTo>
                    <a:pt x="360" y="570"/>
                  </a:lnTo>
                  <a:lnTo>
                    <a:pt x="366" y="570"/>
                  </a:lnTo>
                  <a:lnTo>
                    <a:pt x="360" y="570"/>
                  </a:lnTo>
                  <a:lnTo>
                    <a:pt x="360" y="564"/>
                  </a:lnTo>
                  <a:lnTo>
                    <a:pt x="354" y="564"/>
                  </a:lnTo>
                  <a:lnTo>
                    <a:pt x="348" y="564"/>
                  </a:lnTo>
                  <a:lnTo>
                    <a:pt x="342" y="564"/>
                  </a:lnTo>
                  <a:lnTo>
                    <a:pt x="342" y="570"/>
                  </a:lnTo>
                  <a:lnTo>
                    <a:pt x="336" y="564"/>
                  </a:lnTo>
                  <a:lnTo>
                    <a:pt x="336" y="570"/>
                  </a:lnTo>
                  <a:lnTo>
                    <a:pt x="336" y="564"/>
                  </a:lnTo>
                  <a:lnTo>
                    <a:pt x="330" y="564"/>
                  </a:lnTo>
                  <a:lnTo>
                    <a:pt x="324" y="558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18" y="558"/>
                  </a:lnTo>
                  <a:lnTo>
                    <a:pt x="312" y="552"/>
                  </a:lnTo>
                  <a:lnTo>
                    <a:pt x="312" y="558"/>
                  </a:lnTo>
                  <a:lnTo>
                    <a:pt x="312" y="552"/>
                  </a:lnTo>
                  <a:lnTo>
                    <a:pt x="306" y="552"/>
                  </a:lnTo>
                  <a:lnTo>
                    <a:pt x="300" y="546"/>
                  </a:lnTo>
                  <a:lnTo>
                    <a:pt x="294" y="546"/>
                  </a:lnTo>
                  <a:lnTo>
                    <a:pt x="288" y="546"/>
                  </a:lnTo>
                  <a:lnTo>
                    <a:pt x="282" y="546"/>
                  </a:lnTo>
                  <a:lnTo>
                    <a:pt x="276" y="546"/>
                  </a:lnTo>
                  <a:lnTo>
                    <a:pt x="276" y="552"/>
                  </a:lnTo>
                  <a:lnTo>
                    <a:pt x="270" y="552"/>
                  </a:lnTo>
                  <a:lnTo>
                    <a:pt x="270" y="558"/>
                  </a:lnTo>
                  <a:lnTo>
                    <a:pt x="270" y="564"/>
                  </a:lnTo>
                  <a:lnTo>
                    <a:pt x="264" y="570"/>
                  </a:lnTo>
                  <a:lnTo>
                    <a:pt x="258" y="576"/>
                  </a:lnTo>
                  <a:lnTo>
                    <a:pt x="258" y="582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34" y="576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16" y="552"/>
                  </a:lnTo>
                  <a:lnTo>
                    <a:pt x="216" y="546"/>
                  </a:lnTo>
                  <a:lnTo>
                    <a:pt x="216" y="540"/>
                  </a:lnTo>
                  <a:lnTo>
                    <a:pt x="222" y="534"/>
                  </a:lnTo>
                  <a:lnTo>
                    <a:pt x="222" y="528"/>
                  </a:lnTo>
                  <a:lnTo>
                    <a:pt x="228" y="522"/>
                  </a:lnTo>
                  <a:lnTo>
                    <a:pt x="228" y="516"/>
                  </a:lnTo>
                  <a:lnTo>
                    <a:pt x="228" y="510"/>
                  </a:lnTo>
                  <a:lnTo>
                    <a:pt x="234" y="510"/>
                  </a:lnTo>
                  <a:lnTo>
                    <a:pt x="240" y="516"/>
                  </a:lnTo>
                  <a:lnTo>
                    <a:pt x="246" y="522"/>
                  </a:lnTo>
                  <a:lnTo>
                    <a:pt x="246" y="516"/>
                  </a:lnTo>
                  <a:lnTo>
                    <a:pt x="240" y="516"/>
                  </a:lnTo>
                  <a:lnTo>
                    <a:pt x="240" y="510"/>
                  </a:lnTo>
                  <a:lnTo>
                    <a:pt x="234" y="510"/>
                  </a:lnTo>
                  <a:lnTo>
                    <a:pt x="234" y="504"/>
                  </a:lnTo>
                  <a:lnTo>
                    <a:pt x="228" y="504"/>
                  </a:lnTo>
                  <a:lnTo>
                    <a:pt x="222" y="504"/>
                  </a:lnTo>
                  <a:lnTo>
                    <a:pt x="222" y="498"/>
                  </a:lnTo>
                  <a:lnTo>
                    <a:pt x="222" y="504"/>
                  </a:lnTo>
                  <a:lnTo>
                    <a:pt x="222" y="510"/>
                  </a:lnTo>
                  <a:lnTo>
                    <a:pt x="222" y="516"/>
                  </a:lnTo>
                  <a:lnTo>
                    <a:pt x="216" y="522"/>
                  </a:lnTo>
                  <a:lnTo>
                    <a:pt x="216" y="528"/>
                  </a:lnTo>
                  <a:lnTo>
                    <a:pt x="210" y="528"/>
                  </a:lnTo>
                  <a:lnTo>
                    <a:pt x="216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04" y="546"/>
                  </a:lnTo>
                  <a:lnTo>
                    <a:pt x="204" y="552"/>
                  </a:lnTo>
                  <a:lnTo>
                    <a:pt x="204" y="558"/>
                  </a:lnTo>
                  <a:lnTo>
                    <a:pt x="204" y="564"/>
                  </a:lnTo>
                  <a:lnTo>
                    <a:pt x="198" y="570"/>
                  </a:lnTo>
                  <a:lnTo>
                    <a:pt x="192" y="564"/>
                  </a:lnTo>
                  <a:lnTo>
                    <a:pt x="186" y="564"/>
                  </a:lnTo>
                  <a:lnTo>
                    <a:pt x="180" y="564"/>
                  </a:lnTo>
                  <a:lnTo>
                    <a:pt x="174" y="564"/>
                  </a:lnTo>
                  <a:lnTo>
                    <a:pt x="168" y="564"/>
                  </a:lnTo>
                  <a:lnTo>
                    <a:pt x="162" y="564"/>
                  </a:lnTo>
                  <a:lnTo>
                    <a:pt x="156" y="570"/>
                  </a:lnTo>
                  <a:lnTo>
                    <a:pt x="150" y="570"/>
                  </a:lnTo>
                  <a:lnTo>
                    <a:pt x="150" y="564"/>
                  </a:lnTo>
                  <a:lnTo>
                    <a:pt x="150" y="570"/>
                  </a:lnTo>
                  <a:lnTo>
                    <a:pt x="150" y="576"/>
                  </a:lnTo>
                  <a:lnTo>
                    <a:pt x="144" y="576"/>
                  </a:lnTo>
                  <a:lnTo>
                    <a:pt x="138" y="576"/>
                  </a:lnTo>
                  <a:lnTo>
                    <a:pt x="132" y="582"/>
                  </a:lnTo>
                  <a:lnTo>
                    <a:pt x="126" y="582"/>
                  </a:lnTo>
                  <a:lnTo>
                    <a:pt x="120" y="582"/>
                  </a:lnTo>
                  <a:lnTo>
                    <a:pt x="114" y="576"/>
                  </a:lnTo>
                  <a:lnTo>
                    <a:pt x="108" y="564"/>
                  </a:lnTo>
                  <a:lnTo>
                    <a:pt x="102" y="558"/>
                  </a:lnTo>
                  <a:lnTo>
                    <a:pt x="96" y="552"/>
                  </a:lnTo>
                  <a:lnTo>
                    <a:pt x="90" y="546"/>
                  </a:lnTo>
                  <a:lnTo>
                    <a:pt x="90" y="540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2"/>
                  </a:lnTo>
                  <a:lnTo>
                    <a:pt x="78" y="516"/>
                  </a:lnTo>
                  <a:lnTo>
                    <a:pt x="72" y="510"/>
                  </a:lnTo>
                  <a:lnTo>
                    <a:pt x="66" y="504"/>
                  </a:lnTo>
                  <a:lnTo>
                    <a:pt x="66" y="498"/>
                  </a:lnTo>
                  <a:lnTo>
                    <a:pt x="66" y="492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6" y="474"/>
                  </a:lnTo>
                  <a:lnTo>
                    <a:pt x="72" y="474"/>
                  </a:lnTo>
                  <a:lnTo>
                    <a:pt x="72" y="468"/>
                  </a:lnTo>
                  <a:lnTo>
                    <a:pt x="78" y="462"/>
                  </a:lnTo>
                  <a:lnTo>
                    <a:pt x="78" y="456"/>
                  </a:lnTo>
                  <a:lnTo>
                    <a:pt x="84" y="456"/>
                  </a:lnTo>
                  <a:lnTo>
                    <a:pt x="84" y="450"/>
                  </a:lnTo>
                  <a:lnTo>
                    <a:pt x="84" y="444"/>
                  </a:lnTo>
                  <a:lnTo>
                    <a:pt x="90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02" y="450"/>
                  </a:lnTo>
                  <a:lnTo>
                    <a:pt x="108" y="450"/>
                  </a:lnTo>
                  <a:lnTo>
                    <a:pt x="108" y="456"/>
                  </a:lnTo>
                  <a:lnTo>
                    <a:pt x="108" y="462"/>
                  </a:lnTo>
                  <a:lnTo>
                    <a:pt x="114" y="462"/>
                  </a:lnTo>
                  <a:lnTo>
                    <a:pt x="114" y="468"/>
                  </a:lnTo>
                  <a:lnTo>
                    <a:pt x="114" y="474"/>
                  </a:lnTo>
                  <a:lnTo>
                    <a:pt x="114" y="480"/>
                  </a:lnTo>
                  <a:lnTo>
                    <a:pt x="114" y="486"/>
                  </a:lnTo>
                  <a:lnTo>
                    <a:pt x="120" y="486"/>
                  </a:lnTo>
                  <a:lnTo>
                    <a:pt x="126" y="486"/>
                  </a:lnTo>
                  <a:lnTo>
                    <a:pt x="132" y="486"/>
                  </a:lnTo>
                  <a:lnTo>
                    <a:pt x="126" y="480"/>
                  </a:lnTo>
                  <a:lnTo>
                    <a:pt x="120" y="480"/>
                  </a:lnTo>
                  <a:lnTo>
                    <a:pt x="114" y="480"/>
                  </a:lnTo>
                  <a:lnTo>
                    <a:pt x="120" y="480"/>
                  </a:lnTo>
                  <a:lnTo>
                    <a:pt x="120" y="474"/>
                  </a:lnTo>
                  <a:lnTo>
                    <a:pt x="120" y="468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108" y="450"/>
                  </a:lnTo>
                  <a:lnTo>
                    <a:pt x="108" y="444"/>
                  </a:lnTo>
                  <a:lnTo>
                    <a:pt x="114" y="438"/>
                  </a:lnTo>
                  <a:lnTo>
                    <a:pt x="120" y="438"/>
                  </a:lnTo>
                  <a:lnTo>
                    <a:pt x="120" y="432"/>
                  </a:lnTo>
                  <a:lnTo>
                    <a:pt x="132" y="426"/>
                  </a:lnTo>
                  <a:lnTo>
                    <a:pt x="138" y="420"/>
                  </a:lnTo>
                  <a:lnTo>
                    <a:pt x="144" y="420"/>
                  </a:lnTo>
                  <a:lnTo>
                    <a:pt x="144" y="414"/>
                  </a:lnTo>
                  <a:lnTo>
                    <a:pt x="144" y="420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6" y="414"/>
                  </a:lnTo>
                  <a:lnTo>
                    <a:pt x="162" y="414"/>
                  </a:lnTo>
                  <a:lnTo>
                    <a:pt x="162" y="408"/>
                  </a:lnTo>
                  <a:lnTo>
                    <a:pt x="168" y="408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86" y="396"/>
                  </a:lnTo>
                  <a:lnTo>
                    <a:pt x="186" y="390"/>
                  </a:lnTo>
                  <a:lnTo>
                    <a:pt x="192" y="390"/>
                  </a:lnTo>
                  <a:lnTo>
                    <a:pt x="198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210" y="378"/>
                  </a:lnTo>
                  <a:lnTo>
                    <a:pt x="210" y="372"/>
                  </a:lnTo>
                  <a:lnTo>
                    <a:pt x="216" y="372"/>
                  </a:lnTo>
                  <a:lnTo>
                    <a:pt x="222" y="366"/>
                  </a:lnTo>
                  <a:lnTo>
                    <a:pt x="228" y="360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6" y="348"/>
                  </a:lnTo>
                  <a:lnTo>
                    <a:pt x="252" y="348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0" y="342"/>
                  </a:lnTo>
                  <a:lnTo>
                    <a:pt x="234" y="342"/>
                  </a:lnTo>
                  <a:lnTo>
                    <a:pt x="228" y="336"/>
                  </a:lnTo>
                  <a:lnTo>
                    <a:pt x="222" y="336"/>
                  </a:lnTo>
                  <a:lnTo>
                    <a:pt x="216" y="336"/>
                  </a:lnTo>
                  <a:lnTo>
                    <a:pt x="222" y="324"/>
                  </a:lnTo>
                  <a:lnTo>
                    <a:pt x="222" y="318"/>
                  </a:lnTo>
                  <a:lnTo>
                    <a:pt x="222" y="312"/>
                  </a:lnTo>
                  <a:lnTo>
                    <a:pt x="234" y="318"/>
                  </a:lnTo>
                  <a:lnTo>
                    <a:pt x="246" y="318"/>
                  </a:lnTo>
                  <a:lnTo>
                    <a:pt x="258" y="318"/>
                  </a:lnTo>
                  <a:lnTo>
                    <a:pt x="270" y="312"/>
                  </a:lnTo>
                  <a:lnTo>
                    <a:pt x="276" y="312"/>
                  </a:lnTo>
                  <a:lnTo>
                    <a:pt x="288" y="324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94" y="306"/>
                  </a:lnTo>
                  <a:lnTo>
                    <a:pt x="300" y="300"/>
                  </a:lnTo>
                  <a:lnTo>
                    <a:pt x="306" y="306"/>
                  </a:lnTo>
                  <a:lnTo>
                    <a:pt x="312" y="318"/>
                  </a:lnTo>
                  <a:lnTo>
                    <a:pt x="318" y="312"/>
                  </a:lnTo>
                  <a:lnTo>
                    <a:pt x="324" y="312"/>
                  </a:lnTo>
                  <a:lnTo>
                    <a:pt x="330" y="312"/>
                  </a:lnTo>
                  <a:lnTo>
                    <a:pt x="342" y="306"/>
                  </a:lnTo>
                  <a:lnTo>
                    <a:pt x="348" y="306"/>
                  </a:lnTo>
                  <a:lnTo>
                    <a:pt x="348" y="312"/>
                  </a:lnTo>
                  <a:lnTo>
                    <a:pt x="348" y="318"/>
                  </a:lnTo>
                  <a:lnTo>
                    <a:pt x="354" y="318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60" y="336"/>
                  </a:lnTo>
                  <a:lnTo>
                    <a:pt x="366" y="330"/>
                  </a:lnTo>
                  <a:lnTo>
                    <a:pt x="378" y="324"/>
                  </a:lnTo>
                  <a:lnTo>
                    <a:pt x="384" y="324"/>
                  </a:lnTo>
                  <a:lnTo>
                    <a:pt x="384" y="318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6"/>
                  </a:lnTo>
                  <a:lnTo>
                    <a:pt x="402" y="306"/>
                  </a:lnTo>
                  <a:lnTo>
                    <a:pt x="408" y="306"/>
                  </a:lnTo>
                  <a:lnTo>
                    <a:pt x="414" y="300"/>
                  </a:lnTo>
                  <a:lnTo>
                    <a:pt x="420" y="300"/>
                  </a:lnTo>
                  <a:lnTo>
                    <a:pt x="426" y="300"/>
                  </a:lnTo>
                  <a:lnTo>
                    <a:pt x="432" y="300"/>
                  </a:lnTo>
                  <a:lnTo>
                    <a:pt x="444" y="288"/>
                  </a:lnTo>
                  <a:lnTo>
                    <a:pt x="450" y="294"/>
                  </a:lnTo>
                  <a:lnTo>
                    <a:pt x="468" y="300"/>
                  </a:lnTo>
                  <a:lnTo>
                    <a:pt x="498" y="312"/>
                  </a:lnTo>
                  <a:lnTo>
                    <a:pt x="504" y="324"/>
                  </a:lnTo>
                  <a:lnTo>
                    <a:pt x="516" y="330"/>
                  </a:lnTo>
                  <a:lnTo>
                    <a:pt x="516" y="336"/>
                  </a:lnTo>
                  <a:lnTo>
                    <a:pt x="540" y="342"/>
                  </a:lnTo>
                  <a:lnTo>
                    <a:pt x="558" y="372"/>
                  </a:lnTo>
                  <a:lnTo>
                    <a:pt x="594" y="384"/>
                  </a:lnTo>
                  <a:lnTo>
                    <a:pt x="606" y="402"/>
                  </a:lnTo>
                  <a:lnTo>
                    <a:pt x="600" y="420"/>
                  </a:lnTo>
                  <a:lnTo>
                    <a:pt x="588" y="444"/>
                  </a:lnTo>
                  <a:lnTo>
                    <a:pt x="588" y="450"/>
                  </a:lnTo>
                  <a:lnTo>
                    <a:pt x="588" y="456"/>
                  </a:lnTo>
                  <a:lnTo>
                    <a:pt x="594" y="456"/>
                  </a:lnTo>
                  <a:lnTo>
                    <a:pt x="594" y="462"/>
                  </a:lnTo>
                  <a:lnTo>
                    <a:pt x="594" y="468"/>
                  </a:lnTo>
                  <a:lnTo>
                    <a:pt x="594" y="474"/>
                  </a:lnTo>
                  <a:lnTo>
                    <a:pt x="600" y="474"/>
                  </a:lnTo>
                  <a:lnTo>
                    <a:pt x="606" y="480"/>
                  </a:lnTo>
                  <a:lnTo>
                    <a:pt x="606" y="486"/>
                  </a:lnTo>
                  <a:lnTo>
                    <a:pt x="612" y="486"/>
                  </a:lnTo>
                  <a:lnTo>
                    <a:pt x="618" y="486"/>
                  </a:lnTo>
                  <a:lnTo>
                    <a:pt x="624" y="486"/>
                  </a:lnTo>
                  <a:lnTo>
                    <a:pt x="636" y="486"/>
                  </a:lnTo>
                  <a:lnTo>
                    <a:pt x="642" y="486"/>
                  </a:lnTo>
                  <a:lnTo>
                    <a:pt x="648" y="480"/>
                  </a:lnTo>
                  <a:lnTo>
                    <a:pt x="654" y="474"/>
                  </a:lnTo>
                  <a:lnTo>
                    <a:pt x="660" y="468"/>
                  </a:lnTo>
                  <a:lnTo>
                    <a:pt x="666" y="468"/>
                  </a:lnTo>
                  <a:lnTo>
                    <a:pt x="684" y="468"/>
                  </a:lnTo>
                  <a:lnTo>
                    <a:pt x="696" y="468"/>
                  </a:lnTo>
                  <a:lnTo>
                    <a:pt x="696" y="462"/>
                  </a:lnTo>
                  <a:lnTo>
                    <a:pt x="702" y="456"/>
                  </a:lnTo>
                  <a:lnTo>
                    <a:pt x="708" y="450"/>
                  </a:lnTo>
                  <a:lnTo>
                    <a:pt x="714" y="450"/>
                  </a:lnTo>
                  <a:lnTo>
                    <a:pt x="720" y="450"/>
                  </a:lnTo>
                  <a:lnTo>
                    <a:pt x="720" y="438"/>
                  </a:lnTo>
                  <a:lnTo>
                    <a:pt x="726" y="432"/>
                  </a:lnTo>
                  <a:lnTo>
                    <a:pt x="738" y="420"/>
                  </a:lnTo>
                  <a:lnTo>
                    <a:pt x="744" y="420"/>
                  </a:lnTo>
                  <a:lnTo>
                    <a:pt x="750" y="414"/>
                  </a:lnTo>
                  <a:lnTo>
                    <a:pt x="762" y="408"/>
                  </a:lnTo>
                  <a:lnTo>
                    <a:pt x="768" y="408"/>
                  </a:lnTo>
                  <a:lnTo>
                    <a:pt x="768" y="402"/>
                  </a:lnTo>
                  <a:lnTo>
                    <a:pt x="780" y="396"/>
                  </a:lnTo>
                  <a:lnTo>
                    <a:pt x="786" y="396"/>
                  </a:lnTo>
                  <a:lnTo>
                    <a:pt x="786" y="390"/>
                  </a:lnTo>
                  <a:lnTo>
                    <a:pt x="792" y="384"/>
                  </a:lnTo>
                  <a:lnTo>
                    <a:pt x="792" y="378"/>
                  </a:lnTo>
                  <a:lnTo>
                    <a:pt x="798" y="366"/>
                  </a:lnTo>
                  <a:lnTo>
                    <a:pt x="804" y="360"/>
                  </a:lnTo>
                  <a:lnTo>
                    <a:pt x="816" y="342"/>
                  </a:lnTo>
                  <a:lnTo>
                    <a:pt x="816" y="312"/>
                  </a:lnTo>
                  <a:lnTo>
                    <a:pt x="804" y="300"/>
                  </a:lnTo>
                  <a:lnTo>
                    <a:pt x="798" y="288"/>
                  </a:lnTo>
                  <a:lnTo>
                    <a:pt x="762" y="264"/>
                  </a:lnTo>
                  <a:lnTo>
                    <a:pt x="738" y="234"/>
                  </a:lnTo>
                  <a:lnTo>
                    <a:pt x="738" y="222"/>
                  </a:lnTo>
                  <a:lnTo>
                    <a:pt x="744" y="210"/>
                  </a:lnTo>
                  <a:lnTo>
                    <a:pt x="732" y="174"/>
                  </a:lnTo>
                  <a:lnTo>
                    <a:pt x="714" y="156"/>
                  </a:lnTo>
                  <a:lnTo>
                    <a:pt x="708" y="144"/>
                  </a:lnTo>
                  <a:lnTo>
                    <a:pt x="714" y="126"/>
                  </a:lnTo>
                  <a:lnTo>
                    <a:pt x="720" y="114"/>
                  </a:lnTo>
                  <a:lnTo>
                    <a:pt x="732" y="102"/>
                  </a:lnTo>
                  <a:lnTo>
                    <a:pt x="744" y="102"/>
                  </a:lnTo>
                  <a:lnTo>
                    <a:pt x="762" y="108"/>
                  </a:lnTo>
                  <a:lnTo>
                    <a:pt x="774" y="114"/>
                  </a:lnTo>
                  <a:lnTo>
                    <a:pt x="780" y="138"/>
                  </a:lnTo>
                  <a:lnTo>
                    <a:pt x="786" y="144"/>
                  </a:lnTo>
                  <a:lnTo>
                    <a:pt x="798" y="138"/>
                  </a:lnTo>
                  <a:lnTo>
                    <a:pt x="804" y="132"/>
                  </a:lnTo>
                  <a:lnTo>
                    <a:pt x="816" y="120"/>
                  </a:lnTo>
                  <a:lnTo>
                    <a:pt x="816" y="108"/>
                  </a:lnTo>
                  <a:lnTo>
                    <a:pt x="828" y="102"/>
                  </a:lnTo>
                  <a:lnTo>
                    <a:pt x="828" y="96"/>
                  </a:lnTo>
                  <a:lnTo>
                    <a:pt x="840" y="96"/>
                  </a:lnTo>
                  <a:lnTo>
                    <a:pt x="840" y="84"/>
                  </a:lnTo>
                  <a:lnTo>
                    <a:pt x="852" y="90"/>
                  </a:lnTo>
                  <a:lnTo>
                    <a:pt x="852" y="96"/>
                  </a:lnTo>
                  <a:lnTo>
                    <a:pt x="870" y="90"/>
                  </a:lnTo>
                  <a:lnTo>
                    <a:pt x="894" y="78"/>
                  </a:lnTo>
                  <a:lnTo>
                    <a:pt x="912" y="78"/>
                  </a:lnTo>
                  <a:lnTo>
                    <a:pt x="942" y="66"/>
                  </a:lnTo>
                  <a:lnTo>
                    <a:pt x="942" y="60"/>
                  </a:lnTo>
                  <a:lnTo>
                    <a:pt x="954" y="48"/>
                  </a:lnTo>
                  <a:lnTo>
                    <a:pt x="966" y="30"/>
                  </a:lnTo>
                  <a:lnTo>
                    <a:pt x="978" y="30"/>
                  </a:lnTo>
                  <a:lnTo>
                    <a:pt x="978" y="24"/>
                  </a:lnTo>
                  <a:lnTo>
                    <a:pt x="984" y="12"/>
                  </a:lnTo>
                  <a:lnTo>
                    <a:pt x="990" y="12"/>
                  </a:lnTo>
                  <a:lnTo>
                    <a:pt x="996" y="12"/>
                  </a:lnTo>
                  <a:lnTo>
                    <a:pt x="1014" y="6"/>
                  </a:lnTo>
                  <a:lnTo>
                    <a:pt x="1026" y="6"/>
                  </a:lnTo>
                  <a:lnTo>
                    <a:pt x="1044" y="6"/>
                  </a:lnTo>
                  <a:lnTo>
                    <a:pt x="1050" y="6"/>
                  </a:lnTo>
                  <a:lnTo>
                    <a:pt x="1056" y="6"/>
                  </a:lnTo>
                  <a:lnTo>
                    <a:pt x="1062" y="6"/>
                  </a:lnTo>
                  <a:lnTo>
                    <a:pt x="1068" y="6"/>
                  </a:lnTo>
                  <a:lnTo>
                    <a:pt x="1074" y="6"/>
                  </a:lnTo>
                  <a:lnTo>
                    <a:pt x="1080" y="6"/>
                  </a:lnTo>
                  <a:lnTo>
                    <a:pt x="1086" y="0"/>
                  </a:lnTo>
                  <a:lnTo>
                    <a:pt x="1092" y="30"/>
                  </a:lnTo>
                  <a:lnTo>
                    <a:pt x="1098" y="60"/>
                  </a:lnTo>
                  <a:lnTo>
                    <a:pt x="1110" y="84"/>
                  </a:lnTo>
                  <a:lnTo>
                    <a:pt x="1122" y="114"/>
                  </a:lnTo>
                  <a:lnTo>
                    <a:pt x="1128" y="144"/>
                  </a:lnTo>
                  <a:lnTo>
                    <a:pt x="1122" y="156"/>
                  </a:lnTo>
                  <a:lnTo>
                    <a:pt x="1128" y="168"/>
                  </a:lnTo>
                  <a:lnTo>
                    <a:pt x="1134" y="186"/>
                  </a:lnTo>
                  <a:lnTo>
                    <a:pt x="1140" y="204"/>
                  </a:lnTo>
                  <a:lnTo>
                    <a:pt x="1146" y="210"/>
                  </a:lnTo>
                  <a:lnTo>
                    <a:pt x="1146" y="216"/>
                  </a:lnTo>
                  <a:lnTo>
                    <a:pt x="1146" y="228"/>
                  </a:lnTo>
                  <a:lnTo>
                    <a:pt x="1146" y="234"/>
                  </a:lnTo>
                  <a:lnTo>
                    <a:pt x="1140" y="246"/>
                  </a:lnTo>
                  <a:lnTo>
                    <a:pt x="1128" y="258"/>
                  </a:lnTo>
                  <a:lnTo>
                    <a:pt x="1116" y="264"/>
                  </a:lnTo>
                  <a:lnTo>
                    <a:pt x="1110" y="276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2" y="312"/>
                  </a:lnTo>
                  <a:lnTo>
                    <a:pt x="1116" y="324"/>
                  </a:lnTo>
                  <a:lnTo>
                    <a:pt x="1104" y="336"/>
                  </a:lnTo>
                  <a:lnTo>
                    <a:pt x="1104" y="354"/>
                  </a:lnTo>
                  <a:lnTo>
                    <a:pt x="1098" y="372"/>
                  </a:lnTo>
                  <a:lnTo>
                    <a:pt x="1092" y="384"/>
                  </a:lnTo>
                  <a:lnTo>
                    <a:pt x="1086" y="390"/>
                  </a:lnTo>
                  <a:lnTo>
                    <a:pt x="1086" y="402"/>
                  </a:lnTo>
                  <a:lnTo>
                    <a:pt x="1080" y="414"/>
                  </a:lnTo>
                  <a:lnTo>
                    <a:pt x="1074" y="426"/>
                  </a:lnTo>
                  <a:lnTo>
                    <a:pt x="1074" y="450"/>
                  </a:lnTo>
                  <a:lnTo>
                    <a:pt x="1074" y="462"/>
                  </a:lnTo>
                  <a:lnTo>
                    <a:pt x="1068" y="474"/>
                  </a:lnTo>
                  <a:lnTo>
                    <a:pt x="1062" y="486"/>
                  </a:lnTo>
                  <a:lnTo>
                    <a:pt x="1056" y="498"/>
                  </a:lnTo>
                  <a:close/>
                  <a:moveTo>
                    <a:pt x="186" y="378"/>
                  </a:moveTo>
                  <a:lnTo>
                    <a:pt x="186" y="384"/>
                  </a:lnTo>
                  <a:lnTo>
                    <a:pt x="180" y="390"/>
                  </a:lnTo>
                  <a:lnTo>
                    <a:pt x="174" y="396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14"/>
                  </a:lnTo>
                  <a:lnTo>
                    <a:pt x="126" y="414"/>
                  </a:lnTo>
                  <a:lnTo>
                    <a:pt x="120" y="414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2" y="426"/>
                  </a:lnTo>
                  <a:lnTo>
                    <a:pt x="102" y="432"/>
                  </a:lnTo>
                  <a:lnTo>
                    <a:pt x="96" y="432"/>
                  </a:lnTo>
                  <a:lnTo>
                    <a:pt x="90" y="432"/>
                  </a:lnTo>
                  <a:lnTo>
                    <a:pt x="84" y="438"/>
                  </a:lnTo>
                  <a:lnTo>
                    <a:pt x="78" y="438"/>
                  </a:lnTo>
                  <a:lnTo>
                    <a:pt x="78" y="444"/>
                  </a:lnTo>
                  <a:lnTo>
                    <a:pt x="72" y="444"/>
                  </a:lnTo>
                  <a:lnTo>
                    <a:pt x="72" y="450"/>
                  </a:lnTo>
                  <a:lnTo>
                    <a:pt x="66" y="456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48" y="468"/>
                  </a:lnTo>
                  <a:lnTo>
                    <a:pt x="42" y="468"/>
                  </a:lnTo>
                  <a:lnTo>
                    <a:pt x="42" y="462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8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0" y="396"/>
                  </a:lnTo>
                  <a:lnTo>
                    <a:pt x="6" y="384"/>
                  </a:lnTo>
                  <a:lnTo>
                    <a:pt x="18" y="372"/>
                  </a:lnTo>
                  <a:lnTo>
                    <a:pt x="30" y="348"/>
                  </a:lnTo>
                  <a:lnTo>
                    <a:pt x="30" y="342"/>
                  </a:lnTo>
                  <a:lnTo>
                    <a:pt x="42" y="330"/>
                  </a:lnTo>
                  <a:lnTo>
                    <a:pt x="42" y="324"/>
                  </a:lnTo>
                  <a:lnTo>
                    <a:pt x="48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60" y="282"/>
                  </a:lnTo>
                  <a:lnTo>
                    <a:pt x="60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2" y="258"/>
                  </a:lnTo>
                  <a:lnTo>
                    <a:pt x="84" y="246"/>
                  </a:lnTo>
                  <a:lnTo>
                    <a:pt x="90" y="234"/>
                  </a:lnTo>
                  <a:lnTo>
                    <a:pt x="96" y="234"/>
                  </a:lnTo>
                  <a:lnTo>
                    <a:pt x="96" y="228"/>
                  </a:lnTo>
                  <a:lnTo>
                    <a:pt x="102" y="222"/>
                  </a:lnTo>
                  <a:lnTo>
                    <a:pt x="102" y="228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14" y="228"/>
                  </a:lnTo>
                  <a:lnTo>
                    <a:pt x="114" y="234"/>
                  </a:lnTo>
                  <a:lnTo>
                    <a:pt x="120" y="228"/>
                  </a:lnTo>
                  <a:lnTo>
                    <a:pt x="120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26" y="228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8" y="234"/>
                  </a:lnTo>
                  <a:lnTo>
                    <a:pt x="144" y="234"/>
                  </a:lnTo>
                  <a:lnTo>
                    <a:pt x="144" y="228"/>
                  </a:lnTo>
                  <a:lnTo>
                    <a:pt x="150" y="228"/>
                  </a:lnTo>
                  <a:lnTo>
                    <a:pt x="156" y="228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46"/>
                  </a:lnTo>
                  <a:lnTo>
                    <a:pt x="162" y="240"/>
                  </a:lnTo>
                  <a:lnTo>
                    <a:pt x="162" y="246"/>
                  </a:lnTo>
                  <a:lnTo>
                    <a:pt x="162" y="258"/>
                  </a:lnTo>
                  <a:lnTo>
                    <a:pt x="162" y="264"/>
                  </a:lnTo>
                  <a:lnTo>
                    <a:pt x="156" y="270"/>
                  </a:lnTo>
                  <a:lnTo>
                    <a:pt x="162" y="270"/>
                  </a:lnTo>
                  <a:lnTo>
                    <a:pt x="162" y="282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86" y="288"/>
                  </a:lnTo>
                  <a:lnTo>
                    <a:pt x="186" y="294"/>
                  </a:lnTo>
                  <a:lnTo>
                    <a:pt x="180" y="300"/>
                  </a:lnTo>
                  <a:lnTo>
                    <a:pt x="174" y="318"/>
                  </a:lnTo>
                  <a:lnTo>
                    <a:pt x="174" y="324"/>
                  </a:lnTo>
                  <a:lnTo>
                    <a:pt x="168" y="330"/>
                  </a:lnTo>
                  <a:lnTo>
                    <a:pt x="168" y="342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74" y="360"/>
                  </a:lnTo>
                  <a:lnTo>
                    <a:pt x="180" y="366"/>
                  </a:lnTo>
                  <a:lnTo>
                    <a:pt x="186" y="3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8" name="Freeform 23">
              <a:extLst>
                <a:ext uri="{FF2B5EF4-FFF2-40B4-BE49-F238E27FC236}">
                  <a16:creationId xmlns:a16="http://schemas.microsoft.com/office/drawing/2014/main" id="{A539A33E-3F6E-4AF7-BD88-1853165307F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6312" y="3604793"/>
              <a:ext cx="581410" cy="621747"/>
            </a:xfrm>
            <a:custGeom>
              <a:avLst/>
              <a:gdLst>
                <a:gd name="T0" fmla="*/ 90 w 1092"/>
                <a:gd name="T1" fmla="*/ 60 h 1170"/>
                <a:gd name="T2" fmla="*/ 83 w 1092"/>
                <a:gd name="T3" fmla="*/ 62 h 1170"/>
                <a:gd name="T4" fmla="*/ 72 w 1092"/>
                <a:gd name="T5" fmla="*/ 68 h 1170"/>
                <a:gd name="T6" fmla="*/ 68 w 1092"/>
                <a:gd name="T7" fmla="*/ 71 h 1170"/>
                <a:gd name="T8" fmla="*/ 61 w 1092"/>
                <a:gd name="T9" fmla="*/ 69 h 1170"/>
                <a:gd name="T10" fmla="*/ 64 w 1092"/>
                <a:gd name="T11" fmla="*/ 82 h 1170"/>
                <a:gd name="T12" fmla="*/ 67 w 1092"/>
                <a:gd name="T13" fmla="*/ 93 h 1170"/>
                <a:gd name="T14" fmla="*/ 62 w 1092"/>
                <a:gd name="T15" fmla="*/ 96 h 1170"/>
                <a:gd name="T16" fmla="*/ 59 w 1092"/>
                <a:gd name="T17" fmla="*/ 99 h 1170"/>
                <a:gd name="T18" fmla="*/ 53 w 1092"/>
                <a:gd name="T19" fmla="*/ 101 h 1170"/>
                <a:gd name="T20" fmla="*/ 50 w 1092"/>
                <a:gd name="T21" fmla="*/ 100 h 1170"/>
                <a:gd name="T22" fmla="*/ 50 w 1092"/>
                <a:gd name="T23" fmla="*/ 93 h 1170"/>
                <a:gd name="T24" fmla="*/ 37 w 1092"/>
                <a:gd name="T25" fmla="*/ 85 h 1170"/>
                <a:gd name="T26" fmla="*/ 32 w 1092"/>
                <a:gd name="T27" fmla="*/ 86 h 1170"/>
                <a:gd name="T28" fmla="*/ 29 w 1092"/>
                <a:gd name="T29" fmla="*/ 88 h 1170"/>
                <a:gd name="T30" fmla="*/ 27 w 1092"/>
                <a:gd name="T31" fmla="*/ 86 h 1170"/>
                <a:gd name="T32" fmla="*/ 23 w 1092"/>
                <a:gd name="T33" fmla="*/ 87 h 1170"/>
                <a:gd name="T34" fmla="*/ 17 w 1092"/>
                <a:gd name="T35" fmla="*/ 87 h 1170"/>
                <a:gd name="T36" fmla="*/ 18 w 1092"/>
                <a:gd name="T37" fmla="*/ 89 h 1170"/>
                <a:gd name="T38" fmla="*/ 16 w 1092"/>
                <a:gd name="T39" fmla="*/ 92 h 1170"/>
                <a:gd name="T40" fmla="*/ 12 w 1092"/>
                <a:gd name="T41" fmla="*/ 89 h 1170"/>
                <a:gd name="T42" fmla="*/ 13 w 1092"/>
                <a:gd name="T43" fmla="*/ 84 h 1170"/>
                <a:gd name="T44" fmla="*/ 12 w 1092"/>
                <a:gd name="T45" fmla="*/ 80 h 1170"/>
                <a:gd name="T46" fmla="*/ 10 w 1092"/>
                <a:gd name="T47" fmla="*/ 80 h 1170"/>
                <a:gd name="T48" fmla="*/ 8 w 1092"/>
                <a:gd name="T49" fmla="*/ 79 h 1170"/>
                <a:gd name="T50" fmla="*/ 6 w 1092"/>
                <a:gd name="T51" fmla="*/ 78 h 1170"/>
                <a:gd name="T52" fmla="*/ 6 w 1092"/>
                <a:gd name="T53" fmla="*/ 77 h 1170"/>
                <a:gd name="T54" fmla="*/ 4 w 1092"/>
                <a:gd name="T55" fmla="*/ 75 h 1170"/>
                <a:gd name="T56" fmla="*/ 0 w 1092"/>
                <a:gd name="T57" fmla="*/ 72 h 1170"/>
                <a:gd name="T58" fmla="*/ 0 w 1092"/>
                <a:gd name="T59" fmla="*/ 69 h 1170"/>
                <a:gd name="T60" fmla="*/ 3 w 1092"/>
                <a:gd name="T61" fmla="*/ 67 h 1170"/>
                <a:gd name="T62" fmla="*/ 6 w 1092"/>
                <a:gd name="T63" fmla="*/ 62 h 1170"/>
                <a:gd name="T64" fmla="*/ 8 w 1092"/>
                <a:gd name="T65" fmla="*/ 58 h 1170"/>
                <a:gd name="T66" fmla="*/ 5 w 1092"/>
                <a:gd name="T67" fmla="*/ 54 h 1170"/>
                <a:gd name="T68" fmla="*/ 6 w 1092"/>
                <a:gd name="T69" fmla="*/ 50 h 1170"/>
                <a:gd name="T70" fmla="*/ 8 w 1092"/>
                <a:gd name="T71" fmla="*/ 46 h 1170"/>
                <a:gd name="T72" fmla="*/ 10 w 1092"/>
                <a:gd name="T73" fmla="*/ 43 h 1170"/>
                <a:gd name="T74" fmla="*/ 14 w 1092"/>
                <a:gd name="T75" fmla="*/ 38 h 1170"/>
                <a:gd name="T76" fmla="*/ 31 w 1092"/>
                <a:gd name="T77" fmla="*/ 40 h 1170"/>
                <a:gd name="T78" fmla="*/ 30 w 1092"/>
                <a:gd name="T79" fmla="*/ 46 h 1170"/>
                <a:gd name="T80" fmla="*/ 36 w 1092"/>
                <a:gd name="T81" fmla="*/ 47 h 1170"/>
                <a:gd name="T82" fmla="*/ 41 w 1092"/>
                <a:gd name="T83" fmla="*/ 44 h 1170"/>
                <a:gd name="T84" fmla="*/ 43 w 1092"/>
                <a:gd name="T85" fmla="*/ 39 h 1170"/>
                <a:gd name="T86" fmla="*/ 44 w 1092"/>
                <a:gd name="T87" fmla="*/ 35 h 1170"/>
                <a:gd name="T88" fmla="*/ 44 w 1092"/>
                <a:gd name="T89" fmla="*/ 29 h 1170"/>
                <a:gd name="T90" fmla="*/ 48 w 1092"/>
                <a:gd name="T91" fmla="*/ 24 h 1170"/>
                <a:gd name="T92" fmla="*/ 49 w 1092"/>
                <a:gd name="T93" fmla="*/ 19 h 1170"/>
                <a:gd name="T94" fmla="*/ 51 w 1092"/>
                <a:gd name="T95" fmla="*/ 14 h 1170"/>
                <a:gd name="T96" fmla="*/ 54 w 1092"/>
                <a:gd name="T97" fmla="*/ 10 h 1170"/>
                <a:gd name="T98" fmla="*/ 53 w 1092"/>
                <a:gd name="T99" fmla="*/ 7 h 1170"/>
                <a:gd name="T100" fmla="*/ 55 w 1092"/>
                <a:gd name="T101" fmla="*/ 3 h 1170"/>
                <a:gd name="T102" fmla="*/ 58 w 1092"/>
                <a:gd name="T103" fmla="*/ 0 h 1170"/>
                <a:gd name="T104" fmla="*/ 65 w 1092"/>
                <a:gd name="T105" fmla="*/ 2 h 1170"/>
                <a:gd name="T106" fmla="*/ 61 w 1092"/>
                <a:gd name="T107" fmla="*/ 6 h 1170"/>
                <a:gd name="T108" fmla="*/ 67 w 1092"/>
                <a:gd name="T109" fmla="*/ 7 h 1170"/>
                <a:gd name="T110" fmla="*/ 71 w 1092"/>
                <a:gd name="T111" fmla="*/ 6 h 1170"/>
                <a:gd name="T112" fmla="*/ 75 w 1092"/>
                <a:gd name="T113" fmla="*/ 9 h 1170"/>
                <a:gd name="T114" fmla="*/ 82 w 1092"/>
                <a:gd name="T115" fmla="*/ 12 h 1170"/>
                <a:gd name="T116" fmla="*/ 84 w 1092"/>
                <a:gd name="T117" fmla="*/ 17 h 1170"/>
                <a:gd name="T118" fmla="*/ 94 w 1092"/>
                <a:gd name="T119" fmla="*/ 23 h 1170"/>
                <a:gd name="T120" fmla="*/ 94 w 1092"/>
                <a:gd name="T121" fmla="*/ 34 h 1170"/>
                <a:gd name="T122" fmla="*/ 90 w 1092"/>
                <a:gd name="T123" fmla="*/ 41 h 1170"/>
                <a:gd name="T124" fmla="*/ 91 w 1092"/>
                <a:gd name="T125" fmla="*/ 51 h 11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92"/>
                <a:gd name="T190" fmla="*/ 0 h 1170"/>
                <a:gd name="T191" fmla="*/ 1092 w 1092"/>
                <a:gd name="T192" fmla="*/ 1170 h 117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92" h="1170">
                  <a:moveTo>
                    <a:pt x="1056" y="654"/>
                  </a:moveTo>
                  <a:lnTo>
                    <a:pt x="1062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0"/>
                  </a:lnTo>
                  <a:lnTo>
                    <a:pt x="1038" y="690"/>
                  </a:lnTo>
                  <a:lnTo>
                    <a:pt x="1032" y="690"/>
                  </a:lnTo>
                  <a:lnTo>
                    <a:pt x="1026" y="690"/>
                  </a:lnTo>
                  <a:lnTo>
                    <a:pt x="1020" y="690"/>
                  </a:lnTo>
                  <a:lnTo>
                    <a:pt x="1002" y="690"/>
                  </a:lnTo>
                  <a:lnTo>
                    <a:pt x="990" y="690"/>
                  </a:lnTo>
                  <a:lnTo>
                    <a:pt x="972" y="696"/>
                  </a:lnTo>
                  <a:lnTo>
                    <a:pt x="966" y="696"/>
                  </a:lnTo>
                  <a:lnTo>
                    <a:pt x="960" y="696"/>
                  </a:lnTo>
                  <a:lnTo>
                    <a:pt x="954" y="708"/>
                  </a:lnTo>
                  <a:lnTo>
                    <a:pt x="954" y="714"/>
                  </a:lnTo>
                  <a:lnTo>
                    <a:pt x="942" y="714"/>
                  </a:lnTo>
                  <a:lnTo>
                    <a:pt x="930" y="732"/>
                  </a:lnTo>
                  <a:lnTo>
                    <a:pt x="918" y="744"/>
                  </a:lnTo>
                  <a:lnTo>
                    <a:pt x="918" y="750"/>
                  </a:lnTo>
                  <a:lnTo>
                    <a:pt x="888" y="762"/>
                  </a:lnTo>
                  <a:lnTo>
                    <a:pt x="870" y="762"/>
                  </a:lnTo>
                  <a:lnTo>
                    <a:pt x="846" y="774"/>
                  </a:lnTo>
                  <a:lnTo>
                    <a:pt x="828" y="780"/>
                  </a:lnTo>
                  <a:lnTo>
                    <a:pt x="828" y="774"/>
                  </a:lnTo>
                  <a:lnTo>
                    <a:pt x="816" y="768"/>
                  </a:lnTo>
                  <a:lnTo>
                    <a:pt x="816" y="780"/>
                  </a:lnTo>
                  <a:lnTo>
                    <a:pt x="804" y="780"/>
                  </a:lnTo>
                  <a:lnTo>
                    <a:pt x="804" y="786"/>
                  </a:lnTo>
                  <a:lnTo>
                    <a:pt x="792" y="792"/>
                  </a:lnTo>
                  <a:lnTo>
                    <a:pt x="792" y="804"/>
                  </a:lnTo>
                  <a:lnTo>
                    <a:pt x="780" y="816"/>
                  </a:lnTo>
                  <a:lnTo>
                    <a:pt x="774" y="822"/>
                  </a:lnTo>
                  <a:lnTo>
                    <a:pt x="762" y="828"/>
                  </a:lnTo>
                  <a:lnTo>
                    <a:pt x="756" y="822"/>
                  </a:lnTo>
                  <a:lnTo>
                    <a:pt x="750" y="798"/>
                  </a:lnTo>
                  <a:lnTo>
                    <a:pt x="738" y="792"/>
                  </a:lnTo>
                  <a:lnTo>
                    <a:pt x="720" y="786"/>
                  </a:lnTo>
                  <a:lnTo>
                    <a:pt x="708" y="786"/>
                  </a:lnTo>
                  <a:lnTo>
                    <a:pt x="696" y="798"/>
                  </a:lnTo>
                  <a:lnTo>
                    <a:pt x="690" y="810"/>
                  </a:lnTo>
                  <a:lnTo>
                    <a:pt x="684" y="828"/>
                  </a:lnTo>
                  <a:lnTo>
                    <a:pt x="690" y="840"/>
                  </a:lnTo>
                  <a:lnTo>
                    <a:pt x="708" y="858"/>
                  </a:lnTo>
                  <a:lnTo>
                    <a:pt x="720" y="894"/>
                  </a:lnTo>
                  <a:lnTo>
                    <a:pt x="714" y="906"/>
                  </a:lnTo>
                  <a:lnTo>
                    <a:pt x="714" y="918"/>
                  </a:lnTo>
                  <a:lnTo>
                    <a:pt x="738" y="948"/>
                  </a:lnTo>
                  <a:lnTo>
                    <a:pt x="774" y="972"/>
                  </a:lnTo>
                  <a:lnTo>
                    <a:pt x="780" y="984"/>
                  </a:lnTo>
                  <a:lnTo>
                    <a:pt x="792" y="996"/>
                  </a:lnTo>
                  <a:lnTo>
                    <a:pt x="792" y="1026"/>
                  </a:lnTo>
                  <a:lnTo>
                    <a:pt x="780" y="1044"/>
                  </a:lnTo>
                  <a:lnTo>
                    <a:pt x="774" y="1050"/>
                  </a:lnTo>
                  <a:lnTo>
                    <a:pt x="768" y="1062"/>
                  </a:lnTo>
                  <a:lnTo>
                    <a:pt x="768" y="1068"/>
                  </a:lnTo>
                  <a:lnTo>
                    <a:pt x="762" y="1074"/>
                  </a:lnTo>
                  <a:lnTo>
                    <a:pt x="762" y="1080"/>
                  </a:lnTo>
                  <a:lnTo>
                    <a:pt x="756" y="1080"/>
                  </a:lnTo>
                  <a:lnTo>
                    <a:pt x="744" y="1086"/>
                  </a:lnTo>
                  <a:lnTo>
                    <a:pt x="744" y="1092"/>
                  </a:lnTo>
                  <a:lnTo>
                    <a:pt x="738" y="1092"/>
                  </a:lnTo>
                  <a:lnTo>
                    <a:pt x="726" y="1098"/>
                  </a:lnTo>
                  <a:lnTo>
                    <a:pt x="720" y="1104"/>
                  </a:lnTo>
                  <a:lnTo>
                    <a:pt x="714" y="1104"/>
                  </a:lnTo>
                  <a:lnTo>
                    <a:pt x="702" y="1116"/>
                  </a:lnTo>
                  <a:lnTo>
                    <a:pt x="696" y="1122"/>
                  </a:lnTo>
                  <a:lnTo>
                    <a:pt x="696" y="1134"/>
                  </a:lnTo>
                  <a:lnTo>
                    <a:pt x="690" y="1134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72" y="1146"/>
                  </a:lnTo>
                  <a:lnTo>
                    <a:pt x="672" y="1152"/>
                  </a:lnTo>
                  <a:lnTo>
                    <a:pt x="660" y="1152"/>
                  </a:lnTo>
                  <a:lnTo>
                    <a:pt x="642" y="1152"/>
                  </a:lnTo>
                  <a:lnTo>
                    <a:pt x="636" y="1152"/>
                  </a:lnTo>
                  <a:lnTo>
                    <a:pt x="630" y="1158"/>
                  </a:lnTo>
                  <a:lnTo>
                    <a:pt x="624" y="1164"/>
                  </a:lnTo>
                  <a:lnTo>
                    <a:pt x="618" y="1170"/>
                  </a:lnTo>
                  <a:lnTo>
                    <a:pt x="612" y="1170"/>
                  </a:lnTo>
                  <a:lnTo>
                    <a:pt x="600" y="1170"/>
                  </a:lnTo>
                  <a:lnTo>
                    <a:pt x="594" y="1170"/>
                  </a:lnTo>
                  <a:lnTo>
                    <a:pt x="588" y="1170"/>
                  </a:lnTo>
                  <a:lnTo>
                    <a:pt x="582" y="1170"/>
                  </a:lnTo>
                  <a:lnTo>
                    <a:pt x="582" y="1164"/>
                  </a:lnTo>
                  <a:lnTo>
                    <a:pt x="576" y="1158"/>
                  </a:lnTo>
                  <a:lnTo>
                    <a:pt x="570" y="1158"/>
                  </a:lnTo>
                  <a:lnTo>
                    <a:pt x="570" y="1152"/>
                  </a:lnTo>
                  <a:lnTo>
                    <a:pt x="570" y="1146"/>
                  </a:lnTo>
                  <a:lnTo>
                    <a:pt x="570" y="1140"/>
                  </a:lnTo>
                  <a:lnTo>
                    <a:pt x="564" y="1140"/>
                  </a:lnTo>
                  <a:lnTo>
                    <a:pt x="564" y="1134"/>
                  </a:lnTo>
                  <a:lnTo>
                    <a:pt x="564" y="1128"/>
                  </a:lnTo>
                  <a:lnTo>
                    <a:pt x="576" y="1104"/>
                  </a:lnTo>
                  <a:lnTo>
                    <a:pt x="582" y="1086"/>
                  </a:lnTo>
                  <a:lnTo>
                    <a:pt x="570" y="1068"/>
                  </a:lnTo>
                  <a:lnTo>
                    <a:pt x="534" y="1056"/>
                  </a:lnTo>
                  <a:lnTo>
                    <a:pt x="516" y="1026"/>
                  </a:lnTo>
                  <a:lnTo>
                    <a:pt x="492" y="1020"/>
                  </a:lnTo>
                  <a:lnTo>
                    <a:pt x="492" y="1014"/>
                  </a:lnTo>
                  <a:lnTo>
                    <a:pt x="480" y="1008"/>
                  </a:lnTo>
                  <a:lnTo>
                    <a:pt x="474" y="996"/>
                  </a:lnTo>
                  <a:lnTo>
                    <a:pt x="444" y="984"/>
                  </a:lnTo>
                  <a:lnTo>
                    <a:pt x="426" y="978"/>
                  </a:lnTo>
                  <a:lnTo>
                    <a:pt x="420" y="972"/>
                  </a:lnTo>
                  <a:lnTo>
                    <a:pt x="408" y="984"/>
                  </a:lnTo>
                  <a:lnTo>
                    <a:pt x="402" y="984"/>
                  </a:lnTo>
                  <a:lnTo>
                    <a:pt x="396" y="984"/>
                  </a:lnTo>
                  <a:lnTo>
                    <a:pt x="390" y="984"/>
                  </a:lnTo>
                  <a:lnTo>
                    <a:pt x="384" y="990"/>
                  </a:lnTo>
                  <a:lnTo>
                    <a:pt x="378" y="990"/>
                  </a:lnTo>
                  <a:lnTo>
                    <a:pt x="372" y="990"/>
                  </a:lnTo>
                  <a:lnTo>
                    <a:pt x="372" y="996"/>
                  </a:lnTo>
                  <a:lnTo>
                    <a:pt x="366" y="996"/>
                  </a:lnTo>
                  <a:lnTo>
                    <a:pt x="360" y="1002"/>
                  </a:lnTo>
                  <a:lnTo>
                    <a:pt x="360" y="1008"/>
                  </a:lnTo>
                  <a:lnTo>
                    <a:pt x="354" y="1008"/>
                  </a:lnTo>
                  <a:lnTo>
                    <a:pt x="342" y="1014"/>
                  </a:lnTo>
                  <a:lnTo>
                    <a:pt x="336" y="1020"/>
                  </a:lnTo>
                  <a:lnTo>
                    <a:pt x="336" y="1014"/>
                  </a:lnTo>
                  <a:lnTo>
                    <a:pt x="330" y="1014"/>
                  </a:lnTo>
                  <a:lnTo>
                    <a:pt x="330" y="1008"/>
                  </a:lnTo>
                  <a:lnTo>
                    <a:pt x="330" y="1002"/>
                  </a:lnTo>
                  <a:lnTo>
                    <a:pt x="324" y="1002"/>
                  </a:lnTo>
                  <a:lnTo>
                    <a:pt x="324" y="996"/>
                  </a:lnTo>
                  <a:lnTo>
                    <a:pt x="324" y="990"/>
                  </a:lnTo>
                  <a:lnTo>
                    <a:pt x="318" y="990"/>
                  </a:lnTo>
                  <a:lnTo>
                    <a:pt x="306" y="996"/>
                  </a:lnTo>
                  <a:lnTo>
                    <a:pt x="300" y="996"/>
                  </a:lnTo>
                  <a:lnTo>
                    <a:pt x="294" y="996"/>
                  </a:lnTo>
                  <a:lnTo>
                    <a:pt x="288" y="1002"/>
                  </a:lnTo>
                  <a:lnTo>
                    <a:pt x="282" y="990"/>
                  </a:lnTo>
                  <a:lnTo>
                    <a:pt x="276" y="984"/>
                  </a:lnTo>
                  <a:lnTo>
                    <a:pt x="270" y="990"/>
                  </a:lnTo>
                  <a:lnTo>
                    <a:pt x="270" y="996"/>
                  </a:lnTo>
                  <a:lnTo>
                    <a:pt x="270" y="1002"/>
                  </a:lnTo>
                  <a:lnTo>
                    <a:pt x="264" y="1008"/>
                  </a:lnTo>
                  <a:lnTo>
                    <a:pt x="252" y="996"/>
                  </a:lnTo>
                  <a:lnTo>
                    <a:pt x="246" y="996"/>
                  </a:lnTo>
                  <a:lnTo>
                    <a:pt x="234" y="1002"/>
                  </a:lnTo>
                  <a:lnTo>
                    <a:pt x="222" y="1002"/>
                  </a:lnTo>
                  <a:lnTo>
                    <a:pt x="210" y="1002"/>
                  </a:lnTo>
                  <a:lnTo>
                    <a:pt x="198" y="996"/>
                  </a:lnTo>
                  <a:lnTo>
                    <a:pt x="198" y="1002"/>
                  </a:lnTo>
                  <a:lnTo>
                    <a:pt x="198" y="1008"/>
                  </a:lnTo>
                  <a:lnTo>
                    <a:pt x="192" y="1020"/>
                  </a:lnTo>
                  <a:lnTo>
                    <a:pt x="198" y="1020"/>
                  </a:lnTo>
                  <a:lnTo>
                    <a:pt x="204" y="1020"/>
                  </a:lnTo>
                  <a:lnTo>
                    <a:pt x="210" y="1026"/>
                  </a:lnTo>
                  <a:lnTo>
                    <a:pt x="216" y="1026"/>
                  </a:lnTo>
                  <a:lnTo>
                    <a:pt x="216" y="1032"/>
                  </a:lnTo>
                  <a:lnTo>
                    <a:pt x="210" y="1032"/>
                  </a:lnTo>
                  <a:lnTo>
                    <a:pt x="210" y="1038"/>
                  </a:lnTo>
                  <a:lnTo>
                    <a:pt x="204" y="1038"/>
                  </a:lnTo>
                  <a:lnTo>
                    <a:pt x="204" y="1044"/>
                  </a:lnTo>
                  <a:lnTo>
                    <a:pt x="198" y="1044"/>
                  </a:lnTo>
                  <a:lnTo>
                    <a:pt x="192" y="1044"/>
                  </a:lnTo>
                  <a:lnTo>
                    <a:pt x="186" y="1050"/>
                  </a:lnTo>
                  <a:lnTo>
                    <a:pt x="186" y="1056"/>
                  </a:lnTo>
                  <a:lnTo>
                    <a:pt x="180" y="1056"/>
                  </a:lnTo>
                  <a:lnTo>
                    <a:pt x="180" y="1062"/>
                  </a:lnTo>
                  <a:lnTo>
                    <a:pt x="174" y="1062"/>
                  </a:lnTo>
                  <a:lnTo>
                    <a:pt x="168" y="1062"/>
                  </a:lnTo>
                  <a:lnTo>
                    <a:pt x="162" y="1062"/>
                  </a:lnTo>
                  <a:lnTo>
                    <a:pt x="156" y="1050"/>
                  </a:lnTo>
                  <a:lnTo>
                    <a:pt x="150" y="1044"/>
                  </a:lnTo>
                  <a:lnTo>
                    <a:pt x="150" y="1038"/>
                  </a:lnTo>
                  <a:lnTo>
                    <a:pt x="144" y="1032"/>
                  </a:lnTo>
                  <a:lnTo>
                    <a:pt x="144" y="1026"/>
                  </a:lnTo>
                  <a:lnTo>
                    <a:pt x="144" y="1014"/>
                  </a:lnTo>
                  <a:lnTo>
                    <a:pt x="150" y="1008"/>
                  </a:lnTo>
                  <a:lnTo>
                    <a:pt x="150" y="1002"/>
                  </a:lnTo>
                  <a:lnTo>
                    <a:pt x="156" y="984"/>
                  </a:lnTo>
                  <a:lnTo>
                    <a:pt x="162" y="978"/>
                  </a:lnTo>
                  <a:lnTo>
                    <a:pt x="162" y="972"/>
                  </a:lnTo>
                  <a:lnTo>
                    <a:pt x="150" y="966"/>
                  </a:lnTo>
                  <a:lnTo>
                    <a:pt x="144" y="966"/>
                  </a:lnTo>
                  <a:lnTo>
                    <a:pt x="138" y="966"/>
                  </a:lnTo>
                  <a:lnTo>
                    <a:pt x="138" y="954"/>
                  </a:lnTo>
                  <a:lnTo>
                    <a:pt x="132" y="954"/>
                  </a:lnTo>
                  <a:lnTo>
                    <a:pt x="138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8" y="924"/>
                  </a:lnTo>
                  <a:lnTo>
                    <a:pt x="132" y="930"/>
                  </a:lnTo>
                  <a:lnTo>
                    <a:pt x="132" y="924"/>
                  </a:lnTo>
                  <a:lnTo>
                    <a:pt x="126" y="918"/>
                  </a:lnTo>
                  <a:lnTo>
                    <a:pt x="132" y="918"/>
                  </a:lnTo>
                  <a:lnTo>
                    <a:pt x="132" y="912"/>
                  </a:lnTo>
                  <a:lnTo>
                    <a:pt x="126" y="912"/>
                  </a:lnTo>
                  <a:lnTo>
                    <a:pt x="120" y="912"/>
                  </a:lnTo>
                  <a:lnTo>
                    <a:pt x="120" y="918"/>
                  </a:lnTo>
                  <a:lnTo>
                    <a:pt x="114" y="918"/>
                  </a:lnTo>
                  <a:lnTo>
                    <a:pt x="114" y="912"/>
                  </a:lnTo>
                  <a:lnTo>
                    <a:pt x="108" y="912"/>
                  </a:lnTo>
                  <a:lnTo>
                    <a:pt x="102" y="912"/>
                  </a:lnTo>
                  <a:lnTo>
                    <a:pt x="108" y="906"/>
                  </a:lnTo>
                  <a:lnTo>
                    <a:pt x="102" y="906"/>
                  </a:lnTo>
                  <a:lnTo>
                    <a:pt x="96" y="906"/>
                  </a:lnTo>
                  <a:lnTo>
                    <a:pt x="96" y="912"/>
                  </a:lnTo>
                  <a:lnTo>
                    <a:pt x="90" y="918"/>
                  </a:lnTo>
                  <a:lnTo>
                    <a:pt x="90" y="912"/>
                  </a:lnTo>
                  <a:lnTo>
                    <a:pt x="84" y="912"/>
                  </a:lnTo>
                  <a:lnTo>
                    <a:pt x="84" y="918"/>
                  </a:lnTo>
                  <a:lnTo>
                    <a:pt x="78" y="918"/>
                  </a:lnTo>
                  <a:lnTo>
                    <a:pt x="78" y="912"/>
                  </a:lnTo>
                  <a:lnTo>
                    <a:pt x="78" y="906"/>
                  </a:lnTo>
                  <a:lnTo>
                    <a:pt x="72" y="900"/>
                  </a:lnTo>
                  <a:lnTo>
                    <a:pt x="78" y="900"/>
                  </a:lnTo>
                  <a:lnTo>
                    <a:pt x="72" y="900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8" y="888"/>
                  </a:lnTo>
                  <a:lnTo>
                    <a:pt x="72" y="888"/>
                  </a:lnTo>
                  <a:lnTo>
                    <a:pt x="72" y="882"/>
                  </a:lnTo>
                  <a:lnTo>
                    <a:pt x="66" y="876"/>
                  </a:lnTo>
                  <a:lnTo>
                    <a:pt x="60" y="882"/>
                  </a:lnTo>
                  <a:lnTo>
                    <a:pt x="54" y="876"/>
                  </a:lnTo>
                  <a:lnTo>
                    <a:pt x="54" y="882"/>
                  </a:lnTo>
                  <a:lnTo>
                    <a:pt x="48" y="882"/>
                  </a:lnTo>
                  <a:lnTo>
                    <a:pt x="42" y="870"/>
                  </a:lnTo>
                  <a:lnTo>
                    <a:pt x="42" y="864"/>
                  </a:lnTo>
                  <a:lnTo>
                    <a:pt x="36" y="858"/>
                  </a:lnTo>
                  <a:lnTo>
                    <a:pt x="36" y="852"/>
                  </a:lnTo>
                  <a:lnTo>
                    <a:pt x="30" y="852"/>
                  </a:lnTo>
                  <a:lnTo>
                    <a:pt x="30" y="846"/>
                  </a:lnTo>
                  <a:lnTo>
                    <a:pt x="24" y="846"/>
                  </a:lnTo>
                  <a:lnTo>
                    <a:pt x="18" y="840"/>
                  </a:lnTo>
                  <a:lnTo>
                    <a:pt x="12" y="834"/>
                  </a:lnTo>
                  <a:lnTo>
                    <a:pt x="0" y="828"/>
                  </a:lnTo>
                  <a:lnTo>
                    <a:pt x="0" y="822"/>
                  </a:lnTo>
                  <a:lnTo>
                    <a:pt x="0" y="816"/>
                  </a:lnTo>
                  <a:lnTo>
                    <a:pt x="0" y="810"/>
                  </a:lnTo>
                  <a:lnTo>
                    <a:pt x="6" y="804"/>
                  </a:lnTo>
                  <a:lnTo>
                    <a:pt x="12" y="804"/>
                  </a:lnTo>
                  <a:lnTo>
                    <a:pt x="12" y="798"/>
                  </a:lnTo>
                  <a:lnTo>
                    <a:pt x="12" y="792"/>
                  </a:lnTo>
                  <a:lnTo>
                    <a:pt x="6" y="792"/>
                  </a:lnTo>
                  <a:lnTo>
                    <a:pt x="6" y="786"/>
                  </a:lnTo>
                  <a:lnTo>
                    <a:pt x="6" y="780"/>
                  </a:lnTo>
                  <a:lnTo>
                    <a:pt x="18" y="780"/>
                  </a:lnTo>
                  <a:lnTo>
                    <a:pt x="18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0" y="774"/>
                  </a:lnTo>
                  <a:lnTo>
                    <a:pt x="36" y="768"/>
                  </a:lnTo>
                  <a:lnTo>
                    <a:pt x="42" y="768"/>
                  </a:lnTo>
                  <a:lnTo>
                    <a:pt x="60" y="750"/>
                  </a:lnTo>
                  <a:lnTo>
                    <a:pt x="60" y="744"/>
                  </a:lnTo>
                  <a:lnTo>
                    <a:pt x="54" y="738"/>
                  </a:lnTo>
                  <a:lnTo>
                    <a:pt x="60" y="732"/>
                  </a:lnTo>
                  <a:lnTo>
                    <a:pt x="54" y="732"/>
                  </a:lnTo>
                  <a:lnTo>
                    <a:pt x="60" y="726"/>
                  </a:lnTo>
                  <a:lnTo>
                    <a:pt x="66" y="720"/>
                  </a:lnTo>
                  <a:lnTo>
                    <a:pt x="72" y="714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84" y="696"/>
                  </a:lnTo>
                  <a:lnTo>
                    <a:pt x="90" y="684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66"/>
                  </a:lnTo>
                  <a:lnTo>
                    <a:pt x="90" y="660"/>
                  </a:lnTo>
                  <a:lnTo>
                    <a:pt x="84" y="654"/>
                  </a:lnTo>
                  <a:lnTo>
                    <a:pt x="84" y="648"/>
                  </a:lnTo>
                  <a:lnTo>
                    <a:pt x="78" y="636"/>
                  </a:lnTo>
                  <a:lnTo>
                    <a:pt x="66" y="630"/>
                  </a:lnTo>
                  <a:lnTo>
                    <a:pt x="66" y="624"/>
                  </a:lnTo>
                  <a:lnTo>
                    <a:pt x="60" y="624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60" y="600"/>
                  </a:lnTo>
                  <a:lnTo>
                    <a:pt x="66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6" y="588"/>
                  </a:lnTo>
                  <a:lnTo>
                    <a:pt x="66" y="582"/>
                  </a:lnTo>
                  <a:lnTo>
                    <a:pt x="72" y="582"/>
                  </a:lnTo>
                  <a:lnTo>
                    <a:pt x="78" y="576"/>
                  </a:lnTo>
                  <a:lnTo>
                    <a:pt x="72" y="576"/>
                  </a:lnTo>
                  <a:lnTo>
                    <a:pt x="66" y="570"/>
                  </a:lnTo>
                  <a:lnTo>
                    <a:pt x="72" y="564"/>
                  </a:lnTo>
                  <a:lnTo>
                    <a:pt x="78" y="558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90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102" y="516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0" y="504"/>
                  </a:lnTo>
                  <a:lnTo>
                    <a:pt x="120" y="498"/>
                  </a:lnTo>
                  <a:lnTo>
                    <a:pt x="120" y="492"/>
                  </a:lnTo>
                  <a:lnTo>
                    <a:pt x="126" y="480"/>
                  </a:lnTo>
                  <a:lnTo>
                    <a:pt x="132" y="474"/>
                  </a:lnTo>
                  <a:lnTo>
                    <a:pt x="132" y="468"/>
                  </a:lnTo>
                  <a:lnTo>
                    <a:pt x="138" y="462"/>
                  </a:lnTo>
                  <a:lnTo>
                    <a:pt x="138" y="456"/>
                  </a:lnTo>
                  <a:lnTo>
                    <a:pt x="138" y="450"/>
                  </a:lnTo>
                  <a:lnTo>
                    <a:pt x="144" y="444"/>
                  </a:lnTo>
                  <a:lnTo>
                    <a:pt x="162" y="438"/>
                  </a:lnTo>
                  <a:lnTo>
                    <a:pt x="186" y="438"/>
                  </a:lnTo>
                  <a:lnTo>
                    <a:pt x="210" y="444"/>
                  </a:lnTo>
                  <a:lnTo>
                    <a:pt x="276" y="450"/>
                  </a:lnTo>
                  <a:lnTo>
                    <a:pt x="342" y="450"/>
                  </a:lnTo>
                  <a:lnTo>
                    <a:pt x="348" y="450"/>
                  </a:lnTo>
                  <a:lnTo>
                    <a:pt x="354" y="450"/>
                  </a:lnTo>
                  <a:lnTo>
                    <a:pt x="360" y="456"/>
                  </a:lnTo>
                  <a:lnTo>
                    <a:pt x="354" y="462"/>
                  </a:lnTo>
                  <a:lnTo>
                    <a:pt x="354" y="468"/>
                  </a:lnTo>
                  <a:lnTo>
                    <a:pt x="354" y="474"/>
                  </a:lnTo>
                  <a:lnTo>
                    <a:pt x="348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48" y="498"/>
                  </a:lnTo>
                  <a:lnTo>
                    <a:pt x="342" y="510"/>
                  </a:lnTo>
                  <a:lnTo>
                    <a:pt x="348" y="528"/>
                  </a:lnTo>
                  <a:lnTo>
                    <a:pt x="348" y="534"/>
                  </a:lnTo>
                  <a:lnTo>
                    <a:pt x="354" y="552"/>
                  </a:lnTo>
                  <a:lnTo>
                    <a:pt x="366" y="546"/>
                  </a:lnTo>
                  <a:lnTo>
                    <a:pt x="372" y="540"/>
                  </a:lnTo>
                  <a:lnTo>
                    <a:pt x="384" y="540"/>
                  </a:lnTo>
                  <a:lnTo>
                    <a:pt x="396" y="534"/>
                  </a:lnTo>
                  <a:lnTo>
                    <a:pt x="402" y="534"/>
                  </a:lnTo>
                  <a:lnTo>
                    <a:pt x="414" y="546"/>
                  </a:lnTo>
                  <a:lnTo>
                    <a:pt x="432" y="540"/>
                  </a:lnTo>
                  <a:lnTo>
                    <a:pt x="450" y="534"/>
                  </a:lnTo>
                  <a:lnTo>
                    <a:pt x="450" y="528"/>
                  </a:lnTo>
                  <a:lnTo>
                    <a:pt x="456" y="528"/>
                  </a:lnTo>
                  <a:lnTo>
                    <a:pt x="456" y="522"/>
                  </a:lnTo>
                  <a:lnTo>
                    <a:pt x="456" y="516"/>
                  </a:lnTo>
                  <a:lnTo>
                    <a:pt x="462" y="516"/>
                  </a:lnTo>
                  <a:lnTo>
                    <a:pt x="468" y="510"/>
                  </a:lnTo>
                  <a:lnTo>
                    <a:pt x="468" y="504"/>
                  </a:lnTo>
                  <a:lnTo>
                    <a:pt x="474" y="504"/>
                  </a:lnTo>
                  <a:lnTo>
                    <a:pt x="480" y="504"/>
                  </a:lnTo>
                  <a:lnTo>
                    <a:pt x="486" y="498"/>
                  </a:lnTo>
                  <a:lnTo>
                    <a:pt x="492" y="498"/>
                  </a:lnTo>
                  <a:lnTo>
                    <a:pt x="486" y="480"/>
                  </a:lnTo>
                  <a:lnTo>
                    <a:pt x="492" y="462"/>
                  </a:lnTo>
                  <a:lnTo>
                    <a:pt x="498" y="444"/>
                  </a:lnTo>
                  <a:lnTo>
                    <a:pt x="498" y="426"/>
                  </a:lnTo>
                  <a:lnTo>
                    <a:pt x="498" y="420"/>
                  </a:lnTo>
                  <a:lnTo>
                    <a:pt x="504" y="426"/>
                  </a:lnTo>
                  <a:lnTo>
                    <a:pt x="504" y="420"/>
                  </a:lnTo>
                  <a:lnTo>
                    <a:pt x="510" y="420"/>
                  </a:lnTo>
                  <a:lnTo>
                    <a:pt x="510" y="414"/>
                  </a:lnTo>
                  <a:lnTo>
                    <a:pt x="510" y="408"/>
                  </a:lnTo>
                  <a:lnTo>
                    <a:pt x="504" y="402"/>
                  </a:lnTo>
                  <a:lnTo>
                    <a:pt x="504" y="396"/>
                  </a:lnTo>
                  <a:lnTo>
                    <a:pt x="504" y="384"/>
                  </a:lnTo>
                  <a:lnTo>
                    <a:pt x="504" y="378"/>
                  </a:lnTo>
                  <a:lnTo>
                    <a:pt x="504" y="360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510" y="348"/>
                  </a:lnTo>
                  <a:lnTo>
                    <a:pt x="510" y="336"/>
                  </a:lnTo>
                  <a:lnTo>
                    <a:pt x="516" y="330"/>
                  </a:lnTo>
                  <a:lnTo>
                    <a:pt x="522" y="324"/>
                  </a:lnTo>
                  <a:lnTo>
                    <a:pt x="528" y="318"/>
                  </a:lnTo>
                  <a:lnTo>
                    <a:pt x="534" y="312"/>
                  </a:lnTo>
                  <a:lnTo>
                    <a:pt x="534" y="300"/>
                  </a:lnTo>
                  <a:lnTo>
                    <a:pt x="540" y="294"/>
                  </a:lnTo>
                  <a:lnTo>
                    <a:pt x="546" y="288"/>
                  </a:lnTo>
                  <a:lnTo>
                    <a:pt x="552" y="276"/>
                  </a:lnTo>
                  <a:lnTo>
                    <a:pt x="558" y="264"/>
                  </a:lnTo>
                  <a:lnTo>
                    <a:pt x="558" y="258"/>
                  </a:lnTo>
                  <a:lnTo>
                    <a:pt x="558" y="252"/>
                  </a:lnTo>
                  <a:lnTo>
                    <a:pt x="558" y="246"/>
                  </a:lnTo>
                  <a:lnTo>
                    <a:pt x="564" y="246"/>
                  </a:lnTo>
                  <a:lnTo>
                    <a:pt x="564" y="240"/>
                  </a:lnTo>
                  <a:lnTo>
                    <a:pt x="570" y="234"/>
                  </a:lnTo>
                  <a:lnTo>
                    <a:pt x="564" y="216"/>
                  </a:lnTo>
                  <a:lnTo>
                    <a:pt x="564" y="210"/>
                  </a:lnTo>
                  <a:lnTo>
                    <a:pt x="570" y="210"/>
                  </a:lnTo>
                  <a:lnTo>
                    <a:pt x="570" y="204"/>
                  </a:lnTo>
                  <a:lnTo>
                    <a:pt x="570" y="198"/>
                  </a:lnTo>
                  <a:lnTo>
                    <a:pt x="582" y="180"/>
                  </a:lnTo>
                  <a:lnTo>
                    <a:pt x="582" y="174"/>
                  </a:lnTo>
                  <a:lnTo>
                    <a:pt x="582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606" y="150"/>
                  </a:lnTo>
                  <a:lnTo>
                    <a:pt x="612" y="150"/>
                  </a:lnTo>
                  <a:lnTo>
                    <a:pt x="618" y="150"/>
                  </a:lnTo>
                  <a:lnTo>
                    <a:pt x="624" y="138"/>
                  </a:lnTo>
                  <a:lnTo>
                    <a:pt x="618" y="132"/>
                  </a:lnTo>
                  <a:lnTo>
                    <a:pt x="618" y="126"/>
                  </a:lnTo>
                  <a:lnTo>
                    <a:pt x="618" y="120"/>
                  </a:lnTo>
                  <a:lnTo>
                    <a:pt x="618" y="114"/>
                  </a:lnTo>
                  <a:lnTo>
                    <a:pt x="612" y="108"/>
                  </a:lnTo>
                  <a:lnTo>
                    <a:pt x="612" y="102"/>
                  </a:lnTo>
                  <a:lnTo>
                    <a:pt x="618" y="90"/>
                  </a:lnTo>
                  <a:lnTo>
                    <a:pt x="624" y="84"/>
                  </a:lnTo>
                  <a:lnTo>
                    <a:pt x="618" y="84"/>
                  </a:lnTo>
                  <a:lnTo>
                    <a:pt x="618" y="78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0" y="72"/>
                  </a:lnTo>
                  <a:lnTo>
                    <a:pt x="600" y="66"/>
                  </a:lnTo>
                  <a:lnTo>
                    <a:pt x="600" y="60"/>
                  </a:lnTo>
                  <a:lnTo>
                    <a:pt x="600" y="48"/>
                  </a:lnTo>
                  <a:lnTo>
                    <a:pt x="612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36"/>
                  </a:lnTo>
                  <a:lnTo>
                    <a:pt x="630" y="30"/>
                  </a:lnTo>
                  <a:lnTo>
                    <a:pt x="636" y="24"/>
                  </a:lnTo>
                  <a:lnTo>
                    <a:pt x="642" y="24"/>
                  </a:lnTo>
                  <a:lnTo>
                    <a:pt x="648" y="24"/>
                  </a:lnTo>
                  <a:lnTo>
                    <a:pt x="648" y="18"/>
                  </a:lnTo>
                  <a:lnTo>
                    <a:pt x="654" y="12"/>
                  </a:lnTo>
                  <a:lnTo>
                    <a:pt x="660" y="0"/>
                  </a:lnTo>
                  <a:lnTo>
                    <a:pt x="678" y="0"/>
                  </a:lnTo>
                  <a:lnTo>
                    <a:pt x="696" y="0"/>
                  </a:lnTo>
                  <a:lnTo>
                    <a:pt x="702" y="0"/>
                  </a:lnTo>
                  <a:lnTo>
                    <a:pt x="714" y="0"/>
                  </a:lnTo>
                  <a:lnTo>
                    <a:pt x="720" y="6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44" y="24"/>
                  </a:lnTo>
                  <a:lnTo>
                    <a:pt x="744" y="30"/>
                  </a:lnTo>
                  <a:lnTo>
                    <a:pt x="732" y="42"/>
                  </a:lnTo>
                  <a:lnTo>
                    <a:pt x="726" y="42"/>
                  </a:lnTo>
                  <a:lnTo>
                    <a:pt x="720" y="42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54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90"/>
                  </a:lnTo>
                  <a:lnTo>
                    <a:pt x="726" y="84"/>
                  </a:lnTo>
                  <a:lnTo>
                    <a:pt x="738" y="84"/>
                  </a:lnTo>
                  <a:lnTo>
                    <a:pt x="750" y="96"/>
                  </a:lnTo>
                  <a:lnTo>
                    <a:pt x="768" y="96"/>
                  </a:lnTo>
                  <a:lnTo>
                    <a:pt x="768" y="90"/>
                  </a:lnTo>
                  <a:lnTo>
                    <a:pt x="774" y="84"/>
                  </a:lnTo>
                  <a:lnTo>
                    <a:pt x="780" y="78"/>
                  </a:lnTo>
                  <a:lnTo>
                    <a:pt x="786" y="78"/>
                  </a:lnTo>
                  <a:lnTo>
                    <a:pt x="792" y="72"/>
                  </a:lnTo>
                  <a:lnTo>
                    <a:pt x="804" y="72"/>
                  </a:lnTo>
                  <a:lnTo>
                    <a:pt x="804" y="66"/>
                  </a:lnTo>
                  <a:lnTo>
                    <a:pt x="810" y="66"/>
                  </a:lnTo>
                  <a:lnTo>
                    <a:pt x="810" y="72"/>
                  </a:lnTo>
                  <a:lnTo>
                    <a:pt x="816" y="66"/>
                  </a:lnTo>
                  <a:lnTo>
                    <a:pt x="828" y="66"/>
                  </a:lnTo>
                  <a:lnTo>
                    <a:pt x="834" y="72"/>
                  </a:lnTo>
                  <a:lnTo>
                    <a:pt x="840" y="72"/>
                  </a:lnTo>
                  <a:lnTo>
                    <a:pt x="840" y="78"/>
                  </a:lnTo>
                  <a:lnTo>
                    <a:pt x="840" y="84"/>
                  </a:lnTo>
                  <a:lnTo>
                    <a:pt x="852" y="84"/>
                  </a:lnTo>
                  <a:lnTo>
                    <a:pt x="858" y="96"/>
                  </a:lnTo>
                  <a:lnTo>
                    <a:pt x="864" y="108"/>
                  </a:lnTo>
                  <a:lnTo>
                    <a:pt x="876" y="114"/>
                  </a:lnTo>
                  <a:lnTo>
                    <a:pt x="894" y="114"/>
                  </a:lnTo>
                  <a:lnTo>
                    <a:pt x="906" y="114"/>
                  </a:lnTo>
                  <a:lnTo>
                    <a:pt x="906" y="126"/>
                  </a:lnTo>
                  <a:lnTo>
                    <a:pt x="912" y="144"/>
                  </a:lnTo>
                  <a:lnTo>
                    <a:pt x="930" y="138"/>
                  </a:lnTo>
                  <a:lnTo>
                    <a:pt x="936" y="138"/>
                  </a:lnTo>
                  <a:lnTo>
                    <a:pt x="942" y="144"/>
                  </a:lnTo>
                  <a:lnTo>
                    <a:pt x="948" y="150"/>
                  </a:lnTo>
                  <a:lnTo>
                    <a:pt x="954" y="156"/>
                  </a:lnTo>
                  <a:lnTo>
                    <a:pt x="954" y="168"/>
                  </a:lnTo>
                  <a:lnTo>
                    <a:pt x="954" y="174"/>
                  </a:lnTo>
                  <a:lnTo>
                    <a:pt x="960" y="180"/>
                  </a:lnTo>
                  <a:lnTo>
                    <a:pt x="966" y="186"/>
                  </a:lnTo>
                  <a:lnTo>
                    <a:pt x="960" y="186"/>
                  </a:lnTo>
                  <a:lnTo>
                    <a:pt x="966" y="192"/>
                  </a:lnTo>
                  <a:lnTo>
                    <a:pt x="966" y="198"/>
                  </a:lnTo>
                  <a:lnTo>
                    <a:pt x="978" y="204"/>
                  </a:lnTo>
                  <a:lnTo>
                    <a:pt x="1050" y="186"/>
                  </a:lnTo>
                  <a:lnTo>
                    <a:pt x="1056" y="198"/>
                  </a:lnTo>
                  <a:lnTo>
                    <a:pt x="1068" y="210"/>
                  </a:lnTo>
                  <a:lnTo>
                    <a:pt x="1074" y="216"/>
                  </a:lnTo>
                  <a:lnTo>
                    <a:pt x="1080" y="252"/>
                  </a:lnTo>
                  <a:lnTo>
                    <a:pt x="1086" y="270"/>
                  </a:lnTo>
                  <a:lnTo>
                    <a:pt x="1092" y="282"/>
                  </a:lnTo>
                  <a:lnTo>
                    <a:pt x="1086" y="300"/>
                  </a:lnTo>
                  <a:lnTo>
                    <a:pt x="1074" y="330"/>
                  </a:lnTo>
                  <a:lnTo>
                    <a:pt x="1068" y="336"/>
                  </a:lnTo>
                  <a:lnTo>
                    <a:pt x="1062" y="348"/>
                  </a:lnTo>
                  <a:lnTo>
                    <a:pt x="1062" y="360"/>
                  </a:lnTo>
                  <a:lnTo>
                    <a:pt x="1068" y="378"/>
                  </a:lnTo>
                  <a:lnTo>
                    <a:pt x="1074" y="390"/>
                  </a:lnTo>
                  <a:lnTo>
                    <a:pt x="1068" y="396"/>
                  </a:lnTo>
                  <a:lnTo>
                    <a:pt x="1068" y="408"/>
                  </a:lnTo>
                  <a:lnTo>
                    <a:pt x="1062" y="414"/>
                  </a:lnTo>
                  <a:lnTo>
                    <a:pt x="1050" y="432"/>
                  </a:lnTo>
                  <a:lnTo>
                    <a:pt x="1044" y="450"/>
                  </a:lnTo>
                  <a:lnTo>
                    <a:pt x="1038" y="456"/>
                  </a:lnTo>
                  <a:lnTo>
                    <a:pt x="1026" y="468"/>
                  </a:lnTo>
                  <a:lnTo>
                    <a:pt x="1026" y="474"/>
                  </a:lnTo>
                  <a:lnTo>
                    <a:pt x="1026" y="480"/>
                  </a:lnTo>
                  <a:lnTo>
                    <a:pt x="1032" y="492"/>
                  </a:lnTo>
                  <a:lnTo>
                    <a:pt x="1044" y="504"/>
                  </a:lnTo>
                  <a:lnTo>
                    <a:pt x="1044" y="516"/>
                  </a:lnTo>
                  <a:lnTo>
                    <a:pt x="1038" y="528"/>
                  </a:lnTo>
                  <a:lnTo>
                    <a:pt x="1032" y="546"/>
                  </a:lnTo>
                  <a:lnTo>
                    <a:pt x="1032" y="570"/>
                  </a:lnTo>
                  <a:lnTo>
                    <a:pt x="1050" y="594"/>
                  </a:lnTo>
                  <a:lnTo>
                    <a:pt x="1056" y="624"/>
                  </a:lnTo>
                  <a:lnTo>
                    <a:pt x="1056" y="65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9" name="Freeform 24">
              <a:extLst>
                <a:ext uri="{FF2B5EF4-FFF2-40B4-BE49-F238E27FC236}">
                  <a16:creationId xmlns:a16="http://schemas.microsoft.com/office/drawing/2014/main" id="{CAE689DA-332A-4F73-BDE6-8865C9170AA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84829" y="3213406"/>
              <a:ext cx="851989" cy="744754"/>
            </a:xfrm>
            <a:custGeom>
              <a:avLst/>
              <a:gdLst>
                <a:gd name="T0" fmla="*/ 116 w 1602"/>
                <a:gd name="T1" fmla="*/ 91 h 1404"/>
                <a:gd name="T2" fmla="*/ 111 w 1602"/>
                <a:gd name="T3" fmla="*/ 95 h 1404"/>
                <a:gd name="T4" fmla="*/ 102 w 1602"/>
                <a:gd name="T5" fmla="*/ 101 h 1404"/>
                <a:gd name="T6" fmla="*/ 99 w 1602"/>
                <a:gd name="T7" fmla="*/ 103 h 1404"/>
                <a:gd name="T8" fmla="*/ 96 w 1602"/>
                <a:gd name="T9" fmla="*/ 106 h 1404"/>
                <a:gd name="T10" fmla="*/ 93 w 1602"/>
                <a:gd name="T11" fmla="*/ 108 h 1404"/>
                <a:gd name="T12" fmla="*/ 88 w 1602"/>
                <a:gd name="T13" fmla="*/ 106 h 1404"/>
                <a:gd name="T14" fmla="*/ 86 w 1602"/>
                <a:gd name="T15" fmla="*/ 108 h 1404"/>
                <a:gd name="T16" fmla="*/ 81 w 1602"/>
                <a:gd name="T17" fmla="*/ 119 h 1404"/>
                <a:gd name="T18" fmla="*/ 71 w 1602"/>
                <a:gd name="T19" fmla="*/ 109 h 1404"/>
                <a:gd name="T20" fmla="*/ 72 w 1602"/>
                <a:gd name="T21" fmla="*/ 101 h 1404"/>
                <a:gd name="T22" fmla="*/ 74 w 1602"/>
                <a:gd name="T23" fmla="*/ 93 h 1404"/>
                <a:gd name="T24" fmla="*/ 73 w 1602"/>
                <a:gd name="T25" fmla="*/ 82 h 1404"/>
                <a:gd name="T26" fmla="*/ 64 w 1602"/>
                <a:gd name="T27" fmla="*/ 79 h 1404"/>
                <a:gd name="T28" fmla="*/ 59 w 1602"/>
                <a:gd name="T29" fmla="*/ 75 h 1404"/>
                <a:gd name="T30" fmla="*/ 54 w 1602"/>
                <a:gd name="T31" fmla="*/ 71 h 1404"/>
                <a:gd name="T32" fmla="*/ 51 w 1602"/>
                <a:gd name="T33" fmla="*/ 70 h 1404"/>
                <a:gd name="T34" fmla="*/ 45 w 1602"/>
                <a:gd name="T35" fmla="*/ 71 h 1404"/>
                <a:gd name="T36" fmla="*/ 43 w 1602"/>
                <a:gd name="T37" fmla="*/ 68 h 1404"/>
                <a:gd name="T38" fmla="*/ 43 w 1602"/>
                <a:gd name="T39" fmla="*/ 64 h 1404"/>
                <a:gd name="T40" fmla="*/ 36 w 1602"/>
                <a:gd name="T41" fmla="*/ 66 h 1404"/>
                <a:gd name="T42" fmla="*/ 31 w 1602"/>
                <a:gd name="T43" fmla="*/ 55 h 1404"/>
                <a:gd name="T44" fmla="*/ 25 w 1602"/>
                <a:gd name="T45" fmla="*/ 53 h 1404"/>
                <a:gd name="T46" fmla="*/ 19 w 1602"/>
                <a:gd name="T47" fmla="*/ 51 h 1404"/>
                <a:gd name="T48" fmla="*/ 17 w 1602"/>
                <a:gd name="T49" fmla="*/ 43 h 1404"/>
                <a:gd name="T50" fmla="*/ 17 w 1602"/>
                <a:gd name="T51" fmla="*/ 39 h 1404"/>
                <a:gd name="T52" fmla="*/ 12 w 1602"/>
                <a:gd name="T53" fmla="*/ 39 h 1404"/>
                <a:gd name="T54" fmla="*/ 10 w 1602"/>
                <a:gd name="T55" fmla="*/ 35 h 1404"/>
                <a:gd name="T56" fmla="*/ 5 w 1602"/>
                <a:gd name="T57" fmla="*/ 30 h 1404"/>
                <a:gd name="T58" fmla="*/ 3 w 1602"/>
                <a:gd name="T59" fmla="*/ 27 h 1404"/>
                <a:gd name="T60" fmla="*/ 2 w 1602"/>
                <a:gd name="T61" fmla="*/ 25 h 1404"/>
                <a:gd name="T62" fmla="*/ 0 w 1602"/>
                <a:gd name="T63" fmla="*/ 22 h 1404"/>
                <a:gd name="T64" fmla="*/ 8 w 1602"/>
                <a:gd name="T65" fmla="*/ 14 h 1404"/>
                <a:gd name="T66" fmla="*/ 16 w 1602"/>
                <a:gd name="T67" fmla="*/ 16 h 1404"/>
                <a:gd name="T68" fmla="*/ 31 w 1602"/>
                <a:gd name="T69" fmla="*/ 18 h 1404"/>
                <a:gd name="T70" fmla="*/ 43 w 1602"/>
                <a:gd name="T71" fmla="*/ 17 h 1404"/>
                <a:gd name="T72" fmla="*/ 47 w 1602"/>
                <a:gd name="T73" fmla="*/ 6 h 1404"/>
                <a:gd name="T74" fmla="*/ 52 w 1602"/>
                <a:gd name="T75" fmla="*/ 0 h 1404"/>
                <a:gd name="T76" fmla="*/ 55 w 1602"/>
                <a:gd name="T77" fmla="*/ 3 h 1404"/>
                <a:gd name="T78" fmla="*/ 59 w 1602"/>
                <a:gd name="T79" fmla="*/ 9 h 1404"/>
                <a:gd name="T80" fmla="*/ 62 w 1602"/>
                <a:gd name="T81" fmla="*/ 16 h 1404"/>
                <a:gd name="T82" fmla="*/ 66 w 1602"/>
                <a:gd name="T83" fmla="*/ 20 h 1404"/>
                <a:gd name="T84" fmla="*/ 70 w 1602"/>
                <a:gd name="T85" fmla="*/ 25 h 1404"/>
                <a:gd name="T86" fmla="*/ 74 w 1602"/>
                <a:gd name="T87" fmla="*/ 30 h 1404"/>
                <a:gd name="T88" fmla="*/ 76 w 1602"/>
                <a:gd name="T89" fmla="*/ 27 h 1404"/>
                <a:gd name="T90" fmla="*/ 78 w 1602"/>
                <a:gd name="T91" fmla="*/ 27 h 1404"/>
                <a:gd name="T92" fmla="*/ 78 w 1602"/>
                <a:gd name="T93" fmla="*/ 23 h 1404"/>
                <a:gd name="T94" fmla="*/ 82 w 1602"/>
                <a:gd name="T95" fmla="*/ 20 h 1404"/>
                <a:gd name="T96" fmla="*/ 82 w 1602"/>
                <a:gd name="T97" fmla="*/ 18 h 1404"/>
                <a:gd name="T98" fmla="*/ 90 w 1602"/>
                <a:gd name="T99" fmla="*/ 24 h 1404"/>
                <a:gd name="T100" fmla="*/ 90 w 1602"/>
                <a:gd name="T101" fmla="*/ 45 h 1404"/>
                <a:gd name="T102" fmla="*/ 104 w 1602"/>
                <a:gd name="T103" fmla="*/ 41 h 1404"/>
                <a:gd name="T104" fmla="*/ 117 w 1602"/>
                <a:gd name="T105" fmla="*/ 39 h 1404"/>
                <a:gd name="T106" fmla="*/ 125 w 1602"/>
                <a:gd name="T107" fmla="*/ 39 h 1404"/>
                <a:gd name="T108" fmla="*/ 127 w 1602"/>
                <a:gd name="T109" fmla="*/ 43 h 1404"/>
                <a:gd name="T110" fmla="*/ 131 w 1602"/>
                <a:gd name="T111" fmla="*/ 53 h 1404"/>
                <a:gd name="T112" fmla="*/ 133 w 1602"/>
                <a:gd name="T113" fmla="*/ 60 h 1404"/>
                <a:gd name="T114" fmla="*/ 138 w 1602"/>
                <a:gd name="T115" fmla="*/ 73 h 1404"/>
                <a:gd name="T116" fmla="*/ 136 w 1602"/>
                <a:gd name="T117" fmla="*/ 80 h 1404"/>
                <a:gd name="T118" fmla="*/ 129 w 1602"/>
                <a:gd name="T119" fmla="*/ 87 h 1404"/>
                <a:gd name="T120" fmla="*/ 123 w 1602"/>
                <a:gd name="T121" fmla="*/ 95 h 14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02"/>
                <a:gd name="T184" fmla="*/ 0 h 1404"/>
                <a:gd name="T185" fmla="*/ 1602 w 1602"/>
                <a:gd name="T186" fmla="*/ 1404 h 14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02" h="1404">
                  <a:moveTo>
                    <a:pt x="1392" y="1080"/>
                  </a:moveTo>
                  <a:lnTo>
                    <a:pt x="1380" y="1074"/>
                  </a:lnTo>
                  <a:lnTo>
                    <a:pt x="1368" y="1056"/>
                  </a:lnTo>
                  <a:lnTo>
                    <a:pt x="1356" y="1044"/>
                  </a:lnTo>
                  <a:lnTo>
                    <a:pt x="1344" y="1038"/>
                  </a:lnTo>
                  <a:lnTo>
                    <a:pt x="1338" y="1038"/>
                  </a:lnTo>
                  <a:lnTo>
                    <a:pt x="1332" y="1038"/>
                  </a:lnTo>
                  <a:lnTo>
                    <a:pt x="1326" y="1044"/>
                  </a:lnTo>
                  <a:lnTo>
                    <a:pt x="1320" y="1044"/>
                  </a:lnTo>
                  <a:lnTo>
                    <a:pt x="1314" y="1044"/>
                  </a:lnTo>
                  <a:lnTo>
                    <a:pt x="1296" y="1056"/>
                  </a:lnTo>
                  <a:lnTo>
                    <a:pt x="1296" y="1080"/>
                  </a:lnTo>
                  <a:lnTo>
                    <a:pt x="1290" y="1080"/>
                  </a:lnTo>
                  <a:lnTo>
                    <a:pt x="1284" y="1086"/>
                  </a:lnTo>
                  <a:lnTo>
                    <a:pt x="1278" y="1086"/>
                  </a:lnTo>
                  <a:lnTo>
                    <a:pt x="1278" y="1092"/>
                  </a:lnTo>
                  <a:lnTo>
                    <a:pt x="1272" y="1092"/>
                  </a:lnTo>
                  <a:lnTo>
                    <a:pt x="1266" y="1086"/>
                  </a:lnTo>
                  <a:lnTo>
                    <a:pt x="1260" y="1086"/>
                  </a:lnTo>
                  <a:lnTo>
                    <a:pt x="1260" y="1098"/>
                  </a:lnTo>
                  <a:lnTo>
                    <a:pt x="1248" y="1098"/>
                  </a:lnTo>
                  <a:lnTo>
                    <a:pt x="1212" y="1116"/>
                  </a:lnTo>
                  <a:lnTo>
                    <a:pt x="1206" y="1158"/>
                  </a:lnTo>
                  <a:lnTo>
                    <a:pt x="1176" y="1164"/>
                  </a:lnTo>
                  <a:lnTo>
                    <a:pt x="1158" y="1164"/>
                  </a:lnTo>
                  <a:lnTo>
                    <a:pt x="1152" y="1164"/>
                  </a:lnTo>
                  <a:lnTo>
                    <a:pt x="1152" y="1170"/>
                  </a:lnTo>
                  <a:lnTo>
                    <a:pt x="1152" y="1176"/>
                  </a:lnTo>
                  <a:lnTo>
                    <a:pt x="1146" y="1176"/>
                  </a:lnTo>
                  <a:lnTo>
                    <a:pt x="1140" y="1176"/>
                  </a:lnTo>
                  <a:lnTo>
                    <a:pt x="1134" y="1182"/>
                  </a:lnTo>
                  <a:lnTo>
                    <a:pt x="1134" y="1188"/>
                  </a:lnTo>
                  <a:lnTo>
                    <a:pt x="1128" y="1194"/>
                  </a:lnTo>
                  <a:lnTo>
                    <a:pt x="1122" y="1194"/>
                  </a:lnTo>
                  <a:lnTo>
                    <a:pt x="1116" y="1194"/>
                  </a:lnTo>
                  <a:lnTo>
                    <a:pt x="1110" y="1200"/>
                  </a:lnTo>
                  <a:lnTo>
                    <a:pt x="1110" y="1206"/>
                  </a:lnTo>
                  <a:lnTo>
                    <a:pt x="1104" y="1212"/>
                  </a:lnTo>
                  <a:lnTo>
                    <a:pt x="1104" y="1218"/>
                  </a:lnTo>
                  <a:lnTo>
                    <a:pt x="1098" y="1224"/>
                  </a:lnTo>
                  <a:lnTo>
                    <a:pt x="1092" y="1230"/>
                  </a:lnTo>
                  <a:lnTo>
                    <a:pt x="1086" y="1230"/>
                  </a:lnTo>
                  <a:lnTo>
                    <a:pt x="1080" y="1230"/>
                  </a:lnTo>
                  <a:lnTo>
                    <a:pt x="1080" y="1242"/>
                  </a:lnTo>
                  <a:lnTo>
                    <a:pt x="1074" y="1242"/>
                  </a:lnTo>
                  <a:lnTo>
                    <a:pt x="1068" y="1242"/>
                  </a:lnTo>
                  <a:lnTo>
                    <a:pt x="1068" y="1236"/>
                  </a:lnTo>
                  <a:lnTo>
                    <a:pt x="1062" y="1242"/>
                  </a:lnTo>
                  <a:lnTo>
                    <a:pt x="1056" y="1236"/>
                  </a:lnTo>
                  <a:lnTo>
                    <a:pt x="1050" y="1242"/>
                  </a:lnTo>
                  <a:lnTo>
                    <a:pt x="1050" y="1236"/>
                  </a:lnTo>
                  <a:lnTo>
                    <a:pt x="1044" y="1194"/>
                  </a:lnTo>
                  <a:lnTo>
                    <a:pt x="1032" y="1194"/>
                  </a:lnTo>
                  <a:lnTo>
                    <a:pt x="1032" y="1200"/>
                  </a:lnTo>
                  <a:lnTo>
                    <a:pt x="1026" y="1200"/>
                  </a:lnTo>
                  <a:lnTo>
                    <a:pt x="1014" y="1218"/>
                  </a:lnTo>
                  <a:lnTo>
                    <a:pt x="1014" y="1224"/>
                  </a:lnTo>
                  <a:lnTo>
                    <a:pt x="1014" y="1236"/>
                  </a:lnTo>
                  <a:lnTo>
                    <a:pt x="1014" y="1242"/>
                  </a:lnTo>
                  <a:lnTo>
                    <a:pt x="1008" y="1242"/>
                  </a:lnTo>
                  <a:lnTo>
                    <a:pt x="1002" y="1236"/>
                  </a:lnTo>
                  <a:lnTo>
                    <a:pt x="1002" y="1230"/>
                  </a:lnTo>
                  <a:lnTo>
                    <a:pt x="996" y="1236"/>
                  </a:lnTo>
                  <a:lnTo>
                    <a:pt x="990" y="1236"/>
                  </a:lnTo>
                  <a:lnTo>
                    <a:pt x="990" y="1230"/>
                  </a:lnTo>
                  <a:lnTo>
                    <a:pt x="984" y="1236"/>
                  </a:lnTo>
                  <a:lnTo>
                    <a:pt x="978" y="1248"/>
                  </a:lnTo>
                  <a:lnTo>
                    <a:pt x="972" y="1254"/>
                  </a:lnTo>
                  <a:lnTo>
                    <a:pt x="966" y="1260"/>
                  </a:lnTo>
                  <a:lnTo>
                    <a:pt x="930" y="1284"/>
                  </a:lnTo>
                  <a:lnTo>
                    <a:pt x="942" y="1356"/>
                  </a:lnTo>
                  <a:lnTo>
                    <a:pt x="930" y="1368"/>
                  </a:lnTo>
                  <a:lnTo>
                    <a:pt x="852" y="1404"/>
                  </a:lnTo>
                  <a:lnTo>
                    <a:pt x="834" y="1392"/>
                  </a:lnTo>
                  <a:lnTo>
                    <a:pt x="834" y="1362"/>
                  </a:lnTo>
                  <a:lnTo>
                    <a:pt x="828" y="1332"/>
                  </a:lnTo>
                  <a:lnTo>
                    <a:pt x="810" y="1308"/>
                  </a:lnTo>
                  <a:lnTo>
                    <a:pt x="810" y="1284"/>
                  </a:lnTo>
                  <a:lnTo>
                    <a:pt x="816" y="1266"/>
                  </a:lnTo>
                  <a:lnTo>
                    <a:pt x="822" y="1254"/>
                  </a:lnTo>
                  <a:lnTo>
                    <a:pt x="822" y="1242"/>
                  </a:lnTo>
                  <a:lnTo>
                    <a:pt x="810" y="1230"/>
                  </a:lnTo>
                  <a:lnTo>
                    <a:pt x="804" y="1218"/>
                  </a:lnTo>
                  <a:lnTo>
                    <a:pt x="804" y="1212"/>
                  </a:lnTo>
                  <a:lnTo>
                    <a:pt x="804" y="1206"/>
                  </a:lnTo>
                  <a:lnTo>
                    <a:pt x="816" y="1194"/>
                  </a:lnTo>
                  <a:lnTo>
                    <a:pt x="822" y="1188"/>
                  </a:lnTo>
                  <a:lnTo>
                    <a:pt x="828" y="1170"/>
                  </a:lnTo>
                  <a:lnTo>
                    <a:pt x="840" y="1152"/>
                  </a:lnTo>
                  <a:lnTo>
                    <a:pt x="846" y="1146"/>
                  </a:lnTo>
                  <a:lnTo>
                    <a:pt x="846" y="1134"/>
                  </a:lnTo>
                  <a:lnTo>
                    <a:pt x="852" y="1128"/>
                  </a:lnTo>
                  <a:lnTo>
                    <a:pt x="846" y="1116"/>
                  </a:lnTo>
                  <a:lnTo>
                    <a:pt x="840" y="1098"/>
                  </a:lnTo>
                  <a:lnTo>
                    <a:pt x="840" y="1086"/>
                  </a:lnTo>
                  <a:lnTo>
                    <a:pt x="846" y="1074"/>
                  </a:lnTo>
                  <a:lnTo>
                    <a:pt x="852" y="1068"/>
                  </a:lnTo>
                  <a:lnTo>
                    <a:pt x="864" y="1038"/>
                  </a:lnTo>
                  <a:lnTo>
                    <a:pt x="870" y="1020"/>
                  </a:lnTo>
                  <a:lnTo>
                    <a:pt x="864" y="1008"/>
                  </a:lnTo>
                  <a:lnTo>
                    <a:pt x="858" y="990"/>
                  </a:lnTo>
                  <a:lnTo>
                    <a:pt x="852" y="954"/>
                  </a:lnTo>
                  <a:lnTo>
                    <a:pt x="846" y="948"/>
                  </a:lnTo>
                  <a:lnTo>
                    <a:pt x="834" y="936"/>
                  </a:lnTo>
                  <a:lnTo>
                    <a:pt x="828" y="924"/>
                  </a:lnTo>
                  <a:lnTo>
                    <a:pt x="756" y="942"/>
                  </a:lnTo>
                  <a:lnTo>
                    <a:pt x="744" y="936"/>
                  </a:lnTo>
                  <a:lnTo>
                    <a:pt x="744" y="930"/>
                  </a:lnTo>
                  <a:lnTo>
                    <a:pt x="738" y="924"/>
                  </a:lnTo>
                  <a:lnTo>
                    <a:pt x="744" y="924"/>
                  </a:lnTo>
                  <a:lnTo>
                    <a:pt x="738" y="918"/>
                  </a:lnTo>
                  <a:lnTo>
                    <a:pt x="732" y="912"/>
                  </a:lnTo>
                  <a:lnTo>
                    <a:pt x="732" y="906"/>
                  </a:lnTo>
                  <a:lnTo>
                    <a:pt x="732" y="894"/>
                  </a:lnTo>
                  <a:lnTo>
                    <a:pt x="726" y="888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6"/>
                  </a:lnTo>
                  <a:lnTo>
                    <a:pt x="690" y="882"/>
                  </a:lnTo>
                  <a:lnTo>
                    <a:pt x="684" y="864"/>
                  </a:lnTo>
                  <a:lnTo>
                    <a:pt x="684" y="852"/>
                  </a:lnTo>
                  <a:lnTo>
                    <a:pt x="672" y="852"/>
                  </a:lnTo>
                  <a:lnTo>
                    <a:pt x="654" y="852"/>
                  </a:lnTo>
                  <a:lnTo>
                    <a:pt x="642" y="846"/>
                  </a:lnTo>
                  <a:lnTo>
                    <a:pt x="636" y="834"/>
                  </a:lnTo>
                  <a:lnTo>
                    <a:pt x="630" y="822"/>
                  </a:lnTo>
                  <a:lnTo>
                    <a:pt x="618" y="822"/>
                  </a:lnTo>
                  <a:lnTo>
                    <a:pt x="618" y="816"/>
                  </a:lnTo>
                  <a:lnTo>
                    <a:pt x="618" y="810"/>
                  </a:lnTo>
                  <a:lnTo>
                    <a:pt x="612" y="810"/>
                  </a:lnTo>
                  <a:lnTo>
                    <a:pt x="606" y="804"/>
                  </a:lnTo>
                  <a:lnTo>
                    <a:pt x="594" y="804"/>
                  </a:lnTo>
                  <a:lnTo>
                    <a:pt x="588" y="810"/>
                  </a:lnTo>
                  <a:lnTo>
                    <a:pt x="588" y="804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70" y="810"/>
                  </a:lnTo>
                  <a:lnTo>
                    <a:pt x="564" y="816"/>
                  </a:lnTo>
                  <a:lnTo>
                    <a:pt x="558" y="816"/>
                  </a:lnTo>
                  <a:lnTo>
                    <a:pt x="552" y="822"/>
                  </a:lnTo>
                  <a:lnTo>
                    <a:pt x="546" y="828"/>
                  </a:lnTo>
                  <a:lnTo>
                    <a:pt x="546" y="834"/>
                  </a:lnTo>
                  <a:lnTo>
                    <a:pt x="528" y="834"/>
                  </a:lnTo>
                  <a:lnTo>
                    <a:pt x="516" y="822"/>
                  </a:lnTo>
                  <a:lnTo>
                    <a:pt x="504" y="822"/>
                  </a:lnTo>
                  <a:lnTo>
                    <a:pt x="492" y="82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6" y="792"/>
                  </a:lnTo>
                  <a:lnTo>
                    <a:pt x="492" y="786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504" y="780"/>
                  </a:lnTo>
                  <a:lnTo>
                    <a:pt x="510" y="780"/>
                  </a:lnTo>
                  <a:lnTo>
                    <a:pt x="522" y="768"/>
                  </a:lnTo>
                  <a:lnTo>
                    <a:pt x="522" y="762"/>
                  </a:lnTo>
                  <a:lnTo>
                    <a:pt x="504" y="756"/>
                  </a:lnTo>
                  <a:lnTo>
                    <a:pt x="498" y="756"/>
                  </a:lnTo>
                  <a:lnTo>
                    <a:pt x="498" y="744"/>
                  </a:lnTo>
                  <a:lnTo>
                    <a:pt x="492" y="738"/>
                  </a:lnTo>
                  <a:lnTo>
                    <a:pt x="480" y="738"/>
                  </a:lnTo>
                  <a:lnTo>
                    <a:pt x="474" y="738"/>
                  </a:lnTo>
                  <a:lnTo>
                    <a:pt x="456" y="738"/>
                  </a:lnTo>
                  <a:lnTo>
                    <a:pt x="438" y="738"/>
                  </a:lnTo>
                  <a:lnTo>
                    <a:pt x="432" y="750"/>
                  </a:lnTo>
                  <a:lnTo>
                    <a:pt x="426" y="756"/>
                  </a:lnTo>
                  <a:lnTo>
                    <a:pt x="426" y="762"/>
                  </a:lnTo>
                  <a:lnTo>
                    <a:pt x="420" y="762"/>
                  </a:lnTo>
                  <a:lnTo>
                    <a:pt x="408" y="744"/>
                  </a:lnTo>
                  <a:lnTo>
                    <a:pt x="408" y="732"/>
                  </a:lnTo>
                  <a:lnTo>
                    <a:pt x="390" y="714"/>
                  </a:lnTo>
                  <a:lnTo>
                    <a:pt x="384" y="702"/>
                  </a:lnTo>
                  <a:lnTo>
                    <a:pt x="384" y="690"/>
                  </a:lnTo>
                  <a:lnTo>
                    <a:pt x="372" y="690"/>
                  </a:lnTo>
                  <a:lnTo>
                    <a:pt x="366" y="660"/>
                  </a:lnTo>
                  <a:lnTo>
                    <a:pt x="354" y="630"/>
                  </a:lnTo>
                  <a:lnTo>
                    <a:pt x="348" y="630"/>
                  </a:lnTo>
                  <a:lnTo>
                    <a:pt x="336" y="630"/>
                  </a:lnTo>
                  <a:lnTo>
                    <a:pt x="330" y="630"/>
                  </a:lnTo>
                  <a:lnTo>
                    <a:pt x="318" y="630"/>
                  </a:lnTo>
                  <a:lnTo>
                    <a:pt x="312" y="624"/>
                  </a:lnTo>
                  <a:lnTo>
                    <a:pt x="306" y="624"/>
                  </a:lnTo>
                  <a:lnTo>
                    <a:pt x="294" y="618"/>
                  </a:lnTo>
                  <a:lnTo>
                    <a:pt x="288" y="612"/>
                  </a:lnTo>
                  <a:lnTo>
                    <a:pt x="276" y="600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58" y="588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8"/>
                  </a:lnTo>
                  <a:lnTo>
                    <a:pt x="216" y="582"/>
                  </a:lnTo>
                  <a:lnTo>
                    <a:pt x="210" y="588"/>
                  </a:lnTo>
                  <a:lnTo>
                    <a:pt x="198" y="582"/>
                  </a:lnTo>
                  <a:lnTo>
                    <a:pt x="180" y="582"/>
                  </a:lnTo>
                  <a:lnTo>
                    <a:pt x="174" y="552"/>
                  </a:lnTo>
                  <a:lnTo>
                    <a:pt x="168" y="504"/>
                  </a:lnTo>
                  <a:lnTo>
                    <a:pt x="186" y="504"/>
                  </a:lnTo>
                  <a:lnTo>
                    <a:pt x="192" y="504"/>
                  </a:lnTo>
                  <a:lnTo>
                    <a:pt x="192" y="498"/>
                  </a:lnTo>
                  <a:lnTo>
                    <a:pt x="192" y="492"/>
                  </a:lnTo>
                  <a:lnTo>
                    <a:pt x="192" y="486"/>
                  </a:lnTo>
                  <a:lnTo>
                    <a:pt x="198" y="486"/>
                  </a:lnTo>
                  <a:lnTo>
                    <a:pt x="198" y="480"/>
                  </a:lnTo>
                  <a:lnTo>
                    <a:pt x="204" y="474"/>
                  </a:lnTo>
                  <a:lnTo>
                    <a:pt x="210" y="468"/>
                  </a:lnTo>
                  <a:lnTo>
                    <a:pt x="198" y="462"/>
                  </a:lnTo>
                  <a:lnTo>
                    <a:pt x="192" y="444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32"/>
                  </a:lnTo>
                  <a:lnTo>
                    <a:pt x="168" y="438"/>
                  </a:lnTo>
                  <a:lnTo>
                    <a:pt x="150" y="450"/>
                  </a:lnTo>
                  <a:lnTo>
                    <a:pt x="144" y="456"/>
                  </a:lnTo>
                  <a:lnTo>
                    <a:pt x="132" y="456"/>
                  </a:lnTo>
                  <a:lnTo>
                    <a:pt x="126" y="468"/>
                  </a:lnTo>
                  <a:lnTo>
                    <a:pt x="114" y="468"/>
                  </a:lnTo>
                  <a:lnTo>
                    <a:pt x="108" y="468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14"/>
                  </a:lnTo>
                  <a:lnTo>
                    <a:pt x="108" y="396"/>
                  </a:lnTo>
                  <a:lnTo>
                    <a:pt x="120" y="396"/>
                  </a:lnTo>
                  <a:lnTo>
                    <a:pt x="126" y="384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84" y="354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0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60" y="318"/>
                  </a:lnTo>
                  <a:lnTo>
                    <a:pt x="42" y="324"/>
                  </a:lnTo>
                  <a:lnTo>
                    <a:pt x="36" y="318"/>
                  </a:lnTo>
                  <a:lnTo>
                    <a:pt x="36" y="312"/>
                  </a:lnTo>
                  <a:lnTo>
                    <a:pt x="36" y="306"/>
                  </a:lnTo>
                  <a:lnTo>
                    <a:pt x="36" y="300"/>
                  </a:lnTo>
                  <a:lnTo>
                    <a:pt x="30" y="300"/>
                  </a:lnTo>
                  <a:lnTo>
                    <a:pt x="30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24" y="276"/>
                  </a:lnTo>
                  <a:lnTo>
                    <a:pt x="18" y="276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18" y="234"/>
                  </a:lnTo>
                  <a:lnTo>
                    <a:pt x="30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42" y="192"/>
                  </a:lnTo>
                  <a:lnTo>
                    <a:pt x="66" y="186"/>
                  </a:lnTo>
                  <a:lnTo>
                    <a:pt x="90" y="156"/>
                  </a:lnTo>
                  <a:lnTo>
                    <a:pt x="102" y="144"/>
                  </a:lnTo>
                  <a:lnTo>
                    <a:pt x="138" y="150"/>
                  </a:lnTo>
                  <a:lnTo>
                    <a:pt x="162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0" y="180"/>
                  </a:lnTo>
                  <a:lnTo>
                    <a:pt x="174" y="180"/>
                  </a:lnTo>
                  <a:lnTo>
                    <a:pt x="180" y="186"/>
                  </a:lnTo>
                  <a:lnTo>
                    <a:pt x="186" y="186"/>
                  </a:lnTo>
                  <a:lnTo>
                    <a:pt x="198" y="192"/>
                  </a:lnTo>
                  <a:lnTo>
                    <a:pt x="216" y="198"/>
                  </a:lnTo>
                  <a:lnTo>
                    <a:pt x="252" y="204"/>
                  </a:lnTo>
                  <a:lnTo>
                    <a:pt x="258" y="210"/>
                  </a:lnTo>
                  <a:lnTo>
                    <a:pt x="306" y="216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84" y="210"/>
                  </a:lnTo>
                  <a:lnTo>
                    <a:pt x="408" y="222"/>
                  </a:lnTo>
                  <a:lnTo>
                    <a:pt x="438" y="228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86" y="222"/>
                  </a:lnTo>
                  <a:lnTo>
                    <a:pt x="492" y="210"/>
                  </a:lnTo>
                  <a:lnTo>
                    <a:pt x="492" y="198"/>
                  </a:lnTo>
                  <a:lnTo>
                    <a:pt x="486" y="180"/>
                  </a:lnTo>
                  <a:lnTo>
                    <a:pt x="492" y="162"/>
                  </a:lnTo>
                  <a:lnTo>
                    <a:pt x="510" y="96"/>
                  </a:lnTo>
                  <a:lnTo>
                    <a:pt x="516" y="84"/>
                  </a:lnTo>
                  <a:lnTo>
                    <a:pt x="522" y="84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34" y="72"/>
                  </a:lnTo>
                  <a:lnTo>
                    <a:pt x="534" y="60"/>
                  </a:lnTo>
                  <a:lnTo>
                    <a:pt x="540" y="36"/>
                  </a:lnTo>
                  <a:lnTo>
                    <a:pt x="546" y="6"/>
                  </a:lnTo>
                  <a:lnTo>
                    <a:pt x="558" y="6"/>
                  </a:lnTo>
                  <a:lnTo>
                    <a:pt x="564" y="0"/>
                  </a:lnTo>
                  <a:lnTo>
                    <a:pt x="582" y="0"/>
                  </a:lnTo>
                  <a:lnTo>
                    <a:pt x="588" y="0"/>
                  </a:lnTo>
                  <a:lnTo>
                    <a:pt x="594" y="6"/>
                  </a:lnTo>
                  <a:lnTo>
                    <a:pt x="600" y="12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24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36" y="36"/>
                  </a:lnTo>
                  <a:lnTo>
                    <a:pt x="642" y="36"/>
                  </a:lnTo>
                  <a:lnTo>
                    <a:pt x="642" y="42"/>
                  </a:lnTo>
                  <a:lnTo>
                    <a:pt x="648" y="54"/>
                  </a:lnTo>
                  <a:lnTo>
                    <a:pt x="660" y="72"/>
                  </a:lnTo>
                  <a:lnTo>
                    <a:pt x="666" y="78"/>
                  </a:lnTo>
                  <a:lnTo>
                    <a:pt x="672" y="90"/>
                  </a:lnTo>
                  <a:lnTo>
                    <a:pt x="678" y="102"/>
                  </a:lnTo>
                  <a:lnTo>
                    <a:pt x="678" y="114"/>
                  </a:lnTo>
                  <a:lnTo>
                    <a:pt x="684" y="132"/>
                  </a:lnTo>
                  <a:lnTo>
                    <a:pt x="684" y="144"/>
                  </a:lnTo>
                  <a:lnTo>
                    <a:pt x="690" y="162"/>
                  </a:lnTo>
                  <a:lnTo>
                    <a:pt x="696" y="168"/>
                  </a:lnTo>
                  <a:lnTo>
                    <a:pt x="696" y="180"/>
                  </a:lnTo>
                  <a:lnTo>
                    <a:pt x="702" y="186"/>
                  </a:lnTo>
                  <a:lnTo>
                    <a:pt x="708" y="186"/>
                  </a:lnTo>
                  <a:lnTo>
                    <a:pt x="714" y="198"/>
                  </a:lnTo>
                  <a:lnTo>
                    <a:pt x="720" y="198"/>
                  </a:lnTo>
                  <a:lnTo>
                    <a:pt x="732" y="204"/>
                  </a:lnTo>
                  <a:lnTo>
                    <a:pt x="738" y="210"/>
                  </a:lnTo>
                  <a:lnTo>
                    <a:pt x="738" y="216"/>
                  </a:lnTo>
                  <a:lnTo>
                    <a:pt x="744" y="222"/>
                  </a:lnTo>
                  <a:lnTo>
                    <a:pt x="750" y="228"/>
                  </a:lnTo>
                  <a:lnTo>
                    <a:pt x="756" y="228"/>
                  </a:lnTo>
                  <a:lnTo>
                    <a:pt x="768" y="240"/>
                  </a:lnTo>
                  <a:lnTo>
                    <a:pt x="774" y="252"/>
                  </a:lnTo>
                  <a:lnTo>
                    <a:pt x="780" y="258"/>
                  </a:lnTo>
                  <a:lnTo>
                    <a:pt x="786" y="258"/>
                  </a:lnTo>
                  <a:lnTo>
                    <a:pt x="798" y="264"/>
                  </a:lnTo>
                  <a:lnTo>
                    <a:pt x="798" y="270"/>
                  </a:lnTo>
                  <a:lnTo>
                    <a:pt x="798" y="276"/>
                  </a:lnTo>
                  <a:lnTo>
                    <a:pt x="810" y="288"/>
                  </a:lnTo>
                  <a:lnTo>
                    <a:pt x="816" y="288"/>
                  </a:lnTo>
                  <a:lnTo>
                    <a:pt x="816" y="300"/>
                  </a:lnTo>
                  <a:lnTo>
                    <a:pt x="816" y="306"/>
                  </a:lnTo>
                  <a:lnTo>
                    <a:pt x="822" y="318"/>
                  </a:lnTo>
                  <a:lnTo>
                    <a:pt x="828" y="324"/>
                  </a:lnTo>
                  <a:lnTo>
                    <a:pt x="834" y="330"/>
                  </a:lnTo>
                  <a:lnTo>
                    <a:pt x="846" y="336"/>
                  </a:lnTo>
                  <a:lnTo>
                    <a:pt x="846" y="342"/>
                  </a:lnTo>
                  <a:lnTo>
                    <a:pt x="852" y="348"/>
                  </a:lnTo>
                  <a:lnTo>
                    <a:pt x="852" y="354"/>
                  </a:lnTo>
                  <a:lnTo>
                    <a:pt x="858" y="354"/>
                  </a:lnTo>
                  <a:lnTo>
                    <a:pt x="858" y="348"/>
                  </a:lnTo>
                  <a:lnTo>
                    <a:pt x="864" y="342"/>
                  </a:lnTo>
                  <a:lnTo>
                    <a:pt x="864" y="336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76" y="306"/>
                  </a:lnTo>
                  <a:lnTo>
                    <a:pt x="870" y="300"/>
                  </a:lnTo>
                  <a:lnTo>
                    <a:pt x="870" y="294"/>
                  </a:lnTo>
                  <a:lnTo>
                    <a:pt x="876" y="294"/>
                  </a:lnTo>
                  <a:lnTo>
                    <a:pt x="882" y="300"/>
                  </a:lnTo>
                  <a:lnTo>
                    <a:pt x="888" y="300"/>
                  </a:lnTo>
                  <a:lnTo>
                    <a:pt x="888" y="306"/>
                  </a:lnTo>
                  <a:lnTo>
                    <a:pt x="894" y="300"/>
                  </a:lnTo>
                  <a:lnTo>
                    <a:pt x="900" y="294"/>
                  </a:lnTo>
                  <a:lnTo>
                    <a:pt x="894" y="288"/>
                  </a:lnTo>
                  <a:lnTo>
                    <a:pt x="888" y="282"/>
                  </a:lnTo>
                  <a:lnTo>
                    <a:pt x="888" y="276"/>
                  </a:lnTo>
                  <a:lnTo>
                    <a:pt x="894" y="276"/>
                  </a:lnTo>
                  <a:lnTo>
                    <a:pt x="900" y="276"/>
                  </a:lnTo>
                  <a:lnTo>
                    <a:pt x="900" y="270"/>
                  </a:lnTo>
                  <a:lnTo>
                    <a:pt x="906" y="264"/>
                  </a:lnTo>
                  <a:lnTo>
                    <a:pt x="906" y="258"/>
                  </a:lnTo>
                  <a:lnTo>
                    <a:pt x="918" y="264"/>
                  </a:lnTo>
                  <a:lnTo>
                    <a:pt x="918" y="258"/>
                  </a:lnTo>
                  <a:lnTo>
                    <a:pt x="924" y="252"/>
                  </a:lnTo>
                  <a:lnTo>
                    <a:pt x="930" y="252"/>
                  </a:lnTo>
                  <a:lnTo>
                    <a:pt x="930" y="246"/>
                  </a:lnTo>
                  <a:lnTo>
                    <a:pt x="936" y="234"/>
                  </a:lnTo>
                  <a:lnTo>
                    <a:pt x="942" y="228"/>
                  </a:lnTo>
                  <a:lnTo>
                    <a:pt x="942" y="222"/>
                  </a:lnTo>
                  <a:lnTo>
                    <a:pt x="948" y="222"/>
                  </a:lnTo>
                  <a:lnTo>
                    <a:pt x="948" y="216"/>
                  </a:lnTo>
                  <a:lnTo>
                    <a:pt x="942" y="216"/>
                  </a:lnTo>
                  <a:lnTo>
                    <a:pt x="936" y="216"/>
                  </a:lnTo>
                  <a:lnTo>
                    <a:pt x="936" y="210"/>
                  </a:lnTo>
                  <a:lnTo>
                    <a:pt x="942" y="210"/>
                  </a:lnTo>
                  <a:lnTo>
                    <a:pt x="972" y="210"/>
                  </a:lnTo>
                  <a:lnTo>
                    <a:pt x="1032" y="216"/>
                  </a:lnTo>
                  <a:lnTo>
                    <a:pt x="1068" y="216"/>
                  </a:lnTo>
                  <a:lnTo>
                    <a:pt x="1056" y="234"/>
                  </a:lnTo>
                  <a:lnTo>
                    <a:pt x="1050" y="240"/>
                  </a:lnTo>
                  <a:lnTo>
                    <a:pt x="1044" y="246"/>
                  </a:lnTo>
                  <a:lnTo>
                    <a:pt x="1038" y="246"/>
                  </a:lnTo>
                  <a:lnTo>
                    <a:pt x="1026" y="282"/>
                  </a:lnTo>
                  <a:lnTo>
                    <a:pt x="1032" y="306"/>
                  </a:lnTo>
                  <a:lnTo>
                    <a:pt x="1044" y="324"/>
                  </a:lnTo>
                  <a:lnTo>
                    <a:pt x="1044" y="342"/>
                  </a:lnTo>
                  <a:lnTo>
                    <a:pt x="1062" y="366"/>
                  </a:lnTo>
                  <a:lnTo>
                    <a:pt x="1056" y="396"/>
                  </a:lnTo>
                  <a:lnTo>
                    <a:pt x="1038" y="462"/>
                  </a:lnTo>
                  <a:lnTo>
                    <a:pt x="1038" y="498"/>
                  </a:lnTo>
                  <a:lnTo>
                    <a:pt x="1038" y="522"/>
                  </a:lnTo>
                  <a:lnTo>
                    <a:pt x="1038" y="534"/>
                  </a:lnTo>
                  <a:lnTo>
                    <a:pt x="1056" y="522"/>
                  </a:lnTo>
                  <a:lnTo>
                    <a:pt x="1098" y="504"/>
                  </a:lnTo>
                  <a:lnTo>
                    <a:pt x="1104" y="498"/>
                  </a:lnTo>
                  <a:lnTo>
                    <a:pt x="1128" y="492"/>
                  </a:lnTo>
                  <a:lnTo>
                    <a:pt x="1152" y="480"/>
                  </a:lnTo>
                  <a:lnTo>
                    <a:pt x="1170" y="474"/>
                  </a:lnTo>
                  <a:lnTo>
                    <a:pt x="1188" y="468"/>
                  </a:lnTo>
                  <a:lnTo>
                    <a:pt x="1200" y="462"/>
                  </a:lnTo>
                  <a:lnTo>
                    <a:pt x="1224" y="450"/>
                  </a:lnTo>
                  <a:lnTo>
                    <a:pt x="1248" y="450"/>
                  </a:lnTo>
                  <a:lnTo>
                    <a:pt x="1266" y="450"/>
                  </a:lnTo>
                  <a:lnTo>
                    <a:pt x="1296" y="456"/>
                  </a:lnTo>
                  <a:lnTo>
                    <a:pt x="1308" y="456"/>
                  </a:lnTo>
                  <a:lnTo>
                    <a:pt x="1326" y="456"/>
                  </a:lnTo>
                  <a:lnTo>
                    <a:pt x="1338" y="456"/>
                  </a:lnTo>
                  <a:lnTo>
                    <a:pt x="1350" y="462"/>
                  </a:lnTo>
                  <a:lnTo>
                    <a:pt x="1356" y="462"/>
                  </a:lnTo>
                  <a:lnTo>
                    <a:pt x="1374" y="456"/>
                  </a:lnTo>
                  <a:lnTo>
                    <a:pt x="1386" y="456"/>
                  </a:lnTo>
                  <a:lnTo>
                    <a:pt x="1392" y="456"/>
                  </a:lnTo>
                  <a:lnTo>
                    <a:pt x="1398" y="456"/>
                  </a:lnTo>
                  <a:lnTo>
                    <a:pt x="1422" y="456"/>
                  </a:lnTo>
                  <a:lnTo>
                    <a:pt x="1440" y="456"/>
                  </a:lnTo>
                  <a:lnTo>
                    <a:pt x="1446" y="456"/>
                  </a:lnTo>
                  <a:lnTo>
                    <a:pt x="1476" y="456"/>
                  </a:lnTo>
                  <a:lnTo>
                    <a:pt x="1470" y="468"/>
                  </a:lnTo>
                  <a:lnTo>
                    <a:pt x="1470" y="474"/>
                  </a:lnTo>
                  <a:lnTo>
                    <a:pt x="1470" y="486"/>
                  </a:lnTo>
                  <a:lnTo>
                    <a:pt x="1464" y="492"/>
                  </a:lnTo>
                  <a:lnTo>
                    <a:pt x="1464" y="498"/>
                  </a:lnTo>
                  <a:lnTo>
                    <a:pt x="1458" y="498"/>
                  </a:lnTo>
                  <a:lnTo>
                    <a:pt x="1458" y="510"/>
                  </a:lnTo>
                  <a:lnTo>
                    <a:pt x="1452" y="522"/>
                  </a:lnTo>
                  <a:lnTo>
                    <a:pt x="1458" y="528"/>
                  </a:lnTo>
                  <a:lnTo>
                    <a:pt x="1464" y="546"/>
                  </a:lnTo>
                  <a:lnTo>
                    <a:pt x="1470" y="552"/>
                  </a:lnTo>
                  <a:lnTo>
                    <a:pt x="1476" y="564"/>
                  </a:lnTo>
                  <a:lnTo>
                    <a:pt x="1488" y="588"/>
                  </a:lnTo>
                  <a:lnTo>
                    <a:pt x="1506" y="606"/>
                  </a:lnTo>
                  <a:lnTo>
                    <a:pt x="1506" y="612"/>
                  </a:lnTo>
                  <a:lnTo>
                    <a:pt x="1518" y="618"/>
                  </a:lnTo>
                  <a:lnTo>
                    <a:pt x="1512" y="630"/>
                  </a:lnTo>
                  <a:lnTo>
                    <a:pt x="1518" y="642"/>
                  </a:lnTo>
                  <a:lnTo>
                    <a:pt x="1518" y="648"/>
                  </a:lnTo>
                  <a:lnTo>
                    <a:pt x="1530" y="666"/>
                  </a:lnTo>
                  <a:lnTo>
                    <a:pt x="1518" y="672"/>
                  </a:lnTo>
                  <a:lnTo>
                    <a:pt x="1524" y="696"/>
                  </a:lnTo>
                  <a:lnTo>
                    <a:pt x="1518" y="732"/>
                  </a:lnTo>
                  <a:lnTo>
                    <a:pt x="1524" y="762"/>
                  </a:lnTo>
                  <a:lnTo>
                    <a:pt x="1524" y="780"/>
                  </a:lnTo>
                  <a:lnTo>
                    <a:pt x="1524" y="810"/>
                  </a:lnTo>
                  <a:lnTo>
                    <a:pt x="1530" y="834"/>
                  </a:lnTo>
                  <a:lnTo>
                    <a:pt x="1536" y="846"/>
                  </a:lnTo>
                  <a:lnTo>
                    <a:pt x="1542" y="846"/>
                  </a:lnTo>
                  <a:lnTo>
                    <a:pt x="1584" y="840"/>
                  </a:lnTo>
                  <a:lnTo>
                    <a:pt x="1590" y="846"/>
                  </a:lnTo>
                  <a:lnTo>
                    <a:pt x="1596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90" y="864"/>
                  </a:lnTo>
                  <a:lnTo>
                    <a:pt x="1578" y="882"/>
                  </a:lnTo>
                  <a:lnTo>
                    <a:pt x="1572" y="906"/>
                  </a:lnTo>
                  <a:lnTo>
                    <a:pt x="1560" y="924"/>
                  </a:lnTo>
                  <a:lnTo>
                    <a:pt x="1560" y="936"/>
                  </a:lnTo>
                  <a:lnTo>
                    <a:pt x="1548" y="960"/>
                  </a:lnTo>
                  <a:lnTo>
                    <a:pt x="1542" y="978"/>
                  </a:lnTo>
                  <a:lnTo>
                    <a:pt x="1536" y="990"/>
                  </a:lnTo>
                  <a:lnTo>
                    <a:pt x="1530" y="990"/>
                  </a:lnTo>
                  <a:lnTo>
                    <a:pt x="1506" y="996"/>
                  </a:lnTo>
                  <a:lnTo>
                    <a:pt x="1494" y="1002"/>
                  </a:lnTo>
                  <a:lnTo>
                    <a:pt x="1482" y="1002"/>
                  </a:lnTo>
                  <a:lnTo>
                    <a:pt x="1464" y="1008"/>
                  </a:lnTo>
                  <a:lnTo>
                    <a:pt x="1446" y="1026"/>
                  </a:lnTo>
                  <a:lnTo>
                    <a:pt x="1440" y="1026"/>
                  </a:lnTo>
                  <a:lnTo>
                    <a:pt x="1434" y="1038"/>
                  </a:lnTo>
                  <a:lnTo>
                    <a:pt x="1428" y="1044"/>
                  </a:lnTo>
                  <a:lnTo>
                    <a:pt x="1428" y="1062"/>
                  </a:lnTo>
                  <a:lnTo>
                    <a:pt x="1428" y="1086"/>
                  </a:lnTo>
                  <a:lnTo>
                    <a:pt x="1416" y="1092"/>
                  </a:lnTo>
                  <a:lnTo>
                    <a:pt x="1410" y="1080"/>
                  </a:lnTo>
                  <a:lnTo>
                    <a:pt x="1392" y="108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0" name="Freeform 25">
              <a:extLst>
                <a:ext uri="{FF2B5EF4-FFF2-40B4-BE49-F238E27FC236}">
                  <a16:creationId xmlns:a16="http://schemas.microsoft.com/office/drawing/2014/main" id="{39FDFF90-5ACF-4D65-81AD-C44D2CBE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70228" y="3063559"/>
              <a:ext cx="644023" cy="704498"/>
            </a:xfrm>
            <a:custGeom>
              <a:avLst/>
              <a:gdLst>
                <a:gd name="T0" fmla="*/ 74 w 1212"/>
                <a:gd name="T1" fmla="*/ 113 h 1326"/>
                <a:gd name="T2" fmla="*/ 60 w 1212"/>
                <a:gd name="T3" fmla="*/ 116 h 1326"/>
                <a:gd name="T4" fmla="*/ 62 w 1212"/>
                <a:gd name="T5" fmla="*/ 110 h 1326"/>
                <a:gd name="T6" fmla="*/ 60 w 1212"/>
                <a:gd name="T7" fmla="*/ 105 h 1326"/>
                <a:gd name="T8" fmla="*/ 52 w 1212"/>
                <a:gd name="T9" fmla="*/ 96 h 1326"/>
                <a:gd name="T10" fmla="*/ 47 w 1212"/>
                <a:gd name="T11" fmla="*/ 98 h 1326"/>
                <a:gd name="T12" fmla="*/ 44 w 1212"/>
                <a:gd name="T13" fmla="*/ 93 h 1326"/>
                <a:gd name="T14" fmla="*/ 40 w 1212"/>
                <a:gd name="T15" fmla="*/ 96 h 1326"/>
                <a:gd name="T16" fmla="*/ 35 w 1212"/>
                <a:gd name="T17" fmla="*/ 102 h 1326"/>
                <a:gd name="T18" fmla="*/ 27 w 1212"/>
                <a:gd name="T19" fmla="*/ 100 h 1326"/>
                <a:gd name="T20" fmla="*/ 23 w 1212"/>
                <a:gd name="T21" fmla="*/ 96 h 1326"/>
                <a:gd name="T22" fmla="*/ 20 w 1212"/>
                <a:gd name="T23" fmla="*/ 90 h 1326"/>
                <a:gd name="T24" fmla="*/ 18 w 1212"/>
                <a:gd name="T25" fmla="*/ 89 h 1326"/>
                <a:gd name="T26" fmla="*/ 18 w 1212"/>
                <a:gd name="T27" fmla="*/ 85 h 1326"/>
                <a:gd name="T28" fmla="*/ 19 w 1212"/>
                <a:gd name="T29" fmla="*/ 83 h 1326"/>
                <a:gd name="T30" fmla="*/ 19 w 1212"/>
                <a:gd name="T31" fmla="*/ 82 h 1326"/>
                <a:gd name="T32" fmla="*/ 20 w 1212"/>
                <a:gd name="T33" fmla="*/ 79 h 1326"/>
                <a:gd name="T34" fmla="*/ 19 w 1212"/>
                <a:gd name="T35" fmla="*/ 75 h 1326"/>
                <a:gd name="T36" fmla="*/ 17 w 1212"/>
                <a:gd name="T37" fmla="*/ 77 h 1326"/>
                <a:gd name="T38" fmla="*/ 14 w 1212"/>
                <a:gd name="T39" fmla="*/ 76 h 1326"/>
                <a:gd name="T40" fmla="*/ 12 w 1212"/>
                <a:gd name="T41" fmla="*/ 71 h 1326"/>
                <a:gd name="T42" fmla="*/ 8 w 1212"/>
                <a:gd name="T43" fmla="*/ 69 h 1326"/>
                <a:gd name="T44" fmla="*/ 0 w 1212"/>
                <a:gd name="T45" fmla="*/ 72 h 1326"/>
                <a:gd name="T46" fmla="*/ 2 w 1212"/>
                <a:gd name="T47" fmla="*/ 67 h 1326"/>
                <a:gd name="T48" fmla="*/ 3 w 1212"/>
                <a:gd name="T49" fmla="*/ 61 h 1326"/>
                <a:gd name="T50" fmla="*/ 4 w 1212"/>
                <a:gd name="T51" fmla="*/ 56 h 1326"/>
                <a:gd name="T52" fmla="*/ 4 w 1212"/>
                <a:gd name="T53" fmla="*/ 52 h 1326"/>
                <a:gd name="T54" fmla="*/ 2 w 1212"/>
                <a:gd name="T55" fmla="*/ 47 h 1326"/>
                <a:gd name="T56" fmla="*/ 2 w 1212"/>
                <a:gd name="T57" fmla="*/ 42 h 1326"/>
                <a:gd name="T58" fmla="*/ 5 w 1212"/>
                <a:gd name="T59" fmla="*/ 39 h 1326"/>
                <a:gd name="T60" fmla="*/ 5 w 1212"/>
                <a:gd name="T61" fmla="*/ 35 h 1326"/>
                <a:gd name="T62" fmla="*/ 7 w 1212"/>
                <a:gd name="T63" fmla="*/ 31 h 1326"/>
                <a:gd name="T64" fmla="*/ 14 w 1212"/>
                <a:gd name="T65" fmla="*/ 31 h 1326"/>
                <a:gd name="T66" fmla="*/ 18 w 1212"/>
                <a:gd name="T67" fmla="*/ 27 h 1326"/>
                <a:gd name="T68" fmla="*/ 22 w 1212"/>
                <a:gd name="T69" fmla="*/ 24 h 1326"/>
                <a:gd name="T70" fmla="*/ 27 w 1212"/>
                <a:gd name="T71" fmla="*/ 20 h 1326"/>
                <a:gd name="T72" fmla="*/ 35 w 1212"/>
                <a:gd name="T73" fmla="*/ 21 h 1326"/>
                <a:gd name="T74" fmla="*/ 61 w 1212"/>
                <a:gd name="T75" fmla="*/ 8 h 1326"/>
                <a:gd name="T76" fmla="*/ 73 w 1212"/>
                <a:gd name="T77" fmla="*/ 4 h 1326"/>
                <a:gd name="T78" fmla="*/ 86 w 1212"/>
                <a:gd name="T79" fmla="*/ 12 h 1326"/>
                <a:gd name="T80" fmla="*/ 92 w 1212"/>
                <a:gd name="T81" fmla="*/ 13 h 1326"/>
                <a:gd name="T82" fmla="*/ 86 w 1212"/>
                <a:gd name="T83" fmla="*/ 18 h 1326"/>
                <a:gd name="T84" fmla="*/ 88 w 1212"/>
                <a:gd name="T85" fmla="*/ 33 h 1326"/>
                <a:gd name="T86" fmla="*/ 97 w 1212"/>
                <a:gd name="T87" fmla="*/ 49 h 1326"/>
                <a:gd name="T88" fmla="*/ 102 w 1212"/>
                <a:gd name="T89" fmla="*/ 57 h 1326"/>
                <a:gd name="T90" fmla="*/ 104 w 1212"/>
                <a:gd name="T91" fmla="*/ 67 h 1326"/>
                <a:gd name="T92" fmla="*/ 101 w 1212"/>
                <a:gd name="T93" fmla="*/ 69 h 1326"/>
                <a:gd name="T94" fmla="*/ 97 w 1212"/>
                <a:gd name="T95" fmla="*/ 69 h 1326"/>
                <a:gd name="T96" fmla="*/ 96 w 1212"/>
                <a:gd name="T97" fmla="*/ 71 h 1326"/>
                <a:gd name="T98" fmla="*/ 93 w 1212"/>
                <a:gd name="T99" fmla="*/ 70 h 1326"/>
                <a:gd name="T100" fmla="*/ 86 w 1212"/>
                <a:gd name="T101" fmla="*/ 69 h 1326"/>
                <a:gd name="T102" fmla="*/ 82 w 1212"/>
                <a:gd name="T103" fmla="*/ 73 h 1326"/>
                <a:gd name="T104" fmla="*/ 79 w 1212"/>
                <a:gd name="T105" fmla="*/ 74 h 1326"/>
                <a:gd name="T106" fmla="*/ 78 w 1212"/>
                <a:gd name="T107" fmla="*/ 79 h 1326"/>
                <a:gd name="T108" fmla="*/ 78 w 1212"/>
                <a:gd name="T109" fmla="*/ 83 h 1326"/>
                <a:gd name="T110" fmla="*/ 82 w 1212"/>
                <a:gd name="T111" fmla="*/ 87 h 1326"/>
                <a:gd name="T112" fmla="*/ 83 w 1212"/>
                <a:gd name="T113" fmla="*/ 90 h 1326"/>
                <a:gd name="T114" fmla="*/ 82 w 1212"/>
                <a:gd name="T115" fmla="*/ 94 h 1326"/>
                <a:gd name="T116" fmla="*/ 82 w 1212"/>
                <a:gd name="T117" fmla="*/ 98 h 1326"/>
                <a:gd name="T118" fmla="*/ 82 w 1212"/>
                <a:gd name="T119" fmla="*/ 104 h 1326"/>
                <a:gd name="T120" fmla="*/ 78 w 1212"/>
                <a:gd name="T121" fmla="*/ 110 h 132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12"/>
                <a:gd name="T184" fmla="*/ 0 h 1326"/>
                <a:gd name="T185" fmla="*/ 1212 w 1212"/>
                <a:gd name="T186" fmla="*/ 1326 h 132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12" h="1326">
                  <a:moveTo>
                    <a:pt x="906" y="1290"/>
                  </a:moveTo>
                  <a:lnTo>
                    <a:pt x="906" y="1296"/>
                  </a:lnTo>
                  <a:lnTo>
                    <a:pt x="900" y="1296"/>
                  </a:lnTo>
                  <a:lnTo>
                    <a:pt x="876" y="1290"/>
                  </a:lnTo>
                  <a:lnTo>
                    <a:pt x="870" y="1290"/>
                  </a:lnTo>
                  <a:lnTo>
                    <a:pt x="864" y="1296"/>
                  </a:lnTo>
                  <a:lnTo>
                    <a:pt x="852" y="1296"/>
                  </a:lnTo>
                  <a:lnTo>
                    <a:pt x="840" y="1302"/>
                  </a:lnTo>
                  <a:lnTo>
                    <a:pt x="834" y="1308"/>
                  </a:lnTo>
                  <a:lnTo>
                    <a:pt x="822" y="1320"/>
                  </a:lnTo>
                  <a:lnTo>
                    <a:pt x="816" y="1320"/>
                  </a:lnTo>
                  <a:lnTo>
                    <a:pt x="732" y="1320"/>
                  </a:lnTo>
                  <a:lnTo>
                    <a:pt x="696" y="1320"/>
                  </a:lnTo>
                  <a:lnTo>
                    <a:pt x="690" y="1326"/>
                  </a:lnTo>
                  <a:lnTo>
                    <a:pt x="678" y="1326"/>
                  </a:lnTo>
                  <a:lnTo>
                    <a:pt x="672" y="1308"/>
                  </a:lnTo>
                  <a:lnTo>
                    <a:pt x="696" y="1302"/>
                  </a:lnTo>
                  <a:lnTo>
                    <a:pt x="708" y="1296"/>
                  </a:lnTo>
                  <a:lnTo>
                    <a:pt x="720" y="1284"/>
                  </a:lnTo>
                  <a:lnTo>
                    <a:pt x="714" y="1278"/>
                  </a:lnTo>
                  <a:lnTo>
                    <a:pt x="714" y="1266"/>
                  </a:lnTo>
                  <a:lnTo>
                    <a:pt x="708" y="1260"/>
                  </a:lnTo>
                  <a:lnTo>
                    <a:pt x="708" y="1254"/>
                  </a:lnTo>
                  <a:lnTo>
                    <a:pt x="708" y="1248"/>
                  </a:lnTo>
                  <a:lnTo>
                    <a:pt x="702" y="1236"/>
                  </a:lnTo>
                  <a:lnTo>
                    <a:pt x="702" y="1230"/>
                  </a:lnTo>
                  <a:lnTo>
                    <a:pt x="702" y="1218"/>
                  </a:lnTo>
                  <a:lnTo>
                    <a:pt x="696" y="1200"/>
                  </a:lnTo>
                  <a:lnTo>
                    <a:pt x="696" y="1182"/>
                  </a:lnTo>
                  <a:lnTo>
                    <a:pt x="666" y="1182"/>
                  </a:lnTo>
                  <a:lnTo>
                    <a:pt x="672" y="1134"/>
                  </a:lnTo>
                  <a:lnTo>
                    <a:pt x="666" y="1128"/>
                  </a:lnTo>
                  <a:lnTo>
                    <a:pt x="660" y="1092"/>
                  </a:lnTo>
                  <a:lnTo>
                    <a:pt x="654" y="1098"/>
                  </a:lnTo>
                  <a:lnTo>
                    <a:pt x="594" y="1098"/>
                  </a:lnTo>
                  <a:lnTo>
                    <a:pt x="576" y="1098"/>
                  </a:lnTo>
                  <a:lnTo>
                    <a:pt x="570" y="1104"/>
                  </a:lnTo>
                  <a:lnTo>
                    <a:pt x="564" y="1110"/>
                  </a:lnTo>
                  <a:lnTo>
                    <a:pt x="558" y="1110"/>
                  </a:lnTo>
                  <a:lnTo>
                    <a:pt x="552" y="1110"/>
                  </a:lnTo>
                  <a:lnTo>
                    <a:pt x="546" y="1110"/>
                  </a:lnTo>
                  <a:lnTo>
                    <a:pt x="546" y="1116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10" y="1128"/>
                  </a:lnTo>
                  <a:lnTo>
                    <a:pt x="522" y="1104"/>
                  </a:lnTo>
                  <a:lnTo>
                    <a:pt x="510" y="1098"/>
                  </a:lnTo>
                  <a:lnTo>
                    <a:pt x="510" y="1074"/>
                  </a:lnTo>
                  <a:lnTo>
                    <a:pt x="504" y="1068"/>
                  </a:lnTo>
                  <a:lnTo>
                    <a:pt x="498" y="1068"/>
                  </a:lnTo>
                  <a:lnTo>
                    <a:pt x="492" y="1068"/>
                  </a:lnTo>
                  <a:lnTo>
                    <a:pt x="474" y="1080"/>
                  </a:lnTo>
                  <a:lnTo>
                    <a:pt x="474" y="1086"/>
                  </a:lnTo>
                  <a:lnTo>
                    <a:pt x="474" y="1092"/>
                  </a:lnTo>
                  <a:lnTo>
                    <a:pt x="468" y="1098"/>
                  </a:lnTo>
                  <a:lnTo>
                    <a:pt x="462" y="1104"/>
                  </a:lnTo>
                  <a:lnTo>
                    <a:pt x="456" y="1110"/>
                  </a:lnTo>
                  <a:lnTo>
                    <a:pt x="456" y="1122"/>
                  </a:lnTo>
                  <a:lnTo>
                    <a:pt x="456" y="1128"/>
                  </a:lnTo>
                  <a:lnTo>
                    <a:pt x="450" y="1140"/>
                  </a:lnTo>
                  <a:lnTo>
                    <a:pt x="444" y="1146"/>
                  </a:lnTo>
                  <a:lnTo>
                    <a:pt x="426" y="1170"/>
                  </a:lnTo>
                  <a:lnTo>
                    <a:pt x="408" y="1176"/>
                  </a:lnTo>
                  <a:lnTo>
                    <a:pt x="402" y="1170"/>
                  </a:lnTo>
                  <a:lnTo>
                    <a:pt x="396" y="1170"/>
                  </a:lnTo>
                  <a:lnTo>
                    <a:pt x="396" y="1158"/>
                  </a:lnTo>
                  <a:lnTo>
                    <a:pt x="384" y="1152"/>
                  </a:lnTo>
                  <a:lnTo>
                    <a:pt x="372" y="1140"/>
                  </a:lnTo>
                  <a:lnTo>
                    <a:pt x="354" y="1140"/>
                  </a:lnTo>
                  <a:lnTo>
                    <a:pt x="306" y="1146"/>
                  </a:lnTo>
                  <a:lnTo>
                    <a:pt x="294" y="1134"/>
                  </a:lnTo>
                  <a:lnTo>
                    <a:pt x="294" y="1128"/>
                  </a:lnTo>
                  <a:lnTo>
                    <a:pt x="288" y="1122"/>
                  </a:lnTo>
                  <a:lnTo>
                    <a:pt x="276" y="1122"/>
                  </a:lnTo>
                  <a:lnTo>
                    <a:pt x="276" y="1110"/>
                  </a:lnTo>
                  <a:lnTo>
                    <a:pt x="276" y="1104"/>
                  </a:lnTo>
                  <a:lnTo>
                    <a:pt x="270" y="1098"/>
                  </a:lnTo>
                  <a:lnTo>
                    <a:pt x="264" y="1086"/>
                  </a:lnTo>
                  <a:lnTo>
                    <a:pt x="264" y="1074"/>
                  </a:lnTo>
                  <a:lnTo>
                    <a:pt x="258" y="1068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34" y="1038"/>
                  </a:lnTo>
                  <a:lnTo>
                    <a:pt x="228" y="1038"/>
                  </a:lnTo>
                  <a:lnTo>
                    <a:pt x="222" y="1038"/>
                  </a:lnTo>
                  <a:lnTo>
                    <a:pt x="216" y="1038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0"/>
                  </a:lnTo>
                  <a:lnTo>
                    <a:pt x="204" y="1014"/>
                  </a:lnTo>
                  <a:lnTo>
                    <a:pt x="204" y="1008"/>
                  </a:lnTo>
                  <a:lnTo>
                    <a:pt x="198" y="1002"/>
                  </a:lnTo>
                  <a:lnTo>
                    <a:pt x="198" y="996"/>
                  </a:lnTo>
                  <a:lnTo>
                    <a:pt x="198" y="990"/>
                  </a:lnTo>
                  <a:lnTo>
                    <a:pt x="204" y="990"/>
                  </a:lnTo>
                  <a:lnTo>
                    <a:pt x="204" y="984"/>
                  </a:lnTo>
                  <a:lnTo>
                    <a:pt x="210" y="978"/>
                  </a:lnTo>
                  <a:lnTo>
                    <a:pt x="210" y="972"/>
                  </a:lnTo>
                  <a:lnTo>
                    <a:pt x="210" y="966"/>
                  </a:lnTo>
                  <a:lnTo>
                    <a:pt x="216" y="960"/>
                  </a:lnTo>
                  <a:lnTo>
                    <a:pt x="216" y="954"/>
                  </a:lnTo>
                  <a:lnTo>
                    <a:pt x="210" y="954"/>
                  </a:lnTo>
                  <a:lnTo>
                    <a:pt x="204" y="954"/>
                  </a:lnTo>
                  <a:lnTo>
                    <a:pt x="216" y="954"/>
                  </a:lnTo>
                  <a:lnTo>
                    <a:pt x="216" y="948"/>
                  </a:lnTo>
                  <a:lnTo>
                    <a:pt x="210" y="948"/>
                  </a:lnTo>
                  <a:lnTo>
                    <a:pt x="210" y="942"/>
                  </a:lnTo>
                  <a:lnTo>
                    <a:pt x="216" y="942"/>
                  </a:lnTo>
                  <a:lnTo>
                    <a:pt x="222" y="942"/>
                  </a:lnTo>
                  <a:lnTo>
                    <a:pt x="222" y="936"/>
                  </a:lnTo>
                  <a:lnTo>
                    <a:pt x="216" y="936"/>
                  </a:lnTo>
                  <a:lnTo>
                    <a:pt x="210" y="936"/>
                  </a:lnTo>
                  <a:lnTo>
                    <a:pt x="210" y="930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22" y="918"/>
                  </a:lnTo>
                  <a:lnTo>
                    <a:pt x="228" y="912"/>
                  </a:lnTo>
                  <a:lnTo>
                    <a:pt x="228" y="906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2" y="888"/>
                  </a:lnTo>
                  <a:lnTo>
                    <a:pt x="222" y="882"/>
                  </a:lnTo>
                  <a:lnTo>
                    <a:pt x="222" y="876"/>
                  </a:lnTo>
                  <a:lnTo>
                    <a:pt x="222" y="858"/>
                  </a:lnTo>
                  <a:lnTo>
                    <a:pt x="216" y="858"/>
                  </a:lnTo>
                  <a:lnTo>
                    <a:pt x="216" y="852"/>
                  </a:lnTo>
                  <a:lnTo>
                    <a:pt x="210" y="852"/>
                  </a:lnTo>
                  <a:lnTo>
                    <a:pt x="210" y="840"/>
                  </a:lnTo>
                  <a:lnTo>
                    <a:pt x="198" y="840"/>
                  </a:lnTo>
                  <a:lnTo>
                    <a:pt x="198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0" y="894"/>
                  </a:lnTo>
                  <a:lnTo>
                    <a:pt x="180" y="906"/>
                  </a:lnTo>
                  <a:lnTo>
                    <a:pt x="156" y="912"/>
                  </a:lnTo>
                  <a:lnTo>
                    <a:pt x="156" y="894"/>
                  </a:lnTo>
                  <a:lnTo>
                    <a:pt x="156" y="882"/>
                  </a:lnTo>
                  <a:lnTo>
                    <a:pt x="156" y="876"/>
                  </a:lnTo>
                  <a:lnTo>
                    <a:pt x="150" y="876"/>
                  </a:lnTo>
                  <a:lnTo>
                    <a:pt x="144" y="876"/>
                  </a:lnTo>
                  <a:lnTo>
                    <a:pt x="138" y="870"/>
                  </a:lnTo>
                  <a:lnTo>
                    <a:pt x="132" y="864"/>
                  </a:lnTo>
                  <a:lnTo>
                    <a:pt x="138" y="840"/>
                  </a:lnTo>
                  <a:lnTo>
                    <a:pt x="132" y="840"/>
                  </a:lnTo>
                  <a:lnTo>
                    <a:pt x="138" y="810"/>
                  </a:lnTo>
                  <a:lnTo>
                    <a:pt x="144" y="804"/>
                  </a:lnTo>
                  <a:lnTo>
                    <a:pt x="144" y="798"/>
                  </a:lnTo>
                  <a:lnTo>
                    <a:pt x="156" y="798"/>
                  </a:lnTo>
                  <a:lnTo>
                    <a:pt x="156" y="792"/>
                  </a:lnTo>
                  <a:lnTo>
                    <a:pt x="120" y="792"/>
                  </a:lnTo>
                  <a:lnTo>
                    <a:pt x="108" y="786"/>
                  </a:lnTo>
                  <a:lnTo>
                    <a:pt x="96" y="786"/>
                  </a:lnTo>
                  <a:lnTo>
                    <a:pt x="96" y="780"/>
                  </a:lnTo>
                  <a:lnTo>
                    <a:pt x="78" y="780"/>
                  </a:lnTo>
                  <a:lnTo>
                    <a:pt x="72" y="804"/>
                  </a:lnTo>
                  <a:lnTo>
                    <a:pt x="60" y="816"/>
                  </a:lnTo>
                  <a:lnTo>
                    <a:pt x="36" y="828"/>
                  </a:lnTo>
                  <a:lnTo>
                    <a:pt x="18" y="840"/>
                  </a:lnTo>
                  <a:lnTo>
                    <a:pt x="0" y="822"/>
                  </a:lnTo>
                  <a:lnTo>
                    <a:pt x="6" y="816"/>
                  </a:lnTo>
                  <a:lnTo>
                    <a:pt x="12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18" y="786"/>
                  </a:lnTo>
                  <a:lnTo>
                    <a:pt x="24" y="780"/>
                  </a:lnTo>
                  <a:lnTo>
                    <a:pt x="24" y="768"/>
                  </a:lnTo>
                  <a:lnTo>
                    <a:pt x="24" y="762"/>
                  </a:lnTo>
                  <a:lnTo>
                    <a:pt x="24" y="750"/>
                  </a:lnTo>
                  <a:lnTo>
                    <a:pt x="36" y="714"/>
                  </a:lnTo>
                  <a:lnTo>
                    <a:pt x="36" y="708"/>
                  </a:lnTo>
                  <a:lnTo>
                    <a:pt x="42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6" y="690"/>
                  </a:lnTo>
                  <a:lnTo>
                    <a:pt x="42" y="684"/>
                  </a:lnTo>
                  <a:lnTo>
                    <a:pt x="42" y="672"/>
                  </a:lnTo>
                  <a:lnTo>
                    <a:pt x="42" y="666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48" y="648"/>
                  </a:lnTo>
                  <a:lnTo>
                    <a:pt x="54" y="642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54" y="612"/>
                  </a:lnTo>
                  <a:lnTo>
                    <a:pt x="48" y="606"/>
                  </a:lnTo>
                  <a:lnTo>
                    <a:pt x="48" y="600"/>
                  </a:lnTo>
                  <a:lnTo>
                    <a:pt x="42" y="600"/>
                  </a:lnTo>
                  <a:lnTo>
                    <a:pt x="36" y="594"/>
                  </a:lnTo>
                  <a:lnTo>
                    <a:pt x="36" y="588"/>
                  </a:lnTo>
                  <a:lnTo>
                    <a:pt x="30" y="582"/>
                  </a:lnTo>
                  <a:lnTo>
                    <a:pt x="30" y="570"/>
                  </a:lnTo>
                  <a:lnTo>
                    <a:pt x="18" y="552"/>
                  </a:lnTo>
                  <a:lnTo>
                    <a:pt x="18" y="546"/>
                  </a:lnTo>
                  <a:lnTo>
                    <a:pt x="18" y="540"/>
                  </a:lnTo>
                  <a:lnTo>
                    <a:pt x="18" y="528"/>
                  </a:lnTo>
                  <a:lnTo>
                    <a:pt x="18" y="522"/>
                  </a:lnTo>
                  <a:lnTo>
                    <a:pt x="24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30" y="474"/>
                  </a:lnTo>
                  <a:lnTo>
                    <a:pt x="36" y="474"/>
                  </a:lnTo>
                  <a:lnTo>
                    <a:pt x="42" y="468"/>
                  </a:lnTo>
                  <a:lnTo>
                    <a:pt x="48" y="468"/>
                  </a:lnTo>
                  <a:lnTo>
                    <a:pt x="48" y="462"/>
                  </a:lnTo>
                  <a:lnTo>
                    <a:pt x="48" y="456"/>
                  </a:lnTo>
                  <a:lnTo>
                    <a:pt x="54" y="450"/>
                  </a:lnTo>
                  <a:lnTo>
                    <a:pt x="60" y="438"/>
                  </a:lnTo>
                  <a:lnTo>
                    <a:pt x="54" y="438"/>
                  </a:lnTo>
                  <a:lnTo>
                    <a:pt x="54" y="432"/>
                  </a:ln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54" y="402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6" y="384"/>
                  </a:lnTo>
                  <a:lnTo>
                    <a:pt x="72" y="372"/>
                  </a:lnTo>
                  <a:lnTo>
                    <a:pt x="78" y="366"/>
                  </a:lnTo>
                  <a:lnTo>
                    <a:pt x="84" y="360"/>
                  </a:lnTo>
                  <a:lnTo>
                    <a:pt x="102" y="360"/>
                  </a:lnTo>
                  <a:lnTo>
                    <a:pt x="114" y="36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8" y="360"/>
                  </a:lnTo>
                  <a:lnTo>
                    <a:pt x="156" y="360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74" y="342"/>
                  </a:lnTo>
                  <a:lnTo>
                    <a:pt x="180" y="342"/>
                  </a:lnTo>
                  <a:lnTo>
                    <a:pt x="186" y="336"/>
                  </a:lnTo>
                  <a:lnTo>
                    <a:pt x="192" y="330"/>
                  </a:lnTo>
                  <a:lnTo>
                    <a:pt x="204" y="312"/>
                  </a:lnTo>
                  <a:lnTo>
                    <a:pt x="210" y="312"/>
                  </a:lnTo>
                  <a:lnTo>
                    <a:pt x="216" y="306"/>
                  </a:lnTo>
                  <a:lnTo>
                    <a:pt x="216" y="300"/>
                  </a:lnTo>
                  <a:lnTo>
                    <a:pt x="222" y="288"/>
                  </a:lnTo>
                  <a:lnTo>
                    <a:pt x="234" y="288"/>
                  </a:lnTo>
                  <a:lnTo>
                    <a:pt x="240" y="282"/>
                  </a:lnTo>
                  <a:lnTo>
                    <a:pt x="246" y="282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70" y="270"/>
                  </a:lnTo>
                  <a:lnTo>
                    <a:pt x="276" y="264"/>
                  </a:lnTo>
                  <a:lnTo>
                    <a:pt x="282" y="26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8" y="234"/>
                  </a:lnTo>
                  <a:lnTo>
                    <a:pt x="330" y="234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72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14" y="240"/>
                  </a:lnTo>
                  <a:lnTo>
                    <a:pt x="444" y="216"/>
                  </a:lnTo>
                  <a:lnTo>
                    <a:pt x="480" y="204"/>
                  </a:lnTo>
                  <a:lnTo>
                    <a:pt x="600" y="150"/>
                  </a:lnTo>
                  <a:lnTo>
                    <a:pt x="648" y="126"/>
                  </a:lnTo>
                  <a:lnTo>
                    <a:pt x="702" y="96"/>
                  </a:lnTo>
                  <a:lnTo>
                    <a:pt x="708" y="54"/>
                  </a:lnTo>
                  <a:lnTo>
                    <a:pt x="720" y="24"/>
                  </a:lnTo>
                  <a:lnTo>
                    <a:pt x="738" y="12"/>
                  </a:lnTo>
                  <a:lnTo>
                    <a:pt x="768" y="0"/>
                  </a:lnTo>
                  <a:lnTo>
                    <a:pt x="792" y="6"/>
                  </a:lnTo>
                  <a:lnTo>
                    <a:pt x="804" y="12"/>
                  </a:lnTo>
                  <a:lnTo>
                    <a:pt x="834" y="48"/>
                  </a:lnTo>
                  <a:lnTo>
                    <a:pt x="834" y="60"/>
                  </a:lnTo>
                  <a:lnTo>
                    <a:pt x="852" y="84"/>
                  </a:lnTo>
                  <a:lnTo>
                    <a:pt x="864" y="96"/>
                  </a:lnTo>
                  <a:lnTo>
                    <a:pt x="888" y="102"/>
                  </a:lnTo>
                  <a:lnTo>
                    <a:pt x="978" y="120"/>
                  </a:lnTo>
                  <a:lnTo>
                    <a:pt x="984" y="126"/>
                  </a:lnTo>
                  <a:lnTo>
                    <a:pt x="984" y="132"/>
                  </a:lnTo>
                  <a:lnTo>
                    <a:pt x="996" y="138"/>
                  </a:lnTo>
                  <a:lnTo>
                    <a:pt x="1038" y="126"/>
                  </a:lnTo>
                  <a:lnTo>
                    <a:pt x="1056" y="114"/>
                  </a:lnTo>
                  <a:lnTo>
                    <a:pt x="1068" y="126"/>
                  </a:lnTo>
                  <a:lnTo>
                    <a:pt x="1074" y="132"/>
                  </a:lnTo>
                  <a:lnTo>
                    <a:pt x="1068" y="138"/>
                  </a:lnTo>
                  <a:lnTo>
                    <a:pt x="1056" y="150"/>
                  </a:lnTo>
                  <a:lnTo>
                    <a:pt x="1038" y="162"/>
                  </a:lnTo>
                  <a:lnTo>
                    <a:pt x="1038" y="168"/>
                  </a:lnTo>
                  <a:lnTo>
                    <a:pt x="1020" y="174"/>
                  </a:lnTo>
                  <a:lnTo>
                    <a:pt x="1014" y="180"/>
                  </a:lnTo>
                  <a:lnTo>
                    <a:pt x="1008" y="186"/>
                  </a:lnTo>
                  <a:lnTo>
                    <a:pt x="1002" y="198"/>
                  </a:lnTo>
                  <a:lnTo>
                    <a:pt x="984" y="204"/>
                  </a:lnTo>
                  <a:lnTo>
                    <a:pt x="984" y="246"/>
                  </a:lnTo>
                  <a:lnTo>
                    <a:pt x="978" y="270"/>
                  </a:lnTo>
                  <a:lnTo>
                    <a:pt x="990" y="306"/>
                  </a:lnTo>
                  <a:lnTo>
                    <a:pt x="990" y="324"/>
                  </a:lnTo>
                  <a:lnTo>
                    <a:pt x="1002" y="336"/>
                  </a:lnTo>
                  <a:lnTo>
                    <a:pt x="1020" y="372"/>
                  </a:lnTo>
                  <a:lnTo>
                    <a:pt x="1014" y="378"/>
                  </a:lnTo>
                  <a:lnTo>
                    <a:pt x="1014" y="384"/>
                  </a:lnTo>
                  <a:lnTo>
                    <a:pt x="1020" y="384"/>
                  </a:lnTo>
                  <a:lnTo>
                    <a:pt x="1020" y="396"/>
                  </a:lnTo>
                  <a:lnTo>
                    <a:pt x="1062" y="468"/>
                  </a:lnTo>
                  <a:lnTo>
                    <a:pt x="1092" y="522"/>
                  </a:lnTo>
                  <a:lnTo>
                    <a:pt x="1110" y="546"/>
                  </a:lnTo>
                  <a:lnTo>
                    <a:pt x="1122" y="564"/>
                  </a:lnTo>
                  <a:lnTo>
                    <a:pt x="1134" y="576"/>
                  </a:lnTo>
                  <a:lnTo>
                    <a:pt x="1146" y="582"/>
                  </a:lnTo>
                  <a:lnTo>
                    <a:pt x="1146" y="588"/>
                  </a:lnTo>
                  <a:lnTo>
                    <a:pt x="1164" y="600"/>
                  </a:lnTo>
                  <a:lnTo>
                    <a:pt x="1170" y="612"/>
                  </a:lnTo>
                  <a:lnTo>
                    <a:pt x="1170" y="624"/>
                  </a:lnTo>
                  <a:lnTo>
                    <a:pt x="1176" y="654"/>
                  </a:lnTo>
                  <a:lnTo>
                    <a:pt x="1176" y="666"/>
                  </a:lnTo>
                  <a:lnTo>
                    <a:pt x="1182" y="684"/>
                  </a:lnTo>
                  <a:lnTo>
                    <a:pt x="1194" y="696"/>
                  </a:lnTo>
                  <a:lnTo>
                    <a:pt x="1212" y="696"/>
                  </a:lnTo>
                  <a:lnTo>
                    <a:pt x="1206" y="762"/>
                  </a:lnTo>
                  <a:lnTo>
                    <a:pt x="1200" y="768"/>
                  </a:lnTo>
                  <a:lnTo>
                    <a:pt x="1194" y="768"/>
                  </a:lnTo>
                  <a:lnTo>
                    <a:pt x="1194" y="774"/>
                  </a:lnTo>
                  <a:lnTo>
                    <a:pt x="1188" y="774"/>
                  </a:lnTo>
                  <a:lnTo>
                    <a:pt x="1182" y="780"/>
                  </a:lnTo>
                  <a:lnTo>
                    <a:pt x="1176" y="780"/>
                  </a:lnTo>
                  <a:lnTo>
                    <a:pt x="1170" y="780"/>
                  </a:lnTo>
                  <a:lnTo>
                    <a:pt x="1164" y="786"/>
                  </a:lnTo>
                  <a:lnTo>
                    <a:pt x="1158" y="786"/>
                  </a:lnTo>
                  <a:lnTo>
                    <a:pt x="1152" y="786"/>
                  </a:lnTo>
                  <a:lnTo>
                    <a:pt x="1140" y="786"/>
                  </a:lnTo>
                  <a:lnTo>
                    <a:pt x="1134" y="786"/>
                  </a:lnTo>
                  <a:lnTo>
                    <a:pt x="1134" y="780"/>
                  </a:lnTo>
                  <a:lnTo>
                    <a:pt x="1122" y="780"/>
                  </a:lnTo>
                  <a:lnTo>
                    <a:pt x="1116" y="786"/>
                  </a:lnTo>
                  <a:lnTo>
                    <a:pt x="1116" y="792"/>
                  </a:lnTo>
                  <a:lnTo>
                    <a:pt x="1122" y="804"/>
                  </a:lnTo>
                  <a:lnTo>
                    <a:pt x="1128" y="804"/>
                  </a:lnTo>
                  <a:lnTo>
                    <a:pt x="1128" y="816"/>
                  </a:lnTo>
                  <a:lnTo>
                    <a:pt x="1122" y="822"/>
                  </a:lnTo>
                  <a:lnTo>
                    <a:pt x="1116" y="816"/>
                  </a:lnTo>
                  <a:lnTo>
                    <a:pt x="1110" y="816"/>
                  </a:lnTo>
                  <a:lnTo>
                    <a:pt x="1104" y="816"/>
                  </a:lnTo>
                  <a:lnTo>
                    <a:pt x="1098" y="816"/>
                  </a:lnTo>
                  <a:lnTo>
                    <a:pt x="1098" y="822"/>
                  </a:lnTo>
                  <a:lnTo>
                    <a:pt x="1092" y="834"/>
                  </a:lnTo>
                  <a:lnTo>
                    <a:pt x="1092" y="840"/>
                  </a:lnTo>
                  <a:lnTo>
                    <a:pt x="1074" y="840"/>
                  </a:lnTo>
                  <a:lnTo>
                    <a:pt x="1074" y="828"/>
                  </a:lnTo>
                  <a:lnTo>
                    <a:pt x="1062" y="804"/>
                  </a:lnTo>
                  <a:lnTo>
                    <a:pt x="1056" y="792"/>
                  </a:lnTo>
                  <a:lnTo>
                    <a:pt x="1056" y="786"/>
                  </a:lnTo>
                  <a:lnTo>
                    <a:pt x="1026" y="780"/>
                  </a:lnTo>
                  <a:lnTo>
                    <a:pt x="1026" y="768"/>
                  </a:lnTo>
                  <a:lnTo>
                    <a:pt x="1008" y="768"/>
                  </a:lnTo>
                  <a:lnTo>
                    <a:pt x="1002" y="780"/>
                  </a:lnTo>
                  <a:lnTo>
                    <a:pt x="996" y="792"/>
                  </a:lnTo>
                  <a:lnTo>
                    <a:pt x="978" y="798"/>
                  </a:lnTo>
                  <a:lnTo>
                    <a:pt x="972" y="810"/>
                  </a:lnTo>
                  <a:lnTo>
                    <a:pt x="972" y="822"/>
                  </a:lnTo>
                  <a:lnTo>
                    <a:pt x="978" y="828"/>
                  </a:lnTo>
                  <a:lnTo>
                    <a:pt x="978" y="834"/>
                  </a:lnTo>
                  <a:lnTo>
                    <a:pt x="960" y="840"/>
                  </a:lnTo>
                  <a:lnTo>
                    <a:pt x="936" y="840"/>
                  </a:lnTo>
                  <a:lnTo>
                    <a:pt x="918" y="846"/>
                  </a:lnTo>
                  <a:lnTo>
                    <a:pt x="912" y="840"/>
                  </a:lnTo>
                  <a:lnTo>
                    <a:pt x="912" y="834"/>
                  </a:lnTo>
                  <a:lnTo>
                    <a:pt x="906" y="834"/>
                  </a:lnTo>
                  <a:lnTo>
                    <a:pt x="906" y="840"/>
                  </a:lnTo>
                  <a:lnTo>
                    <a:pt x="900" y="846"/>
                  </a:lnTo>
                  <a:lnTo>
                    <a:pt x="906" y="852"/>
                  </a:lnTo>
                  <a:lnTo>
                    <a:pt x="900" y="864"/>
                  </a:lnTo>
                  <a:lnTo>
                    <a:pt x="900" y="876"/>
                  </a:lnTo>
                  <a:lnTo>
                    <a:pt x="900" y="882"/>
                  </a:lnTo>
                  <a:lnTo>
                    <a:pt x="894" y="888"/>
                  </a:lnTo>
                  <a:lnTo>
                    <a:pt x="900" y="900"/>
                  </a:lnTo>
                  <a:lnTo>
                    <a:pt x="900" y="906"/>
                  </a:lnTo>
                  <a:lnTo>
                    <a:pt x="894" y="906"/>
                  </a:lnTo>
                  <a:lnTo>
                    <a:pt x="894" y="912"/>
                  </a:lnTo>
                  <a:lnTo>
                    <a:pt x="900" y="918"/>
                  </a:lnTo>
                  <a:lnTo>
                    <a:pt x="900" y="924"/>
                  </a:lnTo>
                  <a:lnTo>
                    <a:pt x="900" y="948"/>
                  </a:lnTo>
                  <a:lnTo>
                    <a:pt x="888" y="948"/>
                  </a:lnTo>
                  <a:lnTo>
                    <a:pt x="888" y="954"/>
                  </a:lnTo>
                  <a:lnTo>
                    <a:pt x="894" y="954"/>
                  </a:lnTo>
                  <a:lnTo>
                    <a:pt x="900" y="960"/>
                  </a:lnTo>
                  <a:lnTo>
                    <a:pt x="900" y="972"/>
                  </a:lnTo>
                  <a:lnTo>
                    <a:pt x="906" y="984"/>
                  </a:lnTo>
                  <a:lnTo>
                    <a:pt x="912" y="984"/>
                  </a:lnTo>
                  <a:lnTo>
                    <a:pt x="918" y="990"/>
                  </a:lnTo>
                  <a:lnTo>
                    <a:pt x="936" y="990"/>
                  </a:lnTo>
                  <a:lnTo>
                    <a:pt x="936" y="996"/>
                  </a:lnTo>
                  <a:lnTo>
                    <a:pt x="942" y="996"/>
                  </a:lnTo>
                  <a:lnTo>
                    <a:pt x="942" y="1002"/>
                  </a:lnTo>
                  <a:lnTo>
                    <a:pt x="942" y="1008"/>
                  </a:lnTo>
                  <a:lnTo>
                    <a:pt x="948" y="1008"/>
                  </a:lnTo>
                  <a:lnTo>
                    <a:pt x="948" y="1014"/>
                  </a:lnTo>
                  <a:lnTo>
                    <a:pt x="948" y="1020"/>
                  </a:lnTo>
                  <a:lnTo>
                    <a:pt x="954" y="1032"/>
                  </a:lnTo>
                  <a:lnTo>
                    <a:pt x="948" y="1038"/>
                  </a:lnTo>
                  <a:lnTo>
                    <a:pt x="954" y="1044"/>
                  </a:lnTo>
                  <a:lnTo>
                    <a:pt x="954" y="1056"/>
                  </a:lnTo>
                  <a:lnTo>
                    <a:pt x="960" y="1056"/>
                  </a:lnTo>
                  <a:lnTo>
                    <a:pt x="960" y="1062"/>
                  </a:lnTo>
                  <a:lnTo>
                    <a:pt x="954" y="1068"/>
                  </a:lnTo>
                  <a:lnTo>
                    <a:pt x="948" y="1074"/>
                  </a:lnTo>
                  <a:lnTo>
                    <a:pt x="948" y="1080"/>
                  </a:lnTo>
                  <a:lnTo>
                    <a:pt x="948" y="1086"/>
                  </a:lnTo>
                  <a:lnTo>
                    <a:pt x="942" y="1092"/>
                  </a:lnTo>
                  <a:lnTo>
                    <a:pt x="942" y="1098"/>
                  </a:lnTo>
                  <a:lnTo>
                    <a:pt x="942" y="1104"/>
                  </a:lnTo>
                  <a:lnTo>
                    <a:pt x="942" y="1110"/>
                  </a:lnTo>
                  <a:lnTo>
                    <a:pt x="936" y="1116"/>
                  </a:lnTo>
                  <a:lnTo>
                    <a:pt x="936" y="1122"/>
                  </a:lnTo>
                  <a:lnTo>
                    <a:pt x="936" y="1128"/>
                  </a:lnTo>
                  <a:lnTo>
                    <a:pt x="936" y="1134"/>
                  </a:lnTo>
                  <a:lnTo>
                    <a:pt x="942" y="1146"/>
                  </a:lnTo>
                  <a:lnTo>
                    <a:pt x="936" y="1158"/>
                  </a:lnTo>
                  <a:lnTo>
                    <a:pt x="936" y="1170"/>
                  </a:lnTo>
                  <a:lnTo>
                    <a:pt x="936" y="1194"/>
                  </a:lnTo>
                  <a:lnTo>
                    <a:pt x="930" y="1200"/>
                  </a:lnTo>
                  <a:lnTo>
                    <a:pt x="930" y="1212"/>
                  </a:lnTo>
                  <a:lnTo>
                    <a:pt x="918" y="1218"/>
                  </a:lnTo>
                  <a:lnTo>
                    <a:pt x="918" y="1230"/>
                  </a:lnTo>
                  <a:lnTo>
                    <a:pt x="906" y="1230"/>
                  </a:lnTo>
                  <a:lnTo>
                    <a:pt x="900" y="1254"/>
                  </a:lnTo>
                  <a:lnTo>
                    <a:pt x="900" y="1260"/>
                  </a:lnTo>
                  <a:lnTo>
                    <a:pt x="900" y="1266"/>
                  </a:lnTo>
                  <a:lnTo>
                    <a:pt x="900" y="1272"/>
                  </a:lnTo>
                  <a:lnTo>
                    <a:pt x="900" y="1278"/>
                  </a:lnTo>
                  <a:lnTo>
                    <a:pt x="900" y="1284"/>
                  </a:lnTo>
                  <a:lnTo>
                    <a:pt x="906" y="129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1" name="Freeform 26">
              <a:extLst>
                <a:ext uri="{FF2B5EF4-FFF2-40B4-BE49-F238E27FC236}">
                  <a16:creationId xmlns:a16="http://schemas.microsoft.com/office/drawing/2014/main" id="{25725EFE-FE00-49A8-A87A-6752B785C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79173" y="3477313"/>
              <a:ext cx="650731" cy="559125"/>
            </a:xfrm>
            <a:custGeom>
              <a:avLst/>
              <a:gdLst>
                <a:gd name="T0" fmla="*/ 95 w 1224"/>
                <a:gd name="T1" fmla="*/ 89 h 1050"/>
                <a:gd name="T2" fmla="*/ 90 w 1224"/>
                <a:gd name="T3" fmla="*/ 84 h 1050"/>
                <a:gd name="T4" fmla="*/ 84 w 1224"/>
                <a:gd name="T5" fmla="*/ 83 h 1050"/>
                <a:gd name="T6" fmla="*/ 82 w 1224"/>
                <a:gd name="T7" fmla="*/ 80 h 1050"/>
                <a:gd name="T8" fmla="*/ 85 w 1224"/>
                <a:gd name="T9" fmla="*/ 77 h 1050"/>
                <a:gd name="T10" fmla="*/ 81 w 1224"/>
                <a:gd name="T11" fmla="*/ 76 h 1050"/>
                <a:gd name="T12" fmla="*/ 77 w 1224"/>
                <a:gd name="T13" fmla="*/ 77 h 1050"/>
                <a:gd name="T14" fmla="*/ 78 w 1224"/>
                <a:gd name="T15" fmla="*/ 73 h 1050"/>
                <a:gd name="T16" fmla="*/ 59 w 1224"/>
                <a:gd name="T17" fmla="*/ 71 h 1050"/>
                <a:gd name="T18" fmla="*/ 41 w 1224"/>
                <a:gd name="T19" fmla="*/ 73 h 1050"/>
                <a:gd name="T20" fmla="*/ 33 w 1224"/>
                <a:gd name="T21" fmla="*/ 71 h 1050"/>
                <a:gd name="T22" fmla="*/ 30 w 1224"/>
                <a:gd name="T23" fmla="*/ 75 h 1050"/>
                <a:gd name="T24" fmla="*/ 27 w 1224"/>
                <a:gd name="T25" fmla="*/ 80 h 1050"/>
                <a:gd name="T26" fmla="*/ 12 w 1224"/>
                <a:gd name="T27" fmla="*/ 81 h 1050"/>
                <a:gd name="T28" fmla="*/ 9 w 1224"/>
                <a:gd name="T29" fmla="*/ 84 h 1050"/>
                <a:gd name="T30" fmla="*/ 6 w 1224"/>
                <a:gd name="T31" fmla="*/ 83 h 1050"/>
                <a:gd name="T32" fmla="*/ 1 w 1224"/>
                <a:gd name="T33" fmla="*/ 83 h 1050"/>
                <a:gd name="T34" fmla="*/ 3 w 1224"/>
                <a:gd name="T35" fmla="*/ 77 h 1050"/>
                <a:gd name="T36" fmla="*/ 5 w 1224"/>
                <a:gd name="T37" fmla="*/ 70 h 1050"/>
                <a:gd name="T38" fmla="*/ 2 w 1224"/>
                <a:gd name="T39" fmla="*/ 65 h 1050"/>
                <a:gd name="T40" fmla="*/ 3 w 1224"/>
                <a:gd name="T41" fmla="*/ 58 h 1050"/>
                <a:gd name="T42" fmla="*/ 4 w 1224"/>
                <a:gd name="T43" fmla="*/ 51 h 1050"/>
                <a:gd name="T44" fmla="*/ 3 w 1224"/>
                <a:gd name="T45" fmla="*/ 47 h 1050"/>
                <a:gd name="T46" fmla="*/ 4 w 1224"/>
                <a:gd name="T47" fmla="*/ 39 h 1050"/>
                <a:gd name="T48" fmla="*/ 6 w 1224"/>
                <a:gd name="T49" fmla="*/ 29 h 1050"/>
                <a:gd name="T50" fmla="*/ 3 w 1224"/>
                <a:gd name="T51" fmla="*/ 22 h 1050"/>
                <a:gd name="T52" fmla="*/ 2 w 1224"/>
                <a:gd name="T53" fmla="*/ 14 h 1050"/>
                <a:gd name="T54" fmla="*/ 0 w 1224"/>
                <a:gd name="T55" fmla="*/ 6 h 1050"/>
                <a:gd name="T56" fmla="*/ 9 w 1224"/>
                <a:gd name="T57" fmla="*/ 1 h 1050"/>
                <a:gd name="T58" fmla="*/ 11 w 1224"/>
                <a:gd name="T59" fmla="*/ 8 h 1050"/>
                <a:gd name="T60" fmla="*/ 15 w 1224"/>
                <a:gd name="T61" fmla="*/ 9 h 1050"/>
                <a:gd name="T62" fmla="*/ 18 w 1224"/>
                <a:gd name="T63" fmla="*/ 8 h 1050"/>
                <a:gd name="T64" fmla="*/ 18 w 1224"/>
                <a:gd name="T65" fmla="*/ 13 h 1050"/>
                <a:gd name="T66" fmla="*/ 17 w 1224"/>
                <a:gd name="T67" fmla="*/ 15 h 1050"/>
                <a:gd name="T68" fmla="*/ 17 w 1224"/>
                <a:gd name="T69" fmla="*/ 17 h 1050"/>
                <a:gd name="T70" fmla="*/ 17 w 1224"/>
                <a:gd name="T71" fmla="*/ 21 h 1050"/>
                <a:gd name="T72" fmla="*/ 21 w 1224"/>
                <a:gd name="T73" fmla="*/ 25 h 1050"/>
                <a:gd name="T74" fmla="*/ 24 w 1224"/>
                <a:gd name="T75" fmla="*/ 31 h 1050"/>
                <a:gd name="T76" fmla="*/ 35 w 1224"/>
                <a:gd name="T77" fmla="*/ 34 h 1050"/>
                <a:gd name="T78" fmla="*/ 40 w 1224"/>
                <a:gd name="T79" fmla="*/ 27 h 1050"/>
                <a:gd name="T80" fmla="*/ 46 w 1224"/>
                <a:gd name="T81" fmla="*/ 30 h 1050"/>
                <a:gd name="T82" fmla="*/ 51 w 1224"/>
                <a:gd name="T83" fmla="*/ 27 h 1050"/>
                <a:gd name="T84" fmla="*/ 59 w 1224"/>
                <a:gd name="T85" fmla="*/ 39 h 1050"/>
                <a:gd name="T86" fmla="*/ 59 w 1224"/>
                <a:gd name="T87" fmla="*/ 45 h 1050"/>
                <a:gd name="T88" fmla="*/ 72 w 1224"/>
                <a:gd name="T89" fmla="*/ 45 h 1050"/>
                <a:gd name="T90" fmla="*/ 79 w 1224"/>
                <a:gd name="T91" fmla="*/ 44 h 1050"/>
                <a:gd name="T92" fmla="*/ 87 w 1224"/>
                <a:gd name="T93" fmla="*/ 48 h 1050"/>
                <a:gd name="T94" fmla="*/ 93 w 1224"/>
                <a:gd name="T95" fmla="*/ 50 h 1050"/>
                <a:gd name="T96" fmla="*/ 98 w 1224"/>
                <a:gd name="T97" fmla="*/ 51 h 1050"/>
                <a:gd name="T98" fmla="*/ 106 w 1224"/>
                <a:gd name="T99" fmla="*/ 50 h 1050"/>
                <a:gd name="T100" fmla="*/ 104 w 1224"/>
                <a:gd name="T101" fmla="*/ 54 h 1050"/>
                <a:gd name="T102" fmla="*/ 104 w 1224"/>
                <a:gd name="T103" fmla="*/ 60 h 1050"/>
                <a:gd name="T104" fmla="*/ 101 w 1224"/>
                <a:gd name="T105" fmla="*/ 63 h 1050"/>
                <a:gd name="T106" fmla="*/ 98 w 1224"/>
                <a:gd name="T107" fmla="*/ 66 h 1050"/>
                <a:gd name="T108" fmla="*/ 95 w 1224"/>
                <a:gd name="T109" fmla="*/ 68 h 1050"/>
                <a:gd name="T110" fmla="*/ 93 w 1224"/>
                <a:gd name="T111" fmla="*/ 72 h 1050"/>
                <a:gd name="T112" fmla="*/ 98 w 1224"/>
                <a:gd name="T113" fmla="*/ 75 h 1050"/>
                <a:gd name="T114" fmla="*/ 102 w 1224"/>
                <a:gd name="T115" fmla="*/ 77 h 1050"/>
                <a:gd name="T116" fmla="*/ 107 w 1224"/>
                <a:gd name="T117" fmla="*/ 76 h 1050"/>
                <a:gd name="T118" fmla="*/ 104 w 1224"/>
                <a:gd name="T119" fmla="*/ 84 h 1050"/>
                <a:gd name="T120" fmla="*/ 103 w 1224"/>
                <a:gd name="T121" fmla="*/ 87 h 1050"/>
                <a:gd name="T122" fmla="*/ 104 w 1224"/>
                <a:gd name="T123" fmla="*/ 91 h 105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24"/>
                <a:gd name="T187" fmla="*/ 0 h 1050"/>
                <a:gd name="T188" fmla="*/ 1224 w 1224"/>
                <a:gd name="T189" fmla="*/ 1050 h 105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24" h="1050">
                  <a:moveTo>
                    <a:pt x="1128" y="1032"/>
                  </a:moveTo>
                  <a:lnTo>
                    <a:pt x="1122" y="1026"/>
                  </a:lnTo>
                  <a:lnTo>
                    <a:pt x="1116" y="1026"/>
                  </a:lnTo>
                  <a:lnTo>
                    <a:pt x="1110" y="1026"/>
                  </a:lnTo>
                  <a:lnTo>
                    <a:pt x="1104" y="1026"/>
                  </a:lnTo>
                  <a:lnTo>
                    <a:pt x="1104" y="1020"/>
                  </a:lnTo>
                  <a:lnTo>
                    <a:pt x="1098" y="1020"/>
                  </a:lnTo>
                  <a:lnTo>
                    <a:pt x="1092" y="1020"/>
                  </a:lnTo>
                  <a:lnTo>
                    <a:pt x="1086" y="1020"/>
                  </a:lnTo>
                  <a:lnTo>
                    <a:pt x="1080" y="1014"/>
                  </a:lnTo>
                  <a:lnTo>
                    <a:pt x="1068" y="1014"/>
                  </a:lnTo>
                  <a:lnTo>
                    <a:pt x="1062" y="1014"/>
                  </a:lnTo>
                  <a:lnTo>
                    <a:pt x="1062" y="1008"/>
                  </a:lnTo>
                  <a:lnTo>
                    <a:pt x="1062" y="990"/>
                  </a:lnTo>
                  <a:lnTo>
                    <a:pt x="1062" y="984"/>
                  </a:lnTo>
                  <a:lnTo>
                    <a:pt x="1062" y="972"/>
                  </a:lnTo>
                  <a:lnTo>
                    <a:pt x="1044" y="966"/>
                  </a:lnTo>
                  <a:lnTo>
                    <a:pt x="1026" y="966"/>
                  </a:lnTo>
                  <a:lnTo>
                    <a:pt x="1014" y="966"/>
                  </a:lnTo>
                  <a:lnTo>
                    <a:pt x="996" y="966"/>
                  </a:lnTo>
                  <a:lnTo>
                    <a:pt x="996" y="972"/>
                  </a:lnTo>
                  <a:lnTo>
                    <a:pt x="990" y="972"/>
                  </a:lnTo>
                  <a:lnTo>
                    <a:pt x="984" y="966"/>
                  </a:lnTo>
                  <a:lnTo>
                    <a:pt x="978" y="966"/>
                  </a:lnTo>
                  <a:lnTo>
                    <a:pt x="978" y="960"/>
                  </a:lnTo>
                  <a:lnTo>
                    <a:pt x="972" y="954"/>
                  </a:lnTo>
                  <a:lnTo>
                    <a:pt x="966" y="954"/>
                  </a:lnTo>
                  <a:lnTo>
                    <a:pt x="960" y="954"/>
                  </a:lnTo>
                  <a:lnTo>
                    <a:pt x="954" y="954"/>
                  </a:lnTo>
                  <a:lnTo>
                    <a:pt x="954" y="948"/>
                  </a:lnTo>
                  <a:lnTo>
                    <a:pt x="942" y="942"/>
                  </a:lnTo>
                  <a:lnTo>
                    <a:pt x="936" y="942"/>
                  </a:lnTo>
                  <a:lnTo>
                    <a:pt x="936" y="936"/>
                  </a:lnTo>
                  <a:lnTo>
                    <a:pt x="936" y="930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42" y="918"/>
                  </a:lnTo>
                  <a:lnTo>
                    <a:pt x="948" y="918"/>
                  </a:lnTo>
                  <a:lnTo>
                    <a:pt x="960" y="918"/>
                  </a:lnTo>
                  <a:lnTo>
                    <a:pt x="966" y="912"/>
                  </a:lnTo>
                  <a:lnTo>
                    <a:pt x="978" y="906"/>
                  </a:lnTo>
                  <a:lnTo>
                    <a:pt x="978" y="900"/>
                  </a:lnTo>
                  <a:lnTo>
                    <a:pt x="978" y="894"/>
                  </a:lnTo>
                  <a:lnTo>
                    <a:pt x="978" y="888"/>
                  </a:lnTo>
                  <a:lnTo>
                    <a:pt x="972" y="888"/>
                  </a:lnTo>
                  <a:lnTo>
                    <a:pt x="978" y="888"/>
                  </a:lnTo>
                  <a:lnTo>
                    <a:pt x="978" y="882"/>
                  </a:lnTo>
                  <a:lnTo>
                    <a:pt x="972" y="876"/>
                  </a:lnTo>
                  <a:lnTo>
                    <a:pt x="966" y="870"/>
                  </a:lnTo>
                  <a:lnTo>
                    <a:pt x="954" y="876"/>
                  </a:lnTo>
                  <a:lnTo>
                    <a:pt x="948" y="876"/>
                  </a:lnTo>
                  <a:lnTo>
                    <a:pt x="942" y="870"/>
                  </a:lnTo>
                  <a:lnTo>
                    <a:pt x="936" y="876"/>
                  </a:lnTo>
                  <a:lnTo>
                    <a:pt x="930" y="876"/>
                  </a:lnTo>
                  <a:lnTo>
                    <a:pt x="924" y="882"/>
                  </a:lnTo>
                  <a:lnTo>
                    <a:pt x="912" y="888"/>
                  </a:lnTo>
                  <a:lnTo>
                    <a:pt x="906" y="894"/>
                  </a:lnTo>
                  <a:lnTo>
                    <a:pt x="900" y="900"/>
                  </a:lnTo>
                  <a:lnTo>
                    <a:pt x="894" y="888"/>
                  </a:lnTo>
                  <a:lnTo>
                    <a:pt x="888" y="894"/>
                  </a:lnTo>
                  <a:lnTo>
                    <a:pt x="882" y="888"/>
                  </a:lnTo>
                  <a:lnTo>
                    <a:pt x="876" y="894"/>
                  </a:lnTo>
                  <a:lnTo>
                    <a:pt x="876" y="888"/>
                  </a:lnTo>
                  <a:lnTo>
                    <a:pt x="876" y="882"/>
                  </a:lnTo>
                  <a:lnTo>
                    <a:pt x="876" y="876"/>
                  </a:lnTo>
                  <a:lnTo>
                    <a:pt x="870" y="858"/>
                  </a:lnTo>
                  <a:lnTo>
                    <a:pt x="864" y="858"/>
                  </a:lnTo>
                  <a:lnTo>
                    <a:pt x="870" y="852"/>
                  </a:lnTo>
                  <a:lnTo>
                    <a:pt x="870" y="846"/>
                  </a:lnTo>
                  <a:lnTo>
                    <a:pt x="876" y="846"/>
                  </a:lnTo>
                  <a:lnTo>
                    <a:pt x="882" y="846"/>
                  </a:lnTo>
                  <a:lnTo>
                    <a:pt x="888" y="840"/>
                  </a:lnTo>
                  <a:lnTo>
                    <a:pt x="894" y="834"/>
                  </a:lnTo>
                  <a:lnTo>
                    <a:pt x="894" y="828"/>
                  </a:lnTo>
                  <a:lnTo>
                    <a:pt x="894" y="816"/>
                  </a:lnTo>
                  <a:lnTo>
                    <a:pt x="858" y="810"/>
                  </a:lnTo>
                  <a:lnTo>
                    <a:pt x="858" y="816"/>
                  </a:lnTo>
                  <a:lnTo>
                    <a:pt x="852" y="816"/>
                  </a:lnTo>
                  <a:lnTo>
                    <a:pt x="780" y="816"/>
                  </a:lnTo>
                  <a:lnTo>
                    <a:pt x="750" y="816"/>
                  </a:lnTo>
                  <a:lnTo>
                    <a:pt x="684" y="816"/>
                  </a:lnTo>
                  <a:lnTo>
                    <a:pt x="636" y="816"/>
                  </a:lnTo>
                  <a:lnTo>
                    <a:pt x="612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0" y="816"/>
                  </a:lnTo>
                  <a:lnTo>
                    <a:pt x="480" y="822"/>
                  </a:lnTo>
                  <a:lnTo>
                    <a:pt x="480" y="834"/>
                  </a:lnTo>
                  <a:lnTo>
                    <a:pt x="474" y="840"/>
                  </a:lnTo>
                  <a:lnTo>
                    <a:pt x="468" y="840"/>
                  </a:lnTo>
                  <a:lnTo>
                    <a:pt x="432" y="840"/>
                  </a:lnTo>
                  <a:lnTo>
                    <a:pt x="426" y="834"/>
                  </a:lnTo>
                  <a:lnTo>
                    <a:pt x="420" y="834"/>
                  </a:lnTo>
                  <a:lnTo>
                    <a:pt x="420" y="828"/>
                  </a:lnTo>
                  <a:lnTo>
                    <a:pt x="414" y="822"/>
                  </a:lnTo>
                  <a:lnTo>
                    <a:pt x="408" y="822"/>
                  </a:lnTo>
                  <a:lnTo>
                    <a:pt x="396" y="822"/>
                  </a:lnTo>
                  <a:lnTo>
                    <a:pt x="396" y="816"/>
                  </a:lnTo>
                  <a:lnTo>
                    <a:pt x="384" y="816"/>
                  </a:lnTo>
                  <a:lnTo>
                    <a:pt x="372" y="810"/>
                  </a:lnTo>
                  <a:lnTo>
                    <a:pt x="372" y="804"/>
                  </a:lnTo>
                  <a:lnTo>
                    <a:pt x="366" y="804"/>
                  </a:lnTo>
                  <a:lnTo>
                    <a:pt x="360" y="804"/>
                  </a:lnTo>
                  <a:lnTo>
                    <a:pt x="348" y="828"/>
                  </a:lnTo>
                  <a:lnTo>
                    <a:pt x="348" y="834"/>
                  </a:lnTo>
                  <a:lnTo>
                    <a:pt x="348" y="852"/>
                  </a:lnTo>
                  <a:lnTo>
                    <a:pt x="348" y="858"/>
                  </a:lnTo>
                  <a:lnTo>
                    <a:pt x="342" y="864"/>
                  </a:lnTo>
                  <a:lnTo>
                    <a:pt x="342" y="870"/>
                  </a:lnTo>
                  <a:lnTo>
                    <a:pt x="330" y="876"/>
                  </a:lnTo>
                  <a:lnTo>
                    <a:pt x="324" y="888"/>
                  </a:lnTo>
                  <a:lnTo>
                    <a:pt x="324" y="894"/>
                  </a:lnTo>
                  <a:lnTo>
                    <a:pt x="330" y="900"/>
                  </a:lnTo>
                  <a:lnTo>
                    <a:pt x="330" y="906"/>
                  </a:lnTo>
                  <a:lnTo>
                    <a:pt x="324" y="906"/>
                  </a:lnTo>
                  <a:lnTo>
                    <a:pt x="318" y="912"/>
                  </a:lnTo>
                  <a:lnTo>
                    <a:pt x="312" y="918"/>
                  </a:lnTo>
                  <a:lnTo>
                    <a:pt x="306" y="924"/>
                  </a:lnTo>
                  <a:lnTo>
                    <a:pt x="288" y="924"/>
                  </a:lnTo>
                  <a:lnTo>
                    <a:pt x="282" y="924"/>
                  </a:lnTo>
                  <a:lnTo>
                    <a:pt x="276" y="930"/>
                  </a:lnTo>
                  <a:lnTo>
                    <a:pt x="270" y="930"/>
                  </a:lnTo>
                  <a:lnTo>
                    <a:pt x="264" y="930"/>
                  </a:lnTo>
                  <a:lnTo>
                    <a:pt x="198" y="930"/>
                  </a:lnTo>
                  <a:lnTo>
                    <a:pt x="132" y="930"/>
                  </a:lnTo>
                  <a:lnTo>
                    <a:pt x="132" y="936"/>
                  </a:lnTo>
                  <a:lnTo>
                    <a:pt x="132" y="942"/>
                  </a:lnTo>
                  <a:lnTo>
                    <a:pt x="132" y="948"/>
                  </a:lnTo>
                  <a:lnTo>
                    <a:pt x="126" y="948"/>
                  </a:lnTo>
                  <a:lnTo>
                    <a:pt x="120" y="948"/>
                  </a:lnTo>
                  <a:lnTo>
                    <a:pt x="120" y="954"/>
                  </a:lnTo>
                  <a:lnTo>
                    <a:pt x="114" y="954"/>
                  </a:lnTo>
                  <a:lnTo>
                    <a:pt x="114" y="960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02" y="966"/>
                  </a:lnTo>
                  <a:lnTo>
                    <a:pt x="102" y="972"/>
                  </a:lnTo>
                  <a:lnTo>
                    <a:pt x="96" y="972"/>
                  </a:lnTo>
                  <a:lnTo>
                    <a:pt x="96" y="966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78" y="960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60"/>
                  </a:lnTo>
                  <a:lnTo>
                    <a:pt x="54" y="966"/>
                  </a:lnTo>
                  <a:lnTo>
                    <a:pt x="48" y="966"/>
                  </a:lnTo>
                  <a:lnTo>
                    <a:pt x="42" y="966"/>
                  </a:lnTo>
                  <a:lnTo>
                    <a:pt x="36" y="966"/>
                  </a:lnTo>
                  <a:lnTo>
                    <a:pt x="30" y="966"/>
                  </a:lnTo>
                  <a:lnTo>
                    <a:pt x="24" y="960"/>
                  </a:lnTo>
                  <a:lnTo>
                    <a:pt x="18" y="960"/>
                  </a:lnTo>
                  <a:lnTo>
                    <a:pt x="12" y="960"/>
                  </a:lnTo>
                  <a:lnTo>
                    <a:pt x="12" y="948"/>
                  </a:lnTo>
                  <a:lnTo>
                    <a:pt x="18" y="942"/>
                  </a:lnTo>
                  <a:lnTo>
                    <a:pt x="18" y="936"/>
                  </a:lnTo>
                  <a:lnTo>
                    <a:pt x="18" y="930"/>
                  </a:lnTo>
                  <a:lnTo>
                    <a:pt x="18" y="924"/>
                  </a:lnTo>
                  <a:lnTo>
                    <a:pt x="18" y="912"/>
                  </a:lnTo>
                  <a:lnTo>
                    <a:pt x="24" y="906"/>
                  </a:lnTo>
                  <a:lnTo>
                    <a:pt x="30" y="900"/>
                  </a:lnTo>
                  <a:lnTo>
                    <a:pt x="36" y="894"/>
                  </a:lnTo>
                  <a:lnTo>
                    <a:pt x="36" y="882"/>
                  </a:lnTo>
                  <a:lnTo>
                    <a:pt x="30" y="876"/>
                  </a:lnTo>
                  <a:lnTo>
                    <a:pt x="30" y="870"/>
                  </a:lnTo>
                  <a:lnTo>
                    <a:pt x="24" y="858"/>
                  </a:lnTo>
                  <a:lnTo>
                    <a:pt x="24" y="846"/>
                  </a:lnTo>
                  <a:lnTo>
                    <a:pt x="36" y="822"/>
                  </a:lnTo>
                  <a:lnTo>
                    <a:pt x="42" y="816"/>
                  </a:lnTo>
                  <a:lnTo>
                    <a:pt x="48" y="816"/>
                  </a:lnTo>
                  <a:lnTo>
                    <a:pt x="60" y="804"/>
                  </a:lnTo>
                  <a:lnTo>
                    <a:pt x="60" y="786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54" y="762"/>
                  </a:lnTo>
                  <a:lnTo>
                    <a:pt x="42" y="762"/>
                  </a:lnTo>
                  <a:lnTo>
                    <a:pt x="36" y="762"/>
                  </a:lnTo>
                  <a:lnTo>
                    <a:pt x="30" y="762"/>
                  </a:lnTo>
                  <a:lnTo>
                    <a:pt x="30" y="756"/>
                  </a:lnTo>
                  <a:lnTo>
                    <a:pt x="24" y="750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702"/>
                  </a:lnTo>
                  <a:lnTo>
                    <a:pt x="36" y="684"/>
                  </a:lnTo>
                  <a:lnTo>
                    <a:pt x="36" y="678"/>
                  </a:lnTo>
                  <a:lnTo>
                    <a:pt x="36" y="666"/>
                  </a:lnTo>
                  <a:lnTo>
                    <a:pt x="36" y="654"/>
                  </a:lnTo>
                  <a:lnTo>
                    <a:pt x="18" y="654"/>
                  </a:lnTo>
                  <a:lnTo>
                    <a:pt x="18" y="648"/>
                  </a:lnTo>
                  <a:lnTo>
                    <a:pt x="18" y="618"/>
                  </a:lnTo>
                  <a:lnTo>
                    <a:pt x="18" y="612"/>
                  </a:lnTo>
                  <a:lnTo>
                    <a:pt x="24" y="612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54" y="588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76"/>
                  </a:lnTo>
                  <a:lnTo>
                    <a:pt x="48" y="564"/>
                  </a:lnTo>
                  <a:lnTo>
                    <a:pt x="42" y="564"/>
                  </a:lnTo>
                  <a:lnTo>
                    <a:pt x="36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6" y="540"/>
                  </a:lnTo>
                  <a:lnTo>
                    <a:pt x="48" y="534"/>
                  </a:lnTo>
                  <a:lnTo>
                    <a:pt x="54" y="528"/>
                  </a:lnTo>
                  <a:lnTo>
                    <a:pt x="60" y="504"/>
                  </a:lnTo>
                  <a:lnTo>
                    <a:pt x="60" y="492"/>
                  </a:lnTo>
                  <a:lnTo>
                    <a:pt x="54" y="492"/>
                  </a:lnTo>
                  <a:lnTo>
                    <a:pt x="54" y="480"/>
                  </a:lnTo>
                  <a:lnTo>
                    <a:pt x="48" y="456"/>
                  </a:lnTo>
                  <a:lnTo>
                    <a:pt x="42" y="450"/>
                  </a:lnTo>
                  <a:lnTo>
                    <a:pt x="36" y="444"/>
                  </a:lnTo>
                  <a:lnTo>
                    <a:pt x="36" y="420"/>
                  </a:lnTo>
                  <a:lnTo>
                    <a:pt x="36" y="408"/>
                  </a:lnTo>
                  <a:lnTo>
                    <a:pt x="36" y="37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60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6" y="300"/>
                  </a:lnTo>
                  <a:lnTo>
                    <a:pt x="60" y="294"/>
                  </a:lnTo>
                  <a:lnTo>
                    <a:pt x="60" y="288"/>
                  </a:lnTo>
                  <a:lnTo>
                    <a:pt x="54" y="282"/>
                  </a:lnTo>
                  <a:lnTo>
                    <a:pt x="42" y="276"/>
                  </a:lnTo>
                  <a:lnTo>
                    <a:pt x="36" y="276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0" y="252"/>
                  </a:lnTo>
                  <a:lnTo>
                    <a:pt x="24" y="246"/>
                  </a:lnTo>
                  <a:lnTo>
                    <a:pt x="24" y="240"/>
                  </a:lnTo>
                  <a:lnTo>
                    <a:pt x="24" y="228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62"/>
                  </a:lnTo>
                  <a:lnTo>
                    <a:pt x="24" y="144"/>
                  </a:lnTo>
                  <a:lnTo>
                    <a:pt x="24" y="132"/>
                  </a:lnTo>
                  <a:lnTo>
                    <a:pt x="24" y="114"/>
                  </a:lnTo>
                  <a:lnTo>
                    <a:pt x="24" y="102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18" y="48"/>
                  </a:lnTo>
                  <a:lnTo>
                    <a:pt x="42" y="36"/>
                  </a:lnTo>
                  <a:lnTo>
                    <a:pt x="54" y="24"/>
                  </a:lnTo>
                  <a:lnTo>
                    <a:pt x="60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10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14" y="60"/>
                  </a:lnTo>
                  <a:lnTo>
                    <a:pt x="120" y="60"/>
                  </a:lnTo>
                  <a:lnTo>
                    <a:pt x="114" y="84"/>
                  </a:lnTo>
                  <a:lnTo>
                    <a:pt x="120" y="90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38" y="114"/>
                  </a:lnTo>
                  <a:lnTo>
                    <a:pt x="138" y="132"/>
                  </a:lnTo>
                  <a:lnTo>
                    <a:pt x="162" y="126"/>
                  </a:lnTo>
                  <a:lnTo>
                    <a:pt x="162" y="114"/>
                  </a:lnTo>
                  <a:lnTo>
                    <a:pt x="174" y="108"/>
                  </a:lnTo>
                  <a:lnTo>
                    <a:pt x="174" y="102"/>
                  </a:lnTo>
                  <a:lnTo>
                    <a:pt x="180" y="96"/>
                  </a:lnTo>
                  <a:lnTo>
                    <a:pt x="180" y="60"/>
                  </a:lnTo>
                  <a:lnTo>
                    <a:pt x="192" y="60"/>
                  </a:lnTo>
                  <a:lnTo>
                    <a:pt x="192" y="72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04" y="108"/>
                  </a:lnTo>
                  <a:lnTo>
                    <a:pt x="204" y="114"/>
                  </a:lnTo>
                  <a:lnTo>
                    <a:pt x="204" y="120"/>
                  </a:lnTo>
                  <a:lnTo>
                    <a:pt x="204" y="126"/>
                  </a:lnTo>
                  <a:lnTo>
                    <a:pt x="210" y="126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8" y="174"/>
                  </a:lnTo>
                  <a:lnTo>
                    <a:pt x="198" y="180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86" y="204"/>
                  </a:lnTo>
                  <a:lnTo>
                    <a:pt x="186" y="210"/>
                  </a:lnTo>
                  <a:lnTo>
                    <a:pt x="180" y="210"/>
                  </a:lnTo>
                  <a:lnTo>
                    <a:pt x="180" y="216"/>
                  </a:lnTo>
                  <a:lnTo>
                    <a:pt x="180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92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8" y="258"/>
                  </a:lnTo>
                  <a:lnTo>
                    <a:pt x="204" y="258"/>
                  </a:lnTo>
                  <a:lnTo>
                    <a:pt x="210" y="258"/>
                  </a:lnTo>
                  <a:lnTo>
                    <a:pt x="216" y="258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34" y="276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46" y="306"/>
                  </a:lnTo>
                  <a:lnTo>
                    <a:pt x="252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42"/>
                  </a:lnTo>
                  <a:lnTo>
                    <a:pt x="270" y="342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88" y="366"/>
                  </a:lnTo>
                  <a:lnTo>
                    <a:pt x="336" y="360"/>
                  </a:lnTo>
                  <a:lnTo>
                    <a:pt x="354" y="360"/>
                  </a:lnTo>
                  <a:lnTo>
                    <a:pt x="366" y="372"/>
                  </a:lnTo>
                  <a:lnTo>
                    <a:pt x="378" y="378"/>
                  </a:lnTo>
                  <a:lnTo>
                    <a:pt x="378" y="390"/>
                  </a:lnTo>
                  <a:lnTo>
                    <a:pt x="384" y="390"/>
                  </a:lnTo>
                  <a:lnTo>
                    <a:pt x="390" y="396"/>
                  </a:lnTo>
                  <a:lnTo>
                    <a:pt x="408" y="390"/>
                  </a:lnTo>
                  <a:lnTo>
                    <a:pt x="426" y="366"/>
                  </a:lnTo>
                  <a:lnTo>
                    <a:pt x="432" y="360"/>
                  </a:lnTo>
                  <a:lnTo>
                    <a:pt x="438" y="348"/>
                  </a:lnTo>
                  <a:lnTo>
                    <a:pt x="438" y="342"/>
                  </a:lnTo>
                  <a:lnTo>
                    <a:pt x="438" y="330"/>
                  </a:lnTo>
                  <a:lnTo>
                    <a:pt x="444" y="324"/>
                  </a:lnTo>
                  <a:lnTo>
                    <a:pt x="450" y="318"/>
                  </a:lnTo>
                  <a:lnTo>
                    <a:pt x="456" y="312"/>
                  </a:lnTo>
                  <a:lnTo>
                    <a:pt x="456" y="306"/>
                  </a:lnTo>
                  <a:lnTo>
                    <a:pt x="456" y="300"/>
                  </a:lnTo>
                  <a:lnTo>
                    <a:pt x="474" y="288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92" y="294"/>
                  </a:lnTo>
                  <a:lnTo>
                    <a:pt x="492" y="318"/>
                  </a:lnTo>
                  <a:lnTo>
                    <a:pt x="504" y="324"/>
                  </a:lnTo>
                  <a:lnTo>
                    <a:pt x="492" y="348"/>
                  </a:lnTo>
                  <a:lnTo>
                    <a:pt x="522" y="348"/>
                  </a:lnTo>
                  <a:lnTo>
                    <a:pt x="528" y="342"/>
                  </a:lnTo>
                  <a:lnTo>
                    <a:pt x="528" y="336"/>
                  </a:lnTo>
                  <a:lnTo>
                    <a:pt x="528" y="330"/>
                  </a:lnTo>
                  <a:lnTo>
                    <a:pt x="534" y="330"/>
                  </a:lnTo>
                  <a:lnTo>
                    <a:pt x="540" y="330"/>
                  </a:lnTo>
                  <a:lnTo>
                    <a:pt x="546" y="330"/>
                  </a:lnTo>
                  <a:lnTo>
                    <a:pt x="552" y="324"/>
                  </a:lnTo>
                  <a:lnTo>
                    <a:pt x="558" y="318"/>
                  </a:lnTo>
                  <a:lnTo>
                    <a:pt x="576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8" y="348"/>
                  </a:lnTo>
                  <a:lnTo>
                    <a:pt x="654" y="354"/>
                  </a:lnTo>
                  <a:lnTo>
                    <a:pt x="648" y="402"/>
                  </a:lnTo>
                  <a:lnTo>
                    <a:pt x="678" y="402"/>
                  </a:lnTo>
                  <a:lnTo>
                    <a:pt x="678" y="420"/>
                  </a:lnTo>
                  <a:lnTo>
                    <a:pt x="684" y="438"/>
                  </a:lnTo>
                  <a:lnTo>
                    <a:pt x="684" y="450"/>
                  </a:lnTo>
                  <a:lnTo>
                    <a:pt x="684" y="456"/>
                  </a:lnTo>
                  <a:lnTo>
                    <a:pt x="690" y="468"/>
                  </a:lnTo>
                  <a:lnTo>
                    <a:pt x="690" y="474"/>
                  </a:lnTo>
                  <a:lnTo>
                    <a:pt x="690" y="480"/>
                  </a:lnTo>
                  <a:lnTo>
                    <a:pt x="696" y="486"/>
                  </a:lnTo>
                  <a:lnTo>
                    <a:pt x="696" y="498"/>
                  </a:lnTo>
                  <a:lnTo>
                    <a:pt x="702" y="504"/>
                  </a:lnTo>
                  <a:lnTo>
                    <a:pt x="690" y="516"/>
                  </a:lnTo>
                  <a:lnTo>
                    <a:pt x="678" y="522"/>
                  </a:lnTo>
                  <a:lnTo>
                    <a:pt x="654" y="528"/>
                  </a:lnTo>
                  <a:lnTo>
                    <a:pt x="660" y="546"/>
                  </a:lnTo>
                  <a:lnTo>
                    <a:pt x="672" y="546"/>
                  </a:lnTo>
                  <a:lnTo>
                    <a:pt x="678" y="540"/>
                  </a:lnTo>
                  <a:lnTo>
                    <a:pt x="714" y="540"/>
                  </a:lnTo>
                  <a:lnTo>
                    <a:pt x="798" y="540"/>
                  </a:lnTo>
                  <a:lnTo>
                    <a:pt x="804" y="540"/>
                  </a:lnTo>
                  <a:lnTo>
                    <a:pt x="816" y="528"/>
                  </a:lnTo>
                  <a:lnTo>
                    <a:pt x="822" y="522"/>
                  </a:lnTo>
                  <a:lnTo>
                    <a:pt x="834" y="516"/>
                  </a:lnTo>
                  <a:lnTo>
                    <a:pt x="846" y="516"/>
                  </a:lnTo>
                  <a:lnTo>
                    <a:pt x="852" y="510"/>
                  </a:lnTo>
                  <a:lnTo>
                    <a:pt x="858" y="510"/>
                  </a:lnTo>
                  <a:lnTo>
                    <a:pt x="882" y="516"/>
                  </a:lnTo>
                  <a:lnTo>
                    <a:pt x="888" y="516"/>
                  </a:lnTo>
                  <a:lnTo>
                    <a:pt x="888" y="510"/>
                  </a:lnTo>
                  <a:lnTo>
                    <a:pt x="894" y="510"/>
                  </a:lnTo>
                  <a:lnTo>
                    <a:pt x="906" y="504"/>
                  </a:lnTo>
                  <a:lnTo>
                    <a:pt x="918" y="498"/>
                  </a:lnTo>
                  <a:lnTo>
                    <a:pt x="930" y="492"/>
                  </a:lnTo>
                  <a:lnTo>
                    <a:pt x="936" y="492"/>
                  </a:lnTo>
                  <a:lnTo>
                    <a:pt x="948" y="492"/>
                  </a:lnTo>
                  <a:lnTo>
                    <a:pt x="954" y="528"/>
                  </a:lnTo>
                  <a:lnTo>
                    <a:pt x="954" y="564"/>
                  </a:lnTo>
                  <a:lnTo>
                    <a:pt x="972" y="564"/>
                  </a:lnTo>
                  <a:lnTo>
                    <a:pt x="978" y="558"/>
                  </a:lnTo>
                  <a:lnTo>
                    <a:pt x="990" y="552"/>
                  </a:lnTo>
                  <a:lnTo>
                    <a:pt x="1002" y="540"/>
                  </a:lnTo>
                  <a:lnTo>
                    <a:pt x="1026" y="534"/>
                  </a:lnTo>
                  <a:lnTo>
                    <a:pt x="1032" y="540"/>
                  </a:lnTo>
                  <a:lnTo>
                    <a:pt x="1044" y="546"/>
                  </a:lnTo>
                  <a:lnTo>
                    <a:pt x="1062" y="552"/>
                  </a:lnTo>
                  <a:lnTo>
                    <a:pt x="1068" y="552"/>
                  </a:lnTo>
                  <a:lnTo>
                    <a:pt x="1068" y="570"/>
                  </a:lnTo>
                  <a:lnTo>
                    <a:pt x="1068" y="576"/>
                  </a:lnTo>
                  <a:lnTo>
                    <a:pt x="1068" y="582"/>
                  </a:lnTo>
                  <a:lnTo>
                    <a:pt x="1068" y="588"/>
                  </a:lnTo>
                  <a:lnTo>
                    <a:pt x="1068" y="594"/>
                  </a:lnTo>
                  <a:lnTo>
                    <a:pt x="1080" y="600"/>
                  </a:lnTo>
                  <a:lnTo>
                    <a:pt x="1086" y="606"/>
                  </a:lnTo>
                  <a:lnTo>
                    <a:pt x="1092" y="594"/>
                  </a:lnTo>
                  <a:lnTo>
                    <a:pt x="1104" y="588"/>
                  </a:lnTo>
                  <a:lnTo>
                    <a:pt x="1116" y="588"/>
                  </a:lnTo>
                  <a:lnTo>
                    <a:pt x="1122" y="588"/>
                  </a:lnTo>
                  <a:lnTo>
                    <a:pt x="1122" y="594"/>
                  </a:lnTo>
                  <a:lnTo>
                    <a:pt x="1128" y="594"/>
                  </a:lnTo>
                  <a:lnTo>
                    <a:pt x="1134" y="594"/>
                  </a:lnTo>
                  <a:lnTo>
                    <a:pt x="1140" y="594"/>
                  </a:lnTo>
                  <a:lnTo>
                    <a:pt x="1146" y="588"/>
                  </a:lnTo>
                  <a:lnTo>
                    <a:pt x="1158" y="582"/>
                  </a:lnTo>
                  <a:lnTo>
                    <a:pt x="1164" y="576"/>
                  </a:lnTo>
                  <a:lnTo>
                    <a:pt x="1176" y="576"/>
                  </a:lnTo>
                  <a:lnTo>
                    <a:pt x="1194" y="576"/>
                  </a:lnTo>
                  <a:lnTo>
                    <a:pt x="1218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24" y="594"/>
                  </a:lnTo>
                  <a:lnTo>
                    <a:pt x="1212" y="600"/>
                  </a:lnTo>
                  <a:lnTo>
                    <a:pt x="1206" y="606"/>
                  </a:lnTo>
                  <a:lnTo>
                    <a:pt x="1200" y="606"/>
                  </a:lnTo>
                  <a:lnTo>
                    <a:pt x="1200" y="612"/>
                  </a:lnTo>
                  <a:lnTo>
                    <a:pt x="1194" y="612"/>
                  </a:lnTo>
                  <a:lnTo>
                    <a:pt x="1194" y="618"/>
                  </a:lnTo>
                  <a:lnTo>
                    <a:pt x="1194" y="624"/>
                  </a:lnTo>
                  <a:lnTo>
                    <a:pt x="1194" y="630"/>
                  </a:lnTo>
                  <a:lnTo>
                    <a:pt x="1194" y="648"/>
                  </a:lnTo>
                  <a:lnTo>
                    <a:pt x="1194" y="660"/>
                  </a:lnTo>
                  <a:lnTo>
                    <a:pt x="1194" y="666"/>
                  </a:lnTo>
                  <a:lnTo>
                    <a:pt x="1194" y="672"/>
                  </a:lnTo>
                  <a:lnTo>
                    <a:pt x="1194" y="678"/>
                  </a:lnTo>
                  <a:lnTo>
                    <a:pt x="1188" y="684"/>
                  </a:lnTo>
                  <a:lnTo>
                    <a:pt x="1188" y="690"/>
                  </a:lnTo>
                  <a:lnTo>
                    <a:pt x="1188" y="696"/>
                  </a:lnTo>
                  <a:lnTo>
                    <a:pt x="1188" y="702"/>
                  </a:lnTo>
                  <a:lnTo>
                    <a:pt x="1188" y="708"/>
                  </a:lnTo>
                  <a:lnTo>
                    <a:pt x="1188" y="714"/>
                  </a:lnTo>
                  <a:lnTo>
                    <a:pt x="1182" y="720"/>
                  </a:lnTo>
                  <a:lnTo>
                    <a:pt x="1170" y="720"/>
                  </a:lnTo>
                  <a:lnTo>
                    <a:pt x="1158" y="726"/>
                  </a:lnTo>
                  <a:lnTo>
                    <a:pt x="1152" y="726"/>
                  </a:lnTo>
                  <a:lnTo>
                    <a:pt x="1152" y="732"/>
                  </a:lnTo>
                  <a:lnTo>
                    <a:pt x="1146" y="738"/>
                  </a:lnTo>
                  <a:lnTo>
                    <a:pt x="1140" y="738"/>
                  </a:lnTo>
                  <a:lnTo>
                    <a:pt x="1140" y="744"/>
                  </a:lnTo>
                  <a:lnTo>
                    <a:pt x="1134" y="744"/>
                  </a:lnTo>
                  <a:lnTo>
                    <a:pt x="1128" y="744"/>
                  </a:lnTo>
                  <a:lnTo>
                    <a:pt x="1122" y="750"/>
                  </a:lnTo>
                  <a:lnTo>
                    <a:pt x="1128" y="750"/>
                  </a:lnTo>
                  <a:lnTo>
                    <a:pt x="1122" y="756"/>
                  </a:lnTo>
                  <a:lnTo>
                    <a:pt x="1116" y="756"/>
                  </a:lnTo>
                  <a:lnTo>
                    <a:pt x="1110" y="762"/>
                  </a:lnTo>
                  <a:lnTo>
                    <a:pt x="1104" y="762"/>
                  </a:lnTo>
                  <a:lnTo>
                    <a:pt x="1104" y="768"/>
                  </a:lnTo>
                  <a:lnTo>
                    <a:pt x="1098" y="768"/>
                  </a:lnTo>
                  <a:lnTo>
                    <a:pt x="1098" y="774"/>
                  </a:lnTo>
                  <a:lnTo>
                    <a:pt x="1092" y="774"/>
                  </a:lnTo>
                  <a:lnTo>
                    <a:pt x="1092" y="780"/>
                  </a:lnTo>
                  <a:lnTo>
                    <a:pt x="1086" y="780"/>
                  </a:lnTo>
                  <a:lnTo>
                    <a:pt x="1086" y="786"/>
                  </a:lnTo>
                  <a:lnTo>
                    <a:pt x="1080" y="786"/>
                  </a:lnTo>
                  <a:lnTo>
                    <a:pt x="1080" y="792"/>
                  </a:lnTo>
                  <a:lnTo>
                    <a:pt x="1080" y="798"/>
                  </a:lnTo>
                  <a:lnTo>
                    <a:pt x="1080" y="804"/>
                  </a:lnTo>
                  <a:lnTo>
                    <a:pt x="1086" y="810"/>
                  </a:lnTo>
                  <a:lnTo>
                    <a:pt x="1080" y="816"/>
                  </a:lnTo>
                  <a:lnTo>
                    <a:pt x="1080" y="822"/>
                  </a:lnTo>
                  <a:lnTo>
                    <a:pt x="1074" y="822"/>
                  </a:lnTo>
                  <a:lnTo>
                    <a:pt x="1068" y="828"/>
                  </a:lnTo>
                  <a:lnTo>
                    <a:pt x="1074" y="828"/>
                  </a:lnTo>
                  <a:lnTo>
                    <a:pt x="1074" y="834"/>
                  </a:lnTo>
                  <a:lnTo>
                    <a:pt x="1080" y="846"/>
                  </a:lnTo>
                  <a:lnTo>
                    <a:pt x="1086" y="846"/>
                  </a:lnTo>
                  <a:lnTo>
                    <a:pt x="1092" y="852"/>
                  </a:lnTo>
                  <a:lnTo>
                    <a:pt x="1092" y="858"/>
                  </a:lnTo>
                  <a:lnTo>
                    <a:pt x="1098" y="858"/>
                  </a:lnTo>
                  <a:lnTo>
                    <a:pt x="1110" y="864"/>
                  </a:lnTo>
                  <a:lnTo>
                    <a:pt x="1116" y="864"/>
                  </a:lnTo>
                  <a:lnTo>
                    <a:pt x="1122" y="864"/>
                  </a:lnTo>
                  <a:lnTo>
                    <a:pt x="1128" y="864"/>
                  </a:lnTo>
                  <a:lnTo>
                    <a:pt x="1134" y="876"/>
                  </a:lnTo>
                  <a:lnTo>
                    <a:pt x="1140" y="882"/>
                  </a:lnTo>
                  <a:lnTo>
                    <a:pt x="1140" y="888"/>
                  </a:lnTo>
                  <a:lnTo>
                    <a:pt x="1152" y="918"/>
                  </a:lnTo>
                  <a:lnTo>
                    <a:pt x="1158" y="894"/>
                  </a:lnTo>
                  <a:lnTo>
                    <a:pt x="1164" y="888"/>
                  </a:lnTo>
                  <a:lnTo>
                    <a:pt x="1164" y="882"/>
                  </a:lnTo>
                  <a:lnTo>
                    <a:pt x="1176" y="864"/>
                  </a:lnTo>
                  <a:lnTo>
                    <a:pt x="1182" y="858"/>
                  </a:lnTo>
                  <a:lnTo>
                    <a:pt x="1188" y="846"/>
                  </a:lnTo>
                  <a:lnTo>
                    <a:pt x="1200" y="840"/>
                  </a:lnTo>
                  <a:lnTo>
                    <a:pt x="1212" y="840"/>
                  </a:lnTo>
                  <a:lnTo>
                    <a:pt x="1218" y="846"/>
                  </a:lnTo>
                  <a:lnTo>
                    <a:pt x="1224" y="858"/>
                  </a:lnTo>
                  <a:lnTo>
                    <a:pt x="1224" y="864"/>
                  </a:lnTo>
                  <a:lnTo>
                    <a:pt x="1224" y="876"/>
                  </a:lnTo>
                  <a:lnTo>
                    <a:pt x="1212" y="912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00" y="930"/>
                  </a:lnTo>
                  <a:lnTo>
                    <a:pt x="1200" y="942"/>
                  </a:lnTo>
                  <a:lnTo>
                    <a:pt x="1194" y="948"/>
                  </a:lnTo>
                  <a:lnTo>
                    <a:pt x="1194" y="960"/>
                  </a:lnTo>
                  <a:lnTo>
                    <a:pt x="1194" y="966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70" y="984"/>
                  </a:lnTo>
                  <a:lnTo>
                    <a:pt x="1164" y="984"/>
                  </a:lnTo>
                  <a:lnTo>
                    <a:pt x="1158" y="984"/>
                  </a:lnTo>
                  <a:lnTo>
                    <a:pt x="1146" y="984"/>
                  </a:lnTo>
                  <a:lnTo>
                    <a:pt x="1140" y="990"/>
                  </a:lnTo>
                  <a:lnTo>
                    <a:pt x="1140" y="996"/>
                  </a:lnTo>
                  <a:lnTo>
                    <a:pt x="1152" y="996"/>
                  </a:lnTo>
                  <a:lnTo>
                    <a:pt x="1176" y="1002"/>
                  </a:lnTo>
                  <a:lnTo>
                    <a:pt x="1194" y="1008"/>
                  </a:lnTo>
                  <a:lnTo>
                    <a:pt x="1206" y="1008"/>
                  </a:lnTo>
                  <a:lnTo>
                    <a:pt x="1218" y="1014"/>
                  </a:lnTo>
                  <a:lnTo>
                    <a:pt x="1212" y="1038"/>
                  </a:lnTo>
                  <a:lnTo>
                    <a:pt x="1212" y="1044"/>
                  </a:lnTo>
                  <a:lnTo>
                    <a:pt x="1206" y="1044"/>
                  </a:lnTo>
                  <a:lnTo>
                    <a:pt x="1206" y="1050"/>
                  </a:lnTo>
                  <a:lnTo>
                    <a:pt x="1194" y="1050"/>
                  </a:lnTo>
                  <a:lnTo>
                    <a:pt x="1188" y="1044"/>
                  </a:lnTo>
                  <a:lnTo>
                    <a:pt x="1158" y="1020"/>
                  </a:lnTo>
                  <a:lnTo>
                    <a:pt x="1152" y="1020"/>
                  </a:lnTo>
                  <a:lnTo>
                    <a:pt x="1140" y="1020"/>
                  </a:lnTo>
                  <a:lnTo>
                    <a:pt x="1134" y="1020"/>
                  </a:lnTo>
                  <a:lnTo>
                    <a:pt x="1134" y="1026"/>
                  </a:lnTo>
                  <a:lnTo>
                    <a:pt x="1134" y="1032"/>
                  </a:lnTo>
                  <a:lnTo>
                    <a:pt x="1128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2" name="Freeform 27">
              <a:extLst>
                <a:ext uri="{FF2B5EF4-FFF2-40B4-BE49-F238E27FC236}">
                  <a16:creationId xmlns:a16="http://schemas.microsoft.com/office/drawing/2014/main" id="{CE95C9DF-B651-4085-946F-65424BC51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2063" y="3421400"/>
              <a:ext cx="342138" cy="377969"/>
            </a:xfrm>
            <a:custGeom>
              <a:avLst/>
              <a:gdLst>
                <a:gd name="T0" fmla="*/ 43 w 642"/>
                <a:gd name="T1" fmla="*/ 41 h 708"/>
                <a:gd name="T2" fmla="*/ 39 w 642"/>
                <a:gd name="T3" fmla="*/ 41 h 708"/>
                <a:gd name="T4" fmla="*/ 38 w 642"/>
                <a:gd name="T5" fmla="*/ 47 h 708"/>
                <a:gd name="T6" fmla="*/ 38 w 642"/>
                <a:gd name="T7" fmla="*/ 49 h 708"/>
                <a:gd name="T8" fmla="*/ 38 w 642"/>
                <a:gd name="T9" fmla="*/ 50 h 708"/>
                <a:gd name="T10" fmla="*/ 36 w 642"/>
                <a:gd name="T11" fmla="*/ 52 h 708"/>
                <a:gd name="T12" fmla="*/ 35 w 642"/>
                <a:gd name="T13" fmla="*/ 53 h 708"/>
                <a:gd name="T14" fmla="*/ 33 w 642"/>
                <a:gd name="T15" fmla="*/ 55 h 708"/>
                <a:gd name="T16" fmla="*/ 32 w 642"/>
                <a:gd name="T17" fmla="*/ 56 h 708"/>
                <a:gd name="T18" fmla="*/ 31 w 642"/>
                <a:gd name="T19" fmla="*/ 59 h 708"/>
                <a:gd name="T20" fmla="*/ 26 w 642"/>
                <a:gd name="T21" fmla="*/ 59 h 708"/>
                <a:gd name="T22" fmla="*/ 23 w 642"/>
                <a:gd name="T23" fmla="*/ 61 h 708"/>
                <a:gd name="T24" fmla="*/ 20 w 642"/>
                <a:gd name="T25" fmla="*/ 61 h 708"/>
                <a:gd name="T26" fmla="*/ 17 w 642"/>
                <a:gd name="T27" fmla="*/ 59 h 708"/>
                <a:gd name="T28" fmla="*/ 15 w 642"/>
                <a:gd name="T29" fmla="*/ 56 h 708"/>
                <a:gd name="T30" fmla="*/ 9 w 642"/>
                <a:gd name="T31" fmla="*/ 58 h 708"/>
                <a:gd name="T32" fmla="*/ 6 w 642"/>
                <a:gd name="T33" fmla="*/ 52 h 708"/>
                <a:gd name="T34" fmla="*/ 2 w 642"/>
                <a:gd name="T35" fmla="*/ 53 h 708"/>
                <a:gd name="T36" fmla="*/ 1 w 642"/>
                <a:gd name="T37" fmla="*/ 51 h 708"/>
                <a:gd name="T38" fmla="*/ 4 w 642"/>
                <a:gd name="T39" fmla="*/ 47 h 708"/>
                <a:gd name="T40" fmla="*/ 5 w 642"/>
                <a:gd name="T41" fmla="*/ 41 h 708"/>
                <a:gd name="T42" fmla="*/ 5 w 642"/>
                <a:gd name="T43" fmla="*/ 38 h 708"/>
                <a:gd name="T44" fmla="*/ 5 w 642"/>
                <a:gd name="T45" fmla="*/ 35 h 708"/>
                <a:gd name="T46" fmla="*/ 6 w 642"/>
                <a:gd name="T47" fmla="*/ 33 h 708"/>
                <a:gd name="T48" fmla="*/ 5 w 642"/>
                <a:gd name="T49" fmla="*/ 29 h 708"/>
                <a:gd name="T50" fmla="*/ 4 w 642"/>
                <a:gd name="T51" fmla="*/ 28 h 708"/>
                <a:gd name="T52" fmla="*/ 1 w 642"/>
                <a:gd name="T53" fmla="*/ 26 h 708"/>
                <a:gd name="T54" fmla="*/ 1 w 642"/>
                <a:gd name="T55" fmla="*/ 24 h 708"/>
                <a:gd name="T56" fmla="*/ 1 w 642"/>
                <a:gd name="T57" fmla="*/ 20 h 708"/>
                <a:gd name="T58" fmla="*/ 1 w 642"/>
                <a:gd name="T59" fmla="*/ 16 h 708"/>
                <a:gd name="T60" fmla="*/ 2 w 642"/>
                <a:gd name="T61" fmla="*/ 14 h 708"/>
                <a:gd name="T62" fmla="*/ 8 w 642"/>
                <a:gd name="T63" fmla="*/ 14 h 708"/>
                <a:gd name="T64" fmla="*/ 9 w 642"/>
                <a:gd name="T65" fmla="*/ 10 h 708"/>
                <a:gd name="T66" fmla="*/ 15 w 642"/>
                <a:gd name="T67" fmla="*/ 9 h 708"/>
                <a:gd name="T68" fmla="*/ 18 w 642"/>
                <a:gd name="T69" fmla="*/ 14 h 708"/>
                <a:gd name="T70" fmla="*/ 20 w 642"/>
                <a:gd name="T71" fmla="*/ 12 h 708"/>
                <a:gd name="T72" fmla="*/ 20 w 642"/>
                <a:gd name="T73" fmla="*/ 11 h 708"/>
                <a:gd name="T74" fmla="*/ 21 w 642"/>
                <a:gd name="T75" fmla="*/ 9 h 708"/>
                <a:gd name="T76" fmla="*/ 24 w 642"/>
                <a:gd name="T77" fmla="*/ 9 h 708"/>
                <a:gd name="T78" fmla="*/ 27 w 642"/>
                <a:gd name="T79" fmla="*/ 8 h 708"/>
                <a:gd name="T80" fmla="*/ 33 w 642"/>
                <a:gd name="T81" fmla="*/ 2 h 708"/>
                <a:gd name="T82" fmla="*/ 42 w 642"/>
                <a:gd name="T83" fmla="*/ 2 h 708"/>
                <a:gd name="T84" fmla="*/ 49 w 642"/>
                <a:gd name="T85" fmla="*/ 1 h 708"/>
                <a:gd name="T86" fmla="*/ 53 w 642"/>
                <a:gd name="T87" fmla="*/ 4 h 708"/>
                <a:gd name="T88" fmla="*/ 55 w 642"/>
                <a:gd name="T89" fmla="*/ 4 h 708"/>
                <a:gd name="T90" fmla="*/ 55 w 642"/>
                <a:gd name="T91" fmla="*/ 7 h 708"/>
                <a:gd name="T92" fmla="*/ 52 w 642"/>
                <a:gd name="T93" fmla="*/ 9 h 708"/>
                <a:gd name="T94" fmla="*/ 49 w 642"/>
                <a:gd name="T95" fmla="*/ 12 h 708"/>
                <a:gd name="T96" fmla="*/ 47 w 642"/>
                <a:gd name="T97" fmla="*/ 14 h 708"/>
                <a:gd name="T98" fmla="*/ 47 w 642"/>
                <a:gd name="T99" fmla="*/ 17 h 708"/>
                <a:gd name="T100" fmla="*/ 45 w 642"/>
                <a:gd name="T101" fmla="*/ 26 h 708"/>
                <a:gd name="T102" fmla="*/ 50 w 642"/>
                <a:gd name="T103" fmla="*/ 37 h 70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42"/>
                <a:gd name="T157" fmla="*/ 0 h 708"/>
                <a:gd name="T158" fmla="*/ 642 w 642"/>
                <a:gd name="T159" fmla="*/ 708 h 70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42" h="708">
                  <a:moveTo>
                    <a:pt x="576" y="468"/>
                  </a:moveTo>
                  <a:lnTo>
                    <a:pt x="564" y="468"/>
                  </a:lnTo>
                  <a:lnTo>
                    <a:pt x="516" y="468"/>
                  </a:lnTo>
                  <a:lnTo>
                    <a:pt x="498" y="474"/>
                  </a:lnTo>
                  <a:lnTo>
                    <a:pt x="492" y="468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68" y="474"/>
                  </a:lnTo>
                  <a:lnTo>
                    <a:pt x="456" y="468"/>
                  </a:lnTo>
                  <a:lnTo>
                    <a:pt x="444" y="474"/>
                  </a:lnTo>
                  <a:lnTo>
                    <a:pt x="438" y="492"/>
                  </a:lnTo>
                  <a:lnTo>
                    <a:pt x="438" y="504"/>
                  </a:lnTo>
                  <a:lnTo>
                    <a:pt x="432" y="516"/>
                  </a:lnTo>
                  <a:lnTo>
                    <a:pt x="432" y="528"/>
                  </a:lnTo>
                  <a:lnTo>
                    <a:pt x="432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52"/>
                  </a:lnTo>
                  <a:lnTo>
                    <a:pt x="432" y="558"/>
                  </a:lnTo>
                  <a:lnTo>
                    <a:pt x="438" y="564"/>
                  </a:lnTo>
                  <a:lnTo>
                    <a:pt x="444" y="564"/>
                  </a:lnTo>
                  <a:lnTo>
                    <a:pt x="438" y="564"/>
                  </a:lnTo>
                  <a:lnTo>
                    <a:pt x="438" y="570"/>
                  </a:lnTo>
                  <a:lnTo>
                    <a:pt x="432" y="570"/>
                  </a:lnTo>
                  <a:lnTo>
                    <a:pt x="432" y="576"/>
                  </a:lnTo>
                  <a:lnTo>
                    <a:pt x="426" y="588"/>
                  </a:lnTo>
                  <a:lnTo>
                    <a:pt x="420" y="594"/>
                  </a:lnTo>
                  <a:lnTo>
                    <a:pt x="420" y="600"/>
                  </a:lnTo>
                  <a:lnTo>
                    <a:pt x="414" y="600"/>
                  </a:lnTo>
                  <a:lnTo>
                    <a:pt x="414" y="606"/>
                  </a:lnTo>
                  <a:lnTo>
                    <a:pt x="408" y="606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396" y="612"/>
                  </a:lnTo>
                  <a:lnTo>
                    <a:pt x="390" y="612"/>
                  </a:lnTo>
                  <a:lnTo>
                    <a:pt x="390" y="618"/>
                  </a:lnTo>
                  <a:lnTo>
                    <a:pt x="384" y="618"/>
                  </a:lnTo>
                  <a:lnTo>
                    <a:pt x="378" y="618"/>
                  </a:lnTo>
                  <a:lnTo>
                    <a:pt x="378" y="624"/>
                  </a:lnTo>
                  <a:lnTo>
                    <a:pt x="384" y="630"/>
                  </a:lnTo>
                  <a:lnTo>
                    <a:pt x="384" y="636"/>
                  </a:lnTo>
                  <a:lnTo>
                    <a:pt x="378" y="630"/>
                  </a:lnTo>
                  <a:lnTo>
                    <a:pt x="372" y="636"/>
                  </a:lnTo>
                  <a:lnTo>
                    <a:pt x="372" y="642"/>
                  </a:lnTo>
                  <a:lnTo>
                    <a:pt x="366" y="642"/>
                  </a:lnTo>
                  <a:lnTo>
                    <a:pt x="360" y="654"/>
                  </a:lnTo>
                  <a:lnTo>
                    <a:pt x="354" y="666"/>
                  </a:lnTo>
                  <a:lnTo>
                    <a:pt x="354" y="672"/>
                  </a:lnTo>
                  <a:lnTo>
                    <a:pt x="354" y="678"/>
                  </a:lnTo>
                  <a:lnTo>
                    <a:pt x="354" y="684"/>
                  </a:lnTo>
                  <a:lnTo>
                    <a:pt x="348" y="678"/>
                  </a:lnTo>
                  <a:lnTo>
                    <a:pt x="324" y="678"/>
                  </a:lnTo>
                  <a:lnTo>
                    <a:pt x="306" y="678"/>
                  </a:lnTo>
                  <a:lnTo>
                    <a:pt x="294" y="678"/>
                  </a:lnTo>
                  <a:lnTo>
                    <a:pt x="288" y="684"/>
                  </a:lnTo>
                  <a:lnTo>
                    <a:pt x="276" y="690"/>
                  </a:lnTo>
                  <a:lnTo>
                    <a:pt x="270" y="696"/>
                  </a:lnTo>
                  <a:lnTo>
                    <a:pt x="264" y="696"/>
                  </a:lnTo>
                  <a:lnTo>
                    <a:pt x="258" y="696"/>
                  </a:lnTo>
                  <a:lnTo>
                    <a:pt x="252" y="696"/>
                  </a:lnTo>
                  <a:lnTo>
                    <a:pt x="252" y="690"/>
                  </a:lnTo>
                  <a:lnTo>
                    <a:pt x="246" y="690"/>
                  </a:lnTo>
                  <a:lnTo>
                    <a:pt x="234" y="690"/>
                  </a:lnTo>
                  <a:lnTo>
                    <a:pt x="222" y="696"/>
                  </a:lnTo>
                  <a:lnTo>
                    <a:pt x="216" y="708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8" y="690"/>
                  </a:lnTo>
                  <a:lnTo>
                    <a:pt x="198" y="684"/>
                  </a:lnTo>
                  <a:lnTo>
                    <a:pt x="198" y="678"/>
                  </a:lnTo>
                  <a:lnTo>
                    <a:pt x="198" y="672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74" y="648"/>
                  </a:lnTo>
                  <a:lnTo>
                    <a:pt x="162" y="642"/>
                  </a:lnTo>
                  <a:lnTo>
                    <a:pt x="156" y="636"/>
                  </a:lnTo>
                  <a:lnTo>
                    <a:pt x="132" y="642"/>
                  </a:lnTo>
                  <a:lnTo>
                    <a:pt x="120" y="654"/>
                  </a:lnTo>
                  <a:lnTo>
                    <a:pt x="108" y="660"/>
                  </a:lnTo>
                  <a:lnTo>
                    <a:pt x="102" y="666"/>
                  </a:lnTo>
                  <a:lnTo>
                    <a:pt x="84" y="666"/>
                  </a:lnTo>
                  <a:lnTo>
                    <a:pt x="84" y="630"/>
                  </a:lnTo>
                  <a:lnTo>
                    <a:pt x="78" y="594"/>
                  </a:lnTo>
                  <a:lnTo>
                    <a:pt x="66" y="594"/>
                  </a:lnTo>
                  <a:lnTo>
                    <a:pt x="60" y="594"/>
                  </a:lnTo>
                  <a:lnTo>
                    <a:pt x="48" y="600"/>
                  </a:lnTo>
                  <a:lnTo>
                    <a:pt x="36" y="606"/>
                  </a:lnTo>
                  <a:lnTo>
                    <a:pt x="24" y="612"/>
                  </a:lnTo>
                  <a:lnTo>
                    <a:pt x="18" y="612"/>
                  </a:lnTo>
                  <a:lnTo>
                    <a:pt x="12" y="606"/>
                  </a:lnTo>
                  <a:lnTo>
                    <a:pt x="12" y="600"/>
                  </a:lnTo>
                  <a:lnTo>
                    <a:pt x="12" y="594"/>
                  </a:lnTo>
                  <a:lnTo>
                    <a:pt x="12" y="588"/>
                  </a:lnTo>
                  <a:lnTo>
                    <a:pt x="12" y="582"/>
                  </a:lnTo>
                  <a:lnTo>
                    <a:pt x="12" y="576"/>
                  </a:lnTo>
                  <a:lnTo>
                    <a:pt x="18" y="552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42" y="534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48" y="492"/>
                  </a:lnTo>
                  <a:lnTo>
                    <a:pt x="48" y="480"/>
                  </a:lnTo>
                  <a:lnTo>
                    <a:pt x="54" y="468"/>
                  </a:lnTo>
                  <a:lnTo>
                    <a:pt x="48" y="456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66" y="390"/>
                  </a:lnTo>
                  <a:lnTo>
                    <a:pt x="72" y="384"/>
                  </a:lnTo>
                  <a:lnTo>
                    <a:pt x="72" y="378"/>
                  </a:lnTo>
                  <a:lnTo>
                    <a:pt x="66" y="378"/>
                  </a:lnTo>
                  <a:lnTo>
                    <a:pt x="66" y="366"/>
                  </a:lnTo>
                  <a:lnTo>
                    <a:pt x="60" y="360"/>
                  </a:lnTo>
                  <a:lnTo>
                    <a:pt x="66" y="354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48" y="312"/>
                  </a:lnTo>
                  <a:lnTo>
                    <a:pt x="30" y="312"/>
                  </a:lnTo>
                  <a:lnTo>
                    <a:pt x="24" y="306"/>
                  </a:lnTo>
                  <a:lnTo>
                    <a:pt x="18" y="306"/>
                  </a:lnTo>
                  <a:lnTo>
                    <a:pt x="12" y="294"/>
                  </a:lnTo>
                  <a:lnTo>
                    <a:pt x="12" y="282"/>
                  </a:lnTo>
                  <a:lnTo>
                    <a:pt x="6" y="276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12" y="270"/>
                  </a:lnTo>
                  <a:lnTo>
                    <a:pt x="12" y="246"/>
                  </a:lnTo>
                  <a:lnTo>
                    <a:pt x="12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8" y="174"/>
                  </a:lnTo>
                  <a:lnTo>
                    <a:pt x="12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48" y="162"/>
                  </a:lnTo>
                  <a:lnTo>
                    <a:pt x="72" y="162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84" y="132"/>
                  </a:lnTo>
                  <a:lnTo>
                    <a:pt x="90" y="120"/>
                  </a:lnTo>
                  <a:lnTo>
                    <a:pt x="108" y="114"/>
                  </a:lnTo>
                  <a:lnTo>
                    <a:pt x="114" y="102"/>
                  </a:lnTo>
                  <a:lnTo>
                    <a:pt x="120" y="90"/>
                  </a:lnTo>
                  <a:lnTo>
                    <a:pt x="138" y="90"/>
                  </a:lnTo>
                  <a:lnTo>
                    <a:pt x="138" y="102"/>
                  </a:lnTo>
                  <a:lnTo>
                    <a:pt x="168" y="108"/>
                  </a:lnTo>
                  <a:lnTo>
                    <a:pt x="168" y="114"/>
                  </a:lnTo>
                  <a:lnTo>
                    <a:pt x="174" y="126"/>
                  </a:lnTo>
                  <a:lnTo>
                    <a:pt x="186" y="150"/>
                  </a:lnTo>
                  <a:lnTo>
                    <a:pt x="186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34" y="144"/>
                  </a:lnTo>
                  <a:lnTo>
                    <a:pt x="240" y="138"/>
                  </a:lnTo>
                  <a:lnTo>
                    <a:pt x="240" y="126"/>
                  </a:lnTo>
                  <a:lnTo>
                    <a:pt x="234" y="126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34" y="102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82" y="102"/>
                  </a:lnTo>
                  <a:lnTo>
                    <a:pt x="288" y="102"/>
                  </a:lnTo>
                  <a:lnTo>
                    <a:pt x="294" y="102"/>
                  </a:lnTo>
                  <a:lnTo>
                    <a:pt x="300" y="96"/>
                  </a:lnTo>
                  <a:lnTo>
                    <a:pt x="306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84"/>
                  </a:lnTo>
                  <a:lnTo>
                    <a:pt x="324" y="18"/>
                  </a:lnTo>
                  <a:lnTo>
                    <a:pt x="360" y="18"/>
                  </a:lnTo>
                  <a:lnTo>
                    <a:pt x="378" y="18"/>
                  </a:lnTo>
                  <a:lnTo>
                    <a:pt x="378" y="30"/>
                  </a:lnTo>
                  <a:lnTo>
                    <a:pt x="390" y="30"/>
                  </a:lnTo>
                  <a:lnTo>
                    <a:pt x="432" y="30"/>
                  </a:lnTo>
                  <a:lnTo>
                    <a:pt x="456" y="24"/>
                  </a:lnTo>
                  <a:lnTo>
                    <a:pt x="480" y="24"/>
                  </a:lnTo>
                  <a:lnTo>
                    <a:pt x="498" y="30"/>
                  </a:lnTo>
                  <a:lnTo>
                    <a:pt x="522" y="18"/>
                  </a:lnTo>
                  <a:lnTo>
                    <a:pt x="528" y="0"/>
                  </a:lnTo>
                  <a:lnTo>
                    <a:pt x="558" y="6"/>
                  </a:lnTo>
                  <a:lnTo>
                    <a:pt x="558" y="12"/>
                  </a:lnTo>
                  <a:lnTo>
                    <a:pt x="570" y="18"/>
                  </a:lnTo>
                  <a:lnTo>
                    <a:pt x="576" y="24"/>
                  </a:lnTo>
                  <a:lnTo>
                    <a:pt x="588" y="36"/>
                  </a:lnTo>
                  <a:lnTo>
                    <a:pt x="594" y="48"/>
                  </a:lnTo>
                  <a:lnTo>
                    <a:pt x="606" y="48"/>
                  </a:lnTo>
                  <a:lnTo>
                    <a:pt x="606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42"/>
                  </a:lnTo>
                  <a:lnTo>
                    <a:pt x="636" y="42"/>
                  </a:lnTo>
                  <a:lnTo>
                    <a:pt x="636" y="48"/>
                  </a:lnTo>
                  <a:lnTo>
                    <a:pt x="642" y="54"/>
                  </a:lnTo>
                  <a:lnTo>
                    <a:pt x="636" y="60"/>
                  </a:lnTo>
                  <a:lnTo>
                    <a:pt x="636" y="66"/>
                  </a:lnTo>
                  <a:lnTo>
                    <a:pt x="636" y="78"/>
                  </a:lnTo>
                  <a:lnTo>
                    <a:pt x="624" y="84"/>
                  </a:lnTo>
                  <a:lnTo>
                    <a:pt x="618" y="90"/>
                  </a:lnTo>
                  <a:lnTo>
                    <a:pt x="612" y="90"/>
                  </a:lnTo>
                  <a:lnTo>
                    <a:pt x="600" y="102"/>
                  </a:lnTo>
                  <a:lnTo>
                    <a:pt x="594" y="108"/>
                  </a:lnTo>
                  <a:lnTo>
                    <a:pt x="582" y="114"/>
                  </a:lnTo>
                  <a:lnTo>
                    <a:pt x="570" y="132"/>
                  </a:lnTo>
                  <a:lnTo>
                    <a:pt x="564" y="132"/>
                  </a:lnTo>
                  <a:lnTo>
                    <a:pt x="564" y="138"/>
                  </a:lnTo>
                  <a:lnTo>
                    <a:pt x="558" y="144"/>
                  </a:lnTo>
                  <a:lnTo>
                    <a:pt x="558" y="150"/>
                  </a:lnTo>
                  <a:lnTo>
                    <a:pt x="552" y="150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0" y="162"/>
                  </a:lnTo>
                  <a:lnTo>
                    <a:pt x="534" y="168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6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28" y="234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16" y="294"/>
                  </a:lnTo>
                  <a:lnTo>
                    <a:pt x="516" y="312"/>
                  </a:lnTo>
                  <a:lnTo>
                    <a:pt x="528" y="318"/>
                  </a:lnTo>
                  <a:lnTo>
                    <a:pt x="540" y="360"/>
                  </a:lnTo>
                  <a:lnTo>
                    <a:pt x="558" y="408"/>
                  </a:lnTo>
                  <a:lnTo>
                    <a:pt x="570" y="426"/>
                  </a:lnTo>
                  <a:lnTo>
                    <a:pt x="576" y="432"/>
                  </a:lnTo>
                  <a:lnTo>
                    <a:pt x="576" y="438"/>
                  </a:lnTo>
                  <a:lnTo>
                    <a:pt x="576" y="444"/>
                  </a:lnTo>
                  <a:lnTo>
                    <a:pt x="576" y="46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3" name="Freeform 28">
              <a:extLst>
                <a:ext uri="{FF2B5EF4-FFF2-40B4-BE49-F238E27FC236}">
                  <a16:creationId xmlns:a16="http://schemas.microsoft.com/office/drawing/2014/main" id="{CF9B4F31-BF73-448E-83AA-188F6CF1BDC5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4879" y="3432583"/>
              <a:ext cx="324248" cy="270616"/>
            </a:xfrm>
            <a:custGeom>
              <a:avLst/>
              <a:gdLst>
                <a:gd name="T0" fmla="*/ 5 w 606"/>
                <a:gd name="T1" fmla="*/ 36 h 510"/>
                <a:gd name="T2" fmla="*/ 4 w 606"/>
                <a:gd name="T3" fmla="*/ 34 h 510"/>
                <a:gd name="T4" fmla="*/ 0 w 606"/>
                <a:gd name="T5" fmla="*/ 25 h 510"/>
                <a:gd name="T6" fmla="*/ 1 w 606"/>
                <a:gd name="T7" fmla="*/ 20 h 510"/>
                <a:gd name="T8" fmla="*/ 2 w 606"/>
                <a:gd name="T9" fmla="*/ 15 h 510"/>
                <a:gd name="T10" fmla="*/ 2 w 606"/>
                <a:gd name="T11" fmla="*/ 13 h 510"/>
                <a:gd name="T12" fmla="*/ 3 w 606"/>
                <a:gd name="T13" fmla="*/ 12 h 510"/>
                <a:gd name="T14" fmla="*/ 4 w 606"/>
                <a:gd name="T15" fmla="*/ 11 h 510"/>
                <a:gd name="T16" fmla="*/ 4 w 606"/>
                <a:gd name="T17" fmla="*/ 10 h 510"/>
                <a:gd name="T18" fmla="*/ 7 w 606"/>
                <a:gd name="T19" fmla="*/ 8 h 510"/>
                <a:gd name="T20" fmla="*/ 9 w 606"/>
                <a:gd name="T21" fmla="*/ 6 h 510"/>
                <a:gd name="T22" fmla="*/ 11 w 606"/>
                <a:gd name="T23" fmla="*/ 4 h 510"/>
                <a:gd name="T24" fmla="*/ 12 w 606"/>
                <a:gd name="T25" fmla="*/ 3 h 510"/>
                <a:gd name="T26" fmla="*/ 13 w 606"/>
                <a:gd name="T27" fmla="*/ 4 h 510"/>
                <a:gd name="T28" fmla="*/ 15 w 606"/>
                <a:gd name="T29" fmla="*/ 2 h 510"/>
                <a:gd name="T30" fmla="*/ 17 w 606"/>
                <a:gd name="T31" fmla="*/ 2 h 510"/>
                <a:gd name="T32" fmla="*/ 19 w 606"/>
                <a:gd name="T33" fmla="*/ 5 h 510"/>
                <a:gd name="T34" fmla="*/ 22 w 606"/>
                <a:gd name="T35" fmla="*/ 5 h 510"/>
                <a:gd name="T36" fmla="*/ 25 w 606"/>
                <a:gd name="T37" fmla="*/ 6 h 510"/>
                <a:gd name="T38" fmla="*/ 29 w 606"/>
                <a:gd name="T39" fmla="*/ 1 h 510"/>
                <a:gd name="T40" fmla="*/ 38 w 606"/>
                <a:gd name="T41" fmla="*/ 0 h 510"/>
                <a:gd name="T42" fmla="*/ 38 w 606"/>
                <a:gd name="T43" fmla="*/ 5 h 510"/>
                <a:gd name="T44" fmla="*/ 41 w 606"/>
                <a:gd name="T45" fmla="*/ 4 h 510"/>
                <a:gd name="T46" fmla="*/ 45 w 606"/>
                <a:gd name="T47" fmla="*/ 2 h 510"/>
                <a:gd name="T48" fmla="*/ 46 w 606"/>
                <a:gd name="T49" fmla="*/ 2 h 510"/>
                <a:gd name="T50" fmla="*/ 47 w 606"/>
                <a:gd name="T51" fmla="*/ 5 h 510"/>
                <a:gd name="T52" fmla="*/ 45 w 606"/>
                <a:gd name="T53" fmla="*/ 6 h 510"/>
                <a:gd name="T54" fmla="*/ 45 w 606"/>
                <a:gd name="T55" fmla="*/ 7 h 510"/>
                <a:gd name="T56" fmla="*/ 43 w 606"/>
                <a:gd name="T57" fmla="*/ 8 h 510"/>
                <a:gd name="T58" fmla="*/ 45 w 606"/>
                <a:gd name="T59" fmla="*/ 15 h 510"/>
                <a:gd name="T60" fmla="*/ 49 w 606"/>
                <a:gd name="T61" fmla="*/ 15 h 510"/>
                <a:gd name="T62" fmla="*/ 51 w 606"/>
                <a:gd name="T63" fmla="*/ 15 h 510"/>
                <a:gd name="T64" fmla="*/ 53 w 606"/>
                <a:gd name="T65" fmla="*/ 16 h 510"/>
                <a:gd name="T66" fmla="*/ 52 w 606"/>
                <a:gd name="T67" fmla="*/ 20 h 510"/>
                <a:gd name="T68" fmla="*/ 48 w 606"/>
                <a:gd name="T69" fmla="*/ 23 h 510"/>
                <a:gd name="T70" fmla="*/ 45 w 606"/>
                <a:gd name="T71" fmla="*/ 25 h 510"/>
                <a:gd name="T72" fmla="*/ 44 w 606"/>
                <a:gd name="T73" fmla="*/ 28 h 510"/>
                <a:gd name="T74" fmla="*/ 43 w 606"/>
                <a:gd name="T75" fmla="*/ 33 h 510"/>
                <a:gd name="T76" fmla="*/ 39 w 606"/>
                <a:gd name="T77" fmla="*/ 38 h 510"/>
                <a:gd name="T78" fmla="*/ 37 w 606"/>
                <a:gd name="T79" fmla="*/ 41 h 510"/>
                <a:gd name="T80" fmla="*/ 31 w 606"/>
                <a:gd name="T81" fmla="*/ 44 h 510"/>
                <a:gd name="T82" fmla="*/ 28 w 606"/>
                <a:gd name="T83" fmla="*/ 43 h 510"/>
                <a:gd name="T84" fmla="*/ 28 w 606"/>
                <a:gd name="T85" fmla="*/ 41 h 510"/>
                <a:gd name="T86" fmla="*/ 28 w 606"/>
                <a:gd name="T87" fmla="*/ 40 h 510"/>
                <a:gd name="T88" fmla="*/ 27 w 606"/>
                <a:gd name="T89" fmla="*/ 38 h 510"/>
                <a:gd name="T90" fmla="*/ 27 w 606"/>
                <a:gd name="T91" fmla="*/ 36 h 510"/>
                <a:gd name="T92" fmla="*/ 24 w 606"/>
                <a:gd name="T93" fmla="*/ 35 h 510"/>
                <a:gd name="T94" fmla="*/ 16 w 606"/>
                <a:gd name="T95" fmla="*/ 34 h 510"/>
                <a:gd name="T96" fmla="*/ 13 w 606"/>
                <a:gd name="T97" fmla="*/ 34 h 510"/>
                <a:gd name="T98" fmla="*/ 9 w 606"/>
                <a:gd name="T99" fmla="*/ 36 h 510"/>
                <a:gd name="T100" fmla="*/ 8 w 606"/>
                <a:gd name="T101" fmla="*/ 38 h 510"/>
                <a:gd name="T102" fmla="*/ 7 w 606"/>
                <a:gd name="T103" fmla="*/ 39 h 51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06"/>
                <a:gd name="T157" fmla="*/ 0 h 510"/>
                <a:gd name="T158" fmla="*/ 606 w 606"/>
                <a:gd name="T159" fmla="*/ 510 h 51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06" h="510">
                  <a:moveTo>
                    <a:pt x="60" y="450"/>
                  </a:move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42" y="390"/>
                  </a:lnTo>
                  <a:lnTo>
                    <a:pt x="24" y="342"/>
                  </a:lnTo>
                  <a:lnTo>
                    <a:pt x="12" y="300"/>
                  </a:lnTo>
                  <a:lnTo>
                    <a:pt x="0" y="294"/>
                  </a:lnTo>
                  <a:lnTo>
                    <a:pt x="0" y="276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24" y="192"/>
                  </a:lnTo>
                  <a:lnTo>
                    <a:pt x="24" y="180"/>
                  </a:lnTo>
                  <a:lnTo>
                    <a:pt x="24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6" y="96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108" y="66"/>
                  </a:lnTo>
                  <a:lnTo>
                    <a:pt x="120" y="60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36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62" y="36"/>
                  </a:lnTo>
                  <a:lnTo>
                    <a:pt x="162" y="30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0" y="54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46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76" y="66"/>
                  </a:lnTo>
                  <a:lnTo>
                    <a:pt x="312" y="66"/>
                  </a:lnTo>
                  <a:lnTo>
                    <a:pt x="318" y="60"/>
                  </a:lnTo>
                  <a:lnTo>
                    <a:pt x="330" y="12"/>
                  </a:lnTo>
                  <a:lnTo>
                    <a:pt x="414" y="6"/>
                  </a:lnTo>
                  <a:lnTo>
                    <a:pt x="420" y="0"/>
                  </a:lnTo>
                  <a:lnTo>
                    <a:pt x="426" y="6"/>
                  </a:lnTo>
                  <a:lnTo>
                    <a:pt x="426" y="12"/>
                  </a:lnTo>
                  <a:lnTo>
                    <a:pt x="426" y="54"/>
                  </a:lnTo>
                  <a:lnTo>
                    <a:pt x="432" y="54"/>
                  </a:lnTo>
                  <a:lnTo>
                    <a:pt x="444" y="54"/>
                  </a:lnTo>
                  <a:lnTo>
                    <a:pt x="450" y="42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86" y="24"/>
                  </a:lnTo>
                  <a:lnTo>
                    <a:pt x="504" y="18"/>
                  </a:lnTo>
                  <a:lnTo>
                    <a:pt x="510" y="12"/>
                  </a:lnTo>
                  <a:lnTo>
                    <a:pt x="516" y="18"/>
                  </a:lnTo>
                  <a:lnTo>
                    <a:pt x="522" y="24"/>
                  </a:lnTo>
                  <a:lnTo>
                    <a:pt x="510" y="30"/>
                  </a:lnTo>
                  <a:lnTo>
                    <a:pt x="516" y="48"/>
                  </a:lnTo>
                  <a:lnTo>
                    <a:pt x="528" y="54"/>
                  </a:lnTo>
                  <a:lnTo>
                    <a:pt x="522" y="60"/>
                  </a:lnTo>
                  <a:lnTo>
                    <a:pt x="516" y="66"/>
                  </a:lnTo>
                  <a:lnTo>
                    <a:pt x="516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0" y="84"/>
                  </a:lnTo>
                  <a:lnTo>
                    <a:pt x="510" y="90"/>
                  </a:lnTo>
                  <a:lnTo>
                    <a:pt x="504" y="90"/>
                  </a:lnTo>
                  <a:lnTo>
                    <a:pt x="486" y="90"/>
                  </a:lnTo>
                  <a:lnTo>
                    <a:pt x="492" y="138"/>
                  </a:lnTo>
                  <a:lnTo>
                    <a:pt x="498" y="168"/>
                  </a:lnTo>
                  <a:lnTo>
                    <a:pt x="516" y="168"/>
                  </a:lnTo>
                  <a:lnTo>
                    <a:pt x="528" y="174"/>
                  </a:lnTo>
                  <a:lnTo>
                    <a:pt x="534" y="168"/>
                  </a:lnTo>
                  <a:lnTo>
                    <a:pt x="558" y="174"/>
                  </a:lnTo>
                  <a:lnTo>
                    <a:pt x="564" y="168"/>
                  </a:lnTo>
                  <a:lnTo>
                    <a:pt x="570" y="168"/>
                  </a:lnTo>
                  <a:lnTo>
                    <a:pt x="576" y="174"/>
                  </a:lnTo>
                  <a:lnTo>
                    <a:pt x="588" y="168"/>
                  </a:lnTo>
                  <a:lnTo>
                    <a:pt x="594" y="168"/>
                  </a:lnTo>
                  <a:lnTo>
                    <a:pt x="594" y="186"/>
                  </a:lnTo>
                  <a:lnTo>
                    <a:pt x="606" y="198"/>
                  </a:lnTo>
                  <a:lnTo>
                    <a:pt x="600" y="210"/>
                  </a:lnTo>
                  <a:lnTo>
                    <a:pt x="588" y="234"/>
                  </a:lnTo>
                  <a:lnTo>
                    <a:pt x="564" y="246"/>
                  </a:lnTo>
                  <a:lnTo>
                    <a:pt x="546" y="258"/>
                  </a:lnTo>
                  <a:lnTo>
                    <a:pt x="540" y="270"/>
                  </a:lnTo>
                  <a:lnTo>
                    <a:pt x="534" y="294"/>
                  </a:lnTo>
                  <a:lnTo>
                    <a:pt x="528" y="300"/>
                  </a:lnTo>
                  <a:lnTo>
                    <a:pt x="516" y="294"/>
                  </a:lnTo>
                  <a:lnTo>
                    <a:pt x="510" y="300"/>
                  </a:lnTo>
                  <a:lnTo>
                    <a:pt x="498" y="318"/>
                  </a:lnTo>
                  <a:lnTo>
                    <a:pt x="492" y="324"/>
                  </a:lnTo>
                  <a:lnTo>
                    <a:pt x="486" y="336"/>
                  </a:lnTo>
                  <a:lnTo>
                    <a:pt x="486" y="354"/>
                  </a:lnTo>
                  <a:lnTo>
                    <a:pt x="486" y="384"/>
                  </a:lnTo>
                  <a:lnTo>
                    <a:pt x="474" y="408"/>
                  </a:lnTo>
                  <a:lnTo>
                    <a:pt x="450" y="426"/>
                  </a:lnTo>
                  <a:lnTo>
                    <a:pt x="444" y="444"/>
                  </a:lnTo>
                  <a:lnTo>
                    <a:pt x="426" y="474"/>
                  </a:lnTo>
                  <a:lnTo>
                    <a:pt x="420" y="486"/>
                  </a:lnTo>
                  <a:lnTo>
                    <a:pt x="414" y="486"/>
                  </a:lnTo>
                  <a:lnTo>
                    <a:pt x="414" y="498"/>
                  </a:lnTo>
                  <a:lnTo>
                    <a:pt x="378" y="504"/>
                  </a:lnTo>
                  <a:lnTo>
                    <a:pt x="348" y="510"/>
                  </a:lnTo>
                  <a:lnTo>
                    <a:pt x="330" y="510"/>
                  </a:lnTo>
                  <a:lnTo>
                    <a:pt x="324" y="504"/>
                  </a:lnTo>
                  <a:lnTo>
                    <a:pt x="318" y="504"/>
                  </a:lnTo>
                  <a:lnTo>
                    <a:pt x="312" y="504"/>
                  </a:lnTo>
                  <a:lnTo>
                    <a:pt x="312" y="498"/>
                  </a:lnTo>
                  <a:lnTo>
                    <a:pt x="312" y="486"/>
                  </a:lnTo>
                  <a:lnTo>
                    <a:pt x="312" y="480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56"/>
                  </a:lnTo>
                  <a:lnTo>
                    <a:pt x="312" y="450"/>
                  </a:lnTo>
                  <a:lnTo>
                    <a:pt x="306" y="444"/>
                  </a:lnTo>
                  <a:lnTo>
                    <a:pt x="306" y="438"/>
                  </a:lnTo>
                  <a:lnTo>
                    <a:pt x="300" y="426"/>
                  </a:lnTo>
                  <a:lnTo>
                    <a:pt x="300" y="420"/>
                  </a:lnTo>
                  <a:lnTo>
                    <a:pt x="294" y="414"/>
                  </a:lnTo>
                  <a:lnTo>
                    <a:pt x="294" y="408"/>
                  </a:lnTo>
                  <a:lnTo>
                    <a:pt x="270" y="408"/>
                  </a:lnTo>
                  <a:lnTo>
                    <a:pt x="246" y="408"/>
                  </a:lnTo>
                  <a:lnTo>
                    <a:pt x="222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56" y="402"/>
                  </a:lnTo>
                  <a:lnTo>
                    <a:pt x="144" y="396"/>
                  </a:lnTo>
                  <a:lnTo>
                    <a:pt x="126" y="396"/>
                  </a:lnTo>
                  <a:lnTo>
                    <a:pt x="108" y="408"/>
                  </a:lnTo>
                  <a:lnTo>
                    <a:pt x="102" y="414"/>
                  </a:lnTo>
                  <a:lnTo>
                    <a:pt x="102" y="420"/>
                  </a:lnTo>
                  <a:lnTo>
                    <a:pt x="96" y="426"/>
                  </a:lnTo>
                  <a:lnTo>
                    <a:pt x="96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78" y="450"/>
                  </a:lnTo>
                  <a:lnTo>
                    <a:pt x="60" y="45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4" name="Freeform 29">
              <a:extLst>
                <a:ext uri="{FF2B5EF4-FFF2-40B4-BE49-F238E27FC236}">
                  <a16:creationId xmlns:a16="http://schemas.microsoft.com/office/drawing/2014/main" id="{B6AC2B96-1504-4082-8778-17130FDA021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401" y="3537698"/>
              <a:ext cx="559048" cy="641876"/>
            </a:xfrm>
            <a:custGeom>
              <a:avLst/>
              <a:gdLst>
                <a:gd name="T0" fmla="*/ 39 w 1056"/>
                <a:gd name="T1" fmla="*/ 94 h 1206"/>
                <a:gd name="T2" fmla="*/ 35 w 1056"/>
                <a:gd name="T3" fmla="*/ 103 h 1206"/>
                <a:gd name="T4" fmla="*/ 29 w 1056"/>
                <a:gd name="T5" fmla="*/ 99 h 1206"/>
                <a:gd name="T6" fmla="*/ 23 w 1056"/>
                <a:gd name="T7" fmla="*/ 94 h 1206"/>
                <a:gd name="T8" fmla="*/ 21 w 1056"/>
                <a:gd name="T9" fmla="*/ 91 h 1206"/>
                <a:gd name="T10" fmla="*/ 18 w 1056"/>
                <a:gd name="T11" fmla="*/ 89 h 1206"/>
                <a:gd name="T12" fmla="*/ 15 w 1056"/>
                <a:gd name="T13" fmla="*/ 86 h 1206"/>
                <a:gd name="T14" fmla="*/ 11 w 1056"/>
                <a:gd name="T15" fmla="*/ 83 h 1206"/>
                <a:gd name="T16" fmla="*/ 8 w 1056"/>
                <a:gd name="T17" fmla="*/ 81 h 1206"/>
                <a:gd name="T18" fmla="*/ 6 w 1056"/>
                <a:gd name="T19" fmla="*/ 79 h 1206"/>
                <a:gd name="T20" fmla="*/ 13 w 1056"/>
                <a:gd name="T21" fmla="*/ 78 h 1206"/>
                <a:gd name="T22" fmla="*/ 8 w 1056"/>
                <a:gd name="T23" fmla="*/ 75 h 1206"/>
                <a:gd name="T24" fmla="*/ 13 w 1056"/>
                <a:gd name="T25" fmla="*/ 71 h 1206"/>
                <a:gd name="T26" fmla="*/ 10 w 1056"/>
                <a:gd name="T27" fmla="*/ 63 h 1206"/>
                <a:gd name="T28" fmla="*/ 6 w 1056"/>
                <a:gd name="T29" fmla="*/ 66 h 1206"/>
                <a:gd name="T30" fmla="*/ 1 w 1056"/>
                <a:gd name="T31" fmla="*/ 63 h 1206"/>
                <a:gd name="T32" fmla="*/ 1 w 1056"/>
                <a:gd name="T33" fmla="*/ 59 h 1206"/>
                <a:gd name="T34" fmla="*/ 3 w 1056"/>
                <a:gd name="T35" fmla="*/ 57 h 1206"/>
                <a:gd name="T36" fmla="*/ 6 w 1056"/>
                <a:gd name="T37" fmla="*/ 55 h 1206"/>
                <a:gd name="T38" fmla="*/ 10 w 1056"/>
                <a:gd name="T39" fmla="*/ 51 h 1206"/>
                <a:gd name="T40" fmla="*/ 11 w 1056"/>
                <a:gd name="T41" fmla="*/ 46 h 1206"/>
                <a:gd name="T42" fmla="*/ 14 w 1056"/>
                <a:gd name="T43" fmla="*/ 42 h 1206"/>
                <a:gd name="T44" fmla="*/ 15 w 1056"/>
                <a:gd name="T45" fmla="*/ 36 h 1206"/>
                <a:gd name="T46" fmla="*/ 17 w 1056"/>
                <a:gd name="T47" fmla="*/ 34 h 1206"/>
                <a:gd name="T48" fmla="*/ 20 w 1056"/>
                <a:gd name="T49" fmla="*/ 31 h 1206"/>
                <a:gd name="T50" fmla="*/ 21 w 1056"/>
                <a:gd name="T51" fmla="*/ 29 h 1206"/>
                <a:gd name="T52" fmla="*/ 23 w 1056"/>
                <a:gd name="T53" fmla="*/ 22 h 1206"/>
                <a:gd name="T54" fmla="*/ 35 w 1056"/>
                <a:gd name="T55" fmla="*/ 22 h 1206"/>
                <a:gd name="T56" fmla="*/ 41 w 1056"/>
                <a:gd name="T57" fmla="*/ 18 h 1206"/>
                <a:gd name="T58" fmla="*/ 54 w 1056"/>
                <a:gd name="T59" fmla="*/ 20 h 1206"/>
                <a:gd name="T60" fmla="*/ 54 w 1056"/>
                <a:gd name="T61" fmla="*/ 26 h 1206"/>
                <a:gd name="T62" fmla="*/ 64 w 1056"/>
                <a:gd name="T63" fmla="*/ 25 h 1206"/>
                <a:gd name="T64" fmla="*/ 71 w 1056"/>
                <a:gd name="T65" fmla="*/ 10 h 1206"/>
                <a:gd name="T66" fmla="*/ 80 w 1056"/>
                <a:gd name="T67" fmla="*/ 1 h 1206"/>
                <a:gd name="T68" fmla="*/ 86 w 1056"/>
                <a:gd name="T69" fmla="*/ 2 h 1206"/>
                <a:gd name="T70" fmla="*/ 91 w 1056"/>
                <a:gd name="T71" fmla="*/ 13 h 1206"/>
                <a:gd name="T72" fmla="*/ 88 w 1056"/>
                <a:gd name="T73" fmla="*/ 17 h 1206"/>
                <a:gd name="T74" fmla="*/ 89 w 1056"/>
                <a:gd name="T75" fmla="*/ 21 h 1206"/>
                <a:gd name="T76" fmla="*/ 86 w 1056"/>
                <a:gd name="T77" fmla="*/ 25 h 1206"/>
                <a:gd name="T78" fmla="*/ 85 w 1056"/>
                <a:gd name="T79" fmla="*/ 31 h 1206"/>
                <a:gd name="T80" fmla="*/ 83 w 1056"/>
                <a:gd name="T81" fmla="*/ 36 h 1206"/>
                <a:gd name="T82" fmla="*/ 80 w 1056"/>
                <a:gd name="T83" fmla="*/ 42 h 1206"/>
                <a:gd name="T84" fmla="*/ 80 w 1056"/>
                <a:gd name="T85" fmla="*/ 47 h 1206"/>
                <a:gd name="T86" fmla="*/ 77 w 1056"/>
                <a:gd name="T87" fmla="*/ 55 h 1206"/>
                <a:gd name="T88" fmla="*/ 75 w 1056"/>
                <a:gd name="T89" fmla="*/ 57 h 1206"/>
                <a:gd name="T90" fmla="*/ 66 w 1056"/>
                <a:gd name="T91" fmla="*/ 57 h 1206"/>
                <a:gd name="T92" fmla="*/ 66 w 1056"/>
                <a:gd name="T93" fmla="*/ 51 h 1206"/>
                <a:gd name="T94" fmla="*/ 48 w 1056"/>
                <a:gd name="T95" fmla="*/ 50 h 1206"/>
                <a:gd name="T96" fmla="*/ 46 w 1056"/>
                <a:gd name="T97" fmla="*/ 55 h 1206"/>
                <a:gd name="T98" fmla="*/ 42 w 1056"/>
                <a:gd name="T99" fmla="*/ 59 h 1206"/>
                <a:gd name="T100" fmla="*/ 41 w 1056"/>
                <a:gd name="T101" fmla="*/ 62 h 1206"/>
                <a:gd name="T102" fmla="*/ 43 w 1056"/>
                <a:gd name="T103" fmla="*/ 67 h 1206"/>
                <a:gd name="T104" fmla="*/ 42 w 1056"/>
                <a:gd name="T105" fmla="*/ 72 h 1206"/>
                <a:gd name="T106" fmla="*/ 39 w 1056"/>
                <a:gd name="T107" fmla="*/ 77 h 1206"/>
                <a:gd name="T108" fmla="*/ 36 w 1056"/>
                <a:gd name="T109" fmla="*/ 80 h 1206"/>
                <a:gd name="T110" fmla="*/ 37 w 1056"/>
                <a:gd name="T111" fmla="*/ 83 h 1206"/>
                <a:gd name="T112" fmla="*/ 40 w 1056"/>
                <a:gd name="T113" fmla="*/ 87 h 1206"/>
                <a:gd name="T114" fmla="*/ 42 w 1056"/>
                <a:gd name="T115" fmla="*/ 89 h 12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56"/>
                <a:gd name="T175" fmla="*/ 0 h 1206"/>
                <a:gd name="T176" fmla="*/ 1056 w 1056"/>
                <a:gd name="T177" fmla="*/ 1206 h 12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56" h="1206">
                  <a:moveTo>
                    <a:pt x="492" y="1032"/>
                  </a:moveTo>
                  <a:lnTo>
                    <a:pt x="486" y="1038"/>
                  </a:lnTo>
                  <a:lnTo>
                    <a:pt x="486" y="1044"/>
                  </a:lnTo>
                  <a:lnTo>
                    <a:pt x="480" y="1044"/>
                  </a:lnTo>
                  <a:lnTo>
                    <a:pt x="474" y="1056"/>
                  </a:lnTo>
                  <a:lnTo>
                    <a:pt x="462" y="1068"/>
                  </a:lnTo>
                  <a:lnTo>
                    <a:pt x="456" y="1080"/>
                  </a:lnTo>
                  <a:lnTo>
                    <a:pt x="450" y="1080"/>
                  </a:lnTo>
                  <a:lnTo>
                    <a:pt x="450" y="1086"/>
                  </a:lnTo>
                  <a:lnTo>
                    <a:pt x="450" y="1092"/>
                  </a:lnTo>
                  <a:lnTo>
                    <a:pt x="444" y="1104"/>
                  </a:lnTo>
                  <a:lnTo>
                    <a:pt x="444" y="1116"/>
                  </a:lnTo>
                  <a:lnTo>
                    <a:pt x="438" y="1128"/>
                  </a:lnTo>
                  <a:lnTo>
                    <a:pt x="432" y="1134"/>
                  </a:lnTo>
                  <a:lnTo>
                    <a:pt x="432" y="1140"/>
                  </a:lnTo>
                  <a:lnTo>
                    <a:pt x="420" y="1152"/>
                  </a:lnTo>
                  <a:lnTo>
                    <a:pt x="420" y="1158"/>
                  </a:lnTo>
                  <a:lnTo>
                    <a:pt x="408" y="1182"/>
                  </a:lnTo>
                  <a:lnTo>
                    <a:pt x="396" y="1194"/>
                  </a:lnTo>
                  <a:lnTo>
                    <a:pt x="390" y="1206"/>
                  </a:lnTo>
                  <a:lnTo>
                    <a:pt x="390" y="1200"/>
                  </a:lnTo>
                  <a:lnTo>
                    <a:pt x="384" y="1194"/>
                  </a:lnTo>
                  <a:lnTo>
                    <a:pt x="378" y="1188"/>
                  </a:lnTo>
                  <a:lnTo>
                    <a:pt x="366" y="1176"/>
                  </a:lnTo>
                  <a:lnTo>
                    <a:pt x="366" y="1170"/>
                  </a:lnTo>
                  <a:lnTo>
                    <a:pt x="348" y="1152"/>
                  </a:lnTo>
                  <a:lnTo>
                    <a:pt x="336" y="1140"/>
                  </a:lnTo>
                  <a:lnTo>
                    <a:pt x="330" y="1134"/>
                  </a:lnTo>
                  <a:lnTo>
                    <a:pt x="324" y="1128"/>
                  </a:lnTo>
                  <a:lnTo>
                    <a:pt x="318" y="1122"/>
                  </a:lnTo>
                  <a:lnTo>
                    <a:pt x="312" y="1116"/>
                  </a:lnTo>
                  <a:lnTo>
                    <a:pt x="306" y="1110"/>
                  </a:lnTo>
                  <a:lnTo>
                    <a:pt x="300" y="1104"/>
                  </a:lnTo>
                  <a:lnTo>
                    <a:pt x="294" y="1098"/>
                  </a:lnTo>
                  <a:lnTo>
                    <a:pt x="276" y="1080"/>
                  </a:lnTo>
                  <a:lnTo>
                    <a:pt x="270" y="1080"/>
                  </a:lnTo>
                  <a:lnTo>
                    <a:pt x="270" y="1074"/>
                  </a:lnTo>
                  <a:lnTo>
                    <a:pt x="264" y="1068"/>
                  </a:lnTo>
                  <a:lnTo>
                    <a:pt x="258" y="1062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40" y="1050"/>
                  </a:lnTo>
                  <a:lnTo>
                    <a:pt x="234" y="1044"/>
                  </a:lnTo>
                  <a:lnTo>
                    <a:pt x="228" y="1044"/>
                  </a:lnTo>
                  <a:lnTo>
                    <a:pt x="222" y="1038"/>
                  </a:lnTo>
                  <a:lnTo>
                    <a:pt x="222" y="1032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6"/>
                  </a:lnTo>
                  <a:lnTo>
                    <a:pt x="204" y="1020"/>
                  </a:lnTo>
                  <a:lnTo>
                    <a:pt x="204" y="1014"/>
                  </a:lnTo>
                  <a:lnTo>
                    <a:pt x="198" y="1014"/>
                  </a:lnTo>
                  <a:lnTo>
                    <a:pt x="192" y="1014"/>
                  </a:lnTo>
                  <a:lnTo>
                    <a:pt x="192" y="1008"/>
                  </a:lnTo>
                  <a:lnTo>
                    <a:pt x="186" y="1008"/>
                  </a:lnTo>
                  <a:lnTo>
                    <a:pt x="186" y="1002"/>
                  </a:lnTo>
                  <a:lnTo>
                    <a:pt x="180" y="1002"/>
                  </a:lnTo>
                  <a:lnTo>
                    <a:pt x="174" y="996"/>
                  </a:lnTo>
                  <a:lnTo>
                    <a:pt x="168" y="996"/>
                  </a:lnTo>
                  <a:lnTo>
                    <a:pt x="168" y="990"/>
                  </a:lnTo>
                  <a:lnTo>
                    <a:pt x="162" y="990"/>
                  </a:lnTo>
                  <a:lnTo>
                    <a:pt x="162" y="984"/>
                  </a:lnTo>
                  <a:lnTo>
                    <a:pt x="150" y="978"/>
                  </a:lnTo>
                  <a:lnTo>
                    <a:pt x="144" y="972"/>
                  </a:lnTo>
                  <a:lnTo>
                    <a:pt x="138" y="972"/>
                  </a:lnTo>
                  <a:lnTo>
                    <a:pt x="138" y="966"/>
                  </a:lnTo>
                  <a:lnTo>
                    <a:pt x="132" y="966"/>
                  </a:lnTo>
                  <a:lnTo>
                    <a:pt x="126" y="960"/>
                  </a:lnTo>
                  <a:lnTo>
                    <a:pt x="126" y="954"/>
                  </a:lnTo>
                  <a:lnTo>
                    <a:pt x="120" y="954"/>
                  </a:lnTo>
                  <a:lnTo>
                    <a:pt x="114" y="948"/>
                  </a:lnTo>
                  <a:lnTo>
                    <a:pt x="108" y="948"/>
                  </a:lnTo>
                  <a:lnTo>
                    <a:pt x="108" y="942"/>
                  </a:lnTo>
                  <a:lnTo>
                    <a:pt x="102" y="942"/>
                  </a:lnTo>
                  <a:lnTo>
                    <a:pt x="96" y="942"/>
                  </a:lnTo>
                  <a:lnTo>
                    <a:pt x="96" y="936"/>
                  </a:lnTo>
                  <a:lnTo>
                    <a:pt x="90" y="936"/>
                  </a:lnTo>
                  <a:lnTo>
                    <a:pt x="90" y="930"/>
                  </a:lnTo>
                  <a:lnTo>
                    <a:pt x="84" y="930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18"/>
                  </a:lnTo>
                  <a:lnTo>
                    <a:pt x="66" y="918"/>
                  </a:lnTo>
                  <a:lnTo>
                    <a:pt x="66" y="912"/>
                  </a:lnTo>
                  <a:lnTo>
                    <a:pt x="66" y="906"/>
                  </a:lnTo>
                  <a:lnTo>
                    <a:pt x="72" y="906"/>
                  </a:lnTo>
                  <a:lnTo>
                    <a:pt x="84" y="906"/>
                  </a:lnTo>
                  <a:lnTo>
                    <a:pt x="90" y="906"/>
                  </a:lnTo>
                  <a:lnTo>
                    <a:pt x="120" y="930"/>
                  </a:lnTo>
                  <a:lnTo>
                    <a:pt x="126" y="936"/>
                  </a:lnTo>
                  <a:lnTo>
                    <a:pt x="138" y="936"/>
                  </a:lnTo>
                  <a:lnTo>
                    <a:pt x="138" y="930"/>
                  </a:lnTo>
                  <a:lnTo>
                    <a:pt x="144" y="930"/>
                  </a:lnTo>
                  <a:lnTo>
                    <a:pt x="144" y="924"/>
                  </a:lnTo>
                  <a:lnTo>
                    <a:pt x="150" y="900"/>
                  </a:lnTo>
                  <a:lnTo>
                    <a:pt x="138" y="894"/>
                  </a:lnTo>
                  <a:lnTo>
                    <a:pt x="126" y="894"/>
                  </a:lnTo>
                  <a:lnTo>
                    <a:pt x="108" y="888"/>
                  </a:lnTo>
                  <a:lnTo>
                    <a:pt x="84" y="882"/>
                  </a:lnTo>
                  <a:lnTo>
                    <a:pt x="72" y="882"/>
                  </a:lnTo>
                  <a:lnTo>
                    <a:pt x="72" y="876"/>
                  </a:lnTo>
                  <a:lnTo>
                    <a:pt x="78" y="870"/>
                  </a:lnTo>
                  <a:lnTo>
                    <a:pt x="90" y="870"/>
                  </a:lnTo>
                  <a:lnTo>
                    <a:pt x="96" y="870"/>
                  </a:lnTo>
                  <a:lnTo>
                    <a:pt x="102" y="870"/>
                  </a:lnTo>
                  <a:lnTo>
                    <a:pt x="114" y="870"/>
                  </a:lnTo>
                  <a:lnTo>
                    <a:pt x="120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34"/>
                  </a:lnTo>
                  <a:lnTo>
                    <a:pt x="132" y="828"/>
                  </a:lnTo>
                  <a:lnTo>
                    <a:pt x="132" y="816"/>
                  </a:lnTo>
                  <a:lnTo>
                    <a:pt x="150" y="816"/>
                  </a:lnTo>
                  <a:lnTo>
                    <a:pt x="150" y="804"/>
                  </a:lnTo>
                  <a:lnTo>
                    <a:pt x="144" y="798"/>
                  </a:lnTo>
                  <a:lnTo>
                    <a:pt x="156" y="762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32"/>
                  </a:lnTo>
                  <a:lnTo>
                    <a:pt x="144" y="726"/>
                  </a:lnTo>
                  <a:lnTo>
                    <a:pt x="132" y="726"/>
                  </a:lnTo>
                  <a:lnTo>
                    <a:pt x="120" y="732"/>
                  </a:lnTo>
                  <a:lnTo>
                    <a:pt x="114" y="744"/>
                  </a:lnTo>
                  <a:lnTo>
                    <a:pt x="108" y="750"/>
                  </a:lnTo>
                  <a:lnTo>
                    <a:pt x="96" y="768"/>
                  </a:lnTo>
                  <a:lnTo>
                    <a:pt x="96" y="774"/>
                  </a:lnTo>
                  <a:lnTo>
                    <a:pt x="90" y="780"/>
                  </a:lnTo>
                  <a:lnTo>
                    <a:pt x="84" y="804"/>
                  </a:lnTo>
                  <a:lnTo>
                    <a:pt x="72" y="774"/>
                  </a:lnTo>
                  <a:lnTo>
                    <a:pt x="72" y="768"/>
                  </a:lnTo>
                  <a:lnTo>
                    <a:pt x="66" y="762"/>
                  </a:lnTo>
                  <a:lnTo>
                    <a:pt x="60" y="750"/>
                  </a:lnTo>
                  <a:lnTo>
                    <a:pt x="54" y="750"/>
                  </a:lnTo>
                  <a:lnTo>
                    <a:pt x="48" y="750"/>
                  </a:lnTo>
                  <a:lnTo>
                    <a:pt x="42" y="750"/>
                  </a:lnTo>
                  <a:lnTo>
                    <a:pt x="30" y="744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12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2" y="702"/>
                  </a:lnTo>
                  <a:lnTo>
                    <a:pt x="18" y="696"/>
                  </a:lnTo>
                  <a:lnTo>
                    <a:pt x="12" y="690"/>
                  </a:lnTo>
                  <a:lnTo>
                    <a:pt x="12" y="684"/>
                  </a:lnTo>
                  <a:lnTo>
                    <a:pt x="12" y="678"/>
                  </a:lnTo>
                  <a:lnTo>
                    <a:pt x="12" y="672"/>
                  </a:lnTo>
                  <a:lnTo>
                    <a:pt x="18" y="672"/>
                  </a:lnTo>
                  <a:lnTo>
                    <a:pt x="18" y="666"/>
                  </a:lnTo>
                  <a:lnTo>
                    <a:pt x="24" y="666"/>
                  </a:lnTo>
                  <a:lnTo>
                    <a:pt x="24" y="660"/>
                  </a:lnTo>
                  <a:lnTo>
                    <a:pt x="30" y="660"/>
                  </a:lnTo>
                  <a:lnTo>
                    <a:pt x="30" y="654"/>
                  </a:lnTo>
                  <a:lnTo>
                    <a:pt x="36" y="654"/>
                  </a:lnTo>
                  <a:lnTo>
                    <a:pt x="36" y="648"/>
                  </a:lnTo>
                  <a:lnTo>
                    <a:pt x="42" y="648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60" y="630"/>
                  </a:lnTo>
                  <a:lnTo>
                    <a:pt x="66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78" y="624"/>
                  </a:lnTo>
                  <a:lnTo>
                    <a:pt x="84" y="618"/>
                  </a:lnTo>
                  <a:lnTo>
                    <a:pt x="84" y="612"/>
                  </a:lnTo>
                  <a:lnTo>
                    <a:pt x="90" y="612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20" y="588"/>
                  </a:lnTo>
                  <a:lnTo>
                    <a:pt x="120" y="582"/>
                  </a:lnTo>
                  <a:lnTo>
                    <a:pt x="120" y="576"/>
                  </a:lnTo>
                  <a:lnTo>
                    <a:pt x="120" y="570"/>
                  </a:lnTo>
                  <a:lnTo>
                    <a:pt x="126" y="564"/>
                  </a:lnTo>
                  <a:lnTo>
                    <a:pt x="126" y="558"/>
                  </a:lnTo>
                  <a:lnTo>
                    <a:pt x="126" y="552"/>
                  </a:lnTo>
                  <a:lnTo>
                    <a:pt x="126" y="546"/>
                  </a:lnTo>
                  <a:lnTo>
                    <a:pt x="126" y="534"/>
                  </a:lnTo>
                  <a:lnTo>
                    <a:pt x="126" y="516"/>
                  </a:lnTo>
                  <a:lnTo>
                    <a:pt x="126" y="510"/>
                  </a:lnTo>
                  <a:lnTo>
                    <a:pt x="126" y="504"/>
                  </a:lnTo>
                  <a:lnTo>
                    <a:pt x="126" y="498"/>
                  </a:lnTo>
                  <a:lnTo>
                    <a:pt x="132" y="498"/>
                  </a:lnTo>
                  <a:lnTo>
                    <a:pt x="132" y="492"/>
                  </a:lnTo>
                  <a:lnTo>
                    <a:pt x="138" y="492"/>
                  </a:lnTo>
                  <a:lnTo>
                    <a:pt x="144" y="486"/>
                  </a:lnTo>
                  <a:lnTo>
                    <a:pt x="156" y="480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6" y="462"/>
                  </a:lnTo>
                  <a:lnTo>
                    <a:pt x="156" y="456"/>
                  </a:lnTo>
                  <a:lnTo>
                    <a:pt x="156" y="450"/>
                  </a:lnTo>
                  <a:lnTo>
                    <a:pt x="162" y="438"/>
                  </a:lnTo>
                  <a:lnTo>
                    <a:pt x="168" y="426"/>
                  </a:lnTo>
                  <a:lnTo>
                    <a:pt x="174" y="426"/>
                  </a:lnTo>
                  <a:lnTo>
                    <a:pt x="174" y="420"/>
                  </a:lnTo>
                  <a:lnTo>
                    <a:pt x="180" y="414"/>
                  </a:lnTo>
                  <a:lnTo>
                    <a:pt x="186" y="420"/>
                  </a:lnTo>
                  <a:lnTo>
                    <a:pt x="186" y="414"/>
                  </a:lnTo>
                  <a:lnTo>
                    <a:pt x="180" y="408"/>
                  </a:lnTo>
                  <a:lnTo>
                    <a:pt x="180" y="402"/>
                  </a:lnTo>
                  <a:lnTo>
                    <a:pt x="186" y="402"/>
                  </a:lnTo>
                  <a:lnTo>
                    <a:pt x="192" y="402"/>
                  </a:lnTo>
                  <a:lnTo>
                    <a:pt x="192" y="396"/>
                  </a:lnTo>
                  <a:lnTo>
                    <a:pt x="198" y="396"/>
                  </a:lnTo>
                  <a:lnTo>
                    <a:pt x="204" y="396"/>
                  </a:lnTo>
                  <a:lnTo>
                    <a:pt x="210" y="396"/>
                  </a:lnTo>
                  <a:lnTo>
                    <a:pt x="210" y="390"/>
                  </a:lnTo>
                  <a:lnTo>
                    <a:pt x="216" y="390"/>
                  </a:lnTo>
                  <a:lnTo>
                    <a:pt x="216" y="384"/>
                  </a:lnTo>
                  <a:lnTo>
                    <a:pt x="222" y="384"/>
                  </a:lnTo>
                  <a:lnTo>
                    <a:pt x="222" y="378"/>
                  </a:lnTo>
                  <a:lnTo>
                    <a:pt x="228" y="372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0" y="348"/>
                  </a:lnTo>
                  <a:lnTo>
                    <a:pt x="234" y="342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46" y="330"/>
                  </a:lnTo>
                  <a:lnTo>
                    <a:pt x="246" y="324"/>
                  </a:lnTo>
                  <a:lnTo>
                    <a:pt x="234" y="318"/>
                  </a:lnTo>
                  <a:lnTo>
                    <a:pt x="234" y="312"/>
                  </a:lnTo>
                  <a:lnTo>
                    <a:pt x="234" y="300"/>
                  </a:lnTo>
                  <a:lnTo>
                    <a:pt x="240" y="288"/>
                  </a:lnTo>
                  <a:lnTo>
                    <a:pt x="240" y="276"/>
                  </a:lnTo>
                  <a:lnTo>
                    <a:pt x="246" y="258"/>
                  </a:lnTo>
                  <a:lnTo>
                    <a:pt x="258" y="252"/>
                  </a:lnTo>
                  <a:lnTo>
                    <a:pt x="270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294" y="252"/>
                  </a:lnTo>
                  <a:lnTo>
                    <a:pt x="300" y="258"/>
                  </a:lnTo>
                  <a:lnTo>
                    <a:pt x="318" y="252"/>
                  </a:lnTo>
                  <a:lnTo>
                    <a:pt x="366" y="252"/>
                  </a:lnTo>
                  <a:lnTo>
                    <a:pt x="378" y="252"/>
                  </a:lnTo>
                  <a:lnTo>
                    <a:pt x="396" y="252"/>
                  </a:lnTo>
                  <a:lnTo>
                    <a:pt x="408" y="252"/>
                  </a:lnTo>
                  <a:lnTo>
                    <a:pt x="408" y="246"/>
                  </a:lnTo>
                  <a:lnTo>
                    <a:pt x="414" y="240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20" y="216"/>
                  </a:lnTo>
                  <a:lnTo>
                    <a:pt x="426" y="210"/>
                  </a:lnTo>
                  <a:lnTo>
                    <a:pt x="444" y="198"/>
                  </a:lnTo>
                  <a:lnTo>
                    <a:pt x="462" y="198"/>
                  </a:lnTo>
                  <a:lnTo>
                    <a:pt x="474" y="204"/>
                  </a:lnTo>
                  <a:lnTo>
                    <a:pt x="498" y="198"/>
                  </a:lnTo>
                  <a:lnTo>
                    <a:pt x="498" y="204"/>
                  </a:lnTo>
                  <a:lnTo>
                    <a:pt x="540" y="210"/>
                  </a:lnTo>
                  <a:lnTo>
                    <a:pt x="564" y="210"/>
                  </a:lnTo>
                  <a:lnTo>
                    <a:pt x="588" y="210"/>
                  </a:lnTo>
                  <a:lnTo>
                    <a:pt x="612" y="210"/>
                  </a:lnTo>
                  <a:lnTo>
                    <a:pt x="612" y="216"/>
                  </a:lnTo>
                  <a:lnTo>
                    <a:pt x="618" y="222"/>
                  </a:lnTo>
                  <a:lnTo>
                    <a:pt x="618" y="228"/>
                  </a:lnTo>
                  <a:lnTo>
                    <a:pt x="624" y="240"/>
                  </a:lnTo>
                  <a:lnTo>
                    <a:pt x="624" y="246"/>
                  </a:lnTo>
                  <a:lnTo>
                    <a:pt x="630" y="252"/>
                  </a:lnTo>
                  <a:lnTo>
                    <a:pt x="630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0" y="282"/>
                  </a:lnTo>
                  <a:lnTo>
                    <a:pt x="630" y="288"/>
                  </a:lnTo>
                  <a:lnTo>
                    <a:pt x="630" y="300"/>
                  </a:lnTo>
                  <a:lnTo>
                    <a:pt x="630" y="306"/>
                  </a:lnTo>
                  <a:lnTo>
                    <a:pt x="636" y="306"/>
                  </a:lnTo>
                  <a:lnTo>
                    <a:pt x="642" y="306"/>
                  </a:lnTo>
                  <a:lnTo>
                    <a:pt x="648" y="312"/>
                  </a:lnTo>
                  <a:lnTo>
                    <a:pt x="666" y="312"/>
                  </a:lnTo>
                  <a:lnTo>
                    <a:pt x="696" y="306"/>
                  </a:lnTo>
                  <a:lnTo>
                    <a:pt x="732" y="300"/>
                  </a:lnTo>
                  <a:lnTo>
                    <a:pt x="732" y="288"/>
                  </a:lnTo>
                  <a:lnTo>
                    <a:pt x="738" y="288"/>
                  </a:lnTo>
                  <a:lnTo>
                    <a:pt x="744" y="276"/>
                  </a:lnTo>
                  <a:lnTo>
                    <a:pt x="762" y="246"/>
                  </a:lnTo>
                  <a:lnTo>
                    <a:pt x="768" y="228"/>
                  </a:lnTo>
                  <a:lnTo>
                    <a:pt x="792" y="210"/>
                  </a:lnTo>
                  <a:lnTo>
                    <a:pt x="804" y="186"/>
                  </a:lnTo>
                  <a:lnTo>
                    <a:pt x="804" y="156"/>
                  </a:lnTo>
                  <a:lnTo>
                    <a:pt x="804" y="138"/>
                  </a:lnTo>
                  <a:lnTo>
                    <a:pt x="810" y="126"/>
                  </a:lnTo>
                  <a:lnTo>
                    <a:pt x="816" y="120"/>
                  </a:lnTo>
                  <a:lnTo>
                    <a:pt x="828" y="102"/>
                  </a:lnTo>
                  <a:lnTo>
                    <a:pt x="834" y="96"/>
                  </a:lnTo>
                  <a:lnTo>
                    <a:pt x="846" y="102"/>
                  </a:lnTo>
                  <a:lnTo>
                    <a:pt x="852" y="96"/>
                  </a:lnTo>
                  <a:lnTo>
                    <a:pt x="858" y="72"/>
                  </a:lnTo>
                  <a:lnTo>
                    <a:pt x="864" y="60"/>
                  </a:lnTo>
                  <a:lnTo>
                    <a:pt x="882" y="48"/>
                  </a:lnTo>
                  <a:lnTo>
                    <a:pt x="906" y="36"/>
                  </a:lnTo>
                  <a:lnTo>
                    <a:pt x="918" y="12"/>
                  </a:lnTo>
                  <a:lnTo>
                    <a:pt x="924" y="0"/>
                  </a:lnTo>
                  <a:lnTo>
                    <a:pt x="930" y="6"/>
                  </a:lnTo>
                  <a:lnTo>
                    <a:pt x="942" y="12"/>
                  </a:lnTo>
                  <a:lnTo>
                    <a:pt x="948" y="12"/>
                  </a:lnTo>
                  <a:lnTo>
                    <a:pt x="954" y="18"/>
                  </a:lnTo>
                  <a:lnTo>
                    <a:pt x="966" y="18"/>
                  </a:lnTo>
                  <a:lnTo>
                    <a:pt x="972" y="18"/>
                  </a:lnTo>
                  <a:lnTo>
                    <a:pt x="984" y="18"/>
                  </a:lnTo>
                  <a:lnTo>
                    <a:pt x="990" y="18"/>
                  </a:lnTo>
                  <a:lnTo>
                    <a:pt x="1002" y="48"/>
                  </a:lnTo>
                  <a:lnTo>
                    <a:pt x="1008" y="78"/>
                  </a:lnTo>
                  <a:lnTo>
                    <a:pt x="1020" y="78"/>
                  </a:lnTo>
                  <a:lnTo>
                    <a:pt x="1020" y="90"/>
                  </a:lnTo>
                  <a:lnTo>
                    <a:pt x="1026" y="102"/>
                  </a:lnTo>
                  <a:lnTo>
                    <a:pt x="1044" y="120"/>
                  </a:lnTo>
                  <a:lnTo>
                    <a:pt x="1044" y="132"/>
                  </a:lnTo>
                  <a:lnTo>
                    <a:pt x="1056" y="150"/>
                  </a:lnTo>
                  <a:lnTo>
                    <a:pt x="1050" y="150"/>
                  </a:lnTo>
                  <a:lnTo>
                    <a:pt x="1044" y="156"/>
                  </a:lnTo>
                  <a:lnTo>
                    <a:pt x="1044" y="162"/>
                  </a:lnTo>
                  <a:lnTo>
                    <a:pt x="1038" y="162"/>
                  </a:lnTo>
                  <a:lnTo>
                    <a:pt x="1032" y="162"/>
                  </a:lnTo>
                  <a:lnTo>
                    <a:pt x="1026" y="168"/>
                  </a:lnTo>
                  <a:lnTo>
                    <a:pt x="1014" y="174"/>
                  </a:lnTo>
                  <a:lnTo>
                    <a:pt x="1014" y="186"/>
                  </a:lnTo>
                  <a:lnTo>
                    <a:pt x="1014" y="192"/>
                  </a:lnTo>
                  <a:lnTo>
                    <a:pt x="1014" y="198"/>
                  </a:lnTo>
                  <a:lnTo>
                    <a:pt x="1020" y="204"/>
                  </a:lnTo>
                  <a:lnTo>
                    <a:pt x="1026" y="204"/>
                  </a:lnTo>
                  <a:lnTo>
                    <a:pt x="1032" y="204"/>
                  </a:lnTo>
                  <a:lnTo>
                    <a:pt x="1032" y="210"/>
                  </a:lnTo>
                  <a:lnTo>
                    <a:pt x="1038" y="210"/>
                  </a:lnTo>
                  <a:lnTo>
                    <a:pt x="1032" y="216"/>
                  </a:lnTo>
                  <a:lnTo>
                    <a:pt x="1026" y="228"/>
                  </a:lnTo>
                  <a:lnTo>
                    <a:pt x="1026" y="234"/>
                  </a:lnTo>
                  <a:lnTo>
                    <a:pt x="1032" y="240"/>
                  </a:lnTo>
                  <a:lnTo>
                    <a:pt x="1032" y="246"/>
                  </a:lnTo>
                  <a:lnTo>
                    <a:pt x="1032" y="252"/>
                  </a:lnTo>
                  <a:lnTo>
                    <a:pt x="1032" y="258"/>
                  </a:lnTo>
                  <a:lnTo>
                    <a:pt x="1038" y="264"/>
                  </a:lnTo>
                  <a:lnTo>
                    <a:pt x="1032" y="276"/>
                  </a:lnTo>
                  <a:lnTo>
                    <a:pt x="1026" y="276"/>
                  </a:lnTo>
                  <a:lnTo>
                    <a:pt x="1020" y="276"/>
                  </a:lnTo>
                  <a:lnTo>
                    <a:pt x="996" y="282"/>
                  </a:lnTo>
                  <a:lnTo>
                    <a:pt x="996" y="288"/>
                  </a:lnTo>
                  <a:lnTo>
                    <a:pt x="996" y="294"/>
                  </a:lnTo>
                  <a:lnTo>
                    <a:pt x="996" y="300"/>
                  </a:lnTo>
                  <a:lnTo>
                    <a:pt x="996" y="306"/>
                  </a:lnTo>
                  <a:lnTo>
                    <a:pt x="984" y="324"/>
                  </a:lnTo>
                  <a:lnTo>
                    <a:pt x="984" y="330"/>
                  </a:lnTo>
                  <a:lnTo>
                    <a:pt x="984" y="336"/>
                  </a:lnTo>
                  <a:lnTo>
                    <a:pt x="978" y="336"/>
                  </a:lnTo>
                  <a:lnTo>
                    <a:pt x="978" y="342"/>
                  </a:lnTo>
                  <a:lnTo>
                    <a:pt x="984" y="360"/>
                  </a:lnTo>
                  <a:lnTo>
                    <a:pt x="978" y="366"/>
                  </a:lnTo>
                  <a:lnTo>
                    <a:pt x="978" y="372"/>
                  </a:lnTo>
                  <a:lnTo>
                    <a:pt x="972" y="372"/>
                  </a:lnTo>
                  <a:lnTo>
                    <a:pt x="972" y="378"/>
                  </a:lnTo>
                  <a:lnTo>
                    <a:pt x="972" y="384"/>
                  </a:lnTo>
                  <a:lnTo>
                    <a:pt x="972" y="390"/>
                  </a:lnTo>
                  <a:lnTo>
                    <a:pt x="966" y="402"/>
                  </a:lnTo>
                  <a:lnTo>
                    <a:pt x="960" y="414"/>
                  </a:lnTo>
                  <a:lnTo>
                    <a:pt x="954" y="420"/>
                  </a:lnTo>
                  <a:lnTo>
                    <a:pt x="948" y="426"/>
                  </a:lnTo>
                  <a:lnTo>
                    <a:pt x="948" y="438"/>
                  </a:lnTo>
                  <a:lnTo>
                    <a:pt x="942" y="444"/>
                  </a:lnTo>
                  <a:lnTo>
                    <a:pt x="936" y="450"/>
                  </a:lnTo>
                  <a:lnTo>
                    <a:pt x="930" y="456"/>
                  </a:lnTo>
                  <a:lnTo>
                    <a:pt x="924" y="462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18" y="522"/>
                  </a:lnTo>
                  <a:lnTo>
                    <a:pt x="918" y="528"/>
                  </a:lnTo>
                  <a:lnTo>
                    <a:pt x="924" y="534"/>
                  </a:lnTo>
                  <a:lnTo>
                    <a:pt x="924" y="540"/>
                  </a:lnTo>
                  <a:lnTo>
                    <a:pt x="924" y="546"/>
                  </a:lnTo>
                  <a:lnTo>
                    <a:pt x="918" y="546"/>
                  </a:lnTo>
                  <a:lnTo>
                    <a:pt x="918" y="552"/>
                  </a:lnTo>
                  <a:lnTo>
                    <a:pt x="912" y="546"/>
                  </a:lnTo>
                  <a:lnTo>
                    <a:pt x="912" y="552"/>
                  </a:lnTo>
                  <a:lnTo>
                    <a:pt x="912" y="570"/>
                  </a:lnTo>
                  <a:lnTo>
                    <a:pt x="906" y="588"/>
                  </a:lnTo>
                  <a:lnTo>
                    <a:pt x="900" y="606"/>
                  </a:lnTo>
                  <a:lnTo>
                    <a:pt x="906" y="624"/>
                  </a:lnTo>
                  <a:lnTo>
                    <a:pt x="900" y="624"/>
                  </a:lnTo>
                  <a:lnTo>
                    <a:pt x="894" y="630"/>
                  </a:lnTo>
                  <a:lnTo>
                    <a:pt x="888" y="630"/>
                  </a:lnTo>
                  <a:lnTo>
                    <a:pt x="882" y="630"/>
                  </a:lnTo>
                  <a:lnTo>
                    <a:pt x="882" y="636"/>
                  </a:lnTo>
                  <a:lnTo>
                    <a:pt x="876" y="642"/>
                  </a:lnTo>
                  <a:lnTo>
                    <a:pt x="870" y="642"/>
                  </a:lnTo>
                  <a:lnTo>
                    <a:pt x="870" y="648"/>
                  </a:lnTo>
                  <a:lnTo>
                    <a:pt x="870" y="654"/>
                  </a:lnTo>
                  <a:lnTo>
                    <a:pt x="864" y="654"/>
                  </a:lnTo>
                  <a:lnTo>
                    <a:pt x="864" y="660"/>
                  </a:lnTo>
                  <a:lnTo>
                    <a:pt x="846" y="666"/>
                  </a:lnTo>
                  <a:lnTo>
                    <a:pt x="828" y="672"/>
                  </a:lnTo>
                  <a:lnTo>
                    <a:pt x="816" y="660"/>
                  </a:lnTo>
                  <a:lnTo>
                    <a:pt x="810" y="660"/>
                  </a:lnTo>
                  <a:lnTo>
                    <a:pt x="798" y="666"/>
                  </a:lnTo>
                  <a:lnTo>
                    <a:pt x="786" y="666"/>
                  </a:lnTo>
                  <a:lnTo>
                    <a:pt x="780" y="672"/>
                  </a:lnTo>
                  <a:lnTo>
                    <a:pt x="768" y="678"/>
                  </a:lnTo>
                  <a:lnTo>
                    <a:pt x="762" y="660"/>
                  </a:lnTo>
                  <a:lnTo>
                    <a:pt x="762" y="654"/>
                  </a:lnTo>
                  <a:lnTo>
                    <a:pt x="756" y="636"/>
                  </a:lnTo>
                  <a:lnTo>
                    <a:pt x="762" y="624"/>
                  </a:lnTo>
                  <a:lnTo>
                    <a:pt x="756" y="606"/>
                  </a:lnTo>
                  <a:lnTo>
                    <a:pt x="756" y="600"/>
                  </a:lnTo>
                  <a:lnTo>
                    <a:pt x="762" y="594"/>
                  </a:lnTo>
                  <a:lnTo>
                    <a:pt x="768" y="600"/>
                  </a:lnTo>
                  <a:lnTo>
                    <a:pt x="768" y="594"/>
                  </a:lnTo>
                  <a:lnTo>
                    <a:pt x="768" y="588"/>
                  </a:lnTo>
                  <a:lnTo>
                    <a:pt x="774" y="582"/>
                  </a:lnTo>
                  <a:lnTo>
                    <a:pt x="768" y="576"/>
                  </a:lnTo>
                  <a:lnTo>
                    <a:pt x="762" y="576"/>
                  </a:lnTo>
                  <a:lnTo>
                    <a:pt x="756" y="576"/>
                  </a:lnTo>
                  <a:lnTo>
                    <a:pt x="690" y="576"/>
                  </a:lnTo>
                  <a:lnTo>
                    <a:pt x="624" y="570"/>
                  </a:lnTo>
                  <a:lnTo>
                    <a:pt x="600" y="564"/>
                  </a:lnTo>
                  <a:lnTo>
                    <a:pt x="576" y="564"/>
                  </a:lnTo>
                  <a:lnTo>
                    <a:pt x="558" y="570"/>
                  </a:lnTo>
                  <a:lnTo>
                    <a:pt x="552" y="576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46" y="594"/>
                  </a:lnTo>
                  <a:lnTo>
                    <a:pt x="546" y="600"/>
                  </a:lnTo>
                  <a:lnTo>
                    <a:pt x="540" y="606"/>
                  </a:lnTo>
                  <a:lnTo>
                    <a:pt x="534" y="618"/>
                  </a:lnTo>
                  <a:lnTo>
                    <a:pt x="534" y="624"/>
                  </a:lnTo>
                  <a:lnTo>
                    <a:pt x="534" y="630"/>
                  </a:lnTo>
                  <a:lnTo>
                    <a:pt x="534" y="636"/>
                  </a:lnTo>
                  <a:lnTo>
                    <a:pt x="528" y="636"/>
                  </a:lnTo>
                  <a:lnTo>
                    <a:pt x="516" y="642"/>
                  </a:lnTo>
                  <a:lnTo>
                    <a:pt x="516" y="648"/>
                  </a:lnTo>
                  <a:lnTo>
                    <a:pt x="510" y="648"/>
                  </a:lnTo>
                  <a:lnTo>
                    <a:pt x="504" y="654"/>
                  </a:lnTo>
                  <a:lnTo>
                    <a:pt x="492" y="666"/>
                  </a:lnTo>
                  <a:lnTo>
                    <a:pt x="492" y="672"/>
                  </a:lnTo>
                  <a:lnTo>
                    <a:pt x="492" y="684"/>
                  </a:lnTo>
                  <a:lnTo>
                    <a:pt x="486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92" y="702"/>
                  </a:lnTo>
                  <a:lnTo>
                    <a:pt x="486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74" y="720"/>
                  </a:lnTo>
                  <a:lnTo>
                    <a:pt x="480" y="726"/>
                  </a:lnTo>
                  <a:lnTo>
                    <a:pt x="474" y="726"/>
                  </a:lnTo>
                  <a:lnTo>
                    <a:pt x="474" y="738"/>
                  </a:lnTo>
                  <a:lnTo>
                    <a:pt x="474" y="744"/>
                  </a:lnTo>
                  <a:lnTo>
                    <a:pt x="474" y="750"/>
                  </a:lnTo>
                  <a:lnTo>
                    <a:pt x="480" y="750"/>
                  </a:lnTo>
                  <a:lnTo>
                    <a:pt x="480" y="756"/>
                  </a:lnTo>
                  <a:lnTo>
                    <a:pt x="492" y="762"/>
                  </a:lnTo>
                  <a:lnTo>
                    <a:pt x="498" y="774"/>
                  </a:lnTo>
                  <a:lnTo>
                    <a:pt x="498" y="780"/>
                  </a:lnTo>
                  <a:lnTo>
                    <a:pt x="504" y="786"/>
                  </a:lnTo>
                  <a:lnTo>
                    <a:pt x="510" y="792"/>
                  </a:lnTo>
                  <a:lnTo>
                    <a:pt x="504" y="798"/>
                  </a:lnTo>
                  <a:lnTo>
                    <a:pt x="504" y="804"/>
                  </a:lnTo>
                  <a:lnTo>
                    <a:pt x="504" y="810"/>
                  </a:lnTo>
                  <a:lnTo>
                    <a:pt x="498" y="822"/>
                  </a:lnTo>
                  <a:lnTo>
                    <a:pt x="492" y="828"/>
                  </a:lnTo>
                  <a:lnTo>
                    <a:pt x="492" y="834"/>
                  </a:lnTo>
                  <a:lnTo>
                    <a:pt x="486" y="840"/>
                  </a:lnTo>
                  <a:lnTo>
                    <a:pt x="480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74" y="858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876"/>
                  </a:lnTo>
                  <a:lnTo>
                    <a:pt x="456" y="894"/>
                  </a:lnTo>
                  <a:lnTo>
                    <a:pt x="450" y="894"/>
                  </a:lnTo>
                  <a:lnTo>
                    <a:pt x="444" y="900"/>
                  </a:lnTo>
                  <a:lnTo>
                    <a:pt x="444" y="894"/>
                  </a:lnTo>
                  <a:lnTo>
                    <a:pt x="438" y="894"/>
                  </a:lnTo>
                  <a:lnTo>
                    <a:pt x="432" y="900"/>
                  </a:lnTo>
                  <a:lnTo>
                    <a:pt x="432" y="906"/>
                  </a:lnTo>
                  <a:lnTo>
                    <a:pt x="420" y="906"/>
                  </a:lnTo>
                  <a:lnTo>
                    <a:pt x="420" y="912"/>
                  </a:lnTo>
                  <a:lnTo>
                    <a:pt x="420" y="918"/>
                  </a:lnTo>
                  <a:lnTo>
                    <a:pt x="426" y="918"/>
                  </a:lnTo>
                  <a:lnTo>
                    <a:pt x="426" y="924"/>
                  </a:lnTo>
                  <a:lnTo>
                    <a:pt x="426" y="930"/>
                  </a:lnTo>
                  <a:lnTo>
                    <a:pt x="420" y="930"/>
                  </a:lnTo>
                  <a:lnTo>
                    <a:pt x="414" y="936"/>
                  </a:lnTo>
                  <a:lnTo>
                    <a:pt x="414" y="942"/>
                  </a:lnTo>
                  <a:lnTo>
                    <a:pt x="414" y="948"/>
                  </a:lnTo>
                  <a:lnTo>
                    <a:pt x="414" y="954"/>
                  </a:lnTo>
                  <a:lnTo>
                    <a:pt x="426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44" y="972"/>
                  </a:lnTo>
                  <a:lnTo>
                    <a:pt x="444" y="978"/>
                  </a:lnTo>
                  <a:lnTo>
                    <a:pt x="450" y="978"/>
                  </a:lnTo>
                  <a:lnTo>
                    <a:pt x="450" y="984"/>
                  </a:lnTo>
                  <a:lnTo>
                    <a:pt x="456" y="990"/>
                  </a:lnTo>
                  <a:lnTo>
                    <a:pt x="456" y="996"/>
                  </a:lnTo>
                  <a:lnTo>
                    <a:pt x="462" y="1008"/>
                  </a:lnTo>
                  <a:lnTo>
                    <a:pt x="468" y="1008"/>
                  </a:lnTo>
                  <a:lnTo>
                    <a:pt x="468" y="1002"/>
                  </a:lnTo>
                  <a:lnTo>
                    <a:pt x="474" y="1008"/>
                  </a:lnTo>
                  <a:lnTo>
                    <a:pt x="480" y="1002"/>
                  </a:lnTo>
                  <a:lnTo>
                    <a:pt x="486" y="1008"/>
                  </a:lnTo>
                  <a:lnTo>
                    <a:pt x="486" y="1014"/>
                  </a:lnTo>
                  <a:lnTo>
                    <a:pt x="492" y="1014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86" y="1026"/>
                  </a:lnTo>
                  <a:lnTo>
                    <a:pt x="492" y="1026"/>
                  </a:lnTo>
                  <a:lnTo>
                    <a:pt x="486" y="1026"/>
                  </a:lnTo>
                  <a:lnTo>
                    <a:pt x="492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5" name="Freeform 30">
              <a:extLst>
                <a:ext uri="{FF2B5EF4-FFF2-40B4-BE49-F238E27FC236}">
                  <a16:creationId xmlns:a16="http://schemas.microsoft.com/office/drawing/2014/main" id="{85C7B827-0C1A-4D72-AEBD-F01CFE7EC12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3645" y="3904484"/>
              <a:ext cx="559048" cy="111825"/>
            </a:xfrm>
            <a:custGeom>
              <a:avLst/>
              <a:gdLst>
                <a:gd name="T0" fmla="*/ 69 w 1056"/>
                <a:gd name="T1" fmla="*/ 7 h 210"/>
                <a:gd name="T2" fmla="*/ 63 w 1056"/>
                <a:gd name="T3" fmla="*/ 5 h 210"/>
                <a:gd name="T4" fmla="*/ 57 w 1056"/>
                <a:gd name="T5" fmla="*/ 5 h 210"/>
                <a:gd name="T6" fmla="*/ 54 w 1056"/>
                <a:gd name="T7" fmla="*/ 6 h 210"/>
                <a:gd name="T8" fmla="*/ 51 w 1056"/>
                <a:gd name="T9" fmla="*/ 7 h 210"/>
                <a:gd name="T10" fmla="*/ 46 w 1056"/>
                <a:gd name="T11" fmla="*/ 9 h 210"/>
                <a:gd name="T12" fmla="*/ 42 w 1056"/>
                <a:gd name="T13" fmla="*/ 8 h 210"/>
                <a:gd name="T14" fmla="*/ 42 w 1056"/>
                <a:gd name="T15" fmla="*/ 5 h 210"/>
                <a:gd name="T16" fmla="*/ 41 w 1056"/>
                <a:gd name="T17" fmla="*/ 7 h 210"/>
                <a:gd name="T18" fmla="*/ 38 w 1056"/>
                <a:gd name="T19" fmla="*/ 10 h 210"/>
                <a:gd name="T20" fmla="*/ 37 w 1056"/>
                <a:gd name="T21" fmla="*/ 12 h 210"/>
                <a:gd name="T22" fmla="*/ 37 w 1056"/>
                <a:gd name="T23" fmla="*/ 15 h 210"/>
                <a:gd name="T24" fmla="*/ 37 w 1056"/>
                <a:gd name="T25" fmla="*/ 16 h 210"/>
                <a:gd name="T26" fmla="*/ 38 w 1056"/>
                <a:gd name="T27" fmla="*/ 16 h 210"/>
                <a:gd name="T28" fmla="*/ 34 w 1056"/>
                <a:gd name="T29" fmla="*/ 16 h 210"/>
                <a:gd name="T30" fmla="*/ 26 w 1056"/>
                <a:gd name="T31" fmla="*/ 16 h 210"/>
                <a:gd name="T32" fmla="*/ 20 w 1056"/>
                <a:gd name="T33" fmla="*/ 17 h 210"/>
                <a:gd name="T34" fmla="*/ 13 w 1056"/>
                <a:gd name="T35" fmla="*/ 17 h 210"/>
                <a:gd name="T36" fmla="*/ 6 w 1056"/>
                <a:gd name="T37" fmla="*/ 17 h 210"/>
                <a:gd name="T38" fmla="*/ 1 w 1056"/>
                <a:gd name="T39" fmla="*/ 18 h 210"/>
                <a:gd name="T40" fmla="*/ 3 w 1056"/>
                <a:gd name="T41" fmla="*/ 14 h 210"/>
                <a:gd name="T42" fmla="*/ 8 w 1056"/>
                <a:gd name="T43" fmla="*/ 15 h 210"/>
                <a:gd name="T44" fmla="*/ 11 w 1056"/>
                <a:gd name="T45" fmla="*/ 12 h 210"/>
                <a:gd name="T46" fmla="*/ 26 w 1056"/>
                <a:gd name="T47" fmla="*/ 10 h 210"/>
                <a:gd name="T48" fmla="*/ 29 w 1056"/>
                <a:gd name="T49" fmla="*/ 5 h 210"/>
                <a:gd name="T50" fmla="*/ 34 w 1056"/>
                <a:gd name="T51" fmla="*/ 1 h 210"/>
                <a:gd name="T52" fmla="*/ 41 w 1056"/>
                <a:gd name="T53" fmla="*/ 3 h 210"/>
                <a:gd name="T54" fmla="*/ 73 w 1056"/>
                <a:gd name="T55" fmla="*/ 1 h 210"/>
                <a:gd name="T56" fmla="*/ 75 w 1056"/>
                <a:gd name="T57" fmla="*/ 4 h 210"/>
                <a:gd name="T58" fmla="*/ 85 w 1056"/>
                <a:gd name="T59" fmla="*/ 15 h 210"/>
                <a:gd name="T60" fmla="*/ 91 w 1056"/>
                <a:gd name="T61" fmla="*/ 18 h 210"/>
                <a:gd name="T62" fmla="*/ 85 w 1056"/>
                <a:gd name="T63" fmla="*/ 18 h 210"/>
                <a:gd name="T64" fmla="*/ 79 w 1056"/>
                <a:gd name="T65" fmla="*/ 16 h 210"/>
                <a:gd name="T66" fmla="*/ 74 w 1056"/>
                <a:gd name="T67" fmla="*/ 16 h 210"/>
                <a:gd name="T68" fmla="*/ 69 w 1056"/>
                <a:gd name="T69" fmla="*/ 15 h 210"/>
                <a:gd name="T70" fmla="*/ 65 w 1056"/>
                <a:gd name="T71" fmla="*/ 14 h 210"/>
                <a:gd name="T72" fmla="*/ 59 w 1056"/>
                <a:gd name="T73" fmla="*/ 15 h 210"/>
                <a:gd name="T74" fmla="*/ 54 w 1056"/>
                <a:gd name="T75" fmla="*/ 15 h 210"/>
                <a:gd name="T76" fmla="*/ 49 w 1056"/>
                <a:gd name="T77" fmla="*/ 15 h 210"/>
                <a:gd name="T78" fmla="*/ 42 w 1056"/>
                <a:gd name="T79" fmla="*/ 15 h 210"/>
                <a:gd name="T80" fmla="*/ 38 w 1056"/>
                <a:gd name="T81" fmla="*/ 16 h 210"/>
                <a:gd name="T82" fmla="*/ 41 w 1056"/>
                <a:gd name="T83" fmla="*/ 14 h 210"/>
                <a:gd name="T84" fmla="*/ 42 w 1056"/>
                <a:gd name="T85" fmla="*/ 13 h 210"/>
                <a:gd name="T86" fmla="*/ 45 w 1056"/>
                <a:gd name="T87" fmla="*/ 13 h 210"/>
                <a:gd name="T88" fmla="*/ 48 w 1056"/>
                <a:gd name="T89" fmla="*/ 12 h 210"/>
                <a:gd name="T90" fmla="*/ 51 w 1056"/>
                <a:gd name="T91" fmla="*/ 11 h 210"/>
                <a:gd name="T92" fmla="*/ 54 w 1056"/>
                <a:gd name="T93" fmla="*/ 9 h 210"/>
                <a:gd name="T94" fmla="*/ 57 w 1056"/>
                <a:gd name="T95" fmla="*/ 8 h 210"/>
                <a:gd name="T96" fmla="*/ 60 w 1056"/>
                <a:gd name="T97" fmla="*/ 5 h 210"/>
                <a:gd name="T98" fmla="*/ 65 w 1056"/>
                <a:gd name="T99" fmla="*/ 5 h 210"/>
                <a:gd name="T100" fmla="*/ 72 w 1056"/>
                <a:gd name="T101" fmla="*/ 7 h 210"/>
                <a:gd name="T102" fmla="*/ 77 w 1056"/>
                <a:gd name="T103" fmla="*/ 11 h 210"/>
                <a:gd name="T104" fmla="*/ 69 w 1056"/>
                <a:gd name="T105" fmla="*/ 10 h 210"/>
                <a:gd name="T106" fmla="*/ 72 w 1056"/>
                <a:gd name="T107" fmla="*/ 12 h 210"/>
                <a:gd name="T108" fmla="*/ 78 w 1056"/>
                <a:gd name="T109" fmla="*/ 15 h 210"/>
                <a:gd name="T110" fmla="*/ 84 w 1056"/>
                <a:gd name="T111" fmla="*/ 14 h 210"/>
                <a:gd name="T112" fmla="*/ 84 w 1056"/>
                <a:gd name="T113" fmla="*/ 14 h 210"/>
                <a:gd name="T114" fmla="*/ 78 w 1056"/>
                <a:gd name="T115" fmla="*/ 13 h 210"/>
                <a:gd name="T116" fmla="*/ 76 w 1056"/>
                <a:gd name="T117" fmla="*/ 14 h 210"/>
                <a:gd name="T118" fmla="*/ 38 w 1056"/>
                <a:gd name="T119" fmla="*/ 12 h 210"/>
                <a:gd name="T120" fmla="*/ 41 w 1056"/>
                <a:gd name="T121" fmla="*/ 12 h 210"/>
                <a:gd name="T122" fmla="*/ 40 w 1056"/>
                <a:gd name="T123" fmla="*/ 14 h 2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6"/>
                <a:gd name="T187" fmla="*/ 0 h 210"/>
                <a:gd name="T188" fmla="*/ 1056 w 1056"/>
                <a:gd name="T189" fmla="*/ 210 h 21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6" h="210">
                  <a:moveTo>
                    <a:pt x="870" y="90"/>
                  </a:moveTo>
                  <a:lnTo>
                    <a:pt x="864" y="90"/>
                  </a:lnTo>
                  <a:lnTo>
                    <a:pt x="852" y="84"/>
                  </a:lnTo>
                  <a:lnTo>
                    <a:pt x="846" y="84"/>
                  </a:lnTo>
                  <a:lnTo>
                    <a:pt x="846" y="78"/>
                  </a:lnTo>
                  <a:lnTo>
                    <a:pt x="840" y="78"/>
                  </a:lnTo>
                  <a:lnTo>
                    <a:pt x="834" y="78"/>
                  </a:lnTo>
                  <a:lnTo>
                    <a:pt x="834" y="72"/>
                  </a:lnTo>
                  <a:lnTo>
                    <a:pt x="804" y="78"/>
                  </a:lnTo>
                  <a:lnTo>
                    <a:pt x="798" y="78"/>
                  </a:lnTo>
                  <a:lnTo>
                    <a:pt x="792" y="72"/>
                  </a:lnTo>
                  <a:lnTo>
                    <a:pt x="780" y="60"/>
                  </a:lnTo>
                  <a:lnTo>
                    <a:pt x="768" y="54"/>
                  </a:lnTo>
                  <a:lnTo>
                    <a:pt x="756" y="54"/>
                  </a:lnTo>
                  <a:lnTo>
                    <a:pt x="750" y="54"/>
                  </a:lnTo>
                  <a:lnTo>
                    <a:pt x="750" y="48"/>
                  </a:lnTo>
                  <a:lnTo>
                    <a:pt x="744" y="48"/>
                  </a:lnTo>
                  <a:lnTo>
                    <a:pt x="738" y="48"/>
                  </a:lnTo>
                  <a:lnTo>
                    <a:pt x="732" y="48"/>
                  </a:lnTo>
                  <a:lnTo>
                    <a:pt x="732" y="54"/>
                  </a:lnTo>
                  <a:lnTo>
                    <a:pt x="726" y="48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48"/>
                  </a:lnTo>
                  <a:lnTo>
                    <a:pt x="702" y="48"/>
                  </a:lnTo>
                  <a:lnTo>
                    <a:pt x="696" y="48"/>
                  </a:lnTo>
                  <a:lnTo>
                    <a:pt x="684" y="48"/>
                  </a:lnTo>
                  <a:lnTo>
                    <a:pt x="678" y="48"/>
                  </a:lnTo>
                  <a:lnTo>
                    <a:pt x="672" y="48"/>
                  </a:lnTo>
                  <a:lnTo>
                    <a:pt x="666" y="54"/>
                  </a:lnTo>
                  <a:lnTo>
                    <a:pt x="660" y="54"/>
                  </a:lnTo>
                  <a:lnTo>
                    <a:pt x="660" y="48"/>
                  </a:lnTo>
                  <a:lnTo>
                    <a:pt x="654" y="48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42" y="54"/>
                  </a:lnTo>
                  <a:lnTo>
                    <a:pt x="63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30" y="66"/>
                  </a:lnTo>
                  <a:lnTo>
                    <a:pt x="624" y="66"/>
                  </a:lnTo>
                  <a:lnTo>
                    <a:pt x="618" y="66"/>
                  </a:lnTo>
                  <a:lnTo>
                    <a:pt x="618" y="72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6" y="84"/>
                  </a:lnTo>
                  <a:lnTo>
                    <a:pt x="600" y="84"/>
                  </a:lnTo>
                  <a:lnTo>
                    <a:pt x="594" y="90"/>
                  </a:lnTo>
                  <a:lnTo>
                    <a:pt x="588" y="90"/>
                  </a:lnTo>
                  <a:lnTo>
                    <a:pt x="588" y="84"/>
                  </a:lnTo>
                  <a:lnTo>
                    <a:pt x="582" y="84"/>
                  </a:lnTo>
                  <a:lnTo>
                    <a:pt x="576" y="84"/>
                  </a:lnTo>
                  <a:lnTo>
                    <a:pt x="570" y="84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58" y="96"/>
                  </a:lnTo>
                  <a:lnTo>
                    <a:pt x="552" y="96"/>
                  </a:lnTo>
                  <a:lnTo>
                    <a:pt x="546" y="102"/>
                  </a:lnTo>
                  <a:lnTo>
                    <a:pt x="540" y="102"/>
                  </a:lnTo>
                  <a:lnTo>
                    <a:pt x="534" y="102"/>
                  </a:lnTo>
                  <a:lnTo>
                    <a:pt x="528" y="102"/>
                  </a:lnTo>
                  <a:lnTo>
                    <a:pt x="528" y="108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16" y="102"/>
                  </a:lnTo>
                  <a:lnTo>
                    <a:pt x="510" y="102"/>
                  </a:lnTo>
                  <a:lnTo>
                    <a:pt x="504" y="102"/>
                  </a:lnTo>
                  <a:lnTo>
                    <a:pt x="498" y="102"/>
                  </a:lnTo>
                  <a:lnTo>
                    <a:pt x="498" y="96"/>
                  </a:lnTo>
                  <a:lnTo>
                    <a:pt x="492" y="96"/>
                  </a:lnTo>
                  <a:lnTo>
                    <a:pt x="492" y="90"/>
                  </a:lnTo>
                  <a:lnTo>
                    <a:pt x="492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498" y="66"/>
                  </a:lnTo>
                  <a:lnTo>
                    <a:pt x="504" y="60"/>
                  </a:lnTo>
                  <a:lnTo>
                    <a:pt x="498" y="60"/>
                  </a:lnTo>
                  <a:lnTo>
                    <a:pt x="498" y="54"/>
                  </a:lnTo>
                  <a:lnTo>
                    <a:pt x="492" y="54"/>
                  </a:lnTo>
                  <a:lnTo>
                    <a:pt x="492" y="60"/>
                  </a:lnTo>
                  <a:lnTo>
                    <a:pt x="486" y="60"/>
                  </a:lnTo>
                  <a:lnTo>
                    <a:pt x="486" y="66"/>
                  </a:lnTo>
                  <a:lnTo>
                    <a:pt x="480" y="66"/>
                  </a:lnTo>
                  <a:lnTo>
                    <a:pt x="474" y="72"/>
                  </a:lnTo>
                  <a:lnTo>
                    <a:pt x="474" y="66"/>
                  </a:lnTo>
                  <a:lnTo>
                    <a:pt x="474" y="72"/>
                  </a:lnTo>
                  <a:lnTo>
                    <a:pt x="468" y="72"/>
                  </a:lnTo>
                  <a:lnTo>
                    <a:pt x="468" y="78"/>
                  </a:lnTo>
                  <a:lnTo>
                    <a:pt x="468" y="84"/>
                  </a:lnTo>
                  <a:lnTo>
                    <a:pt x="462" y="90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0" y="84"/>
                  </a:lnTo>
                  <a:lnTo>
                    <a:pt x="450" y="90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44" y="102"/>
                  </a:lnTo>
                  <a:lnTo>
                    <a:pt x="444" y="108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38" y="126"/>
                  </a:lnTo>
                  <a:lnTo>
                    <a:pt x="438" y="132"/>
                  </a:lnTo>
                  <a:lnTo>
                    <a:pt x="438" y="138"/>
                  </a:lnTo>
                  <a:lnTo>
                    <a:pt x="438" y="144"/>
                  </a:lnTo>
                  <a:lnTo>
                    <a:pt x="432" y="144"/>
                  </a:lnTo>
                  <a:lnTo>
                    <a:pt x="432" y="150"/>
                  </a:lnTo>
                  <a:lnTo>
                    <a:pt x="432" y="144"/>
                  </a:lnTo>
                  <a:lnTo>
                    <a:pt x="426" y="144"/>
                  </a:lnTo>
                  <a:lnTo>
                    <a:pt x="426" y="150"/>
                  </a:lnTo>
                  <a:lnTo>
                    <a:pt x="426" y="156"/>
                  </a:lnTo>
                  <a:lnTo>
                    <a:pt x="432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2"/>
                  </a:lnTo>
                  <a:lnTo>
                    <a:pt x="432" y="168"/>
                  </a:lnTo>
                  <a:lnTo>
                    <a:pt x="426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44" y="168"/>
                  </a:lnTo>
                  <a:lnTo>
                    <a:pt x="444" y="174"/>
                  </a:lnTo>
                  <a:lnTo>
                    <a:pt x="444" y="180"/>
                  </a:lnTo>
                  <a:lnTo>
                    <a:pt x="444" y="186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2" y="192"/>
                  </a:lnTo>
                  <a:lnTo>
                    <a:pt x="426" y="192"/>
                  </a:lnTo>
                  <a:lnTo>
                    <a:pt x="420" y="186"/>
                  </a:lnTo>
                  <a:lnTo>
                    <a:pt x="414" y="186"/>
                  </a:lnTo>
                  <a:lnTo>
                    <a:pt x="408" y="186"/>
                  </a:lnTo>
                  <a:lnTo>
                    <a:pt x="402" y="186"/>
                  </a:lnTo>
                  <a:lnTo>
                    <a:pt x="396" y="186"/>
                  </a:lnTo>
                  <a:lnTo>
                    <a:pt x="390" y="186"/>
                  </a:lnTo>
                  <a:lnTo>
                    <a:pt x="384" y="186"/>
                  </a:lnTo>
                  <a:lnTo>
                    <a:pt x="378" y="186"/>
                  </a:lnTo>
                  <a:lnTo>
                    <a:pt x="372" y="186"/>
                  </a:lnTo>
                  <a:lnTo>
                    <a:pt x="354" y="186"/>
                  </a:lnTo>
                  <a:lnTo>
                    <a:pt x="342" y="186"/>
                  </a:lnTo>
                  <a:lnTo>
                    <a:pt x="324" y="186"/>
                  </a:lnTo>
                  <a:lnTo>
                    <a:pt x="312" y="186"/>
                  </a:lnTo>
                  <a:lnTo>
                    <a:pt x="306" y="186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82" y="186"/>
                  </a:lnTo>
                  <a:lnTo>
                    <a:pt x="270" y="186"/>
                  </a:lnTo>
                  <a:lnTo>
                    <a:pt x="264" y="186"/>
                  </a:lnTo>
                  <a:lnTo>
                    <a:pt x="258" y="192"/>
                  </a:lnTo>
                  <a:lnTo>
                    <a:pt x="258" y="186"/>
                  </a:lnTo>
                  <a:lnTo>
                    <a:pt x="246" y="186"/>
                  </a:lnTo>
                  <a:lnTo>
                    <a:pt x="240" y="186"/>
                  </a:lnTo>
                  <a:lnTo>
                    <a:pt x="234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2"/>
                  </a:lnTo>
                  <a:lnTo>
                    <a:pt x="204" y="192"/>
                  </a:lnTo>
                  <a:lnTo>
                    <a:pt x="198" y="192"/>
                  </a:lnTo>
                  <a:lnTo>
                    <a:pt x="192" y="192"/>
                  </a:lnTo>
                  <a:lnTo>
                    <a:pt x="180" y="192"/>
                  </a:lnTo>
                  <a:lnTo>
                    <a:pt x="168" y="192"/>
                  </a:lnTo>
                  <a:lnTo>
                    <a:pt x="162" y="192"/>
                  </a:lnTo>
                  <a:lnTo>
                    <a:pt x="150" y="192"/>
                  </a:lnTo>
                  <a:lnTo>
                    <a:pt x="138" y="192"/>
                  </a:lnTo>
                  <a:lnTo>
                    <a:pt x="132" y="192"/>
                  </a:lnTo>
                  <a:lnTo>
                    <a:pt x="120" y="192"/>
                  </a:lnTo>
                  <a:lnTo>
                    <a:pt x="114" y="192"/>
                  </a:lnTo>
                  <a:lnTo>
                    <a:pt x="108" y="192"/>
                  </a:lnTo>
                  <a:lnTo>
                    <a:pt x="102" y="192"/>
                  </a:lnTo>
                  <a:lnTo>
                    <a:pt x="90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2" y="198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36" y="198"/>
                  </a:lnTo>
                  <a:lnTo>
                    <a:pt x="30" y="204"/>
                  </a:lnTo>
                  <a:lnTo>
                    <a:pt x="24" y="204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6" y="210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54" y="156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56"/>
                  </a:lnTo>
                  <a:lnTo>
                    <a:pt x="78" y="162"/>
                  </a:lnTo>
                  <a:lnTo>
                    <a:pt x="84" y="162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9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0" y="126"/>
                  </a:lnTo>
                  <a:lnTo>
                    <a:pt x="276" y="120"/>
                  </a:lnTo>
                  <a:lnTo>
                    <a:pt x="282" y="120"/>
                  </a:lnTo>
                  <a:lnTo>
                    <a:pt x="300" y="120"/>
                  </a:lnTo>
                  <a:lnTo>
                    <a:pt x="306" y="114"/>
                  </a:lnTo>
                  <a:lnTo>
                    <a:pt x="312" y="108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8"/>
                  </a:lnTo>
                  <a:lnTo>
                    <a:pt x="342" y="30"/>
                  </a:lnTo>
                  <a:lnTo>
                    <a:pt x="342" y="24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8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24"/>
                  </a:lnTo>
                  <a:lnTo>
                    <a:pt x="414" y="30"/>
                  </a:lnTo>
                  <a:lnTo>
                    <a:pt x="420" y="30"/>
                  </a:lnTo>
                  <a:lnTo>
                    <a:pt x="42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74" y="30"/>
                  </a:lnTo>
                  <a:lnTo>
                    <a:pt x="474" y="18"/>
                  </a:lnTo>
                  <a:lnTo>
                    <a:pt x="474" y="12"/>
                  </a:lnTo>
                  <a:lnTo>
                    <a:pt x="480" y="12"/>
                  </a:lnTo>
                  <a:lnTo>
                    <a:pt x="486" y="12"/>
                  </a:lnTo>
                  <a:lnTo>
                    <a:pt x="606" y="12"/>
                  </a:lnTo>
                  <a:lnTo>
                    <a:pt x="630" y="12"/>
                  </a:lnTo>
                  <a:lnTo>
                    <a:pt x="678" y="12"/>
                  </a:lnTo>
                  <a:lnTo>
                    <a:pt x="744" y="12"/>
                  </a:lnTo>
                  <a:lnTo>
                    <a:pt x="774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2" y="6"/>
                  </a:lnTo>
                  <a:lnTo>
                    <a:pt x="888" y="12"/>
                  </a:lnTo>
                  <a:lnTo>
                    <a:pt x="888" y="24"/>
                  </a:lnTo>
                  <a:lnTo>
                    <a:pt x="888" y="30"/>
                  </a:lnTo>
                  <a:lnTo>
                    <a:pt x="882" y="36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64" y="42"/>
                  </a:lnTo>
                  <a:lnTo>
                    <a:pt x="864" y="48"/>
                  </a:lnTo>
                  <a:lnTo>
                    <a:pt x="858" y="54"/>
                  </a:lnTo>
                  <a:lnTo>
                    <a:pt x="864" y="54"/>
                  </a:lnTo>
                  <a:lnTo>
                    <a:pt x="870" y="72"/>
                  </a:lnTo>
                  <a:lnTo>
                    <a:pt x="870" y="78"/>
                  </a:lnTo>
                  <a:lnTo>
                    <a:pt x="870" y="84"/>
                  </a:lnTo>
                  <a:lnTo>
                    <a:pt x="870" y="90"/>
                  </a:lnTo>
                  <a:close/>
                  <a:moveTo>
                    <a:pt x="972" y="156"/>
                  </a:moveTo>
                  <a:lnTo>
                    <a:pt x="972" y="162"/>
                  </a:lnTo>
                  <a:lnTo>
                    <a:pt x="978" y="162"/>
                  </a:lnTo>
                  <a:lnTo>
                    <a:pt x="984" y="168"/>
                  </a:lnTo>
                  <a:lnTo>
                    <a:pt x="990" y="168"/>
                  </a:lnTo>
                  <a:lnTo>
                    <a:pt x="990" y="162"/>
                  </a:lnTo>
                  <a:lnTo>
                    <a:pt x="1008" y="162"/>
                  </a:lnTo>
                  <a:lnTo>
                    <a:pt x="1020" y="162"/>
                  </a:lnTo>
                  <a:lnTo>
                    <a:pt x="1038" y="162"/>
                  </a:lnTo>
                  <a:lnTo>
                    <a:pt x="1056" y="168"/>
                  </a:lnTo>
                  <a:lnTo>
                    <a:pt x="1056" y="180"/>
                  </a:lnTo>
                  <a:lnTo>
                    <a:pt x="1056" y="186"/>
                  </a:lnTo>
                  <a:lnTo>
                    <a:pt x="1056" y="204"/>
                  </a:lnTo>
                  <a:lnTo>
                    <a:pt x="1050" y="204"/>
                  </a:lnTo>
                  <a:lnTo>
                    <a:pt x="1044" y="204"/>
                  </a:lnTo>
                  <a:lnTo>
                    <a:pt x="1038" y="204"/>
                  </a:lnTo>
                  <a:lnTo>
                    <a:pt x="1032" y="204"/>
                  </a:lnTo>
                  <a:lnTo>
                    <a:pt x="1026" y="204"/>
                  </a:lnTo>
                  <a:lnTo>
                    <a:pt x="1020" y="204"/>
                  </a:lnTo>
                  <a:lnTo>
                    <a:pt x="1014" y="204"/>
                  </a:lnTo>
                  <a:lnTo>
                    <a:pt x="1008" y="204"/>
                  </a:lnTo>
                  <a:lnTo>
                    <a:pt x="1002" y="204"/>
                  </a:lnTo>
                  <a:lnTo>
                    <a:pt x="996" y="204"/>
                  </a:lnTo>
                  <a:lnTo>
                    <a:pt x="984" y="204"/>
                  </a:lnTo>
                  <a:lnTo>
                    <a:pt x="984" y="198"/>
                  </a:lnTo>
                  <a:lnTo>
                    <a:pt x="978" y="198"/>
                  </a:lnTo>
                  <a:lnTo>
                    <a:pt x="966" y="198"/>
                  </a:lnTo>
                  <a:lnTo>
                    <a:pt x="948" y="192"/>
                  </a:lnTo>
                  <a:lnTo>
                    <a:pt x="942" y="192"/>
                  </a:lnTo>
                  <a:lnTo>
                    <a:pt x="936" y="192"/>
                  </a:lnTo>
                  <a:lnTo>
                    <a:pt x="924" y="192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12" y="186"/>
                  </a:lnTo>
                  <a:lnTo>
                    <a:pt x="906" y="186"/>
                  </a:lnTo>
                  <a:lnTo>
                    <a:pt x="900" y="186"/>
                  </a:lnTo>
                  <a:lnTo>
                    <a:pt x="894" y="186"/>
                  </a:lnTo>
                  <a:lnTo>
                    <a:pt x="888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76" y="180"/>
                  </a:lnTo>
                  <a:lnTo>
                    <a:pt x="870" y="180"/>
                  </a:lnTo>
                  <a:lnTo>
                    <a:pt x="864" y="180"/>
                  </a:lnTo>
                  <a:lnTo>
                    <a:pt x="858" y="180"/>
                  </a:lnTo>
                  <a:lnTo>
                    <a:pt x="852" y="180"/>
                  </a:lnTo>
                  <a:lnTo>
                    <a:pt x="852" y="174"/>
                  </a:lnTo>
                  <a:lnTo>
                    <a:pt x="846" y="174"/>
                  </a:lnTo>
                  <a:lnTo>
                    <a:pt x="840" y="174"/>
                  </a:lnTo>
                  <a:lnTo>
                    <a:pt x="834" y="174"/>
                  </a:lnTo>
                  <a:lnTo>
                    <a:pt x="828" y="174"/>
                  </a:lnTo>
                  <a:lnTo>
                    <a:pt x="822" y="174"/>
                  </a:lnTo>
                  <a:lnTo>
                    <a:pt x="816" y="174"/>
                  </a:lnTo>
                  <a:lnTo>
                    <a:pt x="810" y="168"/>
                  </a:lnTo>
                  <a:lnTo>
                    <a:pt x="804" y="168"/>
                  </a:lnTo>
                  <a:lnTo>
                    <a:pt x="798" y="168"/>
                  </a:lnTo>
                  <a:lnTo>
                    <a:pt x="792" y="168"/>
                  </a:lnTo>
                  <a:lnTo>
                    <a:pt x="786" y="168"/>
                  </a:lnTo>
                  <a:lnTo>
                    <a:pt x="780" y="168"/>
                  </a:lnTo>
                  <a:lnTo>
                    <a:pt x="774" y="168"/>
                  </a:lnTo>
                  <a:lnTo>
                    <a:pt x="768" y="168"/>
                  </a:lnTo>
                  <a:lnTo>
                    <a:pt x="762" y="168"/>
                  </a:lnTo>
                  <a:lnTo>
                    <a:pt x="756" y="168"/>
                  </a:lnTo>
                  <a:lnTo>
                    <a:pt x="750" y="168"/>
                  </a:lnTo>
                  <a:lnTo>
                    <a:pt x="750" y="162"/>
                  </a:lnTo>
                  <a:lnTo>
                    <a:pt x="744" y="168"/>
                  </a:lnTo>
                  <a:lnTo>
                    <a:pt x="738" y="162"/>
                  </a:lnTo>
                  <a:lnTo>
                    <a:pt x="732" y="162"/>
                  </a:lnTo>
                  <a:lnTo>
                    <a:pt x="726" y="162"/>
                  </a:lnTo>
                  <a:lnTo>
                    <a:pt x="714" y="162"/>
                  </a:lnTo>
                  <a:lnTo>
                    <a:pt x="702" y="162"/>
                  </a:lnTo>
                  <a:lnTo>
                    <a:pt x="696" y="168"/>
                  </a:lnTo>
                  <a:lnTo>
                    <a:pt x="690" y="168"/>
                  </a:lnTo>
                  <a:lnTo>
                    <a:pt x="684" y="168"/>
                  </a:lnTo>
                  <a:lnTo>
                    <a:pt x="678" y="168"/>
                  </a:lnTo>
                  <a:lnTo>
                    <a:pt x="672" y="168"/>
                  </a:lnTo>
                  <a:lnTo>
                    <a:pt x="666" y="168"/>
                  </a:lnTo>
                  <a:lnTo>
                    <a:pt x="660" y="168"/>
                  </a:lnTo>
                  <a:lnTo>
                    <a:pt x="654" y="168"/>
                  </a:lnTo>
                  <a:lnTo>
                    <a:pt x="648" y="174"/>
                  </a:lnTo>
                  <a:lnTo>
                    <a:pt x="648" y="168"/>
                  </a:lnTo>
                  <a:lnTo>
                    <a:pt x="642" y="174"/>
                  </a:lnTo>
                  <a:lnTo>
                    <a:pt x="636" y="174"/>
                  </a:lnTo>
                  <a:lnTo>
                    <a:pt x="630" y="174"/>
                  </a:lnTo>
                  <a:lnTo>
                    <a:pt x="624" y="174"/>
                  </a:lnTo>
                  <a:lnTo>
                    <a:pt x="618" y="174"/>
                  </a:lnTo>
                  <a:lnTo>
                    <a:pt x="612" y="174"/>
                  </a:lnTo>
                  <a:lnTo>
                    <a:pt x="606" y="174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74"/>
                  </a:lnTo>
                  <a:lnTo>
                    <a:pt x="582" y="174"/>
                  </a:lnTo>
                  <a:lnTo>
                    <a:pt x="576" y="174"/>
                  </a:lnTo>
                  <a:lnTo>
                    <a:pt x="570" y="174"/>
                  </a:lnTo>
                  <a:lnTo>
                    <a:pt x="564" y="174"/>
                  </a:lnTo>
                  <a:lnTo>
                    <a:pt x="558" y="174"/>
                  </a:lnTo>
                  <a:lnTo>
                    <a:pt x="552" y="174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0" y="174"/>
                  </a:lnTo>
                  <a:lnTo>
                    <a:pt x="504" y="174"/>
                  </a:lnTo>
                  <a:lnTo>
                    <a:pt x="498" y="174"/>
                  </a:lnTo>
                  <a:lnTo>
                    <a:pt x="492" y="174"/>
                  </a:lnTo>
                  <a:lnTo>
                    <a:pt x="486" y="174"/>
                  </a:lnTo>
                  <a:lnTo>
                    <a:pt x="480" y="174"/>
                  </a:lnTo>
                  <a:lnTo>
                    <a:pt x="474" y="174"/>
                  </a:lnTo>
                  <a:lnTo>
                    <a:pt x="468" y="174"/>
                  </a:lnTo>
                  <a:lnTo>
                    <a:pt x="462" y="174"/>
                  </a:lnTo>
                  <a:lnTo>
                    <a:pt x="456" y="174"/>
                  </a:lnTo>
                  <a:lnTo>
                    <a:pt x="450" y="180"/>
                  </a:lnTo>
                  <a:lnTo>
                    <a:pt x="450" y="186"/>
                  </a:lnTo>
                  <a:lnTo>
                    <a:pt x="450" y="192"/>
                  </a:lnTo>
                  <a:lnTo>
                    <a:pt x="444" y="192"/>
                  </a:lnTo>
                  <a:lnTo>
                    <a:pt x="444" y="186"/>
                  </a:lnTo>
                  <a:lnTo>
                    <a:pt x="444" y="180"/>
                  </a:lnTo>
                  <a:lnTo>
                    <a:pt x="450" y="180"/>
                  </a:lnTo>
                  <a:lnTo>
                    <a:pt x="450" y="174"/>
                  </a:lnTo>
                  <a:lnTo>
                    <a:pt x="450" y="168"/>
                  </a:lnTo>
                  <a:lnTo>
                    <a:pt x="450" y="162"/>
                  </a:lnTo>
                  <a:lnTo>
                    <a:pt x="456" y="162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62" y="162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74" y="168"/>
                  </a:lnTo>
                  <a:lnTo>
                    <a:pt x="480" y="168"/>
                  </a:lnTo>
                  <a:lnTo>
                    <a:pt x="480" y="162"/>
                  </a:lnTo>
                  <a:lnTo>
                    <a:pt x="480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56"/>
                  </a:lnTo>
                  <a:lnTo>
                    <a:pt x="492" y="156"/>
                  </a:lnTo>
                  <a:lnTo>
                    <a:pt x="486" y="150"/>
                  </a:lnTo>
                  <a:lnTo>
                    <a:pt x="492" y="150"/>
                  </a:lnTo>
                  <a:lnTo>
                    <a:pt x="498" y="150"/>
                  </a:lnTo>
                  <a:lnTo>
                    <a:pt x="498" y="156"/>
                  </a:lnTo>
                  <a:lnTo>
                    <a:pt x="504" y="156"/>
                  </a:lnTo>
                  <a:lnTo>
                    <a:pt x="504" y="162"/>
                  </a:lnTo>
                  <a:lnTo>
                    <a:pt x="504" y="156"/>
                  </a:lnTo>
                  <a:lnTo>
                    <a:pt x="510" y="156"/>
                  </a:lnTo>
                  <a:lnTo>
                    <a:pt x="510" y="150"/>
                  </a:lnTo>
                  <a:lnTo>
                    <a:pt x="516" y="150"/>
                  </a:lnTo>
                  <a:lnTo>
                    <a:pt x="522" y="150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28" y="150"/>
                  </a:lnTo>
                  <a:lnTo>
                    <a:pt x="528" y="144"/>
                  </a:lnTo>
                  <a:lnTo>
                    <a:pt x="540" y="144"/>
                  </a:lnTo>
                  <a:lnTo>
                    <a:pt x="546" y="144"/>
                  </a:lnTo>
                  <a:lnTo>
                    <a:pt x="552" y="138"/>
                  </a:lnTo>
                  <a:lnTo>
                    <a:pt x="552" y="132"/>
                  </a:lnTo>
                  <a:lnTo>
                    <a:pt x="558" y="132"/>
                  </a:lnTo>
                  <a:lnTo>
                    <a:pt x="558" y="126"/>
                  </a:lnTo>
                  <a:lnTo>
                    <a:pt x="558" y="120"/>
                  </a:lnTo>
                  <a:lnTo>
                    <a:pt x="558" y="114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6" y="114"/>
                  </a:lnTo>
                  <a:lnTo>
                    <a:pt x="582" y="120"/>
                  </a:lnTo>
                  <a:lnTo>
                    <a:pt x="588" y="120"/>
                  </a:lnTo>
                  <a:lnTo>
                    <a:pt x="588" y="126"/>
                  </a:lnTo>
                  <a:lnTo>
                    <a:pt x="588" y="120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600" y="114"/>
                  </a:lnTo>
                  <a:lnTo>
                    <a:pt x="606" y="114"/>
                  </a:lnTo>
                  <a:lnTo>
                    <a:pt x="618" y="114"/>
                  </a:lnTo>
                  <a:lnTo>
                    <a:pt x="618" y="108"/>
                  </a:lnTo>
                  <a:lnTo>
                    <a:pt x="624" y="108"/>
                  </a:lnTo>
                  <a:lnTo>
                    <a:pt x="624" y="102"/>
                  </a:lnTo>
                  <a:lnTo>
                    <a:pt x="630" y="102"/>
                  </a:lnTo>
                  <a:lnTo>
                    <a:pt x="636" y="102"/>
                  </a:lnTo>
                  <a:lnTo>
                    <a:pt x="636" y="108"/>
                  </a:lnTo>
                  <a:lnTo>
                    <a:pt x="642" y="108"/>
                  </a:lnTo>
                  <a:lnTo>
                    <a:pt x="648" y="108"/>
                  </a:lnTo>
                  <a:lnTo>
                    <a:pt x="648" y="102"/>
                  </a:lnTo>
                  <a:lnTo>
                    <a:pt x="654" y="102"/>
                  </a:lnTo>
                  <a:lnTo>
                    <a:pt x="660" y="102"/>
                  </a:lnTo>
                  <a:lnTo>
                    <a:pt x="660" y="96"/>
                  </a:lnTo>
                  <a:lnTo>
                    <a:pt x="660" y="90"/>
                  </a:lnTo>
                  <a:lnTo>
                    <a:pt x="666" y="90"/>
                  </a:lnTo>
                  <a:lnTo>
                    <a:pt x="666" y="84"/>
                  </a:lnTo>
                  <a:lnTo>
                    <a:pt x="672" y="78"/>
                  </a:lnTo>
                  <a:lnTo>
                    <a:pt x="672" y="72"/>
                  </a:lnTo>
                  <a:lnTo>
                    <a:pt x="678" y="66"/>
                  </a:lnTo>
                  <a:lnTo>
                    <a:pt x="684" y="66"/>
                  </a:lnTo>
                  <a:lnTo>
                    <a:pt x="684" y="60"/>
                  </a:lnTo>
                  <a:lnTo>
                    <a:pt x="690" y="60"/>
                  </a:lnTo>
                  <a:lnTo>
                    <a:pt x="696" y="60"/>
                  </a:lnTo>
                  <a:lnTo>
                    <a:pt x="702" y="60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66"/>
                  </a:lnTo>
                  <a:lnTo>
                    <a:pt x="720" y="66"/>
                  </a:lnTo>
                  <a:lnTo>
                    <a:pt x="720" y="60"/>
                  </a:lnTo>
                  <a:lnTo>
                    <a:pt x="726" y="60"/>
                  </a:lnTo>
                  <a:lnTo>
                    <a:pt x="732" y="60"/>
                  </a:lnTo>
                  <a:lnTo>
                    <a:pt x="744" y="60"/>
                  </a:lnTo>
                  <a:lnTo>
                    <a:pt x="750" y="54"/>
                  </a:lnTo>
                  <a:lnTo>
                    <a:pt x="762" y="60"/>
                  </a:lnTo>
                  <a:lnTo>
                    <a:pt x="774" y="60"/>
                  </a:lnTo>
                  <a:lnTo>
                    <a:pt x="774" y="66"/>
                  </a:lnTo>
                  <a:lnTo>
                    <a:pt x="780" y="72"/>
                  </a:lnTo>
                  <a:lnTo>
                    <a:pt x="786" y="78"/>
                  </a:lnTo>
                  <a:lnTo>
                    <a:pt x="792" y="78"/>
                  </a:lnTo>
                  <a:lnTo>
                    <a:pt x="810" y="84"/>
                  </a:lnTo>
                  <a:lnTo>
                    <a:pt x="822" y="84"/>
                  </a:lnTo>
                  <a:lnTo>
                    <a:pt x="828" y="84"/>
                  </a:lnTo>
                  <a:lnTo>
                    <a:pt x="834" y="84"/>
                  </a:lnTo>
                  <a:lnTo>
                    <a:pt x="840" y="96"/>
                  </a:lnTo>
                  <a:lnTo>
                    <a:pt x="846" y="102"/>
                  </a:lnTo>
                  <a:lnTo>
                    <a:pt x="858" y="102"/>
                  </a:lnTo>
                  <a:lnTo>
                    <a:pt x="864" y="102"/>
                  </a:lnTo>
                  <a:lnTo>
                    <a:pt x="876" y="96"/>
                  </a:lnTo>
                  <a:lnTo>
                    <a:pt x="882" y="102"/>
                  </a:lnTo>
                  <a:lnTo>
                    <a:pt x="888" y="108"/>
                  </a:lnTo>
                  <a:lnTo>
                    <a:pt x="888" y="114"/>
                  </a:lnTo>
                  <a:lnTo>
                    <a:pt x="888" y="120"/>
                  </a:lnTo>
                  <a:lnTo>
                    <a:pt x="888" y="126"/>
                  </a:lnTo>
                  <a:lnTo>
                    <a:pt x="888" y="132"/>
                  </a:lnTo>
                  <a:lnTo>
                    <a:pt x="882" y="132"/>
                  </a:lnTo>
                  <a:lnTo>
                    <a:pt x="864" y="126"/>
                  </a:lnTo>
                  <a:lnTo>
                    <a:pt x="852" y="120"/>
                  </a:lnTo>
                  <a:lnTo>
                    <a:pt x="840" y="126"/>
                  </a:lnTo>
                  <a:lnTo>
                    <a:pt x="834" y="120"/>
                  </a:lnTo>
                  <a:lnTo>
                    <a:pt x="828" y="120"/>
                  </a:lnTo>
                  <a:lnTo>
                    <a:pt x="822" y="120"/>
                  </a:lnTo>
                  <a:lnTo>
                    <a:pt x="810" y="114"/>
                  </a:lnTo>
                  <a:lnTo>
                    <a:pt x="804" y="114"/>
                  </a:lnTo>
                  <a:lnTo>
                    <a:pt x="798" y="114"/>
                  </a:lnTo>
                  <a:lnTo>
                    <a:pt x="792" y="114"/>
                  </a:lnTo>
                  <a:lnTo>
                    <a:pt x="786" y="114"/>
                  </a:lnTo>
                  <a:lnTo>
                    <a:pt x="780" y="114"/>
                  </a:lnTo>
                  <a:lnTo>
                    <a:pt x="780" y="126"/>
                  </a:lnTo>
                  <a:lnTo>
                    <a:pt x="786" y="126"/>
                  </a:lnTo>
                  <a:lnTo>
                    <a:pt x="798" y="126"/>
                  </a:lnTo>
                  <a:lnTo>
                    <a:pt x="804" y="126"/>
                  </a:lnTo>
                  <a:lnTo>
                    <a:pt x="822" y="132"/>
                  </a:lnTo>
                  <a:lnTo>
                    <a:pt x="828" y="132"/>
                  </a:lnTo>
                  <a:lnTo>
                    <a:pt x="834" y="132"/>
                  </a:lnTo>
                  <a:lnTo>
                    <a:pt x="840" y="144"/>
                  </a:lnTo>
                  <a:lnTo>
                    <a:pt x="846" y="150"/>
                  </a:lnTo>
                  <a:lnTo>
                    <a:pt x="858" y="150"/>
                  </a:lnTo>
                  <a:lnTo>
                    <a:pt x="864" y="162"/>
                  </a:lnTo>
                  <a:lnTo>
                    <a:pt x="870" y="162"/>
                  </a:lnTo>
                  <a:lnTo>
                    <a:pt x="876" y="168"/>
                  </a:lnTo>
                  <a:lnTo>
                    <a:pt x="888" y="168"/>
                  </a:lnTo>
                  <a:lnTo>
                    <a:pt x="894" y="174"/>
                  </a:lnTo>
                  <a:lnTo>
                    <a:pt x="900" y="174"/>
                  </a:lnTo>
                  <a:lnTo>
                    <a:pt x="918" y="174"/>
                  </a:lnTo>
                  <a:lnTo>
                    <a:pt x="924" y="174"/>
                  </a:lnTo>
                  <a:lnTo>
                    <a:pt x="930" y="174"/>
                  </a:lnTo>
                  <a:lnTo>
                    <a:pt x="942" y="174"/>
                  </a:lnTo>
                  <a:lnTo>
                    <a:pt x="954" y="174"/>
                  </a:lnTo>
                  <a:lnTo>
                    <a:pt x="960" y="174"/>
                  </a:lnTo>
                  <a:lnTo>
                    <a:pt x="966" y="174"/>
                  </a:lnTo>
                  <a:lnTo>
                    <a:pt x="966" y="168"/>
                  </a:lnTo>
                  <a:lnTo>
                    <a:pt x="972" y="162"/>
                  </a:lnTo>
                  <a:lnTo>
                    <a:pt x="972" y="156"/>
                  </a:lnTo>
                  <a:close/>
                  <a:moveTo>
                    <a:pt x="942" y="174"/>
                  </a:moveTo>
                  <a:lnTo>
                    <a:pt x="936" y="174"/>
                  </a:lnTo>
                  <a:lnTo>
                    <a:pt x="936" y="168"/>
                  </a:lnTo>
                  <a:lnTo>
                    <a:pt x="936" y="162"/>
                  </a:lnTo>
                  <a:lnTo>
                    <a:pt x="948" y="162"/>
                  </a:lnTo>
                  <a:lnTo>
                    <a:pt x="948" y="156"/>
                  </a:lnTo>
                  <a:lnTo>
                    <a:pt x="954" y="156"/>
                  </a:lnTo>
                  <a:lnTo>
                    <a:pt x="960" y="156"/>
                  </a:lnTo>
                  <a:lnTo>
                    <a:pt x="966" y="156"/>
                  </a:lnTo>
                  <a:lnTo>
                    <a:pt x="966" y="162"/>
                  </a:lnTo>
                  <a:lnTo>
                    <a:pt x="960" y="168"/>
                  </a:lnTo>
                  <a:lnTo>
                    <a:pt x="942" y="174"/>
                  </a:lnTo>
                  <a:close/>
                  <a:moveTo>
                    <a:pt x="900" y="168"/>
                  </a:moveTo>
                  <a:lnTo>
                    <a:pt x="894" y="168"/>
                  </a:lnTo>
                  <a:lnTo>
                    <a:pt x="882" y="156"/>
                  </a:lnTo>
                  <a:lnTo>
                    <a:pt x="882" y="150"/>
                  </a:lnTo>
                  <a:lnTo>
                    <a:pt x="888" y="156"/>
                  </a:lnTo>
                  <a:lnTo>
                    <a:pt x="894" y="150"/>
                  </a:lnTo>
                  <a:lnTo>
                    <a:pt x="900" y="150"/>
                  </a:lnTo>
                  <a:lnTo>
                    <a:pt x="906" y="150"/>
                  </a:lnTo>
                  <a:lnTo>
                    <a:pt x="912" y="150"/>
                  </a:lnTo>
                  <a:lnTo>
                    <a:pt x="924" y="150"/>
                  </a:lnTo>
                  <a:lnTo>
                    <a:pt x="924" y="156"/>
                  </a:lnTo>
                  <a:lnTo>
                    <a:pt x="924" y="162"/>
                  </a:lnTo>
                  <a:lnTo>
                    <a:pt x="924" y="168"/>
                  </a:lnTo>
                  <a:lnTo>
                    <a:pt x="918" y="168"/>
                  </a:lnTo>
                  <a:lnTo>
                    <a:pt x="906" y="168"/>
                  </a:lnTo>
                  <a:lnTo>
                    <a:pt x="900" y="168"/>
                  </a:lnTo>
                  <a:close/>
                  <a:moveTo>
                    <a:pt x="870" y="162"/>
                  </a:moveTo>
                  <a:lnTo>
                    <a:pt x="876" y="162"/>
                  </a:lnTo>
                  <a:lnTo>
                    <a:pt x="876" y="168"/>
                  </a:lnTo>
                  <a:lnTo>
                    <a:pt x="870" y="168"/>
                  </a:lnTo>
                  <a:lnTo>
                    <a:pt x="870" y="162"/>
                  </a:lnTo>
                  <a:close/>
                  <a:moveTo>
                    <a:pt x="450" y="162"/>
                  </a:moveTo>
                  <a:lnTo>
                    <a:pt x="444" y="162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2" y="150"/>
                  </a:lnTo>
                  <a:lnTo>
                    <a:pt x="438" y="150"/>
                  </a:lnTo>
                  <a:lnTo>
                    <a:pt x="438" y="144"/>
                  </a:lnTo>
                  <a:lnTo>
                    <a:pt x="438" y="150"/>
                  </a:lnTo>
                  <a:lnTo>
                    <a:pt x="444" y="150"/>
                  </a:lnTo>
                  <a:lnTo>
                    <a:pt x="450" y="150"/>
                  </a:lnTo>
                  <a:lnTo>
                    <a:pt x="450" y="156"/>
                  </a:lnTo>
                  <a:lnTo>
                    <a:pt x="456" y="156"/>
                  </a:lnTo>
                  <a:lnTo>
                    <a:pt x="456" y="150"/>
                  </a:lnTo>
                  <a:lnTo>
                    <a:pt x="456" y="156"/>
                  </a:lnTo>
                  <a:lnTo>
                    <a:pt x="462" y="150"/>
                  </a:lnTo>
                  <a:lnTo>
                    <a:pt x="462" y="144"/>
                  </a:lnTo>
                  <a:lnTo>
                    <a:pt x="468" y="144"/>
                  </a:lnTo>
                  <a:lnTo>
                    <a:pt x="468" y="150"/>
                  </a:lnTo>
                  <a:lnTo>
                    <a:pt x="474" y="150"/>
                  </a:lnTo>
                  <a:lnTo>
                    <a:pt x="480" y="150"/>
                  </a:lnTo>
                  <a:lnTo>
                    <a:pt x="480" y="156"/>
                  </a:lnTo>
                  <a:lnTo>
                    <a:pt x="480" y="162"/>
                  </a:lnTo>
                  <a:lnTo>
                    <a:pt x="474" y="162"/>
                  </a:lnTo>
                  <a:lnTo>
                    <a:pt x="474" y="168"/>
                  </a:lnTo>
                  <a:lnTo>
                    <a:pt x="474" y="162"/>
                  </a:lnTo>
                  <a:lnTo>
                    <a:pt x="468" y="162"/>
                  </a:lnTo>
                  <a:lnTo>
                    <a:pt x="462" y="162"/>
                  </a:lnTo>
                  <a:lnTo>
                    <a:pt x="456" y="162"/>
                  </a:lnTo>
                  <a:lnTo>
                    <a:pt x="450" y="16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6" name="Freeform 31">
              <a:extLst>
                <a:ext uri="{FF2B5EF4-FFF2-40B4-BE49-F238E27FC236}">
                  <a16:creationId xmlns:a16="http://schemas.microsoft.com/office/drawing/2014/main" id="{0989F057-38E8-4AA5-8B73-27F6355E235C}"/>
                </a:ext>
              </a:extLst>
            </p:cNvPr>
            <p:cNvSpPr>
              <a:spLocks/>
            </p:cNvSpPr>
            <p:nvPr/>
          </p:nvSpPr>
          <p:spPr bwMode="gray">
            <a:xfrm>
              <a:off x="792590" y="2728084"/>
              <a:ext cx="1182944" cy="740282"/>
            </a:xfrm>
            <a:custGeom>
              <a:avLst/>
              <a:gdLst>
                <a:gd name="T0" fmla="*/ 138 w 2226"/>
                <a:gd name="T1" fmla="*/ 121 h 1392"/>
                <a:gd name="T2" fmla="*/ 133 w 2226"/>
                <a:gd name="T3" fmla="*/ 119 h 1392"/>
                <a:gd name="T4" fmla="*/ 128 w 2226"/>
                <a:gd name="T5" fmla="*/ 117 h 1392"/>
                <a:gd name="T6" fmla="*/ 119 w 2226"/>
                <a:gd name="T7" fmla="*/ 116 h 1392"/>
                <a:gd name="T8" fmla="*/ 101 w 2226"/>
                <a:gd name="T9" fmla="*/ 116 h 1392"/>
                <a:gd name="T10" fmla="*/ 94 w 2226"/>
                <a:gd name="T11" fmla="*/ 104 h 1392"/>
                <a:gd name="T12" fmla="*/ 82 w 2226"/>
                <a:gd name="T13" fmla="*/ 83 h 1392"/>
                <a:gd name="T14" fmla="*/ 87 w 2226"/>
                <a:gd name="T15" fmla="*/ 69 h 1392"/>
                <a:gd name="T16" fmla="*/ 82 w 2226"/>
                <a:gd name="T17" fmla="*/ 65 h 1392"/>
                <a:gd name="T18" fmla="*/ 59 w 2226"/>
                <a:gd name="T19" fmla="*/ 57 h 1392"/>
                <a:gd name="T20" fmla="*/ 29 w 2226"/>
                <a:gd name="T21" fmla="*/ 77 h 1392"/>
                <a:gd name="T22" fmla="*/ 20 w 2226"/>
                <a:gd name="T23" fmla="*/ 78 h 1392"/>
                <a:gd name="T24" fmla="*/ 15 w 2226"/>
                <a:gd name="T25" fmla="*/ 82 h 1392"/>
                <a:gd name="T26" fmla="*/ 8 w 2226"/>
                <a:gd name="T27" fmla="*/ 86 h 1392"/>
                <a:gd name="T28" fmla="*/ 1 w 2226"/>
                <a:gd name="T29" fmla="*/ 88 h 1392"/>
                <a:gd name="T30" fmla="*/ 0 w 2226"/>
                <a:gd name="T31" fmla="*/ 82 h 1392"/>
                <a:gd name="T32" fmla="*/ 0 w 2226"/>
                <a:gd name="T33" fmla="*/ 76 h 1392"/>
                <a:gd name="T34" fmla="*/ 2 w 2226"/>
                <a:gd name="T35" fmla="*/ 70 h 1392"/>
                <a:gd name="T36" fmla="*/ 3 w 2226"/>
                <a:gd name="T37" fmla="*/ 65 h 1392"/>
                <a:gd name="T38" fmla="*/ 2 w 2226"/>
                <a:gd name="T39" fmla="*/ 63 h 1392"/>
                <a:gd name="T40" fmla="*/ 9 w 2226"/>
                <a:gd name="T41" fmla="*/ 60 h 1392"/>
                <a:gd name="T42" fmla="*/ 17 w 2226"/>
                <a:gd name="T43" fmla="*/ 59 h 1392"/>
                <a:gd name="T44" fmla="*/ 22 w 2226"/>
                <a:gd name="T45" fmla="*/ 51 h 1392"/>
                <a:gd name="T46" fmla="*/ 23 w 2226"/>
                <a:gd name="T47" fmla="*/ 43 h 1392"/>
                <a:gd name="T48" fmla="*/ 27 w 2226"/>
                <a:gd name="T49" fmla="*/ 34 h 1392"/>
                <a:gd name="T50" fmla="*/ 30 w 2226"/>
                <a:gd name="T51" fmla="*/ 27 h 1392"/>
                <a:gd name="T52" fmla="*/ 33 w 2226"/>
                <a:gd name="T53" fmla="*/ 22 h 1392"/>
                <a:gd name="T54" fmla="*/ 42 w 2226"/>
                <a:gd name="T55" fmla="*/ 17 h 1392"/>
                <a:gd name="T56" fmla="*/ 47 w 2226"/>
                <a:gd name="T57" fmla="*/ 14 h 1392"/>
                <a:gd name="T58" fmla="*/ 49 w 2226"/>
                <a:gd name="T59" fmla="*/ 5 h 1392"/>
                <a:gd name="T60" fmla="*/ 53 w 2226"/>
                <a:gd name="T61" fmla="*/ 0 h 1392"/>
                <a:gd name="T62" fmla="*/ 55 w 2226"/>
                <a:gd name="T63" fmla="*/ 4 h 1392"/>
                <a:gd name="T64" fmla="*/ 59 w 2226"/>
                <a:gd name="T65" fmla="*/ 7 h 1392"/>
                <a:gd name="T66" fmla="*/ 63 w 2226"/>
                <a:gd name="T67" fmla="*/ 7 h 1392"/>
                <a:gd name="T68" fmla="*/ 66 w 2226"/>
                <a:gd name="T69" fmla="*/ 9 h 1392"/>
                <a:gd name="T70" fmla="*/ 67 w 2226"/>
                <a:gd name="T71" fmla="*/ 12 h 1392"/>
                <a:gd name="T72" fmla="*/ 67 w 2226"/>
                <a:gd name="T73" fmla="*/ 13 h 1392"/>
                <a:gd name="T74" fmla="*/ 70 w 2226"/>
                <a:gd name="T75" fmla="*/ 15 h 1392"/>
                <a:gd name="T76" fmla="*/ 74 w 2226"/>
                <a:gd name="T77" fmla="*/ 17 h 1392"/>
                <a:gd name="T78" fmla="*/ 78 w 2226"/>
                <a:gd name="T79" fmla="*/ 18 h 1392"/>
                <a:gd name="T80" fmla="*/ 97 w 2226"/>
                <a:gd name="T81" fmla="*/ 40 h 1392"/>
                <a:gd name="T82" fmla="*/ 102 w 2226"/>
                <a:gd name="T83" fmla="*/ 44 h 1392"/>
                <a:gd name="T84" fmla="*/ 110 w 2226"/>
                <a:gd name="T85" fmla="*/ 49 h 1392"/>
                <a:gd name="T86" fmla="*/ 113 w 2226"/>
                <a:gd name="T87" fmla="*/ 53 h 1392"/>
                <a:gd name="T88" fmla="*/ 118 w 2226"/>
                <a:gd name="T89" fmla="*/ 57 h 1392"/>
                <a:gd name="T90" fmla="*/ 124 w 2226"/>
                <a:gd name="T91" fmla="*/ 54 h 1392"/>
                <a:gd name="T92" fmla="*/ 133 w 2226"/>
                <a:gd name="T93" fmla="*/ 58 h 1392"/>
                <a:gd name="T94" fmla="*/ 137 w 2226"/>
                <a:gd name="T95" fmla="*/ 64 h 1392"/>
                <a:gd name="T96" fmla="*/ 145 w 2226"/>
                <a:gd name="T97" fmla="*/ 65 h 1392"/>
                <a:gd name="T98" fmla="*/ 152 w 2226"/>
                <a:gd name="T99" fmla="*/ 67 h 1392"/>
                <a:gd name="T100" fmla="*/ 161 w 2226"/>
                <a:gd name="T101" fmla="*/ 72 h 1392"/>
                <a:gd name="T102" fmla="*/ 168 w 2226"/>
                <a:gd name="T103" fmla="*/ 76 h 1392"/>
                <a:gd name="T104" fmla="*/ 177 w 2226"/>
                <a:gd name="T105" fmla="*/ 78 h 1392"/>
                <a:gd name="T106" fmla="*/ 184 w 2226"/>
                <a:gd name="T107" fmla="*/ 78 h 1392"/>
                <a:gd name="T108" fmla="*/ 190 w 2226"/>
                <a:gd name="T109" fmla="*/ 81 h 1392"/>
                <a:gd name="T110" fmla="*/ 192 w 2226"/>
                <a:gd name="T111" fmla="*/ 86 h 1392"/>
                <a:gd name="T112" fmla="*/ 187 w 2226"/>
                <a:gd name="T113" fmla="*/ 99 h 1392"/>
                <a:gd name="T114" fmla="*/ 165 w 2226"/>
                <a:gd name="T115" fmla="*/ 97 h 1392"/>
                <a:gd name="T116" fmla="*/ 155 w 2226"/>
                <a:gd name="T117" fmla="*/ 92 h 1392"/>
                <a:gd name="T118" fmla="*/ 146 w 2226"/>
                <a:gd name="T119" fmla="*/ 102 h 1392"/>
                <a:gd name="T120" fmla="*/ 149 w 2226"/>
                <a:gd name="T121" fmla="*/ 106 h 1392"/>
                <a:gd name="T122" fmla="*/ 151 w 2226"/>
                <a:gd name="T123" fmla="*/ 108 h 1392"/>
                <a:gd name="T124" fmla="*/ 157 w 2226"/>
                <a:gd name="T125" fmla="*/ 113 h 13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1392"/>
                <a:gd name="T191" fmla="*/ 2226 w 2226"/>
                <a:gd name="T192" fmla="*/ 1392 h 13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1392">
                  <a:moveTo>
                    <a:pt x="1782" y="1326"/>
                  </a:moveTo>
                  <a:lnTo>
                    <a:pt x="1776" y="1332"/>
                  </a:lnTo>
                  <a:lnTo>
                    <a:pt x="1692" y="1338"/>
                  </a:lnTo>
                  <a:lnTo>
                    <a:pt x="1680" y="1386"/>
                  </a:lnTo>
                  <a:lnTo>
                    <a:pt x="1674" y="1392"/>
                  </a:lnTo>
                  <a:lnTo>
                    <a:pt x="1638" y="1392"/>
                  </a:lnTo>
                  <a:lnTo>
                    <a:pt x="1620" y="1392"/>
                  </a:lnTo>
                  <a:lnTo>
                    <a:pt x="1614" y="1392"/>
                  </a:lnTo>
                  <a:lnTo>
                    <a:pt x="1608" y="1386"/>
                  </a:lnTo>
                  <a:lnTo>
                    <a:pt x="1584" y="1386"/>
                  </a:lnTo>
                  <a:lnTo>
                    <a:pt x="1578" y="1386"/>
                  </a:lnTo>
                  <a:lnTo>
                    <a:pt x="1572" y="1380"/>
                  </a:lnTo>
                  <a:lnTo>
                    <a:pt x="1578" y="1356"/>
                  </a:lnTo>
                  <a:lnTo>
                    <a:pt x="1572" y="1356"/>
                  </a:lnTo>
                  <a:lnTo>
                    <a:pt x="1560" y="1350"/>
                  </a:lnTo>
                  <a:lnTo>
                    <a:pt x="1554" y="1350"/>
                  </a:lnTo>
                  <a:lnTo>
                    <a:pt x="1542" y="1350"/>
                  </a:lnTo>
                  <a:lnTo>
                    <a:pt x="1530" y="1350"/>
                  </a:lnTo>
                  <a:lnTo>
                    <a:pt x="1524" y="1356"/>
                  </a:lnTo>
                  <a:lnTo>
                    <a:pt x="1524" y="1362"/>
                  </a:lnTo>
                  <a:lnTo>
                    <a:pt x="1512" y="1374"/>
                  </a:lnTo>
                  <a:lnTo>
                    <a:pt x="1506" y="1374"/>
                  </a:lnTo>
                  <a:lnTo>
                    <a:pt x="1500" y="1368"/>
                  </a:lnTo>
                  <a:lnTo>
                    <a:pt x="1500" y="1362"/>
                  </a:lnTo>
                  <a:lnTo>
                    <a:pt x="1488" y="1362"/>
                  </a:lnTo>
                  <a:lnTo>
                    <a:pt x="1482" y="1356"/>
                  </a:lnTo>
                  <a:lnTo>
                    <a:pt x="1482" y="1350"/>
                  </a:lnTo>
                  <a:lnTo>
                    <a:pt x="1476" y="1350"/>
                  </a:lnTo>
                  <a:lnTo>
                    <a:pt x="1470" y="1344"/>
                  </a:lnTo>
                  <a:lnTo>
                    <a:pt x="1464" y="1344"/>
                  </a:lnTo>
                  <a:lnTo>
                    <a:pt x="1452" y="1350"/>
                  </a:lnTo>
                  <a:lnTo>
                    <a:pt x="1452" y="1356"/>
                  </a:lnTo>
                  <a:lnTo>
                    <a:pt x="1440" y="1356"/>
                  </a:lnTo>
                  <a:lnTo>
                    <a:pt x="1434" y="1344"/>
                  </a:lnTo>
                  <a:lnTo>
                    <a:pt x="1422" y="1332"/>
                  </a:lnTo>
                  <a:lnTo>
                    <a:pt x="1416" y="1326"/>
                  </a:lnTo>
                  <a:lnTo>
                    <a:pt x="1404" y="1320"/>
                  </a:lnTo>
                  <a:lnTo>
                    <a:pt x="1404" y="1314"/>
                  </a:lnTo>
                  <a:lnTo>
                    <a:pt x="1374" y="1308"/>
                  </a:lnTo>
                  <a:lnTo>
                    <a:pt x="1368" y="1326"/>
                  </a:lnTo>
                  <a:lnTo>
                    <a:pt x="1344" y="1338"/>
                  </a:lnTo>
                  <a:lnTo>
                    <a:pt x="1326" y="1332"/>
                  </a:lnTo>
                  <a:lnTo>
                    <a:pt x="1302" y="1332"/>
                  </a:lnTo>
                  <a:lnTo>
                    <a:pt x="1278" y="1338"/>
                  </a:lnTo>
                  <a:lnTo>
                    <a:pt x="1236" y="1338"/>
                  </a:lnTo>
                  <a:lnTo>
                    <a:pt x="1224" y="1338"/>
                  </a:lnTo>
                  <a:lnTo>
                    <a:pt x="1224" y="1326"/>
                  </a:lnTo>
                  <a:lnTo>
                    <a:pt x="1206" y="1326"/>
                  </a:lnTo>
                  <a:lnTo>
                    <a:pt x="1170" y="1326"/>
                  </a:lnTo>
                  <a:lnTo>
                    <a:pt x="1152" y="1326"/>
                  </a:lnTo>
                  <a:lnTo>
                    <a:pt x="1140" y="1314"/>
                  </a:lnTo>
                  <a:lnTo>
                    <a:pt x="1134" y="1296"/>
                  </a:lnTo>
                  <a:lnTo>
                    <a:pt x="1134" y="1284"/>
                  </a:lnTo>
                  <a:lnTo>
                    <a:pt x="1128" y="1254"/>
                  </a:lnTo>
                  <a:lnTo>
                    <a:pt x="1128" y="1242"/>
                  </a:lnTo>
                  <a:lnTo>
                    <a:pt x="1122" y="1230"/>
                  </a:lnTo>
                  <a:lnTo>
                    <a:pt x="1104" y="1218"/>
                  </a:lnTo>
                  <a:lnTo>
                    <a:pt x="1104" y="1212"/>
                  </a:lnTo>
                  <a:lnTo>
                    <a:pt x="1092" y="1206"/>
                  </a:lnTo>
                  <a:lnTo>
                    <a:pt x="1080" y="1194"/>
                  </a:lnTo>
                  <a:lnTo>
                    <a:pt x="1068" y="1176"/>
                  </a:lnTo>
                  <a:lnTo>
                    <a:pt x="1050" y="1152"/>
                  </a:lnTo>
                  <a:lnTo>
                    <a:pt x="1020" y="1098"/>
                  </a:lnTo>
                  <a:lnTo>
                    <a:pt x="978" y="1026"/>
                  </a:lnTo>
                  <a:lnTo>
                    <a:pt x="978" y="1014"/>
                  </a:lnTo>
                  <a:lnTo>
                    <a:pt x="972" y="1014"/>
                  </a:lnTo>
                  <a:lnTo>
                    <a:pt x="972" y="1008"/>
                  </a:lnTo>
                  <a:lnTo>
                    <a:pt x="978" y="1002"/>
                  </a:lnTo>
                  <a:lnTo>
                    <a:pt x="960" y="966"/>
                  </a:lnTo>
                  <a:lnTo>
                    <a:pt x="948" y="954"/>
                  </a:lnTo>
                  <a:lnTo>
                    <a:pt x="948" y="936"/>
                  </a:lnTo>
                  <a:lnTo>
                    <a:pt x="936" y="900"/>
                  </a:lnTo>
                  <a:lnTo>
                    <a:pt x="942" y="876"/>
                  </a:lnTo>
                  <a:lnTo>
                    <a:pt x="942" y="834"/>
                  </a:lnTo>
                  <a:lnTo>
                    <a:pt x="960" y="828"/>
                  </a:lnTo>
                  <a:lnTo>
                    <a:pt x="966" y="816"/>
                  </a:lnTo>
                  <a:lnTo>
                    <a:pt x="972" y="810"/>
                  </a:lnTo>
                  <a:lnTo>
                    <a:pt x="978" y="804"/>
                  </a:lnTo>
                  <a:lnTo>
                    <a:pt x="996" y="798"/>
                  </a:lnTo>
                  <a:lnTo>
                    <a:pt x="996" y="792"/>
                  </a:lnTo>
                  <a:lnTo>
                    <a:pt x="1014" y="780"/>
                  </a:lnTo>
                  <a:lnTo>
                    <a:pt x="1026" y="768"/>
                  </a:lnTo>
                  <a:lnTo>
                    <a:pt x="1032" y="762"/>
                  </a:lnTo>
                  <a:lnTo>
                    <a:pt x="1026" y="756"/>
                  </a:lnTo>
                  <a:lnTo>
                    <a:pt x="1014" y="744"/>
                  </a:lnTo>
                  <a:lnTo>
                    <a:pt x="996" y="756"/>
                  </a:lnTo>
                  <a:lnTo>
                    <a:pt x="954" y="768"/>
                  </a:lnTo>
                  <a:lnTo>
                    <a:pt x="942" y="762"/>
                  </a:lnTo>
                  <a:lnTo>
                    <a:pt x="942" y="756"/>
                  </a:lnTo>
                  <a:lnTo>
                    <a:pt x="936" y="750"/>
                  </a:lnTo>
                  <a:lnTo>
                    <a:pt x="846" y="732"/>
                  </a:lnTo>
                  <a:lnTo>
                    <a:pt x="822" y="726"/>
                  </a:lnTo>
                  <a:lnTo>
                    <a:pt x="810" y="714"/>
                  </a:lnTo>
                  <a:lnTo>
                    <a:pt x="792" y="690"/>
                  </a:lnTo>
                  <a:lnTo>
                    <a:pt x="792" y="678"/>
                  </a:lnTo>
                  <a:lnTo>
                    <a:pt x="762" y="642"/>
                  </a:lnTo>
                  <a:lnTo>
                    <a:pt x="750" y="636"/>
                  </a:lnTo>
                  <a:lnTo>
                    <a:pt x="726" y="630"/>
                  </a:lnTo>
                  <a:lnTo>
                    <a:pt x="696" y="642"/>
                  </a:lnTo>
                  <a:lnTo>
                    <a:pt x="678" y="654"/>
                  </a:lnTo>
                  <a:lnTo>
                    <a:pt x="666" y="684"/>
                  </a:lnTo>
                  <a:lnTo>
                    <a:pt x="660" y="726"/>
                  </a:lnTo>
                  <a:lnTo>
                    <a:pt x="606" y="756"/>
                  </a:lnTo>
                  <a:lnTo>
                    <a:pt x="558" y="780"/>
                  </a:lnTo>
                  <a:lnTo>
                    <a:pt x="438" y="834"/>
                  </a:lnTo>
                  <a:lnTo>
                    <a:pt x="402" y="846"/>
                  </a:lnTo>
                  <a:lnTo>
                    <a:pt x="372" y="870"/>
                  </a:lnTo>
                  <a:lnTo>
                    <a:pt x="360" y="876"/>
                  </a:lnTo>
                  <a:lnTo>
                    <a:pt x="354" y="876"/>
                  </a:lnTo>
                  <a:lnTo>
                    <a:pt x="330" y="882"/>
                  </a:lnTo>
                  <a:lnTo>
                    <a:pt x="306" y="882"/>
                  </a:lnTo>
                  <a:lnTo>
                    <a:pt x="300" y="876"/>
                  </a:lnTo>
                  <a:lnTo>
                    <a:pt x="294" y="876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76" y="864"/>
                  </a:lnTo>
                  <a:lnTo>
                    <a:pt x="270" y="870"/>
                  </a:lnTo>
                  <a:lnTo>
                    <a:pt x="264" y="870"/>
                  </a:lnTo>
                  <a:lnTo>
                    <a:pt x="240" y="894"/>
                  </a:lnTo>
                  <a:lnTo>
                    <a:pt x="234" y="894"/>
                  </a:lnTo>
                  <a:lnTo>
                    <a:pt x="228" y="900"/>
                  </a:lnTo>
                  <a:lnTo>
                    <a:pt x="222" y="906"/>
                  </a:lnTo>
                  <a:lnTo>
                    <a:pt x="210" y="912"/>
                  </a:lnTo>
                  <a:lnTo>
                    <a:pt x="204" y="912"/>
                  </a:lnTo>
                  <a:lnTo>
                    <a:pt x="198" y="912"/>
                  </a:lnTo>
                  <a:lnTo>
                    <a:pt x="192" y="918"/>
                  </a:lnTo>
                  <a:lnTo>
                    <a:pt x="180" y="918"/>
                  </a:lnTo>
                  <a:lnTo>
                    <a:pt x="174" y="930"/>
                  </a:lnTo>
                  <a:lnTo>
                    <a:pt x="174" y="936"/>
                  </a:lnTo>
                  <a:lnTo>
                    <a:pt x="168" y="942"/>
                  </a:lnTo>
                  <a:lnTo>
                    <a:pt x="162" y="942"/>
                  </a:lnTo>
                  <a:lnTo>
                    <a:pt x="150" y="960"/>
                  </a:lnTo>
                  <a:lnTo>
                    <a:pt x="144" y="966"/>
                  </a:lnTo>
                  <a:lnTo>
                    <a:pt x="138" y="972"/>
                  </a:lnTo>
                  <a:lnTo>
                    <a:pt x="132" y="972"/>
                  </a:lnTo>
                  <a:lnTo>
                    <a:pt x="126" y="984"/>
                  </a:lnTo>
                  <a:lnTo>
                    <a:pt x="120" y="984"/>
                  </a:lnTo>
                  <a:lnTo>
                    <a:pt x="114" y="990"/>
                  </a:lnTo>
                  <a:lnTo>
                    <a:pt x="96" y="990"/>
                  </a:lnTo>
                  <a:lnTo>
                    <a:pt x="90" y="990"/>
                  </a:lnTo>
                  <a:lnTo>
                    <a:pt x="78" y="990"/>
                  </a:lnTo>
                  <a:lnTo>
                    <a:pt x="72" y="990"/>
                  </a:lnTo>
                  <a:lnTo>
                    <a:pt x="60" y="990"/>
                  </a:lnTo>
                  <a:lnTo>
                    <a:pt x="42" y="990"/>
                  </a:lnTo>
                  <a:lnTo>
                    <a:pt x="36" y="996"/>
                  </a:lnTo>
                  <a:lnTo>
                    <a:pt x="30" y="1002"/>
                  </a:lnTo>
                  <a:lnTo>
                    <a:pt x="24" y="1014"/>
                  </a:lnTo>
                  <a:lnTo>
                    <a:pt x="24" y="1020"/>
                  </a:lnTo>
                  <a:lnTo>
                    <a:pt x="18" y="1020"/>
                  </a:lnTo>
                  <a:lnTo>
                    <a:pt x="12" y="1014"/>
                  </a:lnTo>
                  <a:lnTo>
                    <a:pt x="12" y="1008"/>
                  </a:lnTo>
                  <a:lnTo>
                    <a:pt x="12" y="990"/>
                  </a:lnTo>
                  <a:lnTo>
                    <a:pt x="12" y="984"/>
                  </a:lnTo>
                  <a:lnTo>
                    <a:pt x="12" y="972"/>
                  </a:lnTo>
                  <a:lnTo>
                    <a:pt x="12" y="966"/>
                  </a:lnTo>
                  <a:lnTo>
                    <a:pt x="6" y="966"/>
                  </a:lnTo>
                  <a:lnTo>
                    <a:pt x="6" y="960"/>
                  </a:lnTo>
                  <a:lnTo>
                    <a:pt x="6" y="954"/>
                  </a:lnTo>
                  <a:lnTo>
                    <a:pt x="6" y="948"/>
                  </a:lnTo>
                  <a:lnTo>
                    <a:pt x="6" y="942"/>
                  </a:lnTo>
                  <a:lnTo>
                    <a:pt x="12" y="930"/>
                  </a:lnTo>
                  <a:lnTo>
                    <a:pt x="6" y="924"/>
                  </a:lnTo>
                  <a:lnTo>
                    <a:pt x="6" y="918"/>
                  </a:lnTo>
                  <a:lnTo>
                    <a:pt x="6" y="912"/>
                  </a:lnTo>
                  <a:lnTo>
                    <a:pt x="6" y="906"/>
                  </a:lnTo>
                  <a:lnTo>
                    <a:pt x="6" y="900"/>
                  </a:lnTo>
                  <a:lnTo>
                    <a:pt x="0" y="894"/>
                  </a:lnTo>
                  <a:lnTo>
                    <a:pt x="0" y="888"/>
                  </a:lnTo>
                  <a:lnTo>
                    <a:pt x="0" y="882"/>
                  </a:lnTo>
                  <a:lnTo>
                    <a:pt x="6" y="876"/>
                  </a:lnTo>
                  <a:lnTo>
                    <a:pt x="6" y="870"/>
                  </a:lnTo>
                  <a:lnTo>
                    <a:pt x="18" y="864"/>
                  </a:lnTo>
                  <a:lnTo>
                    <a:pt x="18" y="858"/>
                  </a:lnTo>
                  <a:lnTo>
                    <a:pt x="18" y="846"/>
                  </a:lnTo>
                  <a:lnTo>
                    <a:pt x="18" y="834"/>
                  </a:lnTo>
                  <a:lnTo>
                    <a:pt x="18" y="828"/>
                  </a:lnTo>
                  <a:lnTo>
                    <a:pt x="24" y="828"/>
                  </a:lnTo>
                  <a:lnTo>
                    <a:pt x="24" y="810"/>
                  </a:lnTo>
                  <a:lnTo>
                    <a:pt x="24" y="804"/>
                  </a:lnTo>
                  <a:lnTo>
                    <a:pt x="18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24" y="792"/>
                  </a:lnTo>
                  <a:lnTo>
                    <a:pt x="30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6" y="762"/>
                  </a:lnTo>
                  <a:lnTo>
                    <a:pt x="36" y="756"/>
                  </a:lnTo>
                  <a:lnTo>
                    <a:pt x="30" y="756"/>
                  </a:lnTo>
                  <a:lnTo>
                    <a:pt x="30" y="750"/>
                  </a:lnTo>
                  <a:lnTo>
                    <a:pt x="36" y="750"/>
                  </a:lnTo>
                  <a:lnTo>
                    <a:pt x="36" y="744"/>
                  </a:lnTo>
                  <a:lnTo>
                    <a:pt x="30" y="744"/>
                  </a:lnTo>
                  <a:lnTo>
                    <a:pt x="30" y="738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0" y="732"/>
                  </a:lnTo>
                  <a:lnTo>
                    <a:pt x="36" y="726"/>
                  </a:lnTo>
                  <a:lnTo>
                    <a:pt x="30" y="726"/>
                  </a:lnTo>
                  <a:lnTo>
                    <a:pt x="24" y="726"/>
                  </a:lnTo>
                  <a:lnTo>
                    <a:pt x="30" y="720"/>
                  </a:lnTo>
                  <a:lnTo>
                    <a:pt x="30" y="714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696"/>
                  </a:lnTo>
                  <a:lnTo>
                    <a:pt x="66" y="702"/>
                  </a:lnTo>
                  <a:lnTo>
                    <a:pt x="78" y="702"/>
                  </a:lnTo>
                  <a:lnTo>
                    <a:pt x="84" y="702"/>
                  </a:lnTo>
                  <a:lnTo>
                    <a:pt x="96" y="696"/>
                  </a:lnTo>
                  <a:lnTo>
                    <a:pt x="102" y="690"/>
                  </a:lnTo>
                  <a:lnTo>
                    <a:pt x="102" y="684"/>
                  </a:lnTo>
                  <a:lnTo>
                    <a:pt x="114" y="684"/>
                  </a:lnTo>
                  <a:lnTo>
                    <a:pt x="144" y="684"/>
                  </a:lnTo>
                  <a:lnTo>
                    <a:pt x="150" y="690"/>
                  </a:lnTo>
                  <a:lnTo>
                    <a:pt x="162" y="696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6" y="690"/>
                  </a:lnTo>
                  <a:lnTo>
                    <a:pt x="192" y="690"/>
                  </a:lnTo>
                  <a:lnTo>
                    <a:pt x="198" y="684"/>
                  </a:lnTo>
                  <a:lnTo>
                    <a:pt x="204" y="684"/>
                  </a:lnTo>
                  <a:lnTo>
                    <a:pt x="210" y="684"/>
                  </a:lnTo>
                  <a:lnTo>
                    <a:pt x="222" y="678"/>
                  </a:lnTo>
                  <a:lnTo>
                    <a:pt x="228" y="678"/>
                  </a:lnTo>
                  <a:lnTo>
                    <a:pt x="228" y="660"/>
                  </a:lnTo>
                  <a:lnTo>
                    <a:pt x="234" y="642"/>
                  </a:lnTo>
                  <a:lnTo>
                    <a:pt x="246" y="618"/>
                  </a:lnTo>
                  <a:lnTo>
                    <a:pt x="252" y="618"/>
                  </a:lnTo>
                  <a:lnTo>
                    <a:pt x="252" y="600"/>
                  </a:lnTo>
                  <a:lnTo>
                    <a:pt x="252" y="588"/>
                  </a:lnTo>
                  <a:lnTo>
                    <a:pt x="252" y="582"/>
                  </a:lnTo>
                  <a:lnTo>
                    <a:pt x="258" y="576"/>
                  </a:lnTo>
                  <a:lnTo>
                    <a:pt x="270" y="564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70" y="522"/>
                  </a:lnTo>
                  <a:lnTo>
                    <a:pt x="270" y="510"/>
                  </a:lnTo>
                  <a:lnTo>
                    <a:pt x="270" y="498"/>
                  </a:lnTo>
                  <a:lnTo>
                    <a:pt x="258" y="468"/>
                  </a:lnTo>
                  <a:lnTo>
                    <a:pt x="252" y="456"/>
                  </a:lnTo>
                  <a:lnTo>
                    <a:pt x="258" y="444"/>
                  </a:lnTo>
                  <a:lnTo>
                    <a:pt x="264" y="432"/>
                  </a:lnTo>
                  <a:lnTo>
                    <a:pt x="270" y="426"/>
                  </a:lnTo>
                  <a:lnTo>
                    <a:pt x="276" y="420"/>
                  </a:lnTo>
                  <a:lnTo>
                    <a:pt x="288" y="420"/>
                  </a:lnTo>
                  <a:lnTo>
                    <a:pt x="288" y="414"/>
                  </a:lnTo>
                  <a:lnTo>
                    <a:pt x="294" y="414"/>
                  </a:lnTo>
                  <a:lnTo>
                    <a:pt x="306" y="390"/>
                  </a:lnTo>
                  <a:lnTo>
                    <a:pt x="312" y="384"/>
                  </a:lnTo>
                  <a:lnTo>
                    <a:pt x="318" y="378"/>
                  </a:lnTo>
                  <a:lnTo>
                    <a:pt x="318" y="372"/>
                  </a:lnTo>
                  <a:lnTo>
                    <a:pt x="324" y="366"/>
                  </a:lnTo>
                  <a:lnTo>
                    <a:pt x="330" y="354"/>
                  </a:lnTo>
                  <a:lnTo>
                    <a:pt x="336" y="348"/>
                  </a:lnTo>
                  <a:lnTo>
                    <a:pt x="336" y="330"/>
                  </a:lnTo>
                  <a:lnTo>
                    <a:pt x="342" y="324"/>
                  </a:lnTo>
                  <a:lnTo>
                    <a:pt x="342" y="318"/>
                  </a:lnTo>
                  <a:lnTo>
                    <a:pt x="348" y="318"/>
                  </a:lnTo>
                  <a:lnTo>
                    <a:pt x="360" y="318"/>
                  </a:lnTo>
                  <a:lnTo>
                    <a:pt x="372" y="318"/>
                  </a:lnTo>
                  <a:lnTo>
                    <a:pt x="384" y="306"/>
                  </a:lnTo>
                  <a:lnTo>
                    <a:pt x="396" y="300"/>
                  </a:lnTo>
                  <a:lnTo>
                    <a:pt x="396" y="294"/>
                  </a:lnTo>
                  <a:lnTo>
                    <a:pt x="396" y="288"/>
                  </a:lnTo>
                  <a:lnTo>
                    <a:pt x="390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2"/>
                  </a:lnTo>
                  <a:lnTo>
                    <a:pt x="378" y="246"/>
                  </a:lnTo>
                  <a:lnTo>
                    <a:pt x="384" y="228"/>
                  </a:lnTo>
                  <a:lnTo>
                    <a:pt x="390" y="216"/>
                  </a:lnTo>
                  <a:lnTo>
                    <a:pt x="402" y="210"/>
                  </a:lnTo>
                  <a:lnTo>
                    <a:pt x="408" y="210"/>
                  </a:lnTo>
                  <a:lnTo>
                    <a:pt x="420" y="204"/>
                  </a:lnTo>
                  <a:lnTo>
                    <a:pt x="444" y="198"/>
                  </a:lnTo>
                  <a:lnTo>
                    <a:pt x="462" y="192"/>
                  </a:lnTo>
                  <a:lnTo>
                    <a:pt x="474" y="186"/>
                  </a:lnTo>
                  <a:lnTo>
                    <a:pt x="480" y="192"/>
                  </a:lnTo>
                  <a:lnTo>
                    <a:pt x="492" y="192"/>
                  </a:lnTo>
                  <a:lnTo>
                    <a:pt x="498" y="192"/>
                  </a:lnTo>
                  <a:lnTo>
                    <a:pt x="504" y="192"/>
                  </a:lnTo>
                  <a:lnTo>
                    <a:pt x="510" y="192"/>
                  </a:lnTo>
                  <a:lnTo>
                    <a:pt x="516" y="186"/>
                  </a:lnTo>
                  <a:lnTo>
                    <a:pt x="522" y="180"/>
                  </a:lnTo>
                  <a:lnTo>
                    <a:pt x="522" y="174"/>
                  </a:lnTo>
                  <a:lnTo>
                    <a:pt x="528" y="168"/>
                  </a:lnTo>
                  <a:lnTo>
                    <a:pt x="534" y="168"/>
                  </a:lnTo>
                  <a:lnTo>
                    <a:pt x="534" y="156"/>
                  </a:lnTo>
                  <a:lnTo>
                    <a:pt x="534" y="150"/>
                  </a:lnTo>
                  <a:lnTo>
                    <a:pt x="552" y="138"/>
                  </a:lnTo>
                  <a:lnTo>
                    <a:pt x="558" y="126"/>
                  </a:lnTo>
                  <a:lnTo>
                    <a:pt x="558" y="114"/>
                  </a:lnTo>
                  <a:lnTo>
                    <a:pt x="564" y="102"/>
                  </a:lnTo>
                  <a:lnTo>
                    <a:pt x="564" y="96"/>
                  </a:lnTo>
                  <a:lnTo>
                    <a:pt x="564" y="90"/>
                  </a:lnTo>
                  <a:lnTo>
                    <a:pt x="564" y="72"/>
                  </a:lnTo>
                  <a:lnTo>
                    <a:pt x="564" y="60"/>
                  </a:lnTo>
                  <a:lnTo>
                    <a:pt x="564" y="54"/>
                  </a:lnTo>
                  <a:lnTo>
                    <a:pt x="570" y="42"/>
                  </a:lnTo>
                  <a:lnTo>
                    <a:pt x="576" y="42"/>
                  </a:lnTo>
                  <a:lnTo>
                    <a:pt x="582" y="36"/>
                  </a:lnTo>
                  <a:lnTo>
                    <a:pt x="594" y="36"/>
                  </a:lnTo>
                  <a:lnTo>
                    <a:pt x="594" y="30"/>
                  </a:lnTo>
                  <a:lnTo>
                    <a:pt x="600" y="24"/>
                  </a:lnTo>
                  <a:lnTo>
                    <a:pt x="600" y="12"/>
                  </a:lnTo>
                  <a:lnTo>
                    <a:pt x="606" y="6"/>
                  </a:lnTo>
                  <a:lnTo>
                    <a:pt x="606" y="0"/>
                  </a:lnTo>
                  <a:lnTo>
                    <a:pt x="612" y="0"/>
                  </a:lnTo>
                  <a:lnTo>
                    <a:pt x="618" y="0"/>
                  </a:lnTo>
                  <a:lnTo>
                    <a:pt x="624" y="6"/>
                  </a:lnTo>
                  <a:lnTo>
                    <a:pt x="624" y="12"/>
                  </a:lnTo>
                  <a:lnTo>
                    <a:pt x="624" y="18"/>
                  </a:lnTo>
                  <a:lnTo>
                    <a:pt x="624" y="24"/>
                  </a:lnTo>
                  <a:lnTo>
                    <a:pt x="624" y="30"/>
                  </a:lnTo>
                  <a:lnTo>
                    <a:pt x="630" y="30"/>
                  </a:lnTo>
                  <a:lnTo>
                    <a:pt x="630" y="36"/>
                  </a:lnTo>
                  <a:lnTo>
                    <a:pt x="630" y="42"/>
                  </a:lnTo>
                  <a:lnTo>
                    <a:pt x="630" y="48"/>
                  </a:lnTo>
                  <a:lnTo>
                    <a:pt x="636" y="54"/>
                  </a:lnTo>
                  <a:lnTo>
                    <a:pt x="642" y="48"/>
                  </a:lnTo>
                  <a:lnTo>
                    <a:pt x="648" y="48"/>
                  </a:lnTo>
                  <a:lnTo>
                    <a:pt x="648" y="60"/>
                  </a:lnTo>
                  <a:lnTo>
                    <a:pt x="654" y="66"/>
                  </a:lnTo>
                  <a:lnTo>
                    <a:pt x="660" y="72"/>
                  </a:lnTo>
                  <a:lnTo>
                    <a:pt x="666" y="72"/>
                  </a:lnTo>
                  <a:lnTo>
                    <a:pt x="666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72" y="66"/>
                  </a:lnTo>
                  <a:lnTo>
                    <a:pt x="678" y="66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6" y="66"/>
                  </a:lnTo>
                  <a:lnTo>
                    <a:pt x="696" y="72"/>
                  </a:lnTo>
                  <a:lnTo>
                    <a:pt x="702" y="72"/>
                  </a:lnTo>
                  <a:lnTo>
                    <a:pt x="708" y="72"/>
                  </a:lnTo>
                  <a:lnTo>
                    <a:pt x="720" y="66"/>
                  </a:lnTo>
                  <a:lnTo>
                    <a:pt x="726" y="78"/>
                  </a:lnTo>
                  <a:lnTo>
                    <a:pt x="744" y="84"/>
                  </a:lnTo>
                  <a:lnTo>
                    <a:pt x="744" y="90"/>
                  </a:lnTo>
                  <a:lnTo>
                    <a:pt x="744" y="96"/>
                  </a:lnTo>
                  <a:lnTo>
                    <a:pt x="738" y="96"/>
                  </a:lnTo>
                  <a:lnTo>
                    <a:pt x="738" y="102"/>
                  </a:lnTo>
                  <a:lnTo>
                    <a:pt x="732" y="102"/>
                  </a:lnTo>
                  <a:lnTo>
                    <a:pt x="732" y="108"/>
                  </a:lnTo>
                  <a:lnTo>
                    <a:pt x="738" y="108"/>
                  </a:lnTo>
                  <a:lnTo>
                    <a:pt x="744" y="114"/>
                  </a:lnTo>
                  <a:lnTo>
                    <a:pt x="750" y="108"/>
                  </a:lnTo>
                  <a:lnTo>
                    <a:pt x="756" y="108"/>
                  </a:lnTo>
                  <a:lnTo>
                    <a:pt x="762" y="108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80" y="120"/>
                  </a:lnTo>
                  <a:lnTo>
                    <a:pt x="774" y="120"/>
                  </a:lnTo>
                  <a:lnTo>
                    <a:pt x="768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74" y="138"/>
                  </a:lnTo>
                  <a:lnTo>
                    <a:pt x="774" y="132"/>
                  </a:lnTo>
                  <a:lnTo>
                    <a:pt x="780" y="132"/>
                  </a:lnTo>
                  <a:lnTo>
                    <a:pt x="786" y="132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44"/>
                  </a:lnTo>
                  <a:lnTo>
                    <a:pt x="786" y="150"/>
                  </a:lnTo>
                  <a:lnTo>
                    <a:pt x="780" y="150"/>
                  </a:lnTo>
                  <a:lnTo>
                    <a:pt x="774" y="150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74" y="162"/>
                  </a:lnTo>
                  <a:lnTo>
                    <a:pt x="780" y="162"/>
                  </a:lnTo>
                  <a:lnTo>
                    <a:pt x="786" y="168"/>
                  </a:lnTo>
                  <a:lnTo>
                    <a:pt x="792" y="162"/>
                  </a:lnTo>
                  <a:lnTo>
                    <a:pt x="798" y="168"/>
                  </a:lnTo>
                  <a:lnTo>
                    <a:pt x="798" y="174"/>
                  </a:lnTo>
                  <a:lnTo>
                    <a:pt x="804" y="168"/>
                  </a:lnTo>
                  <a:lnTo>
                    <a:pt x="810" y="168"/>
                  </a:lnTo>
                  <a:lnTo>
                    <a:pt x="810" y="174"/>
                  </a:lnTo>
                  <a:lnTo>
                    <a:pt x="816" y="168"/>
                  </a:lnTo>
                  <a:lnTo>
                    <a:pt x="822" y="162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74"/>
                  </a:lnTo>
                  <a:lnTo>
                    <a:pt x="834" y="192"/>
                  </a:lnTo>
                  <a:lnTo>
                    <a:pt x="834" y="198"/>
                  </a:lnTo>
                  <a:lnTo>
                    <a:pt x="840" y="192"/>
                  </a:lnTo>
                  <a:lnTo>
                    <a:pt x="846" y="192"/>
                  </a:lnTo>
                  <a:lnTo>
                    <a:pt x="852" y="186"/>
                  </a:lnTo>
                  <a:lnTo>
                    <a:pt x="858" y="192"/>
                  </a:lnTo>
                  <a:lnTo>
                    <a:pt x="864" y="192"/>
                  </a:lnTo>
                  <a:lnTo>
                    <a:pt x="870" y="198"/>
                  </a:lnTo>
                  <a:lnTo>
                    <a:pt x="876" y="180"/>
                  </a:lnTo>
                  <a:lnTo>
                    <a:pt x="882" y="180"/>
                  </a:lnTo>
                  <a:lnTo>
                    <a:pt x="888" y="180"/>
                  </a:lnTo>
                  <a:lnTo>
                    <a:pt x="894" y="186"/>
                  </a:lnTo>
                  <a:lnTo>
                    <a:pt x="888" y="198"/>
                  </a:lnTo>
                  <a:lnTo>
                    <a:pt x="894" y="204"/>
                  </a:lnTo>
                  <a:lnTo>
                    <a:pt x="906" y="210"/>
                  </a:lnTo>
                  <a:lnTo>
                    <a:pt x="918" y="246"/>
                  </a:lnTo>
                  <a:lnTo>
                    <a:pt x="930" y="258"/>
                  </a:lnTo>
                  <a:lnTo>
                    <a:pt x="942" y="282"/>
                  </a:lnTo>
                  <a:lnTo>
                    <a:pt x="966" y="288"/>
                  </a:lnTo>
                  <a:lnTo>
                    <a:pt x="972" y="300"/>
                  </a:lnTo>
                  <a:lnTo>
                    <a:pt x="972" y="318"/>
                  </a:lnTo>
                  <a:lnTo>
                    <a:pt x="996" y="336"/>
                  </a:lnTo>
                  <a:lnTo>
                    <a:pt x="1050" y="390"/>
                  </a:lnTo>
                  <a:lnTo>
                    <a:pt x="1116" y="462"/>
                  </a:lnTo>
                  <a:lnTo>
                    <a:pt x="1122" y="468"/>
                  </a:lnTo>
                  <a:lnTo>
                    <a:pt x="1128" y="474"/>
                  </a:lnTo>
                  <a:lnTo>
                    <a:pt x="1140" y="474"/>
                  </a:lnTo>
                  <a:lnTo>
                    <a:pt x="1152" y="486"/>
                  </a:lnTo>
                  <a:lnTo>
                    <a:pt x="1152" y="492"/>
                  </a:lnTo>
                  <a:lnTo>
                    <a:pt x="1158" y="492"/>
                  </a:lnTo>
                  <a:lnTo>
                    <a:pt x="1164" y="492"/>
                  </a:lnTo>
                  <a:lnTo>
                    <a:pt x="1170" y="504"/>
                  </a:lnTo>
                  <a:lnTo>
                    <a:pt x="1176" y="504"/>
                  </a:lnTo>
                  <a:lnTo>
                    <a:pt x="1176" y="510"/>
                  </a:lnTo>
                  <a:lnTo>
                    <a:pt x="1200" y="516"/>
                  </a:lnTo>
                  <a:lnTo>
                    <a:pt x="1200" y="522"/>
                  </a:lnTo>
                  <a:lnTo>
                    <a:pt x="1212" y="534"/>
                  </a:lnTo>
                  <a:lnTo>
                    <a:pt x="1218" y="540"/>
                  </a:lnTo>
                  <a:lnTo>
                    <a:pt x="1224" y="552"/>
                  </a:lnTo>
                  <a:lnTo>
                    <a:pt x="1230" y="552"/>
                  </a:lnTo>
                  <a:lnTo>
                    <a:pt x="1242" y="552"/>
                  </a:lnTo>
                  <a:lnTo>
                    <a:pt x="1248" y="558"/>
                  </a:lnTo>
                  <a:lnTo>
                    <a:pt x="1254" y="558"/>
                  </a:lnTo>
                  <a:lnTo>
                    <a:pt x="1260" y="564"/>
                  </a:lnTo>
                  <a:lnTo>
                    <a:pt x="1266" y="564"/>
                  </a:lnTo>
                  <a:lnTo>
                    <a:pt x="1272" y="564"/>
                  </a:lnTo>
                  <a:lnTo>
                    <a:pt x="1284" y="564"/>
                  </a:lnTo>
                  <a:lnTo>
                    <a:pt x="1290" y="570"/>
                  </a:lnTo>
                  <a:lnTo>
                    <a:pt x="1296" y="576"/>
                  </a:lnTo>
                  <a:lnTo>
                    <a:pt x="1302" y="588"/>
                  </a:lnTo>
                  <a:lnTo>
                    <a:pt x="1296" y="594"/>
                  </a:lnTo>
                  <a:lnTo>
                    <a:pt x="1296" y="600"/>
                  </a:lnTo>
                  <a:lnTo>
                    <a:pt x="1296" y="606"/>
                  </a:lnTo>
                  <a:lnTo>
                    <a:pt x="1290" y="612"/>
                  </a:lnTo>
                  <a:lnTo>
                    <a:pt x="1290" y="624"/>
                  </a:lnTo>
                  <a:lnTo>
                    <a:pt x="1290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308" y="654"/>
                  </a:lnTo>
                  <a:lnTo>
                    <a:pt x="1320" y="654"/>
                  </a:lnTo>
                  <a:lnTo>
                    <a:pt x="1326" y="660"/>
                  </a:lnTo>
                  <a:lnTo>
                    <a:pt x="1338" y="654"/>
                  </a:lnTo>
                  <a:lnTo>
                    <a:pt x="1344" y="654"/>
                  </a:lnTo>
                  <a:lnTo>
                    <a:pt x="1356" y="654"/>
                  </a:lnTo>
                  <a:lnTo>
                    <a:pt x="1362" y="648"/>
                  </a:lnTo>
                  <a:lnTo>
                    <a:pt x="1368" y="642"/>
                  </a:lnTo>
                  <a:lnTo>
                    <a:pt x="1374" y="636"/>
                  </a:lnTo>
                  <a:lnTo>
                    <a:pt x="1380" y="636"/>
                  </a:lnTo>
                  <a:lnTo>
                    <a:pt x="1392" y="636"/>
                  </a:lnTo>
                  <a:lnTo>
                    <a:pt x="1398" y="636"/>
                  </a:lnTo>
                  <a:lnTo>
                    <a:pt x="1404" y="636"/>
                  </a:lnTo>
                  <a:lnTo>
                    <a:pt x="1410" y="630"/>
                  </a:lnTo>
                  <a:lnTo>
                    <a:pt x="1410" y="624"/>
                  </a:lnTo>
                  <a:lnTo>
                    <a:pt x="1422" y="618"/>
                  </a:lnTo>
                  <a:lnTo>
                    <a:pt x="1428" y="618"/>
                  </a:lnTo>
                  <a:lnTo>
                    <a:pt x="1440" y="612"/>
                  </a:lnTo>
                  <a:lnTo>
                    <a:pt x="1446" y="612"/>
                  </a:lnTo>
                  <a:lnTo>
                    <a:pt x="1458" y="612"/>
                  </a:lnTo>
                  <a:lnTo>
                    <a:pt x="1470" y="624"/>
                  </a:lnTo>
                  <a:lnTo>
                    <a:pt x="1488" y="642"/>
                  </a:lnTo>
                  <a:lnTo>
                    <a:pt x="1500" y="648"/>
                  </a:lnTo>
                  <a:lnTo>
                    <a:pt x="1512" y="654"/>
                  </a:lnTo>
                  <a:lnTo>
                    <a:pt x="1518" y="660"/>
                  </a:lnTo>
                  <a:lnTo>
                    <a:pt x="1524" y="660"/>
                  </a:lnTo>
                  <a:lnTo>
                    <a:pt x="1530" y="660"/>
                  </a:lnTo>
                  <a:lnTo>
                    <a:pt x="1536" y="666"/>
                  </a:lnTo>
                  <a:lnTo>
                    <a:pt x="1542" y="672"/>
                  </a:lnTo>
                  <a:lnTo>
                    <a:pt x="1548" y="672"/>
                  </a:lnTo>
                  <a:lnTo>
                    <a:pt x="1554" y="684"/>
                  </a:lnTo>
                  <a:lnTo>
                    <a:pt x="1554" y="690"/>
                  </a:lnTo>
                  <a:lnTo>
                    <a:pt x="1566" y="702"/>
                  </a:lnTo>
                  <a:lnTo>
                    <a:pt x="1572" y="720"/>
                  </a:lnTo>
                  <a:lnTo>
                    <a:pt x="1572" y="726"/>
                  </a:lnTo>
                  <a:lnTo>
                    <a:pt x="1578" y="732"/>
                  </a:lnTo>
                  <a:lnTo>
                    <a:pt x="1584" y="738"/>
                  </a:lnTo>
                  <a:lnTo>
                    <a:pt x="1590" y="738"/>
                  </a:lnTo>
                  <a:lnTo>
                    <a:pt x="1596" y="738"/>
                  </a:lnTo>
                  <a:lnTo>
                    <a:pt x="1602" y="744"/>
                  </a:lnTo>
                  <a:lnTo>
                    <a:pt x="1608" y="744"/>
                  </a:lnTo>
                  <a:lnTo>
                    <a:pt x="1614" y="744"/>
                  </a:lnTo>
                  <a:lnTo>
                    <a:pt x="1626" y="744"/>
                  </a:lnTo>
                  <a:lnTo>
                    <a:pt x="1638" y="744"/>
                  </a:lnTo>
                  <a:lnTo>
                    <a:pt x="1650" y="744"/>
                  </a:lnTo>
                  <a:lnTo>
                    <a:pt x="1662" y="744"/>
                  </a:lnTo>
                  <a:lnTo>
                    <a:pt x="1668" y="744"/>
                  </a:lnTo>
                  <a:lnTo>
                    <a:pt x="1674" y="744"/>
                  </a:lnTo>
                  <a:lnTo>
                    <a:pt x="1686" y="744"/>
                  </a:lnTo>
                  <a:lnTo>
                    <a:pt x="1698" y="750"/>
                  </a:lnTo>
                  <a:lnTo>
                    <a:pt x="1704" y="750"/>
                  </a:lnTo>
                  <a:lnTo>
                    <a:pt x="1716" y="756"/>
                  </a:lnTo>
                  <a:lnTo>
                    <a:pt x="1722" y="756"/>
                  </a:lnTo>
                  <a:lnTo>
                    <a:pt x="1728" y="756"/>
                  </a:lnTo>
                  <a:lnTo>
                    <a:pt x="1734" y="762"/>
                  </a:lnTo>
                  <a:lnTo>
                    <a:pt x="1740" y="768"/>
                  </a:lnTo>
                  <a:lnTo>
                    <a:pt x="1758" y="780"/>
                  </a:lnTo>
                  <a:lnTo>
                    <a:pt x="1770" y="780"/>
                  </a:lnTo>
                  <a:lnTo>
                    <a:pt x="1776" y="780"/>
                  </a:lnTo>
                  <a:lnTo>
                    <a:pt x="1782" y="780"/>
                  </a:lnTo>
                  <a:lnTo>
                    <a:pt x="1800" y="798"/>
                  </a:lnTo>
                  <a:lnTo>
                    <a:pt x="1818" y="810"/>
                  </a:lnTo>
                  <a:lnTo>
                    <a:pt x="1830" y="816"/>
                  </a:lnTo>
                  <a:lnTo>
                    <a:pt x="1836" y="822"/>
                  </a:lnTo>
                  <a:lnTo>
                    <a:pt x="1836" y="828"/>
                  </a:lnTo>
                  <a:lnTo>
                    <a:pt x="1842" y="828"/>
                  </a:lnTo>
                  <a:lnTo>
                    <a:pt x="1848" y="834"/>
                  </a:lnTo>
                  <a:lnTo>
                    <a:pt x="1854" y="840"/>
                  </a:lnTo>
                  <a:lnTo>
                    <a:pt x="1860" y="846"/>
                  </a:lnTo>
                  <a:lnTo>
                    <a:pt x="1872" y="852"/>
                  </a:lnTo>
                  <a:lnTo>
                    <a:pt x="1884" y="852"/>
                  </a:lnTo>
                  <a:lnTo>
                    <a:pt x="1896" y="852"/>
                  </a:lnTo>
                  <a:lnTo>
                    <a:pt x="1902" y="846"/>
                  </a:lnTo>
                  <a:lnTo>
                    <a:pt x="1908" y="852"/>
                  </a:lnTo>
                  <a:lnTo>
                    <a:pt x="1920" y="858"/>
                  </a:lnTo>
                  <a:lnTo>
                    <a:pt x="1926" y="870"/>
                  </a:lnTo>
                  <a:lnTo>
                    <a:pt x="1938" y="888"/>
                  </a:lnTo>
                  <a:lnTo>
                    <a:pt x="1944" y="900"/>
                  </a:lnTo>
                  <a:lnTo>
                    <a:pt x="1950" y="900"/>
                  </a:lnTo>
                  <a:lnTo>
                    <a:pt x="1962" y="906"/>
                  </a:lnTo>
                  <a:lnTo>
                    <a:pt x="1968" y="906"/>
                  </a:lnTo>
                  <a:lnTo>
                    <a:pt x="1980" y="906"/>
                  </a:lnTo>
                  <a:lnTo>
                    <a:pt x="1998" y="906"/>
                  </a:lnTo>
                  <a:lnTo>
                    <a:pt x="2010" y="900"/>
                  </a:lnTo>
                  <a:lnTo>
                    <a:pt x="2022" y="900"/>
                  </a:lnTo>
                  <a:lnTo>
                    <a:pt x="2028" y="900"/>
                  </a:lnTo>
                  <a:lnTo>
                    <a:pt x="2034" y="906"/>
                  </a:lnTo>
                  <a:lnTo>
                    <a:pt x="2046" y="906"/>
                  </a:lnTo>
                  <a:lnTo>
                    <a:pt x="2052" y="900"/>
                  </a:lnTo>
                  <a:lnTo>
                    <a:pt x="2058" y="900"/>
                  </a:lnTo>
                  <a:lnTo>
                    <a:pt x="2064" y="900"/>
                  </a:lnTo>
                  <a:lnTo>
                    <a:pt x="2070" y="900"/>
                  </a:lnTo>
                  <a:lnTo>
                    <a:pt x="2076" y="900"/>
                  </a:lnTo>
                  <a:lnTo>
                    <a:pt x="2076" y="906"/>
                  </a:lnTo>
                  <a:lnTo>
                    <a:pt x="2088" y="906"/>
                  </a:lnTo>
                  <a:lnTo>
                    <a:pt x="2106" y="900"/>
                  </a:lnTo>
                  <a:lnTo>
                    <a:pt x="2118" y="900"/>
                  </a:lnTo>
                  <a:lnTo>
                    <a:pt x="2130" y="900"/>
                  </a:lnTo>
                  <a:lnTo>
                    <a:pt x="2142" y="900"/>
                  </a:lnTo>
                  <a:lnTo>
                    <a:pt x="2148" y="906"/>
                  </a:lnTo>
                  <a:lnTo>
                    <a:pt x="2154" y="906"/>
                  </a:lnTo>
                  <a:lnTo>
                    <a:pt x="2160" y="906"/>
                  </a:lnTo>
                  <a:lnTo>
                    <a:pt x="2166" y="906"/>
                  </a:lnTo>
                  <a:lnTo>
                    <a:pt x="2178" y="918"/>
                  </a:lnTo>
                  <a:lnTo>
                    <a:pt x="2178" y="924"/>
                  </a:lnTo>
                  <a:lnTo>
                    <a:pt x="2184" y="924"/>
                  </a:lnTo>
                  <a:lnTo>
                    <a:pt x="2190" y="924"/>
                  </a:lnTo>
                  <a:lnTo>
                    <a:pt x="2196" y="924"/>
                  </a:lnTo>
                  <a:lnTo>
                    <a:pt x="2202" y="918"/>
                  </a:lnTo>
                  <a:lnTo>
                    <a:pt x="2208" y="918"/>
                  </a:lnTo>
                  <a:lnTo>
                    <a:pt x="2214" y="918"/>
                  </a:lnTo>
                  <a:lnTo>
                    <a:pt x="2226" y="918"/>
                  </a:lnTo>
                  <a:lnTo>
                    <a:pt x="2220" y="948"/>
                  </a:lnTo>
                  <a:lnTo>
                    <a:pt x="2214" y="972"/>
                  </a:lnTo>
                  <a:lnTo>
                    <a:pt x="2214" y="984"/>
                  </a:lnTo>
                  <a:lnTo>
                    <a:pt x="2208" y="990"/>
                  </a:lnTo>
                  <a:lnTo>
                    <a:pt x="2208" y="996"/>
                  </a:lnTo>
                  <a:lnTo>
                    <a:pt x="2202" y="996"/>
                  </a:lnTo>
                  <a:lnTo>
                    <a:pt x="2196" y="996"/>
                  </a:lnTo>
                  <a:lnTo>
                    <a:pt x="2190" y="1008"/>
                  </a:lnTo>
                  <a:lnTo>
                    <a:pt x="2172" y="1074"/>
                  </a:lnTo>
                  <a:lnTo>
                    <a:pt x="2166" y="1092"/>
                  </a:lnTo>
                  <a:lnTo>
                    <a:pt x="2172" y="1110"/>
                  </a:lnTo>
                  <a:lnTo>
                    <a:pt x="2172" y="1122"/>
                  </a:lnTo>
                  <a:lnTo>
                    <a:pt x="2166" y="1134"/>
                  </a:lnTo>
                  <a:lnTo>
                    <a:pt x="2148" y="1140"/>
                  </a:lnTo>
                  <a:lnTo>
                    <a:pt x="2148" y="1134"/>
                  </a:lnTo>
                  <a:lnTo>
                    <a:pt x="2118" y="1140"/>
                  </a:lnTo>
                  <a:lnTo>
                    <a:pt x="2088" y="1134"/>
                  </a:lnTo>
                  <a:lnTo>
                    <a:pt x="2064" y="1122"/>
                  </a:lnTo>
                  <a:lnTo>
                    <a:pt x="2034" y="1122"/>
                  </a:lnTo>
                  <a:lnTo>
                    <a:pt x="2022" y="1128"/>
                  </a:lnTo>
                  <a:lnTo>
                    <a:pt x="1986" y="1128"/>
                  </a:lnTo>
                  <a:lnTo>
                    <a:pt x="1938" y="1122"/>
                  </a:lnTo>
                  <a:lnTo>
                    <a:pt x="1932" y="1116"/>
                  </a:lnTo>
                  <a:lnTo>
                    <a:pt x="1896" y="1110"/>
                  </a:lnTo>
                  <a:lnTo>
                    <a:pt x="1878" y="1104"/>
                  </a:lnTo>
                  <a:lnTo>
                    <a:pt x="1866" y="1098"/>
                  </a:lnTo>
                  <a:lnTo>
                    <a:pt x="1860" y="1098"/>
                  </a:lnTo>
                  <a:lnTo>
                    <a:pt x="1854" y="1092"/>
                  </a:lnTo>
                  <a:lnTo>
                    <a:pt x="1860" y="1092"/>
                  </a:lnTo>
                  <a:lnTo>
                    <a:pt x="1860" y="1086"/>
                  </a:lnTo>
                  <a:lnTo>
                    <a:pt x="1854" y="1086"/>
                  </a:lnTo>
                  <a:lnTo>
                    <a:pt x="1842" y="1080"/>
                  </a:lnTo>
                  <a:lnTo>
                    <a:pt x="1818" y="1062"/>
                  </a:lnTo>
                  <a:lnTo>
                    <a:pt x="1782" y="1056"/>
                  </a:lnTo>
                  <a:lnTo>
                    <a:pt x="1770" y="1068"/>
                  </a:lnTo>
                  <a:lnTo>
                    <a:pt x="1746" y="1098"/>
                  </a:lnTo>
                  <a:lnTo>
                    <a:pt x="1722" y="1104"/>
                  </a:lnTo>
                  <a:lnTo>
                    <a:pt x="1710" y="1122"/>
                  </a:lnTo>
                  <a:lnTo>
                    <a:pt x="1710" y="1128"/>
                  </a:lnTo>
                  <a:lnTo>
                    <a:pt x="1710" y="1140"/>
                  </a:lnTo>
                  <a:lnTo>
                    <a:pt x="1698" y="1146"/>
                  </a:lnTo>
                  <a:lnTo>
                    <a:pt x="1686" y="1152"/>
                  </a:lnTo>
                  <a:lnTo>
                    <a:pt x="1680" y="1164"/>
                  </a:lnTo>
                  <a:lnTo>
                    <a:pt x="1680" y="1170"/>
                  </a:lnTo>
                  <a:lnTo>
                    <a:pt x="1686" y="1170"/>
                  </a:lnTo>
                  <a:lnTo>
                    <a:pt x="1686" y="1176"/>
                  </a:lnTo>
                  <a:lnTo>
                    <a:pt x="1698" y="1188"/>
                  </a:lnTo>
                  <a:lnTo>
                    <a:pt x="1704" y="1188"/>
                  </a:lnTo>
                  <a:lnTo>
                    <a:pt x="1698" y="1194"/>
                  </a:lnTo>
                  <a:lnTo>
                    <a:pt x="1704" y="1194"/>
                  </a:lnTo>
                  <a:lnTo>
                    <a:pt x="1704" y="1200"/>
                  </a:lnTo>
                  <a:lnTo>
                    <a:pt x="1704" y="1206"/>
                  </a:lnTo>
                  <a:lnTo>
                    <a:pt x="1704" y="1212"/>
                  </a:lnTo>
                  <a:lnTo>
                    <a:pt x="1704" y="1218"/>
                  </a:lnTo>
                  <a:lnTo>
                    <a:pt x="1710" y="1218"/>
                  </a:lnTo>
                  <a:lnTo>
                    <a:pt x="1710" y="1212"/>
                  </a:lnTo>
                  <a:lnTo>
                    <a:pt x="1716" y="1212"/>
                  </a:lnTo>
                  <a:lnTo>
                    <a:pt x="1716" y="1218"/>
                  </a:lnTo>
                  <a:lnTo>
                    <a:pt x="1716" y="1224"/>
                  </a:lnTo>
                  <a:lnTo>
                    <a:pt x="1716" y="1230"/>
                  </a:lnTo>
                  <a:lnTo>
                    <a:pt x="1722" y="1236"/>
                  </a:lnTo>
                  <a:lnTo>
                    <a:pt x="1740" y="1230"/>
                  </a:lnTo>
                  <a:lnTo>
                    <a:pt x="1734" y="1236"/>
                  </a:lnTo>
                  <a:lnTo>
                    <a:pt x="1734" y="1242"/>
                  </a:lnTo>
                  <a:lnTo>
                    <a:pt x="1734" y="1248"/>
                  </a:lnTo>
                  <a:lnTo>
                    <a:pt x="1734" y="1254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52" y="1266"/>
                  </a:lnTo>
                  <a:lnTo>
                    <a:pt x="1764" y="1266"/>
                  </a:lnTo>
                  <a:lnTo>
                    <a:pt x="1788" y="1260"/>
                  </a:lnTo>
                  <a:lnTo>
                    <a:pt x="1800" y="1260"/>
                  </a:lnTo>
                  <a:lnTo>
                    <a:pt x="1806" y="1272"/>
                  </a:lnTo>
                  <a:lnTo>
                    <a:pt x="1806" y="1296"/>
                  </a:lnTo>
                  <a:lnTo>
                    <a:pt x="1800" y="1308"/>
                  </a:lnTo>
                  <a:lnTo>
                    <a:pt x="1788" y="1308"/>
                  </a:lnTo>
                  <a:lnTo>
                    <a:pt x="1782" y="1326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7" name="Freeform 32">
              <a:extLst>
                <a:ext uri="{FF2B5EF4-FFF2-40B4-BE49-F238E27FC236}">
                  <a16:creationId xmlns:a16="http://schemas.microsoft.com/office/drawing/2014/main" id="{1EF84438-BF7A-47D2-9156-E231EA2A279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3295" y="2316568"/>
              <a:ext cx="1290281" cy="1084704"/>
            </a:xfrm>
            <a:custGeom>
              <a:avLst/>
              <a:gdLst>
                <a:gd name="T0" fmla="*/ 177 w 2430"/>
                <a:gd name="T1" fmla="*/ 169 h 2040"/>
                <a:gd name="T2" fmla="*/ 174 w 2430"/>
                <a:gd name="T3" fmla="*/ 173 h 2040"/>
                <a:gd name="T4" fmla="*/ 169 w 2430"/>
                <a:gd name="T5" fmla="*/ 171 h 2040"/>
                <a:gd name="T6" fmla="*/ 160 w 2430"/>
                <a:gd name="T7" fmla="*/ 163 h 2040"/>
                <a:gd name="T8" fmla="*/ 154 w 2430"/>
                <a:gd name="T9" fmla="*/ 149 h 2040"/>
                <a:gd name="T10" fmla="*/ 144 w 2430"/>
                <a:gd name="T11" fmla="*/ 147 h 2040"/>
                <a:gd name="T12" fmla="*/ 133 w 2430"/>
                <a:gd name="T13" fmla="*/ 146 h 2040"/>
                <a:gd name="T14" fmla="*/ 121 w 2430"/>
                <a:gd name="T15" fmla="*/ 145 h 2040"/>
                <a:gd name="T16" fmla="*/ 110 w 2430"/>
                <a:gd name="T17" fmla="*/ 137 h 2040"/>
                <a:gd name="T18" fmla="*/ 97 w 2430"/>
                <a:gd name="T19" fmla="*/ 131 h 2040"/>
                <a:gd name="T20" fmla="*/ 87 w 2430"/>
                <a:gd name="T21" fmla="*/ 125 h 2040"/>
                <a:gd name="T22" fmla="*/ 75 w 2430"/>
                <a:gd name="T23" fmla="*/ 122 h 2040"/>
                <a:gd name="T24" fmla="*/ 65 w 2430"/>
                <a:gd name="T25" fmla="*/ 122 h 2040"/>
                <a:gd name="T26" fmla="*/ 59 w 2430"/>
                <a:gd name="T27" fmla="*/ 115 h 2040"/>
                <a:gd name="T28" fmla="*/ 50 w 2430"/>
                <a:gd name="T29" fmla="*/ 107 h 2040"/>
                <a:gd name="T30" fmla="*/ 28 w 2430"/>
                <a:gd name="T31" fmla="*/ 84 h 2040"/>
                <a:gd name="T32" fmla="*/ 22 w 2430"/>
                <a:gd name="T33" fmla="*/ 82 h 2040"/>
                <a:gd name="T34" fmla="*/ 20 w 2430"/>
                <a:gd name="T35" fmla="*/ 79 h 2040"/>
                <a:gd name="T36" fmla="*/ 16 w 2430"/>
                <a:gd name="T37" fmla="*/ 76 h 2040"/>
                <a:gd name="T38" fmla="*/ 11 w 2430"/>
                <a:gd name="T39" fmla="*/ 74 h 2040"/>
                <a:gd name="T40" fmla="*/ 7 w 2430"/>
                <a:gd name="T41" fmla="*/ 69 h 2040"/>
                <a:gd name="T42" fmla="*/ 0 w 2430"/>
                <a:gd name="T43" fmla="*/ 60 h 2040"/>
                <a:gd name="T44" fmla="*/ 10 w 2430"/>
                <a:gd name="T45" fmla="*/ 53 h 2040"/>
                <a:gd name="T46" fmla="*/ 15 w 2430"/>
                <a:gd name="T47" fmla="*/ 40 h 2040"/>
                <a:gd name="T48" fmla="*/ 9 w 2430"/>
                <a:gd name="T49" fmla="*/ 29 h 2040"/>
                <a:gd name="T50" fmla="*/ 7 w 2430"/>
                <a:gd name="T51" fmla="*/ 16 h 2040"/>
                <a:gd name="T52" fmla="*/ 18 w 2430"/>
                <a:gd name="T53" fmla="*/ 21 h 2040"/>
                <a:gd name="T54" fmla="*/ 48 w 2430"/>
                <a:gd name="T55" fmla="*/ 27 h 2040"/>
                <a:gd name="T56" fmla="*/ 62 w 2430"/>
                <a:gd name="T57" fmla="*/ 25 h 2040"/>
                <a:gd name="T58" fmla="*/ 59 w 2430"/>
                <a:gd name="T59" fmla="*/ 42 h 2040"/>
                <a:gd name="T60" fmla="*/ 54 w 2430"/>
                <a:gd name="T61" fmla="*/ 65 h 2040"/>
                <a:gd name="T62" fmla="*/ 65 w 2430"/>
                <a:gd name="T63" fmla="*/ 60 h 2040"/>
                <a:gd name="T64" fmla="*/ 68 w 2430"/>
                <a:gd name="T65" fmla="*/ 40 h 2040"/>
                <a:gd name="T66" fmla="*/ 75 w 2430"/>
                <a:gd name="T67" fmla="*/ 36 h 2040"/>
                <a:gd name="T68" fmla="*/ 83 w 2430"/>
                <a:gd name="T69" fmla="*/ 29 h 2040"/>
                <a:gd name="T70" fmla="*/ 81 w 2430"/>
                <a:gd name="T71" fmla="*/ 17 h 2040"/>
                <a:gd name="T72" fmla="*/ 66 w 2430"/>
                <a:gd name="T73" fmla="*/ 7 h 2040"/>
                <a:gd name="T74" fmla="*/ 80 w 2430"/>
                <a:gd name="T75" fmla="*/ 5 h 2040"/>
                <a:gd name="T76" fmla="*/ 89 w 2430"/>
                <a:gd name="T77" fmla="*/ 1 h 2040"/>
                <a:gd name="T78" fmla="*/ 101 w 2430"/>
                <a:gd name="T79" fmla="*/ 10 h 2040"/>
                <a:gd name="T80" fmla="*/ 103 w 2430"/>
                <a:gd name="T81" fmla="*/ 18 h 2040"/>
                <a:gd name="T82" fmla="*/ 110 w 2430"/>
                <a:gd name="T83" fmla="*/ 23 h 2040"/>
                <a:gd name="T84" fmla="*/ 121 w 2430"/>
                <a:gd name="T85" fmla="*/ 20 h 2040"/>
                <a:gd name="T86" fmla="*/ 129 w 2430"/>
                <a:gd name="T87" fmla="*/ 15 h 2040"/>
                <a:gd name="T88" fmla="*/ 142 w 2430"/>
                <a:gd name="T89" fmla="*/ 23 h 2040"/>
                <a:gd name="T90" fmla="*/ 141 w 2430"/>
                <a:gd name="T91" fmla="*/ 30 h 2040"/>
                <a:gd name="T92" fmla="*/ 140 w 2430"/>
                <a:gd name="T93" fmla="*/ 38 h 2040"/>
                <a:gd name="T94" fmla="*/ 139 w 2430"/>
                <a:gd name="T95" fmla="*/ 46 h 2040"/>
                <a:gd name="T96" fmla="*/ 147 w 2430"/>
                <a:gd name="T97" fmla="*/ 54 h 2040"/>
                <a:gd name="T98" fmla="*/ 152 w 2430"/>
                <a:gd name="T99" fmla="*/ 50 h 2040"/>
                <a:gd name="T100" fmla="*/ 159 w 2430"/>
                <a:gd name="T101" fmla="*/ 43 h 2040"/>
                <a:gd name="T102" fmla="*/ 174 w 2430"/>
                <a:gd name="T103" fmla="*/ 41 h 2040"/>
                <a:gd name="T104" fmla="*/ 190 w 2430"/>
                <a:gd name="T105" fmla="*/ 57 h 2040"/>
                <a:gd name="T106" fmla="*/ 187 w 2430"/>
                <a:gd name="T107" fmla="*/ 66 h 2040"/>
                <a:gd name="T108" fmla="*/ 183 w 2430"/>
                <a:gd name="T109" fmla="*/ 72 h 2040"/>
                <a:gd name="T110" fmla="*/ 194 w 2430"/>
                <a:gd name="T111" fmla="*/ 73 h 2040"/>
                <a:gd name="T112" fmla="*/ 202 w 2430"/>
                <a:gd name="T113" fmla="*/ 74 h 2040"/>
                <a:gd name="T114" fmla="*/ 204 w 2430"/>
                <a:gd name="T115" fmla="*/ 89 h 2040"/>
                <a:gd name="T116" fmla="*/ 208 w 2430"/>
                <a:gd name="T117" fmla="*/ 99 h 2040"/>
                <a:gd name="T118" fmla="*/ 203 w 2430"/>
                <a:gd name="T119" fmla="*/ 103 h 2040"/>
                <a:gd name="T120" fmla="*/ 209 w 2430"/>
                <a:gd name="T121" fmla="*/ 111 h 2040"/>
                <a:gd name="T122" fmla="*/ 204 w 2430"/>
                <a:gd name="T123" fmla="*/ 124 h 2040"/>
                <a:gd name="T124" fmla="*/ 190 w 2430"/>
                <a:gd name="T125" fmla="*/ 117 h 20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30"/>
                <a:gd name="T190" fmla="*/ 0 h 2040"/>
                <a:gd name="T191" fmla="*/ 2430 w 2430"/>
                <a:gd name="T192" fmla="*/ 2040 h 20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30" h="2040">
                  <a:moveTo>
                    <a:pt x="2076" y="1896"/>
                  </a:moveTo>
                  <a:lnTo>
                    <a:pt x="2070" y="1896"/>
                  </a:lnTo>
                  <a:lnTo>
                    <a:pt x="2070" y="1902"/>
                  </a:lnTo>
                  <a:lnTo>
                    <a:pt x="2076" y="1902"/>
                  </a:lnTo>
                  <a:lnTo>
                    <a:pt x="2082" y="1902"/>
                  </a:lnTo>
                  <a:lnTo>
                    <a:pt x="2082" y="1908"/>
                  </a:lnTo>
                  <a:lnTo>
                    <a:pt x="2076" y="1908"/>
                  </a:lnTo>
                  <a:lnTo>
                    <a:pt x="2076" y="1914"/>
                  </a:lnTo>
                  <a:lnTo>
                    <a:pt x="2070" y="1920"/>
                  </a:lnTo>
                  <a:lnTo>
                    <a:pt x="2064" y="1932"/>
                  </a:lnTo>
                  <a:lnTo>
                    <a:pt x="2064" y="1938"/>
                  </a:lnTo>
                  <a:lnTo>
                    <a:pt x="2058" y="1938"/>
                  </a:lnTo>
                  <a:lnTo>
                    <a:pt x="2052" y="1944"/>
                  </a:lnTo>
                  <a:lnTo>
                    <a:pt x="2052" y="1950"/>
                  </a:lnTo>
                  <a:lnTo>
                    <a:pt x="2040" y="1944"/>
                  </a:lnTo>
                  <a:lnTo>
                    <a:pt x="2040" y="1950"/>
                  </a:lnTo>
                  <a:lnTo>
                    <a:pt x="2034" y="1956"/>
                  </a:lnTo>
                  <a:lnTo>
                    <a:pt x="2034" y="1962"/>
                  </a:lnTo>
                  <a:lnTo>
                    <a:pt x="2028" y="1962"/>
                  </a:lnTo>
                  <a:lnTo>
                    <a:pt x="2022" y="1962"/>
                  </a:lnTo>
                  <a:lnTo>
                    <a:pt x="2022" y="1968"/>
                  </a:lnTo>
                  <a:lnTo>
                    <a:pt x="2028" y="1974"/>
                  </a:lnTo>
                  <a:lnTo>
                    <a:pt x="2034" y="1980"/>
                  </a:lnTo>
                  <a:lnTo>
                    <a:pt x="2028" y="1986"/>
                  </a:lnTo>
                  <a:lnTo>
                    <a:pt x="2022" y="1992"/>
                  </a:lnTo>
                  <a:lnTo>
                    <a:pt x="2022" y="1986"/>
                  </a:lnTo>
                  <a:lnTo>
                    <a:pt x="2016" y="1986"/>
                  </a:lnTo>
                  <a:lnTo>
                    <a:pt x="2010" y="1980"/>
                  </a:lnTo>
                  <a:lnTo>
                    <a:pt x="2004" y="1980"/>
                  </a:lnTo>
                  <a:lnTo>
                    <a:pt x="2004" y="1986"/>
                  </a:lnTo>
                  <a:lnTo>
                    <a:pt x="2010" y="1992"/>
                  </a:lnTo>
                  <a:lnTo>
                    <a:pt x="2010" y="1998"/>
                  </a:lnTo>
                  <a:lnTo>
                    <a:pt x="2004" y="2004"/>
                  </a:lnTo>
                  <a:lnTo>
                    <a:pt x="1998" y="2004"/>
                  </a:lnTo>
                  <a:lnTo>
                    <a:pt x="1998" y="2022"/>
                  </a:lnTo>
                  <a:lnTo>
                    <a:pt x="1998" y="2028"/>
                  </a:lnTo>
                  <a:lnTo>
                    <a:pt x="1992" y="2034"/>
                  </a:lnTo>
                  <a:lnTo>
                    <a:pt x="1992" y="2040"/>
                  </a:lnTo>
                  <a:lnTo>
                    <a:pt x="1986" y="2040"/>
                  </a:lnTo>
                  <a:lnTo>
                    <a:pt x="1986" y="2034"/>
                  </a:lnTo>
                  <a:lnTo>
                    <a:pt x="1980" y="2028"/>
                  </a:lnTo>
                  <a:lnTo>
                    <a:pt x="1980" y="2022"/>
                  </a:lnTo>
                  <a:lnTo>
                    <a:pt x="1968" y="2016"/>
                  </a:lnTo>
                  <a:lnTo>
                    <a:pt x="1962" y="2010"/>
                  </a:lnTo>
                  <a:lnTo>
                    <a:pt x="1956" y="2004"/>
                  </a:lnTo>
                  <a:lnTo>
                    <a:pt x="1950" y="1992"/>
                  </a:lnTo>
                  <a:lnTo>
                    <a:pt x="1950" y="1986"/>
                  </a:lnTo>
                  <a:lnTo>
                    <a:pt x="1950" y="1974"/>
                  </a:lnTo>
                  <a:lnTo>
                    <a:pt x="1944" y="1974"/>
                  </a:lnTo>
                  <a:lnTo>
                    <a:pt x="1932" y="1962"/>
                  </a:lnTo>
                  <a:lnTo>
                    <a:pt x="1932" y="1956"/>
                  </a:lnTo>
                  <a:lnTo>
                    <a:pt x="1932" y="1950"/>
                  </a:lnTo>
                  <a:lnTo>
                    <a:pt x="1920" y="1944"/>
                  </a:lnTo>
                  <a:lnTo>
                    <a:pt x="1914" y="1944"/>
                  </a:lnTo>
                  <a:lnTo>
                    <a:pt x="1908" y="1938"/>
                  </a:lnTo>
                  <a:lnTo>
                    <a:pt x="1902" y="1926"/>
                  </a:lnTo>
                  <a:lnTo>
                    <a:pt x="1890" y="1914"/>
                  </a:lnTo>
                  <a:lnTo>
                    <a:pt x="1884" y="1914"/>
                  </a:lnTo>
                  <a:lnTo>
                    <a:pt x="1878" y="1908"/>
                  </a:lnTo>
                  <a:lnTo>
                    <a:pt x="1872" y="1902"/>
                  </a:lnTo>
                  <a:lnTo>
                    <a:pt x="1872" y="1896"/>
                  </a:lnTo>
                  <a:lnTo>
                    <a:pt x="1866" y="1890"/>
                  </a:lnTo>
                  <a:lnTo>
                    <a:pt x="1854" y="1884"/>
                  </a:lnTo>
                  <a:lnTo>
                    <a:pt x="1848" y="1884"/>
                  </a:lnTo>
                  <a:lnTo>
                    <a:pt x="1842" y="1872"/>
                  </a:lnTo>
                  <a:lnTo>
                    <a:pt x="1836" y="1872"/>
                  </a:lnTo>
                  <a:lnTo>
                    <a:pt x="1830" y="1866"/>
                  </a:lnTo>
                  <a:lnTo>
                    <a:pt x="1830" y="1854"/>
                  </a:lnTo>
                  <a:lnTo>
                    <a:pt x="1824" y="1848"/>
                  </a:lnTo>
                  <a:lnTo>
                    <a:pt x="1818" y="1830"/>
                  </a:lnTo>
                  <a:lnTo>
                    <a:pt x="1818" y="1818"/>
                  </a:lnTo>
                  <a:lnTo>
                    <a:pt x="1812" y="1800"/>
                  </a:lnTo>
                  <a:lnTo>
                    <a:pt x="1812" y="1788"/>
                  </a:lnTo>
                  <a:lnTo>
                    <a:pt x="1806" y="1776"/>
                  </a:lnTo>
                  <a:lnTo>
                    <a:pt x="1800" y="1764"/>
                  </a:lnTo>
                  <a:lnTo>
                    <a:pt x="1794" y="1758"/>
                  </a:lnTo>
                  <a:lnTo>
                    <a:pt x="1782" y="1740"/>
                  </a:lnTo>
                  <a:lnTo>
                    <a:pt x="1776" y="1728"/>
                  </a:lnTo>
                  <a:lnTo>
                    <a:pt x="1776" y="1722"/>
                  </a:lnTo>
                  <a:lnTo>
                    <a:pt x="1770" y="1722"/>
                  </a:lnTo>
                  <a:lnTo>
                    <a:pt x="1770" y="1716"/>
                  </a:lnTo>
                  <a:lnTo>
                    <a:pt x="1764" y="1716"/>
                  </a:lnTo>
                  <a:lnTo>
                    <a:pt x="1758" y="1710"/>
                  </a:lnTo>
                  <a:lnTo>
                    <a:pt x="1752" y="1704"/>
                  </a:lnTo>
                  <a:lnTo>
                    <a:pt x="1746" y="1704"/>
                  </a:lnTo>
                  <a:lnTo>
                    <a:pt x="1740" y="1704"/>
                  </a:lnTo>
                  <a:lnTo>
                    <a:pt x="1734" y="1704"/>
                  </a:lnTo>
                  <a:lnTo>
                    <a:pt x="1734" y="1698"/>
                  </a:lnTo>
                  <a:lnTo>
                    <a:pt x="1728" y="1692"/>
                  </a:lnTo>
                  <a:lnTo>
                    <a:pt x="1722" y="1686"/>
                  </a:lnTo>
                  <a:lnTo>
                    <a:pt x="1716" y="1686"/>
                  </a:lnTo>
                  <a:lnTo>
                    <a:pt x="1698" y="1686"/>
                  </a:lnTo>
                  <a:lnTo>
                    <a:pt x="1692" y="1692"/>
                  </a:lnTo>
                  <a:lnTo>
                    <a:pt x="1680" y="1692"/>
                  </a:lnTo>
                  <a:lnTo>
                    <a:pt x="1668" y="1692"/>
                  </a:lnTo>
                  <a:lnTo>
                    <a:pt x="1662" y="1692"/>
                  </a:lnTo>
                  <a:lnTo>
                    <a:pt x="1656" y="1692"/>
                  </a:lnTo>
                  <a:lnTo>
                    <a:pt x="1650" y="1698"/>
                  </a:lnTo>
                  <a:lnTo>
                    <a:pt x="1644" y="1698"/>
                  </a:lnTo>
                  <a:lnTo>
                    <a:pt x="1638" y="1698"/>
                  </a:lnTo>
                  <a:lnTo>
                    <a:pt x="1632" y="1698"/>
                  </a:lnTo>
                  <a:lnTo>
                    <a:pt x="1632" y="1692"/>
                  </a:lnTo>
                  <a:lnTo>
                    <a:pt x="1620" y="1680"/>
                  </a:lnTo>
                  <a:lnTo>
                    <a:pt x="1614" y="1680"/>
                  </a:lnTo>
                  <a:lnTo>
                    <a:pt x="1608" y="1680"/>
                  </a:lnTo>
                  <a:lnTo>
                    <a:pt x="1602" y="1680"/>
                  </a:lnTo>
                  <a:lnTo>
                    <a:pt x="1596" y="1674"/>
                  </a:lnTo>
                  <a:lnTo>
                    <a:pt x="1584" y="1674"/>
                  </a:lnTo>
                  <a:lnTo>
                    <a:pt x="1572" y="1674"/>
                  </a:lnTo>
                  <a:lnTo>
                    <a:pt x="1560" y="1674"/>
                  </a:lnTo>
                  <a:lnTo>
                    <a:pt x="1542" y="1680"/>
                  </a:lnTo>
                  <a:lnTo>
                    <a:pt x="1530" y="1680"/>
                  </a:lnTo>
                  <a:lnTo>
                    <a:pt x="1530" y="1674"/>
                  </a:lnTo>
                  <a:lnTo>
                    <a:pt x="1524" y="1674"/>
                  </a:lnTo>
                  <a:lnTo>
                    <a:pt x="1518" y="1674"/>
                  </a:lnTo>
                  <a:lnTo>
                    <a:pt x="1512" y="1674"/>
                  </a:lnTo>
                  <a:lnTo>
                    <a:pt x="1506" y="1674"/>
                  </a:lnTo>
                  <a:lnTo>
                    <a:pt x="1500" y="1680"/>
                  </a:lnTo>
                  <a:lnTo>
                    <a:pt x="1488" y="1680"/>
                  </a:lnTo>
                  <a:lnTo>
                    <a:pt x="1482" y="1674"/>
                  </a:lnTo>
                  <a:lnTo>
                    <a:pt x="1476" y="1674"/>
                  </a:lnTo>
                  <a:lnTo>
                    <a:pt x="1464" y="1674"/>
                  </a:lnTo>
                  <a:lnTo>
                    <a:pt x="1452" y="1680"/>
                  </a:lnTo>
                  <a:lnTo>
                    <a:pt x="1434" y="1680"/>
                  </a:lnTo>
                  <a:lnTo>
                    <a:pt x="1422" y="1680"/>
                  </a:lnTo>
                  <a:lnTo>
                    <a:pt x="1416" y="1680"/>
                  </a:lnTo>
                  <a:lnTo>
                    <a:pt x="1404" y="1674"/>
                  </a:lnTo>
                  <a:lnTo>
                    <a:pt x="1398" y="1674"/>
                  </a:lnTo>
                  <a:lnTo>
                    <a:pt x="1392" y="1662"/>
                  </a:lnTo>
                  <a:lnTo>
                    <a:pt x="1380" y="1644"/>
                  </a:lnTo>
                  <a:lnTo>
                    <a:pt x="1374" y="1632"/>
                  </a:lnTo>
                  <a:lnTo>
                    <a:pt x="1362" y="1626"/>
                  </a:lnTo>
                  <a:lnTo>
                    <a:pt x="1356" y="1620"/>
                  </a:lnTo>
                  <a:lnTo>
                    <a:pt x="1350" y="1626"/>
                  </a:lnTo>
                  <a:lnTo>
                    <a:pt x="1338" y="1626"/>
                  </a:lnTo>
                  <a:lnTo>
                    <a:pt x="1326" y="1626"/>
                  </a:lnTo>
                  <a:lnTo>
                    <a:pt x="1314" y="1620"/>
                  </a:lnTo>
                  <a:lnTo>
                    <a:pt x="1308" y="1614"/>
                  </a:lnTo>
                  <a:lnTo>
                    <a:pt x="1302" y="1608"/>
                  </a:lnTo>
                  <a:lnTo>
                    <a:pt x="1296" y="1602"/>
                  </a:lnTo>
                  <a:lnTo>
                    <a:pt x="1290" y="1602"/>
                  </a:lnTo>
                  <a:lnTo>
                    <a:pt x="1290" y="1596"/>
                  </a:lnTo>
                  <a:lnTo>
                    <a:pt x="1284" y="1590"/>
                  </a:lnTo>
                  <a:lnTo>
                    <a:pt x="1272" y="1584"/>
                  </a:lnTo>
                  <a:lnTo>
                    <a:pt x="1254" y="1572"/>
                  </a:lnTo>
                  <a:lnTo>
                    <a:pt x="1236" y="1554"/>
                  </a:lnTo>
                  <a:lnTo>
                    <a:pt x="1230" y="1554"/>
                  </a:lnTo>
                  <a:lnTo>
                    <a:pt x="1224" y="1554"/>
                  </a:lnTo>
                  <a:lnTo>
                    <a:pt x="1212" y="1554"/>
                  </a:lnTo>
                  <a:lnTo>
                    <a:pt x="1194" y="1542"/>
                  </a:lnTo>
                  <a:lnTo>
                    <a:pt x="1188" y="1536"/>
                  </a:lnTo>
                  <a:lnTo>
                    <a:pt x="1182" y="1530"/>
                  </a:lnTo>
                  <a:lnTo>
                    <a:pt x="1176" y="1530"/>
                  </a:lnTo>
                  <a:lnTo>
                    <a:pt x="1170" y="1530"/>
                  </a:lnTo>
                  <a:lnTo>
                    <a:pt x="1158" y="1524"/>
                  </a:lnTo>
                  <a:lnTo>
                    <a:pt x="1152" y="1524"/>
                  </a:lnTo>
                  <a:lnTo>
                    <a:pt x="1140" y="1518"/>
                  </a:lnTo>
                  <a:lnTo>
                    <a:pt x="1128" y="1518"/>
                  </a:lnTo>
                  <a:lnTo>
                    <a:pt x="1122" y="1518"/>
                  </a:lnTo>
                  <a:lnTo>
                    <a:pt x="1116" y="1518"/>
                  </a:lnTo>
                  <a:lnTo>
                    <a:pt x="1104" y="1518"/>
                  </a:lnTo>
                  <a:lnTo>
                    <a:pt x="1092" y="1518"/>
                  </a:lnTo>
                  <a:lnTo>
                    <a:pt x="1080" y="1518"/>
                  </a:lnTo>
                  <a:lnTo>
                    <a:pt x="1068" y="1518"/>
                  </a:lnTo>
                  <a:lnTo>
                    <a:pt x="1062" y="1518"/>
                  </a:lnTo>
                  <a:lnTo>
                    <a:pt x="1056" y="1518"/>
                  </a:lnTo>
                  <a:lnTo>
                    <a:pt x="1050" y="1512"/>
                  </a:lnTo>
                  <a:lnTo>
                    <a:pt x="1044" y="1512"/>
                  </a:lnTo>
                  <a:lnTo>
                    <a:pt x="1038" y="1512"/>
                  </a:lnTo>
                  <a:lnTo>
                    <a:pt x="1032" y="1506"/>
                  </a:lnTo>
                  <a:lnTo>
                    <a:pt x="1026" y="1500"/>
                  </a:lnTo>
                  <a:lnTo>
                    <a:pt x="1026" y="1494"/>
                  </a:lnTo>
                  <a:lnTo>
                    <a:pt x="1020" y="1476"/>
                  </a:lnTo>
                  <a:lnTo>
                    <a:pt x="1008" y="1464"/>
                  </a:lnTo>
                  <a:lnTo>
                    <a:pt x="1008" y="1458"/>
                  </a:lnTo>
                  <a:lnTo>
                    <a:pt x="1002" y="1446"/>
                  </a:lnTo>
                  <a:lnTo>
                    <a:pt x="996" y="1446"/>
                  </a:lnTo>
                  <a:lnTo>
                    <a:pt x="990" y="1440"/>
                  </a:lnTo>
                  <a:lnTo>
                    <a:pt x="984" y="1434"/>
                  </a:lnTo>
                  <a:lnTo>
                    <a:pt x="978" y="1434"/>
                  </a:lnTo>
                  <a:lnTo>
                    <a:pt x="972" y="1434"/>
                  </a:lnTo>
                  <a:lnTo>
                    <a:pt x="966" y="1428"/>
                  </a:lnTo>
                  <a:lnTo>
                    <a:pt x="954" y="1422"/>
                  </a:lnTo>
                  <a:lnTo>
                    <a:pt x="942" y="1416"/>
                  </a:lnTo>
                  <a:lnTo>
                    <a:pt x="924" y="1398"/>
                  </a:lnTo>
                  <a:lnTo>
                    <a:pt x="912" y="1386"/>
                  </a:lnTo>
                  <a:lnTo>
                    <a:pt x="900" y="1386"/>
                  </a:lnTo>
                  <a:lnTo>
                    <a:pt x="894" y="1386"/>
                  </a:lnTo>
                  <a:lnTo>
                    <a:pt x="882" y="1392"/>
                  </a:lnTo>
                  <a:lnTo>
                    <a:pt x="876" y="1392"/>
                  </a:lnTo>
                  <a:lnTo>
                    <a:pt x="864" y="1398"/>
                  </a:lnTo>
                  <a:lnTo>
                    <a:pt x="864" y="1404"/>
                  </a:lnTo>
                  <a:lnTo>
                    <a:pt x="858" y="1410"/>
                  </a:lnTo>
                  <a:lnTo>
                    <a:pt x="852" y="1410"/>
                  </a:lnTo>
                  <a:lnTo>
                    <a:pt x="846" y="1410"/>
                  </a:lnTo>
                  <a:lnTo>
                    <a:pt x="834" y="1410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10" y="1428"/>
                  </a:lnTo>
                  <a:lnTo>
                    <a:pt x="798" y="1428"/>
                  </a:lnTo>
                  <a:lnTo>
                    <a:pt x="792" y="1428"/>
                  </a:lnTo>
                  <a:lnTo>
                    <a:pt x="780" y="1434"/>
                  </a:lnTo>
                  <a:lnTo>
                    <a:pt x="774" y="1428"/>
                  </a:lnTo>
                  <a:lnTo>
                    <a:pt x="762" y="1428"/>
                  </a:lnTo>
                  <a:lnTo>
                    <a:pt x="756" y="1422"/>
                  </a:lnTo>
                  <a:lnTo>
                    <a:pt x="750" y="1416"/>
                  </a:lnTo>
                  <a:lnTo>
                    <a:pt x="744" y="1410"/>
                  </a:lnTo>
                  <a:lnTo>
                    <a:pt x="744" y="1398"/>
                  </a:lnTo>
                  <a:lnTo>
                    <a:pt x="744" y="1386"/>
                  </a:lnTo>
                  <a:lnTo>
                    <a:pt x="750" y="1380"/>
                  </a:lnTo>
                  <a:lnTo>
                    <a:pt x="750" y="1374"/>
                  </a:lnTo>
                  <a:lnTo>
                    <a:pt x="750" y="1368"/>
                  </a:lnTo>
                  <a:lnTo>
                    <a:pt x="756" y="1362"/>
                  </a:lnTo>
                  <a:lnTo>
                    <a:pt x="750" y="1350"/>
                  </a:lnTo>
                  <a:lnTo>
                    <a:pt x="744" y="1344"/>
                  </a:lnTo>
                  <a:lnTo>
                    <a:pt x="738" y="1338"/>
                  </a:lnTo>
                  <a:lnTo>
                    <a:pt x="726" y="1338"/>
                  </a:lnTo>
                  <a:lnTo>
                    <a:pt x="720" y="1338"/>
                  </a:lnTo>
                  <a:lnTo>
                    <a:pt x="714" y="1338"/>
                  </a:lnTo>
                  <a:lnTo>
                    <a:pt x="708" y="1332"/>
                  </a:lnTo>
                  <a:lnTo>
                    <a:pt x="702" y="1332"/>
                  </a:lnTo>
                  <a:lnTo>
                    <a:pt x="696" y="1326"/>
                  </a:lnTo>
                  <a:lnTo>
                    <a:pt x="684" y="1326"/>
                  </a:lnTo>
                  <a:lnTo>
                    <a:pt x="678" y="1326"/>
                  </a:lnTo>
                  <a:lnTo>
                    <a:pt x="672" y="1314"/>
                  </a:lnTo>
                  <a:lnTo>
                    <a:pt x="666" y="1308"/>
                  </a:lnTo>
                  <a:lnTo>
                    <a:pt x="654" y="1296"/>
                  </a:lnTo>
                  <a:lnTo>
                    <a:pt x="654" y="1290"/>
                  </a:lnTo>
                  <a:lnTo>
                    <a:pt x="630" y="1284"/>
                  </a:lnTo>
                  <a:lnTo>
                    <a:pt x="630" y="1278"/>
                  </a:lnTo>
                  <a:lnTo>
                    <a:pt x="624" y="1278"/>
                  </a:lnTo>
                  <a:lnTo>
                    <a:pt x="618" y="1266"/>
                  </a:lnTo>
                  <a:lnTo>
                    <a:pt x="612" y="1266"/>
                  </a:lnTo>
                  <a:lnTo>
                    <a:pt x="606" y="1266"/>
                  </a:lnTo>
                  <a:lnTo>
                    <a:pt x="606" y="1260"/>
                  </a:lnTo>
                  <a:lnTo>
                    <a:pt x="594" y="1248"/>
                  </a:lnTo>
                  <a:lnTo>
                    <a:pt x="582" y="1248"/>
                  </a:lnTo>
                  <a:lnTo>
                    <a:pt x="576" y="1242"/>
                  </a:lnTo>
                  <a:lnTo>
                    <a:pt x="570" y="1236"/>
                  </a:lnTo>
                  <a:lnTo>
                    <a:pt x="504" y="1164"/>
                  </a:lnTo>
                  <a:lnTo>
                    <a:pt x="450" y="1110"/>
                  </a:lnTo>
                  <a:lnTo>
                    <a:pt x="426" y="1092"/>
                  </a:lnTo>
                  <a:lnTo>
                    <a:pt x="426" y="1074"/>
                  </a:lnTo>
                  <a:lnTo>
                    <a:pt x="420" y="1062"/>
                  </a:lnTo>
                  <a:lnTo>
                    <a:pt x="396" y="1056"/>
                  </a:lnTo>
                  <a:lnTo>
                    <a:pt x="384" y="1032"/>
                  </a:lnTo>
                  <a:lnTo>
                    <a:pt x="372" y="1020"/>
                  </a:lnTo>
                  <a:lnTo>
                    <a:pt x="360" y="984"/>
                  </a:lnTo>
                  <a:lnTo>
                    <a:pt x="348" y="978"/>
                  </a:lnTo>
                  <a:lnTo>
                    <a:pt x="342" y="972"/>
                  </a:lnTo>
                  <a:lnTo>
                    <a:pt x="348" y="960"/>
                  </a:lnTo>
                  <a:lnTo>
                    <a:pt x="342" y="954"/>
                  </a:lnTo>
                  <a:lnTo>
                    <a:pt x="336" y="954"/>
                  </a:lnTo>
                  <a:lnTo>
                    <a:pt x="330" y="954"/>
                  </a:lnTo>
                  <a:lnTo>
                    <a:pt x="324" y="972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0" y="966"/>
                  </a:lnTo>
                  <a:lnTo>
                    <a:pt x="294" y="966"/>
                  </a:lnTo>
                  <a:lnTo>
                    <a:pt x="288" y="972"/>
                  </a:lnTo>
                  <a:lnTo>
                    <a:pt x="288" y="966"/>
                  </a:lnTo>
                  <a:lnTo>
                    <a:pt x="282" y="948"/>
                  </a:lnTo>
                  <a:lnTo>
                    <a:pt x="282" y="942"/>
                  </a:lnTo>
                  <a:lnTo>
                    <a:pt x="276" y="942"/>
                  </a:lnTo>
                  <a:lnTo>
                    <a:pt x="276" y="936"/>
                  </a:lnTo>
                  <a:lnTo>
                    <a:pt x="270" y="942"/>
                  </a:lnTo>
                  <a:lnTo>
                    <a:pt x="264" y="948"/>
                  </a:lnTo>
                  <a:lnTo>
                    <a:pt x="264" y="942"/>
                  </a:lnTo>
                  <a:lnTo>
                    <a:pt x="258" y="942"/>
                  </a:lnTo>
                  <a:lnTo>
                    <a:pt x="252" y="948"/>
                  </a:lnTo>
                  <a:lnTo>
                    <a:pt x="252" y="942"/>
                  </a:lnTo>
                  <a:lnTo>
                    <a:pt x="246" y="936"/>
                  </a:lnTo>
                  <a:lnTo>
                    <a:pt x="240" y="942"/>
                  </a:lnTo>
                  <a:lnTo>
                    <a:pt x="234" y="936"/>
                  </a:lnTo>
                  <a:lnTo>
                    <a:pt x="228" y="936"/>
                  </a:lnTo>
                  <a:lnTo>
                    <a:pt x="222" y="936"/>
                  </a:lnTo>
                  <a:lnTo>
                    <a:pt x="222" y="930"/>
                  </a:lnTo>
                  <a:lnTo>
                    <a:pt x="222" y="924"/>
                  </a:lnTo>
                  <a:lnTo>
                    <a:pt x="228" y="924"/>
                  </a:lnTo>
                  <a:lnTo>
                    <a:pt x="234" y="924"/>
                  </a:lnTo>
                  <a:lnTo>
                    <a:pt x="240" y="924"/>
                  </a:lnTo>
                  <a:lnTo>
                    <a:pt x="240" y="918"/>
                  </a:lnTo>
                  <a:lnTo>
                    <a:pt x="246" y="918"/>
                  </a:lnTo>
                  <a:lnTo>
                    <a:pt x="246" y="912"/>
                  </a:lnTo>
                  <a:lnTo>
                    <a:pt x="240" y="906"/>
                  </a:lnTo>
                  <a:lnTo>
                    <a:pt x="234" y="906"/>
                  </a:lnTo>
                  <a:lnTo>
                    <a:pt x="228" y="906"/>
                  </a:lnTo>
                  <a:lnTo>
                    <a:pt x="228" y="912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8" y="894"/>
                  </a:lnTo>
                  <a:lnTo>
                    <a:pt x="234" y="894"/>
                  </a:lnTo>
                  <a:lnTo>
                    <a:pt x="228" y="888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198" y="888"/>
                  </a:lnTo>
                  <a:lnTo>
                    <a:pt x="192" y="882"/>
                  </a:lnTo>
                  <a:lnTo>
                    <a:pt x="186" y="882"/>
                  </a:lnTo>
                  <a:lnTo>
                    <a:pt x="186" y="876"/>
                  </a:lnTo>
                  <a:lnTo>
                    <a:pt x="192" y="876"/>
                  </a:lnTo>
                  <a:lnTo>
                    <a:pt x="192" y="870"/>
                  </a:lnTo>
                  <a:lnTo>
                    <a:pt x="198" y="870"/>
                  </a:lnTo>
                  <a:lnTo>
                    <a:pt x="198" y="864"/>
                  </a:lnTo>
                  <a:lnTo>
                    <a:pt x="198" y="858"/>
                  </a:lnTo>
                  <a:lnTo>
                    <a:pt x="180" y="852"/>
                  </a:lnTo>
                  <a:lnTo>
                    <a:pt x="174" y="840"/>
                  </a:lnTo>
                  <a:lnTo>
                    <a:pt x="162" y="846"/>
                  </a:lnTo>
                  <a:lnTo>
                    <a:pt x="156" y="846"/>
                  </a:lnTo>
                  <a:lnTo>
                    <a:pt x="150" y="846"/>
                  </a:lnTo>
                  <a:lnTo>
                    <a:pt x="150" y="840"/>
                  </a:lnTo>
                  <a:lnTo>
                    <a:pt x="138" y="834"/>
                  </a:lnTo>
                  <a:lnTo>
                    <a:pt x="132" y="834"/>
                  </a:lnTo>
                  <a:lnTo>
                    <a:pt x="132" y="840"/>
                  </a:lnTo>
                  <a:lnTo>
                    <a:pt x="126" y="840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58"/>
                  </a:lnTo>
                  <a:lnTo>
                    <a:pt x="120" y="846"/>
                  </a:lnTo>
                  <a:lnTo>
                    <a:pt x="114" y="846"/>
                  </a:lnTo>
                  <a:lnTo>
                    <a:pt x="108" y="840"/>
                  </a:lnTo>
                  <a:lnTo>
                    <a:pt x="102" y="834"/>
                  </a:lnTo>
                  <a:lnTo>
                    <a:pt x="102" y="822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78" y="804"/>
                  </a:lnTo>
                  <a:lnTo>
                    <a:pt x="78" y="798"/>
                  </a:lnTo>
                  <a:lnTo>
                    <a:pt x="78" y="792"/>
                  </a:lnTo>
                  <a:lnTo>
                    <a:pt x="78" y="786"/>
                  </a:lnTo>
                  <a:lnTo>
                    <a:pt x="78" y="780"/>
                  </a:lnTo>
                  <a:lnTo>
                    <a:pt x="72" y="774"/>
                  </a:lnTo>
                  <a:lnTo>
                    <a:pt x="66" y="774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60" y="762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6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2" y="666"/>
                  </a:lnTo>
                  <a:lnTo>
                    <a:pt x="18" y="648"/>
                  </a:lnTo>
                  <a:lnTo>
                    <a:pt x="24" y="636"/>
                  </a:lnTo>
                  <a:lnTo>
                    <a:pt x="30" y="630"/>
                  </a:lnTo>
                  <a:lnTo>
                    <a:pt x="30" y="624"/>
                  </a:lnTo>
                  <a:lnTo>
                    <a:pt x="30" y="612"/>
                  </a:lnTo>
                  <a:lnTo>
                    <a:pt x="30" y="606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66" y="582"/>
                  </a:lnTo>
                  <a:lnTo>
                    <a:pt x="72" y="588"/>
                  </a:lnTo>
                  <a:lnTo>
                    <a:pt x="84" y="594"/>
                  </a:lnTo>
                  <a:lnTo>
                    <a:pt x="90" y="600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14" y="612"/>
                  </a:lnTo>
                  <a:lnTo>
                    <a:pt x="120" y="612"/>
                  </a:lnTo>
                  <a:lnTo>
                    <a:pt x="126" y="618"/>
                  </a:lnTo>
                  <a:lnTo>
                    <a:pt x="138" y="594"/>
                  </a:lnTo>
                  <a:lnTo>
                    <a:pt x="138" y="582"/>
                  </a:lnTo>
                  <a:lnTo>
                    <a:pt x="138" y="570"/>
                  </a:lnTo>
                  <a:lnTo>
                    <a:pt x="138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50" y="528"/>
                  </a:lnTo>
                  <a:lnTo>
                    <a:pt x="156" y="510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62"/>
                  </a:lnTo>
                  <a:lnTo>
                    <a:pt x="168" y="450"/>
                  </a:lnTo>
                  <a:lnTo>
                    <a:pt x="168" y="444"/>
                  </a:lnTo>
                  <a:lnTo>
                    <a:pt x="162" y="432"/>
                  </a:lnTo>
                  <a:lnTo>
                    <a:pt x="162" y="426"/>
                  </a:lnTo>
                  <a:lnTo>
                    <a:pt x="156" y="420"/>
                  </a:lnTo>
                  <a:lnTo>
                    <a:pt x="144" y="414"/>
                  </a:lnTo>
                  <a:lnTo>
                    <a:pt x="132" y="402"/>
                  </a:lnTo>
                  <a:lnTo>
                    <a:pt x="126" y="390"/>
                  </a:lnTo>
                  <a:lnTo>
                    <a:pt x="120" y="384"/>
                  </a:lnTo>
                  <a:lnTo>
                    <a:pt x="120" y="372"/>
                  </a:lnTo>
                  <a:lnTo>
                    <a:pt x="114" y="360"/>
                  </a:lnTo>
                  <a:lnTo>
                    <a:pt x="108" y="360"/>
                  </a:lnTo>
                  <a:lnTo>
                    <a:pt x="108" y="354"/>
                  </a:lnTo>
                  <a:lnTo>
                    <a:pt x="102" y="348"/>
                  </a:lnTo>
                  <a:lnTo>
                    <a:pt x="102" y="342"/>
                  </a:lnTo>
                  <a:lnTo>
                    <a:pt x="108" y="330"/>
                  </a:lnTo>
                  <a:lnTo>
                    <a:pt x="114" y="312"/>
                  </a:lnTo>
                  <a:lnTo>
                    <a:pt x="114" y="300"/>
                  </a:lnTo>
                  <a:lnTo>
                    <a:pt x="120" y="288"/>
                  </a:lnTo>
                  <a:lnTo>
                    <a:pt x="120" y="282"/>
                  </a:lnTo>
                  <a:lnTo>
                    <a:pt x="114" y="270"/>
                  </a:lnTo>
                  <a:lnTo>
                    <a:pt x="114" y="258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84" y="222"/>
                  </a:lnTo>
                  <a:lnTo>
                    <a:pt x="84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84" y="186"/>
                  </a:lnTo>
                  <a:lnTo>
                    <a:pt x="84" y="180"/>
                  </a:lnTo>
                  <a:lnTo>
                    <a:pt x="108" y="174"/>
                  </a:lnTo>
                  <a:lnTo>
                    <a:pt x="132" y="186"/>
                  </a:lnTo>
                  <a:lnTo>
                    <a:pt x="138" y="192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56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74" y="204"/>
                  </a:lnTo>
                  <a:lnTo>
                    <a:pt x="180" y="216"/>
                  </a:lnTo>
                  <a:lnTo>
                    <a:pt x="186" y="228"/>
                  </a:lnTo>
                  <a:lnTo>
                    <a:pt x="192" y="234"/>
                  </a:lnTo>
                  <a:lnTo>
                    <a:pt x="198" y="234"/>
                  </a:lnTo>
                  <a:lnTo>
                    <a:pt x="204" y="240"/>
                  </a:lnTo>
                  <a:lnTo>
                    <a:pt x="210" y="240"/>
                  </a:lnTo>
                  <a:lnTo>
                    <a:pt x="216" y="240"/>
                  </a:lnTo>
                  <a:lnTo>
                    <a:pt x="222" y="240"/>
                  </a:lnTo>
                  <a:lnTo>
                    <a:pt x="228" y="246"/>
                  </a:lnTo>
                  <a:lnTo>
                    <a:pt x="234" y="246"/>
                  </a:lnTo>
                  <a:lnTo>
                    <a:pt x="240" y="246"/>
                  </a:lnTo>
                  <a:lnTo>
                    <a:pt x="252" y="252"/>
                  </a:lnTo>
                  <a:lnTo>
                    <a:pt x="330" y="246"/>
                  </a:lnTo>
                  <a:lnTo>
                    <a:pt x="360" y="228"/>
                  </a:lnTo>
                  <a:lnTo>
                    <a:pt x="396" y="228"/>
                  </a:lnTo>
                  <a:lnTo>
                    <a:pt x="402" y="240"/>
                  </a:lnTo>
                  <a:lnTo>
                    <a:pt x="432" y="240"/>
                  </a:lnTo>
                  <a:lnTo>
                    <a:pt x="450" y="258"/>
                  </a:lnTo>
                  <a:lnTo>
                    <a:pt x="468" y="258"/>
                  </a:lnTo>
                  <a:lnTo>
                    <a:pt x="474" y="294"/>
                  </a:lnTo>
                  <a:lnTo>
                    <a:pt x="558" y="318"/>
                  </a:lnTo>
                  <a:lnTo>
                    <a:pt x="588" y="318"/>
                  </a:lnTo>
                  <a:lnTo>
                    <a:pt x="588" y="312"/>
                  </a:lnTo>
                  <a:lnTo>
                    <a:pt x="594" y="306"/>
                  </a:lnTo>
                  <a:lnTo>
                    <a:pt x="600" y="306"/>
                  </a:lnTo>
                  <a:lnTo>
                    <a:pt x="612" y="300"/>
                  </a:lnTo>
                  <a:lnTo>
                    <a:pt x="618" y="300"/>
                  </a:lnTo>
                  <a:lnTo>
                    <a:pt x="630" y="300"/>
                  </a:lnTo>
                  <a:lnTo>
                    <a:pt x="642" y="306"/>
                  </a:lnTo>
                  <a:lnTo>
                    <a:pt x="660" y="306"/>
                  </a:lnTo>
                  <a:lnTo>
                    <a:pt x="666" y="306"/>
                  </a:lnTo>
                  <a:lnTo>
                    <a:pt x="672" y="306"/>
                  </a:lnTo>
                  <a:lnTo>
                    <a:pt x="684" y="300"/>
                  </a:lnTo>
                  <a:lnTo>
                    <a:pt x="696" y="294"/>
                  </a:lnTo>
                  <a:lnTo>
                    <a:pt x="702" y="288"/>
                  </a:lnTo>
                  <a:lnTo>
                    <a:pt x="714" y="282"/>
                  </a:lnTo>
                  <a:lnTo>
                    <a:pt x="714" y="288"/>
                  </a:lnTo>
                  <a:lnTo>
                    <a:pt x="726" y="300"/>
                  </a:lnTo>
                  <a:lnTo>
                    <a:pt x="732" y="306"/>
                  </a:lnTo>
                  <a:lnTo>
                    <a:pt x="732" y="318"/>
                  </a:lnTo>
                  <a:lnTo>
                    <a:pt x="732" y="330"/>
                  </a:lnTo>
                  <a:lnTo>
                    <a:pt x="726" y="342"/>
                  </a:lnTo>
                  <a:lnTo>
                    <a:pt x="720" y="354"/>
                  </a:lnTo>
                  <a:lnTo>
                    <a:pt x="720" y="360"/>
                  </a:lnTo>
                  <a:lnTo>
                    <a:pt x="714" y="372"/>
                  </a:lnTo>
                  <a:lnTo>
                    <a:pt x="714" y="378"/>
                  </a:lnTo>
                  <a:lnTo>
                    <a:pt x="714" y="408"/>
                  </a:lnTo>
                  <a:lnTo>
                    <a:pt x="708" y="420"/>
                  </a:lnTo>
                  <a:lnTo>
                    <a:pt x="714" y="432"/>
                  </a:lnTo>
                  <a:lnTo>
                    <a:pt x="708" y="450"/>
                  </a:lnTo>
                  <a:lnTo>
                    <a:pt x="708" y="468"/>
                  </a:lnTo>
                  <a:lnTo>
                    <a:pt x="696" y="480"/>
                  </a:lnTo>
                  <a:lnTo>
                    <a:pt x="684" y="486"/>
                  </a:lnTo>
                  <a:lnTo>
                    <a:pt x="672" y="492"/>
                  </a:lnTo>
                  <a:lnTo>
                    <a:pt x="660" y="498"/>
                  </a:lnTo>
                  <a:lnTo>
                    <a:pt x="654" y="510"/>
                  </a:lnTo>
                  <a:lnTo>
                    <a:pt x="648" y="516"/>
                  </a:lnTo>
                  <a:lnTo>
                    <a:pt x="642" y="522"/>
                  </a:lnTo>
                  <a:lnTo>
                    <a:pt x="630" y="522"/>
                  </a:lnTo>
                  <a:lnTo>
                    <a:pt x="624" y="528"/>
                  </a:lnTo>
                  <a:lnTo>
                    <a:pt x="618" y="540"/>
                  </a:lnTo>
                  <a:lnTo>
                    <a:pt x="618" y="558"/>
                  </a:lnTo>
                  <a:lnTo>
                    <a:pt x="612" y="576"/>
                  </a:lnTo>
                  <a:lnTo>
                    <a:pt x="612" y="684"/>
                  </a:lnTo>
                  <a:lnTo>
                    <a:pt x="618" y="696"/>
                  </a:lnTo>
                  <a:lnTo>
                    <a:pt x="636" y="696"/>
                  </a:lnTo>
                  <a:lnTo>
                    <a:pt x="636" y="720"/>
                  </a:lnTo>
                  <a:lnTo>
                    <a:pt x="636" y="732"/>
                  </a:lnTo>
                  <a:lnTo>
                    <a:pt x="618" y="750"/>
                  </a:lnTo>
                  <a:lnTo>
                    <a:pt x="606" y="762"/>
                  </a:lnTo>
                  <a:lnTo>
                    <a:pt x="600" y="774"/>
                  </a:lnTo>
                  <a:lnTo>
                    <a:pt x="594" y="798"/>
                  </a:lnTo>
                  <a:lnTo>
                    <a:pt x="606" y="798"/>
                  </a:lnTo>
                  <a:lnTo>
                    <a:pt x="660" y="792"/>
                  </a:lnTo>
                  <a:lnTo>
                    <a:pt x="696" y="798"/>
                  </a:lnTo>
                  <a:lnTo>
                    <a:pt x="720" y="798"/>
                  </a:lnTo>
                  <a:lnTo>
                    <a:pt x="720" y="786"/>
                  </a:lnTo>
                  <a:lnTo>
                    <a:pt x="720" y="774"/>
                  </a:lnTo>
                  <a:lnTo>
                    <a:pt x="702" y="762"/>
                  </a:lnTo>
                  <a:lnTo>
                    <a:pt x="702" y="750"/>
                  </a:lnTo>
                  <a:lnTo>
                    <a:pt x="702" y="726"/>
                  </a:lnTo>
                  <a:lnTo>
                    <a:pt x="714" y="714"/>
                  </a:lnTo>
                  <a:lnTo>
                    <a:pt x="720" y="702"/>
                  </a:lnTo>
                  <a:lnTo>
                    <a:pt x="720" y="696"/>
                  </a:lnTo>
                  <a:lnTo>
                    <a:pt x="744" y="690"/>
                  </a:lnTo>
                  <a:lnTo>
                    <a:pt x="744" y="696"/>
                  </a:lnTo>
                  <a:lnTo>
                    <a:pt x="756" y="696"/>
                  </a:lnTo>
                  <a:lnTo>
                    <a:pt x="762" y="690"/>
                  </a:lnTo>
                  <a:lnTo>
                    <a:pt x="768" y="690"/>
                  </a:lnTo>
                  <a:lnTo>
                    <a:pt x="774" y="696"/>
                  </a:lnTo>
                  <a:lnTo>
                    <a:pt x="780" y="696"/>
                  </a:lnTo>
                  <a:lnTo>
                    <a:pt x="786" y="696"/>
                  </a:lnTo>
                  <a:lnTo>
                    <a:pt x="804" y="684"/>
                  </a:lnTo>
                  <a:lnTo>
                    <a:pt x="810" y="684"/>
                  </a:lnTo>
                  <a:lnTo>
                    <a:pt x="810" y="654"/>
                  </a:lnTo>
                  <a:lnTo>
                    <a:pt x="816" y="588"/>
                  </a:lnTo>
                  <a:lnTo>
                    <a:pt x="804" y="582"/>
                  </a:lnTo>
                  <a:lnTo>
                    <a:pt x="798" y="552"/>
                  </a:lnTo>
                  <a:lnTo>
                    <a:pt x="798" y="480"/>
                  </a:lnTo>
                  <a:lnTo>
                    <a:pt x="780" y="468"/>
                  </a:lnTo>
                  <a:lnTo>
                    <a:pt x="780" y="462"/>
                  </a:lnTo>
                  <a:lnTo>
                    <a:pt x="774" y="450"/>
                  </a:lnTo>
                  <a:lnTo>
                    <a:pt x="762" y="444"/>
                  </a:lnTo>
                  <a:lnTo>
                    <a:pt x="762" y="438"/>
                  </a:lnTo>
                  <a:lnTo>
                    <a:pt x="768" y="432"/>
                  </a:lnTo>
                  <a:lnTo>
                    <a:pt x="774" y="426"/>
                  </a:lnTo>
                  <a:lnTo>
                    <a:pt x="780" y="426"/>
                  </a:lnTo>
                  <a:lnTo>
                    <a:pt x="780" y="414"/>
                  </a:lnTo>
                  <a:lnTo>
                    <a:pt x="834" y="414"/>
                  </a:lnTo>
                  <a:lnTo>
                    <a:pt x="834" y="426"/>
                  </a:lnTo>
                  <a:lnTo>
                    <a:pt x="840" y="432"/>
                  </a:lnTo>
                  <a:lnTo>
                    <a:pt x="846" y="432"/>
                  </a:lnTo>
                  <a:lnTo>
                    <a:pt x="852" y="432"/>
                  </a:lnTo>
                  <a:lnTo>
                    <a:pt x="858" y="432"/>
                  </a:lnTo>
                  <a:lnTo>
                    <a:pt x="870" y="432"/>
                  </a:lnTo>
                  <a:lnTo>
                    <a:pt x="870" y="426"/>
                  </a:lnTo>
                  <a:lnTo>
                    <a:pt x="870" y="420"/>
                  </a:lnTo>
                  <a:lnTo>
                    <a:pt x="876" y="420"/>
                  </a:lnTo>
                  <a:lnTo>
                    <a:pt x="882" y="420"/>
                  </a:lnTo>
                  <a:lnTo>
                    <a:pt x="894" y="414"/>
                  </a:lnTo>
                  <a:lnTo>
                    <a:pt x="900" y="414"/>
                  </a:lnTo>
                  <a:lnTo>
                    <a:pt x="906" y="408"/>
                  </a:lnTo>
                  <a:lnTo>
                    <a:pt x="918" y="408"/>
                  </a:lnTo>
                  <a:lnTo>
                    <a:pt x="924" y="402"/>
                  </a:lnTo>
                  <a:lnTo>
                    <a:pt x="930" y="384"/>
                  </a:lnTo>
                  <a:lnTo>
                    <a:pt x="948" y="396"/>
                  </a:lnTo>
                  <a:lnTo>
                    <a:pt x="954" y="384"/>
                  </a:lnTo>
                  <a:lnTo>
                    <a:pt x="960" y="384"/>
                  </a:lnTo>
                  <a:lnTo>
                    <a:pt x="972" y="384"/>
                  </a:lnTo>
                  <a:lnTo>
                    <a:pt x="978" y="378"/>
                  </a:lnTo>
                  <a:lnTo>
                    <a:pt x="972" y="366"/>
                  </a:lnTo>
                  <a:lnTo>
                    <a:pt x="966" y="342"/>
                  </a:lnTo>
                  <a:lnTo>
                    <a:pt x="960" y="330"/>
                  </a:lnTo>
                  <a:lnTo>
                    <a:pt x="942" y="324"/>
                  </a:lnTo>
                  <a:lnTo>
                    <a:pt x="936" y="318"/>
                  </a:lnTo>
                  <a:lnTo>
                    <a:pt x="936" y="294"/>
                  </a:lnTo>
                  <a:lnTo>
                    <a:pt x="942" y="294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282"/>
                  </a:lnTo>
                  <a:lnTo>
                    <a:pt x="954" y="276"/>
                  </a:lnTo>
                  <a:lnTo>
                    <a:pt x="960" y="276"/>
                  </a:lnTo>
                  <a:lnTo>
                    <a:pt x="966" y="276"/>
                  </a:lnTo>
                  <a:lnTo>
                    <a:pt x="960" y="258"/>
                  </a:lnTo>
                  <a:lnTo>
                    <a:pt x="954" y="240"/>
                  </a:lnTo>
                  <a:lnTo>
                    <a:pt x="948" y="204"/>
                  </a:lnTo>
                  <a:lnTo>
                    <a:pt x="954" y="204"/>
                  </a:lnTo>
                  <a:lnTo>
                    <a:pt x="960" y="198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00" y="186"/>
                  </a:lnTo>
                  <a:lnTo>
                    <a:pt x="876" y="180"/>
                  </a:lnTo>
                  <a:lnTo>
                    <a:pt x="858" y="180"/>
                  </a:lnTo>
                  <a:lnTo>
                    <a:pt x="852" y="168"/>
                  </a:lnTo>
                  <a:lnTo>
                    <a:pt x="834" y="156"/>
                  </a:lnTo>
                  <a:lnTo>
                    <a:pt x="822" y="156"/>
                  </a:lnTo>
                  <a:lnTo>
                    <a:pt x="804" y="156"/>
                  </a:lnTo>
                  <a:lnTo>
                    <a:pt x="804" y="150"/>
                  </a:lnTo>
                  <a:lnTo>
                    <a:pt x="792" y="144"/>
                  </a:lnTo>
                  <a:lnTo>
                    <a:pt x="762" y="138"/>
                  </a:lnTo>
                  <a:lnTo>
                    <a:pt x="768" y="120"/>
                  </a:lnTo>
                  <a:lnTo>
                    <a:pt x="756" y="120"/>
                  </a:lnTo>
                  <a:lnTo>
                    <a:pt x="744" y="108"/>
                  </a:lnTo>
                  <a:lnTo>
                    <a:pt x="744" y="96"/>
                  </a:lnTo>
                  <a:lnTo>
                    <a:pt x="762" y="84"/>
                  </a:lnTo>
                  <a:lnTo>
                    <a:pt x="768" y="84"/>
                  </a:lnTo>
                  <a:lnTo>
                    <a:pt x="768" y="72"/>
                  </a:lnTo>
                  <a:lnTo>
                    <a:pt x="780" y="66"/>
                  </a:lnTo>
                  <a:lnTo>
                    <a:pt x="798" y="54"/>
                  </a:lnTo>
                  <a:lnTo>
                    <a:pt x="792" y="54"/>
                  </a:lnTo>
                  <a:lnTo>
                    <a:pt x="798" y="36"/>
                  </a:lnTo>
                  <a:lnTo>
                    <a:pt x="804" y="36"/>
                  </a:lnTo>
                  <a:lnTo>
                    <a:pt x="816" y="30"/>
                  </a:lnTo>
                  <a:lnTo>
                    <a:pt x="828" y="30"/>
                  </a:lnTo>
                  <a:lnTo>
                    <a:pt x="846" y="12"/>
                  </a:lnTo>
                  <a:lnTo>
                    <a:pt x="876" y="0"/>
                  </a:lnTo>
                  <a:lnTo>
                    <a:pt x="882" y="6"/>
                  </a:lnTo>
                  <a:lnTo>
                    <a:pt x="900" y="6"/>
                  </a:lnTo>
                  <a:lnTo>
                    <a:pt x="912" y="36"/>
                  </a:lnTo>
                  <a:lnTo>
                    <a:pt x="918" y="42"/>
                  </a:lnTo>
                  <a:lnTo>
                    <a:pt x="924" y="54"/>
                  </a:lnTo>
                  <a:lnTo>
                    <a:pt x="930" y="54"/>
                  </a:lnTo>
                  <a:lnTo>
                    <a:pt x="930" y="78"/>
                  </a:lnTo>
                  <a:lnTo>
                    <a:pt x="954" y="72"/>
                  </a:lnTo>
                  <a:lnTo>
                    <a:pt x="954" y="60"/>
                  </a:lnTo>
                  <a:lnTo>
                    <a:pt x="966" y="66"/>
                  </a:lnTo>
                  <a:lnTo>
                    <a:pt x="966" y="78"/>
                  </a:lnTo>
                  <a:lnTo>
                    <a:pt x="960" y="84"/>
                  </a:lnTo>
                  <a:lnTo>
                    <a:pt x="954" y="102"/>
                  </a:lnTo>
                  <a:lnTo>
                    <a:pt x="972" y="102"/>
                  </a:lnTo>
                  <a:lnTo>
                    <a:pt x="978" y="84"/>
                  </a:lnTo>
                  <a:lnTo>
                    <a:pt x="984" y="72"/>
                  </a:lnTo>
                  <a:lnTo>
                    <a:pt x="990" y="72"/>
                  </a:lnTo>
                  <a:lnTo>
                    <a:pt x="996" y="18"/>
                  </a:lnTo>
                  <a:lnTo>
                    <a:pt x="990" y="12"/>
                  </a:lnTo>
                  <a:lnTo>
                    <a:pt x="1014" y="12"/>
                  </a:lnTo>
                  <a:lnTo>
                    <a:pt x="1026" y="12"/>
                  </a:lnTo>
                  <a:lnTo>
                    <a:pt x="1026" y="24"/>
                  </a:lnTo>
                  <a:lnTo>
                    <a:pt x="1050" y="24"/>
                  </a:lnTo>
                  <a:lnTo>
                    <a:pt x="1050" y="36"/>
                  </a:lnTo>
                  <a:lnTo>
                    <a:pt x="1062" y="66"/>
                  </a:lnTo>
                  <a:lnTo>
                    <a:pt x="1074" y="66"/>
                  </a:lnTo>
                  <a:lnTo>
                    <a:pt x="1080" y="60"/>
                  </a:lnTo>
                  <a:lnTo>
                    <a:pt x="1074" y="24"/>
                  </a:lnTo>
                  <a:lnTo>
                    <a:pt x="1086" y="18"/>
                  </a:lnTo>
                  <a:lnTo>
                    <a:pt x="1086" y="12"/>
                  </a:lnTo>
                  <a:lnTo>
                    <a:pt x="1104" y="6"/>
                  </a:lnTo>
                  <a:lnTo>
                    <a:pt x="1122" y="0"/>
                  </a:lnTo>
                  <a:lnTo>
                    <a:pt x="1134" y="6"/>
                  </a:lnTo>
                  <a:lnTo>
                    <a:pt x="1134" y="42"/>
                  </a:lnTo>
                  <a:lnTo>
                    <a:pt x="1140" y="72"/>
                  </a:lnTo>
                  <a:lnTo>
                    <a:pt x="1158" y="114"/>
                  </a:lnTo>
                  <a:lnTo>
                    <a:pt x="1170" y="114"/>
                  </a:lnTo>
                  <a:lnTo>
                    <a:pt x="1170" y="126"/>
                  </a:lnTo>
                  <a:lnTo>
                    <a:pt x="1182" y="126"/>
                  </a:lnTo>
                  <a:lnTo>
                    <a:pt x="1182" y="138"/>
                  </a:lnTo>
                  <a:lnTo>
                    <a:pt x="1194" y="144"/>
                  </a:lnTo>
                  <a:lnTo>
                    <a:pt x="1194" y="156"/>
                  </a:lnTo>
                  <a:lnTo>
                    <a:pt x="1188" y="156"/>
                  </a:lnTo>
                  <a:lnTo>
                    <a:pt x="1194" y="162"/>
                  </a:lnTo>
                  <a:lnTo>
                    <a:pt x="1194" y="168"/>
                  </a:lnTo>
                  <a:lnTo>
                    <a:pt x="1188" y="168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82" y="180"/>
                  </a:lnTo>
                  <a:lnTo>
                    <a:pt x="1188" y="186"/>
                  </a:lnTo>
                  <a:lnTo>
                    <a:pt x="1188" y="192"/>
                  </a:lnTo>
                  <a:lnTo>
                    <a:pt x="1182" y="198"/>
                  </a:lnTo>
                  <a:lnTo>
                    <a:pt x="1182" y="204"/>
                  </a:lnTo>
                  <a:lnTo>
                    <a:pt x="1182" y="210"/>
                  </a:lnTo>
                  <a:lnTo>
                    <a:pt x="1188" y="210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2"/>
                  </a:lnTo>
                  <a:lnTo>
                    <a:pt x="1194" y="264"/>
                  </a:lnTo>
                  <a:lnTo>
                    <a:pt x="1200" y="264"/>
                  </a:lnTo>
                  <a:lnTo>
                    <a:pt x="1212" y="264"/>
                  </a:lnTo>
                  <a:lnTo>
                    <a:pt x="1212" y="258"/>
                  </a:lnTo>
                  <a:lnTo>
                    <a:pt x="1224" y="258"/>
                  </a:lnTo>
                  <a:lnTo>
                    <a:pt x="1248" y="252"/>
                  </a:lnTo>
                  <a:lnTo>
                    <a:pt x="1248" y="264"/>
                  </a:lnTo>
                  <a:lnTo>
                    <a:pt x="1254" y="264"/>
                  </a:lnTo>
                  <a:lnTo>
                    <a:pt x="1254" y="270"/>
                  </a:lnTo>
                  <a:lnTo>
                    <a:pt x="1260" y="270"/>
                  </a:lnTo>
                  <a:lnTo>
                    <a:pt x="1266" y="270"/>
                  </a:lnTo>
                  <a:lnTo>
                    <a:pt x="1272" y="270"/>
                  </a:lnTo>
                  <a:lnTo>
                    <a:pt x="1272" y="264"/>
                  </a:lnTo>
                  <a:lnTo>
                    <a:pt x="1272" y="258"/>
                  </a:lnTo>
                  <a:lnTo>
                    <a:pt x="1278" y="258"/>
                  </a:lnTo>
                  <a:lnTo>
                    <a:pt x="1278" y="252"/>
                  </a:lnTo>
                  <a:lnTo>
                    <a:pt x="1290" y="252"/>
                  </a:lnTo>
                  <a:lnTo>
                    <a:pt x="1296" y="246"/>
                  </a:lnTo>
                  <a:lnTo>
                    <a:pt x="1308" y="246"/>
                  </a:lnTo>
                  <a:lnTo>
                    <a:pt x="1308" y="240"/>
                  </a:lnTo>
                  <a:lnTo>
                    <a:pt x="1320" y="240"/>
                  </a:lnTo>
                  <a:lnTo>
                    <a:pt x="1326" y="246"/>
                  </a:lnTo>
                  <a:lnTo>
                    <a:pt x="1338" y="246"/>
                  </a:lnTo>
                  <a:lnTo>
                    <a:pt x="1338" y="240"/>
                  </a:lnTo>
                  <a:lnTo>
                    <a:pt x="1350" y="240"/>
                  </a:lnTo>
                  <a:lnTo>
                    <a:pt x="1386" y="234"/>
                  </a:lnTo>
                  <a:lnTo>
                    <a:pt x="1398" y="228"/>
                  </a:lnTo>
                  <a:lnTo>
                    <a:pt x="1404" y="216"/>
                  </a:lnTo>
                  <a:lnTo>
                    <a:pt x="1416" y="204"/>
                  </a:lnTo>
                  <a:lnTo>
                    <a:pt x="1434" y="192"/>
                  </a:lnTo>
                  <a:lnTo>
                    <a:pt x="1446" y="198"/>
                  </a:lnTo>
                  <a:lnTo>
                    <a:pt x="1446" y="204"/>
                  </a:lnTo>
                  <a:lnTo>
                    <a:pt x="1452" y="210"/>
                  </a:lnTo>
                  <a:lnTo>
                    <a:pt x="1464" y="222"/>
                  </a:lnTo>
                  <a:lnTo>
                    <a:pt x="1464" y="228"/>
                  </a:lnTo>
                  <a:lnTo>
                    <a:pt x="1464" y="234"/>
                  </a:lnTo>
                  <a:lnTo>
                    <a:pt x="1470" y="240"/>
                  </a:lnTo>
                  <a:lnTo>
                    <a:pt x="1476" y="228"/>
                  </a:lnTo>
                  <a:lnTo>
                    <a:pt x="1476" y="222"/>
                  </a:lnTo>
                  <a:lnTo>
                    <a:pt x="1482" y="210"/>
                  </a:lnTo>
                  <a:lnTo>
                    <a:pt x="1488" y="192"/>
                  </a:lnTo>
                  <a:lnTo>
                    <a:pt x="1488" y="186"/>
                  </a:lnTo>
                  <a:lnTo>
                    <a:pt x="1488" y="180"/>
                  </a:lnTo>
                  <a:lnTo>
                    <a:pt x="1500" y="180"/>
                  </a:lnTo>
                  <a:lnTo>
                    <a:pt x="1500" y="174"/>
                  </a:lnTo>
                  <a:lnTo>
                    <a:pt x="1518" y="162"/>
                  </a:lnTo>
                  <a:lnTo>
                    <a:pt x="1536" y="150"/>
                  </a:lnTo>
                  <a:lnTo>
                    <a:pt x="1554" y="168"/>
                  </a:lnTo>
                  <a:lnTo>
                    <a:pt x="1572" y="180"/>
                  </a:lnTo>
                  <a:lnTo>
                    <a:pt x="1596" y="216"/>
                  </a:lnTo>
                  <a:lnTo>
                    <a:pt x="1602" y="216"/>
                  </a:lnTo>
                  <a:lnTo>
                    <a:pt x="1614" y="228"/>
                  </a:lnTo>
                  <a:lnTo>
                    <a:pt x="1614" y="234"/>
                  </a:lnTo>
                  <a:lnTo>
                    <a:pt x="1620" y="240"/>
                  </a:lnTo>
                  <a:lnTo>
                    <a:pt x="1620" y="246"/>
                  </a:lnTo>
                  <a:lnTo>
                    <a:pt x="1626" y="252"/>
                  </a:lnTo>
                  <a:lnTo>
                    <a:pt x="1632" y="258"/>
                  </a:lnTo>
                  <a:lnTo>
                    <a:pt x="1632" y="264"/>
                  </a:lnTo>
                  <a:lnTo>
                    <a:pt x="1638" y="264"/>
                  </a:lnTo>
                  <a:lnTo>
                    <a:pt x="1638" y="270"/>
                  </a:lnTo>
                  <a:lnTo>
                    <a:pt x="1638" y="276"/>
                  </a:lnTo>
                  <a:lnTo>
                    <a:pt x="1638" y="282"/>
                  </a:lnTo>
                  <a:lnTo>
                    <a:pt x="1644" y="288"/>
                  </a:lnTo>
                  <a:lnTo>
                    <a:pt x="1644" y="294"/>
                  </a:lnTo>
                  <a:lnTo>
                    <a:pt x="1644" y="300"/>
                  </a:lnTo>
                  <a:lnTo>
                    <a:pt x="1644" y="306"/>
                  </a:lnTo>
                  <a:lnTo>
                    <a:pt x="1650" y="306"/>
                  </a:lnTo>
                  <a:lnTo>
                    <a:pt x="1650" y="312"/>
                  </a:lnTo>
                  <a:lnTo>
                    <a:pt x="1650" y="318"/>
                  </a:lnTo>
                  <a:lnTo>
                    <a:pt x="1650" y="324"/>
                  </a:lnTo>
                  <a:lnTo>
                    <a:pt x="1644" y="330"/>
                  </a:lnTo>
                  <a:lnTo>
                    <a:pt x="1626" y="330"/>
                  </a:lnTo>
                  <a:lnTo>
                    <a:pt x="1626" y="336"/>
                  </a:lnTo>
                  <a:lnTo>
                    <a:pt x="1626" y="342"/>
                  </a:lnTo>
                  <a:lnTo>
                    <a:pt x="1626" y="348"/>
                  </a:lnTo>
                  <a:lnTo>
                    <a:pt x="1620" y="354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14" y="390"/>
                  </a:lnTo>
                  <a:lnTo>
                    <a:pt x="1614" y="396"/>
                  </a:lnTo>
                  <a:lnTo>
                    <a:pt x="1614" y="402"/>
                  </a:lnTo>
                  <a:lnTo>
                    <a:pt x="1614" y="408"/>
                  </a:lnTo>
                  <a:lnTo>
                    <a:pt x="1614" y="414"/>
                  </a:lnTo>
                  <a:lnTo>
                    <a:pt x="1602" y="420"/>
                  </a:lnTo>
                  <a:lnTo>
                    <a:pt x="1602" y="426"/>
                  </a:lnTo>
                  <a:lnTo>
                    <a:pt x="1608" y="432"/>
                  </a:lnTo>
                  <a:lnTo>
                    <a:pt x="1614" y="426"/>
                  </a:lnTo>
                  <a:lnTo>
                    <a:pt x="1620" y="438"/>
                  </a:lnTo>
                  <a:lnTo>
                    <a:pt x="1626" y="438"/>
                  </a:lnTo>
                  <a:lnTo>
                    <a:pt x="1632" y="444"/>
                  </a:lnTo>
                  <a:lnTo>
                    <a:pt x="1626" y="456"/>
                  </a:lnTo>
                  <a:lnTo>
                    <a:pt x="1626" y="468"/>
                  </a:lnTo>
                  <a:lnTo>
                    <a:pt x="1620" y="474"/>
                  </a:lnTo>
                  <a:lnTo>
                    <a:pt x="1614" y="474"/>
                  </a:lnTo>
                  <a:lnTo>
                    <a:pt x="1614" y="486"/>
                  </a:lnTo>
                  <a:lnTo>
                    <a:pt x="1614" y="492"/>
                  </a:lnTo>
                  <a:lnTo>
                    <a:pt x="1620" y="492"/>
                  </a:lnTo>
                  <a:lnTo>
                    <a:pt x="1626" y="498"/>
                  </a:lnTo>
                  <a:lnTo>
                    <a:pt x="1626" y="504"/>
                  </a:lnTo>
                  <a:lnTo>
                    <a:pt x="1626" y="510"/>
                  </a:lnTo>
                  <a:lnTo>
                    <a:pt x="1620" y="516"/>
                  </a:lnTo>
                  <a:lnTo>
                    <a:pt x="1620" y="522"/>
                  </a:lnTo>
                  <a:lnTo>
                    <a:pt x="1614" y="522"/>
                  </a:lnTo>
                  <a:lnTo>
                    <a:pt x="1608" y="528"/>
                  </a:lnTo>
                  <a:lnTo>
                    <a:pt x="1602" y="522"/>
                  </a:lnTo>
                  <a:lnTo>
                    <a:pt x="1602" y="528"/>
                  </a:lnTo>
                  <a:lnTo>
                    <a:pt x="1602" y="540"/>
                  </a:lnTo>
                  <a:lnTo>
                    <a:pt x="1602" y="558"/>
                  </a:lnTo>
                  <a:lnTo>
                    <a:pt x="1602" y="564"/>
                  </a:lnTo>
                  <a:lnTo>
                    <a:pt x="1602" y="570"/>
                  </a:lnTo>
                  <a:lnTo>
                    <a:pt x="1602" y="576"/>
                  </a:lnTo>
                  <a:lnTo>
                    <a:pt x="1596" y="576"/>
                  </a:lnTo>
                  <a:lnTo>
                    <a:pt x="1632" y="582"/>
                  </a:lnTo>
                  <a:lnTo>
                    <a:pt x="1644" y="618"/>
                  </a:lnTo>
                  <a:lnTo>
                    <a:pt x="1650" y="648"/>
                  </a:lnTo>
                  <a:lnTo>
                    <a:pt x="1662" y="636"/>
                  </a:lnTo>
                  <a:lnTo>
                    <a:pt x="1668" y="636"/>
                  </a:lnTo>
                  <a:lnTo>
                    <a:pt x="1674" y="636"/>
                  </a:lnTo>
                  <a:lnTo>
                    <a:pt x="1680" y="630"/>
                  </a:lnTo>
                  <a:lnTo>
                    <a:pt x="1686" y="630"/>
                  </a:lnTo>
                  <a:lnTo>
                    <a:pt x="1692" y="630"/>
                  </a:lnTo>
                  <a:lnTo>
                    <a:pt x="1698" y="630"/>
                  </a:lnTo>
                  <a:lnTo>
                    <a:pt x="1704" y="630"/>
                  </a:lnTo>
                  <a:lnTo>
                    <a:pt x="1704" y="624"/>
                  </a:lnTo>
                  <a:lnTo>
                    <a:pt x="1710" y="624"/>
                  </a:lnTo>
                  <a:lnTo>
                    <a:pt x="1716" y="624"/>
                  </a:lnTo>
                  <a:lnTo>
                    <a:pt x="1722" y="624"/>
                  </a:lnTo>
                  <a:lnTo>
                    <a:pt x="1728" y="624"/>
                  </a:lnTo>
                  <a:lnTo>
                    <a:pt x="1722" y="618"/>
                  </a:lnTo>
                  <a:lnTo>
                    <a:pt x="1728" y="606"/>
                  </a:lnTo>
                  <a:lnTo>
                    <a:pt x="1734" y="606"/>
                  </a:lnTo>
                  <a:lnTo>
                    <a:pt x="1740" y="600"/>
                  </a:lnTo>
                  <a:lnTo>
                    <a:pt x="1746" y="594"/>
                  </a:lnTo>
                  <a:lnTo>
                    <a:pt x="1752" y="588"/>
                  </a:lnTo>
                  <a:lnTo>
                    <a:pt x="1752" y="582"/>
                  </a:lnTo>
                  <a:lnTo>
                    <a:pt x="1758" y="576"/>
                  </a:lnTo>
                  <a:lnTo>
                    <a:pt x="1764" y="576"/>
                  </a:lnTo>
                  <a:lnTo>
                    <a:pt x="1770" y="570"/>
                  </a:lnTo>
                  <a:lnTo>
                    <a:pt x="1776" y="564"/>
                  </a:lnTo>
                  <a:lnTo>
                    <a:pt x="1788" y="558"/>
                  </a:lnTo>
                  <a:lnTo>
                    <a:pt x="1788" y="546"/>
                  </a:lnTo>
                  <a:lnTo>
                    <a:pt x="1788" y="540"/>
                  </a:lnTo>
                  <a:lnTo>
                    <a:pt x="1794" y="540"/>
                  </a:lnTo>
                  <a:lnTo>
                    <a:pt x="1788" y="534"/>
                  </a:lnTo>
                  <a:lnTo>
                    <a:pt x="1788" y="528"/>
                  </a:lnTo>
                  <a:lnTo>
                    <a:pt x="1794" y="516"/>
                  </a:lnTo>
                  <a:lnTo>
                    <a:pt x="1800" y="510"/>
                  </a:lnTo>
                  <a:lnTo>
                    <a:pt x="1812" y="510"/>
                  </a:lnTo>
                  <a:lnTo>
                    <a:pt x="1818" y="504"/>
                  </a:lnTo>
                  <a:lnTo>
                    <a:pt x="1824" y="504"/>
                  </a:lnTo>
                  <a:lnTo>
                    <a:pt x="1830" y="498"/>
                  </a:lnTo>
                  <a:lnTo>
                    <a:pt x="1836" y="498"/>
                  </a:lnTo>
                  <a:lnTo>
                    <a:pt x="1848" y="492"/>
                  </a:lnTo>
                  <a:lnTo>
                    <a:pt x="1848" y="480"/>
                  </a:lnTo>
                  <a:lnTo>
                    <a:pt x="1854" y="480"/>
                  </a:lnTo>
                  <a:lnTo>
                    <a:pt x="1890" y="504"/>
                  </a:lnTo>
                  <a:lnTo>
                    <a:pt x="1908" y="534"/>
                  </a:lnTo>
                  <a:lnTo>
                    <a:pt x="1902" y="534"/>
                  </a:lnTo>
                  <a:lnTo>
                    <a:pt x="1920" y="528"/>
                  </a:lnTo>
                  <a:lnTo>
                    <a:pt x="1920" y="516"/>
                  </a:lnTo>
                  <a:lnTo>
                    <a:pt x="1944" y="516"/>
                  </a:lnTo>
                  <a:lnTo>
                    <a:pt x="2004" y="516"/>
                  </a:lnTo>
                  <a:lnTo>
                    <a:pt x="2010" y="510"/>
                  </a:lnTo>
                  <a:lnTo>
                    <a:pt x="2004" y="510"/>
                  </a:lnTo>
                  <a:lnTo>
                    <a:pt x="2010" y="498"/>
                  </a:lnTo>
                  <a:lnTo>
                    <a:pt x="2004" y="486"/>
                  </a:lnTo>
                  <a:lnTo>
                    <a:pt x="2004" y="480"/>
                  </a:lnTo>
                  <a:lnTo>
                    <a:pt x="2004" y="474"/>
                  </a:lnTo>
                  <a:lnTo>
                    <a:pt x="2004" y="462"/>
                  </a:lnTo>
                  <a:lnTo>
                    <a:pt x="2004" y="456"/>
                  </a:lnTo>
                  <a:lnTo>
                    <a:pt x="2058" y="462"/>
                  </a:lnTo>
                  <a:lnTo>
                    <a:pt x="2076" y="474"/>
                  </a:lnTo>
                  <a:lnTo>
                    <a:pt x="2082" y="522"/>
                  </a:lnTo>
                  <a:lnTo>
                    <a:pt x="2088" y="516"/>
                  </a:lnTo>
                  <a:lnTo>
                    <a:pt x="2094" y="522"/>
                  </a:lnTo>
                  <a:lnTo>
                    <a:pt x="2100" y="528"/>
                  </a:lnTo>
                  <a:lnTo>
                    <a:pt x="2130" y="540"/>
                  </a:lnTo>
                  <a:lnTo>
                    <a:pt x="2160" y="564"/>
                  </a:lnTo>
                  <a:lnTo>
                    <a:pt x="2166" y="600"/>
                  </a:lnTo>
                  <a:lnTo>
                    <a:pt x="2160" y="618"/>
                  </a:lnTo>
                  <a:lnTo>
                    <a:pt x="2142" y="636"/>
                  </a:lnTo>
                  <a:lnTo>
                    <a:pt x="2148" y="648"/>
                  </a:lnTo>
                  <a:lnTo>
                    <a:pt x="2154" y="660"/>
                  </a:lnTo>
                  <a:lnTo>
                    <a:pt x="2196" y="654"/>
                  </a:lnTo>
                  <a:lnTo>
                    <a:pt x="2214" y="660"/>
                  </a:lnTo>
                  <a:lnTo>
                    <a:pt x="2214" y="666"/>
                  </a:lnTo>
                  <a:lnTo>
                    <a:pt x="2220" y="672"/>
                  </a:lnTo>
                  <a:lnTo>
                    <a:pt x="2214" y="678"/>
                  </a:lnTo>
                  <a:lnTo>
                    <a:pt x="2214" y="684"/>
                  </a:lnTo>
                  <a:lnTo>
                    <a:pt x="2214" y="690"/>
                  </a:lnTo>
                  <a:lnTo>
                    <a:pt x="2208" y="690"/>
                  </a:lnTo>
                  <a:lnTo>
                    <a:pt x="2202" y="696"/>
                  </a:lnTo>
                  <a:lnTo>
                    <a:pt x="2196" y="702"/>
                  </a:lnTo>
                  <a:lnTo>
                    <a:pt x="2190" y="708"/>
                  </a:lnTo>
                  <a:lnTo>
                    <a:pt x="2190" y="720"/>
                  </a:lnTo>
                  <a:lnTo>
                    <a:pt x="2184" y="720"/>
                  </a:lnTo>
                  <a:lnTo>
                    <a:pt x="2178" y="726"/>
                  </a:lnTo>
                  <a:lnTo>
                    <a:pt x="2166" y="732"/>
                  </a:lnTo>
                  <a:lnTo>
                    <a:pt x="2160" y="744"/>
                  </a:lnTo>
                  <a:lnTo>
                    <a:pt x="2154" y="756"/>
                  </a:lnTo>
                  <a:lnTo>
                    <a:pt x="2148" y="762"/>
                  </a:lnTo>
                  <a:lnTo>
                    <a:pt x="2124" y="762"/>
                  </a:lnTo>
                  <a:lnTo>
                    <a:pt x="2124" y="768"/>
                  </a:lnTo>
                  <a:lnTo>
                    <a:pt x="2118" y="768"/>
                  </a:lnTo>
                  <a:lnTo>
                    <a:pt x="2124" y="774"/>
                  </a:lnTo>
                  <a:lnTo>
                    <a:pt x="2118" y="774"/>
                  </a:lnTo>
                  <a:lnTo>
                    <a:pt x="2112" y="774"/>
                  </a:lnTo>
                  <a:lnTo>
                    <a:pt x="2106" y="780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06" y="798"/>
                  </a:lnTo>
                  <a:lnTo>
                    <a:pt x="2106" y="810"/>
                  </a:lnTo>
                  <a:lnTo>
                    <a:pt x="2112" y="828"/>
                  </a:lnTo>
                  <a:lnTo>
                    <a:pt x="2112" y="834"/>
                  </a:lnTo>
                  <a:lnTo>
                    <a:pt x="2112" y="840"/>
                  </a:lnTo>
                  <a:lnTo>
                    <a:pt x="2112" y="834"/>
                  </a:lnTo>
                  <a:lnTo>
                    <a:pt x="2124" y="834"/>
                  </a:lnTo>
                  <a:lnTo>
                    <a:pt x="2130" y="834"/>
                  </a:lnTo>
                  <a:lnTo>
                    <a:pt x="2136" y="840"/>
                  </a:lnTo>
                  <a:lnTo>
                    <a:pt x="2142" y="840"/>
                  </a:lnTo>
                  <a:lnTo>
                    <a:pt x="2154" y="852"/>
                  </a:lnTo>
                  <a:lnTo>
                    <a:pt x="2160" y="852"/>
                  </a:lnTo>
                  <a:lnTo>
                    <a:pt x="2172" y="846"/>
                  </a:lnTo>
                  <a:lnTo>
                    <a:pt x="2178" y="846"/>
                  </a:lnTo>
                  <a:lnTo>
                    <a:pt x="2184" y="846"/>
                  </a:lnTo>
                  <a:lnTo>
                    <a:pt x="2190" y="846"/>
                  </a:lnTo>
                  <a:lnTo>
                    <a:pt x="2196" y="852"/>
                  </a:lnTo>
                  <a:lnTo>
                    <a:pt x="2196" y="858"/>
                  </a:lnTo>
                  <a:lnTo>
                    <a:pt x="2202" y="852"/>
                  </a:lnTo>
                  <a:lnTo>
                    <a:pt x="2208" y="846"/>
                  </a:lnTo>
                  <a:lnTo>
                    <a:pt x="2214" y="846"/>
                  </a:lnTo>
                  <a:lnTo>
                    <a:pt x="2226" y="846"/>
                  </a:lnTo>
                  <a:lnTo>
                    <a:pt x="2232" y="852"/>
                  </a:lnTo>
                  <a:lnTo>
                    <a:pt x="2238" y="852"/>
                  </a:lnTo>
                  <a:lnTo>
                    <a:pt x="2244" y="858"/>
                  </a:lnTo>
                  <a:lnTo>
                    <a:pt x="2250" y="858"/>
                  </a:lnTo>
                  <a:lnTo>
                    <a:pt x="2256" y="858"/>
                  </a:lnTo>
                  <a:lnTo>
                    <a:pt x="2262" y="858"/>
                  </a:lnTo>
                  <a:lnTo>
                    <a:pt x="2268" y="852"/>
                  </a:lnTo>
                  <a:lnTo>
                    <a:pt x="2274" y="852"/>
                  </a:lnTo>
                  <a:lnTo>
                    <a:pt x="2280" y="852"/>
                  </a:lnTo>
                  <a:lnTo>
                    <a:pt x="2286" y="852"/>
                  </a:lnTo>
                  <a:lnTo>
                    <a:pt x="2298" y="858"/>
                  </a:lnTo>
                  <a:lnTo>
                    <a:pt x="2304" y="858"/>
                  </a:lnTo>
                  <a:lnTo>
                    <a:pt x="2310" y="858"/>
                  </a:lnTo>
                  <a:lnTo>
                    <a:pt x="2316" y="852"/>
                  </a:lnTo>
                  <a:lnTo>
                    <a:pt x="2322" y="858"/>
                  </a:lnTo>
                  <a:lnTo>
                    <a:pt x="2328" y="858"/>
                  </a:lnTo>
                  <a:lnTo>
                    <a:pt x="2328" y="852"/>
                  </a:lnTo>
                  <a:lnTo>
                    <a:pt x="2364" y="858"/>
                  </a:lnTo>
                  <a:lnTo>
                    <a:pt x="2376" y="876"/>
                  </a:lnTo>
                  <a:lnTo>
                    <a:pt x="2382" y="936"/>
                  </a:lnTo>
                  <a:lnTo>
                    <a:pt x="2388" y="966"/>
                  </a:lnTo>
                  <a:lnTo>
                    <a:pt x="2382" y="972"/>
                  </a:lnTo>
                  <a:lnTo>
                    <a:pt x="2382" y="978"/>
                  </a:lnTo>
                  <a:lnTo>
                    <a:pt x="2382" y="984"/>
                  </a:lnTo>
                  <a:lnTo>
                    <a:pt x="2388" y="990"/>
                  </a:lnTo>
                  <a:lnTo>
                    <a:pt x="2382" y="990"/>
                  </a:lnTo>
                  <a:lnTo>
                    <a:pt x="2382" y="996"/>
                  </a:lnTo>
                  <a:lnTo>
                    <a:pt x="2376" y="996"/>
                  </a:lnTo>
                  <a:lnTo>
                    <a:pt x="2376" y="1020"/>
                  </a:lnTo>
                  <a:lnTo>
                    <a:pt x="2370" y="1032"/>
                  </a:lnTo>
                  <a:lnTo>
                    <a:pt x="2352" y="1032"/>
                  </a:lnTo>
                  <a:lnTo>
                    <a:pt x="2346" y="1020"/>
                  </a:lnTo>
                  <a:lnTo>
                    <a:pt x="2328" y="1032"/>
                  </a:lnTo>
                  <a:lnTo>
                    <a:pt x="2316" y="1038"/>
                  </a:lnTo>
                  <a:lnTo>
                    <a:pt x="2328" y="1044"/>
                  </a:lnTo>
                  <a:lnTo>
                    <a:pt x="2340" y="1056"/>
                  </a:lnTo>
                  <a:lnTo>
                    <a:pt x="2376" y="1062"/>
                  </a:lnTo>
                  <a:lnTo>
                    <a:pt x="2376" y="1068"/>
                  </a:lnTo>
                  <a:lnTo>
                    <a:pt x="2382" y="1086"/>
                  </a:lnTo>
                  <a:lnTo>
                    <a:pt x="2376" y="1086"/>
                  </a:lnTo>
                  <a:lnTo>
                    <a:pt x="2370" y="1086"/>
                  </a:lnTo>
                  <a:lnTo>
                    <a:pt x="2364" y="1086"/>
                  </a:lnTo>
                  <a:lnTo>
                    <a:pt x="2364" y="1098"/>
                  </a:lnTo>
                  <a:lnTo>
                    <a:pt x="2388" y="1104"/>
                  </a:lnTo>
                  <a:lnTo>
                    <a:pt x="2400" y="1122"/>
                  </a:lnTo>
                  <a:lnTo>
                    <a:pt x="2400" y="1134"/>
                  </a:lnTo>
                  <a:lnTo>
                    <a:pt x="2400" y="1146"/>
                  </a:lnTo>
                  <a:lnTo>
                    <a:pt x="2394" y="1146"/>
                  </a:lnTo>
                  <a:lnTo>
                    <a:pt x="2394" y="1152"/>
                  </a:lnTo>
                  <a:lnTo>
                    <a:pt x="2388" y="1152"/>
                  </a:lnTo>
                  <a:lnTo>
                    <a:pt x="2388" y="1146"/>
                  </a:lnTo>
                  <a:lnTo>
                    <a:pt x="2382" y="1152"/>
                  </a:lnTo>
                  <a:lnTo>
                    <a:pt x="2376" y="1152"/>
                  </a:lnTo>
                  <a:lnTo>
                    <a:pt x="2370" y="1158"/>
                  </a:lnTo>
                  <a:lnTo>
                    <a:pt x="2370" y="1164"/>
                  </a:lnTo>
                  <a:lnTo>
                    <a:pt x="2364" y="1170"/>
                  </a:lnTo>
                  <a:lnTo>
                    <a:pt x="2370" y="1170"/>
                  </a:lnTo>
                  <a:lnTo>
                    <a:pt x="2376" y="1170"/>
                  </a:lnTo>
                  <a:lnTo>
                    <a:pt x="2370" y="1176"/>
                  </a:lnTo>
                  <a:lnTo>
                    <a:pt x="2364" y="1176"/>
                  </a:lnTo>
                  <a:lnTo>
                    <a:pt x="2358" y="1182"/>
                  </a:lnTo>
                  <a:lnTo>
                    <a:pt x="2352" y="1182"/>
                  </a:lnTo>
                  <a:lnTo>
                    <a:pt x="2346" y="1188"/>
                  </a:lnTo>
                  <a:lnTo>
                    <a:pt x="2340" y="1182"/>
                  </a:lnTo>
                  <a:lnTo>
                    <a:pt x="2334" y="1182"/>
                  </a:lnTo>
                  <a:lnTo>
                    <a:pt x="2334" y="1188"/>
                  </a:lnTo>
                  <a:lnTo>
                    <a:pt x="2328" y="1194"/>
                  </a:lnTo>
                  <a:lnTo>
                    <a:pt x="2328" y="1200"/>
                  </a:lnTo>
                  <a:lnTo>
                    <a:pt x="2322" y="1224"/>
                  </a:lnTo>
                  <a:lnTo>
                    <a:pt x="2328" y="1230"/>
                  </a:lnTo>
                  <a:lnTo>
                    <a:pt x="2358" y="1230"/>
                  </a:lnTo>
                  <a:lnTo>
                    <a:pt x="2358" y="1242"/>
                  </a:lnTo>
                  <a:lnTo>
                    <a:pt x="2358" y="1254"/>
                  </a:lnTo>
                  <a:lnTo>
                    <a:pt x="2346" y="1254"/>
                  </a:lnTo>
                  <a:lnTo>
                    <a:pt x="2346" y="1278"/>
                  </a:lnTo>
                  <a:lnTo>
                    <a:pt x="2358" y="1278"/>
                  </a:lnTo>
                  <a:lnTo>
                    <a:pt x="2358" y="1284"/>
                  </a:lnTo>
                  <a:lnTo>
                    <a:pt x="2376" y="1284"/>
                  </a:lnTo>
                  <a:lnTo>
                    <a:pt x="2388" y="1278"/>
                  </a:lnTo>
                  <a:lnTo>
                    <a:pt x="2406" y="1278"/>
                  </a:lnTo>
                  <a:lnTo>
                    <a:pt x="2430" y="1284"/>
                  </a:lnTo>
                  <a:lnTo>
                    <a:pt x="2430" y="1302"/>
                  </a:lnTo>
                  <a:lnTo>
                    <a:pt x="2430" y="1314"/>
                  </a:lnTo>
                  <a:lnTo>
                    <a:pt x="2424" y="1326"/>
                  </a:lnTo>
                  <a:lnTo>
                    <a:pt x="2412" y="1326"/>
                  </a:lnTo>
                  <a:lnTo>
                    <a:pt x="2412" y="1344"/>
                  </a:lnTo>
                  <a:lnTo>
                    <a:pt x="2406" y="1344"/>
                  </a:lnTo>
                  <a:lnTo>
                    <a:pt x="2400" y="1362"/>
                  </a:lnTo>
                  <a:lnTo>
                    <a:pt x="2394" y="1368"/>
                  </a:lnTo>
                  <a:lnTo>
                    <a:pt x="2388" y="1374"/>
                  </a:lnTo>
                  <a:lnTo>
                    <a:pt x="2382" y="1380"/>
                  </a:lnTo>
                  <a:lnTo>
                    <a:pt x="2376" y="1386"/>
                  </a:lnTo>
                  <a:lnTo>
                    <a:pt x="2376" y="1392"/>
                  </a:lnTo>
                  <a:lnTo>
                    <a:pt x="2370" y="1404"/>
                  </a:lnTo>
                  <a:lnTo>
                    <a:pt x="2364" y="1416"/>
                  </a:lnTo>
                  <a:lnTo>
                    <a:pt x="2346" y="1434"/>
                  </a:lnTo>
                  <a:lnTo>
                    <a:pt x="2328" y="1440"/>
                  </a:lnTo>
                  <a:lnTo>
                    <a:pt x="2328" y="1446"/>
                  </a:lnTo>
                  <a:lnTo>
                    <a:pt x="2322" y="1452"/>
                  </a:lnTo>
                  <a:lnTo>
                    <a:pt x="2316" y="1452"/>
                  </a:lnTo>
                  <a:lnTo>
                    <a:pt x="2304" y="1446"/>
                  </a:lnTo>
                  <a:lnTo>
                    <a:pt x="2298" y="1446"/>
                  </a:lnTo>
                  <a:lnTo>
                    <a:pt x="2298" y="1434"/>
                  </a:lnTo>
                  <a:lnTo>
                    <a:pt x="2292" y="1434"/>
                  </a:lnTo>
                  <a:lnTo>
                    <a:pt x="2286" y="1428"/>
                  </a:lnTo>
                  <a:lnTo>
                    <a:pt x="2274" y="1416"/>
                  </a:lnTo>
                  <a:lnTo>
                    <a:pt x="2256" y="1404"/>
                  </a:lnTo>
                  <a:lnTo>
                    <a:pt x="2244" y="1386"/>
                  </a:lnTo>
                  <a:lnTo>
                    <a:pt x="2220" y="1368"/>
                  </a:lnTo>
                  <a:lnTo>
                    <a:pt x="2208" y="1362"/>
                  </a:lnTo>
                  <a:lnTo>
                    <a:pt x="2202" y="1350"/>
                  </a:lnTo>
                  <a:lnTo>
                    <a:pt x="2196" y="1350"/>
                  </a:lnTo>
                  <a:lnTo>
                    <a:pt x="2190" y="1356"/>
                  </a:lnTo>
                  <a:lnTo>
                    <a:pt x="2184" y="1356"/>
                  </a:lnTo>
                  <a:lnTo>
                    <a:pt x="2094" y="1350"/>
                  </a:lnTo>
                  <a:lnTo>
                    <a:pt x="2058" y="1350"/>
                  </a:lnTo>
                  <a:lnTo>
                    <a:pt x="2034" y="1890"/>
                  </a:lnTo>
                  <a:lnTo>
                    <a:pt x="2064" y="1890"/>
                  </a:lnTo>
                  <a:lnTo>
                    <a:pt x="2070" y="1896"/>
                  </a:lnTo>
                  <a:lnTo>
                    <a:pt x="2076" y="1896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8" name="Freeform 33">
              <a:extLst>
                <a:ext uri="{FF2B5EF4-FFF2-40B4-BE49-F238E27FC236}">
                  <a16:creationId xmlns:a16="http://schemas.microsoft.com/office/drawing/2014/main" id="{0E96F118-1F4D-4E52-AF27-149259451CD6}"/>
                </a:ext>
              </a:extLst>
            </p:cNvPr>
            <p:cNvSpPr>
              <a:spLocks/>
            </p:cNvSpPr>
            <p:nvPr/>
          </p:nvSpPr>
          <p:spPr bwMode="gray">
            <a:xfrm>
              <a:off x="1266662" y="1459989"/>
              <a:ext cx="903421" cy="778302"/>
            </a:xfrm>
            <a:custGeom>
              <a:avLst/>
              <a:gdLst>
                <a:gd name="T0" fmla="*/ 143 w 1698"/>
                <a:gd name="T1" fmla="*/ 43 h 1464"/>
                <a:gd name="T2" fmla="*/ 131 w 1698"/>
                <a:gd name="T3" fmla="*/ 44 h 1464"/>
                <a:gd name="T4" fmla="*/ 126 w 1698"/>
                <a:gd name="T5" fmla="*/ 41 h 1464"/>
                <a:gd name="T6" fmla="*/ 119 w 1698"/>
                <a:gd name="T7" fmla="*/ 45 h 1464"/>
                <a:gd name="T8" fmla="*/ 111 w 1698"/>
                <a:gd name="T9" fmla="*/ 46 h 1464"/>
                <a:gd name="T10" fmla="*/ 107 w 1698"/>
                <a:gd name="T11" fmla="*/ 50 h 1464"/>
                <a:gd name="T12" fmla="*/ 107 w 1698"/>
                <a:gd name="T13" fmla="*/ 60 h 1464"/>
                <a:gd name="T14" fmla="*/ 104 w 1698"/>
                <a:gd name="T15" fmla="*/ 62 h 1464"/>
                <a:gd name="T16" fmla="*/ 97 w 1698"/>
                <a:gd name="T17" fmla="*/ 59 h 1464"/>
                <a:gd name="T18" fmla="*/ 92 w 1698"/>
                <a:gd name="T19" fmla="*/ 59 h 1464"/>
                <a:gd name="T20" fmla="*/ 90 w 1698"/>
                <a:gd name="T21" fmla="*/ 62 h 1464"/>
                <a:gd name="T22" fmla="*/ 93 w 1698"/>
                <a:gd name="T23" fmla="*/ 77 h 1464"/>
                <a:gd name="T24" fmla="*/ 85 w 1698"/>
                <a:gd name="T25" fmla="*/ 88 h 1464"/>
                <a:gd name="T26" fmla="*/ 70 w 1698"/>
                <a:gd name="T27" fmla="*/ 89 h 1464"/>
                <a:gd name="T28" fmla="*/ 65 w 1698"/>
                <a:gd name="T29" fmla="*/ 88 h 1464"/>
                <a:gd name="T30" fmla="*/ 50 w 1698"/>
                <a:gd name="T31" fmla="*/ 88 h 1464"/>
                <a:gd name="T32" fmla="*/ 48 w 1698"/>
                <a:gd name="T33" fmla="*/ 107 h 1464"/>
                <a:gd name="T34" fmla="*/ 47 w 1698"/>
                <a:gd name="T35" fmla="*/ 120 h 1464"/>
                <a:gd name="T36" fmla="*/ 43 w 1698"/>
                <a:gd name="T37" fmla="*/ 121 h 1464"/>
                <a:gd name="T38" fmla="*/ 40 w 1698"/>
                <a:gd name="T39" fmla="*/ 120 h 1464"/>
                <a:gd name="T40" fmla="*/ 35 w 1698"/>
                <a:gd name="T41" fmla="*/ 122 h 1464"/>
                <a:gd name="T42" fmla="*/ 29 w 1698"/>
                <a:gd name="T43" fmla="*/ 123 h 1464"/>
                <a:gd name="T44" fmla="*/ 24 w 1698"/>
                <a:gd name="T45" fmla="*/ 125 h 1464"/>
                <a:gd name="T46" fmla="*/ 20 w 1698"/>
                <a:gd name="T47" fmla="*/ 125 h 1464"/>
                <a:gd name="T48" fmla="*/ 18 w 1698"/>
                <a:gd name="T49" fmla="*/ 122 h 1464"/>
                <a:gd name="T50" fmla="*/ 26 w 1698"/>
                <a:gd name="T51" fmla="*/ 108 h 1464"/>
                <a:gd name="T52" fmla="*/ 24 w 1698"/>
                <a:gd name="T53" fmla="*/ 89 h 1464"/>
                <a:gd name="T54" fmla="*/ 28 w 1698"/>
                <a:gd name="T55" fmla="*/ 85 h 1464"/>
                <a:gd name="T56" fmla="*/ 32 w 1698"/>
                <a:gd name="T57" fmla="*/ 80 h 1464"/>
                <a:gd name="T58" fmla="*/ 36 w 1698"/>
                <a:gd name="T59" fmla="*/ 86 h 1464"/>
                <a:gd name="T60" fmla="*/ 39 w 1698"/>
                <a:gd name="T61" fmla="*/ 80 h 1464"/>
                <a:gd name="T62" fmla="*/ 41 w 1698"/>
                <a:gd name="T63" fmla="*/ 73 h 1464"/>
                <a:gd name="T64" fmla="*/ 38 w 1698"/>
                <a:gd name="T65" fmla="*/ 64 h 1464"/>
                <a:gd name="T66" fmla="*/ 39 w 1698"/>
                <a:gd name="T67" fmla="*/ 59 h 1464"/>
                <a:gd name="T68" fmla="*/ 32 w 1698"/>
                <a:gd name="T69" fmla="*/ 54 h 1464"/>
                <a:gd name="T70" fmla="*/ 32 w 1698"/>
                <a:gd name="T71" fmla="*/ 45 h 1464"/>
                <a:gd name="T72" fmla="*/ 31 w 1698"/>
                <a:gd name="T73" fmla="*/ 41 h 1464"/>
                <a:gd name="T74" fmla="*/ 24 w 1698"/>
                <a:gd name="T75" fmla="*/ 43 h 1464"/>
                <a:gd name="T76" fmla="*/ 17 w 1698"/>
                <a:gd name="T77" fmla="*/ 40 h 1464"/>
                <a:gd name="T78" fmla="*/ 11 w 1698"/>
                <a:gd name="T79" fmla="*/ 38 h 1464"/>
                <a:gd name="T80" fmla="*/ 2 w 1698"/>
                <a:gd name="T81" fmla="*/ 36 h 1464"/>
                <a:gd name="T82" fmla="*/ 0 w 1698"/>
                <a:gd name="T83" fmla="*/ 24 h 1464"/>
                <a:gd name="T84" fmla="*/ 11 w 1698"/>
                <a:gd name="T85" fmla="*/ 18 h 1464"/>
                <a:gd name="T86" fmla="*/ 19 w 1698"/>
                <a:gd name="T87" fmla="*/ 10 h 1464"/>
                <a:gd name="T88" fmla="*/ 28 w 1698"/>
                <a:gd name="T89" fmla="*/ 9 h 1464"/>
                <a:gd name="T90" fmla="*/ 40 w 1698"/>
                <a:gd name="T91" fmla="*/ 6 h 1464"/>
                <a:gd name="T92" fmla="*/ 49 w 1698"/>
                <a:gd name="T93" fmla="*/ 8 h 1464"/>
                <a:gd name="T94" fmla="*/ 56 w 1698"/>
                <a:gd name="T95" fmla="*/ 8 h 1464"/>
                <a:gd name="T96" fmla="*/ 64 w 1698"/>
                <a:gd name="T97" fmla="*/ 7 h 1464"/>
                <a:gd name="T98" fmla="*/ 74 w 1698"/>
                <a:gd name="T99" fmla="*/ 1 h 1464"/>
                <a:gd name="T100" fmla="*/ 83 w 1698"/>
                <a:gd name="T101" fmla="*/ 3 h 1464"/>
                <a:gd name="T102" fmla="*/ 99 w 1698"/>
                <a:gd name="T103" fmla="*/ 9 h 1464"/>
                <a:gd name="T104" fmla="*/ 112 w 1698"/>
                <a:gd name="T105" fmla="*/ 14 h 1464"/>
                <a:gd name="T106" fmla="*/ 119 w 1698"/>
                <a:gd name="T107" fmla="*/ 12 h 1464"/>
                <a:gd name="T108" fmla="*/ 128 w 1698"/>
                <a:gd name="T109" fmla="*/ 17 h 1464"/>
                <a:gd name="T110" fmla="*/ 141 w 1698"/>
                <a:gd name="T111" fmla="*/ 29 h 1464"/>
                <a:gd name="T112" fmla="*/ 145 w 1698"/>
                <a:gd name="T113" fmla="*/ 35 h 14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98"/>
                <a:gd name="T172" fmla="*/ 0 h 1464"/>
                <a:gd name="T173" fmla="*/ 1698 w 1698"/>
                <a:gd name="T174" fmla="*/ 1464 h 14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98" h="1464">
                  <a:moveTo>
                    <a:pt x="1698" y="462"/>
                  </a:moveTo>
                  <a:lnTo>
                    <a:pt x="1686" y="468"/>
                  </a:lnTo>
                  <a:lnTo>
                    <a:pt x="1680" y="474"/>
                  </a:lnTo>
                  <a:lnTo>
                    <a:pt x="1674" y="480"/>
                  </a:lnTo>
                  <a:lnTo>
                    <a:pt x="1668" y="480"/>
                  </a:lnTo>
                  <a:lnTo>
                    <a:pt x="1662" y="486"/>
                  </a:lnTo>
                  <a:lnTo>
                    <a:pt x="1656" y="492"/>
                  </a:lnTo>
                  <a:lnTo>
                    <a:pt x="1644" y="498"/>
                  </a:lnTo>
                  <a:lnTo>
                    <a:pt x="1626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0" y="516"/>
                  </a:lnTo>
                  <a:lnTo>
                    <a:pt x="1590" y="522"/>
                  </a:lnTo>
                  <a:lnTo>
                    <a:pt x="1566" y="522"/>
                  </a:lnTo>
                  <a:lnTo>
                    <a:pt x="1506" y="510"/>
                  </a:lnTo>
                  <a:lnTo>
                    <a:pt x="1500" y="510"/>
                  </a:lnTo>
                  <a:lnTo>
                    <a:pt x="1488" y="504"/>
                  </a:lnTo>
                  <a:lnTo>
                    <a:pt x="1482" y="498"/>
                  </a:lnTo>
                  <a:lnTo>
                    <a:pt x="1476" y="498"/>
                  </a:lnTo>
                  <a:lnTo>
                    <a:pt x="1476" y="492"/>
                  </a:lnTo>
                  <a:lnTo>
                    <a:pt x="1470" y="492"/>
                  </a:lnTo>
                  <a:lnTo>
                    <a:pt x="1464" y="486"/>
                  </a:lnTo>
                  <a:lnTo>
                    <a:pt x="1452" y="486"/>
                  </a:lnTo>
                  <a:lnTo>
                    <a:pt x="1446" y="474"/>
                  </a:lnTo>
                  <a:lnTo>
                    <a:pt x="1434" y="468"/>
                  </a:lnTo>
                  <a:lnTo>
                    <a:pt x="1416" y="468"/>
                  </a:lnTo>
                  <a:lnTo>
                    <a:pt x="1392" y="468"/>
                  </a:lnTo>
                  <a:lnTo>
                    <a:pt x="1374" y="474"/>
                  </a:lnTo>
                  <a:lnTo>
                    <a:pt x="1368" y="474"/>
                  </a:lnTo>
                  <a:lnTo>
                    <a:pt x="1368" y="486"/>
                  </a:lnTo>
                  <a:lnTo>
                    <a:pt x="1368" y="498"/>
                  </a:lnTo>
                  <a:lnTo>
                    <a:pt x="1368" y="522"/>
                  </a:lnTo>
                  <a:lnTo>
                    <a:pt x="1368" y="534"/>
                  </a:lnTo>
                  <a:lnTo>
                    <a:pt x="1362" y="546"/>
                  </a:lnTo>
                  <a:lnTo>
                    <a:pt x="1356" y="546"/>
                  </a:lnTo>
                  <a:lnTo>
                    <a:pt x="1344" y="540"/>
                  </a:lnTo>
                  <a:lnTo>
                    <a:pt x="1338" y="534"/>
                  </a:lnTo>
                  <a:lnTo>
                    <a:pt x="1308" y="522"/>
                  </a:lnTo>
                  <a:lnTo>
                    <a:pt x="1296" y="522"/>
                  </a:lnTo>
                  <a:lnTo>
                    <a:pt x="1278" y="528"/>
                  </a:lnTo>
                  <a:lnTo>
                    <a:pt x="1260" y="534"/>
                  </a:lnTo>
                  <a:lnTo>
                    <a:pt x="1242" y="546"/>
                  </a:lnTo>
                  <a:lnTo>
                    <a:pt x="1236" y="552"/>
                  </a:lnTo>
                  <a:lnTo>
                    <a:pt x="1224" y="558"/>
                  </a:lnTo>
                  <a:lnTo>
                    <a:pt x="1218" y="558"/>
                  </a:lnTo>
                  <a:lnTo>
                    <a:pt x="1218" y="564"/>
                  </a:lnTo>
                  <a:lnTo>
                    <a:pt x="1224" y="570"/>
                  </a:lnTo>
                  <a:lnTo>
                    <a:pt x="1224" y="582"/>
                  </a:lnTo>
                  <a:lnTo>
                    <a:pt x="1224" y="594"/>
                  </a:lnTo>
                  <a:lnTo>
                    <a:pt x="1212" y="618"/>
                  </a:lnTo>
                  <a:lnTo>
                    <a:pt x="1212" y="624"/>
                  </a:lnTo>
                  <a:lnTo>
                    <a:pt x="1212" y="630"/>
                  </a:lnTo>
                  <a:lnTo>
                    <a:pt x="1212" y="636"/>
                  </a:lnTo>
                  <a:lnTo>
                    <a:pt x="1218" y="654"/>
                  </a:lnTo>
                  <a:lnTo>
                    <a:pt x="1224" y="672"/>
                  </a:lnTo>
                  <a:lnTo>
                    <a:pt x="1230" y="696"/>
                  </a:lnTo>
                  <a:lnTo>
                    <a:pt x="1236" y="708"/>
                  </a:lnTo>
                  <a:lnTo>
                    <a:pt x="1236" y="714"/>
                  </a:lnTo>
                  <a:lnTo>
                    <a:pt x="1236" y="720"/>
                  </a:lnTo>
                  <a:lnTo>
                    <a:pt x="1218" y="726"/>
                  </a:lnTo>
                  <a:lnTo>
                    <a:pt x="1212" y="726"/>
                  </a:lnTo>
                  <a:lnTo>
                    <a:pt x="1206" y="726"/>
                  </a:lnTo>
                  <a:lnTo>
                    <a:pt x="1194" y="720"/>
                  </a:lnTo>
                  <a:lnTo>
                    <a:pt x="1194" y="714"/>
                  </a:lnTo>
                  <a:lnTo>
                    <a:pt x="1176" y="714"/>
                  </a:lnTo>
                  <a:lnTo>
                    <a:pt x="1164" y="708"/>
                  </a:lnTo>
                  <a:lnTo>
                    <a:pt x="1158" y="708"/>
                  </a:lnTo>
                  <a:lnTo>
                    <a:pt x="1140" y="702"/>
                  </a:lnTo>
                  <a:lnTo>
                    <a:pt x="1134" y="696"/>
                  </a:lnTo>
                  <a:lnTo>
                    <a:pt x="1128" y="690"/>
                  </a:lnTo>
                  <a:lnTo>
                    <a:pt x="1116" y="678"/>
                  </a:lnTo>
                  <a:lnTo>
                    <a:pt x="1110" y="678"/>
                  </a:lnTo>
                  <a:lnTo>
                    <a:pt x="1104" y="672"/>
                  </a:lnTo>
                  <a:lnTo>
                    <a:pt x="1092" y="672"/>
                  </a:lnTo>
                  <a:lnTo>
                    <a:pt x="1086" y="672"/>
                  </a:lnTo>
                  <a:lnTo>
                    <a:pt x="1080" y="672"/>
                  </a:lnTo>
                  <a:lnTo>
                    <a:pt x="1074" y="672"/>
                  </a:lnTo>
                  <a:lnTo>
                    <a:pt x="1068" y="672"/>
                  </a:lnTo>
                  <a:lnTo>
                    <a:pt x="1062" y="678"/>
                  </a:lnTo>
                  <a:lnTo>
                    <a:pt x="1056" y="678"/>
                  </a:lnTo>
                  <a:lnTo>
                    <a:pt x="1056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6"/>
                  </a:lnTo>
                  <a:lnTo>
                    <a:pt x="1032" y="708"/>
                  </a:lnTo>
                  <a:lnTo>
                    <a:pt x="1026" y="708"/>
                  </a:lnTo>
                  <a:lnTo>
                    <a:pt x="1032" y="714"/>
                  </a:lnTo>
                  <a:lnTo>
                    <a:pt x="1026" y="720"/>
                  </a:lnTo>
                  <a:lnTo>
                    <a:pt x="1020" y="720"/>
                  </a:lnTo>
                  <a:lnTo>
                    <a:pt x="1014" y="732"/>
                  </a:lnTo>
                  <a:lnTo>
                    <a:pt x="1014" y="744"/>
                  </a:lnTo>
                  <a:lnTo>
                    <a:pt x="1038" y="810"/>
                  </a:lnTo>
                  <a:lnTo>
                    <a:pt x="1050" y="834"/>
                  </a:lnTo>
                  <a:lnTo>
                    <a:pt x="1056" y="858"/>
                  </a:lnTo>
                  <a:lnTo>
                    <a:pt x="1062" y="876"/>
                  </a:lnTo>
                  <a:lnTo>
                    <a:pt x="1068" y="882"/>
                  </a:lnTo>
                  <a:lnTo>
                    <a:pt x="1062" y="972"/>
                  </a:lnTo>
                  <a:lnTo>
                    <a:pt x="1056" y="972"/>
                  </a:lnTo>
                  <a:lnTo>
                    <a:pt x="1050" y="996"/>
                  </a:lnTo>
                  <a:lnTo>
                    <a:pt x="1044" y="1014"/>
                  </a:lnTo>
                  <a:lnTo>
                    <a:pt x="1008" y="1014"/>
                  </a:lnTo>
                  <a:lnTo>
                    <a:pt x="1008" y="1008"/>
                  </a:lnTo>
                  <a:lnTo>
                    <a:pt x="990" y="1008"/>
                  </a:lnTo>
                  <a:lnTo>
                    <a:pt x="972" y="1014"/>
                  </a:lnTo>
                  <a:lnTo>
                    <a:pt x="948" y="1020"/>
                  </a:lnTo>
                  <a:lnTo>
                    <a:pt x="918" y="1026"/>
                  </a:lnTo>
                  <a:lnTo>
                    <a:pt x="840" y="1032"/>
                  </a:lnTo>
                  <a:lnTo>
                    <a:pt x="834" y="1032"/>
                  </a:lnTo>
                  <a:lnTo>
                    <a:pt x="834" y="1026"/>
                  </a:lnTo>
                  <a:lnTo>
                    <a:pt x="822" y="1026"/>
                  </a:lnTo>
                  <a:lnTo>
                    <a:pt x="816" y="1032"/>
                  </a:lnTo>
                  <a:lnTo>
                    <a:pt x="804" y="1032"/>
                  </a:lnTo>
                  <a:lnTo>
                    <a:pt x="798" y="1026"/>
                  </a:lnTo>
                  <a:lnTo>
                    <a:pt x="780" y="1026"/>
                  </a:lnTo>
                  <a:lnTo>
                    <a:pt x="762" y="1026"/>
                  </a:lnTo>
                  <a:lnTo>
                    <a:pt x="756" y="1026"/>
                  </a:lnTo>
                  <a:lnTo>
                    <a:pt x="750" y="1026"/>
                  </a:lnTo>
                  <a:lnTo>
                    <a:pt x="756" y="1020"/>
                  </a:lnTo>
                  <a:lnTo>
                    <a:pt x="750" y="1020"/>
                  </a:lnTo>
                  <a:lnTo>
                    <a:pt x="744" y="1014"/>
                  </a:lnTo>
                  <a:lnTo>
                    <a:pt x="684" y="1020"/>
                  </a:lnTo>
                  <a:lnTo>
                    <a:pt x="648" y="1020"/>
                  </a:lnTo>
                  <a:lnTo>
                    <a:pt x="630" y="1020"/>
                  </a:lnTo>
                  <a:lnTo>
                    <a:pt x="618" y="1020"/>
                  </a:lnTo>
                  <a:lnTo>
                    <a:pt x="606" y="1014"/>
                  </a:lnTo>
                  <a:lnTo>
                    <a:pt x="582" y="1014"/>
                  </a:lnTo>
                  <a:lnTo>
                    <a:pt x="576" y="1014"/>
                  </a:lnTo>
                  <a:lnTo>
                    <a:pt x="570" y="1014"/>
                  </a:lnTo>
                  <a:lnTo>
                    <a:pt x="564" y="1020"/>
                  </a:lnTo>
                  <a:lnTo>
                    <a:pt x="558" y="1026"/>
                  </a:lnTo>
                  <a:lnTo>
                    <a:pt x="552" y="1032"/>
                  </a:lnTo>
                  <a:lnTo>
                    <a:pt x="552" y="1038"/>
                  </a:lnTo>
                  <a:lnTo>
                    <a:pt x="558" y="1194"/>
                  </a:lnTo>
                  <a:lnTo>
                    <a:pt x="558" y="1206"/>
                  </a:lnTo>
                  <a:lnTo>
                    <a:pt x="552" y="1218"/>
                  </a:lnTo>
                  <a:lnTo>
                    <a:pt x="552" y="1236"/>
                  </a:lnTo>
                  <a:lnTo>
                    <a:pt x="546" y="1272"/>
                  </a:lnTo>
                  <a:lnTo>
                    <a:pt x="546" y="1308"/>
                  </a:lnTo>
                  <a:lnTo>
                    <a:pt x="540" y="1332"/>
                  </a:lnTo>
                  <a:lnTo>
                    <a:pt x="546" y="1356"/>
                  </a:lnTo>
                  <a:lnTo>
                    <a:pt x="546" y="1362"/>
                  </a:lnTo>
                  <a:lnTo>
                    <a:pt x="546" y="1374"/>
                  </a:lnTo>
                  <a:lnTo>
                    <a:pt x="546" y="1380"/>
                  </a:lnTo>
                  <a:lnTo>
                    <a:pt x="540" y="1380"/>
                  </a:lnTo>
                  <a:lnTo>
                    <a:pt x="522" y="1380"/>
                  </a:lnTo>
                  <a:lnTo>
                    <a:pt x="516" y="1380"/>
                  </a:lnTo>
                  <a:lnTo>
                    <a:pt x="516" y="1386"/>
                  </a:lnTo>
                  <a:lnTo>
                    <a:pt x="516" y="1392"/>
                  </a:lnTo>
                  <a:lnTo>
                    <a:pt x="510" y="1392"/>
                  </a:lnTo>
                  <a:lnTo>
                    <a:pt x="504" y="1386"/>
                  </a:lnTo>
                  <a:lnTo>
                    <a:pt x="498" y="1392"/>
                  </a:lnTo>
                  <a:lnTo>
                    <a:pt x="492" y="1398"/>
                  </a:lnTo>
                  <a:lnTo>
                    <a:pt x="486" y="1398"/>
                  </a:lnTo>
                  <a:lnTo>
                    <a:pt x="486" y="1392"/>
                  </a:lnTo>
                  <a:lnTo>
                    <a:pt x="486" y="1380"/>
                  </a:lnTo>
                  <a:lnTo>
                    <a:pt x="486" y="1374"/>
                  </a:lnTo>
                  <a:lnTo>
                    <a:pt x="480" y="1374"/>
                  </a:lnTo>
                  <a:lnTo>
                    <a:pt x="474" y="1374"/>
                  </a:lnTo>
                  <a:lnTo>
                    <a:pt x="468" y="1380"/>
                  </a:lnTo>
                  <a:lnTo>
                    <a:pt x="462" y="1380"/>
                  </a:lnTo>
                  <a:lnTo>
                    <a:pt x="456" y="1380"/>
                  </a:lnTo>
                  <a:lnTo>
                    <a:pt x="450" y="1386"/>
                  </a:lnTo>
                  <a:lnTo>
                    <a:pt x="444" y="1386"/>
                  </a:lnTo>
                  <a:lnTo>
                    <a:pt x="444" y="1392"/>
                  </a:lnTo>
                  <a:lnTo>
                    <a:pt x="432" y="1398"/>
                  </a:lnTo>
                  <a:lnTo>
                    <a:pt x="426" y="1404"/>
                  </a:lnTo>
                  <a:lnTo>
                    <a:pt x="420" y="1404"/>
                  </a:lnTo>
                  <a:lnTo>
                    <a:pt x="408" y="1404"/>
                  </a:lnTo>
                  <a:lnTo>
                    <a:pt x="378" y="1410"/>
                  </a:lnTo>
                  <a:lnTo>
                    <a:pt x="372" y="1410"/>
                  </a:lnTo>
                  <a:lnTo>
                    <a:pt x="360" y="1410"/>
                  </a:lnTo>
                  <a:lnTo>
                    <a:pt x="354" y="1416"/>
                  </a:lnTo>
                  <a:lnTo>
                    <a:pt x="348" y="1416"/>
                  </a:lnTo>
                  <a:lnTo>
                    <a:pt x="342" y="1410"/>
                  </a:lnTo>
                  <a:lnTo>
                    <a:pt x="336" y="1410"/>
                  </a:lnTo>
                  <a:lnTo>
                    <a:pt x="336" y="1416"/>
                  </a:lnTo>
                  <a:lnTo>
                    <a:pt x="330" y="1422"/>
                  </a:lnTo>
                  <a:lnTo>
                    <a:pt x="324" y="1422"/>
                  </a:lnTo>
                  <a:lnTo>
                    <a:pt x="318" y="1422"/>
                  </a:lnTo>
                  <a:lnTo>
                    <a:pt x="312" y="1428"/>
                  </a:lnTo>
                  <a:lnTo>
                    <a:pt x="312" y="1434"/>
                  </a:lnTo>
                  <a:lnTo>
                    <a:pt x="300" y="1428"/>
                  </a:lnTo>
                  <a:lnTo>
                    <a:pt x="288" y="1434"/>
                  </a:lnTo>
                  <a:lnTo>
                    <a:pt x="282" y="1440"/>
                  </a:lnTo>
                  <a:lnTo>
                    <a:pt x="282" y="1446"/>
                  </a:lnTo>
                  <a:lnTo>
                    <a:pt x="276" y="1446"/>
                  </a:lnTo>
                  <a:lnTo>
                    <a:pt x="276" y="1452"/>
                  </a:lnTo>
                  <a:lnTo>
                    <a:pt x="270" y="1452"/>
                  </a:lnTo>
                  <a:lnTo>
                    <a:pt x="258" y="1464"/>
                  </a:lnTo>
                  <a:lnTo>
                    <a:pt x="240" y="1458"/>
                  </a:lnTo>
                  <a:lnTo>
                    <a:pt x="234" y="1452"/>
                  </a:lnTo>
                  <a:lnTo>
                    <a:pt x="234" y="1446"/>
                  </a:lnTo>
                  <a:lnTo>
                    <a:pt x="228" y="1446"/>
                  </a:lnTo>
                  <a:lnTo>
                    <a:pt x="222" y="1440"/>
                  </a:lnTo>
                  <a:lnTo>
                    <a:pt x="216" y="1440"/>
                  </a:lnTo>
                  <a:lnTo>
                    <a:pt x="210" y="1428"/>
                  </a:lnTo>
                  <a:lnTo>
                    <a:pt x="210" y="1422"/>
                  </a:lnTo>
                  <a:lnTo>
                    <a:pt x="198" y="1416"/>
                  </a:lnTo>
                  <a:lnTo>
                    <a:pt x="204" y="1410"/>
                  </a:lnTo>
                  <a:lnTo>
                    <a:pt x="210" y="1404"/>
                  </a:lnTo>
                  <a:lnTo>
                    <a:pt x="210" y="1398"/>
                  </a:lnTo>
                  <a:lnTo>
                    <a:pt x="252" y="1368"/>
                  </a:lnTo>
                  <a:lnTo>
                    <a:pt x="276" y="1350"/>
                  </a:lnTo>
                  <a:lnTo>
                    <a:pt x="300" y="1338"/>
                  </a:lnTo>
                  <a:lnTo>
                    <a:pt x="294" y="1314"/>
                  </a:lnTo>
                  <a:lnTo>
                    <a:pt x="288" y="1308"/>
                  </a:lnTo>
                  <a:lnTo>
                    <a:pt x="300" y="1266"/>
                  </a:lnTo>
                  <a:lnTo>
                    <a:pt x="300" y="1242"/>
                  </a:lnTo>
                  <a:lnTo>
                    <a:pt x="300" y="1206"/>
                  </a:lnTo>
                  <a:lnTo>
                    <a:pt x="300" y="1164"/>
                  </a:lnTo>
                  <a:lnTo>
                    <a:pt x="294" y="1134"/>
                  </a:lnTo>
                  <a:lnTo>
                    <a:pt x="282" y="1086"/>
                  </a:lnTo>
                  <a:lnTo>
                    <a:pt x="276" y="1074"/>
                  </a:lnTo>
                  <a:lnTo>
                    <a:pt x="276" y="1056"/>
                  </a:lnTo>
                  <a:lnTo>
                    <a:pt x="270" y="1038"/>
                  </a:lnTo>
                  <a:lnTo>
                    <a:pt x="270" y="1020"/>
                  </a:lnTo>
                  <a:lnTo>
                    <a:pt x="282" y="1020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94" y="1002"/>
                  </a:lnTo>
                  <a:lnTo>
                    <a:pt x="306" y="996"/>
                  </a:lnTo>
                  <a:lnTo>
                    <a:pt x="312" y="990"/>
                  </a:lnTo>
                  <a:lnTo>
                    <a:pt x="318" y="990"/>
                  </a:lnTo>
                  <a:lnTo>
                    <a:pt x="324" y="984"/>
                  </a:lnTo>
                  <a:lnTo>
                    <a:pt x="324" y="978"/>
                  </a:lnTo>
                  <a:lnTo>
                    <a:pt x="324" y="972"/>
                  </a:lnTo>
                  <a:lnTo>
                    <a:pt x="324" y="954"/>
                  </a:lnTo>
                  <a:lnTo>
                    <a:pt x="336" y="948"/>
                  </a:lnTo>
                  <a:lnTo>
                    <a:pt x="342" y="936"/>
                  </a:lnTo>
                  <a:lnTo>
                    <a:pt x="348" y="924"/>
                  </a:lnTo>
                  <a:lnTo>
                    <a:pt x="354" y="924"/>
                  </a:lnTo>
                  <a:lnTo>
                    <a:pt x="372" y="924"/>
                  </a:lnTo>
                  <a:lnTo>
                    <a:pt x="372" y="930"/>
                  </a:lnTo>
                  <a:lnTo>
                    <a:pt x="378" y="930"/>
                  </a:lnTo>
                  <a:lnTo>
                    <a:pt x="378" y="936"/>
                  </a:lnTo>
                  <a:lnTo>
                    <a:pt x="384" y="936"/>
                  </a:lnTo>
                  <a:lnTo>
                    <a:pt x="384" y="942"/>
                  </a:lnTo>
                  <a:lnTo>
                    <a:pt x="402" y="942"/>
                  </a:lnTo>
                  <a:lnTo>
                    <a:pt x="402" y="996"/>
                  </a:lnTo>
                  <a:lnTo>
                    <a:pt x="414" y="996"/>
                  </a:lnTo>
                  <a:lnTo>
                    <a:pt x="420" y="996"/>
                  </a:lnTo>
                  <a:lnTo>
                    <a:pt x="426" y="996"/>
                  </a:lnTo>
                  <a:lnTo>
                    <a:pt x="432" y="996"/>
                  </a:lnTo>
                  <a:lnTo>
                    <a:pt x="438" y="996"/>
                  </a:lnTo>
                  <a:lnTo>
                    <a:pt x="438" y="942"/>
                  </a:lnTo>
                  <a:lnTo>
                    <a:pt x="444" y="930"/>
                  </a:lnTo>
                  <a:lnTo>
                    <a:pt x="444" y="924"/>
                  </a:lnTo>
                  <a:lnTo>
                    <a:pt x="444" y="918"/>
                  </a:lnTo>
                  <a:lnTo>
                    <a:pt x="462" y="918"/>
                  </a:lnTo>
                  <a:lnTo>
                    <a:pt x="474" y="906"/>
                  </a:lnTo>
                  <a:lnTo>
                    <a:pt x="480" y="900"/>
                  </a:lnTo>
                  <a:lnTo>
                    <a:pt x="486" y="888"/>
                  </a:lnTo>
                  <a:lnTo>
                    <a:pt x="492" y="876"/>
                  </a:lnTo>
                  <a:lnTo>
                    <a:pt x="492" y="858"/>
                  </a:lnTo>
                  <a:lnTo>
                    <a:pt x="480" y="858"/>
                  </a:lnTo>
                  <a:lnTo>
                    <a:pt x="474" y="840"/>
                  </a:lnTo>
                  <a:lnTo>
                    <a:pt x="450" y="834"/>
                  </a:lnTo>
                  <a:lnTo>
                    <a:pt x="438" y="816"/>
                  </a:lnTo>
                  <a:lnTo>
                    <a:pt x="432" y="792"/>
                  </a:lnTo>
                  <a:lnTo>
                    <a:pt x="432" y="786"/>
                  </a:lnTo>
                  <a:lnTo>
                    <a:pt x="432" y="774"/>
                  </a:lnTo>
                  <a:lnTo>
                    <a:pt x="432" y="762"/>
                  </a:lnTo>
                  <a:lnTo>
                    <a:pt x="438" y="750"/>
                  </a:lnTo>
                  <a:lnTo>
                    <a:pt x="438" y="738"/>
                  </a:lnTo>
                  <a:lnTo>
                    <a:pt x="444" y="732"/>
                  </a:lnTo>
                  <a:lnTo>
                    <a:pt x="450" y="732"/>
                  </a:lnTo>
                  <a:lnTo>
                    <a:pt x="456" y="732"/>
                  </a:lnTo>
                  <a:lnTo>
                    <a:pt x="456" y="726"/>
                  </a:lnTo>
                  <a:lnTo>
                    <a:pt x="456" y="714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44" y="684"/>
                  </a:lnTo>
                  <a:lnTo>
                    <a:pt x="438" y="666"/>
                  </a:lnTo>
                  <a:lnTo>
                    <a:pt x="426" y="666"/>
                  </a:lnTo>
                  <a:lnTo>
                    <a:pt x="432" y="666"/>
                  </a:lnTo>
                  <a:lnTo>
                    <a:pt x="420" y="666"/>
                  </a:lnTo>
                  <a:lnTo>
                    <a:pt x="414" y="660"/>
                  </a:lnTo>
                  <a:lnTo>
                    <a:pt x="396" y="654"/>
                  </a:lnTo>
                  <a:lnTo>
                    <a:pt x="384" y="642"/>
                  </a:lnTo>
                  <a:lnTo>
                    <a:pt x="366" y="624"/>
                  </a:lnTo>
                  <a:lnTo>
                    <a:pt x="354" y="606"/>
                  </a:lnTo>
                  <a:lnTo>
                    <a:pt x="342" y="588"/>
                  </a:lnTo>
                  <a:lnTo>
                    <a:pt x="342" y="582"/>
                  </a:lnTo>
                  <a:lnTo>
                    <a:pt x="360" y="564"/>
                  </a:lnTo>
                  <a:lnTo>
                    <a:pt x="372" y="540"/>
                  </a:lnTo>
                  <a:lnTo>
                    <a:pt x="366" y="528"/>
                  </a:lnTo>
                  <a:lnTo>
                    <a:pt x="366" y="522"/>
                  </a:lnTo>
                  <a:lnTo>
                    <a:pt x="372" y="516"/>
                  </a:lnTo>
                  <a:lnTo>
                    <a:pt x="384" y="504"/>
                  </a:lnTo>
                  <a:lnTo>
                    <a:pt x="378" y="492"/>
                  </a:lnTo>
                  <a:lnTo>
                    <a:pt x="378" y="486"/>
                  </a:lnTo>
                  <a:lnTo>
                    <a:pt x="378" y="480"/>
                  </a:lnTo>
                  <a:lnTo>
                    <a:pt x="378" y="474"/>
                  </a:lnTo>
                  <a:lnTo>
                    <a:pt x="378" y="468"/>
                  </a:lnTo>
                  <a:lnTo>
                    <a:pt x="366" y="468"/>
                  </a:lnTo>
                  <a:lnTo>
                    <a:pt x="360" y="474"/>
                  </a:lnTo>
                  <a:lnTo>
                    <a:pt x="354" y="480"/>
                  </a:lnTo>
                  <a:lnTo>
                    <a:pt x="348" y="486"/>
                  </a:lnTo>
                  <a:lnTo>
                    <a:pt x="348" y="492"/>
                  </a:lnTo>
                  <a:lnTo>
                    <a:pt x="336" y="510"/>
                  </a:lnTo>
                  <a:lnTo>
                    <a:pt x="300" y="516"/>
                  </a:lnTo>
                  <a:lnTo>
                    <a:pt x="300" y="510"/>
                  </a:lnTo>
                  <a:lnTo>
                    <a:pt x="282" y="504"/>
                  </a:lnTo>
                  <a:lnTo>
                    <a:pt x="282" y="498"/>
                  </a:lnTo>
                  <a:lnTo>
                    <a:pt x="264" y="486"/>
                  </a:lnTo>
                  <a:lnTo>
                    <a:pt x="258" y="492"/>
                  </a:lnTo>
                  <a:lnTo>
                    <a:pt x="234" y="492"/>
                  </a:lnTo>
                  <a:lnTo>
                    <a:pt x="222" y="486"/>
                  </a:lnTo>
                  <a:lnTo>
                    <a:pt x="204" y="480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92" y="462"/>
                  </a:lnTo>
                  <a:lnTo>
                    <a:pt x="186" y="462"/>
                  </a:lnTo>
                  <a:lnTo>
                    <a:pt x="180" y="468"/>
                  </a:lnTo>
                  <a:lnTo>
                    <a:pt x="150" y="450"/>
                  </a:lnTo>
                  <a:lnTo>
                    <a:pt x="144" y="438"/>
                  </a:lnTo>
                  <a:lnTo>
                    <a:pt x="138" y="438"/>
                  </a:lnTo>
                  <a:lnTo>
                    <a:pt x="132" y="432"/>
                  </a:lnTo>
                  <a:lnTo>
                    <a:pt x="126" y="432"/>
                  </a:lnTo>
                  <a:lnTo>
                    <a:pt x="120" y="432"/>
                  </a:lnTo>
                  <a:lnTo>
                    <a:pt x="102" y="426"/>
                  </a:lnTo>
                  <a:lnTo>
                    <a:pt x="96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2" y="414"/>
                  </a:lnTo>
                  <a:lnTo>
                    <a:pt x="60" y="414"/>
                  </a:lnTo>
                  <a:lnTo>
                    <a:pt x="30" y="414"/>
                  </a:lnTo>
                  <a:lnTo>
                    <a:pt x="24" y="414"/>
                  </a:lnTo>
                  <a:lnTo>
                    <a:pt x="12" y="414"/>
                  </a:lnTo>
                  <a:lnTo>
                    <a:pt x="0" y="420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0" y="336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30" y="270"/>
                  </a:lnTo>
                  <a:lnTo>
                    <a:pt x="42" y="270"/>
                  </a:lnTo>
                  <a:lnTo>
                    <a:pt x="54" y="264"/>
                  </a:lnTo>
                  <a:lnTo>
                    <a:pt x="78" y="240"/>
                  </a:lnTo>
                  <a:lnTo>
                    <a:pt x="102" y="216"/>
                  </a:lnTo>
                  <a:lnTo>
                    <a:pt x="114" y="210"/>
                  </a:lnTo>
                  <a:lnTo>
                    <a:pt x="120" y="204"/>
                  </a:lnTo>
                  <a:lnTo>
                    <a:pt x="126" y="198"/>
                  </a:lnTo>
                  <a:lnTo>
                    <a:pt x="138" y="18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38"/>
                  </a:lnTo>
                  <a:lnTo>
                    <a:pt x="210" y="126"/>
                  </a:lnTo>
                  <a:lnTo>
                    <a:pt x="216" y="120"/>
                  </a:lnTo>
                  <a:lnTo>
                    <a:pt x="222" y="120"/>
                  </a:lnTo>
                  <a:lnTo>
                    <a:pt x="258" y="114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300" y="102"/>
                  </a:lnTo>
                  <a:lnTo>
                    <a:pt x="312" y="102"/>
                  </a:lnTo>
                  <a:lnTo>
                    <a:pt x="318" y="102"/>
                  </a:lnTo>
                  <a:lnTo>
                    <a:pt x="348" y="96"/>
                  </a:lnTo>
                  <a:lnTo>
                    <a:pt x="366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408" y="84"/>
                  </a:lnTo>
                  <a:lnTo>
                    <a:pt x="420" y="84"/>
                  </a:lnTo>
                  <a:lnTo>
                    <a:pt x="462" y="72"/>
                  </a:lnTo>
                  <a:lnTo>
                    <a:pt x="474" y="72"/>
                  </a:lnTo>
                  <a:lnTo>
                    <a:pt x="474" y="78"/>
                  </a:lnTo>
                  <a:lnTo>
                    <a:pt x="492" y="90"/>
                  </a:lnTo>
                  <a:lnTo>
                    <a:pt x="498" y="90"/>
                  </a:lnTo>
                  <a:lnTo>
                    <a:pt x="522" y="96"/>
                  </a:lnTo>
                  <a:lnTo>
                    <a:pt x="540" y="96"/>
                  </a:lnTo>
                  <a:lnTo>
                    <a:pt x="546" y="96"/>
                  </a:lnTo>
                  <a:lnTo>
                    <a:pt x="558" y="96"/>
                  </a:lnTo>
                  <a:lnTo>
                    <a:pt x="564" y="96"/>
                  </a:lnTo>
                  <a:lnTo>
                    <a:pt x="576" y="96"/>
                  </a:lnTo>
                  <a:lnTo>
                    <a:pt x="588" y="96"/>
                  </a:lnTo>
                  <a:lnTo>
                    <a:pt x="612" y="90"/>
                  </a:lnTo>
                  <a:lnTo>
                    <a:pt x="624" y="90"/>
                  </a:lnTo>
                  <a:lnTo>
                    <a:pt x="636" y="90"/>
                  </a:lnTo>
                  <a:lnTo>
                    <a:pt x="642" y="90"/>
                  </a:lnTo>
                  <a:lnTo>
                    <a:pt x="648" y="96"/>
                  </a:lnTo>
                  <a:lnTo>
                    <a:pt x="660" y="96"/>
                  </a:lnTo>
                  <a:lnTo>
                    <a:pt x="666" y="96"/>
                  </a:lnTo>
                  <a:lnTo>
                    <a:pt x="672" y="96"/>
                  </a:lnTo>
                  <a:lnTo>
                    <a:pt x="684" y="96"/>
                  </a:lnTo>
                  <a:lnTo>
                    <a:pt x="708" y="96"/>
                  </a:lnTo>
                  <a:lnTo>
                    <a:pt x="714" y="96"/>
                  </a:lnTo>
                  <a:lnTo>
                    <a:pt x="726" y="96"/>
                  </a:lnTo>
                  <a:lnTo>
                    <a:pt x="738" y="84"/>
                  </a:lnTo>
                  <a:lnTo>
                    <a:pt x="744" y="78"/>
                  </a:lnTo>
                  <a:lnTo>
                    <a:pt x="756" y="66"/>
                  </a:lnTo>
                  <a:lnTo>
                    <a:pt x="774" y="42"/>
                  </a:lnTo>
                  <a:lnTo>
                    <a:pt x="780" y="30"/>
                  </a:lnTo>
                  <a:lnTo>
                    <a:pt x="816" y="24"/>
                  </a:lnTo>
                  <a:lnTo>
                    <a:pt x="840" y="18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64" y="6"/>
                  </a:lnTo>
                  <a:lnTo>
                    <a:pt x="870" y="6"/>
                  </a:lnTo>
                  <a:lnTo>
                    <a:pt x="894" y="0"/>
                  </a:lnTo>
                  <a:lnTo>
                    <a:pt x="900" y="6"/>
                  </a:lnTo>
                  <a:lnTo>
                    <a:pt x="930" y="18"/>
                  </a:lnTo>
                  <a:lnTo>
                    <a:pt x="942" y="24"/>
                  </a:lnTo>
                  <a:lnTo>
                    <a:pt x="954" y="30"/>
                  </a:lnTo>
                  <a:lnTo>
                    <a:pt x="1026" y="60"/>
                  </a:lnTo>
                  <a:lnTo>
                    <a:pt x="1032" y="60"/>
                  </a:lnTo>
                  <a:lnTo>
                    <a:pt x="1038" y="66"/>
                  </a:lnTo>
                  <a:lnTo>
                    <a:pt x="1068" y="72"/>
                  </a:lnTo>
                  <a:lnTo>
                    <a:pt x="1098" y="84"/>
                  </a:lnTo>
                  <a:lnTo>
                    <a:pt x="1122" y="90"/>
                  </a:lnTo>
                  <a:lnTo>
                    <a:pt x="1122" y="96"/>
                  </a:lnTo>
                  <a:lnTo>
                    <a:pt x="1140" y="102"/>
                  </a:lnTo>
                  <a:lnTo>
                    <a:pt x="1182" y="114"/>
                  </a:lnTo>
                  <a:lnTo>
                    <a:pt x="1188" y="114"/>
                  </a:lnTo>
                  <a:lnTo>
                    <a:pt x="1200" y="120"/>
                  </a:lnTo>
                  <a:lnTo>
                    <a:pt x="1212" y="126"/>
                  </a:lnTo>
                  <a:lnTo>
                    <a:pt x="1224" y="126"/>
                  </a:lnTo>
                  <a:lnTo>
                    <a:pt x="1248" y="138"/>
                  </a:lnTo>
                  <a:lnTo>
                    <a:pt x="1272" y="150"/>
                  </a:lnTo>
                  <a:lnTo>
                    <a:pt x="1284" y="156"/>
                  </a:lnTo>
                  <a:lnTo>
                    <a:pt x="1290" y="162"/>
                  </a:lnTo>
                  <a:lnTo>
                    <a:pt x="1296" y="162"/>
                  </a:lnTo>
                  <a:lnTo>
                    <a:pt x="1308" y="156"/>
                  </a:lnTo>
                  <a:lnTo>
                    <a:pt x="1320" y="150"/>
                  </a:lnTo>
                  <a:lnTo>
                    <a:pt x="1326" y="150"/>
                  </a:lnTo>
                  <a:lnTo>
                    <a:pt x="1338" y="144"/>
                  </a:lnTo>
                  <a:lnTo>
                    <a:pt x="1362" y="144"/>
                  </a:lnTo>
                  <a:lnTo>
                    <a:pt x="1368" y="144"/>
                  </a:lnTo>
                  <a:lnTo>
                    <a:pt x="1374" y="144"/>
                  </a:lnTo>
                  <a:lnTo>
                    <a:pt x="1386" y="150"/>
                  </a:lnTo>
                  <a:lnTo>
                    <a:pt x="1392" y="150"/>
                  </a:lnTo>
                  <a:lnTo>
                    <a:pt x="1398" y="150"/>
                  </a:lnTo>
                  <a:lnTo>
                    <a:pt x="1416" y="162"/>
                  </a:lnTo>
                  <a:lnTo>
                    <a:pt x="1458" y="186"/>
                  </a:lnTo>
                  <a:lnTo>
                    <a:pt x="1464" y="186"/>
                  </a:lnTo>
                  <a:lnTo>
                    <a:pt x="1470" y="192"/>
                  </a:lnTo>
                  <a:lnTo>
                    <a:pt x="1482" y="204"/>
                  </a:lnTo>
                  <a:lnTo>
                    <a:pt x="1512" y="234"/>
                  </a:lnTo>
                  <a:lnTo>
                    <a:pt x="1554" y="276"/>
                  </a:lnTo>
                  <a:lnTo>
                    <a:pt x="1560" y="276"/>
                  </a:lnTo>
                  <a:lnTo>
                    <a:pt x="1566" y="282"/>
                  </a:lnTo>
                  <a:lnTo>
                    <a:pt x="1578" y="294"/>
                  </a:lnTo>
                  <a:lnTo>
                    <a:pt x="1602" y="318"/>
                  </a:lnTo>
                  <a:lnTo>
                    <a:pt x="1614" y="330"/>
                  </a:lnTo>
                  <a:lnTo>
                    <a:pt x="1620" y="336"/>
                  </a:lnTo>
                  <a:lnTo>
                    <a:pt x="1626" y="342"/>
                  </a:lnTo>
                  <a:lnTo>
                    <a:pt x="1632" y="354"/>
                  </a:lnTo>
                  <a:lnTo>
                    <a:pt x="1644" y="366"/>
                  </a:lnTo>
                  <a:lnTo>
                    <a:pt x="1650" y="378"/>
                  </a:lnTo>
                  <a:lnTo>
                    <a:pt x="1650" y="384"/>
                  </a:lnTo>
                  <a:lnTo>
                    <a:pt x="1656" y="384"/>
                  </a:lnTo>
                  <a:lnTo>
                    <a:pt x="1662" y="402"/>
                  </a:lnTo>
                  <a:lnTo>
                    <a:pt x="1668" y="408"/>
                  </a:lnTo>
                  <a:lnTo>
                    <a:pt x="1674" y="426"/>
                  </a:lnTo>
                  <a:lnTo>
                    <a:pt x="1686" y="438"/>
                  </a:lnTo>
                  <a:lnTo>
                    <a:pt x="1698" y="46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9" name="Freeform 34">
              <a:extLst>
                <a:ext uri="{FF2B5EF4-FFF2-40B4-BE49-F238E27FC236}">
                  <a16:creationId xmlns:a16="http://schemas.microsoft.com/office/drawing/2014/main" id="{94603F24-8CF7-4226-A433-00D18CA7D9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1988" y="1681402"/>
              <a:ext cx="869877" cy="1060101"/>
            </a:xfrm>
            <a:custGeom>
              <a:avLst/>
              <a:gdLst>
                <a:gd name="T0" fmla="*/ 4 w 1638"/>
                <a:gd name="T1" fmla="*/ 111 h 1998"/>
                <a:gd name="T2" fmla="*/ 6 w 1638"/>
                <a:gd name="T3" fmla="*/ 87 h 1998"/>
                <a:gd name="T4" fmla="*/ 10 w 1638"/>
                <a:gd name="T5" fmla="*/ 80 h 1998"/>
                <a:gd name="T6" fmla="*/ 10 w 1638"/>
                <a:gd name="T7" fmla="*/ 71 h 1998"/>
                <a:gd name="T8" fmla="*/ 9 w 1638"/>
                <a:gd name="T9" fmla="*/ 56 h 1998"/>
                <a:gd name="T10" fmla="*/ 8 w 1638"/>
                <a:gd name="T11" fmla="*/ 40 h 1998"/>
                <a:gd name="T12" fmla="*/ 20 w 1638"/>
                <a:gd name="T13" fmla="*/ 30 h 1998"/>
                <a:gd name="T14" fmla="*/ 30 w 1638"/>
                <a:gd name="T15" fmla="*/ 19 h 1998"/>
                <a:gd name="T16" fmla="*/ 35 w 1638"/>
                <a:gd name="T17" fmla="*/ 2 h 1998"/>
                <a:gd name="T18" fmla="*/ 47 w 1638"/>
                <a:gd name="T19" fmla="*/ 2 h 1998"/>
                <a:gd name="T20" fmla="*/ 56 w 1638"/>
                <a:gd name="T21" fmla="*/ 7 h 1998"/>
                <a:gd name="T22" fmla="*/ 67 w 1638"/>
                <a:gd name="T23" fmla="*/ 5 h 1998"/>
                <a:gd name="T24" fmla="*/ 65 w 1638"/>
                <a:gd name="T25" fmla="*/ 15 h 1998"/>
                <a:gd name="T26" fmla="*/ 74 w 1638"/>
                <a:gd name="T27" fmla="*/ 24 h 1998"/>
                <a:gd name="T28" fmla="*/ 73 w 1638"/>
                <a:gd name="T29" fmla="*/ 33 h 1998"/>
                <a:gd name="T30" fmla="*/ 74 w 1638"/>
                <a:gd name="T31" fmla="*/ 44 h 1998"/>
                <a:gd name="T32" fmla="*/ 68 w 1638"/>
                <a:gd name="T33" fmla="*/ 45 h 1998"/>
                <a:gd name="T34" fmla="*/ 63 w 1638"/>
                <a:gd name="T35" fmla="*/ 50 h 1998"/>
                <a:gd name="T36" fmla="*/ 61 w 1638"/>
                <a:gd name="T37" fmla="*/ 62 h 1998"/>
                <a:gd name="T38" fmla="*/ 53 w 1638"/>
                <a:gd name="T39" fmla="*/ 86 h 1998"/>
                <a:gd name="T40" fmla="*/ 59 w 1638"/>
                <a:gd name="T41" fmla="*/ 90 h 1998"/>
                <a:gd name="T42" fmla="*/ 65 w 1638"/>
                <a:gd name="T43" fmla="*/ 86 h 1998"/>
                <a:gd name="T44" fmla="*/ 74 w 1638"/>
                <a:gd name="T45" fmla="*/ 84 h 1998"/>
                <a:gd name="T46" fmla="*/ 79 w 1638"/>
                <a:gd name="T47" fmla="*/ 85 h 1998"/>
                <a:gd name="T48" fmla="*/ 84 w 1638"/>
                <a:gd name="T49" fmla="*/ 84 h 1998"/>
                <a:gd name="T50" fmla="*/ 91 w 1638"/>
                <a:gd name="T51" fmla="*/ 84 h 1998"/>
                <a:gd name="T52" fmla="*/ 94 w 1638"/>
                <a:gd name="T53" fmla="*/ 81 h 1998"/>
                <a:gd name="T54" fmla="*/ 100 w 1638"/>
                <a:gd name="T55" fmla="*/ 81 h 1998"/>
                <a:gd name="T56" fmla="*/ 102 w 1638"/>
                <a:gd name="T57" fmla="*/ 84 h 1998"/>
                <a:gd name="T58" fmla="*/ 108 w 1638"/>
                <a:gd name="T59" fmla="*/ 85 h 1998"/>
                <a:gd name="T60" fmla="*/ 113 w 1638"/>
                <a:gd name="T61" fmla="*/ 88 h 1998"/>
                <a:gd name="T62" fmla="*/ 116 w 1638"/>
                <a:gd name="T63" fmla="*/ 88 h 1998"/>
                <a:gd name="T64" fmla="*/ 123 w 1638"/>
                <a:gd name="T65" fmla="*/ 87 h 1998"/>
                <a:gd name="T66" fmla="*/ 128 w 1638"/>
                <a:gd name="T67" fmla="*/ 86 h 1998"/>
                <a:gd name="T68" fmla="*/ 132 w 1638"/>
                <a:gd name="T69" fmla="*/ 90 h 1998"/>
                <a:gd name="T70" fmla="*/ 138 w 1638"/>
                <a:gd name="T71" fmla="*/ 96 h 1998"/>
                <a:gd name="T72" fmla="*/ 138 w 1638"/>
                <a:gd name="T73" fmla="*/ 110 h 1998"/>
                <a:gd name="T74" fmla="*/ 137 w 1638"/>
                <a:gd name="T75" fmla="*/ 118 h 1998"/>
                <a:gd name="T76" fmla="*/ 133 w 1638"/>
                <a:gd name="T77" fmla="*/ 124 h 1998"/>
                <a:gd name="T78" fmla="*/ 122 w 1638"/>
                <a:gd name="T79" fmla="*/ 125 h 1998"/>
                <a:gd name="T80" fmla="*/ 116 w 1638"/>
                <a:gd name="T81" fmla="*/ 127 h 1998"/>
                <a:gd name="T82" fmla="*/ 108 w 1638"/>
                <a:gd name="T83" fmla="*/ 123 h 1998"/>
                <a:gd name="T84" fmla="*/ 109 w 1638"/>
                <a:gd name="T85" fmla="*/ 119 h 1998"/>
                <a:gd name="T86" fmla="*/ 104 w 1638"/>
                <a:gd name="T87" fmla="*/ 104 h 1998"/>
                <a:gd name="T88" fmla="*/ 94 w 1638"/>
                <a:gd name="T89" fmla="*/ 105 h 1998"/>
                <a:gd name="T90" fmla="*/ 88 w 1638"/>
                <a:gd name="T91" fmla="*/ 109 h 1998"/>
                <a:gd name="T92" fmla="*/ 76 w 1638"/>
                <a:gd name="T93" fmla="*/ 107 h 1998"/>
                <a:gd name="T94" fmla="*/ 72 w 1638"/>
                <a:gd name="T95" fmla="*/ 114 h 1998"/>
                <a:gd name="T96" fmla="*/ 86 w 1638"/>
                <a:gd name="T97" fmla="*/ 121 h 1998"/>
                <a:gd name="T98" fmla="*/ 87 w 1638"/>
                <a:gd name="T99" fmla="*/ 129 h 1998"/>
                <a:gd name="T100" fmla="*/ 86 w 1638"/>
                <a:gd name="T101" fmla="*/ 137 h 1998"/>
                <a:gd name="T102" fmla="*/ 79 w 1638"/>
                <a:gd name="T103" fmla="*/ 141 h 1998"/>
                <a:gd name="T104" fmla="*/ 73 w 1638"/>
                <a:gd name="T105" fmla="*/ 144 h 1998"/>
                <a:gd name="T106" fmla="*/ 72 w 1638"/>
                <a:gd name="T107" fmla="*/ 164 h 1998"/>
                <a:gd name="T108" fmla="*/ 68 w 1638"/>
                <a:gd name="T109" fmla="*/ 172 h 1998"/>
                <a:gd name="T110" fmla="*/ 59 w 1638"/>
                <a:gd name="T111" fmla="*/ 164 h 1998"/>
                <a:gd name="T112" fmla="*/ 65 w 1638"/>
                <a:gd name="T113" fmla="*/ 146 h 1998"/>
                <a:gd name="T114" fmla="*/ 69 w 1638"/>
                <a:gd name="T115" fmla="*/ 133 h 1998"/>
                <a:gd name="T116" fmla="*/ 61 w 1638"/>
                <a:gd name="T117" fmla="*/ 131 h 1998"/>
                <a:gd name="T118" fmla="*/ 43 w 1638"/>
                <a:gd name="T119" fmla="*/ 125 h 1998"/>
                <a:gd name="T120" fmla="*/ 23 w 1638"/>
                <a:gd name="T121" fmla="*/ 125 h 1998"/>
                <a:gd name="T122" fmla="*/ 17 w 1638"/>
                <a:gd name="T123" fmla="*/ 121 h 19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638"/>
                <a:gd name="T187" fmla="*/ 0 h 1998"/>
                <a:gd name="T188" fmla="*/ 1638 w 1638"/>
                <a:gd name="T189" fmla="*/ 1998 h 19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638" h="1998">
                  <a:moveTo>
                    <a:pt x="144" y="1380"/>
                  </a:moveTo>
                  <a:lnTo>
                    <a:pt x="150" y="1368"/>
                  </a:lnTo>
                  <a:lnTo>
                    <a:pt x="150" y="1362"/>
                  </a:lnTo>
                  <a:lnTo>
                    <a:pt x="150" y="1356"/>
                  </a:lnTo>
                  <a:lnTo>
                    <a:pt x="144" y="1356"/>
                  </a:lnTo>
                  <a:lnTo>
                    <a:pt x="138" y="1356"/>
                  </a:lnTo>
                  <a:lnTo>
                    <a:pt x="126" y="1356"/>
                  </a:lnTo>
                  <a:lnTo>
                    <a:pt x="114" y="1344"/>
                  </a:lnTo>
                  <a:lnTo>
                    <a:pt x="84" y="1320"/>
                  </a:lnTo>
                  <a:lnTo>
                    <a:pt x="54" y="1296"/>
                  </a:lnTo>
                  <a:lnTo>
                    <a:pt x="48" y="1290"/>
                  </a:lnTo>
                  <a:lnTo>
                    <a:pt x="42" y="1278"/>
                  </a:lnTo>
                  <a:lnTo>
                    <a:pt x="30" y="1272"/>
                  </a:lnTo>
                  <a:lnTo>
                    <a:pt x="0" y="1248"/>
                  </a:lnTo>
                  <a:lnTo>
                    <a:pt x="6" y="1230"/>
                  </a:lnTo>
                  <a:lnTo>
                    <a:pt x="12" y="1194"/>
                  </a:lnTo>
                  <a:lnTo>
                    <a:pt x="18" y="1170"/>
                  </a:lnTo>
                  <a:lnTo>
                    <a:pt x="30" y="1134"/>
                  </a:lnTo>
                  <a:lnTo>
                    <a:pt x="36" y="1086"/>
                  </a:lnTo>
                  <a:lnTo>
                    <a:pt x="42" y="1050"/>
                  </a:lnTo>
                  <a:lnTo>
                    <a:pt x="48" y="1044"/>
                  </a:lnTo>
                  <a:lnTo>
                    <a:pt x="54" y="1026"/>
                  </a:lnTo>
                  <a:lnTo>
                    <a:pt x="60" y="1014"/>
                  </a:lnTo>
                  <a:lnTo>
                    <a:pt x="66" y="1002"/>
                  </a:lnTo>
                  <a:lnTo>
                    <a:pt x="66" y="996"/>
                  </a:lnTo>
                  <a:lnTo>
                    <a:pt x="72" y="996"/>
                  </a:lnTo>
                  <a:lnTo>
                    <a:pt x="72" y="990"/>
                  </a:lnTo>
                  <a:lnTo>
                    <a:pt x="78" y="990"/>
                  </a:lnTo>
                  <a:lnTo>
                    <a:pt x="90" y="978"/>
                  </a:lnTo>
                  <a:lnTo>
                    <a:pt x="96" y="966"/>
                  </a:lnTo>
                  <a:lnTo>
                    <a:pt x="102" y="966"/>
                  </a:lnTo>
                  <a:lnTo>
                    <a:pt x="114" y="954"/>
                  </a:lnTo>
                  <a:lnTo>
                    <a:pt x="120" y="954"/>
                  </a:lnTo>
                  <a:lnTo>
                    <a:pt x="120" y="948"/>
                  </a:lnTo>
                  <a:lnTo>
                    <a:pt x="114" y="930"/>
                  </a:lnTo>
                  <a:lnTo>
                    <a:pt x="114" y="924"/>
                  </a:lnTo>
                  <a:lnTo>
                    <a:pt x="108" y="918"/>
                  </a:lnTo>
                  <a:lnTo>
                    <a:pt x="102" y="912"/>
                  </a:lnTo>
                  <a:lnTo>
                    <a:pt x="90" y="906"/>
                  </a:lnTo>
                  <a:lnTo>
                    <a:pt x="84" y="900"/>
                  </a:lnTo>
                  <a:lnTo>
                    <a:pt x="84" y="888"/>
                  </a:lnTo>
                  <a:lnTo>
                    <a:pt x="84" y="882"/>
                  </a:lnTo>
                  <a:lnTo>
                    <a:pt x="78" y="858"/>
                  </a:lnTo>
                  <a:lnTo>
                    <a:pt x="78" y="852"/>
                  </a:lnTo>
                  <a:lnTo>
                    <a:pt x="84" y="846"/>
                  </a:lnTo>
                  <a:lnTo>
                    <a:pt x="84" y="840"/>
                  </a:lnTo>
                  <a:lnTo>
                    <a:pt x="96" y="828"/>
                  </a:lnTo>
                  <a:lnTo>
                    <a:pt x="114" y="816"/>
                  </a:lnTo>
                  <a:lnTo>
                    <a:pt x="114" y="810"/>
                  </a:lnTo>
                  <a:lnTo>
                    <a:pt x="114" y="804"/>
                  </a:lnTo>
                  <a:lnTo>
                    <a:pt x="108" y="780"/>
                  </a:lnTo>
                  <a:lnTo>
                    <a:pt x="96" y="756"/>
                  </a:lnTo>
                  <a:lnTo>
                    <a:pt x="96" y="750"/>
                  </a:lnTo>
                  <a:lnTo>
                    <a:pt x="90" y="720"/>
                  </a:lnTo>
                  <a:lnTo>
                    <a:pt x="90" y="708"/>
                  </a:lnTo>
                  <a:lnTo>
                    <a:pt x="90" y="690"/>
                  </a:lnTo>
                  <a:lnTo>
                    <a:pt x="96" y="672"/>
                  </a:lnTo>
                  <a:lnTo>
                    <a:pt x="90" y="666"/>
                  </a:lnTo>
                  <a:lnTo>
                    <a:pt x="96" y="666"/>
                  </a:lnTo>
                  <a:lnTo>
                    <a:pt x="102" y="642"/>
                  </a:lnTo>
                  <a:lnTo>
                    <a:pt x="108" y="624"/>
                  </a:lnTo>
                  <a:lnTo>
                    <a:pt x="102" y="618"/>
                  </a:lnTo>
                  <a:lnTo>
                    <a:pt x="102" y="588"/>
                  </a:lnTo>
                  <a:lnTo>
                    <a:pt x="102" y="564"/>
                  </a:lnTo>
                  <a:lnTo>
                    <a:pt x="102" y="546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0"/>
                  </a:lnTo>
                  <a:lnTo>
                    <a:pt x="96" y="498"/>
                  </a:lnTo>
                  <a:lnTo>
                    <a:pt x="96" y="486"/>
                  </a:lnTo>
                  <a:lnTo>
                    <a:pt x="96" y="474"/>
                  </a:lnTo>
                  <a:lnTo>
                    <a:pt x="96" y="462"/>
                  </a:lnTo>
                  <a:lnTo>
                    <a:pt x="114" y="450"/>
                  </a:lnTo>
                  <a:lnTo>
                    <a:pt x="126" y="438"/>
                  </a:lnTo>
                  <a:lnTo>
                    <a:pt x="132" y="432"/>
                  </a:lnTo>
                  <a:lnTo>
                    <a:pt x="144" y="426"/>
                  </a:lnTo>
                  <a:lnTo>
                    <a:pt x="144" y="420"/>
                  </a:lnTo>
                  <a:lnTo>
                    <a:pt x="156" y="414"/>
                  </a:lnTo>
                  <a:lnTo>
                    <a:pt x="162" y="408"/>
                  </a:lnTo>
                  <a:lnTo>
                    <a:pt x="180" y="396"/>
                  </a:lnTo>
                  <a:lnTo>
                    <a:pt x="210" y="372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34" y="348"/>
                  </a:lnTo>
                  <a:lnTo>
                    <a:pt x="240" y="348"/>
                  </a:lnTo>
                  <a:lnTo>
                    <a:pt x="246" y="342"/>
                  </a:lnTo>
                  <a:lnTo>
                    <a:pt x="276" y="318"/>
                  </a:lnTo>
                  <a:lnTo>
                    <a:pt x="282" y="312"/>
                  </a:lnTo>
                  <a:lnTo>
                    <a:pt x="288" y="306"/>
                  </a:lnTo>
                  <a:lnTo>
                    <a:pt x="300" y="288"/>
                  </a:lnTo>
                  <a:lnTo>
                    <a:pt x="306" y="276"/>
                  </a:lnTo>
                  <a:lnTo>
                    <a:pt x="324" y="246"/>
                  </a:lnTo>
                  <a:lnTo>
                    <a:pt x="330" y="240"/>
                  </a:lnTo>
                  <a:lnTo>
                    <a:pt x="336" y="234"/>
                  </a:lnTo>
                  <a:lnTo>
                    <a:pt x="342" y="228"/>
                  </a:lnTo>
                  <a:lnTo>
                    <a:pt x="342" y="216"/>
                  </a:lnTo>
                  <a:lnTo>
                    <a:pt x="354" y="204"/>
                  </a:lnTo>
                  <a:lnTo>
                    <a:pt x="360" y="204"/>
                  </a:lnTo>
                  <a:lnTo>
                    <a:pt x="366" y="186"/>
                  </a:lnTo>
                  <a:lnTo>
                    <a:pt x="384" y="162"/>
                  </a:lnTo>
                  <a:lnTo>
                    <a:pt x="390" y="144"/>
                  </a:lnTo>
                  <a:lnTo>
                    <a:pt x="396" y="114"/>
                  </a:lnTo>
                  <a:lnTo>
                    <a:pt x="396" y="102"/>
                  </a:lnTo>
                  <a:lnTo>
                    <a:pt x="402" y="90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08" y="36"/>
                  </a:lnTo>
                  <a:lnTo>
                    <a:pt x="408" y="24"/>
                  </a:lnTo>
                  <a:lnTo>
                    <a:pt x="408" y="6"/>
                  </a:lnTo>
                  <a:lnTo>
                    <a:pt x="420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68" y="0"/>
                  </a:lnTo>
                  <a:lnTo>
                    <a:pt x="480" y="0"/>
                  </a:lnTo>
                  <a:lnTo>
                    <a:pt x="492" y="0"/>
                  </a:lnTo>
                  <a:lnTo>
                    <a:pt x="498" y="0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8" y="18"/>
                  </a:lnTo>
                  <a:lnTo>
                    <a:pt x="534" y="18"/>
                  </a:lnTo>
                  <a:lnTo>
                    <a:pt x="540" y="18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8" y="36"/>
                  </a:lnTo>
                  <a:lnTo>
                    <a:pt x="588" y="54"/>
                  </a:lnTo>
                  <a:lnTo>
                    <a:pt x="594" y="48"/>
                  </a:lnTo>
                  <a:lnTo>
                    <a:pt x="600" y="48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12" y="66"/>
                  </a:lnTo>
                  <a:lnTo>
                    <a:pt x="630" y="72"/>
                  </a:lnTo>
                  <a:lnTo>
                    <a:pt x="642" y="78"/>
                  </a:lnTo>
                  <a:lnTo>
                    <a:pt x="666" y="78"/>
                  </a:lnTo>
                  <a:lnTo>
                    <a:pt x="672" y="72"/>
                  </a:lnTo>
                  <a:lnTo>
                    <a:pt x="690" y="84"/>
                  </a:lnTo>
                  <a:lnTo>
                    <a:pt x="690" y="90"/>
                  </a:lnTo>
                  <a:lnTo>
                    <a:pt x="708" y="96"/>
                  </a:lnTo>
                  <a:lnTo>
                    <a:pt x="708" y="102"/>
                  </a:lnTo>
                  <a:lnTo>
                    <a:pt x="744" y="96"/>
                  </a:lnTo>
                  <a:lnTo>
                    <a:pt x="756" y="78"/>
                  </a:lnTo>
                  <a:lnTo>
                    <a:pt x="756" y="72"/>
                  </a:lnTo>
                  <a:lnTo>
                    <a:pt x="762" y="66"/>
                  </a:lnTo>
                  <a:lnTo>
                    <a:pt x="768" y="60"/>
                  </a:lnTo>
                  <a:lnTo>
                    <a:pt x="774" y="54"/>
                  </a:lnTo>
                  <a:lnTo>
                    <a:pt x="786" y="54"/>
                  </a:lnTo>
                  <a:lnTo>
                    <a:pt x="786" y="60"/>
                  </a:lnTo>
                  <a:lnTo>
                    <a:pt x="786" y="66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92" y="90"/>
                  </a:lnTo>
                  <a:lnTo>
                    <a:pt x="780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26"/>
                  </a:lnTo>
                  <a:lnTo>
                    <a:pt x="768" y="150"/>
                  </a:lnTo>
                  <a:lnTo>
                    <a:pt x="750" y="168"/>
                  </a:lnTo>
                  <a:lnTo>
                    <a:pt x="750" y="174"/>
                  </a:lnTo>
                  <a:lnTo>
                    <a:pt x="762" y="192"/>
                  </a:lnTo>
                  <a:lnTo>
                    <a:pt x="774" y="210"/>
                  </a:lnTo>
                  <a:lnTo>
                    <a:pt x="792" y="228"/>
                  </a:lnTo>
                  <a:lnTo>
                    <a:pt x="804" y="240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40" y="252"/>
                  </a:lnTo>
                  <a:lnTo>
                    <a:pt x="834" y="252"/>
                  </a:lnTo>
                  <a:lnTo>
                    <a:pt x="846" y="252"/>
                  </a:lnTo>
                  <a:lnTo>
                    <a:pt x="852" y="270"/>
                  </a:lnTo>
                  <a:lnTo>
                    <a:pt x="858" y="282"/>
                  </a:lnTo>
                  <a:lnTo>
                    <a:pt x="858" y="288"/>
                  </a:lnTo>
                  <a:lnTo>
                    <a:pt x="864" y="300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58" y="318"/>
                  </a:lnTo>
                  <a:lnTo>
                    <a:pt x="852" y="318"/>
                  </a:lnTo>
                  <a:lnTo>
                    <a:pt x="846" y="324"/>
                  </a:lnTo>
                  <a:lnTo>
                    <a:pt x="846" y="336"/>
                  </a:lnTo>
                  <a:lnTo>
                    <a:pt x="840" y="348"/>
                  </a:lnTo>
                  <a:lnTo>
                    <a:pt x="840" y="360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46" y="402"/>
                  </a:lnTo>
                  <a:lnTo>
                    <a:pt x="858" y="420"/>
                  </a:lnTo>
                  <a:lnTo>
                    <a:pt x="882" y="426"/>
                  </a:lnTo>
                  <a:lnTo>
                    <a:pt x="888" y="444"/>
                  </a:lnTo>
                  <a:lnTo>
                    <a:pt x="900" y="444"/>
                  </a:lnTo>
                  <a:lnTo>
                    <a:pt x="900" y="462"/>
                  </a:lnTo>
                  <a:lnTo>
                    <a:pt x="894" y="474"/>
                  </a:lnTo>
                  <a:lnTo>
                    <a:pt x="888" y="486"/>
                  </a:lnTo>
                  <a:lnTo>
                    <a:pt x="882" y="492"/>
                  </a:lnTo>
                  <a:lnTo>
                    <a:pt x="870" y="504"/>
                  </a:lnTo>
                  <a:lnTo>
                    <a:pt x="852" y="504"/>
                  </a:lnTo>
                  <a:lnTo>
                    <a:pt x="852" y="510"/>
                  </a:lnTo>
                  <a:lnTo>
                    <a:pt x="852" y="516"/>
                  </a:lnTo>
                  <a:lnTo>
                    <a:pt x="846" y="528"/>
                  </a:lnTo>
                  <a:lnTo>
                    <a:pt x="846" y="582"/>
                  </a:lnTo>
                  <a:lnTo>
                    <a:pt x="840" y="582"/>
                  </a:lnTo>
                  <a:lnTo>
                    <a:pt x="834" y="582"/>
                  </a:lnTo>
                  <a:lnTo>
                    <a:pt x="828" y="582"/>
                  </a:lnTo>
                  <a:lnTo>
                    <a:pt x="822" y="582"/>
                  </a:lnTo>
                  <a:lnTo>
                    <a:pt x="810" y="582"/>
                  </a:lnTo>
                  <a:lnTo>
                    <a:pt x="810" y="528"/>
                  </a:lnTo>
                  <a:lnTo>
                    <a:pt x="792" y="528"/>
                  </a:lnTo>
                  <a:lnTo>
                    <a:pt x="792" y="522"/>
                  </a:lnTo>
                  <a:lnTo>
                    <a:pt x="786" y="522"/>
                  </a:lnTo>
                  <a:lnTo>
                    <a:pt x="786" y="516"/>
                  </a:lnTo>
                  <a:lnTo>
                    <a:pt x="780" y="516"/>
                  </a:lnTo>
                  <a:lnTo>
                    <a:pt x="780" y="510"/>
                  </a:lnTo>
                  <a:lnTo>
                    <a:pt x="762" y="510"/>
                  </a:lnTo>
                  <a:lnTo>
                    <a:pt x="756" y="510"/>
                  </a:lnTo>
                  <a:lnTo>
                    <a:pt x="750" y="522"/>
                  </a:lnTo>
                  <a:lnTo>
                    <a:pt x="744" y="534"/>
                  </a:lnTo>
                  <a:lnTo>
                    <a:pt x="732" y="540"/>
                  </a:lnTo>
                  <a:lnTo>
                    <a:pt x="732" y="558"/>
                  </a:lnTo>
                  <a:lnTo>
                    <a:pt x="732" y="564"/>
                  </a:lnTo>
                  <a:lnTo>
                    <a:pt x="732" y="570"/>
                  </a:lnTo>
                  <a:lnTo>
                    <a:pt x="726" y="576"/>
                  </a:lnTo>
                  <a:lnTo>
                    <a:pt x="720" y="576"/>
                  </a:lnTo>
                  <a:lnTo>
                    <a:pt x="714" y="582"/>
                  </a:lnTo>
                  <a:lnTo>
                    <a:pt x="702" y="588"/>
                  </a:lnTo>
                  <a:lnTo>
                    <a:pt x="696" y="594"/>
                  </a:lnTo>
                  <a:lnTo>
                    <a:pt x="690" y="600"/>
                  </a:lnTo>
                  <a:lnTo>
                    <a:pt x="690" y="606"/>
                  </a:lnTo>
                  <a:lnTo>
                    <a:pt x="678" y="606"/>
                  </a:lnTo>
                  <a:lnTo>
                    <a:pt x="678" y="624"/>
                  </a:lnTo>
                  <a:lnTo>
                    <a:pt x="684" y="642"/>
                  </a:lnTo>
                  <a:lnTo>
                    <a:pt x="684" y="660"/>
                  </a:lnTo>
                  <a:lnTo>
                    <a:pt x="690" y="672"/>
                  </a:lnTo>
                  <a:lnTo>
                    <a:pt x="702" y="720"/>
                  </a:lnTo>
                  <a:lnTo>
                    <a:pt x="708" y="750"/>
                  </a:lnTo>
                  <a:lnTo>
                    <a:pt x="708" y="792"/>
                  </a:lnTo>
                  <a:lnTo>
                    <a:pt x="708" y="828"/>
                  </a:lnTo>
                  <a:lnTo>
                    <a:pt x="708" y="852"/>
                  </a:lnTo>
                  <a:lnTo>
                    <a:pt x="696" y="894"/>
                  </a:lnTo>
                  <a:lnTo>
                    <a:pt x="702" y="900"/>
                  </a:lnTo>
                  <a:lnTo>
                    <a:pt x="708" y="924"/>
                  </a:lnTo>
                  <a:lnTo>
                    <a:pt x="684" y="936"/>
                  </a:lnTo>
                  <a:lnTo>
                    <a:pt x="660" y="954"/>
                  </a:lnTo>
                  <a:lnTo>
                    <a:pt x="618" y="984"/>
                  </a:lnTo>
                  <a:lnTo>
                    <a:pt x="618" y="990"/>
                  </a:lnTo>
                  <a:lnTo>
                    <a:pt x="612" y="996"/>
                  </a:lnTo>
                  <a:lnTo>
                    <a:pt x="606" y="1002"/>
                  </a:lnTo>
                  <a:lnTo>
                    <a:pt x="618" y="1008"/>
                  </a:lnTo>
                  <a:lnTo>
                    <a:pt x="618" y="1014"/>
                  </a:lnTo>
                  <a:lnTo>
                    <a:pt x="624" y="1026"/>
                  </a:lnTo>
                  <a:lnTo>
                    <a:pt x="630" y="1026"/>
                  </a:lnTo>
                  <a:lnTo>
                    <a:pt x="636" y="1032"/>
                  </a:lnTo>
                  <a:lnTo>
                    <a:pt x="642" y="1032"/>
                  </a:lnTo>
                  <a:lnTo>
                    <a:pt x="642" y="1038"/>
                  </a:lnTo>
                  <a:lnTo>
                    <a:pt x="648" y="1044"/>
                  </a:lnTo>
                  <a:lnTo>
                    <a:pt x="666" y="1050"/>
                  </a:lnTo>
                  <a:lnTo>
                    <a:pt x="678" y="1038"/>
                  </a:lnTo>
                  <a:lnTo>
                    <a:pt x="684" y="1038"/>
                  </a:lnTo>
                  <a:lnTo>
                    <a:pt x="684" y="1032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20"/>
                  </a:lnTo>
                  <a:lnTo>
                    <a:pt x="708" y="1014"/>
                  </a:lnTo>
                  <a:lnTo>
                    <a:pt x="720" y="1020"/>
                  </a:lnTo>
                  <a:lnTo>
                    <a:pt x="720" y="1014"/>
                  </a:lnTo>
                  <a:lnTo>
                    <a:pt x="726" y="1008"/>
                  </a:lnTo>
                  <a:lnTo>
                    <a:pt x="732" y="1008"/>
                  </a:lnTo>
                  <a:lnTo>
                    <a:pt x="738" y="1008"/>
                  </a:lnTo>
                  <a:lnTo>
                    <a:pt x="744" y="1002"/>
                  </a:lnTo>
                  <a:lnTo>
                    <a:pt x="744" y="996"/>
                  </a:lnTo>
                  <a:lnTo>
                    <a:pt x="750" y="996"/>
                  </a:lnTo>
                  <a:lnTo>
                    <a:pt x="756" y="1002"/>
                  </a:lnTo>
                  <a:lnTo>
                    <a:pt x="762" y="1002"/>
                  </a:lnTo>
                  <a:lnTo>
                    <a:pt x="768" y="996"/>
                  </a:lnTo>
                  <a:lnTo>
                    <a:pt x="780" y="996"/>
                  </a:lnTo>
                  <a:lnTo>
                    <a:pt x="786" y="996"/>
                  </a:lnTo>
                  <a:lnTo>
                    <a:pt x="816" y="990"/>
                  </a:lnTo>
                  <a:lnTo>
                    <a:pt x="828" y="990"/>
                  </a:lnTo>
                  <a:lnTo>
                    <a:pt x="834" y="990"/>
                  </a:lnTo>
                  <a:lnTo>
                    <a:pt x="840" y="984"/>
                  </a:lnTo>
                  <a:lnTo>
                    <a:pt x="852" y="978"/>
                  </a:lnTo>
                  <a:lnTo>
                    <a:pt x="852" y="972"/>
                  </a:lnTo>
                  <a:lnTo>
                    <a:pt x="858" y="972"/>
                  </a:lnTo>
                  <a:lnTo>
                    <a:pt x="864" y="966"/>
                  </a:lnTo>
                  <a:lnTo>
                    <a:pt x="870" y="966"/>
                  </a:lnTo>
                  <a:lnTo>
                    <a:pt x="876" y="966"/>
                  </a:lnTo>
                  <a:lnTo>
                    <a:pt x="882" y="960"/>
                  </a:lnTo>
                  <a:lnTo>
                    <a:pt x="888" y="960"/>
                  </a:lnTo>
                  <a:lnTo>
                    <a:pt x="894" y="960"/>
                  </a:lnTo>
                  <a:lnTo>
                    <a:pt x="894" y="966"/>
                  </a:lnTo>
                  <a:lnTo>
                    <a:pt x="894" y="978"/>
                  </a:lnTo>
                  <a:lnTo>
                    <a:pt x="894" y="984"/>
                  </a:lnTo>
                  <a:lnTo>
                    <a:pt x="900" y="984"/>
                  </a:lnTo>
                  <a:lnTo>
                    <a:pt x="906" y="978"/>
                  </a:lnTo>
                  <a:lnTo>
                    <a:pt x="912" y="972"/>
                  </a:lnTo>
                  <a:lnTo>
                    <a:pt x="918" y="978"/>
                  </a:lnTo>
                  <a:lnTo>
                    <a:pt x="924" y="978"/>
                  </a:lnTo>
                  <a:lnTo>
                    <a:pt x="924" y="972"/>
                  </a:lnTo>
                  <a:lnTo>
                    <a:pt x="924" y="966"/>
                  </a:lnTo>
                  <a:lnTo>
                    <a:pt x="930" y="966"/>
                  </a:lnTo>
                  <a:lnTo>
                    <a:pt x="948" y="966"/>
                  </a:lnTo>
                  <a:lnTo>
                    <a:pt x="954" y="966"/>
                  </a:lnTo>
                  <a:lnTo>
                    <a:pt x="954" y="960"/>
                  </a:lnTo>
                  <a:lnTo>
                    <a:pt x="960" y="960"/>
                  </a:lnTo>
                  <a:lnTo>
                    <a:pt x="966" y="960"/>
                  </a:lnTo>
                  <a:lnTo>
                    <a:pt x="966" y="966"/>
                  </a:lnTo>
                  <a:lnTo>
                    <a:pt x="978" y="972"/>
                  </a:lnTo>
                  <a:lnTo>
                    <a:pt x="978" y="978"/>
                  </a:lnTo>
                  <a:lnTo>
                    <a:pt x="978" y="984"/>
                  </a:lnTo>
                  <a:lnTo>
                    <a:pt x="984" y="978"/>
                  </a:lnTo>
                  <a:lnTo>
                    <a:pt x="990" y="978"/>
                  </a:lnTo>
                  <a:lnTo>
                    <a:pt x="996" y="984"/>
                  </a:lnTo>
                  <a:lnTo>
                    <a:pt x="1002" y="990"/>
                  </a:lnTo>
                  <a:lnTo>
                    <a:pt x="1008" y="972"/>
                  </a:lnTo>
                  <a:lnTo>
                    <a:pt x="1026" y="972"/>
                  </a:lnTo>
                  <a:lnTo>
                    <a:pt x="1032" y="972"/>
                  </a:lnTo>
                  <a:lnTo>
                    <a:pt x="1038" y="972"/>
                  </a:lnTo>
                  <a:lnTo>
                    <a:pt x="1050" y="972"/>
                  </a:lnTo>
                  <a:lnTo>
                    <a:pt x="1056" y="972"/>
                  </a:lnTo>
                  <a:lnTo>
                    <a:pt x="1062" y="966"/>
                  </a:lnTo>
                  <a:lnTo>
                    <a:pt x="1074" y="966"/>
                  </a:lnTo>
                  <a:lnTo>
                    <a:pt x="1074" y="960"/>
                  </a:lnTo>
                  <a:lnTo>
                    <a:pt x="1080" y="954"/>
                  </a:lnTo>
                  <a:lnTo>
                    <a:pt x="1080" y="948"/>
                  </a:lnTo>
                  <a:lnTo>
                    <a:pt x="1074" y="948"/>
                  </a:lnTo>
                  <a:lnTo>
                    <a:pt x="1068" y="948"/>
                  </a:lnTo>
                  <a:lnTo>
                    <a:pt x="1062" y="942"/>
                  </a:lnTo>
                  <a:lnTo>
                    <a:pt x="1068" y="936"/>
                  </a:lnTo>
                  <a:lnTo>
                    <a:pt x="1074" y="936"/>
                  </a:lnTo>
                  <a:lnTo>
                    <a:pt x="1080" y="936"/>
                  </a:lnTo>
                  <a:lnTo>
                    <a:pt x="1086" y="942"/>
                  </a:lnTo>
                  <a:lnTo>
                    <a:pt x="1092" y="942"/>
                  </a:lnTo>
                  <a:lnTo>
                    <a:pt x="1098" y="948"/>
                  </a:lnTo>
                  <a:lnTo>
                    <a:pt x="1104" y="954"/>
                  </a:lnTo>
                  <a:lnTo>
                    <a:pt x="1110" y="954"/>
                  </a:lnTo>
                  <a:lnTo>
                    <a:pt x="1116" y="948"/>
                  </a:lnTo>
                  <a:lnTo>
                    <a:pt x="1122" y="942"/>
                  </a:lnTo>
                  <a:lnTo>
                    <a:pt x="1128" y="942"/>
                  </a:lnTo>
                  <a:lnTo>
                    <a:pt x="1134" y="942"/>
                  </a:lnTo>
                  <a:lnTo>
                    <a:pt x="1140" y="948"/>
                  </a:lnTo>
                  <a:lnTo>
                    <a:pt x="1146" y="942"/>
                  </a:lnTo>
                  <a:lnTo>
                    <a:pt x="1152" y="942"/>
                  </a:lnTo>
                  <a:lnTo>
                    <a:pt x="1152" y="930"/>
                  </a:lnTo>
                  <a:lnTo>
                    <a:pt x="1164" y="936"/>
                  </a:lnTo>
                  <a:lnTo>
                    <a:pt x="1158" y="942"/>
                  </a:lnTo>
                  <a:lnTo>
                    <a:pt x="1158" y="948"/>
                  </a:lnTo>
                  <a:lnTo>
                    <a:pt x="1146" y="954"/>
                  </a:lnTo>
                  <a:lnTo>
                    <a:pt x="1152" y="954"/>
                  </a:lnTo>
                  <a:lnTo>
                    <a:pt x="1158" y="954"/>
                  </a:lnTo>
                  <a:lnTo>
                    <a:pt x="1158" y="948"/>
                  </a:lnTo>
                  <a:lnTo>
                    <a:pt x="1164" y="948"/>
                  </a:lnTo>
                  <a:lnTo>
                    <a:pt x="1170" y="948"/>
                  </a:lnTo>
                  <a:lnTo>
                    <a:pt x="1176" y="954"/>
                  </a:lnTo>
                  <a:lnTo>
                    <a:pt x="1176" y="966"/>
                  </a:lnTo>
                  <a:lnTo>
                    <a:pt x="1182" y="972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88" y="984"/>
                  </a:lnTo>
                  <a:lnTo>
                    <a:pt x="1194" y="984"/>
                  </a:lnTo>
                  <a:lnTo>
                    <a:pt x="1200" y="984"/>
                  </a:lnTo>
                  <a:lnTo>
                    <a:pt x="1212" y="984"/>
                  </a:lnTo>
                  <a:lnTo>
                    <a:pt x="1218" y="990"/>
                  </a:lnTo>
                  <a:lnTo>
                    <a:pt x="1224" y="990"/>
                  </a:lnTo>
                  <a:lnTo>
                    <a:pt x="1224" y="984"/>
                  </a:lnTo>
                  <a:lnTo>
                    <a:pt x="1230" y="990"/>
                  </a:lnTo>
                  <a:lnTo>
                    <a:pt x="1236" y="984"/>
                  </a:lnTo>
                  <a:lnTo>
                    <a:pt x="1242" y="984"/>
                  </a:lnTo>
                  <a:lnTo>
                    <a:pt x="1248" y="990"/>
                  </a:lnTo>
                  <a:lnTo>
                    <a:pt x="1254" y="990"/>
                  </a:lnTo>
                  <a:lnTo>
                    <a:pt x="1254" y="996"/>
                  </a:lnTo>
                  <a:lnTo>
                    <a:pt x="1254" y="1002"/>
                  </a:lnTo>
                  <a:lnTo>
                    <a:pt x="1254" y="1008"/>
                  </a:lnTo>
                  <a:lnTo>
                    <a:pt x="1260" y="1014"/>
                  </a:lnTo>
                  <a:lnTo>
                    <a:pt x="1266" y="1014"/>
                  </a:lnTo>
                  <a:lnTo>
                    <a:pt x="1272" y="1014"/>
                  </a:lnTo>
                  <a:lnTo>
                    <a:pt x="1278" y="1020"/>
                  </a:lnTo>
                  <a:lnTo>
                    <a:pt x="1284" y="1020"/>
                  </a:lnTo>
                  <a:lnTo>
                    <a:pt x="1290" y="1014"/>
                  </a:lnTo>
                  <a:lnTo>
                    <a:pt x="1290" y="1008"/>
                  </a:lnTo>
                  <a:lnTo>
                    <a:pt x="1296" y="1008"/>
                  </a:lnTo>
                  <a:lnTo>
                    <a:pt x="1302" y="1014"/>
                  </a:lnTo>
                  <a:lnTo>
                    <a:pt x="1308" y="1014"/>
                  </a:lnTo>
                  <a:lnTo>
                    <a:pt x="1314" y="1008"/>
                  </a:lnTo>
                  <a:lnTo>
                    <a:pt x="1320" y="1008"/>
                  </a:lnTo>
                  <a:lnTo>
                    <a:pt x="1320" y="1002"/>
                  </a:lnTo>
                  <a:lnTo>
                    <a:pt x="1320" y="996"/>
                  </a:lnTo>
                  <a:lnTo>
                    <a:pt x="1332" y="1002"/>
                  </a:lnTo>
                  <a:lnTo>
                    <a:pt x="1332" y="1008"/>
                  </a:lnTo>
                  <a:lnTo>
                    <a:pt x="1326" y="1014"/>
                  </a:lnTo>
                  <a:lnTo>
                    <a:pt x="1332" y="1014"/>
                  </a:lnTo>
                  <a:lnTo>
                    <a:pt x="1338" y="1014"/>
                  </a:lnTo>
                  <a:lnTo>
                    <a:pt x="1338" y="1008"/>
                  </a:lnTo>
                  <a:lnTo>
                    <a:pt x="1344" y="1008"/>
                  </a:lnTo>
                  <a:lnTo>
                    <a:pt x="1350" y="1008"/>
                  </a:lnTo>
                  <a:lnTo>
                    <a:pt x="1356" y="1014"/>
                  </a:lnTo>
                  <a:lnTo>
                    <a:pt x="1356" y="1008"/>
                  </a:lnTo>
                  <a:lnTo>
                    <a:pt x="1362" y="1014"/>
                  </a:lnTo>
                  <a:lnTo>
                    <a:pt x="1392" y="1014"/>
                  </a:lnTo>
                  <a:lnTo>
                    <a:pt x="1398" y="1014"/>
                  </a:lnTo>
                  <a:lnTo>
                    <a:pt x="1404" y="1008"/>
                  </a:lnTo>
                  <a:lnTo>
                    <a:pt x="1404" y="1014"/>
                  </a:lnTo>
                  <a:lnTo>
                    <a:pt x="1410" y="1008"/>
                  </a:lnTo>
                  <a:lnTo>
                    <a:pt x="1416" y="1008"/>
                  </a:lnTo>
                  <a:lnTo>
                    <a:pt x="1422" y="1002"/>
                  </a:lnTo>
                  <a:lnTo>
                    <a:pt x="1428" y="1002"/>
                  </a:lnTo>
                  <a:lnTo>
                    <a:pt x="1428" y="996"/>
                  </a:lnTo>
                  <a:lnTo>
                    <a:pt x="1428" y="990"/>
                  </a:lnTo>
                  <a:lnTo>
                    <a:pt x="1440" y="1002"/>
                  </a:lnTo>
                  <a:lnTo>
                    <a:pt x="1446" y="1002"/>
                  </a:lnTo>
                  <a:lnTo>
                    <a:pt x="1452" y="1002"/>
                  </a:lnTo>
                  <a:lnTo>
                    <a:pt x="1446" y="996"/>
                  </a:lnTo>
                  <a:lnTo>
                    <a:pt x="1452" y="996"/>
                  </a:lnTo>
                  <a:lnTo>
                    <a:pt x="1458" y="996"/>
                  </a:lnTo>
                  <a:lnTo>
                    <a:pt x="1464" y="996"/>
                  </a:lnTo>
                  <a:lnTo>
                    <a:pt x="1464" y="1002"/>
                  </a:lnTo>
                  <a:lnTo>
                    <a:pt x="1476" y="1014"/>
                  </a:lnTo>
                  <a:lnTo>
                    <a:pt x="1476" y="1008"/>
                  </a:lnTo>
                  <a:lnTo>
                    <a:pt x="1482" y="1008"/>
                  </a:lnTo>
                  <a:lnTo>
                    <a:pt x="1488" y="1020"/>
                  </a:lnTo>
                  <a:lnTo>
                    <a:pt x="1494" y="1020"/>
                  </a:lnTo>
                  <a:lnTo>
                    <a:pt x="1500" y="1014"/>
                  </a:lnTo>
                  <a:lnTo>
                    <a:pt x="1500" y="1020"/>
                  </a:lnTo>
                  <a:lnTo>
                    <a:pt x="1506" y="1026"/>
                  </a:lnTo>
                  <a:lnTo>
                    <a:pt x="1512" y="1032"/>
                  </a:lnTo>
                  <a:lnTo>
                    <a:pt x="1518" y="1032"/>
                  </a:lnTo>
                  <a:lnTo>
                    <a:pt x="1518" y="1038"/>
                  </a:lnTo>
                  <a:lnTo>
                    <a:pt x="1518" y="1044"/>
                  </a:lnTo>
                  <a:lnTo>
                    <a:pt x="1524" y="1044"/>
                  </a:lnTo>
                  <a:lnTo>
                    <a:pt x="1524" y="1050"/>
                  </a:lnTo>
                  <a:lnTo>
                    <a:pt x="1530" y="1056"/>
                  </a:lnTo>
                  <a:lnTo>
                    <a:pt x="1548" y="1062"/>
                  </a:lnTo>
                  <a:lnTo>
                    <a:pt x="1560" y="1074"/>
                  </a:lnTo>
                  <a:lnTo>
                    <a:pt x="1560" y="1080"/>
                  </a:lnTo>
                  <a:lnTo>
                    <a:pt x="1560" y="1086"/>
                  </a:lnTo>
                  <a:lnTo>
                    <a:pt x="1566" y="1086"/>
                  </a:lnTo>
                  <a:lnTo>
                    <a:pt x="1572" y="1098"/>
                  </a:lnTo>
                  <a:lnTo>
                    <a:pt x="1572" y="1104"/>
                  </a:lnTo>
                  <a:lnTo>
                    <a:pt x="1584" y="1110"/>
                  </a:lnTo>
                  <a:lnTo>
                    <a:pt x="1590" y="1116"/>
                  </a:lnTo>
                  <a:lnTo>
                    <a:pt x="1596" y="1116"/>
                  </a:lnTo>
                  <a:lnTo>
                    <a:pt x="1608" y="1122"/>
                  </a:lnTo>
                  <a:lnTo>
                    <a:pt x="1620" y="1140"/>
                  </a:lnTo>
                  <a:lnTo>
                    <a:pt x="1626" y="1158"/>
                  </a:lnTo>
                  <a:lnTo>
                    <a:pt x="1638" y="1200"/>
                  </a:lnTo>
                  <a:lnTo>
                    <a:pt x="1638" y="1218"/>
                  </a:lnTo>
                  <a:lnTo>
                    <a:pt x="1620" y="1230"/>
                  </a:lnTo>
                  <a:lnTo>
                    <a:pt x="1554" y="1230"/>
                  </a:lnTo>
                  <a:lnTo>
                    <a:pt x="1560" y="1248"/>
                  </a:lnTo>
                  <a:lnTo>
                    <a:pt x="1584" y="1260"/>
                  </a:lnTo>
                  <a:lnTo>
                    <a:pt x="1584" y="1266"/>
                  </a:lnTo>
                  <a:lnTo>
                    <a:pt x="1578" y="1272"/>
                  </a:lnTo>
                  <a:lnTo>
                    <a:pt x="1572" y="1272"/>
                  </a:lnTo>
                  <a:lnTo>
                    <a:pt x="1566" y="1278"/>
                  </a:lnTo>
                  <a:lnTo>
                    <a:pt x="1566" y="1284"/>
                  </a:lnTo>
                  <a:lnTo>
                    <a:pt x="1560" y="1290"/>
                  </a:lnTo>
                  <a:lnTo>
                    <a:pt x="1554" y="1290"/>
                  </a:lnTo>
                  <a:lnTo>
                    <a:pt x="1554" y="1296"/>
                  </a:lnTo>
                  <a:lnTo>
                    <a:pt x="1554" y="1302"/>
                  </a:lnTo>
                  <a:lnTo>
                    <a:pt x="1560" y="1332"/>
                  </a:lnTo>
                  <a:lnTo>
                    <a:pt x="1566" y="1356"/>
                  </a:lnTo>
                  <a:lnTo>
                    <a:pt x="1572" y="1356"/>
                  </a:lnTo>
                  <a:lnTo>
                    <a:pt x="1572" y="1362"/>
                  </a:lnTo>
                  <a:lnTo>
                    <a:pt x="1578" y="1362"/>
                  </a:lnTo>
                  <a:lnTo>
                    <a:pt x="1560" y="1374"/>
                  </a:lnTo>
                  <a:lnTo>
                    <a:pt x="1560" y="1380"/>
                  </a:lnTo>
                  <a:lnTo>
                    <a:pt x="1548" y="1380"/>
                  </a:lnTo>
                  <a:lnTo>
                    <a:pt x="1548" y="1386"/>
                  </a:lnTo>
                  <a:lnTo>
                    <a:pt x="1548" y="1392"/>
                  </a:lnTo>
                  <a:lnTo>
                    <a:pt x="1542" y="1410"/>
                  </a:lnTo>
                  <a:lnTo>
                    <a:pt x="1536" y="1422"/>
                  </a:lnTo>
                  <a:lnTo>
                    <a:pt x="1536" y="1428"/>
                  </a:lnTo>
                  <a:lnTo>
                    <a:pt x="1530" y="1440"/>
                  </a:lnTo>
                  <a:lnTo>
                    <a:pt x="1524" y="1434"/>
                  </a:lnTo>
                  <a:lnTo>
                    <a:pt x="1524" y="1428"/>
                  </a:lnTo>
                  <a:lnTo>
                    <a:pt x="1524" y="1422"/>
                  </a:lnTo>
                  <a:lnTo>
                    <a:pt x="1512" y="1410"/>
                  </a:lnTo>
                  <a:lnTo>
                    <a:pt x="1506" y="1404"/>
                  </a:lnTo>
                  <a:lnTo>
                    <a:pt x="1506" y="1398"/>
                  </a:lnTo>
                  <a:lnTo>
                    <a:pt x="1494" y="1392"/>
                  </a:lnTo>
                  <a:lnTo>
                    <a:pt x="1476" y="1404"/>
                  </a:lnTo>
                  <a:lnTo>
                    <a:pt x="1464" y="1416"/>
                  </a:lnTo>
                  <a:lnTo>
                    <a:pt x="1458" y="1428"/>
                  </a:lnTo>
                  <a:lnTo>
                    <a:pt x="1446" y="1434"/>
                  </a:lnTo>
                  <a:lnTo>
                    <a:pt x="1410" y="1440"/>
                  </a:lnTo>
                  <a:lnTo>
                    <a:pt x="1398" y="1440"/>
                  </a:lnTo>
                  <a:lnTo>
                    <a:pt x="1398" y="1446"/>
                  </a:lnTo>
                  <a:lnTo>
                    <a:pt x="1386" y="1446"/>
                  </a:lnTo>
                  <a:lnTo>
                    <a:pt x="1380" y="1440"/>
                  </a:lnTo>
                  <a:lnTo>
                    <a:pt x="1368" y="1440"/>
                  </a:lnTo>
                  <a:lnTo>
                    <a:pt x="1368" y="1446"/>
                  </a:lnTo>
                  <a:lnTo>
                    <a:pt x="1356" y="1446"/>
                  </a:lnTo>
                  <a:lnTo>
                    <a:pt x="1350" y="1452"/>
                  </a:lnTo>
                  <a:lnTo>
                    <a:pt x="1338" y="1452"/>
                  </a:lnTo>
                  <a:lnTo>
                    <a:pt x="1338" y="1458"/>
                  </a:lnTo>
                  <a:lnTo>
                    <a:pt x="1332" y="1458"/>
                  </a:lnTo>
                  <a:lnTo>
                    <a:pt x="1332" y="1464"/>
                  </a:lnTo>
                  <a:lnTo>
                    <a:pt x="1332" y="1470"/>
                  </a:lnTo>
                  <a:lnTo>
                    <a:pt x="1326" y="1470"/>
                  </a:lnTo>
                  <a:lnTo>
                    <a:pt x="1320" y="1470"/>
                  </a:lnTo>
                  <a:lnTo>
                    <a:pt x="1314" y="1470"/>
                  </a:lnTo>
                  <a:lnTo>
                    <a:pt x="1314" y="1464"/>
                  </a:lnTo>
                  <a:lnTo>
                    <a:pt x="1308" y="1464"/>
                  </a:lnTo>
                  <a:lnTo>
                    <a:pt x="1308" y="1452"/>
                  </a:lnTo>
                  <a:lnTo>
                    <a:pt x="1284" y="1458"/>
                  </a:lnTo>
                  <a:lnTo>
                    <a:pt x="1272" y="1458"/>
                  </a:lnTo>
                  <a:lnTo>
                    <a:pt x="1272" y="1464"/>
                  </a:lnTo>
                  <a:lnTo>
                    <a:pt x="1260" y="1464"/>
                  </a:lnTo>
                  <a:lnTo>
                    <a:pt x="1254" y="1464"/>
                  </a:lnTo>
                  <a:lnTo>
                    <a:pt x="1242" y="1422"/>
                  </a:lnTo>
                  <a:lnTo>
                    <a:pt x="1242" y="1416"/>
                  </a:lnTo>
                  <a:lnTo>
                    <a:pt x="1242" y="1410"/>
                  </a:lnTo>
                  <a:lnTo>
                    <a:pt x="1248" y="1410"/>
                  </a:lnTo>
                  <a:lnTo>
                    <a:pt x="1242" y="1410"/>
                  </a:lnTo>
                  <a:lnTo>
                    <a:pt x="1242" y="1404"/>
                  </a:lnTo>
                  <a:lnTo>
                    <a:pt x="1242" y="1398"/>
                  </a:lnTo>
                  <a:lnTo>
                    <a:pt x="1248" y="1392"/>
                  </a:lnTo>
                  <a:lnTo>
                    <a:pt x="1248" y="1386"/>
                  </a:lnTo>
                  <a:lnTo>
                    <a:pt x="1242" y="1380"/>
                  </a:lnTo>
                  <a:lnTo>
                    <a:pt x="1248" y="1380"/>
                  </a:lnTo>
                  <a:lnTo>
                    <a:pt x="1248" y="1374"/>
                  </a:lnTo>
                  <a:lnTo>
                    <a:pt x="1248" y="1368"/>
                  </a:lnTo>
                  <a:lnTo>
                    <a:pt x="1254" y="1368"/>
                  </a:lnTo>
                  <a:lnTo>
                    <a:pt x="1254" y="1362"/>
                  </a:lnTo>
                  <a:lnTo>
                    <a:pt x="1248" y="1356"/>
                  </a:lnTo>
                  <a:lnTo>
                    <a:pt x="1254" y="1356"/>
                  </a:lnTo>
                  <a:lnTo>
                    <a:pt x="1254" y="1344"/>
                  </a:lnTo>
                  <a:lnTo>
                    <a:pt x="1242" y="1338"/>
                  </a:lnTo>
                  <a:lnTo>
                    <a:pt x="1242" y="1326"/>
                  </a:lnTo>
                  <a:lnTo>
                    <a:pt x="1230" y="1326"/>
                  </a:lnTo>
                  <a:lnTo>
                    <a:pt x="1230" y="1314"/>
                  </a:lnTo>
                  <a:lnTo>
                    <a:pt x="1218" y="1314"/>
                  </a:lnTo>
                  <a:lnTo>
                    <a:pt x="1200" y="1272"/>
                  </a:lnTo>
                  <a:lnTo>
                    <a:pt x="1194" y="1242"/>
                  </a:lnTo>
                  <a:lnTo>
                    <a:pt x="1194" y="1206"/>
                  </a:lnTo>
                  <a:lnTo>
                    <a:pt x="1182" y="1200"/>
                  </a:lnTo>
                  <a:lnTo>
                    <a:pt x="1164" y="1206"/>
                  </a:lnTo>
                  <a:lnTo>
                    <a:pt x="1146" y="1212"/>
                  </a:lnTo>
                  <a:lnTo>
                    <a:pt x="1146" y="1218"/>
                  </a:lnTo>
                  <a:lnTo>
                    <a:pt x="1134" y="1224"/>
                  </a:lnTo>
                  <a:lnTo>
                    <a:pt x="1140" y="1260"/>
                  </a:lnTo>
                  <a:lnTo>
                    <a:pt x="1134" y="1266"/>
                  </a:lnTo>
                  <a:lnTo>
                    <a:pt x="1122" y="1266"/>
                  </a:lnTo>
                  <a:lnTo>
                    <a:pt x="1110" y="1236"/>
                  </a:lnTo>
                  <a:lnTo>
                    <a:pt x="1110" y="1224"/>
                  </a:lnTo>
                  <a:lnTo>
                    <a:pt x="1086" y="1224"/>
                  </a:lnTo>
                  <a:lnTo>
                    <a:pt x="1086" y="1212"/>
                  </a:lnTo>
                  <a:lnTo>
                    <a:pt x="1074" y="1212"/>
                  </a:lnTo>
                  <a:lnTo>
                    <a:pt x="1050" y="1212"/>
                  </a:lnTo>
                  <a:lnTo>
                    <a:pt x="1056" y="1218"/>
                  </a:lnTo>
                  <a:lnTo>
                    <a:pt x="1050" y="1272"/>
                  </a:lnTo>
                  <a:lnTo>
                    <a:pt x="1044" y="1272"/>
                  </a:lnTo>
                  <a:lnTo>
                    <a:pt x="1038" y="1284"/>
                  </a:lnTo>
                  <a:lnTo>
                    <a:pt x="1032" y="1302"/>
                  </a:lnTo>
                  <a:lnTo>
                    <a:pt x="1014" y="1302"/>
                  </a:lnTo>
                  <a:lnTo>
                    <a:pt x="1020" y="1284"/>
                  </a:lnTo>
                  <a:lnTo>
                    <a:pt x="1026" y="1278"/>
                  </a:lnTo>
                  <a:lnTo>
                    <a:pt x="1026" y="1266"/>
                  </a:lnTo>
                  <a:lnTo>
                    <a:pt x="1014" y="1260"/>
                  </a:lnTo>
                  <a:lnTo>
                    <a:pt x="1014" y="1272"/>
                  </a:lnTo>
                  <a:lnTo>
                    <a:pt x="990" y="1278"/>
                  </a:lnTo>
                  <a:lnTo>
                    <a:pt x="990" y="1254"/>
                  </a:lnTo>
                  <a:lnTo>
                    <a:pt x="984" y="1254"/>
                  </a:lnTo>
                  <a:lnTo>
                    <a:pt x="978" y="1242"/>
                  </a:lnTo>
                  <a:lnTo>
                    <a:pt x="972" y="1236"/>
                  </a:lnTo>
                  <a:lnTo>
                    <a:pt x="960" y="1206"/>
                  </a:lnTo>
                  <a:lnTo>
                    <a:pt x="942" y="1206"/>
                  </a:lnTo>
                  <a:lnTo>
                    <a:pt x="936" y="1200"/>
                  </a:lnTo>
                  <a:lnTo>
                    <a:pt x="906" y="1212"/>
                  </a:lnTo>
                  <a:lnTo>
                    <a:pt x="888" y="1230"/>
                  </a:lnTo>
                  <a:lnTo>
                    <a:pt x="876" y="1230"/>
                  </a:lnTo>
                  <a:lnTo>
                    <a:pt x="864" y="1236"/>
                  </a:lnTo>
                  <a:lnTo>
                    <a:pt x="858" y="1236"/>
                  </a:lnTo>
                  <a:lnTo>
                    <a:pt x="852" y="1254"/>
                  </a:lnTo>
                  <a:lnTo>
                    <a:pt x="858" y="1254"/>
                  </a:lnTo>
                  <a:lnTo>
                    <a:pt x="840" y="1266"/>
                  </a:lnTo>
                  <a:lnTo>
                    <a:pt x="828" y="1272"/>
                  </a:lnTo>
                  <a:lnTo>
                    <a:pt x="828" y="1284"/>
                  </a:lnTo>
                  <a:lnTo>
                    <a:pt x="822" y="1284"/>
                  </a:lnTo>
                  <a:lnTo>
                    <a:pt x="804" y="1296"/>
                  </a:lnTo>
                  <a:lnTo>
                    <a:pt x="804" y="1308"/>
                  </a:lnTo>
                  <a:lnTo>
                    <a:pt x="816" y="1320"/>
                  </a:lnTo>
                  <a:lnTo>
                    <a:pt x="828" y="1320"/>
                  </a:lnTo>
                  <a:lnTo>
                    <a:pt x="822" y="1338"/>
                  </a:lnTo>
                  <a:lnTo>
                    <a:pt x="852" y="1344"/>
                  </a:lnTo>
                  <a:lnTo>
                    <a:pt x="864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94" y="1356"/>
                  </a:lnTo>
                  <a:lnTo>
                    <a:pt x="912" y="1368"/>
                  </a:lnTo>
                  <a:lnTo>
                    <a:pt x="918" y="1380"/>
                  </a:lnTo>
                  <a:lnTo>
                    <a:pt x="936" y="1380"/>
                  </a:lnTo>
                  <a:lnTo>
                    <a:pt x="960" y="1386"/>
                  </a:lnTo>
                  <a:lnTo>
                    <a:pt x="990" y="1386"/>
                  </a:lnTo>
                  <a:lnTo>
                    <a:pt x="990" y="1392"/>
                  </a:lnTo>
                  <a:lnTo>
                    <a:pt x="1020" y="1398"/>
                  </a:lnTo>
                  <a:lnTo>
                    <a:pt x="1014" y="1404"/>
                  </a:lnTo>
                  <a:lnTo>
                    <a:pt x="1008" y="1404"/>
                  </a:lnTo>
                  <a:lnTo>
                    <a:pt x="1014" y="1440"/>
                  </a:lnTo>
                  <a:lnTo>
                    <a:pt x="1020" y="1458"/>
                  </a:lnTo>
                  <a:lnTo>
                    <a:pt x="1026" y="1476"/>
                  </a:lnTo>
                  <a:lnTo>
                    <a:pt x="1020" y="1476"/>
                  </a:lnTo>
                  <a:lnTo>
                    <a:pt x="1014" y="1476"/>
                  </a:lnTo>
                  <a:lnTo>
                    <a:pt x="1014" y="1482"/>
                  </a:lnTo>
                  <a:lnTo>
                    <a:pt x="1014" y="1488"/>
                  </a:lnTo>
                  <a:lnTo>
                    <a:pt x="1002" y="1488"/>
                  </a:lnTo>
                  <a:lnTo>
                    <a:pt x="1002" y="1494"/>
                  </a:lnTo>
                  <a:lnTo>
                    <a:pt x="996" y="1494"/>
                  </a:lnTo>
                  <a:lnTo>
                    <a:pt x="996" y="1518"/>
                  </a:lnTo>
                  <a:lnTo>
                    <a:pt x="1002" y="1524"/>
                  </a:lnTo>
                  <a:lnTo>
                    <a:pt x="1020" y="1530"/>
                  </a:lnTo>
                  <a:lnTo>
                    <a:pt x="1026" y="1542"/>
                  </a:lnTo>
                  <a:lnTo>
                    <a:pt x="1032" y="1566"/>
                  </a:lnTo>
                  <a:lnTo>
                    <a:pt x="1038" y="1578"/>
                  </a:lnTo>
                  <a:lnTo>
                    <a:pt x="1032" y="1584"/>
                  </a:lnTo>
                  <a:lnTo>
                    <a:pt x="1020" y="1584"/>
                  </a:lnTo>
                  <a:lnTo>
                    <a:pt x="1014" y="1584"/>
                  </a:lnTo>
                  <a:lnTo>
                    <a:pt x="1008" y="1596"/>
                  </a:lnTo>
                  <a:lnTo>
                    <a:pt x="990" y="1584"/>
                  </a:lnTo>
                  <a:lnTo>
                    <a:pt x="984" y="1602"/>
                  </a:lnTo>
                  <a:lnTo>
                    <a:pt x="978" y="1608"/>
                  </a:lnTo>
                  <a:lnTo>
                    <a:pt x="966" y="1608"/>
                  </a:lnTo>
                  <a:lnTo>
                    <a:pt x="960" y="1614"/>
                  </a:lnTo>
                  <a:lnTo>
                    <a:pt x="954" y="1614"/>
                  </a:lnTo>
                  <a:lnTo>
                    <a:pt x="942" y="1620"/>
                  </a:lnTo>
                  <a:lnTo>
                    <a:pt x="936" y="1620"/>
                  </a:lnTo>
                  <a:lnTo>
                    <a:pt x="930" y="1620"/>
                  </a:lnTo>
                  <a:lnTo>
                    <a:pt x="930" y="1626"/>
                  </a:lnTo>
                  <a:lnTo>
                    <a:pt x="930" y="1632"/>
                  </a:lnTo>
                  <a:lnTo>
                    <a:pt x="918" y="1632"/>
                  </a:lnTo>
                  <a:lnTo>
                    <a:pt x="912" y="1632"/>
                  </a:lnTo>
                  <a:lnTo>
                    <a:pt x="906" y="1632"/>
                  </a:lnTo>
                  <a:lnTo>
                    <a:pt x="900" y="1632"/>
                  </a:lnTo>
                  <a:lnTo>
                    <a:pt x="894" y="1626"/>
                  </a:lnTo>
                  <a:lnTo>
                    <a:pt x="894" y="1614"/>
                  </a:lnTo>
                  <a:lnTo>
                    <a:pt x="840" y="1614"/>
                  </a:lnTo>
                  <a:lnTo>
                    <a:pt x="840" y="1626"/>
                  </a:lnTo>
                  <a:lnTo>
                    <a:pt x="834" y="1626"/>
                  </a:lnTo>
                  <a:lnTo>
                    <a:pt x="828" y="1632"/>
                  </a:lnTo>
                  <a:lnTo>
                    <a:pt x="822" y="1638"/>
                  </a:lnTo>
                  <a:lnTo>
                    <a:pt x="822" y="1644"/>
                  </a:lnTo>
                  <a:lnTo>
                    <a:pt x="834" y="1650"/>
                  </a:lnTo>
                  <a:lnTo>
                    <a:pt x="840" y="1662"/>
                  </a:lnTo>
                  <a:lnTo>
                    <a:pt x="840" y="1668"/>
                  </a:lnTo>
                  <a:lnTo>
                    <a:pt x="858" y="1680"/>
                  </a:lnTo>
                  <a:lnTo>
                    <a:pt x="858" y="1752"/>
                  </a:lnTo>
                  <a:lnTo>
                    <a:pt x="864" y="1782"/>
                  </a:lnTo>
                  <a:lnTo>
                    <a:pt x="876" y="1788"/>
                  </a:lnTo>
                  <a:lnTo>
                    <a:pt x="870" y="1854"/>
                  </a:lnTo>
                  <a:lnTo>
                    <a:pt x="870" y="1884"/>
                  </a:lnTo>
                  <a:lnTo>
                    <a:pt x="864" y="1884"/>
                  </a:lnTo>
                  <a:lnTo>
                    <a:pt x="846" y="1896"/>
                  </a:lnTo>
                  <a:lnTo>
                    <a:pt x="840" y="1896"/>
                  </a:lnTo>
                  <a:lnTo>
                    <a:pt x="834" y="1896"/>
                  </a:lnTo>
                  <a:lnTo>
                    <a:pt x="828" y="1890"/>
                  </a:lnTo>
                  <a:lnTo>
                    <a:pt x="822" y="1890"/>
                  </a:lnTo>
                  <a:lnTo>
                    <a:pt x="816" y="1896"/>
                  </a:lnTo>
                  <a:lnTo>
                    <a:pt x="804" y="1896"/>
                  </a:lnTo>
                  <a:lnTo>
                    <a:pt x="804" y="1890"/>
                  </a:lnTo>
                  <a:lnTo>
                    <a:pt x="780" y="1896"/>
                  </a:lnTo>
                  <a:lnTo>
                    <a:pt x="780" y="1902"/>
                  </a:lnTo>
                  <a:lnTo>
                    <a:pt x="774" y="1914"/>
                  </a:lnTo>
                  <a:lnTo>
                    <a:pt x="762" y="1926"/>
                  </a:lnTo>
                  <a:lnTo>
                    <a:pt x="762" y="1950"/>
                  </a:lnTo>
                  <a:lnTo>
                    <a:pt x="762" y="1962"/>
                  </a:lnTo>
                  <a:lnTo>
                    <a:pt x="780" y="1974"/>
                  </a:lnTo>
                  <a:lnTo>
                    <a:pt x="780" y="1986"/>
                  </a:lnTo>
                  <a:lnTo>
                    <a:pt x="780" y="1998"/>
                  </a:lnTo>
                  <a:lnTo>
                    <a:pt x="756" y="1998"/>
                  </a:lnTo>
                  <a:lnTo>
                    <a:pt x="720" y="1992"/>
                  </a:lnTo>
                  <a:lnTo>
                    <a:pt x="666" y="1998"/>
                  </a:lnTo>
                  <a:lnTo>
                    <a:pt x="654" y="1998"/>
                  </a:lnTo>
                  <a:lnTo>
                    <a:pt x="660" y="1974"/>
                  </a:lnTo>
                  <a:lnTo>
                    <a:pt x="666" y="1962"/>
                  </a:lnTo>
                  <a:lnTo>
                    <a:pt x="678" y="1950"/>
                  </a:lnTo>
                  <a:lnTo>
                    <a:pt x="696" y="1932"/>
                  </a:lnTo>
                  <a:lnTo>
                    <a:pt x="696" y="1920"/>
                  </a:lnTo>
                  <a:lnTo>
                    <a:pt x="696" y="1896"/>
                  </a:lnTo>
                  <a:lnTo>
                    <a:pt x="678" y="1896"/>
                  </a:lnTo>
                  <a:lnTo>
                    <a:pt x="672" y="1884"/>
                  </a:lnTo>
                  <a:lnTo>
                    <a:pt x="672" y="1776"/>
                  </a:lnTo>
                  <a:lnTo>
                    <a:pt x="678" y="1758"/>
                  </a:lnTo>
                  <a:lnTo>
                    <a:pt x="678" y="1740"/>
                  </a:lnTo>
                  <a:lnTo>
                    <a:pt x="684" y="1728"/>
                  </a:lnTo>
                  <a:lnTo>
                    <a:pt x="690" y="1722"/>
                  </a:lnTo>
                  <a:lnTo>
                    <a:pt x="702" y="1722"/>
                  </a:lnTo>
                  <a:lnTo>
                    <a:pt x="708" y="1716"/>
                  </a:lnTo>
                  <a:lnTo>
                    <a:pt x="714" y="1710"/>
                  </a:lnTo>
                  <a:lnTo>
                    <a:pt x="720" y="1698"/>
                  </a:lnTo>
                  <a:lnTo>
                    <a:pt x="732" y="1692"/>
                  </a:lnTo>
                  <a:lnTo>
                    <a:pt x="744" y="1686"/>
                  </a:lnTo>
                  <a:lnTo>
                    <a:pt x="756" y="1680"/>
                  </a:lnTo>
                  <a:lnTo>
                    <a:pt x="768" y="1668"/>
                  </a:lnTo>
                  <a:lnTo>
                    <a:pt x="768" y="1650"/>
                  </a:lnTo>
                  <a:lnTo>
                    <a:pt x="774" y="1632"/>
                  </a:lnTo>
                  <a:lnTo>
                    <a:pt x="768" y="1620"/>
                  </a:lnTo>
                  <a:lnTo>
                    <a:pt x="774" y="1608"/>
                  </a:lnTo>
                  <a:lnTo>
                    <a:pt x="774" y="1578"/>
                  </a:lnTo>
                  <a:lnTo>
                    <a:pt x="774" y="1572"/>
                  </a:lnTo>
                  <a:lnTo>
                    <a:pt x="780" y="1560"/>
                  </a:lnTo>
                  <a:lnTo>
                    <a:pt x="780" y="1554"/>
                  </a:lnTo>
                  <a:lnTo>
                    <a:pt x="786" y="1542"/>
                  </a:lnTo>
                  <a:lnTo>
                    <a:pt x="792" y="1530"/>
                  </a:lnTo>
                  <a:lnTo>
                    <a:pt x="792" y="1518"/>
                  </a:lnTo>
                  <a:lnTo>
                    <a:pt x="792" y="1506"/>
                  </a:lnTo>
                  <a:lnTo>
                    <a:pt x="786" y="1500"/>
                  </a:lnTo>
                  <a:lnTo>
                    <a:pt x="774" y="1488"/>
                  </a:lnTo>
                  <a:lnTo>
                    <a:pt x="774" y="1482"/>
                  </a:lnTo>
                  <a:lnTo>
                    <a:pt x="762" y="1488"/>
                  </a:lnTo>
                  <a:lnTo>
                    <a:pt x="756" y="1494"/>
                  </a:lnTo>
                  <a:lnTo>
                    <a:pt x="744" y="1500"/>
                  </a:lnTo>
                  <a:lnTo>
                    <a:pt x="732" y="1506"/>
                  </a:lnTo>
                  <a:lnTo>
                    <a:pt x="726" y="1506"/>
                  </a:lnTo>
                  <a:lnTo>
                    <a:pt x="720" y="1506"/>
                  </a:lnTo>
                  <a:lnTo>
                    <a:pt x="702" y="1506"/>
                  </a:lnTo>
                  <a:lnTo>
                    <a:pt x="690" y="1500"/>
                  </a:lnTo>
                  <a:lnTo>
                    <a:pt x="678" y="1500"/>
                  </a:lnTo>
                  <a:lnTo>
                    <a:pt x="672" y="1500"/>
                  </a:lnTo>
                  <a:lnTo>
                    <a:pt x="660" y="1506"/>
                  </a:lnTo>
                  <a:lnTo>
                    <a:pt x="654" y="1506"/>
                  </a:lnTo>
                  <a:lnTo>
                    <a:pt x="648" y="1512"/>
                  </a:lnTo>
                  <a:lnTo>
                    <a:pt x="648" y="1518"/>
                  </a:lnTo>
                  <a:lnTo>
                    <a:pt x="618" y="1518"/>
                  </a:lnTo>
                  <a:lnTo>
                    <a:pt x="534" y="1494"/>
                  </a:lnTo>
                  <a:lnTo>
                    <a:pt x="528" y="1458"/>
                  </a:lnTo>
                  <a:lnTo>
                    <a:pt x="510" y="1458"/>
                  </a:lnTo>
                  <a:lnTo>
                    <a:pt x="492" y="1440"/>
                  </a:lnTo>
                  <a:lnTo>
                    <a:pt x="462" y="1440"/>
                  </a:lnTo>
                  <a:lnTo>
                    <a:pt x="456" y="1428"/>
                  </a:lnTo>
                  <a:lnTo>
                    <a:pt x="420" y="1428"/>
                  </a:lnTo>
                  <a:lnTo>
                    <a:pt x="390" y="1446"/>
                  </a:lnTo>
                  <a:lnTo>
                    <a:pt x="312" y="1452"/>
                  </a:lnTo>
                  <a:lnTo>
                    <a:pt x="300" y="1446"/>
                  </a:lnTo>
                  <a:lnTo>
                    <a:pt x="294" y="1446"/>
                  </a:lnTo>
                  <a:lnTo>
                    <a:pt x="288" y="1446"/>
                  </a:lnTo>
                  <a:lnTo>
                    <a:pt x="282" y="1440"/>
                  </a:lnTo>
                  <a:lnTo>
                    <a:pt x="276" y="1440"/>
                  </a:lnTo>
                  <a:lnTo>
                    <a:pt x="270" y="1440"/>
                  </a:lnTo>
                  <a:lnTo>
                    <a:pt x="264" y="1440"/>
                  </a:lnTo>
                  <a:lnTo>
                    <a:pt x="258" y="1434"/>
                  </a:lnTo>
                  <a:lnTo>
                    <a:pt x="252" y="1434"/>
                  </a:lnTo>
                  <a:lnTo>
                    <a:pt x="246" y="1428"/>
                  </a:lnTo>
                  <a:lnTo>
                    <a:pt x="240" y="1416"/>
                  </a:lnTo>
                  <a:lnTo>
                    <a:pt x="234" y="1404"/>
                  </a:lnTo>
                  <a:lnTo>
                    <a:pt x="228" y="1398"/>
                  </a:lnTo>
                  <a:lnTo>
                    <a:pt x="222" y="1398"/>
                  </a:lnTo>
                  <a:lnTo>
                    <a:pt x="216" y="1404"/>
                  </a:lnTo>
                  <a:lnTo>
                    <a:pt x="210" y="1404"/>
                  </a:lnTo>
                  <a:lnTo>
                    <a:pt x="204" y="1404"/>
                  </a:lnTo>
                  <a:lnTo>
                    <a:pt x="204" y="1398"/>
                  </a:lnTo>
                  <a:lnTo>
                    <a:pt x="198" y="1392"/>
                  </a:lnTo>
                  <a:lnTo>
                    <a:pt x="192" y="1386"/>
                  </a:lnTo>
                  <a:lnTo>
                    <a:pt x="168" y="1374"/>
                  </a:lnTo>
                  <a:lnTo>
                    <a:pt x="144" y="138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0" name="Freeform 35">
              <a:extLst>
                <a:ext uri="{FF2B5EF4-FFF2-40B4-BE49-F238E27FC236}">
                  <a16:creationId xmlns:a16="http://schemas.microsoft.com/office/drawing/2014/main" id="{F64BF16E-9D62-438E-A1CC-CD4088AC7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2895" y="1706004"/>
              <a:ext cx="767013" cy="785011"/>
            </a:xfrm>
            <a:custGeom>
              <a:avLst/>
              <a:gdLst>
                <a:gd name="T0" fmla="*/ 102 w 1440"/>
                <a:gd name="T1" fmla="*/ 104 h 1476"/>
                <a:gd name="T2" fmla="*/ 99 w 1440"/>
                <a:gd name="T3" fmla="*/ 108 h 1476"/>
                <a:gd name="T4" fmla="*/ 98 w 1440"/>
                <a:gd name="T5" fmla="*/ 112 h 1476"/>
                <a:gd name="T6" fmla="*/ 96 w 1440"/>
                <a:gd name="T7" fmla="*/ 116 h 1476"/>
                <a:gd name="T8" fmla="*/ 91 w 1440"/>
                <a:gd name="T9" fmla="*/ 118 h 1476"/>
                <a:gd name="T10" fmla="*/ 87 w 1440"/>
                <a:gd name="T11" fmla="*/ 120 h 1476"/>
                <a:gd name="T12" fmla="*/ 75 w 1440"/>
                <a:gd name="T13" fmla="*/ 120 h 1476"/>
                <a:gd name="T14" fmla="*/ 72 w 1440"/>
                <a:gd name="T15" fmla="*/ 123 h 1476"/>
                <a:gd name="T16" fmla="*/ 69 w 1440"/>
                <a:gd name="T17" fmla="*/ 128 h 1476"/>
                <a:gd name="T18" fmla="*/ 67 w 1440"/>
                <a:gd name="T19" fmla="*/ 127 h 1476"/>
                <a:gd name="T20" fmla="*/ 66 w 1440"/>
                <a:gd name="T21" fmla="*/ 123 h 1476"/>
                <a:gd name="T22" fmla="*/ 63 w 1440"/>
                <a:gd name="T23" fmla="*/ 119 h 1476"/>
                <a:gd name="T24" fmla="*/ 54 w 1440"/>
                <a:gd name="T25" fmla="*/ 114 h 1476"/>
                <a:gd name="T26" fmla="*/ 55 w 1440"/>
                <a:gd name="T27" fmla="*/ 106 h 1476"/>
                <a:gd name="T28" fmla="*/ 60 w 1440"/>
                <a:gd name="T29" fmla="*/ 100 h 1476"/>
                <a:gd name="T30" fmla="*/ 55 w 1440"/>
                <a:gd name="T31" fmla="*/ 91 h 1476"/>
                <a:gd name="T32" fmla="*/ 51 w 1440"/>
                <a:gd name="T33" fmla="*/ 86 h 1476"/>
                <a:gd name="T34" fmla="*/ 47 w 1440"/>
                <a:gd name="T35" fmla="*/ 85 h 1476"/>
                <a:gd name="T36" fmla="*/ 44 w 1440"/>
                <a:gd name="T37" fmla="*/ 82 h 1476"/>
                <a:gd name="T38" fmla="*/ 41 w 1440"/>
                <a:gd name="T39" fmla="*/ 83 h 1476"/>
                <a:gd name="T40" fmla="*/ 36 w 1440"/>
                <a:gd name="T41" fmla="*/ 83 h 1476"/>
                <a:gd name="T42" fmla="*/ 33 w 1440"/>
                <a:gd name="T43" fmla="*/ 83 h 1476"/>
                <a:gd name="T44" fmla="*/ 30 w 1440"/>
                <a:gd name="T45" fmla="*/ 83 h 1476"/>
                <a:gd name="T46" fmla="*/ 27 w 1440"/>
                <a:gd name="T47" fmla="*/ 83 h 1476"/>
                <a:gd name="T48" fmla="*/ 24 w 1440"/>
                <a:gd name="T49" fmla="*/ 82 h 1476"/>
                <a:gd name="T50" fmla="*/ 21 w 1440"/>
                <a:gd name="T51" fmla="*/ 80 h 1476"/>
                <a:gd name="T52" fmla="*/ 18 w 1440"/>
                <a:gd name="T53" fmla="*/ 79 h 1476"/>
                <a:gd name="T54" fmla="*/ 17 w 1440"/>
                <a:gd name="T55" fmla="*/ 78 h 1476"/>
                <a:gd name="T56" fmla="*/ 12 w 1440"/>
                <a:gd name="T57" fmla="*/ 78 h 1476"/>
                <a:gd name="T58" fmla="*/ 12 w 1440"/>
                <a:gd name="T59" fmla="*/ 78 h 1476"/>
                <a:gd name="T60" fmla="*/ 7 w 1440"/>
                <a:gd name="T61" fmla="*/ 80 h 1476"/>
                <a:gd name="T62" fmla="*/ 3 w 1440"/>
                <a:gd name="T63" fmla="*/ 81 h 1476"/>
                <a:gd name="T64" fmla="*/ 0 w 1440"/>
                <a:gd name="T65" fmla="*/ 76 h 1476"/>
                <a:gd name="T66" fmla="*/ 1 w 1440"/>
                <a:gd name="T67" fmla="*/ 50 h 1476"/>
                <a:gd name="T68" fmla="*/ 8 w 1440"/>
                <a:gd name="T69" fmla="*/ 48 h 1476"/>
                <a:gd name="T70" fmla="*/ 20 w 1440"/>
                <a:gd name="T71" fmla="*/ 49 h 1476"/>
                <a:gd name="T72" fmla="*/ 26 w 1440"/>
                <a:gd name="T73" fmla="*/ 50 h 1476"/>
                <a:gd name="T74" fmla="*/ 44 w 1440"/>
                <a:gd name="T75" fmla="*/ 47 h 1476"/>
                <a:gd name="T76" fmla="*/ 41 w 1440"/>
                <a:gd name="T77" fmla="*/ 24 h 1476"/>
                <a:gd name="T78" fmla="*/ 44 w 1440"/>
                <a:gd name="T79" fmla="*/ 20 h 1476"/>
                <a:gd name="T80" fmla="*/ 47 w 1440"/>
                <a:gd name="T81" fmla="*/ 18 h 1476"/>
                <a:gd name="T82" fmla="*/ 54 w 1440"/>
                <a:gd name="T83" fmla="*/ 21 h 1476"/>
                <a:gd name="T84" fmla="*/ 61 w 1440"/>
                <a:gd name="T85" fmla="*/ 23 h 1476"/>
                <a:gd name="T86" fmla="*/ 59 w 1440"/>
                <a:gd name="T87" fmla="*/ 14 h 1476"/>
                <a:gd name="T88" fmla="*/ 61 w 1440"/>
                <a:gd name="T89" fmla="*/ 8 h 1476"/>
                <a:gd name="T90" fmla="*/ 71 w 1440"/>
                <a:gd name="T91" fmla="*/ 7 h 1476"/>
                <a:gd name="T92" fmla="*/ 75 w 1440"/>
                <a:gd name="T93" fmla="*/ 0 h 1476"/>
                <a:gd name="T94" fmla="*/ 82 w 1440"/>
                <a:gd name="T95" fmla="*/ 3 h 1476"/>
                <a:gd name="T96" fmla="*/ 93 w 1440"/>
                <a:gd name="T97" fmla="*/ 5 h 1476"/>
                <a:gd name="T98" fmla="*/ 100 w 1440"/>
                <a:gd name="T99" fmla="*/ 1 h 1476"/>
                <a:gd name="T100" fmla="*/ 104 w 1440"/>
                <a:gd name="T101" fmla="*/ 4 h 1476"/>
                <a:gd name="T102" fmla="*/ 110 w 1440"/>
                <a:gd name="T103" fmla="*/ 10 h 1476"/>
                <a:gd name="T104" fmla="*/ 115 w 1440"/>
                <a:gd name="T105" fmla="*/ 23 h 1476"/>
                <a:gd name="T106" fmla="*/ 117 w 1440"/>
                <a:gd name="T107" fmla="*/ 42 h 1476"/>
                <a:gd name="T108" fmla="*/ 121 w 1440"/>
                <a:gd name="T109" fmla="*/ 52 h 1476"/>
                <a:gd name="T110" fmla="*/ 118 w 1440"/>
                <a:gd name="T111" fmla="*/ 62 h 1476"/>
                <a:gd name="T112" fmla="*/ 124 w 1440"/>
                <a:gd name="T113" fmla="*/ 66 h 1476"/>
                <a:gd name="T114" fmla="*/ 121 w 1440"/>
                <a:gd name="T115" fmla="*/ 71 h 1476"/>
                <a:gd name="T116" fmla="*/ 115 w 1440"/>
                <a:gd name="T117" fmla="*/ 76 h 1476"/>
                <a:gd name="T118" fmla="*/ 109 w 1440"/>
                <a:gd name="T119" fmla="*/ 76 h 1476"/>
                <a:gd name="T120" fmla="*/ 105 w 1440"/>
                <a:gd name="T121" fmla="*/ 86 h 1476"/>
                <a:gd name="T122" fmla="*/ 107 w 1440"/>
                <a:gd name="T123" fmla="*/ 97 h 147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40"/>
                <a:gd name="T187" fmla="*/ 0 h 1476"/>
                <a:gd name="T188" fmla="*/ 1440 w 1440"/>
                <a:gd name="T189" fmla="*/ 1476 h 147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40" h="1476">
                  <a:moveTo>
                    <a:pt x="1212" y="1164"/>
                  </a:moveTo>
                  <a:lnTo>
                    <a:pt x="1206" y="1170"/>
                  </a:lnTo>
                  <a:lnTo>
                    <a:pt x="1200" y="1176"/>
                  </a:lnTo>
                  <a:lnTo>
                    <a:pt x="1194" y="1176"/>
                  </a:lnTo>
                  <a:lnTo>
                    <a:pt x="1188" y="1188"/>
                  </a:lnTo>
                  <a:lnTo>
                    <a:pt x="1182" y="1194"/>
                  </a:lnTo>
                  <a:lnTo>
                    <a:pt x="1176" y="1194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64" y="1206"/>
                  </a:lnTo>
                  <a:lnTo>
                    <a:pt x="1158" y="1206"/>
                  </a:lnTo>
                  <a:lnTo>
                    <a:pt x="1152" y="1212"/>
                  </a:lnTo>
                  <a:lnTo>
                    <a:pt x="1146" y="1212"/>
                  </a:lnTo>
                  <a:lnTo>
                    <a:pt x="1140" y="1224"/>
                  </a:lnTo>
                  <a:lnTo>
                    <a:pt x="1134" y="1230"/>
                  </a:lnTo>
                  <a:lnTo>
                    <a:pt x="1128" y="1236"/>
                  </a:lnTo>
                  <a:lnTo>
                    <a:pt x="1128" y="1242"/>
                  </a:lnTo>
                  <a:lnTo>
                    <a:pt x="1128" y="1254"/>
                  </a:lnTo>
                  <a:lnTo>
                    <a:pt x="1128" y="1260"/>
                  </a:lnTo>
                  <a:lnTo>
                    <a:pt x="1122" y="1260"/>
                  </a:lnTo>
                  <a:lnTo>
                    <a:pt x="1122" y="1266"/>
                  </a:lnTo>
                  <a:lnTo>
                    <a:pt x="1128" y="1278"/>
                  </a:lnTo>
                  <a:lnTo>
                    <a:pt x="1122" y="1278"/>
                  </a:lnTo>
                  <a:lnTo>
                    <a:pt x="1122" y="1284"/>
                  </a:lnTo>
                  <a:lnTo>
                    <a:pt x="1128" y="1290"/>
                  </a:lnTo>
                  <a:lnTo>
                    <a:pt x="1122" y="1296"/>
                  </a:lnTo>
                  <a:lnTo>
                    <a:pt x="1122" y="1302"/>
                  </a:lnTo>
                  <a:lnTo>
                    <a:pt x="1116" y="1302"/>
                  </a:lnTo>
                  <a:lnTo>
                    <a:pt x="1110" y="1314"/>
                  </a:lnTo>
                  <a:lnTo>
                    <a:pt x="1110" y="1320"/>
                  </a:lnTo>
                  <a:lnTo>
                    <a:pt x="1110" y="1326"/>
                  </a:lnTo>
                  <a:lnTo>
                    <a:pt x="1098" y="1332"/>
                  </a:lnTo>
                  <a:lnTo>
                    <a:pt x="1092" y="1338"/>
                  </a:lnTo>
                  <a:lnTo>
                    <a:pt x="1092" y="1344"/>
                  </a:lnTo>
                  <a:lnTo>
                    <a:pt x="1086" y="1350"/>
                  </a:lnTo>
                  <a:lnTo>
                    <a:pt x="1080" y="1350"/>
                  </a:lnTo>
                  <a:lnTo>
                    <a:pt x="1074" y="1350"/>
                  </a:lnTo>
                  <a:lnTo>
                    <a:pt x="1068" y="1356"/>
                  </a:lnTo>
                  <a:lnTo>
                    <a:pt x="1062" y="1356"/>
                  </a:lnTo>
                  <a:lnTo>
                    <a:pt x="1044" y="1356"/>
                  </a:lnTo>
                  <a:lnTo>
                    <a:pt x="1038" y="1362"/>
                  </a:lnTo>
                  <a:lnTo>
                    <a:pt x="1032" y="1368"/>
                  </a:lnTo>
                  <a:lnTo>
                    <a:pt x="1026" y="1368"/>
                  </a:lnTo>
                  <a:lnTo>
                    <a:pt x="1020" y="1374"/>
                  </a:lnTo>
                  <a:lnTo>
                    <a:pt x="1008" y="1374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74"/>
                  </a:lnTo>
                  <a:lnTo>
                    <a:pt x="978" y="1380"/>
                  </a:lnTo>
                  <a:lnTo>
                    <a:pt x="972" y="1380"/>
                  </a:lnTo>
                  <a:lnTo>
                    <a:pt x="954" y="1368"/>
                  </a:lnTo>
                  <a:lnTo>
                    <a:pt x="930" y="1368"/>
                  </a:lnTo>
                  <a:lnTo>
                    <a:pt x="918" y="1368"/>
                  </a:lnTo>
                  <a:lnTo>
                    <a:pt x="906" y="1368"/>
                  </a:lnTo>
                  <a:lnTo>
                    <a:pt x="894" y="1368"/>
                  </a:lnTo>
                  <a:lnTo>
                    <a:pt x="864" y="1374"/>
                  </a:lnTo>
                  <a:lnTo>
                    <a:pt x="852" y="1374"/>
                  </a:lnTo>
                  <a:lnTo>
                    <a:pt x="846" y="1386"/>
                  </a:lnTo>
                  <a:lnTo>
                    <a:pt x="846" y="1392"/>
                  </a:lnTo>
                  <a:lnTo>
                    <a:pt x="840" y="1398"/>
                  </a:lnTo>
                  <a:lnTo>
                    <a:pt x="840" y="1404"/>
                  </a:lnTo>
                  <a:lnTo>
                    <a:pt x="834" y="1416"/>
                  </a:lnTo>
                  <a:lnTo>
                    <a:pt x="828" y="1416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04" y="1428"/>
                  </a:lnTo>
                  <a:lnTo>
                    <a:pt x="804" y="1434"/>
                  </a:lnTo>
                  <a:lnTo>
                    <a:pt x="804" y="1440"/>
                  </a:lnTo>
                  <a:lnTo>
                    <a:pt x="798" y="1446"/>
                  </a:lnTo>
                  <a:lnTo>
                    <a:pt x="798" y="1458"/>
                  </a:lnTo>
                  <a:lnTo>
                    <a:pt x="792" y="1464"/>
                  </a:lnTo>
                  <a:lnTo>
                    <a:pt x="786" y="1476"/>
                  </a:lnTo>
                  <a:lnTo>
                    <a:pt x="780" y="1470"/>
                  </a:lnTo>
                  <a:lnTo>
                    <a:pt x="774" y="1470"/>
                  </a:lnTo>
                  <a:lnTo>
                    <a:pt x="768" y="1470"/>
                  </a:lnTo>
                  <a:lnTo>
                    <a:pt x="762" y="1476"/>
                  </a:lnTo>
                  <a:lnTo>
                    <a:pt x="762" y="1470"/>
                  </a:lnTo>
                  <a:lnTo>
                    <a:pt x="762" y="1464"/>
                  </a:lnTo>
                  <a:lnTo>
                    <a:pt x="762" y="1458"/>
                  </a:lnTo>
                  <a:lnTo>
                    <a:pt x="756" y="1458"/>
                  </a:lnTo>
                  <a:lnTo>
                    <a:pt x="756" y="1452"/>
                  </a:lnTo>
                  <a:lnTo>
                    <a:pt x="756" y="1446"/>
                  </a:lnTo>
                  <a:lnTo>
                    <a:pt x="756" y="1440"/>
                  </a:lnTo>
                  <a:lnTo>
                    <a:pt x="750" y="1434"/>
                  </a:lnTo>
                  <a:lnTo>
                    <a:pt x="750" y="1428"/>
                  </a:lnTo>
                  <a:lnTo>
                    <a:pt x="750" y="1422"/>
                  </a:lnTo>
                  <a:lnTo>
                    <a:pt x="750" y="1416"/>
                  </a:lnTo>
                  <a:lnTo>
                    <a:pt x="744" y="1416"/>
                  </a:lnTo>
                  <a:lnTo>
                    <a:pt x="744" y="1410"/>
                  </a:lnTo>
                  <a:lnTo>
                    <a:pt x="738" y="1404"/>
                  </a:lnTo>
                  <a:lnTo>
                    <a:pt x="732" y="1398"/>
                  </a:lnTo>
                  <a:lnTo>
                    <a:pt x="732" y="1392"/>
                  </a:lnTo>
                  <a:lnTo>
                    <a:pt x="726" y="1386"/>
                  </a:lnTo>
                  <a:lnTo>
                    <a:pt x="726" y="1380"/>
                  </a:lnTo>
                  <a:lnTo>
                    <a:pt x="714" y="1368"/>
                  </a:lnTo>
                  <a:lnTo>
                    <a:pt x="708" y="1368"/>
                  </a:lnTo>
                  <a:lnTo>
                    <a:pt x="684" y="1332"/>
                  </a:lnTo>
                  <a:lnTo>
                    <a:pt x="666" y="1320"/>
                  </a:lnTo>
                  <a:lnTo>
                    <a:pt x="648" y="1302"/>
                  </a:lnTo>
                  <a:lnTo>
                    <a:pt x="630" y="1314"/>
                  </a:lnTo>
                  <a:lnTo>
                    <a:pt x="624" y="1314"/>
                  </a:lnTo>
                  <a:lnTo>
                    <a:pt x="624" y="1308"/>
                  </a:lnTo>
                  <a:lnTo>
                    <a:pt x="618" y="1308"/>
                  </a:lnTo>
                  <a:lnTo>
                    <a:pt x="612" y="1284"/>
                  </a:lnTo>
                  <a:lnTo>
                    <a:pt x="606" y="1254"/>
                  </a:lnTo>
                  <a:lnTo>
                    <a:pt x="606" y="1248"/>
                  </a:lnTo>
                  <a:lnTo>
                    <a:pt x="606" y="1242"/>
                  </a:lnTo>
                  <a:lnTo>
                    <a:pt x="612" y="1242"/>
                  </a:lnTo>
                  <a:lnTo>
                    <a:pt x="618" y="1236"/>
                  </a:lnTo>
                  <a:lnTo>
                    <a:pt x="618" y="1230"/>
                  </a:lnTo>
                  <a:lnTo>
                    <a:pt x="624" y="1224"/>
                  </a:lnTo>
                  <a:lnTo>
                    <a:pt x="630" y="1224"/>
                  </a:lnTo>
                  <a:lnTo>
                    <a:pt x="636" y="1218"/>
                  </a:lnTo>
                  <a:lnTo>
                    <a:pt x="636" y="1212"/>
                  </a:lnTo>
                  <a:lnTo>
                    <a:pt x="612" y="1200"/>
                  </a:lnTo>
                  <a:lnTo>
                    <a:pt x="606" y="1182"/>
                  </a:lnTo>
                  <a:lnTo>
                    <a:pt x="672" y="1182"/>
                  </a:lnTo>
                  <a:lnTo>
                    <a:pt x="690" y="1170"/>
                  </a:lnTo>
                  <a:lnTo>
                    <a:pt x="690" y="1152"/>
                  </a:lnTo>
                  <a:lnTo>
                    <a:pt x="678" y="1110"/>
                  </a:lnTo>
                  <a:lnTo>
                    <a:pt x="672" y="1092"/>
                  </a:lnTo>
                  <a:lnTo>
                    <a:pt x="660" y="1074"/>
                  </a:lnTo>
                  <a:lnTo>
                    <a:pt x="648" y="1068"/>
                  </a:lnTo>
                  <a:lnTo>
                    <a:pt x="642" y="1068"/>
                  </a:lnTo>
                  <a:lnTo>
                    <a:pt x="636" y="1062"/>
                  </a:lnTo>
                  <a:lnTo>
                    <a:pt x="624" y="1056"/>
                  </a:lnTo>
                  <a:lnTo>
                    <a:pt x="624" y="1050"/>
                  </a:lnTo>
                  <a:lnTo>
                    <a:pt x="618" y="1038"/>
                  </a:lnTo>
                  <a:lnTo>
                    <a:pt x="612" y="1038"/>
                  </a:lnTo>
                  <a:lnTo>
                    <a:pt x="612" y="1032"/>
                  </a:lnTo>
                  <a:lnTo>
                    <a:pt x="612" y="1026"/>
                  </a:lnTo>
                  <a:lnTo>
                    <a:pt x="600" y="1014"/>
                  </a:lnTo>
                  <a:lnTo>
                    <a:pt x="582" y="1008"/>
                  </a:lnTo>
                  <a:lnTo>
                    <a:pt x="576" y="1002"/>
                  </a:lnTo>
                  <a:lnTo>
                    <a:pt x="576" y="996"/>
                  </a:lnTo>
                  <a:lnTo>
                    <a:pt x="570" y="996"/>
                  </a:lnTo>
                  <a:lnTo>
                    <a:pt x="570" y="990"/>
                  </a:lnTo>
                  <a:lnTo>
                    <a:pt x="570" y="984"/>
                  </a:lnTo>
                  <a:lnTo>
                    <a:pt x="564" y="984"/>
                  </a:lnTo>
                  <a:lnTo>
                    <a:pt x="558" y="978"/>
                  </a:lnTo>
                  <a:lnTo>
                    <a:pt x="552" y="972"/>
                  </a:lnTo>
                  <a:lnTo>
                    <a:pt x="552" y="966"/>
                  </a:lnTo>
                  <a:lnTo>
                    <a:pt x="546" y="972"/>
                  </a:lnTo>
                  <a:lnTo>
                    <a:pt x="540" y="972"/>
                  </a:lnTo>
                  <a:lnTo>
                    <a:pt x="534" y="960"/>
                  </a:lnTo>
                  <a:lnTo>
                    <a:pt x="528" y="960"/>
                  </a:lnTo>
                  <a:lnTo>
                    <a:pt x="528" y="966"/>
                  </a:lnTo>
                  <a:lnTo>
                    <a:pt x="516" y="954"/>
                  </a:lnTo>
                  <a:lnTo>
                    <a:pt x="516" y="948"/>
                  </a:lnTo>
                  <a:lnTo>
                    <a:pt x="510" y="948"/>
                  </a:lnTo>
                  <a:lnTo>
                    <a:pt x="504" y="948"/>
                  </a:lnTo>
                  <a:lnTo>
                    <a:pt x="498" y="948"/>
                  </a:lnTo>
                  <a:lnTo>
                    <a:pt x="504" y="954"/>
                  </a:lnTo>
                  <a:lnTo>
                    <a:pt x="498" y="954"/>
                  </a:lnTo>
                  <a:lnTo>
                    <a:pt x="492" y="954"/>
                  </a:lnTo>
                  <a:lnTo>
                    <a:pt x="480" y="942"/>
                  </a:lnTo>
                  <a:lnTo>
                    <a:pt x="480" y="948"/>
                  </a:lnTo>
                  <a:lnTo>
                    <a:pt x="480" y="954"/>
                  </a:lnTo>
                  <a:lnTo>
                    <a:pt x="474" y="954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56" y="966"/>
                  </a:lnTo>
                  <a:lnTo>
                    <a:pt x="456" y="960"/>
                  </a:lnTo>
                  <a:lnTo>
                    <a:pt x="450" y="966"/>
                  </a:lnTo>
                  <a:lnTo>
                    <a:pt x="444" y="966"/>
                  </a:lnTo>
                  <a:lnTo>
                    <a:pt x="414" y="966"/>
                  </a:lnTo>
                  <a:lnTo>
                    <a:pt x="408" y="960"/>
                  </a:lnTo>
                  <a:lnTo>
                    <a:pt x="408" y="966"/>
                  </a:lnTo>
                  <a:lnTo>
                    <a:pt x="402" y="960"/>
                  </a:lnTo>
                  <a:lnTo>
                    <a:pt x="396" y="960"/>
                  </a:lnTo>
                  <a:lnTo>
                    <a:pt x="390" y="960"/>
                  </a:lnTo>
                  <a:lnTo>
                    <a:pt x="390" y="966"/>
                  </a:lnTo>
                  <a:lnTo>
                    <a:pt x="384" y="966"/>
                  </a:lnTo>
                  <a:lnTo>
                    <a:pt x="378" y="966"/>
                  </a:lnTo>
                  <a:lnTo>
                    <a:pt x="384" y="960"/>
                  </a:lnTo>
                  <a:lnTo>
                    <a:pt x="384" y="954"/>
                  </a:lnTo>
                  <a:lnTo>
                    <a:pt x="372" y="948"/>
                  </a:lnTo>
                  <a:lnTo>
                    <a:pt x="372" y="954"/>
                  </a:lnTo>
                  <a:lnTo>
                    <a:pt x="372" y="960"/>
                  </a:lnTo>
                  <a:lnTo>
                    <a:pt x="366" y="960"/>
                  </a:lnTo>
                  <a:lnTo>
                    <a:pt x="360" y="966"/>
                  </a:lnTo>
                  <a:lnTo>
                    <a:pt x="354" y="966"/>
                  </a:lnTo>
                  <a:lnTo>
                    <a:pt x="348" y="960"/>
                  </a:lnTo>
                  <a:lnTo>
                    <a:pt x="342" y="960"/>
                  </a:lnTo>
                  <a:lnTo>
                    <a:pt x="342" y="966"/>
                  </a:lnTo>
                  <a:lnTo>
                    <a:pt x="336" y="972"/>
                  </a:lnTo>
                  <a:lnTo>
                    <a:pt x="330" y="972"/>
                  </a:lnTo>
                  <a:lnTo>
                    <a:pt x="324" y="966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6" y="954"/>
                  </a:lnTo>
                  <a:lnTo>
                    <a:pt x="306" y="948"/>
                  </a:lnTo>
                  <a:lnTo>
                    <a:pt x="306" y="942"/>
                  </a:lnTo>
                  <a:lnTo>
                    <a:pt x="300" y="942"/>
                  </a:lnTo>
                  <a:lnTo>
                    <a:pt x="294" y="936"/>
                  </a:lnTo>
                  <a:lnTo>
                    <a:pt x="288" y="936"/>
                  </a:lnTo>
                  <a:lnTo>
                    <a:pt x="282" y="942"/>
                  </a:lnTo>
                  <a:lnTo>
                    <a:pt x="276" y="936"/>
                  </a:lnTo>
                  <a:lnTo>
                    <a:pt x="276" y="942"/>
                  </a:lnTo>
                  <a:lnTo>
                    <a:pt x="270" y="942"/>
                  </a:lnTo>
                  <a:lnTo>
                    <a:pt x="264" y="936"/>
                  </a:lnTo>
                  <a:lnTo>
                    <a:pt x="252" y="936"/>
                  </a:lnTo>
                  <a:lnTo>
                    <a:pt x="246" y="936"/>
                  </a:lnTo>
                  <a:lnTo>
                    <a:pt x="240" y="936"/>
                  </a:lnTo>
                  <a:lnTo>
                    <a:pt x="234" y="936"/>
                  </a:lnTo>
                  <a:lnTo>
                    <a:pt x="240" y="924"/>
                  </a:lnTo>
                  <a:lnTo>
                    <a:pt x="234" y="924"/>
                  </a:lnTo>
                  <a:lnTo>
                    <a:pt x="228" y="918"/>
                  </a:lnTo>
                  <a:lnTo>
                    <a:pt x="228" y="906"/>
                  </a:lnTo>
                  <a:lnTo>
                    <a:pt x="222" y="900"/>
                  </a:lnTo>
                  <a:lnTo>
                    <a:pt x="216" y="900"/>
                  </a:lnTo>
                  <a:lnTo>
                    <a:pt x="210" y="900"/>
                  </a:lnTo>
                  <a:lnTo>
                    <a:pt x="210" y="906"/>
                  </a:lnTo>
                  <a:lnTo>
                    <a:pt x="204" y="906"/>
                  </a:lnTo>
                  <a:lnTo>
                    <a:pt x="198" y="906"/>
                  </a:lnTo>
                  <a:lnTo>
                    <a:pt x="210" y="900"/>
                  </a:lnTo>
                  <a:lnTo>
                    <a:pt x="210" y="894"/>
                  </a:lnTo>
                  <a:lnTo>
                    <a:pt x="216" y="888"/>
                  </a:lnTo>
                  <a:lnTo>
                    <a:pt x="204" y="882"/>
                  </a:lnTo>
                  <a:lnTo>
                    <a:pt x="204" y="894"/>
                  </a:lnTo>
                  <a:lnTo>
                    <a:pt x="198" y="894"/>
                  </a:lnTo>
                  <a:lnTo>
                    <a:pt x="192" y="900"/>
                  </a:lnTo>
                  <a:lnTo>
                    <a:pt x="186" y="894"/>
                  </a:lnTo>
                  <a:lnTo>
                    <a:pt x="180" y="894"/>
                  </a:lnTo>
                  <a:lnTo>
                    <a:pt x="174" y="894"/>
                  </a:lnTo>
                  <a:lnTo>
                    <a:pt x="168" y="900"/>
                  </a:lnTo>
                  <a:lnTo>
                    <a:pt x="162" y="906"/>
                  </a:lnTo>
                  <a:lnTo>
                    <a:pt x="156" y="906"/>
                  </a:lnTo>
                  <a:lnTo>
                    <a:pt x="150" y="900"/>
                  </a:lnTo>
                  <a:lnTo>
                    <a:pt x="144" y="894"/>
                  </a:lnTo>
                  <a:lnTo>
                    <a:pt x="138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0" y="888"/>
                  </a:lnTo>
                  <a:lnTo>
                    <a:pt x="114" y="894"/>
                  </a:lnTo>
                  <a:lnTo>
                    <a:pt x="120" y="900"/>
                  </a:lnTo>
                  <a:lnTo>
                    <a:pt x="126" y="900"/>
                  </a:lnTo>
                  <a:lnTo>
                    <a:pt x="132" y="900"/>
                  </a:lnTo>
                  <a:lnTo>
                    <a:pt x="132" y="906"/>
                  </a:lnTo>
                  <a:lnTo>
                    <a:pt x="126" y="912"/>
                  </a:lnTo>
                  <a:lnTo>
                    <a:pt x="126" y="918"/>
                  </a:lnTo>
                  <a:lnTo>
                    <a:pt x="114" y="918"/>
                  </a:lnTo>
                  <a:lnTo>
                    <a:pt x="108" y="924"/>
                  </a:lnTo>
                  <a:lnTo>
                    <a:pt x="102" y="924"/>
                  </a:lnTo>
                  <a:lnTo>
                    <a:pt x="90" y="924"/>
                  </a:lnTo>
                  <a:lnTo>
                    <a:pt x="84" y="924"/>
                  </a:lnTo>
                  <a:lnTo>
                    <a:pt x="78" y="924"/>
                  </a:lnTo>
                  <a:lnTo>
                    <a:pt x="60" y="924"/>
                  </a:lnTo>
                  <a:lnTo>
                    <a:pt x="54" y="942"/>
                  </a:lnTo>
                  <a:lnTo>
                    <a:pt x="48" y="936"/>
                  </a:lnTo>
                  <a:lnTo>
                    <a:pt x="42" y="930"/>
                  </a:lnTo>
                  <a:lnTo>
                    <a:pt x="36" y="930"/>
                  </a:lnTo>
                  <a:lnTo>
                    <a:pt x="30" y="936"/>
                  </a:lnTo>
                  <a:lnTo>
                    <a:pt x="30" y="930"/>
                  </a:lnTo>
                  <a:lnTo>
                    <a:pt x="30" y="924"/>
                  </a:lnTo>
                  <a:lnTo>
                    <a:pt x="18" y="918"/>
                  </a:lnTo>
                  <a:lnTo>
                    <a:pt x="18" y="912"/>
                  </a:lnTo>
                  <a:lnTo>
                    <a:pt x="12" y="912"/>
                  </a:lnTo>
                  <a:lnTo>
                    <a:pt x="6" y="912"/>
                  </a:lnTo>
                  <a:lnTo>
                    <a:pt x="6" y="900"/>
                  </a:lnTo>
                  <a:lnTo>
                    <a:pt x="6" y="894"/>
                  </a:lnTo>
                  <a:lnTo>
                    <a:pt x="0" y="870"/>
                  </a:lnTo>
                  <a:lnTo>
                    <a:pt x="6" y="846"/>
                  </a:lnTo>
                  <a:lnTo>
                    <a:pt x="6" y="810"/>
                  </a:lnTo>
                  <a:lnTo>
                    <a:pt x="12" y="774"/>
                  </a:lnTo>
                  <a:lnTo>
                    <a:pt x="12" y="756"/>
                  </a:lnTo>
                  <a:lnTo>
                    <a:pt x="18" y="744"/>
                  </a:lnTo>
                  <a:lnTo>
                    <a:pt x="18" y="732"/>
                  </a:lnTo>
                  <a:lnTo>
                    <a:pt x="12" y="576"/>
                  </a:lnTo>
                  <a:lnTo>
                    <a:pt x="12" y="570"/>
                  </a:lnTo>
                  <a:lnTo>
                    <a:pt x="18" y="564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42" y="552"/>
                  </a:lnTo>
                  <a:lnTo>
                    <a:pt x="66" y="552"/>
                  </a:lnTo>
                  <a:lnTo>
                    <a:pt x="78" y="558"/>
                  </a:lnTo>
                  <a:lnTo>
                    <a:pt x="90" y="558"/>
                  </a:lnTo>
                  <a:lnTo>
                    <a:pt x="108" y="558"/>
                  </a:lnTo>
                  <a:lnTo>
                    <a:pt x="144" y="558"/>
                  </a:lnTo>
                  <a:lnTo>
                    <a:pt x="204" y="552"/>
                  </a:lnTo>
                  <a:lnTo>
                    <a:pt x="210" y="558"/>
                  </a:lnTo>
                  <a:lnTo>
                    <a:pt x="216" y="558"/>
                  </a:lnTo>
                  <a:lnTo>
                    <a:pt x="210" y="564"/>
                  </a:lnTo>
                  <a:lnTo>
                    <a:pt x="216" y="564"/>
                  </a:lnTo>
                  <a:lnTo>
                    <a:pt x="222" y="564"/>
                  </a:lnTo>
                  <a:lnTo>
                    <a:pt x="240" y="564"/>
                  </a:lnTo>
                  <a:lnTo>
                    <a:pt x="258" y="564"/>
                  </a:lnTo>
                  <a:lnTo>
                    <a:pt x="264" y="570"/>
                  </a:lnTo>
                  <a:lnTo>
                    <a:pt x="276" y="570"/>
                  </a:lnTo>
                  <a:lnTo>
                    <a:pt x="282" y="564"/>
                  </a:lnTo>
                  <a:lnTo>
                    <a:pt x="294" y="564"/>
                  </a:lnTo>
                  <a:lnTo>
                    <a:pt x="294" y="570"/>
                  </a:lnTo>
                  <a:lnTo>
                    <a:pt x="300" y="570"/>
                  </a:lnTo>
                  <a:lnTo>
                    <a:pt x="378" y="564"/>
                  </a:lnTo>
                  <a:lnTo>
                    <a:pt x="408" y="558"/>
                  </a:lnTo>
                  <a:lnTo>
                    <a:pt x="432" y="552"/>
                  </a:lnTo>
                  <a:lnTo>
                    <a:pt x="450" y="546"/>
                  </a:lnTo>
                  <a:lnTo>
                    <a:pt x="468" y="546"/>
                  </a:lnTo>
                  <a:lnTo>
                    <a:pt x="468" y="552"/>
                  </a:lnTo>
                  <a:lnTo>
                    <a:pt x="504" y="552"/>
                  </a:lnTo>
                  <a:lnTo>
                    <a:pt x="510" y="534"/>
                  </a:lnTo>
                  <a:lnTo>
                    <a:pt x="516" y="510"/>
                  </a:lnTo>
                  <a:lnTo>
                    <a:pt x="522" y="510"/>
                  </a:lnTo>
                  <a:lnTo>
                    <a:pt x="528" y="420"/>
                  </a:lnTo>
                  <a:lnTo>
                    <a:pt x="522" y="414"/>
                  </a:lnTo>
                  <a:lnTo>
                    <a:pt x="516" y="396"/>
                  </a:lnTo>
                  <a:lnTo>
                    <a:pt x="510" y="372"/>
                  </a:lnTo>
                  <a:lnTo>
                    <a:pt x="498" y="348"/>
                  </a:lnTo>
                  <a:lnTo>
                    <a:pt x="474" y="282"/>
                  </a:lnTo>
                  <a:lnTo>
                    <a:pt x="474" y="270"/>
                  </a:lnTo>
                  <a:lnTo>
                    <a:pt x="480" y="258"/>
                  </a:lnTo>
                  <a:lnTo>
                    <a:pt x="486" y="258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92" y="246"/>
                  </a:lnTo>
                  <a:lnTo>
                    <a:pt x="504" y="234"/>
                  </a:lnTo>
                  <a:lnTo>
                    <a:pt x="510" y="228"/>
                  </a:lnTo>
                  <a:lnTo>
                    <a:pt x="516" y="228"/>
                  </a:lnTo>
                  <a:lnTo>
                    <a:pt x="516" y="222"/>
                  </a:lnTo>
                  <a:lnTo>
                    <a:pt x="516" y="216"/>
                  </a:lnTo>
                  <a:lnTo>
                    <a:pt x="522" y="216"/>
                  </a:lnTo>
                  <a:lnTo>
                    <a:pt x="528" y="210"/>
                  </a:lnTo>
                  <a:lnTo>
                    <a:pt x="534" y="210"/>
                  </a:lnTo>
                  <a:lnTo>
                    <a:pt x="540" y="210"/>
                  </a:lnTo>
                  <a:lnTo>
                    <a:pt x="546" y="210"/>
                  </a:lnTo>
                  <a:lnTo>
                    <a:pt x="552" y="210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16"/>
                  </a:lnTo>
                  <a:lnTo>
                    <a:pt x="588" y="228"/>
                  </a:lnTo>
                  <a:lnTo>
                    <a:pt x="594" y="234"/>
                  </a:lnTo>
                  <a:lnTo>
                    <a:pt x="600" y="240"/>
                  </a:lnTo>
                  <a:lnTo>
                    <a:pt x="618" y="246"/>
                  </a:lnTo>
                  <a:lnTo>
                    <a:pt x="624" y="246"/>
                  </a:lnTo>
                  <a:lnTo>
                    <a:pt x="636" y="252"/>
                  </a:lnTo>
                  <a:lnTo>
                    <a:pt x="654" y="252"/>
                  </a:lnTo>
                  <a:lnTo>
                    <a:pt x="654" y="258"/>
                  </a:lnTo>
                  <a:lnTo>
                    <a:pt x="666" y="264"/>
                  </a:lnTo>
                  <a:lnTo>
                    <a:pt x="672" y="264"/>
                  </a:lnTo>
                  <a:lnTo>
                    <a:pt x="678" y="264"/>
                  </a:lnTo>
                  <a:lnTo>
                    <a:pt x="696" y="258"/>
                  </a:lnTo>
                  <a:lnTo>
                    <a:pt x="696" y="252"/>
                  </a:lnTo>
                  <a:lnTo>
                    <a:pt x="696" y="246"/>
                  </a:lnTo>
                  <a:lnTo>
                    <a:pt x="690" y="234"/>
                  </a:lnTo>
                  <a:lnTo>
                    <a:pt x="684" y="210"/>
                  </a:lnTo>
                  <a:lnTo>
                    <a:pt x="678" y="192"/>
                  </a:lnTo>
                  <a:lnTo>
                    <a:pt x="672" y="174"/>
                  </a:lnTo>
                  <a:lnTo>
                    <a:pt x="672" y="168"/>
                  </a:lnTo>
                  <a:lnTo>
                    <a:pt x="672" y="162"/>
                  </a:lnTo>
                  <a:lnTo>
                    <a:pt x="672" y="156"/>
                  </a:lnTo>
                  <a:lnTo>
                    <a:pt x="684" y="132"/>
                  </a:lnTo>
                  <a:lnTo>
                    <a:pt x="684" y="120"/>
                  </a:lnTo>
                  <a:lnTo>
                    <a:pt x="684" y="108"/>
                  </a:lnTo>
                  <a:lnTo>
                    <a:pt x="678" y="102"/>
                  </a:lnTo>
                  <a:lnTo>
                    <a:pt x="678" y="96"/>
                  </a:lnTo>
                  <a:lnTo>
                    <a:pt x="684" y="96"/>
                  </a:lnTo>
                  <a:lnTo>
                    <a:pt x="696" y="90"/>
                  </a:lnTo>
                  <a:lnTo>
                    <a:pt x="702" y="84"/>
                  </a:lnTo>
                  <a:lnTo>
                    <a:pt x="720" y="72"/>
                  </a:lnTo>
                  <a:lnTo>
                    <a:pt x="738" y="66"/>
                  </a:lnTo>
                  <a:lnTo>
                    <a:pt x="756" y="60"/>
                  </a:lnTo>
                  <a:lnTo>
                    <a:pt x="768" y="60"/>
                  </a:lnTo>
                  <a:lnTo>
                    <a:pt x="798" y="72"/>
                  </a:lnTo>
                  <a:lnTo>
                    <a:pt x="804" y="78"/>
                  </a:lnTo>
                  <a:lnTo>
                    <a:pt x="816" y="84"/>
                  </a:lnTo>
                  <a:lnTo>
                    <a:pt x="822" y="84"/>
                  </a:lnTo>
                  <a:lnTo>
                    <a:pt x="828" y="72"/>
                  </a:lnTo>
                  <a:lnTo>
                    <a:pt x="828" y="60"/>
                  </a:lnTo>
                  <a:lnTo>
                    <a:pt x="828" y="36"/>
                  </a:lnTo>
                  <a:lnTo>
                    <a:pt x="828" y="24"/>
                  </a:lnTo>
                  <a:lnTo>
                    <a:pt x="828" y="12"/>
                  </a:lnTo>
                  <a:lnTo>
                    <a:pt x="834" y="12"/>
                  </a:lnTo>
                  <a:lnTo>
                    <a:pt x="852" y="6"/>
                  </a:lnTo>
                  <a:lnTo>
                    <a:pt x="876" y="6"/>
                  </a:lnTo>
                  <a:lnTo>
                    <a:pt x="894" y="6"/>
                  </a:lnTo>
                  <a:lnTo>
                    <a:pt x="906" y="12"/>
                  </a:lnTo>
                  <a:lnTo>
                    <a:pt x="912" y="24"/>
                  </a:lnTo>
                  <a:lnTo>
                    <a:pt x="924" y="24"/>
                  </a:lnTo>
                  <a:lnTo>
                    <a:pt x="930" y="30"/>
                  </a:lnTo>
                  <a:lnTo>
                    <a:pt x="936" y="30"/>
                  </a:lnTo>
                  <a:lnTo>
                    <a:pt x="936" y="36"/>
                  </a:lnTo>
                  <a:lnTo>
                    <a:pt x="942" y="36"/>
                  </a:lnTo>
                  <a:lnTo>
                    <a:pt x="948" y="42"/>
                  </a:lnTo>
                  <a:lnTo>
                    <a:pt x="960" y="48"/>
                  </a:lnTo>
                  <a:lnTo>
                    <a:pt x="966" y="48"/>
                  </a:lnTo>
                  <a:lnTo>
                    <a:pt x="1026" y="60"/>
                  </a:lnTo>
                  <a:lnTo>
                    <a:pt x="1050" y="60"/>
                  </a:lnTo>
                  <a:lnTo>
                    <a:pt x="1050" y="54"/>
                  </a:lnTo>
                  <a:lnTo>
                    <a:pt x="1062" y="54"/>
                  </a:lnTo>
                  <a:lnTo>
                    <a:pt x="1074" y="48"/>
                  </a:lnTo>
                  <a:lnTo>
                    <a:pt x="1086" y="42"/>
                  </a:lnTo>
                  <a:lnTo>
                    <a:pt x="1104" y="36"/>
                  </a:lnTo>
                  <a:lnTo>
                    <a:pt x="1116" y="30"/>
                  </a:lnTo>
                  <a:lnTo>
                    <a:pt x="1122" y="24"/>
                  </a:lnTo>
                  <a:lnTo>
                    <a:pt x="1128" y="18"/>
                  </a:lnTo>
                  <a:lnTo>
                    <a:pt x="1134" y="18"/>
                  </a:lnTo>
                  <a:lnTo>
                    <a:pt x="1140" y="12"/>
                  </a:lnTo>
                  <a:lnTo>
                    <a:pt x="1146" y="6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24"/>
                  </a:lnTo>
                  <a:lnTo>
                    <a:pt x="1176" y="36"/>
                  </a:lnTo>
                  <a:lnTo>
                    <a:pt x="1188" y="42"/>
                  </a:lnTo>
                  <a:lnTo>
                    <a:pt x="1200" y="54"/>
                  </a:lnTo>
                  <a:lnTo>
                    <a:pt x="1224" y="84"/>
                  </a:lnTo>
                  <a:lnTo>
                    <a:pt x="1224" y="90"/>
                  </a:lnTo>
                  <a:lnTo>
                    <a:pt x="1236" y="96"/>
                  </a:lnTo>
                  <a:lnTo>
                    <a:pt x="1236" y="108"/>
                  </a:lnTo>
                  <a:lnTo>
                    <a:pt x="1248" y="114"/>
                  </a:lnTo>
                  <a:lnTo>
                    <a:pt x="1254" y="114"/>
                  </a:lnTo>
                  <a:lnTo>
                    <a:pt x="1260" y="114"/>
                  </a:lnTo>
                  <a:lnTo>
                    <a:pt x="1296" y="114"/>
                  </a:lnTo>
                  <a:lnTo>
                    <a:pt x="1302" y="114"/>
                  </a:lnTo>
                  <a:lnTo>
                    <a:pt x="1320" y="108"/>
                  </a:lnTo>
                  <a:lnTo>
                    <a:pt x="1326" y="108"/>
                  </a:lnTo>
                  <a:lnTo>
                    <a:pt x="1326" y="138"/>
                  </a:lnTo>
                  <a:lnTo>
                    <a:pt x="1326" y="210"/>
                  </a:lnTo>
                  <a:lnTo>
                    <a:pt x="1320" y="252"/>
                  </a:lnTo>
                  <a:lnTo>
                    <a:pt x="1320" y="270"/>
                  </a:lnTo>
                  <a:lnTo>
                    <a:pt x="1320" y="288"/>
                  </a:lnTo>
                  <a:lnTo>
                    <a:pt x="1320" y="318"/>
                  </a:lnTo>
                  <a:lnTo>
                    <a:pt x="1326" y="354"/>
                  </a:lnTo>
                  <a:lnTo>
                    <a:pt x="1326" y="372"/>
                  </a:lnTo>
                  <a:lnTo>
                    <a:pt x="1332" y="420"/>
                  </a:lnTo>
                  <a:lnTo>
                    <a:pt x="1332" y="450"/>
                  </a:lnTo>
                  <a:lnTo>
                    <a:pt x="1338" y="480"/>
                  </a:lnTo>
                  <a:lnTo>
                    <a:pt x="1344" y="486"/>
                  </a:lnTo>
                  <a:lnTo>
                    <a:pt x="1338" y="492"/>
                  </a:lnTo>
                  <a:lnTo>
                    <a:pt x="1344" y="492"/>
                  </a:lnTo>
                  <a:lnTo>
                    <a:pt x="1344" y="498"/>
                  </a:lnTo>
                  <a:lnTo>
                    <a:pt x="1350" y="498"/>
                  </a:lnTo>
                  <a:lnTo>
                    <a:pt x="1350" y="522"/>
                  </a:lnTo>
                  <a:lnTo>
                    <a:pt x="1362" y="564"/>
                  </a:lnTo>
                  <a:lnTo>
                    <a:pt x="1368" y="582"/>
                  </a:lnTo>
                  <a:lnTo>
                    <a:pt x="1380" y="600"/>
                  </a:lnTo>
                  <a:lnTo>
                    <a:pt x="1386" y="636"/>
                  </a:lnTo>
                  <a:lnTo>
                    <a:pt x="1380" y="660"/>
                  </a:lnTo>
                  <a:lnTo>
                    <a:pt x="1380" y="678"/>
                  </a:lnTo>
                  <a:lnTo>
                    <a:pt x="1380" y="684"/>
                  </a:lnTo>
                  <a:lnTo>
                    <a:pt x="1374" y="684"/>
                  </a:lnTo>
                  <a:lnTo>
                    <a:pt x="1368" y="690"/>
                  </a:lnTo>
                  <a:lnTo>
                    <a:pt x="1356" y="702"/>
                  </a:lnTo>
                  <a:lnTo>
                    <a:pt x="1350" y="708"/>
                  </a:lnTo>
                  <a:lnTo>
                    <a:pt x="1356" y="714"/>
                  </a:lnTo>
                  <a:lnTo>
                    <a:pt x="1368" y="726"/>
                  </a:lnTo>
                  <a:lnTo>
                    <a:pt x="1380" y="738"/>
                  </a:lnTo>
                  <a:lnTo>
                    <a:pt x="1386" y="744"/>
                  </a:lnTo>
                  <a:lnTo>
                    <a:pt x="1392" y="744"/>
                  </a:lnTo>
                  <a:lnTo>
                    <a:pt x="1410" y="750"/>
                  </a:lnTo>
                  <a:lnTo>
                    <a:pt x="1416" y="756"/>
                  </a:lnTo>
                  <a:lnTo>
                    <a:pt x="1422" y="756"/>
                  </a:lnTo>
                  <a:lnTo>
                    <a:pt x="1422" y="762"/>
                  </a:lnTo>
                  <a:lnTo>
                    <a:pt x="1428" y="774"/>
                  </a:lnTo>
                  <a:lnTo>
                    <a:pt x="1428" y="780"/>
                  </a:lnTo>
                  <a:lnTo>
                    <a:pt x="1434" y="780"/>
                  </a:lnTo>
                  <a:lnTo>
                    <a:pt x="1440" y="798"/>
                  </a:lnTo>
                  <a:lnTo>
                    <a:pt x="1422" y="816"/>
                  </a:lnTo>
                  <a:lnTo>
                    <a:pt x="1386" y="810"/>
                  </a:lnTo>
                  <a:lnTo>
                    <a:pt x="1380" y="816"/>
                  </a:lnTo>
                  <a:lnTo>
                    <a:pt x="1374" y="840"/>
                  </a:lnTo>
                  <a:lnTo>
                    <a:pt x="1350" y="852"/>
                  </a:lnTo>
                  <a:lnTo>
                    <a:pt x="1350" y="858"/>
                  </a:lnTo>
                  <a:lnTo>
                    <a:pt x="1350" y="864"/>
                  </a:lnTo>
                  <a:lnTo>
                    <a:pt x="1344" y="864"/>
                  </a:lnTo>
                  <a:lnTo>
                    <a:pt x="1338" y="870"/>
                  </a:lnTo>
                  <a:lnTo>
                    <a:pt x="1332" y="876"/>
                  </a:lnTo>
                  <a:lnTo>
                    <a:pt x="1314" y="876"/>
                  </a:lnTo>
                  <a:lnTo>
                    <a:pt x="1314" y="870"/>
                  </a:lnTo>
                  <a:lnTo>
                    <a:pt x="1308" y="870"/>
                  </a:lnTo>
                  <a:lnTo>
                    <a:pt x="1302" y="864"/>
                  </a:lnTo>
                  <a:lnTo>
                    <a:pt x="1296" y="864"/>
                  </a:lnTo>
                  <a:lnTo>
                    <a:pt x="1284" y="870"/>
                  </a:lnTo>
                  <a:lnTo>
                    <a:pt x="1266" y="870"/>
                  </a:lnTo>
                  <a:lnTo>
                    <a:pt x="1260" y="870"/>
                  </a:lnTo>
                  <a:lnTo>
                    <a:pt x="1248" y="876"/>
                  </a:lnTo>
                  <a:lnTo>
                    <a:pt x="1236" y="876"/>
                  </a:lnTo>
                  <a:lnTo>
                    <a:pt x="1230" y="882"/>
                  </a:lnTo>
                  <a:lnTo>
                    <a:pt x="1224" y="894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18" y="942"/>
                  </a:lnTo>
                  <a:lnTo>
                    <a:pt x="1212" y="948"/>
                  </a:lnTo>
                  <a:lnTo>
                    <a:pt x="1200" y="984"/>
                  </a:lnTo>
                  <a:lnTo>
                    <a:pt x="1194" y="1008"/>
                  </a:lnTo>
                  <a:lnTo>
                    <a:pt x="1218" y="1038"/>
                  </a:lnTo>
                  <a:lnTo>
                    <a:pt x="1224" y="1044"/>
                  </a:lnTo>
                  <a:lnTo>
                    <a:pt x="1224" y="1062"/>
                  </a:lnTo>
                  <a:lnTo>
                    <a:pt x="1236" y="1080"/>
                  </a:lnTo>
                  <a:lnTo>
                    <a:pt x="1236" y="1086"/>
                  </a:lnTo>
                  <a:lnTo>
                    <a:pt x="1230" y="1092"/>
                  </a:lnTo>
                  <a:lnTo>
                    <a:pt x="1224" y="1110"/>
                  </a:lnTo>
                  <a:lnTo>
                    <a:pt x="1218" y="1122"/>
                  </a:lnTo>
                  <a:lnTo>
                    <a:pt x="1224" y="1140"/>
                  </a:lnTo>
                  <a:lnTo>
                    <a:pt x="1218" y="1146"/>
                  </a:lnTo>
                  <a:lnTo>
                    <a:pt x="1218" y="1152"/>
                  </a:lnTo>
                  <a:lnTo>
                    <a:pt x="1212" y="116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1" name="Freeform 36">
              <a:extLst>
                <a:ext uri="{FF2B5EF4-FFF2-40B4-BE49-F238E27FC236}">
                  <a16:creationId xmlns:a16="http://schemas.microsoft.com/office/drawing/2014/main" id="{B9C0D6BE-CB1C-4E69-B224-1ABF097AA8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90208" y="1647855"/>
              <a:ext cx="742415" cy="758173"/>
            </a:xfrm>
            <a:custGeom>
              <a:avLst/>
              <a:gdLst>
                <a:gd name="T0" fmla="*/ 75 w 1398"/>
                <a:gd name="T1" fmla="*/ 48 h 1428"/>
                <a:gd name="T2" fmla="*/ 68 w 1398"/>
                <a:gd name="T3" fmla="*/ 54 h 1428"/>
                <a:gd name="T4" fmla="*/ 57 w 1398"/>
                <a:gd name="T5" fmla="*/ 59 h 1428"/>
                <a:gd name="T6" fmla="*/ 55 w 1398"/>
                <a:gd name="T7" fmla="*/ 68 h 1428"/>
                <a:gd name="T8" fmla="*/ 55 w 1398"/>
                <a:gd name="T9" fmla="*/ 77 h 1428"/>
                <a:gd name="T10" fmla="*/ 57 w 1398"/>
                <a:gd name="T11" fmla="*/ 81 h 1428"/>
                <a:gd name="T12" fmla="*/ 56 w 1398"/>
                <a:gd name="T13" fmla="*/ 86 h 1428"/>
                <a:gd name="T14" fmla="*/ 57 w 1398"/>
                <a:gd name="T15" fmla="*/ 89 h 1428"/>
                <a:gd name="T16" fmla="*/ 58 w 1398"/>
                <a:gd name="T17" fmla="*/ 92 h 1428"/>
                <a:gd name="T18" fmla="*/ 58 w 1398"/>
                <a:gd name="T19" fmla="*/ 96 h 1428"/>
                <a:gd name="T20" fmla="*/ 49 w 1398"/>
                <a:gd name="T21" fmla="*/ 100 h 1428"/>
                <a:gd name="T22" fmla="*/ 47 w 1398"/>
                <a:gd name="T23" fmla="*/ 108 h 1428"/>
                <a:gd name="T24" fmla="*/ 48 w 1398"/>
                <a:gd name="T25" fmla="*/ 113 h 1428"/>
                <a:gd name="T26" fmla="*/ 43 w 1398"/>
                <a:gd name="T27" fmla="*/ 114 h 1428"/>
                <a:gd name="T28" fmla="*/ 39 w 1398"/>
                <a:gd name="T29" fmla="*/ 113 h 1428"/>
                <a:gd name="T30" fmla="*/ 33 w 1398"/>
                <a:gd name="T31" fmla="*/ 109 h 1428"/>
                <a:gd name="T32" fmla="*/ 29 w 1398"/>
                <a:gd name="T33" fmla="*/ 114 h 1428"/>
                <a:gd name="T34" fmla="*/ 22 w 1398"/>
                <a:gd name="T35" fmla="*/ 115 h 1428"/>
                <a:gd name="T36" fmla="*/ 21 w 1398"/>
                <a:gd name="T37" fmla="*/ 121 h 1428"/>
                <a:gd name="T38" fmla="*/ 12 w 1398"/>
                <a:gd name="T39" fmla="*/ 119 h 1428"/>
                <a:gd name="T40" fmla="*/ 9 w 1398"/>
                <a:gd name="T41" fmla="*/ 113 h 1428"/>
                <a:gd name="T42" fmla="*/ 2 w 1398"/>
                <a:gd name="T43" fmla="*/ 109 h 1428"/>
                <a:gd name="T44" fmla="*/ 4 w 1398"/>
                <a:gd name="T45" fmla="*/ 103 h 1428"/>
                <a:gd name="T46" fmla="*/ 2 w 1398"/>
                <a:gd name="T47" fmla="*/ 91 h 1428"/>
                <a:gd name="T48" fmla="*/ 6 w 1398"/>
                <a:gd name="T49" fmla="*/ 85 h 1428"/>
                <a:gd name="T50" fmla="*/ 10 w 1398"/>
                <a:gd name="T51" fmla="*/ 85 h 1428"/>
                <a:gd name="T52" fmla="*/ 15 w 1398"/>
                <a:gd name="T53" fmla="*/ 82 h 1428"/>
                <a:gd name="T54" fmla="*/ 20 w 1398"/>
                <a:gd name="T55" fmla="*/ 77 h 1428"/>
                <a:gd name="T56" fmla="*/ 16 w 1398"/>
                <a:gd name="T57" fmla="*/ 73 h 1428"/>
                <a:gd name="T58" fmla="*/ 16 w 1398"/>
                <a:gd name="T59" fmla="*/ 69 h 1428"/>
                <a:gd name="T60" fmla="*/ 14 w 1398"/>
                <a:gd name="T61" fmla="*/ 54 h 1428"/>
                <a:gd name="T62" fmla="*/ 12 w 1398"/>
                <a:gd name="T63" fmla="*/ 48 h 1428"/>
                <a:gd name="T64" fmla="*/ 11 w 1398"/>
                <a:gd name="T65" fmla="*/ 31 h 1428"/>
                <a:gd name="T66" fmla="*/ 14 w 1398"/>
                <a:gd name="T67" fmla="*/ 18 h 1428"/>
                <a:gd name="T68" fmla="*/ 19 w 1398"/>
                <a:gd name="T69" fmla="*/ 15 h 1428"/>
                <a:gd name="T70" fmla="*/ 26 w 1398"/>
                <a:gd name="T71" fmla="*/ 13 h 1428"/>
                <a:gd name="T72" fmla="*/ 34 w 1398"/>
                <a:gd name="T73" fmla="*/ 12 h 1428"/>
                <a:gd name="T74" fmla="*/ 39 w 1398"/>
                <a:gd name="T75" fmla="*/ 9 h 1428"/>
                <a:gd name="T76" fmla="*/ 43 w 1398"/>
                <a:gd name="T77" fmla="*/ 7 h 1428"/>
                <a:gd name="T78" fmla="*/ 48 w 1398"/>
                <a:gd name="T79" fmla="*/ 3 h 1428"/>
                <a:gd name="T80" fmla="*/ 54 w 1398"/>
                <a:gd name="T81" fmla="*/ 0 h 1428"/>
                <a:gd name="T82" fmla="*/ 58 w 1398"/>
                <a:gd name="T83" fmla="*/ 0 h 1428"/>
                <a:gd name="T84" fmla="*/ 66 w 1398"/>
                <a:gd name="T85" fmla="*/ 2 h 1428"/>
                <a:gd name="T86" fmla="*/ 70 w 1398"/>
                <a:gd name="T87" fmla="*/ 3 h 1428"/>
                <a:gd name="T88" fmla="*/ 75 w 1398"/>
                <a:gd name="T89" fmla="*/ 6 h 1428"/>
                <a:gd name="T90" fmla="*/ 80 w 1398"/>
                <a:gd name="T91" fmla="*/ 9 h 1428"/>
                <a:gd name="T92" fmla="*/ 83 w 1398"/>
                <a:gd name="T93" fmla="*/ 12 h 1428"/>
                <a:gd name="T94" fmla="*/ 87 w 1398"/>
                <a:gd name="T95" fmla="*/ 15 h 1428"/>
                <a:gd name="T96" fmla="*/ 94 w 1398"/>
                <a:gd name="T97" fmla="*/ 15 h 1428"/>
                <a:gd name="T98" fmla="*/ 99 w 1398"/>
                <a:gd name="T99" fmla="*/ 21 h 1428"/>
                <a:gd name="T100" fmla="*/ 103 w 1398"/>
                <a:gd name="T101" fmla="*/ 23 h 1428"/>
                <a:gd name="T102" fmla="*/ 110 w 1398"/>
                <a:gd name="T103" fmla="*/ 26 h 1428"/>
                <a:gd name="T104" fmla="*/ 116 w 1398"/>
                <a:gd name="T105" fmla="*/ 27 h 1428"/>
                <a:gd name="T106" fmla="*/ 120 w 1398"/>
                <a:gd name="T107" fmla="*/ 27 h 1428"/>
                <a:gd name="T108" fmla="*/ 116 w 1398"/>
                <a:gd name="T109" fmla="*/ 35 h 1428"/>
                <a:gd name="T110" fmla="*/ 104 w 1398"/>
                <a:gd name="T111" fmla="*/ 37 h 1428"/>
                <a:gd name="T112" fmla="*/ 97 w 1398"/>
                <a:gd name="T113" fmla="*/ 34 h 1428"/>
                <a:gd name="T114" fmla="*/ 91 w 1398"/>
                <a:gd name="T115" fmla="*/ 29 h 1428"/>
                <a:gd name="T116" fmla="*/ 75 w 1398"/>
                <a:gd name="T117" fmla="*/ 29 h 1428"/>
                <a:gd name="T118" fmla="*/ 72 w 1398"/>
                <a:gd name="T119" fmla="*/ 39 h 1428"/>
                <a:gd name="T120" fmla="*/ 80 w 1398"/>
                <a:gd name="T121" fmla="*/ 41 h 142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98"/>
                <a:gd name="T184" fmla="*/ 0 h 1428"/>
                <a:gd name="T185" fmla="*/ 1398 w 1398"/>
                <a:gd name="T186" fmla="*/ 1428 h 142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98" h="1428">
                  <a:moveTo>
                    <a:pt x="924" y="474"/>
                  </a:moveTo>
                  <a:lnTo>
                    <a:pt x="900" y="480"/>
                  </a:lnTo>
                  <a:lnTo>
                    <a:pt x="864" y="486"/>
                  </a:lnTo>
                  <a:lnTo>
                    <a:pt x="864" y="504"/>
                  </a:lnTo>
                  <a:lnTo>
                    <a:pt x="858" y="522"/>
                  </a:lnTo>
                  <a:lnTo>
                    <a:pt x="864" y="528"/>
                  </a:lnTo>
                  <a:lnTo>
                    <a:pt x="864" y="552"/>
                  </a:lnTo>
                  <a:lnTo>
                    <a:pt x="852" y="552"/>
                  </a:lnTo>
                  <a:lnTo>
                    <a:pt x="846" y="564"/>
                  </a:lnTo>
                  <a:lnTo>
                    <a:pt x="840" y="582"/>
                  </a:lnTo>
                  <a:lnTo>
                    <a:pt x="834" y="594"/>
                  </a:lnTo>
                  <a:lnTo>
                    <a:pt x="828" y="606"/>
                  </a:lnTo>
                  <a:lnTo>
                    <a:pt x="828" y="618"/>
                  </a:lnTo>
                  <a:lnTo>
                    <a:pt x="786" y="630"/>
                  </a:lnTo>
                  <a:lnTo>
                    <a:pt x="774" y="636"/>
                  </a:lnTo>
                  <a:lnTo>
                    <a:pt x="762" y="642"/>
                  </a:lnTo>
                  <a:lnTo>
                    <a:pt x="744" y="648"/>
                  </a:lnTo>
                  <a:lnTo>
                    <a:pt x="714" y="660"/>
                  </a:lnTo>
                  <a:lnTo>
                    <a:pt x="696" y="666"/>
                  </a:lnTo>
                  <a:lnTo>
                    <a:pt x="666" y="672"/>
                  </a:lnTo>
                  <a:lnTo>
                    <a:pt x="654" y="684"/>
                  </a:lnTo>
                  <a:lnTo>
                    <a:pt x="648" y="684"/>
                  </a:lnTo>
                  <a:lnTo>
                    <a:pt x="642" y="696"/>
                  </a:lnTo>
                  <a:lnTo>
                    <a:pt x="636" y="696"/>
                  </a:lnTo>
                  <a:lnTo>
                    <a:pt x="630" y="714"/>
                  </a:lnTo>
                  <a:lnTo>
                    <a:pt x="624" y="738"/>
                  </a:lnTo>
                  <a:lnTo>
                    <a:pt x="624" y="762"/>
                  </a:lnTo>
                  <a:lnTo>
                    <a:pt x="630" y="780"/>
                  </a:lnTo>
                  <a:lnTo>
                    <a:pt x="636" y="804"/>
                  </a:lnTo>
                  <a:lnTo>
                    <a:pt x="642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6" y="834"/>
                  </a:lnTo>
                  <a:lnTo>
                    <a:pt x="636" y="870"/>
                  </a:lnTo>
                  <a:lnTo>
                    <a:pt x="636" y="882"/>
                  </a:lnTo>
                  <a:lnTo>
                    <a:pt x="636" y="906"/>
                  </a:lnTo>
                  <a:lnTo>
                    <a:pt x="630" y="906"/>
                  </a:lnTo>
                  <a:lnTo>
                    <a:pt x="636" y="918"/>
                  </a:lnTo>
                  <a:lnTo>
                    <a:pt x="642" y="918"/>
                  </a:lnTo>
                  <a:lnTo>
                    <a:pt x="642" y="930"/>
                  </a:lnTo>
                  <a:lnTo>
                    <a:pt x="648" y="936"/>
                  </a:lnTo>
                  <a:lnTo>
                    <a:pt x="654" y="936"/>
                  </a:lnTo>
                  <a:lnTo>
                    <a:pt x="654" y="942"/>
                  </a:lnTo>
                  <a:lnTo>
                    <a:pt x="654" y="948"/>
                  </a:lnTo>
                  <a:lnTo>
                    <a:pt x="648" y="954"/>
                  </a:lnTo>
                  <a:lnTo>
                    <a:pt x="648" y="960"/>
                  </a:lnTo>
                  <a:lnTo>
                    <a:pt x="648" y="966"/>
                  </a:lnTo>
                  <a:lnTo>
                    <a:pt x="648" y="972"/>
                  </a:lnTo>
                  <a:lnTo>
                    <a:pt x="648" y="990"/>
                  </a:lnTo>
                  <a:lnTo>
                    <a:pt x="654" y="996"/>
                  </a:lnTo>
                  <a:lnTo>
                    <a:pt x="648" y="1002"/>
                  </a:lnTo>
                  <a:lnTo>
                    <a:pt x="648" y="1008"/>
                  </a:lnTo>
                  <a:lnTo>
                    <a:pt x="654" y="1014"/>
                  </a:lnTo>
                  <a:lnTo>
                    <a:pt x="654" y="1020"/>
                  </a:lnTo>
                  <a:lnTo>
                    <a:pt x="654" y="1026"/>
                  </a:lnTo>
                  <a:lnTo>
                    <a:pt x="660" y="1026"/>
                  </a:lnTo>
                  <a:lnTo>
                    <a:pt x="660" y="1032"/>
                  </a:lnTo>
                  <a:lnTo>
                    <a:pt x="660" y="1038"/>
                  </a:lnTo>
                  <a:lnTo>
                    <a:pt x="666" y="1044"/>
                  </a:lnTo>
                  <a:lnTo>
                    <a:pt x="672" y="1050"/>
                  </a:lnTo>
                  <a:lnTo>
                    <a:pt x="672" y="1056"/>
                  </a:lnTo>
                  <a:lnTo>
                    <a:pt x="672" y="1062"/>
                  </a:lnTo>
                  <a:lnTo>
                    <a:pt x="672" y="1068"/>
                  </a:lnTo>
                  <a:lnTo>
                    <a:pt x="672" y="1074"/>
                  </a:lnTo>
                  <a:lnTo>
                    <a:pt x="678" y="1074"/>
                  </a:lnTo>
                  <a:lnTo>
                    <a:pt x="678" y="1080"/>
                  </a:lnTo>
                  <a:lnTo>
                    <a:pt x="678" y="1086"/>
                  </a:lnTo>
                  <a:lnTo>
                    <a:pt x="672" y="1092"/>
                  </a:lnTo>
                  <a:lnTo>
                    <a:pt x="672" y="1098"/>
                  </a:lnTo>
                  <a:lnTo>
                    <a:pt x="672" y="1104"/>
                  </a:lnTo>
                  <a:lnTo>
                    <a:pt x="666" y="1116"/>
                  </a:lnTo>
                  <a:lnTo>
                    <a:pt x="624" y="1122"/>
                  </a:lnTo>
                  <a:lnTo>
                    <a:pt x="576" y="1134"/>
                  </a:lnTo>
                  <a:lnTo>
                    <a:pt x="570" y="1140"/>
                  </a:lnTo>
                  <a:lnTo>
                    <a:pt x="570" y="1146"/>
                  </a:lnTo>
                  <a:lnTo>
                    <a:pt x="564" y="1146"/>
                  </a:lnTo>
                  <a:lnTo>
                    <a:pt x="564" y="1152"/>
                  </a:lnTo>
                  <a:lnTo>
                    <a:pt x="564" y="1164"/>
                  </a:lnTo>
                  <a:lnTo>
                    <a:pt x="564" y="1170"/>
                  </a:lnTo>
                  <a:lnTo>
                    <a:pt x="564" y="1176"/>
                  </a:lnTo>
                  <a:lnTo>
                    <a:pt x="546" y="1176"/>
                  </a:lnTo>
                  <a:lnTo>
                    <a:pt x="540" y="1212"/>
                  </a:lnTo>
                  <a:lnTo>
                    <a:pt x="540" y="1230"/>
                  </a:lnTo>
                  <a:lnTo>
                    <a:pt x="546" y="1242"/>
                  </a:lnTo>
                  <a:lnTo>
                    <a:pt x="546" y="1254"/>
                  </a:lnTo>
                  <a:lnTo>
                    <a:pt x="558" y="1266"/>
                  </a:lnTo>
                  <a:lnTo>
                    <a:pt x="576" y="1272"/>
                  </a:lnTo>
                  <a:lnTo>
                    <a:pt x="570" y="1278"/>
                  </a:lnTo>
                  <a:lnTo>
                    <a:pt x="576" y="1284"/>
                  </a:lnTo>
                  <a:lnTo>
                    <a:pt x="570" y="1296"/>
                  </a:lnTo>
                  <a:lnTo>
                    <a:pt x="558" y="1302"/>
                  </a:lnTo>
                  <a:lnTo>
                    <a:pt x="540" y="1308"/>
                  </a:lnTo>
                  <a:lnTo>
                    <a:pt x="522" y="1314"/>
                  </a:lnTo>
                  <a:lnTo>
                    <a:pt x="516" y="1314"/>
                  </a:lnTo>
                  <a:lnTo>
                    <a:pt x="510" y="1314"/>
                  </a:lnTo>
                  <a:lnTo>
                    <a:pt x="504" y="1314"/>
                  </a:lnTo>
                  <a:lnTo>
                    <a:pt x="498" y="1320"/>
                  </a:lnTo>
                  <a:lnTo>
                    <a:pt x="492" y="1320"/>
                  </a:lnTo>
                  <a:lnTo>
                    <a:pt x="492" y="1326"/>
                  </a:lnTo>
                  <a:lnTo>
                    <a:pt x="486" y="1326"/>
                  </a:lnTo>
                  <a:lnTo>
                    <a:pt x="480" y="1326"/>
                  </a:lnTo>
                  <a:lnTo>
                    <a:pt x="480" y="1320"/>
                  </a:lnTo>
                  <a:lnTo>
                    <a:pt x="468" y="1314"/>
                  </a:lnTo>
                  <a:lnTo>
                    <a:pt x="462" y="1308"/>
                  </a:lnTo>
                  <a:lnTo>
                    <a:pt x="456" y="1302"/>
                  </a:lnTo>
                  <a:lnTo>
                    <a:pt x="444" y="1296"/>
                  </a:lnTo>
                  <a:lnTo>
                    <a:pt x="420" y="1290"/>
                  </a:lnTo>
                  <a:lnTo>
                    <a:pt x="414" y="1278"/>
                  </a:lnTo>
                  <a:lnTo>
                    <a:pt x="408" y="1278"/>
                  </a:lnTo>
                  <a:lnTo>
                    <a:pt x="408" y="1266"/>
                  </a:lnTo>
                  <a:lnTo>
                    <a:pt x="402" y="1260"/>
                  </a:lnTo>
                  <a:lnTo>
                    <a:pt x="384" y="1260"/>
                  </a:lnTo>
                  <a:lnTo>
                    <a:pt x="372" y="1266"/>
                  </a:lnTo>
                  <a:lnTo>
                    <a:pt x="360" y="1272"/>
                  </a:lnTo>
                  <a:lnTo>
                    <a:pt x="348" y="1272"/>
                  </a:lnTo>
                  <a:lnTo>
                    <a:pt x="342" y="1284"/>
                  </a:lnTo>
                  <a:lnTo>
                    <a:pt x="336" y="1290"/>
                  </a:lnTo>
                  <a:lnTo>
                    <a:pt x="336" y="1308"/>
                  </a:lnTo>
                  <a:lnTo>
                    <a:pt x="336" y="1314"/>
                  </a:lnTo>
                  <a:lnTo>
                    <a:pt x="336" y="1320"/>
                  </a:lnTo>
                  <a:lnTo>
                    <a:pt x="330" y="1326"/>
                  </a:lnTo>
                  <a:lnTo>
                    <a:pt x="330" y="1332"/>
                  </a:lnTo>
                  <a:lnTo>
                    <a:pt x="330" y="1338"/>
                  </a:lnTo>
                  <a:lnTo>
                    <a:pt x="300" y="1338"/>
                  </a:lnTo>
                  <a:lnTo>
                    <a:pt x="288" y="1338"/>
                  </a:lnTo>
                  <a:lnTo>
                    <a:pt x="258" y="1326"/>
                  </a:lnTo>
                  <a:lnTo>
                    <a:pt x="246" y="1332"/>
                  </a:lnTo>
                  <a:lnTo>
                    <a:pt x="240" y="1338"/>
                  </a:lnTo>
                  <a:lnTo>
                    <a:pt x="234" y="1338"/>
                  </a:lnTo>
                  <a:lnTo>
                    <a:pt x="228" y="1350"/>
                  </a:lnTo>
                  <a:lnTo>
                    <a:pt x="228" y="1374"/>
                  </a:lnTo>
                  <a:lnTo>
                    <a:pt x="234" y="1392"/>
                  </a:lnTo>
                  <a:lnTo>
                    <a:pt x="246" y="1398"/>
                  </a:lnTo>
                  <a:lnTo>
                    <a:pt x="246" y="1410"/>
                  </a:lnTo>
                  <a:lnTo>
                    <a:pt x="216" y="1428"/>
                  </a:lnTo>
                  <a:lnTo>
                    <a:pt x="198" y="1428"/>
                  </a:lnTo>
                  <a:lnTo>
                    <a:pt x="192" y="1422"/>
                  </a:lnTo>
                  <a:lnTo>
                    <a:pt x="174" y="1410"/>
                  </a:lnTo>
                  <a:lnTo>
                    <a:pt x="156" y="1386"/>
                  </a:lnTo>
                  <a:lnTo>
                    <a:pt x="132" y="1374"/>
                  </a:lnTo>
                  <a:lnTo>
                    <a:pt x="108" y="1368"/>
                  </a:lnTo>
                  <a:lnTo>
                    <a:pt x="84" y="1368"/>
                  </a:lnTo>
                  <a:lnTo>
                    <a:pt x="96" y="1356"/>
                  </a:lnTo>
                  <a:lnTo>
                    <a:pt x="102" y="1344"/>
                  </a:lnTo>
                  <a:lnTo>
                    <a:pt x="102" y="1332"/>
                  </a:lnTo>
                  <a:lnTo>
                    <a:pt x="108" y="1320"/>
                  </a:lnTo>
                  <a:lnTo>
                    <a:pt x="108" y="1302"/>
                  </a:lnTo>
                  <a:lnTo>
                    <a:pt x="96" y="1278"/>
                  </a:lnTo>
                  <a:lnTo>
                    <a:pt x="66" y="1284"/>
                  </a:lnTo>
                  <a:lnTo>
                    <a:pt x="54" y="1278"/>
                  </a:lnTo>
                  <a:lnTo>
                    <a:pt x="36" y="1278"/>
                  </a:lnTo>
                  <a:lnTo>
                    <a:pt x="18" y="1284"/>
                  </a:lnTo>
                  <a:lnTo>
                    <a:pt x="18" y="1272"/>
                  </a:lnTo>
                  <a:lnTo>
                    <a:pt x="24" y="1260"/>
                  </a:lnTo>
                  <a:lnTo>
                    <a:pt x="24" y="1254"/>
                  </a:lnTo>
                  <a:lnTo>
                    <a:pt x="30" y="1248"/>
                  </a:lnTo>
                  <a:lnTo>
                    <a:pt x="24" y="1230"/>
                  </a:lnTo>
                  <a:lnTo>
                    <a:pt x="30" y="1218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30" y="1170"/>
                  </a:lnTo>
                  <a:lnTo>
                    <a:pt x="30" y="1152"/>
                  </a:lnTo>
                  <a:lnTo>
                    <a:pt x="24" y="1146"/>
                  </a:lnTo>
                  <a:lnTo>
                    <a:pt x="0" y="1116"/>
                  </a:lnTo>
                  <a:lnTo>
                    <a:pt x="6" y="1092"/>
                  </a:lnTo>
                  <a:lnTo>
                    <a:pt x="18" y="1056"/>
                  </a:lnTo>
                  <a:lnTo>
                    <a:pt x="24" y="1050"/>
                  </a:lnTo>
                  <a:lnTo>
                    <a:pt x="24" y="1038"/>
                  </a:lnTo>
                  <a:lnTo>
                    <a:pt x="24" y="1026"/>
                  </a:lnTo>
                  <a:lnTo>
                    <a:pt x="30" y="1002"/>
                  </a:lnTo>
                  <a:lnTo>
                    <a:pt x="36" y="990"/>
                  </a:lnTo>
                  <a:lnTo>
                    <a:pt x="42" y="984"/>
                  </a:lnTo>
                  <a:lnTo>
                    <a:pt x="54" y="984"/>
                  </a:lnTo>
                  <a:lnTo>
                    <a:pt x="66" y="978"/>
                  </a:lnTo>
                  <a:lnTo>
                    <a:pt x="72" y="978"/>
                  </a:lnTo>
                  <a:lnTo>
                    <a:pt x="90" y="978"/>
                  </a:lnTo>
                  <a:lnTo>
                    <a:pt x="102" y="972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78"/>
                  </a:lnTo>
                  <a:lnTo>
                    <a:pt x="120" y="984"/>
                  </a:lnTo>
                  <a:lnTo>
                    <a:pt x="138" y="984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6" y="972"/>
                  </a:lnTo>
                  <a:lnTo>
                    <a:pt x="156" y="966"/>
                  </a:lnTo>
                  <a:lnTo>
                    <a:pt x="156" y="960"/>
                  </a:lnTo>
                  <a:lnTo>
                    <a:pt x="180" y="948"/>
                  </a:lnTo>
                  <a:lnTo>
                    <a:pt x="186" y="924"/>
                  </a:lnTo>
                  <a:lnTo>
                    <a:pt x="192" y="918"/>
                  </a:lnTo>
                  <a:lnTo>
                    <a:pt x="228" y="924"/>
                  </a:lnTo>
                  <a:lnTo>
                    <a:pt x="246" y="906"/>
                  </a:lnTo>
                  <a:lnTo>
                    <a:pt x="240" y="888"/>
                  </a:lnTo>
                  <a:lnTo>
                    <a:pt x="234" y="888"/>
                  </a:lnTo>
                  <a:lnTo>
                    <a:pt x="234" y="882"/>
                  </a:lnTo>
                  <a:lnTo>
                    <a:pt x="228" y="870"/>
                  </a:lnTo>
                  <a:lnTo>
                    <a:pt x="228" y="864"/>
                  </a:lnTo>
                  <a:lnTo>
                    <a:pt x="222" y="864"/>
                  </a:lnTo>
                  <a:lnTo>
                    <a:pt x="216" y="858"/>
                  </a:lnTo>
                  <a:lnTo>
                    <a:pt x="198" y="852"/>
                  </a:lnTo>
                  <a:lnTo>
                    <a:pt x="192" y="852"/>
                  </a:lnTo>
                  <a:lnTo>
                    <a:pt x="186" y="846"/>
                  </a:lnTo>
                  <a:lnTo>
                    <a:pt x="174" y="834"/>
                  </a:lnTo>
                  <a:lnTo>
                    <a:pt x="162" y="822"/>
                  </a:lnTo>
                  <a:lnTo>
                    <a:pt x="156" y="816"/>
                  </a:lnTo>
                  <a:lnTo>
                    <a:pt x="162" y="810"/>
                  </a:lnTo>
                  <a:lnTo>
                    <a:pt x="174" y="798"/>
                  </a:lnTo>
                  <a:lnTo>
                    <a:pt x="180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68"/>
                  </a:lnTo>
                  <a:lnTo>
                    <a:pt x="192" y="744"/>
                  </a:lnTo>
                  <a:lnTo>
                    <a:pt x="186" y="708"/>
                  </a:lnTo>
                  <a:lnTo>
                    <a:pt x="174" y="690"/>
                  </a:lnTo>
                  <a:lnTo>
                    <a:pt x="168" y="672"/>
                  </a:lnTo>
                  <a:lnTo>
                    <a:pt x="156" y="630"/>
                  </a:lnTo>
                  <a:lnTo>
                    <a:pt x="156" y="606"/>
                  </a:lnTo>
                  <a:lnTo>
                    <a:pt x="150" y="606"/>
                  </a:lnTo>
                  <a:lnTo>
                    <a:pt x="150" y="600"/>
                  </a:lnTo>
                  <a:lnTo>
                    <a:pt x="144" y="600"/>
                  </a:lnTo>
                  <a:lnTo>
                    <a:pt x="150" y="594"/>
                  </a:lnTo>
                  <a:lnTo>
                    <a:pt x="144" y="588"/>
                  </a:lnTo>
                  <a:lnTo>
                    <a:pt x="138" y="558"/>
                  </a:lnTo>
                  <a:lnTo>
                    <a:pt x="138" y="528"/>
                  </a:lnTo>
                  <a:lnTo>
                    <a:pt x="132" y="480"/>
                  </a:lnTo>
                  <a:lnTo>
                    <a:pt x="132" y="462"/>
                  </a:lnTo>
                  <a:lnTo>
                    <a:pt x="126" y="426"/>
                  </a:lnTo>
                  <a:lnTo>
                    <a:pt x="126" y="396"/>
                  </a:lnTo>
                  <a:lnTo>
                    <a:pt x="126" y="378"/>
                  </a:lnTo>
                  <a:lnTo>
                    <a:pt x="126" y="360"/>
                  </a:lnTo>
                  <a:lnTo>
                    <a:pt x="132" y="318"/>
                  </a:lnTo>
                  <a:lnTo>
                    <a:pt x="132" y="24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2" y="210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92" y="198"/>
                  </a:lnTo>
                  <a:lnTo>
                    <a:pt x="198" y="198"/>
                  </a:lnTo>
                  <a:lnTo>
                    <a:pt x="216" y="180"/>
                  </a:lnTo>
                  <a:lnTo>
                    <a:pt x="222" y="174"/>
                  </a:lnTo>
                  <a:lnTo>
                    <a:pt x="222" y="168"/>
                  </a:lnTo>
                  <a:lnTo>
                    <a:pt x="228" y="168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44"/>
                  </a:lnTo>
                  <a:lnTo>
                    <a:pt x="258" y="144"/>
                  </a:lnTo>
                  <a:lnTo>
                    <a:pt x="276" y="150"/>
                  </a:lnTo>
                  <a:lnTo>
                    <a:pt x="300" y="150"/>
                  </a:lnTo>
                  <a:lnTo>
                    <a:pt x="312" y="150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8" y="156"/>
                  </a:lnTo>
                  <a:lnTo>
                    <a:pt x="354" y="150"/>
                  </a:lnTo>
                  <a:lnTo>
                    <a:pt x="372" y="144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08" y="126"/>
                  </a:lnTo>
                  <a:lnTo>
                    <a:pt x="414" y="120"/>
                  </a:lnTo>
                  <a:lnTo>
                    <a:pt x="420" y="120"/>
                  </a:lnTo>
                  <a:lnTo>
                    <a:pt x="426" y="120"/>
                  </a:lnTo>
                  <a:lnTo>
                    <a:pt x="432" y="114"/>
                  </a:lnTo>
                  <a:lnTo>
                    <a:pt x="450" y="102"/>
                  </a:lnTo>
                  <a:lnTo>
                    <a:pt x="456" y="96"/>
                  </a:lnTo>
                  <a:lnTo>
                    <a:pt x="468" y="90"/>
                  </a:lnTo>
                  <a:lnTo>
                    <a:pt x="474" y="90"/>
                  </a:lnTo>
                  <a:lnTo>
                    <a:pt x="480" y="84"/>
                  </a:lnTo>
                  <a:lnTo>
                    <a:pt x="486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504" y="72"/>
                  </a:lnTo>
                  <a:lnTo>
                    <a:pt x="510" y="66"/>
                  </a:lnTo>
                  <a:lnTo>
                    <a:pt x="516" y="66"/>
                  </a:lnTo>
                  <a:lnTo>
                    <a:pt x="522" y="60"/>
                  </a:lnTo>
                  <a:lnTo>
                    <a:pt x="552" y="42"/>
                  </a:lnTo>
                  <a:lnTo>
                    <a:pt x="558" y="36"/>
                  </a:lnTo>
                  <a:lnTo>
                    <a:pt x="576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94" y="18"/>
                  </a:lnTo>
                  <a:lnTo>
                    <a:pt x="600" y="12"/>
                  </a:lnTo>
                  <a:lnTo>
                    <a:pt x="612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6"/>
                  </a:lnTo>
                  <a:lnTo>
                    <a:pt x="648" y="6"/>
                  </a:lnTo>
                  <a:lnTo>
                    <a:pt x="660" y="6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38" y="18"/>
                  </a:lnTo>
                  <a:lnTo>
                    <a:pt x="744" y="18"/>
                  </a:lnTo>
                  <a:lnTo>
                    <a:pt x="756" y="18"/>
                  </a:lnTo>
                  <a:lnTo>
                    <a:pt x="762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80" y="24"/>
                  </a:lnTo>
                  <a:lnTo>
                    <a:pt x="792" y="24"/>
                  </a:lnTo>
                  <a:lnTo>
                    <a:pt x="792" y="30"/>
                  </a:lnTo>
                  <a:lnTo>
                    <a:pt x="810" y="30"/>
                  </a:lnTo>
                  <a:lnTo>
                    <a:pt x="822" y="36"/>
                  </a:lnTo>
                  <a:lnTo>
                    <a:pt x="834" y="42"/>
                  </a:lnTo>
                  <a:lnTo>
                    <a:pt x="840" y="48"/>
                  </a:lnTo>
                  <a:lnTo>
                    <a:pt x="846" y="54"/>
                  </a:lnTo>
                  <a:lnTo>
                    <a:pt x="852" y="60"/>
                  </a:lnTo>
                  <a:lnTo>
                    <a:pt x="858" y="66"/>
                  </a:lnTo>
                  <a:lnTo>
                    <a:pt x="864" y="66"/>
                  </a:lnTo>
                  <a:lnTo>
                    <a:pt x="864" y="72"/>
                  </a:lnTo>
                  <a:lnTo>
                    <a:pt x="876" y="78"/>
                  </a:lnTo>
                  <a:lnTo>
                    <a:pt x="900" y="84"/>
                  </a:lnTo>
                  <a:lnTo>
                    <a:pt x="906" y="90"/>
                  </a:lnTo>
                  <a:lnTo>
                    <a:pt x="912" y="90"/>
                  </a:lnTo>
                  <a:lnTo>
                    <a:pt x="912" y="96"/>
                  </a:lnTo>
                  <a:lnTo>
                    <a:pt x="924" y="108"/>
                  </a:lnTo>
                  <a:lnTo>
                    <a:pt x="930" y="108"/>
                  </a:lnTo>
                  <a:lnTo>
                    <a:pt x="936" y="114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60" y="138"/>
                  </a:lnTo>
                  <a:lnTo>
                    <a:pt x="966" y="144"/>
                  </a:lnTo>
                  <a:lnTo>
                    <a:pt x="972" y="156"/>
                  </a:lnTo>
                  <a:lnTo>
                    <a:pt x="978" y="162"/>
                  </a:lnTo>
                  <a:lnTo>
                    <a:pt x="984" y="162"/>
                  </a:lnTo>
                  <a:lnTo>
                    <a:pt x="990" y="168"/>
                  </a:lnTo>
                  <a:lnTo>
                    <a:pt x="996" y="174"/>
                  </a:lnTo>
                  <a:lnTo>
                    <a:pt x="1002" y="180"/>
                  </a:lnTo>
                  <a:lnTo>
                    <a:pt x="1008" y="180"/>
                  </a:lnTo>
                  <a:lnTo>
                    <a:pt x="1020" y="180"/>
                  </a:lnTo>
                  <a:lnTo>
                    <a:pt x="1038" y="174"/>
                  </a:lnTo>
                  <a:lnTo>
                    <a:pt x="1050" y="174"/>
                  </a:lnTo>
                  <a:lnTo>
                    <a:pt x="1056" y="174"/>
                  </a:lnTo>
                  <a:lnTo>
                    <a:pt x="1068" y="180"/>
                  </a:lnTo>
                  <a:lnTo>
                    <a:pt x="1080" y="180"/>
                  </a:lnTo>
                  <a:lnTo>
                    <a:pt x="1086" y="186"/>
                  </a:lnTo>
                  <a:lnTo>
                    <a:pt x="1098" y="192"/>
                  </a:lnTo>
                  <a:lnTo>
                    <a:pt x="1116" y="204"/>
                  </a:lnTo>
                  <a:lnTo>
                    <a:pt x="1122" y="210"/>
                  </a:lnTo>
                  <a:lnTo>
                    <a:pt x="1134" y="222"/>
                  </a:lnTo>
                  <a:lnTo>
                    <a:pt x="1146" y="234"/>
                  </a:lnTo>
                  <a:lnTo>
                    <a:pt x="1146" y="240"/>
                  </a:lnTo>
                  <a:lnTo>
                    <a:pt x="1152" y="246"/>
                  </a:lnTo>
                  <a:lnTo>
                    <a:pt x="1152" y="252"/>
                  </a:lnTo>
                  <a:lnTo>
                    <a:pt x="1152" y="258"/>
                  </a:lnTo>
                  <a:lnTo>
                    <a:pt x="1164" y="258"/>
                  </a:lnTo>
                  <a:lnTo>
                    <a:pt x="1170" y="264"/>
                  </a:lnTo>
                  <a:lnTo>
                    <a:pt x="1182" y="270"/>
                  </a:lnTo>
                  <a:lnTo>
                    <a:pt x="1188" y="270"/>
                  </a:lnTo>
                  <a:lnTo>
                    <a:pt x="1194" y="270"/>
                  </a:lnTo>
                  <a:lnTo>
                    <a:pt x="1206" y="276"/>
                  </a:lnTo>
                  <a:lnTo>
                    <a:pt x="1224" y="282"/>
                  </a:lnTo>
                  <a:lnTo>
                    <a:pt x="1236" y="282"/>
                  </a:lnTo>
                  <a:lnTo>
                    <a:pt x="1242" y="288"/>
                  </a:lnTo>
                  <a:lnTo>
                    <a:pt x="1254" y="288"/>
                  </a:lnTo>
                  <a:lnTo>
                    <a:pt x="1266" y="294"/>
                  </a:lnTo>
                  <a:lnTo>
                    <a:pt x="1272" y="294"/>
                  </a:lnTo>
                  <a:lnTo>
                    <a:pt x="1284" y="300"/>
                  </a:lnTo>
                  <a:lnTo>
                    <a:pt x="1290" y="300"/>
                  </a:lnTo>
                  <a:lnTo>
                    <a:pt x="1296" y="300"/>
                  </a:lnTo>
                  <a:lnTo>
                    <a:pt x="1302" y="306"/>
                  </a:lnTo>
                  <a:lnTo>
                    <a:pt x="1326" y="312"/>
                  </a:lnTo>
                  <a:lnTo>
                    <a:pt x="1338" y="312"/>
                  </a:lnTo>
                  <a:lnTo>
                    <a:pt x="1338" y="318"/>
                  </a:lnTo>
                  <a:lnTo>
                    <a:pt x="1344" y="318"/>
                  </a:lnTo>
                  <a:lnTo>
                    <a:pt x="1350" y="318"/>
                  </a:lnTo>
                  <a:lnTo>
                    <a:pt x="1362" y="324"/>
                  </a:lnTo>
                  <a:lnTo>
                    <a:pt x="1368" y="318"/>
                  </a:lnTo>
                  <a:lnTo>
                    <a:pt x="1374" y="318"/>
                  </a:lnTo>
                  <a:lnTo>
                    <a:pt x="1386" y="318"/>
                  </a:lnTo>
                  <a:lnTo>
                    <a:pt x="1398" y="324"/>
                  </a:lnTo>
                  <a:lnTo>
                    <a:pt x="1398" y="342"/>
                  </a:lnTo>
                  <a:lnTo>
                    <a:pt x="1356" y="342"/>
                  </a:lnTo>
                  <a:lnTo>
                    <a:pt x="1350" y="348"/>
                  </a:lnTo>
                  <a:lnTo>
                    <a:pt x="1350" y="372"/>
                  </a:lnTo>
                  <a:lnTo>
                    <a:pt x="1338" y="384"/>
                  </a:lnTo>
                  <a:lnTo>
                    <a:pt x="1332" y="408"/>
                  </a:lnTo>
                  <a:lnTo>
                    <a:pt x="1320" y="420"/>
                  </a:lnTo>
                  <a:lnTo>
                    <a:pt x="1254" y="426"/>
                  </a:lnTo>
                  <a:lnTo>
                    <a:pt x="1248" y="432"/>
                  </a:lnTo>
                  <a:lnTo>
                    <a:pt x="1230" y="432"/>
                  </a:lnTo>
                  <a:lnTo>
                    <a:pt x="1212" y="432"/>
                  </a:lnTo>
                  <a:lnTo>
                    <a:pt x="1212" y="426"/>
                  </a:lnTo>
                  <a:lnTo>
                    <a:pt x="1200" y="426"/>
                  </a:lnTo>
                  <a:lnTo>
                    <a:pt x="1182" y="414"/>
                  </a:lnTo>
                  <a:lnTo>
                    <a:pt x="1182" y="420"/>
                  </a:lnTo>
                  <a:lnTo>
                    <a:pt x="1164" y="420"/>
                  </a:lnTo>
                  <a:lnTo>
                    <a:pt x="1158" y="414"/>
                  </a:lnTo>
                  <a:lnTo>
                    <a:pt x="1152" y="408"/>
                  </a:lnTo>
                  <a:lnTo>
                    <a:pt x="1146" y="402"/>
                  </a:lnTo>
                  <a:lnTo>
                    <a:pt x="1122" y="396"/>
                  </a:lnTo>
                  <a:lnTo>
                    <a:pt x="1116" y="366"/>
                  </a:lnTo>
                  <a:lnTo>
                    <a:pt x="1116" y="348"/>
                  </a:lnTo>
                  <a:lnTo>
                    <a:pt x="1110" y="342"/>
                  </a:lnTo>
                  <a:lnTo>
                    <a:pt x="1104" y="336"/>
                  </a:lnTo>
                  <a:lnTo>
                    <a:pt x="1092" y="330"/>
                  </a:lnTo>
                  <a:lnTo>
                    <a:pt x="1074" y="330"/>
                  </a:lnTo>
                  <a:lnTo>
                    <a:pt x="1044" y="330"/>
                  </a:lnTo>
                  <a:lnTo>
                    <a:pt x="1014" y="336"/>
                  </a:lnTo>
                  <a:lnTo>
                    <a:pt x="984" y="342"/>
                  </a:lnTo>
                  <a:lnTo>
                    <a:pt x="978" y="330"/>
                  </a:lnTo>
                  <a:lnTo>
                    <a:pt x="966" y="324"/>
                  </a:lnTo>
                  <a:lnTo>
                    <a:pt x="888" y="336"/>
                  </a:lnTo>
                  <a:lnTo>
                    <a:pt x="888" y="330"/>
                  </a:lnTo>
                  <a:lnTo>
                    <a:pt x="870" y="336"/>
                  </a:lnTo>
                  <a:lnTo>
                    <a:pt x="858" y="336"/>
                  </a:lnTo>
                  <a:lnTo>
                    <a:pt x="852" y="354"/>
                  </a:lnTo>
                  <a:lnTo>
                    <a:pt x="852" y="402"/>
                  </a:lnTo>
                  <a:lnTo>
                    <a:pt x="840" y="414"/>
                  </a:lnTo>
                  <a:lnTo>
                    <a:pt x="834" y="420"/>
                  </a:lnTo>
                  <a:lnTo>
                    <a:pt x="834" y="444"/>
                  </a:lnTo>
                  <a:lnTo>
                    <a:pt x="834" y="450"/>
                  </a:lnTo>
                  <a:lnTo>
                    <a:pt x="852" y="456"/>
                  </a:lnTo>
                  <a:lnTo>
                    <a:pt x="864" y="462"/>
                  </a:lnTo>
                  <a:lnTo>
                    <a:pt x="894" y="456"/>
                  </a:lnTo>
                  <a:lnTo>
                    <a:pt x="900" y="468"/>
                  </a:lnTo>
                  <a:lnTo>
                    <a:pt x="918" y="462"/>
                  </a:lnTo>
                  <a:lnTo>
                    <a:pt x="924" y="468"/>
                  </a:lnTo>
                  <a:lnTo>
                    <a:pt x="924" y="47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2" name="Freeform 37">
              <a:extLst>
                <a:ext uri="{FF2B5EF4-FFF2-40B4-BE49-F238E27FC236}">
                  <a16:creationId xmlns:a16="http://schemas.microsoft.com/office/drawing/2014/main" id="{DED8A1FF-B656-4D37-BD26-5B0A7B1A4A6D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441" y="1898343"/>
              <a:ext cx="567992" cy="686605"/>
            </a:xfrm>
            <a:custGeom>
              <a:avLst/>
              <a:gdLst>
                <a:gd name="T0" fmla="*/ 79 w 1068"/>
                <a:gd name="T1" fmla="*/ 72 h 1290"/>
                <a:gd name="T2" fmla="*/ 75 w 1068"/>
                <a:gd name="T3" fmla="*/ 73 h 1290"/>
                <a:gd name="T4" fmla="*/ 72 w 1068"/>
                <a:gd name="T5" fmla="*/ 76 h 1290"/>
                <a:gd name="T6" fmla="*/ 70 w 1068"/>
                <a:gd name="T7" fmla="*/ 78 h 1290"/>
                <a:gd name="T8" fmla="*/ 67 w 1068"/>
                <a:gd name="T9" fmla="*/ 82 h 1290"/>
                <a:gd name="T10" fmla="*/ 61 w 1068"/>
                <a:gd name="T11" fmla="*/ 86 h 1290"/>
                <a:gd name="T12" fmla="*/ 60 w 1068"/>
                <a:gd name="T13" fmla="*/ 93 h 1290"/>
                <a:gd name="T14" fmla="*/ 59 w 1068"/>
                <a:gd name="T15" fmla="*/ 97 h 1290"/>
                <a:gd name="T16" fmla="*/ 61 w 1068"/>
                <a:gd name="T17" fmla="*/ 101 h 1290"/>
                <a:gd name="T18" fmla="*/ 63 w 1068"/>
                <a:gd name="T19" fmla="*/ 104 h 1290"/>
                <a:gd name="T20" fmla="*/ 62 w 1068"/>
                <a:gd name="T21" fmla="*/ 108 h 1290"/>
                <a:gd name="T22" fmla="*/ 60 w 1068"/>
                <a:gd name="T23" fmla="*/ 111 h 1290"/>
                <a:gd name="T24" fmla="*/ 56 w 1068"/>
                <a:gd name="T25" fmla="*/ 111 h 1290"/>
                <a:gd name="T26" fmla="*/ 53 w 1068"/>
                <a:gd name="T27" fmla="*/ 110 h 1290"/>
                <a:gd name="T28" fmla="*/ 50 w 1068"/>
                <a:gd name="T29" fmla="*/ 109 h 1290"/>
                <a:gd name="T30" fmla="*/ 47 w 1068"/>
                <a:gd name="T31" fmla="*/ 110 h 1290"/>
                <a:gd name="T32" fmla="*/ 51 w 1068"/>
                <a:gd name="T33" fmla="*/ 104 h 1290"/>
                <a:gd name="T34" fmla="*/ 50 w 1068"/>
                <a:gd name="T35" fmla="*/ 95 h 1290"/>
                <a:gd name="T36" fmla="*/ 51 w 1068"/>
                <a:gd name="T37" fmla="*/ 90 h 1290"/>
                <a:gd name="T38" fmla="*/ 47 w 1068"/>
                <a:gd name="T39" fmla="*/ 84 h 1290"/>
                <a:gd name="T40" fmla="*/ 42 w 1068"/>
                <a:gd name="T41" fmla="*/ 78 h 1290"/>
                <a:gd name="T42" fmla="*/ 33 w 1068"/>
                <a:gd name="T43" fmla="*/ 73 h 1290"/>
                <a:gd name="T44" fmla="*/ 26 w 1068"/>
                <a:gd name="T45" fmla="*/ 68 h 1290"/>
                <a:gd name="T46" fmla="*/ 22 w 1068"/>
                <a:gd name="T47" fmla="*/ 63 h 1290"/>
                <a:gd name="T48" fmla="*/ 11 w 1068"/>
                <a:gd name="T49" fmla="*/ 67 h 1290"/>
                <a:gd name="T50" fmla="*/ 0 w 1068"/>
                <a:gd name="T51" fmla="*/ 68 h 1290"/>
                <a:gd name="T52" fmla="*/ 2 w 1068"/>
                <a:gd name="T53" fmla="*/ 59 h 1290"/>
                <a:gd name="T54" fmla="*/ 12 w 1068"/>
                <a:gd name="T55" fmla="*/ 55 h 1290"/>
                <a:gd name="T56" fmla="*/ 12 w 1068"/>
                <a:gd name="T57" fmla="*/ 51 h 1290"/>
                <a:gd name="T58" fmla="*/ 10 w 1068"/>
                <a:gd name="T59" fmla="*/ 47 h 1290"/>
                <a:gd name="T60" fmla="*/ 9 w 1068"/>
                <a:gd name="T61" fmla="*/ 42 h 1290"/>
                <a:gd name="T62" fmla="*/ 8 w 1068"/>
                <a:gd name="T63" fmla="*/ 38 h 1290"/>
                <a:gd name="T64" fmla="*/ 8 w 1068"/>
                <a:gd name="T65" fmla="*/ 29 h 1290"/>
                <a:gd name="T66" fmla="*/ 10 w 1068"/>
                <a:gd name="T67" fmla="*/ 18 h 1290"/>
                <a:gd name="T68" fmla="*/ 25 w 1068"/>
                <a:gd name="T69" fmla="*/ 12 h 1290"/>
                <a:gd name="T70" fmla="*/ 27 w 1068"/>
                <a:gd name="T71" fmla="*/ 4 h 1290"/>
                <a:gd name="T72" fmla="*/ 35 w 1068"/>
                <a:gd name="T73" fmla="*/ 6 h 1290"/>
                <a:gd name="T74" fmla="*/ 39 w 1068"/>
                <a:gd name="T75" fmla="*/ 8 h 1290"/>
                <a:gd name="T76" fmla="*/ 41 w 1068"/>
                <a:gd name="T77" fmla="*/ 3 h 1290"/>
                <a:gd name="T78" fmla="*/ 45 w 1068"/>
                <a:gd name="T79" fmla="*/ 0 h 1290"/>
                <a:gd name="T80" fmla="*/ 51 w 1068"/>
                <a:gd name="T81" fmla="*/ 0 h 1290"/>
                <a:gd name="T82" fmla="*/ 56 w 1068"/>
                <a:gd name="T83" fmla="*/ 4 h 1290"/>
                <a:gd name="T84" fmla="*/ 62 w 1068"/>
                <a:gd name="T85" fmla="*/ 12 h 1290"/>
                <a:gd name="T86" fmla="*/ 58 w 1068"/>
                <a:gd name="T87" fmla="*/ 17 h 1290"/>
                <a:gd name="T88" fmla="*/ 60 w 1068"/>
                <a:gd name="T89" fmla="*/ 18 h 1290"/>
                <a:gd name="T90" fmla="*/ 64 w 1068"/>
                <a:gd name="T91" fmla="*/ 16 h 1290"/>
                <a:gd name="T92" fmla="*/ 68 w 1068"/>
                <a:gd name="T93" fmla="*/ 18 h 1290"/>
                <a:gd name="T94" fmla="*/ 71 w 1068"/>
                <a:gd name="T95" fmla="*/ 27 h 1290"/>
                <a:gd name="T96" fmla="*/ 74 w 1068"/>
                <a:gd name="T97" fmla="*/ 30 h 1290"/>
                <a:gd name="T98" fmla="*/ 82 w 1068"/>
                <a:gd name="T99" fmla="*/ 30 h 1290"/>
                <a:gd name="T100" fmla="*/ 87 w 1068"/>
                <a:gd name="T101" fmla="*/ 35 h 1290"/>
                <a:gd name="T102" fmla="*/ 85 w 1068"/>
                <a:gd name="T103" fmla="*/ 42 h 1290"/>
                <a:gd name="T104" fmla="*/ 81 w 1068"/>
                <a:gd name="T105" fmla="*/ 46 h 1290"/>
                <a:gd name="T106" fmla="*/ 86 w 1068"/>
                <a:gd name="T107" fmla="*/ 50 h 1290"/>
                <a:gd name="T108" fmla="*/ 89 w 1068"/>
                <a:gd name="T109" fmla="*/ 58 h 1290"/>
                <a:gd name="T110" fmla="*/ 92 w 1068"/>
                <a:gd name="T111" fmla="*/ 61 h 1290"/>
                <a:gd name="T112" fmla="*/ 86 w 1068"/>
                <a:gd name="T113" fmla="*/ 66 h 1290"/>
                <a:gd name="T114" fmla="*/ 85 w 1068"/>
                <a:gd name="T115" fmla="*/ 70 h 129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68"/>
                <a:gd name="T175" fmla="*/ 0 h 1290"/>
                <a:gd name="T176" fmla="*/ 1068 w 1068"/>
                <a:gd name="T177" fmla="*/ 1290 h 129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68" h="1290">
                  <a:moveTo>
                    <a:pt x="978" y="804"/>
                  </a:moveTo>
                  <a:lnTo>
                    <a:pt x="972" y="810"/>
                  </a:lnTo>
                  <a:lnTo>
                    <a:pt x="966" y="810"/>
                  </a:lnTo>
                  <a:lnTo>
                    <a:pt x="966" y="816"/>
                  </a:lnTo>
                  <a:lnTo>
                    <a:pt x="936" y="828"/>
                  </a:lnTo>
                  <a:lnTo>
                    <a:pt x="924" y="822"/>
                  </a:lnTo>
                  <a:lnTo>
                    <a:pt x="912" y="822"/>
                  </a:lnTo>
                  <a:lnTo>
                    <a:pt x="906" y="828"/>
                  </a:lnTo>
                  <a:lnTo>
                    <a:pt x="900" y="828"/>
                  </a:lnTo>
                  <a:lnTo>
                    <a:pt x="900" y="822"/>
                  </a:lnTo>
                  <a:lnTo>
                    <a:pt x="894" y="822"/>
                  </a:lnTo>
                  <a:lnTo>
                    <a:pt x="888" y="828"/>
                  </a:lnTo>
                  <a:lnTo>
                    <a:pt x="882" y="834"/>
                  </a:lnTo>
                  <a:lnTo>
                    <a:pt x="876" y="834"/>
                  </a:lnTo>
                  <a:lnTo>
                    <a:pt x="870" y="840"/>
                  </a:lnTo>
                  <a:lnTo>
                    <a:pt x="864" y="840"/>
                  </a:lnTo>
                  <a:lnTo>
                    <a:pt x="864" y="846"/>
                  </a:lnTo>
                  <a:lnTo>
                    <a:pt x="858" y="846"/>
                  </a:lnTo>
                  <a:lnTo>
                    <a:pt x="852" y="846"/>
                  </a:lnTo>
                  <a:lnTo>
                    <a:pt x="852" y="858"/>
                  </a:lnTo>
                  <a:lnTo>
                    <a:pt x="846" y="864"/>
                  </a:lnTo>
                  <a:lnTo>
                    <a:pt x="840" y="870"/>
                  </a:lnTo>
                  <a:lnTo>
                    <a:pt x="834" y="870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34" y="876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10" y="894"/>
                  </a:lnTo>
                  <a:lnTo>
                    <a:pt x="810" y="900"/>
                  </a:lnTo>
                  <a:lnTo>
                    <a:pt x="804" y="900"/>
                  </a:lnTo>
                  <a:lnTo>
                    <a:pt x="798" y="900"/>
                  </a:lnTo>
                  <a:lnTo>
                    <a:pt x="798" y="906"/>
                  </a:lnTo>
                  <a:lnTo>
                    <a:pt x="792" y="906"/>
                  </a:lnTo>
                  <a:lnTo>
                    <a:pt x="792" y="912"/>
                  </a:lnTo>
                  <a:lnTo>
                    <a:pt x="792" y="924"/>
                  </a:lnTo>
                  <a:lnTo>
                    <a:pt x="786" y="930"/>
                  </a:lnTo>
                  <a:lnTo>
                    <a:pt x="774" y="942"/>
                  </a:lnTo>
                  <a:lnTo>
                    <a:pt x="774" y="948"/>
                  </a:lnTo>
                  <a:lnTo>
                    <a:pt x="768" y="954"/>
                  </a:lnTo>
                  <a:lnTo>
                    <a:pt x="762" y="954"/>
                  </a:lnTo>
                  <a:lnTo>
                    <a:pt x="750" y="972"/>
                  </a:lnTo>
                  <a:lnTo>
                    <a:pt x="720" y="978"/>
                  </a:lnTo>
                  <a:lnTo>
                    <a:pt x="714" y="978"/>
                  </a:lnTo>
                  <a:lnTo>
                    <a:pt x="708" y="978"/>
                  </a:lnTo>
                  <a:lnTo>
                    <a:pt x="702" y="990"/>
                  </a:lnTo>
                  <a:lnTo>
                    <a:pt x="696" y="990"/>
                  </a:lnTo>
                  <a:lnTo>
                    <a:pt x="696" y="1008"/>
                  </a:lnTo>
                  <a:lnTo>
                    <a:pt x="690" y="1008"/>
                  </a:lnTo>
                  <a:lnTo>
                    <a:pt x="690" y="1014"/>
                  </a:lnTo>
                  <a:lnTo>
                    <a:pt x="684" y="1032"/>
                  </a:lnTo>
                  <a:lnTo>
                    <a:pt x="690" y="1050"/>
                  </a:lnTo>
                  <a:lnTo>
                    <a:pt x="690" y="1062"/>
                  </a:lnTo>
                  <a:lnTo>
                    <a:pt x="690" y="1068"/>
                  </a:lnTo>
                  <a:lnTo>
                    <a:pt x="690" y="1074"/>
                  </a:lnTo>
                  <a:lnTo>
                    <a:pt x="684" y="1074"/>
                  </a:lnTo>
                  <a:lnTo>
                    <a:pt x="684" y="1080"/>
                  </a:lnTo>
                  <a:lnTo>
                    <a:pt x="678" y="1086"/>
                  </a:lnTo>
                  <a:lnTo>
                    <a:pt x="678" y="1104"/>
                  </a:lnTo>
                  <a:lnTo>
                    <a:pt x="678" y="1110"/>
                  </a:lnTo>
                  <a:lnTo>
                    <a:pt x="678" y="1116"/>
                  </a:lnTo>
                  <a:lnTo>
                    <a:pt x="684" y="1116"/>
                  </a:lnTo>
                  <a:lnTo>
                    <a:pt x="678" y="1128"/>
                  </a:lnTo>
                  <a:lnTo>
                    <a:pt x="684" y="1128"/>
                  </a:lnTo>
                  <a:lnTo>
                    <a:pt x="690" y="1134"/>
                  </a:lnTo>
                  <a:lnTo>
                    <a:pt x="690" y="1140"/>
                  </a:lnTo>
                  <a:lnTo>
                    <a:pt x="696" y="1140"/>
                  </a:lnTo>
                  <a:lnTo>
                    <a:pt x="696" y="1146"/>
                  </a:lnTo>
                  <a:lnTo>
                    <a:pt x="696" y="1152"/>
                  </a:lnTo>
                  <a:lnTo>
                    <a:pt x="702" y="1152"/>
                  </a:lnTo>
                  <a:lnTo>
                    <a:pt x="708" y="1152"/>
                  </a:lnTo>
                  <a:lnTo>
                    <a:pt x="714" y="1158"/>
                  </a:lnTo>
                  <a:lnTo>
                    <a:pt x="714" y="1164"/>
                  </a:lnTo>
                  <a:lnTo>
                    <a:pt x="720" y="1170"/>
                  </a:lnTo>
                  <a:lnTo>
                    <a:pt x="720" y="1176"/>
                  </a:lnTo>
                  <a:lnTo>
                    <a:pt x="720" y="1182"/>
                  </a:lnTo>
                  <a:lnTo>
                    <a:pt x="726" y="1188"/>
                  </a:lnTo>
                  <a:lnTo>
                    <a:pt x="726" y="1194"/>
                  </a:lnTo>
                  <a:lnTo>
                    <a:pt x="732" y="1194"/>
                  </a:lnTo>
                  <a:lnTo>
                    <a:pt x="732" y="1200"/>
                  </a:lnTo>
                  <a:lnTo>
                    <a:pt x="738" y="1212"/>
                  </a:lnTo>
                  <a:lnTo>
                    <a:pt x="732" y="1218"/>
                  </a:lnTo>
                  <a:lnTo>
                    <a:pt x="732" y="1224"/>
                  </a:lnTo>
                  <a:lnTo>
                    <a:pt x="726" y="1230"/>
                  </a:lnTo>
                  <a:lnTo>
                    <a:pt x="720" y="1230"/>
                  </a:lnTo>
                  <a:lnTo>
                    <a:pt x="720" y="1236"/>
                  </a:lnTo>
                  <a:lnTo>
                    <a:pt x="720" y="1242"/>
                  </a:lnTo>
                  <a:lnTo>
                    <a:pt x="720" y="1248"/>
                  </a:lnTo>
                  <a:lnTo>
                    <a:pt x="714" y="1248"/>
                  </a:lnTo>
                  <a:lnTo>
                    <a:pt x="714" y="1254"/>
                  </a:lnTo>
                  <a:lnTo>
                    <a:pt x="708" y="1260"/>
                  </a:lnTo>
                  <a:lnTo>
                    <a:pt x="702" y="1272"/>
                  </a:lnTo>
                  <a:lnTo>
                    <a:pt x="696" y="1272"/>
                  </a:lnTo>
                  <a:lnTo>
                    <a:pt x="696" y="1278"/>
                  </a:lnTo>
                  <a:lnTo>
                    <a:pt x="690" y="1284"/>
                  </a:lnTo>
                  <a:lnTo>
                    <a:pt x="690" y="1290"/>
                  </a:lnTo>
                  <a:lnTo>
                    <a:pt x="684" y="1290"/>
                  </a:lnTo>
                  <a:lnTo>
                    <a:pt x="660" y="1284"/>
                  </a:lnTo>
                  <a:lnTo>
                    <a:pt x="660" y="1278"/>
                  </a:lnTo>
                  <a:lnTo>
                    <a:pt x="654" y="1272"/>
                  </a:lnTo>
                  <a:lnTo>
                    <a:pt x="648" y="1272"/>
                  </a:lnTo>
                  <a:lnTo>
                    <a:pt x="642" y="1272"/>
                  </a:lnTo>
                  <a:lnTo>
                    <a:pt x="642" y="1266"/>
                  </a:lnTo>
                  <a:lnTo>
                    <a:pt x="636" y="1266"/>
                  </a:lnTo>
                  <a:lnTo>
                    <a:pt x="630" y="1266"/>
                  </a:lnTo>
                  <a:lnTo>
                    <a:pt x="624" y="1266"/>
                  </a:lnTo>
                  <a:lnTo>
                    <a:pt x="624" y="1260"/>
                  </a:lnTo>
                  <a:lnTo>
                    <a:pt x="618" y="1260"/>
                  </a:lnTo>
                  <a:lnTo>
                    <a:pt x="612" y="1260"/>
                  </a:lnTo>
                  <a:lnTo>
                    <a:pt x="606" y="1260"/>
                  </a:lnTo>
                  <a:lnTo>
                    <a:pt x="600" y="1260"/>
                  </a:lnTo>
                  <a:lnTo>
                    <a:pt x="600" y="1254"/>
                  </a:lnTo>
                  <a:lnTo>
                    <a:pt x="594" y="1254"/>
                  </a:lnTo>
                  <a:lnTo>
                    <a:pt x="588" y="1248"/>
                  </a:lnTo>
                  <a:lnTo>
                    <a:pt x="588" y="1254"/>
                  </a:lnTo>
                  <a:lnTo>
                    <a:pt x="582" y="1254"/>
                  </a:lnTo>
                  <a:lnTo>
                    <a:pt x="582" y="1248"/>
                  </a:lnTo>
                  <a:lnTo>
                    <a:pt x="576" y="1248"/>
                  </a:lnTo>
                  <a:lnTo>
                    <a:pt x="576" y="1254"/>
                  </a:lnTo>
                  <a:lnTo>
                    <a:pt x="570" y="1248"/>
                  </a:lnTo>
                  <a:lnTo>
                    <a:pt x="564" y="1248"/>
                  </a:lnTo>
                  <a:lnTo>
                    <a:pt x="564" y="1254"/>
                  </a:lnTo>
                  <a:lnTo>
                    <a:pt x="558" y="1254"/>
                  </a:lnTo>
                  <a:lnTo>
                    <a:pt x="552" y="1254"/>
                  </a:lnTo>
                  <a:lnTo>
                    <a:pt x="552" y="1260"/>
                  </a:lnTo>
                  <a:lnTo>
                    <a:pt x="546" y="1260"/>
                  </a:lnTo>
                  <a:lnTo>
                    <a:pt x="540" y="1260"/>
                  </a:lnTo>
                  <a:lnTo>
                    <a:pt x="540" y="1254"/>
                  </a:lnTo>
                  <a:lnTo>
                    <a:pt x="534" y="1254"/>
                  </a:lnTo>
                  <a:lnTo>
                    <a:pt x="528" y="1224"/>
                  </a:lnTo>
                  <a:lnTo>
                    <a:pt x="534" y="1212"/>
                  </a:lnTo>
                  <a:lnTo>
                    <a:pt x="546" y="1206"/>
                  </a:lnTo>
                  <a:lnTo>
                    <a:pt x="582" y="1206"/>
                  </a:lnTo>
                  <a:lnTo>
                    <a:pt x="588" y="1188"/>
                  </a:lnTo>
                  <a:lnTo>
                    <a:pt x="582" y="1188"/>
                  </a:lnTo>
                  <a:lnTo>
                    <a:pt x="582" y="1182"/>
                  </a:lnTo>
                  <a:lnTo>
                    <a:pt x="576" y="1176"/>
                  </a:lnTo>
                  <a:lnTo>
                    <a:pt x="558" y="1128"/>
                  </a:lnTo>
                  <a:lnTo>
                    <a:pt x="558" y="1122"/>
                  </a:lnTo>
                  <a:lnTo>
                    <a:pt x="576" y="1098"/>
                  </a:lnTo>
                  <a:lnTo>
                    <a:pt x="576" y="1092"/>
                  </a:lnTo>
                  <a:lnTo>
                    <a:pt x="582" y="1092"/>
                  </a:lnTo>
                  <a:lnTo>
                    <a:pt x="582" y="1086"/>
                  </a:lnTo>
                  <a:lnTo>
                    <a:pt x="582" y="1080"/>
                  </a:lnTo>
                  <a:lnTo>
                    <a:pt x="582" y="1074"/>
                  </a:lnTo>
                  <a:lnTo>
                    <a:pt x="588" y="1074"/>
                  </a:lnTo>
                  <a:lnTo>
                    <a:pt x="588" y="1062"/>
                  </a:lnTo>
                  <a:lnTo>
                    <a:pt x="588" y="1056"/>
                  </a:lnTo>
                  <a:lnTo>
                    <a:pt x="588" y="1044"/>
                  </a:lnTo>
                  <a:lnTo>
                    <a:pt x="588" y="1038"/>
                  </a:lnTo>
                  <a:lnTo>
                    <a:pt x="588" y="1032"/>
                  </a:lnTo>
                  <a:lnTo>
                    <a:pt x="582" y="1026"/>
                  </a:lnTo>
                  <a:lnTo>
                    <a:pt x="582" y="1020"/>
                  </a:lnTo>
                  <a:lnTo>
                    <a:pt x="582" y="1008"/>
                  </a:lnTo>
                  <a:lnTo>
                    <a:pt x="576" y="990"/>
                  </a:lnTo>
                  <a:lnTo>
                    <a:pt x="570" y="972"/>
                  </a:lnTo>
                  <a:lnTo>
                    <a:pt x="552" y="972"/>
                  </a:lnTo>
                  <a:lnTo>
                    <a:pt x="540" y="960"/>
                  </a:lnTo>
                  <a:lnTo>
                    <a:pt x="534" y="954"/>
                  </a:lnTo>
                  <a:lnTo>
                    <a:pt x="534" y="948"/>
                  </a:lnTo>
                  <a:lnTo>
                    <a:pt x="516" y="948"/>
                  </a:lnTo>
                  <a:lnTo>
                    <a:pt x="522" y="936"/>
                  </a:lnTo>
                  <a:lnTo>
                    <a:pt x="522" y="930"/>
                  </a:lnTo>
                  <a:lnTo>
                    <a:pt x="504" y="918"/>
                  </a:lnTo>
                  <a:lnTo>
                    <a:pt x="492" y="906"/>
                  </a:lnTo>
                  <a:lnTo>
                    <a:pt x="486" y="894"/>
                  </a:lnTo>
                  <a:lnTo>
                    <a:pt x="468" y="876"/>
                  </a:lnTo>
                  <a:lnTo>
                    <a:pt x="450" y="876"/>
                  </a:lnTo>
                  <a:lnTo>
                    <a:pt x="414" y="882"/>
                  </a:lnTo>
                  <a:lnTo>
                    <a:pt x="402" y="870"/>
                  </a:lnTo>
                  <a:lnTo>
                    <a:pt x="390" y="864"/>
                  </a:lnTo>
                  <a:lnTo>
                    <a:pt x="384" y="852"/>
                  </a:lnTo>
                  <a:lnTo>
                    <a:pt x="378" y="840"/>
                  </a:lnTo>
                  <a:lnTo>
                    <a:pt x="378" y="834"/>
                  </a:lnTo>
                  <a:lnTo>
                    <a:pt x="360" y="822"/>
                  </a:lnTo>
                  <a:lnTo>
                    <a:pt x="342" y="828"/>
                  </a:lnTo>
                  <a:lnTo>
                    <a:pt x="324" y="816"/>
                  </a:lnTo>
                  <a:lnTo>
                    <a:pt x="318" y="816"/>
                  </a:lnTo>
                  <a:lnTo>
                    <a:pt x="306" y="810"/>
                  </a:lnTo>
                  <a:lnTo>
                    <a:pt x="306" y="804"/>
                  </a:lnTo>
                  <a:lnTo>
                    <a:pt x="300" y="804"/>
                  </a:lnTo>
                  <a:lnTo>
                    <a:pt x="300" y="780"/>
                  </a:lnTo>
                  <a:lnTo>
                    <a:pt x="300" y="774"/>
                  </a:lnTo>
                  <a:lnTo>
                    <a:pt x="306" y="774"/>
                  </a:lnTo>
                  <a:lnTo>
                    <a:pt x="312" y="756"/>
                  </a:lnTo>
                  <a:lnTo>
                    <a:pt x="312" y="732"/>
                  </a:lnTo>
                  <a:lnTo>
                    <a:pt x="300" y="720"/>
                  </a:lnTo>
                  <a:lnTo>
                    <a:pt x="288" y="702"/>
                  </a:lnTo>
                  <a:lnTo>
                    <a:pt x="276" y="702"/>
                  </a:lnTo>
                  <a:lnTo>
                    <a:pt x="258" y="714"/>
                  </a:lnTo>
                  <a:lnTo>
                    <a:pt x="246" y="726"/>
                  </a:lnTo>
                  <a:lnTo>
                    <a:pt x="222" y="726"/>
                  </a:lnTo>
                  <a:lnTo>
                    <a:pt x="192" y="726"/>
                  </a:lnTo>
                  <a:lnTo>
                    <a:pt x="174" y="738"/>
                  </a:lnTo>
                  <a:lnTo>
                    <a:pt x="162" y="750"/>
                  </a:lnTo>
                  <a:lnTo>
                    <a:pt x="144" y="762"/>
                  </a:lnTo>
                  <a:lnTo>
                    <a:pt x="138" y="768"/>
                  </a:lnTo>
                  <a:lnTo>
                    <a:pt x="126" y="774"/>
                  </a:lnTo>
                  <a:lnTo>
                    <a:pt x="114" y="780"/>
                  </a:lnTo>
                  <a:lnTo>
                    <a:pt x="108" y="786"/>
                  </a:lnTo>
                  <a:lnTo>
                    <a:pt x="102" y="786"/>
                  </a:lnTo>
                  <a:lnTo>
                    <a:pt x="54" y="786"/>
                  </a:lnTo>
                  <a:lnTo>
                    <a:pt x="48" y="792"/>
                  </a:lnTo>
                  <a:lnTo>
                    <a:pt x="36" y="798"/>
                  </a:lnTo>
                  <a:lnTo>
                    <a:pt x="18" y="792"/>
                  </a:lnTo>
                  <a:lnTo>
                    <a:pt x="6" y="780"/>
                  </a:lnTo>
                  <a:lnTo>
                    <a:pt x="6" y="768"/>
                  </a:lnTo>
                  <a:lnTo>
                    <a:pt x="0" y="756"/>
                  </a:lnTo>
                  <a:lnTo>
                    <a:pt x="0" y="738"/>
                  </a:lnTo>
                  <a:lnTo>
                    <a:pt x="6" y="702"/>
                  </a:lnTo>
                  <a:lnTo>
                    <a:pt x="24" y="702"/>
                  </a:lnTo>
                  <a:lnTo>
                    <a:pt x="24" y="696"/>
                  </a:lnTo>
                  <a:lnTo>
                    <a:pt x="24" y="690"/>
                  </a:lnTo>
                  <a:lnTo>
                    <a:pt x="24" y="678"/>
                  </a:lnTo>
                  <a:lnTo>
                    <a:pt x="24" y="672"/>
                  </a:lnTo>
                  <a:lnTo>
                    <a:pt x="30" y="672"/>
                  </a:lnTo>
                  <a:lnTo>
                    <a:pt x="30" y="666"/>
                  </a:lnTo>
                  <a:lnTo>
                    <a:pt x="36" y="660"/>
                  </a:lnTo>
                  <a:lnTo>
                    <a:pt x="84" y="648"/>
                  </a:lnTo>
                  <a:lnTo>
                    <a:pt x="126" y="642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32" y="618"/>
                  </a:lnTo>
                  <a:lnTo>
                    <a:pt x="138" y="612"/>
                  </a:lnTo>
                  <a:lnTo>
                    <a:pt x="138" y="606"/>
                  </a:lnTo>
                  <a:lnTo>
                    <a:pt x="138" y="600"/>
                  </a:lnTo>
                  <a:lnTo>
                    <a:pt x="132" y="600"/>
                  </a:lnTo>
                  <a:lnTo>
                    <a:pt x="132" y="594"/>
                  </a:lnTo>
                  <a:lnTo>
                    <a:pt x="132" y="588"/>
                  </a:lnTo>
                  <a:lnTo>
                    <a:pt x="132" y="582"/>
                  </a:lnTo>
                  <a:lnTo>
                    <a:pt x="132" y="576"/>
                  </a:lnTo>
                  <a:lnTo>
                    <a:pt x="126" y="570"/>
                  </a:lnTo>
                  <a:lnTo>
                    <a:pt x="120" y="564"/>
                  </a:lnTo>
                  <a:lnTo>
                    <a:pt x="120" y="558"/>
                  </a:lnTo>
                  <a:lnTo>
                    <a:pt x="120" y="552"/>
                  </a:lnTo>
                  <a:lnTo>
                    <a:pt x="114" y="552"/>
                  </a:lnTo>
                  <a:lnTo>
                    <a:pt x="114" y="546"/>
                  </a:lnTo>
                  <a:lnTo>
                    <a:pt x="114" y="540"/>
                  </a:lnTo>
                  <a:lnTo>
                    <a:pt x="108" y="534"/>
                  </a:lnTo>
                  <a:lnTo>
                    <a:pt x="108" y="528"/>
                  </a:lnTo>
                  <a:lnTo>
                    <a:pt x="114" y="522"/>
                  </a:lnTo>
                  <a:lnTo>
                    <a:pt x="108" y="516"/>
                  </a:lnTo>
                  <a:lnTo>
                    <a:pt x="108" y="498"/>
                  </a:lnTo>
                  <a:lnTo>
                    <a:pt x="108" y="492"/>
                  </a:lnTo>
                  <a:lnTo>
                    <a:pt x="108" y="486"/>
                  </a:lnTo>
                  <a:lnTo>
                    <a:pt x="108" y="480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08" y="462"/>
                  </a:lnTo>
                  <a:lnTo>
                    <a:pt x="102" y="456"/>
                  </a:lnTo>
                  <a:lnTo>
                    <a:pt x="102" y="444"/>
                  </a:lnTo>
                  <a:lnTo>
                    <a:pt x="96" y="444"/>
                  </a:lnTo>
                  <a:lnTo>
                    <a:pt x="90" y="432"/>
                  </a:lnTo>
                  <a:lnTo>
                    <a:pt x="96" y="432"/>
                  </a:lnTo>
                  <a:lnTo>
                    <a:pt x="96" y="408"/>
                  </a:lnTo>
                  <a:lnTo>
                    <a:pt x="96" y="396"/>
                  </a:lnTo>
                  <a:lnTo>
                    <a:pt x="96" y="360"/>
                  </a:lnTo>
                  <a:lnTo>
                    <a:pt x="96" y="354"/>
                  </a:lnTo>
                  <a:lnTo>
                    <a:pt x="102" y="354"/>
                  </a:lnTo>
                  <a:lnTo>
                    <a:pt x="102" y="348"/>
                  </a:lnTo>
                  <a:lnTo>
                    <a:pt x="96" y="330"/>
                  </a:lnTo>
                  <a:lnTo>
                    <a:pt x="90" y="306"/>
                  </a:lnTo>
                  <a:lnTo>
                    <a:pt x="84" y="288"/>
                  </a:lnTo>
                  <a:lnTo>
                    <a:pt x="84" y="264"/>
                  </a:lnTo>
                  <a:lnTo>
                    <a:pt x="90" y="240"/>
                  </a:lnTo>
                  <a:lnTo>
                    <a:pt x="96" y="222"/>
                  </a:lnTo>
                  <a:lnTo>
                    <a:pt x="102" y="222"/>
                  </a:lnTo>
                  <a:lnTo>
                    <a:pt x="108" y="210"/>
                  </a:lnTo>
                  <a:lnTo>
                    <a:pt x="114" y="210"/>
                  </a:lnTo>
                  <a:lnTo>
                    <a:pt x="126" y="198"/>
                  </a:lnTo>
                  <a:lnTo>
                    <a:pt x="156" y="192"/>
                  </a:lnTo>
                  <a:lnTo>
                    <a:pt x="174" y="186"/>
                  </a:lnTo>
                  <a:lnTo>
                    <a:pt x="204" y="174"/>
                  </a:lnTo>
                  <a:lnTo>
                    <a:pt x="222" y="168"/>
                  </a:lnTo>
                  <a:lnTo>
                    <a:pt x="234" y="162"/>
                  </a:lnTo>
                  <a:lnTo>
                    <a:pt x="246" y="156"/>
                  </a:lnTo>
                  <a:lnTo>
                    <a:pt x="288" y="144"/>
                  </a:lnTo>
                  <a:lnTo>
                    <a:pt x="288" y="132"/>
                  </a:lnTo>
                  <a:lnTo>
                    <a:pt x="294" y="120"/>
                  </a:lnTo>
                  <a:lnTo>
                    <a:pt x="300" y="108"/>
                  </a:lnTo>
                  <a:lnTo>
                    <a:pt x="306" y="90"/>
                  </a:lnTo>
                  <a:lnTo>
                    <a:pt x="312" y="78"/>
                  </a:lnTo>
                  <a:lnTo>
                    <a:pt x="324" y="78"/>
                  </a:lnTo>
                  <a:lnTo>
                    <a:pt x="324" y="54"/>
                  </a:lnTo>
                  <a:lnTo>
                    <a:pt x="318" y="48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60" y="6"/>
                  </a:lnTo>
                  <a:lnTo>
                    <a:pt x="384" y="0"/>
                  </a:lnTo>
                  <a:lnTo>
                    <a:pt x="390" y="6"/>
                  </a:lnTo>
                  <a:lnTo>
                    <a:pt x="390" y="18"/>
                  </a:lnTo>
                  <a:lnTo>
                    <a:pt x="390" y="54"/>
                  </a:lnTo>
                  <a:lnTo>
                    <a:pt x="396" y="66"/>
                  </a:lnTo>
                  <a:lnTo>
                    <a:pt x="414" y="84"/>
                  </a:lnTo>
                  <a:lnTo>
                    <a:pt x="426" y="90"/>
                  </a:lnTo>
                  <a:lnTo>
                    <a:pt x="432" y="96"/>
                  </a:lnTo>
                  <a:lnTo>
                    <a:pt x="426" y="102"/>
                  </a:lnTo>
                  <a:lnTo>
                    <a:pt x="438" y="102"/>
                  </a:lnTo>
                  <a:lnTo>
                    <a:pt x="444" y="108"/>
                  </a:lnTo>
                  <a:lnTo>
                    <a:pt x="444" y="102"/>
                  </a:lnTo>
                  <a:lnTo>
                    <a:pt x="450" y="90"/>
                  </a:lnTo>
                  <a:lnTo>
                    <a:pt x="450" y="84"/>
                  </a:lnTo>
                  <a:lnTo>
                    <a:pt x="450" y="78"/>
                  </a:lnTo>
                  <a:lnTo>
                    <a:pt x="456" y="72"/>
                  </a:lnTo>
                  <a:lnTo>
                    <a:pt x="462" y="66"/>
                  </a:lnTo>
                  <a:lnTo>
                    <a:pt x="462" y="60"/>
                  </a:lnTo>
                  <a:lnTo>
                    <a:pt x="462" y="54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74" y="24"/>
                  </a:lnTo>
                  <a:lnTo>
                    <a:pt x="480" y="18"/>
                  </a:lnTo>
                  <a:lnTo>
                    <a:pt x="486" y="12"/>
                  </a:lnTo>
                  <a:lnTo>
                    <a:pt x="492" y="12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2" y="6"/>
                  </a:lnTo>
                  <a:lnTo>
                    <a:pt x="534" y="6"/>
                  </a:lnTo>
                  <a:lnTo>
                    <a:pt x="540" y="6"/>
                  </a:lnTo>
                  <a:lnTo>
                    <a:pt x="546" y="6"/>
                  </a:lnTo>
                  <a:lnTo>
                    <a:pt x="564" y="0"/>
                  </a:lnTo>
                  <a:lnTo>
                    <a:pt x="570" y="0"/>
                  </a:lnTo>
                  <a:lnTo>
                    <a:pt x="576" y="6"/>
                  </a:lnTo>
                  <a:lnTo>
                    <a:pt x="582" y="6"/>
                  </a:lnTo>
                  <a:lnTo>
                    <a:pt x="594" y="6"/>
                  </a:lnTo>
                  <a:lnTo>
                    <a:pt x="600" y="6"/>
                  </a:lnTo>
                  <a:lnTo>
                    <a:pt x="606" y="6"/>
                  </a:lnTo>
                  <a:lnTo>
                    <a:pt x="624" y="0"/>
                  </a:lnTo>
                  <a:lnTo>
                    <a:pt x="636" y="0"/>
                  </a:lnTo>
                  <a:lnTo>
                    <a:pt x="636" y="6"/>
                  </a:lnTo>
                  <a:lnTo>
                    <a:pt x="654" y="18"/>
                  </a:lnTo>
                  <a:lnTo>
                    <a:pt x="654" y="30"/>
                  </a:lnTo>
                  <a:lnTo>
                    <a:pt x="642" y="42"/>
                  </a:lnTo>
                  <a:lnTo>
                    <a:pt x="630" y="66"/>
                  </a:lnTo>
                  <a:lnTo>
                    <a:pt x="636" y="84"/>
                  </a:lnTo>
                  <a:lnTo>
                    <a:pt x="636" y="96"/>
                  </a:lnTo>
                  <a:lnTo>
                    <a:pt x="648" y="102"/>
                  </a:lnTo>
                  <a:lnTo>
                    <a:pt x="672" y="114"/>
                  </a:lnTo>
                  <a:lnTo>
                    <a:pt x="702" y="120"/>
                  </a:lnTo>
                  <a:lnTo>
                    <a:pt x="714" y="126"/>
                  </a:lnTo>
                  <a:lnTo>
                    <a:pt x="720" y="144"/>
                  </a:lnTo>
                  <a:lnTo>
                    <a:pt x="720" y="156"/>
                  </a:lnTo>
                  <a:lnTo>
                    <a:pt x="708" y="156"/>
                  </a:lnTo>
                  <a:lnTo>
                    <a:pt x="702" y="162"/>
                  </a:lnTo>
                  <a:lnTo>
                    <a:pt x="702" y="174"/>
                  </a:lnTo>
                  <a:lnTo>
                    <a:pt x="696" y="174"/>
                  </a:lnTo>
                  <a:lnTo>
                    <a:pt x="690" y="180"/>
                  </a:lnTo>
                  <a:lnTo>
                    <a:pt x="678" y="186"/>
                  </a:lnTo>
                  <a:lnTo>
                    <a:pt x="672" y="192"/>
                  </a:lnTo>
                  <a:lnTo>
                    <a:pt x="654" y="210"/>
                  </a:lnTo>
                  <a:lnTo>
                    <a:pt x="654" y="216"/>
                  </a:lnTo>
                  <a:lnTo>
                    <a:pt x="648" y="246"/>
                  </a:lnTo>
                  <a:lnTo>
                    <a:pt x="660" y="246"/>
                  </a:lnTo>
                  <a:lnTo>
                    <a:pt x="666" y="234"/>
                  </a:lnTo>
                  <a:lnTo>
                    <a:pt x="678" y="240"/>
                  </a:lnTo>
                  <a:lnTo>
                    <a:pt x="684" y="228"/>
                  </a:lnTo>
                  <a:lnTo>
                    <a:pt x="690" y="210"/>
                  </a:lnTo>
                  <a:lnTo>
                    <a:pt x="696" y="204"/>
                  </a:lnTo>
                  <a:lnTo>
                    <a:pt x="702" y="204"/>
                  </a:lnTo>
                  <a:lnTo>
                    <a:pt x="708" y="192"/>
                  </a:lnTo>
                  <a:lnTo>
                    <a:pt x="714" y="192"/>
                  </a:lnTo>
                  <a:lnTo>
                    <a:pt x="714" y="186"/>
                  </a:lnTo>
                  <a:lnTo>
                    <a:pt x="726" y="186"/>
                  </a:lnTo>
                  <a:lnTo>
                    <a:pt x="732" y="186"/>
                  </a:lnTo>
                  <a:lnTo>
                    <a:pt x="738" y="186"/>
                  </a:lnTo>
                  <a:lnTo>
                    <a:pt x="744" y="216"/>
                  </a:lnTo>
                  <a:lnTo>
                    <a:pt x="750" y="210"/>
                  </a:lnTo>
                  <a:lnTo>
                    <a:pt x="750" y="204"/>
                  </a:lnTo>
                  <a:lnTo>
                    <a:pt x="756" y="192"/>
                  </a:lnTo>
                  <a:lnTo>
                    <a:pt x="762" y="192"/>
                  </a:lnTo>
                  <a:lnTo>
                    <a:pt x="768" y="192"/>
                  </a:lnTo>
                  <a:lnTo>
                    <a:pt x="780" y="186"/>
                  </a:lnTo>
                  <a:lnTo>
                    <a:pt x="786" y="204"/>
                  </a:lnTo>
                  <a:lnTo>
                    <a:pt x="774" y="210"/>
                  </a:lnTo>
                  <a:lnTo>
                    <a:pt x="774" y="234"/>
                  </a:lnTo>
                  <a:lnTo>
                    <a:pt x="780" y="246"/>
                  </a:lnTo>
                  <a:lnTo>
                    <a:pt x="804" y="264"/>
                  </a:lnTo>
                  <a:lnTo>
                    <a:pt x="816" y="276"/>
                  </a:lnTo>
                  <a:lnTo>
                    <a:pt x="822" y="288"/>
                  </a:lnTo>
                  <a:lnTo>
                    <a:pt x="822" y="312"/>
                  </a:lnTo>
                  <a:lnTo>
                    <a:pt x="816" y="312"/>
                  </a:lnTo>
                  <a:lnTo>
                    <a:pt x="810" y="318"/>
                  </a:lnTo>
                  <a:lnTo>
                    <a:pt x="810" y="348"/>
                  </a:lnTo>
                  <a:lnTo>
                    <a:pt x="816" y="348"/>
                  </a:lnTo>
                  <a:lnTo>
                    <a:pt x="816" y="342"/>
                  </a:lnTo>
                  <a:lnTo>
                    <a:pt x="834" y="342"/>
                  </a:lnTo>
                  <a:lnTo>
                    <a:pt x="834" y="348"/>
                  </a:lnTo>
                  <a:lnTo>
                    <a:pt x="846" y="348"/>
                  </a:lnTo>
                  <a:lnTo>
                    <a:pt x="846" y="342"/>
                  </a:lnTo>
                  <a:lnTo>
                    <a:pt x="882" y="342"/>
                  </a:lnTo>
                  <a:lnTo>
                    <a:pt x="894" y="366"/>
                  </a:lnTo>
                  <a:lnTo>
                    <a:pt x="900" y="372"/>
                  </a:lnTo>
                  <a:lnTo>
                    <a:pt x="906" y="384"/>
                  </a:lnTo>
                  <a:lnTo>
                    <a:pt x="924" y="384"/>
                  </a:lnTo>
                  <a:lnTo>
                    <a:pt x="930" y="372"/>
                  </a:lnTo>
                  <a:lnTo>
                    <a:pt x="936" y="372"/>
                  </a:lnTo>
                  <a:lnTo>
                    <a:pt x="942" y="348"/>
                  </a:lnTo>
                  <a:lnTo>
                    <a:pt x="954" y="348"/>
                  </a:lnTo>
                  <a:lnTo>
                    <a:pt x="954" y="342"/>
                  </a:lnTo>
                  <a:lnTo>
                    <a:pt x="984" y="342"/>
                  </a:lnTo>
                  <a:lnTo>
                    <a:pt x="978" y="390"/>
                  </a:lnTo>
                  <a:lnTo>
                    <a:pt x="984" y="390"/>
                  </a:lnTo>
                  <a:lnTo>
                    <a:pt x="990" y="396"/>
                  </a:lnTo>
                  <a:lnTo>
                    <a:pt x="996" y="396"/>
                  </a:lnTo>
                  <a:lnTo>
                    <a:pt x="1002" y="396"/>
                  </a:lnTo>
                  <a:lnTo>
                    <a:pt x="1002" y="408"/>
                  </a:lnTo>
                  <a:lnTo>
                    <a:pt x="990" y="414"/>
                  </a:lnTo>
                  <a:lnTo>
                    <a:pt x="984" y="426"/>
                  </a:lnTo>
                  <a:lnTo>
                    <a:pt x="990" y="444"/>
                  </a:lnTo>
                  <a:lnTo>
                    <a:pt x="996" y="450"/>
                  </a:lnTo>
                  <a:lnTo>
                    <a:pt x="990" y="462"/>
                  </a:lnTo>
                  <a:lnTo>
                    <a:pt x="990" y="468"/>
                  </a:lnTo>
                  <a:lnTo>
                    <a:pt x="984" y="480"/>
                  </a:lnTo>
                  <a:lnTo>
                    <a:pt x="978" y="486"/>
                  </a:lnTo>
                  <a:lnTo>
                    <a:pt x="972" y="486"/>
                  </a:lnTo>
                  <a:lnTo>
                    <a:pt x="966" y="492"/>
                  </a:lnTo>
                  <a:lnTo>
                    <a:pt x="966" y="498"/>
                  </a:lnTo>
                  <a:lnTo>
                    <a:pt x="954" y="510"/>
                  </a:lnTo>
                  <a:lnTo>
                    <a:pt x="948" y="510"/>
                  </a:lnTo>
                  <a:lnTo>
                    <a:pt x="942" y="516"/>
                  </a:lnTo>
                  <a:lnTo>
                    <a:pt x="936" y="528"/>
                  </a:lnTo>
                  <a:lnTo>
                    <a:pt x="936" y="534"/>
                  </a:lnTo>
                  <a:lnTo>
                    <a:pt x="936" y="546"/>
                  </a:lnTo>
                  <a:lnTo>
                    <a:pt x="936" y="558"/>
                  </a:lnTo>
                  <a:lnTo>
                    <a:pt x="948" y="558"/>
                  </a:lnTo>
                  <a:lnTo>
                    <a:pt x="954" y="558"/>
                  </a:lnTo>
                  <a:lnTo>
                    <a:pt x="996" y="558"/>
                  </a:lnTo>
                  <a:lnTo>
                    <a:pt x="1002" y="570"/>
                  </a:lnTo>
                  <a:lnTo>
                    <a:pt x="996" y="576"/>
                  </a:lnTo>
                  <a:lnTo>
                    <a:pt x="996" y="588"/>
                  </a:lnTo>
                  <a:lnTo>
                    <a:pt x="984" y="588"/>
                  </a:lnTo>
                  <a:lnTo>
                    <a:pt x="990" y="612"/>
                  </a:lnTo>
                  <a:lnTo>
                    <a:pt x="1014" y="606"/>
                  </a:lnTo>
                  <a:lnTo>
                    <a:pt x="1014" y="636"/>
                  </a:lnTo>
                  <a:lnTo>
                    <a:pt x="1014" y="648"/>
                  </a:lnTo>
                  <a:lnTo>
                    <a:pt x="1020" y="648"/>
                  </a:lnTo>
                  <a:lnTo>
                    <a:pt x="1026" y="660"/>
                  </a:lnTo>
                  <a:lnTo>
                    <a:pt x="1038" y="654"/>
                  </a:lnTo>
                  <a:lnTo>
                    <a:pt x="1050" y="654"/>
                  </a:lnTo>
                  <a:lnTo>
                    <a:pt x="1062" y="654"/>
                  </a:lnTo>
                  <a:lnTo>
                    <a:pt x="1068" y="660"/>
                  </a:lnTo>
                  <a:lnTo>
                    <a:pt x="1068" y="678"/>
                  </a:lnTo>
                  <a:lnTo>
                    <a:pt x="1068" y="684"/>
                  </a:lnTo>
                  <a:lnTo>
                    <a:pt x="1062" y="690"/>
                  </a:lnTo>
                  <a:lnTo>
                    <a:pt x="1056" y="696"/>
                  </a:lnTo>
                  <a:lnTo>
                    <a:pt x="1056" y="702"/>
                  </a:lnTo>
                  <a:lnTo>
                    <a:pt x="1038" y="714"/>
                  </a:lnTo>
                  <a:lnTo>
                    <a:pt x="1026" y="720"/>
                  </a:lnTo>
                  <a:lnTo>
                    <a:pt x="1008" y="726"/>
                  </a:lnTo>
                  <a:lnTo>
                    <a:pt x="1008" y="732"/>
                  </a:lnTo>
                  <a:lnTo>
                    <a:pt x="990" y="732"/>
                  </a:lnTo>
                  <a:lnTo>
                    <a:pt x="984" y="744"/>
                  </a:lnTo>
                  <a:lnTo>
                    <a:pt x="990" y="750"/>
                  </a:lnTo>
                  <a:lnTo>
                    <a:pt x="984" y="762"/>
                  </a:lnTo>
                  <a:lnTo>
                    <a:pt x="984" y="768"/>
                  </a:lnTo>
                  <a:lnTo>
                    <a:pt x="984" y="774"/>
                  </a:lnTo>
                  <a:lnTo>
                    <a:pt x="984" y="780"/>
                  </a:lnTo>
                  <a:lnTo>
                    <a:pt x="984" y="786"/>
                  </a:lnTo>
                  <a:lnTo>
                    <a:pt x="984" y="792"/>
                  </a:lnTo>
                  <a:lnTo>
                    <a:pt x="978" y="798"/>
                  </a:lnTo>
                  <a:lnTo>
                    <a:pt x="978" y="804"/>
                  </a:lnTo>
                  <a:close/>
                </a:path>
              </a:pathLst>
            </a:custGeom>
            <a:solidFill>
              <a:srgbClr val="2A4F1D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3" name="Freeform 38">
              <a:extLst>
                <a:ext uri="{FF2B5EF4-FFF2-40B4-BE49-F238E27FC236}">
                  <a16:creationId xmlns:a16="http://schemas.microsoft.com/office/drawing/2014/main" id="{819B99CE-D972-4530-8964-A992C1EC87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2825" y="1634436"/>
              <a:ext cx="959326" cy="959458"/>
            </a:xfrm>
            <a:custGeom>
              <a:avLst/>
              <a:gdLst>
                <a:gd name="T0" fmla="*/ 105 w 1806"/>
                <a:gd name="T1" fmla="*/ 155 h 1806"/>
                <a:gd name="T2" fmla="*/ 103 w 1806"/>
                <a:gd name="T3" fmla="*/ 155 h 1806"/>
                <a:gd name="T4" fmla="*/ 103 w 1806"/>
                <a:gd name="T5" fmla="*/ 150 h 1806"/>
                <a:gd name="T6" fmla="*/ 104 w 1806"/>
                <a:gd name="T7" fmla="*/ 141 h 1806"/>
                <a:gd name="T8" fmla="*/ 104 w 1806"/>
                <a:gd name="T9" fmla="*/ 136 h 1806"/>
                <a:gd name="T10" fmla="*/ 100 w 1806"/>
                <a:gd name="T11" fmla="*/ 131 h 1806"/>
                <a:gd name="T12" fmla="*/ 96 w 1806"/>
                <a:gd name="T13" fmla="*/ 127 h 1806"/>
                <a:gd name="T14" fmla="*/ 91 w 1806"/>
                <a:gd name="T15" fmla="*/ 121 h 1806"/>
                <a:gd name="T16" fmla="*/ 87 w 1806"/>
                <a:gd name="T17" fmla="*/ 120 h 1806"/>
                <a:gd name="T18" fmla="*/ 81 w 1806"/>
                <a:gd name="T19" fmla="*/ 117 h 1806"/>
                <a:gd name="T20" fmla="*/ 65 w 1806"/>
                <a:gd name="T21" fmla="*/ 113 h 1806"/>
                <a:gd name="T22" fmla="*/ 69 w 1806"/>
                <a:gd name="T23" fmla="*/ 105 h 1806"/>
                <a:gd name="T24" fmla="*/ 66 w 1806"/>
                <a:gd name="T25" fmla="*/ 89 h 1806"/>
                <a:gd name="T26" fmla="*/ 63 w 1806"/>
                <a:gd name="T27" fmla="*/ 84 h 1806"/>
                <a:gd name="T28" fmla="*/ 62 w 1806"/>
                <a:gd name="T29" fmla="*/ 74 h 1806"/>
                <a:gd name="T30" fmla="*/ 58 w 1806"/>
                <a:gd name="T31" fmla="*/ 52 h 1806"/>
                <a:gd name="T32" fmla="*/ 53 w 1806"/>
                <a:gd name="T33" fmla="*/ 49 h 1806"/>
                <a:gd name="T34" fmla="*/ 51 w 1806"/>
                <a:gd name="T35" fmla="*/ 36 h 1806"/>
                <a:gd name="T36" fmla="*/ 43 w 1806"/>
                <a:gd name="T37" fmla="*/ 32 h 1806"/>
                <a:gd name="T38" fmla="*/ 33 w 1806"/>
                <a:gd name="T39" fmla="*/ 30 h 1806"/>
                <a:gd name="T40" fmla="*/ 30 w 1806"/>
                <a:gd name="T41" fmla="*/ 21 h 1806"/>
                <a:gd name="T42" fmla="*/ 17 w 1806"/>
                <a:gd name="T43" fmla="*/ 25 h 1806"/>
                <a:gd name="T44" fmla="*/ 4 w 1806"/>
                <a:gd name="T45" fmla="*/ 33 h 1806"/>
                <a:gd name="T46" fmla="*/ 7 w 1806"/>
                <a:gd name="T47" fmla="*/ 26 h 1806"/>
                <a:gd name="T48" fmla="*/ 11 w 1806"/>
                <a:gd name="T49" fmla="*/ 20 h 1806"/>
                <a:gd name="T50" fmla="*/ 18 w 1806"/>
                <a:gd name="T51" fmla="*/ 12 h 1806"/>
                <a:gd name="T52" fmla="*/ 26 w 1806"/>
                <a:gd name="T53" fmla="*/ 8 h 1806"/>
                <a:gd name="T54" fmla="*/ 35 w 1806"/>
                <a:gd name="T55" fmla="*/ 6 h 1806"/>
                <a:gd name="T56" fmla="*/ 44 w 1806"/>
                <a:gd name="T57" fmla="*/ 5 h 1806"/>
                <a:gd name="T58" fmla="*/ 54 w 1806"/>
                <a:gd name="T59" fmla="*/ 2 h 1806"/>
                <a:gd name="T60" fmla="*/ 65 w 1806"/>
                <a:gd name="T61" fmla="*/ 0 h 1806"/>
                <a:gd name="T62" fmla="*/ 76 w 1806"/>
                <a:gd name="T63" fmla="*/ 0 h 1806"/>
                <a:gd name="T64" fmla="*/ 85 w 1806"/>
                <a:gd name="T65" fmla="*/ 0 h 1806"/>
                <a:gd name="T66" fmla="*/ 97 w 1806"/>
                <a:gd name="T67" fmla="*/ 0 h 1806"/>
                <a:gd name="T68" fmla="*/ 108 w 1806"/>
                <a:gd name="T69" fmla="*/ 3 h 1806"/>
                <a:gd name="T70" fmla="*/ 115 w 1806"/>
                <a:gd name="T71" fmla="*/ 5 h 1806"/>
                <a:gd name="T72" fmla="*/ 123 w 1806"/>
                <a:gd name="T73" fmla="*/ 7 h 1806"/>
                <a:gd name="T74" fmla="*/ 133 w 1806"/>
                <a:gd name="T75" fmla="*/ 14 h 1806"/>
                <a:gd name="T76" fmla="*/ 138 w 1806"/>
                <a:gd name="T77" fmla="*/ 16 h 1806"/>
                <a:gd name="T78" fmla="*/ 140 w 1806"/>
                <a:gd name="T79" fmla="*/ 14 h 1806"/>
                <a:gd name="T80" fmla="*/ 145 w 1806"/>
                <a:gd name="T81" fmla="*/ 16 h 1806"/>
                <a:gd name="T82" fmla="*/ 147 w 1806"/>
                <a:gd name="T83" fmla="*/ 16 h 1806"/>
                <a:gd name="T84" fmla="*/ 150 w 1806"/>
                <a:gd name="T85" fmla="*/ 17 h 1806"/>
                <a:gd name="T86" fmla="*/ 152 w 1806"/>
                <a:gd name="T87" fmla="*/ 18 h 1806"/>
                <a:gd name="T88" fmla="*/ 155 w 1806"/>
                <a:gd name="T89" fmla="*/ 37 h 1806"/>
                <a:gd name="T90" fmla="*/ 146 w 1806"/>
                <a:gd name="T91" fmla="*/ 66 h 1806"/>
                <a:gd name="T92" fmla="*/ 143 w 1806"/>
                <a:gd name="T93" fmla="*/ 88 h 1806"/>
                <a:gd name="T94" fmla="*/ 144 w 1806"/>
                <a:gd name="T95" fmla="*/ 98 h 1806"/>
                <a:gd name="T96" fmla="*/ 137 w 1806"/>
                <a:gd name="T97" fmla="*/ 118 h 1806"/>
                <a:gd name="T98" fmla="*/ 132 w 1806"/>
                <a:gd name="T99" fmla="*/ 129 h 1806"/>
                <a:gd name="T100" fmla="*/ 124 w 1806"/>
                <a:gd name="T101" fmla="*/ 135 h 1806"/>
                <a:gd name="T102" fmla="*/ 119 w 1806"/>
                <a:gd name="T103" fmla="*/ 136 h 1806"/>
                <a:gd name="T104" fmla="*/ 116 w 1806"/>
                <a:gd name="T105" fmla="*/ 137 h 1806"/>
                <a:gd name="T106" fmla="*/ 112 w 1806"/>
                <a:gd name="T107" fmla="*/ 139 h 1806"/>
                <a:gd name="T108" fmla="*/ 112 w 1806"/>
                <a:gd name="T109" fmla="*/ 141 h 1806"/>
                <a:gd name="T110" fmla="*/ 116 w 1806"/>
                <a:gd name="T111" fmla="*/ 146 h 1806"/>
                <a:gd name="T112" fmla="*/ 116 w 1806"/>
                <a:gd name="T113" fmla="*/ 151 h 1806"/>
                <a:gd name="T114" fmla="*/ 113 w 1806"/>
                <a:gd name="T115" fmla="*/ 153 h 18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6"/>
                <a:gd name="T175" fmla="*/ 0 h 1806"/>
                <a:gd name="T176" fmla="*/ 1806 w 1806"/>
                <a:gd name="T177" fmla="*/ 1806 h 18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6" h="1806">
                  <a:moveTo>
                    <a:pt x="1260" y="1776"/>
                  </a:moveTo>
                  <a:lnTo>
                    <a:pt x="1254" y="1776"/>
                  </a:lnTo>
                  <a:lnTo>
                    <a:pt x="1248" y="1776"/>
                  </a:lnTo>
                  <a:lnTo>
                    <a:pt x="1242" y="1782"/>
                  </a:lnTo>
                  <a:lnTo>
                    <a:pt x="1236" y="1782"/>
                  </a:lnTo>
                  <a:lnTo>
                    <a:pt x="1230" y="1788"/>
                  </a:lnTo>
                  <a:lnTo>
                    <a:pt x="1224" y="1782"/>
                  </a:lnTo>
                  <a:lnTo>
                    <a:pt x="1218" y="1782"/>
                  </a:lnTo>
                  <a:lnTo>
                    <a:pt x="1218" y="1788"/>
                  </a:lnTo>
                  <a:lnTo>
                    <a:pt x="1212" y="1788"/>
                  </a:lnTo>
                  <a:lnTo>
                    <a:pt x="1206" y="1788"/>
                  </a:lnTo>
                  <a:lnTo>
                    <a:pt x="1206" y="1794"/>
                  </a:lnTo>
                  <a:lnTo>
                    <a:pt x="1200" y="1806"/>
                  </a:lnTo>
                  <a:lnTo>
                    <a:pt x="1194" y="1800"/>
                  </a:lnTo>
                  <a:lnTo>
                    <a:pt x="1194" y="1794"/>
                  </a:lnTo>
                  <a:lnTo>
                    <a:pt x="1194" y="1788"/>
                  </a:lnTo>
                  <a:lnTo>
                    <a:pt x="1188" y="1788"/>
                  </a:lnTo>
                  <a:lnTo>
                    <a:pt x="1188" y="1782"/>
                  </a:lnTo>
                  <a:lnTo>
                    <a:pt x="1188" y="1776"/>
                  </a:lnTo>
                  <a:lnTo>
                    <a:pt x="1194" y="1770"/>
                  </a:lnTo>
                  <a:lnTo>
                    <a:pt x="1194" y="1764"/>
                  </a:lnTo>
                  <a:lnTo>
                    <a:pt x="1194" y="1758"/>
                  </a:lnTo>
                  <a:lnTo>
                    <a:pt x="1194" y="1752"/>
                  </a:lnTo>
                  <a:lnTo>
                    <a:pt x="1200" y="1746"/>
                  </a:lnTo>
                  <a:lnTo>
                    <a:pt x="1200" y="1740"/>
                  </a:lnTo>
                  <a:lnTo>
                    <a:pt x="1200" y="1734"/>
                  </a:lnTo>
                  <a:lnTo>
                    <a:pt x="1188" y="1722"/>
                  </a:lnTo>
                  <a:lnTo>
                    <a:pt x="1188" y="1716"/>
                  </a:lnTo>
                  <a:lnTo>
                    <a:pt x="1194" y="1704"/>
                  </a:lnTo>
                  <a:lnTo>
                    <a:pt x="1194" y="1692"/>
                  </a:lnTo>
                  <a:lnTo>
                    <a:pt x="1200" y="1680"/>
                  </a:lnTo>
                  <a:lnTo>
                    <a:pt x="1200" y="1662"/>
                  </a:lnTo>
                  <a:lnTo>
                    <a:pt x="1200" y="1650"/>
                  </a:lnTo>
                  <a:lnTo>
                    <a:pt x="1206" y="1644"/>
                  </a:lnTo>
                  <a:lnTo>
                    <a:pt x="1206" y="1638"/>
                  </a:lnTo>
                  <a:lnTo>
                    <a:pt x="1206" y="1626"/>
                  </a:lnTo>
                  <a:lnTo>
                    <a:pt x="1206" y="1620"/>
                  </a:lnTo>
                  <a:lnTo>
                    <a:pt x="1206" y="1614"/>
                  </a:lnTo>
                  <a:lnTo>
                    <a:pt x="1200" y="1608"/>
                  </a:lnTo>
                  <a:lnTo>
                    <a:pt x="1200" y="1602"/>
                  </a:lnTo>
                  <a:lnTo>
                    <a:pt x="1200" y="1596"/>
                  </a:lnTo>
                  <a:lnTo>
                    <a:pt x="1200" y="1590"/>
                  </a:lnTo>
                  <a:lnTo>
                    <a:pt x="1200" y="1572"/>
                  </a:lnTo>
                  <a:lnTo>
                    <a:pt x="1200" y="1566"/>
                  </a:lnTo>
                  <a:lnTo>
                    <a:pt x="1200" y="1560"/>
                  </a:lnTo>
                  <a:lnTo>
                    <a:pt x="1194" y="1554"/>
                  </a:lnTo>
                  <a:lnTo>
                    <a:pt x="1188" y="1548"/>
                  </a:lnTo>
                  <a:lnTo>
                    <a:pt x="1188" y="1542"/>
                  </a:lnTo>
                  <a:lnTo>
                    <a:pt x="1176" y="1536"/>
                  </a:lnTo>
                  <a:lnTo>
                    <a:pt x="1176" y="1530"/>
                  </a:lnTo>
                  <a:lnTo>
                    <a:pt x="1170" y="1524"/>
                  </a:lnTo>
                  <a:lnTo>
                    <a:pt x="1170" y="1518"/>
                  </a:lnTo>
                  <a:lnTo>
                    <a:pt x="1164" y="1512"/>
                  </a:lnTo>
                  <a:lnTo>
                    <a:pt x="1158" y="1506"/>
                  </a:lnTo>
                  <a:lnTo>
                    <a:pt x="1152" y="1500"/>
                  </a:lnTo>
                  <a:lnTo>
                    <a:pt x="1146" y="1494"/>
                  </a:lnTo>
                  <a:lnTo>
                    <a:pt x="1140" y="1488"/>
                  </a:lnTo>
                  <a:lnTo>
                    <a:pt x="1134" y="1482"/>
                  </a:lnTo>
                  <a:lnTo>
                    <a:pt x="1128" y="1476"/>
                  </a:lnTo>
                  <a:lnTo>
                    <a:pt x="1122" y="1470"/>
                  </a:lnTo>
                  <a:lnTo>
                    <a:pt x="1116" y="1464"/>
                  </a:lnTo>
                  <a:lnTo>
                    <a:pt x="1110" y="1464"/>
                  </a:lnTo>
                  <a:lnTo>
                    <a:pt x="1104" y="1458"/>
                  </a:lnTo>
                  <a:lnTo>
                    <a:pt x="1098" y="1464"/>
                  </a:lnTo>
                  <a:lnTo>
                    <a:pt x="1092" y="1464"/>
                  </a:lnTo>
                  <a:lnTo>
                    <a:pt x="1086" y="1446"/>
                  </a:lnTo>
                  <a:lnTo>
                    <a:pt x="1086" y="1440"/>
                  </a:lnTo>
                  <a:lnTo>
                    <a:pt x="1080" y="1416"/>
                  </a:lnTo>
                  <a:lnTo>
                    <a:pt x="1068" y="1404"/>
                  </a:lnTo>
                  <a:lnTo>
                    <a:pt x="1062" y="1398"/>
                  </a:lnTo>
                  <a:lnTo>
                    <a:pt x="1056" y="1398"/>
                  </a:lnTo>
                  <a:lnTo>
                    <a:pt x="1050" y="1398"/>
                  </a:lnTo>
                  <a:lnTo>
                    <a:pt x="1044" y="1398"/>
                  </a:lnTo>
                  <a:lnTo>
                    <a:pt x="1044" y="1392"/>
                  </a:lnTo>
                  <a:lnTo>
                    <a:pt x="1038" y="1392"/>
                  </a:lnTo>
                  <a:lnTo>
                    <a:pt x="1032" y="1392"/>
                  </a:lnTo>
                  <a:lnTo>
                    <a:pt x="1020" y="1386"/>
                  </a:lnTo>
                  <a:lnTo>
                    <a:pt x="1014" y="1386"/>
                  </a:lnTo>
                  <a:lnTo>
                    <a:pt x="1014" y="1380"/>
                  </a:lnTo>
                  <a:lnTo>
                    <a:pt x="1008" y="1380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62"/>
                  </a:lnTo>
                  <a:lnTo>
                    <a:pt x="984" y="1356"/>
                  </a:lnTo>
                  <a:lnTo>
                    <a:pt x="978" y="1356"/>
                  </a:lnTo>
                  <a:lnTo>
                    <a:pt x="972" y="1356"/>
                  </a:lnTo>
                  <a:lnTo>
                    <a:pt x="966" y="1356"/>
                  </a:lnTo>
                  <a:lnTo>
                    <a:pt x="966" y="1350"/>
                  </a:lnTo>
                  <a:lnTo>
                    <a:pt x="948" y="1350"/>
                  </a:lnTo>
                  <a:lnTo>
                    <a:pt x="936" y="1344"/>
                  </a:lnTo>
                  <a:lnTo>
                    <a:pt x="930" y="1338"/>
                  </a:lnTo>
                  <a:lnTo>
                    <a:pt x="918" y="1332"/>
                  </a:lnTo>
                  <a:lnTo>
                    <a:pt x="900" y="1326"/>
                  </a:lnTo>
                  <a:lnTo>
                    <a:pt x="864" y="1332"/>
                  </a:lnTo>
                  <a:lnTo>
                    <a:pt x="828" y="1332"/>
                  </a:lnTo>
                  <a:lnTo>
                    <a:pt x="792" y="1314"/>
                  </a:lnTo>
                  <a:lnTo>
                    <a:pt x="780" y="1314"/>
                  </a:lnTo>
                  <a:lnTo>
                    <a:pt x="780" y="1308"/>
                  </a:lnTo>
                  <a:lnTo>
                    <a:pt x="756" y="1296"/>
                  </a:lnTo>
                  <a:lnTo>
                    <a:pt x="756" y="1278"/>
                  </a:lnTo>
                  <a:lnTo>
                    <a:pt x="768" y="1278"/>
                  </a:lnTo>
                  <a:lnTo>
                    <a:pt x="774" y="1272"/>
                  </a:lnTo>
                  <a:lnTo>
                    <a:pt x="780" y="1266"/>
                  </a:lnTo>
                  <a:lnTo>
                    <a:pt x="786" y="1260"/>
                  </a:lnTo>
                  <a:lnTo>
                    <a:pt x="792" y="1254"/>
                  </a:lnTo>
                  <a:lnTo>
                    <a:pt x="798" y="1242"/>
                  </a:lnTo>
                  <a:lnTo>
                    <a:pt x="804" y="1242"/>
                  </a:lnTo>
                  <a:lnTo>
                    <a:pt x="804" y="1206"/>
                  </a:lnTo>
                  <a:lnTo>
                    <a:pt x="804" y="1182"/>
                  </a:lnTo>
                  <a:lnTo>
                    <a:pt x="804" y="1158"/>
                  </a:lnTo>
                  <a:lnTo>
                    <a:pt x="804" y="1134"/>
                  </a:lnTo>
                  <a:lnTo>
                    <a:pt x="798" y="1116"/>
                  </a:lnTo>
                  <a:lnTo>
                    <a:pt x="792" y="1092"/>
                  </a:lnTo>
                  <a:lnTo>
                    <a:pt x="786" y="1062"/>
                  </a:lnTo>
                  <a:lnTo>
                    <a:pt x="768" y="1032"/>
                  </a:lnTo>
                  <a:lnTo>
                    <a:pt x="762" y="1032"/>
                  </a:lnTo>
                  <a:lnTo>
                    <a:pt x="762" y="1020"/>
                  </a:lnTo>
                  <a:lnTo>
                    <a:pt x="762" y="1014"/>
                  </a:lnTo>
                  <a:lnTo>
                    <a:pt x="756" y="1008"/>
                  </a:lnTo>
                  <a:lnTo>
                    <a:pt x="750" y="1002"/>
                  </a:lnTo>
                  <a:lnTo>
                    <a:pt x="738" y="1002"/>
                  </a:lnTo>
                  <a:lnTo>
                    <a:pt x="738" y="990"/>
                  </a:lnTo>
                  <a:lnTo>
                    <a:pt x="726" y="990"/>
                  </a:lnTo>
                  <a:lnTo>
                    <a:pt x="726" y="978"/>
                  </a:lnTo>
                  <a:lnTo>
                    <a:pt x="732" y="972"/>
                  </a:lnTo>
                  <a:lnTo>
                    <a:pt x="732" y="966"/>
                  </a:lnTo>
                  <a:lnTo>
                    <a:pt x="726" y="966"/>
                  </a:lnTo>
                  <a:lnTo>
                    <a:pt x="732" y="948"/>
                  </a:lnTo>
                  <a:lnTo>
                    <a:pt x="726" y="942"/>
                  </a:lnTo>
                  <a:lnTo>
                    <a:pt x="726" y="930"/>
                  </a:lnTo>
                  <a:lnTo>
                    <a:pt x="720" y="924"/>
                  </a:lnTo>
                  <a:lnTo>
                    <a:pt x="714" y="912"/>
                  </a:lnTo>
                  <a:lnTo>
                    <a:pt x="714" y="882"/>
                  </a:lnTo>
                  <a:lnTo>
                    <a:pt x="714" y="870"/>
                  </a:lnTo>
                  <a:lnTo>
                    <a:pt x="714" y="858"/>
                  </a:lnTo>
                  <a:lnTo>
                    <a:pt x="714" y="846"/>
                  </a:lnTo>
                  <a:lnTo>
                    <a:pt x="708" y="822"/>
                  </a:lnTo>
                  <a:lnTo>
                    <a:pt x="702" y="798"/>
                  </a:lnTo>
                  <a:lnTo>
                    <a:pt x="696" y="792"/>
                  </a:lnTo>
                  <a:lnTo>
                    <a:pt x="684" y="726"/>
                  </a:lnTo>
                  <a:lnTo>
                    <a:pt x="678" y="666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66" y="600"/>
                  </a:lnTo>
                  <a:lnTo>
                    <a:pt x="660" y="594"/>
                  </a:lnTo>
                  <a:lnTo>
                    <a:pt x="654" y="594"/>
                  </a:lnTo>
                  <a:lnTo>
                    <a:pt x="636" y="582"/>
                  </a:lnTo>
                  <a:lnTo>
                    <a:pt x="630" y="576"/>
                  </a:lnTo>
                  <a:lnTo>
                    <a:pt x="624" y="576"/>
                  </a:lnTo>
                  <a:lnTo>
                    <a:pt x="618" y="570"/>
                  </a:lnTo>
                  <a:lnTo>
                    <a:pt x="612" y="564"/>
                  </a:lnTo>
                  <a:lnTo>
                    <a:pt x="606" y="558"/>
                  </a:lnTo>
                  <a:lnTo>
                    <a:pt x="606" y="564"/>
                  </a:lnTo>
                  <a:lnTo>
                    <a:pt x="600" y="564"/>
                  </a:lnTo>
                  <a:lnTo>
                    <a:pt x="594" y="558"/>
                  </a:lnTo>
                  <a:lnTo>
                    <a:pt x="594" y="540"/>
                  </a:lnTo>
                  <a:lnTo>
                    <a:pt x="594" y="528"/>
                  </a:lnTo>
                  <a:lnTo>
                    <a:pt x="594" y="516"/>
                  </a:lnTo>
                  <a:lnTo>
                    <a:pt x="594" y="510"/>
                  </a:lnTo>
                  <a:lnTo>
                    <a:pt x="594" y="492"/>
                  </a:lnTo>
                  <a:lnTo>
                    <a:pt x="594" y="456"/>
                  </a:lnTo>
                  <a:lnTo>
                    <a:pt x="588" y="414"/>
                  </a:lnTo>
                  <a:lnTo>
                    <a:pt x="588" y="408"/>
                  </a:lnTo>
                  <a:lnTo>
                    <a:pt x="582" y="396"/>
                  </a:lnTo>
                  <a:lnTo>
                    <a:pt x="582" y="384"/>
                  </a:lnTo>
                  <a:lnTo>
                    <a:pt x="582" y="372"/>
                  </a:lnTo>
                  <a:lnTo>
                    <a:pt x="564" y="372"/>
                  </a:lnTo>
                  <a:lnTo>
                    <a:pt x="552" y="366"/>
                  </a:lnTo>
                  <a:lnTo>
                    <a:pt x="552" y="372"/>
                  </a:lnTo>
                  <a:lnTo>
                    <a:pt x="498" y="372"/>
                  </a:lnTo>
                  <a:lnTo>
                    <a:pt x="498" y="366"/>
                  </a:lnTo>
                  <a:lnTo>
                    <a:pt x="474" y="360"/>
                  </a:lnTo>
                  <a:lnTo>
                    <a:pt x="456" y="354"/>
                  </a:lnTo>
                  <a:lnTo>
                    <a:pt x="438" y="348"/>
                  </a:lnTo>
                  <a:lnTo>
                    <a:pt x="426" y="354"/>
                  </a:lnTo>
                  <a:lnTo>
                    <a:pt x="408" y="360"/>
                  </a:lnTo>
                  <a:lnTo>
                    <a:pt x="378" y="360"/>
                  </a:lnTo>
                  <a:lnTo>
                    <a:pt x="378" y="354"/>
                  </a:lnTo>
                  <a:lnTo>
                    <a:pt x="378" y="348"/>
                  </a:lnTo>
                  <a:lnTo>
                    <a:pt x="378" y="342"/>
                  </a:lnTo>
                  <a:lnTo>
                    <a:pt x="390" y="330"/>
                  </a:lnTo>
                  <a:lnTo>
                    <a:pt x="396" y="312"/>
                  </a:lnTo>
                  <a:lnTo>
                    <a:pt x="396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8"/>
                  </a:lnTo>
                  <a:lnTo>
                    <a:pt x="372" y="234"/>
                  </a:lnTo>
                  <a:lnTo>
                    <a:pt x="354" y="234"/>
                  </a:lnTo>
                  <a:lnTo>
                    <a:pt x="342" y="246"/>
                  </a:lnTo>
                  <a:lnTo>
                    <a:pt x="330" y="252"/>
                  </a:lnTo>
                  <a:lnTo>
                    <a:pt x="318" y="252"/>
                  </a:lnTo>
                  <a:lnTo>
                    <a:pt x="276" y="258"/>
                  </a:lnTo>
                  <a:lnTo>
                    <a:pt x="276" y="264"/>
                  </a:lnTo>
                  <a:lnTo>
                    <a:pt x="252" y="270"/>
                  </a:lnTo>
                  <a:lnTo>
                    <a:pt x="240" y="270"/>
                  </a:lnTo>
                  <a:lnTo>
                    <a:pt x="228" y="276"/>
                  </a:lnTo>
                  <a:lnTo>
                    <a:pt x="210" y="282"/>
                  </a:lnTo>
                  <a:lnTo>
                    <a:pt x="198" y="288"/>
                  </a:lnTo>
                  <a:lnTo>
                    <a:pt x="186" y="294"/>
                  </a:lnTo>
                  <a:lnTo>
                    <a:pt x="174" y="330"/>
                  </a:lnTo>
                  <a:lnTo>
                    <a:pt x="162" y="342"/>
                  </a:lnTo>
                  <a:lnTo>
                    <a:pt x="156" y="354"/>
                  </a:lnTo>
                  <a:lnTo>
                    <a:pt x="150" y="360"/>
                  </a:lnTo>
                  <a:lnTo>
                    <a:pt x="150" y="366"/>
                  </a:lnTo>
                  <a:lnTo>
                    <a:pt x="108" y="372"/>
                  </a:lnTo>
                  <a:lnTo>
                    <a:pt x="60" y="378"/>
                  </a:lnTo>
                  <a:lnTo>
                    <a:pt x="42" y="378"/>
                  </a:lnTo>
                  <a:lnTo>
                    <a:pt x="12" y="378"/>
                  </a:lnTo>
                  <a:lnTo>
                    <a:pt x="6" y="378"/>
                  </a:lnTo>
                  <a:lnTo>
                    <a:pt x="0" y="366"/>
                  </a:lnTo>
                  <a:lnTo>
                    <a:pt x="12" y="360"/>
                  </a:lnTo>
                  <a:lnTo>
                    <a:pt x="24" y="348"/>
                  </a:lnTo>
                  <a:lnTo>
                    <a:pt x="30" y="342"/>
                  </a:lnTo>
                  <a:lnTo>
                    <a:pt x="36" y="330"/>
                  </a:lnTo>
                  <a:lnTo>
                    <a:pt x="72" y="300"/>
                  </a:lnTo>
                  <a:lnTo>
                    <a:pt x="78" y="294"/>
                  </a:lnTo>
                  <a:lnTo>
                    <a:pt x="78" y="288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96" y="270"/>
                  </a:lnTo>
                  <a:lnTo>
                    <a:pt x="102" y="264"/>
                  </a:lnTo>
                  <a:lnTo>
                    <a:pt x="108" y="258"/>
                  </a:lnTo>
                  <a:lnTo>
                    <a:pt x="114" y="246"/>
                  </a:lnTo>
                  <a:lnTo>
                    <a:pt x="120" y="240"/>
                  </a:lnTo>
                  <a:lnTo>
                    <a:pt x="126" y="234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0" y="210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86" y="174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22" y="138"/>
                  </a:lnTo>
                  <a:lnTo>
                    <a:pt x="234" y="132"/>
                  </a:lnTo>
                  <a:lnTo>
                    <a:pt x="246" y="126"/>
                  </a:lnTo>
                  <a:lnTo>
                    <a:pt x="246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88" y="102"/>
                  </a:lnTo>
                  <a:lnTo>
                    <a:pt x="300" y="96"/>
                  </a:lnTo>
                  <a:lnTo>
                    <a:pt x="306" y="90"/>
                  </a:lnTo>
                  <a:lnTo>
                    <a:pt x="318" y="90"/>
                  </a:lnTo>
                  <a:lnTo>
                    <a:pt x="324" y="84"/>
                  </a:lnTo>
                  <a:lnTo>
                    <a:pt x="348" y="72"/>
                  </a:lnTo>
                  <a:lnTo>
                    <a:pt x="354" y="72"/>
                  </a:lnTo>
                  <a:lnTo>
                    <a:pt x="384" y="66"/>
                  </a:lnTo>
                  <a:lnTo>
                    <a:pt x="390" y="66"/>
                  </a:lnTo>
                  <a:lnTo>
                    <a:pt x="396" y="66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66"/>
                  </a:lnTo>
                  <a:lnTo>
                    <a:pt x="438" y="66"/>
                  </a:lnTo>
                  <a:lnTo>
                    <a:pt x="468" y="66"/>
                  </a:lnTo>
                  <a:lnTo>
                    <a:pt x="480" y="66"/>
                  </a:lnTo>
                  <a:lnTo>
                    <a:pt x="486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22" y="60"/>
                  </a:lnTo>
                  <a:lnTo>
                    <a:pt x="534" y="54"/>
                  </a:lnTo>
                  <a:lnTo>
                    <a:pt x="564" y="42"/>
                  </a:lnTo>
                  <a:lnTo>
                    <a:pt x="570" y="42"/>
                  </a:lnTo>
                  <a:lnTo>
                    <a:pt x="582" y="36"/>
                  </a:lnTo>
                  <a:lnTo>
                    <a:pt x="588" y="36"/>
                  </a:lnTo>
                  <a:lnTo>
                    <a:pt x="600" y="30"/>
                  </a:lnTo>
                  <a:lnTo>
                    <a:pt x="606" y="30"/>
                  </a:lnTo>
                  <a:lnTo>
                    <a:pt x="618" y="24"/>
                  </a:lnTo>
                  <a:lnTo>
                    <a:pt x="642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72" y="12"/>
                  </a:lnTo>
                  <a:lnTo>
                    <a:pt x="696" y="12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50" y="6"/>
                  </a:lnTo>
                  <a:lnTo>
                    <a:pt x="768" y="6"/>
                  </a:lnTo>
                  <a:lnTo>
                    <a:pt x="774" y="6"/>
                  </a:lnTo>
                  <a:lnTo>
                    <a:pt x="786" y="6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6" y="6"/>
                  </a:lnTo>
                  <a:lnTo>
                    <a:pt x="846" y="6"/>
                  </a:lnTo>
                  <a:lnTo>
                    <a:pt x="852" y="0"/>
                  </a:lnTo>
                  <a:lnTo>
                    <a:pt x="876" y="0"/>
                  </a:lnTo>
                  <a:lnTo>
                    <a:pt x="876" y="6"/>
                  </a:lnTo>
                  <a:lnTo>
                    <a:pt x="888" y="0"/>
                  </a:lnTo>
                  <a:lnTo>
                    <a:pt x="900" y="0"/>
                  </a:lnTo>
                  <a:lnTo>
                    <a:pt x="906" y="0"/>
                  </a:lnTo>
                  <a:lnTo>
                    <a:pt x="912" y="0"/>
                  </a:lnTo>
                  <a:lnTo>
                    <a:pt x="948" y="0"/>
                  </a:lnTo>
                  <a:lnTo>
                    <a:pt x="954" y="0"/>
                  </a:lnTo>
                  <a:lnTo>
                    <a:pt x="972" y="0"/>
                  </a:lnTo>
                  <a:lnTo>
                    <a:pt x="978" y="0"/>
                  </a:lnTo>
                  <a:lnTo>
                    <a:pt x="996" y="0"/>
                  </a:lnTo>
                  <a:lnTo>
                    <a:pt x="1032" y="0"/>
                  </a:lnTo>
                  <a:lnTo>
                    <a:pt x="1044" y="0"/>
                  </a:lnTo>
                  <a:lnTo>
                    <a:pt x="1050" y="0"/>
                  </a:lnTo>
                  <a:lnTo>
                    <a:pt x="1056" y="6"/>
                  </a:lnTo>
                  <a:lnTo>
                    <a:pt x="1056" y="0"/>
                  </a:lnTo>
                  <a:lnTo>
                    <a:pt x="1074" y="0"/>
                  </a:lnTo>
                  <a:lnTo>
                    <a:pt x="1098" y="6"/>
                  </a:lnTo>
                  <a:lnTo>
                    <a:pt x="1116" y="6"/>
                  </a:lnTo>
                  <a:lnTo>
                    <a:pt x="1140" y="12"/>
                  </a:lnTo>
                  <a:lnTo>
                    <a:pt x="1152" y="12"/>
                  </a:lnTo>
                  <a:lnTo>
                    <a:pt x="1158" y="12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6" y="12"/>
                  </a:lnTo>
                  <a:lnTo>
                    <a:pt x="1194" y="18"/>
                  </a:lnTo>
                  <a:lnTo>
                    <a:pt x="1206" y="18"/>
                  </a:lnTo>
                  <a:lnTo>
                    <a:pt x="1242" y="36"/>
                  </a:lnTo>
                  <a:lnTo>
                    <a:pt x="1248" y="36"/>
                  </a:lnTo>
                  <a:lnTo>
                    <a:pt x="1254" y="36"/>
                  </a:lnTo>
                  <a:lnTo>
                    <a:pt x="1260" y="42"/>
                  </a:lnTo>
                  <a:lnTo>
                    <a:pt x="1272" y="48"/>
                  </a:lnTo>
                  <a:lnTo>
                    <a:pt x="1278" y="48"/>
                  </a:lnTo>
                  <a:lnTo>
                    <a:pt x="1284" y="48"/>
                  </a:lnTo>
                  <a:lnTo>
                    <a:pt x="1290" y="54"/>
                  </a:lnTo>
                  <a:lnTo>
                    <a:pt x="1308" y="60"/>
                  </a:lnTo>
                  <a:lnTo>
                    <a:pt x="1326" y="60"/>
                  </a:lnTo>
                  <a:lnTo>
                    <a:pt x="1338" y="66"/>
                  </a:lnTo>
                  <a:lnTo>
                    <a:pt x="1344" y="66"/>
                  </a:lnTo>
                  <a:lnTo>
                    <a:pt x="1350" y="66"/>
                  </a:lnTo>
                  <a:lnTo>
                    <a:pt x="1356" y="66"/>
                  </a:lnTo>
                  <a:lnTo>
                    <a:pt x="1362" y="72"/>
                  </a:lnTo>
                  <a:lnTo>
                    <a:pt x="1368" y="72"/>
                  </a:lnTo>
                  <a:lnTo>
                    <a:pt x="1380" y="72"/>
                  </a:lnTo>
                  <a:lnTo>
                    <a:pt x="1386" y="72"/>
                  </a:lnTo>
                  <a:lnTo>
                    <a:pt x="1422" y="84"/>
                  </a:lnTo>
                  <a:lnTo>
                    <a:pt x="1428" y="84"/>
                  </a:lnTo>
                  <a:lnTo>
                    <a:pt x="1446" y="90"/>
                  </a:lnTo>
                  <a:lnTo>
                    <a:pt x="1458" y="102"/>
                  </a:lnTo>
                  <a:lnTo>
                    <a:pt x="1494" y="126"/>
                  </a:lnTo>
                  <a:lnTo>
                    <a:pt x="1500" y="132"/>
                  </a:lnTo>
                  <a:lnTo>
                    <a:pt x="1512" y="138"/>
                  </a:lnTo>
                  <a:lnTo>
                    <a:pt x="1512" y="144"/>
                  </a:lnTo>
                  <a:lnTo>
                    <a:pt x="1518" y="150"/>
                  </a:lnTo>
                  <a:lnTo>
                    <a:pt x="1530" y="156"/>
                  </a:lnTo>
                  <a:lnTo>
                    <a:pt x="1530" y="162"/>
                  </a:lnTo>
                  <a:lnTo>
                    <a:pt x="1548" y="168"/>
                  </a:lnTo>
                  <a:lnTo>
                    <a:pt x="1566" y="180"/>
                  </a:lnTo>
                  <a:lnTo>
                    <a:pt x="1578" y="186"/>
                  </a:lnTo>
                  <a:lnTo>
                    <a:pt x="1578" y="180"/>
                  </a:lnTo>
                  <a:lnTo>
                    <a:pt x="1584" y="186"/>
                  </a:lnTo>
                  <a:lnTo>
                    <a:pt x="1584" y="174"/>
                  </a:lnTo>
                  <a:lnTo>
                    <a:pt x="1590" y="174"/>
                  </a:lnTo>
                  <a:lnTo>
                    <a:pt x="1590" y="180"/>
                  </a:lnTo>
                  <a:lnTo>
                    <a:pt x="1596" y="180"/>
                  </a:lnTo>
                  <a:lnTo>
                    <a:pt x="1596" y="174"/>
                  </a:lnTo>
                  <a:lnTo>
                    <a:pt x="1602" y="174"/>
                  </a:lnTo>
                  <a:lnTo>
                    <a:pt x="1608" y="174"/>
                  </a:lnTo>
                  <a:lnTo>
                    <a:pt x="1614" y="180"/>
                  </a:lnTo>
                  <a:lnTo>
                    <a:pt x="1620" y="174"/>
                  </a:lnTo>
                  <a:lnTo>
                    <a:pt x="1614" y="168"/>
                  </a:lnTo>
                  <a:lnTo>
                    <a:pt x="1614" y="162"/>
                  </a:lnTo>
                  <a:lnTo>
                    <a:pt x="1620" y="162"/>
                  </a:lnTo>
                  <a:lnTo>
                    <a:pt x="1626" y="162"/>
                  </a:lnTo>
                  <a:lnTo>
                    <a:pt x="1632" y="162"/>
                  </a:lnTo>
                  <a:lnTo>
                    <a:pt x="1638" y="168"/>
                  </a:lnTo>
                  <a:lnTo>
                    <a:pt x="1644" y="168"/>
                  </a:lnTo>
                  <a:lnTo>
                    <a:pt x="1650" y="174"/>
                  </a:lnTo>
                  <a:lnTo>
                    <a:pt x="1656" y="168"/>
                  </a:lnTo>
                  <a:lnTo>
                    <a:pt x="1668" y="168"/>
                  </a:lnTo>
                  <a:lnTo>
                    <a:pt x="1674" y="174"/>
                  </a:lnTo>
                  <a:lnTo>
                    <a:pt x="1674" y="180"/>
                  </a:lnTo>
                  <a:lnTo>
                    <a:pt x="1674" y="186"/>
                  </a:lnTo>
                  <a:lnTo>
                    <a:pt x="1680" y="186"/>
                  </a:lnTo>
                  <a:lnTo>
                    <a:pt x="1680" y="192"/>
                  </a:lnTo>
                  <a:lnTo>
                    <a:pt x="1686" y="192"/>
                  </a:lnTo>
                  <a:lnTo>
                    <a:pt x="1686" y="186"/>
                  </a:lnTo>
                  <a:lnTo>
                    <a:pt x="1680" y="186"/>
                  </a:lnTo>
                  <a:lnTo>
                    <a:pt x="1686" y="180"/>
                  </a:lnTo>
                  <a:lnTo>
                    <a:pt x="1692" y="180"/>
                  </a:lnTo>
                  <a:lnTo>
                    <a:pt x="1698" y="180"/>
                  </a:lnTo>
                  <a:lnTo>
                    <a:pt x="1704" y="180"/>
                  </a:lnTo>
                  <a:lnTo>
                    <a:pt x="1704" y="186"/>
                  </a:lnTo>
                  <a:lnTo>
                    <a:pt x="1710" y="186"/>
                  </a:lnTo>
                  <a:lnTo>
                    <a:pt x="1716" y="186"/>
                  </a:lnTo>
                  <a:lnTo>
                    <a:pt x="1716" y="192"/>
                  </a:lnTo>
                  <a:lnTo>
                    <a:pt x="1716" y="198"/>
                  </a:lnTo>
                  <a:lnTo>
                    <a:pt x="1722" y="192"/>
                  </a:lnTo>
                  <a:lnTo>
                    <a:pt x="1722" y="186"/>
                  </a:lnTo>
                  <a:lnTo>
                    <a:pt x="1728" y="192"/>
                  </a:lnTo>
                  <a:lnTo>
                    <a:pt x="1734" y="192"/>
                  </a:lnTo>
                  <a:lnTo>
                    <a:pt x="1734" y="186"/>
                  </a:lnTo>
                  <a:lnTo>
                    <a:pt x="1740" y="186"/>
                  </a:lnTo>
                  <a:lnTo>
                    <a:pt x="1740" y="192"/>
                  </a:lnTo>
                  <a:lnTo>
                    <a:pt x="1746" y="192"/>
                  </a:lnTo>
                  <a:lnTo>
                    <a:pt x="1758" y="192"/>
                  </a:lnTo>
                  <a:lnTo>
                    <a:pt x="1764" y="192"/>
                  </a:lnTo>
                  <a:lnTo>
                    <a:pt x="1764" y="198"/>
                  </a:lnTo>
                  <a:lnTo>
                    <a:pt x="1758" y="204"/>
                  </a:lnTo>
                  <a:lnTo>
                    <a:pt x="1752" y="210"/>
                  </a:lnTo>
                  <a:lnTo>
                    <a:pt x="1746" y="216"/>
                  </a:lnTo>
                  <a:lnTo>
                    <a:pt x="1746" y="222"/>
                  </a:lnTo>
                  <a:lnTo>
                    <a:pt x="1734" y="228"/>
                  </a:lnTo>
                  <a:lnTo>
                    <a:pt x="1734" y="234"/>
                  </a:lnTo>
                  <a:lnTo>
                    <a:pt x="1734" y="258"/>
                  </a:lnTo>
                  <a:lnTo>
                    <a:pt x="1740" y="330"/>
                  </a:lnTo>
                  <a:lnTo>
                    <a:pt x="1746" y="372"/>
                  </a:lnTo>
                  <a:lnTo>
                    <a:pt x="1788" y="426"/>
                  </a:lnTo>
                  <a:lnTo>
                    <a:pt x="1806" y="438"/>
                  </a:lnTo>
                  <a:lnTo>
                    <a:pt x="1794" y="480"/>
                  </a:lnTo>
                  <a:lnTo>
                    <a:pt x="1770" y="516"/>
                  </a:lnTo>
                  <a:lnTo>
                    <a:pt x="1746" y="546"/>
                  </a:lnTo>
                  <a:lnTo>
                    <a:pt x="1716" y="570"/>
                  </a:lnTo>
                  <a:lnTo>
                    <a:pt x="1680" y="594"/>
                  </a:lnTo>
                  <a:lnTo>
                    <a:pt x="1668" y="630"/>
                  </a:lnTo>
                  <a:lnTo>
                    <a:pt x="1680" y="684"/>
                  </a:lnTo>
                  <a:lnTo>
                    <a:pt x="1686" y="756"/>
                  </a:lnTo>
                  <a:lnTo>
                    <a:pt x="1662" y="870"/>
                  </a:lnTo>
                  <a:lnTo>
                    <a:pt x="1656" y="888"/>
                  </a:lnTo>
                  <a:lnTo>
                    <a:pt x="1650" y="972"/>
                  </a:lnTo>
                  <a:lnTo>
                    <a:pt x="1656" y="978"/>
                  </a:lnTo>
                  <a:lnTo>
                    <a:pt x="1650" y="984"/>
                  </a:lnTo>
                  <a:lnTo>
                    <a:pt x="1650" y="990"/>
                  </a:lnTo>
                  <a:lnTo>
                    <a:pt x="1650" y="1002"/>
                  </a:lnTo>
                  <a:lnTo>
                    <a:pt x="1656" y="1008"/>
                  </a:lnTo>
                  <a:lnTo>
                    <a:pt x="1656" y="1014"/>
                  </a:lnTo>
                  <a:lnTo>
                    <a:pt x="1662" y="1026"/>
                  </a:lnTo>
                  <a:lnTo>
                    <a:pt x="1650" y="1032"/>
                  </a:lnTo>
                  <a:lnTo>
                    <a:pt x="1638" y="1044"/>
                  </a:lnTo>
                  <a:lnTo>
                    <a:pt x="1626" y="1080"/>
                  </a:lnTo>
                  <a:lnTo>
                    <a:pt x="1614" y="1116"/>
                  </a:lnTo>
                  <a:lnTo>
                    <a:pt x="1614" y="1128"/>
                  </a:lnTo>
                  <a:lnTo>
                    <a:pt x="1626" y="1134"/>
                  </a:lnTo>
                  <a:lnTo>
                    <a:pt x="1644" y="1134"/>
                  </a:lnTo>
                  <a:lnTo>
                    <a:pt x="1662" y="1134"/>
                  </a:lnTo>
                  <a:lnTo>
                    <a:pt x="1680" y="1140"/>
                  </a:lnTo>
                  <a:lnTo>
                    <a:pt x="1698" y="1170"/>
                  </a:lnTo>
                  <a:lnTo>
                    <a:pt x="1704" y="1194"/>
                  </a:lnTo>
                  <a:lnTo>
                    <a:pt x="1692" y="1206"/>
                  </a:lnTo>
                  <a:lnTo>
                    <a:pt x="1662" y="1242"/>
                  </a:lnTo>
                  <a:lnTo>
                    <a:pt x="1632" y="1266"/>
                  </a:lnTo>
                  <a:lnTo>
                    <a:pt x="1620" y="1314"/>
                  </a:lnTo>
                  <a:lnTo>
                    <a:pt x="1584" y="1356"/>
                  </a:lnTo>
                  <a:lnTo>
                    <a:pt x="1578" y="1356"/>
                  </a:lnTo>
                  <a:lnTo>
                    <a:pt x="1578" y="1362"/>
                  </a:lnTo>
                  <a:lnTo>
                    <a:pt x="1572" y="1410"/>
                  </a:lnTo>
                  <a:lnTo>
                    <a:pt x="1584" y="1452"/>
                  </a:lnTo>
                  <a:lnTo>
                    <a:pt x="1608" y="1476"/>
                  </a:lnTo>
                  <a:lnTo>
                    <a:pt x="1596" y="1476"/>
                  </a:lnTo>
                  <a:lnTo>
                    <a:pt x="1584" y="1482"/>
                  </a:lnTo>
                  <a:lnTo>
                    <a:pt x="1560" y="1482"/>
                  </a:lnTo>
                  <a:lnTo>
                    <a:pt x="1536" y="1482"/>
                  </a:lnTo>
                  <a:lnTo>
                    <a:pt x="1524" y="1482"/>
                  </a:lnTo>
                  <a:lnTo>
                    <a:pt x="1506" y="1500"/>
                  </a:lnTo>
                  <a:lnTo>
                    <a:pt x="1482" y="1530"/>
                  </a:lnTo>
                  <a:lnTo>
                    <a:pt x="1452" y="1542"/>
                  </a:lnTo>
                  <a:lnTo>
                    <a:pt x="1446" y="1542"/>
                  </a:lnTo>
                  <a:lnTo>
                    <a:pt x="1440" y="1542"/>
                  </a:lnTo>
                  <a:lnTo>
                    <a:pt x="1440" y="1548"/>
                  </a:lnTo>
                  <a:lnTo>
                    <a:pt x="1434" y="1548"/>
                  </a:lnTo>
                  <a:lnTo>
                    <a:pt x="1428" y="1548"/>
                  </a:lnTo>
                  <a:lnTo>
                    <a:pt x="1428" y="1554"/>
                  </a:lnTo>
                  <a:lnTo>
                    <a:pt x="1422" y="1560"/>
                  </a:lnTo>
                  <a:lnTo>
                    <a:pt x="1416" y="1560"/>
                  </a:lnTo>
                  <a:lnTo>
                    <a:pt x="1410" y="1566"/>
                  </a:lnTo>
                  <a:lnTo>
                    <a:pt x="1410" y="1560"/>
                  </a:lnTo>
                  <a:lnTo>
                    <a:pt x="1404" y="1560"/>
                  </a:lnTo>
                  <a:lnTo>
                    <a:pt x="1392" y="1560"/>
                  </a:lnTo>
                  <a:lnTo>
                    <a:pt x="1386" y="1560"/>
                  </a:lnTo>
                  <a:lnTo>
                    <a:pt x="1380" y="1566"/>
                  </a:lnTo>
                  <a:lnTo>
                    <a:pt x="1374" y="1560"/>
                  </a:lnTo>
                  <a:lnTo>
                    <a:pt x="1368" y="1566"/>
                  </a:lnTo>
                  <a:lnTo>
                    <a:pt x="1362" y="1566"/>
                  </a:lnTo>
                  <a:lnTo>
                    <a:pt x="1362" y="1572"/>
                  </a:lnTo>
                  <a:lnTo>
                    <a:pt x="1356" y="1572"/>
                  </a:lnTo>
                  <a:lnTo>
                    <a:pt x="1356" y="1578"/>
                  </a:lnTo>
                  <a:lnTo>
                    <a:pt x="1350" y="1578"/>
                  </a:lnTo>
                  <a:lnTo>
                    <a:pt x="1350" y="1572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32" y="1584"/>
                  </a:lnTo>
                  <a:lnTo>
                    <a:pt x="1326" y="1590"/>
                  </a:lnTo>
                  <a:lnTo>
                    <a:pt x="1320" y="1584"/>
                  </a:lnTo>
                  <a:lnTo>
                    <a:pt x="1314" y="1590"/>
                  </a:lnTo>
                  <a:lnTo>
                    <a:pt x="1308" y="1596"/>
                  </a:lnTo>
                  <a:lnTo>
                    <a:pt x="1302" y="1596"/>
                  </a:lnTo>
                  <a:lnTo>
                    <a:pt x="1296" y="1596"/>
                  </a:lnTo>
                  <a:lnTo>
                    <a:pt x="1290" y="1596"/>
                  </a:lnTo>
                  <a:lnTo>
                    <a:pt x="1284" y="1596"/>
                  </a:lnTo>
                  <a:lnTo>
                    <a:pt x="1278" y="1602"/>
                  </a:lnTo>
                  <a:lnTo>
                    <a:pt x="1266" y="1602"/>
                  </a:lnTo>
                  <a:lnTo>
                    <a:pt x="1272" y="1608"/>
                  </a:lnTo>
                  <a:lnTo>
                    <a:pt x="1278" y="1608"/>
                  </a:lnTo>
                  <a:lnTo>
                    <a:pt x="1284" y="1608"/>
                  </a:lnTo>
                  <a:lnTo>
                    <a:pt x="1290" y="1614"/>
                  </a:lnTo>
                  <a:lnTo>
                    <a:pt x="1296" y="1620"/>
                  </a:lnTo>
                  <a:lnTo>
                    <a:pt x="1302" y="1626"/>
                  </a:lnTo>
                  <a:lnTo>
                    <a:pt x="1308" y="1632"/>
                  </a:lnTo>
                  <a:lnTo>
                    <a:pt x="1314" y="1638"/>
                  </a:lnTo>
                  <a:lnTo>
                    <a:pt x="1314" y="1644"/>
                  </a:lnTo>
                  <a:lnTo>
                    <a:pt x="1320" y="1644"/>
                  </a:lnTo>
                  <a:lnTo>
                    <a:pt x="1320" y="1650"/>
                  </a:lnTo>
                  <a:lnTo>
                    <a:pt x="1326" y="1656"/>
                  </a:lnTo>
                  <a:lnTo>
                    <a:pt x="1332" y="1668"/>
                  </a:lnTo>
                  <a:lnTo>
                    <a:pt x="1338" y="1680"/>
                  </a:lnTo>
                  <a:lnTo>
                    <a:pt x="1338" y="1698"/>
                  </a:lnTo>
                  <a:lnTo>
                    <a:pt x="1350" y="1710"/>
                  </a:lnTo>
                  <a:lnTo>
                    <a:pt x="1350" y="1716"/>
                  </a:lnTo>
                  <a:lnTo>
                    <a:pt x="1350" y="1722"/>
                  </a:lnTo>
                  <a:lnTo>
                    <a:pt x="1350" y="1728"/>
                  </a:lnTo>
                  <a:lnTo>
                    <a:pt x="1356" y="1728"/>
                  </a:lnTo>
                  <a:lnTo>
                    <a:pt x="1356" y="1734"/>
                  </a:lnTo>
                  <a:lnTo>
                    <a:pt x="1350" y="1734"/>
                  </a:lnTo>
                  <a:lnTo>
                    <a:pt x="1344" y="1740"/>
                  </a:lnTo>
                  <a:lnTo>
                    <a:pt x="1338" y="1740"/>
                  </a:lnTo>
                  <a:lnTo>
                    <a:pt x="1332" y="1746"/>
                  </a:lnTo>
                  <a:lnTo>
                    <a:pt x="1326" y="1746"/>
                  </a:lnTo>
                  <a:lnTo>
                    <a:pt x="1326" y="1752"/>
                  </a:lnTo>
                  <a:lnTo>
                    <a:pt x="1320" y="1752"/>
                  </a:lnTo>
                  <a:lnTo>
                    <a:pt x="1320" y="1758"/>
                  </a:lnTo>
                  <a:lnTo>
                    <a:pt x="1314" y="1758"/>
                  </a:lnTo>
                  <a:lnTo>
                    <a:pt x="1308" y="1758"/>
                  </a:lnTo>
                  <a:lnTo>
                    <a:pt x="1302" y="1758"/>
                  </a:lnTo>
                  <a:lnTo>
                    <a:pt x="1296" y="1758"/>
                  </a:lnTo>
                  <a:lnTo>
                    <a:pt x="1290" y="1764"/>
                  </a:lnTo>
                  <a:lnTo>
                    <a:pt x="1284" y="1770"/>
                  </a:lnTo>
                  <a:lnTo>
                    <a:pt x="1278" y="1770"/>
                  </a:lnTo>
                  <a:lnTo>
                    <a:pt x="1272" y="1770"/>
                  </a:lnTo>
                  <a:lnTo>
                    <a:pt x="1266" y="1770"/>
                  </a:lnTo>
                  <a:lnTo>
                    <a:pt x="1266" y="1776"/>
                  </a:lnTo>
                  <a:lnTo>
                    <a:pt x="1260" y="1776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4" name="Freeform 39">
              <a:extLst>
                <a:ext uri="{FF2B5EF4-FFF2-40B4-BE49-F238E27FC236}">
                  <a16:creationId xmlns:a16="http://schemas.microsoft.com/office/drawing/2014/main" id="{E01CDA8B-32C7-421A-B23E-968CAC7F78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2974" y="1759680"/>
              <a:ext cx="825155" cy="700024"/>
            </a:xfrm>
            <a:custGeom>
              <a:avLst/>
              <a:gdLst>
                <a:gd name="T0" fmla="*/ 60 w 1554"/>
                <a:gd name="T1" fmla="*/ 86 h 1320"/>
                <a:gd name="T2" fmla="*/ 66 w 1554"/>
                <a:gd name="T3" fmla="*/ 80 h 1320"/>
                <a:gd name="T4" fmla="*/ 61 w 1554"/>
                <a:gd name="T5" fmla="*/ 73 h 1320"/>
                <a:gd name="T6" fmla="*/ 57 w 1554"/>
                <a:gd name="T7" fmla="*/ 67 h 1320"/>
                <a:gd name="T8" fmla="*/ 60 w 1554"/>
                <a:gd name="T9" fmla="*/ 59 h 1320"/>
                <a:gd name="T10" fmla="*/ 56 w 1554"/>
                <a:gd name="T11" fmla="*/ 55 h 1320"/>
                <a:gd name="T12" fmla="*/ 45 w 1554"/>
                <a:gd name="T13" fmla="*/ 53 h 1320"/>
                <a:gd name="T14" fmla="*/ 42 w 1554"/>
                <a:gd name="T15" fmla="*/ 41 h 1320"/>
                <a:gd name="T16" fmla="*/ 37 w 1554"/>
                <a:gd name="T17" fmla="*/ 39 h 1320"/>
                <a:gd name="T18" fmla="*/ 31 w 1554"/>
                <a:gd name="T19" fmla="*/ 44 h 1320"/>
                <a:gd name="T20" fmla="*/ 37 w 1554"/>
                <a:gd name="T21" fmla="*/ 35 h 1320"/>
                <a:gd name="T22" fmla="*/ 30 w 1554"/>
                <a:gd name="T23" fmla="*/ 23 h 1320"/>
                <a:gd name="T24" fmla="*/ 21 w 1554"/>
                <a:gd name="T25" fmla="*/ 23 h 1320"/>
                <a:gd name="T26" fmla="*/ 15 w 1554"/>
                <a:gd name="T27" fmla="*/ 27 h 1320"/>
                <a:gd name="T28" fmla="*/ 11 w 1554"/>
                <a:gd name="T29" fmla="*/ 32 h 1320"/>
                <a:gd name="T30" fmla="*/ 6 w 1554"/>
                <a:gd name="T31" fmla="*/ 22 h 1320"/>
                <a:gd name="T32" fmla="*/ 3 w 1554"/>
                <a:gd name="T33" fmla="*/ 11 h 1320"/>
                <a:gd name="T34" fmla="*/ 24 w 1554"/>
                <a:gd name="T35" fmla="*/ 12 h 1320"/>
                <a:gd name="T36" fmla="*/ 33 w 1554"/>
                <a:gd name="T37" fmla="*/ 19 h 1320"/>
                <a:gd name="T38" fmla="*/ 49 w 1554"/>
                <a:gd name="T39" fmla="*/ 12 h 1320"/>
                <a:gd name="T40" fmla="*/ 58 w 1554"/>
                <a:gd name="T41" fmla="*/ 10 h 1320"/>
                <a:gd name="T42" fmla="*/ 68 w 1554"/>
                <a:gd name="T43" fmla="*/ 11 h 1320"/>
                <a:gd name="T44" fmla="*/ 79 w 1554"/>
                <a:gd name="T45" fmla="*/ 12 h 1320"/>
                <a:gd name="T46" fmla="*/ 96 w 1554"/>
                <a:gd name="T47" fmla="*/ 11 h 1320"/>
                <a:gd name="T48" fmla="*/ 107 w 1554"/>
                <a:gd name="T49" fmla="*/ 2 h 1320"/>
                <a:gd name="T50" fmla="*/ 117 w 1554"/>
                <a:gd name="T51" fmla="*/ 8 h 1320"/>
                <a:gd name="T52" fmla="*/ 126 w 1554"/>
                <a:gd name="T53" fmla="*/ 12 h 1320"/>
                <a:gd name="T54" fmla="*/ 134 w 1554"/>
                <a:gd name="T55" fmla="*/ 24 h 1320"/>
                <a:gd name="T56" fmla="*/ 133 w 1554"/>
                <a:gd name="T57" fmla="*/ 29 h 1320"/>
                <a:gd name="T58" fmla="*/ 129 w 1554"/>
                <a:gd name="T59" fmla="*/ 31 h 1320"/>
                <a:gd name="T60" fmla="*/ 125 w 1554"/>
                <a:gd name="T61" fmla="*/ 32 h 1320"/>
                <a:gd name="T62" fmla="*/ 115 w 1554"/>
                <a:gd name="T63" fmla="*/ 34 h 1320"/>
                <a:gd name="T64" fmla="*/ 113 w 1554"/>
                <a:gd name="T65" fmla="*/ 44 h 1320"/>
                <a:gd name="T66" fmla="*/ 111 w 1554"/>
                <a:gd name="T67" fmla="*/ 54 h 1320"/>
                <a:gd name="T68" fmla="*/ 107 w 1554"/>
                <a:gd name="T69" fmla="*/ 56 h 1320"/>
                <a:gd name="T70" fmla="*/ 102 w 1554"/>
                <a:gd name="T71" fmla="*/ 58 h 1320"/>
                <a:gd name="T72" fmla="*/ 99 w 1554"/>
                <a:gd name="T73" fmla="*/ 60 h 1320"/>
                <a:gd name="T74" fmla="*/ 93 w 1554"/>
                <a:gd name="T75" fmla="*/ 62 h 1320"/>
                <a:gd name="T76" fmla="*/ 87 w 1554"/>
                <a:gd name="T77" fmla="*/ 64 h 1320"/>
                <a:gd name="T78" fmla="*/ 84 w 1554"/>
                <a:gd name="T79" fmla="*/ 65 h 1320"/>
                <a:gd name="T80" fmla="*/ 81 w 1554"/>
                <a:gd name="T81" fmla="*/ 69 h 1320"/>
                <a:gd name="T82" fmla="*/ 83 w 1554"/>
                <a:gd name="T83" fmla="*/ 72 h 1320"/>
                <a:gd name="T84" fmla="*/ 92 w 1554"/>
                <a:gd name="T85" fmla="*/ 73 h 1320"/>
                <a:gd name="T86" fmla="*/ 93 w 1554"/>
                <a:gd name="T87" fmla="*/ 87 h 1320"/>
                <a:gd name="T88" fmla="*/ 104 w 1554"/>
                <a:gd name="T89" fmla="*/ 98 h 1320"/>
                <a:gd name="T90" fmla="*/ 108 w 1554"/>
                <a:gd name="T91" fmla="*/ 98 h 1320"/>
                <a:gd name="T92" fmla="*/ 112 w 1554"/>
                <a:gd name="T93" fmla="*/ 100 h 1320"/>
                <a:gd name="T94" fmla="*/ 118 w 1554"/>
                <a:gd name="T95" fmla="*/ 100 h 1320"/>
                <a:gd name="T96" fmla="*/ 122 w 1554"/>
                <a:gd name="T97" fmla="*/ 102 h 1320"/>
                <a:gd name="T98" fmla="*/ 118 w 1554"/>
                <a:gd name="T99" fmla="*/ 105 h 1320"/>
                <a:gd name="T100" fmla="*/ 114 w 1554"/>
                <a:gd name="T101" fmla="*/ 107 h 1320"/>
                <a:gd name="T102" fmla="*/ 113 w 1554"/>
                <a:gd name="T103" fmla="*/ 113 h 1320"/>
                <a:gd name="T104" fmla="*/ 104 w 1554"/>
                <a:gd name="T105" fmla="*/ 113 h 1320"/>
                <a:gd name="T106" fmla="*/ 93 w 1554"/>
                <a:gd name="T107" fmla="*/ 109 h 1320"/>
                <a:gd name="T108" fmla="*/ 96 w 1554"/>
                <a:gd name="T109" fmla="*/ 103 h 1320"/>
                <a:gd name="T110" fmla="*/ 95 w 1554"/>
                <a:gd name="T111" fmla="*/ 97 h 1320"/>
                <a:gd name="T112" fmla="*/ 87 w 1554"/>
                <a:gd name="T113" fmla="*/ 98 h 1320"/>
                <a:gd name="T114" fmla="*/ 81 w 1554"/>
                <a:gd name="T115" fmla="*/ 98 h 1320"/>
                <a:gd name="T116" fmla="*/ 78 w 1554"/>
                <a:gd name="T117" fmla="*/ 93 h 1320"/>
                <a:gd name="T118" fmla="*/ 65 w 1554"/>
                <a:gd name="T119" fmla="*/ 92 h 1320"/>
                <a:gd name="T120" fmla="*/ 59 w 1554"/>
                <a:gd name="T121" fmla="*/ 92 h 13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54"/>
                <a:gd name="T184" fmla="*/ 0 h 1320"/>
                <a:gd name="T185" fmla="*/ 1554 w 1554"/>
                <a:gd name="T186" fmla="*/ 1320 h 132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54" h="1320">
                  <a:moveTo>
                    <a:pt x="684" y="1068"/>
                  </a:moveTo>
                  <a:lnTo>
                    <a:pt x="684" y="1062"/>
                  </a:lnTo>
                  <a:lnTo>
                    <a:pt x="690" y="1056"/>
                  </a:lnTo>
                  <a:lnTo>
                    <a:pt x="690" y="1050"/>
                  </a:lnTo>
                  <a:lnTo>
                    <a:pt x="690" y="1044"/>
                  </a:lnTo>
                  <a:lnTo>
                    <a:pt x="690" y="1038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14"/>
                  </a:lnTo>
                  <a:lnTo>
                    <a:pt x="690" y="1008"/>
                  </a:lnTo>
                  <a:lnTo>
                    <a:pt x="696" y="996"/>
                  </a:lnTo>
                  <a:lnTo>
                    <a:pt x="714" y="996"/>
                  </a:lnTo>
                  <a:lnTo>
                    <a:pt x="714" y="990"/>
                  </a:lnTo>
                  <a:lnTo>
                    <a:pt x="732" y="984"/>
                  </a:lnTo>
                  <a:lnTo>
                    <a:pt x="744" y="978"/>
                  </a:lnTo>
                  <a:lnTo>
                    <a:pt x="762" y="966"/>
                  </a:lnTo>
                  <a:lnTo>
                    <a:pt x="762" y="960"/>
                  </a:lnTo>
                  <a:lnTo>
                    <a:pt x="768" y="954"/>
                  </a:lnTo>
                  <a:lnTo>
                    <a:pt x="774" y="948"/>
                  </a:lnTo>
                  <a:lnTo>
                    <a:pt x="774" y="942"/>
                  </a:lnTo>
                  <a:lnTo>
                    <a:pt x="774" y="924"/>
                  </a:lnTo>
                  <a:lnTo>
                    <a:pt x="768" y="918"/>
                  </a:lnTo>
                  <a:lnTo>
                    <a:pt x="756" y="918"/>
                  </a:lnTo>
                  <a:lnTo>
                    <a:pt x="744" y="918"/>
                  </a:lnTo>
                  <a:lnTo>
                    <a:pt x="732" y="924"/>
                  </a:lnTo>
                  <a:lnTo>
                    <a:pt x="726" y="912"/>
                  </a:lnTo>
                  <a:lnTo>
                    <a:pt x="720" y="912"/>
                  </a:lnTo>
                  <a:lnTo>
                    <a:pt x="720" y="900"/>
                  </a:lnTo>
                  <a:lnTo>
                    <a:pt x="720" y="870"/>
                  </a:lnTo>
                  <a:lnTo>
                    <a:pt x="696" y="876"/>
                  </a:lnTo>
                  <a:lnTo>
                    <a:pt x="690" y="852"/>
                  </a:lnTo>
                  <a:lnTo>
                    <a:pt x="702" y="852"/>
                  </a:lnTo>
                  <a:lnTo>
                    <a:pt x="702" y="840"/>
                  </a:lnTo>
                  <a:lnTo>
                    <a:pt x="708" y="834"/>
                  </a:lnTo>
                  <a:lnTo>
                    <a:pt x="702" y="822"/>
                  </a:lnTo>
                  <a:lnTo>
                    <a:pt x="660" y="822"/>
                  </a:lnTo>
                  <a:lnTo>
                    <a:pt x="654" y="822"/>
                  </a:lnTo>
                  <a:lnTo>
                    <a:pt x="642" y="822"/>
                  </a:lnTo>
                  <a:lnTo>
                    <a:pt x="642" y="810"/>
                  </a:lnTo>
                  <a:lnTo>
                    <a:pt x="642" y="798"/>
                  </a:lnTo>
                  <a:lnTo>
                    <a:pt x="642" y="792"/>
                  </a:lnTo>
                  <a:lnTo>
                    <a:pt x="648" y="780"/>
                  </a:lnTo>
                  <a:lnTo>
                    <a:pt x="654" y="774"/>
                  </a:lnTo>
                  <a:lnTo>
                    <a:pt x="660" y="774"/>
                  </a:lnTo>
                  <a:lnTo>
                    <a:pt x="672" y="762"/>
                  </a:lnTo>
                  <a:lnTo>
                    <a:pt x="672" y="756"/>
                  </a:lnTo>
                  <a:lnTo>
                    <a:pt x="678" y="750"/>
                  </a:lnTo>
                  <a:lnTo>
                    <a:pt x="684" y="750"/>
                  </a:lnTo>
                  <a:lnTo>
                    <a:pt x="690" y="744"/>
                  </a:lnTo>
                  <a:lnTo>
                    <a:pt x="696" y="732"/>
                  </a:lnTo>
                  <a:lnTo>
                    <a:pt x="696" y="726"/>
                  </a:lnTo>
                  <a:lnTo>
                    <a:pt x="702" y="714"/>
                  </a:lnTo>
                  <a:lnTo>
                    <a:pt x="696" y="708"/>
                  </a:lnTo>
                  <a:lnTo>
                    <a:pt x="690" y="690"/>
                  </a:lnTo>
                  <a:lnTo>
                    <a:pt x="696" y="678"/>
                  </a:lnTo>
                  <a:lnTo>
                    <a:pt x="708" y="672"/>
                  </a:lnTo>
                  <a:lnTo>
                    <a:pt x="708" y="660"/>
                  </a:lnTo>
                  <a:lnTo>
                    <a:pt x="702" y="660"/>
                  </a:lnTo>
                  <a:lnTo>
                    <a:pt x="696" y="660"/>
                  </a:lnTo>
                  <a:lnTo>
                    <a:pt x="690" y="654"/>
                  </a:lnTo>
                  <a:lnTo>
                    <a:pt x="684" y="654"/>
                  </a:lnTo>
                  <a:lnTo>
                    <a:pt x="690" y="606"/>
                  </a:lnTo>
                  <a:lnTo>
                    <a:pt x="660" y="606"/>
                  </a:lnTo>
                  <a:lnTo>
                    <a:pt x="660" y="612"/>
                  </a:lnTo>
                  <a:lnTo>
                    <a:pt x="648" y="612"/>
                  </a:lnTo>
                  <a:lnTo>
                    <a:pt x="642" y="636"/>
                  </a:lnTo>
                  <a:lnTo>
                    <a:pt x="636" y="636"/>
                  </a:lnTo>
                  <a:lnTo>
                    <a:pt x="630" y="648"/>
                  </a:lnTo>
                  <a:lnTo>
                    <a:pt x="612" y="648"/>
                  </a:lnTo>
                  <a:lnTo>
                    <a:pt x="606" y="636"/>
                  </a:lnTo>
                  <a:lnTo>
                    <a:pt x="600" y="630"/>
                  </a:lnTo>
                  <a:lnTo>
                    <a:pt x="588" y="606"/>
                  </a:lnTo>
                  <a:lnTo>
                    <a:pt x="552" y="606"/>
                  </a:lnTo>
                  <a:lnTo>
                    <a:pt x="552" y="612"/>
                  </a:lnTo>
                  <a:lnTo>
                    <a:pt x="540" y="612"/>
                  </a:lnTo>
                  <a:lnTo>
                    <a:pt x="540" y="606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16" y="612"/>
                  </a:lnTo>
                  <a:lnTo>
                    <a:pt x="516" y="582"/>
                  </a:lnTo>
                  <a:lnTo>
                    <a:pt x="522" y="576"/>
                  </a:lnTo>
                  <a:lnTo>
                    <a:pt x="528" y="576"/>
                  </a:lnTo>
                  <a:lnTo>
                    <a:pt x="528" y="552"/>
                  </a:lnTo>
                  <a:lnTo>
                    <a:pt x="522" y="540"/>
                  </a:lnTo>
                  <a:lnTo>
                    <a:pt x="510" y="528"/>
                  </a:lnTo>
                  <a:lnTo>
                    <a:pt x="486" y="510"/>
                  </a:lnTo>
                  <a:lnTo>
                    <a:pt x="480" y="498"/>
                  </a:lnTo>
                  <a:lnTo>
                    <a:pt x="480" y="474"/>
                  </a:lnTo>
                  <a:lnTo>
                    <a:pt x="492" y="468"/>
                  </a:lnTo>
                  <a:lnTo>
                    <a:pt x="486" y="450"/>
                  </a:lnTo>
                  <a:lnTo>
                    <a:pt x="474" y="456"/>
                  </a:lnTo>
                  <a:lnTo>
                    <a:pt x="468" y="456"/>
                  </a:lnTo>
                  <a:lnTo>
                    <a:pt x="462" y="456"/>
                  </a:lnTo>
                  <a:lnTo>
                    <a:pt x="456" y="468"/>
                  </a:lnTo>
                  <a:lnTo>
                    <a:pt x="456" y="474"/>
                  </a:lnTo>
                  <a:lnTo>
                    <a:pt x="450" y="480"/>
                  </a:lnTo>
                  <a:lnTo>
                    <a:pt x="444" y="450"/>
                  </a:lnTo>
                  <a:lnTo>
                    <a:pt x="438" y="450"/>
                  </a:lnTo>
                  <a:lnTo>
                    <a:pt x="432" y="450"/>
                  </a:lnTo>
                  <a:lnTo>
                    <a:pt x="420" y="450"/>
                  </a:lnTo>
                  <a:lnTo>
                    <a:pt x="420" y="456"/>
                  </a:lnTo>
                  <a:lnTo>
                    <a:pt x="414" y="456"/>
                  </a:lnTo>
                  <a:lnTo>
                    <a:pt x="408" y="468"/>
                  </a:lnTo>
                  <a:lnTo>
                    <a:pt x="402" y="468"/>
                  </a:lnTo>
                  <a:lnTo>
                    <a:pt x="396" y="474"/>
                  </a:lnTo>
                  <a:lnTo>
                    <a:pt x="390" y="492"/>
                  </a:lnTo>
                  <a:lnTo>
                    <a:pt x="384" y="504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54" y="510"/>
                  </a:lnTo>
                  <a:lnTo>
                    <a:pt x="360" y="480"/>
                  </a:lnTo>
                  <a:lnTo>
                    <a:pt x="360" y="474"/>
                  </a:lnTo>
                  <a:lnTo>
                    <a:pt x="378" y="456"/>
                  </a:lnTo>
                  <a:lnTo>
                    <a:pt x="384" y="450"/>
                  </a:lnTo>
                  <a:lnTo>
                    <a:pt x="396" y="444"/>
                  </a:lnTo>
                  <a:lnTo>
                    <a:pt x="402" y="438"/>
                  </a:lnTo>
                  <a:lnTo>
                    <a:pt x="408" y="438"/>
                  </a:lnTo>
                  <a:lnTo>
                    <a:pt x="408" y="426"/>
                  </a:lnTo>
                  <a:lnTo>
                    <a:pt x="414" y="420"/>
                  </a:lnTo>
                  <a:lnTo>
                    <a:pt x="426" y="420"/>
                  </a:lnTo>
                  <a:lnTo>
                    <a:pt x="426" y="408"/>
                  </a:lnTo>
                  <a:lnTo>
                    <a:pt x="420" y="390"/>
                  </a:lnTo>
                  <a:lnTo>
                    <a:pt x="408" y="384"/>
                  </a:lnTo>
                  <a:lnTo>
                    <a:pt x="378" y="378"/>
                  </a:lnTo>
                  <a:lnTo>
                    <a:pt x="354" y="366"/>
                  </a:lnTo>
                  <a:lnTo>
                    <a:pt x="342" y="360"/>
                  </a:lnTo>
                  <a:lnTo>
                    <a:pt x="342" y="348"/>
                  </a:lnTo>
                  <a:lnTo>
                    <a:pt x="336" y="330"/>
                  </a:lnTo>
                  <a:lnTo>
                    <a:pt x="348" y="306"/>
                  </a:lnTo>
                  <a:lnTo>
                    <a:pt x="360" y="294"/>
                  </a:lnTo>
                  <a:lnTo>
                    <a:pt x="360" y="282"/>
                  </a:lnTo>
                  <a:lnTo>
                    <a:pt x="342" y="270"/>
                  </a:lnTo>
                  <a:lnTo>
                    <a:pt x="342" y="264"/>
                  </a:lnTo>
                  <a:lnTo>
                    <a:pt x="330" y="264"/>
                  </a:lnTo>
                  <a:lnTo>
                    <a:pt x="312" y="270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88" y="270"/>
                  </a:lnTo>
                  <a:lnTo>
                    <a:pt x="282" y="270"/>
                  </a:lnTo>
                  <a:lnTo>
                    <a:pt x="276" y="264"/>
                  </a:lnTo>
                  <a:lnTo>
                    <a:pt x="270" y="264"/>
                  </a:lnTo>
                  <a:lnTo>
                    <a:pt x="252" y="270"/>
                  </a:lnTo>
                  <a:lnTo>
                    <a:pt x="246" y="270"/>
                  </a:lnTo>
                  <a:lnTo>
                    <a:pt x="240" y="270"/>
                  </a:lnTo>
                  <a:lnTo>
                    <a:pt x="228" y="270"/>
                  </a:lnTo>
                  <a:lnTo>
                    <a:pt x="216" y="276"/>
                  </a:lnTo>
                  <a:lnTo>
                    <a:pt x="210" y="270"/>
                  </a:lnTo>
                  <a:lnTo>
                    <a:pt x="204" y="270"/>
                  </a:lnTo>
                  <a:lnTo>
                    <a:pt x="198" y="276"/>
                  </a:lnTo>
                  <a:lnTo>
                    <a:pt x="192" y="276"/>
                  </a:lnTo>
                  <a:lnTo>
                    <a:pt x="186" y="282"/>
                  </a:lnTo>
                  <a:lnTo>
                    <a:pt x="180" y="288"/>
                  </a:lnTo>
                  <a:lnTo>
                    <a:pt x="174" y="300"/>
                  </a:lnTo>
                  <a:lnTo>
                    <a:pt x="168" y="306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8" y="330"/>
                  </a:lnTo>
                  <a:lnTo>
                    <a:pt x="162" y="336"/>
                  </a:lnTo>
                  <a:lnTo>
                    <a:pt x="156" y="342"/>
                  </a:lnTo>
                  <a:lnTo>
                    <a:pt x="156" y="348"/>
                  </a:lnTo>
                  <a:lnTo>
                    <a:pt x="156" y="354"/>
                  </a:lnTo>
                  <a:lnTo>
                    <a:pt x="150" y="366"/>
                  </a:lnTo>
                  <a:lnTo>
                    <a:pt x="150" y="372"/>
                  </a:lnTo>
                  <a:lnTo>
                    <a:pt x="144" y="366"/>
                  </a:lnTo>
                  <a:lnTo>
                    <a:pt x="132" y="366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20" y="348"/>
                  </a:lnTo>
                  <a:lnTo>
                    <a:pt x="102" y="330"/>
                  </a:lnTo>
                  <a:lnTo>
                    <a:pt x="96" y="318"/>
                  </a:lnTo>
                  <a:lnTo>
                    <a:pt x="96" y="282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0" y="258"/>
                  </a:lnTo>
                  <a:lnTo>
                    <a:pt x="84" y="252"/>
                  </a:lnTo>
                  <a:lnTo>
                    <a:pt x="66" y="258"/>
                  </a:lnTo>
                  <a:lnTo>
                    <a:pt x="60" y="246"/>
                  </a:lnTo>
                  <a:lnTo>
                    <a:pt x="30" y="252"/>
                  </a:lnTo>
                  <a:lnTo>
                    <a:pt x="18" y="246"/>
                  </a:lnTo>
                  <a:lnTo>
                    <a:pt x="0" y="240"/>
                  </a:lnTo>
                  <a:lnTo>
                    <a:pt x="0" y="234"/>
                  </a:lnTo>
                  <a:lnTo>
                    <a:pt x="0" y="210"/>
                  </a:lnTo>
                  <a:lnTo>
                    <a:pt x="6" y="204"/>
                  </a:lnTo>
                  <a:lnTo>
                    <a:pt x="18" y="192"/>
                  </a:lnTo>
                  <a:lnTo>
                    <a:pt x="18" y="144"/>
                  </a:lnTo>
                  <a:lnTo>
                    <a:pt x="24" y="126"/>
                  </a:lnTo>
                  <a:lnTo>
                    <a:pt x="36" y="126"/>
                  </a:lnTo>
                  <a:lnTo>
                    <a:pt x="54" y="120"/>
                  </a:lnTo>
                  <a:lnTo>
                    <a:pt x="54" y="126"/>
                  </a:lnTo>
                  <a:lnTo>
                    <a:pt x="132" y="114"/>
                  </a:lnTo>
                  <a:lnTo>
                    <a:pt x="144" y="120"/>
                  </a:lnTo>
                  <a:lnTo>
                    <a:pt x="150" y="132"/>
                  </a:lnTo>
                  <a:lnTo>
                    <a:pt x="180" y="126"/>
                  </a:lnTo>
                  <a:lnTo>
                    <a:pt x="210" y="120"/>
                  </a:lnTo>
                  <a:lnTo>
                    <a:pt x="240" y="120"/>
                  </a:lnTo>
                  <a:lnTo>
                    <a:pt x="258" y="120"/>
                  </a:lnTo>
                  <a:lnTo>
                    <a:pt x="270" y="126"/>
                  </a:lnTo>
                  <a:lnTo>
                    <a:pt x="276" y="132"/>
                  </a:lnTo>
                  <a:lnTo>
                    <a:pt x="282" y="138"/>
                  </a:lnTo>
                  <a:lnTo>
                    <a:pt x="282" y="156"/>
                  </a:lnTo>
                  <a:lnTo>
                    <a:pt x="288" y="186"/>
                  </a:lnTo>
                  <a:lnTo>
                    <a:pt x="312" y="192"/>
                  </a:lnTo>
                  <a:lnTo>
                    <a:pt x="318" y="198"/>
                  </a:lnTo>
                  <a:lnTo>
                    <a:pt x="324" y="204"/>
                  </a:lnTo>
                  <a:lnTo>
                    <a:pt x="330" y="210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66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86" y="210"/>
                  </a:lnTo>
                  <a:lnTo>
                    <a:pt x="498" y="198"/>
                  </a:lnTo>
                  <a:lnTo>
                    <a:pt x="504" y="174"/>
                  </a:lnTo>
                  <a:lnTo>
                    <a:pt x="516" y="162"/>
                  </a:lnTo>
                  <a:lnTo>
                    <a:pt x="516" y="138"/>
                  </a:lnTo>
                  <a:lnTo>
                    <a:pt x="522" y="132"/>
                  </a:lnTo>
                  <a:lnTo>
                    <a:pt x="564" y="132"/>
                  </a:lnTo>
                  <a:lnTo>
                    <a:pt x="564" y="114"/>
                  </a:lnTo>
                  <a:lnTo>
                    <a:pt x="582" y="114"/>
                  </a:lnTo>
                  <a:lnTo>
                    <a:pt x="594" y="114"/>
                  </a:lnTo>
                  <a:lnTo>
                    <a:pt x="606" y="114"/>
                  </a:lnTo>
                  <a:lnTo>
                    <a:pt x="612" y="114"/>
                  </a:lnTo>
                  <a:lnTo>
                    <a:pt x="630" y="114"/>
                  </a:lnTo>
                  <a:lnTo>
                    <a:pt x="636" y="114"/>
                  </a:lnTo>
                  <a:lnTo>
                    <a:pt x="648" y="114"/>
                  </a:lnTo>
                  <a:lnTo>
                    <a:pt x="654" y="114"/>
                  </a:lnTo>
                  <a:lnTo>
                    <a:pt x="660" y="120"/>
                  </a:lnTo>
                  <a:lnTo>
                    <a:pt x="672" y="120"/>
                  </a:lnTo>
                  <a:lnTo>
                    <a:pt x="684" y="120"/>
                  </a:lnTo>
                  <a:lnTo>
                    <a:pt x="690" y="120"/>
                  </a:lnTo>
                  <a:lnTo>
                    <a:pt x="702" y="120"/>
                  </a:lnTo>
                  <a:lnTo>
                    <a:pt x="708" y="120"/>
                  </a:lnTo>
                  <a:lnTo>
                    <a:pt x="726" y="126"/>
                  </a:lnTo>
                  <a:lnTo>
                    <a:pt x="732" y="126"/>
                  </a:lnTo>
                  <a:lnTo>
                    <a:pt x="738" y="126"/>
                  </a:lnTo>
                  <a:lnTo>
                    <a:pt x="750" y="126"/>
                  </a:lnTo>
                  <a:lnTo>
                    <a:pt x="756" y="126"/>
                  </a:lnTo>
                  <a:lnTo>
                    <a:pt x="768" y="126"/>
                  </a:lnTo>
                  <a:lnTo>
                    <a:pt x="780" y="126"/>
                  </a:lnTo>
                  <a:lnTo>
                    <a:pt x="786" y="120"/>
                  </a:lnTo>
                  <a:lnTo>
                    <a:pt x="792" y="120"/>
                  </a:lnTo>
                  <a:lnTo>
                    <a:pt x="810" y="120"/>
                  </a:lnTo>
                  <a:lnTo>
                    <a:pt x="822" y="120"/>
                  </a:lnTo>
                  <a:lnTo>
                    <a:pt x="846" y="126"/>
                  </a:lnTo>
                  <a:lnTo>
                    <a:pt x="858" y="126"/>
                  </a:lnTo>
                  <a:lnTo>
                    <a:pt x="870" y="132"/>
                  </a:lnTo>
                  <a:lnTo>
                    <a:pt x="882" y="132"/>
                  </a:lnTo>
                  <a:lnTo>
                    <a:pt x="894" y="132"/>
                  </a:lnTo>
                  <a:lnTo>
                    <a:pt x="900" y="132"/>
                  </a:lnTo>
                  <a:lnTo>
                    <a:pt x="912" y="132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36" y="132"/>
                  </a:lnTo>
                  <a:lnTo>
                    <a:pt x="960" y="132"/>
                  </a:lnTo>
                  <a:lnTo>
                    <a:pt x="966" y="144"/>
                  </a:lnTo>
                  <a:lnTo>
                    <a:pt x="972" y="144"/>
                  </a:lnTo>
                  <a:lnTo>
                    <a:pt x="1002" y="144"/>
                  </a:lnTo>
                  <a:lnTo>
                    <a:pt x="1020" y="144"/>
                  </a:lnTo>
                  <a:lnTo>
                    <a:pt x="1068" y="138"/>
                  </a:lnTo>
                  <a:lnTo>
                    <a:pt x="1110" y="132"/>
                  </a:lnTo>
                  <a:lnTo>
                    <a:pt x="1110" y="126"/>
                  </a:lnTo>
                  <a:lnTo>
                    <a:pt x="1116" y="120"/>
                  </a:lnTo>
                  <a:lnTo>
                    <a:pt x="1122" y="108"/>
                  </a:lnTo>
                  <a:lnTo>
                    <a:pt x="1134" y="96"/>
                  </a:lnTo>
                  <a:lnTo>
                    <a:pt x="1146" y="60"/>
                  </a:lnTo>
                  <a:lnTo>
                    <a:pt x="1158" y="54"/>
                  </a:lnTo>
                  <a:lnTo>
                    <a:pt x="1170" y="48"/>
                  </a:lnTo>
                  <a:lnTo>
                    <a:pt x="1188" y="42"/>
                  </a:lnTo>
                  <a:lnTo>
                    <a:pt x="1200" y="36"/>
                  </a:lnTo>
                  <a:lnTo>
                    <a:pt x="1212" y="36"/>
                  </a:lnTo>
                  <a:lnTo>
                    <a:pt x="1236" y="30"/>
                  </a:lnTo>
                  <a:lnTo>
                    <a:pt x="1236" y="24"/>
                  </a:lnTo>
                  <a:lnTo>
                    <a:pt x="1278" y="18"/>
                  </a:lnTo>
                  <a:lnTo>
                    <a:pt x="1290" y="18"/>
                  </a:lnTo>
                  <a:lnTo>
                    <a:pt x="1302" y="12"/>
                  </a:lnTo>
                  <a:lnTo>
                    <a:pt x="1314" y="0"/>
                  </a:lnTo>
                  <a:lnTo>
                    <a:pt x="1332" y="0"/>
                  </a:lnTo>
                  <a:lnTo>
                    <a:pt x="1338" y="24"/>
                  </a:lnTo>
                  <a:lnTo>
                    <a:pt x="1344" y="30"/>
                  </a:lnTo>
                  <a:lnTo>
                    <a:pt x="1350" y="42"/>
                  </a:lnTo>
                  <a:lnTo>
                    <a:pt x="1356" y="48"/>
                  </a:lnTo>
                  <a:lnTo>
                    <a:pt x="1356" y="78"/>
                  </a:lnTo>
                  <a:lnTo>
                    <a:pt x="1350" y="96"/>
                  </a:lnTo>
                  <a:lnTo>
                    <a:pt x="1338" y="108"/>
                  </a:lnTo>
                  <a:lnTo>
                    <a:pt x="1338" y="114"/>
                  </a:lnTo>
                  <a:lnTo>
                    <a:pt x="1338" y="120"/>
                  </a:lnTo>
                  <a:lnTo>
                    <a:pt x="1338" y="126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398" y="114"/>
                  </a:lnTo>
                  <a:lnTo>
                    <a:pt x="1416" y="120"/>
                  </a:lnTo>
                  <a:lnTo>
                    <a:pt x="1434" y="126"/>
                  </a:lnTo>
                  <a:lnTo>
                    <a:pt x="1458" y="132"/>
                  </a:lnTo>
                  <a:lnTo>
                    <a:pt x="1458" y="138"/>
                  </a:lnTo>
                  <a:lnTo>
                    <a:pt x="1512" y="138"/>
                  </a:lnTo>
                  <a:lnTo>
                    <a:pt x="1512" y="132"/>
                  </a:lnTo>
                  <a:lnTo>
                    <a:pt x="1524" y="138"/>
                  </a:lnTo>
                  <a:lnTo>
                    <a:pt x="1542" y="138"/>
                  </a:lnTo>
                  <a:lnTo>
                    <a:pt x="1542" y="150"/>
                  </a:lnTo>
                  <a:lnTo>
                    <a:pt x="1542" y="162"/>
                  </a:lnTo>
                  <a:lnTo>
                    <a:pt x="1548" y="174"/>
                  </a:lnTo>
                  <a:lnTo>
                    <a:pt x="1548" y="180"/>
                  </a:lnTo>
                  <a:lnTo>
                    <a:pt x="1554" y="222"/>
                  </a:lnTo>
                  <a:lnTo>
                    <a:pt x="1554" y="258"/>
                  </a:lnTo>
                  <a:lnTo>
                    <a:pt x="1554" y="276"/>
                  </a:lnTo>
                  <a:lnTo>
                    <a:pt x="1554" y="282"/>
                  </a:lnTo>
                  <a:lnTo>
                    <a:pt x="1554" y="294"/>
                  </a:lnTo>
                  <a:lnTo>
                    <a:pt x="1554" y="306"/>
                  </a:lnTo>
                  <a:lnTo>
                    <a:pt x="1554" y="324"/>
                  </a:lnTo>
                  <a:lnTo>
                    <a:pt x="1554" y="330"/>
                  </a:lnTo>
                  <a:lnTo>
                    <a:pt x="1548" y="330"/>
                  </a:lnTo>
                  <a:lnTo>
                    <a:pt x="1548" y="336"/>
                  </a:lnTo>
                  <a:lnTo>
                    <a:pt x="1548" y="342"/>
                  </a:lnTo>
                  <a:lnTo>
                    <a:pt x="1542" y="336"/>
                  </a:lnTo>
                  <a:lnTo>
                    <a:pt x="1542" y="330"/>
                  </a:lnTo>
                  <a:lnTo>
                    <a:pt x="1536" y="330"/>
                  </a:lnTo>
                  <a:lnTo>
                    <a:pt x="1530" y="330"/>
                  </a:lnTo>
                  <a:lnTo>
                    <a:pt x="1530" y="336"/>
                  </a:lnTo>
                  <a:lnTo>
                    <a:pt x="1536" y="342"/>
                  </a:lnTo>
                  <a:lnTo>
                    <a:pt x="1530" y="342"/>
                  </a:lnTo>
                  <a:lnTo>
                    <a:pt x="1518" y="348"/>
                  </a:lnTo>
                  <a:lnTo>
                    <a:pt x="1512" y="354"/>
                  </a:lnTo>
                  <a:lnTo>
                    <a:pt x="1506" y="354"/>
                  </a:lnTo>
                  <a:lnTo>
                    <a:pt x="1500" y="354"/>
                  </a:lnTo>
                  <a:lnTo>
                    <a:pt x="1494" y="354"/>
                  </a:lnTo>
                  <a:lnTo>
                    <a:pt x="1494" y="360"/>
                  </a:lnTo>
                  <a:lnTo>
                    <a:pt x="1488" y="360"/>
                  </a:lnTo>
                  <a:lnTo>
                    <a:pt x="1488" y="366"/>
                  </a:lnTo>
                  <a:lnTo>
                    <a:pt x="1488" y="372"/>
                  </a:lnTo>
                  <a:lnTo>
                    <a:pt x="1482" y="372"/>
                  </a:lnTo>
                  <a:lnTo>
                    <a:pt x="1476" y="372"/>
                  </a:lnTo>
                  <a:lnTo>
                    <a:pt x="1470" y="372"/>
                  </a:lnTo>
                  <a:lnTo>
                    <a:pt x="1470" y="378"/>
                  </a:lnTo>
                  <a:lnTo>
                    <a:pt x="1470" y="384"/>
                  </a:lnTo>
                  <a:lnTo>
                    <a:pt x="1470" y="390"/>
                  </a:lnTo>
                  <a:lnTo>
                    <a:pt x="1464" y="402"/>
                  </a:lnTo>
                  <a:lnTo>
                    <a:pt x="1446" y="402"/>
                  </a:lnTo>
                  <a:lnTo>
                    <a:pt x="1440" y="372"/>
                  </a:lnTo>
                  <a:lnTo>
                    <a:pt x="1410" y="372"/>
                  </a:lnTo>
                  <a:lnTo>
                    <a:pt x="1380" y="372"/>
                  </a:lnTo>
                  <a:lnTo>
                    <a:pt x="1374" y="372"/>
                  </a:lnTo>
                  <a:lnTo>
                    <a:pt x="1368" y="378"/>
                  </a:lnTo>
                  <a:lnTo>
                    <a:pt x="1362" y="378"/>
                  </a:lnTo>
                  <a:lnTo>
                    <a:pt x="1356" y="378"/>
                  </a:lnTo>
                  <a:lnTo>
                    <a:pt x="1350" y="384"/>
                  </a:lnTo>
                  <a:lnTo>
                    <a:pt x="1350" y="390"/>
                  </a:lnTo>
                  <a:lnTo>
                    <a:pt x="1344" y="390"/>
                  </a:lnTo>
                  <a:lnTo>
                    <a:pt x="1338" y="390"/>
                  </a:lnTo>
                  <a:lnTo>
                    <a:pt x="1332" y="390"/>
                  </a:lnTo>
                  <a:lnTo>
                    <a:pt x="1332" y="396"/>
                  </a:lnTo>
                  <a:lnTo>
                    <a:pt x="1332" y="390"/>
                  </a:lnTo>
                  <a:lnTo>
                    <a:pt x="1326" y="402"/>
                  </a:lnTo>
                  <a:lnTo>
                    <a:pt x="1320" y="402"/>
                  </a:lnTo>
                  <a:lnTo>
                    <a:pt x="1302" y="474"/>
                  </a:lnTo>
                  <a:lnTo>
                    <a:pt x="1308" y="480"/>
                  </a:lnTo>
                  <a:lnTo>
                    <a:pt x="1314" y="480"/>
                  </a:lnTo>
                  <a:lnTo>
                    <a:pt x="1308" y="498"/>
                  </a:lnTo>
                  <a:lnTo>
                    <a:pt x="1308" y="504"/>
                  </a:lnTo>
                  <a:lnTo>
                    <a:pt x="1314" y="510"/>
                  </a:lnTo>
                  <a:lnTo>
                    <a:pt x="1308" y="510"/>
                  </a:lnTo>
                  <a:lnTo>
                    <a:pt x="1308" y="516"/>
                  </a:lnTo>
                  <a:lnTo>
                    <a:pt x="1302" y="516"/>
                  </a:lnTo>
                  <a:lnTo>
                    <a:pt x="1296" y="510"/>
                  </a:lnTo>
                  <a:lnTo>
                    <a:pt x="1296" y="516"/>
                  </a:lnTo>
                  <a:lnTo>
                    <a:pt x="1290" y="540"/>
                  </a:lnTo>
                  <a:lnTo>
                    <a:pt x="1290" y="552"/>
                  </a:lnTo>
                  <a:lnTo>
                    <a:pt x="1284" y="558"/>
                  </a:lnTo>
                  <a:lnTo>
                    <a:pt x="1290" y="576"/>
                  </a:lnTo>
                  <a:lnTo>
                    <a:pt x="1290" y="600"/>
                  </a:lnTo>
                  <a:lnTo>
                    <a:pt x="1284" y="618"/>
                  </a:lnTo>
                  <a:lnTo>
                    <a:pt x="1290" y="624"/>
                  </a:lnTo>
                  <a:lnTo>
                    <a:pt x="1284" y="630"/>
                  </a:lnTo>
                  <a:lnTo>
                    <a:pt x="1278" y="630"/>
                  </a:lnTo>
                  <a:lnTo>
                    <a:pt x="1272" y="630"/>
                  </a:lnTo>
                  <a:lnTo>
                    <a:pt x="1266" y="636"/>
                  </a:lnTo>
                  <a:lnTo>
                    <a:pt x="1260" y="642"/>
                  </a:lnTo>
                  <a:lnTo>
                    <a:pt x="1260" y="636"/>
                  </a:lnTo>
                  <a:lnTo>
                    <a:pt x="1254" y="636"/>
                  </a:lnTo>
                  <a:lnTo>
                    <a:pt x="1248" y="636"/>
                  </a:lnTo>
                  <a:lnTo>
                    <a:pt x="1248" y="642"/>
                  </a:lnTo>
                  <a:lnTo>
                    <a:pt x="1242" y="642"/>
                  </a:lnTo>
                  <a:lnTo>
                    <a:pt x="1242" y="648"/>
                  </a:lnTo>
                  <a:lnTo>
                    <a:pt x="1236" y="654"/>
                  </a:lnTo>
                  <a:lnTo>
                    <a:pt x="1230" y="654"/>
                  </a:lnTo>
                  <a:lnTo>
                    <a:pt x="1224" y="654"/>
                  </a:lnTo>
                  <a:lnTo>
                    <a:pt x="1218" y="660"/>
                  </a:lnTo>
                  <a:lnTo>
                    <a:pt x="1212" y="660"/>
                  </a:lnTo>
                  <a:lnTo>
                    <a:pt x="1206" y="660"/>
                  </a:lnTo>
                  <a:lnTo>
                    <a:pt x="1200" y="660"/>
                  </a:lnTo>
                  <a:lnTo>
                    <a:pt x="1200" y="666"/>
                  </a:lnTo>
                  <a:lnTo>
                    <a:pt x="1194" y="666"/>
                  </a:lnTo>
                  <a:lnTo>
                    <a:pt x="1188" y="666"/>
                  </a:lnTo>
                  <a:lnTo>
                    <a:pt x="1182" y="672"/>
                  </a:lnTo>
                  <a:lnTo>
                    <a:pt x="1176" y="672"/>
                  </a:lnTo>
                  <a:lnTo>
                    <a:pt x="1170" y="672"/>
                  </a:lnTo>
                  <a:lnTo>
                    <a:pt x="1164" y="678"/>
                  </a:lnTo>
                  <a:lnTo>
                    <a:pt x="1170" y="678"/>
                  </a:lnTo>
                  <a:lnTo>
                    <a:pt x="1164" y="684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52" y="684"/>
                  </a:lnTo>
                  <a:lnTo>
                    <a:pt x="1152" y="690"/>
                  </a:lnTo>
                  <a:lnTo>
                    <a:pt x="1146" y="690"/>
                  </a:lnTo>
                  <a:lnTo>
                    <a:pt x="1140" y="690"/>
                  </a:lnTo>
                  <a:lnTo>
                    <a:pt x="1134" y="696"/>
                  </a:lnTo>
                  <a:lnTo>
                    <a:pt x="1128" y="696"/>
                  </a:lnTo>
                  <a:lnTo>
                    <a:pt x="1122" y="702"/>
                  </a:lnTo>
                  <a:lnTo>
                    <a:pt x="1116" y="702"/>
                  </a:lnTo>
                  <a:lnTo>
                    <a:pt x="1110" y="708"/>
                  </a:lnTo>
                  <a:lnTo>
                    <a:pt x="1104" y="708"/>
                  </a:lnTo>
                  <a:lnTo>
                    <a:pt x="1098" y="708"/>
                  </a:lnTo>
                  <a:lnTo>
                    <a:pt x="1092" y="708"/>
                  </a:lnTo>
                  <a:lnTo>
                    <a:pt x="1092" y="714"/>
                  </a:lnTo>
                  <a:lnTo>
                    <a:pt x="1086" y="720"/>
                  </a:lnTo>
                  <a:lnTo>
                    <a:pt x="1080" y="720"/>
                  </a:lnTo>
                  <a:lnTo>
                    <a:pt x="1074" y="720"/>
                  </a:lnTo>
                  <a:lnTo>
                    <a:pt x="1068" y="720"/>
                  </a:lnTo>
                  <a:lnTo>
                    <a:pt x="1062" y="720"/>
                  </a:lnTo>
                  <a:lnTo>
                    <a:pt x="1050" y="726"/>
                  </a:lnTo>
                  <a:lnTo>
                    <a:pt x="1044" y="726"/>
                  </a:lnTo>
                  <a:lnTo>
                    <a:pt x="1038" y="732"/>
                  </a:lnTo>
                  <a:lnTo>
                    <a:pt x="1026" y="732"/>
                  </a:lnTo>
                  <a:lnTo>
                    <a:pt x="1020" y="732"/>
                  </a:lnTo>
                  <a:lnTo>
                    <a:pt x="1014" y="738"/>
                  </a:lnTo>
                  <a:lnTo>
                    <a:pt x="1008" y="738"/>
                  </a:lnTo>
                  <a:lnTo>
                    <a:pt x="1002" y="738"/>
                  </a:lnTo>
                  <a:lnTo>
                    <a:pt x="996" y="738"/>
                  </a:lnTo>
                  <a:lnTo>
                    <a:pt x="990" y="738"/>
                  </a:lnTo>
                  <a:lnTo>
                    <a:pt x="990" y="732"/>
                  </a:lnTo>
                  <a:lnTo>
                    <a:pt x="984" y="732"/>
                  </a:lnTo>
                  <a:lnTo>
                    <a:pt x="978" y="738"/>
                  </a:lnTo>
                  <a:lnTo>
                    <a:pt x="978" y="744"/>
                  </a:lnTo>
                  <a:lnTo>
                    <a:pt x="984" y="744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8" y="756"/>
                  </a:lnTo>
                  <a:lnTo>
                    <a:pt x="972" y="756"/>
                  </a:lnTo>
                  <a:lnTo>
                    <a:pt x="972" y="762"/>
                  </a:lnTo>
                  <a:lnTo>
                    <a:pt x="966" y="768"/>
                  </a:lnTo>
                  <a:lnTo>
                    <a:pt x="966" y="762"/>
                  </a:lnTo>
                  <a:lnTo>
                    <a:pt x="960" y="762"/>
                  </a:lnTo>
                  <a:lnTo>
                    <a:pt x="954" y="768"/>
                  </a:lnTo>
                  <a:lnTo>
                    <a:pt x="954" y="774"/>
                  </a:lnTo>
                  <a:lnTo>
                    <a:pt x="948" y="774"/>
                  </a:lnTo>
                  <a:lnTo>
                    <a:pt x="948" y="780"/>
                  </a:lnTo>
                  <a:lnTo>
                    <a:pt x="948" y="786"/>
                  </a:lnTo>
                  <a:lnTo>
                    <a:pt x="942" y="786"/>
                  </a:lnTo>
                  <a:lnTo>
                    <a:pt x="942" y="792"/>
                  </a:lnTo>
                  <a:lnTo>
                    <a:pt x="936" y="792"/>
                  </a:lnTo>
                  <a:lnTo>
                    <a:pt x="942" y="798"/>
                  </a:lnTo>
                  <a:lnTo>
                    <a:pt x="942" y="804"/>
                  </a:lnTo>
                  <a:lnTo>
                    <a:pt x="942" y="810"/>
                  </a:lnTo>
                  <a:lnTo>
                    <a:pt x="948" y="810"/>
                  </a:lnTo>
                  <a:lnTo>
                    <a:pt x="942" y="816"/>
                  </a:lnTo>
                  <a:lnTo>
                    <a:pt x="948" y="816"/>
                  </a:lnTo>
                  <a:lnTo>
                    <a:pt x="948" y="822"/>
                  </a:lnTo>
                  <a:lnTo>
                    <a:pt x="954" y="822"/>
                  </a:lnTo>
                  <a:lnTo>
                    <a:pt x="960" y="828"/>
                  </a:lnTo>
                  <a:lnTo>
                    <a:pt x="960" y="834"/>
                  </a:lnTo>
                  <a:lnTo>
                    <a:pt x="966" y="834"/>
                  </a:lnTo>
                  <a:lnTo>
                    <a:pt x="960" y="840"/>
                  </a:lnTo>
                  <a:lnTo>
                    <a:pt x="966" y="846"/>
                  </a:lnTo>
                  <a:lnTo>
                    <a:pt x="966" y="840"/>
                  </a:lnTo>
                  <a:lnTo>
                    <a:pt x="972" y="840"/>
                  </a:lnTo>
                  <a:lnTo>
                    <a:pt x="990" y="840"/>
                  </a:lnTo>
                  <a:lnTo>
                    <a:pt x="1002" y="834"/>
                  </a:lnTo>
                  <a:lnTo>
                    <a:pt x="1020" y="828"/>
                  </a:lnTo>
                  <a:lnTo>
                    <a:pt x="1032" y="828"/>
                  </a:lnTo>
                  <a:lnTo>
                    <a:pt x="1050" y="828"/>
                  </a:lnTo>
                  <a:lnTo>
                    <a:pt x="1062" y="846"/>
                  </a:lnTo>
                  <a:lnTo>
                    <a:pt x="1074" y="876"/>
                  </a:lnTo>
                  <a:lnTo>
                    <a:pt x="1068" y="900"/>
                  </a:lnTo>
                  <a:lnTo>
                    <a:pt x="1074" y="912"/>
                  </a:lnTo>
                  <a:lnTo>
                    <a:pt x="1074" y="936"/>
                  </a:lnTo>
                  <a:lnTo>
                    <a:pt x="1068" y="942"/>
                  </a:lnTo>
                  <a:lnTo>
                    <a:pt x="1062" y="954"/>
                  </a:lnTo>
                  <a:lnTo>
                    <a:pt x="1056" y="978"/>
                  </a:lnTo>
                  <a:lnTo>
                    <a:pt x="1056" y="996"/>
                  </a:lnTo>
                  <a:lnTo>
                    <a:pt x="1068" y="990"/>
                  </a:lnTo>
                  <a:lnTo>
                    <a:pt x="1074" y="990"/>
                  </a:lnTo>
                  <a:lnTo>
                    <a:pt x="1074" y="1008"/>
                  </a:lnTo>
                  <a:lnTo>
                    <a:pt x="1080" y="1008"/>
                  </a:lnTo>
                  <a:lnTo>
                    <a:pt x="1092" y="1014"/>
                  </a:lnTo>
                  <a:lnTo>
                    <a:pt x="1110" y="1044"/>
                  </a:lnTo>
                  <a:lnTo>
                    <a:pt x="1110" y="1062"/>
                  </a:lnTo>
                  <a:lnTo>
                    <a:pt x="1128" y="1068"/>
                  </a:lnTo>
                  <a:lnTo>
                    <a:pt x="1128" y="1092"/>
                  </a:lnTo>
                  <a:lnTo>
                    <a:pt x="1134" y="1098"/>
                  </a:lnTo>
                  <a:lnTo>
                    <a:pt x="1158" y="1122"/>
                  </a:lnTo>
                  <a:lnTo>
                    <a:pt x="1188" y="1122"/>
                  </a:lnTo>
                  <a:lnTo>
                    <a:pt x="1188" y="1128"/>
                  </a:lnTo>
                  <a:lnTo>
                    <a:pt x="1200" y="1134"/>
                  </a:lnTo>
                  <a:lnTo>
                    <a:pt x="1206" y="1134"/>
                  </a:lnTo>
                  <a:lnTo>
                    <a:pt x="1206" y="1128"/>
                  </a:lnTo>
                  <a:lnTo>
                    <a:pt x="1212" y="1128"/>
                  </a:lnTo>
                  <a:lnTo>
                    <a:pt x="1218" y="1128"/>
                  </a:lnTo>
                  <a:lnTo>
                    <a:pt x="1224" y="1122"/>
                  </a:lnTo>
                  <a:lnTo>
                    <a:pt x="1224" y="1128"/>
                  </a:lnTo>
                  <a:lnTo>
                    <a:pt x="1230" y="1128"/>
                  </a:lnTo>
                  <a:lnTo>
                    <a:pt x="1236" y="1128"/>
                  </a:lnTo>
                  <a:lnTo>
                    <a:pt x="1236" y="1122"/>
                  </a:lnTo>
                  <a:lnTo>
                    <a:pt x="1242" y="1122"/>
                  </a:lnTo>
                  <a:lnTo>
                    <a:pt x="1248" y="1128"/>
                  </a:lnTo>
                  <a:lnTo>
                    <a:pt x="1254" y="1128"/>
                  </a:lnTo>
                  <a:lnTo>
                    <a:pt x="1260" y="1134"/>
                  </a:lnTo>
                  <a:lnTo>
                    <a:pt x="1260" y="1140"/>
                  </a:lnTo>
                  <a:lnTo>
                    <a:pt x="1266" y="1140"/>
                  </a:lnTo>
                  <a:lnTo>
                    <a:pt x="1272" y="1140"/>
                  </a:lnTo>
                  <a:lnTo>
                    <a:pt x="1278" y="1140"/>
                  </a:lnTo>
                  <a:lnTo>
                    <a:pt x="1284" y="1140"/>
                  </a:lnTo>
                  <a:lnTo>
                    <a:pt x="1290" y="1146"/>
                  </a:lnTo>
                  <a:lnTo>
                    <a:pt x="1290" y="1152"/>
                  </a:lnTo>
                  <a:lnTo>
                    <a:pt x="1296" y="1146"/>
                  </a:lnTo>
                  <a:lnTo>
                    <a:pt x="1296" y="1152"/>
                  </a:lnTo>
                  <a:lnTo>
                    <a:pt x="1308" y="1152"/>
                  </a:lnTo>
                  <a:lnTo>
                    <a:pt x="1314" y="1152"/>
                  </a:lnTo>
                  <a:lnTo>
                    <a:pt x="1320" y="1152"/>
                  </a:lnTo>
                  <a:lnTo>
                    <a:pt x="1332" y="1152"/>
                  </a:lnTo>
                  <a:lnTo>
                    <a:pt x="1338" y="1152"/>
                  </a:lnTo>
                  <a:lnTo>
                    <a:pt x="1344" y="1152"/>
                  </a:lnTo>
                  <a:lnTo>
                    <a:pt x="1344" y="1158"/>
                  </a:lnTo>
                  <a:lnTo>
                    <a:pt x="1350" y="1158"/>
                  </a:lnTo>
                  <a:lnTo>
                    <a:pt x="1356" y="1158"/>
                  </a:lnTo>
                  <a:lnTo>
                    <a:pt x="1362" y="1158"/>
                  </a:lnTo>
                  <a:lnTo>
                    <a:pt x="1368" y="1158"/>
                  </a:lnTo>
                  <a:lnTo>
                    <a:pt x="1374" y="1164"/>
                  </a:lnTo>
                  <a:lnTo>
                    <a:pt x="1380" y="1164"/>
                  </a:lnTo>
                  <a:lnTo>
                    <a:pt x="1386" y="1170"/>
                  </a:lnTo>
                  <a:lnTo>
                    <a:pt x="1392" y="1170"/>
                  </a:lnTo>
                  <a:lnTo>
                    <a:pt x="1398" y="1164"/>
                  </a:lnTo>
                  <a:lnTo>
                    <a:pt x="1404" y="1164"/>
                  </a:lnTo>
                  <a:lnTo>
                    <a:pt x="1410" y="1164"/>
                  </a:lnTo>
                  <a:lnTo>
                    <a:pt x="1416" y="1164"/>
                  </a:lnTo>
                  <a:lnTo>
                    <a:pt x="1416" y="1170"/>
                  </a:lnTo>
                  <a:lnTo>
                    <a:pt x="1422" y="1176"/>
                  </a:lnTo>
                  <a:lnTo>
                    <a:pt x="1416" y="1176"/>
                  </a:lnTo>
                  <a:lnTo>
                    <a:pt x="1416" y="1182"/>
                  </a:lnTo>
                  <a:lnTo>
                    <a:pt x="1410" y="1188"/>
                  </a:lnTo>
                  <a:lnTo>
                    <a:pt x="1404" y="1194"/>
                  </a:lnTo>
                  <a:lnTo>
                    <a:pt x="1404" y="1200"/>
                  </a:lnTo>
                  <a:lnTo>
                    <a:pt x="1404" y="1206"/>
                  </a:lnTo>
                  <a:lnTo>
                    <a:pt x="1398" y="1212"/>
                  </a:lnTo>
                  <a:lnTo>
                    <a:pt x="1398" y="1206"/>
                  </a:lnTo>
                  <a:lnTo>
                    <a:pt x="1392" y="1206"/>
                  </a:lnTo>
                  <a:lnTo>
                    <a:pt x="1386" y="1206"/>
                  </a:lnTo>
                  <a:lnTo>
                    <a:pt x="1380" y="1212"/>
                  </a:lnTo>
                  <a:lnTo>
                    <a:pt x="1374" y="1212"/>
                  </a:lnTo>
                  <a:lnTo>
                    <a:pt x="1368" y="1218"/>
                  </a:lnTo>
                  <a:lnTo>
                    <a:pt x="1362" y="1218"/>
                  </a:lnTo>
                  <a:lnTo>
                    <a:pt x="1362" y="1224"/>
                  </a:lnTo>
                  <a:lnTo>
                    <a:pt x="1356" y="1230"/>
                  </a:lnTo>
                  <a:lnTo>
                    <a:pt x="1350" y="1230"/>
                  </a:lnTo>
                  <a:lnTo>
                    <a:pt x="1344" y="1236"/>
                  </a:lnTo>
                  <a:lnTo>
                    <a:pt x="1338" y="1230"/>
                  </a:lnTo>
                  <a:lnTo>
                    <a:pt x="1332" y="1230"/>
                  </a:lnTo>
                  <a:lnTo>
                    <a:pt x="1326" y="1230"/>
                  </a:lnTo>
                  <a:lnTo>
                    <a:pt x="1320" y="1230"/>
                  </a:lnTo>
                  <a:lnTo>
                    <a:pt x="1314" y="1230"/>
                  </a:lnTo>
                  <a:lnTo>
                    <a:pt x="1296" y="1242"/>
                  </a:lnTo>
                  <a:lnTo>
                    <a:pt x="1296" y="1248"/>
                  </a:lnTo>
                  <a:lnTo>
                    <a:pt x="1290" y="1248"/>
                  </a:lnTo>
                  <a:lnTo>
                    <a:pt x="1290" y="1260"/>
                  </a:lnTo>
                  <a:lnTo>
                    <a:pt x="1278" y="1272"/>
                  </a:lnTo>
                  <a:lnTo>
                    <a:pt x="1278" y="1278"/>
                  </a:lnTo>
                  <a:lnTo>
                    <a:pt x="1278" y="1284"/>
                  </a:lnTo>
                  <a:lnTo>
                    <a:pt x="1278" y="1290"/>
                  </a:lnTo>
                  <a:lnTo>
                    <a:pt x="1284" y="1296"/>
                  </a:lnTo>
                  <a:lnTo>
                    <a:pt x="1302" y="1302"/>
                  </a:lnTo>
                  <a:lnTo>
                    <a:pt x="1308" y="1308"/>
                  </a:lnTo>
                  <a:lnTo>
                    <a:pt x="1308" y="1314"/>
                  </a:lnTo>
                  <a:lnTo>
                    <a:pt x="1302" y="1320"/>
                  </a:lnTo>
                  <a:lnTo>
                    <a:pt x="1278" y="1314"/>
                  </a:lnTo>
                  <a:lnTo>
                    <a:pt x="1266" y="1308"/>
                  </a:lnTo>
                  <a:lnTo>
                    <a:pt x="1260" y="1296"/>
                  </a:lnTo>
                  <a:lnTo>
                    <a:pt x="1236" y="1296"/>
                  </a:lnTo>
                  <a:lnTo>
                    <a:pt x="1224" y="1308"/>
                  </a:lnTo>
                  <a:lnTo>
                    <a:pt x="1218" y="1308"/>
                  </a:lnTo>
                  <a:lnTo>
                    <a:pt x="1218" y="1302"/>
                  </a:lnTo>
                  <a:lnTo>
                    <a:pt x="1212" y="1302"/>
                  </a:lnTo>
                  <a:lnTo>
                    <a:pt x="1206" y="1302"/>
                  </a:lnTo>
                  <a:lnTo>
                    <a:pt x="1170" y="1314"/>
                  </a:lnTo>
                  <a:lnTo>
                    <a:pt x="1134" y="1296"/>
                  </a:lnTo>
                  <a:lnTo>
                    <a:pt x="1122" y="1290"/>
                  </a:lnTo>
                  <a:lnTo>
                    <a:pt x="1104" y="1290"/>
                  </a:lnTo>
                  <a:lnTo>
                    <a:pt x="1098" y="1278"/>
                  </a:lnTo>
                  <a:lnTo>
                    <a:pt x="1092" y="1242"/>
                  </a:lnTo>
                  <a:lnTo>
                    <a:pt x="1086" y="1242"/>
                  </a:lnTo>
                  <a:lnTo>
                    <a:pt x="1086" y="1248"/>
                  </a:lnTo>
                  <a:lnTo>
                    <a:pt x="1086" y="1254"/>
                  </a:lnTo>
                  <a:lnTo>
                    <a:pt x="1080" y="1254"/>
                  </a:lnTo>
                  <a:lnTo>
                    <a:pt x="1080" y="1260"/>
                  </a:lnTo>
                  <a:lnTo>
                    <a:pt x="1074" y="1260"/>
                  </a:lnTo>
                  <a:lnTo>
                    <a:pt x="1068" y="1236"/>
                  </a:lnTo>
                  <a:lnTo>
                    <a:pt x="1068" y="1206"/>
                  </a:lnTo>
                  <a:lnTo>
                    <a:pt x="1080" y="1194"/>
                  </a:lnTo>
                  <a:lnTo>
                    <a:pt x="1086" y="1194"/>
                  </a:lnTo>
                  <a:lnTo>
                    <a:pt x="1092" y="1200"/>
                  </a:lnTo>
                  <a:lnTo>
                    <a:pt x="1098" y="1206"/>
                  </a:lnTo>
                  <a:lnTo>
                    <a:pt x="1104" y="1200"/>
                  </a:lnTo>
                  <a:lnTo>
                    <a:pt x="1104" y="1194"/>
                  </a:lnTo>
                  <a:lnTo>
                    <a:pt x="1110" y="1194"/>
                  </a:lnTo>
                  <a:lnTo>
                    <a:pt x="1110" y="1188"/>
                  </a:lnTo>
                  <a:lnTo>
                    <a:pt x="1116" y="1182"/>
                  </a:lnTo>
                  <a:lnTo>
                    <a:pt x="1110" y="1182"/>
                  </a:lnTo>
                  <a:lnTo>
                    <a:pt x="1110" y="1170"/>
                  </a:lnTo>
                  <a:lnTo>
                    <a:pt x="1110" y="1158"/>
                  </a:lnTo>
                  <a:lnTo>
                    <a:pt x="1110" y="1152"/>
                  </a:lnTo>
                  <a:lnTo>
                    <a:pt x="1104" y="1146"/>
                  </a:lnTo>
                  <a:lnTo>
                    <a:pt x="1098" y="1140"/>
                  </a:lnTo>
                  <a:lnTo>
                    <a:pt x="1098" y="1134"/>
                  </a:lnTo>
                  <a:lnTo>
                    <a:pt x="1098" y="1128"/>
                  </a:lnTo>
                  <a:lnTo>
                    <a:pt x="1092" y="1128"/>
                  </a:lnTo>
                  <a:lnTo>
                    <a:pt x="1092" y="1122"/>
                  </a:lnTo>
                  <a:lnTo>
                    <a:pt x="1092" y="1116"/>
                  </a:lnTo>
                  <a:lnTo>
                    <a:pt x="1092" y="1110"/>
                  </a:lnTo>
                  <a:lnTo>
                    <a:pt x="1056" y="1122"/>
                  </a:lnTo>
                  <a:lnTo>
                    <a:pt x="1038" y="1128"/>
                  </a:lnTo>
                  <a:lnTo>
                    <a:pt x="1032" y="1128"/>
                  </a:lnTo>
                  <a:lnTo>
                    <a:pt x="1026" y="1128"/>
                  </a:lnTo>
                  <a:lnTo>
                    <a:pt x="1020" y="1128"/>
                  </a:lnTo>
                  <a:lnTo>
                    <a:pt x="1014" y="1128"/>
                  </a:lnTo>
                  <a:lnTo>
                    <a:pt x="1014" y="1122"/>
                  </a:lnTo>
                  <a:lnTo>
                    <a:pt x="1008" y="1122"/>
                  </a:lnTo>
                  <a:lnTo>
                    <a:pt x="1002" y="1128"/>
                  </a:lnTo>
                  <a:lnTo>
                    <a:pt x="1002" y="1134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84" y="1140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66" y="1140"/>
                  </a:lnTo>
                  <a:lnTo>
                    <a:pt x="954" y="1140"/>
                  </a:lnTo>
                  <a:lnTo>
                    <a:pt x="954" y="1134"/>
                  </a:lnTo>
                  <a:lnTo>
                    <a:pt x="948" y="1134"/>
                  </a:lnTo>
                  <a:lnTo>
                    <a:pt x="942" y="1134"/>
                  </a:lnTo>
                  <a:lnTo>
                    <a:pt x="936" y="1134"/>
                  </a:lnTo>
                  <a:lnTo>
                    <a:pt x="930" y="1134"/>
                  </a:lnTo>
                  <a:lnTo>
                    <a:pt x="924" y="1134"/>
                  </a:lnTo>
                  <a:lnTo>
                    <a:pt x="918" y="1134"/>
                  </a:lnTo>
                  <a:lnTo>
                    <a:pt x="918" y="1128"/>
                  </a:lnTo>
                  <a:lnTo>
                    <a:pt x="918" y="1104"/>
                  </a:lnTo>
                  <a:lnTo>
                    <a:pt x="906" y="1104"/>
                  </a:lnTo>
                  <a:lnTo>
                    <a:pt x="900" y="1098"/>
                  </a:lnTo>
                  <a:lnTo>
                    <a:pt x="900" y="1092"/>
                  </a:lnTo>
                  <a:lnTo>
                    <a:pt x="900" y="1086"/>
                  </a:lnTo>
                  <a:lnTo>
                    <a:pt x="900" y="1080"/>
                  </a:lnTo>
                  <a:lnTo>
                    <a:pt x="894" y="1080"/>
                  </a:lnTo>
                  <a:lnTo>
                    <a:pt x="858" y="1074"/>
                  </a:lnTo>
                  <a:lnTo>
                    <a:pt x="852" y="1080"/>
                  </a:lnTo>
                  <a:lnTo>
                    <a:pt x="846" y="1086"/>
                  </a:lnTo>
                  <a:lnTo>
                    <a:pt x="840" y="1086"/>
                  </a:lnTo>
                  <a:lnTo>
                    <a:pt x="840" y="1092"/>
                  </a:lnTo>
                  <a:lnTo>
                    <a:pt x="834" y="1092"/>
                  </a:lnTo>
                  <a:lnTo>
                    <a:pt x="828" y="1098"/>
                  </a:lnTo>
                  <a:lnTo>
                    <a:pt x="822" y="1098"/>
                  </a:lnTo>
                  <a:lnTo>
                    <a:pt x="762" y="1074"/>
                  </a:lnTo>
                  <a:lnTo>
                    <a:pt x="756" y="1068"/>
                  </a:lnTo>
                  <a:lnTo>
                    <a:pt x="750" y="1068"/>
                  </a:lnTo>
                  <a:lnTo>
                    <a:pt x="744" y="1062"/>
                  </a:lnTo>
                  <a:lnTo>
                    <a:pt x="744" y="1068"/>
                  </a:lnTo>
                  <a:lnTo>
                    <a:pt x="744" y="1074"/>
                  </a:lnTo>
                  <a:lnTo>
                    <a:pt x="738" y="1074"/>
                  </a:lnTo>
                  <a:lnTo>
                    <a:pt x="738" y="1068"/>
                  </a:lnTo>
                  <a:lnTo>
                    <a:pt x="732" y="1068"/>
                  </a:lnTo>
                  <a:lnTo>
                    <a:pt x="726" y="1068"/>
                  </a:lnTo>
                  <a:lnTo>
                    <a:pt x="726" y="1074"/>
                  </a:lnTo>
                  <a:lnTo>
                    <a:pt x="720" y="1074"/>
                  </a:lnTo>
                  <a:lnTo>
                    <a:pt x="684" y="106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5" name="Freeform 40">
              <a:extLst>
                <a:ext uri="{FF2B5EF4-FFF2-40B4-BE49-F238E27FC236}">
                  <a16:creationId xmlns:a16="http://schemas.microsoft.com/office/drawing/2014/main" id="{37EC2F22-BDB9-4162-8FA4-08493F6898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3558" y="1520374"/>
              <a:ext cx="1057717" cy="1252440"/>
            </a:xfrm>
            <a:custGeom>
              <a:avLst/>
              <a:gdLst>
                <a:gd name="T0" fmla="*/ 98 w 1992"/>
                <a:gd name="T1" fmla="*/ 162 h 2358"/>
                <a:gd name="T2" fmla="*/ 93 w 1992"/>
                <a:gd name="T3" fmla="*/ 172 h 2358"/>
                <a:gd name="T4" fmla="*/ 82 w 1992"/>
                <a:gd name="T5" fmla="*/ 179 h 2358"/>
                <a:gd name="T6" fmla="*/ 70 w 1992"/>
                <a:gd name="T7" fmla="*/ 174 h 2358"/>
                <a:gd name="T8" fmla="*/ 62 w 1992"/>
                <a:gd name="T9" fmla="*/ 182 h 2358"/>
                <a:gd name="T10" fmla="*/ 45 w 1992"/>
                <a:gd name="T11" fmla="*/ 189 h 2358"/>
                <a:gd name="T12" fmla="*/ 24 w 1992"/>
                <a:gd name="T13" fmla="*/ 205 h 2358"/>
                <a:gd name="T14" fmla="*/ 17 w 1992"/>
                <a:gd name="T15" fmla="*/ 204 h 2358"/>
                <a:gd name="T16" fmla="*/ 7 w 1992"/>
                <a:gd name="T17" fmla="*/ 197 h 2358"/>
                <a:gd name="T18" fmla="*/ 1 w 1992"/>
                <a:gd name="T19" fmla="*/ 191 h 2358"/>
                <a:gd name="T20" fmla="*/ 4 w 1992"/>
                <a:gd name="T21" fmla="*/ 175 h 2358"/>
                <a:gd name="T22" fmla="*/ 7 w 1992"/>
                <a:gd name="T23" fmla="*/ 172 h 2358"/>
                <a:gd name="T24" fmla="*/ 11 w 1992"/>
                <a:gd name="T25" fmla="*/ 168 h 2358"/>
                <a:gd name="T26" fmla="*/ 5 w 1992"/>
                <a:gd name="T27" fmla="*/ 159 h 2358"/>
                <a:gd name="T28" fmla="*/ 10 w 1992"/>
                <a:gd name="T29" fmla="*/ 156 h 2358"/>
                <a:gd name="T30" fmla="*/ 15 w 1992"/>
                <a:gd name="T31" fmla="*/ 155 h 2358"/>
                <a:gd name="T32" fmla="*/ 24 w 1992"/>
                <a:gd name="T33" fmla="*/ 149 h 2358"/>
                <a:gd name="T34" fmla="*/ 38 w 1992"/>
                <a:gd name="T35" fmla="*/ 127 h 2358"/>
                <a:gd name="T36" fmla="*/ 38 w 1992"/>
                <a:gd name="T37" fmla="*/ 107 h 2358"/>
                <a:gd name="T38" fmla="*/ 45 w 1992"/>
                <a:gd name="T39" fmla="*/ 66 h 2358"/>
                <a:gd name="T40" fmla="*/ 47 w 1992"/>
                <a:gd name="T41" fmla="*/ 36 h 2358"/>
                <a:gd name="T42" fmla="*/ 51 w 1992"/>
                <a:gd name="T43" fmla="*/ 35 h 2358"/>
                <a:gd name="T44" fmla="*/ 55 w 1992"/>
                <a:gd name="T45" fmla="*/ 30 h 2358"/>
                <a:gd name="T46" fmla="*/ 56 w 1992"/>
                <a:gd name="T47" fmla="*/ 27 h 2358"/>
                <a:gd name="T48" fmla="*/ 60 w 1992"/>
                <a:gd name="T49" fmla="*/ 23 h 2358"/>
                <a:gd name="T50" fmla="*/ 63 w 1992"/>
                <a:gd name="T51" fmla="*/ 23 h 2358"/>
                <a:gd name="T52" fmla="*/ 70 w 1992"/>
                <a:gd name="T53" fmla="*/ 18 h 2358"/>
                <a:gd name="T54" fmla="*/ 71 w 1992"/>
                <a:gd name="T55" fmla="*/ 15 h 2358"/>
                <a:gd name="T56" fmla="*/ 72 w 1992"/>
                <a:gd name="T57" fmla="*/ 13 h 2358"/>
                <a:gd name="T58" fmla="*/ 77 w 1992"/>
                <a:gd name="T59" fmla="*/ 12 h 2358"/>
                <a:gd name="T60" fmla="*/ 83 w 1992"/>
                <a:gd name="T61" fmla="*/ 10 h 2358"/>
                <a:gd name="T62" fmla="*/ 87 w 1992"/>
                <a:gd name="T63" fmla="*/ 10 h 2358"/>
                <a:gd name="T64" fmla="*/ 89 w 1992"/>
                <a:gd name="T65" fmla="*/ 10 h 2358"/>
                <a:gd name="T66" fmla="*/ 93 w 1992"/>
                <a:gd name="T67" fmla="*/ 8 h 2358"/>
                <a:gd name="T68" fmla="*/ 95 w 1992"/>
                <a:gd name="T69" fmla="*/ 4 h 2358"/>
                <a:gd name="T70" fmla="*/ 99 w 1992"/>
                <a:gd name="T71" fmla="*/ 0 h 2358"/>
                <a:gd name="T72" fmla="*/ 111 w 1992"/>
                <a:gd name="T73" fmla="*/ 0 h 2358"/>
                <a:gd name="T74" fmla="*/ 121 w 1992"/>
                <a:gd name="T75" fmla="*/ 9 h 2358"/>
                <a:gd name="T76" fmla="*/ 128 w 1992"/>
                <a:gd name="T77" fmla="*/ 19 h 2358"/>
                <a:gd name="T78" fmla="*/ 138 w 1992"/>
                <a:gd name="T79" fmla="*/ 33 h 2358"/>
                <a:gd name="T80" fmla="*/ 142 w 1992"/>
                <a:gd name="T81" fmla="*/ 47 h 2358"/>
                <a:gd name="T82" fmla="*/ 145 w 1992"/>
                <a:gd name="T83" fmla="*/ 62 h 2358"/>
                <a:gd name="T84" fmla="*/ 145 w 1992"/>
                <a:gd name="T85" fmla="*/ 70 h 2358"/>
                <a:gd name="T86" fmla="*/ 147 w 1992"/>
                <a:gd name="T87" fmla="*/ 75 h 2358"/>
                <a:gd name="T88" fmla="*/ 153 w 1992"/>
                <a:gd name="T89" fmla="*/ 75 h 2358"/>
                <a:gd name="T90" fmla="*/ 160 w 1992"/>
                <a:gd name="T91" fmla="*/ 76 h 2358"/>
                <a:gd name="T92" fmla="*/ 164 w 1992"/>
                <a:gd name="T93" fmla="*/ 79 h 2358"/>
                <a:gd name="T94" fmla="*/ 168 w 1992"/>
                <a:gd name="T95" fmla="*/ 83 h 2358"/>
                <a:gd name="T96" fmla="*/ 172 w 1992"/>
                <a:gd name="T97" fmla="*/ 86 h 2358"/>
                <a:gd name="T98" fmla="*/ 170 w 1992"/>
                <a:gd name="T99" fmla="*/ 93 h 2358"/>
                <a:gd name="T100" fmla="*/ 170 w 1992"/>
                <a:gd name="T101" fmla="*/ 99 h 2358"/>
                <a:gd name="T102" fmla="*/ 169 w 1992"/>
                <a:gd name="T103" fmla="*/ 106 h 2358"/>
                <a:gd name="T104" fmla="*/ 166 w 1992"/>
                <a:gd name="T105" fmla="*/ 113 h 2358"/>
                <a:gd name="T106" fmla="*/ 170 w 1992"/>
                <a:gd name="T107" fmla="*/ 122 h 2358"/>
                <a:gd name="T108" fmla="*/ 159 w 1992"/>
                <a:gd name="T109" fmla="*/ 128 h 2358"/>
                <a:gd name="T110" fmla="*/ 148 w 1992"/>
                <a:gd name="T111" fmla="*/ 134 h 2358"/>
                <a:gd name="T112" fmla="*/ 139 w 1992"/>
                <a:gd name="T113" fmla="*/ 136 h 2358"/>
                <a:gd name="T114" fmla="*/ 132 w 1992"/>
                <a:gd name="T115" fmla="*/ 138 h 2358"/>
                <a:gd name="T116" fmla="*/ 128 w 1992"/>
                <a:gd name="T117" fmla="*/ 145 h 2358"/>
                <a:gd name="T118" fmla="*/ 124 w 1992"/>
                <a:gd name="T119" fmla="*/ 150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92"/>
                <a:gd name="T181" fmla="*/ 0 h 2358"/>
                <a:gd name="T182" fmla="*/ 1992 w 1992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92" h="2358">
                  <a:moveTo>
                    <a:pt x="1356" y="1782"/>
                  </a:moveTo>
                  <a:lnTo>
                    <a:pt x="1350" y="1788"/>
                  </a:lnTo>
                  <a:lnTo>
                    <a:pt x="1266" y="1788"/>
                  </a:lnTo>
                  <a:lnTo>
                    <a:pt x="1260" y="1800"/>
                  </a:lnTo>
                  <a:lnTo>
                    <a:pt x="1242" y="1806"/>
                  </a:lnTo>
                  <a:lnTo>
                    <a:pt x="1218" y="1812"/>
                  </a:lnTo>
                  <a:lnTo>
                    <a:pt x="1182" y="1812"/>
                  </a:lnTo>
                  <a:lnTo>
                    <a:pt x="1158" y="1806"/>
                  </a:lnTo>
                  <a:lnTo>
                    <a:pt x="1134" y="1800"/>
                  </a:lnTo>
                  <a:lnTo>
                    <a:pt x="1134" y="1806"/>
                  </a:lnTo>
                  <a:lnTo>
                    <a:pt x="1134" y="1830"/>
                  </a:lnTo>
                  <a:lnTo>
                    <a:pt x="1128" y="1842"/>
                  </a:lnTo>
                  <a:lnTo>
                    <a:pt x="1128" y="1854"/>
                  </a:lnTo>
                  <a:lnTo>
                    <a:pt x="1128" y="1860"/>
                  </a:lnTo>
                  <a:lnTo>
                    <a:pt x="1128" y="1866"/>
                  </a:lnTo>
                  <a:lnTo>
                    <a:pt x="1128" y="1872"/>
                  </a:lnTo>
                  <a:lnTo>
                    <a:pt x="1128" y="1884"/>
                  </a:lnTo>
                  <a:lnTo>
                    <a:pt x="1128" y="1890"/>
                  </a:lnTo>
                  <a:lnTo>
                    <a:pt x="1128" y="1896"/>
                  </a:lnTo>
                  <a:lnTo>
                    <a:pt x="1122" y="1902"/>
                  </a:lnTo>
                  <a:lnTo>
                    <a:pt x="1122" y="1920"/>
                  </a:lnTo>
                  <a:lnTo>
                    <a:pt x="1116" y="1920"/>
                  </a:lnTo>
                  <a:lnTo>
                    <a:pt x="1110" y="1926"/>
                  </a:lnTo>
                  <a:lnTo>
                    <a:pt x="1110" y="1932"/>
                  </a:lnTo>
                  <a:lnTo>
                    <a:pt x="1104" y="1938"/>
                  </a:lnTo>
                  <a:lnTo>
                    <a:pt x="1086" y="1962"/>
                  </a:lnTo>
                  <a:lnTo>
                    <a:pt x="1074" y="1974"/>
                  </a:lnTo>
                  <a:lnTo>
                    <a:pt x="1074" y="1980"/>
                  </a:lnTo>
                  <a:lnTo>
                    <a:pt x="1068" y="1986"/>
                  </a:lnTo>
                  <a:lnTo>
                    <a:pt x="1062" y="1998"/>
                  </a:lnTo>
                  <a:lnTo>
                    <a:pt x="1062" y="2004"/>
                  </a:lnTo>
                  <a:lnTo>
                    <a:pt x="1068" y="2004"/>
                  </a:lnTo>
                  <a:lnTo>
                    <a:pt x="1056" y="2034"/>
                  </a:lnTo>
                  <a:lnTo>
                    <a:pt x="1050" y="2076"/>
                  </a:lnTo>
                  <a:lnTo>
                    <a:pt x="1056" y="2100"/>
                  </a:lnTo>
                  <a:lnTo>
                    <a:pt x="1038" y="2106"/>
                  </a:lnTo>
                  <a:lnTo>
                    <a:pt x="1002" y="2106"/>
                  </a:lnTo>
                  <a:lnTo>
                    <a:pt x="978" y="2094"/>
                  </a:lnTo>
                  <a:lnTo>
                    <a:pt x="972" y="2082"/>
                  </a:lnTo>
                  <a:lnTo>
                    <a:pt x="966" y="2070"/>
                  </a:lnTo>
                  <a:lnTo>
                    <a:pt x="954" y="2064"/>
                  </a:lnTo>
                  <a:lnTo>
                    <a:pt x="942" y="2058"/>
                  </a:lnTo>
                  <a:lnTo>
                    <a:pt x="936" y="2058"/>
                  </a:lnTo>
                  <a:lnTo>
                    <a:pt x="918" y="2046"/>
                  </a:lnTo>
                  <a:lnTo>
                    <a:pt x="906" y="2028"/>
                  </a:lnTo>
                  <a:lnTo>
                    <a:pt x="900" y="2022"/>
                  </a:lnTo>
                  <a:lnTo>
                    <a:pt x="894" y="2022"/>
                  </a:lnTo>
                  <a:lnTo>
                    <a:pt x="882" y="2022"/>
                  </a:lnTo>
                  <a:lnTo>
                    <a:pt x="870" y="2016"/>
                  </a:lnTo>
                  <a:lnTo>
                    <a:pt x="864" y="2016"/>
                  </a:lnTo>
                  <a:lnTo>
                    <a:pt x="852" y="2010"/>
                  </a:lnTo>
                  <a:lnTo>
                    <a:pt x="846" y="2004"/>
                  </a:lnTo>
                  <a:lnTo>
                    <a:pt x="840" y="2004"/>
                  </a:lnTo>
                  <a:lnTo>
                    <a:pt x="828" y="1998"/>
                  </a:lnTo>
                  <a:lnTo>
                    <a:pt x="816" y="1998"/>
                  </a:lnTo>
                  <a:lnTo>
                    <a:pt x="810" y="1998"/>
                  </a:lnTo>
                  <a:lnTo>
                    <a:pt x="804" y="1998"/>
                  </a:lnTo>
                  <a:lnTo>
                    <a:pt x="798" y="1998"/>
                  </a:lnTo>
                  <a:lnTo>
                    <a:pt x="792" y="2004"/>
                  </a:lnTo>
                  <a:lnTo>
                    <a:pt x="786" y="2010"/>
                  </a:lnTo>
                  <a:lnTo>
                    <a:pt x="762" y="2010"/>
                  </a:lnTo>
                  <a:lnTo>
                    <a:pt x="756" y="2010"/>
                  </a:lnTo>
                  <a:lnTo>
                    <a:pt x="744" y="2022"/>
                  </a:lnTo>
                  <a:lnTo>
                    <a:pt x="738" y="2034"/>
                  </a:lnTo>
                  <a:lnTo>
                    <a:pt x="732" y="2040"/>
                  </a:lnTo>
                  <a:lnTo>
                    <a:pt x="732" y="2046"/>
                  </a:lnTo>
                  <a:lnTo>
                    <a:pt x="726" y="2058"/>
                  </a:lnTo>
                  <a:lnTo>
                    <a:pt x="720" y="2064"/>
                  </a:lnTo>
                  <a:lnTo>
                    <a:pt x="714" y="2070"/>
                  </a:lnTo>
                  <a:lnTo>
                    <a:pt x="708" y="2088"/>
                  </a:lnTo>
                  <a:lnTo>
                    <a:pt x="702" y="2100"/>
                  </a:lnTo>
                  <a:lnTo>
                    <a:pt x="690" y="2100"/>
                  </a:lnTo>
                  <a:lnTo>
                    <a:pt x="684" y="2094"/>
                  </a:lnTo>
                  <a:lnTo>
                    <a:pt x="666" y="2100"/>
                  </a:lnTo>
                  <a:lnTo>
                    <a:pt x="636" y="2106"/>
                  </a:lnTo>
                  <a:lnTo>
                    <a:pt x="636" y="2112"/>
                  </a:lnTo>
                  <a:lnTo>
                    <a:pt x="636" y="2118"/>
                  </a:lnTo>
                  <a:lnTo>
                    <a:pt x="636" y="2124"/>
                  </a:lnTo>
                  <a:lnTo>
                    <a:pt x="630" y="2124"/>
                  </a:lnTo>
                  <a:lnTo>
                    <a:pt x="630" y="2148"/>
                  </a:lnTo>
                  <a:lnTo>
                    <a:pt x="612" y="2160"/>
                  </a:lnTo>
                  <a:lnTo>
                    <a:pt x="576" y="2172"/>
                  </a:lnTo>
                  <a:lnTo>
                    <a:pt x="546" y="2172"/>
                  </a:lnTo>
                  <a:lnTo>
                    <a:pt x="516" y="2172"/>
                  </a:lnTo>
                  <a:lnTo>
                    <a:pt x="486" y="2172"/>
                  </a:lnTo>
                  <a:lnTo>
                    <a:pt x="462" y="2172"/>
                  </a:lnTo>
                  <a:lnTo>
                    <a:pt x="444" y="2196"/>
                  </a:lnTo>
                  <a:lnTo>
                    <a:pt x="432" y="2232"/>
                  </a:lnTo>
                  <a:lnTo>
                    <a:pt x="408" y="2238"/>
                  </a:lnTo>
                  <a:lnTo>
                    <a:pt x="390" y="2256"/>
                  </a:lnTo>
                  <a:lnTo>
                    <a:pt x="372" y="2274"/>
                  </a:lnTo>
                  <a:lnTo>
                    <a:pt x="360" y="2274"/>
                  </a:lnTo>
                  <a:lnTo>
                    <a:pt x="336" y="2328"/>
                  </a:lnTo>
                  <a:lnTo>
                    <a:pt x="324" y="2340"/>
                  </a:lnTo>
                  <a:lnTo>
                    <a:pt x="300" y="2346"/>
                  </a:lnTo>
                  <a:lnTo>
                    <a:pt x="294" y="2352"/>
                  </a:lnTo>
                  <a:lnTo>
                    <a:pt x="288" y="2352"/>
                  </a:lnTo>
                  <a:lnTo>
                    <a:pt x="282" y="2352"/>
                  </a:lnTo>
                  <a:lnTo>
                    <a:pt x="276" y="2352"/>
                  </a:lnTo>
                  <a:lnTo>
                    <a:pt x="270" y="2352"/>
                  </a:lnTo>
                  <a:lnTo>
                    <a:pt x="270" y="2346"/>
                  </a:lnTo>
                  <a:lnTo>
                    <a:pt x="264" y="2346"/>
                  </a:lnTo>
                  <a:lnTo>
                    <a:pt x="258" y="2352"/>
                  </a:lnTo>
                  <a:lnTo>
                    <a:pt x="252" y="2352"/>
                  </a:lnTo>
                  <a:lnTo>
                    <a:pt x="240" y="2352"/>
                  </a:lnTo>
                  <a:lnTo>
                    <a:pt x="228" y="2352"/>
                  </a:lnTo>
                  <a:lnTo>
                    <a:pt x="222" y="2352"/>
                  </a:lnTo>
                  <a:lnTo>
                    <a:pt x="216" y="2358"/>
                  </a:lnTo>
                  <a:lnTo>
                    <a:pt x="216" y="2352"/>
                  </a:lnTo>
                  <a:lnTo>
                    <a:pt x="210" y="2346"/>
                  </a:lnTo>
                  <a:lnTo>
                    <a:pt x="204" y="2346"/>
                  </a:lnTo>
                  <a:lnTo>
                    <a:pt x="198" y="2340"/>
                  </a:lnTo>
                  <a:lnTo>
                    <a:pt x="192" y="2340"/>
                  </a:lnTo>
                  <a:lnTo>
                    <a:pt x="186" y="2340"/>
                  </a:lnTo>
                  <a:lnTo>
                    <a:pt x="180" y="2340"/>
                  </a:lnTo>
                  <a:lnTo>
                    <a:pt x="174" y="2340"/>
                  </a:lnTo>
                  <a:lnTo>
                    <a:pt x="162" y="2328"/>
                  </a:lnTo>
                  <a:lnTo>
                    <a:pt x="156" y="2322"/>
                  </a:lnTo>
                  <a:lnTo>
                    <a:pt x="156" y="2316"/>
                  </a:lnTo>
                  <a:lnTo>
                    <a:pt x="156" y="2310"/>
                  </a:lnTo>
                  <a:lnTo>
                    <a:pt x="132" y="2286"/>
                  </a:lnTo>
                  <a:lnTo>
                    <a:pt x="120" y="2280"/>
                  </a:lnTo>
                  <a:lnTo>
                    <a:pt x="96" y="2274"/>
                  </a:lnTo>
                  <a:lnTo>
                    <a:pt x="84" y="2268"/>
                  </a:lnTo>
                  <a:lnTo>
                    <a:pt x="78" y="2268"/>
                  </a:lnTo>
                  <a:lnTo>
                    <a:pt x="78" y="2262"/>
                  </a:lnTo>
                  <a:lnTo>
                    <a:pt x="78" y="2256"/>
                  </a:lnTo>
                  <a:lnTo>
                    <a:pt x="78" y="2250"/>
                  </a:lnTo>
                  <a:lnTo>
                    <a:pt x="72" y="2250"/>
                  </a:lnTo>
                  <a:lnTo>
                    <a:pt x="66" y="2250"/>
                  </a:lnTo>
                  <a:lnTo>
                    <a:pt x="60" y="2250"/>
                  </a:lnTo>
                  <a:lnTo>
                    <a:pt x="48" y="2244"/>
                  </a:lnTo>
                  <a:lnTo>
                    <a:pt x="36" y="2238"/>
                  </a:lnTo>
                  <a:lnTo>
                    <a:pt x="36" y="2226"/>
                  </a:lnTo>
                  <a:lnTo>
                    <a:pt x="30" y="2226"/>
                  </a:lnTo>
                  <a:lnTo>
                    <a:pt x="30" y="2220"/>
                  </a:lnTo>
                  <a:lnTo>
                    <a:pt x="24" y="2208"/>
                  </a:lnTo>
                  <a:lnTo>
                    <a:pt x="18" y="2202"/>
                  </a:lnTo>
                  <a:lnTo>
                    <a:pt x="18" y="2196"/>
                  </a:lnTo>
                  <a:lnTo>
                    <a:pt x="12" y="2190"/>
                  </a:lnTo>
                  <a:lnTo>
                    <a:pt x="0" y="2190"/>
                  </a:lnTo>
                  <a:lnTo>
                    <a:pt x="6" y="2184"/>
                  </a:lnTo>
                  <a:lnTo>
                    <a:pt x="12" y="2178"/>
                  </a:lnTo>
                  <a:lnTo>
                    <a:pt x="18" y="2172"/>
                  </a:lnTo>
                  <a:lnTo>
                    <a:pt x="24" y="2166"/>
                  </a:lnTo>
                  <a:lnTo>
                    <a:pt x="30" y="2166"/>
                  </a:lnTo>
                  <a:lnTo>
                    <a:pt x="24" y="2160"/>
                  </a:lnTo>
                  <a:lnTo>
                    <a:pt x="30" y="2160"/>
                  </a:lnTo>
                  <a:lnTo>
                    <a:pt x="36" y="2154"/>
                  </a:lnTo>
                  <a:lnTo>
                    <a:pt x="36" y="2136"/>
                  </a:lnTo>
                  <a:lnTo>
                    <a:pt x="36" y="2118"/>
                  </a:lnTo>
                  <a:lnTo>
                    <a:pt x="48" y="2058"/>
                  </a:lnTo>
                  <a:lnTo>
                    <a:pt x="48" y="2022"/>
                  </a:lnTo>
                  <a:lnTo>
                    <a:pt x="48" y="2016"/>
                  </a:lnTo>
                  <a:lnTo>
                    <a:pt x="48" y="2010"/>
                  </a:lnTo>
                  <a:lnTo>
                    <a:pt x="48" y="2004"/>
                  </a:lnTo>
                  <a:lnTo>
                    <a:pt x="42" y="2004"/>
                  </a:lnTo>
                  <a:lnTo>
                    <a:pt x="42" y="1998"/>
                  </a:lnTo>
                  <a:lnTo>
                    <a:pt x="36" y="1992"/>
                  </a:lnTo>
                  <a:lnTo>
                    <a:pt x="42" y="1992"/>
                  </a:lnTo>
                  <a:lnTo>
                    <a:pt x="42" y="1986"/>
                  </a:lnTo>
                  <a:lnTo>
                    <a:pt x="48" y="1986"/>
                  </a:lnTo>
                  <a:lnTo>
                    <a:pt x="54" y="1986"/>
                  </a:lnTo>
                  <a:lnTo>
                    <a:pt x="60" y="1986"/>
                  </a:lnTo>
                  <a:lnTo>
                    <a:pt x="66" y="1980"/>
                  </a:lnTo>
                  <a:lnTo>
                    <a:pt x="72" y="1974"/>
                  </a:lnTo>
                  <a:lnTo>
                    <a:pt x="78" y="1974"/>
                  </a:lnTo>
                  <a:lnTo>
                    <a:pt x="84" y="1974"/>
                  </a:lnTo>
                  <a:lnTo>
                    <a:pt x="90" y="1974"/>
                  </a:lnTo>
                  <a:lnTo>
                    <a:pt x="96" y="1974"/>
                  </a:lnTo>
                  <a:lnTo>
                    <a:pt x="96" y="1968"/>
                  </a:lnTo>
                  <a:lnTo>
                    <a:pt x="102" y="1968"/>
                  </a:lnTo>
                  <a:lnTo>
                    <a:pt x="102" y="1962"/>
                  </a:lnTo>
                  <a:lnTo>
                    <a:pt x="108" y="1962"/>
                  </a:lnTo>
                  <a:lnTo>
                    <a:pt x="114" y="1956"/>
                  </a:lnTo>
                  <a:lnTo>
                    <a:pt x="120" y="1956"/>
                  </a:lnTo>
                  <a:lnTo>
                    <a:pt x="126" y="1950"/>
                  </a:lnTo>
                  <a:lnTo>
                    <a:pt x="132" y="1950"/>
                  </a:lnTo>
                  <a:lnTo>
                    <a:pt x="132" y="1944"/>
                  </a:lnTo>
                  <a:lnTo>
                    <a:pt x="126" y="1944"/>
                  </a:lnTo>
                  <a:lnTo>
                    <a:pt x="126" y="1938"/>
                  </a:lnTo>
                  <a:lnTo>
                    <a:pt x="126" y="1932"/>
                  </a:lnTo>
                  <a:lnTo>
                    <a:pt x="126" y="1926"/>
                  </a:lnTo>
                  <a:lnTo>
                    <a:pt x="114" y="1914"/>
                  </a:lnTo>
                  <a:lnTo>
                    <a:pt x="114" y="1896"/>
                  </a:lnTo>
                  <a:lnTo>
                    <a:pt x="108" y="1884"/>
                  </a:lnTo>
                  <a:lnTo>
                    <a:pt x="102" y="1872"/>
                  </a:lnTo>
                  <a:lnTo>
                    <a:pt x="96" y="1866"/>
                  </a:lnTo>
                  <a:lnTo>
                    <a:pt x="96" y="1860"/>
                  </a:lnTo>
                  <a:lnTo>
                    <a:pt x="90" y="1860"/>
                  </a:lnTo>
                  <a:lnTo>
                    <a:pt x="90" y="1854"/>
                  </a:lnTo>
                  <a:lnTo>
                    <a:pt x="84" y="1848"/>
                  </a:lnTo>
                  <a:lnTo>
                    <a:pt x="78" y="1842"/>
                  </a:lnTo>
                  <a:lnTo>
                    <a:pt x="72" y="1836"/>
                  </a:lnTo>
                  <a:lnTo>
                    <a:pt x="66" y="1830"/>
                  </a:lnTo>
                  <a:lnTo>
                    <a:pt x="60" y="1824"/>
                  </a:lnTo>
                  <a:lnTo>
                    <a:pt x="54" y="1824"/>
                  </a:lnTo>
                  <a:lnTo>
                    <a:pt x="48" y="1824"/>
                  </a:lnTo>
                  <a:lnTo>
                    <a:pt x="42" y="1818"/>
                  </a:lnTo>
                  <a:lnTo>
                    <a:pt x="54" y="1818"/>
                  </a:lnTo>
                  <a:lnTo>
                    <a:pt x="60" y="1812"/>
                  </a:lnTo>
                  <a:lnTo>
                    <a:pt x="66" y="1812"/>
                  </a:lnTo>
                  <a:lnTo>
                    <a:pt x="72" y="1812"/>
                  </a:lnTo>
                  <a:lnTo>
                    <a:pt x="78" y="1812"/>
                  </a:lnTo>
                  <a:lnTo>
                    <a:pt x="84" y="1812"/>
                  </a:lnTo>
                  <a:lnTo>
                    <a:pt x="90" y="1806"/>
                  </a:lnTo>
                  <a:lnTo>
                    <a:pt x="96" y="1800"/>
                  </a:lnTo>
                  <a:lnTo>
                    <a:pt x="102" y="1806"/>
                  </a:lnTo>
                  <a:lnTo>
                    <a:pt x="108" y="1800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26" y="1788"/>
                  </a:lnTo>
                  <a:lnTo>
                    <a:pt x="126" y="1794"/>
                  </a:lnTo>
                  <a:lnTo>
                    <a:pt x="132" y="1794"/>
                  </a:lnTo>
                  <a:lnTo>
                    <a:pt x="132" y="1788"/>
                  </a:lnTo>
                  <a:lnTo>
                    <a:pt x="138" y="1788"/>
                  </a:lnTo>
                  <a:lnTo>
                    <a:pt x="138" y="1782"/>
                  </a:lnTo>
                  <a:lnTo>
                    <a:pt x="144" y="1782"/>
                  </a:lnTo>
                  <a:lnTo>
                    <a:pt x="150" y="1776"/>
                  </a:lnTo>
                  <a:lnTo>
                    <a:pt x="156" y="1782"/>
                  </a:lnTo>
                  <a:lnTo>
                    <a:pt x="162" y="1776"/>
                  </a:lnTo>
                  <a:lnTo>
                    <a:pt x="168" y="1776"/>
                  </a:lnTo>
                  <a:lnTo>
                    <a:pt x="180" y="1776"/>
                  </a:lnTo>
                  <a:lnTo>
                    <a:pt x="186" y="1776"/>
                  </a:lnTo>
                  <a:lnTo>
                    <a:pt x="186" y="1782"/>
                  </a:lnTo>
                  <a:lnTo>
                    <a:pt x="192" y="1776"/>
                  </a:lnTo>
                  <a:lnTo>
                    <a:pt x="198" y="1776"/>
                  </a:lnTo>
                  <a:lnTo>
                    <a:pt x="204" y="1770"/>
                  </a:lnTo>
                  <a:lnTo>
                    <a:pt x="204" y="1764"/>
                  </a:lnTo>
                  <a:lnTo>
                    <a:pt x="210" y="1764"/>
                  </a:lnTo>
                  <a:lnTo>
                    <a:pt x="216" y="1764"/>
                  </a:lnTo>
                  <a:lnTo>
                    <a:pt x="216" y="1758"/>
                  </a:lnTo>
                  <a:lnTo>
                    <a:pt x="222" y="1758"/>
                  </a:lnTo>
                  <a:lnTo>
                    <a:pt x="228" y="1758"/>
                  </a:lnTo>
                  <a:lnTo>
                    <a:pt x="258" y="1746"/>
                  </a:lnTo>
                  <a:lnTo>
                    <a:pt x="282" y="1716"/>
                  </a:lnTo>
                  <a:lnTo>
                    <a:pt x="300" y="1698"/>
                  </a:lnTo>
                  <a:lnTo>
                    <a:pt x="312" y="1698"/>
                  </a:lnTo>
                  <a:lnTo>
                    <a:pt x="336" y="1698"/>
                  </a:lnTo>
                  <a:lnTo>
                    <a:pt x="360" y="1698"/>
                  </a:lnTo>
                  <a:lnTo>
                    <a:pt x="372" y="1692"/>
                  </a:lnTo>
                  <a:lnTo>
                    <a:pt x="384" y="1692"/>
                  </a:lnTo>
                  <a:lnTo>
                    <a:pt x="360" y="1668"/>
                  </a:lnTo>
                  <a:lnTo>
                    <a:pt x="348" y="1626"/>
                  </a:lnTo>
                  <a:lnTo>
                    <a:pt x="354" y="1578"/>
                  </a:lnTo>
                  <a:lnTo>
                    <a:pt x="354" y="1572"/>
                  </a:lnTo>
                  <a:lnTo>
                    <a:pt x="360" y="1572"/>
                  </a:lnTo>
                  <a:lnTo>
                    <a:pt x="396" y="1530"/>
                  </a:lnTo>
                  <a:lnTo>
                    <a:pt x="408" y="1482"/>
                  </a:lnTo>
                  <a:lnTo>
                    <a:pt x="438" y="1458"/>
                  </a:lnTo>
                  <a:lnTo>
                    <a:pt x="468" y="1422"/>
                  </a:lnTo>
                  <a:lnTo>
                    <a:pt x="480" y="1410"/>
                  </a:lnTo>
                  <a:lnTo>
                    <a:pt x="474" y="1386"/>
                  </a:lnTo>
                  <a:lnTo>
                    <a:pt x="456" y="1356"/>
                  </a:lnTo>
                  <a:lnTo>
                    <a:pt x="438" y="1350"/>
                  </a:lnTo>
                  <a:lnTo>
                    <a:pt x="420" y="1350"/>
                  </a:lnTo>
                  <a:lnTo>
                    <a:pt x="402" y="1350"/>
                  </a:lnTo>
                  <a:lnTo>
                    <a:pt x="390" y="1344"/>
                  </a:lnTo>
                  <a:lnTo>
                    <a:pt x="390" y="1332"/>
                  </a:lnTo>
                  <a:lnTo>
                    <a:pt x="402" y="1296"/>
                  </a:lnTo>
                  <a:lnTo>
                    <a:pt x="414" y="1260"/>
                  </a:lnTo>
                  <a:lnTo>
                    <a:pt x="426" y="1248"/>
                  </a:lnTo>
                  <a:lnTo>
                    <a:pt x="438" y="1242"/>
                  </a:lnTo>
                  <a:lnTo>
                    <a:pt x="432" y="1230"/>
                  </a:lnTo>
                  <a:lnTo>
                    <a:pt x="432" y="1224"/>
                  </a:lnTo>
                  <a:lnTo>
                    <a:pt x="426" y="1218"/>
                  </a:lnTo>
                  <a:lnTo>
                    <a:pt x="426" y="1206"/>
                  </a:lnTo>
                  <a:lnTo>
                    <a:pt x="426" y="1200"/>
                  </a:lnTo>
                  <a:lnTo>
                    <a:pt x="432" y="1194"/>
                  </a:lnTo>
                  <a:lnTo>
                    <a:pt x="426" y="1188"/>
                  </a:lnTo>
                  <a:lnTo>
                    <a:pt x="432" y="1104"/>
                  </a:lnTo>
                  <a:lnTo>
                    <a:pt x="438" y="1086"/>
                  </a:lnTo>
                  <a:lnTo>
                    <a:pt x="462" y="972"/>
                  </a:lnTo>
                  <a:lnTo>
                    <a:pt x="456" y="900"/>
                  </a:lnTo>
                  <a:lnTo>
                    <a:pt x="444" y="846"/>
                  </a:lnTo>
                  <a:lnTo>
                    <a:pt x="456" y="810"/>
                  </a:lnTo>
                  <a:lnTo>
                    <a:pt x="492" y="786"/>
                  </a:lnTo>
                  <a:lnTo>
                    <a:pt x="522" y="762"/>
                  </a:lnTo>
                  <a:lnTo>
                    <a:pt x="546" y="732"/>
                  </a:lnTo>
                  <a:lnTo>
                    <a:pt x="570" y="696"/>
                  </a:lnTo>
                  <a:lnTo>
                    <a:pt x="582" y="654"/>
                  </a:lnTo>
                  <a:lnTo>
                    <a:pt x="564" y="642"/>
                  </a:lnTo>
                  <a:lnTo>
                    <a:pt x="522" y="588"/>
                  </a:lnTo>
                  <a:lnTo>
                    <a:pt x="516" y="546"/>
                  </a:lnTo>
                  <a:lnTo>
                    <a:pt x="510" y="474"/>
                  </a:lnTo>
                  <a:lnTo>
                    <a:pt x="510" y="450"/>
                  </a:lnTo>
                  <a:lnTo>
                    <a:pt x="510" y="444"/>
                  </a:lnTo>
                  <a:lnTo>
                    <a:pt x="522" y="438"/>
                  </a:lnTo>
                  <a:lnTo>
                    <a:pt x="522" y="432"/>
                  </a:lnTo>
                  <a:lnTo>
                    <a:pt x="528" y="426"/>
                  </a:lnTo>
                  <a:lnTo>
                    <a:pt x="534" y="420"/>
                  </a:lnTo>
                  <a:lnTo>
                    <a:pt x="540" y="414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08"/>
                  </a:lnTo>
                  <a:lnTo>
                    <a:pt x="546" y="408"/>
                  </a:lnTo>
                  <a:lnTo>
                    <a:pt x="558" y="414"/>
                  </a:lnTo>
                  <a:lnTo>
                    <a:pt x="564" y="414"/>
                  </a:lnTo>
                  <a:lnTo>
                    <a:pt x="570" y="414"/>
                  </a:lnTo>
                  <a:lnTo>
                    <a:pt x="582" y="414"/>
                  </a:lnTo>
                  <a:lnTo>
                    <a:pt x="582" y="420"/>
                  </a:lnTo>
                  <a:lnTo>
                    <a:pt x="588" y="414"/>
                  </a:lnTo>
                  <a:lnTo>
                    <a:pt x="582" y="408"/>
                  </a:lnTo>
                  <a:lnTo>
                    <a:pt x="588" y="402"/>
                  </a:lnTo>
                  <a:lnTo>
                    <a:pt x="594" y="402"/>
                  </a:lnTo>
                  <a:lnTo>
                    <a:pt x="594" y="396"/>
                  </a:lnTo>
                  <a:lnTo>
                    <a:pt x="594" y="390"/>
                  </a:lnTo>
                  <a:lnTo>
                    <a:pt x="594" y="384"/>
                  </a:lnTo>
                  <a:lnTo>
                    <a:pt x="594" y="378"/>
                  </a:lnTo>
                  <a:lnTo>
                    <a:pt x="600" y="366"/>
                  </a:lnTo>
                  <a:lnTo>
                    <a:pt x="606" y="366"/>
                  </a:lnTo>
                  <a:lnTo>
                    <a:pt x="612" y="360"/>
                  </a:lnTo>
                  <a:lnTo>
                    <a:pt x="612" y="366"/>
                  </a:lnTo>
                  <a:lnTo>
                    <a:pt x="618" y="366"/>
                  </a:lnTo>
                  <a:lnTo>
                    <a:pt x="624" y="366"/>
                  </a:lnTo>
                  <a:lnTo>
                    <a:pt x="630" y="360"/>
                  </a:lnTo>
                  <a:lnTo>
                    <a:pt x="636" y="354"/>
                  </a:lnTo>
                  <a:lnTo>
                    <a:pt x="630" y="354"/>
                  </a:lnTo>
                  <a:lnTo>
                    <a:pt x="630" y="348"/>
                  </a:lnTo>
                  <a:lnTo>
                    <a:pt x="630" y="342"/>
                  </a:lnTo>
                  <a:lnTo>
                    <a:pt x="636" y="342"/>
                  </a:lnTo>
                  <a:lnTo>
                    <a:pt x="642" y="336"/>
                  </a:lnTo>
                  <a:lnTo>
                    <a:pt x="636" y="330"/>
                  </a:lnTo>
                  <a:lnTo>
                    <a:pt x="630" y="336"/>
                  </a:lnTo>
                  <a:lnTo>
                    <a:pt x="624" y="336"/>
                  </a:lnTo>
                  <a:lnTo>
                    <a:pt x="624" y="330"/>
                  </a:lnTo>
                  <a:lnTo>
                    <a:pt x="624" y="324"/>
                  </a:lnTo>
                  <a:lnTo>
                    <a:pt x="618" y="324"/>
                  </a:lnTo>
                  <a:lnTo>
                    <a:pt x="624" y="324"/>
                  </a:lnTo>
                  <a:lnTo>
                    <a:pt x="630" y="330"/>
                  </a:lnTo>
                  <a:lnTo>
                    <a:pt x="630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2" y="306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8" y="288"/>
                  </a:lnTo>
                  <a:lnTo>
                    <a:pt x="648" y="282"/>
                  </a:lnTo>
                  <a:lnTo>
                    <a:pt x="654" y="288"/>
                  </a:lnTo>
                  <a:lnTo>
                    <a:pt x="654" y="282"/>
                  </a:lnTo>
                  <a:lnTo>
                    <a:pt x="660" y="282"/>
                  </a:lnTo>
                  <a:lnTo>
                    <a:pt x="666" y="282"/>
                  </a:lnTo>
                  <a:lnTo>
                    <a:pt x="672" y="282"/>
                  </a:lnTo>
                  <a:lnTo>
                    <a:pt x="678" y="282"/>
                  </a:lnTo>
                  <a:lnTo>
                    <a:pt x="684" y="276"/>
                  </a:lnTo>
                  <a:lnTo>
                    <a:pt x="690" y="270"/>
                  </a:lnTo>
                  <a:lnTo>
                    <a:pt x="690" y="264"/>
                  </a:lnTo>
                  <a:lnTo>
                    <a:pt x="690" y="270"/>
                  </a:lnTo>
                  <a:lnTo>
                    <a:pt x="690" y="276"/>
                  </a:lnTo>
                  <a:lnTo>
                    <a:pt x="696" y="276"/>
                  </a:lnTo>
                  <a:lnTo>
                    <a:pt x="702" y="276"/>
                  </a:lnTo>
                  <a:lnTo>
                    <a:pt x="702" y="282"/>
                  </a:lnTo>
                  <a:lnTo>
                    <a:pt x="708" y="282"/>
                  </a:lnTo>
                  <a:lnTo>
                    <a:pt x="720" y="270"/>
                  </a:lnTo>
                  <a:lnTo>
                    <a:pt x="720" y="264"/>
                  </a:lnTo>
                  <a:lnTo>
                    <a:pt x="720" y="258"/>
                  </a:lnTo>
                  <a:lnTo>
                    <a:pt x="726" y="258"/>
                  </a:lnTo>
                  <a:lnTo>
                    <a:pt x="732" y="258"/>
                  </a:lnTo>
                  <a:lnTo>
                    <a:pt x="732" y="264"/>
                  </a:lnTo>
                  <a:lnTo>
                    <a:pt x="738" y="264"/>
                  </a:lnTo>
                  <a:lnTo>
                    <a:pt x="738" y="258"/>
                  </a:lnTo>
                  <a:lnTo>
                    <a:pt x="732" y="258"/>
                  </a:lnTo>
                  <a:lnTo>
                    <a:pt x="732" y="252"/>
                  </a:lnTo>
                  <a:lnTo>
                    <a:pt x="744" y="252"/>
                  </a:lnTo>
                  <a:lnTo>
                    <a:pt x="750" y="252"/>
                  </a:lnTo>
                  <a:lnTo>
                    <a:pt x="750" y="246"/>
                  </a:lnTo>
                  <a:lnTo>
                    <a:pt x="750" y="240"/>
                  </a:lnTo>
                  <a:lnTo>
                    <a:pt x="762" y="234"/>
                  </a:lnTo>
                  <a:lnTo>
                    <a:pt x="768" y="234"/>
                  </a:lnTo>
                  <a:lnTo>
                    <a:pt x="774" y="234"/>
                  </a:lnTo>
                  <a:lnTo>
                    <a:pt x="780" y="228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16"/>
                  </a:lnTo>
                  <a:lnTo>
                    <a:pt x="792" y="210"/>
                  </a:lnTo>
                  <a:lnTo>
                    <a:pt x="804" y="204"/>
                  </a:lnTo>
                  <a:lnTo>
                    <a:pt x="804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0" y="192"/>
                  </a:lnTo>
                  <a:lnTo>
                    <a:pt x="798" y="186"/>
                  </a:lnTo>
                  <a:lnTo>
                    <a:pt x="810" y="186"/>
                  </a:lnTo>
                  <a:lnTo>
                    <a:pt x="810" y="180"/>
                  </a:lnTo>
                  <a:lnTo>
                    <a:pt x="810" y="186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0" y="180"/>
                  </a:lnTo>
                  <a:lnTo>
                    <a:pt x="816" y="174"/>
                  </a:lnTo>
                  <a:lnTo>
                    <a:pt x="822" y="174"/>
                  </a:lnTo>
                  <a:lnTo>
                    <a:pt x="822" y="180"/>
                  </a:lnTo>
                  <a:lnTo>
                    <a:pt x="828" y="180"/>
                  </a:lnTo>
                  <a:lnTo>
                    <a:pt x="828" y="174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62"/>
                  </a:lnTo>
                  <a:lnTo>
                    <a:pt x="828" y="156"/>
                  </a:lnTo>
                  <a:lnTo>
                    <a:pt x="822" y="156"/>
                  </a:lnTo>
                  <a:lnTo>
                    <a:pt x="828" y="156"/>
                  </a:lnTo>
                  <a:lnTo>
                    <a:pt x="828" y="150"/>
                  </a:lnTo>
                  <a:lnTo>
                    <a:pt x="834" y="150"/>
                  </a:lnTo>
                  <a:lnTo>
                    <a:pt x="840" y="156"/>
                  </a:lnTo>
                  <a:lnTo>
                    <a:pt x="840" y="150"/>
                  </a:lnTo>
                  <a:lnTo>
                    <a:pt x="834" y="150"/>
                  </a:lnTo>
                  <a:lnTo>
                    <a:pt x="834" y="144"/>
                  </a:lnTo>
                  <a:lnTo>
                    <a:pt x="840" y="138"/>
                  </a:lnTo>
                  <a:lnTo>
                    <a:pt x="846" y="144"/>
                  </a:lnTo>
                  <a:lnTo>
                    <a:pt x="846" y="150"/>
                  </a:lnTo>
                  <a:lnTo>
                    <a:pt x="852" y="150"/>
                  </a:lnTo>
                  <a:lnTo>
                    <a:pt x="858" y="150"/>
                  </a:lnTo>
                  <a:lnTo>
                    <a:pt x="870" y="150"/>
                  </a:lnTo>
                  <a:lnTo>
                    <a:pt x="870" y="144"/>
                  </a:lnTo>
                  <a:lnTo>
                    <a:pt x="876" y="138"/>
                  </a:lnTo>
                  <a:lnTo>
                    <a:pt x="882" y="138"/>
                  </a:lnTo>
                  <a:lnTo>
                    <a:pt x="888" y="132"/>
                  </a:lnTo>
                  <a:lnTo>
                    <a:pt x="888" y="138"/>
                  </a:lnTo>
                  <a:lnTo>
                    <a:pt x="894" y="138"/>
                  </a:lnTo>
                  <a:lnTo>
                    <a:pt x="894" y="132"/>
                  </a:lnTo>
                  <a:lnTo>
                    <a:pt x="900" y="126"/>
                  </a:lnTo>
                  <a:lnTo>
                    <a:pt x="900" y="132"/>
                  </a:lnTo>
                  <a:lnTo>
                    <a:pt x="906" y="132"/>
                  </a:lnTo>
                  <a:lnTo>
                    <a:pt x="912" y="132"/>
                  </a:lnTo>
                  <a:lnTo>
                    <a:pt x="918" y="126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24" y="126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8" y="120"/>
                  </a:lnTo>
                  <a:lnTo>
                    <a:pt x="948" y="114"/>
                  </a:lnTo>
                  <a:lnTo>
                    <a:pt x="948" y="108"/>
                  </a:lnTo>
                  <a:lnTo>
                    <a:pt x="954" y="114"/>
                  </a:lnTo>
                  <a:lnTo>
                    <a:pt x="960" y="108"/>
                  </a:lnTo>
                  <a:lnTo>
                    <a:pt x="966" y="108"/>
                  </a:lnTo>
                  <a:lnTo>
                    <a:pt x="972" y="108"/>
                  </a:lnTo>
                  <a:lnTo>
                    <a:pt x="966" y="114"/>
                  </a:lnTo>
                  <a:lnTo>
                    <a:pt x="960" y="114"/>
                  </a:lnTo>
                  <a:lnTo>
                    <a:pt x="960" y="120"/>
                  </a:lnTo>
                  <a:lnTo>
                    <a:pt x="966" y="126"/>
                  </a:lnTo>
                  <a:lnTo>
                    <a:pt x="972" y="126"/>
                  </a:lnTo>
                  <a:lnTo>
                    <a:pt x="978" y="126"/>
                  </a:lnTo>
                  <a:lnTo>
                    <a:pt x="984" y="120"/>
                  </a:lnTo>
                  <a:lnTo>
                    <a:pt x="984" y="114"/>
                  </a:lnTo>
                  <a:lnTo>
                    <a:pt x="996" y="126"/>
                  </a:lnTo>
                  <a:lnTo>
                    <a:pt x="996" y="120"/>
                  </a:lnTo>
                  <a:lnTo>
                    <a:pt x="1002" y="120"/>
                  </a:lnTo>
                  <a:lnTo>
                    <a:pt x="996" y="114"/>
                  </a:lnTo>
                  <a:lnTo>
                    <a:pt x="1002" y="114"/>
                  </a:lnTo>
                  <a:lnTo>
                    <a:pt x="1008" y="114"/>
                  </a:lnTo>
                  <a:lnTo>
                    <a:pt x="1008" y="108"/>
                  </a:lnTo>
                  <a:lnTo>
                    <a:pt x="1014" y="108"/>
                  </a:lnTo>
                  <a:lnTo>
                    <a:pt x="1008" y="114"/>
                  </a:lnTo>
                  <a:lnTo>
                    <a:pt x="1008" y="120"/>
                  </a:lnTo>
                  <a:lnTo>
                    <a:pt x="1008" y="126"/>
                  </a:lnTo>
                  <a:lnTo>
                    <a:pt x="1014" y="126"/>
                  </a:lnTo>
                  <a:lnTo>
                    <a:pt x="1014" y="132"/>
                  </a:lnTo>
                  <a:lnTo>
                    <a:pt x="1020" y="132"/>
                  </a:lnTo>
                  <a:lnTo>
                    <a:pt x="1020" y="126"/>
                  </a:lnTo>
                  <a:lnTo>
                    <a:pt x="1020" y="120"/>
                  </a:lnTo>
                  <a:lnTo>
                    <a:pt x="1032" y="120"/>
                  </a:lnTo>
                  <a:lnTo>
                    <a:pt x="1038" y="120"/>
                  </a:lnTo>
                  <a:lnTo>
                    <a:pt x="1038" y="126"/>
                  </a:lnTo>
                  <a:lnTo>
                    <a:pt x="1044" y="132"/>
                  </a:lnTo>
                  <a:lnTo>
                    <a:pt x="1044" y="126"/>
                  </a:lnTo>
                  <a:lnTo>
                    <a:pt x="1050" y="120"/>
                  </a:lnTo>
                  <a:lnTo>
                    <a:pt x="1050" y="114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68" y="102"/>
                  </a:lnTo>
                  <a:lnTo>
                    <a:pt x="1074" y="96"/>
                  </a:lnTo>
                  <a:lnTo>
                    <a:pt x="1074" y="90"/>
                  </a:lnTo>
                  <a:lnTo>
                    <a:pt x="1068" y="90"/>
                  </a:lnTo>
                  <a:lnTo>
                    <a:pt x="1068" y="84"/>
                  </a:lnTo>
                  <a:lnTo>
                    <a:pt x="1080" y="84"/>
                  </a:lnTo>
                  <a:lnTo>
                    <a:pt x="1086" y="78"/>
                  </a:lnTo>
                  <a:lnTo>
                    <a:pt x="1086" y="72"/>
                  </a:lnTo>
                  <a:lnTo>
                    <a:pt x="1080" y="78"/>
                  </a:lnTo>
                  <a:lnTo>
                    <a:pt x="1080" y="72"/>
                  </a:lnTo>
                  <a:lnTo>
                    <a:pt x="1080" y="66"/>
                  </a:lnTo>
                  <a:lnTo>
                    <a:pt x="1074" y="66"/>
                  </a:lnTo>
                  <a:lnTo>
                    <a:pt x="1080" y="66"/>
                  </a:lnTo>
                  <a:lnTo>
                    <a:pt x="1080" y="60"/>
                  </a:lnTo>
                  <a:lnTo>
                    <a:pt x="1086" y="60"/>
                  </a:lnTo>
                  <a:lnTo>
                    <a:pt x="1086" y="54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2" y="42"/>
                  </a:lnTo>
                  <a:lnTo>
                    <a:pt x="1098" y="42"/>
                  </a:lnTo>
                  <a:lnTo>
                    <a:pt x="1104" y="36"/>
                  </a:lnTo>
                  <a:lnTo>
                    <a:pt x="1110" y="36"/>
                  </a:lnTo>
                  <a:lnTo>
                    <a:pt x="1110" y="30"/>
                  </a:lnTo>
                  <a:lnTo>
                    <a:pt x="1110" y="24"/>
                  </a:lnTo>
                  <a:lnTo>
                    <a:pt x="1116" y="24"/>
                  </a:lnTo>
                  <a:lnTo>
                    <a:pt x="1116" y="18"/>
                  </a:lnTo>
                  <a:lnTo>
                    <a:pt x="1122" y="18"/>
                  </a:lnTo>
                  <a:lnTo>
                    <a:pt x="1128" y="18"/>
                  </a:lnTo>
                  <a:lnTo>
                    <a:pt x="1134" y="12"/>
                  </a:lnTo>
                  <a:lnTo>
                    <a:pt x="1134" y="6"/>
                  </a:lnTo>
                  <a:lnTo>
                    <a:pt x="1140" y="6"/>
                  </a:lnTo>
                  <a:lnTo>
                    <a:pt x="1146" y="0"/>
                  </a:lnTo>
                  <a:lnTo>
                    <a:pt x="1152" y="0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70" y="0"/>
                  </a:lnTo>
                  <a:lnTo>
                    <a:pt x="1176" y="6"/>
                  </a:lnTo>
                  <a:lnTo>
                    <a:pt x="1182" y="6"/>
                  </a:lnTo>
                  <a:lnTo>
                    <a:pt x="1194" y="6"/>
                  </a:lnTo>
                  <a:lnTo>
                    <a:pt x="1200" y="6"/>
                  </a:lnTo>
                  <a:lnTo>
                    <a:pt x="1212" y="0"/>
                  </a:lnTo>
                  <a:lnTo>
                    <a:pt x="1212" y="6"/>
                  </a:lnTo>
                  <a:lnTo>
                    <a:pt x="1218" y="6"/>
                  </a:lnTo>
                  <a:lnTo>
                    <a:pt x="1266" y="6"/>
                  </a:lnTo>
                  <a:lnTo>
                    <a:pt x="1272" y="0"/>
                  </a:lnTo>
                  <a:lnTo>
                    <a:pt x="1278" y="6"/>
                  </a:lnTo>
                  <a:lnTo>
                    <a:pt x="1290" y="6"/>
                  </a:lnTo>
                  <a:lnTo>
                    <a:pt x="1296" y="6"/>
                  </a:lnTo>
                  <a:lnTo>
                    <a:pt x="1308" y="6"/>
                  </a:lnTo>
                  <a:lnTo>
                    <a:pt x="1314" y="6"/>
                  </a:lnTo>
                  <a:lnTo>
                    <a:pt x="1320" y="6"/>
                  </a:lnTo>
                  <a:lnTo>
                    <a:pt x="1326" y="12"/>
                  </a:lnTo>
                  <a:lnTo>
                    <a:pt x="1338" y="30"/>
                  </a:lnTo>
                  <a:lnTo>
                    <a:pt x="1344" y="36"/>
                  </a:lnTo>
                  <a:lnTo>
                    <a:pt x="1356" y="48"/>
                  </a:lnTo>
                  <a:lnTo>
                    <a:pt x="1362" y="60"/>
                  </a:lnTo>
                  <a:lnTo>
                    <a:pt x="1368" y="66"/>
                  </a:lnTo>
                  <a:lnTo>
                    <a:pt x="1374" y="72"/>
                  </a:lnTo>
                  <a:lnTo>
                    <a:pt x="1374" y="78"/>
                  </a:lnTo>
                  <a:lnTo>
                    <a:pt x="1398" y="108"/>
                  </a:lnTo>
                  <a:lnTo>
                    <a:pt x="1398" y="114"/>
                  </a:lnTo>
                  <a:lnTo>
                    <a:pt x="1404" y="114"/>
                  </a:lnTo>
                  <a:lnTo>
                    <a:pt x="1404" y="120"/>
                  </a:lnTo>
                  <a:lnTo>
                    <a:pt x="1410" y="132"/>
                  </a:lnTo>
                  <a:lnTo>
                    <a:pt x="1416" y="132"/>
                  </a:lnTo>
                  <a:lnTo>
                    <a:pt x="1416" y="138"/>
                  </a:lnTo>
                  <a:lnTo>
                    <a:pt x="1422" y="144"/>
                  </a:lnTo>
                  <a:lnTo>
                    <a:pt x="1428" y="150"/>
                  </a:lnTo>
                  <a:lnTo>
                    <a:pt x="1428" y="156"/>
                  </a:lnTo>
                  <a:lnTo>
                    <a:pt x="1458" y="192"/>
                  </a:lnTo>
                  <a:lnTo>
                    <a:pt x="1458" y="198"/>
                  </a:lnTo>
                  <a:lnTo>
                    <a:pt x="1464" y="204"/>
                  </a:lnTo>
                  <a:lnTo>
                    <a:pt x="1470" y="210"/>
                  </a:lnTo>
                  <a:lnTo>
                    <a:pt x="1476" y="216"/>
                  </a:lnTo>
                  <a:lnTo>
                    <a:pt x="1482" y="228"/>
                  </a:lnTo>
                  <a:lnTo>
                    <a:pt x="1488" y="234"/>
                  </a:lnTo>
                  <a:lnTo>
                    <a:pt x="1512" y="270"/>
                  </a:lnTo>
                  <a:lnTo>
                    <a:pt x="1512" y="276"/>
                  </a:lnTo>
                  <a:lnTo>
                    <a:pt x="1530" y="300"/>
                  </a:lnTo>
                  <a:lnTo>
                    <a:pt x="1536" y="306"/>
                  </a:lnTo>
                  <a:lnTo>
                    <a:pt x="1542" y="312"/>
                  </a:lnTo>
                  <a:lnTo>
                    <a:pt x="1542" y="318"/>
                  </a:lnTo>
                  <a:lnTo>
                    <a:pt x="1560" y="336"/>
                  </a:lnTo>
                  <a:lnTo>
                    <a:pt x="1566" y="348"/>
                  </a:lnTo>
                  <a:lnTo>
                    <a:pt x="1572" y="354"/>
                  </a:lnTo>
                  <a:lnTo>
                    <a:pt x="1578" y="360"/>
                  </a:lnTo>
                  <a:lnTo>
                    <a:pt x="1584" y="378"/>
                  </a:lnTo>
                  <a:lnTo>
                    <a:pt x="1590" y="378"/>
                  </a:lnTo>
                  <a:lnTo>
                    <a:pt x="1596" y="390"/>
                  </a:lnTo>
                  <a:lnTo>
                    <a:pt x="1602" y="396"/>
                  </a:lnTo>
                  <a:lnTo>
                    <a:pt x="1608" y="408"/>
                  </a:lnTo>
                  <a:lnTo>
                    <a:pt x="1614" y="408"/>
                  </a:lnTo>
                  <a:lnTo>
                    <a:pt x="1614" y="432"/>
                  </a:lnTo>
                  <a:lnTo>
                    <a:pt x="1620" y="438"/>
                  </a:lnTo>
                  <a:lnTo>
                    <a:pt x="1620" y="450"/>
                  </a:lnTo>
                  <a:lnTo>
                    <a:pt x="1620" y="462"/>
                  </a:lnTo>
                  <a:lnTo>
                    <a:pt x="1626" y="474"/>
                  </a:lnTo>
                  <a:lnTo>
                    <a:pt x="1626" y="480"/>
                  </a:lnTo>
                  <a:lnTo>
                    <a:pt x="1626" y="486"/>
                  </a:lnTo>
                  <a:lnTo>
                    <a:pt x="1632" y="522"/>
                  </a:lnTo>
                  <a:lnTo>
                    <a:pt x="1632" y="528"/>
                  </a:lnTo>
                  <a:lnTo>
                    <a:pt x="1632" y="534"/>
                  </a:lnTo>
                  <a:lnTo>
                    <a:pt x="1638" y="540"/>
                  </a:lnTo>
                  <a:lnTo>
                    <a:pt x="1638" y="558"/>
                  </a:lnTo>
                  <a:lnTo>
                    <a:pt x="1638" y="570"/>
                  </a:lnTo>
                  <a:lnTo>
                    <a:pt x="1644" y="582"/>
                  </a:lnTo>
                  <a:lnTo>
                    <a:pt x="1650" y="618"/>
                  </a:lnTo>
                  <a:lnTo>
                    <a:pt x="1650" y="624"/>
                  </a:lnTo>
                  <a:lnTo>
                    <a:pt x="1650" y="636"/>
                  </a:lnTo>
                  <a:lnTo>
                    <a:pt x="1656" y="642"/>
                  </a:lnTo>
                  <a:lnTo>
                    <a:pt x="1656" y="648"/>
                  </a:lnTo>
                  <a:lnTo>
                    <a:pt x="1656" y="654"/>
                  </a:lnTo>
                  <a:lnTo>
                    <a:pt x="1656" y="660"/>
                  </a:lnTo>
                  <a:lnTo>
                    <a:pt x="1662" y="696"/>
                  </a:lnTo>
                  <a:lnTo>
                    <a:pt x="1668" y="708"/>
                  </a:lnTo>
                  <a:lnTo>
                    <a:pt x="1668" y="714"/>
                  </a:lnTo>
                  <a:lnTo>
                    <a:pt x="1668" y="732"/>
                  </a:lnTo>
                  <a:lnTo>
                    <a:pt x="1668" y="744"/>
                  </a:lnTo>
                  <a:lnTo>
                    <a:pt x="1674" y="756"/>
                  </a:lnTo>
                  <a:lnTo>
                    <a:pt x="1680" y="762"/>
                  </a:lnTo>
                  <a:lnTo>
                    <a:pt x="1680" y="768"/>
                  </a:lnTo>
                  <a:lnTo>
                    <a:pt x="1680" y="774"/>
                  </a:lnTo>
                  <a:lnTo>
                    <a:pt x="1680" y="780"/>
                  </a:lnTo>
                  <a:lnTo>
                    <a:pt x="1674" y="786"/>
                  </a:lnTo>
                  <a:lnTo>
                    <a:pt x="1668" y="792"/>
                  </a:lnTo>
                  <a:lnTo>
                    <a:pt x="1668" y="798"/>
                  </a:lnTo>
                  <a:lnTo>
                    <a:pt x="1668" y="804"/>
                  </a:lnTo>
                  <a:lnTo>
                    <a:pt x="1674" y="804"/>
                  </a:lnTo>
                  <a:lnTo>
                    <a:pt x="1668" y="810"/>
                  </a:lnTo>
                  <a:lnTo>
                    <a:pt x="1674" y="810"/>
                  </a:lnTo>
                  <a:lnTo>
                    <a:pt x="1680" y="810"/>
                  </a:lnTo>
                  <a:lnTo>
                    <a:pt x="1680" y="816"/>
                  </a:lnTo>
                  <a:lnTo>
                    <a:pt x="1680" y="822"/>
                  </a:lnTo>
                  <a:lnTo>
                    <a:pt x="1674" y="822"/>
                  </a:lnTo>
                  <a:lnTo>
                    <a:pt x="1674" y="828"/>
                  </a:lnTo>
                  <a:lnTo>
                    <a:pt x="1668" y="828"/>
                  </a:lnTo>
                  <a:lnTo>
                    <a:pt x="1674" y="834"/>
                  </a:lnTo>
                  <a:lnTo>
                    <a:pt x="1668" y="834"/>
                  </a:lnTo>
                  <a:lnTo>
                    <a:pt x="1668" y="840"/>
                  </a:lnTo>
                  <a:lnTo>
                    <a:pt x="1674" y="840"/>
                  </a:lnTo>
                  <a:lnTo>
                    <a:pt x="1686" y="852"/>
                  </a:lnTo>
                  <a:lnTo>
                    <a:pt x="1692" y="858"/>
                  </a:lnTo>
                  <a:lnTo>
                    <a:pt x="1698" y="858"/>
                  </a:lnTo>
                  <a:lnTo>
                    <a:pt x="1698" y="864"/>
                  </a:lnTo>
                  <a:lnTo>
                    <a:pt x="1698" y="870"/>
                  </a:lnTo>
                  <a:lnTo>
                    <a:pt x="1704" y="864"/>
                  </a:lnTo>
                  <a:lnTo>
                    <a:pt x="1716" y="864"/>
                  </a:lnTo>
                  <a:lnTo>
                    <a:pt x="1722" y="864"/>
                  </a:lnTo>
                  <a:lnTo>
                    <a:pt x="1728" y="864"/>
                  </a:lnTo>
                  <a:lnTo>
                    <a:pt x="1734" y="864"/>
                  </a:lnTo>
                  <a:lnTo>
                    <a:pt x="1740" y="864"/>
                  </a:lnTo>
                  <a:lnTo>
                    <a:pt x="1746" y="876"/>
                  </a:lnTo>
                  <a:lnTo>
                    <a:pt x="1746" y="870"/>
                  </a:lnTo>
                  <a:lnTo>
                    <a:pt x="1740" y="864"/>
                  </a:lnTo>
                  <a:lnTo>
                    <a:pt x="1746" y="864"/>
                  </a:lnTo>
                  <a:lnTo>
                    <a:pt x="1752" y="870"/>
                  </a:lnTo>
                  <a:lnTo>
                    <a:pt x="1758" y="864"/>
                  </a:lnTo>
                  <a:lnTo>
                    <a:pt x="1764" y="864"/>
                  </a:lnTo>
                  <a:lnTo>
                    <a:pt x="1770" y="858"/>
                  </a:lnTo>
                  <a:lnTo>
                    <a:pt x="1782" y="864"/>
                  </a:lnTo>
                  <a:lnTo>
                    <a:pt x="1782" y="870"/>
                  </a:lnTo>
                  <a:lnTo>
                    <a:pt x="1788" y="864"/>
                  </a:lnTo>
                  <a:lnTo>
                    <a:pt x="1794" y="864"/>
                  </a:lnTo>
                  <a:lnTo>
                    <a:pt x="1800" y="870"/>
                  </a:lnTo>
                  <a:lnTo>
                    <a:pt x="1818" y="864"/>
                  </a:lnTo>
                  <a:lnTo>
                    <a:pt x="1824" y="870"/>
                  </a:lnTo>
                  <a:lnTo>
                    <a:pt x="1830" y="864"/>
                  </a:lnTo>
                  <a:lnTo>
                    <a:pt x="1836" y="864"/>
                  </a:lnTo>
                  <a:lnTo>
                    <a:pt x="1842" y="870"/>
                  </a:lnTo>
                  <a:lnTo>
                    <a:pt x="1842" y="876"/>
                  </a:lnTo>
                  <a:lnTo>
                    <a:pt x="1848" y="876"/>
                  </a:lnTo>
                  <a:lnTo>
                    <a:pt x="1848" y="870"/>
                  </a:lnTo>
                  <a:lnTo>
                    <a:pt x="1854" y="870"/>
                  </a:lnTo>
                  <a:lnTo>
                    <a:pt x="1860" y="870"/>
                  </a:lnTo>
                  <a:lnTo>
                    <a:pt x="1860" y="876"/>
                  </a:lnTo>
                  <a:lnTo>
                    <a:pt x="1866" y="876"/>
                  </a:lnTo>
                  <a:lnTo>
                    <a:pt x="1866" y="882"/>
                  </a:lnTo>
                  <a:lnTo>
                    <a:pt x="1872" y="882"/>
                  </a:lnTo>
                  <a:lnTo>
                    <a:pt x="1878" y="888"/>
                  </a:lnTo>
                  <a:lnTo>
                    <a:pt x="1890" y="888"/>
                  </a:lnTo>
                  <a:lnTo>
                    <a:pt x="1890" y="894"/>
                  </a:lnTo>
                  <a:lnTo>
                    <a:pt x="1890" y="900"/>
                  </a:lnTo>
                  <a:lnTo>
                    <a:pt x="1884" y="900"/>
                  </a:lnTo>
                  <a:lnTo>
                    <a:pt x="1884" y="906"/>
                  </a:lnTo>
                  <a:lnTo>
                    <a:pt x="1884" y="912"/>
                  </a:lnTo>
                  <a:lnTo>
                    <a:pt x="1890" y="912"/>
                  </a:lnTo>
                  <a:lnTo>
                    <a:pt x="1896" y="912"/>
                  </a:lnTo>
                  <a:lnTo>
                    <a:pt x="1902" y="912"/>
                  </a:lnTo>
                  <a:lnTo>
                    <a:pt x="1908" y="918"/>
                  </a:lnTo>
                  <a:lnTo>
                    <a:pt x="1908" y="924"/>
                  </a:lnTo>
                  <a:lnTo>
                    <a:pt x="1908" y="930"/>
                  </a:lnTo>
                  <a:lnTo>
                    <a:pt x="1908" y="936"/>
                  </a:lnTo>
                  <a:lnTo>
                    <a:pt x="1914" y="936"/>
                  </a:lnTo>
                  <a:lnTo>
                    <a:pt x="1914" y="942"/>
                  </a:lnTo>
                  <a:lnTo>
                    <a:pt x="1908" y="948"/>
                  </a:lnTo>
                  <a:lnTo>
                    <a:pt x="1914" y="948"/>
                  </a:lnTo>
                  <a:lnTo>
                    <a:pt x="1920" y="954"/>
                  </a:lnTo>
                  <a:lnTo>
                    <a:pt x="1926" y="954"/>
                  </a:lnTo>
                  <a:lnTo>
                    <a:pt x="1932" y="954"/>
                  </a:lnTo>
                  <a:lnTo>
                    <a:pt x="1938" y="954"/>
                  </a:lnTo>
                  <a:lnTo>
                    <a:pt x="1938" y="960"/>
                  </a:lnTo>
                  <a:lnTo>
                    <a:pt x="1944" y="966"/>
                  </a:lnTo>
                  <a:lnTo>
                    <a:pt x="1944" y="972"/>
                  </a:lnTo>
                  <a:lnTo>
                    <a:pt x="1944" y="978"/>
                  </a:lnTo>
                  <a:lnTo>
                    <a:pt x="1950" y="978"/>
                  </a:lnTo>
                  <a:lnTo>
                    <a:pt x="1950" y="984"/>
                  </a:lnTo>
                  <a:lnTo>
                    <a:pt x="1956" y="984"/>
                  </a:lnTo>
                  <a:lnTo>
                    <a:pt x="1962" y="984"/>
                  </a:lnTo>
                  <a:lnTo>
                    <a:pt x="1962" y="978"/>
                  </a:lnTo>
                  <a:lnTo>
                    <a:pt x="1968" y="978"/>
                  </a:lnTo>
                  <a:lnTo>
                    <a:pt x="1974" y="978"/>
                  </a:lnTo>
                  <a:lnTo>
                    <a:pt x="1980" y="972"/>
                  </a:lnTo>
                  <a:lnTo>
                    <a:pt x="1980" y="978"/>
                  </a:lnTo>
                  <a:lnTo>
                    <a:pt x="1980" y="984"/>
                  </a:lnTo>
                  <a:lnTo>
                    <a:pt x="1986" y="984"/>
                  </a:lnTo>
                  <a:lnTo>
                    <a:pt x="1992" y="990"/>
                  </a:lnTo>
                  <a:lnTo>
                    <a:pt x="1992" y="996"/>
                  </a:lnTo>
                  <a:lnTo>
                    <a:pt x="1992" y="1002"/>
                  </a:lnTo>
                  <a:lnTo>
                    <a:pt x="1974" y="1008"/>
                  </a:lnTo>
                  <a:lnTo>
                    <a:pt x="1974" y="1014"/>
                  </a:lnTo>
                  <a:lnTo>
                    <a:pt x="1974" y="1020"/>
                  </a:lnTo>
                  <a:lnTo>
                    <a:pt x="1974" y="1026"/>
                  </a:lnTo>
                  <a:lnTo>
                    <a:pt x="1968" y="1038"/>
                  </a:lnTo>
                  <a:lnTo>
                    <a:pt x="1968" y="1044"/>
                  </a:lnTo>
                  <a:lnTo>
                    <a:pt x="1974" y="1056"/>
                  </a:lnTo>
                  <a:lnTo>
                    <a:pt x="1968" y="1062"/>
                  </a:lnTo>
                  <a:lnTo>
                    <a:pt x="1962" y="1062"/>
                  </a:lnTo>
                  <a:lnTo>
                    <a:pt x="1956" y="1068"/>
                  </a:lnTo>
                  <a:lnTo>
                    <a:pt x="1956" y="1074"/>
                  </a:lnTo>
                  <a:lnTo>
                    <a:pt x="1956" y="1080"/>
                  </a:lnTo>
                  <a:lnTo>
                    <a:pt x="1956" y="1086"/>
                  </a:lnTo>
                  <a:lnTo>
                    <a:pt x="1956" y="1092"/>
                  </a:lnTo>
                  <a:lnTo>
                    <a:pt x="1962" y="1092"/>
                  </a:lnTo>
                  <a:lnTo>
                    <a:pt x="1962" y="1104"/>
                  </a:lnTo>
                  <a:lnTo>
                    <a:pt x="1968" y="1110"/>
                  </a:lnTo>
                  <a:lnTo>
                    <a:pt x="1968" y="1116"/>
                  </a:lnTo>
                  <a:lnTo>
                    <a:pt x="1974" y="1116"/>
                  </a:lnTo>
                  <a:lnTo>
                    <a:pt x="1974" y="1122"/>
                  </a:lnTo>
                  <a:lnTo>
                    <a:pt x="1980" y="1122"/>
                  </a:lnTo>
                  <a:lnTo>
                    <a:pt x="1974" y="1128"/>
                  </a:lnTo>
                  <a:lnTo>
                    <a:pt x="1968" y="1134"/>
                  </a:lnTo>
                  <a:lnTo>
                    <a:pt x="1962" y="1140"/>
                  </a:lnTo>
                  <a:lnTo>
                    <a:pt x="1962" y="1146"/>
                  </a:lnTo>
                  <a:lnTo>
                    <a:pt x="1968" y="1152"/>
                  </a:lnTo>
                  <a:lnTo>
                    <a:pt x="1968" y="1158"/>
                  </a:lnTo>
                  <a:lnTo>
                    <a:pt x="1962" y="1158"/>
                  </a:lnTo>
                  <a:lnTo>
                    <a:pt x="1962" y="1164"/>
                  </a:lnTo>
                  <a:lnTo>
                    <a:pt x="1956" y="1164"/>
                  </a:lnTo>
                  <a:lnTo>
                    <a:pt x="1956" y="1170"/>
                  </a:lnTo>
                  <a:lnTo>
                    <a:pt x="1944" y="1182"/>
                  </a:lnTo>
                  <a:lnTo>
                    <a:pt x="1944" y="1188"/>
                  </a:lnTo>
                  <a:lnTo>
                    <a:pt x="1950" y="1188"/>
                  </a:lnTo>
                  <a:lnTo>
                    <a:pt x="1944" y="1200"/>
                  </a:lnTo>
                  <a:lnTo>
                    <a:pt x="1944" y="1206"/>
                  </a:lnTo>
                  <a:lnTo>
                    <a:pt x="1944" y="1212"/>
                  </a:lnTo>
                  <a:lnTo>
                    <a:pt x="1944" y="1218"/>
                  </a:lnTo>
                  <a:lnTo>
                    <a:pt x="1944" y="1230"/>
                  </a:lnTo>
                  <a:lnTo>
                    <a:pt x="1944" y="1236"/>
                  </a:lnTo>
                  <a:lnTo>
                    <a:pt x="1944" y="1242"/>
                  </a:lnTo>
                  <a:lnTo>
                    <a:pt x="1938" y="1248"/>
                  </a:lnTo>
                  <a:lnTo>
                    <a:pt x="1938" y="1254"/>
                  </a:lnTo>
                  <a:lnTo>
                    <a:pt x="1932" y="1254"/>
                  </a:lnTo>
                  <a:lnTo>
                    <a:pt x="1926" y="1260"/>
                  </a:lnTo>
                  <a:lnTo>
                    <a:pt x="1920" y="1266"/>
                  </a:lnTo>
                  <a:lnTo>
                    <a:pt x="1914" y="1272"/>
                  </a:lnTo>
                  <a:lnTo>
                    <a:pt x="1908" y="1272"/>
                  </a:lnTo>
                  <a:lnTo>
                    <a:pt x="1908" y="1278"/>
                  </a:lnTo>
                  <a:lnTo>
                    <a:pt x="1914" y="1278"/>
                  </a:lnTo>
                  <a:lnTo>
                    <a:pt x="1914" y="1290"/>
                  </a:lnTo>
                  <a:lnTo>
                    <a:pt x="1920" y="1296"/>
                  </a:lnTo>
                  <a:lnTo>
                    <a:pt x="1938" y="1302"/>
                  </a:lnTo>
                  <a:lnTo>
                    <a:pt x="1944" y="1308"/>
                  </a:lnTo>
                  <a:lnTo>
                    <a:pt x="1950" y="1314"/>
                  </a:lnTo>
                  <a:lnTo>
                    <a:pt x="1956" y="1314"/>
                  </a:lnTo>
                  <a:lnTo>
                    <a:pt x="1962" y="1320"/>
                  </a:lnTo>
                  <a:lnTo>
                    <a:pt x="1962" y="1326"/>
                  </a:lnTo>
                  <a:lnTo>
                    <a:pt x="1968" y="1326"/>
                  </a:lnTo>
                  <a:lnTo>
                    <a:pt x="1968" y="1332"/>
                  </a:lnTo>
                  <a:lnTo>
                    <a:pt x="1968" y="1344"/>
                  </a:lnTo>
                  <a:lnTo>
                    <a:pt x="1968" y="1350"/>
                  </a:lnTo>
                  <a:lnTo>
                    <a:pt x="1968" y="1368"/>
                  </a:lnTo>
                  <a:lnTo>
                    <a:pt x="1962" y="1380"/>
                  </a:lnTo>
                  <a:lnTo>
                    <a:pt x="1968" y="1392"/>
                  </a:lnTo>
                  <a:lnTo>
                    <a:pt x="1962" y="1398"/>
                  </a:lnTo>
                  <a:lnTo>
                    <a:pt x="1956" y="1404"/>
                  </a:lnTo>
                  <a:lnTo>
                    <a:pt x="1950" y="1410"/>
                  </a:lnTo>
                  <a:lnTo>
                    <a:pt x="1944" y="1410"/>
                  </a:lnTo>
                  <a:lnTo>
                    <a:pt x="1932" y="1416"/>
                  </a:lnTo>
                  <a:lnTo>
                    <a:pt x="1926" y="1416"/>
                  </a:lnTo>
                  <a:lnTo>
                    <a:pt x="1896" y="1428"/>
                  </a:lnTo>
                  <a:lnTo>
                    <a:pt x="1884" y="1434"/>
                  </a:lnTo>
                  <a:lnTo>
                    <a:pt x="1878" y="1434"/>
                  </a:lnTo>
                  <a:lnTo>
                    <a:pt x="1866" y="1434"/>
                  </a:lnTo>
                  <a:lnTo>
                    <a:pt x="1854" y="1440"/>
                  </a:lnTo>
                  <a:lnTo>
                    <a:pt x="1848" y="1440"/>
                  </a:lnTo>
                  <a:lnTo>
                    <a:pt x="1842" y="1446"/>
                  </a:lnTo>
                  <a:lnTo>
                    <a:pt x="1842" y="1458"/>
                  </a:lnTo>
                  <a:lnTo>
                    <a:pt x="1836" y="1470"/>
                  </a:lnTo>
                  <a:lnTo>
                    <a:pt x="1830" y="1476"/>
                  </a:lnTo>
                  <a:lnTo>
                    <a:pt x="1824" y="1476"/>
                  </a:lnTo>
                  <a:lnTo>
                    <a:pt x="1806" y="1482"/>
                  </a:lnTo>
                  <a:lnTo>
                    <a:pt x="1800" y="1488"/>
                  </a:lnTo>
                  <a:lnTo>
                    <a:pt x="1794" y="1488"/>
                  </a:lnTo>
                  <a:lnTo>
                    <a:pt x="1788" y="1488"/>
                  </a:lnTo>
                  <a:lnTo>
                    <a:pt x="1776" y="1494"/>
                  </a:lnTo>
                  <a:lnTo>
                    <a:pt x="1764" y="1494"/>
                  </a:lnTo>
                  <a:lnTo>
                    <a:pt x="1758" y="1500"/>
                  </a:lnTo>
                  <a:lnTo>
                    <a:pt x="1746" y="1506"/>
                  </a:lnTo>
                  <a:lnTo>
                    <a:pt x="1728" y="1518"/>
                  </a:lnTo>
                  <a:lnTo>
                    <a:pt x="1716" y="1524"/>
                  </a:lnTo>
                  <a:lnTo>
                    <a:pt x="1710" y="1530"/>
                  </a:lnTo>
                  <a:lnTo>
                    <a:pt x="1704" y="1536"/>
                  </a:lnTo>
                  <a:lnTo>
                    <a:pt x="1698" y="1542"/>
                  </a:lnTo>
                  <a:lnTo>
                    <a:pt x="1692" y="1554"/>
                  </a:lnTo>
                  <a:lnTo>
                    <a:pt x="1686" y="1560"/>
                  </a:lnTo>
                  <a:lnTo>
                    <a:pt x="1680" y="1560"/>
                  </a:lnTo>
                  <a:lnTo>
                    <a:pt x="1674" y="1560"/>
                  </a:lnTo>
                  <a:lnTo>
                    <a:pt x="1656" y="1572"/>
                  </a:lnTo>
                  <a:lnTo>
                    <a:pt x="1650" y="1572"/>
                  </a:lnTo>
                  <a:lnTo>
                    <a:pt x="1644" y="1572"/>
                  </a:lnTo>
                  <a:lnTo>
                    <a:pt x="1638" y="1578"/>
                  </a:lnTo>
                  <a:lnTo>
                    <a:pt x="1632" y="1578"/>
                  </a:lnTo>
                  <a:lnTo>
                    <a:pt x="1626" y="1578"/>
                  </a:lnTo>
                  <a:lnTo>
                    <a:pt x="1620" y="1572"/>
                  </a:lnTo>
                  <a:lnTo>
                    <a:pt x="1614" y="1572"/>
                  </a:lnTo>
                  <a:lnTo>
                    <a:pt x="1608" y="1566"/>
                  </a:lnTo>
                  <a:lnTo>
                    <a:pt x="1602" y="1560"/>
                  </a:lnTo>
                  <a:lnTo>
                    <a:pt x="1596" y="1554"/>
                  </a:lnTo>
                  <a:lnTo>
                    <a:pt x="1590" y="1548"/>
                  </a:lnTo>
                  <a:lnTo>
                    <a:pt x="1578" y="1548"/>
                  </a:lnTo>
                  <a:lnTo>
                    <a:pt x="1572" y="1548"/>
                  </a:lnTo>
                  <a:lnTo>
                    <a:pt x="1566" y="1548"/>
                  </a:lnTo>
                  <a:lnTo>
                    <a:pt x="1554" y="1536"/>
                  </a:lnTo>
                  <a:lnTo>
                    <a:pt x="1548" y="1536"/>
                  </a:lnTo>
                  <a:lnTo>
                    <a:pt x="1542" y="1542"/>
                  </a:lnTo>
                  <a:lnTo>
                    <a:pt x="1536" y="1548"/>
                  </a:lnTo>
                  <a:lnTo>
                    <a:pt x="1536" y="1566"/>
                  </a:lnTo>
                  <a:lnTo>
                    <a:pt x="1530" y="1572"/>
                  </a:lnTo>
                  <a:lnTo>
                    <a:pt x="1524" y="1578"/>
                  </a:lnTo>
                  <a:lnTo>
                    <a:pt x="1518" y="1584"/>
                  </a:lnTo>
                  <a:lnTo>
                    <a:pt x="1512" y="1596"/>
                  </a:lnTo>
                  <a:lnTo>
                    <a:pt x="1506" y="1602"/>
                  </a:lnTo>
                  <a:lnTo>
                    <a:pt x="1506" y="1608"/>
                  </a:lnTo>
                  <a:lnTo>
                    <a:pt x="1506" y="1614"/>
                  </a:lnTo>
                  <a:lnTo>
                    <a:pt x="1500" y="1614"/>
                  </a:lnTo>
                  <a:lnTo>
                    <a:pt x="1500" y="1620"/>
                  </a:lnTo>
                  <a:lnTo>
                    <a:pt x="1500" y="1626"/>
                  </a:lnTo>
                  <a:lnTo>
                    <a:pt x="1494" y="1632"/>
                  </a:lnTo>
                  <a:lnTo>
                    <a:pt x="1488" y="1638"/>
                  </a:lnTo>
                  <a:lnTo>
                    <a:pt x="1482" y="1638"/>
                  </a:lnTo>
                  <a:lnTo>
                    <a:pt x="1482" y="1644"/>
                  </a:lnTo>
                  <a:lnTo>
                    <a:pt x="1482" y="1650"/>
                  </a:lnTo>
                  <a:lnTo>
                    <a:pt x="1482" y="1656"/>
                  </a:lnTo>
                  <a:lnTo>
                    <a:pt x="1476" y="1662"/>
                  </a:lnTo>
                  <a:lnTo>
                    <a:pt x="1470" y="1668"/>
                  </a:lnTo>
                  <a:lnTo>
                    <a:pt x="1464" y="1674"/>
                  </a:lnTo>
                  <a:lnTo>
                    <a:pt x="1464" y="1680"/>
                  </a:lnTo>
                  <a:lnTo>
                    <a:pt x="1458" y="1680"/>
                  </a:lnTo>
                  <a:lnTo>
                    <a:pt x="1452" y="1686"/>
                  </a:lnTo>
                  <a:lnTo>
                    <a:pt x="1446" y="1686"/>
                  </a:lnTo>
                  <a:lnTo>
                    <a:pt x="1440" y="1698"/>
                  </a:lnTo>
                  <a:lnTo>
                    <a:pt x="1440" y="1704"/>
                  </a:lnTo>
                  <a:lnTo>
                    <a:pt x="1434" y="1710"/>
                  </a:lnTo>
                  <a:lnTo>
                    <a:pt x="1434" y="1716"/>
                  </a:lnTo>
                  <a:lnTo>
                    <a:pt x="1428" y="1716"/>
                  </a:lnTo>
                  <a:lnTo>
                    <a:pt x="1428" y="1722"/>
                  </a:lnTo>
                  <a:lnTo>
                    <a:pt x="1428" y="1728"/>
                  </a:lnTo>
                  <a:lnTo>
                    <a:pt x="1422" y="1728"/>
                  </a:lnTo>
                  <a:lnTo>
                    <a:pt x="1422" y="1734"/>
                  </a:lnTo>
                  <a:lnTo>
                    <a:pt x="1416" y="1734"/>
                  </a:lnTo>
                  <a:lnTo>
                    <a:pt x="1410" y="1734"/>
                  </a:lnTo>
                  <a:lnTo>
                    <a:pt x="1392" y="1746"/>
                  </a:lnTo>
                  <a:lnTo>
                    <a:pt x="1386" y="1746"/>
                  </a:lnTo>
                  <a:lnTo>
                    <a:pt x="1368" y="1752"/>
                  </a:lnTo>
                  <a:lnTo>
                    <a:pt x="1362" y="1758"/>
                  </a:lnTo>
                  <a:lnTo>
                    <a:pt x="1362" y="1770"/>
                  </a:lnTo>
                  <a:lnTo>
                    <a:pt x="1356" y="178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graphicFrame>
        <p:nvGraphicFramePr>
          <p:cNvPr id="357" name="Group 76">
            <a:extLst>
              <a:ext uri="{FF2B5EF4-FFF2-40B4-BE49-F238E27FC236}">
                <a16:creationId xmlns:a16="http://schemas.microsoft.com/office/drawing/2014/main" id="{57830D68-CF73-4A3E-9D36-141B03AADBF7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41338" y="3402013"/>
          <a:ext cx="3735387" cy="1827306"/>
        </p:xfrm>
        <a:graphic>
          <a:graphicData uri="http://schemas.openxmlformats.org/drawingml/2006/table">
            <a:tbl>
              <a:tblPr/>
              <a:tblGrid>
                <a:gridCol w="1316931">
                  <a:extLst>
                    <a:ext uri="{9D8B030D-6E8A-4147-A177-3AD203B41FA5}">
                      <a16:colId xmlns:a16="http://schemas.microsoft.com/office/drawing/2014/main" val="2027704273"/>
                    </a:ext>
                  </a:extLst>
                </a:gridCol>
                <a:gridCol w="603796">
                  <a:extLst>
                    <a:ext uri="{9D8B030D-6E8A-4147-A177-3AD203B41FA5}">
                      <a16:colId xmlns:a16="http://schemas.microsoft.com/office/drawing/2014/main" val="3432768286"/>
                    </a:ext>
                  </a:extLst>
                </a:gridCol>
                <a:gridCol w="744015">
                  <a:extLst>
                    <a:ext uri="{9D8B030D-6E8A-4147-A177-3AD203B41FA5}">
                      <a16:colId xmlns:a16="http://schemas.microsoft.com/office/drawing/2014/main" val="3730294207"/>
                    </a:ext>
                  </a:extLst>
                </a:gridCol>
                <a:gridCol w="1070645">
                  <a:extLst>
                    <a:ext uri="{9D8B030D-6E8A-4147-A177-3AD203B41FA5}">
                      <a16:colId xmlns:a16="http://schemas.microsoft.com/office/drawing/2014/main" val="2258321117"/>
                    </a:ext>
                  </a:extLst>
                </a:gridCol>
              </a:tblGrid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apital</a:t>
                      </a:r>
                      <a:endParaRPr kumimoji="0" lang="en-SG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292929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SG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Kano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703009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nd Are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0,280 km</a:t>
                      </a:r>
                      <a:r>
                        <a:rPr kumimoji="0" lang="en-US" altLang="en-US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20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603614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Population (2017E)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3,007,402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1 of 37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505851"/>
                  </a:ext>
                </a:extLst>
              </a:tr>
              <a:tr h="203024">
                <a:tc row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Dem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0-14: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6,118,801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46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130093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5-64: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6,501,601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51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387564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65+: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+mn-cs"/>
                        </a:rPr>
                        <a:t>   387,000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[3%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38801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bour force 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3,713,679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4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797882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limate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ropical savanna, hot semi-arid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3942226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op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oamy, sandy and cla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32899"/>
                  </a:ext>
                </a:extLst>
              </a:tr>
            </a:tbl>
          </a:graphicData>
        </a:graphic>
      </p:graphicFrame>
      <p:pic>
        <p:nvPicPr>
          <p:cNvPr id="23609" name="Picture 13">
            <a:extLst>
              <a:ext uri="{FF2B5EF4-FFF2-40B4-BE49-F238E27FC236}">
                <a16:creationId xmlns:a16="http://schemas.microsoft.com/office/drawing/2014/main" id="{952964D5-F0ED-4CAE-B71C-DB4A723FA5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0" y="3006725"/>
            <a:ext cx="1116013" cy="155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9" name="TextBox 378">
            <a:extLst>
              <a:ext uri="{FF2B5EF4-FFF2-40B4-BE49-F238E27FC236}">
                <a16:creationId xmlns:a16="http://schemas.microsoft.com/office/drawing/2014/main" id="{1B3FD4BF-4685-4C74-821F-10048D6246BF}"/>
              </a:ext>
            </a:extLst>
          </p:cNvPr>
          <p:cNvSpPr txBox="1"/>
          <p:nvPr/>
        </p:nvSpPr>
        <p:spPr>
          <a:xfrm>
            <a:off x="6124575" y="957263"/>
            <a:ext cx="3475038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Competitive Advantages</a:t>
            </a: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455FE7A1-ADE5-4F7B-A489-00196671A53E}"/>
              </a:ext>
            </a:extLst>
          </p:cNvPr>
          <p:cNvSpPr/>
          <p:nvPr/>
        </p:nvSpPr>
        <p:spPr>
          <a:xfrm>
            <a:off x="4267248" y="1187511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dbl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N</a:t>
            </a:r>
            <a:r>
              <a:rPr kumimoji="0" lang="en-US" sz="1600" b="0" i="0" u="none" strike="no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42.4bn/$139m</a:t>
            </a:r>
            <a:endParaRPr kumimoji="0" lang="en-MY" sz="1600" b="0" i="0" u="none" strike="noStrike" kern="1200" cap="none" spc="-15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EBB25788-D073-4A78-9D6C-DF3836CFFFBB}"/>
              </a:ext>
            </a:extLst>
          </p:cNvPr>
          <p:cNvSpPr txBox="1"/>
          <p:nvPr/>
        </p:nvSpPr>
        <p:spPr>
          <a:xfrm>
            <a:off x="4267200" y="955675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IGR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 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(2017)</a:t>
            </a: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6F07DF39-553B-44F0-8864-1F897C2BD79A}"/>
              </a:ext>
            </a:extLst>
          </p:cNvPr>
          <p:cNvSpPr/>
          <p:nvPr/>
        </p:nvSpPr>
        <p:spPr>
          <a:xfrm>
            <a:off x="4267252" y="1809750"/>
            <a:ext cx="1811819" cy="246221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dbl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N</a:t>
            </a:r>
            <a:r>
              <a:rPr kumimoji="0" lang="en-US" sz="1600" b="0" i="0" u="none" strike="no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246bn/$</a:t>
            </a:r>
            <a:r>
              <a:rPr lang="en-US" sz="1600" spc="-150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 pitchFamily="34" charset="0"/>
                <a:cs typeface="Arial" charset="0"/>
              </a:rPr>
              <a:t>806.6</a:t>
            </a:r>
            <a:r>
              <a:rPr kumimoji="0" lang="en-US" sz="1600" b="0" i="0" u="none" strike="noStrike" kern="1200" cap="none" spc="-15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bn</a:t>
            </a:r>
            <a:endParaRPr kumimoji="0" lang="en-MY" sz="1600" b="0" i="0" u="none" strike="noStrike" kern="1200" cap="none" spc="-15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2508695A-2D2C-45A3-80FE-9C2CB18200C2}"/>
              </a:ext>
            </a:extLst>
          </p:cNvPr>
          <p:cNvSpPr txBox="1"/>
          <p:nvPr/>
        </p:nvSpPr>
        <p:spPr>
          <a:xfrm>
            <a:off x="4267200" y="1576388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Budget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 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(2018)</a:t>
            </a: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86A33ABE-3AE3-40A7-A6A6-1B757A6A9B0F}"/>
              </a:ext>
            </a:extLst>
          </p:cNvPr>
          <p:cNvSpPr/>
          <p:nvPr/>
        </p:nvSpPr>
        <p:spPr>
          <a:xfrm>
            <a:off x="4256076" y="2667155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dbl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N</a:t>
            </a:r>
            <a:r>
              <a:rPr kumimoji="0" lang="en-US" sz="1600" b="0" i="0" u="none" strike="no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3.1trn /$10.4bn</a:t>
            </a:r>
            <a:endParaRPr kumimoji="0" lang="en-MY" sz="1600" b="0" i="0" u="none" strike="noStrike" kern="1200" cap="none" spc="-15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1E919764-A18B-4532-A533-A84A31D7FEFE}"/>
              </a:ext>
            </a:extLst>
          </p:cNvPr>
          <p:cNvSpPr txBox="1"/>
          <p:nvPr/>
        </p:nvSpPr>
        <p:spPr>
          <a:xfrm>
            <a:off x="4256088" y="2185988"/>
            <a:ext cx="1811337" cy="50641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Househol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Consumption 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(2017)</a:t>
            </a:r>
          </a:p>
        </p:txBody>
      </p:sp>
      <p:sp>
        <p:nvSpPr>
          <p:cNvPr id="96" name="Plaque 95">
            <a:extLst>
              <a:ext uri="{FF2B5EF4-FFF2-40B4-BE49-F238E27FC236}">
                <a16:creationId xmlns:a16="http://schemas.microsoft.com/office/drawing/2014/main" id="{E3BE1182-17B4-4194-8641-F1EA2CCBB757}"/>
              </a:ext>
            </a:extLst>
          </p:cNvPr>
          <p:cNvSpPr/>
          <p:nvPr/>
        </p:nvSpPr>
        <p:spPr>
          <a:xfrm>
            <a:off x="5583996" y="2807593"/>
            <a:ext cx="483429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 of 36</a:t>
            </a:r>
          </a:p>
        </p:txBody>
      </p:sp>
      <p:sp>
        <p:nvSpPr>
          <p:cNvPr id="99" name="Plaque 98">
            <a:extLst>
              <a:ext uri="{FF2B5EF4-FFF2-40B4-BE49-F238E27FC236}">
                <a16:creationId xmlns:a16="http://schemas.microsoft.com/office/drawing/2014/main" id="{8620E393-1C52-4CE1-9888-20922FA6DFEA}"/>
              </a:ext>
            </a:extLst>
          </p:cNvPr>
          <p:cNvSpPr/>
          <p:nvPr/>
        </p:nvSpPr>
        <p:spPr>
          <a:xfrm>
            <a:off x="5571332" y="1982093"/>
            <a:ext cx="496094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dirty="0">
                <a:solidFill>
                  <a:prstClr val="white"/>
                </a:solidFill>
                <a:latin typeface="Calibri" panose="020F0502020204030204" pitchFamily="34" charset="0"/>
              </a:rPr>
              <a:t>9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of 36</a:t>
            </a:r>
          </a:p>
        </p:txBody>
      </p:sp>
      <p:sp>
        <p:nvSpPr>
          <p:cNvPr id="100" name="Plaque 99">
            <a:extLst>
              <a:ext uri="{FF2B5EF4-FFF2-40B4-BE49-F238E27FC236}">
                <a16:creationId xmlns:a16="http://schemas.microsoft.com/office/drawing/2014/main" id="{3BFA6D28-9A42-4459-8BF1-090CE1B45216}"/>
              </a:ext>
            </a:extLst>
          </p:cNvPr>
          <p:cNvSpPr/>
          <p:nvPr/>
        </p:nvSpPr>
        <p:spPr>
          <a:xfrm>
            <a:off x="5638800" y="1333500"/>
            <a:ext cx="430213" cy="1539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of 36</a:t>
            </a:r>
          </a:p>
        </p:txBody>
      </p:sp>
      <p:sp>
        <p:nvSpPr>
          <p:cNvPr id="101" name="Pentagon 19">
            <a:extLst>
              <a:ext uri="{FF2B5EF4-FFF2-40B4-BE49-F238E27FC236}">
                <a16:creationId xmlns:a16="http://schemas.microsoft.com/office/drawing/2014/main" id="{CCD74FA4-19D0-4356-90C9-B3B49BCC3F54}"/>
              </a:ext>
            </a:extLst>
          </p:cNvPr>
          <p:cNvSpPr>
            <a:spLocks/>
          </p:cNvSpPr>
          <p:nvPr/>
        </p:nvSpPr>
        <p:spPr bwMode="auto">
          <a:xfrm>
            <a:off x="688340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dirty="0">
                <a:solidFill>
                  <a:prstClr val="white"/>
                </a:solidFill>
                <a:latin typeface="Calibri" panose="020F0502020204030204" pitchFamily="34" charset="0"/>
              </a:rPr>
              <a:t>7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of 37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12EE735-1E43-4799-A46A-5D0787F375CE}"/>
              </a:ext>
            </a:extLst>
          </p:cNvPr>
          <p:cNvSpPr/>
          <p:nvPr/>
        </p:nvSpPr>
        <p:spPr>
          <a:xfrm>
            <a:off x="6880225" y="5726113"/>
            <a:ext cx="642938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rting a Business</a:t>
            </a:r>
          </a:p>
        </p:txBody>
      </p:sp>
      <p:pic>
        <p:nvPicPr>
          <p:cNvPr id="23622" name="Picture 3">
            <a:extLst>
              <a:ext uri="{FF2B5EF4-FFF2-40B4-BE49-F238E27FC236}">
                <a16:creationId xmlns:a16="http://schemas.microsoft.com/office/drawing/2014/main" id="{53FAD0C6-8FFE-437B-B7E4-F2A938D3BE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350" y="5249863"/>
            <a:ext cx="41910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23" name="Freeform 15">
            <a:extLst>
              <a:ext uri="{FF2B5EF4-FFF2-40B4-BE49-F238E27FC236}">
                <a16:creationId xmlns:a16="http://schemas.microsoft.com/office/drawing/2014/main" id="{183A3C8B-011E-4D99-9165-3FF03A2D3207}"/>
              </a:ext>
            </a:extLst>
          </p:cNvPr>
          <p:cNvSpPr>
            <a:spLocks noEditPoints="1"/>
          </p:cNvSpPr>
          <p:nvPr/>
        </p:nvSpPr>
        <p:spPr bwMode="auto">
          <a:xfrm>
            <a:off x="9093200" y="5257800"/>
            <a:ext cx="276225" cy="347663"/>
          </a:xfrm>
          <a:custGeom>
            <a:avLst/>
            <a:gdLst>
              <a:gd name="T0" fmla="*/ 2147483646 w 3556"/>
              <a:gd name="T1" fmla="*/ 2147483646 h 3950"/>
              <a:gd name="T2" fmla="*/ 2147483646 w 3556"/>
              <a:gd name="T3" fmla="*/ 2147483646 h 3950"/>
              <a:gd name="T4" fmla="*/ 2147483646 w 3556"/>
              <a:gd name="T5" fmla="*/ 2147483646 h 3950"/>
              <a:gd name="T6" fmla="*/ 2147483646 w 3556"/>
              <a:gd name="T7" fmla="*/ 2147483646 h 3950"/>
              <a:gd name="T8" fmla="*/ 2147483646 w 3556"/>
              <a:gd name="T9" fmla="*/ 2147483646 h 3950"/>
              <a:gd name="T10" fmla="*/ 2147483646 w 3556"/>
              <a:gd name="T11" fmla="*/ 2147483646 h 3950"/>
              <a:gd name="T12" fmla="*/ 2147483646 w 3556"/>
              <a:gd name="T13" fmla="*/ 2147483646 h 3950"/>
              <a:gd name="T14" fmla="*/ 2147483646 w 3556"/>
              <a:gd name="T15" fmla="*/ 2147483646 h 3950"/>
              <a:gd name="T16" fmla="*/ 2147483646 w 3556"/>
              <a:gd name="T17" fmla="*/ 2147483646 h 3950"/>
              <a:gd name="T18" fmla="*/ 2147483646 w 3556"/>
              <a:gd name="T19" fmla="*/ 2147483646 h 3950"/>
              <a:gd name="T20" fmla="*/ 2147483646 w 3556"/>
              <a:gd name="T21" fmla="*/ 2147483646 h 3950"/>
              <a:gd name="T22" fmla="*/ 0 w 3556"/>
              <a:gd name="T23" fmla="*/ 2147483646 h 3950"/>
              <a:gd name="T24" fmla="*/ 2147483646 w 3556"/>
              <a:gd name="T25" fmla="*/ 2147483646 h 3950"/>
              <a:gd name="T26" fmla="*/ 2147483646 w 3556"/>
              <a:gd name="T27" fmla="*/ 2147483646 h 3950"/>
              <a:gd name="T28" fmla="*/ 2147483646 w 3556"/>
              <a:gd name="T29" fmla="*/ 2147483646 h 3950"/>
              <a:gd name="T30" fmla="*/ 2147483646 w 3556"/>
              <a:gd name="T31" fmla="*/ 2147483646 h 3950"/>
              <a:gd name="T32" fmla="*/ 2147483646 w 3556"/>
              <a:gd name="T33" fmla="*/ 2147483646 h 3950"/>
              <a:gd name="T34" fmla="*/ 2147483646 w 3556"/>
              <a:gd name="T35" fmla="*/ 2147483646 h 3950"/>
              <a:gd name="T36" fmla="*/ 2147483646 w 3556"/>
              <a:gd name="T37" fmla="*/ 2147483646 h 3950"/>
              <a:gd name="T38" fmla="*/ 2147483646 w 3556"/>
              <a:gd name="T39" fmla="*/ 2147483646 h 3950"/>
              <a:gd name="T40" fmla="*/ 2147483646 w 3556"/>
              <a:gd name="T41" fmla="*/ 2147483646 h 3950"/>
              <a:gd name="T42" fmla="*/ 2147483646 w 3556"/>
              <a:gd name="T43" fmla="*/ 2147483646 h 3950"/>
              <a:gd name="T44" fmla="*/ 2147483646 w 3556"/>
              <a:gd name="T45" fmla="*/ 2147483646 h 3950"/>
              <a:gd name="T46" fmla="*/ 2147483646 w 3556"/>
              <a:gd name="T47" fmla="*/ 2147483646 h 3950"/>
              <a:gd name="T48" fmla="*/ 2147483646 w 3556"/>
              <a:gd name="T49" fmla="*/ 2147483646 h 3950"/>
              <a:gd name="T50" fmla="*/ 2147483646 w 3556"/>
              <a:gd name="T51" fmla="*/ 2147483646 h 3950"/>
              <a:gd name="T52" fmla="*/ 2147483646 w 3556"/>
              <a:gd name="T53" fmla="*/ 2147483646 h 3950"/>
              <a:gd name="T54" fmla="*/ 2147483646 w 3556"/>
              <a:gd name="T55" fmla="*/ 2147483646 h 3950"/>
              <a:gd name="T56" fmla="*/ 2147483646 w 3556"/>
              <a:gd name="T57" fmla="*/ 2147483646 h 3950"/>
              <a:gd name="T58" fmla="*/ 2147483646 w 3556"/>
              <a:gd name="T59" fmla="*/ 2147483646 h 3950"/>
              <a:gd name="T60" fmla="*/ 2147483646 w 3556"/>
              <a:gd name="T61" fmla="*/ 2147483646 h 3950"/>
              <a:gd name="T62" fmla="*/ 2147483646 w 3556"/>
              <a:gd name="T63" fmla="*/ 2147483646 h 3950"/>
              <a:gd name="T64" fmla="*/ 2147483646 w 3556"/>
              <a:gd name="T65" fmla="*/ 2147483646 h 3950"/>
              <a:gd name="T66" fmla="*/ 2147483646 w 3556"/>
              <a:gd name="T67" fmla="*/ 2147483646 h 3950"/>
              <a:gd name="T68" fmla="*/ 2147483646 w 3556"/>
              <a:gd name="T69" fmla="*/ 2147483646 h 3950"/>
              <a:gd name="T70" fmla="*/ 2147483646 w 3556"/>
              <a:gd name="T71" fmla="*/ 2147483646 h 3950"/>
              <a:gd name="T72" fmla="*/ 2147483646 w 3556"/>
              <a:gd name="T73" fmla="*/ 2147483646 h 3950"/>
              <a:gd name="T74" fmla="*/ 2147483646 w 3556"/>
              <a:gd name="T75" fmla="*/ 2147483646 h 3950"/>
              <a:gd name="T76" fmla="*/ 2147483646 w 3556"/>
              <a:gd name="T77" fmla="*/ 2147483646 h 3950"/>
              <a:gd name="T78" fmla="*/ 2147483646 w 3556"/>
              <a:gd name="T79" fmla="*/ 2147483646 h 3950"/>
              <a:gd name="T80" fmla="*/ 2147483646 w 3556"/>
              <a:gd name="T81" fmla="*/ 0 h 3950"/>
              <a:gd name="T82" fmla="*/ 2147483646 w 3556"/>
              <a:gd name="T83" fmla="*/ 2147483646 h 3950"/>
              <a:gd name="T84" fmla="*/ 2147483646 w 3556"/>
              <a:gd name="T85" fmla="*/ 2147483646 h 3950"/>
              <a:gd name="T86" fmla="*/ 2147483646 w 3556"/>
              <a:gd name="T87" fmla="*/ 2147483646 h 395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556"/>
              <a:gd name="T133" fmla="*/ 0 h 3950"/>
              <a:gd name="T134" fmla="*/ 3556 w 3556"/>
              <a:gd name="T135" fmla="*/ 3950 h 395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556" h="3950">
                <a:moveTo>
                  <a:pt x="909" y="3917"/>
                </a:moveTo>
                <a:cubicBezTo>
                  <a:pt x="824" y="3832"/>
                  <a:pt x="894" y="3725"/>
                  <a:pt x="1036" y="3725"/>
                </a:cubicBezTo>
                <a:cubicBezTo>
                  <a:pt x="1119" y="3725"/>
                  <a:pt x="1129" y="3717"/>
                  <a:pt x="1129" y="3645"/>
                </a:cubicBezTo>
                <a:cubicBezTo>
                  <a:pt x="1129" y="3472"/>
                  <a:pt x="1135" y="3471"/>
                  <a:pt x="2192" y="3471"/>
                </a:cubicBezTo>
                <a:cubicBezTo>
                  <a:pt x="3086" y="3471"/>
                  <a:pt x="3155" y="3475"/>
                  <a:pt x="3199" y="3523"/>
                </a:cubicBezTo>
                <a:cubicBezTo>
                  <a:pt x="3225" y="3551"/>
                  <a:pt x="3246" y="3608"/>
                  <a:pt x="3246" y="3648"/>
                </a:cubicBezTo>
                <a:cubicBezTo>
                  <a:pt x="3246" y="3712"/>
                  <a:pt x="3259" y="3723"/>
                  <a:pt x="3349" y="3730"/>
                </a:cubicBezTo>
                <a:cubicBezTo>
                  <a:pt x="3470" y="3741"/>
                  <a:pt x="3530" y="3811"/>
                  <a:pt x="3482" y="3887"/>
                </a:cubicBezTo>
                <a:cubicBezTo>
                  <a:pt x="3453" y="3933"/>
                  <a:pt x="3356" y="3937"/>
                  <a:pt x="2197" y="3944"/>
                </a:cubicBezTo>
                <a:cubicBezTo>
                  <a:pt x="1245" y="3950"/>
                  <a:pt x="935" y="3943"/>
                  <a:pt x="909" y="3917"/>
                </a:cubicBezTo>
                <a:close/>
                <a:moveTo>
                  <a:pt x="87" y="3370"/>
                </a:moveTo>
                <a:cubicBezTo>
                  <a:pt x="24" y="3317"/>
                  <a:pt x="0" y="3272"/>
                  <a:pt x="0" y="3209"/>
                </a:cubicBezTo>
                <a:cubicBezTo>
                  <a:pt x="0" y="3132"/>
                  <a:pt x="86" y="3035"/>
                  <a:pt x="705" y="2414"/>
                </a:cubicBezTo>
                <a:lnTo>
                  <a:pt x="1411" y="1706"/>
                </a:lnTo>
                <a:lnTo>
                  <a:pt x="1235" y="1530"/>
                </a:lnTo>
                <a:lnTo>
                  <a:pt x="1059" y="1355"/>
                </a:lnTo>
                <a:lnTo>
                  <a:pt x="1510" y="903"/>
                </a:lnTo>
                <a:lnTo>
                  <a:pt x="1960" y="452"/>
                </a:lnTo>
                <a:lnTo>
                  <a:pt x="2135" y="624"/>
                </a:lnTo>
                <a:cubicBezTo>
                  <a:pt x="2305" y="793"/>
                  <a:pt x="2310" y="796"/>
                  <a:pt x="2374" y="751"/>
                </a:cubicBezTo>
                <a:cubicBezTo>
                  <a:pt x="2469" y="685"/>
                  <a:pt x="2547" y="695"/>
                  <a:pt x="2633" y="785"/>
                </a:cubicBezTo>
                <a:cubicBezTo>
                  <a:pt x="2720" y="875"/>
                  <a:pt x="2731" y="974"/>
                  <a:pt x="2662" y="1050"/>
                </a:cubicBezTo>
                <a:cubicBezTo>
                  <a:pt x="2616" y="1100"/>
                  <a:pt x="2624" y="1112"/>
                  <a:pt x="2823" y="1313"/>
                </a:cubicBezTo>
                <a:lnTo>
                  <a:pt x="3033" y="1524"/>
                </a:lnTo>
                <a:lnTo>
                  <a:pt x="2582" y="1975"/>
                </a:lnTo>
                <a:lnTo>
                  <a:pt x="2132" y="2427"/>
                </a:lnTo>
                <a:lnTo>
                  <a:pt x="1933" y="2229"/>
                </a:lnTo>
                <a:cubicBezTo>
                  <a:pt x="1824" y="2121"/>
                  <a:pt x="1722" y="2032"/>
                  <a:pt x="1707" y="2032"/>
                </a:cubicBezTo>
                <a:cubicBezTo>
                  <a:pt x="1693" y="2032"/>
                  <a:pt x="1362" y="2349"/>
                  <a:pt x="973" y="2737"/>
                </a:cubicBezTo>
                <a:cubicBezTo>
                  <a:pt x="584" y="3125"/>
                  <a:pt x="245" y="3443"/>
                  <a:pt x="220" y="3443"/>
                </a:cubicBezTo>
                <a:cubicBezTo>
                  <a:pt x="194" y="3443"/>
                  <a:pt x="135" y="3410"/>
                  <a:pt x="87" y="3370"/>
                </a:cubicBezTo>
                <a:close/>
                <a:moveTo>
                  <a:pt x="2258" y="2887"/>
                </a:moveTo>
                <a:cubicBezTo>
                  <a:pt x="2196" y="2865"/>
                  <a:pt x="2145" y="2792"/>
                  <a:pt x="2145" y="2725"/>
                </a:cubicBezTo>
                <a:cubicBezTo>
                  <a:pt x="2145" y="2686"/>
                  <a:pt x="2337" y="2474"/>
                  <a:pt x="2703" y="2109"/>
                </a:cubicBezTo>
                <a:cubicBezTo>
                  <a:pt x="3289" y="1523"/>
                  <a:pt x="3346" y="1485"/>
                  <a:pt x="3453" y="1604"/>
                </a:cubicBezTo>
                <a:cubicBezTo>
                  <a:pt x="3556" y="1717"/>
                  <a:pt x="3522" y="1766"/>
                  <a:pt x="2956" y="2331"/>
                </a:cubicBezTo>
                <a:cubicBezTo>
                  <a:pt x="2657" y="2630"/>
                  <a:pt x="2388" y="2880"/>
                  <a:pt x="2357" y="2888"/>
                </a:cubicBezTo>
                <a:cubicBezTo>
                  <a:pt x="2326" y="2895"/>
                  <a:pt x="2281" y="2895"/>
                  <a:pt x="2258" y="2887"/>
                </a:cubicBezTo>
                <a:close/>
                <a:moveTo>
                  <a:pt x="637" y="1282"/>
                </a:moveTo>
                <a:cubicBezTo>
                  <a:pt x="528" y="1172"/>
                  <a:pt x="568" y="1113"/>
                  <a:pt x="1137" y="544"/>
                </a:cubicBezTo>
                <a:cubicBezTo>
                  <a:pt x="1607" y="74"/>
                  <a:pt x="1693" y="0"/>
                  <a:pt x="1767" y="0"/>
                </a:cubicBezTo>
                <a:cubicBezTo>
                  <a:pt x="1862" y="0"/>
                  <a:pt x="1947" y="73"/>
                  <a:pt x="1947" y="156"/>
                </a:cubicBezTo>
                <a:cubicBezTo>
                  <a:pt x="1947" y="186"/>
                  <a:pt x="1715" y="442"/>
                  <a:pt x="1391" y="767"/>
                </a:cubicBezTo>
                <a:cubicBezTo>
                  <a:pt x="808" y="1353"/>
                  <a:pt x="749" y="1393"/>
                  <a:pt x="637" y="12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" name="Group 118">
            <a:extLst>
              <a:ext uri="{FF2B5EF4-FFF2-40B4-BE49-F238E27FC236}">
                <a16:creationId xmlns:a16="http://schemas.microsoft.com/office/drawing/2014/main" id="{FB3D6A90-C4FD-433A-A1C1-A4B3864804A5}"/>
              </a:ext>
            </a:extLst>
          </p:cNvPr>
          <p:cNvGrpSpPr/>
          <p:nvPr/>
        </p:nvGrpSpPr>
        <p:grpSpPr>
          <a:xfrm>
            <a:off x="8409631" y="5248358"/>
            <a:ext cx="346498" cy="347472"/>
            <a:chOff x="1468138" y="5997240"/>
            <a:chExt cx="283642" cy="307072"/>
          </a:xfrm>
          <a:solidFill>
            <a:schemeClr val="bg1"/>
          </a:solidFill>
        </p:grpSpPr>
        <p:sp>
          <p:nvSpPr>
            <p:cNvPr id="120" name="Freeform 16">
              <a:extLst>
                <a:ext uri="{FF2B5EF4-FFF2-40B4-BE49-F238E27FC236}">
                  <a16:creationId xmlns:a16="http://schemas.microsoft.com/office/drawing/2014/main" id="{D6134FC8-4249-4088-8AE8-003C8AAC7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6136" y="6255221"/>
              <a:ext cx="26428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1 w 349"/>
                <a:gd name="T25" fmla="*/ 226 h 350"/>
                <a:gd name="T26" fmla="*/ 225 w 349"/>
                <a:gd name="T27" fmla="*/ 213 h 350"/>
                <a:gd name="T28" fmla="*/ 234 w 349"/>
                <a:gd name="T29" fmla="*/ 194 h 350"/>
                <a:gd name="T30" fmla="*/ 237 w 349"/>
                <a:gd name="T31" fmla="*/ 175 h 350"/>
                <a:gd name="T32" fmla="*/ 235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5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4 w 349"/>
                <a:gd name="T47" fmla="*/ 3 h 350"/>
                <a:gd name="T48" fmla="*/ 234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8 w 349"/>
                <a:gd name="T55" fmla="*/ 63 h 350"/>
                <a:gd name="T56" fmla="*/ 325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5 w 349"/>
                <a:gd name="T65" fmla="*/ 210 h 350"/>
                <a:gd name="T66" fmla="*/ 335 w 349"/>
                <a:gd name="T67" fmla="*/ 243 h 350"/>
                <a:gd name="T68" fmla="*/ 319 w 349"/>
                <a:gd name="T69" fmla="*/ 273 h 350"/>
                <a:gd name="T70" fmla="*/ 297 w 349"/>
                <a:gd name="T71" fmla="*/ 299 h 350"/>
                <a:gd name="T72" fmla="*/ 272 w 349"/>
                <a:gd name="T73" fmla="*/ 319 h 350"/>
                <a:gd name="T74" fmla="*/ 242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39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29 w 349"/>
                <a:gd name="T89" fmla="*/ 273 h 350"/>
                <a:gd name="T90" fmla="*/ 14 w 349"/>
                <a:gd name="T91" fmla="*/ 243 h 350"/>
                <a:gd name="T92" fmla="*/ 3 w 349"/>
                <a:gd name="T93" fmla="*/ 210 h 350"/>
                <a:gd name="T94" fmla="*/ 0 w 349"/>
                <a:gd name="T95" fmla="*/ 175 h 350"/>
                <a:gd name="T96" fmla="*/ 3 w 349"/>
                <a:gd name="T97" fmla="*/ 140 h 350"/>
                <a:gd name="T98" fmla="*/ 14 w 349"/>
                <a:gd name="T99" fmla="*/ 107 h 350"/>
                <a:gd name="T100" fmla="*/ 29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39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1" y="226"/>
                  </a:lnTo>
                  <a:lnTo>
                    <a:pt x="225" y="213"/>
                  </a:lnTo>
                  <a:lnTo>
                    <a:pt x="234" y="194"/>
                  </a:lnTo>
                  <a:lnTo>
                    <a:pt x="237" y="175"/>
                  </a:lnTo>
                  <a:lnTo>
                    <a:pt x="235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5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4" y="3"/>
                  </a:lnTo>
                  <a:lnTo>
                    <a:pt x="234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8" y="63"/>
                  </a:lnTo>
                  <a:lnTo>
                    <a:pt x="325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5" y="210"/>
                  </a:lnTo>
                  <a:lnTo>
                    <a:pt x="335" y="243"/>
                  </a:lnTo>
                  <a:lnTo>
                    <a:pt x="319" y="273"/>
                  </a:lnTo>
                  <a:lnTo>
                    <a:pt x="297" y="299"/>
                  </a:lnTo>
                  <a:lnTo>
                    <a:pt x="272" y="319"/>
                  </a:lnTo>
                  <a:lnTo>
                    <a:pt x="242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39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29" y="273"/>
                  </a:lnTo>
                  <a:lnTo>
                    <a:pt x="14" y="243"/>
                  </a:lnTo>
                  <a:lnTo>
                    <a:pt x="3" y="210"/>
                  </a:lnTo>
                  <a:lnTo>
                    <a:pt x="0" y="175"/>
                  </a:lnTo>
                  <a:lnTo>
                    <a:pt x="3" y="140"/>
                  </a:lnTo>
                  <a:lnTo>
                    <a:pt x="14" y="107"/>
                  </a:lnTo>
                  <a:lnTo>
                    <a:pt x="29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39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1" name="Freeform 17">
              <a:extLst>
                <a:ext uri="{FF2B5EF4-FFF2-40B4-BE49-F238E27FC236}">
                  <a16:creationId xmlns:a16="http://schemas.microsoft.com/office/drawing/2014/main" id="{67A5F0B0-C078-4A85-9E32-409FF0B3D5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2133" y="6255221"/>
              <a:ext cx="26656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2 w 349"/>
                <a:gd name="T25" fmla="*/ 226 h 350"/>
                <a:gd name="T26" fmla="*/ 226 w 349"/>
                <a:gd name="T27" fmla="*/ 213 h 350"/>
                <a:gd name="T28" fmla="*/ 235 w 349"/>
                <a:gd name="T29" fmla="*/ 194 h 350"/>
                <a:gd name="T30" fmla="*/ 237 w 349"/>
                <a:gd name="T31" fmla="*/ 175 h 350"/>
                <a:gd name="T32" fmla="*/ 236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7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5 w 349"/>
                <a:gd name="T47" fmla="*/ 3 h 350"/>
                <a:gd name="T48" fmla="*/ 235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9 w 349"/>
                <a:gd name="T55" fmla="*/ 63 h 350"/>
                <a:gd name="T56" fmla="*/ 326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6 w 349"/>
                <a:gd name="T65" fmla="*/ 210 h 350"/>
                <a:gd name="T66" fmla="*/ 336 w 349"/>
                <a:gd name="T67" fmla="*/ 243 h 350"/>
                <a:gd name="T68" fmla="*/ 319 w 349"/>
                <a:gd name="T69" fmla="*/ 273 h 350"/>
                <a:gd name="T70" fmla="*/ 298 w 349"/>
                <a:gd name="T71" fmla="*/ 299 h 350"/>
                <a:gd name="T72" fmla="*/ 272 w 349"/>
                <a:gd name="T73" fmla="*/ 319 h 350"/>
                <a:gd name="T74" fmla="*/ 243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40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30 w 349"/>
                <a:gd name="T89" fmla="*/ 273 h 350"/>
                <a:gd name="T90" fmla="*/ 14 w 349"/>
                <a:gd name="T91" fmla="*/ 243 h 350"/>
                <a:gd name="T92" fmla="*/ 4 w 349"/>
                <a:gd name="T93" fmla="*/ 210 h 350"/>
                <a:gd name="T94" fmla="*/ 0 w 349"/>
                <a:gd name="T95" fmla="*/ 175 h 350"/>
                <a:gd name="T96" fmla="*/ 4 w 349"/>
                <a:gd name="T97" fmla="*/ 140 h 350"/>
                <a:gd name="T98" fmla="*/ 14 w 349"/>
                <a:gd name="T99" fmla="*/ 107 h 350"/>
                <a:gd name="T100" fmla="*/ 30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40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7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7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5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19" y="273"/>
                  </a:lnTo>
                  <a:lnTo>
                    <a:pt x="298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2" name="Freeform 18">
              <a:extLst>
                <a:ext uri="{FF2B5EF4-FFF2-40B4-BE49-F238E27FC236}">
                  <a16:creationId xmlns:a16="http://schemas.microsoft.com/office/drawing/2014/main" id="{BF1784DA-3E40-44FD-998D-DB1DD379C0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8357" y="6255221"/>
              <a:ext cx="26428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7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1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7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8 w 350"/>
                <a:gd name="T31" fmla="*/ 175 h 350"/>
                <a:gd name="T32" fmla="*/ 236 w 350"/>
                <a:gd name="T33" fmla="*/ 158 h 350"/>
                <a:gd name="T34" fmla="*/ 229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7 w 350"/>
                <a:gd name="T53" fmla="*/ 41 h 350"/>
                <a:gd name="T54" fmla="*/ 309 w 350"/>
                <a:gd name="T55" fmla="*/ 63 h 350"/>
                <a:gd name="T56" fmla="*/ 326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2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7 w 350"/>
                <a:gd name="T85" fmla="*/ 319 h 350"/>
                <a:gd name="T86" fmla="*/ 51 w 350"/>
                <a:gd name="T87" fmla="*/ 299 h 350"/>
                <a:gd name="T88" fmla="*/ 30 w 350"/>
                <a:gd name="T89" fmla="*/ 273 h 350"/>
                <a:gd name="T90" fmla="*/ 14 w 350"/>
                <a:gd name="T91" fmla="*/ 243 h 350"/>
                <a:gd name="T92" fmla="*/ 4 w 350"/>
                <a:gd name="T93" fmla="*/ 210 h 350"/>
                <a:gd name="T94" fmla="*/ 0 w 350"/>
                <a:gd name="T95" fmla="*/ 175 h 350"/>
                <a:gd name="T96" fmla="*/ 4 w 350"/>
                <a:gd name="T97" fmla="*/ 140 h 350"/>
                <a:gd name="T98" fmla="*/ 14 w 350"/>
                <a:gd name="T99" fmla="*/ 107 h 350"/>
                <a:gd name="T100" fmla="*/ 30 w 350"/>
                <a:gd name="T101" fmla="*/ 78 h 350"/>
                <a:gd name="T102" fmla="*/ 51 w 350"/>
                <a:gd name="T103" fmla="*/ 52 h 350"/>
                <a:gd name="T104" fmla="*/ 77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8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3" name="Freeform 19">
              <a:extLst>
                <a:ext uri="{FF2B5EF4-FFF2-40B4-BE49-F238E27FC236}">
                  <a16:creationId xmlns:a16="http://schemas.microsoft.com/office/drawing/2014/main" id="{FF26547B-24B3-4108-8095-A2794E966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4353" y="6255221"/>
              <a:ext cx="26656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8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3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8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9 w 350"/>
                <a:gd name="T31" fmla="*/ 175 h 350"/>
                <a:gd name="T32" fmla="*/ 236 w 350"/>
                <a:gd name="T33" fmla="*/ 158 h 350"/>
                <a:gd name="T34" fmla="*/ 231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8 w 350"/>
                <a:gd name="T53" fmla="*/ 41 h 350"/>
                <a:gd name="T54" fmla="*/ 309 w 350"/>
                <a:gd name="T55" fmla="*/ 63 h 350"/>
                <a:gd name="T56" fmla="*/ 327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3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8 w 350"/>
                <a:gd name="T85" fmla="*/ 319 h 350"/>
                <a:gd name="T86" fmla="*/ 53 w 350"/>
                <a:gd name="T87" fmla="*/ 299 h 350"/>
                <a:gd name="T88" fmla="*/ 31 w 350"/>
                <a:gd name="T89" fmla="*/ 273 h 350"/>
                <a:gd name="T90" fmla="*/ 15 w 350"/>
                <a:gd name="T91" fmla="*/ 243 h 350"/>
                <a:gd name="T92" fmla="*/ 5 w 350"/>
                <a:gd name="T93" fmla="*/ 210 h 350"/>
                <a:gd name="T94" fmla="*/ 0 w 350"/>
                <a:gd name="T95" fmla="*/ 175 h 350"/>
                <a:gd name="T96" fmla="*/ 5 w 350"/>
                <a:gd name="T97" fmla="*/ 140 h 350"/>
                <a:gd name="T98" fmla="*/ 15 w 350"/>
                <a:gd name="T99" fmla="*/ 107 h 350"/>
                <a:gd name="T100" fmla="*/ 31 w 350"/>
                <a:gd name="T101" fmla="*/ 78 h 350"/>
                <a:gd name="T102" fmla="*/ 53 w 350"/>
                <a:gd name="T103" fmla="*/ 52 h 350"/>
                <a:gd name="T104" fmla="*/ 78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8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3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8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9" y="175"/>
                  </a:lnTo>
                  <a:lnTo>
                    <a:pt x="236" y="158"/>
                  </a:lnTo>
                  <a:lnTo>
                    <a:pt x="231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8" y="41"/>
                  </a:lnTo>
                  <a:lnTo>
                    <a:pt x="309" y="63"/>
                  </a:lnTo>
                  <a:lnTo>
                    <a:pt x="327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3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8" y="319"/>
                  </a:lnTo>
                  <a:lnTo>
                    <a:pt x="53" y="299"/>
                  </a:lnTo>
                  <a:lnTo>
                    <a:pt x="31" y="273"/>
                  </a:lnTo>
                  <a:lnTo>
                    <a:pt x="15" y="243"/>
                  </a:lnTo>
                  <a:lnTo>
                    <a:pt x="5" y="210"/>
                  </a:lnTo>
                  <a:lnTo>
                    <a:pt x="0" y="175"/>
                  </a:lnTo>
                  <a:lnTo>
                    <a:pt x="5" y="140"/>
                  </a:lnTo>
                  <a:lnTo>
                    <a:pt x="15" y="107"/>
                  </a:lnTo>
                  <a:lnTo>
                    <a:pt x="31" y="78"/>
                  </a:lnTo>
                  <a:lnTo>
                    <a:pt x="53" y="52"/>
                  </a:lnTo>
                  <a:lnTo>
                    <a:pt x="78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4" name="Freeform 20">
              <a:extLst>
                <a:ext uri="{FF2B5EF4-FFF2-40B4-BE49-F238E27FC236}">
                  <a16:creationId xmlns:a16="http://schemas.microsoft.com/office/drawing/2014/main" id="{6F553FA1-4728-401A-8C20-F18E165CA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80832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2 h 111"/>
                <a:gd name="T10" fmla="*/ 168 w 171"/>
                <a:gd name="T11" fmla="*/ 37 h 111"/>
                <a:gd name="T12" fmla="*/ 171 w 171"/>
                <a:gd name="T13" fmla="*/ 55 h 111"/>
                <a:gd name="T14" fmla="*/ 168 w 171"/>
                <a:gd name="T15" fmla="*/ 72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8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8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2 h 111"/>
                <a:gd name="T34" fmla="*/ 0 w 171"/>
                <a:gd name="T35" fmla="*/ 55 h 111"/>
                <a:gd name="T36" fmla="*/ 2 w 171"/>
                <a:gd name="T37" fmla="*/ 37 h 111"/>
                <a:gd name="T38" fmla="*/ 10 w 171"/>
                <a:gd name="T39" fmla="*/ 22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2"/>
                  </a:lnTo>
                  <a:lnTo>
                    <a:pt x="168" y="37"/>
                  </a:lnTo>
                  <a:lnTo>
                    <a:pt x="171" y="55"/>
                  </a:lnTo>
                  <a:lnTo>
                    <a:pt x="168" y="72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8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8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2"/>
                  </a:lnTo>
                  <a:lnTo>
                    <a:pt x="0" y="55"/>
                  </a:lnTo>
                  <a:lnTo>
                    <a:pt x="2" y="37"/>
                  </a:lnTo>
                  <a:lnTo>
                    <a:pt x="10" y="22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5" name="Freeform 21">
              <a:extLst>
                <a:ext uri="{FF2B5EF4-FFF2-40B4-BE49-F238E27FC236}">
                  <a16:creationId xmlns:a16="http://schemas.microsoft.com/office/drawing/2014/main" id="{2A783787-5E9B-43C9-9BF4-073950C97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95860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3 h 111"/>
                <a:gd name="T10" fmla="*/ 168 w 171"/>
                <a:gd name="T11" fmla="*/ 38 h 111"/>
                <a:gd name="T12" fmla="*/ 171 w 171"/>
                <a:gd name="T13" fmla="*/ 55 h 111"/>
                <a:gd name="T14" fmla="*/ 168 w 171"/>
                <a:gd name="T15" fmla="*/ 74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9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9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4 h 111"/>
                <a:gd name="T34" fmla="*/ 0 w 171"/>
                <a:gd name="T35" fmla="*/ 55 h 111"/>
                <a:gd name="T36" fmla="*/ 2 w 171"/>
                <a:gd name="T37" fmla="*/ 38 h 111"/>
                <a:gd name="T38" fmla="*/ 10 w 171"/>
                <a:gd name="T39" fmla="*/ 23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3"/>
                  </a:lnTo>
                  <a:lnTo>
                    <a:pt x="168" y="38"/>
                  </a:lnTo>
                  <a:lnTo>
                    <a:pt x="171" y="55"/>
                  </a:lnTo>
                  <a:lnTo>
                    <a:pt x="168" y="74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9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9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4"/>
                  </a:lnTo>
                  <a:lnTo>
                    <a:pt x="0" y="55"/>
                  </a:lnTo>
                  <a:lnTo>
                    <a:pt x="2" y="38"/>
                  </a:lnTo>
                  <a:lnTo>
                    <a:pt x="10" y="23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6" name="Freeform 22">
              <a:extLst>
                <a:ext uri="{FF2B5EF4-FFF2-40B4-BE49-F238E27FC236}">
                  <a16:creationId xmlns:a16="http://schemas.microsoft.com/office/drawing/2014/main" id="{6465D05A-ED22-49B3-924E-6DFC4C8C8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8138" y="5997240"/>
              <a:ext cx="283642" cy="307072"/>
            </a:xfrm>
            <a:custGeom>
              <a:avLst/>
              <a:gdLst>
                <a:gd name="T0" fmla="*/ 185 w 3736"/>
                <a:gd name="T1" fmla="*/ 3069 h 3678"/>
                <a:gd name="T2" fmla="*/ 125 w 3736"/>
                <a:gd name="T3" fmla="*/ 3352 h 3678"/>
                <a:gd name="T4" fmla="*/ 325 w 3736"/>
                <a:gd name="T5" fmla="*/ 3554 h 3678"/>
                <a:gd name="T6" fmla="*/ 2002 w 3736"/>
                <a:gd name="T7" fmla="*/ 3518 h 3678"/>
                <a:gd name="T8" fmla="*/ 2140 w 3736"/>
                <a:gd name="T9" fmla="*/ 3266 h 3678"/>
                <a:gd name="T10" fmla="*/ 2002 w 3736"/>
                <a:gd name="T11" fmla="*/ 3013 h 3678"/>
                <a:gd name="T12" fmla="*/ 943 w 3736"/>
                <a:gd name="T13" fmla="*/ 2853 h 3678"/>
                <a:gd name="T14" fmla="*/ 2970 w 3736"/>
                <a:gd name="T15" fmla="*/ 2765 h 3678"/>
                <a:gd name="T16" fmla="*/ 3240 w 3736"/>
                <a:gd name="T17" fmla="*/ 2787 h 3678"/>
                <a:gd name="T18" fmla="*/ 3506 w 3736"/>
                <a:gd name="T19" fmla="*/ 2599 h 3678"/>
                <a:gd name="T20" fmla="*/ 302 w 3736"/>
                <a:gd name="T21" fmla="*/ 2099 h 3678"/>
                <a:gd name="T22" fmla="*/ 333 w 3736"/>
                <a:gd name="T23" fmla="*/ 2613 h 3678"/>
                <a:gd name="T24" fmla="*/ 3524 w 3736"/>
                <a:gd name="T25" fmla="*/ 1966 h 3678"/>
                <a:gd name="T26" fmla="*/ 3542 w 3736"/>
                <a:gd name="T27" fmla="*/ 2077 h 3678"/>
                <a:gd name="T28" fmla="*/ 3622 w 3736"/>
                <a:gd name="T29" fmla="*/ 1998 h 3678"/>
                <a:gd name="T30" fmla="*/ 893 w 3736"/>
                <a:gd name="T31" fmla="*/ 1458 h 3678"/>
                <a:gd name="T32" fmla="*/ 1843 w 3736"/>
                <a:gd name="T33" fmla="*/ 2616 h 3678"/>
                <a:gd name="T34" fmla="*/ 1132 w 3736"/>
                <a:gd name="T35" fmla="*/ 2414 h 3678"/>
                <a:gd name="T36" fmla="*/ 954 w 3736"/>
                <a:gd name="T37" fmla="*/ 2256 h 3678"/>
                <a:gd name="T38" fmla="*/ 1082 w 3736"/>
                <a:gd name="T39" fmla="*/ 2271 h 3678"/>
                <a:gd name="T40" fmla="*/ 1271 w 3736"/>
                <a:gd name="T41" fmla="*/ 1557 h 3678"/>
                <a:gd name="T42" fmla="*/ 1360 w 3736"/>
                <a:gd name="T43" fmla="*/ 1601 h 3678"/>
                <a:gd name="T44" fmla="*/ 1958 w 3736"/>
                <a:gd name="T45" fmla="*/ 2171 h 3678"/>
                <a:gd name="T46" fmla="*/ 1525 w 3736"/>
                <a:gd name="T47" fmla="*/ 1457 h 3678"/>
                <a:gd name="T48" fmla="*/ 2749 w 3736"/>
                <a:gd name="T49" fmla="*/ 361 h 3678"/>
                <a:gd name="T50" fmla="*/ 3541 w 3736"/>
                <a:gd name="T51" fmla="*/ 1844 h 3678"/>
                <a:gd name="T52" fmla="*/ 1658 w 3736"/>
                <a:gd name="T53" fmla="*/ 1439 h 3678"/>
                <a:gd name="T54" fmla="*/ 2419 w 3736"/>
                <a:gd name="T55" fmla="*/ 427 h 3678"/>
                <a:gd name="T56" fmla="*/ 2498 w 3736"/>
                <a:gd name="T57" fmla="*/ 124 h 3678"/>
                <a:gd name="T58" fmla="*/ 2441 w 3736"/>
                <a:gd name="T59" fmla="*/ 287 h 3678"/>
                <a:gd name="T60" fmla="*/ 2599 w 3736"/>
                <a:gd name="T61" fmla="*/ 347 h 3678"/>
                <a:gd name="T62" fmla="*/ 2672 w 3736"/>
                <a:gd name="T63" fmla="*/ 256 h 3678"/>
                <a:gd name="T64" fmla="*/ 2625 w 3736"/>
                <a:gd name="T65" fmla="*/ 136 h 3678"/>
                <a:gd name="T66" fmla="*/ 2665 w 3736"/>
                <a:gd name="T67" fmla="*/ 28 h 3678"/>
                <a:gd name="T68" fmla="*/ 3734 w 3736"/>
                <a:gd name="T69" fmla="*/ 1986 h 3678"/>
                <a:gd name="T70" fmla="*/ 3646 w 3736"/>
                <a:gd name="T71" fmla="*/ 2170 h 3678"/>
                <a:gd name="T72" fmla="*/ 3580 w 3736"/>
                <a:gd name="T73" fmla="*/ 2724 h 3678"/>
                <a:gd name="T74" fmla="*/ 3180 w 3736"/>
                <a:gd name="T75" fmla="*/ 2918 h 3678"/>
                <a:gd name="T76" fmla="*/ 2865 w 3736"/>
                <a:gd name="T77" fmla="*/ 2826 h 3678"/>
                <a:gd name="T78" fmla="*/ 2459 w 3736"/>
                <a:gd name="T79" fmla="*/ 2397 h 3678"/>
                <a:gd name="T80" fmla="*/ 3431 w 3736"/>
                <a:gd name="T81" fmla="*/ 2200 h 3678"/>
                <a:gd name="T82" fmla="*/ 3506 w 3736"/>
                <a:gd name="T83" fmla="*/ 2183 h 3678"/>
                <a:gd name="T84" fmla="*/ 1983 w 3736"/>
                <a:gd name="T85" fmla="*/ 1926 h 3678"/>
                <a:gd name="T86" fmla="*/ 2073 w 3736"/>
                <a:gd name="T87" fmla="*/ 2433 h 3678"/>
                <a:gd name="T88" fmla="*/ 2059 w 3736"/>
                <a:gd name="T89" fmla="*/ 2469 h 3678"/>
                <a:gd name="T90" fmla="*/ 2043 w 3736"/>
                <a:gd name="T91" fmla="*/ 2482 h 3678"/>
                <a:gd name="T92" fmla="*/ 2024 w 3736"/>
                <a:gd name="T93" fmla="*/ 2489 h 3678"/>
                <a:gd name="T94" fmla="*/ 1942 w 3736"/>
                <a:gd name="T95" fmla="*/ 2705 h 3678"/>
                <a:gd name="T96" fmla="*/ 1890 w 3736"/>
                <a:gd name="T97" fmla="*/ 2857 h 3678"/>
                <a:gd name="T98" fmla="*/ 2177 w 3736"/>
                <a:gd name="T99" fmla="*/ 3030 h 3678"/>
                <a:gd name="T100" fmla="*/ 2238 w 3736"/>
                <a:gd name="T101" fmla="*/ 3367 h 3678"/>
                <a:gd name="T102" fmla="*/ 2032 w 3736"/>
                <a:gd name="T103" fmla="*/ 3630 h 3678"/>
                <a:gd name="T104" fmla="*/ 311 w 3736"/>
                <a:gd name="T105" fmla="*/ 3666 h 3678"/>
                <a:gd name="T106" fmla="*/ 49 w 3736"/>
                <a:gd name="T107" fmla="*/ 3460 h 3678"/>
                <a:gd name="T108" fmla="*/ 28 w 3736"/>
                <a:gd name="T109" fmla="*/ 3116 h 3678"/>
                <a:gd name="T110" fmla="*/ 263 w 3736"/>
                <a:gd name="T111" fmla="*/ 2882 h 3678"/>
                <a:gd name="T112" fmla="*/ 317 w 3736"/>
                <a:gd name="T113" fmla="*/ 2724 h 3678"/>
                <a:gd name="T114" fmla="*/ 178 w 3736"/>
                <a:gd name="T115" fmla="*/ 2553 h 3678"/>
                <a:gd name="T116" fmla="*/ 284 w 3736"/>
                <a:gd name="T117" fmla="*/ 1975 h 3678"/>
                <a:gd name="T118" fmla="*/ 740 w 3736"/>
                <a:gd name="T119" fmla="*/ 1477 h 3678"/>
                <a:gd name="T120" fmla="*/ 963 w 3736"/>
                <a:gd name="T121" fmla="*/ 1310 h 3678"/>
                <a:gd name="T122" fmla="*/ 2410 w 3736"/>
                <a:gd name="T123" fmla="*/ 48 h 3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6" h="3678">
                  <a:moveTo>
                    <a:pt x="413" y="2964"/>
                  </a:moveTo>
                  <a:lnTo>
                    <a:pt x="367" y="2968"/>
                  </a:lnTo>
                  <a:lnTo>
                    <a:pt x="325" y="2978"/>
                  </a:lnTo>
                  <a:lnTo>
                    <a:pt x="286" y="2993"/>
                  </a:lnTo>
                  <a:lnTo>
                    <a:pt x="248" y="3013"/>
                  </a:lnTo>
                  <a:lnTo>
                    <a:pt x="215" y="3039"/>
                  </a:lnTo>
                  <a:lnTo>
                    <a:pt x="185" y="3069"/>
                  </a:lnTo>
                  <a:lnTo>
                    <a:pt x="160" y="3102"/>
                  </a:lnTo>
                  <a:lnTo>
                    <a:pt x="139" y="3139"/>
                  </a:lnTo>
                  <a:lnTo>
                    <a:pt x="125" y="3179"/>
                  </a:lnTo>
                  <a:lnTo>
                    <a:pt x="114" y="3222"/>
                  </a:lnTo>
                  <a:lnTo>
                    <a:pt x="111" y="3266"/>
                  </a:lnTo>
                  <a:lnTo>
                    <a:pt x="114" y="3310"/>
                  </a:lnTo>
                  <a:lnTo>
                    <a:pt x="125" y="3352"/>
                  </a:lnTo>
                  <a:lnTo>
                    <a:pt x="139" y="3393"/>
                  </a:lnTo>
                  <a:lnTo>
                    <a:pt x="160" y="3430"/>
                  </a:lnTo>
                  <a:lnTo>
                    <a:pt x="185" y="3464"/>
                  </a:lnTo>
                  <a:lnTo>
                    <a:pt x="215" y="3493"/>
                  </a:lnTo>
                  <a:lnTo>
                    <a:pt x="248" y="3518"/>
                  </a:lnTo>
                  <a:lnTo>
                    <a:pt x="286" y="3538"/>
                  </a:lnTo>
                  <a:lnTo>
                    <a:pt x="325" y="3554"/>
                  </a:lnTo>
                  <a:lnTo>
                    <a:pt x="367" y="3563"/>
                  </a:lnTo>
                  <a:lnTo>
                    <a:pt x="413" y="3567"/>
                  </a:lnTo>
                  <a:lnTo>
                    <a:pt x="1838" y="3567"/>
                  </a:lnTo>
                  <a:lnTo>
                    <a:pt x="1882" y="3563"/>
                  </a:lnTo>
                  <a:lnTo>
                    <a:pt x="1925" y="3554"/>
                  </a:lnTo>
                  <a:lnTo>
                    <a:pt x="1965" y="3538"/>
                  </a:lnTo>
                  <a:lnTo>
                    <a:pt x="2002" y="3518"/>
                  </a:lnTo>
                  <a:lnTo>
                    <a:pt x="2035" y="3493"/>
                  </a:lnTo>
                  <a:lnTo>
                    <a:pt x="2065" y="3464"/>
                  </a:lnTo>
                  <a:lnTo>
                    <a:pt x="2091" y="3430"/>
                  </a:lnTo>
                  <a:lnTo>
                    <a:pt x="2111" y="3393"/>
                  </a:lnTo>
                  <a:lnTo>
                    <a:pt x="2126" y="3352"/>
                  </a:lnTo>
                  <a:lnTo>
                    <a:pt x="2136" y="3310"/>
                  </a:lnTo>
                  <a:lnTo>
                    <a:pt x="2140" y="3266"/>
                  </a:lnTo>
                  <a:lnTo>
                    <a:pt x="2136" y="3222"/>
                  </a:lnTo>
                  <a:lnTo>
                    <a:pt x="2126" y="3179"/>
                  </a:lnTo>
                  <a:lnTo>
                    <a:pt x="2111" y="3139"/>
                  </a:lnTo>
                  <a:lnTo>
                    <a:pt x="2091" y="3102"/>
                  </a:lnTo>
                  <a:lnTo>
                    <a:pt x="2065" y="3069"/>
                  </a:lnTo>
                  <a:lnTo>
                    <a:pt x="2035" y="3039"/>
                  </a:lnTo>
                  <a:lnTo>
                    <a:pt x="2002" y="3013"/>
                  </a:lnTo>
                  <a:lnTo>
                    <a:pt x="1965" y="2993"/>
                  </a:lnTo>
                  <a:lnTo>
                    <a:pt x="1925" y="2978"/>
                  </a:lnTo>
                  <a:lnTo>
                    <a:pt x="1882" y="2968"/>
                  </a:lnTo>
                  <a:lnTo>
                    <a:pt x="1838" y="2964"/>
                  </a:lnTo>
                  <a:lnTo>
                    <a:pt x="413" y="2964"/>
                  </a:lnTo>
                  <a:close/>
                  <a:moveTo>
                    <a:pt x="943" y="2727"/>
                  </a:moveTo>
                  <a:lnTo>
                    <a:pt x="943" y="2853"/>
                  </a:lnTo>
                  <a:lnTo>
                    <a:pt x="1307" y="2853"/>
                  </a:lnTo>
                  <a:lnTo>
                    <a:pt x="1307" y="2727"/>
                  </a:lnTo>
                  <a:lnTo>
                    <a:pt x="943" y="2727"/>
                  </a:lnTo>
                  <a:close/>
                  <a:moveTo>
                    <a:pt x="3407" y="2328"/>
                  </a:moveTo>
                  <a:lnTo>
                    <a:pt x="2754" y="2590"/>
                  </a:lnTo>
                  <a:lnTo>
                    <a:pt x="2936" y="2741"/>
                  </a:lnTo>
                  <a:lnTo>
                    <a:pt x="2970" y="2765"/>
                  </a:lnTo>
                  <a:lnTo>
                    <a:pt x="3005" y="2783"/>
                  </a:lnTo>
                  <a:lnTo>
                    <a:pt x="3042" y="2797"/>
                  </a:lnTo>
                  <a:lnTo>
                    <a:pt x="3081" y="2806"/>
                  </a:lnTo>
                  <a:lnTo>
                    <a:pt x="3121" y="2809"/>
                  </a:lnTo>
                  <a:lnTo>
                    <a:pt x="3161" y="2808"/>
                  </a:lnTo>
                  <a:lnTo>
                    <a:pt x="3201" y="2800"/>
                  </a:lnTo>
                  <a:lnTo>
                    <a:pt x="3240" y="2787"/>
                  </a:lnTo>
                  <a:lnTo>
                    <a:pt x="3429" y="2711"/>
                  </a:lnTo>
                  <a:lnTo>
                    <a:pt x="3452" y="2700"/>
                  </a:lnTo>
                  <a:lnTo>
                    <a:pt x="3470" y="2684"/>
                  </a:lnTo>
                  <a:lnTo>
                    <a:pt x="3485" y="2666"/>
                  </a:lnTo>
                  <a:lnTo>
                    <a:pt x="3496" y="2646"/>
                  </a:lnTo>
                  <a:lnTo>
                    <a:pt x="3504" y="2623"/>
                  </a:lnTo>
                  <a:lnTo>
                    <a:pt x="3506" y="2599"/>
                  </a:lnTo>
                  <a:lnTo>
                    <a:pt x="3504" y="2575"/>
                  </a:lnTo>
                  <a:lnTo>
                    <a:pt x="3497" y="2551"/>
                  </a:lnTo>
                  <a:lnTo>
                    <a:pt x="3407" y="2328"/>
                  </a:lnTo>
                  <a:close/>
                  <a:moveTo>
                    <a:pt x="353" y="2073"/>
                  </a:moveTo>
                  <a:lnTo>
                    <a:pt x="333" y="2076"/>
                  </a:lnTo>
                  <a:lnTo>
                    <a:pt x="315" y="2085"/>
                  </a:lnTo>
                  <a:lnTo>
                    <a:pt x="302" y="2099"/>
                  </a:lnTo>
                  <a:lnTo>
                    <a:pt x="292" y="2116"/>
                  </a:lnTo>
                  <a:lnTo>
                    <a:pt x="289" y="2136"/>
                  </a:lnTo>
                  <a:lnTo>
                    <a:pt x="289" y="2553"/>
                  </a:lnTo>
                  <a:lnTo>
                    <a:pt x="292" y="2572"/>
                  </a:lnTo>
                  <a:lnTo>
                    <a:pt x="302" y="2590"/>
                  </a:lnTo>
                  <a:lnTo>
                    <a:pt x="315" y="2604"/>
                  </a:lnTo>
                  <a:lnTo>
                    <a:pt x="333" y="2613"/>
                  </a:lnTo>
                  <a:lnTo>
                    <a:pt x="353" y="2616"/>
                  </a:lnTo>
                  <a:lnTo>
                    <a:pt x="713" y="2616"/>
                  </a:lnTo>
                  <a:lnTo>
                    <a:pt x="713" y="2073"/>
                  </a:lnTo>
                  <a:lnTo>
                    <a:pt x="353" y="2073"/>
                  </a:lnTo>
                  <a:close/>
                  <a:moveTo>
                    <a:pt x="3562" y="1955"/>
                  </a:moveTo>
                  <a:lnTo>
                    <a:pt x="3542" y="1957"/>
                  </a:lnTo>
                  <a:lnTo>
                    <a:pt x="3524" y="1966"/>
                  </a:lnTo>
                  <a:lnTo>
                    <a:pt x="3511" y="1980"/>
                  </a:lnTo>
                  <a:lnTo>
                    <a:pt x="3502" y="1998"/>
                  </a:lnTo>
                  <a:lnTo>
                    <a:pt x="3498" y="2017"/>
                  </a:lnTo>
                  <a:lnTo>
                    <a:pt x="3502" y="2038"/>
                  </a:lnTo>
                  <a:lnTo>
                    <a:pt x="3511" y="2055"/>
                  </a:lnTo>
                  <a:lnTo>
                    <a:pt x="3524" y="2068"/>
                  </a:lnTo>
                  <a:lnTo>
                    <a:pt x="3542" y="2077"/>
                  </a:lnTo>
                  <a:lnTo>
                    <a:pt x="3562" y="2081"/>
                  </a:lnTo>
                  <a:lnTo>
                    <a:pt x="3582" y="2077"/>
                  </a:lnTo>
                  <a:lnTo>
                    <a:pt x="3599" y="2068"/>
                  </a:lnTo>
                  <a:lnTo>
                    <a:pt x="3613" y="2055"/>
                  </a:lnTo>
                  <a:lnTo>
                    <a:pt x="3622" y="2038"/>
                  </a:lnTo>
                  <a:lnTo>
                    <a:pt x="3625" y="2017"/>
                  </a:lnTo>
                  <a:lnTo>
                    <a:pt x="3622" y="1998"/>
                  </a:lnTo>
                  <a:lnTo>
                    <a:pt x="3613" y="1980"/>
                  </a:lnTo>
                  <a:lnTo>
                    <a:pt x="3599" y="1966"/>
                  </a:lnTo>
                  <a:lnTo>
                    <a:pt x="3582" y="1957"/>
                  </a:lnTo>
                  <a:lnTo>
                    <a:pt x="3562" y="1955"/>
                  </a:lnTo>
                  <a:close/>
                  <a:moveTo>
                    <a:pt x="950" y="1428"/>
                  </a:moveTo>
                  <a:lnTo>
                    <a:pt x="921" y="1441"/>
                  </a:lnTo>
                  <a:lnTo>
                    <a:pt x="893" y="1458"/>
                  </a:lnTo>
                  <a:lnTo>
                    <a:pt x="871" y="1481"/>
                  </a:lnTo>
                  <a:lnTo>
                    <a:pt x="851" y="1507"/>
                  </a:lnTo>
                  <a:lnTo>
                    <a:pt x="837" y="1536"/>
                  </a:lnTo>
                  <a:lnTo>
                    <a:pt x="828" y="1568"/>
                  </a:lnTo>
                  <a:lnTo>
                    <a:pt x="824" y="1601"/>
                  </a:lnTo>
                  <a:lnTo>
                    <a:pt x="824" y="2616"/>
                  </a:lnTo>
                  <a:lnTo>
                    <a:pt x="1843" y="2616"/>
                  </a:lnTo>
                  <a:lnTo>
                    <a:pt x="1843" y="2489"/>
                  </a:lnTo>
                  <a:lnTo>
                    <a:pt x="1556" y="2489"/>
                  </a:lnTo>
                  <a:lnTo>
                    <a:pt x="1468" y="2487"/>
                  </a:lnTo>
                  <a:lnTo>
                    <a:pt x="1382" y="2478"/>
                  </a:lnTo>
                  <a:lnTo>
                    <a:pt x="1297" y="2462"/>
                  </a:lnTo>
                  <a:lnTo>
                    <a:pt x="1213" y="2441"/>
                  </a:lnTo>
                  <a:lnTo>
                    <a:pt x="1132" y="2414"/>
                  </a:lnTo>
                  <a:lnTo>
                    <a:pt x="1050" y="2382"/>
                  </a:lnTo>
                  <a:lnTo>
                    <a:pt x="1026" y="2369"/>
                  </a:lnTo>
                  <a:lnTo>
                    <a:pt x="1005" y="2352"/>
                  </a:lnTo>
                  <a:lnTo>
                    <a:pt x="985" y="2331"/>
                  </a:lnTo>
                  <a:lnTo>
                    <a:pt x="971" y="2309"/>
                  </a:lnTo>
                  <a:lnTo>
                    <a:pt x="960" y="2284"/>
                  </a:lnTo>
                  <a:lnTo>
                    <a:pt x="954" y="2256"/>
                  </a:lnTo>
                  <a:lnTo>
                    <a:pt x="950" y="2228"/>
                  </a:lnTo>
                  <a:lnTo>
                    <a:pt x="950" y="1428"/>
                  </a:lnTo>
                  <a:close/>
                  <a:moveTo>
                    <a:pt x="1062" y="1419"/>
                  </a:moveTo>
                  <a:lnTo>
                    <a:pt x="1062" y="2228"/>
                  </a:lnTo>
                  <a:lnTo>
                    <a:pt x="1065" y="2245"/>
                  </a:lnTo>
                  <a:lnTo>
                    <a:pt x="1071" y="2259"/>
                  </a:lnTo>
                  <a:lnTo>
                    <a:pt x="1082" y="2271"/>
                  </a:lnTo>
                  <a:lnTo>
                    <a:pt x="1095" y="2280"/>
                  </a:lnTo>
                  <a:lnTo>
                    <a:pt x="1171" y="2311"/>
                  </a:lnTo>
                  <a:lnTo>
                    <a:pt x="1248" y="2335"/>
                  </a:lnTo>
                  <a:lnTo>
                    <a:pt x="1248" y="1601"/>
                  </a:lnTo>
                  <a:lnTo>
                    <a:pt x="1251" y="1584"/>
                  </a:lnTo>
                  <a:lnTo>
                    <a:pt x="1259" y="1568"/>
                  </a:lnTo>
                  <a:lnTo>
                    <a:pt x="1271" y="1557"/>
                  </a:lnTo>
                  <a:lnTo>
                    <a:pt x="1286" y="1549"/>
                  </a:lnTo>
                  <a:lnTo>
                    <a:pt x="1304" y="1545"/>
                  </a:lnTo>
                  <a:lnTo>
                    <a:pt x="1321" y="1549"/>
                  </a:lnTo>
                  <a:lnTo>
                    <a:pt x="1337" y="1557"/>
                  </a:lnTo>
                  <a:lnTo>
                    <a:pt x="1348" y="1568"/>
                  </a:lnTo>
                  <a:lnTo>
                    <a:pt x="1356" y="1584"/>
                  </a:lnTo>
                  <a:lnTo>
                    <a:pt x="1360" y="1601"/>
                  </a:lnTo>
                  <a:lnTo>
                    <a:pt x="1360" y="2361"/>
                  </a:lnTo>
                  <a:lnTo>
                    <a:pt x="1424" y="2370"/>
                  </a:lnTo>
                  <a:lnTo>
                    <a:pt x="1490" y="2376"/>
                  </a:lnTo>
                  <a:lnTo>
                    <a:pt x="1556" y="2378"/>
                  </a:lnTo>
                  <a:lnTo>
                    <a:pt x="1961" y="2378"/>
                  </a:lnTo>
                  <a:lnTo>
                    <a:pt x="1961" y="2221"/>
                  </a:lnTo>
                  <a:lnTo>
                    <a:pt x="1958" y="2171"/>
                  </a:lnTo>
                  <a:lnTo>
                    <a:pt x="1949" y="2123"/>
                  </a:lnTo>
                  <a:lnTo>
                    <a:pt x="1936" y="2076"/>
                  </a:lnTo>
                  <a:lnTo>
                    <a:pt x="1915" y="2031"/>
                  </a:lnTo>
                  <a:lnTo>
                    <a:pt x="1890" y="1988"/>
                  </a:lnTo>
                  <a:lnTo>
                    <a:pt x="1566" y="1500"/>
                  </a:lnTo>
                  <a:lnTo>
                    <a:pt x="1547" y="1477"/>
                  </a:lnTo>
                  <a:lnTo>
                    <a:pt x="1525" y="1457"/>
                  </a:lnTo>
                  <a:lnTo>
                    <a:pt x="1500" y="1441"/>
                  </a:lnTo>
                  <a:lnTo>
                    <a:pt x="1473" y="1428"/>
                  </a:lnTo>
                  <a:lnTo>
                    <a:pt x="1445" y="1422"/>
                  </a:lnTo>
                  <a:lnTo>
                    <a:pt x="1414" y="1419"/>
                  </a:lnTo>
                  <a:lnTo>
                    <a:pt x="1062" y="1419"/>
                  </a:lnTo>
                  <a:close/>
                  <a:moveTo>
                    <a:pt x="2753" y="353"/>
                  </a:moveTo>
                  <a:lnTo>
                    <a:pt x="2749" y="361"/>
                  </a:lnTo>
                  <a:lnTo>
                    <a:pt x="2571" y="659"/>
                  </a:lnTo>
                  <a:lnTo>
                    <a:pt x="3419" y="1917"/>
                  </a:lnTo>
                  <a:lnTo>
                    <a:pt x="3437" y="1895"/>
                  </a:lnTo>
                  <a:lnTo>
                    <a:pt x="3460" y="1876"/>
                  </a:lnTo>
                  <a:lnTo>
                    <a:pt x="3485" y="1861"/>
                  </a:lnTo>
                  <a:lnTo>
                    <a:pt x="3512" y="1850"/>
                  </a:lnTo>
                  <a:lnTo>
                    <a:pt x="3541" y="1844"/>
                  </a:lnTo>
                  <a:lnTo>
                    <a:pt x="2753" y="353"/>
                  </a:lnTo>
                  <a:close/>
                  <a:moveTo>
                    <a:pt x="2334" y="320"/>
                  </a:moveTo>
                  <a:lnTo>
                    <a:pt x="1562" y="1348"/>
                  </a:lnTo>
                  <a:lnTo>
                    <a:pt x="1590" y="1366"/>
                  </a:lnTo>
                  <a:lnTo>
                    <a:pt x="1616" y="1387"/>
                  </a:lnTo>
                  <a:lnTo>
                    <a:pt x="1638" y="1411"/>
                  </a:lnTo>
                  <a:lnTo>
                    <a:pt x="1658" y="1439"/>
                  </a:lnTo>
                  <a:lnTo>
                    <a:pt x="1827" y="1690"/>
                  </a:lnTo>
                  <a:lnTo>
                    <a:pt x="2555" y="467"/>
                  </a:lnTo>
                  <a:lnTo>
                    <a:pt x="2551" y="467"/>
                  </a:lnTo>
                  <a:lnTo>
                    <a:pt x="2515" y="465"/>
                  </a:lnTo>
                  <a:lnTo>
                    <a:pt x="2481" y="457"/>
                  </a:lnTo>
                  <a:lnTo>
                    <a:pt x="2448" y="444"/>
                  </a:lnTo>
                  <a:lnTo>
                    <a:pt x="2419" y="427"/>
                  </a:lnTo>
                  <a:lnTo>
                    <a:pt x="2391" y="405"/>
                  </a:lnTo>
                  <a:lnTo>
                    <a:pt x="2369" y="380"/>
                  </a:lnTo>
                  <a:lnTo>
                    <a:pt x="2349" y="351"/>
                  </a:lnTo>
                  <a:lnTo>
                    <a:pt x="2334" y="320"/>
                  </a:lnTo>
                  <a:close/>
                  <a:moveTo>
                    <a:pt x="2551" y="111"/>
                  </a:moveTo>
                  <a:lnTo>
                    <a:pt x="2523" y="115"/>
                  </a:lnTo>
                  <a:lnTo>
                    <a:pt x="2498" y="124"/>
                  </a:lnTo>
                  <a:lnTo>
                    <a:pt x="2475" y="138"/>
                  </a:lnTo>
                  <a:lnTo>
                    <a:pt x="2456" y="157"/>
                  </a:lnTo>
                  <a:lnTo>
                    <a:pt x="2441" y="180"/>
                  </a:lnTo>
                  <a:lnTo>
                    <a:pt x="2432" y="205"/>
                  </a:lnTo>
                  <a:lnTo>
                    <a:pt x="2429" y="234"/>
                  </a:lnTo>
                  <a:lnTo>
                    <a:pt x="2432" y="262"/>
                  </a:lnTo>
                  <a:lnTo>
                    <a:pt x="2441" y="287"/>
                  </a:lnTo>
                  <a:lnTo>
                    <a:pt x="2456" y="311"/>
                  </a:lnTo>
                  <a:lnTo>
                    <a:pt x="2475" y="329"/>
                  </a:lnTo>
                  <a:lnTo>
                    <a:pt x="2498" y="344"/>
                  </a:lnTo>
                  <a:lnTo>
                    <a:pt x="2523" y="353"/>
                  </a:lnTo>
                  <a:lnTo>
                    <a:pt x="2551" y="356"/>
                  </a:lnTo>
                  <a:lnTo>
                    <a:pt x="2576" y="354"/>
                  </a:lnTo>
                  <a:lnTo>
                    <a:pt x="2599" y="347"/>
                  </a:lnTo>
                  <a:lnTo>
                    <a:pt x="2619" y="336"/>
                  </a:lnTo>
                  <a:lnTo>
                    <a:pt x="2638" y="321"/>
                  </a:lnTo>
                  <a:lnTo>
                    <a:pt x="2653" y="303"/>
                  </a:lnTo>
                  <a:lnTo>
                    <a:pt x="2656" y="298"/>
                  </a:lnTo>
                  <a:lnTo>
                    <a:pt x="2657" y="297"/>
                  </a:lnTo>
                  <a:lnTo>
                    <a:pt x="2666" y="278"/>
                  </a:lnTo>
                  <a:lnTo>
                    <a:pt x="2672" y="256"/>
                  </a:lnTo>
                  <a:lnTo>
                    <a:pt x="2674" y="234"/>
                  </a:lnTo>
                  <a:lnTo>
                    <a:pt x="2672" y="210"/>
                  </a:lnTo>
                  <a:lnTo>
                    <a:pt x="2665" y="187"/>
                  </a:lnTo>
                  <a:lnTo>
                    <a:pt x="2661" y="180"/>
                  </a:lnTo>
                  <a:lnTo>
                    <a:pt x="2658" y="174"/>
                  </a:lnTo>
                  <a:lnTo>
                    <a:pt x="2643" y="153"/>
                  </a:lnTo>
                  <a:lnTo>
                    <a:pt x="2625" y="136"/>
                  </a:lnTo>
                  <a:lnTo>
                    <a:pt x="2603" y="123"/>
                  </a:lnTo>
                  <a:lnTo>
                    <a:pt x="2579" y="115"/>
                  </a:lnTo>
                  <a:lnTo>
                    <a:pt x="2551" y="111"/>
                  </a:lnTo>
                  <a:close/>
                  <a:moveTo>
                    <a:pt x="2551" y="0"/>
                  </a:moveTo>
                  <a:lnTo>
                    <a:pt x="2591" y="3"/>
                  </a:lnTo>
                  <a:lnTo>
                    <a:pt x="2630" y="12"/>
                  </a:lnTo>
                  <a:lnTo>
                    <a:pt x="2665" y="28"/>
                  </a:lnTo>
                  <a:lnTo>
                    <a:pt x="2696" y="50"/>
                  </a:lnTo>
                  <a:lnTo>
                    <a:pt x="2724" y="75"/>
                  </a:lnTo>
                  <a:lnTo>
                    <a:pt x="2747" y="106"/>
                  </a:lnTo>
                  <a:lnTo>
                    <a:pt x="2766" y="138"/>
                  </a:lnTo>
                  <a:lnTo>
                    <a:pt x="3713" y="1930"/>
                  </a:lnTo>
                  <a:lnTo>
                    <a:pt x="3726" y="1957"/>
                  </a:lnTo>
                  <a:lnTo>
                    <a:pt x="3734" y="1986"/>
                  </a:lnTo>
                  <a:lnTo>
                    <a:pt x="3736" y="2017"/>
                  </a:lnTo>
                  <a:lnTo>
                    <a:pt x="3733" y="2050"/>
                  </a:lnTo>
                  <a:lnTo>
                    <a:pt x="3725" y="2080"/>
                  </a:lnTo>
                  <a:lnTo>
                    <a:pt x="3711" y="2108"/>
                  </a:lnTo>
                  <a:lnTo>
                    <a:pt x="3693" y="2132"/>
                  </a:lnTo>
                  <a:lnTo>
                    <a:pt x="3672" y="2153"/>
                  </a:lnTo>
                  <a:lnTo>
                    <a:pt x="3646" y="2170"/>
                  </a:lnTo>
                  <a:lnTo>
                    <a:pt x="3617" y="2183"/>
                  </a:lnTo>
                  <a:lnTo>
                    <a:pt x="3617" y="2612"/>
                  </a:lnTo>
                  <a:lnTo>
                    <a:pt x="3617" y="2620"/>
                  </a:lnTo>
                  <a:lnTo>
                    <a:pt x="3616" y="2626"/>
                  </a:lnTo>
                  <a:lnTo>
                    <a:pt x="3609" y="2660"/>
                  </a:lnTo>
                  <a:lnTo>
                    <a:pt x="3597" y="2693"/>
                  </a:lnTo>
                  <a:lnTo>
                    <a:pt x="3580" y="2724"/>
                  </a:lnTo>
                  <a:lnTo>
                    <a:pt x="3559" y="2752"/>
                  </a:lnTo>
                  <a:lnTo>
                    <a:pt x="3533" y="2777"/>
                  </a:lnTo>
                  <a:lnTo>
                    <a:pt x="3504" y="2799"/>
                  </a:lnTo>
                  <a:lnTo>
                    <a:pt x="3471" y="2815"/>
                  </a:lnTo>
                  <a:lnTo>
                    <a:pt x="3282" y="2891"/>
                  </a:lnTo>
                  <a:lnTo>
                    <a:pt x="3231" y="2908"/>
                  </a:lnTo>
                  <a:lnTo>
                    <a:pt x="3180" y="2918"/>
                  </a:lnTo>
                  <a:lnTo>
                    <a:pt x="3127" y="2920"/>
                  </a:lnTo>
                  <a:lnTo>
                    <a:pt x="3081" y="2918"/>
                  </a:lnTo>
                  <a:lnTo>
                    <a:pt x="3034" y="2910"/>
                  </a:lnTo>
                  <a:lnTo>
                    <a:pt x="2989" y="2896"/>
                  </a:lnTo>
                  <a:lnTo>
                    <a:pt x="2946" y="2878"/>
                  </a:lnTo>
                  <a:lnTo>
                    <a:pt x="2904" y="2855"/>
                  </a:lnTo>
                  <a:lnTo>
                    <a:pt x="2865" y="2826"/>
                  </a:lnTo>
                  <a:lnTo>
                    <a:pt x="2454" y="2487"/>
                  </a:lnTo>
                  <a:lnTo>
                    <a:pt x="2442" y="2474"/>
                  </a:lnTo>
                  <a:lnTo>
                    <a:pt x="2436" y="2458"/>
                  </a:lnTo>
                  <a:lnTo>
                    <a:pt x="2433" y="2441"/>
                  </a:lnTo>
                  <a:lnTo>
                    <a:pt x="2438" y="2424"/>
                  </a:lnTo>
                  <a:lnTo>
                    <a:pt x="2447" y="2409"/>
                  </a:lnTo>
                  <a:lnTo>
                    <a:pt x="2459" y="2397"/>
                  </a:lnTo>
                  <a:lnTo>
                    <a:pt x="2475" y="2390"/>
                  </a:lnTo>
                  <a:lnTo>
                    <a:pt x="2492" y="2388"/>
                  </a:lnTo>
                  <a:lnTo>
                    <a:pt x="2509" y="2393"/>
                  </a:lnTo>
                  <a:lnTo>
                    <a:pt x="2525" y="2402"/>
                  </a:lnTo>
                  <a:lnTo>
                    <a:pt x="2656" y="2509"/>
                  </a:lnTo>
                  <a:lnTo>
                    <a:pt x="3418" y="2203"/>
                  </a:lnTo>
                  <a:lnTo>
                    <a:pt x="3431" y="2200"/>
                  </a:lnTo>
                  <a:lnTo>
                    <a:pt x="3446" y="2200"/>
                  </a:lnTo>
                  <a:lnTo>
                    <a:pt x="3460" y="2204"/>
                  </a:lnTo>
                  <a:lnTo>
                    <a:pt x="3472" y="2211"/>
                  </a:lnTo>
                  <a:lnTo>
                    <a:pt x="3482" y="2221"/>
                  </a:lnTo>
                  <a:lnTo>
                    <a:pt x="3490" y="2235"/>
                  </a:lnTo>
                  <a:lnTo>
                    <a:pt x="3506" y="2275"/>
                  </a:lnTo>
                  <a:lnTo>
                    <a:pt x="3506" y="2183"/>
                  </a:lnTo>
                  <a:lnTo>
                    <a:pt x="3478" y="2170"/>
                  </a:lnTo>
                  <a:lnTo>
                    <a:pt x="3452" y="2152"/>
                  </a:lnTo>
                  <a:lnTo>
                    <a:pt x="3429" y="2131"/>
                  </a:lnTo>
                  <a:lnTo>
                    <a:pt x="3411" y="2106"/>
                  </a:lnTo>
                  <a:lnTo>
                    <a:pt x="2507" y="766"/>
                  </a:lnTo>
                  <a:lnTo>
                    <a:pt x="1895" y="1794"/>
                  </a:lnTo>
                  <a:lnTo>
                    <a:pt x="1983" y="1926"/>
                  </a:lnTo>
                  <a:lnTo>
                    <a:pt x="2010" y="1971"/>
                  </a:lnTo>
                  <a:lnTo>
                    <a:pt x="2032" y="2018"/>
                  </a:lnTo>
                  <a:lnTo>
                    <a:pt x="2050" y="2067"/>
                  </a:lnTo>
                  <a:lnTo>
                    <a:pt x="2063" y="2117"/>
                  </a:lnTo>
                  <a:lnTo>
                    <a:pt x="2069" y="2168"/>
                  </a:lnTo>
                  <a:lnTo>
                    <a:pt x="2073" y="2221"/>
                  </a:lnTo>
                  <a:lnTo>
                    <a:pt x="2073" y="2433"/>
                  </a:lnTo>
                  <a:lnTo>
                    <a:pt x="2072" y="2441"/>
                  </a:lnTo>
                  <a:lnTo>
                    <a:pt x="2069" y="2452"/>
                  </a:lnTo>
                  <a:lnTo>
                    <a:pt x="2066" y="2460"/>
                  </a:lnTo>
                  <a:lnTo>
                    <a:pt x="2064" y="2463"/>
                  </a:lnTo>
                  <a:lnTo>
                    <a:pt x="2063" y="2465"/>
                  </a:lnTo>
                  <a:lnTo>
                    <a:pt x="2060" y="2469"/>
                  </a:lnTo>
                  <a:lnTo>
                    <a:pt x="2059" y="2469"/>
                  </a:lnTo>
                  <a:lnTo>
                    <a:pt x="2058" y="2471"/>
                  </a:lnTo>
                  <a:lnTo>
                    <a:pt x="2056" y="2473"/>
                  </a:lnTo>
                  <a:lnTo>
                    <a:pt x="2055" y="2474"/>
                  </a:lnTo>
                  <a:lnTo>
                    <a:pt x="2052" y="2477"/>
                  </a:lnTo>
                  <a:lnTo>
                    <a:pt x="2050" y="2478"/>
                  </a:lnTo>
                  <a:lnTo>
                    <a:pt x="2048" y="2480"/>
                  </a:lnTo>
                  <a:lnTo>
                    <a:pt x="2043" y="2482"/>
                  </a:lnTo>
                  <a:lnTo>
                    <a:pt x="2039" y="2485"/>
                  </a:lnTo>
                  <a:lnTo>
                    <a:pt x="2039" y="2485"/>
                  </a:lnTo>
                  <a:lnTo>
                    <a:pt x="2035" y="2486"/>
                  </a:lnTo>
                  <a:lnTo>
                    <a:pt x="2033" y="2487"/>
                  </a:lnTo>
                  <a:lnTo>
                    <a:pt x="2031" y="2488"/>
                  </a:lnTo>
                  <a:lnTo>
                    <a:pt x="2027" y="2488"/>
                  </a:lnTo>
                  <a:lnTo>
                    <a:pt x="2024" y="2489"/>
                  </a:lnTo>
                  <a:lnTo>
                    <a:pt x="2023" y="2489"/>
                  </a:lnTo>
                  <a:lnTo>
                    <a:pt x="2019" y="2489"/>
                  </a:lnTo>
                  <a:lnTo>
                    <a:pt x="2017" y="2489"/>
                  </a:lnTo>
                  <a:lnTo>
                    <a:pt x="1954" y="2489"/>
                  </a:lnTo>
                  <a:lnTo>
                    <a:pt x="1954" y="2672"/>
                  </a:lnTo>
                  <a:lnTo>
                    <a:pt x="1950" y="2689"/>
                  </a:lnTo>
                  <a:lnTo>
                    <a:pt x="1942" y="2705"/>
                  </a:lnTo>
                  <a:lnTo>
                    <a:pt x="1931" y="2716"/>
                  </a:lnTo>
                  <a:lnTo>
                    <a:pt x="1915" y="2724"/>
                  </a:lnTo>
                  <a:lnTo>
                    <a:pt x="1898" y="2727"/>
                  </a:lnTo>
                  <a:lnTo>
                    <a:pt x="1418" y="2727"/>
                  </a:lnTo>
                  <a:lnTo>
                    <a:pt x="1418" y="2853"/>
                  </a:lnTo>
                  <a:lnTo>
                    <a:pt x="1838" y="2853"/>
                  </a:lnTo>
                  <a:lnTo>
                    <a:pt x="1890" y="2857"/>
                  </a:lnTo>
                  <a:lnTo>
                    <a:pt x="1940" y="2866"/>
                  </a:lnTo>
                  <a:lnTo>
                    <a:pt x="1988" y="2882"/>
                  </a:lnTo>
                  <a:lnTo>
                    <a:pt x="2032" y="2902"/>
                  </a:lnTo>
                  <a:lnTo>
                    <a:pt x="2074" y="2927"/>
                  </a:lnTo>
                  <a:lnTo>
                    <a:pt x="2112" y="2958"/>
                  </a:lnTo>
                  <a:lnTo>
                    <a:pt x="2146" y="2992"/>
                  </a:lnTo>
                  <a:lnTo>
                    <a:pt x="2177" y="3030"/>
                  </a:lnTo>
                  <a:lnTo>
                    <a:pt x="2202" y="3072"/>
                  </a:lnTo>
                  <a:lnTo>
                    <a:pt x="2222" y="3116"/>
                  </a:lnTo>
                  <a:lnTo>
                    <a:pt x="2238" y="3164"/>
                  </a:lnTo>
                  <a:lnTo>
                    <a:pt x="2247" y="3214"/>
                  </a:lnTo>
                  <a:lnTo>
                    <a:pt x="2251" y="3266"/>
                  </a:lnTo>
                  <a:lnTo>
                    <a:pt x="2247" y="3317"/>
                  </a:lnTo>
                  <a:lnTo>
                    <a:pt x="2238" y="3367"/>
                  </a:lnTo>
                  <a:lnTo>
                    <a:pt x="2222" y="3415"/>
                  </a:lnTo>
                  <a:lnTo>
                    <a:pt x="2202" y="3460"/>
                  </a:lnTo>
                  <a:lnTo>
                    <a:pt x="2177" y="3501"/>
                  </a:lnTo>
                  <a:lnTo>
                    <a:pt x="2146" y="3540"/>
                  </a:lnTo>
                  <a:lnTo>
                    <a:pt x="2112" y="3574"/>
                  </a:lnTo>
                  <a:lnTo>
                    <a:pt x="2074" y="3604"/>
                  </a:lnTo>
                  <a:lnTo>
                    <a:pt x="2032" y="3630"/>
                  </a:lnTo>
                  <a:lnTo>
                    <a:pt x="1988" y="3651"/>
                  </a:lnTo>
                  <a:lnTo>
                    <a:pt x="1940" y="3666"/>
                  </a:lnTo>
                  <a:lnTo>
                    <a:pt x="1890" y="3676"/>
                  </a:lnTo>
                  <a:lnTo>
                    <a:pt x="1838" y="3678"/>
                  </a:lnTo>
                  <a:lnTo>
                    <a:pt x="413" y="3678"/>
                  </a:lnTo>
                  <a:lnTo>
                    <a:pt x="360" y="3676"/>
                  </a:lnTo>
                  <a:lnTo>
                    <a:pt x="311" y="3666"/>
                  </a:lnTo>
                  <a:lnTo>
                    <a:pt x="263" y="3651"/>
                  </a:lnTo>
                  <a:lnTo>
                    <a:pt x="219" y="3630"/>
                  </a:lnTo>
                  <a:lnTo>
                    <a:pt x="177" y="3604"/>
                  </a:lnTo>
                  <a:lnTo>
                    <a:pt x="138" y="3574"/>
                  </a:lnTo>
                  <a:lnTo>
                    <a:pt x="104" y="3540"/>
                  </a:lnTo>
                  <a:lnTo>
                    <a:pt x="74" y="3501"/>
                  </a:lnTo>
                  <a:lnTo>
                    <a:pt x="49" y="3460"/>
                  </a:lnTo>
                  <a:lnTo>
                    <a:pt x="28" y="3415"/>
                  </a:lnTo>
                  <a:lnTo>
                    <a:pt x="12" y="3367"/>
                  </a:lnTo>
                  <a:lnTo>
                    <a:pt x="3" y="3317"/>
                  </a:lnTo>
                  <a:lnTo>
                    <a:pt x="0" y="3266"/>
                  </a:lnTo>
                  <a:lnTo>
                    <a:pt x="3" y="3214"/>
                  </a:lnTo>
                  <a:lnTo>
                    <a:pt x="12" y="3164"/>
                  </a:lnTo>
                  <a:lnTo>
                    <a:pt x="28" y="3116"/>
                  </a:lnTo>
                  <a:lnTo>
                    <a:pt x="49" y="3072"/>
                  </a:lnTo>
                  <a:lnTo>
                    <a:pt x="74" y="3030"/>
                  </a:lnTo>
                  <a:lnTo>
                    <a:pt x="104" y="2992"/>
                  </a:lnTo>
                  <a:lnTo>
                    <a:pt x="138" y="2958"/>
                  </a:lnTo>
                  <a:lnTo>
                    <a:pt x="177" y="2927"/>
                  </a:lnTo>
                  <a:lnTo>
                    <a:pt x="219" y="2902"/>
                  </a:lnTo>
                  <a:lnTo>
                    <a:pt x="263" y="2882"/>
                  </a:lnTo>
                  <a:lnTo>
                    <a:pt x="311" y="2866"/>
                  </a:lnTo>
                  <a:lnTo>
                    <a:pt x="360" y="2857"/>
                  </a:lnTo>
                  <a:lnTo>
                    <a:pt x="413" y="2853"/>
                  </a:lnTo>
                  <a:lnTo>
                    <a:pt x="832" y="2853"/>
                  </a:lnTo>
                  <a:lnTo>
                    <a:pt x="832" y="2727"/>
                  </a:lnTo>
                  <a:lnTo>
                    <a:pt x="353" y="2727"/>
                  </a:lnTo>
                  <a:lnTo>
                    <a:pt x="317" y="2724"/>
                  </a:lnTo>
                  <a:lnTo>
                    <a:pt x="284" y="2714"/>
                  </a:lnTo>
                  <a:lnTo>
                    <a:pt x="255" y="2698"/>
                  </a:lnTo>
                  <a:lnTo>
                    <a:pt x="229" y="2676"/>
                  </a:lnTo>
                  <a:lnTo>
                    <a:pt x="209" y="2650"/>
                  </a:lnTo>
                  <a:lnTo>
                    <a:pt x="192" y="2621"/>
                  </a:lnTo>
                  <a:lnTo>
                    <a:pt x="181" y="2588"/>
                  </a:lnTo>
                  <a:lnTo>
                    <a:pt x="178" y="2553"/>
                  </a:lnTo>
                  <a:lnTo>
                    <a:pt x="178" y="2136"/>
                  </a:lnTo>
                  <a:lnTo>
                    <a:pt x="181" y="2101"/>
                  </a:lnTo>
                  <a:lnTo>
                    <a:pt x="192" y="2068"/>
                  </a:lnTo>
                  <a:lnTo>
                    <a:pt x="209" y="2039"/>
                  </a:lnTo>
                  <a:lnTo>
                    <a:pt x="229" y="2013"/>
                  </a:lnTo>
                  <a:lnTo>
                    <a:pt x="255" y="1991"/>
                  </a:lnTo>
                  <a:lnTo>
                    <a:pt x="284" y="1975"/>
                  </a:lnTo>
                  <a:lnTo>
                    <a:pt x="317" y="1965"/>
                  </a:lnTo>
                  <a:lnTo>
                    <a:pt x="353" y="1962"/>
                  </a:lnTo>
                  <a:lnTo>
                    <a:pt x="713" y="1962"/>
                  </a:lnTo>
                  <a:lnTo>
                    <a:pt x="713" y="1601"/>
                  </a:lnTo>
                  <a:lnTo>
                    <a:pt x="717" y="1558"/>
                  </a:lnTo>
                  <a:lnTo>
                    <a:pt x="726" y="1517"/>
                  </a:lnTo>
                  <a:lnTo>
                    <a:pt x="740" y="1477"/>
                  </a:lnTo>
                  <a:lnTo>
                    <a:pt x="761" y="1442"/>
                  </a:lnTo>
                  <a:lnTo>
                    <a:pt x="785" y="1409"/>
                  </a:lnTo>
                  <a:lnTo>
                    <a:pt x="814" y="1380"/>
                  </a:lnTo>
                  <a:lnTo>
                    <a:pt x="847" y="1355"/>
                  </a:lnTo>
                  <a:lnTo>
                    <a:pt x="883" y="1335"/>
                  </a:lnTo>
                  <a:lnTo>
                    <a:pt x="922" y="1321"/>
                  </a:lnTo>
                  <a:lnTo>
                    <a:pt x="963" y="1310"/>
                  </a:lnTo>
                  <a:lnTo>
                    <a:pt x="1007" y="1308"/>
                  </a:lnTo>
                  <a:lnTo>
                    <a:pt x="1414" y="1308"/>
                  </a:lnTo>
                  <a:lnTo>
                    <a:pt x="1452" y="1310"/>
                  </a:lnTo>
                  <a:lnTo>
                    <a:pt x="2359" y="101"/>
                  </a:lnTo>
                  <a:lnTo>
                    <a:pt x="2359" y="101"/>
                  </a:lnTo>
                  <a:lnTo>
                    <a:pt x="2382" y="73"/>
                  </a:lnTo>
                  <a:lnTo>
                    <a:pt x="2410" y="48"/>
                  </a:lnTo>
                  <a:lnTo>
                    <a:pt x="2441" y="27"/>
                  </a:lnTo>
                  <a:lnTo>
                    <a:pt x="2475" y="12"/>
                  </a:lnTo>
                  <a:lnTo>
                    <a:pt x="2513" y="3"/>
                  </a:lnTo>
                  <a:lnTo>
                    <a:pt x="2551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</p:grpSp>
      <p:sp>
        <p:nvSpPr>
          <p:cNvPr id="23625" name="TextBox 158">
            <a:extLst>
              <a:ext uri="{FF2B5EF4-FFF2-40B4-BE49-F238E27FC236}">
                <a16:creationId xmlns:a16="http://schemas.microsoft.com/office/drawing/2014/main" id="{E039C87F-72AD-4054-B63A-554ACFFB9E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4663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26" name="TextBox 159">
            <a:extLst>
              <a:ext uri="{FF2B5EF4-FFF2-40B4-BE49-F238E27FC236}">
                <a16:creationId xmlns:a16="http://schemas.microsoft.com/office/drawing/2014/main" id="{C89D28E8-6E73-4458-A352-42A749EC09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3488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27" name="TextBox 127">
            <a:extLst>
              <a:ext uri="{FF2B5EF4-FFF2-40B4-BE49-F238E27FC236}">
                <a16:creationId xmlns:a16="http://schemas.microsoft.com/office/drawing/2014/main" id="{D2C4F5E9-E854-4896-8355-45DEC69063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7813" y="6378575"/>
            <a:ext cx="426243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Sources: National Bureau of Statistics, World Bank Report on Doing Business in Nigeria 2018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climate-data.org, State Government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Exchange rate= $1/N305 (Central Bank of Nigeria)</a:t>
            </a:r>
          </a:p>
        </p:txBody>
      </p:sp>
      <p:sp>
        <p:nvSpPr>
          <p:cNvPr id="23628" name="TextBox 128">
            <a:extLst>
              <a:ext uri="{FF2B5EF4-FFF2-40B4-BE49-F238E27FC236}">
                <a16:creationId xmlns:a16="http://schemas.microsoft.com/office/drawing/2014/main" id="{409BCC6F-A5F0-4C79-BB4A-38A1ABC14F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91600" y="3640453"/>
            <a:ext cx="61747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Irrigation</a:t>
            </a:r>
          </a:p>
        </p:txBody>
      </p:sp>
      <p:sp>
        <p:nvSpPr>
          <p:cNvPr id="23629" name="TextBox 129">
            <a:extLst>
              <a:ext uri="{FF2B5EF4-FFF2-40B4-BE49-F238E27FC236}">
                <a16:creationId xmlns:a16="http://schemas.microsoft.com/office/drawing/2014/main" id="{489E7B41-20C9-4493-8E7D-07238EB8FA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51467" y="3654980"/>
            <a:ext cx="50526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Cotton</a:t>
            </a:r>
          </a:p>
        </p:txBody>
      </p:sp>
      <p:sp>
        <p:nvSpPr>
          <p:cNvPr id="23631" name="TextBox 131">
            <a:extLst>
              <a:ext uri="{FF2B5EF4-FFF2-40B4-BE49-F238E27FC236}">
                <a16:creationId xmlns:a16="http://schemas.microsoft.com/office/drawing/2014/main" id="{FF8B6C80-43E2-43AF-A364-A31845F05C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5388" y="3656613"/>
            <a:ext cx="54213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Leather</a:t>
            </a:r>
          </a:p>
        </p:txBody>
      </p:sp>
      <p:sp>
        <p:nvSpPr>
          <p:cNvPr id="23632" name="TextBox 132">
            <a:extLst>
              <a:ext uri="{FF2B5EF4-FFF2-40B4-BE49-F238E27FC236}">
                <a16:creationId xmlns:a16="http://schemas.microsoft.com/office/drawing/2014/main" id="{A1C640C1-61D1-4BA5-8A76-E684397E8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59646" y="3637238"/>
            <a:ext cx="883575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Transportation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238751" y="3833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38" name="TextBox 141">
            <a:extLst>
              <a:ext uri="{FF2B5EF4-FFF2-40B4-BE49-F238E27FC236}">
                <a16:creationId xmlns:a16="http://schemas.microsoft.com/office/drawing/2014/main" id="{EE481231-8673-4FD7-B5CC-900AEE7A9F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24563" y="3652271"/>
            <a:ext cx="86273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900" dirty="0">
                <a:solidFill>
                  <a:prstClr val="black"/>
                </a:solidFill>
                <a:latin typeface="Calibri" panose="020F0502020204030204" pitchFamily="34" charset="0"/>
              </a:rPr>
              <a:t>Renew-Energy</a:t>
            </a:r>
            <a:endParaRPr kumimoji="0" lang="en-GB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49" name="TextBox 165">
            <a:extLst>
              <a:ext uri="{FF2B5EF4-FFF2-40B4-BE49-F238E27FC236}">
                <a16:creationId xmlns:a16="http://schemas.microsoft.com/office/drawing/2014/main" id="{1242633E-9CB1-48ED-83F4-2223DFC7ED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38361" y="4459560"/>
            <a:ext cx="79861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900" dirty="0">
                <a:solidFill>
                  <a:prstClr val="black"/>
                </a:solidFill>
                <a:latin typeface="Calibri" panose="020F0502020204030204" pitchFamily="34" charset="0"/>
              </a:rPr>
              <a:t>Film Industry</a:t>
            </a:r>
            <a:endParaRPr kumimoji="0" lang="en-GB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50" name="TextBox 166">
            <a:extLst>
              <a:ext uri="{FF2B5EF4-FFF2-40B4-BE49-F238E27FC236}">
                <a16:creationId xmlns:a16="http://schemas.microsoft.com/office/drawing/2014/main" id="{6B51369B-8FA6-464A-B908-12B0FFE6B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08966" y="4458812"/>
            <a:ext cx="86113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Industrial Park</a:t>
            </a:r>
          </a:p>
        </p:txBody>
      </p:sp>
      <p:sp>
        <p:nvSpPr>
          <p:cNvPr id="23651" name="TextBox 167">
            <a:extLst>
              <a:ext uri="{FF2B5EF4-FFF2-40B4-BE49-F238E27FC236}">
                <a16:creationId xmlns:a16="http://schemas.microsoft.com/office/drawing/2014/main" id="{4F9404E1-8339-401B-8B10-4C7D1A8CEC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82636" y="4457881"/>
            <a:ext cx="70243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Real Estate</a:t>
            </a:r>
          </a:p>
        </p:txBody>
      </p:sp>
      <p:sp>
        <p:nvSpPr>
          <p:cNvPr id="23652" name="TextBox 168">
            <a:extLst>
              <a:ext uri="{FF2B5EF4-FFF2-40B4-BE49-F238E27FC236}">
                <a16:creationId xmlns:a16="http://schemas.microsoft.com/office/drawing/2014/main" id="{1C04917D-B2C3-4C21-8CC2-A45C349B4B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36881" y="4457133"/>
            <a:ext cx="62068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Feed Mill</a:t>
            </a:r>
          </a:p>
        </p:txBody>
      </p:sp>
      <p:sp>
        <p:nvSpPr>
          <p:cNvPr id="23653" name="TextBox 169">
            <a:extLst>
              <a:ext uri="{FF2B5EF4-FFF2-40B4-BE49-F238E27FC236}">
                <a16:creationId xmlns:a16="http://schemas.microsoft.com/office/drawing/2014/main" id="{4BADA327-4F2D-4897-B7C0-4647A1484B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47726" y="4457973"/>
            <a:ext cx="70083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Groundnut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8A28B48-1841-45BB-BFBC-EADE77B37C6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779712" y="2589213"/>
          <a:ext cx="1482725" cy="812800"/>
        </p:xfrm>
        <a:graphic>
          <a:graphicData uri="http://schemas.openxmlformats.org/drawingml/2006/table">
            <a:tbl>
              <a:tblPr/>
              <a:tblGrid>
                <a:gridCol w="11367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9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32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GB" sz="1000" b="1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Domestic</a:t>
                      </a:r>
                      <a:r>
                        <a:rPr lang="en-GB" sz="10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US" sz="1000" b="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International 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Yes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Railway</a:t>
                      </a:r>
                      <a:r>
                        <a:rPr lang="en-GB" sz="1000" b="1" kern="1200" baseline="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 Station</a:t>
                      </a:r>
                      <a:endParaRPr lang="en-GB" sz="1000" b="1" kern="1200" dirty="0">
                        <a:solidFill>
                          <a:srgbClr val="292929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32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Sea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7" name="TextBox 136">
            <a:extLst>
              <a:ext uri="{FF2B5EF4-FFF2-40B4-BE49-F238E27FC236}">
                <a16:creationId xmlns:a16="http://schemas.microsoft.com/office/drawing/2014/main" id="{2F4C4876-7073-4C13-A183-127A8909BDC0}"/>
              </a:ext>
            </a:extLst>
          </p:cNvPr>
          <p:cNvSpPr txBox="1"/>
          <p:nvPr/>
        </p:nvSpPr>
        <p:spPr>
          <a:xfrm>
            <a:off x="538163" y="5268913"/>
            <a:ext cx="373856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For further details</a:t>
            </a:r>
          </a:p>
        </p:txBody>
      </p:sp>
      <p:sp>
        <p:nvSpPr>
          <p:cNvPr id="23676" name="TextBox 156">
            <a:extLst>
              <a:ext uri="{FF2B5EF4-FFF2-40B4-BE49-F238E27FC236}">
                <a16:creationId xmlns:a16="http://schemas.microsoft.com/office/drawing/2014/main" id="{95D66AAF-6B48-4B9E-9E5B-F1BB063A89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6300" y="6342063"/>
            <a:ext cx="37306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Abbreviations: </a:t>
            </a:r>
            <a:r>
              <a:rPr kumimoji="0" lang="en-GB" alt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	NICPS</a:t>
            </a:r>
            <a: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: Nigerian Investment Certification Programme for States             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	</a:t>
            </a:r>
            <a:r>
              <a:rPr kumimoji="0" lang="en-GB" alt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IGR</a:t>
            </a:r>
            <a: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:     Internal Generated Revenue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D4E23C6-26A0-4545-B8F7-7007C8EEBFE4}"/>
              </a:ext>
            </a:extLst>
          </p:cNvPr>
          <p:cNvSpPr txBox="1"/>
          <p:nvPr/>
        </p:nvSpPr>
        <p:spPr>
          <a:xfrm>
            <a:off x="4338638" y="5265738"/>
            <a:ext cx="247491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Did you know?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sp>
        <p:nvSpPr>
          <p:cNvPr id="132" name="Text Placeholder 42">
            <a:extLst>
              <a:ext uri="{FF2B5EF4-FFF2-40B4-BE49-F238E27FC236}">
                <a16:creationId xmlns:a16="http://schemas.microsoft.com/office/drawing/2014/main" id="{D510D0DC-1548-4249-8DB1-9A1055126D07}"/>
              </a:ext>
            </a:extLst>
          </p:cNvPr>
          <p:cNvSpPr txBox="1">
            <a:spLocks/>
          </p:cNvSpPr>
          <p:nvPr/>
        </p:nvSpPr>
        <p:spPr>
          <a:xfrm>
            <a:off x="522288" y="5511800"/>
            <a:ext cx="3733800" cy="701675"/>
          </a:xfrm>
          <a:prstGeom prst="rect">
            <a:avLst/>
          </a:prstGeom>
        </p:spPr>
        <p:txBody>
          <a:bodyPr lIns="36576" tIns="0" rIns="36576" bIns="0"/>
          <a:lstStyle>
            <a:lvl1pPr marL="0" indent="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/>
              <a:buNone/>
              <a:defRPr sz="800" b="1" baseline="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6575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93763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 charset="0"/>
              <a:buChar char="►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50950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619250" indent="-188913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0764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25336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29908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34480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</a:rPr>
              <a:t>NIGERIAN INVESTMENT PROMOTION COMMISSION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Arial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hlinkClick r:id="rId7"/>
              </a:rPr>
              <a:t>statesco@nipc.gov.ng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Arial"/>
              <a:buNone/>
              <a:tabLst/>
              <a:defRPr/>
            </a:pPr>
            <a:endParaRPr kumimoji="0" lang="en-US" sz="5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Arial"/>
              <a:buNone/>
              <a:tabLst/>
              <a:defRPr/>
            </a:pPr>
            <a:r>
              <a:rPr lang="en-US" sz="1000" kern="0" dirty="0">
                <a:solidFill>
                  <a:prstClr val="black"/>
                </a:solidFill>
              </a:rPr>
              <a:t>KANO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</a:rPr>
              <a:t> STATE INVESTMENT PROMOTION AGENCY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</a:endParaRPr>
          </a:p>
          <a:p>
            <a:pPr lvl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 err="1">
                <a:solidFill>
                  <a:prstClr val="black"/>
                </a:solidFill>
                <a:hlinkClick r:id="rId8"/>
              </a:rPr>
              <a:t>hafsatysani@yahoo.com</a:t>
            </a:r>
            <a:r>
              <a:rPr lang="en-US" sz="1000" b="0" kern="0" dirty="0">
                <a:solidFill>
                  <a:prstClr val="black"/>
                </a:solidFill>
              </a:rPr>
              <a:t> 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</a:endParaRPr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FF015425-7997-4612-9D0E-1F6C433DFCC7}"/>
              </a:ext>
            </a:extLst>
          </p:cNvPr>
          <p:cNvSpPr/>
          <p:nvPr/>
        </p:nvSpPr>
        <p:spPr>
          <a:xfrm>
            <a:off x="6080877" y="3040856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4C0B7457-CABD-4AC8-8A1A-1FD468581E4D}"/>
              </a:ext>
            </a:extLst>
          </p:cNvPr>
          <p:cNvSpPr/>
          <p:nvPr/>
        </p:nvSpPr>
        <p:spPr>
          <a:xfrm>
            <a:off x="6784796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2D626A89-F50C-45A3-9271-5D3F2EEA9C83}"/>
              </a:ext>
            </a:extLst>
          </p:cNvPr>
          <p:cNvSpPr/>
          <p:nvPr/>
        </p:nvSpPr>
        <p:spPr>
          <a:xfrm>
            <a:off x="7518399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240713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A62E850A-D87D-46D0-9257-0071E677FCF0}"/>
              </a:ext>
            </a:extLst>
          </p:cNvPr>
          <p:cNvSpPr/>
          <p:nvPr/>
        </p:nvSpPr>
        <p:spPr>
          <a:xfrm>
            <a:off x="8947150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4D1FAA17-3EFF-404B-B4C4-B468BCE2E9A5}"/>
              </a:ext>
            </a:extLst>
          </p:cNvPr>
          <p:cNvSpPr/>
          <p:nvPr/>
        </p:nvSpPr>
        <p:spPr>
          <a:xfrm>
            <a:off x="6078265" y="3836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E861211D-5D09-4577-8A09-FD96D972A5D4}"/>
              </a:ext>
            </a:extLst>
          </p:cNvPr>
          <p:cNvSpPr/>
          <p:nvPr/>
        </p:nvSpPr>
        <p:spPr>
          <a:xfrm>
            <a:off x="6780509" y="3833831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3CBEFD1C-6360-47CD-AEDD-DFB49FC0E0C7}"/>
              </a:ext>
            </a:extLst>
          </p:cNvPr>
          <p:cNvSpPr/>
          <p:nvPr/>
        </p:nvSpPr>
        <p:spPr>
          <a:xfrm>
            <a:off x="7518603" y="3830834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4" name="TextBox 152">
            <a:extLst>
              <a:ext uri="{FF2B5EF4-FFF2-40B4-BE49-F238E27FC236}">
                <a16:creationId xmlns:a16="http://schemas.microsoft.com/office/drawing/2014/main" id="{C53ECC99-201F-4F50-BD09-4044FFD3B8E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4575" y="1257300"/>
            <a:ext cx="3446463" cy="1292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15888" indent="-11588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85725" indent="-85725">
              <a:buFont typeface="Arial" pitchFamily="34" charset="0"/>
              <a:buChar char="•"/>
            </a:pPr>
            <a:r>
              <a:rPr lang="en-MY" sz="1300" dirty="0">
                <a:latin typeface="Calibri" panose="020F0502020204030204" pitchFamily="34" charset="0"/>
              </a:rPr>
              <a:t>Regional trade hub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en-MY" sz="1300" dirty="0">
                <a:latin typeface="Calibri" panose="020F0502020204030204" pitchFamily="34" charset="0"/>
              </a:rPr>
              <a:t>Largest textile market in Nigeria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</a:rPr>
              <a:t>Second largest industrial center in Nigeria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Huge market size (3</a:t>
            </a:r>
            <a:r>
              <a:rPr lang="en-GB" sz="1300" baseline="30000" dirty="0">
                <a:latin typeface="Calibri" panose="020F0502020204030204" pitchFamily="34" charset="0"/>
              </a:rPr>
              <a:t>rd</a:t>
            </a:r>
            <a:r>
              <a:rPr lang="en-GB" sz="1300" dirty="0">
                <a:latin typeface="Calibri" panose="020F0502020204030204" pitchFamily="34" charset="0"/>
              </a:rPr>
              <a:t> largest market in Nigeria)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en-MY" sz="1300" dirty="0">
                <a:latin typeface="Calibri" panose="020F0502020204030204" pitchFamily="34" charset="0"/>
              </a:rPr>
              <a:t>Second largest non-oil economy in Nigeria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en-MY" sz="1300" dirty="0">
                <a:latin typeface="Calibri" panose="020F0502020204030204" pitchFamily="34" charset="0"/>
              </a:rPr>
              <a:t>Abundant irrigation potentials (20+ dams)</a:t>
            </a:r>
            <a:endParaRPr lang="en-GB" sz="1300" dirty="0">
              <a:latin typeface="Calibri" panose="020F0502020204030204" pitchFamily="34" charset="0"/>
            </a:endParaRPr>
          </a:p>
        </p:txBody>
      </p:sp>
      <p:pic>
        <p:nvPicPr>
          <p:cNvPr id="153" name="Picture 152">
            <a:extLst>
              <a:ext uri="{FF2B5EF4-FFF2-40B4-BE49-F238E27FC236}">
                <a16:creationId xmlns:a16="http://schemas.microsoft.com/office/drawing/2014/main" id="{F9088E82-D250-4DE2-9DF4-B28BB0A1F6D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0931" y="3922246"/>
            <a:ext cx="423344" cy="411997"/>
          </a:xfrm>
          <a:prstGeom prst="rect">
            <a:avLst/>
          </a:prstGeom>
        </p:spPr>
      </p:pic>
      <p:pic>
        <p:nvPicPr>
          <p:cNvPr id="154" name="Picture 153" descr="cotton.jpg">
            <a:extLst>
              <a:ext uri="{FF2B5EF4-FFF2-40B4-BE49-F238E27FC236}">
                <a16:creationId xmlns:a16="http://schemas.microsoft.com/office/drawing/2014/main" id="{6147C0ED-4825-4743-A65E-465039E026CC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27119" t="7595" r="25217" b="55643"/>
          <a:stretch>
            <a:fillRect/>
          </a:stretch>
        </p:blipFill>
        <p:spPr>
          <a:xfrm>
            <a:off x="6905254" y="3105456"/>
            <a:ext cx="439756" cy="465048"/>
          </a:xfrm>
          <a:prstGeom prst="rect">
            <a:avLst/>
          </a:prstGeom>
        </p:spPr>
      </p:pic>
      <p:pic>
        <p:nvPicPr>
          <p:cNvPr id="155" name="Picture 154">
            <a:extLst>
              <a:ext uri="{FF2B5EF4-FFF2-40B4-BE49-F238E27FC236}">
                <a16:creationId xmlns:a16="http://schemas.microsoft.com/office/drawing/2014/main" id="{8B27D284-87FE-4F1A-83A7-1AA569DE8E0E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25149" t="-30" r="52527" b="72129"/>
          <a:stretch/>
        </p:blipFill>
        <p:spPr>
          <a:xfrm>
            <a:off x="7595176" y="3035709"/>
            <a:ext cx="473022" cy="499233"/>
          </a:xfrm>
          <a:prstGeom prst="rect">
            <a:avLst/>
          </a:prstGeom>
        </p:spPr>
      </p:pic>
      <p:pic>
        <p:nvPicPr>
          <p:cNvPr id="156" name="Picture 155">
            <a:extLst>
              <a:ext uri="{FF2B5EF4-FFF2-40B4-BE49-F238E27FC236}">
                <a16:creationId xmlns:a16="http://schemas.microsoft.com/office/drawing/2014/main" id="{920D10C7-68C0-4CE1-8D3D-A83C725FA54B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68697" r="70048" b="7007"/>
          <a:stretch/>
        </p:blipFill>
        <p:spPr>
          <a:xfrm>
            <a:off x="6130344" y="3936113"/>
            <a:ext cx="453550" cy="384265"/>
          </a:xfrm>
          <a:prstGeom prst="rect">
            <a:avLst/>
          </a:prstGeom>
        </p:spPr>
      </p:pic>
      <p:pic>
        <p:nvPicPr>
          <p:cNvPr id="157" name="Picture 156">
            <a:extLst>
              <a:ext uri="{FF2B5EF4-FFF2-40B4-BE49-F238E27FC236}">
                <a16:creationId xmlns:a16="http://schemas.microsoft.com/office/drawing/2014/main" id="{44E43B67-F209-4B3F-9C46-EE9148523245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912146" y="3920548"/>
            <a:ext cx="379735" cy="379735"/>
          </a:xfrm>
          <a:prstGeom prst="rect">
            <a:avLst/>
          </a:prstGeom>
        </p:spPr>
      </p:pic>
      <p:pic>
        <p:nvPicPr>
          <p:cNvPr id="158" name="Picture 157">
            <a:extLst>
              <a:ext uri="{FF2B5EF4-FFF2-40B4-BE49-F238E27FC236}">
                <a16:creationId xmlns:a16="http://schemas.microsoft.com/office/drawing/2014/main" id="{3B7DD9AB-CFC4-4661-9E0A-9DA333261A59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5695" y="3961800"/>
            <a:ext cx="342279" cy="342279"/>
          </a:xfrm>
          <a:prstGeom prst="rect">
            <a:avLst/>
          </a:prstGeom>
        </p:spPr>
      </p:pic>
      <p:pic>
        <p:nvPicPr>
          <p:cNvPr id="159" name="Picture 158">
            <a:extLst>
              <a:ext uri="{FF2B5EF4-FFF2-40B4-BE49-F238E27FC236}">
                <a16:creationId xmlns:a16="http://schemas.microsoft.com/office/drawing/2014/main" id="{5573593B-180C-4335-9AC6-451CB73D3B35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169322" y="3159348"/>
            <a:ext cx="375594" cy="375594"/>
          </a:xfrm>
          <a:prstGeom prst="rect">
            <a:avLst/>
          </a:prstGeom>
        </p:spPr>
      </p:pic>
      <p:pic>
        <p:nvPicPr>
          <p:cNvPr id="160" name="Picture 159">
            <a:extLst>
              <a:ext uri="{FF2B5EF4-FFF2-40B4-BE49-F238E27FC236}">
                <a16:creationId xmlns:a16="http://schemas.microsoft.com/office/drawing/2014/main" id="{C9C366CA-3D4D-479D-9C03-2402BD0EB1F0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8903" t="11743" r="9572" b="11082"/>
          <a:stretch/>
        </p:blipFill>
        <p:spPr>
          <a:xfrm>
            <a:off x="9034423" y="3139620"/>
            <a:ext cx="410825" cy="388895"/>
          </a:xfrm>
          <a:prstGeom prst="rect">
            <a:avLst/>
          </a:prstGeom>
        </p:spPr>
      </p:pic>
      <p:sp>
        <p:nvSpPr>
          <p:cNvPr id="161" name="Oval 160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953126" y="3843338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D0A41506-8873-4C2F-B45B-4459F0229CA3}"/>
              </a:ext>
            </a:extLst>
          </p:cNvPr>
          <p:cNvSpPr txBox="1"/>
          <p:nvPr/>
        </p:nvSpPr>
        <p:spPr>
          <a:xfrm>
            <a:off x="4374578" y="4541674"/>
            <a:ext cx="17988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te Investment Certification Process Not Started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295256" y="5499264"/>
            <a:ext cx="2545282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The first aircraft that landed in Nigeria, landed in Kano on 1 November 1925</a:t>
            </a:r>
          </a:p>
        </p:txBody>
      </p:sp>
      <p:pic>
        <p:nvPicPr>
          <p:cNvPr id="117" name="Picture 116"/>
          <p:cNvPicPr>
            <a:picLocks noChangeAspect="1"/>
          </p:cNvPicPr>
          <p:nvPr/>
        </p:nvPicPr>
        <p:blipFill rotWithShape="1">
          <a:blip r:embed="rId1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76" t="16966" r="5088" b="31307"/>
          <a:stretch/>
        </p:blipFill>
        <p:spPr>
          <a:xfrm>
            <a:off x="7544601" y="3956899"/>
            <a:ext cx="549960" cy="320230"/>
          </a:xfrm>
          <a:prstGeom prst="rect">
            <a:avLst/>
          </a:prstGeom>
        </p:spPr>
      </p:pic>
      <p:pic>
        <p:nvPicPr>
          <p:cNvPr id="118" name="Picture 117"/>
          <p:cNvPicPr>
            <a:picLocks noChangeAspect="1"/>
          </p:cNvPicPr>
          <p:nvPr/>
        </p:nvPicPr>
        <p:blipFill rotWithShape="1">
          <a:blip r:embed="rId18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52" t="4498" r="11860" b="18554"/>
          <a:stretch/>
        </p:blipFill>
        <p:spPr>
          <a:xfrm>
            <a:off x="8330931" y="3091494"/>
            <a:ext cx="446498" cy="447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04121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Pentagon 19">
            <a:extLst>
              <a:ext uri="{FF2B5EF4-FFF2-40B4-BE49-F238E27FC236}">
                <a16:creationId xmlns:a16="http://schemas.microsoft.com/office/drawing/2014/main" id="{CAD93C59-72A9-4F6D-A654-02B9F8A5EFF9}"/>
              </a:ext>
            </a:extLst>
          </p:cNvPr>
          <p:cNvSpPr>
            <a:spLocks/>
          </p:cNvSpPr>
          <p:nvPr/>
        </p:nvSpPr>
        <p:spPr bwMode="auto">
          <a:xfrm>
            <a:off x="756602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noProof="0" dirty="0">
                <a:solidFill>
                  <a:prstClr val="white"/>
                </a:solidFill>
                <a:latin typeface="Calibri" panose="020F0502020204030204" pitchFamily="34" charset="0"/>
              </a:rPr>
              <a:t>5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of 37</a:t>
            </a:r>
          </a:p>
        </p:txBody>
      </p:sp>
      <p:sp>
        <p:nvSpPr>
          <p:cNvPr id="376" name="Pentagon 19">
            <a:extLst>
              <a:ext uri="{FF2B5EF4-FFF2-40B4-BE49-F238E27FC236}">
                <a16:creationId xmlns:a16="http://schemas.microsoft.com/office/drawing/2014/main" id="{1BDC5465-6022-4404-B4D8-ED55CF961B8A}"/>
              </a:ext>
            </a:extLst>
          </p:cNvPr>
          <p:cNvSpPr>
            <a:spLocks/>
          </p:cNvSpPr>
          <p:nvPr/>
        </p:nvSpPr>
        <p:spPr bwMode="auto">
          <a:xfrm>
            <a:off x="824865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dirty="0">
                <a:solidFill>
                  <a:prstClr val="white"/>
                </a:solidFill>
                <a:latin typeface="Calibri" panose="020F0502020204030204" pitchFamily="34" charset="0"/>
              </a:rPr>
              <a:t>10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of 3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57F1EBC-D01A-4083-B657-63AFB1490839}"/>
              </a:ext>
            </a:extLst>
          </p:cNvPr>
          <p:cNvSpPr txBox="1"/>
          <p:nvPr/>
        </p:nvSpPr>
        <p:spPr>
          <a:xfrm>
            <a:off x="6122988" y="2749550"/>
            <a:ext cx="3475037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Investment Opportunit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D251BD-538A-4F4F-847E-620EEDA298A0}"/>
              </a:ext>
            </a:extLst>
          </p:cNvPr>
          <p:cNvSpPr txBox="1"/>
          <p:nvPr/>
        </p:nvSpPr>
        <p:spPr>
          <a:xfrm>
            <a:off x="6881813" y="4648300"/>
            <a:ext cx="2697162" cy="30777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 Doing Business Ranking(2018)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1B8F13C-F732-4DA1-9250-DB02936E7688}"/>
              </a:ext>
            </a:extLst>
          </p:cNvPr>
          <p:cNvSpPr/>
          <p:nvPr/>
        </p:nvSpPr>
        <p:spPr>
          <a:xfrm>
            <a:off x="756602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egistering Propert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6BA1818-32ED-44D1-975C-958200BDD124}"/>
              </a:ext>
            </a:extLst>
          </p:cNvPr>
          <p:cNvSpPr/>
          <p:nvPr/>
        </p:nvSpPr>
        <p:spPr>
          <a:xfrm>
            <a:off x="8248650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ealing with Construction Permits</a:t>
            </a:r>
          </a:p>
        </p:txBody>
      </p:sp>
      <p:sp>
        <p:nvSpPr>
          <p:cNvPr id="23560" name="TextBox 174">
            <a:extLst>
              <a:ext uri="{FF2B5EF4-FFF2-40B4-BE49-F238E27FC236}">
                <a16:creationId xmlns:a16="http://schemas.microsoft.com/office/drawing/2014/main" id="{1573FD4E-62B9-45E8-8F28-CED990ED2D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0B63A6C-2A5E-4CA3-BC66-4CBC6008BC9A}"/>
              </a:ext>
            </a:extLst>
          </p:cNvPr>
          <p:cNvSpPr/>
          <p:nvPr/>
        </p:nvSpPr>
        <p:spPr>
          <a:xfrm>
            <a:off x="893127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nforcing Contracts</a:t>
            </a:r>
          </a:p>
        </p:txBody>
      </p:sp>
      <p:pic>
        <p:nvPicPr>
          <p:cNvPr id="23562" name="Picture 4">
            <a:extLst>
              <a:ext uri="{FF2B5EF4-FFF2-40B4-BE49-F238E27FC236}">
                <a16:creationId xmlns:a16="http://schemas.microsoft.com/office/drawing/2014/main" id="{7C8EEAB2-0239-4BB5-94B3-23E319AF1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513" y="5249863"/>
            <a:ext cx="439737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6" name="Pentagon 19">
            <a:extLst>
              <a:ext uri="{FF2B5EF4-FFF2-40B4-BE49-F238E27FC236}">
                <a16:creationId xmlns:a16="http://schemas.microsoft.com/office/drawing/2014/main" id="{5F8E9670-D71A-4765-B6B5-D711BC9AD6E1}"/>
              </a:ext>
            </a:extLst>
          </p:cNvPr>
          <p:cNvSpPr>
            <a:spLocks/>
          </p:cNvSpPr>
          <p:nvPr/>
        </p:nvSpPr>
        <p:spPr bwMode="auto">
          <a:xfrm>
            <a:off x="893127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noProof="0" dirty="0">
                <a:solidFill>
                  <a:prstClr val="white"/>
                </a:solidFill>
                <a:latin typeface="Calibri" panose="020F0502020204030204" pitchFamily="34" charset="0"/>
              </a:rPr>
              <a:t>5</a:t>
            </a:r>
            <a:r>
              <a:rPr kumimoji="0" lang="en-GB" sz="10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f 37</a:t>
            </a:r>
          </a:p>
        </p:txBody>
      </p:sp>
      <p:sp>
        <p:nvSpPr>
          <p:cNvPr id="23564" name="Title 3">
            <a:extLst>
              <a:ext uri="{FF2B5EF4-FFF2-40B4-BE49-F238E27FC236}">
                <a16:creationId xmlns:a16="http://schemas.microsoft.com/office/drawing/2014/main" id="{C62A749B-CFC7-4224-A789-D20A772AC33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en-GB" altLang="en-US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atsina</a:t>
            </a:r>
            <a:r>
              <a:rPr lang="en-GB" alt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State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6882DF2C-9120-4A66-8487-575D9494F4D6}"/>
              </a:ext>
            </a:extLst>
          </p:cNvPr>
          <p:cNvSpPr txBox="1"/>
          <p:nvPr/>
        </p:nvSpPr>
        <p:spPr>
          <a:xfrm rot="16200000">
            <a:off x="-2290084" y="3478372"/>
            <a:ext cx="5303837" cy="2743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prstClr val="white"/>
                </a:solidFill>
                <a:latin typeface="Calibri" panose="020F0502020204030204" pitchFamily="34" charset="0"/>
                <a:cs typeface="Arial" charset="0"/>
              </a:rPr>
              <a:t>Home of Hospitality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grpSp>
        <p:nvGrpSpPr>
          <p:cNvPr id="23566" name="Group 9">
            <a:extLst>
              <a:ext uri="{FF2B5EF4-FFF2-40B4-BE49-F238E27FC236}">
                <a16:creationId xmlns:a16="http://schemas.microsoft.com/office/drawing/2014/main" id="{5B6131BD-3CE3-4FC4-B13A-FA9B797C1EF5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41338" y="963613"/>
            <a:ext cx="2897187" cy="2319337"/>
            <a:chOff x="770228" y="1459989"/>
            <a:chExt cx="4081047" cy="3267527"/>
          </a:xfrm>
        </p:grpSpPr>
        <p:sp>
          <p:nvSpPr>
            <p:cNvPr id="299" name="Freeform 4">
              <a:extLst>
                <a:ext uri="{FF2B5EF4-FFF2-40B4-BE49-F238E27FC236}">
                  <a16:creationId xmlns:a16="http://schemas.microsoft.com/office/drawing/2014/main" id="{B6150C82-CBE5-48B4-B60C-C210BB7B26A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91538" y="4349548"/>
              <a:ext cx="418167" cy="377968"/>
            </a:xfrm>
            <a:custGeom>
              <a:avLst/>
              <a:gdLst>
                <a:gd name="T0" fmla="*/ 12 w 786"/>
                <a:gd name="T1" fmla="*/ 19 h 714"/>
                <a:gd name="T2" fmla="*/ 22 w 786"/>
                <a:gd name="T3" fmla="*/ 18 h 714"/>
                <a:gd name="T4" fmla="*/ 27 w 786"/>
                <a:gd name="T5" fmla="*/ 17 h 714"/>
                <a:gd name="T6" fmla="*/ 30 w 786"/>
                <a:gd name="T7" fmla="*/ 14 h 714"/>
                <a:gd name="T8" fmla="*/ 37 w 786"/>
                <a:gd name="T9" fmla="*/ 16 h 714"/>
                <a:gd name="T10" fmla="*/ 43 w 786"/>
                <a:gd name="T11" fmla="*/ 13 h 714"/>
                <a:gd name="T12" fmla="*/ 48 w 786"/>
                <a:gd name="T13" fmla="*/ 8 h 714"/>
                <a:gd name="T14" fmla="*/ 55 w 786"/>
                <a:gd name="T15" fmla="*/ 4 h 714"/>
                <a:gd name="T16" fmla="*/ 66 w 786"/>
                <a:gd name="T17" fmla="*/ 0 h 714"/>
                <a:gd name="T18" fmla="*/ 63 w 786"/>
                <a:gd name="T19" fmla="*/ 12 h 714"/>
                <a:gd name="T20" fmla="*/ 59 w 786"/>
                <a:gd name="T21" fmla="*/ 19 h 714"/>
                <a:gd name="T22" fmla="*/ 57 w 786"/>
                <a:gd name="T23" fmla="*/ 29 h 714"/>
                <a:gd name="T24" fmla="*/ 59 w 786"/>
                <a:gd name="T25" fmla="*/ 36 h 714"/>
                <a:gd name="T26" fmla="*/ 66 w 786"/>
                <a:gd name="T27" fmla="*/ 35 h 714"/>
                <a:gd name="T28" fmla="*/ 64 w 786"/>
                <a:gd name="T29" fmla="*/ 41 h 714"/>
                <a:gd name="T30" fmla="*/ 64 w 786"/>
                <a:gd name="T31" fmla="*/ 48 h 714"/>
                <a:gd name="T32" fmla="*/ 63 w 786"/>
                <a:gd name="T33" fmla="*/ 56 h 714"/>
                <a:gd name="T34" fmla="*/ 60 w 786"/>
                <a:gd name="T35" fmla="*/ 60 h 714"/>
                <a:gd name="T36" fmla="*/ 57 w 786"/>
                <a:gd name="T37" fmla="*/ 58 h 714"/>
                <a:gd name="T38" fmla="*/ 54 w 786"/>
                <a:gd name="T39" fmla="*/ 54 h 714"/>
                <a:gd name="T40" fmla="*/ 53 w 786"/>
                <a:gd name="T41" fmla="*/ 51 h 714"/>
                <a:gd name="T42" fmla="*/ 51 w 786"/>
                <a:gd name="T43" fmla="*/ 53 h 714"/>
                <a:gd name="T44" fmla="*/ 49 w 786"/>
                <a:gd name="T45" fmla="*/ 54 h 714"/>
                <a:gd name="T46" fmla="*/ 47 w 786"/>
                <a:gd name="T47" fmla="*/ 50 h 714"/>
                <a:gd name="T48" fmla="*/ 48 w 786"/>
                <a:gd name="T49" fmla="*/ 54 h 714"/>
                <a:gd name="T50" fmla="*/ 47 w 786"/>
                <a:gd name="T51" fmla="*/ 54 h 714"/>
                <a:gd name="T52" fmla="*/ 46 w 786"/>
                <a:gd name="T53" fmla="*/ 59 h 714"/>
                <a:gd name="T54" fmla="*/ 47 w 786"/>
                <a:gd name="T55" fmla="*/ 62 h 714"/>
                <a:gd name="T56" fmla="*/ 42 w 786"/>
                <a:gd name="T57" fmla="*/ 62 h 714"/>
                <a:gd name="T58" fmla="*/ 39 w 786"/>
                <a:gd name="T59" fmla="*/ 57 h 714"/>
                <a:gd name="T60" fmla="*/ 40 w 786"/>
                <a:gd name="T61" fmla="*/ 54 h 714"/>
                <a:gd name="T62" fmla="*/ 43 w 786"/>
                <a:gd name="T63" fmla="*/ 55 h 714"/>
                <a:gd name="T64" fmla="*/ 40 w 786"/>
                <a:gd name="T65" fmla="*/ 53 h 714"/>
                <a:gd name="T66" fmla="*/ 38 w 786"/>
                <a:gd name="T67" fmla="*/ 57 h 714"/>
                <a:gd name="T68" fmla="*/ 37 w 786"/>
                <a:gd name="T69" fmla="*/ 57 h 714"/>
                <a:gd name="T70" fmla="*/ 37 w 786"/>
                <a:gd name="T71" fmla="*/ 60 h 714"/>
                <a:gd name="T72" fmla="*/ 33 w 786"/>
                <a:gd name="T73" fmla="*/ 56 h 714"/>
                <a:gd name="T74" fmla="*/ 32 w 786"/>
                <a:gd name="T75" fmla="*/ 58 h 714"/>
                <a:gd name="T76" fmla="*/ 26 w 786"/>
                <a:gd name="T77" fmla="*/ 54 h 714"/>
                <a:gd name="T78" fmla="*/ 26 w 786"/>
                <a:gd name="T79" fmla="*/ 54 h 714"/>
                <a:gd name="T80" fmla="*/ 24 w 786"/>
                <a:gd name="T81" fmla="*/ 51 h 714"/>
                <a:gd name="T82" fmla="*/ 22 w 786"/>
                <a:gd name="T83" fmla="*/ 51 h 714"/>
                <a:gd name="T84" fmla="*/ 20 w 786"/>
                <a:gd name="T85" fmla="*/ 50 h 714"/>
                <a:gd name="T86" fmla="*/ 20 w 786"/>
                <a:gd name="T87" fmla="*/ 48 h 714"/>
                <a:gd name="T88" fmla="*/ 18 w 786"/>
                <a:gd name="T89" fmla="*/ 47 h 714"/>
                <a:gd name="T90" fmla="*/ 15 w 786"/>
                <a:gd name="T91" fmla="*/ 45 h 714"/>
                <a:gd name="T92" fmla="*/ 11 w 786"/>
                <a:gd name="T93" fmla="*/ 39 h 714"/>
                <a:gd name="T94" fmla="*/ 12 w 786"/>
                <a:gd name="T95" fmla="*/ 36 h 714"/>
                <a:gd name="T96" fmla="*/ 7 w 786"/>
                <a:gd name="T97" fmla="*/ 33 h 714"/>
                <a:gd name="T98" fmla="*/ 5 w 786"/>
                <a:gd name="T99" fmla="*/ 28 h 714"/>
                <a:gd name="T100" fmla="*/ 7 w 786"/>
                <a:gd name="T101" fmla="*/ 30 h 714"/>
                <a:gd name="T102" fmla="*/ 4 w 786"/>
                <a:gd name="T103" fmla="*/ 24 h 714"/>
                <a:gd name="T104" fmla="*/ 2 w 786"/>
                <a:gd name="T105" fmla="*/ 20 h 714"/>
                <a:gd name="T106" fmla="*/ 0 w 786"/>
                <a:gd name="T107" fmla="*/ 15 h 714"/>
                <a:gd name="T108" fmla="*/ 4 w 786"/>
                <a:gd name="T109" fmla="*/ 16 h 714"/>
                <a:gd name="T110" fmla="*/ 55 w 786"/>
                <a:gd name="T111" fmla="*/ 60 h 714"/>
                <a:gd name="T112" fmla="*/ 47 w 786"/>
                <a:gd name="T113" fmla="*/ 60 h 714"/>
                <a:gd name="T114" fmla="*/ 51 w 786"/>
                <a:gd name="T115" fmla="*/ 54 h 714"/>
                <a:gd name="T116" fmla="*/ 54 w 786"/>
                <a:gd name="T117" fmla="*/ 56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86"/>
                <a:gd name="T178" fmla="*/ 0 h 714"/>
                <a:gd name="T179" fmla="*/ 786 w 786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86" h="714">
                  <a:moveTo>
                    <a:pt x="54" y="186"/>
                  </a:moveTo>
                  <a:lnTo>
                    <a:pt x="54" y="192"/>
                  </a:lnTo>
                  <a:lnTo>
                    <a:pt x="72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204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20" y="210"/>
                  </a:lnTo>
                  <a:lnTo>
                    <a:pt x="126" y="210"/>
                  </a:lnTo>
                  <a:lnTo>
                    <a:pt x="132" y="210"/>
                  </a:lnTo>
                  <a:lnTo>
                    <a:pt x="132" y="216"/>
                  </a:lnTo>
                  <a:lnTo>
                    <a:pt x="138" y="222"/>
                  </a:lnTo>
                  <a:lnTo>
                    <a:pt x="150" y="222"/>
                  </a:lnTo>
                  <a:lnTo>
                    <a:pt x="162" y="234"/>
                  </a:lnTo>
                  <a:lnTo>
                    <a:pt x="168" y="240"/>
                  </a:lnTo>
                  <a:lnTo>
                    <a:pt x="180" y="240"/>
                  </a:lnTo>
                  <a:lnTo>
                    <a:pt x="186" y="228"/>
                  </a:lnTo>
                  <a:lnTo>
                    <a:pt x="210" y="234"/>
                  </a:lnTo>
                  <a:lnTo>
                    <a:pt x="222" y="228"/>
                  </a:lnTo>
                  <a:lnTo>
                    <a:pt x="228" y="216"/>
                  </a:lnTo>
                  <a:lnTo>
                    <a:pt x="234" y="210"/>
                  </a:lnTo>
                  <a:lnTo>
                    <a:pt x="240" y="216"/>
                  </a:lnTo>
                  <a:lnTo>
                    <a:pt x="246" y="210"/>
                  </a:lnTo>
                  <a:lnTo>
                    <a:pt x="252" y="210"/>
                  </a:lnTo>
                  <a:lnTo>
                    <a:pt x="258" y="210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192"/>
                  </a:lnTo>
                  <a:lnTo>
                    <a:pt x="270" y="192"/>
                  </a:lnTo>
                  <a:lnTo>
                    <a:pt x="276" y="192"/>
                  </a:lnTo>
                  <a:lnTo>
                    <a:pt x="282" y="192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192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198"/>
                  </a:lnTo>
                  <a:lnTo>
                    <a:pt x="312" y="198"/>
                  </a:lnTo>
                  <a:lnTo>
                    <a:pt x="312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24" y="186"/>
                  </a:lnTo>
                  <a:lnTo>
                    <a:pt x="318" y="180"/>
                  </a:lnTo>
                  <a:lnTo>
                    <a:pt x="324" y="180"/>
                  </a:lnTo>
                  <a:lnTo>
                    <a:pt x="330" y="186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74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54" y="144"/>
                  </a:lnTo>
                  <a:lnTo>
                    <a:pt x="360" y="144"/>
                  </a:lnTo>
                  <a:lnTo>
                    <a:pt x="372" y="156"/>
                  </a:lnTo>
                  <a:lnTo>
                    <a:pt x="372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96" y="168"/>
                  </a:lnTo>
                  <a:lnTo>
                    <a:pt x="396" y="174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26" y="186"/>
                  </a:lnTo>
                  <a:lnTo>
                    <a:pt x="432" y="186"/>
                  </a:lnTo>
                  <a:lnTo>
                    <a:pt x="438" y="180"/>
                  </a:lnTo>
                  <a:lnTo>
                    <a:pt x="438" y="168"/>
                  </a:lnTo>
                  <a:lnTo>
                    <a:pt x="438" y="162"/>
                  </a:lnTo>
                  <a:lnTo>
                    <a:pt x="444" y="156"/>
                  </a:lnTo>
                  <a:lnTo>
                    <a:pt x="450" y="156"/>
                  </a:lnTo>
                  <a:lnTo>
                    <a:pt x="456" y="150"/>
                  </a:lnTo>
                  <a:lnTo>
                    <a:pt x="462" y="156"/>
                  </a:lnTo>
                  <a:lnTo>
                    <a:pt x="468" y="162"/>
                  </a:lnTo>
                  <a:lnTo>
                    <a:pt x="474" y="162"/>
                  </a:lnTo>
                  <a:lnTo>
                    <a:pt x="486" y="162"/>
                  </a:lnTo>
                  <a:lnTo>
                    <a:pt x="492" y="156"/>
                  </a:lnTo>
                  <a:lnTo>
                    <a:pt x="498" y="150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28" y="126"/>
                  </a:lnTo>
                  <a:lnTo>
                    <a:pt x="522" y="120"/>
                  </a:lnTo>
                  <a:lnTo>
                    <a:pt x="522" y="114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28" y="102"/>
                  </a:lnTo>
                  <a:lnTo>
                    <a:pt x="534" y="96"/>
                  </a:lnTo>
                  <a:lnTo>
                    <a:pt x="552" y="96"/>
                  </a:lnTo>
                  <a:lnTo>
                    <a:pt x="570" y="102"/>
                  </a:lnTo>
                  <a:lnTo>
                    <a:pt x="582" y="96"/>
                  </a:lnTo>
                  <a:lnTo>
                    <a:pt x="582" y="90"/>
                  </a:lnTo>
                  <a:lnTo>
                    <a:pt x="582" y="78"/>
                  </a:lnTo>
                  <a:lnTo>
                    <a:pt x="582" y="72"/>
                  </a:lnTo>
                  <a:lnTo>
                    <a:pt x="582" y="66"/>
                  </a:lnTo>
                  <a:lnTo>
                    <a:pt x="594" y="60"/>
                  </a:lnTo>
                  <a:lnTo>
                    <a:pt x="600" y="60"/>
                  </a:lnTo>
                  <a:lnTo>
                    <a:pt x="606" y="54"/>
                  </a:lnTo>
                  <a:lnTo>
                    <a:pt x="618" y="48"/>
                  </a:lnTo>
                  <a:lnTo>
                    <a:pt x="618" y="42"/>
                  </a:lnTo>
                  <a:lnTo>
                    <a:pt x="624" y="42"/>
                  </a:lnTo>
                  <a:lnTo>
                    <a:pt x="636" y="48"/>
                  </a:lnTo>
                  <a:lnTo>
                    <a:pt x="648" y="54"/>
                  </a:lnTo>
                  <a:lnTo>
                    <a:pt x="660" y="54"/>
                  </a:lnTo>
                  <a:lnTo>
                    <a:pt x="666" y="60"/>
                  </a:lnTo>
                  <a:lnTo>
                    <a:pt x="672" y="54"/>
                  </a:lnTo>
                  <a:lnTo>
                    <a:pt x="684" y="48"/>
                  </a:lnTo>
                  <a:lnTo>
                    <a:pt x="708" y="42"/>
                  </a:lnTo>
                  <a:lnTo>
                    <a:pt x="714" y="42"/>
                  </a:lnTo>
                  <a:lnTo>
                    <a:pt x="720" y="36"/>
                  </a:lnTo>
                  <a:lnTo>
                    <a:pt x="720" y="30"/>
                  </a:lnTo>
                  <a:lnTo>
                    <a:pt x="714" y="12"/>
                  </a:lnTo>
                  <a:lnTo>
                    <a:pt x="708" y="0"/>
                  </a:lnTo>
                  <a:lnTo>
                    <a:pt x="738" y="6"/>
                  </a:lnTo>
                  <a:lnTo>
                    <a:pt x="756" y="6"/>
                  </a:lnTo>
                  <a:lnTo>
                    <a:pt x="762" y="42"/>
                  </a:lnTo>
                  <a:lnTo>
                    <a:pt x="738" y="72"/>
                  </a:lnTo>
                  <a:lnTo>
                    <a:pt x="750" y="90"/>
                  </a:lnTo>
                  <a:lnTo>
                    <a:pt x="762" y="96"/>
                  </a:lnTo>
                  <a:lnTo>
                    <a:pt x="756" y="102"/>
                  </a:lnTo>
                  <a:lnTo>
                    <a:pt x="750" y="108"/>
                  </a:lnTo>
                  <a:lnTo>
                    <a:pt x="750" y="114"/>
                  </a:lnTo>
                  <a:lnTo>
                    <a:pt x="750" y="120"/>
                  </a:lnTo>
                  <a:lnTo>
                    <a:pt x="750" y="126"/>
                  </a:lnTo>
                  <a:lnTo>
                    <a:pt x="750" y="132"/>
                  </a:lnTo>
                  <a:lnTo>
                    <a:pt x="738" y="132"/>
                  </a:lnTo>
                  <a:lnTo>
                    <a:pt x="732" y="138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14" y="144"/>
                  </a:lnTo>
                  <a:lnTo>
                    <a:pt x="714" y="150"/>
                  </a:lnTo>
                  <a:lnTo>
                    <a:pt x="720" y="156"/>
                  </a:lnTo>
                  <a:lnTo>
                    <a:pt x="720" y="162"/>
                  </a:lnTo>
                  <a:lnTo>
                    <a:pt x="714" y="162"/>
                  </a:lnTo>
                  <a:lnTo>
                    <a:pt x="708" y="168"/>
                  </a:lnTo>
                  <a:lnTo>
                    <a:pt x="708" y="180"/>
                  </a:lnTo>
                  <a:lnTo>
                    <a:pt x="708" y="192"/>
                  </a:lnTo>
                  <a:lnTo>
                    <a:pt x="696" y="198"/>
                  </a:lnTo>
                  <a:lnTo>
                    <a:pt x="696" y="204"/>
                  </a:lnTo>
                  <a:lnTo>
                    <a:pt x="684" y="210"/>
                  </a:lnTo>
                  <a:lnTo>
                    <a:pt x="684" y="216"/>
                  </a:lnTo>
                  <a:lnTo>
                    <a:pt x="684" y="222"/>
                  </a:lnTo>
                  <a:lnTo>
                    <a:pt x="678" y="228"/>
                  </a:lnTo>
                  <a:lnTo>
                    <a:pt x="678" y="234"/>
                  </a:lnTo>
                  <a:lnTo>
                    <a:pt x="672" y="240"/>
                  </a:lnTo>
                  <a:lnTo>
                    <a:pt x="672" y="252"/>
                  </a:lnTo>
                  <a:lnTo>
                    <a:pt x="672" y="258"/>
                  </a:lnTo>
                  <a:lnTo>
                    <a:pt x="666" y="264"/>
                  </a:lnTo>
                  <a:lnTo>
                    <a:pt x="678" y="264"/>
                  </a:lnTo>
                  <a:lnTo>
                    <a:pt x="684" y="276"/>
                  </a:lnTo>
                  <a:lnTo>
                    <a:pt x="684" y="288"/>
                  </a:lnTo>
                  <a:lnTo>
                    <a:pt x="672" y="300"/>
                  </a:lnTo>
                  <a:lnTo>
                    <a:pt x="660" y="318"/>
                  </a:lnTo>
                  <a:lnTo>
                    <a:pt x="660" y="336"/>
                  </a:lnTo>
                  <a:lnTo>
                    <a:pt x="654" y="342"/>
                  </a:lnTo>
                  <a:lnTo>
                    <a:pt x="660" y="354"/>
                  </a:lnTo>
                  <a:lnTo>
                    <a:pt x="660" y="366"/>
                  </a:lnTo>
                  <a:lnTo>
                    <a:pt x="666" y="378"/>
                  </a:lnTo>
                  <a:lnTo>
                    <a:pt x="672" y="390"/>
                  </a:lnTo>
                  <a:lnTo>
                    <a:pt x="678" y="396"/>
                  </a:lnTo>
                  <a:lnTo>
                    <a:pt x="684" y="390"/>
                  </a:lnTo>
                  <a:lnTo>
                    <a:pt x="690" y="390"/>
                  </a:lnTo>
                  <a:lnTo>
                    <a:pt x="690" y="396"/>
                  </a:lnTo>
                  <a:lnTo>
                    <a:pt x="684" y="396"/>
                  </a:lnTo>
                  <a:lnTo>
                    <a:pt x="684" y="402"/>
                  </a:lnTo>
                  <a:lnTo>
                    <a:pt x="684" y="408"/>
                  </a:lnTo>
                  <a:lnTo>
                    <a:pt x="678" y="414"/>
                  </a:lnTo>
                  <a:lnTo>
                    <a:pt x="684" y="414"/>
                  </a:lnTo>
                  <a:lnTo>
                    <a:pt x="684" y="420"/>
                  </a:lnTo>
                  <a:lnTo>
                    <a:pt x="684" y="426"/>
                  </a:lnTo>
                  <a:lnTo>
                    <a:pt x="690" y="420"/>
                  </a:lnTo>
                  <a:lnTo>
                    <a:pt x="696" y="420"/>
                  </a:lnTo>
                  <a:lnTo>
                    <a:pt x="696" y="426"/>
                  </a:lnTo>
                  <a:lnTo>
                    <a:pt x="690" y="426"/>
                  </a:lnTo>
                  <a:lnTo>
                    <a:pt x="696" y="426"/>
                  </a:lnTo>
                  <a:lnTo>
                    <a:pt x="708" y="426"/>
                  </a:lnTo>
                  <a:lnTo>
                    <a:pt x="726" y="414"/>
                  </a:lnTo>
                  <a:lnTo>
                    <a:pt x="732" y="408"/>
                  </a:lnTo>
                  <a:lnTo>
                    <a:pt x="744" y="402"/>
                  </a:lnTo>
                  <a:lnTo>
                    <a:pt x="756" y="402"/>
                  </a:lnTo>
                  <a:lnTo>
                    <a:pt x="768" y="402"/>
                  </a:lnTo>
                  <a:lnTo>
                    <a:pt x="786" y="408"/>
                  </a:lnTo>
                  <a:lnTo>
                    <a:pt x="786" y="414"/>
                  </a:lnTo>
                  <a:lnTo>
                    <a:pt x="774" y="420"/>
                  </a:lnTo>
                  <a:lnTo>
                    <a:pt x="774" y="426"/>
                  </a:lnTo>
                  <a:lnTo>
                    <a:pt x="768" y="432"/>
                  </a:lnTo>
                  <a:lnTo>
                    <a:pt x="762" y="438"/>
                  </a:lnTo>
                  <a:lnTo>
                    <a:pt x="756" y="438"/>
                  </a:lnTo>
                  <a:lnTo>
                    <a:pt x="756" y="444"/>
                  </a:lnTo>
                  <a:lnTo>
                    <a:pt x="756" y="450"/>
                  </a:lnTo>
                  <a:lnTo>
                    <a:pt x="762" y="450"/>
                  </a:lnTo>
                  <a:lnTo>
                    <a:pt x="750" y="456"/>
                  </a:lnTo>
                  <a:lnTo>
                    <a:pt x="738" y="468"/>
                  </a:lnTo>
                  <a:lnTo>
                    <a:pt x="726" y="480"/>
                  </a:lnTo>
                  <a:lnTo>
                    <a:pt x="726" y="486"/>
                  </a:lnTo>
                  <a:lnTo>
                    <a:pt x="732" y="486"/>
                  </a:lnTo>
                  <a:lnTo>
                    <a:pt x="732" y="492"/>
                  </a:lnTo>
                  <a:lnTo>
                    <a:pt x="732" y="504"/>
                  </a:lnTo>
                  <a:lnTo>
                    <a:pt x="738" y="504"/>
                  </a:lnTo>
                  <a:lnTo>
                    <a:pt x="744" y="510"/>
                  </a:lnTo>
                  <a:lnTo>
                    <a:pt x="738" y="522"/>
                  </a:lnTo>
                  <a:lnTo>
                    <a:pt x="744" y="528"/>
                  </a:lnTo>
                  <a:lnTo>
                    <a:pt x="756" y="534"/>
                  </a:lnTo>
                  <a:lnTo>
                    <a:pt x="756" y="540"/>
                  </a:lnTo>
                  <a:lnTo>
                    <a:pt x="744" y="552"/>
                  </a:lnTo>
                  <a:lnTo>
                    <a:pt x="738" y="552"/>
                  </a:lnTo>
                  <a:lnTo>
                    <a:pt x="738" y="558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64"/>
                  </a:lnTo>
                  <a:lnTo>
                    <a:pt x="744" y="576"/>
                  </a:lnTo>
                  <a:lnTo>
                    <a:pt x="738" y="588"/>
                  </a:lnTo>
                  <a:lnTo>
                    <a:pt x="738" y="594"/>
                  </a:lnTo>
                  <a:lnTo>
                    <a:pt x="738" y="600"/>
                  </a:lnTo>
                  <a:lnTo>
                    <a:pt x="738" y="606"/>
                  </a:lnTo>
                  <a:lnTo>
                    <a:pt x="732" y="612"/>
                  </a:lnTo>
                  <a:lnTo>
                    <a:pt x="726" y="624"/>
                  </a:lnTo>
                  <a:lnTo>
                    <a:pt x="726" y="636"/>
                  </a:lnTo>
                  <a:lnTo>
                    <a:pt x="726" y="648"/>
                  </a:lnTo>
                  <a:lnTo>
                    <a:pt x="738" y="654"/>
                  </a:lnTo>
                  <a:lnTo>
                    <a:pt x="750" y="660"/>
                  </a:lnTo>
                  <a:lnTo>
                    <a:pt x="750" y="666"/>
                  </a:lnTo>
                  <a:lnTo>
                    <a:pt x="750" y="678"/>
                  </a:lnTo>
                  <a:lnTo>
                    <a:pt x="744" y="678"/>
                  </a:lnTo>
                  <a:lnTo>
                    <a:pt x="738" y="684"/>
                  </a:lnTo>
                  <a:lnTo>
                    <a:pt x="732" y="684"/>
                  </a:lnTo>
                  <a:lnTo>
                    <a:pt x="720" y="678"/>
                  </a:lnTo>
                  <a:lnTo>
                    <a:pt x="714" y="684"/>
                  </a:lnTo>
                  <a:lnTo>
                    <a:pt x="708" y="684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0" y="690"/>
                  </a:lnTo>
                  <a:lnTo>
                    <a:pt x="690" y="684"/>
                  </a:lnTo>
                  <a:lnTo>
                    <a:pt x="690" y="690"/>
                  </a:lnTo>
                  <a:lnTo>
                    <a:pt x="684" y="690"/>
                  </a:lnTo>
                  <a:lnTo>
                    <a:pt x="684" y="684"/>
                  </a:lnTo>
                  <a:lnTo>
                    <a:pt x="678" y="684"/>
                  </a:lnTo>
                  <a:lnTo>
                    <a:pt x="672" y="678"/>
                  </a:lnTo>
                  <a:lnTo>
                    <a:pt x="672" y="672"/>
                  </a:lnTo>
                  <a:lnTo>
                    <a:pt x="678" y="672"/>
                  </a:lnTo>
                  <a:lnTo>
                    <a:pt x="672" y="672"/>
                  </a:lnTo>
                  <a:lnTo>
                    <a:pt x="666" y="672"/>
                  </a:lnTo>
                  <a:lnTo>
                    <a:pt x="660" y="672"/>
                  </a:lnTo>
                  <a:lnTo>
                    <a:pt x="654" y="672"/>
                  </a:lnTo>
                  <a:lnTo>
                    <a:pt x="654" y="666"/>
                  </a:lnTo>
                  <a:lnTo>
                    <a:pt x="648" y="666"/>
                  </a:lnTo>
                  <a:lnTo>
                    <a:pt x="642" y="660"/>
                  </a:lnTo>
                  <a:lnTo>
                    <a:pt x="642" y="654"/>
                  </a:lnTo>
                  <a:lnTo>
                    <a:pt x="642" y="648"/>
                  </a:lnTo>
                  <a:lnTo>
                    <a:pt x="636" y="648"/>
                  </a:lnTo>
                  <a:lnTo>
                    <a:pt x="630" y="648"/>
                  </a:lnTo>
                  <a:lnTo>
                    <a:pt x="624" y="648"/>
                  </a:lnTo>
                  <a:lnTo>
                    <a:pt x="624" y="642"/>
                  </a:lnTo>
                  <a:lnTo>
                    <a:pt x="618" y="636"/>
                  </a:lnTo>
                  <a:lnTo>
                    <a:pt x="624" y="636"/>
                  </a:lnTo>
                  <a:lnTo>
                    <a:pt x="624" y="630"/>
                  </a:lnTo>
                  <a:lnTo>
                    <a:pt x="618" y="630"/>
                  </a:lnTo>
                  <a:lnTo>
                    <a:pt x="618" y="624"/>
                  </a:lnTo>
                  <a:lnTo>
                    <a:pt x="618" y="618"/>
                  </a:lnTo>
                  <a:lnTo>
                    <a:pt x="618" y="612"/>
                  </a:lnTo>
                  <a:lnTo>
                    <a:pt x="618" y="606"/>
                  </a:lnTo>
                  <a:lnTo>
                    <a:pt x="624" y="606"/>
                  </a:lnTo>
                  <a:lnTo>
                    <a:pt x="624" y="600"/>
                  </a:lnTo>
                  <a:lnTo>
                    <a:pt x="618" y="600"/>
                  </a:lnTo>
                  <a:lnTo>
                    <a:pt x="618" y="594"/>
                  </a:lnTo>
                  <a:lnTo>
                    <a:pt x="618" y="588"/>
                  </a:lnTo>
                  <a:lnTo>
                    <a:pt x="618" y="582"/>
                  </a:lnTo>
                  <a:lnTo>
                    <a:pt x="612" y="582"/>
                  </a:lnTo>
                  <a:lnTo>
                    <a:pt x="606" y="582"/>
                  </a:lnTo>
                  <a:lnTo>
                    <a:pt x="612" y="582"/>
                  </a:lnTo>
                  <a:lnTo>
                    <a:pt x="612" y="588"/>
                  </a:lnTo>
                  <a:lnTo>
                    <a:pt x="612" y="594"/>
                  </a:lnTo>
                  <a:lnTo>
                    <a:pt x="618" y="594"/>
                  </a:lnTo>
                  <a:lnTo>
                    <a:pt x="618" y="600"/>
                  </a:lnTo>
                  <a:lnTo>
                    <a:pt x="618" y="606"/>
                  </a:lnTo>
                  <a:lnTo>
                    <a:pt x="618" y="612"/>
                  </a:lnTo>
                  <a:lnTo>
                    <a:pt x="612" y="612"/>
                  </a:lnTo>
                  <a:lnTo>
                    <a:pt x="612" y="618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94" y="612"/>
                  </a:lnTo>
                  <a:lnTo>
                    <a:pt x="588" y="606"/>
                  </a:lnTo>
                  <a:lnTo>
                    <a:pt x="588" y="612"/>
                  </a:lnTo>
                  <a:lnTo>
                    <a:pt x="594" y="612"/>
                  </a:lnTo>
                  <a:lnTo>
                    <a:pt x="594" y="618"/>
                  </a:lnTo>
                  <a:lnTo>
                    <a:pt x="588" y="618"/>
                  </a:lnTo>
                  <a:lnTo>
                    <a:pt x="588" y="624"/>
                  </a:lnTo>
                  <a:lnTo>
                    <a:pt x="582" y="624"/>
                  </a:lnTo>
                  <a:lnTo>
                    <a:pt x="582" y="630"/>
                  </a:lnTo>
                  <a:lnTo>
                    <a:pt x="576" y="630"/>
                  </a:lnTo>
                  <a:lnTo>
                    <a:pt x="576" y="636"/>
                  </a:lnTo>
                  <a:lnTo>
                    <a:pt x="570" y="636"/>
                  </a:lnTo>
                  <a:lnTo>
                    <a:pt x="570" y="642"/>
                  </a:lnTo>
                  <a:lnTo>
                    <a:pt x="564" y="642"/>
                  </a:lnTo>
                  <a:lnTo>
                    <a:pt x="564" y="636"/>
                  </a:lnTo>
                  <a:lnTo>
                    <a:pt x="564" y="630"/>
                  </a:lnTo>
                  <a:lnTo>
                    <a:pt x="564" y="624"/>
                  </a:lnTo>
                  <a:lnTo>
                    <a:pt x="564" y="618"/>
                  </a:lnTo>
                  <a:lnTo>
                    <a:pt x="570" y="612"/>
                  </a:lnTo>
                  <a:lnTo>
                    <a:pt x="564" y="606"/>
                  </a:lnTo>
                  <a:lnTo>
                    <a:pt x="564" y="600"/>
                  </a:lnTo>
                  <a:lnTo>
                    <a:pt x="564" y="594"/>
                  </a:lnTo>
                  <a:lnTo>
                    <a:pt x="558" y="594"/>
                  </a:lnTo>
                  <a:lnTo>
                    <a:pt x="558" y="588"/>
                  </a:lnTo>
                  <a:lnTo>
                    <a:pt x="552" y="582"/>
                  </a:lnTo>
                  <a:lnTo>
                    <a:pt x="552" y="576"/>
                  </a:lnTo>
                  <a:lnTo>
                    <a:pt x="552" y="570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6" y="582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58" y="588"/>
                  </a:lnTo>
                  <a:lnTo>
                    <a:pt x="558" y="594"/>
                  </a:lnTo>
                  <a:lnTo>
                    <a:pt x="558" y="600"/>
                  </a:lnTo>
                  <a:lnTo>
                    <a:pt x="558" y="606"/>
                  </a:lnTo>
                  <a:lnTo>
                    <a:pt x="552" y="612"/>
                  </a:lnTo>
                  <a:lnTo>
                    <a:pt x="558" y="612"/>
                  </a:lnTo>
                  <a:lnTo>
                    <a:pt x="558" y="618"/>
                  </a:lnTo>
                  <a:lnTo>
                    <a:pt x="558" y="624"/>
                  </a:lnTo>
                  <a:lnTo>
                    <a:pt x="558" y="630"/>
                  </a:lnTo>
                  <a:lnTo>
                    <a:pt x="552" y="630"/>
                  </a:lnTo>
                  <a:lnTo>
                    <a:pt x="552" y="624"/>
                  </a:lnTo>
                  <a:lnTo>
                    <a:pt x="546" y="624"/>
                  </a:lnTo>
                  <a:lnTo>
                    <a:pt x="546" y="618"/>
                  </a:lnTo>
                  <a:lnTo>
                    <a:pt x="546" y="612"/>
                  </a:lnTo>
                  <a:lnTo>
                    <a:pt x="540" y="612"/>
                  </a:lnTo>
                  <a:lnTo>
                    <a:pt x="534" y="612"/>
                  </a:lnTo>
                  <a:lnTo>
                    <a:pt x="528" y="612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28" y="618"/>
                  </a:lnTo>
                  <a:lnTo>
                    <a:pt x="534" y="618"/>
                  </a:lnTo>
                  <a:lnTo>
                    <a:pt x="540" y="618"/>
                  </a:lnTo>
                  <a:lnTo>
                    <a:pt x="540" y="624"/>
                  </a:lnTo>
                  <a:lnTo>
                    <a:pt x="546" y="624"/>
                  </a:lnTo>
                  <a:lnTo>
                    <a:pt x="546" y="630"/>
                  </a:lnTo>
                  <a:lnTo>
                    <a:pt x="552" y="630"/>
                  </a:lnTo>
                  <a:lnTo>
                    <a:pt x="552" y="636"/>
                  </a:lnTo>
                  <a:lnTo>
                    <a:pt x="546" y="642"/>
                  </a:lnTo>
                  <a:lnTo>
                    <a:pt x="546" y="648"/>
                  </a:lnTo>
                  <a:lnTo>
                    <a:pt x="540" y="648"/>
                  </a:lnTo>
                  <a:lnTo>
                    <a:pt x="540" y="654"/>
                  </a:lnTo>
                  <a:lnTo>
                    <a:pt x="540" y="660"/>
                  </a:lnTo>
                  <a:lnTo>
                    <a:pt x="534" y="666"/>
                  </a:lnTo>
                  <a:lnTo>
                    <a:pt x="534" y="672"/>
                  </a:lnTo>
                  <a:lnTo>
                    <a:pt x="534" y="678"/>
                  </a:lnTo>
                  <a:lnTo>
                    <a:pt x="534" y="684"/>
                  </a:lnTo>
                  <a:lnTo>
                    <a:pt x="534" y="678"/>
                  </a:lnTo>
                  <a:lnTo>
                    <a:pt x="528" y="678"/>
                  </a:lnTo>
                  <a:lnTo>
                    <a:pt x="528" y="684"/>
                  </a:lnTo>
                  <a:lnTo>
                    <a:pt x="522" y="690"/>
                  </a:lnTo>
                  <a:lnTo>
                    <a:pt x="528" y="690"/>
                  </a:lnTo>
                  <a:lnTo>
                    <a:pt x="528" y="684"/>
                  </a:lnTo>
                  <a:lnTo>
                    <a:pt x="534" y="684"/>
                  </a:lnTo>
                  <a:lnTo>
                    <a:pt x="534" y="690"/>
                  </a:lnTo>
                  <a:lnTo>
                    <a:pt x="534" y="696"/>
                  </a:lnTo>
                  <a:lnTo>
                    <a:pt x="540" y="696"/>
                  </a:lnTo>
                  <a:lnTo>
                    <a:pt x="540" y="702"/>
                  </a:lnTo>
                  <a:lnTo>
                    <a:pt x="540" y="708"/>
                  </a:lnTo>
                  <a:lnTo>
                    <a:pt x="534" y="708"/>
                  </a:lnTo>
                  <a:lnTo>
                    <a:pt x="528" y="708"/>
                  </a:lnTo>
                  <a:lnTo>
                    <a:pt x="522" y="708"/>
                  </a:lnTo>
                  <a:lnTo>
                    <a:pt x="516" y="708"/>
                  </a:lnTo>
                  <a:lnTo>
                    <a:pt x="510" y="708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2" y="708"/>
                  </a:lnTo>
                  <a:lnTo>
                    <a:pt x="486" y="714"/>
                  </a:lnTo>
                  <a:lnTo>
                    <a:pt x="480" y="708"/>
                  </a:lnTo>
                  <a:lnTo>
                    <a:pt x="474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68" y="714"/>
                  </a:lnTo>
                  <a:lnTo>
                    <a:pt x="456" y="714"/>
                  </a:lnTo>
                  <a:lnTo>
                    <a:pt x="450" y="714"/>
                  </a:lnTo>
                  <a:lnTo>
                    <a:pt x="450" y="708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50" y="690"/>
                  </a:lnTo>
                  <a:lnTo>
                    <a:pt x="450" y="684"/>
                  </a:lnTo>
                  <a:lnTo>
                    <a:pt x="450" y="678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56" y="660"/>
                  </a:lnTo>
                  <a:lnTo>
                    <a:pt x="462" y="660"/>
                  </a:lnTo>
                  <a:lnTo>
                    <a:pt x="462" y="654"/>
                  </a:lnTo>
                  <a:lnTo>
                    <a:pt x="456" y="654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48"/>
                  </a:lnTo>
                  <a:lnTo>
                    <a:pt x="444" y="648"/>
                  </a:lnTo>
                  <a:lnTo>
                    <a:pt x="444" y="642"/>
                  </a:lnTo>
                  <a:lnTo>
                    <a:pt x="444" y="636"/>
                  </a:lnTo>
                  <a:lnTo>
                    <a:pt x="450" y="636"/>
                  </a:lnTo>
                  <a:lnTo>
                    <a:pt x="450" y="630"/>
                  </a:lnTo>
                  <a:lnTo>
                    <a:pt x="456" y="630"/>
                  </a:lnTo>
                  <a:lnTo>
                    <a:pt x="462" y="630"/>
                  </a:lnTo>
                  <a:lnTo>
                    <a:pt x="462" y="624"/>
                  </a:lnTo>
                  <a:lnTo>
                    <a:pt x="468" y="624"/>
                  </a:lnTo>
                  <a:lnTo>
                    <a:pt x="474" y="624"/>
                  </a:lnTo>
                  <a:lnTo>
                    <a:pt x="474" y="618"/>
                  </a:lnTo>
                  <a:lnTo>
                    <a:pt x="480" y="618"/>
                  </a:lnTo>
                  <a:lnTo>
                    <a:pt x="486" y="618"/>
                  </a:lnTo>
                  <a:lnTo>
                    <a:pt x="486" y="624"/>
                  </a:lnTo>
                  <a:lnTo>
                    <a:pt x="486" y="636"/>
                  </a:lnTo>
                  <a:lnTo>
                    <a:pt x="486" y="642"/>
                  </a:lnTo>
                  <a:lnTo>
                    <a:pt x="486" y="648"/>
                  </a:lnTo>
                  <a:lnTo>
                    <a:pt x="492" y="648"/>
                  </a:lnTo>
                  <a:lnTo>
                    <a:pt x="492" y="642"/>
                  </a:lnTo>
                  <a:lnTo>
                    <a:pt x="498" y="636"/>
                  </a:lnTo>
                  <a:lnTo>
                    <a:pt x="492" y="636"/>
                  </a:lnTo>
                  <a:lnTo>
                    <a:pt x="492" y="630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6" y="618"/>
                  </a:lnTo>
                  <a:lnTo>
                    <a:pt x="486" y="612"/>
                  </a:lnTo>
                  <a:lnTo>
                    <a:pt x="486" y="606"/>
                  </a:lnTo>
                  <a:lnTo>
                    <a:pt x="480" y="606"/>
                  </a:lnTo>
                  <a:lnTo>
                    <a:pt x="480" y="612"/>
                  </a:lnTo>
                  <a:lnTo>
                    <a:pt x="474" y="618"/>
                  </a:lnTo>
                  <a:lnTo>
                    <a:pt x="468" y="618"/>
                  </a:lnTo>
                  <a:lnTo>
                    <a:pt x="462" y="618"/>
                  </a:lnTo>
                  <a:lnTo>
                    <a:pt x="462" y="612"/>
                  </a:lnTo>
                  <a:lnTo>
                    <a:pt x="456" y="612"/>
                  </a:lnTo>
                  <a:lnTo>
                    <a:pt x="456" y="618"/>
                  </a:lnTo>
                  <a:lnTo>
                    <a:pt x="462" y="618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30"/>
                  </a:lnTo>
                  <a:lnTo>
                    <a:pt x="444" y="630"/>
                  </a:lnTo>
                  <a:lnTo>
                    <a:pt x="444" y="636"/>
                  </a:lnTo>
                  <a:lnTo>
                    <a:pt x="444" y="642"/>
                  </a:lnTo>
                  <a:lnTo>
                    <a:pt x="444" y="654"/>
                  </a:lnTo>
                  <a:lnTo>
                    <a:pt x="444" y="660"/>
                  </a:lnTo>
                  <a:lnTo>
                    <a:pt x="438" y="660"/>
                  </a:lnTo>
                  <a:lnTo>
                    <a:pt x="432" y="660"/>
                  </a:lnTo>
                  <a:lnTo>
                    <a:pt x="432" y="654"/>
                  </a:lnTo>
                  <a:lnTo>
                    <a:pt x="438" y="654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48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26" y="660"/>
                  </a:lnTo>
                  <a:lnTo>
                    <a:pt x="432" y="666"/>
                  </a:lnTo>
                  <a:lnTo>
                    <a:pt x="432" y="672"/>
                  </a:lnTo>
                  <a:lnTo>
                    <a:pt x="438" y="672"/>
                  </a:lnTo>
                  <a:lnTo>
                    <a:pt x="438" y="678"/>
                  </a:lnTo>
                  <a:lnTo>
                    <a:pt x="444" y="678"/>
                  </a:lnTo>
                  <a:lnTo>
                    <a:pt x="444" y="684"/>
                  </a:lnTo>
                  <a:lnTo>
                    <a:pt x="438" y="690"/>
                  </a:lnTo>
                  <a:lnTo>
                    <a:pt x="438" y="696"/>
                  </a:lnTo>
                  <a:lnTo>
                    <a:pt x="438" y="702"/>
                  </a:lnTo>
                  <a:lnTo>
                    <a:pt x="432" y="702"/>
                  </a:lnTo>
                  <a:lnTo>
                    <a:pt x="426" y="702"/>
                  </a:lnTo>
                  <a:lnTo>
                    <a:pt x="426" y="696"/>
                  </a:lnTo>
                  <a:lnTo>
                    <a:pt x="414" y="696"/>
                  </a:lnTo>
                  <a:lnTo>
                    <a:pt x="402" y="696"/>
                  </a:lnTo>
                  <a:lnTo>
                    <a:pt x="402" y="690"/>
                  </a:lnTo>
                  <a:lnTo>
                    <a:pt x="396" y="690"/>
                  </a:lnTo>
                  <a:lnTo>
                    <a:pt x="390" y="690"/>
                  </a:lnTo>
                  <a:lnTo>
                    <a:pt x="384" y="690"/>
                  </a:lnTo>
                  <a:lnTo>
                    <a:pt x="384" y="684"/>
                  </a:lnTo>
                  <a:lnTo>
                    <a:pt x="384" y="678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390" y="660"/>
                  </a:lnTo>
                  <a:lnTo>
                    <a:pt x="390" y="654"/>
                  </a:lnTo>
                  <a:lnTo>
                    <a:pt x="384" y="648"/>
                  </a:lnTo>
                  <a:lnTo>
                    <a:pt x="384" y="642"/>
                  </a:lnTo>
                  <a:lnTo>
                    <a:pt x="378" y="636"/>
                  </a:lnTo>
                  <a:lnTo>
                    <a:pt x="378" y="642"/>
                  </a:lnTo>
                  <a:lnTo>
                    <a:pt x="378" y="648"/>
                  </a:lnTo>
                  <a:lnTo>
                    <a:pt x="372" y="648"/>
                  </a:lnTo>
                  <a:lnTo>
                    <a:pt x="378" y="654"/>
                  </a:lnTo>
                  <a:lnTo>
                    <a:pt x="378" y="660"/>
                  </a:lnTo>
                  <a:lnTo>
                    <a:pt x="378" y="666"/>
                  </a:lnTo>
                  <a:lnTo>
                    <a:pt x="372" y="672"/>
                  </a:lnTo>
                  <a:lnTo>
                    <a:pt x="378" y="672"/>
                  </a:lnTo>
                  <a:lnTo>
                    <a:pt x="378" y="678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54" y="666"/>
                  </a:lnTo>
                  <a:lnTo>
                    <a:pt x="354" y="660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0" y="654"/>
                  </a:lnTo>
                  <a:lnTo>
                    <a:pt x="324" y="648"/>
                  </a:lnTo>
                  <a:lnTo>
                    <a:pt x="318" y="648"/>
                  </a:lnTo>
                  <a:lnTo>
                    <a:pt x="318" y="642"/>
                  </a:lnTo>
                  <a:lnTo>
                    <a:pt x="312" y="642"/>
                  </a:lnTo>
                  <a:lnTo>
                    <a:pt x="306" y="636"/>
                  </a:lnTo>
                  <a:lnTo>
                    <a:pt x="300" y="636"/>
                  </a:lnTo>
                  <a:lnTo>
                    <a:pt x="300" y="630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0" y="618"/>
                  </a:lnTo>
                  <a:lnTo>
                    <a:pt x="306" y="612"/>
                  </a:lnTo>
                  <a:lnTo>
                    <a:pt x="300" y="612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294" y="612"/>
                  </a:lnTo>
                  <a:lnTo>
                    <a:pt x="288" y="618"/>
                  </a:lnTo>
                  <a:lnTo>
                    <a:pt x="288" y="612"/>
                  </a:lnTo>
                  <a:lnTo>
                    <a:pt x="288" y="618"/>
                  </a:lnTo>
                  <a:lnTo>
                    <a:pt x="294" y="618"/>
                  </a:lnTo>
                  <a:lnTo>
                    <a:pt x="300" y="624"/>
                  </a:lnTo>
                  <a:lnTo>
                    <a:pt x="294" y="624"/>
                  </a:lnTo>
                  <a:lnTo>
                    <a:pt x="288" y="624"/>
                  </a:lnTo>
                  <a:lnTo>
                    <a:pt x="282" y="61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70" y="600"/>
                  </a:lnTo>
                  <a:lnTo>
                    <a:pt x="270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82" y="588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594"/>
                  </a:lnTo>
                  <a:lnTo>
                    <a:pt x="264" y="600"/>
                  </a:lnTo>
                  <a:lnTo>
                    <a:pt x="264" y="594"/>
                  </a:lnTo>
                  <a:lnTo>
                    <a:pt x="270" y="594"/>
                  </a:lnTo>
                  <a:lnTo>
                    <a:pt x="270" y="588"/>
                  </a:lnTo>
                  <a:lnTo>
                    <a:pt x="264" y="594"/>
                  </a:lnTo>
                  <a:lnTo>
                    <a:pt x="258" y="594"/>
                  </a:lnTo>
                  <a:lnTo>
                    <a:pt x="258" y="588"/>
                  </a:lnTo>
                  <a:lnTo>
                    <a:pt x="252" y="588"/>
                  </a:lnTo>
                  <a:lnTo>
                    <a:pt x="246" y="588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52" y="588"/>
                  </a:lnTo>
                  <a:lnTo>
                    <a:pt x="252" y="594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46" y="594"/>
                  </a:lnTo>
                  <a:lnTo>
                    <a:pt x="246" y="588"/>
                  </a:lnTo>
                  <a:lnTo>
                    <a:pt x="240" y="588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2" y="570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64"/>
                  </a:lnTo>
                  <a:lnTo>
                    <a:pt x="234" y="564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34" y="558"/>
                  </a:lnTo>
                  <a:lnTo>
                    <a:pt x="228" y="558"/>
                  </a:lnTo>
                  <a:lnTo>
                    <a:pt x="222" y="558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2" y="564"/>
                  </a:lnTo>
                  <a:lnTo>
                    <a:pt x="222" y="558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04" y="546"/>
                  </a:lnTo>
                  <a:lnTo>
                    <a:pt x="204" y="540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10" y="540"/>
                  </a:lnTo>
                  <a:lnTo>
                    <a:pt x="210" y="534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8"/>
                  </a:lnTo>
                  <a:lnTo>
                    <a:pt x="174" y="516"/>
                  </a:lnTo>
                  <a:lnTo>
                    <a:pt x="168" y="510"/>
                  </a:lnTo>
                  <a:lnTo>
                    <a:pt x="162" y="504"/>
                  </a:lnTo>
                  <a:lnTo>
                    <a:pt x="156" y="498"/>
                  </a:lnTo>
                  <a:lnTo>
                    <a:pt x="156" y="492"/>
                  </a:lnTo>
                  <a:lnTo>
                    <a:pt x="150" y="486"/>
                  </a:lnTo>
                  <a:lnTo>
                    <a:pt x="144" y="480"/>
                  </a:lnTo>
                  <a:lnTo>
                    <a:pt x="144" y="474"/>
                  </a:lnTo>
                  <a:lnTo>
                    <a:pt x="138" y="474"/>
                  </a:lnTo>
                  <a:lnTo>
                    <a:pt x="138" y="468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26" y="450"/>
                  </a:lnTo>
                  <a:lnTo>
                    <a:pt x="126" y="444"/>
                  </a:lnTo>
                  <a:lnTo>
                    <a:pt x="114" y="438"/>
                  </a:lnTo>
                  <a:lnTo>
                    <a:pt x="114" y="432"/>
                  </a:lnTo>
                  <a:lnTo>
                    <a:pt x="114" y="426"/>
                  </a:lnTo>
                  <a:lnTo>
                    <a:pt x="114" y="432"/>
                  </a:lnTo>
                  <a:lnTo>
                    <a:pt x="120" y="432"/>
                  </a:lnTo>
                  <a:lnTo>
                    <a:pt x="120" y="438"/>
                  </a:lnTo>
                  <a:lnTo>
                    <a:pt x="120" y="444"/>
                  </a:lnTo>
                  <a:lnTo>
                    <a:pt x="126" y="444"/>
                  </a:lnTo>
                  <a:lnTo>
                    <a:pt x="126" y="438"/>
                  </a:lnTo>
                  <a:lnTo>
                    <a:pt x="120" y="438"/>
                  </a:lnTo>
                  <a:lnTo>
                    <a:pt x="126" y="432"/>
                  </a:lnTo>
                  <a:lnTo>
                    <a:pt x="126" y="426"/>
                  </a:lnTo>
                  <a:lnTo>
                    <a:pt x="132" y="420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08" y="414"/>
                  </a:lnTo>
                  <a:lnTo>
                    <a:pt x="102" y="414"/>
                  </a:lnTo>
                  <a:lnTo>
                    <a:pt x="102" y="408"/>
                  </a:lnTo>
                  <a:lnTo>
                    <a:pt x="96" y="402"/>
                  </a:lnTo>
                  <a:lnTo>
                    <a:pt x="96" y="396"/>
                  </a:lnTo>
                  <a:lnTo>
                    <a:pt x="96" y="390"/>
                  </a:lnTo>
                  <a:lnTo>
                    <a:pt x="90" y="390"/>
                  </a:lnTo>
                  <a:lnTo>
                    <a:pt x="90" y="384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78" y="372"/>
                  </a:lnTo>
                  <a:lnTo>
                    <a:pt x="78" y="366"/>
                  </a:lnTo>
                  <a:lnTo>
                    <a:pt x="78" y="360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6" y="348"/>
                  </a:lnTo>
                  <a:lnTo>
                    <a:pt x="66" y="342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6" y="336"/>
                  </a:lnTo>
                  <a:lnTo>
                    <a:pt x="66" y="342"/>
                  </a:lnTo>
                  <a:lnTo>
                    <a:pt x="72" y="348"/>
                  </a:lnTo>
                  <a:lnTo>
                    <a:pt x="78" y="354"/>
                  </a:lnTo>
                  <a:lnTo>
                    <a:pt x="84" y="360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0" y="360"/>
                  </a:lnTo>
                  <a:lnTo>
                    <a:pt x="84" y="360"/>
                  </a:lnTo>
                  <a:lnTo>
                    <a:pt x="84" y="354"/>
                  </a:lnTo>
                  <a:lnTo>
                    <a:pt x="78" y="348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66" y="330"/>
                  </a:lnTo>
                  <a:lnTo>
                    <a:pt x="66" y="324"/>
                  </a:lnTo>
                  <a:lnTo>
                    <a:pt x="60" y="318"/>
                  </a:lnTo>
                  <a:lnTo>
                    <a:pt x="60" y="312"/>
                  </a:lnTo>
                  <a:lnTo>
                    <a:pt x="54" y="306"/>
                  </a:lnTo>
                  <a:lnTo>
                    <a:pt x="54" y="300"/>
                  </a:lnTo>
                  <a:lnTo>
                    <a:pt x="54" y="294"/>
                  </a:lnTo>
                  <a:lnTo>
                    <a:pt x="48" y="288"/>
                  </a:lnTo>
                  <a:lnTo>
                    <a:pt x="48" y="294"/>
                  </a:lnTo>
                  <a:lnTo>
                    <a:pt x="48" y="288"/>
                  </a:lnTo>
                  <a:lnTo>
                    <a:pt x="48" y="282"/>
                  </a:lnTo>
                  <a:lnTo>
                    <a:pt x="48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18" y="216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62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68"/>
                  </a:lnTo>
                  <a:lnTo>
                    <a:pt x="42" y="168"/>
                  </a:lnTo>
                  <a:lnTo>
                    <a:pt x="42" y="174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86"/>
                  </a:lnTo>
                  <a:close/>
                  <a:moveTo>
                    <a:pt x="642" y="660"/>
                  </a:moveTo>
                  <a:lnTo>
                    <a:pt x="642" y="666"/>
                  </a:lnTo>
                  <a:lnTo>
                    <a:pt x="648" y="666"/>
                  </a:lnTo>
                  <a:lnTo>
                    <a:pt x="648" y="672"/>
                  </a:lnTo>
                  <a:lnTo>
                    <a:pt x="648" y="678"/>
                  </a:lnTo>
                  <a:lnTo>
                    <a:pt x="654" y="678"/>
                  </a:lnTo>
                  <a:lnTo>
                    <a:pt x="654" y="684"/>
                  </a:lnTo>
                  <a:lnTo>
                    <a:pt x="660" y="684"/>
                  </a:lnTo>
                  <a:lnTo>
                    <a:pt x="660" y="690"/>
                  </a:lnTo>
                  <a:lnTo>
                    <a:pt x="654" y="690"/>
                  </a:lnTo>
                  <a:lnTo>
                    <a:pt x="648" y="690"/>
                  </a:lnTo>
                  <a:lnTo>
                    <a:pt x="636" y="696"/>
                  </a:lnTo>
                  <a:lnTo>
                    <a:pt x="630" y="696"/>
                  </a:lnTo>
                  <a:lnTo>
                    <a:pt x="624" y="696"/>
                  </a:lnTo>
                  <a:lnTo>
                    <a:pt x="618" y="696"/>
                  </a:lnTo>
                  <a:lnTo>
                    <a:pt x="612" y="696"/>
                  </a:lnTo>
                  <a:lnTo>
                    <a:pt x="594" y="696"/>
                  </a:lnTo>
                  <a:lnTo>
                    <a:pt x="588" y="696"/>
                  </a:lnTo>
                  <a:lnTo>
                    <a:pt x="582" y="696"/>
                  </a:lnTo>
                  <a:lnTo>
                    <a:pt x="570" y="702"/>
                  </a:lnTo>
                  <a:lnTo>
                    <a:pt x="564" y="702"/>
                  </a:lnTo>
                  <a:lnTo>
                    <a:pt x="558" y="702"/>
                  </a:lnTo>
                  <a:lnTo>
                    <a:pt x="552" y="702"/>
                  </a:lnTo>
                  <a:lnTo>
                    <a:pt x="552" y="696"/>
                  </a:lnTo>
                  <a:lnTo>
                    <a:pt x="546" y="696"/>
                  </a:lnTo>
                  <a:lnTo>
                    <a:pt x="546" y="690"/>
                  </a:lnTo>
                  <a:lnTo>
                    <a:pt x="552" y="684"/>
                  </a:lnTo>
                  <a:lnTo>
                    <a:pt x="552" y="678"/>
                  </a:lnTo>
                  <a:lnTo>
                    <a:pt x="558" y="672"/>
                  </a:lnTo>
                  <a:lnTo>
                    <a:pt x="558" y="666"/>
                  </a:lnTo>
                  <a:lnTo>
                    <a:pt x="564" y="666"/>
                  </a:lnTo>
                  <a:lnTo>
                    <a:pt x="570" y="666"/>
                  </a:lnTo>
                  <a:lnTo>
                    <a:pt x="570" y="654"/>
                  </a:lnTo>
                  <a:lnTo>
                    <a:pt x="570" y="648"/>
                  </a:lnTo>
                  <a:lnTo>
                    <a:pt x="582" y="642"/>
                  </a:lnTo>
                  <a:lnTo>
                    <a:pt x="582" y="636"/>
                  </a:lnTo>
                  <a:lnTo>
                    <a:pt x="588" y="636"/>
                  </a:lnTo>
                  <a:lnTo>
                    <a:pt x="588" y="630"/>
                  </a:lnTo>
                  <a:lnTo>
                    <a:pt x="594" y="624"/>
                  </a:lnTo>
                  <a:lnTo>
                    <a:pt x="594" y="618"/>
                  </a:lnTo>
                  <a:lnTo>
                    <a:pt x="600" y="618"/>
                  </a:lnTo>
                  <a:lnTo>
                    <a:pt x="600" y="612"/>
                  </a:lnTo>
                  <a:lnTo>
                    <a:pt x="606" y="612"/>
                  </a:lnTo>
                  <a:lnTo>
                    <a:pt x="606" y="618"/>
                  </a:lnTo>
                  <a:lnTo>
                    <a:pt x="612" y="618"/>
                  </a:lnTo>
                  <a:lnTo>
                    <a:pt x="618" y="618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18" y="636"/>
                  </a:lnTo>
                  <a:lnTo>
                    <a:pt x="618" y="642"/>
                  </a:lnTo>
                  <a:lnTo>
                    <a:pt x="618" y="648"/>
                  </a:lnTo>
                  <a:lnTo>
                    <a:pt x="624" y="648"/>
                  </a:lnTo>
                  <a:lnTo>
                    <a:pt x="630" y="648"/>
                  </a:lnTo>
                  <a:lnTo>
                    <a:pt x="636" y="654"/>
                  </a:lnTo>
                  <a:lnTo>
                    <a:pt x="642" y="654"/>
                  </a:lnTo>
                  <a:lnTo>
                    <a:pt x="642" y="66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00" name="Freeform 5">
              <a:extLst>
                <a:ext uri="{FF2B5EF4-FFF2-40B4-BE49-F238E27FC236}">
                  <a16:creationId xmlns:a16="http://schemas.microsoft.com/office/drawing/2014/main" id="{5577BDCA-F2C7-42E0-A391-018D79AA29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0384" y="4231013"/>
              <a:ext cx="404750" cy="480848"/>
            </a:xfrm>
            <a:custGeom>
              <a:avLst/>
              <a:gdLst>
                <a:gd name="T0" fmla="*/ 9 w 762"/>
                <a:gd name="T1" fmla="*/ 58 h 900"/>
                <a:gd name="T2" fmla="*/ 4 w 762"/>
                <a:gd name="T3" fmla="*/ 56 h 900"/>
                <a:gd name="T4" fmla="*/ 0 w 762"/>
                <a:gd name="T5" fmla="*/ 49 h 900"/>
                <a:gd name="T6" fmla="*/ 4 w 762"/>
                <a:gd name="T7" fmla="*/ 36 h 900"/>
                <a:gd name="T8" fmla="*/ 8 w 762"/>
                <a:gd name="T9" fmla="*/ 28 h 900"/>
                <a:gd name="T10" fmla="*/ 7 w 762"/>
                <a:gd name="T11" fmla="*/ 13 h 900"/>
                <a:gd name="T12" fmla="*/ 15 w 762"/>
                <a:gd name="T13" fmla="*/ 0 h 900"/>
                <a:gd name="T14" fmla="*/ 16 w 762"/>
                <a:gd name="T15" fmla="*/ 13 h 900"/>
                <a:gd name="T16" fmla="*/ 31 w 762"/>
                <a:gd name="T17" fmla="*/ 28 h 900"/>
                <a:gd name="T18" fmla="*/ 49 w 762"/>
                <a:gd name="T19" fmla="*/ 33 h 900"/>
                <a:gd name="T20" fmla="*/ 42 w 762"/>
                <a:gd name="T21" fmla="*/ 48 h 900"/>
                <a:gd name="T22" fmla="*/ 51 w 762"/>
                <a:gd name="T23" fmla="*/ 48 h 900"/>
                <a:gd name="T24" fmla="*/ 61 w 762"/>
                <a:gd name="T25" fmla="*/ 51 h 900"/>
                <a:gd name="T26" fmla="*/ 63 w 762"/>
                <a:gd name="T27" fmla="*/ 60 h 900"/>
                <a:gd name="T28" fmla="*/ 63 w 762"/>
                <a:gd name="T29" fmla="*/ 66 h 900"/>
                <a:gd name="T30" fmla="*/ 65 w 762"/>
                <a:gd name="T31" fmla="*/ 69 h 900"/>
                <a:gd name="T32" fmla="*/ 66 w 762"/>
                <a:gd name="T33" fmla="*/ 72 h 900"/>
                <a:gd name="T34" fmla="*/ 56 w 762"/>
                <a:gd name="T35" fmla="*/ 73 h 900"/>
                <a:gd name="T36" fmla="*/ 55 w 762"/>
                <a:gd name="T37" fmla="*/ 69 h 900"/>
                <a:gd name="T38" fmla="*/ 57 w 762"/>
                <a:gd name="T39" fmla="*/ 67 h 900"/>
                <a:gd name="T40" fmla="*/ 55 w 762"/>
                <a:gd name="T41" fmla="*/ 65 h 900"/>
                <a:gd name="T42" fmla="*/ 53 w 762"/>
                <a:gd name="T43" fmla="*/ 68 h 900"/>
                <a:gd name="T44" fmla="*/ 49 w 762"/>
                <a:gd name="T45" fmla="*/ 68 h 900"/>
                <a:gd name="T46" fmla="*/ 44 w 762"/>
                <a:gd name="T47" fmla="*/ 63 h 900"/>
                <a:gd name="T48" fmla="*/ 40 w 762"/>
                <a:gd name="T49" fmla="*/ 59 h 900"/>
                <a:gd name="T50" fmla="*/ 38 w 762"/>
                <a:gd name="T51" fmla="*/ 57 h 900"/>
                <a:gd name="T52" fmla="*/ 43 w 762"/>
                <a:gd name="T53" fmla="*/ 62 h 900"/>
                <a:gd name="T54" fmla="*/ 43 w 762"/>
                <a:gd name="T55" fmla="*/ 66 h 900"/>
                <a:gd name="T56" fmla="*/ 41 w 762"/>
                <a:gd name="T57" fmla="*/ 71 h 900"/>
                <a:gd name="T58" fmla="*/ 37 w 762"/>
                <a:gd name="T59" fmla="*/ 69 h 900"/>
                <a:gd name="T60" fmla="*/ 35 w 762"/>
                <a:gd name="T61" fmla="*/ 64 h 900"/>
                <a:gd name="T62" fmla="*/ 31 w 762"/>
                <a:gd name="T63" fmla="*/ 57 h 900"/>
                <a:gd name="T64" fmla="*/ 30 w 762"/>
                <a:gd name="T65" fmla="*/ 62 h 900"/>
                <a:gd name="T66" fmla="*/ 29 w 762"/>
                <a:gd name="T67" fmla="*/ 61 h 900"/>
                <a:gd name="T68" fmla="*/ 31 w 762"/>
                <a:gd name="T69" fmla="*/ 66 h 900"/>
                <a:gd name="T70" fmla="*/ 33 w 762"/>
                <a:gd name="T71" fmla="*/ 72 h 900"/>
                <a:gd name="T72" fmla="*/ 32 w 762"/>
                <a:gd name="T73" fmla="*/ 76 h 900"/>
                <a:gd name="T74" fmla="*/ 28 w 762"/>
                <a:gd name="T75" fmla="*/ 75 h 900"/>
                <a:gd name="T76" fmla="*/ 24 w 762"/>
                <a:gd name="T77" fmla="*/ 69 h 900"/>
                <a:gd name="T78" fmla="*/ 24 w 762"/>
                <a:gd name="T79" fmla="*/ 62 h 900"/>
                <a:gd name="T80" fmla="*/ 23 w 762"/>
                <a:gd name="T81" fmla="*/ 62 h 900"/>
                <a:gd name="T82" fmla="*/ 23 w 762"/>
                <a:gd name="T83" fmla="*/ 68 h 900"/>
                <a:gd name="T84" fmla="*/ 25 w 762"/>
                <a:gd name="T85" fmla="*/ 77 h 900"/>
                <a:gd name="T86" fmla="*/ 17 w 762"/>
                <a:gd name="T87" fmla="*/ 74 h 900"/>
                <a:gd name="T88" fmla="*/ 17 w 762"/>
                <a:gd name="T89" fmla="*/ 67 h 900"/>
                <a:gd name="T90" fmla="*/ 16 w 762"/>
                <a:gd name="T91" fmla="*/ 67 h 900"/>
                <a:gd name="T92" fmla="*/ 15 w 762"/>
                <a:gd name="T93" fmla="*/ 71 h 900"/>
                <a:gd name="T94" fmla="*/ 12 w 762"/>
                <a:gd name="T95" fmla="*/ 68 h 900"/>
                <a:gd name="T96" fmla="*/ 15 w 762"/>
                <a:gd name="T97" fmla="*/ 72 h 900"/>
                <a:gd name="T98" fmla="*/ 17 w 762"/>
                <a:gd name="T99" fmla="*/ 77 h 900"/>
                <a:gd name="T100" fmla="*/ 11 w 762"/>
                <a:gd name="T101" fmla="*/ 77 h 900"/>
                <a:gd name="T102" fmla="*/ 10 w 762"/>
                <a:gd name="T103" fmla="*/ 69 h 900"/>
                <a:gd name="T104" fmla="*/ 11 w 762"/>
                <a:gd name="T105" fmla="*/ 72 h 900"/>
                <a:gd name="T106" fmla="*/ 9 w 762"/>
                <a:gd name="T107" fmla="*/ 78 h 900"/>
                <a:gd name="T108" fmla="*/ 43 w 762"/>
                <a:gd name="T109" fmla="*/ 71 h 900"/>
                <a:gd name="T110" fmla="*/ 51 w 762"/>
                <a:gd name="T111" fmla="*/ 69 h 900"/>
                <a:gd name="T112" fmla="*/ 43 w 762"/>
                <a:gd name="T113" fmla="*/ 76 h 900"/>
                <a:gd name="T114" fmla="*/ 36 w 762"/>
                <a:gd name="T115" fmla="*/ 65 h 900"/>
                <a:gd name="T116" fmla="*/ 38 w 762"/>
                <a:gd name="T117" fmla="*/ 72 h 900"/>
                <a:gd name="T118" fmla="*/ 34 w 762"/>
                <a:gd name="T119" fmla="*/ 69 h 900"/>
                <a:gd name="T120" fmla="*/ 29 w 762"/>
                <a:gd name="T121" fmla="*/ 64 h 900"/>
                <a:gd name="T122" fmla="*/ 32 w 762"/>
                <a:gd name="T123" fmla="*/ 66 h 9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900"/>
                <a:gd name="T188" fmla="*/ 762 w 762"/>
                <a:gd name="T189" fmla="*/ 900 h 90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900">
                  <a:moveTo>
                    <a:pt x="90" y="768"/>
                  </a:moveTo>
                  <a:lnTo>
                    <a:pt x="102" y="756"/>
                  </a:lnTo>
                  <a:lnTo>
                    <a:pt x="102" y="750"/>
                  </a:lnTo>
                  <a:lnTo>
                    <a:pt x="90" y="744"/>
                  </a:lnTo>
                  <a:lnTo>
                    <a:pt x="84" y="738"/>
                  </a:lnTo>
                  <a:lnTo>
                    <a:pt x="90" y="726"/>
                  </a:lnTo>
                  <a:lnTo>
                    <a:pt x="84" y="720"/>
                  </a:lnTo>
                  <a:lnTo>
                    <a:pt x="78" y="720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72" y="702"/>
                  </a:lnTo>
                  <a:lnTo>
                    <a:pt x="72" y="696"/>
                  </a:lnTo>
                  <a:lnTo>
                    <a:pt x="84" y="684"/>
                  </a:lnTo>
                  <a:lnTo>
                    <a:pt x="96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102" y="654"/>
                  </a:lnTo>
                  <a:lnTo>
                    <a:pt x="108" y="654"/>
                  </a:lnTo>
                  <a:lnTo>
                    <a:pt x="114" y="648"/>
                  </a:lnTo>
                  <a:lnTo>
                    <a:pt x="120" y="642"/>
                  </a:lnTo>
                  <a:lnTo>
                    <a:pt x="120" y="636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14" y="618"/>
                  </a:lnTo>
                  <a:lnTo>
                    <a:pt x="102" y="618"/>
                  </a:lnTo>
                  <a:lnTo>
                    <a:pt x="90" y="618"/>
                  </a:lnTo>
                  <a:lnTo>
                    <a:pt x="78" y="624"/>
                  </a:lnTo>
                  <a:lnTo>
                    <a:pt x="72" y="630"/>
                  </a:lnTo>
                  <a:lnTo>
                    <a:pt x="54" y="642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42" y="642"/>
                  </a:lnTo>
                  <a:lnTo>
                    <a:pt x="42" y="636"/>
                  </a:lnTo>
                  <a:lnTo>
                    <a:pt x="36" y="636"/>
                  </a:lnTo>
                  <a:lnTo>
                    <a:pt x="30" y="642"/>
                  </a:lnTo>
                  <a:lnTo>
                    <a:pt x="30" y="636"/>
                  </a:lnTo>
                  <a:lnTo>
                    <a:pt x="30" y="630"/>
                  </a:lnTo>
                  <a:lnTo>
                    <a:pt x="24" y="630"/>
                  </a:lnTo>
                  <a:lnTo>
                    <a:pt x="30" y="624"/>
                  </a:lnTo>
                  <a:lnTo>
                    <a:pt x="30" y="618"/>
                  </a:lnTo>
                  <a:lnTo>
                    <a:pt x="30" y="612"/>
                  </a:lnTo>
                  <a:lnTo>
                    <a:pt x="36" y="612"/>
                  </a:lnTo>
                  <a:lnTo>
                    <a:pt x="36" y="606"/>
                  </a:lnTo>
                  <a:lnTo>
                    <a:pt x="30" y="606"/>
                  </a:lnTo>
                  <a:lnTo>
                    <a:pt x="24" y="612"/>
                  </a:lnTo>
                  <a:lnTo>
                    <a:pt x="18" y="606"/>
                  </a:lnTo>
                  <a:lnTo>
                    <a:pt x="12" y="594"/>
                  </a:lnTo>
                  <a:lnTo>
                    <a:pt x="6" y="582"/>
                  </a:lnTo>
                  <a:lnTo>
                    <a:pt x="6" y="570"/>
                  </a:lnTo>
                  <a:lnTo>
                    <a:pt x="0" y="558"/>
                  </a:lnTo>
                  <a:lnTo>
                    <a:pt x="6" y="552"/>
                  </a:lnTo>
                  <a:lnTo>
                    <a:pt x="6" y="534"/>
                  </a:lnTo>
                  <a:lnTo>
                    <a:pt x="18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12" y="480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54" y="408"/>
                  </a:lnTo>
                  <a:lnTo>
                    <a:pt x="54" y="396"/>
                  </a:lnTo>
                  <a:lnTo>
                    <a:pt x="54" y="384"/>
                  </a:lnTo>
                  <a:lnTo>
                    <a:pt x="60" y="378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66"/>
                  </a:lnTo>
                  <a:lnTo>
                    <a:pt x="60" y="360"/>
                  </a:lnTo>
                  <a:lnTo>
                    <a:pt x="66" y="360"/>
                  </a:lnTo>
                  <a:lnTo>
                    <a:pt x="72" y="354"/>
                  </a:lnTo>
                  <a:lnTo>
                    <a:pt x="78" y="354"/>
                  </a:lnTo>
                  <a:lnTo>
                    <a:pt x="84" y="348"/>
                  </a:lnTo>
                  <a:lnTo>
                    <a:pt x="96" y="348"/>
                  </a:lnTo>
                  <a:lnTo>
                    <a:pt x="96" y="342"/>
                  </a:lnTo>
                  <a:lnTo>
                    <a:pt x="96" y="336"/>
                  </a:lnTo>
                  <a:lnTo>
                    <a:pt x="96" y="330"/>
                  </a:lnTo>
                  <a:lnTo>
                    <a:pt x="96" y="324"/>
                  </a:lnTo>
                  <a:lnTo>
                    <a:pt x="102" y="318"/>
                  </a:lnTo>
                  <a:lnTo>
                    <a:pt x="108" y="312"/>
                  </a:lnTo>
                  <a:lnTo>
                    <a:pt x="96" y="306"/>
                  </a:lnTo>
                  <a:lnTo>
                    <a:pt x="84" y="288"/>
                  </a:lnTo>
                  <a:lnTo>
                    <a:pt x="108" y="258"/>
                  </a:lnTo>
                  <a:lnTo>
                    <a:pt x="102" y="222"/>
                  </a:lnTo>
                  <a:lnTo>
                    <a:pt x="84" y="222"/>
                  </a:lnTo>
                  <a:lnTo>
                    <a:pt x="54" y="216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2"/>
                  </a:lnTo>
                  <a:lnTo>
                    <a:pt x="72" y="192"/>
                  </a:lnTo>
                  <a:lnTo>
                    <a:pt x="84" y="186"/>
                  </a:lnTo>
                  <a:lnTo>
                    <a:pt x="90" y="186"/>
                  </a:lnTo>
                  <a:lnTo>
                    <a:pt x="90" y="174"/>
                  </a:lnTo>
                  <a:lnTo>
                    <a:pt x="84" y="162"/>
                  </a:lnTo>
                  <a:lnTo>
                    <a:pt x="84" y="150"/>
                  </a:lnTo>
                  <a:lnTo>
                    <a:pt x="84" y="126"/>
                  </a:lnTo>
                  <a:lnTo>
                    <a:pt x="84" y="114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8" y="96"/>
                  </a:lnTo>
                  <a:lnTo>
                    <a:pt x="120" y="90"/>
                  </a:lnTo>
                  <a:lnTo>
                    <a:pt x="126" y="78"/>
                  </a:lnTo>
                  <a:lnTo>
                    <a:pt x="138" y="66"/>
                  </a:lnTo>
                  <a:lnTo>
                    <a:pt x="138" y="48"/>
                  </a:lnTo>
                  <a:lnTo>
                    <a:pt x="138" y="42"/>
                  </a:lnTo>
                  <a:lnTo>
                    <a:pt x="126" y="30"/>
                  </a:lnTo>
                  <a:lnTo>
                    <a:pt x="120" y="18"/>
                  </a:lnTo>
                  <a:lnTo>
                    <a:pt x="132" y="12"/>
                  </a:lnTo>
                  <a:lnTo>
                    <a:pt x="144" y="0"/>
                  </a:lnTo>
                  <a:lnTo>
                    <a:pt x="150" y="6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6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74" y="66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68" y="72"/>
                  </a:lnTo>
                  <a:lnTo>
                    <a:pt x="156" y="150"/>
                  </a:lnTo>
                  <a:lnTo>
                    <a:pt x="168" y="144"/>
                  </a:lnTo>
                  <a:lnTo>
                    <a:pt x="180" y="150"/>
                  </a:lnTo>
                  <a:lnTo>
                    <a:pt x="186" y="150"/>
                  </a:lnTo>
                  <a:lnTo>
                    <a:pt x="186" y="144"/>
                  </a:lnTo>
                  <a:lnTo>
                    <a:pt x="192" y="150"/>
                  </a:lnTo>
                  <a:lnTo>
                    <a:pt x="222" y="150"/>
                  </a:lnTo>
                  <a:lnTo>
                    <a:pt x="222" y="168"/>
                  </a:lnTo>
                  <a:lnTo>
                    <a:pt x="222" y="186"/>
                  </a:lnTo>
                  <a:lnTo>
                    <a:pt x="234" y="198"/>
                  </a:lnTo>
                  <a:lnTo>
                    <a:pt x="234" y="234"/>
                  </a:lnTo>
                  <a:lnTo>
                    <a:pt x="228" y="270"/>
                  </a:lnTo>
                  <a:lnTo>
                    <a:pt x="246" y="282"/>
                  </a:lnTo>
                  <a:lnTo>
                    <a:pt x="258" y="294"/>
                  </a:lnTo>
                  <a:lnTo>
                    <a:pt x="270" y="300"/>
                  </a:lnTo>
                  <a:lnTo>
                    <a:pt x="294" y="300"/>
                  </a:lnTo>
                  <a:lnTo>
                    <a:pt x="288" y="306"/>
                  </a:lnTo>
                  <a:lnTo>
                    <a:pt x="300" y="312"/>
                  </a:lnTo>
                  <a:lnTo>
                    <a:pt x="306" y="318"/>
                  </a:lnTo>
                  <a:lnTo>
                    <a:pt x="324" y="324"/>
                  </a:lnTo>
                  <a:lnTo>
                    <a:pt x="354" y="318"/>
                  </a:lnTo>
                  <a:lnTo>
                    <a:pt x="354" y="312"/>
                  </a:lnTo>
                  <a:lnTo>
                    <a:pt x="366" y="312"/>
                  </a:lnTo>
                  <a:lnTo>
                    <a:pt x="384" y="312"/>
                  </a:lnTo>
                  <a:lnTo>
                    <a:pt x="390" y="306"/>
                  </a:lnTo>
                  <a:lnTo>
                    <a:pt x="396" y="306"/>
                  </a:lnTo>
                  <a:lnTo>
                    <a:pt x="408" y="306"/>
                  </a:lnTo>
                  <a:lnTo>
                    <a:pt x="426" y="312"/>
                  </a:lnTo>
                  <a:lnTo>
                    <a:pt x="456" y="324"/>
                  </a:lnTo>
                  <a:lnTo>
                    <a:pt x="504" y="330"/>
                  </a:lnTo>
                  <a:lnTo>
                    <a:pt x="510" y="336"/>
                  </a:lnTo>
                  <a:lnTo>
                    <a:pt x="534" y="336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58" y="330"/>
                  </a:lnTo>
                  <a:lnTo>
                    <a:pt x="564" y="330"/>
                  </a:lnTo>
                  <a:lnTo>
                    <a:pt x="570" y="354"/>
                  </a:lnTo>
                  <a:lnTo>
                    <a:pt x="564" y="378"/>
                  </a:lnTo>
                  <a:lnTo>
                    <a:pt x="558" y="396"/>
                  </a:lnTo>
                  <a:lnTo>
                    <a:pt x="546" y="414"/>
                  </a:lnTo>
                  <a:lnTo>
                    <a:pt x="546" y="438"/>
                  </a:lnTo>
                  <a:lnTo>
                    <a:pt x="540" y="456"/>
                  </a:lnTo>
                  <a:lnTo>
                    <a:pt x="540" y="474"/>
                  </a:lnTo>
                  <a:lnTo>
                    <a:pt x="528" y="480"/>
                  </a:lnTo>
                  <a:lnTo>
                    <a:pt x="522" y="492"/>
                  </a:lnTo>
                  <a:lnTo>
                    <a:pt x="504" y="498"/>
                  </a:lnTo>
                  <a:lnTo>
                    <a:pt x="498" y="498"/>
                  </a:lnTo>
                  <a:lnTo>
                    <a:pt x="492" y="504"/>
                  </a:lnTo>
                  <a:lnTo>
                    <a:pt x="486" y="510"/>
                  </a:lnTo>
                  <a:lnTo>
                    <a:pt x="480" y="510"/>
                  </a:lnTo>
                  <a:lnTo>
                    <a:pt x="480" y="516"/>
                  </a:lnTo>
                  <a:lnTo>
                    <a:pt x="474" y="522"/>
                  </a:lnTo>
                  <a:lnTo>
                    <a:pt x="474" y="528"/>
                  </a:lnTo>
                  <a:lnTo>
                    <a:pt x="474" y="534"/>
                  </a:lnTo>
                  <a:lnTo>
                    <a:pt x="480" y="540"/>
                  </a:lnTo>
                  <a:lnTo>
                    <a:pt x="492" y="540"/>
                  </a:lnTo>
                  <a:lnTo>
                    <a:pt x="498" y="546"/>
                  </a:lnTo>
                  <a:lnTo>
                    <a:pt x="504" y="552"/>
                  </a:lnTo>
                  <a:lnTo>
                    <a:pt x="510" y="552"/>
                  </a:lnTo>
                  <a:lnTo>
                    <a:pt x="516" y="558"/>
                  </a:lnTo>
                  <a:lnTo>
                    <a:pt x="528" y="558"/>
                  </a:lnTo>
                  <a:lnTo>
                    <a:pt x="534" y="552"/>
                  </a:lnTo>
                  <a:lnTo>
                    <a:pt x="540" y="552"/>
                  </a:lnTo>
                  <a:lnTo>
                    <a:pt x="546" y="552"/>
                  </a:lnTo>
                  <a:lnTo>
                    <a:pt x="558" y="546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70" y="546"/>
                  </a:lnTo>
                  <a:lnTo>
                    <a:pt x="570" y="540"/>
                  </a:lnTo>
                  <a:lnTo>
                    <a:pt x="570" y="546"/>
                  </a:lnTo>
                  <a:lnTo>
                    <a:pt x="576" y="546"/>
                  </a:lnTo>
                  <a:lnTo>
                    <a:pt x="582" y="546"/>
                  </a:lnTo>
                  <a:lnTo>
                    <a:pt x="588" y="540"/>
                  </a:lnTo>
                  <a:lnTo>
                    <a:pt x="594" y="546"/>
                  </a:lnTo>
                  <a:lnTo>
                    <a:pt x="606" y="546"/>
                  </a:lnTo>
                  <a:lnTo>
                    <a:pt x="612" y="546"/>
                  </a:lnTo>
                  <a:lnTo>
                    <a:pt x="612" y="552"/>
                  </a:lnTo>
                  <a:lnTo>
                    <a:pt x="618" y="552"/>
                  </a:lnTo>
                  <a:lnTo>
                    <a:pt x="624" y="552"/>
                  </a:lnTo>
                  <a:lnTo>
                    <a:pt x="630" y="552"/>
                  </a:lnTo>
                  <a:lnTo>
                    <a:pt x="648" y="546"/>
                  </a:lnTo>
                  <a:lnTo>
                    <a:pt x="654" y="546"/>
                  </a:lnTo>
                  <a:lnTo>
                    <a:pt x="654" y="552"/>
                  </a:lnTo>
                  <a:lnTo>
                    <a:pt x="660" y="558"/>
                  </a:lnTo>
                  <a:lnTo>
                    <a:pt x="666" y="564"/>
                  </a:lnTo>
                  <a:lnTo>
                    <a:pt x="672" y="564"/>
                  </a:lnTo>
                  <a:lnTo>
                    <a:pt x="678" y="564"/>
                  </a:lnTo>
                  <a:lnTo>
                    <a:pt x="696" y="576"/>
                  </a:lnTo>
                  <a:lnTo>
                    <a:pt x="696" y="582"/>
                  </a:lnTo>
                  <a:lnTo>
                    <a:pt x="708" y="588"/>
                  </a:lnTo>
                  <a:lnTo>
                    <a:pt x="708" y="594"/>
                  </a:lnTo>
                  <a:lnTo>
                    <a:pt x="720" y="606"/>
                  </a:lnTo>
                  <a:lnTo>
                    <a:pt x="720" y="618"/>
                  </a:lnTo>
                  <a:lnTo>
                    <a:pt x="720" y="624"/>
                  </a:lnTo>
                  <a:lnTo>
                    <a:pt x="726" y="630"/>
                  </a:lnTo>
                  <a:lnTo>
                    <a:pt x="732" y="636"/>
                  </a:lnTo>
                  <a:lnTo>
                    <a:pt x="732" y="642"/>
                  </a:lnTo>
                  <a:lnTo>
                    <a:pt x="732" y="648"/>
                  </a:lnTo>
                  <a:lnTo>
                    <a:pt x="726" y="654"/>
                  </a:lnTo>
                  <a:lnTo>
                    <a:pt x="720" y="660"/>
                  </a:lnTo>
                  <a:lnTo>
                    <a:pt x="714" y="666"/>
                  </a:lnTo>
                  <a:lnTo>
                    <a:pt x="714" y="672"/>
                  </a:lnTo>
                  <a:lnTo>
                    <a:pt x="714" y="678"/>
                  </a:lnTo>
                  <a:lnTo>
                    <a:pt x="720" y="678"/>
                  </a:lnTo>
                  <a:lnTo>
                    <a:pt x="720" y="684"/>
                  </a:lnTo>
                  <a:lnTo>
                    <a:pt x="714" y="690"/>
                  </a:lnTo>
                  <a:lnTo>
                    <a:pt x="714" y="696"/>
                  </a:lnTo>
                  <a:lnTo>
                    <a:pt x="714" y="702"/>
                  </a:lnTo>
                  <a:lnTo>
                    <a:pt x="714" y="708"/>
                  </a:lnTo>
                  <a:lnTo>
                    <a:pt x="720" y="708"/>
                  </a:lnTo>
                  <a:lnTo>
                    <a:pt x="720" y="720"/>
                  </a:lnTo>
                  <a:lnTo>
                    <a:pt x="720" y="726"/>
                  </a:lnTo>
                  <a:lnTo>
                    <a:pt x="726" y="726"/>
                  </a:lnTo>
                  <a:lnTo>
                    <a:pt x="726" y="732"/>
                  </a:lnTo>
                  <a:lnTo>
                    <a:pt x="732" y="732"/>
                  </a:lnTo>
                  <a:lnTo>
                    <a:pt x="732" y="738"/>
                  </a:lnTo>
                  <a:lnTo>
                    <a:pt x="726" y="738"/>
                  </a:lnTo>
                  <a:lnTo>
                    <a:pt x="720" y="738"/>
                  </a:lnTo>
                  <a:lnTo>
                    <a:pt x="720" y="744"/>
                  </a:lnTo>
                  <a:lnTo>
                    <a:pt x="720" y="750"/>
                  </a:lnTo>
                  <a:lnTo>
                    <a:pt x="714" y="750"/>
                  </a:lnTo>
                  <a:lnTo>
                    <a:pt x="714" y="756"/>
                  </a:lnTo>
                  <a:lnTo>
                    <a:pt x="720" y="756"/>
                  </a:lnTo>
                  <a:lnTo>
                    <a:pt x="714" y="762"/>
                  </a:lnTo>
                  <a:lnTo>
                    <a:pt x="720" y="762"/>
                  </a:lnTo>
                  <a:lnTo>
                    <a:pt x="726" y="768"/>
                  </a:lnTo>
                  <a:lnTo>
                    <a:pt x="726" y="774"/>
                  </a:lnTo>
                  <a:lnTo>
                    <a:pt x="732" y="774"/>
                  </a:lnTo>
                  <a:lnTo>
                    <a:pt x="732" y="780"/>
                  </a:lnTo>
                  <a:lnTo>
                    <a:pt x="726" y="780"/>
                  </a:lnTo>
                  <a:lnTo>
                    <a:pt x="726" y="786"/>
                  </a:lnTo>
                  <a:lnTo>
                    <a:pt x="720" y="786"/>
                  </a:lnTo>
                  <a:lnTo>
                    <a:pt x="726" y="786"/>
                  </a:lnTo>
                  <a:lnTo>
                    <a:pt x="732" y="780"/>
                  </a:lnTo>
                  <a:lnTo>
                    <a:pt x="738" y="780"/>
                  </a:lnTo>
                  <a:lnTo>
                    <a:pt x="744" y="780"/>
                  </a:lnTo>
                  <a:lnTo>
                    <a:pt x="744" y="786"/>
                  </a:lnTo>
                  <a:lnTo>
                    <a:pt x="750" y="786"/>
                  </a:lnTo>
                  <a:lnTo>
                    <a:pt x="744" y="786"/>
                  </a:lnTo>
                  <a:lnTo>
                    <a:pt x="744" y="792"/>
                  </a:lnTo>
                  <a:lnTo>
                    <a:pt x="744" y="786"/>
                  </a:lnTo>
                  <a:lnTo>
                    <a:pt x="738" y="792"/>
                  </a:lnTo>
                  <a:lnTo>
                    <a:pt x="744" y="792"/>
                  </a:lnTo>
                  <a:lnTo>
                    <a:pt x="750" y="792"/>
                  </a:lnTo>
                  <a:lnTo>
                    <a:pt x="750" y="786"/>
                  </a:lnTo>
                  <a:lnTo>
                    <a:pt x="756" y="786"/>
                  </a:lnTo>
                  <a:lnTo>
                    <a:pt x="756" y="792"/>
                  </a:lnTo>
                  <a:lnTo>
                    <a:pt x="762" y="792"/>
                  </a:lnTo>
                  <a:lnTo>
                    <a:pt x="756" y="798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0" y="810"/>
                  </a:lnTo>
                  <a:lnTo>
                    <a:pt x="756" y="810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6" y="816"/>
                  </a:lnTo>
                  <a:lnTo>
                    <a:pt x="750" y="816"/>
                  </a:lnTo>
                  <a:lnTo>
                    <a:pt x="738" y="810"/>
                  </a:lnTo>
                  <a:lnTo>
                    <a:pt x="732" y="810"/>
                  </a:lnTo>
                  <a:lnTo>
                    <a:pt x="732" y="816"/>
                  </a:lnTo>
                  <a:lnTo>
                    <a:pt x="726" y="810"/>
                  </a:lnTo>
                  <a:lnTo>
                    <a:pt x="714" y="816"/>
                  </a:lnTo>
                  <a:lnTo>
                    <a:pt x="708" y="816"/>
                  </a:lnTo>
                  <a:lnTo>
                    <a:pt x="702" y="816"/>
                  </a:lnTo>
                  <a:lnTo>
                    <a:pt x="696" y="816"/>
                  </a:lnTo>
                  <a:lnTo>
                    <a:pt x="690" y="822"/>
                  </a:lnTo>
                  <a:lnTo>
                    <a:pt x="684" y="822"/>
                  </a:lnTo>
                  <a:lnTo>
                    <a:pt x="678" y="822"/>
                  </a:lnTo>
                  <a:lnTo>
                    <a:pt x="672" y="822"/>
                  </a:lnTo>
                  <a:lnTo>
                    <a:pt x="666" y="822"/>
                  </a:lnTo>
                  <a:lnTo>
                    <a:pt x="666" y="828"/>
                  </a:lnTo>
                  <a:lnTo>
                    <a:pt x="654" y="828"/>
                  </a:lnTo>
                  <a:lnTo>
                    <a:pt x="648" y="828"/>
                  </a:lnTo>
                  <a:lnTo>
                    <a:pt x="642" y="828"/>
                  </a:lnTo>
                  <a:lnTo>
                    <a:pt x="630" y="828"/>
                  </a:lnTo>
                  <a:lnTo>
                    <a:pt x="624" y="822"/>
                  </a:lnTo>
                  <a:lnTo>
                    <a:pt x="618" y="822"/>
                  </a:lnTo>
                  <a:lnTo>
                    <a:pt x="612" y="822"/>
                  </a:lnTo>
                  <a:lnTo>
                    <a:pt x="606" y="822"/>
                  </a:lnTo>
                  <a:lnTo>
                    <a:pt x="600" y="822"/>
                  </a:lnTo>
                  <a:lnTo>
                    <a:pt x="594" y="822"/>
                  </a:lnTo>
                  <a:lnTo>
                    <a:pt x="594" y="816"/>
                  </a:lnTo>
                  <a:lnTo>
                    <a:pt x="594" y="810"/>
                  </a:lnTo>
                  <a:lnTo>
                    <a:pt x="600" y="804"/>
                  </a:lnTo>
                  <a:lnTo>
                    <a:pt x="600" y="798"/>
                  </a:lnTo>
                  <a:lnTo>
                    <a:pt x="600" y="792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2" y="786"/>
                  </a:lnTo>
                  <a:lnTo>
                    <a:pt x="618" y="786"/>
                  </a:lnTo>
                  <a:lnTo>
                    <a:pt x="624" y="786"/>
                  </a:lnTo>
                  <a:lnTo>
                    <a:pt x="624" y="780"/>
                  </a:lnTo>
                  <a:lnTo>
                    <a:pt x="630" y="780"/>
                  </a:lnTo>
                  <a:lnTo>
                    <a:pt x="630" y="774"/>
                  </a:lnTo>
                  <a:lnTo>
                    <a:pt x="636" y="774"/>
                  </a:lnTo>
                  <a:lnTo>
                    <a:pt x="642" y="780"/>
                  </a:lnTo>
                  <a:lnTo>
                    <a:pt x="642" y="786"/>
                  </a:lnTo>
                  <a:lnTo>
                    <a:pt x="642" y="792"/>
                  </a:lnTo>
                  <a:lnTo>
                    <a:pt x="648" y="792"/>
                  </a:lnTo>
                  <a:lnTo>
                    <a:pt x="648" y="786"/>
                  </a:lnTo>
                  <a:lnTo>
                    <a:pt x="642" y="786"/>
                  </a:lnTo>
                  <a:lnTo>
                    <a:pt x="642" y="780"/>
                  </a:lnTo>
                  <a:lnTo>
                    <a:pt x="642" y="774"/>
                  </a:lnTo>
                  <a:lnTo>
                    <a:pt x="648" y="768"/>
                  </a:lnTo>
                  <a:lnTo>
                    <a:pt x="642" y="768"/>
                  </a:lnTo>
                  <a:lnTo>
                    <a:pt x="648" y="768"/>
                  </a:lnTo>
                  <a:lnTo>
                    <a:pt x="648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66" y="762"/>
                  </a:lnTo>
                  <a:lnTo>
                    <a:pt x="672" y="756"/>
                  </a:lnTo>
                  <a:lnTo>
                    <a:pt x="666" y="756"/>
                  </a:lnTo>
                  <a:lnTo>
                    <a:pt x="660" y="756"/>
                  </a:lnTo>
                  <a:lnTo>
                    <a:pt x="660" y="750"/>
                  </a:lnTo>
                  <a:lnTo>
                    <a:pt x="654" y="750"/>
                  </a:lnTo>
                  <a:lnTo>
                    <a:pt x="648" y="750"/>
                  </a:lnTo>
                  <a:lnTo>
                    <a:pt x="648" y="756"/>
                  </a:lnTo>
                  <a:lnTo>
                    <a:pt x="642" y="756"/>
                  </a:lnTo>
                  <a:lnTo>
                    <a:pt x="642" y="750"/>
                  </a:lnTo>
                  <a:lnTo>
                    <a:pt x="642" y="744"/>
                  </a:lnTo>
                  <a:lnTo>
                    <a:pt x="642" y="750"/>
                  </a:lnTo>
                  <a:lnTo>
                    <a:pt x="636" y="750"/>
                  </a:lnTo>
                  <a:lnTo>
                    <a:pt x="636" y="744"/>
                  </a:lnTo>
                  <a:lnTo>
                    <a:pt x="630" y="744"/>
                  </a:lnTo>
                  <a:lnTo>
                    <a:pt x="630" y="738"/>
                  </a:lnTo>
                  <a:lnTo>
                    <a:pt x="630" y="744"/>
                  </a:lnTo>
                  <a:lnTo>
                    <a:pt x="630" y="750"/>
                  </a:lnTo>
                  <a:lnTo>
                    <a:pt x="636" y="750"/>
                  </a:lnTo>
                  <a:lnTo>
                    <a:pt x="636" y="756"/>
                  </a:lnTo>
                  <a:lnTo>
                    <a:pt x="630" y="756"/>
                  </a:lnTo>
                  <a:lnTo>
                    <a:pt x="636" y="762"/>
                  </a:lnTo>
                  <a:lnTo>
                    <a:pt x="630" y="762"/>
                  </a:lnTo>
                  <a:lnTo>
                    <a:pt x="624" y="762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24" y="786"/>
                  </a:lnTo>
                  <a:lnTo>
                    <a:pt x="618" y="786"/>
                  </a:lnTo>
                  <a:lnTo>
                    <a:pt x="618" y="78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12" y="774"/>
                  </a:lnTo>
                  <a:lnTo>
                    <a:pt x="612" y="780"/>
                  </a:lnTo>
                  <a:lnTo>
                    <a:pt x="606" y="780"/>
                  </a:lnTo>
                  <a:lnTo>
                    <a:pt x="600" y="780"/>
                  </a:lnTo>
                  <a:lnTo>
                    <a:pt x="600" y="774"/>
                  </a:lnTo>
                  <a:lnTo>
                    <a:pt x="594" y="768"/>
                  </a:lnTo>
                  <a:lnTo>
                    <a:pt x="594" y="762"/>
                  </a:lnTo>
                  <a:lnTo>
                    <a:pt x="594" y="756"/>
                  </a:lnTo>
                  <a:lnTo>
                    <a:pt x="594" y="762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594" y="780"/>
                  </a:lnTo>
                  <a:lnTo>
                    <a:pt x="588" y="780"/>
                  </a:lnTo>
                  <a:lnTo>
                    <a:pt x="582" y="780"/>
                  </a:lnTo>
                  <a:lnTo>
                    <a:pt x="576" y="780"/>
                  </a:lnTo>
                  <a:lnTo>
                    <a:pt x="570" y="780"/>
                  </a:lnTo>
                  <a:lnTo>
                    <a:pt x="564" y="780"/>
                  </a:lnTo>
                  <a:lnTo>
                    <a:pt x="564" y="786"/>
                  </a:lnTo>
                  <a:lnTo>
                    <a:pt x="558" y="786"/>
                  </a:lnTo>
                  <a:lnTo>
                    <a:pt x="552" y="786"/>
                  </a:lnTo>
                  <a:lnTo>
                    <a:pt x="552" y="780"/>
                  </a:lnTo>
                  <a:lnTo>
                    <a:pt x="552" y="774"/>
                  </a:lnTo>
                  <a:lnTo>
                    <a:pt x="552" y="768"/>
                  </a:lnTo>
                  <a:lnTo>
                    <a:pt x="546" y="768"/>
                  </a:lnTo>
                  <a:lnTo>
                    <a:pt x="540" y="762"/>
                  </a:lnTo>
                  <a:lnTo>
                    <a:pt x="540" y="756"/>
                  </a:lnTo>
                  <a:lnTo>
                    <a:pt x="534" y="756"/>
                  </a:lnTo>
                  <a:lnTo>
                    <a:pt x="534" y="750"/>
                  </a:lnTo>
                  <a:lnTo>
                    <a:pt x="534" y="744"/>
                  </a:lnTo>
                  <a:lnTo>
                    <a:pt x="528" y="738"/>
                  </a:lnTo>
                  <a:lnTo>
                    <a:pt x="522" y="738"/>
                  </a:lnTo>
                  <a:lnTo>
                    <a:pt x="522" y="732"/>
                  </a:lnTo>
                  <a:lnTo>
                    <a:pt x="510" y="726"/>
                  </a:lnTo>
                  <a:lnTo>
                    <a:pt x="510" y="720"/>
                  </a:lnTo>
                  <a:lnTo>
                    <a:pt x="504" y="720"/>
                  </a:lnTo>
                  <a:lnTo>
                    <a:pt x="504" y="714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8" y="702"/>
                  </a:lnTo>
                  <a:lnTo>
                    <a:pt x="498" y="696"/>
                  </a:lnTo>
                  <a:lnTo>
                    <a:pt x="492" y="690"/>
                  </a:lnTo>
                  <a:lnTo>
                    <a:pt x="492" y="684"/>
                  </a:lnTo>
                  <a:lnTo>
                    <a:pt x="486" y="684"/>
                  </a:lnTo>
                  <a:lnTo>
                    <a:pt x="486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74" y="678"/>
                  </a:lnTo>
                  <a:lnTo>
                    <a:pt x="468" y="678"/>
                  </a:lnTo>
                  <a:lnTo>
                    <a:pt x="462" y="678"/>
                  </a:lnTo>
                  <a:lnTo>
                    <a:pt x="462" y="672"/>
                  </a:lnTo>
                  <a:lnTo>
                    <a:pt x="456" y="672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44" y="666"/>
                  </a:lnTo>
                  <a:lnTo>
                    <a:pt x="438" y="660"/>
                  </a:lnTo>
                  <a:lnTo>
                    <a:pt x="438" y="648"/>
                  </a:lnTo>
                  <a:lnTo>
                    <a:pt x="438" y="642"/>
                  </a:lnTo>
                  <a:lnTo>
                    <a:pt x="438" y="636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36"/>
                  </a:lnTo>
                  <a:lnTo>
                    <a:pt x="420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60"/>
                  </a:lnTo>
                  <a:lnTo>
                    <a:pt x="432" y="666"/>
                  </a:lnTo>
                  <a:lnTo>
                    <a:pt x="438" y="666"/>
                  </a:lnTo>
                  <a:lnTo>
                    <a:pt x="438" y="672"/>
                  </a:lnTo>
                  <a:lnTo>
                    <a:pt x="444" y="672"/>
                  </a:lnTo>
                  <a:lnTo>
                    <a:pt x="444" y="678"/>
                  </a:lnTo>
                  <a:lnTo>
                    <a:pt x="450" y="678"/>
                  </a:lnTo>
                  <a:lnTo>
                    <a:pt x="456" y="678"/>
                  </a:lnTo>
                  <a:lnTo>
                    <a:pt x="456" y="684"/>
                  </a:lnTo>
                  <a:lnTo>
                    <a:pt x="462" y="684"/>
                  </a:lnTo>
                  <a:lnTo>
                    <a:pt x="468" y="684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80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86" y="708"/>
                  </a:lnTo>
                  <a:lnTo>
                    <a:pt x="492" y="714"/>
                  </a:lnTo>
                  <a:lnTo>
                    <a:pt x="492" y="720"/>
                  </a:lnTo>
                  <a:lnTo>
                    <a:pt x="492" y="726"/>
                  </a:lnTo>
                  <a:lnTo>
                    <a:pt x="498" y="732"/>
                  </a:lnTo>
                  <a:lnTo>
                    <a:pt x="492" y="738"/>
                  </a:lnTo>
                  <a:lnTo>
                    <a:pt x="492" y="744"/>
                  </a:lnTo>
                  <a:lnTo>
                    <a:pt x="492" y="750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68" y="738"/>
                  </a:lnTo>
                  <a:lnTo>
                    <a:pt x="468" y="744"/>
                  </a:lnTo>
                  <a:lnTo>
                    <a:pt x="474" y="750"/>
                  </a:lnTo>
                  <a:lnTo>
                    <a:pt x="480" y="756"/>
                  </a:lnTo>
                  <a:lnTo>
                    <a:pt x="486" y="756"/>
                  </a:lnTo>
                  <a:lnTo>
                    <a:pt x="492" y="762"/>
                  </a:lnTo>
                  <a:lnTo>
                    <a:pt x="498" y="768"/>
                  </a:lnTo>
                  <a:lnTo>
                    <a:pt x="492" y="774"/>
                  </a:lnTo>
                  <a:lnTo>
                    <a:pt x="492" y="780"/>
                  </a:lnTo>
                  <a:lnTo>
                    <a:pt x="498" y="780"/>
                  </a:lnTo>
                  <a:lnTo>
                    <a:pt x="492" y="786"/>
                  </a:lnTo>
                  <a:lnTo>
                    <a:pt x="492" y="792"/>
                  </a:lnTo>
                  <a:lnTo>
                    <a:pt x="492" y="79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0" y="810"/>
                  </a:lnTo>
                  <a:lnTo>
                    <a:pt x="480" y="804"/>
                  </a:lnTo>
                  <a:lnTo>
                    <a:pt x="474" y="804"/>
                  </a:lnTo>
                  <a:lnTo>
                    <a:pt x="474" y="798"/>
                  </a:lnTo>
                  <a:lnTo>
                    <a:pt x="474" y="804"/>
                  </a:lnTo>
                  <a:lnTo>
                    <a:pt x="468" y="804"/>
                  </a:lnTo>
                  <a:lnTo>
                    <a:pt x="468" y="810"/>
                  </a:lnTo>
                  <a:lnTo>
                    <a:pt x="462" y="810"/>
                  </a:lnTo>
                  <a:lnTo>
                    <a:pt x="456" y="810"/>
                  </a:lnTo>
                  <a:lnTo>
                    <a:pt x="450" y="810"/>
                  </a:lnTo>
                  <a:lnTo>
                    <a:pt x="450" y="816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50" y="822"/>
                  </a:lnTo>
                  <a:lnTo>
                    <a:pt x="450" y="816"/>
                  </a:lnTo>
                  <a:lnTo>
                    <a:pt x="444" y="816"/>
                  </a:lnTo>
                  <a:lnTo>
                    <a:pt x="438" y="810"/>
                  </a:lnTo>
                  <a:lnTo>
                    <a:pt x="432" y="810"/>
                  </a:lnTo>
                  <a:lnTo>
                    <a:pt x="426" y="804"/>
                  </a:lnTo>
                  <a:lnTo>
                    <a:pt x="426" y="798"/>
                  </a:lnTo>
                  <a:lnTo>
                    <a:pt x="420" y="798"/>
                  </a:lnTo>
                  <a:lnTo>
                    <a:pt x="426" y="798"/>
                  </a:lnTo>
                  <a:lnTo>
                    <a:pt x="426" y="792"/>
                  </a:lnTo>
                  <a:lnTo>
                    <a:pt x="426" y="786"/>
                  </a:lnTo>
                  <a:lnTo>
                    <a:pt x="432" y="786"/>
                  </a:lnTo>
                  <a:lnTo>
                    <a:pt x="432" y="780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0" y="756"/>
                  </a:lnTo>
                  <a:lnTo>
                    <a:pt x="420" y="750"/>
                  </a:lnTo>
                  <a:lnTo>
                    <a:pt x="414" y="750"/>
                  </a:lnTo>
                  <a:lnTo>
                    <a:pt x="420" y="750"/>
                  </a:lnTo>
                  <a:lnTo>
                    <a:pt x="420" y="744"/>
                  </a:lnTo>
                  <a:lnTo>
                    <a:pt x="414" y="744"/>
                  </a:lnTo>
                  <a:lnTo>
                    <a:pt x="414" y="738"/>
                  </a:lnTo>
                  <a:lnTo>
                    <a:pt x="414" y="732"/>
                  </a:lnTo>
                  <a:lnTo>
                    <a:pt x="408" y="732"/>
                  </a:lnTo>
                  <a:lnTo>
                    <a:pt x="408" y="726"/>
                  </a:lnTo>
                  <a:lnTo>
                    <a:pt x="402" y="726"/>
                  </a:lnTo>
                  <a:lnTo>
                    <a:pt x="396" y="726"/>
                  </a:lnTo>
                  <a:lnTo>
                    <a:pt x="390" y="726"/>
                  </a:lnTo>
                  <a:lnTo>
                    <a:pt x="390" y="720"/>
                  </a:lnTo>
                  <a:lnTo>
                    <a:pt x="390" y="714"/>
                  </a:lnTo>
                  <a:lnTo>
                    <a:pt x="384" y="708"/>
                  </a:lnTo>
                  <a:lnTo>
                    <a:pt x="384" y="702"/>
                  </a:lnTo>
                  <a:lnTo>
                    <a:pt x="378" y="702"/>
                  </a:lnTo>
                  <a:lnTo>
                    <a:pt x="378" y="696"/>
                  </a:lnTo>
                  <a:lnTo>
                    <a:pt x="378" y="690"/>
                  </a:lnTo>
                  <a:lnTo>
                    <a:pt x="372" y="684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66" y="666"/>
                  </a:lnTo>
                  <a:lnTo>
                    <a:pt x="366" y="660"/>
                  </a:lnTo>
                  <a:lnTo>
                    <a:pt x="366" y="654"/>
                  </a:lnTo>
                  <a:lnTo>
                    <a:pt x="360" y="648"/>
                  </a:lnTo>
                  <a:lnTo>
                    <a:pt x="360" y="654"/>
                  </a:lnTo>
                  <a:lnTo>
                    <a:pt x="360" y="660"/>
                  </a:lnTo>
                  <a:lnTo>
                    <a:pt x="360" y="666"/>
                  </a:lnTo>
                  <a:lnTo>
                    <a:pt x="360" y="672"/>
                  </a:lnTo>
                  <a:lnTo>
                    <a:pt x="360" y="678"/>
                  </a:lnTo>
                  <a:lnTo>
                    <a:pt x="366" y="678"/>
                  </a:lnTo>
                  <a:lnTo>
                    <a:pt x="366" y="684"/>
                  </a:lnTo>
                  <a:lnTo>
                    <a:pt x="366" y="690"/>
                  </a:lnTo>
                  <a:lnTo>
                    <a:pt x="372" y="696"/>
                  </a:lnTo>
                  <a:lnTo>
                    <a:pt x="372" y="702"/>
                  </a:lnTo>
                  <a:lnTo>
                    <a:pt x="372" y="708"/>
                  </a:lnTo>
                  <a:lnTo>
                    <a:pt x="372" y="714"/>
                  </a:lnTo>
                  <a:lnTo>
                    <a:pt x="366" y="714"/>
                  </a:lnTo>
                  <a:lnTo>
                    <a:pt x="360" y="714"/>
                  </a:lnTo>
                  <a:lnTo>
                    <a:pt x="354" y="714"/>
                  </a:lnTo>
                  <a:lnTo>
                    <a:pt x="348" y="714"/>
                  </a:lnTo>
                  <a:lnTo>
                    <a:pt x="348" y="708"/>
                  </a:lnTo>
                  <a:lnTo>
                    <a:pt x="342" y="708"/>
                  </a:lnTo>
                  <a:lnTo>
                    <a:pt x="342" y="702"/>
                  </a:lnTo>
                  <a:lnTo>
                    <a:pt x="342" y="696"/>
                  </a:lnTo>
                  <a:lnTo>
                    <a:pt x="336" y="696"/>
                  </a:lnTo>
                  <a:lnTo>
                    <a:pt x="336" y="690"/>
                  </a:lnTo>
                  <a:lnTo>
                    <a:pt x="336" y="684"/>
                  </a:lnTo>
                  <a:lnTo>
                    <a:pt x="330" y="684"/>
                  </a:lnTo>
                  <a:lnTo>
                    <a:pt x="330" y="678"/>
                  </a:lnTo>
                  <a:lnTo>
                    <a:pt x="324" y="672"/>
                  </a:lnTo>
                  <a:lnTo>
                    <a:pt x="324" y="666"/>
                  </a:lnTo>
                  <a:lnTo>
                    <a:pt x="318" y="666"/>
                  </a:lnTo>
                  <a:lnTo>
                    <a:pt x="318" y="672"/>
                  </a:lnTo>
                  <a:lnTo>
                    <a:pt x="324" y="672"/>
                  </a:lnTo>
                  <a:lnTo>
                    <a:pt x="324" y="678"/>
                  </a:lnTo>
                  <a:lnTo>
                    <a:pt x="324" y="684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30" y="696"/>
                  </a:lnTo>
                  <a:lnTo>
                    <a:pt x="336" y="702"/>
                  </a:lnTo>
                  <a:lnTo>
                    <a:pt x="342" y="708"/>
                  </a:lnTo>
                  <a:lnTo>
                    <a:pt x="342" y="714"/>
                  </a:lnTo>
                  <a:lnTo>
                    <a:pt x="348" y="720"/>
                  </a:lnTo>
                  <a:lnTo>
                    <a:pt x="342" y="720"/>
                  </a:lnTo>
                  <a:lnTo>
                    <a:pt x="336" y="720"/>
                  </a:lnTo>
                  <a:lnTo>
                    <a:pt x="330" y="720"/>
                  </a:lnTo>
                  <a:lnTo>
                    <a:pt x="330" y="726"/>
                  </a:lnTo>
                  <a:lnTo>
                    <a:pt x="336" y="726"/>
                  </a:lnTo>
                  <a:lnTo>
                    <a:pt x="330" y="732"/>
                  </a:lnTo>
                  <a:lnTo>
                    <a:pt x="330" y="738"/>
                  </a:lnTo>
                  <a:lnTo>
                    <a:pt x="330" y="744"/>
                  </a:lnTo>
                  <a:lnTo>
                    <a:pt x="336" y="744"/>
                  </a:lnTo>
                  <a:lnTo>
                    <a:pt x="342" y="744"/>
                  </a:lnTo>
                  <a:lnTo>
                    <a:pt x="348" y="744"/>
                  </a:lnTo>
                  <a:lnTo>
                    <a:pt x="348" y="750"/>
                  </a:lnTo>
                  <a:lnTo>
                    <a:pt x="354" y="750"/>
                  </a:lnTo>
                  <a:lnTo>
                    <a:pt x="360" y="756"/>
                  </a:lnTo>
                  <a:lnTo>
                    <a:pt x="360" y="762"/>
                  </a:lnTo>
                  <a:lnTo>
                    <a:pt x="366" y="762"/>
                  </a:lnTo>
                  <a:lnTo>
                    <a:pt x="366" y="768"/>
                  </a:lnTo>
                  <a:lnTo>
                    <a:pt x="366" y="774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72" y="792"/>
                  </a:lnTo>
                  <a:lnTo>
                    <a:pt x="372" y="798"/>
                  </a:lnTo>
                  <a:lnTo>
                    <a:pt x="372" y="804"/>
                  </a:lnTo>
                  <a:lnTo>
                    <a:pt x="378" y="804"/>
                  </a:lnTo>
                  <a:lnTo>
                    <a:pt x="378" y="810"/>
                  </a:lnTo>
                  <a:lnTo>
                    <a:pt x="378" y="816"/>
                  </a:lnTo>
                  <a:lnTo>
                    <a:pt x="372" y="816"/>
                  </a:lnTo>
                  <a:lnTo>
                    <a:pt x="378" y="816"/>
                  </a:lnTo>
                  <a:lnTo>
                    <a:pt x="378" y="822"/>
                  </a:lnTo>
                  <a:lnTo>
                    <a:pt x="378" y="828"/>
                  </a:lnTo>
                  <a:lnTo>
                    <a:pt x="378" y="834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0" y="864"/>
                  </a:lnTo>
                  <a:lnTo>
                    <a:pt x="384" y="864"/>
                  </a:lnTo>
                  <a:lnTo>
                    <a:pt x="384" y="870"/>
                  </a:lnTo>
                  <a:lnTo>
                    <a:pt x="378" y="864"/>
                  </a:lnTo>
                  <a:lnTo>
                    <a:pt x="372" y="864"/>
                  </a:lnTo>
                  <a:lnTo>
                    <a:pt x="366" y="858"/>
                  </a:lnTo>
                  <a:lnTo>
                    <a:pt x="366" y="852"/>
                  </a:lnTo>
                  <a:lnTo>
                    <a:pt x="360" y="852"/>
                  </a:lnTo>
                  <a:lnTo>
                    <a:pt x="360" y="858"/>
                  </a:lnTo>
                  <a:lnTo>
                    <a:pt x="366" y="858"/>
                  </a:lnTo>
                  <a:lnTo>
                    <a:pt x="366" y="864"/>
                  </a:lnTo>
                  <a:lnTo>
                    <a:pt x="360" y="864"/>
                  </a:lnTo>
                  <a:lnTo>
                    <a:pt x="354" y="864"/>
                  </a:lnTo>
                  <a:lnTo>
                    <a:pt x="354" y="870"/>
                  </a:lnTo>
                  <a:lnTo>
                    <a:pt x="354" y="864"/>
                  </a:lnTo>
                  <a:lnTo>
                    <a:pt x="348" y="864"/>
                  </a:lnTo>
                  <a:lnTo>
                    <a:pt x="342" y="864"/>
                  </a:lnTo>
                  <a:lnTo>
                    <a:pt x="342" y="858"/>
                  </a:lnTo>
                  <a:lnTo>
                    <a:pt x="336" y="858"/>
                  </a:lnTo>
                  <a:lnTo>
                    <a:pt x="330" y="858"/>
                  </a:lnTo>
                  <a:lnTo>
                    <a:pt x="324" y="858"/>
                  </a:lnTo>
                  <a:lnTo>
                    <a:pt x="318" y="858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0" y="852"/>
                  </a:lnTo>
                  <a:lnTo>
                    <a:pt x="294" y="852"/>
                  </a:lnTo>
                  <a:lnTo>
                    <a:pt x="294" y="846"/>
                  </a:lnTo>
                  <a:lnTo>
                    <a:pt x="288" y="840"/>
                  </a:lnTo>
                  <a:lnTo>
                    <a:pt x="288" y="828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2" y="816"/>
                  </a:lnTo>
                  <a:lnTo>
                    <a:pt x="282" y="810"/>
                  </a:lnTo>
                  <a:lnTo>
                    <a:pt x="276" y="810"/>
                  </a:lnTo>
                  <a:lnTo>
                    <a:pt x="276" y="804"/>
                  </a:lnTo>
                  <a:lnTo>
                    <a:pt x="276" y="798"/>
                  </a:lnTo>
                  <a:lnTo>
                    <a:pt x="276" y="792"/>
                  </a:lnTo>
                  <a:lnTo>
                    <a:pt x="270" y="786"/>
                  </a:lnTo>
                  <a:lnTo>
                    <a:pt x="270" y="780"/>
                  </a:lnTo>
                  <a:lnTo>
                    <a:pt x="270" y="774"/>
                  </a:lnTo>
                  <a:lnTo>
                    <a:pt x="264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64" y="750"/>
                  </a:lnTo>
                  <a:lnTo>
                    <a:pt x="264" y="744"/>
                  </a:lnTo>
                  <a:lnTo>
                    <a:pt x="264" y="738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26"/>
                  </a:lnTo>
                  <a:lnTo>
                    <a:pt x="276" y="720"/>
                  </a:lnTo>
                  <a:lnTo>
                    <a:pt x="282" y="720"/>
                  </a:lnTo>
                  <a:lnTo>
                    <a:pt x="282" y="714"/>
                  </a:lnTo>
                  <a:lnTo>
                    <a:pt x="282" y="708"/>
                  </a:lnTo>
                  <a:lnTo>
                    <a:pt x="276" y="708"/>
                  </a:lnTo>
                  <a:lnTo>
                    <a:pt x="276" y="702"/>
                  </a:lnTo>
                  <a:lnTo>
                    <a:pt x="270" y="702"/>
                  </a:lnTo>
                  <a:lnTo>
                    <a:pt x="270" y="696"/>
                  </a:lnTo>
                  <a:lnTo>
                    <a:pt x="264" y="690"/>
                  </a:lnTo>
                  <a:lnTo>
                    <a:pt x="258" y="690"/>
                  </a:lnTo>
                  <a:lnTo>
                    <a:pt x="258" y="684"/>
                  </a:lnTo>
                  <a:lnTo>
                    <a:pt x="252" y="684"/>
                  </a:lnTo>
                  <a:lnTo>
                    <a:pt x="252" y="678"/>
                  </a:lnTo>
                  <a:lnTo>
                    <a:pt x="246" y="678"/>
                  </a:lnTo>
                  <a:lnTo>
                    <a:pt x="240" y="678"/>
                  </a:lnTo>
                  <a:lnTo>
                    <a:pt x="240" y="684"/>
                  </a:lnTo>
                  <a:lnTo>
                    <a:pt x="246" y="684"/>
                  </a:lnTo>
                  <a:lnTo>
                    <a:pt x="252" y="690"/>
                  </a:lnTo>
                  <a:lnTo>
                    <a:pt x="258" y="690"/>
                  </a:lnTo>
                  <a:lnTo>
                    <a:pt x="258" y="696"/>
                  </a:lnTo>
                  <a:lnTo>
                    <a:pt x="258" y="702"/>
                  </a:lnTo>
                  <a:lnTo>
                    <a:pt x="264" y="702"/>
                  </a:lnTo>
                  <a:lnTo>
                    <a:pt x="270" y="708"/>
                  </a:lnTo>
                  <a:lnTo>
                    <a:pt x="270" y="714"/>
                  </a:lnTo>
                  <a:lnTo>
                    <a:pt x="270" y="720"/>
                  </a:lnTo>
                  <a:lnTo>
                    <a:pt x="276" y="720"/>
                  </a:lnTo>
                  <a:lnTo>
                    <a:pt x="270" y="720"/>
                  </a:lnTo>
                  <a:lnTo>
                    <a:pt x="270" y="726"/>
                  </a:lnTo>
                  <a:lnTo>
                    <a:pt x="264" y="726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52" y="738"/>
                  </a:lnTo>
                  <a:lnTo>
                    <a:pt x="252" y="744"/>
                  </a:lnTo>
                  <a:lnTo>
                    <a:pt x="252" y="750"/>
                  </a:lnTo>
                  <a:lnTo>
                    <a:pt x="252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58" y="774"/>
                  </a:lnTo>
                  <a:lnTo>
                    <a:pt x="258" y="780"/>
                  </a:lnTo>
                  <a:lnTo>
                    <a:pt x="264" y="786"/>
                  </a:lnTo>
                  <a:lnTo>
                    <a:pt x="264" y="792"/>
                  </a:lnTo>
                  <a:lnTo>
                    <a:pt x="264" y="798"/>
                  </a:lnTo>
                  <a:lnTo>
                    <a:pt x="270" y="810"/>
                  </a:lnTo>
                  <a:lnTo>
                    <a:pt x="270" y="816"/>
                  </a:lnTo>
                  <a:lnTo>
                    <a:pt x="270" y="822"/>
                  </a:lnTo>
                  <a:lnTo>
                    <a:pt x="276" y="822"/>
                  </a:lnTo>
                  <a:lnTo>
                    <a:pt x="276" y="828"/>
                  </a:lnTo>
                  <a:lnTo>
                    <a:pt x="276" y="834"/>
                  </a:lnTo>
                  <a:lnTo>
                    <a:pt x="276" y="840"/>
                  </a:lnTo>
                  <a:lnTo>
                    <a:pt x="276" y="846"/>
                  </a:lnTo>
                  <a:lnTo>
                    <a:pt x="282" y="852"/>
                  </a:lnTo>
                  <a:lnTo>
                    <a:pt x="282" y="858"/>
                  </a:lnTo>
                  <a:lnTo>
                    <a:pt x="294" y="864"/>
                  </a:lnTo>
                  <a:lnTo>
                    <a:pt x="300" y="870"/>
                  </a:lnTo>
                  <a:lnTo>
                    <a:pt x="300" y="876"/>
                  </a:lnTo>
                  <a:lnTo>
                    <a:pt x="288" y="876"/>
                  </a:lnTo>
                  <a:lnTo>
                    <a:pt x="282" y="876"/>
                  </a:lnTo>
                  <a:lnTo>
                    <a:pt x="276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2" y="882"/>
                  </a:lnTo>
                  <a:lnTo>
                    <a:pt x="246" y="882"/>
                  </a:lnTo>
                  <a:lnTo>
                    <a:pt x="240" y="882"/>
                  </a:lnTo>
                  <a:lnTo>
                    <a:pt x="234" y="882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204" y="876"/>
                  </a:lnTo>
                  <a:lnTo>
                    <a:pt x="198" y="876"/>
                  </a:lnTo>
                  <a:lnTo>
                    <a:pt x="198" y="870"/>
                  </a:lnTo>
                  <a:lnTo>
                    <a:pt x="198" y="852"/>
                  </a:lnTo>
                  <a:lnTo>
                    <a:pt x="198" y="846"/>
                  </a:lnTo>
                  <a:lnTo>
                    <a:pt x="204" y="846"/>
                  </a:lnTo>
                  <a:lnTo>
                    <a:pt x="198" y="840"/>
                  </a:lnTo>
                  <a:lnTo>
                    <a:pt x="198" y="834"/>
                  </a:lnTo>
                  <a:lnTo>
                    <a:pt x="198" y="828"/>
                  </a:lnTo>
                  <a:lnTo>
                    <a:pt x="198" y="822"/>
                  </a:lnTo>
                  <a:lnTo>
                    <a:pt x="198" y="816"/>
                  </a:lnTo>
                  <a:lnTo>
                    <a:pt x="198" y="810"/>
                  </a:lnTo>
                  <a:lnTo>
                    <a:pt x="192" y="810"/>
                  </a:lnTo>
                  <a:lnTo>
                    <a:pt x="192" y="804"/>
                  </a:lnTo>
                  <a:lnTo>
                    <a:pt x="192" y="798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2" y="774"/>
                  </a:lnTo>
                  <a:lnTo>
                    <a:pt x="192" y="768"/>
                  </a:lnTo>
                  <a:lnTo>
                    <a:pt x="198" y="768"/>
                  </a:lnTo>
                  <a:lnTo>
                    <a:pt x="198" y="762"/>
                  </a:lnTo>
                  <a:lnTo>
                    <a:pt x="198" y="756"/>
                  </a:lnTo>
                  <a:lnTo>
                    <a:pt x="204" y="756"/>
                  </a:lnTo>
                  <a:lnTo>
                    <a:pt x="204" y="750"/>
                  </a:lnTo>
                  <a:lnTo>
                    <a:pt x="210" y="744"/>
                  </a:lnTo>
                  <a:lnTo>
                    <a:pt x="210" y="738"/>
                  </a:lnTo>
                  <a:lnTo>
                    <a:pt x="210" y="732"/>
                  </a:lnTo>
                  <a:lnTo>
                    <a:pt x="210" y="726"/>
                  </a:lnTo>
                  <a:lnTo>
                    <a:pt x="210" y="720"/>
                  </a:lnTo>
                  <a:lnTo>
                    <a:pt x="204" y="714"/>
                  </a:lnTo>
                  <a:lnTo>
                    <a:pt x="204" y="720"/>
                  </a:lnTo>
                  <a:lnTo>
                    <a:pt x="204" y="732"/>
                  </a:lnTo>
                  <a:lnTo>
                    <a:pt x="204" y="738"/>
                  </a:lnTo>
                  <a:lnTo>
                    <a:pt x="198" y="738"/>
                  </a:lnTo>
                  <a:lnTo>
                    <a:pt x="198" y="744"/>
                  </a:lnTo>
                  <a:lnTo>
                    <a:pt x="198" y="750"/>
                  </a:lnTo>
                  <a:lnTo>
                    <a:pt x="192" y="756"/>
                  </a:lnTo>
                  <a:lnTo>
                    <a:pt x="186" y="762"/>
                  </a:lnTo>
                  <a:lnTo>
                    <a:pt x="186" y="768"/>
                  </a:lnTo>
                  <a:lnTo>
                    <a:pt x="186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98"/>
                  </a:lnTo>
                  <a:lnTo>
                    <a:pt x="186" y="804"/>
                  </a:lnTo>
                  <a:lnTo>
                    <a:pt x="186" y="810"/>
                  </a:lnTo>
                  <a:lnTo>
                    <a:pt x="192" y="816"/>
                  </a:lnTo>
                  <a:lnTo>
                    <a:pt x="192" y="828"/>
                  </a:lnTo>
                  <a:lnTo>
                    <a:pt x="192" y="834"/>
                  </a:lnTo>
                  <a:lnTo>
                    <a:pt x="186" y="834"/>
                  </a:lnTo>
                  <a:lnTo>
                    <a:pt x="186" y="828"/>
                  </a:lnTo>
                  <a:lnTo>
                    <a:pt x="180" y="822"/>
                  </a:lnTo>
                  <a:lnTo>
                    <a:pt x="180" y="816"/>
                  </a:lnTo>
                  <a:lnTo>
                    <a:pt x="180" y="810"/>
                  </a:lnTo>
                  <a:lnTo>
                    <a:pt x="174" y="810"/>
                  </a:lnTo>
                  <a:lnTo>
                    <a:pt x="174" y="804"/>
                  </a:lnTo>
                  <a:lnTo>
                    <a:pt x="174" y="798"/>
                  </a:lnTo>
                  <a:lnTo>
                    <a:pt x="174" y="792"/>
                  </a:lnTo>
                  <a:lnTo>
                    <a:pt x="168" y="786"/>
                  </a:lnTo>
                  <a:lnTo>
                    <a:pt x="168" y="780"/>
                  </a:lnTo>
                  <a:lnTo>
                    <a:pt x="162" y="780"/>
                  </a:lnTo>
                  <a:lnTo>
                    <a:pt x="168" y="774"/>
                  </a:lnTo>
                  <a:lnTo>
                    <a:pt x="168" y="768"/>
                  </a:lnTo>
                  <a:lnTo>
                    <a:pt x="174" y="768"/>
                  </a:lnTo>
                  <a:lnTo>
                    <a:pt x="168" y="768"/>
                  </a:lnTo>
                  <a:lnTo>
                    <a:pt x="162" y="774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50" y="774"/>
                  </a:lnTo>
                  <a:lnTo>
                    <a:pt x="144" y="774"/>
                  </a:lnTo>
                  <a:lnTo>
                    <a:pt x="144" y="768"/>
                  </a:lnTo>
                  <a:lnTo>
                    <a:pt x="144" y="762"/>
                  </a:lnTo>
                  <a:lnTo>
                    <a:pt x="138" y="756"/>
                  </a:lnTo>
                  <a:lnTo>
                    <a:pt x="132" y="756"/>
                  </a:lnTo>
                  <a:lnTo>
                    <a:pt x="138" y="756"/>
                  </a:lnTo>
                  <a:lnTo>
                    <a:pt x="138" y="762"/>
                  </a:lnTo>
                  <a:lnTo>
                    <a:pt x="138" y="768"/>
                  </a:lnTo>
                  <a:lnTo>
                    <a:pt x="144" y="768"/>
                  </a:lnTo>
                  <a:lnTo>
                    <a:pt x="144" y="774"/>
                  </a:lnTo>
                  <a:lnTo>
                    <a:pt x="150" y="780"/>
                  </a:lnTo>
                  <a:lnTo>
                    <a:pt x="156" y="780"/>
                  </a:lnTo>
                  <a:lnTo>
                    <a:pt x="156" y="786"/>
                  </a:lnTo>
                  <a:lnTo>
                    <a:pt x="162" y="786"/>
                  </a:lnTo>
                  <a:lnTo>
                    <a:pt x="168" y="792"/>
                  </a:lnTo>
                  <a:lnTo>
                    <a:pt x="168" y="798"/>
                  </a:lnTo>
                  <a:lnTo>
                    <a:pt x="168" y="804"/>
                  </a:lnTo>
                  <a:lnTo>
                    <a:pt x="174" y="810"/>
                  </a:lnTo>
                  <a:lnTo>
                    <a:pt x="174" y="816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68" y="828"/>
                  </a:lnTo>
                  <a:lnTo>
                    <a:pt x="168" y="834"/>
                  </a:lnTo>
                  <a:lnTo>
                    <a:pt x="174" y="840"/>
                  </a:lnTo>
                  <a:lnTo>
                    <a:pt x="180" y="840"/>
                  </a:lnTo>
                  <a:lnTo>
                    <a:pt x="180" y="846"/>
                  </a:lnTo>
                  <a:lnTo>
                    <a:pt x="186" y="846"/>
                  </a:lnTo>
                  <a:lnTo>
                    <a:pt x="186" y="852"/>
                  </a:lnTo>
                  <a:lnTo>
                    <a:pt x="186" y="858"/>
                  </a:lnTo>
                  <a:lnTo>
                    <a:pt x="186" y="864"/>
                  </a:lnTo>
                  <a:lnTo>
                    <a:pt x="192" y="864"/>
                  </a:lnTo>
                  <a:lnTo>
                    <a:pt x="192" y="870"/>
                  </a:lnTo>
                  <a:lnTo>
                    <a:pt x="192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6" y="888"/>
                  </a:lnTo>
                  <a:lnTo>
                    <a:pt x="180" y="888"/>
                  </a:lnTo>
                  <a:lnTo>
                    <a:pt x="174" y="888"/>
                  </a:lnTo>
                  <a:lnTo>
                    <a:pt x="168" y="894"/>
                  </a:lnTo>
                  <a:lnTo>
                    <a:pt x="162" y="894"/>
                  </a:lnTo>
                  <a:lnTo>
                    <a:pt x="156" y="894"/>
                  </a:lnTo>
                  <a:lnTo>
                    <a:pt x="150" y="894"/>
                  </a:lnTo>
                  <a:lnTo>
                    <a:pt x="144" y="894"/>
                  </a:lnTo>
                  <a:lnTo>
                    <a:pt x="144" y="900"/>
                  </a:lnTo>
                  <a:lnTo>
                    <a:pt x="138" y="894"/>
                  </a:lnTo>
                  <a:lnTo>
                    <a:pt x="138" y="900"/>
                  </a:lnTo>
                  <a:lnTo>
                    <a:pt x="132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6" y="882"/>
                  </a:lnTo>
                  <a:lnTo>
                    <a:pt x="126" y="876"/>
                  </a:lnTo>
                  <a:lnTo>
                    <a:pt x="120" y="876"/>
                  </a:lnTo>
                  <a:lnTo>
                    <a:pt x="126" y="870"/>
                  </a:lnTo>
                  <a:lnTo>
                    <a:pt x="126" y="864"/>
                  </a:lnTo>
                  <a:lnTo>
                    <a:pt x="126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26" y="828"/>
                  </a:lnTo>
                  <a:lnTo>
                    <a:pt x="126" y="822"/>
                  </a:lnTo>
                  <a:lnTo>
                    <a:pt x="126" y="816"/>
                  </a:lnTo>
                  <a:lnTo>
                    <a:pt x="126" y="810"/>
                  </a:lnTo>
                  <a:lnTo>
                    <a:pt x="126" y="804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20" y="792"/>
                  </a:lnTo>
                  <a:lnTo>
                    <a:pt x="114" y="792"/>
                  </a:lnTo>
                  <a:lnTo>
                    <a:pt x="114" y="786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96" y="780"/>
                  </a:lnTo>
                  <a:lnTo>
                    <a:pt x="96" y="774"/>
                  </a:lnTo>
                  <a:lnTo>
                    <a:pt x="90" y="774"/>
                  </a:lnTo>
                  <a:lnTo>
                    <a:pt x="90" y="768"/>
                  </a:lnTo>
                  <a:close/>
                  <a:moveTo>
                    <a:pt x="96" y="780"/>
                  </a:moveTo>
                  <a:lnTo>
                    <a:pt x="102" y="780"/>
                  </a:lnTo>
                  <a:lnTo>
                    <a:pt x="102" y="786"/>
                  </a:lnTo>
                  <a:lnTo>
                    <a:pt x="108" y="786"/>
                  </a:lnTo>
                  <a:lnTo>
                    <a:pt x="114" y="792"/>
                  </a:lnTo>
                  <a:lnTo>
                    <a:pt x="120" y="798"/>
                  </a:lnTo>
                  <a:lnTo>
                    <a:pt x="120" y="804"/>
                  </a:lnTo>
                  <a:lnTo>
                    <a:pt x="126" y="810"/>
                  </a:lnTo>
                  <a:lnTo>
                    <a:pt x="126" y="816"/>
                  </a:lnTo>
                  <a:lnTo>
                    <a:pt x="126" y="822"/>
                  </a:lnTo>
                  <a:lnTo>
                    <a:pt x="120" y="828"/>
                  </a:lnTo>
                  <a:lnTo>
                    <a:pt x="120" y="840"/>
                  </a:lnTo>
                  <a:lnTo>
                    <a:pt x="120" y="852"/>
                  </a:lnTo>
                  <a:lnTo>
                    <a:pt x="120" y="858"/>
                  </a:lnTo>
                  <a:lnTo>
                    <a:pt x="120" y="864"/>
                  </a:lnTo>
                  <a:lnTo>
                    <a:pt x="120" y="870"/>
                  </a:lnTo>
                  <a:lnTo>
                    <a:pt x="114" y="870"/>
                  </a:lnTo>
                  <a:lnTo>
                    <a:pt x="108" y="870"/>
                  </a:lnTo>
                  <a:lnTo>
                    <a:pt x="108" y="876"/>
                  </a:lnTo>
                  <a:lnTo>
                    <a:pt x="114" y="876"/>
                  </a:lnTo>
                  <a:lnTo>
                    <a:pt x="120" y="876"/>
                  </a:lnTo>
                  <a:lnTo>
                    <a:pt x="120" y="882"/>
                  </a:lnTo>
                  <a:lnTo>
                    <a:pt x="114" y="888"/>
                  </a:lnTo>
                  <a:lnTo>
                    <a:pt x="120" y="888"/>
                  </a:lnTo>
                  <a:lnTo>
                    <a:pt x="120" y="894"/>
                  </a:lnTo>
                  <a:lnTo>
                    <a:pt x="114" y="894"/>
                  </a:lnTo>
                  <a:lnTo>
                    <a:pt x="108" y="894"/>
                  </a:lnTo>
                  <a:lnTo>
                    <a:pt x="96" y="894"/>
                  </a:lnTo>
                  <a:lnTo>
                    <a:pt x="96" y="882"/>
                  </a:lnTo>
                  <a:lnTo>
                    <a:pt x="96" y="876"/>
                  </a:lnTo>
                  <a:lnTo>
                    <a:pt x="84" y="870"/>
                  </a:lnTo>
                  <a:lnTo>
                    <a:pt x="72" y="864"/>
                  </a:lnTo>
                  <a:lnTo>
                    <a:pt x="72" y="852"/>
                  </a:lnTo>
                  <a:lnTo>
                    <a:pt x="72" y="840"/>
                  </a:lnTo>
                  <a:lnTo>
                    <a:pt x="78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90" y="792"/>
                  </a:lnTo>
                  <a:lnTo>
                    <a:pt x="96" y="780"/>
                  </a:lnTo>
                  <a:close/>
                  <a:moveTo>
                    <a:pt x="492" y="810"/>
                  </a:moveTo>
                  <a:lnTo>
                    <a:pt x="498" y="810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510" y="792"/>
                  </a:lnTo>
                  <a:lnTo>
                    <a:pt x="516" y="786"/>
                  </a:lnTo>
                  <a:lnTo>
                    <a:pt x="522" y="780"/>
                  </a:lnTo>
                  <a:lnTo>
                    <a:pt x="522" y="774"/>
                  </a:lnTo>
                  <a:lnTo>
                    <a:pt x="528" y="768"/>
                  </a:lnTo>
                  <a:lnTo>
                    <a:pt x="528" y="762"/>
                  </a:lnTo>
                  <a:lnTo>
                    <a:pt x="534" y="762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46" y="780"/>
                  </a:lnTo>
                  <a:lnTo>
                    <a:pt x="552" y="786"/>
                  </a:lnTo>
                  <a:lnTo>
                    <a:pt x="558" y="786"/>
                  </a:lnTo>
                  <a:lnTo>
                    <a:pt x="564" y="786"/>
                  </a:lnTo>
                  <a:lnTo>
                    <a:pt x="576" y="786"/>
                  </a:lnTo>
                  <a:lnTo>
                    <a:pt x="582" y="786"/>
                  </a:lnTo>
                  <a:lnTo>
                    <a:pt x="588" y="786"/>
                  </a:lnTo>
                  <a:lnTo>
                    <a:pt x="594" y="786"/>
                  </a:lnTo>
                  <a:lnTo>
                    <a:pt x="588" y="792"/>
                  </a:lnTo>
                  <a:lnTo>
                    <a:pt x="588" y="798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82" y="822"/>
                  </a:lnTo>
                  <a:lnTo>
                    <a:pt x="588" y="828"/>
                  </a:lnTo>
                  <a:lnTo>
                    <a:pt x="588" y="834"/>
                  </a:lnTo>
                  <a:lnTo>
                    <a:pt x="582" y="840"/>
                  </a:lnTo>
                  <a:lnTo>
                    <a:pt x="570" y="840"/>
                  </a:lnTo>
                  <a:lnTo>
                    <a:pt x="558" y="846"/>
                  </a:lnTo>
                  <a:lnTo>
                    <a:pt x="552" y="846"/>
                  </a:lnTo>
                  <a:lnTo>
                    <a:pt x="534" y="852"/>
                  </a:lnTo>
                  <a:lnTo>
                    <a:pt x="522" y="858"/>
                  </a:lnTo>
                  <a:lnTo>
                    <a:pt x="510" y="858"/>
                  </a:lnTo>
                  <a:lnTo>
                    <a:pt x="498" y="864"/>
                  </a:lnTo>
                  <a:lnTo>
                    <a:pt x="474" y="864"/>
                  </a:lnTo>
                  <a:lnTo>
                    <a:pt x="468" y="858"/>
                  </a:lnTo>
                  <a:lnTo>
                    <a:pt x="468" y="852"/>
                  </a:lnTo>
                  <a:lnTo>
                    <a:pt x="468" y="846"/>
                  </a:lnTo>
                  <a:lnTo>
                    <a:pt x="474" y="840"/>
                  </a:lnTo>
                  <a:lnTo>
                    <a:pt x="474" y="834"/>
                  </a:lnTo>
                  <a:lnTo>
                    <a:pt x="480" y="828"/>
                  </a:lnTo>
                  <a:lnTo>
                    <a:pt x="492" y="822"/>
                  </a:lnTo>
                  <a:lnTo>
                    <a:pt x="492" y="810"/>
                  </a:lnTo>
                  <a:close/>
                  <a:moveTo>
                    <a:pt x="384" y="720"/>
                  </a:moveTo>
                  <a:lnTo>
                    <a:pt x="384" y="726"/>
                  </a:lnTo>
                  <a:lnTo>
                    <a:pt x="390" y="726"/>
                  </a:lnTo>
                  <a:lnTo>
                    <a:pt x="396" y="726"/>
                  </a:lnTo>
                  <a:lnTo>
                    <a:pt x="402" y="732"/>
                  </a:lnTo>
                  <a:lnTo>
                    <a:pt x="408" y="732"/>
                  </a:lnTo>
                  <a:lnTo>
                    <a:pt x="414" y="732"/>
                  </a:lnTo>
                  <a:lnTo>
                    <a:pt x="414" y="738"/>
                  </a:lnTo>
                  <a:lnTo>
                    <a:pt x="414" y="744"/>
                  </a:lnTo>
                  <a:lnTo>
                    <a:pt x="414" y="750"/>
                  </a:lnTo>
                  <a:lnTo>
                    <a:pt x="414" y="756"/>
                  </a:lnTo>
                  <a:lnTo>
                    <a:pt x="414" y="762"/>
                  </a:lnTo>
                  <a:lnTo>
                    <a:pt x="420" y="768"/>
                  </a:lnTo>
                  <a:lnTo>
                    <a:pt x="420" y="774"/>
                  </a:lnTo>
                  <a:lnTo>
                    <a:pt x="426" y="780"/>
                  </a:lnTo>
                  <a:lnTo>
                    <a:pt x="426" y="786"/>
                  </a:lnTo>
                  <a:lnTo>
                    <a:pt x="420" y="786"/>
                  </a:lnTo>
                  <a:lnTo>
                    <a:pt x="420" y="792"/>
                  </a:lnTo>
                  <a:lnTo>
                    <a:pt x="420" y="798"/>
                  </a:lnTo>
                  <a:lnTo>
                    <a:pt x="420" y="804"/>
                  </a:lnTo>
                  <a:lnTo>
                    <a:pt x="426" y="804"/>
                  </a:lnTo>
                  <a:lnTo>
                    <a:pt x="426" y="810"/>
                  </a:lnTo>
                  <a:lnTo>
                    <a:pt x="426" y="816"/>
                  </a:lnTo>
                  <a:lnTo>
                    <a:pt x="432" y="816"/>
                  </a:lnTo>
                  <a:lnTo>
                    <a:pt x="438" y="816"/>
                  </a:lnTo>
                  <a:lnTo>
                    <a:pt x="438" y="822"/>
                  </a:lnTo>
                  <a:lnTo>
                    <a:pt x="432" y="822"/>
                  </a:lnTo>
                  <a:lnTo>
                    <a:pt x="426" y="828"/>
                  </a:lnTo>
                  <a:lnTo>
                    <a:pt x="420" y="828"/>
                  </a:lnTo>
                  <a:lnTo>
                    <a:pt x="414" y="828"/>
                  </a:lnTo>
                  <a:lnTo>
                    <a:pt x="408" y="828"/>
                  </a:lnTo>
                  <a:lnTo>
                    <a:pt x="402" y="828"/>
                  </a:lnTo>
                  <a:lnTo>
                    <a:pt x="402" y="822"/>
                  </a:lnTo>
                  <a:lnTo>
                    <a:pt x="396" y="822"/>
                  </a:lnTo>
                  <a:lnTo>
                    <a:pt x="402" y="822"/>
                  </a:lnTo>
                  <a:lnTo>
                    <a:pt x="402" y="816"/>
                  </a:lnTo>
                  <a:lnTo>
                    <a:pt x="396" y="816"/>
                  </a:lnTo>
                  <a:lnTo>
                    <a:pt x="396" y="810"/>
                  </a:lnTo>
                  <a:lnTo>
                    <a:pt x="396" y="804"/>
                  </a:lnTo>
                  <a:lnTo>
                    <a:pt x="390" y="798"/>
                  </a:lnTo>
                  <a:lnTo>
                    <a:pt x="390" y="792"/>
                  </a:lnTo>
                  <a:lnTo>
                    <a:pt x="390" y="786"/>
                  </a:lnTo>
                  <a:lnTo>
                    <a:pt x="390" y="780"/>
                  </a:lnTo>
                  <a:lnTo>
                    <a:pt x="390" y="774"/>
                  </a:lnTo>
                  <a:lnTo>
                    <a:pt x="390" y="768"/>
                  </a:lnTo>
                  <a:lnTo>
                    <a:pt x="390" y="762"/>
                  </a:lnTo>
                  <a:lnTo>
                    <a:pt x="384" y="756"/>
                  </a:lnTo>
                  <a:lnTo>
                    <a:pt x="384" y="750"/>
                  </a:lnTo>
                  <a:lnTo>
                    <a:pt x="384" y="744"/>
                  </a:lnTo>
                  <a:lnTo>
                    <a:pt x="378" y="744"/>
                  </a:lnTo>
                  <a:lnTo>
                    <a:pt x="384" y="744"/>
                  </a:lnTo>
                  <a:lnTo>
                    <a:pt x="384" y="738"/>
                  </a:lnTo>
                  <a:lnTo>
                    <a:pt x="378" y="738"/>
                  </a:lnTo>
                  <a:lnTo>
                    <a:pt x="378" y="732"/>
                  </a:lnTo>
                  <a:lnTo>
                    <a:pt x="378" y="726"/>
                  </a:lnTo>
                  <a:lnTo>
                    <a:pt x="378" y="720"/>
                  </a:lnTo>
                  <a:lnTo>
                    <a:pt x="384" y="720"/>
                  </a:lnTo>
                  <a:close/>
                  <a:moveTo>
                    <a:pt x="330" y="738"/>
                  </a:moveTo>
                  <a:lnTo>
                    <a:pt x="336" y="732"/>
                  </a:lnTo>
                  <a:lnTo>
                    <a:pt x="336" y="726"/>
                  </a:lnTo>
                  <a:lnTo>
                    <a:pt x="342" y="720"/>
                  </a:lnTo>
                  <a:lnTo>
                    <a:pt x="348" y="720"/>
                  </a:lnTo>
                  <a:lnTo>
                    <a:pt x="360" y="720"/>
                  </a:lnTo>
                  <a:lnTo>
                    <a:pt x="366" y="726"/>
                  </a:lnTo>
                  <a:lnTo>
                    <a:pt x="372" y="732"/>
                  </a:lnTo>
                  <a:lnTo>
                    <a:pt x="372" y="738"/>
                  </a:lnTo>
                  <a:lnTo>
                    <a:pt x="366" y="750"/>
                  </a:lnTo>
                  <a:lnTo>
                    <a:pt x="372" y="756"/>
                  </a:lnTo>
                  <a:lnTo>
                    <a:pt x="372" y="762"/>
                  </a:lnTo>
                  <a:lnTo>
                    <a:pt x="372" y="768"/>
                  </a:lnTo>
                  <a:lnTo>
                    <a:pt x="372" y="774"/>
                  </a:lnTo>
                  <a:lnTo>
                    <a:pt x="372" y="780"/>
                  </a:lnTo>
                  <a:lnTo>
                    <a:pt x="372" y="774"/>
                  </a:lnTo>
                  <a:lnTo>
                    <a:pt x="366" y="768"/>
                  </a:lnTo>
                  <a:lnTo>
                    <a:pt x="366" y="762"/>
                  </a:lnTo>
                  <a:lnTo>
                    <a:pt x="366" y="756"/>
                  </a:lnTo>
                  <a:lnTo>
                    <a:pt x="360" y="756"/>
                  </a:lnTo>
                  <a:lnTo>
                    <a:pt x="360" y="750"/>
                  </a:lnTo>
                  <a:lnTo>
                    <a:pt x="354" y="750"/>
                  </a:lnTo>
                  <a:lnTo>
                    <a:pt x="348" y="744"/>
                  </a:lnTo>
                  <a:lnTo>
                    <a:pt x="342" y="744"/>
                  </a:lnTo>
                  <a:lnTo>
                    <a:pt x="336" y="744"/>
                  </a:lnTo>
                  <a:lnTo>
                    <a:pt x="330" y="73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01" name="Freeform 6">
              <a:extLst>
                <a:ext uri="{FF2B5EF4-FFF2-40B4-BE49-F238E27FC236}">
                  <a16:creationId xmlns:a16="http://schemas.microsoft.com/office/drawing/2014/main" id="{0656C385-F30A-4AC8-AE9F-B1F66208B38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3123" y="4163918"/>
              <a:ext cx="266107" cy="248252"/>
            </a:xfrm>
            <a:custGeom>
              <a:avLst/>
              <a:gdLst>
                <a:gd name="T0" fmla="*/ 33 w 504"/>
                <a:gd name="T1" fmla="*/ 41 h 468"/>
                <a:gd name="T2" fmla="*/ 26 w 504"/>
                <a:gd name="T3" fmla="*/ 39 h 468"/>
                <a:gd name="T4" fmla="*/ 21 w 504"/>
                <a:gd name="T5" fmla="*/ 38 h 468"/>
                <a:gd name="T6" fmla="*/ 18 w 504"/>
                <a:gd name="T7" fmla="*/ 38 h 468"/>
                <a:gd name="T8" fmla="*/ 15 w 504"/>
                <a:gd name="T9" fmla="*/ 39 h 468"/>
                <a:gd name="T10" fmla="*/ 12 w 504"/>
                <a:gd name="T11" fmla="*/ 38 h 468"/>
                <a:gd name="T12" fmla="*/ 9 w 504"/>
                <a:gd name="T13" fmla="*/ 37 h 468"/>
                <a:gd name="T14" fmla="*/ 7 w 504"/>
                <a:gd name="T15" fmla="*/ 32 h 468"/>
                <a:gd name="T16" fmla="*/ 6 w 504"/>
                <a:gd name="T17" fmla="*/ 26 h 468"/>
                <a:gd name="T18" fmla="*/ 3 w 504"/>
                <a:gd name="T19" fmla="*/ 24 h 468"/>
                <a:gd name="T20" fmla="*/ 1 w 504"/>
                <a:gd name="T21" fmla="*/ 24 h 468"/>
                <a:gd name="T22" fmla="*/ 2 w 504"/>
                <a:gd name="T23" fmla="*/ 18 h 468"/>
                <a:gd name="T24" fmla="*/ 1 w 504"/>
                <a:gd name="T25" fmla="*/ 17 h 468"/>
                <a:gd name="T26" fmla="*/ 0 w 504"/>
                <a:gd name="T27" fmla="*/ 17 h 468"/>
                <a:gd name="T28" fmla="*/ 0 w 504"/>
                <a:gd name="T29" fmla="*/ 15 h 468"/>
                <a:gd name="T30" fmla="*/ 2 w 504"/>
                <a:gd name="T31" fmla="*/ 12 h 468"/>
                <a:gd name="T32" fmla="*/ 4 w 504"/>
                <a:gd name="T33" fmla="*/ 10 h 468"/>
                <a:gd name="T34" fmla="*/ 6 w 504"/>
                <a:gd name="T35" fmla="*/ 8 h 468"/>
                <a:gd name="T36" fmla="*/ 8 w 504"/>
                <a:gd name="T37" fmla="*/ 8 h 468"/>
                <a:gd name="T38" fmla="*/ 10 w 504"/>
                <a:gd name="T39" fmla="*/ 9 h 468"/>
                <a:gd name="T40" fmla="*/ 12 w 504"/>
                <a:gd name="T41" fmla="*/ 10 h 468"/>
                <a:gd name="T42" fmla="*/ 12 w 504"/>
                <a:gd name="T43" fmla="*/ 11 h 468"/>
                <a:gd name="T44" fmla="*/ 14 w 504"/>
                <a:gd name="T45" fmla="*/ 8 h 468"/>
                <a:gd name="T46" fmla="*/ 15 w 504"/>
                <a:gd name="T47" fmla="*/ 7 h 468"/>
                <a:gd name="T48" fmla="*/ 17 w 504"/>
                <a:gd name="T49" fmla="*/ 6 h 468"/>
                <a:gd name="T50" fmla="*/ 19 w 504"/>
                <a:gd name="T51" fmla="*/ 3 h 468"/>
                <a:gd name="T52" fmla="*/ 20 w 504"/>
                <a:gd name="T53" fmla="*/ 2 h 468"/>
                <a:gd name="T54" fmla="*/ 22 w 504"/>
                <a:gd name="T55" fmla="*/ 1 h 468"/>
                <a:gd name="T56" fmla="*/ 27 w 504"/>
                <a:gd name="T57" fmla="*/ 1 h 468"/>
                <a:gd name="T58" fmla="*/ 30 w 504"/>
                <a:gd name="T59" fmla="*/ 2 h 468"/>
                <a:gd name="T60" fmla="*/ 31 w 504"/>
                <a:gd name="T61" fmla="*/ 2 h 468"/>
                <a:gd name="T62" fmla="*/ 34 w 504"/>
                <a:gd name="T63" fmla="*/ 0 h 468"/>
                <a:gd name="T64" fmla="*/ 37 w 504"/>
                <a:gd name="T65" fmla="*/ 1 h 468"/>
                <a:gd name="T66" fmla="*/ 41 w 504"/>
                <a:gd name="T67" fmla="*/ 2 h 468"/>
                <a:gd name="T68" fmla="*/ 42 w 504"/>
                <a:gd name="T69" fmla="*/ 4 h 468"/>
                <a:gd name="T70" fmla="*/ 42 w 504"/>
                <a:gd name="T71" fmla="*/ 10 h 468"/>
                <a:gd name="T72" fmla="*/ 41 w 504"/>
                <a:gd name="T73" fmla="*/ 14 h 468"/>
                <a:gd name="T74" fmla="*/ 42 w 504"/>
                <a:gd name="T75" fmla="*/ 15 h 468"/>
                <a:gd name="T76" fmla="*/ 44 w 504"/>
                <a:gd name="T77" fmla="*/ 18 h 468"/>
                <a:gd name="T78" fmla="*/ 43 w 504"/>
                <a:gd name="T79" fmla="*/ 19 h 468"/>
                <a:gd name="T80" fmla="*/ 42 w 504"/>
                <a:gd name="T81" fmla="*/ 21 h 468"/>
                <a:gd name="T82" fmla="*/ 42 w 504"/>
                <a:gd name="T83" fmla="*/ 23 h 468"/>
                <a:gd name="T84" fmla="*/ 39 w 504"/>
                <a:gd name="T85" fmla="*/ 27 h 468"/>
                <a:gd name="T86" fmla="*/ 38 w 504"/>
                <a:gd name="T87" fmla="*/ 29 h 468"/>
                <a:gd name="T88" fmla="*/ 38 w 504"/>
                <a:gd name="T89" fmla="*/ 31 h 468"/>
                <a:gd name="T90" fmla="*/ 36 w 504"/>
                <a:gd name="T91" fmla="*/ 32 h 468"/>
                <a:gd name="T92" fmla="*/ 35 w 504"/>
                <a:gd name="T93" fmla="*/ 34 h 468"/>
                <a:gd name="T94" fmla="*/ 34 w 504"/>
                <a:gd name="T95" fmla="*/ 38 h 46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04"/>
                <a:gd name="T145" fmla="*/ 0 h 468"/>
                <a:gd name="T146" fmla="*/ 504 w 504"/>
                <a:gd name="T147" fmla="*/ 468 h 46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04" h="468">
                  <a:moveTo>
                    <a:pt x="390" y="456"/>
                  </a:moveTo>
                  <a:lnTo>
                    <a:pt x="384" y="468"/>
                  </a:lnTo>
                  <a:lnTo>
                    <a:pt x="378" y="468"/>
                  </a:lnTo>
                  <a:lnTo>
                    <a:pt x="354" y="468"/>
                  </a:lnTo>
                  <a:lnTo>
                    <a:pt x="348" y="462"/>
                  </a:lnTo>
                  <a:lnTo>
                    <a:pt x="300" y="456"/>
                  </a:lnTo>
                  <a:lnTo>
                    <a:pt x="270" y="444"/>
                  </a:lnTo>
                  <a:lnTo>
                    <a:pt x="252" y="438"/>
                  </a:lnTo>
                  <a:lnTo>
                    <a:pt x="240" y="438"/>
                  </a:lnTo>
                  <a:lnTo>
                    <a:pt x="234" y="438"/>
                  </a:lnTo>
                  <a:lnTo>
                    <a:pt x="228" y="444"/>
                  </a:lnTo>
                  <a:lnTo>
                    <a:pt x="210" y="444"/>
                  </a:lnTo>
                  <a:lnTo>
                    <a:pt x="198" y="444"/>
                  </a:lnTo>
                  <a:lnTo>
                    <a:pt x="198" y="450"/>
                  </a:lnTo>
                  <a:lnTo>
                    <a:pt x="168" y="456"/>
                  </a:lnTo>
                  <a:lnTo>
                    <a:pt x="150" y="450"/>
                  </a:lnTo>
                  <a:lnTo>
                    <a:pt x="144" y="444"/>
                  </a:lnTo>
                  <a:lnTo>
                    <a:pt x="132" y="438"/>
                  </a:lnTo>
                  <a:lnTo>
                    <a:pt x="138" y="432"/>
                  </a:lnTo>
                  <a:lnTo>
                    <a:pt x="114" y="432"/>
                  </a:lnTo>
                  <a:lnTo>
                    <a:pt x="102" y="426"/>
                  </a:lnTo>
                  <a:lnTo>
                    <a:pt x="90" y="414"/>
                  </a:lnTo>
                  <a:lnTo>
                    <a:pt x="72" y="402"/>
                  </a:lnTo>
                  <a:lnTo>
                    <a:pt x="78" y="366"/>
                  </a:lnTo>
                  <a:lnTo>
                    <a:pt x="78" y="330"/>
                  </a:lnTo>
                  <a:lnTo>
                    <a:pt x="66" y="318"/>
                  </a:lnTo>
                  <a:lnTo>
                    <a:pt x="66" y="300"/>
                  </a:lnTo>
                  <a:lnTo>
                    <a:pt x="66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30" y="282"/>
                  </a:lnTo>
                  <a:lnTo>
                    <a:pt x="24" y="282"/>
                  </a:lnTo>
                  <a:lnTo>
                    <a:pt x="12" y="276"/>
                  </a:lnTo>
                  <a:lnTo>
                    <a:pt x="0" y="282"/>
                  </a:lnTo>
                  <a:lnTo>
                    <a:pt x="12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2" y="198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6" y="180"/>
                  </a:lnTo>
                  <a:lnTo>
                    <a:pt x="12" y="186"/>
                  </a:lnTo>
                  <a:lnTo>
                    <a:pt x="18" y="138"/>
                  </a:lnTo>
                  <a:lnTo>
                    <a:pt x="24" y="126"/>
                  </a:lnTo>
                  <a:lnTo>
                    <a:pt x="30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20" y="102"/>
                  </a:lnTo>
                  <a:lnTo>
                    <a:pt x="126" y="108"/>
                  </a:lnTo>
                  <a:lnTo>
                    <a:pt x="126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0"/>
                  </a:lnTo>
                  <a:lnTo>
                    <a:pt x="156" y="96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16" y="42"/>
                  </a:lnTo>
                  <a:lnTo>
                    <a:pt x="222" y="36"/>
                  </a:lnTo>
                  <a:lnTo>
                    <a:pt x="228" y="36"/>
                  </a:lnTo>
                  <a:lnTo>
                    <a:pt x="228" y="30"/>
                  </a:lnTo>
                  <a:lnTo>
                    <a:pt x="228" y="24"/>
                  </a:lnTo>
                  <a:lnTo>
                    <a:pt x="246" y="18"/>
                  </a:lnTo>
                  <a:lnTo>
                    <a:pt x="252" y="18"/>
                  </a:lnTo>
                  <a:lnTo>
                    <a:pt x="258" y="12"/>
                  </a:lnTo>
                  <a:lnTo>
                    <a:pt x="270" y="6"/>
                  </a:lnTo>
                  <a:lnTo>
                    <a:pt x="288" y="6"/>
                  </a:lnTo>
                  <a:lnTo>
                    <a:pt x="312" y="12"/>
                  </a:lnTo>
                  <a:lnTo>
                    <a:pt x="324" y="12"/>
                  </a:lnTo>
                  <a:lnTo>
                    <a:pt x="336" y="18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14" y="12"/>
                  </a:lnTo>
                  <a:lnTo>
                    <a:pt x="426" y="12"/>
                  </a:lnTo>
                  <a:lnTo>
                    <a:pt x="444" y="18"/>
                  </a:lnTo>
                  <a:lnTo>
                    <a:pt x="462" y="18"/>
                  </a:lnTo>
                  <a:lnTo>
                    <a:pt x="474" y="18"/>
                  </a:lnTo>
                  <a:lnTo>
                    <a:pt x="480" y="18"/>
                  </a:lnTo>
                  <a:lnTo>
                    <a:pt x="486" y="36"/>
                  </a:lnTo>
                  <a:lnTo>
                    <a:pt x="480" y="42"/>
                  </a:lnTo>
                  <a:lnTo>
                    <a:pt x="480" y="54"/>
                  </a:lnTo>
                  <a:lnTo>
                    <a:pt x="486" y="78"/>
                  </a:lnTo>
                  <a:lnTo>
                    <a:pt x="486" y="114"/>
                  </a:lnTo>
                  <a:lnTo>
                    <a:pt x="486" y="150"/>
                  </a:lnTo>
                  <a:lnTo>
                    <a:pt x="468" y="150"/>
                  </a:lnTo>
                  <a:lnTo>
                    <a:pt x="474" y="162"/>
                  </a:lnTo>
                  <a:lnTo>
                    <a:pt x="480" y="162"/>
                  </a:lnTo>
                  <a:lnTo>
                    <a:pt x="486" y="174"/>
                  </a:lnTo>
                  <a:lnTo>
                    <a:pt x="492" y="174"/>
                  </a:lnTo>
                  <a:lnTo>
                    <a:pt x="492" y="192"/>
                  </a:lnTo>
                  <a:lnTo>
                    <a:pt x="498" y="198"/>
                  </a:lnTo>
                  <a:lnTo>
                    <a:pt x="504" y="204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8" y="222"/>
                  </a:lnTo>
                  <a:lnTo>
                    <a:pt x="492" y="228"/>
                  </a:lnTo>
                  <a:lnTo>
                    <a:pt x="492" y="234"/>
                  </a:lnTo>
                  <a:lnTo>
                    <a:pt x="492" y="240"/>
                  </a:lnTo>
                  <a:lnTo>
                    <a:pt x="486" y="246"/>
                  </a:lnTo>
                  <a:lnTo>
                    <a:pt x="486" y="258"/>
                  </a:lnTo>
                  <a:lnTo>
                    <a:pt x="480" y="264"/>
                  </a:lnTo>
                  <a:lnTo>
                    <a:pt x="474" y="276"/>
                  </a:lnTo>
                  <a:lnTo>
                    <a:pt x="468" y="288"/>
                  </a:lnTo>
                  <a:lnTo>
                    <a:pt x="456" y="306"/>
                  </a:lnTo>
                  <a:lnTo>
                    <a:pt x="456" y="312"/>
                  </a:lnTo>
                  <a:lnTo>
                    <a:pt x="444" y="318"/>
                  </a:lnTo>
                  <a:lnTo>
                    <a:pt x="432" y="336"/>
                  </a:lnTo>
                  <a:lnTo>
                    <a:pt x="432" y="342"/>
                  </a:lnTo>
                  <a:lnTo>
                    <a:pt x="432" y="348"/>
                  </a:lnTo>
                  <a:lnTo>
                    <a:pt x="432" y="354"/>
                  </a:lnTo>
                  <a:lnTo>
                    <a:pt x="426" y="366"/>
                  </a:lnTo>
                  <a:lnTo>
                    <a:pt x="420" y="366"/>
                  </a:lnTo>
                  <a:lnTo>
                    <a:pt x="420" y="372"/>
                  </a:lnTo>
                  <a:lnTo>
                    <a:pt x="414" y="378"/>
                  </a:lnTo>
                  <a:lnTo>
                    <a:pt x="414" y="390"/>
                  </a:lnTo>
                  <a:lnTo>
                    <a:pt x="408" y="390"/>
                  </a:lnTo>
                  <a:lnTo>
                    <a:pt x="408" y="402"/>
                  </a:lnTo>
                  <a:lnTo>
                    <a:pt x="402" y="414"/>
                  </a:lnTo>
                  <a:lnTo>
                    <a:pt x="396" y="438"/>
                  </a:lnTo>
                  <a:lnTo>
                    <a:pt x="396" y="444"/>
                  </a:lnTo>
                  <a:lnTo>
                    <a:pt x="390" y="45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11" name="Freeform 7">
              <a:extLst>
                <a:ext uri="{FF2B5EF4-FFF2-40B4-BE49-F238E27FC236}">
                  <a16:creationId xmlns:a16="http://schemas.microsoft.com/office/drawing/2014/main" id="{0D8DE62D-4554-4314-9F3A-7208D89B4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90838" y="4128134"/>
              <a:ext cx="283995" cy="411516"/>
            </a:xfrm>
            <a:custGeom>
              <a:avLst/>
              <a:gdLst>
                <a:gd name="T0" fmla="*/ 39 w 534"/>
                <a:gd name="T1" fmla="*/ 35 h 774"/>
                <a:gd name="T2" fmla="*/ 35 w 534"/>
                <a:gd name="T3" fmla="*/ 31 h 774"/>
                <a:gd name="T4" fmla="*/ 32 w 534"/>
                <a:gd name="T5" fmla="*/ 29 h 774"/>
                <a:gd name="T6" fmla="*/ 32 w 534"/>
                <a:gd name="T7" fmla="*/ 31 h 774"/>
                <a:gd name="T8" fmla="*/ 29 w 534"/>
                <a:gd name="T9" fmla="*/ 33 h 774"/>
                <a:gd name="T10" fmla="*/ 27 w 534"/>
                <a:gd name="T11" fmla="*/ 36 h 774"/>
                <a:gd name="T12" fmla="*/ 30 w 534"/>
                <a:gd name="T13" fmla="*/ 38 h 774"/>
                <a:gd name="T14" fmla="*/ 29 w 534"/>
                <a:gd name="T15" fmla="*/ 40 h 774"/>
                <a:gd name="T16" fmla="*/ 25 w 534"/>
                <a:gd name="T17" fmla="*/ 40 h 774"/>
                <a:gd name="T18" fmla="*/ 23 w 534"/>
                <a:gd name="T19" fmla="*/ 42 h 774"/>
                <a:gd name="T20" fmla="*/ 22 w 534"/>
                <a:gd name="T21" fmla="*/ 47 h 774"/>
                <a:gd name="T22" fmla="*/ 22 w 534"/>
                <a:gd name="T23" fmla="*/ 51 h 774"/>
                <a:gd name="T24" fmla="*/ 22 w 534"/>
                <a:gd name="T25" fmla="*/ 54 h 774"/>
                <a:gd name="T26" fmla="*/ 21 w 534"/>
                <a:gd name="T27" fmla="*/ 56 h 774"/>
                <a:gd name="T28" fmla="*/ 19 w 534"/>
                <a:gd name="T29" fmla="*/ 58 h 774"/>
                <a:gd name="T30" fmla="*/ 20 w 534"/>
                <a:gd name="T31" fmla="*/ 59 h 774"/>
                <a:gd name="T32" fmla="*/ 19 w 534"/>
                <a:gd name="T33" fmla="*/ 62 h 774"/>
                <a:gd name="T34" fmla="*/ 19 w 534"/>
                <a:gd name="T35" fmla="*/ 64 h 774"/>
                <a:gd name="T36" fmla="*/ 20 w 534"/>
                <a:gd name="T37" fmla="*/ 66 h 774"/>
                <a:gd name="T38" fmla="*/ 17 w 534"/>
                <a:gd name="T39" fmla="*/ 66 h 774"/>
                <a:gd name="T40" fmla="*/ 16 w 534"/>
                <a:gd name="T41" fmla="*/ 65 h 774"/>
                <a:gd name="T42" fmla="*/ 13 w 534"/>
                <a:gd name="T43" fmla="*/ 65 h 774"/>
                <a:gd name="T44" fmla="*/ 11 w 534"/>
                <a:gd name="T45" fmla="*/ 65 h 774"/>
                <a:gd name="T46" fmla="*/ 8 w 534"/>
                <a:gd name="T47" fmla="*/ 65 h 774"/>
                <a:gd name="T48" fmla="*/ 8 w 534"/>
                <a:gd name="T49" fmla="*/ 64 h 774"/>
                <a:gd name="T50" fmla="*/ 5 w 534"/>
                <a:gd name="T51" fmla="*/ 65 h 774"/>
                <a:gd name="T52" fmla="*/ 3 w 534"/>
                <a:gd name="T53" fmla="*/ 65 h 774"/>
                <a:gd name="T54" fmla="*/ 0 w 534"/>
                <a:gd name="T55" fmla="*/ 64 h 774"/>
                <a:gd name="T56" fmla="*/ 0 w 534"/>
                <a:gd name="T57" fmla="*/ 62 h 774"/>
                <a:gd name="T58" fmla="*/ 3 w 534"/>
                <a:gd name="T59" fmla="*/ 60 h 774"/>
                <a:gd name="T60" fmla="*/ 6 w 534"/>
                <a:gd name="T61" fmla="*/ 57 h 774"/>
                <a:gd name="T62" fmla="*/ 8 w 534"/>
                <a:gd name="T63" fmla="*/ 50 h 774"/>
                <a:gd name="T64" fmla="*/ 6 w 534"/>
                <a:gd name="T65" fmla="*/ 45 h 774"/>
                <a:gd name="T66" fmla="*/ 8 w 534"/>
                <a:gd name="T67" fmla="*/ 41 h 774"/>
                <a:gd name="T68" fmla="*/ 9 w 534"/>
                <a:gd name="T69" fmla="*/ 38 h 774"/>
                <a:gd name="T70" fmla="*/ 10 w 534"/>
                <a:gd name="T71" fmla="*/ 36 h 774"/>
                <a:gd name="T72" fmla="*/ 12 w 534"/>
                <a:gd name="T73" fmla="*/ 33 h 774"/>
                <a:gd name="T74" fmla="*/ 14 w 534"/>
                <a:gd name="T75" fmla="*/ 29 h 774"/>
                <a:gd name="T76" fmla="*/ 16 w 534"/>
                <a:gd name="T77" fmla="*/ 26 h 774"/>
                <a:gd name="T78" fmla="*/ 16 w 534"/>
                <a:gd name="T79" fmla="*/ 24 h 774"/>
                <a:gd name="T80" fmla="*/ 16 w 534"/>
                <a:gd name="T81" fmla="*/ 21 h 774"/>
                <a:gd name="T82" fmla="*/ 13 w 534"/>
                <a:gd name="T83" fmla="*/ 19 h 774"/>
                <a:gd name="T84" fmla="*/ 14 w 534"/>
                <a:gd name="T85" fmla="*/ 10 h 774"/>
                <a:gd name="T86" fmla="*/ 14 w 534"/>
                <a:gd name="T87" fmla="*/ 7 h 774"/>
                <a:gd name="T88" fmla="*/ 8 w 534"/>
                <a:gd name="T89" fmla="*/ 7 h 774"/>
                <a:gd name="T90" fmla="*/ 7 w 534"/>
                <a:gd name="T91" fmla="*/ 3 h 774"/>
                <a:gd name="T92" fmla="*/ 11 w 534"/>
                <a:gd name="T93" fmla="*/ 1 h 774"/>
                <a:gd name="T94" fmla="*/ 12 w 534"/>
                <a:gd name="T95" fmla="*/ 0 h 774"/>
                <a:gd name="T96" fmla="*/ 16 w 534"/>
                <a:gd name="T97" fmla="*/ 2 h 774"/>
                <a:gd name="T98" fmla="*/ 20 w 534"/>
                <a:gd name="T99" fmla="*/ 2 h 774"/>
                <a:gd name="T100" fmla="*/ 23 w 534"/>
                <a:gd name="T101" fmla="*/ 3 h 774"/>
                <a:gd name="T102" fmla="*/ 23 w 534"/>
                <a:gd name="T103" fmla="*/ 10 h 774"/>
                <a:gd name="T104" fmla="*/ 29 w 534"/>
                <a:gd name="T105" fmla="*/ 12 h 774"/>
                <a:gd name="T106" fmla="*/ 35 w 534"/>
                <a:gd name="T107" fmla="*/ 12 h 774"/>
                <a:gd name="T108" fmla="*/ 38 w 534"/>
                <a:gd name="T109" fmla="*/ 17 h 774"/>
                <a:gd name="T110" fmla="*/ 40 w 534"/>
                <a:gd name="T111" fmla="*/ 19 h 774"/>
                <a:gd name="T112" fmla="*/ 44 w 534"/>
                <a:gd name="T113" fmla="*/ 23 h 774"/>
                <a:gd name="T114" fmla="*/ 44 w 534"/>
                <a:gd name="T115" fmla="*/ 30 h 774"/>
                <a:gd name="T116" fmla="*/ 46 w 534"/>
                <a:gd name="T117" fmla="*/ 36 h 774"/>
                <a:gd name="T118" fmla="*/ 41 w 534"/>
                <a:gd name="T119" fmla="*/ 37 h 77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34"/>
                <a:gd name="T181" fmla="*/ 0 h 774"/>
                <a:gd name="T182" fmla="*/ 534 w 534"/>
                <a:gd name="T183" fmla="*/ 774 h 77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34" h="774">
                  <a:moveTo>
                    <a:pt x="462" y="426"/>
                  </a:moveTo>
                  <a:lnTo>
                    <a:pt x="462" y="414"/>
                  </a:lnTo>
                  <a:lnTo>
                    <a:pt x="450" y="402"/>
                  </a:lnTo>
                  <a:lnTo>
                    <a:pt x="444" y="396"/>
                  </a:lnTo>
                  <a:lnTo>
                    <a:pt x="420" y="396"/>
                  </a:lnTo>
                  <a:lnTo>
                    <a:pt x="408" y="390"/>
                  </a:lnTo>
                  <a:lnTo>
                    <a:pt x="402" y="366"/>
                  </a:lnTo>
                  <a:lnTo>
                    <a:pt x="390" y="354"/>
                  </a:lnTo>
                  <a:lnTo>
                    <a:pt x="384" y="336"/>
                  </a:lnTo>
                  <a:lnTo>
                    <a:pt x="378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8" y="348"/>
                  </a:lnTo>
                  <a:lnTo>
                    <a:pt x="360" y="354"/>
                  </a:lnTo>
                  <a:lnTo>
                    <a:pt x="360" y="390"/>
                  </a:lnTo>
                  <a:lnTo>
                    <a:pt x="348" y="390"/>
                  </a:lnTo>
                  <a:lnTo>
                    <a:pt x="342" y="384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90"/>
                  </a:lnTo>
                  <a:lnTo>
                    <a:pt x="312" y="402"/>
                  </a:lnTo>
                  <a:lnTo>
                    <a:pt x="306" y="420"/>
                  </a:lnTo>
                  <a:lnTo>
                    <a:pt x="324" y="414"/>
                  </a:lnTo>
                  <a:lnTo>
                    <a:pt x="330" y="414"/>
                  </a:lnTo>
                  <a:lnTo>
                    <a:pt x="336" y="420"/>
                  </a:lnTo>
                  <a:lnTo>
                    <a:pt x="336" y="432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6"/>
                  </a:lnTo>
                  <a:lnTo>
                    <a:pt x="318" y="456"/>
                  </a:lnTo>
                  <a:lnTo>
                    <a:pt x="300" y="456"/>
                  </a:lnTo>
                  <a:lnTo>
                    <a:pt x="288" y="462"/>
                  </a:lnTo>
                  <a:lnTo>
                    <a:pt x="276" y="462"/>
                  </a:lnTo>
                  <a:lnTo>
                    <a:pt x="270" y="462"/>
                  </a:lnTo>
                  <a:lnTo>
                    <a:pt x="270" y="468"/>
                  </a:lnTo>
                  <a:lnTo>
                    <a:pt x="252" y="468"/>
                  </a:lnTo>
                  <a:lnTo>
                    <a:pt x="258" y="480"/>
                  </a:lnTo>
                  <a:lnTo>
                    <a:pt x="258" y="492"/>
                  </a:lnTo>
                  <a:lnTo>
                    <a:pt x="258" y="498"/>
                  </a:lnTo>
                  <a:lnTo>
                    <a:pt x="258" y="510"/>
                  </a:lnTo>
                  <a:lnTo>
                    <a:pt x="252" y="540"/>
                  </a:lnTo>
                  <a:lnTo>
                    <a:pt x="246" y="564"/>
                  </a:lnTo>
                  <a:lnTo>
                    <a:pt x="246" y="570"/>
                  </a:lnTo>
                  <a:lnTo>
                    <a:pt x="252" y="576"/>
                  </a:lnTo>
                  <a:lnTo>
                    <a:pt x="246" y="582"/>
                  </a:lnTo>
                  <a:lnTo>
                    <a:pt x="252" y="600"/>
                  </a:lnTo>
                  <a:lnTo>
                    <a:pt x="258" y="606"/>
                  </a:lnTo>
                  <a:lnTo>
                    <a:pt x="258" y="612"/>
                  </a:lnTo>
                  <a:lnTo>
                    <a:pt x="252" y="618"/>
                  </a:lnTo>
                  <a:lnTo>
                    <a:pt x="246" y="624"/>
                  </a:lnTo>
                  <a:lnTo>
                    <a:pt x="246" y="630"/>
                  </a:lnTo>
                  <a:lnTo>
                    <a:pt x="246" y="636"/>
                  </a:lnTo>
                  <a:lnTo>
                    <a:pt x="240" y="642"/>
                  </a:lnTo>
                  <a:lnTo>
                    <a:pt x="234" y="654"/>
                  </a:lnTo>
                  <a:lnTo>
                    <a:pt x="228" y="654"/>
                  </a:lnTo>
                  <a:lnTo>
                    <a:pt x="222" y="660"/>
                  </a:lnTo>
                  <a:lnTo>
                    <a:pt x="216" y="666"/>
                  </a:lnTo>
                  <a:lnTo>
                    <a:pt x="210" y="666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22" y="684"/>
                  </a:lnTo>
                  <a:lnTo>
                    <a:pt x="222" y="690"/>
                  </a:lnTo>
                  <a:lnTo>
                    <a:pt x="222" y="696"/>
                  </a:lnTo>
                  <a:lnTo>
                    <a:pt x="222" y="702"/>
                  </a:lnTo>
                  <a:lnTo>
                    <a:pt x="216" y="708"/>
                  </a:lnTo>
                  <a:lnTo>
                    <a:pt x="210" y="720"/>
                  </a:lnTo>
                  <a:lnTo>
                    <a:pt x="216" y="732"/>
                  </a:lnTo>
                  <a:lnTo>
                    <a:pt x="210" y="732"/>
                  </a:lnTo>
                  <a:lnTo>
                    <a:pt x="216" y="738"/>
                  </a:lnTo>
                  <a:lnTo>
                    <a:pt x="216" y="744"/>
                  </a:lnTo>
                  <a:lnTo>
                    <a:pt x="222" y="750"/>
                  </a:lnTo>
                  <a:lnTo>
                    <a:pt x="228" y="756"/>
                  </a:lnTo>
                  <a:lnTo>
                    <a:pt x="222" y="762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04" y="762"/>
                  </a:lnTo>
                  <a:lnTo>
                    <a:pt x="198" y="762"/>
                  </a:lnTo>
                  <a:lnTo>
                    <a:pt x="192" y="762"/>
                  </a:lnTo>
                  <a:lnTo>
                    <a:pt x="186" y="756"/>
                  </a:lnTo>
                  <a:lnTo>
                    <a:pt x="180" y="750"/>
                  </a:lnTo>
                  <a:lnTo>
                    <a:pt x="180" y="744"/>
                  </a:lnTo>
                  <a:lnTo>
                    <a:pt x="174" y="744"/>
                  </a:lnTo>
                  <a:lnTo>
                    <a:pt x="156" y="750"/>
                  </a:lnTo>
                  <a:lnTo>
                    <a:pt x="150" y="750"/>
                  </a:lnTo>
                  <a:lnTo>
                    <a:pt x="144" y="750"/>
                  </a:lnTo>
                  <a:lnTo>
                    <a:pt x="138" y="750"/>
                  </a:lnTo>
                  <a:lnTo>
                    <a:pt x="138" y="744"/>
                  </a:lnTo>
                  <a:lnTo>
                    <a:pt x="132" y="744"/>
                  </a:lnTo>
                  <a:lnTo>
                    <a:pt x="120" y="744"/>
                  </a:lnTo>
                  <a:lnTo>
                    <a:pt x="114" y="738"/>
                  </a:lnTo>
                  <a:lnTo>
                    <a:pt x="108" y="744"/>
                  </a:lnTo>
                  <a:lnTo>
                    <a:pt x="102" y="744"/>
                  </a:lnTo>
                  <a:lnTo>
                    <a:pt x="96" y="744"/>
                  </a:lnTo>
                  <a:lnTo>
                    <a:pt x="96" y="738"/>
                  </a:lnTo>
                  <a:lnTo>
                    <a:pt x="96" y="744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44"/>
                  </a:lnTo>
                  <a:lnTo>
                    <a:pt x="72" y="750"/>
                  </a:lnTo>
                  <a:lnTo>
                    <a:pt x="66" y="750"/>
                  </a:lnTo>
                  <a:lnTo>
                    <a:pt x="60" y="750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0"/>
                  </a:lnTo>
                  <a:lnTo>
                    <a:pt x="30" y="750"/>
                  </a:lnTo>
                  <a:lnTo>
                    <a:pt x="24" y="744"/>
                  </a:lnTo>
                  <a:lnTo>
                    <a:pt x="18" y="738"/>
                  </a:lnTo>
                  <a:lnTo>
                    <a:pt x="6" y="738"/>
                  </a:lnTo>
                  <a:lnTo>
                    <a:pt x="0" y="732"/>
                  </a:lnTo>
                  <a:lnTo>
                    <a:pt x="0" y="726"/>
                  </a:lnTo>
                  <a:lnTo>
                    <a:pt x="0" y="720"/>
                  </a:lnTo>
                  <a:lnTo>
                    <a:pt x="6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8" y="702"/>
                  </a:lnTo>
                  <a:lnTo>
                    <a:pt x="24" y="696"/>
                  </a:lnTo>
                  <a:lnTo>
                    <a:pt x="30" y="696"/>
                  </a:lnTo>
                  <a:lnTo>
                    <a:pt x="48" y="690"/>
                  </a:lnTo>
                  <a:lnTo>
                    <a:pt x="54" y="678"/>
                  </a:lnTo>
                  <a:lnTo>
                    <a:pt x="66" y="672"/>
                  </a:lnTo>
                  <a:lnTo>
                    <a:pt x="66" y="654"/>
                  </a:lnTo>
                  <a:lnTo>
                    <a:pt x="72" y="636"/>
                  </a:lnTo>
                  <a:lnTo>
                    <a:pt x="72" y="612"/>
                  </a:lnTo>
                  <a:lnTo>
                    <a:pt x="84" y="594"/>
                  </a:lnTo>
                  <a:lnTo>
                    <a:pt x="90" y="576"/>
                  </a:lnTo>
                  <a:lnTo>
                    <a:pt x="96" y="552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72" y="522"/>
                  </a:lnTo>
                  <a:lnTo>
                    <a:pt x="78" y="510"/>
                  </a:lnTo>
                  <a:lnTo>
                    <a:pt x="78" y="504"/>
                  </a:lnTo>
                  <a:lnTo>
                    <a:pt x="84" y="480"/>
                  </a:lnTo>
                  <a:lnTo>
                    <a:pt x="90" y="468"/>
                  </a:lnTo>
                  <a:lnTo>
                    <a:pt x="90" y="456"/>
                  </a:lnTo>
                  <a:lnTo>
                    <a:pt x="96" y="456"/>
                  </a:lnTo>
                  <a:lnTo>
                    <a:pt x="96" y="444"/>
                  </a:lnTo>
                  <a:lnTo>
                    <a:pt x="102" y="438"/>
                  </a:lnTo>
                  <a:lnTo>
                    <a:pt x="102" y="432"/>
                  </a:lnTo>
                  <a:lnTo>
                    <a:pt x="108" y="432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14" y="408"/>
                  </a:lnTo>
                  <a:lnTo>
                    <a:pt x="114" y="402"/>
                  </a:lnTo>
                  <a:lnTo>
                    <a:pt x="126" y="384"/>
                  </a:lnTo>
                  <a:lnTo>
                    <a:pt x="138" y="378"/>
                  </a:lnTo>
                  <a:lnTo>
                    <a:pt x="138" y="372"/>
                  </a:lnTo>
                  <a:lnTo>
                    <a:pt x="150" y="354"/>
                  </a:lnTo>
                  <a:lnTo>
                    <a:pt x="156" y="342"/>
                  </a:lnTo>
                  <a:lnTo>
                    <a:pt x="162" y="330"/>
                  </a:lnTo>
                  <a:lnTo>
                    <a:pt x="168" y="324"/>
                  </a:lnTo>
                  <a:lnTo>
                    <a:pt x="168" y="312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74" y="294"/>
                  </a:lnTo>
                  <a:lnTo>
                    <a:pt x="180" y="288"/>
                  </a:lnTo>
                  <a:lnTo>
                    <a:pt x="180" y="276"/>
                  </a:lnTo>
                  <a:lnTo>
                    <a:pt x="186" y="276"/>
                  </a:lnTo>
                  <a:lnTo>
                    <a:pt x="186" y="270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40"/>
                  </a:lnTo>
                  <a:lnTo>
                    <a:pt x="168" y="240"/>
                  </a:lnTo>
                  <a:lnTo>
                    <a:pt x="162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68" y="216"/>
                  </a:lnTo>
                  <a:lnTo>
                    <a:pt x="168" y="180"/>
                  </a:lnTo>
                  <a:lnTo>
                    <a:pt x="168" y="144"/>
                  </a:lnTo>
                  <a:lnTo>
                    <a:pt x="162" y="120"/>
                  </a:lnTo>
                  <a:lnTo>
                    <a:pt x="162" y="108"/>
                  </a:lnTo>
                  <a:lnTo>
                    <a:pt x="168" y="102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44" y="84"/>
                  </a:lnTo>
                  <a:lnTo>
                    <a:pt x="126" y="84"/>
                  </a:lnTo>
                  <a:lnTo>
                    <a:pt x="108" y="78"/>
                  </a:lnTo>
                  <a:lnTo>
                    <a:pt x="96" y="78"/>
                  </a:lnTo>
                  <a:lnTo>
                    <a:pt x="78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8" y="36"/>
                  </a:lnTo>
                  <a:lnTo>
                    <a:pt x="96" y="24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56" y="0"/>
                  </a:lnTo>
                  <a:lnTo>
                    <a:pt x="156" y="6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18"/>
                  </a:lnTo>
                  <a:lnTo>
                    <a:pt x="198" y="18"/>
                  </a:lnTo>
                  <a:lnTo>
                    <a:pt x="210" y="18"/>
                  </a:lnTo>
                  <a:lnTo>
                    <a:pt x="222" y="18"/>
                  </a:lnTo>
                  <a:lnTo>
                    <a:pt x="234" y="12"/>
                  </a:lnTo>
                  <a:lnTo>
                    <a:pt x="252" y="18"/>
                  </a:lnTo>
                  <a:lnTo>
                    <a:pt x="252" y="24"/>
                  </a:lnTo>
                  <a:lnTo>
                    <a:pt x="258" y="36"/>
                  </a:lnTo>
                  <a:lnTo>
                    <a:pt x="258" y="66"/>
                  </a:lnTo>
                  <a:lnTo>
                    <a:pt x="252" y="84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82" y="126"/>
                  </a:lnTo>
                  <a:lnTo>
                    <a:pt x="294" y="132"/>
                  </a:lnTo>
                  <a:lnTo>
                    <a:pt x="306" y="138"/>
                  </a:lnTo>
                  <a:lnTo>
                    <a:pt x="324" y="138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60" y="144"/>
                  </a:lnTo>
                  <a:lnTo>
                    <a:pt x="396" y="144"/>
                  </a:lnTo>
                  <a:lnTo>
                    <a:pt x="408" y="150"/>
                  </a:lnTo>
                  <a:lnTo>
                    <a:pt x="414" y="180"/>
                  </a:lnTo>
                  <a:lnTo>
                    <a:pt x="420" y="186"/>
                  </a:lnTo>
                  <a:lnTo>
                    <a:pt x="426" y="192"/>
                  </a:lnTo>
                  <a:lnTo>
                    <a:pt x="426" y="198"/>
                  </a:lnTo>
                  <a:lnTo>
                    <a:pt x="432" y="198"/>
                  </a:lnTo>
                  <a:lnTo>
                    <a:pt x="438" y="210"/>
                  </a:lnTo>
                  <a:lnTo>
                    <a:pt x="450" y="216"/>
                  </a:lnTo>
                  <a:lnTo>
                    <a:pt x="468" y="228"/>
                  </a:lnTo>
                  <a:lnTo>
                    <a:pt x="492" y="234"/>
                  </a:lnTo>
                  <a:lnTo>
                    <a:pt x="492" y="246"/>
                  </a:lnTo>
                  <a:lnTo>
                    <a:pt x="492" y="270"/>
                  </a:lnTo>
                  <a:lnTo>
                    <a:pt x="486" y="294"/>
                  </a:lnTo>
                  <a:lnTo>
                    <a:pt x="486" y="312"/>
                  </a:lnTo>
                  <a:lnTo>
                    <a:pt x="486" y="330"/>
                  </a:lnTo>
                  <a:lnTo>
                    <a:pt x="492" y="348"/>
                  </a:lnTo>
                  <a:lnTo>
                    <a:pt x="498" y="360"/>
                  </a:lnTo>
                  <a:lnTo>
                    <a:pt x="510" y="366"/>
                  </a:lnTo>
                  <a:lnTo>
                    <a:pt x="516" y="384"/>
                  </a:lnTo>
                  <a:lnTo>
                    <a:pt x="522" y="414"/>
                  </a:lnTo>
                  <a:lnTo>
                    <a:pt x="528" y="414"/>
                  </a:lnTo>
                  <a:lnTo>
                    <a:pt x="534" y="426"/>
                  </a:lnTo>
                  <a:lnTo>
                    <a:pt x="528" y="432"/>
                  </a:lnTo>
                  <a:lnTo>
                    <a:pt x="468" y="426"/>
                  </a:lnTo>
                  <a:lnTo>
                    <a:pt x="462" y="4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3" name="Freeform 8">
              <a:extLst>
                <a:ext uri="{FF2B5EF4-FFF2-40B4-BE49-F238E27FC236}">
                  <a16:creationId xmlns:a16="http://schemas.microsoft.com/office/drawing/2014/main" id="{D473457C-872E-4E31-888A-D60FD52063A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98175" y="4307054"/>
              <a:ext cx="295177" cy="348894"/>
            </a:xfrm>
            <a:custGeom>
              <a:avLst/>
              <a:gdLst>
                <a:gd name="T0" fmla="*/ 3 w 552"/>
                <a:gd name="T1" fmla="*/ 46 h 660"/>
                <a:gd name="T2" fmla="*/ 4 w 552"/>
                <a:gd name="T3" fmla="*/ 42 h 660"/>
                <a:gd name="T4" fmla="*/ 2 w 552"/>
                <a:gd name="T5" fmla="*/ 38 h 660"/>
                <a:gd name="T6" fmla="*/ 0 w 552"/>
                <a:gd name="T7" fmla="*/ 34 h 660"/>
                <a:gd name="T8" fmla="*/ 2 w 552"/>
                <a:gd name="T9" fmla="*/ 30 h 660"/>
                <a:gd name="T10" fmla="*/ 3 w 552"/>
                <a:gd name="T11" fmla="*/ 27 h 660"/>
                <a:gd name="T12" fmla="*/ 5 w 552"/>
                <a:gd name="T13" fmla="*/ 23 h 660"/>
                <a:gd name="T14" fmla="*/ 5 w 552"/>
                <a:gd name="T15" fmla="*/ 15 h 660"/>
                <a:gd name="T16" fmla="*/ 6 w 552"/>
                <a:gd name="T17" fmla="*/ 11 h 660"/>
                <a:gd name="T18" fmla="*/ 11 w 552"/>
                <a:gd name="T19" fmla="*/ 9 h 660"/>
                <a:gd name="T20" fmla="*/ 10 w 552"/>
                <a:gd name="T21" fmla="*/ 5 h 660"/>
                <a:gd name="T22" fmla="*/ 12 w 552"/>
                <a:gd name="T23" fmla="*/ 1 h 660"/>
                <a:gd name="T24" fmla="*/ 16 w 552"/>
                <a:gd name="T25" fmla="*/ 2 h 660"/>
                <a:gd name="T26" fmla="*/ 23 w 552"/>
                <a:gd name="T27" fmla="*/ 8 h 660"/>
                <a:gd name="T28" fmla="*/ 23 w 552"/>
                <a:gd name="T29" fmla="*/ 11 h 660"/>
                <a:gd name="T30" fmla="*/ 27 w 552"/>
                <a:gd name="T31" fmla="*/ 12 h 660"/>
                <a:gd name="T32" fmla="*/ 29 w 552"/>
                <a:gd name="T33" fmla="*/ 17 h 660"/>
                <a:gd name="T34" fmla="*/ 31 w 552"/>
                <a:gd name="T35" fmla="*/ 15 h 660"/>
                <a:gd name="T36" fmla="*/ 33 w 552"/>
                <a:gd name="T37" fmla="*/ 17 h 660"/>
                <a:gd name="T38" fmla="*/ 36 w 552"/>
                <a:gd name="T39" fmla="*/ 23 h 660"/>
                <a:gd name="T40" fmla="*/ 41 w 552"/>
                <a:gd name="T41" fmla="*/ 33 h 660"/>
                <a:gd name="T42" fmla="*/ 43 w 552"/>
                <a:gd name="T43" fmla="*/ 36 h 660"/>
                <a:gd name="T44" fmla="*/ 43 w 552"/>
                <a:gd name="T45" fmla="*/ 37 h 660"/>
                <a:gd name="T46" fmla="*/ 41 w 552"/>
                <a:gd name="T47" fmla="*/ 35 h 660"/>
                <a:gd name="T48" fmla="*/ 43 w 552"/>
                <a:gd name="T49" fmla="*/ 37 h 660"/>
                <a:gd name="T50" fmla="*/ 44 w 552"/>
                <a:gd name="T51" fmla="*/ 39 h 660"/>
                <a:gd name="T52" fmla="*/ 47 w 552"/>
                <a:gd name="T53" fmla="*/ 41 h 660"/>
                <a:gd name="T54" fmla="*/ 47 w 552"/>
                <a:gd name="T55" fmla="*/ 44 h 660"/>
                <a:gd name="T56" fmla="*/ 48 w 552"/>
                <a:gd name="T57" fmla="*/ 46 h 660"/>
                <a:gd name="T58" fmla="*/ 47 w 552"/>
                <a:gd name="T59" fmla="*/ 46 h 660"/>
                <a:gd name="T60" fmla="*/ 44 w 552"/>
                <a:gd name="T61" fmla="*/ 46 h 660"/>
                <a:gd name="T62" fmla="*/ 47 w 552"/>
                <a:gd name="T63" fmla="*/ 47 h 660"/>
                <a:gd name="T64" fmla="*/ 47 w 552"/>
                <a:gd name="T65" fmla="*/ 49 h 660"/>
                <a:gd name="T66" fmla="*/ 47 w 552"/>
                <a:gd name="T67" fmla="*/ 52 h 660"/>
                <a:gd name="T68" fmla="*/ 46 w 552"/>
                <a:gd name="T69" fmla="*/ 53 h 660"/>
                <a:gd name="T70" fmla="*/ 43 w 552"/>
                <a:gd name="T71" fmla="*/ 54 h 660"/>
                <a:gd name="T72" fmla="*/ 37 w 552"/>
                <a:gd name="T73" fmla="*/ 54 h 660"/>
                <a:gd name="T74" fmla="*/ 30 w 552"/>
                <a:gd name="T75" fmla="*/ 54 h 660"/>
                <a:gd name="T76" fmla="*/ 29 w 552"/>
                <a:gd name="T77" fmla="*/ 53 h 660"/>
                <a:gd name="T78" fmla="*/ 27 w 552"/>
                <a:gd name="T79" fmla="*/ 53 h 660"/>
                <a:gd name="T80" fmla="*/ 29 w 552"/>
                <a:gd name="T81" fmla="*/ 53 h 660"/>
                <a:gd name="T82" fmla="*/ 28 w 552"/>
                <a:gd name="T83" fmla="*/ 54 h 660"/>
                <a:gd name="T84" fmla="*/ 24 w 552"/>
                <a:gd name="T85" fmla="*/ 54 h 660"/>
                <a:gd name="T86" fmla="*/ 20 w 552"/>
                <a:gd name="T87" fmla="*/ 55 h 660"/>
                <a:gd name="T88" fmla="*/ 15 w 552"/>
                <a:gd name="T89" fmla="*/ 56 h 660"/>
                <a:gd name="T90" fmla="*/ 12 w 552"/>
                <a:gd name="T91" fmla="*/ 56 h 660"/>
                <a:gd name="T92" fmla="*/ 11 w 552"/>
                <a:gd name="T93" fmla="*/ 57 h 660"/>
                <a:gd name="T94" fmla="*/ 9 w 552"/>
                <a:gd name="T95" fmla="*/ 57 h 660"/>
                <a:gd name="T96" fmla="*/ 7 w 552"/>
                <a:gd name="T97" fmla="*/ 56 h 660"/>
                <a:gd name="T98" fmla="*/ 5 w 552"/>
                <a:gd name="T99" fmla="*/ 55 h 660"/>
                <a:gd name="T100" fmla="*/ 7 w 552"/>
                <a:gd name="T101" fmla="*/ 54 h 660"/>
                <a:gd name="T102" fmla="*/ 5 w 552"/>
                <a:gd name="T103" fmla="*/ 54 h 660"/>
                <a:gd name="T104" fmla="*/ 5 w 552"/>
                <a:gd name="T105" fmla="*/ 53 h 660"/>
                <a:gd name="T106" fmla="*/ 4 w 552"/>
                <a:gd name="T107" fmla="*/ 49 h 660"/>
                <a:gd name="T108" fmla="*/ 45 w 552"/>
                <a:gd name="T109" fmla="*/ 38 h 66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52"/>
                <a:gd name="T166" fmla="*/ 0 h 660"/>
                <a:gd name="T167" fmla="*/ 552 w 552"/>
                <a:gd name="T168" fmla="*/ 660 h 66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52" h="660">
                  <a:moveTo>
                    <a:pt x="36" y="564"/>
                  </a:moveTo>
                  <a:lnTo>
                    <a:pt x="36" y="558"/>
                  </a:lnTo>
                  <a:lnTo>
                    <a:pt x="36" y="552"/>
                  </a:lnTo>
                  <a:lnTo>
                    <a:pt x="42" y="546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34"/>
                  </a:lnTo>
                  <a:lnTo>
                    <a:pt x="36" y="528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54" y="510"/>
                  </a:lnTo>
                  <a:lnTo>
                    <a:pt x="54" y="504"/>
                  </a:lnTo>
                  <a:lnTo>
                    <a:pt x="54" y="498"/>
                  </a:lnTo>
                  <a:lnTo>
                    <a:pt x="48" y="492"/>
                  </a:lnTo>
                  <a:lnTo>
                    <a:pt x="42" y="486"/>
                  </a:lnTo>
                  <a:lnTo>
                    <a:pt x="42" y="480"/>
                  </a:lnTo>
                  <a:lnTo>
                    <a:pt x="42" y="468"/>
                  </a:lnTo>
                  <a:lnTo>
                    <a:pt x="30" y="456"/>
                  </a:lnTo>
                  <a:lnTo>
                    <a:pt x="30" y="450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2"/>
                  </a:lnTo>
                  <a:lnTo>
                    <a:pt x="18" y="426"/>
                  </a:lnTo>
                  <a:lnTo>
                    <a:pt x="24" y="420"/>
                  </a:lnTo>
                  <a:lnTo>
                    <a:pt x="18" y="414"/>
                  </a:lnTo>
                  <a:lnTo>
                    <a:pt x="12" y="408"/>
                  </a:lnTo>
                  <a:lnTo>
                    <a:pt x="12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6" y="384"/>
                  </a:lnTo>
                  <a:lnTo>
                    <a:pt x="12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8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36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54" y="270"/>
                  </a:lnTo>
                  <a:lnTo>
                    <a:pt x="48" y="264"/>
                  </a:lnTo>
                  <a:lnTo>
                    <a:pt x="42" y="246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8" y="204"/>
                  </a:lnTo>
                  <a:lnTo>
                    <a:pt x="54" y="174"/>
                  </a:lnTo>
                  <a:lnTo>
                    <a:pt x="54" y="162"/>
                  </a:lnTo>
                  <a:lnTo>
                    <a:pt x="54" y="156"/>
                  </a:lnTo>
                  <a:lnTo>
                    <a:pt x="54" y="144"/>
                  </a:lnTo>
                  <a:lnTo>
                    <a:pt x="48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72" y="126"/>
                  </a:lnTo>
                  <a:lnTo>
                    <a:pt x="84" y="126"/>
                  </a:lnTo>
                  <a:lnTo>
                    <a:pt x="96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2" y="84"/>
                  </a:lnTo>
                  <a:lnTo>
                    <a:pt x="126" y="78"/>
                  </a:lnTo>
                  <a:lnTo>
                    <a:pt x="120" y="78"/>
                  </a:lnTo>
                  <a:lnTo>
                    <a:pt x="102" y="84"/>
                  </a:lnTo>
                  <a:lnTo>
                    <a:pt x="108" y="66"/>
                  </a:lnTo>
                  <a:lnTo>
                    <a:pt x="114" y="54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8" y="4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6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74" y="0"/>
                  </a:lnTo>
                  <a:lnTo>
                    <a:pt x="180" y="0"/>
                  </a:lnTo>
                  <a:lnTo>
                    <a:pt x="186" y="18"/>
                  </a:lnTo>
                  <a:lnTo>
                    <a:pt x="198" y="30"/>
                  </a:lnTo>
                  <a:lnTo>
                    <a:pt x="204" y="54"/>
                  </a:lnTo>
                  <a:lnTo>
                    <a:pt x="216" y="60"/>
                  </a:lnTo>
                  <a:lnTo>
                    <a:pt x="240" y="60"/>
                  </a:lnTo>
                  <a:lnTo>
                    <a:pt x="246" y="66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2" y="120"/>
                  </a:lnTo>
                  <a:lnTo>
                    <a:pt x="25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6" y="126"/>
                  </a:lnTo>
                  <a:lnTo>
                    <a:pt x="282" y="120"/>
                  </a:lnTo>
                  <a:lnTo>
                    <a:pt x="282" y="126"/>
                  </a:lnTo>
                  <a:lnTo>
                    <a:pt x="294" y="126"/>
                  </a:lnTo>
                  <a:lnTo>
                    <a:pt x="300" y="132"/>
                  </a:lnTo>
                  <a:lnTo>
                    <a:pt x="306" y="144"/>
                  </a:lnTo>
                  <a:lnTo>
                    <a:pt x="312" y="144"/>
                  </a:lnTo>
                  <a:lnTo>
                    <a:pt x="312" y="150"/>
                  </a:lnTo>
                  <a:lnTo>
                    <a:pt x="312" y="162"/>
                  </a:lnTo>
                  <a:lnTo>
                    <a:pt x="312" y="174"/>
                  </a:lnTo>
                  <a:lnTo>
                    <a:pt x="324" y="180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30" y="192"/>
                  </a:lnTo>
                  <a:lnTo>
                    <a:pt x="336" y="198"/>
                  </a:lnTo>
                  <a:lnTo>
                    <a:pt x="342" y="192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54" y="180"/>
                  </a:lnTo>
                  <a:lnTo>
                    <a:pt x="354" y="174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84" y="192"/>
                  </a:lnTo>
                  <a:lnTo>
                    <a:pt x="390" y="204"/>
                  </a:lnTo>
                  <a:lnTo>
                    <a:pt x="390" y="210"/>
                  </a:lnTo>
                  <a:lnTo>
                    <a:pt x="390" y="216"/>
                  </a:lnTo>
                  <a:lnTo>
                    <a:pt x="384" y="234"/>
                  </a:lnTo>
                  <a:lnTo>
                    <a:pt x="390" y="240"/>
                  </a:lnTo>
                  <a:lnTo>
                    <a:pt x="408" y="252"/>
                  </a:lnTo>
                  <a:lnTo>
                    <a:pt x="414" y="264"/>
                  </a:lnTo>
                  <a:lnTo>
                    <a:pt x="408" y="300"/>
                  </a:lnTo>
                  <a:lnTo>
                    <a:pt x="414" y="312"/>
                  </a:lnTo>
                  <a:lnTo>
                    <a:pt x="426" y="336"/>
                  </a:lnTo>
                  <a:lnTo>
                    <a:pt x="438" y="354"/>
                  </a:lnTo>
                  <a:lnTo>
                    <a:pt x="444" y="366"/>
                  </a:lnTo>
                  <a:lnTo>
                    <a:pt x="456" y="366"/>
                  </a:lnTo>
                  <a:lnTo>
                    <a:pt x="474" y="378"/>
                  </a:lnTo>
                  <a:lnTo>
                    <a:pt x="474" y="384"/>
                  </a:lnTo>
                  <a:lnTo>
                    <a:pt x="480" y="390"/>
                  </a:lnTo>
                  <a:lnTo>
                    <a:pt x="486" y="396"/>
                  </a:lnTo>
                  <a:lnTo>
                    <a:pt x="486" y="402"/>
                  </a:lnTo>
                  <a:lnTo>
                    <a:pt x="480" y="408"/>
                  </a:lnTo>
                  <a:lnTo>
                    <a:pt x="486" y="408"/>
                  </a:lnTo>
                  <a:lnTo>
                    <a:pt x="486" y="414"/>
                  </a:lnTo>
                  <a:lnTo>
                    <a:pt x="492" y="414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32"/>
                  </a:lnTo>
                  <a:lnTo>
                    <a:pt x="498" y="438"/>
                  </a:lnTo>
                  <a:lnTo>
                    <a:pt x="492" y="432"/>
                  </a:lnTo>
                  <a:lnTo>
                    <a:pt x="486" y="426"/>
                  </a:lnTo>
                  <a:lnTo>
                    <a:pt x="486" y="420"/>
                  </a:lnTo>
                  <a:lnTo>
                    <a:pt x="486" y="414"/>
                  </a:lnTo>
                  <a:lnTo>
                    <a:pt x="480" y="414"/>
                  </a:lnTo>
                  <a:lnTo>
                    <a:pt x="480" y="408"/>
                  </a:lnTo>
                  <a:lnTo>
                    <a:pt x="474" y="408"/>
                  </a:lnTo>
                  <a:lnTo>
                    <a:pt x="468" y="408"/>
                  </a:lnTo>
                  <a:lnTo>
                    <a:pt x="468" y="402"/>
                  </a:lnTo>
                  <a:lnTo>
                    <a:pt x="462" y="402"/>
                  </a:lnTo>
                  <a:lnTo>
                    <a:pt x="462" y="408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80" y="426"/>
                  </a:lnTo>
                  <a:lnTo>
                    <a:pt x="486" y="426"/>
                  </a:lnTo>
                  <a:lnTo>
                    <a:pt x="486" y="432"/>
                  </a:lnTo>
                  <a:lnTo>
                    <a:pt x="492" y="438"/>
                  </a:lnTo>
                  <a:lnTo>
                    <a:pt x="498" y="438"/>
                  </a:lnTo>
                  <a:lnTo>
                    <a:pt x="504" y="444"/>
                  </a:lnTo>
                  <a:lnTo>
                    <a:pt x="510" y="444"/>
                  </a:lnTo>
                  <a:lnTo>
                    <a:pt x="510" y="450"/>
                  </a:lnTo>
                  <a:lnTo>
                    <a:pt x="510" y="456"/>
                  </a:lnTo>
                  <a:lnTo>
                    <a:pt x="516" y="456"/>
                  </a:lnTo>
                  <a:lnTo>
                    <a:pt x="516" y="462"/>
                  </a:lnTo>
                  <a:lnTo>
                    <a:pt x="522" y="462"/>
                  </a:lnTo>
                  <a:lnTo>
                    <a:pt x="522" y="468"/>
                  </a:lnTo>
                  <a:lnTo>
                    <a:pt x="528" y="468"/>
                  </a:lnTo>
                  <a:lnTo>
                    <a:pt x="534" y="468"/>
                  </a:lnTo>
                  <a:lnTo>
                    <a:pt x="534" y="474"/>
                  </a:lnTo>
                  <a:lnTo>
                    <a:pt x="540" y="474"/>
                  </a:lnTo>
                  <a:lnTo>
                    <a:pt x="540" y="480"/>
                  </a:lnTo>
                  <a:lnTo>
                    <a:pt x="546" y="486"/>
                  </a:lnTo>
                  <a:lnTo>
                    <a:pt x="546" y="492"/>
                  </a:lnTo>
                  <a:lnTo>
                    <a:pt x="546" y="498"/>
                  </a:lnTo>
                  <a:lnTo>
                    <a:pt x="546" y="504"/>
                  </a:lnTo>
                  <a:lnTo>
                    <a:pt x="540" y="504"/>
                  </a:lnTo>
                  <a:lnTo>
                    <a:pt x="546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10"/>
                  </a:lnTo>
                  <a:lnTo>
                    <a:pt x="552" y="516"/>
                  </a:lnTo>
                  <a:lnTo>
                    <a:pt x="552" y="522"/>
                  </a:lnTo>
                  <a:lnTo>
                    <a:pt x="552" y="528"/>
                  </a:lnTo>
                  <a:lnTo>
                    <a:pt x="552" y="534"/>
                  </a:lnTo>
                  <a:lnTo>
                    <a:pt x="552" y="540"/>
                  </a:lnTo>
                  <a:lnTo>
                    <a:pt x="546" y="540"/>
                  </a:lnTo>
                  <a:lnTo>
                    <a:pt x="546" y="546"/>
                  </a:lnTo>
                  <a:lnTo>
                    <a:pt x="546" y="540"/>
                  </a:lnTo>
                  <a:lnTo>
                    <a:pt x="546" y="534"/>
                  </a:lnTo>
                  <a:lnTo>
                    <a:pt x="540" y="534"/>
                  </a:lnTo>
                  <a:lnTo>
                    <a:pt x="540" y="528"/>
                  </a:lnTo>
                  <a:lnTo>
                    <a:pt x="534" y="528"/>
                  </a:lnTo>
                  <a:lnTo>
                    <a:pt x="528" y="528"/>
                  </a:lnTo>
                  <a:lnTo>
                    <a:pt x="522" y="528"/>
                  </a:lnTo>
                  <a:lnTo>
                    <a:pt x="516" y="528"/>
                  </a:lnTo>
                  <a:lnTo>
                    <a:pt x="510" y="528"/>
                  </a:lnTo>
                  <a:lnTo>
                    <a:pt x="510" y="534"/>
                  </a:lnTo>
                  <a:lnTo>
                    <a:pt x="510" y="528"/>
                  </a:lnTo>
                  <a:lnTo>
                    <a:pt x="516" y="528"/>
                  </a:lnTo>
                  <a:lnTo>
                    <a:pt x="522" y="528"/>
                  </a:lnTo>
                  <a:lnTo>
                    <a:pt x="528" y="528"/>
                  </a:lnTo>
                  <a:lnTo>
                    <a:pt x="534" y="534"/>
                  </a:lnTo>
                  <a:lnTo>
                    <a:pt x="540" y="534"/>
                  </a:lnTo>
                  <a:lnTo>
                    <a:pt x="540" y="540"/>
                  </a:lnTo>
                  <a:lnTo>
                    <a:pt x="540" y="546"/>
                  </a:lnTo>
                  <a:lnTo>
                    <a:pt x="546" y="546"/>
                  </a:lnTo>
                  <a:lnTo>
                    <a:pt x="546" y="552"/>
                  </a:lnTo>
                  <a:lnTo>
                    <a:pt x="552" y="552"/>
                  </a:lnTo>
                  <a:lnTo>
                    <a:pt x="552" y="558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0" y="576"/>
                  </a:lnTo>
                  <a:lnTo>
                    <a:pt x="540" y="582"/>
                  </a:lnTo>
                  <a:lnTo>
                    <a:pt x="540" y="588"/>
                  </a:lnTo>
                  <a:lnTo>
                    <a:pt x="534" y="594"/>
                  </a:lnTo>
                  <a:lnTo>
                    <a:pt x="534" y="600"/>
                  </a:lnTo>
                  <a:lnTo>
                    <a:pt x="528" y="600"/>
                  </a:lnTo>
                  <a:lnTo>
                    <a:pt x="522" y="594"/>
                  </a:lnTo>
                  <a:lnTo>
                    <a:pt x="528" y="600"/>
                  </a:lnTo>
                  <a:lnTo>
                    <a:pt x="534" y="600"/>
                  </a:lnTo>
                  <a:lnTo>
                    <a:pt x="534" y="606"/>
                  </a:lnTo>
                  <a:lnTo>
                    <a:pt x="528" y="606"/>
                  </a:lnTo>
                  <a:lnTo>
                    <a:pt x="528" y="612"/>
                  </a:lnTo>
                  <a:lnTo>
                    <a:pt x="522" y="612"/>
                  </a:lnTo>
                  <a:lnTo>
                    <a:pt x="522" y="618"/>
                  </a:lnTo>
                  <a:lnTo>
                    <a:pt x="522" y="624"/>
                  </a:lnTo>
                  <a:lnTo>
                    <a:pt x="510" y="624"/>
                  </a:lnTo>
                  <a:lnTo>
                    <a:pt x="498" y="624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0" y="624"/>
                  </a:lnTo>
                  <a:lnTo>
                    <a:pt x="474" y="624"/>
                  </a:lnTo>
                  <a:lnTo>
                    <a:pt x="468" y="618"/>
                  </a:lnTo>
                  <a:lnTo>
                    <a:pt x="456" y="618"/>
                  </a:lnTo>
                  <a:lnTo>
                    <a:pt x="450" y="618"/>
                  </a:lnTo>
                  <a:lnTo>
                    <a:pt x="426" y="618"/>
                  </a:lnTo>
                  <a:lnTo>
                    <a:pt x="420" y="618"/>
                  </a:lnTo>
                  <a:lnTo>
                    <a:pt x="414" y="618"/>
                  </a:lnTo>
                  <a:lnTo>
                    <a:pt x="408" y="618"/>
                  </a:lnTo>
                  <a:lnTo>
                    <a:pt x="396" y="618"/>
                  </a:lnTo>
                  <a:lnTo>
                    <a:pt x="366" y="618"/>
                  </a:lnTo>
                  <a:lnTo>
                    <a:pt x="348" y="624"/>
                  </a:lnTo>
                  <a:lnTo>
                    <a:pt x="342" y="624"/>
                  </a:lnTo>
                  <a:lnTo>
                    <a:pt x="342" y="618"/>
                  </a:lnTo>
                  <a:lnTo>
                    <a:pt x="336" y="618"/>
                  </a:lnTo>
                  <a:lnTo>
                    <a:pt x="336" y="612"/>
                  </a:lnTo>
                  <a:lnTo>
                    <a:pt x="342" y="612"/>
                  </a:lnTo>
                  <a:lnTo>
                    <a:pt x="348" y="612"/>
                  </a:lnTo>
                  <a:lnTo>
                    <a:pt x="342" y="612"/>
                  </a:lnTo>
                  <a:lnTo>
                    <a:pt x="336" y="612"/>
                  </a:lnTo>
                  <a:lnTo>
                    <a:pt x="336" y="606"/>
                  </a:lnTo>
                  <a:lnTo>
                    <a:pt x="330" y="606"/>
                  </a:lnTo>
                  <a:lnTo>
                    <a:pt x="330" y="600"/>
                  </a:lnTo>
                  <a:lnTo>
                    <a:pt x="324" y="600"/>
                  </a:lnTo>
                  <a:lnTo>
                    <a:pt x="324" y="606"/>
                  </a:lnTo>
                  <a:lnTo>
                    <a:pt x="318" y="606"/>
                  </a:lnTo>
                  <a:lnTo>
                    <a:pt x="318" y="612"/>
                  </a:lnTo>
                  <a:lnTo>
                    <a:pt x="312" y="612"/>
                  </a:lnTo>
                  <a:lnTo>
                    <a:pt x="306" y="606"/>
                  </a:lnTo>
                  <a:lnTo>
                    <a:pt x="306" y="612"/>
                  </a:lnTo>
                  <a:lnTo>
                    <a:pt x="312" y="612"/>
                  </a:lnTo>
                  <a:lnTo>
                    <a:pt x="318" y="612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30" y="606"/>
                  </a:lnTo>
                  <a:lnTo>
                    <a:pt x="336" y="612"/>
                  </a:lnTo>
                  <a:lnTo>
                    <a:pt x="336" y="618"/>
                  </a:lnTo>
                  <a:lnTo>
                    <a:pt x="330" y="618"/>
                  </a:lnTo>
                  <a:lnTo>
                    <a:pt x="336" y="618"/>
                  </a:lnTo>
                  <a:lnTo>
                    <a:pt x="336" y="624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288" y="624"/>
                  </a:lnTo>
                  <a:lnTo>
                    <a:pt x="282" y="624"/>
                  </a:lnTo>
                  <a:lnTo>
                    <a:pt x="270" y="630"/>
                  </a:lnTo>
                  <a:lnTo>
                    <a:pt x="264" y="630"/>
                  </a:lnTo>
                  <a:lnTo>
                    <a:pt x="258" y="630"/>
                  </a:lnTo>
                  <a:lnTo>
                    <a:pt x="252" y="630"/>
                  </a:lnTo>
                  <a:lnTo>
                    <a:pt x="246" y="630"/>
                  </a:lnTo>
                  <a:lnTo>
                    <a:pt x="240" y="630"/>
                  </a:lnTo>
                  <a:lnTo>
                    <a:pt x="228" y="636"/>
                  </a:lnTo>
                  <a:lnTo>
                    <a:pt x="222" y="636"/>
                  </a:lnTo>
                  <a:lnTo>
                    <a:pt x="210" y="636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42"/>
                  </a:lnTo>
                  <a:lnTo>
                    <a:pt x="186" y="642"/>
                  </a:lnTo>
                  <a:lnTo>
                    <a:pt x="180" y="642"/>
                  </a:lnTo>
                  <a:lnTo>
                    <a:pt x="168" y="642"/>
                  </a:lnTo>
                  <a:lnTo>
                    <a:pt x="162" y="642"/>
                  </a:lnTo>
                  <a:lnTo>
                    <a:pt x="162" y="648"/>
                  </a:lnTo>
                  <a:lnTo>
                    <a:pt x="156" y="648"/>
                  </a:lnTo>
                  <a:lnTo>
                    <a:pt x="150" y="648"/>
                  </a:lnTo>
                  <a:lnTo>
                    <a:pt x="144" y="648"/>
                  </a:lnTo>
                  <a:lnTo>
                    <a:pt x="138" y="648"/>
                  </a:lnTo>
                  <a:lnTo>
                    <a:pt x="132" y="648"/>
                  </a:lnTo>
                  <a:lnTo>
                    <a:pt x="126" y="642"/>
                  </a:lnTo>
                  <a:lnTo>
                    <a:pt x="126" y="636"/>
                  </a:lnTo>
                  <a:lnTo>
                    <a:pt x="120" y="636"/>
                  </a:lnTo>
                  <a:lnTo>
                    <a:pt x="126" y="642"/>
                  </a:lnTo>
                  <a:lnTo>
                    <a:pt x="126" y="648"/>
                  </a:lnTo>
                  <a:lnTo>
                    <a:pt x="132" y="648"/>
                  </a:lnTo>
                  <a:lnTo>
                    <a:pt x="126" y="654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54"/>
                  </a:lnTo>
                  <a:lnTo>
                    <a:pt x="108" y="660"/>
                  </a:lnTo>
                  <a:lnTo>
                    <a:pt x="108" y="654"/>
                  </a:lnTo>
                  <a:lnTo>
                    <a:pt x="102" y="654"/>
                  </a:lnTo>
                  <a:lnTo>
                    <a:pt x="102" y="660"/>
                  </a:lnTo>
                  <a:lnTo>
                    <a:pt x="108" y="660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0" y="660"/>
                  </a:lnTo>
                  <a:lnTo>
                    <a:pt x="90" y="654"/>
                  </a:lnTo>
                  <a:lnTo>
                    <a:pt x="84" y="648"/>
                  </a:lnTo>
                  <a:lnTo>
                    <a:pt x="84" y="642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72" y="636"/>
                  </a:lnTo>
                  <a:lnTo>
                    <a:pt x="78" y="636"/>
                  </a:lnTo>
                  <a:lnTo>
                    <a:pt x="72" y="636"/>
                  </a:lnTo>
                  <a:lnTo>
                    <a:pt x="66" y="636"/>
                  </a:lnTo>
                  <a:lnTo>
                    <a:pt x="60" y="636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60" y="618"/>
                  </a:lnTo>
                  <a:lnTo>
                    <a:pt x="66" y="618"/>
                  </a:lnTo>
                  <a:lnTo>
                    <a:pt x="72" y="618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2" y="612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12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54" y="618"/>
                  </a:lnTo>
                  <a:lnTo>
                    <a:pt x="54" y="624"/>
                  </a:lnTo>
                  <a:lnTo>
                    <a:pt x="48" y="618"/>
                  </a:lnTo>
                  <a:lnTo>
                    <a:pt x="42" y="618"/>
                  </a:lnTo>
                  <a:lnTo>
                    <a:pt x="42" y="612"/>
                  </a:lnTo>
                  <a:lnTo>
                    <a:pt x="48" y="606"/>
                  </a:lnTo>
                  <a:lnTo>
                    <a:pt x="54" y="606"/>
                  </a:lnTo>
                  <a:lnTo>
                    <a:pt x="54" y="600"/>
                  </a:lnTo>
                  <a:lnTo>
                    <a:pt x="54" y="594"/>
                  </a:lnTo>
                  <a:lnTo>
                    <a:pt x="54" y="588"/>
                  </a:lnTo>
                  <a:lnTo>
                    <a:pt x="48" y="588"/>
                  </a:lnTo>
                  <a:lnTo>
                    <a:pt x="48" y="582"/>
                  </a:lnTo>
                  <a:lnTo>
                    <a:pt x="42" y="582"/>
                  </a:lnTo>
                  <a:lnTo>
                    <a:pt x="42" y="570"/>
                  </a:lnTo>
                  <a:lnTo>
                    <a:pt x="42" y="564"/>
                  </a:lnTo>
                  <a:lnTo>
                    <a:pt x="36" y="564"/>
                  </a:lnTo>
                  <a:close/>
                  <a:moveTo>
                    <a:pt x="498" y="420"/>
                  </a:moveTo>
                  <a:lnTo>
                    <a:pt x="504" y="426"/>
                  </a:lnTo>
                  <a:lnTo>
                    <a:pt x="510" y="432"/>
                  </a:lnTo>
                  <a:lnTo>
                    <a:pt x="516" y="432"/>
                  </a:lnTo>
                  <a:lnTo>
                    <a:pt x="516" y="438"/>
                  </a:lnTo>
                  <a:lnTo>
                    <a:pt x="510" y="438"/>
                  </a:lnTo>
                  <a:lnTo>
                    <a:pt x="504" y="438"/>
                  </a:lnTo>
                  <a:lnTo>
                    <a:pt x="504" y="432"/>
                  </a:lnTo>
                  <a:lnTo>
                    <a:pt x="498" y="432"/>
                  </a:lnTo>
                  <a:lnTo>
                    <a:pt x="498" y="426"/>
                  </a:lnTo>
                  <a:lnTo>
                    <a:pt x="498" y="4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4" name="Freeform 9">
              <a:extLst>
                <a:ext uri="{FF2B5EF4-FFF2-40B4-BE49-F238E27FC236}">
                  <a16:creationId xmlns:a16="http://schemas.microsoft.com/office/drawing/2014/main" id="{E0116D32-BD2E-45EA-B818-A3082585D5F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3055" y="2468650"/>
              <a:ext cx="800556" cy="1207710"/>
            </a:xfrm>
            <a:custGeom>
              <a:avLst/>
              <a:gdLst>
                <a:gd name="T0" fmla="*/ 24 w 1506"/>
                <a:gd name="T1" fmla="*/ 190 h 2274"/>
                <a:gd name="T2" fmla="*/ 25 w 1506"/>
                <a:gd name="T3" fmla="*/ 180 h 2274"/>
                <a:gd name="T4" fmla="*/ 21 w 1506"/>
                <a:gd name="T5" fmla="*/ 174 h 2274"/>
                <a:gd name="T6" fmla="*/ 17 w 1506"/>
                <a:gd name="T7" fmla="*/ 170 h 2274"/>
                <a:gd name="T8" fmla="*/ 12 w 1506"/>
                <a:gd name="T9" fmla="*/ 168 h 2274"/>
                <a:gd name="T10" fmla="*/ 10 w 1506"/>
                <a:gd name="T11" fmla="*/ 173 h 2274"/>
                <a:gd name="T12" fmla="*/ 7 w 1506"/>
                <a:gd name="T13" fmla="*/ 174 h 2274"/>
                <a:gd name="T14" fmla="*/ 0 w 1506"/>
                <a:gd name="T15" fmla="*/ 163 h 2274"/>
                <a:gd name="T16" fmla="*/ 16 w 1506"/>
                <a:gd name="T17" fmla="*/ 140 h 2274"/>
                <a:gd name="T18" fmla="*/ 19 w 1506"/>
                <a:gd name="T19" fmla="*/ 137 h 2274"/>
                <a:gd name="T20" fmla="*/ 24 w 1506"/>
                <a:gd name="T21" fmla="*/ 126 h 2274"/>
                <a:gd name="T22" fmla="*/ 23 w 1506"/>
                <a:gd name="T23" fmla="*/ 105 h 2274"/>
                <a:gd name="T24" fmla="*/ 14 w 1506"/>
                <a:gd name="T25" fmla="*/ 86 h 2274"/>
                <a:gd name="T26" fmla="*/ 8 w 1506"/>
                <a:gd name="T27" fmla="*/ 84 h 2274"/>
                <a:gd name="T28" fmla="*/ 5 w 1506"/>
                <a:gd name="T29" fmla="*/ 79 h 2274"/>
                <a:gd name="T30" fmla="*/ 16 w 1506"/>
                <a:gd name="T31" fmla="*/ 71 h 2274"/>
                <a:gd name="T32" fmla="*/ 28 w 1506"/>
                <a:gd name="T33" fmla="*/ 55 h 2274"/>
                <a:gd name="T34" fmla="*/ 29 w 1506"/>
                <a:gd name="T35" fmla="*/ 48 h 2274"/>
                <a:gd name="T36" fmla="*/ 35 w 1506"/>
                <a:gd name="T37" fmla="*/ 50 h 2274"/>
                <a:gd name="T38" fmla="*/ 42 w 1506"/>
                <a:gd name="T39" fmla="*/ 47 h 2274"/>
                <a:gd name="T40" fmla="*/ 63 w 1506"/>
                <a:gd name="T41" fmla="*/ 34 h 2274"/>
                <a:gd name="T42" fmla="*/ 74 w 1506"/>
                <a:gd name="T43" fmla="*/ 27 h 2274"/>
                <a:gd name="T44" fmla="*/ 81 w 1506"/>
                <a:gd name="T45" fmla="*/ 20 h 2274"/>
                <a:gd name="T46" fmla="*/ 89 w 1506"/>
                <a:gd name="T47" fmla="*/ 20 h 2274"/>
                <a:gd name="T48" fmla="*/ 98 w 1506"/>
                <a:gd name="T49" fmla="*/ 27 h 2274"/>
                <a:gd name="T50" fmla="*/ 106 w 1506"/>
                <a:gd name="T51" fmla="*/ 17 h 2274"/>
                <a:gd name="T52" fmla="*/ 111 w 1506"/>
                <a:gd name="T53" fmla="*/ 8 h 2274"/>
                <a:gd name="T54" fmla="*/ 121 w 1506"/>
                <a:gd name="T55" fmla="*/ 2 h 2274"/>
                <a:gd name="T56" fmla="*/ 129 w 1506"/>
                <a:gd name="T57" fmla="*/ 5 h 2274"/>
                <a:gd name="T58" fmla="*/ 125 w 1506"/>
                <a:gd name="T59" fmla="*/ 12 h 2274"/>
                <a:gd name="T60" fmla="*/ 122 w 1506"/>
                <a:gd name="T61" fmla="*/ 20 h 2274"/>
                <a:gd name="T62" fmla="*/ 122 w 1506"/>
                <a:gd name="T63" fmla="*/ 27 h 2274"/>
                <a:gd name="T64" fmla="*/ 120 w 1506"/>
                <a:gd name="T65" fmla="*/ 36 h 2274"/>
                <a:gd name="T66" fmla="*/ 116 w 1506"/>
                <a:gd name="T67" fmla="*/ 43 h 2274"/>
                <a:gd name="T68" fmla="*/ 109 w 1506"/>
                <a:gd name="T69" fmla="*/ 47 h 2274"/>
                <a:gd name="T70" fmla="*/ 108 w 1506"/>
                <a:gd name="T71" fmla="*/ 54 h 2274"/>
                <a:gd name="T72" fmla="*/ 106 w 1506"/>
                <a:gd name="T73" fmla="*/ 59 h 2274"/>
                <a:gd name="T74" fmla="*/ 109 w 1506"/>
                <a:gd name="T75" fmla="*/ 64 h 2274"/>
                <a:gd name="T76" fmla="*/ 106 w 1506"/>
                <a:gd name="T77" fmla="*/ 70 h 2274"/>
                <a:gd name="T78" fmla="*/ 105 w 1506"/>
                <a:gd name="T79" fmla="*/ 75 h 2274"/>
                <a:gd name="T80" fmla="*/ 101 w 1506"/>
                <a:gd name="T81" fmla="*/ 78 h 2274"/>
                <a:gd name="T82" fmla="*/ 92 w 1506"/>
                <a:gd name="T83" fmla="*/ 81 h 2274"/>
                <a:gd name="T84" fmla="*/ 85 w 1506"/>
                <a:gd name="T85" fmla="*/ 85 h 2274"/>
                <a:gd name="T86" fmla="*/ 87 w 1506"/>
                <a:gd name="T87" fmla="*/ 91 h 2274"/>
                <a:gd name="T88" fmla="*/ 86 w 1506"/>
                <a:gd name="T89" fmla="*/ 98 h 2274"/>
                <a:gd name="T90" fmla="*/ 86 w 1506"/>
                <a:gd name="T91" fmla="*/ 103 h 2274"/>
                <a:gd name="T92" fmla="*/ 82 w 1506"/>
                <a:gd name="T93" fmla="*/ 111 h 2274"/>
                <a:gd name="T94" fmla="*/ 81 w 1506"/>
                <a:gd name="T95" fmla="*/ 116 h 2274"/>
                <a:gd name="T96" fmla="*/ 78 w 1506"/>
                <a:gd name="T97" fmla="*/ 120 h 2274"/>
                <a:gd name="T98" fmla="*/ 76 w 1506"/>
                <a:gd name="T99" fmla="*/ 126 h 2274"/>
                <a:gd name="T100" fmla="*/ 68 w 1506"/>
                <a:gd name="T101" fmla="*/ 129 h 2274"/>
                <a:gd name="T102" fmla="*/ 62 w 1506"/>
                <a:gd name="T103" fmla="*/ 131 h 2274"/>
                <a:gd name="T104" fmla="*/ 58 w 1506"/>
                <a:gd name="T105" fmla="*/ 136 h 2274"/>
                <a:gd name="T106" fmla="*/ 51 w 1506"/>
                <a:gd name="T107" fmla="*/ 138 h 2274"/>
                <a:gd name="T108" fmla="*/ 51 w 1506"/>
                <a:gd name="T109" fmla="*/ 147 h 2274"/>
                <a:gd name="T110" fmla="*/ 49 w 1506"/>
                <a:gd name="T111" fmla="*/ 159 h 2274"/>
                <a:gd name="T112" fmla="*/ 48 w 1506"/>
                <a:gd name="T113" fmla="*/ 166 h 2274"/>
                <a:gd name="T114" fmla="*/ 41 w 1506"/>
                <a:gd name="T115" fmla="*/ 174 h 2274"/>
                <a:gd name="T116" fmla="*/ 39 w 1506"/>
                <a:gd name="T117" fmla="*/ 181 h 2274"/>
                <a:gd name="T118" fmla="*/ 37 w 1506"/>
                <a:gd name="T119" fmla="*/ 190 h 2274"/>
                <a:gd name="T120" fmla="*/ 29 w 1506"/>
                <a:gd name="T121" fmla="*/ 198 h 22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06"/>
                <a:gd name="T184" fmla="*/ 0 h 2274"/>
                <a:gd name="T185" fmla="*/ 1506 w 1506"/>
                <a:gd name="T186" fmla="*/ 2274 h 227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06" h="2274">
                  <a:moveTo>
                    <a:pt x="330" y="2274"/>
                  </a:moveTo>
                  <a:lnTo>
                    <a:pt x="318" y="2262"/>
                  </a:lnTo>
                  <a:lnTo>
                    <a:pt x="312" y="2238"/>
                  </a:lnTo>
                  <a:lnTo>
                    <a:pt x="312" y="2232"/>
                  </a:lnTo>
                  <a:lnTo>
                    <a:pt x="294" y="2214"/>
                  </a:lnTo>
                  <a:lnTo>
                    <a:pt x="288" y="2208"/>
                  </a:lnTo>
                  <a:lnTo>
                    <a:pt x="288" y="2202"/>
                  </a:lnTo>
                  <a:lnTo>
                    <a:pt x="276" y="2196"/>
                  </a:lnTo>
                  <a:lnTo>
                    <a:pt x="276" y="2190"/>
                  </a:lnTo>
                  <a:lnTo>
                    <a:pt x="282" y="2190"/>
                  </a:lnTo>
                  <a:lnTo>
                    <a:pt x="282" y="2184"/>
                  </a:lnTo>
                  <a:lnTo>
                    <a:pt x="276" y="2172"/>
                  </a:lnTo>
                  <a:lnTo>
                    <a:pt x="276" y="2166"/>
                  </a:lnTo>
                  <a:lnTo>
                    <a:pt x="282" y="2166"/>
                  </a:lnTo>
                  <a:lnTo>
                    <a:pt x="282" y="2154"/>
                  </a:lnTo>
                  <a:lnTo>
                    <a:pt x="276" y="2136"/>
                  </a:lnTo>
                  <a:lnTo>
                    <a:pt x="276" y="2112"/>
                  </a:lnTo>
                  <a:lnTo>
                    <a:pt x="282" y="2088"/>
                  </a:lnTo>
                  <a:lnTo>
                    <a:pt x="282" y="2082"/>
                  </a:lnTo>
                  <a:lnTo>
                    <a:pt x="282" y="2076"/>
                  </a:lnTo>
                  <a:lnTo>
                    <a:pt x="282" y="2070"/>
                  </a:lnTo>
                  <a:lnTo>
                    <a:pt x="288" y="2070"/>
                  </a:lnTo>
                  <a:lnTo>
                    <a:pt x="288" y="2064"/>
                  </a:lnTo>
                  <a:lnTo>
                    <a:pt x="282" y="2052"/>
                  </a:lnTo>
                  <a:lnTo>
                    <a:pt x="282" y="2046"/>
                  </a:lnTo>
                  <a:lnTo>
                    <a:pt x="276" y="2040"/>
                  </a:lnTo>
                  <a:lnTo>
                    <a:pt x="270" y="2034"/>
                  </a:lnTo>
                  <a:lnTo>
                    <a:pt x="264" y="2022"/>
                  </a:lnTo>
                  <a:lnTo>
                    <a:pt x="258" y="2022"/>
                  </a:lnTo>
                  <a:lnTo>
                    <a:pt x="258" y="2016"/>
                  </a:lnTo>
                  <a:lnTo>
                    <a:pt x="252" y="2016"/>
                  </a:lnTo>
                  <a:lnTo>
                    <a:pt x="246" y="2016"/>
                  </a:lnTo>
                  <a:lnTo>
                    <a:pt x="240" y="2010"/>
                  </a:lnTo>
                  <a:lnTo>
                    <a:pt x="234" y="2004"/>
                  </a:lnTo>
                  <a:lnTo>
                    <a:pt x="228" y="2004"/>
                  </a:lnTo>
                  <a:lnTo>
                    <a:pt x="228" y="1998"/>
                  </a:lnTo>
                  <a:lnTo>
                    <a:pt x="228" y="1992"/>
                  </a:lnTo>
                  <a:lnTo>
                    <a:pt x="222" y="1992"/>
                  </a:lnTo>
                  <a:lnTo>
                    <a:pt x="222" y="1986"/>
                  </a:lnTo>
                  <a:lnTo>
                    <a:pt x="216" y="1986"/>
                  </a:lnTo>
                  <a:lnTo>
                    <a:pt x="210" y="1980"/>
                  </a:lnTo>
                  <a:lnTo>
                    <a:pt x="216" y="1974"/>
                  </a:lnTo>
                  <a:lnTo>
                    <a:pt x="210" y="1968"/>
                  </a:lnTo>
                  <a:lnTo>
                    <a:pt x="198" y="1956"/>
                  </a:lnTo>
                  <a:lnTo>
                    <a:pt x="192" y="1956"/>
                  </a:lnTo>
                  <a:lnTo>
                    <a:pt x="186" y="1956"/>
                  </a:lnTo>
                  <a:lnTo>
                    <a:pt x="180" y="1944"/>
                  </a:lnTo>
                  <a:lnTo>
                    <a:pt x="180" y="1938"/>
                  </a:lnTo>
                  <a:lnTo>
                    <a:pt x="174" y="1932"/>
                  </a:lnTo>
                  <a:lnTo>
                    <a:pt x="168" y="1932"/>
                  </a:lnTo>
                  <a:lnTo>
                    <a:pt x="162" y="1932"/>
                  </a:lnTo>
                  <a:lnTo>
                    <a:pt x="150" y="1932"/>
                  </a:lnTo>
                  <a:lnTo>
                    <a:pt x="150" y="1926"/>
                  </a:lnTo>
                  <a:lnTo>
                    <a:pt x="150" y="1932"/>
                  </a:lnTo>
                  <a:lnTo>
                    <a:pt x="144" y="1932"/>
                  </a:lnTo>
                  <a:lnTo>
                    <a:pt x="138" y="1932"/>
                  </a:lnTo>
                  <a:lnTo>
                    <a:pt x="132" y="1932"/>
                  </a:lnTo>
                  <a:lnTo>
                    <a:pt x="132" y="1938"/>
                  </a:lnTo>
                  <a:lnTo>
                    <a:pt x="126" y="1944"/>
                  </a:lnTo>
                  <a:lnTo>
                    <a:pt x="126" y="1956"/>
                  </a:lnTo>
                  <a:lnTo>
                    <a:pt x="120" y="1968"/>
                  </a:lnTo>
                  <a:lnTo>
                    <a:pt x="120" y="1974"/>
                  </a:lnTo>
                  <a:lnTo>
                    <a:pt x="120" y="1980"/>
                  </a:lnTo>
                  <a:lnTo>
                    <a:pt x="126" y="1980"/>
                  </a:lnTo>
                  <a:lnTo>
                    <a:pt x="120" y="1986"/>
                  </a:lnTo>
                  <a:lnTo>
                    <a:pt x="120" y="1992"/>
                  </a:lnTo>
                  <a:lnTo>
                    <a:pt x="114" y="1992"/>
                  </a:lnTo>
                  <a:lnTo>
                    <a:pt x="114" y="1986"/>
                  </a:lnTo>
                  <a:lnTo>
                    <a:pt x="108" y="1992"/>
                  </a:lnTo>
                  <a:lnTo>
                    <a:pt x="108" y="1998"/>
                  </a:lnTo>
                  <a:lnTo>
                    <a:pt x="114" y="2004"/>
                  </a:lnTo>
                  <a:lnTo>
                    <a:pt x="108" y="2004"/>
                  </a:lnTo>
                  <a:lnTo>
                    <a:pt x="102" y="2010"/>
                  </a:lnTo>
                  <a:lnTo>
                    <a:pt x="102" y="2004"/>
                  </a:lnTo>
                  <a:lnTo>
                    <a:pt x="90" y="2004"/>
                  </a:lnTo>
                  <a:lnTo>
                    <a:pt x="84" y="2004"/>
                  </a:lnTo>
                  <a:lnTo>
                    <a:pt x="78" y="1998"/>
                  </a:lnTo>
                  <a:lnTo>
                    <a:pt x="78" y="1992"/>
                  </a:lnTo>
                  <a:lnTo>
                    <a:pt x="78" y="1986"/>
                  </a:lnTo>
                  <a:lnTo>
                    <a:pt x="72" y="1986"/>
                  </a:lnTo>
                  <a:lnTo>
                    <a:pt x="66" y="1980"/>
                  </a:lnTo>
                  <a:lnTo>
                    <a:pt x="66" y="1968"/>
                  </a:lnTo>
                  <a:lnTo>
                    <a:pt x="60" y="1956"/>
                  </a:lnTo>
                  <a:lnTo>
                    <a:pt x="60" y="1950"/>
                  </a:lnTo>
                  <a:lnTo>
                    <a:pt x="48" y="1944"/>
                  </a:lnTo>
                  <a:lnTo>
                    <a:pt x="30" y="1926"/>
                  </a:lnTo>
                  <a:lnTo>
                    <a:pt x="12" y="1890"/>
                  </a:lnTo>
                  <a:lnTo>
                    <a:pt x="6" y="1872"/>
                  </a:lnTo>
                  <a:lnTo>
                    <a:pt x="0" y="1854"/>
                  </a:lnTo>
                  <a:lnTo>
                    <a:pt x="6" y="1824"/>
                  </a:lnTo>
                  <a:lnTo>
                    <a:pt x="30" y="1794"/>
                  </a:lnTo>
                  <a:lnTo>
                    <a:pt x="66" y="1752"/>
                  </a:lnTo>
                  <a:lnTo>
                    <a:pt x="72" y="1752"/>
                  </a:lnTo>
                  <a:lnTo>
                    <a:pt x="78" y="1746"/>
                  </a:lnTo>
                  <a:lnTo>
                    <a:pt x="84" y="1746"/>
                  </a:lnTo>
                  <a:lnTo>
                    <a:pt x="90" y="1746"/>
                  </a:lnTo>
                  <a:lnTo>
                    <a:pt x="138" y="1674"/>
                  </a:lnTo>
                  <a:lnTo>
                    <a:pt x="186" y="1620"/>
                  </a:lnTo>
                  <a:lnTo>
                    <a:pt x="186" y="1614"/>
                  </a:lnTo>
                  <a:lnTo>
                    <a:pt x="186" y="1608"/>
                  </a:lnTo>
                  <a:lnTo>
                    <a:pt x="192" y="1608"/>
                  </a:lnTo>
                  <a:lnTo>
                    <a:pt x="192" y="1614"/>
                  </a:lnTo>
                  <a:lnTo>
                    <a:pt x="198" y="1614"/>
                  </a:lnTo>
                  <a:lnTo>
                    <a:pt x="198" y="1608"/>
                  </a:lnTo>
                  <a:lnTo>
                    <a:pt x="198" y="1602"/>
                  </a:lnTo>
                  <a:lnTo>
                    <a:pt x="204" y="1602"/>
                  </a:lnTo>
                  <a:lnTo>
                    <a:pt x="204" y="1596"/>
                  </a:lnTo>
                  <a:lnTo>
                    <a:pt x="210" y="1590"/>
                  </a:lnTo>
                  <a:lnTo>
                    <a:pt x="216" y="1590"/>
                  </a:lnTo>
                  <a:lnTo>
                    <a:pt x="216" y="1584"/>
                  </a:lnTo>
                  <a:lnTo>
                    <a:pt x="222" y="1584"/>
                  </a:lnTo>
                  <a:lnTo>
                    <a:pt x="228" y="1572"/>
                  </a:lnTo>
                  <a:lnTo>
                    <a:pt x="222" y="1572"/>
                  </a:lnTo>
                  <a:lnTo>
                    <a:pt x="228" y="1566"/>
                  </a:lnTo>
                  <a:lnTo>
                    <a:pt x="228" y="1560"/>
                  </a:lnTo>
                  <a:lnTo>
                    <a:pt x="252" y="1548"/>
                  </a:lnTo>
                  <a:lnTo>
                    <a:pt x="276" y="1530"/>
                  </a:lnTo>
                  <a:lnTo>
                    <a:pt x="282" y="1512"/>
                  </a:lnTo>
                  <a:lnTo>
                    <a:pt x="282" y="1506"/>
                  </a:lnTo>
                  <a:lnTo>
                    <a:pt x="282" y="1494"/>
                  </a:lnTo>
                  <a:lnTo>
                    <a:pt x="282" y="1452"/>
                  </a:lnTo>
                  <a:lnTo>
                    <a:pt x="288" y="1440"/>
                  </a:lnTo>
                  <a:lnTo>
                    <a:pt x="294" y="1440"/>
                  </a:lnTo>
                  <a:lnTo>
                    <a:pt x="294" y="1428"/>
                  </a:lnTo>
                  <a:lnTo>
                    <a:pt x="324" y="1368"/>
                  </a:lnTo>
                  <a:lnTo>
                    <a:pt x="330" y="1362"/>
                  </a:lnTo>
                  <a:lnTo>
                    <a:pt x="330" y="1356"/>
                  </a:lnTo>
                  <a:lnTo>
                    <a:pt x="360" y="1338"/>
                  </a:lnTo>
                  <a:lnTo>
                    <a:pt x="366" y="1296"/>
                  </a:lnTo>
                  <a:lnTo>
                    <a:pt x="354" y="1278"/>
                  </a:lnTo>
                  <a:lnTo>
                    <a:pt x="336" y="1230"/>
                  </a:lnTo>
                  <a:lnTo>
                    <a:pt x="270" y="1212"/>
                  </a:lnTo>
                  <a:lnTo>
                    <a:pt x="264" y="1212"/>
                  </a:lnTo>
                  <a:lnTo>
                    <a:pt x="252" y="1200"/>
                  </a:lnTo>
                  <a:lnTo>
                    <a:pt x="234" y="1188"/>
                  </a:lnTo>
                  <a:lnTo>
                    <a:pt x="222" y="1182"/>
                  </a:lnTo>
                  <a:lnTo>
                    <a:pt x="228" y="1104"/>
                  </a:lnTo>
                  <a:lnTo>
                    <a:pt x="228" y="1098"/>
                  </a:lnTo>
                  <a:lnTo>
                    <a:pt x="198" y="1038"/>
                  </a:lnTo>
                  <a:lnTo>
                    <a:pt x="192" y="1032"/>
                  </a:lnTo>
                  <a:lnTo>
                    <a:pt x="180" y="1020"/>
                  </a:lnTo>
                  <a:lnTo>
                    <a:pt x="168" y="996"/>
                  </a:lnTo>
                  <a:lnTo>
                    <a:pt x="162" y="990"/>
                  </a:lnTo>
                  <a:lnTo>
                    <a:pt x="156" y="990"/>
                  </a:lnTo>
                  <a:lnTo>
                    <a:pt x="150" y="990"/>
                  </a:lnTo>
                  <a:lnTo>
                    <a:pt x="132" y="990"/>
                  </a:lnTo>
                  <a:lnTo>
                    <a:pt x="120" y="984"/>
                  </a:lnTo>
                  <a:lnTo>
                    <a:pt x="120" y="990"/>
                  </a:lnTo>
                  <a:lnTo>
                    <a:pt x="114" y="990"/>
                  </a:lnTo>
                  <a:lnTo>
                    <a:pt x="102" y="984"/>
                  </a:lnTo>
                  <a:lnTo>
                    <a:pt x="96" y="984"/>
                  </a:lnTo>
                  <a:lnTo>
                    <a:pt x="96" y="978"/>
                  </a:lnTo>
                  <a:lnTo>
                    <a:pt x="90" y="978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84" y="960"/>
                  </a:lnTo>
                  <a:lnTo>
                    <a:pt x="84" y="954"/>
                  </a:lnTo>
                  <a:lnTo>
                    <a:pt x="78" y="948"/>
                  </a:lnTo>
                  <a:lnTo>
                    <a:pt x="72" y="948"/>
                  </a:lnTo>
                  <a:lnTo>
                    <a:pt x="72" y="942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06"/>
                  </a:lnTo>
                  <a:lnTo>
                    <a:pt x="60" y="888"/>
                  </a:lnTo>
                  <a:lnTo>
                    <a:pt x="54" y="882"/>
                  </a:lnTo>
                  <a:lnTo>
                    <a:pt x="60" y="882"/>
                  </a:lnTo>
                  <a:lnTo>
                    <a:pt x="72" y="876"/>
                  </a:lnTo>
                  <a:lnTo>
                    <a:pt x="78" y="876"/>
                  </a:lnTo>
                  <a:lnTo>
                    <a:pt x="90" y="870"/>
                  </a:lnTo>
                  <a:lnTo>
                    <a:pt x="90" y="864"/>
                  </a:lnTo>
                  <a:lnTo>
                    <a:pt x="96" y="840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80" y="822"/>
                  </a:lnTo>
                  <a:lnTo>
                    <a:pt x="204" y="798"/>
                  </a:lnTo>
                  <a:lnTo>
                    <a:pt x="222" y="786"/>
                  </a:lnTo>
                  <a:lnTo>
                    <a:pt x="252" y="780"/>
                  </a:lnTo>
                  <a:lnTo>
                    <a:pt x="264" y="762"/>
                  </a:lnTo>
                  <a:lnTo>
                    <a:pt x="276" y="762"/>
                  </a:lnTo>
                  <a:lnTo>
                    <a:pt x="288" y="744"/>
                  </a:lnTo>
                  <a:lnTo>
                    <a:pt x="306" y="738"/>
                  </a:lnTo>
                  <a:lnTo>
                    <a:pt x="318" y="732"/>
                  </a:lnTo>
                  <a:lnTo>
                    <a:pt x="324" y="648"/>
                  </a:lnTo>
                  <a:lnTo>
                    <a:pt x="324" y="636"/>
                  </a:lnTo>
                  <a:lnTo>
                    <a:pt x="324" y="630"/>
                  </a:lnTo>
                  <a:lnTo>
                    <a:pt x="330" y="624"/>
                  </a:lnTo>
                  <a:lnTo>
                    <a:pt x="324" y="618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24" y="588"/>
                  </a:lnTo>
                  <a:lnTo>
                    <a:pt x="318" y="576"/>
                  </a:lnTo>
                  <a:lnTo>
                    <a:pt x="318" y="570"/>
                  </a:lnTo>
                  <a:lnTo>
                    <a:pt x="324" y="570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30" y="558"/>
                  </a:lnTo>
                  <a:lnTo>
                    <a:pt x="336" y="558"/>
                  </a:lnTo>
                  <a:lnTo>
                    <a:pt x="342" y="558"/>
                  </a:lnTo>
                  <a:lnTo>
                    <a:pt x="348" y="558"/>
                  </a:lnTo>
                  <a:lnTo>
                    <a:pt x="354" y="564"/>
                  </a:lnTo>
                  <a:lnTo>
                    <a:pt x="360" y="564"/>
                  </a:lnTo>
                  <a:lnTo>
                    <a:pt x="366" y="570"/>
                  </a:lnTo>
                  <a:lnTo>
                    <a:pt x="366" y="576"/>
                  </a:lnTo>
                  <a:lnTo>
                    <a:pt x="372" y="570"/>
                  </a:lnTo>
                  <a:lnTo>
                    <a:pt x="378" y="570"/>
                  </a:lnTo>
                  <a:lnTo>
                    <a:pt x="390" y="570"/>
                  </a:lnTo>
                  <a:lnTo>
                    <a:pt x="402" y="570"/>
                  </a:lnTo>
                  <a:lnTo>
                    <a:pt x="408" y="570"/>
                  </a:lnTo>
                  <a:lnTo>
                    <a:pt x="414" y="564"/>
                  </a:lnTo>
                  <a:lnTo>
                    <a:pt x="420" y="564"/>
                  </a:lnTo>
                  <a:lnTo>
                    <a:pt x="420" y="570"/>
                  </a:lnTo>
                  <a:lnTo>
                    <a:pt x="426" y="570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44" y="570"/>
                  </a:lnTo>
                  <a:lnTo>
                    <a:pt x="450" y="564"/>
                  </a:lnTo>
                  <a:lnTo>
                    <a:pt x="474" y="558"/>
                  </a:lnTo>
                  <a:lnTo>
                    <a:pt x="486" y="54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40" y="474"/>
                  </a:lnTo>
                  <a:lnTo>
                    <a:pt x="558" y="456"/>
                  </a:lnTo>
                  <a:lnTo>
                    <a:pt x="582" y="450"/>
                  </a:lnTo>
                  <a:lnTo>
                    <a:pt x="594" y="414"/>
                  </a:lnTo>
                  <a:lnTo>
                    <a:pt x="612" y="390"/>
                  </a:lnTo>
                  <a:lnTo>
                    <a:pt x="636" y="390"/>
                  </a:lnTo>
                  <a:lnTo>
                    <a:pt x="666" y="390"/>
                  </a:lnTo>
                  <a:lnTo>
                    <a:pt x="696" y="390"/>
                  </a:lnTo>
                  <a:lnTo>
                    <a:pt x="726" y="390"/>
                  </a:lnTo>
                  <a:lnTo>
                    <a:pt x="762" y="378"/>
                  </a:lnTo>
                  <a:lnTo>
                    <a:pt x="780" y="366"/>
                  </a:lnTo>
                  <a:lnTo>
                    <a:pt x="780" y="342"/>
                  </a:lnTo>
                  <a:lnTo>
                    <a:pt x="786" y="342"/>
                  </a:lnTo>
                  <a:lnTo>
                    <a:pt x="786" y="336"/>
                  </a:lnTo>
                  <a:lnTo>
                    <a:pt x="786" y="330"/>
                  </a:lnTo>
                  <a:lnTo>
                    <a:pt x="786" y="324"/>
                  </a:lnTo>
                  <a:lnTo>
                    <a:pt x="816" y="318"/>
                  </a:lnTo>
                  <a:lnTo>
                    <a:pt x="834" y="312"/>
                  </a:lnTo>
                  <a:lnTo>
                    <a:pt x="840" y="318"/>
                  </a:lnTo>
                  <a:lnTo>
                    <a:pt x="852" y="318"/>
                  </a:lnTo>
                  <a:lnTo>
                    <a:pt x="858" y="306"/>
                  </a:lnTo>
                  <a:lnTo>
                    <a:pt x="864" y="288"/>
                  </a:lnTo>
                  <a:lnTo>
                    <a:pt x="870" y="282"/>
                  </a:lnTo>
                  <a:lnTo>
                    <a:pt x="876" y="276"/>
                  </a:lnTo>
                  <a:lnTo>
                    <a:pt x="882" y="264"/>
                  </a:lnTo>
                  <a:lnTo>
                    <a:pt x="882" y="258"/>
                  </a:lnTo>
                  <a:lnTo>
                    <a:pt x="888" y="252"/>
                  </a:lnTo>
                  <a:lnTo>
                    <a:pt x="894" y="240"/>
                  </a:lnTo>
                  <a:lnTo>
                    <a:pt x="906" y="228"/>
                  </a:lnTo>
                  <a:lnTo>
                    <a:pt x="912" y="228"/>
                  </a:lnTo>
                  <a:lnTo>
                    <a:pt x="936" y="228"/>
                  </a:lnTo>
                  <a:lnTo>
                    <a:pt x="942" y="222"/>
                  </a:lnTo>
                  <a:lnTo>
                    <a:pt x="948" y="216"/>
                  </a:lnTo>
                  <a:lnTo>
                    <a:pt x="954" y="216"/>
                  </a:lnTo>
                  <a:lnTo>
                    <a:pt x="960" y="216"/>
                  </a:lnTo>
                  <a:lnTo>
                    <a:pt x="966" y="216"/>
                  </a:lnTo>
                  <a:lnTo>
                    <a:pt x="978" y="216"/>
                  </a:lnTo>
                  <a:lnTo>
                    <a:pt x="990" y="222"/>
                  </a:lnTo>
                  <a:lnTo>
                    <a:pt x="996" y="222"/>
                  </a:lnTo>
                  <a:lnTo>
                    <a:pt x="1002" y="228"/>
                  </a:lnTo>
                  <a:lnTo>
                    <a:pt x="1014" y="234"/>
                  </a:lnTo>
                  <a:lnTo>
                    <a:pt x="1020" y="234"/>
                  </a:lnTo>
                  <a:lnTo>
                    <a:pt x="1032" y="240"/>
                  </a:lnTo>
                  <a:lnTo>
                    <a:pt x="1044" y="240"/>
                  </a:lnTo>
                  <a:lnTo>
                    <a:pt x="1050" y="240"/>
                  </a:lnTo>
                  <a:lnTo>
                    <a:pt x="1056" y="246"/>
                  </a:lnTo>
                  <a:lnTo>
                    <a:pt x="1068" y="264"/>
                  </a:lnTo>
                  <a:lnTo>
                    <a:pt x="1086" y="276"/>
                  </a:lnTo>
                  <a:lnTo>
                    <a:pt x="1092" y="276"/>
                  </a:lnTo>
                  <a:lnTo>
                    <a:pt x="1104" y="282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8" y="312"/>
                  </a:lnTo>
                  <a:lnTo>
                    <a:pt x="1152" y="324"/>
                  </a:lnTo>
                  <a:lnTo>
                    <a:pt x="1188" y="324"/>
                  </a:lnTo>
                  <a:lnTo>
                    <a:pt x="1206" y="318"/>
                  </a:lnTo>
                  <a:lnTo>
                    <a:pt x="1200" y="294"/>
                  </a:lnTo>
                  <a:lnTo>
                    <a:pt x="1206" y="252"/>
                  </a:lnTo>
                  <a:lnTo>
                    <a:pt x="1218" y="222"/>
                  </a:lnTo>
                  <a:lnTo>
                    <a:pt x="1212" y="222"/>
                  </a:lnTo>
                  <a:lnTo>
                    <a:pt x="1212" y="216"/>
                  </a:lnTo>
                  <a:lnTo>
                    <a:pt x="1218" y="204"/>
                  </a:lnTo>
                  <a:lnTo>
                    <a:pt x="1224" y="198"/>
                  </a:lnTo>
                  <a:lnTo>
                    <a:pt x="1224" y="192"/>
                  </a:lnTo>
                  <a:lnTo>
                    <a:pt x="1236" y="180"/>
                  </a:lnTo>
                  <a:lnTo>
                    <a:pt x="1254" y="156"/>
                  </a:lnTo>
                  <a:lnTo>
                    <a:pt x="1260" y="150"/>
                  </a:lnTo>
                  <a:lnTo>
                    <a:pt x="1260" y="144"/>
                  </a:lnTo>
                  <a:lnTo>
                    <a:pt x="1266" y="138"/>
                  </a:lnTo>
                  <a:lnTo>
                    <a:pt x="1272" y="138"/>
                  </a:lnTo>
                  <a:lnTo>
                    <a:pt x="1272" y="120"/>
                  </a:lnTo>
                  <a:lnTo>
                    <a:pt x="1278" y="114"/>
                  </a:lnTo>
                  <a:lnTo>
                    <a:pt x="1278" y="108"/>
                  </a:lnTo>
                  <a:lnTo>
                    <a:pt x="1278" y="102"/>
                  </a:lnTo>
                  <a:lnTo>
                    <a:pt x="1278" y="90"/>
                  </a:lnTo>
                  <a:lnTo>
                    <a:pt x="1278" y="84"/>
                  </a:lnTo>
                  <a:lnTo>
                    <a:pt x="1278" y="78"/>
                  </a:lnTo>
                  <a:lnTo>
                    <a:pt x="1278" y="72"/>
                  </a:lnTo>
                  <a:lnTo>
                    <a:pt x="1278" y="60"/>
                  </a:lnTo>
                  <a:lnTo>
                    <a:pt x="1284" y="48"/>
                  </a:lnTo>
                  <a:lnTo>
                    <a:pt x="1284" y="24"/>
                  </a:lnTo>
                  <a:lnTo>
                    <a:pt x="1284" y="18"/>
                  </a:lnTo>
                  <a:lnTo>
                    <a:pt x="1308" y="24"/>
                  </a:lnTo>
                  <a:lnTo>
                    <a:pt x="1332" y="30"/>
                  </a:lnTo>
                  <a:lnTo>
                    <a:pt x="1368" y="30"/>
                  </a:lnTo>
                  <a:lnTo>
                    <a:pt x="1392" y="24"/>
                  </a:lnTo>
                  <a:lnTo>
                    <a:pt x="1410" y="18"/>
                  </a:lnTo>
                  <a:lnTo>
                    <a:pt x="1416" y="6"/>
                  </a:lnTo>
                  <a:lnTo>
                    <a:pt x="1500" y="6"/>
                  </a:lnTo>
                  <a:lnTo>
                    <a:pt x="1506" y="0"/>
                  </a:lnTo>
                  <a:lnTo>
                    <a:pt x="1506" y="6"/>
                  </a:lnTo>
                  <a:lnTo>
                    <a:pt x="1506" y="18"/>
                  </a:lnTo>
                  <a:lnTo>
                    <a:pt x="1506" y="24"/>
                  </a:lnTo>
                  <a:lnTo>
                    <a:pt x="1500" y="30"/>
                  </a:lnTo>
                  <a:lnTo>
                    <a:pt x="1500" y="42"/>
                  </a:lnTo>
                  <a:lnTo>
                    <a:pt x="1494" y="54"/>
                  </a:lnTo>
                  <a:lnTo>
                    <a:pt x="1488" y="60"/>
                  </a:lnTo>
                  <a:lnTo>
                    <a:pt x="1482" y="60"/>
                  </a:lnTo>
                  <a:lnTo>
                    <a:pt x="1476" y="66"/>
                  </a:lnTo>
                  <a:lnTo>
                    <a:pt x="1476" y="72"/>
                  </a:lnTo>
                  <a:lnTo>
                    <a:pt x="1476" y="78"/>
                  </a:lnTo>
                  <a:lnTo>
                    <a:pt x="1470" y="78"/>
                  </a:lnTo>
                  <a:lnTo>
                    <a:pt x="1464" y="90"/>
                  </a:lnTo>
                  <a:lnTo>
                    <a:pt x="1458" y="96"/>
                  </a:lnTo>
                  <a:lnTo>
                    <a:pt x="1458" y="102"/>
                  </a:lnTo>
                  <a:lnTo>
                    <a:pt x="1452" y="120"/>
                  </a:lnTo>
                  <a:lnTo>
                    <a:pt x="1452" y="132"/>
                  </a:lnTo>
                  <a:lnTo>
                    <a:pt x="1446" y="144"/>
                  </a:lnTo>
                  <a:lnTo>
                    <a:pt x="1446" y="150"/>
                  </a:lnTo>
                  <a:lnTo>
                    <a:pt x="1440" y="150"/>
                  </a:lnTo>
                  <a:lnTo>
                    <a:pt x="1434" y="156"/>
                  </a:lnTo>
                  <a:lnTo>
                    <a:pt x="1428" y="168"/>
                  </a:lnTo>
                  <a:lnTo>
                    <a:pt x="1422" y="168"/>
                  </a:lnTo>
                  <a:lnTo>
                    <a:pt x="1416" y="174"/>
                  </a:lnTo>
                  <a:lnTo>
                    <a:pt x="1410" y="186"/>
                  </a:lnTo>
                  <a:lnTo>
                    <a:pt x="1410" y="204"/>
                  </a:lnTo>
                  <a:lnTo>
                    <a:pt x="1404" y="210"/>
                  </a:lnTo>
                  <a:lnTo>
                    <a:pt x="1404" y="216"/>
                  </a:lnTo>
                  <a:lnTo>
                    <a:pt x="1410" y="228"/>
                  </a:lnTo>
                  <a:lnTo>
                    <a:pt x="1410" y="234"/>
                  </a:lnTo>
                  <a:lnTo>
                    <a:pt x="1410" y="240"/>
                  </a:lnTo>
                  <a:lnTo>
                    <a:pt x="1416" y="252"/>
                  </a:lnTo>
                  <a:lnTo>
                    <a:pt x="1416" y="258"/>
                  </a:lnTo>
                  <a:lnTo>
                    <a:pt x="1422" y="264"/>
                  </a:lnTo>
                  <a:lnTo>
                    <a:pt x="1422" y="270"/>
                  </a:lnTo>
                  <a:lnTo>
                    <a:pt x="1422" y="282"/>
                  </a:lnTo>
                  <a:lnTo>
                    <a:pt x="1416" y="288"/>
                  </a:lnTo>
                  <a:lnTo>
                    <a:pt x="1410" y="294"/>
                  </a:lnTo>
                  <a:lnTo>
                    <a:pt x="1404" y="300"/>
                  </a:lnTo>
                  <a:lnTo>
                    <a:pt x="1404" y="306"/>
                  </a:lnTo>
                  <a:lnTo>
                    <a:pt x="1398" y="324"/>
                  </a:lnTo>
                  <a:lnTo>
                    <a:pt x="1404" y="330"/>
                  </a:lnTo>
                  <a:lnTo>
                    <a:pt x="1404" y="342"/>
                  </a:lnTo>
                  <a:lnTo>
                    <a:pt x="1392" y="354"/>
                  </a:lnTo>
                  <a:lnTo>
                    <a:pt x="1392" y="360"/>
                  </a:lnTo>
                  <a:lnTo>
                    <a:pt x="1392" y="372"/>
                  </a:lnTo>
                  <a:lnTo>
                    <a:pt x="1392" y="384"/>
                  </a:lnTo>
                  <a:lnTo>
                    <a:pt x="1392" y="396"/>
                  </a:lnTo>
                  <a:lnTo>
                    <a:pt x="1392" y="408"/>
                  </a:lnTo>
                  <a:lnTo>
                    <a:pt x="1386" y="414"/>
                  </a:lnTo>
                  <a:lnTo>
                    <a:pt x="1380" y="420"/>
                  </a:lnTo>
                  <a:lnTo>
                    <a:pt x="1380" y="426"/>
                  </a:lnTo>
                  <a:lnTo>
                    <a:pt x="1368" y="432"/>
                  </a:lnTo>
                  <a:lnTo>
                    <a:pt x="1362" y="444"/>
                  </a:lnTo>
                  <a:lnTo>
                    <a:pt x="1362" y="450"/>
                  </a:lnTo>
                  <a:lnTo>
                    <a:pt x="1362" y="462"/>
                  </a:lnTo>
                  <a:lnTo>
                    <a:pt x="1362" y="468"/>
                  </a:lnTo>
                  <a:lnTo>
                    <a:pt x="1362" y="474"/>
                  </a:lnTo>
                  <a:lnTo>
                    <a:pt x="1356" y="474"/>
                  </a:lnTo>
                  <a:lnTo>
                    <a:pt x="1350" y="480"/>
                  </a:lnTo>
                  <a:lnTo>
                    <a:pt x="1344" y="486"/>
                  </a:lnTo>
                  <a:lnTo>
                    <a:pt x="1338" y="498"/>
                  </a:lnTo>
                  <a:lnTo>
                    <a:pt x="1332" y="510"/>
                  </a:lnTo>
                  <a:lnTo>
                    <a:pt x="1320" y="510"/>
                  </a:lnTo>
                  <a:lnTo>
                    <a:pt x="1314" y="516"/>
                  </a:lnTo>
                  <a:lnTo>
                    <a:pt x="1302" y="522"/>
                  </a:lnTo>
                  <a:lnTo>
                    <a:pt x="1296" y="522"/>
                  </a:lnTo>
                  <a:lnTo>
                    <a:pt x="1284" y="516"/>
                  </a:lnTo>
                  <a:lnTo>
                    <a:pt x="1278" y="516"/>
                  </a:lnTo>
                  <a:lnTo>
                    <a:pt x="1272" y="522"/>
                  </a:lnTo>
                  <a:lnTo>
                    <a:pt x="1266" y="522"/>
                  </a:lnTo>
                  <a:lnTo>
                    <a:pt x="1266" y="528"/>
                  </a:lnTo>
                  <a:lnTo>
                    <a:pt x="1254" y="540"/>
                  </a:lnTo>
                  <a:lnTo>
                    <a:pt x="1248" y="546"/>
                  </a:lnTo>
                  <a:lnTo>
                    <a:pt x="1242" y="558"/>
                  </a:lnTo>
                  <a:lnTo>
                    <a:pt x="1230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30" y="594"/>
                  </a:lnTo>
                  <a:lnTo>
                    <a:pt x="1230" y="600"/>
                  </a:lnTo>
                  <a:lnTo>
                    <a:pt x="1236" y="606"/>
                  </a:lnTo>
                  <a:lnTo>
                    <a:pt x="1242" y="606"/>
                  </a:lnTo>
                  <a:lnTo>
                    <a:pt x="1242" y="612"/>
                  </a:lnTo>
                  <a:lnTo>
                    <a:pt x="1242" y="618"/>
                  </a:lnTo>
                  <a:lnTo>
                    <a:pt x="1242" y="624"/>
                  </a:lnTo>
                  <a:lnTo>
                    <a:pt x="1236" y="630"/>
                  </a:lnTo>
                  <a:lnTo>
                    <a:pt x="1230" y="642"/>
                  </a:lnTo>
                  <a:lnTo>
                    <a:pt x="1230" y="648"/>
                  </a:lnTo>
                  <a:lnTo>
                    <a:pt x="1218" y="654"/>
                  </a:lnTo>
                  <a:lnTo>
                    <a:pt x="1212" y="654"/>
                  </a:lnTo>
                  <a:lnTo>
                    <a:pt x="1212" y="660"/>
                  </a:lnTo>
                  <a:lnTo>
                    <a:pt x="1212" y="666"/>
                  </a:lnTo>
                  <a:lnTo>
                    <a:pt x="1212" y="672"/>
                  </a:lnTo>
                  <a:lnTo>
                    <a:pt x="1212" y="678"/>
                  </a:lnTo>
                  <a:lnTo>
                    <a:pt x="1218" y="684"/>
                  </a:lnTo>
                  <a:lnTo>
                    <a:pt x="1218" y="690"/>
                  </a:lnTo>
                  <a:lnTo>
                    <a:pt x="1224" y="696"/>
                  </a:lnTo>
                  <a:lnTo>
                    <a:pt x="1230" y="702"/>
                  </a:lnTo>
                  <a:lnTo>
                    <a:pt x="1236" y="696"/>
                  </a:lnTo>
                  <a:lnTo>
                    <a:pt x="1242" y="702"/>
                  </a:lnTo>
                  <a:lnTo>
                    <a:pt x="1248" y="708"/>
                  </a:lnTo>
                  <a:lnTo>
                    <a:pt x="1254" y="714"/>
                  </a:lnTo>
                  <a:lnTo>
                    <a:pt x="1254" y="720"/>
                  </a:lnTo>
                  <a:lnTo>
                    <a:pt x="1260" y="720"/>
                  </a:lnTo>
                  <a:lnTo>
                    <a:pt x="1254" y="732"/>
                  </a:lnTo>
                  <a:lnTo>
                    <a:pt x="1248" y="738"/>
                  </a:lnTo>
                  <a:lnTo>
                    <a:pt x="1242" y="744"/>
                  </a:lnTo>
                  <a:lnTo>
                    <a:pt x="1236" y="750"/>
                  </a:lnTo>
                  <a:lnTo>
                    <a:pt x="1236" y="756"/>
                  </a:lnTo>
                  <a:lnTo>
                    <a:pt x="1236" y="762"/>
                  </a:lnTo>
                  <a:lnTo>
                    <a:pt x="1236" y="768"/>
                  </a:lnTo>
                  <a:lnTo>
                    <a:pt x="1236" y="780"/>
                  </a:lnTo>
                  <a:lnTo>
                    <a:pt x="1230" y="780"/>
                  </a:lnTo>
                  <a:lnTo>
                    <a:pt x="1230" y="786"/>
                  </a:lnTo>
                  <a:lnTo>
                    <a:pt x="1230" y="792"/>
                  </a:lnTo>
                  <a:lnTo>
                    <a:pt x="1230" y="804"/>
                  </a:lnTo>
                  <a:lnTo>
                    <a:pt x="1224" y="810"/>
                  </a:lnTo>
                  <a:lnTo>
                    <a:pt x="1218" y="816"/>
                  </a:lnTo>
                  <a:lnTo>
                    <a:pt x="1224" y="822"/>
                  </a:lnTo>
                  <a:lnTo>
                    <a:pt x="1224" y="828"/>
                  </a:lnTo>
                  <a:lnTo>
                    <a:pt x="1218" y="834"/>
                  </a:lnTo>
                  <a:lnTo>
                    <a:pt x="1224" y="834"/>
                  </a:lnTo>
                  <a:lnTo>
                    <a:pt x="1224" y="840"/>
                  </a:lnTo>
                  <a:lnTo>
                    <a:pt x="1224" y="846"/>
                  </a:lnTo>
                  <a:lnTo>
                    <a:pt x="1224" y="852"/>
                  </a:lnTo>
                  <a:lnTo>
                    <a:pt x="1218" y="858"/>
                  </a:lnTo>
                  <a:lnTo>
                    <a:pt x="1218" y="870"/>
                  </a:lnTo>
                  <a:lnTo>
                    <a:pt x="1212" y="870"/>
                  </a:lnTo>
                  <a:lnTo>
                    <a:pt x="1212" y="876"/>
                  </a:lnTo>
                  <a:lnTo>
                    <a:pt x="1206" y="888"/>
                  </a:lnTo>
                  <a:lnTo>
                    <a:pt x="1200" y="882"/>
                  </a:lnTo>
                  <a:lnTo>
                    <a:pt x="1194" y="888"/>
                  </a:lnTo>
                  <a:lnTo>
                    <a:pt x="1188" y="894"/>
                  </a:lnTo>
                  <a:lnTo>
                    <a:pt x="1182" y="894"/>
                  </a:lnTo>
                  <a:lnTo>
                    <a:pt x="1182" y="900"/>
                  </a:lnTo>
                  <a:lnTo>
                    <a:pt x="1176" y="900"/>
                  </a:lnTo>
                  <a:lnTo>
                    <a:pt x="1170" y="894"/>
                  </a:lnTo>
                  <a:lnTo>
                    <a:pt x="1164" y="900"/>
                  </a:lnTo>
                  <a:lnTo>
                    <a:pt x="1158" y="900"/>
                  </a:lnTo>
                  <a:lnTo>
                    <a:pt x="1152" y="900"/>
                  </a:lnTo>
                  <a:lnTo>
                    <a:pt x="1140" y="900"/>
                  </a:lnTo>
                  <a:lnTo>
                    <a:pt x="1134" y="900"/>
                  </a:lnTo>
                  <a:lnTo>
                    <a:pt x="1128" y="906"/>
                  </a:lnTo>
                  <a:lnTo>
                    <a:pt x="1110" y="906"/>
                  </a:lnTo>
                  <a:lnTo>
                    <a:pt x="1104" y="906"/>
                  </a:lnTo>
                  <a:lnTo>
                    <a:pt x="1098" y="906"/>
                  </a:lnTo>
                  <a:lnTo>
                    <a:pt x="1092" y="912"/>
                  </a:lnTo>
                  <a:lnTo>
                    <a:pt x="1080" y="918"/>
                  </a:lnTo>
                  <a:lnTo>
                    <a:pt x="1068" y="930"/>
                  </a:lnTo>
                  <a:lnTo>
                    <a:pt x="1062" y="930"/>
                  </a:lnTo>
                  <a:lnTo>
                    <a:pt x="1056" y="930"/>
                  </a:lnTo>
                  <a:lnTo>
                    <a:pt x="1050" y="930"/>
                  </a:lnTo>
                  <a:lnTo>
                    <a:pt x="1050" y="936"/>
                  </a:lnTo>
                  <a:lnTo>
                    <a:pt x="1038" y="942"/>
                  </a:lnTo>
                  <a:lnTo>
                    <a:pt x="1032" y="948"/>
                  </a:lnTo>
                  <a:lnTo>
                    <a:pt x="1026" y="954"/>
                  </a:lnTo>
                  <a:lnTo>
                    <a:pt x="1020" y="960"/>
                  </a:lnTo>
                  <a:lnTo>
                    <a:pt x="1014" y="966"/>
                  </a:lnTo>
                  <a:lnTo>
                    <a:pt x="1002" y="966"/>
                  </a:lnTo>
                  <a:lnTo>
                    <a:pt x="990" y="978"/>
                  </a:lnTo>
                  <a:lnTo>
                    <a:pt x="984" y="978"/>
                  </a:lnTo>
                  <a:lnTo>
                    <a:pt x="978" y="984"/>
                  </a:lnTo>
                  <a:lnTo>
                    <a:pt x="972" y="984"/>
                  </a:lnTo>
                  <a:lnTo>
                    <a:pt x="978" y="990"/>
                  </a:lnTo>
                  <a:lnTo>
                    <a:pt x="972" y="996"/>
                  </a:lnTo>
                  <a:lnTo>
                    <a:pt x="978" y="1002"/>
                  </a:lnTo>
                  <a:lnTo>
                    <a:pt x="1002" y="1002"/>
                  </a:lnTo>
                  <a:lnTo>
                    <a:pt x="1002" y="1008"/>
                  </a:lnTo>
                  <a:lnTo>
                    <a:pt x="1008" y="1020"/>
                  </a:lnTo>
                  <a:lnTo>
                    <a:pt x="1002" y="1026"/>
                  </a:lnTo>
                  <a:lnTo>
                    <a:pt x="1002" y="1032"/>
                  </a:lnTo>
                  <a:lnTo>
                    <a:pt x="1002" y="1050"/>
                  </a:lnTo>
                  <a:lnTo>
                    <a:pt x="1002" y="1056"/>
                  </a:lnTo>
                  <a:lnTo>
                    <a:pt x="1008" y="1062"/>
                  </a:lnTo>
                  <a:lnTo>
                    <a:pt x="1008" y="1074"/>
                  </a:lnTo>
                  <a:lnTo>
                    <a:pt x="1008" y="1086"/>
                  </a:lnTo>
                  <a:lnTo>
                    <a:pt x="996" y="1092"/>
                  </a:lnTo>
                  <a:lnTo>
                    <a:pt x="996" y="1098"/>
                  </a:lnTo>
                  <a:lnTo>
                    <a:pt x="996" y="1104"/>
                  </a:lnTo>
                  <a:lnTo>
                    <a:pt x="990" y="1110"/>
                  </a:lnTo>
                  <a:lnTo>
                    <a:pt x="990" y="1116"/>
                  </a:lnTo>
                  <a:lnTo>
                    <a:pt x="996" y="1122"/>
                  </a:lnTo>
                  <a:lnTo>
                    <a:pt x="990" y="1128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96" y="1140"/>
                  </a:lnTo>
                  <a:lnTo>
                    <a:pt x="996" y="1146"/>
                  </a:lnTo>
                  <a:lnTo>
                    <a:pt x="996" y="1152"/>
                  </a:lnTo>
                  <a:lnTo>
                    <a:pt x="996" y="1158"/>
                  </a:lnTo>
                  <a:lnTo>
                    <a:pt x="996" y="1164"/>
                  </a:lnTo>
                  <a:lnTo>
                    <a:pt x="996" y="1170"/>
                  </a:lnTo>
                  <a:lnTo>
                    <a:pt x="996" y="1176"/>
                  </a:lnTo>
                  <a:lnTo>
                    <a:pt x="990" y="1182"/>
                  </a:lnTo>
                  <a:lnTo>
                    <a:pt x="990" y="1188"/>
                  </a:lnTo>
                  <a:lnTo>
                    <a:pt x="984" y="1200"/>
                  </a:lnTo>
                  <a:lnTo>
                    <a:pt x="990" y="1206"/>
                  </a:lnTo>
                  <a:lnTo>
                    <a:pt x="990" y="1212"/>
                  </a:lnTo>
                  <a:lnTo>
                    <a:pt x="990" y="1218"/>
                  </a:lnTo>
                  <a:lnTo>
                    <a:pt x="978" y="1230"/>
                  </a:lnTo>
                  <a:lnTo>
                    <a:pt x="972" y="1236"/>
                  </a:lnTo>
                  <a:lnTo>
                    <a:pt x="972" y="1242"/>
                  </a:lnTo>
                  <a:lnTo>
                    <a:pt x="966" y="1248"/>
                  </a:lnTo>
                  <a:lnTo>
                    <a:pt x="960" y="1260"/>
                  </a:lnTo>
                  <a:lnTo>
                    <a:pt x="954" y="1266"/>
                  </a:lnTo>
                  <a:lnTo>
                    <a:pt x="942" y="1278"/>
                  </a:lnTo>
                  <a:lnTo>
                    <a:pt x="936" y="1278"/>
                  </a:lnTo>
                  <a:lnTo>
                    <a:pt x="936" y="1284"/>
                  </a:lnTo>
                  <a:lnTo>
                    <a:pt x="936" y="1296"/>
                  </a:lnTo>
                  <a:lnTo>
                    <a:pt x="936" y="1302"/>
                  </a:lnTo>
                  <a:lnTo>
                    <a:pt x="942" y="1302"/>
                  </a:lnTo>
                  <a:lnTo>
                    <a:pt x="942" y="1308"/>
                  </a:lnTo>
                  <a:lnTo>
                    <a:pt x="936" y="1314"/>
                  </a:lnTo>
                  <a:lnTo>
                    <a:pt x="930" y="1320"/>
                  </a:lnTo>
                  <a:lnTo>
                    <a:pt x="930" y="1326"/>
                  </a:lnTo>
                  <a:lnTo>
                    <a:pt x="930" y="1332"/>
                  </a:lnTo>
                  <a:lnTo>
                    <a:pt x="936" y="1338"/>
                  </a:lnTo>
                  <a:lnTo>
                    <a:pt x="936" y="1344"/>
                  </a:lnTo>
                  <a:lnTo>
                    <a:pt x="942" y="1356"/>
                  </a:lnTo>
                  <a:lnTo>
                    <a:pt x="948" y="1368"/>
                  </a:lnTo>
                  <a:lnTo>
                    <a:pt x="942" y="1380"/>
                  </a:lnTo>
                  <a:lnTo>
                    <a:pt x="936" y="1386"/>
                  </a:lnTo>
                  <a:lnTo>
                    <a:pt x="930" y="1392"/>
                  </a:lnTo>
                  <a:lnTo>
                    <a:pt x="924" y="1392"/>
                  </a:lnTo>
                  <a:lnTo>
                    <a:pt x="918" y="1386"/>
                  </a:lnTo>
                  <a:lnTo>
                    <a:pt x="912" y="1386"/>
                  </a:lnTo>
                  <a:lnTo>
                    <a:pt x="906" y="1386"/>
                  </a:lnTo>
                  <a:lnTo>
                    <a:pt x="900" y="1386"/>
                  </a:lnTo>
                  <a:lnTo>
                    <a:pt x="900" y="1392"/>
                  </a:lnTo>
                  <a:lnTo>
                    <a:pt x="894" y="1392"/>
                  </a:lnTo>
                  <a:lnTo>
                    <a:pt x="888" y="1392"/>
                  </a:lnTo>
                  <a:lnTo>
                    <a:pt x="888" y="1398"/>
                  </a:lnTo>
                  <a:lnTo>
                    <a:pt x="882" y="1404"/>
                  </a:lnTo>
                  <a:lnTo>
                    <a:pt x="882" y="1416"/>
                  </a:lnTo>
                  <a:lnTo>
                    <a:pt x="882" y="1428"/>
                  </a:lnTo>
                  <a:lnTo>
                    <a:pt x="882" y="1434"/>
                  </a:lnTo>
                  <a:lnTo>
                    <a:pt x="870" y="1440"/>
                  </a:lnTo>
                  <a:lnTo>
                    <a:pt x="864" y="1452"/>
                  </a:lnTo>
                  <a:lnTo>
                    <a:pt x="870" y="1452"/>
                  </a:lnTo>
                  <a:lnTo>
                    <a:pt x="864" y="1458"/>
                  </a:lnTo>
                  <a:lnTo>
                    <a:pt x="858" y="1464"/>
                  </a:lnTo>
                  <a:lnTo>
                    <a:pt x="852" y="1464"/>
                  </a:lnTo>
                  <a:lnTo>
                    <a:pt x="846" y="1458"/>
                  </a:lnTo>
                  <a:lnTo>
                    <a:pt x="840" y="1458"/>
                  </a:lnTo>
                  <a:lnTo>
                    <a:pt x="828" y="1470"/>
                  </a:lnTo>
                  <a:lnTo>
                    <a:pt x="810" y="1482"/>
                  </a:lnTo>
                  <a:lnTo>
                    <a:pt x="804" y="1488"/>
                  </a:lnTo>
                  <a:lnTo>
                    <a:pt x="798" y="1488"/>
                  </a:lnTo>
                  <a:lnTo>
                    <a:pt x="792" y="1488"/>
                  </a:lnTo>
                  <a:lnTo>
                    <a:pt x="786" y="1488"/>
                  </a:lnTo>
                  <a:lnTo>
                    <a:pt x="768" y="1482"/>
                  </a:lnTo>
                  <a:lnTo>
                    <a:pt x="762" y="1476"/>
                  </a:lnTo>
                  <a:lnTo>
                    <a:pt x="744" y="1476"/>
                  </a:lnTo>
                  <a:lnTo>
                    <a:pt x="738" y="1476"/>
                  </a:lnTo>
                  <a:lnTo>
                    <a:pt x="732" y="1476"/>
                  </a:lnTo>
                  <a:lnTo>
                    <a:pt x="726" y="1482"/>
                  </a:lnTo>
                  <a:lnTo>
                    <a:pt x="726" y="1488"/>
                  </a:lnTo>
                  <a:lnTo>
                    <a:pt x="726" y="1494"/>
                  </a:lnTo>
                  <a:lnTo>
                    <a:pt x="726" y="1500"/>
                  </a:lnTo>
                  <a:lnTo>
                    <a:pt x="720" y="1500"/>
                  </a:lnTo>
                  <a:lnTo>
                    <a:pt x="720" y="1506"/>
                  </a:lnTo>
                  <a:lnTo>
                    <a:pt x="714" y="1512"/>
                  </a:lnTo>
                  <a:lnTo>
                    <a:pt x="714" y="1518"/>
                  </a:lnTo>
                  <a:lnTo>
                    <a:pt x="708" y="1518"/>
                  </a:lnTo>
                  <a:lnTo>
                    <a:pt x="708" y="1530"/>
                  </a:lnTo>
                  <a:lnTo>
                    <a:pt x="708" y="1536"/>
                  </a:lnTo>
                  <a:lnTo>
                    <a:pt x="708" y="1542"/>
                  </a:lnTo>
                  <a:lnTo>
                    <a:pt x="696" y="1554"/>
                  </a:lnTo>
                  <a:lnTo>
                    <a:pt x="690" y="1560"/>
                  </a:lnTo>
                  <a:lnTo>
                    <a:pt x="684" y="1566"/>
                  </a:lnTo>
                  <a:lnTo>
                    <a:pt x="672" y="1566"/>
                  </a:lnTo>
                  <a:lnTo>
                    <a:pt x="666" y="1566"/>
                  </a:lnTo>
                  <a:lnTo>
                    <a:pt x="660" y="1566"/>
                  </a:lnTo>
                  <a:lnTo>
                    <a:pt x="654" y="1572"/>
                  </a:lnTo>
                  <a:lnTo>
                    <a:pt x="654" y="1578"/>
                  </a:lnTo>
                  <a:lnTo>
                    <a:pt x="642" y="1578"/>
                  </a:lnTo>
                  <a:lnTo>
                    <a:pt x="630" y="1572"/>
                  </a:lnTo>
                  <a:lnTo>
                    <a:pt x="624" y="1572"/>
                  </a:lnTo>
                  <a:lnTo>
                    <a:pt x="618" y="1578"/>
                  </a:lnTo>
                  <a:lnTo>
                    <a:pt x="612" y="1584"/>
                  </a:lnTo>
                  <a:lnTo>
                    <a:pt x="606" y="1584"/>
                  </a:lnTo>
                  <a:lnTo>
                    <a:pt x="600" y="1590"/>
                  </a:lnTo>
                  <a:lnTo>
                    <a:pt x="594" y="1590"/>
                  </a:lnTo>
                  <a:lnTo>
                    <a:pt x="588" y="1590"/>
                  </a:lnTo>
                  <a:lnTo>
                    <a:pt x="582" y="1590"/>
                  </a:lnTo>
                  <a:lnTo>
                    <a:pt x="582" y="1596"/>
                  </a:lnTo>
                  <a:lnTo>
                    <a:pt x="576" y="1614"/>
                  </a:lnTo>
                  <a:lnTo>
                    <a:pt x="570" y="1632"/>
                  </a:lnTo>
                  <a:lnTo>
                    <a:pt x="570" y="1638"/>
                  </a:lnTo>
                  <a:lnTo>
                    <a:pt x="576" y="1644"/>
                  </a:lnTo>
                  <a:lnTo>
                    <a:pt x="576" y="1650"/>
                  </a:lnTo>
                  <a:lnTo>
                    <a:pt x="582" y="1662"/>
                  </a:lnTo>
                  <a:lnTo>
                    <a:pt x="582" y="1668"/>
                  </a:lnTo>
                  <a:lnTo>
                    <a:pt x="588" y="1692"/>
                  </a:lnTo>
                  <a:lnTo>
                    <a:pt x="594" y="1728"/>
                  </a:lnTo>
                  <a:lnTo>
                    <a:pt x="594" y="1752"/>
                  </a:lnTo>
                  <a:lnTo>
                    <a:pt x="594" y="1764"/>
                  </a:lnTo>
                  <a:lnTo>
                    <a:pt x="582" y="1770"/>
                  </a:lnTo>
                  <a:lnTo>
                    <a:pt x="582" y="1782"/>
                  </a:lnTo>
                  <a:lnTo>
                    <a:pt x="576" y="1788"/>
                  </a:lnTo>
                  <a:lnTo>
                    <a:pt x="570" y="1794"/>
                  </a:lnTo>
                  <a:lnTo>
                    <a:pt x="564" y="1806"/>
                  </a:lnTo>
                  <a:lnTo>
                    <a:pt x="564" y="1812"/>
                  </a:lnTo>
                  <a:lnTo>
                    <a:pt x="558" y="1812"/>
                  </a:lnTo>
                  <a:lnTo>
                    <a:pt x="564" y="1824"/>
                  </a:lnTo>
                  <a:lnTo>
                    <a:pt x="564" y="1830"/>
                  </a:lnTo>
                  <a:lnTo>
                    <a:pt x="564" y="1842"/>
                  </a:lnTo>
                  <a:lnTo>
                    <a:pt x="564" y="1848"/>
                  </a:lnTo>
                  <a:lnTo>
                    <a:pt x="564" y="1854"/>
                  </a:lnTo>
                  <a:lnTo>
                    <a:pt x="570" y="1860"/>
                  </a:lnTo>
                  <a:lnTo>
                    <a:pt x="570" y="1866"/>
                  </a:lnTo>
                  <a:lnTo>
                    <a:pt x="570" y="1872"/>
                  </a:lnTo>
                  <a:lnTo>
                    <a:pt x="570" y="1878"/>
                  </a:lnTo>
                  <a:lnTo>
                    <a:pt x="564" y="1890"/>
                  </a:lnTo>
                  <a:lnTo>
                    <a:pt x="558" y="1896"/>
                  </a:lnTo>
                  <a:lnTo>
                    <a:pt x="552" y="1908"/>
                  </a:lnTo>
                  <a:lnTo>
                    <a:pt x="546" y="1914"/>
                  </a:lnTo>
                  <a:lnTo>
                    <a:pt x="540" y="1920"/>
                  </a:lnTo>
                  <a:lnTo>
                    <a:pt x="534" y="1932"/>
                  </a:lnTo>
                  <a:lnTo>
                    <a:pt x="528" y="1944"/>
                  </a:lnTo>
                  <a:lnTo>
                    <a:pt x="516" y="1950"/>
                  </a:lnTo>
                  <a:lnTo>
                    <a:pt x="510" y="1956"/>
                  </a:lnTo>
                  <a:lnTo>
                    <a:pt x="498" y="1962"/>
                  </a:lnTo>
                  <a:lnTo>
                    <a:pt x="492" y="1974"/>
                  </a:lnTo>
                  <a:lnTo>
                    <a:pt x="486" y="1980"/>
                  </a:lnTo>
                  <a:lnTo>
                    <a:pt x="480" y="1998"/>
                  </a:lnTo>
                  <a:lnTo>
                    <a:pt x="474" y="2004"/>
                  </a:lnTo>
                  <a:lnTo>
                    <a:pt x="474" y="2010"/>
                  </a:lnTo>
                  <a:lnTo>
                    <a:pt x="474" y="2016"/>
                  </a:lnTo>
                  <a:lnTo>
                    <a:pt x="468" y="2016"/>
                  </a:lnTo>
                  <a:lnTo>
                    <a:pt x="468" y="2028"/>
                  </a:lnTo>
                  <a:lnTo>
                    <a:pt x="462" y="2034"/>
                  </a:lnTo>
                  <a:lnTo>
                    <a:pt x="456" y="2040"/>
                  </a:lnTo>
                  <a:lnTo>
                    <a:pt x="456" y="2052"/>
                  </a:lnTo>
                  <a:lnTo>
                    <a:pt x="450" y="2058"/>
                  </a:lnTo>
                  <a:lnTo>
                    <a:pt x="450" y="2070"/>
                  </a:lnTo>
                  <a:lnTo>
                    <a:pt x="450" y="2076"/>
                  </a:lnTo>
                  <a:lnTo>
                    <a:pt x="450" y="2082"/>
                  </a:lnTo>
                  <a:lnTo>
                    <a:pt x="444" y="2088"/>
                  </a:lnTo>
                  <a:lnTo>
                    <a:pt x="438" y="2094"/>
                  </a:lnTo>
                  <a:lnTo>
                    <a:pt x="444" y="2100"/>
                  </a:lnTo>
                  <a:lnTo>
                    <a:pt x="444" y="2124"/>
                  </a:lnTo>
                  <a:lnTo>
                    <a:pt x="444" y="2142"/>
                  </a:lnTo>
                  <a:lnTo>
                    <a:pt x="444" y="2160"/>
                  </a:lnTo>
                  <a:lnTo>
                    <a:pt x="450" y="2166"/>
                  </a:lnTo>
                  <a:lnTo>
                    <a:pt x="456" y="2178"/>
                  </a:lnTo>
                  <a:lnTo>
                    <a:pt x="438" y="2184"/>
                  </a:lnTo>
                  <a:lnTo>
                    <a:pt x="432" y="2184"/>
                  </a:lnTo>
                  <a:lnTo>
                    <a:pt x="426" y="2190"/>
                  </a:lnTo>
                  <a:lnTo>
                    <a:pt x="408" y="2190"/>
                  </a:lnTo>
                  <a:lnTo>
                    <a:pt x="402" y="2196"/>
                  </a:lnTo>
                  <a:lnTo>
                    <a:pt x="396" y="2196"/>
                  </a:lnTo>
                  <a:lnTo>
                    <a:pt x="384" y="2208"/>
                  </a:lnTo>
                  <a:lnTo>
                    <a:pt x="378" y="2220"/>
                  </a:lnTo>
                  <a:lnTo>
                    <a:pt x="366" y="2232"/>
                  </a:lnTo>
                  <a:lnTo>
                    <a:pt x="366" y="2238"/>
                  </a:lnTo>
                  <a:lnTo>
                    <a:pt x="360" y="2238"/>
                  </a:lnTo>
                  <a:lnTo>
                    <a:pt x="360" y="2244"/>
                  </a:lnTo>
                  <a:lnTo>
                    <a:pt x="354" y="2244"/>
                  </a:lnTo>
                  <a:lnTo>
                    <a:pt x="330" y="227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5" name="Freeform 10">
              <a:extLst>
                <a:ext uri="{FF2B5EF4-FFF2-40B4-BE49-F238E27FC236}">
                  <a16:creationId xmlns:a16="http://schemas.microsoft.com/office/drawing/2014/main" id="{3AD2FC58-3490-4B7F-A8BE-621F3CDD69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1996" y="1931890"/>
              <a:ext cx="805029" cy="1037736"/>
            </a:xfrm>
            <a:custGeom>
              <a:avLst/>
              <a:gdLst>
                <a:gd name="T0" fmla="*/ 124 w 1512"/>
                <a:gd name="T1" fmla="*/ 76 h 1956"/>
                <a:gd name="T2" fmla="*/ 120 w 1512"/>
                <a:gd name="T3" fmla="*/ 80 h 1956"/>
                <a:gd name="T4" fmla="*/ 106 w 1512"/>
                <a:gd name="T5" fmla="*/ 84 h 1956"/>
                <a:gd name="T6" fmla="*/ 105 w 1512"/>
                <a:gd name="T7" fmla="*/ 91 h 1956"/>
                <a:gd name="T8" fmla="*/ 101 w 1512"/>
                <a:gd name="T9" fmla="*/ 99 h 1956"/>
                <a:gd name="T10" fmla="*/ 105 w 1512"/>
                <a:gd name="T11" fmla="*/ 107 h 1956"/>
                <a:gd name="T12" fmla="*/ 119 w 1512"/>
                <a:gd name="T13" fmla="*/ 116 h 1956"/>
                <a:gd name="T14" fmla="*/ 121 w 1512"/>
                <a:gd name="T15" fmla="*/ 128 h 1956"/>
                <a:gd name="T16" fmla="*/ 112 w 1512"/>
                <a:gd name="T17" fmla="*/ 136 h 1956"/>
                <a:gd name="T18" fmla="*/ 119 w 1512"/>
                <a:gd name="T19" fmla="*/ 143 h 1956"/>
                <a:gd name="T20" fmla="*/ 126 w 1512"/>
                <a:gd name="T21" fmla="*/ 148 h 1956"/>
                <a:gd name="T22" fmla="*/ 126 w 1512"/>
                <a:gd name="T23" fmla="*/ 160 h 1956"/>
                <a:gd name="T24" fmla="*/ 104 w 1512"/>
                <a:gd name="T25" fmla="*/ 170 h 1956"/>
                <a:gd name="T26" fmla="*/ 99 w 1512"/>
                <a:gd name="T27" fmla="*/ 164 h 1956"/>
                <a:gd name="T28" fmla="*/ 73 w 1512"/>
                <a:gd name="T29" fmla="*/ 152 h 1956"/>
                <a:gd name="T30" fmla="*/ 56 w 1512"/>
                <a:gd name="T31" fmla="*/ 165 h 1956"/>
                <a:gd name="T32" fmla="*/ 33 w 1512"/>
                <a:gd name="T33" fmla="*/ 162 h 1956"/>
                <a:gd name="T34" fmla="*/ 25 w 1512"/>
                <a:gd name="T35" fmla="*/ 155 h 1956"/>
                <a:gd name="T36" fmla="*/ 31 w 1512"/>
                <a:gd name="T37" fmla="*/ 142 h 1956"/>
                <a:gd name="T38" fmla="*/ 24 w 1512"/>
                <a:gd name="T39" fmla="*/ 137 h 1956"/>
                <a:gd name="T40" fmla="*/ 14 w 1512"/>
                <a:gd name="T41" fmla="*/ 136 h 1956"/>
                <a:gd name="T42" fmla="*/ 11 w 1512"/>
                <a:gd name="T43" fmla="*/ 125 h 1956"/>
                <a:gd name="T44" fmla="*/ 3 w 1512"/>
                <a:gd name="T45" fmla="*/ 116 h 1956"/>
                <a:gd name="T46" fmla="*/ 2 w 1512"/>
                <a:gd name="T47" fmla="*/ 106 h 1956"/>
                <a:gd name="T48" fmla="*/ 5 w 1512"/>
                <a:gd name="T49" fmla="*/ 101 h 1956"/>
                <a:gd name="T50" fmla="*/ 2 w 1512"/>
                <a:gd name="T51" fmla="*/ 95 h 1956"/>
                <a:gd name="T52" fmla="*/ 1 w 1512"/>
                <a:gd name="T53" fmla="*/ 88 h 1956"/>
                <a:gd name="T54" fmla="*/ 4 w 1512"/>
                <a:gd name="T55" fmla="*/ 80 h 1956"/>
                <a:gd name="T56" fmla="*/ 12 w 1512"/>
                <a:gd name="T57" fmla="*/ 73 h 1956"/>
                <a:gd name="T58" fmla="*/ 16 w 1512"/>
                <a:gd name="T59" fmla="*/ 68 h 1956"/>
                <a:gd name="T60" fmla="*/ 22 w 1512"/>
                <a:gd name="T61" fmla="*/ 66 h 1956"/>
                <a:gd name="T62" fmla="*/ 32 w 1512"/>
                <a:gd name="T63" fmla="*/ 65 h 1956"/>
                <a:gd name="T64" fmla="*/ 45 w 1512"/>
                <a:gd name="T65" fmla="*/ 66 h 1956"/>
                <a:gd name="T66" fmla="*/ 50 w 1512"/>
                <a:gd name="T67" fmla="*/ 70 h 1956"/>
                <a:gd name="T68" fmla="*/ 55 w 1512"/>
                <a:gd name="T69" fmla="*/ 70 h 1956"/>
                <a:gd name="T70" fmla="*/ 63 w 1512"/>
                <a:gd name="T71" fmla="*/ 71 h 1956"/>
                <a:gd name="T72" fmla="*/ 61 w 1512"/>
                <a:gd name="T73" fmla="*/ 75 h 1956"/>
                <a:gd name="T74" fmla="*/ 66 w 1512"/>
                <a:gd name="T75" fmla="*/ 84 h 1956"/>
                <a:gd name="T76" fmla="*/ 81 w 1512"/>
                <a:gd name="T77" fmla="*/ 85 h 1956"/>
                <a:gd name="T78" fmla="*/ 83 w 1512"/>
                <a:gd name="T79" fmla="*/ 79 h 1956"/>
                <a:gd name="T80" fmla="*/ 89 w 1512"/>
                <a:gd name="T81" fmla="*/ 77 h 1956"/>
                <a:gd name="T82" fmla="*/ 89 w 1512"/>
                <a:gd name="T83" fmla="*/ 73 h 1956"/>
                <a:gd name="T84" fmla="*/ 83 w 1512"/>
                <a:gd name="T85" fmla="*/ 72 h 1956"/>
                <a:gd name="T86" fmla="*/ 77 w 1512"/>
                <a:gd name="T87" fmla="*/ 70 h 1956"/>
                <a:gd name="T88" fmla="*/ 71 w 1512"/>
                <a:gd name="T89" fmla="*/ 70 h 1956"/>
                <a:gd name="T90" fmla="*/ 59 w 1512"/>
                <a:gd name="T91" fmla="*/ 58 h 1956"/>
                <a:gd name="T92" fmla="*/ 54 w 1512"/>
                <a:gd name="T93" fmla="*/ 45 h 1956"/>
                <a:gd name="T94" fmla="*/ 49 w 1512"/>
                <a:gd name="T95" fmla="*/ 42 h 1956"/>
                <a:gd name="T96" fmla="*/ 51 w 1512"/>
                <a:gd name="T97" fmla="*/ 39 h 1956"/>
                <a:gd name="T98" fmla="*/ 55 w 1512"/>
                <a:gd name="T99" fmla="*/ 36 h 1956"/>
                <a:gd name="T100" fmla="*/ 63 w 1512"/>
                <a:gd name="T101" fmla="*/ 34 h 1956"/>
                <a:gd name="T102" fmla="*/ 68 w 1512"/>
                <a:gd name="T103" fmla="*/ 32 h 1956"/>
                <a:gd name="T104" fmla="*/ 73 w 1512"/>
                <a:gd name="T105" fmla="*/ 29 h 1956"/>
                <a:gd name="T106" fmla="*/ 78 w 1512"/>
                <a:gd name="T107" fmla="*/ 27 h 1956"/>
                <a:gd name="T108" fmla="*/ 81 w 1512"/>
                <a:gd name="T109" fmla="*/ 17 h 1956"/>
                <a:gd name="T110" fmla="*/ 84 w 1512"/>
                <a:gd name="T111" fmla="*/ 6 h 1956"/>
                <a:gd name="T112" fmla="*/ 95 w 1512"/>
                <a:gd name="T113" fmla="*/ 6 h 1956"/>
                <a:gd name="T114" fmla="*/ 99 w 1512"/>
                <a:gd name="T115" fmla="*/ 3 h 1956"/>
                <a:gd name="T116" fmla="*/ 103 w 1512"/>
                <a:gd name="T117" fmla="*/ 0 h 1956"/>
                <a:gd name="T118" fmla="*/ 110 w 1512"/>
                <a:gd name="T119" fmla="*/ 4 h 1956"/>
                <a:gd name="T120" fmla="*/ 114 w 1512"/>
                <a:gd name="T121" fmla="*/ 33 h 1956"/>
                <a:gd name="T122" fmla="*/ 117 w 1512"/>
                <a:gd name="T123" fmla="*/ 41 h 1956"/>
                <a:gd name="T124" fmla="*/ 119 w 1512"/>
                <a:gd name="T125" fmla="*/ 62 h 195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12"/>
                <a:gd name="T190" fmla="*/ 0 h 1956"/>
                <a:gd name="T191" fmla="*/ 1512 w 1512"/>
                <a:gd name="T192" fmla="*/ 1956 h 195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12" h="1956">
                  <a:moveTo>
                    <a:pt x="1512" y="780"/>
                  </a:moveTo>
                  <a:lnTo>
                    <a:pt x="1482" y="786"/>
                  </a:lnTo>
                  <a:lnTo>
                    <a:pt x="1476" y="792"/>
                  </a:lnTo>
                  <a:lnTo>
                    <a:pt x="1476" y="798"/>
                  </a:lnTo>
                  <a:lnTo>
                    <a:pt x="1476" y="804"/>
                  </a:lnTo>
                  <a:lnTo>
                    <a:pt x="1476" y="816"/>
                  </a:lnTo>
                  <a:lnTo>
                    <a:pt x="1470" y="834"/>
                  </a:lnTo>
                  <a:lnTo>
                    <a:pt x="1464" y="840"/>
                  </a:lnTo>
                  <a:lnTo>
                    <a:pt x="1452" y="852"/>
                  </a:lnTo>
                  <a:lnTo>
                    <a:pt x="1440" y="864"/>
                  </a:lnTo>
                  <a:lnTo>
                    <a:pt x="1434" y="864"/>
                  </a:lnTo>
                  <a:lnTo>
                    <a:pt x="1434" y="870"/>
                  </a:lnTo>
                  <a:lnTo>
                    <a:pt x="1422" y="876"/>
                  </a:lnTo>
                  <a:lnTo>
                    <a:pt x="1410" y="894"/>
                  </a:lnTo>
                  <a:lnTo>
                    <a:pt x="1404" y="894"/>
                  </a:lnTo>
                  <a:lnTo>
                    <a:pt x="1404" y="900"/>
                  </a:lnTo>
                  <a:lnTo>
                    <a:pt x="1404" y="906"/>
                  </a:lnTo>
                  <a:lnTo>
                    <a:pt x="1410" y="918"/>
                  </a:lnTo>
                  <a:lnTo>
                    <a:pt x="1404" y="918"/>
                  </a:lnTo>
                  <a:lnTo>
                    <a:pt x="1392" y="924"/>
                  </a:lnTo>
                  <a:lnTo>
                    <a:pt x="1386" y="924"/>
                  </a:lnTo>
                  <a:lnTo>
                    <a:pt x="1380" y="924"/>
                  </a:lnTo>
                  <a:lnTo>
                    <a:pt x="1380" y="930"/>
                  </a:lnTo>
                  <a:lnTo>
                    <a:pt x="1374" y="930"/>
                  </a:lnTo>
                  <a:lnTo>
                    <a:pt x="1374" y="924"/>
                  </a:lnTo>
                  <a:lnTo>
                    <a:pt x="1374" y="918"/>
                  </a:lnTo>
                  <a:lnTo>
                    <a:pt x="1368" y="912"/>
                  </a:lnTo>
                  <a:lnTo>
                    <a:pt x="1368" y="906"/>
                  </a:lnTo>
                  <a:lnTo>
                    <a:pt x="1368" y="900"/>
                  </a:lnTo>
                  <a:lnTo>
                    <a:pt x="1368" y="894"/>
                  </a:lnTo>
                  <a:lnTo>
                    <a:pt x="1362" y="894"/>
                  </a:lnTo>
                  <a:lnTo>
                    <a:pt x="1326" y="894"/>
                  </a:lnTo>
                  <a:lnTo>
                    <a:pt x="1302" y="906"/>
                  </a:lnTo>
                  <a:lnTo>
                    <a:pt x="1284" y="918"/>
                  </a:lnTo>
                  <a:lnTo>
                    <a:pt x="1284" y="924"/>
                  </a:lnTo>
                  <a:lnTo>
                    <a:pt x="1278" y="930"/>
                  </a:lnTo>
                  <a:lnTo>
                    <a:pt x="1266" y="930"/>
                  </a:lnTo>
                  <a:lnTo>
                    <a:pt x="1236" y="954"/>
                  </a:lnTo>
                  <a:lnTo>
                    <a:pt x="1212" y="972"/>
                  </a:lnTo>
                  <a:lnTo>
                    <a:pt x="1218" y="996"/>
                  </a:lnTo>
                  <a:lnTo>
                    <a:pt x="1224" y="1008"/>
                  </a:lnTo>
                  <a:lnTo>
                    <a:pt x="1236" y="1014"/>
                  </a:lnTo>
                  <a:lnTo>
                    <a:pt x="1242" y="1026"/>
                  </a:lnTo>
                  <a:lnTo>
                    <a:pt x="1248" y="1038"/>
                  </a:lnTo>
                  <a:lnTo>
                    <a:pt x="1260" y="1050"/>
                  </a:lnTo>
                  <a:lnTo>
                    <a:pt x="1260" y="1056"/>
                  </a:lnTo>
                  <a:lnTo>
                    <a:pt x="1260" y="1074"/>
                  </a:lnTo>
                  <a:lnTo>
                    <a:pt x="1254" y="1074"/>
                  </a:lnTo>
                  <a:lnTo>
                    <a:pt x="1236" y="1056"/>
                  </a:lnTo>
                  <a:lnTo>
                    <a:pt x="1224" y="1050"/>
                  </a:lnTo>
                  <a:lnTo>
                    <a:pt x="1212" y="1050"/>
                  </a:lnTo>
                  <a:lnTo>
                    <a:pt x="1206" y="1050"/>
                  </a:lnTo>
                  <a:lnTo>
                    <a:pt x="1200" y="1056"/>
                  </a:lnTo>
                  <a:lnTo>
                    <a:pt x="1194" y="1062"/>
                  </a:lnTo>
                  <a:lnTo>
                    <a:pt x="1188" y="1068"/>
                  </a:lnTo>
                  <a:lnTo>
                    <a:pt x="1188" y="1074"/>
                  </a:lnTo>
                  <a:lnTo>
                    <a:pt x="1176" y="1086"/>
                  </a:lnTo>
                  <a:lnTo>
                    <a:pt x="1170" y="1086"/>
                  </a:lnTo>
                  <a:lnTo>
                    <a:pt x="1170" y="1092"/>
                  </a:lnTo>
                  <a:lnTo>
                    <a:pt x="1164" y="1098"/>
                  </a:lnTo>
                  <a:lnTo>
                    <a:pt x="1158" y="1110"/>
                  </a:lnTo>
                  <a:lnTo>
                    <a:pt x="1152" y="1116"/>
                  </a:lnTo>
                  <a:lnTo>
                    <a:pt x="1152" y="1122"/>
                  </a:lnTo>
                  <a:lnTo>
                    <a:pt x="1146" y="1128"/>
                  </a:lnTo>
                  <a:lnTo>
                    <a:pt x="1152" y="1140"/>
                  </a:lnTo>
                  <a:lnTo>
                    <a:pt x="1158" y="1140"/>
                  </a:lnTo>
                  <a:lnTo>
                    <a:pt x="1164" y="1146"/>
                  </a:lnTo>
                  <a:lnTo>
                    <a:pt x="1164" y="1152"/>
                  </a:lnTo>
                  <a:lnTo>
                    <a:pt x="1170" y="1164"/>
                  </a:lnTo>
                  <a:lnTo>
                    <a:pt x="1164" y="1176"/>
                  </a:lnTo>
                  <a:lnTo>
                    <a:pt x="1170" y="1182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82" y="1218"/>
                  </a:lnTo>
                  <a:lnTo>
                    <a:pt x="1188" y="1218"/>
                  </a:lnTo>
                  <a:lnTo>
                    <a:pt x="1194" y="1218"/>
                  </a:lnTo>
                  <a:lnTo>
                    <a:pt x="1194" y="1224"/>
                  </a:lnTo>
                  <a:lnTo>
                    <a:pt x="1200" y="1230"/>
                  </a:lnTo>
                  <a:lnTo>
                    <a:pt x="1200" y="1248"/>
                  </a:lnTo>
                  <a:lnTo>
                    <a:pt x="1212" y="1266"/>
                  </a:lnTo>
                  <a:lnTo>
                    <a:pt x="1218" y="1278"/>
                  </a:lnTo>
                  <a:lnTo>
                    <a:pt x="1224" y="1284"/>
                  </a:lnTo>
                  <a:lnTo>
                    <a:pt x="1236" y="1296"/>
                  </a:lnTo>
                  <a:lnTo>
                    <a:pt x="1242" y="1302"/>
                  </a:lnTo>
                  <a:lnTo>
                    <a:pt x="1242" y="1308"/>
                  </a:lnTo>
                  <a:lnTo>
                    <a:pt x="1272" y="1308"/>
                  </a:lnTo>
                  <a:lnTo>
                    <a:pt x="1296" y="1314"/>
                  </a:lnTo>
                  <a:lnTo>
                    <a:pt x="1320" y="1320"/>
                  </a:lnTo>
                  <a:lnTo>
                    <a:pt x="1338" y="1320"/>
                  </a:lnTo>
                  <a:lnTo>
                    <a:pt x="1356" y="1332"/>
                  </a:lnTo>
                  <a:lnTo>
                    <a:pt x="1368" y="1344"/>
                  </a:lnTo>
                  <a:lnTo>
                    <a:pt x="1374" y="1362"/>
                  </a:lnTo>
                  <a:lnTo>
                    <a:pt x="1368" y="1362"/>
                  </a:lnTo>
                  <a:lnTo>
                    <a:pt x="1368" y="1398"/>
                  </a:lnTo>
                  <a:lnTo>
                    <a:pt x="1368" y="1410"/>
                  </a:lnTo>
                  <a:lnTo>
                    <a:pt x="1368" y="1428"/>
                  </a:lnTo>
                  <a:lnTo>
                    <a:pt x="1368" y="1434"/>
                  </a:lnTo>
                  <a:lnTo>
                    <a:pt x="1368" y="1440"/>
                  </a:lnTo>
                  <a:lnTo>
                    <a:pt x="1374" y="1446"/>
                  </a:lnTo>
                  <a:lnTo>
                    <a:pt x="1374" y="1452"/>
                  </a:lnTo>
                  <a:lnTo>
                    <a:pt x="1380" y="1458"/>
                  </a:lnTo>
                  <a:lnTo>
                    <a:pt x="1386" y="1464"/>
                  </a:lnTo>
                  <a:lnTo>
                    <a:pt x="1386" y="1470"/>
                  </a:lnTo>
                  <a:lnTo>
                    <a:pt x="1380" y="1476"/>
                  </a:lnTo>
                  <a:lnTo>
                    <a:pt x="1374" y="1482"/>
                  </a:lnTo>
                  <a:lnTo>
                    <a:pt x="1362" y="1500"/>
                  </a:lnTo>
                  <a:lnTo>
                    <a:pt x="1362" y="1506"/>
                  </a:lnTo>
                  <a:lnTo>
                    <a:pt x="1362" y="1512"/>
                  </a:lnTo>
                  <a:lnTo>
                    <a:pt x="1362" y="1518"/>
                  </a:lnTo>
                  <a:lnTo>
                    <a:pt x="1362" y="1524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38" y="1548"/>
                  </a:lnTo>
                  <a:lnTo>
                    <a:pt x="1296" y="1548"/>
                  </a:lnTo>
                  <a:lnTo>
                    <a:pt x="1290" y="1554"/>
                  </a:lnTo>
                  <a:lnTo>
                    <a:pt x="1284" y="1560"/>
                  </a:lnTo>
                  <a:lnTo>
                    <a:pt x="1284" y="1566"/>
                  </a:lnTo>
                  <a:lnTo>
                    <a:pt x="1290" y="1578"/>
                  </a:lnTo>
                  <a:lnTo>
                    <a:pt x="1296" y="1590"/>
                  </a:lnTo>
                  <a:lnTo>
                    <a:pt x="1302" y="1590"/>
                  </a:lnTo>
                  <a:lnTo>
                    <a:pt x="1308" y="1596"/>
                  </a:lnTo>
                  <a:lnTo>
                    <a:pt x="1320" y="1602"/>
                  </a:lnTo>
                  <a:lnTo>
                    <a:pt x="1326" y="1602"/>
                  </a:lnTo>
                  <a:lnTo>
                    <a:pt x="1326" y="1608"/>
                  </a:lnTo>
                  <a:lnTo>
                    <a:pt x="1332" y="1614"/>
                  </a:lnTo>
                  <a:lnTo>
                    <a:pt x="1344" y="1620"/>
                  </a:lnTo>
                  <a:lnTo>
                    <a:pt x="1356" y="1626"/>
                  </a:lnTo>
                  <a:lnTo>
                    <a:pt x="1356" y="1632"/>
                  </a:lnTo>
                  <a:lnTo>
                    <a:pt x="1356" y="1638"/>
                  </a:lnTo>
                  <a:lnTo>
                    <a:pt x="1362" y="1644"/>
                  </a:lnTo>
                  <a:lnTo>
                    <a:pt x="1368" y="1644"/>
                  </a:lnTo>
                  <a:lnTo>
                    <a:pt x="1380" y="1650"/>
                  </a:lnTo>
                  <a:lnTo>
                    <a:pt x="1386" y="1650"/>
                  </a:lnTo>
                  <a:lnTo>
                    <a:pt x="1386" y="1656"/>
                  </a:lnTo>
                  <a:lnTo>
                    <a:pt x="1392" y="1656"/>
                  </a:lnTo>
                  <a:lnTo>
                    <a:pt x="1398" y="1662"/>
                  </a:lnTo>
                  <a:lnTo>
                    <a:pt x="1410" y="1674"/>
                  </a:lnTo>
                  <a:lnTo>
                    <a:pt x="1428" y="1680"/>
                  </a:lnTo>
                  <a:lnTo>
                    <a:pt x="1428" y="1686"/>
                  </a:lnTo>
                  <a:lnTo>
                    <a:pt x="1428" y="1698"/>
                  </a:lnTo>
                  <a:lnTo>
                    <a:pt x="1434" y="1704"/>
                  </a:lnTo>
                  <a:lnTo>
                    <a:pt x="1434" y="1710"/>
                  </a:lnTo>
                  <a:lnTo>
                    <a:pt x="1440" y="1710"/>
                  </a:lnTo>
                  <a:lnTo>
                    <a:pt x="1446" y="1710"/>
                  </a:lnTo>
                  <a:lnTo>
                    <a:pt x="1446" y="1716"/>
                  </a:lnTo>
                  <a:lnTo>
                    <a:pt x="1440" y="1722"/>
                  </a:lnTo>
                  <a:lnTo>
                    <a:pt x="1440" y="1728"/>
                  </a:lnTo>
                  <a:lnTo>
                    <a:pt x="1440" y="1734"/>
                  </a:lnTo>
                  <a:lnTo>
                    <a:pt x="1440" y="1740"/>
                  </a:lnTo>
                  <a:lnTo>
                    <a:pt x="1440" y="1746"/>
                  </a:lnTo>
                  <a:lnTo>
                    <a:pt x="1440" y="1788"/>
                  </a:lnTo>
                  <a:lnTo>
                    <a:pt x="1440" y="1800"/>
                  </a:lnTo>
                  <a:lnTo>
                    <a:pt x="1440" y="1806"/>
                  </a:lnTo>
                  <a:lnTo>
                    <a:pt x="1440" y="1836"/>
                  </a:lnTo>
                  <a:lnTo>
                    <a:pt x="1440" y="1848"/>
                  </a:lnTo>
                  <a:lnTo>
                    <a:pt x="1446" y="1848"/>
                  </a:lnTo>
                  <a:lnTo>
                    <a:pt x="1446" y="1854"/>
                  </a:lnTo>
                  <a:lnTo>
                    <a:pt x="1452" y="1848"/>
                  </a:lnTo>
                  <a:lnTo>
                    <a:pt x="1458" y="1854"/>
                  </a:lnTo>
                  <a:lnTo>
                    <a:pt x="1452" y="1860"/>
                  </a:lnTo>
                  <a:lnTo>
                    <a:pt x="1452" y="1866"/>
                  </a:lnTo>
                  <a:lnTo>
                    <a:pt x="1458" y="1872"/>
                  </a:lnTo>
                  <a:lnTo>
                    <a:pt x="1464" y="1884"/>
                  </a:lnTo>
                  <a:lnTo>
                    <a:pt x="1428" y="1878"/>
                  </a:lnTo>
                  <a:lnTo>
                    <a:pt x="1356" y="1890"/>
                  </a:lnTo>
                  <a:lnTo>
                    <a:pt x="1296" y="1926"/>
                  </a:lnTo>
                  <a:lnTo>
                    <a:pt x="1266" y="1944"/>
                  </a:lnTo>
                  <a:lnTo>
                    <a:pt x="1224" y="1944"/>
                  </a:lnTo>
                  <a:lnTo>
                    <a:pt x="1188" y="1956"/>
                  </a:lnTo>
                  <a:lnTo>
                    <a:pt x="1188" y="1950"/>
                  </a:lnTo>
                  <a:lnTo>
                    <a:pt x="1176" y="1944"/>
                  </a:lnTo>
                  <a:lnTo>
                    <a:pt x="1176" y="1938"/>
                  </a:lnTo>
                  <a:lnTo>
                    <a:pt x="1170" y="1938"/>
                  </a:lnTo>
                  <a:lnTo>
                    <a:pt x="1164" y="1932"/>
                  </a:lnTo>
                  <a:lnTo>
                    <a:pt x="1158" y="1926"/>
                  </a:lnTo>
                  <a:lnTo>
                    <a:pt x="1158" y="1920"/>
                  </a:lnTo>
                  <a:lnTo>
                    <a:pt x="1152" y="1920"/>
                  </a:lnTo>
                  <a:lnTo>
                    <a:pt x="1146" y="1914"/>
                  </a:lnTo>
                  <a:lnTo>
                    <a:pt x="1146" y="1908"/>
                  </a:lnTo>
                  <a:lnTo>
                    <a:pt x="1140" y="1908"/>
                  </a:lnTo>
                  <a:lnTo>
                    <a:pt x="1134" y="1902"/>
                  </a:lnTo>
                  <a:lnTo>
                    <a:pt x="1134" y="1896"/>
                  </a:lnTo>
                  <a:lnTo>
                    <a:pt x="1116" y="1896"/>
                  </a:lnTo>
                  <a:lnTo>
                    <a:pt x="1104" y="1884"/>
                  </a:lnTo>
                  <a:lnTo>
                    <a:pt x="1092" y="1860"/>
                  </a:lnTo>
                  <a:lnTo>
                    <a:pt x="1068" y="1854"/>
                  </a:lnTo>
                  <a:lnTo>
                    <a:pt x="1032" y="1842"/>
                  </a:lnTo>
                  <a:lnTo>
                    <a:pt x="1008" y="1836"/>
                  </a:lnTo>
                  <a:lnTo>
                    <a:pt x="978" y="1824"/>
                  </a:lnTo>
                  <a:lnTo>
                    <a:pt x="942" y="1818"/>
                  </a:lnTo>
                  <a:lnTo>
                    <a:pt x="924" y="1806"/>
                  </a:lnTo>
                  <a:lnTo>
                    <a:pt x="906" y="1788"/>
                  </a:lnTo>
                  <a:lnTo>
                    <a:pt x="894" y="1776"/>
                  </a:lnTo>
                  <a:lnTo>
                    <a:pt x="864" y="1758"/>
                  </a:lnTo>
                  <a:lnTo>
                    <a:pt x="834" y="1752"/>
                  </a:lnTo>
                  <a:lnTo>
                    <a:pt x="798" y="1746"/>
                  </a:lnTo>
                  <a:lnTo>
                    <a:pt x="792" y="1806"/>
                  </a:lnTo>
                  <a:lnTo>
                    <a:pt x="798" y="1812"/>
                  </a:lnTo>
                  <a:lnTo>
                    <a:pt x="810" y="1830"/>
                  </a:lnTo>
                  <a:lnTo>
                    <a:pt x="792" y="1842"/>
                  </a:lnTo>
                  <a:lnTo>
                    <a:pt x="768" y="1842"/>
                  </a:lnTo>
                  <a:lnTo>
                    <a:pt x="708" y="1848"/>
                  </a:lnTo>
                  <a:lnTo>
                    <a:pt x="690" y="1860"/>
                  </a:lnTo>
                  <a:lnTo>
                    <a:pt x="690" y="1866"/>
                  </a:lnTo>
                  <a:lnTo>
                    <a:pt x="678" y="1878"/>
                  </a:lnTo>
                  <a:lnTo>
                    <a:pt x="660" y="1884"/>
                  </a:lnTo>
                  <a:lnTo>
                    <a:pt x="660" y="1902"/>
                  </a:lnTo>
                  <a:lnTo>
                    <a:pt x="642" y="1902"/>
                  </a:lnTo>
                  <a:lnTo>
                    <a:pt x="582" y="1914"/>
                  </a:lnTo>
                  <a:lnTo>
                    <a:pt x="534" y="1908"/>
                  </a:lnTo>
                  <a:lnTo>
                    <a:pt x="510" y="1908"/>
                  </a:lnTo>
                  <a:lnTo>
                    <a:pt x="510" y="1896"/>
                  </a:lnTo>
                  <a:lnTo>
                    <a:pt x="492" y="1896"/>
                  </a:lnTo>
                  <a:lnTo>
                    <a:pt x="486" y="1902"/>
                  </a:lnTo>
                  <a:lnTo>
                    <a:pt x="474" y="1908"/>
                  </a:lnTo>
                  <a:lnTo>
                    <a:pt x="450" y="1908"/>
                  </a:lnTo>
                  <a:lnTo>
                    <a:pt x="432" y="1902"/>
                  </a:lnTo>
                  <a:lnTo>
                    <a:pt x="426" y="1896"/>
                  </a:lnTo>
                  <a:lnTo>
                    <a:pt x="402" y="1884"/>
                  </a:lnTo>
                  <a:lnTo>
                    <a:pt x="390" y="1872"/>
                  </a:lnTo>
                  <a:lnTo>
                    <a:pt x="384" y="1872"/>
                  </a:lnTo>
                  <a:lnTo>
                    <a:pt x="378" y="1872"/>
                  </a:lnTo>
                  <a:lnTo>
                    <a:pt x="378" y="1866"/>
                  </a:lnTo>
                  <a:lnTo>
                    <a:pt x="372" y="1860"/>
                  </a:lnTo>
                  <a:lnTo>
                    <a:pt x="372" y="1854"/>
                  </a:lnTo>
                  <a:lnTo>
                    <a:pt x="366" y="1842"/>
                  </a:lnTo>
                  <a:lnTo>
                    <a:pt x="366" y="1836"/>
                  </a:lnTo>
                  <a:lnTo>
                    <a:pt x="348" y="1830"/>
                  </a:lnTo>
                  <a:lnTo>
                    <a:pt x="348" y="1806"/>
                  </a:lnTo>
                  <a:lnTo>
                    <a:pt x="348" y="1800"/>
                  </a:lnTo>
                  <a:lnTo>
                    <a:pt x="348" y="1782"/>
                  </a:lnTo>
                  <a:lnTo>
                    <a:pt x="336" y="1788"/>
                  </a:lnTo>
                  <a:lnTo>
                    <a:pt x="312" y="1794"/>
                  </a:lnTo>
                  <a:lnTo>
                    <a:pt x="288" y="1788"/>
                  </a:lnTo>
                  <a:lnTo>
                    <a:pt x="264" y="1758"/>
                  </a:lnTo>
                  <a:lnTo>
                    <a:pt x="270" y="1758"/>
                  </a:lnTo>
                  <a:lnTo>
                    <a:pt x="270" y="1752"/>
                  </a:lnTo>
                  <a:lnTo>
                    <a:pt x="276" y="1752"/>
                  </a:lnTo>
                  <a:lnTo>
                    <a:pt x="282" y="1746"/>
                  </a:lnTo>
                  <a:lnTo>
                    <a:pt x="300" y="1746"/>
                  </a:lnTo>
                  <a:lnTo>
                    <a:pt x="312" y="1746"/>
                  </a:lnTo>
                  <a:lnTo>
                    <a:pt x="336" y="1710"/>
                  </a:lnTo>
                  <a:lnTo>
                    <a:pt x="342" y="1692"/>
                  </a:lnTo>
                  <a:lnTo>
                    <a:pt x="348" y="1680"/>
                  </a:lnTo>
                  <a:lnTo>
                    <a:pt x="342" y="1650"/>
                  </a:lnTo>
                  <a:lnTo>
                    <a:pt x="354" y="1644"/>
                  </a:lnTo>
                  <a:lnTo>
                    <a:pt x="354" y="1638"/>
                  </a:lnTo>
                  <a:lnTo>
                    <a:pt x="360" y="1632"/>
                  </a:lnTo>
                  <a:lnTo>
                    <a:pt x="354" y="1626"/>
                  </a:lnTo>
                  <a:lnTo>
                    <a:pt x="348" y="1626"/>
                  </a:lnTo>
                  <a:lnTo>
                    <a:pt x="348" y="1620"/>
                  </a:lnTo>
                  <a:lnTo>
                    <a:pt x="342" y="1620"/>
                  </a:lnTo>
                  <a:lnTo>
                    <a:pt x="348" y="1614"/>
                  </a:lnTo>
                  <a:lnTo>
                    <a:pt x="324" y="1566"/>
                  </a:lnTo>
                  <a:lnTo>
                    <a:pt x="318" y="1566"/>
                  </a:lnTo>
                  <a:lnTo>
                    <a:pt x="306" y="1572"/>
                  </a:lnTo>
                  <a:lnTo>
                    <a:pt x="300" y="1572"/>
                  </a:lnTo>
                  <a:lnTo>
                    <a:pt x="294" y="1578"/>
                  </a:lnTo>
                  <a:lnTo>
                    <a:pt x="288" y="1584"/>
                  </a:lnTo>
                  <a:lnTo>
                    <a:pt x="282" y="1584"/>
                  </a:lnTo>
                  <a:lnTo>
                    <a:pt x="282" y="1578"/>
                  </a:lnTo>
                  <a:lnTo>
                    <a:pt x="276" y="1578"/>
                  </a:lnTo>
                  <a:lnTo>
                    <a:pt x="270" y="1578"/>
                  </a:lnTo>
                  <a:lnTo>
                    <a:pt x="264" y="1578"/>
                  </a:lnTo>
                  <a:lnTo>
                    <a:pt x="258" y="1578"/>
                  </a:lnTo>
                  <a:lnTo>
                    <a:pt x="252" y="1578"/>
                  </a:lnTo>
                  <a:lnTo>
                    <a:pt x="252" y="1584"/>
                  </a:lnTo>
                  <a:lnTo>
                    <a:pt x="246" y="1584"/>
                  </a:lnTo>
                  <a:lnTo>
                    <a:pt x="210" y="1584"/>
                  </a:lnTo>
                  <a:lnTo>
                    <a:pt x="204" y="1584"/>
                  </a:lnTo>
                  <a:lnTo>
                    <a:pt x="192" y="1584"/>
                  </a:lnTo>
                  <a:lnTo>
                    <a:pt x="168" y="1596"/>
                  </a:lnTo>
                  <a:lnTo>
                    <a:pt x="156" y="1572"/>
                  </a:lnTo>
                  <a:lnTo>
                    <a:pt x="156" y="1566"/>
                  </a:lnTo>
                  <a:lnTo>
                    <a:pt x="156" y="1560"/>
                  </a:lnTo>
                  <a:lnTo>
                    <a:pt x="162" y="1548"/>
                  </a:lnTo>
                  <a:lnTo>
                    <a:pt x="162" y="1542"/>
                  </a:lnTo>
                  <a:lnTo>
                    <a:pt x="162" y="1536"/>
                  </a:lnTo>
                  <a:lnTo>
                    <a:pt x="168" y="1530"/>
                  </a:lnTo>
                  <a:lnTo>
                    <a:pt x="168" y="1524"/>
                  </a:lnTo>
                  <a:lnTo>
                    <a:pt x="168" y="1518"/>
                  </a:lnTo>
                  <a:lnTo>
                    <a:pt x="174" y="1518"/>
                  </a:lnTo>
                  <a:lnTo>
                    <a:pt x="174" y="1506"/>
                  </a:lnTo>
                  <a:lnTo>
                    <a:pt x="156" y="1470"/>
                  </a:lnTo>
                  <a:lnTo>
                    <a:pt x="138" y="1464"/>
                  </a:lnTo>
                  <a:lnTo>
                    <a:pt x="126" y="1446"/>
                  </a:lnTo>
                  <a:lnTo>
                    <a:pt x="126" y="1440"/>
                  </a:lnTo>
                  <a:lnTo>
                    <a:pt x="126" y="1434"/>
                  </a:lnTo>
                  <a:lnTo>
                    <a:pt x="120" y="1428"/>
                  </a:lnTo>
                  <a:lnTo>
                    <a:pt x="126" y="1398"/>
                  </a:lnTo>
                  <a:lnTo>
                    <a:pt x="120" y="1374"/>
                  </a:lnTo>
                  <a:lnTo>
                    <a:pt x="60" y="1374"/>
                  </a:lnTo>
                  <a:lnTo>
                    <a:pt x="60" y="1368"/>
                  </a:lnTo>
                  <a:lnTo>
                    <a:pt x="54" y="1362"/>
                  </a:lnTo>
                  <a:lnTo>
                    <a:pt x="48" y="1356"/>
                  </a:lnTo>
                  <a:lnTo>
                    <a:pt x="42" y="1356"/>
                  </a:lnTo>
                  <a:lnTo>
                    <a:pt x="42" y="1350"/>
                  </a:lnTo>
                  <a:lnTo>
                    <a:pt x="36" y="1344"/>
                  </a:lnTo>
                  <a:lnTo>
                    <a:pt x="36" y="1338"/>
                  </a:lnTo>
                  <a:lnTo>
                    <a:pt x="30" y="1332"/>
                  </a:lnTo>
                  <a:lnTo>
                    <a:pt x="30" y="1326"/>
                  </a:lnTo>
                  <a:lnTo>
                    <a:pt x="18" y="1326"/>
                  </a:lnTo>
                  <a:lnTo>
                    <a:pt x="18" y="1320"/>
                  </a:lnTo>
                  <a:lnTo>
                    <a:pt x="18" y="1326"/>
                  </a:lnTo>
                  <a:lnTo>
                    <a:pt x="6" y="1320"/>
                  </a:lnTo>
                  <a:lnTo>
                    <a:pt x="0" y="1314"/>
                  </a:lnTo>
                  <a:lnTo>
                    <a:pt x="12" y="1266"/>
                  </a:lnTo>
                  <a:lnTo>
                    <a:pt x="6" y="1242"/>
                  </a:lnTo>
                  <a:lnTo>
                    <a:pt x="12" y="1236"/>
                  </a:lnTo>
                  <a:lnTo>
                    <a:pt x="12" y="1230"/>
                  </a:lnTo>
                  <a:lnTo>
                    <a:pt x="18" y="1230"/>
                  </a:lnTo>
                  <a:lnTo>
                    <a:pt x="18" y="1224"/>
                  </a:lnTo>
                  <a:lnTo>
                    <a:pt x="24" y="1218"/>
                  </a:lnTo>
                  <a:lnTo>
                    <a:pt x="24" y="1212"/>
                  </a:lnTo>
                  <a:lnTo>
                    <a:pt x="30" y="1212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48" y="1188"/>
                  </a:lnTo>
                  <a:lnTo>
                    <a:pt x="48" y="1182"/>
                  </a:lnTo>
                  <a:lnTo>
                    <a:pt x="48" y="1176"/>
                  </a:lnTo>
                  <a:lnTo>
                    <a:pt x="48" y="1170"/>
                  </a:lnTo>
                  <a:lnTo>
                    <a:pt x="54" y="1170"/>
                  </a:lnTo>
                  <a:lnTo>
                    <a:pt x="60" y="1164"/>
                  </a:lnTo>
                  <a:lnTo>
                    <a:pt x="60" y="1158"/>
                  </a:lnTo>
                  <a:lnTo>
                    <a:pt x="66" y="1152"/>
                  </a:lnTo>
                  <a:lnTo>
                    <a:pt x="60" y="1140"/>
                  </a:lnTo>
                  <a:lnTo>
                    <a:pt x="60" y="1134"/>
                  </a:lnTo>
                  <a:lnTo>
                    <a:pt x="54" y="1134"/>
                  </a:lnTo>
                  <a:lnTo>
                    <a:pt x="54" y="1128"/>
                  </a:lnTo>
                  <a:lnTo>
                    <a:pt x="48" y="1122"/>
                  </a:lnTo>
                  <a:lnTo>
                    <a:pt x="48" y="1116"/>
                  </a:lnTo>
                  <a:lnTo>
                    <a:pt x="48" y="1110"/>
                  </a:lnTo>
                  <a:lnTo>
                    <a:pt x="42" y="1104"/>
                  </a:lnTo>
                  <a:lnTo>
                    <a:pt x="42" y="1098"/>
                  </a:lnTo>
                  <a:lnTo>
                    <a:pt x="36" y="1092"/>
                  </a:lnTo>
                  <a:lnTo>
                    <a:pt x="30" y="1092"/>
                  </a:lnTo>
                  <a:lnTo>
                    <a:pt x="24" y="1092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18" y="1080"/>
                  </a:lnTo>
                  <a:lnTo>
                    <a:pt x="18" y="1074"/>
                  </a:lnTo>
                  <a:lnTo>
                    <a:pt x="12" y="1068"/>
                  </a:lnTo>
                  <a:lnTo>
                    <a:pt x="6" y="1068"/>
                  </a:lnTo>
                  <a:lnTo>
                    <a:pt x="12" y="1056"/>
                  </a:lnTo>
                  <a:lnTo>
                    <a:pt x="6" y="1056"/>
                  </a:lnTo>
                  <a:lnTo>
                    <a:pt x="6" y="1050"/>
                  </a:lnTo>
                  <a:lnTo>
                    <a:pt x="6" y="1044"/>
                  </a:lnTo>
                  <a:lnTo>
                    <a:pt x="6" y="1026"/>
                  </a:lnTo>
                  <a:lnTo>
                    <a:pt x="12" y="1020"/>
                  </a:lnTo>
                  <a:lnTo>
                    <a:pt x="12" y="1014"/>
                  </a:lnTo>
                  <a:lnTo>
                    <a:pt x="18" y="1014"/>
                  </a:lnTo>
                  <a:lnTo>
                    <a:pt x="18" y="1008"/>
                  </a:lnTo>
                  <a:lnTo>
                    <a:pt x="18" y="1002"/>
                  </a:lnTo>
                  <a:lnTo>
                    <a:pt x="18" y="990"/>
                  </a:lnTo>
                  <a:lnTo>
                    <a:pt x="12" y="972"/>
                  </a:lnTo>
                  <a:lnTo>
                    <a:pt x="18" y="954"/>
                  </a:lnTo>
                  <a:lnTo>
                    <a:pt x="18" y="948"/>
                  </a:lnTo>
                  <a:lnTo>
                    <a:pt x="24" y="948"/>
                  </a:lnTo>
                  <a:lnTo>
                    <a:pt x="24" y="930"/>
                  </a:lnTo>
                  <a:lnTo>
                    <a:pt x="30" y="930"/>
                  </a:lnTo>
                  <a:lnTo>
                    <a:pt x="36" y="918"/>
                  </a:lnTo>
                  <a:lnTo>
                    <a:pt x="42" y="918"/>
                  </a:lnTo>
                  <a:lnTo>
                    <a:pt x="48" y="918"/>
                  </a:lnTo>
                  <a:lnTo>
                    <a:pt x="78" y="912"/>
                  </a:lnTo>
                  <a:lnTo>
                    <a:pt x="90" y="894"/>
                  </a:lnTo>
                  <a:lnTo>
                    <a:pt x="96" y="894"/>
                  </a:lnTo>
                  <a:lnTo>
                    <a:pt x="102" y="888"/>
                  </a:lnTo>
                  <a:lnTo>
                    <a:pt x="102" y="882"/>
                  </a:lnTo>
                  <a:lnTo>
                    <a:pt x="114" y="870"/>
                  </a:lnTo>
                  <a:lnTo>
                    <a:pt x="120" y="864"/>
                  </a:lnTo>
                  <a:lnTo>
                    <a:pt x="120" y="852"/>
                  </a:lnTo>
                  <a:lnTo>
                    <a:pt x="120" y="846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32" y="840"/>
                  </a:lnTo>
                  <a:lnTo>
                    <a:pt x="138" y="840"/>
                  </a:lnTo>
                  <a:lnTo>
                    <a:pt x="138" y="834"/>
                  </a:lnTo>
                  <a:lnTo>
                    <a:pt x="144" y="834"/>
                  </a:lnTo>
                  <a:lnTo>
                    <a:pt x="144" y="828"/>
                  </a:lnTo>
                  <a:lnTo>
                    <a:pt x="150" y="828"/>
                  </a:lnTo>
                  <a:lnTo>
                    <a:pt x="156" y="822"/>
                  </a:lnTo>
                  <a:lnTo>
                    <a:pt x="162" y="816"/>
                  </a:lnTo>
                  <a:lnTo>
                    <a:pt x="162" y="822"/>
                  </a:lnTo>
                  <a:lnTo>
                    <a:pt x="162" y="816"/>
                  </a:lnTo>
                  <a:lnTo>
                    <a:pt x="162" y="810"/>
                  </a:lnTo>
                  <a:lnTo>
                    <a:pt x="168" y="810"/>
                  </a:lnTo>
                  <a:lnTo>
                    <a:pt x="174" y="804"/>
                  </a:lnTo>
                  <a:lnTo>
                    <a:pt x="180" y="798"/>
                  </a:lnTo>
                  <a:lnTo>
                    <a:pt x="180" y="786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8" y="780"/>
                  </a:lnTo>
                  <a:lnTo>
                    <a:pt x="204" y="774"/>
                  </a:lnTo>
                  <a:lnTo>
                    <a:pt x="210" y="774"/>
                  </a:lnTo>
                  <a:lnTo>
                    <a:pt x="216" y="768"/>
                  </a:lnTo>
                  <a:lnTo>
                    <a:pt x="222" y="762"/>
                  </a:lnTo>
                  <a:lnTo>
                    <a:pt x="228" y="762"/>
                  </a:lnTo>
                  <a:lnTo>
                    <a:pt x="228" y="768"/>
                  </a:lnTo>
                  <a:lnTo>
                    <a:pt x="234" y="768"/>
                  </a:lnTo>
                  <a:lnTo>
                    <a:pt x="240" y="762"/>
                  </a:lnTo>
                  <a:lnTo>
                    <a:pt x="252" y="762"/>
                  </a:lnTo>
                  <a:lnTo>
                    <a:pt x="264" y="768"/>
                  </a:lnTo>
                  <a:lnTo>
                    <a:pt x="294" y="756"/>
                  </a:lnTo>
                  <a:lnTo>
                    <a:pt x="294" y="750"/>
                  </a:lnTo>
                  <a:lnTo>
                    <a:pt x="300" y="750"/>
                  </a:lnTo>
                  <a:lnTo>
                    <a:pt x="306" y="744"/>
                  </a:lnTo>
                  <a:lnTo>
                    <a:pt x="342" y="750"/>
                  </a:lnTo>
                  <a:lnTo>
                    <a:pt x="348" y="750"/>
                  </a:lnTo>
                  <a:lnTo>
                    <a:pt x="348" y="744"/>
                  </a:lnTo>
                  <a:lnTo>
                    <a:pt x="354" y="744"/>
                  </a:lnTo>
                  <a:lnTo>
                    <a:pt x="360" y="744"/>
                  </a:lnTo>
                  <a:lnTo>
                    <a:pt x="360" y="750"/>
                  </a:lnTo>
                  <a:lnTo>
                    <a:pt x="366" y="750"/>
                  </a:lnTo>
                  <a:lnTo>
                    <a:pt x="366" y="744"/>
                  </a:lnTo>
                  <a:lnTo>
                    <a:pt x="366" y="738"/>
                  </a:lnTo>
                  <a:lnTo>
                    <a:pt x="372" y="744"/>
                  </a:lnTo>
                  <a:lnTo>
                    <a:pt x="378" y="744"/>
                  </a:lnTo>
                  <a:lnTo>
                    <a:pt x="384" y="750"/>
                  </a:lnTo>
                  <a:lnTo>
                    <a:pt x="444" y="774"/>
                  </a:lnTo>
                  <a:lnTo>
                    <a:pt x="450" y="774"/>
                  </a:lnTo>
                  <a:lnTo>
                    <a:pt x="456" y="768"/>
                  </a:lnTo>
                  <a:lnTo>
                    <a:pt x="462" y="768"/>
                  </a:lnTo>
                  <a:lnTo>
                    <a:pt x="462" y="762"/>
                  </a:lnTo>
                  <a:lnTo>
                    <a:pt x="468" y="762"/>
                  </a:lnTo>
                  <a:lnTo>
                    <a:pt x="474" y="756"/>
                  </a:lnTo>
                  <a:lnTo>
                    <a:pt x="480" y="750"/>
                  </a:lnTo>
                  <a:lnTo>
                    <a:pt x="516" y="756"/>
                  </a:lnTo>
                  <a:lnTo>
                    <a:pt x="522" y="756"/>
                  </a:lnTo>
                  <a:lnTo>
                    <a:pt x="522" y="762"/>
                  </a:lnTo>
                  <a:lnTo>
                    <a:pt x="522" y="768"/>
                  </a:lnTo>
                  <a:lnTo>
                    <a:pt x="522" y="774"/>
                  </a:lnTo>
                  <a:lnTo>
                    <a:pt x="528" y="780"/>
                  </a:lnTo>
                  <a:lnTo>
                    <a:pt x="540" y="780"/>
                  </a:lnTo>
                  <a:lnTo>
                    <a:pt x="540" y="804"/>
                  </a:lnTo>
                  <a:lnTo>
                    <a:pt x="540" y="810"/>
                  </a:lnTo>
                  <a:lnTo>
                    <a:pt x="546" y="810"/>
                  </a:lnTo>
                  <a:lnTo>
                    <a:pt x="552" y="810"/>
                  </a:lnTo>
                  <a:lnTo>
                    <a:pt x="558" y="810"/>
                  </a:lnTo>
                  <a:lnTo>
                    <a:pt x="564" y="810"/>
                  </a:lnTo>
                  <a:lnTo>
                    <a:pt x="570" y="810"/>
                  </a:lnTo>
                  <a:lnTo>
                    <a:pt x="576" y="810"/>
                  </a:lnTo>
                  <a:lnTo>
                    <a:pt x="576" y="816"/>
                  </a:lnTo>
                  <a:lnTo>
                    <a:pt x="588" y="816"/>
                  </a:lnTo>
                  <a:lnTo>
                    <a:pt x="594" y="816"/>
                  </a:lnTo>
                  <a:lnTo>
                    <a:pt x="600" y="822"/>
                  </a:lnTo>
                  <a:lnTo>
                    <a:pt x="606" y="816"/>
                  </a:lnTo>
                  <a:lnTo>
                    <a:pt x="612" y="816"/>
                  </a:lnTo>
                  <a:lnTo>
                    <a:pt x="612" y="810"/>
                  </a:lnTo>
                  <a:lnTo>
                    <a:pt x="624" y="810"/>
                  </a:lnTo>
                  <a:lnTo>
                    <a:pt x="624" y="804"/>
                  </a:lnTo>
                  <a:lnTo>
                    <a:pt x="630" y="798"/>
                  </a:lnTo>
                  <a:lnTo>
                    <a:pt x="636" y="798"/>
                  </a:lnTo>
                  <a:lnTo>
                    <a:pt x="636" y="804"/>
                  </a:lnTo>
                  <a:lnTo>
                    <a:pt x="642" y="804"/>
                  </a:lnTo>
                  <a:lnTo>
                    <a:pt x="648" y="804"/>
                  </a:lnTo>
                  <a:lnTo>
                    <a:pt x="654" y="804"/>
                  </a:lnTo>
                  <a:lnTo>
                    <a:pt x="660" y="804"/>
                  </a:lnTo>
                  <a:lnTo>
                    <a:pt x="678" y="798"/>
                  </a:lnTo>
                  <a:lnTo>
                    <a:pt x="714" y="786"/>
                  </a:lnTo>
                  <a:lnTo>
                    <a:pt x="714" y="792"/>
                  </a:lnTo>
                  <a:lnTo>
                    <a:pt x="714" y="798"/>
                  </a:lnTo>
                  <a:lnTo>
                    <a:pt x="714" y="804"/>
                  </a:lnTo>
                  <a:lnTo>
                    <a:pt x="720" y="804"/>
                  </a:lnTo>
                  <a:lnTo>
                    <a:pt x="720" y="810"/>
                  </a:lnTo>
                  <a:lnTo>
                    <a:pt x="720" y="816"/>
                  </a:lnTo>
                  <a:lnTo>
                    <a:pt x="726" y="822"/>
                  </a:lnTo>
                  <a:lnTo>
                    <a:pt x="732" y="828"/>
                  </a:lnTo>
                  <a:lnTo>
                    <a:pt x="732" y="834"/>
                  </a:lnTo>
                  <a:lnTo>
                    <a:pt x="732" y="846"/>
                  </a:lnTo>
                  <a:lnTo>
                    <a:pt x="732" y="858"/>
                  </a:lnTo>
                  <a:lnTo>
                    <a:pt x="738" y="858"/>
                  </a:lnTo>
                  <a:lnTo>
                    <a:pt x="732" y="864"/>
                  </a:lnTo>
                  <a:lnTo>
                    <a:pt x="732" y="870"/>
                  </a:lnTo>
                  <a:lnTo>
                    <a:pt x="726" y="870"/>
                  </a:lnTo>
                  <a:lnTo>
                    <a:pt x="726" y="876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0" y="882"/>
                  </a:lnTo>
                  <a:lnTo>
                    <a:pt x="690" y="912"/>
                  </a:lnTo>
                  <a:lnTo>
                    <a:pt x="696" y="936"/>
                  </a:lnTo>
                  <a:lnTo>
                    <a:pt x="702" y="936"/>
                  </a:lnTo>
                  <a:lnTo>
                    <a:pt x="702" y="930"/>
                  </a:lnTo>
                  <a:lnTo>
                    <a:pt x="708" y="930"/>
                  </a:lnTo>
                  <a:lnTo>
                    <a:pt x="708" y="924"/>
                  </a:lnTo>
                  <a:lnTo>
                    <a:pt x="708" y="918"/>
                  </a:lnTo>
                  <a:lnTo>
                    <a:pt x="714" y="918"/>
                  </a:lnTo>
                  <a:lnTo>
                    <a:pt x="720" y="954"/>
                  </a:lnTo>
                  <a:lnTo>
                    <a:pt x="726" y="966"/>
                  </a:lnTo>
                  <a:lnTo>
                    <a:pt x="744" y="966"/>
                  </a:lnTo>
                  <a:lnTo>
                    <a:pt x="756" y="972"/>
                  </a:lnTo>
                  <a:lnTo>
                    <a:pt x="792" y="990"/>
                  </a:lnTo>
                  <a:lnTo>
                    <a:pt x="828" y="978"/>
                  </a:lnTo>
                  <a:lnTo>
                    <a:pt x="834" y="978"/>
                  </a:lnTo>
                  <a:lnTo>
                    <a:pt x="840" y="978"/>
                  </a:lnTo>
                  <a:lnTo>
                    <a:pt x="840" y="984"/>
                  </a:lnTo>
                  <a:lnTo>
                    <a:pt x="846" y="984"/>
                  </a:lnTo>
                  <a:lnTo>
                    <a:pt x="858" y="972"/>
                  </a:lnTo>
                  <a:lnTo>
                    <a:pt x="882" y="972"/>
                  </a:lnTo>
                  <a:lnTo>
                    <a:pt x="888" y="984"/>
                  </a:lnTo>
                  <a:lnTo>
                    <a:pt x="900" y="990"/>
                  </a:lnTo>
                  <a:lnTo>
                    <a:pt x="924" y="996"/>
                  </a:lnTo>
                  <a:lnTo>
                    <a:pt x="930" y="990"/>
                  </a:lnTo>
                  <a:lnTo>
                    <a:pt x="930" y="984"/>
                  </a:lnTo>
                  <a:lnTo>
                    <a:pt x="924" y="978"/>
                  </a:lnTo>
                  <a:lnTo>
                    <a:pt x="906" y="972"/>
                  </a:lnTo>
                  <a:lnTo>
                    <a:pt x="900" y="966"/>
                  </a:lnTo>
                  <a:lnTo>
                    <a:pt x="900" y="960"/>
                  </a:lnTo>
                  <a:lnTo>
                    <a:pt x="900" y="954"/>
                  </a:lnTo>
                  <a:lnTo>
                    <a:pt x="900" y="948"/>
                  </a:lnTo>
                  <a:lnTo>
                    <a:pt x="912" y="936"/>
                  </a:lnTo>
                  <a:lnTo>
                    <a:pt x="912" y="924"/>
                  </a:lnTo>
                  <a:lnTo>
                    <a:pt x="918" y="924"/>
                  </a:lnTo>
                  <a:lnTo>
                    <a:pt x="918" y="918"/>
                  </a:lnTo>
                  <a:lnTo>
                    <a:pt x="936" y="906"/>
                  </a:lnTo>
                  <a:lnTo>
                    <a:pt x="942" y="906"/>
                  </a:lnTo>
                  <a:lnTo>
                    <a:pt x="948" y="906"/>
                  </a:lnTo>
                  <a:lnTo>
                    <a:pt x="954" y="906"/>
                  </a:lnTo>
                  <a:lnTo>
                    <a:pt x="960" y="906"/>
                  </a:lnTo>
                  <a:lnTo>
                    <a:pt x="966" y="912"/>
                  </a:lnTo>
                  <a:lnTo>
                    <a:pt x="972" y="906"/>
                  </a:lnTo>
                  <a:lnTo>
                    <a:pt x="978" y="906"/>
                  </a:lnTo>
                  <a:lnTo>
                    <a:pt x="984" y="900"/>
                  </a:lnTo>
                  <a:lnTo>
                    <a:pt x="984" y="894"/>
                  </a:lnTo>
                  <a:lnTo>
                    <a:pt x="990" y="894"/>
                  </a:lnTo>
                  <a:lnTo>
                    <a:pt x="996" y="888"/>
                  </a:lnTo>
                  <a:lnTo>
                    <a:pt x="1002" y="888"/>
                  </a:lnTo>
                  <a:lnTo>
                    <a:pt x="1008" y="882"/>
                  </a:lnTo>
                  <a:lnTo>
                    <a:pt x="1014" y="882"/>
                  </a:lnTo>
                  <a:lnTo>
                    <a:pt x="1020" y="882"/>
                  </a:lnTo>
                  <a:lnTo>
                    <a:pt x="1020" y="888"/>
                  </a:lnTo>
                  <a:lnTo>
                    <a:pt x="1026" y="882"/>
                  </a:lnTo>
                  <a:lnTo>
                    <a:pt x="1026" y="876"/>
                  </a:lnTo>
                  <a:lnTo>
                    <a:pt x="1026" y="870"/>
                  </a:lnTo>
                  <a:lnTo>
                    <a:pt x="1032" y="864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44" y="852"/>
                  </a:lnTo>
                  <a:lnTo>
                    <a:pt x="1038" y="846"/>
                  </a:lnTo>
                  <a:lnTo>
                    <a:pt x="1038" y="840"/>
                  </a:lnTo>
                  <a:lnTo>
                    <a:pt x="1032" y="840"/>
                  </a:lnTo>
                  <a:lnTo>
                    <a:pt x="1026" y="840"/>
                  </a:lnTo>
                  <a:lnTo>
                    <a:pt x="1020" y="840"/>
                  </a:lnTo>
                  <a:lnTo>
                    <a:pt x="1014" y="846"/>
                  </a:lnTo>
                  <a:lnTo>
                    <a:pt x="1008" y="846"/>
                  </a:lnTo>
                  <a:lnTo>
                    <a:pt x="1002" y="840"/>
                  </a:lnTo>
                  <a:lnTo>
                    <a:pt x="996" y="840"/>
                  </a:lnTo>
                  <a:lnTo>
                    <a:pt x="990" y="834"/>
                  </a:lnTo>
                  <a:lnTo>
                    <a:pt x="984" y="834"/>
                  </a:lnTo>
                  <a:lnTo>
                    <a:pt x="978" y="834"/>
                  </a:lnTo>
                  <a:lnTo>
                    <a:pt x="972" y="834"/>
                  </a:lnTo>
                  <a:lnTo>
                    <a:pt x="966" y="834"/>
                  </a:lnTo>
                  <a:lnTo>
                    <a:pt x="966" y="828"/>
                  </a:lnTo>
                  <a:lnTo>
                    <a:pt x="960" y="828"/>
                  </a:lnTo>
                  <a:lnTo>
                    <a:pt x="954" y="828"/>
                  </a:lnTo>
                  <a:lnTo>
                    <a:pt x="942" y="828"/>
                  </a:lnTo>
                  <a:lnTo>
                    <a:pt x="936" y="828"/>
                  </a:lnTo>
                  <a:lnTo>
                    <a:pt x="930" y="828"/>
                  </a:lnTo>
                  <a:lnTo>
                    <a:pt x="918" y="828"/>
                  </a:lnTo>
                  <a:lnTo>
                    <a:pt x="918" y="822"/>
                  </a:lnTo>
                  <a:lnTo>
                    <a:pt x="912" y="828"/>
                  </a:lnTo>
                  <a:lnTo>
                    <a:pt x="912" y="822"/>
                  </a:lnTo>
                  <a:lnTo>
                    <a:pt x="906" y="816"/>
                  </a:lnTo>
                  <a:lnTo>
                    <a:pt x="900" y="816"/>
                  </a:lnTo>
                  <a:lnTo>
                    <a:pt x="894" y="816"/>
                  </a:lnTo>
                  <a:lnTo>
                    <a:pt x="888" y="816"/>
                  </a:lnTo>
                  <a:lnTo>
                    <a:pt x="882" y="816"/>
                  </a:lnTo>
                  <a:lnTo>
                    <a:pt x="882" y="810"/>
                  </a:lnTo>
                  <a:lnTo>
                    <a:pt x="876" y="804"/>
                  </a:lnTo>
                  <a:lnTo>
                    <a:pt x="870" y="804"/>
                  </a:lnTo>
                  <a:lnTo>
                    <a:pt x="864" y="798"/>
                  </a:lnTo>
                  <a:lnTo>
                    <a:pt x="858" y="798"/>
                  </a:lnTo>
                  <a:lnTo>
                    <a:pt x="858" y="804"/>
                  </a:lnTo>
                  <a:lnTo>
                    <a:pt x="852" y="804"/>
                  </a:lnTo>
                  <a:lnTo>
                    <a:pt x="846" y="804"/>
                  </a:lnTo>
                  <a:lnTo>
                    <a:pt x="846" y="798"/>
                  </a:lnTo>
                  <a:lnTo>
                    <a:pt x="840" y="804"/>
                  </a:lnTo>
                  <a:lnTo>
                    <a:pt x="834" y="804"/>
                  </a:lnTo>
                  <a:lnTo>
                    <a:pt x="828" y="804"/>
                  </a:lnTo>
                  <a:lnTo>
                    <a:pt x="828" y="810"/>
                  </a:lnTo>
                  <a:lnTo>
                    <a:pt x="822" y="810"/>
                  </a:lnTo>
                  <a:lnTo>
                    <a:pt x="810" y="804"/>
                  </a:lnTo>
                  <a:lnTo>
                    <a:pt x="810" y="798"/>
                  </a:lnTo>
                  <a:lnTo>
                    <a:pt x="780" y="798"/>
                  </a:lnTo>
                  <a:lnTo>
                    <a:pt x="756" y="774"/>
                  </a:lnTo>
                  <a:lnTo>
                    <a:pt x="750" y="768"/>
                  </a:lnTo>
                  <a:lnTo>
                    <a:pt x="750" y="744"/>
                  </a:lnTo>
                  <a:lnTo>
                    <a:pt x="732" y="738"/>
                  </a:lnTo>
                  <a:lnTo>
                    <a:pt x="732" y="720"/>
                  </a:lnTo>
                  <a:lnTo>
                    <a:pt x="714" y="690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6" y="666"/>
                  </a:lnTo>
                  <a:lnTo>
                    <a:pt x="690" y="666"/>
                  </a:lnTo>
                  <a:lnTo>
                    <a:pt x="678" y="672"/>
                  </a:lnTo>
                  <a:lnTo>
                    <a:pt x="678" y="654"/>
                  </a:lnTo>
                  <a:lnTo>
                    <a:pt x="684" y="630"/>
                  </a:lnTo>
                  <a:lnTo>
                    <a:pt x="690" y="618"/>
                  </a:lnTo>
                  <a:lnTo>
                    <a:pt x="696" y="612"/>
                  </a:lnTo>
                  <a:lnTo>
                    <a:pt x="696" y="588"/>
                  </a:lnTo>
                  <a:lnTo>
                    <a:pt x="690" y="576"/>
                  </a:lnTo>
                  <a:lnTo>
                    <a:pt x="696" y="552"/>
                  </a:lnTo>
                  <a:lnTo>
                    <a:pt x="684" y="522"/>
                  </a:lnTo>
                  <a:lnTo>
                    <a:pt x="672" y="504"/>
                  </a:lnTo>
                  <a:lnTo>
                    <a:pt x="654" y="504"/>
                  </a:lnTo>
                  <a:lnTo>
                    <a:pt x="642" y="504"/>
                  </a:lnTo>
                  <a:lnTo>
                    <a:pt x="624" y="510"/>
                  </a:lnTo>
                  <a:lnTo>
                    <a:pt x="612" y="516"/>
                  </a:lnTo>
                  <a:lnTo>
                    <a:pt x="594" y="516"/>
                  </a:lnTo>
                  <a:lnTo>
                    <a:pt x="588" y="516"/>
                  </a:lnTo>
                  <a:lnTo>
                    <a:pt x="588" y="522"/>
                  </a:lnTo>
                  <a:lnTo>
                    <a:pt x="582" y="516"/>
                  </a:lnTo>
                  <a:lnTo>
                    <a:pt x="588" y="510"/>
                  </a:lnTo>
                  <a:lnTo>
                    <a:pt x="582" y="510"/>
                  </a:lnTo>
                  <a:lnTo>
                    <a:pt x="582" y="504"/>
                  </a:lnTo>
                  <a:lnTo>
                    <a:pt x="576" y="498"/>
                  </a:lnTo>
                  <a:lnTo>
                    <a:pt x="570" y="498"/>
                  </a:lnTo>
                  <a:lnTo>
                    <a:pt x="570" y="492"/>
                  </a:lnTo>
                  <a:lnTo>
                    <a:pt x="564" y="492"/>
                  </a:lnTo>
                  <a:lnTo>
                    <a:pt x="570" y="486"/>
                  </a:lnTo>
                  <a:lnTo>
                    <a:pt x="564" y="486"/>
                  </a:lnTo>
                  <a:lnTo>
                    <a:pt x="564" y="480"/>
                  </a:lnTo>
                  <a:lnTo>
                    <a:pt x="564" y="474"/>
                  </a:lnTo>
                  <a:lnTo>
                    <a:pt x="558" y="468"/>
                  </a:lnTo>
                  <a:lnTo>
                    <a:pt x="564" y="468"/>
                  </a:lnTo>
                  <a:lnTo>
                    <a:pt x="564" y="462"/>
                  </a:lnTo>
                  <a:lnTo>
                    <a:pt x="570" y="462"/>
                  </a:lnTo>
                  <a:lnTo>
                    <a:pt x="570" y="456"/>
                  </a:lnTo>
                  <a:lnTo>
                    <a:pt x="570" y="450"/>
                  </a:lnTo>
                  <a:lnTo>
                    <a:pt x="576" y="450"/>
                  </a:lnTo>
                  <a:lnTo>
                    <a:pt x="576" y="444"/>
                  </a:lnTo>
                  <a:lnTo>
                    <a:pt x="582" y="438"/>
                  </a:lnTo>
                  <a:lnTo>
                    <a:pt x="588" y="438"/>
                  </a:lnTo>
                  <a:lnTo>
                    <a:pt x="588" y="444"/>
                  </a:lnTo>
                  <a:lnTo>
                    <a:pt x="594" y="438"/>
                  </a:lnTo>
                  <a:lnTo>
                    <a:pt x="594" y="432"/>
                  </a:lnTo>
                  <a:lnTo>
                    <a:pt x="600" y="432"/>
                  </a:lnTo>
                  <a:lnTo>
                    <a:pt x="600" y="426"/>
                  </a:lnTo>
                  <a:lnTo>
                    <a:pt x="600" y="420"/>
                  </a:lnTo>
                  <a:lnTo>
                    <a:pt x="606" y="420"/>
                  </a:lnTo>
                  <a:lnTo>
                    <a:pt x="600" y="420"/>
                  </a:lnTo>
                  <a:lnTo>
                    <a:pt x="600" y="414"/>
                  </a:lnTo>
                  <a:lnTo>
                    <a:pt x="606" y="408"/>
                  </a:lnTo>
                  <a:lnTo>
                    <a:pt x="612" y="408"/>
                  </a:lnTo>
                  <a:lnTo>
                    <a:pt x="612" y="414"/>
                  </a:lnTo>
                  <a:lnTo>
                    <a:pt x="618" y="414"/>
                  </a:lnTo>
                  <a:lnTo>
                    <a:pt x="624" y="414"/>
                  </a:lnTo>
                  <a:lnTo>
                    <a:pt x="630" y="414"/>
                  </a:lnTo>
                  <a:lnTo>
                    <a:pt x="636" y="414"/>
                  </a:lnTo>
                  <a:lnTo>
                    <a:pt x="642" y="408"/>
                  </a:lnTo>
                  <a:lnTo>
                    <a:pt x="648" y="408"/>
                  </a:lnTo>
                  <a:lnTo>
                    <a:pt x="660" y="408"/>
                  </a:lnTo>
                  <a:lnTo>
                    <a:pt x="666" y="402"/>
                  </a:lnTo>
                  <a:lnTo>
                    <a:pt x="672" y="402"/>
                  </a:lnTo>
                  <a:lnTo>
                    <a:pt x="684" y="396"/>
                  </a:lnTo>
                  <a:lnTo>
                    <a:pt x="690" y="396"/>
                  </a:lnTo>
                  <a:lnTo>
                    <a:pt x="696" y="396"/>
                  </a:lnTo>
                  <a:lnTo>
                    <a:pt x="702" y="396"/>
                  </a:lnTo>
                  <a:lnTo>
                    <a:pt x="708" y="396"/>
                  </a:lnTo>
                  <a:lnTo>
                    <a:pt x="714" y="390"/>
                  </a:lnTo>
                  <a:lnTo>
                    <a:pt x="714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32" y="384"/>
                  </a:lnTo>
                  <a:lnTo>
                    <a:pt x="738" y="378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56" y="372"/>
                  </a:lnTo>
                  <a:lnTo>
                    <a:pt x="762" y="366"/>
                  </a:lnTo>
                  <a:lnTo>
                    <a:pt x="768" y="366"/>
                  </a:lnTo>
                  <a:lnTo>
                    <a:pt x="774" y="366"/>
                  </a:lnTo>
                  <a:lnTo>
                    <a:pt x="774" y="360"/>
                  </a:lnTo>
                  <a:lnTo>
                    <a:pt x="780" y="366"/>
                  </a:lnTo>
                  <a:lnTo>
                    <a:pt x="786" y="366"/>
                  </a:lnTo>
                  <a:lnTo>
                    <a:pt x="786" y="360"/>
                  </a:lnTo>
                  <a:lnTo>
                    <a:pt x="792" y="354"/>
                  </a:lnTo>
                  <a:lnTo>
                    <a:pt x="786" y="354"/>
                  </a:lnTo>
                  <a:lnTo>
                    <a:pt x="792" y="348"/>
                  </a:lnTo>
                  <a:lnTo>
                    <a:pt x="798" y="348"/>
                  </a:lnTo>
                  <a:lnTo>
                    <a:pt x="804" y="348"/>
                  </a:lnTo>
                  <a:lnTo>
                    <a:pt x="810" y="342"/>
                  </a:lnTo>
                  <a:lnTo>
                    <a:pt x="816" y="342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28" y="336"/>
                  </a:lnTo>
                  <a:lnTo>
                    <a:pt x="834" y="336"/>
                  </a:lnTo>
                  <a:lnTo>
                    <a:pt x="840" y="336"/>
                  </a:lnTo>
                  <a:lnTo>
                    <a:pt x="846" y="330"/>
                  </a:lnTo>
                  <a:lnTo>
                    <a:pt x="852" y="330"/>
                  </a:lnTo>
                  <a:lnTo>
                    <a:pt x="858" y="330"/>
                  </a:lnTo>
                  <a:lnTo>
                    <a:pt x="864" y="324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0" y="312"/>
                  </a:lnTo>
                  <a:lnTo>
                    <a:pt x="876" y="312"/>
                  </a:lnTo>
                  <a:lnTo>
                    <a:pt x="882" y="312"/>
                  </a:lnTo>
                  <a:lnTo>
                    <a:pt x="882" y="318"/>
                  </a:lnTo>
                  <a:lnTo>
                    <a:pt x="888" y="312"/>
                  </a:lnTo>
                  <a:lnTo>
                    <a:pt x="894" y="306"/>
                  </a:lnTo>
                  <a:lnTo>
                    <a:pt x="900" y="306"/>
                  </a:lnTo>
                  <a:lnTo>
                    <a:pt x="906" y="306"/>
                  </a:lnTo>
                  <a:lnTo>
                    <a:pt x="912" y="300"/>
                  </a:lnTo>
                  <a:lnTo>
                    <a:pt x="906" y="294"/>
                  </a:lnTo>
                  <a:lnTo>
                    <a:pt x="912" y="276"/>
                  </a:lnTo>
                  <a:lnTo>
                    <a:pt x="912" y="252"/>
                  </a:lnTo>
                  <a:lnTo>
                    <a:pt x="906" y="234"/>
                  </a:lnTo>
                  <a:lnTo>
                    <a:pt x="912" y="228"/>
                  </a:lnTo>
                  <a:lnTo>
                    <a:pt x="912" y="216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24" y="192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36" y="186"/>
                  </a:lnTo>
                  <a:lnTo>
                    <a:pt x="930" y="180"/>
                  </a:lnTo>
                  <a:lnTo>
                    <a:pt x="930" y="174"/>
                  </a:lnTo>
                  <a:lnTo>
                    <a:pt x="936" y="156"/>
                  </a:lnTo>
                  <a:lnTo>
                    <a:pt x="930" y="156"/>
                  </a:lnTo>
                  <a:lnTo>
                    <a:pt x="924" y="150"/>
                  </a:lnTo>
                  <a:lnTo>
                    <a:pt x="942" y="78"/>
                  </a:lnTo>
                  <a:lnTo>
                    <a:pt x="948" y="78"/>
                  </a:lnTo>
                  <a:lnTo>
                    <a:pt x="954" y="66"/>
                  </a:lnTo>
                  <a:lnTo>
                    <a:pt x="954" y="72"/>
                  </a:lnTo>
                  <a:lnTo>
                    <a:pt x="954" y="66"/>
                  </a:lnTo>
                  <a:lnTo>
                    <a:pt x="960" y="66"/>
                  </a:lnTo>
                  <a:lnTo>
                    <a:pt x="966" y="66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54"/>
                  </a:lnTo>
                  <a:lnTo>
                    <a:pt x="990" y="54"/>
                  </a:lnTo>
                  <a:lnTo>
                    <a:pt x="996" y="48"/>
                  </a:lnTo>
                  <a:lnTo>
                    <a:pt x="1002" y="48"/>
                  </a:lnTo>
                  <a:lnTo>
                    <a:pt x="1032" y="48"/>
                  </a:lnTo>
                  <a:lnTo>
                    <a:pt x="1062" y="48"/>
                  </a:lnTo>
                  <a:lnTo>
                    <a:pt x="1068" y="78"/>
                  </a:lnTo>
                  <a:lnTo>
                    <a:pt x="1086" y="78"/>
                  </a:lnTo>
                  <a:lnTo>
                    <a:pt x="1092" y="66"/>
                  </a:lnTo>
                  <a:lnTo>
                    <a:pt x="1092" y="60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8" y="48"/>
                  </a:lnTo>
                  <a:lnTo>
                    <a:pt x="1104" y="48"/>
                  </a:lnTo>
                  <a:lnTo>
                    <a:pt x="1110" y="48"/>
                  </a:lnTo>
                  <a:lnTo>
                    <a:pt x="1110" y="42"/>
                  </a:lnTo>
                  <a:lnTo>
                    <a:pt x="1110" y="36"/>
                  </a:lnTo>
                  <a:lnTo>
                    <a:pt x="1116" y="36"/>
                  </a:lnTo>
                  <a:lnTo>
                    <a:pt x="1116" y="30"/>
                  </a:lnTo>
                  <a:lnTo>
                    <a:pt x="1122" y="30"/>
                  </a:lnTo>
                  <a:lnTo>
                    <a:pt x="1128" y="30"/>
                  </a:lnTo>
                  <a:lnTo>
                    <a:pt x="1134" y="30"/>
                  </a:lnTo>
                  <a:lnTo>
                    <a:pt x="1140" y="24"/>
                  </a:lnTo>
                  <a:lnTo>
                    <a:pt x="1152" y="18"/>
                  </a:lnTo>
                  <a:lnTo>
                    <a:pt x="1158" y="18"/>
                  </a:lnTo>
                  <a:lnTo>
                    <a:pt x="1152" y="12"/>
                  </a:lnTo>
                  <a:lnTo>
                    <a:pt x="1152" y="6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8"/>
                  </a:lnTo>
                  <a:lnTo>
                    <a:pt x="1170" y="12"/>
                  </a:lnTo>
                  <a:lnTo>
                    <a:pt x="1170" y="6"/>
                  </a:lnTo>
                  <a:lnTo>
                    <a:pt x="1176" y="6"/>
                  </a:lnTo>
                  <a:lnTo>
                    <a:pt x="1176" y="0"/>
                  </a:lnTo>
                  <a:lnTo>
                    <a:pt x="1182" y="6"/>
                  </a:lnTo>
                  <a:lnTo>
                    <a:pt x="1188" y="6"/>
                  </a:lnTo>
                  <a:lnTo>
                    <a:pt x="1188" y="0"/>
                  </a:lnTo>
                  <a:lnTo>
                    <a:pt x="1194" y="6"/>
                  </a:lnTo>
                  <a:lnTo>
                    <a:pt x="1200" y="12"/>
                  </a:lnTo>
                  <a:lnTo>
                    <a:pt x="1206" y="18"/>
                  </a:lnTo>
                  <a:lnTo>
                    <a:pt x="1212" y="18"/>
                  </a:lnTo>
                  <a:lnTo>
                    <a:pt x="1218" y="24"/>
                  </a:lnTo>
                  <a:lnTo>
                    <a:pt x="1236" y="36"/>
                  </a:lnTo>
                  <a:lnTo>
                    <a:pt x="1242" y="36"/>
                  </a:lnTo>
                  <a:lnTo>
                    <a:pt x="1248" y="42"/>
                  </a:lnTo>
                  <a:lnTo>
                    <a:pt x="1248" y="48"/>
                  </a:lnTo>
                  <a:lnTo>
                    <a:pt x="1260" y="48"/>
                  </a:lnTo>
                  <a:lnTo>
                    <a:pt x="1260" y="108"/>
                  </a:lnTo>
                  <a:lnTo>
                    <a:pt x="1266" y="168"/>
                  </a:lnTo>
                  <a:lnTo>
                    <a:pt x="1278" y="234"/>
                  </a:lnTo>
                  <a:lnTo>
                    <a:pt x="1284" y="240"/>
                  </a:lnTo>
                  <a:lnTo>
                    <a:pt x="1290" y="264"/>
                  </a:lnTo>
                  <a:lnTo>
                    <a:pt x="1296" y="288"/>
                  </a:lnTo>
                  <a:lnTo>
                    <a:pt x="1296" y="300"/>
                  </a:lnTo>
                  <a:lnTo>
                    <a:pt x="1296" y="312"/>
                  </a:lnTo>
                  <a:lnTo>
                    <a:pt x="1296" y="324"/>
                  </a:lnTo>
                  <a:lnTo>
                    <a:pt x="1296" y="354"/>
                  </a:lnTo>
                  <a:lnTo>
                    <a:pt x="1302" y="366"/>
                  </a:lnTo>
                  <a:lnTo>
                    <a:pt x="1308" y="372"/>
                  </a:lnTo>
                  <a:lnTo>
                    <a:pt x="1308" y="384"/>
                  </a:lnTo>
                  <a:lnTo>
                    <a:pt x="1314" y="390"/>
                  </a:lnTo>
                  <a:lnTo>
                    <a:pt x="1308" y="408"/>
                  </a:lnTo>
                  <a:lnTo>
                    <a:pt x="1314" y="408"/>
                  </a:lnTo>
                  <a:lnTo>
                    <a:pt x="1314" y="414"/>
                  </a:lnTo>
                  <a:lnTo>
                    <a:pt x="1308" y="420"/>
                  </a:lnTo>
                  <a:lnTo>
                    <a:pt x="1308" y="432"/>
                  </a:lnTo>
                  <a:lnTo>
                    <a:pt x="1320" y="432"/>
                  </a:lnTo>
                  <a:lnTo>
                    <a:pt x="1320" y="444"/>
                  </a:lnTo>
                  <a:lnTo>
                    <a:pt x="1332" y="444"/>
                  </a:lnTo>
                  <a:lnTo>
                    <a:pt x="1338" y="450"/>
                  </a:lnTo>
                  <a:lnTo>
                    <a:pt x="1344" y="456"/>
                  </a:lnTo>
                  <a:lnTo>
                    <a:pt x="1344" y="462"/>
                  </a:lnTo>
                  <a:lnTo>
                    <a:pt x="1344" y="474"/>
                  </a:lnTo>
                  <a:lnTo>
                    <a:pt x="1350" y="474"/>
                  </a:lnTo>
                  <a:lnTo>
                    <a:pt x="1368" y="504"/>
                  </a:lnTo>
                  <a:lnTo>
                    <a:pt x="1374" y="534"/>
                  </a:lnTo>
                  <a:lnTo>
                    <a:pt x="1380" y="558"/>
                  </a:lnTo>
                  <a:lnTo>
                    <a:pt x="1386" y="576"/>
                  </a:lnTo>
                  <a:lnTo>
                    <a:pt x="1386" y="600"/>
                  </a:lnTo>
                  <a:lnTo>
                    <a:pt x="1386" y="624"/>
                  </a:lnTo>
                  <a:lnTo>
                    <a:pt x="1386" y="648"/>
                  </a:lnTo>
                  <a:lnTo>
                    <a:pt x="1386" y="684"/>
                  </a:lnTo>
                  <a:lnTo>
                    <a:pt x="1380" y="684"/>
                  </a:lnTo>
                  <a:lnTo>
                    <a:pt x="1374" y="696"/>
                  </a:lnTo>
                  <a:lnTo>
                    <a:pt x="1368" y="702"/>
                  </a:lnTo>
                  <a:lnTo>
                    <a:pt x="1362" y="708"/>
                  </a:lnTo>
                  <a:lnTo>
                    <a:pt x="1356" y="714"/>
                  </a:lnTo>
                  <a:lnTo>
                    <a:pt x="1350" y="720"/>
                  </a:lnTo>
                  <a:lnTo>
                    <a:pt x="1338" y="720"/>
                  </a:lnTo>
                  <a:lnTo>
                    <a:pt x="1338" y="738"/>
                  </a:lnTo>
                  <a:lnTo>
                    <a:pt x="1362" y="750"/>
                  </a:lnTo>
                  <a:lnTo>
                    <a:pt x="1362" y="756"/>
                  </a:lnTo>
                  <a:lnTo>
                    <a:pt x="1374" y="756"/>
                  </a:lnTo>
                  <a:lnTo>
                    <a:pt x="1410" y="774"/>
                  </a:lnTo>
                  <a:lnTo>
                    <a:pt x="1446" y="774"/>
                  </a:lnTo>
                  <a:lnTo>
                    <a:pt x="1482" y="768"/>
                  </a:lnTo>
                  <a:lnTo>
                    <a:pt x="1500" y="774"/>
                  </a:lnTo>
                  <a:lnTo>
                    <a:pt x="1512" y="78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6" name="Freeform 11">
              <a:extLst>
                <a:ext uri="{FF2B5EF4-FFF2-40B4-BE49-F238E27FC236}">
                  <a16:creationId xmlns:a16="http://schemas.microsoft.com/office/drawing/2014/main" id="{1FF8E66F-B850-456A-B132-C45FEEDE95C6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2475" y="2345643"/>
              <a:ext cx="445003" cy="603855"/>
            </a:xfrm>
            <a:custGeom>
              <a:avLst/>
              <a:gdLst>
                <a:gd name="T0" fmla="*/ 47 w 840"/>
                <a:gd name="T1" fmla="*/ 98 h 1134"/>
                <a:gd name="T2" fmla="*/ 41 w 840"/>
                <a:gd name="T3" fmla="*/ 98 h 1134"/>
                <a:gd name="T4" fmla="*/ 37 w 840"/>
                <a:gd name="T5" fmla="*/ 98 h 1134"/>
                <a:gd name="T6" fmla="*/ 29 w 840"/>
                <a:gd name="T7" fmla="*/ 97 h 1134"/>
                <a:gd name="T8" fmla="*/ 27 w 840"/>
                <a:gd name="T9" fmla="*/ 94 h 1134"/>
                <a:gd name="T10" fmla="*/ 26 w 840"/>
                <a:gd name="T11" fmla="*/ 93 h 1134"/>
                <a:gd name="T12" fmla="*/ 26 w 840"/>
                <a:gd name="T13" fmla="*/ 83 h 1134"/>
                <a:gd name="T14" fmla="*/ 26 w 840"/>
                <a:gd name="T15" fmla="*/ 81 h 1134"/>
                <a:gd name="T16" fmla="*/ 23 w 840"/>
                <a:gd name="T17" fmla="*/ 77 h 1134"/>
                <a:gd name="T18" fmla="*/ 19 w 840"/>
                <a:gd name="T19" fmla="*/ 75 h 1134"/>
                <a:gd name="T20" fmla="*/ 16 w 840"/>
                <a:gd name="T21" fmla="*/ 72 h 1134"/>
                <a:gd name="T22" fmla="*/ 13 w 840"/>
                <a:gd name="T23" fmla="*/ 70 h 1134"/>
                <a:gd name="T24" fmla="*/ 17 w 840"/>
                <a:gd name="T25" fmla="*/ 67 h 1134"/>
                <a:gd name="T26" fmla="*/ 19 w 840"/>
                <a:gd name="T27" fmla="*/ 63 h 1134"/>
                <a:gd name="T28" fmla="*/ 20 w 840"/>
                <a:gd name="T29" fmla="*/ 59 h 1134"/>
                <a:gd name="T30" fmla="*/ 19 w 840"/>
                <a:gd name="T31" fmla="*/ 55 h 1134"/>
                <a:gd name="T32" fmla="*/ 17 w 840"/>
                <a:gd name="T33" fmla="*/ 47 h 1134"/>
                <a:gd name="T34" fmla="*/ 8 w 840"/>
                <a:gd name="T35" fmla="*/ 45 h 1134"/>
                <a:gd name="T36" fmla="*/ 4 w 840"/>
                <a:gd name="T37" fmla="*/ 39 h 1134"/>
                <a:gd name="T38" fmla="*/ 2 w 840"/>
                <a:gd name="T39" fmla="*/ 35 h 1134"/>
                <a:gd name="T40" fmla="*/ 0 w 840"/>
                <a:gd name="T41" fmla="*/ 31 h 1134"/>
                <a:gd name="T42" fmla="*/ 2 w 840"/>
                <a:gd name="T43" fmla="*/ 27 h 1134"/>
                <a:gd name="T44" fmla="*/ 5 w 840"/>
                <a:gd name="T45" fmla="*/ 24 h 1134"/>
                <a:gd name="T46" fmla="*/ 10 w 840"/>
                <a:gd name="T47" fmla="*/ 26 h 1134"/>
                <a:gd name="T48" fmla="*/ 7 w 840"/>
                <a:gd name="T49" fmla="*/ 20 h 1134"/>
                <a:gd name="T50" fmla="*/ 12 w 840"/>
                <a:gd name="T51" fmla="*/ 12 h 1134"/>
                <a:gd name="T52" fmla="*/ 19 w 840"/>
                <a:gd name="T53" fmla="*/ 10 h 1134"/>
                <a:gd name="T54" fmla="*/ 20 w 840"/>
                <a:gd name="T55" fmla="*/ 13 h 1134"/>
                <a:gd name="T56" fmla="*/ 22 w 840"/>
                <a:gd name="T57" fmla="*/ 11 h 1134"/>
                <a:gd name="T58" fmla="*/ 25 w 840"/>
                <a:gd name="T59" fmla="*/ 7 h 1134"/>
                <a:gd name="T60" fmla="*/ 29 w 840"/>
                <a:gd name="T61" fmla="*/ 2 h 1134"/>
                <a:gd name="T62" fmla="*/ 33 w 840"/>
                <a:gd name="T63" fmla="*/ 1 h 1134"/>
                <a:gd name="T64" fmla="*/ 37 w 840"/>
                <a:gd name="T65" fmla="*/ 2 h 1134"/>
                <a:gd name="T66" fmla="*/ 39 w 840"/>
                <a:gd name="T67" fmla="*/ 4 h 1134"/>
                <a:gd name="T68" fmla="*/ 43 w 840"/>
                <a:gd name="T69" fmla="*/ 5 h 1134"/>
                <a:gd name="T70" fmla="*/ 46 w 840"/>
                <a:gd name="T71" fmla="*/ 11 h 1134"/>
                <a:gd name="T72" fmla="*/ 49 w 840"/>
                <a:gd name="T73" fmla="*/ 12 h 1134"/>
                <a:gd name="T74" fmla="*/ 52 w 840"/>
                <a:gd name="T75" fmla="*/ 15 h 1134"/>
                <a:gd name="T76" fmla="*/ 54 w 840"/>
                <a:gd name="T77" fmla="*/ 18 h 1134"/>
                <a:gd name="T78" fmla="*/ 55 w 840"/>
                <a:gd name="T79" fmla="*/ 22 h 1134"/>
                <a:gd name="T80" fmla="*/ 56 w 840"/>
                <a:gd name="T81" fmla="*/ 26 h 1134"/>
                <a:gd name="T82" fmla="*/ 55 w 840"/>
                <a:gd name="T83" fmla="*/ 32 h 1134"/>
                <a:gd name="T84" fmla="*/ 55 w 840"/>
                <a:gd name="T85" fmla="*/ 36 h 1134"/>
                <a:gd name="T86" fmla="*/ 54 w 840"/>
                <a:gd name="T87" fmla="*/ 39 h 1134"/>
                <a:gd name="T88" fmla="*/ 56 w 840"/>
                <a:gd name="T89" fmla="*/ 39 h 1134"/>
                <a:gd name="T90" fmla="*/ 58 w 840"/>
                <a:gd name="T91" fmla="*/ 39 h 1134"/>
                <a:gd name="T92" fmla="*/ 61 w 840"/>
                <a:gd name="T93" fmla="*/ 39 h 1134"/>
                <a:gd name="T94" fmla="*/ 60 w 840"/>
                <a:gd name="T95" fmla="*/ 49 h 1134"/>
                <a:gd name="T96" fmla="*/ 59 w 840"/>
                <a:gd name="T97" fmla="*/ 53 h 1134"/>
                <a:gd name="T98" fmla="*/ 59 w 840"/>
                <a:gd name="T99" fmla="*/ 56 h 1134"/>
                <a:gd name="T100" fmla="*/ 60 w 840"/>
                <a:gd name="T101" fmla="*/ 59 h 1134"/>
                <a:gd name="T102" fmla="*/ 64 w 840"/>
                <a:gd name="T103" fmla="*/ 61 h 1134"/>
                <a:gd name="T104" fmla="*/ 69 w 840"/>
                <a:gd name="T105" fmla="*/ 63 h 1134"/>
                <a:gd name="T106" fmla="*/ 72 w 840"/>
                <a:gd name="T107" fmla="*/ 69 h 1134"/>
                <a:gd name="T108" fmla="*/ 72 w 840"/>
                <a:gd name="T109" fmla="*/ 73 h 1134"/>
                <a:gd name="T110" fmla="*/ 72 w 840"/>
                <a:gd name="T111" fmla="*/ 83 h 1134"/>
                <a:gd name="T112" fmla="*/ 63 w 840"/>
                <a:gd name="T113" fmla="*/ 88 h 1134"/>
                <a:gd name="T114" fmla="*/ 52 w 840"/>
                <a:gd name="T115" fmla="*/ 95 h 11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40"/>
                <a:gd name="T175" fmla="*/ 0 h 1134"/>
                <a:gd name="T176" fmla="*/ 840 w 840"/>
                <a:gd name="T177" fmla="*/ 1134 h 11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40" h="1134">
                  <a:moveTo>
                    <a:pt x="564" y="1110"/>
                  </a:moveTo>
                  <a:lnTo>
                    <a:pt x="564" y="1104"/>
                  </a:lnTo>
                  <a:lnTo>
                    <a:pt x="558" y="1104"/>
                  </a:lnTo>
                  <a:lnTo>
                    <a:pt x="552" y="1110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28" y="1128"/>
                  </a:lnTo>
                  <a:lnTo>
                    <a:pt x="498" y="1128"/>
                  </a:lnTo>
                  <a:lnTo>
                    <a:pt x="492" y="1128"/>
                  </a:lnTo>
                  <a:lnTo>
                    <a:pt x="486" y="1128"/>
                  </a:lnTo>
                  <a:lnTo>
                    <a:pt x="480" y="1128"/>
                  </a:lnTo>
                  <a:lnTo>
                    <a:pt x="474" y="1134"/>
                  </a:lnTo>
                  <a:lnTo>
                    <a:pt x="468" y="1134"/>
                  </a:lnTo>
                  <a:lnTo>
                    <a:pt x="462" y="1134"/>
                  </a:lnTo>
                  <a:lnTo>
                    <a:pt x="456" y="1134"/>
                  </a:lnTo>
                  <a:lnTo>
                    <a:pt x="456" y="1128"/>
                  </a:lnTo>
                  <a:lnTo>
                    <a:pt x="450" y="1122"/>
                  </a:lnTo>
                  <a:lnTo>
                    <a:pt x="426" y="1128"/>
                  </a:lnTo>
                  <a:lnTo>
                    <a:pt x="414" y="1128"/>
                  </a:lnTo>
                  <a:lnTo>
                    <a:pt x="348" y="1134"/>
                  </a:lnTo>
                  <a:lnTo>
                    <a:pt x="348" y="1128"/>
                  </a:lnTo>
                  <a:lnTo>
                    <a:pt x="342" y="1128"/>
                  </a:lnTo>
                  <a:lnTo>
                    <a:pt x="336" y="1122"/>
                  </a:lnTo>
                  <a:lnTo>
                    <a:pt x="330" y="1122"/>
                  </a:lnTo>
                  <a:lnTo>
                    <a:pt x="324" y="1116"/>
                  </a:lnTo>
                  <a:lnTo>
                    <a:pt x="324" y="1110"/>
                  </a:lnTo>
                  <a:lnTo>
                    <a:pt x="318" y="1110"/>
                  </a:lnTo>
                  <a:lnTo>
                    <a:pt x="318" y="1104"/>
                  </a:lnTo>
                  <a:lnTo>
                    <a:pt x="312" y="1092"/>
                  </a:lnTo>
                  <a:lnTo>
                    <a:pt x="306" y="1086"/>
                  </a:lnTo>
                  <a:lnTo>
                    <a:pt x="306" y="1080"/>
                  </a:lnTo>
                  <a:lnTo>
                    <a:pt x="312" y="1074"/>
                  </a:lnTo>
                  <a:lnTo>
                    <a:pt x="306" y="1068"/>
                  </a:lnTo>
                  <a:lnTo>
                    <a:pt x="300" y="1074"/>
                  </a:lnTo>
                  <a:lnTo>
                    <a:pt x="300" y="1068"/>
                  </a:lnTo>
                  <a:lnTo>
                    <a:pt x="294" y="1068"/>
                  </a:lnTo>
                  <a:lnTo>
                    <a:pt x="294" y="1056"/>
                  </a:lnTo>
                  <a:lnTo>
                    <a:pt x="294" y="1026"/>
                  </a:lnTo>
                  <a:lnTo>
                    <a:pt x="294" y="1020"/>
                  </a:lnTo>
                  <a:lnTo>
                    <a:pt x="294" y="1008"/>
                  </a:lnTo>
                  <a:lnTo>
                    <a:pt x="294" y="966"/>
                  </a:lnTo>
                  <a:lnTo>
                    <a:pt x="294" y="960"/>
                  </a:lnTo>
                  <a:lnTo>
                    <a:pt x="294" y="954"/>
                  </a:lnTo>
                  <a:lnTo>
                    <a:pt x="294" y="948"/>
                  </a:lnTo>
                  <a:lnTo>
                    <a:pt x="294" y="942"/>
                  </a:lnTo>
                  <a:lnTo>
                    <a:pt x="300" y="936"/>
                  </a:lnTo>
                  <a:lnTo>
                    <a:pt x="300" y="930"/>
                  </a:lnTo>
                  <a:lnTo>
                    <a:pt x="294" y="930"/>
                  </a:lnTo>
                  <a:lnTo>
                    <a:pt x="288" y="930"/>
                  </a:lnTo>
                  <a:lnTo>
                    <a:pt x="288" y="924"/>
                  </a:lnTo>
                  <a:lnTo>
                    <a:pt x="282" y="918"/>
                  </a:lnTo>
                  <a:lnTo>
                    <a:pt x="282" y="906"/>
                  </a:lnTo>
                  <a:lnTo>
                    <a:pt x="282" y="900"/>
                  </a:lnTo>
                  <a:lnTo>
                    <a:pt x="264" y="894"/>
                  </a:lnTo>
                  <a:lnTo>
                    <a:pt x="252" y="882"/>
                  </a:lnTo>
                  <a:lnTo>
                    <a:pt x="246" y="876"/>
                  </a:lnTo>
                  <a:lnTo>
                    <a:pt x="240" y="876"/>
                  </a:lnTo>
                  <a:lnTo>
                    <a:pt x="240" y="870"/>
                  </a:lnTo>
                  <a:lnTo>
                    <a:pt x="234" y="870"/>
                  </a:lnTo>
                  <a:lnTo>
                    <a:pt x="222" y="864"/>
                  </a:lnTo>
                  <a:lnTo>
                    <a:pt x="216" y="864"/>
                  </a:lnTo>
                  <a:lnTo>
                    <a:pt x="210" y="858"/>
                  </a:lnTo>
                  <a:lnTo>
                    <a:pt x="210" y="852"/>
                  </a:lnTo>
                  <a:lnTo>
                    <a:pt x="210" y="846"/>
                  </a:lnTo>
                  <a:lnTo>
                    <a:pt x="198" y="840"/>
                  </a:lnTo>
                  <a:lnTo>
                    <a:pt x="186" y="834"/>
                  </a:lnTo>
                  <a:lnTo>
                    <a:pt x="180" y="828"/>
                  </a:lnTo>
                  <a:lnTo>
                    <a:pt x="180" y="822"/>
                  </a:lnTo>
                  <a:lnTo>
                    <a:pt x="174" y="822"/>
                  </a:lnTo>
                  <a:lnTo>
                    <a:pt x="162" y="816"/>
                  </a:lnTo>
                  <a:lnTo>
                    <a:pt x="156" y="810"/>
                  </a:lnTo>
                  <a:lnTo>
                    <a:pt x="150" y="810"/>
                  </a:lnTo>
                  <a:lnTo>
                    <a:pt x="144" y="798"/>
                  </a:lnTo>
                  <a:lnTo>
                    <a:pt x="138" y="786"/>
                  </a:lnTo>
                  <a:lnTo>
                    <a:pt x="138" y="780"/>
                  </a:lnTo>
                  <a:lnTo>
                    <a:pt x="144" y="774"/>
                  </a:lnTo>
                  <a:lnTo>
                    <a:pt x="150" y="768"/>
                  </a:lnTo>
                  <a:lnTo>
                    <a:pt x="192" y="768"/>
                  </a:lnTo>
                  <a:lnTo>
                    <a:pt x="210" y="762"/>
                  </a:lnTo>
                  <a:lnTo>
                    <a:pt x="216" y="756"/>
                  </a:lnTo>
                  <a:lnTo>
                    <a:pt x="216" y="744"/>
                  </a:lnTo>
                  <a:lnTo>
                    <a:pt x="216" y="738"/>
                  </a:lnTo>
                  <a:lnTo>
                    <a:pt x="216" y="732"/>
                  </a:lnTo>
                  <a:lnTo>
                    <a:pt x="216" y="726"/>
                  </a:lnTo>
                  <a:lnTo>
                    <a:pt x="216" y="720"/>
                  </a:lnTo>
                  <a:lnTo>
                    <a:pt x="228" y="702"/>
                  </a:lnTo>
                  <a:lnTo>
                    <a:pt x="234" y="696"/>
                  </a:lnTo>
                  <a:lnTo>
                    <a:pt x="240" y="690"/>
                  </a:lnTo>
                  <a:lnTo>
                    <a:pt x="240" y="684"/>
                  </a:lnTo>
                  <a:lnTo>
                    <a:pt x="234" y="678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0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22" y="630"/>
                  </a:lnTo>
                  <a:lnTo>
                    <a:pt x="222" y="618"/>
                  </a:lnTo>
                  <a:lnTo>
                    <a:pt x="222" y="582"/>
                  </a:lnTo>
                  <a:lnTo>
                    <a:pt x="228" y="582"/>
                  </a:lnTo>
                  <a:lnTo>
                    <a:pt x="222" y="564"/>
                  </a:lnTo>
                  <a:lnTo>
                    <a:pt x="210" y="552"/>
                  </a:lnTo>
                  <a:lnTo>
                    <a:pt x="192" y="540"/>
                  </a:lnTo>
                  <a:lnTo>
                    <a:pt x="174" y="540"/>
                  </a:lnTo>
                  <a:lnTo>
                    <a:pt x="150" y="534"/>
                  </a:lnTo>
                  <a:lnTo>
                    <a:pt x="126" y="528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90" y="516"/>
                  </a:lnTo>
                  <a:lnTo>
                    <a:pt x="78" y="504"/>
                  </a:lnTo>
                  <a:lnTo>
                    <a:pt x="72" y="498"/>
                  </a:lnTo>
                  <a:lnTo>
                    <a:pt x="66" y="486"/>
                  </a:lnTo>
                  <a:lnTo>
                    <a:pt x="54" y="468"/>
                  </a:lnTo>
                  <a:lnTo>
                    <a:pt x="54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42" y="438"/>
                  </a:lnTo>
                  <a:lnTo>
                    <a:pt x="36" y="438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24" y="384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2" y="360"/>
                  </a:lnTo>
                  <a:lnTo>
                    <a:pt x="6" y="360"/>
                  </a:lnTo>
                  <a:lnTo>
                    <a:pt x="0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0"/>
                  </a:lnTo>
                  <a:lnTo>
                    <a:pt x="18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8" y="270"/>
                  </a:lnTo>
                  <a:lnTo>
                    <a:pt x="90" y="276"/>
                  </a:lnTo>
                  <a:lnTo>
                    <a:pt x="108" y="294"/>
                  </a:lnTo>
                  <a:lnTo>
                    <a:pt x="114" y="294"/>
                  </a:lnTo>
                  <a:lnTo>
                    <a:pt x="114" y="276"/>
                  </a:lnTo>
                  <a:lnTo>
                    <a:pt x="114" y="270"/>
                  </a:lnTo>
                  <a:lnTo>
                    <a:pt x="102" y="258"/>
                  </a:lnTo>
                  <a:lnTo>
                    <a:pt x="96" y="246"/>
                  </a:lnTo>
                  <a:lnTo>
                    <a:pt x="90" y="234"/>
                  </a:lnTo>
                  <a:lnTo>
                    <a:pt x="78" y="228"/>
                  </a:lnTo>
                  <a:lnTo>
                    <a:pt x="72" y="216"/>
                  </a:lnTo>
                  <a:lnTo>
                    <a:pt x="66" y="192"/>
                  </a:lnTo>
                  <a:lnTo>
                    <a:pt x="90" y="174"/>
                  </a:lnTo>
                  <a:lnTo>
                    <a:pt x="120" y="150"/>
                  </a:lnTo>
                  <a:lnTo>
                    <a:pt x="132" y="150"/>
                  </a:lnTo>
                  <a:lnTo>
                    <a:pt x="138" y="144"/>
                  </a:lnTo>
                  <a:lnTo>
                    <a:pt x="138" y="138"/>
                  </a:lnTo>
                  <a:lnTo>
                    <a:pt x="156" y="126"/>
                  </a:lnTo>
                  <a:lnTo>
                    <a:pt x="180" y="114"/>
                  </a:lnTo>
                  <a:lnTo>
                    <a:pt x="216" y="114"/>
                  </a:lnTo>
                  <a:lnTo>
                    <a:pt x="222" y="114"/>
                  </a:lnTo>
                  <a:lnTo>
                    <a:pt x="222" y="120"/>
                  </a:lnTo>
                  <a:lnTo>
                    <a:pt x="222" y="126"/>
                  </a:lnTo>
                  <a:lnTo>
                    <a:pt x="222" y="132"/>
                  </a:lnTo>
                  <a:lnTo>
                    <a:pt x="228" y="138"/>
                  </a:lnTo>
                  <a:lnTo>
                    <a:pt x="228" y="144"/>
                  </a:lnTo>
                  <a:lnTo>
                    <a:pt x="228" y="150"/>
                  </a:lnTo>
                  <a:lnTo>
                    <a:pt x="234" y="150"/>
                  </a:lnTo>
                  <a:lnTo>
                    <a:pt x="234" y="144"/>
                  </a:lnTo>
                  <a:lnTo>
                    <a:pt x="240" y="144"/>
                  </a:lnTo>
                  <a:lnTo>
                    <a:pt x="246" y="144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58" y="126"/>
                  </a:lnTo>
                  <a:lnTo>
                    <a:pt x="258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76" y="96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6" y="72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36"/>
                  </a:lnTo>
                  <a:lnTo>
                    <a:pt x="330" y="24"/>
                  </a:lnTo>
                  <a:lnTo>
                    <a:pt x="330" y="18"/>
                  </a:lnTo>
                  <a:lnTo>
                    <a:pt x="330" y="12"/>
                  </a:lnTo>
                  <a:lnTo>
                    <a:pt x="336" y="6"/>
                  </a:lnTo>
                  <a:lnTo>
                    <a:pt x="366" y="0"/>
                  </a:lnTo>
                  <a:lnTo>
                    <a:pt x="372" y="6"/>
                  </a:lnTo>
                  <a:lnTo>
                    <a:pt x="384" y="12"/>
                  </a:lnTo>
                  <a:lnTo>
                    <a:pt x="402" y="12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18"/>
                  </a:lnTo>
                  <a:lnTo>
                    <a:pt x="420" y="18"/>
                  </a:lnTo>
                  <a:lnTo>
                    <a:pt x="426" y="24"/>
                  </a:lnTo>
                  <a:lnTo>
                    <a:pt x="432" y="30"/>
                  </a:lnTo>
                  <a:lnTo>
                    <a:pt x="438" y="36"/>
                  </a:lnTo>
                  <a:lnTo>
                    <a:pt x="444" y="42"/>
                  </a:lnTo>
                  <a:lnTo>
                    <a:pt x="450" y="42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16" y="78"/>
                  </a:lnTo>
                  <a:lnTo>
                    <a:pt x="522" y="102"/>
                  </a:lnTo>
                  <a:lnTo>
                    <a:pt x="522" y="108"/>
                  </a:lnTo>
                  <a:lnTo>
                    <a:pt x="528" y="126"/>
                  </a:lnTo>
                  <a:lnTo>
                    <a:pt x="534" y="126"/>
                  </a:lnTo>
                  <a:lnTo>
                    <a:pt x="540" y="120"/>
                  </a:lnTo>
                  <a:lnTo>
                    <a:pt x="546" y="126"/>
                  </a:lnTo>
                  <a:lnTo>
                    <a:pt x="552" y="126"/>
                  </a:lnTo>
                  <a:lnTo>
                    <a:pt x="558" y="132"/>
                  </a:lnTo>
                  <a:lnTo>
                    <a:pt x="564" y="138"/>
                  </a:lnTo>
                  <a:lnTo>
                    <a:pt x="570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594" y="168"/>
                  </a:lnTo>
                  <a:lnTo>
                    <a:pt x="600" y="174"/>
                  </a:lnTo>
                  <a:lnTo>
                    <a:pt x="606" y="180"/>
                  </a:lnTo>
                  <a:lnTo>
                    <a:pt x="606" y="186"/>
                  </a:lnTo>
                  <a:lnTo>
                    <a:pt x="612" y="192"/>
                  </a:lnTo>
                  <a:lnTo>
                    <a:pt x="612" y="198"/>
                  </a:lnTo>
                  <a:lnTo>
                    <a:pt x="624" y="204"/>
                  </a:lnTo>
                  <a:lnTo>
                    <a:pt x="624" y="210"/>
                  </a:lnTo>
                  <a:lnTo>
                    <a:pt x="630" y="216"/>
                  </a:lnTo>
                  <a:lnTo>
                    <a:pt x="636" y="222"/>
                  </a:lnTo>
                  <a:lnTo>
                    <a:pt x="636" y="228"/>
                  </a:lnTo>
                  <a:lnTo>
                    <a:pt x="636" y="234"/>
                  </a:lnTo>
                  <a:lnTo>
                    <a:pt x="636" y="252"/>
                  </a:lnTo>
                  <a:lnTo>
                    <a:pt x="636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42" y="276"/>
                  </a:lnTo>
                  <a:lnTo>
                    <a:pt x="642" y="282"/>
                  </a:lnTo>
                  <a:lnTo>
                    <a:pt x="642" y="288"/>
                  </a:lnTo>
                  <a:lnTo>
                    <a:pt x="642" y="300"/>
                  </a:lnTo>
                  <a:lnTo>
                    <a:pt x="642" y="306"/>
                  </a:lnTo>
                  <a:lnTo>
                    <a:pt x="636" y="312"/>
                  </a:lnTo>
                  <a:lnTo>
                    <a:pt x="636" y="324"/>
                  </a:lnTo>
                  <a:lnTo>
                    <a:pt x="636" y="342"/>
                  </a:lnTo>
                  <a:lnTo>
                    <a:pt x="630" y="354"/>
                  </a:lnTo>
                  <a:lnTo>
                    <a:pt x="630" y="366"/>
                  </a:lnTo>
                  <a:lnTo>
                    <a:pt x="624" y="378"/>
                  </a:lnTo>
                  <a:lnTo>
                    <a:pt x="624" y="384"/>
                  </a:lnTo>
                  <a:lnTo>
                    <a:pt x="636" y="396"/>
                  </a:lnTo>
                  <a:lnTo>
                    <a:pt x="636" y="402"/>
                  </a:lnTo>
                  <a:lnTo>
                    <a:pt x="636" y="408"/>
                  </a:lnTo>
                  <a:lnTo>
                    <a:pt x="630" y="414"/>
                  </a:lnTo>
                  <a:lnTo>
                    <a:pt x="630" y="420"/>
                  </a:lnTo>
                  <a:lnTo>
                    <a:pt x="630" y="426"/>
                  </a:lnTo>
                  <a:lnTo>
                    <a:pt x="630" y="432"/>
                  </a:lnTo>
                  <a:lnTo>
                    <a:pt x="624" y="438"/>
                  </a:lnTo>
                  <a:lnTo>
                    <a:pt x="624" y="444"/>
                  </a:lnTo>
                  <a:lnTo>
                    <a:pt x="624" y="450"/>
                  </a:lnTo>
                  <a:lnTo>
                    <a:pt x="630" y="450"/>
                  </a:lnTo>
                  <a:lnTo>
                    <a:pt x="630" y="456"/>
                  </a:lnTo>
                  <a:lnTo>
                    <a:pt x="630" y="462"/>
                  </a:lnTo>
                  <a:lnTo>
                    <a:pt x="636" y="468"/>
                  </a:lnTo>
                  <a:lnTo>
                    <a:pt x="642" y="456"/>
                  </a:lnTo>
                  <a:lnTo>
                    <a:pt x="642" y="450"/>
                  </a:lnTo>
                  <a:lnTo>
                    <a:pt x="648" y="450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60" y="444"/>
                  </a:lnTo>
                  <a:lnTo>
                    <a:pt x="666" y="450"/>
                  </a:lnTo>
                  <a:lnTo>
                    <a:pt x="672" y="444"/>
                  </a:lnTo>
                  <a:lnTo>
                    <a:pt x="678" y="444"/>
                  </a:lnTo>
                  <a:lnTo>
                    <a:pt x="684" y="438"/>
                  </a:lnTo>
                  <a:lnTo>
                    <a:pt x="690" y="438"/>
                  </a:lnTo>
                  <a:lnTo>
                    <a:pt x="696" y="438"/>
                  </a:lnTo>
                  <a:lnTo>
                    <a:pt x="702" y="444"/>
                  </a:lnTo>
                  <a:lnTo>
                    <a:pt x="702" y="450"/>
                  </a:lnTo>
                  <a:lnTo>
                    <a:pt x="708" y="450"/>
                  </a:lnTo>
                  <a:lnTo>
                    <a:pt x="708" y="456"/>
                  </a:lnTo>
                  <a:lnTo>
                    <a:pt x="708" y="462"/>
                  </a:lnTo>
                  <a:lnTo>
                    <a:pt x="708" y="468"/>
                  </a:lnTo>
                  <a:lnTo>
                    <a:pt x="708" y="504"/>
                  </a:lnTo>
                  <a:lnTo>
                    <a:pt x="696" y="564"/>
                  </a:lnTo>
                  <a:lnTo>
                    <a:pt x="696" y="582"/>
                  </a:lnTo>
                  <a:lnTo>
                    <a:pt x="696" y="600"/>
                  </a:lnTo>
                  <a:lnTo>
                    <a:pt x="690" y="606"/>
                  </a:lnTo>
                  <a:lnTo>
                    <a:pt x="684" y="606"/>
                  </a:lnTo>
                  <a:lnTo>
                    <a:pt x="690" y="612"/>
                  </a:lnTo>
                  <a:lnTo>
                    <a:pt x="684" y="612"/>
                  </a:lnTo>
                  <a:lnTo>
                    <a:pt x="678" y="618"/>
                  </a:lnTo>
                  <a:lnTo>
                    <a:pt x="672" y="624"/>
                  </a:lnTo>
                  <a:lnTo>
                    <a:pt x="666" y="630"/>
                  </a:lnTo>
                  <a:lnTo>
                    <a:pt x="660" y="636"/>
                  </a:lnTo>
                  <a:lnTo>
                    <a:pt x="672" y="636"/>
                  </a:lnTo>
                  <a:lnTo>
                    <a:pt x="678" y="642"/>
                  </a:lnTo>
                  <a:lnTo>
                    <a:pt x="678" y="648"/>
                  </a:lnTo>
                  <a:lnTo>
                    <a:pt x="684" y="654"/>
                  </a:lnTo>
                  <a:lnTo>
                    <a:pt x="690" y="666"/>
                  </a:lnTo>
                  <a:lnTo>
                    <a:pt x="690" y="672"/>
                  </a:lnTo>
                  <a:lnTo>
                    <a:pt x="696" y="672"/>
                  </a:lnTo>
                  <a:lnTo>
                    <a:pt x="696" y="684"/>
                  </a:lnTo>
                  <a:lnTo>
                    <a:pt x="708" y="690"/>
                  </a:lnTo>
                  <a:lnTo>
                    <a:pt x="720" y="696"/>
                  </a:lnTo>
                  <a:lnTo>
                    <a:pt x="726" y="696"/>
                  </a:lnTo>
                  <a:lnTo>
                    <a:pt x="732" y="696"/>
                  </a:lnTo>
                  <a:lnTo>
                    <a:pt x="738" y="696"/>
                  </a:lnTo>
                  <a:lnTo>
                    <a:pt x="738" y="702"/>
                  </a:lnTo>
                  <a:lnTo>
                    <a:pt x="738" y="708"/>
                  </a:lnTo>
                  <a:lnTo>
                    <a:pt x="738" y="714"/>
                  </a:lnTo>
                  <a:lnTo>
                    <a:pt x="744" y="714"/>
                  </a:lnTo>
                  <a:lnTo>
                    <a:pt x="756" y="720"/>
                  </a:lnTo>
                  <a:lnTo>
                    <a:pt x="780" y="726"/>
                  </a:lnTo>
                  <a:lnTo>
                    <a:pt x="792" y="732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22" y="774"/>
                  </a:lnTo>
                  <a:lnTo>
                    <a:pt x="834" y="786"/>
                  </a:lnTo>
                  <a:lnTo>
                    <a:pt x="834" y="792"/>
                  </a:lnTo>
                  <a:lnTo>
                    <a:pt x="834" y="798"/>
                  </a:lnTo>
                  <a:lnTo>
                    <a:pt x="828" y="798"/>
                  </a:lnTo>
                  <a:lnTo>
                    <a:pt x="828" y="804"/>
                  </a:lnTo>
                  <a:lnTo>
                    <a:pt x="834" y="816"/>
                  </a:lnTo>
                  <a:lnTo>
                    <a:pt x="834" y="834"/>
                  </a:lnTo>
                  <a:lnTo>
                    <a:pt x="834" y="840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34" y="858"/>
                  </a:lnTo>
                  <a:lnTo>
                    <a:pt x="834" y="864"/>
                  </a:lnTo>
                  <a:lnTo>
                    <a:pt x="834" y="876"/>
                  </a:lnTo>
                  <a:lnTo>
                    <a:pt x="828" y="960"/>
                  </a:lnTo>
                  <a:lnTo>
                    <a:pt x="816" y="966"/>
                  </a:lnTo>
                  <a:lnTo>
                    <a:pt x="798" y="972"/>
                  </a:lnTo>
                  <a:lnTo>
                    <a:pt x="786" y="990"/>
                  </a:lnTo>
                  <a:lnTo>
                    <a:pt x="774" y="990"/>
                  </a:lnTo>
                  <a:lnTo>
                    <a:pt x="762" y="1008"/>
                  </a:lnTo>
                  <a:lnTo>
                    <a:pt x="732" y="1014"/>
                  </a:lnTo>
                  <a:lnTo>
                    <a:pt x="714" y="1026"/>
                  </a:lnTo>
                  <a:lnTo>
                    <a:pt x="690" y="1050"/>
                  </a:lnTo>
                  <a:lnTo>
                    <a:pt x="654" y="1056"/>
                  </a:lnTo>
                  <a:lnTo>
                    <a:pt x="630" y="1056"/>
                  </a:lnTo>
                  <a:lnTo>
                    <a:pt x="606" y="1068"/>
                  </a:lnTo>
                  <a:lnTo>
                    <a:pt x="600" y="1092"/>
                  </a:lnTo>
                  <a:lnTo>
                    <a:pt x="600" y="1098"/>
                  </a:lnTo>
                  <a:lnTo>
                    <a:pt x="588" y="1104"/>
                  </a:lnTo>
                  <a:lnTo>
                    <a:pt x="582" y="1104"/>
                  </a:lnTo>
                  <a:lnTo>
                    <a:pt x="570" y="1110"/>
                  </a:lnTo>
                  <a:lnTo>
                    <a:pt x="564" y="111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7" name="Freeform 12">
              <a:extLst>
                <a:ext uri="{FF2B5EF4-FFF2-40B4-BE49-F238E27FC236}">
                  <a16:creationId xmlns:a16="http://schemas.microsoft.com/office/drawing/2014/main" id="{6C93C114-E5D0-49BB-A44C-A127CE01CFE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810" y="2271838"/>
              <a:ext cx="923547" cy="845397"/>
            </a:xfrm>
            <a:custGeom>
              <a:avLst/>
              <a:gdLst>
                <a:gd name="T0" fmla="*/ 138 w 1740"/>
                <a:gd name="T1" fmla="*/ 134 h 1590"/>
                <a:gd name="T2" fmla="*/ 128 w 1740"/>
                <a:gd name="T3" fmla="*/ 131 h 1590"/>
                <a:gd name="T4" fmla="*/ 121 w 1740"/>
                <a:gd name="T5" fmla="*/ 130 h 1590"/>
                <a:gd name="T6" fmla="*/ 119 w 1740"/>
                <a:gd name="T7" fmla="*/ 134 h 1590"/>
                <a:gd name="T8" fmla="*/ 110 w 1740"/>
                <a:gd name="T9" fmla="*/ 132 h 1590"/>
                <a:gd name="T10" fmla="*/ 111 w 1740"/>
                <a:gd name="T11" fmla="*/ 127 h 1590"/>
                <a:gd name="T12" fmla="*/ 103 w 1740"/>
                <a:gd name="T13" fmla="*/ 117 h 1590"/>
                <a:gd name="T14" fmla="*/ 93 w 1740"/>
                <a:gd name="T15" fmla="*/ 123 h 1590"/>
                <a:gd name="T16" fmla="*/ 80 w 1740"/>
                <a:gd name="T17" fmla="*/ 118 h 1590"/>
                <a:gd name="T18" fmla="*/ 66 w 1740"/>
                <a:gd name="T19" fmla="*/ 117 h 1590"/>
                <a:gd name="T20" fmla="*/ 66 w 1740"/>
                <a:gd name="T21" fmla="*/ 110 h 1590"/>
                <a:gd name="T22" fmla="*/ 69 w 1740"/>
                <a:gd name="T23" fmla="*/ 107 h 1590"/>
                <a:gd name="T24" fmla="*/ 68 w 1740"/>
                <a:gd name="T25" fmla="*/ 102 h 1590"/>
                <a:gd name="T26" fmla="*/ 68 w 1740"/>
                <a:gd name="T27" fmla="*/ 96 h 1590"/>
                <a:gd name="T28" fmla="*/ 67 w 1740"/>
                <a:gd name="T29" fmla="*/ 82 h 1590"/>
                <a:gd name="T30" fmla="*/ 58 w 1740"/>
                <a:gd name="T31" fmla="*/ 82 h 1590"/>
                <a:gd name="T32" fmla="*/ 52 w 1740"/>
                <a:gd name="T33" fmla="*/ 82 h 1590"/>
                <a:gd name="T34" fmla="*/ 46 w 1740"/>
                <a:gd name="T35" fmla="*/ 80 h 1590"/>
                <a:gd name="T36" fmla="*/ 45 w 1740"/>
                <a:gd name="T37" fmla="*/ 74 h 1590"/>
                <a:gd name="T38" fmla="*/ 52 w 1740"/>
                <a:gd name="T39" fmla="*/ 70 h 1590"/>
                <a:gd name="T40" fmla="*/ 52 w 1740"/>
                <a:gd name="T41" fmla="*/ 64 h 1590"/>
                <a:gd name="T42" fmla="*/ 42 w 1740"/>
                <a:gd name="T43" fmla="*/ 53 h 1590"/>
                <a:gd name="T44" fmla="*/ 35 w 1740"/>
                <a:gd name="T45" fmla="*/ 52 h 1590"/>
                <a:gd name="T46" fmla="*/ 20 w 1740"/>
                <a:gd name="T47" fmla="*/ 51 h 1590"/>
                <a:gd name="T48" fmla="*/ 17 w 1740"/>
                <a:gd name="T49" fmla="*/ 56 h 1590"/>
                <a:gd name="T50" fmla="*/ 11 w 1740"/>
                <a:gd name="T51" fmla="*/ 61 h 1590"/>
                <a:gd name="T52" fmla="*/ 7 w 1740"/>
                <a:gd name="T53" fmla="*/ 63 h 1590"/>
                <a:gd name="T54" fmla="*/ 0 w 1740"/>
                <a:gd name="T55" fmla="*/ 55 h 1590"/>
                <a:gd name="T56" fmla="*/ 2 w 1740"/>
                <a:gd name="T57" fmla="*/ 50 h 1590"/>
                <a:gd name="T58" fmla="*/ 0 w 1740"/>
                <a:gd name="T59" fmla="*/ 44 h 1590"/>
                <a:gd name="T60" fmla="*/ 2 w 1740"/>
                <a:gd name="T61" fmla="*/ 38 h 1590"/>
                <a:gd name="T62" fmla="*/ 7 w 1740"/>
                <a:gd name="T63" fmla="*/ 35 h 1590"/>
                <a:gd name="T64" fmla="*/ 11 w 1740"/>
                <a:gd name="T65" fmla="*/ 30 h 1590"/>
                <a:gd name="T66" fmla="*/ 21 w 1740"/>
                <a:gd name="T67" fmla="*/ 26 h 1590"/>
                <a:gd name="T68" fmla="*/ 29 w 1740"/>
                <a:gd name="T69" fmla="*/ 25 h 1590"/>
                <a:gd name="T70" fmla="*/ 35 w 1740"/>
                <a:gd name="T71" fmla="*/ 21 h 1590"/>
                <a:gd name="T72" fmla="*/ 36 w 1740"/>
                <a:gd name="T73" fmla="*/ 16 h 1590"/>
                <a:gd name="T74" fmla="*/ 41 w 1740"/>
                <a:gd name="T75" fmla="*/ 11 h 1590"/>
                <a:gd name="T76" fmla="*/ 51 w 1740"/>
                <a:gd name="T77" fmla="*/ 9 h 1590"/>
                <a:gd name="T78" fmla="*/ 59 w 1740"/>
                <a:gd name="T79" fmla="*/ 21 h 1590"/>
                <a:gd name="T80" fmla="*/ 65 w 1740"/>
                <a:gd name="T81" fmla="*/ 13 h 1590"/>
                <a:gd name="T82" fmla="*/ 73 w 1740"/>
                <a:gd name="T83" fmla="*/ 8 h 1590"/>
                <a:gd name="T84" fmla="*/ 82 w 1740"/>
                <a:gd name="T85" fmla="*/ 12 h 1590"/>
                <a:gd name="T86" fmla="*/ 88 w 1740"/>
                <a:gd name="T87" fmla="*/ 12 h 1590"/>
                <a:gd name="T88" fmla="*/ 99 w 1740"/>
                <a:gd name="T89" fmla="*/ 7 h 1590"/>
                <a:gd name="T90" fmla="*/ 114 w 1740"/>
                <a:gd name="T91" fmla="*/ 0 h 1590"/>
                <a:gd name="T92" fmla="*/ 117 w 1740"/>
                <a:gd name="T93" fmla="*/ 10 h 1590"/>
                <a:gd name="T94" fmla="*/ 132 w 1740"/>
                <a:gd name="T95" fmla="*/ 17 h 1590"/>
                <a:gd name="T96" fmla="*/ 140 w 1740"/>
                <a:gd name="T97" fmla="*/ 25 h 1590"/>
                <a:gd name="T98" fmla="*/ 140 w 1740"/>
                <a:gd name="T99" fmla="*/ 33 h 1590"/>
                <a:gd name="T100" fmla="*/ 140 w 1740"/>
                <a:gd name="T101" fmla="*/ 44 h 1590"/>
                <a:gd name="T102" fmla="*/ 138 w 1740"/>
                <a:gd name="T103" fmla="*/ 48 h 1590"/>
                <a:gd name="T104" fmla="*/ 141 w 1740"/>
                <a:gd name="T105" fmla="*/ 49 h 1590"/>
                <a:gd name="T106" fmla="*/ 146 w 1740"/>
                <a:gd name="T107" fmla="*/ 50 h 1590"/>
                <a:gd name="T108" fmla="*/ 149 w 1740"/>
                <a:gd name="T109" fmla="*/ 59 h 1590"/>
                <a:gd name="T110" fmla="*/ 148 w 1740"/>
                <a:gd name="T111" fmla="*/ 67 h 1590"/>
                <a:gd name="T112" fmla="*/ 141 w 1740"/>
                <a:gd name="T113" fmla="*/ 78 h 1590"/>
                <a:gd name="T114" fmla="*/ 141 w 1740"/>
                <a:gd name="T115" fmla="*/ 91 h 1590"/>
                <a:gd name="T116" fmla="*/ 138 w 1740"/>
                <a:gd name="T117" fmla="*/ 102 h 1590"/>
                <a:gd name="T118" fmla="*/ 138 w 1740"/>
                <a:gd name="T119" fmla="*/ 110 h 1590"/>
                <a:gd name="T120" fmla="*/ 144 w 1740"/>
                <a:gd name="T121" fmla="*/ 118 h 1590"/>
                <a:gd name="T122" fmla="*/ 143 w 1740"/>
                <a:gd name="T123" fmla="*/ 125 h 159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740"/>
                <a:gd name="T187" fmla="*/ 0 h 1590"/>
                <a:gd name="T188" fmla="*/ 1740 w 1740"/>
                <a:gd name="T189" fmla="*/ 1590 h 159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740" h="1590">
                  <a:moveTo>
                    <a:pt x="1638" y="1458"/>
                  </a:moveTo>
                  <a:lnTo>
                    <a:pt x="1638" y="1482"/>
                  </a:lnTo>
                  <a:lnTo>
                    <a:pt x="1638" y="1500"/>
                  </a:lnTo>
                  <a:lnTo>
                    <a:pt x="1626" y="1500"/>
                  </a:lnTo>
                  <a:lnTo>
                    <a:pt x="1620" y="1500"/>
                  </a:lnTo>
                  <a:lnTo>
                    <a:pt x="1614" y="1500"/>
                  </a:lnTo>
                  <a:lnTo>
                    <a:pt x="1614" y="1506"/>
                  </a:lnTo>
                  <a:lnTo>
                    <a:pt x="1614" y="1512"/>
                  </a:lnTo>
                  <a:lnTo>
                    <a:pt x="1620" y="1518"/>
                  </a:lnTo>
                  <a:lnTo>
                    <a:pt x="1614" y="1524"/>
                  </a:lnTo>
                  <a:lnTo>
                    <a:pt x="1590" y="1536"/>
                  </a:lnTo>
                  <a:lnTo>
                    <a:pt x="1584" y="1566"/>
                  </a:lnTo>
                  <a:lnTo>
                    <a:pt x="1578" y="1590"/>
                  </a:lnTo>
                  <a:lnTo>
                    <a:pt x="1548" y="1590"/>
                  </a:lnTo>
                  <a:lnTo>
                    <a:pt x="1542" y="1584"/>
                  </a:lnTo>
                  <a:lnTo>
                    <a:pt x="1542" y="1572"/>
                  </a:lnTo>
                  <a:lnTo>
                    <a:pt x="1536" y="1566"/>
                  </a:lnTo>
                  <a:lnTo>
                    <a:pt x="1536" y="1554"/>
                  </a:lnTo>
                  <a:lnTo>
                    <a:pt x="1536" y="1548"/>
                  </a:lnTo>
                  <a:lnTo>
                    <a:pt x="1506" y="1530"/>
                  </a:lnTo>
                  <a:lnTo>
                    <a:pt x="1488" y="1506"/>
                  </a:lnTo>
                  <a:lnTo>
                    <a:pt x="1464" y="1500"/>
                  </a:lnTo>
                  <a:lnTo>
                    <a:pt x="1470" y="1494"/>
                  </a:lnTo>
                  <a:lnTo>
                    <a:pt x="1470" y="1488"/>
                  </a:lnTo>
                  <a:lnTo>
                    <a:pt x="1470" y="1482"/>
                  </a:lnTo>
                  <a:lnTo>
                    <a:pt x="1428" y="1464"/>
                  </a:lnTo>
                  <a:lnTo>
                    <a:pt x="1404" y="1470"/>
                  </a:lnTo>
                  <a:lnTo>
                    <a:pt x="1398" y="1470"/>
                  </a:lnTo>
                  <a:lnTo>
                    <a:pt x="1392" y="1476"/>
                  </a:lnTo>
                  <a:lnTo>
                    <a:pt x="1386" y="1476"/>
                  </a:lnTo>
                  <a:lnTo>
                    <a:pt x="1386" y="1482"/>
                  </a:lnTo>
                  <a:lnTo>
                    <a:pt x="1392" y="1482"/>
                  </a:lnTo>
                  <a:lnTo>
                    <a:pt x="1386" y="1488"/>
                  </a:lnTo>
                  <a:lnTo>
                    <a:pt x="1386" y="1494"/>
                  </a:lnTo>
                  <a:lnTo>
                    <a:pt x="1380" y="1494"/>
                  </a:lnTo>
                  <a:lnTo>
                    <a:pt x="1380" y="1500"/>
                  </a:lnTo>
                  <a:lnTo>
                    <a:pt x="1380" y="1512"/>
                  </a:lnTo>
                  <a:lnTo>
                    <a:pt x="1380" y="1518"/>
                  </a:lnTo>
                  <a:lnTo>
                    <a:pt x="1380" y="1524"/>
                  </a:lnTo>
                  <a:lnTo>
                    <a:pt x="1380" y="1530"/>
                  </a:lnTo>
                  <a:lnTo>
                    <a:pt x="1374" y="1536"/>
                  </a:lnTo>
                  <a:lnTo>
                    <a:pt x="1374" y="1542"/>
                  </a:lnTo>
                  <a:lnTo>
                    <a:pt x="1368" y="1542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44" y="1554"/>
                  </a:lnTo>
                  <a:lnTo>
                    <a:pt x="1332" y="1560"/>
                  </a:lnTo>
                  <a:lnTo>
                    <a:pt x="1302" y="1554"/>
                  </a:lnTo>
                  <a:lnTo>
                    <a:pt x="1290" y="1554"/>
                  </a:lnTo>
                  <a:lnTo>
                    <a:pt x="1278" y="1542"/>
                  </a:lnTo>
                  <a:lnTo>
                    <a:pt x="1272" y="1530"/>
                  </a:lnTo>
                  <a:lnTo>
                    <a:pt x="1272" y="1524"/>
                  </a:lnTo>
                  <a:lnTo>
                    <a:pt x="1272" y="1518"/>
                  </a:lnTo>
                  <a:lnTo>
                    <a:pt x="1266" y="1518"/>
                  </a:lnTo>
                  <a:lnTo>
                    <a:pt x="1266" y="1512"/>
                  </a:lnTo>
                  <a:lnTo>
                    <a:pt x="1266" y="1506"/>
                  </a:lnTo>
                  <a:lnTo>
                    <a:pt x="1272" y="1506"/>
                  </a:lnTo>
                  <a:lnTo>
                    <a:pt x="1272" y="1500"/>
                  </a:lnTo>
                  <a:lnTo>
                    <a:pt x="1278" y="1500"/>
                  </a:lnTo>
                  <a:lnTo>
                    <a:pt x="1278" y="1494"/>
                  </a:lnTo>
                  <a:lnTo>
                    <a:pt x="1278" y="1488"/>
                  </a:lnTo>
                  <a:lnTo>
                    <a:pt x="1284" y="1488"/>
                  </a:lnTo>
                  <a:lnTo>
                    <a:pt x="1284" y="1482"/>
                  </a:lnTo>
                  <a:lnTo>
                    <a:pt x="1290" y="1476"/>
                  </a:lnTo>
                  <a:lnTo>
                    <a:pt x="1284" y="1470"/>
                  </a:lnTo>
                  <a:lnTo>
                    <a:pt x="1278" y="1458"/>
                  </a:lnTo>
                  <a:lnTo>
                    <a:pt x="1278" y="1452"/>
                  </a:lnTo>
                  <a:lnTo>
                    <a:pt x="1260" y="1428"/>
                  </a:lnTo>
                  <a:lnTo>
                    <a:pt x="1254" y="1416"/>
                  </a:lnTo>
                  <a:lnTo>
                    <a:pt x="1254" y="1410"/>
                  </a:lnTo>
                  <a:lnTo>
                    <a:pt x="1248" y="1398"/>
                  </a:lnTo>
                  <a:lnTo>
                    <a:pt x="1242" y="1398"/>
                  </a:lnTo>
                  <a:lnTo>
                    <a:pt x="1236" y="1398"/>
                  </a:lnTo>
                  <a:lnTo>
                    <a:pt x="1218" y="1386"/>
                  </a:lnTo>
                  <a:lnTo>
                    <a:pt x="1212" y="1362"/>
                  </a:lnTo>
                  <a:lnTo>
                    <a:pt x="1200" y="1344"/>
                  </a:lnTo>
                  <a:lnTo>
                    <a:pt x="1188" y="1338"/>
                  </a:lnTo>
                  <a:lnTo>
                    <a:pt x="1164" y="1338"/>
                  </a:lnTo>
                  <a:lnTo>
                    <a:pt x="1158" y="1344"/>
                  </a:lnTo>
                  <a:lnTo>
                    <a:pt x="1152" y="1350"/>
                  </a:lnTo>
                  <a:lnTo>
                    <a:pt x="1152" y="1356"/>
                  </a:lnTo>
                  <a:lnTo>
                    <a:pt x="1140" y="1362"/>
                  </a:lnTo>
                  <a:lnTo>
                    <a:pt x="1134" y="1380"/>
                  </a:lnTo>
                  <a:lnTo>
                    <a:pt x="1116" y="1398"/>
                  </a:lnTo>
                  <a:lnTo>
                    <a:pt x="1110" y="1416"/>
                  </a:lnTo>
                  <a:lnTo>
                    <a:pt x="1086" y="1416"/>
                  </a:lnTo>
                  <a:lnTo>
                    <a:pt x="1080" y="1410"/>
                  </a:lnTo>
                  <a:lnTo>
                    <a:pt x="1074" y="1410"/>
                  </a:lnTo>
                  <a:lnTo>
                    <a:pt x="1074" y="1404"/>
                  </a:lnTo>
                  <a:lnTo>
                    <a:pt x="1062" y="1404"/>
                  </a:lnTo>
                  <a:lnTo>
                    <a:pt x="1062" y="1380"/>
                  </a:lnTo>
                  <a:lnTo>
                    <a:pt x="1038" y="1380"/>
                  </a:lnTo>
                  <a:lnTo>
                    <a:pt x="1026" y="1350"/>
                  </a:lnTo>
                  <a:lnTo>
                    <a:pt x="996" y="1326"/>
                  </a:lnTo>
                  <a:lnTo>
                    <a:pt x="966" y="1314"/>
                  </a:lnTo>
                  <a:lnTo>
                    <a:pt x="954" y="1320"/>
                  </a:lnTo>
                  <a:lnTo>
                    <a:pt x="942" y="1338"/>
                  </a:lnTo>
                  <a:lnTo>
                    <a:pt x="930" y="1338"/>
                  </a:lnTo>
                  <a:lnTo>
                    <a:pt x="924" y="1350"/>
                  </a:lnTo>
                  <a:lnTo>
                    <a:pt x="906" y="1356"/>
                  </a:lnTo>
                  <a:lnTo>
                    <a:pt x="846" y="1356"/>
                  </a:lnTo>
                  <a:lnTo>
                    <a:pt x="834" y="1368"/>
                  </a:lnTo>
                  <a:lnTo>
                    <a:pt x="810" y="1362"/>
                  </a:lnTo>
                  <a:lnTo>
                    <a:pt x="792" y="1362"/>
                  </a:lnTo>
                  <a:lnTo>
                    <a:pt x="780" y="1368"/>
                  </a:lnTo>
                  <a:lnTo>
                    <a:pt x="762" y="1368"/>
                  </a:lnTo>
                  <a:lnTo>
                    <a:pt x="762" y="1362"/>
                  </a:lnTo>
                  <a:lnTo>
                    <a:pt x="750" y="1362"/>
                  </a:lnTo>
                  <a:lnTo>
                    <a:pt x="750" y="1338"/>
                  </a:lnTo>
                  <a:lnTo>
                    <a:pt x="762" y="1338"/>
                  </a:lnTo>
                  <a:lnTo>
                    <a:pt x="762" y="1326"/>
                  </a:lnTo>
                  <a:lnTo>
                    <a:pt x="762" y="1314"/>
                  </a:lnTo>
                  <a:lnTo>
                    <a:pt x="732" y="1314"/>
                  </a:lnTo>
                  <a:lnTo>
                    <a:pt x="726" y="1308"/>
                  </a:lnTo>
                  <a:lnTo>
                    <a:pt x="732" y="1284"/>
                  </a:lnTo>
                  <a:lnTo>
                    <a:pt x="732" y="1278"/>
                  </a:lnTo>
                  <a:lnTo>
                    <a:pt x="738" y="1272"/>
                  </a:lnTo>
                  <a:lnTo>
                    <a:pt x="738" y="1266"/>
                  </a:lnTo>
                  <a:lnTo>
                    <a:pt x="744" y="1266"/>
                  </a:lnTo>
                  <a:lnTo>
                    <a:pt x="750" y="1272"/>
                  </a:lnTo>
                  <a:lnTo>
                    <a:pt x="756" y="1266"/>
                  </a:lnTo>
                  <a:lnTo>
                    <a:pt x="762" y="1266"/>
                  </a:lnTo>
                  <a:lnTo>
                    <a:pt x="768" y="1260"/>
                  </a:lnTo>
                  <a:lnTo>
                    <a:pt x="774" y="1260"/>
                  </a:lnTo>
                  <a:lnTo>
                    <a:pt x="780" y="1254"/>
                  </a:lnTo>
                  <a:lnTo>
                    <a:pt x="774" y="1254"/>
                  </a:lnTo>
                  <a:lnTo>
                    <a:pt x="768" y="1254"/>
                  </a:lnTo>
                  <a:lnTo>
                    <a:pt x="774" y="1248"/>
                  </a:lnTo>
                  <a:lnTo>
                    <a:pt x="774" y="1242"/>
                  </a:lnTo>
                  <a:lnTo>
                    <a:pt x="780" y="1236"/>
                  </a:lnTo>
                  <a:lnTo>
                    <a:pt x="786" y="1236"/>
                  </a:lnTo>
                  <a:lnTo>
                    <a:pt x="792" y="1230"/>
                  </a:lnTo>
                  <a:lnTo>
                    <a:pt x="792" y="1236"/>
                  </a:lnTo>
                  <a:lnTo>
                    <a:pt x="798" y="1236"/>
                  </a:lnTo>
                  <a:lnTo>
                    <a:pt x="798" y="1230"/>
                  </a:lnTo>
                  <a:lnTo>
                    <a:pt x="804" y="1230"/>
                  </a:lnTo>
                  <a:lnTo>
                    <a:pt x="804" y="1218"/>
                  </a:lnTo>
                  <a:lnTo>
                    <a:pt x="804" y="1206"/>
                  </a:lnTo>
                  <a:lnTo>
                    <a:pt x="792" y="1188"/>
                  </a:lnTo>
                  <a:lnTo>
                    <a:pt x="768" y="1182"/>
                  </a:lnTo>
                  <a:lnTo>
                    <a:pt x="768" y="1170"/>
                  </a:lnTo>
                  <a:lnTo>
                    <a:pt x="774" y="1170"/>
                  </a:lnTo>
                  <a:lnTo>
                    <a:pt x="780" y="1170"/>
                  </a:lnTo>
                  <a:lnTo>
                    <a:pt x="786" y="1170"/>
                  </a:lnTo>
                  <a:lnTo>
                    <a:pt x="780" y="1152"/>
                  </a:lnTo>
                  <a:lnTo>
                    <a:pt x="780" y="1146"/>
                  </a:lnTo>
                  <a:lnTo>
                    <a:pt x="744" y="1140"/>
                  </a:lnTo>
                  <a:lnTo>
                    <a:pt x="732" y="1128"/>
                  </a:lnTo>
                  <a:lnTo>
                    <a:pt x="720" y="1122"/>
                  </a:lnTo>
                  <a:lnTo>
                    <a:pt x="732" y="1116"/>
                  </a:lnTo>
                  <a:lnTo>
                    <a:pt x="750" y="1104"/>
                  </a:lnTo>
                  <a:lnTo>
                    <a:pt x="756" y="1116"/>
                  </a:lnTo>
                  <a:lnTo>
                    <a:pt x="774" y="1116"/>
                  </a:lnTo>
                  <a:lnTo>
                    <a:pt x="780" y="1104"/>
                  </a:lnTo>
                  <a:lnTo>
                    <a:pt x="780" y="1080"/>
                  </a:lnTo>
                  <a:lnTo>
                    <a:pt x="786" y="1080"/>
                  </a:lnTo>
                  <a:lnTo>
                    <a:pt x="786" y="1074"/>
                  </a:lnTo>
                  <a:lnTo>
                    <a:pt x="792" y="1074"/>
                  </a:lnTo>
                  <a:lnTo>
                    <a:pt x="786" y="1068"/>
                  </a:lnTo>
                  <a:lnTo>
                    <a:pt x="786" y="1062"/>
                  </a:lnTo>
                  <a:lnTo>
                    <a:pt x="786" y="1056"/>
                  </a:lnTo>
                  <a:lnTo>
                    <a:pt x="792" y="1050"/>
                  </a:lnTo>
                  <a:lnTo>
                    <a:pt x="786" y="1020"/>
                  </a:lnTo>
                  <a:lnTo>
                    <a:pt x="780" y="960"/>
                  </a:lnTo>
                  <a:lnTo>
                    <a:pt x="768" y="942"/>
                  </a:lnTo>
                  <a:lnTo>
                    <a:pt x="732" y="936"/>
                  </a:lnTo>
                  <a:lnTo>
                    <a:pt x="732" y="942"/>
                  </a:lnTo>
                  <a:lnTo>
                    <a:pt x="726" y="942"/>
                  </a:lnTo>
                  <a:lnTo>
                    <a:pt x="720" y="936"/>
                  </a:lnTo>
                  <a:lnTo>
                    <a:pt x="714" y="942"/>
                  </a:lnTo>
                  <a:lnTo>
                    <a:pt x="708" y="942"/>
                  </a:lnTo>
                  <a:lnTo>
                    <a:pt x="702" y="942"/>
                  </a:lnTo>
                  <a:lnTo>
                    <a:pt x="690" y="936"/>
                  </a:lnTo>
                  <a:lnTo>
                    <a:pt x="684" y="936"/>
                  </a:lnTo>
                  <a:lnTo>
                    <a:pt x="678" y="936"/>
                  </a:lnTo>
                  <a:lnTo>
                    <a:pt x="672" y="936"/>
                  </a:lnTo>
                  <a:lnTo>
                    <a:pt x="666" y="942"/>
                  </a:lnTo>
                  <a:lnTo>
                    <a:pt x="660" y="942"/>
                  </a:lnTo>
                  <a:lnTo>
                    <a:pt x="654" y="942"/>
                  </a:lnTo>
                  <a:lnTo>
                    <a:pt x="648" y="942"/>
                  </a:lnTo>
                  <a:lnTo>
                    <a:pt x="642" y="936"/>
                  </a:lnTo>
                  <a:lnTo>
                    <a:pt x="636" y="936"/>
                  </a:lnTo>
                  <a:lnTo>
                    <a:pt x="630" y="930"/>
                  </a:lnTo>
                  <a:lnTo>
                    <a:pt x="618" y="930"/>
                  </a:lnTo>
                  <a:lnTo>
                    <a:pt x="612" y="930"/>
                  </a:lnTo>
                  <a:lnTo>
                    <a:pt x="606" y="936"/>
                  </a:lnTo>
                  <a:lnTo>
                    <a:pt x="600" y="942"/>
                  </a:lnTo>
                  <a:lnTo>
                    <a:pt x="600" y="936"/>
                  </a:lnTo>
                  <a:lnTo>
                    <a:pt x="594" y="930"/>
                  </a:lnTo>
                  <a:lnTo>
                    <a:pt x="588" y="930"/>
                  </a:lnTo>
                  <a:lnTo>
                    <a:pt x="582" y="930"/>
                  </a:lnTo>
                  <a:lnTo>
                    <a:pt x="576" y="930"/>
                  </a:lnTo>
                  <a:lnTo>
                    <a:pt x="564" y="936"/>
                  </a:lnTo>
                  <a:lnTo>
                    <a:pt x="558" y="936"/>
                  </a:lnTo>
                  <a:lnTo>
                    <a:pt x="546" y="924"/>
                  </a:lnTo>
                  <a:lnTo>
                    <a:pt x="540" y="924"/>
                  </a:lnTo>
                  <a:lnTo>
                    <a:pt x="534" y="918"/>
                  </a:lnTo>
                  <a:lnTo>
                    <a:pt x="528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6" y="918"/>
                  </a:lnTo>
                  <a:lnTo>
                    <a:pt x="516" y="912"/>
                  </a:lnTo>
                  <a:lnTo>
                    <a:pt x="510" y="894"/>
                  </a:lnTo>
                  <a:lnTo>
                    <a:pt x="510" y="882"/>
                  </a:lnTo>
                  <a:lnTo>
                    <a:pt x="510" y="876"/>
                  </a:lnTo>
                  <a:lnTo>
                    <a:pt x="516" y="870"/>
                  </a:lnTo>
                  <a:lnTo>
                    <a:pt x="510" y="864"/>
                  </a:lnTo>
                  <a:lnTo>
                    <a:pt x="516" y="858"/>
                  </a:lnTo>
                  <a:lnTo>
                    <a:pt x="522" y="858"/>
                  </a:lnTo>
                  <a:lnTo>
                    <a:pt x="528" y="858"/>
                  </a:lnTo>
                  <a:lnTo>
                    <a:pt x="522" y="852"/>
                  </a:lnTo>
                  <a:lnTo>
                    <a:pt x="528" y="852"/>
                  </a:lnTo>
                  <a:lnTo>
                    <a:pt x="528" y="846"/>
                  </a:lnTo>
                  <a:lnTo>
                    <a:pt x="552" y="846"/>
                  </a:lnTo>
                  <a:lnTo>
                    <a:pt x="558" y="840"/>
                  </a:lnTo>
                  <a:lnTo>
                    <a:pt x="564" y="828"/>
                  </a:lnTo>
                  <a:lnTo>
                    <a:pt x="570" y="816"/>
                  </a:lnTo>
                  <a:lnTo>
                    <a:pt x="582" y="810"/>
                  </a:lnTo>
                  <a:lnTo>
                    <a:pt x="588" y="804"/>
                  </a:lnTo>
                  <a:lnTo>
                    <a:pt x="594" y="804"/>
                  </a:lnTo>
                  <a:lnTo>
                    <a:pt x="594" y="792"/>
                  </a:lnTo>
                  <a:lnTo>
                    <a:pt x="600" y="786"/>
                  </a:lnTo>
                  <a:lnTo>
                    <a:pt x="606" y="780"/>
                  </a:lnTo>
                  <a:lnTo>
                    <a:pt x="612" y="774"/>
                  </a:lnTo>
                  <a:lnTo>
                    <a:pt x="618" y="774"/>
                  </a:lnTo>
                  <a:lnTo>
                    <a:pt x="618" y="768"/>
                  </a:lnTo>
                  <a:lnTo>
                    <a:pt x="618" y="762"/>
                  </a:lnTo>
                  <a:lnTo>
                    <a:pt x="624" y="756"/>
                  </a:lnTo>
                  <a:lnTo>
                    <a:pt x="618" y="750"/>
                  </a:lnTo>
                  <a:lnTo>
                    <a:pt x="618" y="744"/>
                  </a:lnTo>
                  <a:lnTo>
                    <a:pt x="600" y="738"/>
                  </a:lnTo>
                  <a:lnTo>
                    <a:pt x="558" y="744"/>
                  </a:lnTo>
                  <a:lnTo>
                    <a:pt x="552" y="732"/>
                  </a:lnTo>
                  <a:lnTo>
                    <a:pt x="546" y="720"/>
                  </a:lnTo>
                  <a:lnTo>
                    <a:pt x="564" y="702"/>
                  </a:lnTo>
                  <a:lnTo>
                    <a:pt x="570" y="684"/>
                  </a:lnTo>
                  <a:lnTo>
                    <a:pt x="564" y="648"/>
                  </a:lnTo>
                  <a:lnTo>
                    <a:pt x="534" y="624"/>
                  </a:lnTo>
                  <a:lnTo>
                    <a:pt x="504" y="612"/>
                  </a:lnTo>
                  <a:lnTo>
                    <a:pt x="498" y="606"/>
                  </a:lnTo>
                  <a:lnTo>
                    <a:pt x="492" y="600"/>
                  </a:lnTo>
                  <a:lnTo>
                    <a:pt x="486" y="606"/>
                  </a:lnTo>
                  <a:lnTo>
                    <a:pt x="480" y="558"/>
                  </a:lnTo>
                  <a:lnTo>
                    <a:pt x="462" y="546"/>
                  </a:lnTo>
                  <a:lnTo>
                    <a:pt x="408" y="540"/>
                  </a:lnTo>
                  <a:lnTo>
                    <a:pt x="408" y="546"/>
                  </a:lnTo>
                  <a:lnTo>
                    <a:pt x="408" y="558"/>
                  </a:lnTo>
                  <a:lnTo>
                    <a:pt x="408" y="564"/>
                  </a:lnTo>
                  <a:lnTo>
                    <a:pt x="408" y="570"/>
                  </a:lnTo>
                  <a:lnTo>
                    <a:pt x="414" y="582"/>
                  </a:lnTo>
                  <a:lnTo>
                    <a:pt x="408" y="594"/>
                  </a:lnTo>
                  <a:lnTo>
                    <a:pt x="414" y="594"/>
                  </a:lnTo>
                  <a:lnTo>
                    <a:pt x="408" y="600"/>
                  </a:lnTo>
                  <a:lnTo>
                    <a:pt x="348" y="600"/>
                  </a:lnTo>
                  <a:lnTo>
                    <a:pt x="324" y="600"/>
                  </a:lnTo>
                  <a:lnTo>
                    <a:pt x="324" y="612"/>
                  </a:lnTo>
                  <a:lnTo>
                    <a:pt x="306" y="618"/>
                  </a:lnTo>
                  <a:lnTo>
                    <a:pt x="312" y="618"/>
                  </a:lnTo>
                  <a:lnTo>
                    <a:pt x="294" y="588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76"/>
                  </a:lnTo>
                  <a:lnTo>
                    <a:pt x="240" y="582"/>
                  </a:lnTo>
                  <a:lnTo>
                    <a:pt x="234" y="582"/>
                  </a:lnTo>
                  <a:lnTo>
                    <a:pt x="228" y="588"/>
                  </a:lnTo>
                  <a:lnTo>
                    <a:pt x="222" y="588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8" y="600"/>
                  </a:lnTo>
                  <a:lnTo>
                    <a:pt x="192" y="612"/>
                  </a:lnTo>
                  <a:lnTo>
                    <a:pt x="192" y="618"/>
                  </a:lnTo>
                  <a:lnTo>
                    <a:pt x="198" y="624"/>
                  </a:lnTo>
                  <a:lnTo>
                    <a:pt x="192" y="624"/>
                  </a:lnTo>
                  <a:lnTo>
                    <a:pt x="192" y="630"/>
                  </a:lnTo>
                  <a:lnTo>
                    <a:pt x="192" y="642"/>
                  </a:lnTo>
                  <a:lnTo>
                    <a:pt x="180" y="648"/>
                  </a:lnTo>
                  <a:lnTo>
                    <a:pt x="174" y="654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6"/>
                  </a:lnTo>
                  <a:lnTo>
                    <a:pt x="156" y="672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90"/>
                  </a:lnTo>
                  <a:lnTo>
                    <a:pt x="132" y="690"/>
                  </a:lnTo>
                  <a:lnTo>
                    <a:pt x="126" y="702"/>
                  </a:lnTo>
                  <a:lnTo>
                    <a:pt x="132" y="708"/>
                  </a:lnTo>
                  <a:lnTo>
                    <a:pt x="126" y="708"/>
                  </a:lnTo>
                  <a:lnTo>
                    <a:pt x="120" y="708"/>
                  </a:lnTo>
                  <a:lnTo>
                    <a:pt x="114" y="708"/>
                  </a:lnTo>
                  <a:lnTo>
                    <a:pt x="108" y="708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78" y="720"/>
                  </a:lnTo>
                  <a:lnTo>
                    <a:pt x="72" y="720"/>
                  </a:lnTo>
                  <a:lnTo>
                    <a:pt x="66" y="720"/>
                  </a:lnTo>
                  <a:lnTo>
                    <a:pt x="54" y="732"/>
                  </a:lnTo>
                  <a:lnTo>
                    <a:pt x="48" y="702"/>
                  </a:lnTo>
                  <a:lnTo>
                    <a:pt x="36" y="666"/>
                  </a:lnTo>
                  <a:lnTo>
                    <a:pt x="0" y="660"/>
                  </a:lnTo>
                  <a:lnTo>
                    <a:pt x="6" y="660"/>
                  </a:lnTo>
                  <a:lnTo>
                    <a:pt x="6" y="654"/>
                  </a:lnTo>
                  <a:lnTo>
                    <a:pt x="6" y="648"/>
                  </a:lnTo>
                  <a:lnTo>
                    <a:pt x="6" y="642"/>
                  </a:lnTo>
                  <a:lnTo>
                    <a:pt x="6" y="624"/>
                  </a:lnTo>
                  <a:lnTo>
                    <a:pt x="6" y="612"/>
                  </a:lnTo>
                  <a:lnTo>
                    <a:pt x="6" y="606"/>
                  </a:lnTo>
                  <a:lnTo>
                    <a:pt x="12" y="612"/>
                  </a:lnTo>
                  <a:lnTo>
                    <a:pt x="18" y="606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30" y="594"/>
                  </a:lnTo>
                  <a:lnTo>
                    <a:pt x="30" y="588"/>
                  </a:lnTo>
                  <a:lnTo>
                    <a:pt x="30" y="582"/>
                  </a:lnTo>
                  <a:lnTo>
                    <a:pt x="24" y="576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18" y="558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36" y="528"/>
                  </a:lnTo>
                  <a:lnTo>
                    <a:pt x="30" y="522"/>
                  </a:lnTo>
                  <a:lnTo>
                    <a:pt x="24" y="522"/>
                  </a:lnTo>
                  <a:lnTo>
                    <a:pt x="18" y="510"/>
                  </a:lnTo>
                  <a:lnTo>
                    <a:pt x="12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8" y="474"/>
                  </a:lnTo>
                  <a:lnTo>
                    <a:pt x="12" y="468"/>
                  </a:lnTo>
                  <a:lnTo>
                    <a:pt x="12" y="462"/>
                  </a:lnTo>
                  <a:lnTo>
                    <a:pt x="18" y="456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0" y="420"/>
                  </a:lnTo>
                  <a:lnTo>
                    <a:pt x="30" y="414"/>
                  </a:lnTo>
                  <a:lnTo>
                    <a:pt x="48" y="414"/>
                  </a:lnTo>
                  <a:lnTo>
                    <a:pt x="54" y="408"/>
                  </a:lnTo>
                  <a:lnTo>
                    <a:pt x="60" y="402"/>
                  </a:lnTo>
                  <a:lnTo>
                    <a:pt x="66" y="402"/>
                  </a:lnTo>
                  <a:lnTo>
                    <a:pt x="72" y="402"/>
                  </a:lnTo>
                  <a:lnTo>
                    <a:pt x="78" y="408"/>
                  </a:lnTo>
                  <a:lnTo>
                    <a:pt x="84" y="396"/>
                  </a:lnTo>
                  <a:lnTo>
                    <a:pt x="90" y="390"/>
                  </a:lnTo>
                  <a:lnTo>
                    <a:pt x="90" y="378"/>
                  </a:lnTo>
                  <a:lnTo>
                    <a:pt x="96" y="372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8" y="354"/>
                  </a:lnTo>
                  <a:lnTo>
                    <a:pt x="114" y="348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32" y="336"/>
                  </a:lnTo>
                  <a:lnTo>
                    <a:pt x="132" y="330"/>
                  </a:lnTo>
                  <a:lnTo>
                    <a:pt x="138" y="324"/>
                  </a:lnTo>
                  <a:lnTo>
                    <a:pt x="138" y="318"/>
                  </a:lnTo>
                  <a:lnTo>
                    <a:pt x="144" y="306"/>
                  </a:lnTo>
                  <a:lnTo>
                    <a:pt x="156" y="306"/>
                  </a:lnTo>
                  <a:lnTo>
                    <a:pt x="186" y="300"/>
                  </a:lnTo>
                  <a:lnTo>
                    <a:pt x="198" y="300"/>
                  </a:lnTo>
                  <a:lnTo>
                    <a:pt x="210" y="300"/>
                  </a:lnTo>
                  <a:lnTo>
                    <a:pt x="222" y="300"/>
                  </a:lnTo>
                  <a:lnTo>
                    <a:pt x="246" y="300"/>
                  </a:lnTo>
                  <a:lnTo>
                    <a:pt x="264" y="312"/>
                  </a:lnTo>
                  <a:lnTo>
                    <a:pt x="270" y="312"/>
                  </a:lnTo>
                  <a:lnTo>
                    <a:pt x="282" y="306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300" y="306"/>
                  </a:lnTo>
                  <a:lnTo>
                    <a:pt x="312" y="306"/>
                  </a:lnTo>
                  <a:lnTo>
                    <a:pt x="318" y="300"/>
                  </a:lnTo>
                  <a:lnTo>
                    <a:pt x="324" y="300"/>
                  </a:lnTo>
                  <a:lnTo>
                    <a:pt x="330" y="294"/>
                  </a:lnTo>
                  <a:lnTo>
                    <a:pt x="336" y="288"/>
                  </a:lnTo>
                  <a:lnTo>
                    <a:pt x="354" y="288"/>
                  </a:lnTo>
                  <a:lnTo>
                    <a:pt x="360" y="288"/>
                  </a:lnTo>
                  <a:lnTo>
                    <a:pt x="366" y="282"/>
                  </a:lnTo>
                  <a:lnTo>
                    <a:pt x="372" y="282"/>
                  </a:lnTo>
                  <a:lnTo>
                    <a:pt x="378" y="282"/>
                  </a:lnTo>
                  <a:lnTo>
                    <a:pt x="384" y="276"/>
                  </a:lnTo>
                  <a:lnTo>
                    <a:pt x="384" y="270"/>
                  </a:lnTo>
                  <a:lnTo>
                    <a:pt x="390" y="264"/>
                  </a:lnTo>
                  <a:lnTo>
                    <a:pt x="402" y="258"/>
                  </a:lnTo>
                  <a:lnTo>
                    <a:pt x="402" y="252"/>
                  </a:lnTo>
                  <a:lnTo>
                    <a:pt x="402" y="246"/>
                  </a:lnTo>
                  <a:lnTo>
                    <a:pt x="408" y="234"/>
                  </a:lnTo>
                  <a:lnTo>
                    <a:pt x="414" y="234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14" y="216"/>
                  </a:lnTo>
                  <a:lnTo>
                    <a:pt x="414" y="210"/>
                  </a:lnTo>
                  <a:lnTo>
                    <a:pt x="420" y="210"/>
                  </a:lnTo>
                  <a:lnTo>
                    <a:pt x="414" y="198"/>
                  </a:lnTo>
                  <a:lnTo>
                    <a:pt x="414" y="192"/>
                  </a:lnTo>
                  <a:lnTo>
                    <a:pt x="420" y="192"/>
                  </a:lnTo>
                  <a:lnTo>
                    <a:pt x="420" y="186"/>
                  </a:lnTo>
                  <a:lnTo>
                    <a:pt x="420" y="174"/>
                  </a:lnTo>
                  <a:lnTo>
                    <a:pt x="420" y="168"/>
                  </a:lnTo>
                  <a:lnTo>
                    <a:pt x="426" y="162"/>
                  </a:lnTo>
                  <a:lnTo>
                    <a:pt x="432" y="156"/>
                  </a:lnTo>
                  <a:lnTo>
                    <a:pt x="438" y="144"/>
                  </a:lnTo>
                  <a:lnTo>
                    <a:pt x="444" y="144"/>
                  </a:lnTo>
                  <a:lnTo>
                    <a:pt x="450" y="138"/>
                  </a:lnTo>
                  <a:lnTo>
                    <a:pt x="456" y="138"/>
                  </a:lnTo>
                  <a:lnTo>
                    <a:pt x="462" y="132"/>
                  </a:lnTo>
                  <a:lnTo>
                    <a:pt x="462" y="126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0"/>
                  </a:lnTo>
                  <a:lnTo>
                    <a:pt x="486" y="108"/>
                  </a:lnTo>
                  <a:lnTo>
                    <a:pt x="492" y="108"/>
                  </a:lnTo>
                  <a:lnTo>
                    <a:pt x="498" y="102"/>
                  </a:lnTo>
                  <a:lnTo>
                    <a:pt x="504" y="96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40" y="102"/>
                  </a:lnTo>
                  <a:lnTo>
                    <a:pt x="552" y="108"/>
                  </a:lnTo>
                  <a:lnTo>
                    <a:pt x="582" y="102"/>
                  </a:lnTo>
                  <a:lnTo>
                    <a:pt x="594" y="126"/>
                  </a:lnTo>
                  <a:lnTo>
                    <a:pt x="594" y="144"/>
                  </a:lnTo>
                  <a:lnTo>
                    <a:pt x="588" y="156"/>
                  </a:lnTo>
                  <a:lnTo>
                    <a:pt x="588" y="168"/>
                  </a:lnTo>
                  <a:lnTo>
                    <a:pt x="582" y="180"/>
                  </a:lnTo>
                  <a:lnTo>
                    <a:pt x="570" y="192"/>
                  </a:lnTo>
                  <a:lnTo>
                    <a:pt x="594" y="192"/>
                  </a:lnTo>
                  <a:lnTo>
                    <a:pt x="618" y="198"/>
                  </a:lnTo>
                  <a:lnTo>
                    <a:pt x="642" y="210"/>
                  </a:lnTo>
                  <a:lnTo>
                    <a:pt x="660" y="234"/>
                  </a:lnTo>
                  <a:lnTo>
                    <a:pt x="678" y="246"/>
                  </a:lnTo>
                  <a:lnTo>
                    <a:pt x="684" y="252"/>
                  </a:lnTo>
                  <a:lnTo>
                    <a:pt x="702" y="252"/>
                  </a:lnTo>
                  <a:lnTo>
                    <a:pt x="732" y="234"/>
                  </a:lnTo>
                  <a:lnTo>
                    <a:pt x="732" y="222"/>
                  </a:lnTo>
                  <a:lnTo>
                    <a:pt x="720" y="216"/>
                  </a:lnTo>
                  <a:lnTo>
                    <a:pt x="714" y="198"/>
                  </a:lnTo>
                  <a:lnTo>
                    <a:pt x="714" y="174"/>
                  </a:lnTo>
                  <a:lnTo>
                    <a:pt x="720" y="162"/>
                  </a:lnTo>
                  <a:lnTo>
                    <a:pt x="726" y="162"/>
                  </a:lnTo>
                  <a:lnTo>
                    <a:pt x="732" y="156"/>
                  </a:lnTo>
                  <a:lnTo>
                    <a:pt x="744" y="150"/>
                  </a:lnTo>
                  <a:lnTo>
                    <a:pt x="774" y="162"/>
                  </a:lnTo>
                  <a:lnTo>
                    <a:pt x="786" y="162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16" y="150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2" y="132"/>
                  </a:lnTo>
                  <a:lnTo>
                    <a:pt x="822" y="114"/>
                  </a:lnTo>
                  <a:lnTo>
                    <a:pt x="828" y="108"/>
                  </a:lnTo>
                  <a:lnTo>
                    <a:pt x="834" y="96"/>
                  </a:lnTo>
                  <a:lnTo>
                    <a:pt x="846" y="96"/>
                  </a:lnTo>
                  <a:lnTo>
                    <a:pt x="858" y="90"/>
                  </a:lnTo>
                  <a:lnTo>
                    <a:pt x="870" y="84"/>
                  </a:lnTo>
                  <a:lnTo>
                    <a:pt x="888" y="84"/>
                  </a:lnTo>
                  <a:lnTo>
                    <a:pt x="894" y="90"/>
                  </a:lnTo>
                  <a:lnTo>
                    <a:pt x="894" y="102"/>
                  </a:lnTo>
                  <a:lnTo>
                    <a:pt x="900" y="102"/>
                  </a:lnTo>
                  <a:lnTo>
                    <a:pt x="906" y="114"/>
                  </a:lnTo>
                  <a:lnTo>
                    <a:pt x="930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54" y="138"/>
                  </a:lnTo>
                  <a:lnTo>
                    <a:pt x="966" y="144"/>
                  </a:lnTo>
                  <a:lnTo>
                    <a:pt x="966" y="150"/>
                  </a:lnTo>
                  <a:lnTo>
                    <a:pt x="972" y="150"/>
                  </a:lnTo>
                  <a:lnTo>
                    <a:pt x="978" y="150"/>
                  </a:lnTo>
                  <a:lnTo>
                    <a:pt x="978" y="144"/>
                  </a:lnTo>
                  <a:lnTo>
                    <a:pt x="984" y="144"/>
                  </a:lnTo>
                  <a:lnTo>
                    <a:pt x="990" y="138"/>
                  </a:lnTo>
                  <a:lnTo>
                    <a:pt x="996" y="138"/>
                  </a:lnTo>
                  <a:lnTo>
                    <a:pt x="1002" y="138"/>
                  </a:lnTo>
                  <a:lnTo>
                    <a:pt x="1008" y="138"/>
                  </a:lnTo>
                  <a:lnTo>
                    <a:pt x="1026" y="132"/>
                  </a:lnTo>
                  <a:lnTo>
                    <a:pt x="1044" y="126"/>
                  </a:lnTo>
                  <a:lnTo>
                    <a:pt x="1056" y="120"/>
                  </a:lnTo>
                  <a:lnTo>
                    <a:pt x="1062" y="108"/>
                  </a:lnTo>
                  <a:lnTo>
                    <a:pt x="1056" y="102"/>
                  </a:lnTo>
                  <a:lnTo>
                    <a:pt x="1062" y="96"/>
                  </a:lnTo>
                  <a:lnTo>
                    <a:pt x="1074" y="90"/>
                  </a:lnTo>
                  <a:lnTo>
                    <a:pt x="1080" y="84"/>
                  </a:lnTo>
                  <a:lnTo>
                    <a:pt x="1128" y="84"/>
                  </a:lnTo>
                  <a:lnTo>
                    <a:pt x="1134" y="84"/>
                  </a:lnTo>
                  <a:lnTo>
                    <a:pt x="1140" y="78"/>
                  </a:lnTo>
                  <a:lnTo>
                    <a:pt x="1152" y="72"/>
                  </a:lnTo>
                  <a:lnTo>
                    <a:pt x="1164" y="66"/>
                  </a:lnTo>
                  <a:lnTo>
                    <a:pt x="1170" y="60"/>
                  </a:lnTo>
                  <a:lnTo>
                    <a:pt x="1188" y="48"/>
                  </a:lnTo>
                  <a:lnTo>
                    <a:pt x="1200" y="36"/>
                  </a:lnTo>
                  <a:lnTo>
                    <a:pt x="1218" y="24"/>
                  </a:lnTo>
                  <a:lnTo>
                    <a:pt x="1248" y="24"/>
                  </a:lnTo>
                  <a:lnTo>
                    <a:pt x="1272" y="24"/>
                  </a:lnTo>
                  <a:lnTo>
                    <a:pt x="1284" y="12"/>
                  </a:lnTo>
                  <a:lnTo>
                    <a:pt x="1302" y="0"/>
                  </a:lnTo>
                  <a:lnTo>
                    <a:pt x="1314" y="0"/>
                  </a:lnTo>
                  <a:lnTo>
                    <a:pt x="1326" y="18"/>
                  </a:lnTo>
                  <a:lnTo>
                    <a:pt x="1338" y="30"/>
                  </a:lnTo>
                  <a:lnTo>
                    <a:pt x="1338" y="54"/>
                  </a:lnTo>
                  <a:lnTo>
                    <a:pt x="1332" y="72"/>
                  </a:lnTo>
                  <a:lnTo>
                    <a:pt x="1326" y="72"/>
                  </a:lnTo>
                  <a:lnTo>
                    <a:pt x="1326" y="78"/>
                  </a:lnTo>
                  <a:lnTo>
                    <a:pt x="1326" y="102"/>
                  </a:lnTo>
                  <a:lnTo>
                    <a:pt x="1332" y="102"/>
                  </a:lnTo>
                  <a:lnTo>
                    <a:pt x="1332" y="108"/>
                  </a:lnTo>
                  <a:lnTo>
                    <a:pt x="1344" y="114"/>
                  </a:lnTo>
                  <a:lnTo>
                    <a:pt x="1350" y="114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404" y="132"/>
                  </a:lnTo>
                  <a:lnTo>
                    <a:pt x="1404" y="138"/>
                  </a:lnTo>
                  <a:lnTo>
                    <a:pt x="1410" y="150"/>
                  </a:lnTo>
                  <a:lnTo>
                    <a:pt x="1416" y="162"/>
                  </a:lnTo>
                  <a:lnTo>
                    <a:pt x="1428" y="168"/>
                  </a:lnTo>
                  <a:lnTo>
                    <a:pt x="1440" y="180"/>
                  </a:lnTo>
                  <a:lnTo>
                    <a:pt x="1476" y="174"/>
                  </a:lnTo>
                  <a:lnTo>
                    <a:pt x="1494" y="174"/>
                  </a:lnTo>
                  <a:lnTo>
                    <a:pt x="1512" y="192"/>
                  </a:lnTo>
                  <a:lnTo>
                    <a:pt x="1518" y="204"/>
                  </a:lnTo>
                  <a:lnTo>
                    <a:pt x="1530" y="216"/>
                  </a:lnTo>
                  <a:lnTo>
                    <a:pt x="1548" y="228"/>
                  </a:lnTo>
                  <a:lnTo>
                    <a:pt x="1548" y="234"/>
                  </a:lnTo>
                  <a:lnTo>
                    <a:pt x="1542" y="246"/>
                  </a:lnTo>
                  <a:lnTo>
                    <a:pt x="1560" y="246"/>
                  </a:lnTo>
                  <a:lnTo>
                    <a:pt x="1560" y="252"/>
                  </a:lnTo>
                  <a:lnTo>
                    <a:pt x="1566" y="258"/>
                  </a:lnTo>
                  <a:lnTo>
                    <a:pt x="1578" y="270"/>
                  </a:lnTo>
                  <a:lnTo>
                    <a:pt x="1596" y="270"/>
                  </a:lnTo>
                  <a:lnTo>
                    <a:pt x="1602" y="288"/>
                  </a:lnTo>
                  <a:lnTo>
                    <a:pt x="1608" y="306"/>
                  </a:lnTo>
                  <a:lnTo>
                    <a:pt x="1608" y="318"/>
                  </a:lnTo>
                  <a:lnTo>
                    <a:pt x="1608" y="324"/>
                  </a:lnTo>
                  <a:lnTo>
                    <a:pt x="1614" y="330"/>
                  </a:lnTo>
                  <a:lnTo>
                    <a:pt x="1614" y="336"/>
                  </a:lnTo>
                  <a:lnTo>
                    <a:pt x="1614" y="342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08" y="390"/>
                  </a:lnTo>
                  <a:lnTo>
                    <a:pt x="1602" y="390"/>
                  </a:lnTo>
                  <a:lnTo>
                    <a:pt x="1602" y="396"/>
                  </a:lnTo>
                  <a:lnTo>
                    <a:pt x="1584" y="420"/>
                  </a:lnTo>
                  <a:lnTo>
                    <a:pt x="1584" y="426"/>
                  </a:lnTo>
                  <a:lnTo>
                    <a:pt x="1602" y="474"/>
                  </a:lnTo>
                  <a:lnTo>
                    <a:pt x="1608" y="480"/>
                  </a:lnTo>
                  <a:lnTo>
                    <a:pt x="1608" y="486"/>
                  </a:lnTo>
                  <a:lnTo>
                    <a:pt x="1614" y="486"/>
                  </a:lnTo>
                  <a:lnTo>
                    <a:pt x="1608" y="504"/>
                  </a:lnTo>
                  <a:lnTo>
                    <a:pt x="1572" y="504"/>
                  </a:lnTo>
                  <a:lnTo>
                    <a:pt x="1560" y="510"/>
                  </a:lnTo>
                  <a:lnTo>
                    <a:pt x="1554" y="522"/>
                  </a:lnTo>
                  <a:lnTo>
                    <a:pt x="1560" y="552"/>
                  </a:lnTo>
                  <a:lnTo>
                    <a:pt x="1566" y="552"/>
                  </a:lnTo>
                  <a:lnTo>
                    <a:pt x="1566" y="558"/>
                  </a:lnTo>
                  <a:lnTo>
                    <a:pt x="1572" y="558"/>
                  </a:lnTo>
                  <a:lnTo>
                    <a:pt x="1578" y="558"/>
                  </a:lnTo>
                  <a:lnTo>
                    <a:pt x="1578" y="552"/>
                  </a:lnTo>
                  <a:lnTo>
                    <a:pt x="1584" y="552"/>
                  </a:lnTo>
                  <a:lnTo>
                    <a:pt x="1590" y="552"/>
                  </a:lnTo>
                  <a:lnTo>
                    <a:pt x="1590" y="546"/>
                  </a:lnTo>
                  <a:lnTo>
                    <a:pt x="1596" y="546"/>
                  </a:lnTo>
                  <a:lnTo>
                    <a:pt x="1602" y="552"/>
                  </a:lnTo>
                  <a:lnTo>
                    <a:pt x="1602" y="546"/>
                  </a:lnTo>
                  <a:lnTo>
                    <a:pt x="1608" y="546"/>
                  </a:lnTo>
                  <a:lnTo>
                    <a:pt x="1608" y="552"/>
                  </a:lnTo>
                  <a:lnTo>
                    <a:pt x="1614" y="552"/>
                  </a:lnTo>
                  <a:lnTo>
                    <a:pt x="1614" y="546"/>
                  </a:lnTo>
                  <a:lnTo>
                    <a:pt x="1620" y="552"/>
                  </a:lnTo>
                  <a:lnTo>
                    <a:pt x="1626" y="552"/>
                  </a:lnTo>
                  <a:lnTo>
                    <a:pt x="1626" y="558"/>
                  </a:lnTo>
                  <a:lnTo>
                    <a:pt x="1632" y="558"/>
                  </a:lnTo>
                  <a:lnTo>
                    <a:pt x="1638" y="558"/>
                  </a:lnTo>
                  <a:lnTo>
                    <a:pt x="1644" y="558"/>
                  </a:lnTo>
                  <a:lnTo>
                    <a:pt x="1650" y="558"/>
                  </a:lnTo>
                  <a:lnTo>
                    <a:pt x="1650" y="564"/>
                  </a:lnTo>
                  <a:lnTo>
                    <a:pt x="1656" y="564"/>
                  </a:lnTo>
                  <a:lnTo>
                    <a:pt x="1662" y="564"/>
                  </a:lnTo>
                  <a:lnTo>
                    <a:pt x="1668" y="564"/>
                  </a:lnTo>
                  <a:lnTo>
                    <a:pt x="1668" y="570"/>
                  </a:lnTo>
                  <a:lnTo>
                    <a:pt x="1674" y="570"/>
                  </a:lnTo>
                  <a:lnTo>
                    <a:pt x="1680" y="570"/>
                  </a:lnTo>
                  <a:lnTo>
                    <a:pt x="1686" y="576"/>
                  </a:lnTo>
                  <a:lnTo>
                    <a:pt x="1686" y="582"/>
                  </a:lnTo>
                  <a:lnTo>
                    <a:pt x="1710" y="588"/>
                  </a:lnTo>
                  <a:lnTo>
                    <a:pt x="1710" y="594"/>
                  </a:lnTo>
                  <a:lnTo>
                    <a:pt x="1704" y="600"/>
                  </a:lnTo>
                  <a:lnTo>
                    <a:pt x="1710" y="624"/>
                  </a:lnTo>
                  <a:lnTo>
                    <a:pt x="1698" y="672"/>
                  </a:lnTo>
                  <a:lnTo>
                    <a:pt x="1704" y="678"/>
                  </a:lnTo>
                  <a:lnTo>
                    <a:pt x="1716" y="684"/>
                  </a:lnTo>
                  <a:lnTo>
                    <a:pt x="1716" y="678"/>
                  </a:lnTo>
                  <a:lnTo>
                    <a:pt x="1716" y="684"/>
                  </a:lnTo>
                  <a:lnTo>
                    <a:pt x="1728" y="684"/>
                  </a:lnTo>
                  <a:lnTo>
                    <a:pt x="1728" y="690"/>
                  </a:lnTo>
                  <a:lnTo>
                    <a:pt x="1734" y="696"/>
                  </a:lnTo>
                  <a:lnTo>
                    <a:pt x="1734" y="702"/>
                  </a:lnTo>
                  <a:lnTo>
                    <a:pt x="1740" y="708"/>
                  </a:lnTo>
                  <a:lnTo>
                    <a:pt x="1740" y="714"/>
                  </a:lnTo>
                  <a:lnTo>
                    <a:pt x="1710" y="714"/>
                  </a:lnTo>
                  <a:lnTo>
                    <a:pt x="1710" y="756"/>
                  </a:lnTo>
                  <a:lnTo>
                    <a:pt x="1704" y="762"/>
                  </a:lnTo>
                  <a:lnTo>
                    <a:pt x="1698" y="762"/>
                  </a:lnTo>
                  <a:lnTo>
                    <a:pt x="1698" y="768"/>
                  </a:lnTo>
                  <a:lnTo>
                    <a:pt x="1698" y="774"/>
                  </a:lnTo>
                  <a:lnTo>
                    <a:pt x="1692" y="780"/>
                  </a:lnTo>
                  <a:lnTo>
                    <a:pt x="1692" y="786"/>
                  </a:lnTo>
                  <a:lnTo>
                    <a:pt x="1686" y="786"/>
                  </a:lnTo>
                  <a:lnTo>
                    <a:pt x="1668" y="798"/>
                  </a:lnTo>
                  <a:lnTo>
                    <a:pt x="1662" y="810"/>
                  </a:lnTo>
                  <a:lnTo>
                    <a:pt x="1650" y="810"/>
                  </a:lnTo>
                  <a:lnTo>
                    <a:pt x="1644" y="816"/>
                  </a:lnTo>
                  <a:lnTo>
                    <a:pt x="1638" y="816"/>
                  </a:lnTo>
                  <a:lnTo>
                    <a:pt x="1626" y="852"/>
                  </a:lnTo>
                  <a:lnTo>
                    <a:pt x="1620" y="888"/>
                  </a:lnTo>
                  <a:lnTo>
                    <a:pt x="1626" y="888"/>
                  </a:lnTo>
                  <a:lnTo>
                    <a:pt x="1638" y="912"/>
                  </a:lnTo>
                  <a:lnTo>
                    <a:pt x="1644" y="918"/>
                  </a:lnTo>
                  <a:lnTo>
                    <a:pt x="1650" y="966"/>
                  </a:lnTo>
                  <a:lnTo>
                    <a:pt x="1626" y="972"/>
                  </a:lnTo>
                  <a:lnTo>
                    <a:pt x="1608" y="978"/>
                  </a:lnTo>
                  <a:lnTo>
                    <a:pt x="1614" y="984"/>
                  </a:lnTo>
                  <a:lnTo>
                    <a:pt x="1620" y="984"/>
                  </a:lnTo>
                  <a:lnTo>
                    <a:pt x="1620" y="1020"/>
                  </a:lnTo>
                  <a:lnTo>
                    <a:pt x="1614" y="1038"/>
                  </a:lnTo>
                  <a:lnTo>
                    <a:pt x="1620" y="1044"/>
                  </a:lnTo>
                  <a:lnTo>
                    <a:pt x="1626" y="1056"/>
                  </a:lnTo>
                  <a:lnTo>
                    <a:pt x="1626" y="1074"/>
                  </a:lnTo>
                  <a:lnTo>
                    <a:pt x="1620" y="1080"/>
                  </a:lnTo>
                  <a:lnTo>
                    <a:pt x="1620" y="1104"/>
                  </a:lnTo>
                  <a:lnTo>
                    <a:pt x="1620" y="1110"/>
                  </a:lnTo>
                  <a:lnTo>
                    <a:pt x="1614" y="1116"/>
                  </a:lnTo>
                  <a:lnTo>
                    <a:pt x="1608" y="1140"/>
                  </a:lnTo>
                  <a:lnTo>
                    <a:pt x="1602" y="1146"/>
                  </a:lnTo>
                  <a:lnTo>
                    <a:pt x="1602" y="1164"/>
                  </a:lnTo>
                  <a:lnTo>
                    <a:pt x="1596" y="1170"/>
                  </a:lnTo>
                  <a:lnTo>
                    <a:pt x="1590" y="1164"/>
                  </a:lnTo>
                  <a:lnTo>
                    <a:pt x="1584" y="1164"/>
                  </a:lnTo>
                  <a:lnTo>
                    <a:pt x="1578" y="1164"/>
                  </a:lnTo>
                  <a:lnTo>
                    <a:pt x="1578" y="1188"/>
                  </a:lnTo>
                  <a:lnTo>
                    <a:pt x="1584" y="1194"/>
                  </a:lnTo>
                  <a:lnTo>
                    <a:pt x="1590" y="1194"/>
                  </a:lnTo>
                  <a:lnTo>
                    <a:pt x="1590" y="1212"/>
                  </a:lnTo>
                  <a:lnTo>
                    <a:pt x="1584" y="1212"/>
                  </a:lnTo>
                  <a:lnTo>
                    <a:pt x="1584" y="1224"/>
                  </a:lnTo>
                  <a:lnTo>
                    <a:pt x="1578" y="1224"/>
                  </a:lnTo>
                  <a:lnTo>
                    <a:pt x="1578" y="1236"/>
                  </a:lnTo>
                  <a:lnTo>
                    <a:pt x="1584" y="1254"/>
                  </a:lnTo>
                  <a:lnTo>
                    <a:pt x="1584" y="1260"/>
                  </a:lnTo>
                  <a:lnTo>
                    <a:pt x="1590" y="1260"/>
                  </a:lnTo>
                  <a:lnTo>
                    <a:pt x="1590" y="1266"/>
                  </a:lnTo>
                  <a:lnTo>
                    <a:pt x="1596" y="1284"/>
                  </a:lnTo>
                  <a:lnTo>
                    <a:pt x="1602" y="1278"/>
                  </a:lnTo>
                  <a:lnTo>
                    <a:pt x="1608" y="1284"/>
                  </a:lnTo>
                  <a:lnTo>
                    <a:pt x="1632" y="1350"/>
                  </a:lnTo>
                  <a:lnTo>
                    <a:pt x="1638" y="1356"/>
                  </a:lnTo>
                  <a:lnTo>
                    <a:pt x="1644" y="1356"/>
                  </a:lnTo>
                  <a:lnTo>
                    <a:pt x="1650" y="1356"/>
                  </a:lnTo>
                  <a:lnTo>
                    <a:pt x="1656" y="1356"/>
                  </a:lnTo>
                  <a:lnTo>
                    <a:pt x="1662" y="1362"/>
                  </a:lnTo>
                  <a:lnTo>
                    <a:pt x="1668" y="1356"/>
                  </a:lnTo>
                  <a:lnTo>
                    <a:pt x="1668" y="1380"/>
                  </a:lnTo>
                  <a:lnTo>
                    <a:pt x="1662" y="1392"/>
                  </a:lnTo>
                  <a:lnTo>
                    <a:pt x="1656" y="1404"/>
                  </a:lnTo>
                  <a:lnTo>
                    <a:pt x="1656" y="1410"/>
                  </a:lnTo>
                  <a:lnTo>
                    <a:pt x="1656" y="1416"/>
                  </a:lnTo>
                  <a:lnTo>
                    <a:pt x="1650" y="1422"/>
                  </a:lnTo>
                  <a:lnTo>
                    <a:pt x="1650" y="1428"/>
                  </a:lnTo>
                  <a:lnTo>
                    <a:pt x="1644" y="1428"/>
                  </a:lnTo>
                  <a:lnTo>
                    <a:pt x="1644" y="1434"/>
                  </a:lnTo>
                  <a:lnTo>
                    <a:pt x="1638" y="1434"/>
                  </a:lnTo>
                  <a:lnTo>
                    <a:pt x="1638" y="1440"/>
                  </a:lnTo>
                  <a:lnTo>
                    <a:pt x="1632" y="1440"/>
                  </a:lnTo>
                  <a:lnTo>
                    <a:pt x="1638" y="145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8" name="Freeform 13">
              <a:extLst>
                <a:ext uri="{FF2B5EF4-FFF2-40B4-BE49-F238E27FC236}">
                  <a16:creationId xmlns:a16="http://schemas.microsoft.com/office/drawing/2014/main" id="{66308D9B-1739-4227-AAC3-BB866CD1F5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63374" y="2969626"/>
              <a:ext cx="330956" cy="357840"/>
            </a:xfrm>
            <a:custGeom>
              <a:avLst/>
              <a:gdLst>
                <a:gd name="T0" fmla="*/ 11 w 624"/>
                <a:gd name="T1" fmla="*/ 59 h 672"/>
                <a:gd name="T2" fmla="*/ 4 w 624"/>
                <a:gd name="T3" fmla="*/ 58 h 672"/>
                <a:gd name="T4" fmla="*/ 3 w 624"/>
                <a:gd name="T5" fmla="*/ 58 h 672"/>
                <a:gd name="T6" fmla="*/ 2 w 624"/>
                <a:gd name="T7" fmla="*/ 11 h 672"/>
                <a:gd name="T8" fmla="*/ 13 w 624"/>
                <a:gd name="T9" fmla="*/ 11 h 672"/>
                <a:gd name="T10" fmla="*/ 14 w 624"/>
                <a:gd name="T11" fmla="*/ 11 h 672"/>
                <a:gd name="T12" fmla="*/ 15 w 624"/>
                <a:gd name="T13" fmla="*/ 12 h 672"/>
                <a:gd name="T14" fmla="*/ 18 w 624"/>
                <a:gd name="T15" fmla="*/ 14 h 672"/>
                <a:gd name="T16" fmla="*/ 21 w 624"/>
                <a:gd name="T17" fmla="*/ 16 h 672"/>
                <a:gd name="T18" fmla="*/ 22 w 624"/>
                <a:gd name="T19" fmla="*/ 18 h 672"/>
                <a:gd name="T20" fmla="*/ 23 w 624"/>
                <a:gd name="T21" fmla="*/ 19 h 672"/>
                <a:gd name="T22" fmla="*/ 24 w 624"/>
                <a:gd name="T23" fmla="*/ 19 h 672"/>
                <a:gd name="T24" fmla="*/ 26 w 624"/>
                <a:gd name="T25" fmla="*/ 19 h 672"/>
                <a:gd name="T26" fmla="*/ 27 w 624"/>
                <a:gd name="T27" fmla="*/ 18 h 672"/>
                <a:gd name="T28" fmla="*/ 29 w 624"/>
                <a:gd name="T29" fmla="*/ 15 h 672"/>
                <a:gd name="T30" fmla="*/ 30 w 624"/>
                <a:gd name="T31" fmla="*/ 14 h 672"/>
                <a:gd name="T32" fmla="*/ 31 w 624"/>
                <a:gd name="T33" fmla="*/ 12 h 672"/>
                <a:gd name="T34" fmla="*/ 32 w 624"/>
                <a:gd name="T35" fmla="*/ 12 h 672"/>
                <a:gd name="T36" fmla="*/ 33 w 624"/>
                <a:gd name="T37" fmla="*/ 10 h 672"/>
                <a:gd name="T38" fmla="*/ 34 w 624"/>
                <a:gd name="T39" fmla="*/ 8 h 672"/>
                <a:gd name="T40" fmla="*/ 34 w 624"/>
                <a:gd name="T41" fmla="*/ 6 h 672"/>
                <a:gd name="T42" fmla="*/ 35 w 624"/>
                <a:gd name="T43" fmla="*/ 4 h 672"/>
                <a:gd name="T44" fmla="*/ 42 w 624"/>
                <a:gd name="T45" fmla="*/ 3 h 672"/>
                <a:gd name="T46" fmla="*/ 44 w 624"/>
                <a:gd name="T47" fmla="*/ 2 h 672"/>
                <a:gd name="T48" fmla="*/ 46 w 624"/>
                <a:gd name="T49" fmla="*/ 0 h 672"/>
                <a:gd name="T50" fmla="*/ 51 w 624"/>
                <a:gd name="T51" fmla="*/ 3 h 672"/>
                <a:gd name="T52" fmla="*/ 54 w 624"/>
                <a:gd name="T53" fmla="*/ 6 h 672"/>
                <a:gd name="T54" fmla="*/ 54 w 624"/>
                <a:gd name="T55" fmla="*/ 8 h 672"/>
                <a:gd name="T56" fmla="*/ 52 w 624"/>
                <a:gd name="T57" fmla="*/ 9 h 672"/>
                <a:gd name="T58" fmla="*/ 49 w 624"/>
                <a:gd name="T59" fmla="*/ 11 h 672"/>
                <a:gd name="T60" fmla="*/ 48 w 624"/>
                <a:gd name="T61" fmla="*/ 14 h 672"/>
                <a:gd name="T62" fmla="*/ 46 w 624"/>
                <a:gd name="T63" fmla="*/ 22 h 672"/>
                <a:gd name="T64" fmla="*/ 45 w 624"/>
                <a:gd name="T65" fmla="*/ 39 h 672"/>
                <a:gd name="T66" fmla="*/ 43 w 624"/>
                <a:gd name="T67" fmla="*/ 43 h 672"/>
                <a:gd name="T68" fmla="*/ 39 w 624"/>
                <a:gd name="T69" fmla="*/ 50 h 672"/>
                <a:gd name="T70" fmla="*/ 36 w 624"/>
                <a:gd name="T71" fmla="*/ 53 h 672"/>
                <a:gd name="T72" fmla="*/ 32 w 624"/>
                <a:gd name="T73" fmla="*/ 56 h 672"/>
                <a:gd name="T74" fmla="*/ 30 w 624"/>
                <a:gd name="T75" fmla="*/ 58 h 672"/>
                <a:gd name="T76" fmla="*/ 20 w 624"/>
                <a:gd name="T77" fmla="*/ 59 h 672"/>
                <a:gd name="T78" fmla="*/ 15 w 624"/>
                <a:gd name="T79" fmla="*/ 59 h 67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24"/>
                <a:gd name="T121" fmla="*/ 0 h 672"/>
                <a:gd name="T122" fmla="*/ 624 w 624"/>
                <a:gd name="T123" fmla="*/ 672 h 67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24" h="672">
                  <a:moveTo>
                    <a:pt x="168" y="672"/>
                  </a:moveTo>
                  <a:lnTo>
                    <a:pt x="132" y="672"/>
                  </a:lnTo>
                  <a:lnTo>
                    <a:pt x="72" y="666"/>
                  </a:lnTo>
                  <a:lnTo>
                    <a:pt x="42" y="666"/>
                  </a:lnTo>
                  <a:lnTo>
                    <a:pt x="36" y="666"/>
                  </a:lnTo>
                  <a:lnTo>
                    <a:pt x="30" y="660"/>
                  </a:lnTo>
                  <a:lnTo>
                    <a:pt x="0" y="660"/>
                  </a:lnTo>
                  <a:lnTo>
                    <a:pt x="24" y="120"/>
                  </a:lnTo>
                  <a:lnTo>
                    <a:pt x="60" y="120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62" y="120"/>
                  </a:lnTo>
                  <a:lnTo>
                    <a:pt x="168" y="120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10" y="156"/>
                  </a:lnTo>
                  <a:lnTo>
                    <a:pt x="222" y="174"/>
                  </a:lnTo>
                  <a:lnTo>
                    <a:pt x="240" y="186"/>
                  </a:lnTo>
                  <a:lnTo>
                    <a:pt x="252" y="198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216"/>
                  </a:lnTo>
                  <a:lnTo>
                    <a:pt x="270" y="216"/>
                  </a:lnTo>
                  <a:lnTo>
                    <a:pt x="282" y="222"/>
                  </a:lnTo>
                  <a:lnTo>
                    <a:pt x="288" y="222"/>
                  </a:lnTo>
                  <a:lnTo>
                    <a:pt x="294" y="216"/>
                  </a:lnTo>
                  <a:lnTo>
                    <a:pt x="294" y="210"/>
                  </a:lnTo>
                  <a:lnTo>
                    <a:pt x="312" y="204"/>
                  </a:lnTo>
                  <a:lnTo>
                    <a:pt x="330" y="186"/>
                  </a:lnTo>
                  <a:lnTo>
                    <a:pt x="336" y="174"/>
                  </a:lnTo>
                  <a:lnTo>
                    <a:pt x="342" y="162"/>
                  </a:lnTo>
                  <a:lnTo>
                    <a:pt x="342" y="156"/>
                  </a:lnTo>
                  <a:lnTo>
                    <a:pt x="348" y="150"/>
                  </a:lnTo>
                  <a:lnTo>
                    <a:pt x="354" y="144"/>
                  </a:lnTo>
                  <a:lnTo>
                    <a:pt x="360" y="138"/>
                  </a:lnTo>
                  <a:lnTo>
                    <a:pt x="366" y="132"/>
                  </a:lnTo>
                  <a:lnTo>
                    <a:pt x="372" y="114"/>
                  </a:lnTo>
                  <a:lnTo>
                    <a:pt x="378" y="114"/>
                  </a:lnTo>
                  <a:lnTo>
                    <a:pt x="378" y="96"/>
                  </a:lnTo>
                  <a:lnTo>
                    <a:pt x="390" y="96"/>
                  </a:lnTo>
                  <a:lnTo>
                    <a:pt x="396" y="84"/>
                  </a:lnTo>
                  <a:lnTo>
                    <a:pt x="396" y="72"/>
                  </a:lnTo>
                  <a:lnTo>
                    <a:pt x="396" y="54"/>
                  </a:lnTo>
                  <a:lnTo>
                    <a:pt x="408" y="42"/>
                  </a:lnTo>
                  <a:lnTo>
                    <a:pt x="468" y="42"/>
                  </a:lnTo>
                  <a:lnTo>
                    <a:pt x="486" y="36"/>
                  </a:lnTo>
                  <a:lnTo>
                    <a:pt x="492" y="24"/>
                  </a:lnTo>
                  <a:lnTo>
                    <a:pt x="504" y="24"/>
                  </a:lnTo>
                  <a:lnTo>
                    <a:pt x="516" y="6"/>
                  </a:lnTo>
                  <a:lnTo>
                    <a:pt x="528" y="0"/>
                  </a:lnTo>
                  <a:lnTo>
                    <a:pt x="558" y="12"/>
                  </a:lnTo>
                  <a:lnTo>
                    <a:pt x="588" y="36"/>
                  </a:lnTo>
                  <a:lnTo>
                    <a:pt x="600" y="66"/>
                  </a:lnTo>
                  <a:lnTo>
                    <a:pt x="624" y="66"/>
                  </a:lnTo>
                  <a:lnTo>
                    <a:pt x="624" y="90"/>
                  </a:lnTo>
                  <a:lnTo>
                    <a:pt x="618" y="90"/>
                  </a:lnTo>
                  <a:lnTo>
                    <a:pt x="618" y="96"/>
                  </a:lnTo>
                  <a:lnTo>
                    <a:pt x="600" y="102"/>
                  </a:lnTo>
                  <a:lnTo>
                    <a:pt x="588" y="108"/>
                  </a:lnTo>
                  <a:lnTo>
                    <a:pt x="570" y="120"/>
                  </a:lnTo>
                  <a:lnTo>
                    <a:pt x="564" y="138"/>
                  </a:lnTo>
                  <a:lnTo>
                    <a:pt x="558" y="162"/>
                  </a:lnTo>
                  <a:lnTo>
                    <a:pt x="540" y="210"/>
                  </a:lnTo>
                  <a:lnTo>
                    <a:pt x="528" y="252"/>
                  </a:lnTo>
                  <a:lnTo>
                    <a:pt x="528" y="402"/>
                  </a:lnTo>
                  <a:lnTo>
                    <a:pt x="522" y="444"/>
                  </a:lnTo>
                  <a:lnTo>
                    <a:pt x="510" y="468"/>
                  </a:lnTo>
                  <a:lnTo>
                    <a:pt x="498" y="498"/>
                  </a:lnTo>
                  <a:lnTo>
                    <a:pt x="474" y="534"/>
                  </a:lnTo>
                  <a:lnTo>
                    <a:pt x="456" y="570"/>
                  </a:lnTo>
                  <a:lnTo>
                    <a:pt x="444" y="576"/>
                  </a:lnTo>
                  <a:lnTo>
                    <a:pt x="420" y="606"/>
                  </a:lnTo>
                  <a:lnTo>
                    <a:pt x="390" y="624"/>
                  </a:lnTo>
                  <a:lnTo>
                    <a:pt x="372" y="642"/>
                  </a:lnTo>
                  <a:lnTo>
                    <a:pt x="366" y="654"/>
                  </a:lnTo>
                  <a:lnTo>
                    <a:pt x="342" y="660"/>
                  </a:lnTo>
                  <a:lnTo>
                    <a:pt x="300" y="666"/>
                  </a:lnTo>
                  <a:lnTo>
                    <a:pt x="234" y="672"/>
                  </a:lnTo>
                  <a:lnTo>
                    <a:pt x="192" y="672"/>
                  </a:lnTo>
                  <a:lnTo>
                    <a:pt x="168" y="67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9" name="Freeform 14">
              <a:extLst>
                <a:ext uri="{FF2B5EF4-FFF2-40B4-BE49-F238E27FC236}">
                  <a16:creationId xmlns:a16="http://schemas.microsoft.com/office/drawing/2014/main" id="{2EA1E999-9CDF-4391-8BC9-7DE71AF9C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0460" y="2983045"/>
              <a:ext cx="905658" cy="561362"/>
            </a:xfrm>
            <a:custGeom>
              <a:avLst/>
              <a:gdLst>
                <a:gd name="T0" fmla="*/ 31 w 1704"/>
                <a:gd name="T1" fmla="*/ 78 h 1056"/>
                <a:gd name="T2" fmla="*/ 23 w 1704"/>
                <a:gd name="T3" fmla="*/ 78 h 1056"/>
                <a:gd name="T4" fmla="*/ 11 w 1704"/>
                <a:gd name="T5" fmla="*/ 79 h 1056"/>
                <a:gd name="T6" fmla="*/ 1 w 1704"/>
                <a:gd name="T7" fmla="*/ 81 h 1056"/>
                <a:gd name="T8" fmla="*/ 0 w 1704"/>
                <a:gd name="T9" fmla="*/ 62 h 1056"/>
                <a:gd name="T10" fmla="*/ 9 w 1704"/>
                <a:gd name="T11" fmla="*/ 56 h 1056"/>
                <a:gd name="T12" fmla="*/ 27 w 1704"/>
                <a:gd name="T13" fmla="*/ 48 h 1056"/>
                <a:gd name="T14" fmla="*/ 35 w 1704"/>
                <a:gd name="T15" fmla="*/ 20 h 1056"/>
                <a:gd name="T16" fmla="*/ 43 w 1704"/>
                <a:gd name="T17" fmla="*/ 6 h 1056"/>
                <a:gd name="T18" fmla="*/ 47 w 1704"/>
                <a:gd name="T19" fmla="*/ 7 h 1056"/>
                <a:gd name="T20" fmla="*/ 52 w 1704"/>
                <a:gd name="T21" fmla="*/ 0 h 1056"/>
                <a:gd name="T22" fmla="*/ 59 w 1704"/>
                <a:gd name="T23" fmla="*/ 5 h 1056"/>
                <a:gd name="T24" fmla="*/ 63 w 1704"/>
                <a:gd name="T25" fmla="*/ 12 h 1056"/>
                <a:gd name="T26" fmla="*/ 62 w 1704"/>
                <a:gd name="T27" fmla="*/ 15 h 1056"/>
                <a:gd name="T28" fmla="*/ 62 w 1704"/>
                <a:gd name="T29" fmla="*/ 18 h 1056"/>
                <a:gd name="T30" fmla="*/ 70 w 1704"/>
                <a:gd name="T31" fmla="*/ 18 h 1056"/>
                <a:gd name="T32" fmla="*/ 71 w 1704"/>
                <a:gd name="T33" fmla="*/ 14 h 1056"/>
                <a:gd name="T34" fmla="*/ 72 w 1704"/>
                <a:gd name="T35" fmla="*/ 12 h 1056"/>
                <a:gd name="T36" fmla="*/ 78 w 1704"/>
                <a:gd name="T37" fmla="*/ 14 h 1056"/>
                <a:gd name="T38" fmla="*/ 85 w 1704"/>
                <a:gd name="T39" fmla="*/ 21 h 1056"/>
                <a:gd name="T40" fmla="*/ 91 w 1704"/>
                <a:gd name="T41" fmla="*/ 15 h 1056"/>
                <a:gd name="T42" fmla="*/ 93 w 1704"/>
                <a:gd name="T43" fmla="*/ 10 h 1056"/>
                <a:gd name="T44" fmla="*/ 101 w 1704"/>
                <a:gd name="T45" fmla="*/ 14 h 1056"/>
                <a:gd name="T46" fmla="*/ 103 w 1704"/>
                <a:gd name="T47" fmla="*/ 19 h 1056"/>
                <a:gd name="T48" fmla="*/ 115 w 1704"/>
                <a:gd name="T49" fmla="*/ 20 h 1056"/>
                <a:gd name="T50" fmla="*/ 118 w 1704"/>
                <a:gd name="T51" fmla="*/ 23 h 1056"/>
                <a:gd name="T52" fmla="*/ 117 w 1704"/>
                <a:gd name="T53" fmla="*/ 27 h 1056"/>
                <a:gd name="T54" fmla="*/ 111 w 1704"/>
                <a:gd name="T55" fmla="*/ 33 h 1056"/>
                <a:gd name="T56" fmla="*/ 108 w 1704"/>
                <a:gd name="T57" fmla="*/ 36 h 1056"/>
                <a:gd name="T58" fmla="*/ 109 w 1704"/>
                <a:gd name="T59" fmla="*/ 40 h 1056"/>
                <a:gd name="T60" fmla="*/ 111 w 1704"/>
                <a:gd name="T61" fmla="*/ 43 h 1056"/>
                <a:gd name="T62" fmla="*/ 113 w 1704"/>
                <a:gd name="T63" fmla="*/ 50 h 1056"/>
                <a:gd name="T64" fmla="*/ 121 w 1704"/>
                <a:gd name="T65" fmla="*/ 55 h 1056"/>
                <a:gd name="T66" fmla="*/ 132 w 1704"/>
                <a:gd name="T67" fmla="*/ 52 h 1056"/>
                <a:gd name="T68" fmla="*/ 148 w 1704"/>
                <a:gd name="T69" fmla="*/ 58 h 1056"/>
                <a:gd name="T70" fmla="*/ 148 w 1704"/>
                <a:gd name="T71" fmla="*/ 61 h 1056"/>
                <a:gd name="T72" fmla="*/ 148 w 1704"/>
                <a:gd name="T73" fmla="*/ 64 h 1056"/>
                <a:gd name="T74" fmla="*/ 135 w 1704"/>
                <a:gd name="T75" fmla="*/ 61 h 1056"/>
                <a:gd name="T76" fmla="*/ 135 w 1704"/>
                <a:gd name="T77" fmla="*/ 66 h 1056"/>
                <a:gd name="T78" fmla="*/ 137 w 1704"/>
                <a:gd name="T79" fmla="*/ 71 h 1056"/>
                <a:gd name="T80" fmla="*/ 136 w 1704"/>
                <a:gd name="T81" fmla="*/ 79 h 1056"/>
                <a:gd name="T82" fmla="*/ 126 w 1704"/>
                <a:gd name="T83" fmla="*/ 84 h 1056"/>
                <a:gd name="T84" fmla="*/ 121 w 1704"/>
                <a:gd name="T85" fmla="*/ 79 h 1056"/>
                <a:gd name="T86" fmla="*/ 117 w 1704"/>
                <a:gd name="T87" fmla="*/ 75 h 1056"/>
                <a:gd name="T88" fmla="*/ 98 w 1704"/>
                <a:gd name="T89" fmla="*/ 74 h 1056"/>
                <a:gd name="T90" fmla="*/ 81 w 1704"/>
                <a:gd name="T91" fmla="*/ 75 h 1056"/>
                <a:gd name="T92" fmla="*/ 83 w 1704"/>
                <a:gd name="T93" fmla="*/ 88 h 1056"/>
                <a:gd name="T94" fmla="*/ 82 w 1704"/>
                <a:gd name="T95" fmla="*/ 91 h 1056"/>
                <a:gd name="T96" fmla="*/ 77 w 1704"/>
                <a:gd name="T97" fmla="*/ 90 h 1056"/>
                <a:gd name="T98" fmla="*/ 73 w 1704"/>
                <a:gd name="T99" fmla="*/ 86 h 1056"/>
                <a:gd name="T100" fmla="*/ 68 w 1704"/>
                <a:gd name="T101" fmla="*/ 85 h 1056"/>
                <a:gd name="T102" fmla="*/ 64 w 1704"/>
                <a:gd name="T103" fmla="*/ 83 h 1056"/>
                <a:gd name="T104" fmla="*/ 57 w 1704"/>
                <a:gd name="T105" fmla="*/ 81 h 1056"/>
                <a:gd name="T106" fmla="*/ 52 w 1704"/>
                <a:gd name="T107" fmla="*/ 80 h 1056"/>
                <a:gd name="T108" fmla="*/ 50 w 1704"/>
                <a:gd name="T109" fmla="*/ 80 h 1056"/>
                <a:gd name="T110" fmla="*/ 46 w 1704"/>
                <a:gd name="T111" fmla="*/ 79 h 1056"/>
                <a:gd name="T112" fmla="*/ 41 w 1704"/>
                <a:gd name="T113" fmla="*/ 78 h 10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04"/>
                <a:gd name="T172" fmla="*/ 0 h 1056"/>
                <a:gd name="T173" fmla="*/ 1704 w 1704"/>
                <a:gd name="T174" fmla="*/ 1056 h 10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04" h="1056">
                  <a:moveTo>
                    <a:pt x="450" y="888"/>
                  </a:moveTo>
                  <a:lnTo>
                    <a:pt x="420" y="888"/>
                  </a:lnTo>
                  <a:lnTo>
                    <a:pt x="414" y="888"/>
                  </a:lnTo>
                  <a:lnTo>
                    <a:pt x="396" y="888"/>
                  </a:lnTo>
                  <a:lnTo>
                    <a:pt x="372" y="888"/>
                  </a:lnTo>
                  <a:lnTo>
                    <a:pt x="366" y="888"/>
                  </a:lnTo>
                  <a:lnTo>
                    <a:pt x="360" y="888"/>
                  </a:lnTo>
                  <a:lnTo>
                    <a:pt x="348" y="888"/>
                  </a:lnTo>
                  <a:lnTo>
                    <a:pt x="330" y="894"/>
                  </a:lnTo>
                  <a:lnTo>
                    <a:pt x="324" y="894"/>
                  </a:lnTo>
                  <a:lnTo>
                    <a:pt x="312" y="888"/>
                  </a:lnTo>
                  <a:lnTo>
                    <a:pt x="300" y="888"/>
                  </a:lnTo>
                  <a:lnTo>
                    <a:pt x="282" y="888"/>
                  </a:lnTo>
                  <a:lnTo>
                    <a:pt x="270" y="888"/>
                  </a:lnTo>
                  <a:lnTo>
                    <a:pt x="240" y="882"/>
                  </a:lnTo>
                  <a:lnTo>
                    <a:pt x="222" y="882"/>
                  </a:lnTo>
                  <a:lnTo>
                    <a:pt x="198" y="882"/>
                  </a:lnTo>
                  <a:lnTo>
                    <a:pt x="174" y="894"/>
                  </a:lnTo>
                  <a:lnTo>
                    <a:pt x="162" y="900"/>
                  </a:lnTo>
                  <a:lnTo>
                    <a:pt x="144" y="906"/>
                  </a:lnTo>
                  <a:lnTo>
                    <a:pt x="126" y="912"/>
                  </a:lnTo>
                  <a:lnTo>
                    <a:pt x="102" y="924"/>
                  </a:lnTo>
                  <a:lnTo>
                    <a:pt x="78" y="930"/>
                  </a:lnTo>
                  <a:lnTo>
                    <a:pt x="72" y="936"/>
                  </a:lnTo>
                  <a:lnTo>
                    <a:pt x="30" y="954"/>
                  </a:lnTo>
                  <a:lnTo>
                    <a:pt x="12" y="966"/>
                  </a:lnTo>
                  <a:lnTo>
                    <a:pt x="12" y="954"/>
                  </a:lnTo>
                  <a:lnTo>
                    <a:pt x="12" y="930"/>
                  </a:lnTo>
                  <a:lnTo>
                    <a:pt x="12" y="894"/>
                  </a:lnTo>
                  <a:lnTo>
                    <a:pt x="30" y="828"/>
                  </a:lnTo>
                  <a:lnTo>
                    <a:pt x="36" y="798"/>
                  </a:lnTo>
                  <a:lnTo>
                    <a:pt x="18" y="774"/>
                  </a:lnTo>
                  <a:lnTo>
                    <a:pt x="18" y="756"/>
                  </a:lnTo>
                  <a:lnTo>
                    <a:pt x="6" y="738"/>
                  </a:lnTo>
                  <a:lnTo>
                    <a:pt x="0" y="714"/>
                  </a:lnTo>
                  <a:lnTo>
                    <a:pt x="12" y="678"/>
                  </a:lnTo>
                  <a:lnTo>
                    <a:pt x="18" y="678"/>
                  </a:lnTo>
                  <a:lnTo>
                    <a:pt x="24" y="672"/>
                  </a:lnTo>
                  <a:lnTo>
                    <a:pt x="30" y="666"/>
                  </a:lnTo>
                  <a:lnTo>
                    <a:pt x="42" y="648"/>
                  </a:lnTo>
                  <a:lnTo>
                    <a:pt x="66" y="648"/>
                  </a:lnTo>
                  <a:lnTo>
                    <a:pt x="108" y="648"/>
                  </a:lnTo>
                  <a:lnTo>
                    <a:pt x="174" y="642"/>
                  </a:lnTo>
                  <a:lnTo>
                    <a:pt x="216" y="636"/>
                  </a:lnTo>
                  <a:lnTo>
                    <a:pt x="240" y="630"/>
                  </a:lnTo>
                  <a:lnTo>
                    <a:pt x="246" y="618"/>
                  </a:lnTo>
                  <a:lnTo>
                    <a:pt x="264" y="600"/>
                  </a:lnTo>
                  <a:lnTo>
                    <a:pt x="294" y="582"/>
                  </a:lnTo>
                  <a:lnTo>
                    <a:pt x="318" y="552"/>
                  </a:lnTo>
                  <a:lnTo>
                    <a:pt x="330" y="546"/>
                  </a:lnTo>
                  <a:lnTo>
                    <a:pt x="348" y="510"/>
                  </a:lnTo>
                  <a:lnTo>
                    <a:pt x="372" y="474"/>
                  </a:lnTo>
                  <a:lnTo>
                    <a:pt x="384" y="444"/>
                  </a:lnTo>
                  <a:lnTo>
                    <a:pt x="396" y="420"/>
                  </a:lnTo>
                  <a:lnTo>
                    <a:pt x="402" y="378"/>
                  </a:lnTo>
                  <a:lnTo>
                    <a:pt x="402" y="228"/>
                  </a:lnTo>
                  <a:lnTo>
                    <a:pt x="414" y="186"/>
                  </a:lnTo>
                  <a:lnTo>
                    <a:pt x="432" y="138"/>
                  </a:lnTo>
                  <a:lnTo>
                    <a:pt x="438" y="114"/>
                  </a:lnTo>
                  <a:lnTo>
                    <a:pt x="444" y="96"/>
                  </a:lnTo>
                  <a:lnTo>
                    <a:pt x="462" y="84"/>
                  </a:lnTo>
                  <a:lnTo>
                    <a:pt x="474" y="78"/>
                  </a:lnTo>
                  <a:lnTo>
                    <a:pt x="492" y="72"/>
                  </a:lnTo>
                  <a:lnTo>
                    <a:pt x="492" y="66"/>
                  </a:lnTo>
                  <a:lnTo>
                    <a:pt x="498" y="66"/>
                  </a:lnTo>
                  <a:lnTo>
                    <a:pt x="510" y="66"/>
                  </a:lnTo>
                  <a:lnTo>
                    <a:pt x="510" y="72"/>
                  </a:lnTo>
                  <a:lnTo>
                    <a:pt x="516" y="72"/>
                  </a:lnTo>
                  <a:lnTo>
                    <a:pt x="522" y="78"/>
                  </a:lnTo>
                  <a:lnTo>
                    <a:pt x="546" y="78"/>
                  </a:lnTo>
                  <a:lnTo>
                    <a:pt x="552" y="60"/>
                  </a:lnTo>
                  <a:lnTo>
                    <a:pt x="570" y="42"/>
                  </a:lnTo>
                  <a:lnTo>
                    <a:pt x="576" y="24"/>
                  </a:lnTo>
                  <a:lnTo>
                    <a:pt x="588" y="18"/>
                  </a:lnTo>
                  <a:lnTo>
                    <a:pt x="588" y="12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624" y="0"/>
                  </a:lnTo>
                  <a:lnTo>
                    <a:pt x="636" y="6"/>
                  </a:lnTo>
                  <a:lnTo>
                    <a:pt x="648" y="24"/>
                  </a:lnTo>
                  <a:lnTo>
                    <a:pt x="654" y="48"/>
                  </a:lnTo>
                  <a:lnTo>
                    <a:pt x="672" y="60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0" y="72"/>
                  </a:lnTo>
                  <a:lnTo>
                    <a:pt x="690" y="78"/>
                  </a:lnTo>
                  <a:lnTo>
                    <a:pt x="696" y="90"/>
                  </a:lnTo>
                  <a:lnTo>
                    <a:pt x="714" y="114"/>
                  </a:lnTo>
                  <a:lnTo>
                    <a:pt x="714" y="120"/>
                  </a:lnTo>
                  <a:lnTo>
                    <a:pt x="720" y="132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20" y="150"/>
                  </a:lnTo>
                  <a:lnTo>
                    <a:pt x="714" y="150"/>
                  </a:lnTo>
                  <a:lnTo>
                    <a:pt x="714" y="156"/>
                  </a:lnTo>
                  <a:lnTo>
                    <a:pt x="714" y="162"/>
                  </a:lnTo>
                  <a:lnTo>
                    <a:pt x="708" y="162"/>
                  </a:lnTo>
                  <a:lnTo>
                    <a:pt x="708" y="168"/>
                  </a:lnTo>
                  <a:lnTo>
                    <a:pt x="702" y="168"/>
                  </a:lnTo>
                  <a:lnTo>
                    <a:pt x="702" y="174"/>
                  </a:lnTo>
                  <a:lnTo>
                    <a:pt x="702" y="180"/>
                  </a:lnTo>
                  <a:lnTo>
                    <a:pt x="708" y="180"/>
                  </a:lnTo>
                  <a:lnTo>
                    <a:pt x="708" y="186"/>
                  </a:lnTo>
                  <a:lnTo>
                    <a:pt x="708" y="192"/>
                  </a:lnTo>
                  <a:lnTo>
                    <a:pt x="714" y="204"/>
                  </a:lnTo>
                  <a:lnTo>
                    <a:pt x="726" y="216"/>
                  </a:lnTo>
                  <a:lnTo>
                    <a:pt x="738" y="216"/>
                  </a:lnTo>
                  <a:lnTo>
                    <a:pt x="768" y="222"/>
                  </a:lnTo>
                  <a:lnTo>
                    <a:pt x="780" y="216"/>
                  </a:lnTo>
                  <a:lnTo>
                    <a:pt x="792" y="204"/>
                  </a:lnTo>
                  <a:lnTo>
                    <a:pt x="798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6" y="192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6" y="174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22" y="156"/>
                  </a:lnTo>
                  <a:lnTo>
                    <a:pt x="822" y="150"/>
                  </a:lnTo>
                  <a:lnTo>
                    <a:pt x="828" y="144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8" y="138"/>
                  </a:lnTo>
                  <a:lnTo>
                    <a:pt x="834" y="132"/>
                  </a:lnTo>
                  <a:lnTo>
                    <a:pt x="840" y="132"/>
                  </a:lnTo>
                  <a:lnTo>
                    <a:pt x="864" y="126"/>
                  </a:lnTo>
                  <a:lnTo>
                    <a:pt x="906" y="144"/>
                  </a:lnTo>
                  <a:lnTo>
                    <a:pt x="906" y="150"/>
                  </a:lnTo>
                  <a:lnTo>
                    <a:pt x="906" y="156"/>
                  </a:lnTo>
                  <a:lnTo>
                    <a:pt x="900" y="162"/>
                  </a:lnTo>
                  <a:lnTo>
                    <a:pt x="924" y="168"/>
                  </a:lnTo>
                  <a:lnTo>
                    <a:pt x="942" y="192"/>
                  </a:lnTo>
                  <a:lnTo>
                    <a:pt x="972" y="210"/>
                  </a:lnTo>
                  <a:lnTo>
                    <a:pt x="972" y="216"/>
                  </a:lnTo>
                  <a:lnTo>
                    <a:pt x="972" y="228"/>
                  </a:lnTo>
                  <a:lnTo>
                    <a:pt x="978" y="234"/>
                  </a:lnTo>
                  <a:lnTo>
                    <a:pt x="978" y="246"/>
                  </a:lnTo>
                  <a:lnTo>
                    <a:pt x="984" y="252"/>
                  </a:lnTo>
                  <a:lnTo>
                    <a:pt x="1014" y="252"/>
                  </a:lnTo>
                  <a:lnTo>
                    <a:pt x="1020" y="228"/>
                  </a:lnTo>
                  <a:lnTo>
                    <a:pt x="1026" y="198"/>
                  </a:lnTo>
                  <a:lnTo>
                    <a:pt x="1050" y="186"/>
                  </a:lnTo>
                  <a:lnTo>
                    <a:pt x="1056" y="180"/>
                  </a:lnTo>
                  <a:lnTo>
                    <a:pt x="1050" y="174"/>
                  </a:lnTo>
                  <a:lnTo>
                    <a:pt x="1050" y="168"/>
                  </a:lnTo>
                  <a:lnTo>
                    <a:pt x="1050" y="162"/>
                  </a:lnTo>
                  <a:lnTo>
                    <a:pt x="1056" y="162"/>
                  </a:lnTo>
                  <a:lnTo>
                    <a:pt x="1062" y="162"/>
                  </a:lnTo>
                  <a:lnTo>
                    <a:pt x="1074" y="162"/>
                  </a:lnTo>
                  <a:lnTo>
                    <a:pt x="1074" y="144"/>
                  </a:lnTo>
                  <a:lnTo>
                    <a:pt x="1074" y="120"/>
                  </a:lnTo>
                  <a:lnTo>
                    <a:pt x="1092" y="120"/>
                  </a:lnTo>
                  <a:lnTo>
                    <a:pt x="1098" y="126"/>
                  </a:lnTo>
                  <a:lnTo>
                    <a:pt x="1134" y="132"/>
                  </a:lnTo>
                  <a:lnTo>
                    <a:pt x="1146" y="132"/>
                  </a:lnTo>
                  <a:lnTo>
                    <a:pt x="1158" y="150"/>
                  </a:lnTo>
                  <a:lnTo>
                    <a:pt x="1158" y="156"/>
                  </a:lnTo>
                  <a:lnTo>
                    <a:pt x="1158" y="162"/>
                  </a:lnTo>
                  <a:lnTo>
                    <a:pt x="1158" y="180"/>
                  </a:lnTo>
                  <a:lnTo>
                    <a:pt x="1158" y="186"/>
                  </a:lnTo>
                  <a:lnTo>
                    <a:pt x="1164" y="192"/>
                  </a:lnTo>
                  <a:lnTo>
                    <a:pt x="1176" y="198"/>
                  </a:lnTo>
                  <a:lnTo>
                    <a:pt x="1182" y="198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8"/>
                  </a:lnTo>
                  <a:lnTo>
                    <a:pt x="1188" y="234"/>
                  </a:lnTo>
                  <a:lnTo>
                    <a:pt x="1212" y="234"/>
                  </a:lnTo>
                  <a:lnTo>
                    <a:pt x="1242" y="234"/>
                  </a:lnTo>
                  <a:lnTo>
                    <a:pt x="1248" y="234"/>
                  </a:lnTo>
                  <a:lnTo>
                    <a:pt x="1278" y="240"/>
                  </a:lnTo>
                  <a:lnTo>
                    <a:pt x="1320" y="234"/>
                  </a:lnTo>
                  <a:lnTo>
                    <a:pt x="1332" y="228"/>
                  </a:lnTo>
                  <a:lnTo>
                    <a:pt x="1344" y="228"/>
                  </a:lnTo>
                  <a:lnTo>
                    <a:pt x="1350" y="234"/>
                  </a:lnTo>
                  <a:lnTo>
                    <a:pt x="1350" y="240"/>
                  </a:lnTo>
                  <a:lnTo>
                    <a:pt x="1356" y="246"/>
                  </a:lnTo>
                  <a:lnTo>
                    <a:pt x="1350" y="252"/>
                  </a:lnTo>
                  <a:lnTo>
                    <a:pt x="1356" y="264"/>
                  </a:lnTo>
                  <a:lnTo>
                    <a:pt x="1356" y="270"/>
                  </a:lnTo>
                  <a:lnTo>
                    <a:pt x="1356" y="276"/>
                  </a:lnTo>
                  <a:lnTo>
                    <a:pt x="1356" y="282"/>
                  </a:lnTo>
                  <a:lnTo>
                    <a:pt x="1356" y="288"/>
                  </a:lnTo>
                  <a:lnTo>
                    <a:pt x="1350" y="294"/>
                  </a:lnTo>
                  <a:lnTo>
                    <a:pt x="1344" y="300"/>
                  </a:lnTo>
                  <a:lnTo>
                    <a:pt x="1344" y="306"/>
                  </a:lnTo>
                  <a:lnTo>
                    <a:pt x="1338" y="312"/>
                  </a:lnTo>
                  <a:lnTo>
                    <a:pt x="1326" y="342"/>
                  </a:lnTo>
                  <a:lnTo>
                    <a:pt x="1320" y="348"/>
                  </a:lnTo>
                  <a:lnTo>
                    <a:pt x="1314" y="354"/>
                  </a:lnTo>
                  <a:lnTo>
                    <a:pt x="1290" y="354"/>
                  </a:lnTo>
                  <a:lnTo>
                    <a:pt x="1284" y="360"/>
                  </a:lnTo>
                  <a:lnTo>
                    <a:pt x="1278" y="378"/>
                  </a:lnTo>
                  <a:lnTo>
                    <a:pt x="1278" y="384"/>
                  </a:lnTo>
                  <a:lnTo>
                    <a:pt x="1272" y="390"/>
                  </a:lnTo>
                  <a:lnTo>
                    <a:pt x="1266" y="396"/>
                  </a:lnTo>
                  <a:lnTo>
                    <a:pt x="1260" y="396"/>
                  </a:lnTo>
                  <a:lnTo>
                    <a:pt x="1248" y="402"/>
                  </a:lnTo>
                  <a:lnTo>
                    <a:pt x="1242" y="408"/>
                  </a:lnTo>
                  <a:lnTo>
                    <a:pt x="1242" y="414"/>
                  </a:lnTo>
                  <a:lnTo>
                    <a:pt x="1242" y="420"/>
                  </a:lnTo>
                  <a:lnTo>
                    <a:pt x="1236" y="432"/>
                  </a:lnTo>
                  <a:lnTo>
                    <a:pt x="1242" y="432"/>
                  </a:lnTo>
                  <a:lnTo>
                    <a:pt x="1242" y="444"/>
                  </a:lnTo>
                  <a:lnTo>
                    <a:pt x="1242" y="456"/>
                  </a:lnTo>
                  <a:lnTo>
                    <a:pt x="1248" y="456"/>
                  </a:lnTo>
                  <a:lnTo>
                    <a:pt x="1254" y="462"/>
                  </a:lnTo>
                  <a:lnTo>
                    <a:pt x="1248" y="468"/>
                  </a:lnTo>
                  <a:lnTo>
                    <a:pt x="1254" y="468"/>
                  </a:lnTo>
                  <a:lnTo>
                    <a:pt x="1266" y="474"/>
                  </a:lnTo>
                  <a:lnTo>
                    <a:pt x="1266" y="480"/>
                  </a:lnTo>
                  <a:lnTo>
                    <a:pt x="1266" y="486"/>
                  </a:lnTo>
                  <a:lnTo>
                    <a:pt x="1272" y="486"/>
                  </a:lnTo>
                  <a:lnTo>
                    <a:pt x="1272" y="492"/>
                  </a:lnTo>
                  <a:lnTo>
                    <a:pt x="1290" y="510"/>
                  </a:lnTo>
                  <a:lnTo>
                    <a:pt x="1296" y="516"/>
                  </a:lnTo>
                  <a:lnTo>
                    <a:pt x="1302" y="540"/>
                  </a:lnTo>
                  <a:lnTo>
                    <a:pt x="1302" y="546"/>
                  </a:lnTo>
                  <a:lnTo>
                    <a:pt x="1302" y="558"/>
                  </a:lnTo>
                  <a:lnTo>
                    <a:pt x="1302" y="570"/>
                  </a:lnTo>
                  <a:lnTo>
                    <a:pt x="1302" y="576"/>
                  </a:lnTo>
                  <a:lnTo>
                    <a:pt x="1344" y="570"/>
                  </a:lnTo>
                  <a:lnTo>
                    <a:pt x="1350" y="582"/>
                  </a:lnTo>
                  <a:lnTo>
                    <a:pt x="1368" y="594"/>
                  </a:lnTo>
                  <a:lnTo>
                    <a:pt x="1374" y="600"/>
                  </a:lnTo>
                  <a:lnTo>
                    <a:pt x="1380" y="600"/>
                  </a:lnTo>
                  <a:lnTo>
                    <a:pt x="1380" y="618"/>
                  </a:lnTo>
                  <a:lnTo>
                    <a:pt x="1386" y="624"/>
                  </a:lnTo>
                  <a:lnTo>
                    <a:pt x="1404" y="624"/>
                  </a:lnTo>
                  <a:lnTo>
                    <a:pt x="1410" y="612"/>
                  </a:lnTo>
                  <a:lnTo>
                    <a:pt x="1428" y="606"/>
                  </a:lnTo>
                  <a:lnTo>
                    <a:pt x="1488" y="606"/>
                  </a:lnTo>
                  <a:lnTo>
                    <a:pt x="1506" y="606"/>
                  </a:lnTo>
                  <a:lnTo>
                    <a:pt x="1512" y="600"/>
                  </a:lnTo>
                  <a:lnTo>
                    <a:pt x="1524" y="594"/>
                  </a:lnTo>
                  <a:lnTo>
                    <a:pt x="1554" y="594"/>
                  </a:lnTo>
                  <a:lnTo>
                    <a:pt x="1578" y="606"/>
                  </a:lnTo>
                  <a:lnTo>
                    <a:pt x="1596" y="624"/>
                  </a:lnTo>
                  <a:lnTo>
                    <a:pt x="1650" y="642"/>
                  </a:lnTo>
                  <a:lnTo>
                    <a:pt x="1686" y="648"/>
                  </a:lnTo>
                  <a:lnTo>
                    <a:pt x="1698" y="654"/>
                  </a:lnTo>
                  <a:lnTo>
                    <a:pt x="1698" y="660"/>
                  </a:lnTo>
                  <a:lnTo>
                    <a:pt x="1692" y="666"/>
                  </a:lnTo>
                  <a:lnTo>
                    <a:pt x="1692" y="672"/>
                  </a:lnTo>
                  <a:lnTo>
                    <a:pt x="1698" y="678"/>
                  </a:lnTo>
                  <a:lnTo>
                    <a:pt x="1698" y="684"/>
                  </a:lnTo>
                  <a:lnTo>
                    <a:pt x="1692" y="684"/>
                  </a:lnTo>
                  <a:lnTo>
                    <a:pt x="1692" y="690"/>
                  </a:lnTo>
                  <a:lnTo>
                    <a:pt x="1698" y="696"/>
                  </a:lnTo>
                  <a:lnTo>
                    <a:pt x="1698" y="702"/>
                  </a:lnTo>
                  <a:lnTo>
                    <a:pt x="1698" y="708"/>
                  </a:lnTo>
                  <a:lnTo>
                    <a:pt x="1704" y="714"/>
                  </a:lnTo>
                  <a:lnTo>
                    <a:pt x="1704" y="720"/>
                  </a:lnTo>
                  <a:lnTo>
                    <a:pt x="1704" y="726"/>
                  </a:lnTo>
                  <a:lnTo>
                    <a:pt x="1704" y="732"/>
                  </a:lnTo>
                  <a:lnTo>
                    <a:pt x="1704" y="738"/>
                  </a:lnTo>
                  <a:lnTo>
                    <a:pt x="1698" y="726"/>
                  </a:lnTo>
                  <a:lnTo>
                    <a:pt x="1668" y="720"/>
                  </a:lnTo>
                  <a:lnTo>
                    <a:pt x="1626" y="714"/>
                  </a:lnTo>
                  <a:lnTo>
                    <a:pt x="1614" y="708"/>
                  </a:lnTo>
                  <a:lnTo>
                    <a:pt x="1578" y="696"/>
                  </a:lnTo>
                  <a:lnTo>
                    <a:pt x="1566" y="696"/>
                  </a:lnTo>
                  <a:lnTo>
                    <a:pt x="1548" y="702"/>
                  </a:lnTo>
                  <a:lnTo>
                    <a:pt x="1542" y="714"/>
                  </a:lnTo>
                  <a:lnTo>
                    <a:pt x="1536" y="732"/>
                  </a:lnTo>
                  <a:lnTo>
                    <a:pt x="1530" y="750"/>
                  </a:lnTo>
                  <a:lnTo>
                    <a:pt x="1536" y="750"/>
                  </a:lnTo>
                  <a:lnTo>
                    <a:pt x="1542" y="756"/>
                  </a:lnTo>
                  <a:lnTo>
                    <a:pt x="1542" y="762"/>
                  </a:lnTo>
                  <a:lnTo>
                    <a:pt x="1548" y="762"/>
                  </a:lnTo>
                  <a:lnTo>
                    <a:pt x="1554" y="762"/>
                  </a:lnTo>
                  <a:lnTo>
                    <a:pt x="1554" y="768"/>
                  </a:lnTo>
                  <a:lnTo>
                    <a:pt x="1560" y="774"/>
                  </a:lnTo>
                  <a:lnTo>
                    <a:pt x="1566" y="774"/>
                  </a:lnTo>
                  <a:lnTo>
                    <a:pt x="1584" y="792"/>
                  </a:lnTo>
                  <a:lnTo>
                    <a:pt x="1584" y="810"/>
                  </a:lnTo>
                  <a:lnTo>
                    <a:pt x="1572" y="816"/>
                  </a:lnTo>
                  <a:lnTo>
                    <a:pt x="1578" y="834"/>
                  </a:lnTo>
                  <a:lnTo>
                    <a:pt x="1578" y="846"/>
                  </a:lnTo>
                  <a:lnTo>
                    <a:pt x="1584" y="858"/>
                  </a:lnTo>
                  <a:lnTo>
                    <a:pt x="1590" y="864"/>
                  </a:lnTo>
                  <a:lnTo>
                    <a:pt x="1590" y="876"/>
                  </a:lnTo>
                  <a:lnTo>
                    <a:pt x="1578" y="888"/>
                  </a:lnTo>
                  <a:lnTo>
                    <a:pt x="1560" y="906"/>
                  </a:lnTo>
                  <a:lnTo>
                    <a:pt x="1536" y="930"/>
                  </a:lnTo>
                  <a:lnTo>
                    <a:pt x="1530" y="930"/>
                  </a:lnTo>
                  <a:lnTo>
                    <a:pt x="1506" y="942"/>
                  </a:lnTo>
                  <a:lnTo>
                    <a:pt x="1488" y="948"/>
                  </a:lnTo>
                  <a:lnTo>
                    <a:pt x="1476" y="954"/>
                  </a:lnTo>
                  <a:lnTo>
                    <a:pt x="1458" y="960"/>
                  </a:lnTo>
                  <a:lnTo>
                    <a:pt x="1452" y="966"/>
                  </a:lnTo>
                  <a:lnTo>
                    <a:pt x="1446" y="966"/>
                  </a:lnTo>
                  <a:lnTo>
                    <a:pt x="1434" y="972"/>
                  </a:lnTo>
                  <a:lnTo>
                    <a:pt x="1434" y="954"/>
                  </a:lnTo>
                  <a:lnTo>
                    <a:pt x="1422" y="942"/>
                  </a:lnTo>
                  <a:lnTo>
                    <a:pt x="1398" y="924"/>
                  </a:lnTo>
                  <a:lnTo>
                    <a:pt x="1398" y="912"/>
                  </a:lnTo>
                  <a:lnTo>
                    <a:pt x="1398" y="906"/>
                  </a:lnTo>
                  <a:lnTo>
                    <a:pt x="1398" y="900"/>
                  </a:lnTo>
                  <a:lnTo>
                    <a:pt x="1380" y="900"/>
                  </a:lnTo>
                  <a:lnTo>
                    <a:pt x="1380" y="894"/>
                  </a:lnTo>
                  <a:lnTo>
                    <a:pt x="1368" y="888"/>
                  </a:lnTo>
                  <a:lnTo>
                    <a:pt x="1362" y="882"/>
                  </a:lnTo>
                  <a:lnTo>
                    <a:pt x="1356" y="876"/>
                  </a:lnTo>
                  <a:lnTo>
                    <a:pt x="1350" y="864"/>
                  </a:lnTo>
                  <a:lnTo>
                    <a:pt x="1344" y="858"/>
                  </a:lnTo>
                  <a:lnTo>
                    <a:pt x="1314" y="870"/>
                  </a:lnTo>
                  <a:lnTo>
                    <a:pt x="1272" y="876"/>
                  </a:lnTo>
                  <a:lnTo>
                    <a:pt x="1218" y="870"/>
                  </a:lnTo>
                  <a:lnTo>
                    <a:pt x="1200" y="864"/>
                  </a:lnTo>
                  <a:lnTo>
                    <a:pt x="1182" y="864"/>
                  </a:lnTo>
                  <a:lnTo>
                    <a:pt x="1134" y="858"/>
                  </a:lnTo>
                  <a:lnTo>
                    <a:pt x="1110" y="840"/>
                  </a:lnTo>
                  <a:lnTo>
                    <a:pt x="1086" y="828"/>
                  </a:lnTo>
                  <a:lnTo>
                    <a:pt x="1044" y="816"/>
                  </a:lnTo>
                  <a:lnTo>
                    <a:pt x="1014" y="816"/>
                  </a:lnTo>
                  <a:lnTo>
                    <a:pt x="990" y="822"/>
                  </a:lnTo>
                  <a:lnTo>
                    <a:pt x="948" y="858"/>
                  </a:lnTo>
                  <a:lnTo>
                    <a:pt x="930" y="864"/>
                  </a:lnTo>
                  <a:lnTo>
                    <a:pt x="924" y="876"/>
                  </a:lnTo>
                  <a:lnTo>
                    <a:pt x="918" y="906"/>
                  </a:lnTo>
                  <a:lnTo>
                    <a:pt x="924" y="930"/>
                  </a:lnTo>
                  <a:lnTo>
                    <a:pt x="948" y="984"/>
                  </a:lnTo>
                  <a:lnTo>
                    <a:pt x="954" y="1008"/>
                  </a:lnTo>
                  <a:lnTo>
                    <a:pt x="948" y="1014"/>
                  </a:lnTo>
                  <a:lnTo>
                    <a:pt x="954" y="1014"/>
                  </a:lnTo>
                  <a:lnTo>
                    <a:pt x="954" y="1032"/>
                  </a:lnTo>
                  <a:lnTo>
                    <a:pt x="966" y="1044"/>
                  </a:lnTo>
                  <a:lnTo>
                    <a:pt x="960" y="1056"/>
                  </a:lnTo>
                  <a:lnTo>
                    <a:pt x="954" y="1056"/>
                  </a:lnTo>
                  <a:lnTo>
                    <a:pt x="948" y="1056"/>
                  </a:lnTo>
                  <a:lnTo>
                    <a:pt x="942" y="1056"/>
                  </a:lnTo>
                  <a:lnTo>
                    <a:pt x="936" y="1050"/>
                  </a:lnTo>
                  <a:lnTo>
                    <a:pt x="930" y="1044"/>
                  </a:lnTo>
                  <a:lnTo>
                    <a:pt x="924" y="1044"/>
                  </a:lnTo>
                  <a:lnTo>
                    <a:pt x="918" y="1038"/>
                  </a:lnTo>
                  <a:lnTo>
                    <a:pt x="912" y="1038"/>
                  </a:lnTo>
                  <a:lnTo>
                    <a:pt x="906" y="1032"/>
                  </a:lnTo>
                  <a:lnTo>
                    <a:pt x="900" y="1032"/>
                  </a:lnTo>
                  <a:lnTo>
                    <a:pt x="888" y="1026"/>
                  </a:lnTo>
                  <a:lnTo>
                    <a:pt x="882" y="1026"/>
                  </a:lnTo>
                  <a:lnTo>
                    <a:pt x="876" y="1026"/>
                  </a:lnTo>
                  <a:lnTo>
                    <a:pt x="864" y="1014"/>
                  </a:lnTo>
                  <a:lnTo>
                    <a:pt x="846" y="1008"/>
                  </a:lnTo>
                  <a:lnTo>
                    <a:pt x="840" y="996"/>
                  </a:lnTo>
                  <a:lnTo>
                    <a:pt x="840" y="990"/>
                  </a:lnTo>
                  <a:lnTo>
                    <a:pt x="834" y="990"/>
                  </a:lnTo>
                  <a:lnTo>
                    <a:pt x="828" y="990"/>
                  </a:lnTo>
                  <a:lnTo>
                    <a:pt x="816" y="990"/>
                  </a:lnTo>
                  <a:lnTo>
                    <a:pt x="810" y="990"/>
                  </a:lnTo>
                  <a:lnTo>
                    <a:pt x="804" y="984"/>
                  </a:lnTo>
                  <a:lnTo>
                    <a:pt x="792" y="978"/>
                  </a:lnTo>
                  <a:lnTo>
                    <a:pt x="786" y="972"/>
                  </a:lnTo>
                  <a:lnTo>
                    <a:pt x="780" y="972"/>
                  </a:lnTo>
                  <a:lnTo>
                    <a:pt x="768" y="966"/>
                  </a:lnTo>
                  <a:lnTo>
                    <a:pt x="762" y="966"/>
                  </a:lnTo>
                  <a:lnTo>
                    <a:pt x="756" y="966"/>
                  </a:lnTo>
                  <a:lnTo>
                    <a:pt x="750" y="966"/>
                  </a:lnTo>
                  <a:lnTo>
                    <a:pt x="744" y="966"/>
                  </a:lnTo>
                  <a:lnTo>
                    <a:pt x="738" y="960"/>
                  </a:lnTo>
                  <a:lnTo>
                    <a:pt x="732" y="954"/>
                  </a:lnTo>
                  <a:lnTo>
                    <a:pt x="720" y="954"/>
                  </a:lnTo>
                  <a:lnTo>
                    <a:pt x="714" y="948"/>
                  </a:lnTo>
                  <a:lnTo>
                    <a:pt x="708" y="948"/>
                  </a:lnTo>
                  <a:lnTo>
                    <a:pt x="696" y="948"/>
                  </a:lnTo>
                  <a:lnTo>
                    <a:pt x="684" y="942"/>
                  </a:lnTo>
                  <a:lnTo>
                    <a:pt x="678" y="936"/>
                  </a:lnTo>
                  <a:lnTo>
                    <a:pt x="660" y="930"/>
                  </a:lnTo>
                  <a:lnTo>
                    <a:pt x="642" y="924"/>
                  </a:lnTo>
                  <a:lnTo>
                    <a:pt x="636" y="924"/>
                  </a:lnTo>
                  <a:lnTo>
                    <a:pt x="630" y="924"/>
                  </a:lnTo>
                  <a:lnTo>
                    <a:pt x="618" y="924"/>
                  </a:lnTo>
                  <a:lnTo>
                    <a:pt x="618" y="918"/>
                  </a:lnTo>
                  <a:lnTo>
                    <a:pt x="606" y="918"/>
                  </a:lnTo>
                  <a:lnTo>
                    <a:pt x="600" y="918"/>
                  </a:lnTo>
                  <a:lnTo>
                    <a:pt x="594" y="918"/>
                  </a:lnTo>
                  <a:lnTo>
                    <a:pt x="594" y="912"/>
                  </a:lnTo>
                  <a:lnTo>
                    <a:pt x="588" y="912"/>
                  </a:lnTo>
                  <a:lnTo>
                    <a:pt x="582" y="912"/>
                  </a:lnTo>
                  <a:lnTo>
                    <a:pt x="582" y="918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58" y="918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12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00"/>
                  </a:lnTo>
                  <a:lnTo>
                    <a:pt x="516" y="900"/>
                  </a:lnTo>
                  <a:lnTo>
                    <a:pt x="510" y="900"/>
                  </a:lnTo>
                  <a:lnTo>
                    <a:pt x="486" y="894"/>
                  </a:lnTo>
                  <a:lnTo>
                    <a:pt x="474" y="888"/>
                  </a:lnTo>
                  <a:lnTo>
                    <a:pt x="468" y="888"/>
                  </a:lnTo>
                  <a:lnTo>
                    <a:pt x="450" y="88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0" name="Freeform 15">
              <a:extLst>
                <a:ext uri="{FF2B5EF4-FFF2-40B4-BE49-F238E27FC236}">
                  <a16:creationId xmlns:a16="http://schemas.microsoft.com/office/drawing/2014/main" id="{8B991D7A-45C6-40F6-A035-24DFC733305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382" y="2652043"/>
              <a:ext cx="724526" cy="695552"/>
            </a:xfrm>
            <a:custGeom>
              <a:avLst/>
              <a:gdLst>
                <a:gd name="T0" fmla="*/ 44 w 1362"/>
                <a:gd name="T1" fmla="*/ 106 h 1308"/>
                <a:gd name="T2" fmla="*/ 32 w 1362"/>
                <a:gd name="T3" fmla="*/ 109 h 1308"/>
                <a:gd name="T4" fmla="*/ 25 w 1362"/>
                <a:gd name="T5" fmla="*/ 105 h 1308"/>
                <a:gd name="T6" fmla="*/ 22 w 1362"/>
                <a:gd name="T7" fmla="*/ 97 h 1308"/>
                <a:gd name="T8" fmla="*/ 21 w 1362"/>
                <a:gd name="T9" fmla="*/ 95 h 1308"/>
                <a:gd name="T10" fmla="*/ 20 w 1362"/>
                <a:gd name="T11" fmla="*/ 90 h 1308"/>
                <a:gd name="T12" fmla="*/ 23 w 1362"/>
                <a:gd name="T13" fmla="*/ 87 h 1308"/>
                <a:gd name="T14" fmla="*/ 29 w 1362"/>
                <a:gd name="T15" fmla="*/ 81 h 1308"/>
                <a:gd name="T16" fmla="*/ 30 w 1362"/>
                <a:gd name="T17" fmla="*/ 78 h 1308"/>
                <a:gd name="T18" fmla="*/ 27 w 1362"/>
                <a:gd name="T19" fmla="*/ 75 h 1308"/>
                <a:gd name="T20" fmla="*/ 15 w 1362"/>
                <a:gd name="T21" fmla="*/ 73 h 1308"/>
                <a:gd name="T22" fmla="*/ 12 w 1362"/>
                <a:gd name="T23" fmla="*/ 69 h 1308"/>
                <a:gd name="T24" fmla="*/ 5 w 1362"/>
                <a:gd name="T25" fmla="*/ 65 h 1308"/>
                <a:gd name="T26" fmla="*/ 6 w 1362"/>
                <a:gd name="T27" fmla="*/ 62 h 1308"/>
                <a:gd name="T28" fmla="*/ 7 w 1362"/>
                <a:gd name="T29" fmla="*/ 56 h 1308"/>
                <a:gd name="T30" fmla="*/ 2 w 1362"/>
                <a:gd name="T31" fmla="*/ 49 h 1308"/>
                <a:gd name="T32" fmla="*/ 0 w 1362"/>
                <a:gd name="T33" fmla="*/ 44 h 1308"/>
                <a:gd name="T34" fmla="*/ 0 w 1362"/>
                <a:gd name="T35" fmla="*/ 39 h 1308"/>
                <a:gd name="T36" fmla="*/ 3 w 1362"/>
                <a:gd name="T37" fmla="*/ 35 h 1308"/>
                <a:gd name="T38" fmla="*/ 3 w 1362"/>
                <a:gd name="T39" fmla="*/ 28 h 1308"/>
                <a:gd name="T40" fmla="*/ 6 w 1362"/>
                <a:gd name="T41" fmla="*/ 18 h 1308"/>
                <a:gd name="T42" fmla="*/ 6 w 1362"/>
                <a:gd name="T43" fmla="*/ 8 h 1308"/>
                <a:gd name="T44" fmla="*/ 10 w 1362"/>
                <a:gd name="T45" fmla="*/ 5 h 1308"/>
                <a:gd name="T46" fmla="*/ 15 w 1362"/>
                <a:gd name="T47" fmla="*/ 0 h 1308"/>
                <a:gd name="T48" fmla="*/ 21 w 1362"/>
                <a:gd name="T49" fmla="*/ 7 h 1308"/>
                <a:gd name="T50" fmla="*/ 25 w 1362"/>
                <a:gd name="T51" fmla="*/ 15 h 1308"/>
                <a:gd name="T52" fmla="*/ 24 w 1362"/>
                <a:gd name="T53" fmla="*/ 19 h 1308"/>
                <a:gd name="T54" fmla="*/ 32 w 1362"/>
                <a:gd name="T55" fmla="*/ 19 h 1308"/>
                <a:gd name="T56" fmla="*/ 35 w 1362"/>
                <a:gd name="T57" fmla="*/ 20 h 1308"/>
                <a:gd name="T58" fmla="*/ 40 w 1362"/>
                <a:gd name="T59" fmla="*/ 23 h 1308"/>
                <a:gd name="T60" fmla="*/ 40 w 1362"/>
                <a:gd name="T61" fmla="*/ 26 h 1308"/>
                <a:gd name="T62" fmla="*/ 34 w 1362"/>
                <a:gd name="T63" fmla="*/ 35 h 1308"/>
                <a:gd name="T64" fmla="*/ 41 w 1362"/>
                <a:gd name="T65" fmla="*/ 37 h 1308"/>
                <a:gd name="T66" fmla="*/ 43 w 1362"/>
                <a:gd name="T67" fmla="*/ 44 h 1308"/>
                <a:gd name="T68" fmla="*/ 48 w 1362"/>
                <a:gd name="T69" fmla="*/ 47 h 1308"/>
                <a:gd name="T70" fmla="*/ 57 w 1362"/>
                <a:gd name="T71" fmla="*/ 48 h 1308"/>
                <a:gd name="T72" fmla="*/ 70 w 1362"/>
                <a:gd name="T73" fmla="*/ 44 h 1308"/>
                <a:gd name="T74" fmla="*/ 80 w 1362"/>
                <a:gd name="T75" fmla="*/ 34 h 1308"/>
                <a:gd name="T76" fmla="*/ 95 w 1362"/>
                <a:gd name="T77" fmla="*/ 41 h 1308"/>
                <a:gd name="T78" fmla="*/ 109 w 1362"/>
                <a:gd name="T79" fmla="*/ 47 h 1308"/>
                <a:gd name="T80" fmla="*/ 111 w 1362"/>
                <a:gd name="T81" fmla="*/ 50 h 1308"/>
                <a:gd name="T82" fmla="*/ 113 w 1362"/>
                <a:gd name="T83" fmla="*/ 53 h 1308"/>
                <a:gd name="T84" fmla="*/ 113 w 1362"/>
                <a:gd name="T85" fmla="*/ 55 h 1308"/>
                <a:gd name="T86" fmla="*/ 113 w 1362"/>
                <a:gd name="T87" fmla="*/ 59 h 1308"/>
                <a:gd name="T88" fmla="*/ 113 w 1362"/>
                <a:gd name="T89" fmla="*/ 62 h 1308"/>
                <a:gd name="T90" fmla="*/ 115 w 1362"/>
                <a:gd name="T91" fmla="*/ 65 h 1308"/>
                <a:gd name="T92" fmla="*/ 115 w 1362"/>
                <a:gd name="T93" fmla="*/ 67 h 1308"/>
                <a:gd name="T94" fmla="*/ 116 w 1362"/>
                <a:gd name="T95" fmla="*/ 69 h 1308"/>
                <a:gd name="T96" fmla="*/ 116 w 1362"/>
                <a:gd name="T97" fmla="*/ 71 h 1308"/>
                <a:gd name="T98" fmla="*/ 118 w 1362"/>
                <a:gd name="T99" fmla="*/ 75 h 1308"/>
                <a:gd name="T100" fmla="*/ 116 w 1362"/>
                <a:gd name="T101" fmla="*/ 77 h 1308"/>
                <a:gd name="T102" fmla="*/ 116 w 1362"/>
                <a:gd name="T103" fmla="*/ 79 h 1308"/>
                <a:gd name="T104" fmla="*/ 101 w 1362"/>
                <a:gd name="T105" fmla="*/ 87 h 1308"/>
                <a:gd name="T106" fmla="*/ 85 w 1362"/>
                <a:gd name="T107" fmla="*/ 103 h 1308"/>
                <a:gd name="T108" fmla="*/ 67 w 1362"/>
                <a:gd name="T109" fmla="*/ 114 h 130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62"/>
                <a:gd name="T166" fmla="*/ 0 h 1308"/>
                <a:gd name="T167" fmla="*/ 1362 w 1362"/>
                <a:gd name="T168" fmla="*/ 1308 h 130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62" h="1308">
                  <a:moveTo>
                    <a:pt x="684" y="1278"/>
                  </a:moveTo>
                  <a:lnTo>
                    <a:pt x="672" y="1272"/>
                  </a:lnTo>
                  <a:lnTo>
                    <a:pt x="636" y="1266"/>
                  </a:lnTo>
                  <a:lnTo>
                    <a:pt x="582" y="1248"/>
                  </a:lnTo>
                  <a:lnTo>
                    <a:pt x="564" y="1230"/>
                  </a:lnTo>
                  <a:lnTo>
                    <a:pt x="540" y="1218"/>
                  </a:lnTo>
                  <a:lnTo>
                    <a:pt x="510" y="1218"/>
                  </a:lnTo>
                  <a:lnTo>
                    <a:pt x="498" y="1224"/>
                  </a:lnTo>
                  <a:lnTo>
                    <a:pt x="492" y="1230"/>
                  </a:lnTo>
                  <a:lnTo>
                    <a:pt x="474" y="1230"/>
                  </a:lnTo>
                  <a:lnTo>
                    <a:pt x="414" y="1230"/>
                  </a:lnTo>
                  <a:lnTo>
                    <a:pt x="396" y="1236"/>
                  </a:lnTo>
                  <a:lnTo>
                    <a:pt x="390" y="1248"/>
                  </a:lnTo>
                  <a:lnTo>
                    <a:pt x="372" y="1248"/>
                  </a:lnTo>
                  <a:lnTo>
                    <a:pt x="366" y="1242"/>
                  </a:lnTo>
                  <a:lnTo>
                    <a:pt x="366" y="1224"/>
                  </a:lnTo>
                  <a:lnTo>
                    <a:pt x="360" y="1224"/>
                  </a:lnTo>
                  <a:lnTo>
                    <a:pt x="354" y="1218"/>
                  </a:lnTo>
                  <a:lnTo>
                    <a:pt x="336" y="1206"/>
                  </a:lnTo>
                  <a:lnTo>
                    <a:pt x="330" y="1194"/>
                  </a:lnTo>
                  <a:lnTo>
                    <a:pt x="288" y="1200"/>
                  </a:lnTo>
                  <a:lnTo>
                    <a:pt x="288" y="1194"/>
                  </a:lnTo>
                  <a:lnTo>
                    <a:pt x="288" y="1182"/>
                  </a:lnTo>
                  <a:lnTo>
                    <a:pt x="288" y="1170"/>
                  </a:lnTo>
                  <a:lnTo>
                    <a:pt x="288" y="1164"/>
                  </a:lnTo>
                  <a:lnTo>
                    <a:pt x="282" y="1140"/>
                  </a:lnTo>
                  <a:lnTo>
                    <a:pt x="276" y="1134"/>
                  </a:lnTo>
                  <a:lnTo>
                    <a:pt x="258" y="1116"/>
                  </a:lnTo>
                  <a:lnTo>
                    <a:pt x="258" y="1110"/>
                  </a:lnTo>
                  <a:lnTo>
                    <a:pt x="252" y="1110"/>
                  </a:lnTo>
                  <a:lnTo>
                    <a:pt x="252" y="1104"/>
                  </a:lnTo>
                  <a:lnTo>
                    <a:pt x="252" y="1098"/>
                  </a:lnTo>
                  <a:lnTo>
                    <a:pt x="240" y="1092"/>
                  </a:lnTo>
                  <a:lnTo>
                    <a:pt x="234" y="1092"/>
                  </a:lnTo>
                  <a:lnTo>
                    <a:pt x="240" y="1086"/>
                  </a:lnTo>
                  <a:lnTo>
                    <a:pt x="234" y="1080"/>
                  </a:lnTo>
                  <a:lnTo>
                    <a:pt x="228" y="1080"/>
                  </a:lnTo>
                  <a:lnTo>
                    <a:pt x="228" y="1068"/>
                  </a:lnTo>
                  <a:lnTo>
                    <a:pt x="228" y="1056"/>
                  </a:lnTo>
                  <a:lnTo>
                    <a:pt x="222" y="1056"/>
                  </a:lnTo>
                  <a:lnTo>
                    <a:pt x="228" y="1044"/>
                  </a:lnTo>
                  <a:lnTo>
                    <a:pt x="228" y="1038"/>
                  </a:lnTo>
                  <a:lnTo>
                    <a:pt x="228" y="1032"/>
                  </a:lnTo>
                  <a:lnTo>
                    <a:pt x="234" y="1026"/>
                  </a:lnTo>
                  <a:lnTo>
                    <a:pt x="246" y="1020"/>
                  </a:lnTo>
                  <a:lnTo>
                    <a:pt x="252" y="1020"/>
                  </a:lnTo>
                  <a:lnTo>
                    <a:pt x="258" y="1014"/>
                  </a:lnTo>
                  <a:lnTo>
                    <a:pt x="264" y="1008"/>
                  </a:lnTo>
                  <a:lnTo>
                    <a:pt x="264" y="1002"/>
                  </a:lnTo>
                  <a:lnTo>
                    <a:pt x="270" y="984"/>
                  </a:lnTo>
                  <a:lnTo>
                    <a:pt x="276" y="978"/>
                  </a:lnTo>
                  <a:lnTo>
                    <a:pt x="300" y="978"/>
                  </a:lnTo>
                  <a:lnTo>
                    <a:pt x="306" y="972"/>
                  </a:lnTo>
                  <a:lnTo>
                    <a:pt x="312" y="966"/>
                  </a:lnTo>
                  <a:lnTo>
                    <a:pt x="324" y="936"/>
                  </a:lnTo>
                  <a:lnTo>
                    <a:pt x="330" y="930"/>
                  </a:lnTo>
                  <a:lnTo>
                    <a:pt x="330" y="924"/>
                  </a:lnTo>
                  <a:lnTo>
                    <a:pt x="336" y="918"/>
                  </a:lnTo>
                  <a:lnTo>
                    <a:pt x="342" y="912"/>
                  </a:lnTo>
                  <a:lnTo>
                    <a:pt x="342" y="906"/>
                  </a:lnTo>
                  <a:lnTo>
                    <a:pt x="342" y="900"/>
                  </a:lnTo>
                  <a:lnTo>
                    <a:pt x="342" y="894"/>
                  </a:lnTo>
                  <a:lnTo>
                    <a:pt x="342" y="888"/>
                  </a:lnTo>
                  <a:lnTo>
                    <a:pt x="336" y="876"/>
                  </a:lnTo>
                  <a:lnTo>
                    <a:pt x="342" y="870"/>
                  </a:lnTo>
                  <a:lnTo>
                    <a:pt x="336" y="864"/>
                  </a:lnTo>
                  <a:lnTo>
                    <a:pt x="336" y="858"/>
                  </a:lnTo>
                  <a:lnTo>
                    <a:pt x="330" y="852"/>
                  </a:lnTo>
                  <a:lnTo>
                    <a:pt x="318" y="852"/>
                  </a:lnTo>
                  <a:lnTo>
                    <a:pt x="306" y="858"/>
                  </a:lnTo>
                  <a:lnTo>
                    <a:pt x="264" y="864"/>
                  </a:lnTo>
                  <a:lnTo>
                    <a:pt x="234" y="858"/>
                  </a:lnTo>
                  <a:lnTo>
                    <a:pt x="228" y="858"/>
                  </a:lnTo>
                  <a:lnTo>
                    <a:pt x="198" y="858"/>
                  </a:lnTo>
                  <a:lnTo>
                    <a:pt x="174" y="858"/>
                  </a:lnTo>
                  <a:lnTo>
                    <a:pt x="168" y="852"/>
                  </a:lnTo>
                  <a:lnTo>
                    <a:pt x="168" y="840"/>
                  </a:lnTo>
                  <a:lnTo>
                    <a:pt x="168" y="834"/>
                  </a:lnTo>
                  <a:lnTo>
                    <a:pt x="168" y="822"/>
                  </a:lnTo>
                  <a:lnTo>
                    <a:pt x="162" y="822"/>
                  </a:lnTo>
                  <a:lnTo>
                    <a:pt x="150" y="816"/>
                  </a:lnTo>
                  <a:lnTo>
                    <a:pt x="144" y="810"/>
                  </a:lnTo>
                  <a:lnTo>
                    <a:pt x="144" y="804"/>
                  </a:lnTo>
                  <a:lnTo>
                    <a:pt x="144" y="786"/>
                  </a:lnTo>
                  <a:lnTo>
                    <a:pt x="144" y="780"/>
                  </a:lnTo>
                  <a:lnTo>
                    <a:pt x="144" y="774"/>
                  </a:lnTo>
                  <a:lnTo>
                    <a:pt x="132" y="756"/>
                  </a:lnTo>
                  <a:lnTo>
                    <a:pt x="120" y="756"/>
                  </a:lnTo>
                  <a:lnTo>
                    <a:pt x="84" y="750"/>
                  </a:lnTo>
                  <a:lnTo>
                    <a:pt x="78" y="744"/>
                  </a:lnTo>
                  <a:lnTo>
                    <a:pt x="60" y="744"/>
                  </a:lnTo>
                  <a:lnTo>
                    <a:pt x="54" y="726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66" y="720"/>
                  </a:lnTo>
                  <a:lnTo>
                    <a:pt x="66" y="714"/>
                  </a:lnTo>
                  <a:lnTo>
                    <a:pt x="72" y="714"/>
                  </a:lnTo>
                  <a:lnTo>
                    <a:pt x="72" y="708"/>
                  </a:lnTo>
                  <a:lnTo>
                    <a:pt x="78" y="702"/>
                  </a:lnTo>
                  <a:lnTo>
                    <a:pt x="78" y="696"/>
                  </a:lnTo>
                  <a:lnTo>
                    <a:pt x="78" y="690"/>
                  </a:lnTo>
                  <a:lnTo>
                    <a:pt x="84" y="678"/>
                  </a:lnTo>
                  <a:lnTo>
                    <a:pt x="90" y="666"/>
                  </a:lnTo>
                  <a:lnTo>
                    <a:pt x="90" y="642"/>
                  </a:lnTo>
                  <a:lnTo>
                    <a:pt x="84" y="648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66" y="642"/>
                  </a:lnTo>
                  <a:lnTo>
                    <a:pt x="60" y="642"/>
                  </a:lnTo>
                  <a:lnTo>
                    <a:pt x="54" y="636"/>
                  </a:lnTo>
                  <a:lnTo>
                    <a:pt x="30" y="570"/>
                  </a:lnTo>
                  <a:lnTo>
                    <a:pt x="24" y="564"/>
                  </a:lnTo>
                  <a:lnTo>
                    <a:pt x="18" y="570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6"/>
                  </a:lnTo>
                  <a:lnTo>
                    <a:pt x="6" y="540"/>
                  </a:lnTo>
                  <a:lnTo>
                    <a:pt x="0" y="522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2" y="480"/>
                  </a:lnTo>
                  <a:lnTo>
                    <a:pt x="6" y="480"/>
                  </a:lnTo>
                  <a:lnTo>
                    <a:pt x="0" y="474"/>
                  </a:lnTo>
                  <a:lnTo>
                    <a:pt x="0" y="450"/>
                  </a:lnTo>
                  <a:lnTo>
                    <a:pt x="6" y="450"/>
                  </a:lnTo>
                  <a:lnTo>
                    <a:pt x="12" y="450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32"/>
                  </a:lnTo>
                  <a:lnTo>
                    <a:pt x="30" y="426"/>
                  </a:lnTo>
                  <a:lnTo>
                    <a:pt x="36" y="402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2" y="366"/>
                  </a:lnTo>
                  <a:lnTo>
                    <a:pt x="48" y="360"/>
                  </a:lnTo>
                  <a:lnTo>
                    <a:pt x="48" y="342"/>
                  </a:lnTo>
                  <a:lnTo>
                    <a:pt x="42" y="330"/>
                  </a:lnTo>
                  <a:lnTo>
                    <a:pt x="36" y="324"/>
                  </a:lnTo>
                  <a:lnTo>
                    <a:pt x="42" y="306"/>
                  </a:lnTo>
                  <a:lnTo>
                    <a:pt x="42" y="270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48" y="258"/>
                  </a:lnTo>
                  <a:lnTo>
                    <a:pt x="72" y="252"/>
                  </a:lnTo>
                  <a:lnTo>
                    <a:pt x="66" y="204"/>
                  </a:lnTo>
                  <a:lnTo>
                    <a:pt x="60" y="198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8" y="13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84" y="96"/>
                  </a:lnTo>
                  <a:lnTo>
                    <a:pt x="90" y="84"/>
                  </a:lnTo>
                  <a:lnTo>
                    <a:pt x="108" y="72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20" y="60"/>
                  </a:lnTo>
                  <a:lnTo>
                    <a:pt x="120" y="54"/>
                  </a:lnTo>
                  <a:lnTo>
                    <a:pt x="120" y="48"/>
                  </a:lnTo>
                  <a:lnTo>
                    <a:pt x="126" y="48"/>
                  </a:lnTo>
                  <a:lnTo>
                    <a:pt x="132" y="42"/>
                  </a:lnTo>
                  <a:lnTo>
                    <a:pt x="132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240" y="18"/>
                  </a:lnTo>
                  <a:lnTo>
                    <a:pt x="246" y="42"/>
                  </a:lnTo>
                  <a:lnTo>
                    <a:pt x="240" y="72"/>
                  </a:lnTo>
                  <a:lnTo>
                    <a:pt x="246" y="78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8" y="108"/>
                  </a:lnTo>
                  <a:lnTo>
                    <a:pt x="276" y="114"/>
                  </a:lnTo>
                  <a:lnTo>
                    <a:pt x="294" y="150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82" y="186"/>
                  </a:lnTo>
                  <a:lnTo>
                    <a:pt x="282" y="192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76" y="216"/>
                  </a:lnTo>
                  <a:lnTo>
                    <a:pt x="288" y="240"/>
                  </a:lnTo>
                  <a:lnTo>
                    <a:pt x="312" y="228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66" y="228"/>
                  </a:lnTo>
                  <a:lnTo>
                    <a:pt x="372" y="228"/>
                  </a:lnTo>
                  <a:lnTo>
                    <a:pt x="372" y="222"/>
                  </a:lnTo>
                  <a:lnTo>
                    <a:pt x="378" y="222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6" y="222"/>
                  </a:lnTo>
                  <a:lnTo>
                    <a:pt x="402" y="222"/>
                  </a:lnTo>
                  <a:lnTo>
                    <a:pt x="402" y="228"/>
                  </a:lnTo>
                  <a:lnTo>
                    <a:pt x="408" y="228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26" y="216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68" y="258"/>
                  </a:lnTo>
                  <a:lnTo>
                    <a:pt x="462" y="264"/>
                  </a:lnTo>
                  <a:lnTo>
                    <a:pt x="468" y="264"/>
                  </a:lnTo>
                  <a:lnTo>
                    <a:pt x="468" y="270"/>
                  </a:lnTo>
                  <a:lnTo>
                    <a:pt x="474" y="270"/>
                  </a:lnTo>
                  <a:lnTo>
                    <a:pt x="480" y="276"/>
                  </a:lnTo>
                  <a:lnTo>
                    <a:pt x="474" y="282"/>
                  </a:lnTo>
                  <a:lnTo>
                    <a:pt x="474" y="288"/>
                  </a:lnTo>
                  <a:lnTo>
                    <a:pt x="462" y="294"/>
                  </a:lnTo>
                  <a:lnTo>
                    <a:pt x="468" y="324"/>
                  </a:lnTo>
                  <a:lnTo>
                    <a:pt x="462" y="336"/>
                  </a:lnTo>
                  <a:lnTo>
                    <a:pt x="456" y="354"/>
                  </a:lnTo>
                  <a:lnTo>
                    <a:pt x="432" y="390"/>
                  </a:lnTo>
                  <a:lnTo>
                    <a:pt x="420" y="390"/>
                  </a:lnTo>
                  <a:lnTo>
                    <a:pt x="402" y="390"/>
                  </a:lnTo>
                  <a:lnTo>
                    <a:pt x="396" y="396"/>
                  </a:lnTo>
                  <a:lnTo>
                    <a:pt x="390" y="396"/>
                  </a:lnTo>
                  <a:lnTo>
                    <a:pt x="390" y="402"/>
                  </a:lnTo>
                  <a:lnTo>
                    <a:pt x="384" y="402"/>
                  </a:lnTo>
                  <a:lnTo>
                    <a:pt x="408" y="432"/>
                  </a:lnTo>
                  <a:lnTo>
                    <a:pt x="432" y="438"/>
                  </a:lnTo>
                  <a:lnTo>
                    <a:pt x="456" y="432"/>
                  </a:lnTo>
                  <a:lnTo>
                    <a:pt x="468" y="426"/>
                  </a:lnTo>
                  <a:lnTo>
                    <a:pt x="468" y="444"/>
                  </a:lnTo>
                  <a:lnTo>
                    <a:pt x="468" y="450"/>
                  </a:lnTo>
                  <a:lnTo>
                    <a:pt x="468" y="474"/>
                  </a:lnTo>
                  <a:lnTo>
                    <a:pt x="486" y="480"/>
                  </a:lnTo>
                  <a:lnTo>
                    <a:pt x="486" y="486"/>
                  </a:lnTo>
                  <a:lnTo>
                    <a:pt x="492" y="498"/>
                  </a:lnTo>
                  <a:lnTo>
                    <a:pt x="492" y="504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504" y="516"/>
                  </a:lnTo>
                  <a:lnTo>
                    <a:pt x="510" y="516"/>
                  </a:lnTo>
                  <a:lnTo>
                    <a:pt x="522" y="528"/>
                  </a:lnTo>
                  <a:lnTo>
                    <a:pt x="546" y="540"/>
                  </a:lnTo>
                  <a:lnTo>
                    <a:pt x="552" y="546"/>
                  </a:lnTo>
                  <a:lnTo>
                    <a:pt x="570" y="552"/>
                  </a:lnTo>
                  <a:lnTo>
                    <a:pt x="594" y="552"/>
                  </a:lnTo>
                  <a:lnTo>
                    <a:pt x="606" y="546"/>
                  </a:lnTo>
                  <a:lnTo>
                    <a:pt x="612" y="540"/>
                  </a:lnTo>
                  <a:lnTo>
                    <a:pt x="630" y="540"/>
                  </a:lnTo>
                  <a:lnTo>
                    <a:pt x="630" y="552"/>
                  </a:lnTo>
                  <a:lnTo>
                    <a:pt x="654" y="552"/>
                  </a:lnTo>
                  <a:lnTo>
                    <a:pt x="702" y="558"/>
                  </a:lnTo>
                  <a:lnTo>
                    <a:pt x="762" y="546"/>
                  </a:lnTo>
                  <a:lnTo>
                    <a:pt x="780" y="546"/>
                  </a:lnTo>
                  <a:lnTo>
                    <a:pt x="780" y="528"/>
                  </a:lnTo>
                  <a:lnTo>
                    <a:pt x="798" y="522"/>
                  </a:lnTo>
                  <a:lnTo>
                    <a:pt x="810" y="510"/>
                  </a:lnTo>
                  <a:lnTo>
                    <a:pt x="810" y="504"/>
                  </a:lnTo>
                  <a:lnTo>
                    <a:pt x="828" y="492"/>
                  </a:lnTo>
                  <a:lnTo>
                    <a:pt x="888" y="486"/>
                  </a:lnTo>
                  <a:lnTo>
                    <a:pt x="912" y="486"/>
                  </a:lnTo>
                  <a:lnTo>
                    <a:pt x="930" y="474"/>
                  </a:lnTo>
                  <a:lnTo>
                    <a:pt x="918" y="456"/>
                  </a:lnTo>
                  <a:lnTo>
                    <a:pt x="912" y="450"/>
                  </a:lnTo>
                  <a:lnTo>
                    <a:pt x="918" y="390"/>
                  </a:lnTo>
                  <a:lnTo>
                    <a:pt x="954" y="396"/>
                  </a:lnTo>
                  <a:lnTo>
                    <a:pt x="984" y="402"/>
                  </a:lnTo>
                  <a:lnTo>
                    <a:pt x="1014" y="420"/>
                  </a:lnTo>
                  <a:lnTo>
                    <a:pt x="1026" y="432"/>
                  </a:lnTo>
                  <a:lnTo>
                    <a:pt x="1044" y="450"/>
                  </a:lnTo>
                  <a:lnTo>
                    <a:pt x="1062" y="462"/>
                  </a:lnTo>
                  <a:lnTo>
                    <a:pt x="1098" y="468"/>
                  </a:lnTo>
                  <a:lnTo>
                    <a:pt x="1128" y="480"/>
                  </a:lnTo>
                  <a:lnTo>
                    <a:pt x="1152" y="486"/>
                  </a:lnTo>
                  <a:lnTo>
                    <a:pt x="1188" y="498"/>
                  </a:lnTo>
                  <a:lnTo>
                    <a:pt x="1212" y="504"/>
                  </a:lnTo>
                  <a:lnTo>
                    <a:pt x="1224" y="528"/>
                  </a:lnTo>
                  <a:lnTo>
                    <a:pt x="1236" y="540"/>
                  </a:lnTo>
                  <a:lnTo>
                    <a:pt x="1254" y="540"/>
                  </a:lnTo>
                  <a:lnTo>
                    <a:pt x="1254" y="546"/>
                  </a:lnTo>
                  <a:lnTo>
                    <a:pt x="1260" y="552"/>
                  </a:lnTo>
                  <a:lnTo>
                    <a:pt x="1266" y="552"/>
                  </a:lnTo>
                  <a:lnTo>
                    <a:pt x="1266" y="558"/>
                  </a:lnTo>
                  <a:lnTo>
                    <a:pt x="1272" y="564"/>
                  </a:lnTo>
                  <a:lnTo>
                    <a:pt x="1278" y="564"/>
                  </a:lnTo>
                  <a:lnTo>
                    <a:pt x="1278" y="570"/>
                  </a:lnTo>
                  <a:lnTo>
                    <a:pt x="1284" y="576"/>
                  </a:lnTo>
                  <a:lnTo>
                    <a:pt x="1290" y="582"/>
                  </a:lnTo>
                  <a:lnTo>
                    <a:pt x="1296" y="582"/>
                  </a:lnTo>
                  <a:lnTo>
                    <a:pt x="1296" y="588"/>
                  </a:lnTo>
                  <a:lnTo>
                    <a:pt x="1308" y="594"/>
                  </a:lnTo>
                  <a:lnTo>
                    <a:pt x="1308" y="600"/>
                  </a:lnTo>
                  <a:lnTo>
                    <a:pt x="1308" y="606"/>
                  </a:lnTo>
                  <a:lnTo>
                    <a:pt x="1314" y="612"/>
                  </a:lnTo>
                  <a:lnTo>
                    <a:pt x="1308" y="618"/>
                  </a:lnTo>
                  <a:lnTo>
                    <a:pt x="1314" y="618"/>
                  </a:lnTo>
                  <a:lnTo>
                    <a:pt x="1314" y="624"/>
                  </a:lnTo>
                  <a:lnTo>
                    <a:pt x="1308" y="624"/>
                  </a:lnTo>
                  <a:lnTo>
                    <a:pt x="1302" y="630"/>
                  </a:lnTo>
                  <a:lnTo>
                    <a:pt x="1302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296" y="654"/>
                  </a:lnTo>
                  <a:lnTo>
                    <a:pt x="1302" y="660"/>
                  </a:lnTo>
                  <a:lnTo>
                    <a:pt x="1302" y="666"/>
                  </a:lnTo>
                  <a:lnTo>
                    <a:pt x="1308" y="666"/>
                  </a:lnTo>
                  <a:lnTo>
                    <a:pt x="1308" y="672"/>
                  </a:lnTo>
                  <a:lnTo>
                    <a:pt x="1308" y="678"/>
                  </a:lnTo>
                  <a:lnTo>
                    <a:pt x="1308" y="684"/>
                  </a:lnTo>
                  <a:lnTo>
                    <a:pt x="1308" y="690"/>
                  </a:lnTo>
                  <a:lnTo>
                    <a:pt x="1302" y="696"/>
                  </a:lnTo>
                  <a:lnTo>
                    <a:pt x="1302" y="702"/>
                  </a:lnTo>
                  <a:lnTo>
                    <a:pt x="1308" y="702"/>
                  </a:lnTo>
                  <a:lnTo>
                    <a:pt x="1302" y="708"/>
                  </a:lnTo>
                  <a:lnTo>
                    <a:pt x="1308" y="714"/>
                  </a:lnTo>
                  <a:lnTo>
                    <a:pt x="1308" y="720"/>
                  </a:lnTo>
                  <a:lnTo>
                    <a:pt x="1308" y="726"/>
                  </a:lnTo>
                  <a:lnTo>
                    <a:pt x="1308" y="732"/>
                  </a:lnTo>
                  <a:lnTo>
                    <a:pt x="1314" y="732"/>
                  </a:lnTo>
                  <a:lnTo>
                    <a:pt x="1314" y="738"/>
                  </a:lnTo>
                  <a:lnTo>
                    <a:pt x="1320" y="744"/>
                  </a:lnTo>
                  <a:lnTo>
                    <a:pt x="1326" y="750"/>
                  </a:lnTo>
                  <a:lnTo>
                    <a:pt x="1320" y="750"/>
                  </a:lnTo>
                  <a:lnTo>
                    <a:pt x="1320" y="756"/>
                  </a:lnTo>
                  <a:lnTo>
                    <a:pt x="1314" y="756"/>
                  </a:lnTo>
                  <a:lnTo>
                    <a:pt x="1314" y="762"/>
                  </a:lnTo>
                  <a:lnTo>
                    <a:pt x="1314" y="768"/>
                  </a:lnTo>
                  <a:lnTo>
                    <a:pt x="1320" y="768"/>
                  </a:lnTo>
                  <a:lnTo>
                    <a:pt x="1320" y="762"/>
                  </a:lnTo>
                  <a:lnTo>
                    <a:pt x="1320" y="768"/>
                  </a:lnTo>
                  <a:lnTo>
                    <a:pt x="1326" y="774"/>
                  </a:lnTo>
                  <a:lnTo>
                    <a:pt x="1332" y="774"/>
                  </a:lnTo>
                  <a:lnTo>
                    <a:pt x="1332" y="780"/>
                  </a:lnTo>
                  <a:lnTo>
                    <a:pt x="1332" y="786"/>
                  </a:lnTo>
                  <a:lnTo>
                    <a:pt x="1332" y="792"/>
                  </a:lnTo>
                  <a:lnTo>
                    <a:pt x="1338" y="786"/>
                  </a:lnTo>
                  <a:lnTo>
                    <a:pt x="1338" y="792"/>
                  </a:lnTo>
                  <a:lnTo>
                    <a:pt x="1344" y="798"/>
                  </a:lnTo>
                  <a:lnTo>
                    <a:pt x="1344" y="804"/>
                  </a:lnTo>
                  <a:lnTo>
                    <a:pt x="1344" y="810"/>
                  </a:lnTo>
                  <a:lnTo>
                    <a:pt x="1344" y="816"/>
                  </a:lnTo>
                  <a:lnTo>
                    <a:pt x="1344" y="822"/>
                  </a:lnTo>
                  <a:lnTo>
                    <a:pt x="1338" y="828"/>
                  </a:lnTo>
                  <a:lnTo>
                    <a:pt x="1332" y="828"/>
                  </a:lnTo>
                  <a:lnTo>
                    <a:pt x="1338" y="840"/>
                  </a:lnTo>
                  <a:lnTo>
                    <a:pt x="1344" y="846"/>
                  </a:lnTo>
                  <a:lnTo>
                    <a:pt x="1344" y="852"/>
                  </a:lnTo>
                  <a:lnTo>
                    <a:pt x="1350" y="852"/>
                  </a:lnTo>
                  <a:lnTo>
                    <a:pt x="1356" y="858"/>
                  </a:lnTo>
                  <a:lnTo>
                    <a:pt x="1362" y="858"/>
                  </a:lnTo>
                  <a:lnTo>
                    <a:pt x="1362" y="870"/>
                  </a:lnTo>
                  <a:lnTo>
                    <a:pt x="1356" y="870"/>
                  </a:lnTo>
                  <a:lnTo>
                    <a:pt x="1356" y="876"/>
                  </a:lnTo>
                  <a:lnTo>
                    <a:pt x="1350" y="876"/>
                  </a:lnTo>
                  <a:lnTo>
                    <a:pt x="1344" y="876"/>
                  </a:lnTo>
                  <a:lnTo>
                    <a:pt x="1344" y="882"/>
                  </a:lnTo>
                  <a:lnTo>
                    <a:pt x="1338" y="882"/>
                  </a:lnTo>
                  <a:lnTo>
                    <a:pt x="1338" y="888"/>
                  </a:lnTo>
                  <a:lnTo>
                    <a:pt x="1338" y="894"/>
                  </a:lnTo>
                  <a:lnTo>
                    <a:pt x="1344" y="900"/>
                  </a:lnTo>
                  <a:lnTo>
                    <a:pt x="1344" y="906"/>
                  </a:lnTo>
                  <a:lnTo>
                    <a:pt x="1338" y="906"/>
                  </a:lnTo>
                  <a:lnTo>
                    <a:pt x="1332" y="912"/>
                  </a:lnTo>
                  <a:lnTo>
                    <a:pt x="1332" y="918"/>
                  </a:lnTo>
                  <a:lnTo>
                    <a:pt x="1326" y="918"/>
                  </a:lnTo>
                  <a:lnTo>
                    <a:pt x="1332" y="924"/>
                  </a:lnTo>
                  <a:lnTo>
                    <a:pt x="1284" y="942"/>
                  </a:lnTo>
                  <a:lnTo>
                    <a:pt x="1236" y="948"/>
                  </a:lnTo>
                  <a:lnTo>
                    <a:pt x="1194" y="966"/>
                  </a:lnTo>
                  <a:lnTo>
                    <a:pt x="1170" y="1002"/>
                  </a:lnTo>
                  <a:lnTo>
                    <a:pt x="1134" y="1020"/>
                  </a:lnTo>
                  <a:lnTo>
                    <a:pt x="1116" y="1032"/>
                  </a:lnTo>
                  <a:lnTo>
                    <a:pt x="1098" y="1050"/>
                  </a:lnTo>
                  <a:lnTo>
                    <a:pt x="1074" y="1074"/>
                  </a:lnTo>
                  <a:lnTo>
                    <a:pt x="1008" y="1134"/>
                  </a:lnTo>
                  <a:lnTo>
                    <a:pt x="990" y="1158"/>
                  </a:lnTo>
                  <a:lnTo>
                    <a:pt x="978" y="1182"/>
                  </a:lnTo>
                  <a:lnTo>
                    <a:pt x="960" y="1194"/>
                  </a:lnTo>
                  <a:lnTo>
                    <a:pt x="942" y="1212"/>
                  </a:lnTo>
                  <a:lnTo>
                    <a:pt x="912" y="1242"/>
                  </a:lnTo>
                  <a:lnTo>
                    <a:pt x="888" y="1254"/>
                  </a:lnTo>
                  <a:lnTo>
                    <a:pt x="864" y="1278"/>
                  </a:lnTo>
                  <a:lnTo>
                    <a:pt x="828" y="1296"/>
                  </a:lnTo>
                  <a:lnTo>
                    <a:pt x="774" y="1308"/>
                  </a:lnTo>
                  <a:lnTo>
                    <a:pt x="732" y="1302"/>
                  </a:lnTo>
                  <a:lnTo>
                    <a:pt x="702" y="1284"/>
                  </a:lnTo>
                  <a:lnTo>
                    <a:pt x="684" y="127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1" name="Freeform 16">
              <a:extLst>
                <a:ext uri="{FF2B5EF4-FFF2-40B4-BE49-F238E27FC236}">
                  <a16:creationId xmlns:a16="http://schemas.microsoft.com/office/drawing/2014/main" id="{D8D8591A-D9DB-4301-BEBD-D8F5A26DA9E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3001" y="2929369"/>
              <a:ext cx="914601" cy="1037736"/>
            </a:xfrm>
            <a:custGeom>
              <a:avLst/>
              <a:gdLst>
                <a:gd name="T0" fmla="*/ 144 w 1722"/>
                <a:gd name="T1" fmla="*/ 131 h 1956"/>
                <a:gd name="T2" fmla="*/ 142 w 1722"/>
                <a:gd name="T3" fmla="*/ 139 h 1956"/>
                <a:gd name="T4" fmla="*/ 137 w 1722"/>
                <a:gd name="T5" fmla="*/ 143 h 1956"/>
                <a:gd name="T6" fmla="*/ 133 w 1722"/>
                <a:gd name="T7" fmla="*/ 147 h 1956"/>
                <a:gd name="T8" fmla="*/ 132 w 1722"/>
                <a:gd name="T9" fmla="*/ 152 h 1956"/>
                <a:gd name="T10" fmla="*/ 130 w 1722"/>
                <a:gd name="T11" fmla="*/ 159 h 1956"/>
                <a:gd name="T12" fmla="*/ 127 w 1722"/>
                <a:gd name="T13" fmla="*/ 164 h 1956"/>
                <a:gd name="T14" fmla="*/ 123 w 1722"/>
                <a:gd name="T15" fmla="*/ 168 h 1956"/>
                <a:gd name="T16" fmla="*/ 117 w 1722"/>
                <a:gd name="T17" fmla="*/ 169 h 1956"/>
                <a:gd name="T18" fmla="*/ 110 w 1722"/>
                <a:gd name="T19" fmla="*/ 168 h 1956"/>
                <a:gd name="T20" fmla="*/ 104 w 1722"/>
                <a:gd name="T21" fmla="*/ 166 h 1956"/>
                <a:gd name="T22" fmla="*/ 101 w 1722"/>
                <a:gd name="T23" fmla="*/ 159 h 1956"/>
                <a:gd name="T24" fmla="*/ 95 w 1722"/>
                <a:gd name="T25" fmla="*/ 156 h 1956"/>
                <a:gd name="T26" fmla="*/ 89 w 1722"/>
                <a:gd name="T27" fmla="*/ 151 h 1956"/>
                <a:gd name="T28" fmla="*/ 87 w 1722"/>
                <a:gd name="T29" fmla="*/ 144 h 1956"/>
                <a:gd name="T30" fmla="*/ 82 w 1722"/>
                <a:gd name="T31" fmla="*/ 141 h 1956"/>
                <a:gd name="T32" fmla="*/ 76 w 1722"/>
                <a:gd name="T33" fmla="*/ 134 h 1956"/>
                <a:gd name="T34" fmla="*/ 74 w 1722"/>
                <a:gd name="T35" fmla="*/ 143 h 1956"/>
                <a:gd name="T36" fmla="*/ 68 w 1722"/>
                <a:gd name="T37" fmla="*/ 147 h 1956"/>
                <a:gd name="T38" fmla="*/ 54 w 1722"/>
                <a:gd name="T39" fmla="*/ 144 h 1956"/>
                <a:gd name="T40" fmla="*/ 51 w 1722"/>
                <a:gd name="T41" fmla="*/ 142 h 1956"/>
                <a:gd name="T42" fmla="*/ 42 w 1722"/>
                <a:gd name="T43" fmla="*/ 151 h 1956"/>
                <a:gd name="T44" fmla="*/ 33 w 1722"/>
                <a:gd name="T45" fmla="*/ 154 h 1956"/>
                <a:gd name="T46" fmla="*/ 31 w 1722"/>
                <a:gd name="T47" fmla="*/ 159 h 1956"/>
                <a:gd name="T48" fmla="*/ 29 w 1722"/>
                <a:gd name="T49" fmla="*/ 166 h 1956"/>
                <a:gd name="T50" fmla="*/ 25 w 1722"/>
                <a:gd name="T51" fmla="*/ 169 h 1956"/>
                <a:gd name="T52" fmla="*/ 27 w 1722"/>
                <a:gd name="T53" fmla="*/ 154 h 1956"/>
                <a:gd name="T54" fmla="*/ 37 w 1722"/>
                <a:gd name="T55" fmla="*/ 133 h 1956"/>
                <a:gd name="T56" fmla="*/ 36 w 1722"/>
                <a:gd name="T57" fmla="*/ 109 h 1956"/>
                <a:gd name="T58" fmla="*/ 27 w 1722"/>
                <a:gd name="T59" fmla="*/ 101 h 1956"/>
                <a:gd name="T60" fmla="*/ 5 w 1722"/>
                <a:gd name="T61" fmla="*/ 98 h 1956"/>
                <a:gd name="T62" fmla="*/ 2 w 1722"/>
                <a:gd name="T63" fmla="*/ 93 h 1956"/>
                <a:gd name="T64" fmla="*/ 12 w 1722"/>
                <a:gd name="T65" fmla="*/ 82 h 1956"/>
                <a:gd name="T66" fmla="*/ 9 w 1722"/>
                <a:gd name="T67" fmla="*/ 74 h 1956"/>
                <a:gd name="T68" fmla="*/ 23 w 1722"/>
                <a:gd name="T69" fmla="*/ 72 h 1956"/>
                <a:gd name="T70" fmla="*/ 22 w 1722"/>
                <a:gd name="T71" fmla="*/ 67 h 1956"/>
                <a:gd name="T72" fmla="*/ 48 w 1722"/>
                <a:gd name="T73" fmla="*/ 57 h 1956"/>
                <a:gd name="T74" fmla="*/ 78 w 1722"/>
                <a:gd name="T75" fmla="*/ 34 h 1956"/>
                <a:gd name="T76" fmla="*/ 81 w 1722"/>
                <a:gd name="T77" fmla="*/ 31 h 1956"/>
                <a:gd name="T78" fmla="*/ 80 w 1722"/>
                <a:gd name="T79" fmla="*/ 26 h 1956"/>
                <a:gd name="T80" fmla="*/ 78 w 1722"/>
                <a:gd name="T81" fmla="*/ 21 h 1956"/>
                <a:gd name="T82" fmla="*/ 77 w 1722"/>
                <a:gd name="T83" fmla="*/ 18 h 1956"/>
                <a:gd name="T84" fmla="*/ 77 w 1722"/>
                <a:gd name="T85" fmla="*/ 12 h 1956"/>
                <a:gd name="T86" fmla="*/ 77 w 1722"/>
                <a:gd name="T87" fmla="*/ 7 h 1956"/>
                <a:gd name="T88" fmla="*/ 102 w 1722"/>
                <a:gd name="T89" fmla="*/ 2 h 1956"/>
                <a:gd name="T90" fmla="*/ 115 w 1722"/>
                <a:gd name="T91" fmla="*/ 3 h 1956"/>
                <a:gd name="T92" fmla="*/ 123 w 1722"/>
                <a:gd name="T93" fmla="*/ 3 h 1956"/>
                <a:gd name="T94" fmla="*/ 125 w 1722"/>
                <a:gd name="T95" fmla="*/ 9 h 1956"/>
                <a:gd name="T96" fmla="*/ 133 w 1722"/>
                <a:gd name="T97" fmla="*/ 13 h 1956"/>
                <a:gd name="T98" fmla="*/ 149 w 1722"/>
                <a:gd name="T99" fmla="*/ 37 h 1956"/>
                <a:gd name="T100" fmla="*/ 141 w 1722"/>
                <a:gd name="T101" fmla="*/ 57 h 1956"/>
                <a:gd name="T102" fmla="*/ 135 w 1722"/>
                <a:gd name="T103" fmla="*/ 63 h 1956"/>
                <a:gd name="T104" fmla="*/ 124 w 1722"/>
                <a:gd name="T105" fmla="*/ 77 h 1956"/>
                <a:gd name="T106" fmla="*/ 123 w 1722"/>
                <a:gd name="T107" fmla="*/ 96 h 1956"/>
                <a:gd name="T108" fmla="*/ 127 w 1722"/>
                <a:gd name="T109" fmla="*/ 97 h 1956"/>
                <a:gd name="T110" fmla="*/ 129 w 1722"/>
                <a:gd name="T111" fmla="*/ 92 h 1956"/>
                <a:gd name="T112" fmla="*/ 134 w 1722"/>
                <a:gd name="T113" fmla="*/ 94 h 1956"/>
                <a:gd name="T114" fmla="*/ 138 w 1722"/>
                <a:gd name="T115" fmla="*/ 99 h 1956"/>
                <a:gd name="T116" fmla="*/ 142 w 1722"/>
                <a:gd name="T117" fmla="*/ 104 h 1956"/>
                <a:gd name="T118" fmla="*/ 141 w 1722"/>
                <a:gd name="T119" fmla="*/ 115 h 19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722"/>
                <a:gd name="T181" fmla="*/ 0 h 1956"/>
                <a:gd name="T182" fmla="*/ 1722 w 1722"/>
                <a:gd name="T183" fmla="*/ 1956 h 19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722" h="1956">
                  <a:moveTo>
                    <a:pt x="1686" y="1404"/>
                  </a:moveTo>
                  <a:lnTo>
                    <a:pt x="1680" y="1416"/>
                  </a:lnTo>
                  <a:lnTo>
                    <a:pt x="1674" y="1422"/>
                  </a:lnTo>
                  <a:lnTo>
                    <a:pt x="1674" y="1428"/>
                  </a:lnTo>
                  <a:lnTo>
                    <a:pt x="1668" y="1428"/>
                  </a:lnTo>
                  <a:lnTo>
                    <a:pt x="1668" y="1434"/>
                  </a:lnTo>
                  <a:lnTo>
                    <a:pt x="1662" y="1446"/>
                  </a:lnTo>
                  <a:lnTo>
                    <a:pt x="1656" y="1464"/>
                  </a:lnTo>
                  <a:lnTo>
                    <a:pt x="1656" y="1476"/>
                  </a:lnTo>
                  <a:lnTo>
                    <a:pt x="1656" y="1488"/>
                  </a:lnTo>
                  <a:lnTo>
                    <a:pt x="1662" y="1500"/>
                  </a:lnTo>
                  <a:lnTo>
                    <a:pt x="1662" y="1506"/>
                  </a:lnTo>
                  <a:lnTo>
                    <a:pt x="1662" y="1524"/>
                  </a:lnTo>
                  <a:lnTo>
                    <a:pt x="1668" y="1542"/>
                  </a:lnTo>
                  <a:lnTo>
                    <a:pt x="1674" y="1560"/>
                  </a:lnTo>
                  <a:lnTo>
                    <a:pt x="1680" y="1578"/>
                  </a:lnTo>
                  <a:lnTo>
                    <a:pt x="1686" y="1578"/>
                  </a:lnTo>
                  <a:lnTo>
                    <a:pt x="1686" y="1584"/>
                  </a:lnTo>
                  <a:lnTo>
                    <a:pt x="1686" y="1590"/>
                  </a:lnTo>
                  <a:lnTo>
                    <a:pt x="1686" y="1596"/>
                  </a:lnTo>
                  <a:lnTo>
                    <a:pt x="1680" y="1596"/>
                  </a:lnTo>
                  <a:lnTo>
                    <a:pt x="1674" y="1602"/>
                  </a:lnTo>
                  <a:lnTo>
                    <a:pt x="1662" y="1602"/>
                  </a:lnTo>
                  <a:lnTo>
                    <a:pt x="1638" y="1596"/>
                  </a:lnTo>
                  <a:lnTo>
                    <a:pt x="1632" y="1596"/>
                  </a:lnTo>
                  <a:lnTo>
                    <a:pt x="1626" y="1602"/>
                  </a:lnTo>
                  <a:lnTo>
                    <a:pt x="1620" y="1602"/>
                  </a:lnTo>
                  <a:lnTo>
                    <a:pt x="1614" y="1602"/>
                  </a:lnTo>
                  <a:lnTo>
                    <a:pt x="1602" y="1602"/>
                  </a:lnTo>
                  <a:lnTo>
                    <a:pt x="1602" y="1608"/>
                  </a:lnTo>
                  <a:lnTo>
                    <a:pt x="1602" y="1620"/>
                  </a:lnTo>
                  <a:lnTo>
                    <a:pt x="1596" y="1620"/>
                  </a:lnTo>
                  <a:lnTo>
                    <a:pt x="1590" y="1620"/>
                  </a:lnTo>
                  <a:lnTo>
                    <a:pt x="1584" y="1626"/>
                  </a:lnTo>
                  <a:lnTo>
                    <a:pt x="1584" y="1632"/>
                  </a:lnTo>
                  <a:lnTo>
                    <a:pt x="1578" y="1644"/>
                  </a:lnTo>
                  <a:lnTo>
                    <a:pt x="1572" y="1644"/>
                  </a:lnTo>
                  <a:lnTo>
                    <a:pt x="1566" y="1644"/>
                  </a:lnTo>
                  <a:lnTo>
                    <a:pt x="1566" y="1650"/>
                  </a:lnTo>
                  <a:lnTo>
                    <a:pt x="1560" y="1650"/>
                  </a:lnTo>
                  <a:lnTo>
                    <a:pt x="1554" y="1650"/>
                  </a:lnTo>
                  <a:lnTo>
                    <a:pt x="1548" y="1650"/>
                  </a:lnTo>
                  <a:lnTo>
                    <a:pt x="1548" y="1656"/>
                  </a:lnTo>
                  <a:lnTo>
                    <a:pt x="1542" y="1668"/>
                  </a:lnTo>
                  <a:lnTo>
                    <a:pt x="1542" y="1674"/>
                  </a:lnTo>
                  <a:lnTo>
                    <a:pt x="1542" y="1692"/>
                  </a:lnTo>
                  <a:lnTo>
                    <a:pt x="1536" y="1698"/>
                  </a:lnTo>
                  <a:lnTo>
                    <a:pt x="1530" y="1698"/>
                  </a:lnTo>
                  <a:lnTo>
                    <a:pt x="1524" y="1698"/>
                  </a:lnTo>
                  <a:lnTo>
                    <a:pt x="1518" y="1704"/>
                  </a:lnTo>
                  <a:lnTo>
                    <a:pt x="1512" y="1710"/>
                  </a:lnTo>
                  <a:lnTo>
                    <a:pt x="1506" y="1722"/>
                  </a:lnTo>
                  <a:lnTo>
                    <a:pt x="1500" y="1728"/>
                  </a:lnTo>
                  <a:lnTo>
                    <a:pt x="1500" y="1734"/>
                  </a:lnTo>
                  <a:lnTo>
                    <a:pt x="1512" y="1734"/>
                  </a:lnTo>
                  <a:lnTo>
                    <a:pt x="1518" y="1740"/>
                  </a:lnTo>
                  <a:lnTo>
                    <a:pt x="1518" y="1746"/>
                  </a:lnTo>
                  <a:lnTo>
                    <a:pt x="1518" y="1752"/>
                  </a:lnTo>
                  <a:lnTo>
                    <a:pt x="1518" y="1758"/>
                  </a:lnTo>
                  <a:lnTo>
                    <a:pt x="1524" y="1758"/>
                  </a:lnTo>
                  <a:lnTo>
                    <a:pt x="1524" y="1764"/>
                  </a:lnTo>
                  <a:lnTo>
                    <a:pt x="1530" y="1770"/>
                  </a:lnTo>
                  <a:lnTo>
                    <a:pt x="1518" y="1770"/>
                  </a:lnTo>
                  <a:lnTo>
                    <a:pt x="1512" y="1782"/>
                  </a:lnTo>
                  <a:lnTo>
                    <a:pt x="1512" y="1788"/>
                  </a:lnTo>
                  <a:lnTo>
                    <a:pt x="1518" y="1788"/>
                  </a:lnTo>
                  <a:lnTo>
                    <a:pt x="1524" y="1800"/>
                  </a:lnTo>
                  <a:lnTo>
                    <a:pt x="1524" y="1806"/>
                  </a:lnTo>
                  <a:lnTo>
                    <a:pt x="1518" y="1812"/>
                  </a:lnTo>
                  <a:lnTo>
                    <a:pt x="1512" y="1818"/>
                  </a:lnTo>
                  <a:lnTo>
                    <a:pt x="1506" y="1818"/>
                  </a:lnTo>
                  <a:lnTo>
                    <a:pt x="1500" y="1824"/>
                  </a:lnTo>
                  <a:lnTo>
                    <a:pt x="1500" y="1836"/>
                  </a:lnTo>
                  <a:lnTo>
                    <a:pt x="1500" y="1842"/>
                  </a:lnTo>
                  <a:lnTo>
                    <a:pt x="1500" y="1848"/>
                  </a:lnTo>
                  <a:lnTo>
                    <a:pt x="1500" y="1854"/>
                  </a:lnTo>
                  <a:lnTo>
                    <a:pt x="1494" y="1860"/>
                  </a:lnTo>
                  <a:lnTo>
                    <a:pt x="1488" y="1860"/>
                  </a:lnTo>
                  <a:lnTo>
                    <a:pt x="1488" y="1866"/>
                  </a:lnTo>
                  <a:lnTo>
                    <a:pt x="1482" y="1872"/>
                  </a:lnTo>
                  <a:lnTo>
                    <a:pt x="1482" y="1878"/>
                  </a:lnTo>
                  <a:lnTo>
                    <a:pt x="1482" y="1884"/>
                  </a:lnTo>
                  <a:lnTo>
                    <a:pt x="1476" y="1890"/>
                  </a:lnTo>
                  <a:lnTo>
                    <a:pt x="1470" y="1890"/>
                  </a:lnTo>
                  <a:lnTo>
                    <a:pt x="1470" y="1896"/>
                  </a:lnTo>
                  <a:lnTo>
                    <a:pt x="1464" y="1896"/>
                  </a:lnTo>
                  <a:lnTo>
                    <a:pt x="1458" y="1896"/>
                  </a:lnTo>
                  <a:lnTo>
                    <a:pt x="1452" y="1896"/>
                  </a:lnTo>
                  <a:lnTo>
                    <a:pt x="1440" y="1890"/>
                  </a:lnTo>
                  <a:lnTo>
                    <a:pt x="1434" y="1896"/>
                  </a:lnTo>
                  <a:lnTo>
                    <a:pt x="1428" y="1896"/>
                  </a:lnTo>
                  <a:lnTo>
                    <a:pt x="1422" y="1896"/>
                  </a:lnTo>
                  <a:lnTo>
                    <a:pt x="1422" y="1902"/>
                  </a:lnTo>
                  <a:lnTo>
                    <a:pt x="1416" y="1902"/>
                  </a:lnTo>
                  <a:lnTo>
                    <a:pt x="1422" y="1914"/>
                  </a:lnTo>
                  <a:lnTo>
                    <a:pt x="1422" y="1932"/>
                  </a:lnTo>
                  <a:lnTo>
                    <a:pt x="1416" y="1938"/>
                  </a:lnTo>
                  <a:lnTo>
                    <a:pt x="1422" y="1938"/>
                  </a:lnTo>
                  <a:lnTo>
                    <a:pt x="1404" y="1938"/>
                  </a:lnTo>
                  <a:lnTo>
                    <a:pt x="1392" y="1944"/>
                  </a:lnTo>
                  <a:lnTo>
                    <a:pt x="1386" y="1944"/>
                  </a:lnTo>
                  <a:lnTo>
                    <a:pt x="1374" y="1944"/>
                  </a:lnTo>
                  <a:lnTo>
                    <a:pt x="1368" y="1950"/>
                  </a:lnTo>
                  <a:lnTo>
                    <a:pt x="1374" y="1956"/>
                  </a:lnTo>
                  <a:lnTo>
                    <a:pt x="1368" y="1956"/>
                  </a:lnTo>
                  <a:lnTo>
                    <a:pt x="1356" y="1956"/>
                  </a:lnTo>
                  <a:lnTo>
                    <a:pt x="1350" y="1956"/>
                  </a:lnTo>
                  <a:lnTo>
                    <a:pt x="1350" y="1950"/>
                  </a:lnTo>
                  <a:lnTo>
                    <a:pt x="1344" y="1944"/>
                  </a:lnTo>
                  <a:lnTo>
                    <a:pt x="1332" y="1938"/>
                  </a:lnTo>
                  <a:lnTo>
                    <a:pt x="1326" y="1938"/>
                  </a:lnTo>
                  <a:lnTo>
                    <a:pt x="1320" y="1938"/>
                  </a:lnTo>
                  <a:lnTo>
                    <a:pt x="1314" y="1944"/>
                  </a:lnTo>
                  <a:lnTo>
                    <a:pt x="1308" y="1944"/>
                  </a:lnTo>
                  <a:lnTo>
                    <a:pt x="1302" y="1944"/>
                  </a:lnTo>
                  <a:lnTo>
                    <a:pt x="1296" y="1938"/>
                  </a:lnTo>
                  <a:lnTo>
                    <a:pt x="1284" y="1938"/>
                  </a:lnTo>
                  <a:lnTo>
                    <a:pt x="1278" y="1938"/>
                  </a:lnTo>
                  <a:lnTo>
                    <a:pt x="1272" y="1938"/>
                  </a:lnTo>
                  <a:lnTo>
                    <a:pt x="1266" y="1932"/>
                  </a:lnTo>
                  <a:lnTo>
                    <a:pt x="1260" y="1932"/>
                  </a:lnTo>
                  <a:lnTo>
                    <a:pt x="1254" y="1920"/>
                  </a:lnTo>
                  <a:lnTo>
                    <a:pt x="1248" y="1920"/>
                  </a:lnTo>
                  <a:lnTo>
                    <a:pt x="1242" y="1920"/>
                  </a:lnTo>
                  <a:lnTo>
                    <a:pt x="1236" y="1926"/>
                  </a:lnTo>
                  <a:lnTo>
                    <a:pt x="1236" y="1932"/>
                  </a:lnTo>
                  <a:lnTo>
                    <a:pt x="1230" y="1932"/>
                  </a:lnTo>
                  <a:lnTo>
                    <a:pt x="1224" y="1932"/>
                  </a:lnTo>
                  <a:lnTo>
                    <a:pt x="1218" y="1938"/>
                  </a:lnTo>
                  <a:lnTo>
                    <a:pt x="1212" y="1932"/>
                  </a:lnTo>
                  <a:lnTo>
                    <a:pt x="1206" y="1926"/>
                  </a:lnTo>
                  <a:lnTo>
                    <a:pt x="1206" y="1908"/>
                  </a:lnTo>
                  <a:lnTo>
                    <a:pt x="1206" y="1884"/>
                  </a:lnTo>
                  <a:lnTo>
                    <a:pt x="1206" y="1866"/>
                  </a:lnTo>
                  <a:lnTo>
                    <a:pt x="1212" y="1848"/>
                  </a:lnTo>
                  <a:lnTo>
                    <a:pt x="1212" y="1842"/>
                  </a:lnTo>
                  <a:lnTo>
                    <a:pt x="1206" y="1836"/>
                  </a:lnTo>
                  <a:lnTo>
                    <a:pt x="1200" y="1830"/>
                  </a:lnTo>
                  <a:lnTo>
                    <a:pt x="1194" y="1824"/>
                  </a:lnTo>
                  <a:lnTo>
                    <a:pt x="1188" y="1824"/>
                  </a:lnTo>
                  <a:lnTo>
                    <a:pt x="1182" y="1824"/>
                  </a:lnTo>
                  <a:lnTo>
                    <a:pt x="1176" y="1824"/>
                  </a:lnTo>
                  <a:lnTo>
                    <a:pt x="1170" y="1818"/>
                  </a:lnTo>
                  <a:lnTo>
                    <a:pt x="1164" y="1830"/>
                  </a:lnTo>
                  <a:lnTo>
                    <a:pt x="1152" y="1836"/>
                  </a:lnTo>
                  <a:lnTo>
                    <a:pt x="1146" y="1842"/>
                  </a:lnTo>
                  <a:lnTo>
                    <a:pt x="1140" y="1842"/>
                  </a:lnTo>
                  <a:lnTo>
                    <a:pt x="1134" y="1842"/>
                  </a:lnTo>
                  <a:lnTo>
                    <a:pt x="1128" y="1842"/>
                  </a:lnTo>
                  <a:lnTo>
                    <a:pt x="1116" y="1836"/>
                  </a:lnTo>
                  <a:lnTo>
                    <a:pt x="1110" y="1842"/>
                  </a:lnTo>
                  <a:lnTo>
                    <a:pt x="1092" y="1830"/>
                  </a:lnTo>
                  <a:lnTo>
                    <a:pt x="1092" y="1824"/>
                  </a:lnTo>
                  <a:lnTo>
                    <a:pt x="1092" y="1806"/>
                  </a:lnTo>
                  <a:lnTo>
                    <a:pt x="1092" y="1800"/>
                  </a:lnTo>
                  <a:lnTo>
                    <a:pt x="1092" y="1794"/>
                  </a:lnTo>
                  <a:lnTo>
                    <a:pt x="1086" y="1788"/>
                  </a:lnTo>
                  <a:lnTo>
                    <a:pt x="1080" y="1794"/>
                  </a:lnTo>
                  <a:lnTo>
                    <a:pt x="1074" y="1788"/>
                  </a:lnTo>
                  <a:lnTo>
                    <a:pt x="1068" y="1770"/>
                  </a:lnTo>
                  <a:lnTo>
                    <a:pt x="1056" y="1764"/>
                  </a:lnTo>
                  <a:lnTo>
                    <a:pt x="1050" y="1764"/>
                  </a:lnTo>
                  <a:lnTo>
                    <a:pt x="1044" y="1764"/>
                  </a:lnTo>
                  <a:lnTo>
                    <a:pt x="1038" y="1758"/>
                  </a:lnTo>
                  <a:lnTo>
                    <a:pt x="1032" y="1752"/>
                  </a:lnTo>
                  <a:lnTo>
                    <a:pt x="1032" y="1746"/>
                  </a:lnTo>
                  <a:lnTo>
                    <a:pt x="1032" y="1740"/>
                  </a:lnTo>
                  <a:lnTo>
                    <a:pt x="1032" y="1734"/>
                  </a:lnTo>
                  <a:lnTo>
                    <a:pt x="1026" y="1734"/>
                  </a:lnTo>
                  <a:lnTo>
                    <a:pt x="1032" y="1728"/>
                  </a:lnTo>
                  <a:lnTo>
                    <a:pt x="1032" y="1722"/>
                  </a:lnTo>
                  <a:lnTo>
                    <a:pt x="1044" y="1686"/>
                  </a:lnTo>
                  <a:lnTo>
                    <a:pt x="1044" y="1680"/>
                  </a:lnTo>
                  <a:lnTo>
                    <a:pt x="1032" y="1674"/>
                  </a:lnTo>
                  <a:lnTo>
                    <a:pt x="1026" y="1674"/>
                  </a:lnTo>
                  <a:lnTo>
                    <a:pt x="1026" y="1668"/>
                  </a:lnTo>
                  <a:lnTo>
                    <a:pt x="1020" y="1662"/>
                  </a:lnTo>
                  <a:lnTo>
                    <a:pt x="1014" y="1668"/>
                  </a:lnTo>
                  <a:lnTo>
                    <a:pt x="1008" y="1662"/>
                  </a:lnTo>
                  <a:lnTo>
                    <a:pt x="1002" y="1662"/>
                  </a:lnTo>
                  <a:lnTo>
                    <a:pt x="1002" y="1668"/>
                  </a:lnTo>
                  <a:lnTo>
                    <a:pt x="996" y="1668"/>
                  </a:lnTo>
                  <a:lnTo>
                    <a:pt x="996" y="1662"/>
                  </a:lnTo>
                  <a:lnTo>
                    <a:pt x="984" y="1662"/>
                  </a:lnTo>
                  <a:lnTo>
                    <a:pt x="984" y="1656"/>
                  </a:lnTo>
                  <a:lnTo>
                    <a:pt x="978" y="1650"/>
                  </a:lnTo>
                  <a:lnTo>
                    <a:pt x="978" y="1644"/>
                  </a:lnTo>
                  <a:lnTo>
                    <a:pt x="966" y="1650"/>
                  </a:lnTo>
                  <a:lnTo>
                    <a:pt x="960" y="1638"/>
                  </a:lnTo>
                  <a:lnTo>
                    <a:pt x="954" y="1632"/>
                  </a:lnTo>
                  <a:lnTo>
                    <a:pt x="948" y="1632"/>
                  </a:lnTo>
                  <a:lnTo>
                    <a:pt x="942" y="1626"/>
                  </a:lnTo>
                  <a:lnTo>
                    <a:pt x="942" y="1614"/>
                  </a:lnTo>
                  <a:lnTo>
                    <a:pt x="930" y="1608"/>
                  </a:lnTo>
                  <a:lnTo>
                    <a:pt x="924" y="1614"/>
                  </a:lnTo>
                  <a:lnTo>
                    <a:pt x="912" y="1608"/>
                  </a:lnTo>
                  <a:lnTo>
                    <a:pt x="888" y="1590"/>
                  </a:lnTo>
                  <a:lnTo>
                    <a:pt x="894" y="1578"/>
                  </a:lnTo>
                  <a:lnTo>
                    <a:pt x="894" y="1572"/>
                  </a:lnTo>
                  <a:lnTo>
                    <a:pt x="894" y="1566"/>
                  </a:lnTo>
                  <a:lnTo>
                    <a:pt x="894" y="1548"/>
                  </a:lnTo>
                  <a:lnTo>
                    <a:pt x="888" y="1548"/>
                  </a:lnTo>
                  <a:lnTo>
                    <a:pt x="882" y="1542"/>
                  </a:lnTo>
                  <a:lnTo>
                    <a:pt x="876" y="1542"/>
                  </a:lnTo>
                  <a:lnTo>
                    <a:pt x="876" y="1536"/>
                  </a:lnTo>
                  <a:lnTo>
                    <a:pt x="870" y="1542"/>
                  </a:lnTo>
                  <a:lnTo>
                    <a:pt x="870" y="1554"/>
                  </a:lnTo>
                  <a:lnTo>
                    <a:pt x="870" y="1566"/>
                  </a:lnTo>
                  <a:lnTo>
                    <a:pt x="870" y="1578"/>
                  </a:lnTo>
                  <a:lnTo>
                    <a:pt x="870" y="1584"/>
                  </a:lnTo>
                  <a:lnTo>
                    <a:pt x="864" y="1584"/>
                  </a:lnTo>
                  <a:lnTo>
                    <a:pt x="870" y="1602"/>
                  </a:lnTo>
                  <a:lnTo>
                    <a:pt x="864" y="1608"/>
                  </a:lnTo>
                  <a:lnTo>
                    <a:pt x="870" y="1614"/>
                  </a:lnTo>
                  <a:lnTo>
                    <a:pt x="864" y="1644"/>
                  </a:lnTo>
                  <a:lnTo>
                    <a:pt x="858" y="1650"/>
                  </a:lnTo>
                  <a:lnTo>
                    <a:pt x="858" y="1656"/>
                  </a:lnTo>
                  <a:lnTo>
                    <a:pt x="852" y="1662"/>
                  </a:lnTo>
                  <a:lnTo>
                    <a:pt x="852" y="1680"/>
                  </a:lnTo>
                  <a:lnTo>
                    <a:pt x="846" y="1686"/>
                  </a:lnTo>
                  <a:lnTo>
                    <a:pt x="834" y="1692"/>
                  </a:lnTo>
                  <a:lnTo>
                    <a:pt x="828" y="1692"/>
                  </a:lnTo>
                  <a:lnTo>
                    <a:pt x="822" y="1698"/>
                  </a:lnTo>
                  <a:lnTo>
                    <a:pt x="822" y="1704"/>
                  </a:lnTo>
                  <a:lnTo>
                    <a:pt x="816" y="1704"/>
                  </a:lnTo>
                  <a:lnTo>
                    <a:pt x="804" y="1692"/>
                  </a:lnTo>
                  <a:lnTo>
                    <a:pt x="786" y="1698"/>
                  </a:lnTo>
                  <a:lnTo>
                    <a:pt x="780" y="1698"/>
                  </a:lnTo>
                  <a:lnTo>
                    <a:pt x="756" y="1698"/>
                  </a:lnTo>
                  <a:lnTo>
                    <a:pt x="744" y="1698"/>
                  </a:lnTo>
                  <a:lnTo>
                    <a:pt x="738" y="1698"/>
                  </a:lnTo>
                  <a:lnTo>
                    <a:pt x="732" y="1704"/>
                  </a:lnTo>
                  <a:lnTo>
                    <a:pt x="726" y="1704"/>
                  </a:lnTo>
                  <a:lnTo>
                    <a:pt x="678" y="1710"/>
                  </a:lnTo>
                  <a:lnTo>
                    <a:pt x="642" y="1710"/>
                  </a:lnTo>
                  <a:lnTo>
                    <a:pt x="618" y="1680"/>
                  </a:lnTo>
                  <a:lnTo>
                    <a:pt x="618" y="1674"/>
                  </a:lnTo>
                  <a:lnTo>
                    <a:pt x="618" y="1668"/>
                  </a:lnTo>
                  <a:lnTo>
                    <a:pt x="624" y="1662"/>
                  </a:lnTo>
                  <a:lnTo>
                    <a:pt x="624" y="1656"/>
                  </a:lnTo>
                  <a:lnTo>
                    <a:pt x="624" y="1650"/>
                  </a:lnTo>
                  <a:lnTo>
                    <a:pt x="618" y="1650"/>
                  </a:lnTo>
                  <a:lnTo>
                    <a:pt x="618" y="1644"/>
                  </a:lnTo>
                  <a:lnTo>
                    <a:pt x="618" y="1638"/>
                  </a:lnTo>
                  <a:lnTo>
                    <a:pt x="618" y="1632"/>
                  </a:lnTo>
                  <a:lnTo>
                    <a:pt x="618" y="1626"/>
                  </a:lnTo>
                  <a:lnTo>
                    <a:pt x="612" y="1626"/>
                  </a:lnTo>
                  <a:lnTo>
                    <a:pt x="612" y="1620"/>
                  </a:lnTo>
                  <a:lnTo>
                    <a:pt x="606" y="1614"/>
                  </a:lnTo>
                  <a:lnTo>
                    <a:pt x="594" y="1626"/>
                  </a:lnTo>
                  <a:lnTo>
                    <a:pt x="594" y="1632"/>
                  </a:lnTo>
                  <a:lnTo>
                    <a:pt x="588" y="1638"/>
                  </a:lnTo>
                  <a:lnTo>
                    <a:pt x="582" y="1638"/>
                  </a:lnTo>
                  <a:lnTo>
                    <a:pt x="564" y="1656"/>
                  </a:lnTo>
                  <a:lnTo>
                    <a:pt x="558" y="1662"/>
                  </a:lnTo>
                  <a:lnTo>
                    <a:pt x="552" y="1662"/>
                  </a:lnTo>
                  <a:lnTo>
                    <a:pt x="540" y="1674"/>
                  </a:lnTo>
                  <a:lnTo>
                    <a:pt x="534" y="1680"/>
                  </a:lnTo>
                  <a:lnTo>
                    <a:pt x="522" y="1692"/>
                  </a:lnTo>
                  <a:lnTo>
                    <a:pt x="516" y="1704"/>
                  </a:lnTo>
                  <a:lnTo>
                    <a:pt x="510" y="1704"/>
                  </a:lnTo>
                  <a:lnTo>
                    <a:pt x="504" y="1704"/>
                  </a:lnTo>
                  <a:lnTo>
                    <a:pt x="486" y="1722"/>
                  </a:lnTo>
                  <a:lnTo>
                    <a:pt x="480" y="1740"/>
                  </a:lnTo>
                  <a:lnTo>
                    <a:pt x="474" y="1740"/>
                  </a:lnTo>
                  <a:lnTo>
                    <a:pt x="468" y="1746"/>
                  </a:lnTo>
                  <a:lnTo>
                    <a:pt x="456" y="1758"/>
                  </a:lnTo>
                  <a:lnTo>
                    <a:pt x="444" y="1770"/>
                  </a:lnTo>
                  <a:lnTo>
                    <a:pt x="438" y="1782"/>
                  </a:lnTo>
                  <a:lnTo>
                    <a:pt x="426" y="1788"/>
                  </a:lnTo>
                  <a:lnTo>
                    <a:pt x="420" y="1788"/>
                  </a:lnTo>
                  <a:lnTo>
                    <a:pt x="420" y="1782"/>
                  </a:lnTo>
                  <a:lnTo>
                    <a:pt x="414" y="1782"/>
                  </a:lnTo>
                  <a:lnTo>
                    <a:pt x="390" y="1782"/>
                  </a:lnTo>
                  <a:lnTo>
                    <a:pt x="390" y="1776"/>
                  </a:lnTo>
                  <a:lnTo>
                    <a:pt x="384" y="1776"/>
                  </a:lnTo>
                  <a:lnTo>
                    <a:pt x="378" y="1776"/>
                  </a:lnTo>
                  <a:lnTo>
                    <a:pt x="372" y="1776"/>
                  </a:lnTo>
                  <a:lnTo>
                    <a:pt x="366" y="1770"/>
                  </a:lnTo>
                  <a:lnTo>
                    <a:pt x="366" y="1776"/>
                  </a:lnTo>
                  <a:lnTo>
                    <a:pt x="360" y="1788"/>
                  </a:lnTo>
                  <a:lnTo>
                    <a:pt x="360" y="1794"/>
                  </a:lnTo>
                  <a:lnTo>
                    <a:pt x="360" y="1800"/>
                  </a:lnTo>
                  <a:lnTo>
                    <a:pt x="354" y="1806"/>
                  </a:lnTo>
                  <a:lnTo>
                    <a:pt x="354" y="1812"/>
                  </a:lnTo>
                  <a:lnTo>
                    <a:pt x="354" y="1824"/>
                  </a:lnTo>
                  <a:lnTo>
                    <a:pt x="348" y="1830"/>
                  </a:lnTo>
                  <a:lnTo>
                    <a:pt x="354" y="1836"/>
                  </a:lnTo>
                  <a:lnTo>
                    <a:pt x="348" y="1842"/>
                  </a:lnTo>
                  <a:lnTo>
                    <a:pt x="354" y="1848"/>
                  </a:lnTo>
                  <a:lnTo>
                    <a:pt x="348" y="1854"/>
                  </a:lnTo>
                  <a:lnTo>
                    <a:pt x="354" y="1854"/>
                  </a:lnTo>
                  <a:lnTo>
                    <a:pt x="348" y="1860"/>
                  </a:lnTo>
                  <a:lnTo>
                    <a:pt x="348" y="1866"/>
                  </a:lnTo>
                  <a:lnTo>
                    <a:pt x="342" y="1866"/>
                  </a:lnTo>
                  <a:lnTo>
                    <a:pt x="342" y="1872"/>
                  </a:lnTo>
                  <a:lnTo>
                    <a:pt x="342" y="1878"/>
                  </a:lnTo>
                  <a:lnTo>
                    <a:pt x="342" y="1884"/>
                  </a:lnTo>
                  <a:lnTo>
                    <a:pt x="336" y="1896"/>
                  </a:lnTo>
                  <a:lnTo>
                    <a:pt x="330" y="1914"/>
                  </a:lnTo>
                  <a:lnTo>
                    <a:pt x="324" y="1920"/>
                  </a:lnTo>
                  <a:lnTo>
                    <a:pt x="324" y="1926"/>
                  </a:lnTo>
                  <a:lnTo>
                    <a:pt x="318" y="1944"/>
                  </a:lnTo>
                  <a:lnTo>
                    <a:pt x="318" y="1950"/>
                  </a:lnTo>
                  <a:lnTo>
                    <a:pt x="312" y="1956"/>
                  </a:lnTo>
                  <a:lnTo>
                    <a:pt x="312" y="1950"/>
                  </a:lnTo>
                  <a:lnTo>
                    <a:pt x="306" y="1950"/>
                  </a:lnTo>
                  <a:lnTo>
                    <a:pt x="306" y="1956"/>
                  </a:lnTo>
                  <a:lnTo>
                    <a:pt x="300" y="1950"/>
                  </a:lnTo>
                  <a:lnTo>
                    <a:pt x="294" y="1956"/>
                  </a:lnTo>
                  <a:lnTo>
                    <a:pt x="288" y="1950"/>
                  </a:lnTo>
                  <a:lnTo>
                    <a:pt x="288" y="1944"/>
                  </a:lnTo>
                  <a:lnTo>
                    <a:pt x="282" y="1938"/>
                  </a:lnTo>
                  <a:lnTo>
                    <a:pt x="282" y="1932"/>
                  </a:lnTo>
                  <a:lnTo>
                    <a:pt x="282" y="1890"/>
                  </a:lnTo>
                  <a:lnTo>
                    <a:pt x="288" y="1860"/>
                  </a:lnTo>
                  <a:lnTo>
                    <a:pt x="294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300" y="1818"/>
                  </a:lnTo>
                  <a:lnTo>
                    <a:pt x="306" y="1794"/>
                  </a:lnTo>
                  <a:lnTo>
                    <a:pt x="306" y="1788"/>
                  </a:lnTo>
                  <a:lnTo>
                    <a:pt x="306" y="1782"/>
                  </a:lnTo>
                  <a:lnTo>
                    <a:pt x="312" y="1776"/>
                  </a:lnTo>
                  <a:lnTo>
                    <a:pt x="306" y="1776"/>
                  </a:lnTo>
                  <a:lnTo>
                    <a:pt x="312" y="1770"/>
                  </a:lnTo>
                  <a:lnTo>
                    <a:pt x="312" y="1740"/>
                  </a:lnTo>
                  <a:lnTo>
                    <a:pt x="318" y="1722"/>
                  </a:lnTo>
                  <a:lnTo>
                    <a:pt x="312" y="1722"/>
                  </a:lnTo>
                  <a:lnTo>
                    <a:pt x="300" y="1716"/>
                  </a:lnTo>
                  <a:lnTo>
                    <a:pt x="306" y="1716"/>
                  </a:lnTo>
                  <a:lnTo>
                    <a:pt x="312" y="1710"/>
                  </a:lnTo>
                  <a:lnTo>
                    <a:pt x="324" y="1674"/>
                  </a:lnTo>
                  <a:lnTo>
                    <a:pt x="366" y="1590"/>
                  </a:lnTo>
                  <a:lnTo>
                    <a:pt x="408" y="1548"/>
                  </a:lnTo>
                  <a:lnTo>
                    <a:pt x="426" y="1530"/>
                  </a:lnTo>
                  <a:lnTo>
                    <a:pt x="432" y="1500"/>
                  </a:lnTo>
                  <a:lnTo>
                    <a:pt x="426" y="1494"/>
                  </a:lnTo>
                  <a:lnTo>
                    <a:pt x="426" y="1482"/>
                  </a:lnTo>
                  <a:lnTo>
                    <a:pt x="432" y="1464"/>
                  </a:lnTo>
                  <a:lnTo>
                    <a:pt x="438" y="1428"/>
                  </a:lnTo>
                  <a:lnTo>
                    <a:pt x="462" y="1398"/>
                  </a:lnTo>
                  <a:lnTo>
                    <a:pt x="468" y="1362"/>
                  </a:lnTo>
                  <a:lnTo>
                    <a:pt x="462" y="1314"/>
                  </a:lnTo>
                  <a:lnTo>
                    <a:pt x="444" y="1284"/>
                  </a:lnTo>
                  <a:lnTo>
                    <a:pt x="432" y="1260"/>
                  </a:lnTo>
                  <a:lnTo>
                    <a:pt x="426" y="1260"/>
                  </a:lnTo>
                  <a:lnTo>
                    <a:pt x="420" y="1254"/>
                  </a:lnTo>
                  <a:lnTo>
                    <a:pt x="408" y="1260"/>
                  </a:lnTo>
                  <a:lnTo>
                    <a:pt x="402" y="1260"/>
                  </a:lnTo>
                  <a:lnTo>
                    <a:pt x="402" y="1254"/>
                  </a:lnTo>
                  <a:lnTo>
                    <a:pt x="396" y="1254"/>
                  </a:lnTo>
                  <a:lnTo>
                    <a:pt x="396" y="1248"/>
                  </a:lnTo>
                  <a:lnTo>
                    <a:pt x="384" y="1248"/>
                  </a:lnTo>
                  <a:lnTo>
                    <a:pt x="372" y="1230"/>
                  </a:lnTo>
                  <a:lnTo>
                    <a:pt x="360" y="1212"/>
                  </a:lnTo>
                  <a:lnTo>
                    <a:pt x="348" y="1188"/>
                  </a:lnTo>
                  <a:lnTo>
                    <a:pt x="324" y="1170"/>
                  </a:lnTo>
                  <a:lnTo>
                    <a:pt x="318" y="1170"/>
                  </a:lnTo>
                  <a:lnTo>
                    <a:pt x="312" y="1158"/>
                  </a:lnTo>
                  <a:lnTo>
                    <a:pt x="312" y="1152"/>
                  </a:lnTo>
                  <a:lnTo>
                    <a:pt x="306" y="1146"/>
                  </a:lnTo>
                  <a:lnTo>
                    <a:pt x="270" y="1122"/>
                  </a:lnTo>
                  <a:lnTo>
                    <a:pt x="240" y="1122"/>
                  </a:lnTo>
                  <a:lnTo>
                    <a:pt x="180" y="1116"/>
                  </a:lnTo>
                  <a:lnTo>
                    <a:pt x="174" y="1122"/>
                  </a:lnTo>
                  <a:lnTo>
                    <a:pt x="174" y="1128"/>
                  </a:lnTo>
                  <a:lnTo>
                    <a:pt x="168" y="1122"/>
                  </a:lnTo>
                  <a:lnTo>
                    <a:pt x="162" y="1116"/>
                  </a:lnTo>
                  <a:lnTo>
                    <a:pt x="144" y="1122"/>
                  </a:lnTo>
                  <a:lnTo>
                    <a:pt x="120" y="1122"/>
                  </a:lnTo>
                  <a:lnTo>
                    <a:pt x="54" y="1134"/>
                  </a:lnTo>
                  <a:lnTo>
                    <a:pt x="24" y="1152"/>
                  </a:lnTo>
                  <a:lnTo>
                    <a:pt x="6" y="1146"/>
                  </a:lnTo>
                  <a:lnTo>
                    <a:pt x="0" y="1134"/>
                  </a:lnTo>
                  <a:lnTo>
                    <a:pt x="0" y="1128"/>
                  </a:lnTo>
                  <a:lnTo>
                    <a:pt x="18" y="1110"/>
                  </a:lnTo>
                  <a:lnTo>
                    <a:pt x="24" y="1104"/>
                  </a:lnTo>
                  <a:lnTo>
                    <a:pt x="24" y="1098"/>
                  </a:lnTo>
                  <a:lnTo>
                    <a:pt x="30" y="1086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24" y="1074"/>
                  </a:lnTo>
                  <a:lnTo>
                    <a:pt x="18" y="1068"/>
                  </a:lnTo>
                  <a:lnTo>
                    <a:pt x="24" y="1062"/>
                  </a:lnTo>
                  <a:lnTo>
                    <a:pt x="42" y="1056"/>
                  </a:lnTo>
                  <a:lnTo>
                    <a:pt x="54" y="1050"/>
                  </a:lnTo>
                  <a:lnTo>
                    <a:pt x="72" y="1044"/>
                  </a:lnTo>
                  <a:lnTo>
                    <a:pt x="96" y="1032"/>
                  </a:lnTo>
                  <a:lnTo>
                    <a:pt x="102" y="1032"/>
                  </a:lnTo>
                  <a:lnTo>
                    <a:pt x="126" y="1008"/>
                  </a:lnTo>
                  <a:lnTo>
                    <a:pt x="144" y="990"/>
                  </a:lnTo>
                  <a:lnTo>
                    <a:pt x="156" y="978"/>
                  </a:lnTo>
                  <a:lnTo>
                    <a:pt x="156" y="966"/>
                  </a:lnTo>
                  <a:lnTo>
                    <a:pt x="150" y="960"/>
                  </a:lnTo>
                  <a:lnTo>
                    <a:pt x="144" y="948"/>
                  </a:lnTo>
                  <a:lnTo>
                    <a:pt x="144" y="936"/>
                  </a:lnTo>
                  <a:lnTo>
                    <a:pt x="138" y="918"/>
                  </a:lnTo>
                  <a:lnTo>
                    <a:pt x="150" y="912"/>
                  </a:lnTo>
                  <a:lnTo>
                    <a:pt x="150" y="894"/>
                  </a:lnTo>
                  <a:lnTo>
                    <a:pt x="132" y="876"/>
                  </a:lnTo>
                  <a:lnTo>
                    <a:pt x="126" y="876"/>
                  </a:lnTo>
                  <a:lnTo>
                    <a:pt x="120" y="870"/>
                  </a:lnTo>
                  <a:lnTo>
                    <a:pt x="120" y="864"/>
                  </a:lnTo>
                  <a:lnTo>
                    <a:pt x="114" y="864"/>
                  </a:lnTo>
                  <a:lnTo>
                    <a:pt x="108" y="864"/>
                  </a:lnTo>
                  <a:lnTo>
                    <a:pt x="108" y="858"/>
                  </a:lnTo>
                  <a:lnTo>
                    <a:pt x="102" y="852"/>
                  </a:lnTo>
                  <a:lnTo>
                    <a:pt x="96" y="852"/>
                  </a:lnTo>
                  <a:lnTo>
                    <a:pt x="102" y="834"/>
                  </a:lnTo>
                  <a:lnTo>
                    <a:pt x="108" y="816"/>
                  </a:lnTo>
                  <a:lnTo>
                    <a:pt x="114" y="804"/>
                  </a:lnTo>
                  <a:lnTo>
                    <a:pt x="132" y="798"/>
                  </a:lnTo>
                  <a:lnTo>
                    <a:pt x="144" y="798"/>
                  </a:lnTo>
                  <a:lnTo>
                    <a:pt x="180" y="810"/>
                  </a:lnTo>
                  <a:lnTo>
                    <a:pt x="192" y="816"/>
                  </a:lnTo>
                  <a:lnTo>
                    <a:pt x="234" y="822"/>
                  </a:lnTo>
                  <a:lnTo>
                    <a:pt x="264" y="828"/>
                  </a:lnTo>
                  <a:lnTo>
                    <a:pt x="270" y="840"/>
                  </a:lnTo>
                  <a:lnTo>
                    <a:pt x="270" y="834"/>
                  </a:lnTo>
                  <a:lnTo>
                    <a:pt x="270" y="828"/>
                  </a:lnTo>
                  <a:lnTo>
                    <a:pt x="270" y="822"/>
                  </a:lnTo>
                  <a:lnTo>
                    <a:pt x="270" y="816"/>
                  </a:lnTo>
                  <a:lnTo>
                    <a:pt x="264" y="810"/>
                  </a:lnTo>
                  <a:lnTo>
                    <a:pt x="264" y="804"/>
                  </a:lnTo>
                  <a:lnTo>
                    <a:pt x="264" y="798"/>
                  </a:lnTo>
                  <a:lnTo>
                    <a:pt x="258" y="792"/>
                  </a:lnTo>
                  <a:lnTo>
                    <a:pt x="258" y="786"/>
                  </a:lnTo>
                  <a:lnTo>
                    <a:pt x="264" y="786"/>
                  </a:lnTo>
                  <a:lnTo>
                    <a:pt x="264" y="780"/>
                  </a:lnTo>
                  <a:lnTo>
                    <a:pt x="258" y="774"/>
                  </a:lnTo>
                  <a:lnTo>
                    <a:pt x="258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82" y="762"/>
                  </a:lnTo>
                  <a:lnTo>
                    <a:pt x="312" y="780"/>
                  </a:lnTo>
                  <a:lnTo>
                    <a:pt x="354" y="786"/>
                  </a:lnTo>
                  <a:lnTo>
                    <a:pt x="408" y="774"/>
                  </a:lnTo>
                  <a:lnTo>
                    <a:pt x="444" y="756"/>
                  </a:lnTo>
                  <a:lnTo>
                    <a:pt x="468" y="732"/>
                  </a:lnTo>
                  <a:lnTo>
                    <a:pt x="492" y="720"/>
                  </a:lnTo>
                  <a:lnTo>
                    <a:pt x="522" y="690"/>
                  </a:lnTo>
                  <a:lnTo>
                    <a:pt x="540" y="672"/>
                  </a:lnTo>
                  <a:lnTo>
                    <a:pt x="558" y="660"/>
                  </a:lnTo>
                  <a:lnTo>
                    <a:pt x="570" y="636"/>
                  </a:lnTo>
                  <a:lnTo>
                    <a:pt x="588" y="612"/>
                  </a:lnTo>
                  <a:lnTo>
                    <a:pt x="654" y="552"/>
                  </a:lnTo>
                  <a:lnTo>
                    <a:pt x="678" y="528"/>
                  </a:lnTo>
                  <a:lnTo>
                    <a:pt x="696" y="510"/>
                  </a:lnTo>
                  <a:lnTo>
                    <a:pt x="714" y="498"/>
                  </a:lnTo>
                  <a:lnTo>
                    <a:pt x="750" y="480"/>
                  </a:lnTo>
                  <a:lnTo>
                    <a:pt x="774" y="444"/>
                  </a:lnTo>
                  <a:lnTo>
                    <a:pt x="816" y="426"/>
                  </a:lnTo>
                  <a:lnTo>
                    <a:pt x="864" y="420"/>
                  </a:lnTo>
                  <a:lnTo>
                    <a:pt x="912" y="402"/>
                  </a:lnTo>
                  <a:lnTo>
                    <a:pt x="906" y="396"/>
                  </a:lnTo>
                  <a:lnTo>
                    <a:pt x="912" y="396"/>
                  </a:lnTo>
                  <a:lnTo>
                    <a:pt x="912" y="390"/>
                  </a:lnTo>
                  <a:lnTo>
                    <a:pt x="918" y="384"/>
                  </a:lnTo>
                  <a:lnTo>
                    <a:pt x="924" y="384"/>
                  </a:lnTo>
                  <a:lnTo>
                    <a:pt x="924" y="378"/>
                  </a:lnTo>
                  <a:lnTo>
                    <a:pt x="918" y="372"/>
                  </a:lnTo>
                  <a:lnTo>
                    <a:pt x="918" y="366"/>
                  </a:lnTo>
                  <a:lnTo>
                    <a:pt x="918" y="360"/>
                  </a:lnTo>
                  <a:lnTo>
                    <a:pt x="924" y="360"/>
                  </a:lnTo>
                  <a:lnTo>
                    <a:pt x="924" y="354"/>
                  </a:lnTo>
                  <a:lnTo>
                    <a:pt x="930" y="354"/>
                  </a:lnTo>
                  <a:lnTo>
                    <a:pt x="936" y="354"/>
                  </a:lnTo>
                  <a:lnTo>
                    <a:pt x="936" y="348"/>
                  </a:lnTo>
                  <a:lnTo>
                    <a:pt x="942" y="348"/>
                  </a:lnTo>
                  <a:lnTo>
                    <a:pt x="942" y="336"/>
                  </a:lnTo>
                  <a:lnTo>
                    <a:pt x="936" y="336"/>
                  </a:lnTo>
                  <a:lnTo>
                    <a:pt x="930" y="330"/>
                  </a:lnTo>
                  <a:lnTo>
                    <a:pt x="924" y="330"/>
                  </a:lnTo>
                  <a:lnTo>
                    <a:pt x="924" y="324"/>
                  </a:lnTo>
                  <a:lnTo>
                    <a:pt x="918" y="318"/>
                  </a:lnTo>
                  <a:lnTo>
                    <a:pt x="912" y="306"/>
                  </a:lnTo>
                  <a:lnTo>
                    <a:pt x="918" y="306"/>
                  </a:lnTo>
                  <a:lnTo>
                    <a:pt x="924" y="300"/>
                  </a:lnTo>
                  <a:lnTo>
                    <a:pt x="924" y="294"/>
                  </a:lnTo>
                  <a:lnTo>
                    <a:pt x="924" y="288"/>
                  </a:lnTo>
                  <a:lnTo>
                    <a:pt x="924" y="282"/>
                  </a:lnTo>
                  <a:lnTo>
                    <a:pt x="924" y="276"/>
                  </a:lnTo>
                  <a:lnTo>
                    <a:pt x="918" y="270"/>
                  </a:lnTo>
                  <a:lnTo>
                    <a:pt x="918" y="264"/>
                  </a:lnTo>
                  <a:lnTo>
                    <a:pt x="912" y="270"/>
                  </a:lnTo>
                  <a:lnTo>
                    <a:pt x="912" y="264"/>
                  </a:lnTo>
                  <a:lnTo>
                    <a:pt x="912" y="258"/>
                  </a:lnTo>
                  <a:lnTo>
                    <a:pt x="912" y="252"/>
                  </a:lnTo>
                  <a:lnTo>
                    <a:pt x="906" y="252"/>
                  </a:lnTo>
                  <a:lnTo>
                    <a:pt x="900" y="246"/>
                  </a:lnTo>
                  <a:lnTo>
                    <a:pt x="900" y="240"/>
                  </a:lnTo>
                  <a:lnTo>
                    <a:pt x="900" y="246"/>
                  </a:lnTo>
                  <a:lnTo>
                    <a:pt x="894" y="246"/>
                  </a:lnTo>
                  <a:lnTo>
                    <a:pt x="894" y="240"/>
                  </a:lnTo>
                  <a:lnTo>
                    <a:pt x="894" y="234"/>
                  </a:lnTo>
                  <a:lnTo>
                    <a:pt x="900" y="234"/>
                  </a:lnTo>
                  <a:lnTo>
                    <a:pt x="900" y="228"/>
                  </a:lnTo>
                  <a:lnTo>
                    <a:pt x="906" y="228"/>
                  </a:lnTo>
                  <a:lnTo>
                    <a:pt x="900" y="222"/>
                  </a:lnTo>
                  <a:lnTo>
                    <a:pt x="894" y="216"/>
                  </a:lnTo>
                  <a:lnTo>
                    <a:pt x="894" y="210"/>
                  </a:lnTo>
                  <a:lnTo>
                    <a:pt x="888" y="210"/>
                  </a:lnTo>
                  <a:lnTo>
                    <a:pt x="888" y="204"/>
                  </a:lnTo>
                  <a:lnTo>
                    <a:pt x="888" y="198"/>
                  </a:lnTo>
                  <a:lnTo>
                    <a:pt x="888" y="192"/>
                  </a:lnTo>
                  <a:lnTo>
                    <a:pt x="882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82" y="174"/>
                  </a:lnTo>
                  <a:lnTo>
                    <a:pt x="888" y="168"/>
                  </a:lnTo>
                  <a:lnTo>
                    <a:pt x="888" y="162"/>
                  </a:lnTo>
                  <a:lnTo>
                    <a:pt x="888" y="156"/>
                  </a:lnTo>
                  <a:lnTo>
                    <a:pt x="888" y="150"/>
                  </a:lnTo>
                  <a:lnTo>
                    <a:pt x="888" y="144"/>
                  </a:lnTo>
                  <a:lnTo>
                    <a:pt x="882" y="144"/>
                  </a:lnTo>
                  <a:lnTo>
                    <a:pt x="882" y="138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76" y="120"/>
                  </a:lnTo>
                  <a:lnTo>
                    <a:pt x="882" y="114"/>
                  </a:lnTo>
                  <a:lnTo>
                    <a:pt x="882" y="108"/>
                  </a:lnTo>
                  <a:lnTo>
                    <a:pt x="888" y="102"/>
                  </a:lnTo>
                  <a:lnTo>
                    <a:pt x="894" y="102"/>
                  </a:lnTo>
                  <a:lnTo>
                    <a:pt x="894" y="96"/>
                  </a:lnTo>
                  <a:lnTo>
                    <a:pt x="888" y="96"/>
                  </a:lnTo>
                  <a:lnTo>
                    <a:pt x="894" y="90"/>
                  </a:lnTo>
                  <a:lnTo>
                    <a:pt x="888" y="84"/>
                  </a:lnTo>
                  <a:lnTo>
                    <a:pt x="888" y="78"/>
                  </a:lnTo>
                  <a:lnTo>
                    <a:pt x="924" y="66"/>
                  </a:lnTo>
                  <a:lnTo>
                    <a:pt x="966" y="66"/>
                  </a:lnTo>
                  <a:lnTo>
                    <a:pt x="996" y="48"/>
                  </a:lnTo>
                  <a:lnTo>
                    <a:pt x="1056" y="12"/>
                  </a:lnTo>
                  <a:lnTo>
                    <a:pt x="1128" y="0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0" y="18"/>
                  </a:lnTo>
                  <a:lnTo>
                    <a:pt x="1176" y="24"/>
                  </a:lnTo>
                  <a:lnTo>
                    <a:pt x="1182" y="24"/>
                  </a:lnTo>
                  <a:lnTo>
                    <a:pt x="1188" y="30"/>
                  </a:lnTo>
                  <a:lnTo>
                    <a:pt x="1194" y="30"/>
                  </a:lnTo>
                  <a:lnTo>
                    <a:pt x="1194" y="36"/>
                  </a:lnTo>
                  <a:lnTo>
                    <a:pt x="1260" y="30"/>
                  </a:lnTo>
                  <a:lnTo>
                    <a:pt x="1272" y="30"/>
                  </a:lnTo>
                  <a:lnTo>
                    <a:pt x="1296" y="24"/>
                  </a:lnTo>
                  <a:lnTo>
                    <a:pt x="1302" y="30"/>
                  </a:lnTo>
                  <a:lnTo>
                    <a:pt x="1302" y="36"/>
                  </a:lnTo>
                  <a:lnTo>
                    <a:pt x="1308" y="36"/>
                  </a:lnTo>
                  <a:lnTo>
                    <a:pt x="1314" y="36"/>
                  </a:lnTo>
                  <a:lnTo>
                    <a:pt x="1320" y="36"/>
                  </a:lnTo>
                  <a:lnTo>
                    <a:pt x="1326" y="30"/>
                  </a:lnTo>
                  <a:lnTo>
                    <a:pt x="1332" y="30"/>
                  </a:lnTo>
                  <a:lnTo>
                    <a:pt x="1338" y="30"/>
                  </a:lnTo>
                  <a:lnTo>
                    <a:pt x="1344" y="30"/>
                  </a:lnTo>
                  <a:lnTo>
                    <a:pt x="1374" y="30"/>
                  </a:lnTo>
                  <a:lnTo>
                    <a:pt x="1386" y="30"/>
                  </a:lnTo>
                  <a:lnTo>
                    <a:pt x="1392" y="24"/>
                  </a:lnTo>
                  <a:lnTo>
                    <a:pt x="1398" y="12"/>
                  </a:lnTo>
                  <a:lnTo>
                    <a:pt x="1404" y="6"/>
                  </a:lnTo>
                  <a:lnTo>
                    <a:pt x="1410" y="6"/>
                  </a:lnTo>
                  <a:lnTo>
                    <a:pt x="1410" y="12"/>
                  </a:lnTo>
                  <a:lnTo>
                    <a:pt x="1416" y="18"/>
                  </a:lnTo>
                  <a:lnTo>
                    <a:pt x="1416" y="36"/>
                  </a:lnTo>
                  <a:lnTo>
                    <a:pt x="1434" y="54"/>
                  </a:lnTo>
                  <a:lnTo>
                    <a:pt x="1434" y="60"/>
                  </a:lnTo>
                  <a:lnTo>
                    <a:pt x="1434" y="66"/>
                  </a:lnTo>
                  <a:lnTo>
                    <a:pt x="1434" y="72"/>
                  </a:lnTo>
                  <a:lnTo>
                    <a:pt x="1428" y="72"/>
                  </a:lnTo>
                  <a:lnTo>
                    <a:pt x="1428" y="78"/>
                  </a:lnTo>
                  <a:lnTo>
                    <a:pt x="1434" y="78"/>
                  </a:lnTo>
                  <a:lnTo>
                    <a:pt x="1440" y="84"/>
                  </a:lnTo>
                  <a:lnTo>
                    <a:pt x="1440" y="90"/>
                  </a:lnTo>
                  <a:lnTo>
                    <a:pt x="1440" y="96"/>
                  </a:lnTo>
                  <a:lnTo>
                    <a:pt x="1446" y="96"/>
                  </a:lnTo>
                  <a:lnTo>
                    <a:pt x="1446" y="108"/>
                  </a:lnTo>
                  <a:lnTo>
                    <a:pt x="1452" y="108"/>
                  </a:lnTo>
                  <a:lnTo>
                    <a:pt x="1452" y="114"/>
                  </a:lnTo>
                  <a:lnTo>
                    <a:pt x="1458" y="114"/>
                  </a:lnTo>
                  <a:lnTo>
                    <a:pt x="1470" y="120"/>
                  </a:lnTo>
                  <a:lnTo>
                    <a:pt x="1476" y="120"/>
                  </a:lnTo>
                  <a:lnTo>
                    <a:pt x="1476" y="114"/>
                  </a:lnTo>
                  <a:lnTo>
                    <a:pt x="1488" y="120"/>
                  </a:lnTo>
                  <a:lnTo>
                    <a:pt x="1506" y="120"/>
                  </a:lnTo>
                  <a:lnTo>
                    <a:pt x="1512" y="120"/>
                  </a:lnTo>
                  <a:lnTo>
                    <a:pt x="1518" y="120"/>
                  </a:lnTo>
                  <a:lnTo>
                    <a:pt x="1524" y="126"/>
                  </a:lnTo>
                  <a:lnTo>
                    <a:pt x="1536" y="150"/>
                  </a:lnTo>
                  <a:lnTo>
                    <a:pt x="1548" y="162"/>
                  </a:lnTo>
                  <a:lnTo>
                    <a:pt x="1554" y="168"/>
                  </a:lnTo>
                  <a:lnTo>
                    <a:pt x="1584" y="228"/>
                  </a:lnTo>
                  <a:lnTo>
                    <a:pt x="1584" y="234"/>
                  </a:lnTo>
                  <a:lnTo>
                    <a:pt x="1578" y="312"/>
                  </a:lnTo>
                  <a:lnTo>
                    <a:pt x="1590" y="318"/>
                  </a:lnTo>
                  <a:lnTo>
                    <a:pt x="1608" y="330"/>
                  </a:lnTo>
                  <a:lnTo>
                    <a:pt x="1620" y="342"/>
                  </a:lnTo>
                  <a:lnTo>
                    <a:pt x="1626" y="342"/>
                  </a:lnTo>
                  <a:lnTo>
                    <a:pt x="1692" y="360"/>
                  </a:lnTo>
                  <a:lnTo>
                    <a:pt x="1710" y="408"/>
                  </a:lnTo>
                  <a:lnTo>
                    <a:pt x="1722" y="426"/>
                  </a:lnTo>
                  <a:lnTo>
                    <a:pt x="1716" y="468"/>
                  </a:lnTo>
                  <a:lnTo>
                    <a:pt x="1686" y="486"/>
                  </a:lnTo>
                  <a:lnTo>
                    <a:pt x="1686" y="492"/>
                  </a:lnTo>
                  <a:lnTo>
                    <a:pt x="1680" y="498"/>
                  </a:lnTo>
                  <a:lnTo>
                    <a:pt x="1650" y="558"/>
                  </a:lnTo>
                  <a:lnTo>
                    <a:pt x="1650" y="570"/>
                  </a:lnTo>
                  <a:lnTo>
                    <a:pt x="1644" y="570"/>
                  </a:lnTo>
                  <a:lnTo>
                    <a:pt x="1638" y="582"/>
                  </a:lnTo>
                  <a:lnTo>
                    <a:pt x="1638" y="624"/>
                  </a:lnTo>
                  <a:lnTo>
                    <a:pt x="1638" y="636"/>
                  </a:lnTo>
                  <a:lnTo>
                    <a:pt x="1638" y="642"/>
                  </a:lnTo>
                  <a:lnTo>
                    <a:pt x="1632" y="660"/>
                  </a:lnTo>
                  <a:lnTo>
                    <a:pt x="1608" y="678"/>
                  </a:lnTo>
                  <a:lnTo>
                    <a:pt x="1584" y="690"/>
                  </a:lnTo>
                  <a:lnTo>
                    <a:pt x="1584" y="696"/>
                  </a:lnTo>
                  <a:lnTo>
                    <a:pt x="1578" y="702"/>
                  </a:lnTo>
                  <a:lnTo>
                    <a:pt x="1584" y="702"/>
                  </a:lnTo>
                  <a:lnTo>
                    <a:pt x="1578" y="714"/>
                  </a:lnTo>
                  <a:lnTo>
                    <a:pt x="1572" y="714"/>
                  </a:lnTo>
                  <a:lnTo>
                    <a:pt x="1572" y="720"/>
                  </a:lnTo>
                  <a:lnTo>
                    <a:pt x="1566" y="720"/>
                  </a:lnTo>
                  <a:lnTo>
                    <a:pt x="1560" y="726"/>
                  </a:lnTo>
                  <a:lnTo>
                    <a:pt x="1560" y="732"/>
                  </a:lnTo>
                  <a:lnTo>
                    <a:pt x="1554" y="732"/>
                  </a:lnTo>
                  <a:lnTo>
                    <a:pt x="1554" y="738"/>
                  </a:lnTo>
                  <a:lnTo>
                    <a:pt x="1554" y="744"/>
                  </a:lnTo>
                  <a:lnTo>
                    <a:pt x="1548" y="744"/>
                  </a:lnTo>
                  <a:lnTo>
                    <a:pt x="1548" y="738"/>
                  </a:lnTo>
                  <a:lnTo>
                    <a:pt x="1542" y="738"/>
                  </a:lnTo>
                  <a:lnTo>
                    <a:pt x="1542" y="744"/>
                  </a:lnTo>
                  <a:lnTo>
                    <a:pt x="1542" y="750"/>
                  </a:lnTo>
                  <a:lnTo>
                    <a:pt x="1494" y="804"/>
                  </a:lnTo>
                  <a:lnTo>
                    <a:pt x="1446" y="876"/>
                  </a:lnTo>
                  <a:lnTo>
                    <a:pt x="1440" y="876"/>
                  </a:lnTo>
                  <a:lnTo>
                    <a:pt x="1434" y="876"/>
                  </a:lnTo>
                  <a:lnTo>
                    <a:pt x="1428" y="882"/>
                  </a:lnTo>
                  <a:lnTo>
                    <a:pt x="1422" y="882"/>
                  </a:lnTo>
                  <a:lnTo>
                    <a:pt x="1386" y="924"/>
                  </a:lnTo>
                  <a:lnTo>
                    <a:pt x="1362" y="954"/>
                  </a:lnTo>
                  <a:lnTo>
                    <a:pt x="1356" y="984"/>
                  </a:lnTo>
                  <a:lnTo>
                    <a:pt x="1362" y="1002"/>
                  </a:lnTo>
                  <a:lnTo>
                    <a:pt x="1368" y="1020"/>
                  </a:lnTo>
                  <a:lnTo>
                    <a:pt x="1386" y="1056"/>
                  </a:lnTo>
                  <a:lnTo>
                    <a:pt x="1404" y="1074"/>
                  </a:lnTo>
                  <a:lnTo>
                    <a:pt x="1416" y="1080"/>
                  </a:lnTo>
                  <a:lnTo>
                    <a:pt x="1416" y="1086"/>
                  </a:lnTo>
                  <a:lnTo>
                    <a:pt x="1422" y="1098"/>
                  </a:lnTo>
                  <a:lnTo>
                    <a:pt x="1422" y="1110"/>
                  </a:lnTo>
                  <a:lnTo>
                    <a:pt x="1428" y="1116"/>
                  </a:lnTo>
                  <a:lnTo>
                    <a:pt x="1434" y="1116"/>
                  </a:lnTo>
                  <a:lnTo>
                    <a:pt x="1434" y="1122"/>
                  </a:lnTo>
                  <a:lnTo>
                    <a:pt x="1434" y="1128"/>
                  </a:lnTo>
                  <a:lnTo>
                    <a:pt x="1440" y="1134"/>
                  </a:lnTo>
                  <a:lnTo>
                    <a:pt x="1446" y="1134"/>
                  </a:lnTo>
                  <a:lnTo>
                    <a:pt x="1458" y="1134"/>
                  </a:lnTo>
                  <a:lnTo>
                    <a:pt x="1458" y="1140"/>
                  </a:lnTo>
                  <a:lnTo>
                    <a:pt x="1464" y="1134"/>
                  </a:lnTo>
                  <a:lnTo>
                    <a:pt x="1470" y="1134"/>
                  </a:lnTo>
                  <a:lnTo>
                    <a:pt x="1464" y="1128"/>
                  </a:lnTo>
                  <a:lnTo>
                    <a:pt x="1464" y="1122"/>
                  </a:lnTo>
                  <a:lnTo>
                    <a:pt x="1470" y="1116"/>
                  </a:lnTo>
                  <a:lnTo>
                    <a:pt x="1470" y="1122"/>
                  </a:lnTo>
                  <a:lnTo>
                    <a:pt x="1476" y="1122"/>
                  </a:lnTo>
                  <a:lnTo>
                    <a:pt x="1476" y="1116"/>
                  </a:lnTo>
                  <a:lnTo>
                    <a:pt x="1482" y="1110"/>
                  </a:lnTo>
                  <a:lnTo>
                    <a:pt x="1476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82" y="1086"/>
                  </a:lnTo>
                  <a:lnTo>
                    <a:pt x="1482" y="1074"/>
                  </a:lnTo>
                  <a:lnTo>
                    <a:pt x="1488" y="1068"/>
                  </a:lnTo>
                  <a:lnTo>
                    <a:pt x="1488" y="1062"/>
                  </a:lnTo>
                  <a:lnTo>
                    <a:pt x="1494" y="1062"/>
                  </a:lnTo>
                  <a:lnTo>
                    <a:pt x="1500" y="1062"/>
                  </a:lnTo>
                  <a:lnTo>
                    <a:pt x="1506" y="1062"/>
                  </a:lnTo>
                  <a:lnTo>
                    <a:pt x="1506" y="1056"/>
                  </a:lnTo>
                  <a:lnTo>
                    <a:pt x="1506" y="1062"/>
                  </a:lnTo>
                  <a:lnTo>
                    <a:pt x="1518" y="1062"/>
                  </a:lnTo>
                  <a:lnTo>
                    <a:pt x="1524" y="1062"/>
                  </a:lnTo>
                  <a:lnTo>
                    <a:pt x="1530" y="1062"/>
                  </a:lnTo>
                  <a:lnTo>
                    <a:pt x="1536" y="1068"/>
                  </a:lnTo>
                  <a:lnTo>
                    <a:pt x="1536" y="1074"/>
                  </a:lnTo>
                  <a:lnTo>
                    <a:pt x="1542" y="1086"/>
                  </a:lnTo>
                  <a:lnTo>
                    <a:pt x="1548" y="1086"/>
                  </a:lnTo>
                  <a:lnTo>
                    <a:pt x="1554" y="1086"/>
                  </a:lnTo>
                  <a:lnTo>
                    <a:pt x="1566" y="1098"/>
                  </a:lnTo>
                  <a:lnTo>
                    <a:pt x="1572" y="1104"/>
                  </a:lnTo>
                  <a:lnTo>
                    <a:pt x="1566" y="1110"/>
                  </a:lnTo>
                  <a:lnTo>
                    <a:pt x="1572" y="1116"/>
                  </a:lnTo>
                  <a:lnTo>
                    <a:pt x="1578" y="1116"/>
                  </a:lnTo>
                  <a:lnTo>
                    <a:pt x="1578" y="1122"/>
                  </a:lnTo>
                  <a:lnTo>
                    <a:pt x="1584" y="1122"/>
                  </a:lnTo>
                  <a:lnTo>
                    <a:pt x="1584" y="1128"/>
                  </a:lnTo>
                  <a:lnTo>
                    <a:pt x="1584" y="1134"/>
                  </a:lnTo>
                  <a:lnTo>
                    <a:pt x="1590" y="1134"/>
                  </a:lnTo>
                  <a:lnTo>
                    <a:pt x="1596" y="1140"/>
                  </a:lnTo>
                  <a:lnTo>
                    <a:pt x="1602" y="1146"/>
                  </a:lnTo>
                  <a:lnTo>
                    <a:pt x="1608" y="1146"/>
                  </a:lnTo>
                  <a:lnTo>
                    <a:pt x="1614" y="1146"/>
                  </a:lnTo>
                  <a:lnTo>
                    <a:pt x="1614" y="1152"/>
                  </a:lnTo>
                  <a:lnTo>
                    <a:pt x="1620" y="1152"/>
                  </a:lnTo>
                  <a:lnTo>
                    <a:pt x="1626" y="1164"/>
                  </a:lnTo>
                  <a:lnTo>
                    <a:pt x="1632" y="1170"/>
                  </a:lnTo>
                  <a:lnTo>
                    <a:pt x="1638" y="1176"/>
                  </a:lnTo>
                  <a:lnTo>
                    <a:pt x="1638" y="1182"/>
                  </a:lnTo>
                  <a:lnTo>
                    <a:pt x="1644" y="1194"/>
                  </a:lnTo>
                  <a:lnTo>
                    <a:pt x="1644" y="1200"/>
                  </a:lnTo>
                  <a:lnTo>
                    <a:pt x="1638" y="1200"/>
                  </a:lnTo>
                  <a:lnTo>
                    <a:pt x="1638" y="1206"/>
                  </a:lnTo>
                  <a:lnTo>
                    <a:pt x="1638" y="1212"/>
                  </a:lnTo>
                  <a:lnTo>
                    <a:pt x="1638" y="1218"/>
                  </a:lnTo>
                  <a:lnTo>
                    <a:pt x="1632" y="1242"/>
                  </a:lnTo>
                  <a:lnTo>
                    <a:pt x="1632" y="1266"/>
                  </a:lnTo>
                  <a:lnTo>
                    <a:pt x="1638" y="1284"/>
                  </a:lnTo>
                  <a:lnTo>
                    <a:pt x="1638" y="1296"/>
                  </a:lnTo>
                  <a:lnTo>
                    <a:pt x="1632" y="1296"/>
                  </a:lnTo>
                  <a:lnTo>
                    <a:pt x="1632" y="1302"/>
                  </a:lnTo>
                  <a:lnTo>
                    <a:pt x="1638" y="1314"/>
                  </a:lnTo>
                  <a:lnTo>
                    <a:pt x="1638" y="1320"/>
                  </a:lnTo>
                  <a:lnTo>
                    <a:pt x="1632" y="1320"/>
                  </a:lnTo>
                  <a:lnTo>
                    <a:pt x="1632" y="1326"/>
                  </a:lnTo>
                  <a:lnTo>
                    <a:pt x="1644" y="1332"/>
                  </a:lnTo>
                  <a:lnTo>
                    <a:pt x="1644" y="1338"/>
                  </a:lnTo>
                  <a:lnTo>
                    <a:pt x="1650" y="1344"/>
                  </a:lnTo>
                  <a:lnTo>
                    <a:pt x="1668" y="1362"/>
                  </a:lnTo>
                  <a:lnTo>
                    <a:pt x="1668" y="1368"/>
                  </a:lnTo>
                  <a:lnTo>
                    <a:pt x="1674" y="1392"/>
                  </a:lnTo>
                  <a:lnTo>
                    <a:pt x="1686" y="140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2" name="Freeform 17">
              <a:extLst>
                <a:ext uri="{FF2B5EF4-FFF2-40B4-BE49-F238E27FC236}">
                  <a16:creationId xmlns:a16="http://schemas.microsoft.com/office/drawing/2014/main" id="{9F9DF7AF-2203-4CCB-AF1B-32CDAF87CC5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416927"/>
              <a:ext cx="816209" cy="574781"/>
            </a:xfrm>
            <a:custGeom>
              <a:avLst/>
              <a:gdLst>
                <a:gd name="T0" fmla="*/ 115 w 1536"/>
                <a:gd name="T1" fmla="*/ 89 h 1080"/>
                <a:gd name="T2" fmla="*/ 113 w 1536"/>
                <a:gd name="T3" fmla="*/ 92 h 1080"/>
                <a:gd name="T4" fmla="*/ 107 w 1536"/>
                <a:gd name="T5" fmla="*/ 93 h 1080"/>
                <a:gd name="T6" fmla="*/ 108 w 1536"/>
                <a:gd name="T7" fmla="*/ 90 h 1080"/>
                <a:gd name="T8" fmla="*/ 105 w 1536"/>
                <a:gd name="T9" fmla="*/ 87 h 1080"/>
                <a:gd name="T10" fmla="*/ 102 w 1536"/>
                <a:gd name="T11" fmla="*/ 85 h 1080"/>
                <a:gd name="T12" fmla="*/ 89 w 1536"/>
                <a:gd name="T13" fmla="*/ 80 h 1080"/>
                <a:gd name="T14" fmla="*/ 85 w 1536"/>
                <a:gd name="T15" fmla="*/ 82 h 1080"/>
                <a:gd name="T16" fmla="*/ 82 w 1536"/>
                <a:gd name="T17" fmla="*/ 80 h 1080"/>
                <a:gd name="T18" fmla="*/ 80 w 1536"/>
                <a:gd name="T19" fmla="*/ 75 h 1080"/>
                <a:gd name="T20" fmla="*/ 75 w 1536"/>
                <a:gd name="T21" fmla="*/ 72 h 1080"/>
                <a:gd name="T22" fmla="*/ 61 w 1536"/>
                <a:gd name="T23" fmla="*/ 70 h 1080"/>
                <a:gd name="T24" fmla="*/ 62 w 1536"/>
                <a:gd name="T25" fmla="*/ 72 h 1080"/>
                <a:gd name="T26" fmla="*/ 58 w 1536"/>
                <a:gd name="T27" fmla="*/ 75 h 1080"/>
                <a:gd name="T28" fmla="*/ 49 w 1536"/>
                <a:gd name="T29" fmla="*/ 76 h 1080"/>
                <a:gd name="T30" fmla="*/ 41 w 1536"/>
                <a:gd name="T31" fmla="*/ 79 h 1080"/>
                <a:gd name="T32" fmla="*/ 41 w 1536"/>
                <a:gd name="T33" fmla="*/ 77 h 1080"/>
                <a:gd name="T34" fmla="*/ 39 w 1536"/>
                <a:gd name="T35" fmla="*/ 74 h 1080"/>
                <a:gd name="T36" fmla="*/ 28 w 1536"/>
                <a:gd name="T37" fmla="*/ 78 h 1080"/>
                <a:gd name="T38" fmla="*/ 18 w 1536"/>
                <a:gd name="T39" fmla="*/ 85 h 1080"/>
                <a:gd name="T40" fmla="*/ 18 w 1536"/>
                <a:gd name="T41" fmla="*/ 77 h 1080"/>
                <a:gd name="T42" fmla="*/ 19 w 1536"/>
                <a:gd name="T43" fmla="*/ 69 h 1080"/>
                <a:gd name="T44" fmla="*/ 16 w 1536"/>
                <a:gd name="T45" fmla="*/ 69 h 1080"/>
                <a:gd name="T46" fmla="*/ 11 w 1536"/>
                <a:gd name="T47" fmla="*/ 69 h 1080"/>
                <a:gd name="T48" fmla="*/ 5 w 1536"/>
                <a:gd name="T49" fmla="*/ 68 h 1080"/>
                <a:gd name="T50" fmla="*/ 1 w 1536"/>
                <a:gd name="T51" fmla="*/ 63 h 1080"/>
                <a:gd name="T52" fmla="*/ 3 w 1536"/>
                <a:gd name="T53" fmla="*/ 59 h 1080"/>
                <a:gd name="T54" fmla="*/ 9 w 1536"/>
                <a:gd name="T55" fmla="*/ 54 h 1080"/>
                <a:gd name="T56" fmla="*/ 15 w 1536"/>
                <a:gd name="T57" fmla="*/ 47 h 1080"/>
                <a:gd name="T58" fmla="*/ 17 w 1536"/>
                <a:gd name="T59" fmla="*/ 40 h 1080"/>
                <a:gd name="T60" fmla="*/ 12 w 1536"/>
                <a:gd name="T61" fmla="*/ 33 h 1080"/>
                <a:gd name="T62" fmla="*/ 10 w 1536"/>
                <a:gd name="T63" fmla="*/ 21 h 1080"/>
                <a:gd name="T64" fmla="*/ 6 w 1536"/>
                <a:gd name="T65" fmla="*/ 14 h 1080"/>
                <a:gd name="T66" fmla="*/ 7 w 1536"/>
                <a:gd name="T67" fmla="*/ 9 h 1080"/>
                <a:gd name="T68" fmla="*/ 12 w 1536"/>
                <a:gd name="T69" fmla="*/ 7 h 1080"/>
                <a:gd name="T70" fmla="*/ 16 w 1536"/>
                <a:gd name="T71" fmla="*/ 8 h 1080"/>
                <a:gd name="T72" fmla="*/ 19 w 1536"/>
                <a:gd name="T73" fmla="*/ 8 h 1080"/>
                <a:gd name="T74" fmla="*/ 22 w 1536"/>
                <a:gd name="T75" fmla="*/ 9 h 1080"/>
                <a:gd name="T76" fmla="*/ 29 w 1536"/>
                <a:gd name="T77" fmla="*/ 12 h 1080"/>
                <a:gd name="T78" fmla="*/ 33 w 1536"/>
                <a:gd name="T79" fmla="*/ 13 h 1080"/>
                <a:gd name="T80" fmla="*/ 38 w 1536"/>
                <a:gd name="T81" fmla="*/ 15 h 1080"/>
                <a:gd name="T82" fmla="*/ 42 w 1536"/>
                <a:gd name="T83" fmla="*/ 17 h 1080"/>
                <a:gd name="T84" fmla="*/ 47 w 1536"/>
                <a:gd name="T85" fmla="*/ 19 h 1080"/>
                <a:gd name="T86" fmla="*/ 51 w 1536"/>
                <a:gd name="T87" fmla="*/ 21 h 1080"/>
                <a:gd name="T88" fmla="*/ 50 w 1536"/>
                <a:gd name="T89" fmla="*/ 15 h 1080"/>
                <a:gd name="T90" fmla="*/ 56 w 1536"/>
                <a:gd name="T91" fmla="*/ 0 h 1080"/>
                <a:gd name="T92" fmla="*/ 74 w 1536"/>
                <a:gd name="T93" fmla="*/ 5 h 1080"/>
                <a:gd name="T94" fmla="*/ 87 w 1536"/>
                <a:gd name="T95" fmla="*/ 6 h 1080"/>
                <a:gd name="T96" fmla="*/ 92 w 1536"/>
                <a:gd name="T97" fmla="*/ 11 h 1080"/>
                <a:gd name="T98" fmla="*/ 95 w 1536"/>
                <a:gd name="T99" fmla="*/ 15 h 1080"/>
                <a:gd name="T100" fmla="*/ 93 w 1536"/>
                <a:gd name="T101" fmla="*/ 20 h 1080"/>
                <a:gd name="T102" fmla="*/ 108 w 1536"/>
                <a:gd name="T103" fmla="*/ 18 h 1080"/>
                <a:gd name="T104" fmla="*/ 120 w 1536"/>
                <a:gd name="T105" fmla="*/ 21 h 1080"/>
                <a:gd name="T106" fmla="*/ 127 w 1536"/>
                <a:gd name="T107" fmla="*/ 29 h 1080"/>
                <a:gd name="T108" fmla="*/ 130 w 1536"/>
                <a:gd name="T109" fmla="*/ 30 h 1080"/>
                <a:gd name="T110" fmla="*/ 130 w 1536"/>
                <a:gd name="T111" fmla="*/ 49 h 1080"/>
                <a:gd name="T112" fmla="*/ 120 w 1536"/>
                <a:gd name="T113" fmla="*/ 69 h 1080"/>
                <a:gd name="T114" fmla="*/ 119 w 1536"/>
                <a:gd name="T115" fmla="*/ 74 h 1080"/>
                <a:gd name="T116" fmla="*/ 118 w 1536"/>
                <a:gd name="T117" fmla="*/ 80 h 108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536"/>
                <a:gd name="T178" fmla="*/ 0 h 1080"/>
                <a:gd name="T179" fmla="*/ 1536 w 1536"/>
                <a:gd name="T180" fmla="*/ 1080 h 108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536" h="1080">
                  <a:moveTo>
                    <a:pt x="1350" y="1020"/>
                  </a:moveTo>
                  <a:lnTo>
                    <a:pt x="1350" y="1026"/>
                  </a:lnTo>
                  <a:lnTo>
                    <a:pt x="1344" y="1026"/>
                  </a:lnTo>
                  <a:lnTo>
                    <a:pt x="1338" y="1032"/>
                  </a:lnTo>
                  <a:lnTo>
                    <a:pt x="1332" y="1026"/>
                  </a:lnTo>
                  <a:lnTo>
                    <a:pt x="1326" y="1026"/>
                  </a:lnTo>
                  <a:lnTo>
                    <a:pt x="1320" y="1020"/>
                  </a:lnTo>
                  <a:lnTo>
                    <a:pt x="1314" y="1026"/>
                  </a:lnTo>
                  <a:lnTo>
                    <a:pt x="1314" y="1032"/>
                  </a:lnTo>
                  <a:lnTo>
                    <a:pt x="1308" y="1038"/>
                  </a:lnTo>
                  <a:lnTo>
                    <a:pt x="1308" y="1044"/>
                  </a:lnTo>
                  <a:lnTo>
                    <a:pt x="1308" y="1050"/>
                  </a:lnTo>
                  <a:lnTo>
                    <a:pt x="1308" y="1056"/>
                  </a:lnTo>
                  <a:lnTo>
                    <a:pt x="1308" y="1062"/>
                  </a:lnTo>
                  <a:lnTo>
                    <a:pt x="1296" y="1068"/>
                  </a:lnTo>
                  <a:lnTo>
                    <a:pt x="1284" y="1074"/>
                  </a:lnTo>
                  <a:lnTo>
                    <a:pt x="1272" y="1080"/>
                  </a:lnTo>
                  <a:lnTo>
                    <a:pt x="1260" y="1080"/>
                  </a:lnTo>
                  <a:lnTo>
                    <a:pt x="1254" y="1074"/>
                  </a:lnTo>
                  <a:lnTo>
                    <a:pt x="1236" y="1074"/>
                  </a:lnTo>
                  <a:lnTo>
                    <a:pt x="1230" y="1074"/>
                  </a:lnTo>
                  <a:lnTo>
                    <a:pt x="1236" y="1074"/>
                  </a:lnTo>
                  <a:lnTo>
                    <a:pt x="1236" y="1068"/>
                  </a:lnTo>
                  <a:lnTo>
                    <a:pt x="1236" y="1062"/>
                  </a:lnTo>
                  <a:lnTo>
                    <a:pt x="1236" y="1056"/>
                  </a:lnTo>
                  <a:lnTo>
                    <a:pt x="1242" y="1050"/>
                  </a:lnTo>
                  <a:lnTo>
                    <a:pt x="1242" y="1044"/>
                  </a:lnTo>
                  <a:lnTo>
                    <a:pt x="1242" y="1038"/>
                  </a:lnTo>
                  <a:lnTo>
                    <a:pt x="1248" y="1032"/>
                  </a:lnTo>
                  <a:lnTo>
                    <a:pt x="1236" y="1026"/>
                  </a:lnTo>
                  <a:lnTo>
                    <a:pt x="1218" y="1020"/>
                  </a:lnTo>
                  <a:lnTo>
                    <a:pt x="1224" y="1014"/>
                  </a:lnTo>
                  <a:lnTo>
                    <a:pt x="1218" y="1008"/>
                  </a:lnTo>
                  <a:lnTo>
                    <a:pt x="1218" y="1002"/>
                  </a:lnTo>
                  <a:lnTo>
                    <a:pt x="1212" y="1008"/>
                  </a:lnTo>
                  <a:lnTo>
                    <a:pt x="1206" y="1002"/>
                  </a:lnTo>
                  <a:lnTo>
                    <a:pt x="1212" y="1002"/>
                  </a:lnTo>
                  <a:lnTo>
                    <a:pt x="1212" y="996"/>
                  </a:lnTo>
                  <a:lnTo>
                    <a:pt x="1200" y="990"/>
                  </a:lnTo>
                  <a:lnTo>
                    <a:pt x="1200" y="984"/>
                  </a:lnTo>
                  <a:lnTo>
                    <a:pt x="1188" y="984"/>
                  </a:lnTo>
                  <a:lnTo>
                    <a:pt x="1176" y="978"/>
                  </a:lnTo>
                  <a:lnTo>
                    <a:pt x="1164" y="960"/>
                  </a:lnTo>
                  <a:lnTo>
                    <a:pt x="1152" y="936"/>
                  </a:lnTo>
                  <a:lnTo>
                    <a:pt x="1146" y="936"/>
                  </a:lnTo>
                  <a:lnTo>
                    <a:pt x="1128" y="900"/>
                  </a:lnTo>
                  <a:lnTo>
                    <a:pt x="1038" y="912"/>
                  </a:lnTo>
                  <a:lnTo>
                    <a:pt x="1038" y="918"/>
                  </a:lnTo>
                  <a:lnTo>
                    <a:pt x="1032" y="924"/>
                  </a:lnTo>
                  <a:lnTo>
                    <a:pt x="1026" y="918"/>
                  </a:lnTo>
                  <a:lnTo>
                    <a:pt x="1020" y="924"/>
                  </a:lnTo>
                  <a:lnTo>
                    <a:pt x="1008" y="936"/>
                  </a:lnTo>
                  <a:lnTo>
                    <a:pt x="990" y="936"/>
                  </a:lnTo>
                  <a:lnTo>
                    <a:pt x="990" y="942"/>
                  </a:lnTo>
                  <a:lnTo>
                    <a:pt x="996" y="942"/>
                  </a:lnTo>
                  <a:lnTo>
                    <a:pt x="984" y="948"/>
                  </a:lnTo>
                  <a:lnTo>
                    <a:pt x="972" y="948"/>
                  </a:lnTo>
                  <a:lnTo>
                    <a:pt x="960" y="948"/>
                  </a:lnTo>
                  <a:lnTo>
                    <a:pt x="948" y="942"/>
                  </a:lnTo>
                  <a:lnTo>
                    <a:pt x="948" y="936"/>
                  </a:lnTo>
                  <a:lnTo>
                    <a:pt x="942" y="936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30" y="924"/>
                  </a:lnTo>
                  <a:lnTo>
                    <a:pt x="936" y="918"/>
                  </a:lnTo>
                  <a:lnTo>
                    <a:pt x="918" y="918"/>
                  </a:lnTo>
                  <a:lnTo>
                    <a:pt x="918" y="900"/>
                  </a:lnTo>
                  <a:lnTo>
                    <a:pt x="924" y="900"/>
                  </a:lnTo>
                  <a:lnTo>
                    <a:pt x="924" y="894"/>
                  </a:lnTo>
                  <a:lnTo>
                    <a:pt x="924" y="870"/>
                  </a:lnTo>
                  <a:lnTo>
                    <a:pt x="924" y="864"/>
                  </a:lnTo>
                  <a:lnTo>
                    <a:pt x="918" y="858"/>
                  </a:lnTo>
                  <a:lnTo>
                    <a:pt x="918" y="852"/>
                  </a:lnTo>
                  <a:lnTo>
                    <a:pt x="906" y="840"/>
                  </a:lnTo>
                  <a:lnTo>
                    <a:pt x="894" y="834"/>
                  </a:lnTo>
                  <a:lnTo>
                    <a:pt x="876" y="822"/>
                  </a:lnTo>
                  <a:lnTo>
                    <a:pt x="870" y="828"/>
                  </a:lnTo>
                  <a:lnTo>
                    <a:pt x="858" y="816"/>
                  </a:lnTo>
                  <a:lnTo>
                    <a:pt x="810" y="798"/>
                  </a:lnTo>
                  <a:lnTo>
                    <a:pt x="774" y="792"/>
                  </a:lnTo>
                  <a:lnTo>
                    <a:pt x="732" y="798"/>
                  </a:lnTo>
                  <a:lnTo>
                    <a:pt x="726" y="804"/>
                  </a:lnTo>
                  <a:lnTo>
                    <a:pt x="714" y="810"/>
                  </a:lnTo>
                  <a:lnTo>
                    <a:pt x="702" y="810"/>
                  </a:lnTo>
                  <a:lnTo>
                    <a:pt x="690" y="810"/>
                  </a:lnTo>
                  <a:lnTo>
                    <a:pt x="696" y="816"/>
                  </a:lnTo>
                  <a:lnTo>
                    <a:pt x="696" y="822"/>
                  </a:lnTo>
                  <a:lnTo>
                    <a:pt x="702" y="822"/>
                  </a:lnTo>
                  <a:lnTo>
                    <a:pt x="708" y="822"/>
                  </a:lnTo>
                  <a:lnTo>
                    <a:pt x="708" y="828"/>
                  </a:lnTo>
                  <a:lnTo>
                    <a:pt x="708" y="834"/>
                  </a:lnTo>
                  <a:lnTo>
                    <a:pt x="714" y="834"/>
                  </a:lnTo>
                  <a:lnTo>
                    <a:pt x="708" y="846"/>
                  </a:lnTo>
                  <a:lnTo>
                    <a:pt x="708" y="852"/>
                  </a:lnTo>
                  <a:lnTo>
                    <a:pt x="702" y="852"/>
                  </a:lnTo>
                  <a:lnTo>
                    <a:pt x="696" y="858"/>
                  </a:lnTo>
                  <a:lnTo>
                    <a:pt x="690" y="864"/>
                  </a:lnTo>
                  <a:lnTo>
                    <a:pt x="666" y="870"/>
                  </a:lnTo>
                  <a:lnTo>
                    <a:pt x="660" y="876"/>
                  </a:lnTo>
                  <a:lnTo>
                    <a:pt x="642" y="876"/>
                  </a:lnTo>
                  <a:lnTo>
                    <a:pt x="606" y="882"/>
                  </a:lnTo>
                  <a:lnTo>
                    <a:pt x="588" y="882"/>
                  </a:lnTo>
                  <a:lnTo>
                    <a:pt x="582" y="876"/>
                  </a:lnTo>
                  <a:lnTo>
                    <a:pt x="576" y="876"/>
                  </a:lnTo>
                  <a:lnTo>
                    <a:pt x="564" y="876"/>
                  </a:lnTo>
                  <a:lnTo>
                    <a:pt x="552" y="882"/>
                  </a:lnTo>
                  <a:lnTo>
                    <a:pt x="540" y="894"/>
                  </a:lnTo>
                  <a:lnTo>
                    <a:pt x="534" y="906"/>
                  </a:lnTo>
                  <a:lnTo>
                    <a:pt x="528" y="912"/>
                  </a:lnTo>
                  <a:lnTo>
                    <a:pt x="516" y="924"/>
                  </a:lnTo>
                  <a:lnTo>
                    <a:pt x="486" y="930"/>
                  </a:lnTo>
                  <a:lnTo>
                    <a:pt x="474" y="912"/>
                  </a:lnTo>
                  <a:lnTo>
                    <a:pt x="474" y="906"/>
                  </a:lnTo>
                  <a:lnTo>
                    <a:pt x="468" y="906"/>
                  </a:lnTo>
                  <a:lnTo>
                    <a:pt x="468" y="900"/>
                  </a:lnTo>
                  <a:lnTo>
                    <a:pt x="462" y="894"/>
                  </a:lnTo>
                  <a:lnTo>
                    <a:pt x="456" y="894"/>
                  </a:lnTo>
                  <a:lnTo>
                    <a:pt x="462" y="888"/>
                  </a:lnTo>
                  <a:lnTo>
                    <a:pt x="468" y="888"/>
                  </a:lnTo>
                  <a:lnTo>
                    <a:pt x="462" y="882"/>
                  </a:lnTo>
                  <a:lnTo>
                    <a:pt x="462" y="876"/>
                  </a:lnTo>
                  <a:lnTo>
                    <a:pt x="456" y="870"/>
                  </a:lnTo>
                  <a:lnTo>
                    <a:pt x="456" y="864"/>
                  </a:lnTo>
                  <a:lnTo>
                    <a:pt x="450" y="858"/>
                  </a:lnTo>
                  <a:lnTo>
                    <a:pt x="444" y="858"/>
                  </a:lnTo>
                  <a:lnTo>
                    <a:pt x="444" y="852"/>
                  </a:lnTo>
                  <a:lnTo>
                    <a:pt x="438" y="852"/>
                  </a:lnTo>
                  <a:lnTo>
                    <a:pt x="438" y="858"/>
                  </a:lnTo>
                  <a:lnTo>
                    <a:pt x="402" y="870"/>
                  </a:lnTo>
                  <a:lnTo>
                    <a:pt x="390" y="882"/>
                  </a:lnTo>
                  <a:lnTo>
                    <a:pt x="384" y="900"/>
                  </a:lnTo>
                  <a:lnTo>
                    <a:pt x="342" y="900"/>
                  </a:lnTo>
                  <a:lnTo>
                    <a:pt x="324" y="900"/>
                  </a:lnTo>
                  <a:lnTo>
                    <a:pt x="294" y="906"/>
                  </a:lnTo>
                  <a:lnTo>
                    <a:pt x="282" y="948"/>
                  </a:lnTo>
                  <a:lnTo>
                    <a:pt x="282" y="978"/>
                  </a:lnTo>
                  <a:lnTo>
                    <a:pt x="270" y="1008"/>
                  </a:lnTo>
                  <a:lnTo>
                    <a:pt x="240" y="1014"/>
                  </a:lnTo>
                  <a:lnTo>
                    <a:pt x="216" y="996"/>
                  </a:lnTo>
                  <a:lnTo>
                    <a:pt x="204" y="984"/>
                  </a:lnTo>
                  <a:lnTo>
                    <a:pt x="192" y="966"/>
                  </a:lnTo>
                  <a:lnTo>
                    <a:pt x="186" y="948"/>
                  </a:lnTo>
                  <a:lnTo>
                    <a:pt x="174" y="948"/>
                  </a:lnTo>
                  <a:lnTo>
                    <a:pt x="174" y="936"/>
                  </a:lnTo>
                  <a:lnTo>
                    <a:pt x="186" y="924"/>
                  </a:lnTo>
                  <a:lnTo>
                    <a:pt x="198" y="906"/>
                  </a:lnTo>
                  <a:lnTo>
                    <a:pt x="204" y="888"/>
                  </a:lnTo>
                  <a:lnTo>
                    <a:pt x="222" y="870"/>
                  </a:lnTo>
                  <a:lnTo>
                    <a:pt x="234" y="858"/>
                  </a:lnTo>
                  <a:lnTo>
                    <a:pt x="234" y="852"/>
                  </a:lnTo>
                  <a:lnTo>
                    <a:pt x="222" y="852"/>
                  </a:lnTo>
                  <a:lnTo>
                    <a:pt x="228" y="810"/>
                  </a:lnTo>
                  <a:lnTo>
                    <a:pt x="222" y="798"/>
                  </a:lnTo>
                  <a:lnTo>
                    <a:pt x="216" y="798"/>
                  </a:lnTo>
                  <a:lnTo>
                    <a:pt x="216" y="792"/>
                  </a:lnTo>
                  <a:lnTo>
                    <a:pt x="210" y="792"/>
                  </a:lnTo>
                  <a:lnTo>
                    <a:pt x="204" y="798"/>
                  </a:lnTo>
                  <a:lnTo>
                    <a:pt x="204" y="792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0" y="786"/>
                  </a:lnTo>
                  <a:lnTo>
                    <a:pt x="174" y="792"/>
                  </a:lnTo>
                  <a:lnTo>
                    <a:pt x="162" y="792"/>
                  </a:lnTo>
                  <a:lnTo>
                    <a:pt x="156" y="792"/>
                  </a:lnTo>
                  <a:lnTo>
                    <a:pt x="156" y="798"/>
                  </a:lnTo>
                  <a:lnTo>
                    <a:pt x="138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6" y="804"/>
                  </a:lnTo>
                  <a:lnTo>
                    <a:pt x="102" y="810"/>
                  </a:lnTo>
                  <a:lnTo>
                    <a:pt x="90" y="810"/>
                  </a:lnTo>
                  <a:lnTo>
                    <a:pt x="72" y="798"/>
                  </a:lnTo>
                  <a:lnTo>
                    <a:pt x="66" y="780"/>
                  </a:lnTo>
                  <a:lnTo>
                    <a:pt x="60" y="780"/>
                  </a:lnTo>
                  <a:lnTo>
                    <a:pt x="60" y="768"/>
                  </a:lnTo>
                  <a:lnTo>
                    <a:pt x="54" y="768"/>
                  </a:lnTo>
                  <a:lnTo>
                    <a:pt x="24" y="756"/>
                  </a:lnTo>
                  <a:lnTo>
                    <a:pt x="18" y="744"/>
                  </a:lnTo>
                  <a:lnTo>
                    <a:pt x="12" y="738"/>
                  </a:lnTo>
                  <a:lnTo>
                    <a:pt x="18" y="732"/>
                  </a:lnTo>
                  <a:lnTo>
                    <a:pt x="12" y="726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8" y="696"/>
                  </a:lnTo>
                  <a:lnTo>
                    <a:pt x="24" y="708"/>
                  </a:lnTo>
                  <a:lnTo>
                    <a:pt x="36" y="702"/>
                  </a:lnTo>
                  <a:lnTo>
                    <a:pt x="36" y="678"/>
                  </a:lnTo>
                  <a:lnTo>
                    <a:pt x="36" y="660"/>
                  </a:lnTo>
                  <a:lnTo>
                    <a:pt x="42" y="654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72" y="624"/>
                  </a:lnTo>
                  <a:lnTo>
                    <a:pt x="90" y="618"/>
                  </a:lnTo>
                  <a:lnTo>
                    <a:pt x="102" y="618"/>
                  </a:lnTo>
                  <a:lnTo>
                    <a:pt x="114" y="612"/>
                  </a:lnTo>
                  <a:lnTo>
                    <a:pt x="138" y="606"/>
                  </a:lnTo>
                  <a:lnTo>
                    <a:pt x="144" y="606"/>
                  </a:lnTo>
                  <a:lnTo>
                    <a:pt x="150" y="594"/>
                  </a:lnTo>
                  <a:lnTo>
                    <a:pt x="156" y="576"/>
                  </a:lnTo>
                  <a:lnTo>
                    <a:pt x="168" y="552"/>
                  </a:lnTo>
                  <a:lnTo>
                    <a:pt x="168" y="540"/>
                  </a:lnTo>
                  <a:lnTo>
                    <a:pt x="180" y="522"/>
                  </a:lnTo>
                  <a:lnTo>
                    <a:pt x="186" y="498"/>
                  </a:lnTo>
                  <a:lnTo>
                    <a:pt x="198" y="480"/>
                  </a:lnTo>
                  <a:lnTo>
                    <a:pt x="204" y="486"/>
                  </a:lnTo>
                  <a:lnTo>
                    <a:pt x="210" y="480"/>
                  </a:lnTo>
                  <a:lnTo>
                    <a:pt x="204" y="474"/>
                  </a:lnTo>
                  <a:lnTo>
                    <a:pt x="198" y="462"/>
                  </a:lnTo>
                  <a:lnTo>
                    <a:pt x="192" y="456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50"/>
                  </a:lnTo>
                  <a:lnTo>
                    <a:pt x="132" y="426"/>
                  </a:lnTo>
                  <a:lnTo>
                    <a:pt x="132" y="396"/>
                  </a:lnTo>
                  <a:lnTo>
                    <a:pt x="132" y="378"/>
                  </a:lnTo>
                  <a:lnTo>
                    <a:pt x="126" y="348"/>
                  </a:lnTo>
                  <a:lnTo>
                    <a:pt x="132" y="312"/>
                  </a:lnTo>
                  <a:lnTo>
                    <a:pt x="126" y="288"/>
                  </a:lnTo>
                  <a:lnTo>
                    <a:pt x="138" y="282"/>
                  </a:lnTo>
                  <a:lnTo>
                    <a:pt x="126" y="264"/>
                  </a:lnTo>
                  <a:lnTo>
                    <a:pt x="126" y="258"/>
                  </a:lnTo>
                  <a:lnTo>
                    <a:pt x="120" y="246"/>
                  </a:lnTo>
                  <a:lnTo>
                    <a:pt x="126" y="234"/>
                  </a:lnTo>
                  <a:lnTo>
                    <a:pt x="114" y="228"/>
                  </a:lnTo>
                  <a:lnTo>
                    <a:pt x="114" y="222"/>
                  </a:lnTo>
                  <a:lnTo>
                    <a:pt x="96" y="204"/>
                  </a:lnTo>
                  <a:lnTo>
                    <a:pt x="84" y="180"/>
                  </a:lnTo>
                  <a:lnTo>
                    <a:pt x="78" y="168"/>
                  </a:lnTo>
                  <a:lnTo>
                    <a:pt x="72" y="162"/>
                  </a:lnTo>
                  <a:lnTo>
                    <a:pt x="66" y="144"/>
                  </a:lnTo>
                  <a:lnTo>
                    <a:pt x="60" y="138"/>
                  </a:lnTo>
                  <a:lnTo>
                    <a:pt x="66" y="126"/>
                  </a:lnTo>
                  <a:lnTo>
                    <a:pt x="66" y="114"/>
                  </a:lnTo>
                  <a:lnTo>
                    <a:pt x="72" y="114"/>
                  </a:lnTo>
                  <a:lnTo>
                    <a:pt x="72" y="108"/>
                  </a:lnTo>
                  <a:lnTo>
                    <a:pt x="78" y="102"/>
                  </a:lnTo>
                  <a:lnTo>
                    <a:pt x="78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120" y="78"/>
                  </a:lnTo>
                  <a:lnTo>
                    <a:pt x="144" y="84"/>
                  </a:lnTo>
                  <a:lnTo>
                    <a:pt x="150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74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92" y="102"/>
                  </a:lnTo>
                  <a:lnTo>
                    <a:pt x="198" y="96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16" y="96"/>
                  </a:lnTo>
                  <a:lnTo>
                    <a:pt x="222" y="96"/>
                  </a:lnTo>
                  <a:lnTo>
                    <a:pt x="228" y="96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94" y="114"/>
                  </a:lnTo>
                  <a:lnTo>
                    <a:pt x="312" y="120"/>
                  </a:lnTo>
                  <a:lnTo>
                    <a:pt x="318" y="126"/>
                  </a:lnTo>
                  <a:lnTo>
                    <a:pt x="330" y="132"/>
                  </a:lnTo>
                  <a:lnTo>
                    <a:pt x="342" y="132"/>
                  </a:lnTo>
                  <a:lnTo>
                    <a:pt x="348" y="132"/>
                  </a:lnTo>
                  <a:lnTo>
                    <a:pt x="354" y="138"/>
                  </a:lnTo>
                  <a:lnTo>
                    <a:pt x="366" y="138"/>
                  </a:lnTo>
                  <a:lnTo>
                    <a:pt x="372" y="144"/>
                  </a:lnTo>
                  <a:lnTo>
                    <a:pt x="378" y="150"/>
                  </a:lnTo>
                  <a:lnTo>
                    <a:pt x="384" y="150"/>
                  </a:lnTo>
                  <a:lnTo>
                    <a:pt x="390" y="150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14" y="156"/>
                  </a:lnTo>
                  <a:lnTo>
                    <a:pt x="420" y="156"/>
                  </a:lnTo>
                  <a:lnTo>
                    <a:pt x="426" y="162"/>
                  </a:lnTo>
                  <a:lnTo>
                    <a:pt x="438" y="168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62" y="174"/>
                  </a:lnTo>
                  <a:lnTo>
                    <a:pt x="468" y="174"/>
                  </a:lnTo>
                  <a:lnTo>
                    <a:pt x="474" y="174"/>
                  </a:lnTo>
                  <a:lnTo>
                    <a:pt x="474" y="180"/>
                  </a:lnTo>
                  <a:lnTo>
                    <a:pt x="480" y="192"/>
                  </a:lnTo>
                  <a:lnTo>
                    <a:pt x="498" y="198"/>
                  </a:lnTo>
                  <a:lnTo>
                    <a:pt x="510" y="210"/>
                  </a:lnTo>
                  <a:lnTo>
                    <a:pt x="516" y="210"/>
                  </a:lnTo>
                  <a:lnTo>
                    <a:pt x="522" y="210"/>
                  </a:lnTo>
                  <a:lnTo>
                    <a:pt x="534" y="216"/>
                  </a:lnTo>
                  <a:lnTo>
                    <a:pt x="540" y="216"/>
                  </a:lnTo>
                  <a:lnTo>
                    <a:pt x="546" y="222"/>
                  </a:lnTo>
                  <a:lnTo>
                    <a:pt x="552" y="222"/>
                  </a:lnTo>
                  <a:lnTo>
                    <a:pt x="558" y="228"/>
                  </a:lnTo>
                  <a:lnTo>
                    <a:pt x="564" y="228"/>
                  </a:lnTo>
                  <a:lnTo>
                    <a:pt x="570" y="234"/>
                  </a:lnTo>
                  <a:lnTo>
                    <a:pt x="576" y="240"/>
                  </a:lnTo>
                  <a:lnTo>
                    <a:pt x="582" y="240"/>
                  </a:lnTo>
                  <a:lnTo>
                    <a:pt x="588" y="240"/>
                  </a:lnTo>
                  <a:lnTo>
                    <a:pt x="594" y="240"/>
                  </a:lnTo>
                  <a:lnTo>
                    <a:pt x="600" y="228"/>
                  </a:lnTo>
                  <a:lnTo>
                    <a:pt x="588" y="216"/>
                  </a:lnTo>
                  <a:lnTo>
                    <a:pt x="588" y="198"/>
                  </a:lnTo>
                  <a:lnTo>
                    <a:pt x="582" y="198"/>
                  </a:lnTo>
                  <a:lnTo>
                    <a:pt x="588" y="192"/>
                  </a:lnTo>
                  <a:lnTo>
                    <a:pt x="582" y="168"/>
                  </a:lnTo>
                  <a:lnTo>
                    <a:pt x="558" y="114"/>
                  </a:lnTo>
                  <a:lnTo>
                    <a:pt x="552" y="90"/>
                  </a:lnTo>
                  <a:lnTo>
                    <a:pt x="558" y="60"/>
                  </a:lnTo>
                  <a:lnTo>
                    <a:pt x="564" y="48"/>
                  </a:lnTo>
                  <a:lnTo>
                    <a:pt x="582" y="42"/>
                  </a:lnTo>
                  <a:lnTo>
                    <a:pt x="624" y="6"/>
                  </a:lnTo>
                  <a:lnTo>
                    <a:pt x="648" y="0"/>
                  </a:lnTo>
                  <a:lnTo>
                    <a:pt x="678" y="0"/>
                  </a:lnTo>
                  <a:lnTo>
                    <a:pt x="720" y="12"/>
                  </a:lnTo>
                  <a:lnTo>
                    <a:pt x="744" y="24"/>
                  </a:lnTo>
                  <a:lnTo>
                    <a:pt x="768" y="42"/>
                  </a:lnTo>
                  <a:lnTo>
                    <a:pt x="816" y="48"/>
                  </a:lnTo>
                  <a:lnTo>
                    <a:pt x="834" y="48"/>
                  </a:lnTo>
                  <a:lnTo>
                    <a:pt x="852" y="54"/>
                  </a:lnTo>
                  <a:lnTo>
                    <a:pt x="906" y="60"/>
                  </a:lnTo>
                  <a:lnTo>
                    <a:pt x="948" y="54"/>
                  </a:lnTo>
                  <a:lnTo>
                    <a:pt x="978" y="42"/>
                  </a:lnTo>
                  <a:lnTo>
                    <a:pt x="984" y="48"/>
                  </a:lnTo>
                  <a:lnTo>
                    <a:pt x="990" y="60"/>
                  </a:lnTo>
                  <a:lnTo>
                    <a:pt x="996" y="66"/>
                  </a:lnTo>
                  <a:lnTo>
                    <a:pt x="1002" y="72"/>
                  </a:lnTo>
                  <a:lnTo>
                    <a:pt x="1014" y="78"/>
                  </a:lnTo>
                  <a:lnTo>
                    <a:pt x="1014" y="84"/>
                  </a:lnTo>
                  <a:lnTo>
                    <a:pt x="1032" y="84"/>
                  </a:lnTo>
                  <a:lnTo>
                    <a:pt x="1032" y="90"/>
                  </a:lnTo>
                  <a:lnTo>
                    <a:pt x="1032" y="96"/>
                  </a:lnTo>
                  <a:lnTo>
                    <a:pt x="1032" y="108"/>
                  </a:lnTo>
                  <a:lnTo>
                    <a:pt x="1056" y="126"/>
                  </a:lnTo>
                  <a:lnTo>
                    <a:pt x="1068" y="138"/>
                  </a:lnTo>
                  <a:lnTo>
                    <a:pt x="1068" y="156"/>
                  </a:lnTo>
                  <a:lnTo>
                    <a:pt x="1080" y="150"/>
                  </a:lnTo>
                  <a:lnTo>
                    <a:pt x="1086" y="150"/>
                  </a:lnTo>
                  <a:lnTo>
                    <a:pt x="1092" y="156"/>
                  </a:lnTo>
                  <a:lnTo>
                    <a:pt x="1092" y="162"/>
                  </a:lnTo>
                  <a:lnTo>
                    <a:pt x="1092" y="168"/>
                  </a:lnTo>
                  <a:lnTo>
                    <a:pt x="1098" y="168"/>
                  </a:lnTo>
                  <a:lnTo>
                    <a:pt x="1092" y="180"/>
                  </a:lnTo>
                  <a:lnTo>
                    <a:pt x="1092" y="186"/>
                  </a:lnTo>
                  <a:lnTo>
                    <a:pt x="1086" y="192"/>
                  </a:lnTo>
                  <a:lnTo>
                    <a:pt x="1068" y="210"/>
                  </a:lnTo>
                  <a:lnTo>
                    <a:pt x="1068" y="216"/>
                  </a:lnTo>
                  <a:lnTo>
                    <a:pt x="1074" y="228"/>
                  </a:lnTo>
                  <a:lnTo>
                    <a:pt x="1092" y="234"/>
                  </a:lnTo>
                  <a:lnTo>
                    <a:pt x="1122" y="216"/>
                  </a:lnTo>
                  <a:lnTo>
                    <a:pt x="1188" y="204"/>
                  </a:lnTo>
                  <a:lnTo>
                    <a:pt x="1212" y="204"/>
                  </a:lnTo>
                  <a:lnTo>
                    <a:pt x="1230" y="198"/>
                  </a:lnTo>
                  <a:lnTo>
                    <a:pt x="1236" y="204"/>
                  </a:lnTo>
                  <a:lnTo>
                    <a:pt x="1242" y="210"/>
                  </a:lnTo>
                  <a:lnTo>
                    <a:pt x="1242" y="204"/>
                  </a:lnTo>
                  <a:lnTo>
                    <a:pt x="1248" y="198"/>
                  </a:lnTo>
                  <a:lnTo>
                    <a:pt x="1308" y="204"/>
                  </a:lnTo>
                  <a:lnTo>
                    <a:pt x="1338" y="204"/>
                  </a:lnTo>
                  <a:lnTo>
                    <a:pt x="1374" y="228"/>
                  </a:lnTo>
                  <a:lnTo>
                    <a:pt x="1380" y="234"/>
                  </a:lnTo>
                  <a:lnTo>
                    <a:pt x="1380" y="240"/>
                  </a:lnTo>
                  <a:lnTo>
                    <a:pt x="1386" y="252"/>
                  </a:lnTo>
                  <a:lnTo>
                    <a:pt x="1392" y="252"/>
                  </a:lnTo>
                  <a:lnTo>
                    <a:pt x="1416" y="270"/>
                  </a:lnTo>
                  <a:lnTo>
                    <a:pt x="1428" y="294"/>
                  </a:lnTo>
                  <a:lnTo>
                    <a:pt x="1440" y="312"/>
                  </a:lnTo>
                  <a:lnTo>
                    <a:pt x="1452" y="330"/>
                  </a:lnTo>
                  <a:lnTo>
                    <a:pt x="1464" y="330"/>
                  </a:lnTo>
                  <a:lnTo>
                    <a:pt x="1464" y="336"/>
                  </a:lnTo>
                  <a:lnTo>
                    <a:pt x="1470" y="336"/>
                  </a:lnTo>
                  <a:lnTo>
                    <a:pt x="1470" y="342"/>
                  </a:lnTo>
                  <a:lnTo>
                    <a:pt x="1476" y="342"/>
                  </a:lnTo>
                  <a:lnTo>
                    <a:pt x="1488" y="336"/>
                  </a:lnTo>
                  <a:lnTo>
                    <a:pt x="1494" y="342"/>
                  </a:lnTo>
                  <a:lnTo>
                    <a:pt x="1500" y="342"/>
                  </a:lnTo>
                  <a:lnTo>
                    <a:pt x="1512" y="366"/>
                  </a:lnTo>
                  <a:lnTo>
                    <a:pt x="1530" y="396"/>
                  </a:lnTo>
                  <a:lnTo>
                    <a:pt x="1536" y="444"/>
                  </a:lnTo>
                  <a:lnTo>
                    <a:pt x="1530" y="480"/>
                  </a:lnTo>
                  <a:lnTo>
                    <a:pt x="1506" y="510"/>
                  </a:lnTo>
                  <a:lnTo>
                    <a:pt x="1500" y="546"/>
                  </a:lnTo>
                  <a:lnTo>
                    <a:pt x="1494" y="564"/>
                  </a:lnTo>
                  <a:lnTo>
                    <a:pt x="1494" y="576"/>
                  </a:lnTo>
                  <a:lnTo>
                    <a:pt x="1500" y="582"/>
                  </a:lnTo>
                  <a:lnTo>
                    <a:pt x="1494" y="612"/>
                  </a:lnTo>
                  <a:lnTo>
                    <a:pt x="1476" y="630"/>
                  </a:lnTo>
                  <a:lnTo>
                    <a:pt x="1434" y="672"/>
                  </a:lnTo>
                  <a:lnTo>
                    <a:pt x="1392" y="756"/>
                  </a:lnTo>
                  <a:lnTo>
                    <a:pt x="1380" y="792"/>
                  </a:lnTo>
                  <a:lnTo>
                    <a:pt x="1374" y="798"/>
                  </a:lnTo>
                  <a:lnTo>
                    <a:pt x="1368" y="798"/>
                  </a:lnTo>
                  <a:lnTo>
                    <a:pt x="1380" y="804"/>
                  </a:lnTo>
                  <a:lnTo>
                    <a:pt x="1386" y="804"/>
                  </a:lnTo>
                  <a:lnTo>
                    <a:pt x="1380" y="822"/>
                  </a:lnTo>
                  <a:lnTo>
                    <a:pt x="1380" y="852"/>
                  </a:lnTo>
                  <a:lnTo>
                    <a:pt x="1374" y="858"/>
                  </a:lnTo>
                  <a:lnTo>
                    <a:pt x="1380" y="858"/>
                  </a:lnTo>
                  <a:lnTo>
                    <a:pt x="1374" y="864"/>
                  </a:lnTo>
                  <a:lnTo>
                    <a:pt x="1374" y="870"/>
                  </a:lnTo>
                  <a:lnTo>
                    <a:pt x="1374" y="876"/>
                  </a:lnTo>
                  <a:lnTo>
                    <a:pt x="1368" y="900"/>
                  </a:lnTo>
                  <a:lnTo>
                    <a:pt x="1362" y="906"/>
                  </a:lnTo>
                  <a:lnTo>
                    <a:pt x="1362" y="918"/>
                  </a:lnTo>
                  <a:lnTo>
                    <a:pt x="1362" y="924"/>
                  </a:lnTo>
                  <a:lnTo>
                    <a:pt x="1356" y="942"/>
                  </a:lnTo>
                  <a:lnTo>
                    <a:pt x="1350" y="972"/>
                  </a:lnTo>
                  <a:lnTo>
                    <a:pt x="1350" y="1014"/>
                  </a:lnTo>
                  <a:lnTo>
                    <a:pt x="1350" y="102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3" name="Freeform 18">
              <a:extLst>
                <a:ext uri="{FF2B5EF4-FFF2-40B4-BE49-F238E27FC236}">
                  <a16:creationId xmlns:a16="http://schemas.microsoft.com/office/drawing/2014/main" id="{EC11F2E0-3C06-46E2-8AD2-66EBE00FFE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32346" y="3837389"/>
              <a:ext cx="556811" cy="818559"/>
            </a:xfrm>
            <a:custGeom>
              <a:avLst/>
              <a:gdLst>
                <a:gd name="T0" fmla="*/ 12 w 1044"/>
                <a:gd name="T1" fmla="*/ 95 h 1542"/>
                <a:gd name="T2" fmla="*/ 7 w 1044"/>
                <a:gd name="T3" fmla="*/ 93 h 1542"/>
                <a:gd name="T4" fmla="*/ 0 w 1044"/>
                <a:gd name="T5" fmla="*/ 88 h 1542"/>
                <a:gd name="T6" fmla="*/ 3 w 1044"/>
                <a:gd name="T7" fmla="*/ 74 h 1542"/>
                <a:gd name="T8" fmla="*/ 4 w 1044"/>
                <a:gd name="T9" fmla="*/ 59 h 1542"/>
                <a:gd name="T10" fmla="*/ 7 w 1044"/>
                <a:gd name="T11" fmla="*/ 52 h 1542"/>
                <a:gd name="T12" fmla="*/ 20 w 1044"/>
                <a:gd name="T13" fmla="*/ 50 h 1542"/>
                <a:gd name="T14" fmla="*/ 24 w 1044"/>
                <a:gd name="T15" fmla="*/ 46 h 1542"/>
                <a:gd name="T16" fmla="*/ 29 w 1044"/>
                <a:gd name="T17" fmla="*/ 33 h 1542"/>
                <a:gd name="T18" fmla="*/ 32 w 1044"/>
                <a:gd name="T19" fmla="*/ 26 h 1542"/>
                <a:gd name="T20" fmla="*/ 30 w 1044"/>
                <a:gd name="T21" fmla="*/ 20 h 1542"/>
                <a:gd name="T22" fmla="*/ 26 w 1044"/>
                <a:gd name="T23" fmla="*/ 17 h 1542"/>
                <a:gd name="T24" fmla="*/ 28 w 1044"/>
                <a:gd name="T25" fmla="*/ 12 h 1542"/>
                <a:gd name="T26" fmla="*/ 44 w 1044"/>
                <a:gd name="T27" fmla="*/ 5 h 1542"/>
                <a:gd name="T28" fmla="*/ 57 w 1044"/>
                <a:gd name="T29" fmla="*/ 2 h 1542"/>
                <a:gd name="T30" fmla="*/ 65 w 1044"/>
                <a:gd name="T31" fmla="*/ 12 h 1542"/>
                <a:gd name="T32" fmla="*/ 81 w 1044"/>
                <a:gd name="T33" fmla="*/ 9 h 1542"/>
                <a:gd name="T34" fmla="*/ 91 w 1044"/>
                <a:gd name="T35" fmla="*/ 20 h 1542"/>
                <a:gd name="T36" fmla="*/ 89 w 1044"/>
                <a:gd name="T37" fmla="*/ 28 h 1542"/>
                <a:gd name="T38" fmla="*/ 83 w 1044"/>
                <a:gd name="T39" fmla="*/ 33 h 1542"/>
                <a:gd name="T40" fmla="*/ 74 w 1044"/>
                <a:gd name="T41" fmla="*/ 42 h 1542"/>
                <a:gd name="T42" fmla="*/ 58 w 1044"/>
                <a:gd name="T43" fmla="*/ 57 h 1542"/>
                <a:gd name="T44" fmla="*/ 54 w 1044"/>
                <a:gd name="T45" fmla="*/ 65 h 1542"/>
                <a:gd name="T46" fmla="*/ 59 w 1044"/>
                <a:gd name="T47" fmla="*/ 74 h 1542"/>
                <a:gd name="T48" fmla="*/ 55 w 1044"/>
                <a:gd name="T49" fmla="*/ 84 h 1542"/>
                <a:gd name="T50" fmla="*/ 52 w 1044"/>
                <a:gd name="T51" fmla="*/ 98 h 1542"/>
                <a:gd name="T52" fmla="*/ 47 w 1044"/>
                <a:gd name="T53" fmla="*/ 105 h 1542"/>
                <a:gd name="T54" fmla="*/ 42 w 1044"/>
                <a:gd name="T55" fmla="*/ 111 h 1542"/>
                <a:gd name="T56" fmla="*/ 43 w 1044"/>
                <a:gd name="T57" fmla="*/ 120 h 1542"/>
                <a:gd name="T58" fmla="*/ 45 w 1044"/>
                <a:gd name="T59" fmla="*/ 125 h 1542"/>
                <a:gd name="T60" fmla="*/ 44 w 1044"/>
                <a:gd name="T61" fmla="*/ 130 h 1542"/>
                <a:gd name="T62" fmla="*/ 45 w 1044"/>
                <a:gd name="T63" fmla="*/ 131 h 1542"/>
                <a:gd name="T64" fmla="*/ 48 w 1044"/>
                <a:gd name="T65" fmla="*/ 133 h 1542"/>
                <a:gd name="T66" fmla="*/ 39 w 1044"/>
                <a:gd name="T67" fmla="*/ 133 h 1542"/>
                <a:gd name="T68" fmla="*/ 42 w 1044"/>
                <a:gd name="T69" fmla="*/ 132 h 1542"/>
                <a:gd name="T70" fmla="*/ 38 w 1044"/>
                <a:gd name="T71" fmla="*/ 133 h 1542"/>
                <a:gd name="T72" fmla="*/ 37 w 1044"/>
                <a:gd name="T73" fmla="*/ 129 h 1542"/>
                <a:gd name="T74" fmla="*/ 40 w 1044"/>
                <a:gd name="T75" fmla="*/ 125 h 1542"/>
                <a:gd name="T76" fmla="*/ 40 w 1044"/>
                <a:gd name="T77" fmla="*/ 120 h 1542"/>
                <a:gd name="T78" fmla="*/ 40 w 1044"/>
                <a:gd name="T79" fmla="*/ 117 h 1542"/>
                <a:gd name="T80" fmla="*/ 37 w 1044"/>
                <a:gd name="T81" fmla="*/ 120 h 1542"/>
                <a:gd name="T82" fmla="*/ 34 w 1044"/>
                <a:gd name="T83" fmla="*/ 122 h 1542"/>
                <a:gd name="T84" fmla="*/ 36 w 1044"/>
                <a:gd name="T85" fmla="*/ 120 h 1542"/>
                <a:gd name="T86" fmla="*/ 30 w 1044"/>
                <a:gd name="T87" fmla="*/ 120 h 1542"/>
                <a:gd name="T88" fmla="*/ 31 w 1044"/>
                <a:gd name="T89" fmla="*/ 113 h 1542"/>
                <a:gd name="T90" fmla="*/ 29 w 1044"/>
                <a:gd name="T91" fmla="*/ 112 h 1542"/>
                <a:gd name="T92" fmla="*/ 31 w 1044"/>
                <a:gd name="T93" fmla="*/ 117 h 1542"/>
                <a:gd name="T94" fmla="*/ 27 w 1044"/>
                <a:gd name="T95" fmla="*/ 116 h 1542"/>
                <a:gd name="T96" fmla="*/ 25 w 1044"/>
                <a:gd name="T97" fmla="*/ 112 h 1542"/>
                <a:gd name="T98" fmla="*/ 21 w 1044"/>
                <a:gd name="T99" fmla="*/ 109 h 1542"/>
                <a:gd name="T100" fmla="*/ 21 w 1044"/>
                <a:gd name="T101" fmla="*/ 113 h 1542"/>
                <a:gd name="T102" fmla="*/ 40 w 1044"/>
                <a:gd name="T103" fmla="*/ 120 h 1542"/>
                <a:gd name="T104" fmla="*/ 40 w 1044"/>
                <a:gd name="T105" fmla="*/ 121 h 1542"/>
                <a:gd name="T106" fmla="*/ 40 w 1044"/>
                <a:gd name="T107" fmla="*/ 116 h 1542"/>
                <a:gd name="T108" fmla="*/ 38 w 1044"/>
                <a:gd name="T109" fmla="*/ 120 h 1542"/>
                <a:gd name="T110" fmla="*/ 23 w 1044"/>
                <a:gd name="T111" fmla="*/ 110 h 1542"/>
                <a:gd name="T112" fmla="*/ 37 w 1044"/>
                <a:gd name="T113" fmla="*/ 124 h 1542"/>
                <a:gd name="T114" fmla="*/ 40 w 1044"/>
                <a:gd name="T115" fmla="*/ 125 h 1542"/>
                <a:gd name="T116" fmla="*/ 38 w 1044"/>
                <a:gd name="T117" fmla="*/ 128 h 1542"/>
                <a:gd name="T118" fmla="*/ 25 w 1044"/>
                <a:gd name="T119" fmla="*/ 117 h 1542"/>
                <a:gd name="T120" fmla="*/ 27 w 1044"/>
                <a:gd name="T121" fmla="*/ 127 h 1542"/>
                <a:gd name="T122" fmla="*/ 24 w 1044"/>
                <a:gd name="T123" fmla="*/ 113 h 15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4"/>
                <a:gd name="T187" fmla="*/ 0 h 1542"/>
                <a:gd name="T188" fmla="*/ 1044 w 1044"/>
                <a:gd name="T189" fmla="*/ 1542 h 154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4" h="1542">
                  <a:moveTo>
                    <a:pt x="234" y="1278"/>
                  </a:moveTo>
                  <a:lnTo>
                    <a:pt x="228" y="1272"/>
                  </a:lnTo>
                  <a:lnTo>
                    <a:pt x="222" y="1266"/>
                  </a:lnTo>
                  <a:lnTo>
                    <a:pt x="222" y="1260"/>
                  </a:lnTo>
                  <a:lnTo>
                    <a:pt x="204" y="1248"/>
                  </a:lnTo>
                  <a:lnTo>
                    <a:pt x="192" y="1248"/>
                  </a:lnTo>
                  <a:lnTo>
                    <a:pt x="186" y="1236"/>
                  </a:lnTo>
                  <a:lnTo>
                    <a:pt x="174" y="1218"/>
                  </a:lnTo>
                  <a:lnTo>
                    <a:pt x="162" y="1194"/>
                  </a:lnTo>
                  <a:lnTo>
                    <a:pt x="156" y="1182"/>
                  </a:lnTo>
                  <a:lnTo>
                    <a:pt x="162" y="1146"/>
                  </a:lnTo>
                  <a:lnTo>
                    <a:pt x="156" y="1134"/>
                  </a:lnTo>
                  <a:lnTo>
                    <a:pt x="138" y="1122"/>
                  </a:lnTo>
                  <a:lnTo>
                    <a:pt x="132" y="1116"/>
                  </a:lnTo>
                  <a:lnTo>
                    <a:pt x="138" y="1098"/>
                  </a:lnTo>
                  <a:lnTo>
                    <a:pt x="138" y="1092"/>
                  </a:lnTo>
                  <a:lnTo>
                    <a:pt x="138" y="1086"/>
                  </a:lnTo>
                  <a:lnTo>
                    <a:pt x="132" y="1074"/>
                  </a:lnTo>
                  <a:lnTo>
                    <a:pt x="126" y="1074"/>
                  </a:lnTo>
                  <a:lnTo>
                    <a:pt x="126" y="1068"/>
                  </a:lnTo>
                  <a:lnTo>
                    <a:pt x="120" y="1062"/>
                  </a:lnTo>
                  <a:lnTo>
                    <a:pt x="120" y="1056"/>
                  </a:lnTo>
                  <a:lnTo>
                    <a:pt x="114" y="1050"/>
                  </a:lnTo>
                  <a:lnTo>
                    <a:pt x="108" y="1050"/>
                  </a:lnTo>
                  <a:lnTo>
                    <a:pt x="102" y="1056"/>
                  </a:lnTo>
                  <a:lnTo>
                    <a:pt x="102" y="1062"/>
                  </a:lnTo>
                  <a:lnTo>
                    <a:pt x="96" y="1062"/>
                  </a:lnTo>
                  <a:lnTo>
                    <a:pt x="96" y="1068"/>
                  </a:lnTo>
                  <a:lnTo>
                    <a:pt x="96" y="1074"/>
                  </a:lnTo>
                  <a:lnTo>
                    <a:pt x="90" y="1074"/>
                  </a:lnTo>
                  <a:lnTo>
                    <a:pt x="84" y="1080"/>
                  </a:lnTo>
                  <a:lnTo>
                    <a:pt x="78" y="1074"/>
                  </a:lnTo>
                  <a:lnTo>
                    <a:pt x="72" y="1074"/>
                  </a:lnTo>
                  <a:lnTo>
                    <a:pt x="72" y="1068"/>
                  </a:lnTo>
                  <a:lnTo>
                    <a:pt x="72" y="1062"/>
                  </a:lnTo>
                  <a:lnTo>
                    <a:pt x="60" y="1056"/>
                  </a:lnTo>
                  <a:lnTo>
                    <a:pt x="60" y="1044"/>
                  </a:lnTo>
                  <a:lnTo>
                    <a:pt x="60" y="1032"/>
                  </a:lnTo>
                  <a:lnTo>
                    <a:pt x="60" y="1026"/>
                  </a:lnTo>
                  <a:lnTo>
                    <a:pt x="54" y="1026"/>
                  </a:lnTo>
                  <a:lnTo>
                    <a:pt x="48" y="1014"/>
                  </a:lnTo>
                  <a:lnTo>
                    <a:pt x="42" y="1008"/>
                  </a:lnTo>
                  <a:lnTo>
                    <a:pt x="30" y="1008"/>
                  </a:lnTo>
                  <a:lnTo>
                    <a:pt x="30" y="1002"/>
                  </a:lnTo>
                  <a:lnTo>
                    <a:pt x="24" y="1008"/>
                  </a:lnTo>
                  <a:lnTo>
                    <a:pt x="12" y="1008"/>
                  </a:lnTo>
                  <a:lnTo>
                    <a:pt x="6" y="1008"/>
                  </a:lnTo>
                  <a:lnTo>
                    <a:pt x="0" y="1008"/>
                  </a:lnTo>
                  <a:lnTo>
                    <a:pt x="0" y="1002"/>
                  </a:lnTo>
                  <a:lnTo>
                    <a:pt x="6" y="990"/>
                  </a:lnTo>
                  <a:lnTo>
                    <a:pt x="6" y="984"/>
                  </a:lnTo>
                  <a:lnTo>
                    <a:pt x="0" y="978"/>
                  </a:lnTo>
                  <a:lnTo>
                    <a:pt x="6" y="972"/>
                  </a:lnTo>
                  <a:lnTo>
                    <a:pt x="12" y="972"/>
                  </a:lnTo>
                  <a:lnTo>
                    <a:pt x="72" y="978"/>
                  </a:lnTo>
                  <a:lnTo>
                    <a:pt x="78" y="972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30"/>
                  </a:lnTo>
                  <a:lnTo>
                    <a:pt x="54" y="912"/>
                  </a:lnTo>
                  <a:lnTo>
                    <a:pt x="42" y="906"/>
                  </a:lnTo>
                  <a:lnTo>
                    <a:pt x="36" y="894"/>
                  </a:lnTo>
                  <a:lnTo>
                    <a:pt x="30" y="876"/>
                  </a:lnTo>
                  <a:lnTo>
                    <a:pt x="30" y="858"/>
                  </a:lnTo>
                  <a:lnTo>
                    <a:pt x="30" y="840"/>
                  </a:lnTo>
                  <a:lnTo>
                    <a:pt x="36" y="816"/>
                  </a:lnTo>
                  <a:lnTo>
                    <a:pt x="36" y="792"/>
                  </a:lnTo>
                  <a:lnTo>
                    <a:pt x="36" y="780"/>
                  </a:lnTo>
                  <a:lnTo>
                    <a:pt x="12" y="774"/>
                  </a:lnTo>
                  <a:lnTo>
                    <a:pt x="24" y="756"/>
                  </a:lnTo>
                  <a:lnTo>
                    <a:pt x="24" y="744"/>
                  </a:lnTo>
                  <a:lnTo>
                    <a:pt x="30" y="738"/>
                  </a:lnTo>
                  <a:lnTo>
                    <a:pt x="30" y="732"/>
                  </a:lnTo>
                  <a:lnTo>
                    <a:pt x="36" y="720"/>
                  </a:lnTo>
                  <a:lnTo>
                    <a:pt x="42" y="714"/>
                  </a:lnTo>
                  <a:lnTo>
                    <a:pt x="54" y="708"/>
                  </a:lnTo>
                  <a:lnTo>
                    <a:pt x="60" y="702"/>
                  </a:lnTo>
                  <a:lnTo>
                    <a:pt x="48" y="690"/>
                  </a:lnTo>
                  <a:lnTo>
                    <a:pt x="48" y="684"/>
                  </a:lnTo>
                  <a:lnTo>
                    <a:pt x="48" y="678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66"/>
                  </a:lnTo>
                  <a:lnTo>
                    <a:pt x="72" y="654"/>
                  </a:lnTo>
                  <a:lnTo>
                    <a:pt x="72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84" y="630"/>
                  </a:lnTo>
                  <a:lnTo>
                    <a:pt x="90" y="630"/>
                  </a:lnTo>
                  <a:lnTo>
                    <a:pt x="96" y="630"/>
                  </a:lnTo>
                  <a:lnTo>
                    <a:pt x="96" y="624"/>
                  </a:lnTo>
                  <a:lnTo>
                    <a:pt x="90" y="624"/>
                  </a:lnTo>
                  <a:lnTo>
                    <a:pt x="84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90" y="600"/>
                  </a:lnTo>
                  <a:lnTo>
                    <a:pt x="84" y="600"/>
                  </a:lnTo>
                  <a:lnTo>
                    <a:pt x="78" y="594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126" y="564"/>
                  </a:lnTo>
                  <a:lnTo>
                    <a:pt x="144" y="564"/>
                  </a:lnTo>
                  <a:lnTo>
                    <a:pt x="156" y="582"/>
                  </a:lnTo>
                  <a:lnTo>
                    <a:pt x="162" y="600"/>
                  </a:lnTo>
                  <a:lnTo>
                    <a:pt x="180" y="588"/>
                  </a:lnTo>
                  <a:lnTo>
                    <a:pt x="192" y="588"/>
                  </a:lnTo>
                  <a:lnTo>
                    <a:pt x="198" y="588"/>
                  </a:lnTo>
                  <a:lnTo>
                    <a:pt x="210" y="582"/>
                  </a:lnTo>
                  <a:lnTo>
                    <a:pt x="216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58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46" y="558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58" y="570"/>
                  </a:lnTo>
                  <a:lnTo>
                    <a:pt x="264" y="570"/>
                  </a:lnTo>
                  <a:lnTo>
                    <a:pt x="270" y="564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46"/>
                  </a:lnTo>
                  <a:lnTo>
                    <a:pt x="276" y="540"/>
                  </a:lnTo>
                  <a:lnTo>
                    <a:pt x="276" y="534"/>
                  </a:lnTo>
                  <a:lnTo>
                    <a:pt x="276" y="528"/>
                  </a:lnTo>
                  <a:lnTo>
                    <a:pt x="282" y="528"/>
                  </a:lnTo>
                  <a:lnTo>
                    <a:pt x="282" y="522"/>
                  </a:lnTo>
                  <a:lnTo>
                    <a:pt x="282" y="516"/>
                  </a:lnTo>
                  <a:lnTo>
                    <a:pt x="282" y="510"/>
                  </a:lnTo>
                  <a:lnTo>
                    <a:pt x="282" y="504"/>
                  </a:lnTo>
                  <a:lnTo>
                    <a:pt x="282" y="492"/>
                  </a:lnTo>
                  <a:lnTo>
                    <a:pt x="288" y="486"/>
                  </a:lnTo>
                  <a:lnTo>
                    <a:pt x="300" y="480"/>
                  </a:lnTo>
                  <a:lnTo>
                    <a:pt x="306" y="462"/>
                  </a:lnTo>
                  <a:lnTo>
                    <a:pt x="318" y="444"/>
                  </a:lnTo>
                  <a:lnTo>
                    <a:pt x="330" y="444"/>
                  </a:lnTo>
                  <a:lnTo>
                    <a:pt x="330" y="432"/>
                  </a:lnTo>
                  <a:lnTo>
                    <a:pt x="342" y="432"/>
                  </a:lnTo>
                  <a:lnTo>
                    <a:pt x="354" y="402"/>
                  </a:lnTo>
                  <a:lnTo>
                    <a:pt x="348" y="390"/>
                  </a:lnTo>
                  <a:lnTo>
                    <a:pt x="336" y="384"/>
                  </a:lnTo>
                  <a:lnTo>
                    <a:pt x="336" y="360"/>
                  </a:lnTo>
                  <a:lnTo>
                    <a:pt x="336" y="354"/>
                  </a:lnTo>
                  <a:lnTo>
                    <a:pt x="336" y="342"/>
                  </a:lnTo>
                  <a:lnTo>
                    <a:pt x="342" y="336"/>
                  </a:lnTo>
                  <a:lnTo>
                    <a:pt x="342" y="324"/>
                  </a:lnTo>
                  <a:lnTo>
                    <a:pt x="372" y="324"/>
                  </a:lnTo>
                  <a:lnTo>
                    <a:pt x="378" y="324"/>
                  </a:lnTo>
                  <a:lnTo>
                    <a:pt x="378" y="318"/>
                  </a:lnTo>
                  <a:lnTo>
                    <a:pt x="372" y="312"/>
                  </a:lnTo>
                  <a:lnTo>
                    <a:pt x="378" y="312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84" y="300"/>
                  </a:lnTo>
                  <a:lnTo>
                    <a:pt x="384" y="294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66" y="294"/>
                  </a:lnTo>
                  <a:lnTo>
                    <a:pt x="366" y="288"/>
                  </a:lnTo>
                  <a:lnTo>
                    <a:pt x="372" y="288"/>
                  </a:lnTo>
                  <a:lnTo>
                    <a:pt x="372" y="282"/>
                  </a:lnTo>
                  <a:lnTo>
                    <a:pt x="366" y="276"/>
                  </a:lnTo>
                  <a:lnTo>
                    <a:pt x="360" y="270"/>
                  </a:lnTo>
                  <a:lnTo>
                    <a:pt x="360" y="264"/>
                  </a:lnTo>
                  <a:lnTo>
                    <a:pt x="354" y="264"/>
                  </a:lnTo>
                  <a:lnTo>
                    <a:pt x="348" y="258"/>
                  </a:lnTo>
                  <a:lnTo>
                    <a:pt x="354" y="258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40"/>
                  </a:lnTo>
                  <a:lnTo>
                    <a:pt x="354" y="240"/>
                  </a:lnTo>
                  <a:lnTo>
                    <a:pt x="342" y="234"/>
                  </a:lnTo>
                  <a:lnTo>
                    <a:pt x="342" y="228"/>
                  </a:lnTo>
                  <a:lnTo>
                    <a:pt x="348" y="228"/>
                  </a:lnTo>
                  <a:lnTo>
                    <a:pt x="342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6" y="216"/>
                  </a:lnTo>
                  <a:lnTo>
                    <a:pt x="330" y="222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24" y="210"/>
                  </a:lnTo>
                  <a:lnTo>
                    <a:pt x="318" y="210"/>
                  </a:lnTo>
                  <a:lnTo>
                    <a:pt x="318" y="204"/>
                  </a:lnTo>
                  <a:lnTo>
                    <a:pt x="312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294" y="192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300" y="174"/>
                  </a:lnTo>
                  <a:lnTo>
                    <a:pt x="300" y="168"/>
                  </a:lnTo>
                  <a:lnTo>
                    <a:pt x="300" y="162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88" y="150"/>
                  </a:lnTo>
                  <a:lnTo>
                    <a:pt x="288" y="144"/>
                  </a:lnTo>
                  <a:lnTo>
                    <a:pt x="282" y="144"/>
                  </a:lnTo>
                  <a:lnTo>
                    <a:pt x="282" y="138"/>
                  </a:lnTo>
                  <a:lnTo>
                    <a:pt x="312" y="132"/>
                  </a:lnTo>
                  <a:lnTo>
                    <a:pt x="324" y="120"/>
                  </a:lnTo>
                  <a:lnTo>
                    <a:pt x="330" y="114"/>
                  </a:lnTo>
                  <a:lnTo>
                    <a:pt x="336" y="102"/>
                  </a:lnTo>
                  <a:lnTo>
                    <a:pt x="348" y="90"/>
                  </a:lnTo>
                  <a:lnTo>
                    <a:pt x="360" y="84"/>
                  </a:lnTo>
                  <a:lnTo>
                    <a:pt x="372" y="84"/>
                  </a:lnTo>
                  <a:lnTo>
                    <a:pt x="378" y="84"/>
                  </a:lnTo>
                  <a:lnTo>
                    <a:pt x="384" y="90"/>
                  </a:lnTo>
                  <a:lnTo>
                    <a:pt x="402" y="90"/>
                  </a:lnTo>
                  <a:lnTo>
                    <a:pt x="438" y="84"/>
                  </a:lnTo>
                  <a:lnTo>
                    <a:pt x="456" y="84"/>
                  </a:lnTo>
                  <a:lnTo>
                    <a:pt x="462" y="78"/>
                  </a:lnTo>
                  <a:lnTo>
                    <a:pt x="486" y="72"/>
                  </a:lnTo>
                  <a:lnTo>
                    <a:pt x="492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04" y="54"/>
                  </a:lnTo>
                  <a:lnTo>
                    <a:pt x="510" y="42"/>
                  </a:lnTo>
                  <a:lnTo>
                    <a:pt x="504" y="42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498" y="30"/>
                  </a:lnTo>
                  <a:lnTo>
                    <a:pt x="492" y="30"/>
                  </a:lnTo>
                  <a:lnTo>
                    <a:pt x="492" y="24"/>
                  </a:lnTo>
                  <a:lnTo>
                    <a:pt x="486" y="18"/>
                  </a:lnTo>
                  <a:lnTo>
                    <a:pt x="498" y="18"/>
                  </a:lnTo>
                  <a:lnTo>
                    <a:pt x="510" y="18"/>
                  </a:lnTo>
                  <a:lnTo>
                    <a:pt x="522" y="12"/>
                  </a:lnTo>
                  <a:lnTo>
                    <a:pt x="528" y="6"/>
                  </a:lnTo>
                  <a:lnTo>
                    <a:pt x="570" y="0"/>
                  </a:lnTo>
                  <a:lnTo>
                    <a:pt x="606" y="6"/>
                  </a:lnTo>
                  <a:lnTo>
                    <a:pt x="654" y="24"/>
                  </a:lnTo>
                  <a:lnTo>
                    <a:pt x="666" y="36"/>
                  </a:lnTo>
                  <a:lnTo>
                    <a:pt x="672" y="30"/>
                  </a:lnTo>
                  <a:lnTo>
                    <a:pt x="690" y="42"/>
                  </a:lnTo>
                  <a:lnTo>
                    <a:pt x="702" y="48"/>
                  </a:lnTo>
                  <a:lnTo>
                    <a:pt x="714" y="60"/>
                  </a:lnTo>
                  <a:lnTo>
                    <a:pt x="714" y="66"/>
                  </a:lnTo>
                  <a:lnTo>
                    <a:pt x="720" y="72"/>
                  </a:lnTo>
                  <a:lnTo>
                    <a:pt x="720" y="78"/>
                  </a:lnTo>
                  <a:lnTo>
                    <a:pt x="720" y="102"/>
                  </a:lnTo>
                  <a:lnTo>
                    <a:pt x="720" y="108"/>
                  </a:lnTo>
                  <a:lnTo>
                    <a:pt x="714" y="108"/>
                  </a:lnTo>
                  <a:lnTo>
                    <a:pt x="714" y="126"/>
                  </a:lnTo>
                  <a:lnTo>
                    <a:pt x="732" y="126"/>
                  </a:lnTo>
                  <a:lnTo>
                    <a:pt x="726" y="132"/>
                  </a:lnTo>
                  <a:lnTo>
                    <a:pt x="738" y="132"/>
                  </a:lnTo>
                  <a:lnTo>
                    <a:pt x="738" y="138"/>
                  </a:lnTo>
                  <a:lnTo>
                    <a:pt x="738" y="144"/>
                  </a:lnTo>
                  <a:lnTo>
                    <a:pt x="744" y="144"/>
                  </a:lnTo>
                  <a:lnTo>
                    <a:pt x="744" y="150"/>
                  </a:lnTo>
                  <a:lnTo>
                    <a:pt x="756" y="156"/>
                  </a:lnTo>
                  <a:lnTo>
                    <a:pt x="768" y="156"/>
                  </a:lnTo>
                  <a:lnTo>
                    <a:pt x="780" y="156"/>
                  </a:lnTo>
                  <a:lnTo>
                    <a:pt x="792" y="150"/>
                  </a:lnTo>
                  <a:lnTo>
                    <a:pt x="786" y="150"/>
                  </a:lnTo>
                  <a:lnTo>
                    <a:pt x="786" y="144"/>
                  </a:lnTo>
                  <a:lnTo>
                    <a:pt x="804" y="144"/>
                  </a:lnTo>
                  <a:lnTo>
                    <a:pt x="816" y="132"/>
                  </a:lnTo>
                  <a:lnTo>
                    <a:pt x="822" y="126"/>
                  </a:lnTo>
                  <a:lnTo>
                    <a:pt x="828" y="132"/>
                  </a:lnTo>
                  <a:lnTo>
                    <a:pt x="834" y="126"/>
                  </a:lnTo>
                  <a:lnTo>
                    <a:pt x="834" y="120"/>
                  </a:lnTo>
                  <a:lnTo>
                    <a:pt x="924" y="108"/>
                  </a:lnTo>
                  <a:lnTo>
                    <a:pt x="942" y="144"/>
                  </a:lnTo>
                  <a:lnTo>
                    <a:pt x="948" y="144"/>
                  </a:lnTo>
                  <a:lnTo>
                    <a:pt x="960" y="168"/>
                  </a:lnTo>
                  <a:lnTo>
                    <a:pt x="972" y="186"/>
                  </a:lnTo>
                  <a:lnTo>
                    <a:pt x="984" y="192"/>
                  </a:lnTo>
                  <a:lnTo>
                    <a:pt x="996" y="192"/>
                  </a:lnTo>
                  <a:lnTo>
                    <a:pt x="996" y="198"/>
                  </a:lnTo>
                  <a:lnTo>
                    <a:pt x="1008" y="204"/>
                  </a:lnTo>
                  <a:lnTo>
                    <a:pt x="1008" y="210"/>
                  </a:lnTo>
                  <a:lnTo>
                    <a:pt x="1002" y="210"/>
                  </a:lnTo>
                  <a:lnTo>
                    <a:pt x="1008" y="216"/>
                  </a:lnTo>
                  <a:lnTo>
                    <a:pt x="1014" y="210"/>
                  </a:lnTo>
                  <a:lnTo>
                    <a:pt x="1014" y="216"/>
                  </a:lnTo>
                  <a:lnTo>
                    <a:pt x="1020" y="222"/>
                  </a:lnTo>
                  <a:lnTo>
                    <a:pt x="1014" y="228"/>
                  </a:lnTo>
                  <a:lnTo>
                    <a:pt x="1032" y="234"/>
                  </a:lnTo>
                  <a:lnTo>
                    <a:pt x="1044" y="240"/>
                  </a:lnTo>
                  <a:lnTo>
                    <a:pt x="1038" y="246"/>
                  </a:lnTo>
                  <a:lnTo>
                    <a:pt x="1038" y="252"/>
                  </a:lnTo>
                  <a:lnTo>
                    <a:pt x="1038" y="258"/>
                  </a:lnTo>
                  <a:lnTo>
                    <a:pt x="1032" y="264"/>
                  </a:lnTo>
                  <a:lnTo>
                    <a:pt x="1032" y="270"/>
                  </a:lnTo>
                  <a:lnTo>
                    <a:pt x="1032" y="276"/>
                  </a:lnTo>
                  <a:lnTo>
                    <a:pt x="1032" y="282"/>
                  </a:lnTo>
                  <a:lnTo>
                    <a:pt x="1026" y="282"/>
                  </a:lnTo>
                  <a:lnTo>
                    <a:pt x="1026" y="288"/>
                  </a:lnTo>
                  <a:lnTo>
                    <a:pt x="1026" y="294"/>
                  </a:lnTo>
                  <a:lnTo>
                    <a:pt x="1026" y="300"/>
                  </a:lnTo>
                  <a:lnTo>
                    <a:pt x="1026" y="306"/>
                  </a:lnTo>
                  <a:lnTo>
                    <a:pt x="1020" y="318"/>
                  </a:lnTo>
                  <a:lnTo>
                    <a:pt x="1020" y="324"/>
                  </a:lnTo>
                  <a:lnTo>
                    <a:pt x="1014" y="324"/>
                  </a:lnTo>
                  <a:lnTo>
                    <a:pt x="1014" y="330"/>
                  </a:lnTo>
                  <a:lnTo>
                    <a:pt x="1014" y="336"/>
                  </a:lnTo>
                  <a:lnTo>
                    <a:pt x="1008" y="366"/>
                  </a:lnTo>
                  <a:lnTo>
                    <a:pt x="1002" y="366"/>
                  </a:lnTo>
                  <a:lnTo>
                    <a:pt x="984" y="354"/>
                  </a:lnTo>
                  <a:lnTo>
                    <a:pt x="978" y="354"/>
                  </a:lnTo>
                  <a:lnTo>
                    <a:pt x="972" y="354"/>
                  </a:lnTo>
                  <a:lnTo>
                    <a:pt x="966" y="348"/>
                  </a:lnTo>
                  <a:lnTo>
                    <a:pt x="954" y="348"/>
                  </a:lnTo>
                  <a:lnTo>
                    <a:pt x="948" y="348"/>
                  </a:lnTo>
                  <a:lnTo>
                    <a:pt x="948" y="360"/>
                  </a:lnTo>
                  <a:lnTo>
                    <a:pt x="948" y="366"/>
                  </a:lnTo>
                  <a:lnTo>
                    <a:pt x="948" y="372"/>
                  </a:lnTo>
                  <a:lnTo>
                    <a:pt x="948" y="378"/>
                  </a:lnTo>
                  <a:lnTo>
                    <a:pt x="948" y="384"/>
                  </a:lnTo>
                  <a:lnTo>
                    <a:pt x="942" y="384"/>
                  </a:lnTo>
                  <a:lnTo>
                    <a:pt x="942" y="390"/>
                  </a:lnTo>
                  <a:lnTo>
                    <a:pt x="936" y="390"/>
                  </a:lnTo>
                  <a:lnTo>
                    <a:pt x="942" y="390"/>
                  </a:lnTo>
                  <a:lnTo>
                    <a:pt x="936" y="396"/>
                  </a:lnTo>
                  <a:lnTo>
                    <a:pt x="930" y="402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2" y="432"/>
                  </a:lnTo>
                  <a:lnTo>
                    <a:pt x="900" y="450"/>
                  </a:lnTo>
                  <a:lnTo>
                    <a:pt x="894" y="456"/>
                  </a:lnTo>
                  <a:lnTo>
                    <a:pt x="888" y="456"/>
                  </a:lnTo>
                  <a:lnTo>
                    <a:pt x="882" y="456"/>
                  </a:lnTo>
                  <a:lnTo>
                    <a:pt x="876" y="456"/>
                  </a:lnTo>
                  <a:lnTo>
                    <a:pt x="864" y="462"/>
                  </a:lnTo>
                  <a:lnTo>
                    <a:pt x="852" y="474"/>
                  </a:lnTo>
                  <a:lnTo>
                    <a:pt x="846" y="480"/>
                  </a:lnTo>
                  <a:lnTo>
                    <a:pt x="840" y="486"/>
                  </a:lnTo>
                  <a:lnTo>
                    <a:pt x="834" y="498"/>
                  </a:lnTo>
                  <a:lnTo>
                    <a:pt x="828" y="510"/>
                  </a:lnTo>
                  <a:lnTo>
                    <a:pt x="816" y="522"/>
                  </a:lnTo>
                  <a:lnTo>
                    <a:pt x="798" y="540"/>
                  </a:lnTo>
                  <a:lnTo>
                    <a:pt x="780" y="558"/>
                  </a:lnTo>
                  <a:lnTo>
                    <a:pt x="774" y="558"/>
                  </a:lnTo>
                  <a:lnTo>
                    <a:pt x="756" y="576"/>
                  </a:lnTo>
                  <a:lnTo>
                    <a:pt x="732" y="600"/>
                  </a:lnTo>
                  <a:lnTo>
                    <a:pt x="726" y="600"/>
                  </a:lnTo>
                  <a:lnTo>
                    <a:pt x="720" y="606"/>
                  </a:lnTo>
                  <a:lnTo>
                    <a:pt x="714" y="612"/>
                  </a:lnTo>
                  <a:lnTo>
                    <a:pt x="690" y="630"/>
                  </a:lnTo>
                  <a:lnTo>
                    <a:pt x="678" y="636"/>
                  </a:lnTo>
                  <a:lnTo>
                    <a:pt x="672" y="642"/>
                  </a:lnTo>
                  <a:lnTo>
                    <a:pt x="660" y="660"/>
                  </a:lnTo>
                  <a:lnTo>
                    <a:pt x="642" y="666"/>
                  </a:lnTo>
                  <a:lnTo>
                    <a:pt x="636" y="678"/>
                  </a:lnTo>
                  <a:lnTo>
                    <a:pt x="630" y="678"/>
                  </a:lnTo>
                  <a:lnTo>
                    <a:pt x="630" y="684"/>
                  </a:lnTo>
                  <a:lnTo>
                    <a:pt x="630" y="690"/>
                  </a:lnTo>
                  <a:lnTo>
                    <a:pt x="636" y="696"/>
                  </a:lnTo>
                  <a:lnTo>
                    <a:pt x="642" y="696"/>
                  </a:lnTo>
                  <a:lnTo>
                    <a:pt x="648" y="702"/>
                  </a:lnTo>
                  <a:lnTo>
                    <a:pt x="648" y="708"/>
                  </a:lnTo>
                  <a:lnTo>
                    <a:pt x="642" y="708"/>
                  </a:lnTo>
                  <a:lnTo>
                    <a:pt x="636" y="714"/>
                  </a:lnTo>
                  <a:lnTo>
                    <a:pt x="636" y="720"/>
                  </a:lnTo>
                  <a:lnTo>
                    <a:pt x="642" y="726"/>
                  </a:lnTo>
                  <a:lnTo>
                    <a:pt x="636" y="738"/>
                  </a:lnTo>
                  <a:lnTo>
                    <a:pt x="618" y="756"/>
                  </a:lnTo>
                  <a:lnTo>
                    <a:pt x="612" y="750"/>
                  </a:lnTo>
                  <a:lnTo>
                    <a:pt x="612" y="756"/>
                  </a:lnTo>
                  <a:lnTo>
                    <a:pt x="618" y="762"/>
                  </a:lnTo>
                  <a:lnTo>
                    <a:pt x="618" y="768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36" y="786"/>
                  </a:lnTo>
                  <a:lnTo>
                    <a:pt x="642" y="792"/>
                  </a:lnTo>
                  <a:lnTo>
                    <a:pt x="642" y="798"/>
                  </a:lnTo>
                  <a:lnTo>
                    <a:pt x="648" y="804"/>
                  </a:lnTo>
                  <a:lnTo>
                    <a:pt x="654" y="810"/>
                  </a:lnTo>
                  <a:lnTo>
                    <a:pt x="660" y="816"/>
                  </a:lnTo>
                  <a:lnTo>
                    <a:pt x="666" y="816"/>
                  </a:lnTo>
                  <a:lnTo>
                    <a:pt x="666" y="822"/>
                  </a:lnTo>
                  <a:lnTo>
                    <a:pt x="672" y="828"/>
                  </a:lnTo>
                  <a:lnTo>
                    <a:pt x="672" y="840"/>
                  </a:lnTo>
                  <a:lnTo>
                    <a:pt x="672" y="846"/>
                  </a:lnTo>
                  <a:lnTo>
                    <a:pt x="666" y="852"/>
                  </a:lnTo>
                  <a:lnTo>
                    <a:pt x="660" y="864"/>
                  </a:lnTo>
                  <a:lnTo>
                    <a:pt x="654" y="876"/>
                  </a:lnTo>
                  <a:lnTo>
                    <a:pt x="648" y="882"/>
                  </a:lnTo>
                  <a:lnTo>
                    <a:pt x="642" y="888"/>
                  </a:lnTo>
                  <a:lnTo>
                    <a:pt x="642" y="894"/>
                  </a:lnTo>
                  <a:lnTo>
                    <a:pt x="642" y="906"/>
                  </a:lnTo>
                  <a:lnTo>
                    <a:pt x="630" y="918"/>
                  </a:lnTo>
                  <a:lnTo>
                    <a:pt x="630" y="924"/>
                  </a:lnTo>
                  <a:lnTo>
                    <a:pt x="624" y="930"/>
                  </a:lnTo>
                  <a:lnTo>
                    <a:pt x="630" y="936"/>
                  </a:lnTo>
                  <a:lnTo>
                    <a:pt x="630" y="942"/>
                  </a:lnTo>
                  <a:lnTo>
                    <a:pt x="630" y="948"/>
                  </a:lnTo>
                  <a:lnTo>
                    <a:pt x="630" y="954"/>
                  </a:lnTo>
                  <a:lnTo>
                    <a:pt x="630" y="960"/>
                  </a:lnTo>
                  <a:lnTo>
                    <a:pt x="624" y="966"/>
                  </a:lnTo>
                  <a:lnTo>
                    <a:pt x="618" y="990"/>
                  </a:lnTo>
                  <a:lnTo>
                    <a:pt x="618" y="1008"/>
                  </a:lnTo>
                  <a:lnTo>
                    <a:pt x="612" y="1026"/>
                  </a:lnTo>
                  <a:lnTo>
                    <a:pt x="612" y="1038"/>
                  </a:lnTo>
                  <a:lnTo>
                    <a:pt x="612" y="1050"/>
                  </a:lnTo>
                  <a:lnTo>
                    <a:pt x="612" y="1056"/>
                  </a:lnTo>
                  <a:lnTo>
                    <a:pt x="612" y="1062"/>
                  </a:lnTo>
                  <a:lnTo>
                    <a:pt x="612" y="1068"/>
                  </a:lnTo>
                  <a:lnTo>
                    <a:pt x="612" y="1086"/>
                  </a:lnTo>
                  <a:lnTo>
                    <a:pt x="612" y="1092"/>
                  </a:lnTo>
                  <a:lnTo>
                    <a:pt x="606" y="1098"/>
                  </a:lnTo>
                  <a:lnTo>
                    <a:pt x="600" y="1110"/>
                  </a:lnTo>
                  <a:lnTo>
                    <a:pt x="600" y="1116"/>
                  </a:lnTo>
                  <a:lnTo>
                    <a:pt x="594" y="1122"/>
                  </a:lnTo>
                  <a:lnTo>
                    <a:pt x="594" y="1128"/>
                  </a:lnTo>
                  <a:lnTo>
                    <a:pt x="588" y="1134"/>
                  </a:lnTo>
                  <a:lnTo>
                    <a:pt x="582" y="1140"/>
                  </a:lnTo>
                  <a:lnTo>
                    <a:pt x="570" y="1140"/>
                  </a:lnTo>
                  <a:lnTo>
                    <a:pt x="564" y="1146"/>
                  </a:lnTo>
                  <a:lnTo>
                    <a:pt x="570" y="1146"/>
                  </a:lnTo>
                  <a:lnTo>
                    <a:pt x="564" y="1152"/>
                  </a:lnTo>
                  <a:lnTo>
                    <a:pt x="558" y="1158"/>
                  </a:lnTo>
                  <a:lnTo>
                    <a:pt x="552" y="1164"/>
                  </a:lnTo>
                  <a:lnTo>
                    <a:pt x="552" y="1170"/>
                  </a:lnTo>
                  <a:lnTo>
                    <a:pt x="546" y="1176"/>
                  </a:lnTo>
                  <a:lnTo>
                    <a:pt x="546" y="1182"/>
                  </a:lnTo>
                  <a:lnTo>
                    <a:pt x="546" y="1188"/>
                  </a:lnTo>
                  <a:lnTo>
                    <a:pt x="540" y="1188"/>
                  </a:lnTo>
                  <a:lnTo>
                    <a:pt x="540" y="1194"/>
                  </a:lnTo>
                  <a:lnTo>
                    <a:pt x="528" y="1206"/>
                  </a:lnTo>
                  <a:lnTo>
                    <a:pt x="528" y="1212"/>
                  </a:lnTo>
                  <a:lnTo>
                    <a:pt x="534" y="1212"/>
                  </a:lnTo>
                  <a:lnTo>
                    <a:pt x="540" y="1218"/>
                  </a:lnTo>
                  <a:lnTo>
                    <a:pt x="534" y="1218"/>
                  </a:lnTo>
                  <a:lnTo>
                    <a:pt x="528" y="1218"/>
                  </a:lnTo>
                  <a:lnTo>
                    <a:pt x="528" y="1224"/>
                  </a:lnTo>
                  <a:lnTo>
                    <a:pt x="522" y="1230"/>
                  </a:lnTo>
                  <a:lnTo>
                    <a:pt x="516" y="1236"/>
                  </a:lnTo>
                  <a:lnTo>
                    <a:pt x="522" y="1236"/>
                  </a:lnTo>
                  <a:lnTo>
                    <a:pt x="516" y="1242"/>
                  </a:lnTo>
                  <a:lnTo>
                    <a:pt x="510" y="1242"/>
                  </a:lnTo>
                  <a:lnTo>
                    <a:pt x="504" y="1248"/>
                  </a:lnTo>
                  <a:lnTo>
                    <a:pt x="510" y="1260"/>
                  </a:lnTo>
                  <a:lnTo>
                    <a:pt x="504" y="1266"/>
                  </a:lnTo>
                  <a:lnTo>
                    <a:pt x="492" y="1266"/>
                  </a:lnTo>
                  <a:lnTo>
                    <a:pt x="486" y="1272"/>
                  </a:lnTo>
                  <a:lnTo>
                    <a:pt x="486" y="1278"/>
                  </a:lnTo>
                  <a:lnTo>
                    <a:pt x="480" y="1278"/>
                  </a:lnTo>
                  <a:lnTo>
                    <a:pt x="480" y="1284"/>
                  </a:lnTo>
                  <a:lnTo>
                    <a:pt x="480" y="1290"/>
                  </a:lnTo>
                  <a:lnTo>
                    <a:pt x="480" y="1296"/>
                  </a:lnTo>
                  <a:lnTo>
                    <a:pt x="492" y="1302"/>
                  </a:lnTo>
                  <a:lnTo>
                    <a:pt x="492" y="1308"/>
                  </a:lnTo>
                  <a:lnTo>
                    <a:pt x="492" y="1320"/>
                  </a:lnTo>
                  <a:lnTo>
                    <a:pt x="492" y="1332"/>
                  </a:lnTo>
                  <a:lnTo>
                    <a:pt x="498" y="1344"/>
                  </a:lnTo>
                  <a:lnTo>
                    <a:pt x="498" y="1350"/>
                  </a:lnTo>
                  <a:lnTo>
                    <a:pt x="498" y="1356"/>
                  </a:lnTo>
                  <a:lnTo>
                    <a:pt x="504" y="1362"/>
                  </a:lnTo>
                  <a:lnTo>
                    <a:pt x="498" y="1362"/>
                  </a:lnTo>
                  <a:lnTo>
                    <a:pt x="498" y="1368"/>
                  </a:lnTo>
                  <a:lnTo>
                    <a:pt x="492" y="1368"/>
                  </a:lnTo>
                  <a:lnTo>
                    <a:pt x="492" y="1374"/>
                  </a:lnTo>
                  <a:lnTo>
                    <a:pt x="492" y="1380"/>
                  </a:lnTo>
                  <a:lnTo>
                    <a:pt x="498" y="1380"/>
                  </a:lnTo>
                  <a:lnTo>
                    <a:pt x="504" y="1380"/>
                  </a:lnTo>
                  <a:lnTo>
                    <a:pt x="498" y="1386"/>
                  </a:lnTo>
                  <a:lnTo>
                    <a:pt x="498" y="1392"/>
                  </a:lnTo>
                  <a:lnTo>
                    <a:pt x="498" y="1398"/>
                  </a:lnTo>
                  <a:lnTo>
                    <a:pt x="498" y="1404"/>
                  </a:lnTo>
                  <a:lnTo>
                    <a:pt x="498" y="1410"/>
                  </a:lnTo>
                  <a:lnTo>
                    <a:pt x="498" y="1416"/>
                  </a:lnTo>
                  <a:lnTo>
                    <a:pt x="492" y="1416"/>
                  </a:lnTo>
                  <a:lnTo>
                    <a:pt x="498" y="1416"/>
                  </a:lnTo>
                  <a:lnTo>
                    <a:pt x="504" y="1416"/>
                  </a:lnTo>
                  <a:lnTo>
                    <a:pt x="504" y="1422"/>
                  </a:lnTo>
                  <a:lnTo>
                    <a:pt x="510" y="1428"/>
                  </a:lnTo>
                  <a:lnTo>
                    <a:pt x="510" y="1434"/>
                  </a:lnTo>
                  <a:lnTo>
                    <a:pt x="510" y="1440"/>
                  </a:lnTo>
                  <a:lnTo>
                    <a:pt x="516" y="1446"/>
                  </a:lnTo>
                  <a:lnTo>
                    <a:pt x="516" y="1452"/>
                  </a:lnTo>
                  <a:lnTo>
                    <a:pt x="516" y="1458"/>
                  </a:lnTo>
                  <a:lnTo>
                    <a:pt x="516" y="1464"/>
                  </a:lnTo>
                  <a:lnTo>
                    <a:pt x="516" y="1482"/>
                  </a:lnTo>
                  <a:lnTo>
                    <a:pt x="516" y="1488"/>
                  </a:lnTo>
                  <a:lnTo>
                    <a:pt x="522" y="1488"/>
                  </a:lnTo>
                  <a:lnTo>
                    <a:pt x="522" y="1494"/>
                  </a:lnTo>
                  <a:lnTo>
                    <a:pt x="522" y="1500"/>
                  </a:lnTo>
                  <a:lnTo>
                    <a:pt x="516" y="1506"/>
                  </a:lnTo>
                  <a:lnTo>
                    <a:pt x="510" y="1500"/>
                  </a:lnTo>
                  <a:lnTo>
                    <a:pt x="504" y="1500"/>
                  </a:lnTo>
                  <a:lnTo>
                    <a:pt x="504" y="1494"/>
                  </a:lnTo>
                  <a:lnTo>
                    <a:pt x="504" y="1488"/>
                  </a:lnTo>
                  <a:lnTo>
                    <a:pt x="504" y="1482"/>
                  </a:lnTo>
                  <a:lnTo>
                    <a:pt x="504" y="1488"/>
                  </a:lnTo>
                  <a:lnTo>
                    <a:pt x="504" y="1494"/>
                  </a:lnTo>
                  <a:lnTo>
                    <a:pt x="504" y="1500"/>
                  </a:lnTo>
                  <a:lnTo>
                    <a:pt x="498" y="1500"/>
                  </a:lnTo>
                  <a:lnTo>
                    <a:pt x="492" y="1500"/>
                  </a:lnTo>
                  <a:lnTo>
                    <a:pt x="492" y="1494"/>
                  </a:lnTo>
                  <a:lnTo>
                    <a:pt x="492" y="1488"/>
                  </a:lnTo>
                  <a:lnTo>
                    <a:pt x="492" y="1494"/>
                  </a:lnTo>
                  <a:lnTo>
                    <a:pt x="492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00"/>
                  </a:lnTo>
                  <a:lnTo>
                    <a:pt x="510" y="1500"/>
                  </a:lnTo>
                  <a:lnTo>
                    <a:pt x="510" y="1506"/>
                  </a:lnTo>
                  <a:lnTo>
                    <a:pt x="516" y="1506"/>
                  </a:lnTo>
                  <a:lnTo>
                    <a:pt x="510" y="1506"/>
                  </a:lnTo>
                  <a:lnTo>
                    <a:pt x="510" y="1512"/>
                  </a:lnTo>
                  <a:lnTo>
                    <a:pt x="516" y="1506"/>
                  </a:lnTo>
                  <a:lnTo>
                    <a:pt x="522" y="1506"/>
                  </a:lnTo>
                  <a:lnTo>
                    <a:pt x="528" y="1506"/>
                  </a:lnTo>
                  <a:lnTo>
                    <a:pt x="528" y="1500"/>
                  </a:lnTo>
                  <a:lnTo>
                    <a:pt x="534" y="1500"/>
                  </a:lnTo>
                  <a:lnTo>
                    <a:pt x="534" y="1506"/>
                  </a:lnTo>
                  <a:lnTo>
                    <a:pt x="540" y="1512"/>
                  </a:lnTo>
                  <a:lnTo>
                    <a:pt x="540" y="1518"/>
                  </a:lnTo>
                  <a:lnTo>
                    <a:pt x="546" y="1518"/>
                  </a:lnTo>
                  <a:lnTo>
                    <a:pt x="540" y="1518"/>
                  </a:lnTo>
                  <a:lnTo>
                    <a:pt x="540" y="1524"/>
                  </a:lnTo>
                  <a:lnTo>
                    <a:pt x="534" y="1524"/>
                  </a:lnTo>
                  <a:lnTo>
                    <a:pt x="540" y="1524"/>
                  </a:lnTo>
                  <a:lnTo>
                    <a:pt x="546" y="1524"/>
                  </a:lnTo>
                  <a:lnTo>
                    <a:pt x="546" y="1530"/>
                  </a:lnTo>
                  <a:lnTo>
                    <a:pt x="540" y="1530"/>
                  </a:lnTo>
                  <a:lnTo>
                    <a:pt x="540" y="1536"/>
                  </a:lnTo>
                  <a:lnTo>
                    <a:pt x="534" y="1542"/>
                  </a:lnTo>
                  <a:lnTo>
                    <a:pt x="528" y="1542"/>
                  </a:lnTo>
                  <a:lnTo>
                    <a:pt x="522" y="1542"/>
                  </a:lnTo>
                  <a:lnTo>
                    <a:pt x="516" y="1542"/>
                  </a:lnTo>
                  <a:lnTo>
                    <a:pt x="510" y="1542"/>
                  </a:lnTo>
                  <a:lnTo>
                    <a:pt x="504" y="1542"/>
                  </a:lnTo>
                  <a:lnTo>
                    <a:pt x="492" y="1542"/>
                  </a:lnTo>
                  <a:lnTo>
                    <a:pt x="486" y="1536"/>
                  </a:lnTo>
                  <a:lnTo>
                    <a:pt x="480" y="1536"/>
                  </a:lnTo>
                  <a:lnTo>
                    <a:pt x="468" y="1536"/>
                  </a:lnTo>
                  <a:lnTo>
                    <a:pt x="468" y="1542"/>
                  </a:lnTo>
                  <a:lnTo>
                    <a:pt x="462" y="1542"/>
                  </a:lnTo>
                  <a:lnTo>
                    <a:pt x="456" y="1542"/>
                  </a:lnTo>
                  <a:lnTo>
                    <a:pt x="450" y="1542"/>
                  </a:lnTo>
                  <a:lnTo>
                    <a:pt x="444" y="1542"/>
                  </a:lnTo>
                  <a:lnTo>
                    <a:pt x="444" y="1536"/>
                  </a:lnTo>
                  <a:lnTo>
                    <a:pt x="450" y="1536"/>
                  </a:lnTo>
                  <a:lnTo>
                    <a:pt x="456" y="1536"/>
                  </a:lnTo>
                  <a:lnTo>
                    <a:pt x="450" y="1536"/>
                  </a:lnTo>
                  <a:lnTo>
                    <a:pt x="444" y="1536"/>
                  </a:lnTo>
                  <a:lnTo>
                    <a:pt x="444" y="1530"/>
                  </a:lnTo>
                  <a:lnTo>
                    <a:pt x="450" y="1530"/>
                  </a:lnTo>
                  <a:lnTo>
                    <a:pt x="456" y="1524"/>
                  </a:lnTo>
                  <a:lnTo>
                    <a:pt x="456" y="1518"/>
                  </a:lnTo>
                  <a:lnTo>
                    <a:pt x="462" y="1518"/>
                  </a:lnTo>
                  <a:lnTo>
                    <a:pt x="462" y="1524"/>
                  </a:lnTo>
                  <a:lnTo>
                    <a:pt x="468" y="1524"/>
                  </a:lnTo>
                  <a:lnTo>
                    <a:pt x="474" y="1524"/>
                  </a:lnTo>
                  <a:lnTo>
                    <a:pt x="474" y="1518"/>
                  </a:lnTo>
                  <a:lnTo>
                    <a:pt x="480" y="1518"/>
                  </a:lnTo>
                  <a:lnTo>
                    <a:pt x="474" y="1518"/>
                  </a:lnTo>
                  <a:lnTo>
                    <a:pt x="474" y="1524"/>
                  </a:lnTo>
                  <a:lnTo>
                    <a:pt x="468" y="1524"/>
                  </a:lnTo>
                  <a:lnTo>
                    <a:pt x="462" y="1518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62" y="1512"/>
                  </a:lnTo>
                  <a:lnTo>
                    <a:pt x="462" y="1506"/>
                  </a:lnTo>
                  <a:lnTo>
                    <a:pt x="456" y="1506"/>
                  </a:lnTo>
                  <a:lnTo>
                    <a:pt x="456" y="1512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50" y="1518"/>
                  </a:lnTo>
                  <a:lnTo>
                    <a:pt x="444" y="1518"/>
                  </a:lnTo>
                  <a:lnTo>
                    <a:pt x="444" y="1524"/>
                  </a:lnTo>
                  <a:lnTo>
                    <a:pt x="438" y="1524"/>
                  </a:lnTo>
                  <a:lnTo>
                    <a:pt x="438" y="1530"/>
                  </a:lnTo>
                  <a:lnTo>
                    <a:pt x="432" y="1530"/>
                  </a:lnTo>
                  <a:lnTo>
                    <a:pt x="432" y="1536"/>
                  </a:lnTo>
                  <a:lnTo>
                    <a:pt x="426" y="1530"/>
                  </a:lnTo>
                  <a:lnTo>
                    <a:pt x="420" y="1530"/>
                  </a:lnTo>
                  <a:lnTo>
                    <a:pt x="414" y="1530"/>
                  </a:lnTo>
                  <a:lnTo>
                    <a:pt x="414" y="1524"/>
                  </a:lnTo>
                  <a:lnTo>
                    <a:pt x="408" y="1518"/>
                  </a:lnTo>
                  <a:lnTo>
                    <a:pt x="414" y="1512"/>
                  </a:lnTo>
                  <a:lnTo>
                    <a:pt x="408" y="1512"/>
                  </a:lnTo>
                  <a:lnTo>
                    <a:pt x="408" y="1506"/>
                  </a:lnTo>
                  <a:lnTo>
                    <a:pt x="408" y="1500"/>
                  </a:lnTo>
                  <a:lnTo>
                    <a:pt x="408" y="1494"/>
                  </a:lnTo>
                  <a:lnTo>
                    <a:pt x="408" y="1488"/>
                  </a:lnTo>
                  <a:lnTo>
                    <a:pt x="408" y="1494"/>
                  </a:lnTo>
                  <a:lnTo>
                    <a:pt x="414" y="1494"/>
                  </a:lnTo>
                  <a:lnTo>
                    <a:pt x="420" y="1494"/>
                  </a:lnTo>
                  <a:lnTo>
                    <a:pt x="420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82"/>
                  </a:lnTo>
                  <a:lnTo>
                    <a:pt x="426" y="1476"/>
                  </a:lnTo>
                  <a:lnTo>
                    <a:pt x="432" y="1476"/>
                  </a:lnTo>
                  <a:lnTo>
                    <a:pt x="432" y="1470"/>
                  </a:lnTo>
                  <a:lnTo>
                    <a:pt x="438" y="1470"/>
                  </a:lnTo>
                  <a:lnTo>
                    <a:pt x="444" y="1464"/>
                  </a:lnTo>
                  <a:lnTo>
                    <a:pt x="450" y="1458"/>
                  </a:lnTo>
                  <a:lnTo>
                    <a:pt x="456" y="1458"/>
                  </a:lnTo>
                  <a:lnTo>
                    <a:pt x="462" y="1452"/>
                  </a:lnTo>
                  <a:lnTo>
                    <a:pt x="468" y="1452"/>
                  </a:lnTo>
                  <a:lnTo>
                    <a:pt x="468" y="1446"/>
                  </a:lnTo>
                  <a:lnTo>
                    <a:pt x="462" y="1440"/>
                  </a:lnTo>
                  <a:lnTo>
                    <a:pt x="456" y="1434"/>
                  </a:lnTo>
                  <a:lnTo>
                    <a:pt x="456" y="1428"/>
                  </a:lnTo>
                  <a:lnTo>
                    <a:pt x="456" y="1422"/>
                  </a:lnTo>
                  <a:lnTo>
                    <a:pt x="456" y="1416"/>
                  </a:lnTo>
                  <a:lnTo>
                    <a:pt x="450" y="1410"/>
                  </a:lnTo>
                  <a:lnTo>
                    <a:pt x="444" y="1410"/>
                  </a:lnTo>
                  <a:lnTo>
                    <a:pt x="450" y="1410"/>
                  </a:lnTo>
                  <a:lnTo>
                    <a:pt x="450" y="1404"/>
                  </a:lnTo>
                  <a:lnTo>
                    <a:pt x="456" y="1404"/>
                  </a:lnTo>
                  <a:lnTo>
                    <a:pt x="462" y="1404"/>
                  </a:lnTo>
                  <a:lnTo>
                    <a:pt x="468" y="1398"/>
                  </a:lnTo>
                  <a:lnTo>
                    <a:pt x="462" y="1398"/>
                  </a:lnTo>
                  <a:lnTo>
                    <a:pt x="462" y="1392"/>
                  </a:lnTo>
                  <a:lnTo>
                    <a:pt x="456" y="1392"/>
                  </a:lnTo>
                  <a:lnTo>
                    <a:pt x="456" y="1386"/>
                  </a:lnTo>
                  <a:lnTo>
                    <a:pt x="462" y="1386"/>
                  </a:lnTo>
                  <a:lnTo>
                    <a:pt x="468" y="1386"/>
                  </a:lnTo>
                  <a:lnTo>
                    <a:pt x="474" y="1386"/>
                  </a:lnTo>
                  <a:lnTo>
                    <a:pt x="468" y="1386"/>
                  </a:lnTo>
                  <a:lnTo>
                    <a:pt x="462" y="1386"/>
                  </a:lnTo>
                  <a:lnTo>
                    <a:pt x="456" y="1380"/>
                  </a:lnTo>
                  <a:lnTo>
                    <a:pt x="456" y="1374"/>
                  </a:lnTo>
                  <a:lnTo>
                    <a:pt x="462" y="1374"/>
                  </a:lnTo>
                  <a:lnTo>
                    <a:pt x="462" y="1368"/>
                  </a:lnTo>
                  <a:lnTo>
                    <a:pt x="456" y="1374"/>
                  </a:lnTo>
                  <a:lnTo>
                    <a:pt x="456" y="1368"/>
                  </a:lnTo>
                  <a:lnTo>
                    <a:pt x="456" y="1362"/>
                  </a:lnTo>
                  <a:lnTo>
                    <a:pt x="450" y="1362"/>
                  </a:lnTo>
                  <a:lnTo>
                    <a:pt x="450" y="1356"/>
                  </a:lnTo>
                  <a:lnTo>
                    <a:pt x="450" y="1350"/>
                  </a:lnTo>
                  <a:lnTo>
                    <a:pt x="450" y="1344"/>
                  </a:lnTo>
                  <a:lnTo>
                    <a:pt x="456" y="1344"/>
                  </a:lnTo>
                  <a:lnTo>
                    <a:pt x="456" y="1338"/>
                  </a:lnTo>
                  <a:lnTo>
                    <a:pt x="462" y="1338"/>
                  </a:lnTo>
                  <a:lnTo>
                    <a:pt x="462" y="1332"/>
                  </a:lnTo>
                  <a:lnTo>
                    <a:pt x="456" y="1332"/>
                  </a:lnTo>
                  <a:lnTo>
                    <a:pt x="456" y="1326"/>
                  </a:lnTo>
                  <a:lnTo>
                    <a:pt x="450" y="1326"/>
                  </a:lnTo>
                  <a:lnTo>
                    <a:pt x="444" y="1326"/>
                  </a:lnTo>
                  <a:lnTo>
                    <a:pt x="444" y="1332"/>
                  </a:lnTo>
                  <a:lnTo>
                    <a:pt x="438" y="1332"/>
                  </a:lnTo>
                  <a:lnTo>
                    <a:pt x="438" y="1338"/>
                  </a:lnTo>
                  <a:lnTo>
                    <a:pt x="432" y="1338"/>
                  </a:lnTo>
                  <a:lnTo>
                    <a:pt x="432" y="1344"/>
                  </a:lnTo>
                  <a:lnTo>
                    <a:pt x="432" y="1350"/>
                  </a:lnTo>
                  <a:lnTo>
                    <a:pt x="426" y="1356"/>
                  </a:lnTo>
                  <a:lnTo>
                    <a:pt x="426" y="1368"/>
                  </a:lnTo>
                  <a:lnTo>
                    <a:pt x="426" y="1374"/>
                  </a:lnTo>
                  <a:lnTo>
                    <a:pt x="426" y="1380"/>
                  </a:lnTo>
                  <a:lnTo>
                    <a:pt x="432" y="1386"/>
                  </a:lnTo>
                  <a:lnTo>
                    <a:pt x="432" y="1392"/>
                  </a:lnTo>
                  <a:lnTo>
                    <a:pt x="432" y="1398"/>
                  </a:lnTo>
                  <a:lnTo>
                    <a:pt x="426" y="1398"/>
                  </a:lnTo>
                  <a:lnTo>
                    <a:pt x="420" y="1398"/>
                  </a:lnTo>
                  <a:lnTo>
                    <a:pt x="414" y="1398"/>
                  </a:lnTo>
                  <a:lnTo>
                    <a:pt x="420" y="1398"/>
                  </a:lnTo>
                  <a:lnTo>
                    <a:pt x="414" y="1404"/>
                  </a:lnTo>
                  <a:lnTo>
                    <a:pt x="420" y="1404"/>
                  </a:lnTo>
                  <a:lnTo>
                    <a:pt x="414" y="1404"/>
                  </a:lnTo>
                  <a:lnTo>
                    <a:pt x="408" y="1404"/>
                  </a:lnTo>
                  <a:lnTo>
                    <a:pt x="402" y="1410"/>
                  </a:lnTo>
                  <a:lnTo>
                    <a:pt x="402" y="1404"/>
                  </a:lnTo>
                  <a:lnTo>
                    <a:pt x="396" y="1404"/>
                  </a:lnTo>
                  <a:lnTo>
                    <a:pt x="390" y="1404"/>
                  </a:lnTo>
                  <a:lnTo>
                    <a:pt x="384" y="1404"/>
                  </a:lnTo>
                  <a:lnTo>
                    <a:pt x="384" y="1398"/>
                  </a:lnTo>
                  <a:lnTo>
                    <a:pt x="384" y="1392"/>
                  </a:lnTo>
                  <a:lnTo>
                    <a:pt x="390" y="1392"/>
                  </a:lnTo>
                  <a:lnTo>
                    <a:pt x="390" y="1386"/>
                  </a:lnTo>
                  <a:lnTo>
                    <a:pt x="390" y="1380"/>
                  </a:lnTo>
                  <a:lnTo>
                    <a:pt x="396" y="1380"/>
                  </a:lnTo>
                  <a:lnTo>
                    <a:pt x="402" y="1380"/>
                  </a:lnTo>
                  <a:lnTo>
                    <a:pt x="408" y="1380"/>
                  </a:lnTo>
                  <a:lnTo>
                    <a:pt x="408" y="1374"/>
                  </a:lnTo>
                  <a:lnTo>
                    <a:pt x="414" y="1374"/>
                  </a:lnTo>
                  <a:lnTo>
                    <a:pt x="414" y="1368"/>
                  </a:lnTo>
                  <a:lnTo>
                    <a:pt x="414" y="1362"/>
                  </a:lnTo>
                  <a:lnTo>
                    <a:pt x="414" y="1368"/>
                  </a:lnTo>
                  <a:lnTo>
                    <a:pt x="414" y="1374"/>
                  </a:lnTo>
                  <a:lnTo>
                    <a:pt x="408" y="1374"/>
                  </a:lnTo>
                  <a:lnTo>
                    <a:pt x="402" y="1380"/>
                  </a:lnTo>
                  <a:lnTo>
                    <a:pt x="396" y="1380"/>
                  </a:lnTo>
                  <a:lnTo>
                    <a:pt x="396" y="1374"/>
                  </a:lnTo>
                  <a:lnTo>
                    <a:pt x="390" y="1374"/>
                  </a:lnTo>
                  <a:lnTo>
                    <a:pt x="390" y="1368"/>
                  </a:lnTo>
                  <a:lnTo>
                    <a:pt x="384" y="1368"/>
                  </a:lnTo>
                  <a:lnTo>
                    <a:pt x="384" y="1374"/>
                  </a:lnTo>
                  <a:lnTo>
                    <a:pt x="378" y="1374"/>
                  </a:lnTo>
                  <a:lnTo>
                    <a:pt x="378" y="1380"/>
                  </a:lnTo>
                  <a:lnTo>
                    <a:pt x="372" y="1380"/>
                  </a:lnTo>
                  <a:lnTo>
                    <a:pt x="366" y="1386"/>
                  </a:lnTo>
                  <a:lnTo>
                    <a:pt x="360" y="1386"/>
                  </a:lnTo>
                  <a:lnTo>
                    <a:pt x="354" y="1386"/>
                  </a:lnTo>
                  <a:lnTo>
                    <a:pt x="354" y="1380"/>
                  </a:lnTo>
                  <a:lnTo>
                    <a:pt x="348" y="1380"/>
                  </a:lnTo>
                  <a:lnTo>
                    <a:pt x="342" y="1380"/>
                  </a:lnTo>
                  <a:lnTo>
                    <a:pt x="342" y="1374"/>
                  </a:lnTo>
                  <a:lnTo>
                    <a:pt x="336" y="1368"/>
                  </a:lnTo>
                  <a:lnTo>
                    <a:pt x="342" y="1368"/>
                  </a:lnTo>
                  <a:lnTo>
                    <a:pt x="342" y="1362"/>
                  </a:lnTo>
                  <a:lnTo>
                    <a:pt x="348" y="1362"/>
                  </a:lnTo>
                  <a:lnTo>
                    <a:pt x="354" y="1362"/>
                  </a:lnTo>
                  <a:lnTo>
                    <a:pt x="354" y="1356"/>
                  </a:lnTo>
                  <a:lnTo>
                    <a:pt x="348" y="1356"/>
                  </a:lnTo>
                  <a:lnTo>
                    <a:pt x="348" y="1350"/>
                  </a:lnTo>
                  <a:lnTo>
                    <a:pt x="348" y="1344"/>
                  </a:lnTo>
                  <a:lnTo>
                    <a:pt x="354" y="1338"/>
                  </a:lnTo>
                  <a:lnTo>
                    <a:pt x="354" y="1332"/>
                  </a:lnTo>
                  <a:lnTo>
                    <a:pt x="354" y="1326"/>
                  </a:lnTo>
                  <a:lnTo>
                    <a:pt x="354" y="1320"/>
                  </a:lnTo>
                  <a:lnTo>
                    <a:pt x="354" y="1314"/>
                  </a:lnTo>
                  <a:lnTo>
                    <a:pt x="354" y="1308"/>
                  </a:lnTo>
                  <a:lnTo>
                    <a:pt x="348" y="1308"/>
                  </a:lnTo>
                  <a:lnTo>
                    <a:pt x="348" y="1302"/>
                  </a:lnTo>
                  <a:lnTo>
                    <a:pt x="342" y="1296"/>
                  </a:lnTo>
                  <a:lnTo>
                    <a:pt x="336" y="1296"/>
                  </a:lnTo>
                  <a:lnTo>
                    <a:pt x="336" y="1290"/>
                  </a:lnTo>
                  <a:lnTo>
                    <a:pt x="330" y="1290"/>
                  </a:lnTo>
                  <a:lnTo>
                    <a:pt x="324" y="1290"/>
                  </a:lnTo>
                  <a:lnTo>
                    <a:pt x="324" y="1284"/>
                  </a:lnTo>
                  <a:lnTo>
                    <a:pt x="318" y="1284"/>
                  </a:lnTo>
                  <a:lnTo>
                    <a:pt x="318" y="1278"/>
                  </a:lnTo>
                  <a:lnTo>
                    <a:pt x="312" y="1278"/>
                  </a:lnTo>
                  <a:lnTo>
                    <a:pt x="312" y="1272"/>
                  </a:lnTo>
                  <a:lnTo>
                    <a:pt x="312" y="1278"/>
                  </a:lnTo>
                  <a:lnTo>
                    <a:pt x="318" y="1284"/>
                  </a:lnTo>
                  <a:lnTo>
                    <a:pt x="324" y="1290"/>
                  </a:lnTo>
                  <a:lnTo>
                    <a:pt x="330" y="1290"/>
                  </a:lnTo>
                  <a:lnTo>
                    <a:pt x="330" y="1296"/>
                  </a:lnTo>
                  <a:lnTo>
                    <a:pt x="336" y="1296"/>
                  </a:lnTo>
                  <a:lnTo>
                    <a:pt x="336" y="1302"/>
                  </a:lnTo>
                  <a:lnTo>
                    <a:pt x="342" y="1302"/>
                  </a:lnTo>
                  <a:lnTo>
                    <a:pt x="348" y="1302"/>
                  </a:lnTo>
                  <a:lnTo>
                    <a:pt x="348" y="1308"/>
                  </a:lnTo>
                  <a:lnTo>
                    <a:pt x="348" y="1314"/>
                  </a:lnTo>
                  <a:lnTo>
                    <a:pt x="354" y="1314"/>
                  </a:lnTo>
                  <a:lnTo>
                    <a:pt x="354" y="1320"/>
                  </a:lnTo>
                  <a:lnTo>
                    <a:pt x="354" y="1326"/>
                  </a:lnTo>
                  <a:lnTo>
                    <a:pt x="348" y="1326"/>
                  </a:lnTo>
                  <a:lnTo>
                    <a:pt x="348" y="1332"/>
                  </a:lnTo>
                  <a:lnTo>
                    <a:pt x="348" y="1338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2" y="1350"/>
                  </a:lnTo>
                  <a:lnTo>
                    <a:pt x="336" y="1350"/>
                  </a:lnTo>
                  <a:lnTo>
                    <a:pt x="330" y="1350"/>
                  </a:lnTo>
                  <a:lnTo>
                    <a:pt x="330" y="1356"/>
                  </a:lnTo>
                  <a:lnTo>
                    <a:pt x="330" y="1350"/>
                  </a:lnTo>
                  <a:lnTo>
                    <a:pt x="324" y="1350"/>
                  </a:lnTo>
                  <a:lnTo>
                    <a:pt x="318" y="1344"/>
                  </a:lnTo>
                  <a:lnTo>
                    <a:pt x="318" y="1350"/>
                  </a:lnTo>
                  <a:lnTo>
                    <a:pt x="312" y="1344"/>
                  </a:lnTo>
                  <a:lnTo>
                    <a:pt x="312" y="1338"/>
                  </a:lnTo>
                  <a:lnTo>
                    <a:pt x="306" y="1338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6" y="1326"/>
                  </a:lnTo>
                  <a:lnTo>
                    <a:pt x="306" y="1320"/>
                  </a:lnTo>
                  <a:lnTo>
                    <a:pt x="306" y="1326"/>
                  </a:lnTo>
                  <a:lnTo>
                    <a:pt x="312" y="1326"/>
                  </a:lnTo>
                  <a:lnTo>
                    <a:pt x="312" y="1320"/>
                  </a:lnTo>
                  <a:lnTo>
                    <a:pt x="306" y="1320"/>
                  </a:lnTo>
                  <a:lnTo>
                    <a:pt x="300" y="1320"/>
                  </a:lnTo>
                  <a:lnTo>
                    <a:pt x="294" y="1320"/>
                  </a:lnTo>
                  <a:lnTo>
                    <a:pt x="294" y="1314"/>
                  </a:lnTo>
                  <a:lnTo>
                    <a:pt x="288" y="1314"/>
                  </a:lnTo>
                  <a:lnTo>
                    <a:pt x="288" y="1308"/>
                  </a:lnTo>
                  <a:lnTo>
                    <a:pt x="288" y="1302"/>
                  </a:lnTo>
                  <a:lnTo>
                    <a:pt x="294" y="1302"/>
                  </a:lnTo>
                  <a:lnTo>
                    <a:pt x="294" y="1296"/>
                  </a:lnTo>
                  <a:lnTo>
                    <a:pt x="288" y="1296"/>
                  </a:lnTo>
                  <a:lnTo>
                    <a:pt x="288" y="1290"/>
                  </a:lnTo>
                  <a:lnTo>
                    <a:pt x="288" y="1296"/>
                  </a:lnTo>
                  <a:lnTo>
                    <a:pt x="294" y="1302"/>
                  </a:lnTo>
                  <a:lnTo>
                    <a:pt x="288" y="1302"/>
                  </a:lnTo>
                  <a:lnTo>
                    <a:pt x="282" y="1296"/>
                  </a:lnTo>
                  <a:lnTo>
                    <a:pt x="276" y="1296"/>
                  </a:lnTo>
                  <a:lnTo>
                    <a:pt x="276" y="1290"/>
                  </a:lnTo>
                  <a:lnTo>
                    <a:pt x="270" y="1290"/>
                  </a:lnTo>
                  <a:lnTo>
                    <a:pt x="264" y="1284"/>
                  </a:lnTo>
                  <a:lnTo>
                    <a:pt x="264" y="1278"/>
                  </a:lnTo>
                  <a:lnTo>
                    <a:pt x="264" y="1272"/>
                  </a:lnTo>
                  <a:lnTo>
                    <a:pt x="264" y="1266"/>
                  </a:lnTo>
                  <a:lnTo>
                    <a:pt x="258" y="1266"/>
                  </a:lnTo>
                  <a:lnTo>
                    <a:pt x="252" y="1266"/>
                  </a:lnTo>
                  <a:lnTo>
                    <a:pt x="246" y="1260"/>
                  </a:lnTo>
                  <a:lnTo>
                    <a:pt x="240" y="1254"/>
                  </a:lnTo>
                  <a:lnTo>
                    <a:pt x="240" y="1260"/>
                  </a:lnTo>
                  <a:lnTo>
                    <a:pt x="240" y="1266"/>
                  </a:lnTo>
                  <a:lnTo>
                    <a:pt x="240" y="1272"/>
                  </a:lnTo>
                  <a:lnTo>
                    <a:pt x="246" y="1272"/>
                  </a:lnTo>
                  <a:lnTo>
                    <a:pt x="246" y="1278"/>
                  </a:lnTo>
                  <a:lnTo>
                    <a:pt x="246" y="1284"/>
                  </a:lnTo>
                  <a:lnTo>
                    <a:pt x="252" y="1284"/>
                  </a:lnTo>
                  <a:lnTo>
                    <a:pt x="252" y="1290"/>
                  </a:lnTo>
                  <a:lnTo>
                    <a:pt x="258" y="1296"/>
                  </a:lnTo>
                  <a:lnTo>
                    <a:pt x="264" y="1302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58" y="1314"/>
                  </a:lnTo>
                  <a:lnTo>
                    <a:pt x="258" y="1308"/>
                  </a:lnTo>
                  <a:lnTo>
                    <a:pt x="252" y="1308"/>
                  </a:lnTo>
                  <a:lnTo>
                    <a:pt x="252" y="1302"/>
                  </a:lnTo>
                  <a:lnTo>
                    <a:pt x="246" y="1302"/>
                  </a:lnTo>
                  <a:lnTo>
                    <a:pt x="246" y="1296"/>
                  </a:lnTo>
                  <a:lnTo>
                    <a:pt x="240" y="1296"/>
                  </a:lnTo>
                  <a:lnTo>
                    <a:pt x="240" y="1290"/>
                  </a:lnTo>
                  <a:lnTo>
                    <a:pt x="234" y="1284"/>
                  </a:lnTo>
                  <a:lnTo>
                    <a:pt x="234" y="1278"/>
                  </a:lnTo>
                  <a:close/>
                  <a:moveTo>
                    <a:pt x="444" y="1332"/>
                  </a:moveTo>
                  <a:lnTo>
                    <a:pt x="450" y="1326"/>
                  </a:lnTo>
                  <a:lnTo>
                    <a:pt x="456" y="1326"/>
                  </a:lnTo>
                  <a:lnTo>
                    <a:pt x="456" y="1332"/>
                  </a:lnTo>
                  <a:lnTo>
                    <a:pt x="456" y="1338"/>
                  </a:lnTo>
                  <a:lnTo>
                    <a:pt x="450" y="1338"/>
                  </a:lnTo>
                  <a:lnTo>
                    <a:pt x="444" y="1338"/>
                  </a:lnTo>
                  <a:lnTo>
                    <a:pt x="444" y="1332"/>
                  </a:lnTo>
                  <a:close/>
                  <a:moveTo>
                    <a:pt x="444" y="1368"/>
                  </a:moveTo>
                  <a:lnTo>
                    <a:pt x="456" y="1368"/>
                  </a:lnTo>
                  <a:lnTo>
                    <a:pt x="456" y="1374"/>
                  </a:lnTo>
                  <a:lnTo>
                    <a:pt x="444" y="1374"/>
                  </a:lnTo>
                  <a:lnTo>
                    <a:pt x="444" y="1368"/>
                  </a:lnTo>
                  <a:close/>
                  <a:moveTo>
                    <a:pt x="444" y="1386"/>
                  </a:moveTo>
                  <a:lnTo>
                    <a:pt x="444" y="1380"/>
                  </a:lnTo>
                  <a:lnTo>
                    <a:pt x="444" y="1374"/>
                  </a:lnTo>
                  <a:lnTo>
                    <a:pt x="444" y="1380"/>
                  </a:lnTo>
                  <a:lnTo>
                    <a:pt x="450" y="1380"/>
                  </a:lnTo>
                  <a:lnTo>
                    <a:pt x="456" y="1380"/>
                  </a:lnTo>
                  <a:lnTo>
                    <a:pt x="456" y="1386"/>
                  </a:lnTo>
                  <a:lnTo>
                    <a:pt x="456" y="1392"/>
                  </a:lnTo>
                  <a:lnTo>
                    <a:pt x="462" y="1392"/>
                  </a:lnTo>
                  <a:lnTo>
                    <a:pt x="462" y="1398"/>
                  </a:lnTo>
                  <a:lnTo>
                    <a:pt x="462" y="1404"/>
                  </a:lnTo>
                  <a:lnTo>
                    <a:pt x="456" y="1404"/>
                  </a:lnTo>
                  <a:lnTo>
                    <a:pt x="450" y="1404"/>
                  </a:lnTo>
                  <a:lnTo>
                    <a:pt x="450" y="1398"/>
                  </a:lnTo>
                  <a:lnTo>
                    <a:pt x="444" y="1398"/>
                  </a:lnTo>
                  <a:lnTo>
                    <a:pt x="444" y="1392"/>
                  </a:lnTo>
                  <a:lnTo>
                    <a:pt x="444" y="1386"/>
                  </a:lnTo>
                  <a:close/>
                  <a:moveTo>
                    <a:pt x="438" y="1362"/>
                  </a:moveTo>
                  <a:lnTo>
                    <a:pt x="444" y="1356"/>
                  </a:lnTo>
                  <a:lnTo>
                    <a:pt x="450" y="1356"/>
                  </a:lnTo>
                  <a:lnTo>
                    <a:pt x="450" y="1362"/>
                  </a:lnTo>
                  <a:lnTo>
                    <a:pt x="450" y="1368"/>
                  </a:lnTo>
                  <a:lnTo>
                    <a:pt x="444" y="1368"/>
                  </a:lnTo>
                  <a:lnTo>
                    <a:pt x="444" y="1362"/>
                  </a:lnTo>
                  <a:lnTo>
                    <a:pt x="438" y="1362"/>
                  </a:lnTo>
                  <a:close/>
                  <a:moveTo>
                    <a:pt x="438" y="1350"/>
                  </a:moveTo>
                  <a:lnTo>
                    <a:pt x="438" y="1344"/>
                  </a:lnTo>
                  <a:lnTo>
                    <a:pt x="438" y="1338"/>
                  </a:lnTo>
                  <a:lnTo>
                    <a:pt x="444" y="1338"/>
                  </a:lnTo>
                  <a:lnTo>
                    <a:pt x="450" y="1338"/>
                  </a:lnTo>
                  <a:lnTo>
                    <a:pt x="456" y="1338"/>
                  </a:lnTo>
                  <a:lnTo>
                    <a:pt x="450" y="1344"/>
                  </a:lnTo>
                  <a:lnTo>
                    <a:pt x="444" y="1350"/>
                  </a:lnTo>
                  <a:lnTo>
                    <a:pt x="438" y="1350"/>
                  </a:lnTo>
                  <a:close/>
                  <a:moveTo>
                    <a:pt x="432" y="1380"/>
                  </a:moveTo>
                  <a:lnTo>
                    <a:pt x="432" y="1368"/>
                  </a:lnTo>
                  <a:lnTo>
                    <a:pt x="432" y="1362"/>
                  </a:lnTo>
                  <a:lnTo>
                    <a:pt x="432" y="1356"/>
                  </a:lnTo>
                  <a:lnTo>
                    <a:pt x="438" y="1356"/>
                  </a:lnTo>
                  <a:lnTo>
                    <a:pt x="438" y="1362"/>
                  </a:lnTo>
                  <a:lnTo>
                    <a:pt x="438" y="1368"/>
                  </a:lnTo>
                  <a:lnTo>
                    <a:pt x="438" y="1374"/>
                  </a:lnTo>
                  <a:lnTo>
                    <a:pt x="438" y="1380"/>
                  </a:lnTo>
                  <a:lnTo>
                    <a:pt x="438" y="1386"/>
                  </a:lnTo>
                  <a:lnTo>
                    <a:pt x="438" y="1380"/>
                  </a:lnTo>
                  <a:lnTo>
                    <a:pt x="432" y="1380"/>
                  </a:lnTo>
                  <a:close/>
                  <a:moveTo>
                    <a:pt x="246" y="1272"/>
                  </a:moveTo>
                  <a:lnTo>
                    <a:pt x="252" y="1272"/>
                  </a:lnTo>
                  <a:lnTo>
                    <a:pt x="252" y="1278"/>
                  </a:lnTo>
                  <a:lnTo>
                    <a:pt x="246" y="1278"/>
                  </a:lnTo>
                  <a:lnTo>
                    <a:pt x="246" y="1272"/>
                  </a:lnTo>
                  <a:close/>
                  <a:moveTo>
                    <a:pt x="426" y="1416"/>
                  </a:moveTo>
                  <a:lnTo>
                    <a:pt x="432" y="1410"/>
                  </a:lnTo>
                  <a:lnTo>
                    <a:pt x="438" y="1410"/>
                  </a:lnTo>
                  <a:lnTo>
                    <a:pt x="438" y="1416"/>
                  </a:lnTo>
                  <a:lnTo>
                    <a:pt x="438" y="1422"/>
                  </a:lnTo>
                  <a:lnTo>
                    <a:pt x="432" y="1422"/>
                  </a:lnTo>
                  <a:lnTo>
                    <a:pt x="426" y="1422"/>
                  </a:lnTo>
                  <a:lnTo>
                    <a:pt x="426" y="1416"/>
                  </a:lnTo>
                  <a:close/>
                  <a:moveTo>
                    <a:pt x="246" y="1266"/>
                  </a:moveTo>
                  <a:lnTo>
                    <a:pt x="252" y="1266"/>
                  </a:lnTo>
                  <a:lnTo>
                    <a:pt x="258" y="1272"/>
                  </a:lnTo>
                  <a:lnTo>
                    <a:pt x="258" y="1278"/>
                  </a:lnTo>
                  <a:lnTo>
                    <a:pt x="258" y="1284"/>
                  </a:lnTo>
                  <a:lnTo>
                    <a:pt x="252" y="1284"/>
                  </a:lnTo>
                  <a:lnTo>
                    <a:pt x="252" y="1278"/>
                  </a:lnTo>
                  <a:lnTo>
                    <a:pt x="252" y="1272"/>
                  </a:lnTo>
                  <a:lnTo>
                    <a:pt x="252" y="1266"/>
                  </a:lnTo>
                  <a:lnTo>
                    <a:pt x="246" y="1266"/>
                  </a:lnTo>
                  <a:close/>
                  <a:moveTo>
                    <a:pt x="408" y="1458"/>
                  </a:moveTo>
                  <a:lnTo>
                    <a:pt x="408" y="1452"/>
                  </a:lnTo>
                  <a:lnTo>
                    <a:pt x="414" y="1452"/>
                  </a:lnTo>
                  <a:lnTo>
                    <a:pt x="414" y="1446"/>
                  </a:lnTo>
                  <a:lnTo>
                    <a:pt x="414" y="1440"/>
                  </a:lnTo>
                  <a:lnTo>
                    <a:pt x="420" y="1440"/>
                  </a:lnTo>
                  <a:lnTo>
                    <a:pt x="420" y="1434"/>
                  </a:lnTo>
                  <a:lnTo>
                    <a:pt x="420" y="1428"/>
                  </a:lnTo>
                  <a:lnTo>
                    <a:pt x="420" y="1422"/>
                  </a:lnTo>
                  <a:lnTo>
                    <a:pt x="426" y="1422"/>
                  </a:lnTo>
                  <a:lnTo>
                    <a:pt x="432" y="1428"/>
                  </a:lnTo>
                  <a:lnTo>
                    <a:pt x="438" y="1428"/>
                  </a:lnTo>
                  <a:lnTo>
                    <a:pt x="438" y="1434"/>
                  </a:lnTo>
                  <a:lnTo>
                    <a:pt x="438" y="1428"/>
                  </a:lnTo>
                  <a:lnTo>
                    <a:pt x="438" y="1422"/>
                  </a:lnTo>
                  <a:lnTo>
                    <a:pt x="444" y="1416"/>
                  </a:lnTo>
                  <a:lnTo>
                    <a:pt x="444" y="1410"/>
                  </a:lnTo>
                  <a:lnTo>
                    <a:pt x="450" y="1416"/>
                  </a:lnTo>
                  <a:lnTo>
                    <a:pt x="456" y="1416"/>
                  </a:lnTo>
                  <a:lnTo>
                    <a:pt x="456" y="1422"/>
                  </a:lnTo>
                  <a:lnTo>
                    <a:pt x="456" y="1428"/>
                  </a:lnTo>
                  <a:lnTo>
                    <a:pt x="456" y="1434"/>
                  </a:lnTo>
                  <a:lnTo>
                    <a:pt x="456" y="1440"/>
                  </a:lnTo>
                  <a:lnTo>
                    <a:pt x="462" y="1440"/>
                  </a:lnTo>
                  <a:lnTo>
                    <a:pt x="462" y="1446"/>
                  </a:lnTo>
                  <a:lnTo>
                    <a:pt x="462" y="1452"/>
                  </a:lnTo>
                  <a:lnTo>
                    <a:pt x="456" y="1452"/>
                  </a:lnTo>
                  <a:lnTo>
                    <a:pt x="450" y="1452"/>
                  </a:lnTo>
                  <a:lnTo>
                    <a:pt x="444" y="1446"/>
                  </a:lnTo>
                  <a:lnTo>
                    <a:pt x="444" y="1452"/>
                  </a:lnTo>
                  <a:lnTo>
                    <a:pt x="450" y="1452"/>
                  </a:lnTo>
                  <a:lnTo>
                    <a:pt x="450" y="1458"/>
                  </a:lnTo>
                  <a:lnTo>
                    <a:pt x="444" y="1458"/>
                  </a:lnTo>
                  <a:lnTo>
                    <a:pt x="438" y="1464"/>
                  </a:lnTo>
                  <a:lnTo>
                    <a:pt x="438" y="1458"/>
                  </a:lnTo>
                  <a:lnTo>
                    <a:pt x="432" y="1458"/>
                  </a:lnTo>
                  <a:lnTo>
                    <a:pt x="426" y="1458"/>
                  </a:lnTo>
                  <a:lnTo>
                    <a:pt x="432" y="1458"/>
                  </a:lnTo>
                  <a:lnTo>
                    <a:pt x="438" y="1464"/>
                  </a:lnTo>
                  <a:lnTo>
                    <a:pt x="432" y="1464"/>
                  </a:lnTo>
                  <a:lnTo>
                    <a:pt x="432" y="1470"/>
                  </a:lnTo>
                  <a:lnTo>
                    <a:pt x="426" y="1470"/>
                  </a:lnTo>
                  <a:lnTo>
                    <a:pt x="420" y="1476"/>
                  </a:lnTo>
                  <a:lnTo>
                    <a:pt x="420" y="1470"/>
                  </a:lnTo>
                  <a:lnTo>
                    <a:pt x="414" y="1470"/>
                  </a:lnTo>
                  <a:lnTo>
                    <a:pt x="414" y="1464"/>
                  </a:lnTo>
                  <a:lnTo>
                    <a:pt x="414" y="1458"/>
                  </a:lnTo>
                  <a:lnTo>
                    <a:pt x="408" y="1458"/>
                  </a:lnTo>
                  <a:close/>
                  <a:moveTo>
                    <a:pt x="270" y="1326"/>
                  </a:moveTo>
                  <a:lnTo>
                    <a:pt x="270" y="1320"/>
                  </a:lnTo>
                  <a:lnTo>
                    <a:pt x="276" y="1320"/>
                  </a:lnTo>
                  <a:lnTo>
                    <a:pt x="282" y="1326"/>
                  </a:lnTo>
                  <a:lnTo>
                    <a:pt x="288" y="1326"/>
                  </a:lnTo>
                  <a:lnTo>
                    <a:pt x="288" y="1332"/>
                  </a:lnTo>
                  <a:lnTo>
                    <a:pt x="288" y="1338"/>
                  </a:lnTo>
                  <a:lnTo>
                    <a:pt x="288" y="1344"/>
                  </a:lnTo>
                  <a:lnTo>
                    <a:pt x="282" y="1344"/>
                  </a:lnTo>
                  <a:lnTo>
                    <a:pt x="282" y="1338"/>
                  </a:lnTo>
                  <a:lnTo>
                    <a:pt x="276" y="1338"/>
                  </a:lnTo>
                  <a:lnTo>
                    <a:pt x="276" y="1332"/>
                  </a:lnTo>
                  <a:lnTo>
                    <a:pt x="270" y="1332"/>
                  </a:lnTo>
                  <a:lnTo>
                    <a:pt x="270" y="1326"/>
                  </a:lnTo>
                  <a:close/>
                  <a:moveTo>
                    <a:pt x="288" y="1458"/>
                  </a:moveTo>
                  <a:lnTo>
                    <a:pt x="294" y="1458"/>
                  </a:lnTo>
                  <a:lnTo>
                    <a:pt x="294" y="1452"/>
                  </a:lnTo>
                  <a:lnTo>
                    <a:pt x="294" y="1446"/>
                  </a:lnTo>
                  <a:lnTo>
                    <a:pt x="300" y="1446"/>
                  </a:lnTo>
                  <a:lnTo>
                    <a:pt x="300" y="1440"/>
                  </a:lnTo>
                  <a:lnTo>
                    <a:pt x="306" y="1440"/>
                  </a:lnTo>
                  <a:lnTo>
                    <a:pt x="306" y="1446"/>
                  </a:lnTo>
                  <a:lnTo>
                    <a:pt x="312" y="1452"/>
                  </a:lnTo>
                  <a:lnTo>
                    <a:pt x="306" y="1452"/>
                  </a:lnTo>
                  <a:lnTo>
                    <a:pt x="306" y="1458"/>
                  </a:lnTo>
                  <a:lnTo>
                    <a:pt x="312" y="1464"/>
                  </a:lnTo>
                  <a:lnTo>
                    <a:pt x="306" y="1464"/>
                  </a:lnTo>
                  <a:lnTo>
                    <a:pt x="306" y="1470"/>
                  </a:lnTo>
                  <a:lnTo>
                    <a:pt x="300" y="1476"/>
                  </a:lnTo>
                  <a:lnTo>
                    <a:pt x="294" y="1476"/>
                  </a:lnTo>
                  <a:lnTo>
                    <a:pt x="294" y="1470"/>
                  </a:lnTo>
                  <a:lnTo>
                    <a:pt x="288" y="1470"/>
                  </a:lnTo>
                  <a:lnTo>
                    <a:pt x="288" y="1464"/>
                  </a:lnTo>
                  <a:lnTo>
                    <a:pt x="288" y="1458"/>
                  </a:lnTo>
                  <a:close/>
                  <a:moveTo>
                    <a:pt x="270" y="1296"/>
                  </a:moveTo>
                  <a:lnTo>
                    <a:pt x="276" y="1296"/>
                  </a:lnTo>
                  <a:lnTo>
                    <a:pt x="282" y="1296"/>
                  </a:lnTo>
                  <a:lnTo>
                    <a:pt x="288" y="1296"/>
                  </a:lnTo>
                  <a:lnTo>
                    <a:pt x="288" y="1302"/>
                  </a:lnTo>
                  <a:lnTo>
                    <a:pt x="282" y="1308"/>
                  </a:lnTo>
                  <a:lnTo>
                    <a:pt x="276" y="1308"/>
                  </a:lnTo>
                  <a:lnTo>
                    <a:pt x="276" y="1302"/>
                  </a:lnTo>
                  <a:lnTo>
                    <a:pt x="270" y="12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4" name="Freeform 19">
              <a:extLst>
                <a:ext uri="{FF2B5EF4-FFF2-40B4-BE49-F238E27FC236}">
                  <a16:creationId xmlns:a16="http://schemas.microsoft.com/office/drawing/2014/main" id="{5B9020B8-E1C1-4611-A248-9642BBD69C9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7043" y="3765821"/>
              <a:ext cx="333193" cy="398097"/>
            </a:xfrm>
            <a:custGeom>
              <a:avLst/>
              <a:gdLst>
                <a:gd name="T0" fmla="*/ 30 w 624"/>
                <a:gd name="T1" fmla="*/ 61 h 750"/>
                <a:gd name="T2" fmla="*/ 27 w 624"/>
                <a:gd name="T3" fmla="*/ 62 h 750"/>
                <a:gd name="T4" fmla="*/ 23 w 624"/>
                <a:gd name="T5" fmla="*/ 59 h 750"/>
                <a:gd name="T6" fmla="*/ 20 w 624"/>
                <a:gd name="T7" fmla="*/ 58 h 750"/>
                <a:gd name="T8" fmla="*/ 19 w 624"/>
                <a:gd name="T9" fmla="*/ 56 h 750"/>
                <a:gd name="T10" fmla="*/ 17 w 624"/>
                <a:gd name="T11" fmla="*/ 55 h 750"/>
                <a:gd name="T12" fmla="*/ 16 w 624"/>
                <a:gd name="T13" fmla="*/ 51 h 750"/>
                <a:gd name="T14" fmla="*/ 14 w 624"/>
                <a:gd name="T15" fmla="*/ 48 h 750"/>
                <a:gd name="T16" fmla="*/ 12 w 624"/>
                <a:gd name="T17" fmla="*/ 46 h 750"/>
                <a:gd name="T18" fmla="*/ 12 w 624"/>
                <a:gd name="T19" fmla="*/ 44 h 750"/>
                <a:gd name="T20" fmla="*/ 11 w 624"/>
                <a:gd name="T21" fmla="*/ 41 h 750"/>
                <a:gd name="T22" fmla="*/ 8 w 624"/>
                <a:gd name="T23" fmla="*/ 38 h 750"/>
                <a:gd name="T24" fmla="*/ 6 w 624"/>
                <a:gd name="T25" fmla="*/ 38 h 750"/>
                <a:gd name="T26" fmla="*/ 6 w 624"/>
                <a:gd name="T27" fmla="*/ 35 h 750"/>
                <a:gd name="T28" fmla="*/ 7 w 624"/>
                <a:gd name="T29" fmla="*/ 31 h 750"/>
                <a:gd name="T30" fmla="*/ 10 w 624"/>
                <a:gd name="T31" fmla="*/ 27 h 750"/>
                <a:gd name="T32" fmla="*/ 8 w 624"/>
                <a:gd name="T33" fmla="*/ 23 h 750"/>
                <a:gd name="T34" fmla="*/ 6 w 624"/>
                <a:gd name="T35" fmla="*/ 23 h 750"/>
                <a:gd name="T36" fmla="*/ 3 w 624"/>
                <a:gd name="T37" fmla="*/ 22 h 750"/>
                <a:gd name="T38" fmla="*/ 0 w 624"/>
                <a:gd name="T39" fmla="*/ 22 h 750"/>
                <a:gd name="T40" fmla="*/ 0 w 624"/>
                <a:gd name="T41" fmla="*/ 19 h 750"/>
                <a:gd name="T42" fmla="*/ 1 w 624"/>
                <a:gd name="T43" fmla="*/ 18 h 750"/>
                <a:gd name="T44" fmla="*/ 2 w 624"/>
                <a:gd name="T45" fmla="*/ 14 h 750"/>
                <a:gd name="T46" fmla="*/ 4 w 624"/>
                <a:gd name="T47" fmla="*/ 17 h 750"/>
                <a:gd name="T48" fmla="*/ 6 w 624"/>
                <a:gd name="T49" fmla="*/ 17 h 750"/>
                <a:gd name="T50" fmla="*/ 7 w 624"/>
                <a:gd name="T51" fmla="*/ 17 h 750"/>
                <a:gd name="T52" fmla="*/ 9 w 624"/>
                <a:gd name="T53" fmla="*/ 15 h 750"/>
                <a:gd name="T54" fmla="*/ 10 w 624"/>
                <a:gd name="T55" fmla="*/ 14 h 750"/>
                <a:gd name="T56" fmla="*/ 11 w 624"/>
                <a:gd name="T57" fmla="*/ 12 h 750"/>
                <a:gd name="T58" fmla="*/ 13 w 624"/>
                <a:gd name="T59" fmla="*/ 12 h 750"/>
                <a:gd name="T60" fmla="*/ 18 w 624"/>
                <a:gd name="T61" fmla="*/ 10 h 750"/>
                <a:gd name="T62" fmla="*/ 22 w 624"/>
                <a:gd name="T63" fmla="*/ 4 h 750"/>
                <a:gd name="T64" fmla="*/ 24 w 624"/>
                <a:gd name="T65" fmla="*/ 4 h 750"/>
                <a:gd name="T66" fmla="*/ 26 w 624"/>
                <a:gd name="T67" fmla="*/ 2 h 750"/>
                <a:gd name="T68" fmla="*/ 29 w 624"/>
                <a:gd name="T69" fmla="*/ 0 h 750"/>
                <a:gd name="T70" fmla="*/ 32 w 624"/>
                <a:gd name="T71" fmla="*/ 2 h 750"/>
                <a:gd name="T72" fmla="*/ 34 w 624"/>
                <a:gd name="T73" fmla="*/ 5 h 750"/>
                <a:gd name="T74" fmla="*/ 35 w 624"/>
                <a:gd name="T75" fmla="*/ 8 h 750"/>
                <a:gd name="T76" fmla="*/ 39 w 624"/>
                <a:gd name="T77" fmla="*/ 11 h 750"/>
                <a:gd name="T78" fmla="*/ 42 w 624"/>
                <a:gd name="T79" fmla="*/ 14 h 750"/>
                <a:gd name="T80" fmla="*/ 46 w 624"/>
                <a:gd name="T81" fmla="*/ 12 h 750"/>
                <a:gd name="T82" fmla="*/ 49 w 624"/>
                <a:gd name="T83" fmla="*/ 12 h 750"/>
                <a:gd name="T84" fmla="*/ 51 w 624"/>
                <a:gd name="T85" fmla="*/ 12 h 750"/>
                <a:gd name="T86" fmla="*/ 53 w 624"/>
                <a:gd name="T87" fmla="*/ 12 h 750"/>
                <a:gd name="T88" fmla="*/ 53 w 624"/>
                <a:gd name="T89" fmla="*/ 17 h 750"/>
                <a:gd name="T90" fmla="*/ 51 w 624"/>
                <a:gd name="T91" fmla="*/ 20 h 750"/>
                <a:gd name="T92" fmla="*/ 49 w 624"/>
                <a:gd name="T93" fmla="*/ 26 h 750"/>
                <a:gd name="T94" fmla="*/ 47 w 624"/>
                <a:gd name="T95" fmla="*/ 26 h 750"/>
                <a:gd name="T96" fmla="*/ 44 w 624"/>
                <a:gd name="T97" fmla="*/ 26 h 750"/>
                <a:gd name="T98" fmla="*/ 43 w 624"/>
                <a:gd name="T99" fmla="*/ 27 h 750"/>
                <a:gd name="T100" fmla="*/ 45 w 624"/>
                <a:gd name="T101" fmla="*/ 32 h 750"/>
                <a:gd name="T102" fmla="*/ 44 w 624"/>
                <a:gd name="T103" fmla="*/ 43 h 750"/>
                <a:gd name="T104" fmla="*/ 44 w 624"/>
                <a:gd name="T105" fmla="*/ 47 h 750"/>
                <a:gd name="T106" fmla="*/ 44 w 624"/>
                <a:gd name="T107" fmla="*/ 54 h 750"/>
                <a:gd name="T108" fmla="*/ 41 w 624"/>
                <a:gd name="T109" fmla="*/ 60 h 750"/>
                <a:gd name="T110" fmla="*/ 42 w 624"/>
                <a:gd name="T111" fmla="*/ 62 h 750"/>
                <a:gd name="T112" fmla="*/ 43 w 624"/>
                <a:gd name="T113" fmla="*/ 65 h 750"/>
                <a:gd name="T114" fmla="*/ 39 w 624"/>
                <a:gd name="T115" fmla="*/ 63 h 750"/>
                <a:gd name="T116" fmla="*/ 35 w 624"/>
                <a:gd name="T117" fmla="*/ 62 h 75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24"/>
                <a:gd name="T178" fmla="*/ 0 h 750"/>
                <a:gd name="T179" fmla="*/ 624 w 624"/>
                <a:gd name="T180" fmla="*/ 750 h 75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24" h="750">
                  <a:moveTo>
                    <a:pt x="390" y="702"/>
                  </a:moveTo>
                  <a:lnTo>
                    <a:pt x="372" y="696"/>
                  </a:lnTo>
                  <a:lnTo>
                    <a:pt x="360" y="702"/>
                  </a:lnTo>
                  <a:lnTo>
                    <a:pt x="348" y="702"/>
                  </a:lnTo>
                  <a:lnTo>
                    <a:pt x="336" y="702"/>
                  </a:lnTo>
                  <a:lnTo>
                    <a:pt x="330" y="702"/>
                  </a:lnTo>
                  <a:lnTo>
                    <a:pt x="318" y="708"/>
                  </a:lnTo>
                  <a:lnTo>
                    <a:pt x="306" y="708"/>
                  </a:lnTo>
                  <a:lnTo>
                    <a:pt x="294" y="690"/>
                  </a:lnTo>
                  <a:lnTo>
                    <a:pt x="294" y="684"/>
                  </a:lnTo>
                  <a:lnTo>
                    <a:pt x="276" y="684"/>
                  </a:lnTo>
                  <a:lnTo>
                    <a:pt x="270" y="678"/>
                  </a:lnTo>
                  <a:lnTo>
                    <a:pt x="240" y="672"/>
                  </a:lnTo>
                  <a:lnTo>
                    <a:pt x="234" y="672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6"/>
                  </a:lnTo>
                  <a:lnTo>
                    <a:pt x="216" y="660"/>
                  </a:lnTo>
                  <a:lnTo>
                    <a:pt x="216" y="654"/>
                  </a:lnTo>
                  <a:lnTo>
                    <a:pt x="216" y="642"/>
                  </a:lnTo>
                  <a:lnTo>
                    <a:pt x="210" y="642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36"/>
                  </a:lnTo>
                  <a:lnTo>
                    <a:pt x="192" y="624"/>
                  </a:lnTo>
                  <a:lnTo>
                    <a:pt x="186" y="612"/>
                  </a:lnTo>
                  <a:lnTo>
                    <a:pt x="186" y="600"/>
                  </a:lnTo>
                  <a:lnTo>
                    <a:pt x="186" y="588"/>
                  </a:lnTo>
                  <a:lnTo>
                    <a:pt x="180" y="582"/>
                  </a:lnTo>
                  <a:lnTo>
                    <a:pt x="180" y="570"/>
                  </a:lnTo>
                  <a:lnTo>
                    <a:pt x="174" y="558"/>
                  </a:lnTo>
                  <a:lnTo>
                    <a:pt x="162" y="558"/>
                  </a:lnTo>
                  <a:lnTo>
                    <a:pt x="144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38" y="534"/>
                  </a:lnTo>
                  <a:lnTo>
                    <a:pt x="138" y="528"/>
                  </a:lnTo>
                  <a:lnTo>
                    <a:pt x="132" y="522"/>
                  </a:lnTo>
                  <a:lnTo>
                    <a:pt x="144" y="522"/>
                  </a:lnTo>
                  <a:lnTo>
                    <a:pt x="144" y="510"/>
                  </a:lnTo>
                  <a:lnTo>
                    <a:pt x="144" y="504"/>
                  </a:lnTo>
                  <a:lnTo>
                    <a:pt x="138" y="492"/>
                  </a:lnTo>
                  <a:lnTo>
                    <a:pt x="138" y="474"/>
                  </a:lnTo>
                  <a:lnTo>
                    <a:pt x="126" y="468"/>
                  </a:lnTo>
                  <a:lnTo>
                    <a:pt x="120" y="456"/>
                  </a:lnTo>
                  <a:lnTo>
                    <a:pt x="114" y="450"/>
                  </a:lnTo>
                  <a:lnTo>
                    <a:pt x="108" y="438"/>
                  </a:lnTo>
                  <a:lnTo>
                    <a:pt x="96" y="432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60" y="426"/>
                  </a:lnTo>
                  <a:lnTo>
                    <a:pt x="66" y="420"/>
                  </a:lnTo>
                  <a:lnTo>
                    <a:pt x="66" y="408"/>
                  </a:lnTo>
                  <a:lnTo>
                    <a:pt x="72" y="408"/>
                  </a:lnTo>
                  <a:lnTo>
                    <a:pt x="72" y="384"/>
                  </a:lnTo>
                  <a:lnTo>
                    <a:pt x="72" y="366"/>
                  </a:lnTo>
                  <a:lnTo>
                    <a:pt x="78" y="354"/>
                  </a:lnTo>
                  <a:lnTo>
                    <a:pt x="84" y="354"/>
                  </a:lnTo>
                  <a:lnTo>
                    <a:pt x="90" y="348"/>
                  </a:lnTo>
                  <a:lnTo>
                    <a:pt x="102" y="336"/>
                  </a:lnTo>
                  <a:lnTo>
                    <a:pt x="114" y="324"/>
                  </a:lnTo>
                  <a:lnTo>
                    <a:pt x="120" y="312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20" y="276"/>
                  </a:lnTo>
                  <a:lnTo>
                    <a:pt x="96" y="270"/>
                  </a:lnTo>
                  <a:lnTo>
                    <a:pt x="84" y="270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72" y="264"/>
                  </a:lnTo>
                  <a:lnTo>
                    <a:pt x="60" y="252"/>
                  </a:lnTo>
                  <a:lnTo>
                    <a:pt x="42" y="252"/>
                  </a:lnTo>
                  <a:lnTo>
                    <a:pt x="42" y="258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18" y="252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42" y="156"/>
                  </a:lnTo>
                  <a:lnTo>
                    <a:pt x="48" y="198"/>
                  </a:lnTo>
                  <a:lnTo>
                    <a:pt x="48" y="204"/>
                  </a:lnTo>
                  <a:lnTo>
                    <a:pt x="54" y="198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204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192"/>
                  </a:lnTo>
                  <a:lnTo>
                    <a:pt x="96" y="186"/>
                  </a:lnTo>
                  <a:lnTo>
                    <a:pt x="102" y="180"/>
                  </a:lnTo>
                  <a:lnTo>
                    <a:pt x="102" y="174"/>
                  </a:lnTo>
                  <a:lnTo>
                    <a:pt x="108" y="168"/>
                  </a:lnTo>
                  <a:lnTo>
                    <a:pt x="108" y="162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0"/>
                  </a:lnTo>
                  <a:lnTo>
                    <a:pt x="132" y="144"/>
                  </a:lnTo>
                  <a:lnTo>
                    <a:pt x="138" y="138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0" y="132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74" y="126"/>
                  </a:lnTo>
                  <a:lnTo>
                    <a:pt x="204" y="120"/>
                  </a:lnTo>
                  <a:lnTo>
                    <a:pt x="210" y="78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54"/>
                  </a:lnTo>
                  <a:lnTo>
                    <a:pt x="276" y="54"/>
                  </a:lnTo>
                  <a:lnTo>
                    <a:pt x="276" y="48"/>
                  </a:lnTo>
                  <a:lnTo>
                    <a:pt x="282" y="48"/>
                  </a:lnTo>
                  <a:lnTo>
                    <a:pt x="288" y="42"/>
                  </a:lnTo>
                  <a:lnTo>
                    <a:pt x="294" y="42"/>
                  </a:lnTo>
                  <a:lnTo>
                    <a:pt x="294" y="18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0"/>
                  </a:lnTo>
                  <a:lnTo>
                    <a:pt x="336" y="0"/>
                  </a:lnTo>
                  <a:lnTo>
                    <a:pt x="342" y="0"/>
                  </a:lnTo>
                  <a:lnTo>
                    <a:pt x="354" y="6"/>
                  </a:lnTo>
                  <a:lnTo>
                    <a:pt x="366" y="18"/>
                  </a:lnTo>
                  <a:lnTo>
                    <a:pt x="378" y="36"/>
                  </a:lnTo>
                  <a:lnTo>
                    <a:pt x="390" y="42"/>
                  </a:lnTo>
                  <a:lnTo>
                    <a:pt x="390" y="48"/>
                  </a:lnTo>
                  <a:lnTo>
                    <a:pt x="396" y="60"/>
                  </a:lnTo>
                  <a:lnTo>
                    <a:pt x="402" y="72"/>
                  </a:lnTo>
                  <a:lnTo>
                    <a:pt x="408" y="78"/>
                  </a:lnTo>
                  <a:lnTo>
                    <a:pt x="402" y="84"/>
                  </a:lnTo>
                  <a:lnTo>
                    <a:pt x="408" y="90"/>
                  </a:lnTo>
                  <a:lnTo>
                    <a:pt x="414" y="102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50" y="126"/>
                  </a:lnTo>
                  <a:lnTo>
                    <a:pt x="456" y="126"/>
                  </a:lnTo>
                  <a:lnTo>
                    <a:pt x="462" y="144"/>
                  </a:lnTo>
                  <a:lnTo>
                    <a:pt x="480" y="156"/>
                  </a:lnTo>
                  <a:lnTo>
                    <a:pt x="492" y="156"/>
                  </a:lnTo>
                  <a:lnTo>
                    <a:pt x="516" y="150"/>
                  </a:lnTo>
                  <a:lnTo>
                    <a:pt x="516" y="144"/>
                  </a:lnTo>
                  <a:lnTo>
                    <a:pt x="516" y="138"/>
                  </a:lnTo>
                  <a:lnTo>
                    <a:pt x="528" y="138"/>
                  </a:lnTo>
                  <a:lnTo>
                    <a:pt x="546" y="144"/>
                  </a:lnTo>
                  <a:lnTo>
                    <a:pt x="546" y="138"/>
                  </a:lnTo>
                  <a:lnTo>
                    <a:pt x="552" y="138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76" y="138"/>
                  </a:lnTo>
                  <a:lnTo>
                    <a:pt x="582" y="138"/>
                  </a:lnTo>
                  <a:lnTo>
                    <a:pt x="588" y="138"/>
                  </a:lnTo>
                  <a:lnTo>
                    <a:pt x="594" y="138"/>
                  </a:lnTo>
                  <a:lnTo>
                    <a:pt x="594" y="144"/>
                  </a:lnTo>
                  <a:lnTo>
                    <a:pt x="600" y="138"/>
                  </a:lnTo>
                  <a:lnTo>
                    <a:pt x="606" y="138"/>
                  </a:lnTo>
                  <a:lnTo>
                    <a:pt x="606" y="144"/>
                  </a:lnTo>
                  <a:lnTo>
                    <a:pt x="612" y="144"/>
                  </a:lnTo>
                  <a:lnTo>
                    <a:pt x="618" y="156"/>
                  </a:lnTo>
                  <a:lnTo>
                    <a:pt x="612" y="198"/>
                  </a:lnTo>
                  <a:lnTo>
                    <a:pt x="624" y="198"/>
                  </a:lnTo>
                  <a:lnTo>
                    <a:pt x="624" y="204"/>
                  </a:lnTo>
                  <a:lnTo>
                    <a:pt x="612" y="216"/>
                  </a:lnTo>
                  <a:lnTo>
                    <a:pt x="594" y="234"/>
                  </a:lnTo>
                  <a:lnTo>
                    <a:pt x="588" y="252"/>
                  </a:lnTo>
                  <a:lnTo>
                    <a:pt x="576" y="270"/>
                  </a:lnTo>
                  <a:lnTo>
                    <a:pt x="564" y="282"/>
                  </a:lnTo>
                  <a:lnTo>
                    <a:pt x="564" y="294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8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34" y="294"/>
                  </a:lnTo>
                  <a:lnTo>
                    <a:pt x="522" y="300"/>
                  </a:lnTo>
                  <a:lnTo>
                    <a:pt x="510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498" y="324"/>
                  </a:lnTo>
                  <a:lnTo>
                    <a:pt x="504" y="336"/>
                  </a:lnTo>
                  <a:lnTo>
                    <a:pt x="510" y="348"/>
                  </a:lnTo>
                  <a:lnTo>
                    <a:pt x="516" y="366"/>
                  </a:lnTo>
                  <a:lnTo>
                    <a:pt x="522" y="432"/>
                  </a:lnTo>
                  <a:lnTo>
                    <a:pt x="522" y="456"/>
                  </a:lnTo>
                  <a:lnTo>
                    <a:pt x="504" y="492"/>
                  </a:lnTo>
                  <a:lnTo>
                    <a:pt x="504" y="498"/>
                  </a:lnTo>
                  <a:lnTo>
                    <a:pt x="498" y="504"/>
                  </a:lnTo>
                  <a:lnTo>
                    <a:pt x="498" y="522"/>
                  </a:lnTo>
                  <a:lnTo>
                    <a:pt x="504" y="534"/>
                  </a:lnTo>
                  <a:lnTo>
                    <a:pt x="510" y="546"/>
                  </a:lnTo>
                  <a:lnTo>
                    <a:pt x="516" y="558"/>
                  </a:lnTo>
                  <a:lnTo>
                    <a:pt x="516" y="588"/>
                  </a:lnTo>
                  <a:lnTo>
                    <a:pt x="516" y="600"/>
                  </a:lnTo>
                  <a:lnTo>
                    <a:pt x="510" y="618"/>
                  </a:lnTo>
                  <a:lnTo>
                    <a:pt x="504" y="636"/>
                  </a:lnTo>
                  <a:lnTo>
                    <a:pt x="504" y="642"/>
                  </a:lnTo>
                  <a:lnTo>
                    <a:pt x="474" y="654"/>
                  </a:lnTo>
                  <a:lnTo>
                    <a:pt x="474" y="690"/>
                  </a:lnTo>
                  <a:lnTo>
                    <a:pt x="474" y="696"/>
                  </a:lnTo>
                  <a:lnTo>
                    <a:pt x="480" y="702"/>
                  </a:lnTo>
                  <a:lnTo>
                    <a:pt x="486" y="708"/>
                  </a:lnTo>
                  <a:lnTo>
                    <a:pt x="492" y="708"/>
                  </a:lnTo>
                  <a:lnTo>
                    <a:pt x="498" y="726"/>
                  </a:lnTo>
                  <a:lnTo>
                    <a:pt x="504" y="726"/>
                  </a:lnTo>
                  <a:lnTo>
                    <a:pt x="504" y="738"/>
                  </a:lnTo>
                  <a:lnTo>
                    <a:pt x="498" y="744"/>
                  </a:lnTo>
                  <a:lnTo>
                    <a:pt x="486" y="750"/>
                  </a:lnTo>
                  <a:lnTo>
                    <a:pt x="474" y="744"/>
                  </a:lnTo>
                  <a:lnTo>
                    <a:pt x="462" y="744"/>
                  </a:lnTo>
                  <a:lnTo>
                    <a:pt x="456" y="732"/>
                  </a:lnTo>
                  <a:lnTo>
                    <a:pt x="444" y="732"/>
                  </a:lnTo>
                  <a:lnTo>
                    <a:pt x="432" y="726"/>
                  </a:lnTo>
                  <a:lnTo>
                    <a:pt x="420" y="720"/>
                  </a:lnTo>
                  <a:lnTo>
                    <a:pt x="408" y="708"/>
                  </a:lnTo>
                  <a:lnTo>
                    <a:pt x="402" y="708"/>
                  </a:lnTo>
                  <a:lnTo>
                    <a:pt x="390" y="70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5" name="Freeform 20">
              <a:extLst>
                <a:ext uri="{FF2B5EF4-FFF2-40B4-BE49-F238E27FC236}">
                  <a16:creationId xmlns:a16="http://schemas.microsoft.com/office/drawing/2014/main" id="{B8342C3B-ECEC-465F-AAFF-4815B8AC392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870937"/>
              <a:ext cx="313067" cy="377968"/>
            </a:xfrm>
            <a:custGeom>
              <a:avLst/>
              <a:gdLst>
                <a:gd name="T0" fmla="*/ 15 w 588"/>
                <a:gd name="T1" fmla="*/ 59 h 714"/>
                <a:gd name="T2" fmla="*/ 14 w 588"/>
                <a:gd name="T3" fmla="*/ 58 h 714"/>
                <a:gd name="T4" fmla="*/ 9 w 588"/>
                <a:gd name="T5" fmla="*/ 54 h 714"/>
                <a:gd name="T6" fmla="*/ 4 w 588"/>
                <a:gd name="T7" fmla="*/ 54 h 714"/>
                <a:gd name="T8" fmla="*/ 0 w 588"/>
                <a:gd name="T9" fmla="*/ 50 h 714"/>
                <a:gd name="T10" fmla="*/ 0 w 588"/>
                <a:gd name="T11" fmla="*/ 44 h 714"/>
                <a:gd name="T12" fmla="*/ 4 w 588"/>
                <a:gd name="T13" fmla="*/ 46 h 714"/>
                <a:gd name="T14" fmla="*/ 7 w 588"/>
                <a:gd name="T15" fmla="*/ 47 h 714"/>
                <a:gd name="T16" fmla="*/ 10 w 588"/>
                <a:gd name="T17" fmla="*/ 46 h 714"/>
                <a:gd name="T18" fmla="*/ 8 w 588"/>
                <a:gd name="T19" fmla="*/ 44 h 714"/>
                <a:gd name="T20" fmla="*/ 10 w 588"/>
                <a:gd name="T21" fmla="*/ 39 h 714"/>
                <a:gd name="T22" fmla="*/ 11 w 588"/>
                <a:gd name="T23" fmla="*/ 34 h 714"/>
                <a:gd name="T24" fmla="*/ 9 w 588"/>
                <a:gd name="T25" fmla="*/ 28 h 714"/>
                <a:gd name="T26" fmla="*/ 11 w 588"/>
                <a:gd name="T27" fmla="*/ 22 h 714"/>
                <a:gd name="T28" fmla="*/ 10 w 588"/>
                <a:gd name="T29" fmla="*/ 12 h 714"/>
                <a:gd name="T30" fmla="*/ 9 w 588"/>
                <a:gd name="T31" fmla="*/ 9 h 714"/>
                <a:gd name="T32" fmla="*/ 12 w 588"/>
                <a:gd name="T33" fmla="*/ 8 h 714"/>
                <a:gd name="T34" fmla="*/ 14 w 588"/>
                <a:gd name="T35" fmla="*/ 7 h 714"/>
                <a:gd name="T36" fmla="*/ 17 w 588"/>
                <a:gd name="T37" fmla="*/ 10 h 714"/>
                <a:gd name="T38" fmla="*/ 23 w 588"/>
                <a:gd name="T39" fmla="*/ 14 h 714"/>
                <a:gd name="T40" fmla="*/ 28 w 588"/>
                <a:gd name="T41" fmla="*/ 4 h 714"/>
                <a:gd name="T42" fmla="*/ 35 w 588"/>
                <a:gd name="T43" fmla="*/ 2 h 714"/>
                <a:gd name="T44" fmla="*/ 38 w 588"/>
                <a:gd name="T45" fmla="*/ 0 h 714"/>
                <a:gd name="T46" fmla="*/ 40 w 588"/>
                <a:gd name="T47" fmla="*/ 2 h 714"/>
                <a:gd name="T48" fmla="*/ 39 w 588"/>
                <a:gd name="T49" fmla="*/ 4 h 714"/>
                <a:gd name="T50" fmla="*/ 41 w 588"/>
                <a:gd name="T51" fmla="*/ 5 h 714"/>
                <a:gd name="T52" fmla="*/ 42 w 588"/>
                <a:gd name="T53" fmla="*/ 7 h 714"/>
                <a:gd name="T54" fmla="*/ 43 w 588"/>
                <a:gd name="T55" fmla="*/ 9 h 714"/>
                <a:gd name="T56" fmla="*/ 43 w 588"/>
                <a:gd name="T57" fmla="*/ 10 h 714"/>
                <a:gd name="T58" fmla="*/ 43 w 588"/>
                <a:gd name="T59" fmla="*/ 12 h 714"/>
                <a:gd name="T60" fmla="*/ 44 w 588"/>
                <a:gd name="T61" fmla="*/ 12 h 714"/>
                <a:gd name="T62" fmla="*/ 46 w 588"/>
                <a:gd name="T63" fmla="*/ 13 h 714"/>
                <a:gd name="T64" fmla="*/ 47 w 588"/>
                <a:gd name="T65" fmla="*/ 14 h 714"/>
                <a:gd name="T66" fmla="*/ 48 w 588"/>
                <a:gd name="T67" fmla="*/ 15 h 714"/>
                <a:gd name="T68" fmla="*/ 49 w 588"/>
                <a:gd name="T69" fmla="*/ 15 h 714"/>
                <a:gd name="T70" fmla="*/ 48 w 588"/>
                <a:gd name="T71" fmla="*/ 17 h 714"/>
                <a:gd name="T72" fmla="*/ 49 w 588"/>
                <a:gd name="T73" fmla="*/ 19 h 714"/>
                <a:gd name="T74" fmla="*/ 49 w 588"/>
                <a:gd name="T75" fmla="*/ 20 h 714"/>
                <a:gd name="T76" fmla="*/ 51 w 588"/>
                <a:gd name="T77" fmla="*/ 21 h 714"/>
                <a:gd name="T78" fmla="*/ 50 w 588"/>
                <a:gd name="T79" fmla="*/ 22 h 714"/>
                <a:gd name="T80" fmla="*/ 47 w 588"/>
                <a:gd name="T81" fmla="*/ 23 h 714"/>
                <a:gd name="T82" fmla="*/ 47 w 588"/>
                <a:gd name="T83" fmla="*/ 26 h 714"/>
                <a:gd name="T84" fmla="*/ 47 w 588"/>
                <a:gd name="T85" fmla="*/ 32 h 714"/>
                <a:gd name="T86" fmla="*/ 44 w 588"/>
                <a:gd name="T87" fmla="*/ 35 h 714"/>
                <a:gd name="T88" fmla="*/ 42 w 588"/>
                <a:gd name="T89" fmla="*/ 39 h 714"/>
                <a:gd name="T90" fmla="*/ 42 w 588"/>
                <a:gd name="T91" fmla="*/ 41 h 714"/>
                <a:gd name="T92" fmla="*/ 42 w 588"/>
                <a:gd name="T93" fmla="*/ 42 h 714"/>
                <a:gd name="T94" fmla="*/ 41 w 588"/>
                <a:gd name="T95" fmla="*/ 44 h 714"/>
                <a:gd name="T96" fmla="*/ 39 w 588"/>
                <a:gd name="T97" fmla="*/ 43 h 714"/>
                <a:gd name="T98" fmla="*/ 37 w 588"/>
                <a:gd name="T99" fmla="*/ 44 h 714"/>
                <a:gd name="T100" fmla="*/ 35 w 588"/>
                <a:gd name="T101" fmla="*/ 46 h 714"/>
                <a:gd name="T102" fmla="*/ 31 w 588"/>
                <a:gd name="T103" fmla="*/ 45 h 714"/>
                <a:gd name="T104" fmla="*/ 24 w 588"/>
                <a:gd name="T105" fmla="*/ 45 h 714"/>
                <a:gd name="T106" fmla="*/ 25 w 588"/>
                <a:gd name="T107" fmla="*/ 47 h 714"/>
                <a:gd name="T108" fmla="*/ 25 w 588"/>
                <a:gd name="T109" fmla="*/ 49 h 714"/>
                <a:gd name="T110" fmla="*/ 25 w 588"/>
                <a:gd name="T111" fmla="*/ 50 h 714"/>
                <a:gd name="T112" fmla="*/ 24 w 588"/>
                <a:gd name="T113" fmla="*/ 51 h 714"/>
                <a:gd name="T114" fmla="*/ 22 w 588"/>
                <a:gd name="T115" fmla="*/ 53 h 714"/>
                <a:gd name="T116" fmla="*/ 23 w 588"/>
                <a:gd name="T117" fmla="*/ 56 h 714"/>
                <a:gd name="T118" fmla="*/ 20 w 588"/>
                <a:gd name="T119" fmla="*/ 58 h 714"/>
                <a:gd name="T120" fmla="*/ 19 w 588"/>
                <a:gd name="T121" fmla="*/ 62 h 7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8"/>
                <a:gd name="T184" fmla="*/ 0 h 714"/>
                <a:gd name="T185" fmla="*/ 588 w 588"/>
                <a:gd name="T186" fmla="*/ 714 h 7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8" h="714">
                  <a:moveTo>
                    <a:pt x="216" y="714"/>
                  </a:moveTo>
                  <a:lnTo>
                    <a:pt x="198" y="702"/>
                  </a:lnTo>
                  <a:lnTo>
                    <a:pt x="186" y="696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74" y="678"/>
                  </a:lnTo>
                  <a:lnTo>
                    <a:pt x="168" y="672"/>
                  </a:lnTo>
                  <a:lnTo>
                    <a:pt x="162" y="666"/>
                  </a:lnTo>
                  <a:lnTo>
                    <a:pt x="156" y="636"/>
                  </a:lnTo>
                  <a:lnTo>
                    <a:pt x="144" y="630"/>
                  </a:lnTo>
                  <a:lnTo>
                    <a:pt x="108" y="630"/>
                  </a:lnTo>
                  <a:lnTo>
                    <a:pt x="102" y="624"/>
                  </a:lnTo>
                  <a:lnTo>
                    <a:pt x="96" y="624"/>
                  </a:lnTo>
                  <a:lnTo>
                    <a:pt x="72" y="624"/>
                  </a:lnTo>
                  <a:lnTo>
                    <a:pt x="54" y="624"/>
                  </a:lnTo>
                  <a:lnTo>
                    <a:pt x="42" y="618"/>
                  </a:lnTo>
                  <a:lnTo>
                    <a:pt x="30" y="612"/>
                  </a:lnTo>
                  <a:lnTo>
                    <a:pt x="6" y="606"/>
                  </a:lnTo>
                  <a:lnTo>
                    <a:pt x="0" y="606"/>
                  </a:lnTo>
                  <a:lnTo>
                    <a:pt x="0" y="570"/>
                  </a:lnTo>
                  <a:lnTo>
                    <a:pt x="6" y="552"/>
                  </a:lnTo>
                  <a:lnTo>
                    <a:pt x="6" y="522"/>
                  </a:lnTo>
                  <a:lnTo>
                    <a:pt x="0" y="510"/>
                  </a:lnTo>
                  <a:lnTo>
                    <a:pt x="0" y="504"/>
                  </a:lnTo>
                  <a:lnTo>
                    <a:pt x="12" y="510"/>
                  </a:lnTo>
                  <a:lnTo>
                    <a:pt x="18" y="510"/>
                  </a:lnTo>
                  <a:lnTo>
                    <a:pt x="30" y="522"/>
                  </a:lnTo>
                  <a:lnTo>
                    <a:pt x="42" y="528"/>
                  </a:lnTo>
                  <a:lnTo>
                    <a:pt x="54" y="534"/>
                  </a:lnTo>
                  <a:lnTo>
                    <a:pt x="66" y="534"/>
                  </a:lnTo>
                  <a:lnTo>
                    <a:pt x="72" y="546"/>
                  </a:lnTo>
                  <a:lnTo>
                    <a:pt x="84" y="546"/>
                  </a:lnTo>
                  <a:lnTo>
                    <a:pt x="96" y="552"/>
                  </a:lnTo>
                  <a:lnTo>
                    <a:pt x="108" y="546"/>
                  </a:lnTo>
                  <a:lnTo>
                    <a:pt x="114" y="540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90" y="504"/>
                  </a:lnTo>
                  <a:lnTo>
                    <a:pt x="84" y="498"/>
                  </a:lnTo>
                  <a:lnTo>
                    <a:pt x="84" y="492"/>
                  </a:lnTo>
                  <a:lnTo>
                    <a:pt x="84" y="456"/>
                  </a:lnTo>
                  <a:lnTo>
                    <a:pt x="114" y="444"/>
                  </a:lnTo>
                  <a:lnTo>
                    <a:pt x="114" y="438"/>
                  </a:lnTo>
                  <a:lnTo>
                    <a:pt x="120" y="420"/>
                  </a:lnTo>
                  <a:lnTo>
                    <a:pt x="126" y="402"/>
                  </a:lnTo>
                  <a:lnTo>
                    <a:pt x="126" y="390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14" y="336"/>
                  </a:lnTo>
                  <a:lnTo>
                    <a:pt x="108" y="324"/>
                  </a:lnTo>
                  <a:lnTo>
                    <a:pt x="108" y="306"/>
                  </a:lnTo>
                  <a:lnTo>
                    <a:pt x="114" y="300"/>
                  </a:lnTo>
                  <a:lnTo>
                    <a:pt x="114" y="294"/>
                  </a:lnTo>
                  <a:lnTo>
                    <a:pt x="132" y="258"/>
                  </a:lnTo>
                  <a:lnTo>
                    <a:pt x="132" y="234"/>
                  </a:lnTo>
                  <a:lnTo>
                    <a:pt x="126" y="168"/>
                  </a:lnTo>
                  <a:lnTo>
                    <a:pt x="120" y="150"/>
                  </a:lnTo>
                  <a:lnTo>
                    <a:pt x="114" y="138"/>
                  </a:lnTo>
                  <a:lnTo>
                    <a:pt x="108" y="126"/>
                  </a:lnTo>
                  <a:lnTo>
                    <a:pt x="108" y="120"/>
                  </a:lnTo>
                  <a:lnTo>
                    <a:pt x="108" y="114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20" y="96"/>
                  </a:lnTo>
                  <a:lnTo>
                    <a:pt x="132" y="102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56" y="90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96"/>
                  </a:lnTo>
                  <a:lnTo>
                    <a:pt x="186" y="96"/>
                  </a:lnTo>
                  <a:lnTo>
                    <a:pt x="192" y="114"/>
                  </a:lnTo>
                  <a:lnTo>
                    <a:pt x="204" y="132"/>
                  </a:lnTo>
                  <a:lnTo>
                    <a:pt x="216" y="144"/>
                  </a:lnTo>
                  <a:lnTo>
                    <a:pt x="240" y="162"/>
                  </a:lnTo>
                  <a:lnTo>
                    <a:pt x="270" y="156"/>
                  </a:lnTo>
                  <a:lnTo>
                    <a:pt x="282" y="126"/>
                  </a:lnTo>
                  <a:lnTo>
                    <a:pt x="282" y="96"/>
                  </a:lnTo>
                  <a:lnTo>
                    <a:pt x="294" y="54"/>
                  </a:lnTo>
                  <a:lnTo>
                    <a:pt x="324" y="48"/>
                  </a:lnTo>
                  <a:lnTo>
                    <a:pt x="342" y="48"/>
                  </a:lnTo>
                  <a:lnTo>
                    <a:pt x="384" y="48"/>
                  </a:lnTo>
                  <a:lnTo>
                    <a:pt x="390" y="30"/>
                  </a:lnTo>
                  <a:lnTo>
                    <a:pt x="402" y="18"/>
                  </a:lnTo>
                  <a:lnTo>
                    <a:pt x="438" y="6"/>
                  </a:lnTo>
                  <a:lnTo>
                    <a:pt x="438" y="0"/>
                  </a:lnTo>
                  <a:lnTo>
                    <a:pt x="444" y="0"/>
                  </a:lnTo>
                  <a:lnTo>
                    <a:pt x="444" y="6"/>
                  </a:lnTo>
                  <a:lnTo>
                    <a:pt x="450" y="6"/>
                  </a:lnTo>
                  <a:lnTo>
                    <a:pt x="456" y="12"/>
                  </a:lnTo>
                  <a:lnTo>
                    <a:pt x="456" y="18"/>
                  </a:lnTo>
                  <a:lnTo>
                    <a:pt x="462" y="24"/>
                  </a:lnTo>
                  <a:lnTo>
                    <a:pt x="462" y="30"/>
                  </a:lnTo>
                  <a:lnTo>
                    <a:pt x="468" y="36"/>
                  </a:lnTo>
                  <a:lnTo>
                    <a:pt x="462" y="36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74" y="60"/>
                  </a:lnTo>
                  <a:lnTo>
                    <a:pt x="486" y="78"/>
                  </a:lnTo>
                  <a:lnTo>
                    <a:pt x="486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8" y="102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498" y="114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504" y="126"/>
                  </a:lnTo>
                  <a:lnTo>
                    <a:pt x="498" y="132"/>
                  </a:lnTo>
                  <a:lnTo>
                    <a:pt x="504" y="138"/>
                  </a:lnTo>
                  <a:lnTo>
                    <a:pt x="504" y="132"/>
                  </a:lnTo>
                  <a:lnTo>
                    <a:pt x="510" y="132"/>
                  </a:lnTo>
                  <a:lnTo>
                    <a:pt x="510" y="138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56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6" y="168"/>
                  </a:lnTo>
                  <a:lnTo>
                    <a:pt x="552" y="168"/>
                  </a:lnTo>
                  <a:lnTo>
                    <a:pt x="546" y="168"/>
                  </a:lnTo>
                  <a:lnTo>
                    <a:pt x="546" y="174"/>
                  </a:lnTo>
                  <a:lnTo>
                    <a:pt x="558" y="180"/>
                  </a:lnTo>
                  <a:lnTo>
                    <a:pt x="564" y="180"/>
                  </a:lnTo>
                  <a:lnTo>
                    <a:pt x="564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52" y="198"/>
                  </a:lnTo>
                  <a:lnTo>
                    <a:pt x="558" y="204"/>
                  </a:lnTo>
                  <a:lnTo>
                    <a:pt x="564" y="204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22"/>
                  </a:lnTo>
                  <a:lnTo>
                    <a:pt x="576" y="228"/>
                  </a:lnTo>
                  <a:lnTo>
                    <a:pt x="570" y="228"/>
                  </a:lnTo>
                  <a:lnTo>
                    <a:pt x="570" y="234"/>
                  </a:lnTo>
                  <a:lnTo>
                    <a:pt x="576" y="234"/>
                  </a:lnTo>
                  <a:lnTo>
                    <a:pt x="582" y="234"/>
                  </a:lnTo>
                  <a:lnTo>
                    <a:pt x="588" y="234"/>
                  </a:lnTo>
                  <a:lnTo>
                    <a:pt x="588" y="240"/>
                  </a:lnTo>
                  <a:lnTo>
                    <a:pt x="588" y="246"/>
                  </a:lnTo>
                  <a:lnTo>
                    <a:pt x="588" y="252"/>
                  </a:lnTo>
                  <a:lnTo>
                    <a:pt x="582" y="252"/>
                  </a:lnTo>
                  <a:lnTo>
                    <a:pt x="576" y="252"/>
                  </a:lnTo>
                  <a:lnTo>
                    <a:pt x="582" y="258"/>
                  </a:lnTo>
                  <a:lnTo>
                    <a:pt x="582" y="264"/>
                  </a:lnTo>
                  <a:lnTo>
                    <a:pt x="576" y="264"/>
                  </a:lnTo>
                  <a:lnTo>
                    <a:pt x="546" y="264"/>
                  </a:lnTo>
                  <a:lnTo>
                    <a:pt x="546" y="276"/>
                  </a:lnTo>
                  <a:lnTo>
                    <a:pt x="540" y="282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40" y="324"/>
                  </a:lnTo>
                  <a:lnTo>
                    <a:pt x="552" y="330"/>
                  </a:lnTo>
                  <a:lnTo>
                    <a:pt x="558" y="342"/>
                  </a:lnTo>
                  <a:lnTo>
                    <a:pt x="546" y="372"/>
                  </a:lnTo>
                  <a:lnTo>
                    <a:pt x="534" y="372"/>
                  </a:lnTo>
                  <a:lnTo>
                    <a:pt x="534" y="384"/>
                  </a:lnTo>
                  <a:lnTo>
                    <a:pt x="522" y="384"/>
                  </a:lnTo>
                  <a:lnTo>
                    <a:pt x="510" y="402"/>
                  </a:lnTo>
                  <a:lnTo>
                    <a:pt x="504" y="420"/>
                  </a:lnTo>
                  <a:lnTo>
                    <a:pt x="492" y="426"/>
                  </a:lnTo>
                  <a:lnTo>
                    <a:pt x="486" y="432"/>
                  </a:lnTo>
                  <a:lnTo>
                    <a:pt x="486" y="444"/>
                  </a:lnTo>
                  <a:lnTo>
                    <a:pt x="486" y="450"/>
                  </a:lnTo>
                  <a:lnTo>
                    <a:pt x="486" y="456"/>
                  </a:lnTo>
                  <a:lnTo>
                    <a:pt x="486" y="462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80" y="474"/>
                  </a:lnTo>
                  <a:lnTo>
                    <a:pt x="480" y="480"/>
                  </a:lnTo>
                  <a:lnTo>
                    <a:pt x="480" y="486"/>
                  </a:lnTo>
                  <a:lnTo>
                    <a:pt x="480" y="492"/>
                  </a:lnTo>
                  <a:lnTo>
                    <a:pt x="480" y="498"/>
                  </a:lnTo>
                  <a:lnTo>
                    <a:pt x="474" y="504"/>
                  </a:lnTo>
                  <a:lnTo>
                    <a:pt x="468" y="510"/>
                  </a:lnTo>
                  <a:lnTo>
                    <a:pt x="462" y="510"/>
                  </a:lnTo>
                  <a:lnTo>
                    <a:pt x="456" y="504"/>
                  </a:lnTo>
                  <a:lnTo>
                    <a:pt x="456" y="498"/>
                  </a:lnTo>
                  <a:lnTo>
                    <a:pt x="450" y="498"/>
                  </a:lnTo>
                  <a:lnTo>
                    <a:pt x="444" y="498"/>
                  </a:lnTo>
                  <a:lnTo>
                    <a:pt x="438" y="498"/>
                  </a:lnTo>
                  <a:lnTo>
                    <a:pt x="432" y="498"/>
                  </a:lnTo>
                  <a:lnTo>
                    <a:pt x="426" y="504"/>
                  </a:lnTo>
                  <a:lnTo>
                    <a:pt x="426" y="510"/>
                  </a:lnTo>
                  <a:lnTo>
                    <a:pt x="420" y="516"/>
                  </a:lnTo>
                  <a:lnTo>
                    <a:pt x="414" y="522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84" y="528"/>
                  </a:lnTo>
                  <a:lnTo>
                    <a:pt x="366" y="540"/>
                  </a:lnTo>
                  <a:lnTo>
                    <a:pt x="360" y="522"/>
                  </a:lnTo>
                  <a:lnTo>
                    <a:pt x="348" y="504"/>
                  </a:lnTo>
                  <a:lnTo>
                    <a:pt x="330" y="504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34"/>
                  </a:lnTo>
                  <a:lnTo>
                    <a:pt x="288" y="540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2" y="540"/>
                  </a:lnTo>
                  <a:lnTo>
                    <a:pt x="282" y="546"/>
                  </a:lnTo>
                  <a:lnTo>
                    <a:pt x="288" y="552"/>
                  </a:lnTo>
                  <a:lnTo>
                    <a:pt x="294" y="564"/>
                  </a:lnTo>
                  <a:lnTo>
                    <a:pt x="300" y="564"/>
                  </a:lnTo>
                  <a:lnTo>
                    <a:pt x="300" y="570"/>
                  </a:lnTo>
                  <a:lnTo>
                    <a:pt x="294" y="570"/>
                  </a:lnTo>
                  <a:lnTo>
                    <a:pt x="288" y="570"/>
                  </a:lnTo>
                  <a:lnTo>
                    <a:pt x="288" y="576"/>
                  </a:lnTo>
                  <a:lnTo>
                    <a:pt x="288" y="582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606"/>
                  </a:lnTo>
                  <a:lnTo>
                    <a:pt x="264" y="612"/>
                  </a:lnTo>
                  <a:lnTo>
                    <a:pt x="258" y="612"/>
                  </a:lnTo>
                  <a:lnTo>
                    <a:pt x="252" y="612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52" y="630"/>
                  </a:lnTo>
                  <a:lnTo>
                    <a:pt x="264" y="642"/>
                  </a:lnTo>
                  <a:lnTo>
                    <a:pt x="258" y="648"/>
                  </a:lnTo>
                  <a:lnTo>
                    <a:pt x="246" y="654"/>
                  </a:lnTo>
                  <a:lnTo>
                    <a:pt x="240" y="660"/>
                  </a:lnTo>
                  <a:lnTo>
                    <a:pt x="234" y="672"/>
                  </a:lnTo>
                  <a:lnTo>
                    <a:pt x="234" y="678"/>
                  </a:lnTo>
                  <a:lnTo>
                    <a:pt x="228" y="684"/>
                  </a:lnTo>
                  <a:lnTo>
                    <a:pt x="228" y="696"/>
                  </a:lnTo>
                  <a:lnTo>
                    <a:pt x="216" y="71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6" name="Freeform 21">
              <a:extLst>
                <a:ext uri="{FF2B5EF4-FFF2-40B4-BE49-F238E27FC236}">
                  <a16:creationId xmlns:a16="http://schemas.microsoft.com/office/drawing/2014/main" id="{DCB1E808-522D-4C19-B741-CC5DD56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4178" y="3866464"/>
              <a:ext cx="250453" cy="371259"/>
            </a:xfrm>
            <a:custGeom>
              <a:avLst/>
              <a:gdLst>
                <a:gd name="T0" fmla="*/ 0 w 468"/>
                <a:gd name="T1" fmla="*/ 61 h 696"/>
                <a:gd name="T2" fmla="*/ 1 w 468"/>
                <a:gd name="T3" fmla="*/ 58 h 696"/>
                <a:gd name="T4" fmla="*/ 2 w 468"/>
                <a:gd name="T5" fmla="*/ 54 h 696"/>
                <a:gd name="T6" fmla="*/ 3 w 468"/>
                <a:gd name="T7" fmla="*/ 51 h 696"/>
                <a:gd name="T8" fmla="*/ 4 w 468"/>
                <a:gd name="T9" fmla="*/ 48 h 696"/>
                <a:gd name="T10" fmla="*/ 6 w 468"/>
                <a:gd name="T11" fmla="*/ 44 h 696"/>
                <a:gd name="T12" fmla="*/ 5 w 468"/>
                <a:gd name="T13" fmla="*/ 41 h 696"/>
                <a:gd name="T14" fmla="*/ 7 w 468"/>
                <a:gd name="T15" fmla="*/ 38 h 696"/>
                <a:gd name="T16" fmla="*/ 8 w 468"/>
                <a:gd name="T17" fmla="*/ 36 h 696"/>
                <a:gd name="T18" fmla="*/ 7 w 468"/>
                <a:gd name="T19" fmla="*/ 33 h 696"/>
                <a:gd name="T20" fmla="*/ 6 w 468"/>
                <a:gd name="T21" fmla="*/ 29 h 696"/>
                <a:gd name="T22" fmla="*/ 4 w 468"/>
                <a:gd name="T23" fmla="*/ 22 h 696"/>
                <a:gd name="T24" fmla="*/ 2 w 468"/>
                <a:gd name="T25" fmla="*/ 14 h 696"/>
                <a:gd name="T26" fmla="*/ 12 w 468"/>
                <a:gd name="T27" fmla="*/ 11 h 696"/>
                <a:gd name="T28" fmla="*/ 14 w 468"/>
                <a:gd name="T29" fmla="*/ 2 h 696"/>
                <a:gd name="T30" fmla="*/ 16 w 468"/>
                <a:gd name="T31" fmla="*/ 0 h 696"/>
                <a:gd name="T32" fmla="*/ 17 w 468"/>
                <a:gd name="T33" fmla="*/ 0 h 696"/>
                <a:gd name="T34" fmla="*/ 18 w 468"/>
                <a:gd name="T35" fmla="*/ 1 h 696"/>
                <a:gd name="T36" fmla="*/ 17 w 468"/>
                <a:gd name="T37" fmla="*/ 2 h 696"/>
                <a:gd name="T38" fmla="*/ 17 w 468"/>
                <a:gd name="T39" fmla="*/ 4 h 696"/>
                <a:gd name="T40" fmla="*/ 17 w 468"/>
                <a:gd name="T41" fmla="*/ 6 h 696"/>
                <a:gd name="T42" fmla="*/ 20 w 468"/>
                <a:gd name="T43" fmla="*/ 6 h 696"/>
                <a:gd name="T44" fmla="*/ 22 w 468"/>
                <a:gd name="T45" fmla="*/ 5 h 696"/>
                <a:gd name="T46" fmla="*/ 24 w 468"/>
                <a:gd name="T47" fmla="*/ 7 h 696"/>
                <a:gd name="T48" fmla="*/ 28 w 468"/>
                <a:gd name="T49" fmla="*/ 7 h 696"/>
                <a:gd name="T50" fmla="*/ 28 w 468"/>
                <a:gd name="T51" fmla="*/ 11 h 696"/>
                <a:gd name="T52" fmla="*/ 25 w 468"/>
                <a:gd name="T53" fmla="*/ 14 h 696"/>
                <a:gd name="T54" fmla="*/ 23 w 468"/>
                <a:gd name="T55" fmla="*/ 15 h 696"/>
                <a:gd name="T56" fmla="*/ 23 w 468"/>
                <a:gd name="T57" fmla="*/ 19 h 696"/>
                <a:gd name="T58" fmla="*/ 23 w 468"/>
                <a:gd name="T59" fmla="*/ 21 h 696"/>
                <a:gd name="T60" fmla="*/ 24 w 468"/>
                <a:gd name="T61" fmla="*/ 21 h 696"/>
                <a:gd name="T62" fmla="*/ 27 w 468"/>
                <a:gd name="T63" fmla="*/ 23 h 696"/>
                <a:gd name="T64" fmla="*/ 29 w 468"/>
                <a:gd name="T65" fmla="*/ 24 h 696"/>
                <a:gd name="T66" fmla="*/ 29 w 468"/>
                <a:gd name="T67" fmla="*/ 28 h 696"/>
                <a:gd name="T68" fmla="*/ 29 w 468"/>
                <a:gd name="T69" fmla="*/ 29 h 696"/>
                <a:gd name="T70" fmla="*/ 29 w 468"/>
                <a:gd name="T71" fmla="*/ 32 h 696"/>
                <a:gd name="T72" fmla="*/ 32 w 468"/>
                <a:gd name="T73" fmla="*/ 32 h 696"/>
                <a:gd name="T74" fmla="*/ 33 w 468"/>
                <a:gd name="T75" fmla="*/ 35 h 696"/>
                <a:gd name="T76" fmla="*/ 34 w 468"/>
                <a:gd name="T77" fmla="*/ 38 h 696"/>
                <a:gd name="T78" fmla="*/ 35 w 468"/>
                <a:gd name="T79" fmla="*/ 39 h 696"/>
                <a:gd name="T80" fmla="*/ 36 w 468"/>
                <a:gd name="T81" fmla="*/ 40 h 696"/>
                <a:gd name="T82" fmla="*/ 37 w 468"/>
                <a:gd name="T83" fmla="*/ 41 h 696"/>
                <a:gd name="T84" fmla="*/ 38 w 468"/>
                <a:gd name="T85" fmla="*/ 42 h 696"/>
                <a:gd name="T86" fmla="*/ 41 w 468"/>
                <a:gd name="T87" fmla="*/ 44 h 696"/>
                <a:gd name="T88" fmla="*/ 40 w 468"/>
                <a:gd name="T89" fmla="*/ 44 h 696"/>
                <a:gd name="T90" fmla="*/ 37 w 468"/>
                <a:gd name="T91" fmla="*/ 45 h 696"/>
                <a:gd name="T92" fmla="*/ 36 w 468"/>
                <a:gd name="T93" fmla="*/ 48 h 696"/>
                <a:gd name="T94" fmla="*/ 34 w 468"/>
                <a:gd name="T95" fmla="*/ 49 h 696"/>
                <a:gd name="T96" fmla="*/ 32 w 468"/>
                <a:gd name="T97" fmla="*/ 51 h 696"/>
                <a:gd name="T98" fmla="*/ 31 w 468"/>
                <a:gd name="T99" fmla="*/ 51 h 696"/>
                <a:gd name="T100" fmla="*/ 26 w 468"/>
                <a:gd name="T101" fmla="*/ 49 h 696"/>
                <a:gd name="T102" fmla="*/ 23 w 468"/>
                <a:gd name="T103" fmla="*/ 51 h 696"/>
                <a:gd name="T104" fmla="*/ 21 w 468"/>
                <a:gd name="T105" fmla="*/ 51 h 696"/>
                <a:gd name="T106" fmla="*/ 20 w 468"/>
                <a:gd name="T107" fmla="*/ 52 h 696"/>
                <a:gd name="T108" fmla="*/ 17 w 468"/>
                <a:gd name="T109" fmla="*/ 55 h 696"/>
                <a:gd name="T110" fmla="*/ 15 w 468"/>
                <a:gd name="T111" fmla="*/ 56 h 696"/>
                <a:gd name="T112" fmla="*/ 15 w 468"/>
                <a:gd name="T113" fmla="*/ 59 h 696"/>
                <a:gd name="T114" fmla="*/ 14 w 468"/>
                <a:gd name="T115" fmla="*/ 59 h 696"/>
                <a:gd name="T116" fmla="*/ 12 w 468"/>
                <a:gd name="T117" fmla="*/ 59 h 696"/>
                <a:gd name="T118" fmla="*/ 11 w 468"/>
                <a:gd name="T119" fmla="*/ 57 h 696"/>
                <a:gd name="T120" fmla="*/ 9 w 468"/>
                <a:gd name="T121" fmla="*/ 57 h 696"/>
                <a:gd name="T122" fmla="*/ 6 w 468"/>
                <a:gd name="T123" fmla="*/ 58 h 696"/>
                <a:gd name="T124" fmla="*/ 4 w 468"/>
                <a:gd name="T125" fmla="*/ 60 h 69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8"/>
                <a:gd name="T190" fmla="*/ 0 h 696"/>
                <a:gd name="T191" fmla="*/ 468 w 468"/>
                <a:gd name="T192" fmla="*/ 696 h 69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8" h="696">
                  <a:moveTo>
                    <a:pt x="30" y="696"/>
                  </a:moveTo>
                  <a:lnTo>
                    <a:pt x="18" y="696"/>
                  </a:lnTo>
                  <a:lnTo>
                    <a:pt x="6" y="696"/>
                  </a:lnTo>
                  <a:lnTo>
                    <a:pt x="0" y="690"/>
                  </a:lnTo>
                  <a:lnTo>
                    <a:pt x="6" y="678"/>
                  </a:lnTo>
                  <a:lnTo>
                    <a:pt x="12" y="666"/>
                  </a:lnTo>
                  <a:lnTo>
                    <a:pt x="18" y="654"/>
                  </a:lnTo>
                  <a:lnTo>
                    <a:pt x="18" y="642"/>
                  </a:lnTo>
                  <a:lnTo>
                    <a:pt x="18" y="618"/>
                  </a:lnTo>
                  <a:lnTo>
                    <a:pt x="24" y="606"/>
                  </a:lnTo>
                  <a:lnTo>
                    <a:pt x="30" y="594"/>
                  </a:lnTo>
                  <a:lnTo>
                    <a:pt x="30" y="582"/>
                  </a:lnTo>
                  <a:lnTo>
                    <a:pt x="36" y="576"/>
                  </a:lnTo>
                  <a:lnTo>
                    <a:pt x="42" y="564"/>
                  </a:lnTo>
                  <a:lnTo>
                    <a:pt x="48" y="546"/>
                  </a:lnTo>
                  <a:lnTo>
                    <a:pt x="48" y="528"/>
                  </a:lnTo>
                  <a:lnTo>
                    <a:pt x="60" y="516"/>
                  </a:lnTo>
                  <a:lnTo>
                    <a:pt x="66" y="504"/>
                  </a:lnTo>
                  <a:lnTo>
                    <a:pt x="66" y="492"/>
                  </a:lnTo>
                  <a:lnTo>
                    <a:pt x="60" y="480"/>
                  </a:lnTo>
                  <a:lnTo>
                    <a:pt x="54" y="468"/>
                  </a:lnTo>
                  <a:lnTo>
                    <a:pt x="60" y="456"/>
                  </a:lnTo>
                  <a:lnTo>
                    <a:pt x="72" y="450"/>
                  </a:lnTo>
                  <a:lnTo>
                    <a:pt x="84" y="438"/>
                  </a:lnTo>
                  <a:lnTo>
                    <a:pt x="90" y="426"/>
                  </a:lnTo>
                  <a:lnTo>
                    <a:pt x="90" y="420"/>
                  </a:lnTo>
                  <a:lnTo>
                    <a:pt x="90" y="408"/>
                  </a:lnTo>
                  <a:lnTo>
                    <a:pt x="90" y="402"/>
                  </a:lnTo>
                  <a:lnTo>
                    <a:pt x="84" y="396"/>
                  </a:lnTo>
                  <a:lnTo>
                    <a:pt x="78" y="378"/>
                  </a:lnTo>
                  <a:lnTo>
                    <a:pt x="72" y="360"/>
                  </a:lnTo>
                  <a:lnTo>
                    <a:pt x="66" y="348"/>
                  </a:lnTo>
                  <a:lnTo>
                    <a:pt x="72" y="336"/>
                  </a:lnTo>
                  <a:lnTo>
                    <a:pt x="66" y="306"/>
                  </a:lnTo>
                  <a:lnTo>
                    <a:pt x="54" y="276"/>
                  </a:lnTo>
                  <a:lnTo>
                    <a:pt x="42" y="252"/>
                  </a:lnTo>
                  <a:lnTo>
                    <a:pt x="36" y="222"/>
                  </a:lnTo>
                  <a:lnTo>
                    <a:pt x="30" y="192"/>
                  </a:lnTo>
                  <a:lnTo>
                    <a:pt x="24" y="162"/>
                  </a:lnTo>
                  <a:lnTo>
                    <a:pt x="42" y="174"/>
                  </a:lnTo>
                  <a:lnTo>
                    <a:pt x="120" y="138"/>
                  </a:lnTo>
                  <a:lnTo>
                    <a:pt x="132" y="126"/>
                  </a:lnTo>
                  <a:lnTo>
                    <a:pt x="120" y="54"/>
                  </a:lnTo>
                  <a:lnTo>
                    <a:pt x="156" y="30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0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8" y="18"/>
                  </a:lnTo>
                  <a:lnTo>
                    <a:pt x="198" y="24"/>
                  </a:lnTo>
                  <a:lnTo>
                    <a:pt x="198" y="30"/>
                  </a:lnTo>
                  <a:lnTo>
                    <a:pt x="198" y="42"/>
                  </a:lnTo>
                  <a:lnTo>
                    <a:pt x="198" y="48"/>
                  </a:lnTo>
                  <a:lnTo>
                    <a:pt x="192" y="60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28" y="60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34" y="60"/>
                  </a:lnTo>
                  <a:lnTo>
                    <a:pt x="252" y="60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312" y="84"/>
                  </a:lnTo>
                  <a:lnTo>
                    <a:pt x="318" y="96"/>
                  </a:lnTo>
                  <a:lnTo>
                    <a:pt x="318" y="102"/>
                  </a:lnTo>
                  <a:lnTo>
                    <a:pt x="312" y="120"/>
                  </a:lnTo>
                  <a:lnTo>
                    <a:pt x="306" y="132"/>
                  </a:lnTo>
                  <a:lnTo>
                    <a:pt x="294" y="144"/>
                  </a:lnTo>
                  <a:lnTo>
                    <a:pt x="282" y="156"/>
                  </a:lnTo>
                  <a:lnTo>
                    <a:pt x="276" y="162"/>
                  </a:lnTo>
                  <a:lnTo>
                    <a:pt x="270" y="162"/>
                  </a:lnTo>
                  <a:lnTo>
                    <a:pt x="264" y="174"/>
                  </a:lnTo>
                  <a:lnTo>
                    <a:pt x="264" y="192"/>
                  </a:lnTo>
                  <a:lnTo>
                    <a:pt x="264" y="216"/>
                  </a:lnTo>
                  <a:lnTo>
                    <a:pt x="258" y="216"/>
                  </a:lnTo>
                  <a:lnTo>
                    <a:pt x="258" y="228"/>
                  </a:lnTo>
                  <a:lnTo>
                    <a:pt x="252" y="234"/>
                  </a:lnTo>
                  <a:lnTo>
                    <a:pt x="258" y="240"/>
                  </a:lnTo>
                  <a:lnTo>
                    <a:pt x="264" y="240"/>
                  </a:lnTo>
                  <a:lnTo>
                    <a:pt x="270" y="240"/>
                  </a:lnTo>
                  <a:lnTo>
                    <a:pt x="276" y="240"/>
                  </a:lnTo>
                  <a:lnTo>
                    <a:pt x="288" y="240"/>
                  </a:lnTo>
                  <a:lnTo>
                    <a:pt x="300" y="246"/>
                  </a:lnTo>
                  <a:lnTo>
                    <a:pt x="306" y="258"/>
                  </a:lnTo>
                  <a:lnTo>
                    <a:pt x="312" y="264"/>
                  </a:lnTo>
                  <a:lnTo>
                    <a:pt x="318" y="276"/>
                  </a:lnTo>
                  <a:lnTo>
                    <a:pt x="330" y="282"/>
                  </a:lnTo>
                  <a:lnTo>
                    <a:pt x="330" y="300"/>
                  </a:lnTo>
                  <a:lnTo>
                    <a:pt x="336" y="312"/>
                  </a:lnTo>
                  <a:lnTo>
                    <a:pt x="336" y="318"/>
                  </a:lnTo>
                  <a:lnTo>
                    <a:pt x="336" y="330"/>
                  </a:lnTo>
                  <a:lnTo>
                    <a:pt x="324" y="330"/>
                  </a:lnTo>
                  <a:lnTo>
                    <a:pt x="330" y="336"/>
                  </a:lnTo>
                  <a:lnTo>
                    <a:pt x="330" y="342"/>
                  </a:lnTo>
                  <a:lnTo>
                    <a:pt x="336" y="348"/>
                  </a:lnTo>
                  <a:lnTo>
                    <a:pt x="330" y="360"/>
                  </a:lnTo>
                  <a:lnTo>
                    <a:pt x="336" y="372"/>
                  </a:lnTo>
                  <a:lnTo>
                    <a:pt x="354" y="366"/>
                  </a:lnTo>
                  <a:lnTo>
                    <a:pt x="366" y="366"/>
                  </a:lnTo>
                  <a:lnTo>
                    <a:pt x="372" y="378"/>
                  </a:lnTo>
                  <a:lnTo>
                    <a:pt x="372" y="390"/>
                  </a:lnTo>
                  <a:lnTo>
                    <a:pt x="378" y="396"/>
                  </a:lnTo>
                  <a:lnTo>
                    <a:pt x="378" y="408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44"/>
                  </a:lnTo>
                  <a:lnTo>
                    <a:pt x="390" y="444"/>
                  </a:lnTo>
                  <a:lnTo>
                    <a:pt x="396" y="444"/>
                  </a:lnTo>
                  <a:lnTo>
                    <a:pt x="402" y="450"/>
                  </a:lnTo>
                  <a:lnTo>
                    <a:pt x="408" y="450"/>
                  </a:lnTo>
                  <a:lnTo>
                    <a:pt x="408" y="462"/>
                  </a:lnTo>
                  <a:lnTo>
                    <a:pt x="408" y="468"/>
                  </a:lnTo>
                  <a:lnTo>
                    <a:pt x="414" y="474"/>
                  </a:lnTo>
                  <a:lnTo>
                    <a:pt x="420" y="474"/>
                  </a:lnTo>
                  <a:lnTo>
                    <a:pt x="420" y="480"/>
                  </a:lnTo>
                  <a:lnTo>
                    <a:pt x="426" y="480"/>
                  </a:lnTo>
                  <a:lnTo>
                    <a:pt x="432" y="480"/>
                  </a:lnTo>
                  <a:lnTo>
                    <a:pt x="462" y="486"/>
                  </a:lnTo>
                  <a:lnTo>
                    <a:pt x="468" y="492"/>
                  </a:lnTo>
                  <a:lnTo>
                    <a:pt x="468" y="498"/>
                  </a:lnTo>
                  <a:lnTo>
                    <a:pt x="462" y="498"/>
                  </a:lnTo>
                  <a:lnTo>
                    <a:pt x="456" y="498"/>
                  </a:lnTo>
                  <a:lnTo>
                    <a:pt x="456" y="504"/>
                  </a:lnTo>
                  <a:lnTo>
                    <a:pt x="456" y="510"/>
                  </a:lnTo>
                  <a:lnTo>
                    <a:pt x="450" y="516"/>
                  </a:lnTo>
                  <a:lnTo>
                    <a:pt x="426" y="516"/>
                  </a:lnTo>
                  <a:lnTo>
                    <a:pt x="408" y="528"/>
                  </a:lnTo>
                  <a:lnTo>
                    <a:pt x="408" y="546"/>
                  </a:lnTo>
                  <a:lnTo>
                    <a:pt x="414" y="552"/>
                  </a:lnTo>
                  <a:lnTo>
                    <a:pt x="408" y="558"/>
                  </a:lnTo>
                  <a:lnTo>
                    <a:pt x="402" y="564"/>
                  </a:lnTo>
                  <a:lnTo>
                    <a:pt x="384" y="564"/>
                  </a:lnTo>
                  <a:lnTo>
                    <a:pt x="372" y="564"/>
                  </a:lnTo>
                  <a:lnTo>
                    <a:pt x="372" y="576"/>
                  </a:lnTo>
                  <a:lnTo>
                    <a:pt x="366" y="576"/>
                  </a:lnTo>
                  <a:lnTo>
                    <a:pt x="366" y="582"/>
                  </a:lnTo>
                  <a:lnTo>
                    <a:pt x="360" y="582"/>
                  </a:lnTo>
                  <a:lnTo>
                    <a:pt x="348" y="576"/>
                  </a:lnTo>
                  <a:lnTo>
                    <a:pt x="336" y="570"/>
                  </a:lnTo>
                  <a:lnTo>
                    <a:pt x="324" y="570"/>
                  </a:lnTo>
                  <a:lnTo>
                    <a:pt x="300" y="564"/>
                  </a:lnTo>
                  <a:lnTo>
                    <a:pt x="282" y="564"/>
                  </a:lnTo>
                  <a:lnTo>
                    <a:pt x="270" y="570"/>
                  </a:lnTo>
                  <a:lnTo>
                    <a:pt x="264" y="576"/>
                  </a:lnTo>
                  <a:lnTo>
                    <a:pt x="258" y="576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34" y="594"/>
                  </a:lnTo>
                  <a:lnTo>
                    <a:pt x="228" y="600"/>
                  </a:lnTo>
                  <a:lnTo>
                    <a:pt x="210" y="618"/>
                  </a:lnTo>
                  <a:lnTo>
                    <a:pt x="210" y="624"/>
                  </a:lnTo>
                  <a:lnTo>
                    <a:pt x="192" y="630"/>
                  </a:lnTo>
                  <a:lnTo>
                    <a:pt x="186" y="630"/>
                  </a:lnTo>
                  <a:lnTo>
                    <a:pt x="180" y="636"/>
                  </a:lnTo>
                  <a:lnTo>
                    <a:pt x="174" y="642"/>
                  </a:lnTo>
                  <a:lnTo>
                    <a:pt x="168" y="642"/>
                  </a:lnTo>
                  <a:lnTo>
                    <a:pt x="168" y="654"/>
                  </a:lnTo>
                  <a:lnTo>
                    <a:pt x="168" y="678"/>
                  </a:lnTo>
                  <a:lnTo>
                    <a:pt x="162" y="684"/>
                  </a:lnTo>
                  <a:lnTo>
                    <a:pt x="156" y="684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72"/>
                  </a:lnTo>
                  <a:lnTo>
                    <a:pt x="138" y="672"/>
                  </a:lnTo>
                  <a:lnTo>
                    <a:pt x="138" y="666"/>
                  </a:lnTo>
                  <a:lnTo>
                    <a:pt x="132" y="660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48"/>
                  </a:lnTo>
                  <a:lnTo>
                    <a:pt x="102" y="654"/>
                  </a:lnTo>
                  <a:lnTo>
                    <a:pt x="90" y="654"/>
                  </a:lnTo>
                  <a:lnTo>
                    <a:pt x="84" y="654"/>
                  </a:lnTo>
                  <a:lnTo>
                    <a:pt x="72" y="660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36" y="684"/>
                  </a:lnTo>
                  <a:lnTo>
                    <a:pt x="30" y="6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7" name="Freeform 22">
              <a:extLst>
                <a:ext uri="{FF2B5EF4-FFF2-40B4-BE49-F238E27FC236}">
                  <a16:creationId xmlns:a16="http://schemas.microsoft.com/office/drawing/2014/main" id="{2F7A477D-6CF8-44B3-8B32-64EE03DC4D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2895" y="3967106"/>
              <a:ext cx="610479" cy="507686"/>
            </a:xfrm>
            <a:custGeom>
              <a:avLst/>
              <a:gdLst>
                <a:gd name="T0" fmla="*/ 87 w 1146"/>
                <a:gd name="T1" fmla="*/ 56 h 954"/>
                <a:gd name="T2" fmla="*/ 83 w 1146"/>
                <a:gd name="T3" fmla="*/ 66 h 954"/>
                <a:gd name="T4" fmla="*/ 74 w 1146"/>
                <a:gd name="T5" fmla="*/ 69 h 954"/>
                <a:gd name="T6" fmla="*/ 67 w 1146"/>
                <a:gd name="T7" fmla="*/ 75 h 954"/>
                <a:gd name="T8" fmla="*/ 59 w 1146"/>
                <a:gd name="T9" fmla="*/ 78 h 954"/>
                <a:gd name="T10" fmla="*/ 52 w 1146"/>
                <a:gd name="T11" fmla="*/ 77 h 954"/>
                <a:gd name="T12" fmla="*/ 48 w 1146"/>
                <a:gd name="T13" fmla="*/ 79 h 954"/>
                <a:gd name="T14" fmla="*/ 41 w 1146"/>
                <a:gd name="T15" fmla="*/ 82 h 954"/>
                <a:gd name="T16" fmla="*/ 29 w 1146"/>
                <a:gd name="T17" fmla="*/ 78 h 954"/>
                <a:gd name="T18" fmla="*/ 28 w 1146"/>
                <a:gd name="T19" fmla="*/ 76 h 954"/>
                <a:gd name="T20" fmla="*/ 28 w 1146"/>
                <a:gd name="T21" fmla="*/ 72 h 954"/>
                <a:gd name="T22" fmla="*/ 28 w 1146"/>
                <a:gd name="T23" fmla="*/ 74 h 954"/>
                <a:gd name="T24" fmla="*/ 21 w 1146"/>
                <a:gd name="T25" fmla="*/ 74 h 954"/>
                <a:gd name="T26" fmla="*/ 20 w 1146"/>
                <a:gd name="T27" fmla="*/ 67 h 954"/>
                <a:gd name="T28" fmla="*/ 23 w 1146"/>
                <a:gd name="T29" fmla="*/ 64 h 954"/>
                <a:gd name="T30" fmla="*/ 28 w 1146"/>
                <a:gd name="T31" fmla="*/ 65 h 954"/>
                <a:gd name="T32" fmla="*/ 32 w 1146"/>
                <a:gd name="T33" fmla="*/ 62 h 954"/>
                <a:gd name="T34" fmla="*/ 31 w 1146"/>
                <a:gd name="T35" fmla="*/ 56 h 954"/>
                <a:gd name="T36" fmla="*/ 36 w 1146"/>
                <a:gd name="T37" fmla="*/ 54 h 954"/>
                <a:gd name="T38" fmla="*/ 38 w 1146"/>
                <a:gd name="T39" fmla="*/ 54 h 954"/>
                <a:gd name="T40" fmla="*/ 32 w 1146"/>
                <a:gd name="T41" fmla="*/ 54 h 954"/>
                <a:gd name="T42" fmla="*/ 29 w 1146"/>
                <a:gd name="T43" fmla="*/ 59 h 954"/>
                <a:gd name="T44" fmla="*/ 26 w 1146"/>
                <a:gd name="T45" fmla="*/ 59 h 954"/>
                <a:gd name="T46" fmla="*/ 25 w 1146"/>
                <a:gd name="T47" fmla="*/ 61 h 954"/>
                <a:gd name="T48" fmla="*/ 20 w 1146"/>
                <a:gd name="T49" fmla="*/ 61 h 954"/>
                <a:gd name="T50" fmla="*/ 11 w 1146"/>
                <a:gd name="T51" fmla="*/ 54 h 954"/>
                <a:gd name="T52" fmla="*/ 14 w 1146"/>
                <a:gd name="T53" fmla="*/ 50 h 954"/>
                <a:gd name="T54" fmla="*/ 21 w 1146"/>
                <a:gd name="T55" fmla="*/ 51 h 954"/>
                <a:gd name="T56" fmla="*/ 24 w 1146"/>
                <a:gd name="T57" fmla="*/ 50 h 954"/>
                <a:gd name="T58" fmla="*/ 28 w 1146"/>
                <a:gd name="T59" fmla="*/ 48 h 954"/>
                <a:gd name="T60" fmla="*/ 30 w 1146"/>
                <a:gd name="T61" fmla="*/ 49 h 954"/>
                <a:gd name="T62" fmla="*/ 26 w 1146"/>
                <a:gd name="T63" fmla="*/ 47 h 954"/>
                <a:gd name="T64" fmla="*/ 20 w 1146"/>
                <a:gd name="T65" fmla="*/ 50 h 954"/>
                <a:gd name="T66" fmla="*/ 20 w 1146"/>
                <a:gd name="T67" fmla="*/ 44 h 954"/>
                <a:gd name="T68" fmla="*/ 19 w 1146"/>
                <a:gd name="T69" fmla="*/ 46 h 954"/>
                <a:gd name="T70" fmla="*/ 15 w 1146"/>
                <a:gd name="T71" fmla="*/ 49 h 954"/>
                <a:gd name="T72" fmla="*/ 8 w 1146"/>
                <a:gd name="T73" fmla="*/ 48 h 954"/>
                <a:gd name="T74" fmla="*/ 6 w 1146"/>
                <a:gd name="T75" fmla="*/ 41 h 954"/>
                <a:gd name="T76" fmla="*/ 10 w 1146"/>
                <a:gd name="T77" fmla="*/ 41 h 954"/>
                <a:gd name="T78" fmla="*/ 9 w 1146"/>
                <a:gd name="T79" fmla="*/ 39 h 954"/>
                <a:gd name="T80" fmla="*/ 14 w 1146"/>
                <a:gd name="T81" fmla="*/ 35 h 954"/>
                <a:gd name="T82" fmla="*/ 19 w 1146"/>
                <a:gd name="T83" fmla="*/ 32 h 954"/>
                <a:gd name="T84" fmla="*/ 20 w 1146"/>
                <a:gd name="T85" fmla="*/ 29 h 954"/>
                <a:gd name="T86" fmla="*/ 27 w 1146"/>
                <a:gd name="T87" fmla="*/ 27 h 954"/>
                <a:gd name="T88" fmla="*/ 33 w 1146"/>
                <a:gd name="T89" fmla="*/ 28 h 954"/>
                <a:gd name="T90" fmla="*/ 44 w 1146"/>
                <a:gd name="T91" fmla="*/ 27 h 954"/>
                <a:gd name="T92" fmla="*/ 52 w 1146"/>
                <a:gd name="T93" fmla="*/ 41 h 954"/>
                <a:gd name="T94" fmla="*/ 61 w 1146"/>
                <a:gd name="T95" fmla="*/ 40 h 954"/>
                <a:gd name="T96" fmla="*/ 69 w 1146"/>
                <a:gd name="T97" fmla="*/ 34 h 954"/>
                <a:gd name="T98" fmla="*/ 62 w 1146"/>
                <a:gd name="T99" fmla="*/ 12 h 954"/>
                <a:gd name="T100" fmla="*/ 74 w 1146"/>
                <a:gd name="T101" fmla="*/ 8 h 954"/>
                <a:gd name="T102" fmla="*/ 87 w 1146"/>
                <a:gd name="T103" fmla="*/ 1 h 954"/>
                <a:gd name="T104" fmla="*/ 99 w 1146"/>
                <a:gd name="T105" fmla="*/ 12 h 954"/>
                <a:gd name="T106" fmla="*/ 98 w 1146"/>
                <a:gd name="T107" fmla="*/ 27 h 954"/>
                <a:gd name="T108" fmla="*/ 16 w 1146"/>
                <a:gd name="T109" fmla="*/ 33 h 954"/>
                <a:gd name="T110" fmla="*/ 11 w 1146"/>
                <a:gd name="T111" fmla="*/ 36 h 954"/>
                <a:gd name="T112" fmla="*/ 5 w 1146"/>
                <a:gd name="T113" fmla="*/ 41 h 954"/>
                <a:gd name="T114" fmla="*/ 2 w 1146"/>
                <a:gd name="T115" fmla="*/ 36 h 954"/>
                <a:gd name="T116" fmla="*/ 5 w 1146"/>
                <a:gd name="T117" fmla="*/ 26 h 954"/>
                <a:gd name="T118" fmla="*/ 10 w 1146"/>
                <a:gd name="T119" fmla="*/ 20 h 954"/>
                <a:gd name="T120" fmla="*/ 13 w 1146"/>
                <a:gd name="T121" fmla="*/ 20 h 954"/>
                <a:gd name="T122" fmla="*/ 15 w 1146"/>
                <a:gd name="T123" fmla="*/ 27 h 95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46"/>
                <a:gd name="T187" fmla="*/ 0 h 954"/>
                <a:gd name="T188" fmla="*/ 1146 w 1146"/>
                <a:gd name="T189" fmla="*/ 954 h 95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46" h="954">
                  <a:moveTo>
                    <a:pt x="1056" y="498"/>
                  </a:moveTo>
                  <a:lnTo>
                    <a:pt x="1044" y="510"/>
                  </a:lnTo>
                  <a:lnTo>
                    <a:pt x="1032" y="516"/>
                  </a:lnTo>
                  <a:lnTo>
                    <a:pt x="1038" y="528"/>
                  </a:lnTo>
                  <a:lnTo>
                    <a:pt x="1050" y="540"/>
                  </a:lnTo>
                  <a:lnTo>
                    <a:pt x="1050" y="546"/>
                  </a:lnTo>
                  <a:lnTo>
                    <a:pt x="1050" y="564"/>
                  </a:lnTo>
                  <a:lnTo>
                    <a:pt x="1038" y="576"/>
                  </a:lnTo>
                  <a:lnTo>
                    <a:pt x="1032" y="588"/>
                  </a:lnTo>
                  <a:lnTo>
                    <a:pt x="1020" y="594"/>
                  </a:lnTo>
                  <a:lnTo>
                    <a:pt x="1008" y="594"/>
                  </a:lnTo>
                  <a:lnTo>
                    <a:pt x="1002" y="600"/>
                  </a:lnTo>
                  <a:lnTo>
                    <a:pt x="996" y="612"/>
                  </a:lnTo>
                  <a:lnTo>
                    <a:pt x="996" y="624"/>
                  </a:lnTo>
                  <a:lnTo>
                    <a:pt x="996" y="648"/>
                  </a:lnTo>
                  <a:lnTo>
                    <a:pt x="996" y="660"/>
                  </a:lnTo>
                  <a:lnTo>
                    <a:pt x="1002" y="672"/>
                  </a:lnTo>
                  <a:lnTo>
                    <a:pt x="1002" y="684"/>
                  </a:lnTo>
                  <a:lnTo>
                    <a:pt x="996" y="684"/>
                  </a:lnTo>
                  <a:lnTo>
                    <a:pt x="984" y="690"/>
                  </a:lnTo>
                  <a:lnTo>
                    <a:pt x="972" y="690"/>
                  </a:lnTo>
                  <a:lnTo>
                    <a:pt x="966" y="696"/>
                  </a:lnTo>
                  <a:lnTo>
                    <a:pt x="966" y="702"/>
                  </a:lnTo>
                  <a:lnTo>
                    <a:pt x="966" y="714"/>
                  </a:lnTo>
                  <a:lnTo>
                    <a:pt x="972" y="726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2" y="756"/>
                  </a:lnTo>
                  <a:lnTo>
                    <a:pt x="966" y="756"/>
                  </a:lnTo>
                  <a:lnTo>
                    <a:pt x="942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18" y="768"/>
                  </a:lnTo>
                  <a:lnTo>
                    <a:pt x="906" y="768"/>
                  </a:lnTo>
                  <a:lnTo>
                    <a:pt x="894" y="762"/>
                  </a:lnTo>
                  <a:lnTo>
                    <a:pt x="882" y="756"/>
                  </a:lnTo>
                  <a:lnTo>
                    <a:pt x="876" y="756"/>
                  </a:lnTo>
                  <a:lnTo>
                    <a:pt x="876" y="762"/>
                  </a:lnTo>
                  <a:lnTo>
                    <a:pt x="864" y="768"/>
                  </a:lnTo>
                  <a:lnTo>
                    <a:pt x="858" y="774"/>
                  </a:lnTo>
                  <a:lnTo>
                    <a:pt x="852" y="774"/>
                  </a:lnTo>
                  <a:lnTo>
                    <a:pt x="840" y="780"/>
                  </a:lnTo>
                  <a:lnTo>
                    <a:pt x="840" y="786"/>
                  </a:lnTo>
                  <a:lnTo>
                    <a:pt x="840" y="792"/>
                  </a:lnTo>
                  <a:lnTo>
                    <a:pt x="840" y="804"/>
                  </a:lnTo>
                  <a:lnTo>
                    <a:pt x="840" y="810"/>
                  </a:lnTo>
                  <a:lnTo>
                    <a:pt x="828" y="816"/>
                  </a:lnTo>
                  <a:lnTo>
                    <a:pt x="810" y="810"/>
                  </a:lnTo>
                  <a:lnTo>
                    <a:pt x="792" y="810"/>
                  </a:lnTo>
                  <a:lnTo>
                    <a:pt x="786" y="816"/>
                  </a:lnTo>
                  <a:lnTo>
                    <a:pt x="780" y="816"/>
                  </a:lnTo>
                  <a:lnTo>
                    <a:pt x="780" y="822"/>
                  </a:lnTo>
                  <a:lnTo>
                    <a:pt x="780" y="828"/>
                  </a:lnTo>
                  <a:lnTo>
                    <a:pt x="780" y="834"/>
                  </a:lnTo>
                  <a:lnTo>
                    <a:pt x="786" y="840"/>
                  </a:lnTo>
                  <a:lnTo>
                    <a:pt x="786" y="846"/>
                  </a:lnTo>
                  <a:lnTo>
                    <a:pt x="786" y="852"/>
                  </a:lnTo>
                  <a:lnTo>
                    <a:pt x="780" y="858"/>
                  </a:lnTo>
                  <a:lnTo>
                    <a:pt x="768" y="858"/>
                  </a:lnTo>
                  <a:lnTo>
                    <a:pt x="762" y="864"/>
                  </a:lnTo>
                  <a:lnTo>
                    <a:pt x="756" y="864"/>
                  </a:lnTo>
                  <a:lnTo>
                    <a:pt x="750" y="870"/>
                  </a:lnTo>
                  <a:lnTo>
                    <a:pt x="744" y="876"/>
                  </a:lnTo>
                  <a:lnTo>
                    <a:pt x="732" y="876"/>
                  </a:lnTo>
                  <a:lnTo>
                    <a:pt x="726" y="876"/>
                  </a:lnTo>
                  <a:lnTo>
                    <a:pt x="720" y="870"/>
                  </a:lnTo>
                  <a:lnTo>
                    <a:pt x="714" y="864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6" y="876"/>
                  </a:lnTo>
                  <a:lnTo>
                    <a:pt x="696" y="882"/>
                  </a:lnTo>
                  <a:lnTo>
                    <a:pt x="696" y="894"/>
                  </a:lnTo>
                  <a:lnTo>
                    <a:pt x="690" y="900"/>
                  </a:lnTo>
                  <a:lnTo>
                    <a:pt x="684" y="900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54" y="888"/>
                  </a:lnTo>
                  <a:lnTo>
                    <a:pt x="654" y="882"/>
                  </a:lnTo>
                  <a:lnTo>
                    <a:pt x="642" y="876"/>
                  </a:lnTo>
                  <a:lnTo>
                    <a:pt x="636" y="876"/>
                  </a:lnTo>
                  <a:lnTo>
                    <a:pt x="630" y="876"/>
                  </a:lnTo>
                  <a:lnTo>
                    <a:pt x="630" y="870"/>
                  </a:lnTo>
                  <a:lnTo>
                    <a:pt x="618" y="858"/>
                  </a:lnTo>
                  <a:lnTo>
                    <a:pt x="612" y="858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06" y="876"/>
                  </a:lnTo>
                  <a:lnTo>
                    <a:pt x="606" y="882"/>
                  </a:lnTo>
                  <a:lnTo>
                    <a:pt x="606" y="888"/>
                  </a:lnTo>
                  <a:lnTo>
                    <a:pt x="600" y="894"/>
                  </a:lnTo>
                  <a:lnTo>
                    <a:pt x="594" y="894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76" y="894"/>
                  </a:lnTo>
                  <a:lnTo>
                    <a:pt x="582" y="900"/>
                  </a:lnTo>
                  <a:lnTo>
                    <a:pt x="576" y="906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64" y="918"/>
                  </a:lnTo>
                  <a:lnTo>
                    <a:pt x="558" y="918"/>
                  </a:lnTo>
                  <a:lnTo>
                    <a:pt x="558" y="912"/>
                  </a:lnTo>
                  <a:lnTo>
                    <a:pt x="552" y="906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06"/>
                  </a:lnTo>
                  <a:lnTo>
                    <a:pt x="534" y="906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0" y="924"/>
                  </a:lnTo>
                  <a:lnTo>
                    <a:pt x="504" y="924"/>
                  </a:lnTo>
                  <a:lnTo>
                    <a:pt x="498" y="930"/>
                  </a:lnTo>
                  <a:lnTo>
                    <a:pt x="492" y="924"/>
                  </a:lnTo>
                  <a:lnTo>
                    <a:pt x="486" y="930"/>
                  </a:lnTo>
                  <a:lnTo>
                    <a:pt x="480" y="942"/>
                  </a:lnTo>
                  <a:lnTo>
                    <a:pt x="468" y="948"/>
                  </a:lnTo>
                  <a:lnTo>
                    <a:pt x="444" y="942"/>
                  </a:lnTo>
                  <a:lnTo>
                    <a:pt x="438" y="954"/>
                  </a:lnTo>
                  <a:lnTo>
                    <a:pt x="426" y="954"/>
                  </a:lnTo>
                  <a:lnTo>
                    <a:pt x="420" y="948"/>
                  </a:lnTo>
                  <a:lnTo>
                    <a:pt x="408" y="936"/>
                  </a:lnTo>
                  <a:lnTo>
                    <a:pt x="396" y="936"/>
                  </a:lnTo>
                  <a:lnTo>
                    <a:pt x="390" y="930"/>
                  </a:lnTo>
                  <a:lnTo>
                    <a:pt x="390" y="924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66" y="924"/>
                  </a:lnTo>
                  <a:lnTo>
                    <a:pt x="360" y="924"/>
                  </a:lnTo>
                  <a:lnTo>
                    <a:pt x="348" y="918"/>
                  </a:lnTo>
                  <a:lnTo>
                    <a:pt x="342" y="906"/>
                  </a:lnTo>
                  <a:lnTo>
                    <a:pt x="336" y="906"/>
                  </a:lnTo>
                  <a:lnTo>
                    <a:pt x="330" y="906"/>
                  </a:lnTo>
                  <a:lnTo>
                    <a:pt x="312" y="906"/>
                  </a:lnTo>
                  <a:lnTo>
                    <a:pt x="312" y="900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888"/>
                  </a:lnTo>
                  <a:lnTo>
                    <a:pt x="312" y="882"/>
                  </a:lnTo>
                  <a:lnTo>
                    <a:pt x="306" y="876"/>
                  </a:lnTo>
                  <a:lnTo>
                    <a:pt x="312" y="876"/>
                  </a:lnTo>
                  <a:lnTo>
                    <a:pt x="312" y="870"/>
                  </a:lnTo>
                  <a:lnTo>
                    <a:pt x="318" y="876"/>
                  </a:lnTo>
                  <a:lnTo>
                    <a:pt x="318" y="870"/>
                  </a:lnTo>
                  <a:lnTo>
                    <a:pt x="324" y="876"/>
                  </a:lnTo>
                  <a:lnTo>
                    <a:pt x="330" y="876"/>
                  </a:lnTo>
                  <a:lnTo>
                    <a:pt x="336" y="876"/>
                  </a:lnTo>
                  <a:lnTo>
                    <a:pt x="342" y="876"/>
                  </a:lnTo>
                  <a:lnTo>
                    <a:pt x="336" y="876"/>
                  </a:lnTo>
                  <a:lnTo>
                    <a:pt x="330" y="870"/>
                  </a:lnTo>
                  <a:lnTo>
                    <a:pt x="324" y="870"/>
                  </a:lnTo>
                  <a:lnTo>
                    <a:pt x="318" y="870"/>
                  </a:lnTo>
                  <a:lnTo>
                    <a:pt x="312" y="870"/>
                  </a:lnTo>
                  <a:lnTo>
                    <a:pt x="318" y="864"/>
                  </a:lnTo>
                  <a:lnTo>
                    <a:pt x="318" y="858"/>
                  </a:lnTo>
                  <a:lnTo>
                    <a:pt x="318" y="852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6" y="846"/>
                  </a:lnTo>
                  <a:lnTo>
                    <a:pt x="312" y="828"/>
                  </a:lnTo>
                  <a:lnTo>
                    <a:pt x="312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06" y="816"/>
                  </a:lnTo>
                  <a:lnTo>
                    <a:pt x="306" y="810"/>
                  </a:lnTo>
                  <a:lnTo>
                    <a:pt x="306" y="816"/>
                  </a:lnTo>
                  <a:lnTo>
                    <a:pt x="312" y="822"/>
                  </a:lnTo>
                  <a:lnTo>
                    <a:pt x="306" y="822"/>
                  </a:lnTo>
                  <a:lnTo>
                    <a:pt x="306" y="828"/>
                  </a:lnTo>
                  <a:lnTo>
                    <a:pt x="306" y="834"/>
                  </a:lnTo>
                  <a:lnTo>
                    <a:pt x="300" y="840"/>
                  </a:lnTo>
                  <a:lnTo>
                    <a:pt x="300" y="846"/>
                  </a:lnTo>
                  <a:lnTo>
                    <a:pt x="306" y="852"/>
                  </a:lnTo>
                  <a:lnTo>
                    <a:pt x="306" y="858"/>
                  </a:lnTo>
                  <a:lnTo>
                    <a:pt x="312" y="858"/>
                  </a:lnTo>
                  <a:lnTo>
                    <a:pt x="312" y="864"/>
                  </a:lnTo>
                  <a:lnTo>
                    <a:pt x="306" y="864"/>
                  </a:lnTo>
                  <a:lnTo>
                    <a:pt x="300" y="864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82" y="870"/>
                  </a:lnTo>
                  <a:lnTo>
                    <a:pt x="276" y="870"/>
                  </a:lnTo>
                  <a:lnTo>
                    <a:pt x="270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8" y="870"/>
                  </a:lnTo>
                  <a:lnTo>
                    <a:pt x="252" y="870"/>
                  </a:lnTo>
                  <a:lnTo>
                    <a:pt x="252" y="864"/>
                  </a:lnTo>
                  <a:lnTo>
                    <a:pt x="246" y="858"/>
                  </a:lnTo>
                  <a:lnTo>
                    <a:pt x="246" y="852"/>
                  </a:lnTo>
                  <a:lnTo>
                    <a:pt x="246" y="846"/>
                  </a:lnTo>
                  <a:lnTo>
                    <a:pt x="246" y="840"/>
                  </a:lnTo>
                  <a:lnTo>
                    <a:pt x="246" y="834"/>
                  </a:lnTo>
                  <a:lnTo>
                    <a:pt x="246" y="828"/>
                  </a:lnTo>
                  <a:lnTo>
                    <a:pt x="246" y="822"/>
                  </a:lnTo>
                  <a:lnTo>
                    <a:pt x="240" y="816"/>
                  </a:lnTo>
                  <a:lnTo>
                    <a:pt x="240" y="810"/>
                  </a:lnTo>
                  <a:lnTo>
                    <a:pt x="240" y="804"/>
                  </a:lnTo>
                  <a:lnTo>
                    <a:pt x="240" y="798"/>
                  </a:lnTo>
                  <a:lnTo>
                    <a:pt x="234" y="798"/>
                  </a:lnTo>
                  <a:lnTo>
                    <a:pt x="234" y="792"/>
                  </a:lnTo>
                  <a:lnTo>
                    <a:pt x="234" y="786"/>
                  </a:lnTo>
                  <a:lnTo>
                    <a:pt x="234" y="780"/>
                  </a:lnTo>
                  <a:lnTo>
                    <a:pt x="228" y="780"/>
                  </a:lnTo>
                  <a:lnTo>
                    <a:pt x="228" y="774"/>
                  </a:lnTo>
                  <a:lnTo>
                    <a:pt x="228" y="768"/>
                  </a:lnTo>
                  <a:lnTo>
                    <a:pt x="222" y="762"/>
                  </a:lnTo>
                  <a:lnTo>
                    <a:pt x="222" y="756"/>
                  </a:lnTo>
                  <a:lnTo>
                    <a:pt x="222" y="750"/>
                  </a:lnTo>
                  <a:lnTo>
                    <a:pt x="222" y="744"/>
                  </a:lnTo>
                  <a:lnTo>
                    <a:pt x="222" y="738"/>
                  </a:lnTo>
                  <a:lnTo>
                    <a:pt x="216" y="732"/>
                  </a:lnTo>
                  <a:lnTo>
                    <a:pt x="222" y="732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32"/>
                  </a:lnTo>
                  <a:lnTo>
                    <a:pt x="246" y="732"/>
                  </a:lnTo>
                  <a:lnTo>
                    <a:pt x="246" y="738"/>
                  </a:lnTo>
                  <a:lnTo>
                    <a:pt x="252" y="738"/>
                  </a:lnTo>
                  <a:lnTo>
                    <a:pt x="258" y="738"/>
                  </a:lnTo>
                  <a:lnTo>
                    <a:pt x="258" y="732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8" y="732"/>
                  </a:lnTo>
                  <a:lnTo>
                    <a:pt x="294" y="732"/>
                  </a:lnTo>
                  <a:lnTo>
                    <a:pt x="300" y="732"/>
                  </a:lnTo>
                  <a:lnTo>
                    <a:pt x="300" y="738"/>
                  </a:lnTo>
                  <a:lnTo>
                    <a:pt x="306" y="738"/>
                  </a:lnTo>
                  <a:lnTo>
                    <a:pt x="306" y="744"/>
                  </a:lnTo>
                  <a:lnTo>
                    <a:pt x="306" y="750"/>
                  </a:lnTo>
                  <a:lnTo>
                    <a:pt x="312" y="750"/>
                  </a:lnTo>
                  <a:lnTo>
                    <a:pt x="312" y="756"/>
                  </a:lnTo>
                  <a:lnTo>
                    <a:pt x="318" y="756"/>
                  </a:lnTo>
                  <a:lnTo>
                    <a:pt x="318" y="750"/>
                  </a:lnTo>
                  <a:lnTo>
                    <a:pt x="312" y="750"/>
                  </a:lnTo>
                  <a:lnTo>
                    <a:pt x="312" y="744"/>
                  </a:lnTo>
                  <a:lnTo>
                    <a:pt x="318" y="738"/>
                  </a:lnTo>
                  <a:lnTo>
                    <a:pt x="324" y="738"/>
                  </a:lnTo>
                  <a:lnTo>
                    <a:pt x="330" y="738"/>
                  </a:lnTo>
                  <a:lnTo>
                    <a:pt x="336" y="738"/>
                  </a:lnTo>
                  <a:lnTo>
                    <a:pt x="342" y="738"/>
                  </a:lnTo>
                  <a:lnTo>
                    <a:pt x="348" y="732"/>
                  </a:lnTo>
                  <a:lnTo>
                    <a:pt x="354" y="732"/>
                  </a:lnTo>
                  <a:lnTo>
                    <a:pt x="360" y="732"/>
                  </a:lnTo>
                  <a:lnTo>
                    <a:pt x="360" y="726"/>
                  </a:lnTo>
                  <a:lnTo>
                    <a:pt x="366" y="726"/>
                  </a:lnTo>
                  <a:lnTo>
                    <a:pt x="366" y="720"/>
                  </a:lnTo>
                  <a:lnTo>
                    <a:pt x="366" y="714"/>
                  </a:lnTo>
                  <a:lnTo>
                    <a:pt x="360" y="708"/>
                  </a:lnTo>
                  <a:lnTo>
                    <a:pt x="354" y="708"/>
                  </a:lnTo>
                  <a:lnTo>
                    <a:pt x="348" y="702"/>
                  </a:lnTo>
                  <a:lnTo>
                    <a:pt x="354" y="702"/>
                  </a:lnTo>
                  <a:lnTo>
                    <a:pt x="354" y="696"/>
                  </a:lnTo>
                  <a:lnTo>
                    <a:pt x="348" y="696"/>
                  </a:lnTo>
                  <a:lnTo>
                    <a:pt x="348" y="690"/>
                  </a:lnTo>
                  <a:lnTo>
                    <a:pt x="342" y="690"/>
                  </a:lnTo>
                  <a:lnTo>
                    <a:pt x="342" y="684"/>
                  </a:lnTo>
                  <a:lnTo>
                    <a:pt x="342" y="678"/>
                  </a:lnTo>
                  <a:lnTo>
                    <a:pt x="342" y="666"/>
                  </a:lnTo>
                  <a:lnTo>
                    <a:pt x="342" y="660"/>
                  </a:lnTo>
                  <a:lnTo>
                    <a:pt x="348" y="654"/>
                  </a:lnTo>
                  <a:lnTo>
                    <a:pt x="348" y="642"/>
                  </a:lnTo>
                  <a:lnTo>
                    <a:pt x="354" y="642"/>
                  </a:lnTo>
                  <a:lnTo>
                    <a:pt x="360" y="642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66" y="642"/>
                  </a:lnTo>
                  <a:lnTo>
                    <a:pt x="372" y="642"/>
                  </a:lnTo>
                  <a:lnTo>
                    <a:pt x="378" y="642"/>
                  </a:lnTo>
                  <a:lnTo>
                    <a:pt x="384" y="642"/>
                  </a:lnTo>
                  <a:lnTo>
                    <a:pt x="390" y="642"/>
                  </a:lnTo>
                  <a:lnTo>
                    <a:pt x="396" y="642"/>
                  </a:lnTo>
                  <a:lnTo>
                    <a:pt x="396" y="636"/>
                  </a:lnTo>
                  <a:lnTo>
                    <a:pt x="402" y="636"/>
                  </a:lnTo>
                  <a:lnTo>
                    <a:pt x="408" y="636"/>
                  </a:lnTo>
                  <a:lnTo>
                    <a:pt x="402" y="636"/>
                  </a:lnTo>
                  <a:lnTo>
                    <a:pt x="402" y="630"/>
                  </a:lnTo>
                  <a:lnTo>
                    <a:pt x="408" y="630"/>
                  </a:lnTo>
                  <a:lnTo>
                    <a:pt x="408" y="624"/>
                  </a:lnTo>
                  <a:lnTo>
                    <a:pt x="408" y="618"/>
                  </a:lnTo>
                  <a:lnTo>
                    <a:pt x="414" y="618"/>
                  </a:lnTo>
                  <a:lnTo>
                    <a:pt x="420" y="618"/>
                  </a:lnTo>
                  <a:lnTo>
                    <a:pt x="426" y="624"/>
                  </a:lnTo>
                  <a:lnTo>
                    <a:pt x="432" y="624"/>
                  </a:lnTo>
                  <a:lnTo>
                    <a:pt x="438" y="624"/>
                  </a:lnTo>
                  <a:lnTo>
                    <a:pt x="438" y="618"/>
                  </a:lnTo>
                  <a:lnTo>
                    <a:pt x="444" y="618"/>
                  </a:lnTo>
                  <a:lnTo>
                    <a:pt x="450" y="618"/>
                  </a:lnTo>
                  <a:lnTo>
                    <a:pt x="444" y="618"/>
                  </a:lnTo>
                  <a:lnTo>
                    <a:pt x="438" y="618"/>
                  </a:lnTo>
                  <a:lnTo>
                    <a:pt x="438" y="612"/>
                  </a:lnTo>
                  <a:lnTo>
                    <a:pt x="438" y="618"/>
                  </a:lnTo>
                  <a:lnTo>
                    <a:pt x="432" y="624"/>
                  </a:lnTo>
                  <a:lnTo>
                    <a:pt x="426" y="618"/>
                  </a:lnTo>
                  <a:lnTo>
                    <a:pt x="420" y="612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402" y="624"/>
                  </a:lnTo>
                  <a:lnTo>
                    <a:pt x="396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78" y="630"/>
                  </a:lnTo>
                  <a:lnTo>
                    <a:pt x="378" y="636"/>
                  </a:lnTo>
                  <a:lnTo>
                    <a:pt x="372" y="630"/>
                  </a:lnTo>
                  <a:lnTo>
                    <a:pt x="366" y="630"/>
                  </a:lnTo>
                  <a:lnTo>
                    <a:pt x="360" y="630"/>
                  </a:lnTo>
                  <a:lnTo>
                    <a:pt x="354" y="630"/>
                  </a:lnTo>
                  <a:lnTo>
                    <a:pt x="354" y="636"/>
                  </a:lnTo>
                  <a:lnTo>
                    <a:pt x="348" y="636"/>
                  </a:lnTo>
                  <a:lnTo>
                    <a:pt x="348" y="642"/>
                  </a:lnTo>
                  <a:lnTo>
                    <a:pt x="342" y="642"/>
                  </a:lnTo>
                  <a:lnTo>
                    <a:pt x="342" y="648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6" y="660"/>
                  </a:lnTo>
                  <a:lnTo>
                    <a:pt x="336" y="666"/>
                  </a:lnTo>
                  <a:lnTo>
                    <a:pt x="330" y="672"/>
                  </a:lnTo>
                  <a:lnTo>
                    <a:pt x="330" y="678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24" y="696"/>
                  </a:lnTo>
                  <a:lnTo>
                    <a:pt x="324" y="702"/>
                  </a:lnTo>
                  <a:lnTo>
                    <a:pt x="318" y="702"/>
                  </a:lnTo>
                  <a:lnTo>
                    <a:pt x="318" y="708"/>
                  </a:lnTo>
                  <a:lnTo>
                    <a:pt x="312" y="708"/>
                  </a:lnTo>
                  <a:lnTo>
                    <a:pt x="312" y="702"/>
                  </a:lnTo>
                  <a:lnTo>
                    <a:pt x="306" y="702"/>
                  </a:lnTo>
                  <a:lnTo>
                    <a:pt x="300" y="702"/>
                  </a:lnTo>
                  <a:lnTo>
                    <a:pt x="294" y="696"/>
                  </a:lnTo>
                  <a:lnTo>
                    <a:pt x="288" y="696"/>
                  </a:lnTo>
                  <a:lnTo>
                    <a:pt x="282" y="690"/>
                  </a:lnTo>
                  <a:lnTo>
                    <a:pt x="288" y="684"/>
                  </a:lnTo>
                  <a:lnTo>
                    <a:pt x="294" y="684"/>
                  </a:lnTo>
                  <a:lnTo>
                    <a:pt x="294" y="678"/>
                  </a:lnTo>
                  <a:lnTo>
                    <a:pt x="300" y="678"/>
                  </a:lnTo>
                  <a:lnTo>
                    <a:pt x="294" y="678"/>
                  </a:lnTo>
                  <a:lnTo>
                    <a:pt x="294" y="672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94" y="672"/>
                  </a:lnTo>
                  <a:lnTo>
                    <a:pt x="288" y="678"/>
                  </a:lnTo>
                  <a:lnTo>
                    <a:pt x="282" y="684"/>
                  </a:lnTo>
                  <a:lnTo>
                    <a:pt x="282" y="678"/>
                  </a:lnTo>
                  <a:lnTo>
                    <a:pt x="276" y="678"/>
                  </a:lnTo>
                  <a:lnTo>
                    <a:pt x="282" y="684"/>
                  </a:lnTo>
                  <a:lnTo>
                    <a:pt x="282" y="690"/>
                  </a:lnTo>
                  <a:lnTo>
                    <a:pt x="282" y="696"/>
                  </a:lnTo>
                  <a:lnTo>
                    <a:pt x="288" y="702"/>
                  </a:lnTo>
                  <a:lnTo>
                    <a:pt x="294" y="708"/>
                  </a:lnTo>
                  <a:lnTo>
                    <a:pt x="294" y="714"/>
                  </a:lnTo>
                  <a:lnTo>
                    <a:pt x="288" y="714"/>
                  </a:lnTo>
                  <a:lnTo>
                    <a:pt x="282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64" y="714"/>
                  </a:lnTo>
                  <a:lnTo>
                    <a:pt x="258" y="714"/>
                  </a:lnTo>
                  <a:lnTo>
                    <a:pt x="252" y="714"/>
                  </a:lnTo>
                  <a:lnTo>
                    <a:pt x="246" y="714"/>
                  </a:lnTo>
                  <a:lnTo>
                    <a:pt x="240" y="714"/>
                  </a:lnTo>
                  <a:lnTo>
                    <a:pt x="240" y="708"/>
                  </a:lnTo>
                  <a:lnTo>
                    <a:pt x="234" y="708"/>
                  </a:lnTo>
                  <a:lnTo>
                    <a:pt x="228" y="708"/>
                  </a:lnTo>
                  <a:lnTo>
                    <a:pt x="222" y="702"/>
                  </a:lnTo>
                  <a:lnTo>
                    <a:pt x="216" y="702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2" y="690"/>
                  </a:lnTo>
                  <a:lnTo>
                    <a:pt x="186" y="690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68" y="684"/>
                  </a:lnTo>
                  <a:lnTo>
                    <a:pt x="168" y="678"/>
                  </a:lnTo>
                  <a:lnTo>
                    <a:pt x="156" y="672"/>
                  </a:lnTo>
                  <a:lnTo>
                    <a:pt x="150" y="660"/>
                  </a:lnTo>
                  <a:lnTo>
                    <a:pt x="126" y="630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12"/>
                  </a:lnTo>
                  <a:lnTo>
                    <a:pt x="126" y="606"/>
                  </a:lnTo>
                  <a:lnTo>
                    <a:pt x="126" y="600"/>
                  </a:lnTo>
                  <a:lnTo>
                    <a:pt x="132" y="594"/>
                  </a:lnTo>
                  <a:lnTo>
                    <a:pt x="138" y="594"/>
                  </a:lnTo>
                  <a:lnTo>
                    <a:pt x="144" y="588"/>
                  </a:lnTo>
                  <a:lnTo>
                    <a:pt x="144" y="582"/>
                  </a:lnTo>
                  <a:lnTo>
                    <a:pt x="150" y="582"/>
                  </a:lnTo>
                  <a:lnTo>
                    <a:pt x="150" y="576"/>
                  </a:lnTo>
                  <a:lnTo>
                    <a:pt x="156" y="576"/>
                  </a:lnTo>
                  <a:lnTo>
                    <a:pt x="156" y="582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8" y="576"/>
                  </a:lnTo>
                  <a:lnTo>
                    <a:pt x="174" y="576"/>
                  </a:lnTo>
                  <a:lnTo>
                    <a:pt x="180" y="582"/>
                  </a:lnTo>
                  <a:lnTo>
                    <a:pt x="192" y="582"/>
                  </a:lnTo>
                  <a:lnTo>
                    <a:pt x="198" y="582"/>
                  </a:lnTo>
                  <a:lnTo>
                    <a:pt x="204" y="582"/>
                  </a:lnTo>
                  <a:lnTo>
                    <a:pt x="210" y="582"/>
                  </a:lnTo>
                  <a:lnTo>
                    <a:pt x="216" y="588"/>
                  </a:lnTo>
                  <a:lnTo>
                    <a:pt x="222" y="588"/>
                  </a:lnTo>
                  <a:lnTo>
                    <a:pt x="234" y="588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46" y="594"/>
                  </a:lnTo>
                  <a:lnTo>
                    <a:pt x="252" y="588"/>
                  </a:lnTo>
                  <a:lnTo>
                    <a:pt x="258" y="588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52" y="600"/>
                  </a:lnTo>
                  <a:lnTo>
                    <a:pt x="246" y="600"/>
                  </a:lnTo>
                  <a:lnTo>
                    <a:pt x="246" y="606"/>
                  </a:lnTo>
                  <a:lnTo>
                    <a:pt x="246" y="600"/>
                  </a:lnTo>
                  <a:lnTo>
                    <a:pt x="252" y="600"/>
                  </a:lnTo>
                  <a:lnTo>
                    <a:pt x="258" y="594"/>
                  </a:lnTo>
                  <a:lnTo>
                    <a:pt x="264" y="594"/>
                  </a:lnTo>
                  <a:lnTo>
                    <a:pt x="264" y="588"/>
                  </a:lnTo>
                  <a:lnTo>
                    <a:pt x="270" y="588"/>
                  </a:lnTo>
                  <a:lnTo>
                    <a:pt x="270" y="582"/>
                  </a:lnTo>
                  <a:lnTo>
                    <a:pt x="270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76" y="564"/>
                  </a:lnTo>
                  <a:lnTo>
                    <a:pt x="270" y="558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58"/>
                  </a:lnTo>
                  <a:lnTo>
                    <a:pt x="282" y="558"/>
                  </a:lnTo>
                  <a:lnTo>
                    <a:pt x="288" y="558"/>
                  </a:lnTo>
                  <a:lnTo>
                    <a:pt x="294" y="558"/>
                  </a:lnTo>
                  <a:lnTo>
                    <a:pt x="300" y="558"/>
                  </a:lnTo>
                  <a:lnTo>
                    <a:pt x="306" y="558"/>
                  </a:lnTo>
                  <a:lnTo>
                    <a:pt x="312" y="558"/>
                  </a:lnTo>
                  <a:lnTo>
                    <a:pt x="318" y="558"/>
                  </a:lnTo>
                  <a:lnTo>
                    <a:pt x="318" y="564"/>
                  </a:lnTo>
                  <a:lnTo>
                    <a:pt x="324" y="564"/>
                  </a:lnTo>
                  <a:lnTo>
                    <a:pt x="324" y="570"/>
                  </a:lnTo>
                  <a:lnTo>
                    <a:pt x="330" y="570"/>
                  </a:lnTo>
                  <a:lnTo>
                    <a:pt x="336" y="570"/>
                  </a:lnTo>
                  <a:lnTo>
                    <a:pt x="342" y="570"/>
                  </a:lnTo>
                  <a:lnTo>
                    <a:pt x="348" y="570"/>
                  </a:lnTo>
                  <a:lnTo>
                    <a:pt x="354" y="570"/>
                  </a:lnTo>
                  <a:lnTo>
                    <a:pt x="360" y="570"/>
                  </a:lnTo>
                  <a:lnTo>
                    <a:pt x="366" y="570"/>
                  </a:lnTo>
                  <a:lnTo>
                    <a:pt x="360" y="570"/>
                  </a:lnTo>
                  <a:lnTo>
                    <a:pt x="360" y="564"/>
                  </a:lnTo>
                  <a:lnTo>
                    <a:pt x="354" y="564"/>
                  </a:lnTo>
                  <a:lnTo>
                    <a:pt x="348" y="564"/>
                  </a:lnTo>
                  <a:lnTo>
                    <a:pt x="342" y="564"/>
                  </a:lnTo>
                  <a:lnTo>
                    <a:pt x="342" y="570"/>
                  </a:lnTo>
                  <a:lnTo>
                    <a:pt x="336" y="564"/>
                  </a:lnTo>
                  <a:lnTo>
                    <a:pt x="336" y="570"/>
                  </a:lnTo>
                  <a:lnTo>
                    <a:pt x="336" y="564"/>
                  </a:lnTo>
                  <a:lnTo>
                    <a:pt x="330" y="564"/>
                  </a:lnTo>
                  <a:lnTo>
                    <a:pt x="324" y="558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18" y="558"/>
                  </a:lnTo>
                  <a:lnTo>
                    <a:pt x="312" y="552"/>
                  </a:lnTo>
                  <a:lnTo>
                    <a:pt x="312" y="558"/>
                  </a:lnTo>
                  <a:lnTo>
                    <a:pt x="312" y="552"/>
                  </a:lnTo>
                  <a:lnTo>
                    <a:pt x="306" y="552"/>
                  </a:lnTo>
                  <a:lnTo>
                    <a:pt x="300" y="546"/>
                  </a:lnTo>
                  <a:lnTo>
                    <a:pt x="294" y="546"/>
                  </a:lnTo>
                  <a:lnTo>
                    <a:pt x="288" y="546"/>
                  </a:lnTo>
                  <a:lnTo>
                    <a:pt x="282" y="546"/>
                  </a:lnTo>
                  <a:lnTo>
                    <a:pt x="276" y="546"/>
                  </a:lnTo>
                  <a:lnTo>
                    <a:pt x="276" y="552"/>
                  </a:lnTo>
                  <a:lnTo>
                    <a:pt x="270" y="552"/>
                  </a:lnTo>
                  <a:lnTo>
                    <a:pt x="270" y="558"/>
                  </a:lnTo>
                  <a:lnTo>
                    <a:pt x="270" y="564"/>
                  </a:lnTo>
                  <a:lnTo>
                    <a:pt x="264" y="570"/>
                  </a:lnTo>
                  <a:lnTo>
                    <a:pt x="258" y="576"/>
                  </a:lnTo>
                  <a:lnTo>
                    <a:pt x="258" y="582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34" y="576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16" y="552"/>
                  </a:lnTo>
                  <a:lnTo>
                    <a:pt x="216" y="546"/>
                  </a:lnTo>
                  <a:lnTo>
                    <a:pt x="216" y="540"/>
                  </a:lnTo>
                  <a:lnTo>
                    <a:pt x="222" y="534"/>
                  </a:lnTo>
                  <a:lnTo>
                    <a:pt x="222" y="528"/>
                  </a:lnTo>
                  <a:lnTo>
                    <a:pt x="228" y="522"/>
                  </a:lnTo>
                  <a:lnTo>
                    <a:pt x="228" y="516"/>
                  </a:lnTo>
                  <a:lnTo>
                    <a:pt x="228" y="510"/>
                  </a:lnTo>
                  <a:lnTo>
                    <a:pt x="234" y="510"/>
                  </a:lnTo>
                  <a:lnTo>
                    <a:pt x="240" y="516"/>
                  </a:lnTo>
                  <a:lnTo>
                    <a:pt x="246" y="522"/>
                  </a:lnTo>
                  <a:lnTo>
                    <a:pt x="246" y="516"/>
                  </a:lnTo>
                  <a:lnTo>
                    <a:pt x="240" y="516"/>
                  </a:lnTo>
                  <a:lnTo>
                    <a:pt x="240" y="510"/>
                  </a:lnTo>
                  <a:lnTo>
                    <a:pt x="234" y="510"/>
                  </a:lnTo>
                  <a:lnTo>
                    <a:pt x="234" y="504"/>
                  </a:lnTo>
                  <a:lnTo>
                    <a:pt x="228" y="504"/>
                  </a:lnTo>
                  <a:lnTo>
                    <a:pt x="222" y="504"/>
                  </a:lnTo>
                  <a:lnTo>
                    <a:pt x="222" y="498"/>
                  </a:lnTo>
                  <a:lnTo>
                    <a:pt x="222" y="504"/>
                  </a:lnTo>
                  <a:lnTo>
                    <a:pt x="222" y="510"/>
                  </a:lnTo>
                  <a:lnTo>
                    <a:pt x="222" y="516"/>
                  </a:lnTo>
                  <a:lnTo>
                    <a:pt x="216" y="522"/>
                  </a:lnTo>
                  <a:lnTo>
                    <a:pt x="216" y="528"/>
                  </a:lnTo>
                  <a:lnTo>
                    <a:pt x="210" y="528"/>
                  </a:lnTo>
                  <a:lnTo>
                    <a:pt x="216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04" y="546"/>
                  </a:lnTo>
                  <a:lnTo>
                    <a:pt x="204" y="552"/>
                  </a:lnTo>
                  <a:lnTo>
                    <a:pt x="204" y="558"/>
                  </a:lnTo>
                  <a:lnTo>
                    <a:pt x="204" y="564"/>
                  </a:lnTo>
                  <a:lnTo>
                    <a:pt x="198" y="570"/>
                  </a:lnTo>
                  <a:lnTo>
                    <a:pt x="192" y="564"/>
                  </a:lnTo>
                  <a:lnTo>
                    <a:pt x="186" y="564"/>
                  </a:lnTo>
                  <a:lnTo>
                    <a:pt x="180" y="564"/>
                  </a:lnTo>
                  <a:lnTo>
                    <a:pt x="174" y="564"/>
                  </a:lnTo>
                  <a:lnTo>
                    <a:pt x="168" y="564"/>
                  </a:lnTo>
                  <a:lnTo>
                    <a:pt x="162" y="564"/>
                  </a:lnTo>
                  <a:lnTo>
                    <a:pt x="156" y="570"/>
                  </a:lnTo>
                  <a:lnTo>
                    <a:pt x="150" y="570"/>
                  </a:lnTo>
                  <a:lnTo>
                    <a:pt x="150" y="564"/>
                  </a:lnTo>
                  <a:lnTo>
                    <a:pt x="150" y="570"/>
                  </a:lnTo>
                  <a:lnTo>
                    <a:pt x="150" y="576"/>
                  </a:lnTo>
                  <a:lnTo>
                    <a:pt x="144" y="576"/>
                  </a:lnTo>
                  <a:lnTo>
                    <a:pt x="138" y="576"/>
                  </a:lnTo>
                  <a:lnTo>
                    <a:pt x="132" y="582"/>
                  </a:lnTo>
                  <a:lnTo>
                    <a:pt x="126" y="582"/>
                  </a:lnTo>
                  <a:lnTo>
                    <a:pt x="120" y="582"/>
                  </a:lnTo>
                  <a:lnTo>
                    <a:pt x="114" y="576"/>
                  </a:lnTo>
                  <a:lnTo>
                    <a:pt x="108" y="564"/>
                  </a:lnTo>
                  <a:lnTo>
                    <a:pt x="102" y="558"/>
                  </a:lnTo>
                  <a:lnTo>
                    <a:pt x="96" y="552"/>
                  </a:lnTo>
                  <a:lnTo>
                    <a:pt x="90" y="546"/>
                  </a:lnTo>
                  <a:lnTo>
                    <a:pt x="90" y="540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2"/>
                  </a:lnTo>
                  <a:lnTo>
                    <a:pt x="78" y="516"/>
                  </a:lnTo>
                  <a:lnTo>
                    <a:pt x="72" y="510"/>
                  </a:lnTo>
                  <a:lnTo>
                    <a:pt x="66" y="504"/>
                  </a:lnTo>
                  <a:lnTo>
                    <a:pt x="66" y="498"/>
                  </a:lnTo>
                  <a:lnTo>
                    <a:pt x="66" y="492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6" y="474"/>
                  </a:lnTo>
                  <a:lnTo>
                    <a:pt x="72" y="474"/>
                  </a:lnTo>
                  <a:lnTo>
                    <a:pt x="72" y="468"/>
                  </a:lnTo>
                  <a:lnTo>
                    <a:pt x="78" y="462"/>
                  </a:lnTo>
                  <a:lnTo>
                    <a:pt x="78" y="456"/>
                  </a:lnTo>
                  <a:lnTo>
                    <a:pt x="84" y="456"/>
                  </a:lnTo>
                  <a:lnTo>
                    <a:pt x="84" y="450"/>
                  </a:lnTo>
                  <a:lnTo>
                    <a:pt x="84" y="444"/>
                  </a:lnTo>
                  <a:lnTo>
                    <a:pt x="90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02" y="450"/>
                  </a:lnTo>
                  <a:lnTo>
                    <a:pt x="108" y="450"/>
                  </a:lnTo>
                  <a:lnTo>
                    <a:pt x="108" y="456"/>
                  </a:lnTo>
                  <a:lnTo>
                    <a:pt x="108" y="462"/>
                  </a:lnTo>
                  <a:lnTo>
                    <a:pt x="114" y="462"/>
                  </a:lnTo>
                  <a:lnTo>
                    <a:pt x="114" y="468"/>
                  </a:lnTo>
                  <a:lnTo>
                    <a:pt x="114" y="474"/>
                  </a:lnTo>
                  <a:lnTo>
                    <a:pt x="114" y="480"/>
                  </a:lnTo>
                  <a:lnTo>
                    <a:pt x="114" y="486"/>
                  </a:lnTo>
                  <a:lnTo>
                    <a:pt x="120" y="486"/>
                  </a:lnTo>
                  <a:lnTo>
                    <a:pt x="126" y="486"/>
                  </a:lnTo>
                  <a:lnTo>
                    <a:pt x="132" y="486"/>
                  </a:lnTo>
                  <a:lnTo>
                    <a:pt x="126" y="480"/>
                  </a:lnTo>
                  <a:lnTo>
                    <a:pt x="120" y="480"/>
                  </a:lnTo>
                  <a:lnTo>
                    <a:pt x="114" y="480"/>
                  </a:lnTo>
                  <a:lnTo>
                    <a:pt x="120" y="480"/>
                  </a:lnTo>
                  <a:lnTo>
                    <a:pt x="120" y="474"/>
                  </a:lnTo>
                  <a:lnTo>
                    <a:pt x="120" y="468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108" y="450"/>
                  </a:lnTo>
                  <a:lnTo>
                    <a:pt x="108" y="444"/>
                  </a:lnTo>
                  <a:lnTo>
                    <a:pt x="114" y="438"/>
                  </a:lnTo>
                  <a:lnTo>
                    <a:pt x="120" y="438"/>
                  </a:lnTo>
                  <a:lnTo>
                    <a:pt x="120" y="432"/>
                  </a:lnTo>
                  <a:lnTo>
                    <a:pt x="132" y="426"/>
                  </a:lnTo>
                  <a:lnTo>
                    <a:pt x="138" y="420"/>
                  </a:lnTo>
                  <a:lnTo>
                    <a:pt x="144" y="420"/>
                  </a:lnTo>
                  <a:lnTo>
                    <a:pt x="144" y="414"/>
                  </a:lnTo>
                  <a:lnTo>
                    <a:pt x="144" y="420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6" y="414"/>
                  </a:lnTo>
                  <a:lnTo>
                    <a:pt x="162" y="414"/>
                  </a:lnTo>
                  <a:lnTo>
                    <a:pt x="162" y="408"/>
                  </a:lnTo>
                  <a:lnTo>
                    <a:pt x="168" y="408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86" y="396"/>
                  </a:lnTo>
                  <a:lnTo>
                    <a:pt x="186" y="390"/>
                  </a:lnTo>
                  <a:lnTo>
                    <a:pt x="192" y="390"/>
                  </a:lnTo>
                  <a:lnTo>
                    <a:pt x="198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210" y="378"/>
                  </a:lnTo>
                  <a:lnTo>
                    <a:pt x="210" y="372"/>
                  </a:lnTo>
                  <a:lnTo>
                    <a:pt x="216" y="372"/>
                  </a:lnTo>
                  <a:lnTo>
                    <a:pt x="222" y="366"/>
                  </a:lnTo>
                  <a:lnTo>
                    <a:pt x="228" y="360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6" y="348"/>
                  </a:lnTo>
                  <a:lnTo>
                    <a:pt x="252" y="348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0" y="342"/>
                  </a:lnTo>
                  <a:lnTo>
                    <a:pt x="234" y="342"/>
                  </a:lnTo>
                  <a:lnTo>
                    <a:pt x="228" y="336"/>
                  </a:lnTo>
                  <a:lnTo>
                    <a:pt x="222" y="336"/>
                  </a:lnTo>
                  <a:lnTo>
                    <a:pt x="216" y="336"/>
                  </a:lnTo>
                  <a:lnTo>
                    <a:pt x="222" y="324"/>
                  </a:lnTo>
                  <a:lnTo>
                    <a:pt x="222" y="318"/>
                  </a:lnTo>
                  <a:lnTo>
                    <a:pt x="222" y="312"/>
                  </a:lnTo>
                  <a:lnTo>
                    <a:pt x="234" y="318"/>
                  </a:lnTo>
                  <a:lnTo>
                    <a:pt x="246" y="318"/>
                  </a:lnTo>
                  <a:lnTo>
                    <a:pt x="258" y="318"/>
                  </a:lnTo>
                  <a:lnTo>
                    <a:pt x="270" y="312"/>
                  </a:lnTo>
                  <a:lnTo>
                    <a:pt x="276" y="312"/>
                  </a:lnTo>
                  <a:lnTo>
                    <a:pt x="288" y="324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94" y="306"/>
                  </a:lnTo>
                  <a:lnTo>
                    <a:pt x="300" y="300"/>
                  </a:lnTo>
                  <a:lnTo>
                    <a:pt x="306" y="306"/>
                  </a:lnTo>
                  <a:lnTo>
                    <a:pt x="312" y="318"/>
                  </a:lnTo>
                  <a:lnTo>
                    <a:pt x="318" y="312"/>
                  </a:lnTo>
                  <a:lnTo>
                    <a:pt x="324" y="312"/>
                  </a:lnTo>
                  <a:lnTo>
                    <a:pt x="330" y="312"/>
                  </a:lnTo>
                  <a:lnTo>
                    <a:pt x="342" y="306"/>
                  </a:lnTo>
                  <a:lnTo>
                    <a:pt x="348" y="306"/>
                  </a:lnTo>
                  <a:lnTo>
                    <a:pt x="348" y="312"/>
                  </a:lnTo>
                  <a:lnTo>
                    <a:pt x="348" y="318"/>
                  </a:lnTo>
                  <a:lnTo>
                    <a:pt x="354" y="318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60" y="336"/>
                  </a:lnTo>
                  <a:lnTo>
                    <a:pt x="366" y="330"/>
                  </a:lnTo>
                  <a:lnTo>
                    <a:pt x="378" y="324"/>
                  </a:lnTo>
                  <a:lnTo>
                    <a:pt x="384" y="324"/>
                  </a:lnTo>
                  <a:lnTo>
                    <a:pt x="384" y="318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6"/>
                  </a:lnTo>
                  <a:lnTo>
                    <a:pt x="402" y="306"/>
                  </a:lnTo>
                  <a:lnTo>
                    <a:pt x="408" y="306"/>
                  </a:lnTo>
                  <a:lnTo>
                    <a:pt x="414" y="300"/>
                  </a:lnTo>
                  <a:lnTo>
                    <a:pt x="420" y="300"/>
                  </a:lnTo>
                  <a:lnTo>
                    <a:pt x="426" y="300"/>
                  </a:lnTo>
                  <a:lnTo>
                    <a:pt x="432" y="300"/>
                  </a:lnTo>
                  <a:lnTo>
                    <a:pt x="444" y="288"/>
                  </a:lnTo>
                  <a:lnTo>
                    <a:pt x="450" y="294"/>
                  </a:lnTo>
                  <a:lnTo>
                    <a:pt x="468" y="300"/>
                  </a:lnTo>
                  <a:lnTo>
                    <a:pt x="498" y="312"/>
                  </a:lnTo>
                  <a:lnTo>
                    <a:pt x="504" y="324"/>
                  </a:lnTo>
                  <a:lnTo>
                    <a:pt x="516" y="330"/>
                  </a:lnTo>
                  <a:lnTo>
                    <a:pt x="516" y="336"/>
                  </a:lnTo>
                  <a:lnTo>
                    <a:pt x="540" y="342"/>
                  </a:lnTo>
                  <a:lnTo>
                    <a:pt x="558" y="372"/>
                  </a:lnTo>
                  <a:lnTo>
                    <a:pt x="594" y="384"/>
                  </a:lnTo>
                  <a:lnTo>
                    <a:pt x="606" y="402"/>
                  </a:lnTo>
                  <a:lnTo>
                    <a:pt x="600" y="420"/>
                  </a:lnTo>
                  <a:lnTo>
                    <a:pt x="588" y="444"/>
                  </a:lnTo>
                  <a:lnTo>
                    <a:pt x="588" y="450"/>
                  </a:lnTo>
                  <a:lnTo>
                    <a:pt x="588" y="456"/>
                  </a:lnTo>
                  <a:lnTo>
                    <a:pt x="594" y="456"/>
                  </a:lnTo>
                  <a:lnTo>
                    <a:pt x="594" y="462"/>
                  </a:lnTo>
                  <a:lnTo>
                    <a:pt x="594" y="468"/>
                  </a:lnTo>
                  <a:lnTo>
                    <a:pt x="594" y="474"/>
                  </a:lnTo>
                  <a:lnTo>
                    <a:pt x="600" y="474"/>
                  </a:lnTo>
                  <a:lnTo>
                    <a:pt x="606" y="480"/>
                  </a:lnTo>
                  <a:lnTo>
                    <a:pt x="606" y="486"/>
                  </a:lnTo>
                  <a:lnTo>
                    <a:pt x="612" y="486"/>
                  </a:lnTo>
                  <a:lnTo>
                    <a:pt x="618" y="486"/>
                  </a:lnTo>
                  <a:lnTo>
                    <a:pt x="624" y="486"/>
                  </a:lnTo>
                  <a:lnTo>
                    <a:pt x="636" y="486"/>
                  </a:lnTo>
                  <a:lnTo>
                    <a:pt x="642" y="486"/>
                  </a:lnTo>
                  <a:lnTo>
                    <a:pt x="648" y="480"/>
                  </a:lnTo>
                  <a:lnTo>
                    <a:pt x="654" y="474"/>
                  </a:lnTo>
                  <a:lnTo>
                    <a:pt x="660" y="468"/>
                  </a:lnTo>
                  <a:lnTo>
                    <a:pt x="666" y="468"/>
                  </a:lnTo>
                  <a:lnTo>
                    <a:pt x="684" y="468"/>
                  </a:lnTo>
                  <a:lnTo>
                    <a:pt x="696" y="468"/>
                  </a:lnTo>
                  <a:lnTo>
                    <a:pt x="696" y="462"/>
                  </a:lnTo>
                  <a:lnTo>
                    <a:pt x="702" y="456"/>
                  </a:lnTo>
                  <a:lnTo>
                    <a:pt x="708" y="450"/>
                  </a:lnTo>
                  <a:lnTo>
                    <a:pt x="714" y="450"/>
                  </a:lnTo>
                  <a:lnTo>
                    <a:pt x="720" y="450"/>
                  </a:lnTo>
                  <a:lnTo>
                    <a:pt x="720" y="438"/>
                  </a:lnTo>
                  <a:lnTo>
                    <a:pt x="726" y="432"/>
                  </a:lnTo>
                  <a:lnTo>
                    <a:pt x="738" y="420"/>
                  </a:lnTo>
                  <a:lnTo>
                    <a:pt x="744" y="420"/>
                  </a:lnTo>
                  <a:lnTo>
                    <a:pt x="750" y="414"/>
                  </a:lnTo>
                  <a:lnTo>
                    <a:pt x="762" y="408"/>
                  </a:lnTo>
                  <a:lnTo>
                    <a:pt x="768" y="408"/>
                  </a:lnTo>
                  <a:lnTo>
                    <a:pt x="768" y="402"/>
                  </a:lnTo>
                  <a:lnTo>
                    <a:pt x="780" y="396"/>
                  </a:lnTo>
                  <a:lnTo>
                    <a:pt x="786" y="396"/>
                  </a:lnTo>
                  <a:lnTo>
                    <a:pt x="786" y="390"/>
                  </a:lnTo>
                  <a:lnTo>
                    <a:pt x="792" y="384"/>
                  </a:lnTo>
                  <a:lnTo>
                    <a:pt x="792" y="378"/>
                  </a:lnTo>
                  <a:lnTo>
                    <a:pt x="798" y="366"/>
                  </a:lnTo>
                  <a:lnTo>
                    <a:pt x="804" y="360"/>
                  </a:lnTo>
                  <a:lnTo>
                    <a:pt x="816" y="342"/>
                  </a:lnTo>
                  <a:lnTo>
                    <a:pt x="816" y="312"/>
                  </a:lnTo>
                  <a:lnTo>
                    <a:pt x="804" y="300"/>
                  </a:lnTo>
                  <a:lnTo>
                    <a:pt x="798" y="288"/>
                  </a:lnTo>
                  <a:lnTo>
                    <a:pt x="762" y="264"/>
                  </a:lnTo>
                  <a:lnTo>
                    <a:pt x="738" y="234"/>
                  </a:lnTo>
                  <a:lnTo>
                    <a:pt x="738" y="222"/>
                  </a:lnTo>
                  <a:lnTo>
                    <a:pt x="744" y="210"/>
                  </a:lnTo>
                  <a:lnTo>
                    <a:pt x="732" y="174"/>
                  </a:lnTo>
                  <a:lnTo>
                    <a:pt x="714" y="156"/>
                  </a:lnTo>
                  <a:lnTo>
                    <a:pt x="708" y="144"/>
                  </a:lnTo>
                  <a:lnTo>
                    <a:pt x="714" y="126"/>
                  </a:lnTo>
                  <a:lnTo>
                    <a:pt x="720" y="114"/>
                  </a:lnTo>
                  <a:lnTo>
                    <a:pt x="732" y="102"/>
                  </a:lnTo>
                  <a:lnTo>
                    <a:pt x="744" y="102"/>
                  </a:lnTo>
                  <a:lnTo>
                    <a:pt x="762" y="108"/>
                  </a:lnTo>
                  <a:lnTo>
                    <a:pt x="774" y="114"/>
                  </a:lnTo>
                  <a:lnTo>
                    <a:pt x="780" y="138"/>
                  </a:lnTo>
                  <a:lnTo>
                    <a:pt x="786" y="144"/>
                  </a:lnTo>
                  <a:lnTo>
                    <a:pt x="798" y="138"/>
                  </a:lnTo>
                  <a:lnTo>
                    <a:pt x="804" y="132"/>
                  </a:lnTo>
                  <a:lnTo>
                    <a:pt x="816" y="120"/>
                  </a:lnTo>
                  <a:lnTo>
                    <a:pt x="816" y="108"/>
                  </a:lnTo>
                  <a:lnTo>
                    <a:pt x="828" y="102"/>
                  </a:lnTo>
                  <a:lnTo>
                    <a:pt x="828" y="96"/>
                  </a:lnTo>
                  <a:lnTo>
                    <a:pt x="840" y="96"/>
                  </a:lnTo>
                  <a:lnTo>
                    <a:pt x="840" y="84"/>
                  </a:lnTo>
                  <a:lnTo>
                    <a:pt x="852" y="90"/>
                  </a:lnTo>
                  <a:lnTo>
                    <a:pt x="852" y="96"/>
                  </a:lnTo>
                  <a:lnTo>
                    <a:pt x="870" y="90"/>
                  </a:lnTo>
                  <a:lnTo>
                    <a:pt x="894" y="78"/>
                  </a:lnTo>
                  <a:lnTo>
                    <a:pt x="912" y="78"/>
                  </a:lnTo>
                  <a:lnTo>
                    <a:pt x="942" y="66"/>
                  </a:lnTo>
                  <a:lnTo>
                    <a:pt x="942" y="60"/>
                  </a:lnTo>
                  <a:lnTo>
                    <a:pt x="954" y="48"/>
                  </a:lnTo>
                  <a:lnTo>
                    <a:pt x="966" y="30"/>
                  </a:lnTo>
                  <a:lnTo>
                    <a:pt x="978" y="30"/>
                  </a:lnTo>
                  <a:lnTo>
                    <a:pt x="978" y="24"/>
                  </a:lnTo>
                  <a:lnTo>
                    <a:pt x="984" y="12"/>
                  </a:lnTo>
                  <a:lnTo>
                    <a:pt x="990" y="12"/>
                  </a:lnTo>
                  <a:lnTo>
                    <a:pt x="996" y="12"/>
                  </a:lnTo>
                  <a:lnTo>
                    <a:pt x="1014" y="6"/>
                  </a:lnTo>
                  <a:lnTo>
                    <a:pt x="1026" y="6"/>
                  </a:lnTo>
                  <a:lnTo>
                    <a:pt x="1044" y="6"/>
                  </a:lnTo>
                  <a:lnTo>
                    <a:pt x="1050" y="6"/>
                  </a:lnTo>
                  <a:lnTo>
                    <a:pt x="1056" y="6"/>
                  </a:lnTo>
                  <a:lnTo>
                    <a:pt x="1062" y="6"/>
                  </a:lnTo>
                  <a:lnTo>
                    <a:pt x="1068" y="6"/>
                  </a:lnTo>
                  <a:lnTo>
                    <a:pt x="1074" y="6"/>
                  </a:lnTo>
                  <a:lnTo>
                    <a:pt x="1080" y="6"/>
                  </a:lnTo>
                  <a:lnTo>
                    <a:pt x="1086" y="0"/>
                  </a:lnTo>
                  <a:lnTo>
                    <a:pt x="1092" y="30"/>
                  </a:lnTo>
                  <a:lnTo>
                    <a:pt x="1098" y="60"/>
                  </a:lnTo>
                  <a:lnTo>
                    <a:pt x="1110" y="84"/>
                  </a:lnTo>
                  <a:lnTo>
                    <a:pt x="1122" y="114"/>
                  </a:lnTo>
                  <a:lnTo>
                    <a:pt x="1128" y="144"/>
                  </a:lnTo>
                  <a:lnTo>
                    <a:pt x="1122" y="156"/>
                  </a:lnTo>
                  <a:lnTo>
                    <a:pt x="1128" y="168"/>
                  </a:lnTo>
                  <a:lnTo>
                    <a:pt x="1134" y="186"/>
                  </a:lnTo>
                  <a:lnTo>
                    <a:pt x="1140" y="204"/>
                  </a:lnTo>
                  <a:lnTo>
                    <a:pt x="1146" y="210"/>
                  </a:lnTo>
                  <a:lnTo>
                    <a:pt x="1146" y="216"/>
                  </a:lnTo>
                  <a:lnTo>
                    <a:pt x="1146" y="228"/>
                  </a:lnTo>
                  <a:lnTo>
                    <a:pt x="1146" y="234"/>
                  </a:lnTo>
                  <a:lnTo>
                    <a:pt x="1140" y="246"/>
                  </a:lnTo>
                  <a:lnTo>
                    <a:pt x="1128" y="258"/>
                  </a:lnTo>
                  <a:lnTo>
                    <a:pt x="1116" y="264"/>
                  </a:lnTo>
                  <a:lnTo>
                    <a:pt x="1110" y="276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2" y="312"/>
                  </a:lnTo>
                  <a:lnTo>
                    <a:pt x="1116" y="324"/>
                  </a:lnTo>
                  <a:lnTo>
                    <a:pt x="1104" y="336"/>
                  </a:lnTo>
                  <a:lnTo>
                    <a:pt x="1104" y="354"/>
                  </a:lnTo>
                  <a:lnTo>
                    <a:pt x="1098" y="372"/>
                  </a:lnTo>
                  <a:lnTo>
                    <a:pt x="1092" y="384"/>
                  </a:lnTo>
                  <a:lnTo>
                    <a:pt x="1086" y="390"/>
                  </a:lnTo>
                  <a:lnTo>
                    <a:pt x="1086" y="402"/>
                  </a:lnTo>
                  <a:lnTo>
                    <a:pt x="1080" y="414"/>
                  </a:lnTo>
                  <a:lnTo>
                    <a:pt x="1074" y="426"/>
                  </a:lnTo>
                  <a:lnTo>
                    <a:pt x="1074" y="450"/>
                  </a:lnTo>
                  <a:lnTo>
                    <a:pt x="1074" y="462"/>
                  </a:lnTo>
                  <a:lnTo>
                    <a:pt x="1068" y="474"/>
                  </a:lnTo>
                  <a:lnTo>
                    <a:pt x="1062" y="486"/>
                  </a:lnTo>
                  <a:lnTo>
                    <a:pt x="1056" y="498"/>
                  </a:lnTo>
                  <a:close/>
                  <a:moveTo>
                    <a:pt x="186" y="378"/>
                  </a:moveTo>
                  <a:lnTo>
                    <a:pt x="186" y="384"/>
                  </a:lnTo>
                  <a:lnTo>
                    <a:pt x="180" y="390"/>
                  </a:lnTo>
                  <a:lnTo>
                    <a:pt x="174" y="396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14"/>
                  </a:lnTo>
                  <a:lnTo>
                    <a:pt x="126" y="414"/>
                  </a:lnTo>
                  <a:lnTo>
                    <a:pt x="120" y="414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2" y="426"/>
                  </a:lnTo>
                  <a:lnTo>
                    <a:pt x="102" y="432"/>
                  </a:lnTo>
                  <a:lnTo>
                    <a:pt x="96" y="432"/>
                  </a:lnTo>
                  <a:lnTo>
                    <a:pt x="90" y="432"/>
                  </a:lnTo>
                  <a:lnTo>
                    <a:pt x="84" y="438"/>
                  </a:lnTo>
                  <a:lnTo>
                    <a:pt x="78" y="438"/>
                  </a:lnTo>
                  <a:lnTo>
                    <a:pt x="78" y="444"/>
                  </a:lnTo>
                  <a:lnTo>
                    <a:pt x="72" y="444"/>
                  </a:lnTo>
                  <a:lnTo>
                    <a:pt x="72" y="450"/>
                  </a:lnTo>
                  <a:lnTo>
                    <a:pt x="66" y="456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48" y="468"/>
                  </a:lnTo>
                  <a:lnTo>
                    <a:pt x="42" y="468"/>
                  </a:lnTo>
                  <a:lnTo>
                    <a:pt x="42" y="462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8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0" y="396"/>
                  </a:lnTo>
                  <a:lnTo>
                    <a:pt x="6" y="384"/>
                  </a:lnTo>
                  <a:lnTo>
                    <a:pt x="18" y="372"/>
                  </a:lnTo>
                  <a:lnTo>
                    <a:pt x="30" y="348"/>
                  </a:lnTo>
                  <a:lnTo>
                    <a:pt x="30" y="342"/>
                  </a:lnTo>
                  <a:lnTo>
                    <a:pt x="42" y="330"/>
                  </a:lnTo>
                  <a:lnTo>
                    <a:pt x="42" y="324"/>
                  </a:lnTo>
                  <a:lnTo>
                    <a:pt x="48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60" y="282"/>
                  </a:lnTo>
                  <a:lnTo>
                    <a:pt x="60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2" y="258"/>
                  </a:lnTo>
                  <a:lnTo>
                    <a:pt x="84" y="246"/>
                  </a:lnTo>
                  <a:lnTo>
                    <a:pt x="90" y="234"/>
                  </a:lnTo>
                  <a:lnTo>
                    <a:pt x="96" y="234"/>
                  </a:lnTo>
                  <a:lnTo>
                    <a:pt x="96" y="228"/>
                  </a:lnTo>
                  <a:lnTo>
                    <a:pt x="102" y="222"/>
                  </a:lnTo>
                  <a:lnTo>
                    <a:pt x="102" y="228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14" y="228"/>
                  </a:lnTo>
                  <a:lnTo>
                    <a:pt x="114" y="234"/>
                  </a:lnTo>
                  <a:lnTo>
                    <a:pt x="120" y="228"/>
                  </a:lnTo>
                  <a:lnTo>
                    <a:pt x="120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26" y="228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8" y="234"/>
                  </a:lnTo>
                  <a:lnTo>
                    <a:pt x="144" y="234"/>
                  </a:lnTo>
                  <a:lnTo>
                    <a:pt x="144" y="228"/>
                  </a:lnTo>
                  <a:lnTo>
                    <a:pt x="150" y="228"/>
                  </a:lnTo>
                  <a:lnTo>
                    <a:pt x="156" y="228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46"/>
                  </a:lnTo>
                  <a:lnTo>
                    <a:pt x="162" y="240"/>
                  </a:lnTo>
                  <a:lnTo>
                    <a:pt x="162" y="246"/>
                  </a:lnTo>
                  <a:lnTo>
                    <a:pt x="162" y="258"/>
                  </a:lnTo>
                  <a:lnTo>
                    <a:pt x="162" y="264"/>
                  </a:lnTo>
                  <a:lnTo>
                    <a:pt x="156" y="270"/>
                  </a:lnTo>
                  <a:lnTo>
                    <a:pt x="162" y="270"/>
                  </a:lnTo>
                  <a:lnTo>
                    <a:pt x="162" y="282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86" y="288"/>
                  </a:lnTo>
                  <a:lnTo>
                    <a:pt x="186" y="294"/>
                  </a:lnTo>
                  <a:lnTo>
                    <a:pt x="180" y="300"/>
                  </a:lnTo>
                  <a:lnTo>
                    <a:pt x="174" y="318"/>
                  </a:lnTo>
                  <a:lnTo>
                    <a:pt x="174" y="324"/>
                  </a:lnTo>
                  <a:lnTo>
                    <a:pt x="168" y="330"/>
                  </a:lnTo>
                  <a:lnTo>
                    <a:pt x="168" y="342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74" y="360"/>
                  </a:lnTo>
                  <a:lnTo>
                    <a:pt x="180" y="366"/>
                  </a:lnTo>
                  <a:lnTo>
                    <a:pt x="186" y="3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8" name="Freeform 23">
              <a:extLst>
                <a:ext uri="{FF2B5EF4-FFF2-40B4-BE49-F238E27FC236}">
                  <a16:creationId xmlns:a16="http://schemas.microsoft.com/office/drawing/2014/main" id="{A539A33E-3F6E-4AF7-BD88-1853165307F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6312" y="3604793"/>
              <a:ext cx="581410" cy="621747"/>
            </a:xfrm>
            <a:custGeom>
              <a:avLst/>
              <a:gdLst>
                <a:gd name="T0" fmla="*/ 90 w 1092"/>
                <a:gd name="T1" fmla="*/ 60 h 1170"/>
                <a:gd name="T2" fmla="*/ 83 w 1092"/>
                <a:gd name="T3" fmla="*/ 62 h 1170"/>
                <a:gd name="T4" fmla="*/ 72 w 1092"/>
                <a:gd name="T5" fmla="*/ 68 h 1170"/>
                <a:gd name="T6" fmla="*/ 68 w 1092"/>
                <a:gd name="T7" fmla="*/ 71 h 1170"/>
                <a:gd name="T8" fmla="*/ 61 w 1092"/>
                <a:gd name="T9" fmla="*/ 69 h 1170"/>
                <a:gd name="T10" fmla="*/ 64 w 1092"/>
                <a:gd name="T11" fmla="*/ 82 h 1170"/>
                <a:gd name="T12" fmla="*/ 67 w 1092"/>
                <a:gd name="T13" fmla="*/ 93 h 1170"/>
                <a:gd name="T14" fmla="*/ 62 w 1092"/>
                <a:gd name="T15" fmla="*/ 96 h 1170"/>
                <a:gd name="T16" fmla="*/ 59 w 1092"/>
                <a:gd name="T17" fmla="*/ 99 h 1170"/>
                <a:gd name="T18" fmla="*/ 53 w 1092"/>
                <a:gd name="T19" fmla="*/ 101 h 1170"/>
                <a:gd name="T20" fmla="*/ 50 w 1092"/>
                <a:gd name="T21" fmla="*/ 100 h 1170"/>
                <a:gd name="T22" fmla="*/ 50 w 1092"/>
                <a:gd name="T23" fmla="*/ 93 h 1170"/>
                <a:gd name="T24" fmla="*/ 37 w 1092"/>
                <a:gd name="T25" fmla="*/ 85 h 1170"/>
                <a:gd name="T26" fmla="*/ 32 w 1092"/>
                <a:gd name="T27" fmla="*/ 86 h 1170"/>
                <a:gd name="T28" fmla="*/ 29 w 1092"/>
                <a:gd name="T29" fmla="*/ 88 h 1170"/>
                <a:gd name="T30" fmla="*/ 27 w 1092"/>
                <a:gd name="T31" fmla="*/ 86 h 1170"/>
                <a:gd name="T32" fmla="*/ 23 w 1092"/>
                <a:gd name="T33" fmla="*/ 87 h 1170"/>
                <a:gd name="T34" fmla="*/ 17 w 1092"/>
                <a:gd name="T35" fmla="*/ 87 h 1170"/>
                <a:gd name="T36" fmla="*/ 18 w 1092"/>
                <a:gd name="T37" fmla="*/ 89 h 1170"/>
                <a:gd name="T38" fmla="*/ 16 w 1092"/>
                <a:gd name="T39" fmla="*/ 92 h 1170"/>
                <a:gd name="T40" fmla="*/ 12 w 1092"/>
                <a:gd name="T41" fmla="*/ 89 h 1170"/>
                <a:gd name="T42" fmla="*/ 13 w 1092"/>
                <a:gd name="T43" fmla="*/ 84 h 1170"/>
                <a:gd name="T44" fmla="*/ 12 w 1092"/>
                <a:gd name="T45" fmla="*/ 80 h 1170"/>
                <a:gd name="T46" fmla="*/ 10 w 1092"/>
                <a:gd name="T47" fmla="*/ 80 h 1170"/>
                <a:gd name="T48" fmla="*/ 8 w 1092"/>
                <a:gd name="T49" fmla="*/ 79 h 1170"/>
                <a:gd name="T50" fmla="*/ 6 w 1092"/>
                <a:gd name="T51" fmla="*/ 78 h 1170"/>
                <a:gd name="T52" fmla="*/ 6 w 1092"/>
                <a:gd name="T53" fmla="*/ 77 h 1170"/>
                <a:gd name="T54" fmla="*/ 4 w 1092"/>
                <a:gd name="T55" fmla="*/ 75 h 1170"/>
                <a:gd name="T56" fmla="*/ 0 w 1092"/>
                <a:gd name="T57" fmla="*/ 72 h 1170"/>
                <a:gd name="T58" fmla="*/ 0 w 1092"/>
                <a:gd name="T59" fmla="*/ 69 h 1170"/>
                <a:gd name="T60" fmla="*/ 3 w 1092"/>
                <a:gd name="T61" fmla="*/ 67 h 1170"/>
                <a:gd name="T62" fmla="*/ 6 w 1092"/>
                <a:gd name="T63" fmla="*/ 62 h 1170"/>
                <a:gd name="T64" fmla="*/ 8 w 1092"/>
                <a:gd name="T65" fmla="*/ 58 h 1170"/>
                <a:gd name="T66" fmla="*/ 5 w 1092"/>
                <a:gd name="T67" fmla="*/ 54 h 1170"/>
                <a:gd name="T68" fmla="*/ 6 w 1092"/>
                <a:gd name="T69" fmla="*/ 50 h 1170"/>
                <a:gd name="T70" fmla="*/ 8 w 1092"/>
                <a:gd name="T71" fmla="*/ 46 h 1170"/>
                <a:gd name="T72" fmla="*/ 10 w 1092"/>
                <a:gd name="T73" fmla="*/ 43 h 1170"/>
                <a:gd name="T74" fmla="*/ 14 w 1092"/>
                <a:gd name="T75" fmla="*/ 38 h 1170"/>
                <a:gd name="T76" fmla="*/ 31 w 1092"/>
                <a:gd name="T77" fmla="*/ 40 h 1170"/>
                <a:gd name="T78" fmla="*/ 30 w 1092"/>
                <a:gd name="T79" fmla="*/ 46 h 1170"/>
                <a:gd name="T80" fmla="*/ 36 w 1092"/>
                <a:gd name="T81" fmla="*/ 47 h 1170"/>
                <a:gd name="T82" fmla="*/ 41 w 1092"/>
                <a:gd name="T83" fmla="*/ 44 h 1170"/>
                <a:gd name="T84" fmla="*/ 43 w 1092"/>
                <a:gd name="T85" fmla="*/ 39 h 1170"/>
                <a:gd name="T86" fmla="*/ 44 w 1092"/>
                <a:gd name="T87" fmla="*/ 35 h 1170"/>
                <a:gd name="T88" fmla="*/ 44 w 1092"/>
                <a:gd name="T89" fmla="*/ 29 h 1170"/>
                <a:gd name="T90" fmla="*/ 48 w 1092"/>
                <a:gd name="T91" fmla="*/ 24 h 1170"/>
                <a:gd name="T92" fmla="*/ 49 w 1092"/>
                <a:gd name="T93" fmla="*/ 19 h 1170"/>
                <a:gd name="T94" fmla="*/ 51 w 1092"/>
                <a:gd name="T95" fmla="*/ 14 h 1170"/>
                <a:gd name="T96" fmla="*/ 54 w 1092"/>
                <a:gd name="T97" fmla="*/ 10 h 1170"/>
                <a:gd name="T98" fmla="*/ 53 w 1092"/>
                <a:gd name="T99" fmla="*/ 7 h 1170"/>
                <a:gd name="T100" fmla="*/ 55 w 1092"/>
                <a:gd name="T101" fmla="*/ 3 h 1170"/>
                <a:gd name="T102" fmla="*/ 58 w 1092"/>
                <a:gd name="T103" fmla="*/ 0 h 1170"/>
                <a:gd name="T104" fmla="*/ 65 w 1092"/>
                <a:gd name="T105" fmla="*/ 2 h 1170"/>
                <a:gd name="T106" fmla="*/ 61 w 1092"/>
                <a:gd name="T107" fmla="*/ 6 h 1170"/>
                <a:gd name="T108" fmla="*/ 67 w 1092"/>
                <a:gd name="T109" fmla="*/ 7 h 1170"/>
                <a:gd name="T110" fmla="*/ 71 w 1092"/>
                <a:gd name="T111" fmla="*/ 6 h 1170"/>
                <a:gd name="T112" fmla="*/ 75 w 1092"/>
                <a:gd name="T113" fmla="*/ 9 h 1170"/>
                <a:gd name="T114" fmla="*/ 82 w 1092"/>
                <a:gd name="T115" fmla="*/ 12 h 1170"/>
                <a:gd name="T116" fmla="*/ 84 w 1092"/>
                <a:gd name="T117" fmla="*/ 17 h 1170"/>
                <a:gd name="T118" fmla="*/ 94 w 1092"/>
                <a:gd name="T119" fmla="*/ 23 h 1170"/>
                <a:gd name="T120" fmla="*/ 94 w 1092"/>
                <a:gd name="T121" fmla="*/ 34 h 1170"/>
                <a:gd name="T122" fmla="*/ 90 w 1092"/>
                <a:gd name="T123" fmla="*/ 41 h 1170"/>
                <a:gd name="T124" fmla="*/ 91 w 1092"/>
                <a:gd name="T125" fmla="*/ 51 h 11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92"/>
                <a:gd name="T190" fmla="*/ 0 h 1170"/>
                <a:gd name="T191" fmla="*/ 1092 w 1092"/>
                <a:gd name="T192" fmla="*/ 1170 h 117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92" h="1170">
                  <a:moveTo>
                    <a:pt x="1056" y="654"/>
                  </a:moveTo>
                  <a:lnTo>
                    <a:pt x="1062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0"/>
                  </a:lnTo>
                  <a:lnTo>
                    <a:pt x="1038" y="690"/>
                  </a:lnTo>
                  <a:lnTo>
                    <a:pt x="1032" y="690"/>
                  </a:lnTo>
                  <a:lnTo>
                    <a:pt x="1026" y="690"/>
                  </a:lnTo>
                  <a:lnTo>
                    <a:pt x="1020" y="690"/>
                  </a:lnTo>
                  <a:lnTo>
                    <a:pt x="1002" y="690"/>
                  </a:lnTo>
                  <a:lnTo>
                    <a:pt x="990" y="690"/>
                  </a:lnTo>
                  <a:lnTo>
                    <a:pt x="972" y="696"/>
                  </a:lnTo>
                  <a:lnTo>
                    <a:pt x="966" y="696"/>
                  </a:lnTo>
                  <a:lnTo>
                    <a:pt x="960" y="696"/>
                  </a:lnTo>
                  <a:lnTo>
                    <a:pt x="954" y="708"/>
                  </a:lnTo>
                  <a:lnTo>
                    <a:pt x="954" y="714"/>
                  </a:lnTo>
                  <a:lnTo>
                    <a:pt x="942" y="714"/>
                  </a:lnTo>
                  <a:lnTo>
                    <a:pt x="930" y="732"/>
                  </a:lnTo>
                  <a:lnTo>
                    <a:pt x="918" y="744"/>
                  </a:lnTo>
                  <a:lnTo>
                    <a:pt x="918" y="750"/>
                  </a:lnTo>
                  <a:lnTo>
                    <a:pt x="888" y="762"/>
                  </a:lnTo>
                  <a:lnTo>
                    <a:pt x="870" y="762"/>
                  </a:lnTo>
                  <a:lnTo>
                    <a:pt x="846" y="774"/>
                  </a:lnTo>
                  <a:lnTo>
                    <a:pt x="828" y="780"/>
                  </a:lnTo>
                  <a:lnTo>
                    <a:pt x="828" y="774"/>
                  </a:lnTo>
                  <a:lnTo>
                    <a:pt x="816" y="768"/>
                  </a:lnTo>
                  <a:lnTo>
                    <a:pt x="816" y="780"/>
                  </a:lnTo>
                  <a:lnTo>
                    <a:pt x="804" y="780"/>
                  </a:lnTo>
                  <a:lnTo>
                    <a:pt x="804" y="786"/>
                  </a:lnTo>
                  <a:lnTo>
                    <a:pt x="792" y="792"/>
                  </a:lnTo>
                  <a:lnTo>
                    <a:pt x="792" y="804"/>
                  </a:lnTo>
                  <a:lnTo>
                    <a:pt x="780" y="816"/>
                  </a:lnTo>
                  <a:lnTo>
                    <a:pt x="774" y="822"/>
                  </a:lnTo>
                  <a:lnTo>
                    <a:pt x="762" y="828"/>
                  </a:lnTo>
                  <a:lnTo>
                    <a:pt x="756" y="822"/>
                  </a:lnTo>
                  <a:lnTo>
                    <a:pt x="750" y="798"/>
                  </a:lnTo>
                  <a:lnTo>
                    <a:pt x="738" y="792"/>
                  </a:lnTo>
                  <a:lnTo>
                    <a:pt x="720" y="786"/>
                  </a:lnTo>
                  <a:lnTo>
                    <a:pt x="708" y="786"/>
                  </a:lnTo>
                  <a:lnTo>
                    <a:pt x="696" y="798"/>
                  </a:lnTo>
                  <a:lnTo>
                    <a:pt x="690" y="810"/>
                  </a:lnTo>
                  <a:lnTo>
                    <a:pt x="684" y="828"/>
                  </a:lnTo>
                  <a:lnTo>
                    <a:pt x="690" y="840"/>
                  </a:lnTo>
                  <a:lnTo>
                    <a:pt x="708" y="858"/>
                  </a:lnTo>
                  <a:lnTo>
                    <a:pt x="720" y="894"/>
                  </a:lnTo>
                  <a:lnTo>
                    <a:pt x="714" y="906"/>
                  </a:lnTo>
                  <a:lnTo>
                    <a:pt x="714" y="918"/>
                  </a:lnTo>
                  <a:lnTo>
                    <a:pt x="738" y="948"/>
                  </a:lnTo>
                  <a:lnTo>
                    <a:pt x="774" y="972"/>
                  </a:lnTo>
                  <a:lnTo>
                    <a:pt x="780" y="984"/>
                  </a:lnTo>
                  <a:lnTo>
                    <a:pt x="792" y="996"/>
                  </a:lnTo>
                  <a:lnTo>
                    <a:pt x="792" y="1026"/>
                  </a:lnTo>
                  <a:lnTo>
                    <a:pt x="780" y="1044"/>
                  </a:lnTo>
                  <a:lnTo>
                    <a:pt x="774" y="1050"/>
                  </a:lnTo>
                  <a:lnTo>
                    <a:pt x="768" y="1062"/>
                  </a:lnTo>
                  <a:lnTo>
                    <a:pt x="768" y="1068"/>
                  </a:lnTo>
                  <a:lnTo>
                    <a:pt x="762" y="1074"/>
                  </a:lnTo>
                  <a:lnTo>
                    <a:pt x="762" y="1080"/>
                  </a:lnTo>
                  <a:lnTo>
                    <a:pt x="756" y="1080"/>
                  </a:lnTo>
                  <a:lnTo>
                    <a:pt x="744" y="1086"/>
                  </a:lnTo>
                  <a:lnTo>
                    <a:pt x="744" y="1092"/>
                  </a:lnTo>
                  <a:lnTo>
                    <a:pt x="738" y="1092"/>
                  </a:lnTo>
                  <a:lnTo>
                    <a:pt x="726" y="1098"/>
                  </a:lnTo>
                  <a:lnTo>
                    <a:pt x="720" y="1104"/>
                  </a:lnTo>
                  <a:lnTo>
                    <a:pt x="714" y="1104"/>
                  </a:lnTo>
                  <a:lnTo>
                    <a:pt x="702" y="1116"/>
                  </a:lnTo>
                  <a:lnTo>
                    <a:pt x="696" y="1122"/>
                  </a:lnTo>
                  <a:lnTo>
                    <a:pt x="696" y="1134"/>
                  </a:lnTo>
                  <a:lnTo>
                    <a:pt x="690" y="1134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72" y="1146"/>
                  </a:lnTo>
                  <a:lnTo>
                    <a:pt x="672" y="1152"/>
                  </a:lnTo>
                  <a:lnTo>
                    <a:pt x="660" y="1152"/>
                  </a:lnTo>
                  <a:lnTo>
                    <a:pt x="642" y="1152"/>
                  </a:lnTo>
                  <a:lnTo>
                    <a:pt x="636" y="1152"/>
                  </a:lnTo>
                  <a:lnTo>
                    <a:pt x="630" y="1158"/>
                  </a:lnTo>
                  <a:lnTo>
                    <a:pt x="624" y="1164"/>
                  </a:lnTo>
                  <a:lnTo>
                    <a:pt x="618" y="1170"/>
                  </a:lnTo>
                  <a:lnTo>
                    <a:pt x="612" y="1170"/>
                  </a:lnTo>
                  <a:lnTo>
                    <a:pt x="600" y="1170"/>
                  </a:lnTo>
                  <a:lnTo>
                    <a:pt x="594" y="1170"/>
                  </a:lnTo>
                  <a:lnTo>
                    <a:pt x="588" y="1170"/>
                  </a:lnTo>
                  <a:lnTo>
                    <a:pt x="582" y="1170"/>
                  </a:lnTo>
                  <a:lnTo>
                    <a:pt x="582" y="1164"/>
                  </a:lnTo>
                  <a:lnTo>
                    <a:pt x="576" y="1158"/>
                  </a:lnTo>
                  <a:lnTo>
                    <a:pt x="570" y="1158"/>
                  </a:lnTo>
                  <a:lnTo>
                    <a:pt x="570" y="1152"/>
                  </a:lnTo>
                  <a:lnTo>
                    <a:pt x="570" y="1146"/>
                  </a:lnTo>
                  <a:lnTo>
                    <a:pt x="570" y="1140"/>
                  </a:lnTo>
                  <a:lnTo>
                    <a:pt x="564" y="1140"/>
                  </a:lnTo>
                  <a:lnTo>
                    <a:pt x="564" y="1134"/>
                  </a:lnTo>
                  <a:lnTo>
                    <a:pt x="564" y="1128"/>
                  </a:lnTo>
                  <a:lnTo>
                    <a:pt x="576" y="1104"/>
                  </a:lnTo>
                  <a:lnTo>
                    <a:pt x="582" y="1086"/>
                  </a:lnTo>
                  <a:lnTo>
                    <a:pt x="570" y="1068"/>
                  </a:lnTo>
                  <a:lnTo>
                    <a:pt x="534" y="1056"/>
                  </a:lnTo>
                  <a:lnTo>
                    <a:pt x="516" y="1026"/>
                  </a:lnTo>
                  <a:lnTo>
                    <a:pt x="492" y="1020"/>
                  </a:lnTo>
                  <a:lnTo>
                    <a:pt x="492" y="1014"/>
                  </a:lnTo>
                  <a:lnTo>
                    <a:pt x="480" y="1008"/>
                  </a:lnTo>
                  <a:lnTo>
                    <a:pt x="474" y="996"/>
                  </a:lnTo>
                  <a:lnTo>
                    <a:pt x="444" y="984"/>
                  </a:lnTo>
                  <a:lnTo>
                    <a:pt x="426" y="978"/>
                  </a:lnTo>
                  <a:lnTo>
                    <a:pt x="420" y="972"/>
                  </a:lnTo>
                  <a:lnTo>
                    <a:pt x="408" y="984"/>
                  </a:lnTo>
                  <a:lnTo>
                    <a:pt x="402" y="984"/>
                  </a:lnTo>
                  <a:lnTo>
                    <a:pt x="396" y="984"/>
                  </a:lnTo>
                  <a:lnTo>
                    <a:pt x="390" y="984"/>
                  </a:lnTo>
                  <a:lnTo>
                    <a:pt x="384" y="990"/>
                  </a:lnTo>
                  <a:lnTo>
                    <a:pt x="378" y="990"/>
                  </a:lnTo>
                  <a:lnTo>
                    <a:pt x="372" y="990"/>
                  </a:lnTo>
                  <a:lnTo>
                    <a:pt x="372" y="996"/>
                  </a:lnTo>
                  <a:lnTo>
                    <a:pt x="366" y="996"/>
                  </a:lnTo>
                  <a:lnTo>
                    <a:pt x="360" y="1002"/>
                  </a:lnTo>
                  <a:lnTo>
                    <a:pt x="360" y="1008"/>
                  </a:lnTo>
                  <a:lnTo>
                    <a:pt x="354" y="1008"/>
                  </a:lnTo>
                  <a:lnTo>
                    <a:pt x="342" y="1014"/>
                  </a:lnTo>
                  <a:lnTo>
                    <a:pt x="336" y="1020"/>
                  </a:lnTo>
                  <a:lnTo>
                    <a:pt x="336" y="1014"/>
                  </a:lnTo>
                  <a:lnTo>
                    <a:pt x="330" y="1014"/>
                  </a:lnTo>
                  <a:lnTo>
                    <a:pt x="330" y="1008"/>
                  </a:lnTo>
                  <a:lnTo>
                    <a:pt x="330" y="1002"/>
                  </a:lnTo>
                  <a:lnTo>
                    <a:pt x="324" y="1002"/>
                  </a:lnTo>
                  <a:lnTo>
                    <a:pt x="324" y="996"/>
                  </a:lnTo>
                  <a:lnTo>
                    <a:pt x="324" y="990"/>
                  </a:lnTo>
                  <a:lnTo>
                    <a:pt x="318" y="990"/>
                  </a:lnTo>
                  <a:lnTo>
                    <a:pt x="306" y="996"/>
                  </a:lnTo>
                  <a:lnTo>
                    <a:pt x="300" y="996"/>
                  </a:lnTo>
                  <a:lnTo>
                    <a:pt x="294" y="996"/>
                  </a:lnTo>
                  <a:lnTo>
                    <a:pt x="288" y="1002"/>
                  </a:lnTo>
                  <a:lnTo>
                    <a:pt x="282" y="990"/>
                  </a:lnTo>
                  <a:lnTo>
                    <a:pt x="276" y="984"/>
                  </a:lnTo>
                  <a:lnTo>
                    <a:pt x="270" y="990"/>
                  </a:lnTo>
                  <a:lnTo>
                    <a:pt x="270" y="996"/>
                  </a:lnTo>
                  <a:lnTo>
                    <a:pt x="270" y="1002"/>
                  </a:lnTo>
                  <a:lnTo>
                    <a:pt x="264" y="1008"/>
                  </a:lnTo>
                  <a:lnTo>
                    <a:pt x="252" y="996"/>
                  </a:lnTo>
                  <a:lnTo>
                    <a:pt x="246" y="996"/>
                  </a:lnTo>
                  <a:lnTo>
                    <a:pt x="234" y="1002"/>
                  </a:lnTo>
                  <a:lnTo>
                    <a:pt x="222" y="1002"/>
                  </a:lnTo>
                  <a:lnTo>
                    <a:pt x="210" y="1002"/>
                  </a:lnTo>
                  <a:lnTo>
                    <a:pt x="198" y="996"/>
                  </a:lnTo>
                  <a:lnTo>
                    <a:pt x="198" y="1002"/>
                  </a:lnTo>
                  <a:lnTo>
                    <a:pt x="198" y="1008"/>
                  </a:lnTo>
                  <a:lnTo>
                    <a:pt x="192" y="1020"/>
                  </a:lnTo>
                  <a:lnTo>
                    <a:pt x="198" y="1020"/>
                  </a:lnTo>
                  <a:lnTo>
                    <a:pt x="204" y="1020"/>
                  </a:lnTo>
                  <a:lnTo>
                    <a:pt x="210" y="1026"/>
                  </a:lnTo>
                  <a:lnTo>
                    <a:pt x="216" y="1026"/>
                  </a:lnTo>
                  <a:lnTo>
                    <a:pt x="216" y="1032"/>
                  </a:lnTo>
                  <a:lnTo>
                    <a:pt x="210" y="1032"/>
                  </a:lnTo>
                  <a:lnTo>
                    <a:pt x="210" y="1038"/>
                  </a:lnTo>
                  <a:lnTo>
                    <a:pt x="204" y="1038"/>
                  </a:lnTo>
                  <a:lnTo>
                    <a:pt x="204" y="1044"/>
                  </a:lnTo>
                  <a:lnTo>
                    <a:pt x="198" y="1044"/>
                  </a:lnTo>
                  <a:lnTo>
                    <a:pt x="192" y="1044"/>
                  </a:lnTo>
                  <a:lnTo>
                    <a:pt x="186" y="1050"/>
                  </a:lnTo>
                  <a:lnTo>
                    <a:pt x="186" y="1056"/>
                  </a:lnTo>
                  <a:lnTo>
                    <a:pt x="180" y="1056"/>
                  </a:lnTo>
                  <a:lnTo>
                    <a:pt x="180" y="1062"/>
                  </a:lnTo>
                  <a:lnTo>
                    <a:pt x="174" y="1062"/>
                  </a:lnTo>
                  <a:lnTo>
                    <a:pt x="168" y="1062"/>
                  </a:lnTo>
                  <a:lnTo>
                    <a:pt x="162" y="1062"/>
                  </a:lnTo>
                  <a:lnTo>
                    <a:pt x="156" y="1050"/>
                  </a:lnTo>
                  <a:lnTo>
                    <a:pt x="150" y="1044"/>
                  </a:lnTo>
                  <a:lnTo>
                    <a:pt x="150" y="1038"/>
                  </a:lnTo>
                  <a:lnTo>
                    <a:pt x="144" y="1032"/>
                  </a:lnTo>
                  <a:lnTo>
                    <a:pt x="144" y="1026"/>
                  </a:lnTo>
                  <a:lnTo>
                    <a:pt x="144" y="1014"/>
                  </a:lnTo>
                  <a:lnTo>
                    <a:pt x="150" y="1008"/>
                  </a:lnTo>
                  <a:lnTo>
                    <a:pt x="150" y="1002"/>
                  </a:lnTo>
                  <a:lnTo>
                    <a:pt x="156" y="984"/>
                  </a:lnTo>
                  <a:lnTo>
                    <a:pt x="162" y="978"/>
                  </a:lnTo>
                  <a:lnTo>
                    <a:pt x="162" y="972"/>
                  </a:lnTo>
                  <a:lnTo>
                    <a:pt x="150" y="966"/>
                  </a:lnTo>
                  <a:lnTo>
                    <a:pt x="144" y="966"/>
                  </a:lnTo>
                  <a:lnTo>
                    <a:pt x="138" y="966"/>
                  </a:lnTo>
                  <a:lnTo>
                    <a:pt x="138" y="954"/>
                  </a:lnTo>
                  <a:lnTo>
                    <a:pt x="132" y="954"/>
                  </a:lnTo>
                  <a:lnTo>
                    <a:pt x="138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8" y="924"/>
                  </a:lnTo>
                  <a:lnTo>
                    <a:pt x="132" y="930"/>
                  </a:lnTo>
                  <a:lnTo>
                    <a:pt x="132" y="924"/>
                  </a:lnTo>
                  <a:lnTo>
                    <a:pt x="126" y="918"/>
                  </a:lnTo>
                  <a:lnTo>
                    <a:pt x="132" y="918"/>
                  </a:lnTo>
                  <a:lnTo>
                    <a:pt x="132" y="912"/>
                  </a:lnTo>
                  <a:lnTo>
                    <a:pt x="126" y="912"/>
                  </a:lnTo>
                  <a:lnTo>
                    <a:pt x="120" y="912"/>
                  </a:lnTo>
                  <a:lnTo>
                    <a:pt x="120" y="918"/>
                  </a:lnTo>
                  <a:lnTo>
                    <a:pt x="114" y="918"/>
                  </a:lnTo>
                  <a:lnTo>
                    <a:pt x="114" y="912"/>
                  </a:lnTo>
                  <a:lnTo>
                    <a:pt x="108" y="912"/>
                  </a:lnTo>
                  <a:lnTo>
                    <a:pt x="102" y="912"/>
                  </a:lnTo>
                  <a:lnTo>
                    <a:pt x="108" y="906"/>
                  </a:lnTo>
                  <a:lnTo>
                    <a:pt x="102" y="906"/>
                  </a:lnTo>
                  <a:lnTo>
                    <a:pt x="96" y="906"/>
                  </a:lnTo>
                  <a:lnTo>
                    <a:pt x="96" y="912"/>
                  </a:lnTo>
                  <a:lnTo>
                    <a:pt x="90" y="918"/>
                  </a:lnTo>
                  <a:lnTo>
                    <a:pt x="90" y="912"/>
                  </a:lnTo>
                  <a:lnTo>
                    <a:pt x="84" y="912"/>
                  </a:lnTo>
                  <a:lnTo>
                    <a:pt x="84" y="918"/>
                  </a:lnTo>
                  <a:lnTo>
                    <a:pt x="78" y="918"/>
                  </a:lnTo>
                  <a:lnTo>
                    <a:pt x="78" y="912"/>
                  </a:lnTo>
                  <a:lnTo>
                    <a:pt x="78" y="906"/>
                  </a:lnTo>
                  <a:lnTo>
                    <a:pt x="72" y="900"/>
                  </a:lnTo>
                  <a:lnTo>
                    <a:pt x="78" y="900"/>
                  </a:lnTo>
                  <a:lnTo>
                    <a:pt x="72" y="900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8" y="888"/>
                  </a:lnTo>
                  <a:lnTo>
                    <a:pt x="72" y="888"/>
                  </a:lnTo>
                  <a:lnTo>
                    <a:pt x="72" y="882"/>
                  </a:lnTo>
                  <a:lnTo>
                    <a:pt x="66" y="876"/>
                  </a:lnTo>
                  <a:lnTo>
                    <a:pt x="60" y="882"/>
                  </a:lnTo>
                  <a:lnTo>
                    <a:pt x="54" y="876"/>
                  </a:lnTo>
                  <a:lnTo>
                    <a:pt x="54" y="882"/>
                  </a:lnTo>
                  <a:lnTo>
                    <a:pt x="48" y="882"/>
                  </a:lnTo>
                  <a:lnTo>
                    <a:pt x="42" y="870"/>
                  </a:lnTo>
                  <a:lnTo>
                    <a:pt x="42" y="864"/>
                  </a:lnTo>
                  <a:lnTo>
                    <a:pt x="36" y="858"/>
                  </a:lnTo>
                  <a:lnTo>
                    <a:pt x="36" y="852"/>
                  </a:lnTo>
                  <a:lnTo>
                    <a:pt x="30" y="852"/>
                  </a:lnTo>
                  <a:lnTo>
                    <a:pt x="30" y="846"/>
                  </a:lnTo>
                  <a:lnTo>
                    <a:pt x="24" y="846"/>
                  </a:lnTo>
                  <a:lnTo>
                    <a:pt x="18" y="840"/>
                  </a:lnTo>
                  <a:lnTo>
                    <a:pt x="12" y="834"/>
                  </a:lnTo>
                  <a:lnTo>
                    <a:pt x="0" y="828"/>
                  </a:lnTo>
                  <a:lnTo>
                    <a:pt x="0" y="822"/>
                  </a:lnTo>
                  <a:lnTo>
                    <a:pt x="0" y="816"/>
                  </a:lnTo>
                  <a:lnTo>
                    <a:pt x="0" y="810"/>
                  </a:lnTo>
                  <a:lnTo>
                    <a:pt x="6" y="804"/>
                  </a:lnTo>
                  <a:lnTo>
                    <a:pt x="12" y="804"/>
                  </a:lnTo>
                  <a:lnTo>
                    <a:pt x="12" y="798"/>
                  </a:lnTo>
                  <a:lnTo>
                    <a:pt x="12" y="792"/>
                  </a:lnTo>
                  <a:lnTo>
                    <a:pt x="6" y="792"/>
                  </a:lnTo>
                  <a:lnTo>
                    <a:pt x="6" y="786"/>
                  </a:lnTo>
                  <a:lnTo>
                    <a:pt x="6" y="780"/>
                  </a:lnTo>
                  <a:lnTo>
                    <a:pt x="18" y="780"/>
                  </a:lnTo>
                  <a:lnTo>
                    <a:pt x="18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0" y="774"/>
                  </a:lnTo>
                  <a:lnTo>
                    <a:pt x="36" y="768"/>
                  </a:lnTo>
                  <a:lnTo>
                    <a:pt x="42" y="768"/>
                  </a:lnTo>
                  <a:lnTo>
                    <a:pt x="60" y="750"/>
                  </a:lnTo>
                  <a:lnTo>
                    <a:pt x="60" y="744"/>
                  </a:lnTo>
                  <a:lnTo>
                    <a:pt x="54" y="738"/>
                  </a:lnTo>
                  <a:lnTo>
                    <a:pt x="60" y="732"/>
                  </a:lnTo>
                  <a:lnTo>
                    <a:pt x="54" y="732"/>
                  </a:lnTo>
                  <a:lnTo>
                    <a:pt x="60" y="726"/>
                  </a:lnTo>
                  <a:lnTo>
                    <a:pt x="66" y="720"/>
                  </a:lnTo>
                  <a:lnTo>
                    <a:pt x="72" y="714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84" y="696"/>
                  </a:lnTo>
                  <a:lnTo>
                    <a:pt x="90" y="684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66"/>
                  </a:lnTo>
                  <a:lnTo>
                    <a:pt x="90" y="660"/>
                  </a:lnTo>
                  <a:lnTo>
                    <a:pt x="84" y="654"/>
                  </a:lnTo>
                  <a:lnTo>
                    <a:pt x="84" y="648"/>
                  </a:lnTo>
                  <a:lnTo>
                    <a:pt x="78" y="636"/>
                  </a:lnTo>
                  <a:lnTo>
                    <a:pt x="66" y="630"/>
                  </a:lnTo>
                  <a:lnTo>
                    <a:pt x="66" y="624"/>
                  </a:lnTo>
                  <a:lnTo>
                    <a:pt x="60" y="624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60" y="600"/>
                  </a:lnTo>
                  <a:lnTo>
                    <a:pt x="66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6" y="588"/>
                  </a:lnTo>
                  <a:lnTo>
                    <a:pt x="66" y="582"/>
                  </a:lnTo>
                  <a:lnTo>
                    <a:pt x="72" y="582"/>
                  </a:lnTo>
                  <a:lnTo>
                    <a:pt x="78" y="576"/>
                  </a:lnTo>
                  <a:lnTo>
                    <a:pt x="72" y="576"/>
                  </a:lnTo>
                  <a:lnTo>
                    <a:pt x="66" y="570"/>
                  </a:lnTo>
                  <a:lnTo>
                    <a:pt x="72" y="564"/>
                  </a:lnTo>
                  <a:lnTo>
                    <a:pt x="78" y="558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90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102" y="516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0" y="504"/>
                  </a:lnTo>
                  <a:lnTo>
                    <a:pt x="120" y="498"/>
                  </a:lnTo>
                  <a:lnTo>
                    <a:pt x="120" y="492"/>
                  </a:lnTo>
                  <a:lnTo>
                    <a:pt x="126" y="480"/>
                  </a:lnTo>
                  <a:lnTo>
                    <a:pt x="132" y="474"/>
                  </a:lnTo>
                  <a:lnTo>
                    <a:pt x="132" y="468"/>
                  </a:lnTo>
                  <a:lnTo>
                    <a:pt x="138" y="462"/>
                  </a:lnTo>
                  <a:lnTo>
                    <a:pt x="138" y="456"/>
                  </a:lnTo>
                  <a:lnTo>
                    <a:pt x="138" y="450"/>
                  </a:lnTo>
                  <a:lnTo>
                    <a:pt x="144" y="444"/>
                  </a:lnTo>
                  <a:lnTo>
                    <a:pt x="162" y="438"/>
                  </a:lnTo>
                  <a:lnTo>
                    <a:pt x="186" y="438"/>
                  </a:lnTo>
                  <a:lnTo>
                    <a:pt x="210" y="444"/>
                  </a:lnTo>
                  <a:lnTo>
                    <a:pt x="276" y="450"/>
                  </a:lnTo>
                  <a:lnTo>
                    <a:pt x="342" y="450"/>
                  </a:lnTo>
                  <a:lnTo>
                    <a:pt x="348" y="450"/>
                  </a:lnTo>
                  <a:lnTo>
                    <a:pt x="354" y="450"/>
                  </a:lnTo>
                  <a:lnTo>
                    <a:pt x="360" y="456"/>
                  </a:lnTo>
                  <a:lnTo>
                    <a:pt x="354" y="462"/>
                  </a:lnTo>
                  <a:lnTo>
                    <a:pt x="354" y="468"/>
                  </a:lnTo>
                  <a:lnTo>
                    <a:pt x="354" y="474"/>
                  </a:lnTo>
                  <a:lnTo>
                    <a:pt x="348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48" y="498"/>
                  </a:lnTo>
                  <a:lnTo>
                    <a:pt x="342" y="510"/>
                  </a:lnTo>
                  <a:lnTo>
                    <a:pt x="348" y="528"/>
                  </a:lnTo>
                  <a:lnTo>
                    <a:pt x="348" y="534"/>
                  </a:lnTo>
                  <a:lnTo>
                    <a:pt x="354" y="552"/>
                  </a:lnTo>
                  <a:lnTo>
                    <a:pt x="366" y="546"/>
                  </a:lnTo>
                  <a:lnTo>
                    <a:pt x="372" y="540"/>
                  </a:lnTo>
                  <a:lnTo>
                    <a:pt x="384" y="540"/>
                  </a:lnTo>
                  <a:lnTo>
                    <a:pt x="396" y="534"/>
                  </a:lnTo>
                  <a:lnTo>
                    <a:pt x="402" y="534"/>
                  </a:lnTo>
                  <a:lnTo>
                    <a:pt x="414" y="546"/>
                  </a:lnTo>
                  <a:lnTo>
                    <a:pt x="432" y="540"/>
                  </a:lnTo>
                  <a:lnTo>
                    <a:pt x="450" y="534"/>
                  </a:lnTo>
                  <a:lnTo>
                    <a:pt x="450" y="528"/>
                  </a:lnTo>
                  <a:lnTo>
                    <a:pt x="456" y="528"/>
                  </a:lnTo>
                  <a:lnTo>
                    <a:pt x="456" y="522"/>
                  </a:lnTo>
                  <a:lnTo>
                    <a:pt x="456" y="516"/>
                  </a:lnTo>
                  <a:lnTo>
                    <a:pt x="462" y="516"/>
                  </a:lnTo>
                  <a:lnTo>
                    <a:pt x="468" y="510"/>
                  </a:lnTo>
                  <a:lnTo>
                    <a:pt x="468" y="504"/>
                  </a:lnTo>
                  <a:lnTo>
                    <a:pt x="474" y="504"/>
                  </a:lnTo>
                  <a:lnTo>
                    <a:pt x="480" y="504"/>
                  </a:lnTo>
                  <a:lnTo>
                    <a:pt x="486" y="498"/>
                  </a:lnTo>
                  <a:lnTo>
                    <a:pt x="492" y="498"/>
                  </a:lnTo>
                  <a:lnTo>
                    <a:pt x="486" y="480"/>
                  </a:lnTo>
                  <a:lnTo>
                    <a:pt x="492" y="462"/>
                  </a:lnTo>
                  <a:lnTo>
                    <a:pt x="498" y="444"/>
                  </a:lnTo>
                  <a:lnTo>
                    <a:pt x="498" y="426"/>
                  </a:lnTo>
                  <a:lnTo>
                    <a:pt x="498" y="420"/>
                  </a:lnTo>
                  <a:lnTo>
                    <a:pt x="504" y="426"/>
                  </a:lnTo>
                  <a:lnTo>
                    <a:pt x="504" y="420"/>
                  </a:lnTo>
                  <a:lnTo>
                    <a:pt x="510" y="420"/>
                  </a:lnTo>
                  <a:lnTo>
                    <a:pt x="510" y="414"/>
                  </a:lnTo>
                  <a:lnTo>
                    <a:pt x="510" y="408"/>
                  </a:lnTo>
                  <a:lnTo>
                    <a:pt x="504" y="402"/>
                  </a:lnTo>
                  <a:lnTo>
                    <a:pt x="504" y="396"/>
                  </a:lnTo>
                  <a:lnTo>
                    <a:pt x="504" y="384"/>
                  </a:lnTo>
                  <a:lnTo>
                    <a:pt x="504" y="378"/>
                  </a:lnTo>
                  <a:lnTo>
                    <a:pt x="504" y="360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510" y="348"/>
                  </a:lnTo>
                  <a:lnTo>
                    <a:pt x="510" y="336"/>
                  </a:lnTo>
                  <a:lnTo>
                    <a:pt x="516" y="330"/>
                  </a:lnTo>
                  <a:lnTo>
                    <a:pt x="522" y="324"/>
                  </a:lnTo>
                  <a:lnTo>
                    <a:pt x="528" y="318"/>
                  </a:lnTo>
                  <a:lnTo>
                    <a:pt x="534" y="312"/>
                  </a:lnTo>
                  <a:lnTo>
                    <a:pt x="534" y="300"/>
                  </a:lnTo>
                  <a:lnTo>
                    <a:pt x="540" y="294"/>
                  </a:lnTo>
                  <a:lnTo>
                    <a:pt x="546" y="288"/>
                  </a:lnTo>
                  <a:lnTo>
                    <a:pt x="552" y="276"/>
                  </a:lnTo>
                  <a:lnTo>
                    <a:pt x="558" y="264"/>
                  </a:lnTo>
                  <a:lnTo>
                    <a:pt x="558" y="258"/>
                  </a:lnTo>
                  <a:lnTo>
                    <a:pt x="558" y="252"/>
                  </a:lnTo>
                  <a:lnTo>
                    <a:pt x="558" y="246"/>
                  </a:lnTo>
                  <a:lnTo>
                    <a:pt x="564" y="246"/>
                  </a:lnTo>
                  <a:lnTo>
                    <a:pt x="564" y="240"/>
                  </a:lnTo>
                  <a:lnTo>
                    <a:pt x="570" y="234"/>
                  </a:lnTo>
                  <a:lnTo>
                    <a:pt x="564" y="216"/>
                  </a:lnTo>
                  <a:lnTo>
                    <a:pt x="564" y="210"/>
                  </a:lnTo>
                  <a:lnTo>
                    <a:pt x="570" y="210"/>
                  </a:lnTo>
                  <a:lnTo>
                    <a:pt x="570" y="204"/>
                  </a:lnTo>
                  <a:lnTo>
                    <a:pt x="570" y="198"/>
                  </a:lnTo>
                  <a:lnTo>
                    <a:pt x="582" y="180"/>
                  </a:lnTo>
                  <a:lnTo>
                    <a:pt x="582" y="174"/>
                  </a:lnTo>
                  <a:lnTo>
                    <a:pt x="582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606" y="150"/>
                  </a:lnTo>
                  <a:lnTo>
                    <a:pt x="612" y="150"/>
                  </a:lnTo>
                  <a:lnTo>
                    <a:pt x="618" y="150"/>
                  </a:lnTo>
                  <a:lnTo>
                    <a:pt x="624" y="138"/>
                  </a:lnTo>
                  <a:lnTo>
                    <a:pt x="618" y="132"/>
                  </a:lnTo>
                  <a:lnTo>
                    <a:pt x="618" y="126"/>
                  </a:lnTo>
                  <a:lnTo>
                    <a:pt x="618" y="120"/>
                  </a:lnTo>
                  <a:lnTo>
                    <a:pt x="618" y="114"/>
                  </a:lnTo>
                  <a:lnTo>
                    <a:pt x="612" y="108"/>
                  </a:lnTo>
                  <a:lnTo>
                    <a:pt x="612" y="102"/>
                  </a:lnTo>
                  <a:lnTo>
                    <a:pt x="618" y="90"/>
                  </a:lnTo>
                  <a:lnTo>
                    <a:pt x="624" y="84"/>
                  </a:lnTo>
                  <a:lnTo>
                    <a:pt x="618" y="84"/>
                  </a:lnTo>
                  <a:lnTo>
                    <a:pt x="618" y="78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0" y="72"/>
                  </a:lnTo>
                  <a:lnTo>
                    <a:pt x="600" y="66"/>
                  </a:lnTo>
                  <a:lnTo>
                    <a:pt x="600" y="60"/>
                  </a:lnTo>
                  <a:lnTo>
                    <a:pt x="600" y="48"/>
                  </a:lnTo>
                  <a:lnTo>
                    <a:pt x="612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36"/>
                  </a:lnTo>
                  <a:lnTo>
                    <a:pt x="630" y="30"/>
                  </a:lnTo>
                  <a:lnTo>
                    <a:pt x="636" y="24"/>
                  </a:lnTo>
                  <a:lnTo>
                    <a:pt x="642" y="24"/>
                  </a:lnTo>
                  <a:lnTo>
                    <a:pt x="648" y="24"/>
                  </a:lnTo>
                  <a:lnTo>
                    <a:pt x="648" y="18"/>
                  </a:lnTo>
                  <a:lnTo>
                    <a:pt x="654" y="12"/>
                  </a:lnTo>
                  <a:lnTo>
                    <a:pt x="660" y="0"/>
                  </a:lnTo>
                  <a:lnTo>
                    <a:pt x="678" y="0"/>
                  </a:lnTo>
                  <a:lnTo>
                    <a:pt x="696" y="0"/>
                  </a:lnTo>
                  <a:lnTo>
                    <a:pt x="702" y="0"/>
                  </a:lnTo>
                  <a:lnTo>
                    <a:pt x="714" y="0"/>
                  </a:lnTo>
                  <a:lnTo>
                    <a:pt x="720" y="6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44" y="24"/>
                  </a:lnTo>
                  <a:lnTo>
                    <a:pt x="744" y="30"/>
                  </a:lnTo>
                  <a:lnTo>
                    <a:pt x="732" y="42"/>
                  </a:lnTo>
                  <a:lnTo>
                    <a:pt x="726" y="42"/>
                  </a:lnTo>
                  <a:lnTo>
                    <a:pt x="720" y="42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54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90"/>
                  </a:lnTo>
                  <a:lnTo>
                    <a:pt x="726" y="84"/>
                  </a:lnTo>
                  <a:lnTo>
                    <a:pt x="738" y="84"/>
                  </a:lnTo>
                  <a:lnTo>
                    <a:pt x="750" y="96"/>
                  </a:lnTo>
                  <a:lnTo>
                    <a:pt x="768" y="96"/>
                  </a:lnTo>
                  <a:lnTo>
                    <a:pt x="768" y="90"/>
                  </a:lnTo>
                  <a:lnTo>
                    <a:pt x="774" y="84"/>
                  </a:lnTo>
                  <a:lnTo>
                    <a:pt x="780" y="78"/>
                  </a:lnTo>
                  <a:lnTo>
                    <a:pt x="786" y="78"/>
                  </a:lnTo>
                  <a:lnTo>
                    <a:pt x="792" y="72"/>
                  </a:lnTo>
                  <a:lnTo>
                    <a:pt x="804" y="72"/>
                  </a:lnTo>
                  <a:lnTo>
                    <a:pt x="804" y="66"/>
                  </a:lnTo>
                  <a:lnTo>
                    <a:pt x="810" y="66"/>
                  </a:lnTo>
                  <a:lnTo>
                    <a:pt x="810" y="72"/>
                  </a:lnTo>
                  <a:lnTo>
                    <a:pt x="816" y="66"/>
                  </a:lnTo>
                  <a:lnTo>
                    <a:pt x="828" y="66"/>
                  </a:lnTo>
                  <a:lnTo>
                    <a:pt x="834" y="72"/>
                  </a:lnTo>
                  <a:lnTo>
                    <a:pt x="840" y="72"/>
                  </a:lnTo>
                  <a:lnTo>
                    <a:pt x="840" y="78"/>
                  </a:lnTo>
                  <a:lnTo>
                    <a:pt x="840" y="84"/>
                  </a:lnTo>
                  <a:lnTo>
                    <a:pt x="852" y="84"/>
                  </a:lnTo>
                  <a:lnTo>
                    <a:pt x="858" y="96"/>
                  </a:lnTo>
                  <a:lnTo>
                    <a:pt x="864" y="108"/>
                  </a:lnTo>
                  <a:lnTo>
                    <a:pt x="876" y="114"/>
                  </a:lnTo>
                  <a:lnTo>
                    <a:pt x="894" y="114"/>
                  </a:lnTo>
                  <a:lnTo>
                    <a:pt x="906" y="114"/>
                  </a:lnTo>
                  <a:lnTo>
                    <a:pt x="906" y="126"/>
                  </a:lnTo>
                  <a:lnTo>
                    <a:pt x="912" y="144"/>
                  </a:lnTo>
                  <a:lnTo>
                    <a:pt x="930" y="138"/>
                  </a:lnTo>
                  <a:lnTo>
                    <a:pt x="936" y="138"/>
                  </a:lnTo>
                  <a:lnTo>
                    <a:pt x="942" y="144"/>
                  </a:lnTo>
                  <a:lnTo>
                    <a:pt x="948" y="150"/>
                  </a:lnTo>
                  <a:lnTo>
                    <a:pt x="954" y="156"/>
                  </a:lnTo>
                  <a:lnTo>
                    <a:pt x="954" y="168"/>
                  </a:lnTo>
                  <a:lnTo>
                    <a:pt x="954" y="174"/>
                  </a:lnTo>
                  <a:lnTo>
                    <a:pt x="960" y="180"/>
                  </a:lnTo>
                  <a:lnTo>
                    <a:pt x="966" y="186"/>
                  </a:lnTo>
                  <a:lnTo>
                    <a:pt x="960" y="186"/>
                  </a:lnTo>
                  <a:lnTo>
                    <a:pt x="966" y="192"/>
                  </a:lnTo>
                  <a:lnTo>
                    <a:pt x="966" y="198"/>
                  </a:lnTo>
                  <a:lnTo>
                    <a:pt x="978" y="204"/>
                  </a:lnTo>
                  <a:lnTo>
                    <a:pt x="1050" y="186"/>
                  </a:lnTo>
                  <a:lnTo>
                    <a:pt x="1056" y="198"/>
                  </a:lnTo>
                  <a:lnTo>
                    <a:pt x="1068" y="210"/>
                  </a:lnTo>
                  <a:lnTo>
                    <a:pt x="1074" y="216"/>
                  </a:lnTo>
                  <a:lnTo>
                    <a:pt x="1080" y="252"/>
                  </a:lnTo>
                  <a:lnTo>
                    <a:pt x="1086" y="270"/>
                  </a:lnTo>
                  <a:lnTo>
                    <a:pt x="1092" y="282"/>
                  </a:lnTo>
                  <a:lnTo>
                    <a:pt x="1086" y="300"/>
                  </a:lnTo>
                  <a:lnTo>
                    <a:pt x="1074" y="330"/>
                  </a:lnTo>
                  <a:lnTo>
                    <a:pt x="1068" y="336"/>
                  </a:lnTo>
                  <a:lnTo>
                    <a:pt x="1062" y="348"/>
                  </a:lnTo>
                  <a:lnTo>
                    <a:pt x="1062" y="360"/>
                  </a:lnTo>
                  <a:lnTo>
                    <a:pt x="1068" y="378"/>
                  </a:lnTo>
                  <a:lnTo>
                    <a:pt x="1074" y="390"/>
                  </a:lnTo>
                  <a:lnTo>
                    <a:pt x="1068" y="396"/>
                  </a:lnTo>
                  <a:lnTo>
                    <a:pt x="1068" y="408"/>
                  </a:lnTo>
                  <a:lnTo>
                    <a:pt x="1062" y="414"/>
                  </a:lnTo>
                  <a:lnTo>
                    <a:pt x="1050" y="432"/>
                  </a:lnTo>
                  <a:lnTo>
                    <a:pt x="1044" y="450"/>
                  </a:lnTo>
                  <a:lnTo>
                    <a:pt x="1038" y="456"/>
                  </a:lnTo>
                  <a:lnTo>
                    <a:pt x="1026" y="468"/>
                  </a:lnTo>
                  <a:lnTo>
                    <a:pt x="1026" y="474"/>
                  </a:lnTo>
                  <a:lnTo>
                    <a:pt x="1026" y="480"/>
                  </a:lnTo>
                  <a:lnTo>
                    <a:pt x="1032" y="492"/>
                  </a:lnTo>
                  <a:lnTo>
                    <a:pt x="1044" y="504"/>
                  </a:lnTo>
                  <a:lnTo>
                    <a:pt x="1044" y="516"/>
                  </a:lnTo>
                  <a:lnTo>
                    <a:pt x="1038" y="528"/>
                  </a:lnTo>
                  <a:lnTo>
                    <a:pt x="1032" y="546"/>
                  </a:lnTo>
                  <a:lnTo>
                    <a:pt x="1032" y="570"/>
                  </a:lnTo>
                  <a:lnTo>
                    <a:pt x="1050" y="594"/>
                  </a:lnTo>
                  <a:lnTo>
                    <a:pt x="1056" y="624"/>
                  </a:lnTo>
                  <a:lnTo>
                    <a:pt x="1056" y="65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9" name="Freeform 24">
              <a:extLst>
                <a:ext uri="{FF2B5EF4-FFF2-40B4-BE49-F238E27FC236}">
                  <a16:creationId xmlns:a16="http://schemas.microsoft.com/office/drawing/2014/main" id="{CAE689DA-332A-4F73-BDE6-8865C9170AA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84829" y="3213406"/>
              <a:ext cx="851989" cy="744754"/>
            </a:xfrm>
            <a:custGeom>
              <a:avLst/>
              <a:gdLst>
                <a:gd name="T0" fmla="*/ 116 w 1602"/>
                <a:gd name="T1" fmla="*/ 91 h 1404"/>
                <a:gd name="T2" fmla="*/ 111 w 1602"/>
                <a:gd name="T3" fmla="*/ 95 h 1404"/>
                <a:gd name="T4" fmla="*/ 102 w 1602"/>
                <a:gd name="T5" fmla="*/ 101 h 1404"/>
                <a:gd name="T6" fmla="*/ 99 w 1602"/>
                <a:gd name="T7" fmla="*/ 103 h 1404"/>
                <a:gd name="T8" fmla="*/ 96 w 1602"/>
                <a:gd name="T9" fmla="*/ 106 h 1404"/>
                <a:gd name="T10" fmla="*/ 93 w 1602"/>
                <a:gd name="T11" fmla="*/ 108 h 1404"/>
                <a:gd name="T12" fmla="*/ 88 w 1602"/>
                <a:gd name="T13" fmla="*/ 106 h 1404"/>
                <a:gd name="T14" fmla="*/ 86 w 1602"/>
                <a:gd name="T15" fmla="*/ 108 h 1404"/>
                <a:gd name="T16" fmla="*/ 81 w 1602"/>
                <a:gd name="T17" fmla="*/ 119 h 1404"/>
                <a:gd name="T18" fmla="*/ 71 w 1602"/>
                <a:gd name="T19" fmla="*/ 109 h 1404"/>
                <a:gd name="T20" fmla="*/ 72 w 1602"/>
                <a:gd name="T21" fmla="*/ 101 h 1404"/>
                <a:gd name="T22" fmla="*/ 74 w 1602"/>
                <a:gd name="T23" fmla="*/ 93 h 1404"/>
                <a:gd name="T24" fmla="*/ 73 w 1602"/>
                <a:gd name="T25" fmla="*/ 82 h 1404"/>
                <a:gd name="T26" fmla="*/ 64 w 1602"/>
                <a:gd name="T27" fmla="*/ 79 h 1404"/>
                <a:gd name="T28" fmla="*/ 59 w 1602"/>
                <a:gd name="T29" fmla="*/ 75 h 1404"/>
                <a:gd name="T30" fmla="*/ 54 w 1602"/>
                <a:gd name="T31" fmla="*/ 71 h 1404"/>
                <a:gd name="T32" fmla="*/ 51 w 1602"/>
                <a:gd name="T33" fmla="*/ 70 h 1404"/>
                <a:gd name="T34" fmla="*/ 45 w 1602"/>
                <a:gd name="T35" fmla="*/ 71 h 1404"/>
                <a:gd name="T36" fmla="*/ 43 w 1602"/>
                <a:gd name="T37" fmla="*/ 68 h 1404"/>
                <a:gd name="T38" fmla="*/ 43 w 1602"/>
                <a:gd name="T39" fmla="*/ 64 h 1404"/>
                <a:gd name="T40" fmla="*/ 36 w 1602"/>
                <a:gd name="T41" fmla="*/ 66 h 1404"/>
                <a:gd name="T42" fmla="*/ 31 w 1602"/>
                <a:gd name="T43" fmla="*/ 55 h 1404"/>
                <a:gd name="T44" fmla="*/ 25 w 1602"/>
                <a:gd name="T45" fmla="*/ 53 h 1404"/>
                <a:gd name="T46" fmla="*/ 19 w 1602"/>
                <a:gd name="T47" fmla="*/ 51 h 1404"/>
                <a:gd name="T48" fmla="*/ 17 w 1602"/>
                <a:gd name="T49" fmla="*/ 43 h 1404"/>
                <a:gd name="T50" fmla="*/ 17 w 1602"/>
                <a:gd name="T51" fmla="*/ 39 h 1404"/>
                <a:gd name="T52" fmla="*/ 12 w 1602"/>
                <a:gd name="T53" fmla="*/ 39 h 1404"/>
                <a:gd name="T54" fmla="*/ 10 w 1602"/>
                <a:gd name="T55" fmla="*/ 35 h 1404"/>
                <a:gd name="T56" fmla="*/ 5 w 1602"/>
                <a:gd name="T57" fmla="*/ 30 h 1404"/>
                <a:gd name="T58" fmla="*/ 3 w 1602"/>
                <a:gd name="T59" fmla="*/ 27 h 1404"/>
                <a:gd name="T60" fmla="*/ 2 w 1602"/>
                <a:gd name="T61" fmla="*/ 25 h 1404"/>
                <a:gd name="T62" fmla="*/ 0 w 1602"/>
                <a:gd name="T63" fmla="*/ 22 h 1404"/>
                <a:gd name="T64" fmla="*/ 8 w 1602"/>
                <a:gd name="T65" fmla="*/ 14 h 1404"/>
                <a:gd name="T66" fmla="*/ 16 w 1602"/>
                <a:gd name="T67" fmla="*/ 16 h 1404"/>
                <a:gd name="T68" fmla="*/ 31 w 1602"/>
                <a:gd name="T69" fmla="*/ 18 h 1404"/>
                <a:gd name="T70" fmla="*/ 43 w 1602"/>
                <a:gd name="T71" fmla="*/ 17 h 1404"/>
                <a:gd name="T72" fmla="*/ 47 w 1602"/>
                <a:gd name="T73" fmla="*/ 6 h 1404"/>
                <a:gd name="T74" fmla="*/ 52 w 1602"/>
                <a:gd name="T75" fmla="*/ 0 h 1404"/>
                <a:gd name="T76" fmla="*/ 55 w 1602"/>
                <a:gd name="T77" fmla="*/ 3 h 1404"/>
                <a:gd name="T78" fmla="*/ 59 w 1602"/>
                <a:gd name="T79" fmla="*/ 9 h 1404"/>
                <a:gd name="T80" fmla="*/ 62 w 1602"/>
                <a:gd name="T81" fmla="*/ 16 h 1404"/>
                <a:gd name="T82" fmla="*/ 66 w 1602"/>
                <a:gd name="T83" fmla="*/ 20 h 1404"/>
                <a:gd name="T84" fmla="*/ 70 w 1602"/>
                <a:gd name="T85" fmla="*/ 25 h 1404"/>
                <a:gd name="T86" fmla="*/ 74 w 1602"/>
                <a:gd name="T87" fmla="*/ 30 h 1404"/>
                <a:gd name="T88" fmla="*/ 76 w 1602"/>
                <a:gd name="T89" fmla="*/ 27 h 1404"/>
                <a:gd name="T90" fmla="*/ 78 w 1602"/>
                <a:gd name="T91" fmla="*/ 27 h 1404"/>
                <a:gd name="T92" fmla="*/ 78 w 1602"/>
                <a:gd name="T93" fmla="*/ 23 h 1404"/>
                <a:gd name="T94" fmla="*/ 82 w 1602"/>
                <a:gd name="T95" fmla="*/ 20 h 1404"/>
                <a:gd name="T96" fmla="*/ 82 w 1602"/>
                <a:gd name="T97" fmla="*/ 18 h 1404"/>
                <a:gd name="T98" fmla="*/ 90 w 1602"/>
                <a:gd name="T99" fmla="*/ 24 h 1404"/>
                <a:gd name="T100" fmla="*/ 90 w 1602"/>
                <a:gd name="T101" fmla="*/ 45 h 1404"/>
                <a:gd name="T102" fmla="*/ 104 w 1602"/>
                <a:gd name="T103" fmla="*/ 41 h 1404"/>
                <a:gd name="T104" fmla="*/ 117 w 1602"/>
                <a:gd name="T105" fmla="*/ 39 h 1404"/>
                <a:gd name="T106" fmla="*/ 125 w 1602"/>
                <a:gd name="T107" fmla="*/ 39 h 1404"/>
                <a:gd name="T108" fmla="*/ 127 w 1602"/>
                <a:gd name="T109" fmla="*/ 43 h 1404"/>
                <a:gd name="T110" fmla="*/ 131 w 1602"/>
                <a:gd name="T111" fmla="*/ 53 h 1404"/>
                <a:gd name="T112" fmla="*/ 133 w 1602"/>
                <a:gd name="T113" fmla="*/ 60 h 1404"/>
                <a:gd name="T114" fmla="*/ 138 w 1602"/>
                <a:gd name="T115" fmla="*/ 73 h 1404"/>
                <a:gd name="T116" fmla="*/ 136 w 1602"/>
                <a:gd name="T117" fmla="*/ 80 h 1404"/>
                <a:gd name="T118" fmla="*/ 129 w 1602"/>
                <a:gd name="T119" fmla="*/ 87 h 1404"/>
                <a:gd name="T120" fmla="*/ 123 w 1602"/>
                <a:gd name="T121" fmla="*/ 95 h 14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02"/>
                <a:gd name="T184" fmla="*/ 0 h 1404"/>
                <a:gd name="T185" fmla="*/ 1602 w 1602"/>
                <a:gd name="T186" fmla="*/ 1404 h 14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02" h="1404">
                  <a:moveTo>
                    <a:pt x="1392" y="1080"/>
                  </a:moveTo>
                  <a:lnTo>
                    <a:pt x="1380" y="1074"/>
                  </a:lnTo>
                  <a:lnTo>
                    <a:pt x="1368" y="1056"/>
                  </a:lnTo>
                  <a:lnTo>
                    <a:pt x="1356" y="1044"/>
                  </a:lnTo>
                  <a:lnTo>
                    <a:pt x="1344" y="1038"/>
                  </a:lnTo>
                  <a:lnTo>
                    <a:pt x="1338" y="1038"/>
                  </a:lnTo>
                  <a:lnTo>
                    <a:pt x="1332" y="1038"/>
                  </a:lnTo>
                  <a:lnTo>
                    <a:pt x="1326" y="1044"/>
                  </a:lnTo>
                  <a:lnTo>
                    <a:pt x="1320" y="1044"/>
                  </a:lnTo>
                  <a:lnTo>
                    <a:pt x="1314" y="1044"/>
                  </a:lnTo>
                  <a:lnTo>
                    <a:pt x="1296" y="1056"/>
                  </a:lnTo>
                  <a:lnTo>
                    <a:pt x="1296" y="1080"/>
                  </a:lnTo>
                  <a:lnTo>
                    <a:pt x="1290" y="1080"/>
                  </a:lnTo>
                  <a:lnTo>
                    <a:pt x="1284" y="1086"/>
                  </a:lnTo>
                  <a:lnTo>
                    <a:pt x="1278" y="1086"/>
                  </a:lnTo>
                  <a:lnTo>
                    <a:pt x="1278" y="1092"/>
                  </a:lnTo>
                  <a:lnTo>
                    <a:pt x="1272" y="1092"/>
                  </a:lnTo>
                  <a:lnTo>
                    <a:pt x="1266" y="1086"/>
                  </a:lnTo>
                  <a:lnTo>
                    <a:pt x="1260" y="1086"/>
                  </a:lnTo>
                  <a:lnTo>
                    <a:pt x="1260" y="1098"/>
                  </a:lnTo>
                  <a:lnTo>
                    <a:pt x="1248" y="1098"/>
                  </a:lnTo>
                  <a:lnTo>
                    <a:pt x="1212" y="1116"/>
                  </a:lnTo>
                  <a:lnTo>
                    <a:pt x="1206" y="1158"/>
                  </a:lnTo>
                  <a:lnTo>
                    <a:pt x="1176" y="1164"/>
                  </a:lnTo>
                  <a:lnTo>
                    <a:pt x="1158" y="1164"/>
                  </a:lnTo>
                  <a:lnTo>
                    <a:pt x="1152" y="1164"/>
                  </a:lnTo>
                  <a:lnTo>
                    <a:pt x="1152" y="1170"/>
                  </a:lnTo>
                  <a:lnTo>
                    <a:pt x="1152" y="1176"/>
                  </a:lnTo>
                  <a:lnTo>
                    <a:pt x="1146" y="1176"/>
                  </a:lnTo>
                  <a:lnTo>
                    <a:pt x="1140" y="1176"/>
                  </a:lnTo>
                  <a:lnTo>
                    <a:pt x="1134" y="1182"/>
                  </a:lnTo>
                  <a:lnTo>
                    <a:pt x="1134" y="1188"/>
                  </a:lnTo>
                  <a:lnTo>
                    <a:pt x="1128" y="1194"/>
                  </a:lnTo>
                  <a:lnTo>
                    <a:pt x="1122" y="1194"/>
                  </a:lnTo>
                  <a:lnTo>
                    <a:pt x="1116" y="1194"/>
                  </a:lnTo>
                  <a:lnTo>
                    <a:pt x="1110" y="1200"/>
                  </a:lnTo>
                  <a:lnTo>
                    <a:pt x="1110" y="1206"/>
                  </a:lnTo>
                  <a:lnTo>
                    <a:pt x="1104" y="1212"/>
                  </a:lnTo>
                  <a:lnTo>
                    <a:pt x="1104" y="1218"/>
                  </a:lnTo>
                  <a:lnTo>
                    <a:pt x="1098" y="1224"/>
                  </a:lnTo>
                  <a:lnTo>
                    <a:pt x="1092" y="1230"/>
                  </a:lnTo>
                  <a:lnTo>
                    <a:pt x="1086" y="1230"/>
                  </a:lnTo>
                  <a:lnTo>
                    <a:pt x="1080" y="1230"/>
                  </a:lnTo>
                  <a:lnTo>
                    <a:pt x="1080" y="1242"/>
                  </a:lnTo>
                  <a:lnTo>
                    <a:pt x="1074" y="1242"/>
                  </a:lnTo>
                  <a:lnTo>
                    <a:pt x="1068" y="1242"/>
                  </a:lnTo>
                  <a:lnTo>
                    <a:pt x="1068" y="1236"/>
                  </a:lnTo>
                  <a:lnTo>
                    <a:pt x="1062" y="1242"/>
                  </a:lnTo>
                  <a:lnTo>
                    <a:pt x="1056" y="1236"/>
                  </a:lnTo>
                  <a:lnTo>
                    <a:pt x="1050" y="1242"/>
                  </a:lnTo>
                  <a:lnTo>
                    <a:pt x="1050" y="1236"/>
                  </a:lnTo>
                  <a:lnTo>
                    <a:pt x="1044" y="1194"/>
                  </a:lnTo>
                  <a:lnTo>
                    <a:pt x="1032" y="1194"/>
                  </a:lnTo>
                  <a:lnTo>
                    <a:pt x="1032" y="1200"/>
                  </a:lnTo>
                  <a:lnTo>
                    <a:pt x="1026" y="1200"/>
                  </a:lnTo>
                  <a:lnTo>
                    <a:pt x="1014" y="1218"/>
                  </a:lnTo>
                  <a:lnTo>
                    <a:pt x="1014" y="1224"/>
                  </a:lnTo>
                  <a:lnTo>
                    <a:pt x="1014" y="1236"/>
                  </a:lnTo>
                  <a:lnTo>
                    <a:pt x="1014" y="1242"/>
                  </a:lnTo>
                  <a:lnTo>
                    <a:pt x="1008" y="1242"/>
                  </a:lnTo>
                  <a:lnTo>
                    <a:pt x="1002" y="1236"/>
                  </a:lnTo>
                  <a:lnTo>
                    <a:pt x="1002" y="1230"/>
                  </a:lnTo>
                  <a:lnTo>
                    <a:pt x="996" y="1236"/>
                  </a:lnTo>
                  <a:lnTo>
                    <a:pt x="990" y="1236"/>
                  </a:lnTo>
                  <a:lnTo>
                    <a:pt x="990" y="1230"/>
                  </a:lnTo>
                  <a:lnTo>
                    <a:pt x="984" y="1236"/>
                  </a:lnTo>
                  <a:lnTo>
                    <a:pt x="978" y="1248"/>
                  </a:lnTo>
                  <a:lnTo>
                    <a:pt x="972" y="1254"/>
                  </a:lnTo>
                  <a:lnTo>
                    <a:pt x="966" y="1260"/>
                  </a:lnTo>
                  <a:lnTo>
                    <a:pt x="930" y="1284"/>
                  </a:lnTo>
                  <a:lnTo>
                    <a:pt x="942" y="1356"/>
                  </a:lnTo>
                  <a:lnTo>
                    <a:pt x="930" y="1368"/>
                  </a:lnTo>
                  <a:lnTo>
                    <a:pt x="852" y="1404"/>
                  </a:lnTo>
                  <a:lnTo>
                    <a:pt x="834" y="1392"/>
                  </a:lnTo>
                  <a:lnTo>
                    <a:pt x="834" y="1362"/>
                  </a:lnTo>
                  <a:lnTo>
                    <a:pt x="828" y="1332"/>
                  </a:lnTo>
                  <a:lnTo>
                    <a:pt x="810" y="1308"/>
                  </a:lnTo>
                  <a:lnTo>
                    <a:pt x="810" y="1284"/>
                  </a:lnTo>
                  <a:lnTo>
                    <a:pt x="816" y="1266"/>
                  </a:lnTo>
                  <a:lnTo>
                    <a:pt x="822" y="1254"/>
                  </a:lnTo>
                  <a:lnTo>
                    <a:pt x="822" y="1242"/>
                  </a:lnTo>
                  <a:lnTo>
                    <a:pt x="810" y="1230"/>
                  </a:lnTo>
                  <a:lnTo>
                    <a:pt x="804" y="1218"/>
                  </a:lnTo>
                  <a:lnTo>
                    <a:pt x="804" y="1212"/>
                  </a:lnTo>
                  <a:lnTo>
                    <a:pt x="804" y="1206"/>
                  </a:lnTo>
                  <a:lnTo>
                    <a:pt x="816" y="1194"/>
                  </a:lnTo>
                  <a:lnTo>
                    <a:pt x="822" y="1188"/>
                  </a:lnTo>
                  <a:lnTo>
                    <a:pt x="828" y="1170"/>
                  </a:lnTo>
                  <a:lnTo>
                    <a:pt x="840" y="1152"/>
                  </a:lnTo>
                  <a:lnTo>
                    <a:pt x="846" y="1146"/>
                  </a:lnTo>
                  <a:lnTo>
                    <a:pt x="846" y="1134"/>
                  </a:lnTo>
                  <a:lnTo>
                    <a:pt x="852" y="1128"/>
                  </a:lnTo>
                  <a:lnTo>
                    <a:pt x="846" y="1116"/>
                  </a:lnTo>
                  <a:lnTo>
                    <a:pt x="840" y="1098"/>
                  </a:lnTo>
                  <a:lnTo>
                    <a:pt x="840" y="1086"/>
                  </a:lnTo>
                  <a:lnTo>
                    <a:pt x="846" y="1074"/>
                  </a:lnTo>
                  <a:lnTo>
                    <a:pt x="852" y="1068"/>
                  </a:lnTo>
                  <a:lnTo>
                    <a:pt x="864" y="1038"/>
                  </a:lnTo>
                  <a:lnTo>
                    <a:pt x="870" y="1020"/>
                  </a:lnTo>
                  <a:lnTo>
                    <a:pt x="864" y="1008"/>
                  </a:lnTo>
                  <a:lnTo>
                    <a:pt x="858" y="990"/>
                  </a:lnTo>
                  <a:lnTo>
                    <a:pt x="852" y="954"/>
                  </a:lnTo>
                  <a:lnTo>
                    <a:pt x="846" y="948"/>
                  </a:lnTo>
                  <a:lnTo>
                    <a:pt x="834" y="936"/>
                  </a:lnTo>
                  <a:lnTo>
                    <a:pt x="828" y="924"/>
                  </a:lnTo>
                  <a:lnTo>
                    <a:pt x="756" y="942"/>
                  </a:lnTo>
                  <a:lnTo>
                    <a:pt x="744" y="936"/>
                  </a:lnTo>
                  <a:lnTo>
                    <a:pt x="744" y="930"/>
                  </a:lnTo>
                  <a:lnTo>
                    <a:pt x="738" y="924"/>
                  </a:lnTo>
                  <a:lnTo>
                    <a:pt x="744" y="924"/>
                  </a:lnTo>
                  <a:lnTo>
                    <a:pt x="738" y="918"/>
                  </a:lnTo>
                  <a:lnTo>
                    <a:pt x="732" y="912"/>
                  </a:lnTo>
                  <a:lnTo>
                    <a:pt x="732" y="906"/>
                  </a:lnTo>
                  <a:lnTo>
                    <a:pt x="732" y="894"/>
                  </a:lnTo>
                  <a:lnTo>
                    <a:pt x="726" y="888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6"/>
                  </a:lnTo>
                  <a:lnTo>
                    <a:pt x="690" y="882"/>
                  </a:lnTo>
                  <a:lnTo>
                    <a:pt x="684" y="864"/>
                  </a:lnTo>
                  <a:lnTo>
                    <a:pt x="684" y="852"/>
                  </a:lnTo>
                  <a:lnTo>
                    <a:pt x="672" y="852"/>
                  </a:lnTo>
                  <a:lnTo>
                    <a:pt x="654" y="852"/>
                  </a:lnTo>
                  <a:lnTo>
                    <a:pt x="642" y="846"/>
                  </a:lnTo>
                  <a:lnTo>
                    <a:pt x="636" y="834"/>
                  </a:lnTo>
                  <a:lnTo>
                    <a:pt x="630" y="822"/>
                  </a:lnTo>
                  <a:lnTo>
                    <a:pt x="618" y="822"/>
                  </a:lnTo>
                  <a:lnTo>
                    <a:pt x="618" y="816"/>
                  </a:lnTo>
                  <a:lnTo>
                    <a:pt x="618" y="810"/>
                  </a:lnTo>
                  <a:lnTo>
                    <a:pt x="612" y="810"/>
                  </a:lnTo>
                  <a:lnTo>
                    <a:pt x="606" y="804"/>
                  </a:lnTo>
                  <a:lnTo>
                    <a:pt x="594" y="804"/>
                  </a:lnTo>
                  <a:lnTo>
                    <a:pt x="588" y="810"/>
                  </a:lnTo>
                  <a:lnTo>
                    <a:pt x="588" y="804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70" y="810"/>
                  </a:lnTo>
                  <a:lnTo>
                    <a:pt x="564" y="816"/>
                  </a:lnTo>
                  <a:lnTo>
                    <a:pt x="558" y="816"/>
                  </a:lnTo>
                  <a:lnTo>
                    <a:pt x="552" y="822"/>
                  </a:lnTo>
                  <a:lnTo>
                    <a:pt x="546" y="828"/>
                  </a:lnTo>
                  <a:lnTo>
                    <a:pt x="546" y="834"/>
                  </a:lnTo>
                  <a:lnTo>
                    <a:pt x="528" y="834"/>
                  </a:lnTo>
                  <a:lnTo>
                    <a:pt x="516" y="822"/>
                  </a:lnTo>
                  <a:lnTo>
                    <a:pt x="504" y="822"/>
                  </a:lnTo>
                  <a:lnTo>
                    <a:pt x="492" y="82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6" y="792"/>
                  </a:lnTo>
                  <a:lnTo>
                    <a:pt x="492" y="786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504" y="780"/>
                  </a:lnTo>
                  <a:lnTo>
                    <a:pt x="510" y="780"/>
                  </a:lnTo>
                  <a:lnTo>
                    <a:pt x="522" y="768"/>
                  </a:lnTo>
                  <a:lnTo>
                    <a:pt x="522" y="762"/>
                  </a:lnTo>
                  <a:lnTo>
                    <a:pt x="504" y="756"/>
                  </a:lnTo>
                  <a:lnTo>
                    <a:pt x="498" y="756"/>
                  </a:lnTo>
                  <a:lnTo>
                    <a:pt x="498" y="744"/>
                  </a:lnTo>
                  <a:lnTo>
                    <a:pt x="492" y="738"/>
                  </a:lnTo>
                  <a:lnTo>
                    <a:pt x="480" y="738"/>
                  </a:lnTo>
                  <a:lnTo>
                    <a:pt x="474" y="738"/>
                  </a:lnTo>
                  <a:lnTo>
                    <a:pt x="456" y="738"/>
                  </a:lnTo>
                  <a:lnTo>
                    <a:pt x="438" y="738"/>
                  </a:lnTo>
                  <a:lnTo>
                    <a:pt x="432" y="750"/>
                  </a:lnTo>
                  <a:lnTo>
                    <a:pt x="426" y="756"/>
                  </a:lnTo>
                  <a:lnTo>
                    <a:pt x="426" y="762"/>
                  </a:lnTo>
                  <a:lnTo>
                    <a:pt x="420" y="762"/>
                  </a:lnTo>
                  <a:lnTo>
                    <a:pt x="408" y="744"/>
                  </a:lnTo>
                  <a:lnTo>
                    <a:pt x="408" y="732"/>
                  </a:lnTo>
                  <a:lnTo>
                    <a:pt x="390" y="714"/>
                  </a:lnTo>
                  <a:lnTo>
                    <a:pt x="384" y="702"/>
                  </a:lnTo>
                  <a:lnTo>
                    <a:pt x="384" y="690"/>
                  </a:lnTo>
                  <a:lnTo>
                    <a:pt x="372" y="690"/>
                  </a:lnTo>
                  <a:lnTo>
                    <a:pt x="366" y="660"/>
                  </a:lnTo>
                  <a:lnTo>
                    <a:pt x="354" y="630"/>
                  </a:lnTo>
                  <a:lnTo>
                    <a:pt x="348" y="630"/>
                  </a:lnTo>
                  <a:lnTo>
                    <a:pt x="336" y="630"/>
                  </a:lnTo>
                  <a:lnTo>
                    <a:pt x="330" y="630"/>
                  </a:lnTo>
                  <a:lnTo>
                    <a:pt x="318" y="630"/>
                  </a:lnTo>
                  <a:lnTo>
                    <a:pt x="312" y="624"/>
                  </a:lnTo>
                  <a:lnTo>
                    <a:pt x="306" y="624"/>
                  </a:lnTo>
                  <a:lnTo>
                    <a:pt x="294" y="618"/>
                  </a:lnTo>
                  <a:lnTo>
                    <a:pt x="288" y="612"/>
                  </a:lnTo>
                  <a:lnTo>
                    <a:pt x="276" y="600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58" y="588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8"/>
                  </a:lnTo>
                  <a:lnTo>
                    <a:pt x="216" y="582"/>
                  </a:lnTo>
                  <a:lnTo>
                    <a:pt x="210" y="588"/>
                  </a:lnTo>
                  <a:lnTo>
                    <a:pt x="198" y="582"/>
                  </a:lnTo>
                  <a:lnTo>
                    <a:pt x="180" y="582"/>
                  </a:lnTo>
                  <a:lnTo>
                    <a:pt x="174" y="552"/>
                  </a:lnTo>
                  <a:lnTo>
                    <a:pt x="168" y="504"/>
                  </a:lnTo>
                  <a:lnTo>
                    <a:pt x="186" y="504"/>
                  </a:lnTo>
                  <a:lnTo>
                    <a:pt x="192" y="504"/>
                  </a:lnTo>
                  <a:lnTo>
                    <a:pt x="192" y="498"/>
                  </a:lnTo>
                  <a:lnTo>
                    <a:pt x="192" y="492"/>
                  </a:lnTo>
                  <a:lnTo>
                    <a:pt x="192" y="486"/>
                  </a:lnTo>
                  <a:lnTo>
                    <a:pt x="198" y="486"/>
                  </a:lnTo>
                  <a:lnTo>
                    <a:pt x="198" y="480"/>
                  </a:lnTo>
                  <a:lnTo>
                    <a:pt x="204" y="474"/>
                  </a:lnTo>
                  <a:lnTo>
                    <a:pt x="210" y="468"/>
                  </a:lnTo>
                  <a:lnTo>
                    <a:pt x="198" y="462"/>
                  </a:lnTo>
                  <a:lnTo>
                    <a:pt x="192" y="444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32"/>
                  </a:lnTo>
                  <a:lnTo>
                    <a:pt x="168" y="438"/>
                  </a:lnTo>
                  <a:lnTo>
                    <a:pt x="150" y="450"/>
                  </a:lnTo>
                  <a:lnTo>
                    <a:pt x="144" y="456"/>
                  </a:lnTo>
                  <a:lnTo>
                    <a:pt x="132" y="456"/>
                  </a:lnTo>
                  <a:lnTo>
                    <a:pt x="126" y="468"/>
                  </a:lnTo>
                  <a:lnTo>
                    <a:pt x="114" y="468"/>
                  </a:lnTo>
                  <a:lnTo>
                    <a:pt x="108" y="468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14"/>
                  </a:lnTo>
                  <a:lnTo>
                    <a:pt x="108" y="396"/>
                  </a:lnTo>
                  <a:lnTo>
                    <a:pt x="120" y="396"/>
                  </a:lnTo>
                  <a:lnTo>
                    <a:pt x="126" y="384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84" y="354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0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60" y="318"/>
                  </a:lnTo>
                  <a:lnTo>
                    <a:pt x="42" y="324"/>
                  </a:lnTo>
                  <a:lnTo>
                    <a:pt x="36" y="318"/>
                  </a:lnTo>
                  <a:lnTo>
                    <a:pt x="36" y="312"/>
                  </a:lnTo>
                  <a:lnTo>
                    <a:pt x="36" y="306"/>
                  </a:lnTo>
                  <a:lnTo>
                    <a:pt x="36" y="300"/>
                  </a:lnTo>
                  <a:lnTo>
                    <a:pt x="30" y="300"/>
                  </a:lnTo>
                  <a:lnTo>
                    <a:pt x="30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24" y="276"/>
                  </a:lnTo>
                  <a:lnTo>
                    <a:pt x="18" y="276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18" y="234"/>
                  </a:lnTo>
                  <a:lnTo>
                    <a:pt x="30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42" y="192"/>
                  </a:lnTo>
                  <a:lnTo>
                    <a:pt x="66" y="186"/>
                  </a:lnTo>
                  <a:lnTo>
                    <a:pt x="90" y="156"/>
                  </a:lnTo>
                  <a:lnTo>
                    <a:pt x="102" y="144"/>
                  </a:lnTo>
                  <a:lnTo>
                    <a:pt x="138" y="150"/>
                  </a:lnTo>
                  <a:lnTo>
                    <a:pt x="162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0" y="180"/>
                  </a:lnTo>
                  <a:lnTo>
                    <a:pt x="174" y="180"/>
                  </a:lnTo>
                  <a:lnTo>
                    <a:pt x="180" y="186"/>
                  </a:lnTo>
                  <a:lnTo>
                    <a:pt x="186" y="186"/>
                  </a:lnTo>
                  <a:lnTo>
                    <a:pt x="198" y="192"/>
                  </a:lnTo>
                  <a:lnTo>
                    <a:pt x="216" y="198"/>
                  </a:lnTo>
                  <a:lnTo>
                    <a:pt x="252" y="204"/>
                  </a:lnTo>
                  <a:lnTo>
                    <a:pt x="258" y="210"/>
                  </a:lnTo>
                  <a:lnTo>
                    <a:pt x="306" y="216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84" y="210"/>
                  </a:lnTo>
                  <a:lnTo>
                    <a:pt x="408" y="222"/>
                  </a:lnTo>
                  <a:lnTo>
                    <a:pt x="438" y="228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86" y="222"/>
                  </a:lnTo>
                  <a:lnTo>
                    <a:pt x="492" y="210"/>
                  </a:lnTo>
                  <a:lnTo>
                    <a:pt x="492" y="198"/>
                  </a:lnTo>
                  <a:lnTo>
                    <a:pt x="486" y="180"/>
                  </a:lnTo>
                  <a:lnTo>
                    <a:pt x="492" y="162"/>
                  </a:lnTo>
                  <a:lnTo>
                    <a:pt x="510" y="96"/>
                  </a:lnTo>
                  <a:lnTo>
                    <a:pt x="516" y="84"/>
                  </a:lnTo>
                  <a:lnTo>
                    <a:pt x="522" y="84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34" y="72"/>
                  </a:lnTo>
                  <a:lnTo>
                    <a:pt x="534" y="60"/>
                  </a:lnTo>
                  <a:lnTo>
                    <a:pt x="540" y="36"/>
                  </a:lnTo>
                  <a:lnTo>
                    <a:pt x="546" y="6"/>
                  </a:lnTo>
                  <a:lnTo>
                    <a:pt x="558" y="6"/>
                  </a:lnTo>
                  <a:lnTo>
                    <a:pt x="564" y="0"/>
                  </a:lnTo>
                  <a:lnTo>
                    <a:pt x="582" y="0"/>
                  </a:lnTo>
                  <a:lnTo>
                    <a:pt x="588" y="0"/>
                  </a:lnTo>
                  <a:lnTo>
                    <a:pt x="594" y="6"/>
                  </a:lnTo>
                  <a:lnTo>
                    <a:pt x="600" y="12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24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36" y="36"/>
                  </a:lnTo>
                  <a:lnTo>
                    <a:pt x="642" y="36"/>
                  </a:lnTo>
                  <a:lnTo>
                    <a:pt x="642" y="42"/>
                  </a:lnTo>
                  <a:lnTo>
                    <a:pt x="648" y="54"/>
                  </a:lnTo>
                  <a:lnTo>
                    <a:pt x="660" y="72"/>
                  </a:lnTo>
                  <a:lnTo>
                    <a:pt x="666" y="78"/>
                  </a:lnTo>
                  <a:lnTo>
                    <a:pt x="672" y="90"/>
                  </a:lnTo>
                  <a:lnTo>
                    <a:pt x="678" y="102"/>
                  </a:lnTo>
                  <a:lnTo>
                    <a:pt x="678" y="114"/>
                  </a:lnTo>
                  <a:lnTo>
                    <a:pt x="684" y="132"/>
                  </a:lnTo>
                  <a:lnTo>
                    <a:pt x="684" y="144"/>
                  </a:lnTo>
                  <a:lnTo>
                    <a:pt x="690" y="162"/>
                  </a:lnTo>
                  <a:lnTo>
                    <a:pt x="696" y="168"/>
                  </a:lnTo>
                  <a:lnTo>
                    <a:pt x="696" y="180"/>
                  </a:lnTo>
                  <a:lnTo>
                    <a:pt x="702" y="186"/>
                  </a:lnTo>
                  <a:lnTo>
                    <a:pt x="708" y="186"/>
                  </a:lnTo>
                  <a:lnTo>
                    <a:pt x="714" y="198"/>
                  </a:lnTo>
                  <a:lnTo>
                    <a:pt x="720" y="198"/>
                  </a:lnTo>
                  <a:lnTo>
                    <a:pt x="732" y="204"/>
                  </a:lnTo>
                  <a:lnTo>
                    <a:pt x="738" y="210"/>
                  </a:lnTo>
                  <a:lnTo>
                    <a:pt x="738" y="216"/>
                  </a:lnTo>
                  <a:lnTo>
                    <a:pt x="744" y="222"/>
                  </a:lnTo>
                  <a:lnTo>
                    <a:pt x="750" y="228"/>
                  </a:lnTo>
                  <a:lnTo>
                    <a:pt x="756" y="228"/>
                  </a:lnTo>
                  <a:lnTo>
                    <a:pt x="768" y="240"/>
                  </a:lnTo>
                  <a:lnTo>
                    <a:pt x="774" y="252"/>
                  </a:lnTo>
                  <a:lnTo>
                    <a:pt x="780" y="258"/>
                  </a:lnTo>
                  <a:lnTo>
                    <a:pt x="786" y="258"/>
                  </a:lnTo>
                  <a:lnTo>
                    <a:pt x="798" y="264"/>
                  </a:lnTo>
                  <a:lnTo>
                    <a:pt x="798" y="270"/>
                  </a:lnTo>
                  <a:lnTo>
                    <a:pt x="798" y="276"/>
                  </a:lnTo>
                  <a:lnTo>
                    <a:pt x="810" y="288"/>
                  </a:lnTo>
                  <a:lnTo>
                    <a:pt x="816" y="288"/>
                  </a:lnTo>
                  <a:lnTo>
                    <a:pt x="816" y="300"/>
                  </a:lnTo>
                  <a:lnTo>
                    <a:pt x="816" y="306"/>
                  </a:lnTo>
                  <a:lnTo>
                    <a:pt x="822" y="318"/>
                  </a:lnTo>
                  <a:lnTo>
                    <a:pt x="828" y="324"/>
                  </a:lnTo>
                  <a:lnTo>
                    <a:pt x="834" y="330"/>
                  </a:lnTo>
                  <a:lnTo>
                    <a:pt x="846" y="336"/>
                  </a:lnTo>
                  <a:lnTo>
                    <a:pt x="846" y="342"/>
                  </a:lnTo>
                  <a:lnTo>
                    <a:pt x="852" y="348"/>
                  </a:lnTo>
                  <a:lnTo>
                    <a:pt x="852" y="354"/>
                  </a:lnTo>
                  <a:lnTo>
                    <a:pt x="858" y="354"/>
                  </a:lnTo>
                  <a:lnTo>
                    <a:pt x="858" y="348"/>
                  </a:lnTo>
                  <a:lnTo>
                    <a:pt x="864" y="342"/>
                  </a:lnTo>
                  <a:lnTo>
                    <a:pt x="864" y="336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76" y="306"/>
                  </a:lnTo>
                  <a:lnTo>
                    <a:pt x="870" y="300"/>
                  </a:lnTo>
                  <a:lnTo>
                    <a:pt x="870" y="294"/>
                  </a:lnTo>
                  <a:lnTo>
                    <a:pt x="876" y="294"/>
                  </a:lnTo>
                  <a:lnTo>
                    <a:pt x="882" y="300"/>
                  </a:lnTo>
                  <a:lnTo>
                    <a:pt x="888" y="300"/>
                  </a:lnTo>
                  <a:lnTo>
                    <a:pt x="888" y="306"/>
                  </a:lnTo>
                  <a:lnTo>
                    <a:pt x="894" y="300"/>
                  </a:lnTo>
                  <a:lnTo>
                    <a:pt x="900" y="294"/>
                  </a:lnTo>
                  <a:lnTo>
                    <a:pt x="894" y="288"/>
                  </a:lnTo>
                  <a:lnTo>
                    <a:pt x="888" y="282"/>
                  </a:lnTo>
                  <a:lnTo>
                    <a:pt x="888" y="276"/>
                  </a:lnTo>
                  <a:lnTo>
                    <a:pt x="894" y="276"/>
                  </a:lnTo>
                  <a:lnTo>
                    <a:pt x="900" y="276"/>
                  </a:lnTo>
                  <a:lnTo>
                    <a:pt x="900" y="270"/>
                  </a:lnTo>
                  <a:lnTo>
                    <a:pt x="906" y="264"/>
                  </a:lnTo>
                  <a:lnTo>
                    <a:pt x="906" y="258"/>
                  </a:lnTo>
                  <a:lnTo>
                    <a:pt x="918" y="264"/>
                  </a:lnTo>
                  <a:lnTo>
                    <a:pt x="918" y="258"/>
                  </a:lnTo>
                  <a:lnTo>
                    <a:pt x="924" y="252"/>
                  </a:lnTo>
                  <a:lnTo>
                    <a:pt x="930" y="252"/>
                  </a:lnTo>
                  <a:lnTo>
                    <a:pt x="930" y="246"/>
                  </a:lnTo>
                  <a:lnTo>
                    <a:pt x="936" y="234"/>
                  </a:lnTo>
                  <a:lnTo>
                    <a:pt x="942" y="228"/>
                  </a:lnTo>
                  <a:lnTo>
                    <a:pt x="942" y="222"/>
                  </a:lnTo>
                  <a:lnTo>
                    <a:pt x="948" y="222"/>
                  </a:lnTo>
                  <a:lnTo>
                    <a:pt x="948" y="216"/>
                  </a:lnTo>
                  <a:lnTo>
                    <a:pt x="942" y="216"/>
                  </a:lnTo>
                  <a:lnTo>
                    <a:pt x="936" y="216"/>
                  </a:lnTo>
                  <a:lnTo>
                    <a:pt x="936" y="210"/>
                  </a:lnTo>
                  <a:lnTo>
                    <a:pt x="942" y="210"/>
                  </a:lnTo>
                  <a:lnTo>
                    <a:pt x="972" y="210"/>
                  </a:lnTo>
                  <a:lnTo>
                    <a:pt x="1032" y="216"/>
                  </a:lnTo>
                  <a:lnTo>
                    <a:pt x="1068" y="216"/>
                  </a:lnTo>
                  <a:lnTo>
                    <a:pt x="1056" y="234"/>
                  </a:lnTo>
                  <a:lnTo>
                    <a:pt x="1050" y="240"/>
                  </a:lnTo>
                  <a:lnTo>
                    <a:pt x="1044" y="246"/>
                  </a:lnTo>
                  <a:lnTo>
                    <a:pt x="1038" y="246"/>
                  </a:lnTo>
                  <a:lnTo>
                    <a:pt x="1026" y="282"/>
                  </a:lnTo>
                  <a:lnTo>
                    <a:pt x="1032" y="306"/>
                  </a:lnTo>
                  <a:lnTo>
                    <a:pt x="1044" y="324"/>
                  </a:lnTo>
                  <a:lnTo>
                    <a:pt x="1044" y="342"/>
                  </a:lnTo>
                  <a:lnTo>
                    <a:pt x="1062" y="366"/>
                  </a:lnTo>
                  <a:lnTo>
                    <a:pt x="1056" y="396"/>
                  </a:lnTo>
                  <a:lnTo>
                    <a:pt x="1038" y="462"/>
                  </a:lnTo>
                  <a:lnTo>
                    <a:pt x="1038" y="498"/>
                  </a:lnTo>
                  <a:lnTo>
                    <a:pt x="1038" y="522"/>
                  </a:lnTo>
                  <a:lnTo>
                    <a:pt x="1038" y="534"/>
                  </a:lnTo>
                  <a:lnTo>
                    <a:pt x="1056" y="522"/>
                  </a:lnTo>
                  <a:lnTo>
                    <a:pt x="1098" y="504"/>
                  </a:lnTo>
                  <a:lnTo>
                    <a:pt x="1104" y="498"/>
                  </a:lnTo>
                  <a:lnTo>
                    <a:pt x="1128" y="492"/>
                  </a:lnTo>
                  <a:lnTo>
                    <a:pt x="1152" y="480"/>
                  </a:lnTo>
                  <a:lnTo>
                    <a:pt x="1170" y="474"/>
                  </a:lnTo>
                  <a:lnTo>
                    <a:pt x="1188" y="468"/>
                  </a:lnTo>
                  <a:lnTo>
                    <a:pt x="1200" y="462"/>
                  </a:lnTo>
                  <a:lnTo>
                    <a:pt x="1224" y="450"/>
                  </a:lnTo>
                  <a:lnTo>
                    <a:pt x="1248" y="450"/>
                  </a:lnTo>
                  <a:lnTo>
                    <a:pt x="1266" y="450"/>
                  </a:lnTo>
                  <a:lnTo>
                    <a:pt x="1296" y="456"/>
                  </a:lnTo>
                  <a:lnTo>
                    <a:pt x="1308" y="456"/>
                  </a:lnTo>
                  <a:lnTo>
                    <a:pt x="1326" y="456"/>
                  </a:lnTo>
                  <a:lnTo>
                    <a:pt x="1338" y="456"/>
                  </a:lnTo>
                  <a:lnTo>
                    <a:pt x="1350" y="462"/>
                  </a:lnTo>
                  <a:lnTo>
                    <a:pt x="1356" y="462"/>
                  </a:lnTo>
                  <a:lnTo>
                    <a:pt x="1374" y="456"/>
                  </a:lnTo>
                  <a:lnTo>
                    <a:pt x="1386" y="456"/>
                  </a:lnTo>
                  <a:lnTo>
                    <a:pt x="1392" y="456"/>
                  </a:lnTo>
                  <a:lnTo>
                    <a:pt x="1398" y="456"/>
                  </a:lnTo>
                  <a:lnTo>
                    <a:pt x="1422" y="456"/>
                  </a:lnTo>
                  <a:lnTo>
                    <a:pt x="1440" y="456"/>
                  </a:lnTo>
                  <a:lnTo>
                    <a:pt x="1446" y="456"/>
                  </a:lnTo>
                  <a:lnTo>
                    <a:pt x="1476" y="456"/>
                  </a:lnTo>
                  <a:lnTo>
                    <a:pt x="1470" y="468"/>
                  </a:lnTo>
                  <a:lnTo>
                    <a:pt x="1470" y="474"/>
                  </a:lnTo>
                  <a:lnTo>
                    <a:pt x="1470" y="486"/>
                  </a:lnTo>
                  <a:lnTo>
                    <a:pt x="1464" y="492"/>
                  </a:lnTo>
                  <a:lnTo>
                    <a:pt x="1464" y="498"/>
                  </a:lnTo>
                  <a:lnTo>
                    <a:pt x="1458" y="498"/>
                  </a:lnTo>
                  <a:lnTo>
                    <a:pt x="1458" y="510"/>
                  </a:lnTo>
                  <a:lnTo>
                    <a:pt x="1452" y="522"/>
                  </a:lnTo>
                  <a:lnTo>
                    <a:pt x="1458" y="528"/>
                  </a:lnTo>
                  <a:lnTo>
                    <a:pt x="1464" y="546"/>
                  </a:lnTo>
                  <a:lnTo>
                    <a:pt x="1470" y="552"/>
                  </a:lnTo>
                  <a:lnTo>
                    <a:pt x="1476" y="564"/>
                  </a:lnTo>
                  <a:lnTo>
                    <a:pt x="1488" y="588"/>
                  </a:lnTo>
                  <a:lnTo>
                    <a:pt x="1506" y="606"/>
                  </a:lnTo>
                  <a:lnTo>
                    <a:pt x="1506" y="612"/>
                  </a:lnTo>
                  <a:lnTo>
                    <a:pt x="1518" y="618"/>
                  </a:lnTo>
                  <a:lnTo>
                    <a:pt x="1512" y="630"/>
                  </a:lnTo>
                  <a:lnTo>
                    <a:pt x="1518" y="642"/>
                  </a:lnTo>
                  <a:lnTo>
                    <a:pt x="1518" y="648"/>
                  </a:lnTo>
                  <a:lnTo>
                    <a:pt x="1530" y="666"/>
                  </a:lnTo>
                  <a:lnTo>
                    <a:pt x="1518" y="672"/>
                  </a:lnTo>
                  <a:lnTo>
                    <a:pt x="1524" y="696"/>
                  </a:lnTo>
                  <a:lnTo>
                    <a:pt x="1518" y="732"/>
                  </a:lnTo>
                  <a:lnTo>
                    <a:pt x="1524" y="762"/>
                  </a:lnTo>
                  <a:lnTo>
                    <a:pt x="1524" y="780"/>
                  </a:lnTo>
                  <a:lnTo>
                    <a:pt x="1524" y="810"/>
                  </a:lnTo>
                  <a:lnTo>
                    <a:pt x="1530" y="834"/>
                  </a:lnTo>
                  <a:lnTo>
                    <a:pt x="1536" y="846"/>
                  </a:lnTo>
                  <a:lnTo>
                    <a:pt x="1542" y="846"/>
                  </a:lnTo>
                  <a:lnTo>
                    <a:pt x="1584" y="840"/>
                  </a:lnTo>
                  <a:lnTo>
                    <a:pt x="1590" y="846"/>
                  </a:lnTo>
                  <a:lnTo>
                    <a:pt x="1596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90" y="864"/>
                  </a:lnTo>
                  <a:lnTo>
                    <a:pt x="1578" y="882"/>
                  </a:lnTo>
                  <a:lnTo>
                    <a:pt x="1572" y="906"/>
                  </a:lnTo>
                  <a:lnTo>
                    <a:pt x="1560" y="924"/>
                  </a:lnTo>
                  <a:lnTo>
                    <a:pt x="1560" y="936"/>
                  </a:lnTo>
                  <a:lnTo>
                    <a:pt x="1548" y="960"/>
                  </a:lnTo>
                  <a:lnTo>
                    <a:pt x="1542" y="978"/>
                  </a:lnTo>
                  <a:lnTo>
                    <a:pt x="1536" y="990"/>
                  </a:lnTo>
                  <a:lnTo>
                    <a:pt x="1530" y="990"/>
                  </a:lnTo>
                  <a:lnTo>
                    <a:pt x="1506" y="996"/>
                  </a:lnTo>
                  <a:lnTo>
                    <a:pt x="1494" y="1002"/>
                  </a:lnTo>
                  <a:lnTo>
                    <a:pt x="1482" y="1002"/>
                  </a:lnTo>
                  <a:lnTo>
                    <a:pt x="1464" y="1008"/>
                  </a:lnTo>
                  <a:lnTo>
                    <a:pt x="1446" y="1026"/>
                  </a:lnTo>
                  <a:lnTo>
                    <a:pt x="1440" y="1026"/>
                  </a:lnTo>
                  <a:lnTo>
                    <a:pt x="1434" y="1038"/>
                  </a:lnTo>
                  <a:lnTo>
                    <a:pt x="1428" y="1044"/>
                  </a:lnTo>
                  <a:lnTo>
                    <a:pt x="1428" y="1062"/>
                  </a:lnTo>
                  <a:lnTo>
                    <a:pt x="1428" y="1086"/>
                  </a:lnTo>
                  <a:lnTo>
                    <a:pt x="1416" y="1092"/>
                  </a:lnTo>
                  <a:lnTo>
                    <a:pt x="1410" y="1080"/>
                  </a:lnTo>
                  <a:lnTo>
                    <a:pt x="1392" y="108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0" name="Freeform 25">
              <a:extLst>
                <a:ext uri="{FF2B5EF4-FFF2-40B4-BE49-F238E27FC236}">
                  <a16:creationId xmlns:a16="http://schemas.microsoft.com/office/drawing/2014/main" id="{39FDFF90-5ACF-4D65-81AD-C44D2CBE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70228" y="3063559"/>
              <a:ext cx="644023" cy="704498"/>
            </a:xfrm>
            <a:custGeom>
              <a:avLst/>
              <a:gdLst>
                <a:gd name="T0" fmla="*/ 74 w 1212"/>
                <a:gd name="T1" fmla="*/ 113 h 1326"/>
                <a:gd name="T2" fmla="*/ 60 w 1212"/>
                <a:gd name="T3" fmla="*/ 116 h 1326"/>
                <a:gd name="T4" fmla="*/ 62 w 1212"/>
                <a:gd name="T5" fmla="*/ 110 h 1326"/>
                <a:gd name="T6" fmla="*/ 60 w 1212"/>
                <a:gd name="T7" fmla="*/ 105 h 1326"/>
                <a:gd name="T8" fmla="*/ 52 w 1212"/>
                <a:gd name="T9" fmla="*/ 96 h 1326"/>
                <a:gd name="T10" fmla="*/ 47 w 1212"/>
                <a:gd name="T11" fmla="*/ 98 h 1326"/>
                <a:gd name="T12" fmla="*/ 44 w 1212"/>
                <a:gd name="T13" fmla="*/ 93 h 1326"/>
                <a:gd name="T14" fmla="*/ 40 w 1212"/>
                <a:gd name="T15" fmla="*/ 96 h 1326"/>
                <a:gd name="T16" fmla="*/ 35 w 1212"/>
                <a:gd name="T17" fmla="*/ 102 h 1326"/>
                <a:gd name="T18" fmla="*/ 27 w 1212"/>
                <a:gd name="T19" fmla="*/ 100 h 1326"/>
                <a:gd name="T20" fmla="*/ 23 w 1212"/>
                <a:gd name="T21" fmla="*/ 96 h 1326"/>
                <a:gd name="T22" fmla="*/ 20 w 1212"/>
                <a:gd name="T23" fmla="*/ 90 h 1326"/>
                <a:gd name="T24" fmla="*/ 18 w 1212"/>
                <a:gd name="T25" fmla="*/ 89 h 1326"/>
                <a:gd name="T26" fmla="*/ 18 w 1212"/>
                <a:gd name="T27" fmla="*/ 85 h 1326"/>
                <a:gd name="T28" fmla="*/ 19 w 1212"/>
                <a:gd name="T29" fmla="*/ 83 h 1326"/>
                <a:gd name="T30" fmla="*/ 19 w 1212"/>
                <a:gd name="T31" fmla="*/ 82 h 1326"/>
                <a:gd name="T32" fmla="*/ 20 w 1212"/>
                <a:gd name="T33" fmla="*/ 79 h 1326"/>
                <a:gd name="T34" fmla="*/ 19 w 1212"/>
                <a:gd name="T35" fmla="*/ 75 h 1326"/>
                <a:gd name="T36" fmla="*/ 17 w 1212"/>
                <a:gd name="T37" fmla="*/ 77 h 1326"/>
                <a:gd name="T38" fmla="*/ 14 w 1212"/>
                <a:gd name="T39" fmla="*/ 76 h 1326"/>
                <a:gd name="T40" fmla="*/ 12 w 1212"/>
                <a:gd name="T41" fmla="*/ 71 h 1326"/>
                <a:gd name="T42" fmla="*/ 8 w 1212"/>
                <a:gd name="T43" fmla="*/ 69 h 1326"/>
                <a:gd name="T44" fmla="*/ 0 w 1212"/>
                <a:gd name="T45" fmla="*/ 72 h 1326"/>
                <a:gd name="T46" fmla="*/ 2 w 1212"/>
                <a:gd name="T47" fmla="*/ 67 h 1326"/>
                <a:gd name="T48" fmla="*/ 3 w 1212"/>
                <a:gd name="T49" fmla="*/ 61 h 1326"/>
                <a:gd name="T50" fmla="*/ 4 w 1212"/>
                <a:gd name="T51" fmla="*/ 56 h 1326"/>
                <a:gd name="T52" fmla="*/ 4 w 1212"/>
                <a:gd name="T53" fmla="*/ 52 h 1326"/>
                <a:gd name="T54" fmla="*/ 2 w 1212"/>
                <a:gd name="T55" fmla="*/ 47 h 1326"/>
                <a:gd name="T56" fmla="*/ 2 w 1212"/>
                <a:gd name="T57" fmla="*/ 42 h 1326"/>
                <a:gd name="T58" fmla="*/ 5 w 1212"/>
                <a:gd name="T59" fmla="*/ 39 h 1326"/>
                <a:gd name="T60" fmla="*/ 5 w 1212"/>
                <a:gd name="T61" fmla="*/ 35 h 1326"/>
                <a:gd name="T62" fmla="*/ 7 w 1212"/>
                <a:gd name="T63" fmla="*/ 31 h 1326"/>
                <a:gd name="T64" fmla="*/ 14 w 1212"/>
                <a:gd name="T65" fmla="*/ 31 h 1326"/>
                <a:gd name="T66" fmla="*/ 18 w 1212"/>
                <a:gd name="T67" fmla="*/ 27 h 1326"/>
                <a:gd name="T68" fmla="*/ 22 w 1212"/>
                <a:gd name="T69" fmla="*/ 24 h 1326"/>
                <a:gd name="T70" fmla="*/ 27 w 1212"/>
                <a:gd name="T71" fmla="*/ 20 h 1326"/>
                <a:gd name="T72" fmla="*/ 35 w 1212"/>
                <a:gd name="T73" fmla="*/ 21 h 1326"/>
                <a:gd name="T74" fmla="*/ 61 w 1212"/>
                <a:gd name="T75" fmla="*/ 8 h 1326"/>
                <a:gd name="T76" fmla="*/ 73 w 1212"/>
                <a:gd name="T77" fmla="*/ 4 h 1326"/>
                <a:gd name="T78" fmla="*/ 86 w 1212"/>
                <a:gd name="T79" fmla="*/ 12 h 1326"/>
                <a:gd name="T80" fmla="*/ 92 w 1212"/>
                <a:gd name="T81" fmla="*/ 13 h 1326"/>
                <a:gd name="T82" fmla="*/ 86 w 1212"/>
                <a:gd name="T83" fmla="*/ 18 h 1326"/>
                <a:gd name="T84" fmla="*/ 88 w 1212"/>
                <a:gd name="T85" fmla="*/ 33 h 1326"/>
                <a:gd name="T86" fmla="*/ 97 w 1212"/>
                <a:gd name="T87" fmla="*/ 49 h 1326"/>
                <a:gd name="T88" fmla="*/ 102 w 1212"/>
                <a:gd name="T89" fmla="*/ 57 h 1326"/>
                <a:gd name="T90" fmla="*/ 104 w 1212"/>
                <a:gd name="T91" fmla="*/ 67 h 1326"/>
                <a:gd name="T92" fmla="*/ 101 w 1212"/>
                <a:gd name="T93" fmla="*/ 69 h 1326"/>
                <a:gd name="T94" fmla="*/ 97 w 1212"/>
                <a:gd name="T95" fmla="*/ 69 h 1326"/>
                <a:gd name="T96" fmla="*/ 96 w 1212"/>
                <a:gd name="T97" fmla="*/ 71 h 1326"/>
                <a:gd name="T98" fmla="*/ 93 w 1212"/>
                <a:gd name="T99" fmla="*/ 70 h 1326"/>
                <a:gd name="T100" fmla="*/ 86 w 1212"/>
                <a:gd name="T101" fmla="*/ 69 h 1326"/>
                <a:gd name="T102" fmla="*/ 82 w 1212"/>
                <a:gd name="T103" fmla="*/ 73 h 1326"/>
                <a:gd name="T104" fmla="*/ 79 w 1212"/>
                <a:gd name="T105" fmla="*/ 74 h 1326"/>
                <a:gd name="T106" fmla="*/ 78 w 1212"/>
                <a:gd name="T107" fmla="*/ 79 h 1326"/>
                <a:gd name="T108" fmla="*/ 78 w 1212"/>
                <a:gd name="T109" fmla="*/ 83 h 1326"/>
                <a:gd name="T110" fmla="*/ 82 w 1212"/>
                <a:gd name="T111" fmla="*/ 87 h 1326"/>
                <a:gd name="T112" fmla="*/ 83 w 1212"/>
                <a:gd name="T113" fmla="*/ 90 h 1326"/>
                <a:gd name="T114" fmla="*/ 82 w 1212"/>
                <a:gd name="T115" fmla="*/ 94 h 1326"/>
                <a:gd name="T116" fmla="*/ 82 w 1212"/>
                <a:gd name="T117" fmla="*/ 98 h 1326"/>
                <a:gd name="T118" fmla="*/ 82 w 1212"/>
                <a:gd name="T119" fmla="*/ 104 h 1326"/>
                <a:gd name="T120" fmla="*/ 78 w 1212"/>
                <a:gd name="T121" fmla="*/ 110 h 132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12"/>
                <a:gd name="T184" fmla="*/ 0 h 1326"/>
                <a:gd name="T185" fmla="*/ 1212 w 1212"/>
                <a:gd name="T186" fmla="*/ 1326 h 132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12" h="1326">
                  <a:moveTo>
                    <a:pt x="906" y="1290"/>
                  </a:moveTo>
                  <a:lnTo>
                    <a:pt x="906" y="1296"/>
                  </a:lnTo>
                  <a:lnTo>
                    <a:pt x="900" y="1296"/>
                  </a:lnTo>
                  <a:lnTo>
                    <a:pt x="876" y="1290"/>
                  </a:lnTo>
                  <a:lnTo>
                    <a:pt x="870" y="1290"/>
                  </a:lnTo>
                  <a:lnTo>
                    <a:pt x="864" y="1296"/>
                  </a:lnTo>
                  <a:lnTo>
                    <a:pt x="852" y="1296"/>
                  </a:lnTo>
                  <a:lnTo>
                    <a:pt x="840" y="1302"/>
                  </a:lnTo>
                  <a:lnTo>
                    <a:pt x="834" y="1308"/>
                  </a:lnTo>
                  <a:lnTo>
                    <a:pt x="822" y="1320"/>
                  </a:lnTo>
                  <a:lnTo>
                    <a:pt x="816" y="1320"/>
                  </a:lnTo>
                  <a:lnTo>
                    <a:pt x="732" y="1320"/>
                  </a:lnTo>
                  <a:lnTo>
                    <a:pt x="696" y="1320"/>
                  </a:lnTo>
                  <a:lnTo>
                    <a:pt x="690" y="1326"/>
                  </a:lnTo>
                  <a:lnTo>
                    <a:pt x="678" y="1326"/>
                  </a:lnTo>
                  <a:lnTo>
                    <a:pt x="672" y="1308"/>
                  </a:lnTo>
                  <a:lnTo>
                    <a:pt x="696" y="1302"/>
                  </a:lnTo>
                  <a:lnTo>
                    <a:pt x="708" y="1296"/>
                  </a:lnTo>
                  <a:lnTo>
                    <a:pt x="720" y="1284"/>
                  </a:lnTo>
                  <a:lnTo>
                    <a:pt x="714" y="1278"/>
                  </a:lnTo>
                  <a:lnTo>
                    <a:pt x="714" y="1266"/>
                  </a:lnTo>
                  <a:lnTo>
                    <a:pt x="708" y="1260"/>
                  </a:lnTo>
                  <a:lnTo>
                    <a:pt x="708" y="1254"/>
                  </a:lnTo>
                  <a:lnTo>
                    <a:pt x="708" y="1248"/>
                  </a:lnTo>
                  <a:lnTo>
                    <a:pt x="702" y="1236"/>
                  </a:lnTo>
                  <a:lnTo>
                    <a:pt x="702" y="1230"/>
                  </a:lnTo>
                  <a:lnTo>
                    <a:pt x="702" y="1218"/>
                  </a:lnTo>
                  <a:lnTo>
                    <a:pt x="696" y="1200"/>
                  </a:lnTo>
                  <a:lnTo>
                    <a:pt x="696" y="1182"/>
                  </a:lnTo>
                  <a:lnTo>
                    <a:pt x="666" y="1182"/>
                  </a:lnTo>
                  <a:lnTo>
                    <a:pt x="672" y="1134"/>
                  </a:lnTo>
                  <a:lnTo>
                    <a:pt x="666" y="1128"/>
                  </a:lnTo>
                  <a:lnTo>
                    <a:pt x="660" y="1092"/>
                  </a:lnTo>
                  <a:lnTo>
                    <a:pt x="654" y="1098"/>
                  </a:lnTo>
                  <a:lnTo>
                    <a:pt x="594" y="1098"/>
                  </a:lnTo>
                  <a:lnTo>
                    <a:pt x="576" y="1098"/>
                  </a:lnTo>
                  <a:lnTo>
                    <a:pt x="570" y="1104"/>
                  </a:lnTo>
                  <a:lnTo>
                    <a:pt x="564" y="1110"/>
                  </a:lnTo>
                  <a:lnTo>
                    <a:pt x="558" y="1110"/>
                  </a:lnTo>
                  <a:lnTo>
                    <a:pt x="552" y="1110"/>
                  </a:lnTo>
                  <a:lnTo>
                    <a:pt x="546" y="1110"/>
                  </a:lnTo>
                  <a:lnTo>
                    <a:pt x="546" y="1116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10" y="1128"/>
                  </a:lnTo>
                  <a:lnTo>
                    <a:pt x="522" y="1104"/>
                  </a:lnTo>
                  <a:lnTo>
                    <a:pt x="510" y="1098"/>
                  </a:lnTo>
                  <a:lnTo>
                    <a:pt x="510" y="1074"/>
                  </a:lnTo>
                  <a:lnTo>
                    <a:pt x="504" y="1068"/>
                  </a:lnTo>
                  <a:lnTo>
                    <a:pt x="498" y="1068"/>
                  </a:lnTo>
                  <a:lnTo>
                    <a:pt x="492" y="1068"/>
                  </a:lnTo>
                  <a:lnTo>
                    <a:pt x="474" y="1080"/>
                  </a:lnTo>
                  <a:lnTo>
                    <a:pt x="474" y="1086"/>
                  </a:lnTo>
                  <a:lnTo>
                    <a:pt x="474" y="1092"/>
                  </a:lnTo>
                  <a:lnTo>
                    <a:pt x="468" y="1098"/>
                  </a:lnTo>
                  <a:lnTo>
                    <a:pt x="462" y="1104"/>
                  </a:lnTo>
                  <a:lnTo>
                    <a:pt x="456" y="1110"/>
                  </a:lnTo>
                  <a:lnTo>
                    <a:pt x="456" y="1122"/>
                  </a:lnTo>
                  <a:lnTo>
                    <a:pt x="456" y="1128"/>
                  </a:lnTo>
                  <a:lnTo>
                    <a:pt x="450" y="1140"/>
                  </a:lnTo>
                  <a:lnTo>
                    <a:pt x="444" y="1146"/>
                  </a:lnTo>
                  <a:lnTo>
                    <a:pt x="426" y="1170"/>
                  </a:lnTo>
                  <a:lnTo>
                    <a:pt x="408" y="1176"/>
                  </a:lnTo>
                  <a:lnTo>
                    <a:pt x="402" y="1170"/>
                  </a:lnTo>
                  <a:lnTo>
                    <a:pt x="396" y="1170"/>
                  </a:lnTo>
                  <a:lnTo>
                    <a:pt x="396" y="1158"/>
                  </a:lnTo>
                  <a:lnTo>
                    <a:pt x="384" y="1152"/>
                  </a:lnTo>
                  <a:lnTo>
                    <a:pt x="372" y="1140"/>
                  </a:lnTo>
                  <a:lnTo>
                    <a:pt x="354" y="1140"/>
                  </a:lnTo>
                  <a:lnTo>
                    <a:pt x="306" y="1146"/>
                  </a:lnTo>
                  <a:lnTo>
                    <a:pt x="294" y="1134"/>
                  </a:lnTo>
                  <a:lnTo>
                    <a:pt x="294" y="1128"/>
                  </a:lnTo>
                  <a:lnTo>
                    <a:pt x="288" y="1122"/>
                  </a:lnTo>
                  <a:lnTo>
                    <a:pt x="276" y="1122"/>
                  </a:lnTo>
                  <a:lnTo>
                    <a:pt x="276" y="1110"/>
                  </a:lnTo>
                  <a:lnTo>
                    <a:pt x="276" y="1104"/>
                  </a:lnTo>
                  <a:lnTo>
                    <a:pt x="270" y="1098"/>
                  </a:lnTo>
                  <a:lnTo>
                    <a:pt x="264" y="1086"/>
                  </a:lnTo>
                  <a:lnTo>
                    <a:pt x="264" y="1074"/>
                  </a:lnTo>
                  <a:lnTo>
                    <a:pt x="258" y="1068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34" y="1038"/>
                  </a:lnTo>
                  <a:lnTo>
                    <a:pt x="228" y="1038"/>
                  </a:lnTo>
                  <a:lnTo>
                    <a:pt x="222" y="1038"/>
                  </a:lnTo>
                  <a:lnTo>
                    <a:pt x="216" y="1038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0"/>
                  </a:lnTo>
                  <a:lnTo>
                    <a:pt x="204" y="1014"/>
                  </a:lnTo>
                  <a:lnTo>
                    <a:pt x="204" y="1008"/>
                  </a:lnTo>
                  <a:lnTo>
                    <a:pt x="198" y="1002"/>
                  </a:lnTo>
                  <a:lnTo>
                    <a:pt x="198" y="996"/>
                  </a:lnTo>
                  <a:lnTo>
                    <a:pt x="198" y="990"/>
                  </a:lnTo>
                  <a:lnTo>
                    <a:pt x="204" y="990"/>
                  </a:lnTo>
                  <a:lnTo>
                    <a:pt x="204" y="984"/>
                  </a:lnTo>
                  <a:lnTo>
                    <a:pt x="210" y="978"/>
                  </a:lnTo>
                  <a:lnTo>
                    <a:pt x="210" y="972"/>
                  </a:lnTo>
                  <a:lnTo>
                    <a:pt x="210" y="966"/>
                  </a:lnTo>
                  <a:lnTo>
                    <a:pt x="216" y="960"/>
                  </a:lnTo>
                  <a:lnTo>
                    <a:pt x="216" y="954"/>
                  </a:lnTo>
                  <a:lnTo>
                    <a:pt x="210" y="954"/>
                  </a:lnTo>
                  <a:lnTo>
                    <a:pt x="204" y="954"/>
                  </a:lnTo>
                  <a:lnTo>
                    <a:pt x="216" y="954"/>
                  </a:lnTo>
                  <a:lnTo>
                    <a:pt x="216" y="948"/>
                  </a:lnTo>
                  <a:lnTo>
                    <a:pt x="210" y="948"/>
                  </a:lnTo>
                  <a:lnTo>
                    <a:pt x="210" y="942"/>
                  </a:lnTo>
                  <a:lnTo>
                    <a:pt x="216" y="942"/>
                  </a:lnTo>
                  <a:lnTo>
                    <a:pt x="222" y="942"/>
                  </a:lnTo>
                  <a:lnTo>
                    <a:pt x="222" y="936"/>
                  </a:lnTo>
                  <a:lnTo>
                    <a:pt x="216" y="936"/>
                  </a:lnTo>
                  <a:lnTo>
                    <a:pt x="210" y="936"/>
                  </a:lnTo>
                  <a:lnTo>
                    <a:pt x="210" y="930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22" y="918"/>
                  </a:lnTo>
                  <a:lnTo>
                    <a:pt x="228" y="912"/>
                  </a:lnTo>
                  <a:lnTo>
                    <a:pt x="228" y="906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2" y="888"/>
                  </a:lnTo>
                  <a:lnTo>
                    <a:pt x="222" y="882"/>
                  </a:lnTo>
                  <a:lnTo>
                    <a:pt x="222" y="876"/>
                  </a:lnTo>
                  <a:lnTo>
                    <a:pt x="222" y="858"/>
                  </a:lnTo>
                  <a:lnTo>
                    <a:pt x="216" y="858"/>
                  </a:lnTo>
                  <a:lnTo>
                    <a:pt x="216" y="852"/>
                  </a:lnTo>
                  <a:lnTo>
                    <a:pt x="210" y="852"/>
                  </a:lnTo>
                  <a:lnTo>
                    <a:pt x="210" y="840"/>
                  </a:lnTo>
                  <a:lnTo>
                    <a:pt x="198" y="840"/>
                  </a:lnTo>
                  <a:lnTo>
                    <a:pt x="198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0" y="894"/>
                  </a:lnTo>
                  <a:lnTo>
                    <a:pt x="180" y="906"/>
                  </a:lnTo>
                  <a:lnTo>
                    <a:pt x="156" y="912"/>
                  </a:lnTo>
                  <a:lnTo>
                    <a:pt x="156" y="894"/>
                  </a:lnTo>
                  <a:lnTo>
                    <a:pt x="156" y="882"/>
                  </a:lnTo>
                  <a:lnTo>
                    <a:pt x="156" y="876"/>
                  </a:lnTo>
                  <a:lnTo>
                    <a:pt x="150" y="876"/>
                  </a:lnTo>
                  <a:lnTo>
                    <a:pt x="144" y="876"/>
                  </a:lnTo>
                  <a:lnTo>
                    <a:pt x="138" y="870"/>
                  </a:lnTo>
                  <a:lnTo>
                    <a:pt x="132" y="864"/>
                  </a:lnTo>
                  <a:lnTo>
                    <a:pt x="138" y="840"/>
                  </a:lnTo>
                  <a:lnTo>
                    <a:pt x="132" y="840"/>
                  </a:lnTo>
                  <a:lnTo>
                    <a:pt x="138" y="810"/>
                  </a:lnTo>
                  <a:lnTo>
                    <a:pt x="144" y="804"/>
                  </a:lnTo>
                  <a:lnTo>
                    <a:pt x="144" y="798"/>
                  </a:lnTo>
                  <a:lnTo>
                    <a:pt x="156" y="798"/>
                  </a:lnTo>
                  <a:lnTo>
                    <a:pt x="156" y="792"/>
                  </a:lnTo>
                  <a:lnTo>
                    <a:pt x="120" y="792"/>
                  </a:lnTo>
                  <a:lnTo>
                    <a:pt x="108" y="786"/>
                  </a:lnTo>
                  <a:lnTo>
                    <a:pt x="96" y="786"/>
                  </a:lnTo>
                  <a:lnTo>
                    <a:pt x="96" y="780"/>
                  </a:lnTo>
                  <a:lnTo>
                    <a:pt x="78" y="780"/>
                  </a:lnTo>
                  <a:lnTo>
                    <a:pt x="72" y="804"/>
                  </a:lnTo>
                  <a:lnTo>
                    <a:pt x="60" y="816"/>
                  </a:lnTo>
                  <a:lnTo>
                    <a:pt x="36" y="828"/>
                  </a:lnTo>
                  <a:lnTo>
                    <a:pt x="18" y="840"/>
                  </a:lnTo>
                  <a:lnTo>
                    <a:pt x="0" y="822"/>
                  </a:lnTo>
                  <a:lnTo>
                    <a:pt x="6" y="816"/>
                  </a:lnTo>
                  <a:lnTo>
                    <a:pt x="12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18" y="786"/>
                  </a:lnTo>
                  <a:lnTo>
                    <a:pt x="24" y="780"/>
                  </a:lnTo>
                  <a:lnTo>
                    <a:pt x="24" y="768"/>
                  </a:lnTo>
                  <a:lnTo>
                    <a:pt x="24" y="762"/>
                  </a:lnTo>
                  <a:lnTo>
                    <a:pt x="24" y="750"/>
                  </a:lnTo>
                  <a:lnTo>
                    <a:pt x="36" y="714"/>
                  </a:lnTo>
                  <a:lnTo>
                    <a:pt x="36" y="708"/>
                  </a:lnTo>
                  <a:lnTo>
                    <a:pt x="42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6" y="690"/>
                  </a:lnTo>
                  <a:lnTo>
                    <a:pt x="42" y="684"/>
                  </a:lnTo>
                  <a:lnTo>
                    <a:pt x="42" y="672"/>
                  </a:lnTo>
                  <a:lnTo>
                    <a:pt x="42" y="666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48" y="648"/>
                  </a:lnTo>
                  <a:lnTo>
                    <a:pt x="54" y="642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54" y="612"/>
                  </a:lnTo>
                  <a:lnTo>
                    <a:pt x="48" y="606"/>
                  </a:lnTo>
                  <a:lnTo>
                    <a:pt x="48" y="600"/>
                  </a:lnTo>
                  <a:lnTo>
                    <a:pt x="42" y="600"/>
                  </a:lnTo>
                  <a:lnTo>
                    <a:pt x="36" y="594"/>
                  </a:lnTo>
                  <a:lnTo>
                    <a:pt x="36" y="588"/>
                  </a:lnTo>
                  <a:lnTo>
                    <a:pt x="30" y="582"/>
                  </a:lnTo>
                  <a:lnTo>
                    <a:pt x="30" y="570"/>
                  </a:lnTo>
                  <a:lnTo>
                    <a:pt x="18" y="552"/>
                  </a:lnTo>
                  <a:lnTo>
                    <a:pt x="18" y="546"/>
                  </a:lnTo>
                  <a:lnTo>
                    <a:pt x="18" y="540"/>
                  </a:lnTo>
                  <a:lnTo>
                    <a:pt x="18" y="528"/>
                  </a:lnTo>
                  <a:lnTo>
                    <a:pt x="18" y="522"/>
                  </a:lnTo>
                  <a:lnTo>
                    <a:pt x="24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30" y="474"/>
                  </a:lnTo>
                  <a:lnTo>
                    <a:pt x="36" y="474"/>
                  </a:lnTo>
                  <a:lnTo>
                    <a:pt x="42" y="468"/>
                  </a:lnTo>
                  <a:lnTo>
                    <a:pt x="48" y="468"/>
                  </a:lnTo>
                  <a:lnTo>
                    <a:pt x="48" y="462"/>
                  </a:lnTo>
                  <a:lnTo>
                    <a:pt x="48" y="456"/>
                  </a:lnTo>
                  <a:lnTo>
                    <a:pt x="54" y="450"/>
                  </a:lnTo>
                  <a:lnTo>
                    <a:pt x="60" y="438"/>
                  </a:lnTo>
                  <a:lnTo>
                    <a:pt x="54" y="438"/>
                  </a:lnTo>
                  <a:lnTo>
                    <a:pt x="54" y="432"/>
                  </a:ln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54" y="402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6" y="384"/>
                  </a:lnTo>
                  <a:lnTo>
                    <a:pt x="72" y="372"/>
                  </a:lnTo>
                  <a:lnTo>
                    <a:pt x="78" y="366"/>
                  </a:lnTo>
                  <a:lnTo>
                    <a:pt x="84" y="360"/>
                  </a:lnTo>
                  <a:lnTo>
                    <a:pt x="102" y="360"/>
                  </a:lnTo>
                  <a:lnTo>
                    <a:pt x="114" y="36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8" y="360"/>
                  </a:lnTo>
                  <a:lnTo>
                    <a:pt x="156" y="360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74" y="342"/>
                  </a:lnTo>
                  <a:lnTo>
                    <a:pt x="180" y="342"/>
                  </a:lnTo>
                  <a:lnTo>
                    <a:pt x="186" y="336"/>
                  </a:lnTo>
                  <a:lnTo>
                    <a:pt x="192" y="330"/>
                  </a:lnTo>
                  <a:lnTo>
                    <a:pt x="204" y="312"/>
                  </a:lnTo>
                  <a:lnTo>
                    <a:pt x="210" y="312"/>
                  </a:lnTo>
                  <a:lnTo>
                    <a:pt x="216" y="306"/>
                  </a:lnTo>
                  <a:lnTo>
                    <a:pt x="216" y="300"/>
                  </a:lnTo>
                  <a:lnTo>
                    <a:pt x="222" y="288"/>
                  </a:lnTo>
                  <a:lnTo>
                    <a:pt x="234" y="288"/>
                  </a:lnTo>
                  <a:lnTo>
                    <a:pt x="240" y="282"/>
                  </a:lnTo>
                  <a:lnTo>
                    <a:pt x="246" y="282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70" y="270"/>
                  </a:lnTo>
                  <a:lnTo>
                    <a:pt x="276" y="264"/>
                  </a:lnTo>
                  <a:lnTo>
                    <a:pt x="282" y="26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8" y="234"/>
                  </a:lnTo>
                  <a:lnTo>
                    <a:pt x="330" y="234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72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14" y="240"/>
                  </a:lnTo>
                  <a:lnTo>
                    <a:pt x="444" y="216"/>
                  </a:lnTo>
                  <a:lnTo>
                    <a:pt x="480" y="204"/>
                  </a:lnTo>
                  <a:lnTo>
                    <a:pt x="600" y="150"/>
                  </a:lnTo>
                  <a:lnTo>
                    <a:pt x="648" y="126"/>
                  </a:lnTo>
                  <a:lnTo>
                    <a:pt x="702" y="96"/>
                  </a:lnTo>
                  <a:lnTo>
                    <a:pt x="708" y="54"/>
                  </a:lnTo>
                  <a:lnTo>
                    <a:pt x="720" y="24"/>
                  </a:lnTo>
                  <a:lnTo>
                    <a:pt x="738" y="12"/>
                  </a:lnTo>
                  <a:lnTo>
                    <a:pt x="768" y="0"/>
                  </a:lnTo>
                  <a:lnTo>
                    <a:pt x="792" y="6"/>
                  </a:lnTo>
                  <a:lnTo>
                    <a:pt x="804" y="12"/>
                  </a:lnTo>
                  <a:lnTo>
                    <a:pt x="834" y="48"/>
                  </a:lnTo>
                  <a:lnTo>
                    <a:pt x="834" y="60"/>
                  </a:lnTo>
                  <a:lnTo>
                    <a:pt x="852" y="84"/>
                  </a:lnTo>
                  <a:lnTo>
                    <a:pt x="864" y="96"/>
                  </a:lnTo>
                  <a:lnTo>
                    <a:pt x="888" y="102"/>
                  </a:lnTo>
                  <a:lnTo>
                    <a:pt x="978" y="120"/>
                  </a:lnTo>
                  <a:lnTo>
                    <a:pt x="984" y="126"/>
                  </a:lnTo>
                  <a:lnTo>
                    <a:pt x="984" y="132"/>
                  </a:lnTo>
                  <a:lnTo>
                    <a:pt x="996" y="138"/>
                  </a:lnTo>
                  <a:lnTo>
                    <a:pt x="1038" y="126"/>
                  </a:lnTo>
                  <a:lnTo>
                    <a:pt x="1056" y="114"/>
                  </a:lnTo>
                  <a:lnTo>
                    <a:pt x="1068" y="126"/>
                  </a:lnTo>
                  <a:lnTo>
                    <a:pt x="1074" y="132"/>
                  </a:lnTo>
                  <a:lnTo>
                    <a:pt x="1068" y="138"/>
                  </a:lnTo>
                  <a:lnTo>
                    <a:pt x="1056" y="150"/>
                  </a:lnTo>
                  <a:lnTo>
                    <a:pt x="1038" y="162"/>
                  </a:lnTo>
                  <a:lnTo>
                    <a:pt x="1038" y="168"/>
                  </a:lnTo>
                  <a:lnTo>
                    <a:pt x="1020" y="174"/>
                  </a:lnTo>
                  <a:lnTo>
                    <a:pt x="1014" y="180"/>
                  </a:lnTo>
                  <a:lnTo>
                    <a:pt x="1008" y="186"/>
                  </a:lnTo>
                  <a:lnTo>
                    <a:pt x="1002" y="198"/>
                  </a:lnTo>
                  <a:lnTo>
                    <a:pt x="984" y="204"/>
                  </a:lnTo>
                  <a:lnTo>
                    <a:pt x="984" y="246"/>
                  </a:lnTo>
                  <a:lnTo>
                    <a:pt x="978" y="270"/>
                  </a:lnTo>
                  <a:lnTo>
                    <a:pt x="990" y="306"/>
                  </a:lnTo>
                  <a:lnTo>
                    <a:pt x="990" y="324"/>
                  </a:lnTo>
                  <a:lnTo>
                    <a:pt x="1002" y="336"/>
                  </a:lnTo>
                  <a:lnTo>
                    <a:pt x="1020" y="372"/>
                  </a:lnTo>
                  <a:lnTo>
                    <a:pt x="1014" y="378"/>
                  </a:lnTo>
                  <a:lnTo>
                    <a:pt x="1014" y="384"/>
                  </a:lnTo>
                  <a:lnTo>
                    <a:pt x="1020" y="384"/>
                  </a:lnTo>
                  <a:lnTo>
                    <a:pt x="1020" y="396"/>
                  </a:lnTo>
                  <a:lnTo>
                    <a:pt x="1062" y="468"/>
                  </a:lnTo>
                  <a:lnTo>
                    <a:pt x="1092" y="522"/>
                  </a:lnTo>
                  <a:lnTo>
                    <a:pt x="1110" y="546"/>
                  </a:lnTo>
                  <a:lnTo>
                    <a:pt x="1122" y="564"/>
                  </a:lnTo>
                  <a:lnTo>
                    <a:pt x="1134" y="576"/>
                  </a:lnTo>
                  <a:lnTo>
                    <a:pt x="1146" y="582"/>
                  </a:lnTo>
                  <a:lnTo>
                    <a:pt x="1146" y="588"/>
                  </a:lnTo>
                  <a:lnTo>
                    <a:pt x="1164" y="600"/>
                  </a:lnTo>
                  <a:lnTo>
                    <a:pt x="1170" y="612"/>
                  </a:lnTo>
                  <a:lnTo>
                    <a:pt x="1170" y="624"/>
                  </a:lnTo>
                  <a:lnTo>
                    <a:pt x="1176" y="654"/>
                  </a:lnTo>
                  <a:lnTo>
                    <a:pt x="1176" y="666"/>
                  </a:lnTo>
                  <a:lnTo>
                    <a:pt x="1182" y="684"/>
                  </a:lnTo>
                  <a:lnTo>
                    <a:pt x="1194" y="696"/>
                  </a:lnTo>
                  <a:lnTo>
                    <a:pt x="1212" y="696"/>
                  </a:lnTo>
                  <a:lnTo>
                    <a:pt x="1206" y="762"/>
                  </a:lnTo>
                  <a:lnTo>
                    <a:pt x="1200" y="768"/>
                  </a:lnTo>
                  <a:lnTo>
                    <a:pt x="1194" y="768"/>
                  </a:lnTo>
                  <a:lnTo>
                    <a:pt x="1194" y="774"/>
                  </a:lnTo>
                  <a:lnTo>
                    <a:pt x="1188" y="774"/>
                  </a:lnTo>
                  <a:lnTo>
                    <a:pt x="1182" y="780"/>
                  </a:lnTo>
                  <a:lnTo>
                    <a:pt x="1176" y="780"/>
                  </a:lnTo>
                  <a:lnTo>
                    <a:pt x="1170" y="780"/>
                  </a:lnTo>
                  <a:lnTo>
                    <a:pt x="1164" y="786"/>
                  </a:lnTo>
                  <a:lnTo>
                    <a:pt x="1158" y="786"/>
                  </a:lnTo>
                  <a:lnTo>
                    <a:pt x="1152" y="786"/>
                  </a:lnTo>
                  <a:lnTo>
                    <a:pt x="1140" y="786"/>
                  </a:lnTo>
                  <a:lnTo>
                    <a:pt x="1134" y="786"/>
                  </a:lnTo>
                  <a:lnTo>
                    <a:pt x="1134" y="780"/>
                  </a:lnTo>
                  <a:lnTo>
                    <a:pt x="1122" y="780"/>
                  </a:lnTo>
                  <a:lnTo>
                    <a:pt x="1116" y="786"/>
                  </a:lnTo>
                  <a:lnTo>
                    <a:pt x="1116" y="792"/>
                  </a:lnTo>
                  <a:lnTo>
                    <a:pt x="1122" y="804"/>
                  </a:lnTo>
                  <a:lnTo>
                    <a:pt x="1128" y="804"/>
                  </a:lnTo>
                  <a:lnTo>
                    <a:pt x="1128" y="816"/>
                  </a:lnTo>
                  <a:lnTo>
                    <a:pt x="1122" y="822"/>
                  </a:lnTo>
                  <a:lnTo>
                    <a:pt x="1116" y="816"/>
                  </a:lnTo>
                  <a:lnTo>
                    <a:pt x="1110" y="816"/>
                  </a:lnTo>
                  <a:lnTo>
                    <a:pt x="1104" y="816"/>
                  </a:lnTo>
                  <a:lnTo>
                    <a:pt x="1098" y="816"/>
                  </a:lnTo>
                  <a:lnTo>
                    <a:pt x="1098" y="822"/>
                  </a:lnTo>
                  <a:lnTo>
                    <a:pt x="1092" y="834"/>
                  </a:lnTo>
                  <a:lnTo>
                    <a:pt x="1092" y="840"/>
                  </a:lnTo>
                  <a:lnTo>
                    <a:pt x="1074" y="840"/>
                  </a:lnTo>
                  <a:lnTo>
                    <a:pt x="1074" y="828"/>
                  </a:lnTo>
                  <a:lnTo>
                    <a:pt x="1062" y="804"/>
                  </a:lnTo>
                  <a:lnTo>
                    <a:pt x="1056" y="792"/>
                  </a:lnTo>
                  <a:lnTo>
                    <a:pt x="1056" y="786"/>
                  </a:lnTo>
                  <a:lnTo>
                    <a:pt x="1026" y="780"/>
                  </a:lnTo>
                  <a:lnTo>
                    <a:pt x="1026" y="768"/>
                  </a:lnTo>
                  <a:lnTo>
                    <a:pt x="1008" y="768"/>
                  </a:lnTo>
                  <a:lnTo>
                    <a:pt x="1002" y="780"/>
                  </a:lnTo>
                  <a:lnTo>
                    <a:pt x="996" y="792"/>
                  </a:lnTo>
                  <a:lnTo>
                    <a:pt x="978" y="798"/>
                  </a:lnTo>
                  <a:lnTo>
                    <a:pt x="972" y="810"/>
                  </a:lnTo>
                  <a:lnTo>
                    <a:pt x="972" y="822"/>
                  </a:lnTo>
                  <a:lnTo>
                    <a:pt x="978" y="828"/>
                  </a:lnTo>
                  <a:lnTo>
                    <a:pt x="978" y="834"/>
                  </a:lnTo>
                  <a:lnTo>
                    <a:pt x="960" y="840"/>
                  </a:lnTo>
                  <a:lnTo>
                    <a:pt x="936" y="840"/>
                  </a:lnTo>
                  <a:lnTo>
                    <a:pt x="918" y="846"/>
                  </a:lnTo>
                  <a:lnTo>
                    <a:pt x="912" y="840"/>
                  </a:lnTo>
                  <a:lnTo>
                    <a:pt x="912" y="834"/>
                  </a:lnTo>
                  <a:lnTo>
                    <a:pt x="906" y="834"/>
                  </a:lnTo>
                  <a:lnTo>
                    <a:pt x="906" y="840"/>
                  </a:lnTo>
                  <a:lnTo>
                    <a:pt x="900" y="846"/>
                  </a:lnTo>
                  <a:lnTo>
                    <a:pt x="906" y="852"/>
                  </a:lnTo>
                  <a:lnTo>
                    <a:pt x="900" y="864"/>
                  </a:lnTo>
                  <a:lnTo>
                    <a:pt x="900" y="876"/>
                  </a:lnTo>
                  <a:lnTo>
                    <a:pt x="900" y="882"/>
                  </a:lnTo>
                  <a:lnTo>
                    <a:pt x="894" y="888"/>
                  </a:lnTo>
                  <a:lnTo>
                    <a:pt x="900" y="900"/>
                  </a:lnTo>
                  <a:lnTo>
                    <a:pt x="900" y="906"/>
                  </a:lnTo>
                  <a:lnTo>
                    <a:pt x="894" y="906"/>
                  </a:lnTo>
                  <a:lnTo>
                    <a:pt x="894" y="912"/>
                  </a:lnTo>
                  <a:lnTo>
                    <a:pt x="900" y="918"/>
                  </a:lnTo>
                  <a:lnTo>
                    <a:pt x="900" y="924"/>
                  </a:lnTo>
                  <a:lnTo>
                    <a:pt x="900" y="948"/>
                  </a:lnTo>
                  <a:lnTo>
                    <a:pt x="888" y="948"/>
                  </a:lnTo>
                  <a:lnTo>
                    <a:pt x="888" y="954"/>
                  </a:lnTo>
                  <a:lnTo>
                    <a:pt x="894" y="954"/>
                  </a:lnTo>
                  <a:lnTo>
                    <a:pt x="900" y="960"/>
                  </a:lnTo>
                  <a:lnTo>
                    <a:pt x="900" y="972"/>
                  </a:lnTo>
                  <a:lnTo>
                    <a:pt x="906" y="984"/>
                  </a:lnTo>
                  <a:lnTo>
                    <a:pt x="912" y="984"/>
                  </a:lnTo>
                  <a:lnTo>
                    <a:pt x="918" y="990"/>
                  </a:lnTo>
                  <a:lnTo>
                    <a:pt x="936" y="990"/>
                  </a:lnTo>
                  <a:lnTo>
                    <a:pt x="936" y="996"/>
                  </a:lnTo>
                  <a:lnTo>
                    <a:pt x="942" y="996"/>
                  </a:lnTo>
                  <a:lnTo>
                    <a:pt x="942" y="1002"/>
                  </a:lnTo>
                  <a:lnTo>
                    <a:pt x="942" y="1008"/>
                  </a:lnTo>
                  <a:lnTo>
                    <a:pt x="948" y="1008"/>
                  </a:lnTo>
                  <a:lnTo>
                    <a:pt x="948" y="1014"/>
                  </a:lnTo>
                  <a:lnTo>
                    <a:pt x="948" y="1020"/>
                  </a:lnTo>
                  <a:lnTo>
                    <a:pt x="954" y="1032"/>
                  </a:lnTo>
                  <a:lnTo>
                    <a:pt x="948" y="1038"/>
                  </a:lnTo>
                  <a:lnTo>
                    <a:pt x="954" y="1044"/>
                  </a:lnTo>
                  <a:lnTo>
                    <a:pt x="954" y="1056"/>
                  </a:lnTo>
                  <a:lnTo>
                    <a:pt x="960" y="1056"/>
                  </a:lnTo>
                  <a:lnTo>
                    <a:pt x="960" y="1062"/>
                  </a:lnTo>
                  <a:lnTo>
                    <a:pt x="954" y="1068"/>
                  </a:lnTo>
                  <a:lnTo>
                    <a:pt x="948" y="1074"/>
                  </a:lnTo>
                  <a:lnTo>
                    <a:pt x="948" y="1080"/>
                  </a:lnTo>
                  <a:lnTo>
                    <a:pt x="948" y="1086"/>
                  </a:lnTo>
                  <a:lnTo>
                    <a:pt x="942" y="1092"/>
                  </a:lnTo>
                  <a:lnTo>
                    <a:pt x="942" y="1098"/>
                  </a:lnTo>
                  <a:lnTo>
                    <a:pt x="942" y="1104"/>
                  </a:lnTo>
                  <a:lnTo>
                    <a:pt x="942" y="1110"/>
                  </a:lnTo>
                  <a:lnTo>
                    <a:pt x="936" y="1116"/>
                  </a:lnTo>
                  <a:lnTo>
                    <a:pt x="936" y="1122"/>
                  </a:lnTo>
                  <a:lnTo>
                    <a:pt x="936" y="1128"/>
                  </a:lnTo>
                  <a:lnTo>
                    <a:pt x="936" y="1134"/>
                  </a:lnTo>
                  <a:lnTo>
                    <a:pt x="942" y="1146"/>
                  </a:lnTo>
                  <a:lnTo>
                    <a:pt x="936" y="1158"/>
                  </a:lnTo>
                  <a:lnTo>
                    <a:pt x="936" y="1170"/>
                  </a:lnTo>
                  <a:lnTo>
                    <a:pt x="936" y="1194"/>
                  </a:lnTo>
                  <a:lnTo>
                    <a:pt x="930" y="1200"/>
                  </a:lnTo>
                  <a:lnTo>
                    <a:pt x="930" y="1212"/>
                  </a:lnTo>
                  <a:lnTo>
                    <a:pt x="918" y="1218"/>
                  </a:lnTo>
                  <a:lnTo>
                    <a:pt x="918" y="1230"/>
                  </a:lnTo>
                  <a:lnTo>
                    <a:pt x="906" y="1230"/>
                  </a:lnTo>
                  <a:lnTo>
                    <a:pt x="900" y="1254"/>
                  </a:lnTo>
                  <a:lnTo>
                    <a:pt x="900" y="1260"/>
                  </a:lnTo>
                  <a:lnTo>
                    <a:pt x="900" y="1266"/>
                  </a:lnTo>
                  <a:lnTo>
                    <a:pt x="900" y="1272"/>
                  </a:lnTo>
                  <a:lnTo>
                    <a:pt x="900" y="1278"/>
                  </a:lnTo>
                  <a:lnTo>
                    <a:pt x="900" y="1284"/>
                  </a:lnTo>
                  <a:lnTo>
                    <a:pt x="906" y="129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1" name="Freeform 26">
              <a:extLst>
                <a:ext uri="{FF2B5EF4-FFF2-40B4-BE49-F238E27FC236}">
                  <a16:creationId xmlns:a16="http://schemas.microsoft.com/office/drawing/2014/main" id="{25725EFE-FE00-49A8-A87A-6752B785C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79173" y="3477313"/>
              <a:ext cx="650731" cy="559125"/>
            </a:xfrm>
            <a:custGeom>
              <a:avLst/>
              <a:gdLst>
                <a:gd name="T0" fmla="*/ 95 w 1224"/>
                <a:gd name="T1" fmla="*/ 89 h 1050"/>
                <a:gd name="T2" fmla="*/ 90 w 1224"/>
                <a:gd name="T3" fmla="*/ 84 h 1050"/>
                <a:gd name="T4" fmla="*/ 84 w 1224"/>
                <a:gd name="T5" fmla="*/ 83 h 1050"/>
                <a:gd name="T6" fmla="*/ 82 w 1224"/>
                <a:gd name="T7" fmla="*/ 80 h 1050"/>
                <a:gd name="T8" fmla="*/ 85 w 1224"/>
                <a:gd name="T9" fmla="*/ 77 h 1050"/>
                <a:gd name="T10" fmla="*/ 81 w 1224"/>
                <a:gd name="T11" fmla="*/ 76 h 1050"/>
                <a:gd name="T12" fmla="*/ 77 w 1224"/>
                <a:gd name="T13" fmla="*/ 77 h 1050"/>
                <a:gd name="T14" fmla="*/ 78 w 1224"/>
                <a:gd name="T15" fmla="*/ 73 h 1050"/>
                <a:gd name="T16" fmla="*/ 59 w 1224"/>
                <a:gd name="T17" fmla="*/ 71 h 1050"/>
                <a:gd name="T18" fmla="*/ 41 w 1224"/>
                <a:gd name="T19" fmla="*/ 73 h 1050"/>
                <a:gd name="T20" fmla="*/ 33 w 1224"/>
                <a:gd name="T21" fmla="*/ 71 h 1050"/>
                <a:gd name="T22" fmla="*/ 30 w 1224"/>
                <a:gd name="T23" fmla="*/ 75 h 1050"/>
                <a:gd name="T24" fmla="*/ 27 w 1224"/>
                <a:gd name="T25" fmla="*/ 80 h 1050"/>
                <a:gd name="T26" fmla="*/ 12 w 1224"/>
                <a:gd name="T27" fmla="*/ 81 h 1050"/>
                <a:gd name="T28" fmla="*/ 9 w 1224"/>
                <a:gd name="T29" fmla="*/ 84 h 1050"/>
                <a:gd name="T30" fmla="*/ 6 w 1224"/>
                <a:gd name="T31" fmla="*/ 83 h 1050"/>
                <a:gd name="T32" fmla="*/ 1 w 1224"/>
                <a:gd name="T33" fmla="*/ 83 h 1050"/>
                <a:gd name="T34" fmla="*/ 3 w 1224"/>
                <a:gd name="T35" fmla="*/ 77 h 1050"/>
                <a:gd name="T36" fmla="*/ 5 w 1224"/>
                <a:gd name="T37" fmla="*/ 70 h 1050"/>
                <a:gd name="T38" fmla="*/ 2 w 1224"/>
                <a:gd name="T39" fmla="*/ 65 h 1050"/>
                <a:gd name="T40" fmla="*/ 3 w 1224"/>
                <a:gd name="T41" fmla="*/ 58 h 1050"/>
                <a:gd name="T42" fmla="*/ 4 w 1224"/>
                <a:gd name="T43" fmla="*/ 51 h 1050"/>
                <a:gd name="T44" fmla="*/ 3 w 1224"/>
                <a:gd name="T45" fmla="*/ 47 h 1050"/>
                <a:gd name="T46" fmla="*/ 4 w 1224"/>
                <a:gd name="T47" fmla="*/ 39 h 1050"/>
                <a:gd name="T48" fmla="*/ 6 w 1224"/>
                <a:gd name="T49" fmla="*/ 29 h 1050"/>
                <a:gd name="T50" fmla="*/ 3 w 1224"/>
                <a:gd name="T51" fmla="*/ 22 h 1050"/>
                <a:gd name="T52" fmla="*/ 2 w 1224"/>
                <a:gd name="T53" fmla="*/ 14 h 1050"/>
                <a:gd name="T54" fmla="*/ 0 w 1224"/>
                <a:gd name="T55" fmla="*/ 6 h 1050"/>
                <a:gd name="T56" fmla="*/ 9 w 1224"/>
                <a:gd name="T57" fmla="*/ 1 h 1050"/>
                <a:gd name="T58" fmla="*/ 11 w 1224"/>
                <a:gd name="T59" fmla="*/ 8 h 1050"/>
                <a:gd name="T60" fmla="*/ 15 w 1224"/>
                <a:gd name="T61" fmla="*/ 9 h 1050"/>
                <a:gd name="T62" fmla="*/ 18 w 1224"/>
                <a:gd name="T63" fmla="*/ 8 h 1050"/>
                <a:gd name="T64" fmla="*/ 18 w 1224"/>
                <a:gd name="T65" fmla="*/ 13 h 1050"/>
                <a:gd name="T66" fmla="*/ 17 w 1224"/>
                <a:gd name="T67" fmla="*/ 15 h 1050"/>
                <a:gd name="T68" fmla="*/ 17 w 1224"/>
                <a:gd name="T69" fmla="*/ 17 h 1050"/>
                <a:gd name="T70" fmla="*/ 17 w 1224"/>
                <a:gd name="T71" fmla="*/ 21 h 1050"/>
                <a:gd name="T72" fmla="*/ 21 w 1224"/>
                <a:gd name="T73" fmla="*/ 25 h 1050"/>
                <a:gd name="T74" fmla="*/ 24 w 1224"/>
                <a:gd name="T75" fmla="*/ 31 h 1050"/>
                <a:gd name="T76" fmla="*/ 35 w 1224"/>
                <a:gd name="T77" fmla="*/ 34 h 1050"/>
                <a:gd name="T78" fmla="*/ 40 w 1224"/>
                <a:gd name="T79" fmla="*/ 27 h 1050"/>
                <a:gd name="T80" fmla="*/ 46 w 1224"/>
                <a:gd name="T81" fmla="*/ 30 h 1050"/>
                <a:gd name="T82" fmla="*/ 51 w 1224"/>
                <a:gd name="T83" fmla="*/ 27 h 1050"/>
                <a:gd name="T84" fmla="*/ 59 w 1224"/>
                <a:gd name="T85" fmla="*/ 39 h 1050"/>
                <a:gd name="T86" fmla="*/ 59 w 1224"/>
                <a:gd name="T87" fmla="*/ 45 h 1050"/>
                <a:gd name="T88" fmla="*/ 72 w 1224"/>
                <a:gd name="T89" fmla="*/ 45 h 1050"/>
                <a:gd name="T90" fmla="*/ 79 w 1224"/>
                <a:gd name="T91" fmla="*/ 44 h 1050"/>
                <a:gd name="T92" fmla="*/ 87 w 1224"/>
                <a:gd name="T93" fmla="*/ 48 h 1050"/>
                <a:gd name="T94" fmla="*/ 93 w 1224"/>
                <a:gd name="T95" fmla="*/ 50 h 1050"/>
                <a:gd name="T96" fmla="*/ 98 w 1224"/>
                <a:gd name="T97" fmla="*/ 51 h 1050"/>
                <a:gd name="T98" fmla="*/ 106 w 1224"/>
                <a:gd name="T99" fmla="*/ 50 h 1050"/>
                <a:gd name="T100" fmla="*/ 104 w 1224"/>
                <a:gd name="T101" fmla="*/ 54 h 1050"/>
                <a:gd name="T102" fmla="*/ 104 w 1224"/>
                <a:gd name="T103" fmla="*/ 60 h 1050"/>
                <a:gd name="T104" fmla="*/ 101 w 1224"/>
                <a:gd name="T105" fmla="*/ 63 h 1050"/>
                <a:gd name="T106" fmla="*/ 98 w 1224"/>
                <a:gd name="T107" fmla="*/ 66 h 1050"/>
                <a:gd name="T108" fmla="*/ 95 w 1224"/>
                <a:gd name="T109" fmla="*/ 68 h 1050"/>
                <a:gd name="T110" fmla="*/ 93 w 1224"/>
                <a:gd name="T111" fmla="*/ 72 h 1050"/>
                <a:gd name="T112" fmla="*/ 98 w 1224"/>
                <a:gd name="T113" fmla="*/ 75 h 1050"/>
                <a:gd name="T114" fmla="*/ 102 w 1224"/>
                <a:gd name="T115" fmla="*/ 77 h 1050"/>
                <a:gd name="T116" fmla="*/ 107 w 1224"/>
                <a:gd name="T117" fmla="*/ 76 h 1050"/>
                <a:gd name="T118" fmla="*/ 104 w 1224"/>
                <a:gd name="T119" fmla="*/ 84 h 1050"/>
                <a:gd name="T120" fmla="*/ 103 w 1224"/>
                <a:gd name="T121" fmla="*/ 87 h 1050"/>
                <a:gd name="T122" fmla="*/ 104 w 1224"/>
                <a:gd name="T123" fmla="*/ 91 h 105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24"/>
                <a:gd name="T187" fmla="*/ 0 h 1050"/>
                <a:gd name="T188" fmla="*/ 1224 w 1224"/>
                <a:gd name="T189" fmla="*/ 1050 h 105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24" h="1050">
                  <a:moveTo>
                    <a:pt x="1128" y="1032"/>
                  </a:moveTo>
                  <a:lnTo>
                    <a:pt x="1122" y="1026"/>
                  </a:lnTo>
                  <a:lnTo>
                    <a:pt x="1116" y="1026"/>
                  </a:lnTo>
                  <a:lnTo>
                    <a:pt x="1110" y="1026"/>
                  </a:lnTo>
                  <a:lnTo>
                    <a:pt x="1104" y="1026"/>
                  </a:lnTo>
                  <a:lnTo>
                    <a:pt x="1104" y="1020"/>
                  </a:lnTo>
                  <a:lnTo>
                    <a:pt x="1098" y="1020"/>
                  </a:lnTo>
                  <a:lnTo>
                    <a:pt x="1092" y="1020"/>
                  </a:lnTo>
                  <a:lnTo>
                    <a:pt x="1086" y="1020"/>
                  </a:lnTo>
                  <a:lnTo>
                    <a:pt x="1080" y="1014"/>
                  </a:lnTo>
                  <a:lnTo>
                    <a:pt x="1068" y="1014"/>
                  </a:lnTo>
                  <a:lnTo>
                    <a:pt x="1062" y="1014"/>
                  </a:lnTo>
                  <a:lnTo>
                    <a:pt x="1062" y="1008"/>
                  </a:lnTo>
                  <a:lnTo>
                    <a:pt x="1062" y="990"/>
                  </a:lnTo>
                  <a:lnTo>
                    <a:pt x="1062" y="984"/>
                  </a:lnTo>
                  <a:lnTo>
                    <a:pt x="1062" y="972"/>
                  </a:lnTo>
                  <a:lnTo>
                    <a:pt x="1044" y="966"/>
                  </a:lnTo>
                  <a:lnTo>
                    <a:pt x="1026" y="966"/>
                  </a:lnTo>
                  <a:lnTo>
                    <a:pt x="1014" y="966"/>
                  </a:lnTo>
                  <a:lnTo>
                    <a:pt x="996" y="966"/>
                  </a:lnTo>
                  <a:lnTo>
                    <a:pt x="996" y="972"/>
                  </a:lnTo>
                  <a:lnTo>
                    <a:pt x="990" y="972"/>
                  </a:lnTo>
                  <a:lnTo>
                    <a:pt x="984" y="966"/>
                  </a:lnTo>
                  <a:lnTo>
                    <a:pt x="978" y="966"/>
                  </a:lnTo>
                  <a:lnTo>
                    <a:pt x="978" y="960"/>
                  </a:lnTo>
                  <a:lnTo>
                    <a:pt x="972" y="954"/>
                  </a:lnTo>
                  <a:lnTo>
                    <a:pt x="966" y="954"/>
                  </a:lnTo>
                  <a:lnTo>
                    <a:pt x="960" y="954"/>
                  </a:lnTo>
                  <a:lnTo>
                    <a:pt x="954" y="954"/>
                  </a:lnTo>
                  <a:lnTo>
                    <a:pt x="954" y="948"/>
                  </a:lnTo>
                  <a:lnTo>
                    <a:pt x="942" y="942"/>
                  </a:lnTo>
                  <a:lnTo>
                    <a:pt x="936" y="942"/>
                  </a:lnTo>
                  <a:lnTo>
                    <a:pt x="936" y="936"/>
                  </a:lnTo>
                  <a:lnTo>
                    <a:pt x="936" y="930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42" y="918"/>
                  </a:lnTo>
                  <a:lnTo>
                    <a:pt x="948" y="918"/>
                  </a:lnTo>
                  <a:lnTo>
                    <a:pt x="960" y="918"/>
                  </a:lnTo>
                  <a:lnTo>
                    <a:pt x="966" y="912"/>
                  </a:lnTo>
                  <a:lnTo>
                    <a:pt x="978" y="906"/>
                  </a:lnTo>
                  <a:lnTo>
                    <a:pt x="978" y="900"/>
                  </a:lnTo>
                  <a:lnTo>
                    <a:pt x="978" y="894"/>
                  </a:lnTo>
                  <a:lnTo>
                    <a:pt x="978" y="888"/>
                  </a:lnTo>
                  <a:lnTo>
                    <a:pt x="972" y="888"/>
                  </a:lnTo>
                  <a:lnTo>
                    <a:pt x="978" y="888"/>
                  </a:lnTo>
                  <a:lnTo>
                    <a:pt x="978" y="882"/>
                  </a:lnTo>
                  <a:lnTo>
                    <a:pt x="972" y="876"/>
                  </a:lnTo>
                  <a:lnTo>
                    <a:pt x="966" y="870"/>
                  </a:lnTo>
                  <a:lnTo>
                    <a:pt x="954" y="876"/>
                  </a:lnTo>
                  <a:lnTo>
                    <a:pt x="948" y="876"/>
                  </a:lnTo>
                  <a:lnTo>
                    <a:pt x="942" y="870"/>
                  </a:lnTo>
                  <a:lnTo>
                    <a:pt x="936" y="876"/>
                  </a:lnTo>
                  <a:lnTo>
                    <a:pt x="930" y="876"/>
                  </a:lnTo>
                  <a:lnTo>
                    <a:pt x="924" y="882"/>
                  </a:lnTo>
                  <a:lnTo>
                    <a:pt x="912" y="888"/>
                  </a:lnTo>
                  <a:lnTo>
                    <a:pt x="906" y="894"/>
                  </a:lnTo>
                  <a:lnTo>
                    <a:pt x="900" y="900"/>
                  </a:lnTo>
                  <a:lnTo>
                    <a:pt x="894" y="888"/>
                  </a:lnTo>
                  <a:lnTo>
                    <a:pt x="888" y="894"/>
                  </a:lnTo>
                  <a:lnTo>
                    <a:pt x="882" y="888"/>
                  </a:lnTo>
                  <a:lnTo>
                    <a:pt x="876" y="894"/>
                  </a:lnTo>
                  <a:lnTo>
                    <a:pt x="876" y="888"/>
                  </a:lnTo>
                  <a:lnTo>
                    <a:pt x="876" y="882"/>
                  </a:lnTo>
                  <a:lnTo>
                    <a:pt x="876" y="876"/>
                  </a:lnTo>
                  <a:lnTo>
                    <a:pt x="870" y="858"/>
                  </a:lnTo>
                  <a:lnTo>
                    <a:pt x="864" y="858"/>
                  </a:lnTo>
                  <a:lnTo>
                    <a:pt x="870" y="852"/>
                  </a:lnTo>
                  <a:lnTo>
                    <a:pt x="870" y="846"/>
                  </a:lnTo>
                  <a:lnTo>
                    <a:pt x="876" y="846"/>
                  </a:lnTo>
                  <a:lnTo>
                    <a:pt x="882" y="846"/>
                  </a:lnTo>
                  <a:lnTo>
                    <a:pt x="888" y="840"/>
                  </a:lnTo>
                  <a:lnTo>
                    <a:pt x="894" y="834"/>
                  </a:lnTo>
                  <a:lnTo>
                    <a:pt x="894" y="828"/>
                  </a:lnTo>
                  <a:lnTo>
                    <a:pt x="894" y="816"/>
                  </a:lnTo>
                  <a:lnTo>
                    <a:pt x="858" y="810"/>
                  </a:lnTo>
                  <a:lnTo>
                    <a:pt x="858" y="816"/>
                  </a:lnTo>
                  <a:lnTo>
                    <a:pt x="852" y="816"/>
                  </a:lnTo>
                  <a:lnTo>
                    <a:pt x="780" y="816"/>
                  </a:lnTo>
                  <a:lnTo>
                    <a:pt x="750" y="816"/>
                  </a:lnTo>
                  <a:lnTo>
                    <a:pt x="684" y="816"/>
                  </a:lnTo>
                  <a:lnTo>
                    <a:pt x="636" y="816"/>
                  </a:lnTo>
                  <a:lnTo>
                    <a:pt x="612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0" y="816"/>
                  </a:lnTo>
                  <a:lnTo>
                    <a:pt x="480" y="822"/>
                  </a:lnTo>
                  <a:lnTo>
                    <a:pt x="480" y="834"/>
                  </a:lnTo>
                  <a:lnTo>
                    <a:pt x="474" y="840"/>
                  </a:lnTo>
                  <a:lnTo>
                    <a:pt x="468" y="840"/>
                  </a:lnTo>
                  <a:lnTo>
                    <a:pt x="432" y="840"/>
                  </a:lnTo>
                  <a:lnTo>
                    <a:pt x="426" y="834"/>
                  </a:lnTo>
                  <a:lnTo>
                    <a:pt x="420" y="834"/>
                  </a:lnTo>
                  <a:lnTo>
                    <a:pt x="420" y="828"/>
                  </a:lnTo>
                  <a:lnTo>
                    <a:pt x="414" y="822"/>
                  </a:lnTo>
                  <a:lnTo>
                    <a:pt x="408" y="822"/>
                  </a:lnTo>
                  <a:lnTo>
                    <a:pt x="396" y="822"/>
                  </a:lnTo>
                  <a:lnTo>
                    <a:pt x="396" y="816"/>
                  </a:lnTo>
                  <a:lnTo>
                    <a:pt x="384" y="816"/>
                  </a:lnTo>
                  <a:lnTo>
                    <a:pt x="372" y="810"/>
                  </a:lnTo>
                  <a:lnTo>
                    <a:pt x="372" y="804"/>
                  </a:lnTo>
                  <a:lnTo>
                    <a:pt x="366" y="804"/>
                  </a:lnTo>
                  <a:lnTo>
                    <a:pt x="360" y="804"/>
                  </a:lnTo>
                  <a:lnTo>
                    <a:pt x="348" y="828"/>
                  </a:lnTo>
                  <a:lnTo>
                    <a:pt x="348" y="834"/>
                  </a:lnTo>
                  <a:lnTo>
                    <a:pt x="348" y="852"/>
                  </a:lnTo>
                  <a:lnTo>
                    <a:pt x="348" y="858"/>
                  </a:lnTo>
                  <a:lnTo>
                    <a:pt x="342" y="864"/>
                  </a:lnTo>
                  <a:lnTo>
                    <a:pt x="342" y="870"/>
                  </a:lnTo>
                  <a:lnTo>
                    <a:pt x="330" y="876"/>
                  </a:lnTo>
                  <a:lnTo>
                    <a:pt x="324" y="888"/>
                  </a:lnTo>
                  <a:lnTo>
                    <a:pt x="324" y="894"/>
                  </a:lnTo>
                  <a:lnTo>
                    <a:pt x="330" y="900"/>
                  </a:lnTo>
                  <a:lnTo>
                    <a:pt x="330" y="906"/>
                  </a:lnTo>
                  <a:lnTo>
                    <a:pt x="324" y="906"/>
                  </a:lnTo>
                  <a:lnTo>
                    <a:pt x="318" y="912"/>
                  </a:lnTo>
                  <a:lnTo>
                    <a:pt x="312" y="918"/>
                  </a:lnTo>
                  <a:lnTo>
                    <a:pt x="306" y="924"/>
                  </a:lnTo>
                  <a:lnTo>
                    <a:pt x="288" y="924"/>
                  </a:lnTo>
                  <a:lnTo>
                    <a:pt x="282" y="924"/>
                  </a:lnTo>
                  <a:lnTo>
                    <a:pt x="276" y="930"/>
                  </a:lnTo>
                  <a:lnTo>
                    <a:pt x="270" y="930"/>
                  </a:lnTo>
                  <a:lnTo>
                    <a:pt x="264" y="930"/>
                  </a:lnTo>
                  <a:lnTo>
                    <a:pt x="198" y="930"/>
                  </a:lnTo>
                  <a:lnTo>
                    <a:pt x="132" y="930"/>
                  </a:lnTo>
                  <a:lnTo>
                    <a:pt x="132" y="936"/>
                  </a:lnTo>
                  <a:lnTo>
                    <a:pt x="132" y="942"/>
                  </a:lnTo>
                  <a:lnTo>
                    <a:pt x="132" y="948"/>
                  </a:lnTo>
                  <a:lnTo>
                    <a:pt x="126" y="948"/>
                  </a:lnTo>
                  <a:lnTo>
                    <a:pt x="120" y="948"/>
                  </a:lnTo>
                  <a:lnTo>
                    <a:pt x="120" y="954"/>
                  </a:lnTo>
                  <a:lnTo>
                    <a:pt x="114" y="954"/>
                  </a:lnTo>
                  <a:lnTo>
                    <a:pt x="114" y="960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02" y="966"/>
                  </a:lnTo>
                  <a:lnTo>
                    <a:pt x="102" y="972"/>
                  </a:lnTo>
                  <a:lnTo>
                    <a:pt x="96" y="972"/>
                  </a:lnTo>
                  <a:lnTo>
                    <a:pt x="96" y="966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78" y="960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60"/>
                  </a:lnTo>
                  <a:lnTo>
                    <a:pt x="54" y="966"/>
                  </a:lnTo>
                  <a:lnTo>
                    <a:pt x="48" y="966"/>
                  </a:lnTo>
                  <a:lnTo>
                    <a:pt x="42" y="966"/>
                  </a:lnTo>
                  <a:lnTo>
                    <a:pt x="36" y="966"/>
                  </a:lnTo>
                  <a:lnTo>
                    <a:pt x="30" y="966"/>
                  </a:lnTo>
                  <a:lnTo>
                    <a:pt x="24" y="960"/>
                  </a:lnTo>
                  <a:lnTo>
                    <a:pt x="18" y="960"/>
                  </a:lnTo>
                  <a:lnTo>
                    <a:pt x="12" y="960"/>
                  </a:lnTo>
                  <a:lnTo>
                    <a:pt x="12" y="948"/>
                  </a:lnTo>
                  <a:lnTo>
                    <a:pt x="18" y="942"/>
                  </a:lnTo>
                  <a:lnTo>
                    <a:pt x="18" y="936"/>
                  </a:lnTo>
                  <a:lnTo>
                    <a:pt x="18" y="930"/>
                  </a:lnTo>
                  <a:lnTo>
                    <a:pt x="18" y="924"/>
                  </a:lnTo>
                  <a:lnTo>
                    <a:pt x="18" y="912"/>
                  </a:lnTo>
                  <a:lnTo>
                    <a:pt x="24" y="906"/>
                  </a:lnTo>
                  <a:lnTo>
                    <a:pt x="30" y="900"/>
                  </a:lnTo>
                  <a:lnTo>
                    <a:pt x="36" y="894"/>
                  </a:lnTo>
                  <a:lnTo>
                    <a:pt x="36" y="882"/>
                  </a:lnTo>
                  <a:lnTo>
                    <a:pt x="30" y="876"/>
                  </a:lnTo>
                  <a:lnTo>
                    <a:pt x="30" y="870"/>
                  </a:lnTo>
                  <a:lnTo>
                    <a:pt x="24" y="858"/>
                  </a:lnTo>
                  <a:lnTo>
                    <a:pt x="24" y="846"/>
                  </a:lnTo>
                  <a:lnTo>
                    <a:pt x="36" y="822"/>
                  </a:lnTo>
                  <a:lnTo>
                    <a:pt x="42" y="816"/>
                  </a:lnTo>
                  <a:lnTo>
                    <a:pt x="48" y="816"/>
                  </a:lnTo>
                  <a:lnTo>
                    <a:pt x="60" y="804"/>
                  </a:lnTo>
                  <a:lnTo>
                    <a:pt x="60" y="786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54" y="762"/>
                  </a:lnTo>
                  <a:lnTo>
                    <a:pt x="42" y="762"/>
                  </a:lnTo>
                  <a:lnTo>
                    <a:pt x="36" y="762"/>
                  </a:lnTo>
                  <a:lnTo>
                    <a:pt x="30" y="762"/>
                  </a:lnTo>
                  <a:lnTo>
                    <a:pt x="30" y="756"/>
                  </a:lnTo>
                  <a:lnTo>
                    <a:pt x="24" y="750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702"/>
                  </a:lnTo>
                  <a:lnTo>
                    <a:pt x="36" y="684"/>
                  </a:lnTo>
                  <a:lnTo>
                    <a:pt x="36" y="678"/>
                  </a:lnTo>
                  <a:lnTo>
                    <a:pt x="36" y="666"/>
                  </a:lnTo>
                  <a:lnTo>
                    <a:pt x="36" y="654"/>
                  </a:lnTo>
                  <a:lnTo>
                    <a:pt x="18" y="654"/>
                  </a:lnTo>
                  <a:lnTo>
                    <a:pt x="18" y="648"/>
                  </a:lnTo>
                  <a:lnTo>
                    <a:pt x="18" y="618"/>
                  </a:lnTo>
                  <a:lnTo>
                    <a:pt x="18" y="612"/>
                  </a:lnTo>
                  <a:lnTo>
                    <a:pt x="24" y="612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54" y="588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76"/>
                  </a:lnTo>
                  <a:lnTo>
                    <a:pt x="48" y="564"/>
                  </a:lnTo>
                  <a:lnTo>
                    <a:pt x="42" y="564"/>
                  </a:lnTo>
                  <a:lnTo>
                    <a:pt x="36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6" y="540"/>
                  </a:lnTo>
                  <a:lnTo>
                    <a:pt x="48" y="534"/>
                  </a:lnTo>
                  <a:lnTo>
                    <a:pt x="54" y="528"/>
                  </a:lnTo>
                  <a:lnTo>
                    <a:pt x="60" y="504"/>
                  </a:lnTo>
                  <a:lnTo>
                    <a:pt x="60" y="492"/>
                  </a:lnTo>
                  <a:lnTo>
                    <a:pt x="54" y="492"/>
                  </a:lnTo>
                  <a:lnTo>
                    <a:pt x="54" y="480"/>
                  </a:lnTo>
                  <a:lnTo>
                    <a:pt x="48" y="456"/>
                  </a:lnTo>
                  <a:lnTo>
                    <a:pt x="42" y="450"/>
                  </a:lnTo>
                  <a:lnTo>
                    <a:pt x="36" y="444"/>
                  </a:lnTo>
                  <a:lnTo>
                    <a:pt x="36" y="420"/>
                  </a:lnTo>
                  <a:lnTo>
                    <a:pt x="36" y="408"/>
                  </a:lnTo>
                  <a:lnTo>
                    <a:pt x="36" y="37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60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6" y="300"/>
                  </a:lnTo>
                  <a:lnTo>
                    <a:pt x="60" y="294"/>
                  </a:lnTo>
                  <a:lnTo>
                    <a:pt x="60" y="288"/>
                  </a:lnTo>
                  <a:lnTo>
                    <a:pt x="54" y="282"/>
                  </a:lnTo>
                  <a:lnTo>
                    <a:pt x="42" y="276"/>
                  </a:lnTo>
                  <a:lnTo>
                    <a:pt x="36" y="276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0" y="252"/>
                  </a:lnTo>
                  <a:lnTo>
                    <a:pt x="24" y="246"/>
                  </a:lnTo>
                  <a:lnTo>
                    <a:pt x="24" y="240"/>
                  </a:lnTo>
                  <a:lnTo>
                    <a:pt x="24" y="228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62"/>
                  </a:lnTo>
                  <a:lnTo>
                    <a:pt x="24" y="144"/>
                  </a:lnTo>
                  <a:lnTo>
                    <a:pt x="24" y="132"/>
                  </a:lnTo>
                  <a:lnTo>
                    <a:pt x="24" y="114"/>
                  </a:lnTo>
                  <a:lnTo>
                    <a:pt x="24" y="102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18" y="48"/>
                  </a:lnTo>
                  <a:lnTo>
                    <a:pt x="42" y="36"/>
                  </a:lnTo>
                  <a:lnTo>
                    <a:pt x="54" y="24"/>
                  </a:lnTo>
                  <a:lnTo>
                    <a:pt x="60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10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14" y="60"/>
                  </a:lnTo>
                  <a:lnTo>
                    <a:pt x="120" y="60"/>
                  </a:lnTo>
                  <a:lnTo>
                    <a:pt x="114" y="84"/>
                  </a:lnTo>
                  <a:lnTo>
                    <a:pt x="120" y="90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38" y="114"/>
                  </a:lnTo>
                  <a:lnTo>
                    <a:pt x="138" y="132"/>
                  </a:lnTo>
                  <a:lnTo>
                    <a:pt x="162" y="126"/>
                  </a:lnTo>
                  <a:lnTo>
                    <a:pt x="162" y="114"/>
                  </a:lnTo>
                  <a:lnTo>
                    <a:pt x="174" y="108"/>
                  </a:lnTo>
                  <a:lnTo>
                    <a:pt x="174" y="102"/>
                  </a:lnTo>
                  <a:lnTo>
                    <a:pt x="180" y="96"/>
                  </a:lnTo>
                  <a:lnTo>
                    <a:pt x="180" y="60"/>
                  </a:lnTo>
                  <a:lnTo>
                    <a:pt x="192" y="60"/>
                  </a:lnTo>
                  <a:lnTo>
                    <a:pt x="192" y="72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04" y="108"/>
                  </a:lnTo>
                  <a:lnTo>
                    <a:pt x="204" y="114"/>
                  </a:lnTo>
                  <a:lnTo>
                    <a:pt x="204" y="120"/>
                  </a:lnTo>
                  <a:lnTo>
                    <a:pt x="204" y="126"/>
                  </a:lnTo>
                  <a:lnTo>
                    <a:pt x="210" y="126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8" y="174"/>
                  </a:lnTo>
                  <a:lnTo>
                    <a:pt x="198" y="180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86" y="204"/>
                  </a:lnTo>
                  <a:lnTo>
                    <a:pt x="186" y="210"/>
                  </a:lnTo>
                  <a:lnTo>
                    <a:pt x="180" y="210"/>
                  </a:lnTo>
                  <a:lnTo>
                    <a:pt x="180" y="216"/>
                  </a:lnTo>
                  <a:lnTo>
                    <a:pt x="180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92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8" y="258"/>
                  </a:lnTo>
                  <a:lnTo>
                    <a:pt x="204" y="258"/>
                  </a:lnTo>
                  <a:lnTo>
                    <a:pt x="210" y="258"/>
                  </a:lnTo>
                  <a:lnTo>
                    <a:pt x="216" y="258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34" y="276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46" y="306"/>
                  </a:lnTo>
                  <a:lnTo>
                    <a:pt x="252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42"/>
                  </a:lnTo>
                  <a:lnTo>
                    <a:pt x="270" y="342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88" y="366"/>
                  </a:lnTo>
                  <a:lnTo>
                    <a:pt x="336" y="360"/>
                  </a:lnTo>
                  <a:lnTo>
                    <a:pt x="354" y="360"/>
                  </a:lnTo>
                  <a:lnTo>
                    <a:pt x="366" y="372"/>
                  </a:lnTo>
                  <a:lnTo>
                    <a:pt x="378" y="378"/>
                  </a:lnTo>
                  <a:lnTo>
                    <a:pt x="378" y="390"/>
                  </a:lnTo>
                  <a:lnTo>
                    <a:pt x="384" y="390"/>
                  </a:lnTo>
                  <a:lnTo>
                    <a:pt x="390" y="396"/>
                  </a:lnTo>
                  <a:lnTo>
                    <a:pt x="408" y="390"/>
                  </a:lnTo>
                  <a:lnTo>
                    <a:pt x="426" y="366"/>
                  </a:lnTo>
                  <a:lnTo>
                    <a:pt x="432" y="360"/>
                  </a:lnTo>
                  <a:lnTo>
                    <a:pt x="438" y="348"/>
                  </a:lnTo>
                  <a:lnTo>
                    <a:pt x="438" y="342"/>
                  </a:lnTo>
                  <a:lnTo>
                    <a:pt x="438" y="330"/>
                  </a:lnTo>
                  <a:lnTo>
                    <a:pt x="444" y="324"/>
                  </a:lnTo>
                  <a:lnTo>
                    <a:pt x="450" y="318"/>
                  </a:lnTo>
                  <a:lnTo>
                    <a:pt x="456" y="312"/>
                  </a:lnTo>
                  <a:lnTo>
                    <a:pt x="456" y="306"/>
                  </a:lnTo>
                  <a:lnTo>
                    <a:pt x="456" y="300"/>
                  </a:lnTo>
                  <a:lnTo>
                    <a:pt x="474" y="288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92" y="294"/>
                  </a:lnTo>
                  <a:lnTo>
                    <a:pt x="492" y="318"/>
                  </a:lnTo>
                  <a:lnTo>
                    <a:pt x="504" y="324"/>
                  </a:lnTo>
                  <a:lnTo>
                    <a:pt x="492" y="348"/>
                  </a:lnTo>
                  <a:lnTo>
                    <a:pt x="522" y="348"/>
                  </a:lnTo>
                  <a:lnTo>
                    <a:pt x="528" y="342"/>
                  </a:lnTo>
                  <a:lnTo>
                    <a:pt x="528" y="336"/>
                  </a:lnTo>
                  <a:lnTo>
                    <a:pt x="528" y="330"/>
                  </a:lnTo>
                  <a:lnTo>
                    <a:pt x="534" y="330"/>
                  </a:lnTo>
                  <a:lnTo>
                    <a:pt x="540" y="330"/>
                  </a:lnTo>
                  <a:lnTo>
                    <a:pt x="546" y="330"/>
                  </a:lnTo>
                  <a:lnTo>
                    <a:pt x="552" y="324"/>
                  </a:lnTo>
                  <a:lnTo>
                    <a:pt x="558" y="318"/>
                  </a:lnTo>
                  <a:lnTo>
                    <a:pt x="576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8" y="348"/>
                  </a:lnTo>
                  <a:lnTo>
                    <a:pt x="654" y="354"/>
                  </a:lnTo>
                  <a:lnTo>
                    <a:pt x="648" y="402"/>
                  </a:lnTo>
                  <a:lnTo>
                    <a:pt x="678" y="402"/>
                  </a:lnTo>
                  <a:lnTo>
                    <a:pt x="678" y="420"/>
                  </a:lnTo>
                  <a:lnTo>
                    <a:pt x="684" y="438"/>
                  </a:lnTo>
                  <a:lnTo>
                    <a:pt x="684" y="450"/>
                  </a:lnTo>
                  <a:lnTo>
                    <a:pt x="684" y="456"/>
                  </a:lnTo>
                  <a:lnTo>
                    <a:pt x="690" y="468"/>
                  </a:lnTo>
                  <a:lnTo>
                    <a:pt x="690" y="474"/>
                  </a:lnTo>
                  <a:lnTo>
                    <a:pt x="690" y="480"/>
                  </a:lnTo>
                  <a:lnTo>
                    <a:pt x="696" y="486"/>
                  </a:lnTo>
                  <a:lnTo>
                    <a:pt x="696" y="498"/>
                  </a:lnTo>
                  <a:lnTo>
                    <a:pt x="702" y="504"/>
                  </a:lnTo>
                  <a:lnTo>
                    <a:pt x="690" y="516"/>
                  </a:lnTo>
                  <a:lnTo>
                    <a:pt x="678" y="522"/>
                  </a:lnTo>
                  <a:lnTo>
                    <a:pt x="654" y="528"/>
                  </a:lnTo>
                  <a:lnTo>
                    <a:pt x="660" y="546"/>
                  </a:lnTo>
                  <a:lnTo>
                    <a:pt x="672" y="546"/>
                  </a:lnTo>
                  <a:lnTo>
                    <a:pt x="678" y="540"/>
                  </a:lnTo>
                  <a:lnTo>
                    <a:pt x="714" y="540"/>
                  </a:lnTo>
                  <a:lnTo>
                    <a:pt x="798" y="540"/>
                  </a:lnTo>
                  <a:lnTo>
                    <a:pt x="804" y="540"/>
                  </a:lnTo>
                  <a:lnTo>
                    <a:pt x="816" y="528"/>
                  </a:lnTo>
                  <a:lnTo>
                    <a:pt x="822" y="522"/>
                  </a:lnTo>
                  <a:lnTo>
                    <a:pt x="834" y="516"/>
                  </a:lnTo>
                  <a:lnTo>
                    <a:pt x="846" y="516"/>
                  </a:lnTo>
                  <a:lnTo>
                    <a:pt x="852" y="510"/>
                  </a:lnTo>
                  <a:lnTo>
                    <a:pt x="858" y="510"/>
                  </a:lnTo>
                  <a:lnTo>
                    <a:pt x="882" y="516"/>
                  </a:lnTo>
                  <a:lnTo>
                    <a:pt x="888" y="516"/>
                  </a:lnTo>
                  <a:lnTo>
                    <a:pt x="888" y="510"/>
                  </a:lnTo>
                  <a:lnTo>
                    <a:pt x="894" y="510"/>
                  </a:lnTo>
                  <a:lnTo>
                    <a:pt x="906" y="504"/>
                  </a:lnTo>
                  <a:lnTo>
                    <a:pt x="918" y="498"/>
                  </a:lnTo>
                  <a:lnTo>
                    <a:pt x="930" y="492"/>
                  </a:lnTo>
                  <a:lnTo>
                    <a:pt x="936" y="492"/>
                  </a:lnTo>
                  <a:lnTo>
                    <a:pt x="948" y="492"/>
                  </a:lnTo>
                  <a:lnTo>
                    <a:pt x="954" y="528"/>
                  </a:lnTo>
                  <a:lnTo>
                    <a:pt x="954" y="564"/>
                  </a:lnTo>
                  <a:lnTo>
                    <a:pt x="972" y="564"/>
                  </a:lnTo>
                  <a:lnTo>
                    <a:pt x="978" y="558"/>
                  </a:lnTo>
                  <a:lnTo>
                    <a:pt x="990" y="552"/>
                  </a:lnTo>
                  <a:lnTo>
                    <a:pt x="1002" y="540"/>
                  </a:lnTo>
                  <a:lnTo>
                    <a:pt x="1026" y="534"/>
                  </a:lnTo>
                  <a:lnTo>
                    <a:pt x="1032" y="540"/>
                  </a:lnTo>
                  <a:lnTo>
                    <a:pt x="1044" y="546"/>
                  </a:lnTo>
                  <a:lnTo>
                    <a:pt x="1062" y="552"/>
                  </a:lnTo>
                  <a:lnTo>
                    <a:pt x="1068" y="552"/>
                  </a:lnTo>
                  <a:lnTo>
                    <a:pt x="1068" y="570"/>
                  </a:lnTo>
                  <a:lnTo>
                    <a:pt x="1068" y="576"/>
                  </a:lnTo>
                  <a:lnTo>
                    <a:pt x="1068" y="582"/>
                  </a:lnTo>
                  <a:lnTo>
                    <a:pt x="1068" y="588"/>
                  </a:lnTo>
                  <a:lnTo>
                    <a:pt x="1068" y="594"/>
                  </a:lnTo>
                  <a:lnTo>
                    <a:pt x="1080" y="600"/>
                  </a:lnTo>
                  <a:lnTo>
                    <a:pt x="1086" y="606"/>
                  </a:lnTo>
                  <a:lnTo>
                    <a:pt x="1092" y="594"/>
                  </a:lnTo>
                  <a:lnTo>
                    <a:pt x="1104" y="588"/>
                  </a:lnTo>
                  <a:lnTo>
                    <a:pt x="1116" y="588"/>
                  </a:lnTo>
                  <a:lnTo>
                    <a:pt x="1122" y="588"/>
                  </a:lnTo>
                  <a:lnTo>
                    <a:pt x="1122" y="594"/>
                  </a:lnTo>
                  <a:lnTo>
                    <a:pt x="1128" y="594"/>
                  </a:lnTo>
                  <a:lnTo>
                    <a:pt x="1134" y="594"/>
                  </a:lnTo>
                  <a:lnTo>
                    <a:pt x="1140" y="594"/>
                  </a:lnTo>
                  <a:lnTo>
                    <a:pt x="1146" y="588"/>
                  </a:lnTo>
                  <a:lnTo>
                    <a:pt x="1158" y="582"/>
                  </a:lnTo>
                  <a:lnTo>
                    <a:pt x="1164" y="576"/>
                  </a:lnTo>
                  <a:lnTo>
                    <a:pt x="1176" y="576"/>
                  </a:lnTo>
                  <a:lnTo>
                    <a:pt x="1194" y="576"/>
                  </a:lnTo>
                  <a:lnTo>
                    <a:pt x="1218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24" y="594"/>
                  </a:lnTo>
                  <a:lnTo>
                    <a:pt x="1212" y="600"/>
                  </a:lnTo>
                  <a:lnTo>
                    <a:pt x="1206" y="606"/>
                  </a:lnTo>
                  <a:lnTo>
                    <a:pt x="1200" y="606"/>
                  </a:lnTo>
                  <a:lnTo>
                    <a:pt x="1200" y="612"/>
                  </a:lnTo>
                  <a:lnTo>
                    <a:pt x="1194" y="612"/>
                  </a:lnTo>
                  <a:lnTo>
                    <a:pt x="1194" y="618"/>
                  </a:lnTo>
                  <a:lnTo>
                    <a:pt x="1194" y="624"/>
                  </a:lnTo>
                  <a:lnTo>
                    <a:pt x="1194" y="630"/>
                  </a:lnTo>
                  <a:lnTo>
                    <a:pt x="1194" y="648"/>
                  </a:lnTo>
                  <a:lnTo>
                    <a:pt x="1194" y="660"/>
                  </a:lnTo>
                  <a:lnTo>
                    <a:pt x="1194" y="666"/>
                  </a:lnTo>
                  <a:lnTo>
                    <a:pt x="1194" y="672"/>
                  </a:lnTo>
                  <a:lnTo>
                    <a:pt x="1194" y="678"/>
                  </a:lnTo>
                  <a:lnTo>
                    <a:pt x="1188" y="684"/>
                  </a:lnTo>
                  <a:lnTo>
                    <a:pt x="1188" y="690"/>
                  </a:lnTo>
                  <a:lnTo>
                    <a:pt x="1188" y="696"/>
                  </a:lnTo>
                  <a:lnTo>
                    <a:pt x="1188" y="702"/>
                  </a:lnTo>
                  <a:lnTo>
                    <a:pt x="1188" y="708"/>
                  </a:lnTo>
                  <a:lnTo>
                    <a:pt x="1188" y="714"/>
                  </a:lnTo>
                  <a:lnTo>
                    <a:pt x="1182" y="720"/>
                  </a:lnTo>
                  <a:lnTo>
                    <a:pt x="1170" y="720"/>
                  </a:lnTo>
                  <a:lnTo>
                    <a:pt x="1158" y="726"/>
                  </a:lnTo>
                  <a:lnTo>
                    <a:pt x="1152" y="726"/>
                  </a:lnTo>
                  <a:lnTo>
                    <a:pt x="1152" y="732"/>
                  </a:lnTo>
                  <a:lnTo>
                    <a:pt x="1146" y="738"/>
                  </a:lnTo>
                  <a:lnTo>
                    <a:pt x="1140" y="738"/>
                  </a:lnTo>
                  <a:lnTo>
                    <a:pt x="1140" y="744"/>
                  </a:lnTo>
                  <a:lnTo>
                    <a:pt x="1134" y="744"/>
                  </a:lnTo>
                  <a:lnTo>
                    <a:pt x="1128" y="744"/>
                  </a:lnTo>
                  <a:lnTo>
                    <a:pt x="1122" y="750"/>
                  </a:lnTo>
                  <a:lnTo>
                    <a:pt x="1128" y="750"/>
                  </a:lnTo>
                  <a:lnTo>
                    <a:pt x="1122" y="756"/>
                  </a:lnTo>
                  <a:lnTo>
                    <a:pt x="1116" y="756"/>
                  </a:lnTo>
                  <a:lnTo>
                    <a:pt x="1110" y="762"/>
                  </a:lnTo>
                  <a:lnTo>
                    <a:pt x="1104" y="762"/>
                  </a:lnTo>
                  <a:lnTo>
                    <a:pt x="1104" y="768"/>
                  </a:lnTo>
                  <a:lnTo>
                    <a:pt x="1098" y="768"/>
                  </a:lnTo>
                  <a:lnTo>
                    <a:pt x="1098" y="774"/>
                  </a:lnTo>
                  <a:lnTo>
                    <a:pt x="1092" y="774"/>
                  </a:lnTo>
                  <a:lnTo>
                    <a:pt x="1092" y="780"/>
                  </a:lnTo>
                  <a:lnTo>
                    <a:pt x="1086" y="780"/>
                  </a:lnTo>
                  <a:lnTo>
                    <a:pt x="1086" y="786"/>
                  </a:lnTo>
                  <a:lnTo>
                    <a:pt x="1080" y="786"/>
                  </a:lnTo>
                  <a:lnTo>
                    <a:pt x="1080" y="792"/>
                  </a:lnTo>
                  <a:lnTo>
                    <a:pt x="1080" y="798"/>
                  </a:lnTo>
                  <a:lnTo>
                    <a:pt x="1080" y="804"/>
                  </a:lnTo>
                  <a:lnTo>
                    <a:pt x="1086" y="810"/>
                  </a:lnTo>
                  <a:lnTo>
                    <a:pt x="1080" y="816"/>
                  </a:lnTo>
                  <a:lnTo>
                    <a:pt x="1080" y="822"/>
                  </a:lnTo>
                  <a:lnTo>
                    <a:pt x="1074" y="822"/>
                  </a:lnTo>
                  <a:lnTo>
                    <a:pt x="1068" y="828"/>
                  </a:lnTo>
                  <a:lnTo>
                    <a:pt x="1074" y="828"/>
                  </a:lnTo>
                  <a:lnTo>
                    <a:pt x="1074" y="834"/>
                  </a:lnTo>
                  <a:lnTo>
                    <a:pt x="1080" y="846"/>
                  </a:lnTo>
                  <a:lnTo>
                    <a:pt x="1086" y="846"/>
                  </a:lnTo>
                  <a:lnTo>
                    <a:pt x="1092" y="852"/>
                  </a:lnTo>
                  <a:lnTo>
                    <a:pt x="1092" y="858"/>
                  </a:lnTo>
                  <a:lnTo>
                    <a:pt x="1098" y="858"/>
                  </a:lnTo>
                  <a:lnTo>
                    <a:pt x="1110" y="864"/>
                  </a:lnTo>
                  <a:lnTo>
                    <a:pt x="1116" y="864"/>
                  </a:lnTo>
                  <a:lnTo>
                    <a:pt x="1122" y="864"/>
                  </a:lnTo>
                  <a:lnTo>
                    <a:pt x="1128" y="864"/>
                  </a:lnTo>
                  <a:lnTo>
                    <a:pt x="1134" y="876"/>
                  </a:lnTo>
                  <a:lnTo>
                    <a:pt x="1140" y="882"/>
                  </a:lnTo>
                  <a:lnTo>
                    <a:pt x="1140" y="888"/>
                  </a:lnTo>
                  <a:lnTo>
                    <a:pt x="1152" y="918"/>
                  </a:lnTo>
                  <a:lnTo>
                    <a:pt x="1158" y="894"/>
                  </a:lnTo>
                  <a:lnTo>
                    <a:pt x="1164" y="888"/>
                  </a:lnTo>
                  <a:lnTo>
                    <a:pt x="1164" y="882"/>
                  </a:lnTo>
                  <a:lnTo>
                    <a:pt x="1176" y="864"/>
                  </a:lnTo>
                  <a:lnTo>
                    <a:pt x="1182" y="858"/>
                  </a:lnTo>
                  <a:lnTo>
                    <a:pt x="1188" y="846"/>
                  </a:lnTo>
                  <a:lnTo>
                    <a:pt x="1200" y="840"/>
                  </a:lnTo>
                  <a:lnTo>
                    <a:pt x="1212" y="840"/>
                  </a:lnTo>
                  <a:lnTo>
                    <a:pt x="1218" y="846"/>
                  </a:lnTo>
                  <a:lnTo>
                    <a:pt x="1224" y="858"/>
                  </a:lnTo>
                  <a:lnTo>
                    <a:pt x="1224" y="864"/>
                  </a:lnTo>
                  <a:lnTo>
                    <a:pt x="1224" y="876"/>
                  </a:lnTo>
                  <a:lnTo>
                    <a:pt x="1212" y="912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00" y="930"/>
                  </a:lnTo>
                  <a:lnTo>
                    <a:pt x="1200" y="942"/>
                  </a:lnTo>
                  <a:lnTo>
                    <a:pt x="1194" y="948"/>
                  </a:lnTo>
                  <a:lnTo>
                    <a:pt x="1194" y="960"/>
                  </a:lnTo>
                  <a:lnTo>
                    <a:pt x="1194" y="966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70" y="984"/>
                  </a:lnTo>
                  <a:lnTo>
                    <a:pt x="1164" y="984"/>
                  </a:lnTo>
                  <a:lnTo>
                    <a:pt x="1158" y="984"/>
                  </a:lnTo>
                  <a:lnTo>
                    <a:pt x="1146" y="984"/>
                  </a:lnTo>
                  <a:lnTo>
                    <a:pt x="1140" y="990"/>
                  </a:lnTo>
                  <a:lnTo>
                    <a:pt x="1140" y="996"/>
                  </a:lnTo>
                  <a:lnTo>
                    <a:pt x="1152" y="996"/>
                  </a:lnTo>
                  <a:lnTo>
                    <a:pt x="1176" y="1002"/>
                  </a:lnTo>
                  <a:lnTo>
                    <a:pt x="1194" y="1008"/>
                  </a:lnTo>
                  <a:lnTo>
                    <a:pt x="1206" y="1008"/>
                  </a:lnTo>
                  <a:lnTo>
                    <a:pt x="1218" y="1014"/>
                  </a:lnTo>
                  <a:lnTo>
                    <a:pt x="1212" y="1038"/>
                  </a:lnTo>
                  <a:lnTo>
                    <a:pt x="1212" y="1044"/>
                  </a:lnTo>
                  <a:lnTo>
                    <a:pt x="1206" y="1044"/>
                  </a:lnTo>
                  <a:lnTo>
                    <a:pt x="1206" y="1050"/>
                  </a:lnTo>
                  <a:lnTo>
                    <a:pt x="1194" y="1050"/>
                  </a:lnTo>
                  <a:lnTo>
                    <a:pt x="1188" y="1044"/>
                  </a:lnTo>
                  <a:lnTo>
                    <a:pt x="1158" y="1020"/>
                  </a:lnTo>
                  <a:lnTo>
                    <a:pt x="1152" y="1020"/>
                  </a:lnTo>
                  <a:lnTo>
                    <a:pt x="1140" y="1020"/>
                  </a:lnTo>
                  <a:lnTo>
                    <a:pt x="1134" y="1020"/>
                  </a:lnTo>
                  <a:lnTo>
                    <a:pt x="1134" y="1026"/>
                  </a:lnTo>
                  <a:lnTo>
                    <a:pt x="1134" y="1032"/>
                  </a:lnTo>
                  <a:lnTo>
                    <a:pt x="1128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2" name="Freeform 27">
              <a:extLst>
                <a:ext uri="{FF2B5EF4-FFF2-40B4-BE49-F238E27FC236}">
                  <a16:creationId xmlns:a16="http://schemas.microsoft.com/office/drawing/2014/main" id="{CE95C9DF-B651-4085-946F-65424BC51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2063" y="3421400"/>
              <a:ext cx="342138" cy="377969"/>
            </a:xfrm>
            <a:custGeom>
              <a:avLst/>
              <a:gdLst>
                <a:gd name="T0" fmla="*/ 43 w 642"/>
                <a:gd name="T1" fmla="*/ 41 h 708"/>
                <a:gd name="T2" fmla="*/ 39 w 642"/>
                <a:gd name="T3" fmla="*/ 41 h 708"/>
                <a:gd name="T4" fmla="*/ 38 w 642"/>
                <a:gd name="T5" fmla="*/ 47 h 708"/>
                <a:gd name="T6" fmla="*/ 38 w 642"/>
                <a:gd name="T7" fmla="*/ 49 h 708"/>
                <a:gd name="T8" fmla="*/ 38 w 642"/>
                <a:gd name="T9" fmla="*/ 50 h 708"/>
                <a:gd name="T10" fmla="*/ 36 w 642"/>
                <a:gd name="T11" fmla="*/ 52 h 708"/>
                <a:gd name="T12" fmla="*/ 35 w 642"/>
                <a:gd name="T13" fmla="*/ 53 h 708"/>
                <a:gd name="T14" fmla="*/ 33 w 642"/>
                <a:gd name="T15" fmla="*/ 55 h 708"/>
                <a:gd name="T16" fmla="*/ 32 w 642"/>
                <a:gd name="T17" fmla="*/ 56 h 708"/>
                <a:gd name="T18" fmla="*/ 31 w 642"/>
                <a:gd name="T19" fmla="*/ 59 h 708"/>
                <a:gd name="T20" fmla="*/ 26 w 642"/>
                <a:gd name="T21" fmla="*/ 59 h 708"/>
                <a:gd name="T22" fmla="*/ 23 w 642"/>
                <a:gd name="T23" fmla="*/ 61 h 708"/>
                <a:gd name="T24" fmla="*/ 20 w 642"/>
                <a:gd name="T25" fmla="*/ 61 h 708"/>
                <a:gd name="T26" fmla="*/ 17 w 642"/>
                <a:gd name="T27" fmla="*/ 59 h 708"/>
                <a:gd name="T28" fmla="*/ 15 w 642"/>
                <a:gd name="T29" fmla="*/ 56 h 708"/>
                <a:gd name="T30" fmla="*/ 9 w 642"/>
                <a:gd name="T31" fmla="*/ 58 h 708"/>
                <a:gd name="T32" fmla="*/ 6 w 642"/>
                <a:gd name="T33" fmla="*/ 52 h 708"/>
                <a:gd name="T34" fmla="*/ 2 w 642"/>
                <a:gd name="T35" fmla="*/ 53 h 708"/>
                <a:gd name="T36" fmla="*/ 1 w 642"/>
                <a:gd name="T37" fmla="*/ 51 h 708"/>
                <a:gd name="T38" fmla="*/ 4 w 642"/>
                <a:gd name="T39" fmla="*/ 47 h 708"/>
                <a:gd name="T40" fmla="*/ 5 w 642"/>
                <a:gd name="T41" fmla="*/ 41 h 708"/>
                <a:gd name="T42" fmla="*/ 5 w 642"/>
                <a:gd name="T43" fmla="*/ 38 h 708"/>
                <a:gd name="T44" fmla="*/ 5 w 642"/>
                <a:gd name="T45" fmla="*/ 35 h 708"/>
                <a:gd name="T46" fmla="*/ 6 w 642"/>
                <a:gd name="T47" fmla="*/ 33 h 708"/>
                <a:gd name="T48" fmla="*/ 5 w 642"/>
                <a:gd name="T49" fmla="*/ 29 h 708"/>
                <a:gd name="T50" fmla="*/ 4 w 642"/>
                <a:gd name="T51" fmla="*/ 28 h 708"/>
                <a:gd name="T52" fmla="*/ 1 w 642"/>
                <a:gd name="T53" fmla="*/ 26 h 708"/>
                <a:gd name="T54" fmla="*/ 1 w 642"/>
                <a:gd name="T55" fmla="*/ 24 h 708"/>
                <a:gd name="T56" fmla="*/ 1 w 642"/>
                <a:gd name="T57" fmla="*/ 20 h 708"/>
                <a:gd name="T58" fmla="*/ 1 w 642"/>
                <a:gd name="T59" fmla="*/ 16 h 708"/>
                <a:gd name="T60" fmla="*/ 2 w 642"/>
                <a:gd name="T61" fmla="*/ 14 h 708"/>
                <a:gd name="T62" fmla="*/ 8 w 642"/>
                <a:gd name="T63" fmla="*/ 14 h 708"/>
                <a:gd name="T64" fmla="*/ 9 w 642"/>
                <a:gd name="T65" fmla="*/ 10 h 708"/>
                <a:gd name="T66" fmla="*/ 15 w 642"/>
                <a:gd name="T67" fmla="*/ 9 h 708"/>
                <a:gd name="T68" fmla="*/ 18 w 642"/>
                <a:gd name="T69" fmla="*/ 14 h 708"/>
                <a:gd name="T70" fmla="*/ 20 w 642"/>
                <a:gd name="T71" fmla="*/ 12 h 708"/>
                <a:gd name="T72" fmla="*/ 20 w 642"/>
                <a:gd name="T73" fmla="*/ 11 h 708"/>
                <a:gd name="T74" fmla="*/ 21 w 642"/>
                <a:gd name="T75" fmla="*/ 9 h 708"/>
                <a:gd name="T76" fmla="*/ 24 w 642"/>
                <a:gd name="T77" fmla="*/ 9 h 708"/>
                <a:gd name="T78" fmla="*/ 27 w 642"/>
                <a:gd name="T79" fmla="*/ 8 h 708"/>
                <a:gd name="T80" fmla="*/ 33 w 642"/>
                <a:gd name="T81" fmla="*/ 2 h 708"/>
                <a:gd name="T82" fmla="*/ 42 w 642"/>
                <a:gd name="T83" fmla="*/ 2 h 708"/>
                <a:gd name="T84" fmla="*/ 49 w 642"/>
                <a:gd name="T85" fmla="*/ 1 h 708"/>
                <a:gd name="T86" fmla="*/ 53 w 642"/>
                <a:gd name="T87" fmla="*/ 4 h 708"/>
                <a:gd name="T88" fmla="*/ 55 w 642"/>
                <a:gd name="T89" fmla="*/ 4 h 708"/>
                <a:gd name="T90" fmla="*/ 55 w 642"/>
                <a:gd name="T91" fmla="*/ 7 h 708"/>
                <a:gd name="T92" fmla="*/ 52 w 642"/>
                <a:gd name="T93" fmla="*/ 9 h 708"/>
                <a:gd name="T94" fmla="*/ 49 w 642"/>
                <a:gd name="T95" fmla="*/ 12 h 708"/>
                <a:gd name="T96" fmla="*/ 47 w 642"/>
                <a:gd name="T97" fmla="*/ 14 h 708"/>
                <a:gd name="T98" fmla="*/ 47 w 642"/>
                <a:gd name="T99" fmla="*/ 17 h 708"/>
                <a:gd name="T100" fmla="*/ 45 w 642"/>
                <a:gd name="T101" fmla="*/ 26 h 708"/>
                <a:gd name="T102" fmla="*/ 50 w 642"/>
                <a:gd name="T103" fmla="*/ 37 h 70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42"/>
                <a:gd name="T157" fmla="*/ 0 h 708"/>
                <a:gd name="T158" fmla="*/ 642 w 642"/>
                <a:gd name="T159" fmla="*/ 708 h 70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42" h="708">
                  <a:moveTo>
                    <a:pt x="576" y="468"/>
                  </a:moveTo>
                  <a:lnTo>
                    <a:pt x="564" y="468"/>
                  </a:lnTo>
                  <a:lnTo>
                    <a:pt x="516" y="468"/>
                  </a:lnTo>
                  <a:lnTo>
                    <a:pt x="498" y="474"/>
                  </a:lnTo>
                  <a:lnTo>
                    <a:pt x="492" y="468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68" y="474"/>
                  </a:lnTo>
                  <a:lnTo>
                    <a:pt x="456" y="468"/>
                  </a:lnTo>
                  <a:lnTo>
                    <a:pt x="444" y="474"/>
                  </a:lnTo>
                  <a:lnTo>
                    <a:pt x="438" y="492"/>
                  </a:lnTo>
                  <a:lnTo>
                    <a:pt x="438" y="504"/>
                  </a:lnTo>
                  <a:lnTo>
                    <a:pt x="432" y="516"/>
                  </a:lnTo>
                  <a:lnTo>
                    <a:pt x="432" y="528"/>
                  </a:lnTo>
                  <a:lnTo>
                    <a:pt x="432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52"/>
                  </a:lnTo>
                  <a:lnTo>
                    <a:pt x="432" y="558"/>
                  </a:lnTo>
                  <a:lnTo>
                    <a:pt x="438" y="564"/>
                  </a:lnTo>
                  <a:lnTo>
                    <a:pt x="444" y="564"/>
                  </a:lnTo>
                  <a:lnTo>
                    <a:pt x="438" y="564"/>
                  </a:lnTo>
                  <a:lnTo>
                    <a:pt x="438" y="570"/>
                  </a:lnTo>
                  <a:lnTo>
                    <a:pt x="432" y="570"/>
                  </a:lnTo>
                  <a:lnTo>
                    <a:pt x="432" y="576"/>
                  </a:lnTo>
                  <a:lnTo>
                    <a:pt x="426" y="588"/>
                  </a:lnTo>
                  <a:lnTo>
                    <a:pt x="420" y="594"/>
                  </a:lnTo>
                  <a:lnTo>
                    <a:pt x="420" y="600"/>
                  </a:lnTo>
                  <a:lnTo>
                    <a:pt x="414" y="600"/>
                  </a:lnTo>
                  <a:lnTo>
                    <a:pt x="414" y="606"/>
                  </a:lnTo>
                  <a:lnTo>
                    <a:pt x="408" y="606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396" y="612"/>
                  </a:lnTo>
                  <a:lnTo>
                    <a:pt x="390" y="612"/>
                  </a:lnTo>
                  <a:lnTo>
                    <a:pt x="390" y="618"/>
                  </a:lnTo>
                  <a:lnTo>
                    <a:pt x="384" y="618"/>
                  </a:lnTo>
                  <a:lnTo>
                    <a:pt x="378" y="618"/>
                  </a:lnTo>
                  <a:lnTo>
                    <a:pt x="378" y="624"/>
                  </a:lnTo>
                  <a:lnTo>
                    <a:pt x="384" y="630"/>
                  </a:lnTo>
                  <a:lnTo>
                    <a:pt x="384" y="636"/>
                  </a:lnTo>
                  <a:lnTo>
                    <a:pt x="378" y="630"/>
                  </a:lnTo>
                  <a:lnTo>
                    <a:pt x="372" y="636"/>
                  </a:lnTo>
                  <a:lnTo>
                    <a:pt x="372" y="642"/>
                  </a:lnTo>
                  <a:lnTo>
                    <a:pt x="366" y="642"/>
                  </a:lnTo>
                  <a:lnTo>
                    <a:pt x="360" y="654"/>
                  </a:lnTo>
                  <a:lnTo>
                    <a:pt x="354" y="666"/>
                  </a:lnTo>
                  <a:lnTo>
                    <a:pt x="354" y="672"/>
                  </a:lnTo>
                  <a:lnTo>
                    <a:pt x="354" y="678"/>
                  </a:lnTo>
                  <a:lnTo>
                    <a:pt x="354" y="684"/>
                  </a:lnTo>
                  <a:lnTo>
                    <a:pt x="348" y="678"/>
                  </a:lnTo>
                  <a:lnTo>
                    <a:pt x="324" y="678"/>
                  </a:lnTo>
                  <a:lnTo>
                    <a:pt x="306" y="678"/>
                  </a:lnTo>
                  <a:lnTo>
                    <a:pt x="294" y="678"/>
                  </a:lnTo>
                  <a:lnTo>
                    <a:pt x="288" y="684"/>
                  </a:lnTo>
                  <a:lnTo>
                    <a:pt x="276" y="690"/>
                  </a:lnTo>
                  <a:lnTo>
                    <a:pt x="270" y="696"/>
                  </a:lnTo>
                  <a:lnTo>
                    <a:pt x="264" y="696"/>
                  </a:lnTo>
                  <a:lnTo>
                    <a:pt x="258" y="696"/>
                  </a:lnTo>
                  <a:lnTo>
                    <a:pt x="252" y="696"/>
                  </a:lnTo>
                  <a:lnTo>
                    <a:pt x="252" y="690"/>
                  </a:lnTo>
                  <a:lnTo>
                    <a:pt x="246" y="690"/>
                  </a:lnTo>
                  <a:lnTo>
                    <a:pt x="234" y="690"/>
                  </a:lnTo>
                  <a:lnTo>
                    <a:pt x="222" y="696"/>
                  </a:lnTo>
                  <a:lnTo>
                    <a:pt x="216" y="708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8" y="690"/>
                  </a:lnTo>
                  <a:lnTo>
                    <a:pt x="198" y="684"/>
                  </a:lnTo>
                  <a:lnTo>
                    <a:pt x="198" y="678"/>
                  </a:lnTo>
                  <a:lnTo>
                    <a:pt x="198" y="672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74" y="648"/>
                  </a:lnTo>
                  <a:lnTo>
                    <a:pt x="162" y="642"/>
                  </a:lnTo>
                  <a:lnTo>
                    <a:pt x="156" y="636"/>
                  </a:lnTo>
                  <a:lnTo>
                    <a:pt x="132" y="642"/>
                  </a:lnTo>
                  <a:lnTo>
                    <a:pt x="120" y="654"/>
                  </a:lnTo>
                  <a:lnTo>
                    <a:pt x="108" y="660"/>
                  </a:lnTo>
                  <a:lnTo>
                    <a:pt x="102" y="666"/>
                  </a:lnTo>
                  <a:lnTo>
                    <a:pt x="84" y="666"/>
                  </a:lnTo>
                  <a:lnTo>
                    <a:pt x="84" y="630"/>
                  </a:lnTo>
                  <a:lnTo>
                    <a:pt x="78" y="594"/>
                  </a:lnTo>
                  <a:lnTo>
                    <a:pt x="66" y="594"/>
                  </a:lnTo>
                  <a:lnTo>
                    <a:pt x="60" y="594"/>
                  </a:lnTo>
                  <a:lnTo>
                    <a:pt x="48" y="600"/>
                  </a:lnTo>
                  <a:lnTo>
                    <a:pt x="36" y="606"/>
                  </a:lnTo>
                  <a:lnTo>
                    <a:pt x="24" y="612"/>
                  </a:lnTo>
                  <a:lnTo>
                    <a:pt x="18" y="612"/>
                  </a:lnTo>
                  <a:lnTo>
                    <a:pt x="12" y="606"/>
                  </a:lnTo>
                  <a:lnTo>
                    <a:pt x="12" y="600"/>
                  </a:lnTo>
                  <a:lnTo>
                    <a:pt x="12" y="594"/>
                  </a:lnTo>
                  <a:lnTo>
                    <a:pt x="12" y="588"/>
                  </a:lnTo>
                  <a:lnTo>
                    <a:pt x="12" y="582"/>
                  </a:lnTo>
                  <a:lnTo>
                    <a:pt x="12" y="576"/>
                  </a:lnTo>
                  <a:lnTo>
                    <a:pt x="18" y="552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42" y="534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48" y="492"/>
                  </a:lnTo>
                  <a:lnTo>
                    <a:pt x="48" y="480"/>
                  </a:lnTo>
                  <a:lnTo>
                    <a:pt x="54" y="468"/>
                  </a:lnTo>
                  <a:lnTo>
                    <a:pt x="48" y="456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66" y="390"/>
                  </a:lnTo>
                  <a:lnTo>
                    <a:pt x="72" y="384"/>
                  </a:lnTo>
                  <a:lnTo>
                    <a:pt x="72" y="378"/>
                  </a:lnTo>
                  <a:lnTo>
                    <a:pt x="66" y="378"/>
                  </a:lnTo>
                  <a:lnTo>
                    <a:pt x="66" y="366"/>
                  </a:lnTo>
                  <a:lnTo>
                    <a:pt x="60" y="360"/>
                  </a:lnTo>
                  <a:lnTo>
                    <a:pt x="66" y="354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48" y="312"/>
                  </a:lnTo>
                  <a:lnTo>
                    <a:pt x="30" y="312"/>
                  </a:lnTo>
                  <a:lnTo>
                    <a:pt x="24" y="306"/>
                  </a:lnTo>
                  <a:lnTo>
                    <a:pt x="18" y="306"/>
                  </a:lnTo>
                  <a:lnTo>
                    <a:pt x="12" y="294"/>
                  </a:lnTo>
                  <a:lnTo>
                    <a:pt x="12" y="282"/>
                  </a:lnTo>
                  <a:lnTo>
                    <a:pt x="6" y="276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12" y="270"/>
                  </a:lnTo>
                  <a:lnTo>
                    <a:pt x="12" y="246"/>
                  </a:lnTo>
                  <a:lnTo>
                    <a:pt x="12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8" y="174"/>
                  </a:lnTo>
                  <a:lnTo>
                    <a:pt x="12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48" y="162"/>
                  </a:lnTo>
                  <a:lnTo>
                    <a:pt x="72" y="162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84" y="132"/>
                  </a:lnTo>
                  <a:lnTo>
                    <a:pt x="90" y="120"/>
                  </a:lnTo>
                  <a:lnTo>
                    <a:pt x="108" y="114"/>
                  </a:lnTo>
                  <a:lnTo>
                    <a:pt x="114" y="102"/>
                  </a:lnTo>
                  <a:lnTo>
                    <a:pt x="120" y="90"/>
                  </a:lnTo>
                  <a:lnTo>
                    <a:pt x="138" y="90"/>
                  </a:lnTo>
                  <a:lnTo>
                    <a:pt x="138" y="102"/>
                  </a:lnTo>
                  <a:lnTo>
                    <a:pt x="168" y="108"/>
                  </a:lnTo>
                  <a:lnTo>
                    <a:pt x="168" y="114"/>
                  </a:lnTo>
                  <a:lnTo>
                    <a:pt x="174" y="126"/>
                  </a:lnTo>
                  <a:lnTo>
                    <a:pt x="186" y="150"/>
                  </a:lnTo>
                  <a:lnTo>
                    <a:pt x="186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34" y="144"/>
                  </a:lnTo>
                  <a:lnTo>
                    <a:pt x="240" y="138"/>
                  </a:lnTo>
                  <a:lnTo>
                    <a:pt x="240" y="126"/>
                  </a:lnTo>
                  <a:lnTo>
                    <a:pt x="234" y="126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34" y="102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82" y="102"/>
                  </a:lnTo>
                  <a:lnTo>
                    <a:pt x="288" y="102"/>
                  </a:lnTo>
                  <a:lnTo>
                    <a:pt x="294" y="102"/>
                  </a:lnTo>
                  <a:lnTo>
                    <a:pt x="300" y="96"/>
                  </a:lnTo>
                  <a:lnTo>
                    <a:pt x="306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84"/>
                  </a:lnTo>
                  <a:lnTo>
                    <a:pt x="324" y="18"/>
                  </a:lnTo>
                  <a:lnTo>
                    <a:pt x="360" y="18"/>
                  </a:lnTo>
                  <a:lnTo>
                    <a:pt x="378" y="18"/>
                  </a:lnTo>
                  <a:lnTo>
                    <a:pt x="378" y="30"/>
                  </a:lnTo>
                  <a:lnTo>
                    <a:pt x="390" y="30"/>
                  </a:lnTo>
                  <a:lnTo>
                    <a:pt x="432" y="30"/>
                  </a:lnTo>
                  <a:lnTo>
                    <a:pt x="456" y="24"/>
                  </a:lnTo>
                  <a:lnTo>
                    <a:pt x="480" y="24"/>
                  </a:lnTo>
                  <a:lnTo>
                    <a:pt x="498" y="30"/>
                  </a:lnTo>
                  <a:lnTo>
                    <a:pt x="522" y="18"/>
                  </a:lnTo>
                  <a:lnTo>
                    <a:pt x="528" y="0"/>
                  </a:lnTo>
                  <a:lnTo>
                    <a:pt x="558" y="6"/>
                  </a:lnTo>
                  <a:lnTo>
                    <a:pt x="558" y="12"/>
                  </a:lnTo>
                  <a:lnTo>
                    <a:pt x="570" y="18"/>
                  </a:lnTo>
                  <a:lnTo>
                    <a:pt x="576" y="24"/>
                  </a:lnTo>
                  <a:lnTo>
                    <a:pt x="588" y="36"/>
                  </a:lnTo>
                  <a:lnTo>
                    <a:pt x="594" y="48"/>
                  </a:lnTo>
                  <a:lnTo>
                    <a:pt x="606" y="48"/>
                  </a:lnTo>
                  <a:lnTo>
                    <a:pt x="606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42"/>
                  </a:lnTo>
                  <a:lnTo>
                    <a:pt x="636" y="42"/>
                  </a:lnTo>
                  <a:lnTo>
                    <a:pt x="636" y="48"/>
                  </a:lnTo>
                  <a:lnTo>
                    <a:pt x="642" y="54"/>
                  </a:lnTo>
                  <a:lnTo>
                    <a:pt x="636" y="60"/>
                  </a:lnTo>
                  <a:lnTo>
                    <a:pt x="636" y="66"/>
                  </a:lnTo>
                  <a:lnTo>
                    <a:pt x="636" y="78"/>
                  </a:lnTo>
                  <a:lnTo>
                    <a:pt x="624" y="84"/>
                  </a:lnTo>
                  <a:lnTo>
                    <a:pt x="618" y="90"/>
                  </a:lnTo>
                  <a:lnTo>
                    <a:pt x="612" y="90"/>
                  </a:lnTo>
                  <a:lnTo>
                    <a:pt x="600" y="102"/>
                  </a:lnTo>
                  <a:lnTo>
                    <a:pt x="594" y="108"/>
                  </a:lnTo>
                  <a:lnTo>
                    <a:pt x="582" y="114"/>
                  </a:lnTo>
                  <a:lnTo>
                    <a:pt x="570" y="132"/>
                  </a:lnTo>
                  <a:lnTo>
                    <a:pt x="564" y="132"/>
                  </a:lnTo>
                  <a:lnTo>
                    <a:pt x="564" y="138"/>
                  </a:lnTo>
                  <a:lnTo>
                    <a:pt x="558" y="144"/>
                  </a:lnTo>
                  <a:lnTo>
                    <a:pt x="558" y="150"/>
                  </a:lnTo>
                  <a:lnTo>
                    <a:pt x="552" y="150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0" y="162"/>
                  </a:lnTo>
                  <a:lnTo>
                    <a:pt x="534" y="168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6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28" y="234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16" y="294"/>
                  </a:lnTo>
                  <a:lnTo>
                    <a:pt x="516" y="312"/>
                  </a:lnTo>
                  <a:lnTo>
                    <a:pt x="528" y="318"/>
                  </a:lnTo>
                  <a:lnTo>
                    <a:pt x="540" y="360"/>
                  </a:lnTo>
                  <a:lnTo>
                    <a:pt x="558" y="408"/>
                  </a:lnTo>
                  <a:lnTo>
                    <a:pt x="570" y="426"/>
                  </a:lnTo>
                  <a:lnTo>
                    <a:pt x="576" y="432"/>
                  </a:lnTo>
                  <a:lnTo>
                    <a:pt x="576" y="438"/>
                  </a:lnTo>
                  <a:lnTo>
                    <a:pt x="576" y="444"/>
                  </a:lnTo>
                  <a:lnTo>
                    <a:pt x="576" y="46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3" name="Freeform 28">
              <a:extLst>
                <a:ext uri="{FF2B5EF4-FFF2-40B4-BE49-F238E27FC236}">
                  <a16:creationId xmlns:a16="http://schemas.microsoft.com/office/drawing/2014/main" id="{CF9B4F31-BF73-448E-83AA-188F6CF1BDC5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4879" y="3432583"/>
              <a:ext cx="324248" cy="270616"/>
            </a:xfrm>
            <a:custGeom>
              <a:avLst/>
              <a:gdLst>
                <a:gd name="T0" fmla="*/ 5 w 606"/>
                <a:gd name="T1" fmla="*/ 36 h 510"/>
                <a:gd name="T2" fmla="*/ 4 w 606"/>
                <a:gd name="T3" fmla="*/ 34 h 510"/>
                <a:gd name="T4" fmla="*/ 0 w 606"/>
                <a:gd name="T5" fmla="*/ 25 h 510"/>
                <a:gd name="T6" fmla="*/ 1 w 606"/>
                <a:gd name="T7" fmla="*/ 20 h 510"/>
                <a:gd name="T8" fmla="*/ 2 w 606"/>
                <a:gd name="T9" fmla="*/ 15 h 510"/>
                <a:gd name="T10" fmla="*/ 2 w 606"/>
                <a:gd name="T11" fmla="*/ 13 h 510"/>
                <a:gd name="T12" fmla="*/ 3 w 606"/>
                <a:gd name="T13" fmla="*/ 12 h 510"/>
                <a:gd name="T14" fmla="*/ 4 w 606"/>
                <a:gd name="T15" fmla="*/ 11 h 510"/>
                <a:gd name="T16" fmla="*/ 4 w 606"/>
                <a:gd name="T17" fmla="*/ 10 h 510"/>
                <a:gd name="T18" fmla="*/ 7 w 606"/>
                <a:gd name="T19" fmla="*/ 8 h 510"/>
                <a:gd name="T20" fmla="*/ 9 w 606"/>
                <a:gd name="T21" fmla="*/ 6 h 510"/>
                <a:gd name="T22" fmla="*/ 11 w 606"/>
                <a:gd name="T23" fmla="*/ 4 h 510"/>
                <a:gd name="T24" fmla="*/ 12 w 606"/>
                <a:gd name="T25" fmla="*/ 3 h 510"/>
                <a:gd name="T26" fmla="*/ 13 w 606"/>
                <a:gd name="T27" fmla="*/ 4 h 510"/>
                <a:gd name="T28" fmla="*/ 15 w 606"/>
                <a:gd name="T29" fmla="*/ 2 h 510"/>
                <a:gd name="T30" fmla="*/ 17 w 606"/>
                <a:gd name="T31" fmla="*/ 2 h 510"/>
                <a:gd name="T32" fmla="*/ 19 w 606"/>
                <a:gd name="T33" fmla="*/ 5 h 510"/>
                <a:gd name="T34" fmla="*/ 22 w 606"/>
                <a:gd name="T35" fmla="*/ 5 h 510"/>
                <a:gd name="T36" fmla="*/ 25 w 606"/>
                <a:gd name="T37" fmla="*/ 6 h 510"/>
                <a:gd name="T38" fmla="*/ 29 w 606"/>
                <a:gd name="T39" fmla="*/ 1 h 510"/>
                <a:gd name="T40" fmla="*/ 38 w 606"/>
                <a:gd name="T41" fmla="*/ 0 h 510"/>
                <a:gd name="T42" fmla="*/ 38 w 606"/>
                <a:gd name="T43" fmla="*/ 5 h 510"/>
                <a:gd name="T44" fmla="*/ 41 w 606"/>
                <a:gd name="T45" fmla="*/ 4 h 510"/>
                <a:gd name="T46" fmla="*/ 45 w 606"/>
                <a:gd name="T47" fmla="*/ 2 h 510"/>
                <a:gd name="T48" fmla="*/ 46 w 606"/>
                <a:gd name="T49" fmla="*/ 2 h 510"/>
                <a:gd name="T50" fmla="*/ 47 w 606"/>
                <a:gd name="T51" fmla="*/ 5 h 510"/>
                <a:gd name="T52" fmla="*/ 45 w 606"/>
                <a:gd name="T53" fmla="*/ 6 h 510"/>
                <a:gd name="T54" fmla="*/ 45 w 606"/>
                <a:gd name="T55" fmla="*/ 7 h 510"/>
                <a:gd name="T56" fmla="*/ 43 w 606"/>
                <a:gd name="T57" fmla="*/ 8 h 510"/>
                <a:gd name="T58" fmla="*/ 45 w 606"/>
                <a:gd name="T59" fmla="*/ 15 h 510"/>
                <a:gd name="T60" fmla="*/ 49 w 606"/>
                <a:gd name="T61" fmla="*/ 15 h 510"/>
                <a:gd name="T62" fmla="*/ 51 w 606"/>
                <a:gd name="T63" fmla="*/ 15 h 510"/>
                <a:gd name="T64" fmla="*/ 53 w 606"/>
                <a:gd name="T65" fmla="*/ 16 h 510"/>
                <a:gd name="T66" fmla="*/ 52 w 606"/>
                <a:gd name="T67" fmla="*/ 20 h 510"/>
                <a:gd name="T68" fmla="*/ 48 w 606"/>
                <a:gd name="T69" fmla="*/ 23 h 510"/>
                <a:gd name="T70" fmla="*/ 45 w 606"/>
                <a:gd name="T71" fmla="*/ 25 h 510"/>
                <a:gd name="T72" fmla="*/ 44 w 606"/>
                <a:gd name="T73" fmla="*/ 28 h 510"/>
                <a:gd name="T74" fmla="*/ 43 w 606"/>
                <a:gd name="T75" fmla="*/ 33 h 510"/>
                <a:gd name="T76" fmla="*/ 39 w 606"/>
                <a:gd name="T77" fmla="*/ 38 h 510"/>
                <a:gd name="T78" fmla="*/ 37 w 606"/>
                <a:gd name="T79" fmla="*/ 41 h 510"/>
                <a:gd name="T80" fmla="*/ 31 w 606"/>
                <a:gd name="T81" fmla="*/ 44 h 510"/>
                <a:gd name="T82" fmla="*/ 28 w 606"/>
                <a:gd name="T83" fmla="*/ 43 h 510"/>
                <a:gd name="T84" fmla="*/ 28 w 606"/>
                <a:gd name="T85" fmla="*/ 41 h 510"/>
                <a:gd name="T86" fmla="*/ 28 w 606"/>
                <a:gd name="T87" fmla="*/ 40 h 510"/>
                <a:gd name="T88" fmla="*/ 27 w 606"/>
                <a:gd name="T89" fmla="*/ 38 h 510"/>
                <a:gd name="T90" fmla="*/ 27 w 606"/>
                <a:gd name="T91" fmla="*/ 36 h 510"/>
                <a:gd name="T92" fmla="*/ 24 w 606"/>
                <a:gd name="T93" fmla="*/ 35 h 510"/>
                <a:gd name="T94" fmla="*/ 16 w 606"/>
                <a:gd name="T95" fmla="*/ 34 h 510"/>
                <a:gd name="T96" fmla="*/ 13 w 606"/>
                <a:gd name="T97" fmla="*/ 34 h 510"/>
                <a:gd name="T98" fmla="*/ 9 w 606"/>
                <a:gd name="T99" fmla="*/ 36 h 510"/>
                <a:gd name="T100" fmla="*/ 8 w 606"/>
                <a:gd name="T101" fmla="*/ 38 h 510"/>
                <a:gd name="T102" fmla="*/ 7 w 606"/>
                <a:gd name="T103" fmla="*/ 39 h 51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06"/>
                <a:gd name="T157" fmla="*/ 0 h 510"/>
                <a:gd name="T158" fmla="*/ 606 w 606"/>
                <a:gd name="T159" fmla="*/ 510 h 51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06" h="510">
                  <a:moveTo>
                    <a:pt x="60" y="450"/>
                  </a:move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42" y="390"/>
                  </a:lnTo>
                  <a:lnTo>
                    <a:pt x="24" y="342"/>
                  </a:lnTo>
                  <a:lnTo>
                    <a:pt x="12" y="300"/>
                  </a:lnTo>
                  <a:lnTo>
                    <a:pt x="0" y="294"/>
                  </a:lnTo>
                  <a:lnTo>
                    <a:pt x="0" y="276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24" y="192"/>
                  </a:lnTo>
                  <a:lnTo>
                    <a:pt x="24" y="180"/>
                  </a:lnTo>
                  <a:lnTo>
                    <a:pt x="24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6" y="96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108" y="66"/>
                  </a:lnTo>
                  <a:lnTo>
                    <a:pt x="120" y="60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36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62" y="36"/>
                  </a:lnTo>
                  <a:lnTo>
                    <a:pt x="162" y="30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0" y="54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46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76" y="66"/>
                  </a:lnTo>
                  <a:lnTo>
                    <a:pt x="312" y="66"/>
                  </a:lnTo>
                  <a:lnTo>
                    <a:pt x="318" y="60"/>
                  </a:lnTo>
                  <a:lnTo>
                    <a:pt x="330" y="12"/>
                  </a:lnTo>
                  <a:lnTo>
                    <a:pt x="414" y="6"/>
                  </a:lnTo>
                  <a:lnTo>
                    <a:pt x="420" y="0"/>
                  </a:lnTo>
                  <a:lnTo>
                    <a:pt x="426" y="6"/>
                  </a:lnTo>
                  <a:lnTo>
                    <a:pt x="426" y="12"/>
                  </a:lnTo>
                  <a:lnTo>
                    <a:pt x="426" y="54"/>
                  </a:lnTo>
                  <a:lnTo>
                    <a:pt x="432" y="54"/>
                  </a:lnTo>
                  <a:lnTo>
                    <a:pt x="444" y="54"/>
                  </a:lnTo>
                  <a:lnTo>
                    <a:pt x="450" y="42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86" y="24"/>
                  </a:lnTo>
                  <a:lnTo>
                    <a:pt x="504" y="18"/>
                  </a:lnTo>
                  <a:lnTo>
                    <a:pt x="510" y="12"/>
                  </a:lnTo>
                  <a:lnTo>
                    <a:pt x="516" y="18"/>
                  </a:lnTo>
                  <a:lnTo>
                    <a:pt x="522" y="24"/>
                  </a:lnTo>
                  <a:lnTo>
                    <a:pt x="510" y="30"/>
                  </a:lnTo>
                  <a:lnTo>
                    <a:pt x="516" y="48"/>
                  </a:lnTo>
                  <a:lnTo>
                    <a:pt x="528" y="54"/>
                  </a:lnTo>
                  <a:lnTo>
                    <a:pt x="522" y="60"/>
                  </a:lnTo>
                  <a:lnTo>
                    <a:pt x="516" y="66"/>
                  </a:lnTo>
                  <a:lnTo>
                    <a:pt x="516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0" y="84"/>
                  </a:lnTo>
                  <a:lnTo>
                    <a:pt x="510" y="90"/>
                  </a:lnTo>
                  <a:lnTo>
                    <a:pt x="504" y="90"/>
                  </a:lnTo>
                  <a:lnTo>
                    <a:pt x="486" y="90"/>
                  </a:lnTo>
                  <a:lnTo>
                    <a:pt x="492" y="138"/>
                  </a:lnTo>
                  <a:lnTo>
                    <a:pt x="498" y="168"/>
                  </a:lnTo>
                  <a:lnTo>
                    <a:pt x="516" y="168"/>
                  </a:lnTo>
                  <a:lnTo>
                    <a:pt x="528" y="174"/>
                  </a:lnTo>
                  <a:lnTo>
                    <a:pt x="534" y="168"/>
                  </a:lnTo>
                  <a:lnTo>
                    <a:pt x="558" y="174"/>
                  </a:lnTo>
                  <a:lnTo>
                    <a:pt x="564" y="168"/>
                  </a:lnTo>
                  <a:lnTo>
                    <a:pt x="570" y="168"/>
                  </a:lnTo>
                  <a:lnTo>
                    <a:pt x="576" y="174"/>
                  </a:lnTo>
                  <a:lnTo>
                    <a:pt x="588" y="168"/>
                  </a:lnTo>
                  <a:lnTo>
                    <a:pt x="594" y="168"/>
                  </a:lnTo>
                  <a:lnTo>
                    <a:pt x="594" y="186"/>
                  </a:lnTo>
                  <a:lnTo>
                    <a:pt x="606" y="198"/>
                  </a:lnTo>
                  <a:lnTo>
                    <a:pt x="600" y="210"/>
                  </a:lnTo>
                  <a:lnTo>
                    <a:pt x="588" y="234"/>
                  </a:lnTo>
                  <a:lnTo>
                    <a:pt x="564" y="246"/>
                  </a:lnTo>
                  <a:lnTo>
                    <a:pt x="546" y="258"/>
                  </a:lnTo>
                  <a:lnTo>
                    <a:pt x="540" y="270"/>
                  </a:lnTo>
                  <a:lnTo>
                    <a:pt x="534" y="294"/>
                  </a:lnTo>
                  <a:lnTo>
                    <a:pt x="528" y="300"/>
                  </a:lnTo>
                  <a:lnTo>
                    <a:pt x="516" y="294"/>
                  </a:lnTo>
                  <a:lnTo>
                    <a:pt x="510" y="300"/>
                  </a:lnTo>
                  <a:lnTo>
                    <a:pt x="498" y="318"/>
                  </a:lnTo>
                  <a:lnTo>
                    <a:pt x="492" y="324"/>
                  </a:lnTo>
                  <a:lnTo>
                    <a:pt x="486" y="336"/>
                  </a:lnTo>
                  <a:lnTo>
                    <a:pt x="486" y="354"/>
                  </a:lnTo>
                  <a:lnTo>
                    <a:pt x="486" y="384"/>
                  </a:lnTo>
                  <a:lnTo>
                    <a:pt x="474" y="408"/>
                  </a:lnTo>
                  <a:lnTo>
                    <a:pt x="450" y="426"/>
                  </a:lnTo>
                  <a:lnTo>
                    <a:pt x="444" y="444"/>
                  </a:lnTo>
                  <a:lnTo>
                    <a:pt x="426" y="474"/>
                  </a:lnTo>
                  <a:lnTo>
                    <a:pt x="420" y="486"/>
                  </a:lnTo>
                  <a:lnTo>
                    <a:pt x="414" y="486"/>
                  </a:lnTo>
                  <a:lnTo>
                    <a:pt x="414" y="498"/>
                  </a:lnTo>
                  <a:lnTo>
                    <a:pt x="378" y="504"/>
                  </a:lnTo>
                  <a:lnTo>
                    <a:pt x="348" y="510"/>
                  </a:lnTo>
                  <a:lnTo>
                    <a:pt x="330" y="510"/>
                  </a:lnTo>
                  <a:lnTo>
                    <a:pt x="324" y="504"/>
                  </a:lnTo>
                  <a:lnTo>
                    <a:pt x="318" y="504"/>
                  </a:lnTo>
                  <a:lnTo>
                    <a:pt x="312" y="504"/>
                  </a:lnTo>
                  <a:lnTo>
                    <a:pt x="312" y="498"/>
                  </a:lnTo>
                  <a:lnTo>
                    <a:pt x="312" y="486"/>
                  </a:lnTo>
                  <a:lnTo>
                    <a:pt x="312" y="480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56"/>
                  </a:lnTo>
                  <a:lnTo>
                    <a:pt x="312" y="450"/>
                  </a:lnTo>
                  <a:lnTo>
                    <a:pt x="306" y="444"/>
                  </a:lnTo>
                  <a:lnTo>
                    <a:pt x="306" y="438"/>
                  </a:lnTo>
                  <a:lnTo>
                    <a:pt x="300" y="426"/>
                  </a:lnTo>
                  <a:lnTo>
                    <a:pt x="300" y="420"/>
                  </a:lnTo>
                  <a:lnTo>
                    <a:pt x="294" y="414"/>
                  </a:lnTo>
                  <a:lnTo>
                    <a:pt x="294" y="408"/>
                  </a:lnTo>
                  <a:lnTo>
                    <a:pt x="270" y="408"/>
                  </a:lnTo>
                  <a:lnTo>
                    <a:pt x="246" y="408"/>
                  </a:lnTo>
                  <a:lnTo>
                    <a:pt x="222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56" y="402"/>
                  </a:lnTo>
                  <a:lnTo>
                    <a:pt x="144" y="396"/>
                  </a:lnTo>
                  <a:lnTo>
                    <a:pt x="126" y="396"/>
                  </a:lnTo>
                  <a:lnTo>
                    <a:pt x="108" y="408"/>
                  </a:lnTo>
                  <a:lnTo>
                    <a:pt x="102" y="414"/>
                  </a:lnTo>
                  <a:lnTo>
                    <a:pt x="102" y="420"/>
                  </a:lnTo>
                  <a:lnTo>
                    <a:pt x="96" y="426"/>
                  </a:lnTo>
                  <a:lnTo>
                    <a:pt x="96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78" y="450"/>
                  </a:lnTo>
                  <a:lnTo>
                    <a:pt x="60" y="45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4" name="Freeform 29">
              <a:extLst>
                <a:ext uri="{FF2B5EF4-FFF2-40B4-BE49-F238E27FC236}">
                  <a16:creationId xmlns:a16="http://schemas.microsoft.com/office/drawing/2014/main" id="{B6AC2B96-1504-4082-8778-17130FDA021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401" y="3537698"/>
              <a:ext cx="559048" cy="641876"/>
            </a:xfrm>
            <a:custGeom>
              <a:avLst/>
              <a:gdLst>
                <a:gd name="T0" fmla="*/ 39 w 1056"/>
                <a:gd name="T1" fmla="*/ 94 h 1206"/>
                <a:gd name="T2" fmla="*/ 35 w 1056"/>
                <a:gd name="T3" fmla="*/ 103 h 1206"/>
                <a:gd name="T4" fmla="*/ 29 w 1056"/>
                <a:gd name="T5" fmla="*/ 99 h 1206"/>
                <a:gd name="T6" fmla="*/ 23 w 1056"/>
                <a:gd name="T7" fmla="*/ 94 h 1206"/>
                <a:gd name="T8" fmla="*/ 21 w 1056"/>
                <a:gd name="T9" fmla="*/ 91 h 1206"/>
                <a:gd name="T10" fmla="*/ 18 w 1056"/>
                <a:gd name="T11" fmla="*/ 89 h 1206"/>
                <a:gd name="T12" fmla="*/ 15 w 1056"/>
                <a:gd name="T13" fmla="*/ 86 h 1206"/>
                <a:gd name="T14" fmla="*/ 11 w 1056"/>
                <a:gd name="T15" fmla="*/ 83 h 1206"/>
                <a:gd name="T16" fmla="*/ 8 w 1056"/>
                <a:gd name="T17" fmla="*/ 81 h 1206"/>
                <a:gd name="T18" fmla="*/ 6 w 1056"/>
                <a:gd name="T19" fmla="*/ 79 h 1206"/>
                <a:gd name="T20" fmla="*/ 13 w 1056"/>
                <a:gd name="T21" fmla="*/ 78 h 1206"/>
                <a:gd name="T22" fmla="*/ 8 w 1056"/>
                <a:gd name="T23" fmla="*/ 75 h 1206"/>
                <a:gd name="T24" fmla="*/ 13 w 1056"/>
                <a:gd name="T25" fmla="*/ 71 h 1206"/>
                <a:gd name="T26" fmla="*/ 10 w 1056"/>
                <a:gd name="T27" fmla="*/ 63 h 1206"/>
                <a:gd name="T28" fmla="*/ 6 w 1056"/>
                <a:gd name="T29" fmla="*/ 66 h 1206"/>
                <a:gd name="T30" fmla="*/ 1 w 1056"/>
                <a:gd name="T31" fmla="*/ 63 h 1206"/>
                <a:gd name="T32" fmla="*/ 1 w 1056"/>
                <a:gd name="T33" fmla="*/ 59 h 1206"/>
                <a:gd name="T34" fmla="*/ 3 w 1056"/>
                <a:gd name="T35" fmla="*/ 57 h 1206"/>
                <a:gd name="T36" fmla="*/ 6 w 1056"/>
                <a:gd name="T37" fmla="*/ 55 h 1206"/>
                <a:gd name="T38" fmla="*/ 10 w 1056"/>
                <a:gd name="T39" fmla="*/ 51 h 1206"/>
                <a:gd name="T40" fmla="*/ 11 w 1056"/>
                <a:gd name="T41" fmla="*/ 46 h 1206"/>
                <a:gd name="T42" fmla="*/ 14 w 1056"/>
                <a:gd name="T43" fmla="*/ 42 h 1206"/>
                <a:gd name="T44" fmla="*/ 15 w 1056"/>
                <a:gd name="T45" fmla="*/ 36 h 1206"/>
                <a:gd name="T46" fmla="*/ 17 w 1056"/>
                <a:gd name="T47" fmla="*/ 34 h 1206"/>
                <a:gd name="T48" fmla="*/ 20 w 1056"/>
                <a:gd name="T49" fmla="*/ 31 h 1206"/>
                <a:gd name="T50" fmla="*/ 21 w 1056"/>
                <a:gd name="T51" fmla="*/ 29 h 1206"/>
                <a:gd name="T52" fmla="*/ 23 w 1056"/>
                <a:gd name="T53" fmla="*/ 22 h 1206"/>
                <a:gd name="T54" fmla="*/ 35 w 1056"/>
                <a:gd name="T55" fmla="*/ 22 h 1206"/>
                <a:gd name="T56" fmla="*/ 41 w 1056"/>
                <a:gd name="T57" fmla="*/ 18 h 1206"/>
                <a:gd name="T58" fmla="*/ 54 w 1056"/>
                <a:gd name="T59" fmla="*/ 20 h 1206"/>
                <a:gd name="T60" fmla="*/ 54 w 1056"/>
                <a:gd name="T61" fmla="*/ 26 h 1206"/>
                <a:gd name="T62" fmla="*/ 64 w 1056"/>
                <a:gd name="T63" fmla="*/ 25 h 1206"/>
                <a:gd name="T64" fmla="*/ 71 w 1056"/>
                <a:gd name="T65" fmla="*/ 10 h 1206"/>
                <a:gd name="T66" fmla="*/ 80 w 1056"/>
                <a:gd name="T67" fmla="*/ 1 h 1206"/>
                <a:gd name="T68" fmla="*/ 86 w 1056"/>
                <a:gd name="T69" fmla="*/ 2 h 1206"/>
                <a:gd name="T70" fmla="*/ 91 w 1056"/>
                <a:gd name="T71" fmla="*/ 13 h 1206"/>
                <a:gd name="T72" fmla="*/ 88 w 1056"/>
                <a:gd name="T73" fmla="*/ 17 h 1206"/>
                <a:gd name="T74" fmla="*/ 89 w 1056"/>
                <a:gd name="T75" fmla="*/ 21 h 1206"/>
                <a:gd name="T76" fmla="*/ 86 w 1056"/>
                <a:gd name="T77" fmla="*/ 25 h 1206"/>
                <a:gd name="T78" fmla="*/ 85 w 1056"/>
                <a:gd name="T79" fmla="*/ 31 h 1206"/>
                <a:gd name="T80" fmla="*/ 83 w 1056"/>
                <a:gd name="T81" fmla="*/ 36 h 1206"/>
                <a:gd name="T82" fmla="*/ 80 w 1056"/>
                <a:gd name="T83" fmla="*/ 42 h 1206"/>
                <a:gd name="T84" fmla="*/ 80 w 1056"/>
                <a:gd name="T85" fmla="*/ 47 h 1206"/>
                <a:gd name="T86" fmla="*/ 77 w 1056"/>
                <a:gd name="T87" fmla="*/ 55 h 1206"/>
                <a:gd name="T88" fmla="*/ 75 w 1056"/>
                <a:gd name="T89" fmla="*/ 57 h 1206"/>
                <a:gd name="T90" fmla="*/ 66 w 1056"/>
                <a:gd name="T91" fmla="*/ 57 h 1206"/>
                <a:gd name="T92" fmla="*/ 66 w 1056"/>
                <a:gd name="T93" fmla="*/ 51 h 1206"/>
                <a:gd name="T94" fmla="*/ 48 w 1056"/>
                <a:gd name="T95" fmla="*/ 50 h 1206"/>
                <a:gd name="T96" fmla="*/ 46 w 1056"/>
                <a:gd name="T97" fmla="*/ 55 h 1206"/>
                <a:gd name="T98" fmla="*/ 42 w 1056"/>
                <a:gd name="T99" fmla="*/ 59 h 1206"/>
                <a:gd name="T100" fmla="*/ 41 w 1056"/>
                <a:gd name="T101" fmla="*/ 62 h 1206"/>
                <a:gd name="T102" fmla="*/ 43 w 1056"/>
                <a:gd name="T103" fmla="*/ 67 h 1206"/>
                <a:gd name="T104" fmla="*/ 42 w 1056"/>
                <a:gd name="T105" fmla="*/ 72 h 1206"/>
                <a:gd name="T106" fmla="*/ 39 w 1056"/>
                <a:gd name="T107" fmla="*/ 77 h 1206"/>
                <a:gd name="T108" fmla="*/ 36 w 1056"/>
                <a:gd name="T109" fmla="*/ 80 h 1206"/>
                <a:gd name="T110" fmla="*/ 37 w 1056"/>
                <a:gd name="T111" fmla="*/ 83 h 1206"/>
                <a:gd name="T112" fmla="*/ 40 w 1056"/>
                <a:gd name="T113" fmla="*/ 87 h 1206"/>
                <a:gd name="T114" fmla="*/ 42 w 1056"/>
                <a:gd name="T115" fmla="*/ 89 h 12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56"/>
                <a:gd name="T175" fmla="*/ 0 h 1206"/>
                <a:gd name="T176" fmla="*/ 1056 w 1056"/>
                <a:gd name="T177" fmla="*/ 1206 h 12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56" h="1206">
                  <a:moveTo>
                    <a:pt x="492" y="1032"/>
                  </a:moveTo>
                  <a:lnTo>
                    <a:pt x="486" y="1038"/>
                  </a:lnTo>
                  <a:lnTo>
                    <a:pt x="486" y="1044"/>
                  </a:lnTo>
                  <a:lnTo>
                    <a:pt x="480" y="1044"/>
                  </a:lnTo>
                  <a:lnTo>
                    <a:pt x="474" y="1056"/>
                  </a:lnTo>
                  <a:lnTo>
                    <a:pt x="462" y="1068"/>
                  </a:lnTo>
                  <a:lnTo>
                    <a:pt x="456" y="1080"/>
                  </a:lnTo>
                  <a:lnTo>
                    <a:pt x="450" y="1080"/>
                  </a:lnTo>
                  <a:lnTo>
                    <a:pt x="450" y="1086"/>
                  </a:lnTo>
                  <a:lnTo>
                    <a:pt x="450" y="1092"/>
                  </a:lnTo>
                  <a:lnTo>
                    <a:pt x="444" y="1104"/>
                  </a:lnTo>
                  <a:lnTo>
                    <a:pt x="444" y="1116"/>
                  </a:lnTo>
                  <a:lnTo>
                    <a:pt x="438" y="1128"/>
                  </a:lnTo>
                  <a:lnTo>
                    <a:pt x="432" y="1134"/>
                  </a:lnTo>
                  <a:lnTo>
                    <a:pt x="432" y="1140"/>
                  </a:lnTo>
                  <a:lnTo>
                    <a:pt x="420" y="1152"/>
                  </a:lnTo>
                  <a:lnTo>
                    <a:pt x="420" y="1158"/>
                  </a:lnTo>
                  <a:lnTo>
                    <a:pt x="408" y="1182"/>
                  </a:lnTo>
                  <a:lnTo>
                    <a:pt x="396" y="1194"/>
                  </a:lnTo>
                  <a:lnTo>
                    <a:pt x="390" y="1206"/>
                  </a:lnTo>
                  <a:lnTo>
                    <a:pt x="390" y="1200"/>
                  </a:lnTo>
                  <a:lnTo>
                    <a:pt x="384" y="1194"/>
                  </a:lnTo>
                  <a:lnTo>
                    <a:pt x="378" y="1188"/>
                  </a:lnTo>
                  <a:lnTo>
                    <a:pt x="366" y="1176"/>
                  </a:lnTo>
                  <a:lnTo>
                    <a:pt x="366" y="1170"/>
                  </a:lnTo>
                  <a:lnTo>
                    <a:pt x="348" y="1152"/>
                  </a:lnTo>
                  <a:lnTo>
                    <a:pt x="336" y="1140"/>
                  </a:lnTo>
                  <a:lnTo>
                    <a:pt x="330" y="1134"/>
                  </a:lnTo>
                  <a:lnTo>
                    <a:pt x="324" y="1128"/>
                  </a:lnTo>
                  <a:lnTo>
                    <a:pt x="318" y="1122"/>
                  </a:lnTo>
                  <a:lnTo>
                    <a:pt x="312" y="1116"/>
                  </a:lnTo>
                  <a:lnTo>
                    <a:pt x="306" y="1110"/>
                  </a:lnTo>
                  <a:lnTo>
                    <a:pt x="300" y="1104"/>
                  </a:lnTo>
                  <a:lnTo>
                    <a:pt x="294" y="1098"/>
                  </a:lnTo>
                  <a:lnTo>
                    <a:pt x="276" y="1080"/>
                  </a:lnTo>
                  <a:lnTo>
                    <a:pt x="270" y="1080"/>
                  </a:lnTo>
                  <a:lnTo>
                    <a:pt x="270" y="1074"/>
                  </a:lnTo>
                  <a:lnTo>
                    <a:pt x="264" y="1068"/>
                  </a:lnTo>
                  <a:lnTo>
                    <a:pt x="258" y="1062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40" y="1050"/>
                  </a:lnTo>
                  <a:lnTo>
                    <a:pt x="234" y="1044"/>
                  </a:lnTo>
                  <a:lnTo>
                    <a:pt x="228" y="1044"/>
                  </a:lnTo>
                  <a:lnTo>
                    <a:pt x="222" y="1038"/>
                  </a:lnTo>
                  <a:lnTo>
                    <a:pt x="222" y="1032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6"/>
                  </a:lnTo>
                  <a:lnTo>
                    <a:pt x="204" y="1020"/>
                  </a:lnTo>
                  <a:lnTo>
                    <a:pt x="204" y="1014"/>
                  </a:lnTo>
                  <a:lnTo>
                    <a:pt x="198" y="1014"/>
                  </a:lnTo>
                  <a:lnTo>
                    <a:pt x="192" y="1014"/>
                  </a:lnTo>
                  <a:lnTo>
                    <a:pt x="192" y="1008"/>
                  </a:lnTo>
                  <a:lnTo>
                    <a:pt x="186" y="1008"/>
                  </a:lnTo>
                  <a:lnTo>
                    <a:pt x="186" y="1002"/>
                  </a:lnTo>
                  <a:lnTo>
                    <a:pt x="180" y="1002"/>
                  </a:lnTo>
                  <a:lnTo>
                    <a:pt x="174" y="996"/>
                  </a:lnTo>
                  <a:lnTo>
                    <a:pt x="168" y="996"/>
                  </a:lnTo>
                  <a:lnTo>
                    <a:pt x="168" y="990"/>
                  </a:lnTo>
                  <a:lnTo>
                    <a:pt x="162" y="990"/>
                  </a:lnTo>
                  <a:lnTo>
                    <a:pt x="162" y="984"/>
                  </a:lnTo>
                  <a:lnTo>
                    <a:pt x="150" y="978"/>
                  </a:lnTo>
                  <a:lnTo>
                    <a:pt x="144" y="972"/>
                  </a:lnTo>
                  <a:lnTo>
                    <a:pt x="138" y="972"/>
                  </a:lnTo>
                  <a:lnTo>
                    <a:pt x="138" y="966"/>
                  </a:lnTo>
                  <a:lnTo>
                    <a:pt x="132" y="966"/>
                  </a:lnTo>
                  <a:lnTo>
                    <a:pt x="126" y="960"/>
                  </a:lnTo>
                  <a:lnTo>
                    <a:pt x="126" y="954"/>
                  </a:lnTo>
                  <a:lnTo>
                    <a:pt x="120" y="954"/>
                  </a:lnTo>
                  <a:lnTo>
                    <a:pt x="114" y="948"/>
                  </a:lnTo>
                  <a:lnTo>
                    <a:pt x="108" y="948"/>
                  </a:lnTo>
                  <a:lnTo>
                    <a:pt x="108" y="942"/>
                  </a:lnTo>
                  <a:lnTo>
                    <a:pt x="102" y="942"/>
                  </a:lnTo>
                  <a:lnTo>
                    <a:pt x="96" y="942"/>
                  </a:lnTo>
                  <a:lnTo>
                    <a:pt x="96" y="936"/>
                  </a:lnTo>
                  <a:lnTo>
                    <a:pt x="90" y="936"/>
                  </a:lnTo>
                  <a:lnTo>
                    <a:pt x="90" y="930"/>
                  </a:lnTo>
                  <a:lnTo>
                    <a:pt x="84" y="930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18"/>
                  </a:lnTo>
                  <a:lnTo>
                    <a:pt x="66" y="918"/>
                  </a:lnTo>
                  <a:lnTo>
                    <a:pt x="66" y="912"/>
                  </a:lnTo>
                  <a:lnTo>
                    <a:pt x="66" y="906"/>
                  </a:lnTo>
                  <a:lnTo>
                    <a:pt x="72" y="906"/>
                  </a:lnTo>
                  <a:lnTo>
                    <a:pt x="84" y="906"/>
                  </a:lnTo>
                  <a:lnTo>
                    <a:pt x="90" y="906"/>
                  </a:lnTo>
                  <a:lnTo>
                    <a:pt x="120" y="930"/>
                  </a:lnTo>
                  <a:lnTo>
                    <a:pt x="126" y="936"/>
                  </a:lnTo>
                  <a:lnTo>
                    <a:pt x="138" y="936"/>
                  </a:lnTo>
                  <a:lnTo>
                    <a:pt x="138" y="930"/>
                  </a:lnTo>
                  <a:lnTo>
                    <a:pt x="144" y="930"/>
                  </a:lnTo>
                  <a:lnTo>
                    <a:pt x="144" y="924"/>
                  </a:lnTo>
                  <a:lnTo>
                    <a:pt x="150" y="900"/>
                  </a:lnTo>
                  <a:lnTo>
                    <a:pt x="138" y="894"/>
                  </a:lnTo>
                  <a:lnTo>
                    <a:pt x="126" y="894"/>
                  </a:lnTo>
                  <a:lnTo>
                    <a:pt x="108" y="888"/>
                  </a:lnTo>
                  <a:lnTo>
                    <a:pt x="84" y="882"/>
                  </a:lnTo>
                  <a:lnTo>
                    <a:pt x="72" y="882"/>
                  </a:lnTo>
                  <a:lnTo>
                    <a:pt x="72" y="876"/>
                  </a:lnTo>
                  <a:lnTo>
                    <a:pt x="78" y="870"/>
                  </a:lnTo>
                  <a:lnTo>
                    <a:pt x="90" y="870"/>
                  </a:lnTo>
                  <a:lnTo>
                    <a:pt x="96" y="870"/>
                  </a:lnTo>
                  <a:lnTo>
                    <a:pt x="102" y="870"/>
                  </a:lnTo>
                  <a:lnTo>
                    <a:pt x="114" y="870"/>
                  </a:lnTo>
                  <a:lnTo>
                    <a:pt x="120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34"/>
                  </a:lnTo>
                  <a:lnTo>
                    <a:pt x="132" y="828"/>
                  </a:lnTo>
                  <a:lnTo>
                    <a:pt x="132" y="816"/>
                  </a:lnTo>
                  <a:lnTo>
                    <a:pt x="150" y="816"/>
                  </a:lnTo>
                  <a:lnTo>
                    <a:pt x="150" y="804"/>
                  </a:lnTo>
                  <a:lnTo>
                    <a:pt x="144" y="798"/>
                  </a:lnTo>
                  <a:lnTo>
                    <a:pt x="156" y="762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32"/>
                  </a:lnTo>
                  <a:lnTo>
                    <a:pt x="144" y="726"/>
                  </a:lnTo>
                  <a:lnTo>
                    <a:pt x="132" y="726"/>
                  </a:lnTo>
                  <a:lnTo>
                    <a:pt x="120" y="732"/>
                  </a:lnTo>
                  <a:lnTo>
                    <a:pt x="114" y="744"/>
                  </a:lnTo>
                  <a:lnTo>
                    <a:pt x="108" y="750"/>
                  </a:lnTo>
                  <a:lnTo>
                    <a:pt x="96" y="768"/>
                  </a:lnTo>
                  <a:lnTo>
                    <a:pt x="96" y="774"/>
                  </a:lnTo>
                  <a:lnTo>
                    <a:pt x="90" y="780"/>
                  </a:lnTo>
                  <a:lnTo>
                    <a:pt x="84" y="804"/>
                  </a:lnTo>
                  <a:lnTo>
                    <a:pt x="72" y="774"/>
                  </a:lnTo>
                  <a:lnTo>
                    <a:pt x="72" y="768"/>
                  </a:lnTo>
                  <a:lnTo>
                    <a:pt x="66" y="762"/>
                  </a:lnTo>
                  <a:lnTo>
                    <a:pt x="60" y="750"/>
                  </a:lnTo>
                  <a:lnTo>
                    <a:pt x="54" y="750"/>
                  </a:lnTo>
                  <a:lnTo>
                    <a:pt x="48" y="750"/>
                  </a:lnTo>
                  <a:lnTo>
                    <a:pt x="42" y="750"/>
                  </a:lnTo>
                  <a:lnTo>
                    <a:pt x="30" y="744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12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2" y="702"/>
                  </a:lnTo>
                  <a:lnTo>
                    <a:pt x="18" y="696"/>
                  </a:lnTo>
                  <a:lnTo>
                    <a:pt x="12" y="690"/>
                  </a:lnTo>
                  <a:lnTo>
                    <a:pt x="12" y="684"/>
                  </a:lnTo>
                  <a:lnTo>
                    <a:pt x="12" y="678"/>
                  </a:lnTo>
                  <a:lnTo>
                    <a:pt x="12" y="672"/>
                  </a:lnTo>
                  <a:lnTo>
                    <a:pt x="18" y="672"/>
                  </a:lnTo>
                  <a:lnTo>
                    <a:pt x="18" y="666"/>
                  </a:lnTo>
                  <a:lnTo>
                    <a:pt x="24" y="666"/>
                  </a:lnTo>
                  <a:lnTo>
                    <a:pt x="24" y="660"/>
                  </a:lnTo>
                  <a:lnTo>
                    <a:pt x="30" y="660"/>
                  </a:lnTo>
                  <a:lnTo>
                    <a:pt x="30" y="654"/>
                  </a:lnTo>
                  <a:lnTo>
                    <a:pt x="36" y="654"/>
                  </a:lnTo>
                  <a:lnTo>
                    <a:pt x="36" y="648"/>
                  </a:lnTo>
                  <a:lnTo>
                    <a:pt x="42" y="648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60" y="630"/>
                  </a:lnTo>
                  <a:lnTo>
                    <a:pt x="66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78" y="624"/>
                  </a:lnTo>
                  <a:lnTo>
                    <a:pt x="84" y="618"/>
                  </a:lnTo>
                  <a:lnTo>
                    <a:pt x="84" y="612"/>
                  </a:lnTo>
                  <a:lnTo>
                    <a:pt x="90" y="612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20" y="588"/>
                  </a:lnTo>
                  <a:lnTo>
                    <a:pt x="120" y="582"/>
                  </a:lnTo>
                  <a:lnTo>
                    <a:pt x="120" y="576"/>
                  </a:lnTo>
                  <a:lnTo>
                    <a:pt x="120" y="570"/>
                  </a:lnTo>
                  <a:lnTo>
                    <a:pt x="126" y="564"/>
                  </a:lnTo>
                  <a:lnTo>
                    <a:pt x="126" y="558"/>
                  </a:lnTo>
                  <a:lnTo>
                    <a:pt x="126" y="552"/>
                  </a:lnTo>
                  <a:lnTo>
                    <a:pt x="126" y="546"/>
                  </a:lnTo>
                  <a:lnTo>
                    <a:pt x="126" y="534"/>
                  </a:lnTo>
                  <a:lnTo>
                    <a:pt x="126" y="516"/>
                  </a:lnTo>
                  <a:lnTo>
                    <a:pt x="126" y="510"/>
                  </a:lnTo>
                  <a:lnTo>
                    <a:pt x="126" y="504"/>
                  </a:lnTo>
                  <a:lnTo>
                    <a:pt x="126" y="498"/>
                  </a:lnTo>
                  <a:lnTo>
                    <a:pt x="132" y="498"/>
                  </a:lnTo>
                  <a:lnTo>
                    <a:pt x="132" y="492"/>
                  </a:lnTo>
                  <a:lnTo>
                    <a:pt x="138" y="492"/>
                  </a:lnTo>
                  <a:lnTo>
                    <a:pt x="144" y="486"/>
                  </a:lnTo>
                  <a:lnTo>
                    <a:pt x="156" y="480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6" y="462"/>
                  </a:lnTo>
                  <a:lnTo>
                    <a:pt x="156" y="456"/>
                  </a:lnTo>
                  <a:lnTo>
                    <a:pt x="156" y="450"/>
                  </a:lnTo>
                  <a:lnTo>
                    <a:pt x="162" y="438"/>
                  </a:lnTo>
                  <a:lnTo>
                    <a:pt x="168" y="426"/>
                  </a:lnTo>
                  <a:lnTo>
                    <a:pt x="174" y="426"/>
                  </a:lnTo>
                  <a:lnTo>
                    <a:pt x="174" y="420"/>
                  </a:lnTo>
                  <a:lnTo>
                    <a:pt x="180" y="414"/>
                  </a:lnTo>
                  <a:lnTo>
                    <a:pt x="186" y="420"/>
                  </a:lnTo>
                  <a:lnTo>
                    <a:pt x="186" y="414"/>
                  </a:lnTo>
                  <a:lnTo>
                    <a:pt x="180" y="408"/>
                  </a:lnTo>
                  <a:lnTo>
                    <a:pt x="180" y="402"/>
                  </a:lnTo>
                  <a:lnTo>
                    <a:pt x="186" y="402"/>
                  </a:lnTo>
                  <a:lnTo>
                    <a:pt x="192" y="402"/>
                  </a:lnTo>
                  <a:lnTo>
                    <a:pt x="192" y="396"/>
                  </a:lnTo>
                  <a:lnTo>
                    <a:pt x="198" y="396"/>
                  </a:lnTo>
                  <a:lnTo>
                    <a:pt x="204" y="396"/>
                  </a:lnTo>
                  <a:lnTo>
                    <a:pt x="210" y="396"/>
                  </a:lnTo>
                  <a:lnTo>
                    <a:pt x="210" y="390"/>
                  </a:lnTo>
                  <a:lnTo>
                    <a:pt x="216" y="390"/>
                  </a:lnTo>
                  <a:lnTo>
                    <a:pt x="216" y="384"/>
                  </a:lnTo>
                  <a:lnTo>
                    <a:pt x="222" y="384"/>
                  </a:lnTo>
                  <a:lnTo>
                    <a:pt x="222" y="378"/>
                  </a:lnTo>
                  <a:lnTo>
                    <a:pt x="228" y="372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0" y="348"/>
                  </a:lnTo>
                  <a:lnTo>
                    <a:pt x="234" y="342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46" y="330"/>
                  </a:lnTo>
                  <a:lnTo>
                    <a:pt x="246" y="324"/>
                  </a:lnTo>
                  <a:lnTo>
                    <a:pt x="234" y="318"/>
                  </a:lnTo>
                  <a:lnTo>
                    <a:pt x="234" y="312"/>
                  </a:lnTo>
                  <a:lnTo>
                    <a:pt x="234" y="300"/>
                  </a:lnTo>
                  <a:lnTo>
                    <a:pt x="240" y="288"/>
                  </a:lnTo>
                  <a:lnTo>
                    <a:pt x="240" y="276"/>
                  </a:lnTo>
                  <a:lnTo>
                    <a:pt x="246" y="258"/>
                  </a:lnTo>
                  <a:lnTo>
                    <a:pt x="258" y="252"/>
                  </a:lnTo>
                  <a:lnTo>
                    <a:pt x="270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294" y="252"/>
                  </a:lnTo>
                  <a:lnTo>
                    <a:pt x="300" y="258"/>
                  </a:lnTo>
                  <a:lnTo>
                    <a:pt x="318" y="252"/>
                  </a:lnTo>
                  <a:lnTo>
                    <a:pt x="366" y="252"/>
                  </a:lnTo>
                  <a:lnTo>
                    <a:pt x="378" y="252"/>
                  </a:lnTo>
                  <a:lnTo>
                    <a:pt x="396" y="252"/>
                  </a:lnTo>
                  <a:lnTo>
                    <a:pt x="408" y="252"/>
                  </a:lnTo>
                  <a:lnTo>
                    <a:pt x="408" y="246"/>
                  </a:lnTo>
                  <a:lnTo>
                    <a:pt x="414" y="240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20" y="216"/>
                  </a:lnTo>
                  <a:lnTo>
                    <a:pt x="426" y="210"/>
                  </a:lnTo>
                  <a:lnTo>
                    <a:pt x="444" y="198"/>
                  </a:lnTo>
                  <a:lnTo>
                    <a:pt x="462" y="198"/>
                  </a:lnTo>
                  <a:lnTo>
                    <a:pt x="474" y="204"/>
                  </a:lnTo>
                  <a:lnTo>
                    <a:pt x="498" y="198"/>
                  </a:lnTo>
                  <a:lnTo>
                    <a:pt x="498" y="204"/>
                  </a:lnTo>
                  <a:lnTo>
                    <a:pt x="540" y="210"/>
                  </a:lnTo>
                  <a:lnTo>
                    <a:pt x="564" y="210"/>
                  </a:lnTo>
                  <a:lnTo>
                    <a:pt x="588" y="210"/>
                  </a:lnTo>
                  <a:lnTo>
                    <a:pt x="612" y="210"/>
                  </a:lnTo>
                  <a:lnTo>
                    <a:pt x="612" y="216"/>
                  </a:lnTo>
                  <a:lnTo>
                    <a:pt x="618" y="222"/>
                  </a:lnTo>
                  <a:lnTo>
                    <a:pt x="618" y="228"/>
                  </a:lnTo>
                  <a:lnTo>
                    <a:pt x="624" y="240"/>
                  </a:lnTo>
                  <a:lnTo>
                    <a:pt x="624" y="246"/>
                  </a:lnTo>
                  <a:lnTo>
                    <a:pt x="630" y="252"/>
                  </a:lnTo>
                  <a:lnTo>
                    <a:pt x="630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0" y="282"/>
                  </a:lnTo>
                  <a:lnTo>
                    <a:pt x="630" y="288"/>
                  </a:lnTo>
                  <a:lnTo>
                    <a:pt x="630" y="300"/>
                  </a:lnTo>
                  <a:lnTo>
                    <a:pt x="630" y="306"/>
                  </a:lnTo>
                  <a:lnTo>
                    <a:pt x="636" y="306"/>
                  </a:lnTo>
                  <a:lnTo>
                    <a:pt x="642" y="306"/>
                  </a:lnTo>
                  <a:lnTo>
                    <a:pt x="648" y="312"/>
                  </a:lnTo>
                  <a:lnTo>
                    <a:pt x="666" y="312"/>
                  </a:lnTo>
                  <a:lnTo>
                    <a:pt x="696" y="306"/>
                  </a:lnTo>
                  <a:lnTo>
                    <a:pt x="732" y="300"/>
                  </a:lnTo>
                  <a:lnTo>
                    <a:pt x="732" y="288"/>
                  </a:lnTo>
                  <a:lnTo>
                    <a:pt x="738" y="288"/>
                  </a:lnTo>
                  <a:lnTo>
                    <a:pt x="744" y="276"/>
                  </a:lnTo>
                  <a:lnTo>
                    <a:pt x="762" y="246"/>
                  </a:lnTo>
                  <a:lnTo>
                    <a:pt x="768" y="228"/>
                  </a:lnTo>
                  <a:lnTo>
                    <a:pt x="792" y="210"/>
                  </a:lnTo>
                  <a:lnTo>
                    <a:pt x="804" y="186"/>
                  </a:lnTo>
                  <a:lnTo>
                    <a:pt x="804" y="156"/>
                  </a:lnTo>
                  <a:lnTo>
                    <a:pt x="804" y="138"/>
                  </a:lnTo>
                  <a:lnTo>
                    <a:pt x="810" y="126"/>
                  </a:lnTo>
                  <a:lnTo>
                    <a:pt x="816" y="120"/>
                  </a:lnTo>
                  <a:lnTo>
                    <a:pt x="828" y="102"/>
                  </a:lnTo>
                  <a:lnTo>
                    <a:pt x="834" y="96"/>
                  </a:lnTo>
                  <a:lnTo>
                    <a:pt x="846" y="102"/>
                  </a:lnTo>
                  <a:lnTo>
                    <a:pt x="852" y="96"/>
                  </a:lnTo>
                  <a:lnTo>
                    <a:pt x="858" y="72"/>
                  </a:lnTo>
                  <a:lnTo>
                    <a:pt x="864" y="60"/>
                  </a:lnTo>
                  <a:lnTo>
                    <a:pt x="882" y="48"/>
                  </a:lnTo>
                  <a:lnTo>
                    <a:pt x="906" y="36"/>
                  </a:lnTo>
                  <a:lnTo>
                    <a:pt x="918" y="12"/>
                  </a:lnTo>
                  <a:lnTo>
                    <a:pt x="924" y="0"/>
                  </a:lnTo>
                  <a:lnTo>
                    <a:pt x="930" y="6"/>
                  </a:lnTo>
                  <a:lnTo>
                    <a:pt x="942" y="12"/>
                  </a:lnTo>
                  <a:lnTo>
                    <a:pt x="948" y="12"/>
                  </a:lnTo>
                  <a:lnTo>
                    <a:pt x="954" y="18"/>
                  </a:lnTo>
                  <a:lnTo>
                    <a:pt x="966" y="18"/>
                  </a:lnTo>
                  <a:lnTo>
                    <a:pt x="972" y="18"/>
                  </a:lnTo>
                  <a:lnTo>
                    <a:pt x="984" y="18"/>
                  </a:lnTo>
                  <a:lnTo>
                    <a:pt x="990" y="18"/>
                  </a:lnTo>
                  <a:lnTo>
                    <a:pt x="1002" y="48"/>
                  </a:lnTo>
                  <a:lnTo>
                    <a:pt x="1008" y="78"/>
                  </a:lnTo>
                  <a:lnTo>
                    <a:pt x="1020" y="78"/>
                  </a:lnTo>
                  <a:lnTo>
                    <a:pt x="1020" y="90"/>
                  </a:lnTo>
                  <a:lnTo>
                    <a:pt x="1026" y="102"/>
                  </a:lnTo>
                  <a:lnTo>
                    <a:pt x="1044" y="120"/>
                  </a:lnTo>
                  <a:lnTo>
                    <a:pt x="1044" y="132"/>
                  </a:lnTo>
                  <a:lnTo>
                    <a:pt x="1056" y="150"/>
                  </a:lnTo>
                  <a:lnTo>
                    <a:pt x="1050" y="150"/>
                  </a:lnTo>
                  <a:lnTo>
                    <a:pt x="1044" y="156"/>
                  </a:lnTo>
                  <a:lnTo>
                    <a:pt x="1044" y="162"/>
                  </a:lnTo>
                  <a:lnTo>
                    <a:pt x="1038" y="162"/>
                  </a:lnTo>
                  <a:lnTo>
                    <a:pt x="1032" y="162"/>
                  </a:lnTo>
                  <a:lnTo>
                    <a:pt x="1026" y="168"/>
                  </a:lnTo>
                  <a:lnTo>
                    <a:pt x="1014" y="174"/>
                  </a:lnTo>
                  <a:lnTo>
                    <a:pt x="1014" y="186"/>
                  </a:lnTo>
                  <a:lnTo>
                    <a:pt x="1014" y="192"/>
                  </a:lnTo>
                  <a:lnTo>
                    <a:pt x="1014" y="198"/>
                  </a:lnTo>
                  <a:lnTo>
                    <a:pt x="1020" y="204"/>
                  </a:lnTo>
                  <a:lnTo>
                    <a:pt x="1026" y="204"/>
                  </a:lnTo>
                  <a:lnTo>
                    <a:pt x="1032" y="204"/>
                  </a:lnTo>
                  <a:lnTo>
                    <a:pt x="1032" y="210"/>
                  </a:lnTo>
                  <a:lnTo>
                    <a:pt x="1038" y="210"/>
                  </a:lnTo>
                  <a:lnTo>
                    <a:pt x="1032" y="216"/>
                  </a:lnTo>
                  <a:lnTo>
                    <a:pt x="1026" y="228"/>
                  </a:lnTo>
                  <a:lnTo>
                    <a:pt x="1026" y="234"/>
                  </a:lnTo>
                  <a:lnTo>
                    <a:pt x="1032" y="240"/>
                  </a:lnTo>
                  <a:lnTo>
                    <a:pt x="1032" y="246"/>
                  </a:lnTo>
                  <a:lnTo>
                    <a:pt x="1032" y="252"/>
                  </a:lnTo>
                  <a:lnTo>
                    <a:pt x="1032" y="258"/>
                  </a:lnTo>
                  <a:lnTo>
                    <a:pt x="1038" y="264"/>
                  </a:lnTo>
                  <a:lnTo>
                    <a:pt x="1032" y="276"/>
                  </a:lnTo>
                  <a:lnTo>
                    <a:pt x="1026" y="276"/>
                  </a:lnTo>
                  <a:lnTo>
                    <a:pt x="1020" y="276"/>
                  </a:lnTo>
                  <a:lnTo>
                    <a:pt x="996" y="282"/>
                  </a:lnTo>
                  <a:lnTo>
                    <a:pt x="996" y="288"/>
                  </a:lnTo>
                  <a:lnTo>
                    <a:pt x="996" y="294"/>
                  </a:lnTo>
                  <a:lnTo>
                    <a:pt x="996" y="300"/>
                  </a:lnTo>
                  <a:lnTo>
                    <a:pt x="996" y="306"/>
                  </a:lnTo>
                  <a:lnTo>
                    <a:pt x="984" y="324"/>
                  </a:lnTo>
                  <a:lnTo>
                    <a:pt x="984" y="330"/>
                  </a:lnTo>
                  <a:lnTo>
                    <a:pt x="984" y="336"/>
                  </a:lnTo>
                  <a:lnTo>
                    <a:pt x="978" y="336"/>
                  </a:lnTo>
                  <a:lnTo>
                    <a:pt x="978" y="342"/>
                  </a:lnTo>
                  <a:lnTo>
                    <a:pt x="984" y="360"/>
                  </a:lnTo>
                  <a:lnTo>
                    <a:pt x="978" y="366"/>
                  </a:lnTo>
                  <a:lnTo>
                    <a:pt x="978" y="372"/>
                  </a:lnTo>
                  <a:lnTo>
                    <a:pt x="972" y="372"/>
                  </a:lnTo>
                  <a:lnTo>
                    <a:pt x="972" y="378"/>
                  </a:lnTo>
                  <a:lnTo>
                    <a:pt x="972" y="384"/>
                  </a:lnTo>
                  <a:lnTo>
                    <a:pt x="972" y="390"/>
                  </a:lnTo>
                  <a:lnTo>
                    <a:pt x="966" y="402"/>
                  </a:lnTo>
                  <a:lnTo>
                    <a:pt x="960" y="414"/>
                  </a:lnTo>
                  <a:lnTo>
                    <a:pt x="954" y="420"/>
                  </a:lnTo>
                  <a:lnTo>
                    <a:pt x="948" y="426"/>
                  </a:lnTo>
                  <a:lnTo>
                    <a:pt x="948" y="438"/>
                  </a:lnTo>
                  <a:lnTo>
                    <a:pt x="942" y="444"/>
                  </a:lnTo>
                  <a:lnTo>
                    <a:pt x="936" y="450"/>
                  </a:lnTo>
                  <a:lnTo>
                    <a:pt x="930" y="456"/>
                  </a:lnTo>
                  <a:lnTo>
                    <a:pt x="924" y="462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18" y="522"/>
                  </a:lnTo>
                  <a:lnTo>
                    <a:pt x="918" y="528"/>
                  </a:lnTo>
                  <a:lnTo>
                    <a:pt x="924" y="534"/>
                  </a:lnTo>
                  <a:lnTo>
                    <a:pt x="924" y="540"/>
                  </a:lnTo>
                  <a:lnTo>
                    <a:pt x="924" y="546"/>
                  </a:lnTo>
                  <a:lnTo>
                    <a:pt x="918" y="546"/>
                  </a:lnTo>
                  <a:lnTo>
                    <a:pt x="918" y="552"/>
                  </a:lnTo>
                  <a:lnTo>
                    <a:pt x="912" y="546"/>
                  </a:lnTo>
                  <a:lnTo>
                    <a:pt x="912" y="552"/>
                  </a:lnTo>
                  <a:lnTo>
                    <a:pt x="912" y="570"/>
                  </a:lnTo>
                  <a:lnTo>
                    <a:pt x="906" y="588"/>
                  </a:lnTo>
                  <a:lnTo>
                    <a:pt x="900" y="606"/>
                  </a:lnTo>
                  <a:lnTo>
                    <a:pt x="906" y="624"/>
                  </a:lnTo>
                  <a:lnTo>
                    <a:pt x="900" y="624"/>
                  </a:lnTo>
                  <a:lnTo>
                    <a:pt x="894" y="630"/>
                  </a:lnTo>
                  <a:lnTo>
                    <a:pt x="888" y="630"/>
                  </a:lnTo>
                  <a:lnTo>
                    <a:pt x="882" y="630"/>
                  </a:lnTo>
                  <a:lnTo>
                    <a:pt x="882" y="636"/>
                  </a:lnTo>
                  <a:lnTo>
                    <a:pt x="876" y="642"/>
                  </a:lnTo>
                  <a:lnTo>
                    <a:pt x="870" y="642"/>
                  </a:lnTo>
                  <a:lnTo>
                    <a:pt x="870" y="648"/>
                  </a:lnTo>
                  <a:lnTo>
                    <a:pt x="870" y="654"/>
                  </a:lnTo>
                  <a:lnTo>
                    <a:pt x="864" y="654"/>
                  </a:lnTo>
                  <a:lnTo>
                    <a:pt x="864" y="660"/>
                  </a:lnTo>
                  <a:lnTo>
                    <a:pt x="846" y="666"/>
                  </a:lnTo>
                  <a:lnTo>
                    <a:pt x="828" y="672"/>
                  </a:lnTo>
                  <a:lnTo>
                    <a:pt x="816" y="660"/>
                  </a:lnTo>
                  <a:lnTo>
                    <a:pt x="810" y="660"/>
                  </a:lnTo>
                  <a:lnTo>
                    <a:pt x="798" y="666"/>
                  </a:lnTo>
                  <a:lnTo>
                    <a:pt x="786" y="666"/>
                  </a:lnTo>
                  <a:lnTo>
                    <a:pt x="780" y="672"/>
                  </a:lnTo>
                  <a:lnTo>
                    <a:pt x="768" y="678"/>
                  </a:lnTo>
                  <a:lnTo>
                    <a:pt x="762" y="660"/>
                  </a:lnTo>
                  <a:lnTo>
                    <a:pt x="762" y="654"/>
                  </a:lnTo>
                  <a:lnTo>
                    <a:pt x="756" y="636"/>
                  </a:lnTo>
                  <a:lnTo>
                    <a:pt x="762" y="624"/>
                  </a:lnTo>
                  <a:lnTo>
                    <a:pt x="756" y="606"/>
                  </a:lnTo>
                  <a:lnTo>
                    <a:pt x="756" y="600"/>
                  </a:lnTo>
                  <a:lnTo>
                    <a:pt x="762" y="594"/>
                  </a:lnTo>
                  <a:lnTo>
                    <a:pt x="768" y="600"/>
                  </a:lnTo>
                  <a:lnTo>
                    <a:pt x="768" y="594"/>
                  </a:lnTo>
                  <a:lnTo>
                    <a:pt x="768" y="588"/>
                  </a:lnTo>
                  <a:lnTo>
                    <a:pt x="774" y="582"/>
                  </a:lnTo>
                  <a:lnTo>
                    <a:pt x="768" y="576"/>
                  </a:lnTo>
                  <a:lnTo>
                    <a:pt x="762" y="576"/>
                  </a:lnTo>
                  <a:lnTo>
                    <a:pt x="756" y="576"/>
                  </a:lnTo>
                  <a:lnTo>
                    <a:pt x="690" y="576"/>
                  </a:lnTo>
                  <a:lnTo>
                    <a:pt x="624" y="570"/>
                  </a:lnTo>
                  <a:lnTo>
                    <a:pt x="600" y="564"/>
                  </a:lnTo>
                  <a:lnTo>
                    <a:pt x="576" y="564"/>
                  </a:lnTo>
                  <a:lnTo>
                    <a:pt x="558" y="570"/>
                  </a:lnTo>
                  <a:lnTo>
                    <a:pt x="552" y="576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46" y="594"/>
                  </a:lnTo>
                  <a:lnTo>
                    <a:pt x="546" y="600"/>
                  </a:lnTo>
                  <a:lnTo>
                    <a:pt x="540" y="606"/>
                  </a:lnTo>
                  <a:lnTo>
                    <a:pt x="534" y="618"/>
                  </a:lnTo>
                  <a:lnTo>
                    <a:pt x="534" y="624"/>
                  </a:lnTo>
                  <a:lnTo>
                    <a:pt x="534" y="630"/>
                  </a:lnTo>
                  <a:lnTo>
                    <a:pt x="534" y="636"/>
                  </a:lnTo>
                  <a:lnTo>
                    <a:pt x="528" y="636"/>
                  </a:lnTo>
                  <a:lnTo>
                    <a:pt x="516" y="642"/>
                  </a:lnTo>
                  <a:lnTo>
                    <a:pt x="516" y="648"/>
                  </a:lnTo>
                  <a:lnTo>
                    <a:pt x="510" y="648"/>
                  </a:lnTo>
                  <a:lnTo>
                    <a:pt x="504" y="654"/>
                  </a:lnTo>
                  <a:lnTo>
                    <a:pt x="492" y="666"/>
                  </a:lnTo>
                  <a:lnTo>
                    <a:pt x="492" y="672"/>
                  </a:lnTo>
                  <a:lnTo>
                    <a:pt x="492" y="684"/>
                  </a:lnTo>
                  <a:lnTo>
                    <a:pt x="486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92" y="702"/>
                  </a:lnTo>
                  <a:lnTo>
                    <a:pt x="486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74" y="720"/>
                  </a:lnTo>
                  <a:lnTo>
                    <a:pt x="480" y="726"/>
                  </a:lnTo>
                  <a:lnTo>
                    <a:pt x="474" y="726"/>
                  </a:lnTo>
                  <a:lnTo>
                    <a:pt x="474" y="738"/>
                  </a:lnTo>
                  <a:lnTo>
                    <a:pt x="474" y="744"/>
                  </a:lnTo>
                  <a:lnTo>
                    <a:pt x="474" y="750"/>
                  </a:lnTo>
                  <a:lnTo>
                    <a:pt x="480" y="750"/>
                  </a:lnTo>
                  <a:lnTo>
                    <a:pt x="480" y="756"/>
                  </a:lnTo>
                  <a:lnTo>
                    <a:pt x="492" y="762"/>
                  </a:lnTo>
                  <a:lnTo>
                    <a:pt x="498" y="774"/>
                  </a:lnTo>
                  <a:lnTo>
                    <a:pt x="498" y="780"/>
                  </a:lnTo>
                  <a:lnTo>
                    <a:pt x="504" y="786"/>
                  </a:lnTo>
                  <a:lnTo>
                    <a:pt x="510" y="792"/>
                  </a:lnTo>
                  <a:lnTo>
                    <a:pt x="504" y="798"/>
                  </a:lnTo>
                  <a:lnTo>
                    <a:pt x="504" y="804"/>
                  </a:lnTo>
                  <a:lnTo>
                    <a:pt x="504" y="810"/>
                  </a:lnTo>
                  <a:lnTo>
                    <a:pt x="498" y="822"/>
                  </a:lnTo>
                  <a:lnTo>
                    <a:pt x="492" y="828"/>
                  </a:lnTo>
                  <a:lnTo>
                    <a:pt x="492" y="834"/>
                  </a:lnTo>
                  <a:lnTo>
                    <a:pt x="486" y="840"/>
                  </a:lnTo>
                  <a:lnTo>
                    <a:pt x="480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74" y="858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876"/>
                  </a:lnTo>
                  <a:lnTo>
                    <a:pt x="456" y="894"/>
                  </a:lnTo>
                  <a:lnTo>
                    <a:pt x="450" y="894"/>
                  </a:lnTo>
                  <a:lnTo>
                    <a:pt x="444" y="900"/>
                  </a:lnTo>
                  <a:lnTo>
                    <a:pt x="444" y="894"/>
                  </a:lnTo>
                  <a:lnTo>
                    <a:pt x="438" y="894"/>
                  </a:lnTo>
                  <a:lnTo>
                    <a:pt x="432" y="900"/>
                  </a:lnTo>
                  <a:lnTo>
                    <a:pt x="432" y="906"/>
                  </a:lnTo>
                  <a:lnTo>
                    <a:pt x="420" y="906"/>
                  </a:lnTo>
                  <a:lnTo>
                    <a:pt x="420" y="912"/>
                  </a:lnTo>
                  <a:lnTo>
                    <a:pt x="420" y="918"/>
                  </a:lnTo>
                  <a:lnTo>
                    <a:pt x="426" y="918"/>
                  </a:lnTo>
                  <a:lnTo>
                    <a:pt x="426" y="924"/>
                  </a:lnTo>
                  <a:lnTo>
                    <a:pt x="426" y="930"/>
                  </a:lnTo>
                  <a:lnTo>
                    <a:pt x="420" y="930"/>
                  </a:lnTo>
                  <a:lnTo>
                    <a:pt x="414" y="936"/>
                  </a:lnTo>
                  <a:lnTo>
                    <a:pt x="414" y="942"/>
                  </a:lnTo>
                  <a:lnTo>
                    <a:pt x="414" y="948"/>
                  </a:lnTo>
                  <a:lnTo>
                    <a:pt x="414" y="954"/>
                  </a:lnTo>
                  <a:lnTo>
                    <a:pt x="426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44" y="972"/>
                  </a:lnTo>
                  <a:lnTo>
                    <a:pt x="444" y="978"/>
                  </a:lnTo>
                  <a:lnTo>
                    <a:pt x="450" y="978"/>
                  </a:lnTo>
                  <a:lnTo>
                    <a:pt x="450" y="984"/>
                  </a:lnTo>
                  <a:lnTo>
                    <a:pt x="456" y="990"/>
                  </a:lnTo>
                  <a:lnTo>
                    <a:pt x="456" y="996"/>
                  </a:lnTo>
                  <a:lnTo>
                    <a:pt x="462" y="1008"/>
                  </a:lnTo>
                  <a:lnTo>
                    <a:pt x="468" y="1008"/>
                  </a:lnTo>
                  <a:lnTo>
                    <a:pt x="468" y="1002"/>
                  </a:lnTo>
                  <a:lnTo>
                    <a:pt x="474" y="1008"/>
                  </a:lnTo>
                  <a:lnTo>
                    <a:pt x="480" y="1002"/>
                  </a:lnTo>
                  <a:lnTo>
                    <a:pt x="486" y="1008"/>
                  </a:lnTo>
                  <a:lnTo>
                    <a:pt x="486" y="1014"/>
                  </a:lnTo>
                  <a:lnTo>
                    <a:pt x="492" y="1014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86" y="1026"/>
                  </a:lnTo>
                  <a:lnTo>
                    <a:pt x="492" y="1026"/>
                  </a:lnTo>
                  <a:lnTo>
                    <a:pt x="486" y="1026"/>
                  </a:lnTo>
                  <a:lnTo>
                    <a:pt x="492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5" name="Freeform 30">
              <a:extLst>
                <a:ext uri="{FF2B5EF4-FFF2-40B4-BE49-F238E27FC236}">
                  <a16:creationId xmlns:a16="http://schemas.microsoft.com/office/drawing/2014/main" id="{85C7B827-0C1A-4D72-AEBD-F01CFE7EC12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3645" y="3904484"/>
              <a:ext cx="559048" cy="111825"/>
            </a:xfrm>
            <a:custGeom>
              <a:avLst/>
              <a:gdLst>
                <a:gd name="T0" fmla="*/ 69 w 1056"/>
                <a:gd name="T1" fmla="*/ 7 h 210"/>
                <a:gd name="T2" fmla="*/ 63 w 1056"/>
                <a:gd name="T3" fmla="*/ 5 h 210"/>
                <a:gd name="T4" fmla="*/ 57 w 1056"/>
                <a:gd name="T5" fmla="*/ 5 h 210"/>
                <a:gd name="T6" fmla="*/ 54 w 1056"/>
                <a:gd name="T7" fmla="*/ 6 h 210"/>
                <a:gd name="T8" fmla="*/ 51 w 1056"/>
                <a:gd name="T9" fmla="*/ 7 h 210"/>
                <a:gd name="T10" fmla="*/ 46 w 1056"/>
                <a:gd name="T11" fmla="*/ 9 h 210"/>
                <a:gd name="T12" fmla="*/ 42 w 1056"/>
                <a:gd name="T13" fmla="*/ 8 h 210"/>
                <a:gd name="T14" fmla="*/ 42 w 1056"/>
                <a:gd name="T15" fmla="*/ 5 h 210"/>
                <a:gd name="T16" fmla="*/ 41 w 1056"/>
                <a:gd name="T17" fmla="*/ 7 h 210"/>
                <a:gd name="T18" fmla="*/ 38 w 1056"/>
                <a:gd name="T19" fmla="*/ 10 h 210"/>
                <a:gd name="T20" fmla="*/ 37 w 1056"/>
                <a:gd name="T21" fmla="*/ 12 h 210"/>
                <a:gd name="T22" fmla="*/ 37 w 1056"/>
                <a:gd name="T23" fmla="*/ 15 h 210"/>
                <a:gd name="T24" fmla="*/ 37 w 1056"/>
                <a:gd name="T25" fmla="*/ 16 h 210"/>
                <a:gd name="T26" fmla="*/ 38 w 1056"/>
                <a:gd name="T27" fmla="*/ 16 h 210"/>
                <a:gd name="T28" fmla="*/ 34 w 1056"/>
                <a:gd name="T29" fmla="*/ 16 h 210"/>
                <a:gd name="T30" fmla="*/ 26 w 1056"/>
                <a:gd name="T31" fmla="*/ 16 h 210"/>
                <a:gd name="T32" fmla="*/ 20 w 1056"/>
                <a:gd name="T33" fmla="*/ 17 h 210"/>
                <a:gd name="T34" fmla="*/ 13 w 1056"/>
                <a:gd name="T35" fmla="*/ 17 h 210"/>
                <a:gd name="T36" fmla="*/ 6 w 1056"/>
                <a:gd name="T37" fmla="*/ 17 h 210"/>
                <a:gd name="T38" fmla="*/ 1 w 1056"/>
                <a:gd name="T39" fmla="*/ 18 h 210"/>
                <a:gd name="T40" fmla="*/ 3 w 1056"/>
                <a:gd name="T41" fmla="*/ 14 h 210"/>
                <a:gd name="T42" fmla="*/ 8 w 1056"/>
                <a:gd name="T43" fmla="*/ 15 h 210"/>
                <a:gd name="T44" fmla="*/ 11 w 1056"/>
                <a:gd name="T45" fmla="*/ 12 h 210"/>
                <a:gd name="T46" fmla="*/ 26 w 1056"/>
                <a:gd name="T47" fmla="*/ 10 h 210"/>
                <a:gd name="T48" fmla="*/ 29 w 1056"/>
                <a:gd name="T49" fmla="*/ 5 h 210"/>
                <a:gd name="T50" fmla="*/ 34 w 1056"/>
                <a:gd name="T51" fmla="*/ 1 h 210"/>
                <a:gd name="T52" fmla="*/ 41 w 1056"/>
                <a:gd name="T53" fmla="*/ 3 h 210"/>
                <a:gd name="T54" fmla="*/ 73 w 1056"/>
                <a:gd name="T55" fmla="*/ 1 h 210"/>
                <a:gd name="T56" fmla="*/ 75 w 1056"/>
                <a:gd name="T57" fmla="*/ 4 h 210"/>
                <a:gd name="T58" fmla="*/ 85 w 1056"/>
                <a:gd name="T59" fmla="*/ 15 h 210"/>
                <a:gd name="T60" fmla="*/ 91 w 1056"/>
                <a:gd name="T61" fmla="*/ 18 h 210"/>
                <a:gd name="T62" fmla="*/ 85 w 1056"/>
                <a:gd name="T63" fmla="*/ 18 h 210"/>
                <a:gd name="T64" fmla="*/ 79 w 1056"/>
                <a:gd name="T65" fmla="*/ 16 h 210"/>
                <a:gd name="T66" fmla="*/ 74 w 1056"/>
                <a:gd name="T67" fmla="*/ 16 h 210"/>
                <a:gd name="T68" fmla="*/ 69 w 1056"/>
                <a:gd name="T69" fmla="*/ 15 h 210"/>
                <a:gd name="T70" fmla="*/ 65 w 1056"/>
                <a:gd name="T71" fmla="*/ 14 h 210"/>
                <a:gd name="T72" fmla="*/ 59 w 1056"/>
                <a:gd name="T73" fmla="*/ 15 h 210"/>
                <a:gd name="T74" fmla="*/ 54 w 1056"/>
                <a:gd name="T75" fmla="*/ 15 h 210"/>
                <a:gd name="T76" fmla="*/ 49 w 1056"/>
                <a:gd name="T77" fmla="*/ 15 h 210"/>
                <a:gd name="T78" fmla="*/ 42 w 1056"/>
                <a:gd name="T79" fmla="*/ 15 h 210"/>
                <a:gd name="T80" fmla="*/ 38 w 1056"/>
                <a:gd name="T81" fmla="*/ 16 h 210"/>
                <a:gd name="T82" fmla="*/ 41 w 1056"/>
                <a:gd name="T83" fmla="*/ 14 h 210"/>
                <a:gd name="T84" fmla="*/ 42 w 1056"/>
                <a:gd name="T85" fmla="*/ 13 h 210"/>
                <a:gd name="T86" fmla="*/ 45 w 1056"/>
                <a:gd name="T87" fmla="*/ 13 h 210"/>
                <a:gd name="T88" fmla="*/ 48 w 1056"/>
                <a:gd name="T89" fmla="*/ 12 h 210"/>
                <a:gd name="T90" fmla="*/ 51 w 1056"/>
                <a:gd name="T91" fmla="*/ 11 h 210"/>
                <a:gd name="T92" fmla="*/ 54 w 1056"/>
                <a:gd name="T93" fmla="*/ 9 h 210"/>
                <a:gd name="T94" fmla="*/ 57 w 1056"/>
                <a:gd name="T95" fmla="*/ 8 h 210"/>
                <a:gd name="T96" fmla="*/ 60 w 1056"/>
                <a:gd name="T97" fmla="*/ 5 h 210"/>
                <a:gd name="T98" fmla="*/ 65 w 1056"/>
                <a:gd name="T99" fmla="*/ 5 h 210"/>
                <a:gd name="T100" fmla="*/ 72 w 1056"/>
                <a:gd name="T101" fmla="*/ 7 h 210"/>
                <a:gd name="T102" fmla="*/ 77 w 1056"/>
                <a:gd name="T103" fmla="*/ 11 h 210"/>
                <a:gd name="T104" fmla="*/ 69 w 1056"/>
                <a:gd name="T105" fmla="*/ 10 h 210"/>
                <a:gd name="T106" fmla="*/ 72 w 1056"/>
                <a:gd name="T107" fmla="*/ 12 h 210"/>
                <a:gd name="T108" fmla="*/ 78 w 1056"/>
                <a:gd name="T109" fmla="*/ 15 h 210"/>
                <a:gd name="T110" fmla="*/ 84 w 1056"/>
                <a:gd name="T111" fmla="*/ 14 h 210"/>
                <a:gd name="T112" fmla="*/ 84 w 1056"/>
                <a:gd name="T113" fmla="*/ 14 h 210"/>
                <a:gd name="T114" fmla="*/ 78 w 1056"/>
                <a:gd name="T115" fmla="*/ 13 h 210"/>
                <a:gd name="T116" fmla="*/ 76 w 1056"/>
                <a:gd name="T117" fmla="*/ 14 h 210"/>
                <a:gd name="T118" fmla="*/ 38 w 1056"/>
                <a:gd name="T119" fmla="*/ 12 h 210"/>
                <a:gd name="T120" fmla="*/ 41 w 1056"/>
                <a:gd name="T121" fmla="*/ 12 h 210"/>
                <a:gd name="T122" fmla="*/ 40 w 1056"/>
                <a:gd name="T123" fmla="*/ 14 h 2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6"/>
                <a:gd name="T187" fmla="*/ 0 h 210"/>
                <a:gd name="T188" fmla="*/ 1056 w 1056"/>
                <a:gd name="T189" fmla="*/ 210 h 21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6" h="210">
                  <a:moveTo>
                    <a:pt x="870" y="90"/>
                  </a:moveTo>
                  <a:lnTo>
                    <a:pt x="864" y="90"/>
                  </a:lnTo>
                  <a:lnTo>
                    <a:pt x="852" y="84"/>
                  </a:lnTo>
                  <a:lnTo>
                    <a:pt x="846" y="84"/>
                  </a:lnTo>
                  <a:lnTo>
                    <a:pt x="846" y="78"/>
                  </a:lnTo>
                  <a:lnTo>
                    <a:pt x="840" y="78"/>
                  </a:lnTo>
                  <a:lnTo>
                    <a:pt x="834" y="78"/>
                  </a:lnTo>
                  <a:lnTo>
                    <a:pt x="834" y="72"/>
                  </a:lnTo>
                  <a:lnTo>
                    <a:pt x="804" y="78"/>
                  </a:lnTo>
                  <a:lnTo>
                    <a:pt x="798" y="78"/>
                  </a:lnTo>
                  <a:lnTo>
                    <a:pt x="792" y="72"/>
                  </a:lnTo>
                  <a:lnTo>
                    <a:pt x="780" y="60"/>
                  </a:lnTo>
                  <a:lnTo>
                    <a:pt x="768" y="54"/>
                  </a:lnTo>
                  <a:lnTo>
                    <a:pt x="756" y="54"/>
                  </a:lnTo>
                  <a:lnTo>
                    <a:pt x="750" y="54"/>
                  </a:lnTo>
                  <a:lnTo>
                    <a:pt x="750" y="48"/>
                  </a:lnTo>
                  <a:lnTo>
                    <a:pt x="744" y="48"/>
                  </a:lnTo>
                  <a:lnTo>
                    <a:pt x="738" y="48"/>
                  </a:lnTo>
                  <a:lnTo>
                    <a:pt x="732" y="48"/>
                  </a:lnTo>
                  <a:lnTo>
                    <a:pt x="732" y="54"/>
                  </a:lnTo>
                  <a:lnTo>
                    <a:pt x="726" y="48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48"/>
                  </a:lnTo>
                  <a:lnTo>
                    <a:pt x="702" y="48"/>
                  </a:lnTo>
                  <a:lnTo>
                    <a:pt x="696" y="48"/>
                  </a:lnTo>
                  <a:lnTo>
                    <a:pt x="684" y="48"/>
                  </a:lnTo>
                  <a:lnTo>
                    <a:pt x="678" y="48"/>
                  </a:lnTo>
                  <a:lnTo>
                    <a:pt x="672" y="48"/>
                  </a:lnTo>
                  <a:lnTo>
                    <a:pt x="666" y="54"/>
                  </a:lnTo>
                  <a:lnTo>
                    <a:pt x="660" y="54"/>
                  </a:lnTo>
                  <a:lnTo>
                    <a:pt x="660" y="48"/>
                  </a:lnTo>
                  <a:lnTo>
                    <a:pt x="654" y="48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42" y="54"/>
                  </a:lnTo>
                  <a:lnTo>
                    <a:pt x="63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30" y="66"/>
                  </a:lnTo>
                  <a:lnTo>
                    <a:pt x="624" y="66"/>
                  </a:lnTo>
                  <a:lnTo>
                    <a:pt x="618" y="66"/>
                  </a:lnTo>
                  <a:lnTo>
                    <a:pt x="618" y="72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6" y="84"/>
                  </a:lnTo>
                  <a:lnTo>
                    <a:pt x="600" y="84"/>
                  </a:lnTo>
                  <a:lnTo>
                    <a:pt x="594" y="90"/>
                  </a:lnTo>
                  <a:lnTo>
                    <a:pt x="588" y="90"/>
                  </a:lnTo>
                  <a:lnTo>
                    <a:pt x="588" y="84"/>
                  </a:lnTo>
                  <a:lnTo>
                    <a:pt x="582" y="84"/>
                  </a:lnTo>
                  <a:lnTo>
                    <a:pt x="576" y="84"/>
                  </a:lnTo>
                  <a:lnTo>
                    <a:pt x="570" y="84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58" y="96"/>
                  </a:lnTo>
                  <a:lnTo>
                    <a:pt x="552" y="96"/>
                  </a:lnTo>
                  <a:lnTo>
                    <a:pt x="546" y="102"/>
                  </a:lnTo>
                  <a:lnTo>
                    <a:pt x="540" y="102"/>
                  </a:lnTo>
                  <a:lnTo>
                    <a:pt x="534" y="102"/>
                  </a:lnTo>
                  <a:lnTo>
                    <a:pt x="528" y="102"/>
                  </a:lnTo>
                  <a:lnTo>
                    <a:pt x="528" y="108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16" y="102"/>
                  </a:lnTo>
                  <a:lnTo>
                    <a:pt x="510" y="102"/>
                  </a:lnTo>
                  <a:lnTo>
                    <a:pt x="504" y="102"/>
                  </a:lnTo>
                  <a:lnTo>
                    <a:pt x="498" y="102"/>
                  </a:lnTo>
                  <a:lnTo>
                    <a:pt x="498" y="96"/>
                  </a:lnTo>
                  <a:lnTo>
                    <a:pt x="492" y="96"/>
                  </a:lnTo>
                  <a:lnTo>
                    <a:pt x="492" y="90"/>
                  </a:lnTo>
                  <a:lnTo>
                    <a:pt x="492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498" y="66"/>
                  </a:lnTo>
                  <a:lnTo>
                    <a:pt x="504" y="60"/>
                  </a:lnTo>
                  <a:lnTo>
                    <a:pt x="498" y="60"/>
                  </a:lnTo>
                  <a:lnTo>
                    <a:pt x="498" y="54"/>
                  </a:lnTo>
                  <a:lnTo>
                    <a:pt x="492" y="54"/>
                  </a:lnTo>
                  <a:lnTo>
                    <a:pt x="492" y="60"/>
                  </a:lnTo>
                  <a:lnTo>
                    <a:pt x="486" y="60"/>
                  </a:lnTo>
                  <a:lnTo>
                    <a:pt x="486" y="66"/>
                  </a:lnTo>
                  <a:lnTo>
                    <a:pt x="480" y="66"/>
                  </a:lnTo>
                  <a:lnTo>
                    <a:pt x="474" y="72"/>
                  </a:lnTo>
                  <a:lnTo>
                    <a:pt x="474" y="66"/>
                  </a:lnTo>
                  <a:lnTo>
                    <a:pt x="474" y="72"/>
                  </a:lnTo>
                  <a:lnTo>
                    <a:pt x="468" y="72"/>
                  </a:lnTo>
                  <a:lnTo>
                    <a:pt x="468" y="78"/>
                  </a:lnTo>
                  <a:lnTo>
                    <a:pt x="468" y="84"/>
                  </a:lnTo>
                  <a:lnTo>
                    <a:pt x="462" y="90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0" y="84"/>
                  </a:lnTo>
                  <a:lnTo>
                    <a:pt x="450" y="90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44" y="102"/>
                  </a:lnTo>
                  <a:lnTo>
                    <a:pt x="444" y="108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38" y="126"/>
                  </a:lnTo>
                  <a:lnTo>
                    <a:pt x="438" y="132"/>
                  </a:lnTo>
                  <a:lnTo>
                    <a:pt x="438" y="138"/>
                  </a:lnTo>
                  <a:lnTo>
                    <a:pt x="438" y="144"/>
                  </a:lnTo>
                  <a:lnTo>
                    <a:pt x="432" y="144"/>
                  </a:lnTo>
                  <a:lnTo>
                    <a:pt x="432" y="150"/>
                  </a:lnTo>
                  <a:lnTo>
                    <a:pt x="432" y="144"/>
                  </a:lnTo>
                  <a:lnTo>
                    <a:pt x="426" y="144"/>
                  </a:lnTo>
                  <a:lnTo>
                    <a:pt x="426" y="150"/>
                  </a:lnTo>
                  <a:lnTo>
                    <a:pt x="426" y="156"/>
                  </a:lnTo>
                  <a:lnTo>
                    <a:pt x="432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2"/>
                  </a:lnTo>
                  <a:lnTo>
                    <a:pt x="432" y="168"/>
                  </a:lnTo>
                  <a:lnTo>
                    <a:pt x="426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44" y="168"/>
                  </a:lnTo>
                  <a:lnTo>
                    <a:pt x="444" y="174"/>
                  </a:lnTo>
                  <a:lnTo>
                    <a:pt x="444" y="180"/>
                  </a:lnTo>
                  <a:lnTo>
                    <a:pt x="444" y="186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2" y="192"/>
                  </a:lnTo>
                  <a:lnTo>
                    <a:pt x="426" y="192"/>
                  </a:lnTo>
                  <a:lnTo>
                    <a:pt x="420" y="186"/>
                  </a:lnTo>
                  <a:lnTo>
                    <a:pt x="414" y="186"/>
                  </a:lnTo>
                  <a:lnTo>
                    <a:pt x="408" y="186"/>
                  </a:lnTo>
                  <a:lnTo>
                    <a:pt x="402" y="186"/>
                  </a:lnTo>
                  <a:lnTo>
                    <a:pt x="396" y="186"/>
                  </a:lnTo>
                  <a:lnTo>
                    <a:pt x="390" y="186"/>
                  </a:lnTo>
                  <a:lnTo>
                    <a:pt x="384" y="186"/>
                  </a:lnTo>
                  <a:lnTo>
                    <a:pt x="378" y="186"/>
                  </a:lnTo>
                  <a:lnTo>
                    <a:pt x="372" y="186"/>
                  </a:lnTo>
                  <a:lnTo>
                    <a:pt x="354" y="186"/>
                  </a:lnTo>
                  <a:lnTo>
                    <a:pt x="342" y="186"/>
                  </a:lnTo>
                  <a:lnTo>
                    <a:pt x="324" y="186"/>
                  </a:lnTo>
                  <a:lnTo>
                    <a:pt x="312" y="186"/>
                  </a:lnTo>
                  <a:lnTo>
                    <a:pt x="306" y="186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82" y="186"/>
                  </a:lnTo>
                  <a:lnTo>
                    <a:pt x="270" y="186"/>
                  </a:lnTo>
                  <a:lnTo>
                    <a:pt x="264" y="186"/>
                  </a:lnTo>
                  <a:lnTo>
                    <a:pt x="258" y="192"/>
                  </a:lnTo>
                  <a:lnTo>
                    <a:pt x="258" y="186"/>
                  </a:lnTo>
                  <a:lnTo>
                    <a:pt x="246" y="186"/>
                  </a:lnTo>
                  <a:lnTo>
                    <a:pt x="240" y="186"/>
                  </a:lnTo>
                  <a:lnTo>
                    <a:pt x="234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2"/>
                  </a:lnTo>
                  <a:lnTo>
                    <a:pt x="204" y="192"/>
                  </a:lnTo>
                  <a:lnTo>
                    <a:pt x="198" y="192"/>
                  </a:lnTo>
                  <a:lnTo>
                    <a:pt x="192" y="192"/>
                  </a:lnTo>
                  <a:lnTo>
                    <a:pt x="180" y="192"/>
                  </a:lnTo>
                  <a:lnTo>
                    <a:pt x="168" y="192"/>
                  </a:lnTo>
                  <a:lnTo>
                    <a:pt x="162" y="192"/>
                  </a:lnTo>
                  <a:lnTo>
                    <a:pt x="150" y="192"/>
                  </a:lnTo>
                  <a:lnTo>
                    <a:pt x="138" y="192"/>
                  </a:lnTo>
                  <a:lnTo>
                    <a:pt x="132" y="192"/>
                  </a:lnTo>
                  <a:lnTo>
                    <a:pt x="120" y="192"/>
                  </a:lnTo>
                  <a:lnTo>
                    <a:pt x="114" y="192"/>
                  </a:lnTo>
                  <a:lnTo>
                    <a:pt x="108" y="192"/>
                  </a:lnTo>
                  <a:lnTo>
                    <a:pt x="102" y="192"/>
                  </a:lnTo>
                  <a:lnTo>
                    <a:pt x="90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2" y="198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36" y="198"/>
                  </a:lnTo>
                  <a:lnTo>
                    <a:pt x="30" y="204"/>
                  </a:lnTo>
                  <a:lnTo>
                    <a:pt x="24" y="204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6" y="210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54" y="156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56"/>
                  </a:lnTo>
                  <a:lnTo>
                    <a:pt x="78" y="162"/>
                  </a:lnTo>
                  <a:lnTo>
                    <a:pt x="84" y="162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9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0" y="126"/>
                  </a:lnTo>
                  <a:lnTo>
                    <a:pt x="276" y="120"/>
                  </a:lnTo>
                  <a:lnTo>
                    <a:pt x="282" y="120"/>
                  </a:lnTo>
                  <a:lnTo>
                    <a:pt x="300" y="120"/>
                  </a:lnTo>
                  <a:lnTo>
                    <a:pt x="306" y="114"/>
                  </a:lnTo>
                  <a:lnTo>
                    <a:pt x="312" y="108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8"/>
                  </a:lnTo>
                  <a:lnTo>
                    <a:pt x="342" y="30"/>
                  </a:lnTo>
                  <a:lnTo>
                    <a:pt x="342" y="24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8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24"/>
                  </a:lnTo>
                  <a:lnTo>
                    <a:pt x="414" y="30"/>
                  </a:lnTo>
                  <a:lnTo>
                    <a:pt x="420" y="30"/>
                  </a:lnTo>
                  <a:lnTo>
                    <a:pt x="42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74" y="30"/>
                  </a:lnTo>
                  <a:lnTo>
                    <a:pt x="474" y="18"/>
                  </a:lnTo>
                  <a:lnTo>
                    <a:pt x="474" y="12"/>
                  </a:lnTo>
                  <a:lnTo>
                    <a:pt x="480" y="12"/>
                  </a:lnTo>
                  <a:lnTo>
                    <a:pt x="486" y="12"/>
                  </a:lnTo>
                  <a:lnTo>
                    <a:pt x="606" y="12"/>
                  </a:lnTo>
                  <a:lnTo>
                    <a:pt x="630" y="12"/>
                  </a:lnTo>
                  <a:lnTo>
                    <a:pt x="678" y="12"/>
                  </a:lnTo>
                  <a:lnTo>
                    <a:pt x="744" y="12"/>
                  </a:lnTo>
                  <a:lnTo>
                    <a:pt x="774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2" y="6"/>
                  </a:lnTo>
                  <a:lnTo>
                    <a:pt x="888" y="12"/>
                  </a:lnTo>
                  <a:lnTo>
                    <a:pt x="888" y="24"/>
                  </a:lnTo>
                  <a:lnTo>
                    <a:pt x="888" y="30"/>
                  </a:lnTo>
                  <a:lnTo>
                    <a:pt x="882" y="36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64" y="42"/>
                  </a:lnTo>
                  <a:lnTo>
                    <a:pt x="864" y="48"/>
                  </a:lnTo>
                  <a:lnTo>
                    <a:pt x="858" y="54"/>
                  </a:lnTo>
                  <a:lnTo>
                    <a:pt x="864" y="54"/>
                  </a:lnTo>
                  <a:lnTo>
                    <a:pt x="870" y="72"/>
                  </a:lnTo>
                  <a:lnTo>
                    <a:pt x="870" y="78"/>
                  </a:lnTo>
                  <a:lnTo>
                    <a:pt x="870" y="84"/>
                  </a:lnTo>
                  <a:lnTo>
                    <a:pt x="870" y="90"/>
                  </a:lnTo>
                  <a:close/>
                  <a:moveTo>
                    <a:pt x="972" y="156"/>
                  </a:moveTo>
                  <a:lnTo>
                    <a:pt x="972" y="162"/>
                  </a:lnTo>
                  <a:lnTo>
                    <a:pt x="978" y="162"/>
                  </a:lnTo>
                  <a:lnTo>
                    <a:pt x="984" y="168"/>
                  </a:lnTo>
                  <a:lnTo>
                    <a:pt x="990" y="168"/>
                  </a:lnTo>
                  <a:lnTo>
                    <a:pt x="990" y="162"/>
                  </a:lnTo>
                  <a:lnTo>
                    <a:pt x="1008" y="162"/>
                  </a:lnTo>
                  <a:lnTo>
                    <a:pt x="1020" y="162"/>
                  </a:lnTo>
                  <a:lnTo>
                    <a:pt x="1038" y="162"/>
                  </a:lnTo>
                  <a:lnTo>
                    <a:pt x="1056" y="168"/>
                  </a:lnTo>
                  <a:lnTo>
                    <a:pt x="1056" y="180"/>
                  </a:lnTo>
                  <a:lnTo>
                    <a:pt x="1056" y="186"/>
                  </a:lnTo>
                  <a:lnTo>
                    <a:pt x="1056" y="204"/>
                  </a:lnTo>
                  <a:lnTo>
                    <a:pt x="1050" y="204"/>
                  </a:lnTo>
                  <a:lnTo>
                    <a:pt x="1044" y="204"/>
                  </a:lnTo>
                  <a:lnTo>
                    <a:pt x="1038" y="204"/>
                  </a:lnTo>
                  <a:lnTo>
                    <a:pt x="1032" y="204"/>
                  </a:lnTo>
                  <a:lnTo>
                    <a:pt x="1026" y="204"/>
                  </a:lnTo>
                  <a:lnTo>
                    <a:pt x="1020" y="204"/>
                  </a:lnTo>
                  <a:lnTo>
                    <a:pt x="1014" y="204"/>
                  </a:lnTo>
                  <a:lnTo>
                    <a:pt x="1008" y="204"/>
                  </a:lnTo>
                  <a:lnTo>
                    <a:pt x="1002" y="204"/>
                  </a:lnTo>
                  <a:lnTo>
                    <a:pt x="996" y="204"/>
                  </a:lnTo>
                  <a:lnTo>
                    <a:pt x="984" y="204"/>
                  </a:lnTo>
                  <a:lnTo>
                    <a:pt x="984" y="198"/>
                  </a:lnTo>
                  <a:lnTo>
                    <a:pt x="978" y="198"/>
                  </a:lnTo>
                  <a:lnTo>
                    <a:pt x="966" y="198"/>
                  </a:lnTo>
                  <a:lnTo>
                    <a:pt x="948" y="192"/>
                  </a:lnTo>
                  <a:lnTo>
                    <a:pt x="942" y="192"/>
                  </a:lnTo>
                  <a:lnTo>
                    <a:pt x="936" y="192"/>
                  </a:lnTo>
                  <a:lnTo>
                    <a:pt x="924" y="192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12" y="186"/>
                  </a:lnTo>
                  <a:lnTo>
                    <a:pt x="906" y="186"/>
                  </a:lnTo>
                  <a:lnTo>
                    <a:pt x="900" y="186"/>
                  </a:lnTo>
                  <a:lnTo>
                    <a:pt x="894" y="186"/>
                  </a:lnTo>
                  <a:lnTo>
                    <a:pt x="888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76" y="180"/>
                  </a:lnTo>
                  <a:lnTo>
                    <a:pt x="870" y="180"/>
                  </a:lnTo>
                  <a:lnTo>
                    <a:pt x="864" y="180"/>
                  </a:lnTo>
                  <a:lnTo>
                    <a:pt x="858" y="180"/>
                  </a:lnTo>
                  <a:lnTo>
                    <a:pt x="852" y="180"/>
                  </a:lnTo>
                  <a:lnTo>
                    <a:pt x="852" y="174"/>
                  </a:lnTo>
                  <a:lnTo>
                    <a:pt x="846" y="174"/>
                  </a:lnTo>
                  <a:lnTo>
                    <a:pt x="840" y="174"/>
                  </a:lnTo>
                  <a:lnTo>
                    <a:pt x="834" y="174"/>
                  </a:lnTo>
                  <a:lnTo>
                    <a:pt x="828" y="174"/>
                  </a:lnTo>
                  <a:lnTo>
                    <a:pt x="822" y="174"/>
                  </a:lnTo>
                  <a:lnTo>
                    <a:pt x="816" y="174"/>
                  </a:lnTo>
                  <a:lnTo>
                    <a:pt x="810" y="168"/>
                  </a:lnTo>
                  <a:lnTo>
                    <a:pt x="804" y="168"/>
                  </a:lnTo>
                  <a:lnTo>
                    <a:pt x="798" y="168"/>
                  </a:lnTo>
                  <a:lnTo>
                    <a:pt x="792" y="168"/>
                  </a:lnTo>
                  <a:lnTo>
                    <a:pt x="786" y="168"/>
                  </a:lnTo>
                  <a:lnTo>
                    <a:pt x="780" y="168"/>
                  </a:lnTo>
                  <a:lnTo>
                    <a:pt x="774" y="168"/>
                  </a:lnTo>
                  <a:lnTo>
                    <a:pt x="768" y="168"/>
                  </a:lnTo>
                  <a:lnTo>
                    <a:pt x="762" y="168"/>
                  </a:lnTo>
                  <a:lnTo>
                    <a:pt x="756" y="168"/>
                  </a:lnTo>
                  <a:lnTo>
                    <a:pt x="750" y="168"/>
                  </a:lnTo>
                  <a:lnTo>
                    <a:pt x="750" y="162"/>
                  </a:lnTo>
                  <a:lnTo>
                    <a:pt x="744" y="168"/>
                  </a:lnTo>
                  <a:lnTo>
                    <a:pt x="738" y="162"/>
                  </a:lnTo>
                  <a:lnTo>
                    <a:pt x="732" y="162"/>
                  </a:lnTo>
                  <a:lnTo>
                    <a:pt x="726" y="162"/>
                  </a:lnTo>
                  <a:lnTo>
                    <a:pt x="714" y="162"/>
                  </a:lnTo>
                  <a:lnTo>
                    <a:pt x="702" y="162"/>
                  </a:lnTo>
                  <a:lnTo>
                    <a:pt x="696" y="168"/>
                  </a:lnTo>
                  <a:lnTo>
                    <a:pt x="690" y="168"/>
                  </a:lnTo>
                  <a:lnTo>
                    <a:pt x="684" y="168"/>
                  </a:lnTo>
                  <a:lnTo>
                    <a:pt x="678" y="168"/>
                  </a:lnTo>
                  <a:lnTo>
                    <a:pt x="672" y="168"/>
                  </a:lnTo>
                  <a:lnTo>
                    <a:pt x="666" y="168"/>
                  </a:lnTo>
                  <a:lnTo>
                    <a:pt x="660" y="168"/>
                  </a:lnTo>
                  <a:lnTo>
                    <a:pt x="654" y="168"/>
                  </a:lnTo>
                  <a:lnTo>
                    <a:pt x="648" y="174"/>
                  </a:lnTo>
                  <a:lnTo>
                    <a:pt x="648" y="168"/>
                  </a:lnTo>
                  <a:lnTo>
                    <a:pt x="642" y="174"/>
                  </a:lnTo>
                  <a:lnTo>
                    <a:pt x="636" y="174"/>
                  </a:lnTo>
                  <a:lnTo>
                    <a:pt x="630" y="174"/>
                  </a:lnTo>
                  <a:lnTo>
                    <a:pt x="624" y="174"/>
                  </a:lnTo>
                  <a:lnTo>
                    <a:pt x="618" y="174"/>
                  </a:lnTo>
                  <a:lnTo>
                    <a:pt x="612" y="174"/>
                  </a:lnTo>
                  <a:lnTo>
                    <a:pt x="606" y="174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74"/>
                  </a:lnTo>
                  <a:lnTo>
                    <a:pt x="582" y="174"/>
                  </a:lnTo>
                  <a:lnTo>
                    <a:pt x="576" y="174"/>
                  </a:lnTo>
                  <a:lnTo>
                    <a:pt x="570" y="174"/>
                  </a:lnTo>
                  <a:lnTo>
                    <a:pt x="564" y="174"/>
                  </a:lnTo>
                  <a:lnTo>
                    <a:pt x="558" y="174"/>
                  </a:lnTo>
                  <a:lnTo>
                    <a:pt x="552" y="174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0" y="174"/>
                  </a:lnTo>
                  <a:lnTo>
                    <a:pt x="504" y="174"/>
                  </a:lnTo>
                  <a:lnTo>
                    <a:pt x="498" y="174"/>
                  </a:lnTo>
                  <a:lnTo>
                    <a:pt x="492" y="174"/>
                  </a:lnTo>
                  <a:lnTo>
                    <a:pt x="486" y="174"/>
                  </a:lnTo>
                  <a:lnTo>
                    <a:pt x="480" y="174"/>
                  </a:lnTo>
                  <a:lnTo>
                    <a:pt x="474" y="174"/>
                  </a:lnTo>
                  <a:lnTo>
                    <a:pt x="468" y="174"/>
                  </a:lnTo>
                  <a:lnTo>
                    <a:pt x="462" y="174"/>
                  </a:lnTo>
                  <a:lnTo>
                    <a:pt x="456" y="174"/>
                  </a:lnTo>
                  <a:lnTo>
                    <a:pt x="450" y="180"/>
                  </a:lnTo>
                  <a:lnTo>
                    <a:pt x="450" y="186"/>
                  </a:lnTo>
                  <a:lnTo>
                    <a:pt x="450" y="192"/>
                  </a:lnTo>
                  <a:lnTo>
                    <a:pt x="444" y="192"/>
                  </a:lnTo>
                  <a:lnTo>
                    <a:pt x="444" y="186"/>
                  </a:lnTo>
                  <a:lnTo>
                    <a:pt x="444" y="180"/>
                  </a:lnTo>
                  <a:lnTo>
                    <a:pt x="450" y="180"/>
                  </a:lnTo>
                  <a:lnTo>
                    <a:pt x="450" y="174"/>
                  </a:lnTo>
                  <a:lnTo>
                    <a:pt x="450" y="168"/>
                  </a:lnTo>
                  <a:lnTo>
                    <a:pt x="450" y="162"/>
                  </a:lnTo>
                  <a:lnTo>
                    <a:pt x="456" y="162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62" y="162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74" y="168"/>
                  </a:lnTo>
                  <a:lnTo>
                    <a:pt x="480" y="168"/>
                  </a:lnTo>
                  <a:lnTo>
                    <a:pt x="480" y="162"/>
                  </a:lnTo>
                  <a:lnTo>
                    <a:pt x="480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56"/>
                  </a:lnTo>
                  <a:lnTo>
                    <a:pt x="492" y="156"/>
                  </a:lnTo>
                  <a:lnTo>
                    <a:pt x="486" y="150"/>
                  </a:lnTo>
                  <a:lnTo>
                    <a:pt x="492" y="150"/>
                  </a:lnTo>
                  <a:lnTo>
                    <a:pt x="498" y="150"/>
                  </a:lnTo>
                  <a:lnTo>
                    <a:pt x="498" y="156"/>
                  </a:lnTo>
                  <a:lnTo>
                    <a:pt x="504" y="156"/>
                  </a:lnTo>
                  <a:lnTo>
                    <a:pt x="504" y="162"/>
                  </a:lnTo>
                  <a:lnTo>
                    <a:pt x="504" y="156"/>
                  </a:lnTo>
                  <a:lnTo>
                    <a:pt x="510" y="156"/>
                  </a:lnTo>
                  <a:lnTo>
                    <a:pt x="510" y="150"/>
                  </a:lnTo>
                  <a:lnTo>
                    <a:pt x="516" y="150"/>
                  </a:lnTo>
                  <a:lnTo>
                    <a:pt x="522" y="150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28" y="150"/>
                  </a:lnTo>
                  <a:lnTo>
                    <a:pt x="528" y="144"/>
                  </a:lnTo>
                  <a:lnTo>
                    <a:pt x="540" y="144"/>
                  </a:lnTo>
                  <a:lnTo>
                    <a:pt x="546" y="144"/>
                  </a:lnTo>
                  <a:lnTo>
                    <a:pt x="552" y="138"/>
                  </a:lnTo>
                  <a:lnTo>
                    <a:pt x="552" y="132"/>
                  </a:lnTo>
                  <a:lnTo>
                    <a:pt x="558" y="132"/>
                  </a:lnTo>
                  <a:lnTo>
                    <a:pt x="558" y="126"/>
                  </a:lnTo>
                  <a:lnTo>
                    <a:pt x="558" y="120"/>
                  </a:lnTo>
                  <a:lnTo>
                    <a:pt x="558" y="114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6" y="114"/>
                  </a:lnTo>
                  <a:lnTo>
                    <a:pt x="582" y="120"/>
                  </a:lnTo>
                  <a:lnTo>
                    <a:pt x="588" y="120"/>
                  </a:lnTo>
                  <a:lnTo>
                    <a:pt x="588" y="126"/>
                  </a:lnTo>
                  <a:lnTo>
                    <a:pt x="588" y="120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600" y="114"/>
                  </a:lnTo>
                  <a:lnTo>
                    <a:pt x="606" y="114"/>
                  </a:lnTo>
                  <a:lnTo>
                    <a:pt x="618" y="114"/>
                  </a:lnTo>
                  <a:lnTo>
                    <a:pt x="618" y="108"/>
                  </a:lnTo>
                  <a:lnTo>
                    <a:pt x="624" y="108"/>
                  </a:lnTo>
                  <a:lnTo>
                    <a:pt x="624" y="102"/>
                  </a:lnTo>
                  <a:lnTo>
                    <a:pt x="630" y="102"/>
                  </a:lnTo>
                  <a:lnTo>
                    <a:pt x="636" y="102"/>
                  </a:lnTo>
                  <a:lnTo>
                    <a:pt x="636" y="108"/>
                  </a:lnTo>
                  <a:lnTo>
                    <a:pt x="642" y="108"/>
                  </a:lnTo>
                  <a:lnTo>
                    <a:pt x="648" y="108"/>
                  </a:lnTo>
                  <a:lnTo>
                    <a:pt x="648" y="102"/>
                  </a:lnTo>
                  <a:lnTo>
                    <a:pt x="654" y="102"/>
                  </a:lnTo>
                  <a:lnTo>
                    <a:pt x="660" y="102"/>
                  </a:lnTo>
                  <a:lnTo>
                    <a:pt x="660" y="96"/>
                  </a:lnTo>
                  <a:lnTo>
                    <a:pt x="660" y="90"/>
                  </a:lnTo>
                  <a:lnTo>
                    <a:pt x="666" y="90"/>
                  </a:lnTo>
                  <a:lnTo>
                    <a:pt x="666" y="84"/>
                  </a:lnTo>
                  <a:lnTo>
                    <a:pt x="672" y="78"/>
                  </a:lnTo>
                  <a:lnTo>
                    <a:pt x="672" y="72"/>
                  </a:lnTo>
                  <a:lnTo>
                    <a:pt x="678" y="66"/>
                  </a:lnTo>
                  <a:lnTo>
                    <a:pt x="684" y="66"/>
                  </a:lnTo>
                  <a:lnTo>
                    <a:pt x="684" y="60"/>
                  </a:lnTo>
                  <a:lnTo>
                    <a:pt x="690" y="60"/>
                  </a:lnTo>
                  <a:lnTo>
                    <a:pt x="696" y="60"/>
                  </a:lnTo>
                  <a:lnTo>
                    <a:pt x="702" y="60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66"/>
                  </a:lnTo>
                  <a:lnTo>
                    <a:pt x="720" y="66"/>
                  </a:lnTo>
                  <a:lnTo>
                    <a:pt x="720" y="60"/>
                  </a:lnTo>
                  <a:lnTo>
                    <a:pt x="726" y="60"/>
                  </a:lnTo>
                  <a:lnTo>
                    <a:pt x="732" y="60"/>
                  </a:lnTo>
                  <a:lnTo>
                    <a:pt x="744" y="60"/>
                  </a:lnTo>
                  <a:lnTo>
                    <a:pt x="750" y="54"/>
                  </a:lnTo>
                  <a:lnTo>
                    <a:pt x="762" y="60"/>
                  </a:lnTo>
                  <a:lnTo>
                    <a:pt x="774" y="60"/>
                  </a:lnTo>
                  <a:lnTo>
                    <a:pt x="774" y="66"/>
                  </a:lnTo>
                  <a:lnTo>
                    <a:pt x="780" y="72"/>
                  </a:lnTo>
                  <a:lnTo>
                    <a:pt x="786" y="78"/>
                  </a:lnTo>
                  <a:lnTo>
                    <a:pt x="792" y="78"/>
                  </a:lnTo>
                  <a:lnTo>
                    <a:pt x="810" y="84"/>
                  </a:lnTo>
                  <a:lnTo>
                    <a:pt x="822" y="84"/>
                  </a:lnTo>
                  <a:lnTo>
                    <a:pt x="828" y="84"/>
                  </a:lnTo>
                  <a:lnTo>
                    <a:pt x="834" y="84"/>
                  </a:lnTo>
                  <a:lnTo>
                    <a:pt x="840" y="96"/>
                  </a:lnTo>
                  <a:lnTo>
                    <a:pt x="846" y="102"/>
                  </a:lnTo>
                  <a:lnTo>
                    <a:pt x="858" y="102"/>
                  </a:lnTo>
                  <a:lnTo>
                    <a:pt x="864" y="102"/>
                  </a:lnTo>
                  <a:lnTo>
                    <a:pt x="876" y="96"/>
                  </a:lnTo>
                  <a:lnTo>
                    <a:pt x="882" y="102"/>
                  </a:lnTo>
                  <a:lnTo>
                    <a:pt x="888" y="108"/>
                  </a:lnTo>
                  <a:lnTo>
                    <a:pt x="888" y="114"/>
                  </a:lnTo>
                  <a:lnTo>
                    <a:pt x="888" y="120"/>
                  </a:lnTo>
                  <a:lnTo>
                    <a:pt x="888" y="126"/>
                  </a:lnTo>
                  <a:lnTo>
                    <a:pt x="888" y="132"/>
                  </a:lnTo>
                  <a:lnTo>
                    <a:pt x="882" y="132"/>
                  </a:lnTo>
                  <a:lnTo>
                    <a:pt x="864" y="126"/>
                  </a:lnTo>
                  <a:lnTo>
                    <a:pt x="852" y="120"/>
                  </a:lnTo>
                  <a:lnTo>
                    <a:pt x="840" y="126"/>
                  </a:lnTo>
                  <a:lnTo>
                    <a:pt x="834" y="120"/>
                  </a:lnTo>
                  <a:lnTo>
                    <a:pt x="828" y="120"/>
                  </a:lnTo>
                  <a:lnTo>
                    <a:pt x="822" y="120"/>
                  </a:lnTo>
                  <a:lnTo>
                    <a:pt x="810" y="114"/>
                  </a:lnTo>
                  <a:lnTo>
                    <a:pt x="804" y="114"/>
                  </a:lnTo>
                  <a:lnTo>
                    <a:pt x="798" y="114"/>
                  </a:lnTo>
                  <a:lnTo>
                    <a:pt x="792" y="114"/>
                  </a:lnTo>
                  <a:lnTo>
                    <a:pt x="786" y="114"/>
                  </a:lnTo>
                  <a:lnTo>
                    <a:pt x="780" y="114"/>
                  </a:lnTo>
                  <a:lnTo>
                    <a:pt x="780" y="126"/>
                  </a:lnTo>
                  <a:lnTo>
                    <a:pt x="786" y="126"/>
                  </a:lnTo>
                  <a:lnTo>
                    <a:pt x="798" y="126"/>
                  </a:lnTo>
                  <a:lnTo>
                    <a:pt x="804" y="126"/>
                  </a:lnTo>
                  <a:lnTo>
                    <a:pt x="822" y="132"/>
                  </a:lnTo>
                  <a:lnTo>
                    <a:pt x="828" y="132"/>
                  </a:lnTo>
                  <a:lnTo>
                    <a:pt x="834" y="132"/>
                  </a:lnTo>
                  <a:lnTo>
                    <a:pt x="840" y="144"/>
                  </a:lnTo>
                  <a:lnTo>
                    <a:pt x="846" y="150"/>
                  </a:lnTo>
                  <a:lnTo>
                    <a:pt x="858" y="150"/>
                  </a:lnTo>
                  <a:lnTo>
                    <a:pt x="864" y="162"/>
                  </a:lnTo>
                  <a:lnTo>
                    <a:pt x="870" y="162"/>
                  </a:lnTo>
                  <a:lnTo>
                    <a:pt x="876" y="168"/>
                  </a:lnTo>
                  <a:lnTo>
                    <a:pt x="888" y="168"/>
                  </a:lnTo>
                  <a:lnTo>
                    <a:pt x="894" y="174"/>
                  </a:lnTo>
                  <a:lnTo>
                    <a:pt x="900" y="174"/>
                  </a:lnTo>
                  <a:lnTo>
                    <a:pt x="918" y="174"/>
                  </a:lnTo>
                  <a:lnTo>
                    <a:pt x="924" y="174"/>
                  </a:lnTo>
                  <a:lnTo>
                    <a:pt x="930" y="174"/>
                  </a:lnTo>
                  <a:lnTo>
                    <a:pt x="942" y="174"/>
                  </a:lnTo>
                  <a:lnTo>
                    <a:pt x="954" y="174"/>
                  </a:lnTo>
                  <a:lnTo>
                    <a:pt x="960" y="174"/>
                  </a:lnTo>
                  <a:lnTo>
                    <a:pt x="966" y="174"/>
                  </a:lnTo>
                  <a:lnTo>
                    <a:pt x="966" y="168"/>
                  </a:lnTo>
                  <a:lnTo>
                    <a:pt x="972" y="162"/>
                  </a:lnTo>
                  <a:lnTo>
                    <a:pt x="972" y="156"/>
                  </a:lnTo>
                  <a:close/>
                  <a:moveTo>
                    <a:pt x="942" y="174"/>
                  </a:moveTo>
                  <a:lnTo>
                    <a:pt x="936" y="174"/>
                  </a:lnTo>
                  <a:lnTo>
                    <a:pt x="936" y="168"/>
                  </a:lnTo>
                  <a:lnTo>
                    <a:pt x="936" y="162"/>
                  </a:lnTo>
                  <a:lnTo>
                    <a:pt x="948" y="162"/>
                  </a:lnTo>
                  <a:lnTo>
                    <a:pt x="948" y="156"/>
                  </a:lnTo>
                  <a:lnTo>
                    <a:pt x="954" y="156"/>
                  </a:lnTo>
                  <a:lnTo>
                    <a:pt x="960" y="156"/>
                  </a:lnTo>
                  <a:lnTo>
                    <a:pt x="966" y="156"/>
                  </a:lnTo>
                  <a:lnTo>
                    <a:pt x="966" y="162"/>
                  </a:lnTo>
                  <a:lnTo>
                    <a:pt x="960" y="168"/>
                  </a:lnTo>
                  <a:lnTo>
                    <a:pt x="942" y="174"/>
                  </a:lnTo>
                  <a:close/>
                  <a:moveTo>
                    <a:pt x="900" y="168"/>
                  </a:moveTo>
                  <a:lnTo>
                    <a:pt x="894" y="168"/>
                  </a:lnTo>
                  <a:lnTo>
                    <a:pt x="882" y="156"/>
                  </a:lnTo>
                  <a:lnTo>
                    <a:pt x="882" y="150"/>
                  </a:lnTo>
                  <a:lnTo>
                    <a:pt x="888" y="156"/>
                  </a:lnTo>
                  <a:lnTo>
                    <a:pt x="894" y="150"/>
                  </a:lnTo>
                  <a:lnTo>
                    <a:pt x="900" y="150"/>
                  </a:lnTo>
                  <a:lnTo>
                    <a:pt x="906" y="150"/>
                  </a:lnTo>
                  <a:lnTo>
                    <a:pt x="912" y="150"/>
                  </a:lnTo>
                  <a:lnTo>
                    <a:pt x="924" y="150"/>
                  </a:lnTo>
                  <a:lnTo>
                    <a:pt x="924" y="156"/>
                  </a:lnTo>
                  <a:lnTo>
                    <a:pt x="924" y="162"/>
                  </a:lnTo>
                  <a:lnTo>
                    <a:pt x="924" y="168"/>
                  </a:lnTo>
                  <a:lnTo>
                    <a:pt x="918" y="168"/>
                  </a:lnTo>
                  <a:lnTo>
                    <a:pt x="906" y="168"/>
                  </a:lnTo>
                  <a:lnTo>
                    <a:pt x="900" y="168"/>
                  </a:lnTo>
                  <a:close/>
                  <a:moveTo>
                    <a:pt x="870" y="162"/>
                  </a:moveTo>
                  <a:lnTo>
                    <a:pt x="876" y="162"/>
                  </a:lnTo>
                  <a:lnTo>
                    <a:pt x="876" y="168"/>
                  </a:lnTo>
                  <a:lnTo>
                    <a:pt x="870" y="168"/>
                  </a:lnTo>
                  <a:lnTo>
                    <a:pt x="870" y="162"/>
                  </a:lnTo>
                  <a:close/>
                  <a:moveTo>
                    <a:pt x="450" y="162"/>
                  </a:moveTo>
                  <a:lnTo>
                    <a:pt x="444" y="162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2" y="150"/>
                  </a:lnTo>
                  <a:lnTo>
                    <a:pt x="438" y="150"/>
                  </a:lnTo>
                  <a:lnTo>
                    <a:pt x="438" y="144"/>
                  </a:lnTo>
                  <a:lnTo>
                    <a:pt x="438" y="150"/>
                  </a:lnTo>
                  <a:lnTo>
                    <a:pt x="444" y="150"/>
                  </a:lnTo>
                  <a:lnTo>
                    <a:pt x="450" y="150"/>
                  </a:lnTo>
                  <a:lnTo>
                    <a:pt x="450" y="156"/>
                  </a:lnTo>
                  <a:lnTo>
                    <a:pt x="456" y="156"/>
                  </a:lnTo>
                  <a:lnTo>
                    <a:pt x="456" y="150"/>
                  </a:lnTo>
                  <a:lnTo>
                    <a:pt x="456" y="156"/>
                  </a:lnTo>
                  <a:lnTo>
                    <a:pt x="462" y="150"/>
                  </a:lnTo>
                  <a:lnTo>
                    <a:pt x="462" y="144"/>
                  </a:lnTo>
                  <a:lnTo>
                    <a:pt x="468" y="144"/>
                  </a:lnTo>
                  <a:lnTo>
                    <a:pt x="468" y="150"/>
                  </a:lnTo>
                  <a:lnTo>
                    <a:pt x="474" y="150"/>
                  </a:lnTo>
                  <a:lnTo>
                    <a:pt x="480" y="150"/>
                  </a:lnTo>
                  <a:lnTo>
                    <a:pt x="480" y="156"/>
                  </a:lnTo>
                  <a:lnTo>
                    <a:pt x="480" y="162"/>
                  </a:lnTo>
                  <a:lnTo>
                    <a:pt x="474" y="162"/>
                  </a:lnTo>
                  <a:lnTo>
                    <a:pt x="474" y="168"/>
                  </a:lnTo>
                  <a:lnTo>
                    <a:pt x="474" y="162"/>
                  </a:lnTo>
                  <a:lnTo>
                    <a:pt x="468" y="162"/>
                  </a:lnTo>
                  <a:lnTo>
                    <a:pt x="462" y="162"/>
                  </a:lnTo>
                  <a:lnTo>
                    <a:pt x="456" y="162"/>
                  </a:lnTo>
                  <a:lnTo>
                    <a:pt x="450" y="16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6" name="Freeform 31">
              <a:extLst>
                <a:ext uri="{FF2B5EF4-FFF2-40B4-BE49-F238E27FC236}">
                  <a16:creationId xmlns:a16="http://schemas.microsoft.com/office/drawing/2014/main" id="{0989F057-38E8-4AA5-8B73-27F6355E235C}"/>
                </a:ext>
              </a:extLst>
            </p:cNvPr>
            <p:cNvSpPr>
              <a:spLocks/>
            </p:cNvSpPr>
            <p:nvPr/>
          </p:nvSpPr>
          <p:spPr bwMode="gray">
            <a:xfrm>
              <a:off x="792590" y="2728084"/>
              <a:ext cx="1182944" cy="740282"/>
            </a:xfrm>
            <a:custGeom>
              <a:avLst/>
              <a:gdLst>
                <a:gd name="T0" fmla="*/ 138 w 2226"/>
                <a:gd name="T1" fmla="*/ 121 h 1392"/>
                <a:gd name="T2" fmla="*/ 133 w 2226"/>
                <a:gd name="T3" fmla="*/ 119 h 1392"/>
                <a:gd name="T4" fmla="*/ 128 w 2226"/>
                <a:gd name="T5" fmla="*/ 117 h 1392"/>
                <a:gd name="T6" fmla="*/ 119 w 2226"/>
                <a:gd name="T7" fmla="*/ 116 h 1392"/>
                <a:gd name="T8" fmla="*/ 101 w 2226"/>
                <a:gd name="T9" fmla="*/ 116 h 1392"/>
                <a:gd name="T10" fmla="*/ 94 w 2226"/>
                <a:gd name="T11" fmla="*/ 104 h 1392"/>
                <a:gd name="T12" fmla="*/ 82 w 2226"/>
                <a:gd name="T13" fmla="*/ 83 h 1392"/>
                <a:gd name="T14" fmla="*/ 87 w 2226"/>
                <a:gd name="T15" fmla="*/ 69 h 1392"/>
                <a:gd name="T16" fmla="*/ 82 w 2226"/>
                <a:gd name="T17" fmla="*/ 65 h 1392"/>
                <a:gd name="T18" fmla="*/ 59 w 2226"/>
                <a:gd name="T19" fmla="*/ 57 h 1392"/>
                <a:gd name="T20" fmla="*/ 29 w 2226"/>
                <a:gd name="T21" fmla="*/ 77 h 1392"/>
                <a:gd name="T22" fmla="*/ 20 w 2226"/>
                <a:gd name="T23" fmla="*/ 78 h 1392"/>
                <a:gd name="T24" fmla="*/ 15 w 2226"/>
                <a:gd name="T25" fmla="*/ 82 h 1392"/>
                <a:gd name="T26" fmla="*/ 8 w 2226"/>
                <a:gd name="T27" fmla="*/ 86 h 1392"/>
                <a:gd name="T28" fmla="*/ 1 w 2226"/>
                <a:gd name="T29" fmla="*/ 88 h 1392"/>
                <a:gd name="T30" fmla="*/ 0 w 2226"/>
                <a:gd name="T31" fmla="*/ 82 h 1392"/>
                <a:gd name="T32" fmla="*/ 0 w 2226"/>
                <a:gd name="T33" fmla="*/ 76 h 1392"/>
                <a:gd name="T34" fmla="*/ 2 w 2226"/>
                <a:gd name="T35" fmla="*/ 70 h 1392"/>
                <a:gd name="T36" fmla="*/ 3 w 2226"/>
                <a:gd name="T37" fmla="*/ 65 h 1392"/>
                <a:gd name="T38" fmla="*/ 2 w 2226"/>
                <a:gd name="T39" fmla="*/ 63 h 1392"/>
                <a:gd name="T40" fmla="*/ 9 w 2226"/>
                <a:gd name="T41" fmla="*/ 60 h 1392"/>
                <a:gd name="T42" fmla="*/ 17 w 2226"/>
                <a:gd name="T43" fmla="*/ 59 h 1392"/>
                <a:gd name="T44" fmla="*/ 22 w 2226"/>
                <a:gd name="T45" fmla="*/ 51 h 1392"/>
                <a:gd name="T46" fmla="*/ 23 w 2226"/>
                <a:gd name="T47" fmla="*/ 43 h 1392"/>
                <a:gd name="T48" fmla="*/ 27 w 2226"/>
                <a:gd name="T49" fmla="*/ 34 h 1392"/>
                <a:gd name="T50" fmla="*/ 30 w 2226"/>
                <a:gd name="T51" fmla="*/ 27 h 1392"/>
                <a:gd name="T52" fmla="*/ 33 w 2226"/>
                <a:gd name="T53" fmla="*/ 22 h 1392"/>
                <a:gd name="T54" fmla="*/ 42 w 2226"/>
                <a:gd name="T55" fmla="*/ 17 h 1392"/>
                <a:gd name="T56" fmla="*/ 47 w 2226"/>
                <a:gd name="T57" fmla="*/ 14 h 1392"/>
                <a:gd name="T58" fmla="*/ 49 w 2226"/>
                <a:gd name="T59" fmla="*/ 5 h 1392"/>
                <a:gd name="T60" fmla="*/ 53 w 2226"/>
                <a:gd name="T61" fmla="*/ 0 h 1392"/>
                <a:gd name="T62" fmla="*/ 55 w 2226"/>
                <a:gd name="T63" fmla="*/ 4 h 1392"/>
                <a:gd name="T64" fmla="*/ 59 w 2226"/>
                <a:gd name="T65" fmla="*/ 7 h 1392"/>
                <a:gd name="T66" fmla="*/ 63 w 2226"/>
                <a:gd name="T67" fmla="*/ 7 h 1392"/>
                <a:gd name="T68" fmla="*/ 66 w 2226"/>
                <a:gd name="T69" fmla="*/ 9 h 1392"/>
                <a:gd name="T70" fmla="*/ 67 w 2226"/>
                <a:gd name="T71" fmla="*/ 12 h 1392"/>
                <a:gd name="T72" fmla="*/ 67 w 2226"/>
                <a:gd name="T73" fmla="*/ 13 h 1392"/>
                <a:gd name="T74" fmla="*/ 70 w 2226"/>
                <a:gd name="T75" fmla="*/ 15 h 1392"/>
                <a:gd name="T76" fmla="*/ 74 w 2226"/>
                <a:gd name="T77" fmla="*/ 17 h 1392"/>
                <a:gd name="T78" fmla="*/ 78 w 2226"/>
                <a:gd name="T79" fmla="*/ 18 h 1392"/>
                <a:gd name="T80" fmla="*/ 97 w 2226"/>
                <a:gd name="T81" fmla="*/ 40 h 1392"/>
                <a:gd name="T82" fmla="*/ 102 w 2226"/>
                <a:gd name="T83" fmla="*/ 44 h 1392"/>
                <a:gd name="T84" fmla="*/ 110 w 2226"/>
                <a:gd name="T85" fmla="*/ 49 h 1392"/>
                <a:gd name="T86" fmla="*/ 113 w 2226"/>
                <a:gd name="T87" fmla="*/ 53 h 1392"/>
                <a:gd name="T88" fmla="*/ 118 w 2226"/>
                <a:gd name="T89" fmla="*/ 57 h 1392"/>
                <a:gd name="T90" fmla="*/ 124 w 2226"/>
                <a:gd name="T91" fmla="*/ 54 h 1392"/>
                <a:gd name="T92" fmla="*/ 133 w 2226"/>
                <a:gd name="T93" fmla="*/ 58 h 1392"/>
                <a:gd name="T94" fmla="*/ 137 w 2226"/>
                <a:gd name="T95" fmla="*/ 64 h 1392"/>
                <a:gd name="T96" fmla="*/ 145 w 2226"/>
                <a:gd name="T97" fmla="*/ 65 h 1392"/>
                <a:gd name="T98" fmla="*/ 152 w 2226"/>
                <a:gd name="T99" fmla="*/ 67 h 1392"/>
                <a:gd name="T100" fmla="*/ 161 w 2226"/>
                <a:gd name="T101" fmla="*/ 72 h 1392"/>
                <a:gd name="T102" fmla="*/ 168 w 2226"/>
                <a:gd name="T103" fmla="*/ 76 h 1392"/>
                <a:gd name="T104" fmla="*/ 177 w 2226"/>
                <a:gd name="T105" fmla="*/ 78 h 1392"/>
                <a:gd name="T106" fmla="*/ 184 w 2226"/>
                <a:gd name="T107" fmla="*/ 78 h 1392"/>
                <a:gd name="T108" fmla="*/ 190 w 2226"/>
                <a:gd name="T109" fmla="*/ 81 h 1392"/>
                <a:gd name="T110" fmla="*/ 192 w 2226"/>
                <a:gd name="T111" fmla="*/ 86 h 1392"/>
                <a:gd name="T112" fmla="*/ 187 w 2226"/>
                <a:gd name="T113" fmla="*/ 99 h 1392"/>
                <a:gd name="T114" fmla="*/ 165 w 2226"/>
                <a:gd name="T115" fmla="*/ 97 h 1392"/>
                <a:gd name="T116" fmla="*/ 155 w 2226"/>
                <a:gd name="T117" fmla="*/ 92 h 1392"/>
                <a:gd name="T118" fmla="*/ 146 w 2226"/>
                <a:gd name="T119" fmla="*/ 102 h 1392"/>
                <a:gd name="T120" fmla="*/ 149 w 2226"/>
                <a:gd name="T121" fmla="*/ 106 h 1392"/>
                <a:gd name="T122" fmla="*/ 151 w 2226"/>
                <a:gd name="T123" fmla="*/ 108 h 1392"/>
                <a:gd name="T124" fmla="*/ 157 w 2226"/>
                <a:gd name="T125" fmla="*/ 113 h 13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1392"/>
                <a:gd name="T191" fmla="*/ 2226 w 2226"/>
                <a:gd name="T192" fmla="*/ 1392 h 13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1392">
                  <a:moveTo>
                    <a:pt x="1782" y="1326"/>
                  </a:moveTo>
                  <a:lnTo>
                    <a:pt x="1776" y="1332"/>
                  </a:lnTo>
                  <a:lnTo>
                    <a:pt x="1692" y="1338"/>
                  </a:lnTo>
                  <a:lnTo>
                    <a:pt x="1680" y="1386"/>
                  </a:lnTo>
                  <a:lnTo>
                    <a:pt x="1674" y="1392"/>
                  </a:lnTo>
                  <a:lnTo>
                    <a:pt x="1638" y="1392"/>
                  </a:lnTo>
                  <a:lnTo>
                    <a:pt x="1620" y="1392"/>
                  </a:lnTo>
                  <a:lnTo>
                    <a:pt x="1614" y="1392"/>
                  </a:lnTo>
                  <a:lnTo>
                    <a:pt x="1608" y="1386"/>
                  </a:lnTo>
                  <a:lnTo>
                    <a:pt x="1584" y="1386"/>
                  </a:lnTo>
                  <a:lnTo>
                    <a:pt x="1578" y="1386"/>
                  </a:lnTo>
                  <a:lnTo>
                    <a:pt x="1572" y="1380"/>
                  </a:lnTo>
                  <a:lnTo>
                    <a:pt x="1578" y="1356"/>
                  </a:lnTo>
                  <a:lnTo>
                    <a:pt x="1572" y="1356"/>
                  </a:lnTo>
                  <a:lnTo>
                    <a:pt x="1560" y="1350"/>
                  </a:lnTo>
                  <a:lnTo>
                    <a:pt x="1554" y="1350"/>
                  </a:lnTo>
                  <a:lnTo>
                    <a:pt x="1542" y="1350"/>
                  </a:lnTo>
                  <a:lnTo>
                    <a:pt x="1530" y="1350"/>
                  </a:lnTo>
                  <a:lnTo>
                    <a:pt x="1524" y="1356"/>
                  </a:lnTo>
                  <a:lnTo>
                    <a:pt x="1524" y="1362"/>
                  </a:lnTo>
                  <a:lnTo>
                    <a:pt x="1512" y="1374"/>
                  </a:lnTo>
                  <a:lnTo>
                    <a:pt x="1506" y="1374"/>
                  </a:lnTo>
                  <a:lnTo>
                    <a:pt x="1500" y="1368"/>
                  </a:lnTo>
                  <a:lnTo>
                    <a:pt x="1500" y="1362"/>
                  </a:lnTo>
                  <a:lnTo>
                    <a:pt x="1488" y="1362"/>
                  </a:lnTo>
                  <a:lnTo>
                    <a:pt x="1482" y="1356"/>
                  </a:lnTo>
                  <a:lnTo>
                    <a:pt x="1482" y="1350"/>
                  </a:lnTo>
                  <a:lnTo>
                    <a:pt x="1476" y="1350"/>
                  </a:lnTo>
                  <a:lnTo>
                    <a:pt x="1470" y="1344"/>
                  </a:lnTo>
                  <a:lnTo>
                    <a:pt x="1464" y="1344"/>
                  </a:lnTo>
                  <a:lnTo>
                    <a:pt x="1452" y="1350"/>
                  </a:lnTo>
                  <a:lnTo>
                    <a:pt x="1452" y="1356"/>
                  </a:lnTo>
                  <a:lnTo>
                    <a:pt x="1440" y="1356"/>
                  </a:lnTo>
                  <a:lnTo>
                    <a:pt x="1434" y="1344"/>
                  </a:lnTo>
                  <a:lnTo>
                    <a:pt x="1422" y="1332"/>
                  </a:lnTo>
                  <a:lnTo>
                    <a:pt x="1416" y="1326"/>
                  </a:lnTo>
                  <a:lnTo>
                    <a:pt x="1404" y="1320"/>
                  </a:lnTo>
                  <a:lnTo>
                    <a:pt x="1404" y="1314"/>
                  </a:lnTo>
                  <a:lnTo>
                    <a:pt x="1374" y="1308"/>
                  </a:lnTo>
                  <a:lnTo>
                    <a:pt x="1368" y="1326"/>
                  </a:lnTo>
                  <a:lnTo>
                    <a:pt x="1344" y="1338"/>
                  </a:lnTo>
                  <a:lnTo>
                    <a:pt x="1326" y="1332"/>
                  </a:lnTo>
                  <a:lnTo>
                    <a:pt x="1302" y="1332"/>
                  </a:lnTo>
                  <a:lnTo>
                    <a:pt x="1278" y="1338"/>
                  </a:lnTo>
                  <a:lnTo>
                    <a:pt x="1236" y="1338"/>
                  </a:lnTo>
                  <a:lnTo>
                    <a:pt x="1224" y="1338"/>
                  </a:lnTo>
                  <a:lnTo>
                    <a:pt x="1224" y="1326"/>
                  </a:lnTo>
                  <a:lnTo>
                    <a:pt x="1206" y="1326"/>
                  </a:lnTo>
                  <a:lnTo>
                    <a:pt x="1170" y="1326"/>
                  </a:lnTo>
                  <a:lnTo>
                    <a:pt x="1152" y="1326"/>
                  </a:lnTo>
                  <a:lnTo>
                    <a:pt x="1140" y="1314"/>
                  </a:lnTo>
                  <a:lnTo>
                    <a:pt x="1134" y="1296"/>
                  </a:lnTo>
                  <a:lnTo>
                    <a:pt x="1134" y="1284"/>
                  </a:lnTo>
                  <a:lnTo>
                    <a:pt x="1128" y="1254"/>
                  </a:lnTo>
                  <a:lnTo>
                    <a:pt x="1128" y="1242"/>
                  </a:lnTo>
                  <a:lnTo>
                    <a:pt x="1122" y="1230"/>
                  </a:lnTo>
                  <a:lnTo>
                    <a:pt x="1104" y="1218"/>
                  </a:lnTo>
                  <a:lnTo>
                    <a:pt x="1104" y="1212"/>
                  </a:lnTo>
                  <a:lnTo>
                    <a:pt x="1092" y="1206"/>
                  </a:lnTo>
                  <a:lnTo>
                    <a:pt x="1080" y="1194"/>
                  </a:lnTo>
                  <a:lnTo>
                    <a:pt x="1068" y="1176"/>
                  </a:lnTo>
                  <a:lnTo>
                    <a:pt x="1050" y="1152"/>
                  </a:lnTo>
                  <a:lnTo>
                    <a:pt x="1020" y="1098"/>
                  </a:lnTo>
                  <a:lnTo>
                    <a:pt x="978" y="1026"/>
                  </a:lnTo>
                  <a:lnTo>
                    <a:pt x="978" y="1014"/>
                  </a:lnTo>
                  <a:lnTo>
                    <a:pt x="972" y="1014"/>
                  </a:lnTo>
                  <a:lnTo>
                    <a:pt x="972" y="1008"/>
                  </a:lnTo>
                  <a:lnTo>
                    <a:pt x="978" y="1002"/>
                  </a:lnTo>
                  <a:lnTo>
                    <a:pt x="960" y="966"/>
                  </a:lnTo>
                  <a:lnTo>
                    <a:pt x="948" y="954"/>
                  </a:lnTo>
                  <a:lnTo>
                    <a:pt x="948" y="936"/>
                  </a:lnTo>
                  <a:lnTo>
                    <a:pt x="936" y="900"/>
                  </a:lnTo>
                  <a:lnTo>
                    <a:pt x="942" y="876"/>
                  </a:lnTo>
                  <a:lnTo>
                    <a:pt x="942" y="834"/>
                  </a:lnTo>
                  <a:lnTo>
                    <a:pt x="960" y="828"/>
                  </a:lnTo>
                  <a:lnTo>
                    <a:pt x="966" y="816"/>
                  </a:lnTo>
                  <a:lnTo>
                    <a:pt x="972" y="810"/>
                  </a:lnTo>
                  <a:lnTo>
                    <a:pt x="978" y="804"/>
                  </a:lnTo>
                  <a:lnTo>
                    <a:pt x="996" y="798"/>
                  </a:lnTo>
                  <a:lnTo>
                    <a:pt x="996" y="792"/>
                  </a:lnTo>
                  <a:lnTo>
                    <a:pt x="1014" y="780"/>
                  </a:lnTo>
                  <a:lnTo>
                    <a:pt x="1026" y="768"/>
                  </a:lnTo>
                  <a:lnTo>
                    <a:pt x="1032" y="762"/>
                  </a:lnTo>
                  <a:lnTo>
                    <a:pt x="1026" y="756"/>
                  </a:lnTo>
                  <a:lnTo>
                    <a:pt x="1014" y="744"/>
                  </a:lnTo>
                  <a:lnTo>
                    <a:pt x="996" y="756"/>
                  </a:lnTo>
                  <a:lnTo>
                    <a:pt x="954" y="768"/>
                  </a:lnTo>
                  <a:lnTo>
                    <a:pt x="942" y="762"/>
                  </a:lnTo>
                  <a:lnTo>
                    <a:pt x="942" y="756"/>
                  </a:lnTo>
                  <a:lnTo>
                    <a:pt x="936" y="750"/>
                  </a:lnTo>
                  <a:lnTo>
                    <a:pt x="846" y="732"/>
                  </a:lnTo>
                  <a:lnTo>
                    <a:pt x="822" y="726"/>
                  </a:lnTo>
                  <a:lnTo>
                    <a:pt x="810" y="714"/>
                  </a:lnTo>
                  <a:lnTo>
                    <a:pt x="792" y="690"/>
                  </a:lnTo>
                  <a:lnTo>
                    <a:pt x="792" y="678"/>
                  </a:lnTo>
                  <a:lnTo>
                    <a:pt x="762" y="642"/>
                  </a:lnTo>
                  <a:lnTo>
                    <a:pt x="750" y="636"/>
                  </a:lnTo>
                  <a:lnTo>
                    <a:pt x="726" y="630"/>
                  </a:lnTo>
                  <a:lnTo>
                    <a:pt x="696" y="642"/>
                  </a:lnTo>
                  <a:lnTo>
                    <a:pt x="678" y="654"/>
                  </a:lnTo>
                  <a:lnTo>
                    <a:pt x="666" y="684"/>
                  </a:lnTo>
                  <a:lnTo>
                    <a:pt x="660" y="726"/>
                  </a:lnTo>
                  <a:lnTo>
                    <a:pt x="606" y="756"/>
                  </a:lnTo>
                  <a:lnTo>
                    <a:pt x="558" y="780"/>
                  </a:lnTo>
                  <a:lnTo>
                    <a:pt x="438" y="834"/>
                  </a:lnTo>
                  <a:lnTo>
                    <a:pt x="402" y="846"/>
                  </a:lnTo>
                  <a:lnTo>
                    <a:pt x="372" y="870"/>
                  </a:lnTo>
                  <a:lnTo>
                    <a:pt x="360" y="876"/>
                  </a:lnTo>
                  <a:lnTo>
                    <a:pt x="354" y="876"/>
                  </a:lnTo>
                  <a:lnTo>
                    <a:pt x="330" y="882"/>
                  </a:lnTo>
                  <a:lnTo>
                    <a:pt x="306" y="882"/>
                  </a:lnTo>
                  <a:lnTo>
                    <a:pt x="300" y="876"/>
                  </a:lnTo>
                  <a:lnTo>
                    <a:pt x="294" y="876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76" y="864"/>
                  </a:lnTo>
                  <a:lnTo>
                    <a:pt x="270" y="870"/>
                  </a:lnTo>
                  <a:lnTo>
                    <a:pt x="264" y="870"/>
                  </a:lnTo>
                  <a:lnTo>
                    <a:pt x="240" y="894"/>
                  </a:lnTo>
                  <a:lnTo>
                    <a:pt x="234" y="894"/>
                  </a:lnTo>
                  <a:lnTo>
                    <a:pt x="228" y="900"/>
                  </a:lnTo>
                  <a:lnTo>
                    <a:pt x="222" y="906"/>
                  </a:lnTo>
                  <a:lnTo>
                    <a:pt x="210" y="912"/>
                  </a:lnTo>
                  <a:lnTo>
                    <a:pt x="204" y="912"/>
                  </a:lnTo>
                  <a:lnTo>
                    <a:pt x="198" y="912"/>
                  </a:lnTo>
                  <a:lnTo>
                    <a:pt x="192" y="918"/>
                  </a:lnTo>
                  <a:lnTo>
                    <a:pt x="180" y="918"/>
                  </a:lnTo>
                  <a:lnTo>
                    <a:pt x="174" y="930"/>
                  </a:lnTo>
                  <a:lnTo>
                    <a:pt x="174" y="936"/>
                  </a:lnTo>
                  <a:lnTo>
                    <a:pt x="168" y="942"/>
                  </a:lnTo>
                  <a:lnTo>
                    <a:pt x="162" y="942"/>
                  </a:lnTo>
                  <a:lnTo>
                    <a:pt x="150" y="960"/>
                  </a:lnTo>
                  <a:lnTo>
                    <a:pt x="144" y="966"/>
                  </a:lnTo>
                  <a:lnTo>
                    <a:pt x="138" y="972"/>
                  </a:lnTo>
                  <a:lnTo>
                    <a:pt x="132" y="972"/>
                  </a:lnTo>
                  <a:lnTo>
                    <a:pt x="126" y="984"/>
                  </a:lnTo>
                  <a:lnTo>
                    <a:pt x="120" y="984"/>
                  </a:lnTo>
                  <a:lnTo>
                    <a:pt x="114" y="990"/>
                  </a:lnTo>
                  <a:lnTo>
                    <a:pt x="96" y="990"/>
                  </a:lnTo>
                  <a:lnTo>
                    <a:pt x="90" y="990"/>
                  </a:lnTo>
                  <a:lnTo>
                    <a:pt x="78" y="990"/>
                  </a:lnTo>
                  <a:lnTo>
                    <a:pt x="72" y="990"/>
                  </a:lnTo>
                  <a:lnTo>
                    <a:pt x="60" y="990"/>
                  </a:lnTo>
                  <a:lnTo>
                    <a:pt x="42" y="990"/>
                  </a:lnTo>
                  <a:lnTo>
                    <a:pt x="36" y="996"/>
                  </a:lnTo>
                  <a:lnTo>
                    <a:pt x="30" y="1002"/>
                  </a:lnTo>
                  <a:lnTo>
                    <a:pt x="24" y="1014"/>
                  </a:lnTo>
                  <a:lnTo>
                    <a:pt x="24" y="1020"/>
                  </a:lnTo>
                  <a:lnTo>
                    <a:pt x="18" y="1020"/>
                  </a:lnTo>
                  <a:lnTo>
                    <a:pt x="12" y="1014"/>
                  </a:lnTo>
                  <a:lnTo>
                    <a:pt x="12" y="1008"/>
                  </a:lnTo>
                  <a:lnTo>
                    <a:pt x="12" y="990"/>
                  </a:lnTo>
                  <a:lnTo>
                    <a:pt x="12" y="984"/>
                  </a:lnTo>
                  <a:lnTo>
                    <a:pt x="12" y="972"/>
                  </a:lnTo>
                  <a:lnTo>
                    <a:pt x="12" y="966"/>
                  </a:lnTo>
                  <a:lnTo>
                    <a:pt x="6" y="966"/>
                  </a:lnTo>
                  <a:lnTo>
                    <a:pt x="6" y="960"/>
                  </a:lnTo>
                  <a:lnTo>
                    <a:pt x="6" y="954"/>
                  </a:lnTo>
                  <a:lnTo>
                    <a:pt x="6" y="948"/>
                  </a:lnTo>
                  <a:lnTo>
                    <a:pt x="6" y="942"/>
                  </a:lnTo>
                  <a:lnTo>
                    <a:pt x="12" y="930"/>
                  </a:lnTo>
                  <a:lnTo>
                    <a:pt x="6" y="924"/>
                  </a:lnTo>
                  <a:lnTo>
                    <a:pt x="6" y="918"/>
                  </a:lnTo>
                  <a:lnTo>
                    <a:pt x="6" y="912"/>
                  </a:lnTo>
                  <a:lnTo>
                    <a:pt x="6" y="906"/>
                  </a:lnTo>
                  <a:lnTo>
                    <a:pt x="6" y="900"/>
                  </a:lnTo>
                  <a:lnTo>
                    <a:pt x="0" y="894"/>
                  </a:lnTo>
                  <a:lnTo>
                    <a:pt x="0" y="888"/>
                  </a:lnTo>
                  <a:lnTo>
                    <a:pt x="0" y="882"/>
                  </a:lnTo>
                  <a:lnTo>
                    <a:pt x="6" y="876"/>
                  </a:lnTo>
                  <a:lnTo>
                    <a:pt x="6" y="870"/>
                  </a:lnTo>
                  <a:lnTo>
                    <a:pt x="18" y="864"/>
                  </a:lnTo>
                  <a:lnTo>
                    <a:pt x="18" y="858"/>
                  </a:lnTo>
                  <a:lnTo>
                    <a:pt x="18" y="846"/>
                  </a:lnTo>
                  <a:lnTo>
                    <a:pt x="18" y="834"/>
                  </a:lnTo>
                  <a:lnTo>
                    <a:pt x="18" y="828"/>
                  </a:lnTo>
                  <a:lnTo>
                    <a:pt x="24" y="828"/>
                  </a:lnTo>
                  <a:lnTo>
                    <a:pt x="24" y="810"/>
                  </a:lnTo>
                  <a:lnTo>
                    <a:pt x="24" y="804"/>
                  </a:lnTo>
                  <a:lnTo>
                    <a:pt x="18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24" y="792"/>
                  </a:lnTo>
                  <a:lnTo>
                    <a:pt x="30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6" y="762"/>
                  </a:lnTo>
                  <a:lnTo>
                    <a:pt x="36" y="756"/>
                  </a:lnTo>
                  <a:lnTo>
                    <a:pt x="30" y="756"/>
                  </a:lnTo>
                  <a:lnTo>
                    <a:pt x="30" y="750"/>
                  </a:lnTo>
                  <a:lnTo>
                    <a:pt x="36" y="750"/>
                  </a:lnTo>
                  <a:lnTo>
                    <a:pt x="36" y="744"/>
                  </a:lnTo>
                  <a:lnTo>
                    <a:pt x="30" y="744"/>
                  </a:lnTo>
                  <a:lnTo>
                    <a:pt x="30" y="738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0" y="732"/>
                  </a:lnTo>
                  <a:lnTo>
                    <a:pt x="36" y="726"/>
                  </a:lnTo>
                  <a:lnTo>
                    <a:pt x="30" y="726"/>
                  </a:lnTo>
                  <a:lnTo>
                    <a:pt x="24" y="726"/>
                  </a:lnTo>
                  <a:lnTo>
                    <a:pt x="30" y="720"/>
                  </a:lnTo>
                  <a:lnTo>
                    <a:pt x="30" y="714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696"/>
                  </a:lnTo>
                  <a:lnTo>
                    <a:pt x="66" y="702"/>
                  </a:lnTo>
                  <a:lnTo>
                    <a:pt x="78" y="702"/>
                  </a:lnTo>
                  <a:lnTo>
                    <a:pt x="84" y="702"/>
                  </a:lnTo>
                  <a:lnTo>
                    <a:pt x="96" y="696"/>
                  </a:lnTo>
                  <a:lnTo>
                    <a:pt x="102" y="690"/>
                  </a:lnTo>
                  <a:lnTo>
                    <a:pt x="102" y="684"/>
                  </a:lnTo>
                  <a:lnTo>
                    <a:pt x="114" y="684"/>
                  </a:lnTo>
                  <a:lnTo>
                    <a:pt x="144" y="684"/>
                  </a:lnTo>
                  <a:lnTo>
                    <a:pt x="150" y="690"/>
                  </a:lnTo>
                  <a:lnTo>
                    <a:pt x="162" y="696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6" y="690"/>
                  </a:lnTo>
                  <a:lnTo>
                    <a:pt x="192" y="690"/>
                  </a:lnTo>
                  <a:lnTo>
                    <a:pt x="198" y="684"/>
                  </a:lnTo>
                  <a:lnTo>
                    <a:pt x="204" y="684"/>
                  </a:lnTo>
                  <a:lnTo>
                    <a:pt x="210" y="684"/>
                  </a:lnTo>
                  <a:lnTo>
                    <a:pt x="222" y="678"/>
                  </a:lnTo>
                  <a:lnTo>
                    <a:pt x="228" y="678"/>
                  </a:lnTo>
                  <a:lnTo>
                    <a:pt x="228" y="660"/>
                  </a:lnTo>
                  <a:lnTo>
                    <a:pt x="234" y="642"/>
                  </a:lnTo>
                  <a:lnTo>
                    <a:pt x="246" y="618"/>
                  </a:lnTo>
                  <a:lnTo>
                    <a:pt x="252" y="618"/>
                  </a:lnTo>
                  <a:lnTo>
                    <a:pt x="252" y="600"/>
                  </a:lnTo>
                  <a:lnTo>
                    <a:pt x="252" y="588"/>
                  </a:lnTo>
                  <a:lnTo>
                    <a:pt x="252" y="582"/>
                  </a:lnTo>
                  <a:lnTo>
                    <a:pt x="258" y="576"/>
                  </a:lnTo>
                  <a:lnTo>
                    <a:pt x="270" y="564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70" y="522"/>
                  </a:lnTo>
                  <a:lnTo>
                    <a:pt x="270" y="510"/>
                  </a:lnTo>
                  <a:lnTo>
                    <a:pt x="270" y="498"/>
                  </a:lnTo>
                  <a:lnTo>
                    <a:pt x="258" y="468"/>
                  </a:lnTo>
                  <a:lnTo>
                    <a:pt x="252" y="456"/>
                  </a:lnTo>
                  <a:lnTo>
                    <a:pt x="258" y="444"/>
                  </a:lnTo>
                  <a:lnTo>
                    <a:pt x="264" y="432"/>
                  </a:lnTo>
                  <a:lnTo>
                    <a:pt x="270" y="426"/>
                  </a:lnTo>
                  <a:lnTo>
                    <a:pt x="276" y="420"/>
                  </a:lnTo>
                  <a:lnTo>
                    <a:pt x="288" y="420"/>
                  </a:lnTo>
                  <a:lnTo>
                    <a:pt x="288" y="414"/>
                  </a:lnTo>
                  <a:lnTo>
                    <a:pt x="294" y="414"/>
                  </a:lnTo>
                  <a:lnTo>
                    <a:pt x="306" y="390"/>
                  </a:lnTo>
                  <a:lnTo>
                    <a:pt x="312" y="384"/>
                  </a:lnTo>
                  <a:lnTo>
                    <a:pt x="318" y="378"/>
                  </a:lnTo>
                  <a:lnTo>
                    <a:pt x="318" y="372"/>
                  </a:lnTo>
                  <a:lnTo>
                    <a:pt x="324" y="366"/>
                  </a:lnTo>
                  <a:lnTo>
                    <a:pt x="330" y="354"/>
                  </a:lnTo>
                  <a:lnTo>
                    <a:pt x="336" y="348"/>
                  </a:lnTo>
                  <a:lnTo>
                    <a:pt x="336" y="330"/>
                  </a:lnTo>
                  <a:lnTo>
                    <a:pt x="342" y="324"/>
                  </a:lnTo>
                  <a:lnTo>
                    <a:pt x="342" y="318"/>
                  </a:lnTo>
                  <a:lnTo>
                    <a:pt x="348" y="318"/>
                  </a:lnTo>
                  <a:lnTo>
                    <a:pt x="360" y="318"/>
                  </a:lnTo>
                  <a:lnTo>
                    <a:pt x="372" y="318"/>
                  </a:lnTo>
                  <a:lnTo>
                    <a:pt x="384" y="306"/>
                  </a:lnTo>
                  <a:lnTo>
                    <a:pt x="396" y="300"/>
                  </a:lnTo>
                  <a:lnTo>
                    <a:pt x="396" y="294"/>
                  </a:lnTo>
                  <a:lnTo>
                    <a:pt x="396" y="288"/>
                  </a:lnTo>
                  <a:lnTo>
                    <a:pt x="390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2"/>
                  </a:lnTo>
                  <a:lnTo>
                    <a:pt x="378" y="246"/>
                  </a:lnTo>
                  <a:lnTo>
                    <a:pt x="384" y="228"/>
                  </a:lnTo>
                  <a:lnTo>
                    <a:pt x="390" y="216"/>
                  </a:lnTo>
                  <a:lnTo>
                    <a:pt x="402" y="210"/>
                  </a:lnTo>
                  <a:lnTo>
                    <a:pt x="408" y="210"/>
                  </a:lnTo>
                  <a:lnTo>
                    <a:pt x="420" y="204"/>
                  </a:lnTo>
                  <a:lnTo>
                    <a:pt x="444" y="198"/>
                  </a:lnTo>
                  <a:lnTo>
                    <a:pt x="462" y="192"/>
                  </a:lnTo>
                  <a:lnTo>
                    <a:pt x="474" y="186"/>
                  </a:lnTo>
                  <a:lnTo>
                    <a:pt x="480" y="192"/>
                  </a:lnTo>
                  <a:lnTo>
                    <a:pt x="492" y="192"/>
                  </a:lnTo>
                  <a:lnTo>
                    <a:pt x="498" y="192"/>
                  </a:lnTo>
                  <a:lnTo>
                    <a:pt x="504" y="192"/>
                  </a:lnTo>
                  <a:lnTo>
                    <a:pt x="510" y="192"/>
                  </a:lnTo>
                  <a:lnTo>
                    <a:pt x="516" y="186"/>
                  </a:lnTo>
                  <a:lnTo>
                    <a:pt x="522" y="180"/>
                  </a:lnTo>
                  <a:lnTo>
                    <a:pt x="522" y="174"/>
                  </a:lnTo>
                  <a:lnTo>
                    <a:pt x="528" y="168"/>
                  </a:lnTo>
                  <a:lnTo>
                    <a:pt x="534" y="168"/>
                  </a:lnTo>
                  <a:lnTo>
                    <a:pt x="534" y="156"/>
                  </a:lnTo>
                  <a:lnTo>
                    <a:pt x="534" y="150"/>
                  </a:lnTo>
                  <a:lnTo>
                    <a:pt x="552" y="138"/>
                  </a:lnTo>
                  <a:lnTo>
                    <a:pt x="558" y="126"/>
                  </a:lnTo>
                  <a:lnTo>
                    <a:pt x="558" y="114"/>
                  </a:lnTo>
                  <a:lnTo>
                    <a:pt x="564" y="102"/>
                  </a:lnTo>
                  <a:lnTo>
                    <a:pt x="564" y="96"/>
                  </a:lnTo>
                  <a:lnTo>
                    <a:pt x="564" y="90"/>
                  </a:lnTo>
                  <a:lnTo>
                    <a:pt x="564" y="72"/>
                  </a:lnTo>
                  <a:lnTo>
                    <a:pt x="564" y="60"/>
                  </a:lnTo>
                  <a:lnTo>
                    <a:pt x="564" y="54"/>
                  </a:lnTo>
                  <a:lnTo>
                    <a:pt x="570" y="42"/>
                  </a:lnTo>
                  <a:lnTo>
                    <a:pt x="576" y="42"/>
                  </a:lnTo>
                  <a:lnTo>
                    <a:pt x="582" y="36"/>
                  </a:lnTo>
                  <a:lnTo>
                    <a:pt x="594" y="36"/>
                  </a:lnTo>
                  <a:lnTo>
                    <a:pt x="594" y="30"/>
                  </a:lnTo>
                  <a:lnTo>
                    <a:pt x="600" y="24"/>
                  </a:lnTo>
                  <a:lnTo>
                    <a:pt x="600" y="12"/>
                  </a:lnTo>
                  <a:lnTo>
                    <a:pt x="606" y="6"/>
                  </a:lnTo>
                  <a:lnTo>
                    <a:pt x="606" y="0"/>
                  </a:lnTo>
                  <a:lnTo>
                    <a:pt x="612" y="0"/>
                  </a:lnTo>
                  <a:lnTo>
                    <a:pt x="618" y="0"/>
                  </a:lnTo>
                  <a:lnTo>
                    <a:pt x="624" y="6"/>
                  </a:lnTo>
                  <a:lnTo>
                    <a:pt x="624" y="12"/>
                  </a:lnTo>
                  <a:lnTo>
                    <a:pt x="624" y="18"/>
                  </a:lnTo>
                  <a:lnTo>
                    <a:pt x="624" y="24"/>
                  </a:lnTo>
                  <a:lnTo>
                    <a:pt x="624" y="30"/>
                  </a:lnTo>
                  <a:lnTo>
                    <a:pt x="630" y="30"/>
                  </a:lnTo>
                  <a:lnTo>
                    <a:pt x="630" y="36"/>
                  </a:lnTo>
                  <a:lnTo>
                    <a:pt x="630" y="42"/>
                  </a:lnTo>
                  <a:lnTo>
                    <a:pt x="630" y="48"/>
                  </a:lnTo>
                  <a:lnTo>
                    <a:pt x="636" y="54"/>
                  </a:lnTo>
                  <a:lnTo>
                    <a:pt x="642" y="48"/>
                  </a:lnTo>
                  <a:lnTo>
                    <a:pt x="648" y="48"/>
                  </a:lnTo>
                  <a:lnTo>
                    <a:pt x="648" y="60"/>
                  </a:lnTo>
                  <a:lnTo>
                    <a:pt x="654" y="66"/>
                  </a:lnTo>
                  <a:lnTo>
                    <a:pt x="660" y="72"/>
                  </a:lnTo>
                  <a:lnTo>
                    <a:pt x="666" y="72"/>
                  </a:lnTo>
                  <a:lnTo>
                    <a:pt x="666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72" y="66"/>
                  </a:lnTo>
                  <a:lnTo>
                    <a:pt x="678" y="66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6" y="66"/>
                  </a:lnTo>
                  <a:lnTo>
                    <a:pt x="696" y="72"/>
                  </a:lnTo>
                  <a:lnTo>
                    <a:pt x="702" y="72"/>
                  </a:lnTo>
                  <a:lnTo>
                    <a:pt x="708" y="72"/>
                  </a:lnTo>
                  <a:lnTo>
                    <a:pt x="720" y="66"/>
                  </a:lnTo>
                  <a:lnTo>
                    <a:pt x="726" y="78"/>
                  </a:lnTo>
                  <a:lnTo>
                    <a:pt x="744" y="84"/>
                  </a:lnTo>
                  <a:lnTo>
                    <a:pt x="744" y="90"/>
                  </a:lnTo>
                  <a:lnTo>
                    <a:pt x="744" y="96"/>
                  </a:lnTo>
                  <a:lnTo>
                    <a:pt x="738" y="96"/>
                  </a:lnTo>
                  <a:lnTo>
                    <a:pt x="738" y="102"/>
                  </a:lnTo>
                  <a:lnTo>
                    <a:pt x="732" y="102"/>
                  </a:lnTo>
                  <a:lnTo>
                    <a:pt x="732" y="108"/>
                  </a:lnTo>
                  <a:lnTo>
                    <a:pt x="738" y="108"/>
                  </a:lnTo>
                  <a:lnTo>
                    <a:pt x="744" y="114"/>
                  </a:lnTo>
                  <a:lnTo>
                    <a:pt x="750" y="108"/>
                  </a:lnTo>
                  <a:lnTo>
                    <a:pt x="756" y="108"/>
                  </a:lnTo>
                  <a:lnTo>
                    <a:pt x="762" y="108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80" y="120"/>
                  </a:lnTo>
                  <a:lnTo>
                    <a:pt x="774" y="120"/>
                  </a:lnTo>
                  <a:lnTo>
                    <a:pt x="768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74" y="138"/>
                  </a:lnTo>
                  <a:lnTo>
                    <a:pt x="774" y="132"/>
                  </a:lnTo>
                  <a:lnTo>
                    <a:pt x="780" y="132"/>
                  </a:lnTo>
                  <a:lnTo>
                    <a:pt x="786" y="132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44"/>
                  </a:lnTo>
                  <a:lnTo>
                    <a:pt x="786" y="150"/>
                  </a:lnTo>
                  <a:lnTo>
                    <a:pt x="780" y="150"/>
                  </a:lnTo>
                  <a:lnTo>
                    <a:pt x="774" y="150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74" y="162"/>
                  </a:lnTo>
                  <a:lnTo>
                    <a:pt x="780" y="162"/>
                  </a:lnTo>
                  <a:lnTo>
                    <a:pt x="786" y="168"/>
                  </a:lnTo>
                  <a:lnTo>
                    <a:pt x="792" y="162"/>
                  </a:lnTo>
                  <a:lnTo>
                    <a:pt x="798" y="168"/>
                  </a:lnTo>
                  <a:lnTo>
                    <a:pt x="798" y="174"/>
                  </a:lnTo>
                  <a:lnTo>
                    <a:pt x="804" y="168"/>
                  </a:lnTo>
                  <a:lnTo>
                    <a:pt x="810" y="168"/>
                  </a:lnTo>
                  <a:lnTo>
                    <a:pt x="810" y="174"/>
                  </a:lnTo>
                  <a:lnTo>
                    <a:pt x="816" y="168"/>
                  </a:lnTo>
                  <a:lnTo>
                    <a:pt x="822" y="162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74"/>
                  </a:lnTo>
                  <a:lnTo>
                    <a:pt x="834" y="192"/>
                  </a:lnTo>
                  <a:lnTo>
                    <a:pt x="834" y="198"/>
                  </a:lnTo>
                  <a:lnTo>
                    <a:pt x="840" y="192"/>
                  </a:lnTo>
                  <a:lnTo>
                    <a:pt x="846" y="192"/>
                  </a:lnTo>
                  <a:lnTo>
                    <a:pt x="852" y="186"/>
                  </a:lnTo>
                  <a:lnTo>
                    <a:pt x="858" y="192"/>
                  </a:lnTo>
                  <a:lnTo>
                    <a:pt x="864" y="192"/>
                  </a:lnTo>
                  <a:lnTo>
                    <a:pt x="870" y="198"/>
                  </a:lnTo>
                  <a:lnTo>
                    <a:pt x="876" y="180"/>
                  </a:lnTo>
                  <a:lnTo>
                    <a:pt x="882" y="180"/>
                  </a:lnTo>
                  <a:lnTo>
                    <a:pt x="888" y="180"/>
                  </a:lnTo>
                  <a:lnTo>
                    <a:pt x="894" y="186"/>
                  </a:lnTo>
                  <a:lnTo>
                    <a:pt x="888" y="198"/>
                  </a:lnTo>
                  <a:lnTo>
                    <a:pt x="894" y="204"/>
                  </a:lnTo>
                  <a:lnTo>
                    <a:pt x="906" y="210"/>
                  </a:lnTo>
                  <a:lnTo>
                    <a:pt x="918" y="246"/>
                  </a:lnTo>
                  <a:lnTo>
                    <a:pt x="930" y="258"/>
                  </a:lnTo>
                  <a:lnTo>
                    <a:pt x="942" y="282"/>
                  </a:lnTo>
                  <a:lnTo>
                    <a:pt x="966" y="288"/>
                  </a:lnTo>
                  <a:lnTo>
                    <a:pt x="972" y="300"/>
                  </a:lnTo>
                  <a:lnTo>
                    <a:pt x="972" y="318"/>
                  </a:lnTo>
                  <a:lnTo>
                    <a:pt x="996" y="336"/>
                  </a:lnTo>
                  <a:lnTo>
                    <a:pt x="1050" y="390"/>
                  </a:lnTo>
                  <a:lnTo>
                    <a:pt x="1116" y="462"/>
                  </a:lnTo>
                  <a:lnTo>
                    <a:pt x="1122" y="468"/>
                  </a:lnTo>
                  <a:lnTo>
                    <a:pt x="1128" y="474"/>
                  </a:lnTo>
                  <a:lnTo>
                    <a:pt x="1140" y="474"/>
                  </a:lnTo>
                  <a:lnTo>
                    <a:pt x="1152" y="486"/>
                  </a:lnTo>
                  <a:lnTo>
                    <a:pt x="1152" y="492"/>
                  </a:lnTo>
                  <a:lnTo>
                    <a:pt x="1158" y="492"/>
                  </a:lnTo>
                  <a:lnTo>
                    <a:pt x="1164" y="492"/>
                  </a:lnTo>
                  <a:lnTo>
                    <a:pt x="1170" y="504"/>
                  </a:lnTo>
                  <a:lnTo>
                    <a:pt x="1176" y="504"/>
                  </a:lnTo>
                  <a:lnTo>
                    <a:pt x="1176" y="510"/>
                  </a:lnTo>
                  <a:lnTo>
                    <a:pt x="1200" y="516"/>
                  </a:lnTo>
                  <a:lnTo>
                    <a:pt x="1200" y="522"/>
                  </a:lnTo>
                  <a:lnTo>
                    <a:pt x="1212" y="534"/>
                  </a:lnTo>
                  <a:lnTo>
                    <a:pt x="1218" y="540"/>
                  </a:lnTo>
                  <a:lnTo>
                    <a:pt x="1224" y="552"/>
                  </a:lnTo>
                  <a:lnTo>
                    <a:pt x="1230" y="552"/>
                  </a:lnTo>
                  <a:lnTo>
                    <a:pt x="1242" y="552"/>
                  </a:lnTo>
                  <a:lnTo>
                    <a:pt x="1248" y="558"/>
                  </a:lnTo>
                  <a:lnTo>
                    <a:pt x="1254" y="558"/>
                  </a:lnTo>
                  <a:lnTo>
                    <a:pt x="1260" y="564"/>
                  </a:lnTo>
                  <a:lnTo>
                    <a:pt x="1266" y="564"/>
                  </a:lnTo>
                  <a:lnTo>
                    <a:pt x="1272" y="564"/>
                  </a:lnTo>
                  <a:lnTo>
                    <a:pt x="1284" y="564"/>
                  </a:lnTo>
                  <a:lnTo>
                    <a:pt x="1290" y="570"/>
                  </a:lnTo>
                  <a:lnTo>
                    <a:pt x="1296" y="576"/>
                  </a:lnTo>
                  <a:lnTo>
                    <a:pt x="1302" y="588"/>
                  </a:lnTo>
                  <a:lnTo>
                    <a:pt x="1296" y="594"/>
                  </a:lnTo>
                  <a:lnTo>
                    <a:pt x="1296" y="600"/>
                  </a:lnTo>
                  <a:lnTo>
                    <a:pt x="1296" y="606"/>
                  </a:lnTo>
                  <a:lnTo>
                    <a:pt x="1290" y="612"/>
                  </a:lnTo>
                  <a:lnTo>
                    <a:pt x="1290" y="624"/>
                  </a:lnTo>
                  <a:lnTo>
                    <a:pt x="1290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308" y="654"/>
                  </a:lnTo>
                  <a:lnTo>
                    <a:pt x="1320" y="654"/>
                  </a:lnTo>
                  <a:lnTo>
                    <a:pt x="1326" y="660"/>
                  </a:lnTo>
                  <a:lnTo>
                    <a:pt x="1338" y="654"/>
                  </a:lnTo>
                  <a:lnTo>
                    <a:pt x="1344" y="654"/>
                  </a:lnTo>
                  <a:lnTo>
                    <a:pt x="1356" y="654"/>
                  </a:lnTo>
                  <a:lnTo>
                    <a:pt x="1362" y="648"/>
                  </a:lnTo>
                  <a:lnTo>
                    <a:pt x="1368" y="642"/>
                  </a:lnTo>
                  <a:lnTo>
                    <a:pt x="1374" y="636"/>
                  </a:lnTo>
                  <a:lnTo>
                    <a:pt x="1380" y="636"/>
                  </a:lnTo>
                  <a:lnTo>
                    <a:pt x="1392" y="636"/>
                  </a:lnTo>
                  <a:lnTo>
                    <a:pt x="1398" y="636"/>
                  </a:lnTo>
                  <a:lnTo>
                    <a:pt x="1404" y="636"/>
                  </a:lnTo>
                  <a:lnTo>
                    <a:pt x="1410" y="630"/>
                  </a:lnTo>
                  <a:lnTo>
                    <a:pt x="1410" y="624"/>
                  </a:lnTo>
                  <a:lnTo>
                    <a:pt x="1422" y="618"/>
                  </a:lnTo>
                  <a:lnTo>
                    <a:pt x="1428" y="618"/>
                  </a:lnTo>
                  <a:lnTo>
                    <a:pt x="1440" y="612"/>
                  </a:lnTo>
                  <a:lnTo>
                    <a:pt x="1446" y="612"/>
                  </a:lnTo>
                  <a:lnTo>
                    <a:pt x="1458" y="612"/>
                  </a:lnTo>
                  <a:lnTo>
                    <a:pt x="1470" y="624"/>
                  </a:lnTo>
                  <a:lnTo>
                    <a:pt x="1488" y="642"/>
                  </a:lnTo>
                  <a:lnTo>
                    <a:pt x="1500" y="648"/>
                  </a:lnTo>
                  <a:lnTo>
                    <a:pt x="1512" y="654"/>
                  </a:lnTo>
                  <a:lnTo>
                    <a:pt x="1518" y="660"/>
                  </a:lnTo>
                  <a:lnTo>
                    <a:pt x="1524" y="660"/>
                  </a:lnTo>
                  <a:lnTo>
                    <a:pt x="1530" y="660"/>
                  </a:lnTo>
                  <a:lnTo>
                    <a:pt x="1536" y="666"/>
                  </a:lnTo>
                  <a:lnTo>
                    <a:pt x="1542" y="672"/>
                  </a:lnTo>
                  <a:lnTo>
                    <a:pt x="1548" y="672"/>
                  </a:lnTo>
                  <a:lnTo>
                    <a:pt x="1554" y="684"/>
                  </a:lnTo>
                  <a:lnTo>
                    <a:pt x="1554" y="690"/>
                  </a:lnTo>
                  <a:lnTo>
                    <a:pt x="1566" y="702"/>
                  </a:lnTo>
                  <a:lnTo>
                    <a:pt x="1572" y="720"/>
                  </a:lnTo>
                  <a:lnTo>
                    <a:pt x="1572" y="726"/>
                  </a:lnTo>
                  <a:lnTo>
                    <a:pt x="1578" y="732"/>
                  </a:lnTo>
                  <a:lnTo>
                    <a:pt x="1584" y="738"/>
                  </a:lnTo>
                  <a:lnTo>
                    <a:pt x="1590" y="738"/>
                  </a:lnTo>
                  <a:lnTo>
                    <a:pt x="1596" y="738"/>
                  </a:lnTo>
                  <a:lnTo>
                    <a:pt x="1602" y="744"/>
                  </a:lnTo>
                  <a:lnTo>
                    <a:pt x="1608" y="744"/>
                  </a:lnTo>
                  <a:lnTo>
                    <a:pt x="1614" y="744"/>
                  </a:lnTo>
                  <a:lnTo>
                    <a:pt x="1626" y="744"/>
                  </a:lnTo>
                  <a:lnTo>
                    <a:pt x="1638" y="744"/>
                  </a:lnTo>
                  <a:lnTo>
                    <a:pt x="1650" y="744"/>
                  </a:lnTo>
                  <a:lnTo>
                    <a:pt x="1662" y="744"/>
                  </a:lnTo>
                  <a:lnTo>
                    <a:pt x="1668" y="744"/>
                  </a:lnTo>
                  <a:lnTo>
                    <a:pt x="1674" y="744"/>
                  </a:lnTo>
                  <a:lnTo>
                    <a:pt x="1686" y="744"/>
                  </a:lnTo>
                  <a:lnTo>
                    <a:pt x="1698" y="750"/>
                  </a:lnTo>
                  <a:lnTo>
                    <a:pt x="1704" y="750"/>
                  </a:lnTo>
                  <a:lnTo>
                    <a:pt x="1716" y="756"/>
                  </a:lnTo>
                  <a:lnTo>
                    <a:pt x="1722" y="756"/>
                  </a:lnTo>
                  <a:lnTo>
                    <a:pt x="1728" y="756"/>
                  </a:lnTo>
                  <a:lnTo>
                    <a:pt x="1734" y="762"/>
                  </a:lnTo>
                  <a:lnTo>
                    <a:pt x="1740" y="768"/>
                  </a:lnTo>
                  <a:lnTo>
                    <a:pt x="1758" y="780"/>
                  </a:lnTo>
                  <a:lnTo>
                    <a:pt x="1770" y="780"/>
                  </a:lnTo>
                  <a:lnTo>
                    <a:pt x="1776" y="780"/>
                  </a:lnTo>
                  <a:lnTo>
                    <a:pt x="1782" y="780"/>
                  </a:lnTo>
                  <a:lnTo>
                    <a:pt x="1800" y="798"/>
                  </a:lnTo>
                  <a:lnTo>
                    <a:pt x="1818" y="810"/>
                  </a:lnTo>
                  <a:lnTo>
                    <a:pt x="1830" y="816"/>
                  </a:lnTo>
                  <a:lnTo>
                    <a:pt x="1836" y="822"/>
                  </a:lnTo>
                  <a:lnTo>
                    <a:pt x="1836" y="828"/>
                  </a:lnTo>
                  <a:lnTo>
                    <a:pt x="1842" y="828"/>
                  </a:lnTo>
                  <a:lnTo>
                    <a:pt x="1848" y="834"/>
                  </a:lnTo>
                  <a:lnTo>
                    <a:pt x="1854" y="840"/>
                  </a:lnTo>
                  <a:lnTo>
                    <a:pt x="1860" y="846"/>
                  </a:lnTo>
                  <a:lnTo>
                    <a:pt x="1872" y="852"/>
                  </a:lnTo>
                  <a:lnTo>
                    <a:pt x="1884" y="852"/>
                  </a:lnTo>
                  <a:lnTo>
                    <a:pt x="1896" y="852"/>
                  </a:lnTo>
                  <a:lnTo>
                    <a:pt x="1902" y="846"/>
                  </a:lnTo>
                  <a:lnTo>
                    <a:pt x="1908" y="852"/>
                  </a:lnTo>
                  <a:lnTo>
                    <a:pt x="1920" y="858"/>
                  </a:lnTo>
                  <a:lnTo>
                    <a:pt x="1926" y="870"/>
                  </a:lnTo>
                  <a:lnTo>
                    <a:pt x="1938" y="888"/>
                  </a:lnTo>
                  <a:lnTo>
                    <a:pt x="1944" y="900"/>
                  </a:lnTo>
                  <a:lnTo>
                    <a:pt x="1950" y="900"/>
                  </a:lnTo>
                  <a:lnTo>
                    <a:pt x="1962" y="906"/>
                  </a:lnTo>
                  <a:lnTo>
                    <a:pt x="1968" y="906"/>
                  </a:lnTo>
                  <a:lnTo>
                    <a:pt x="1980" y="906"/>
                  </a:lnTo>
                  <a:lnTo>
                    <a:pt x="1998" y="906"/>
                  </a:lnTo>
                  <a:lnTo>
                    <a:pt x="2010" y="900"/>
                  </a:lnTo>
                  <a:lnTo>
                    <a:pt x="2022" y="900"/>
                  </a:lnTo>
                  <a:lnTo>
                    <a:pt x="2028" y="900"/>
                  </a:lnTo>
                  <a:lnTo>
                    <a:pt x="2034" y="906"/>
                  </a:lnTo>
                  <a:lnTo>
                    <a:pt x="2046" y="906"/>
                  </a:lnTo>
                  <a:lnTo>
                    <a:pt x="2052" y="900"/>
                  </a:lnTo>
                  <a:lnTo>
                    <a:pt x="2058" y="900"/>
                  </a:lnTo>
                  <a:lnTo>
                    <a:pt x="2064" y="900"/>
                  </a:lnTo>
                  <a:lnTo>
                    <a:pt x="2070" y="900"/>
                  </a:lnTo>
                  <a:lnTo>
                    <a:pt x="2076" y="900"/>
                  </a:lnTo>
                  <a:lnTo>
                    <a:pt x="2076" y="906"/>
                  </a:lnTo>
                  <a:lnTo>
                    <a:pt x="2088" y="906"/>
                  </a:lnTo>
                  <a:lnTo>
                    <a:pt x="2106" y="900"/>
                  </a:lnTo>
                  <a:lnTo>
                    <a:pt x="2118" y="900"/>
                  </a:lnTo>
                  <a:lnTo>
                    <a:pt x="2130" y="900"/>
                  </a:lnTo>
                  <a:lnTo>
                    <a:pt x="2142" y="900"/>
                  </a:lnTo>
                  <a:lnTo>
                    <a:pt x="2148" y="906"/>
                  </a:lnTo>
                  <a:lnTo>
                    <a:pt x="2154" y="906"/>
                  </a:lnTo>
                  <a:lnTo>
                    <a:pt x="2160" y="906"/>
                  </a:lnTo>
                  <a:lnTo>
                    <a:pt x="2166" y="906"/>
                  </a:lnTo>
                  <a:lnTo>
                    <a:pt x="2178" y="918"/>
                  </a:lnTo>
                  <a:lnTo>
                    <a:pt x="2178" y="924"/>
                  </a:lnTo>
                  <a:lnTo>
                    <a:pt x="2184" y="924"/>
                  </a:lnTo>
                  <a:lnTo>
                    <a:pt x="2190" y="924"/>
                  </a:lnTo>
                  <a:lnTo>
                    <a:pt x="2196" y="924"/>
                  </a:lnTo>
                  <a:lnTo>
                    <a:pt x="2202" y="918"/>
                  </a:lnTo>
                  <a:lnTo>
                    <a:pt x="2208" y="918"/>
                  </a:lnTo>
                  <a:lnTo>
                    <a:pt x="2214" y="918"/>
                  </a:lnTo>
                  <a:lnTo>
                    <a:pt x="2226" y="918"/>
                  </a:lnTo>
                  <a:lnTo>
                    <a:pt x="2220" y="948"/>
                  </a:lnTo>
                  <a:lnTo>
                    <a:pt x="2214" y="972"/>
                  </a:lnTo>
                  <a:lnTo>
                    <a:pt x="2214" y="984"/>
                  </a:lnTo>
                  <a:lnTo>
                    <a:pt x="2208" y="990"/>
                  </a:lnTo>
                  <a:lnTo>
                    <a:pt x="2208" y="996"/>
                  </a:lnTo>
                  <a:lnTo>
                    <a:pt x="2202" y="996"/>
                  </a:lnTo>
                  <a:lnTo>
                    <a:pt x="2196" y="996"/>
                  </a:lnTo>
                  <a:lnTo>
                    <a:pt x="2190" y="1008"/>
                  </a:lnTo>
                  <a:lnTo>
                    <a:pt x="2172" y="1074"/>
                  </a:lnTo>
                  <a:lnTo>
                    <a:pt x="2166" y="1092"/>
                  </a:lnTo>
                  <a:lnTo>
                    <a:pt x="2172" y="1110"/>
                  </a:lnTo>
                  <a:lnTo>
                    <a:pt x="2172" y="1122"/>
                  </a:lnTo>
                  <a:lnTo>
                    <a:pt x="2166" y="1134"/>
                  </a:lnTo>
                  <a:lnTo>
                    <a:pt x="2148" y="1140"/>
                  </a:lnTo>
                  <a:lnTo>
                    <a:pt x="2148" y="1134"/>
                  </a:lnTo>
                  <a:lnTo>
                    <a:pt x="2118" y="1140"/>
                  </a:lnTo>
                  <a:lnTo>
                    <a:pt x="2088" y="1134"/>
                  </a:lnTo>
                  <a:lnTo>
                    <a:pt x="2064" y="1122"/>
                  </a:lnTo>
                  <a:lnTo>
                    <a:pt x="2034" y="1122"/>
                  </a:lnTo>
                  <a:lnTo>
                    <a:pt x="2022" y="1128"/>
                  </a:lnTo>
                  <a:lnTo>
                    <a:pt x="1986" y="1128"/>
                  </a:lnTo>
                  <a:lnTo>
                    <a:pt x="1938" y="1122"/>
                  </a:lnTo>
                  <a:lnTo>
                    <a:pt x="1932" y="1116"/>
                  </a:lnTo>
                  <a:lnTo>
                    <a:pt x="1896" y="1110"/>
                  </a:lnTo>
                  <a:lnTo>
                    <a:pt x="1878" y="1104"/>
                  </a:lnTo>
                  <a:lnTo>
                    <a:pt x="1866" y="1098"/>
                  </a:lnTo>
                  <a:lnTo>
                    <a:pt x="1860" y="1098"/>
                  </a:lnTo>
                  <a:lnTo>
                    <a:pt x="1854" y="1092"/>
                  </a:lnTo>
                  <a:lnTo>
                    <a:pt x="1860" y="1092"/>
                  </a:lnTo>
                  <a:lnTo>
                    <a:pt x="1860" y="1086"/>
                  </a:lnTo>
                  <a:lnTo>
                    <a:pt x="1854" y="1086"/>
                  </a:lnTo>
                  <a:lnTo>
                    <a:pt x="1842" y="1080"/>
                  </a:lnTo>
                  <a:lnTo>
                    <a:pt x="1818" y="1062"/>
                  </a:lnTo>
                  <a:lnTo>
                    <a:pt x="1782" y="1056"/>
                  </a:lnTo>
                  <a:lnTo>
                    <a:pt x="1770" y="1068"/>
                  </a:lnTo>
                  <a:lnTo>
                    <a:pt x="1746" y="1098"/>
                  </a:lnTo>
                  <a:lnTo>
                    <a:pt x="1722" y="1104"/>
                  </a:lnTo>
                  <a:lnTo>
                    <a:pt x="1710" y="1122"/>
                  </a:lnTo>
                  <a:lnTo>
                    <a:pt x="1710" y="1128"/>
                  </a:lnTo>
                  <a:lnTo>
                    <a:pt x="1710" y="1140"/>
                  </a:lnTo>
                  <a:lnTo>
                    <a:pt x="1698" y="1146"/>
                  </a:lnTo>
                  <a:lnTo>
                    <a:pt x="1686" y="1152"/>
                  </a:lnTo>
                  <a:lnTo>
                    <a:pt x="1680" y="1164"/>
                  </a:lnTo>
                  <a:lnTo>
                    <a:pt x="1680" y="1170"/>
                  </a:lnTo>
                  <a:lnTo>
                    <a:pt x="1686" y="1170"/>
                  </a:lnTo>
                  <a:lnTo>
                    <a:pt x="1686" y="1176"/>
                  </a:lnTo>
                  <a:lnTo>
                    <a:pt x="1698" y="1188"/>
                  </a:lnTo>
                  <a:lnTo>
                    <a:pt x="1704" y="1188"/>
                  </a:lnTo>
                  <a:lnTo>
                    <a:pt x="1698" y="1194"/>
                  </a:lnTo>
                  <a:lnTo>
                    <a:pt x="1704" y="1194"/>
                  </a:lnTo>
                  <a:lnTo>
                    <a:pt x="1704" y="1200"/>
                  </a:lnTo>
                  <a:lnTo>
                    <a:pt x="1704" y="1206"/>
                  </a:lnTo>
                  <a:lnTo>
                    <a:pt x="1704" y="1212"/>
                  </a:lnTo>
                  <a:lnTo>
                    <a:pt x="1704" y="1218"/>
                  </a:lnTo>
                  <a:lnTo>
                    <a:pt x="1710" y="1218"/>
                  </a:lnTo>
                  <a:lnTo>
                    <a:pt x="1710" y="1212"/>
                  </a:lnTo>
                  <a:lnTo>
                    <a:pt x="1716" y="1212"/>
                  </a:lnTo>
                  <a:lnTo>
                    <a:pt x="1716" y="1218"/>
                  </a:lnTo>
                  <a:lnTo>
                    <a:pt x="1716" y="1224"/>
                  </a:lnTo>
                  <a:lnTo>
                    <a:pt x="1716" y="1230"/>
                  </a:lnTo>
                  <a:lnTo>
                    <a:pt x="1722" y="1236"/>
                  </a:lnTo>
                  <a:lnTo>
                    <a:pt x="1740" y="1230"/>
                  </a:lnTo>
                  <a:lnTo>
                    <a:pt x="1734" y="1236"/>
                  </a:lnTo>
                  <a:lnTo>
                    <a:pt x="1734" y="1242"/>
                  </a:lnTo>
                  <a:lnTo>
                    <a:pt x="1734" y="1248"/>
                  </a:lnTo>
                  <a:lnTo>
                    <a:pt x="1734" y="1254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52" y="1266"/>
                  </a:lnTo>
                  <a:lnTo>
                    <a:pt x="1764" y="1266"/>
                  </a:lnTo>
                  <a:lnTo>
                    <a:pt x="1788" y="1260"/>
                  </a:lnTo>
                  <a:lnTo>
                    <a:pt x="1800" y="1260"/>
                  </a:lnTo>
                  <a:lnTo>
                    <a:pt x="1806" y="1272"/>
                  </a:lnTo>
                  <a:lnTo>
                    <a:pt x="1806" y="1296"/>
                  </a:lnTo>
                  <a:lnTo>
                    <a:pt x="1800" y="1308"/>
                  </a:lnTo>
                  <a:lnTo>
                    <a:pt x="1788" y="1308"/>
                  </a:lnTo>
                  <a:lnTo>
                    <a:pt x="1782" y="1326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7" name="Freeform 32">
              <a:extLst>
                <a:ext uri="{FF2B5EF4-FFF2-40B4-BE49-F238E27FC236}">
                  <a16:creationId xmlns:a16="http://schemas.microsoft.com/office/drawing/2014/main" id="{1EF84438-BF7A-47D2-9156-E231EA2A279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3295" y="2316568"/>
              <a:ext cx="1290281" cy="1084704"/>
            </a:xfrm>
            <a:custGeom>
              <a:avLst/>
              <a:gdLst>
                <a:gd name="T0" fmla="*/ 177 w 2430"/>
                <a:gd name="T1" fmla="*/ 169 h 2040"/>
                <a:gd name="T2" fmla="*/ 174 w 2430"/>
                <a:gd name="T3" fmla="*/ 173 h 2040"/>
                <a:gd name="T4" fmla="*/ 169 w 2430"/>
                <a:gd name="T5" fmla="*/ 171 h 2040"/>
                <a:gd name="T6" fmla="*/ 160 w 2430"/>
                <a:gd name="T7" fmla="*/ 163 h 2040"/>
                <a:gd name="T8" fmla="*/ 154 w 2430"/>
                <a:gd name="T9" fmla="*/ 149 h 2040"/>
                <a:gd name="T10" fmla="*/ 144 w 2430"/>
                <a:gd name="T11" fmla="*/ 147 h 2040"/>
                <a:gd name="T12" fmla="*/ 133 w 2430"/>
                <a:gd name="T13" fmla="*/ 146 h 2040"/>
                <a:gd name="T14" fmla="*/ 121 w 2430"/>
                <a:gd name="T15" fmla="*/ 145 h 2040"/>
                <a:gd name="T16" fmla="*/ 110 w 2430"/>
                <a:gd name="T17" fmla="*/ 137 h 2040"/>
                <a:gd name="T18" fmla="*/ 97 w 2430"/>
                <a:gd name="T19" fmla="*/ 131 h 2040"/>
                <a:gd name="T20" fmla="*/ 87 w 2430"/>
                <a:gd name="T21" fmla="*/ 125 h 2040"/>
                <a:gd name="T22" fmla="*/ 75 w 2430"/>
                <a:gd name="T23" fmla="*/ 122 h 2040"/>
                <a:gd name="T24" fmla="*/ 65 w 2430"/>
                <a:gd name="T25" fmla="*/ 122 h 2040"/>
                <a:gd name="T26" fmla="*/ 59 w 2430"/>
                <a:gd name="T27" fmla="*/ 115 h 2040"/>
                <a:gd name="T28" fmla="*/ 50 w 2430"/>
                <a:gd name="T29" fmla="*/ 107 h 2040"/>
                <a:gd name="T30" fmla="*/ 28 w 2430"/>
                <a:gd name="T31" fmla="*/ 84 h 2040"/>
                <a:gd name="T32" fmla="*/ 22 w 2430"/>
                <a:gd name="T33" fmla="*/ 82 h 2040"/>
                <a:gd name="T34" fmla="*/ 20 w 2430"/>
                <a:gd name="T35" fmla="*/ 79 h 2040"/>
                <a:gd name="T36" fmla="*/ 16 w 2430"/>
                <a:gd name="T37" fmla="*/ 76 h 2040"/>
                <a:gd name="T38" fmla="*/ 11 w 2430"/>
                <a:gd name="T39" fmla="*/ 74 h 2040"/>
                <a:gd name="T40" fmla="*/ 7 w 2430"/>
                <a:gd name="T41" fmla="*/ 69 h 2040"/>
                <a:gd name="T42" fmla="*/ 0 w 2430"/>
                <a:gd name="T43" fmla="*/ 60 h 2040"/>
                <a:gd name="T44" fmla="*/ 10 w 2430"/>
                <a:gd name="T45" fmla="*/ 53 h 2040"/>
                <a:gd name="T46" fmla="*/ 15 w 2430"/>
                <a:gd name="T47" fmla="*/ 40 h 2040"/>
                <a:gd name="T48" fmla="*/ 9 w 2430"/>
                <a:gd name="T49" fmla="*/ 29 h 2040"/>
                <a:gd name="T50" fmla="*/ 7 w 2430"/>
                <a:gd name="T51" fmla="*/ 16 h 2040"/>
                <a:gd name="T52" fmla="*/ 18 w 2430"/>
                <a:gd name="T53" fmla="*/ 21 h 2040"/>
                <a:gd name="T54" fmla="*/ 48 w 2430"/>
                <a:gd name="T55" fmla="*/ 27 h 2040"/>
                <a:gd name="T56" fmla="*/ 62 w 2430"/>
                <a:gd name="T57" fmla="*/ 25 h 2040"/>
                <a:gd name="T58" fmla="*/ 59 w 2430"/>
                <a:gd name="T59" fmla="*/ 42 h 2040"/>
                <a:gd name="T60" fmla="*/ 54 w 2430"/>
                <a:gd name="T61" fmla="*/ 65 h 2040"/>
                <a:gd name="T62" fmla="*/ 65 w 2430"/>
                <a:gd name="T63" fmla="*/ 60 h 2040"/>
                <a:gd name="T64" fmla="*/ 68 w 2430"/>
                <a:gd name="T65" fmla="*/ 40 h 2040"/>
                <a:gd name="T66" fmla="*/ 75 w 2430"/>
                <a:gd name="T67" fmla="*/ 36 h 2040"/>
                <a:gd name="T68" fmla="*/ 83 w 2430"/>
                <a:gd name="T69" fmla="*/ 29 h 2040"/>
                <a:gd name="T70" fmla="*/ 81 w 2430"/>
                <a:gd name="T71" fmla="*/ 17 h 2040"/>
                <a:gd name="T72" fmla="*/ 66 w 2430"/>
                <a:gd name="T73" fmla="*/ 7 h 2040"/>
                <a:gd name="T74" fmla="*/ 80 w 2430"/>
                <a:gd name="T75" fmla="*/ 5 h 2040"/>
                <a:gd name="T76" fmla="*/ 89 w 2430"/>
                <a:gd name="T77" fmla="*/ 1 h 2040"/>
                <a:gd name="T78" fmla="*/ 101 w 2430"/>
                <a:gd name="T79" fmla="*/ 10 h 2040"/>
                <a:gd name="T80" fmla="*/ 103 w 2430"/>
                <a:gd name="T81" fmla="*/ 18 h 2040"/>
                <a:gd name="T82" fmla="*/ 110 w 2430"/>
                <a:gd name="T83" fmla="*/ 23 h 2040"/>
                <a:gd name="T84" fmla="*/ 121 w 2430"/>
                <a:gd name="T85" fmla="*/ 20 h 2040"/>
                <a:gd name="T86" fmla="*/ 129 w 2430"/>
                <a:gd name="T87" fmla="*/ 15 h 2040"/>
                <a:gd name="T88" fmla="*/ 142 w 2430"/>
                <a:gd name="T89" fmla="*/ 23 h 2040"/>
                <a:gd name="T90" fmla="*/ 141 w 2430"/>
                <a:gd name="T91" fmla="*/ 30 h 2040"/>
                <a:gd name="T92" fmla="*/ 140 w 2430"/>
                <a:gd name="T93" fmla="*/ 38 h 2040"/>
                <a:gd name="T94" fmla="*/ 139 w 2430"/>
                <a:gd name="T95" fmla="*/ 46 h 2040"/>
                <a:gd name="T96" fmla="*/ 147 w 2430"/>
                <a:gd name="T97" fmla="*/ 54 h 2040"/>
                <a:gd name="T98" fmla="*/ 152 w 2430"/>
                <a:gd name="T99" fmla="*/ 50 h 2040"/>
                <a:gd name="T100" fmla="*/ 159 w 2430"/>
                <a:gd name="T101" fmla="*/ 43 h 2040"/>
                <a:gd name="T102" fmla="*/ 174 w 2430"/>
                <a:gd name="T103" fmla="*/ 41 h 2040"/>
                <a:gd name="T104" fmla="*/ 190 w 2430"/>
                <a:gd name="T105" fmla="*/ 57 h 2040"/>
                <a:gd name="T106" fmla="*/ 187 w 2430"/>
                <a:gd name="T107" fmla="*/ 66 h 2040"/>
                <a:gd name="T108" fmla="*/ 183 w 2430"/>
                <a:gd name="T109" fmla="*/ 72 h 2040"/>
                <a:gd name="T110" fmla="*/ 194 w 2430"/>
                <a:gd name="T111" fmla="*/ 73 h 2040"/>
                <a:gd name="T112" fmla="*/ 202 w 2430"/>
                <a:gd name="T113" fmla="*/ 74 h 2040"/>
                <a:gd name="T114" fmla="*/ 204 w 2430"/>
                <a:gd name="T115" fmla="*/ 89 h 2040"/>
                <a:gd name="T116" fmla="*/ 208 w 2430"/>
                <a:gd name="T117" fmla="*/ 99 h 2040"/>
                <a:gd name="T118" fmla="*/ 203 w 2430"/>
                <a:gd name="T119" fmla="*/ 103 h 2040"/>
                <a:gd name="T120" fmla="*/ 209 w 2430"/>
                <a:gd name="T121" fmla="*/ 111 h 2040"/>
                <a:gd name="T122" fmla="*/ 204 w 2430"/>
                <a:gd name="T123" fmla="*/ 124 h 2040"/>
                <a:gd name="T124" fmla="*/ 190 w 2430"/>
                <a:gd name="T125" fmla="*/ 117 h 20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30"/>
                <a:gd name="T190" fmla="*/ 0 h 2040"/>
                <a:gd name="T191" fmla="*/ 2430 w 2430"/>
                <a:gd name="T192" fmla="*/ 2040 h 20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30" h="2040">
                  <a:moveTo>
                    <a:pt x="2076" y="1896"/>
                  </a:moveTo>
                  <a:lnTo>
                    <a:pt x="2070" y="1896"/>
                  </a:lnTo>
                  <a:lnTo>
                    <a:pt x="2070" y="1902"/>
                  </a:lnTo>
                  <a:lnTo>
                    <a:pt x="2076" y="1902"/>
                  </a:lnTo>
                  <a:lnTo>
                    <a:pt x="2082" y="1902"/>
                  </a:lnTo>
                  <a:lnTo>
                    <a:pt x="2082" y="1908"/>
                  </a:lnTo>
                  <a:lnTo>
                    <a:pt x="2076" y="1908"/>
                  </a:lnTo>
                  <a:lnTo>
                    <a:pt x="2076" y="1914"/>
                  </a:lnTo>
                  <a:lnTo>
                    <a:pt x="2070" y="1920"/>
                  </a:lnTo>
                  <a:lnTo>
                    <a:pt x="2064" y="1932"/>
                  </a:lnTo>
                  <a:lnTo>
                    <a:pt x="2064" y="1938"/>
                  </a:lnTo>
                  <a:lnTo>
                    <a:pt x="2058" y="1938"/>
                  </a:lnTo>
                  <a:lnTo>
                    <a:pt x="2052" y="1944"/>
                  </a:lnTo>
                  <a:lnTo>
                    <a:pt x="2052" y="1950"/>
                  </a:lnTo>
                  <a:lnTo>
                    <a:pt x="2040" y="1944"/>
                  </a:lnTo>
                  <a:lnTo>
                    <a:pt x="2040" y="1950"/>
                  </a:lnTo>
                  <a:lnTo>
                    <a:pt x="2034" y="1956"/>
                  </a:lnTo>
                  <a:lnTo>
                    <a:pt x="2034" y="1962"/>
                  </a:lnTo>
                  <a:lnTo>
                    <a:pt x="2028" y="1962"/>
                  </a:lnTo>
                  <a:lnTo>
                    <a:pt x="2022" y="1962"/>
                  </a:lnTo>
                  <a:lnTo>
                    <a:pt x="2022" y="1968"/>
                  </a:lnTo>
                  <a:lnTo>
                    <a:pt x="2028" y="1974"/>
                  </a:lnTo>
                  <a:lnTo>
                    <a:pt x="2034" y="1980"/>
                  </a:lnTo>
                  <a:lnTo>
                    <a:pt x="2028" y="1986"/>
                  </a:lnTo>
                  <a:lnTo>
                    <a:pt x="2022" y="1992"/>
                  </a:lnTo>
                  <a:lnTo>
                    <a:pt x="2022" y="1986"/>
                  </a:lnTo>
                  <a:lnTo>
                    <a:pt x="2016" y="1986"/>
                  </a:lnTo>
                  <a:lnTo>
                    <a:pt x="2010" y="1980"/>
                  </a:lnTo>
                  <a:lnTo>
                    <a:pt x="2004" y="1980"/>
                  </a:lnTo>
                  <a:lnTo>
                    <a:pt x="2004" y="1986"/>
                  </a:lnTo>
                  <a:lnTo>
                    <a:pt x="2010" y="1992"/>
                  </a:lnTo>
                  <a:lnTo>
                    <a:pt x="2010" y="1998"/>
                  </a:lnTo>
                  <a:lnTo>
                    <a:pt x="2004" y="2004"/>
                  </a:lnTo>
                  <a:lnTo>
                    <a:pt x="1998" y="2004"/>
                  </a:lnTo>
                  <a:lnTo>
                    <a:pt x="1998" y="2022"/>
                  </a:lnTo>
                  <a:lnTo>
                    <a:pt x="1998" y="2028"/>
                  </a:lnTo>
                  <a:lnTo>
                    <a:pt x="1992" y="2034"/>
                  </a:lnTo>
                  <a:lnTo>
                    <a:pt x="1992" y="2040"/>
                  </a:lnTo>
                  <a:lnTo>
                    <a:pt x="1986" y="2040"/>
                  </a:lnTo>
                  <a:lnTo>
                    <a:pt x="1986" y="2034"/>
                  </a:lnTo>
                  <a:lnTo>
                    <a:pt x="1980" y="2028"/>
                  </a:lnTo>
                  <a:lnTo>
                    <a:pt x="1980" y="2022"/>
                  </a:lnTo>
                  <a:lnTo>
                    <a:pt x="1968" y="2016"/>
                  </a:lnTo>
                  <a:lnTo>
                    <a:pt x="1962" y="2010"/>
                  </a:lnTo>
                  <a:lnTo>
                    <a:pt x="1956" y="2004"/>
                  </a:lnTo>
                  <a:lnTo>
                    <a:pt x="1950" y="1992"/>
                  </a:lnTo>
                  <a:lnTo>
                    <a:pt x="1950" y="1986"/>
                  </a:lnTo>
                  <a:lnTo>
                    <a:pt x="1950" y="1974"/>
                  </a:lnTo>
                  <a:lnTo>
                    <a:pt x="1944" y="1974"/>
                  </a:lnTo>
                  <a:lnTo>
                    <a:pt x="1932" y="1962"/>
                  </a:lnTo>
                  <a:lnTo>
                    <a:pt x="1932" y="1956"/>
                  </a:lnTo>
                  <a:lnTo>
                    <a:pt x="1932" y="1950"/>
                  </a:lnTo>
                  <a:lnTo>
                    <a:pt x="1920" y="1944"/>
                  </a:lnTo>
                  <a:lnTo>
                    <a:pt x="1914" y="1944"/>
                  </a:lnTo>
                  <a:lnTo>
                    <a:pt x="1908" y="1938"/>
                  </a:lnTo>
                  <a:lnTo>
                    <a:pt x="1902" y="1926"/>
                  </a:lnTo>
                  <a:lnTo>
                    <a:pt x="1890" y="1914"/>
                  </a:lnTo>
                  <a:lnTo>
                    <a:pt x="1884" y="1914"/>
                  </a:lnTo>
                  <a:lnTo>
                    <a:pt x="1878" y="1908"/>
                  </a:lnTo>
                  <a:lnTo>
                    <a:pt x="1872" y="1902"/>
                  </a:lnTo>
                  <a:lnTo>
                    <a:pt x="1872" y="1896"/>
                  </a:lnTo>
                  <a:lnTo>
                    <a:pt x="1866" y="1890"/>
                  </a:lnTo>
                  <a:lnTo>
                    <a:pt x="1854" y="1884"/>
                  </a:lnTo>
                  <a:lnTo>
                    <a:pt x="1848" y="1884"/>
                  </a:lnTo>
                  <a:lnTo>
                    <a:pt x="1842" y="1872"/>
                  </a:lnTo>
                  <a:lnTo>
                    <a:pt x="1836" y="1872"/>
                  </a:lnTo>
                  <a:lnTo>
                    <a:pt x="1830" y="1866"/>
                  </a:lnTo>
                  <a:lnTo>
                    <a:pt x="1830" y="1854"/>
                  </a:lnTo>
                  <a:lnTo>
                    <a:pt x="1824" y="1848"/>
                  </a:lnTo>
                  <a:lnTo>
                    <a:pt x="1818" y="1830"/>
                  </a:lnTo>
                  <a:lnTo>
                    <a:pt x="1818" y="1818"/>
                  </a:lnTo>
                  <a:lnTo>
                    <a:pt x="1812" y="1800"/>
                  </a:lnTo>
                  <a:lnTo>
                    <a:pt x="1812" y="1788"/>
                  </a:lnTo>
                  <a:lnTo>
                    <a:pt x="1806" y="1776"/>
                  </a:lnTo>
                  <a:lnTo>
                    <a:pt x="1800" y="1764"/>
                  </a:lnTo>
                  <a:lnTo>
                    <a:pt x="1794" y="1758"/>
                  </a:lnTo>
                  <a:lnTo>
                    <a:pt x="1782" y="1740"/>
                  </a:lnTo>
                  <a:lnTo>
                    <a:pt x="1776" y="1728"/>
                  </a:lnTo>
                  <a:lnTo>
                    <a:pt x="1776" y="1722"/>
                  </a:lnTo>
                  <a:lnTo>
                    <a:pt x="1770" y="1722"/>
                  </a:lnTo>
                  <a:lnTo>
                    <a:pt x="1770" y="1716"/>
                  </a:lnTo>
                  <a:lnTo>
                    <a:pt x="1764" y="1716"/>
                  </a:lnTo>
                  <a:lnTo>
                    <a:pt x="1758" y="1710"/>
                  </a:lnTo>
                  <a:lnTo>
                    <a:pt x="1752" y="1704"/>
                  </a:lnTo>
                  <a:lnTo>
                    <a:pt x="1746" y="1704"/>
                  </a:lnTo>
                  <a:lnTo>
                    <a:pt x="1740" y="1704"/>
                  </a:lnTo>
                  <a:lnTo>
                    <a:pt x="1734" y="1704"/>
                  </a:lnTo>
                  <a:lnTo>
                    <a:pt x="1734" y="1698"/>
                  </a:lnTo>
                  <a:lnTo>
                    <a:pt x="1728" y="1692"/>
                  </a:lnTo>
                  <a:lnTo>
                    <a:pt x="1722" y="1686"/>
                  </a:lnTo>
                  <a:lnTo>
                    <a:pt x="1716" y="1686"/>
                  </a:lnTo>
                  <a:lnTo>
                    <a:pt x="1698" y="1686"/>
                  </a:lnTo>
                  <a:lnTo>
                    <a:pt x="1692" y="1692"/>
                  </a:lnTo>
                  <a:lnTo>
                    <a:pt x="1680" y="1692"/>
                  </a:lnTo>
                  <a:lnTo>
                    <a:pt x="1668" y="1692"/>
                  </a:lnTo>
                  <a:lnTo>
                    <a:pt x="1662" y="1692"/>
                  </a:lnTo>
                  <a:lnTo>
                    <a:pt x="1656" y="1692"/>
                  </a:lnTo>
                  <a:lnTo>
                    <a:pt x="1650" y="1698"/>
                  </a:lnTo>
                  <a:lnTo>
                    <a:pt x="1644" y="1698"/>
                  </a:lnTo>
                  <a:lnTo>
                    <a:pt x="1638" y="1698"/>
                  </a:lnTo>
                  <a:lnTo>
                    <a:pt x="1632" y="1698"/>
                  </a:lnTo>
                  <a:lnTo>
                    <a:pt x="1632" y="1692"/>
                  </a:lnTo>
                  <a:lnTo>
                    <a:pt x="1620" y="1680"/>
                  </a:lnTo>
                  <a:lnTo>
                    <a:pt x="1614" y="1680"/>
                  </a:lnTo>
                  <a:lnTo>
                    <a:pt x="1608" y="1680"/>
                  </a:lnTo>
                  <a:lnTo>
                    <a:pt x="1602" y="1680"/>
                  </a:lnTo>
                  <a:lnTo>
                    <a:pt x="1596" y="1674"/>
                  </a:lnTo>
                  <a:lnTo>
                    <a:pt x="1584" y="1674"/>
                  </a:lnTo>
                  <a:lnTo>
                    <a:pt x="1572" y="1674"/>
                  </a:lnTo>
                  <a:lnTo>
                    <a:pt x="1560" y="1674"/>
                  </a:lnTo>
                  <a:lnTo>
                    <a:pt x="1542" y="1680"/>
                  </a:lnTo>
                  <a:lnTo>
                    <a:pt x="1530" y="1680"/>
                  </a:lnTo>
                  <a:lnTo>
                    <a:pt x="1530" y="1674"/>
                  </a:lnTo>
                  <a:lnTo>
                    <a:pt x="1524" y="1674"/>
                  </a:lnTo>
                  <a:lnTo>
                    <a:pt x="1518" y="1674"/>
                  </a:lnTo>
                  <a:lnTo>
                    <a:pt x="1512" y="1674"/>
                  </a:lnTo>
                  <a:lnTo>
                    <a:pt x="1506" y="1674"/>
                  </a:lnTo>
                  <a:lnTo>
                    <a:pt x="1500" y="1680"/>
                  </a:lnTo>
                  <a:lnTo>
                    <a:pt x="1488" y="1680"/>
                  </a:lnTo>
                  <a:lnTo>
                    <a:pt x="1482" y="1674"/>
                  </a:lnTo>
                  <a:lnTo>
                    <a:pt x="1476" y="1674"/>
                  </a:lnTo>
                  <a:lnTo>
                    <a:pt x="1464" y="1674"/>
                  </a:lnTo>
                  <a:lnTo>
                    <a:pt x="1452" y="1680"/>
                  </a:lnTo>
                  <a:lnTo>
                    <a:pt x="1434" y="1680"/>
                  </a:lnTo>
                  <a:lnTo>
                    <a:pt x="1422" y="1680"/>
                  </a:lnTo>
                  <a:lnTo>
                    <a:pt x="1416" y="1680"/>
                  </a:lnTo>
                  <a:lnTo>
                    <a:pt x="1404" y="1674"/>
                  </a:lnTo>
                  <a:lnTo>
                    <a:pt x="1398" y="1674"/>
                  </a:lnTo>
                  <a:lnTo>
                    <a:pt x="1392" y="1662"/>
                  </a:lnTo>
                  <a:lnTo>
                    <a:pt x="1380" y="1644"/>
                  </a:lnTo>
                  <a:lnTo>
                    <a:pt x="1374" y="1632"/>
                  </a:lnTo>
                  <a:lnTo>
                    <a:pt x="1362" y="1626"/>
                  </a:lnTo>
                  <a:lnTo>
                    <a:pt x="1356" y="1620"/>
                  </a:lnTo>
                  <a:lnTo>
                    <a:pt x="1350" y="1626"/>
                  </a:lnTo>
                  <a:lnTo>
                    <a:pt x="1338" y="1626"/>
                  </a:lnTo>
                  <a:lnTo>
                    <a:pt x="1326" y="1626"/>
                  </a:lnTo>
                  <a:lnTo>
                    <a:pt x="1314" y="1620"/>
                  </a:lnTo>
                  <a:lnTo>
                    <a:pt x="1308" y="1614"/>
                  </a:lnTo>
                  <a:lnTo>
                    <a:pt x="1302" y="1608"/>
                  </a:lnTo>
                  <a:lnTo>
                    <a:pt x="1296" y="1602"/>
                  </a:lnTo>
                  <a:lnTo>
                    <a:pt x="1290" y="1602"/>
                  </a:lnTo>
                  <a:lnTo>
                    <a:pt x="1290" y="1596"/>
                  </a:lnTo>
                  <a:lnTo>
                    <a:pt x="1284" y="1590"/>
                  </a:lnTo>
                  <a:lnTo>
                    <a:pt x="1272" y="1584"/>
                  </a:lnTo>
                  <a:lnTo>
                    <a:pt x="1254" y="1572"/>
                  </a:lnTo>
                  <a:lnTo>
                    <a:pt x="1236" y="1554"/>
                  </a:lnTo>
                  <a:lnTo>
                    <a:pt x="1230" y="1554"/>
                  </a:lnTo>
                  <a:lnTo>
                    <a:pt x="1224" y="1554"/>
                  </a:lnTo>
                  <a:lnTo>
                    <a:pt x="1212" y="1554"/>
                  </a:lnTo>
                  <a:lnTo>
                    <a:pt x="1194" y="1542"/>
                  </a:lnTo>
                  <a:lnTo>
                    <a:pt x="1188" y="1536"/>
                  </a:lnTo>
                  <a:lnTo>
                    <a:pt x="1182" y="1530"/>
                  </a:lnTo>
                  <a:lnTo>
                    <a:pt x="1176" y="1530"/>
                  </a:lnTo>
                  <a:lnTo>
                    <a:pt x="1170" y="1530"/>
                  </a:lnTo>
                  <a:lnTo>
                    <a:pt x="1158" y="1524"/>
                  </a:lnTo>
                  <a:lnTo>
                    <a:pt x="1152" y="1524"/>
                  </a:lnTo>
                  <a:lnTo>
                    <a:pt x="1140" y="1518"/>
                  </a:lnTo>
                  <a:lnTo>
                    <a:pt x="1128" y="1518"/>
                  </a:lnTo>
                  <a:lnTo>
                    <a:pt x="1122" y="1518"/>
                  </a:lnTo>
                  <a:lnTo>
                    <a:pt x="1116" y="1518"/>
                  </a:lnTo>
                  <a:lnTo>
                    <a:pt x="1104" y="1518"/>
                  </a:lnTo>
                  <a:lnTo>
                    <a:pt x="1092" y="1518"/>
                  </a:lnTo>
                  <a:lnTo>
                    <a:pt x="1080" y="1518"/>
                  </a:lnTo>
                  <a:lnTo>
                    <a:pt x="1068" y="1518"/>
                  </a:lnTo>
                  <a:lnTo>
                    <a:pt x="1062" y="1518"/>
                  </a:lnTo>
                  <a:lnTo>
                    <a:pt x="1056" y="1518"/>
                  </a:lnTo>
                  <a:lnTo>
                    <a:pt x="1050" y="1512"/>
                  </a:lnTo>
                  <a:lnTo>
                    <a:pt x="1044" y="1512"/>
                  </a:lnTo>
                  <a:lnTo>
                    <a:pt x="1038" y="1512"/>
                  </a:lnTo>
                  <a:lnTo>
                    <a:pt x="1032" y="1506"/>
                  </a:lnTo>
                  <a:lnTo>
                    <a:pt x="1026" y="1500"/>
                  </a:lnTo>
                  <a:lnTo>
                    <a:pt x="1026" y="1494"/>
                  </a:lnTo>
                  <a:lnTo>
                    <a:pt x="1020" y="1476"/>
                  </a:lnTo>
                  <a:lnTo>
                    <a:pt x="1008" y="1464"/>
                  </a:lnTo>
                  <a:lnTo>
                    <a:pt x="1008" y="1458"/>
                  </a:lnTo>
                  <a:lnTo>
                    <a:pt x="1002" y="1446"/>
                  </a:lnTo>
                  <a:lnTo>
                    <a:pt x="996" y="1446"/>
                  </a:lnTo>
                  <a:lnTo>
                    <a:pt x="990" y="1440"/>
                  </a:lnTo>
                  <a:lnTo>
                    <a:pt x="984" y="1434"/>
                  </a:lnTo>
                  <a:lnTo>
                    <a:pt x="978" y="1434"/>
                  </a:lnTo>
                  <a:lnTo>
                    <a:pt x="972" y="1434"/>
                  </a:lnTo>
                  <a:lnTo>
                    <a:pt x="966" y="1428"/>
                  </a:lnTo>
                  <a:lnTo>
                    <a:pt x="954" y="1422"/>
                  </a:lnTo>
                  <a:lnTo>
                    <a:pt x="942" y="1416"/>
                  </a:lnTo>
                  <a:lnTo>
                    <a:pt x="924" y="1398"/>
                  </a:lnTo>
                  <a:lnTo>
                    <a:pt x="912" y="1386"/>
                  </a:lnTo>
                  <a:lnTo>
                    <a:pt x="900" y="1386"/>
                  </a:lnTo>
                  <a:lnTo>
                    <a:pt x="894" y="1386"/>
                  </a:lnTo>
                  <a:lnTo>
                    <a:pt x="882" y="1392"/>
                  </a:lnTo>
                  <a:lnTo>
                    <a:pt x="876" y="1392"/>
                  </a:lnTo>
                  <a:lnTo>
                    <a:pt x="864" y="1398"/>
                  </a:lnTo>
                  <a:lnTo>
                    <a:pt x="864" y="1404"/>
                  </a:lnTo>
                  <a:lnTo>
                    <a:pt x="858" y="1410"/>
                  </a:lnTo>
                  <a:lnTo>
                    <a:pt x="852" y="1410"/>
                  </a:lnTo>
                  <a:lnTo>
                    <a:pt x="846" y="1410"/>
                  </a:lnTo>
                  <a:lnTo>
                    <a:pt x="834" y="1410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10" y="1428"/>
                  </a:lnTo>
                  <a:lnTo>
                    <a:pt x="798" y="1428"/>
                  </a:lnTo>
                  <a:lnTo>
                    <a:pt x="792" y="1428"/>
                  </a:lnTo>
                  <a:lnTo>
                    <a:pt x="780" y="1434"/>
                  </a:lnTo>
                  <a:lnTo>
                    <a:pt x="774" y="1428"/>
                  </a:lnTo>
                  <a:lnTo>
                    <a:pt x="762" y="1428"/>
                  </a:lnTo>
                  <a:lnTo>
                    <a:pt x="756" y="1422"/>
                  </a:lnTo>
                  <a:lnTo>
                    <a:pt x="750" y="1416"/>
                  </a:lnTo>
                  <a:lnTo>
                    <a:pt x="744" y="1410"/>
                  </a:lnTo>
                  <a:lnTo>
                    <a:pt x="744" y="1398"/>
                  </a:lnTo>
                  <a:lnTo>
                    <a:pt x="744" y="1386"/>
                  </a:lnTo>
                  <a:lnTo>
                    <a:pt x="750" y="1380"/>
                  </a:lnTo>
                  <a:lnTo>
                    <a:pt x="750" y="1374"/>
                  </a:lnTo>
                  <a:lnTo>
                    <a:pt x="750" y="1368"/>
                  </a:lnTo>
                  <a:lnTo>
                    <a:pt x="756" y="1362"/>
                  </a:lnTo>
                  <a:lnTo>
                    <a:pt x="750" y="1350"/>
                  </a:lnTo>
                  <a:lnTo>
                    <a:pt x="744" y="1344"/>
                  </a:lnTo>
                  <a:lnTo>
                    <a:pt x="738" y="1338"/>
                  </a:lnTo>
                  <a:lnTo>
                    <a:pt x="726" y="1338"/>
                  </a:lnTo>
                  <a:lnTo>
                    <a:pt x="720" y="1338"/>
                  </a:lnTo>
                  <a:lnTo>
                    <a:pt x="714" y="1338"/>
                  </a:lnTo>
                  <a:lnTo>
                    <a:pt x="708" y="1332"/>
                  </a:lnTo>
                  <a:lnTo>
                    <a:pt x="702" y="1332"/>
                  </a:lnTo>
                  <a:lnTo>
                    <a:pt x="696" y="1326"/>
                  </a:lnTo>
                  <a:lnTo>
                    <a:pt x="684" y="1326"/>
                  </a:lnTo>
                  <a:lnTo>
                    <a:pt x="678" y="1326"/>
                  </a:lnTo>
                  <a:lnTo>
                    <a:pt x="672" y="1314"/>
                  </a:lnTo>
                  <a:lnTo>
                    <a:pt x="666" y="1308"/>
                  </a:lnTo>
                  <a:lnTo>
                    <a:pt x="654" y="1296"/>
                  </a:lnTo>
                  <a:lnTo>
                    <a:pt x="654" y="1290"/>
                  </a:lnTo>
                  <a:lnTo>
                    <a:pt x="630" y="1284"/>
                  </a:lnTo>
                  <a:lnTo>
                    <a:pt x="630" y="1278"/>
                  </a:lnTo>
                  <a:lnTo>
                    <a:pt x="624" y="1278"/>
                  </a:lnTo>
                  <a:lnTo>
                    <a:pt x="618" y="1266"/>
                  </a:lnTo>
                  <a:lnTo>
                    <a:pt x="612" y="1266"/>
                  </a:lnTo>
                  <a:lnTo>
                    <a:pt x="606" y="1266"/>
                  </a:lnTo>
                  <a:lnTo>
                    <a:pt x="606" y="1260"/>
                  </a:lnTo>
                  <a:lnTo>
                    <a:pt x="594" y="1248"/>
                  </a:lnTo>
                  <a:lnTo>
                    <a:pt x="582" y="1248"/>
                  </a:lnTo>
                  <a:lnTo>
                    <a:pt x="576" y="1242"/>
                  </a:lnTo>
                  <a:lnTo>
                    <a:pt x="570" y="1236"/>
                  </a:lnTo>
                  <a:lnTo>
                    <a:pt x="504" y="1164"/>
                  </a:lnTo>
                  <a:lnTo>
                    <a:pt x="450" y="1110"/>
                  </a:lnTo>
                  <a:lnTo>
                    <a:pt x="426" y="1092"/>
                  </a:lnTo>
                  <a:lnTo>
                    <a:pt x="426" y="1074"/>
                  </a:lnTo>
                  <a:lnTo>
                    <a:pt x="420" y="1062"/>
                  </a:lnTo>
                  <a:lnTo>
                    <a:pt x="396" y="1056"/>
                  </a:lnTo>
                  <a:lnTo>
                    <a:pt x="384" y="1032"/>
                  </a:lnTo>
                  <a:lnTo>
                    <a:pt x="372" y="1020"/>
                  </a:lnTo>
                  <a:lnTo>
                    <a:pt x="360" y="984"/>
                  </a:lnTo>
                  <a:lnTo>
                    <a:pt x="348" y="978"/>
                  </a:lnTo>
                  <a:lnTo>
                    <a:pt x="342" y="972"/>
                  </a:lnTo>
                  <a:lnTo>
                    <a:pt x="348" y="960"/>
                  </a:lnTo>
                  <a:lnTo>
                    <a:pt x="342" y="954"/>
                  </a:lnTo>
                  <a:lnTo>
                    <a:pt x="336" y="954"/>
                  </a:lnTo>
                  <a:lnTo>
                    <a:pt x="330" y="954"/>
                  </a:lnTo>
                  <a:lnTo>
                    <a:pt x="324" y="972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0" y="966"/>
                  </a:lnTo>
                  <a:lnTo>
                    <a:pt x="294" y="966"/>
                  </a:lnTo>
                  <a:lnTo>
                    <a:pt x="288" y="972"/>
                  </a:lnTo>
                  <a:lnTo>
                    <a:pt x="288" y="966"/>
                  </a:lnTo>
                  <a:lnTo>
                    <a:pt x="282" y="948"/>
                  </a:lnTo>
                  <a:lnTo>
                    <a:pt x="282" y="942"/>
                  </a:lnTo>
                  <a:lnTo>
                    <a:pt x="276" y="942"/>
                  </a:lnTo>
                  <a:lnTo>
                    <a:pt x="276" y="936"/>
                  </a:lnTo>
                  <a:lnTo>
                    <a:pt x="270" y="942"/>
                  </a:lnTo>
                  <a:lnTo>
                    <a:pt x="264" y="948"/>
                  </a:lnTo>
                  <a:lnTo>
                    <a:pt x="264" y="942"/>
                  </a:lnTo>
                  <a:lnTo>
                    <a:pt x="258" y="942"/>
                  </a:lnTo>
                  <a:lnTo>
                    <a:pt x="252" y="948"/>
                  </a:lnTo>
                  <a:lnTo>
                    <a:pt x="252" y="942"/>
                  </a:lnTo>
                  <a:lnTo>
                    <a:pt x="246" y="936"/>
                  </a:lnTo>
                  <a:lnTo>
                    <a:pt x="240" y="942"/>
                  </a:lnTo>
                  <a:lnTo>
                    <a:pt x="234" y="936"/>
                  </a:lnTo>
                  <a:lnTo>
                    <a:pt x="228" y="936"/>
                  </a:lnTo>
                  <a:lnTo>
                    <a:pt x="222" y="936"/>
                  </a:lnTo>
                  <a:lnTo>
                    <a:pt x="222" y="930"/>
                  </a:lnTo>
                  <a:lnTo>
                    <a:pt x="222" y="924"/>
                  </a:lnTo>
                  <a:lnTo>
                    <a:pt x="228" y="924"/>
                  </a:lnTo>
                  <a:lnTo>
                    <a:pt x="234" y="924"/>
                  </a:lnTo>
                  <a:lnTo>
                    <a:pt x="240" y="924"/>
                  </a:lnTo>
                  <a:lnTo>
                    <a:pt x="240" y="918"/>
                  </a:lnTo>
                  <a:lnTo>
                    <a:pt x="246" y="918"/>
                  </a:lnTo>
                  <a:lnTo>
                    <a:pt x="246" y="912"/>
                  </a:lnTo>
                  <a:lnTo>
                    <a:pt x="240" y="906"/>
                  </a:lnTo>
                  <a:lnTo>
                    <a:pt x="234" y="906"/>
                  </a:lnTo>
                  <a:lnTo>
                    <a:pt x="228" y="906"/>
                  </a:lnTo>
                  <a:lnTo>
                    <a:pt x="228" y="912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8" y="894"/>
                  </a:lnTo>
                  <a:lnTo>
                    <a:pt x="234" y="894"/>
                  </a:lnTo>
                  <a:lnTo>
                    <a:pt x="228" y="888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198" y="888"/>
                  </a:lnTo>
                  <a:lnTo>
                    <a:pt x="192" y="882"/>
                  </a:lnTo>
                  <a:lnTo>
                    <a:pt x="186" y="882"/>
                  </a:lnTo>
                  <a:lnTo>
                    <a:pt x="186" y="876"/>
                  </a:lnTo>
                  <a:lnTo>
                    <a:pt x="192" y="876"/>
                  </a:lnTo>
                  <a:lnTo>
                    <a:pt x="192" y="870"/>
                  </a:lnTo>
                  <a:lnTo>
                    <a:pt x="198" y="870"/>
                  </a:lnTo>
                  <a:lnTo>
                    <a:pt x="198" y="864"/>
                  </a:lnTo>
                  <a:lnTo>
                    <a:pt x="198" y="858"/>
                  </a:lnTo>
                  <a:lnTo>
                    <a:pt x="180" y="852"/>
                  </a:lnTo>
                  <a:lnTo>
                    <a:pt x="174" y="840"/>
                  </a:lnTo>
                  <a:lnTo>
                    <a:pt x="162" y="846"/>
                  </a:lnTo>
                  <a:lnTo>
                    <a:pt x="156" y="846"/>
                  </a:lnTo>
                  <a:lnTo>
                    <a:pt x="150" y="846"/>
                  </a:lnTo>
                  <a:lnTo>
                    <a:pt x="150" y="840"/>
                  </a:lnTo>
                  <a:lnTo>
                    <a:pt x="138" y="834"/>
                  </a:lnTo>
                  <a:lnTo>
                    <a:pt x="132" y="834"/>
                  </a:lnTo>
                  <a:lnTo>
                    <a:pt x="132" y="840"/>
                  </a:lnTo>
                  <a:lnTo>
                    <a:pt x="126" y="840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58"/>
                  </a:lnTo>
                  <a:lnTo>
                    <a:pt x="120" y="846"/>
                  </a:lnTo>
                  <a:lnTo>
                    <a:pt x="114" y="846"/>
                  </a:lnTo>
                  <a:lnTo>
                    <a:pt x="108" y="840"/>
                  </a:lnTo>
                  <a:lnTo>
                    <a:pt x="102" y="834"/>
                  </a:lnTo>
                  <a:lnTo>
                    <a:pt x="102" y="822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78" y="804"/>
                  </a:lnTo>
                  <a:lnTo>
                    <a:pt x="78" y="798"/>
                  </a:lnTo>
                  <a:lnTo>
                    <a:pt x="78" y="792"/>
                  </a:lnTo>
                  <a:lnTo>
                    <a:pt x="78" y="786"/>
                  </a:lnTo>
                  <a:lnTo>
                    <a:pt x="78" y="780"/>
                  </a:lnTo>
                  <a:lnTo>
                    <a:pt x="72" y="774"/>
                  </a:lnTo>
                  <a:lnTo>
                    <a:pt x="66" y="774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60" y="762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6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2" y="666"/>
                  </a:lnTo>
                  <a:lnTo>
                    <a:pt x="18" y="648"/>
                  </a:lnTo>
                  <a:lnTo>
                    <a:pt x="24" y="636"/>
                  </a:lnTo>
                  <a:lnTo>
                    <a:pt x="30" y="630"/>
                  </a:lnTo>
                  <a:lnTo>
                    <a:pt x="30" y="624"/>
                  </a:lnTo>
                  <a:lnTo>
                    <a:pt x="30" y="612"/>
                  </a:lnTo>
                  <a:lnTo>
                    <a:pt x="30" y="606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66" y="582"/>
                  </a:lnTo>
                  <a:lnTo>
                    <a:pt x="72" y="588"/>
                  </a:lnTo>
                  <a:lnTo>
                    <a:pt x="84" y="594"/>
                  </a:lnTo>
                  <a:lnTo>
                    <a:pt x="90" y="600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14" y="612"/>
                  </a:lnTo>
                  <a:lnTo>
                    <a:pt x="120" y="612"/>
                  </a:lnTo>
                  <a:lnTo>
                    <a:pt x="126" y="618"/>
                  </a:lnTo>
                  <a:lnTo>
                    <a:pt x="138" y="594"/>
                  </a:lnTo>
                  <a:lnTo>
                    <a:pt x="138" y="582"/>
                  </a:lnTo>
                  <a:lnTo>
                    <a:pt x="138" y="570"/>
                  </a:lnTo>
                  <a:lnTo>
                    <a:pt x="138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50" y="528"/>
                  </a:lnTo>
                  <a:lnTo>
                    <a:pt x="156" y="510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62"/>
                  </a:lnTo>
                  <a:lnTo>
                    <a:pt x="168" y="450"/>
                  </a:lnTo>
                  <a:lnTo>
                    <a:pt x="168" y="444"/>
                  </a:lnTo>
                  <a:lnTo>
                    <a:pt x="162" y="432"/>
                  </a:lnTo>
                  <a:lnTo>
                    <a:pt x="162" y="426"/>
                  </a:lnTo>
                  <a:lnTo>
                    <a:pt x="156" y="420"/>
                  </a:lnTo>
                  <a:lnTo>
                    <a:pt x="144" y="414"/>
                  </a:lnTo>
                  <a:lnTo>
                    <a:pt x="132" y="402"/>
                  </a:lnTo>
                  <a:lnTo>
                    <a:pt x="126" y="390"/>
                  </a:lnTo>
                  <a:lnTo>
                    <a:pt x="120" y="384"/>
                  </a:lnTo>
                  <a:lnTo>
                    <a:pt x="120" y="372"/>
                  </a:lnTo>
                  <a:lnTo>
                    <a:pt x="114" y="360"/>
                  </a:lnTo>
                  <a:lnTo>
                    <a:pt x="108" y="360"/>
                  </a:lnTo>
                  <a:lnTo>
                    <a:pt x="108" y="354"/>
                  </a:lnTo>
                  <a:lnTo>
                    <a:pt x="102" y="348"/>
                  </a:lnTo>
                  <a:lnTo>
                    <a:pt x="102" y="342"/>
                  </a:lnTo>
                  <a:lnTo>
                    <a:pt x="108" y="330"/>
                  </a:lnTo>
                  <a:lnTo>
                    <a:pt x="114" y="312"/>
                  </a:lnTo>
                  <a:lnTo>
                    <a:pt x="114" y="300"/>
                  </a:lnTo>
                  <a:lnTo>
                    <a:pt x="120" y="288"/>
                  </a:lnTo>
                  <a:lnTo>
                    <a:pt x="120" y="282"/>
                  </a:lnTo>
                  <a:lnTo>
                    <a:pt x="114" y="270"/>
                  </a:lnTo>
                  <a:lnTo>
                    <a:pt x="114" y="258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84" y="222"/>
                  </a:lnTo>
                  <a:lnTo>
                    <a:pt x="84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84" y="186"/>
                  </a:lnTo>
                  <a:lnTo>
                    <a:pt x="84" y="180"/>
                  </a:lnTo>
                  <a:lnTo>
                    <a:pt x="108" y="174"/>
                  </a:lnTo>
                  <a:lnTo>
                    <a:pt x="132" y="186"/>
                  </a:lnTo>
                  <a:lnTo>
                    <a:pt x="138" y="192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56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74" y="204"/>
                  </a:lnTo>
                  <a:lnTo>
                    <a:pt x="180" y="216"/>
                  </a:lnTo>
                  <a:lnTo>
                    <a:pt x="186" y="228"/>
                  </a:lnTo>
                  <a:lnTo>
                    <a:pt x="192" y="234"/>
                  </a:lnTo>
                  <a:lnTo>
                    <a:pt x="198" y="234"/>
                  </a:lnTo>
                  <a:lnTo>
                    <a:pt x="204" y="240"/>
                  </a:lnTo>
                  <a:lnTo>
                    <a:pt x="210" y="240"/>
                  </a:lnTo>
                  <a:lnTo>
                    <a:pt x="216" y="240"/>
                  </a:lnTo>
                  <a:lnTo>
                    <a:pt x="222" y="240"/>
                  </a:lnTo>
                  <a:lnTo>
                    <a:pt x="228" y="246"/>
                  </a:lnTo>
                  <a:lnTo>
                    <a:pt x="234" y="246"/>
                  </a:lnTo>
                  <a:lnTo>
                    <a:pt x="240" y="246"/>
                  </a:lnTo>
                  <a:lnTo>
                    <a:pt x="252" y="252"/>
                  </a:lnTo>
                  <a:lnTo>
                    <a:pt x="330" y="246"/>
                  </a:lnTo>
                  <a:lnTo>
                    <a:pt x="360" y="228"/>
                  </a:lnTo>
                  <a:lnTo>
                    <a:pt x="396" y="228"/>
                  </a:lnTo>
                  <a:lnTo>
                    <a:pt x="402" y="240"/>
                  </a:lnTo>
                  <a:lnTo>
                    <a:pt x="432" y="240"/>
                  </a:lnTo>
                  <a:lnTo>
                    <a:pt x="450" y="258"/>
                  </a:lnTo>
                  <a:lnTo>
                    <a:pt x="468" y="258"/>
                  </a:lnTo>
                  <a:lnTo>
                    <a:pt x="474" y="294"/>
                  </a:lnTo>
                  <a:lnTo>
                    <a:pt x="558" y="318"/>
                  </a:lnTo>
                  <a:lnTo>
                    <a:pt x="588" y="318"/>
                  </a:lnTo>
                  <a:lnTo>
                    <a:pt x="588" y="312"/>
                  </a:lnTo>
                  <a:lnTo>
                    <a:pt x="594" y="306"/>
                  </a:lnTo>
                  <a:lnTo>
                    <a:pt x="600" y="306"/>
                  </a:lnTo>
                  <a:lnTo>
                    <a:pt x="612" y="300"/>
                  </a:lnTo>
                  <a:lnTo>
                    <a:pt x="618" y="300"/>
                  </a:lnTo>
                  <a:lnTo>
                    <a:pt x="630" y="300"/>
                  </a:lnTo>
                  <a:lnTo>
                    <a:pt x="642" y="306"/>
                  </a:lnTo>
                  <a:lnTo>
                    <a:pt x="660" y="306"/>
                  </a:lnTo>
                  <a:lnTo>
                    <a:pt x="666" y="306"/>
                  </a:lnTo>
                  <a:lnTo>
                    <a:pt x="672" y="306"/>
                  </a:lnTo>
                  <a:lnTo>
                    <a:pt x="684" y="300"/>
                  </a:lnTo>
                  <a:lnTo>
                    <a:pt x="696" y="294"/>
                  </a:lnTo>
                  <a:lnTo>
                    <a:pt x="702" y="288"/>
                  </a:lnTo>
                  <a:lnTo>
                    <a:pt x="714" y="282"/>
                  </a:lnTo>
                  <a:lnTo>
                    <a:pt x="714" y="288"/>
                  </a:lnTo>
                  <a:lnTo>
                    <a:pt x="726" y="300"/>
                  </a:lnTo>
                  <a:lnTo>
                    <a:pt x="732" y="306"/>
                  </a:lnTo>
                  <a:lnTo>
                    <a:pt x="732" y="318"/>
                  </a:lnTo>
                  <a:lnTo>
                    <a:pt x="732" y="330"/>
                  </a:lnTo>
                  <a:lnTo>
                    <a:pt x="726" y="342"/>
                  </a:lnTo>
                  <a:lnTo>
                    <a:pt x="720" y="354"/>
                  </a:lnTo>
                  <a:lnTo>
                    <a:pt x="720" y="360"/>
                  </a:lnTo>
                  <a:lnTo>
                    <a:pt x="714" y="372"/>
                  </a:lnTo>
                  <a:lnTo>
                    <a:pt x="714" y="378"/>
                  </a:lnTo>
                  <a:lnTo>
                    <a:pt x="714" y="408"/>
                  </a:lnTo>
                  <a:lnTo>
                    <a:pt x="708" y="420"/>
                  </a:lnTo>
                  <a:lnTo>
                    <a:pt x="714" y="432"/>
                  </a:lnTo>
                  <a:lnTo>
                    <a:pt x="708" y="450"/>
                  </a:lnTo>
                  <a:lnTo>
                    <a:pt x="708" y="468"/>
                  </a:lnTo>
                  <a:lnTo>
                    <a:pt x="696" y="480"/>
                  </a:lnTo>
                  <a:lnTo>
                    <a:pt x="684" y="486"/>
                  </a:lnTo>
                  <a:lnTo>
                    <a:pt x="672" y="492"/>
                  </a:lnTo>
                  <a:lnTo>
                    <a:pt x="660" y="498"/>
                  </a:lnTo>
                  <a:lnTo>
                    <a:pt x="654" y="510"/>
                  </a:lnTo>
                  <a:lnTo>
                    <a:pt x="648" y="516"/>
                  </a:lnTo>
                  <a:lnTo>
                    <a:pt x="642" y="522"/>
                  </a:lnTo>
                  <a:lnTo>
                    <a:pt x="630" y="522"/>
                  </a:lnTo>
                  <a:lnTo>
                    <a:pt x="624" y="528"/>
                  </a:lnTo>
                  <a:lnTo>
                    <a:pt x="618" y="540"/>
                  </a:lnTo>
                  <a:lnTo>
                    <a:pt x="618" y="558"/>
                  </a:lnTo>
                  <a:lnTo>
                    <a:pt x="612" y="576"/>
                  </a:lnTo>
                  <a:lnTo>
                    <a:pt x="612" y="684"/>
                  </a:lnTo>
                  <a:lnTo>
                    <a:pt x="618" y="696"/>
                  </a:lnTo>
                  <a:lnTo>
                    <a:pt x="636" y="696"/>
                  </a:lnTo>
                  <a:lnTo>
                    <a:pt x="636" y="720"/>
                  </a:lnTo>
                  <a:lnTo>
                    <a:pt x="636" y="732"/>
                  </a:lnTo>
                  <a:lnTo>
                    <a:pt x="618" y="750"/>
                  </a:lnTo>
                  <a:lnTo>
                    <a:pt x="606" y="762"/>
                  </a:lnTo>
                  <a:lnTo>
                    <a:pt x="600" y="774"/>
                  </a:lnTo>
                  <a:lnTo>
                    <a:pt x="594" y="798"/>
                  </a:lnTo>
                  <a:lnTo>
                    <a:pt x="606" y="798"/>
                  </a:lnTo>
                  <a:lnTo>
                    <a:pt x="660" y="792"/>
                  </a:lnTo>
                  <a:lnTo>
                    <a:pt x="696" y="798"/>
                  </a:lnTo>
                  <a:lnTo>
                    <a:pt x="720" y="798"/>
                  </a:lnTo>
                  <a:lnTo>
                    <a:pt x="720" y="786"/>
                  </a:lnTo>
                  <a:lnTo>
                    <a:pt x="720" y="774"/>
                  </a:lnTo>
                  <a:lnTo>
                    <a:pt x="702" y="762"/>
                  </a:lnTo>
                  <a:lnTo>
                    <a:pt x="702" y="750"/>
                  </a:lnTo>
                  <a:lnTo>
                    <a:pt x="702" y="726"/>
                  </a:lnTo>
                  <a:lnTo>
                    <a:pt x="714" y="714"/>
                  </a:lnTo>
                  <a:lnTo>
                    <a:pt x="720" y="702"/>
                  </a:lnTo>
                  <a:lnTo>
                    <a:pt x="720" y="696"/>
                  </a:lnTo>
                  <a:lnTo>
                    <a:pt x="744" y="690"/>
                  </a:lnTo>
                  <a:lnTo>
                    <a:pt x="744" y="696"/>
                  </a:lnTo>
                  <a:lnTo>
                    <a:pt x="756" y="696"/>
                  </a:lnTo>
                  <a:lnTo>
                    <a:pt x="762" y="690"/>
                  </a:lnTo>
                  <a:lnTo>
                    <a:pt x="768" y="690"/>
                  </a:lnTo>
                  <a:lnTo>
                    <a:pt x="774" y="696"/>
                  </a:lnTo>
                  <a:lnTo>
                    <a:pt x="780" y="696"/>
                  </a:lnTo>
                  <a:lnTo>
                    <a:pt x="786" y="696"/>
                  </a:lnTo>
                  <a:lnTo>
                    <a:pt x="804" y="684"/>
                  </a:lnTo>
                  <a:lnTo>
                    <a:pt x="810" y="684"/>
                  </a:lnTo>
                  <a:lnTo>
                    <a:pt x="810" y="654"/>
                  </a:lnTo>
                  <a:lnTo>
                    <a:pt x="816" y="588"/>
                  </a:lnTo>
                  <a:lnTo>
                    <a:pt x="804" y="582"/>
                  </a:lnTo>
                  <a:lnTo>
                    <a:pt x="798" y="552"/>
                  </a:lnTo>
                  <a:lnTo>
                    <a:pt x="798" y="480"/>
                  </a:lnTo>
                  <a:lnTo>
                    <a:pt x="780" y="468"/>
                  </a:lnTo>
                  <a:lnTo>
                    <a:pt x="780" y="462"/>
                  </a:lnTo>
                  <a:lnTo>
                    <a:pt x="774" y="450"/>
                  </a:lnTo>
                  <a:lnTo>
                    <a:pt x="762" y="444"/>
                  </a:lnTo>
                  <a:lnTo>
                    <a:pt x="762" y="438"/>
                  </a:lnTo>
                  <a:lnTo>
                    <a:pt x="768" y="432"/>
                  </a:lnTo>
                  <a:lnTo>
                    <a:pt x="774" y="426"/>
                  </a:lnTo>
                  <a:lnTo>
                    <a:pt x="780" y="426"/>
                  </a:lnTo>
                  <a:lnTo>
                    <a:pt x="780" y="414"/>
                  </a:lnTo>
                  <a:lnTo>
                    <a:pt x="834" y="414"/>
                  </a:lnTo>
                  <a:lnTo>
                    <a:pt x="834" y="426"/>
                  </a:lnTo>
                  <a:lnTo>
                    <a:pt x="840" y="432"/>
                  </a:lnTo>
                  <a:lnTo>
                    <a:pt x="846" y="432"/>
                  </a:lnTo>
                  <a:lnTo>
                    <a:pt x="852" y="432"/>
                  </a:lnTo>
                  <a:lnTo>
                    <a:pt x="858" y="432"/>
                  </a:lnTo>
                  <a:lnTo>
                    <a:pt x="870" y="432"/>
                  </a:lnTo>
                  <a:lnTo>
                    <a:pt x="870" y="426"/>
                  </a:lnTo>
                  <a:lnTo>
                    <a:pt x="870" y="420"/>
                  </a:lnTo>
                  <a:lnTo>
                    <a:pt x="876" y="420"/>
                  </a:lnTo>
                  <a:lnTo>
                    <a:pt x="882" y="420"/>
                  </a:lnTo>
                  <a:lnTo>
                    <a:pt x="894" y="414"/>
                  </a:lnTo>
                  <a:lnTo>
                    <a:pt x="900" y="414"/>
                  </a:lnTo>
                  <a:lnTo>
                    <a:pt x="906" y="408"/>
                  </a:lnTo>
                  <a:lnTo>
                    <a:pt x="918" y="408"/>
                  </a:lnTo>
                  <a:lnTo>
                    <a:pt x="924" y="402"/>
                  </a:lnTo>
                  <a:lnTo>
                    <a:pt x="930" y="384"/>
                  </a:lnTo>
                  <a:lnTo>
                    <a:pt x="948" y="396"/>
                  </a:lnTo>
                  <a:lnTo>
                    <a:pt x="954" y="384"/>
                  </a:lnTo>
                  <a:lnTo>
                    <a:pt x="960" y="384"/>
                  </a:lnTo>
                  <a:lnTo>
                    <a:pt x="972" y="384"/>
                  </a:lnTo>
                  <a:lnTo>
                    <a:pt x="978" y="378"/>
                  </a:lnTo>
                  <a:lnTo>
                    <a:pt x="972" y="366"/>
                  </a:lnTo>
                  <a:lnTo>
                    <a:pt x="966" y="342"/>
                  </a:lnTo>
                  <a:lnTo>
                    <a:pt x="960" y="330"/>
                  </a:lnTo>
                  <a:lnTo>
                    <a:pt x="942" y="324"/>
                  </a:lnTo>
                  <a:lnTo>
                    <a:pt x="936" y="318"/>
                  </a:lnTo>
                  <a:lnTo>
                    <a:pt x="936" y="294"/>
                  </a:lnTo>
                  <a:lnTo>
                    <a:pt x="942" y="294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282"/>
                  </a:lnTo>
                  <a:lnTo>
                    <a:pt x="954" y="276"/>
                  </a:lnTo>
                  <a:lnTo>
                    <a:pt x="960" y="276"/>
                  </a:lnTo>
                  <a:lnTo>
                    <a:pt x="966" y="276"/>
                  </a:lnTo>
                  <a:lnTo>
                    <a:pt x="960" y="258"/>
                  </a:lnTo>
                  <a:lnTo>
                    <a:pt x="954" y="240"/>
                  </a:lnTo>
                  <a:lnTo>
                    <a:pt x="948" y="204"/>
                  </a:lnTo>
                  <a:lnTo>
                    <a:pt x="954" y="204"/>
                  </a:lnTo>
                  <a:lnTo>
                    <a:pt x="960" y="198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00" y="186"/>
                  </a:lnTo>
                  <a:lnTo>
                    <a:pt x="876" y="180"/>
                  </a:lnTo>
                  <a:lnTo>
                    <a:pt x="858" y="180"/>
                  </a:lnTo>
                  <a:lnTo>
                    <a:pt x="852" y="168"/>
                  </a:lnTo>
                  <a:lnTo>
                    <a:pt x="834" y="156"/>
                  </a:lnTo>
                  <a:lnTo>
                    <a:pt x="822" y="156"/>
                  </a:lnTo>
                  <a:lnTo>
                    <a:pt x="804" y="156"/>
                  </a:lnTo>
                  <a:lnTo>
                    <a:pt x="804" y="150"/>
                  </a:lnTo>
                  <a:lnTo>
                    <a:pt x="792" y="144"/>
                  </a:lnTo>
                  <a:lnTo>
                    <a:pt x="762" y="138"/>
                  </a:lnTo>
                  <a:lnTo>
                    <a:pt x="768" y="120"/>
                  </a:lnTo>
                  <a:lnTo>
                    <a:pt x="756" y="120"/>
                  </a:lnTo>
                  <a:lnTo>
                    <a:pt x="744" y="108"/>
                  </a:lnTo>
                  <a:lnTo>
                    <a:pt x="744" y="96"/>
                  </a:lnTo>
                  <a:lnTo>
                    <a:pt x="762" y="84"/>
                  </a:lnTo>
                  <a:lnTo>
                    <a:pt x="768" y="84"/>
                  </a:lnTo>
                  <a:lnTo>
                    <a:pt x="768" y="72"/>
                  </a:lnTo>
                  <a:lnTo>
                    <a:pt x="780" y="66"/>
                  </a:lnTo>
                  <a:lnTo>
                    <a:pt x="798" y="54"/>
                  </a:lnTo>
                  <a:lnTo>
                    <a:pt x="792" y="54"/>
                  </a:lnTo>
                  <a:lnTo>
                    <a:pt x="798" y="36"/>
                  </a:lnTo>
                  <a:lnTo>
                    <a:pt x="804" y="36"/>
                  </a:lnTo>
                  <a:lnTo>
                    <a:pt x="816" y="30"/>
                  </a:lnTo>
                  <a:lnTo>
                    <a:pt x="828" y="30"/>
                  </a:lnTo>
                  <a:lnTo>
                    <a:pt x="846" y="12"/>
                  </a:lnTo>
                  <a:lnTo>
                    <a:pt x="876" y="0"/>
                  </a:lnTo>
                  <a:lnTo>
                    <a:pt x="882" y="6"/>
                  </a:lnTo>
                  <a:lnTo>
                    <a:pt x="900" y="6"/>
                  </a:lnTo>
                  <a:lnTo>
                    <a:pt x="912" y="36"/>
                  </a:lnTo>
                  <a:lnTo>
                    <a:pt x="918" y="42"/>
                  </a:lnTo>
                  <a:lnTo>
                    <a:pt x="924" y="54"/>
                  </a:lnTo>
                  <a:lnTo>
                    <a:pt x="930" y="54"/>
                  </a:lnTo>
                  <a:lnTo>
                    <a:pt x="930" y="78"/>
                  </a:lnTo>
                  <a:lnTo>
                    <a:pt x="954" y="72"/>
                  </a:lnTo>
                  <a:lnTo>
                    <a:pt x="954" y="60"/>
                  </a:lnTo>
                  <a:lnTo>
                    <a:pt x="966" y="66"/>
                  </a:lnTo>
                  <a:lnTo>
                    <a:pt x="966" y="78"/>
                  </a:lnTo>
                  <a:lnTo>
                    <a:pt x="960" y="84"/>
                  </a:lnTo>
                  <a:lnTo>
                    <a:pt x="954" y="102"/>
                  </a:lnTo>
                  <a:lnTo>
                    <a:pt x="972" y="102"/>
                  </a:lnTo>
                  <a:lnTo>
                    <a:pt x="978" y="84"/>
                  </a:lnTo>
                  <a:lnTo>
                    <a:pt x="984" y="72"/>
                  </a:lnTo>
                  <a:lnTo>
                    <a:pt x="990" y="72"/>
                  </a:lnTo>
                  <a:lnTo>
                    <a:pt x="996" y="18"/>
                  </a:lnTo>
                  <a:lnTo>
                    <a:pt x="990" y="12"/>
                  </a:lnTo>
                  <a:lnTo>
                    <a:pt x="1014" y="12"/>
                  </a:lnTo>
                  <a:lnTo>
                    <a:pt x="1026" y="12"/>
                  </a:lnTo>
                  <a:lnTo>
                    <a:pt x="1026" y="24"/>
                  </a:lnTo>
                  <a:lnTo>
                    <a:pt x="1050" y="24"/>
                  </a:lnTo>
                  <a:lnTo>
                    <a:pt x="1050" y="36"/>
                  </a:lnTo>
                  <a:lnTo>
                    <a:pt x="1062" y="66"/>
                  </a:lnTo>
                  <a:lnTo>
                    <a:pt x="1074" y="66"/>
                  </a:lnTo>
                  <a:lnTo>
                    <a:pt x="1080" y="60"/>
                  </a:lnTo>
                  <a:lnTo>
                    <a:pt x="1074" y="24"/>
                  </a:lnTo>
                  <a:lnTo>
                    <a:pt x="1086" y="18"/>
                  </a:lnTo>
                  <a:lnTo>
                    <a:pt x="1086" y="12"/>
                  </a:lnTo>
                  <a:lnTo>
                    <a:pt x="1104" y="6"/>
                  </a:lnTo>
                  <a:lnTo>
                    <a:pt x="1122" y="0"/>
                  </a:lnTo>
                  <a:lnTo>
                    <a:pt x="1134" y="6"/>
                  </a:lnTo>
                  <a:lnTo>
                    <a:pt x="1134" y="42"/>
                  </a:lnTo>
                  <a:lnTo>
                    <a:pt x="1140" y="72"/>
                  </a:lnTo>
                  <a:lnTo>
                    <a:pt x="1158" y="114"/>
                  </a:lnTo>
                  <a:lnTo>
                    <a:pt x="1170" y="114"/>
                  </a:lnTo>
                  <a:lnTo>
                    <a:pt x="1170" y="126"/>
                  </a:lnTo>
                  <a:lnTo>
                    <a:pt x="1182" y="126"/>
                  </a:lnTo>
                  <a:lnTo>
                    <a:pt x="1182" y="138"/>
                  </a:lnTo>
                  <a:lnTo>
                    <a:pt x="1194" y="144"/>
                  </a:lnTo>
                  <a:lnTo>
                    <a:pt x="1194" y="156"/>
                  </a:lnTo>
                  <a:lnTo>
                    <a:pt x="1188" y="156"/>
                  </a:lnTo>
                  <a:lnTo>
                    <a:pt x="1194" y="162"/>
                  </a:lnTo>
                  <a:lnTo>
                    <a:pt x="1194" y="168"/>
                  </a:lnTo>
                  <a:lnTo>
                    <a:pt x="1188" y="168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82" y="180"/>
                  </a:lnTo>
                  <a:lnTo>
                    <a:pt x="1188" y="186"/>
                  </a:lnTo>
                  <a:lnTo>
                    <a:pt x="1188" y="192"/>
                  </a:lnTo>
                  <a:lnTo>
                    <a:pt x="1182" y="198"/>
                  </a:lnTo>
                  <a:lnTo>
                    <a:pt x="1182" y="204"/>
                  </a:lnTo>
                  <a:lnTo>
                    <a:pt x="1182" y="210"/>
                  </a:lnTo>
                  <a:lnTo>
                    <a:pt x="1188" y="210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2"/>
                  </a:lnTo>
                  <a:lnTo>
                    <a:pt x="1194" y="264"/>
                  </a:lnTo>
                  <a:lnTo>
                    <a:pt x="1200" y="264"/>
                  </a:lnTo>
                  <a:lnTo>
                    <a:pt x="1212" y="264"/>
                  </a:lnTo>
                  <a:lnTo>
                    <a:pt x="1212" y="258"/>
                  </a:lnTo>
                  <a:lnTo>
                    <a:pt x="1224" y="258"/>
                  </a:lnTo>
                  <a:lnTo>
                    <a:pt x="1248" y="252"/>
                  </a:lnTo>
                  <a:lnTo>
                    <a:pt x="1248" y="264"/>
                  </a:lnTo>
                  <a:lnTo>
                    <a:pt x="1254" y="264"/>
                  </a:lnTo>
                  <a:lnTo>
                    <a:pt x="1254" y="270"/>
                  </a:lnTo>
                  <a:lnTo>
                    <a:pt x="1260" y="270"/>
                  </a:lnTo>
                  <a:lnTo>
                    <a:pt x="1266" y="270"/>
                  </a:lnTo>
                  <a:lnTo>
                    <a:pt x="1272" y="270"/>
                  </a:lnTo>
                  <a:lnTo>
                    <a:pt x="1272" y="264"/>
                  </a:lnTo>
                  <a:lnTo>
                    <a:pt x="1272" y="258"/>
                  </a:lnTo>
                  <a:lnTo>
                    <a:pt x="1278" y="258"/>
                  </a:lnTo>
                  <a:lnTo>
                    <a:pt x="1278" y="252"/>
                  </a:lnTo>
                  <a:lnTo>
                    <a:pt x="1290" y="252"/>
                  </a:lnTo>
                  <a:lnTo>
                    <a:pt x="1296" y="246"/>
                  </a:lnTo>
                  <a:lnTo>
                    <a:pt x="1308" y="246"/>
                  </a:lnTo>
                  <a:lnTo>
                    <a:pt x="1308" y="240"/>
                  </a:lnTo>
                  <a:lnTo>
                    <a:pt x="1320" y="240"/>
                  </a:lnTo>
                  <a:lnTo>
                    <a:pt x="1326" y="246"/>
                  </a:lnTo>
                  <a:lnTo>
                    <a:pt x="1338" y="246"/>
                  </a:lnTo>
                  <a:lnTo>
                    <a:pt x="1338" y="240"/>
                  </a:lnTo>
                  <a:lnTo>
                    <a:pt x="1350" y="240"/>
                  </a:lnTo>
                  <a:lnTo>
                    <a:pt x="1386" y="234"/>
                  </a:lnTo>
                  <a:lnTo>
                    <a:pt x="1398" y="228"/>
                  </a:lnTo>
                  <a:lnTo>
                    <a:pt x="1404" y="216"/>
                  </a:lnTo>
                  <a:lnTo>
                    <a:pt x="1416" y="204"/>
                  </a:lnTo>
                  <a:lnTo>
                    <a:pt x="1434" y="192"/>
                  </a:lnTo>
                  <a:lnTo>
                    <a:pt x="1446" y="198"/>
                  </a:lnTo>
                  <a:lnTo>
                    <a:pt x="1446" y="204"/>
                  </a:lnTo>
                  <a:lnTo>
                    <a:pt x="1452" y="210"/>
                  </a:lnTo>
                  <a:lnTo>
                    <a:pt x="1464" y="222"/>
                  </a:lnTo>
                  <a:lnTo>
                    <a:pt x="1464" y="228"/>
                  </a:lnTo>
                  <a:lnTo>
                    <a:pt x="1464" y="234"/>
                  </a:lnTo>
                  <a:lnTo>
                    <a:pt x="1470" y="240"/>
                  </a:lnTo>
                  <a:lnTo>
                    <a:pt x="1476" y="228"/>
                  </a:lnTo>
                  <a:lnTo>
                    <a:pt x="1476" y="222"/>
                  </a:lnTo>
                  <a:lnTo>
                    <a:pt x="1482" y="210"/>
                  </a:lnTo>
                  <a:lnTo>
                    <a:pt x="1488" y="192"/>
                  </a:lnTo>
                  <a:lnTo>
                    <a:pt x="1488" y="186"/>
                  </a:lnTo>
                  <a:lnTo>
                    <a:pt x="1488" y="180"/>
                  </a:lnTo>
                  <a:lnTo>
                    <a:pt x="1500" y="180"/>
                  </a:lnTo>
                  <a:lnTo>
                    <a:pt x="1500" y="174"/>
                  </a:lnTo>
                  <a:lnTo>
                    <a:pt x="1518" y="162"/>
                  </a:lnTo>
                  <a:lnTo>
                    <a:pt x="1536" y="150"/>
                  </a:lnTo>
                  <a:lnTo>
                    <a:pt x="1554" y="168"/>
                  </a:lnTo>
                  <a:lnTo>
                    <a:pt x="1572" y="180"/>
                  </a:lnTo>
                  <a:lnTo>
                    <a:pt x="1596" y="216"/>
                  </a:lnTo>
                  <a:lnTo>
                    <a:pt x="1602" y="216"/>
                  </a:lnTo>
                  <a:lnTo>
                    <a:pt x="1614" y="228"/>
                  </a:lnTo>
                  <a:lnTo>
                    <a:pt x="1614" y="234"/>
                  </a:lnTo>
                  <a:lnTo>
                    <a:pt x="1620" y="240"/>
                  </a:lnTo>
                  <a:lnTo>
                    <a:pt x="1620" y="246"/>
                  </a:lnTo>
                  <a:lnTo>
                    <a:pt x="1626" y="252"/>
                  </a:lnTo>
                  <a:lnTo>
                    <a:pt x="1632" y="258"/>
                  </a:lnTo>
                  <a:lnTo>
                    <a:pt x="1632" y="264"/>
                  </a:lnTo>
                  <a:lnTo>
                    <a:pt x="1638" y="264"/>
                  </a:lnTo>
                  <a:lnTo>
                    <a:pt x="1638" y="270"/>
                  </a:lnTo>
                  <a:lnTo>
                    <a:pt x="1638" y="276"/>
                  </a:lnTo>
                  <a:lnTo>
                    <a:pt x="1638" y="282"/>
                  </a:lnTo>
                  <a:lnTo>
                    <a:pt x="1644" y="288"/>
                  </a:lnTo>
                  <a:lnTo>
                    <a:pt x="1644" y="294"/>
                  </a:lnTo>
                  <a:lnTo>
                    <a:pt x="1644" y="300"/>
                  </a:lnTo>
                  <a:lnTo>
                    <a:pt x="1644" y="306"/>
                  </a:lnTo>
                  <a:lnTo>
                    <a:pt x="1650" y="306"/>
                  </a:lnTo>
                  <a:lnTo>
                    <a:pt x="1650" y="312"/>
                  </a:lnTo>
                  <a:lnTo>
                    <a:pt x="1650" y="318"/>
                  </a:lnTo>
                  <a:lnTo>
                    <a:pt x="1650" y="324"/>
                  </a:lnTo>
                  <a:lnTo>
                    <a:pt x="1644" y="330"/>
                  </a:lnTo>
                  <a:lnTo>
                    <a:pt x="1626" y="330"/>
                  </a:lnTo>
                  <a:lnTo>
                    <a:pt x="1626" y="336"/>
                  </a:lnTo>
                  <a:lnTo>
                    <a:pt x="1626" y="342"/>
                  </a:lnTo>
                  <a:lnTo>
                    <a:pt x="1626" y="348"/>
                  </a:lnTo>
                  <a:lnTo>
                    <a:pt x="1620" y="354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14" y="390"/>
                  </a:lnTo>
                  <a:lnTo>
                    <a:pt x="1614" y="396"/>
                  </a:lnTo>
                  <a:lnTo>
                    <a:pt x="1614" y="402"/>
                  </a:lnTo>
                  <a:lnTo>
                    <a:pt x="1614" y="408"/>
                  </a:lnTo>
                  <a:lnTo>
                    <a:pt x="1614" y="414"/>
                  </a:lnTo>
                  <a:lnTo>
                    <a:pt x="1602" y="420"/>
                  </a:lnTo>
                  <a:lnTo>
                    <a:pt x="1602" y="426"/>
                  </a:lnTo>
                  <a:lnTo>
                    <a:pt x="1608" y="432"/>
                  </a:lnTo>
                  <a:lnTo>
                    <a:pt x="1614" y="426"/>
                  </a:lnTo>
                  <a:lnTo>
                    <a:pt x="1620" y="438"/>
                  </a:lnTo>
                  <a:lnTo>
                    <a:pt x="1626" y="438"/>
                  </a:lnTo>
                  <a:lnTo>
                    <a:pt x="1632" y="444"/>
                  </a:lnTo>
                  <a:lnTo>
                    <a:pt x="1626" y="456"/>
                  </a:lnTo>
                  <a:lnTo>
                    <a:pt x="1626" y="468"/>
                  </a:lnTo>
                  <a:lnTo>
                    <a:pt x="1620" y="474"/>
                  </a:lnTo>
                  <a:lnTo>
                    <a:pt x="1614" y="474"/>
                  </a:lnTo>
                  <a:lnTo>
                    <a:pt x="1614" y="486"/>
                  </a:lnTo>
                  <a:lnTo>
                    <a:pt x="1614" y="492"/>
                  </a:lnTo>
                  <a:lnTo>
                    <a:pt x="1620" y="492"/>
                  </a:lnTo>
                  <a:lnTo>
                    <a:pt x="1626" y="498"/>
                  </a:lnTo>
                  <a:lnTo>
                    <a:pt x="1626" y="504"/>
                  </a:lnTo>
                  <a:lnTo>
                    <a:pt x="1626" y="510"/>
                  </a:lnTo>
                  <a:lnTo>
                    <a:pt x="1620" y="516"/>
                  </a:lnTo>
                  <a:lnTo>
                    <a:pt x="1620" y="522"/>
                  </a:lnTo>
                  <a:lnTo>
                    <a:pt x="1614" y="522"/>
                  </a:lnTo>
                  <a:lnTo>
                    <a:pt x="1608" y="528"/>
                  </a:lnTo>
                  <a:lnTo>
                    <a:pt x="1602" y="522"/>
                  </a:lnTo>
                  <a:lnTo>
                    <a:pt x="1602" y="528"/>
                  </a:lnTo>
                  <a:lnTo>
                    <a:pt x="1602" y="540"/>
                  </a:lnTo>
                  <a:lnTo>
                    <a:pt x="1602" y="558"/>
                  </a:lnTo>
                  <a:lnTo>
                    <a:pt x="1602" y="564"/>
                  </a:lnTo>
                  <a:lnTo>
                    <a:pt x="1602" y="570"/>
                  </a:lnTo>
                  <a:lnTo>
                    <a:pt x="1602" y="576"/>
                  </a:lnTo>
                  <a:lnTo>
                    <a:pt x="1596" y="576"/>
                  </a:lnTo>
                  <a:lnTo>
                    <a:pt x="1632" y="582"/>
                  </a:lnTo>
                  <a:lnTo>
                    <a:pt x="1644" y="618"/>
                  </a:lnTo>
                  <a:lnTo>
                    <a:pt x="1650" y="648"/>
                  </a:lnTo>
                  <a:lnTo>
                    <a:pt x="1662" y="636"/>
                  </a:lnTo>
                  <a:lnTo>
                    <a:pt x="1668" y="636"/>
                  </a:lnTo>
                  <a:lnTo>
                    <a:pt x="1674" y="636"/>
                  </a:lnTo>
                  <a:lnTo>
                    <a:pt x="1680" y="630"/>
                  </a:lnTo>
                  <a:lnTo>
                    <a:pt x="1686" y="630"/>
                  </a:lnTo>
                  <a:lnTo>
                    <a:pt x="1692" y="630"/>
                  </a:lnTo>
                  <a:lnTo>
                    <a:pt x="1698" y="630"/>
                  </a:lnTo>
                  <a:lnTo>
                    <a:pt x="1704" y="630"/>
                  </a:lnTo>
                  <a:lnTo>
                    <a:pt x="1704" y="624"/>
                  </a:lnTo>
                  <a:lnTo>
                    <a:pt x="1710" y="624"/>
                  </a:lnTo>
                  <a:lnTo>
                    <a:pt x="1716" y="624"/>
                  </a:lnTo>
                  <a:lnTo>
                    <a:pt x="1722" y="624"/>
                  </a:lnTo>
                  <a:lnTo>
                    <a:pt x="1728" y="624"/>
                  </a:lnTo>
                  <a:lnTo>
                    <a:pt x="1722" y="618"/>
                  </a:lnTo>
                  <a:lnTo>
                    <a:pt x="1728" y="606"/>
                  </a:lnTo>
                  <a:lnTo>
                    <a:pt x="1734" y="606"/>
                  </a:lnTo>
                  <a:lnTo>
                    <a:pt x="1740" y="600"/>
                  </a:lnTo>
                  <a:lnTo>
                    <a:pt x="1746" y="594"/>
                  </a:lnTo>
                  <a:lnTo>
                    <a:pt x="1752" y="588"/>
                  </a:lnTo>
                  <a:lnTo>
                    <a:pt x="1752" y="582"/>
                  </a:lnTo>
                  <a:lnTo>
                    <a:pt x="1758" y="576"/>
                  </a:lnTo>
                  <a:lnTo>
                    <a:pt x="1764" y="576"/>
                  </a:lnTo>
                  <a:lnTo>
                    <a:pt x="1770" y="570"/>
                  </a:lnTo>
                  <a:lnTo>
                    <a:pt x="1776" y="564"/>
                  </a:lnTo>
                  <a:lnTo>
                    <a:pt x="1788" y="558"/>
                  </a:lnTo>
                  <a:lnTo>
                    <a:pt x="1788" y="546"/>
                  </a:lnTo>
                  <a:lnTo>
                    <a:pt x="1788" y="540"/>
                  </a:lnTo>
                  <a:lnTo>
                    <a:pt x="1794" y="540"/>
                  </a:lnTo>
                  <a:lnTo>
                    <a:pt x="1788" y="534"/>
                  </a:lnTo>
                  <a:lnTo>
                    <a:pt x="1788" y="528"/>
                  </a:lnTo>
                  <a:lnTo>
                    <a:pt x="1794" y="516"/>
                  </a:lnTo>
                  <a:lnTo>
                    <a:pt x="1800" y="510"/>
                  </a:lnTo>
                  <a:lnTo>
                    <a:pt x="1812" y="510"/>
                  </a:lnTo>
                  <a:lnTo>
                    <a:pt x="1818" y="504"/>
                  </a:lnTo>
                  <a:lnTo>
                    <a:pt x="1824" y="504"/>
                  </a:lnTo>
                  <a:lnTo>
                    <a:pt x="1830" y="498"/>
                  </a:lnTo>
                  <a:lnTo>
                    <a:pt x="1836" y="498"/>
                  </a:lnTo>
                  <a:lnTo>
                    <a:pt x="1848" y="492"/>
                  </a:lnTo>
                  <a:lnTo>
                    <a:pt x="1848" y="480"/>
                  </a:lnTo>
                  <a:lnTo>
                    <a:pt x="1854" y="480"/>
                  </a:lnTo>
                  <a:lnTo>
                    <a:pt x="1890" y="504"/>
                  </a:lnTo>
                  <a:lnTo>
                    <a:pt x="1908" y="534"/>
                  </a:lnTo>
                  <a:lnTo>
                    <a:pt x="1902" y="534"/>
                  </a:lnTo>
                  <a:lnTo>
                    <a:pt x="1920" y="528"/>
                  </a:lnTo>
                  <a:lnTo>
                    <a:pt x="1920" y="516"/>
                  </a:lnTo>
                  <a:lnTo>
                    <a:pt x="1944" y="516"/>
                  </a:lnTo>
                  <a:lnTo>
                    <a:pt x="2004" y="516"/>
                  </a:lnTo>
                  <a:lnTo>
                    <a:pt x="2010" y="510"/>
                  </a:lnTo>
                  <a:lnTo>
                    <a:pt x="2004" y="510"/>
                  </a:lnTo>
                  <a:lnTo>
                    <a:pt x="2010" y="498"/>
                  </a:lnTo>
                  <a:lnTo>
                    <a:pt x="2004" y="486"/>
                  </a:lnTo>
                  <a:lnTo>
                    <a:pt x="2004" y="480"/>
                  </a:lnTo>
                  <a:lnTo>
                    <a:pt x="2004" y="474"/>
                  </a:lnTo>
                  <a:lnTo>
                    <a:pt x="2004" y="462"/>
                  </a:lnTo>
                  <a:lnTo>
                    <a:pt x="2004" y="456"/>
                  </a:lnTo>
                  <a:lnTo>
                    <a:pt x="2058" y="462"/>
                  </a:lnTo>
                  <a:lnTo>
                    <a:pt x="2076" y="474"/>
                  </a:lnTo>
                  <a:lnTo>
                    <a:pt x="2082" y="522"/>
                  </a:lnTo>
                  <a:lnTo>
                    <a:pt x="2088" y="516"/>
                  </a:lnTo>
                  <a:lnTo>
                    <a:pt x="2094" y="522"/>
                  </a:lnTo>
                  <a:lnTo>
                    <a:pt x="2100" y="528"/>
                  </a:lnTo>
                  <a:lnTo>
                    <a:pt x="2130" y="540"/>
                  </a:lnTo>
                  <a:lnTo>
                    <a:pt x="2160" y="564"/>
                  </a:lnTo>
                  <a:lnTo>
                    <a:pt x="2166" y="600"/>
                  </a:lnTo>
                  <a:lnTo>
                    <a:pt x="2160" y="618"/>
                  </a:lnTo>
                  <a:lnTo>
                    <a:pt x="2142" y="636"/>
                  </a:lnTo>
                  <a:lnTo>
                    <a:pt x="2148" y="648"/>
                  </a:lnTo>
                  <a:lnTo>
                    <a:pt x="2154" y="660"/>
                  </a:lnTo>
                  <a:lnTo>
                    <a:pt x="2196" y="654"/>
                  </a:lnTo>
                  <a:lnTo>
                    <a:pt x="2214" y="660"/>
                  </a:lnTo>
                  <a:lnTo>
                    <a:pt x="2214" y="666"/>
                  </a:lnTo>
                  <a:lnTo>
                    <a:pt x="2220" y="672"/>
                  </a:lnTo>
                  <a:lnTo>
                    <a:pt x="2214" y="678"/>
                  </a:lnTo>
                  <a:lnTo>
                    <a:pt x="2214" y="684"/>
                  </a:lnTo>
                  <a:lnTo>
                    <a:pt x="2214" y="690"/>
                  </a:lnTo>
                  <a:lnTo>
                    <a:pt x="2208" y="690"/>
                  </a:lnTo>
                  <a:lnTo>
                    <a:pt x="2202" y="696"/>
                  </a:lnTo>
                  <a:lnTo>
                    <a:pt x="2196" y="702"/>
                  </a:lnTo>
                  <a:lnTo>
                    <a:pt x="2190" y="708"/>
                  </a:lnTo>
                  <a:lnTo>
                    <a:pt x="2190" y="720"/>
                  </a:lnTo>
                  <a:lnTo>
                    <a:pt x="2184" y="720"/>
                  </a:lnTo>
                  <a:lnTo>
                    <a:pt x="2178" y="726"/>
                  </a:lnTo>
                  <a:lnTo>
                    <a:pt x="2166" y="732"/>
                  </a:lnTo>
                  <a:lnTo>
                    <a:pt x="2160" y="744"/>
                  </a:lnTo>
                  <a:lnTo>
                    <a:pt x="2154" y="756"/>
                  </a:lnTo>
                  <a:lnTo>
                    <a:pt x="2148" y="762"/>
                  </a:lnTo>
                  <a:lnTo>
                    <a:pt x="2124" y="762"/>
                  </a:lnTo>
                  <a:lnTo>
                    <a:pt x="2124" y="768"/>
                  </a:lnTo>
                  <a:lnTo>
                    <a:pt x="2118" y="768"/>
                  </a:lnTo>
                  <a:lnTo>
                    <a:pt x="2124" y="774"/>
                  </a:lnTo>
                  <a:lnTo>
                    <a:pt x="2118" y="774"/>
                  </a:lnTo>
                  <a:lnTo>
                    <a:pt x="2112" y="774"/>
                  </a:lnTo>
                  <a:lnTo>
                    <a:pt x="2106" y="780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06" y="798"/>
                  </a:lnTo>
                  <a:lnTo>
                    <a:pt x="2106" y="810"/>
                  </a:lnTo>
                  <a:lnTo>
                    <a:pt x="2112" y="828"/>
                  </a:lnTo>
                  <a:lnTo>
                    <a:pt x="2112" y="834"/>
                  </a:lnTo>
                  <a:lnTo>
                    <a:pt x="2112" y="840"/>
                  </a:lnTo>
                  <a:lnTo>
                    <a:pt x="2112" y="834"/>
                  </a:lnTo>
                  <a:lnTo>
                    <a:pt x="2124" y="834"/>
                  </a:lnTo>
                  <a:lnTo>
                    <a:pt x="2130" y="834"/>
                  </a:lnTo>
                  <a:lnTo>
                    <a:pt x="2136" y="840"/>
                  </a:lnTo>
                  <a:lnTo>
                    <a:pt x="2142" y="840"/>
                  </a:lnTo>
                  <a:lnTo>
                    <a:pt x="2154" y="852"/>
                  </a:lnTo>
                  <a:lnTo>
                    <a:pt x="2160" y="852"/>
                  </a:lnTo>
                  <a:lnTo>
                    <a:pt x="2172" y="846"/>
                  </a:lnTo>
                  <a:lnTo>
                    <a:pt x="2178" y="846"/>
                  </a:lnTo>
                  <a:lnTo>
                    <a:pt x="2184" y="846"/>
                  </a:lnTo>
                  <a:lnTo>
                    <a:pt x="2190" y="846"/>
                  </a:lnTo>
                  <a:lnTo>
                    <a:pt x="2196" y="852"/>
                  </a:lnTo>
                  <a:lnTo>
                    <a:pt x="2196" y="858"/>
                  </a:lnTo>
                  <a:lnTo>
                    <a:pt x="2202" y="852"/>
                  </a:lnTo>
                  <a:lnTo>
                    <a:pt x="2208" y="846"/>
                  </a:lnTo>
                  <a:lnTo>
                    <a:pt x="2214" y="846"/>
                  </a:lnTo>
                  <a:lnTo>
                    <a:pt x="2226" y="846"/>
                  </a:lnTo>
                  <a:lnTo>
                    <a:pt x="2232" y="852"/>
                  </a:lnTo>
                  <a:lnTo>
                    <a:pt x="2238" y="852"/>
                  </a:lnTo>
                  <a:lnTo>
                    <a:pt x="2244" y="858"/>
                  </a:lnTo>
                  <a:lnTo>
                    <a:pt x="2250" y="858"/>
                  </a:lnTo>
                  <a:lnTo>
                    <a:pt x="2256" y="858"/>
                  </a:lnTo>
                  <a:lnTo>
                    <a:pt x="2262" y="858"/>
                  </a:lnTo>
                  <a:lnTo>
                    <a:pt x="2268" y="852"/>
                  </a:lnTo>
                  <a:lnTo>
                    <a:pt x="2274" y="852"/>
                  </a:lnTo>
                  <a:lnTo>
                    <a:pt x="2280" y="852"/>
                  </a:lnTo>
                  <a:lnTo>
                    <a:pt x="2286" y="852"/>
                  </a:lnTo>
                  <a:lnTo>
                    <a:pt x="2298" y="858"/>
                  </a:lnTo>
                  <a:lnTo>
                    <a:pt x="2304" y="858"/>
                  </a:lnTo>
                  <a:lnTo>
                    <a:pt x="2310" y="858"/>
                  </a:lnTo>
                  <a:lnTo>
                    <a:pt x="2316" y="852"/>
                  </a:lnTo>
                  <a:lnTo>
                    <a:pt x="2322" y="858"/>
                  </a:lnTo>
                  <a:lnTo>
                    <a:pt x="2328" y="858"/>
                  </a:lnTo>
                  <a:lnTo>
                    <a:pt x="2328" y="852"/>
                  </a:lnTo>
                  <a:lnTo>
                    <a:pt x="2364" y="858"/>
                  </a:lnTo>
                  <a:lnTo>
                    <a:pt x="2376" y="876"/>
                  </a:lnTo>
                  <a:lnTo>
                    <a:pt x="2382" y="936"/>
                  </a:lnTo>
                  <a:lnTo>
                    <a:pt x="2388" y="966"/>
                  </a:lnTo>
                  <a:lnTo>
                    <a:pt x="2382" y="972"/>
                  </a:lnTo>
                  <a:lnTo>
                    <a:pt x="2382" y="978"/>
                  </a:lnTo>
                  <a:lnTo>
                    <a:pt x="2382" y="984"/>
                  </a:lnTo>
                  <a:lnTo>
                    <a:pt x="2388" y="990"/>
                  </a:lnTo>
                  <a:lnTo>
                    <a:pt x="2382" y="990"/>
                  </a:lnTo>
                  <a:lnTo>
                    <a:pt x="2382" y="996"/>
                  </a:lnTo>
                  <a:lnTo>
                    <a:pt x="2376" y="996"/>
                  </a:lnTo>
                  <a:lnTo>
                    <a:pt x="2376" y="1020"/>
                  </a:lnTo>
                  <a:lnTo>
                    <a:pt x="2370" y="1032"/>
                  </a:lnTo>
                  <a:lnTo>
                    <a:pt x="2352" y="1032"/>
                  </a:lnTo>
                  <a:lnTo>
                    <a:pt x="2346" y="1020"/>
                  </a:lnTo>
                  <a:lnTo>
                    <a:pt x="2328" y="1032"/>
                  </a:lnTo>
                  <a:lnTo>
                    <a:pt x="2316" y="1038"/>
                  </a:lnTo>
                  <a:lnTo>
                    <a:pt x="2328" y="1044"/>
                  </a:lnTo>
                  <a:lnTo>
                    <a:pt x="2340" y="1056"/>
                  </a:lnTo>
                  <a:lnTo>
                    <a:pt x="2376" y="1062"/>
                  </a:lnTo>
                  <a:lnTo>
                    <a:pt x="2376" y="1068"/>
                  </a:lnTo>
                  <a:lnTo>
                    <a:pt x="2382" y="1086"/>
                  </a:lnTo>
                  <a:lnTo>
                    <a:pt x="2376" y="1086"/>
                  </a:lnTo>
                  <a:lnTo>
                    <a:pt x="2370" y="1086"/>
                  </a:lnTo>
                  <a:lnTo>
                    <a:pt x="2364" y="1086"/>
                  </a:lnTo>
                  <a:lnTo>
                    <a:pt x="2364" y="1098"/>
                  </a:lnTo>
                  <a:lnTo>
                    <a:pt x="2388" y="1104"/>
                  </a:lnTo>
                  <a:lnTo>
                    <a:pt x="2400" y="1122"/>
                  </a:lnTo>
                  <a:lnTo>
                    <a:pt x="2400" y="1134"/>
                  </a:lnTo>
                  <a:lnTo>
                    <a:pt x="2400" y="1146"/>
                  </a:lnTo>
                  <a:lnTo>
                    <a:pt x="2394" y="1146"/>
                  </a:lnTo>
                  <a:lnTo>
                    <a:pt x="2394" y="1152"/>
                  </a:lnTo>
                  <a:lnTo>
                    <a:pt x="2388" y="1152"/>
                  </a:lnTo>
                  <a:lnTo>
                    <a:pt x="2388" y="1146"/>
                  </a:lnTo>
                  <a:lnTo>
                    <a:pt x="2382" y="1152"/>
                  </a:lnTo>
                  <a:lnTo>
                    <a:pt x="2376" y="1152"/>
                  </a:lnTo>
                  <a:lnTo>
                    <a:pt x="2370" y="1158"/>
                  </a:lnTo>
                  <a:lnTo>
                    <a:pt x="2370" y="1164"/>
                  </a:lnTo>
                  <a:lnTo>
                    <a:pt x="2364" y="1170"/>
                  </a:lnTo>
                  <a:lnTo>
                    <a:pt x="2370" y="1170"/>
                  </a:lnTo>
                  <a:lnTo>
                    <a:pt x="2376" y="1170"/>
                  </a:lnTo>
                  <a:lnTo>
                    <a:pt x="2370" y="1176"/>
                  </a:lnTo>
                  <a:lnTo>
                    <a:pt x="2364" y="1176"/>
                  </a:lnTo>
                  <a:lnTo>
                    <a:pt x="2358" y="1182"/>
                  </a:lnTo>
                  <a:lnTo>
                    <a:pt x="2352" y="1182"/>
                  </a:lnTo>
                  <a:lnTo>
                    <a:pt x="2346" y="1188"/>
                  </a:lnTo>
                  <a:lnTo>
                    <a:pt x="2340" y="1182"/>
                  </a:lnTo>
                  <a:lnTo>
                    <a:pt x="2334" y="1182"/>
                  </a:lnTo>
                  <a:lnTo>
                    <a:pt x="2334" y="1188"/>
                  </a:lnTo>
                  <a:lnTo>
                    <a:pt x="2328" y="1194"/>
                  </a:lnTo>
                  <a:lnTo>
                    <a:pt x="2328" y="1200"/>
                  </a:lnTo>
                  <a:lnTo>
                    <a:pt x="2322" y="1224"/>
                  </a:lnTo>
                  <a:lnTo>
                    <a:pt x="2328" y="1230"/>
                  </a:lnTo>
                  <a:lnTo>
                    <a:pt x="2358" y="1230"/>
                  </a:lnTo>
                  <a:lnTo>
                    <a:pt x="2358" y="1242"/>
                  </a:lnTo>
                  <a:lnTo>
                    <a:pt x="2358" y="1254"/>
                  </a:lnTo>
                  <a:lnTo>
                    <a:pt x="2346" y="1254"/>
                  </a:lnTo>
                  <a:lnTo>
                    <a:pt x="2346" y="1278"/>
                  </a:lnTo>
                  <a:lnTo>
                    <a:pt x="2358" y="1278"/>
                  </a:lnTo>
                  <a:lnTo>
                    <a:pt x="2358" y="1284"/>
                  </a:lnTo>
                  <a:lnTo>
                    <a:pt x="2376" y="1284"/>
                  </a:lnTo>
                  <a:lnTo>
                    <a:pt x="2388" y="1278"/>
                  </a:lnTo>
                  <a:lnTo>
                    <a:pt x="2406" y="1278"/>
                  </a:lnTo>
                  <a:lnTo>
                    <a:pt x="2430" y="1284"/>
                  </a:lnTo>
                  <a:lnTo>
                    <a:pt x="2430" y="1302"/>
                  </a:lnTo>
                  <a:lnTo>
                    <a:pt x="2430" y="1314"/>
                  </a:lnTo>
                  <a:lnTo>
                    <a:pt x="2424" y="1326"/>
                  </a:lnTo>
                  <a:lnTo>
                    <a:pt x="2412" y="1326"/>
                  </a:lnTo>
                  <a:lnTo>
                    <a:pt x="2412" y="1344"/>
                  </a:lnTo>
                  <a:lnTo>
                    <a:pt x="2406" y="1344"/>
                  </a:lnTo>
                  <a:lnTo>
                    <a:pt x="2400" y="1362"/>
                  </a:lnTo>
                  <a:lnTo>
                    <a:pt x="2394" y="1368"/>
                  </a:lnTo>
                  <a:lnTo>
                    <a:pt x="2388" y="1374"/>
                  </a:lnTo>
                  <a:lnTo>
                    <a:pt x="2382" y="1380"/>
                  </a:lnTo>
                  <a:lnTo>
                    <a:pt x="2376" y="1386"/>
                  </a:lnTo>
                  <a:lnTo>
                    <a:pt x="2376" y="1392"/>
                  </a:lnTo>
                  <a:lnTo>
                    <a:pt x="2370" y="1404"/>
                  </a:lnTo>
                  <a:lnTo>
                    <a:pt x="2364" y="1416"/>
                  </a:lnTo>
                  <a:lnTo>
                    <a:pt x="2346" y="1434"/>
                  </a:lnTo>
                  <a:lnTo>
                    <a:pt x="2328" y="1440"/>
                  </a:lnTo>
                  <a:lnTo>
                    <a:pt x="2328" y="1446"/>
                  </a:lnTo>
                  <a:lnTo>
                    <a:pt x="2322" y="1452"/>
                  </a:lnTo>
                  <a:lnTo>
                    <a:pt x="2316" y="1452"/>
                  </a:lnTo>
                  <a:lnTo>
                    <a:pt x="2304" y="1446"/>
                  </a:lnTo>
                  <a:lnTo>
                    <a:pt x="2298" y="1446"/>
                  </a:lnTo>
                  <a:lnTo>
                    <a:pt x="2298" y="1434"/>
                  </a:lnTo>
                  <a:lnTo>
                    <a:pt x="2292" y="1434"/>
                  </a:lnTo>
                  <a:lnTo>
                    <a:pt x="2286" y="1428"/>
                  </a:lnTo>
                  <a:lnTo>
                    <a:pt x="2274" y="1416"/>
                  </a:lnTo>
                  <a:lnTo>
                    <a:pt x="2256" y="1404"/>
                  </a:lnTo>
                  <a:lnTo>
                    <a:pt x="2244" y="1386"/>
                  </a:lnTo>
                  <a:lnTo>
                    <a:pt x="2220" y="1368"/>
                  </a:lnTo>
                  <a:lnTo>
                    <a:pt x="2208" y="1362"/>
                  </a:lnTo>
                  <a:lnTo>
                    <a:pt x="2202" y="1350"/>
                  </a:lnTo>
                  <a:lnTo>
                    <a:pt x="2196" y="1350"/>
                  </a:lnTo>
                  <a:lnTo>
                    <a:pt x="2190" y="1356"/>
                  </a:lnTo>
                  <a:lnTo>
                    <a:pt x="2184" y="1356"/>
                  </a:lnTo>
                  <a:lnTo>
                    <a:pt x="2094" y="1350"/>
                  </a:lnTo>
                  <a:lnTo>
                    <a:pt x="2058" y="1350"/>
                  </a:lnTo>
                  <a:lnTo>
                    <a:pt x="2034" y="1890"/>
                  </a:lnTo>
                  <a:lnTo>
                    <a:pt x="2064" y="1890"/>
                  </a:lnTo>
                  <a:lnTo>
                    <a:pt x="2070" y="1896"/>
                  </a:lnTo>
                  <a:lnTo>
                    <a:pt x="2076" y="1896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8" name="Freeform 33">
              <a:extLst>
                <a:ext uri="{FF2B5EF4-FFF2-40B4-BE49-F238E27FC236}">
                  <a16:creationId xmlns:a16="http://schemas.microsoft.com/office/drawing/2014/main" id="{0E96F118-1F4D-4E52-AF27-149259451CD6}"/>
                </a:ext>
              </a:extLst>
            </p:cNvPr>
            <p:cNvSpPr>
              <a:spLocks/>
            </p:cNvSpPr>
            <p:nvPr/>
          </p:nvSpPr>
          <p:spPr bwMode="gray">
            <a:xfrm>
              <a:off x="1266662" y="1459989"/>
              <a:ext cx="903421" cy="778302"/>
            </a:xfrm>
            <a:custGeom>
              <a:avLst/>
              <a:gdLst>
                <a:gd name="T0" fmla="*/ 143 w 1698"/>
                <a:gd name="T1" fmla="*/ 43 h 1464"/>
                <a:gd name="T2" fmla="*/ 131 w 1698"/>
                <a:gd name="T3" fmla="*/ 44 h 1464"/>
                <a:gd name="T4" fmla="*/ 126 w 1698"/>
                <a:gd name="T5" fmla="*/ 41 h 1464"/>
                <a:gd name="T6" fmla="*/ 119 w 1698"/>
                <a:gd name="T7" fmla="*/ 45 h 1464"/>
                <a:gd name="T8" fmla="*/ 111 w 1698"/>
                <a:gd name="T9" fmla="*/ 46 h 1464"/>
                <a:gd name="T10" fmla="*/ 107 w 1698"/>
                <a:gd name="T11" fmla="*/ 50 h 1464"/>
                <a:gd name="T12" fmla="*/ 107 w 1698"/>
                <a:gd name="T13" fmla="*/ 60 h 1464"/>
                <a:gd name="T14" fmla="*/ 104 w 1698"/>
                <a:gd name="T15" fmla="*/ 62 h 1464"/>
                <a:gd name="T16" fmla="*/ 97 w 1698"/>
                <a:gd name="T17" fmla="*/ 59 h 1464"/>
                <a:gd name="T18" fmla="*/ 92 w 1698"/>
                <a:gd name="T19" fmla="*/ 59 h 1464"/>
                <a:gd name="T20" fmla="*/ 90 w 1698"/>
                <a:gd name="T21" fmla="*/ 62 h 1464"/>
                <a:gd name="T22" fmla="*/ 93 w 1698"/>
                <a:gd name="T23" fmla="*/ 77 h 1464"/>
                <a:gd name="T24" fmla="*/ 85 w 1698"/>
                <a:gd name="T25" fmla="*/ 88 h 1464"/>
                <a:gd name="T26" fmla="*/ 70 w 1698"/>
                <a:gd name="T27" fmla="*/ 89 h 1464"/>
                <a:gd name="T28" fmla="*/ 65 w 1698"/>
                <a:gd name="T29" fmla="*/ 88 h 1464"/>
                <a:gd name="T30" fmla="*/ 50 w 1698"/>
                <a:gd name="T31" fmla="*/ 88 h 1464"/>
                <a:gd name="T32" fmla="*/ 48 w 1698"/>
                <a:gd name="T33" fmla="*/ 107 h 1464"/>
                <a:gd name="T34" fmla="*/ 47 w 1698"/>
                <a:gd name="T35" fmla="*/ 120 h 1464"/>
                <a:gd name="T36" fmla="*/ 43 w 1698"/>
                <a:gd name="T37" fmla="*/ 121 h 1464"/>
                <a:gd name="T38" fmla="*/ 40 w 1698"/>
                <a:gd name="T39" fmla="*/ 120 h 1464"/>
                <a:gd name="T40" fmla="*/ 35 w 1698"/>
                <a:gd name="T41" fmla="*/ 122 h 1464"/>
                <a:gd name="T42" fmla="*/ 29 w 1698"/>
                <a:gd name="T43" fmla="*/ 123 h 1464"/>
                <a:gd name="T44" fmla="*/ 24 w 1698"/>
                <a:gd name="T45" fmla="*/ 125 h 1464"/>
                <a:gd name="T46" fmla="*/ 20 w 1698"/>
                <a:gd name="T47" fmla="*/ 125 h 1464"/>
                <a:gd name="T48" fmla="*/ 18 w 1698"/>
                <a:gd name="T49" fmla="*/ 122 h 1464"/>
                <a:gd name="T50" fmla="*/ 26 w 1698"/>
                <a:gd name="T51" fmla="*/ 108 h 1464"/>
                <a:gd name="T52" fmla="*/ 24 w 1698"/>
                <a:gd name="T53" fmla="*/ 89 h 1464"/>
                <a:gd name="T54" fmla="*/ 28 w 1698"/>
                <a:gd name="T55" fmla="*/ 85 h 1464"/>
                <a:gd name="T56" fmla="*/ 32 w 1698"/>
                <a:gd name="T57" fmla="*/ 80 h 1464"/>
                <a:gd name="T58" fmla="*/ 36 w 1698"/>
                <a:gd name="T59" fmla="*/ 86 h 1464"/>
                <a:gd name="T60" fmla="*/ 39 w 1698"/>
                <a:gd name="T61" fmla="*/ 80 h 1464"/>
                <a:gd name="T62" fmla="*/ 41 w 1698"/>
                <a:gd name="T63" fmla="*/ 73 h 1464"/>
                <a:gd name="T64" fmla="*/ 38 w 1698"/>
                <a:gd name="T65" fmla="*/ 64 h 1464"/>
                <a:gd name="T66" fmla="*/ 39 w 1698"/>
                <a:gd name="T67" fmla="*/ 59 h 1464"/>
                <a:gd name="T68" fmla="*/ 32 w 1698"/>
                <a:gd name="T69" fmla="*/ 54 h 1464"/>
                <a:gd name="T70" fmla="*/ 32 w 1698"/>
                <a:gd name="T71" fmla="*/ 45 h 1464"/>
                <a:gd name="T72" fmla="*/ 31 w 1698"/>
                <a:gd name="T73" fmla="*/ 41 h 1464"/>
                <a:gd name="T74" fmla="*/ 24 w 1698"/>
                <a:gd name="T75" fmla="*/ 43 h 1464"/>
                <a:gd name="T76" fmla="*/ 17 w 1698"/>
                <a:gd name="T77" fmla="*/ 40 h 1464"/>
                <a:gd name="T78" fmla="*/ 11 w 1698"/>
                <a:gd name="T79" fmla="*/ 38 h 1464"/>
                <a:gd name="T80" fmla="*/ 2 w 1698"/>
                <a:gd name="T81" fmla="*/ 36 h 1464"/>
                <a:gd name="T82" fmla="*/ 0 w 1698"/>
                <a:gd name="T83" fmla="*/ 24 h 1464"/>
                <a:gd name="T84" fmla="*/ 11 w 1698"/>
                <a:gd name="T85" fmla="*/ 18 h 1464"/>
                <a:gd name="T86" fmla="*/ 19 w 1698"/>
                <a:gd name="T87" fmla="*/ 10 h 1464"/>
                <a:gd name="T88" fmla="*/ 28 w 1698"/>
                <a:gd name="T89" fmla="*/ 9 h 1464"/>
                <a:gd name="T90" fmla="*/ 40 w 1698"/>
                <a:gd name="T91" fmla="*/ 6 h 1464"/>
                <a:gd name="T92" fmla="*/ 49 w 1698"/>
                <a:gd name="T93" fmla="*/ 8 h 1464"/>
                <a:gd name="T94" fmla="*/ 56 w 1698"/>
                <a:gd name="T95" fmla="*/ 8 h 1464"/>
                <a:gd name="T96" fmla="*/ 64 w 1698"/>
                <a:gd name="T97" fmla="*/ 7 h 1464"/>
                <a:gd name="T98" fmla="*/ 74 w 1698"/>
                <a:gd name="T99" fmla="*/ 1 h 1464"/>
                <a:gd name="T100" fmla="*/ 83 w 1698"/>
                <a:gd name="T101" fmla="*/ 3 h 1464"/>
                <a:gd name="T102" fmla="*/ 99 w 1698"/>
                <a:gd name="T103" fmla="*/ 9 h 1464"/>
                <a:gd name="T104" fmla="*/ 112 w 1698"/>
                <a:gd name="T105" fmla="*/ 14 h 1464"/>
                <a:gd name="T106" fmla="*/ 119 w 1698"/>
                <a:gd name="T107" fmla="*/ 12 h 1464"/>
                <a:gd name="T108" fmla="*/ 128 w 1698"/>
                <a:gd name="T109" fmla="*/ 17 h 1464"/>
                <a:gd name="T110" fmla="*/ 141 w 1698"/>
                <a:gd name="T111" fmla="*/ 29 h 1464"/>
                <a:gd name="T112" fmla="*/ 145 w 1698"/>
                <a:gd name="T113" fmla="*/ 35 h 14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98"/>
                <a:gd name="T172" fmla="*/ 0 h 1464"/>
                <a:gd name="T173" fmla="*/ 1698 w 1698"/>
                <a:gd name="T174" fmla="*/ 1464 h 14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98" h="1464">
                  <a:moveTo>
                    <a:pt x="1698" y="462"/>
                  </a:moveTo>
                  <a:lnTo>
                    <a:pt x="1686" y="468"/>
                  </a:lnTo>
                  <a:lnTo>
                    <a:pt x="1680" y="474"/>
                  </a:lnTo>
                  <a:lnTo>
                    <a:pt x="1674" y="480"/>
                  </a:lnTo>
                  <a:lnTo>
                    <a:pt x="1668" y="480"/>
                  </a:lnTo>
                  <a:lnTo>
                    <a:pt x="1662" y="486"/>
                  </a:lnTo>
                  <a:lnTo>
                    <a:pt x="1656" y="492"/>
                  </a:lnTo>
                  <a:lnTo>
                    <a:pt x="1644" y="498"/>
                  </a:lnTo>
                  <a:lnTo>
                    <a:pt x="1626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0" y="516"/>
                  </a:lnTo>
                  <a:lnTo>
                    <a:pt x="1590" y="522"/>
                  </a:lnTo>
                  <a:lnTo>
                    <a:pt x="1566" y="522"/>
                  </a:lnTo>
                  <a:lnTo>
                    <a:pt x="1506" y="510"/>
                  </a:lnTo>
                  <a:lnTo>
                    <a:pt x="1500" y="510"/>
                  </a:lnTo>
                  <a:lnTo>
                    <a:pt x="1488" y="504"/>
                  </a:lnTo>
                  <a:lnTo>
                    <a:pt x="1482" y="498"/>
                  </a:lnTo>
                  <a:lnTo>
                    <a:pt x="1476" y="498"/>
                  </a:lnTo>
                  <a:lnTo>
                    <a:pt x="1476" y="492"/>
                  </a:lnTo>
                  <a:lnTo>
                    <a:pt x="1470" y="492"/>
                  </a:lnTo>
                  <a:lnTo>
                    <a:pt x="1464" y="486"/>
                  </a:lnTo>
                  <a:lnTo>
                    <a:pt x="1452" y="486"/>
                  </a:lnTo>
                  <a:lnTo>
                    <a:pt x="1446" y="474"/>
                  </a:lnTo>
                  <a:lnTo>
                    <a:pt x="1434" y="468"/>
                  </a:lnTo>
                  <a:lnTo>
                    <a:pt x="1416" y="468"/>
                  </a:lnTo>
                  <a:lnTo>
                    <a:pt x="1392" y="468"/>
                  </a:lnTo>
                  <a:lnTo>
                    <a:pt x="1374" y="474"/>
                  </a:lnTo>
                  <a:lnTo>
                    <a:pt x="1368" y="474"/>
                  </a:lnTo>
                  <a:lnTo>
                    <a:pt x="1368" y="486"/>
                  </a:lnTo>
                  <a:lnTo>
                    <a:pt x="1368" y="498"/>
                  </a:lnTo>
                  <a:lnTo>
                    <a:pt x="1368" y="522"/>
                  </a:lnTo>
                  <a:lnTo>
                    <a:pt x="1368" y="534"/>
                  </a:lnTo>
                  <a:lnTo>
                    <a:pt x="1362" y="546"/>
                  </a:lnTo>
                  <a:lnTo>
                    <a:pt x="1356" y="546"/>
                  </a:lnTo>
                  <a:lnTo>
                    <a:pt x="1344" y="540"/>
                  </a:lnTo>
                  <a:lnTo>
                    <a:pt x="1338" y="534"/>
                  </a:lnTo>
                  <a:lnTo>
                    <a:pt x="1308" y="522"/>
                  </a:lnTo>
                  <a:lnTo>
                    <a:pt x="1296" y="522"/>
                  </a:lnTo>
                  <a:lnTo>
                    <a:pt x="1278" y="528"/>
                  </a:lnTo>
                  <a:lnTo>
                    <a:pt x="1260" y="534"/>
                  </a:lnTo>
                  <a:lnTo>
                    <a:pt x="1242" y="546"/>
                  </a:lnTo>
                  <a:lnTo>
                    <a:pt x="1236" y="552"/>
                  </a:lnTo>
                  <a:lnTo>
                    <a:pt x="1224" y="558"/>
                  </a:lnTo>
                  <a:lnTo>
                    <a:pt x="1218" y="558"/>
                  </a:lnTo>
                  <a:lnTo>
                    <a:pt x="1218" y="564"/>
                  </a:lnTo>
                  <a:lnTo>
                    <a:pt x="1224" y="570"/>
                  </a:lnTo>
                  <a:lnTo>
                    <a:pt x="1224" y="582"/>
                  </a:lnTo>
                  <a:lnTo>
                    <a:pt x="1224" y="594"/>
                  </a:lnTo>
                  <a:lnTo>
                    <a:pt x="1212" y="618"/>
                  </a:lnTo>
                  <a:lnTo>
                    <a:pt x="1212" y="624"/>
                  </a:lnTo>
                  <a:lnTo>
                    <a:pt x="1212" y="630"/>
                  </a:lnTo>
                  <a:lnTo>
                    <a:pt x="1212" y="636"/>
                  </a:lnTo>
                  <a:lnTo>
                    <a:pt x="1218" y="654"/>
                  </a:lnTo>
                  <a:lnTo>
                    <a:pt x="1224" y="672"/>
                  </a:lnTo>
                  <a:lnTo>
                    <a:pt x="1230" y="696"/>
                  </a:lnTo>
                  <a:lnTo>
                    <a:pt x="1236" y="708"/>
                  </a:lnTo>
                  <a:lnTo>
                    <a:pt x="1236" y="714"/>
                  </a:lnTo>
                  <a:lnTo>
                    <a:pt x="1236" y="720"/>
                  </a:lnTo>
                  <a:lnTo>
                    <a:pt x="1218" y="726"/>
                  </a:lnTo>
                  <a:lnTo>
                    <a:pt x="1212" y="726"/>
                  </a:lnTo>
                  <a:lnTo>
                    <a:pt x="1206" y="726"/>
                  </a:lnTo>
                  <a:lnTo>
                    <a:pt x="1194" y="720"/>
                  </a:lnTo>
                  <a:lnTo>
                    <a:pt x="1194" y="714"/>
                  </a:lnTo>
                  <a:lnTo>
                    <a:pt x="1176" y="714"/>
                  </a:lnTo>
                  <a:lnTo>
                    <a:pt x="1164" y="708"/>
                  </a:lnTo>
                  <a:lnTo>
                    <a:pt x="1158" y="708"/>
                  </a:lnTo>
                  <a:lnTo>
                    <a:pt x="1140" y="702"/>
                  </a:lnTo>
                  <a:lnTo>
                    <a:pt x="1134" y="696"/>
                  </a:lnTo>
                  <a:lnTo>
                    <a:pt x="1128" y="690"/>
                  </a:lnTo>
                  <a:lnTo>
                    <a:pt x="1116" y="678"/>
                  </a:lnTo>
                  <a:lnTo>
                    <a:pt x="1110" y="678"/>
                  </a:lnTo>
                  <a:lnTo>
                    <a:pt x="1104" y="672"/>
                  </a:lnTo>
                  <a:lnTo>
                    <a:pt x="1092" y="672"/>
                  </a:lnTo>
                  <a:lnTo>
                    <a:pt x="1086" y="672"/>
                  </a:lnTo>
                  <a:lnTo>
                    <a:pt x="1080" y="672"/>
                  </a:lnTo>
                  <a:lnTo>
                    <a:pt x="1074" y="672"/>
                  </a:lnTo>
                  <a:lnTo>
                    <a:pt x="1068" y="672"/>
                  </a:lnTo>
                  <a:lnTo>
                    <a:pt x="1062" y="678"/>
                  </a:lnTo>
                  <a:lnTo>
                    <a:pt x="1056" y="678"/>
                  </a:lnTo>
                  <a:lnTo>
                    <a:pt x="1056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6"/>
                  </a:lnTo>
                  <a:lnTo>
                    <a:pt x="1032" y="708"/>
                  </a:lnTo>
                  <a:lnTo>
                    <a:pt x="1026" y="708"/>
                  </a:lnTo>
                  <a:lnTo>
                    <a:pt x="1032" y="714"/>
                  </a:lnTo>
                  <a:lnTo>
                    <a:pt x="1026" y="720"/>
                  </a:lnTo>
                  <a:lnTo>
                    <a:pt x="1020" y="720"/>
                  </a:lnTo>
                  <a:lnTo>
                    <a:pt x="1014" y="732"/>
                  </a:lnTo>
                  <a:lnTo>
                    <a:pt x="1014" y="744"/>
                  </a:lnTo>
                  <a:lnTo>
                    <a:pt x="1038" y="810"/>
                  </a:lnTo>
                  <a:lnTo>
                    <a:pt x="1050" y="834"/>
                  </a:lnTo>
                  <a:lnTo>
                    <a:pt x="1056" y="858"/>
                  </a:lnTo>
                  <a:lnTo>
                    <a:pt x="1062" y="876"/>
                  </a:lnTo>
                  <a:lnTo>
                    <a:pt x="1068" y="882"/>
                  </a:lnTo>
                  <a:lnTo>
                    <a:pt x="1062" y="972"/>
                  </a:lnTo>
                  <a:lnTo>
                    <a:pt x="1056" y="972"/>
                  </a:lnTo>
                  <a:lnTo>
                    <a:pt x="1050" y="996"/>
                  </a:lnTo>
                  <a:lnTo>
                    <a:pt x="1044" y="1014"/>
                  </a:lnTo>
                  <a:lnTo>
                    <a:pt x="1008" y="1014"/>
                  </a:lnTo>
                  <a:lnTo>
                    <a:pt x="1008" y="1008"/>
                  </a:lnTo>
                  <a:lnTo>
                    <a:pt x="990" y="1008"/>
                  </a:lnTo>
                  <a:lnTo>
                    <a:pt x="972" y="1014"/>
                  </a:lnTo>
                  <a:lnTo>
                    <a:pt x="948" y="1020"/>
                  </a:lnTo>
                  <a:lnTo>
                    <a:pt x="918" y="1026"/>
                  </a:lnTo>
                  <a:lnTo>
                    <a:pt x="840" y="1032"/>
                  </a:lnTo>
                  <a:lnTo>
                    <a:pt x="834" y="1032"/>
                  </a:lnTo>
                  <a:lnTo>
                    <a:pt x="834" y="1026"/>
                  </a:lnTo>
                  <a:lnTo>
                    <a:pt x="822" y="1026"/>
                  </a:lnTo>
                  <a:lnTo>
                    <a:pt x="816" y="1032"/>
                  </a:lnTo>
                  <a:lnTo>
                    <a:pt x="804" y="1032"/>
                  </a:lnTo>
                  <a:lnTo>
                    <a:pt x="798" y="1026"/>
                  </a:lnTo>
                  <a:lnTo>
                    <a:pt x="780" y="1026"/>
                  </a:lnTo>
                  <a:lnTo>
                    <a:pt x="762" y="1026"/>
                  </a:lnTo>
                  <a:lnTo>
                    <a:pt x="756" y="1026"/>
                  </a:lnTo>
                  <a:lnTo>
                    <a:pt x="750" y="1026"/>
                  </a:lnTo>
                  <a:lnTo>
                    <a:pt x="756" y="1020"/>
                  </a:lnTo>
                  <a:lnTo>
                    <a:pt x="750" y="1020"/>
                  </a:lnTo>
                  <a:lnTo>
                    <a:pt x="744" y="1014"/>
                  </a:lnTo>
                  <a:lnTo>
                    <a:pt x="684" y="1020"/>
                  </a:lnTo>
                  <a:lnTo>
                    <a:pt x="648" y="1020"/>
                  </a:lnTo>
                  <a:lnTo>
                    <a:pt x="630" y="1020"/>
                  </a:lnTo>
                  <a:lnTo>
                    <a:pt x="618" y="1020"/>
                  </a:lnTo>
                  <a:lnTo>
                    <a:pt x="606" y="1014"/>
                  </a:lnTo>
                  <a:lnTo>
                    <a:pt x="582" y="1014"/>
                  </a:lnTo>
                  <a:lnTo>
                    <a:pt x="576" y="1014"/>
                  </a:lnTo>
                  <a:lnTo>
                    <a:pt x="570" y="1014"/>
                  </a:lnTo>
                  <a:lnTo>
                    <a:pt x="564" y="1020"/>
                  </a:lnTo>
                  <a:lnTo>
                    <a:pt x="558" y="1026"/>
                  </a:lnTo>
                  <a:lnTo>
                    <a:pt x="552" y="1032"/>
                  </a:lnTo>
                  <a:lnTo>
                    <a:pt x="552" y="1038"/>
                  </a:lnTo>
                  <a:lnTo>
                    <a:pt x="558" y="1194"/>
                  </a:lnTo>
                  <a:lnTo>
                    <a:pt x="558" y="1206"/>
                  </a:lnTo>
                  <a:lnTo>
                    <a:pt x="552" y="1218"/>
                  </a:lnTo>
                  <a:lnTo>
                    <a:pt x="552" y="1236"/>
                  </a:lnTo>
                  <a:lnTo>
                    <a:pt x="546" y="1272"/>
                  </a:lnTo>
                  <a:lnTo>
                    <a:pt x="546" y="1308"/>
                  </a:lnTo>
                  <a:lnTo>
                    <a:pt x="540" y="1332"/>
                  </a:lnTo>
                  <a:lnTo>
                    <a:pt x="546" y="1356"/>
                  </a:lnTo>
                  <a:lnTo>
                    <a:pt x="546" y="1362"/>
                  </a:lnTo>
                  <a:lnTo>
                    <a:pt x="546" y="1374"/>
                  </a:lnTo>
                  <a:lnTo>
                    <a:pt x="546" y="1380"/>
                  </a:lnTo>
                  <a:lnTo>
                    <a:pt x="540" y="1380"/>
                  </a:lnTo>
                  <a:lnTo>
                    <a:pt x="522" y="1380"/>
                  </a:lnTo>
                  <a:lnTo>
                    <a:pt x="516" y="1380"/>
                  </a:lnTo>
                  <a:lnTo>
                    <a:pt x="516" y="1386"/>
                  </a:lnTo>
                  <a:lnTo>
                    <a:pt x="516" y="1392"/>
                  </a:lnTo>
                  <a:lnTo>
                    <a:pt x="510" y="1392"/>
                  </a:lnTo>
                  <a:lnTo>
                    <a:pt x="504" y="1386"/>
                  </a:lnTo>
                  <a:lnTo>
                    <a:pt x="498" y="1392"/>
                  </a:lnTo>
                  <a:lnTo>
                    <a:pt x="492" y="1398"/>
                  </a:lnTo>
                  <a:lnTo>
                    <a:pt x="486" y="1398"/>
                  </a:lnTo>
                  <a:lnTo>
                    <a:pt x="486" y="1392"/>
                  </a:lnTo>
                  <a:lnTo>
                    <a:pt x="486" y="1380"/>
                  </a:lnTo>
                  <a:lnTo>
                    <a:pt x="486" y="1374"/>
                  </a:lnTo>
                  <a:lnTo>
                    <a:pt x="480" y="1374"/>
                  </a:lnTo>
                  <a:lnTo>
                    <a:pt x="474" y="1374"/>
                  </a:lnTo>
                  <a:lnTo>
                    <a:pt x="468" y="1380"/>
                  </a:lnTo>
                  <a:lnTo>
                    <a:pt x="462" y="1380"/>
                  </a:lnTo>
                  <a:lnTo>
                    <a:pt x="456" y="1380"/>
                  </a:lnTo>
                  <a:lnTo>
                    <a:pt x="450" y="1386"/>
                  </a:lnTo>
                  <a:lnTo>
                    <a:pt x="444" y="1386"/>
                  </a:lnTo>
                  <a:lnTo>
                    <a:pt x="444" y="1392"/>
                  </a:lnTo>
                  <a:lnTo>
                    <a:pt x="432" y="1398"/>
                  </a:lnTo>
                  <a:lnTo>
                    <a:pt x="426" y="1404"/>
                  </a:lnTo>
                  <a:lnTo>
                    <a:pt x="420" y="1404"/>
                  </a:lnTo>
                  <a:lnTo>
                    <a:pt x="408" y="1404"/>
                  </a:lnTo>
                  <a:lnTo>
                    <a:pt x="378" y="1410"/>
                  </a:lnTo>
                  <a:lnTo>
                    <a:pt x="372" y="1410"/>
                  </a:lnTo>
                  <a:lnTo>
                    <a:pt x="360" y="1410"/>
                  </a:lnTo>
                  <a:lnTo>
                    <a:pt x="354" y="1416"/>
                  </a:lnTo>
                  <a:lnTo>
                    <a:pt x="348" y="1416"/>
                  </a:lnTo>
                  <a:lnTo>
                    <a:pt x="342" y="1410"/>
                  </a:lnTo>
                  <a:lnTo>
                    <a:pt x="336" y="1410"/>
                  </a:lnTo>
                  <a:lnTo>
                    <a:pt x="336" y="1416"/>
                  </a:lnTo>
                  <a:lnTo>
                    <a:pt x="330" y="1422"/>
                  </a:lnTo>
                  <a:lnTo>
                    <a:pt x="324" y="1422"/>
                  </a:lnTo>
                  <a:lnTo>
                    <a:pt x="318" y="1422"/>
                  </a:lnTo>
                  <a:lnTo>
                    <a:pt x="312" y="1428"/>
                  </a:lnTo>
                  <a:lnTo>
                    <a:pt x="312" y="1434"/>
                  </a:lnTo>
                  <a:lnTo>
                    <a:pt x="300" y="1428"/>
                  </a:lnTo>
                  <a:lnTo>
                    <a:pt x="288" y="1434"/>
                  </a:lnTo>
                  <a:lnTo>
                    <a:pt x="282" y="1440"/>
                  </a:lnTo>
                  <a:lnTo>
                    <a:pt x="282" y="1446"/>
                  </a:lnTo>
                  <a:lnTo>
                    <a:pt x="276" y="1446"/>
                  </a:lnTo>
                  <a:lnTo>
                    <a:pt x="276" y="1452"/>
                  </a:lnTo>
                  <a:lnTo>
                    <a:pt x="270" y="1452"/>
                  </a:lnTo>
                  <a:lnTo>
                    <a:pt x="258" y="1464"/>
                  </a:lnTo>
                  <a:lnTo>
                    <a:pt x="240" y="1458"/>
                  </a:lnTo>
                  <a:lnTo>
                    <a:pt x="234" y="1452"/>
                  </a:lnTo>
                  <a:lnTo>
                    <a:pt x="234" y="1446"/>
                  </a:lnTo>
                  <a:lnTo>
                    <a:pt x="228" y="1446"/>
                  </a:lnTo>
                  <a:lnTo>
                    <a:pt x="222" y="1440"/>
                  </a:lnTo>
                  <a:lnTo>
                    <a:pt x="216" y="1440"/>
                  </a:lnTo>
                  <a:lnTo>
                    <a:pt x="210" y="1428"/>
                  </a:lnTo>
                  <a:lnTo>
                    <a:pt x="210" y="1422"/>
                  </a:lnTo>
                  <a:lnTo>
                    <a:pt x="198" y="1416"/>
                  </a:lnTo>
                  <a:lnTo>
                    <a:pt x="204" y="1410"/>
                  </a:lnTo>
                  <a:lnTo>
                    <a:pt x="210" y="1404"/>
                  </a:lnTo>
                  <a:lnTo>
                    <a:pt x="210" y="1398"/>
                  </a:lnTo>
                  <a:lnTo>
                    <a:pt x="252" y="1368"/>
                  </a:lnTo>
                  <a:lnTo>
                    <a:pt x="276" y="1350"/>
                  </a:lnTo>
                  <a:lnTo>
                    <a:pt x="300" y="1338"/>
                  </a:lnTo>
                  <a:lnTo>
                    <a:pt x="294" y="1314"/>
                  </a:lnTo>
                  <a:lnTo>
                    <a:pt x="288" y="1308"/>
                  </a:lnTo>
                  <a:lnTo>
                    <a:pt x="300" y="1266"/>
                  </a:lnTo>
                  <a:lnTo>
                    <a:pt x="300" y="1242"/>
                  </a:lnTo>
                  <a:lnTo>
                    <a:pt x="300" y="1206"/>
                  </a:lnTo>
                  <a:lnTo>
                    <a:pt x="300" y="1164"/>
                  </a:lnTo>
                  <a:lnTo>
                    <a:pt x="294" y="1134"/>
                  </a:lnTo>
                  <a:lnTo>
                    <a:pt x="282" y="1086"/>
                  </a:lnTo>
                  <a:lnTo>
                    <a:pt x="276" y="1074"/>
                  </a:lnTo>
                  <a:lnTo>
                    <a:pt x="276" y="1056"/>
                  </a:lnTo>
                  <a:lnTo>
                    <a:pt x="270" y="1038"/>
                  </a:lnTo>
                  <a:lnTo>
                    <a:pt x="270" y="1020"/>
                  </a:lnTo>
                  <a:lnTo>
                    <a:pt x="282" y="1020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94" y="1002"/>
                  </a:lnTo>
                  <a:lnTo>
                    <a:pt x="306" y="996"/>
                  </a:lnTo>
                  <a:lnTo>
                    <a:pt x="312" y="990"/>
                  </a:lnTo>
                  <a:lnTo>
                    <a:pt x="318" y="990"/>
                  </a:lnTo>
                  <a:lnTo>
                    <a:pt x="324" y="984"/>
                  </a:lnTo>
                  <a:lnTo>
                    <a:pt x="324" y="978"/>
                  </a:lnTo>
                  <a:lnTo>
                    <a:pt x="324" y="972"/>
                  </a:lnTo>
                  <a:lnTo>
                    <a:pt x="324" y="954"/>
                  </a:lnTo>
                  <a:lnTo>
                    <a:pt x="336" y="948"/>
                  </a:lnTo>
                  <a:lnTo>
                    <a:pt x="342" y="936"/>
                  </a:lnTo>
                  <a:lnTo>
                    <a:pt x="348" y="924"/>
                  </a:lnTo>
                  <a:lnTo>
                    <a:pt x="354" y="924"/>
                  </a:lnTo>
                  <a:lnTo>
                    <a:pt x="372" y="924"/>
                  </a:lnTo>
                  <a:lnTo>
                    <a:pt x="372" y="930"/>
                  </a:lnTo>
                  <a:lnTo>
                    <a:pt x="378" y="930"/>
                  </a:lnTo>
                  <a:lnTo>
                    <a:pt x="378" y="936"/>
                  </a:lnTo>
                  <a:lnTo>
                    <a:pt x="384" y="936"/>
                  </a:lnTo>
                  <a:lnTo>
                    <a:pt x="384" y="942"/>
                  </a:lnTo>
                  <a:lnTo>
                    <a:pt x="402" y="942"/>
                  </a:lnTo>
                  <a:lnTo>
                    <a:pt x="402" y="996"/>
                  </a:lnTo>
                  <a:lnTo>
                    <a:pt x="414" y="996"/>
                  </a:lnTo>
                  <a:lnTo>
                    <a:pt x="420" y="996"/>
                  </a:lnTo>
                  <a:lnTo>
                    <a:pt x="426" y="996"/>
                  </a:lnTo>
                  <a:lnTo>
                    <a:pt x="432" y="996"/>
                  </a:lnTo>
                  <a:lnTo>
                    <a:pt x="438" y="996"/>
                  </a:lnTo>
                  <a:lnTo>
                    <a:pt x="438" y="942"/>
                  </a:lnTo>
                  <a:lnTo>
                    <a:pt x="444" y="930"/>
                  </a:lnTo>
                  <a:lnTo>
                    <a:pt x="444" y="924"/>
                  </a:lnTo>
                  <a:lnTo>
                    <a:pt x="444" y="918"/>
                  </a:lnTo>
                  <a:lnTo>
                    <a:pt x="462" y="918"/>
                  </a:lnTo>
                  <a:lnTo>
                    <a:pt x="474" y="906"/>
                  </a:lnTo>
                  <a:lnTo>
                    <a:pt x="480" y="900"/>
                  </a:lnTo>
                  <a:lnTo>
                    <a:pt x="486" y="888"/>
                  </a:lnTo>
                  <a:lnTo>
                    <a:pt x="492" y="876"/>
                  </a:lnTo>
                  <a:lnTo>
                    <a:pt x="492" y="858"/>
                  </a:lnTo>
                  <a:lnTo>
                    <a:pt x="480" y="858"/>
                  </a:lnTo>
                  <a:lnTo>
                    <a:pt x="474" y="840"/>
                  </a:lnTo>
                  <a:lnTo>
                    <a:pt x="450" y="834"/>
                  </a:lnTo>
                  <a:lnTo>
                    <a:pt x="438" y="816"/>
                  </a:lnTo>
                  <a:lnTo>
                    <a:pt x="432" y="792"/>
                  </a:lnTo>
                  <a:lnTo>
                    <a:pt x="432" y="786"/>
                  </a:lnTo>
                  <a:lnTo>
                    <a:pt x="432" y="774"/>
                  </a:lnTo>
                  <a:lnTo>
                    <a:pt x="432" y="762"/>
                  </a:lnTo>
                  <a:lnTo>
                    <a:pt x="438" y="750"/>
                  </a:lnTo>
                  <a:lnTo>
                    <a:pt x="438" y="738"/>
                  </a:lnTo>
                  <a:lnTo>
                    <a:pt x="444" y="732"/>
                  </a:lnTo>
                  <a:lnTo>
                    <a:pt x="450" y="732"/>
                  </a:lnTo>
                  <a:lnTo>
                    <a:pt x="456" y="732"/>
                  </a:lnTo>
                  <a:lnTo>
                    <a:pt x="456" y="726"/>
                  </a:lnTo>
                  <a:lnTo>
                    <a:pt x="456" y="714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44" y="684"/>
                  </a:lnTo>
                  <a:lnTo>
                    <a:pt x="438" y="666"/>
                  </a:lnTo>
                  <a:lnTo>
                    <a:pt x="426" y="666"/>
                  </a:lnTo>
                  <a:lnTo>
                    <a:pt x="432" y="666"/>
                  </a:lnTo>
                  <a:lnTo>
                    <a:pt x="420" y="666"/>
                  </a:lnTo>
                  <a:lnTo>
                    <a:pt x="414" y="660"/>
                  </a:lnTo>
                  <a:lnTo>
                    <a:pt x="396" y="654"/>
                  </a:lnTo>
                  <a:lnTo>
                    <a:pt x="384" y="642"/>
                  </a:lnTo>
                  <a:lnTo>
                    <a:pt x="366" y="624"/>
                  </a:lnTo>
                  <a:lnTo>
                    <a:pt x="354" y="606"/>
                  </a:lnTo>
                  <a:lnTo>
                    <a:pt x="342" y="588"/>
                  </a:lnTo>
                  <a:lnTo>
                    <a:pt x="342" y="582"/>
                  </a:lnTo>
                  <a:lnTo>
                    <a:pt x="360" y="564"/>
                  </a:lnTo>
                  <a:lnTo>
                    <a:pt x="372" y="540"/>
                  </a:lnTo>
                  <a:lnTo>
                    <a:pt x="366" y="528"/>
                  </a:lnTo>
                  <a:lnTo>
                    <a:pt x="366" y="522"/>
                  </a:lnTo>
                  <a:lnTo>
                    <a:pt x="372" y="516"/>
                  </a:lnTo>
                  <a:lnTo>
                    <a:pt x="384" y="504"/>
                  </a:lnTo>
                  <a:lnTo>
                    <a:pt x="378" y="492"/>
                  </a:lnTo>
                  <a:lnTo>
                    <a:pt x="378" y="486"/>
                  </a:lnTo>
                  <a:lnTo>
                    <a:pt x="378" y="480"/>
                  </a:lnTo>
                  <a:lnTo>
                    <a:pt x="378" y="474"/>
                  </a:lnTo>
                  <a:lnTo>
                    <a:pt x="378" y="468"/>
                  </a:lnTo>
                  <a:lnTo>
                    <a:pt x="366" y="468"/>
                  </a:lnTo>
                  <a:lnTo>
                    <a:pt x="360" y="474"/>
                  </a:lnTo>
                  <a:lnTo>
                    <a:pt x="354" y="480"/>
                  </a:lnTo>
                  <a:lnTo>
                    <a:pt x="348" y="486"/>
                  </a:lnTo>
                  <a:lnTo>
                    <a:pt x="348" y="492"/>
                  </a:lnTo>
                  <a:lnTo>
                    <a:pt x="336" y="510"/>
                  </a:lnTo>
                  <a:lnTo>
                    <a:pt x="300" y="516"/>
                  </a:lnTo>
                  <a:lnTo>
                    <a:pt x="300" y="510"/>
                  </a:lnTo>
                  <a:lnTo>
                    <a:pt x="282" y="504"/>
                  </a:lnTo>
                  <a:lnTo>
                    <a:pt x="282" y="498"/>
                  </a:lnTo>
                  <a:lnTo>
                    <a:pt x="264" y="486"/>
                  </a:lnTo>
                  <a:lnTo>
                    <a:pt x="258" y="492"/>
                  </a:lnTo>
                  <a:lnTo>
                    <a:pt x="234" y="492"/>
                  </a:lnTo>
                  <a:lnTo>
                    <a:pt x="222" y="486"/>
                  </a:lnTo>
                  <a:lnTo>
                    <a:pt x="204" y="480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92" y="462"/>
                  </a:lnTo>
                  <a:lnTo>
                    <a:pt x="186" y="462"/>
                  </a:lnTo>
                  <a:lnTo>
                    <a:pt x="180" y="468"/>
                  </a:lnTo>
                  <a:lnTo>
                    <a:pt x="150" y="450"/>
                  </a:lnTo>
                  <a:lnTo>
                    <a:pt x="144" y="438"/>
                  </a:lnTo>
                  <a:lnTo>
                    <a:pt x="138" y="438"/>
                  </a:lnTo>
                  <a:lnTo>
                    <a:pt x="132" y="432"/>
                  </a:lnTo>
                  <a:lnTo>
                    <a:pt x="126" y="432"/>
                  </a:lnTo>
                  <a:lnTo>
                    <a:pt x="120" y="432"/>
                  </a:lnTo>
                  <a:lnTo>
                    <a:pt x="102" y="426"/>
                  </a:lnTo>
                  <a:lnTo>
                    <a:pt x="96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2" y="414"/>
                  </a:lnTo>
                  <a:lnTo>
                    <a:pt x="60" y="414"/>
                  </a:lnTo>
                  <a:lnTo>
                    <a:pt x="30" y="414"/>
                  </a:lnTo>
                  <a:lnTo>
                    <a:pt x="24" y="414"/>
                  </a:lnTo>
                  <a:lnTo>
                    <a:pt x="12" y="414"/>
                  </a:lnTo>
                  <a:lnTo>
                    <a:pt x="0" y="420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0" y="336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30" y="270"/>
                  </a:lnTo>
                  <a:lnTo>
                    <a:pt x="42" y="270"/>
                  </a:lnTo>
                  <a:lnTo>
                    <a:pt x="54" y="264"/>
                  </a:lnTo>
                  <a:lnTo>
                    <a:pt x="78" y="240"/>
                  </a:lnTo>
                  <a:lnTo>
                    <a:pt x="102" y="216"/>
                  </a:lnTo>
                  <a:lnTo>
                    <a:pt x="114" y="210"/>
                  </a:lnTo>
                  <a:lnTo>
                    <a:pt x="120" y="204"/>
                  </a:lnTo>
                  <a:lnTo>
                    <a:pt x="126" y="198"/>
                  </a:lnTo>
                  <a:lnTo>
                    <a:pt x="138" y="18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38"/>
                  </a:lnTo>
                  <a:lnTo>
                    <a:pt x="210" y="126"/>
                  </a:lnTo>
                  <a:lnTo>
                    <a:pt x="216" y="120"/>
                  </a:lnTo>
                  <a:lnTo>
                    <a:pt x="222" y="120"/>
                  </a:lnTo>
                  <a:lnTo>
                    <a:pt x="258" y="114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300" y="102"/>
                  </a:lnTo>
                  <a:lnTo>
                    <a:pt x="312" y="102"/>
                  </a:lnTo>
                  <a:lnTo>
                    <a:pt x="318" y="102"/>
                  </a:lnTo>
                  <a:lnTo>
                    <a:pt x="348" y="96"/>
                  </a:lnTo>
                  <a:lnTo>
                    <a:pt x="366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408" y="84"/>
                  </a:lnTo>
                  <a:lnTo>
                    <a:pt x="420" y="84"/>
                  </a:lnTo>
                  <a:lnTo>
                    <a:pt x="462" y="72"/>
                  </a:lnTo>
                  <a:lnTo>
                    <a:pt x="474" y="72"/>
                  </a:lnTo>
                  <a:lnTo>
                    <a:pt x="474" y="78"/>
                  </a:lnTo>
                  <a:lnTo>
                    <a:pt x="492" y="90"/>
                  </a:lnTo>
                  <a:lnTo>
                    <a:pt x="498" y="90"/>
                  </a:lnTo>
                  <a:lnTo>
                    <a:pt x="522" y="96"/>
                  </a:lnTo>
                  <a:lnTo>
                    <a:pt x="540" y="96"/>
                  </a:lnTo>
                  <a:lnTo>
                    <a:pt x="546" y="96"/>
                  </a:lnTo>
                  <a:lnTo>
                    <a:pt x="558" y="96"/>
                  </a:lnTo>
                  <a:lnTo>
                    <a:pt x="564" y="96"/>
                  </a:lnTo>
                  <a:lnTo>
                    <a:pt x="576" y="96"/>
                  </a:lnTo>
                  <a:lnTo>
                    <a:pt x="588" y="96"/>
                  </a:lnTo>
                  <a:lnTo>
                    <a:pt x="612" y="90"/>
                  </a:lnTo>
                  <a:lnTo>
                    <a:pt x="624" y="90"/>
                  </a:lnTo>
                  <a:lnTo>
                    <a:pt x="636" y="90"/>
                  </a:lnTo>
                  <a:lnTo>
                    <a:pt x="642" y="90"/>
                  </a:lnTo>
                  <a:lnTo>
                    <a:pt x="648" y="96"/>
                  </a:lnTo>
                  <a:lnTo>
                    <a:pt x="660" y="96"/>
                  </a:lnTo>
                  <a:lnTo>
                    <a:pt x="666" y="96"/>
                  </a:lnTo>
                  <a:lnTo>
                    <a:pt x="672" y="96"/>
                  </a:lnTo>
                  <a:lnTo>
                    <a:pt x="684" y="96"/>
                  </a:lnTo>
                  <a:lnTo>
                    <a:pt x="708" y="96"/>
                  </a:lnTo>
                  <a:lnTo>
                    <a:pt x="714" y="96"/>
                  </a:lnTo>
                  <a:lnTo>
                    <a:pt x="726" y="96"/>
                  </a:lnTo>
                  <a:lnTo>
                    <a:pt x="738" y="84"/>
                  </a:lnTo>
                  <a:lnTo>
                    <a:pt x="744" y="78"/>
                  </a:lnTo>
                  <a:lnTo>
                    <a:pt x="756" y="66"/>
                  </a:lnTo>
                  <a:lnTo>
                    <a:pt x="774" y="42"/>
                  </a:lnTo>
                  <a:lnTo>
                    <a:pt x="780" y="30"/>
                  </a:lnTo>
                  <a:lnTo>
                    <a:pt x="816" y="24"/>
                  </a:lnTo>
                  <a:lnTo>
                    <a:pt x="840" y="18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64" y="6"/>
                  </a:lnTo>
                  <a:lnTo>
                    <a:pt x="870" y="6"/>
                  </a:lnTo>
                  <a:lnTo>
                    <a:pt x="894" y="0"/>
                  </a:lnTo>
                  <a:lnTo>
                    <a:pt x="900" y="6"/>
                  </a:lnTo>
                  <a:lnTo>
                    <a:pt x="930" y="18"/>
                  </a:lnTo>
                  <a:lnTo>
                    <a:pt x="942" y="24"/>
                  </a:lnTo>
                  <a:lnTo>
                    <a:pt x="954" y="30"/>
                  </a:lnTo>
                  <a:lnTo>
                    <a:pt x="1026" y="60"/>
                  </a:lnTo>
                  <a:lnTo>
                    <a:pt x="1032" y="60"/>
                  </a:lnTo>
                  <a:lnTo>
                    <a:pt x="1038" y="66"/>
                  </a:lnTo>
                  <a:lnTo>
                    <a:pt x="1068" y="72"/>
                  </a:lnTo>
                  <a:lnTo>
                    <a:pt x="1098" y="84"/>
                  </a:lnTo>
                  <a:lnTo>
                    <a:pt x="1122" y="90"/>
                  </a:lnTo>
                  <a:lnTo>
                    <a:pt x="1122" y="96"/>
                  </a:lnTo>
                  <a:lnTo>
                    <a:pt x="1140" y="102"/>
                  </a:lnTo>
                  <a:lnTo>
                    <a:pt x="1182" y="114"/>
                  </a:lnTo>
                  <a:lnTo>
                    <a:pt x="1188" y="114"/>
                  </a:lnTo>
                  <a:lnTo>
                    <a:pt x="1200" y="120"/>
                  </a:lnTo>
                  <a:lnTo>
                    <a:pt x="1212" y="126"/>
                  </a:lnTo>
                  <a:lnTo>
                    <a:pt x="1224" y="126"/>
                  </a:lnTo>
                  <a:lnTo>
                    <a:pt x="1248" y="138"/>
                  </a:lnTo>
                  <a:lnTo>
                    <a:pt x="1272" y="150"/>
                  </a:lnTo>
                  <a:lnTo>
                    <a:pt x="1284" y="156"/>
                  </a:lnTo>
                  <a:lnTo>
                    <a:pt x="1290" y="162"/>
                  </a:lnTo>
                  <a:lnTo>
                    <a:pt x="1296" y="162"/>
                  </a:lnTo>
                  <a:lnTo>
                    <a:pt x="1308" y="156"/>
                  </a:lnTo>
                  <a:lnTo>
                    <a:pt x="1320" y="150"/>
                  </a:lnTo>
                  <a:lnTo>
                    <a:pt x="1326" y="150"/>
                  </a:lnTo>
                  <a:lnTo>
                    <a:pt x="1338" y="144"/>
                  </a:lnTo>
                  <a:lnTo>
                    <a:pt x="1362" y="144"/>
                  </a:lnTo>
                  <a:lnTo>
                    <a:pt x="1368" y="144"/>
                  </a:lnTo>
                  <a:lnTo>
                    <a:pt x="1374" y="144"/>
                  </a:lnTo>
                  <a:lnTo>
                    <a:pt x="1386" y="150"/>
                  </a:lnTo>
                  <a:lnTo>
                    <a:pt x="1392" y="150"/>
                  </a:lnTo>
                  <a:lnTo>
                    <a:pt x="1398" y="150"/>
                  </a:lnTo>
                  <a:lnTo>
                    <a:pt x="1416" y="162"/>
                  </a:lnTo>
                  <a:lnTo>
                    <a:pt x="1458" y="186"/>
                  </a:lnTo>
                  <a:lnTo>
                    <a:pt x="1464" y="186"/>
                  </a:lnTo>
                  <a:lnTo>
                    <a:pt x="1470" y="192"/>
                  </a:lnTo>
                  <a:lnTo>
                    <a:pt x="1482" y="204"/>
                  </a:lnTo>
                  <a:lnTo>
                    <a:pt x="1512" y="234"/>
                  </a:lnTo>
                  <a:lnTo>
                    <a:pt x="1554" y="276"/>
                  </a:lnTo>
                  <a:lnTo>
                    <a:pt x="1560" y="276"/>
                  </a:lnTo>
                  <a:lnTo>
                    <a:pt x="1566" y="282"/>
                  </a:lnTo>
                  <a:lnTo>
                    <a:pt x="1578" y="294"/>
                  </a:lnTo>
                  <a:lnTo>
                    <a:pt x="1602" y="318"/>
                  </a:lnTo>
                  <a:lnTo>
                    <a:pt x="1614" y="330"/>
                  </a:lnTo>
                  <a:lnTo>
                    <a:pt x="1620" y="336"/>
                  </a:lnTo>
                  <a:lnTo>
                    <a:pt x="1626" y="342"/>
                  </a:lnTo>
                  <a:lnTo>
                    <a:pt x="1632" y="354"/>
                  </a:lnTo>
                  <a:lnTo>
                    <a:pt x="1644" y="366"/>
                  </a:lnTo>
                  <a:lnTo>
                    <a:pt x="1650" y="378"/>
                  </a:lnTo>
                  <a:lnTo>
                    <a:pt x="1650" y="384"/>
                  </a:lnTo>
                  <a:lnTo>
                    <a:pt x="1656" y="384"/>
                  </a:lnTo>
                  <a:lnTo>
                    <a:pt x="1662" y="402"/>
                  </a:lnTo>
                  <a:lnTo>
                    <a:pt x="1668" y="408"/>
                  </a:lnTo>
                  <a:lnTo>
                    <a:pt x="1674" y="426"/>
                  </a:lnTo>
                  <a:lnTo>
                    <a:pt x="1686" y="438"/>
                  </a:lnTo>
                  <a:lnTo>
                    <a:pt x="1698" y="46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9" name="Freeform 34">
              <a:extLst>
                <a:ext uri="{FF2B5EF4-FFF2-40B4-BE49-F238E27FC236}">
                  <a16:creationId xmlns:a16="http://schemas.microsoft.com/office/drawing/2014/main" id="{94603F24-8CF7-4226-A433-00D18CA7D9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1988" y="1681402"/>
              <a:ext cx="869877" cy="1060101"/>
            </a:xfrm>
            <a:custGeom>
              <a:avLst/>
              <a:gdLst>
                <a:gd name="T0" fmla="*/ 4 w 1638"/>
                <a:gd name="T1" fmla="*/ 111 h 1998"/>
                <a:gd name="T2" fmla="*/ 6 w 1638"/>
                <a:gd name="T3" fmla="*/ 87 h 1998"/>
                <a:gd name="T4" fmla="*/ 10 w 1638"/>
                <a:gd name="T5" fmla="*/ 80 h 1998"/>
                <a:gd name="T6" fmla="*/ 10 w 1638"/>
                <a:gd name="T7" fmla="*/ 71 h 1998"/>
                <a:gd name="T8" fmla="*/ 9 w 1638"/>
                <a:gd name="T9" fmla="*/ 56 h 1998"/>
                <a:gd name="T10" fmla="*/ 8 w 1638"/>
                <a:gd name="T11" fmla="*/ 40 h 1998"/>
                <a:gd name="T12" fmla="*/ 20 w 1638"/>
                <a:gd name="T13" fmla="*/ 30 h 1998"/>
                <a:gd name="T14" fmla="*/ 30 w 1638"/>
                <a:gd name="T15" fmla="*/ 19 h 1998"/>
                <a:gd name="T16" fmla="*/ 35 w 1638"/>
                <a:gd name="T17" fmla="*/ 2 h 1998"/>
                <a:gd name="T18" fmla="*/ 47 w 1638"/>
                <a:gd name="T19" fmla="*/ 2 h 1998"/>
                <a:gd name="T20" fmla="*/ 56 w 1638"/>
                <a:gd name="T21" fmla="*/ 7 h 1998"/>
                <a:gd name="T22" fmla="*/ 67 w 1638"/>
                <a:gd name="T23" fmla="*/ 5 h 1998"/>
                <a:gd name="T24" fmla="*/ 65 w 1638"/>
                <a:gd name="T25" fmla="*/ 15 h 1998"/>
                <a:gd name="T26" fmla="*/ 74 w 1638"/>
                <a:gd name="T27" fmla="*/ 24 h 1998"/>
                <a:gd name="T28" fmla="*/ 73 w 1638"/>
                <a:gd name="T29" fmla="*/ 33 h 1998"/>
                <a:gd name="T30" fmla="*/ 74 w 1638"/>
                <a:gd name="T31" fmla="*/ 44 h 1998"/>
                <a:gd name="T32" fmla="*/ 68 w 1638"/>
                <a:gd name="T33" fmla="*/ 45 h 1998"/>
                <a:gd name="T34" fmla="*/ 63 w 1638"/>
                <a:gd name="T35" fmla="*/ 50 h 1998"/>
                <a:gd name="T36" fmla="*/ 61 w 1638"/>
                <a:gd name="T37" fmla="*/ 62 h 1998"/>
                <a:gd name="T38" fmla="*/ 53 w 1638"/>
                <a:gd name="T39" fmla="*/ 86 h 1998"/>
                <a:gd name="T40" fmla="*/ 59 w 1638"/>
                <a:gd name="T41" fmla="*/ 90 h 1998"/>
                <a:gd name="T42" fmla="*/ 65 w 1638"/>
                <a:gd name="T43" fmla="*/ 86 h 1998"/>
                <a:gd name="T44" fmla="*/ 74 w 1638"/>
                <a:gd name="T45" fmla="*/ 84 h 1998"/>
                <a:gd name="T46" fmla="*/ 79 w 1638"/>
                <a:gd name="T47" fmla="*/ 85 h 1998"/>
                <a:gd name="T48" fmla="*/ 84 w 1638"/>
                <a:gd name="T49" fmla="*/ 84 h 1998"/>
                <a:gd name="T50" fmla="*/ 91 w 1638"/>
                <a:gd name="T51" fmla="*/ 84 h 1998"/>
                <a:gd name="T52" fmla="*/ 94 w 1638"/>
                <a:gd name="T53" fmla="*/ 81 h 1998"/>
                <a:gd name="T54" fmla="*/ 100 w 1638"/>
                <a:gd name="T55" fmla="*/ 81 h 1998"/>
                <a:gd name="T56" fmla="*/ 102 w 1638"/>
                <a:gd name="T57" fmla="*/ 84 h 1998"/>
                <a:gd name="T58" fmla="*/ 108 w 1638"/>
                <a:gd name="T59" fmla="*/ 85 h 1998"/>
                <a:gd name="T60" fmla="*/ 113 w 1638"/>
                <a:gd name="T61" fmla="*/ 88 h 1998"/>
                <a:gd name="T62" fmla="*/ 116 w 1638"/>
                <a:gd name="T63" fmla="*/ 88 h 1998"/>
                <a:gd name="T64" fmla="*/ 123 w 1638"/>
                <a:gd name="T65" fmla="*/ 87 h 1998"/>
                <a:gd name="T66" fmla="*/ 128 w 1638"/>
                <a:gd name="T67" fmla="*/ 86 h 1998"/>
                <a:gd name="T68" fmla="*/ 132 w 1638"/>
                <a:gd name="T69" fmla="*/ 90 h 1998"/>
                <a:gd name="T70" fmla="*/ 138 w 1638"/>
                <a:gd name="T71" fmla="*/ 96 h 1998"/>
                <a:gd name="T72" fmla="*/ 138 w 1638"/>
                <a:gd name="T73" fmla="*/ 110 h 1998"/>
                <a:gd name="T74" fmla="*/ 137 w 1638"/>
                <a:gd name="T75" fmla="*/ 118 h 1998"/>
                <a:gd name="T76" fmla="*/ 133 w 1638"/>
                <a:gd name="T77" fmla="*/ 124 h 1998"/>
                <a:gd name="T78" fmla="*/ 122 w 1638"/>
                <a:gd name="T79" fmla="*/ 125 h 1998"/>
                <a:gd name="T80" fmla="*/ 116 w 1638"/>
                <a:gd name="T81" fmla="*/ 127 h 1998"/>
                <a:gd name="T82" fmla="*/ 108 w 1638"/>
                <a:gd name="T83" fmla="*/ 123 h 1998"/>
                <a:gd name="T84" fmla="*/ 109 w 1638"/>
                <a:gd name="T85" fmla="*/ 119 h 1998"/>
                <a:gd name="T86" fmla="*/ 104 w 1638"/>
                <a:gd name="T87" fmla="*/ 104 h 1998"/>
                <a:gd name="T88" fmla="*/ 94 w 1638"/>
                <a:gd name="T89" fmla="*/ 105 h 1998"/>
                <a:gd name="T90" fmla="*/ 88 w 1638"/>
                <a:gd name="T91" fmla="*/ 109 h 1998"/>
                <a:gd name="T92" fmla="*/ 76 w 1638"/>
                <a:gd name="T93" fmla="*/ 107 h 1998"/>
                <a:gd name="T94" fmla="*/ 72 w 1638"/>
                <a:gd name="T95" fmla="*/ 114 h 1998"/>
                <a:gd name="T96" fmla="*/ 86 w 1638"/>
                <a:gd name="T97" fmla="*/ 121 h 1998"/>
                <a:gd name="T98" fmla="*/ 87 w 1638"/>
                <a:gd name="T99" fmla="*/ 129 h 1998"/>
                <a:gd name="T100" fmla="*/ 86 w 1638"/>
                <a:gd name="T101" fmla="*/ 137 h 1998"/>
                <a:gd name="T102" fmla="*/ 79 w 1638"/>
                <a:gd name="T103" fmla="*/ 141 h 1998"/>
                <a:gd name="T104" fmla="*/ 73 w 1638"/>
                <a:gd name="T105" fmla="*/ 144 h 1998"/>
                <a:gd name="T106" fmla="*/ 72 w 1638"/>
                <a:gd name="T107" fmla="*/ 164 h 1998"/>
                <a:gd name="T108" fmla="*/ 68 w 1638"/>
                <a:gd name="T109" fmla="*/ 172 h 1998"/>
                <a:gd name="T110" fmla="*/ 59 w 1638"/>
                <a:gd name="T111" fmla="*/ 164 h 1998"/>
                <a:gd name="T112" fmla="*/ 65 w 1638"/>
                <a:gd name="T113" fmla="*/ 146 h 1998"/>
                <a:gd name="T114" fmla="*/ 69 w 1638"/>
                <a:gd name="T115" fmla="*/ 133 h 1998"/>
                <a:gd name="T116" fmla="*/ 61 w 1638"/>
                <a:gd name="T117" fmla="*/ 131 h 1998"/>
                <a:gd name="T118" fmla="*/ 43 w 1638"/>
                <a:gd name="T119" fmla="*/ 125 h 1998"/>
                <a:gd name="T120" fmla="*/ 23 w 1638"/>
                <a:gd name="T121" fmla="*/ 125 h 1998"/>
                <a:gd name="T122" fmla="*/ 17 w 1638"/>
                <a:gd name="T123" fmla="*/ 121 h 19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638"/>
                <a:gd name="T187" fmla="*/ 0 h 1998"/>
                <a:gd name="T188" fmla="*/ 1638 w 1638"/>
                <a:gd name="T189" fmla="*/ 1998 h 19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638" h="1998">
                  <a:moveTo>
                    <a:pt x="144" y="1380"/>
                  </a:moveTo>
                  <a:lnTo>
                    <a:pt x="150" y="1368"/>
                  </a:lnTo>
                  <a:lnTo>
                    <a:pt x="150" y="1362"/>
                  </a:lnTo>
                  <a:lnTo>
                    <a:pt x="150" y="1356"/>
                  </a:lnTo>
                  <a:lnTo>
                    <a:pt x="144" y="1356"/>
                  </a:lnTo>
                  <a:lnTo>
                    <a:pt x="138" y="1356"/>
                  </a:lnTo>
                  <a:lnTo>
                    <a:pt x="126" y="1356"/>
                  </a:lnTo>
                  <a:lnTo>
                    <a:pt x="114" y="1344"/>
                  </a:lnTo>
                  <a:lnTo>
                    <a:pt x="84" y="1320"/>
                  </a:lnTo>
                  <a:lnTo>
                    <a:pt x="54" y="1296"/>
                  </a:lnTo>
                  <a:lnTo>
                    <a:pt x="48" y="1290"/>
                  </a:lnTo>
                  <a:lnTo>
                    <a:pt x="42" y="1278"/>
                  </a:lnTo>
                  <a:lnTo>
                    <a:pt x="30" y="1272"/>
                  </a:lnTo>
                  <a:lnTo>
                    <a:pt x="0" y="1248"/>
                  </a:lnTo>
                  <a:lnTo>
                    <a:pt x="6" y="1230"/>
                  </a:lnTo>
                  <a:lnTo>
                    <a:pt x="12" y="1194"/>
                  </a:lnTo>
                  <a:lnTo>
                    <a:pt x="18" y="1170"/>
                  </a:lnTo>
                  <a:lnTo>
                    <a:pt x="30" y="1134"/>
                  </a:lnTo>
                  <a:lnTo>
                    <a:pt x="36" y="1086"/>
                  </a:lnTo>
                  <a:lnTo>
                    <a:pt x="42" y="1050"/>
                  </a:lnTo>
                  <a:lnTo>
                    <a:pt x="48" y="1044"/>
                  </a:lnTo>
                  <a:lnTo>
                    <a:pt x="54" y="1026"/>
                  </a:lnTo>
                  <a:lnTo>
                    <a:pt x="60" y="1014"/>
                  </a:lnTo>
                  <a:lnTo>
                    <a:pt x="66" y="1002"/>
                  </a:lnTo>
                  <a:lnTo>
                    <a:pt x="66" y="996"/>
                  </a:lnTo>
                  <a:lnTo>
                    <a:pt x="72" y="996"/>
                  </a:lnTo>
                  <a:lnTo>
                    <a:pt x="72" y="990"/>
                  </a:lnTo>
                  <a:lnTo>
                    <a:pt x="78" y="990"/>
                  </a:lnTo>
                  <a:lnTo>
                    <a:pt x="90" y="978"/>
                  </a:lnTo>
                  <a:lnTo>
                    <a:pt x="96" y="966"/>
                  </a:lnTo>
                  <a:lnTo>
                    <a:pt x="102" y="966"/>
                  </a:lnTo>
                  <a:lnTo>
                    <a:pt x="114" y="954"/>
                  </a:lnTo>
                  <a:lnTo>
                    <a:pt x="120" y="954"/>
                  </a:lnTo>
                  <a:lnTo>
                    <a:pt x="120" y="948"/>
                  </a:lnTo>
                  <a:lnTo>
                    <a:pt x="114" y="930"/>
                  </a:lnTo>
                  <a:lnTo>
                    <a:pt x="114" y="924"/>
                  </a:lnTo>
                  <a:lnTo>
                    <a:pt x="108" y="918"/>
                  </a:lnTo>
                  <a:lnTo>
                    <a:pt x="102" y="912"/>
                  </a:lnTo>
                  <a:lnTo>
                    <a:pt x="90" y="906"/>
                  </a:lnTo>
                  <a:lnTo>
                    <a:pt x="84" y="900"/>
                  </a:lnTo>
                  <a:lnTo>
                    <a:pt x="84" y="888"/>
                  </a:lnTo>
                  <a:lnTo>
                    <a:pt x="84" y="882"/>
                  </a:lnTo>
                  <a:lnTo>
                    <a:pt x="78" y="858"/>
                  </a:lnTo>
                  <a:lnTo>
                    <a:pt x="78" y="852"/>
                  </a:lnTo>
                  <a:lnTo>
                    <a:pt x="84" y="846"/>
                  </a:lnTo>
                  <a:lnTo>
                    <a:pt x="84" y="840"/>
                  </a:lnTo>
                  <a:lnTo>
                    <a:pt x="96" y="828"/>
                  </a:lnTo>
                  <a:lnTo>
                    <a:pt x="114" y="816"/>
                  </a:lnTo>
                  <a:lnTo>
                    <a:pt x="114" y="810"/>
                  </a:lnTo>
                  <a:lnTo>
                    <a:pt x="114" y="804"/>
                  </a:lnTo>
                  <a:lnTo>
                    <a:pt x="108" y="780"/>
                  </a:lnTo>
                  <a:lnTo>
                    <a:pt x="96" y="756"/>
                  </a:lnTo>
                  <a:lnTo>
                    <a:pt x="96" y="750"/>
                  </a:lnTo>
                  <a:lnTo>
                    <a:pt x="90" y="720"/>
                  </a:lnTo>
                  <a:lnTo>
                    <a:pt x="90" y="708"/>
                  </a:lnTo>
                  <a:lnTo>
                    <a:pt x="90" y="690"/>
                  </a:lnTo>
                  <a:lnTo>
                    <a:pt x="96" y="672"/>
                  </a:lnTo>
                  <a:lnTo>
                    <a:pt x="90" y="666"/>
                  </a:lnTo>
                  <a:lnTo>
                    <a:pt x="96" y="666"/>
                  </a:lnTo>
                  <a:lnTo>
                    <a:pt x="102" y="642"/>
                  </a:lnTo>
                  <a:lnTo>
                    <a:pt x="108" y="624"/>
                  </a:lnTo>
                  <a:lnTo>
                    <a:pt x="102" y="618"/>
                  </a:lnTo>
                  <a:lnTo>
                    <a:pt x="102" y="588"/>
                  </a:lnTo>
                  <a:lnTo>
                    <a:pt x="102" y="564"/>
                  </a:lnTo>
                  <a:lnTo>
                    <a:pt x="102" y="546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0"/>
                  </a:lnTo>
                  <a:lnTo>
                    <a:pt x="96" y="498"/>
                  </a:lnTo>
                  <a:lnTo>
                    <a:pt x="96" y="486"/>
                  </a:lnTo>
                  <a:lnTo>
                    <a:pt x="96" y="474"/>
                  </a:lnTo>
                  <a:lnTo>
                    <a:pt x="96" y="462"/>
                  </a:lnTo>
                  <a:lnTo>
                    <a:pt x="114" y="450"/>
                  </a:lnTo>
                  <a:lnTo>
                    <a:pt x="126" y="438"/>
                  </a:lnTo>
                  <a:lnTo>
                    <a:pt x="132" y="432"/>
                  </a:lnTo>
                  <a:lnTo>
                    <a:pt x="144" y="426"/>
                  </a:lnTo>
                  <a:lnTo>
                    <a:pt x="144" y="420"/>
                  </a:lnTo>
                  <a:lnTo>
                    <a:pt x="156" y="414"/>
                  </a:lnTo>
                  <a:lnTo>
                    <a:pt x="162" y="408"/>
                  </a:lnTo>
                  <a:lnTo>
                    <a:pt x="180" y="396"/>
                  </a:lnTo>
                  <a:lnTo>
                    <a:pt x="210" y="372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34" y="348"/>
                  </a:lnTo>
                  <a:lnTo>
                    <a:pt x="240" y="348"/>
                  </a:lnTo>
                  <a:lnTo>
                    <a:pt x="246" y="342"/>
                  </a:lnTo>
                  <a:lnTo>
                    <a:pt x="276" y="318"/>
                  </a:lnTo>
                  <a:lnTo>
                    <a:pt x="282" y="312"/>
                  </a:lnTo>
                  <a:lnTo>
                    <a:pt x="288" y="306"/>
                  </a:lnTo>
                  <a:lnTo>
                    <a:pt x="300" y="288"/>
                  </a:lnTo>
                  <a:lnTo>
                    <a:pt x="306" y="276"/>
                  </a:lnTo>
                  <a:lnTo>
                    <a:pt x="324" y="246"/>
                  </a:lnTo>
                  <a:lnTo>
                    <a:pt x="330" y="240"/>
                  </a:lnTo>
                  <a:lnTo>
                    <a:pt x="336" y="234"/>
                  </a:lnTo>
                  <a:lnTo>
                    <a:pt x="342" y="228"/>
                  </a:lnTo>
                  <a:lnTo>
                    <a:pt x="342" y="216"/>
                  </a:lnTo>
                  <a:lnTo>
                    <a:pt x="354" y="204"/>
                  </a:lnTo>
                  <a:lnTo>
                    <a:pt x="360" y="204"/>
                  </a:lnTo>
                  <a:lnTo>
                    <a:pt x="366" y="186"/>
                  </a:lnTo>
                  <a:lnTo>
                    <a:pt x="384" y="162"/>
                  </a:lnTo>
                  <a:lnTo>
                    <a:pt x="390" y="144"/>
                  </a:lnTo>
                  <a:lnTo>
                    <a:pt x="396" y="114"/>
                  </a:lnTo>
                  <a:lnTo>
                    <a:pt x="396" y="102"/>
                  </a:lnTo>
                  <a:lnTo>
                    <a:pt x="402" y="90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08" y="36"/>
                  </a:lnTo>
                  <a:lnTo>
                    <a:pt x="408" y="24"/>
                  </a:lnTo>
                  <a:lnTo>
                    <a:pt x="408" y="6"/>
                  </a:lnTo>
                  <a:lnTo>
                    <a:pt x="420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68" y="0"/>
                  </a:lnTo>
                  <a:lnTo>
                    <a:pt x="480" y="0"/>
                  </a:lnTo>
                  <a:lnTo>
                    <a:pt x="492" y="0"/>
                  </a:lnTo>
                  <a:lnTo>
                    <a:pt x="498" y="0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8" y="18"/>
                  </a:lnTo>
                  <a:lnTo>
                    <a:pt x="534" y="18"/>
                  </a:lnTo>
                  <a:lnTo>
                    <a:pt x="540" y="18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8" y="36"/>
                  </a:lnTo>
                  <a:lnTo>
                    <a:pt x="588" y="54"/>
                  </a:lnTo>
                  <a:lnTo>
                    <a:pt x="594" y="48"/>
                  </a:lnTo>
                  <a:lnTo>
                    <a:pt x="600" y="48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12" y="66"/>
                  </a:lnTo>
                  <a:lnTo>
                    <a:pt x="630" y="72"/>
                  </a:lnTo>
                  <a:lnTo>
                    <a:pt x="642" y="78"/>
                  </a:lnTo>
                  <a:lnTo>
                    <a:pt x="666" y="78"/>
                  </a:lnTo>
                  <a:lnTo>
                    <a:pt x="672" y="72"/>
                  </a:lnTo>
                  <a:lnTo>
                    <a:pt x="690" y="84"/>
                  </a:lnTo>
                  <a:lnTo>
                    <a:pt x="690" y="90"/>
                  </a:lnTo>
                  <a:lnTo>
                    <a:pt x="708" y="96"/>
                  </a:lnTo>
                  <a:lnTo>
                    <a:pt x="708" y="102"/>
                  </a:lnTo>
                  <a:lnTo>
                    <a:pt x="744" y="96"/>
                  </a:lnTo>
                  <a:lnTo>
                    <a:pt x="756" y="78"/>
                  </a:lnTo>
                  <a:lnTo>
                    <a:pt x="756" y="72"/>
                  </a:lnTo>
                  <a:lnTo>
                    <a:pt x="762" y="66"/>
                  </a:lnTo>
                  <a:lnTo>
                    <a:pt x="768" y="60"/>
                  </a:lnTo>
                  <a:lnTo>
                    <a:pt x="774" y="54"/>
                  </a:lnTo>
                  <a:lnTo>
                    <a:pt x="786" y="54"/>
                  </a:lnTo>
                  <a:lnTo>
                    <a:pt x="786" y="60"/>
                  </a:lnTo>
                  <a:lnTo>
                    <a:pt x="786" y="66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92" y="90"/>
                  </a:lnTo>
                  <a:lnTo>
                    <a:pt x="780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26"/>
                  </a:lnTo>
                  <a:lnTo>
                    <a:pt x="768" y="150"/>
                  </a:lnTo>
                  <a:lnTo>
                    <a:pt x="750" y="168"/>
                  </a:lnTo>
                  <a:lnTo>
                    <a:pt x="750" y="174"/>
                  </a:lnTo>
                  <a:lnTo>
                    <a:pt x="762" y="192"/>
                  </a:lnTo>
                  <a:lnTo>
                    <a:pt x="774" y="210"/>
                  </a:lnTo>
                  <a:lnTo>
                    <a:pt x="792" y="228"/>
                  </a:lnTo>
                  <a:lnTo>
                    <a:pt x="804" y="240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40" y="252"/>
                  </a:lnTo>
                  <a:lnTo>
                    <a:pt x="834" y="252"/>
                  </a:lnTo>
                  <a:lnTo>
                    <a:pt x="846" y="252"/>
                  </a:lnTo>
                  <a:lnTo>
                    <a:pt x="852" y="270"/>
                  </a:lnTo>
                  <a:lnTo>
                    <a:pt x="858" y="282"/>
                  </a:lnTo>
                  <a:lnTo>
                    <a:pt x="858" y="288"/>
                  </a:lnTo>
                  <a:lnTo>
                    <a:pt x="864" y="300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58" y="318"/>
                  </a:lnTo>
                  <a:lnTo>
                    <a:pt x="852" y="318"/>
                  </a:lnTo>
                  <a:lnTo>
                    <a:pt x="846" y="324"/>
                  </a:lnTo>
                  <a:lnTo>
                    <a:pt x="846" y="336"/>
                  </a:lnTo>
                  <a:lnTo>
                    <a:pt x="840" y="348"/>
                  </a:lnTo>
                  <a:lnTo>
                    <a:pt x="840" y="360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46" y="402"/>
                  </a:lnTo>
                  <a:lnTo>
                    <a:pt x="858" y="420"/>
                  </a:lnTo>
                  <a:lnTo>
                    <a:pt x="882" y="426"/>
                  </a:lnTo>
                  <a:lnTo>
                    <a:pt x="888" y="444"/>
                  </a:lnTo>
                  <a:lnTo>
                    <a:pt x="900" y="444"/>
                  </a:lnTo>
                  <a:lnTo>
                    <a:pt x="900" y="462"/>
                  </a:lnTo>
                  <a:lnTo>
                    <a:pt x="894" y="474"/>
                  </a:lnTo>
                  <a:lnTo>
                    <a:pt x="888" y="486"/>
                  </a:lnTo>
                  <a:lnTo>
                    <a:pt x="882" y="492"/>
                  </a:lnTo>
                  <a:lnTo>
                    <a:pt x="870" y="504"/>
                  </a:lnTo>
                  <a:lnTo>
                    <a:pt x="852" y="504"/>
                  </a:lnTo>
                  <a:lnTo>
                    <a:pt x="852" y="510"/>
                  </a:lnTo>
                  <a:lnTo>
                    <a:pt x="852" y="516"/>
                  </a:lnTo>
                  <a:lnTo>
                    <a:pt x="846" y="528"/>
                  </a:lnTo>
                  <a:lnTo>
                    <a:pt x="846" y="582"/>
                  </a:lnTo>
                  <a:lnTo>
                    <a:pt x="840" y="582"/>
                  </a:lnTo>
                  <a:lnTo>
                    <a:pt x="834" y="582"/>
                  </a:lnTo>
                  <a:lnTo>
                    <a:pt x="828" y="582"/>
                  </a:lnTo>
                  <a:lnTo>
                    <a:pt x="822" y="582"/>
                  </a:lnTo>
                  <a:lnTo>
                    <a:pt x="810" y="582"/>
                  </a:lnTo>
                  <a:lnTo>
                    <a:pt x="810" y="528"/>
                  </a:lnTo>
                  <a:lnTo>
                    <a:pt x="792" y="528"/>
                  </a:lnTo>
                  <a:lnTo>
                    <a:pt x="792" y="522"/>
                  </a:lnTo>
                  <a:lnTo>
                    <a:pt x="786" y="522"/>
                  </a:lnTo>
                  <a:lnTo>
                    <a:pt x="786" y="516"/>
                  </a:lnTo>
                  <a:lnTo>
                    <a:pt x="780" y="516"/>
                  </a:lnTo>
                  <a:lnTo>
                    <a:pt x="780" y="510"/>
                  </a:lnTo>
                  <a:lnTo>
                    <a:pt x="762" y="510"/>
                  </a:lnTo>
                  <a:lnTo>
                    <a:pt x="756" y="510"/>
                  </a:lnTo>
                  <a:lnTo>
                    <a:pt x="750" y="522"/>
                  </a:lnTo>
                  <a:lnTo>
                    <a:pt x="744" y="534"/>
                  </a:lnTo>
                  <a:lnTo>
                    <a:pt x="732" y="540"/>
                  </a:lnTo>
                  <a:lnTo>
                    <a:pt x="732" y="558"/>
                  </a:lnTo>
                  <a:lnTo>
                    <a:pt x="732" y="564"/>
                  </a:lnTo>
                  <a:lnTo>
                    <a:pt x="732" y="570"/>
                  </a:lnTo>
                  <a:lnTo>
                    <a:pt x="726" y="576"/>
                  </a:lnTo>
                  <a:lnTo>
                    <a:pt x="720" y="576"/>
                  </a:lnTo>
                  <a:lnTo>
                    <a:pt x="714" y="582"/>
                  </a:lnTo>
                  <a:lnTo>
                    <a:pt x="702" y="588"/>
                  </a:lnTo>
                  <a:lnTo>
                    <a:pt x="696" y="594"/>
                  </a:lnTo>
                  <a:lnTo>
                    <a:pt x="690" y="600"/>
                  </a:lnTo>
                  <a:lnTo>
                    <a:pt x="690" y="606"/>
                  </a:lnTo>
                  <a:lnTo>
                    <a:pt x="678" y="606"/>
                  </a:lnTo>
                  <a:lnTo>
                    <a:pt x="678" y="624"/>
                  </a:lnTo>
                  <a:lnTo>
                    <a:pt x="684" y="642"/>
                  </a:lnTo>
                  <a:lnTo>
                    <a:pt x="684" y="660"/>
                  </a:lnTo>
                  <a:lnTo>
                    <a:pt x="690" y="672"/>
                  </a:lnTo>
                  <a:lnTo>
                    <a:pt x="702" y="720"/>
                  </a:lnTo>
                  <a:lnTo>
                    <a:pt x="708" y="750"/>
                  </a:lnTo>
                  <a:lnTo>
                    <a:pt x="708" y="792"/>
                  </a:lnTo>
                  <a:lnTo>
                    <a:pt x="708" y="828"/>
                  </a:lnTo>
                  <a:lnTo>
                    <a:pt x="708" y="852"/>
                  </a:lnTo>
                  <a:lnTo>
                    <a:pt x="696" y="894"/>
                  </a:lnTo>
                  <a:lnTo>
                    <a:pt x="702" y="900"/>
                  </a:lnTo>
                  <a:lnTo>
                    <a:pt x="708" y="924"/>
                  </a:lnTo>
                  <a:lnTo>
                    <a:pt x="684" y="936"/>
                  </a:lnTo>
                  <a:lnTo>
                    <a:pt x="660" y="954"/>
                  </a:lnTo>
                  <a:lnTo>
                    <a:pt x="618" y="984"/>
                  </a:lnTo>
                  <a:lnTo>
                    <a:pt x="618" y="990"/>
                  </a:lnTo>
                  <a:lnTo>
                    <a:pt x="612" y="996"/>
                  </a:lnTo>
                  <a:lnTo>
                    <a:pt x="606" y="1002"/>
                  </a:lnTo>
                  <a:lnTo>
                    <a:pt x="618" y="1008"/>
                  </a:lnTo>
                  <a:lnTo>
                    <a:pt x="618" y="1014"/>
                  </a:lnTo>
                  <a:lnTo>
                    <a:pt x="624" y="1026"/>
                  </a:lnTo>
                  <a:lnTo>
                    <a:pt x="630" y="1026"/>
                  </a:lnTo>
                  <a:lnTo>
                    <a:pt x="636" y="1032"/>
                  </a:lnTo>
                  <a:lnTo>
                    <a:pt x="642" y="1032"/>
                  </a:lnTo>
                  <a:lnTo>
                    <a:pt x="642" y="1038"/>
                  </a:lnTo>
                  <a:lnTo>
                    <a:pt x="648" y="1044"/>
                  </a:lnTo>
                  <a:lnTo>
                    <a:pt x="666" y="1050"/>
                  </a:lnTo>
                  <a:lnTo>
                    <a:pt x="678" y="1038"/>
                  </a:lnTo>
                  <a:lnTo>
                    <a:pt x="684" y="1038"/>
                  </a:lnTo>
                  <a:lnTo>
                    <a:pt x="684" y="1032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20"/>
                  </a:lnTo>
                  <a:lnTo>
                    <a:pt x="708" y="1014"/>
                  </a:lnTo>
                  <a:lnTo>
                    <a:pt x="720" y="1020"/>
                  </a:lnTo>
                  <a:lnTo>
                    <a:pt x="720" y="1014"/>
                  </a:lnTo>
                  <a:lnTo>
                    <a:pt x="726" y="1008"/>
                  </a:lnTo>
                  <a:lnTo>
                    <a:pt x="732" y="1008"/>
                  </a:lnTo>
                  <a:lnTo>
                    <a:pt x="738" y="1008"/>
                  </a:lnTo>
                  <a:lnTo>
                    <a:pt x="744" y="1002"/>
                  </a:lnTo>
                  <a:lnTo>
                    <a:pt x="744" y="996"/>
                  </a:lnTo>
                  <a:lnTo>
                    <a:pt x="750" y="996"/>
                  </a:lnTo>
                  <a:lnTo>
                    <a:pt x="756" y="1002"/>
                  </a:lnTo>
                  <a:lnTo>
                    <a:pt x="762" y="1002"/>
                  </a:lnTo>
                  <a:lnTo>
                    <a:pt x="768" y="996"/>
                  </a:lnTo>
                  <a:lnTo>
                    <a:pt x="780" y="996"/>
                  </a:lnTo>
                  <a:lnTo>
                    <a:pt x="786" y="996"/>
                  </a:lnTo>
                  <a:lnTo>
                    <a:pt x="816" y="990"/>
                  </a:lnTo>
                  <a:lnTo>
                    <a:pt x="828" y="990"/>
                  </a:lnTo>
                  <a:lnTo>
                    <a:pt x="834" y="990"/>
                  </a:lnTo>
                  <a:lnTo>
                    <a:pt x="840" y="984"/>
                  </a:lnTo>
                  <a:lnTo>
                    <a:pt x="852" y="978"/>
                  </a:lnTo>
                  <a:lnTo>
                    <a:pt x="852" y="972"/>
                  </a:lnTo>
                  <a:lnTo>
                    <a:pt x="858" y="972"/>
                  </a:lnTo>
                  <a:lnTo>
                    <a:pt x="864" y="966"/>
                  </a:lnTo>
                  <a:lnTo>
                    <a:pt x="870" y="966"/>
                  </a:lnTo>
                  <a:lnTo>
                    <a:pt x="876" y="966"/>
                  </a:lnTo>
                  <a:lnTo>
                    <a:pt x="882" y="960"/>
                  </a:lnTo>
                  <a:lnTo>
                    <a:pt x="888" y="960"/>
                  </a:lnTo>
                  <a:lnTo>
                    <a:pt x="894" y="960"/>
                  </a:lnTo>
                  <a:lnTo>
                    <a:pt x="894" y="966"/>
                  </a:lnTo>
                  <a:lnTo>
                    <a:pt x="894" y="978"/>
                  </a:lnTo>
                  <a:lnTo>
                    <a:pt x="894" y="984"/>
                  </a:lnTo>
                  <a:lnTo>
                    <a:pt x="900" y="984"/>
                  </a:lnTo>
                  <a:lnTo>
                    <a:pt x="906" y="978"/>
                  </a:lnTo>
                  <a:lnTo>
                    <a:pt x="912" y="972"/>
                  </a:lnTo>
                  <a:lnTo>
                    <a:pt x="918" y="978"/>
                  </a:lnTo>
                  <a:lnTo>
                    <a:pt x="924" y="978"/>
                  </a:lnTo>
                  <a:lnTo>
                    <a:pt x="924" y="972"/>
                  </a:lnTo>
                  <a:lnTo>
                    <a:pt x="924" y="966"/>
                  </a:lnTo>
                  <a:lnTo>
                    <a:pt x="930" y="966"/>
                  </a:lnTo>
                  <a:lnTo>
                    <a:pt x="948" y="966"/>
                  </a:lnTo>
                  <a:lnTo>
                    <a:pt x="954" y="966"/>
                  </a:lnTo>
                  <a:lnTo>
                    <a:pt x="954" y="960"/>
                  </a:lnTo>
                  <a:lnTo>
                    <a:pt x="960" y="960"/>
                  </a:lnTo>
                  <a:lnTo>
                    <a:pt x="966" y="960"/>
                  </a:lnTo>
                  <a:lnTo>
                    <a:pt x="966" y="966"/>
                  </a:lnTo>
                  <a:lnTo>
                    <a:pt x="978" y="972"/>
                  </a:lnTo>
                  <a:lnTo>
                    <a:pt x="978" y="978"/>
                  </a:lnTo>
                  <a:lnTo>
                    <a:pt x="978" y="984"/>
                  </a:lnTo>
                  <a:lnTo>
                    <a:pt x="984" y="978"/>
                  </a:lnTo>
                  <a:lnTo>
                    <a:pt x="990" y="978"/>
                  </a:lnTo>
                  <a:lnTo>
                    <a:pt x="996" y="984"/>
                  </a:lnTo>
                  <a:lnTo>
                    <a:pt x="1002" y="990"/>
                  </a:lnTo>
                  <a:lnTo>
                    <a:pt x="1008" y="972"/>
                  </a:lnTo>
                  <a:lnTo>
                    <a:pt x="1026" y="972"/>
                  </a:lnTo>
                  <a:lnTo>
                    <a:pt x="1032" y="972"/>
                  </a:lnTo>
                  <a:lnTo>
                    <a:pt x="1038" y="972"/>
                  </a:lnTo>
                  <a:lnTo>
                    <a:pt x="1050" y="972"/>
                  </a:lnTo>
                  <a:lnTo>
                    <a:pt x="1056" y="972"/>
                  </a:lnTo>
                  <a:lnTo>
                    <a:pt x="1062" y="966"/>
                  </a:lnTo>
                  <a:lnTo>
                    <a:pt x="1074" y="966"/>
                  </a:lnTo>
                  <a:lnTo>
                    <a:pt x="1074" y="960"/>
                  </a:lnTo>
                  <a:lnTo>
                    <a:pt x="1080" y="954"/>
                  </a:lnTo>
                  <a:lnTo>
                    <a:pt x="1080" y="948"/>
                  </a:lnTo>
                  <a:lnTo>
                    <a:pt x="1074" y="948"/>
                  </a:lnTo>
                  <a:lnTo>
                    <a:pt x="1068" y="948"/>
                  </a:lnTo>
                  <a:lnTo>
                    <a:pt x="1062" y="942"/>
                  </a:lnTo>
                  <a:lnTo>
                    <a:pt x="1068" y="936"/>
                  </a:lnTo>
                  <a:lnTo>
                    <a:pt x="1074" y="936"/>
                  </a:lnTo>
                  <a:lnTo>
                    <a:pt x="1080" y="936"/>
                  </a:lnTo>
                  <a:lnTo>
                    <a:pt x="1086" y="942"/>
                  </a:lnTo>
                  <a:lnTo>
                    <a:pt x="1092" y="942"/>
                  </a:lnTo>
                  <a:lnTo>
                    <a:pt x="1098" y="948"/>
                  </a:lnTo>
                  <a:lnTo>
                    <a:pt x="1104" y="954"/>
                  </a:lnTo>
                  <a:lnTo>
                    <a:pt x="1110" y="954"/>
                  </a:lnTo>
                  <a:lnTo>
                    <a:pt x="1116" y="948"/>
                  </a:lnTo>
                  <a:lnTo>
                    <a:pt x="1122" y="942"/>
                  </a:lnTo>
                  <a:lnTo>
                    <a:pt x="1128" y="942"/>
                  </a:lnTo>
                  <a:lnTo>
                    <a:pt x="1134" y="942"/>
                  </a:lnTo>
                  <a:lnTo>
                    <a:pt x="1140" y="948"/>
                  </a:lnTo>
                  <a:lnTo>
                    <a:pt x="1146" y="942"/>
                  </a:lnTo>
                  <a:lnTo>
                    <a:pt x="1152" y="942"/>
                  </a:lnTo>
                  <a:lnTo>
                    <a:pt x="1152" y="930"/>
                  </a:lnTo>
                  <a:lnTo>
                    <a:pt x="1164" y="936"/>
                  </a:lnTo>
                  <a:lnTo>
                    <a:pt x="1158" y="942"/>
                  </a:lnTo>
                  <a:lnTo>
                    <a:pt x="1158" y="948"/>
                  </a:lnTo>
                  <a:lnTo>
                    <a:pt x="1146" y="954"/>
                  </a:lnTo>
                  <a:lnTo>
                    <a:pt x="1152" y="954"/>
                  </a:lnTo>
                  <a:lnTo>
                    <a:pt x="1158" y="954"/>
                  </a:lnTo>
                  <a:lnTo>
                    <a:pt x="1158" y="948"/>
                  </a:lnTo>
                  <a:lnTo>
                    <a:pt x="1164" y="948"/>
                  </a:lnTo>
                  <a:lnTo>
                    <a:pt x="1170" y="948"/>
                  </a:lnTo>
                  <a:lnTo>
                    <a:pt x="1176" y="954"/>
                  </a:lnTo>
                  <a:lnTo>
                    <a:pt x="1176" y="966"/>
                  </a:lnTo>
                  <a:lnTo>
                    <a:pt x="1182" y="972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88" y="984"/>
                  </a:lnTo>
                  <a:lnTo>
                    <a:pt x="1194" y="984"/>
                  </a:lnTo>
                  <a:lnTo>
                    <a:pt x="1200" y="984"/>
                  </a:lnTo>
                  <a:lnTo>
                    <a:pt x="1212" y="984"/>
                  </a:lnTo>
                  <a:lnTo>
                    <a:pt x="1218" y="990"/>
                  </a:lnTo>
                  <a:lnTo>
                    <a:pt x="1224" y="990"/>
                  </a:lnTo>
                  <a:lnTo>
                    <a:pt x="1224" y="984"/>
                  </a:lnTo>
                  <a:lnTo>
                    <a:pt x="1230" y="990"/>
                  </a:lnTo>
                  <a:lnTo>
                    <a:pt x="1236" y="984"/>
                  </a:lnTo>
                  <a:lnTo>
                    <a:pt x="1242" y="984"/>
                  </a:lnTo>
                  <a:lnTo>
                    <a:pt x="1248" y="990"/>
                  </a:lnTo>
                  <a:lnTo>
                    <a:pt x="1254" y="990"/>
                  </a:lnTo>
                  <a:lnTo>
                    <a:pt x="1254" y="996"/>
                  </a:lnTo>
                  <a:lnTo>
                    <a:pt x="1254" y="1002"/>
                  </a:lnTo>
                  <a:lnTo>
                    <a:pt x="1254" y="1008"/>
                  </a:lnTo>
                  <a:lnTo>
                    <a:pt x="1260" y="1014"/>
                  </a:lnTo>
                  <a:lnTo>
                    <a:pt x="1266" y="1014"/>
                  </a:lnTo>
                  <a:lnTo>
                    <a:pt x="1272" y="1014"/>
                  </a:lnTo>
                  <a:lnTo>
                    <a:pt x="1278" y="1020"/>
                  </a:lnTo>
                  <a:lnTo>
                    <a:pt x="1284" y="1020"/>
                  </a:lnTo>
                  <a:lnTo>
                    <a:pt x="1290" y="1014"/>
                  </a:lnTo>
                  <a:lnTo>
                    <a:pt x="1290" y="1008"/>
                  </a:lnTo>
                  <a:lnTo>
                    <a:pt x="1296" y="1008"/>
                  </a:lnTo>
                  <a:lnTo>
                    <a:pt x="1302" y="1014"/>
                  </a:lnTo>
                  <a:lnTo>
                    <a:pt x="1308" y="1014"/>
                  </a:lnTo>
                  <a:lnTo>
                    <a:pt x="1314" y="1008"/>
                  </a:lnTo>
                  <a:lnTo>
                    <a:pt x="1320" y="1008"/>
                  </a:lnTo>
                  <a:lnTo>
                    <a:pt x="1320" y="1002"/>
                  </a:lnTo>
                  <a:lnTo>
                    <a:pt x="1320" y="996"/>
                  </a:lnTo>
                  <a:lnTo>
                    <a:pt x="1332" y="1002"/>
                  </a:lnTo>
                  <a:lnTo>
                    <a:pt x="1332" y="1008"/>
                  </a:lnTo>
                  <a:lnTo>
                    <a:pt x="1326" y="1014"/>
                  </a:lnTo>
                  <a:lnTo>
                    <a:pt x="1332" y="1014"/>
                  </a:lnTo>
                  <a:lnTo>
                    <a:pt x="1338" y="1014"/>
                  </a:lnTo>
                  <a:lnTo>
                    <a:pt x="1338" y="1008"/>
                  </a:lnTo>
                  <a:lnTo>
                    <a:pt x="1344" y="1008"/>
                  </a:lnTo>
                  <a:lnTo>
                    <a:pt x="1350" y="1008"/>
                  </a:lnTo>
                  <a:lnTo>
                    <a:pt x="1356" y="1014"/>
                  </a:lnTo>
                  <a:lnTo>
                    <a:pt x="1356" y="1008"/>
                  </a:lnTo>
                  <a:lnTo>
                    <a:pt x="1362" y="1014"/>
                  </a:lnTo>
                  <a:lnTo>
                    <a:pt x="1392" y="1014"/>
                  </a:lnTo>
                  <a:lnTo>
                    <a:pt x="1398" y="1014"/>
                  </a:lnTo>
                  <a:lnTo>
                    <a:pt x="1404" y="1008"/>
                  </a:lnTo>
                  <a:lnTo>
                    <a:pt x="1404" y="1014"/>
                  </a:lnTo>
                  <a:lnTo>
                    <a:pt x="1410" y="1008"/>
                  </a:lnTo>
                  <a:lnTo>
                    <a:pt x="1416" y="1008"/>
                  </a:lnTo>
                  <a:lnTo>
                    <a:pt x="1422" y="1002"/>
                  </a:lnTo>
                  <a:lnTo>
                    <a:pt x="1428" y="1002"/>
                  </a:lnTo>
                  <a:lnTo>
                    <a:pt x="1428" y="996"/>
                  </a:lnTo>
                  <a:lnTo>
                    <a:pt x="1428" y="990"/>
                  </a:lnTo>
                  <a:lnTo>
                    <a:pt x="1440" y="1002"/>
                  </a:lnTo>
                  <a:lnTo>
                    <a:pt x="1446" y="1002"/>
                  </a:lnTo>
                  <a:lnTo>
                    <a:pt x="1452" y="1002"/>
                  </a:lnTo>
                  <a:lnTo>
                    <a:pt x="1446" y="996"/>
                  </a:lnTo>
                  <a:lnTo>
                    <a:pt x="1452" y="996"/>
                  </a:lnTo>
                  <a:lnTo>
                    <a:pt x="1458" y="996"/>
                  </a:lnTo>
                  <a:lnTo>
                    <a:pt x="1464" y="996"/>
                  </a:lnTo>
                  <a:lnTo>
                    <a:pt x="1464" y="1002"/>
                  </a:lnTo>
                  <a:lnTo>
                    <a:pt x="1476" y="1014"/>
                  </a:lnTo>
                  <a:lnTo>
                    <a:pt x="1476" y="1008"/>
                  </a:lnTo>
                  <a:lnTo>
                    <a:pt x="1482" y="1008"/>
                  </a:lnTo>
                  <a:lnTo>
                    <a:pt x="1488" y="1020"/>
                  </a:lnTo>
                  <a:lnTo>
                    <a:pt x="1494" y="1020"/>
                  </a:lnTo>
                  <a:lnTo>
                    <a:pt x="1500" y="1014"/>
                  </a:lnTo>
                  <a:lnTo>
                    <a:pt x="1500" y="1020"/>
                  </a:lnTo>
                  <a:lnTo>
                    <a:pt x="1506" y="1026"/>
                  </a:lnTo>
                  <a:lnTo>
                    <a:pt x="1512" y="1032"/>
                  </a:lnTo>
                  <a:lnTo>
                    <a:pt x="1518" y="1032"/>
                  </a:lnTo>
                  <a:lnTo>
                    <a:pt x="1518" y="1038"/>
                  </a:lnTo>
                  <a:lnTo>
                    <a:pt x="1518" y="1044"/>
                  </a:lnTo>
                  <a:lnTo>
                    <a:pt x="1524" y="1044"/>
                  </a:lnTo>
                  <a:lnTo>
                    <a:pt x="1524" y="1050"/>
                  </a:lnTo>
                  <a:lnTo>
                    <a:pt x="1530" y="1056"/>
                  </a:lnTo>
                  <a:lnTo>
                    <a:pt x="1548" y="1062"/>
                  </a:lnTo>
                  <a:lnTo>
                    <a:pt x="1560" y="1074"/>
                  </a:lnTo>
                  <a:lnTo>
                    <a:pt x="1560" y="1080"/>
                  </a:lnTo>
                  <a:lnTo>
                    <a:pt x="1560" y="1086"/>
                  </a:lnTo>
                  <a:lnTo>
                    <a:pt x="1566" y="1086"/>
                  </a:lnTo>
                  <a:lnTo>
                    <a:pt x="1572" y="1098"/>
                  </a:lnTo>
                  <a:lnTo>
                    <a:pt x="1572" y="1104"/>
                  </a:lnTo>
                  <a:lnTo>
                    <a:pt x="1584" y="1110"/>
                  </a:lnTo>
                  <a:lnTo>
                    <a:pt x="1590" y="1116"/>
                  </a:lnTo>
                  <a:lnTo>
                    <a:pt x="1596" y="1116"/>
                  </a:lnTo>
                  <a:lnTo>
                    <a:pt x="1608" y="1122"/>
                  </a:lnTo>
                  <a:lnTo>
                    <a:pt x="1620" y="1140"/>
                  </a:lnTo>
                  <a:lnTo>
                    <a:pt x="1626" y="1158"/>
                  </a:lnTo>
                  <a:lnTo>
                    <a:pt x="1638" y="1200"/>
                  </a:lnTo>
                  <a:lnTo>
                    <a:pt x="1638" y="1218"/>
                  </a:lnTo>
                  <a:lnTo>
                    <a:pt x="1620" y="1230"/>
                  </a:lnTo>
                  <a:lnTo>
                    <a:pt x="1554" y="1230"/>
                  </a:lnTo>
                  <a:lnTo>
                    <a:pt x="1560" y="1248"/>
                  </a:lnTo>
                  <a:lnTo>
                    <a:pt x="1584" y="1260"/>
                  </a:lnTo>
                  <a:lnTo>
                    <a:pt x="1584" y="1266"/>
                  </a:lnTo>
                  <a:lnTo>
                    <a:pt x="1578" y="1272"/>
                  </a:lnTo>
                  <a:lnTo>
                    <a:pt x="1572" y="1272"/>
                  </a:lnTo>
                  <a:lnTo>
                    <a:pt x="1566" y="1278"/>
                  </a:lnTo>
                  <a:lnTo>
                    <a:pt x="1566" y="1284"/>
                  </a:lnTo>
                  <a:lnTo>
                    <a:pt x="1560" y="1290"/>
                  </a:lnTo>
                  <a:lnTo>
                    <a:pt x="1554" y="1290"/>
                  </a:lnTo>
                  <a:lnTo>
                    <a:pt x="1554" y="1296"/>
                  </a:lnTo>
                  <a:lnTo>
                    <a:pt x="1554" y="1302"/>
                  </a:lnTo>
                  <a:lnTo>
                    <a:pt x="1560" y="1332"/>
                  </a:lnTo>
                  <a:lnTo>
                    <a:pt x="1566" y="1356"/>
                  </a:lnTo>
                  <a:lnTo>
                    <a:pt x="1572" y="1356"/>
                  </a:lnTo>
                  <a:lnTo>
                    <a:pt x="1572" y="1362"/>
                  </a:lnTo>
                  <a:lnTo>
                    <a:pt x="1578" y="1362"/>
                  </a:lnTo>
                  <a:lnTo>
                    <a:pt x="1560" y="1374"/>
                  </a:lnTo>
                  <a:lnTo>
                    <a:pt x="1560" y="1380"/>
                  </a:lnTo>
                  <a:lnTo>
                    <a:pt x="1548" y="1380"/>
                  </a:lnTo>
                  <a:lnTo>
                    <a:pt x="1548" y="1386"/>
                  </a:lnTo>
                  <a:lnTo>
                    <a:pt x="1548" y="1392"/>
                  </a:lnTo>
                  <a:lnTo>
                    <a:pt x="1542" y="1410"/>
                  </a:lnTo>
                  <a:lnTo>
                    <a:pt x="1536" y="1422"/>
                  </a:lnTo>
                  <a:lnTo>
                    <a:pt x="1536" y="1428"/>
                  </a:lnTo>
                  <a:lnTo>
                    <a:pt x="1530" y="1440"/>
                  </a:lnTo>
                  <a:lnTo>
                    <a:pt x="1524" y="1434"/>
                  </a:lnTo>
                  <a:lnTo>
                    <a:pt x="1524" y="1428"/>
                  </a:lnTo>
                  <a:lnTo>
                    <a:pt x="1524" y="1422"/>
                  </a:lnTo>
                  <a:lnTo>
                    <a:pt x="1512" y="1410"/>
                  </a:lnTo>
                  <a:lnTo>
                    <a:pt x="1506" y="1404"/>
                  </a:lnTo>
                  <a:lnTo>
                    <a:pt x="1506" y="1398"/>
                  </a:lnTo>
                  <a:lnTo>
                    <a:pt x="1494" y="1392"/>
                  </a:lnTo>
                  <a:lnTo>
                    <a:pt x="1476" y="1404"/>
                  </a:lnTo>
                  <a:lnTo>
                    <a:pt x="1464" y="1416"/>
                  </a:lnTo>
                  <a:lnTo>
                    <a:pt x="1458" y="1428"/>
                  </a:lnTo>
                  <a:lnTo>
                    <a:pt x="1446" y="1434"/>
                  </a:lnTo>
                  <a:lnTo>
                    <a:pt x="1410" y="1440"/>
                  </a:lnTo>
                  <a:lnTo>
                    <a:pt x="1398" y="1440"/>
                  </a:lnTo>
                  <a:lnTo>
                    <a:pt x="1398" y="1446"/>
                  </a:lnTo>
                  <a:lnTo>
                    <a:pt x="1386" y="1446"/>
                  </a:lnTo>
                  <a:lnTo>
                    <a:pt x="1380" y="1440"/>
                  </a:lnTo>
                  <a:lnTo>
                    <a:pt x="1368" y="1440"/>
                  </a:lnTo>
                  <a:lnTo>
                    <a:pt x="1368" y="1446"/>
                  </a:lnTo>
                  <a:lnTo>
                    <a:pt x="1356" y="1446"/>
                  </a:lnTo>
                  <a:lnTo>
                    <a:pt x="1350" y="1452"/>
                  </a:lnTo>
                  <a:lnTo>
                    <a:pt x="1338" y="1452"/>
                  </a:lnTo>
                  <a:lnTo>
                    <a:pt x="1338" y="1458"/>
                  </a:lnTo>
                  <a:lnTo>
                    <a:pt x="1332" y="1458"/>
                  </a:lnTo>
                  <a:lnTo>
                    <a:pt x="1332" y="1464"/>
                  </a:lnTo>
                  <a:lnTo>
                    <a:pt x="1332" y="1470"/>
                  </a:lnTo>
                  <a:lnTo>
                    <a:pt x="1326" y="1470"/>
                  </a:lnTo>
                  <a:lnTo>
                    <a:pt x="1320" y="1470"/>
                  </a:lnTo>
                  <a:lnTo>
                    <a:pt x="1314" y="1470"/>
                  </a:lnTo>
                  <a:lnTo>
                    <a:pt x="1314" y="1464"/>
                  </a:lnTo>
                  <a:lnTo>
                    <a:pt x="1308" y="1464"/>
                  </a:lnTo>
                  <a:lnTo>
                    <a:pt x="1308" y="1452"/>
                  </a:lnTo>
                  <a:lnTo>
                    <a:pt x="1284" y="1458"/>
                  </a:lnTo>
                  <a:lnTo>
                    <a:pt x="1272" y="1458"/>
                  </a:lnTo>
                  <a:lnTo>
                    <a:pt x="1272" y="1464"/>
                  </a:lnTo>
                  <a:lnTo>
                    <a:pt x="1260" y="1464"/>
                  </a:lnTo>
                  <a:lnTo>
                    <a:pt x="1254" y="1464"/>
                  </a:lnTo>
                  <a:lnTo>
                    <a:pt x="1242" y="1422"/>
                  </a:lnTo>
                  <a:lnTo>
                    <a:pt x="1242" y="1416"/>
                  </a:lnTo>
                  <a:lnTo>
                    <a:pt x="1242" y="1410"/>
                  </a:lnTo>
                  <a:lnTo>
                    <a:pt x="1248" y="1410"/>
                  </a:lnTo>
                  <a:lnTo>
                    <a:pt x="1242" y="1410"/>
                  </a:lnTo>
                  <a:lnTo>
                    <a:pt x="1242" y="1404"/>
                  </a:lnTo>
                  <a:lnTo>
                    <a:pt x="1242" y="1398"/>
                  </a:lnTo>
                  <a:lnTo>
                    <a:pt x="1248" y="1392"/>
                  </a:lnTo>
                  <a:lnTo>
                    <a:pt x="1248" y="1386"/>
                  </a:lnTo>
                  <a:lnTo>
                    <a:pt x="1242" y="1380"/>
                  </a:lnTo>
                  <a:lnTo>
                    <a:pt x="1248" y="1380"/>
                  </a:lnTo>
                  <a:lnTo>
                    <a:pt x="1248" y="1374"/>
                  </a:lnTo>
                  <a:lnTo>
                    <a:pt x="1248" y="1368"/>
                  </a:lnTo>
                  <a:lnTo>
                    <a:pt x="1254" y="1368"/>
                  </a:lnTo>
                  <a:lnTo>
                    <a:pt x="1254" y="1362"/>
                  </a:lnTo>
                  <a:lnTo>
                    <a:pt x="1248" y="1356"/>
                  </a:lnTo>
                  <a:lnTo>
                    <a:pt x="1254" y="1356"/>
                  </a:lnTo>
                  <a:lnTo>
                    <a:pt x="1254" y="1344"/>
                  </a:lnTo>
                  <a:lnTo>
                    <a:pt x="1242" y="1338"/>
                  </a:lnTo>
                  <a:lnTo>
                    <a:pt x="1242" y="1326"/>
                  </a:lnTo>
                  <a:lnTo>
                    <a:pt x="1230" y="1326"/>
                  </a:lnTo>
                  <a:lnTo>
                    <a:pt x="1230" y="1314"/>
                  </a:lnTo>
                  <a:lnTo>
                    <a:pt x="1218" y="1314"/>
                  </a:lnTo>
                  <a:lnTo>
                    <a:pt x="1200" y="1272"/>
                  </a:lnTo>
                  <a:lnTo>
                    <a:pt x="1194" y="1242"/>
                  </a:lnTo>
                  <a:lnTo>
                    <a:pt x="1194" y="1206"/>
                  </a:lnTo>
                  <a:lnTo>
                    <a:pt x="1182" y="1200"/>
                  </a:lnTo>
                  <a:lnTo>
                    <a:pt x="1164" y="1206"/>
                  </a:lnTo>
                  <a:lnTo>
                    <a:pt x="1146" y="1212"/>
                  </a:lnTo>
                  <a:lnTo>
                    <a:pt x="1146" y="1218"/>
                  </a:lnTo>
                  <a:lnTo>
                    <a:pt x="1134" y="1224"/>
                  </a:lnTo>
                  <a:lnTo>
                    <a:pt x="1140" y="1260"/>
                  </a:lnTo>
                  <a:lnTo>
                    <a:pt x="1134" y="1266"/>
                  </a:lnTo>
                  <a:lnTo>
                    <a:pt x="1122" y="1266"/>
                  </a:lnTo>
                  <a:lnTo>
                    <a:pt x="1110" y="1236"/>
                  </a:lnTo>
                  <a:lnTo>
                    <a:pt x="1110" y="1224"/>
                  </a:lnTo>
                  <a:lnTo>
                    <a:pt x="1086" y="1224"/>
                  </a:lnTo>
                  <a:lnTo>
                    <a:pt x="1086" y="1212"/>
                  </a:lnTo>
                  <a:lnTo>
                    <a:pt x="1074" y="1212"/>
                  </a:lnTo>
                  <a:lnTo>
                    <a:pt x="1050" y="1212"/>
                  </a:lnTo>
                  <a:lnTo>
                    <a:pt x="1056" y="1218"/>
                  </a:lnTo>
                  <a:lnTo>
                    <a:pt x="1050" y="1272"/>
                  </a:lnTo>
                  <a:lnTo>
                    <a:pt x="1044" y="1272"/>
                  </a:lnTo>
                  <a:lnTo>
                    <a:pt x="1038" y="1284"/>
                  </a:lnTo>
                  <a:lnTo>
                    <a:pt x="1032" y="1302"/>
                  </a:lnTo>
                  <a:lnTo>
                    <a:pt x="1014" y="1302"/>
                  </a:lnTo>
                  <a:lnTo>
                    <a:pt x="1020" y="1284"/>
                  </a:lnTo>
                  <a:lnTo>
                    <a:pt x="1026" y="1278"/>
                  </a:lnTo>
                  <a:lnTo>
                    <a:pt x="1026" y="1266"/>
                  </a:lnTo>
                  <a:lnTo>
                    <a:pt x="1014" y="1260"/>
                  </a:lnTo>
                  <a:lnTo>
                    <a:pt x="1014" y="1272"/>
                  </a:lnTo>
                  <a:lnTo>
                    <a:pt x="990" y="1278"/>
                  </a:lnTo>
                  <a:lnTo>
                    <a:pt x="990" y="1254"/>
                  </a:lnTo>
                  <a:lnTo>
                    <a:pt x="984" y="1254"/>
                  </a:lnTo>
                  <a:lnTo>
                    <a:pt x="978" y="1242"/>
                  </a:lnTo>
                  <a:lnTo>
                    <a:pt x="972" y="1236"/>
                  </a:lnTo>
                  <a:lnTo>
                    <a:pt x="960" y="1206"/>
                  </a:lnTo>
                  <a:lnTo>
                    <a:pt x="942" y="1206"/>
                  </a:lnTo>
                  <a:lnTo>
                    <a:pt x="936" y="1200"/>
                  </a:lnTo>
                  <a:lnTo>
                    <a:pt x="906" y="1212"/>
                  </a:lnTo>
                  <a:lnTo>
                    <a:pt x="888" y="1230"/>
                  </a:lnTo>
                  <a:lnTo>
                    <a:pt x="876" y="1230"/>
                  </a:lnTo>
                  <a:lnTo>
                    <a:pt x="864" y="1236"/>
                  </a:lnTo>
                  <a:lnTo>
                    <a:pt x="858" y="1236"/>
                  </a:lnTo>
                  <a:lnTo>
                    <a:pt x="852" y="1254"/>
                  </a:lnTo>
                  <a:lnTo>
                    <a:pt x="858" y="1254"/>
                  </a:lnTo>
                  <a:lnTo>
                    <a:pt x="840" y="1266"/>
                  </a:lnTo>
                  <a:lnTo>
                    <a:pt x="828" y="1272"/>
                  </a:lnTo>
                  <a:lnTo>
                    <a:pt x="828" y="1284"/>
                  </a:lnTo>
                  <a:lnTo>
                    <a:pt x="822" y="1284"/>
                  </a:lnTo>
                  <a:lnTo>
                    <a:pt x="804" y="1296"/>
                  </a:lnTo>
                  <a:lnTo>
                    <a:pt x="804" y="1308"/>
                  </a:lnTo>
                  <a:lnTo>
                    <a:pt x="816" y="1320"/>
                  </a:lnTo>
                  <a:lnTo>
                    <a:pt x="828" y="1320"/>
                  </a:lnTo>
                  <a:lnTo>
                    <a:pt x="822" y="1338"/>
                  </a:lnTo>
                  <a:lnTo>
                    <a:pt x="852" y="1344"/>
                  </a:lnTo>
                  <a:lnTo>
                    <a:pt x="864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94" y="1356"/>
                  </a:lnTo>
                  <a:lnTo>
                    <a:pt x="912" y="1368"/>
                  </a:lnTo>
                  <a:lnTo>
                    <a:pt x="918" y="1380"/>
                  </a:lnTo>
                  <a:lnTo>
                    <a:pt x="936" y="1380"/>
                  </a:lnTo>
                  <a:lnTo>
                    <a:pt x="960" y="1386"/>
                  </a:lnTo>
                  <a:lnTo>
                    <a:pt x="990" y="1386"/>
                  </a:lnTo>
                  <a:lnTo>
                    <a:pt x="990" y="1392"/>
                  </a:lnTo>
                  <a:lnTo>
                    <a:pt x="1020" y="1398"/>
                  </a:lnTo>
                  <a:lnTo>
                    <a:pt x="1014" y="1404"/>
                  </a:lnTo>
                  <a:lnTo>
                    <a:pt x="1008" y="1404"/>
                  </a:lnTo>
                  <a:lnTo>
                    <a:pt x="1014" y="1440"/>
                  </a:lnTo>
                  <a:lnTo>
                    <a:pt x="1020" y="1458"/>
                  </a:lnTo>
                  <a:lnTo>
                    <a:pt x="1026" y="1476"/>
                  </a:lnTo>
                  <a:lnTo>
                    <a:pt x="1020" y="1476"/>
                  </a:lnTo>
                  <a:lnTo>
                    <a:pt x="1014" y="1476"/>
                  </a:lnTo>
                  <a:lnTo>
                    <a:pt x="1014" y="1482"/>
                  </a:lnTo>
                  <a:lnTo>
                    <a:pt x="1014" y="1488"/>
                  </a:lnTo>
                  <a:lnTo>
                    <a:pt x="1002" y="1488"/>
                  </a:lnTo>
                  <a:lnTo>
                    <a:pt x="1002" y="1494"/>
                  </a:lnTo>
                  <a:lnTo>
                    <a:pt x="996" y="1494"/>
                  </a:lnTo>
                  <a:lnTo>
                    <a:pt x="996" y="1518"/>
                  </a:lnTo>
                  <a:lnTo>
                    <a:pt x="1002" y="1524"/>
                  </a:lnTo>
                  <a:lnTo>
                    <a:pt x="1020" y="1530"/>
                  </a:lnTo>
                  <a:lnTo>
                    <a:pt x="1026" y="1542"/>
                  </a:lnTo>
                  <a:lnTo>
                    <a:pt x="1032" y="1566"/>
                  </a:lnTo>
                  <a:lnTo>
                    <a:pt x="1038" y="1578"/>
                  </a:lnTo>
                  <a:lnTo>
                    <a:pt x="1032" y="1584"/>
                  </a:lnTo>
                  <a:lnTo>
                    <a:pt x="1020" y="1584"/>
                  </a:lnTo>
                  <a:lnTo>
                    <a:pt x="1014" y="1584"/>
                  </a:lnTo>
                  <a:lnTo>
                    <a:pt x="1008" y="1596"/>
                  </a:lnTo>
                  <a:lnTo>
                    <a:pt x="990" y="1584"/>
                  </a:lnTo>
                  <a:lnTo>
                    <a:pt x="984" y="1602"/>
                  </a:lnTo>
                  <a:lnTo>
                    <a:pt x="978" y="1608"/>
                  </a:lnTo>
                  <a:lnTo>
                    <a:pt x="966" y="1608"/>
                  </a:lnTo>
                  <a:lnTo>
                    <a:pt x="960" y="1614"/>
                  </a:lnTo>
                  <a:lnTo>
                    <a:pt x="954" y="1614"/>
                  </a:lnTo>
                  <a:lnTo>
                    <a:pt x="942" y="1620"/>
                  </a:lnTo>
                  <a:lnTo>
                    <a:pt x="936" y="1620"/>
                  </a:lnTo>
                  <a:lnTo>
                    <a:pt x="930" y="1620"/>
                  </a:lnTo>
                  <a:lnTo>
                    <a:pt x="930" y="1626"/>
                  </a:lnTo>
                  <a:lnTo>
                    <a:pt x="930" y="1632"/>
                  </a:lnTo>
                  <a:lnTo>
                    <a:pt x="918" y="1632"/>
                  </a:lnTo>
                  <a:lnTo>
                    <a:pt x="912" y="1632"/>
                  </a:lnTo>
                  <a:lnTo>
                    <a:pt x="906" y="1632"/>
                  </a:lnTo>
                  <a:lnTo>
                    <a:pt x="900" y="1632"/>
                  </a:lnTo>
                  <a:lnTo>
                    <a:pt x="894" y="1626"/>
                  </a:lnTo>
                  <a:lnTo>
                    <a:pt x="894" y="1614"/>
                  </a:lnTo>
                  <a:lnTo>
                    <a:pt x="840" y="1614"/>
                  </a:lnTo>
                  <a:lnTo>
                    <a:pt x="840" y="1626"/>
                  </a:lnTo>
                  <a:lnTo>
                    <a:pt x="834" y="1626"/>
                  </a:lnTo>
                  <a:lnTo>
                    <a:pt x="828" y="1632"/>
                  </a:lnTo>
                  <a:lnTo>
                    <a:pt x="822" y="1638"/>
                  </a:lnTo>
                  <a:lnTo>
                    <a:pt x="822" y="1644"/>
                  </a:lnTo>
                  <a:lnTo>
                    <a:pt x="834" y="1650"/>
                  </a:lnTo>
                  <a:lnTo>
                    <a:pt x="840" y="1662"/>
                  </a:lnTo>
                  <a:lnTo>
                    <a:pt x="840" y="1668"/>
                  </a:lnTo>
                  <a:lnTo>
                    <a:pt x="858" y="1680"/>
                  </a:lnTo>
                  <a:lnTo>
                    <a:pt x="858" y="1752"/>
                  </a:lnTo>
                  <a:lnTo>
                    <a:pt x="864" y="1782"/>
                  </a:lnTo>
                  <a:lnTo>
                    <a:pt x="876" y="1788"/>
                  </a:lnTo>
                  <a:lnTo>
                    <a:pt x="870" y="1854"/>
                  </a:lnTo>
                  <a:lnTo>
                    <a:pt x="870" y="1884"/>
                  </a:lnTo>
                  <a:lnTo>
                    <a:pt x="864" y="1884"/>
                  </a:lnTo>
                  <a:lnTo>
                    <a:pt x="846" y="1896"/>
                  </a:lnTo>
                  <a:lnTo>
                    <a:pt x="840" y="1896"/>
                  </a:lnTo>
                  <a:lnTo>
                    <a:pt x="834" y="1896"/>
                  </a:lnTo>
                  <a:lnTo>
                    <a:pt x="828" y="1890"/>
                  </a:lnTo>
                  <a:lnTo>
                    <a:pt x="822" y="1890"/>
                  </a:lnTo>
                  <a:lnTo>
                    <a:pt x="816" y="1896"/>
                  </a:lnTo>
                  <a:lnTo>
                    <a:pt x="804" y="1896"/>
                  </a:lnTo>
                  <a:lnTo>
                    <a:pt x="804" y="1890"/>
                  </a:lnTo>
                  <a:lnTo>
                    <a:pt x="780" y="1896"/>
                  </a:lnTo>
                  <a:lnTo>
                    <a:pt x="780" y="1902"/>
                  </a:lnTo>
                  <a:lnTo>
                    <a:pt x="774" y="1914"/>
                  </a:lnTo>
                  <a:lnTo>
                    <a:pt x="762" y="1926"/>
                  </a:lnTo>
                  <a:lnTo>
                    <a:pt x="762" y="1950"/>
                  </a:lnTo>
                  <a:lnTo>
                    <a:pt x="762" y="1962"/>
                  </a:lnTo>
                  <a:lnTo>
                    <a:pt x="780" y="1974"/>
                  </a:lnTo>
                  <a:lnTo>
                    <a:pt x="780" y="1986"/>
                  </a:lnTo>
                  <a:lnTo>
                    <a:pt x="780" y="1998"/>
                  </a:lnTo>
                  <a:lnTo>
                    <a:pt x="756" y="1998"/>
                  </a:lnTo>
                  <a:lnTo>
                    <a:pt x="720" y="1992"/>
                  </a:lnTo>
                  <a:lnTo>
                    <a:pt x="666" y="1998"/>
                  </a:lnTo>
                  <a:lnTo>
                    <a:pt x="654" y="1998"/>
                  </a:lnTo>
                  <a:lnTo>
                    <a:pt x="660" y="1974"/>
                  </a:lnTo>
                  <a:lnTo>
                    <a:pt x="666" y="1962"/>
                  </a:lnTo>
                  <a:lnTo>
                    <a:pt x="678" y="1950"/>
                  </a:lnTo>
                  <a:lnTo>
                    <a:pt x="696" y="1932"/>
                  </a:lnTo>
                  <a:lnTo>
                    <a:pt x="696" y="1920"/>
                  </a:lnTo>
                  <a:lnTo>
                    <a:pt x="696" y="1896"/>
                  </a:lnTo>
                  <a:lnTo>
                    <a:pt x="678" y="1896"/>
                  </a:lnTo>
                  <a:lnTo>
                    <a:pt x="672" y="1884"/>
                  </a:lnTo>
                  <a:lnTo>
                    <a:pt x="672" y="1776"/>
                  </a:lnTo>
                  <a:lnTo>
                    <a:pt x="678" y="1758"/>
                  </a:lnTo>
                  <a:lnTo>
                    <a:pt x="678" y="1740"/>
                  </a:lnTo>
                  <a:lnTo>
                    <a:pt x="684" y="1728"/>
                  </a:lnTo>
                  <a:lnTo>
                    <a:pt x="690" y="1722"/>
                  </a:lnTo>
                  <a:lnTo>
                    <a:pt x="702" y="1722"/>
                  </a:lnTo>
                  <a:lnTo>
                    <a:pt x="708" y="1716"/>
                  </a:lnTo>
                  <a:lnTo>
                    <a:pt x="714" y="1710"/>
                  </a:lnTo>
                  <a:lnTo>
                    <a:pt x="720" y="1698"/>
                  </a:lnTo>
                  <a:lnTo>
                    <a:pt x="732" y="1692"/>
                  </a:lnTo>
                  <a:lnTo>
                    <a:pt x="744" y="1686"/>
                  </a:lnTo>
                  <a:lnTo>
                    <a:pt x="756" y="1680"/>
                  </a:lnTo>
                  <a:lnTo>
                    <a:pt x="768" y="1668"/>
                  </a:lnTo>
                  <a:lnTo>
                    <a:pt x="768" y="1650"/>
                  </a:lnTo>
                  <a:lnTo>
                    <a:pt x="774" y="1632"/>
                  </a:lnTo>
                  <a:lnTo>
                    <a:pt x="768" y="1620"/>
                  </a:lnTo>
                  <a:lnTo>
                    <a:pt x="774" y="1608"/>
                  </a:lnTo>
                  <a:lnTo>
                    <a:pt x="774" y="1578"/>
                  </a:lnTo>
                  <a:lnTo>
                    <a:pt x="774" y="1572"/>
                  </a:lnTo>
                  <a:lnTo>
                    <a:pt x="780" y="1560"/>
                  </a:lnTo>
                  <a:lnTo>
                    <a:pt x="780" y="1554"/>
                  </a:lnTo>
                  <a:lnTo>
                    <a:pt x="786" y="1542"/>
                  </a:lnTo>
                  <a:lnTo>
                    <a:pt x="792" y="1530"/>
                  </a:lnTo>
                  <a:lnTo>
                    <a:pt x="792" y="1518"/>
                  </a:lnTo>
                  <a:lnTo>
                    <a:pt x="792" y="1506"/>
                  </a:lnTo>
                  <a:lnTo>
                    <a:pt x="786" y="1500"/>
                  </a:lnTo>
                  <a:lnTo>
                    <a:pt x="774" y="1488"/>
                  </a:lnTo>
                  <a:lnTo>
                    <a:pt x="774" y="1482"/>
                  </a:lnTo>
                  <a:lnTo>
                    <a:pt x="762" y="1488"/>
                  </a:lnTo>
                  <a:lnTo>
                    <a:pt x="756" y="1494"/>
                  </a:lnTo>
                  <a:lnTo>
                    <a:pt x="744" y="1500"/>
                  </a:lnTo>
                  <a:lnTo>
                    <a:pt x="732" y="1506"/>
                  </a:lnTo>
                  <a:lnTo>
                    <a:pt x="726" y="1506"/>
                  </a:lnTo>
                  <a:lnTo>
                    <a:pt x="720" y="1506"/>
                  </a:lnTo>
                  <a:lnTo>
                    <a:pt x="702" y="1506"/>
                  </a:lnTo>
                  <a:lnTo>
                    <a:pt x="690" y="1500"/>
                  </a:lnTo>
                  <a:lnTo>
                    <a:pt x="678" y="1500"/>
                  </a:lnTo>
                  <a:lnTo>
                    <a:pt x="672" y="1500"/>
                  </a:lnTo>
                  <a:lnTo>
                    <a:pt x="660" y="1506"/>
                  </a:lnTo>
                  <a:lnTo>
                    <a:pt x="654" y="1506"/>
                  </a:lnTo>
                  <a:lnTo>
                    <a:pt x="648" y="1512"/>
                  </a:lnTo>
                  <a:lnTo>
                    <a:pt x="648" y="1518"/>
                  </a:lnTo>
                  <a:lnTo>
                    <a:pt x="618" y="1518"/>
                  </a:lnTo>
                  <a:lnTo>
                    <a:pt x="534" y="1494"/>
                  </a:lnTo>
                  <a:lnTo>
                    <a:pt x="528" y="1458"/>
                  </a:lnTo>
                  <a:lnTo>
                    <a:pt x="510" y="1458"/>
                  </a:lnTo>
                  <a:lnTo>
                    <a:pt x="492" y="1440"/>
                  </a:lnTo>
                  <a:lnTo>
                    <a:pt x="462" y="1440"/>
                  </a:lnTo>
                  <a:lnTo>
                    <a:pt x="456" y="1428"/>
                  </a:lnTo>
                  <a:lnTo>
                    <a:pt x="420" y="1428"/>
                  </a:lnTo>
                  <a:lnTo>
                    <a:pt x="390" y="1446"/>
                  </a:lnTo>
                  <a:lnTo>
                    <a:pt x="312" y="1452"/>
                  </a:lnTo>
                  <a:lnTo>
                    <a:pt x="300" y="1446"/>
                  </a:lnTo>
                  <a:lnTo>
                    <a:pt x="294" y="1446"/>
                  </a:lnTo>
                  <a:lnTo>
                    <a:pt x="288" y="1446"/>
                  </a:lnTo>
                  <a:lnTo>
                    <a:pt x="282" y="1440"/>
                  </a:lnTo>
                  <a:lnTo>
                    <a:pt x="276" y="1440"/>
                  </a:lnTo>
                  <a:lnTo>
                    <a:pt x="270" y="1440"/>
                  </a:lnTo>
                  <a:lnTo>
                    <a:pt x="264" y="1440"/>
                  </a:lnTo>
                  <a:lnTo>
                    <a:pt x="258" y="1434"/>
                  </a:lnTo>
                  <a:lnTo>
                    <a:pt x="252" y="1434"/>
                  </a:lnTo>
                  <a:lnTo>
                    <a:pt x="246" y="1428"/>
                  </a:lnTo>
                  <a:lnTo>
                    <a:pt x="240" y="1416"/>
                  </a:lnTo>
                  <a:lnTo>
                    <a:pt x="234" y="1404"/>
                  </a:lnTo>
                  <a:lnTo>
                    <a:pt x="228" y="1398"/>
                  </a:lnTo>
                  <a:lnTo>
                    <a:pt x="222" y="1398"/>
                  </a:lnTo>
                  <a:lnTo>
                    <a:pt x="216" y="1404"/>
                  </a:lnTo>
                  <a:lnTo>
                    <a:pt x="210" y="1404"/>
                  </a:lnTo>
                  <a:lnTo>
                    <a:pt x="204" y="1404"/>
                  </a:lnTo>
                  <a:lnTo>
                    <a:pt x="204" y="1398"/>
                  </a:lnTo>
                  <a:lnTo>
                    <a:pt x="198" y="1392"/>
                  </a:lnTo>
                  <a:lnTo>
                    <a:pt x="192" y="1386"/>
                  </a:lnTo>
                  <a:lnTo>
                    <a:pt x="168" y="1374"/>
                  </a:lnTo>
                  <a:lnTo>
                    <a:pt x="144" y="138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0" name="Freeform 35">
              <a:extLst>
                <a:ext uri="{FF2B5EF4-FFF2-40B4-BE49-F238E27FC236}">
                  <a16:creationId xmlns:a16="http://schemas.microsoft.com/office/drawing/2014/main" id="{F64BF16E-9D62-438E-A1CC-CD4088AC7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2895" y="1706004"/>
              <a:ext cx="767013" cy="785011"/>
            </a:xfrm>
            <a:custGeom>
              <a:avLst/>
              <a:gdLst>
                <a:gd name="T0" fmla="*/ 102 w 1440"/>
                <a:gd name="T1" fmla="*/ 104 h 1476"/>
                <a:gd name="T2" fmla="*/ 99 w 1440"/>
                <a:gd name="T3" fmla="*/ 108 h 1476"/>
                <a:gd name="T4" fmla="*/ 98 w 1440"/>
                <a:gd name="T5" fmla="*/ 112 h 1476"/>
                <a:gd name="T6" fmla="*/ 96 w 1440"/>
                <a:gd name="T7" fmla="*/ 116 h 1476"/>
                <a:gd name="T8" fmla="*/ 91 w 1440"/>
                <a:gd name="T9" fmla="*/ 118 h 1476"/>
                <a:gd name="T10" fmla="*/ 87 w 1440"/>
                <a:gd name="T11" fmla="*/ 120 h 1476"/>
                <a:gd name="T12" fmla="*/ 75 w 1440"/>
                <a:gd name="T13" fmla="*/ 120 h 1476"/>
                <a:gd name="T14" fmla="*/ 72 w 1440"/>
                <a:gd name="T15" fmla="*/ 123 h 1476"/>
                <a:gd name="T16" fmla="*/ 69 w 1440"/>
                <a:gd name="T17" fmla="*/ 128 h 1476"/>
                <a:gd name="T18" fmla="*/ 67 w 1440"/>
                <a:gd name="T19" fmla="*/ 127 h 1476"/>
                <a:gd name="T20" fmla="*/ 66 w 1440"/>
                <a:gd name="T21" fmla="*/ 123 h 1476"/>
                <a:gd name="T22" fmla="*/ 63 w 1440"/>
                <a:gd name="T23" fmla="*/ 119 h 1476"/>
                <a:gd name="T24" fmla="*/ 54 w 1440"/>
                <a:gd name="T25" fmla="*/ 114 h 1476"/>
                <a:gd name="T26" fmla="*/ 55 w 1440"/>
                <a:gd name="T27" fmla="*/ 106 h 1476"/>
                <a:gd name="T28" fmla="*/ 60 w 1440"/>
                <a:gd name="T29" fmla="*/ 100 h 1476"/>
                <a:gd name="T30" fmla="*/ 55 w 1440"/>
                <a:gd name="T31" fmla="*/ 91 h 1476"/>
                <a:gd name="T32" fmla="*/ 51 w 1440"/>
                <a:gd name="T33" fmla="*/ 86 h 1476"/>
                <a:gd name="T34" fmla="*/ 47 w 1440"/>
                <a:gd name="T35" fmla="*/ 85 h 1476"/>
                <a:gd name="T36" fmla="*/ 44 w 1440"/>
                <a:gd name="T37" fmla="*/ 82 h 1476"/>
                <a:gd name="T38" fmla="*/ 41 w 1440"/>
                <a:gd name="T39" fmla="*/ 83 h 1476"/>
                <a:gd name="T40" fmla="*/ 36 w 1440"/>
                <a:gd name="T41" fmla="*/ 83 h 1476"/>
                <a:gd name="T42" fmla="*/ 33 w 1440"/>
                <a:gd name="T43" fmla="*/ 83 h 1476"/>
                <a:gd name="T44" fmla="*/ 30 w 1440"/>
                <a:gd name="T45" fmla="*/ 83 h 1476"/>
                <a:gd name="T46" fmla="*/ 27 w 1440"/>
                <a:gd name="T47" fmla="*/ 83 h 1476"/>
                <a:gd name="T48" fmla="*/ 24 w 1440"/>
                <a:gd name="T49" fmla="*/ 82 h 1476"/>
                <a:gd name="T50" fmla="*/ 21 w 1440"/>
                <a:gd name="T51" fmla="*/ 80 h 1476"/>
                <a:gd name="T52" fmla="*/ 18 w 1440"/>
                <a:gd name="T53" fmla="*/ 79 h 1476"/>
                <a:gd name="T54" fmla="*/ 17 w 1440"/>
                <a:gd name="T55" fmla="*/ 78 h 1476"/>
                <a:gd name="T56" fmla="*/ 12 w 1440"/>
                <a:gd name="T57" fmla="*/ 78 h 1476"/>
                <a:gd name="T58" fmla="*/ 12 w 1440"/>
                <a:gd name="T59" fmla="*/ 78 h 1476"/>
                <a:gd name="T60" fmla="*/ 7 w 1440"/>
                <a:gd name="T61" fmla="*/ 80 h 1476"/>
                <a:gd name="T62" fmla="*/ 3 w 1440"/>
                <a:gd name="T63" fmla="*/ 81 h 1476"/>
                <a:gd name="T64" fmla="*/ 0 w 1440"/>
                <a:gd name="T65" fmla="*/ 76 h 1476"/>
                <a:gd name="T66" fmla="*/ 1 w 1440"/>
                <a:gd name="T67" fmla="*/ 50 h 1476"/>
                <a:gd name="T68" fmla="*/ 8 w 1440"/>
                <a:gd name="T69" fmla="*/ 48 h 1476"/>
                <a:gd name="T70" fmla="*/ 20 w 1440"/>
                <a:gd name="T71" fmla="*/ 49 h 1476"/>
                <a:gd name="T72" fmla="*/ 26 w 1440"/>
                <a:gd name="T73" fmla="*/ 50 h 1476"/>
                <a:gd name="T74" fmla="*/ 44 w 1440"/>
                <a:gd name="T75" fmla="*/ 47 h 1476"/>
                <a:gd name="T76" fmla="*/ 41 w 1440"/>
                <a:gd name="T77" fmla="*/ 24 h 1476"/>
                <a:gd name="T78" fmla="*/ 44 w 1440"/>
                <a:gd name="T79" fmla="*/ 20 h 1476"/>
                <a:gd name="T80" fmla="*/ 47 w 1440"/>
                <a:gd name="T81" fmla="*/ 18 h 1476"/>
                <a:gd name="T82" fmla="*/ 54 w 1440"/>
                <a:gd name="T83" fmla="*/ 21 h 1476"/>
                <a:gd name="T84" fmla="*/ 61 w 1440"/>
                <a:gd name="T85" fmla="*/ 23 h 1476"/>
                <a:gd name="T86" fmla="*/ 59 w 1440"/>
                <a:gd name="T87" fmla="*/ 14 h 1476"/>
                <a:gd name="T88" fmla="*/ 61 w 1440"/>
                <a:gd name="T89" fmla="*/ 8 h 1476"/>
                <a:gd name="T90" fmla="*/ 71 w 1440"/>
                <a:gd name="T91" fmla="*/ 7 h 1476"/>
                <a:gd name="T92" fmla="*/ 75 w 1440"/>
                <a:gd name="T93" fmla="*/ 0 h 1476"/>
                <a:gd name="T94" fmla="*/ 82 w 1440"/>
                <a:gd name="T95" fmla="*/ 3 h 1476"/>
                <a:gd name="T96" fmla="*/ 93 w 1440"/>
                <a:gd name="T97" fmla="*/ 5 h 1476"/>
                <a:gd name="T98" fmla="*/ 100 w 1440"/>
                <a:gd name="T99" fmla="*/ 1 h 1476"/>
                <a:gd name="T100" fmla="*/ 104 w 1440"/>
                <a:gd name="T101" fmla="*/ 4 h 1476"/>
                <a:gd name="T102" fmla="*/ 110 w 1440"/>
                <a:gd name="T103" fmla="*/ 10 h 1476"/>
                <a:gd name="T104" fmla="*/ 115 w 1440"/>
                <a:gd name="T105" fmla="*/ 23 h 1476"/>
                <a:gd name="T106" fmla="*/ 117 w 1440"/>
                <a:gd name="T107" fmla="*/ 42 h 1476"/>
                <a:gd name="T108" fmla="*/ 121 w 1440"/>
                <a:gd name="T109" fmla="*/ 52 h 1476"/>
                <a:gd name="T110" fmla="*/ 118 w 1440"/>
                <a:gd name="T111" fmla="*/ 62 h 1476"/>
                <a:gd name="T112" fmla="*/ 124 w 1440"/>
                <a:gd name="T113" fmla="*/ 66 h 1476"/>
                <a:gd name="T114" fmla="*/ 121 w 1440"/>
                <a:gd name="T115" fmla="*/ 71 h 1476"/>
                <a:gd name="T116" fmla="*/ 115 w 1440"/>
                <a:gd name="T117" fmla="*/ 76 h 1476"/>
                <a:gd name="T118" fmla="*/ 109 w 1440"/>
                <a:gd name="T119" fmla="*/ 76 h 1476"/>
                <a:gd name="T120" fmla="*/ 105 w 1440"/>
                <a:gd name="T121" fmla="*/ 86 h 1476"/>
                <a:gd name="T122" fmla="*/ 107 w 1440"/>
                <a:gd name="T123" fmla="*/ 97 h 147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40"/>
                <a:gd name="T187" fmla="*/ 0 h 1476"/>
                <a:gd name="T188" fmla="*/ 1440 w 1440"/>
                <a:gd name="T189" fmla="*/ 1476 h 147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40" h="1476">
                  <a:moveTo>
                    <a:pt x="1212" y="1164"/>
                  </a:moveTo>
                  <a:lnTo>
                    <a:pt x="1206" y="1170"/>
                  </a:lnTo>
                  <a:lnTo>
                    <a:pt x="1200" y="1176"/>
                  </a:lnTo>
                  <a:lnTo>
                    <a:pt x="1194" y="1176"/>
                  </a:lnTo>
                  <a:lnTo>
                    <a:pt x="1188" y="1188"/>
                  </a:lnTo>
                  <a:lnTo>
                    <a:pt x="1182" y="1194"/>
                  </a:lnTo>
                  <a:lnTo>
                    <a:pt x="1176" y="1194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64" y="1206"/>
                  </a:lnTo>
                  <a:lnTo>
                    <a:pt x="1158" y="1206"/>
                  </a:lnTo>
                  <a:lnTo>
                    <a:pt x="1152" y="1212"/>
                  </a:lnTo>
                  <a:lnTo>
                    <a:pt x="1146" y="1212"/>
                  </a:lnTo>
                  <a:lnTo>
                    <a:pt x="1140" y="1224"/>
                  </a:lnTo>
                  <a:lnTo>
                    <a:pt x="1134" y="1230"/>
                  </a:lnTo>
                  <a:lnTo>
                    <a:pt x="1128" y="1236"/>
                  </a:lnTo>
                  <a:lnTo>
                    <a:pt x="1128" y="1242"/>
                  </a:lnTo>
                  <a:lnTo>
                    <a:pt x="1128" y="1254"/>
                  </a:lnTo>
                  <a:lnTo>
                    <a:pt x="1128" y="1260"/>
                  </a:lnTo>
                  <a:lnTo>
                    <a:pt x="1122" y="1260"/>
                  </a:lnTo>
                  <a:lnTo>
                    <a:pt x="1122" y="1266"/>
                  </a:lnTo>
                  <a:lnTo>
                    <a:pt x="1128" y="1278"/>
                  </a:lnTo>
                  <a:lnTo>
                    <a:pt x="1122" y="1278"/>
                  </a:lnTo>
                  <a:lnTo>
                    <a:pt x="1122" y="1284"/>
                  </a:lnTo>
                  <a:lnTo>
                    <a:pt x="1128" y="1290"/>
                  </a:lnTo>
                  <a:lnTo>
                    <a:pt x="1122" y="1296"/>
                  </a:lnTo>
                  <a:lnTo>
                    <a:pt x="1122" y="1302"/>
                  </a:lnTo>
                  <a:lnTo>
                    <a:pt x="1116" y="1302"/>
                  </a:lnTo>
                  <a:lnTo>
                    <a:pt x="1110" y="1314"/>
                  </a:lnTo>
                  <a:lnTo>
                    <a:pt x="1110" y="1320"/>
                  </a:lnTo>
                  <a:lnTo>
                    <a:pt x="1110" y="1326"/>
                  </a:lnTo>
                  <a:lnTo>
                    <a:pt x="1098" y="1332"/>
                  </a:lnTo>
                  <a:lnTo>
                    <a:pt x="1092" y="1338"/>
                  </a:lnTo>
                  <a:lnTo>
                    <a:pt x="1092" y="1344"/>
                  </a:lnTo>
                  <a:lnTo>
                    <a:pt x="1086" y="1350"/>
                  </a:lnTo>
                  <a:lnTo>
                    <a:pt x="1080" y="1350"/>
                  </a:lnTo>
                  <a:lnTo>
                    <a:pt x="1074" y="1350"/>
                  </a:lnTo>
                  <a:lnTo>
                    <a:pt x="1068" y="1356"/>
                  </a:lnTo>
                  <a:lnTo>
                    <a:pt x="1062" y="1356"/>
                  </a:lnTo>
                  <a:lnTo>
                    <a:pt x="1044" y="1356"/>
                  </a:lnTo>
                  <a:lnTo>
                    <a:pt x="1038" y="1362"/>
                  </a:lnTo>
                  <a:lnTo>
                    <a:pt x="1032" y="1368"/>
                  </a:lnTo>
                  <a:lnTo>
                    <a:pt x="1026" y="1368"/>
                  </a:lnTo>
                  <a:lnTo>
                    <a:pt x="1020" y="1374"/>
                  </a:lnTo>
                  <a:lnTo>
                    <a:pt x="1008" y="1374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74"/>
                  </a:lnTo>
                  <a:lnTo>
                    <a:pt x="978" y="1380"/>
                  </a:lnTo>
                  <a:lnTo>
                    <a:pt x="972" y="1380"/>
                  </a:lnTo>
                  <a:lnTo>
                    <a:pt x="954" y="1368"/>
                  </a:lnTo>
                  <a:lnTo>
                    <a:pt x="930" y="1368"/>
                  </a:lnTo>
                  <a:lnTo>
                    <a:pt x="918" y="1368"/>
                  </a:lnTo>
                  <a:lnTo>
                    <a:pt x="906" y="1368"/>
                  </a:lnTo>
                  <a:lnTo>
                    <a:pt x="894" y="1368"/>
                  </a:lnTo>
                  <a:lnTo>
                    <a:pt x="864" y="1374"/>
                  </a:lnTo>
                  <a:lnTo>
                    <a:pt x="852" y="1374"/>
                  </a:lnTo>
                  <a:lnTo>
                    <a:pt x="846" y="1386"/>
                  </a:lnTo>
                  <a:lnTo>
                    <a:pt x="846" y="1392"/>
                  </a:lnTo>
                  <a:lnTo>
                    <a:pt x="840" y="1398"/>
                  </a:lnTo>
                  <a:lnTo>
                    <a:pt x="840" y="1404"/>
                  </a:lnTo>
                  <a:lnTo>
                    <a:pt x="834" y="1416"/>
                  </a:lnTo>
                  <a:lnTo>
                    <a:pt x="828" y="1416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04" y="1428"/>
                  </a:lnTo>
                  <a:lnTo>
                    <a:pt x="804" y="1434"/>
                  </a:lnTo>
                  <a:lnTo>
                    <a:pt x="804" y="1440"/>
                  </a:lnTo>
                  <a:lnTo>
                    <a:pt x="798" y="1446"/>
                  </a:lnTo>
                  <a:lnTo>
                    <a:pt x="798" y="1458"/>
                  </a:lnTo>
                  <a:lnTo>
                    <a:pt x="792" y="1464"/>
                  </a:lnTo>
                  <a:lnTo>
                    <a:pt x="786" y="1476"/>
                  </a:lnTo>
                  <a:lnTo>
                    <a:pt x="780" y="1470"/>
                  </a:lnTo>
                  <a:lnTo>
                    <a:pt x="774" y="1470"/>
                  </a:lnTo>
                  <a:lnTo>
                    <a:pt x="768" y="1470"/>
                  </a:lnTo>
                  <a:lnTo>
                    <a:pt x="762" y="1476"/>
                  </a:lnTo>
                  <a:lnTo>
                    <a:pt x="762" y="1470"/>
                  </a:lnTo>
                  <a:lnTo>
                    <a:pt x="762" y="1464"/>
                  </a:lnTo>
                  <a:lnTo>
                    <a:pt x="762" y="1458"/>
                  </a:lnTo>
                  <a:lnTo>
                    <a:pt x="756" y="1458"/>
                  </a:lnTo>
                  <a:lnTo>
                    <a:pt x="756" y="1452"/>
                  </a:lnTo>
                  <a:lnTo>
                    <a:pt x="756" y="1446"/>
                  </a:lnTo>
                  <a:lnTo>
                    <a:pt x="756" y="1440"/>
                  </a:lnTo>
                  <a:lnTo>
                    <a:pt x="750" y="1434"/>
                  </a:lnTo>
                  <a:lnTo>
                    <a:pt x="750" y="1428"/>
                  </a:lnTo>
                  <a:lnTo>
                    <a:pt x="750" y="1422"/>
                  </a:lnTo>
                  <a:lnTo>
                    <a:pt x="750" y="1416"/>
                  </a:lnTo>
                  <a:lnTo>
                    <a:pt x="744" y="1416"/>
                  </a:lnTo>
                  <a:lnTo>
                    <a:pt x="744" y="1410"/>
                  </a:lnTo>
                  <a:lnTo>
                    <a:pt x="738" y="1404"/>
                  </a:lnTo>
                  <a:lnTo>
                    <a:pt x="732" y="1398"/>
                  </a:lnTo>
                  <a:lnTo>
                    <a:pt x="732" y="1392"/>
                  </a:lnTo>
                  <a:lnTo>
                    <a:pt x="726" y="1386"/>
                  </a:lnTo>
                  <a:lnTo>
                    <a:pt x="726" y="1380"/>
                  </a:lnTo>
                  <a:lnTo>
                    <a:pt x="714" y="1368"/>
                  </a:lnTo>
                  <a:lnTo>
                    <a:pt x="708" y="1368"/>
                  </a:lnTo>
                  <a:lnTo>
                    <a:pt x="684" y="1332"/>
                  </a:lnTo>
                  <a:lnTo>
                    <a:pt x="666" y="1320"/>
                  </a:lnTo>
                  <a:lnTo>
                    <a:pt x="648" y="1302"/>
                  </a:lnTo>
                  <a:lnTo>
                    <a:pt x="630" y="1314"/>
                  </a:lnTo>
                  <a:lnTo>
                    <a:pt x="624" y="1314"/>
                  </a:lnTo>
                  <a:lnTo>
                    <a:pt x="624" y="1308"/>
                  </a:lnTo>
                  <a:lnTo>
                    <a:pt x="618" y="1308"/>
                  </a:lnTo>
                  <a:lnTo>
                    <a:pt x="612" y="1284"/>
                  </a:lnTo>
                  <a:lnTo>
                    <a:pt x="606" y="1254"/>
                  </a:lnTo>
                  <a:lnTo>
                    <a:pt x="606" y="1248"/>
                  </a:lnTo>
                  <a:lnTo>
                    <a:pt x="606" y="1242"/>
                  </a:lnTo>
                  <a:lnTo>
                    <a:pt x="612" y="1242"/>
                  </a:lnTo>
                  <a:lnTo>
                    <a:pt x="618" y="1236"/>
                  </a:lnTo>
                  <a:lnTo>
                    <a:pt x="618" y="1230"/>
                  </a:lnTo>
                  <a:lnTo>
                    <a:pt x="624" y="1224"/>
                  </a:lnTo>
                  <a:lnTo>
                    <a:pt x="630" y="1224"/>
                  </a:lnTo>
                  <a:lnTo>
                    <a:pt x="636" y="1218"/>
                  </a:lnTo>
                  <a:lnTo>
                    <a:pt x="636" y="1212"/>
                  </a:lnTo>
                  <a:lnTo>
                    <a:pt x="612" y="1200"/>
                  </a:lnTo>
                  <a:lnTo>
                    <a:pt x="606" y="1182"/>
                  </a:lnTo>
                  <a:lnTo>
                    <a:pt x="672" y="1182"/>
                  </a:lnTo>
                  <a:lnTo>
                    <a:pt x="690" y="1170"/>
                  </a:lnTo>
                  <a:lnTo>
                    <a:pt x="690" y="1152"/>
                  </a:lnTo>
                  <a:lnTo>
                    <a:pt x="678" y="1110"/>
                  </a:lnTo>
                  <a:lnTo>
                    <a:pt x="672" y="1092"/>
                  </a:lnTo>
                  <a:lnTo>
                    <a:pt x="660" y="1074"/>
                  </a:lnTo>
                  <a:lnTo>
                    <a:pt x="648" y="1068"/>
                  </a:lnTo>
                  <a:lnTo>
                    <a:pt x="642" y="1068"/>
                  </a:lnTo>
                  <a:lnTo>
                    <a:pt x="636" y="1062"/>
                  </a:lnTo>
                  <a:lnTo>
                    <a:pt x="624" y="1056"/>
                  </a:lnTo>
                  <a:lnTo>
                    <a:pt x="624" y="1050"/>
                  </a:lnTo>
                  <a:lnTo>
                    <a:pt x="618" y="1038"/>
                  </a:lnTo>
                  <a:lnTo>
                    <a:pt x="612" y="1038"/>
                  </a:lnTo>
                  <a:lnTo>
                    <a:pt x="612" y="1032"/>
                  </a:lnTo>
                  <a:lnTo>
                    <a:pt x="612" y="1026"/>
                  </a:lnTo>
                  <a:lnTo>
                    <a:pt x="600" y="1014"/>
                  </a:lnTo>
                  <a:lnTo>
                    <a:pt x="582" y="1008"/>
                  </a:lnTo>
                  <a:lnTo>
                    <a:pt x="576" y="1002"/>
                  </a:lnTo>
                  <a:lnTo>
                    <a:pt x="576" y="996"/>
                  </a:lnTo>
                  <a:lnTo>
                    <a:pt x="570" y="996"/>
                  </a:lnTo>
                  <a:lnTo>
                    <a:pt x="570" y="990"/>
                  </a:lnTo>
                  <a:lnTo>
                    <a:pt x="570" y="984"/>
                  </a:lnTo>
                  <a:lnTo>
                    <a:pt x="564" y="984"/>
                  </a:lnTo>
                  <a:lnTo>
                    <a:pt x="558" y="978"/>
                  </a:lnTo>
                  <a:lnTo>
                    <a:pt x="552" y="972"/>
                  </a:lnTo>
                  <a:lnTo>
                    <a:pt x="552" y="966"/>
                  </a:lnTo>
                  <a:lnTo>
                    <a:pt x="546" y="972"/>
                  </a:lnTo>
                  <a:lnTo>
                    <a:pt x="540" y="972"/>
                  </a:lnTo>
                  <a:lnTo>
                    <a:pt x="534" y="960"/>
                  </a:lnTo>
                  <a:lnTo>
                    <a:pt x="528" y="960"/>
                  </a:lnTo>
                  <a:lnTo>
                    <a:pt x="528" y="966"/>
                  </a:lnTo>
                  <a:lnTo>
                    <a:pt x="516" y="954"/>
                  </a:lnTo>
                  <a:lnTo>
                    <a:pt x="516" y="948"/>
                  </a:lnTo>
                  <a:lnTo>
                    <a:pt x="510" y="948"/>
                  </a:lnTo>
                  <a:lnTo>
                    <a:pt x="504" y="948"/>
                  </a:lnTo>
                  <a:lnTo>
                    <a:pt x="498" y="948"/>
                  </a:lnTo>
                  <a:lnTo>
                    <a:pt x="504" y="954"/>
                  </a:lnTo>
                  <a:lnTo>
                    <a:pt x="498" y="954"/>
                  </a:lnTo>
                  <a:lnTo>
                    <a:pt x="492" y="954"/>
                  </a:lnTo>
                  <a:lnTo>
                    <a:pt x="480" y="942"/>
                  </a:lnTo>
                  <a:lnTo>
                    <a:pt x="480" y="948"/>
                  </a:lnTo>
                  <a:lnTo>
                    <a:pt x="480" y="954"/>
                  </a:lnTo>
                  <a:lnTo>
                    <a:pt x="474" y="954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56" y="966"/>
                  </a:lnTo>
                  <a:lnTo>
                    <a:pt x="456" y="960"/>
                  </a:lnTo>
                  <a:lnTo>
                    <a:pt x="450" y="966"/>
                  </a:lnTo>
                  <a:lnTo>
                    <a:pt x="444" y="966"/>
                  </a:lnTo>
                  <a:lnTo>
                    <a:pt x="414" y="966"/>
                  </a:lnTo>
                  <a:lnTo>
                    <a:pt x="408" y="960"/>
                  </a:lnTo>
                  <a:lnTo>
                    <a:pt x="408" y="966"/>
                  </a:lnTo>
                  <a:lnTo>
                    <a:pt x="402" y="960"/>
                  </a:lnTo>
                  <a:lnTo>
                    <a:pt x="396" y="960"/>
                  </a:lnTo>
                  <a:lnTo>
                    <a:pt x="390" y="960"/>
                  </a:lnTo>
                  <a:lnTo>
                    <a:pt x="390" y="966"/>
                  </a:lnTo>
                  <a:lnTo>
                    <a:pt x="384" y="966"/>
                  </a:lnTo>
                  <a:lnTo>
                    <a:pt x="378" y="966"/>
                  </a:lnTo>
                  <a:lnTo>
                    <a:pt x="384" y="960"/>
                  </a:lnTo>
                  <a:lnTo>
                    <a:pt x="384" y="954"/>
                  </a:lnTo>
                  <a:lnTo>
                    <a:pt x="372" y="948"/>
                  </a:lnTo>
                  <a:lnTo>
                    <a:pt x="372" y="954"/>
                  </a:lnTo>
                  <a:lnTo>
                    <a:pt x="372" y="960"/>
                  </a:lnTo>
                  <a:lnTo>
                    <a:pt x="366" y="960"/>
                  </a:lnTo>
                  <a:lnTo>
                    <a:pt x="360" y="966"/>
                  </a:lnTo>
                  <a:lnTo>
                    <a:pt x="354" y="966"/>
                  </a:lnTo>
                  <a:lnTo>
                    <a:pt x="348" y="960"/>
                  </a:lnTo>
                  <a:lnTo>
                    <a:pt x="342" y="960"/>
                  </a:lnTo>
                  <a:lnTo>
                    <a:pt x="342" y="966"/>
                  </a:lnTo>
                  <a:lnTo>
                    <a:pt x="336" y="972"/>
                  </a:lnTo>
                  <a:lnTo>
                    <a:pt x="330" y="972"/>
                  </a:lnTo>
                  <a:lnTo>
                    <a:pt x="324" y="966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6" y="954"/>
                  </a:lnTo>
                  <a:lnTo>
                    <a:pt x="306" y="948"/>
                  </a:lnTo>
                  <a:lnTo>
                    <a:pt x="306" y="942"/>
                  </a:lnTo>
                  <a:lnTo>
                    <a:pt x="300" y="942"/>
                  </a:lnTo>
                  <a:lnTo>
                    <a:pt x="294" y="936"/>
                  </a:lnTo>
                  <a:lnTo>
                    <a:pt x="288" y="936"/>
                  </a:lnTo>
                  <a:lnTo>
                    <a:pt x="282" y="942"/>
                  </a:lnTo>
                  <a:lnTo>
                    <a:pt x="276" y="936"/>
                  </a:lnTo>
                  <a:lnTo>
                    <a:pt x="276" y="942"/>
                  </a:lnTo>
                  <a:lnTo>
                    <a:pt x="270" y="942"/>
                  </a:lnTo>
                  <a:lnTo>
                    <a:pt x="264" y="936"/>
                  </a:lnTo>
                  <a:lnTo>
                    <a:pt x="252" y="936"/>
                  </a:lnTo>
                  <a:lnTo>
                    <a:pt x="246" y="936"/>
                  </a:lnTo>
                  <a:lnTo>
                    <a:pt x="240" y="936"/>
                  </a:lnTo>
                  <a:lnTo>
                    <a:pt x="234" y="936"/>
                  </a:lnTo>
                  <a:lnTo>
                    <a:pt x="240" y="924"/>
                  </a:lnTo>
                  <a:lnTo>
                    <a:pt x="234" y="924"/>
                  </a:lnTo>
                  <a:lnTo>
                    <a:pt x="228" y="918"/>
                  </a:lnTo>
                  <a:lnTo>
                    <a:pt x="228" y="906"/>
                  </a:lnTo>
                  <a:lnTo>
                    <a:pt x="222" y="900"/>
                  </a:lnTo>
                  <a:lnTo>
                    <a:pt x="216" y="900"/>
                  </a:lnTo>
                  <a:lnTo>
                    <a:pt x="210" y="900"/>
                  </a:lnTo>
                  <a:lnTo>
                    <a:pt x="210" y="906"/>
                  </a:lnTo>
                  <a:lnTo>
                    <a:pt x="204" y="906"/>
                  </a:lnTo>
                  <a:lnTo>
                    <a:pt x="198" y="906"/>
                  </a:lnTo>
                  <a:lnTo>
                    <a:pt x="210" y="900"/>
                  </a:lnTo>
                  <a:lnTo>
                    <a:pt x="210" y="894"/>
                  </a:lnTo>
                  <a:lnTo>
                    <a:pt x="216" y="888"/>
                  </a:lnTo>
                  <a:lnTo>
                    <a:pt x="204" y="882"/>
                  </a:lnTo>
                  <a:lnTo>
                    <a:pt x="204" y="894"/>
                  </a:lnTo>
                  <a:lnTo>
                    <a:pt x="198" y="894"/>
                  </a:lnTo>
                  <a:lnTo>
                    <a:pt x="192" y="900"/>
                  </a:lnTo>
                  <a:lnTo>
                    <a:pt x="186" y="894"/>
                  </a:lnTo>
                  <a:lnTo>
                    <a:pt x="180" y="894"/>
                  </a:lnTo>
                  <a:lnTo>
                    <a:pt x="174" y="894"/>
                  </a:lnTo>
                  <a:lnTo>
                    <a:pt x="168" y="900"/>
                  </a:lnTo>
                  <a:lnTo>
                    <a:pt x="162" y="906"/>
                  </a:lnTo>
                  <a:lnTo>
                    <a:pt x="156" y="906"/>
                  </a:lnTo>
                  <a:lnTo>
                    <a:pt x="150" y="900"/>
                  </a:lnTo>
                  <a:lnTo>
                    <a:pt x="144" y="894"/>
                  </a:lnTo>
                  <a:lnTo>
                    <a:pt x="138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0" y="888"/>
                  </a:lnTo>
                  <a:lnTo>
                    <a:pt x="114" y="894"/>
                  </a:lnTo>
                  <a:lnTo>
                    <a:pt x="120" y="900"/>
                  </a:lnTo>
                  <a:lnTo>
                    <a:pt x="126" y="900"/>
                  </a:lnTo>
                  <a:lnTo>
                    <a:pt x="132" y="900"/>
                  </a:lnTo>
                  <a:lnTo>
                    <a:pt x="132" y="906"/>
                  </a:lnTo>
                  <a:lnTo>
                    <a:pt x="126" y="912"/>
                  </a:lnTo>
                  <a:lnTo>
                    <a:pt x="126" y="918"/>
                  </a:lnTo>
                  <a:lnTo>
                    <a:pt x="114" y="918"/>
                  </a:lnTo>
                  <a:lnTo>
                    <a:pt x="108" y="924"/>
                  </a:lnTo>
                  <a:lnTo>
                    <a:pt x="102" y="924"/>
                  </a:lnTo>
                  <a:lnTo>
                    <a:pt x="90" y="924"/>
                  </a:lnTo>
                  <a:lnTo>
                    <a:pt x="84" y="924"/>
                  </a:lnTo>
                  <a:lnTo>
                    <a:pt x="78" y="924"/>
                  </a:lnTo>
                  <a:lnTo>
                    <a:pt x="60" y="924"/>
                  </a:lnTo>
                  <a:lnTo>
                    <a:pt x="54" y="942"/>
                  </a:lnTo>
                  <a:lnTo>
                    <a:pt x="48" y="936"/>
                  </a:lnTo>
                  <a:lnTo>
                    <a:pt x="42" y="930"/>
                  </a:lnTo>
                  <a:lnTo>
                    <a:pt x="36" y="930"/>
                  </a:lnTo>
                  <a:lnTo>
                    <a:pt x="30" y="936"/>
                  </a:lnTo>
                  <a:lnTo>
                    <a:pt x="30" y="930"/>
                  </a:lnTo>
                  <a:lnTo>
                    <a:pt x="30" y="924"/>
                  </a:lnTo>
                  <a:lnTo>
                    <a:pt x="18" y="918"/>
                  </a:lnTo>
                  <a:lnTo>
                    <a:pt x="18" y="912"/>
                  </a:lnTo>
                  <a:lnTo>
                    <a:pt x="12" y="912"/>
                  </a:lnTo>
                  <a:lnTo>
                    <a:pt x="6" y="912"/>
                  </a:lnTo>
                  <a:lnTo>
                    <a:pt x="6" y="900"/>
                  </a:lnTo>
                  <a:lnTo>
                    <a:pt x="6" y="894"/>
                  </a:lnTo>
                  <a:lnTo>
                    <a:pt x="0" y="870"/>
                  </a:lnTo>
                  <a:lnTo>
                    <a:pt x="6" y="846"/>
                  </a:lnTo>
                  <a:lnTo>
                    <a:pt x="6" y="810"/>
                  </a:lnTo>
                  <a:lnTo>
                    <a:pt x="12" y="774"/>
                  </a:lnTo>
                  <a:lnTo>
                    <a:pt x="12" y="756"/>
                  </a:lnTo>
                  <a:lnTo>
                    <a:pt x="18" y="744"/>
                  </a:lnTo>
                  <a:lnTo>
                    <a:pt x="18" y="732"/>
                  </a:lnTo>
                  <a:lnTo>
                    <a:pt x="12" y="576"/>
                  </a:lnTo>
                  <a:lnTo>
                    <a:pt x="12" y="570"/>
                  </a:lnTo>
                  <a:lnTo>
                    <a:pt x="18" y="564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42" y="552"/>
                  </a:lnTo>
                  <a:lnTo>
                    <a:pt x="66" y="552"/>
                  </a:lnTo>
                  <a:lnTo>
                    <a:pt x="78" y="558"/>
                  </a:lnTo>
                  <a:lnTo>
                    <a:pt x="90" y="558"/>
                  </a:lnTo>
                  <a:lnTo>
                    <a:pt x="108" y="558"/>
                  </a:lnTo>
                  <a:lnTo>
                    <a:pt x="144" y="558"/>
                  </a:lnTo>
                  <a:lnTo>
                    <a:pt x="204" y="552"/>
                  </a:lnTo>
                  <a:lnTo>
                    <a:pt x="210" y="558"/>
                  </a:lnTo>
                  <a:lnTo>
                    <a:pt x="216" y="558"/>
                  </a:lnTo>
                  <a:lnTo>
                    <a:pt x="210" y="564"/>
                  </a:lnTo>
                  <a:lnTo>
                    <a:pt x="216" y="564"/>
                  </a:lnTo>
                  <a:lnTo>
                    <a:pt x="222" y="564"/>
                  </a:lnTo>
                  <a:lnTo>
                    <a:pt x="240" y="564"/>
                  </a:lnTo>
                  <a:lnTo>
                    <a:pt x="258" y="564"/>
                  </a:lnTo>
                  <a:lnTo>
                    <a:pt x="264" y="570"/>
                  </a:lnTo>
                  <a:lnTo>
                    <a:pt x="276" y="570"/>
                  </a:lnTo>
                  <a:lnTo>
                    <a:pt x="282" y="564"/>
                  </a:lnTo>
                  <a:lnTo>
                    <a:pt x="294" y="564"/>
                  </a:lnTo>
                  <a:lnTo>
                    <a:pt x="294" y="570"/>
                  </a:lnTo>
                  <a:lnTo>
                    <a:pt x="300" y="570"/>
                  </a:lnTo>
                  <a:lnTo>
                    <a:pt x="378" y="564"/>
                  </a:lnTo>
                  <a:lnTo>
                    <a:pt x="408" y="558"/>
                  </a:lnTo>
                  <a:lnTo>
                    <a:pt x="432" y="552"/>
                  </a:lnTo>
                  <a:lnTo>
                    <a:pt x="450" y="546"/>
                  </a:lnTo>
                  <a:lnTo>
                    <a:pt x="468" y="546"/>
                  </a:lnTo>
                  <a:lnTo>
                    <a:pt x="468" y="552"/>
                  </a:lnTo>
                  <a:lnTo>
                    <a:pt x="504" y="552"/>
                  </a:lnTo>
                  <a:lnTo>
                    <a:pt x="510" y="534"/>
                  </a:lnTo>
                  <a:lnTo>
                    <a:pt x="516" y="510"/>
                  </a:lnTo>
                  <a:lnTo>
                    <a:pt x="522" y="510"/>
                  </a:lnTo>
                  <a:lnTo>
                    <a:pt x="528" y="420"/>
                  </a:lnTo>
                  <a:lnTo>
                    <a:pt x="522" y="414"/>
                  </a:lnTo>
                  <a:lnTo>
                    <a:pt x="516" y="396"/>
                  </a:lnTo>
                  <a:lnTo>
                    <a:pt x="510" y="372"/>
                  </a:lnTo>
                  <a:lnTo>
                    <a:pt x="498" y="348"/>
                  </a:lnTo>
                  <a:lnTo>
                    <a:pt x="474" y="282"/>
                  </a:lnTo>
                  <a:lnTo>
                    <a:pt x="474" y="270"/>
                  </a:lnTo>
                  <a:lnTo>
                    <a:pt x="480" y="258"/>
                  </a:lnTo>
                  <a:lnTo>
                    <a:pt x="486" y="258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92" y="246"/>
                  </a:lnTo>
                  <a:lnTo>
                    <a:pt x="504" y="234"/>
                  </a:lnTo>
                  <a:lnTo>
                    <a:pt x="510" y="228"/>
                  </a:lnTo>
                  <a:lnTo>
                    <a:pt x="516" y="228"/>
                  </a:lnTo>
                  <a:lnTo>
                    <a:pt x="516" y="222"/>
                  </a:lnTo>
                  <a:lnTo>
                    <a:pt x="516" y="216"/>
                  </a:lnTo>
                  <a:lnTo>
                    <a:pt x="522" y="216"/>
                  </a:lnTo>
                  <a:lnTo>
                    <a:pt x="528" y="210"/>
                  </a:lnTo>
                  <a:lnTo>
                    <a:pt x="534" y="210"/>
                  </a:lnTo>
                  <a:lnTo>
                    <a:pt x="540" y="210"/>
                  </a:lnTo>
                  <a:lnTo>
                    <a:pt x="546" y="210"/>
                  </a:lnTo>
                  <a:lnTo>
                    <a:pt x="552" y="210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16"/>
                  </a:lnTo>
                  <a:lnTo>
                    <a:pt x="588" y="228"/>
                  </a:lnTo>
                  <a:lnTo>
                    <a:pt x="594" y="234"/>
                  </a:lnTo>
                  <a:lnTo>
                    <a:pt x="600" y="240"/>
                  </a:lnTo>
                  <a:lnTo>
                    <a:pt x="618" y="246"/>
                  </a:lnTo>
                  <a:lnTo>
                    <a:pt x="624" y="246"/>
                  </a:lnTo>
                  <a:lnTo>
                    <a:pt x="636" y="252"/>
                  </a:lnTo>
                  <a:lnTo>
                    <a:pt x="654" y="252"/>
                  </a:lnTo>
                  <a:lnTo>
                    <a:pt x="654" y="258"/>
                  </a:lnTo>
                  <a:lnTo>
                    <a:pt x="666" y="264"/>
                  </a:lnTo>
                  <a:lnTo>
                    <a:pt x="672" y="264"/>
                  </a:lnTo>
                  <a:lnTo>
                    <a:pt x="678" y="264"/>
                  </a:lnTo>
                  <a:lnTo>
                    <a:pt x="696" y="258"/>
                  </a:lnTo>
                  <a:lnTo>
                    <a:pt x="696" y="252"/>
                  </a:lnTo>
                  <a:lnTo>
                    <a:pt x="696" y="246"/>
                  </a:lnTo>
                  <a:lnTo>
                    <a:pt x="690" y="234"/>
                  </a:lnTo>
                  <a:lnTo>
                    <a:pt x="684" y="210"/>
                  </a:lnTo>
                  <a:lnTo>
                    <a:pt x="678" y="192"/>
                  </a:lnTo>
                  <a:lnTo>
                    <a:pt x="672" y="174"/>
                  </a:lnTo>
                  <a:lnTo>
                    <a:pt x="672" y="168"/>
                  </a:lnTo>
                  <a:lnTo>
                    <a:pt x="672" y="162"/>
                  </a:lnTo>
                  <a:lnTo>
                    <a:pt x="672" y="156"/>
                  </a:lnTo>
                  <a:lnTo>
                    <a:pt x="684" y="132"/>
                  </a:lnTo>
                  <a:lnTo>
                    <a:pt x="684" y="120"/>
                  </a:lnTo>
                  <a:lnTo>
                    <a:pt x="684" y="108"/>
                  </a:lnTo>
                  <a:lnTo>
                    <a:pt x="678" y="102"/>
                  </a:lnTo>
                  <a:lnTo>
                    <a:pt x="678" y="96"/>
                  </a:lnTo>
                  <a:lnTo>
                    <a:pt x="684" y="96"/>
                  </a:lnTo>
                  <a:lnTo>
                    <a:pt x="696" y="90"/>
                  </a:lnTo>
                  <a:lnTo>
                    <a:pt x="702" y="84"/>
                  </a:lnTo>
                  <a:lnTo>
                    <a:pt x="720" y="72"/>
                  </a:lnTo>
                  <a:lnTo>
                    <a:pt x="738" y="66"/>
                  </a:lnTo>
                  <a:lnTo>
                    <a:pt x="756" y="60"/>
                  </a:lnTo>
                  <a:lnTo>
                    <a:pt x="768" y="60"/>
                  </a:lnTo>
                  <a:lnTo>
                    <a:pt x="798" y="72"/>
                  </a:lnTo>
                  <a:lnTo>
                    <a:pt x="804" y="78"/>
                  </a:lnTo>
                  <a:lnTo>
                    <a:pt x="816" y="84"/>
                  </a:lnTo>
                  <a:lnTo>
                    <a:pt x="822" y="84"/>
                  </a:lnTo>
                  <a:lnTo>
                    <a:pt x="828" y="72"/>
                  </a:lnTo>
                  <a:lnTo>
                    <a:pt x="828" y="60"/>
                  </a:lnTo>
                  <a:lnTo>
                    <a:pt x="828" y="36"/>
                  </a:lnTo>
                  <a:lnTo>
                    <a:pt x="828" y="24"/>
                  </a:lnTo>
                  <a:lnTo>
                    <a:pt x="828" y="12"/>
                  </a:lnTo>
                  <a:lnTo>
                    <a:pt x="834" y="12"/>
                  </a:lnTo>
                  <a:lnTo>
                    <a:pt x="852" y="6"/>
                  </a:lnTo>
                  <a:lnTo>
                    <a:pt x="876" y="6"/>
                  </a:lnTo>
                  <a:lnTo>
                    <a:pt x="894" y="6"/>
                  </a:lnTo>
                  <a:lnTo>
                    <a:pt x="906" y="12"/>
                  </a:lnTo>
                  <a:lnTo>
                    <a:pt x="912" y="24"/>
                  </a:lnTo>
                  <a:lnTo>
                    <a:pt x="924" y="24"/>
                  </a:lnTo>
                  <a:lnTo>
                    <a:pt x="930" y="30"/>
                  </a:lnTo>
                  <a:lnTo>
                    <a:pt x="936" y="30"/>
                  </a:lnTo>
                  <a:lnTo>
                    <a:pt x="936" y="36"/>
                  </a:lnTo>
                  <a:lnTo>
                    <a:pt x="942" y="36"/>
                  </a:lnTo>
                  <a:lnTo>
                    <a:pt x="948" y="42"/>
                  </a:lnTo>
                  <a:lnTo>
                    <a:pt x="960" y="48"/>
                  </a:lnTo>
                  <a:lnTo>
                    <a:pt x="966" y="48"/>
                  </a:lnTo>
                  <a:lnTo>
                    <a:pt x="1026" y="60"/>
                  </a:lnTo>
                  <a:lnTo>
                    <a:pt x="1050" y="60"/>
                  </a:lnTo>
                  <a:lnTo>
                    <a:pt x="1050" y="54"/>
                  </a:lnTo>
                  <a:lnTo>
                    <a:pt x="1062" y="54"/>
                  </a:lnTo>
                  <a:lnTo>
                    <a:pt x="1074" y="48"/>
                  </a:lnTo>
                  <a:lnTo>
                    <a:pt x="1086" y="42"/>
                  </a:lnTo>
                  <a:lnTo>
                    <a:pt x="1104" y="36"/>
                  </a:lnTo>
                  <a:lnTo>
                    <a:pt x="1116" y="30"/>
                  </a:lnTo>
                  <a:lnTo>
                    <a:pt x="1122" y="24"/>
                  </a:lnTo>
                  <a:lnTo>
                    <a:pt x="1128" y="18"/>
                  </a:lnTo>
                  <a:lnTo>
                    <a:pt x="1134" y="18"/>
                  </a:lnTo>
                  <a:lnTo>
                    <a:pt x="1140" y="12"/>
                  </a:lnTo>
                  <a:lnTo>
                    <a:pt x="1146" y="6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24"/>
                  </a:lnTo>
                  <a:lnTo>
                    <a:pt x="1176" y="36"/>
                  </a:lnTo>
                  <a:lnTo>
                    <a:pt x="1188" y="42"/>
                  </a:lnTo>
                  <a:lnTo>
                    <a:pt x="1200" y="54"/>
                  </a:lnTo>
                  <a:lnTo>
                    <a:pt x="1224" y="84"/>
                  </a:lnTo>
                  <a:lnTo>
                    <a:pt x="1224" y="90"/>
                  </a:lnTo>
                  <a:lnTo>
                    <a:pt x="1236" y="96"/>
                  </a:lnTo>
                  <a:lnTo>
                    <a:pt x="1236" y="108"/>
                  </a:lnTo>
                  <a:lnTo>
                    <a:pt x="1248" y="114"/>
                  </a:lnTo>
                  <a:lnTo>
                    <a:pt x="1254" y="114"/>
                  </a:lnTo>
                  <a:lnTo>
                    <a:pt x="1260" y="114"/>
                  </a:lnTo>
                  <a:lnTo>
                    <a:pt x="1296" y="114"/>
                  </a:lnTo>
                  <a:lnTo>
                    <a:pt x="1302" y="114"/>
                  </a:lnTo>
                  <a:lnTo>
                    <a:pt x="1320" y="108"/>
                  </a:lnTo>
                  <a:lnTo>
                    <a:pt x="1326" y="108"/>
                  </a:lnTo>
                  <a:lnTo>
                    <a:pt x="1326" y="138"/>
                  </a:lnTo>
                  <a:lnTo>
                    <a:pt x="1326" y="210"/>
                  </a:lnTo>
                  <a:lnTo>
                    <a:pt x="1320" y="252"/>
                  </a:lnTo>
                  <a:lnTo>
                    <a:pt x="1320" y="270"/>
                  </a:lnTo>
                  <a:lnTo>
                    <a:pt x="1320" y="288"/>
                  </a:lnTo>
                  <a:lnTo>
                    <a:pt x="1320" y="318"/>
                  </a:lnTo>
                  <a:lnTo>
                    <a:pt x="1326" y="354"/>
                  </a:lnTo>
                  <a:lnTo>
                    <a:pt x="1326" y="372"/>
                  </a:lnTo>
                  <a:lnTo>
                    <a:pt x="1332" y="420"/>
                  </a:lnTo>
                  <a:lnTo>
                    <a:pt x="1332" y="450"/>
                  </a:lnTo>
                  <a:lnTo>
                    <a:pt x="1338" y="480"/>
                  </a:lnTo>
                  <a:lnTo>
                    <a:pt x="1344" y="486"/>
                  </a:lnTo>
                  <a:lnTo>
                    <a:pt x="1338" y="492"/>
                  </a:lnTo>
                  <a:lnTo>
                    <a:pt x="1344" y="492"/>
                  </a:lnTo>
                  <a:lnTo>
                    <a:pt x="1344" y="498"/>
                  </a:lnTo>
                  <a:lnTo>
                    <a:pt x="1350" y="498"/>
                  </a:lnTo>
                  <a:lnTo>
                    <a:pt x="1350" y="522"/>
                  </a:lnTo>
                  <a:lnTo>
                    <a:pt x="1362" y="564"/>
                  </a:lnTo>
                  <a:lnTo>
                    <a:pt x="1368" y="582"/>
                  </a:lnTo>
                  <a:lnTo>
                    <a:pt x="1380" y="600"/>
                  </a:lnTo>
                  <a:lnTo>
                    <a:pt x="1386" y="636"/>
                  </a:lnTo>
                  <a:lnTo>
                    <a:pt x="1380" y="660"/>
                  </a:lnTo>
                  <a:lnTo>
                    <a:pt x="1380" y="678"/>
                  </a:lnTo>
                  <a:lnTo>
                    <a:pt x="1380" y="684"/>
                  </a:lnTo>
                  <a:lnTo>
                    <a:pt x="1374" y="684"/>
                  </a:lnTo>
                  <a:lnTo>
                    <a:pt x="1368" y="690"/>
                  </a:lnTo>
                  <a:lnTo>
                    <a:pt x="1356" y="702"/>
                  </a:lnTo>
                  <a:lnTo>
                    <a:pt x="1350" y="708"/>
                  </a:lnTo>
                  <a:lnTo>
                    <a:pt x="1356" y="714"/>
                  </a:lnTo>
                  <a:lnTo>
                    <a:pt x="1368" y="726"/>
                  </a:lnTo>
                  <a:lnTo>
                    <a:pt x="1380" y="738"/>
                  </a:lnTo>
                  <a:lnTo>
                    <a:pt x="1386" y="744"/>
                  </a:lnTo>
                  <a:lnTo>
                    <a:pt x="1392" y="744"/>
                  </a:lnTo>
                  <a:lnTo>
                    <a:pt x="1410" y="750"/>
                  </a:lnTo>
                  <a:lnTo>
                    <a:pt x="1416" y="756"/>
                  </a:lnTo>
                  <a:lnTo>
                    <a:pt x="1422" y="756"/>
                  </a:lnTo>
                  <a:lnTo>
                    <a:pt x="1422" y="762"/>
                  </a:lnTo>
                  <a:lnTo>
                    <a:pt x="1428" y="774"/>
                  </a:lnTo>
                  <a:lnTo>
                    <a:pt x="1428" y="780"/>
                  </a:lnTo>
                  <a:lnTo>
                    <a:pt x="1434" y="780"/>
                  </a:lnTo>
                  <a:lnTo>
                    <a:pt x="1440" y="798"/>
                  </a:lnTo>
                  <a:lnTo>
                    <a:pt x="1422" y="816"/>
                  </a:lnTo>
                  <a:lnTo>
                    <a:pt x="1386" y="810"/>
                  </a:lnTo>
                  <a:lnTo>
                    <a:pt x="1380" y="816"/>
                  </a:lnTo>
                  <a:lnTo>
                    <a:pt x="1374" y="840"/>
                  </a:lnTo>
                  <a:lnTo>
                    <a:pt x="1350" y="852"/>
                  </a:lnTo>
                  <a:lnTo>
                    <a:pt x="1350" y="858"/>
                  </a:lnTo>
                  <a:lnTo>
                    <a:pt x="1350" y="864"/>
                  </a:lnTo>
                  <a:lnTo>
                    <a:pt x="1344" y="864"/>
                  </a:lnTo>
                  <a:lnTo>
                    <a:pt x="1338" y="870"/>
                  </a:lnTo>
                  <a:lnTo>
                    <a:pt x="1332" y="876"/>
                  </a:lnTo>
                  <a:lnTo>
                    <a:pt x="1314" y="876"/>
                  </a:lnTo>
                  <a:lnTo>
                    <a:pt x="1314" y="870"/>
                  </a:lnTo>
                  <a:lnTo>
                    <a:pt x="1308" y="870"/>
                  </a:lnTo>
                  <a:lnTo>
                    <a:pt x="1302" y="864"/>
                  </a:lnTo>
                  <a:lnTo>
                    <a:pt x="1296" y="864"/>
                  </a:lnTo>
                  <a:lnTo>
                    <a:pt x="1284" y="870"/>
                  </a:lnTo>
                  <a:lnTo>
                    <a:pt x="1266" y="870"/>
                  </a:lnTo>
                  <a:lnTo>
                    <a:pt x="1260" y="870"/>
                  </a:lnTo>
                  <a:lnTo>
                    <a:pt x="1248" y="876"/>
                  </a:lnTo>
                  <a:lnTo>
                    <a:pt x="1236" y="876"/>
                  </a:lnTo>
                  <a:lnTo>
                    <a:pt x="1230" y="882"/>
                  </a:lnTo>
                  <a:lnTo>
                    <a:pt x="1224" y="894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18" y="942"/>
                  </a:lnTo>
                  <a:lnTo>
                    <a:pt x="1212" y="948"/>
                  </a:lnTo>
                  <a:lnTo>
                    <a:pt x="1200" y="984"/>
                  </a:lnTo>
                  <a:lnTo>
                    <a:pt x="1194" y="1008"/>
                  </a:lnTo>
                  <a:lnTo>
                    <a:pt x="1218" y="1038"/>
                  </a:lnTo>
                  <a:lnTo>
                    <a:pt x="1224" y="1044"/>
                  </a:lnTo>
                  <a:lnTo>
                    <a:pt x="1224" y="1062"/>
                  </a:lnTo>
                  <a:lnTo>
                    <a:pt x="1236" y="1080"/>
                  </a:lnTo>
                  <a:lnTo>
                    <a:pt x="1236" y="1086"/>
                  </a:lnTo>
                  <a:lnTo>
                    <a:pt x="1230" y="1092"/>
                  </a:lnTo>
                  <a:lnTo>
                    <a:pt x="1224" y="1110"/>
                  </a:lnTo>
                  <a:lnTo>
                    <a:pt x="1218" y="1122"/>
                  </a:lnTo>
                  <a:lnTo>
                    <a:pt x="1224" y="1140"/>
                  </a:lnTo>
                  <a:lnTo>
                    <a:pt x="1218" y="1146"/>
                  </a:lnTo>
                  <a:lnTo>
                    <a:pt x="1218" y="1152"/>
                  </a:lnTo>
                  <a:lnTo>
                    <a:pt x="1212" y="116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1" name="Freeform 36">
              <a:extLst>
                <a:ext uri="{FF2B5EF4-FFF2-40B4-BE49-F238E27FC236}">
                  <a16:creationId xmlns:a16="http://schemas.microsoft.com/office/drawing/2014/main" id="{B9C0D6BE-CB1C-4E69-B224-1ABF097AA8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90208" y="1647855"/>
              <a:ext cx="742415" cy="758173"/>
            </a:xfrm>
            <a:custGeom>
              <a:avLst/>
              <a:gdLst>
                <a:gd name="T0" fmla="*/ 75 w 1398"/>
                <a:gd name="T1" fmla="*/ 48 h 1428"/>
                <a:gd name="T2" fmla="*/ 68 w 1398"/>
                <a:gd name="T3" fmla="*/ 54 h 1428"/>
                <a:gd name="T4" fmla="*/ 57 w 1398"/>
                <a:gd name="T5" fmla="*/ 59 h 1428"/>
                <a:gd name="T6" fmla="*/ 55 w 1398"/>
                <a:gd name="T7" fmla="*/ 68 h 1428"/>
                <a:gd name="T8" fmla="*/ 55 w 1398"/>
                <a:gd name="T9" fmla="*/ 77 h 1428"/>
                <a:gd name="T10" fmla="*/ 57 w 1398"/>
                <a:gd name="T11" fmla="*/ 81 h 1428"/>
                <a:gd name="T12" fmla="*/ 56 w 1398"/>
                <a:gd name="T13" fmla="*/ 86 h 1428"/>
                <a:gd name="T14" fmla="*/ 57 w 1398"/>
                <a:gd name="T15" fmla="*/ 89 h 1428"/>
                <a:gd name="T16" fmla="*/ 58 w 1398"/>
                <a:gd name="T17" fmla="*/ 92 h 1428"/>
                <a:gd name="T18" fmla="*/ 58 w 1398"/>
                <a:gd name="T19" fmla="*/ 96 h 1428"/>
                <a:gd name="T20" fmla="*/ 49 w 1398"/>
                <a:gd name="T21" fmla="*/ 100 h 1428"/>
                <a:gd name="T22" fmla="*/ 47 w 1398"/>
                <a:gd name="T23" fmla="*/ 108 h 1428"/>
                <a:gd name="T24" fmla="*/ 48 w 1398"/>
                <a:gd name="T25" fmla="*/ 113 h 1428"/>
                <a:gd name="T26" fmla="*/ 43 w 1398"/>
                <a:gd name="T27" fmla="*/ 114 h 1428"/>
                <a:gd name="T28" fmla="*/ 39 w 1398"/>
                <a:gd name="T29" fmla="*/ 113 h 1428"/>
                <a:gd name="T30" fmla="*/ 33 w 1398"/>
                <a:gd name="T31" fmla="*/ 109 h 1428"/>
                <a:gd name="T32" fmla="*/ 29 w 1398"/>
                <a:gd name="T33" fmla="*/ 114 h 1428"/>
                <a:gd name="T34" fmla="*/ 22 w 1398"/>
                <a:gd name="T35" fmla="*/ 115 h 1428"/>
                <a:gd name="T36" fmla="*/ 21 w 1398"/>
                <a:gd name="T37" fmla="*/ 121 h 1428"/>
                <a:gd name="T38" fmla="*/ 12 w 1398"/>
                <a:gd name="T39" fmla="*/ 119 h 1428"/>
                <a:gd name="T40" fmla="*/ 9 w 1398"/>
                <a:gd name="T41" fmla="*/ 113 h 1428"/>
                <a:gd name="T42" fmla="*/ 2 w 1398"/>
                <a:gd name="T43" fmla="*/ 109 h 1428"/>
                <a:gd name="T44" fmla="*/ 4 w 1398"/>
                <a:gd name="T45" fmla="*/ 103 h 1428"/>
                <a:gd name="T46" fmla="*/ 2 w 1398"/>
                <a:gd name="T47" fmla="*/ 91 h 1428"/>
                <a:gd name="T48" fmla="*/ 6 w 1398"/>
                <a:gd name="T49" fmla="*/ 85 h 1428"/>
                <a:gd name="T50" fmla="*/ 10 w 1398"/>
                <a:gd name="T51" fmla="*/ 85 h 1428"/>
                <a:gd name="T52" fmla="*/ 15 w 1398"/>
                <a:gd name="T53" fmla="*/ 82 h 1428"/>
                <a:gd name="T54" fmla="*/ 20 w 1398"/>
                <a:gd name="T55" fmla="*/ 77 h 1428"/>
                <a:gd name="T56" fmla="*/ 16 w 1398"/>
                <a:gd name="T57" fmla="*/ 73 h 1428"/>
                <a:gd name="T58" fmla="*/ 16 w 1398"/>
                <a:gd name="T59" fmla="*/ 69 h 1428"/>
                <a:gd name="T60" fmla="*/ 14 w 1398"/>
                <a:gd name="T61" fmla="*/ 54 h 1428"/>
                <a:gd name="T62" fmla="*/ 12 w 1398"/>
                <a:gd name="T63" fmla="*/ 48 h 1428"/>
                <a:gd name="T64" fmla="*/ 11 w 1398"/>
                <a:gd name="T65" fmla="*/ 31 h 1428"/>
                <a:gd name="T66" fmla="*/ 14 w 1398"/>
                <a:gd name="T67" fmla="*/ 18 h 1428"/>
                <a:gd name="T68" fmla="*/ 19 w 1398"/>
                <a:gd name="T69" fmla="*/ 15 h 1428"/>
                <a:gd name="T70" fmla="*/ 26 w 1398"/>
                <a:gd name="T71" fmla="*/ 13 h 1428"/>
                <a:gd name="T72" fmla="*/ 34 w 1398"/>
                <a:gd name="T73" fmla="*/ 12 h 1428"/>
                <a:gd name="T74" fmla="*/ 39 w 1398"/>
                <a:gd name="T75" fmla="*/ 9 h 1428"/>
                <a:gd name="T76" fmla="*/ 43 w 1398"/>
                <a:gd name="T77" fmla="*/ 7 h 1428"/>
                <a:gd name="T78" fmla="*/ 48 w 1398"/>
                <a:gd name="T79" fmla="*/ 3 h 1428"/>
                <a:gd name="T80" fmla="*/ 54 w 1398"/>
                <a:gd name="T81" fmla="*/ 0 h 1428"/>
                <a:gd name="T82" fmla="*/ 58 w 1398"/>
                <a:gd name="T83" fmla="*/ 0 h 1428"/>
                <a:gd name="T84" fmla="*/ 66 w 1398"/>
                <a:gd name="T85" fmla="*/ 2 h 1428"/>
                <a:gd name="T86" fmla="*/ 70 w 1398"/>
                <a:gd name="T87" fmla="*/ 3 h 1428"/>
                <a:gd name="T88" fmla="*/ 75 w 1398"/>
                <a:gd name="T89" fmla="*/ 6 h 1428"/>
                <a:gd name="T90" fmla="*/ 80 w 1398"/>
                <a:gd name="T91" fmla="*/ 9 h 1428"/>
                <a:gd name="T92" fmla="*/ 83 w 1398"/>
                <a:gd name="T93" fmla="*/ 12 h 1428"/>
                <a:gd name="T94" fmla="*/ 87 w 1398"/>
                <a:gd name="T95" fmla="*/ 15 h 1428"/>
                <a:gd name="T96" fmla="*/ 94 w 1398"/>
                <a:gd name="T97" fmla="*/ 15 h 1428"/>
                <a:gd name="T98" fmla="*/ 99 w 1398"/>
                <a:gd name="T99" fmla="*/ 21 h 1428"/>
                <a:gd name="T100" fmla="*/ 103 w 1398"/>
                <a:gd name="T101" fmla="*/ 23 h 1428"/>
                <a:gd name="T102" fmla="*/ 110 w 1398"/>
                <a:gd name="T103" fmla="*/ 26 h 1428"/>
                <a:gd name="T104" fmla="*/ 116 w 1398"/>
                <a:gd name="T105" fmla="*/ 27 h 1428"/>
                <a:gd name="T106" fmla="*/ 120 w 1398"/>
                <a:gd name="T107" fmla="*/ 27 h 1428"/>
                <a:gd name="T108" fmla="*/ 116 w 1398"/>
                <a:gd name="T109" fmla="*/ 35 h 1428"/>
                <a:gd name="T110" fmla="*/ 104 w 1398"/>
                <a:gd name="T111" fmla="*/ 37 h 1428"/>
                <a:gd name="T112" fmla="*/ 97 w 1398"/>
                <a:gd name="T113" fmla="*/ 34 h 1428"/>
                <a:gd name="T114" fmla="*/ 91 w 1398"/>
                <a:gd name="T115" fmla="*/ 29 h 1428"/>
                <a:gd name="T116" fmla="*/ 75 w 1398"/>
                <a:gd name="T117" fmla="*/ 29 h 1428"/>
                <a:gd name="T118" fmla="*/ 72 w 1398"/>
                <a:gd name="T119" fmla="*/ 39 h 1428"/>
                <a:gd name="T120" fmla="*/ 80 w 1398"/>
                <a:gd name="T121" fmla="*/ 41 h 142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98"/>
                <a:gd name="T184" fmla="*/ 0 h 1428"/>
                <a:gd name="T185" fmla="*/ 1398 w 1398"/>
                <a:gd name="T186" fmla="*/ 1428 h 142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98" h="1428">
                  <a:moveTo>
                    <a:pt x="924" y="474"/>
                  </a:moveTo>
                  <a:lnTo>
                    <a:pt x="900" y="480"/>
                  </a:lnTo>
                  <a:lnTo>
                    <a:pt x="864" y="486"/>
                  </a:lnTo>
                  <a:lnTo>
                    <a:pt x="864" y="504"/>
                  </a:lnTo>
                  <a:lnTo>
                    <a:pt x="858" y="522"/>
                  </a:lnTo>
                  <a:lnTo>
                    <a:pt x="864" y="528"/>
                  </a:lnTo>
                  <a:lnTo>
                    <a:pt x="864" y="552"/>
                  </a:lnTo>
                  <a:lnTo>
                    <a:pt x="852" y="552"/>
                  </a:lnTo>
                  <a:lnTo>
                    <a:pt x="846" y="564"/>
                  </a:lnTo>
                  <a:lnTo>
                    <a:pt x="840" y="582"/>
                  </a:lnTo>
                  <a:lnTo>
                    <a:pt x="834" y="594"/>
                  </a:lnTo>
                  <a:lnTo>
                    <a:pt x="828" y="606"/>
                  </a:lnTo>
                  <a:lnTo>
                    <a:pt x="828" y="618"/>
                  </a:lnTo>
                  <a:lnTo>
                    <a:pt x="786" y="630"/>
                  </a:lnTo>
                  <a:lnTo>
                    <a:pt x="774" y="636"/>
                  </a:lnTo>
                  <a:lnTo>
                    <a:pt x="762" y="642"/>
                  </a:lnTo>
                  <a:lnTo>
                    <a:pt x="744" y="648"/>
                  </a:lnTo>
                  <a:lnTo>
                    <a:pt x="714" y="660"/>
                  </a:lnTo>
                  <a:lnTo>
                    <a:pt x="696" y="666"/>
                  </a:lnTo>
                  <a:lnTo>
                    <a:pt x="666" y="672"/>
                  </a:lnTo>
                  <a:lnTo>
                    <a:pt x="654" y="684"/>
                  </a:lnTo>
                  <a:lnTo>
                    <a:pt x="648" y="684"/>
                  </a:lnTo>
                  <a:lnTo>
                    <a:pt x="642" y="696"/>
                  </a:lnTo>
                  <a:lnTo>
                    <a:pt x="636" y="696"/>
                  </a:lnTo>
                  <a:lnTo>
                    <a:pt x="630" y="714"/>
                  </a:lnTo>
                  <a:lnTo>
                    <a:pt x="624" y="738"/>
                  </a:lnTo>
                  <a:lnTo>
                    <a:pt x="624" y="762"/>
                  </a:lnTo>
                  <a:lnTo>
                    <a:pt x="630" y="780"/>
                  </a:lnTo>
                  <a:lnTo>
                    <a:pt x="636" y="804"/>
                  </a:lnTo>
                  <a:lnTo>
                    <a:pt x="642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6" y="834"/>
                  </a:lnTo>
                  <a:lnTo>
                    <a:pt x="636" y="870"/>
                  </a:lnTo>
                  <a:lnTo>
                    <a:pt x="636" y="882"/>
                  </a:lnTo>
                  <a:lnTo>
                    <a:pt x="636" y="906"/>
                  </a:lnTo>
                  <a:lnTo>
                    <a:pt x="630" y="906"/>
                  </a:lnTo>
                  <a:lnTo>
                    <a:pt x="636" y="918"/>
                  </a:lnTo>
                  <a:lnTo>
                    <a:pt x="642" y="918"/>
                  </a:lnTo>
                  <a:lnTo>
                    <a:pt x="642" y="930"/>
                  </a:lnTo>
                  <a:lnTo>
                    <a:pt x="648" y="936"/>
                  </a:lnTo>
                  <a:lnTo>
                    <a:pt x="654" y="936"/>
                  </a:lnTo>
                  <a:lnTo>
                    <a:pt x="654" y="942"/>
                  </a:lnTo>
                  <a:lnTo>
                    <a:pt x="654" y="948"/>
                  </a:lnTo>
                  <a:lnTo>
                    <a:pt x="648" y="954"/>
                  </a:lnTo>
                  <a:lnTo>
                    <a:pt x="648" y="960"/>
                  </a:lnTo>
                  <a:lnTo>
                    <a:pt x="648" y="966"/>
                  </a:lnTo>
                  <a:lnTo>
                    <a:pt x="648" y="972"/>
                  </a:lnTo>
                  <a:lnTo>
                    <a:pt x="648" y="990"/>
                  </a:lnTo>
                  <a:lnTo>
                    <a:pt x="654" y="996"/>
                  </a:lnTo>
                  <a:lnTo>
                    <a:pt x="648" y="1002"/>
                  </a:lnTo>
                  <a:lnTo>
                    <a:pt x="648" y="1008"/>
                  </a:lnTo>
                  <a:lnTo>
                    <a:pt x="654" y="1014"/>
                  </a:lnTo>
                  <a:lnTo>
                    <a:pt x="654" y="1020"/>
                  </a:lnTo>
                  <a:lnTo>
                    <a:pt x="654" y="1026"/>
                  </a:lnTo>
                  <a:lnTo>
                    <a:pt x="660" y="1026"/>
                  </a:lnTo>
                  <a:lnTo>
                    <a:pt x="660" y="1032"/>
                  </a:lnTo>
                  <a:lnTo>
                    <a:pt x="660" y="1038"/>
                  </a:lnTo>
                  <a:lnTo>
                    <a:pt x="666" y="1044"/>
                  </a:lnTo>
                  <a:lnTo>
                    <a:pt x="672" y="1050"/>
                  </a:lnTo>
                  <a:lnTo>
                    <a:pt x="672" y="1056"/>
                  </a:lnTo>
                  <a:lnTo>
                    <a:pt x="672" y="1062"/>
                  </a:lnTo>
                  <a:lnTo>
                    <a:pt x="672" y="1068"/>
                  </a:lnTo>
                  <a:lnTo>
                    <a:pt x="672" y="1074"/>
                  </a:lnTo>
                  <a:lnTo>
                    <a:pt x="678" y="1074"/>
                  </a:lnTo>
                  <a:lnTo>
                    <a:pt x="678" y="1080"/>
                  </a:lnTo>
                  <a:lnTo>
                    <a:pt x="678" y="1086"/>
                  </a:lnTo>
                  <a:lnTo>
                    <a:pt x="672" y="1092"/>
                  </a:lnTo>
                  <a:lnTo>
                    <a:pt x="672" y="1098"/>
                  </a:lnTo>
                  <a:lnTo>
                    <a:pt x="672" y="1104"/>
                  </a:lnTo>
                  <a:lnTo>
                    <a:pt x="666" y="1116"/>
                  </a:lnTo>
                  <a:lnTo>
                    <a:pt x="624" y="1122"/>
                  </a:lnTo>
                  <a:lnTo>
                    <a:pt x="576" y="1134"/>
                  </a:lnTo>
                  <a:lnTo>
                    <a:pt x="570" y="1140"/>
                  </a:lnTo>
                  <a:lnTo>
                    <a:pt x="570" y="1146"/>
                  </a:lnTo>
                  <a:lnTo>
                    <a:pt x="564" y="1146"/>
                  </a:lnTo>
                  <a:lnTo>
                    <a:pt x="564" y="1152"/>
                  </a:lnTo>
                  <a:lnTo>
                    <a:pt x="564" y="1164"/>
                  </a:lnTo>
                  <a:lnTo>
                    <a:pt x="564" y="1170"/>
                  </a:lnTo>
                  <a:lnTo>
                    <a:pt x="564" y="1176"/>
                  </a:lnTo>
                  <a:lnTo>
                    <a:pt x="546" y="1176"/>
                  </a:lnTo>
                  <a:lnTo>
                    <a:pt x="540" y="1212"/>
                  </a:lnTo>
                  <a:lnTo>
                    <a:pt x="540" y="1230"/>
                  </a:lnTo>
                  <a:lnTo>
                    <a:pt x="546" y="1242"/>
                  </a:lnTo>
                  <a:lnTo>
                    <a:pt x="546" y="1254"/>
                  </a:lnTo>
                  <a:lnTo>
                    <a:pt x="558" y="1266"/>
                  </a:lnTo>
                  <a:lnTo>
                    <a:pt x="576" y="1272"/>
                  </a:lnTo>
                  <a:lnTo>
                    <a:pt x="570" y="1278"/>
                  </a:lnTo>
                  <a:lnTo>
                    <a:pt x="576" y="1284"/>
                  </a:lnTo>
                  <a:lnTo>
                    <a:pt x="570" y="1296"/>
                  </a:lnTo>
                  <a:lnTo>
                    <a:pt x="558" y="1302"/>
                  </a:lnTo>
                  <a:lnTo>
                    <a:pt x="540" y="1308"/>
                  </a:lnTo>
                  <a:lnTo>
                    <a:pt x="522" y="1314"/>
                  </a:lnTo>
                  <a:lnTo>
                    <a:pt x="516" y="1314"/>
                  </a:lnTo>
                  <a:lnTo>
                    <a:pt x="510" y="1314"/>
                  </a:lnTo>
                  <a:lnTo>
                    <a:pt x="504" y="1314"/>
                  </a:lnTo>
                  <a:lnTo>
                    <a:pt x="498" y="1320"/>
                  </a:lnTo>
                  <a:lnTo>
                    <a:pt x="492" y="1320"/>
                  </a:lnTo>
                  <a:lnTo>
                    <a:pt x="492" y="1326"/>
                  </a:lnTo>
                  <a:lnTo>
                    <a:pt x="486" y="1326"/>
                  </a:lnTo>
                  <a:lnTo>
                    <a:pt x="480" y="1326"/>
                  </a:lnTo>
                  <a:lnTo>
                    <a:pt x="480" y="1320"/>
                  </a:lnTo>
                  <a:lnTo>
                    <a:pt x="468" y="1314"/>
                  </a:lnTo>
                  <a:lnTo>
                    <a:pt x="462" y="1308"/>
                  </a:lnTo>
                  <a:lnTo>
                    <a:pt x="456" y="1302"/>
                  </a:lnTo>
                  <a:lnTo>
                    <a:pt x="444" y="1296"/>
                  </a:lnTo>
                  <a:lnTo>
                    <a:pt x="420" y="1290"/>
                  </a:lnTo>
                  <a:lnTo>
                    <a:pt x="414" y="1278"/>
                  </a:lnTo>
                  <a:lnTo>
                    <a:pt x="408" y="1278"/>
                  </a:lnTo>
                  <a:lnTo>
                    <a:pt x="408" y="1266"/>
                  </a:lnTo>
                  <a:lnTo>
                    <a:pt x="402" y="1260"/>
                  </a:lnTo>
                  <a:lnTo>
                    <a:pt x="384" y="1260"/>
                  </a:lnTo>
                  <a:lnTo>
                    <a:pt x="372" y="1266"/>
                  </a:lnTo>
                  <a:lnTo>
                    <a:pt x="360" y="1272"/>
                  </a:lnTo>
                  <a:lnTo>
                    <a:pt x="348" y="1272"/>
                  </a:lnTo>
                  <a:lnTo>
                    <a:pt x="342" y="1284"/>
                  </a:lnTo>
                  <a:lnTo>
                    <a:pt x="336" y="1290"/>
                  </a:lnTo>
                  <a:lnTo>
                    <a:pt x="336" y="1308"/>
                  </a:lnTo>
                  <a:lnTo>
                    <a:pt x="336" y="1314"/>
                  </a:lnTo>
                  <a:lnTo>
                    <a:pt x="336" y="1320"/>
                  </a:lnTo>
                  <a:lnTo>
                    <a:pt x="330" y="1326"/>
                  </a:lnTo>
                  <a:lnTo>
                    <a:pt x="330" y="1332"/>
                  </a:lnTo>
                  <a:lnTo>
                    <a:pt x="330" y="1338"/>
                  </a:lnTo>
                  <a:lnTo>
                    <a:pt x="300" y="1338"/>
                  </a:lnTo>
                  <a:lnTo>
                    <a:pt x="288" y="1338"/>
                  </a:lnTo>
                  <a:lnTo>
                    <a:pt x="258" y="1326"/>
                  </a:lnTo>
                  <a:lnTo>
                    <a:pt x="246" y="1332"/>
                  </a:lnTo>
                  <a:lnTo>
                    <a:pt x="240" y="1338"/>
                  </a:lnTo>
                  <a:lnTo>
                    <a:pt x="234" y="1338"/>
                  </a:lnTo>
                  <a:lnTo>
                    <a:pt x="228" y="1350"/>
                  </a:lnTo>
                  <a:lnTo>
                    <a:pt x="228" y="1374"/>
                  </a:lnTo>
                  <a:lnTo>
                    <a:pt x="234" y="1392"/>
                  </a:lnTo>
                  <a:lnTo>
                    <a:pt x="246" y="1398"/>
                  </a:lnTo>
                  <a:lnTo>
                    <a:pt x="246" y="1410"/>
                  </a:lnTo>
                  <a:lnTo>
                    <a:pt x="216" y="1428"/>
                  </a:lnTo>
                  <a:lnTo>
                    <a:pt x="198" y="1428"/>
                  </a:lnTo>
                  <a:lnTo>
                    <a:pt x="192" y="1422"/>
                  </a:lnTo>
                  <a:lnTo>
                    <a:pt x="174" y="1410"/>
                  </a:lnTo>
                  <a:lnTo>
                    <a:pt x="156" y="1386"/>
                  </a:lnTo>
                  <a:lnTo>
                    <a:pt x="132" y="1374"/>
                  </a:lnTo>
                  <a:lnTo>
                    <a:pt x="108" y="1368"/>
                  </a:lnTo>
                  <a:lnTo>
                    <a:pt x="84" y="1368"/>
                  </a:lnTo>
                  <a:lnTo>
                    <a:pt x="96" y="1356"/>
                  </a:lnTo>
                  <a:lnTo>
                    <a:pt x="102" y="1344"/>
                  </a:lnTo>
                  <a:lnTo>
                    <a:pt x="102" y="1332"/>
                  </a:lnTo>
                  <a:lnTo>
                    <a:pt x="108" y="1320"/>
                  </a:lnTo>
                  <a:lnTo>
                    <a:pt x="108" y="1302"/>
                  </a:lnTo>
                  <a:lnTo>
                    <a:pt x="96" y="1278"/>
                  </a:lnTo>
                  <a:lnTo>
                    <a:pt x="66" y="1284"/>
                  </a:lnTo>
                  <a:lnTo>
                    <a:pt x="54" y="1278"/>
                  </a:lnTo>
                  <a:lnTo>
                    <a:pt x="36" y="1278"/>
                  </a:lnTo>
                  <a:lnTo>
                    <a:pt x="18" y="1284"/>
                  </a:lnTo>
                  <a:lnTo>
                    <a:pt x="18" y="1272"/>
                  </a:lnTo>
                  <a:lnTo>
                    <a:pt x="24" y="1260"/>
                  </a:lnTo>
                  <a:lnTo>
                    <a:pt x="24" y="1254"/>
                  </a:lnTo>
                  <a:lnTo>
                    <a:pt x="30" y="1248"/>
                  </a:lnTo>
                  <a:lnTo>
                    <a:pt x="24" y="1230"/>
                  </a:lnTo>
                  <a:lnTo>
                    <a:pt x="30" y="1218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30" y="1170"/>
                  </a:lnTo>
                  <a:lnTo>
                    <a:pt x="30" y="1152"/>
                  </a:lnTo>
                  <a:lnTo>
                    <a:pt x="24" y="1146"/>
                  </a:lnTo>
                  <a:lnTo>
                    <a:pt x="0" y="1116"/>
                  </a:lnTo>
                  <a:lnTo>
                    <a:pt x="6" y="1092"/>
                  </a:lnTo>
                  <a:lnTo>
                    <a:pt x="18" y="1056"/>
                  </a:lnTo>
                  <a:lnTo>
                    <a:pt x="24" y="1050"/>
                  </a:lnTo>
                  <a:lnTo>
                    <a:pt x="24" y="1038"/>
                  </a:lnTo>
                  <a:lnTo>
                    <a:pt x="24" y="1026"/>
                  </a:lnTo>
                  <a:lnTo>
                    <a:pt x="30" y="1002"/>
                  </a:lnTo>
                  <a:lnTo>
                    <a:pt x="36" y="990"/>
                  </a:lnTo>
                  <a:lnTo>
                    <a:pt x="42" y="984"/>
                  </a:lnTo>
                  <a:lnTo>
                    <a:pt x="54" y="984"/>
                  </a:lnTo>
                  <a:lnTo>
                    <a:pt x="66" y="978"/>
                  </a:lnTo>
                  <a:lnTo>
                    <a:pt x="72" y="978"/>
                  </a:lnTo>
                  <a:lnTo>
                    <a:pt x="90" y="978"/>
                  </a:lnTo>
                  <a:lnTo>
                    <a:pt x="102" y="972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78"/>
                  </a:lnTo>
                  <a:lnTo>
                    <a:pt x="120" y="984"/>
                  </a:lnTo>
                  <a:lnTo>
                    <a:pt x="138" y="984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6" y="972"/>
                  </a:lnTo>
                  <a:lnTo>
                    <a:pt x="156" y="966"/>
                  </a:lnTo>
                  <a:lnTo>
                    <a:pt x="156" y="960"/>
                  </a:lnTo>
                  <a:lnTo>
                    <a:pt x="180" y="948"/>
                  </a:lnTo>
                  <a:lnTo>
                    <a:pt x="186" y="924"/>
                  </a:lnTo>
                  <a:lnTo>
                    <a:pt x="192" y="918"/>
                  </a:lnTo>
                  <a:lnTo>
                    <a:pt x="228" y="924"/>
                  </a:lnTo>
                  <a:lnTo>
                    <a:pt x="246" y="906"/>
                  </a:lnTo>
                  <a:lnTo>
                    <a:pt x="240" y="888"/>
                  </a:lnTo>
                  <a:lnTo>
                    <a:pt x="234" y="888"/>
                  </a:lnTo>
                  <a:lnTo>
                    <a:pt x="234" y="882"/>
                  </a:lnTo>
                  <a:lnTo>
                    <a:pt x="228" y="870"/>
                  </a:lnTo>
                  <a:lnTo>
                    <a:pt x="228" y="864"/>
                  </a:lnTo>
                  <a:lnTo>
                    <a:pt x="222" y="864"/>
                  </a:lnTo>
                  <a:lnTo>
                    <a:pt x="216" y="858"/>
                  </a:lnTo>
                  <a:lnTo>
                    <a:pt x="198" y="852"/>
                  </a:lnTo>
                  <a:lnTo>
                    <a:pt x="192" y="852"/>
                  </a:lnTo>
                  <a:lnTo>
                    <a:pt x="186" y="846"/>
                  </a:lnTo>
                  <a:lnTo>
                    <a:pt x="174" y="834"/>
                  </a:lnTo>
                  <a:lnTo>
                    <a:pt x="162" y="822"/>
                  </a:lnTo>
                  <a:lnTo>
                    <a:pt x="156" y="816"/>
                  </a:lnTo>
                  <a:lnTo>
                    <a:pt x="162" y="810"/>
                  </a:lnTo>
                  <a:lnTo>
                    <a:pt x="174" y="798"/>
                  </a:lnTo>
                  <a:lnTo>
                    <a:pt x="180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68"/>
                  </a:lnTo>
                  <a:lnTo>
                    <a:pt x="192" y="744"/>
                  </a:lnTo>
                  <a:lnTo>
                    <a:pt x="186" y="708"/>
                  </a:lnTo>
                  <a:lnTo>
                    <a:pt x="174" y="690"/>
                  </a:lnTo>
                  <a:lnTo>
                    <a:pt x="168" y="672"/>
                  </a:lnTo>
                  <a:lnTo>
                    <a:pt x="156" y="630"/>
                  </a:lnTo>
                  <a:lnTo>
                    <a:pt x="156" y="606"/>
                  </a:lnTo>
                  <a:lnTo>
                    <a:pt x="150" y="606"/>
                  </a:lnTo>
                  <a:lnTo>
                    <a:pt x="150" y="600"/>
                  </a:lnTo>
                  <a:lnTo>
                    <a:pt x="144" y="600"/>
                  </a:lnTo>
                  <a:lnTo>
                    <a:pt x="150" y="594"/>
                  </a:lnTo>
                  <a:lnTo>
                    <a:pt x="144" y="588"/>
                  </a:lnTo>
                  <a:lnTo>
                    <a:pt x="138" y="558"/>
                  </a:lnTo>
                  <a:lnTo>
                    <a:pt x="138" y="528"/>
                  </a:lnTo>
                  <a:lnTo>
                    <a:pt x="132" y="480"/>
                  </a:lnTo>
                  <a:lnTo>
                    <a:pt x="132" y="462"/>
                  </a:lnTo>
                  <a:lnTo>
                    <a:pt x="126" y="426"/>
                  </a:lnTo>
                  <a:lnTo>
                    <a:pt x="126" y="396"/>
                  </a:lnTo>
                  <a:lnTo>
                    <a:pt x="126" y="378"/>
                  </a:lnTo>
                  <a:lnTo>
                    <a:pt x="126" y="360"/>
                  </a:lnTo>
                  <a:lnTo>
                    <a:pt x="132" y="318"/>
                  </a:lnTo>
                  <a:lnTo>
                    <a:pt x="132" y="24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2" y="210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92" y="198"/>
                  </a:lnTo>
                  <a:lnTo>
                    <a:pt x="198" y="198"/>
                  </a:lnTo>
                  <a:lnTo>
                    <a:pt x="216" y="180"/>
                  </a:lnTo>
                  <a:lnTo>
                    <a:pt x="222" y="174"/>
                  </a:lnTo>
                  <a:lnTo>
                    <a:pt x="222" y="168"/>
                  </a:lnTo>
                  <a:lnTo>
                    <a:pt x="228" y="168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44"/>
                  </a:lnTo>
                  <a:lnTo>
                    <a:pt x="258" y="144"/>
                  </a:lnTo>
                  <a:lnTo>
                    <a:pt x="276" y="150"/>
                  </a:lnTo>
                  <a:lnTo>
                    <a:pt x="300" y="150"/>
                  </a:lnTo>
                  <a:lnTo>
                    <a:pt x="312" y="150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8" y="156"/>
                  </a:lnTo>
                  <a:lnTo>
                    <a:pt x="354" y="150"/>
                  </a:lnTo>
                  <a:lnTo>
                    <a:pt x="372" y="144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08" y="126"/>
                  </a:lnTo>
                  <a:lnTo>
                    <a:pt x="414" y="120"/>
                  </a:lnTo>
                  <a:lnTo>
                    <a:pt x="420" y="120"/>
                  </a:lnTo>
                  <a:lnTo>
                    <a:pt x="426" y="120"/>
                  </a:lnTo>
                  <a:lnTo>
                    <a:pt x="432" y="114"/>
                  </a:lnTo>
                  <a:lnTo>
                    <a:pt x="450" y="102"/>
                  </a:lnTo>
                  <a:lnTo>
                    <a:pt x="456" y="96"/>
                  </a:lnTo>
                  <a:lnTo>
                    <a:pt x="468" y="90"/>
                  </a:lnTo>
                  <a:lnTo>
                    <a:pt x="474" y="90"/>
                  </a:lnTo>
                  <a:lnTo>
                    <a:pt x="480" y="84"/>
                  </a:lnTo>
                  <a:lnTo>
                    <a:pt x="486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504" y="72"/>
                  </a:lnTo>
                  <a:lnTo>
                    <a:pt x="510" y="66"/>
                  </a:lnTo>
                  <a:lnTo>
                    <a:pt x="516" y="66"/>
                  </a:lnTo>
                  <a:lnTo>
                    <a:pt x="522" y="60"/>
                  </a:lnTo>
                  <a:lnTo>
                    <a:pt x="552" y="42"/>
                  </a:lnTo>
                  <a:lnTo>
                    <a:pt x="558" y="36"/>
                  </a:lnTo>
                  <a:lnTo>
                    <a:pt x="576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94" y="18"/>
                  </a:lnTo>
                  <a:lnTo>
                    <a:pt x="600" y="12"/>
                  </a:lnTo>
                  <a:lnTo>
                    <a:pt x="612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6"/>
                  </a:lnTo>
                  <a:lnTo>
                    <a:pt x="648" y="6"/>
                  </a:lnTo>
                  <a:lnTo>
                    <a:pt x="660" y="6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38" y="18"/>
                  </a:lnTo>
                  <a:lnTo>
                    <a:pt x="744" y="18"/>
                  </a:lnTo>
                  <a:lnTo>
                    <a:pt x="756" y="18"/>
                  </a:lnTo>
                  <a:lnTo>
                    <a:pt x="762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80" y="24"/>
                  </a:lnTo>
                  <a:lnTo>
                    <a:pt x="792" y="24"/>
                  </a:lnTo>
                  <a:lnTo>
                    <a:pt x="792" y="30"/>
                  </a:lnTo>
                  <a:lnTo>
                    <a:pt x="810" y="30"/>
                  </a:lnTo>
                  <a:lnTo>
                    <a:pt x="822" y="36"/>
                  </a:lnTo>
                  <a:lnTo>
                    <a:pt x="834" y="42"/>
                  </a:lnTo>
                  <a:lnTo>
                    <a:pt x="840" y="48"/>
                  </a:lnTo>
                  <a:lnTo>
                    <a:pt x="846" y="54"/>
                  </a:lnTo>
                  <a:lnTo>
                    <a:pt x="852" y="60"/>
                  </a:lnTo>
                  <a:lnTo>
                    <a:pt x="858" y="66"/>
                  </a:lnTo>
                  <a:lnTo>
                    <a:pt x="864" y="66"/>
                  </a:lnTo>
                  <a:lnTo>
                    <a:pt x="864" y="72"/>
                  </a:lnTo>
                  <a:lnTo>
                    <a:pt x="876" y="78"/>
                  </a:lnTo>
                  <a:lnTo>
                    <a:pt x="900" y="84"/>
                  </a:lnTo>
                  <a:lnTo>
                    <a:pt x="906" y="90"/>
                  </a:lnTo>
                  <a:lnTo>
                    <a:pt x="912" y="90"/>
                  </a:lnTo>
                  <a:lnTo>
                    <a:pt x="912" y="96"/>
                  </a:lnTo>
                  <a:lnTo>
                    <a:pt x="924" y="108"/>
                  </a:lnTo>
                  <a:lnTo>
                    <a:pt x="930" y="108"/>
                  </a:lnTo>
                  <a:lnTo>
                    <a:pt x="936" y="114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60" y="138"/>
                  </a:lnTo>
                  <a:lnTo>
                    <a:pt x="966" y="144"/>
                  </a:lnTo>
                  <a:lnTo>
                    <a:pt x="972" y="156"/>
                  </a:lnTo>
                  <a:lnTo>
                    <a:pt x="978" y="162"/>
                  </a:lnTo>
                  <a:lnTo>
                    <a:pt x="984" y="162"/>
                  </a:lnTo>
                  <a:lnTo>
                    <a:pt x="990" y="168"/>
                  </a:lnTo>
                  <a:lnTo>
                    <a:pt x="996" y="174"/>
                  </a:lnTo>
                  <a:lnTo>
                    <a:pt x="1002" y="180"/>
                  </a:lnTo>
                  <a:lnTo>
                    <a:pt x="1008" y="180"/>
                  </a:lnTo>
                  <a:lnTo>
                    <a:pt x="1020" y="180"/>
                  </a:lnTo>
                  <a:lnTo>
                    <a:pt x="1038" y="174"/>
                  </a:lnTo>
                  <a:lnTo>
                    <a:pt x="1050" y="174"/>
                  </a:lnTo>
                  <a:lnTo>
                    <a:pt x="1056" y="174"/>
                  </a:lnTo>
                  <a:lnTo>
                    <a:pt x="1068" y="180"/>
                  </a:lnTo>
                  <a:lnTo>
                    <a:pt x="1080" y="180"/>
                  </a:lnTo>
                  <a:lnTo>
                    <a:pt x="1086" y="186"/>
                  </a:lnTo>
                  <a:lnTo>
                    <a:pt x="1098" y="192"/>
                  </a:lnTo>
                  <a:lnTo>
                    <a:pt x="1116" y="204"/>
                  </a:lnTo>
                  <a:lnTo>
                    <a:pt x="1122" y="210"/>
                  </a:lnTo>
                  <a:lnTo>
                    <a:pt x="1134" y="222"/>
                  </a:lnTo>
                  <a:lnTo>
                    <a:pt x="1146" y="234"/>
                  </a:lnTo>
                  <a:lnTo>
                    <a:pt x="1146" y="240"/>
                  </a:lnTo>
                  <a:lnTo>
                    <a:pt x="1152" y="246"/>
                  </a:lnTo>
                  <a:lnTo>
                    <a:pt x="1152" y="252"/>
                  </a:lnTo>
                  <a:lnTo>
                    <a:pt x="1152" y="258"/>
                  </a:lnTo>
                  <a:lnTo>
                    <a:pt x="1164" y="258"/>
                  </a:lnTo>
                  <a:lnTo>
                    <a:pt x="1170" y="264"/>
                  </a:lnTo>
                  <a:lnTo>
                    <a:pt x="1182" y="270"/>
                  </a:lnTo>
                  <a:lnTo>
                    <a:pt x="1188" y="270"/>
                  </a:lnTo>
                  <a:lnTo>
                    <a:pt x="1194" y="270"/>
                  </a:lnTo>
                  <a:lnTo>
                    <a:pt x="1206" y="276"/>
                  </a:lnTo>
                  <a:lnTo>
                    <a:pt x="1224" y="282"/>
                  </a:lnTo>
                  <a:lnTo>
                    <a:pt x="1236" y="282"/>
                  </a:lnTo>
                  <a:lnTo>
                    <a:pt x="1242" y="288"/>
                  </a:lnTo>
                  <a:lnTo>
                    <a:pt x="1254" y="288"/>
                  </a:lnTo>
                  <a:lnTo>
                    <a:pt x="1266" y="294"/>
                  </a:lnTo>
                  <a:lnTo>
                    <a:pt x="1272" y="294"/>
                  </a:lnTo>
                  <a:lnTo>
                    <a:pt x="1284" y="300"/>
                  </a:lnTo>
                  <a:lnTo>
                    <a:pt x="1290" y="300"/>
                  </a:lnTo>
                  <a:lnTo>
                    <a:pt x="1296" y="300"/>
                  </a:lnTo>
                  <a:lnTo>
                    <a:pt x="1302" y="306"/>
                  </a:lnTo>
                  <a:lnTo>
                    <a:pt x="1326" y="312"/>
                  </a:lnTo>
                  <a:lnTo>
                    <a:pt x="1338" y="312"/>
                  </a:lnTo>
                  <a:lnTo>
                    <a:pt x="1338" y="318"/>
                  </a:lnTo>
                  <a:lnTo>
                    <a:pt x="1344" y="318"/>
                  </a:lnTo>
                  <a:lnTo>
                    <a:pt x="1350" y="318"/>
                  </a:lnTo>
                  <a:lnTo>
                    <a:pt x="1362" y="324"/>
                  </a:lnTo>
                  <a:lnTo>
                    <a:pt x="1368" y="318"/>
                  </a:lnTo>
                  <a:lnTo>
                    <a:pt x="1374" y="318"/>
                  </a:lnTo>
                  <a:lnTo>
                    <a:pt x="1386" y="318"/>
                  </a:lnTo>
                  <a:lnTo>
                    <a:pt x="1398" y="324"/>
                  </a:lnTo>
                  <a:lnTo>
                    <a:pt x="1398" y="342"/>
                  </a:lnTo>
                  <a:lnTo>
                    <a:pt x="1356" y="342"/>
                  </a:lnTo>
                  <a:lnTo>
                    <a:pt x="1350" y="348"/>
                  </a:lnTo>
                  <a:lnTo>
                    <a:pt x="1350" y="372"/>
                  </a:lnTo>
                  <a:lnTo>
                    <a:pt x="1338" y="384"/>
                  </a:lnTo>
                  <a:lnTo>
                    <a:pt x="1332" y="408"/>
                  </a:lnTo>
                  <a:lnTo>
                    <a:pt x="1320" y="420"/>
                  </a:lnTo>
                  <a:lnTo>
                    <a:pt x="1254" y="426"/>
                  </a:lnTo>
                  <a:lnTo>
                    <a:pt x="1248" y="432"/>
                  </a:lnTo>
                  <a:lnTo>
                    <a:pt x="1230" y="432"/>
                  </a:lnTo>
                  <a:lnTo>
                    <a:pt x="1212" y="432"/>
                  </a:lnTo>
                  <a:lnTo>
                    <a:pt x="1212" y="426"/>
                  </a:lnTo>
                  <a:lnTo>
                    <a:pt x="1200" y="426"/>
                  </a:lnTo>
                  <a:lnTo>
                    <a:pt x="1182" y="414"/>
                  </a:lnTo>
                  <a:lnTo>
                    <a:pt x="1182" y="420"/>
                  </a:lnTo>
                  <a:lnTo>
                    <a:pt x="1164" y="420"/>
                  </a:lnTo>
                  <a:lnTo>
                    <a:pt x="1158" y="414"/>
                  </a:lnTo>
                  <a:lnTo>
                    <a:pt x="1152" y="408"/>
                  </a:lnTo>
                  <a:lnTo>
                    <a:pt x="1146" y="402"/>
                  </a:lnTo>
                  <a:lnTo>
                    <a:pt x="1122" y="396"/>
                  </a:lnTo>
                  <a:lnTo>
                    <a:pt x="1116" y="366"/>
                  </a:lnTo>
                  <a:lnTo>
                    <a:pt x="1116" y="348"/>
                  </a:lnTo>
                  <a:lnTo>
                    <a:pt x="1110" y="342"/>
                  </a:lnTo>
                  <a:lnTo>
                    <a:pt x="1104" y="336"/>
                  </a:lnTo>
                  <a:lnTo>
                    <a:pt x="1092" y="330"/>
                  </a:lnTo>
                  <a:lnTo>
                    <a:pt x="1074" y="330"/>
                  </a:lnTo>
                  <a:lnTo>
                    <a:pt x="1044" y="330"/>
                  </a:lnTo>
                  <a:lnTo>
                    <a:pt x="1014" y="336"/>
                  </a:lnTo>
                  <a:lnTo>
                    <a:pt x="984" y="342"/>
                  </a:lnTo>
                  <a:lnTo>
                    <a:pt x="978" y="330"/>
                  </a:lnTo>
                  <a:lnTo>
                    <a:pt x="966" y="324"/>
                  </a:lnTo>
                  <a:lnTo>
                    <a:pt x="888" y="336"/>
                  </a:lnTo>
                  <a:lnTo>
                    <a:pt x="888" y="330"/>
                  </a:lnTo>
                  <a:lnTo>
                    <a:pt x="870" y="336"/>
                  </a:lnTo>
                  <a:lnTo>
                    <a:pt x="858" y="336"/>
                  </a:lnTo>
                  <a:lnTo>
                    <a:pt x="852" y="354"/>
                  </a:lnTo>
                  <a:lnTo>
                    <a:pt x="852" y="402"/>
                  </a:lnTo>
                  <a:lnTo>
                    <a:pt x="840" y="414"/>
                  </a:lnTo>
                  <a:lnTo>
                    <a:pt x="834" y="420"/>
                  </a:lnTo>
                  <a:lnTo>
                    <a:pt x="834" y="444"/>
                  </a:lnTo>
                  <a:lnTo>
                    <a:pt x="834" y="450"/>
                  </a:lnTo>
                  <a:lnTo>
                    <a:pt x="852" y="456"/>
                  </a:lnTo>
                  <a:lnTo>
                    <a:pt x="864" y="462"/>
                  </a:lnTo>
                  <a:lnTo>
                    <a:pt x="894" y="456"/>
                  </a:lnTo>
                  <a:lnTo>
                    <a:pt x="900" y="468"/>
                  </a:lnTo>
                  <a:lnTo>
                    <a:pt x="918" y="462"/>
                  </a:lnTo>
                  <a:lnTo>
                    <a:pt x="924" y="468"/>
                  </a:lnTo>
                  <a:lnTo>
                    <a:pt x="924" y="474"/>
                  </a:lnTo>
                  <a:close/>
                </a:path>
              </a:pathLst>
            </a:custGeom>
            <a:solidFill>
              <a:srgbClr val="2A4F1D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2" name="Freeform 37">
              <a:extLst>
                <a:ext uri="{FF2B5EF4-FFF2-40B4-BE49-F238E27FC236}">
                  <a16:creationId xmlns:a16="http://schemas.microsoft.com/office/drawing/2014/main" id="{DED8A1FF-B656-4D37-BD26-5B0A7B1A4A6D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441" y="1898343"/>
              <a:ext cx="567992" cy="686605"/>
            </a:xfrm>
            <a:custGeom>
              <a:avLst/>
              <a:gdLst>
                <a:gd name="T0" fmla="*/ 79 w 1068"/>
                <a:gd name="T1" fmla="*/ 72 h 1290"/>
                <a:gd name="T2" fmla="*/ 75 w 1068"/>
                <a:gd name="T3" fmla="*/ 73 h 1290"/>
                <a:gd name="T4" fmla="*/ 72 w 1068"/>
                <a:gd name="T5" fmla="*/ 76 h 1290"/>
                <a:gd name="T6" fmla="*/ 70 w 1068"/>
                <a:gd name="T7" fmla="*/ 78 h 1290"/>
                <a:gd name="T8" fmla="*/ 67 w 1068"/>
                <a:gd name="T9" fmla="*/ 82 h 1290"/>
                <a:gd name="T10" fmla="*/ 61 w 1068"/>
                <a:gd name="T11" fmla="*/ 86 h 1290"/>
                <a:gd name="T12" fmla="*/ 60 w 1068"/>
                <a:gd name="T13" fmla="*/ 93 h 1290"/>
                <a:gd name="T14" fmla="*/ 59 w 1068"/>
                <a:gd name="T15" fmla="*/ 97 h 1290"/>
                <a:gd name="T16" fmla="*/ 61 w 1068"/>
                <a:gd name="T17" fmla="*/ 101 h 1290"/>
                <a:gd name="T18" fmla="*/ 63 w 1068"/>
                <a:gd name="T19" fmla="*/ 104 h 1290"/>
                <a:gd name="T20" fmla="*/ 62 w 1068"/>
                <a:gd name="T21" fmla="*/ 108 h 1290"/>
                <a:gd name="T22" fmla="*/ 60 w 1068"/>
                <a:gd name="T23" fmla="*/ 111 h 1290"/>
                <a:gd name="T24" fmla="*/ 56 w 1068"/>
                <a:gd name="T25" fmla="*/ 111 h 1290"/>
                <a:gd name="T26" fmla="*/ 53 w 1068"/>
                <a:gd name="T27" fmla="*/ 110 h 1290"/>
                <a:gd name="T28" fmla="*/ 50 w 1068"/>
                <a:gd name="T29" fmla="*/ 109 h 1290"/>
                <a:gd name="T30" fmla="*/ 47 w 1068"/>
                <a:gd name="T31" fmla="*/ 110 h 1290"/>
                <a:gd name="T32" fmla="*/ 51 w 1068"/>
                <a:gd name="T33" fmla="*/ 104 h 1290"/>
                <a:gd name="T34" fmla="*/ 50 w 1068"/>
                <a:gd name="T35" fmla="*/ 95 h 1290"/>
                <a:gd name="T36" fmla="*/ 51 w 1068"/>
                <a:gd name="T37" fmla="*/ 90 h 1290"/>
                <a:gd name="T38" fmla="*/ 47 w 1068"/>
                <a:gd name="T39" fmla="*/ 84 h 1290"/>
                <a:gd name="T40" fmla="*/ 42 w 1068"/>
                <a:gd name="T41" fmla="*/ 78 h 1290"/>
                <a:gd name="T42" fmla="*/ 33 w 1068"/>
                <a:gd name="T43" fmla="*/ 73 h 1290"/>
                <a:gd name="T44" fmla="*/ 26 w 1068"/>
                <a:gd name="T45" fmla="*/ 68 h 1290"/>
                <a:gd name="T46" fmla="*/ 22 w 1068"/>
                <a:gd name="T47" fmla="*/ 63 h 1290"/>
                <a:gd name="T48" fmla="*/ 11 w 1068"/>
                <a:gd name="T49" fmla="*/ 67 h 1290"/>
                <a:gd name="T50" fmla="*/ 0 w 1068"/>
                <a:gd name="T51" fmla="*/ 68 h 1290"/>
                <a:gd name="T52" fmla="*/ 2 w 1068"/>
                <a:gd name="T53" fmla="*/ 59 h 1290"/>
                <a:gd name="T54" fmla="*/ 12 w 1068"/>
                <a:gd name="T55" fmla="*/ 55 h 1290"/>
                <a:gd name="T56" fmla="*/ 12 w 1068"/>
                <a:gd name="T57" fmla="*/ 51 h 1290"/>
                <a:gd name="T58" fmla="*/ 10 w 1068"/>
                <a:gd name="T59" fmla="*/ 47 h 1290"/>
                <a:gd name="T60" fmla="*/ 9 w 1068"/>
                <a:gd name="T61" fmla="*/ 42 h 1290"/>
                <a:gd name="T62" fmla="*/ 8 w 1068"/>
                <a:gd name="T63" fmla="*/ 38 h 1290"/>
                <a:gd name="T64" fmla="*/ 8 w 1068"/>
                <a:gd name="T65" fmla="*/ 29 h 1290"/>
                <a:gd name="T66" fmla="*/ 10 w 1068"/>
                <a:gd name="T67" fmla="*/ 18 h 1290"/>
                <a:gd name="T68" fmla="*/ 25 w 1068"/>
                <a:gd name="T69" fmla="*/ 12 h 1290"/>
                <a:gd name="T70" fmla="*/ 27 w 1068"/>
                <a:gd name="T71" fmla="*/ 4 h 1290"/>
                <a:gd name="T72" fmla="*/ 35 w 1068"/>
                <a:gd name="T73" fmla="*/ 6 h 1290"/>
                <a:gd name="T74" fmla="*/ 39 w 1068"/>
                <a:gd name="T75" fmla="*/ 8 h 1290"/>
                <a:gd name="T76" fmla="*/ 41 w 1068"/>
                <a:gd name="T77" fmla="*/ 3 h 1290"/>
                <a:gd name="T78" fmla="*/ 45 w 1068"/>
                <a:gd name="T79" fmla="*/ 0 h 1290"/>
                <a:gd name="T80" fmla="*/ 51 w 1068"/>
                <a:gd name="T81" fmla="*/ 0 h 1290"/>
                <a:gd name="T82" fmla="*/ 56 w 1068"/>
                <a:gd name="T83" fmla="*/ 4 h 1290"/>
                <a:gd name="T84" fmla="*/ 62 w 1068"/>
                <a:gd name="T85" fmla="*/ 12 h 1290"/>
                <a:gd name="T86" fmla="*/ 58 w 1068"/>
                <a:gd name="T87" fmla="*/ 17 h 1290"/>
                <a:gd name="T88" fmla="*/ 60 w 1068"/>
                <a:gd name="T89" fmla="*/ 18 h 1290"/>
                <a:gd name="T90" fmla="*/ 64 w 1068"/>
                <a:gd name="T91" fmla="*/ 16 h 1290"/>
                <a:gd name="T92" fmla="*/ 68 w 1068"/>
                <a:gd name="T93" fmla="*/ 18 h 1290"/>
                <a:gd name="T94" fmla="*/ 71 w 1068"/>
                <a:gd name="T95" fmla="*/ 27 h 1290"/>
                <a:gd name="T96" fmla="*/ 74 w 1068"/>
                <a:gd name="T97" fmla="*/ 30 h 1290"/>
                <a:gd name="T98" fmla="*/ 82 w 1068"/>
                <a:gd name="T99" fmla="*/ 30 h 1290"/>
                <a:gd name="T100" fmla="*/ 87 w 1068"/>
                <a:gd name="T101" fmla="*/ 35 h 1290"/>
                <a:gd name="T102" fmla="*/ 85 w 1068"/>
                <a:gd name="T103" fmla="*/ 42 h 1290"/>
                <a:gd name="T104" fmla="*/ 81 w 1068"/>
                <a:gd name="T105" fmla="*/ 46 h 1290"/>
                <a:gd name="T106" fmla="*/ 86 w 1068"/>
                <a:gd name="T107" fmla="*/ 50 h 1290"/>
                <a:gd name="T108" fmla="*/ 89 w 1068"/>
                <a:gd name="T109" fmla="*/ 58 h 1290"/>
                <a:gd name="T110" fmla="*/ 92 w 1068"/>
                <a:gd name="T111" fmla="*/ 61 h 1290"/>
                <a:gd name="T112" fmla="*/ 86 w 1068"/>
                <a:gd name="T113" fmla="*/ 66 h 1290"/>
                <a:gd name="T114" fmla="*/ 85 w 1068"/>
                <a:gd name="T115" fmla="*/ 70 h 129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68"/>
                <a:gd name="T175" fmla="*/ 0 h 1290"/>
                <a:gd name="T176" fmla="*/ 1068 w 1068"/>
                <a:gd name="T177" fmla="*/ 1290 h 129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68" h="1290">
                  <a:moveTo>
                    <a:pt x="978" y="804"/>
                  </a:moveTo>
                  <a:lnTo>
                    <a:pt x="972" y="810"/>
                  </a:lnTo>
                  <a:lnTo>
                    <a:pt x="966" y="810"/>
                  </a:lnTo>
                  <a:lnTo>
                    <a:pt x="966" y="816"/>
                  </a:lnTo>
                  <a:lnTo>
                    <a:pt x="936" y="828"/>
                  </a:lnTo>
                  <a:lnTo>
                    <a:pt x="924" y="822"/>
                  </a:lnTo>
                  <a:lnTo>
                    <a:pt x="912" y="822"/>
                  </a:lnTo>
                  <a:lnTo>
                    <a:pt x="906" y="828"/>
                  </a:lnTo>
                  <a:lnTo>
                    <a:pt x="900" y="828"/>
                  </a:lnTo>
                  <a:lnTo>
                    <a:pt x="900" y="822"/>
                  </a:lnTo>
                  <a:lnTo>
                    <a:pt x="894" y="822"/>
                  </a:lnTo>
                  <a:lnTo>
                    <a:pt x="888" y="828"/>
                  </a:lnTo>
                  <a:lnTo>
                    <a:pt x="882" y="834"/>
                  </a:lnTo>
                  <a:lnTo>
                    <a:pt x="876" y="834"/>
                  </a:lnTo>
                  <a:lnTo>
                    <a:pt x="870" y="840"/>
                  </a:lnTo>
                  <a:lnTo>
                    <a:pt x="864" y="840"/>
                  </a:lnTo>
                  <a:lnTo>
                    <a:pt x="864" y="846"/>
                  </a:lnTo>
                  <a:lnTo>
                    <a:pt x="858" y="846"/>
                  </a:lnTo>
                  <a:lnTo>
                    <a:pt x="852" y="846"/>
                  </a:lnTo>
                  <a:lnTo>
                    <a:pt x="852" y="858"/>
                  </a:lnTo>
                  <a:lnTo>
                    <a:pt x="846" y="864"/>
                  </a:lnTo>
                  <a:lnTo>
                    <a:pt x="840" y="870"/>
                  </a:lnTo>
                  <a:lnTo>
                    <a:pt x="834" y="870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34" y="876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10" y="894"/>
                  </a:lnTo>
                  <a:lnTo>
                    <a:pt x="810" y="900"/>
                  </a:lnTo>
                  <a:lnTo>
                    <a:pt x="804" y="900"/>
                  </a:lnTo>
                  <a:lnTo>
                    <a:pt x="798" y="900"/>
                  </a:lnTo>
                  <a:lnTo>
                    <a:pt x="798" y="906"/>
                  </a:lnTo>
                  <a:lnTo>
                    <a:pt x="792" y="906"/>
                  </a:lnTo>
                  <a:lnTo>
                    <a:pt x="792" y="912"/>
                  </a:lnTo>
                  <a:lnTo>
                    <a:pt x="792" y="924"/>
                  </a:lnTo>
                  <a:lnTo>
                    <a:pt x="786" y="930"/>
                  </a:lnTo>
                  <a:lnTo>
                    <a:pt x="774" y="942"/>
                  </a:lnTo>
                  <a:lnTo>
                    <a:pt x="774" y="948"/>
                  </a:lnTo>
                  <a:lnTo>
                    <a:pt x="768" y="954"/>
                  </a:lnTo>
                  <a:lnTo>
                    <a:pt x="762" y="954"/>
                  </a:lnTo>
                  <a:lnTo>
                    <a:pt x="750" y="972"/>
                  </a:lnTo>
                  <a:lnTo>
                    <a:pt x="720" y="978"/>
                  </a:lnTo>
                  <a:lnTo>
                    <a:pt x="714" y="978"/>
                  </a:lnTo>
                  <a:lnTo>
                    <a:pt x="708" y="978"/>
                  </a:lnTo>
                  <a:lnTo>
                    <a:pt x="702" y="990"/>
                  </a:lnTo>
                  <a:lnTo>
                    <a:pt x="696" y="990"/>
                  </a:lnTo>
                  <a:lnTo>
                    <a:pt x="696" y="1008"/>
                  </a:lnTo>
                  <a:lnTo>
                    <a:pt x="690" y="1008"/>
                  </a:lnTo>
                  <a:lnTo>
                    <a:pt x="690" y="1014"/>
                  </a:lnTo>
                  <a:lnTo>
                    <a:pt x="684" y="1032"/>
                  </a:lnTo>
                  <a:lnTo>
                    <a:pt x="690" y="1050"/>
                  </a:lnTo>
                  <a:lnTo>
                    <a:pt x="690" y="1062"/>
                  </a:lnTo>
                  <a:lnTo>
                    <a:pt x="690" y="1068"/>
                  </a:lnTo>
                  <a:lnTo>
                    <a:pt x="690" y="1074"/>
                  </a:lnTo>
                  <a:lnTo>
                    <a:pt x="684" y="1074"/>
                  </a:lnTo>
                  <a:lnTo>
                    <a:pt x="684" y="1080"/>
                  </a:lnTo>
                  <a:lnTo>
                    <a:pt x="678" y="1086"/>
                  </a:lnTo>
                  <a:lnTo>
                    <a:pt x="678" y="1104"/>
                  </a:lnTo>
                  <a:lnTo>
                    <a:pt x="678" y="1110"/>
                  </a:lnTo>
                  <a:lnTo>
                    <a:pt x="678" y="1116"/>
                  </a:lnTo>
                  <a:lnTo>
                    <a:pt x="684" y="1116"/>
                  </a:lnTo>
                  <a:lnTo>
                    <a:pt x="678" y="1128"/>
                  </a:lnTo>
                  <a:lnTo>
                    <a:pt x="684" y="1128"/>
                  </a:lnTo>
                  <a:lnTo>
                    <a:pt x="690" y="1134"/>
                  </a:lnTo>
                  <a:lnTo>
                    <a:pt x="690" y="1140"/>
                  </a:lnTo>
                  <a:lnTo>
                    <a:pt x="696" y="1140"/>
                  </a:lnTo>
                  <a:lnTo>
                    <a:pt x="696" y="1146"/>
                  </a:lnTo>
                  <a:lnTo>
                    <a:pt x="696" y="1152"/>
                  </a:lnTo>
                  <a:lnTo>
                    <a:pt x="702" y="1152"/>
                  </a:lnTo>
                  <a:lnTo>
                    <a:pt x="708" y="1152"/>
                  </a:lnTo>
                  <a:lnTo>
                    <a:pt x="714" y="1158"/>
                  </a:lnTo>
                  <a:lnTo>
                    <a:pt x="714" y="1164"/>
                  </a:lnTo>
                  <a:lnTo>
                    <a:pt x="720" y="1170"/>
                  </a:lnTo>
                  <a:lnTo>
                    <a:pt x="720" y="1176"/>
                  </a:lnTo>
                  <a:lnTo>
                    <a:pt x="720" y="1182"/>
                  </a:lnTo>
                  <a:lnTo>
                    <a:pt x="726" y="1188"/>
                  </a:lnTo>
                  <a:lnTo>
                    <a:pt x="726" y="1194"/>
                  </a:lnTo>
                  <a:lnTo>
                    <a:pt x="732" y="1194"/>
                  </a:lnTo>
                  <a:lnTo>
                    <a:pt x="732" y="1200"/>
                  </a:lnTo>
                  <a:lnTo>
                    <a:pt x="738" y="1212"/>
                  </a:lnTo>
                  <a:lnTo>
                    <a:pt x="732" y="1218"/>
                  </a:lnTo>
                  <a:lnTo>
                    <a:pt x="732" y="1224"/>
                  </a:lnTo>
                  <a:lnTo>
                    <a:pt x="726" y="1230"/>
                  </a:lnTo>
                  <a:lnTo>
                    <a:pt x="720" y="1230"/>
                  </a:lnTo>
                  <a:lnTo>
                    <a:pt x="720" y="1236"/>
                  </a:lnTo>
                  <a:lnTo>
                    <a:pt x="720" y="1242"/>
                  </a:lnTo>
                  <a:lnTo>
                    <a:pt x="720" y="1248"/>
                  </a:lnTo>
                  <a:lnTo>
                    <a:pt x="714" y="1248"/>
                  </a:lnTo>
                  <a:lnTo>
                    <a:pt x="714" y="1254"/>
                  </a:lnTo>
                  <a:lnTo>
                    <a:pt x="708" y="1260"/>
                  </a:lnTo>
                  <a:lnTo>
                    <a:pt x="702" y="1272"/>
                  </a:lnTo>
                  <a:lnTo>
                    <a:pt x="696" y="1272"/>
                  </a:lnTo>
                  <a:lnTo>
                    <a:pt x="696" y="1278"/>
                  </a:lnTo>
                  <a:lnTo>
                    <a:pt x="690" y="1284"/>
                  </a:lnTo>
                  <a:lnTo>
                    <a:pt x="690" y="1290"/>
                  </a:lnTo>
                  <a:lnTo>
                    <a:pt x="684" y="1290"/>
                  </a:lnTo>
                  <a:lnTo>
                    <a:pt x="660" y="1284"/>
                  </a:lnTo>
                  <a:lnTo>
                    <a:pt x="660" y="1278"/>
                  </a:lnTo>
                  <a:lnTo>
                    <a:pt x="654" y="1272"/>
                  </a:lnTo>
                  <a:lnTo>
                    <a:pt x="648" y="1272"/>
                  </a:lnTo>
                  <a:lnTo>
                    <a:pt x="642" y="1272"/>
                  </a:lnTo>
                  <a:lnTo>
                    <a:pt x="642" y="1266"/>
                  </a:lnTo>
                  <a:lnTo>
                    <a:pt x="636" y="1266"/>
                  </a:lnTo>
                  <a:lnTo>
                    <a:pt x="630" y="1266"/>
                  </a:lnTo>
                  <a:lnTo>
                    <a:pt x="624" y="1266"/>
                  </a:lnTo>
                  <a:lnTo>
                    <a:pt x="624" y="1260"/>
                  </a:lnTo>
                  <a:lnTo>
                    <a:pt x="618" y="1260"/>
                  </a:lnTo>
                  <a:lnTo>
                    <a:pt x="612" y="1260"/>
                  </a:lnTo>
                  <a:lnTo>
                    <a:pt x="606" y="1260"/>
                  </a:lnTo>
                  <a:lnTo>
                    <a:pt x="600" y="1260"/>
                  </a:lnTo>
                  <a:lnTo>
                    <a:pt x="600" y="1254"/>
                  </a:lnTo>
                  <a:lnTo>
                    <a:pt x="594" y="1254"/>
                  </a:lnTo>
                  <a:lnTo>
                    <a:pt x="588" y="1248"/>
                  </a:lnTo>
                  <a:lnTo>
                    <a:pt x="588" y="1254"/>
                  </a:lnTo>
                  <a:lnTo>
                    <a:pt x="582" y="1254"/>
                  </a:lnTo>
                  <a:lnTo>
                    <a:pt x="582" y="1248"/>
                  </a:lnTo>
                  <a:lnTo>
                    <a:pt x="576" y="1248"/>
                  </a:lnTo>
                  <a:lnTo>
                    <a:pt x="576" y="1254"/>
                  </a:lnTo>
                  <a:lnTo>
                    <a:pt x="570" y="1248"/>
                  </a:lnTo>
                  <a:lnTo>
                    <a:pt x="564" y="1248"/>
                  </a:lnTo>
                  <a:lnTo>
                    <a:pt x="564" y="1254"/>
                  </a:lnTo>
                  <a:lnTo>
                    <a:pt x="558" y="1254"/>
                  </a:lnTo>
                  <a:lnTo>
                    <a:pt x="552" y="1254"/>
                  </a:lnTo>
                  <a:lnTo>
                    <a:pt x="552" y="1260"/>
                  </a:lnTo>
                  <a:lnTo>
                    <a:pt x="546" y="1260"/>
                  </a:lnTo>
                  <a:lnTo>
                    <a:pt x="540" y="1260"/>
                  </a:lnTo>
                  <a:lnTo>
                    <a:pt x="540" y="1254"/>
                  </a:lnTo>
                  <a:lnTo>
                    <a:pt x="534" y="1254"/>
                  </a:lnTo>
                  <a:lnTo>
                    <a:pt x="528" y="1224"/>
                  </a:lnTo>
                  <a:lnTo>
                    <a:pt x="534" y="1212"/>
                  </a:lnTo>
                  <a:lnTo>
                    <a:pt x="546" y="1206"/>
                  </a:lnTo>
                  <a:lnTo>
                    <a:pt x="582" y="1206"/>
                  </a:lnTo>
                  <a:lnTo>
                    <a:pt x="588" y="1188"/>
                  </a:lnTo>
                  <a:lnTo>
                    <a:pt x="582" y="1188"/>
                  </a:lnTo>
                  <a:lnTo>
                    <a:pt x="582" y="1182"/>
                  </a:lnTo>
                  <a:lnTo>
                    <a:pt x="576" y="1176"/>
                  </a:lnTo>
                  <a:lnTo>
                    <a:pt x="558" y="1128"/>
                  </a:lnTo>
                  <a:lnTo>
                    <a:pt x="558" y="1122"/>
                  </a:lnTo>
                  <a:lnTo>
                    <a:pt x="576" y="1098"/>
                  </a:lnTo>
                  <a:lnTo>
                    <a:pt x="576" y="1092"/>
                  </a:lnTo>
                  <a:lnTo>
                    <a:pt x="582" y="1092"/>
                  </a:lnTo>
                  <a:lnTo>
                    <a:pt x="582" y="1086"/>
                  </a:lnTo>
                  <a:lnTo>
                    <a:pt x="582" y="1080"/>
                  </a:lnTo>
                  <a:lnTo>
                    <a:pt x="582" y="1074"/>
                  </a:lnTo>
                  <a:lnTo>
                    <a:pt x="588" y="1074"/>
                  </a:lnTo>
                  <a:lnTo>
                    <a:pt x="588" y="1062"/>
                  </a:lnTo>
                  <a:lnTo>
                    <a:pt x="588" y="1056"/>
                  </a:lnTo>
                  <a:lnTo>
                    <a:pt x="588" y="1044"/>
                  </a:lnTo>
                  <a:lnTo>
                    <a:pt x="588" y="1038"/>
                  </a:lnTo>
                  <a:lnTo>
                    <a:pt x="588" y="1032"/>
                  </a:lnTo>
                  <a:lnTo>
                    <a:pt x="582" y="1026"/>
                  </a:lnTo>
                  <a:lnTo>
                    <a:pt x="582" y="1020"/>
                  </a:lnTo>
                  <a:lnTo>
                    <a:pt x="582" y="1008"/>
                  </a:lnTo>
                  <a:lnTo>
                    <a:pt x="576" y="990"/>
                  </a:lnTo>
                  <a:lnTo>
                    <a:pt x="570" y="972"/>
                  </a:lnTo>
                  <a:lnTo>
                    <a:pt x="552" y="972"/>
                  </a:lnTo>
                  <a:lnTo>
                    <a:pt x="540" y="960"/>
                  </a:lnTo>
                  <a:lnTo>
                    <a:pt x="534" y="954"/>
                  </a:lnTo>
                  <a:lnTo>
                    <a:pt x="534" y="948"/>
                  </a:lnTo>
                  <a:lnTo>
                    <a:pt x="516" y="948"/>
                  </a:lnTo>
                  <a:lnTo>
                    <a:pt x="522" y="936"/>
                  </a:lnTo>
                  <a:lnTo>
                    <a:pt x="522" y="930"/>
                  </a:lnTo>
                  <a:lnTo>
                    <a:pt x="504" y="918"/>
                  </a:lnTo>
                  <a:lnTo>
                    <a:pt x="492" y="906"/>
                  </a:lnTo>
                  <a:lnTo>
                    <a:pt x="486" y="894"/>
                  </a:lnTo>
                  <a:lnTo>
                    <a:pt x="468" y="876"/>
                  </a:lnTo>
                  <a:lnTo>
                    <a:pt x="450" y="876"/>
                  </a:lnTo>
                  <a:lnTo>
                    <a:pt x="414" y="882"/>
                  </a:lnTo>
                  <a:lnTo>
                    <a:pt x="402" y="870"/>
                  </a:lnTo>
                  <a:lnTo>
                    <a:pt x="390" y="864"/>
                  </a:lnTo>
                  <a:lnTo>
                    <a:pt x="384" y="852"/>
                  </a:lnTo>
                  <a:lnTo>
                    <a:pt x="378" y="840"/>
                  </a:lnTo>
                  <a:lnTo>
                    <a:pt x="378" y="834"/>
                  </a:lnTo>
                  <a:lnTo>
                    <a:pt x="360" y="822"/>
                  </a:lnTo>
                  <a:lnTo>
                    <a:pt x="342" y="828"/>
                  </a:lnTo>
                  <a:lnTo>
                    <a:pt x="324" y="816"/>
                  </a:lnTo>
                  <a:lnTo>
                    <a:pt x="318" y="816"/>
                  </a:lnTo>
                  <a:lnTo>
                    <a:pt x="306" y="810"/>
                  </a:lnTo>
                  <a:lnTo>
                    <a:pt x="306" y="804"/>
                  </a:lnTo>
                  <a:lnTo>
                    <a:pt x="300" y="804"/>
                  </a:lnTo>
                  <a:lnTo>
                    <a:pt x="300" y="780"/>
                  </a:lnTo>
                  <a:lnTo>
                    <a:pt x="300" y="774"/>
                  </a:lnTo>
                  <a:lnTo>
                    <a:pt x="306" y="774"/>
                  </a:lnTo>
                  <a:lnTo>
                    <a:pt x="312" y="756"/>
                  </a:lnTo>
                  <a:lnTo>
                    <a:pt x="312" y="732"/>
                  </a:lnTo>
                  <a:lnTo>
                    <a:pt x="300" y="720"/>
                  </a:lnTo>
                  <a:lnTo>
                    <a:pt x="288" y="702"/>
                  </a:lnTo>
                  <a:lnTo>
                    <a:pt x="276" y="702"/>
                  </a:lnTo>
                  <a:lnTo>
                    <a:pt x="258" y="714"/>
                  </a:lnTo>
                  <a:lnTo>
                    <a:pt x="246" y="726"/>
                  </a:lnTo>
                  <a:lnTo>
                    <a:pt x="222" y="726"/>
                  </a:lnTo>
                  <a:lnTo>
                    <a:pt x="192" y="726"/>
                  </a:lnTo>
                  <a:lnTo>
                    <a:pt x="174" y="738"/>
                  </a:lnTo>
                  <a:lnTo>
                    <a:pt x="162" y="750"/>
                  </a:lnTo>
                  <a:lnTo>
                    <a:pt x="144" y="762"/>
                  </a:lnTo>
                  <a:lnTo>
                    <a:pt x="138" y="768"/>
                  </a:lnTo>
                  <a:lnTo>
                    <a:pt x="126" y="774"/>
                  </a:lnTo>
                  <a:lnTo>
                    <a:pt x="114" y="780"/>
                  </a:lnTo>
                  <a:lnTo>
                    <a:pt x="108" y="786"/>
                  </a:lnTo>
                  <a:lnTo>
                    <a:pt x="102" y="786"/>
                  </a:lnTo>
                  <a:lnTo>
                    <a:pt x="54" y="786"/>
                  </a:lnTo>
                  <a:lnTo>
                    <a:pt x="48" y="792"/>
                  </a:lnTo>
                  <a:lnTo>
                    <a:pt x="36" y="798"/>
                  </a:lnTo>
                  <a:lnTo>
                    <a:pt x="18" y="792"/>
                  </a:lnTo>
                  <a:lnTo>
                    <a:pt x="6" y="780"/>
                  </a:lnTo>
                  <a:lnTo>
                    <a:pt x="6" y="768"/>
                  </a:lnTo>
                  <a:lnTo>
                    <a:pt x="0" y="756"/>
                  </a:lnTo>
                  <a:lnTo>
                    <a:pt x="0" y="738"/>
                  </a:lnTo>
                  <a:lnTo>
                    <a:pt x="6" y="702"/>
                  </a:lnTo>
                  <a:lnTo>
                    <a:pt x="24" y="702"/>
                  </a:lnTo>
                  <a:lnTo>
                    <a:pt x="24" y="696"/>
                  </a:lnTo>
                  <a:lnTo>
                    <a:pt x="24" y="690"/>
                  </a:lnTo>
                  <a:lnTo>
                    <a:pt x="24" y="678"/>
                  </a:lnTo>
                  <a:lnTo>
                    <a:pt x="24" y="672"/>
                  </a:lnTo>
                  <a:lnTo>
                    <a:pt x="30" y="672"/>
                  </a:lnTo>
                  <a:lnTo>
                    <a:pt x="30" y="666"/>
                  </a:lnTo>
                  <a:lnTo>
                    <a:pt x="36" y="660"/>
                  </a:lnTo>
                  <a:lnTo>
                    <a:pt x="84" y="648"/>
                  </a:lnTo>
                  <a:lnTo>
                    <a:pt x="126" y="642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32" y="618"/>
                  </a:lnTo>
                  <a:lnTo>
                    <a:pt x="138" y="612"/>
                  </a:lnTo>
                  <a:lnTo>
                    <a:pt x="138" y="606"/>
                  </a:lnTo>
                  <a:lnTo>
                    <a:pt x="138" y="600"/>
                  </a:lnTo>
                  <a:lnTo>
                    <a:pt x="132" y="600"/>
                  </a:lnTo>
                  <a:lnTo>
                    <a:pt x="132" y="594"/>
                  </a:lnTo>
                  <a:lnTo>
                    <a:pt x="132" y="588"/>
                  </a:lnTo>
                  <a:lnTo>
                    <a:pt x="132" y="582"/>
                  </a:lnTo>
                  <a:lnTo>
                    <a:pt x="132" y="576"/>
                  </a:lnTo>
                  <a:lnTo>
                    <a:pt x="126" y="570"/>
                  </a:lnTo>
                  <a:lnTo>
                    <a:pt x="120" y="564"/>
                  </a:lnTo>
                  <a:lnTo>
                    <a:pt x="120" y="558"/>
                  </a:lnTo>
                  <a:lnTo>
                    <a:pt x="120" y="552"/>
                  </a:lnTo>
                  <a:lnTo>
                    <a:pt x="114" y="552"/>
                  </a:lnTo>
                  <a:lnTo>
                    <a:pt x="114" y="546"/>
                  </a:lnTo>
                  <a:lnTo>
                    <a:pt x="114" y="540"/>
                  </a:lnTo>
                  <a:lnTo>
                    <a:pt x="108" y="534"/>
                  </a:lnTo>
                  <a:lnTo>
                    <a:pt x="108" y="528"/>
                  </a:lnTo>
                  <a:lnTo>
                    <a:pt x="114" y="522"/>
                  </a:lnTo>
                  <a:lnTo>
                    <a:pt x="108" y="516"/>
                  </a:lnTo>
                  <a:lnTo>
                    <a:pt x="108" y="498"/>
                  </a:lnTo>
                  <a:lnTo>
                    <a:pt x="108" y="492"/>
                  </a:lnTo>
                  <a:lnTo>
                    <a:pt x="108" y="486"/>
                  </a:lnTo>
                  <a:lnTo>
                    <a:pt x="108" y="480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08" y="462"/>
                  </a:lnTo>
                  <a:lnTo>
                    <a:pt x="102" y="456"/>
                  </a:lnTo>
                  <a:lnTo>
                    <a:pt x="102" y="444"/>
                  </a:lnTo>
                  <a:lnTo>
                    <a:pt x="96" y="444"/>
                  </a:lnTo>
                  <a:lnTo>
                    <a:pt x="90" y="432"/>
                  </a:lnTo>
                  <a:lnTo>
                    <a:pt x="96" y="432"/>
                  </a:lnTo>
                  <a:lnTo>
                    <a:pt x="96" y="408"/>
                  </a:lnTo>
                  <a:lnTo>
                    <a:pt x="96" y="396"/>
                  </a:lnTo>
                  <a:lnTo>
                    <a:pt x="96" y="360"/>
                  </a:lnTo>
                  <a:lnTo>
                    <a:pt x="96" y="354"/>
                  </a:lnTo>
                  <a:lnTo>
                    <a:pt x="102" y="354"/>
                  </a:lnTo>
                  <a:lnTo>
                    <a:pt x="102" y="348"/>
                  </a:lnTo>
                  <a:lnTo>
                    <a:pt x="96" y="330"/>
                  </a:lnTo>
                  <a:lnTo>
                    <a:pt x="90" y="306"/>
                  </a:lnTo>
                  <a:lnTo>
                    <a:pt x="84" y="288"/>
                  </a:lnTo>
                  <a:lnTo>
                    <a:pt x="84" y="264"/>
                  </a:lnTo>
                  <a:lnTo>
                    <a:pt x="90" y="240"/>
                  </a:lnTo>
                  <a:lnTo>
                    <a:pt x="96" y="222"/>
                  </a:lnTo>
                  <a:lnTo>
                    <a:pt x="102" y="222"/>
                  </a:lnTo>
                  <a:lnTo>
                    <a:pt x="108" y="210"/>
                  </a:lnTo>
                  <a:lnTo>
                    <a:pt x="114" y="210"/>
                  </a:lnTo>
                  <a:lnTo>
                    <a:pt x="126" y="198"/>
                  </a:lnTo>
                  <a:lnTo>
                    <a:pt x="156" y="192"/>
                  </a:lnTo>
                  <a:lnTo>
                    <a:pt x="174" y="186"/>
                  </a:lnTo>
                  <a:lnTo>
                    <a:pt x="204" y="174"/>
                  </a:lnTo>
                  <a:lnTo>
                    <a:pt x="222" y="168"/>
                  </a:lnTo>
                  <a:lnTo>
                    <a:pt x="234" y="162"/>
                  </a:lnTo>
                  <a:lnTo>
                    <a:pt x="246" y="156"/>
                  </a:lnTo>
                  <a:lnTo>
                    <a:pt x="288" y="144"/>
                  </a:lnTo>
                  <a:lnTo>
                    <a:pt x="288" y="132"/>
                  </a:lnTo>
                  <a:lnTo>
                    <a:pt x="294" y="120"/>
                  </a:lnTo>
                  <a:lnTo>
                    <a:pt x="300" y="108"/>
                  </a:lnTo>
                  <a:lnTo>
                    <a:pt x="306" y="90"/>
                  </a:lnTo>
                  <a:lnTo>
                    <a:pt x="312" y="78"/>
                  </a:lnTo>
                  <a:lnTo>
                    <a:pt x="324" y="78"/>
                  </a:lnTo>
                  <a:lnTo>
                    <a:pt x="324" y="54"/>
                  </a:lnTo>
                  <a:lnTo>
                    <a:pt x="318" y="48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60" y="6"/>
                  </a:lnTo>
                  <a:lnTo>
                    <a:pt x="384" y="0"/>
                  </a:lnTo>
                  <a:lnTo>
                    <a:pt x="390" y="6"/>
                  </a:lnTo>
                  <a:lnTo>
                    <a:pt x="390" y="18"/>
                  </a:lnTo>
                  <a:lnTo>
                    <a:pt x="390" y="54"/>
                  </a:lnTo>
                  <a:lnTo>
                    <a:pt x="396" y="66"/>
                  </a:lnTo>
                  <a:lnTo>
                    <a:pt x="414" y="84"/>
                  </a:lnTo>
                  <a:lnTo>
                    <a:pt x="426" y="90"/>
                  </a:lnTo>
                  <a:lnTo>
                    <a:pt x="432" y="96"/>
                  </a:lnTo>
                  <a:lnTo>
                    <a:pt x="426" y="102"/>
                  </a:lnTo>
                  <a:lnTo>
                    <a:pt x="438" y="102"/>
                  </a:lnTo>
                  <a:lnTo>
                    <a:pt x="444" y="108"/>
                  </a:lnTo>
                  <a:lnTo>
                    <a:pt x="444" y="102"/>
                  </a:lnTo>
                  <a:lnTo>
                    <a:pt x="450" y="90"/>
                  </a:lnTo>
                  <a:lnTo>
                    <a:pt x="450" y="84"/>
                  </a:lnTo>
                  <a:lnTo>
                    <a:pt x="450" y="78"/>
                  </a:lnTo>
                  <a:lnTo>
                    <a:pt x="456" y="72"/>
                  </a:lnTo>
                  <a:lnTo>
                    <a:pt x="462" y="66"/>
                  </a:lnTo>
                  <a:lnTo>
                    <a:pt x="462" y="60"/>
                  </a:lnTo>
                  <a:lnTo>
                    <a:pt x="462" y="54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74" y="24"/>
                  </a:lnTo>
                  <a:lnTo>
                    <a:pt x="480" y="18"/>
                  </a:lnTo>
                  <a:lnTo>
                    <a:pt x="486" y="12"/>
                  </a:lnTo>
                  <a:lnTo>
                    <a:pt x="492" y="12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2" y="6"/>
                  </a:lnTo>
                  <a:lnTo>
                    <a:pt x="534" y="6"/>
                  </a:lnTo>
                  <a:lnTo>
                    <a:pt x="540" y="6"/>
                  </a:lnTo>
                  <a:lnTo>
                    <a:pt x="546" y="6"/>
                  </a:lnTo>
                  <a:lnTo>
                    <a:pt x="564" y="0"/>
                  </a:lnTo>
                  <a:lnTo>
                    <a:pt x="570" y="0"/>
                  </a:lnTo>
                  <a:lnTo>
                    <a:pt x="576" y="6"/>
                  </a:lnTo>
                  <a:lnTo>
                    <a:pt x="582" y="6"/>
                  </a:lnTo>
                  <a:lnTo>
                    <a:pt x="594" y="6"/>
                  </a:lnTo>
                  <a:lnTo>
                    <a:pt x="600" y="6"/>
                  </a:lnTo>
                  <a:lnTo>
                    <a:pt x="606" y="6"/>
                  </a:lnTo>
                  <a:lnTo>
                    <a:pt x="624" y="0"/>
                  </a:lnTo>
                  <a:lnTo>
                    <a:pt x="636" y="0"/>
                  </a:lnTo>
                  <a:lnTo>
                    <a:pt x="636" y="6"/>
                  </a:lnTo>
                  <a:lnTo>
                    <a:pt x="654" y="18"/>
                  </a:lnTo>
                  <a:lnTo>
                    <a:pt x="654" y="30"/>
                  </a:lnTo>
                  <a:lnTo>
                    <a:pt x="642" y="42"/>
                  </a:lnTo>
                  <a:lnTo>
                    <a:pt x="630" y="66"/>
                  </a:lnTo>
                  <a:lnTo>
                    <a:pt x="636" y="84"/>
                  </a:lnTo>
                  <a:lnTo>
                    <a:pt x="636" y="96"/>
                  </a:lnTo>
                  <a:lnTo>
                    <a:pt x="648" y="102"/>
                  </a:lnTo>
                  <a:lnTo>
                    <a:pt x="672" y="114"/>
                  </a:lnTo>
                  <a:lnTo>
                    <a:pt x="702" y="120"/>
                  </a:lnTo>
                  <a:lnTo>
                    <a:pt x="714" y="126"/>
                  </a:lnTo>
                  <a:lnTo>
                    <a:pt x="720" y="144"/>
                  </a:lnTo>
                  <a:lnTo>
                    <a:pt x="720" y="156"/>
                  </a:lnTo>
                  <a:lnTo>
                    <a:pt x="708" y="156"/>
                  </a:lnTo>
                  <a:lnTo>
                    <a:pt x="702" y="162"/>
                  </a:lnTo>
                  <a:lnTo>
                    <a:pt x="702" y="174"/>
                  </a:lnTo>
                  <a:lnTo>
                    <a:pt x="696" y="174"/>
                  </a:lnTo>
                  <a:lnTo>
                    <a:pt x="690" y="180"/>
                  </a:lnTo>
                  <a:lnTo>
                    <a:pt x="678" y="186"/>
                  </a:lnTo>
                  <a:lnTo>
                    <a:pt x="672" y="192"/>
                  </a:lnTo>
                  <a:lnTo>
                    <a:pt x="654" y="210"/>
                  </a:lnTo>
                  <a:lnTo>
                    <a:pt x="654" y="216"/>
                  </a:lnTo>
                  <a:lnTo>
                    <a:pt x="648" y="246"/>
                  </a:lnTo>
                  <a:lnTo>
                    <a:pt x="660" y="246"/>
                  </a:lnTo>
                  <a:lnTo>
                    <a:pt x="666" y="234"/>
                  </a:lnTo>
                  <a:lnTo>
                    <a:pt x="678" y="240"/>
                  </a:lnTo>
                  <a:lnTo>
                    <a:pt x="684" y="228"/>
                  </a:lnTo>
                  <a:lnTo>
                    <a:pt x="690" y="210"/>
                  </a:lnTo>
                  <a:lnTo>
                    <a:pt x="696" y="204"/>
                  </a:lnTo>
                  <a:lnTo>
                    <a:pt x="702" y="204"/>
                  </a:lnTo>
                  <a:lnTo>
                    <a:pt x="708" y="192"/>
                  </a:lnTo>
                  <a:lnTo>
                    <a:pt x="714" y="192"/>
                  </a:lnTo>
                  <a:lnTo>
                    <a:pt x="714" y="186"/>
                  </a:lnTo>
                  <a:lnTo>
                    <a:pt x="726" y="186"/>
                  </a:lnTo>
                  <a:lnTo>
                    <a:pt x="732" y="186"/>
                  </a:lnTo>
                  <a:lnTo>
                    <a:pt x="738" y="186"/>
                  </a:lnTo>
                  <a:lnTo>
                    <a:pt x="744" y="216"/>
                  </a:lnTo>
                  <a:lnTo>
                    <a:pt x="750" y="210"/>
                  </a:lnTo>
                  <a:lnTo>
                    <a:pt x="750" y="204"/>
                  </a:lnTo>
                  <a:lnTo>
                    <a:pt x="756" y="192"/>
                  </a:lnTo>
                  <a:lnTo>
                    <a:pt x="762" y="192"/>
                  </a:lnTo>
                  <a:lnTo>
                    <a:pt x="768" y="192"/>
                  </a:lnTo>
                  <a:lnTo>
                    <a:pt x="780" y="186"/>
                  </a:lnTo>
                  <a:lnTo>
                    <a:pt x="786" y="204"/>
                  </a:lnTo>
                  <a:lnTo>
                    <a:pt x="774" y="210"/>
                  </a:lnTo>
                  <a:lnTo>
                    <a:pt x="774" y="234"/>
                  </a:lnTo>
                  <a:lnTo>
                    <a:pt x="780" y="246"/>
                  </a:lnTo>
                  <a:lnTo>
                    <a:pt x="804" y="264"/>
                  </a:lnTo>
                  <a:lnTo>
                    <a:pt x="816" y="276"/>
                  </a:lnTo>
                  <a:lnTo>
                    <a:pt x="822" y="288"/>
                  </a:lnTo>
                  <a:lnTo>
                    <a:pt x="822" y="312"/>
                  </a:lnTo>
                  <a:lnTo>
                    <a:pt x="816" y="312"/>
                  </a:lnTo>
                  <a:lnTo>
                    <a:pt x="810" y="318"/>
                  </a:lnTo>
                  <a:lnTo>
                    <a:pt x="810" y="348"/>
                  </a:lnTo>
                  <a:lnTo>
                    <a:pt x="816" y="348"/>
                  </a:lnTo>
                  <a:lnTo>
                    <a:pt x="816" y="342"/>
                  </a:lnTo>
                  <a:lnTo>
                    <a:pt x="834" y="342"/>
                  </a:lnTo>
                  <a:lnTo>
                    <a:pt x="834" y="348"/>
                  </a:lnTo>
                  <a:lnTo>
                    <a:pt x="846" y="348"/>
                  </a:lnTo>
                  <a:lnTo>
                    <a:pt x="846" y="342"/>
                  </a:lnTo>
                  <a:lnTo>
                    <a:pt x="882" y="342"/>
                  </a:lnTo>
                  <a:lnTo>
                    <a:pt x="894" y="366"/>
                  </a:lnTo>
                  <a:lnTo>
                    <a:pt x="900" y="372"/>
                  </a:lnTo>
                  <a:lnTo>
                    <a:pt x="906" y="384"/>
                  </a:lnTo>
                  <a:lnTo>
                    <a:pt x="924" y="384"/>
                  </a:lnTo>
                  <a:lnTo>
                    <a:pt x="930" y="372"/>
                  </a:lnTo>
                  <a:lnTo>
                    <a:pt x="936" y="372"/>
                  </a:lnTo>
                  <a:lnTo>
                    <a:pt x="942" y="348"/>
                  </a:lnTo>
                  <a:lnTo>
                    <a:pt x="954" y="348"/>
                  </a:lnTo>
                  <a:lnTo>
                    <a:pt x="954" y="342"/>
                  </a:lnTo>
                  <a:lnTo>
                    <a:pt x="984" y="342"/>
                  </a:lnTo>
                  <a:lnTo>
                    <a:pt x="978" y="390"/>
                  </a:lnTo>
                  <a:lnTo>
                    <a:pt x="984" y="390"/>
                  </a:lnTo>
                  <a:lnTo>
                    <a:pt x="990" y="396"/>
                  </a:lnTo>
                  <a:lnTo>
                    <a:pt x="996" y="396"/>
                  </a:lnTo>
                  <a:lnTo>
                    <a:pt x="1002" y="396"/>
                  </a:lnTo>
                  <a:lnTo>
                    <a:pt x="1002" y="408"/>
                  </a:lnTo>
                  <a:lnTo>
                    <a:pt x="990" y="414"/>
                  </a:lnTo>
                  <a:lnTo>
                    <a:pt x="984" y="426"/>
                  </a:lnTo>
                  <a:lnTo>
                    <a:pt x="990" y="444"/>
                  </a:lnTo>
                  <a:lnTo>
                    <a:pt x="996" y="450"/>
                  </a:lnTo>
                  <a:lnTo>
                    <a:pt x="990" y="462"/>
                  </a:lnTo>
                  <a:lnTo>
                    <a:pt x="990" y="468"/>
                  </a:lnTo>
                  <a:lnTo>
                    <a:pt x="984" y="480"/>
                  </a:lnTo>
                  <a:lnTo>
                    <a:pt x="978" y="486"/>
                  </a:lnTo>
                  <a:lnTo>
                    <a:pt x="972" y="486"/>
                  </a:lnTo>
                  <a:lnTo>
                    <a:pt x="966" y="492"/>
                  </a:lnTo>
                  <a:lnTo>
                    <a:pt x="966" y="498"/>
                  </a:lnTo>
                  <a:lnTo>
                    <a:pt x="954" y="510"/>
                  </a:lnTo>
                  <a:lnTo>
                    <a:pt x="948" y="510"/>
                  </a:lnTo>
                  <a:lnTo>
                    <a:pt x="942" y="516"/>
                  </a:lnTo>
                  <a:lnTo>
                    <a:pt x="936" y="528"/>
                  </a:lnTo>
                  <a:lnTo>
                    <a:pt x="936" y="534"/>
                  </a:lnTo>
                  <a:lnTo>
                    <a:pt x="936" y="546"/>
                  </a:lnTo>
                  <a:lnTo>
                    <a:pt x="936" y="558"/>
                  </a:lnTo>
                  <a:lnTo>
                    <a:pt x="948" y="558"/>
                  </a:lnTo>
                  <a:lnTo>
                    <a:pt x="954" y="558"/>
                  </a:lnTo>
                  <a:lnTo>
                    <a:pt x="996" y="558"/>
                  </a:lnTo>
                  <a:lnTo>
                    <a:pt x="1002" y="570"/>
                  </a:lnTo>
                  <a:lnTo>
                    <a:pt x="996" y="576"/>
                  </a:lnTo>
                  <a:lnTo>
                    <a:pt x="996" y="588"/>
                  </a:lnTo>
                  <a:lnTo>
                    <a:pt x="984" y="588"/>
                  </a:lnTo>
                  <a:lnTo>
                    <a:pt x="990" y="612"/>
                  </a:lnTo>
                  <a:lnTo>
                    <a:pt x="1014" y="606"/>
                  </a:lnTo>
                  <a:lnTo>
                    <a:pt x="1014" y="636"/>
                  </a:lnTo>
                  <a:lnTo>
                    <a:pt x="1014" y="648"/>
                  </a:lnTo>
                  <a:lnTo>
                    <a:pt x="1020" y="648"/>
                  </a:lnTo>
                  <a:lnTo>
                    <a:pt x="1026" y="660"/>
                  </a:lnTo>
                  <a:lnTo>
                    <a:pt x="1038" y="654"/>
                  </a:lnTo>
                  <a:lnTo>
                    <a:pt x="1050" y="654"/>
                  </a:lnTo>
                  <a:lnTo>
                    <a:pt x="1062" y="654"/>
                  </a:lnTo>
                  <a:lnTo>
                    <a:pt x="1068" y="660"/>
                  </a:lnTo>
                  <a:lnTo>
                    <a:pt x="1068" y="678"/>
                  </a:lnTo>
                  <a:lnTo>
                    <a:pt x="1068" y="684"/>
                  </a:lnTo>
                  <a:lnTo>
                    <a:pt x="1062" y="690"/>
                  </a:lnTo>
                  <a:lnTo>
                    <a:pt x="1056" y="696"/>
                  </a:lnTo>
                  <a:lnTo>
                    <a:pt x="1056" y="702"/>
                  </a:lnTo>
                  <a:lnTo>
                    <a:pt x="1038" y="714"/>
                  </a:lnTo>
                  <a:lnTo>
                    <a:pt x="1026" y="720"/>
                  </a:lnTo>
                  <a:lnTo>
                    <a:pt x="1008" y="726"/>
                  </a:lnTo>
                  <a:lnTo>
                    <a:pt x="1008" y="732"/>
                  </a:lnTo>
                  <a:lnTo>
                    <a:pt x="990" y="732"/>
                  </a:lnTo>
                  <a:lnTo>
                    <a:pt x="984" y="744"/>
                  </a:lnTo>
                  <a:lnTo>
                    <a:pt x="990" y="750"/>
                  </a:lnTo>
                  <a:lnTo>
                    <a:pt x="984" y="762"/>
                  </a:lnTo>
                  <a:lnTo>
                    <a:pt x="984" y="768"/>
                  </a:lnTo>
                  <a:lnTo>
                    <a:pt x="984" y="774"/>
                  </a:lnTo>
                  <a:lnTo>
                    <a:pt x="984" y="780"/>
                  </a:lnTo>
                  <a:lnTo>
                    <a:pt x="984" y="786"/>
                  </a:lnTo>
                  <a:lnTo>
                    <a:pt x="984" y="792"/>
                  </a:lnTo>
                  <a:lnTo>
                    <a:pt x="978" y="798"/>
                  </a:lnTo>
                  <a:lnTo>
                    <a:pt x="978" y="80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3" name="Freeform 38">
              <a:extLst>
                <a:ext uri="{FF2B5EF4-FFF2-40B4-BE49-F238E27FC236}">
                  <a16:creationId xmlns:a16="http://schemas.microsoft.com/office/drawing/2014/main" id="{819B99CE-D972-4530-8964-A992C1EC87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2825" y="1634436"/>
              <a:ext cx="959326" cy="959458"/>
            </a:xfrm>
            <a:custGeom>
              <a:avLst/>
              <a:gdLst>
                <a:gd name="T0" fmla="*/ 105 w 1806"/>
                <a:gd name="T1" fmla="*/ 155 h 1806"/>
                <a:gd name="T2" fmla="*/ 103 w 1806"/>
                <a:gd name="T3" fmla="*/ 155 h 1806"/>
                <a:gd name="T4" fmla="*/ 103 w 1806"/>
                <a:gd name="T5" fmla="*/ 150 h 1806"/>
                <a:gd name="T6" fmla="*/ 104 w 1806"/>
                <a:gd name="T7" fmla="*/ 141 h 1806"/>
                <a:gd name="T8" fmla="*/ 104 w 1806"/>
                <a:gd name="T9" fmla="*/ 136 h 1806"/>
                <a:gd name="T10" fmla="*/ 100 w 1806"/>
                <a:gd name="T11" fmla="*/ 131 h 1806"/>
                <a:gd name="T12" fmla="*/ 96 w 1806"/>
                <a:gd name="T13" fmla="*/ 127 h 1806"/>
                <a:gd name="T14" fmla="*/ 91 w 1806"/>
                <a:gd name="T15" fmla="*/ 121 h 1806"/>
                <a:gd name="T16" fmla="*/ 87 w 1806"/>
                <a:gd name="T17" fmla="*/ 120 h 1806"/>
                <a:gd name="T18" fmla="*/ 81 w 1806"/>
                <a:gd name="T19" fmla="*/ 117 h 1806"/>
                <a:gd name="T20" fmla="*/ 65 w 1806"/>
                <a:gd name="T21" fmla="*/ 113 h 1806"/>
                <a:gd name="T22" fmla="*/ 69 w 1806"/>
                <a:gd name="T23" fmla="*/ 105 h 1806"/>
                <a:gd name="T24" fmla="*/ 66 w 1806"/>
                <a:gd name="T25" fmla="*/ 89 h 1806"/>
                <a:gd name="T26" fmla="*/ 63 w 1806"/>
                <a:gd name="T27" fmla="*/ 84 h 1806"/>
                <a:gd name="T28" fmla="*/ 62 w 1806"/>
                <a:gd name="T29" fmla="*/ 74 h 1806"/>
                <a:gd name="T30" fmla="*/ 58 w 1806"/>
                <a:gd name="T31" fmla="*/ 52 h 1806"/>
                <a:gd name="T32" fmla="*/ 53 w 1806"/>
                <a:gd name="T33" fmla="*/ 49 h 1806"/>
                <a:gd name="T34" fmla="*/ 51 w 1806"/>
                <a:gd name="T35" fmla="*/ 36 h 1806"/>
                <a:gd name="T36" fmla="*/ 43 w 1806"/>
                <a:gd name="T37" fmla="*/ 32 h 1806"/>
                <a:gd name="T38" fmla="*/ 33 w 1806"/>
                <a:gd name="T39" fmla="*/ 30 h 1806"/>
                <a:gd name="T40" fmla="*/ 30 w 1806"/>
                <a:gd name="T41" fmla="*/ 21 h 1806"/>
                <a:gd name="T42" fmla="*/ 17 w 1806"/>
                <a:gd name="T43" fmla="*/ 25 h 1806"/>
                <a:gd name="T44" fmla="*/ 4 w 1806"/>
                <a:gd name="T45" fmla="*/ 33 h 1806"/>
                <a:gd name="T46" fmla="*/ 7 w 1806"/>
                <a:gd name="T47" fmla="*/ 26 h 1806"/>
                <a:gd name="T48" fmla="*/ 11 w 1806"/>
                <a:gd name="T49" fmla="*/ 20 h 1806"/>
                <a:gd name="T50" fmla="*/ 18 w 1806"/>
                <a:gd name="T51" fmla="*/ 12 h 1806"/>
                <a:gd name="T52" fmla="*/ 26 w 1806"/>
                <a:gd name="T53" fmla="*/ 8 h 1806"/>
                <a:gd name="T54" fmla="*/ 35 w 1806"/>
                <a:gd name="T55" fmla="*/ 6 h 1806"/>
                <a:gd name="T56" fmla="*/ 44 w 1806"/>
                <a:gd name="T57" fmla="*/ 5 h 1806"/>
                <a:gd name="T58" fmla="*/ 54 w 1806"/>
                <a:gd name="T59" fmla="*/ 2 h 1806"/>
                <a:gd name="T60" fmla="*/ 65 w 1806"/>
                <a:gd name="T61" fmla="*/ 0 h 1806"/>
                <a:gd name="T62" fmla="*/ 76 w 1806"/>
                <a:gd name="T63" fmla="*/ 0 h 1806"/>
                <a:gd name="T64" fmla="*/ 85 w 1806"/>
                <a:gd name="T65" fmla="*/ 0 h 1806"/>
                <a:gd name="T66" fmla="*/ 97 w 1806"/>
                <a:gd name="T67" fmla="*/ 0 h 1806"/>
                <a:gd name="T68" fmla="*/ 108 w 1806"/>
                <a:gd name="T69" fmla="*/ 3 h 1806"/>
                <a:gd name="T70" fmla="*/ 115 w 1806"/>
                <a:gd name="T71" fmla="*/ 5 h 1806"/>
                <a:gd name="T72" fmla="*/ 123 w 1806"/>
                <a:gd name="T73" fmla="*/ 7 h 1806"/>
                <a:gd name="T74" fmla="*/ 133 w 1806"/>
                <a:gd name="T75" fmla="*/ 14 h 1806"/>
                <a:gd name="T76" fmla="*/ 138 w 1806"/>
                <a:gd name="T77" fmla="*/ 16 h 1806"/>
                <a:gd name="T78" fmla="*/ 140 w 1806"/>
                <a:gd name="T79" fmla="*/ 14 h 1806"/>
                <a:gd name="T80" fmla="*/ 145 w 1806"/>
                <a:gd name="T81" fmla="*/ 16 h 1806"/>
                <a:gd name="T82" fmla="*/ 147 w 1806"/>
                <a:gd name="T83" fmla="*/ 16 h 1806"/>
                <a:gd name="T84" fmla="*/ 150 w 1806"/>
                <a:gd name="T85" fmla="*/ 17 h 1806"/>
                <a:gd name="T86" fmla="*/ 152 w 1806"/>
                <a:gd name="T87" fmla="*/ 18 h 1806"/>
                <a:gd name="T88" fmla="*/ 155 w 1806"/>
                <a:gd name="T89" fmla="*/ 37 h 1806"/>
                <a:gd name="T90" fmla="*/ 146 w 1806"/>
                <a:gd name="T91" fmla="*/ 66 h 1806"/>
                <a:gd name="T92" fmla="*/ 143 w 1806"/>
                <a:gd name="T93" fmla="*/ 88 h 1806"/>
                <a:gd name="T94" fmla="*/ 144 w 1806"/>
                <a:gd name="T95" fmla="*/ 98 h 1806"/>
                <a:gd name="T96" fmla="*/ 137 w 1806"/>
                <a:gd name="T97" fmla="*/ 118 h 1806"/>
                <a:gd name="T98" fmla="*/ 132 w 1806"/>
                <a:gd name="T99" fmla="*/ 129 h 1806"/>
                <a:gd name="T100" fmla="*/ 124 w 1806"/>
                <a:gd name="T101" fmla="*/ 135 h 1806"/>
                <a:gd name="T102" fmla="*/ 119 w 1806"/>
                <a:gd name="T103" fmla="*/ 136 h 1806"/>
                <a:gd name="T104" fmla="*/ 116 w 1806"/>
                <a:gd name="T105" fmla="*/ 137 h 1806"/>
                <a:gd name="T106" fmla="*/ 112 w 1806"/>
                <a:gd name="T107" fmla="*/ 139 h 1806"/>
                <a:gd name="T108" fmla="*/ 112 w 1806"/>
                <a:gd name="T109" fmla="*/ 141 h 1806"/>
                <a:gd name="T110" fmla="*/ 116 w 1806"/>
                <a:gd name="T111" fmla="*/ 146 h 1806"/>
                <a:gd name="T112" fmla="*/ 116 w 1806"/>
                <a:gd name="T113" fmla="*/ 151 h 1806"/>
                <a:gd name="T114" fmla="*/ 113 w 1806"/>
                <a:gd name="T115" fmla="*/ 153 h 18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6"/>
                <a:gd name="T175" fmla="*/ 0 h 1806"/>
                <a:gd name="T176" fmla="*/ 1806 w 1806"/>
                <a:gd name="T177" fmla="*/ 1806 h 18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6" h="1806">
                  <a:moveTo>
                    <a:pt x="1260" y="1776"/>
                  </a:moveTo>
                  <a:lnTo>
                    <a:pt x="1254" y="1776"/>
                  </a:lnTo>
                  <a:lnTo>
                    <a:pt x="1248" y="1776"/>
                  </a:lnTo>
                  <a:lnTo>
                    <a:pt x="1242" y="1782"/>
                  </a:lnTo>
                  <a:lnTo>
                    <a:pt x="1236" y="1782"/>
                  </a:lnTo>
                  <a:lnTo>
                    <a:pt x="1230" y="1788"/>
                  </a:lnTo>
                  <a:lnTo>
                    <a:pt x="1224" y="1782"/>
                  </a:lnTo>
                  <a:lnTo>
                    <a:pt x="1218" y="1782"/>
                  </a:lnTo>
                  <a:lnTo>
                    <a:pt x="1218" y="1788"/>
                  </a:lnTo>
                  <a:lnTo>
                    <a:pt x="1212" y="1788"/>
                  </a:lnTo>
                  <a:lnTo>
                    <a:pt x="1206" y="1788"/>
                  </a:lnTo>
                  <a:lnTo>
                    <a:pt x="1206" y="1794"/>
                  </a:lnTo>
                  <a:lnTo>
                    <a:pt x="1200" y="1806"/>
                  </a:lnTo>
                  <a:lnTo>
                    <a:pt x="1194" y="1800"/>
                  </a:lnTo>
                  <a:lnTo>
                    <a:pt x="1194" y="1794"/>
                  </a:lnTo>
                  <a:lnTo>
                    <a:pt x="1194" y="1788"/>
                  </a:lnTo>
                  <a:lnTo>
                    <a:pt x="1188" y="1788"/>
                  </a:lnTo>
                  <a:lnTo>
                    <a:pt x="1188" y="1782"/>
                  </a:lnTo>
                  <a:lnTo>
                    <a:pt x="1188" y="1776"/>
                  </a:lnTo>
                  <a:lnTo>
                    <a:pt x="1194" y="1770"/>
                  </a:lnTo>
                  <a:lnTo>
                    <a:pt x="1194" y="1764"/>
                  </a:lnTo>
                  <a:lnTo>
                    <a:pt x="1194" y="1758"/>
                  </a:lnTo>
                  <a:lnTo>
                    <a:pt x="1194" y="1752"/>
                  </a:lnTo>
                  <a:lnTo>
                    <a:pt x="1200" y="1746"/>
                  </a:lnTo>
                  <a:lnTo>
                    <a:pt x="1200" y="1740"/>
                  </a:lnTo>
                  <a:lnTo>
                    <a:pt x="1200" y="1734"/>
                  </a:lnTo>
                  <a:lnTo>
                    <a:pt x="1188" y="1722"/>
                  </a:lnTo>
                  <a:lnTo>
                    <a:pt x="1188" y="1716"/>
                  </a:lnTo>
                  <a:lnTo>
                    <a:pt x="1194" y="1704"/>
                  </a:lnTo>
                  <a:lnTo>
                    <a:pt x="1194" y="1692"/>
                  </a:lnTo>
                  <a:lnTo>
                    <a:pt x="1200" y="1680"/>
                  </a:lnTo>
                  <a:lnTo>
                    <a:pt x="1200" y="1662"/>
                  </a:lnTo>
                  <a:lnTo>
                    <a:pt x="1200" y="1650"/>
                  </a:lnTo>
                  <a:lnTo>
                    <a:pt x="1206" y="1644"/>
                  </a:lnTo>
                  <a:lnTo>
                    <a:pt x="1206" y="1638"/>
                  </a:lnTo>
                  <a:lnTo>
                    <a:pt x="1206" y="1626"/>
                  </a:lnTo>
                  <a:lnTo>
                    <a:pt x="1206" y="1620"/>
                  </a:lnTo>
                  <a:lnTo>
                    <a:pt x="1206" y="1614"/>
                  </a:lnTo>
                  <a:lnTo>
                    <a:pt x="1200" y="1608"/>
                  </a:lnTo>
                  <a:lnTo>
                    <a:pt x="1200" y="1602"/>
                  </a:lnTo>
                  <a:lnTo>
                    <a:pt x="1200" y="1596"/>
                  </a:lnTo>
                  <a:lnTo>
                    <a:pt x="1200" y="1590"/>
                  </a:lnTo>
                  <a:lnTo>
                    <a:pt x="1200" y="1572"/>
                  </a:lnTo>
                  <a:lnTo>
                    <a:pt x="1200" y="1566"/>
                  </a:lnTo>
                  <a:lnTo>
                    <a:pt x="1200" y="1560"/>
                  </a:lnTo>
                  <a:lnTo>
                    <a:pt x="1194" y="1554"/>
                  </a:lnTo>
                  <a:lnTo>
                    <a:pt x="1188" y="1548"/>
                  </a:lnTo>
                  <a:lnTo>
                    <a:pt x="1188" y="1542"/>
                  </a:lnTo>
                  <a:lnTo>
                    <a:pt x="1176" y="1536"/>
                  </a:lnTo>
                  <a:lnTo>
                    <a:pt x="1176" y="1530"/>
                  </a:lnTo>
                  <a:lnTo>
                    <a:pt x="1170" y="1524"/>
                  </a:lnTo>
                  <a:lnTo>
                    <a:pt x="1170" y="1518"/>
                  </a:lnTo>
                  <a:lnTo>
                    <a:pt x="1164" y="1512"/>
                  </a:lnTo>
                  <a:lnTo>
                    <a:pt x="1158" y="1506"/>
                  </a:lnTo>
                  <a:lnTo>
                    <a:pt x="1152" y="1500"/>
                  </a:lnTo>
                  <a:lnTo>
                    <a:pt x="1146" y="1494"/>
                  </a:lnTo>
                  <a:lnTo>
                    <a:pt x="1140" y="1488"/>
                  </a:lnTo>
                  <a:lnTo>
                    <a:pt x="1134" y="1482"/>
                  </a:lnTo>
                  <a:lnTo>
                    <a:pt x="1128" y="1476"/>
                  </a:lnTo>
                  <a:lnTo>
                    <a:pt x="1122" y="1470"/>
                  </a:lnTo>
                  <a:lnTo>
                    <a:pt x="1116" y="1464"/>
                  </a:lnTo>
                  <a:lnTo>
                    <a:pt x="1110" y="1464"/>
                  </a:lnTo>
                  <a:lnTo>
                    <a:pt x="1104" y="1458"/>
                  </a:lnTo>
                  <a:lnTo>
                    <a:pt x="1098" y="1464"/>
                  </a:lnTo>
                  <a:lnTo>
                    <a:pt x="1092" y="1464"/>
                  </a:lnTo>
                  <a:lnTo>
                    <a:pt x="1086" y="1446"/>
                  </a:lnTo>
                  <a:lnTo>
                    <a:pt x="1086" y="1440"/>
                  </a:lnTo>
                  <a:lnTo>
                    <a:pt x="1080" y="1416"/>
                  </a:lnTo>
                  <a:lnTo>
                    <a:pt x="1068" y="1404"/>
                  </a:lnTo>
                  <a:lnTo>
                    <a:pt x="1062" y="1398"/>
                  </a:lnTo>
                  <a:lnTo>
                    <a:pt x="1056" y="1398"/>
                  </a:lnTo>
                  <a:lnTo>
                    <a:pt x="1050" y="1398"/>
                  </a:lnTo>
                  <a:lnTo>
                    <a:pt x="1044" y="1398"/>
                  </a:lnTo>
                  <a:lnTo>
                    <a:pt x="1044" y="1392"/>
                  </a:lnTo>
                  <a:lnTo>
                    <a:pt x="1038" y="1392"/>
                  </a:lnTo>
                  <a:lnTo>
                    <a:pt x="1032" y="1392"/>
                  </a:lnTo>
                  <a:lnTo>
                    <a:pt x="1020" y="1386"/>
                  </a:lnTo>
                  <a:lnTo>
                    <a:pt x="1014" y="1386"/>
                  </a:lnTo>
                  <a:lnTo>
                    <a:pt x="1014" y="1380"/>
                  </a:lnTo>
                  <a:lnTo>
                    <a:pt x="1008" y="1380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62"/>
                  </a:lnTo>
                  <a:lnTo>
                    <a:pt x="984" y="1356"/>
                  </a:lnTo>
                  <a:lnTo>
                    <a:pt x="978" y="1356"/>
                  </a:lnTo>
                  <a:lnTo>
                    <a:pt x="972" y="1356"/>
                  </a:lnTo>
                  <a:lnTo>
                    <a:pt x="966" y="1356"/>
                  </a:lnTo>
                  <a:lnTo>
                    <a:pt x="966" y="1350"/>
                  </a:lnTo>
                  <a:lnTo>
                    <a:pt x="948" y="1350"/>
                  </a:lnTo>
                  <a:lnTo>
                    <a:pt x="936" y="1344"/>
                  </a:lnTo>
                  <a:lnTo>
                    <a:pt x="930" y="1338"/>
                  </a:lnTo>
                  <a:lnTo>
                    <a:pt x="918" y="1332"/>
                  </a:lnTo>
                  <a:lnTo>
                    <a:pt x="900" y="1326"/>
                  </a:lnTo>
                  <a:lnTo>
                    <a:pt x="864" y="1332"/>
                  </a:lnTo>
                  <a:lnTo>
                    <a:pt x="828" y="1332"/>
                  </a:lnTo>
                  <a:lnTo>
                    <a:pt x="792" y="1314"/>
                  </a:lnTo>
                  <a:lnTo>
                    <a:pt x="780" y="1314"/>
                  </a:lnTo>
                  <a:lnTo>
                    <a:pt x="780" y="1308"/>
                  </a:lnTo>
                  <a:lnTo>
                    <a:pt x="756" y="1296"/>
                  </a:lnTo>
                  <a:lnTo>
                    <a:pt x="756" y="1278"/>
                  </a:lnTo>
                  <a:lnTo>
                    <a:pt x="768" y="1278"/>
                  </a:lnTo>
                  <a:lnTo>
                    <a:pt x="774" y="1272"/>
                  </a:lnTo>
                  <a:lnTo>
                    <a:pt x="780" y="1266"/>
                  </a:lnTo>
                  <a:lnTo>
                    <a:pt x="786" y="1260"/>
                  </a:lnTo>
                  <a:lnTo>
                    <a:pt x="792" y="1254"/>
                  </a:lnTo>
                  <a:lnTo>
                    <a:pt x="798" y="1242"/>
                  </a:lnTo>
                  <a:lnTo>
                    <a:pt x="804" y="1242"/>
                  </a:lnTo>
                  <a:lnTo>
                    <a:pt x="804" y="1206"/>
                  </a:lnTo>
                  <a:lnTo>
                    <a:pt x="804" y="1182"/>
                  </a:lnTo>
                  <a:lnTo>
                    <a:pt x="804" y="1158"/>
                  </a:lnTo>
                  <a:lnTo>
                    <a:pt x="804" y="1134"/>
                  </a:lnTo>
                  <a:lnTo>
                    <a:pt x="798" y="1116"/>
                  </a:lnTo>
                  <a:lnTo>
                    <a:pt x="792" y="1092"/>
                  </a:lnTo>
                  <a:lnTo>
                    <a:pt x="786" y="1062"/>
                  </a:lnTo>
                  <a:lnTo>
                    <a:pt x="768" y="1032"/>
                  </a:lnTo>
                  <a:lnTo>
                    <a:pt x="762" y="1032"/>
                  </a:lnTo>
                  <a:lnTo>
                    <a:pt x="762" y="1020"/>
                  </a:lnTo>
                  <a:lnTo>
                    <a:pt x="762" y="1014"/>
                  </a:lnTo>
                  <a:lnTo>
                    <a:pt x="756" y="1008"/>
                  </a:lnTo>
                  <a:lnTo>
                    <a:pt x="750" y="1002"/>
                  </a:lnTo>
                  <a:lnTo>
                    <a:pt x="738" y="1002"/>
                  </a:lnTo>
                  <a:lnTo>
                    <a:pt x="738" y="990"/>
                  </a:lnTo>
                  <a:lnTo>
                    <a:pt x="726" y="990"/>
                  </a:lnTo>
                  <a:lnTo>
                    <a:pt x="726" y="978"/>
                  </a:lnTo>
                  <a:lnTo>
                    <a:pt x="732" y="972"/>
                  </a:lnTo>
                  <a:lnTo>
                    <a:pt x="732" y="966"/>
                  </a:lnTo>
                  <a:lnTo>
                    <a:pt x="726" y="966"/>
                  </a:lnTo>
                  <a:lnTo>
                    <a:pt x="732" y="948"/>
                  </a:lnTo>
                  <a:lnTo>
                    <a:pt x="726" y="942"/>
                  </a:lnTo>
                  <a:lnTo>
                    <a:pt x="726" y="930"/>
                  </a:lnTo>
                  <a:lnTo>
                    <a:pt x="720" y="924"/>
                  </a:lnTo>
                  <a:lnTo>
                    <a:pt x="714" y="912"/>
                  </a:lnTo>
                  <a:lnTo>
                    <a:pt x="714" y="882"/>
                  </a:lnTo>
                  <a:lnTo>
                    <a:pt x="714" y="870"/>
                  </a:lnTo>
                  <a:lnTo>
                    <a:pt x="714" y="858"/>
                  </a:lnTo>
                  <a:lnTo>
                    <a:pt x="714" y="846"/>
                  </a:lnTo>
                  <a:lnTo>
                    <a:pt x="708" y="822"/>
                  </a:lnTo>
                  <a:lnTo>
                    <a:pt x="702" y="798"/>
                  </a:lnTo>
                  <a:lnTo>
                    <a:pt x="696" y="792"/>
                  </a:lnTo>
                  <a:lnTo>
                    <a:pt x="684" y="726"/>
                  </a:lnTo>
                  <a:lnTo>
                    <a:pt x="678" y="666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66" y="600"/>
                  </a:lnTo>
                  <a:lnTo>
                    <a:pt x="660" y="594"/>
                  </a:lnTo>
                  <a:lnTo>
                    <a:pt x="654" y="594"/>
                  </a:lnTo>
                  <a:lnTo>
                    <a:pt x="636" y="582"/>
                  </a:lnTo>
                  <a:lnTo>
                    <a:pt x="630" y="576"/>
                  </a:lnTo>
                  <a:lnTo>
                    <a:pt x="624" y="576"/>
                  </a:lnTo>
                  <a:lnTo>
                    <a:pt x="618" y="570"/>
                  </a:lnTo>
                  <a:lnTo>
                    <a:pt x="612" y="564"/>
                  </a:lnTo>
                  <a:lnTo>
                    <a:pt x="606" y="558"/>
                  </a:lnTo>
                  <a:lnTo>
                    <a:pt x="606" y="564"/>
                  </a:lnTo>
                  <a:lnTo>
                    <a:pt x="600" y="564"/>
                  </a:lnTo>
                  <a:lnTo>
                    <a:pt x="594" y="558"/>
                  </a:lnTo>
                  <a:lnTo>
                    <a:pt x="594" y="540"/>
                  </a:lnTo>
                  <a:lnTo>
                    <a:pt x="594" y="528"/>
                  </a:lnTo>
                  <a:lnTo>
                    <a:pt x="594" y="516"/>
                  </a:lnTo>
                  <a:lnTo>
                    <a:pt x="594" y="510"/>
                  </a:lnTo>
                  <a:lnTo>
                    <a:pt x="594" y="492"/>
                  </a:lnTo>
                  <a:lnTo>
                    <a:pt x="594" y="456"/>
                  </a:lnTo>
                  <a:lnTo>
                    <a:pt x="588" y="414"/>
                  </a:lnTo>
                  <a:lnTo>
                    <a:pt x="588" y="408"/>
                  </a:lnTo>
                  <a:lnTo>
                    <a:pt x="582" y="396"/>
                  </a:lnTo>
                  <a:lnTo>
                    <a:pt x="582" y="384"/>
                  </a:lnTo>
                  <a:lnTo>
                    <a:pt x="582" y="372"/>
                  </a:lnTo>
                  <a:lnTo>
                    <a:pt x="564" y="372"/>
                  </a:lnTo>
                  <a:lnTo>
                    <a:pt x="552" y="366"/>
                  </a:lnTo>
                  <a:lnTo>
                    <a:pt x="552" y="372"/>
                  </a:lnTo>
                  <a:lnTo>
                    <a:pt x="498" y="372"/>
                  </a:lnTo>
                  <a:lnTo>
                    <a:pt x="498" y="366"/>
                  </a:lnTo>
                  <a:lnTo>
                    <a:pt x="474" y="360"/>
                  </a:lnTo>
                  <a:lnTo>
                    <a:pt x="456" y="354"/>
                  </a:lnTo>
                  <a:lnTo>
                    <a:pt x="438" y="348"/>
                  </a:lnTo>
                  <a:lnTo>
                    <a:pt x="426" y="354"/>
                  </a:lnTo>
                  <a:lnTo>
                    <a:pt x="408" y="360"/>
                  </a:lnTo>
                  <a:lnTo>
                    <a:pt x="378" y="360"/>
                  </a:lnTo>
                  <a:lnTo>
                    <a:pt x="378" y="354"/>
                  </a:lnTo>
                  <a:lnTo>
                    <a:pt x="378" y="348"/>
                  </a:lnTo>
                  <a:lnTo>
                    <a:pt x="378" y="342"/>
                  </a:lnTo>
                  <a:lnTo>
                    <a:pt x="390" y="330"/>
                  </a:lnTo>
                  <a:lnTo>
                    <a:pt x="396" y="312"/>
                  </a:lnTo>
                  <a:lnTo>
                    <a:pt x="396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8"/>
                  </a:lnTo>
                  <a:lnTo>
                    <a:pt x="372" y="234"/>
                  </a:lnTo>
                  <a:lnTo>
                    <a:pt x="354" y="234"/>
                  </a:lnTo>
                  <a:lnTo>
                    <a:pt x="342" y="246"/>
                  </a:lnTo>
                  <a:lnTo>
                    <a:pt x="330" y="252"/>
                  </a:lnTo>
                  <a:lnTo>
                    <a:pt x="318" y="252"/>
                  </a:lnTo>
                  <a:lnTo>
                    <a:pt x="276" y="258"/>
                  </a:lnTo>
                  <a:lnTo>
                    <a:pt x="276" y="264"/>
                  </a:lnTo>
                  <a:lnTo>
                    <a:pt x="252" y="270"/>
                  </a:lnTo>
                  <a:lnTo>
                    <a:pt x="240" y="270"/>
                  </a:lnTo>
                  <a:lnTo>
                    <a:pt x="228" y="276"/>
                  </a:lnTo>
                  <a:lnTo>
                    <a:pt x="210" y="282"/>
                  </a:lnTo>
                  <a:lnTo>
                    <a:pt x="198" y="288"/>
                  </a:lnTo>
                  <a:lnTo>
                    <a:pt x="186" y="294"/>
                  </a:lnTo>
                  <a:lnTo>
                    <a:pt x="174" y="330"/>
                  </a:lnTo>
                  <a:lnTo>
                    <a:pt x="162" y="342"/>
                  </a:lnTo>
                  <a:lnTo>
                    <a:pt x="156" y="354"/>
                  </a:lnTo>
                  <a:lnTo>
                    <a:pt x="150" y="360"/>
                  </a:lnTo>
                  <a:lnTo>
                    <a:pt x="150" y="366"/>
                  </a:lnTo>
                  <a:lnTo>
                    <a:pt x="108" y="372"/>
                  </a:lnTo>
                  <a:lnTo>
                    <a:pt x="60" y="378"/>
                  </a:lnTo>
                  <a:lnTo>
                    <a:pt x="42" y="378"/>
                  </a:lnTo>
                  <a:lnTo>
                    <a:pt x="12" y="378"/>
                  </a:lnTo>
                  <a:lnTo>
                    <a:pt x="6" y="378"/>
                  </a:lnTo>
                  <a:lnTo>
                    <a:pt x="0" y="366"/>
                  </a:lnTo>
                  <a:lnTo>
                    <a:pt x="12" y="360"/>
                  </a:lnTo>
                  <a:lnTo>
                    <a:pt x="24" y="348"/>
                  </a:lnTo>
                  <a:lnTo>
                    <a:pt x="30" y="342"/>
                  </a:lnTo>
                  <a:lnTo>
                    <a:pt x="36" y="330"/>
                  </a:lnTo>
                  <a:lnTo>
                    <a:pt x="72" y="300"/>
                  </a:lnTo>
                  <a:lnTo>
                    <a:pt x="78" y="294"/>
                  </a:lnTo>
                  <a:lnTo>
                    <a:pt x="78" y="288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96" y="270"/>
                  </a:lnTo>
                  <a:lnTo>
                    <a:pt x="102" y="264"/>
                  </a:lnTo>
                  <a:lnTo>
                    <a:pt x="108" y="258"/>
                  </a:lnTo>
                  <a:lnTo>
                    <a:pt x="114" y="246"/>
                  </a:lnTo>
                  <a:lnTo>
                    <a:pt x="120" y="240"/>
                  </a:lnTo>
                  <a:lnTo>
                    <a:pt x="126" y="234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0" y="210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86" y="174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22" y="138"/>
                  </a:lnTo>
                  <a:lnTo>
                    <a:pt x="234" y="132"/>
                  </a:lnTo>
                  <a:lnTo>
                    <a:pt x="246" y="126"/>
                  </a:lnTo>
                  <a:lnTo>
                    <a:pt x="246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88" y="102"/>
                  </a:lnTo>
                  <a:lnTo>
                    <a:pt x="300" y="96"/>
                  </a:lnTo>
                  <a:lnTo>
                    <a:pt x="306" y="90"/>
                  </a:lnTo>
                  <a:lnTo>
                    <a:pt x="318" y="90"/>
                  </a:lnTo>
                  <a:lnTo>
                    <a:pt x="324" y="84"/>
                  </a:lnTo>
                  <a:lnTo>
                    <a:pt x="348" y="72"/>
                  </a:lnTo>
                  <a:lnTo>
                    <a:pt x="354" y="72"/>
                  </a:lnTo>
                  <a:lnTo>
                    <a:pt x="384" y="66"/>
                  </a:lnTo>
                  <a:lnTo>
                    <a:pt x="390" y="66"/>
                  </a:lnTo>
                  <a:lnTo>
                    <a:pt x="396" y="66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66"/>
                  </a:lnTo>
                  <a:lnTo>
                    <a:pt x="438" y="66"/>
                  </a:lnTo>
                  <a:lnTo>
                    <a:pt x="468" y="66"/>
                  </a:lnTo>
                  <a:lnTo>
                    <a:pt x="480" y="66"/>
                  </a:lnTo>
                  <a:lnTo>
                    <a:pt x="486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22" y="60"/>
                  </a:lnTo>
                  <a:lnTo>
                    <a:pt x="534" y="54"/>
                  </a:lnTo>
                  <a:lnTo>
                    <a:pt x="564" y="42"/>
                  </a:lnTo>
                  <a:lnTo>
                    <a:pt x="570" y="42"/>
                  </a:lnTo>
                  <a:lnTo>
                    <a:pt x="582" y="36"/>
                  </a:lnTo>
                  <a:lnTo>
                    <a:pt x="588" y="36"/>
                  </a:lnTo>
                  <a:lnTo>
                    <a:pt x="600" y="30"/>
                  </a:lnTo>
                  <a:lnTo>
                    <a:pt x="606" y="30"/>
                  </a:lnTo>
                  <a:lnTo>
                    <a:pt x="618" y="24"/>
                  </a:lnTo>
                  <a:lnTo>
                    <a:pt x="642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72" y="12"/>
                  </a:lnTo>
                  <a:lnTo>
                    <a:pt x="696" y="12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50" y="6"/>
                  </a:lnTo>
                  <a:lnTo>
                    <a:pt x="768" y="6"/>
                  </a:lnTo>
                  <a:lnTo>
                    <a:pt x="774" y="6"/>
                  </a:lnTo>
                  <a:lnTo>
                    <a:pt x="786" y="6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6" y="6"/>
                  </a:lnTo>
                  <a:lnTo>
                    <a:pt x="846" y="6"/>
                  </a:lnTo>
                  <a:lnTo>
                    <a:pt x="852" y="0"/>
                  </a:lnTo>
                  <a:lnTo>
                    <a:pt x="876" y="0"/>
                  </a:lnTo>
                  <a:lnTo>
                    <a:pt x="876" y="6"/>
                  </a:lnTo>
                  <a:lnTo>
                    <a:pt x="888" y="0"/>
                  </a:lnTo>
                  <a:lnTo>
                    <a:pt x="900" y="0"/>
                  </a:lnTo>
                  <a:lnTo>
                    <a:pt x="906" y="0"/>
                  </a:lnTo>
                  <a:lnTo>
                    <a:pt x="912" y="0"/>
                  </a:lnTo>
                  <a:lnTo>
                    <a:pt x="948" y="0"/>
                  </a:lnTo>
                  <a:lnTo>
                    <a:pt x="954" y="0"/>
                  </a:lnTo>
                  <a:lnTo>
                    <a:pt x="972" y="0"/>
                  </a:lnTo>
                  <a:lnTo>
                    <a:pt x="978" y="0"/>
                  </a:lnTo>
                  <a:lnTo>
                    <a:pt x="996" y="0"/>
                  </a:lnTo>
                  <a:lnTo>
                    <a:pt x="1032" y="0"/>
                  </a:lnTo>
                  <a:lnTo>
                    <a:pt x="1044" y="0"/>
                  </a:lnTo>
                  <a:lnTo>
                    <a:pt x="1050" y="0"/>
                  </a:lnTo>
                  <a:lnTo>
                    <a:pt x="1056" y="6"/>
                  </a:lnTo>
                  <a:lnTo>
                    <a:pt x="1056" y="0"/>
                  </a:lnTo>
                  <a:lnTo>
                    <a:pt x="1074" y="0"/>
                  </a:lnTo>
                  <a:lnTo>
                    <a:pt x="1098" y="6"/>
                  </a:lnTo>
                  <a:lnTo>
                    <a:pt x="1116" y="6"/>
                  </a:lnTo>
                  <a:lnTo>
                    <a:pt x="1140" y="12"/>
                  </a:lnTo>
                  <a:lnTo>
                    <a:pt x="1152" y="12"/>
                  </a:lnTo>
                  <a:lnTo>
                    <a:pt x="1158" y="12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6" y="12"/>
                  </a:lnTo>
                  <a:lnTo>
                    <a:pt x="1194" y="18"/>
                  </a:lnTo>
                  <a:lnTo>
                    <a:pt x="1206" y="18"/>
                  </a:lnTo>
                  <a:lnTo>
                    <a:pt x="1242" y="36"/>
                  </a:lnTo>
                  <a:lnTo>
                    <a:pt x="1248" y="36"/>
                  </a:lnTo>
                  <a:lnTo>
                    <a:pt x="1254" y="36"/>
                  </a:lnTo>
                  <a:lnTo>
                    <a:pt x="1260" y="42"/>
                  </a:lnTo>
                  <a:lnTo>
                    <a:pt x="1272" y="48"/>
                  </a:lnTo>
                  <a:lnTo>
                    <a:pt x="1278" y="48"/>
                  </a:lnTo>
                  <a:lnTo>
                    <a:pt x="1284" y="48"/>
                  </a:lnTo>
                  <a:lnTo>
                    <a:pt x="1290" y="54"/>
                  </a:lnTo>
                  <a:lnTo>
                    <a:pt x="1308" y="60"/>
                  </a:lnTo>
                  <a:lnTo>
                    <a:pt x="1326" y="60"/>
                  </a:lnTo>
                  <a:lnTo>
                    <a:pt x="1338" y="66"/>
                  </a:lnTo>
                  <a:lnTo>
                    <a:pt x="1344" y="66"/>
                  </a:lnTo>
                  <a:lnTo>
                    <a:pt x="1350" y="66"/>
                  </a:lnTo>
                  <a:lnTo>
                    <a:pt x="1356" y="66"/>
                  </a:lnTo>
                  <a:lnTo>
                    <a:pt x="1362" y="72"/>
                  </a:lnTo>
                  <a:lnTo>
                    <a:pt x="1368" y="72"/>
                  </a:lnTo>
                  <a:lnTo>
                    <a:pt x="1380" y="72"/>
                  </a:lnTo>
                  <a:lnTo>
                    <a:pt x="1386" y="72"/>
                  </a:lnTo>
                  <a:lnTo>
                    <a:pt x="1422" y="84"/>
                  </a:lnTo>
                  <a:lnTo>
                    <a:pt x="1428" y="84"/>
                  </a:lnTo>
                  <a:lnTo>
                    <a:pt x="1446" y="90"/>
                  </a:lnTo>
                  <a:lnTo>
                    <a:pt x="1458" y="102"/>
                  </a:lnTo>
                  <a:lnTo>
                    <a:pt x="1494" y="126"/>
                  </a:lnTo>
                  <a:lnTo>
                    <a:pt x="1500" y="132"/>
                  </a:lnTo>
                  <a:lnTo>
                    <a:pt x="1512" y="138"/>
                  </a:lnTo>
                  <a:lnTo>
                    <a:pt x="1512" y="144"/>
                  </a:lnTo>
                  <a:lnTo>
                    <a:pt x="1518" y="150"/>
                  </a:lnTo>
                  <a:lnTo>
                    <a:pt x="1530" y="156"/>
                  </a:lnTo>
                  <a:lnTo>
                    <a:pt x="1530" y="162"/>
                  </a:lnTo>
                  <a:lnTo>
                    <a:pt x="1548" y="168"/>
                  </a:lnTo>
                  <a:lnTo>
                    <a:pt x="1566" y="180"/>
                  </a:lnTo>
                  <a:lnTo>
                    <a:pt x="1578" y="186"/>
                  </a:lnTo>
                  <a:lnTo>
                    <a:pt x="1578" y="180"/>
                  </a:lnTo>
                  <a:lnTo>
                    <a:pt x="1584" y="186"/>
                  </a:lnTo>
                  <a:lnTo>
                    <a:pt x="1584" y="174"/>
                  </a:lnTo>
                  <a:lnTo>
                    <a:pt x="1590" y="174"/>
                  </a:lnTo>
                  <a:lnTo>
                    <a:pt x="1590" y="180"/>
                  </a:lnTo>
                  <a:lnTo>
                    <a:pt x="1596" y="180"/>
                  </a:lnTo>
                  <a:lnTo>
                    <a:pt x="1596" y="174"/>
                  </a:lnTo>
                  <a:lnTo>
                    <a:pt x="1602" y="174"/>
                  </a:lnTo>
                  <a:lnTo>
                    <a:pt x="1608" y="174"/>
                  </a:lnTo>
                  <a:lnTo>
                    <a:pt x="1614" y="180"/>
                  </a:lnTo>
                  <a:lnTo>
                    <a:pt x="1620" y="174"/>
                  </a:lnTo>
                  <a:lnTo>
                    <a:pt x="1614" y="168"/>
                  </a:lnTo>
                  <a:lnTo>
                    <a:pt x="1614" y="162"/>
                  </a:lnTo>
                  <a:lnTo>
                    <a:pt x="1620" y="162"/>
                  </a:lnTo>
                  <a:lnTo>
                    <a:pt x="1626" y="162"/>
                  </a:lnTo>
                  <a:lnTo>
                    <a:pt x="1632" y="162"/>
                  </a:lnTo>
                  <a:lnTo>
                    <a:pt x="1638" y="168"/>
                  </a:lnTo>
                  <a:lnTo>
                    <a:pt x="1644" y="168"/>
                  </a:lnTo>
                  <a:lnTo>
                    <a:pt x="1650" y="174"/>
                  </a:lnTo>
                  <a:lnTo>
                    <a:pt x="1656" y="168"/>
                  </a:lnTo>
                  <a:lnTo>
                    <a:pt x="1668" y="168"/>
                  </a:lnTo>
                  <a:lnTo>
                    <a:pt x="1674" y="174"/>
                  </a:lnTo>
                  <a:lnTo>
                    <a:pt x="1674" y="180"/>
                  </a:lnTo>
                  <a:lnTo>
                    <a:pt x="1674" y="186"/>
                  </a:lnTo>
                  <a:lnTo>
                    <a:pt x="1680" y="186"/>
                  </a:lnTo>
                  <a:lnTo>
                    <a:pt x="1680" y="192"/>
                  </a:lnTo>
                  <a:lnTo>
                    <a:pt x="1686" y="192"/>
                  </a:lnTo>
                  <a:lnTo>
                    <a:pt x="1686" y="186"/>
                  </a:lnTo>
                  <a:lnTo>
                    <a:pt x="1680" y="186"/>
                  </a:lnTo>
                  <a:lnTo>
                    <a:pt x="1686" y="180"/>
                  </a:lnTo>
                  <a:lnTo>
                    <a:pt x="1692" y="180"/>
                  </a:lnTo>
                  <a:lnTo>
                    <a:pt x="1698" y="180"/>
                  </a:lnTo>
                  <a:lnTo>
                    <a:pt x="1704" y="180"/>
                  </a:lnTo>
                  <a:lnTo>
                    <a:pt x="1704" y="186"/>
                  </a:lnTo>
                  <a:lnTo>
                    <a:pt x="1710" y="186"/>
                  </a:lnTo>
                  <a:lnTo>
                    <a:pt x="1716" y="186"/>
                  </a:lnTo>
                  <a:lnTo>
                    <a:pt x="1716" y="192"/>
                  </a:lnTo>
                  <a:lnTo>
                    <a:pt x="1716" y="198"/>
                  </a:lnTo>
                  <a:lnTo>
                    <a:pt x="1722" y="192"/>
                  </a:lnTo>
                  <a:lnTo>
                    <a:pt x="1722" y="186"/>
                  </a:lnTo>
                  <a:lnTo>
                    <a:pt x="1728" y="192"/>
                  </a:lnTo>
                  <a:lnTo>
                    <a:pt x="1734" y="192"/>
                  </a:lnTo>
                  <a:lnTo>
                    <a:pt x="1734" y="186"/>
                  </a:lnTo>
                  <a:lnTo>
                    <a:pt x="1740" y="186"/>
                  </a:lnTo>
                  <a:lnTo>
                    <a:pt x="1740" y="192"/>
                  </a:lnTo>
                  <a:lnTo>
                    <a:pt x="1746" y="192"/>
                  </a:lnTo>
                  <a:lnTo>
                    <a:pt x="1758" y="192"/>
                  </a:lnTo>
                  <a:lnTo>
                    <a:pt x="1764" y="192"/>
                  </a:lnTo>
                  <a:lnTo>
                    <a:pt x="1764" y="198"/>
                  </a:lnTo>
                  <a:lnTo>
                    <a:pt x="1758" y="204"/>
                  </a:lnTo>
                  <a:lnTo>
                    <a:pt x="1752" y="210"/>
                  </a:lnTo>
                  <a:lnTo>
                    <a:pt x="1746" y="216"/>
                  </a:lnTo>
                  <a:lnTo>
                    <a:pt x="1746" y="222"/>
                  </a:lnTo>
                  <a:lnTo>
                    <a:pt x="1734" y="228"/>
                  </a:lnTo>
                  <a:lnTo>
                    <a:pt x="1734" y="234"/>
                  </a:lnTo>
                  <a:lnTo>
                    <a:pt x="1734" y="258"/>
                  </a:lnTo>
                  <a:lnTo>
                    <a:pt x="1740" y="330"/>
                  </a:lnTo>
                  <a:lnTo>
                    <a:pt x="1746" y="372"/>
                  </a:lnTo>
                  <a:lnTo>
                    <a:pt x="1788" y="426"/>
                  </a:lnTo>
                  <a:lnTo>
                    <a:pt x="1806" y="438"/>
                  </a:lnTo>
                  <a:lnTo>
                    <a:pt x="1794" y="480"/>
                  </a:lnTo>
                  <a:lnTo>
                    <a:pt x="1770" y="516"/>
                  </a:lnTo>
                  <a:lnTo>
                    <a:pt x="1746" y="546"/>
                  </a:lnTo>
                  <a:lnTo>
                    <a:pt x="1716" y="570"/>
                  </a:lnTo>
                  <a:lnTo>
                    <a:pt x="1680" y="594"/>
                  </a:lnTo>
                  <a:lnTo>
                    <a:pt x="1668" y="630"/>
                  </a:lnTo>
                  <a:lnTo>
                    <a:pt x="1680" y="684"/>
                  </a:lnTo>
                  <a:lnTo>
                    <a:pt x="1686" y="756"/>
                  </a:lnTo>
                  <a:lnTo>
                    <a:pt x="1662" y="870"/>
                  </a:lnTo>
                  <a:lnTo>
                    <a:pt x="1656" y="888"/>
                  </a:lnTo>
                  <a:lnTo>
                    <a:pt x="1650" y="972"/>
                  </a:lnTo>
                  <a:lnTo>
                    <a:pt x="1656" y="978"/>
                  </a:lnTo>
                  <a:lnTo>
                    <a:pt x="1650" y="984"/>
                  </a:lnTo>
                  <a:lnTo>
                    <a:pt x="1650" y="990"/>
                  </a:lnTo>
                  <a:lnTo>
                    <a:pt x="1650" y="1002"/>
                  </a:lnTo>
                  <a:lnTo>
                    <a:pt x="1656" y="1008"/>
                  </a:lnTo>
                  <a:lnTo>
                    <a:pt x="1656" y="1014"/>
                  </a:lnTo>
                  <a:lnTo>
                    <a:pt x="1662" y="1026"/>
                  </a:lnTo>
                  <a:lnTo>
                    <a:pt x="1650" y="1032"/>
                  </a:lnTo>
                  <a:lnTo>
                    <a:pt x="1638" y="1044"/>
                  </a:lnTo>
                  <a:lnTo>
                    <a:pt x="1626" y="1080"/>
                  </a:lnTo>
                  <a:lnTo>
                    <a:pt x="1614" y="1116"/>
                  </a:lnTo>
                  <a:lnTo>
                    <a:pt x="1614" y="1128"/>
                  </a:lnTo>
                  <a:lnTo>
                    <a:pt x="1626" y="1134"/>
                  </a:lnTo>
                  <a:lnTo>
                    <a:pt x="1644" y="1134"/>
                  </a:lnTo>
                  <a:lnTo>
                    <a:pt x="1662" y="1134"/>
                  </a:lnTo>
                  <a:lnTo>
                    <a:pt x="1680" y="1140"/>
                  </a:lnTo>
                  <a:lnTo>
                    <a:pt x="1698" y="1170"/>
                  </a:lnTo>
                  <a:lnTo>
                    <a:pt x="1704" y="1194"/>
                  </a:lnTo>
                  <a:lnTo>
                    <a:pt x="1692" y="1206"/>
                  </a:lnTo>
                  <a:lnTo>
                    <a:pt x="1662" y="1242"/>
                  </a:lnTo>
                  <a:lnTo>
                    <a:pt x="1632" y="1266"/>
                  </a:lnTo>
                  <a:lnTo>
                    <a:pt x="1620" y="1314"/>
                  </a:lnTo>
                  <a:lnTo>
                    <a:pt x="1584" y="1356"/>
                  </a:lnTo>
                  <a:lnTo>
                    <a:pt x="1578" y="1356"/>
                  </a:lnTo>
                  <a:lnTo>
                    <a:pt x="1578" y="1362"/>
                  </a:lnTo>
                  <a:lnTo>
                    <a:pt x="1572" y="1410"/>
                  </a:lnTo>
                  <a:lnTo>
                    <a:pt x="1584" y="1452"/>
                  </a:lnTo>
                  <a:lnTo>
                    <a:pt x="1608" y="1476"/>
                  </a:lnTo>
                  <a:lnTo>
                    <a:pt x="1596" y="1476"/>
                  </a:lnTo>
                  <a:lnTo>
                    <a:pt x="1584" y="1482"/>
                  </a:lnTo>
                  <a:lnTo>
                    <a:pt x="1560" y="1482"/>
                  </a:lnTo>
                  <a:lnTo>
                    <a:pt x="1536" y="1482"/>
                  </a:lnTo>
                  <a:lnTo>
                    <a:pt x="1524" y="1482"/>
                  </a:lnTo>
                  <a:lnTo>
                    <a:pt x="1506" y="1500"/>
                  </a:lnTo>
                  <a:lnTo>
                    <a:pt x="1482" y="1530"/>
                  </a:lnTo>
                  <a:lnTo>
                    <a:pt x="1452" y="1542"/>
                  </a:lnTo>
                  <a:lnTo>
                    <a:pt x="1446" y="1542"/>
                  </a:lnTo>
                  <a:lnTo>
                    <a:pt x="1440" y="1542"/>
                  </a:lnTo>
                  <a:lnTo>
                    <a:pt x="1440" y="1548"/>
                  </a:lnTo>
                  <a:lnTo>
                    <a:pt x="1434" y="1548"/>
                  </a:lnTo>
                  <a:lnTo>
                    <a:pt x="1428" y="1548"/>
                  </a:lnTo>
                  <a:lnTo>
                    <a:pt x="1428" y="1554"/>
                  </a:lnTo>
                  <a:lnTo>
                    <a:pt x="1422" y="1560"/>
                  </a:lnTo>
                  <a:lnTo>
                    <a:pt x="1416" y="1560"/>
                  </a:lnTo>
                  <a:lnTo>
                    <a:pt x="1410" y="1566"/>
                  </a:lnTo>
                  <a:lnTo>
                    <a:pt x="1410" y="1560"/>
                  </a:lnTo>
                  <a:lnTo>
                    <a:pt x="1404" y="1560"/>
                  </a:lnTo>
                  <a:lnTo>
                    <a:pt x="1392" y="1560"/>
                  </a:lnTo>
                  <a:lnTo>
                    <a:pt x="1386" y="1560"/>
                  </a:lnTo>
                  <a:lnTo>
                    <a:pt x="1380" y="1566"/>
                  </a:lnTo>
                  <a:lnTo>
                    <a:pt x="1374" y="1560"/>
                  </a:lnTo>
                  <a:lnTo>
                    <a:pt x="1368" y="1566"/>
                  </a:lnTo>
                  <a:lnTo>
                    <a:pt x="1362" y="1566"/>
                  </a:lnTo>
                  <a:lnTo>
                    <a:pt x="1362" y="1572"/>
                  </a:lnTo>
                  <a:lnTo>
                    <a:pt x="1356" y="1572"/>
                  </a:lnTo>
                  <a:lnTo>
                    <a:pt x="1356" y="1578"/>
                  </a:lnTo>
                  <a:lnTo>
                    <a:pt x="1350" y="1578"/>
                  </a:lnTo>
                  <a:lnTo>
                    <a:pt x="1350" y="1572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32" y="1584"/>
                  </a:lnTo>
                  <a:lnTo>
                    <a:pt x="1326" y="1590"/>
                  </a:lnTo>
                  <a:lnTo>
                    <a:pt x="1320" y="1584"/>
                  </a:lnTo>
                  <a:lnTo>
                    <a:pt x="1314" y="1590"/>
                  </a:lnTo>
                  <a:lnTo>
                    <a:pt x="1308" y="1596"/>
                  </a:lnTo>
                  <a:lnTo>
                    <a:pt x="1302" y="1596"/>
                  </a:lnTo>
                  <a:lnTo>
                    <a:pt x="1296" y="1596"/>
                  </a:lnTo>
                  <a:lnTo>
                    <a:pt x="1290" y="1596"/>
                  </a:lnTo>
                  <a:lnTo>
                    <a:pt x="1284" y="1596"/>
                  </a:lnTo>
                  <a:lnTo>
                    <a:pt x="1278" y="1602"/>
                  </a:lnTo>
                  <a:lnTo>
                    <a:pt x="1266" y="1602"/>
                  </a:lnTo>
                  <a:lnTo>
                    <a:pt x="1272" y="1608"/>
                  </a:lnTo>
                  <a:lnTo>
                    <a:pt x="1278" y="1608"/>
                  </a:lnTo>
                  <a:lnTo>
                    <a:pt x="1284" y="1608"/>
                  </a:lnTo>
                  <a:lnTo>
                    <a:pt x="1290" y="1614"/>
                  </a:lnTo>
                  <a:lnTo>
                    <a:pt x="1296" y="1620"/>
                  </a:lnTo>
                  <a:lnTo>
                    <a:pt x="1302" y="1626"/>
                  </a:lnTo>
                  <a:lnTo>
                    <a:pt x="1308" y="1632"/>
                  </a:lnTo>
                  <a:lnTo>
                    <a:pt x="1314" y="1638"/>
                  </a:lnTo>
                  <a:lnTo>
                    <a:pt x="1314" y="1644"/>
                  </a:lnTo>
                  <a:lnTo>
                    <a:pt x="1320" y="1644"/>
                  </a:lnTo>
                  <a:lnTo>
                    <a:pt x="1320" y="1650"/>
                  </a:lnTo>
                  <a:lnTo>
                    <a:pt x="1326" y="1656"/>
                  </a:lnTo>
                  <a:lnTo>
                    <a:pt x="1332" y="1668"/>
                  </a:lnTo>
                  <a:lnTo>
                    <a:pt x="1338" y="1680"/>
                  </a:lnTo>
                  <a:lnTo>
                    <a:pt x="1338" y="1698"/>
                  </a:lnTo>
                  <a:lnTo>
                    <a:pt x="1350" y="1710"/>
                  </a:lnTo>
                  <a:lnTo>
                    <a:pt x="1350" y="1716"/>
                  </a:lnTo>
                  <a:lnTo>
                    <a:pt x="1350" y="1722"/>
                  </a:lnTo>
                  <a:lnTo>
                    <a:pt x="1350" y="1728"/>
                  </a:lnTo>
                  <a:lnTo>
                    <a:pt x="1356" y="1728"/>
                  </a:lnTo>
                  <a:lnTo>
                    <a:pt x="1356" y="1734"/>
                  </a:lnTo>
                  <a:lnTo>
                    <a:pt x="1350" y="1734"/>
                  </a:lnTo>
                  <a:lnTo>
                    <a:pt x="1344" y="1740"/>
                  </a:lnTo>
                  <a:lnTo>
                    <a:pt x="1338" y="1740"/>
                  </a:lnTo>
                  <a:lnTo>
                    <a:pt x="1332" y="1746"/>
                  </a:lnTo>
                  <a:lnTo>
                    <a:pt x="1326" y="1746"/>
                  </a:lnTo>
                  <a:lnTo>
                    <a:pt x="1326" y="1752"/>
                  </a:lnTo>
                  <a:lnTo>
                    <a:pt x="1320" y="1752"/>
                  </a:lnTo>
                  <a:lnTo>
                    <a:pt x="1320" y="1758"/>
                  </a:lnTo>
                  <a:lnTo>
                    <a:pt x="1314" y="1758"/>
                  </a:lnTo>
                  <a:lnTo>
                    <a:pt x="1308" y="1758"/>
                  </a:lnTo>
                  <a:lnTo>
                    <a:pt x="1302" y="1758"/>
                  </a:lnTo>
                  <a:lnTo>
                    <a:pt x="1296" y="1758"/>
                  </a:lnTo>
                  <a:lnTo>
                    <a:pt x="1290" y="1764"/>
                  </a:lnTo>
                  <a:lnTo>
                    <a:pt x="1284" y="1770"/>
                  </a:lnTo>
                  <a:lnTo>
                    <a:pt x="1278" y="1770"/>
                  </a:lnTo>
                  <a:lnTo>
                    <a:pt x="1272" y="1770"/>
                  </a:lnTo>
                  <a:lnTo>
                    <a:pt x="1266" y="1770"/>
                  </a:lnTo>
                  <a:lnTo>
                    <a:pt x="1266" y="1776"/>
                  </a:lnTo>
                  <a:lnTo>
                    <a:pt x="1260" y="1776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4" name="Freeform 39">
              <a:extLst>
                <a:ext uri="{FF2B5EF4-FFF2-40B4-BE49-F238E27FC236}">
                  <a16:creationId xmlns:a16="http://schemas.microsoft.com/office/drawing/2014/main" id="{E01CDA8B-32C7-421A-B23E-968CAC7F78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2974" y="1759680"/>
              <a:ext cx="825155" cy="700024"/>
            </a:xfrm>
            <a:custGeom>
              <a:avLst/>
              <a:gdLst>
                <a:gd name="T0" fmla="*/ 60 w 1554"/>
                <a:gd name="T1" fmla="*/ 86 h 1320"/>
                <a:gd name="T2" fmla="*/ 66 w 1554"/>
                <a:gd name="T3" fmla="*/ 80 h 1320"/>
                <a:gd name="T4" fmla="*/ 61 w 1554"/>
                <a:gd name="T5" fmla="*/ 73 h 1320"/>
                <a:gd name="T6" fmla="*/ 57 w 1554"/>
                <a:gd name="T7" fmla="*/ 67 h 1320"/>
                <a:gd name="T8" fmla="*/ 60 w 1554"/>
                <a:gd name="T9" fmla="*/ 59 h 1320"/>
                <a:gd name="T10" fmla="*/ 56 w 1554"/>
                <a:gd name="T11" fmla="*/ 55 h 1320"/>
                <a:gd name="T12" fmla="*/ 45 w 1554"/>
                <a:gd name="T13" fmla="*/ 53 h 1320"/>
                <a:gd name="T14" fmla="*/ 42 w 1554"/>
                <a:gd name="T15" fmla="*/ 41 h 1320"/>
                <a:gd name="T16" fmla="*/ 37 w 1554"/>
                <a:gd name="T17" fmla="*/ 39 h 1320"/>
                <a:gd name="T18" fmla="*/ 31 w 1554"/>
                <a:gd name="T19" fmla="*/ 44 h 1320"/>
                <a:gd name="T20" fmla="*/ 37 w 1554"/>
                <a:gd name="T21" fmla="*/ 35 h 1320"/>
                <a:gd name="T22" fmla="*/ 30 w 1554"/>
                <a:gd name="T23" fmla="*/ 23 h 1320"/>
                <a:gd name="T24" fmla="*/ 21 w 1554"/>
                <a:gd name="T25" fmla="*/ 23 h 1320"/>
                <a:gd name="T26" fmla="*/ 15 w 1554"/>
                <a:gd name="T27" fmla="*/ 27 h 1320"/>
                <a:gd name="T28" fmla="*/ 11 w 1554"/>
                <a:gd name="T29" fmla="*/ 32 h 1320"/>
                <a:gd name="T30" fmla="*/ 6 w 1554"/>
                <a:gd name="T31" fmla="*/ 22 h 1320"/>
                <a:gd name="T32" fmla="*/ 3 w 1554"/>
                <a:gd name="T33" fmla="*/ 11 h 1320"/>
                <a:gd name="T34" fmla="*/ 24 w 1554"/>
                <a:gd name="T35" fmla="*/ 12 h 1320"/>
                <a:gd name="T36" fmla="*/ 33 w 1554"/>
                <a:gd name="T37" fmla="*/ 19 h 1320"/>
                <a:gd name="T38" fmla="*/ 49 w 1554"/>
                <a:gd name="T39" fmla="*/ 12 h 1320"/>
                <a:gd name="T40" fmla="*/ 58 w 1554"/>
                <a:gd name="T41" fmla="*/ 10 h 1320"/>
                <a:gd name="T42" fmla="*/ 68 w 1554"/>
                <a:gd name="T43" fmla="*/ 11 h 1320"/>
                <a:gd name="T44" fmla="*/ 79 w 1554"/>
                <a:gd name="T45" fmla="*/ 12 h 1320"/>
                <a:gd name="T46" fmla="*/ 96 w 1554"/>
                <a:gd name="T47" fmla="*/ 11 h 1320"/>
                <a:gd name="T48" fmla="*/ 107 w 1554"/>
                <a:gd name="T49" fmla="*/ 2 h 1320"/>
                <a:gd name="T50" fmla="*/ 117 w 1554"/>
                <a:gd name="T51" fmla="*/ 8 h 1320"/>
                <a:gd name="T52" fmla="*/ 126 w 1554"/>
                <a:gd name="T53" fmla="*/ 12 h 1320"/>
                <a:gd name="T54" fmla="*/ 134 w 1554"/>
                <a:gd name="T55" fmla="*/ 24 h 1320"/>
                <a:gd name="T56" fmla="*/ 133 w 1554"/>
                <a:gd name="T57" fmla="*/ 29 h 1320"/>
                <a:gd name="T58" fmla="*/ 129 w 1554"/>
                <a:gd name="T59" fmla="*/ 31 h 1320"/>
                <a:gd name="T60" fmla="*/ 125 w 1554"/>
                <a:gd name="T61" fmla="*/ 32 h 1320"/>
                <a:gd name="T62" fmla="*/ 115 w 1554"/>
                <a:gd name="T63" fmla="*/ 34 h 1320"/>
                <a:gd name="T64" fmla="*/ 113 w 1554"/>
                <a:gd name="T65" fmla="*/ 44 h 1320"/>
                <a:gd name="T66" fmla="*/ 111 w 1554"/>
                <a:gd name="T67" fmla="*/ 54 h 1320"/>
                <a:gd name="T68" fmla="*/ 107 w 1554"/>
                <a:gd name="T69" fmla="*/ 56 h 1320"/>
                <a:gd name="T70" fmla="*/ 102 w 1554"/>
                <a:gd name="T71" fmla="*/ 58 h 1320"/>
                <a:gd name="T72" fmla="*/ 99 w 1554"/>
                <a:gd name="T73" fmla="*/ 60 h 1320"/>
                <a:gd name="T74" fmla="*/ 93 w 1554"/>
                <a:gd name="T75" fmla="*/ 62 h 1320"/>
                <a:gd name="T76" fmla="*/ 87 w 1554"/>
                <a:gd name="T77" fmla="*/ 64 h 1320"/>
                <a:gd name="T78" fmla="*/ 84 w 1554"/>
                <a:gd name="T79" fmla="*/ 65 h 1320"/>
                <a:gd name="T80" fmla="*/ 81 w 1554"/>
                <a:gd name="T81" fmla="*/ 69 h 1320"/>
                <a:gd name="T82" fmla="*/ 83 w 1554"/>
                <a:gd name="T83" fmla="*/ 72 h 1320"/>
                <a:gd name="T84" fmla="*/ 92 w 1554"/>
                <a:gd name="T85" fmla="*/ 73 h 1320"/>
                <a:gd name="T86" fmla="*/ 93 w 1554"/>
                <a:gd name="T87" fmla="*/ 87 h 1320"/>
                <a:gd name="T88" fmla="*/ 104 w 1554"/>
                <a:gd name="T89" fmla="*/ 98 h 1320"/>
                <a:gd name="T90" fmla="*/ 108 w 1554"/>
                <a:gd name="T91" fmla="*/ 98 h 1320"/>
                <a:gd name="T92" fmla="*/ 112 w 1554"/>
                <a:gd name="T93" fmla="*/ 100 h 1320"/>
                <a:gd name="T94" fmla="*/ 118 w 1554"/>
                <a:gd name="T95" fmla="*/ 100 h 1320"/>
                <a:gd name="T96" fmla="*/ 122 w 1554"/>
                <a:gd name="T97" fmla="*/ 102 h 1320"/>
                <a:gd name="T98" fmla="*/ 118 w 1554"/>
                <a:gd name="T99" fmla="*/ 105 h 1320"/>
                <a:gd name="T100" fmla="*/ 114 w 1554"/>
                <a:gd name="T101" fmla="*/ 107 h 1320"/>
                <a:gd name="T102" fmla="*/ 113 w 1554"/>
                <a:gd name="T103" fmla="*/ 113 h 1320"/>
                <a:gd name="T104" fmla="*/ 104 w 1554"/>
                <a:gd name="T105" fmla="*/ 113 h 1320"/>
                <a:gd name="T106" fmla="*/ 93 w 1554"/>
                <a:gd name="T107" fmla="*/ 109 h 1320"/>
                <a:gd name="T108" fmla="*/ 96 w 1554"/>
                <a:gd name="T109" fmla="*/ 103 h 1320"/>
                <a:gd name="T110" fmla="*/ 95 w 1554"/>
                <a:gd name="T111" fmla="*/ 97 h 1320"/>
                <a:gd name="T112" fmla="*/ 87 w 1554"/>
                <a:gd name="T113" fmla="*/ 98 h 1320"/>
                <a:gd name="T114" fmla="*/ 81 w 1554"/>
                <a:gd name="T115" fmla="*/ 98 h 1320"/>
                <a:gd name="T116" fmla="*/ 78 w 1554"/>
                <a:gd name="T117" fmla="*/ 93 h 1320"/>
                <a:gd name="T118" fmla="*/ 65 w 1554"/>
                <a:gd name="T119" fmla="*/ 92 h 1320"/>
                <a:gd name="T120" fmla="*/ 59 w 1554"/>
                <a:gd name="T121" fmla="*/ 92 h 13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54"/>
                <a:gd name="T184" fmla="*/ 0 h 1320"/>
                <a:gd name="T185" fmla="*/ 1554 w 1554"/>
                <a:gd name="T186" fmla="*/ 1320 h 132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54" h="1320">
                  <a:moveTo>
                    <a:pt x="684" y="1068"/>
                  </a:moveTo>
                  <a:lnTo>
                    <a:pt x="684" y="1062"/>
                  </a:lnTo>
                  <a:lnTo>
                    <a:pt x="690" y="1056"/>
                  </a:lnTo>
                  <a:lnTo>
                    <a:pt x="690" y="1050"/>
                  </a:lnTo>
                  <a:lnTo>
                    <a:pt x="690" y="1044"/>
                  </a:lnTo>
                  <a:lnTo>
                    <a:pt x="690" y="1038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14"/>
                  </a:lnTo>
                  <a:lnTo>
                    <a:pt x="690" y="1008"/>
                  </a:lnTo>
                  <a:lnTo>
                    <a:pt x="696" y="996"/>
                  </a:lnTo>
                  <a:lnTo>
                    <a:pt x="714" y="996"/>
                  </a:lnTo>
                  <a:lnTo>
                    <a:pt x="714" y="990"/>
                  </a:lnTo>
                  <a:lnTo>
                    <a:pt x="732" y="984"/>
                  </a:lnTo>
                  <a:lnTo>
                    <a:pt x="744" y="978"/>
                  </a:lnTo>
                  <a:lnTo>
                    <a:pt x="762" y="966"/>
                  </a:lnTo>
                  <a:lnTo>
                    <a:pt x="762" y="960"/>
                  </a:lnTo>
                  <a:lnTo>
                    <a:pt x="768" y="954"/>
                  </a:lnTo>
                  <a:lnTo>
                    <a:pt x="774" y="948"/>
                  </a:lnTo>
                  <a:lnTo>
                    <a:pt x="774" y="942"/>
                  </a:lnTo>
                  <a:lnTo>
                    <a:pt x="774" y="924"/>
                  </a:lnTo>
                  <a:lnTo>
                    <a:pt x="768" y="918"/>
                  </a:lnTo>
                  <a:lnTo>
                    <a:pt x="756" y="918"/>
                  </a:lnTo>
                  <a:lnTo>
                    <a:pt x="744" y="918"/>
                  </a:lnTo>
                  <a:lnTo>
                    <a:pt x="732" y="924"/>
                  </a:lnTo>
                  <a:lnTo>
                    <a:pt x="726" y="912"/>
                  </a:lnTo>
                  <a:lnTo>
                    <a:pt x="720" y="912"/>
                  </a:lnTo>
                  <a:lnTo>
                    <a:pt x="720" y="900"/>
                  </a:lnTo>
                  <a:lnTo>
                    <a:pt x="720" y="870"/>
                  </a:lnTo>
                  <a:lnTo>
                    <a:pt x="696" y="876"/>
                  </a:lnTo>
                  <a:lnTo>
                    <a:pt x="690" y="852"/>
                  </a:lnTo>
                  <a:lnTo>
                    <a:pt x="702" y="852"/>
                  </a:lnTo>
                  <a:lnTo>
                    <a:pt x="702" y="840"/>
                  </a:lnTo>
                  <a:lnTo>
                    <a:pt x="708" y="834"/>
                  </a:lnTo>
                  <a:lnTo>
                    <a:pt x="702" y="822"/>
                  </a:lnTo>
                  <a:lnTo>
                    <a:pt x="660" y="822"/>
                  </a:lnTo>
                  <a:lnTo>
                    <a:pt x="654" y="822"/>
                  </a:lnTo>
                  <a:lnTo>
                    <a:pt x="642" y="822"/>
                  </a:lnTo>
                  <a:lnTo>
                    <a:pt x="642" y="810"/>
                  </a:lnTo>
                  <a:lnTo>
                    <a:pt x="642" y="798"/>
                  </a:lnTo>
                  <a:lnTo>
                    <a:pt x="642" y="792"/>
                  </a:lnTo>
                  <a:lnTo>
                    <a:pt x="648" y="780"/>
                  </a:lnTo>
                  <a:lnTo>
                    <a:pt x="654" y="774"/>
                  </a:lnTo>
                  <a:lnTo>
                    <a:pt x="660" y="774"/>
                  </a:lnTo>
                  <a:lnTo>
                    <a:pt x="672" y="762"/>
                  </a:lnTo>
                  <a:lnTo>
                    <a:pt x="672" y="756"/>
                  </a:lnTo>
                  <a:lnTo>
                    <a:pt x="678" y="750"/>
                  </a:lnTo>
                  <a:lnTo>
                    <a:pt x="684" y="750"/>
                  </a:lnTo>
                  <a:lnTo>
                    <a:pt x="690" y="744"/>
                  </a:lnTo>
                  <a:lnTo>
                    <a:pt x="696" y="732"/>
                  </a:lnTo>
                  <a:lnTo>
                    <a:pt x="696" y="726"/>
                  </a:lnTo>
                  <a:lnTo>
                    <a:pt x="702" y="714"/>
                  </a:lnTo>
                  <a:lnTo>
                    <a:pt x="696" y="708"/>
                  </a:lnTo>
                  <a:lnTo>
                    <a:pt x="690" y="690"/>
                  </a:lnTo>
                  <a:lnTo>
                    <a:pt x="696" y="678"/>
                  </a:lnTo>
                  <a:lnTo>
                    <a:pt x="708" y="672"/>
                  </a:lnTo>
                  <a:lnTo>
                    <a:pt x="708" y="660"/>
                  </a:lnTo>
                  <a:lnTo>
                    <a:pt x="702" y="660"/>
                  </a:lnTo>
                  <a:lnTo>
                    <a:pt x="696" y="660"/>
                  </a:lnTo>
                  <a:lnTo>
                    <a:pt x="690" y="654"/>
                  </a:lnTo>
                  <a:lnTo>
                    <a:pt x="684" y="654"/>
                  </a:lnTo>
                  <a:lnTo>
                    <a:pt x="690" y="606"/>
                  </a:lnTo>
                  <a:lnTo>
                    <a:pt x="660" y="606"/>
                  </a:lnTo>
                  <a:lnTo>
                    <a:pt x="660" y="612"/>
                  </a:lnTo>
                  <a:lnTo>
                    <a:pt x="648" y="612"/>
                  </a:lnTo>
                  <a:lnTo>
                    <a:pt x="642" y="636"/>
                  </a:lnTo>
                  <a:lnTo>
                    <a:pt x="636" y="636"/>
                  </a:lnTo>
                  <a:lnTo>
                    <a:pt x="630" y="648"/>
                  </a:lnTo>
                  <a:lnTo>
                    <a:pt x="612" y="648"/>
                  </a:lnTo>
                  <a:lnTo>
                    <a:pt x="606" y="636"/>
                  </a:lnTo>
                  <a:lnTo>
                    <a:pt x="600" y="630"/>
                  </a:lnTo>
                  <a:lnTo>
                    <a:pt x="588" y="606"/>
                  </a:lnTo>
                  <a:lnTo>
                    <a:pt x="552" y="606"/>
                  </a:lnTo>
                  <a:lnTo>
                    <a:pt x="552" y="612"/>
                  </a:lnTo>
                  <a:lnTo>
                    <a:pt x="540" y="612"/>
                  </a:lnTo>
                  <a:lnTo>
                    <a:pt x="540" y="606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16" y="612"/>
                  </a:lnTo>
                  <a:lnTo>
                    <a:pt x="516" y="582"/>
                  </a:lnTo>
                  <a:lnTo>
                    <a:pt x="522" y="576"/>
                  </a:lnTo>
                  <a:lnTo>
                    <a:pt x="528" y="576"/>
                  </a:lnTo>
                  <a:lnTo>
                    <a:pt x="528" y="552"/>
                  </a:lnTo>
                  <a:lnTo>
                    <a:pt x="522" y="540"/>
                  </a:lnTo>
                  <a:lnTo>
                    <a:pt x="510" y="528"/>
                  </a:lnTo>
                  <a:lnTo>
                    <a:pt x="486" y="510"/>
                  </a:lnTo>
                  <a:lnTo>
                    <a:pt x="480" y="498"/>
                  </a:lnTo>
                  <a:lnTo>
                    <a:pt x="480" y="474"/>
                  </a:lnTo>
                  <a:lnTo>
                    <a:pt x="492" y="468"/>
                  </a:lnTo>
                  <a:lnTo>
                    <a:pt x="486" y="450"/>
                  </a:lnTo>
                  <a:lnTo>
                    <a:pt x="474" y="456"/>
                  </a:lnTo>
                  <a:lnTo>
                    <a:pt x="468" y="456"/>
                  </a:lnTo>
                  <a:lnTo>
                    <a:pt x="462" y="456"/>
                  </a:lnTo>
                  <a:lnTo>
                    <a:pt x="456" y="468"/>
                  </a:lnTo>
                  <a:lnTo>
                    <a:pt x="456" y="474"/>
                  </a:lnTo>
                  <a:lnTo>
                    <a:pt x="450" y="480"/>
                  </a:lnTo>
                  <a:lnTo>
                    <a:pt x="444" y="450"/>
                  </a:lnTo>
                  <a:lnTo>
                    <a:pt x="438" y="450"/>
                  </a:lnTo>
                  <a:lnTo>
                    <a:pt x="432" y="450"/>
                  </a:lnTo>
                  <a:lnTo>
                    <a:pt x="420" y="450"/>
                  </a:lnTo>
                  <a:lnTo>
                    <a:pt x="420" y="456"/>
                  </a:lnTo>
                  <a:lnTo>
                    <a:pt x="414" y="456"/>
                  </a:lnTo>
                  <a:lnTo>
                    <a:pt x="408" y="468"/>
                  </a:lnTo>
                  <a:lnTo>
                    <a:pt x="402" y="468"/>
                  </a:lnTo>
                  <a:lnTo>
                    <a:pt x="396" y="474"/>
                  </a:lnTo>
                  <a:lnTo>
                    <a:pt x="390" y="492"/>
                  </a:lnTo>
                  <a:lnTo>
                    <a:pt x="384" y="504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54" y="510"/>
                  </a:lnTo>
                  <a:lnTo>
                    <a:pt x="360" y="480"/>
                  </a:lnTo>
                  <a:lnTo>
                    <a:pt x="360" y="474"/>
                  </a:lnTo>
                  <a:lnTo>
                    <a:pt x="378" y="456"/>
                  </a:lnTo>
                  <a:lnTo>
                    <a:pt x="384" y="450"/>
                  </a:lnTo>
                  <a:lnTo>
                    <a:pt x="396" y="444"/>
                  </a:lnTo>
                  <a:lnTo>
                    <a:pt x="402" y="438"/>
                  </a:lnTo>
                  <a:lnTo>
                    <a:pt x="408" y="438"/>
                  </a:lnTo>
                  <a:lnTo>
                    <a:pt x="408" y="426"/>
                  </a:lnTo>
                  <a:lnTo>
                    <a:pt x="414" y="420"/>
                  </a:lnTo>
                  <a:lnTo>
                    <a:pt x="426" y="420"/>
                  </a:lnTo>
                  <a:lnTo>
                    <a:pt x="426" y="408"/>
                  </a:lnTo>
                  <a:lnTo>
                    <a:pt x="420" y="390"/>
                  </a:lnTo>
                  <a:lnTo>
                    <a:pt x="408" y="384"/>
                  </a:lnTo>
                  <a:lnTo>
                    <a:pt x="378" y="378"/>
                  </a:lnTo>
                  <a:lnTo>
                    <a:pt x="354" y="366"/>
                  </a:lnTo>
                  <a:lnTo>
                    <a:pt x="342" y="360"/>
                  </a:lnTo>
                  <a:lnTo>
                    <a:pt x="342" y="348"/>
                  </a:lnTo>
                  <a:lnTo>
                    <a:pt x="336" y="330"/>
                  </a:lnTo>
                  <a:lnTo>
                    <a:pt x="348" y="306"/>
                  </a:lnTo>
                  <a:lnTo>
                    <a:pt x="360" y="294"/>
                  </a:lnTo>
                  <a:lnTo>
                    <a:pt x="360" y="282"/>
                  </a:lnTo>
                  <a:lnTo>
                    <a:pt x="342" y="270"/>
                  </a:lnTo>
                  <a:lnTo>
                    <a:pt x="342" y="264"/>
                  </a:lnTo>
                  <a:lnTo>
                    <a:pt x="330" y="264"/>
                  </a:lnTo>
                  <a:lnTo>
                    <a:pt x="312" y="270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88" y="270"/>
                  </a:lnTo>
                  <a:lnTo>
                    <a:pt x="282" y="270"/>
                  </a:lnTo>
                  <a:lnTo>
                    <a:pt x="276" y="264"/>
                  </a:lnTo>
                  <a:lnTo>
                    <a:pt x="270" y="264"/>
                  </a:lnTo>
                  <a:lnTo>
                    <a:pt x="252" y="270"/>
                  </a:lnTo>
                  <a:lnTo>
                    <a:pt x="246" y="270"/>
                  </a:lnTo>
                  <a:lnTo>
                    <a:pt x="240" y="270"/>
                  </a:lnTo>
                  <a:lnTo>
                    <a:pt x="228" y="270"/>
                  </a:lnTo>
                  <a:lnTo>
                    <a:pt x="216" y="276"/>
                  </a:lnTo>
                  <a:lnTo>
                    <a:pt x="210" y="270"/>
                  </a:lnTo>
                  <a:lnTo>
                    <a:pt x="204" y="270"/>
                  </a:lnTo>
                  <a:lnTo>
                    <a:pt x="198" y="276"/>
                  </a:lnTo>
                  <a:lnTo>
                    <a:pt x="192" y="276"/>
                  </a:lnTo>
                  <a:lnTo>
                    <a:pt x="186" y="282"/>
                  </a:lnTo>
                  <a:lnTo>
                    <a:pt x="180" y="288"/>
                  </a:lnTo>
                  <a:lnTo>
                    <a:pt x="174" y="300"/>
                  </a:lnTo>
                  <a:lnTo>
                    <a:pt x="168" y="306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8" y="330"/>
                  </a:lnTo>
                  <a:lnTo>
                    <a:pt x="162" y="336"/>
                  </a:lnTo>
                  <a:lnTo>
                    <a:pt x="156" y="342"/>
                  </a:lnTo>
                  <a:lnTo>
                    <a:pt x="156" y="348"/>
                  </a:lnTo>
                  <a:lnTo>
                    <a:pt x="156" y="354"/>
                  </a:lnTo>
                  <a:lnTo>
                    <a:pt x="150" y="366"/>
                  </a:lnTo>
                  <a:lnTo>
                    <a:pt x="150" y="372"/>
                  </a:lnTo>
                  <a:lnTo>
                    <a:pt x="144" y="366"/>
                  </a:lnTo>
                  <a:lnTo>
                    <a:pt x="132" y="366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20" y="348"/>
                  </a:lnTo>
                  <a:lnTo>
                    <a:pt x="102" y="330"/>
                  </a:lnTo>
                  <a:lnTo>
                    <a:pt x="96" y="318"/>
                  </a:lnTo>
                  <a:lnTo>
                    <a:pt x="96" y="282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0" y="258"/>
                  </a:lnTo>
                  <a:lnTo>
                    <a:pt x="84" y="252"/>
                  </a:lnTo>
                  <a:lnTo>
                    <a:pt x="66" y="258"/>
                  </a:lnTo>
                  <a:lnTo>
                    <a:pt x="60" y="246"/>
                  </a:lnTo>
                  <a:lnTo>
                    <a:pt x="30" y="252"/>
                  </a:lnTo>
                  <a:lnTo>
                    <a:pt x="18" y="246"/>
                  </a:lnTo>
                  <a:lnTo>
                    <a:pt x="0" y="240"/>
                  </a:lnTo>
                  <a:lnTo>
                    <a:pt x="0" y="234"/>
                  </a:lnTo>
                  <a:lnTo>
                    <a:pt x="0" y="210"/>
                  </a:lnTo>
                  <a:lnTo>
                    <a:pt x="6" y="204"/>
                  </a:lnTo>
                  <a:lnTo>
                    <a:pt x="18" y="192"/>
                  </a:lnTo>
                  <a:lnTo>
                    <a:pt x="18" y="144"/>
                  </a:lnTo>
                  <a:lnTo>
                    <a:pt x="24" y="126"/>
                  </a:lnTo>
                  <a:lnTo>
                    <a:pt x="36" y="126"/>
                  </a:lnTo>
                  <a:lnTo>
                    <a:pt x="54" y="120"/>
                  </a:lnTo>
                  <a:lnTo>
                    <a:pt x="54" y="126"/>
                  </a:lnTo>
                  <a:lnTo>
                    <a:pt x="132" y="114"/>
                  </a:lnTo>
                  <a:lnTo>
                    <a:pt x="144" y="120"/>
                  </a:lnTo>
                  <a:lnTo>
                    <a:pt x="150" y="132"/>
                  </a:lnTo>
                  <a:lnTo>
                    <a:pt x="180" y="126"/>
                  </a:lnTo>
                  <a:lnTo>
                    <a:pt x="210" y="120"/>
                  </a:lnTo>
                  <a:lnTo>
                    <a:pt x="240" y="120"/>
                  </a:lnTo>
                  <a:lnTo>
                    <a:pt x="258" y="120"/>
                  </a:lnTo>
                  <a:lnTo>
                    <a:pt x="270" y="126"/>
                  </a:lnTo>
                  <a:lnTo>
                    <a:pt x="276" y="132"/>
                  </a:lnTo>
                  <a:lnTo>
                    <a:pt x="282" y="138"/>
                  </a:lnTo>
                  <a:lnTo>
                    <a:pt x="282" y="156"/>
                  </a:lnTo>
                  <a:lnTo>
                    <a:pt x="288" y="186"/>
                  </a:lnTo>
                  <a:lnTo>
                    <a:pt x="312" y="192"/>
                  </a:lnTo>
                  <a:lnTo>
                    <a:pt x="318" y="198"/>
                  </a:lnTo>
                  <a:lnTo>
                    <a:pt x="324" y="204"/>
                  </a:lnTo>
                  <a:lnTo>
                    <a:pt x="330" y="210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66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86" y="210"/>
                  </a:lnTo>
                  <a:lnTo>
                    <a:pt x="498" y="198"/>
                  </a:lnTo>
                  <a:lnTo>
                    <a:pt x="504" y="174"/>
                  </a:lnTo>
                  <a:lnTo>
                    <a:pt x="516" y="162"/>
                  </a:lnTo>
                  <a:lnTo>
                    <a:pt x="516" y="138"/>
                  </a:lnTo>
                  <a:lnTo>
                    <a:pt x="522" y="132"/>
                  </a:lnTo>
                  <a:lnTo>
                    <a:pt x="564" y="132"/>
                  </a:lnTo>
                  <a:lnTo>
                    <a:pt x="564" y="114"/>
                  </a:lnTo>
                  <a:lnTo>
                    <a:pt x="582" y="114"/>
                  </a:lnTo>
                  <a:lnTo>
                    <a:pt x="594" y="114"/>
                  </a:lnTo>
                  <a:lnTo>
                    <a:pt x="606" y="114"/>
                  </a:lnTo>
                  <a:lnTo>
                    <a:pt x="612" y="114"/>
                  </a:lnTo>
                  <a:lnTo>
                    <a:pt x="630" y="114"/>
                  </a:lnTo>
                  <a:lnTo>
                    <a:pt x="636" y="114"/>
                  </a:lnTo>
                  <a:lnTo>
                    <a:pt x="648" y="114"/>
                  </a:lnTo>
                  <a:lnTo>
                    <a:pt x="654" y="114"/>
                  </a:lnTo>
                  <a:lnTo>
                    <a:pt x="660" y="120"/>
                  </a:lnTo>
                  <a:lnTo>
                    <a:pt x="672" y="120"/>
                  </a:lnTo>
                  <a:lnTo>
                    <a:pt x="684" y="120"/>
                  </a:lnTo>
                  <a:lnTo>
                    <a:pt x="690" y="120"/>
                  </a:lnTo>
                  <a:lnTo>
                    <a:pt x="702" y="120"/>
                  </a:lnTo>
                  <a:lnTo>
                    <a:pt x="708" y="120"/>
                  </a:lnTo>
                  <a:lnTo>
                    <a:pt x="726" y="126"/>
                  </a:lnTo>
                  <a:lnTo>
                    <a:pt x="732" y="126"/>
                  </a:lnTo>
                  <a:lnTo>
                    <a:pt x="738" y="126"/>
                  </a:lnTo>
                  <a:lnTo>
                    <a:pt x="750" y="126"/>
                  </a:lnTo>
                  <a:lnTo>
                    <a:pt x="756" y="126"/>
                  </a:lnTo>
                  <a:lnTo>
                    <a:pt x="768" y="126"/>
                  </a:lnTo>
                  <a:lnTo>
                    <a:pt x="780" y="126"/>
                  </a:lnTo>
                  <a:lnTo>
                    <a:pt x="786" y="120"/>
                  </a:lnTo>
                  <a:lnTo>
                    <a:pt x="792" y="120"/>
                  </a:lnTo>
                  <a:lnTo>
                    <a:pt x="810" y="120"/>
                  </a:lnTo>
                  <a:lnTo>
                    <a:pt x="822" y="120"/>
                  </a:lnTo>
                  <a:lnTo>
                    <a:pt x="846" y="126"/>
                  </a:lnTo>
                  <a:lnTo>
                    <a:pt x="858" y="126"/>
                  </a:lnTo>
                  <a:lnTo>
                    <a:pt x="870" y="132"/>
                  </a:lnTo>
                  <a:lnTo>
                    <a:pt x="882" y="132"/>
                  </a:lnTo>
                  <a:lnTo>
                    <a:pt x="894" y="132"/>
                  </a:lnTo>
                  <a:lnTo>
                    <a:pt x="900" y="132"/>
                  </a:lnTo>
                  <a:lnTo>
                    <a:pt x="912" y="132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36" y="132"/>
                  </a:lnTo>
                  <a:lnTo>
                    <a:pt x="960" y="132"/>
                  </a:lnTo>
                  <a:lnTo>
                    <a:pt x="966" y="144"/>
                  </a:lnTo>
                  <a:lnTo>
                    <a:pt x="972" y="144"/>
                  </a:lnTo>
                  <a:lnTo>
                    <a:pt x="1002" y="144"/>
                  </a:lnTo>
                  <a:lnTo>
                    <a:pt x="1020" y="144"/>
                  </a:lnTo>
                  <a:lnTo>
                    <a:pt x="1068" y="138"/>
                  </a:lnTo>
                  <a:lnTo>
                    <a:pt x="1110" y="132"/>
                  </a:lnTo>
                  <a:lnTo>
                    <a:pt x="1110" y="126"/>
                  </a:lnTo>
                  <a:lnTo>
                    <a:pt x="1116" y="120"/>
                  </a:lnTo>
                  <a:lnTo>
                    <a:pt x="1122" y="108"/>
                  </a:lnTo>
                  <a:lnTo>
                    <a:pt x="1134" y="96"/>
                  </a:lnTo>
                  <a:lnTo>
                    <a:pt x="1146" y="60"/>
                  </a:lnTo>
                  <a:lnTo>
                    <a:pt x="1158" y="54"/>
                  </a:lnTo>
                  <a:lnTo>
                    <a:pt x="1170" y="48"/>
                  </a:lnTo>
                  <a:lnTo>
                    <a:pt x="1188" y="42"/>
                  </a:lnTo>
                  <a:lnTo>
                    <a:pt x="1200" y="36"/>
                  </a:lnTo>
                  <a:lnTo>
                    <a:pt x="1212" y="36"/>
                  </a:lnTo>
                  <a:lnTo>
                    <a:pt x="1236" y="30"/>
                  </a:lnTo>
                  <a:lnTo>
                    <a:pt x="1236" y="24"/>
                  </a:lnTo>
                  <a:lnTo>
                    <a:pt x="1278" y="18"/>
                  </a:lnTo>
                  <a:lnTo>
                    <a:pt x="1290" y="18"/>
                  </a:lnTo>
                  <a:lnTo>
                    <a:pt x="1302" y="12"/>
                  </a:lnTo>
                  <a:lnTo>
                    <a:pt x="1314" y="0"/>
                  </a:lnTo>
                  <a:lnTo>
                    <a:pt x="1332" y="0"/>
                  </a:lnTo>
                  <a:lnTo>
                    <a:pt x="1338" y="24"/>
                  </a:lnTo>
                  <a:lnTo>
                    <a:pt x="1344" y="30"/>
                  </a:lnTo>
                  <a:lnTo>
                    <a:pt x="1350" y="42"/>
                  </a:lnTo>
                  <a:lnTo>
                    <a:pt x="1356" y="48"/>
                  </a:lnTo>
                  <a:lnTo>
                    <a:pt x="1356" y="78"/>
                  </a:lnTo>
                  <a:lnTo>
                    <a:pt x="1350" y="96"/>
                  </a:lnTo>
                  <a:lnTo>
                    <a:pt x="1338" y="108"/>
                  </a:lnTo>
                  <a:lnTo>
                    <a:pt x="1338" y="114"/>
                  </a:lnTo>
                  <a:lnTo>
                    <a:pt x="1338" y="120"/>
                  </a:lnTo>
                  <a:lnTo>
                    <a:pt x="1338" y="126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398" y="114"/>
                  </a:lnTo>
                  <a:lnTo>
                    <a:pt x="1416" y="120"/>
                  </a:lnTo>
                  <a:lnTo>
                    <a:pt x="1434" y="126"/>
                  </a:lnTo>
                  <a:lnTo>
                    <a:pt x="1458" y="132"/>
                  </a:lnTo>
                  <a:lnTo>
                    <a:pt x="1458" y="138"/>
                  </a:lnTo>
                  <a:lnTo>
                    <a:pt x="1512" y="138"/>
                  </a:lnTo>
                  <a:lnTo>
                    <a:pt x="1512" y="132"/>
                  </a:lnTo>
                  <a:lnTo>
                    <a:pt x="1524" y="138"/>
                  </a:lnTo>
                  <a:lnTo>
                    <a:pt x="1542" y="138"/>
                  </a:lnTo>
                  <a:lnTo>
                    <a:pt x="1542" y="150"/>
                  </a:lnTo>
                  <a:lnTo>
                    <a:pt x="1542" y="162"/>
                  </a:lnTo>
                  <a:lnTo>
                    <a:pt x="1548" y="174"/>
                  </a:lnTo>
                  <a:lnTo>
                    <a:pt x="1548" y="180"/>
                  </a:lnTo>
                  <a:lnTo>
                    <a:pt x="1554" y="222"/>
                  </a:lnTo>
                  <a:lnTo>
                    <a:pt x="1554" y="258"/>
                  </a:lnTo>
                  <a:lnTo>
                    <a:pt x="1554" y="276"/>
                  </a:lnTo>
                  <a:lnTo>
                    <a:pt x="1554" y="282"/>
                  </a:lnTo>
                  <a:lnTo>
                    <a:pt x="1554" y="294"/>
                  </a:lnTo>
                  <a:lnTo>
                    <a:pt x="1554" y="306"/>
                  </a:lnTo>
                  <a:lnTo>
                    <a:pt x="1554" y="324"/>
                  </a:lnTo>
                  <a:lnTo>
                    <a:pt x="1554" y="330"/>
                  </a:lnTo>
                  <a:lnTo>
                    <a:pt x="1548" y="330"/>
                  </a:lnTo>
                  <a:lnTo>
                    <a:pt x="1548" y="336"/>
                  </a:lnTo>
                  <a:lnTo>
                    <a:pt x="1548" y="342"/>
                  </a:lnTo>
                  <a:lnTo>
                    <a:pt x="1542" y="336"/>
                  </a:lnTo>
                  <a:lnTo>
                    <a:pt x="1542" y="330"/>
                  </a:lnTo>
                  <a:lnTo>
                    <a:pt x="1536" y="330"/>
                  </a:lnTo>
                  <a:lnTo>
                    <a:pt x="1530" y="330"/>
                  </a:lnTo>
                  <a:lnTo>
                    <a:pt x="1530" y="336"/>
                  </a:lnTo>
                  <a:lnTo>
                    <a:pt x="1536" y="342"/>
                  </a:lnTo>
                  <a:lnTo>
                    <a:pt x="1530" y="342"/>
                  </a:lnTo>
                  <a:lnTo>
                    <a:pt x="1518" y="348"/>
                  </a:lnTo>
                  <a:lnTo>
                    <a:pt x="1512" y="354"/>
                  </a:lnTo>
                  <a:lnTo>
                    <a:pt x="1506" y="354"/>
                  </a:lnTo>
                  <a:lnTo>
                    <a:pt x="1500" y="354"/>
                  </a:lnTo>
                  <a:lnTo>
                    <a:pt x="1494" y="354"/>
                  </a:lnTo>
                  <a:lnTo>
                    <a:pt x="1494" y="360"/>
                  </a:lnTo>
                  <a:lnTo>
                    <a:pt x="1488" y="360"/>
                  </a:lnTo>
                  <a:lnTo>
                    <a:pt x="1488" y="366"/>
                  </a:lnTo>
                  <a:lnTo>
                    <a:pt x="1488" y="372"/>
                  </a:lnTo>
                  <a:lnTo>
                    <a:pt x="1482" y="372"/>
                  </a:lnTo>
                  <a:lnTo>
                    <a:pt x="1476" y="372"/>
                  </a:lnTo>
                  <a:lnTo>
                    <a:pt x="1470" y="372"/>
                  </a:lnTo>
                  <a:lnTo>
                    <a:pt x="1470" y="378"/>
                  </a:lnTo>
                  <a:lnTo>
                    <a:pt x="1470" y="384"/>
                  </a:lnTo>
                  <a:lnTo>
                    <a:pt x="1470" y="390"/>
                  </a:lnTo>
                  <a:lnTo>
                    <a:pt x="1464" y="402"/>
                  </a:lnTo>
                  <a:lnTo>
                    <a:pt x="1446" y="402"/>
                  </a:lnTo>
                  <a:lnTo>
                    <a:pt x="1440" y="372"/>
                  </a:lnTo>
                  <a:lnTo>
                    <a:pt x="1410" y="372"/>
                  </a:lnTo>
                  <a:lnTo>
                    <a:pt x="1380" y="372"/>
                  </a:lnTo>
                  <a:lnTo>
                    <a:pt x="1374" y="372"/>
                  </a:lnTo>
                  <a:lnTo>
                    <a:pt x="1368" y="378"/>
                  </a:lnTo>
                  <a:lnTo>
                    <a:pt x="1362" y="378"/>
                  </a:lnTo>
                  <a:lnTo>
                    <a:pt x="1356" y="378"/>
                  </a:lnTo>
                  <a:lnTo>
                    <a:pt x="1350" y="384"/>
                  </a:lnTo>
                  <a:lnTo>
                    <a:pt x="1350" y="390"/>
                  </a:lnTo>
                  <a:lnTo>
                    <a:pt x="1344" y="390"/>
                  </a:lnTo>
                  <a:lnTo>
                    <a:pt x="1338" y="390"/>
                  </a:lnTo>
                  <a:lnTo>
                    <a:pt x="1332" y="390"/>
                  </a:lnTo>
                  <a:lnTo>
                    <a:pt x="1332" y="396"/>
                  </a:lnTo>
                  <a:lnTo>
                    <a:pt x="1332" y="390"/>
                  </a:lnTo>
                  <a:lnTo>
                    <a:pt x="1326" y="402"/>
                  </a:lnTo>
                  <a:lnTo>
                    <a:pt x="1320" y="402"/>
                  </a:lnTo>
                  <a:lnTo>
                    <a:pt x="1302" y="474"/>
                  </a:lnTo>
                  <a:lnTo>
                    <a:pt x="1308" y="480"/>
                  </a:lnTo>
                  <a:lnTo>
                    <a:pt x="1314" y="480"/>
                  </a:lnTo>
                  <a:lnTo>
                    <a:pt x="1308" y="498"/>
                  </a:lnTo>
                  <a:lnTo>
                    <a:pt x="1308" y="504"/>
                  </a:lnTo>
                  <a:lnTo>
                    <a:pt x="1314" y="510"/>
                  </a:lnTo>
                  <a:lnTo>
                    <a:pt x="1308" y="510"/>
                  </a:lnTo>
                  <a:lnTo>
                    <a:pt x="1308" y="516"/>
                  </a:lnTo>
                  <a:lnTo>
                    <a:pt x="1302" y="516"/>
                  </a:lnTo>
                  <a:lnTo>
                    <a:pt x="1296" y="510"/>
                  </a:lnTo>
                  <a:lnTo>
                    <a:pt x="1296" y="516"/>
                  </a:lnTo>
                  <a:lnTo>
                    <a:pt x="1290" y="540"/>
                  </a:lnTo>
                  <a:lnTo>
                    <a:pt x="1290" y="552"/>
                  </a:lnTo>
                  <a:lnTo>
                    <a:pt x="1284" y="558"/>
                  </a:lnTo>
                  <a:lnTo>
                    <a:pt x="1290" y="576"/>
                  </a:lnTo>
                  <a:lnTo>
                    <a:pt x="1290" y="600"/>
                  </a:lnTo>
                  <a:lnTo>
                    <a:pt x="1284" y="618"/>
                  </a:lnTo>
                  <a:lnTo>
                    <a:pt x="1290" y="624"/>
                  </a:lnTo>
                  <a:lnTo>
                    <a:pt x="1284" y="630"/>
                  </a:lnTo>
                  <a:lnTo>
                    <a:pt x="1278" y="630"/>
                  </a:lnTo>
                  <a:lnTo>
                    <a:pt x="1272" y="630"/>
                  </a:lnTo>
                  <a:lnTo>
                    <a:pt x="1266" y="636"/>
                  </a:lnTo>
                  <a:lnTo>
                    <a:pt x="1260" y="642"/>
                  </a:lnTo>
                  <a:lnTo>
                    <a:pt x="1260" y="636"/>
                  </a:lnTo>
                  <a:lnTo>
                    <a:pt x="1254" y="636"/>
                  </a:lnTo>
                  <a:lnTo>
                    <a:pt x="1248" y="636"/>
                  </a:lnTo>
                  <a:lnTo>
                    <a:pt x="1248" y="642"/>
                  </a:lnTo>
                  <a:lnTo>
                    <a:pt x="1242" y="642"/>
                  </a:lnTo>
                  <a:lnTo>
                    <a:pt x="1242" y="648"/>
                  </a:lnTo>
                  <a:lnTo>
                    <a:pt x="1236" y="654"/>
                  </a:lnTo>
                  <a:lnTo>
                    <a:pt x="1230" y="654"/>
                  </a:lnTo>
                  <a:lnTo>
                    <a:pt x="1224" y="654"/>
                  </a:lnTo>
                  <a:lnTo>
                    <a:pt x="1218" y="660"/>
                  </a:lnTo>
                  <a:lnTo>
                    <a:pt x="1212" y="660"/>
                  </a:lnTo>
                  <a:lnTo>
                    <a:pt x="1206" y="660"/>
                  </a:lnTo>
                  <a:lnTo>
                    <a:pt x="1200" y="660"/>
                  </a:lnTo>
                  <a:lnTo>
                    <a:pt x="1200" y="666"/>
                  </a:lnTo>
                  <a:lnTo>
                    <a:pt x="1194" y="666"/>
                  </a:lnTo>
                  <a:lnTo>
                    <a:pt x="1188" y="666"/>
                  </a:lnTo>
                  <a:lnTo>
                    <a:pt x="1182" y="672"/>
                  </a:lnTo>
                  <a:lnTo>
                    <a:pt x="1176" y="672"/>
                  </a:lnTo>
                  <a:lnTo>
                    <a:pt x="1170" y="672"/>
                  </a:lnTo>
                  <a:lnTo>
                    <a:pt x="1164" y="678"/>
                  </a:lnTo>
                  <a:lnTo>
                    <a:pt x="1170" y="678"/>
                  </a:lnTo>
                  <a:lnTo>
                    <a:pt x="1164" y="684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52" y="684"/>
                  </a:lnTo>
                  <a:lnTo>
                    <a:pt x="1152" y="690"/>
                  </a:lnTo>
                  <a:lnTo>
                    <a:pt x="1146" y="690"/>
                  </a:lnTo>
                  <a:lnTo>
                    <a:pt x="1140" y="690"/>
                  </a:lnTo>
                  <a:lnTo>
                    <a:pt x="1134" y="696"/>
                  </a:lnTo>
                  <a:lnTo>
                    <a:pt x="1128" y="696"/>
                  </a:lnTo>
                  <a:lnTo>
                    <a:pt x="1122" y="702"/>
                  </a:lnTo>
                  <a:lnTo>
                    <a:pt x="1116" y="702"/>
                  </a:lnTo>
                  <a:lnTo>
                    <a:pt x="1110" y="708"/>
                  </a:lnTo>
                  <a:lnTo>
                    <a:pt x="1104" y="708"/>
                  </a:lnTo>
                  <a:lnTo>
                    <a:pt x="1098" y="708"/>
                  </a:lnTo>
                  <a:lnTo>
                    <a:pt x="1092" y="708"/>
                  </a:lnTo>
                  <a:lnTo>
                    <a:pt x="1092" y="714"/>
                  </a:lnTo>
                  <a:lnTo>
                    <a:pt x="1086" y="720"/>
                  </a:lnTo>
                  <a:lnTo>
                    <a:pt x="1080" y="720"/>
                  </a:lnTo>
                  <a:lnTo>
                    <a:pt x="1074" y="720"/>
                  </a:lnTo>
                  <a:lnTo>
                    <a:pt x="1068" y="720"/>
                  </a:lnTo>
                  <a:lnTo>
                    <a:pt x="1062" y="720"/>
                  </a:lnTo>
                  <a:lnTo>
                    <a:pt x="1050" y="726"/>
                  </a:lnTo>
                  <a:lnTo>
                    <a:pt x="1044" y="726"/>
                  </a:lnTo>
                  <a:lnTo>
                    <a:pt x="1038" y="732"/>
                  </a:lnTo>
                  <a:lnTo>
                    <a:pt x="1026" y="732"/>
                  </a:lnTo>
                  <a:lnTo>
                    <a:pt x="1020" y="732"/>
                  </a:lnTo>
                  <a:lnTo>
                    <a:pt x="1014" y="738"/>
                  </a:lnTo>
                  <a:lnTo>
                    <a:pt x="1008" y="738"/>
                  </a:lnTo>
                  <a:lnTo>
                    <a:pt x="1002" y="738"/>
                  </a:lnTo>
                  <a:lnTo>
                    <a:pt x="996" y="738"/>
                  </a:lnTo>
                  <a:lnTo>
                    <a:pt x="990" y="738"/>
                  </a:lnTo>
                  <a:lnTo>
                    <a:pt x="990" y="732"/>
                  </a:lnTo>
                  <a:lnTo>
                    <a:pt x="984" y="732"/>
                  </a:lnTo>
                  <a:lnTo>
                    <a:pt x="978" y="738"/>
                  </a:lnTo>
                  <a:lnTo>
                    <a:pt x="978" y="744"/>
                  </a:lnTo>
                  <a:lnTo>
                    <a:pt x="984" y="744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8" y="756"/>
                  </a:lnTo>
                  <a:lnTo>
                    <a:pt x="972" y="756"/>
                  </a:lnTo>
                  <a:lnTo>
                    <a:pt x="972" y="762"/>
                  </a:lnTo>
                  <a:lnTo>
                    <a:pt x="966" y="768"/>
                  </a:lnTo>
                  <a:lnTo>
                    <a:pt x="966" y="762"/>
                  </a:lnTo>
                  <a:lnTo>
                    <a:pt x="960" y="762"/>
                  </a:lnTo>
                  <a:lnTo>
                    <a:pt x="954" y="768"/>
                  </a:lnTo>
                  <a:lnTo>
                    <a:pt x="954" y="774"/>
                  </a:lnTo>
                  <a:lnTo>
                    <a:pt x="948" y="774"/>
                  </a:lnTo>
                  <a:lnTo>
                    <a:pt x="948" y="780"/>
                  </a:lnTo>
                  <a:lnTo>
                    <a:pt x="948" y="786"/>
                  </a:lnTo>
                  <a:lnTo>
                    <a:pt x="942" y="786"/>
                  </a:lnTo>
                  <a:lnTo>
                    <a:pt x="942" y="792"/>
                  </a:lnTo>
                  <a:lnTo>
                    <a:pt x="936" y="792"/>
                  </a:lnTo>
                  <a:lnTo>
                    <a:pt x="942" y="798"/>
                  </a:lnTo>
                  <a:lnTo>
                    <a:pt x="942" y="804"/>
                  </a:lnTo>
                  <a:lnTo>
                    <a:pt x="942" y="810"/>
                  </a:lnTo>
                  <a:lnTo>
                    <a:pt x="948" y="810"/>
                  </a:lnTo>
                  <a:lnTo>
                    <a:pt x="942" y="816"/>
                  </a:lnTo>
                  <a:lnTo>
                    <a:pt x="948" y="816"/>
                  </a:lnTo>
                  <a:lnTo>
                    <a:pt x="948" y="822"/>
                  </a:lnTo>
                  <a:lnTo>
                    <a:pt x="954" y="822"/>
                  </a:lnTo>
                  <a:lnTo>
                    <a:pt x="960" y="828"/>
                  </a:lnTo>
                  <a:lnTo>
                    <a:pt x="960" y="834"/>
                  </a:lnTo>
                  <a:lnTo>
                    <a:pt x="966" y="834"/>
                  </a:lnTo>
                  <a:lnTo>
                    <a:pt x="960" y="840"/>
                  </a:lnTo>
                  <a:lnTo>
                    <a:pt x="966" y="846"/>
                  </a:lnTo>
                  <a:lnTo>
                    <a:pt x="966" y="840"/>
                  </a:lnTo>
                  <a:lnTo>
                    <a:pt x="972" y="840"/>
                  </a:lnTo>
                  <a:lnTo>
                    <a:pt x="990" y="840"/>
                  </a:lnTo>
                  <a:lnTo>
                    <a:pt x="1002" y="834"/>
                  </a:lnTo>
                  <a:lnTo>
                    <a:pt x="1020" y="828"/>
                  </a:lnTo>
                  <a:lnTo>
                    <a:pt x="1032" y="828"/>
                  </a:lnTo>
                  <a:lnTo>
                    <a:pt x="1050" y="828"/>
                  </a:lnTo>
                  <a:lnTo>
                    <a:pt x="1062" y="846"/>
                  </a:lnTo>
                  <a:lnTo>
                    <a:pt x="1074" y="876"/>
                  </a:lnTo>
                  <a:lnTo>
                    <a:pt x="1068" y="900"/>
                  </a:lnTo>
                  <a:lnTo>
                    <a:pt x="1074" y="912"/>
                  </a:lnTo>
                  <a:lnTo>
                    <a:pt x="1074" y="936"/>
                  </a:lnTo>
                  <a:lnTo>
                    <a:pt x="1068" y="942"/>
                  </a:lnTo>
                  <a:lnTo>
                    <a:pt x="1062" y="954"/>
                  </a:lnTo>
                  <a:lnTo>
                    <a:pt x="1056" y="978"/>
                  </a:lnTo>
                  <a:lnTo>
                    <a:pt x="1056" y="996"/>
                  </a:lnTo>
                  <a:lnTo>
                    <a:pt x="1068" y="990"/>
                  </a:lnTo>
                  <a:lnTo>
                    <a:pt x="1074" y="990"/>
                  </a:lnTo>
                  <a:lnTo>
                    <a:pt x="1074" y="1008"/>
                  </a:lnTo>
                  <a:lnTo>
                    <a:pt x="1080" y="1008"/>
                  </a:lnTo>
                  <a:lnTo>
                    <a:pt x="1092" y="1014"/>
                  </a:lnTo>
                  <a:lnTo>
                    <a:pt x="1110" y="1044"/>
                  </a:lnTo>
                  <a:lnTo>
                    <a:pt x="1110" y="1062"/>
                  </a:lnTo>
                  <a:lnTo>
                    <a:pt x="1128" y="1068"/>
                  </a:lnTo>
                  <a:lnTo>
                    <a:pt x="1128" y="1092"/>
                  </a:lnTo>
                  <a:lnTo>
                    <a:pt x="1134" y="1098"/>
                  </a:lnTo>
                  <a:lnTo>
                    <a:pt x="1158" y="1122"/>
                  </a:lnTo>
                  <a:lnTo>
                    <a:pt x="1188" y="1122"/>
                  </a:lnTo>
                  <a:lnTo>
                    <a:pt x="1188" y="1128"/>
                  </a:lnTo>
                  <a:lnTo>
                    <a:pt x="1200" y="1134"/>
                  </a:lnTo>
                  <a:lnTo>
                    <a:pt x="1206" y="1134"/>
                  </a:lnTo>
                  <a:lnTo>
                    <a:pt x="1206" y="1128"/>
                  </a:lnTo>
                  <a:lnTo>
                    <a:pt x="1212" y="1128"/>
                  </a:lnTo>
                  <a:lnTo>
                    <a:pt x="1218" y="1128"/>
                  </a:lnTo>
                  <a:lnTo>
                    <a:pt x="1224" y="1122"/>
                  </a:lnTo>
                  <a:lnTo>
                    <a:pt x="1224" y="1128"/>
                  </a:lnTo>
                  <a:lnTo>
                    <a:pt x="1230" y="1128"/>
                  </a:lnTo>
                  <a:lnTo>
                    <a:pt x="1236" y="1128"/>
                  </a:lnTo>
                  <a:lnTo>
                    <a:pt x="1236" y="1122"/>
                  </a:lnTo>
                  <a:lnTo>
                    <a:pt x="1242" y="1122"/>
                  </a:lnTo>
                  <a:lnTo>
                    <a:pt x="1248" y="1128"/>
                  </a:lnTo>
                  <a:lnTo>
                    <a:pt x="1254" y="1128"/>
                  </a:lnTo>
                  <a:lnTo>
                    <a:pt x="1260" y="1134"/>
                  </a:lnTo>
                  <a:lnTo>
                    <a:pt x="1260" y="1140"/>
                  </a:lnTo>
                  <a:lnTo>
                    <a:pt x="1266" y="1140"/>
                  </a:lnTo>
                  <a:lnTo>
                    <a:pt x="1272" y="1140"/>
                  </a:lnTo>
                  <a:lnTo>
                    <a:pt x="1278" y="1140"/>
                  </a:lnTo>
                  <a:lnTo>
                    <a:pt x="1284" y="1140"/>
                  </a:lnTo>
                  <a:lnTo>
                    <a:pt x="1290" y="1146"/>
                  </a:lnTo>
                  <a:lnTo>
                    <a:pt x="1290" y="1152"/>
                  </a:lnTo>
                  <a:lnTo>
                    <a:pt x="1296" y="1146"/>
                  </a:lnTo>
                  <a:lnTo>
                    <a:pt x="1296" y="1152"/>
                  </a:lnTo>
                  <a:lnTo>
                    <a:pt x="1308" y="1152"/>
                  </a:lnTo>
                  <a:lnTo>
                    <a:pt x="1314" y="1152"/>
                  </a:lnTo>
                  <a:lnTo>
                    <a:pt x="1320" y="1152"/>
                  </a:lnTo>
                  <a:lnTo>
                    <a:pt x="1332" y="1152"/>
                  </a:lnTo>
                  <a:lnTo>
                    <a:pt x="1338" y="1152"/>
                  </a:lnTo>
                  <a:lnTo>
                    <a:pt x="1344" y="1152"/>
                  </a:lnTo>
                  <a:lnTo>
                    <a:pt x="1344" y="1158"/>
                  </a:lnTo>
                  <a:lnTo>
                    <a:pt x="1350" y="1158"/>
                  </a:lnTo>
                  <a:lnTo>
                    <a:pt x="1356" y="1158"/>
                  </a:lnTo>
                  <a:lnTo>
                    <a:pt x="1362" y="1158"/>
                  </a:lnTo>
                  <a:lnTo>
                    <a:pt x="1368" y="1158"/>
                  </a:lnTo>
                  <a:lnTo>
                    <a:pt x="1374" y="1164"/>
                  </a:lnTo>
                  <a:lnTo>
                    <a:pt x="1380" y="1164"/>
                  </a:lnTo>
                  <a:lnTo>
                    <a:pt x="1386" y="1170"/>
                  </a:lnTo>
                  <a:lnTo>
                    <a:pt x="1392" y="1170"/>
                  </a:lnTo>
                  <a:lnTo>
                    <a:pt x="1398" y="1164"/>
                  </a:lnTo>
                  <a:lnTo>
                    <a:pt x="1404" y="1164"/>
                  </a:lnTo>
                  <a:lnTo>
                    <a:pt x="1410" y="1164"/>
                  </a:lnTo>
                  <a:lnTo>
                    <a:pt x="1416" y="1164"/>
                  </a:lnTo>
                  <a:lnTo>
                    <a:pt x="1416" y="1170"/>
                  </a:lnTo>
                  <a:lnTo>
                    <a:pt x="1422" y="1176"/>
                  </a:lnTo>
                  <a:lnTo>
                    <a:pt x="1416" y="1176"/>
                  </a:lnTo>
                  <a:lnTo>
                    <a:pt x="1416" y="1182"/>
                  </a:lnTo>
                  <a:lnTo>
                    <a:pt x="1410" y="1188"/>
                  </a:lnTo>
                  <a:lnTo>
                    <a:pt x="1404" y="1194"/>
                  </a:lnTo>
                  <a:lnTo>
                    <a:pt x="1404" y="1200"/>
                  </a:lnTo>
                  <a:lnTo>
                    <a:pt x="1404" y="1206"/>
                  </a:lnTo>
                  <a:lnTo>
                    <a:pt x="1398" y="1212"/>
                  </a:lnTo>
                  <a:lnTo>
                    <a:pt x="1398" y="1206"/>
                  </a:lnTo>
                  <a:lnTo>
                    <a:pt x="1392" y="1206"/>
                  </a:lnTo>
                  <a:lnTo>
                    <a:pt x="1386" y="1206"/>
                  </a:lnTo>
                  <a:lnTo>
                    <a:pt x="1380" y="1212"/>
                  </a:lnTo>
                  <a:lnTo>
                    <a:pt x="1374" y="1212"/>
                  </a:lnTo>
                  <a:lnTo>
                    <a:pt x="1368" y="1218"/>
                  </a:lnTo>
                  <a:lnTo>
                    <a:pt x="1362" y="1218"/>
                  </a:lnTo>
                  <a:lnTo>
                    <a:pt x="1362" y="1224"/>
                  </a:lnTo>
                  <a:lnTo>
                    <a:pt x="1356" y="1230"/>
                  </a:lnTo>
                  <a:lnTo>
                    <a:pt x="1350" y="1230"/>
                  </a:lnTo>
                  <a:lnTo>
                    <a:pt x="1344" y="1236"/>
                  </a:lnTo>
                  <a:lnTo>
                    <a:pt x="1338" y="1230"/>
                  </a:lnTo>
                  <a:lnTo>
                    <a:pt x="1332" y="1230"/>
                  </a:lnTo>
                  <a:lnTo>
                    <a:pt x="1326" y="1230"/>
                  </a:lnTo>
                  <a:lnTo>
                    <a:pt x="1320" y="1230"/>
                  </a:lnTo>
                  <a:lnTo>
                    <a:pt x="1314" y="1230"/>
                  </a:lnTo>
                  <a:lnTo>
                    <a:pt x="1296" y="1242"/>
                  </a:lnTo>
                  <a:lnTo>
                    <a:pt x="1296" y="1248"/>
                  </a:lnTo>
                  <a:lnTo>
                    <a:pt x="1290" y="1248"/>
                  </a:lnTo>
                  <a:lnTo>
                    <a:pt x="1290" y="1260"/>
                  </a:lnTo>
                  <a:lnTo>
                    <a:pt x="1278" y="1272"/>
                  </a:lnTo>
                  <a:lnTo>
                    <a:pt x="1278" y="1278"/>
                  </a:lnTo>
                  <a:lnTo>
                    <a:pt x="1278" y="1284"/>
                  </a:lnTo>
                  <a:lnTo>
                    <a:pt x="1278" y="1290"/>
                  </a:lnTo>
                  <a:lnTo>
                    <a:pt x="1284" y="1296"/>
                  </a:lnTo>
                  <a:lnTo>
                    <a:pt x="1302" y="1302"/>
                  </a:lnTo>
                  <a:lnTo>
                    <a:pt x="1308" y="1308"/>
                  </a:lnTo>
                  <a:lnTo>
                    <a:pt x="1308" y="1314"/>
                  </a:lnTo>
                  <a:lnTo>
                    <a:pt x="1302" y="1320"/>
                  </a:lnTo>
                  <a:lnTo>
                    <a:pt x="1278" y="1314"/>
                  </a:lnTo>
                  <a:lnTo>
                    <a:pt x="1266" y="1308"/>
                  </a:lnTo>
                  <a:lnTo>
                    <a:pt x="1260" y="1296"/>
                  </a:lnTo>
                  <a:lnTo>
                    <a:pt x="1236" y="1296"/>
                  </a:lnTo>
                  <a:lnTo>
                    <a:pt x="1224" y="1308"/>
                  </a:lnTo>
                  <a:lnTo>
                    <a:pt x="1218" y="1308"/>
                  </a:lnTo>
                  <a:lnTo>
                    <a:pt x="1218" y="1302"/>
                  </a:lnTo>
                  <a:lnTo>
                    <a:pt x="1212" y="1302"/>
                  </a:lnTo>
                  <a:lnTo>
                    <a:pt x="1206" y="1302"/>
                  </a:lnTo>
                  <a:lnTo>
                    <a:pt x="1170" y="1314"/>
                  </a:lnTo>
                  <a:lnTo>
                    <a:pt x="1134" y="1296"/>
                  </a:lnTo>
                  <a:lnTo>
                    <a:pt x="1122" y="1290"/>
                  </a:lnTo>
                  <a:lnTo>
                    <a:pt x="1104" y="1290"/>
                  </a:lnTo>
                  <a:lnTo>
                    <a:pt x="1098" y="1278"/>
                  </a:lnTo>
                  <a:lnTo>
                    <a:pt x="1092" y="1242"/>
                  </a:lnTo>
                  <a:lnTo>
                    <a:pt x="1086" y="1242"/>
                  </a:lnTo>
                  <a:lnTo>
                    <a:pt x="1086" y="1248"/>
                  </a:lnTo>
                  <a:lnTo>
                    <a:pt x="1086" y="1254"/>
                  </a:lnTo>
                  <a:lnTo>
                    <a:pt x="1080" y="1254"/>
                  </a:lnTo>
                  <a:lnTo>
                    <a:pt x="1080" y="1260"/>
                  </a:lnTo>
                  <a:lnTo>
                    <a:pt x="1074" y="1260"/>
                  </a:lnTo>
                  <a:lnTo>
                    <a:pt x="1068" y="1236"/>
                  </a:lnTo>
                  <a:lnTo>
                    <a:pt x="1068" y="1206"/>
                  </a:lnTo>
                  <a:lnTo>
                    <a:pt x="1080" y="1194"/>
                  </a:lnTo>
                  <a:lnTo>
                    <a:pt x="1086" y="1194"/>
                  </a:lnTo>
                  <a:lnTo>
                    <a:pt x="1092" y="1200"/>
                  </a:lnTo>
                  <a:lnTo>
                    <a:pt x="1098" y="1206"/>
                  </a:lnTo>
                  <a:lnTo>
                    <a:pt x="1104" y="1200"/>
                  </a:lnTo>
                  <a:lnTo>
                    <a:pt x="1104" y="1194"/>
                  </a:lnTo>
                  <a:lnTo>
                    <a:pt x="1110" y="1194"/>
                  </a:lnTo>
                  <a:lnTo>
                    <a:pt x="1110" y="1188"/>
                  </a:lnTo>
                  <a:lnTo>
                    <a:pt x="1116" y="1182"/>
                  </a:lnTo>
                  <a:lnTo>
                    <a:pt x="1110" y="1182"/>
                  </a:lnTo>
                  <a:lnTo>
                    <a:pt x="1110" y="1170"/>
                  </a:lnTo>
                  <a:lnTo>
                    <a:pt x="1110" y="1158"/>
                  </a:lnTo>
                  <a:lnTo>
                    <a:pt x="1110" y="1152"/>
                  </a:lnTo>
                  <a:lnTo>
                    <a:pt x="1104" y="1146"/>
                  </a:lnTo>
                  <a:lnTo>
                    <a:pt x="1098" y="1140"/>
                  </a:lnTo>
                  <a:lnTo>
                    <a:pt x="1098" y="1134"/>
                  </a:lnTo>
                  <a:lnTo>
                    <a:pt x="1098" y="1128"/>
                  </a:lnTo>
                  <a:lnTo>
                    <a:pt x="1092" y="1128"/>
                  </a:lnTo>
                  <a:lnTo>
                    <a:pt x="1092" y="1122"/>
                  </a:lnTo>
                  <a:lnTo>
                    <a:pt x="1092" y="1116"/>
                  </a:lnTo>
                  <a:lnTo>
                    <a:pt x="1092" y="1110"/>
                  </a:lnTo>
                  <a:lnTo>
                    <a:pt x="1056" y="1122"/>
                  </a:lnTo>
                  <a:lnTo>
                    <a:pt x="1038" y="1128"/>
                  </a:lnTo>
                  <a:lnTo>
                    <a:pt x="1032" y="1128"/>
                  </a:lnTo>
                  <a:lnTo>
                    <a:pt x="1026" y="1128"/>
                  </a:lnTo>
                  <a:lnTo>
                    <a:pt x="1020" y="1128"/>
                  </a:lnTo>
                  <a:lnTo>
                    <a:pt x="1014" y="1128"/>
                  </a:lnTo>
                  <a:lnTo>
                    <a:pt x="1014" y="1122"/>
                  </a:lnTo>
                  <a:lnTo>
                    <a:pt x="1008" y="1122"/>
                  </a:lnTo>
                  <a:lnTo>
                    <a:pt x="1002" y="1128"/>
                  </a:lnTo>
                  <a:lnTo>
                    <a:pt x="1002" y="1134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84" y="1140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66" y="1140"/>
                  </a:lnTo>
                  <a:lnTo>
                    <a:pt x="954" y="1140"/>
                  </a:lnTo>
                  <a:lnTo>
                    <a:pt x="954" y="1134"/>
                  </a:lnTo>
                  <a:lnTo>
                    <a:pt x="948" y="1134"/>
                  </a:lnTo>
                  <a:lnTo>
                    <a:pt x="942" y="1134"/>
                  </a:lnTo>
                  <a:lnTo>
                    <a:pt x="936" y="1134"/>
                  </a:lnTo>
                  <a:lnTo>
                    <a:pt x="930" y="1134"/>
                  </a:lnTo>
                  <a:lnTo>
                    <a:pt x="924" y="1134"/>
                  </a:lnTo>
                  <a:lnTo>
                    <a:pt x="918" y="1134"/>
                  </a:lnTo>
                  <a:lnTo>
                    <a:pt x="918" y="1128"/>
                  </a:lnTo>
                  <a:lnTo>
                    <a:pt x="918" y="1104"/>
                  </a:lnTo>
                  <a:lnTo>
                    <a:pt x="906" y="1104"/>
                  </a:lnTo>
                  <a:lnTo>
                    <a:pt x="900" y="1098"/>
                  </a:lnTo>
                  <a:lnTo>
                    <a:pt x="900" y="1092"/>
                  </a:lnTo>
                  <a:lnTo>
                    <a:pt x="900" y="1086"/>
                  </a:lnTo>
                  <a:lnTo>
                    <a:pt x="900" y="1080"/>
                  </a:lnTo>
                  <a:lnTo>
                    <a:pt x="894" y="1080"/>
                  </a:lnTo>
                  <a:lnTo>
                    <a:pt x="858" y="1074"/>
                  </a:lnTo>
                  <a:lnTo>
                    <a:pt x="852" y="1080"/>
                  </a:lnTo>
                  <a:lnTo>
                    <a:pt x="846" y="1086"/>
                  </a:lnTo>
                  <a:lnTo>
                    <a:pt x="840" y="1086"/>
                  </a:lnTo>
                  <a:lnTo>
                    <a:pt x="840" y="1092"/>
                  </a:lnTo>
                  <a:lnTo>
                    <a:pt x="834" y="1092"/>
                  </a:lnTo>
                  <a:lnTo>
                    <a:pt x="828" y="1098"/>
                  </a:lnTo>
                  <a:lnTo>
                    <a:pt x="822" y="1098"/>
                  </a:lnTo>
                  <a:lnTo>
                    <a:pt x="762" y="1074"/>
                  </a:lnTo>
                  <a:lnTo>
                    <a:pt x="756" y="1068"/>
                  </a:lnTo>
                  <a:lnTo>
                    <a:pt x="750" y="1068"/>
                  </a:lnTo>
                  <a:lnTo>
                    <a:pt x="744" y="1062"/>
                  </a:lnTo>
                  <a:lnTo>
                    <a:pt x="744" y="1068"/>
                  </a:lnTo>
                  <a:lnTo>
                    <a:pt x="744" y="1074"/>
                  </a:lnTo>
                  <a:lnTo>
                    <a:pt x="738" y="1074"/>
                  </a:lnTo>
                  <a:lnTo>
                    <a:pt x="738" y="1068"/>
                  </a:lnTo>
                  <a:lnTo>
                    <a:pt x="732" y="1068"/>
                  </a:lnTo>
                  <a:lnTo>
                    <a:pt x="726" y="1068"/>
                  </a:lnTo>
                  <a:lnTo>
                    <a:pt x="726" y="1074"/>
                  </a:lnTo>
                  <a:lnTo>
                    <a:pt x="720" y="1074"/>
                  </a:lnTo>
                  <a:lnTo>
                    <a:pt x="684" y="106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5" name="Freeform 40">
              <a:extLst>
                <a:ext uri="{FF2B5EF4-FFF2-40B4-BE49-F238E27FC236}">
                  <a16:creationId xmlns:a16="http://schemas.microsoft.com/office/drawing/2014/main" id="{37EC2F22-BDB9-4162-8FA4-08493F6898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3558" y="1520374"/>
              <a:ext cx="1057717" cy="1252440"/>
            </a:xfrm>
            <a:custGeom>
              <a:avLst/>
              <a:gdLst>
                <a:gd name="T0" fmla="*/ 98 w 1992"/>
                <a:gd name="T1" fmla="*/ 162 h 2358"/>
                <a:gd name="T2" fmla="*/ 93 w 1992"/>
                <a:gd name="T3" fmla="*/ 172 h 2358"/>
                <a:gd name="T4" fmla="*/ 82 w 1992"/>
                <a:gd name="T5" fmla="*/ 179 h 2358"/>
                <a:gd name="T6" fmla="*/ 70 w 1992"/>
                <a:gd name="T7" fmla="*/ 174 h 2358"/>
                <a:gd name="T8" fmla="*/ 62 w 1992"/>
                <a:gd name="T9" fmla="*/ 182 h 2358"/>
                <a:gd name="T10" fmla="*/ 45 w 1992"/>
                <a:gd name="T11" fmla="*/ 189 h 2358"/>
                <a:gd name="T12" fmla="*/ 24 w 1992"/>
                <a:gd name="T13" fmla="*/ 205 h 2358"/>
                <a:gd name="T14" fmla="*/ 17 w 1992"/>
                <a:gd name="T15" fmla="*/ 204 h 2358"/>
                <a:gd name="T16" fmla="*/ 7 w 1992"/>
                <a:gd name="T17" fmla="*/ 197 h 2358"/>
                <a:gd name="T18" fmla="*/ 1 w 1992"/>
                <a:gd name="T19" fmla="*/ 191 h 2358"/>
                <a:gd name="T20" fmla="*/ 4 w 1992"/>
                <a:gd name="T21" fmla="*/ 175 h 2358"/>
                <a:gd name="T22" fmla="*/ 7 w 1992"/>
                <a:gd name="T23" fmla="*/ 172 h 2358"/>
                <a:gd name="T24" fmla="*/ 11 w 1992"/>
                <a:gd name="T25" fmla="*/ 168 h 2358"/>
                <a:gd name="T26" fmla="*/ 5 w 1992"/>
                <a:gd name="T27" fmla="*/ 159 h 2358"/>
                <a:gd name="T28" fmla="*/ 10 w 1992"/>
                <a:gd name="T29" fmla="*/ 156 h 2358"/>
                <a:gd name="T30" fmla="*/ 15 w 1992"/>
                <a:gd name="T31" fmla="*/ 155 h 2358"/>
                <a:gd name="T32" fmla="*/ 24 w 1992"/>
                <a:gd name="T33" fmla="*/ 149 h 2358"/>
                <a:gd name="T34" fmla="*/ 38 w 1992"/>
                <a:gd name="T35" fmla="*/ 127 h 2358"/>
                <a:gd name="T36" fmla="*/ 38 w 1992"/>
                <a:gd name="T37" fmla="*/ 107 h 2358"/>
                <a:gd name="T38" fmla="*/ 45 w 1992"/>
                <a:gd name="T39" fmla="*/ 66 h 2358"/>
                <a:gd name="T40" fmla="*/ 47 w 1992"/>
                <a:gd name="T41" fmla="*/ 36 h 2358"/>
                <a:gd name="T42" fmla="*/ 51 w 1992"/>
                <a:gd name="T43" fmla="*/ 35 h 2358"/>
                <a:gd name="T44" fmla="*/ 55 w 1992"/>
                <a:gd name="T45" fmla="*/ 30 h 2358"/>
                <a:gd name="T46" fmla="*/ 56 w 1992"/>
                <a:gd name="T47" fmla="*/ 27 h 2358"/>
                <a:gd name="T48" fmla="*/ 60 w 1992"/>
                <a:gd name="T49" fmla="*/ 23 h 2358"/>
                <a:gd name="T50" fmla="*/ 63 w 1992"/>
                <a:gd name="T51" fmla="*/ 23 h 2358"/>
                <a:gd name="T52" fmla="*/ 70 w 1992"/>
                <a:gd name="T53" fmla="*/ 18 h 2358"/>
                <a:gd name="T54" fmla="*/ 71 w 1992"/>
                <a:gd name="T55" fmla="*/ 15 h 2358"/>
                <a:gd name="T56" fmla="*/ 72 w 1992"/>
                <a:gd name="T57" fmla="*/ 13 h 2358"/>
                <a:gd name="T58" fmla="*/ 77 w 1992"/>
                <a:gd name="T59" fmla="*/ 12 h 2358"/>
                <a:gd name="T60" fmla="*/ 83 w 1992"/>
                <a:gd name="T61" fmla="*/ 10 h 2358"/>
                <a:gd name="T62" fmla="*/ 87 w 1992"/>
                <a:gd name="T63" fmla="*/ 10 h 2358"/>
                <a:gd name="T64" fmla="*/ 89 w 1992"/>
                <a:gd name="T65" fmla="*/ 10 h 2358"/>
                <a:gd name="T66" fmla="*/ 93 w 1992"/>
                <a:gd name="T67" fmla="*/ 8 h 2358"/>
                <a:gd name="T68" fmla="*/ 95 w 1992"/>
                <a:gd name="T69" fmla="*/ 4 h 2358"/>
                <a:gd name="T70" fmla="*/ 99 w 1992"/>
                <a:gd name="T71" fmla="*/ 0 h 2358"/>
                <a:gd name="T72" fmla="*/ 111 w 1992"/>
                <a:gd name="T73" fmla="*/ 0 h 2358"/>
                <a:gd name="T74" fmla="*/ 121 w 1992"/>
                <a:gd name="T75" fmla="*/ 9 h 2358"/>
                <a:gd name="T76" fmla="*/ 128 w 1992"/>
                <a:gd name="T77" fmla="*/ 19 h 2358"/>
                <a:gd name="T78" fmla="*/ 138 w 1992"/>
                <a:gd name="T79" fmla="*/ 33 h 2358"/>
                <a:gd name="T80" fmla="*/ 142 w 1992"/>
                <a:gd name="T81" fmla="*/ 47 h 2358"/>
                <a:gd name="T82" fmla="*/ 145 w 1992"/>
                <a:gd name="T83" fmla="*/ 62 h 2358"/>
                <a:gd name="T84" fmla="*/ 145 w 1992"/>
                <a:gd name="T85" fmla="*/ 70 h 2358"/>
                <a:gd name="T86" fmla="*/ 147 w 1992"/>
                <a:gd name="T87" fmla="*/ 75 h 2358"/>
                <a:gd name="T88" fmla="*/ 153 w 1992"/>
                <a:gd name="T89" fmla="*/ 75 h 2358"/>
                <a:gd name="T90" fmla="*/ 160 w 1992"/>
                <a:gd name="T91" fmla="*/ 76 h 2358"/>
                <a:gd name="T92" fmla="*/ 164 w 1992"/>
                <a:gd name="T93" fmla="*/ 79 h 2358"/>
                <a:gd name="T94" fmla="*/ 168 w 1992"/>
                <a:gd name="T95" fmla="*/ 83 h 2358"/>
                <a:gd name="T96" fmla="*/ 172 w 1992"/>
                <a:gd name="T97" fmla="*/ 86 h 2358"/>
                <a:gd name="T98" fmla="*/ 170 w 1992"/>
                <a:gd name="T99" fmla="*/ 93 h 2358"/>
                <a:gd name="T100" fmla="*/ 170 w 1992"/>
                <a:gd name="T101" fmla="*/ 99 h 2358"/>
                <a:gd name="T102" fmla="*/ 169 w 1992"/>
                <a:gd name="T103" fmla="*/ 106 h 2358"/>
                <a:gd name="T104" fmla="*/ 166 w 1992"/>
                <a:gd name="T105" fmla="*/ 113 h 2358"/>
                <a:gd name="T106" fmla="*/ 170 w 1992"/>
                <a:gd name="T107" fmla="*/ 122 h 2358"/>
                <a:gd name="T108" fmla="*/ 159 w 1992"/>
                <a:gd name="T109" fmla="*/ 128 h 2358"/>
                <a:gd name="T110" fmla="*/ 148 w 1992"/>
                <a:gd name="T111" fmla="*/ 134 h 2358"/>
                <a:gd name="T112" fmla="*/ 139 w 1992"/>
                <a:gd name="T113" fmla="*/ 136 h 2358"/>
                <a:gd name="T114" fmla="*/ 132 w 1992"/>
                <a:gd name="T115" fmla="*/ 138 h 2358"/>
                <a:gd name="T116" fmla="*/ 128 w 1992"/>
                <a:gd name="T117" fmla="*/ 145 h 2358"/>
                <a:gd name="T118" fmla="*/ 124 w 1992"/>
                <a:gd name="T119" fmla="*/ 150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92"/>
                <a:gd name="T181" fmla="*/ 0 h 2358"/>
                <a:gd name="T182" fmla="*/ 1992 w 1992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92" h="2358">
                  <a:moveTo>
                    <a:pt x="1356" y="1782"/>
                  </a:moveTo>
                  <a:lnTo>
                    <a:pt x="1350" y="1788"/>
                  </a:lnTo>
                  <a:lnTo>
                    <a:pt x="1266" y="1788"/>
                  </a:lnTo>
                  <a:lnTo>
                    <a:pt x="1260" y="1800"/>
                  </a:lnTo>
                  <a:lnTo>
                    <a:pt x="1242" y="1806"/>
                  </a:lnTo>
                  <a:lnTo>
                    <a:pt x="1218" y="1812"/>
                  </a:lnTo>
                  <a:lnTo>
                    <a:pt x="1182" y="1812"/>
                  </a:lnTo>
                  <a:lnTo>
                    <a:pt x="1158" y="1806"/>
                  </a:lnTo>
                  <a:lnTo>
                    <a:pt x="1134" y="1800"/>
                  </a:lnTo>
                  <a:lnTo>
                    <a:pt x="1134" y="1806"/>
                  </a:lnTo>
                  <a:lnTo>
                    <a:pt x="1134" y="1830"/>
                  </a:lnTo>
                  <a:lnTo>
                    <a:pt x="1128" y="1842"/>
                  </a:lnTo>
                  <a:lnTo>
                    <a:pt x="1128" y="1854"/>
                  </a:lnTo>
                  <a:lnTo>
                    <a:pt x="1128" y="1860"/>
                  </a:lnTo>
                  <a:lnTo>
                    <a:pt x="1128" y="1866"/>
                  </a:lnTo>
                  <a:lnTo>
                    <a:pt x="1128" y="1872"/>
                  </a:lnTo>
                  <a:lnTo>
                    <a:pt x="1128" y="1884"/>
                  </a:lnTo>
                  <a:lnTo>
                    <a:pt x="1128" y="1890"/>
                  </a:lnTo>
                  <a:lnTo>
                    <a:pt x="1128" y="1896"/>
                  </a:lnTo>
                  <a:lnTo>
                    <a:pt x="1122" y="1902"/>
                  </a:lnTo>
                  <a:lnTo>
                    <a:pt x="1122" y="1920"/>
                  </a:lnTo>
                  <a:lnTo>
                    <a:pt x="1116" y="1920"/>
                  </a:lnTo>
                  <a:lnTo>
                    <a:pt x="1110" y="1926"/>
                  </a:lnTo>
                  <a:lnTo>
                    <a:pt x="1110" y="1932"/>
                  </a:lnTo>
                  <a:lnTo>
                    <a:pt x="1104" y="1938"/>
                  </a:lnTo>
                  <a:lnTo>
                    <a:pt x="1086" y="1962"/>
                  </a:lnTo>
                  <a:lnTo>
                    <a:pt x="1074" y="1974"/>
                  </a:lnTo>
                  <a:lnTo>
                    <a:pt x="1074" y="1980"/>
                  </a:lnTo>
                  <a:lnTo>
                    <a:pt x="1068" y="1986"/>
                  </a:lnTo>
                  <a:lnTo>
                    <a:pt x="1062" y="1998"/>
                  </a:lnTo>
                  <a:lnTo>
                    <a:pt x="1062" y="2004"/>
                  </a:lnTo>
                  <a:lnTo>
                    <a:pt x="1068" y="2004"/>
                  </a:lnTo>
                  <a:lnTo>
                    <a:pt x="1056" y="2034"/>
                  </a:lnTo>
                  <a:lnTo>
                    <a:pt x="1050" y="2076"/>
                  </a:lnTo>
                  <a:lnTo>
                    <a:pt x="1056" y="2100"/>
                  </a:lnTo>
                  <a:lnTo>
                    <a:pt x="1038" y="2106"/>
                  </a:lnTo>
                  <a:lnTo>
                    <a:pt x="1002" y="2106"/>
                  </a:lnTo>
                  <a:lnTo>
                    <a:pt x="978" y="2094"/>
                  </a:lnTo>
                  <a:lnTo>
                    <a:pt x="972" y="2082"/>
                  </a:lnTo>
                  <a:lnTo>
                    <a:pt x="966" y="2070"/>
                  </a:lnTo>
                  <a:lnTo>
                    <a:pt x="954" y="2064"/>
                  </a:lnTo>
                  <a:lnTo>
                    <a:pt x="942" y="2058"/>
                  </a:lnTo>
                  <a:lnTo>
                    <a:pt x="936" y="2058"/>
                  </a:lnTo>
                  <a:lnTo>
                    <a:pt x="918" y="2046"/>
                  </a:lnTo>
                  <a:lnTo>
                    <a:pt x="906" y="2028"/>
                  </a:lnTo>
                  <a:lnTo>
                    <a:pt x="900" y="2022"/>
                  </a:lnTo>
                  <a:lnTo>
                    <a:pt x="894" y="2022"/>
                  </a:lnTo>
                  <a:lnTo>
                    <a:pt x="882" y="2022"/>
                  </a:lnTo>
                  <a:lnTo>
                    <a:pt x="870" y="2016"/>
                  </a:lnTo>
                  <a:lnTo>
                    <a:pt x="864" y="2016"/>
                  </a:lnTo>
                  <a:lnTo>
                    <a:pt x="852" y="2010"/>
                  </a:lnTo>
                  <a:lnTo>
                    <a:pt x="846" y="2004"/>
                  </a:lnTo>
                  <a:lnTo>
                    <a:pt x="840" y="2004"/>
                  </a:lnTo>
                  <a:lnTo>
                    <a:pt x="828" y="1998"/>
                  </a:lnTo>
                  <a:lnTo>
                    <a:pt x="816" y="1998"/>
                  </a:lnTo>
                  <a:lnTo>
                    <a:pt x="810" y="1998"/>
                  </a:lnTo>
                  <a:lnTo>
                    <a:pt x="804" y="1998"/>
                  </a:lnTo>
                  <a:lnTo>
                    <a:pt x="798" y="1998"/>
                  </a:lnTo>
                  <a:lnTo>
                    <a:pt x="792" y="2004"/>
                  </a:lnTo>
                  <a:lnTo>
                    <a:pt x="786" y="2010"/>
                  </a:lnTo>
                  <a:lnTo>
                    <a:pt x="762" y="2010"/>
                  </a:lnTo>
                  <a:lnTo>
                    <a:pt x="756" y="2010"/>
                  </a:lnTo>
                  <a:lnTo>
                    <a:pt x="744" y="2022"/>
                  </a:lnTo>
                  <a:lnTo>
                    <a:pt x="738" y="2034"/>
                  </a:lnTo>
                  <a:lnTo>
                    <a:pt x="732" y="2040"/>
                  </a:lnTo>
                  <a:lnTo>
                    <a:pt x="732" y="2046"/>
                  </a:lnTo>
                  <a:lnTo>
                    <a:pt x="726" y="2058"/>
                  </a:lnTo>
                  <a:lnTo>
                    <a:pt x="720" y="2064"/>
                  </a:lnTo>
                  <a:lnTo>
                    <a:pt x="714" y="2070"/>
                  </a:lnTo>
                  <a:lnTo>
                    <a:pt x="708" y="2088"/>
                  </a:lnTo>
                  <a:lnTo>
                    <a:pt x="702" y="2100"/>
                  </a:lnTo>
                  <a:lnTo>
                    <a:pt x="690" y="2100"/>
                  </a:lnTo>
                  <a:lnTo>
                    <a:pt x="684" y="2094"/>
                  </a:lnTo>
                  <a:lnTo>
                    <a:pt x="666" y="2100"/>
                  </a:lnTo>
                  <a:lnTo>
                    <a:pt x="636" y="2106"/>
                  </a:lnTo>
                  <a:lnTo>
                    <a:pt x="636" y="2112"/>
                  </a:lnTo>
                  <a:lnTo>
                    <a:pt x="636" y="2118"/>
                  </a:lnTo>
                  <a:lnTo>
                    <a:pt x="636" y="2124"/>
                  </a:lnTo>
                  <a:lnTo>
                    <a:pt x="630" y="2124"/>
                  </a:lnTo>
                  <a:lnTo>
                    <a:pt x="630" y="2148"/>
                  </a:lnTo>
                  <a:lnTo>
                    <a:pt x="612" y="2160"/>
                  </a:lnTo>
                  <a:lnTo>
                    <a:pt x="576" y="2172"/>
                  </a:lnTo>
                  <a:lnTo>
                    <a:pt x="546" y="2172"/>
                  </a:lnTo>
                  <a:lnTo>
                    <a:pt x="516" y="2172"/>
                  </a:lnTo>
                  <a:lnTo>
                    <a:pt x="486" y="2172"/>
                  </a:lnTo>
                  <a:lnTo>
                    <a:pt x="462" y="2172"/>
                  </a:lnTo>
                  <a:lnTo>
                    <a:pt x="444" y="2196"/>
                  </a:lnTo>
                  <a:lnTo>
                    <a:pt x="432" y="2232"/>
                  </a:lnTo>
                  <a:lnTo>
                    <a:pt x="408" y="2238"/>
                  </a:lnTo>
                  <a:lnTo>
                    <a:pt x="390" y="2256"/>
                  </a:lnTo>
                  <a:lnTo>
                    <a:pt x="372" y="2274"/>
                  </a:lnTo>
                  <a:lnTo>
                    <a:pt x="360" y="2274"/>
                  </a:lnTo>
                  <a:lnTo>
                    <a:pt x="336" y="2328"/>
                  </a:lnTo>
                  <a:lnTo>
                    <a:pt x="324" y="2340"/>
                  </a:lnTo>
                  <a:lnTo>
                    <a:pt x="300" y="2346"/>
                  </a:lnTo>
                  <a:lnTo>
                    <a:pt x="294" y="2352"/>
                  </a:lnTo>
                  <a:lnTo>
                    <a:pt x="288" y="2352"/>
                  </a:lnTo>
                  <a:lnTo>
                    <a:pt x="282" y="2352"/>
                  </a:lnTo>
                  <a:lnTo>
                    <a:pt x="276" y="2352"/>
                  </a:lnTo>
                  <a:lnTo>
                    <a:pt x="270" y="2352"/>
                  </a:lnTo>
                  <a:lnTo>
                    <a:pt x="270" y="2346"/>
                  </a:lnTo>
                  <a:lnTo>
                    <a:pt x="264" y="2346"/>
                  </a:lnTo>
                  <a:lnTo>
                    <a:pt x="258" y="2352"/>
                  </a:lnTo>
                  <a:lnTo>
                    <a:pt x="252" y="2352"/>
                  </a:lnTo>
                  <a:lnTo>
                    <a:pt x="240" y="2352"/>
                  </a:lnTo>
                  <a:lnTo>
                    <a:pt x="228" y="2352"/>
                  </a:lnTo>
                  <a:lnTo>
                    <a:pt x="222" y="2352"/>
                  </a:lnTo>
                  <a:lnTo>
                    <a:pt x="216" y="2358"/>
                  </a:lnTo>
                  <a:lnTo>
                    <a:pt x="216" y="2352"/>
                  </a:lnTo>
                  <a:lnTo>
                    <a:pt x="210" y="2346"/>
                  </a:lnTo>
                  <a:lnTo>
                    <a:pt x="204" y="2346"/>
                  </a:lnTo>
                  <a:lnTo>
                    <a:pt x="198" y="2340"/>
                  </a:lnTo>
                  <a:lnTo>
                    <a:pt x="192" y="2340"/>
                  </a:lnTo>
                  <a:lnTo>
                    <a:pt x="186" y="2340"/>
                  </a:lnTo>
                  <a:lnTo>
                    <a:pt x="180" y="2340"/>
                  </a:lnTo>
                  <a:lnTo>
                    <a:pt x="174" y="2340"/>
                  </a:lnTo>
                  <a:lnTo>
                    <a:pt x="162" y="2328"/>
                  </a:lnTo>
                  <a:lnTo>
                    <a:pt x="156" y="2322"/>
                  </a:lnTo>
                  <a:lnTo>
                    <a:pt x="156" y="2316"/>
                  </a:lnTo>
                  <a:lnTo>
                    <a:pt x="156" y="2310"/>
                  </a:lnTo>
                  <a:lnTo>
                    <a:pt x="132" y="2286"/>
                  </a:lnTo>
                  <a:lnTo>
                    <a:pt x="120" y="2280"/>
                  </a:lnTo>
                  <a:lnTo>
                    <a:pt x="96" y="2274"/>
                  </a:lnTo>
                  <a:lnTo>
                    <a:pt x="84" y="2268"/>
                  </a:lnTo>
                  <a:lnTo>
                    <a:pt x="78" y="2268"/>
                  </a:lnTo>
                  <a:lnTo>
                    <a:pt x="78" y="2262"/>
                  </a:lnTo>
                  <a:lnTo>
                    <a:pt x="78" y="2256"/>
                  </a:lnTo>
                  <a:lnTo>
                    <a:pt x="78" y="2250"/>
                  </a:lnTo>
                  <a:lnTo>
                    <a:pt x="72" y="2250"/>
                  </a:lnTo>
                  <a:lnTo>
                    <a:pt x="66" y="2250"/>
                  </a:lnTo>
                  <a:lnTo>
                    <a:pt x="60" y="2250"/>
                  </a:lnTo>
                  <a:lnTo>
                    <a:pt x="48" y="2244"/>
                  </a:lnTo>
                  <a:lnTo>
                    <a:pt x="36" y="2238"/>
                  </a:lnTo>
                  <a:lnTo>
                    <a:pt x="36" y="2226"/>
                  </a:lnTo>
                  <a:lnTo>
                    <a:pt x="30" y="2226"/>
                  </a:lnTo>
                  <a:lnTo>
                    <a:pt x="30" y="2220"/>
                  </a:lnTo>
                  <a:lnTo>
                    <a:pt x="24" y="2208"/>
                  </a:lnTo>
                  <a:lnTo>
                    <a:pt x="18" y="2202"/>
                  </a:lnTo>
                  <a:lnTo>
                    <a:pt x="18" y="2196"/>
                  </a:lnTo>
                  <a:lnTo>
                    <a:pt x="12" y="2190"/>
                  </a:lnTo>
                  <a:lnTo>
                    <a:pt x="0" y="2190"/>
                  </a:lnTo>
                  <a:lnTo>
                    <a:pt x="6" y="2184"/>
                  </a:lnTo>
                  <a:lnTo>
                    <a:pt x="12" y="2178"/>
                  </a:lnTo>
                  <a:lnTo>
                    <a:pt x="18" y="2172"/>
                  </a:lnTo>
                  <a:lnTo>
                    <a:pt x="24" y="2166"/>
                  </a:lnTo>
                  <a:lnTo>
                    <a:pt x="30" y="2166"/>
                  </a:lnTo>
                  <a:lnTo>
                    <a:pt x="24" y="2160"/>
                  </a:lnTo>
                  <a:lnTo>
                    <a:pt x="30" y="2160"/>
                  </a:lnTo>
                  <a:lnTo>
                    <a:pt x="36" y="2154"/>
                  </a:lnTo>
                  <a:lnTo>
                    <a:pt x="36" y="2136"/>
                  </a:lnTo>
                  <a:lnTo>
                    <a:pt x="36" y="2118"/>
                  </a:lnTo>
                  <a:lnTo>
                    <a:pt x="48" y="2058"/>
                  </a:lnTo>
                  <a:lnTo>
                    <a:pt x="48" y="2022"/>
                  </a:lnTo>
                  <a:lnTo>
                    <a:pt x="48" y="2016"/>
                  </a:lnTo>
                  <a:lnTo>
                    <a:pt x="48" y="2010"/>
                  </a:lnTo>
                  <a:lnTo>
                    <a:pt x="48" y="2004"/>
                  </a:lnTo>
                  <a:lnTo>
                    <a:pt x="42" y="2004"/>
                  </a:lnTo>
                  <a:lnTo>
                    <a:pt x="42" y="1998"/>
                  </a:lnTo>
                  <a:lnTo>
                    <a:pt x="36" y="1992"/>
                  </a:lnTo>
                  <a:lnTo>
                    <a:pt x="42" y="1992"/>
                  </a:lnTo>
                  <a:lnTo>
                    <a:pt x="42" y="1986"/>
                  </a:lnTo>
                  <a:lnTo>
                    <a:pt x="48" y="1986"/>
                  </a:lnTo>
                  <a:lnTo>
                    <a:pt x="54" y="1986"/>
                  </a:lnTo>
                  <a:lnTo>
                    <a:pt x="60" y="1986"/>
                  </a:lnTo>
                  <a:lnTo>
                    <a:pt x="66" y="1980"/>
                  </a:lnTo>
                  <a:lnTo>
                    <a:pt x="72" y="1974"/>
                  </a:lnTo>
                  <a:lnTo>
                    <a:pt x="78" y="1974"/>
                  </a:lnTo>
                  <a:lnTo>
                    <a:pt x="84" y="1974"/>
                  </a:lnTo>
                  <a:lnTo>
                    <a:pt x="90" y="1974"/>
                  </a:lnTo>
                  <a:lnTo>
                    <a:pt x="96" y="1974"/>
                  </a:lnTo>
                  <a:lnTo>
                    <a:pt x="96" y="1968"/>
                  </a:lnTo>
                  <a:lnTo>
                    <a:pt x="102" y="1968"/>
                  </a:lnTo>
                  <a:lnTo>
                    <a:pt x="102" y="1962"/>
                  </a:lnTo>
                  <a:lnTo>
                    <a:pt x="108" y="1962"/>
                  </a:lnTo>
                  <a:lnTo>
                    <a:pt x="114" y="1956"/>
                  </a:lnTo>
                  <a:lnTo>
                    <a:pt x="120" y="1956"/>
                  </a:lnTo>
                  <a:lnTo>
                    <a:pt x="126" y="1950"/>
                  </a:lnTo>
                  <a:lnTo>
                    <a:pt x="132" y="1950"/>
                  </a:lnTo>
                  <a:lnTo>
                    <a:pt x="132" y="1944"/>
                  </a:lnTo>
                  <a:lnTo>
                    <a:pt x="126" y="1944"/>
                  </a:lnTo>
                  <a:lnTo>
                    <a:pt x="126" y="1938"/>
                  </a:lnTo>
                  <a:lnTo>
                    <a:pt x="126" y="1932"/>
                  </a:lnTo>
                  <a:lnTo>
                    <a:pt x="126" y="1926"/>
                  </a:lnTo>
                  <a:lnTo>
                    <a:pt x="114" y="1914"/>
                  </a:lnTo>
                  <a:lnTo>
                    <a:pt x="114" y="1896"/>
                  </a:lnTo>
                  <a:lnTo>
                    <a:pt x="108" y="1884"/>
                  </a:lnTo>
                  <a:lnTo>
                    <a:pt x="102" y="1872"/>
                  </a:lnTo>
                  <a:lnTo>
                    <a:pt x="96" y="1866"/>
                  </a:lnTo>
                  <a:lnTo>
                    <a:pt x="96" y="1860"/>
                  </a:lnTo>
                  <a:lnTo>
                    <a:pt x="90" y="1860"/>
                  </a:lnTo>
                  <a:lnTo>
                    <a:pt x="90" y="1854"/>
                  </a:lnTo>
                  <a:lnTo>
                    <a:pt x="84" y="1848"/>
                  </a:lnTo>
                  <a:lnTo>
                    <a:pt x="78" y="1842"/>
                  </a:lnTo>
                  <a:lnTo>
                    <a:pt x="72" y="1836"/>
                  </a:lnTo>
                  <a:lnTo>
                    <a:pt x="66" y="1830"/>
                  </a:lnTo>
                  <a:lnTo>
                    <a:pt x="60" y="1824"/>
                  </a:lnTo>
                  <a:lnTo>
                    <a:pt x="54" y="1824"/>
                  </a:lnTo>
                  <a:lnTo>
                    <a:pt x="48" y="1824"/>
                  </a:lnTo>
                  <a:lnTo>
                    <a:pt x="42" y="1818"/>
                  </a:lnTo>
                  <a:lnTo>
                    <a:pt x="54" y="1818"/>
                  </a:lnTo>
                  <a:lnTo>
                    <a:pt x="60" y="1812"/>
                  </a:lnTo>
                  <a:lnTo>
                    <a:pt x="66" y="1812"/>
                  </a:lnTo>
                  <a:lnTo>
                    <a:pt x="72" y="1812"/>
                  </a:lnTo>
                  <a:lnTo>
                    <a:pt x="78" y="1812"/>
                  </a:lnTo>
                  <a:lnTo>
                    <a:pt x="84" y="1812"/>
                  </a:lnTo>
                  <a:lnTo>
                    <a:pt x="90" y="1806"/>
                  </a:lnTo>
                  <a:lnTo>
                    <a:pt x="96" y="1800"/>
                  </a:lnTo>
                  <a:lnTo>
                    <a:pt x="102" y="1806"/>
                  </a:lnTo>
                  <a:lnTo>
                    <a:pt x="108" y="1800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26" y="1788"/>
                  </a:lnTo>
                  <a:lnTo>
                    <a:pt x="126" y="1794"/>
                  </a:lnTo>
                  <a:lnTo>
                    <a:pt x="132" y="1794"/>
                  </a:lnTo>
                  <a:lnTo>
                    <a:pt x="132" y="1788"/>
                  </a:lnTo>
                  <a:lnTo>
                    <a:pt x="138" y="1788"/>
                  </a:lnTo>
                  <a:lnTo>
                    <a:pt x="138" y="1782"/>
                  </a:lnTo>
                  <a:lnTo>
                    <a:pt x="144" y="1782"/>
                  </a:lnTo>
                  <a:lnTo>
                    <a:pt x="150" y="1776"/>
                  </a:lnTo>
                  <a:lnTo>
                    <a:pt x="156" y="1782"/>
                  </a:lnTo>
                  <a:lnTo>
                    <a:pt x="162" y="1776"/>
                  </a:lnTo>
                  <a:lnTo>
                    <a:pt x="168" y="1776"/>
                  </a:lnTo>
                  <a:lnTo>
                    <a:pt x="180" y="1776"/>
                  </a:lnTo>
                  <a:lnTo>
                    <a:pt x="186" y="1776"/>
                  </a:lnTo>
                  <a:lnTo>
                    <a:pt x="186" y="1782"/>
                  </a:lnTo>
                  <a:lnTo>
                    <a:pt x="192" y="1776"/>
                  </a:lnTo>
                  <a:lnTo>
                    <a:pt x="198" y="1776"/>
                  </a:lnTo>
                  <a:lnTo>
                    <a:pt x="204" y="1770"/>
                  </a:lnTo>
                  <a:lnTo>
                    <a:pt x="204" y="1764"/>
                  </a:lnTo>
                  <a:lnTo>
                    <a:pt x="210" y="1764"/>
                  </a:lnTo>
                  <a:lnTo>
                    <a:pt x="216" y="1764"/>
                  </a:lnTo>
                  <a:lnTo>
                    <a:pt x="216" y="1758"/>
                  </a:lnTo>
                  <a:lnTo>
                    <a:pt x="222" y="1758"/>
                  </a:lnTo>
                  <a:lnTo>
                    <a:pt x="228" y="1758"/>
                  </a:lnTo>
                  <a:lnTo>
                    <a:pt x="258" y="1746"/>
                  </a:lnTo>
                  <a:lnTo>
                    <a:pt x="282" y="1716"/>
                  </a:lnTo>
                  <a:lnTo>
                    <a:pt x="300" y="1698"/>
                  </a:lnTo>
                  <a:lnTo>
                    <a:pt x="312" y="1698"/>
                  </a:lnTo>
                  <a:lnTo>
                    <a:pt x="336" y="1698"/>
                  </a:lnTo>
                  <a:lnTo>
                    <a:pt x="360" y="1698"/>
                  </a:lnTo>
                  <a:lnTo>
                    <a:pt x="372" y="1692"/>
                  </a:lnTo>
                  <a:lnTo>
                    <a:pt x="384" y="1692"/>
                  </a:lnTo>
                  <a:lnTo>
                    <a:pt x="360" y="1668"/>
                  </a:lnTo>
                  <a:lnTo>
                    <a:pt x="348" y="1626"/>
                  </a:lnTo>
                  <a:lnTo>
                    <a:pt x="354" y="1578"/>
                  </a:lnTo>
                  <a:lnTo>
                    <a:pt x="354" y="1572"/>
                  </a:lnTo>
                  <a:lnTo>
                    <a:pt x="360" y="1572"/>
                  </a:lnTo>
                  <a:lnTo>
                    <a:pt x="396" y="1530"/>
                  </a:lnTo>
                  <a:lnTo>
                    <a:pt x="408" y="1482"/>
                  </a:lnTo>
                  <a:lnTo>
                    <a:pt x="438" y="1458"/>
                  </a:lnTo>
                  <a:lnTo>
                    <a:pt x="468" y="1422"/>
                  </a:lnTo>
                  <a:lnTo>
                    <a:pt x="480" y="1410"/>
                  </a:lnTo>
                  <a:lnTo>
                    <a:pt x="474" y="1386"/>
                  </a:lnTo>
                  <a:lnTo>
                    <a:pt x="456" y="1356"/>
                  </a:lnTo>
                  <a:lnTo>
                    <a:pt x="438" y="1350"/>
                  </a:lnTo>
                  <a:lnTo>
                    <a:pt x="420" y="1350"/>
                  </a:lnTo>
                  <a:lnTo>
                    <a:pt x="402" y="1350"/>
                  </a:lnTo>
                  <a:lnTo>
                    <a:pt x="390" y="1344"/>
                  </a:lnTo>
                  <a:lnTo>
                    <a:pt x="390" y="1332"/>
                  </a:lnTo>
                  <a:lnTo>
                    <a:pt x="402" y="1296"/>
                  </a:lnTo>
                  <a:lnTo>
                    <a:pt x="414" y="1260"/>
                  </a:lnTo>
                  <a:lnTo>
                    <a:pt x="426" y="1248"/>
                  </a:lnTo>
                  <a:lnTo>
                    <a:pt x="438" y="1242"/>
                  </a:lnTo>
                  <a:lnTo>
                    <a:pt x="432" y="1230"/>
                  </a:lnTo>
                  <a:lnTo>
                    <a:pt x="432" y="1224"/>
                  </a:lnTo>
                  <a:lnTo>
                    <a:pt x="426" y="1218"/>
                  </a:lnTo>
                  <a:lnTo>
                    <a:pt x="426" y="1206"/>
                  </a:lnTo>
                  <a:lnTo>
                    <a:pt x="426" y="1200"/>
                  </a:lnTo>
                  <a:lnTo>
                    <a:pt x="432" y="1194"/>
                  </a:lnTo>
                  <a:lnTo>
                    <a:pt x="426" y="1188"/>
                  </a:lnTo>
                  <a:lnTo>
                    <a:pt x="432" y="1104"/>
                  </a:lnTo>
                  <a:lnTo>
                    <a:pt x="438" y="1086"/>
                  </a:lnTo>
                  <a:lnTo>
                    <a:pt x="462" y="972"/>
                  </a:lnTo>
                  <a:lnTo>
                    <a:pt x="456" y="900"/>
                  </a:lnTo>
                  <a:lnTo>
                    <a:pt x="444" y="846"/>
                  </a:lnTo>
                  <a:lnTo>
                    <a:pt x="456" y="810"/>
                  </a:lnTo>
                  <a:lnTo>
                    <a:pt x="492" y="786"/>
                  </a:lnTo>
                  <a:lnTo>
                    <a:pt x="522" y="762"/>
                  </a:lnTo>
                  <a:lnTo>
                    <a:pt x="546" y="732"/>
                  </a:lnTo>
                  <a:lnTo>
                    <a:pt x="570" y="696"/>
                  </a:lnTo>
                  <a:lnTo>
                    <a:pt x="582" y="654"/>
                  </a:lnTo>
                  <a:lnTo>
                    <a:pt x="564" y="642"/>
                  </a:lnTo>
                  <a:lnTo>
                    <a:pt x="522" y="588"/>
                  </a:lnTo>
                  <a:lnTo>
                    <a:pt x="516" y="546"/>
                  </a:lnTo>
                  <a:lnTo>
                    <a:pt x="510" y="474"/>
                  </a:lnTo>
                  <a:lnTo>
                    <a:pt x="510" y="450"/>
                  </a:lnTo>
                  <a:lnTo>
                    <a:pt x="510" y="444"/>
                  </a:lnTo>
                  <a:lnTo>
                    <a:pt x="522" y="438"/>
                  </a:lnTo>
                  <a:lnTo>
                    <a:pt x="522" y="432"/>
                  </a:lnTo>
                  <a:lnTo>
                    <a:pt x="528" y="426"/>
                  </a:lnTo>
                  <a:lnTo>
                    <a:pt x="534" y="420"/>
                  </a:lnTo>
                  <a:lnTo>
                    <a:pt x="540" y="414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08"/>
                  </a:lnTo>
                  <a:lnTo>
                    <a:pt x="546" y="408"/>
                  </a:lnTo>
                  <a:lnTo>
                    <a:pt x="558" y="414"/>
                  </a:lnTo>
                  <a:lnTo>
                    <a:pt x="564" y="414"/>
                  </a:lnTo>
                  <a:lnTo>
                    <a:pt x="570" y="414"/>
                  </a:lnTo>
                  <a:lnTo>
                    <a:pt x="582" y="414"/>
                  </a:lnTo>
                  <a:lnTo>
                    <a:pt x="582" y="420"/>
                  </a:lnTo>
                  <a:lnTo>
                    <a:pt x="588" y="414"/>
                  </a:lnTo>
                  <a:lnTo>
                    <a:pt x="582" y="408"/>
                  </a:lnTo>
                  <a:lnTo>
                    <a:pt x="588" y="402"/>
                  </a:lnTo>
                  <a:lnTo>
                    <a:pt x="594" y="402"/>
                  </a:lnTo>
                  <a:lnTo>
                    <a:pt x="594" y="396"/>
                  </a:lnTo>
                  <a:lnTo>
                    <a:pt x="594" y="390"/>
                  </a:lnTo>
                  <a:lnTo>
                    <a:pt x="594" y="384"/>
                  </a:lnTo>
                  <a:lnTo>
                    <a:pt x="594" y="378"/>
                  </a:lnTo>
                  <a:lnTo>
                    <a:pt x="600" y="366"/>
                  </a:lnTo>
                  <a:lnTo>
                    <a:pt x="606" y="366"/>
                  </a:lnTo>
                  <a:lnTo>
                    <a:pt x="612" y="360"/>
                  </a:lnTo>
                  <a:lnTo>
                    <a:pt x="612" y="366"/>
                  </a:lnTo>
                  <a:lnTo>
                    <a:pt x="618" y="366"/>
                  </a:lnTo>
                  <a:lnTo>
                    <a:pt x="624" y="366"/>
                  </a:lnTo>
                  <a:lnTo>
                    <a:pt x="630" y="360"/>
                  </a:lnTo>
                  <a:lnTo>
                    <a:pt x="636" y="354"/>
                  </a:lnTo>
                  <a:lnTo>
                    <a:pt x="630" y="354"/>
                  </a:lnTo>
                  <a:lnTo>
                    <a:pt x="630" y="348"/>
                  </a:lnTo>
                  <a:lnTo>
                    <a:pt x="630" y="342"/>
                  </a:lnTo>
                  <a:lnTo>
                    <a:pt x="636" y="342"/>
                  </a:lnTo>
                  <a:lnTo>
                    <a:pt x="642" y="336"/>
                  </a:lnTo>
                  <a:lnTo>
                    <a:pt x="636" y="330"/>
                  </a:lnTo>
                  <a:lnTo>
                    <a:pt x="630" y="336"/>
                  </a:lnTo>
                  <a:lnTo>
                    <a:pt x="624" y="336"/>
                  </a:lnTo>
                  <a:lnTo>
                    <a:pt x="624" y="330"/>
                  </a:lnTo>
                  <a:lnTo>
                    <a:pt x="624" y="324"/>
                  </a:lnTo>
                  <a:lnTo>
                    <a:pt x="618" y="324"/>
                  </a:lnTo>
                  <a:lnTo>
                    <a:pt x="624" y="324"/>
                  </a:lnTo>
                  <a:lnTo>
                    <a:pt x="630" y="330"/>
                  </a:lnTo>
                  <a:lnTo>
                    <a:pt x="630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2" y="306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8" y="288"/>
                  </a:lnTo>
                  <a:lnTo>
                    <a:pt x="648" y="282"/>
                  </a:lnTo>
                  <a:lnTo>
                    <a:pt x="654" y="288"/>
                  </a:lnTo>
                  <a:lnTo>
                    <a:pt x="654" y="282"/>
                  </a:lnTo>
                  <a:lnTo>
                    <a:pt x="660" y="282"/>
                  </a:lnTo>
                  <a:lnTo>
                    <a:pt x="666" y="282"/>
                  </a:lnTo>
                  <a:lnTo>
                    <a:pt x="672" y="282"/>
                  </a:lnTo>
                  <a:lnTo>
                    <a:pt x="678" y="282"/>
                  </a:lnTo>
                  <a:lnTo>
                    <a:pt x="684" y="276"/>
                  </a:lnTo>
                  <a:lnTo>
                    <a:pt x="690" y="270"/>
                  </a:lnTo>
                  <a:lnTo>
                    <a:pt x="690" y="264"/>
                  </a:lnTo>
                  <a:lnTo>
                    <a:pt x="690" y="270"/>
                  </a:lnTo>
                  <a:lnTo>
                    <a:pt x="690" y="276"/>
                  </a:lnTo>
                  <a:lnTo>
                    <a:pt x="696" y="276"/>
                  </a:lnTo>
                  <a:lnTo>
                    <a:pt x="702" y="276"/>
                  </a:lnTo>
                  <a:lnTo>
                    <a:pt x="702" y="282"/>
                  </a:lnTo>
                  <a:lnTo>
                    <a:pt x="708" y="282"/>
                  </a:lnTo>
                  <a:lnTo>
                    <a:pt x="720" y="270"/>
                  </a:lnTo>
                  <a:lnTo>
                    <a:pt x="720" y="264"/>
                  </a:lnTo>
                  <a:lnTo>
                    <a:pt x="720" y="258"/>
                  </a:lnTo>
                  <a:lnTo>
                    <a:pt x="726" y="258"/>
                  </a:lnTo>
                  <a:lnTo>
                    <a:pt x="732" y="258"/>
                  </a:lnTo>
                  <a:lnTo>
                    <a:pt x="732" y="264"/>
                  </a:lnTo>
                  <a:lnTo>
                    <a:pt x="738" y="264"/>
                  </a:lnTo>
                  <a:lnTo>
                    <a:pt x="738" y="258"/>
                  </a:lnTo>
                  <a:lnTo>
                    <a:pt x="732" y="258"/>
                  </a:lnTo>
                  <a:lnTo>
                    <a:pt x="732" y="252"/>
                  </a:lnTo>
                  <a:lnTo>
                    <a:pt x="744" y="252"/>
                  </a:lnTo>
                  <a:lnTo>
                    <a:pt x="750" y="252"/>
                  </a:lnTo>
                  <a:lnTo>
                    <a:pt x="750" y="246"/>
                  </a:lnTo>
                  <a:lnTo>
                    <a:pt x="750" y="240"/>
                  </a:lnTo>
                  <a:lnTo>
                    <a:pt x="762" y="234"/>
                  </a:lnTo>
                  <a:lnTo>
                    <a:pt x="768" y="234"/>
                  </a:lnTo>
                  <a:lnTo>
                    <a:pt x="774" y="234"/>
                  </a:lnTo>
                  <a:lnTo>
                    <a:pt x="780" y="228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16"/>
                  </a:lnTo>
                  <a:lnTo>
                    <a:pt x="792" y="210"/>
                  </a:lnTo>
                  <a:lnTo>
                    <a:pt x="804" y="204"/>
                  </a:lnTo>
                  <a:lnTo>
                    <a:pt x="804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0" y="192"/>
                  </a:lnTo>
                  <a:lnTo>
                    <a:pt x="798" y="186"/>
                  </a:lnTo>
                  <a:lnTo>
                    <a:pt x="810" y="186"/>
                  </a:lnTo>
                  <a:lnTo>
                    <a:pt x="810" y="180"/>
                  </a:lnTo>
                  <a:lnTo>
                    <a:pt x="810" y="186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0" y="180"/>
                  </a:lnTo>
                  <a:lnTo>
                    <a:pt x="816" y="174"/>
                  </a:lnTo>
                  <a:lnTo>
                    <a:pt x="822" y="174"/>
                  </a:lnTo>
                  <a:lnTo>
                    <a:pt x="822" y="180"/>
                  </a:lnTo>
                  <a:lnTo>
                    <a:pt x="828" y="180"/>
                  </a:lnTo>
                  <a:lnTo>
                    <a:pt x="828" y="174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62"/>
                  </a:lnTo>
                  <a:lnTo>
                    <a:pt x="828" y="156"/>
                  </a:lnTo>
                  <a:lnTo>
                    <a:pt x="822" y="156"/>
                  </a:lnTo>
                  <a:lnTo>
                    <a:pt x="828" y="156"/>
                  </a:lnTo>
                  <a:lnTo>
                    <a:pt x="828" y="150"/>
                  </a:lnTo>
                  <a:lnTo>
                    <a:pt x="834" y="150"/>
                  </a:lnTo>
                  <a:lnTo>
                    <a:pt x="840" y="156"/>
                  </a:lnTo>
                  <a:lnTo>
                    <a:pt x="840" y="150"/>
                  </a:lnTo>
                  <a:lnTo>
                    <a:pt x="834" y="150"/>
                  </a:lnTo>
                  <a:lnTo>
                    <a:pt x="834" y="144"/>
                  </a:lnTo>
                  <a:lnTo>
                    <a:pt x="840" y="138"/>
                  </a:lnTo>
                  <a:lnTo>
                    <a:pt x="846" y="144"/>
                  </a:lnTo>
                  <a:lnTo>
                    <a:pt x="846" y="150"/>
                  </a:lnTo>
                  <a:lnTo>
                    <a:pt x="852" y="150"/>
                  </a:lnTo>
                  <a:lnTo>
                    <a:pt x="858" y="150"/>
                  </a:lnTo>
                  <a:lnTo>
                    <a:pt x="870" y="150"/>
                  </a:lnTo>
                  <a:lnTo>
                    <a:pt x="870" y="144"/>
                  </a:lnTo>
                  <a:lnTo>
                    <a:pt x="876" y="138"/>
                  </a:lnTo>
                  <a:lnTo>
                    <a:pt x="882" y="138"/>
                  </a:lnTo>
                  <a:lnTo>
                    <a:pt x="888" y="132"/>
                  </a:lnTo>
                  <a:lnTo>
                    <a:pt x="888" y="138"/>
                  </a:lnTo>
                  <a:lnTo>
                    <a:pt x="894" y="138"/>
                  </a:lnTo>
                  <a:lnTo>
                    <a:pt x="894" y="132"/>
                  </a:lnTo>
                  <a:lnTo>
                    <a:pt x="900" y="126"/>
                  </a:lnTo>
                  <a:lnTo>
                    <a:pt x="900" y="132"/>
                  </a:lnTo>
                  <a:lnTo>
                    <a:pt x="906" y="132"/>
                  </a:lnTo>
                  <a:lnTo>
                    <a:pt x="912" y="132"/>
                  </a:lnTo>
                  <a:lnTo>
                    <a:pt x="918" y="126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24" y="126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8" y="120"/>
                  </a:lnTo>
                  <a:lnTo>
                    <a:pt x="948" y="114"/>
                  </a:lnTo>
                  <a:lnTo>
                    <a:pt x="948" y="108"/>
                  </a:lnTo>
                  <a:lnTo>
                    <a:pt x="954" y="114"/>
                  </a:lnTo>
                  <a:lnTo>
                    <a:pt x="960" y="108"/>
                  </a:lnTo>
                  <a:lnTo>
                    <a:pt x="966" y="108"/>
                  </a:lnTo>
                  <a:lnTo>
                    <a:pt x="972" y="108"/>
                  </a:lnTo>
                  <a:lnTo>
                    <a:pt x="966" y="114"/>
                  </a:lnTo>
                  <a:lnTo>
                    <a:pt x="960" y="114"/>
                  </a:lnTo>
                  <a:lnTo>
                    <a:pt x="960" y="120"/>
                  </a:lnTo>
                  <a:lnTo>
                    <a:pt x="966" y="126"/>
                  </a:lnTo>
                  <a:lnTo>
                    <a:pt x="972" y="126"/>
                  </a:lnTo>
                  <a:lnTo>
                    <a:pt x="978" y="126"/>
                  </a:lnTo>
                  <a:lnTo>
                    <a:pt x="984" y="120"/>
                  </a:lnTo>
                  <a:lnTo>
                    <a:pt x="984" y="114"/>
                  </a:lnTo>
                  <a:lnTo>
                    <a:pt x="996" y="126"/>
                  </a:lnTo>
                  <a:lnTo>
                    <a:pt x="996" y="120"/>
                  </a:lnTo>
                  <a:lnTo>
                    <a:pt x="1002" y="120"/>
                  </a:lnTo>
                  <a:lnTo>
                    <a:pt x="996" y="114"/>
                  </a:lnTo>
                  <a:lnTo>
                    <a:pt x="1002" y="114"/>
                  </a:lnTo>
                  <a:lnTo>
                    <a:pt x="1008" y="114"/>
                  </a:lnTo>
                  <a:lnTo>
                    <a:pt x="1008" y="108"/>
                  </a:lnTo>
                  <a:lnTo>
                    <a:pt x="1014" y="108"/>
                  </a:lnTo>
                  <a:lnTo>
                    <a:pt x="1008" y="114"/>
                  </a:lnTo>
                  <a:lnTo>
                    <a:pt x="1008" y="120"/>
                  </a:lnTo>
                  <a:lnTo>
                    <a:pt x="1008" y="126"/>
                  </a:lnTo>
                  <a:lnTo>
                    <a:pt x="1014" y="126"/>
                  </a:lnTo>
                  <a:lnTo>
                    <a:pt x="1014" y="132"/>
                  </a:lnTo>
                  <a:lnTo>
                    <a:pt x="1020" y="132"/>
                  </a:lnTo>
                  <a:lnTo>
                    <a:pt x="1020" y="126"/>
                  </a:lnTo>
                  <a:lnTo>
                    <a:pt x="1020" y="120"/>
                  </a:lnTo>
                  <a:lnTo>
                    <a:pt x="1032" y="120"/>
                  </a:lnTo>
                  <a:lnTo>
                    <a:pt x="1038" y="120"/>
                  </a:lnTo>
                  <a:lnTo>
                    <a:pt x="1038" y="126"/>
                  </a:lnTo>
                  <a:lnTo>
                    <a:pt x="1044" y="132"/>
                  </a:lnTo>
                  <a:lnTo>
                    <a:pt x="1044" y="126"/>
                  </a:lnTo>
                  <a:lnTo>
                    <a:pt x="1050" y="120"/>
                  </a:lnTo>
                  <a:lnTo>
                    <a:pt x="1050" y="114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68" y="102"/>
                  </a:lnTo>
                  <a:lnTo>
                    <a:pt x="1074" y="96"/>
                  </a:lnTo>
                  <a:lnTo>
                    <a:pt x="1074" y="90"/>
                  </a:lnTo>
                  <a:lnTo>
                    <a:pt x="1068" y="90"/>
                  </a:lnTo>
                  <a:lnTo>
                    <a:pt x="1068" y="84"/>
                  </a:lnTo>
                  <a:lnTo>
                    <a:pt x="1080" y="84"/>
                  </a:lnTo>
                  <a:lnTo>
                    <a:pt x="1086" y="78"/>
                  </a:lnTo>
                  <a:lnTo>
                    <a:pt x="1086" y="72"/>
                  </a:lnTo>
                  <a:lnTo>
                    <a:pt x="1080" y="78"/>
                  </a:lnTo>
                  <a:lnTo>
                    <a:pt x="1080" y="72"/>
                  </a:lnTo>
                  <a:lnTo>
                    <a:pt x="1080" y="66"/>
                  </a:lnTo>
                  <a:lnTo>
                    <a:pt x="1074" y="66"/>
                  </a:lnTo>
                  <a:lnTo>
                    <a:pt x="1080" y="66"/>
                  </a:lnTo>
                  <a:lnTo>
                    <a:pt x="1080" y="60"/>
                  </a:lnTo>
                  <a:lnTo>
                    <a:pt x="1086" y="60"/>
                  </a:lnTo>
                  <a:lnTo>
                    <a:pt x="1086" y="54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2" y="42"/>
                  </a:lnTo>
                  <a:lnTo>
                    <a:pt x="1098" y="42"/>
                  </a:lnTo>
                  <a:lnTo>
                    <a:pt x="1104" y="36"/>
                  </a:lnTo>
                  <a:lnTo>
                    <a:pt x="1110" y="36"/>
                  </a:lnTo>
                  <a:lnTo>
                    <a:pt x="1110" y="30"/>
                  </a:lnTo>
                  <a:lnTo>
                    <a:pt x="1110" y="24"/>
                  </a:lnTo>
                  <a:lnTo>
                    <a:pt x="1116" y="24"/>
                  </a:lnTo>
                  <a:lnTo>
                    <a:pt x="1116" y="18"/>
                  </a:lnTo>
                  <a:lnTo>
                    <a:pt x="1122" y="18"/>
                  </a:lnTo>
                  <a:lnTo>
                    <a:pt x="1128" y="18"/>
                  </a:lnTo>
                  <a:lnTo>
                    <a:pt x="1134" y="12"/>
                  </a:lnTo>
                  <a:lnTo>
                    <a:pt x="1134" y="6"/>
                  </a:lnTo>
                  <a:lnTo>
                    <a:pt x="1140" y="6"/>
                  </a:lnTo>
                  <a:lnTo>
                    <a:pt x="1146" y="0"/>
                  </a:lnTo>
                  <a:lnTo>
                    <a:pt x="1152" y="0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70" y="0"/>
                  </a:lnTo>
                  <a:lnTo>
                    <a:pt x="1176" y="6"/>
                  </a:lnTo>
                  <a:lnTo>
                    <a:pt x="1182" y="6"/>
                  </a:lnTo>
                  <a:lnTo>
                    <a:pt x="1194" y="6"/>
                  </a:lnTo>
                  <a:lnTo>
                    <a:pt x="1200" y="6"/>
                  </a:lnTo>
                  <a:lnTo>
                    <a:pt x="1212" y="0"/>
                  </a:lnTo>
                  <a:lnTo>
                    <a:pt x="1212" y="6"/>
                  </a:lnTo>
                  <a:lnTo>
                    <a:pt x="1218" y="6"/>
                  </a:lnTo>
                  <a:lnTo>
                    <a:pt x="1266" y="6"/>
                  </a:lnTo>
                  <a:lnTo>
                    <a:pt x="1272" y="0"/>
                  </a:lnTo>
                  <a:lnTo>
                    <a:pt x="1278" y="6"/>
                  </a:lnTo>
                  <a:lnTo>
                    <a:pt x="1290" y="6"/>
                  </a:lnTo>
                  <a:lnTo>
                    <a:pt x="1296" y="6"/>
                  </a:lnTo>
                  <a:lnTo>
                    <a:pt x="1308" y="6"/>
                  </a:lnTo>
                  <a:lnTo>
                    <a:pt x="1314" y="6"/>
                  </a:lnTo>
                  <a:lnTo>
                    <a:pt x="1320" y="6"/>
                  </a:lnTo>
                  <a:lnTo>
                    <a:pt x="1326" y="12"/>
                  </a:lnTo>
                  <a:lnTo>
                    <a:pt x="1338" y="30"/>
                  </a:lnTo>
                  <a:lnTo>
                    <a:pt x="1344" y="36"/>
                  </a:lnTo>
                  <a:lnTo>
                    <a:pt x="1356" y="48"/>
                  </a:lnTo>
                  <a:lnTo>
                    <a:pt x="1362" y="60"/>
                  </a:lnTo>
                  <a:lnTo>
                    <a:pt x="1368" y="66"/>
                  </a:lnTo>
                  <a:lnTo>
                    <a:pt x="1374" y="72"/>
                  </a:lnTo>
                  <a:lnTo>
                    <a:pt x="1374" y="78"/>
                  </a:lnTo>
                  <a:lnTo>
                    <a:pt x="1398" y="108"/>
                  </a:lnTo>
                  <a:lnTo>
                    <a:pt x="1398" y="114"/>
                  </a:lnTo>
                  <a:lnTo>
                    <a:pt x="1404" y="114"/>
                  </a:lnTo>
                  <a:lnTo>
                    <a:pt x="1404" y="120"/>
                  </a:lnTo>
                  <a:lnTo>
                    <a:pt x="1410" y="132"/>
                  </a:lnTo>
                  <a:lnTo>
                    <a:pt x="1416" y="132"/>
                  </a:lnTo>
                  <a:lnTo>
                    <a:pt x="1416" y="138"/>
                  </a:lnTo>
                  <a:lnTo>
                    <a:pt x="1422" y="144"/>
                  </a:lnTo>
                  <a:lnTo>
                    <a:pt x="1428" y="150"/>
                  </a:lnTo>
                  <a:lnTo>
                    <a:pt x="1428" y="156"/>
                  </a:lnTo>
                  <a:lnTo>
                    <a:pt x="1458" y="192"/>
                  </a:lnTo>
                  <a:lnTo>
                    <a:pt x="1458" y="198"/>
                  </a:lnTo>
                  <a:lnTo>
                    <a:pt x="1464" y="204"/>
                  </a:lnTo>
                  <a:lnTo>
                    <a:pt x="1470" y="210"/>
                  </a:lnTo>
                  <a:lnTo>
                    <a:pt x="1476" y="216"/>
                  </a:lnTo>
                  <a:lnTo>
                    <a:pt x="1482" y="228"/>
                  </a:lnTo>
                  <a:lnTo>
                    <a:pt x="1488" y="234"/>
                  </a:lnTo>
                  <a:lnTo>
                    <a:pt x="1512" y="270"/>
                  </a:lnTo>
                  <a:lnTo>
                    <a:pt x="1512" y="276"/>
                  </a:lnTo>
                  <a:lnTo>
                    <a:pt x="1530" y="300"/>
                  </a:lnTo>
                  <a:lnTo>
                    <a:pt x="1536" y="306"/>
                  </a:lnTo>
                  <a:lnTo>
                    <a:pt x="1542" y="312"/>
                  </a:lnTo>
                  <a:lnTo>
                    <a:pt x="1542" y="318"/>
                  </a:lnTo>
                  <a:lnTo>
                    <a:pt x="1560" y="336"/>
                  </a:lnTo>
                  <a:lnTo>
                    <a:pt x="1566" y="348"/>
                  </a:lnTo>
                  <a:lnTo>
                    <a:pt x="1572" y="354"/>
                  </a:lnTo>
                  <a:lnTo>
                    <a:pt x="1578" y="360"/>
                  </a:lnTo>
                  <a:lnTo>
                    <a:pt x="1584" y="378"/>
                  </a:lnTo>
                  <a:lnTo>
                    <a:pt x="1590" y="378"/>
                  </a:lnTo>
                  <a:lnTo>
                    <a:pt x="1596" y="390"/>
                  </a:lnTo>
                  <a:lnTo>
                    <a:pt x="1602" y="396"/>
                  </a:lnTo>
                  <a:lnTo>
                    <a:pt x="1608" y="408"/>
                  </a:lnTo>
                  <a:lnTo>
                    <a:pt x="1614" y="408"/>
                  </a:lnTo>
                  <a:lnTo>
                    <a:pt x="1614" y="432"/>
                  </a:lnTo>
                  <a:lnTo>
                    <a:pt x="1620" y="438"/>
                  </a:lnTo>
                  <a:lnTo>
                    <a:pt x="1620" y="450"/>
                  </a:lnTo>
                  <a:lnTo>
                    <a:pt x="1620" y="462"/>
                  </a:lnTo>
                  <a:lnTo>
                    <a:pt x="1626" y="474"/>
                  </a:lnTo>
                  <a:lnTo>
                    <a:pt x="1626" y="480"/>
                  </a:lnTo>
                  <a:lnTo>
                    <a:pt x="1626" y="486"/>
                  </a:lnTo>
                  <a:lnTo>
                    <a:pt x="1632" y="522"/>
                  </a:lnTo>
                  <a:lnTo>
                    <a:pt x="1632" y="528"/>
                  </a:lnTo>
                  <a:lnTo>
                    <a:pt x="1632" y="534"/>
                  </a:lnTo>
                  <a:lnTo>
                    <a:pt x="1638" y="540"/>
                  </a:lnTo>
                  <a:lnTo>
                    <a:pt x="1638" y="558"/>
                  </a:lnTo>
                  <a:lnTo>
                    <a:pt x="1638" y="570"/>
                  </a:lnTo>
                  <a:lnTo>
                    <a:pt x="1644" y="582"/>
                  </a:lnTo>
                  <a:lnTo>
                    <a:pt x="1650" y="618"/>
                  </a:lnTo>
                  <a:lnTo>
                    <a:pt x="1650" y="624"/>
                  </a:lnTo>
                  <a:lnTo>
                    <a:pt x="1650" y="636"/>
                  </a:lnTo>
                  <a:lnTo>
                    <a:pt x="1656" y="642"/>
                  </a:lnTo>
                  <a:lnTo>
                    <a:pt x="1656" y="648"/>
                  </a:lnTo>
                  <a:lnTo>
                    <a:pt x="1656" y="654"/>
                  </a:lnTo>
                  <a:lnTo>
                    <a:pt x="1656" y="660"/>
                  </a:lnTo>
                  <a:lnTo>
                    <a:pt x="1662" y="696"/>
                  </a:lnTo>
                  <a:lnTo>
                    <a:pt x="1668" y="708"/>
                  </a:lnTo>
                  <a:lnTo>
                    <a:pt x="1668" y="714"/>
                  </a:lnTo>
                  <a:lnTo>
                    <a:pt x="1668" y="732"/>
                  </a:lnTo>
                  <a:lnTo>
                    <a:pt x="1668" y="744"/>
                  </a:lnTo>
                  <a:lnTo>
                    <a:pt x="1674" y="756"/>
                  </a:lnTo>
                  <a:lnTo>
                    <a:pt x="1680" y="762"/>
                  </a:lnTo>
                  <a:lnTo>
                    <a:pt x="1680" y="768"/>
                  </a:lnTo>
                  <a:lnTo>
                    <a:pt x="1680" y="774"/>
                  </a:lnTo>
                  <a:lnTo>
                    <a:pt x="1680" y="780"/>
                  </a:lnTo>
                  <a:lnTo>
                    <a:pt x="1674" y="786"/>
                  </a:lnTo>
                  <a:lnTo>
                    <a:pt x="1668" y="792"/>
                  </a:lnTo>
                  <a:lnTo>
                    <a:pt x="1668" y="798"/>
                  </a:lnTo>
                  <a:lnTo>
                    <a:pt x="1668" y="804"/>
                  </a:lnTo>
                  <a:lnTo>
                    <a:pt x="1674" y="804"/>
                  </a:lnTo>
                  <a:lnTo>
                    <a:pt x="1668" y="810"/>
                  </a:lnTo>
                  <a:lnTo>
                    <a:pt x="1674" y="810"/>
                  </a:lnTo>
                  <a:lnTo>
                    <a:pt x="1680" y="810"/>
                  </a:lnTo>
                  <a:lnTo>
                    <a:pt x="1680" y="816"/>
                  </a:lnTo>
                  <a:lnTo>
                    <a:pt x="1680" y="822"/>
                  </a:lnTo>
                  <a:lnTo>
                    <a:pt x="1674" y="822"/>
                  </a:lnTo>
                  <a:lnTo>
                    <a:pt x="1674" y="828"/>
                  </a:lnTo>
                  <a:lnTo>
                    <a:pt x="1668" y="828"/>
                  </a:lnTo>
                  <a:lnTo>
                    <a:pt x="1674" y="834"/>
                  </a:lnTo>
                  <a:lnTo>
                    <a:pt x="1668" y="834"/>
                  </a:lnTo>
                  <a:lnTo>
                    <a:pt x="1668" y="840"/>
                  </a:lnTo>
                  <a:lnTo>
                    <a:pt x="1674" y="840"/>
                  </a:lnTo>
                  <a:lnTo>
                    <a:pt x="1686" y="852"/>
                  </a:lnTo>
                  <a:lnTo>
                    <a:pt x="1692" y="858"/>
                  </a:lnTo>
                  <a:lnTo>
                    <a:pt x="1698" y="858"/>
                  </a:lnTo>
                  <a:lnTo>
                    <a:pt x="1698" y="864"/>
                  </a:lnTo>
                  <a:lnTo>
                    <a:pt x="1698" y="870"/>
                  </a:lnTo>
                  <a:lnTo>
                    <a:pt x="1704" y="864"/>
                  </a:lnTo>
                  <a:lnTo>
                    <a:pt x="1716" y="864"/>
                  </a:lnTo>
                  <a:lnTo>
                    <a:pt x="1722" y="864"/>
                  </a:lnTo>
                  <a:lnTo>
                    <a:pt x="1728" y="864"/>
                  </a:lnTo>
                  <a:lnTo>
                    <a:pt x="1734" y="864"/>
                  </a:lnTo>
                  <a:lnTo>
                    <a:pt x="1740" y="864"/>
                  </a:lnTo>
                  <a:lnTo>
                    <a:pt x="1746" y="876"/>
                  </a:lnTo>
                  <a:lnTo>
                    <a:pt x="1746" y="870"/>
                  </a:lnTo>
                  <a:lnTo>
                    <a:pt x="1740" y="864"/>
                  </a:lnTo>
                  <a:lnTo>
                    <a:pt x="1746" y="864"/>
                  </a:lnTo>
                  <a:lnTo>
                    <a:pt x="1752" y="870"/>
                  </a:lnTo>
                  <a:lnTo>
                    <a:pt x="1758" y="864"/>
                  </a:lnTo>
                  <a:lnTo>
                    <a:pt x="1764" y="864"/>
                  </a:lnTo>
                  <a:lnTo>
                    <a:pt x="1770" y="858"/>
                  </a:lnTo>
                  <a:lnTo>
                    <a:pt x="1782" y="864"/>
                  </a:lnTo>
                  <a:lnTo>
                    <a:pt x="1782" y="870"/>
                  </a:lnTo>
                  <a:lnTo>
                    <a:pt x="1788" y="864"/>
                  </a:lnTo>
                  <a:lnTo>
                    <a:pt x="1794" y="864"/>
                  </a:lnTo>
                  <a:lnTo>
                    <a:pt x="1800" y="870"/>
                  </a:lnTo>
                  <a:lnTo>
                    <a:pt x="1818" y="864"/>
                  </a:lnTo>
                  <a:lnTo>
                    <a:pt x="1824" y="870"/>
                  </a:lnTo>
                  <a:lnTo>
                    <a:pt x="1830" y="864"/>
                  </a:lnTo>
                  <a:lnTo>
                    <a:pt x="1836" y="864"/>
                  </a:lnTo>
                  <a:lnTo>
                    <a:pt x="1842" y="870"/>
                  </a:lnTo>
                  <a:lnTo>
                    <a:pt x="1842" y="876"/>
                  </a:lnTo>
                  <a:lnTo>
                    <a:pt x="1848" y="876"/>
                  </a:lnTo>
                  <a:lnTo>
                    <a:pt x="1848" y="870"/>
                  </a:lnTo>
                  <a:lnTo>
                    <a:pt x="1854" y="870"/>
                  </a:lnTo>
                  <a:lnTo>
                    <a:pt x="1860" y="870"/>
                  </a:lnTo>
                  <a:lnTo>
                    <a:pt x="1860" y="876"/>
                  </a:lnTo>
                  <a:lnTo>
                    <a:pt x="1866" y="876"/>
                  </a:lnTo>
                  <a:lnTo>
                    <a:pt x="1866" y="882"/>
                  </a:lnTo>
                  <a:lnTo>
                    <a:pt x="1872" y="882"/>
                  </a:lnTo>
                  <a:lnTo>
                    <a:pt x="1878" y="888"/>
                  </a:lnTo>
                  <a:lnTo>
                    <a:pt x="1890" y="888"/>
                  </a:lnTo>
                  <a:lnTo>
                    <a:pt x="1890" y="894"/>
                  </a:lnTo>
                  <a:lnTo>
                    <a:pt x="1890" y="900"/>
                  </a:lnTo>
                  <a:lnTo>
                    <a:pt x="1884" y="900"/>
                  </a:lnTo>
                  <a:lnTo>
                    <a:pt x="1884" y="906"/>
                  </a:lnTo>
                  <a:lnTo>
                    <a:pt x="1884" y="912"/>
                  </a:lnTo>
                  <a:lnTo>
                    <a:pt x="1890" y="912"/>
                  </a:lnTo>
                  <a:lnTo>
                    <a:pt x="1896" y="912"/>
                  </a:lnTo>
                  <a:lnTo>
                    <a:pt x="1902" y="912"/>
                  </a:lnTo>
                  <a:lnTo>
                    <a:pt x="1908" y="918"/>
                  </a:lnTo>
                  <a:lnTo>
                    <a:pt x="1908" y="924"/>
                  </a:lnTo>
                  <a:lnTo>
                    <a:pt x="1908" y="930"/>
                  </a:lnTo>
                  <a:lnTo>
                    <a:pt x="1908" y="936"/>
                  </a:lnTo>
                  <a:lnTo>
                    <a:pt x="1914" y="936"/>
                  </a:lnTo>
                  <a:lnTo>
                    <a:pt x="1914" y="942"/>
                  </a:lnTo>
                  <a:lnTo>
                    <a:pt x="1908" y="948"/>
                  </a:lnTo>
                  <a:lnTo>
                    <a:pt x="1914" y="948"/>
                  </a:lnTo>
                  <a:lnTo>
                    <a:pt x="1920" y="954"/>
                  </a:lnTo>
                  <a:lnTo>
                    <a:pt x="1926" y="954"/>
                  </a:lnTo>
                  <a:lnTo>
                    <a:pt x="1932" y="954"/>
                  </a:lnTo>
                  <a:lnTo>
                    <a:pt x="1938" y="954"/>
                  </a:lnTo>
                  <a:lnTo>
                    <a:pt x="1938" y="960"/>
                  </a:lnTo>
                  <a:lnTo>
                    <a:pt x="1944" y="966"/>
                  </a:lnTo>
                  <a:lnTo>
                    <a:pt x="1944" y="972"/>
                  </a:lnTo>
                  <a:lnTo>
                    <a:pt x="1944" y="978"/>
                  </a:lnTo>
                  <a:lnTo>
                    <a:pt x="1950" y="978"/>
                  </a:lnTo>
                  <a:lnTo>
                    <a:pt x="1950" y="984"/>
                  </a:lnTo>
                  <a:lnTo>
                    <a:pt x="1956" y="984"/>
                  </a:lnTo>
                  <a:lnTo>
                    <a:pt x="1962" y="984"/>
                  </a:lnTo>
                  <a:lnTo>
                    <a:pt x="1962" y="978"/>
                  </a:lnTo>
                  <a:lnTo>
                    <a:pt x="1968" y="978"/>
                  </a:lnTo>
                  <a:lnTo>
                    <a:pt x="1974" y="978"/>
                  </a:lnTo>
                  <a:lnTo>
                    <a:pt x="1980" y="972"/>
                  </a:lnTo>
                  <a:lnTo>
                    <a:pt x="1980" y="978"/>
                  </a:lnTo>
                  <a:lnTo>
                    <a:pt x="1980" y="984"/>
                  </a:lnTo>
                  <a:lnTo>
                    <a:pt x="1986" y="984"/>
                  </a:lnTo>
                  <a:lnTo>
                    <a:pt x="1992" y="990"/>
                  </a:lnTo>
                  <a:lnTo>
                    <a:pt x="1992" y="996"/>
                  </a:lnTo>
                  <a:lnTo>
                    <a:pt x="1992" y="1002"/>
                  </a:lnTo>
                  <a:lnTo>
                    <a:pt x="1974" y="1008"/>
                  </a:lnTo>
                  <a:lnTo>
                    <a:pt x="1974" y="1014"/>
                  </a:lnTo>
                  <a:lnTo>
                    <a:pt x="1974" y="1020"/>
                  </a:lnTo>
                  <a:lnTo>
                    <a:pt x="1974" y="1026"/>
                  </a:lnTo>
                  <a:lnTo>
                    <a:pt x="1968" y="1038"/>
                  </a:lnTo>
                  <a:lnTo>
                    <a:pt x="1968" y="1044"/>
                  </a:lnTo>
                  <a:lnTo>
                    <a:pt x="1974" y="1056"/>
                  </a:lnTo>
                  <a:lnTo>
                    <a:pt x="1968" y="1062"/>
                  </a:lnTo>
                  <a:lnTo>
                    <a:pt x="1962" y="1062"/>
                  </a:lnTo>
                  <a:lnTo>
                    <a:pt x="1956" y="1068"/>
                  </a:lnTo>
                  <a:lnTo>
                    <a:pt x="1956" y="1074"/>
                  </a:lnTo>
                  <a:lnTo>
                    <a:pt x="1956" y="1080"/>
                  </a:lnTo>
                  <a:lnTo>
                    <a:pt x="1956" y="1086"/>
                  </a:lnTo>
                  <a:lnTo>
                    <a:pt x="1956" y="1092"/>
                  </a:lnTo>
                  <a:lnTo>
                    <a:pt x="1962" y="1092"/>
                  </a:lnTo>
                  <a:lnTo>
                    <a:pt x="1962" y="1104"/>
                  </a:lnTo>
                  <a:lnTo>
                    <a:pt x="1968" y="1110"/>
                  </a:lnTo>
                  <a:lnTo>
                    <a:pt x="1968" y="1116"/>
                  </a:lnTo>
                  <a:lnTo>
                    <a:pt x="1974" y="1116"/>
                  </a:lnTo>
                  <a:lnTo>
                    <a:pt x="1974" y="1122"/>
                  </a:lnTo>
                  <a:lnTo>
                    <a:pt x="1980" y="1122"/>
                  </a:lnTo>
                  <a:lnTo>
                    <a:pt x="1974" y="1128"/>
                  </a:lnTo>
                  <a:lnTo>
                    <a:pt x="1968" y="1134"/>
                  </a:lnTo>
                  <a:lnTo>
                    <a:pt x="1962" y="1140"/>
                  </a:lnTo>
                  <a:lnTo>
                    <a:pt x="1962" y="1146"/>
                  </a:lnTo>
                  <a:lnTo>
                    <a:pt x="1968" y="1152"/>
                  </a:lnTo>
                  <a:lnTo>
                    <a:pt x="1968" y="1158"/>
                  </a:lnTo>
                  <a:lnTo>
                    <a:pt x="1962" y="1158"/>
                  </a:lnTo>
                  <a:lnTo>
                    <a:pt x="1962" y="1164"/>
                  </a:lnTo>
                  <a:lnTo>
                    <a:pt x="1956" y="1164"/>
                  </a:lnTo>
                  <a:lnTo>
                    <a:pt x="1956" y="1170"/>
                  </a:lnTo>
                  <a:lnTo>
                    <a:pt x="1944" y="1182"/>
                  </a:lnTo>
                  <a:lnTo>
                    <a:pt x="1944" y="1188"/>
                  </a:lnTo>
                  <a:lnTo>
                    <a:pt x="1950" y="1188"/>
                  </a:lnTo>
                  <a:lnTo>
                    <a:pt x="1944" y="1200"/>
                  </a:lnTo>
                  <a:lnTo>
                    <a:pt x="1944" y="1206"/>
                  </a:lnTo>
                  <a:lnTo>
                    <a:pt x="1944" y="1212"/>
                  </a:lnTo>
                  <a:lnTo>
                    <a:pt x="1944" y="1218"/>
                  </a:lnTo>
                  <a:lnTo>
                    <a:pt x="1944" y="1230"/>
                  </a:lnTo>
                  <a:lnTo>
                    <a:pt x="1944" y="1236"/>
                  </a:lnTo>
                  <a:lnTo>
                    <a:pt x="1944" y="1242"/>
                  </a:lnTo>
                  <a:lnTo>
                    <a:pt x="1938" y="1248"/>
                  </a:lnTo>
                  <a:lnTo>
                    <a:pt x="1938" y="1254"/>
                  </a:lnTo>
                  <a:lnTo>
                    <a:pt x="1932" y="1254"/>
                  </a:lnTo>
                  <a:lnTo>
                    <a:pt x="1926" y="1260"/>
                  </a:lnTo>
                  <a:lnTo>
                    <a:pt x="1920" y="1266"/>
                  </a:lnTo>
                  <a:lnTo>
                    <a:pt x="1914" y="1272"/>
                  </a:lnTo>
                  <a:lnTo>
                    <a:pt x="1908" y="1272"/>
                  </a:lnTo>
                  <a:lnTo>
                    <a:pt x="1908" y="1278"/>
                  </a:lnTo>
                  <a:lnTo>
                    <a:pt x="1914" y="1278"/>
                  </a:lnTo>
                  <a:lnTo>
                    <a:pt x="1914" y="1290"/>
                  </a:lnTo>
                  <a:lnTo>
                    <a:pt x="1920" y="1296"/>
                  </a:lnTo>
                  <a:lnTo>
                    <a:pt x="1938" y="1302"/>
                  </a:lnTo>
                  <a:lnTo>
                    <a:pt x="1944" y="1308"/>
                  </a:lnTo>
                  <a:lnTo>
                    <a:pt x="1950" y="1314"/>
                  </a:lnTo>
                  <a:lnTo>
                    <a:pt x="1956" y="1314"/>
                  </a:lnTo>
                  <a:lnTo>
                    <a:pt x="1962" y="1320"/>
                  </a:lnTo>
                  <a:lnTo>
                    <a:pt x="1962" y="1326"/>
                  </a:lnTo>
                  <a:lnTo>
                    <a:pt x="1968" y="1326"/>
                  </a:lnTo>
                  <a:lnTo>
                    <a:pt x="1968" y="1332"/>
                  </a:lnTo>
                  <a:lnTo>
                    <a:pt x="1968" y="1344"/>
                  </a:lnTo>
                  <a:lnTo>
                    <a:pt x="1968" y="1350"/>
                  </a:lnTo>
                  <a:lnTo>
                    <a:pt x="1968" y="1368"/>
                  </a:lnTo>
                  <a:lnTo>
                    <a:pt x="1962" y="1380"/>
                  </a:lnTo>
                  <a:lnTo>
                    <a:pt x="1968" y="1392"/>
                  </a:lnTo>
                  <a:lnTo>
                    <a:pt x="1962" y="1398"/>
                  </a:lnTo>
                  <a:lnTo>
                    <a:pt x="1956" y="1404"/>
                  </a:lnTo>
                  <a:lnTo>
                    <a:pt x="1950" y="1410"/>
                  </a:lnTo>
                  <a:lnTo>
                    <a:pt x="1944" y="1410"/>
                  </a:lnTo>
                  <a:lnTo>
                    <a:pt x="1932" y="1416"/>
                  </a:lnTo>
                  <a:lnTo>
                    <a:pt x="1926" y="1416"/>
                  </a:lnTo>
                  <a:lnTo>
                    <a:pt x="1896" y="1428"/>
                  </a:lnTo>
                  <a:lnTo>
                    <a:pt x="1884" y="1434"/>
                  </a:lnTo>
                  <a:lnTo>
                    <a:pt x="1878" y="1434"/>
                  </a:lnTo>
                  <a:lnTo>
                    <a:pt x="1866" y="1434"/>
                  </a:lnTo>
                  <a:lnTo>
                    <a:pt x="1854" y="1440"/>
                  </a:lnTo>
                  <a:lnTo>
                    <a:pt x="1848" y="1440"/>
                  </a:lnTo>
                  <a:lnTo>
                    <a:pt x="1842" y="1446"/>
                  </a:lnTo>
                  <a:lnTo>
                    <a:pt x="1842" y="1458"/>
                  </a:lnTo>
                  <a:lnTo>
                    <a:pt x="1836" y="1470"/>
                  </a:lnTo>
                  <a:lnTo>
                    <a:pt x="1830" y="1476"/>
                  </a:lnTo>
                  <a:lnTo>
                    <a:pt x="1824" y="1476"/>
                  </a:lnTo>
                  <a:lnTo>
                    <a:pt x="1806" y="1482"/>
                  </a:lnTo>
                  <a:lnTo>
                    <a:pt x="1800" y="1488"/>
                  </a:lnTo>
                  <a:lnTo>
                    <a:pt x="1794" y="1488"/>
                  </a:lnTo>
                  <a:lnTo>
                    <a:pt x="1788" y="1488"/>
                  </a:lnTo>
                  <a:lnTo>
                    <a:pt x="1776" y="1494"/>
                  </a:lnTo>
                  <a:lnTo>
                    <a:pt x="1764" y="1494"/>
                  </a:lnTo>
                  <a:lnTo>
                    <a:pt x="1758" y="1500"/>
                  </a:lnTo>
                  <a:lnTo>
                    <a:pt x="1746" y="1506"/>
                  </a:lnTo>
                  <a:lnTo>
                    <a:pt x="1728" y="1518"/>
                  </a:lnTo>
                  <a:lnTo>
                    <a:pt x="1716" y="1524"/>
                  </a:lnTo>
                  <a:lnTo>
                    <a:pt x="1710" y="1530"/>
                  </a:lnTo>
                  <a:lnTo>
                    <a:pt x="1704" y="1536"/>
                  </a:lnTo>
                  <a:lnTo>
                    <a:pt x="1698" y="1542"/>
                  </a:lnTo>
                  <a:lnTo>
                    <a:pt x="1692" y="1554"/>
                  </a:lnTo>
                  <a:lnTo>
                    <a:pt x="1686" y="1560"/>
                  </a:lnTo>
                  <a:lnTo>
                    <a:pt x="1680" y="1560"/>
                  </a:lnTo>
                  <a:lnTo>
                    <a:pt x="1674" y="1560"/>
                  </a:lnTo>
                  <a:lnTo>
                    <a:pt x="1656" y="1572"/>
                  </a:lnTo>
                  <a:lnTo>
                    <a:pt x="1650" y="1572"/>
                  </a:lnTo>
                  <a:lnTo>
                    <a:pt x="1644" y="1572"/>
                  </a:lnTo>
                  <a:lnTo>
                    <a:pt x="1638" y="1578"/>
                  </a:lnTo>
                  <a:lnTo>
                    <a:pt x="1632" y="1578"/>
                  </a:lnTo>
                  <a:lnTo>
                    <a:pt x="1626" y="1578"/>
                  </a:lnTo>
                  <a:lnTo>
                    <a:pt x="1620" y="1572"/>
                  </a:lnTo>
                  <a:lnTo>
                    <a:pt x="1614" y="1572"/>
                  </a:lnTo>
                  <a:lnTo>
                    <a:pt x="1608" y="1566"/>
                  </a:lnTo>
                  <a:lnTo>
                    <a:pt x="1602" y="1560"/>
                  </a:lnTo>
                  <a:lnTo>
                    <a:pt x="1596" y="1554"/>
                  </a:lnTo>
                  <a:lnTo>
                    <a:pt x="1590" y="1548"/>
                  </a:lnTo>
                  <a:lnTo>
                    <a:pt x="1578" y="1548"/>
                  </a:lnTo>
                  <a:lnTo>
                    <a:pt x="1572" y="1548"/>
                  </a:lnTo>
                  <a:lnTo>
                    <a:pt x="1566" y="1548"/>
                  </a:lnTo>
                  <a:lnTo>
                    <a:pt x="1554" y="1536"/>
                  </a:lnTo>
                  <a:lnTo>
                    <a:pt x="1548" y="1536"/>
                  </a:lnTo>
                  <a:lnTo>
                    <a:pt x="1542" y="1542"/>
                  </a:lnTo>
                  <a:lnTo>
                    <a:pt x="1536" y="1548"/>
                  </a:lnTo>
                  <a:lnTo>
                    <a:pt x="1536" y="1566"/>
                  </a:lnTo>
                  <a:lnTo>
                    <a:pt x="1530" y="1572"/>
                  </a:lnTo>
                  <a:lnTo>
                    <a:pt x="1524" y="1578"/>
                  </a:lnTo>
                  <a:lnTo>
                    <a:pt x="1518" y="1584"/>
                  </a:lnTo>
                  <a:lnTo>
                    <a:pt x="1512" y="1596"/>
                  </a:lnTo>
                  <a:lnTo>
                    <a:pt x="1506" y="1602"/>
                  </a:lnTo>
                  <a:lnTo>
                    <a:pt x="1506" y="1608"/>
                  </a:lnTo>
                  <a:lnTo>
                    <a:pt x="1506" y="1614"/>
                  </a:lnTo>
                  <a:lnTo>
                    <a:pt x="1500" y="1614"/>
                  </a:lnTo>
                  <a:lnTo>
                    <a:pt x="1500" y="1620"/>
                  </a:lnTo>
                  <a:lnTo>
                    <a:pt x="1500" y="1626"/>
                  </a:lnTo>
                  <a:lnTo>
                    <a:pt x="1494" y="1632"/>
                  </a:lnTo>
                  <a:lnTo>
                    <a:pt x="1488" y="1638"/>
                  </a:lnTo>
                  <a:lnTo>
                    <a:pt x="1482" y="1638"/>
                  </a:lnTo>
                  <a:lnTo>
                    <a:pt x="1482" y="1644"/>
                  </a:lnTo>
                  <a:lnTo>
                    <a:pt x="1482" y="1650"/>
                  </a:lnTo>
                  <a:lnTo>
                    <a:pt x="1482" y="1656"/>
                  </a:lnTo>
                  <a:lnTo>
                    <a:pt x="1476" y="1662"/>
                  </a:lnTo>
                  <a:lnTo>
                    <a:pt x="1470" y="1668"/>
                  </a:lnTo>
                  <a:lnTo>
                    <a:pt x="1464" y="1674"/>
                  </a:lnTo>
                  <a:lnTo>
                    <a:pt x="1464" y="1680"/>
                  </a:lnTo>
                  <a:lnTo>
                    <a:pt x="1458" y="1680"/>
                  </a:lnTo>
                  <a:lnTo>
                    <a:pt x="1452" y="1686"/>
                  </a:lnTo>
                  <a:lnTo>
                    <a:pt x="1446" y="1686"/>
                  </a:lnTo>
                  <a:lnTo>
                    <a:pt x="1440" y="1698"/>
                  </a:lnTo>
                  <a:lnTo>
                    <a:pt x="1440" y="1704"/>
                  </a:lnTo>
                  <a:lnTo>
                    <a:pt x="1434" y="1710"/>
                  </a:lnTo>
                  <a:lnTo>
                    <a:pt x="1434" y="1716"/>
                  </a:lnTo>
                  <a:lnTo>
                    <a:pt x="1428" y="1716"/>
                  </a:lnTo>
                  <a:lnTo>
                    <a:pt x="1428" y="1722"/>
                  </a:lnTo>
                  <a:lnTo>
                    <a:pt x="1428" y="1728"/>
                  </a:lnTo>
                  <a:lnTo>
                    <a:pt x="1422" y="1728"/>
                  </a:lnTo>
                  <a:lnTo>
                    <a:pt x="1422" y="1734"/>
                  </a:lnTo>
                  <a:lnTo>
                    <a:pt x="1416" y="1734"/>
                  </a:lnTo>
                  <a:lnTo>
                    <a:pt x="1410" y="1734"/>
                  </a:lnTo>
                  <a:lnTo>
                    <a:pt x="1392" y="1746"/>
                  </a:lnTo>
                  <a:lnTo>
                    <a:pt x="1386" y="1746"/>
                  </a:lnTo>
                  <a:lnTo>
                    <a:pt x="1368" y="1752"/>
                  </a:lnTo>
                  <a:lnTo>
                    <a:pt x="1362" y="1758"/>
                  </a:lnTo>
                  <a:lnTo>
                    <a:pt x="1362" y="1770"/>
                  </a:lnTo>
                  <a:lnTo>
                    <a:pt x="1356" y="178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graphicFrame>
        <p:nvGraphicFramePr>
          <p:cNvPr id="357" name="Group 76">
            <a:extLst>
              <a:ext uri="{FF2B5EF4-FFF2-40B4-BE49-F238E27FC236}">
                <a16:creationId xmlns:a16="http://schemas.microsoft.com/office/drawing/2014/main" id="{57830D68-CF73-4A3E-9D36-141B03AADBF7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41338" y="3402013"/>
          <a:ext cx="3735387" cy="1827306"/>
        </p:xfrm>
        <a:graphic>
          <a:graphicData uri="http://schemas.openxmlformats.org/drawingml/2006/table">
            <a:tbl>
              <a:tblPr/>
              <a:tblGrid>
                <a:gridCol w="1316931">
                  <a:extLst>
                    <a:ext uri="{9D8B030D-6E8A-4147-A177-3AD203B41FA5}">
                      <a16:colId xmlns:a16="http://schemas.microsoft.com/office/drawing/2014/main" val="2027704273"/>
                    </a:ext>
                  </a:extLst>
                </a:gridCol>
                <a:gridCol w="603796">
                  <a:extLst>
                    <a:ext uri="{9D8B030D-6E8A-4147-A177-3AD203B41FA5}">
                      <a16:colId xmlns:a16="http://schemas.microsoft.com/office/drawing/2014/main" val="3432768286"/>
                    </a:ext>
                  </a:extLst>
                </a:gridCol>
                <a:gridCol w="744015">
                  <a:extLst>
                    <a:ext uri="{9D8B030D-6E8A-4147-A177-3AD203B41FA5}">
                      <a16:colId xmlns:a16="http://schemas.microsoft.com/office/drawing/2014/main" val="3730294207"/>
                    </a:ext>
                  </a:extLst>
                </a:gridCol>
                <a:gridCol w="1070645">
                  <a:extLst>
                    <a:ext uri="{9D8B030D-6E8A-4147-A177-3AD203B41FA5}">
                      <a16:colId xmlns:a16="http://schemas.microsoft.com/office/drawing/2014/main" val="2258321117"/>
                    </a:ext>
                  </a:extLst>
                </a:gridCol>
              </a:tblGrid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apital</a:t>
                      </a:r>
                      <a:endParaRPr kumimoji="0" lang="en-SG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292929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SG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Katsina</a:t>
                      </a:r>
                      <a:endParaRPr kumimoji="0" lang="en-SG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703009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nd Are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3,561 km</a:t>
                      </a:r>
                      <a:r>
                        <a:rPr kumimoji="0" lang="en-US" altLang="en-US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17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603614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Population (2017E)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7,796,844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4 of 37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505851"/>
                  </a:ext>
                </a:extLst>
              </a:tr>
              <a:tr h="203024">
                <a:tc row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Dem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0-14: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3,777,017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48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130093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5-64: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3,805,518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49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387564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65+: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+mn-cs"/>
                        </a:rPr>
                        <a:t>   214,309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[3%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38801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bour force 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,717,521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25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797882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limate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ropical savanna, hot semi-arid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3942226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op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Plain crystalline rocks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32899"/>
                  </a:ext>
                </a:extLst>
              </a:tr>
            </a:tbl>
          </a:graphicData>
        </a:graphic>
      </p:graphicFrame>
      <p:pic>
        <p:nvPicPr>
          <p:cNvPr id="23609" name="Picture 13">
            <a:extLst>
              <a:ext uri="{FF2B5EF4-FFF2-40B4-BE49-F238E27FC236}">
                <a16:creationId xmlns:a16="http://schemas.microsoft.com/office/drawing/2014/main" id="{952964D5-F0ED-4CAE-B71C-DB4A723FA5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0" y="3006725"/>
            <a:ext cx="1116013" cy="155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9" name="TextBox 378">
            <a:extLst>
              <a:ext uri="{FF2B5EF4-FFF2-40B4-BE49-F238E27FC236}">
                <a16:creationId xmlns:a16="http://schemas.microsoft.com/office/drawing/2014/main" id="{1B3FD4BF-4685-4C74-821F-10048D6246BF}"/>
              </a:ext>
            </a:extLst>
          </p:cNvPr>
          <p:cNvSpPr txBox="1"/>
          <p:nvPr/>
        </p:nvSpPr>
        <p:spPr>
          <a:xfrm>
            <a:off x="6124575" y="957263"/>
            <a:ext cx="3475038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Competitive Advantages</a:t>
            </a: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455FE7A1-ADE5-4F7B-A489-00196671A53E}"/>
              </a:ext>
            </a:extLst>
          </p:cNvPr>
          <p:cNvSpPr/>
          <p:nvPr/>
        </p:nvSpPr>
        <p:spPr>
          <a:xfrm>
            <a:off x="4267248" y="1187511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dbl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N</a:t>
            </a:r>
            <a:r>
              <a:rPr kumimoji="0" lang="en-US" sz="1600" b="0" i="0" u="none" strike="no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6bn/$19.8m</a:t>
            </a:r>
            <a:endParaRPr kumimoji="0" lang="en-MY" sz="1600" b="0" i="0" u="none" strike="noStrike" kern="1200" cap="none" spc="-15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EBB25788-D073-4A78-9D6C-DF3836CFFFBB}"/>
              </a:ext>
            </a:extLst>
          </p:cNvPr>
          <p:cNvSpPr txBox="1"/>
          <p:nvPr/>
        </p:nvSpPr>
        <p:spPr>
          <a:xfrm>
            <a:off x="4267200" y="955675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IGR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 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(2017)</a:t>
            </a: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6F07DF39-553B-44F0-8864-1F897C2BD79A}"/>
              </a:ext>
            </a:extLst>
          </p:cNvPr>
          <p:cNvSpPr/>
          <p:nvPr/>
        </p:nvSpPr>
        <p:spPr>
          <a:xfrm>
            <a:off x="4267252" y="1809750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dbl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N</a:t>
            </a:r>
            <a:r>
              <a:rPr kumimoji="0" lang="en-US" sz="1600" b="0" i="0" u="none" strike="no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213bn/$</a:t>
            </a:r>
            <a:r>
              <a:rPr lang="en-US" sz="1600" spc="-150" noProof="0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 pitchFamily="34" charset="0"/>
                <a:cs typeface="Arial" charset="0"/>
              </a:rPr>
              <a:t>698.4</a:t>
            </a:r>
            <a:r>
              <a:rPr kumimoji="0" lang="en-US" sz="1600" b="0" i="0" u="none" strike="no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bn</a:t>
            </a:r>
            <a:endParaRPr kumimoji="0" lang="en-MY" sz="1600" b="0" i="0" u="none" strike="noStrike" kern="1200" cap="none" spc="-15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2508695A-2D2C-45A3-80FE-9C2CB18200C2}"/>
              </a:ext>
            </a:extLst>
          </p:cNvPr>
          <p:cNvSpPr txBox="1"/>
          <p:nvPr/>
        </p:nvSpPr>
        <p:spPr>
          <a:xfrm>
            <a:off x="4267200" y="1576388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Budget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 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(2018)</a:t>
            </a: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86A33ABE-3AE3-40A7-A6A6-1B757A6A9B0F}"/>
              </a:ext>
            </a:extLst>
          </p:cNvPr>
          <p:cNvSpPr/>
          <p:nvPr/>
        </p:nvSpPr>
        <p:spPr>
          <a:xfrm>
            <a:off x="4256076" y="2667155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dbl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N</a:t>
            </a:r>
            <a:r>
              <a:rPr lang="en-US" sz="1600" spc="-150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 pitchFamily="34" charset="0"/>
                <a:cs typeface="Arial" charset="0"/>
              </a:rPr>
              <a:t>1.9</a:t>
            </a:r>
            <a:r>
              <a:rPr kumimoji="0" lang="en-US" sz="1600" b="0" i="0" u="none" strike="noStrike" kern="1200" cap="none" spc="-15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trn</a:t>
            </a:r>
            <a:r>
              <a:rPr kumimoji="0" lang="en-US" sz="1600" b="0" i="0" u="none" strike="no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 /$6.2bn</a:t>
            </a:r>
            <a:endParaRPr kumimoji="0" lang="en-MY" sz="1600" b="0" i="0" u="none" strike="noStrike" kern="1200" cap="none" spc="-15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1E919764-A18B-4532-A533-A84A31D7FEFE}"/>
              </a:ext>
            </a:extLst>
          </p:cNvPr>
          <p:cNvSpPr txBox="1"/>
          <p:nvPr/>
        </p:nvSpPr>
        <p:spPr>
          <a:xfrm>
            <a:off x="4256088" y="2185988"/>
            <a:ext cx="1811337" cy="50641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Househol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Consumption 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(2017)</a:t>
            </a:r>
          </a:p>
        </p:txBody>
      </p:sp>
      <p:sp>
        <p:nvSpPr>
          <p:cNvPr id="96" name="Plaque 95">
            <a:extLst>
              <a:ext uri="{FF2B5EF4-FFF2-40B4-BE49-F238E27FC236}">
                <a16:creationId xmlns:a16="http://schemas.microsoft.com/office/drawing/2014/main" id="{E3BE1182-17B4-4194-8641-F1EA2CCBB757}"/>
              </a:ext>
            </a:extLst>
          </p:cNvPr>
          <p:cNvSpPr/>
          <p:nvPr/>
        </p:nvSpPr>
        <p:spPr>
          <a:xfrm>
            <a:off x="5583996" y="2807593"/>
            <a:ext cx="483429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dirty="0">
                <a:solidFill>
                  <a:prstClr val="white"/>
                </a:solidFill>
                <a:latin typeface="Calibri" panose="020F0502020204030204" pitchFamily="34" charset="0"/>
              </a:rPr>
              <a:t>11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of 36</a:t>
            </a:r>
          </a:p>
        </p:txBody>
      </p:sp>
      <p:sp>
        <p:nvSpPr>
          <p:cNvPr id="99" name="Plaque 98">
            <a:extLst>
              <a:ext uri="{FF2B5EF4-FFF2-40B4-BE49-F238E27FC236}">
                <a16:creationId xmlns:a16="http://schemas.microsoft.com/office/drawing/2014/main" id="{8620E393-1C52-4CE1-9888-20922FA6DFEA}"/>
              </a:ext>
            </a:extLst>
          </p:cNvPr>
          <p:cNvSpPr/>
          <p:nvPr/>
        </p:nvSpPr>
        <p:spPr>
          <a:xfrm>
            <a:off x="5571332" y="1982093"/>
            <a:ext cx="496094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noProof="0" dirty="0">
                <a:solidFill>
                  <a:prstClr val="white"/>
                </a:solidFill>
                <a:latin typeface="Calibri" panose="020F0502020204030204" pitchFamily="34" charset="0"/>
              </a:rPr>
              <a:t>12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of 36</a:t>
            </a:r>
          </a:p>
        </p:txBody>
      </p:sp>
      <p:sp>
        <p:nvSpPr>
          <p:cNvPr id="100" name="Plaque 99">
            <a:extLst>
              <a:ext uri="{FF2B5EF4-FFF2-40B4-BE49-F238E27FC236}">
                <a16:creationId xmlns:a16="http://schemas.microsoft.com/office/drawing/2014/main" id="{3BFA6D28-9A42-4459-8BF1-090CE1B45216}"/>
              </a:ext>
            </a:extLst>
          </p:cNvPr>
          <p:cNvSpPr/>
          <p:nvPr/>
        </p:nvSpPr>
        <p:spPr>
          <a:xfrm>
            <a:off x="5638800" y="1333500"/>
            <a:ext cx="430213" cy="1539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noProof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7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of 36</a:t>
            </a:r>
          </a:p>
        </p:txBody>
      </p:sp>
      <p:sp>
        <p:nvSpPr>
          <p:cNvPr id="101" name="Pentagon 19">
            <a:extLst>
              <a:ext uri="{FF2B5EF4-FFF2-40B4-BE49-F238E27FC236}">
                <a16:creationId xmlns:a16="http://schemas.microsoft.com/office/drawing/2014/main" id="{CCD74FA4-19D0-4356-90C9-B3B49BCC3F54}"/>
              </a:ext>
            </a:extLst>
          </p:cNvPr>
          <p:cNvSpPr>
            <a:spLocks/>
          </p:cNvSpPr>
          <p:nvPr/>
        </p:nvSpPr>
        <p:spPr bwMode="auto">
          <a:xfrm>
            <a:off x="688340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noProof="0" dirty="0">
                <a:solidFill>
                  <a:prstClr val="white"/>
                </a:solidFill>
                <a:latin typeface="Calibri" panose="020F0502020204030204" pitchFamily="34" charset="0"/>
              </a:rPr>
              <a:t>6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of 37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12EE735-1E43-4799-A46A-5D0787F375CE}"/>
              </a:ext>
            </a:extLst>
          </p:cNvPr>
          <p:cNvSpPr/>
          <p:nvPr/>
        </p:nvSpPr>
        <p:spPr>
          <a:xfrm>
            <a:off x="6880225" y="5726113"/>
            <a:ext cx="642938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rting a Business</a:t>
            </a:r>
          </a:p>
        </p:txBody>
      </p:sp>
      <p:pic>
        <p:nvPicPr>
          <p:cNvPr id="23622" name="Picture 3">
            <a:extLst>
              <a:ext uri="{FF2B5EF4-FFF2-40B4-BE49-F238E27FC236}">
                <a16:creationId xmlns:a16="http://schemas.microsoft.com/office/drawing/2014/main" id="{53FAD0C6-8FFE-437B-B7E4-F2A938D3BE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350" y="5249863"/>
            <a:ext cx="41910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23" name="Freeform 15">
            <a:extLst>
              <a:ext uri="{FF2B5EF4-FFF2-40B4-BE49-F238E27FC236}">
                <a16:creationId xmlns:a16="http://schemas.microsoft.com/office/drawing/2014/main" id="{183A3C8B-011E-4D99-9165-3FF03A2D3207}"/>
              </a:ext>
            </a:extLst>
          </p:cNvPr>
          <p:cNvSpPr>
            <a:spLocks noEditPoints="1"/>
          </p:cNvSpPr>
          <p:nvPr/>
        </p:nvSpPr>
        <p:spPr bwMode="auto">
          <a:xfrm>
            <a:off x="9093200" y="5257800"/>
            <a:ext cx="276225" cy="347663"/>
          </a:xfrm>
          <a:custGeom>
            <a:avLst/>
            <a:gdLst>
              <a:gd name="T0" fmla="*/ 2147483646 w 3556"/>
              <a:gd name="T1" fmla="*/ 2147483646 h 3950"/>
              <a:gd name="T2" fmla="*/ 2147483646 w 3556"/>
              <a:gd name="T3" fmla="*/ 2147483646 h 3950"/>
              <a:gd name="T4" fmla="*/ 2147483646 w 3556"/>
              <a:gd name="T5" fmla="*/ 2147483646 h 3950"/>
              <a:gd name="T6" fmla="*/ 2147483646 w 3556"/>
              <a:gd name="T7" fmla="*/ 2147483646 h 3950"/>
              <a:gd name="T8" fmla="*/ 2147483646 w 3556"/>
              <a:gd name="T9" fmla="*/ 2147483646 h 3950"/>
              <a:gd name="T10" fmla="*/ 2147483646 w 3556"/>
              <a:gd name="T11" fmla="*/ 2147483646 h 3950"/>
              <a:gd name="T12" fmla="*/ 2147483646 w 3556"/>
              <a:gd name="T13" fmla="*/ 2147483646 h 3950"/>
              <a:gd name="T14" fmla="*/ 2147483646 w 3556"/>
              <a:gd name="T15" fmla="*/ 2147483646 h 3950"/>
              <a:gd name="T16" fmla="*/ 2147483646 w 3556"/>
              <a:gd name="T17" fmla="*/ 2147483646 h 3950"/>
              <a:gd name="T18" fmla="*/ 2147483646 w 3556"/>
              <a:gd name="T19" fmla="*/ 2147483646 h 3950"/>
              <a:gd name="T20" fmla="*/ 2147483646 w 3556"/>
              <a:gd name="T21" fmla="*/ 2147483646 h 3950"/>
              <a:gd name="T22" fmla="*/ 0 w 3556"/>
              <a:gd name="T23" fmla="*/ 2147483646 h 3950"/>
              <a:gd name="T24" fmla="*/ 2147483646 w 3556"/>
              <a:gd name="T25" fmla="*/ 2147483646 h 3950"/>
              <a:gd name="T26" fmla="*/ 2147483646 w 3556"/>
              <a:gd name="T27" fmla="*/ 2147483646 h 3950"/>
              <a:gd name="T28" fmla="*/ 2147483646 w 3556"/>
              <a:gd name="T29" fmla="*/ 2147483646 h 3950"/>
              <a:gd name="T30" fmla="*/ 2147483646 w 3556"/>
              <a:gd name="T31" fmla="*/ 2147483646 h 3950"/>
              <a:gd name="T32" fmla="*/ 2147483646 w 3556"/>
              <a:gd name="T33" fmla="*/ 2147483646 h 3950"/>
              <a:gd name="T34" fmla="*/ 2147483646 w 3556"/>
              <a:gd name="T35" fmla="*/ 2147483646 h 3950"/>
              <a:gd name="T36" fmla="*/ 2147483646 w 3556"/>
              <a:gd name="T37" fmla="*/ 2147483646 h 3950"/>
              <a:gd name="T38" fmla="*/ 2147483646 w 3556"/>
              <a:gd name="T39" fmla="*/ 2147483646 h 3950"/>
              <a:gd name="T40" fmla="*/ 2147483646 w 3556"/>
              <a:gd name="T41" fmla="*/ 2147483646 h 3950"/>
              <a:gd name="T42" fmla="*/ 2147483646 w 3556"/>
              <a:gd name="T43" fmla="*/ 2147483646 h 3950"/>
              <a:gd name="T44" fmla="*/ 2147483646 w 3556"/>
              <a:gd name="T45" fmla="*/ 2147483646 h 3950"/>
              <a:gd name="T46" fmla="*/ 2147483646 w 3556"/>
              <a:gd name="T47" fmla="*/ 2147483646 h 3950"/>
              <a:gd name="T48" fmla="*/ 2147483646 w 3556"/>
              <a:gd name="T49" fmla="*/ 2147483646 h 3950"/>
              <a:gd name="T50" fmla="*/ 2147483646 w 3556"/>
              <a:gd name="T51" fmla="*/ 2147483646 h 3950"/>
              <a:gd name="T52" fmla="*/ 2147483646 w 3556"/>
              <a:gd name="T53" fmla="*/ 2147483646 h 3950"/>
              <a:gd name="T54" fmla="*/ 2147483646 w 3556"/>
              <a:gd name="T55" fmla="*/ 2147483646 h 3950"/>
              <a:gd name="T56" fmla="*/ 2147483646 w 3556"/>
              <a:gd name="T57" fmla="*/ 2147483646 h 3950"/>
              <a:gd name="T58" fmla="*/ 2147483646 w 3556"/>
              <a:gd name="T59" fmla="*/ 2147483646 h 3950"/>
              <a:gd name="T60" fmla="*/ 2147483646 w 3556"/>
              <a:gd name="T61" fmla="*/ 2147483646 h 3950"/>
              <a:gd name="T62" fmla="*/ 2147483646 w 3556"/>
              <a:gd name="T63" fmla="*/ 2147483646 h 3950"/>
              <a:gd name="T64" fmla="*/ 2147483646 w 3556"/>
              <a:gd name="T65" fmla="*/ 2147483646 h 3950"/>
              <a:gd name="T66" fmla="*/ 2147483646 w 3556"/>
              <a:gd name="T67" fmla="*/ 2147483646 h 3950"/>
              <a:gd name="T68" fmla="*/ 2147483646 w 3556"/>
              <a:gd name="T69" fmla="*/ 2147483646 h 3950"/>
              <a:gd name="T70" fmla="*/ 2147483646 w 3556"/>
              <a:gd name="T71" fmla="*/ 2147483646 h 3950"/>
              <a:gd name="T72" fmla="*/ 2147483646 w 3556"/>
              <a:gd name="T73" fmla="*/ 2147483646 h 3950"/>
              <a:gd name="T74" fmla="*/ 2147483646 w 3556"/>
              <a:gd name="T75" fmla="*/ 2147483646 h 3950"/>
              <a:gd name="T76" fmla="*/ 2147483646 w 3556"/>
              <a:gd name="T77" fmla="*/ 2147483646 h 3950"/>
              <a:gd name="T78" fmla="*/ 2147483646 w 3556"/>
              <a:gd name="T79" fmla="*/ 2147483646 h 3950"/>
              <a:gd name="T80" fmla="*/ 2147483646 w 3556"/>
              <a:gd name="T81" fmla="*/ 0 h 3950"/>
              <a:gd name="T82" fmla="*/ 2147483646 w 3556"/>
              <a:gd name="T83" fmla="*/ 2147483646 h 3950"/>
              <a:gd name="T84" fmla="*/ 2147483646 w 3556"/>
              <a:gd name="T85" fmla="*/ 2147483646 h 3950"/>
              <a:gd name="T86" fmla="*/ 2147483646 w 3556"/>
              <a:gd name="T87" fmla="*/ 2147483646 h 395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556"/>
              <a:gd name="T133" fmla="*/ 0 h 3950"/>
              <a:gd name="T134" fmla="*/ 3556 w 3556"/>
              <a:gd name="T135" fmla="*/ 3950 h 395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556" h="3950">
                <a:moveTo>
                  <a:pt x="909" y="3917"/>
                </a:moveTo>
                <a:cubicBezTo>
                  <a:pt x="824" y="3832"/>
                  <a:pt x="894" y="3725"/>
                  <a:pt x="1036" y="3725"/>
                </a:cubicBezTo>
                <a:cubicBezTo>
                  <a:pt x="1119" y="3725"/>
                  <a:pt x="1129" y="3717"/>
                  <a:pt x="1129" y="3645"/>
                </a:cubicBezTo>
                <a:cubicBezTo>
                  <a:pt x="1129" y="3472"/>
                  <a:pt x="1135" y="3471"/>
                  <a:pt x="2192" y="3471"/>
                </a:cubicBezTo>
                <a:cubicBezTo>
                  <a:pt x="3086" y="3471"/>
                  <a:pt x="3155" y="3475"/>
                  <a:pt x="3199" y="3523"/>
                </a:cubicBezTo>
                <a:cubicBezTo>
                  <a:pt x="3225" y="3551"/>
                  <a:pt x="3246" y="3608"/>
                  <a:pt x="3246" y="3648"/>
                </a:cubicBezTo>
                <a:cubicBezTo>
                  <a:pt x="3246" y="3712"/>
                  <a:pt x="3259" y="3723"/>
                  <a:pt x="3349" y="3730"/>
                </a:cubicBezTo>
                <a:cubicBezTo>
                  <a:pt x="3470" y="3741"/>
                  <a:pt x="3530" y="3811"/>
                  <a:pt x="3482" y="3887"/>
                </a:cubicBezTo>
                <a:cubicBezTo>
                  <a:pt x="3453" y="3933"/>
                  <a:pt x="3356" y="3937"/>
                  <a:pt x="2197" y="3944"/>
                </a:cubicBezTo>
                <a:cubicBezTo>
                  <a:pt x="1245" y="3950"/>
                  <a:pt x="935" y="3943"/>
                  <a:pt x="909" y="3917"/>
                </a:cubicBezTo>
                <a:close/>
                <a:moveTo>
                  <a:pt x="87" y="3370"/>
                </a:moveTo>
                <a:cubicBezTo>
                  <a:pt x="24" y="3317"/>
                  <a:pt x="0" y="3272"/>
                  <a:pt x="0" y="3209"/>
                </a:cubicBezTo>
                <a:cubicBezTo>
                  <a:pt x="0" y="3132"/>
                  <a:pt x="86" y="3035"/>
                  <a:pt x="705" y="2414"/>
                </a:cubicBezTo>
                <a:lnTo>
                  <a:pt x="1411" y="1706"/>
                </a:lnTo>
                <a:lnTo>
                  <a:pt x="1235" y="1530"/>
                </a:lnTo>
                <a:lnTo>
                  <a:pt x="1059" y="1355"/>
                </a:lnTo>
                <a:lnTo>
                  <a:pt x="1510" y="903"/>
                </a:lnTo>
                <a:lnTo>
                  <a:pt x="1960" y="452"/>
                </a:lnTo>
                <a:lnTo>
                  <a:pt x="2135" y="624"/>
                </a:lnTo>
                <a:cubicBezTo>
                  <a:pt x="2305" y="793"/>
                  <a:pt x="2310" y="796"/>
                  <a:pt x="2374" y="751"/>
                </a:cubicBezTo>
                <a:cubicBezTo>
                  <a:pt x="2469" y="685"/>
                  <a:pt x="2547" y="695"/>
                  <a:pt x="2633" y="785"/>
                </a:cubicBezTo>
                <a:cubicBezTo>
                  <a:pt x="2720" y="875"/>
                  <a:pt x="2731" y="974"/>
                  <a:pt x="2662" y="1050"/>
                </a:cubicBezTo>
                <a:cubicBezTo>
                  <a:pt x="2616" y="1100"/>
                  <a:pt x="2624" y="1112"/>
                  <a:pt x="2823" y="1313"/>
                </a:cubicBezTo>
                <a:lnTo>
                  <a:pt x="3033" y="1524"/>
                </a:lnTo>
                <a:lnTo>
                  <a:pt x="2582" y="1975"/>
                </a:lnTo>
                <a:lnTo>
                  <a:pt x="2132" y="2427"/>
                </a:lnTo>
                <a:lnTo>
                  <a:pt x="1933" y="2229"/>
                </a:lnTo>
                <a:cubicBezTo>
                  <a:pt x="1824" y="2121"/>
                  <a:pt x="1722" y="2032"/>
                  <a:pt x="1707" y="2032"/>
                </a:cubicBezTo>
                <a:cubicBezTo>
                  <a:pt x="1693" y="2032"/>
                  <a:pt x="1362" y="2349"/>
                  <a:pt x="973" y="2737"/>
                </a:cubicBezTo>
                <a:cubicBezTo>
                  <a:pt x="584" y="3125"/>
                  <a:pt x="245" y="3443"/>
                  <a:pt x="220" y="3443"/>
                </a:cubicBezTo>
                <a:cubicBezTo>
                  <a:pt x="194" y="3443"/>
                  <a:pt x="135" y="3410"/>
                  <a:pt x="87" y="3370"/>
                </a:cubicBezTo>
                <a:close/>
                <a:moveTo>
                  <a:pt x="2258" y="2887"/>
                </a:moveTo>
                <a:cubicBezTo>
                  <a:pt x="2196" y="2865"/>
                  <a:pt x="2145" y="2792"/>
                  <a:pt x="2145" y="2725"/>
                </a:cubicBezTo>
                <a:cubicBezTo>
                  <a:pt x="2145" y="2686"/>
                  <a:pt x="2337" y="2474"/>
                  <a:pt x="2703" y="2109"/>
                </a:cubicBezTo>
                <a:cubicBezTo>
                  <a:pt x="3289" y="1523"/>
                  <a:pt x="3346" y="1485"/>
                  <a:pt x="3453" y="1604"/>
                </a:cubicBezTo>
                <a:cubicBezTo>
                  <a:pt x="3556" y="1717"/>
                  <a:pt x="3522" y="1766"/>
                  <a:pt x="2956" y="2331"/>
                </a:cubicBezTo>
                <a:cubicBezTo>
                  <a:pt x="2657" y="2630"/>
                  <a:pt x="2388" y="2880"/>
                  <a:pt x="2357" y="2888"/>
                </a:cubicBezTo>
                <a:cubicBezTo>
                  <a:pt x="2326" y="2895"/>
                  <a:pt x="2281" y="2895"/>
                  <a:pt x="2258" y="2887"/>
                </a:cubicBezTo>
                <a:close/>
                <a:moveTo>
                  <a:pt x="637" y="1282"/>
                </a:moveTo>
                <a:cubicBezTo>
                  <a:pt x="528" y="1172"/>
                  <a:pt x="568" y="1113"/>
                  <a:pt x="1137" y="544"/>
                </a:cubicBezTo>
                <a:cubicBezTo>
                  <a:pt x="1607" y="74"/>
                  <a:pt x="1693" y="0"/>
                  <a:pt x="1767" y="0"/>
                </a:cubicBezTo>
                <a:cubicBezTo>
                  <a:pt x="1862" y="0"/>
                  <a:pt x="1947" y="73"/>
                  <a:pt x="1947" y="156"/>
                </a:cubicBezTo>
                <a:cubicBezTo>
                  <a:pt x="1947" y="186"/>
                  <a:pt x="1715" y="442"/>
                  <a:pt x="1391" y="767"/>
                </a:cubicBezTo>
                <a:cubicBezTo>
                  <a:pt x="808" y="1353"/>
                  <a:pt x="749" y="1393"/>
                  <a:pt x="637" y="12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" name="Group 118">
            <a:extLst>
              <a:ext uri="{FF2B5EF4-FFF2-40B4-BE49-F238E27FC236}">
                <a16:creationId xmlns:a16="http://schemas.microsoft.com/office/drawing/2014/main" id="{FB3D6A90-C4FD-433A-A1C1-A4B3864804A5}"/>
              </a:ext>
            </a:extLst>
          </p:cNvPr>
          <p:cNvGrpSpPr/>
          <p:nvPr/>
        </p:nvGrpSpPr>
        <p:grpSpPr>
          <a:xfrm>
            <a:off x="8409631" y="5248358"/>
            <a:ext cx="346498" cy="347472"/>
            <a:chOff x="1468138" y="5997240"/>
            <a:chExt cx="283642" cy="307072"/>
          </a:xfrm>
          <a:solidFill>
            <a:schemeClr val="bg1"/>
          </a:solidFill>
        </p:grpSpPr>
        <p:sp>
          <p:nvSpPr>
            <p:cNvPr id="120" name="Freeform 16">
              <a:extLst>
                <a:ext uri="{FF2B5EF4-FFF2-40B4-BE49-F238E27FC236}">
                  <a16:creationId xmlns:a16="http://schemas.microsoft.com/office/drawing/2014/main" id="{D6134FC8-4249-4088-8AE8-003C8AAC7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6136" y="6255221"/>
              <a:ext cx="26428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1 w 349"/>
                <a:gd name="T25" fmla="*/ 226 h 350"/>
                <a:gd name="T26" fmla="*/ 225 w 349"/>
                <a:gd name="T27" fmla="*/ 213 h 350"/>
                <a:gd name="T28" fmla="*/ 234 w 349"/>
                <a:gd name="T29" fmla="*/ 194 h 350"/>
                <a:gd name="T30" fmla="*/ 237 w 349"/>
                <a:gd name="T31" fmla="*/ 175 h 350"/>
                <a:gd name="T32" fmla="*/ 235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5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4 w 349"/>
                <a:gd name="T47" fmla="*/ 3 h 350"/>
                <a:gd name="T48" fmla="*/ 234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8 w 349"/>
                <a:gd name="T55" fmla="*/ 63 h 350"/>
                <a:gd name="T56" fmla="*/ 325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5 w 349"/>
                <a:gd name="T65" fmla="*/ 210 h 350"/>
                <a:gd name="T66" fmla="*/ 335 w 349"/>
                <a:gd name="T67" fmla="*/ 243 h 350"/>
                <a:gd name="T68" fmla="*/ 319 w 349"/>
                <a:gd name="T69" fmla="*/ 273 h 350"/>
                <a:gd name="T70" fmla="*/ 297 w 349"/>
                <a:gd name="T71" fmla="*/ 299 h 350"/>
                <a:gd name="T72" fmla="*/ 272 w 349"/>
                <a:gd name="T73" fmla="*/ 319 h 350"/>
                <a:gd name="T74" fmla="*/ 242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39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29 w 349"/>
                <a:gd name="T89" fmla="*/ 273 h 350"/>
                <a:gd name="T90" fmla="*/ 14 w 349"/>
                <a:gd name="T91" fmla="*/ 243 h 350"/>
                <a:gd name="T92" fmla="*/ 3 w 349"/>
                <a:gd name="T93" fmla="*/ 210 h 350"/>
                <a:gd name="T94" fmla="*/ 0 w 349"/>
                <a:gd name="T95" fmla="*/ 175 h 350"/>
                <a:gd name="T96" fmla="*/ 3 w 349"/>
                <a:gd name="T97" fmla="*/ 140 h 350"/>
                <a:gd name="T98" fmla="*/ 14 w 349"/>
                <a:gd name="T99" fmla="*/ 107 h 350"/>
                <a:gd name="T100" fmla="*/ 29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39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1" y="226"/>
                  </a:lnTo>
                  <a:lnTo>
                    <a:pt x="225" y="213"/>
                  </a:lnTo>
                  <a:lnTo>
                    <a:pt x="234" y="194"/>
                  </a:lnTo>
                  <a:lnTo>
                    <a:pt x="237" y="175"/>
                  </a:lnTo>
                  <a:lnTo>
                    <a:pt x="235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5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4" y="3"/>
                  </a:lnTo>
                  <a:lnTo>
                    <a:pt x="234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8" y="63"/>
                  </a:lnTo>
                  <a:lnTo>
                    <a:pt x="325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5" y="210"/>
                  </a:lnTo>
                  <a:lnTo>
                    <a:pt x="335" y="243"/>
                  </a:lnTo>
                  <a:lnTo>
                    <a:pt x="319" y="273"/>
                  </a:lnTo>
                  <a:lnTo>
                    <a:pt x="297" y="299"/>
                  </a:lnTo>
                  <a:lnTo>
                    <a:pt x="272" y="319"/>
                  </a:lnTo>
                  <a:lnTo>
                    <a:pt x="242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39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29" y="273"/>
                  </a:lnTo>
                  <a:lnTo>
                    <a:pt x="14" y="243"/>
                  </a:lnTo>
                  <a:lnTo>
                    <a:pt x="3" y="210"/>
                  </a:lnTo>
                  <a:lnTo>
                    <a:pt x="0" y="175"/>
                  </a:lnTo>
                  <a:lnTo>
                    <a:pt x="3" y="140"/>
                  </a:lnTo>
                  <a:lnTo>
                    <a:pt x="14" y="107"/>
                  </a:lnTo>
                  <a:lnTo>
                    <a:pt x="29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39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1" name="Freeform 17">
              <a:extLst>
                <a:ext uri="{FF2B5EF4-FFF2-40B4-BE49-F238E27FC236}">
                  <a16:creationId xmlns:a16="http://schemas.microsoft.com/office/drawing/2014/main" id="{67A5F0B0-C078-4A85-9E32-409FF0B3D5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2133" y="6255221"/>
              <a:ext cx="26656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2 w 349"/>
                <a:gd name="T25" fmla="*/ 226 h 350"/>
                <a:gd name="T26" fmla="*/ 226 w 349"/>
                <a:gd name="T27" fmla="*/ 213 h 350"/>
                <a:gd name="T28" fmla="*/ 235 w 349"/>
                <a:gd name="T29" fmla="*/ 194 h 350"/>
                <a:gd name="T30" fmla="*/ 237 w 349"/>
                <a:gd name="T31" fmla="*/ 175 h 350"/>
                <a:gd name="T32" fmla="*/ 236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7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5 w 349"/>
                <a:gd name="T47" fmla="*/ 3 h 350"/>
                <a:gd name="T48" fmla="*/ 235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9 w 349"/>
                <a:gd name="T55" fmla="*/ 63 h 350"/>
                <a:gd name="T56" fmla="*/ 326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6 w 349"/>
                <a:gd name="T65" fmla="*/ 210 h 350"/>
                <a:gd name="T66" fmla="*/ 336 w 349"/>
                <a:gd name="T67" fmla="*/ 243 h 350"/>
                <a:gd name="T68" fmla="*/ 319 w 349"/>
                <a:gd name="T69" fmla="*/ 273 h 350"/>
                <a:gd name="T70" fmla="*/ 298 w 349"/>
                <a:gd name="T71" fmla="*/ 299 h 350"/>
                <a:gd name="T72" fmla="*/ 272 w 349"/>
                <a:gd name="T73" fmla="*/ 319 h 350"/>
                <a:gd name="T74" fmla="*/ 243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40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30 w 349"/>
                <a:gd name="T89" fmla="*/ 273 h 350"/>
                <a:gd name="T90" fmla="*/ 14 w 349"/>
                <a:gd name="T91" fmla="*/ 243 h 350"/>
                <a:gd name="T92" fmla="*/ 4 w 349"/>
                <a:gd name="T93" fmla="*/ 210 h 350"/>
                <a:gd name="T94" fmla="*/ 0 w 349"/>
                <a:gd name="T95" fmla="*/ 175 h 350"/>
                <a:gd name="T96" fmla="*/ 4 w 349"/>
                <a:gd name="T97" fmla="*/ 140 h 350"/>
                <a:gd name="T98" fmla="*/ 14 w 349"/>
                <a:gd name="T99" fmla="*/ 107 h 350"/>
                <a:gd name="T100" fmla="*/ 30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40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7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7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5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19" y="273"/>
                  </a:lnTo>
                  <a:lnTo>
                    <a:pt x="298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2" name="Freeform 18">
              <a:extLst>
                <a:ext uri="{FF2B5EF4-FFF2-40B4-BE49-F238E27FC236}">
                  <a16:creationId xmlns:a16="http://schemas.microsoft.com/office/drawing/2014/main" id="{BF1784DA-3E40-44FD-998D-DB1DD379C0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8357" y="6255221"/>
              <a:ext cx="26428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7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1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7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8 w 350"/>
                <a:gd name="T31" fmla="*/ 175 h 350"/>
                <a:gd name="T32" fmla="*/ 236 w 350"/>
                <a:gd name="T33" fmla="*/ 158 h 350"/>
                <a:gd name="T34" fmla="*/ 229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7 w 350"/>
                <a:gd name="T53" fmla="*/ 41 h 350"/>
                <a:gd name="T54" fmla="*/ 309 w 350"/>
                <a:gd name="T55" fmla="*/ 63 h 350"/>
                <a:gd name="T56" fmla="*/ 326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2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7 w 350"/>
                <a:gd name="T85" fmla="*/ 319 h 350"/>
                <a:gd name="T86" fmla="*/ 51 w 350"/>
                <a:gd name="T87" fmla="*/ 299 h 350"/>
                <a:gd name="T88" fmla="*/ 30 w 350"/>
                <a:gd name="T89" fmla="*/ 273 h 350"/>
                <a:gd name="T90" fmla="*/ 14 w 350"/>
                <a:gd name="T91" fmla="*/ 243 h 350"/>
                <a:gd name="T92" fmla="*/ 4 w 350"/>
                <a:gd name="T93" fmla="*/ 210 h 350"/>
                <a:gd name="T94" fmla="*/ 0 w 350"/>
                <a:gd name="T95" fmla="*/ 175 h 350"/>
                <a:gd name="T96" fmla="*/ 4 w 350"/>
                <a:gd name="T97" fmla="*/ 140 h 350"/>
                <a:gd name="T98" fmla="*/ 14 w 350"/>
                <a:gd name="T99" fmla="*/ 107 h 350"/>
                <a:gd name="T100" fmla="*/ 30 w 350"/>
                <a:gd name="T101" fmla="*/ 78 h 350"/>
                <a:gd name="T102" fmla="*/ 51 w 350"/>
                <a:gd name="T103" fmla="*/ 52 h 350"/>
                <a:gd name="T104" fmla="*/ 77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8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3" name="Freeform 19">
              <a:extLst>
                <a:ext uri="{FF2B5EF4-FFF2-40B4-BE49-F238E27FC236}">
                  <a16:creationId xmlns:a16="http://schemas.microsoft.com/office/drawing/2014/main" id="{FF26547B-24B3-4108-8095-A2794E966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4353" y="6255221"/>
              <a:ext cx="26656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8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3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8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9 w 350"/>
                <a:gd name="T31" fmla="*/ 175 h 350"/>
                <a:gd name="T32" fmla="*/ 236 w 350"/>
                <a:gd name="T33" fmla="*/ 158 h 350"/>
                <a:gd name="T34" fmla="*/ 231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8 w 350"/>
                <a:gd name="T53" fmla="*/ 41 h 350"/>
                <a:gd name="T54" fmla="*/ 309 w 350"/>
                <a:gd name="T55" fmla="*/ 63 h 350"/>
                <a:gd name="T56" fmla="*/ 327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3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8 w 350"/>
                <a:gd name="T85" fmla="*/ 319 h 350"/>
                <a:gd name="T86" fmla="*/ 53 w 350"/>
                <a:gd name="T87" fmla="*/ 299 h 350"/>
                <a:gd name="T88" fmla="*/ 31 w 350"/>
                <a:gd name="T89" fmla="*/ 273 h 350"/>
                <a:gd name="T90" fmla="*/ 15 w 350"/>
                <a:gd name="T91" fmla="*/ 243 h 350"/>
                <a:gd name="T92" fmla="*/ 5 w 350"/>
                <a:gd name="T93" fmla="*/ 210 h 350"/>
                <a:gd name="T94" fmla="*/ 0 w 350"/>
                <a:gd name="T95" fmla="*/ 175 h 350"/>
                <a:gd name="T96" fmla="*/ 5 w 350"/>
                <a:gd name="T97" fmla="*/ 140 h 350"/>
                <a:gd name="T98" fmla="*/ 15 w 350"/>
                <a:gd name="T99" fmla="*/ 107 h 350"/>
                <a:gd name="T100" fmla="*/ 31 w 350"/>
                <a:gd name="T101" fmla="*/ 78 h 350"/>
                <a:gd name="T102" fmla="*/ 53 w 350"/>
                <a:gd name="T103" fmla="*/ 52 h 350"/>
                <a:gd name="T104" fmla="*/ 78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8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3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8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9" y="175"/>
                  </a:lnTo>
                  <a:lnTo>
                    <a:pt x="236" y="158"/>
                  </a:lnTo>
                  <a:lnTo>
                    <a:pt x="231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8" y="41"/>
                  </a:lnTo>
                  <a:lnTo>
                    <a:pt x="309" y="63"/>
                  </a:lnTo>
                  <a:lnTo>
                    <a:pt x="327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3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8" y="319"/>
                  </a:lnTo>
                  <a:lnTo>
                    <a:pt x="53" y="299"/>
                  </a:lnTo>
                  <a:lnTo>
                    <a:pt x="31" y="273"/>
                  </a:lnTo>
                  <a:lnTo>
                    <a:pt x="15" y="243"/>
                  </a:lnTo>
                  <a:lnTo>
                    <a:pt x="5" y="210"/>
                  </a:lnTo>
                  <a:lnTo>
                    <a:pt x="0" y="175"/>
                  </a:lnTo>
                  <a:lnTo>
                    <a:pt x="5" y="140"/>
                  </a:lnTo>
                  <a:lnTo>
                    <a:pt x="15" y="107"/>
                  </a:lnTo>
                  <a:lnTo>
                    <a:pt x="31" y="78"/>
                  </a:lnTo>
                  <a:lnTo>
                    <a:pt x="53" y="52"/>
                  </a:lnTo>
                  <a:lnTo>
                    <a:pt x="78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4" name="Freeform 20">
              <a:extLst>
                <a:ext uri="{FF2B5EF4-FFF2-40B4-BE49-F238E27FC236}">
                  <a16:creationId xmlns:a16="http://schemas.microsoft.com/office/drawing/2014/main" id="{6F553FA1-4728-401A-8C20-F18E165CA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80832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2 h 111"/>
                <a:gd name="T10" fmla="*/ 168 w 171"/>
                <a:gd name="T11" fmla="*/ 37 h 111"/>
                <a:gd name="T12" fmla="*/ 171 w 171"/>
                <a:gd name="T13" fmla="*/ 55 h 111"/>
                <a:gd name="T14" fmla="*/ 168 w 171"/>
                <a:gd name="T15" fmla="*/ 72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8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8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2 h 111"/>
                <a:gd name="T34" fmla="*/ 0 w 171"/>
                <a:gd name="T35" fmla="*/ 55 h 111"/>
                <a:gd name="T36" fmla="*/ 2 w 171"/>
                <a:gd name="T37" fmla="*/ 37 h 111"/>
                <a:gd name="T38" fmla="*/ 10 w 171"/>
                <a:gd name="T39" fmla="*/ 22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2"/>
                  </a:lnTo>
                  <a:lnTo>
                    <a:pt x="168" y="37"/>
                  </a:lnTo>
                  <a:lnTo>
                    <a:pt x="171" y="55"/>
                  </a:lnTo>
                  <a:lnTo>
                    <a:pt x="168" y="72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8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8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2"/>
                  </a:lnTo>
                  <a:lnTo>
                    <a:pt x="0" y="55"/>
                  </a:lnTo>
                  <a:lnTo>
                    <a:pt x="2" y="37"/>
                  </a:lnTo>
                  <a:lnTo>
                    <a:pt x="10" y="22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5" name="Freeform 21">
              <a:extLst>
                <a:ext uri="{FF2B5EF4-FFF2-40B4-BE49-F238E27FC236}">
                  <a16:creationId xmlns:a16="http://schemas.microsoft.com/office/drawing/2014/main" id="{2A783787-5E9B-43C9-9BF4-073950C97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95860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3 h 111"/>
                <a:gd name="T10" fmla="*/ 168 w 171"/>
                <a:gd name="T11" fmla="*/ 38 h 111"/>
                <a:gd name="T12" fmla="*/ 171 w 171"/>
                <a:gd name="T13" fmla="*/ 55 h 111"/>
                <a:gd name="T14" fmla="*/ 168 w 171"/>
                <a:gd name="T15" fmla="*/ 74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9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9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4 h 111"/>
                <a:gd name="T34" fmla="*/ 0 w 171"/>
                <a:gd name="T35" fmla="*/ 55 h 111"/>
                <a:gd name="T36" fmla="*/ 2 w 171"/>
                <a:gd name="T37" fmla="*/ 38 h 111"/>
                <a:gd name="T38" fmla="*/ 10 w 171"/>
                <a:gd name="T39" fmla="*/ 23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3"/>
                  </a:lnTo>
                  <a:lnTo>
                    <a:pt x="168" y="38"/>
                  </a:lnTo>
                  <a:lnTo>
                    <a:pt x="171" y="55"/>
                  </a:lnTo>
                  <a:lnTo>
                    <a:pt x="168" y="74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9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9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4"/>
                  </a:lnTo>
                  <a:lnTo>
                    <a:pt x="0" y="55"/>
                  </a:lnTo>
                  <a:lnTo>
                    <a:pt x="2" y="38"/>
                  </a:lnTo>
                  <a:lnTo>
                    <a:pt x="10" y="23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6" name="Freeform 22">
              <a:extLst>
                <a:ext uri="{FF2B5EF4-FFF2-40B4-BE49-F238E27FC236}">
                  <a16:creationId xmlns:a16="http://schemas.microsoft.com/office/drawing/2014/main" id="{6465D05A-ED22-49B3-924E-6DFC4C8C8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8138" y="5997240"/>
              <a:ext cx="283642" cy="307072"/>
            </a:xfrm>
            <a:custGeom>
              <a:avLst/>
              <a:gdLst>
                <a:gd name="T0" fmla="*/ 185 w 3736"/>
                <a:gd name="T1" fmla="*/ 3069 h 3678"/>
                <a:gd name="T2" fmla="*/ 125 w 3736"/>
                <a:gd name="T3" fmla="*/ 3352 h 3678"/>
                <a:gd name="T4" fmla="*/ 325 w 3736"/>
                <a:gd name="T5" fmla="*/ 3554 h 3678"/>
                <a:gd name="T6" fmla="*/ 2002 w 3736"/>
                <a:gd name="T7" fmla="*/ 3518 h 3678"/>
                <a:gd name="T8" fmla="*/ 2140 w 3736"/>
                <a:gd name="T9" fmla="*/ 3266 h 3678"/>
                <a:gd name="T10" fmla="*/ 2002 w 3736"/>
                <a:gd name="T11" fmla="*/ 3013 h 3678"/>
                <a:gd name="T12" fmla="*/ 943 w 3736"/>
                <a:gd name="T13" fmla="*/ 2853 h 3678"/>
                <a:gd name="T14" fmla="*/ 2970 w 3736"/>
                <a:gd name="T15" fmla="*/ 2765 h 3678"/>
                <a:gd name="T16" fmla="*/ 3240 w 3736"/>
                <a:gd name="T17" fmla="*/ 2787 h 3678"/>
                <a:gd name="T18" fmla="*/ 3506 w 3736"/>
                <a:gd name="T19" fmla="*/ 2599 h 3678"/>
                <a:gd name="T20" fmla="*/ 302 w 3736"/>
                <a:gd name="T21" fmla="*/ 2099 h 3678"/>
                <a:gd name="T22" fmla="*/ 333 w 3736"/>
                <a:gd name="T23" fmla="*/ 2613 h 3678"/>
                <a:gd name="T24" fmla="*/ 3524 w 3736"/>
                <a:gd name="T25" fmla="*/ 1966 h 3678"/>
                <a:gd name="T26" fmla="*/ 3542 w 3736"/>
                <a:gd name="T27" fmla="*/ 2077 h 3678"/>
                <a:gd name="T28" fmla="*/ 3622 w 3736"/>
                <a:gd name="T29" fmla="*/ 1998 h 3678"/>
                <a:gd name="T30" fmla="*/ 893 w 3736"/>
                <a:gd name="T31" fmla="*/ 1458 h 3678"/>
                <a:gd name="T32" fmla="*/ 1843 w 3736"/>
                <a:gd name="T33" fmla="*/ 2616 h 3678"/>
                <a:gd name="T34" fmla="*/ 1132 w 3736"/>
                <a:gd name="T35" fmla="*/ 2414 h 3678"/>
                <a:gd name="T36" fmla="*/ 954 w 3736"/>
                <a:gd name="T37" fmla="*/ 2256 h 3678"/>
                <a:gd name="T38" fmla="*/ 1082 w 3736"/>
                <a:gd name="T39" fmla="*/ 2271 h 3678"/>
                <a:gd name="T40" fmla="*/ 1271 w 3736"/>
                <a:gd name="T41" fmla="*/ 1557 h 3678"/>
                <a:gd name="T42" fmla="*/ 1360 w 3736"/>
                <a:gd name="T43" fmla="*/ 1601 h 3678"/>
                <a:gd name="T44" fmla="*/ 1958 w 3736"/>
                <a:gd name="T45" fmla="*/ 2171 h 3678"/>
                <a:gd name="T46" fmla="*/ 1525 w 3736"/>
                <a:gd name="T47" fmla="*/ 1457 h 3678"/>
                <a:gd name="T48" fmla="*/ 2749 w 3736"/>
                <a:gd name="T49" fmla="*/ 361 h 3678"/>
                <a:gd name="T50" fmla="*/ 3541 w 3736"/>
                <a:gd name="T51" fmla="*/ 1844 h 3678"/>
                <a:gd name="T52" fmla="*/ 1658 w 3736"/>
                <a:gd name="T53" fmla="*/ 1439 h 3678"/>
                <a:gd name="T54" fmla="*/ 2419 w 3736"/>
                <a:gd name="T55" fmla="*/ 427 h 3678"/>
                <a:gd name="T56" fmla="*/ 2498 w 3736"/>
                <a:gd name="T57" fmla="*/ 124 h 3678"/>
                <a:gd name="T58" fmla="*/ 2441 w 3736"/>
                <a:gd name="T59" fmla="*/ 287 h 3678"/>
                <a:gd name="T60" fmla="*/ 2599 w 3736"/>
                <a:gd name="T61" fmla="*/ 347 h 3678"/>
                <a:gd name="T62" fmla="*/ 2672 w 3736"/>
                <a:gd name="T63" fmla="*/ 256 h 3678"/>
                <a:gd name="T64" fmla="*/ 2625 w 3736"/>
                <a:gd name="T65" fmla="*/ 136 h 3678"/>
                <a:gd name="T66" fmla="*/ 2665 w 3736"/>
                <a:gd name="T67" fmla="*/ 28 h 3678"/>
                <a:gd name="T68" fmla="*/ 3734 w 3736"/>
                <a:gd name="T69" fmla="*/ 1986 h 3678"/>
                <a:gd name="T70" fmla="*/ 3646 w 3736"/>
                <a:gd name="T71" fmla="*/ 2170 h 3678"/>
                <a:gd name="T72" fmla="*/ 3580 w 3736"/>
                <a:gd name="T73" fmla="*/ 2724 h 3678"/>
                <a:gd name="T74" fmla="*/ 3180 w 3736"/>
                <a:gd name="T75" fmla="*/ 2918 h 3678"/>
                <a:gd name="T76" fmla="*/ 2865 w 3736"/>
                <a:gd name="T77" fmla="*/ 2826 h 3678"/>
                <a:gd name="T78" fmla="*/ 2459 w 3736"/>
                <a:gd name="T79" fmla="*/ 2397 h 3678"/>
                <a:gd name="T80" fmla="*/ 3431 w 3736"/>
                <a:gd name="T81" fmla="*/ 2200 h 3678"/>
                <a:gd name="T82" fmla="*/ 3506 w 3736"/>
                <a:gd name="T83" fmla="*/ 2183 h 3678"/>
                <a:gd name="T84" fmla="*/ 1983 w 3736"/>
                <a:gd name="T85" fmla="*/ 1926 h 3678"/>
                <a:gd name="T86" fmla="*/ 2073 w 3736"/>
                <a:gd name="T87" fmla="*/ 2433 h 3678"/>
                <a:gd name="T88" fmla="*/ 2059 w 3736"/>
                <a:gd name="T89" fmla="*/ 2469 h 3678"/>
                <a:gd name="T90" fmla="*/ 2043 w 3736"/>
                <a:gd name="T91" fmla="*/ 2482 h 3678"/>
                <a:gd name="T92" fmla="*/ 2024 w 3736"/>
                <a:gd name="T93" fmla="*/ 2489 h 3678"/>
                <a:gd name="T94" fmla="*/ 1942 w 3736"/>
                <a:gd name="T95" fmla="*/ 2705 h 3678"/>
                <a:gd name="T96" fmla="*/ 1890 w 3736"/>
                <a:gd name="T97" fmla="*/ 2857 h 3678"/>
                <a:gd name="T98" fmla="*/ 2177 w 3736"/>
                <a:gd name="T99" fmla="*/ 3030 h 3678"/>
                <a:gd name="T100" fmla="*/ 2238 w 3736"/>
                <a:gd name="T101" fmla="*/ 3367 h 3678"/>
                <a:gd name="T102" fmla="*/ 2032 w 3736"/>
                <a:gd name="T103" fmla="*/ 3630 h 3678"/>
                <a:gd name="T104" fmla="*/ 311 w 3736"/>
                <a:gd name="T105" fmla="*/ 3666 h 3678"/>
                <a:gd name="T106" fmla="*/ 49 w 3736"/>
                <a:gd name="T107" fmla="*/ 3460 h 3678"/>
                <a:gd name="T108" fmla="*/ 28 w 3736"/>
                <a:gd name="T109" fmla="*/ 3116 h 3678"/>
                <a:gd name="T110" fmla="*/ 263 w 3736"/>
                <a:gd name="T111" fmla="*/ 2882 h 3678"/>
                <a:gd name="T112" fmla="*/ 317 w 3736"/>
                <a:gd name="T113" fmla="*/ 2724 h 3678"/>
                <a:gd name="T114" fmla="*/ 178 w 3736"/>
                <a:gd name="T115" fmla="*/ 2553 h 3678"/>
                <a:gd name="T116" fmla="*/ 284 w 3736"/>
                <a:gd name="T117" fmla="*/ 1975 h 3678"/>
                <a:gd name="T118" fmla="*/ 740 w 3736"/>
                <a:gd name="T119" fmla="*/ 1477 h 3678"/>
                <a:gd name="T120" fmla="*/ 963 w 3736"/>
                <a:gd name="T121" fmla="*/ 1310 h 3678"/>
                <a:gd name="T122" fmla="*/ 2410 w 3736"/>
                <a:gd name="T123" fmla="*/ 48 h 3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6" h="3678">
                  <a:moveTo>
                    <a:pt x="413" y="2964"/>
                  </a:moveTo>
                  <a:lnTo>
                    <a:pt x="367" y="2968"/>
                  </a:lnTo>
                  <a:lnTo>
                    <a:pt x="325" y="2978"/>
                  </a:lnTo>
                  <a:lnTo>
                    <a:pt x="286" y="2993"/>
                  </a:lnTo>
                  <a:lnTo>
                    <a:pt x="248" y="3013"/>
                  </a:lnTo>
                  <a:lnTo>
                    <a:pt x="215" y="3039"/>
                  </a:lnTo>
                  <a:lnTo>
                    <a:pt x="185" y="3069"/>
                  </a:lnTo>
                  <a:lnTo>
                    <a:pt x="160" y="3102"/>
                  </a:lnTo>
                  <a:lnTo>
                    <a:pt x="139" y="3139"/>
                  </a:lnTo>
                  <a:lnTo>
                    <a:pt x="125" y="3179"/>
                  </a:lnTo>
                  <a:lnTo>
                    <a:pt x="114" y="3222"/>
                  </a:lnTo>
                  <a:lnTo>
                    <a:pt x="111" y="3266"/>
                  </a:lnTo>
                  <a:lnTo>
                    <a:pt x="114" y="3310"/>
                  </a:lnTo>
                  <a:lnTo>
                    <a:pt x="125" y="3352"/>
                  </a:lnTo>
                  <a:lnTo>
                    <a:pt x="139" y="3393"/>
                  </a:lnTo>
                  <a:lnTo>
                    <a:pt x="160" y="3430"/>
                  </a:lnTo>
                  <a:lnTo>
                    <a:pt x="185" y="3464"/>
                  </a:lnTo>
                  <a:lnTo>
                    <a:pt x="215" y="3493"/>
                  </a:lnTo>
                  <a:lnTo>
                    <a:pt x="248" y="3518"/>
                  </a:lnTo>
                  <a:lnTo>
                    <a:pt x="286" y="3538"/>
                  </a:lnTo>
                  <a:lnTo>
                    <a:pt x="325" y="3554"/>
                  </a:lnTo>
                  <a:lnTo>
                    <a:pt x="367" y="3563"/>
                  </a:lnTo>
                  <a:lnTo>
                    <a:pt x="413" y="3567"/>
                  </a:lnTo>
                  <a:lnTo>
                    <a:pt x="1838" y="3567"/>
                  </a:lnTo>
                  <a:lnTo>
                    <a:pt x="1882" y="3563"/>
                  </a:lnTo>
                  <a:lnTo>
                    <a:pt x="1925" y="3554"/>
                  </a:lnTo>
                  <a:lnTo>
                    <a:pt x="1965" y="3538"/>
                  </a:lnTo>
                  <a:lnTo>
                    <a:pt x="2002" y="3518"/>
                  </a:lnTo>
                  <a:lnTo>
                    <a:pt x="2035" y="3493"/>
                  </a:lnTo>
                  <a:lnTo>
                    <a:pt x="2065" y="3464"/>
                  </a:lnTo>
                  <a:lnTo>
                    <a:pt x="2091" y="3430"/>
                  </a:lnTo>
                  <a:lnTo>
                    <a:pt x="2111" y="3393"/>
                  </a:lnTo>
                  <a:lnTo>
                    <a:pt x="2126" y="3352"/>
                  </a:lnTo>
                  <a:lnTo>
                    <a:pt x="2136" y="3310"/>
                  </a:lnTo>
                  <a:lnTo>
                    <a:pt x="2140" y="3266"/>
                  </a:lnTo>
                  <a:lnTo>
                    <a:pt x="2136" y="3222"/>
                  </a:lnTo>
                  <a:lnTo>
                    <a:pt x="2126" y="3179"/>
                  </a:lnTo>
                  <a:lnTo>
                    <a:pt x="2111" y="3139"/>
                  </a:lnTo>
                  <a:lnTo>
                    <a:pt x="2091" y="3102"/>
                  </a:lnTo>
                  <a:lnTo>
                    <a:pt x="2065" y="3069"/>
                  </a:lnTo>
                  <a:lnTo>
                    <a:pt x="2035" y="3039"/>
                  </a:lnTo>
                  <a:lnTo>
                    <a:pt x="2002" y="3013"/>
                  </a:lnTo>
                  <a:lnTo>
                    <a:pt x="1965" y="2993"/>
                  </a:lnTo>
                  <a:lnTo>
                    <a:pt x="1925" y="2978"/>
                  </a:lnTo>
                  <a:lnTo>
                    <a:pt x="1882" y="2968"/>
                  </a:lnTo>
                  <a:lnTo>
                    <a:pt x="1838" y="2964"/>
                  </a:lnTo>
                  <a:lnTo>
                    <a:pt x="413" y="2964"/>
                  </a:lnTo>
                  <a:close/>
                  <a:moveTo>
                    <a:pt x="943" y="2727"/>
                  </a:moveTo>
                  <a:lnTo>
                    <a:pt x="943" y="2853"/>
                  </a:lnTo>
                  <a:lnTo>
                    <a:pt x="1307" y="2853"/>
                  </a:lnTo>
                  <a:lnTo>
                    <a:pt x="1307" y="2727"/>
                  </a:lnTo>
                  <a:lnTo>
                    <a:pt x="943" y="2727"/>
                  </a:lnTo>
                  <a:close/>
                  <a:moveTo>
                    <a:pt x="3407" y="2328"/>
                  </a:moveTo>
                  <a:lnTo>
                    <a:pt x="2754" y="2590"/>
                  </a:lnTo>
                  <a:lnTo>
                    <a:pt x="2936" y="2741"/>
                  </a:lnTo>
                  <a:lnTo>
                    <a:pt x="2970" y="2765"/>
                  </a:lnTo>
                  <a:lnTo>
                    <a:pt x="3005" y="2783"/>
                  </a:lnTo>
                  <a:lnTo>
                    <a:pt x="3042" y="2797"/>
                  </a:lnTo>
                  <a:lnTo>
                    <a:pt x="3081" y="2806"/>
                  </a:lnTo>
                  <a:lnTo>
                    <a:pt x="3121" y="2809"/>
                  </a:lnTo>
                  <a:lnTo>
                    <a:pt x="3161" y="2808"/>
                  </a:lnTo>
                  <a:lnTo>
                    <a:pt x="3201" y="2800"/>
                  </a:lnTo>
                  <a:lnTo>
                    <a:pt x="3240" y="2787"/>
                  </a:lnTo>
                  <a:lnTo>
                    <a:pt x="3429" y="2711"/>
                  </a:lnTo>
                  <a:lnTo>
                    <a:pt x="3452" y="2700"/>
                  </a:lnTo>
                  <a:lnTo>
                    <a:pt x="3470" y="2684"/>
                  </a:lnTo>
                  <a:lnTo>
                    <a:pt x="3485" y="2666"/>
                  </a:lnTo>
                  <a:lnTo>
                    <a:pt x="3496" y="2646"/>
                  </a:lnTo>
                  <a:lnTo>
                    <a:pt x="3504" y="2623"/>
                  </a:lnTo>
                  <a:lnTo>
                    <a:pt x="3506" y="2599"/>
                  </a:lnTo>
                  <a:lnTo>
                    <a:pt x="3504" y="2575"/>
                  </a:lnTo>
                  <a:lnTo>
                    <a:pt x="3497" y="2551"/>
                  </a:lnTo>
                  <a:lnTo>
                    <a:pt x="3407" y="2328"/>
                  </a:lnTo>
                  <a:close/>
                  <a:moveTo>
                    <a:pt x="353" y="2073"/>
                  </a:moveTo>
                  <a:lnTo>
                    <a:pt x="333" y="2076"/>
                  </a:lnTo>
                  <a:lnTo>
                    <a:pt x="315" y="2085"/>
                  </a:lnTo>
                  <a:lnTo>
                    <a:pt x="302" y="2099"/>
                  </a:lnTo>
                  <a:lnTo>
                    <a:pt x="292" y="2116"/>
                  </a:lnTo>
                  <a:lnTo>
                    <a:pt x="289" y="2136"/>
                  </a:lnTo>
                  <a:lnTo>
                    <a:pt x="289" y="2553"/>
                  </a:lnTo>
                  <a:lnTo>
                    <a:pt x="292" y="2572"/>
                  </a:lnTo>
                  <a:lnTo>
                    <a:pt x="302" y="2590"/>
                  </a:lnTo>
                  <a:lnTo>
                    <a:pt x="315" y="2604"/>
                  </a:lnTo>
                  <a:lnTo>
                    <a:pt x="333" y="2613"/>
                  </a:lnTo>
                  <a:lnTo>
                    <a:pt x="353" y="2616"/>
                  </a:lnTo>
                  <a:lnTo>
                    <a:pt x="713" y="2616"/>
                  </a:lnTo>
                  <a:lnTo>
                    <a:pt x="713" y="2073"/>
                  </a:lnTo>
                  <a:lnTo>
                    <a:pt x="353" y="2073"/>
                  </a:lnTo>
                  <a:close/>
                  <a:moveTo>
                    <a:pt x="3562" y="1955"/>
                  </a:moveTo>
                  <a:lnTo>
                    <a:pt x="3542" y="1957"/>
                  </a:lnTo>
                  <a:lnTo>
                    <a:pt x="3524" y="1966"/>
                  </a:lnTo>
                  <a:lnTo>
                    <a:pt x="3511" y="1980"/>
                  </a:lnTo>
                  <a:lnTo>
                    <a:pt x="3502" y="1998"/>
                  </a:lnTo>
                  <a:lnTo>
                    <a:pt x="3498" y="2017"/>
                  </a:lnTo>
                  <a:lnTo>
                    <a:pt x="3502" y="2038"/>
                  </a:lnTo>
                  <a:lnTo>
                    <a:pt x="3511" y="2055"/>
                  </a:lnTo>
                  <a:lnTo>
                    <a:pt x="3524" y="2068"/>
                  </a:lnTo>
                  <a:lnTo>
                    <a:pt x="3542" y="2077"/>
                  </a:lnTo>
                  <a:lnTo>
                    <a:pt x="3562" y="2081"/>
                  </a:lnTo>
                  <a:lnTo>
                    <a:pt x="3582" y="2077"/>
                  </a:lnTo>
                  <a:lnTo>
                    <a:pt x="3599" y="2068"/>
                  </a:lnTo>
                  <a:lnTo>
                    <a:pt x="3613" y="2055"/>
                  </a:lnTo>
                  <a:lnTo>
                    <a:pt x="3622" y="2038"/>
                  </a:lnTo>
                  <a:lnTo>
                    <a:pt x="3625" y="2017"/>
                  </a:lnTo>
                  <a:lnTo>
                    <a:pt x="3622" y="1998"/>
                  </a:lnTo>
                  <a:lnTo>
                    <a:pt x="3613" y="1980"/>
                  </a:lnTo>
                  <a:lnTo>
                    <a:pt x="3599" y="1966"/>
                  </a:lnTo>
                  <a:lnTo>
                    <a:pt x="3582" y="1957"/>
                  </a:lnTo>
                  <a:lnTo>
                    <a:pt x="3562" y="1955"/>
                  </a:lnTo>
                  <a:close/>
                  <a:moveTo>
                    <a:pt x="950" y="1428"/>
                  </a:moveTo>
                  <a:lnTo>
                    <a:pt x="921" y="1441"/>
                  </a:lnTo>
                  <a:lnTo>
                    <a:pt x="893" y="1458"/>
                  </a:lnTo>
                  <a:lnTo>
                    <a:pt x="871" y="1481"/>
                  </a:lnTo>
                  <a:lnTo>
                    <a:pt x="851" y="1507"/>
                  </a:lnTo>
                  <a:lnTo>
                    <a:pt x="837" y="1536"/>
                  </a:lnTo>
                  <a:lnTo>
                    <a:pt x="828" y="1568"/>
                  </a:lnTo>
                  <a:lnTo>
                    <a:pt x="824" y="1601"/>
                  </a:lnTo>
                  <a:lnTo>
                    <a:pt x="824" y="2616"/>
                  </a:lnTo>
                  <a:lnTo>
                    <a:pt x="1843" y="2616"/>
                  </a:lnTo>
                  <a:lnTo>
                    <a:pt x="1843" y="2489"/>
                  </a:lnTo>
                  <a:lnTo>
                    <a:pt x="1556" y="2489"/>
                  </a:lnTo>
                  <a:lnTo>
                    <a:pt x="1468" y="2487"/>
                  </a:lnTo>
                  <a:lnTo>
                    <a:pt x="1382" y="2478"/>
                  </a:lnTo>
                  <a:lnTo>
                    <a:pt x="1297" y="2462"/>
                  </a:lnTo>
                  <a:lnTo>
                    <a:pt x="1213" y="2441"/>
                  </a:lnTo>
                  <a:lnTo>
                    <a:pt x="1132" y="2414"/>
                  </a:lnTo>
                  <a:lnTo>
                    <a:pt x="1050" y="2382"/>
                  </a:lnTo>
                  <a:lnTo>
                    <a:pt x="1026" y="2369"/>
                  </a:lnTo>
                  <a:lnTo>
                    <a:pt x="1005" y="2352"/>
                  </a:lnTo>
                  <a:lnTo>
                    <a:pt x="985" y="2331"/>
                  </a:lnTo>
                  <a:lnTo>
                    <a:pt x="971" y="2309"/>
                  </a:lnTo>
                  <a:lnTo>
                    <a:pt x="960" y="2284"/>
                  </a:lnTo>
                  <a:lnTo>
                    <a:pt x="954" y="2256"/>
                  </a:lnTo>
                  <a:lnTo>
                    <a:pt x="950" y="2228"/>
                  </a:lnTo>
                  <a:lnTo>
                    <a:pt x="950" y="1428"/>
                  </a:lnTo>
                  <a:close/>
                  <a:moveTo>
                    <a:pt x="1062" y="1419"/>
                  </a:moveTo>
                  <a:lnTo>
                    <a:pt x="1062" y="2228"/>
                  </a:lnTo>
                  <a:lnTo>
                    <a:pt x="1065" y="2245"/>
                  </a:lnTo>
                  <a:lnTo>
                    <a:pt x="1071" y="2259"/>
                  </a:lnTo>
                  <a:lnTo>
                    <a:pt x="1082" y="2271"/>
                  </a:lnTo>
                  <a:lnTo>
                    <a:pt x="1095" y="2280"/>
                  </a:lnTo>
                  <a:lnTo>
                    <a:pt x="1171" y="2311"/>
                  </a:lnTo>
                  <a:lnTo>
                    <a:pt x="1248" y="2335"/>
                  </a:lnTo>
                  <a:lnTo>
                    <a:pt x="1248" y="1601"/>
                  </a:lnTo>
                  <a:lnTo>
                    <a:pt x="1251" y="1584"/>
                  </a:lnTo>
                  <a:lnTo>
                    <a:pt x="1259" y="1568"/>
                  </a:lnTo>
                  <a:lnTo>
                    <a:pt x="1271" y="1557"/>
                  </a:lnTo>
                  <a:lnTo>
                    <a:pt x="1286" y="1549"/>
                  </a:lnTo>
                  <a:lnTo>
                    <a:pt x="1304" y="1545"/>
                  </a:lnTo>
                  <a:lnTo>
                    <a:pt x="1321" y="1549"/>
                  </a:lnTo>
                  <a:lnTo>
                    <a:pt x="1337" y="1557"/>
                  </a:lnTo>
                  <a:lnTo>
                    <a:pt x="1348" y="1568"/>
                  </a:lnTo>
                  <a:lnTo>
                    <a:pt x="1356" y="1584"/>
                  </a:lnTo>
                  <a:lnTo>
                    <a:pt x="1360" y="1601"/>
                  </a:lnTo>
                  <a:lnTo>
                    <a:pt x="1360" y="2361"/>
                  </a:lnTo>
                  <a:lnTo>
                    <a:pt x="1424" y="2370"/>
                  </a:lnTo>
                  <a:lnTo>
                    <a:pt x="1490" y="2376"/>
                  </a:lnTo>
                  <a:lnTo>
                    <a:pt x="1556" y="2378"/>
                  </a:lnTo>
                  <a:lnTo>
                    <a:pt x="1961" y="2378"/>
                  </a:lnTo>
                  <a:lnTo>
                    <a:pt x="1961" y="2221"/>
                  </a:lnTo>
                  <a:lnTo>
                    <a:pt x="1958" y="2171"/>
                  </a:lnTo>
                  <a:lnTo>
                    <a:pt x="1949" y="2123"/>
                  </a:lnTo>
                  <a:lnTo>
                    <a:pt x="1936" y="2076"/>
                  </a:lnTo>
                  <a:lnTo>
                    <a:pt x="1915" y="2031"/>
                  </a:lnTo>
                  <a:lnTo>
                    <a:pt x="1890" y="1988"/>
                  </a:lnTo>
                  <a:lnTo>
                    <a:pt x="1566" y="1500"/>
                  </a:lnTo>
                  <a:lnTo>
                    <a:pt x="1547" y="1477"/>
                  </a:lnTo>
                  <a:lnTo>
                    <a:pt x="1525" y="1457"/>
                  </a:lnTo>
                  <a:lnTo>
                    <a:pt x="1500" y="1441"/>
                  </a:lnTo>
                  <a:lnTo>
                    <a:pt x="1473" y="1428"/>
                  </a:lnTo>
                  <a:lnTo>
                    <a:pt x="1445" y="1422"/>
                  </a:lnTo>
                  <a:lnTo>
                    <a:pt x="1414" y="1419"/>
                  </a:lnTo>
                  <a:lnTo>
                    <a:pt x="1062" y="1419"/>
                  </a:lnTo>
                  <a:close/>
                  <a:moveTo>
                    <a:pt x="2753" y="353"/>
                  </a:moveTo>
                  <a:lnTo>
                    <a:pt x="2749" y="361"/>
                  </a:lnTo>
                  <a:lnTo>
                    <a:pt x="2571" y="659"/>
                  </a:lnTo>
                  <a:lnTo>
                    <a:pt x="3419" y="1917"/>
                  </a:lnTo>
                  <a:lnTo>
                    <a:pt x="3437" y="1895"/>
                  </a:lnTo>
                  <a:lnTo>
                    <a:pt x="3460" y="1876"/>
                  </a:lnTo>
                  <a:lnTo>
                    <a:pt x="3485" y="1861"/>
                  </a:lnTo>
                  <a:lnTo>
                    <a:pt x="3512" y="1850"/>
                  </a:lnTo>
                  <a:lnTo>
                    <a:pt x="3541" y="1844"/>
                  </a:lnTo>
                  <a:lnTo>
                    <a:pt x="2753" y="353"/>
                  </a:lnTo>
                  <a:close/>
                  <a:moveTo>
                    <a:pt x="2334" y="320"/>
                  </a:moveTo>
                  <a:lnTo>
                    <a:pt x="1562" y="1348"/>
                  </a:lnTo>
                  <a:lnTo>
                    <a:pt x="1590" y="1366"/>
                  </a:lnTo>
                  <a:lnTo>
                    <a:pt x="1616" y="1387"/>
                  </a:lnTo>
                  <a:lnTo>
                    <a:pt x="1638" y="1411"/>
                  </a:lnTo>
                  <a:lnTo>
                    <a:pt x="1658" y="1439"/>
                  </a:lnTo>
                  <a:lnTo>
                    <a:pt x="1827" y="1690"/>
                  </a:lnTo>
                  <a:lnTo>
                    <a:pt x="2555" y="467"/>
                  </a:lnTo>
                  <a:lnTo>
                    <a:pt x="2551" y="467"/>
                  </a:lnTo>
                  <a:lnTo>
                    <a:pt x="2515" y="465"/>
                  </a:lnTo>
                  <a:lnTo>
                    <a:pt x="2481" y="457"/>
                  </a:lnTo>
                  <a:lnTo>
                    <a:pt x="2448" y="444"/>
                  </a:lnTo>
                  <a:lnTo>
                    <a:pt x="2419" y="427"/>
                  </a:lnTo>
                  <a:lnTo>
                    <a:pt x="2391" y="405"/>
                  </a:lnTo>
                  <a:lnTo>
                    <a:pt x="2369" y="380"/>
                  </a:lnTo>
                  <a:lnTo>
                    <a:pt x="2349" y="351"/>
                  </a:lnTo>
                  <a:lnTo>
                    <a:pt x="2334" y="320"/>
                  </a:lnTo>
                  <a:close/>
                  <a:moveTo>
                    <a:pt x="2551" y="111"/>
                  </a:moveTo>
                  <a:lnTo>
                    <a:pt x="2523" y="115"/>
                  </a:lnTo>
                  <a:lnTo>
                    <a:pt x="2498" y="124"/>
                  </a:lnTo>
                  <a:lnTo>
                    <a:pt x="2475" y="138"/>
                  </a:lnTo>
                  <a:lnTo>
                    <a:pt x="2456" y="157"/>
                  </a:lnTo>
                  <a:lnTo>
                    <a:pt x="2441" y="180"/>
                  </a:lnTo>
                  <a:lnTo>
                    <a:pt x="2432" y="205"/>
                  </a:lnTo>
                  <a:lnTo>
                    <a:pt x="2429" y="234"/>
                  </a:lnTo>
                  <a:lnTo>
                    <a:pt x="2432" y="262"/>
                  </a:lnTo>
                  <a:lnTo>
                    <a:pt x="2441" y="287"/>
                  </a:lnTo>
                  <a:lnTo>
                    <a:pt x="2456" y="311"/>
                  </a:lnTo>
                  <a:lnTo>
                    <a:pt x="2475" y="329"/>
                  </a:lnTo>
                  <a:lnTo>
                    <a:pt x="2498" y="344"/>
                  </a:lnTo>
                  <a:lnTo>
                    <a:pt x="2523" y="353"/>
                  </a:lnTo>
                  <a:lnTo>
                    <a:pt x="2551" y="356"/>
                  </a:lnTo>
                  <a:lnTo>
                    <a:pt x="2576" y="354"/>
                  </a:lnTo>
                  <a:lnTo>
                    <a:pt x="2599" y="347"/>
                  </a:lnTo>
                  <a:lnTo>
                    <a:pt x="2619" y="336"/>
                  </a:lnTo>
                  <a:lnTo>
                    <a:pt x="2638" y="321"/>
                  </a:lnTo>
                  <a:lnTo>
                    <a:pt x="2653" y="303"/>
                  </a:lnTo>
                  <a:lnTo>
                    <a:pt x="2656" y="298"/>
                  </a:lnTo>
                  <a:lnTo>
                    <a:pt x="2657" y="297"/>
                  </a:lnTo>
                  <a:lnTo>
                    <a:pt x="2666" y="278"/>
                  </a:lnTo>
                  <a:lnTo>
                    <a:pt x="2672" y="256"/>
                  </a:lnTo>
                  <a:lnTo>
                    <a:pt x="2674" y="234"/>
                  </a:lnTo>
                  <a:lnTo>
                    <a:pt x="2672" y="210"/>
                  </a:lnTo>
                  <a:lnTo>
                    <a:pt x="2665" y="187"/>
                  </a:lnTo>
                  <a:lnTo>
                    <a:pt x="2661" y="180"/>
                  </a:lnTo>
                  <a:lnTo>
                    <a:pt x="2658" y="174"/>
                  </a:lnTo>
                  <a:lnTo>
                    <a:pt x="2643" y="153"/>
                  </a:lnTo>
                  <a:lnTo>
                    <a:pt x="2625" y="136"/>
                  </a:lnTo>
                  <a:lnTo>
                    <a:pt x="2603" y="123"/>
                  </a:lnTo>
                  <a:lnTo>
                    <a:pt x="2579" y="115"/>
                  </a:lnTo>
                  <a:lnTo>
                    <a:pt x="2551" y="111"/>
                  </a:lnTo>
                  <a:close/>
                  <a:moveTo>
                    <a:pt x="2551" y="0"/>
                  </a:moveTo>
                  <a:lnTo>
                    <a:pt x="2591" y="3"/>
                  </a:lnTo>
                  <a:lnTo>
                    <a:pt x="2630" y="12"/>
                  </a:lnTo>
                  <a:lnTo>
                    <a:pt x="2665" y="28"/>
                  </a:lnTo>
                  <a:lnTo>
                    <a:pt x="2696" y="50"/>
                  </a:lnTo>
                  <a:lnTo>
                    <a:pt x="2724" y="75"/>
                  </a:lnTo>
                  <a:lnTo>
                    <a:pt x="2747" y="106"/>
                  </a:lnTo>
                  <a:lnTo>
                    <a:pt x="2766" y="138"/>
                  </a:lnTo>
                  <a:lnTo>
                    <a:pt x="3713" y="1930"/>
                  </a:lnTo>
                  <a:lnTo>
                    <a:pt x="3726" y="1957"/>
                  </a:lnTo>
                  <a:lnTo>
                    <a:pt x="3734" y="1986"/>
                  </a:lnTo>
                  <a:lnTo>
                    <a:pt x="3736" y="2017"/>
                  </a:lnTo>
                  <a:lnTo>
                    <a:pt x="3733" y="2050"/>
                  </a:lnTo>
                  <a:lnTo>
                    <a:pt x="3725" y="2080"/>
                  </a:lnTo>
                  <a:lnTo>
                    <a:pt x="3711" y="2108"/>
                  </a:lnTo>
                  <a:lnTo>
                    <a:pt x="3693" y="2132"/>
                  </a:lnTo>
                  <a:lnTo>
                    <a:pt x="3672" y="2153"/>
                  </a:lnTo>
                  <a:lnTo>
                    <a:pt x="3646" y="2170"/>
                  </a:lnTo>
                  <a:lnTo>
                    <a:pt x="3617" y="2183"/>
                  </a:lnTo>
                  <a:lnTo>
                    <a:pt x="3617" y="2612"/>
                  </a:lnTo>
                  <a:lnTo>
                    <a:pt x="3617" y="2620"/>
                  </a:lnTo>
                  <a:lnTo>
                    <a:pt x="3616" y="2626"/>
                  </a:lnTo>
                  <a:lnTo>
                    <a:pt x="3609" y="2660"/>
                  </a:lnTo>
                  <a:lnTo>
                    <a:pt x="3597" y="2693"/>
                  </a:lnTo>
                  <a:lnTo>
                    <a:pt x="3580" y="2724"/>
                  </a:lnTo>
                  <a:lnTo>
                    <a:pt x="3559" y="2752"/>
                  </a:lnTo>
                  <a:lnTo>
                    <a:pt x="3533" y="2777"/>
                  </a:lnTo>
                  <a:lnTo>
                    <a:pt x="3504" y="2799"/>
                  </a:lnTo>
                  <a:lnTo>
                    <a:pt x="3471" y="2815"/>
                  </a:lnTo>
                  <a:lnTo>
                    <a:pt x="3282" y="2891"/>
                  </a:lnTo>
                  <a:lnTo>
                    <a:pt x="3231" y="2908"/>
                  </a:lnTo>
                  <a:lnTo>
                    <a:pt x="3180" y="2918"/>
                  </a:lnTo>
                  <a:lnTo>
                    <a:pt x="3127" y="2920"/>
                  </a:lnTo>
                  <a:lnTo>
                    <a:pt x="3081" y="2918"/>
                  </a:lnTo>
                  <a:lnTo>
                    <a:pt x="3034" y="2910"/>
                  </a:lnTo>
                  <a:lnTo>
                    <a:pt x="2989" y="2896"/>
                  </a:lnTo>
                  <a:lnTo>
                    <a:pt x="2946" y="2878"/>
                  </a:lnTo>
                  <a:lnTo>
                    <a:pt x="2904" y="2855"/>
                  </a:lnTo>
                  <a:lnTo>
                    <a:pt x="2865" y="2826"/>
                  </a:lnTo>
                  <a:lnTo>
                    <a:pt x="2454" y="2487"/>
                  </a:lnTo>
                  <a:lnTo>
                    <a:pt x="2442" y="2474"/>
                  </a:lnTo>
                  <a:lnTo>
                    <a:pt x="2436" y="2458"/>
                  </a:lnTo>
                  <a:lnTo>
                    <a:pt x="2433" y="2441"/>
                  </a:lnTo>
                  <a:lnTo>
                    <a:pt x="2438" y="2424"/>
                  </a:lnTo>
                  <a:lnTo>
                    <a:pt x="2447" y="2409"/>
                  </a:lnTo>
                  <a:lnTo>
                    <a:pt x="2459" y="2397"/>
                  </a:lnTo>
                  <a:lnTo>
                    <a:pt x="2475" y="2390"/>
                  </a:lnTo>
                  <a:lnTo>
                    <a:pt x="2492" y="2388"/>
                  </a:lnTo>
                  <a:lnTo>
                    <a:pt x="2509" y="2393"/>
                  </a:lnTo>
                  <a:lnTo>
                    <a:pt x="2525" y="2402"/>
                  </a:lnTo>
                  <a:lnTo>
                    <a:pt x="2656" y="2509"/>
                  </a:lnTo>
                  <a:lnTo>
                    <a:pt x="3418" y="2203"/>
                  </a:lnTo>
                  <a:lnTo>
                    <a:pt x="3431" y="2200"/>
                  </a:lnTo>
                  <a:lnTo>
                    <a:pt x="3446" y="2200"/>
                  </a:lnTo>
                  <a:lnTo>
                    <a:pt x="3460" y="2204"/>
                  </a:lnTo>
                  <a:lnTo>
                    <a:pt x="3472" y="2211"/>
                  </a:lnTo>
                  <a:lnTo>
                    <a:pt x="3482" y="2221"/>
                  </a:lnTo>
                  <a:lnTo>
                    <a:pt x="3490" y="2235"/>
                  </a:lnTo>
                  <a:lnTo>
                    <a:pt x="3506" y="2275"/>
                  </a:lnTo>
                  <a:lnTo>
                    <a:pt x="3506" y="2183"/>
                  </a:lnTo>
                  <a:lnTo>
                    <a:pt x="3478" y="2170"/>
                  </a:lnTo>
                  <a:lnTo>
                    <a:pt x="3452" y="2152"/>
                  </a:lnTo>
                  <a:lnTo>
                    <a:pt x="3429" y="2131"/>
                  </a:lnTo>
                  <a:lnTo>
                    <a:pt x="3411" y="2106"/>
                  </a:lnTo>
                  <a:lnTo>
                    <a:pt x="2507" y="766"/>
                  </a:lnTo>
                  <a:lnTo>
                    <a:pt x="1895" y="1794"/>
                  </a:lnTo>
                  <a:lnTo>
                    <a:pt x="1983" y="1926"/>
                  </a:lnTo>
                  <a:lnTo>
                    <a:pt x="2010" y="1971"/>
                  </a:lnTo>
                  <a:lnTo>
                    <a:pt x="2032" y="2018"/>
                  </a:lnTo>
                  <a:lnTo>
                    <a:pt x="2050" y="2067"/>
                  </a:lnTo>
                  <a:lnTo>
                    <a:pt x="2063" y="2117"/>
                  </a:lnTo>
                  <a:lnTo>
                    <a:pt x="2069" y="2168"/>
                  </a:lnTo>
                  <a:lnTo>
                    <a:pt x="2073" y="2221"/>
                  </a:lnTo>
                  <a:lnTo>
                    <a:pt x="2073" y="2433"/>
                  </a:lnTo>
                  <a:lnTo>
                    <a:pt x="2072" y="2441"/>
                  </a:lnTo>
                  <a:lnTo>
                    <a:pt x="2069" y="2452"/>
                  </a:lnTo>
                  <a:lnTo>
                    <a:pt x="2066" y="2460"/>
                  </a:lnTo>
                  <a:lnTo>
                    <a:pt x="2064" y="2463"/>
                  </a:lnTo>
                  <a:lnTo>
                    <a:pt x="2063" y="2465"/>
                  </a:lnTo>
                  <a:lnTo>
                    <a:pt x="2060" y="2469"/>
                  </a:lnTo>
                  <a:lnTo>
                    <a:pt x="2059" y="2469"/>
                  </a:lnTo>
                  <a:lnTo>
                    <a:pt x="2058" y="2471"/>
                  </a:lnTo>
                  <a:lnTo>
                    <a:pt x="2056" y="2473"/>
                  </a:lnTo>
                  <a:lnTo>
                    <a:pt x="2055" y="2474"/>
                  </a:lnTo>
                  <a:lnTo>
                    <a:pt x="2052" y="2477"/>
                  </a:lnTo>
                  <a:lnTo>
                    <a:pt x="2050" y="2478"/>
                  </a:lnTo>
                  <a:lnTo>
                    <a:pt x="2048" y="2480"/>
                  </a:lnTo>
                  <a:lnTo>
                    <a:pt x="2043" y="2482"/>
                  </a:lnTo>
                  <a:lnTo>
                    <a:pt x="2039" y="2485"/>
                  </a:lnTo>
                  <a:lnTo>
                    <a:pt x="2039" y="2485"/>
                  </a:lnTo>
                  <a:lnTo>
                    <a:pt x="2035" y="2486"/>
                  </a:lnTo>
                  <a:lnTo>
                    <a:pt x="2033" y="2487"/>
                  </a:lnTo>
                  <a:lnTo>
                    <a:pt x="2031" y="2488"/>
                  </a:lnTo>
                  <a:lnTo>
                    <a:pt x="2027" y="2488"/>
                  </a:lnTo>
                  <a:lnTo>
                    <a:pt x="2024" y="2489"/>
                  </a:lnTo>
                  <a:lnTo>
                    <a:pt x="2023" y="2489"/>
                  </a:lnTo>
                  <a:lnTo>
                    <a:pt x="2019" y="2489"/>
                  </a:lnTo>
                  <a:lnTo>
                    <a:pt x="2017" y="2489"/>
                  </a:lnTo>
                  <a:lnTo>
                    <a:pt x="1954" y="2489"/>
                  </a:lnTo>
                  <a:lnTo>
                    <a:pt x="1954" y="2672"/>
                  </a:lnTo>
                  <a:lnTo>
                    <a:pt x="1950" y="2689"/>
                  </a:lnTo>
                  <a:lnTo>
                    <a:pt x="1942" y="2705"/>
                  </a:lnTo>
                  <a:lnTo>
                    <a:pt x="1931" y="2716"/>
                  </a:lnTo>
                  <a:lnTo>
                    <a:pt x="1915" y="2724"/>
                  </a:lnTo>
                  <a:lnTo>
                    <a:pt x="1898" y="2727"/>
                  </a:lnTo>
                  <a:lnTo>
                    <a:pt x="1418" y="2727"/>
                  </a:lnTo>
                  <a:lnTo>
                    <a:pt x="1418" y="2853"/>
                  </a:lnTo>
                  <a:lnTo>
                    <a:pt x="1838" y="2853"/>
                  </a:lnTo>
                  <a:lnTo>
                    <a:pt x="1890" y="2857"/>
                  </a:lnTo>
                  <a:lnTo>
                    <a:pt x="1940" y="2866"/>
                  </a:lnTo>
                  <a:lnTo>
                    <a:pt x="1988" y="2882"/>
                  </a:lnTo>
                  <a:lnTo>
                    <a:pt x="2032" y="2902"/>
                  </a:lnTo>
                  <a:lnTo>
                    <a:pt x="2074" y="2927"/>
                  </a:lnTo>
                  <a:lnTo>
                    <a:pt x="2112" y="2958"/>
                  </a:lnTo>
                  <a:lnTo>
                    <a:pt x="2146" y="2992"/>
                  </a:lnTo>
                  <a:lnTo>
                    <a:pt x="2177" y="3030"/>
                  </a:lnTo>
                  <a:lnTo>
                    <a:pt x="2202" y="3072"/>
                  </a:lnTo>
                  <a:lnTo>
                    <a:pt x="2222" y="3116"/>
                  </a:lnTo>
                  <a:lnTo>
                    <a:pt x="2238" y="3164"/>
                  </a:lnTo>
                  <a:lnTo>
                    <a:pt x="2247" y="3214"/>
                  </a:lnTo>
                  <a:lnTo>
                    <a:pt x="2251" y="3266"/>
                  </a:lnTo>
                  <a:lnTo>
                    <a:pt x="2247" y="3317"/>
                  </a:lnTo>
                  <a:lnTo>
                    <a:pt x="2238" y="3367"/>
                  </a:lnTo>
                  <a:lnTo>
                    <a:pt x="2222" y="3415"/>
                  </a:lnTo>
                  <a:lnTo>
                    <a:pt x="2202" y="3460"/>
                  </a:lnTo>
                  <a:lnTo>
                    <a:pt x="2177" y="3501"/>
                  </a:lnTo>
                  <a:lnTo>
                    <a:pt x="2146" y="3540"/>
                  </a:lnTo>
                  <a:lnTo>
                    <a:pt x="2112" y="3574"/>
                  </a:lnTo>
                  <a:lnTo>
                    <a:pt x="2074" y="3604"/>
                  </a:lnTo>
                  <a:lnTo>
                    <a:pt x="2032" y="3630"/>
                  </a:lnTo>
                  <a:lnTo>
                    <a:pt x="1988" y="3651"/>
                  </a:lnTo>
                  <a:lnTo>
                    <a:pt x="1940" y="3666"/>
                  </a:lnTo>
                  <a:lnTo>
                    <a:pt x="1890" y="3676"/>
                  </a:lnTo>
                  <a:lnTo>
                    <a:pt x="1838" y="3678"/>
                  </a:lnTo>
                  <a:lnTo>
                    <a:pt x="413" y="3678"/>
                  </a:lnTo>
                  <a:lnTo>
                    <a:pt x="360" y="3676"/>
                  </a:lnTo>
                  <a:lnTo>
                    <a:pt x="311" y="3666"/>
                  </a:lnTo>
                  <a:lnTo>
                    <a:pt x="263" y="3651"/>
                  </a:lnTo>
                  <a:lnTo>
                    <a:pt x="219" y="3630"/>
                  </a:lnTo>
                  <a:lnTo>
                    <a:pt x="177" y="3604"/>
                  </a:lnTo>
                  <a:lnTo>
                    <a:pt x="138" y="3574"/>
                  </a:lnTo>
                  <a:lnTo>
                    <a:pt x="104" y="3540"/>
                  </a:lnTo>
                  <a:lnTo>
                    <a:pt x="74" y="3501"/>
                  </a:lnTo>
                  <a:lnTo>
                    <a:pt x="49" y="3460"/>
                  </a:lnTo>
                  <a:lnTo>
                    <a:pt x="28" y="3415"/>
                  </a:lnTo>
                  <a:lnTo>
                    <a:pt x="12" y="3367"/>
                  </a:lnTo>
                  <a:lnTo>
                    <a:pt x="3" y="3317"/>
                  </a:lnTo>
                  <a:lnTo>
                    <a:pt x="0" y="3266"/>
                  </a:lnTo>
                  <a:lnTo>
                    <a:pt x="3" y="3214"/>
                  </a:lnTo>
                  <a:lnTo>
                    <a:pt x="12" y="3164"/>
                  </a:lnTo>
                  <a:lnTo>
                    <a:pt x="28" y="3116"/>
                  </a:lnTo>
                  <a:lnTo>
                    <a:pt x="49" y="3072"/>
                  </a:lnTo>
                  <a:lnTo>
                    <a:pt x="74" y="3030"/>
                  </a:lnTo>
                  <a:lnTo>
                    <a:pt x="104" y="2992"/>
                  </a:lnTo>
                  <a:lnTo>
                    <a:pt x="138" y="2958"/>
                  </a:lnTo>
                  <a:lnTo>
                    <a:pt x="177" y="2927"/>
                  </a:lnTo>
                  <a:lnTo>
                    <a:pt x="219" y="2902"/>
                  </a:lnTo>
                  <a:lnTo>
                    <a:pt x="263" y="2882"/>
                  </a:lnTo>
                  <a:lnTo>
                    <a:pt x="311" y="2866"/>
                  </a:lnTo>
                  <a:lnTo>
                    <a:pt x="360" y="2857"/>
                  </a:lnTo>
                  <a:lnTo>
                    <a:pt x="413" y="2853"/>
                  </a:lnTo>
                  <a:lnTo>
                    <a:pt x="832" y="2853"/>
                  </a:lnTo>
                  <a:lnTo>
                    <a:pt x="832" y="2727"/>
                  </a:lnTo>
                  <a:lnTo>
                    <a:pt x="353" y="2727"/>
                  </a:lnTo>
                  <a:lnTo>
                    <a:pt x="317" y="2724"/>
                  </a:lnTo>
                  <a:lnTo>
                    <a:pt x="284" y="2714"/>
                  </a:lnTo>
                  <a:lnTo>
                    <a:pt x="255" y="2698"/>
                  </a:lnTo>
                  <a:lnTo>
                    <a:pt x="229" y="2676"/>
                  </a:lnTo>
                  <a:lnTo>
                    <a:pt x="209" y="2650"/>
                  </a:lnTo>
                  <a:lnTo>
                    <a:pt x="192" y="2621"/>
                  </a:lnTo>
                  <a:lnTo>
                    <a:pt x="181" y="2588"/>
                  </a:lnTo>
                  <a:lnTo>
                    <a:pt x="178" y="2553"/>
                  </a:lnTo>
                  <a:lnTo>
                    <a:pt x="178" y="2136"/>
                  </a:lnTo>
                  <a:lnTo>
                    <a:pt x="181" y="2101"/>
                  </a:lnTo>
                  <a:lnTo>
                    <a:pt x="192" y="2068"/>
                  </a:lnTo>
                  <a:lnTo>
                    <a:pt x="209" y="2039"/>
                  </a:lnTo>
                  <a:lnTo>
                    <a:pt x="229" y="2013"/>
                  </a:lnTo>
                  <a:lnTo>
                    <a:pt x="255" y="1991"/>
                  </a:lnTo>
                  <a:lnTo>
                    <a:pt x="284" y="1975"/>
                  </a:lnTo>
                  <a:lnTo>
                    <a:pt x="317" y="1965"/>
                  </a:lnTo>
                  <a:lnTo>
                    <a:pt x="353" y="1962"/>
                  </a:lnTo>
                  <a:lnTo>
                    <a:pt x="713" y="1962"/>
                  </a:lnTo>
                  <a:lnTo>
                    <a:pt x="713" y="1601"/>
                  </a:lnTo>
                  <a:lnTo>
                    <a:pt x="717" y="1558"/>
                  </a:lnTo>
                  <a:lnTo>
                    <a:pt x="726" y="1517"/>
                  </a:lnTo>
                  <a:lnTo>
                    <a:pt x="740" y="1477"/>
                  </a:lnTo>
                  <a:lnTo>
                    <a:pt x="761" y="1442"/>
                  </a:lnTo>
                  <a:lnTo>
                    <a:pt x="785" y="1409"/>
                  </a:lnTo>
                  <a:lnTo>
                    <a:pt x="814" y="1380"/>
                  </a:lnTo>
                  <a:lnTo>
                    <a:pt x="847" y="1355"/>
                  </a:lnTo>
                  <a:lnTo>
                    <a:pt x="883" y="1335"/>
                  </a:lnTo>
                  <a:lnTo>
                    <a:pt x="922" y="1321"/>
                  </a:lnTo>
                  <a:lnTo>
                    <a:pt x="963" y="1310"/>
                  </a:lnTo>
                  <a:lnTo>
                    <a:pt x="1007" y="1308"/>
                  </a:lnTo>
                  <a:lnTo>
                    <a:pt x="1414" y="1308"/>
                  </a:lnTo>
                  <a:lnTo>
                    <a:pt x="1452" y="1310"/>
                  </a:lnTo>
                  <a:lnTo>
                    <a:pt x="2359" y="101"/>
                  </a:lnTo>
                  <a:lnTo>
                    <a:pt x="2359" y="101"/>
                  </a:lnTo>
                  <a:lnTo>
                    <a:pt x="2382" y="73"/>
                  </a:lnTo>
                  <a:lnTo>
                    <a:pt x="2410" y="48"/>
                  </a:lnTo>
                  <a:lnTo>
                    <a:pt x="2441" y="27"/>
                  </a:lnTo>
                  <a:lnTo>
                    <a:pt x="2475" y="12"/>
                  </a:lnTo>
                  <a:lnTo>
                    <a:pt x="2513" y="3"/>
                  </a:lnTo>
                  <a:lnTo>
                    <a:pt x="2551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</p:grpSp>
      <p:sp>
        <p:nvSpPr>
          <p:cNvPr id="23625" name="TextBox 158">
            <a:extLst>
              <a:ext uri="{FF2B5EF4-FFF2-40B4-BE49-F238E27FC236}">
                <a16:creationId xmlns:a16="http://schemas.microsoft.com/office/drawing/2014/main" id="{E039C87F-72AD-4054-B63A-554ACFFB9E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4663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26" name="TextBox 159">
            <a:extLst>
              <a:ext uri="{FF2B5EF4-FFF2-40B4-BE49-F238E27FC236}">
                <a16:creationId xmlns:a16="http://schemas.microsoft.com/office/drawing/2014/main" id="{C89D28E8-6E73-4458-A352-42A749EC09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3488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27" name="TextBox 127">
            <a:extLst>
              <a:ext uri="{FF2B5EF4-FFF2-40B4-BE49-F238E27FC236}">
                <a16:creationId xmlns:a16="http://schemas.microsoft.com/office/drawing/2014/main" id="{D2C4F5E9-E854-4896-8355-45DEC69063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7813" y="6378575"/>
            <a:ext cx="426243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Sources: National Bureau of Statistics, World Bank Report on Doing Business in Nigeria 2018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climate-data.org, State Government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Exchange rate= $1/N305 (Central Bank of Nigeria)</a:t>
            </a:r>
          </a:p>
        </p:txBody>
      </p:sp>
      <p:sp>
        <p:nvSpPr>
          <p:cNvPr id="23628" name="TextBox 128">
            <a:extLst>
              <a:ext uri="{FF2B5EF4-FFF2-40B4-BE49-F238E27FC236}">
                <a16:creationId xmlns:a16="http://schemas.microsoft.com/office/drawing/2014/main" id="{409BCC6F-A5F0-4C79-BB4A-38A1ABC14F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91600" y="3640453"/>
            <a:ext cx="40588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Gold</a:t>
            </a:r>
          </a:p>
        </p:txBody>
      </p:sp>
      <p:sp>
        <p:nvSpPr>
          <p:cNvPr id="23629" name="TextBox 129">
            <a:extLst>
              <a:ext uri="{FF2B5EF4-FFF2-40B4-BE49-F238E27FC236}">
                <a16:creationId xmlns:a16="http://schemas.microsoft.com/office/drawing/2014/main" id="{489E7B41-20C9-4493-8E7D-07238EB8FA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32417" y="3654980"/>
            <a:ext cx="50526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Cotton</a:t>
            </a:r>
          </a:p>
        </p:txBody>
      </p:sp>
      <p:sp>
        <p:nvSpPr>
          <p:cNvPr id="23631" name="TextBox 131">
            <a:extLst>
              <a:ext uri="{FF2B5EF4-FFF2-40B4-BE49-F238E27FC236}">
                <a16:creationId xmlns:a16="http://schemas.microsoft.com/office/drawing/2014/main" id="{FF8B6C80-43E2-43AF-A364-A31845F05C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5388" y="3656613"/>
            <a:ext cx="62068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Feed Mill</a:t>
            </a:r>
          </a:p>
        </p:txBody>
      </p:sp>
      <p:sp>
        <p:nvSpPr>
          <p:cNvPr id="23632" name="TextBox 132">
            <a:extLst>
              <a:ext uri="{FF2B5EF4-FFF2-40B4-BE49-F238E27FC236}">
                <a16:creationId xmlns:a16="http://schemas.microsoft.com/office/drawing/2014/main" id="{A1C640C1-61D1-4BA5-8A76-E684397E8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26321" y="3637238"/>
            <a:ext cx="60785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Sorghum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238751" y="3833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38" name="TextBox 141">
            <a:extLst>
              <a:ext uri="{FF2B5EF4-FFF2-40B4-BE49-F238E27FC236}">
                <a16:creationId xmlns:a16="http://schemas.microsoft.com/office/drawing/2014/main" id="{EE481231-8673-4FD7-B5CC-900AEE7A9F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61083" y="3652271"/>
            <a:ext cx="61587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900" dirty="0">
                <a:solidFill>
                  <a:prstClr val="black"/>
                </a:solidFill>
                <a:latin typeface="Calibri" panose="020F0502020204030204" pitchFamily="34" charset="0"/>
              </a:rPr>
              <a:t>Livestock</a:t>
            </a:r>
            <a:endParaRPr kumimoji="0" lang="en-GB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49" name="TextBox 165">
            <a:extLst>
              <a:ext uri="{FF2B5EF4-FFF2-40B4-BE49-F238E27FC236}">
                <a16:creationId xmlns:a16="http://schemas.microsoft.com/office/drawing/2014/main" id="{1242633E-9CB1-48ED-83F4-2223DFC7ED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19336" y="4459560"/>
            <a:ext cx="47160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900" dirty="0">
                <a:solidFill>
                  <a:prstClr val="black"/>
                </a:solidFill>
                <a:latin typeface="Calibri" panose="020F0502020204030204" pitchFamily="34" charset="0"/>
              </a:rPr>
              <a:t>Onion</a:t>
            </a:r>
            <a:endParaRPr kumimoji="0" lang="en-GB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50" name="TextBox 166">
            <a:extLst>
              <a:ext uri="{FF2B5EF4-FFF2-40B4-BE49-F238E27FC236}">
                <a16:creationId xmlns:a16="http://schemas.microsoft.com/office/drawing/2014/main" id="{6B51369B-8FA6-464A-B908-12B0FFE6B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08966" y="4458812"/>
            <a:ext cx="612668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Diamond</a:t>
            </a:r>
          </a:p>
        </p:txBody>
      </p:sp>
      <p:sp>
        <p:nvSpPr>
          <p:cNvPr id="23651" name="TextBox 167">
            <a:extLst>
              <a:ext uri="{FF2B5EF4-FFF2-40B4-BE49-F238E27FC236}">
                <a16:creationId xmlns:a16="http://schemas.microsoft.com/office/drawing/2014/main" id="{4F9404E1-8339-401B-8B10-4C7D1A8CEC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82636" y="4457881"/>
            <a:ext cx="58541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Soybean</a:t>
            </a:r>
          </a:p>
        </p:txBody>
      </p:sp>
      <p:sp>
        <p:nvSpPr>
          <p:cNvPr id="23652" name="TextBox 168">
            <a:extLst>
              <a:ext uri="{FF2B5EF4-FFF2-40B4-BE49-F238E27FC236}">
                <a16:creationId xmlns:a16="http://schemas.microsoft.com/office/drawing/2014/main" id="{1C04917D-B2C3-4C21-8CC2-A45C349B4B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70206" y="4457133"/>
            <a:ext cx="86273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Renew-Energy</a:t>
            </a:r>
          </a:p>
        </p:txBody>
      </p:sp>
      <p:sp>
        <p:nvSpPr>
          <p:cNvPr id="23653" name="TextBox 169">
            <a:extLst>
              <a:ext uri="{FF2B5EF4-FFF2-40B4-BE49-F238E27FC236}">
                <a16:creationId xmlns:a16="http://schemas.microsoft.com/office/drawing/2014/main" id="{4BADA327-4F2D-4897-B7C0-4647A1484B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47726" y="4457973"/>
            <a:ext cx="548548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Tomato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8A28B48-1841-45BB-BFBC-EADE77B37C6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779712" y="2589213"/>
          <a:ext cx="1482725" cy="812800"/>
        </p:xfrm>
        <a:graphic>
          <a:graphicData uri="http://schemas.openxmlformats.org/drawingml/2006/table">
            <a:tbl>
              <a:tblPr/>
              <a:tblGrid>
                <a:gridCol w="11367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9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32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GB" sz="1000" b="1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Domestic</a:t>
                      </a:r>
                      <a:r>
                        <a:rPr lang="en-GB" sz="10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US" sz="1000" b="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International 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Railway</a:t>
                      </a:r>
                      <a:r>
                        <a:rPr lang="en-GB" sz="1000" b="1" kern="1200" baseline="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 Station</a:t>
                      </a:r>
                      <a:endParaRPr lang="en-GB" sz="1000" b="1" kern="1200" dirty="0">
                        <a:solidFill>
                          <a:srgbClr val="292929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32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Sea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7" name="TextBox 136">
            <a:extLst>
              <a:ext uri="{FF2B5EF4-FFF2-40B4-BE49-F238E27FC236}">
                <a16:creationId xmlns:a16="http://schemas.microsoft.com/office/drawing/2014/main" id="{2F4C4876-7073-4C13-A183-127A8909BDC0}"/>
              </a:ext>
            </a:extLst>
          </p:cNvPr>
          <p:cNvSpPr txBox="1"/>
          <p:nvPr/>
        </p:nvSpPr>
        <p:spPr>
          <a:xfrm>
            <a:off x="538163" y="5268913"/>
            <a:ext cx="373856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For further details</a:t>
            </a:r>
          </a:p>
        </p:txBody>
      </p:sp>
      <p:sp>
        <p:nvSpPr>
          <p:cNvPr id="23676" name="TextBox 156">
            <a:extLst>
              <a:ext uri="{FF2B5EF4-FFF2-40B4-BE49-F238E27FC236}">
                <a16:creationId xmlns:a16="http://schemas.microsoft.com/office/drawing/2014/main" id="{95D66AAF-6B48-4B9E-9E5B-F1BB063A89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6300" y="6342063"/>
            <a:ext cx="37306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Abbreviations: </a:t>
            </a:r>
            <a:r>
              <a:rPr kumimoji="0" lang="en-GB" alt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	NICPS</a:t>
            </a:r>
            <a: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: Nigerian Investment Certification Programme for States             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	</a:t>
            </a:r>
            <a:r>
              <a:rPr kumimoji="0" lang="en-GB" alt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IGR</a:t>
            </a:r>
            <a: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:     Internal Generated Revenue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D4E23C6-26A0-4545-B8F7-7007C8EEBFE4}"/>
              </a:ext>
            </a:extLst>
          </p:cNvPr>
          <p:cNvSpPr txBox="1"/>
          <p:nvPr/>
        </p:nvSpPr>
        <p:spPr>
          <a:xfrm>
            <a:off x="4338638" y="5265738"/>
            <a:ext cx="247491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Did you know?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sp>
        <p:nvSpPr>
          <p:cNvPr id="132" name="Text Placeholder 42">
            <a:extLst>
              <a:ext uri="{FF2B5EF4-FFF2-40B4-BE49-F238E27FC236}">
                <a16:creationId xmlns:a16="http://schemas.microsoft.com/office/drawing/2014/main" id="{D510D0DC-1548-4249-8DB1-9A1055126D07}"/>
              </a:ext>
            </a:extLst>
          </p:cNvPr>
          <p:cNvSpPr txBox="1">
            <a:spLocks/>
          </p:cNvSpPr>
          <p:nvPr/>
        </p:nvSpPr>
        <p:spPr>
          <a:xfrm>
            <a:off x="522288" y="5511800"/>
            <a:ext cx="3733800" cy="701675"/>
          </a:xfrm>
          <a:prstGeom prst="rect">
            <a:avLst/>
          </a:prstGeom>
        </p:spPr>
        <p:txBody>
          <a:bodyPr lIns="36576" tIns="0" rIns="36576" bIns="0"/>
          <a:lstStyle>
            <a:lvl1pPr marL="0" indent="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/>
              <a:buNone/>
              <a:defRPr sz="800" b="1" baseline="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6575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93763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 charset="0"/>
              <a:buChar char="►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50950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619250" indent="-188913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0764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25336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29908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34480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</a:rPr>
              <a:t>NIGERIAN INVESTMENT PROMOTION COMMISSION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Arial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hlinkClick r:id="rId7"/>
              </a:rPr>
              <a:t>statesco@nipc.gov.ng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Arial"/>
              <a:buNone/>
              <a:tabLst/>
              <a:defRPr/>
            </a:pPr>
            <a:endParaRPr kumimoji="0" lang="en-US" sz="5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Arial"/>
              <a:buNone/>
              <a:tabLst/>
              <a:defRPr/>
            </a:pPr>
            <a:r>
              <a:rPr lang="en-US" sz="1000" kern="0" dirty="0">
                <a:solidFill>
                  <a:prstClr val="black"/>
                </a:solidFill>
              </a:rPr>
              <a:t>KATSINA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</a:rPr>
              <a:t> STATE INVESTMENT PROMOTION AGENCY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</a:endParaRPr>
          </a:p>
          <a:p>
            <a:pPr lvl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>
                <a:solidFill>
                  <a:prstClr val="black"/>
                </a:solidFill>
                <a:hlinkClick r:id="rId8"/>
              </a:rPr>
              <a:t>itukur55@yahoo.co.uk</a:t>
            </a:r>
            <a:r>
              <a:rPr lang="en-US" sz="1000" b="0" kern="0" dirty="0">
                <a:solidFill>
                  <a:prstClr val="black"/>
                </a:solidFill>
              </a:rPr>
              <a:t> 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</a:endParaRPr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FF015425-7997-4612-9D0E-1F6C433DFCC7}"/>
              </a:ext>
            </a:extLst>
          </p:cNvPr>
          <p:cNvSpPr/>
          <p:nvPr/>
        </p:nvSpPr>
        <p:spPr>
          <a:xfrm>
            <a:off x="6080877" y="3040856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4C0B7457-CABD-4AC8-8A1A-1FD468581E4D}"/>
              </a:ext>
            </a:extLst>
          </p:cNvPr>
          <p:cNvSpPr/>
          <p:nvPr/>
        </p:nvSpPr>
        <p:spPr>
          <a:xfrm>
            <a:off x="6784796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2D626A89-F50C-45A3-9271-5D3F2EEA9C83}"/>
              </a:ext>
            </a:extLst>
          </p:cNvPr>
          <p:cNvSpPr/>
          <p:nvPr/>
        </p:nvSpPr>
        <p:spPr>
          <a:xfrm>
            <a:off x="7518399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240713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A62E850A-D87D-46D0-9257-0071E677FCF0}"/>
              </a:ext>
            </a:extLst>
          </p:cNvPr>
          <p:cNvSpPr/>
          <p:nvPr/>
        </p:nvSpPr>
        <p:spPr>
          <a:xfrm>
            <a:off x="8947150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4D1FAA17-3EFF-404B-B4C4-B468BCE2E9A5}"/>
              </a:ext>
            </a:extLst>
          </p:cNvPr>
          <p:cNvSpPr/>
          <p:nvPr/>
        </p:nvSpPr>
        <p:spPr>
          <a:xfrm>
            <a:off x="6078265" y="3836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E861211D-5D09-4577-8A09-FD96D972A5D4}"/>
              </a:ext>
            </a:extLst>
          </p:cNvPr>
          <p:cNvSpPr/>
          <p:nvPr/>
        </p:nvSpPr>
        <p:spPr>
          <a:xfrm>
            <a:off x="6780509" y="3833831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3CBEFD1C-6360-47CD-AEDD-DFB49FC0E0C7}"/>
              </a:ext>
            </a:extLst>
          </p:cNvPr>
          <p:cNvSpPr/>
          <p:nvPr/>
        </p:nvSpPr>
        <p:spPr>
          <a:xfrm>
            <a:off x="7518603" y="3830834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4" name="TextBox 152">
            <a:extLst>
              <a:ext uri="{FF2B5EF4-FFF2-40B4-BE49-F238E27FC236}">
                <a16:creationId xmlns:a16="http://schemas.microsoft.com/office/drawing/2014/main" id="{C53ECC99-201F-4F50-BD09-4044FFD3B8E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4575" y="1257300"/>
            <a:ext cx="3446463" cy="11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15888" indent="-11588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MY" sz="1100" dirty="0">
                <a:latin typeface="Calibri" panose="020F0502020204030204" pitchFamily="34" charset="0"/>
              </a:rPr>
              <a:t>Largest cotton producer in Nigeri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MY" sz="1100" dirty="0">
                <a:latin typeface="Calibri" panose="020F0502020204030204" pitchFamily="34" charset="0"/>
              </a:rPr>
              <a:t>10MW pilot wind farm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MY" sz="1100" dirty="0">
                <a:latin typeface="Calibri" panose="020F0502020204030204" pitchFamily="34" charset="0"/>
              </a:rPr>
              <a:t>Second largest producer of sorghum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MY" sz="1100" dirty="0">
                <a:latin typeface="Calibri" panose="020F0502020204030204" pitchFamily="34" charset="0"/>
              </a:rPr>
              <a:t>34 solid mineral deposi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MY" sz="1100" dirty="0">
                <a:latin typeface="Calibri" panose="020F0502020204030204" pitchFamily="34" charset="0"/>
              </a:rPr>
              <a:t>2</a:t>
            </a:r>
            <a:r>
              <a:rPr lang="en-MY" sz="1100" baseline="30000" dirty="0">
                <a:latin typeface="Calibri" panose="020F0502020204030204" pitchFamily="34" charset="0"/>
              </a:rPr>
              <a:t>nd</a:t>
            </a:r>
            <a:r>
              <a:rPr lang="en-MY" sz="1100" dirty="0">
                <a:latin typeface="Calibri" panose="020F0502020204030204" pitchFamily="34" charset="0"/>
              </a:rPr>
              <a:t> largest tomato cultivating state (Estimated 578,435 wastage per year)</a:t>
            </a:r>
          </a:p>
        </p:txBody>
      </p:sp>
      <p:sp>
        <p:nvSpPr>
          <p:cNvPr id="161" name="Oval 160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953126" y="3843338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62" name="Picture 161">
            <a:extLst>
              <a:ext uri="{FF2B5EF4-FFF2-40B4-BE49-F238E27FC236}">
                <a16:creationId xmlns:a16="http://schemas.microsoft.com/office/drawing/2014/main" id="{9793C388-C61C-45EC-BF8F-149315464127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47" t="15869" r="6216" b="22345"/>
          <a:stretch/>
        </p:blipFill>
        <p:spPr>
          <a:xfrm>
            <a:off x="8981258" y="3118835"/>
            <a:ext cx="514001" cy="375677"/>
          </a:xfrm>
          <a:prstGeom prst="rect">
            <a:avLst/>
          </a:prstGeom>
        </p:spPr>
      </p:pic>
      <p:pic>
        <p:nvPicPr>
          <p:cNvPr id="163" name="Picture 4" descr="E:\ONE PAGE STATES PRESENTATION\1 PAGE PRESENTATION ON STATES\MATERIALS\Silhouettes\Diamond.png"/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4054" y="3946890"/>
            <a:ext cx="416278" cy="4162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4" name="Picture 7" descr="E:\ONE PAGE STATES PRESENTATION\1 PAGE PRESENTATION ON STATES\MATERIALS\Silhouettes\Onion.jpg"/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6F6F6"/>
              </a:clrFrom>
              <a:clrTo>
                <a:srgbClr val="F6F6F6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6377" y="3843239"/>
            <a:ext cx="546176" cy="546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5" name="Picture 164">
            <a:extLst>
              <a:ext uri="{FF2B5EF4-FFF2-40B4-BE49-F238E27FC236}">
                <a16:creationId xmlns:a16="http://schemas.microsoft.com/office/drawing/2014/main" id="{CE63D958-9B4B-40EF-99F4-CB7D26184F5B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1516" y="3141156"/>
            <a:ext cx="349871" cy="340494"/>
          </a:xfrm>
          <a:prstGeom prst="rect">
            <a:avLst/>
          </a:prstGeom>
        </p:spPr>
      </p:pic>
      <p:pic>
        <p:nvPicPr>
          <p:cNvPr id="166" name="Picture 165" descr="cotton.jpg">
            <a:extLst>
              <a:ext uri="{FF2B5EF4-FFF2-40B4-BE49-F238E27FC236}">
                <a16:creationId xmlns:a16="http://schemas.microsoft.com/office/drawing/2014/main" id="{0A2729A9-9F3A-4342-A251-1D53B7716D43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27119" t="7595" r="25217" b="55643"/>
          <a:stretch>
            <a:fillRect/>
          </a:stretch>
        </p:blipFill>
        <p:spPr>
          <a:xfrm>
            <a:off x="6876679" y="3067356"/>
            <a:ext cx="439756" cy="465048"/>
          </a:xfrm>
          <a:prstGeom prst="rect">
            <a:avLst/>
          </a:prstGeom>
        </p:spPr>
      </p:pic>
      <p:pic>
        <p:nvPicPr>
          <p:cNvPr id="167" name="Picture 166">
            <a:extLst>
              <a:ext uri="{FF2B5EF4-FFF2-40B4-BE49-F238E27FC236}">
                <a16:creationId xmlns:a16="http://schemas.microsoft.com/office/drawing/2014/main" id="{968B8889-313C-4DA9-9DFA-34E126AAE694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l="10362" t="1" r="9417" b="-6930"/>
          <a:stretch/>
        </p:blipFill>
        <p:spPr>
          <a:xfrm>
            <a:off x="6139517" y="3062978"/>
            <a:ext cx="545652" cy="506435"/>
          </a:xfrm>
          <a:prstGeom prst="rect">
            <a:avLst/>
          </a:prstGeom>
        </p:spPr>
      </p:pic>
      <p:pic>
        <p:nvPicPr>
          <p:cNvPr id="168" name="Picture 167">
            <a:extLst>
              <a:ext uri="{FF2B5EF4-FFF2-40B4-BE49-F238E27FC236}">
                <a16:creationId xmlns:a16="http://schemas.microsoft.com/office/drawing/2014/main" id="{57C89338-A8EB-4C79-9958-F867EA10EA78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177247" y="3920220"/>
            <a:ext cx="401042" cy="401042"/>
          </a:xfrm>
          <a:prstGeom prst="rect">
            <a:avLst/>
          </a:prstGeom>
        </p:spPr>
      </p:pic>
      <p:pic>
        <p:nvPicPr>
          <p:cNvPr id="169" name="Picture 168">
            <a:extLst>
              <a:ext uri="{FF2B5EF4-FFF2-40B4-BE49-F238E27FC236}">
                <a16:creationId xmlns:a16="http://schemas.microsoft.com/office/drawing/2014/main" id="{4606EFD0-75DA-4BAE-9881-929D72A405DA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24395" r="27446"/>
          <a:stretch/>
        </p:blipFill>
        <p:spPr>
          <a:xfrm>
            <a:off x="8455912" y="3120838"/>
            <a:ext cx="198914" cy="413034"/>
          </a:xfrm>
          <a:prstGeom prst="rect">
            <a:avLst/>
          </a:prstGeom>
        </p:spPr>
      </p:pic>
      <p:pic>
        <p:nvPicPr>
          <p:cNvPr id="170" name="Picture 169">
            <a:extLst>
              <a:ext uri="{FF2B5EF4-FFF2-40B4-BE49-F238E27FC236}">
                <a16:creationId xmlns:a16="http://schemas.microsoft.com/office/drawing/2014/main" id="{352D4606-6B37-45C7-A50D-BBDF283205C5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609632" y="3922090"/>
            <a:ext cx="386013" cy="386013"/>
          </a:xfrm>
          <a:prstGeom prst="rect">
            <a:avLst/>
          </a:prstGeom>
        </p:spPr>
      </p:pic>
      <p:pic>
        <p:nvPicPr>
          <p:cNvPr id="171" name="Picture 170">
            <a:extLst>
              <a:ext uri="{FF2B5EF4-FFF2-40B4-BE49-F238E27FC236}">
                <a16:creationId xmlns:a16="http://schemas.microsoft.com/office/drawing/2014/main" id="{5CD4F986-F5B8-4D3A-832C-D052FD6983AE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1378" y="3895220"/>
            <a:ext cx="415637" cy="415637"/>
          </a:xfrm>
          <a:prstGeom prst="rect">
            <a:avLst/>
          </a:prstGeom>
        </p:spPr>
      </p:pic>
      <p:sp>
        <p:nvSpPr>
          <p:cNvPr id="172" name="TextBox 171">
            <a:extLst>
              <a:ext uri="{FF2B5EF4-FFF2-40B4-BE49-F238E27FC236}">
                <a16:creationId xmlns:a16="http://schemas.microsoft.com/office/drawing/2014/main" id="{D0A41506-8873-4C2F-B45B-4459F0229CA3}"/>
              </a:ext>
            </a:extLst>
          </p:cNvPr>
          <p:cNvSpPr txBox="1"/>
          <p:nvPr/>
        </p:nvSpPr>
        <p:spPr>
          <a:xfrm>
            <a:off x="4374578" y="4541674"/>
            <a:ext cx="17988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te Investment Certification Process Not Started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265068" y="5446633"/>
            <a:ext cx="2575470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The Hausa </a:t>
            </a:r>
            <a:r>
              <a:rPr lang="en-US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Bakwai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 (“Seven True Hausa States”) was founded in the 10th century</a:t>
            </a:r>
          </a:p>
        </p:txBody>
      </p:sp>
    </p:spTree>
    <p:extLst>
      <p:ext uri="{BB962C8B-B14F-4D97-AF65-F5344CB8AC3E}">
        <p14:creationId xmlns:p14="http://schemas.microsoft.com/office/powerpoint/2010/main" val="290312542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Pentagon 19">
            <a:extLst>
              <a:ext uri="{FF2B5EF4-FFF2-40B4-BE49-F238E27FC236}">
                <a16:creationId xmlns:a16="http://schemas.microsoft.com/office/drawing/2014/main" id="{CAD93C59-72A9-4F6D-A654-02B9F8A5EFF9}"/>
              </a:ext>
            </a:extLst>
          </p:cNvPr>
          <p:cNvSpPr>
            <a:spLocks/>
          </p:cNvSpPr>
          <p:nvPr/>
        </p:nvSpPr>
        <p:spPr bwMode="auto">
          <a:xfrm>
            <a:off x="756602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noProof="0" dirty="0">
                <a:solidFill>
                  <a:prstClr val="white"/>
                </a:solidFill>
                <a:latin typeface="Calibri" panose="020F0502020204030204" pitchFamily="34" charset="0"/>
              </a:rPr>
              <a:t>35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of 37</a:t>
            </a:r>
          </a:p>
        </p:txBody>
      </p:sp>
      <p:sp>
        <p:nvSpPr>
          <p:cNvPr id="376" name="Pentagon 19">
            <a:extLst>
              <a:ext uri="{FF2B5EF4-FFF2-40B4-BE49-F238E27FC236}">
                <a16:creationId xmlns:a16="http://schemas.microsoft.com/office/drawing/2014/main" id="{1BDC5465-6022-4404-B4D8-ED55CF961B8A}"/>
              </a:ext>
            </a:extLst>
          </p:cNvPr>
          <p:cNvSpPr>
            <a:spLocks/>
          </p:cNvSpPr>
          <p:nvPr/>
        </p:nvSpPr>
        <p:spPr bwMode="auto">
          <a:xfrm>
            <a:off x="824865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noProof="0" dirty="0">
                <a:solidFill>
                  <a:prstClr val="white"/>
                </a:solidFill>
                <a:latin typeface="Calibri" panose="020F0502020204030204" pitchFamily="34" charset="0"/>
              </a:rPr>
              <a:t>14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of 3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57F1EBC-D01A-4083-B657-63AFB1490839}"/>
              </a:ext>
            </a:extLst>
          </p:cNvPr>
          <p:cNvSpPr txBox="1"/>
          <p:nvPr/>
        </p:nvSpPr>
        <p:spPr>
          <a:xfrm>
            <a:off x="6122988" y="2749550"/>
            <a:ext cx="3475037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Investment Opportunit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D251BD-538A-4F4F-847E-620EEDA298A0}"/>
              </a:ext>
            </a:extLst>
          </p:cNvPr>
          <p:cNvSpPr txBox="1"/>
          <p:nvPr/>
        </p:nvSpPr>
        <p:spPr>
          <a:xfrm>
            <a:off x="6881813" y="4632911"/>
            <a:ext cx="2697162" cy="33855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Doing Business Ranking(2018)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1B8F13C-F732-4DA1-9250-DB02936E7688}"/>
              </a:ext>
            </a:extLst>
          </p:cNvPr>
          <p:cNvSpPr/>
          <p:nvPr/>
        </p:nvSpPr>
        <p:spPr>
          <a:xfrm>
            <a:off x="756602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egistering Propert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6BA1818-32ED-44D1-975C-958200BDD124}"/>
              </a:ext>
            </a:extLst>
          </p:cNvPr>
          <p:cNvSpPr/>
          <p:nvPr/>
        </p:nvSpPr>
        <p:spPr>
          <a:xfrm>
            <a:off x="8248650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ealing with Construction Permits</a:t>
            </a:r>
          </a:p>
        </p:txBody>
      </p:sp>
      <p:sp>
        <p:nvSpPr>
          <p:cNvPr id="23560" name="TextBox 174">
            <a:extLst>
              <a:ext uri="{FF2B5EF4-FFF2-40B4-BE49-F238E27FC236}">
                <a16:creationId xmlns:a16="http://schemas.microsoft.com/office/drawing/2014/main" id="{1573FD4E-62B9-45E8-8F28-CED990ED2D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0B63A6C-2A5E-4CA3-BC66-4CBC6008BC9A}"/>
              </a:ext>
            </a:extLst>
          </p:cNvPr>
          <p:cNvSpPr/>
          <p:nvPr/>
        </p:nvSpPr>
        <p:spPr>
          <a:xfrm>
            <a:off x="893127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nforcing Contracts</a:t>
            </a:r>
          </a:p>
        </p:txBody>
      </p:sp>
      <p:pic>
        <p:nvPicPr>
          <p:cNvPr id="23562" name="Picture 4">
            <a:extLst>
              <a:ext uri="{FF2B5EF4-FFF2-40B4-BE49-F238E27FC236}">
                <a16:creationId xmlns:a16="http://schemas.microsoft.com/office/drawing/2014/main" id="{7C8EEAB2-0239-4BB5-94B3-23E319AF1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513" y="5249863"/>
            <a:ext cx="439737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6" name="Pentagon 19">
            <a:extLst>
              <a:ext uri="{FF2B5EF4-FFF2-40B4-BE49-F238E27FC236}">
                <a16:creationId xmlns:a16="http://schemas.microsoft.com/office/drawing/2014/main" id="{5F8E9670-D71A-4765-B6B5-D711BC9AD6E1}"/>
              </a:ext>
            </a:extLst>
          </p:cNvPr>
          <p:cNvSpPr>
            <a:spLocks/>
          </p:cNvSpPr>
          <p:nvPr/>
        </p:nvSpPr>
        <p:spPr bwMode="auto">
          <a:xfrm>
            <a:off x="893127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noProof="0" dirty="0">
                <a:solidFill>
                  <a:prstClr val="white"/>
                </a:solidFill>
                <a:latin typeface="Calibri" panose="020F0502020204030204" pitchFamily="34" charset="0"/>
              </a:rPr>
              <a:t>6</a:t>
            </a:r>
            <a:r>
              <a:rPr kumimoji="0" lang="en-GB" sz="10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f 37</a:t>
            </a:r>
          </a:p>
        </p:txBody>
      </p:sp>
      <p:sp>
        <p:nvSpPr>
          <p:cNvPr id="23564" name="Title 3">
            <a:extLst>
              <a:ext uri="{FF2B5EF4-FFF2-40B4-BE49-F238E27FC236}">
                <a16:creationId xmlns:a16="http://schemas.microsoft.com/office/drawing/2014/main" id="{C62A749B-CFC7-4224-A789-D20A772AC33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en-GB" altLang="en-US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ebbi</a:t>
            </a:r>
            <a:r>
              <a:rPr lang="en-GB" alt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State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6882DF2C-9120-4A66-8487-575D9494F4D6}"/>
              </a:ext>
            </a:extLst>
          </p:cNvPr>
          <p:cNvSpPr txBox="1"/>
          <p:nvPr/>
        </p:nvSpPr>
        <p:spPr>
          <a:xfrm rot="16200000">
            <a:off x="-2290084" y="3478372"/>
            <a:ext cx="5303837" cy="2743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prstClr val="white"/>
                </a:solidFill>
                <a:latin typeface="Calibri" panose="020F0502020204030204" pitchFamily="34" charset="0"/>
                <a:cs typeface="Arial" charset="0"/>
              </a:rPr>
              <a:t>Land of Equity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grpSp>
        <p:nvGrpSpPr>
          <p:cNvPr id="23566" name="Group 9">
            <a:extLst>
              <a:ext uri="{FF2B5EF4-FFF2-40B4-BE49-F238E27FC236}">
                <a16:creationId xmlns:a16="http://schemas.microsoft.com/office/drawing/2014/main" id="{5B6131BD-3CE3-4FC4-B13A-FA9B797C1EF5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41338" y="963613"/>
            <a:ext cx="2897187" cy="2319337"/>
            <a:chOff x="770228" y="1459989"/>
            <a:chExt cx="4081047" cy="3267527"/>
          </a:xfrm>
        </p:grpSpPr>
        <p:sp>
          <p:nvSpPr>
            <p:cNvPr id="299" name="Freeform 4">
              <a:extLst>
                <a:ext uri="{FF2B5EF4-FFF2-40B4-BE49-F238E27FC236}">
                  <a16:creationId xmlns:a16="http://schemas.microsoft.com/office/drawing/2014/main" id="{B6150C82-CBE5-48B4-B60C-C210BB7B26A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91538" y="4349548"/>
              <a:ext cx="418167" cy="377968"/>
            </a:xfrm>
            <a:custGeom>
              <a:avLst/>
              <a:gdLst>
                <a:gd name="T0" fmla="*/ 12 w 786"/>
                <a:gd name="T1" fmla="*/ 19 h 714"/>
                <a:gd name="T2" fmla="*/ 22 w 786"/>
                <a:gd name="T3" fmla="*/ 18 h 714"/>
                <a:gd name="T4" fmla="*/ 27 w 786"/>
                <a:gd name="T5" fmla="*/ 17 h 714"/>
                <a:gd name="T6" fmla="*/ 30 w 786"/>
                <a:gd name="T7" fmla="*/ 14 h 714"/>
                <a:gd name="T8" fmla="*/ 37 w 786"/>
                <a:gd name="T9" fmla="*/ 16 h 714"/>
                <a:gd name="T10" fmla="*/ 43 w 786"/>
                <a:gd name="T11" fmla="*/ 13 h 714"/>
                <a:gd name="T12" fmla="*/ 48 w 786"/>
                <a:gd name="T13" fmla="*/ 8 h 714"/>
                <a:gd name="T14" fmla="*/ 55 w 786"/>
                <a:gd name="T15" fmla="*/ 4 h 714"/>
                <a:gd name="T16" fmla="*/ 66 w 786"/>
                <a:gd name="T17" fmla="*/ 0 h 714"/>
                <a:gd name="T18" fmla="*/ 63 w 786"/>
                <a:gd name="T19" fmla="*/ 12 h 714"/>
                <a:gd name="T20" fmla="*/ 59 w 786"/>
                <a:gd name="T21" fmla="*/ 19 h 714"/>
                <a:gd name="T22" fmla="*/ 57 w 786"/>
                <a:gd name="T23" fmla="*/ 29 h 714"/>
                <a:gd name="T24" fmla="*/ 59 w 786"/>
                <a:gd name="T25" fmla="*/ 36 h 714"/>
                <a:gd name="T26" fmla="*/ 66 w 786"/>
                <a:gd name="T27" fmla="*/ 35 h 714"/>
                <a:gd name="T28" fmla="*/ 64 w 786"/>
                <a:gd name="T29" fmla="*/ 41 h 714"/>
                <a:gd name="T30" fmla="*/ 64 w 786"/>
                <a:gd name="T31" fmla="*/ 48 h 714"/>
                <a:gd name="T32" fmla="*/ 63 w 786"/>
                <a:gd name="T33" fmla="*/ 56 h 714"/>
                <a:gd name="T34" fmla="*/ 60 w 786"/>
                <a:gd name="T35" fmla="*/ 60 h 714"/>
                <a:gd name="T36" fmla="*/ 57 w 786"/>
                <a:gd name="T37" fmla="*/ 58 h 714"/>
                <a:gd name="T38" fmla="*/ 54 w 786"/>
                <a:gd name="T39" fmla="*/ 54 h 714"/>
                <a:gd name="T40" fmla="*/ 53 w 786"/>
                <a:gd name="T41" fmla="*/ 51 h 714"/>
                <a:gd name="T42" fmla="*/ 51 w 786"/>
                <a:gd name="T43" fmla="*/ 53 h 714"/>
                <a:gd name="T44" fmla="*/ 49 w 786"/>
                <a:gd name="T45" fmla="*/ 54 h 714"/>
                <a:gd name="T46" fmla="*/ 47 w 786"/>
                <a:gd name="T47" fmla="*/ 50 h 714"/>
                <a:gd name="T48" fmla="*/ 48 w 786"/>
                <a:gd name="T49" fmla="*/ 54 h 714"/>
                <a:gd name="T50" fmla="*/ 47 w 786"/>
                <a:gd name="T51" fmla="*/ 54 h 714"/>
                <a:gd name="T52" fmla="*/ 46 w 786"/>
                <a:gd name="T53" fmla="*/ 59 h 714"/>
                <a:gd name="T54" fmla="*/ 47 w 786"/>
                <a:gd name="T55" fmla="*/ 62 h 714"/>
                <a:gd name="T56" fmla="*/ 42 w 786"/>
                <a:gd name="T57" fmla="*/ 62 h 714"/>
                <a:gd name="T58" fmla="*/ 39 w 786"/>
                <a:gd name="T59" fmla="*/ 57 h 714"/>
                <a:gd name="T60" fmla="*/ 40 w 786"/>
                <a:gd name="T61" fmla="*/ 54 h 714"/>
                <a:gd name="T62" fmla="*/ 43 w 786"/>
                <a:gd name="T63" fmla="*/ 55 h 714"/>
                <a:gd name="T64" fmla="*/ 40 w 786"/>
                <a:gd name="T65" fmla="*/ 53 h 714"/>
                <a:gd name="T66" fmla="*/ 38 w 786"/>
                <a:gd name="T67" fmla="*/ 57 h 714"/>
                <a:gd name="T68" fmla="*/ 37 w 786"/>
                <a:gd name="T69" fmla="*/ 57 h 714"/>
                <a:gd name="T70" fmla="*/ 37 w 786"/>
                <a:gd name="T71" fmla="*/ 60 h 714"/>
                <a:gd name="T72" fmla="*/ 33 w 786"/>
                <a:gd name="T73" fmla="*/ 56 h 714"/>
                <a:gd name="T74" fmla="*/ 32 w 786"/>
                <a:gd name="T75" fmla="*/ 58 h 714"/>
                <a:gd name="T76" fmla="*/ 26 w 786"/>
                <a:gd name="T77" fmla="*/ 54 h 714"/>
                <a:gd name="T78" fmla="*/ 26 w 786"/>
                <a:gd name="T79" fmla="*/ 54 h 714"/>
                <a:gd name="T80" fmla="*/ 24 w 786"/>
                <a:gd name="T81" fmla="*/ 51 h 714"/>
                <a:gd name="T82" fmla="*/ 22 w 786"/>
                <a:gd name="T83" fmla="*/ 51 h 714"/>
                <a:gd name="T84" fmla="*/ 20 w 786"/>
                <a:gd name="T85" fmla="*/ 50 h 714"/>
                <a:gd name="T86" fmla="*/ 20 w 786"/>
                <a:gd name="T87" fmla="*/ 48 h 714"/>
                <a:gd name="T88" fmla="*/ 18 w 786"/>
                <a:gd name="T89" fmla="*/ 47 h 714"/>
                <a:gd name="T90" fmla="*/ 15 w 786"/>
                <a:gd name="T91" fmla="*/ 45 h 714"/>
                <a:gd name="T92" fmla="*/ 11 w 786"/>
                <a:gd name="T93" fmla="*/ 39 h 714"/>
                <a:gd name="T94" fmla="*/ 12 w 786"/>
                <a:gd name="T95" fmla="*/ 36 h 714"/>
                <a:gd name="T96" fmla="*/ 7 w 786"/>
                <a:gd name="T97" fmla="*/ 33 h 714"/>
                <a:gd name="T98" fmla="*/ 5 w 786"/>
                <a:gd name="T99" fmla="*/ 28 h 714"/>
                <a:gd name="T100" fmla="*/ 7 w 786"/>
                <a:gd name="T101" fmla="*/ 30 h 714"/>
                <a:gd name="T102" fmla="*/ 4 w 786"/>
                <a:gd name="T103" fmla="*/ 24 h 714"/>
                <a:gd name="T104" fmla="*/ 2 w 786"/>
                <a:gd name="T105" fmla="*/ 20 h 714"/>
                <a:gd name="T106" fmla="*/ 0 w 786"/>
                <a:gd name="T107" fmla="*/ 15 h 714"/>
                <a:gd name="T108" fmla="*/ 4 w 786"/>
                <a:gd name="T109" fmla="*/ 16 h 714"/>
                <a:gd name="T110" fmla="*/ 55 w 786"/>
                <a:gd name="T111" fmla="*/ 60 h 714"/>
                <a:gd name="T112" fmla="*/ 47 w 786"/>
                <a:gd name="T113" fmla="*/ 60 h 714"/>
                <a:gd name="T114" fmla="*/ 51 w 786"/>
                <a:gd name="T115" fmla="*/ 54 h 714"/>
                <a:gd name="T116" fmla="*/ 54 w 786"/>
                <a:gd name="T117" fmla="*/ 56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86"/>
                <a:gd name="T178" fmla="*/ 0 h 714"/>
                <a:gd name="T179" fmla="*/ 786 w 786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86" h="714">
                  <a:moveTo>
                    <a:pt x="54" y="186"/>
                  </a:moveTo>
                  <a:lnTo>
                    <a:pt x="54" y="192"/>
                  </a:lnTo>
                  <a:lnTo>
                    <a:pt x="72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204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20" y="210"/>
                  </a:lnTo>
                  <a:lnTo>
                    <a:pt x="126" y="210"/>
                  </a:lnTo>
                  <a:lnTo>
                    <a:pt x="132" y="210"/>
                  </a:lnTo>
                  <a:lnTo>
                    <a:pt x="132" y="216"/>
                  </a:lnTo>
                  <a:lnTo>
                    <a:pt x="138" y="222"/>
                  </a:lnTo>
                  <a:lnTo>
                    <a:pt x="150" y="222"/>
                  </a:lnTo>
                  <a:lnTo>
                    <a:pt x="162" y="234"/>
                  </a:lnTo>
                  <a:lnTo>
                    <a:pt x="168" y="240"/>
                  </a:lnTo>
                  <a:lnTo>
                    <a:pt x="180" y="240"/>
                  </a:lnTo>
                  <a:lnTo>
                    <a:pt x="186" y="228"/>
                  </a:lnTo>
                  <a:lnTo>
                    <a:pt x="210" y="234"/>
                  </a:lnTo>
                  <a:lnTo>
                    <a:pt x="222" y="228"/>
                  </a:lnTo>
                  <a:lnTo>
                    <a:pt x="228" y="216"/>
                  </a:lnTo>
                  <a:lnTo>
                    <a:pt x="234" y="210"/>
                  </a:lnTo>
                  <a:lnTo>
                    <a:pt x="240" y="216"/>
                  </a:lnTo>
                  <a:lnTo>
                    <a:pt x="246" y="210"/>
                  </a:lnTo>
                  <a:lnTo>
                    <a:pt x="252" y="210"/>
                  </a:lnTo>
                  <a:lnTo>
                    <a:pt x="258" y="210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192"/>
                  </a:lnTo>
                  <a:lnTo>
                    <a:pt x="270" y="192"/>
                  </a:lnTo>
                  <a:lnTo>
                    <a:pt x="276" y="192"/>
                  </a:lnTo>
                  <a:lnTo>
                    <a:pt x="282" y="192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192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198"/>
                  </a:lnTo>
                  <a:lnTo>
                    <a:pt x="312" y="198"/>
                  </a:lnTo>
                  <a:lnTo>
                    <a:pt x="312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24" y="186"/>
                  </a:lnTo>
                  <a:lnTo>
                    <a:pt x="318" y="180"/>
                  </a:lnTo>
                  <a:lnTo>
                    <a:pt x="324" y="180"/>
                  </a:lnTo>
                  <a:lnTo>
                    <a:pt x="330" y="186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74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54" y="144"/>
                  </a:lnTo>
                  <a:lnTo>
                    <a:pt x="360" y="144"/>
                  </a:lnTo>
                  <a:lnTo>
                    <a:pt x="372" y="156"/>
                  </a:lnTo>
                  <a:lnTo>
                    <a:pt x="372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96" y="168"/>
                  </a:lnTo>
                  <a:lnTo>
                    <a:pt x="396" y="174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26" y="186"/>
                  </a:lnTo>
                  <a:lnTo>
                    <a:pt x="432" y="186"/>
                  </a:lnTo>
                  <a:lnTo>
                    <a:pt x="438" y="180"/>
                  </a:lnTo>
                  <a:lnTo>
                    <a:pt x="438" y="168"/>
                  </a:lnTo>
                  <a:lnTo>
                    <a:pt x="438" y="162"/>
                  </a:lnTo>
                  <a:lnTo>
                    <a:pt x="444" y="156"/>
                  </a:lnTo>
                  <a:lnTo>
                    <a:pt x="450" y="156"/>
                  </a:lnTo>
                  <a:lnTo>
                    <a:pt x="456" y="150"/>
                  </a:lnTo>
                  <a:lnTo>
                    <a:pt x="462" y="156"/>
                  </a:lnTo>
                  <a:lnTo>
                    <a:pt x="468" y="162"/>
                  </a:lnTo>
                  <a:lnTo>
                    <a:pt x="474" y="162"/>
                  </a:lnTo>
                  <a:lnTo>
                    <a:pt x="486" y="162"/>
                  </a:lnTo>
                  <a:lnTo>
                    <a:pt x="492" y="156"/>
                  </a:lnTo>
                  <a:lnTo>
                    <a:pt x="498" y="150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28" y="126"/>
                  </a:lnTo>
                  <a:lnTo>
                    <a:pt x="522" y="120"/>
                  </a:lnTo>
                  <a:lnTo>
                    <a:pt x="522" y="114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28" y="102"/>
                  </a:lnTo>
                  <a:lnTo>
                    <a:pt x="534" y="96"/>
                  </a:lnTo>
                  <a:lnTo>
                    <a:pt x="552" y="96"/>
                  </a:lnTo>
                  <a:lnTo>
                    <a:pt x="570" y="102"/>
                  </a:lnTo>
                  <a:lnTo>
                    <a:pt x="582" y="96"/>
                  </a:lnTo>
                  <a:lnTo>
                    <a:pt x="582" y="90"/>
                  </a:lnTo>
                  <a:lnTo>
                    <a:pt x="582" y="78"/>
                  </a:lnTo>
                  <a:lnTo>
                    <a:pt x="582" y="72"/>
                  </a:lnTo>
                  <a:lnTo>
                    <a:pt x="582" y="66"/>
                  </a:lnTo>
                  <a:lnTo>
                    <a:pt x="594" y="60"/>
                  </a:lnTo>
                  <a:lnTo>
                    <a:pt x="600" y="60"/>
                  </a:lnTo>
                  <a:lnTo>
                    <a:pt x="606" y="54"/>
                  </a:lnTo>
                  <a:lnTo>
                    <a:pt x="618" y="48"/>
                  </a:lnTo>
                  <a:lnTo>
                    <a:pt x="618" y="42"/>
                  </a:lnTo>
                  <a:lnTo>
                    <a:pt x="624" y="42"/>
                  </a:lnTo>
                  <a:lnTo>
                    <a:pt x="636" y="48"/>
                  </a:lnTo>
                  <a:lnTo>
                    <a:pt x="648" y="54"/>
                  </a:lnTo>
                  <a:lnTo>
                    <a:pt x="660" y="54"/>
                  </a:lnTo>
                  <a:lnTo>
                    <a:pt x="666" y="60"/>
                  </a:lnTo>
                  <a:lnTo>
                    <a:pt x="672" y="54"/>
                  </a:lnTo>
                  <a:lnTo>
                    <a:pt x="684" y="48"/>
                  </a:lnTo>
                  <a:lnTo>
                    <a:pt x="708" y="42"/>
                  </a:lnTo>
                  <a:lnTo>
                    <a:pt x="714" y="42"/>
                  </a:lnTo>
                  <a:lnTo>
                    <a:pt x="720" y="36"/>
                  </a:lnTo>
                  <a:lnTo>
                    <a:pt x="720" y="30"/>
                  </a:lnTo>
                  <a:lnTo>
                    <a:pt x="714" y="12"/>
                  </a:lnTo>
                  <a:lnTo>
                    <a:pt x="708" y="0"/>
                  </a:lnTo>
                  <a:lnTo>
                    <a:pt x="738" y="6"/>
                  </a:lnTo>
                  <a:lnTo>
                    <a:pt x="756" y="6"/>
                  </a:lnTo>
                  <a:lnTo>
                    <a:pt x="762" y="42"/>
                  </a:lnTo>
                  <a:lnTo>
                    <a:pt x="738" y="72"/>
                  </a:lnTo>
                  <a:lnTo>
                    <a:pt x="750" y="90"/>
                  </a:lnTo>
                  <a:lnTo>
                    <a:pt x="762" y="96"/>
                  </a:lnTo>
                  <a:lnTo>
                    <a:pt x="756" y="102"/>
                  </a:lnTo>
                  <a:lnTo>
                    <a:pt x="750" y="108"/>
                  </a:lnTo>
                  <a:lnTo>
                    <a:pt x="750" y="114"/>
                  </a:lnTo>
                  <a:lnTo>
                    <a:pt x="750" y="120"/>
                  </a:lnTo>
                  <a:lnTo>
                    <a:pt x="750" y="126"/>
                  </a:lnTo>
                  <a:lnTo>
                    <a:pt x="750" y="132"/>
                  </a:lnTo>
                  <a:lnTo>
                    <a:pt x="738" y="132"/>
                  </a:lnTo>
                  <a:lnTo>
                    <a:pt x="732" y="138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14" y="144"/>
                  </a:lnTo>
                  <a:lnTo>
                    <a:pt x="714" y="150"/>
                  </a:lnTo>
                  <a:lnTo>
                    <a:pt x="720" y="156"/>
                  </a:lnTo>
                  <a:lnTo>
                    <a:pt x="720" y="162"/>
                  </a:lnTo>
                  <a:lnTo>
                    <a:pt x="714" y="162"/>
                  </a:lnTo>
                  <a:lnTo>
                    <a:pt x="708" y="168"/>
                  </a:lnTo>
                  <a:lnTo>
                    <a:pt x="708" y="180"/>
                  </a:lnTo>
                  <a:lnTo>
                    <a:pt x="708" y="192"/>
                  </a:lnTo>
                  <a:lnTo>
                    <a:pt x="696" y="198"/>
                  </a:lnTo>
                  <a:lnTo>
                    <a:pt x="696" y="204"/>
                  </a:lnTo>
                  <a:lnTo>
                    <a:pt x="684" y="210"/>
                  </a:lnTo>
                  <a:lnTo>
                    <a:pt x="684" y="216"/>
                  </a:lnTo>
                  <a:lnTo>
                    <a:pt x="684" y="222"/>
                  </a:lnTo>
                  <a:lnTo>
                    <a:pt x="678" y="228"/>
                  </a:lnTo>
                  <a:lnTo>
                    <a:pt x="678" y="234"/>
                  </a:lnTo>
                  <a:lnTo>
                    <a:pt x="672" y="240"/>
                  </a:lnTo>
                  <a:lnTo>
                    <a:pt x="672" y="252"/>
                  </a:lnTo>
                  <a:lnTo>
                    <a:pt x="672" y="258"/>
                  </a:lnTo>
                  <a:lnTo>
                    <a:pt x="666" y="264"/>
                  </a:lnTo>
                  <a:lnTo>
                    <a:pt x="678" y="264"/>
                  </a:lnTo>
                  <a:lnTo>
                    <a:pt x="684" y="276"/>
                  </a:lnTo>
                  <a:lnTo>
                    <a:pt x="684" y="288"/>
                  </a:lnTo>
                  <a:lnTo>
                    <a:pt x="672" y="300"/>
                  </a:lnTo>
                  <a:lnTo>
                    <a:pt x="660" y="318"/>
                  </a:lnTo>
                  <a:lnTo>
                    <a:pt x="660" y="336"/>
                  </a:lnTo>
                  <a:lnTo>
                    <a:pt x="654" y="342"/>
                  </a:lnTo>
                  <a:lnTo>
                    <a:pt x="660" y="354"/>
                  </a:lnTo>
                  <a:lnTo>
                    <a:pt x="660" y="366"/>
                  </a:lnTo>
                  <a:lnTo>
                    <a:pt x="666" y="378"/>
                  </a:lnTo>
                  <a:lnTo>
                    <a:pt x="672" y="390"/>
                  </a:lnTo>
                  <a:lnTo>
                    <a:pt x="678" y="396"/>
                  </a:lnTo>
                  <a:lnTo>
                    <a:pt x="684" y="390"/>
                  </a:lnTo>
                  <a:lnTo>
                    <a:pt x="690" y="390"/>
                  </a:lnTo>
                  <a:lnTo>
                    <a:pt x="690" y="396"/>
                  </a:lnTo>
                  <a:lnTo>
                    <a:pt x="684" y="396"/>
                  </a:lnTo>
                  <a:lnTo>
                    <a:pt x="684" y="402"/>
                  </a:lnTo>
                  <a:lnTo>
                    <a:pt x="684" y="408"/>
                  </a:lnTo>
                  <a:lnTo>
                    <a:pt x="678" y="414"/>
                  </a:lnTo>
                  <a:lnTo>
                    <a:pt x="684" y="414"/>
                  </a:lnTo>
                  <a:lnTo>
                    <a:pt x="684" y="420"/>
                  </a:lnTo>
                  <a:lnTo>
                    <a:pt x="684" y="426"/>
                  </a:lnTo>
                  <a:lnTo>
                    <a:pt x="690" y="420"/>
                  </a:lnTo>
                  <a:lnTo>
                    <a:pt x="696" y="420"/>
                  </a:lnTo>
                  <a:lnTo>
                    <a:pt x="696" y="426"/>
                  </a:lnTo>
                  <a:lnTo>
                    <a:pt x="690" y="426"/>
                  </a:lnTo>
                  <a:lnTo>
                    <a:pt x="696" y="426"/>
                  </a:lnTo>
                  <a:lnTo>
                    <a:pt x="708" y="426"/>
                  </a:lnTo>
                  <a:lnTo>
                    <a:pt x="726" y="414"/>
                  </a:lnTo>
                  <a:lnTo>
                    <a:pt x="732" y="408"/>
                  </a:lnTo>
                  <a:lnTo>
                    <a:pt x="744" y="402"/>
                  </a:lnTo>
                  <a:lnTo>
                    <a:pt x="756" y="402"/>
                  </a:lnTo>
                  <a:lnTo>
                    <a:pt x="768" y="402"/>
                  </a:lnTo>
                  <a:lnTo>
                    <a:pt x="786" y="408"/>
                  </a:lnTo>
                  <a:lnTo>
                    <a:pt x="786" y="414"/>
                  </a:lnTo>
                  <a:lnTo>
                    <a:pt x="774" y="420"/>
                  </a:lnTo>
                  <a:lnTo>
                    <a:pt x="774" y="426"/>
                  </a:lnTo>
                  <a:lnTo>
                    <a:pt x="768" y="432"/>
                  </a:lnTo>
                  <a:lnTo>
                    <a:pt x="762" y="438"/>
                  </a:lnTo>
                  <a:lnTo>
                    <a:pt x="756" y="438"/>
                  </a:lnTo>
                  <a:lnTo>
                    <a:pt x="756" y="444"/>
                  </a:lnTo>
                  <a:lnTo>
                    <a:pt x="756" y="450"/>
                  </a:lnTo>
                  <a:lnTo>
                    <a:pt x="762" y="450"/>
                  </a:lnTo>
                  <a:lnTo>
                    <a:pt x="750" y="456"/>
                  </a:lnTo>
                  <a:lnTo>
                    <a:pt x="738" y="468"/>
                  </a:lnTo>
                  <a:lnTo>
                    <a:pt x="726" y="480"/>
                  </a:lnTo>
                  <a:lnTo>
                    <a:pt x="726" y="486"/>
                  </a:lnTo>
                  <a:lnTo>
                    <a:pt x="732" y="486"/>
                  </a:lnTo>
                  <a:lnTo>
                    <a:pt x="732" y="492"/>
                  </a:lnTo>
                  <a:lnTo>
                    <a:pt x="732" y="504"/>
                  </a:lnTo>
                  <a:lnTo>
                    <a:pt x="738" y="504"/>
                  </a:lnTo>
                  <a:lnTo>
                    <a:pt x="744" y="510"/>
                  </a:lnTo>
                  <a:lnTo>
                    <a:pt x="738" y="522"/>
                  </a:lnTo>
                  <a:lnTo>
                    <a:pt x="744" y="528"/>
                  </a:lnTo>
                  <a:lnTo>
                    <a:pt x="756" y="534"/>
                  </a:lnTo>
                  <a:lnTo>
                    <a:pt x="756" y="540"/>
                  </a:lnTo>
                  <a:lnTo>
                    <a:pt x="744" y="552"/>
                  </a:lnTo>
                  <a:lnTo>
                    <a:pt x="738" y="552"/>
                  </a:lnTo>
                  <a:lnTo>
                    <a:pt x="738" y="558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64"/>
                  </a:lnTo>
                  <a:lnTo>
                    <a:pt x="744" y="576"/>
                  </a:lnTo>
                  <a:lnTo>
                    <a:pt x="738" y="588"/>
                  </a:lnTo>
                  <a:lnTo>
                    <a:pt x="738" y="594"/>
                  </a:lnTo>
                  <a:lnTo>
                    <a:pt x="738" y="600"/>
                  </a:lnTo>
                  <a:lnTo>
                    <a:pt x="738" y="606"/>
                  </a:lnTo>
                  <a:lnTo>
                    <a:pt x="732" y="612"/>
                  </a:lnTo>
                  <a:lnTo>
                    <a:pt x="726" y="624"/>
                  </a:lnTo>
                  <a:lnTo>
                    <a:pt x="726" y="636"/>
                  </a:lnTo>
                  <a:lnTo>
                    <a:pt x="726" y="648"/>
                  </a:lnTo>
                  <a:lnTo>
                    <a:pt x="738" y="654"/>
                  </a:lnTo>
                  <a:lnTo>
                    <a:pt x="750" y="660"/>
                  </a:lnTo>
                  <a:lnTo>
                    <a:pt x="750" y="666"/>
                  </a:lnTo>
                  <a:lnTo>
                    <a:pt x="750" y="678"/>
                  </a:lnTo>
                  <a:lnTo>
                    <a:pt x="744" y="678"/>
                  </a:lnTo>
                  <a:lnTo>
                    <a:pt x="738" y="684"/>
                  </a:lnTo>
                  <a:lnTo>
                    <a:pt x="732" y="684"/>
                  </a:lnTo>
                  <a:lnTo>
                    <a:pt x="720" y="678"/>
                  </a:lnTo>
                  <a:lnTo>
                    <a:pt x="714" y="684"/>
                  </a:lnTo>
                  <a:lnTo>
                    <a:pt x="708" y="684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0" y="690"/>
                  </a:lnTo>
                  <a:lnTo>
                    <a:pt x="690" y="684"/>
                  </a:lnTo>
                  <a:lnTo>
                    <a:pt x="690" y="690"/>
                  </a:lnTo>
                  <a:lnTo>
                    <a:pt x="684" y="690"/>
                  </a:lnTo>
                  <a:lnTo>
                    <a:pt x="684" y="684"/>
                  </a:lnTo>
                  <a:lnTo>
                    <a:pt x="678" y="684"/>
                  </a:lnTo>
                  <a:lnTo>
                    <a:pt x="672" y="678"/>
                  </a:lnTo>
                  <a:lnTo>
                    <a:pt x="672" y="672"/>
                  </a:lnTo>
                  <a:lnTo>
                    <a:pt x="678" y="672"/>
                  </a:lnTo>
                  <a:lnTo>
                    <a:pt x="672" y="672"/>
                  </a:lnTo>
                  <a:lnTo>
                    <a:pt x="666" y="672"/>
                  </a:lnTo>
                  <a:lnTo>
                    <a:pt x="660" y="672"/>
                  </a:lnTo>
                  <a:lnTo>
                    <a:pt x="654" y="672"/>
                  </a:lnTo>
                  <a:lnTo>
                    <a:pt x="654" y="666"/>
                  </a:lnTo>
                  <a:lnTo>
                    <a:pt x="648" y="666"/>
                  </a:lnTo>
                  <a:lnTo>
                    <a:pt x="642" y="660"/>
                  </a:lnTo>
                  <a:lnTo>
                    <a:pt x="642" y="654"/>
                  </a:lnTo>
                  <a:lnTo>
                    <a:pt x="642" y="648"/>
                  </a:lnTo>
                  <a:lnTo>
                    <a:pt x="636" y="648"/>
                  </a:lnTo>
                  <a:lnTo>
                    <a:pt x="630" y="648"/>
                  </a:lnTo>
                  <a:lnTo>
                    <a:pt x="624" y="648"/>
                  </a:lnTo>
                  <a:lnTo>
                    <a:pt x="624" y="642"/>
                  </a:lnTo>
                  <a:lnTo>
                    <a:pt x="618" y="636"/>
                  </a:lnTo>
                  <a:lnTo>
                    <a:pt x="624" y="636"/>
                  </a:lnTo>
                  <a:lnTo>
                    <a:pt x="624" y="630"/>
                  </a:lnTo>
                  <a:lnTo>
                    <a:pt x="618" y="630"/>
                  </a:lnTo>
                  <a:lnTo>
                    <a:pt x="618" y="624"/>
                  </a:lnTo>
                  <a:lnTo>
                    <a:pt x="618" y="618"/>
                  </a:lnTo>
                  <a:lnTo>
                    <a:pt x="618" y="612"/>
                  </a:lnTo>
                  <a:lnTo>
                    <a:pt x="618" y="606"/>
                  </a:lnTo>
                  <a:lnTo>
                    <a:pt x="624" y="606"/>
                  </a:lnTo>
                  <a:lnTo>
                    <a:pt x="624" y="600"/>
                  </a:lnTo>
                  <a:lnTo>
                    <a:pt x="618" y="600"/>
                  </a:lnTo>
                  <a:lnTo>
                    <a:pt x="618" y="594"/>
                  </a:lnTo>
                  <a:lnTo>
                    <a:pt x="618" y="588"/>
                  </a:lnTo>
                  <a:lnTo>
                    <a:pt x="618" y="582"/>
                  </a:lnTo>
                  <a:lnTo>
                    <a:pt x="612" y="582"/>
                  </a:lnTo>
                  <a:lnTo>
                    <a:pt x="606" y="582"/>
                  </a:lnTo>
                  <a:lnTo>
                    <a:pt x="612" y="582"/>
                  </a:lnTo>
                  <a:lnTo>
                    <a:pt x="612" y="588"/>
                  </a:lnTo>
                  <a:lnTo>
                    <a:pt x="612" y="594"/>
                  </a:lnTo>
                  <a:lnTo>
                    <a:pt x="618" y="594"/>
                  </a:lnTo>
                  <a:lnTo>
                    <a:pt x="618" y="600"/>
                  </a:lnTo>
                  <a:lnTo>
                    <a:pt x="618" y="606"/>
                  </a:lnTo>
                  <a:lnTo>
                    <a:pt x="618" y="612"/>
                  </a:lnTo>
                  <a:lnTo>
                    <a:pt x="612" y="612"/>
                  </a:lnTo>
                  <a:lnTo>
                    <a:pt x="612" y="618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94" y="612"/>
                  </a:lnTo>
                  <a:lnTo>
                    <a:pt x="588" y="606"/>
                  </a:lnTo>
                  <a:lnTo>
                    <a:pt x="588" y="612"/>
                  </a:lnTo>
                  <a:lnTo>
                    <a:pt x="594" y="612"/>
                  </a:lnTo>
                  <a:lnTo>
                    <a:pt x="594" y="618"/>
                  </a:lnTo>
                  <a:lnTo>
                    <a:pt x="588" y="618"/>
                  </a:lnTo>
                  <a:lnTo>
                    <a:pt x="588" y="624"/>
                  </a:lnTo>
                  <a:lnTo>
                    <a:pt x="582" y="624"/>
                  </a:lnTo>
                  <a:lnTo>
                    <a:pt x="582" y="630"/>
                  </a:lnTo>
                  <a:lnTo>
                    <a:pt x="576" y="630"/>
                  </a:lnTo>
                  <a:lnTo>
                    <a:pt x="576" y="636"/>
                  </a:lnTo>
                  <a:lnTo>
                    <a:pt x="570" y="636"/>
                  </a:lnTo>
                  <a:lnTo>
                    <a:pt x="570" y="642"/>
                  </a:lnTo>
                  <a:lnTo>
                    <a:pt x="564" y="642"/>
                  </a:lnTo>
                  <a:lnTo>
                    <a:pt x="564" y="636"/>
                  </a:lnTo>
                  <a:lnTo>
                    <a:pt x="564" y="630"/>
                  </a:lnTo>
                  <a:lnTo>
                    <a:pt x="564" y="624"/>
                  </a:lnTo>
                  <a:lnTo>
                    <a:pt x="564" y="618"/>
                  </a:lnTo>
                  <a:lnTo>
                    <a:pt x="570" y="612"/>
                  </a:lnTo>
                  <a:lnTo>
                    <a:pt x="564" y="606"/>
                  </a:lnTo>
                  <a:lnTo>
                    <a:pt x="564" y="600"/>
                  </a:lnTo>
                  <a:lnTo>
                    <a:pt x="564" y="594"/>
                  </a:lnTo>
                  <a:lnTo>
                    <a:pt x="558" y="594"/>
                  </a:lnTo>
                  <a:lnTo>
                    <a:pt x="558" y="588"/>
                  </a:lnTo>
                  <a:lnTo>
                    <a:pt x="552" y="582"/>
                  </a:lnTo>
                  <a:lnTo>
                    <a:pt x="552" y="576"/>
                  </a:lnTo>
                  <a:lnTo>
                    <a:pt x="552" y="570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6" y="582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58" y="588"/>
                  </a:lnTo>
                  <a:lnTo>
                    <a:pt x="558" y="594"/>
                  </a:lnTo>
                  <a:lnTo>
                    <a:pt x="558" y="600"/>
                  </a:lnTo>
                  <a:lnTo>
                    <a:pt x="558" y="606"/>
                  </a:lnTo>
                  <a:lnTo>
                    <a:pt x="552" y="612"/>
                  </a:lnTo>
                  <a:lnTo>
                    <a:pt x="558" y="612"/>
                  </a:lnTo>
                  <a:lnTo>
                    <a:pt x="558" y="618"/>
                  </a:lnTo>
                  <a:lnTo>
                    <a:pt x="558" y="624"/>
                  </a:lnTo>
                  <a:lnTo>
                    <a:pt x="558" y="630"/>
                  </a:lnTo>
                  <a:lnTo>
                    <a:pt x="552" y="630"/>
                  </a:lnTo>
                  <a:lnTo>
                    <a:pt x="552" y="624"/>
                  </a:lnTo>
                  <a:lnTo>
                    <a:pt x="546" y="624"/>
                  </a:lnTo>
                  <a:lnTo>
                    <a:pt x="546" y="618"/>
                  </a:lnTo>
                  <a:lnTo>
                    <a:pt x="546" y="612"/>
                  </a:lnTo>
                  <a:lnTo>
                    <a:pt x="540" y="612"/>
                  </a:lnTo>
                  <a:lnTo>
                    <a:pt x="534" y="612"/>
                  </a:lnTo>
                  <a:lnTo>
                    <a:pt x="528" y="612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28" y="618"/>
                  </a:lnTo>
                  <a:lnTo>
                    <a:pt x="534" y="618"/>
                  </a:lnTo>
                  <a:lnTo>
                    <a:pt x="540" y="618"/>
                  </a:lnTo>
                  <a:lnTo>
                    <a:pt x="540" y="624"/>
                  </a:lnTo>
                  <a:lnTo>
                    <a:pt x="546" y="624"/>
                  </a:lnTo>
                  <a:lnTo>
                    <a:pt x="546" y="630"/>
                  </a:lnTo>
                  <a:lnTo>
                    <a:pt x="552" y="630"/>
                  </a:lnTo>
                  <a:lnTo>
                    <a:pt x="552" y="636"/>
                  </a:lnTo>
                  <a:lnTo>
                    <a:pt x="546" y="642"/>
                  </a:lnTo>
                  <a:lnTo>
                    <a:pt x="546" y="648"/>
                  </a:lnTo>
                  <a:lnTo>
                    <a:pt x="540" y="648"/>
                  </a:lnTo>
                  <a:lnTo>
                    <a:pt x="540" y="654"/>
                  </a:lnTo>
                  <a:lnTo>
                    <a:pt x="540" y="660"/>
                  </a:lnTo>
                  <a:lnTo>
                    <a:pt x="534" y="666"/>
                  </a:lnTo>
                  <a:lnTo>
                    <a:pt x="534" y="672"/>
                  </a:lnTo>
                  <a:lnTo>
                    <a:pt x="534" y="678"/>
                  </a:lnTo>
                  <a:lnTo>
                    <a:pt x="534" y="684"/>
                  </a:lnTo>
                  <a:lnTo>
                    <a:pt x="534" y="678"/>
                  </a:lnTo>
                  <a:lnTo>
                    <a:pt x="528" y="678"/>
                  </a:lnTo>
                  <a:lnTo>
                    <a:pt x="528" y="684"/>
                  </a:lnTo>
                  <a:lnTo>
                    <a:pt x="522" y="690"/>
                  </a:lnTo>
                  <a:lnTo>
                    <a:pt x="528" y="690"/>
                  </a:lnTo>
                  <a:lnTo>
                    <a:pt x="528" y="684"/>
                  </a:lnTo>
                  <a:lnTo>
                    <a:pt x="534" y="684"/>
                  </a:lnTo>
                  <a:lnTo>
                    <a:pt x="534" y="690"/>
                  </a:lnTo>
                  <a:lnTo>
                    <a:pt x="534" y="696"/>
                  </a:lnTo>
                  <a:lnTo>
                    <a:pt x="540" y="696"/>
                  </a:lnTo>
                  <a:lnTo>
                    <a:pt x="540" y="702"/>
                  </a:lnTo>
                  <a:lnTo>
                    <a:pt x="540" y="708"/>
                  </a:lnTo>
                  <a:lnTo>
                    <a:pt x="534" y="708"/>
                  </a:lnTo>
                  <a:lnTo>
                    <a:pt x="528" y="708"/>
                  </a:lnTo>
                  <a:lnTo>
                    <a:pt x="522" y="708"/>
                  </a:lnTo>
                  <a:lnTo>
                    <a:pt x="516" y="708"/>
                  </a:lnTo>
                  <a:lnTo>
                    <a:pt x="510" y="708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2" y="708"/>
                  </a:lnTo>
                  <a:lnTo>
                    <a:pt x="486" y="714"/>
                  </a:lnTo>
                  <a:lnTo>
                    <a:pt x="480" y="708"/>
                  </a:lnTo>
                  <a:lnTo>
                    <a:pt x="474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68" y="714"/>
                  </a:lnTo>
                  <a:lnTo>
                    <a:pt x="456" y="714"/>
                  </a:lnTo>
                  <a:lnTo>
                    <a:pt x="450" y="714"/>
                  </a:lnTo>
                  <a:lnTo>
                    <a:pt x="450" y="708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50" y="690"/>
                  </a:lnTo>
                  <a:lnTo>
                    <a:pt x="450" y="684"/>
                  </a:lnTo>
                  <a:lnTo>
                    <a:pt x="450" y="678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56" y="660"/>
                  </a:lnTo>
                  <a:lnTo>
                    <a:pt x="462" y="660"/>
                  </a:lnTo>
                  <a:lnTo>
                    <a:pt x="462" y="654"/>
                  </a:lnTo>
                  <a:lnTo>
                    <a:pt x="456" y="654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48"/>
                  </a:lnTo>
                  <a:lnTo>
                    <a:pt x="444" y="648"/>
                  </a:lnTo>
                  <a:lnTo>
                    <a:pt x="444" y="642"/>
                  </a:lnTo>
                  <a:lnTo>
                    <a:pt x="444" y="636"/>
                  </a:lnTo>
                  <a:lnTo>
                    <a:pt x="450" y="636"/>
                  </a:lnTo>
                  <a:lnTo>
                    <a:pt x="450" y="630"/>
                  </a:lnTo>
                  <a:lnTo>
                    <a:pt x="456" y="630"/>
                  </a:lnTo>
                  <a:lnTo>
                    <a:pt x="462" y="630"/>
                  </a:lnTo>
                  <a:lnTo>
                    <a:pt x="462" y="624"/>
                  </a:lnTo>
                  <a:lnTo>
                    <a:pt x="468" y="624"/>
                  </a:lnTo>
                  <a:lnTo>
                    <a:pt x="474" y="624"/>
                  </a:lnTo>
                  <a:lnTo>
                    <a:pt x="474" y="618"/>
                  </a:lnTo>
                  <a:lnTo>
                    <a:pt x="480" y="618"/>
                  </a:lnTo>
                  <a:lnTo>
                    <a:pt x="486" y="618"/>
                  </a:lnTo>
                  <a:lnTo>
                    <a:pt x="486" y="624"/>
                  </a:lnTo>
                  <a:lnTo>
                    <a:pt x="486" y="636"/>
                  </a:lnTo>
                  <a:lnTo>
                    <a:pt x="486" y="642"/>
                  </a:lnTo>
                  <a:lnTo>
                    <a:pt x="486" y="648"/>
                  </a:lnTo>
                  <a:lnTo>
                    <a:pt x="492" y="648"/>
                  </a:lnTo>
                  <a:lnTo>
                    <a:pt x="492" y="642"/>
                  </a:lnTo>
                  <a:lnTo>
                    <a:pt x="498" y="636"/>
                  </a:lnTo>
                  <a:lnTo>
                    <a:pt x="492" y="636"/>
                  </a:lnTo>
                  <a:lnTo>
                    <a:pt x="492" y="630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6" y="618"/>
                  </a:lnTo>
                  <a:lnTo>
                    <a:pt x="486" y="612"/>
                  </a:lnTo>
                  <a:lnTo>
                    <a:pt x="486" y="606"/>
                  </a:lnTo>
                  <a:lnTo>
                    <a:pt x="480" y="606"/>
                  </a:lnTo>
                  <a:lnTo>
                    <a:pt x="480" y="612"/>
                  </a:lnTo>
                  <a:lnTo>
                    <a:pt x="474" y="618"/>
                  </a:lnTo>
                  <a:lnTo>
                    <a:pt x="468" y="618"/>
                  </a:lnTo>
                  <a:lnTo>
                    <a:pt x="462" y="618"/>
                  </a:lnTo>
                  <a:lnTo>
                    <a:pt x="462" y="612"/>
                  </a:lnTo>
                  <a:lnTo>
                    <a:pt x="456" y="612"/>
                  </a:lnTo>
                  <a:lnTo>
                    <a:pt x="456" y="618"/>
                  </a:lnTo>
                  <a:lnTo>
                    <a:pt x="462" y="618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30"/>
                  </a:lnTo>
                  <a:lnTo>
                    <a:pt x="444" y="630"/>
                  </a:lnTo>
                  <a:lnTo>
                    <a:pt x="444" y="636"/>
                  </a:lnTo>
                  <a:lnTo>
                    <a:pt x="444" y="642"/>
                  </a:lnTo>
                  <a:lnTo>
                    <a:pt x="444" y="654"/>
                  </a:lnTo>
                  <a:lnTo>
                    <a:pt x="444" y="660"/>
                  </a:lnTo>
                  <a:lnTo>
                    <a:pt x="438" y="660"/>
                  </a:lnTo>
                  <a:lnTo>
                    <a:pt x="432" y="660"/>
                  </a:lnTo>
                  <a:lnTo>
                    <a:pt x="432" y="654"/>
                  </a:lnTo>
                  <a:lnTo>
                    <a:pt x="438" y="654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48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26" y="660"/>
                  </a:lnTo>
                  <a:lnTo>
                    <a:pt x="432" y="666"/>
                  </a:lnTo>
                  <a:lnTo>
                    <a:pt x="432" y="672"/>
                  </a:lnTo>
                  <a:lnTo>
                    <a:pt x="438" y="672"/>
                  </a:lnTo>
                  <a:lnTo>
                    <a:pt x="438" y="678"/>
                  </a:lnTo>
                  <a:lnTo>
                    <a:pt x="444" y="678"/>
                  </a:lnTo>
                  <a:lnTo>
                    <a:pt x="444" y="684"/>
                  </a:lnTo>
                  <a:lnTo>
                    <a:pt x="438" y="690"/>
                  </a:lnTo>
                  <a:lnTo>
                    <a:pt x="438" y="696"/>
                  </a:lnTo>
                  <a:lnTo>
                    <a:pt x="438" y="702"/>
                  </a:lnTo>
                  <a:lnTo>
                    <a:pt x="432" y="702"/>
                  </a:lnTo>
                  <a:lnTo>
                    <a:pt x="426" y="702"/>
                  </a:lnTo>
                  <a:lnTo>
                    <a:pt x="426" y="696"/>
                  </a:lnTo>
                  <a:lnTo>
                    <a:pt x="414" y="696"/>
                  </a:lnTo>
                  <a:lnTo>
                    <a:pt x="402" y="696"/>
                  </a:lnTo>
                  <a:lnTo>
                    <a:pt x="402" y="690"/>
                  </a:lnTo>
                  <a:lnTo>
                    <a:pt x="396" y="690"/>
                  </a:lnTo>
                  <a:lnTo>
                    <a:pt x="390" y="690"/>
                  </a:lnTo>
                  <a:lnTo>
                    <a:pt x="384" y="690"/>
                  </a:lnTo>
                  <a:lnTo>
                    <a:pt x="384" y="684"/>
                  </a:lnTo>
                  <a:lnTo>
                    <a:pt x="384" y="678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390" y="660"/>
                  </a:lnTo>
                  <a:lnTo>
                    <a:pt x="390" y="654"/>
                  </a:lnTo>
                  <a:lnTo>
                    <a:pt x="384" y="648"/>
                  </a:lnTo>
                  <a:lnTo>
                    <a:pt x="384" y="642"/>
                  </a:lnTo>
                  <a:lnTo>
                    <a:pt x="378" y="636"/>
                  </a:lnTo>
                  <a:lnTo>
                    <a:pt x="378" y="642"/>
                  </a:lnTo>
                  <a:lnTo>
                    <a:pt x="378" y="648"/>
                  </a:lnTo>
                  <a:lnTo>
                    <a:pt x="372" y="648"/>
                  </a:lnTo>
                  <a:lnTo>
                    <a:pt x="378" y="654"/>
                  </a:lnTo>
                  <a:lnTo>
                    <a:pt x="378" y="660"/>
                  </a:lnTo>
                  <a:lnTo>
                    <a:pt x="378" y="666"/>
                  </a:lnTo>
                  <a:lnTo>
                    <a:pt x="372" y="672"/>
                  </a:lnTo>
                  <a:lnTo>
                    <a:pt x="378" y="672"/>
                  </a:lnTo>
                  <a:lnTo>
                    <a:pt x="378" y="678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54" y="666"/>
                  </a:lnTo>
                  <a:lnTo>
                    <a:pt x="354" y="660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0" y="654"/>
                  </a:lnTo>
                  <a:lnTo>
                    <a:pt x="324" y="648"/>
                  </a:lnTo>
                  <a:lnTo>
                    <a:pt x="318" y="648"/>
                  </a:lnTo>
                  <a:lnTo>
                    <a:pt x="318" y="642"/>
                  </a:lnTo>
                  <a:lnTo>
                    <a:pt x="312" y="642"/>
                  </a:lnTo>
                  <a:lnTo>
                    <a:pt x="306" y="636"/>
                  </a:lnTo>
                  <a:lnTo>
                    <a:pt x="300" y="636"/>
                  </a:lnTo>
                  <a:lnTo>
                    <a:pt x="300" y="630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0" y="618"/>
                  </a:lnTo>
                  <a:lnTo>
                    <a:pt x="306" y="612"/>
                  </a:lnTo>
                  <a:lnTo>
                    <a:pt x="300" y="612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294" y="612"/>
                  </a:lnTo>
                  <a:lnTo>
                    <a:pt x="288" y="618"/>
                  </a:lnTo>
                  <a:lnTo>
                    <a:pt x="288" y="612"/>
                  </a:lnTo>
                  <a:lnTo>
                    <a:pt x="288" y="618"/>
                  </a:lnTo>
                  <a:lnTo>
                    <a:pt x="294" y="618"/>
                  </a:lnTo>
                  <a:lnTo>
                    <a:pt x="300" y="624"/>
                  </a:lnTo>
                  <a:lnTo>
                    <a:pt x="294" y="624"/>
                  </a:lnTo>
                  <a:lnTo>
                    <a:pt x="288" y="624"/>
                  </a:lnTo>
                  <a:lnTo>
                    <a:pt x="282" y="61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70" y="600"/>
                  </a:lnTo>
                  <a:lnTo>
                    <a:pt x="270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82" y="588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594"/>
                  </a:lnTo>
                  <a:lnTo>
                    <a:pt x="264" y="600"/>
                  </a:lnTo>
                  <a:lnTo>
                    <a:pt x="264" y="594"/>
                  </a:lnTo>
                  <a:lnTo>
                    <a:pt x="270" y="594"/>
                  </a:lnTo>
                  <a:lnTo>
                    <a:pt x="270" y="588"/>
                  </a:lnTo>
                  <a:lnTo>
                    <a:pt x="264" y="594"/>
                  </a:lnTo>
                  <a:lnTo>
                    <a:pt x="258" y="594"/>
                  </a:lnTo>
                  <a:lnTo>
                    <a:pt x="258" y="588"/>
                  </a:lnTo>
                  <a:lnTo>
                    <a:pt x="252" y="588"/>
                  </a:lnTo>
                  <a:lnTo>
                    <a:pt x="246" y="588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52" y="588"/>
                  </a:lnTo>
                  <a:lnTo>
                    <a:pt x="252" y="594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46" y="594"/>
                  </a:lnTo>
                  <a:lnTo>
                    <a:pt x="246" y="588"/>
                  </a:lnTo>
                  <a:lnTo>
                    <a:pt x="240" y="588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2" y="570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64"/>
                  </a:lnTo>
                  <a:lnTo>
                    <a:pt x="234" y="564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34" y="558"/>
                  </a:lnTo>
                  <a:lnTo>
                    <a:pt x="228" y="558"/>
                  </a:lnTo>
                  <a:lnTo>
                    <a:pt x="222" y="558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2" y="564"/>
                  </a:lnTo>
                  <a:lnTo>
                    <a:pt x="222" y="558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04" y="546"/>
                  </a:lnTo>
                  <a:lnTo>
                    <a:pt x="204" y="540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10" y="540"/>
                  </a:lnTo>
                  <a:lnTo>
                    <a:pt x="210" y="534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8"/>
                  </a:lnTo>
                  <a:lnTo>
                    <a:pt x="174" y="516"/>
                  </a:lnTo>
                  <a:lnTo>
                    <a:pt x="168" y="510"/>
                  </a:lnTo>
                  <a:lnTo>
                    <a:pt x="162" y="504"/>
                  </a:lnTo>
                  <a:lnTo>
                    <a:pt x="156" y="498"/>
                  </a:lnTo>
                  <a:lnTo>
                    <a:pt x="156" y="492"/>
                  </a:lnTo>
                  <a:lnTo>
                    <a:pt x="150" y="486"/>
                  </a:lnTo>
                  <a:lnTo>
                    <a:pt x="144" y="480"/>
                  </a:lnTo>
                  <a:lnTo>
                    <a:pt x="144" y="474"/>
                  </a:lnTo>
                  <a:lnTo>
                    <a:pt x="138" y="474"/>
                  </a:lnTo>
                  <a:lnTo>
                    <a:pt x="138" y="468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26" y="450"/>
                  </a:lnTo>
                  <a:lnTo>
                    <a:pt x="126" y="444"/>
                  </a:lnTo>
                  <a:lnTo>
                    <a:pt x="114" y="438"/>
                  </a:lnTo>
                  <a:lnTo>
                    <a:pt x="114" y="432"/>
                  </a:lnTo>
                  <a:lnTo>
                    <a:pt x="114" y="426"/>
                  </a:lnTo>
                  <a:lnTo>
                    <a:pt x="114" y="432"/>
                  </a:lnTo>
                  <a:lnTo>
                    <a:pt x="120" y="432"/>
                  </a:lnTo>
                  <a:lnTo>
                    <a:pt x="120" y="438"/>
                  </a:lnTo>
                  <a:lnTo>
                    <a:pt x="120" y="444"/>
                  </a:lnTo>
                  <a:lnTo>
                    <a:pt x="126" y="444"/>
                  </a:lnTo>
                  <a:lnTo>
                    <a:pt x="126" y="438"/>
                  </a:lnTo>
                  <a:lnTo>
                    <a:pt x="120" y="438"/>
                  </a:lnTo>
                  <a:lnTo>
                    <a:pt x="126" y="432"/>
                  </a:lnTo>
                  <a:lnTo>
                    <a:pt x="126" y="426"/>
                  </a:lnTo>
                  <a:lnTo>
                    <a:pt x="132" y="420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08" y="414"/>
                  </a:lnTo>
                  <a:lnTo>
                    <a:pt x="102" y="414"/>
                  </a:lnTo>
                  <a:lnTo>
                    <a:pt x="102" y="408"/>
                  </a:lnTo>
                  <a:lnTo>
                    <a:pt x="96" y="402"/>
                  </a:lnTo>
                  <a:lnTo>
                    <a:pt x="96" y="396"/>
                  </a:lnTo>
                  <a:lnTo>
                    <a:pt x="96" y="390"/>
                  </a:lnTo>
                  <a:lnTo>
                    <a:pt x="90" y="390"/>
                  </a:lnTo>
                  <a:lnTo>
                    <a:pt x="90" y="384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78" y="372"/>
                  </a:lnTo>
                  <a:lnTo>
                    <a:pt x="78" y="366"/>
                  </a:lnTo>
                  <a:lnTo>
                    <a:pt x="78" y="360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6" y="348"/>
                  </a:lnTo>
                  <a:lnTo>
                    <a:pt x="66" y="342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6" y="336"/>
                  </a:lnTo>
                  <a:lnTo>
                    <a:pt x="66" y="342"/>
                  </a:lnTo>
                  <a:lnTo>
                    <a:pt x="72" y="348"/>
                  </a:lnTo>
                  <a:lnTo>
                    <a:pt x="78" y="354"/>
                  </a:lnTo>
                  <a:lnTo>
                    <a:pt x="84" y="360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0" y="360"/>
                  </a:lnTo>
                  <a:lnTo>
                    <a:pt x="84" y="360"/>
                  </a:lnTo>
                  <a:lnTo>
                    <a:pt x="84" y="354"/>
                  </a:lnTo>
                  <a:lnTo>
                    <a:pt x="78" y="348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66" y="330"/>
                  </a:lnTo>
                  <a:lnTo>
                    <a:pt x="66" y="324"/>
                  </a:lnTo>
                  <a:lnTo>
                    <a:pt x="60" y="318"/>
                  </a:lnTo>
                  <a:lnTo>
                    <a:pt x="60" y="312"/>
                  </a:lnTo>
                  <a:lnTo>
                    <a:pt x="54" y="306"/>
                  </a:lnTo>
                  <a:lnTo>
                    <a:pt x="54" y="300"/>
                  </a:lnTo>
                  <a:lnTo>
                    <a:pt x="54" y="294"/>
                  </a:lnTo>
                  <a:lnTo>
                    <a:pt x="48" y="288"/>
                  </a:lnTo>
                  <a:lnTo>
                    <a:pt x="48" y="294"/>
                  </a:lnTo>
                  <a:lnTo>
                    <a:pt x="48" y="288"/>
                  </a:lnTo>
                  <a:lnTo>
                    <a:pt x="48" y="282"/>
                  </a:lnTo>
                  <a:lnTo>
                    <a:pt x="48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18" y="216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62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68"/>
                  </a:lnTo>
                  <a:lnTo>
                    <a:pt x="42" y="168"/>
                  </a:lnTo>
                  <a:lnTo>
                    <a:pt x="42" y="174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86"/>
                  </a:lnTo>
                  <a:close/>
                  <a:moveTo>
                    <a:pt x="642" y="660"/>
                  </a:moveTo>
                  <a:lnTo>
                    <a:pt x="642" y="666"/>
                  </a:lnTo>
                  <a:lnTo>
                    <a:pt x="648" y="666"/>
                  </a:lnTo>
                  <a:lnTo>
                    <a:pt x="648" y="672"/>
                  </a:lnTo>
                  <a:lnTo>
                    <a:pt x="648" y="678"/>
                  </a:lnTo>
                  <a:lnTo>
                    <a:pt x="654" y="678"/>
                  </a:lnTo>
                  <a:lnTo>
                    <a:pt x="654" y="684"/>
                  </a:lnTo>
                  <a:lnTo>
                    <a:pt x="660" y="684"/>
                  </a:lnTo>
                  <a:lnTo>
                    <a:pt x="660" y="690"/>
                  </a:lnTo>
                  <a:lnTo>
                    <a:pt x="654" y="690"/>
                  </a:lnTo>
                  <a:lnTo>
                    <a:pt x="648" y="690"/>
                  </a:lnTo>
                  <a:lnTo>
                    <a:pt x="636" y="696"/>
                  </a:lnTo>
                  <a:lnTo>
                    <a:pt x="630" y="696"/>
                  </a:lnTo>
                  <a:lnTo>
                    <a:pt x="624" y="696"/>
                  </a:lnTo>
                  <a:lnTo>
                    <a:pt x="618" y="696"/>
                  </a:lnTo>
                  <a:lnTo>
                    <a:pt x="612" y="696"/>
                  </a:lnTo>
                  <a:lnTo>
                    <a:pt x="594" y="696"/>
                  </a:lnTo>
                  <a:lnTo>
                    <a:pt x="588" y="696"/>
                  </a:lnTo>
                  <a:lnTo>
                    <a:pt x="582" y="696"/>
                  </a:lnTo>
                  <a:lnTo>
                    <a:pt x="570" y="702"/>
                  </a:lnTo>
                  <a:lnTo>
                    <a:pt x="564" y="702"/>
                  </a:lnTo>
                  <a:lnTo>
                    <a:pt x="558" y="702"/>
                  </a:lnTo>
                  <a:lnTo>
                    <a:pt x="552" y="702"/>
                  </a:lnTo>
                  <a:lnTo>
                    <a:pt x="552" y="696"/>
                  </a:lnTo>
                  <a:lnTo>
                    <a:pt x="546" y="696"/>
                  </a:lnTo>
                  <a:lnTo>
                    <a:pt x="546" y="690"/>
                  </a:lnTo>
                  <a:lnTo>
                    <a:pt x="552" y="684"/>
                  </a:lnTo>
                  <a:lnTo>
                    <a:pt x="552" y="678"/>
                  </a:lnTo>
                  <a:lnTo>
                    <a:pt x="558" y="672"/>
                  </a:lnTo>
                  <a:lnTo>
                    <a:pt x="558" y="666"/>
                  </a:lnTo>
                  <a:lnTo>
                    <a:pt x="564" y="666"/>
                  </a:lnTo>
                  <a:lnTo>
                    <a:pt x="570" y="666"/>
                  </a:lnTo>
                  <a:lnTo>
                    <a:pt x="570" y="654"/>
                  </a:lnTo>
                  <a:lnTo>
                    <a:pt x="570" y="648"/>
                  </a:lnTo>
                  <a:lnTo>
                    <a:pt x="582" y="642"/>
                  </a:lnTo>
                  <a:lnTo>
                    <a:pt x="582" y="636"/>
                  </a:lnTo>
                  <a:lnTo>
                    <a:pt x="588" y="636"/>
                  </a:lnTo>
                  <a:lnTo>
                    <a:pt x="588" y="630"/>
                  </a:lnTo>
                  <a:lnTo>
                    <a:pt x="594" y="624"/>
                  </a:lnTo>
                  <a:lnTo>
                    <a:pt x="594" y="618"/>
                  </a:lnTo>
                  <a:lnTo>
                    <a:pt x="600" y="618"/>
                  </a:lnTo>
                  <a:lnTo>
                    <a:pt x="600" y="612"/>
                  </a:lnTo>
                  <a:lnTo>
                    <a:pt x="606" y="612"/>
                  </a:lnTo>
                  <a:lnTo>
                    <a:pt x="606" y="618"/>
                  </a:lnTo>
                  <a:lnTo>
                    <a:pt x="612" y="618"/>
                  </a:lnTo>
                  <a:lnTo>
                    <a:pt x="618" y="618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18" y="636"/>
                  </a:lnTo>
                  <a:lnTo>
                    <a:pt x="618" y="642"/>
                  </a:lnTo>
                  <a:lnTo>
                    <a:pt x="618" y="648"/>
                  </a:lnTo>
                  <a:lnTo>
                    <a:pt x="624" y="648"/>
                  </a:lnTo>
                  <a:lnTo>
                    <a:pt x="630" y="648"/>
                  </a:lnTo>
                  <a:lnTo>
                    <a:pt x="636" y="654"/>
                  </a:lnTo>
                  <a:lnTo>
                    <a:pt x="642" y="654"/>
                  </a:lnTo>
                  <a:lnTo>
                    <a:pt x="642" y="66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00" name="Freeform 5">
              <a:extLst>
                <a:ext uri="{FF2B5EF4-FFF2-40B4-BE49-F238E27FC236}">
                  <a16:creationId xmlns:a16="http://schemas.microsoft.com/office/drawing/2014/main" id="{5577BDCA-F2C7-42E0-A391-018D79AA29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0384" y="4231013"/>
              <a:ext cx="404750" cy="480848"/>
            </a:xfrm>
            <a:custGeom>
              <a:avLst/>
              <a:gdLst>
                <a:gd name="T0" fmla="*/ 9 w 762"/>
                <a:gd name="T1" fmla="*/ 58 h 900"/>
                <a:gd name="T2" fmla="*/ 4 w 762"/>
                <a:gd name="T3" fmla="*/ 56 h 900"/>
                <a:gd name="T4" fmla="*/ 0 w 762"/>
                <a:gd name="T5" fmla="*/ 49 h 900"/>
                <a:gd name="T6" fmla="*/ 4 w 762"/>
                <a:gd name="T7" fmla="*/ 36 h 900"/>
                <a:gd name="T8" fmla="*/ 8 w 762"/>
                <a:gd name="T9" fmla="*/ 28 h 900"/>
                <a:gd name="T10" fmla="*/ 7 w 762"/>
                <a:gd name="T11" fmla="*/ 13 h 900"/>
                <a:gd name="T12" fmla="*/ 15 w 762"/>
                <a:gd name="T13" fmla="*/ 0 h 900"/>
                <a:gd name="T14" fmla="*/ 16 w 762"/>
                <a:gd name="T15" fmla="*/ 13 h 900"/>
                <a:gd name="T16" fmla="*/ 31 w 762"/>
                <a:gd name="T17" fmla="*/ 28 h 900"/>
                <a:gd name="T18" fmla="*/ 49 w 762"/>
                <a:gd name="T19" fmla="*/ 33 h 900"/>
                <a:gd name="T20" fmla="*/ 42 w 762"/>
                <a:gd name="T21" fmla="*/ 48 h 900"/>
                <a:gd name="T22" fmla="*/ 51 w 762"/>
                <a:gd name="T23" fmla="*/ 48 h 900"/>
                <a:gd name="T24" fmla="*/ 61 w 762"/>
                <a:gd name="T25" fmla="*/ 51 h 900"/>
                <a:gd name="T26" fmla="*/ 63 w 762"/>
                <a:gd name="T27" fmla="*/ 60 h 900"/>
                <a:gd name="T28" fmla="*/ 63 w 762"/>
                <a:gd name="T29" fmla="*/ 66 h 900"/>
                <a:gd name="T30" fmla="*/ 65 w 762"/>
                <a:gd name="T31" fmla="*/ 69 h 900"/>
                <a:gd name="T32" fmla="*/ 66 w 762"/>
                <a:gd name="T33" fmla="*/ 72 h 900"/>
                <a:gd name="T34" fmla="*/ 56 w 762"/>
                <a:gd name="T35" fmla="*/ 73 h 900"/>
                <a:gd name="T36" fmla="*/ 55 w 762"/>
                <a:gd name="T37" fmla="*/ 69 h 900"/>
                <a:gd name="T38" fmla="*/ 57 w 762"/>
                <a:gd name="T39" fmla="*/ 67 h 900"/>
                <a:gd name="T40" fmla="*/ 55 w 762"/>
                <a:gd name="T41" fmla="*/ 65 h 900"/>
                <a:gd name="T42" fmla="*/ 53 w 762"/>
                <a:gd name="T43" fmla="*/ 68 h 900"/>
                <a:gd name="T44" fmla="*/ 49 w 762"/>
                <a:gd name="T45" fmla="*/ 68 h 900"/>
                <a:gd name="T46" fmla="*/ 44 w 762"/>
                <a:gd name="T47" fmla="*/ 63 h 900"/>
                <a:gd name="T48" fmla="*/ 40 w 762"/>
                <a:gd name="T49" fmla="*/ 59 h 900"/>
                <a:gd name="T50" fmla="*/ 38 w 762"/>
                <a:gd name="T51" fmla="*/ 57 h 900"/>
                <a:gd name="T52" fmla="*/ 43 w 762"/>
                <a:gd name="T53" fmla="*/ 62 h 900"/>
                <a:gd name="T54" fmla="*/ 43 w 762"/>
                <a:gd name="T55" fmla="*/ 66 h 900"/>
                <a:gd name="T56" fmla="*/ 41 w 762"/>
                <a:gd name="T57" fmla="*/ 71 h 900"/>
                <a:gd name="T58" fmla="*/ 37 w 762"/>
                <a:gd name="T59" fmla="*/ 69 h 900"/>
                <a:gd name="T60" fmla="*/ 35 w 762"/>
                <a:gd name="T61" fmla="*/ 64 h 900"/>
                <a:gd name="T62" fmla="*/ 31 w 762"/>
                <a:gd name="T63" fmla="*/ 57 h 900"/>
                <a:gd name="T64" fmla="*/ 30 w 762"/>
                <a:gd name="T65" fmla="*/ 62 h 900"/>
                <a:gd name="T66" fmla="*/ 29 w 762"/>
                <a:gd name="T67" fmla="*/ 61 h 900"/>
                <a:gd name="T68" fmla="*/ 31 w 762"/>
                <a:gd name="T69" fmla="*/ 66 h 900"/>
                <a:gd name="T70" fmla="*/ 33 w 762"/>
                <a:gd name="T71" fmla="*/ 72 h 900"/>
                <a:gd name="T72" fmla="*/ 32 w 762"/>
                <a:gd name="T73" fmla="*/ 76 h 900"/>
                <a:gd name="T74" fmla="*/ 28 w 762"/>
                <a:gd name="T75" fmla="*/ 75 h 900"/>
                <a:gd name="T76" fmla="*/ 24 w 762"/>
                <a:gd name="T77" fmla="*/ 69 h 900"/>
                <a:gd name="T78" fmla="*/ 24 w 762"/>
                <a:gd name="T79" fmla="*/ 62 h 900"/>
                <a:gd name="T80" fmla="*/ 23 w 762"/>
                <a:gd name="T81" fmla="*/ 62 h 900"/>
                <a:gd name="T82" fmla="*/ 23 w 762"/>
                <a:gd name="T83" fmla="*/ 68 h 900"/>
                <a:gd name="T84" fmla="*/ 25 w 762"/>
                <a:gd name="T85" fmla="*/ 77 h 900"/>
                <a:gd name="T86" fmla="*/ 17 w 762"/>
                <a:gd name="T87" fmla="*/ 74 h 900"/>
                <a:gd name="T88" fmla="*/ 17 w 762"/>
                <a:gd name="T89" fmla="*/ 67 h 900"/>
                <a:gd name="T90" fmla="*/ 16 w 762"/>
                <a:gd name="T91" fmla="*/ 67 h 900"/>
                <a:gd name="T92" fmla="*/ 15 w 762"/>
                <a:gd name="T93" fmla="*/ 71 h 900"/>
                <a:gd name="T94" fmla="*/ 12 w 762"/>
                <a:gd name="T95" fmla="*/ 68 h 900"/>
                <a:gd name="T96" fmla="*/ 15 w 762"/>
                <a:gd name="T97" fmla="*/ 72 h 900"/>
                <a:gd name="T98" fmla="*/ 17 w 762"/>
                <a:gd name="T99" fmla="*/ 77 h 900"/>
                <a:gd name="T100" fmla="*/ 11 w 762"/>
                <a:gd name="T101" fmla="*/ 77 h 900"/>
                <a:gd name="T102" fmla="*/ 10 w 762"/>
                <a:gd name="T103" fmla="*/ 69 h 900"/>
                <a:gd name="T104" fmla="*/ 11 w 762"/>
                <a:gd name="T105" fmla="*/ 72 h 900"/>
                <a:gd name="T106" fmla="*/ 9 w 762"/>
                <a:gd name="T107" fmla="*/ 78 h 900"/>
                <a:gd name="T108" fmla="*/ 43 w 762"/>
                <a:gd name="T109" fmla="*/ 71 h 900"/>
                <a:gd name="T110" fmla="*/ 51 w 762"/>
                <a:gd name="T111" fmla="*/ 69 h 900"/>
                <a:gd name="T112" fmla="*/ 43 w 762"/>
                <a:gd name="T113" fmla="*/ 76 h 900"/>
                <a:gd name="T114" fmla="*/ 36 w 762"/>
                <a:gd name="T115" fmla="*/ 65 h 900"/>
                <a:gd name="T116" fmla="*/ 38 w 762"/>
                <a:gd name="T117" fmla="*/ 72 h 900"/>
                <a:gd name="T118" fmla="*/ 34 w 762"/>
                <a:gd name="T119" fmla="*/ 69 h 900"/>
                <a:gd name="T120" fmla="*/ 29 w 762"/>
                <a:gd name="T121" fmla="*/ 64 h 900"/>
                <a:gd name="T122" fmla="*/ 32 w 762"/>
                <a:gd name="T123" fmla="*/ 66 h 9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900"/>
                <a:gd name="T188" fmla="*/ 762 w 762"/>
                <a:gd name="T189" fmla="*/ 900 h 90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900">
                  <a:moveTo>
                    <a:pt x="90" y="768"/>
                  </a:moveTo>
                  <a:lnTo>
                    <a:pt x="102" y="756"/>
                  </a:lnTo>
                  <a:lnTo>
                    <a:pt x="102" y="750"/>
                  </a:lnTo>
                  <a:lnTo>
                    <a:pt x="90" y="744"/>
                  </a:lnTo>
                  <a:lnTo>
                    <a:pt x="84" y="738"/>
                  </a:lnTo>
                  <a:lnTo>
                    <a:pt x="90" y="726"/>
                  </a:lnTo>
                  <a:lnTo>
                    <a:pt x="84" y="720"/>
                  </a:lnTo>
                  <a:lnTo>
                    <a:pt x="78" y="720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72" y="702"/>
                  </a:lnTo>
                  <a:lnTo>
                    <a:pt x="72" y="696"/>
                  </a:lnTo>
                  <a:lnTo>
                    <a:pt x="84" y="684"/>
                  </a:lnTo>
                  <a:lnTo>
                    <a:pt x="96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102" y="654"/>
                  </a:lnTo>
                  <a:lnTo>
                    <a:pt x="108" y="654"/>
                  </a:lnTo>
                  <a:lnTo>
                    <a:pt x="114" y="648"/>
                  </a:lnTo>
                  <a:lnTo>
                    <a:pt x="120" y="642"/>
                  </a:lnTo>
                  <a:lnTo>
                    <a:pt x="120" y="636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14" y="618"/>
                  </a:lnTo>
                  <a:lnTo>
                    <a:pt x="102" y="618"/>
                  </a:lnTo>
                  <a:lnTo>
                    <a:pt x="90" y="618"/>
                  </a:lnTo>
                  <a:lnTo>
                    <a:pt x="78" y="624"/>
                  </a:lnTo>
                  <a:lnTo>
                    <a:pt x="72" y="630"/>
                  </a:lnTo>
                  <a:lnTo>
                    <a:pt x="54" y="642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42" y="642"/>
                  </a:lnTo>
                  <a:lnTo>
                    <a:pt x="42" y="636"/>
                  </a:lnTo>
                  <a:lnTo>
                    <a:pt x="36" y="636"/>
                  </a:lnTo>
                  <a:lnTo>
                    <a:pt x="30" y="642"/>
                  </a:lnTo>
                  <a:lnTo>
                    <a:pt x="30" y="636"/>
                  </a:lnTo>
                  <a:lnTo>
                    <a:pt x="30" y="630"/>
                  </a:lnTo>
                  <a:lnTo>
                    <a:pt x="24" y="630"/>
                  </a:lnTo>
                  <a:lnTo>
                    <a:pt x="30" y="624"/>
                  </a:lnTo>
                  <a:lnTo>
                    <a:pt x="30" y="618"/>
                  </a:lnTo>
                  <a:lnTo>
                    <a:pt x="30" y="612"/>
                  </a:lnTo>
                  <a:lnTo>
                    <a:pt x="36" y="612"/>
                  </a:lnTo>
                  <a:lnTo>
                    <a:pt x="36" y="606"/>
                  </a:lnTo>
                  <a:lnTo>
                    <a:pt x="30" y="606"/>
                  </a:lnTo>
                  <a:lnTo>
                    <a:pt x="24" y="612"/>
                  </a:lnTo>
                  <a:lnTo>
                    <a:pt x="18" y="606"/>
                  </a:lnTo>
                  <a:lnTo>
                    <a:pt x="12" y="594"/>
                  </a:lnTo>
                  <a:lnTo>
                    <a:pt x="6" y="582"/>
                  </a:lnTo>
                  <a:lnTo>
                    <a:pt x="6" y="570"/>
                  </a:lnTo>
                  <a:lnTo>
                    <a:pt x="0" y="558"/>
                  </a:lnTo>
                  <a:lnTo>
                    <a:pt x="6" y="552"/>
                  </a:lnTo>
                  <a:lnTo>
                    <a:pt x="6" y="534"/>
                  </a:lnTo>
                  <a:lnTo>
                    <a:pt x="18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12" y="480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54" y="408"/>
                  </a:lnTo>
                  <a:lnTo>
                    <a:pt x="54" y="396"/>
                  </a:lnTo>
                  <a:lnTo>
                    <a:pt x="54" y="384"/>
                  </a:lnTo>
                  <a:lnTo>
                    <a:pt x="60" y="378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66"/>
                  </a:lnTo>
                  <a:lnTo>
                    <a:pt x="60" y="360"/>
                  </a:lnTo>
                  <a:lnTo>
                    <a:pt x="66" y="360"/>
                  </a:lnTo>
                  <a:lnTo>
                    <a:pt x="72" y="354"/>
                  </a:lnTo>
                  <a:lnTo>
                    <a:pt x="78" y="354"/>
                  </a:lnTo>
                  <a:lnTo>
                    <a:pt x="84" y="348"/>
                  </a:lnTo>
                  <a:lnTo>
                    <a:pt x="96" y="348"/>
                  </a:lnTo>
                  <a:lnTo>
                    <a:pt x="96" y="342"/>
                  </a:lnTo>
                  <a:lnTo>
                    <a:pt x="96" y="336"/>
                  </a:lnTo>
                  <a:lnTo>
                    <a:pt x="96" y="330"/>
                  </a:lnTo>
                  <a:lnTo>
                    <a:pt x="96" y="324"/>
                  </a:lnTo>
                  <a:lnTo>
                    <a:pt x="102" y="318"/>
                  </a:lnTo>
                  <a:lnTo>
                    <a:pt x="108" y="312"/>
                  </a:lnTo>
                  <a:lnTo>
                    <a:pt x="96" y="306"/>
                  </a:lnTo>
                  <a:lnTo>
                    <a:pt x="84" y="288"/>
                  </a:lnTo>
                  <a:lnTo>
                    <a:pt x="108" y="258"/>
                  </a:lnTo>
                  <a:lnTo>
                    <a:pt x="102" y="222"/>
                  </a:lnTo>
                  <a:lnTo>
                    <a:pt x="84" y="222"/>
                  </a:lnTo>
                  <a:lnTo>
                    <a:pt x="54" y="216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2"/>
                  </a:lnTo>
                  <a:lnTo>
                    <a:pt x="72" y="192"/>
                  </a:lnTo>
                  <a:lnTo>
                    <a:pt x="84" y="186"/>
                  </a:lnTo>
                  <a:lnTo>
                    <a:pt x="90" y="186"/>
                  </a:lnTo>
                  <a:lnTo>
                    <a:pt x="90" y="174"/>
                  </a:lnTo>
                  <a:lnTo>
                    <a:pt x="84" y="162"/>
                  </a:lnTo>
                  <a:lnTo>
                    <a:pt x="84" y="150"/>
                  </a:lnTo>
                  <a:lnTo>
                    <a:pt x="84" y="126"/>
                  </a:lnTo>
                  <a:lnTo>
                    <a:pt x="84" y="114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8" y="96"/>
                  </a:lnTo>
                  <a:lnTo>
                    <a:pt x="120" y="90"/>
                  </a:lnTo>
                  <a:lnTo>
                    <a:pt x="126" y="78"/>
                  </a:lnTo>
                  <a:lnTo>
                    <a:pt x="138" y="66"/>
                  </a:lnTo>
                  <a:lnTo>
                    <a:pt x="138" y="48"/>
                  </a:lnTo>
                  <a:lnTo>
                    <a:pt x="138" y="42"/>
                  </a:lnTo>
                  <a:lnTo>
                    <a:pt x="126" y="30"/>
                  </a:lnTo>
                  <a:lnTo>
                    <a:pt x="120" y="18"/>
                  </a:lnTo>
                  <a:lnTo>
                    <a:pt x="132" y="12"/>
                  </a:lnTo>
                  <a:lnTo>
                    <a:pt x="144" y="0"/>
                  </a:lnTo>
                  <a:lnTo>
                    <a:pt x="150" y="6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6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74" y="66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68" y="72"/>
                  </a:lnTo>
                  <a:lnTo>
                    <a:pt x="156" y="150"/>
                  </a:lnTo>
                  <a:lnTo>
                    <a:pt x="168" y="144"/>
                  </a:lnTo>
                  <a:lnTo>
                    <a:pt x="180" y="150"/>
                  </a:lnTo>
                  <a:lnTo>
                    <a:pt x="186" y="150"/>
                  </a:lnTo>
                  <a:lnTo>
                    <a:pt x="186" y="144"/>
                  </a:lnTo>
                  <a:lnTo>
                    <a:pt x="192" y="150"/>
                  </a:lnTo>
                  <a:lnTo>
                    <a:pt x="222" y="150"/>
                  </a:lnTo>
                  <a:lnTo>
                    <a:pt x="222" y="168"/>
                  </a:lnTo>
                  <a:lnTo>
                    <a:pt x="222" y="186"/>
                  </a:lnTo>
                  <a:lnTo>
                    <a:pt x="234" y="198"/>
                  </a:lnTo>
                  <a:lnTo>
                    <a:pt x="234" y="234"/>
                  </a:lnTo>
                  <a:lnTo>
                    <a:pt x="228" y="270"/>
                  </a:lnTo>
                  <a:lnTo>
                    <a:pt x="246" y="282"/>
                  </a:lnTo>
                  <a:lnTo>
                    <a:pt x="258" y="294"/>
                  </a:lnTo>
                  <a:lnTo>
                    <a:pt x="270" y="300"/>
                  </a:lnTo>
                  <a:lnTo>
                    <a:pt x="294" y="300"/>
                  </a:lnTo>
                  <a:lnTo>
                    <a:pt x="288" y="306"/>
                  </a:lnTo>
                  <a:lnTo>
                    <a:pt x="300" y="312"/>
                  </a:lnTo>
                  <a:lnTo>
                    <a:pt x="306" y="318"/>
                  </a:lnTo>
                  <a:lnTo>
                    <a:pt x="324" y="324"/>
                  </a:lnTo>
                  <a:lnTo>
                    <a:pt x="354" y="318"/>
                  </a:lnTo>
                  <a:lnTo>
                    <a:pt x="354" y="312"/>
                  </a:lnTo>
                  <a:lnTo>
                    <a:pt x="366" y="312"/>
                  </a:lnTo>
                  <a:lnTo>
                    <a:pt x="384" y="312"/>
                  </a:lnTo>
                  <a:lnTo>
                    <a:pt x="390" y="306"/>
                  </a:lnTo>
                  <a:lnTo>
                    <a:pt x="396" y="306"/>
                  </a:lnTo>
                  <a:lnTo>
                    <a:pt x="408" y="306"/>
                  </a:lnTo>
                  <a:lnTo>
                    <a:pt x="426" y="312"/>
                  </a:lnTo>
                  <a:lnTo>
                    <a:pt x="456" y="324"/>
                  </a:lnTo>
                  <a:lnTo>
                    <a:pt x="504" y="330"/>
                  </a:lnTo>
                  <a:lnTo>
                    <a:pt x="510" y="336"/>
                  </a:lnTo>
                  <a:lnTo>
                    <a:pt x="534" y="336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58" y="330"/>
                  </a:lnTo>
                  <a:lnTo>
                    <a:pt x="564" y="330"/>
                  </a:lnTo>
                  <a:lnTo>
                    <a:pt x="570" y="354"/>
                  </a:lnTo>
                  <a:lnTo>
                    <a:pt x="564" y="378"/>
                  </a:lnTo>
                  <a:lnTo>
                    <a:pt x="558" y="396"/>
                  </a:lnTo>
                  <a:lnTo>
                    <a:pt x="546" y="414"/>
                  </a:lnTo>
                  <a:lnTo>
                    <a:pt x="546" y="438"/>
                  </a:lnTo>
                  <a:lnTo>
                    <a:pt x="540" y="456"/>
                  </a:lnTo>
                  <a:lnTo>
                    <a:pt x="540" y="474"/>
                  </a:lnTo>
                  <a:lnTo>
                    <a:pt x="528" y="480"/>
                  </a:lnTo>
                  <a:lnTo>
                    <a:pt x="522" y="492"/>
                  </a:lnTo>
                  <a:lnTo>
                    <a:pt x="504" y="498"/>
                  </a:lnTo>
                  <a:lnTo>
                    <a:pt x="498" y="498"/>
                  </a:lnTo>
                  <a:lnTo>
                    <a:pt x="492" y="504"/>
                  </a:lnTo>
                  <a:lnTo>
                    <a:pt x="486" y="510"/>
                  </a:lnTo>
                  <a:lnTo>
                    <a:pt x="480" y="510"/>
                  </a:lnTo>
                  <a:lnTo>
                    <a:pt x="480" y="516"/>
                  </a:lnTo>
                  <a:lnTo>
                    <a:pt x="474" y="522"/>
                  </a:lnTo>
                  <a:lnTo>
                    <a:pt x="474" y="528"/>
                  </a:lnTo>
                  <a:lnTo>
                    <a:pt x="474" y="534"/>
                  </a:lnTo>
                  <a:lnTo>
                    <a:pt x="480" y="540"/>
                  </a:lnTo>
                  <a:lnTo>
                    <a:pt x="492" y="540"/>
                  </a:lnTo>
                  <a:lnTo>
                    <a:pt x="498" y="546"/>
                  </a:lnTo>
                  <a:lnTo>
                    <a:pt x="504" y="552"/>
                  </a:lnTo>
                  <a:lnTo>
                    <a:pt x="510" y="552"/>
                  </a:lnTo>
                  <a:lnTo>
                    <a:pt x="516" y="558"/>
                  </a:lnTo>
                  <a:lnTo>
                    <a:pt x="528" y="558"/>
                  </a:lnTo>
                  <a:lnTo>
                    <a:pt x="534" y="552"/>
                  </a:lnTo>
                  <a:lnTo>
                    <a:pt x="540" y="552"/>
                  </a:lnTo>
                  <a:lnTo>
                    <a:pt x="546" y="552"/>
                  </a:lnTo>
                  <a:lnTo>
                    <a:pt x="558" y="546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70" y="546"/>
                  </a:lnTo>
                  <a:lnTo>
                    <a:pt x="570" y="540"/>
                  </a:lnTo>
                  <a:lnTo>
                    <a:pt x="570" y="546"/>
                  </a:lnTo>
                  <a:lnTo>
                    <a:pt x="576" y="546"/>
                  </a:lnTo>
                  <a:lnTo>
                    <a:pt x="582" y="546"/>
                  </a:lnTo>
                  <a:lnTo>
                    <a:pt x="588" y="540"/>
                  </a:lnTo>
                  <a:lnTo>
                    <a:pt x="594" y="546"/>
                  </a:lnTo>
                  <a:lnTo>
                    <a:pt x="606" y="546"/>
                  </a:lnTo>
                  <a:lnTo>
                    <a:pt x="612" y="546"/>
                  </a:lnTo>
                  <a:lnTo>
                    <a:pt x="612" y="552"/>
                  </a:lnTo>
                  <a:lnTo>
                    <a:pt x="618" y="552"/>
                  </a:lnTo>
                  <a:lnTo>
                    <a:pt x="624" y="552"/>
                  </a:lnTo>
                  <a:lnTo>
                    <a:pt x="630" y="552"/>
                  </a:lnTo>
                  <a:lnTo>
                    <a:pt x="648" y="546"/>
                  </a:lnTo>
                  <a:lnTo>
                    <a:pt x="654" y="546"/>
                  </a:lnTo>
                  <a:lnTo>
                    <a:pt x="654" y="552"/>
                  </a:lnTo>
                  <a:lnTo>
                    <a:pt x="660" y="558"/>
                  </a:lnTo>
                  <a:lnTo>
                    <a:pt x="666" y="564"/>
                  </a:lnTo>
                  <a:lnTo>
                    <a:pt x="672" y="564"/>
                  </a:lnTo>
                  <a:lnTo>
                    <a:pt x="678" y="564"/>
                  </a:lnTo>
                  <a:lnTo>
                    <a:pt x="696" y="576"/>
                  </a:lnTo>
                  <a:lnTo>
                    <a:pt x="696" y="582"/>
                  </a:lnTo>
                  <a:lnTo>
                    <a:pt x="708" y="588"/>
                  </a:lnTo>
                  <a:lnTo>
                    <a:pt x="708" y="594"/>
                  </a:lnTo>
                  <a:lnTo>
                    <a:pt x="720" y="606"/>
                  </a:lnTo>
                  <a:lnTo>
                    <a:pt x="720" y="618"/>
                  </a:lnTo>
                  <a:lnTo>
                    <a:pt x="720" y="624"/>
                  </a:lnTo>
                  <a:lnTo>
                    <a:pt x="726" y="630"/>
                  </a:lnTo>
                  <a:lnTo>
                    <a:pt x="732" y="636"/>
                  </a:lnTo>
                  <a:lnTo>
                    <a:pt x="732" y="642"/>
                  </a:lnTo>
                  <a:lnTo>
                    <a:pt x="732" y="648"/>
                  </a:lnTo>
                  <a:lnTo>
                    <a:pt x="726" y="654"/>
                  </a:lnTo>
                  <a:lnTo>
                    <a:pt x="720" y="660"/>
                  </a:lnTo>
                  <a:lnTo>
                    <a:pt x="714" y="666"/>
                  </a:lnTo>
                  <a:lnTo>
                    <a:pt x="714" y="672"/>
                  </a:lnTo>
                  <a:lnTo>
                    <a:pt x="714" y="678"/>
                  </a:lnTo>
                  <a:lnTo>
                    <a:pt x="720" y="678"/>
                  </a:lnTo>
                  <a:lnTo>
                    <a:pt x="720" y="684"/>
                  </a:lnTo>
                  <a:lnTo>
                    <a:pt x="714" y="690"/>
                  </a:lnTo>
                  <a:lnTo>
                    <a:pt x="714" y="696"/>
                  </a:lnTo>
                  <a:lnTo>
                    <a:pt x="714" y="702"/>
                  </a:lnTo>
                  <a:lnTo>
                    <a:pt x="714" y="708"/>
                  </a:lnTo>
                  <a:lnTo>
                    <a:pt x="720" y="708"/>
                  </a:lnTo>
                  <a:lnTo>
                    <a:pt x="720" y="720"/>
                  </a:lnTo>
                  <a:lnTo>
                    <a:pt x="720" y="726"/>
                  </a:lnTo>
                  <a:lnTo>
                    <a:pt x="726" y="726"/>
                  </a:lnTo>
                  <a:lnTo>
                    <a:pt x="726" y="732"/>
                  </a:lnTo>
                  <a:lnTo>
                    <a:pt x="732" y="732"/>
                  </a:lnTo>
                  <a:lnTo>
                    <a:pt x="732" y="738"/>
                  </a:lnTo>
                  <a:lnTo>
                    <a:pt x="726" y="738"/>
                  </a:lnTo>
                  <a:lnTo>
                    <a:pt x="720" y="738"/>
                  </a:lnTo>
                  <a:lnTo>
                    <a:pt x="720" y="744"/>
                  </a:lnTo>
                  <a:lnTo>
                    <a:pt x="720" y="750"/>
                  </a:lnTo>
                  <a:lnTo>
                    <a:pt x="714" y="750"/>
                  </a:lnTo>
                  <a:lnTo>
                    <a:pt x="714" y="756"/>
                  </a:lnTo>
                  <a:lnTo>
                    <a:pt x="720" y="756"/>
                  </a:lnTo>
                  <a:lnTo>
                    <a:pt x="714" y="762"/>
                  </a:lnTo>
                  <a:lnTo>
                    <a:pt x="720" y="762"/>
                  </a:lnTo>
                  <a:lnTo>
                    <a:pt x="726" y="768"/>
                  </a:lnTo>
                  <a:lnTo>
                    <a:pt x="726" y="774"/>
                  </a:lnTo>
                  <a:lnTo>
                    <a:pt x="732" y="774"/>
                  </a:lnTo>
                  <a:lnTo>
                    <a:pt x="732" y="780"/>
                  </a:lnTo>
                  <a:lnTo>
                    <a:pt x="726" y="780"/>
                  </a:lnTo>
                  <a:lnTo>
                    <a:pt x="726" y="786"/>
                  </a:lnTo>
                  <a:lnTo>
                    <a:pt x="720" y="786"/>
                  </a:lnTo>
                  <a:lnTo>
                    <a:pt x="726" y="786"/>
                  </a:lnTo>
                  <a:lnTo>
                    <a:pt x="732" y="780"/>
                  </a:lnTo>
                  <a:lnTo>
                    <a:pt x="738" y="780"/>
                  </a:lnTo>
                  <a:lnTo>
                    <a:pt x="744" y="780"/>
                  </a:lnTo>
                  <a:lnTo>
                    <a:pt x="744" y="786"/>
                  </a:lnTo>
                  <a:lnTo>
                    <a:pt x="750" y="786"/>
                  </a:lnTo>
                  <a:lnTo>
                    <a:pt x="744" y="786"/>
                  </a:lnTo>
                  <a:lnTo>
                    <a:pt x="744" y="792"/>
                  </a:lnTo>
                  <a:lnTo>
                    <a:pt x="744" y="786"/>
                  </a:lnTo>
                  <a:lnTo>
                    <a:pt x="738" y="792"/>
                  </a:lnTo>
                  <a:lnTo>
                    <a:pt x="744" y="792"/>
                  </a:lnTo>
                  <a:lnTo>
                    <a:pt x="750" y="792"/>
                  </a:lnTo>
                  <a:lnTo>
                    <a:pt x="750" y="786"/>
                  </a:lnTo>
                  <a:lnTo>
                    <a:pt x="756" y="786"/>
                  </a:lnTo>
                  <a:lnTo>
                    <a:pt x="756" y="792"/>
                  </a:lnTo>
                  <a:lnTo>
                    <a:pt x="762" y="792"/>
                  </a:lnTo>
                  <a:lnTo>
                    <a:pt x="756" y="798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0" y="810"/>
                  </a:lnTo>
                  <a:lnTo>
                    <a:pt x="756" y="810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6" y="816"/>
                  </a:lnTo>
                  <a:lnTo>
                    <a:pt x="750" y="816"/>
                  </a:lnTo>
                  <a:lnTo>
                    <a:pt x="738" y="810"/>
                  </a:lnTo>
                  <a:lnTo>
                    <a:pt x="732" y="810"/>
                  </a:lnTo>
                  <a:lnTo>
                    <a:pt x="732" y="816"/>
                  </a:lnTo>
                  <a:lnTo>
                    <a:pt x="726" y="810"/>
                  </a:lnTo>
                  <a:lnTo>
                    <a:pt x="714" y="816"/>
                  </a:lnTo>
                  <a:lnTo>
                    <a:pt x="708" y="816"/>
                  </a:lnTo>
                  <a:lnTo>
                    <a:pt x="702" y="816"/>
                  </a:lnTo>
                  <a:lnTo>
                    <a:pt x="696" y="816"/>
                  </a:lnTo>
                  <a:lnTo>
                    <a:pt x="690" y="822"/>
                  </a:lnTo>
                  <a:lnTo>
                    <a:pt x="684" y="822"/>
                  </a:lnTo>
                  <a:lnTo>
                    <a:pt x="678" y="822"/>
                  </a:lnTo>
                  <a:lnTo>
                    <a:pt x="672" y="822"/>
                  </a:lnTo>
                  <a:lnTo>
                    <a:pt x="666" y="822"/>
                  </a:lnTo>
                  <a:lnTo>
                    <a:pt x="666" y="828"/>
                  </a:lnTo>
                  <a:lnTo>
                    <a:pt x="654" y="828"/>
                  </a:lnTo>
                  <a:lnTo>
                    <a:pt x="648" y="828"/>
                  </a:lnTo>
                  <a:lnTo>
                    <a:pt x="642" y="828"/>
                  </a:lnTo>
                  <a:lnTo>
                    <a:pt x="630" y="828"/>
                  </a:lnTo>
                  <a:lnTo>
                    <a:pt x="624" y="822"/>
                  </a:lnTo>
                  <a:lnTo>
                    <a:pt x="618" y="822"/>
                  </a:lnTo>
                  <a:lnTo>
                    <a:pt x="612" y="822"/>
                  </a:lnTo>
                  <a:lnTo>
                    <a:pt x="606" y="822"/>
                  </a:lnTo>
                  <a:lnTo>
                    <a:pt x="600" y="822"/>
                  </a:lnTo>
                  <a:lnTo>
                    <a:pt x="594" y="822"/>
                  </a:lnTo>
                  <a:lnTo>
                    <a:pt x="594" y="816"/>
                  </a:lnTo>
                  <a:lnTo>
                    <a:pt x="594" y="810"/>
                  </a:lnTo>
                  <a:lnTo>
                    <a:pt x="600" y="804"/>
                  </a:lnTo>
                  <a:lnTo>
                    <a:pt x="600" y="798"/>
                  </a:lnTo>
                  <a:lnTo>
                    <a:pt x="600" y="792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2" y="786"/>
                  </a:lnTo>
                  <a:lnTo>
                    <a:pt x="618" y="786"/>
                  </a:lnTo>
                  <a:lnTo>
                    <a:pt x="624" y="786"/>
                  </a:lnTo>
                  <a:lnTo>
                    <a:pt x="624" y="780"/>
                  </a:lnTo>
                  <a:lnTo>
                    <a:pt x="630" y="780"/>
                  </a:lnTo>
                  <a:lnTo>
                    <a:pt x="630" y="774"/>
                  </a:lnTo>
                  <a:lnTo>
                    <a:pt x="636" y="774"/>
                  </a:lnTo>
                  <a:lnTo>
                    <a:pt x="642" y="780"/>
                  </a:lnTo>
                  <a:lnTo>
                    <a:pt x="642" y="786"/>
                  </a:lnTo>
                  <a:lnTo>
                    <a:pt x="642" y="792"/>
                  </a:lnTo>
                  <a:lnTo>
                    <a:pt x="648" y="792"/>
                  </a:lnTo>
                  <a:lnTo>
                    <a:pt x="648" y="786"/>
                  </a:lnTo>
                  <a:lnTo>
                    <a:pt x="642" y="786"/>
                  </a:lnTo>
                  <a:lnTo>
                    <a:pt x="642" y="780"/>
                  </a:lnTo>
                  <a:lnTo>
                    <a:pt x="642" y="774"/>
                  </a:lnTo>
                  <a:lnTo>
                    <a:pt x="648" y="768"/>
                  </a:lnTo>
                  <a:lnTo>
                    <a:pt x="642" y="768"/>
                  </a:lnTo>
                  <a:lnTo>
                    <a:pt x="648" y="768"/>
                  </a:lnTo>
                  <a:lnTo>
                    <a:pt x="648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66" y="762"/>
                  </a:lnTo>
                  <a:lnTo>
                    <a:pt x="672" y="756"/>
                  </a:lnTo>
                  <a:lnTo>
                    <a:pt x="666" y="756"/>
                  </a:lnTo>
                  <a:lnTo>
                    <a:pt x="660" y="756"/>
                  </a:lnTo>
                  <a:lnTo>
                    <a:pt x="660" y="750"/>
                  </a:lnTo>
                  <a:lnTo>
                    <a:pt x="654" y="750"/>
                  </a:lnTo>
                  <a:lnTo>
                    <a:pt x="648" y="750"/>
                  </a:lnTo>
                  <a:lnTo>
                    <a:pt x="648" y="756"/>
                  </a:lnTo>
                  <a:lnTo>
                    <a:pt x="642" y="756"/>
                  </a:lnTo>
                  <a:lnTo>
                    <a:pt x="642" y="750"/>
                  </a:lnTo>
                  <a:lnTo>
                    <a:pt x="642" y="744"/>
                  </a:lnTo>
                  <a:lnTo>
                    <a:pt x="642" y="750"/>
                  </a:lnTo>
                  <a:lnTo>
                    <a:pt x="636" y="750"/>
                  </a:lnTo>
                  <a:lnTo>
                    <a:pt x="636" y="744"/>
                  </a:lnTo>
                  <a:lnTo>
                    <a:pt x="630" y="744"/>
                  </a:lnTo>
                  <a:lnTo>
                    <a:pt x="630" y="738"/>
                  </a:lnTo>
                  <a:lnTo>
                    <a:pt x="630" y="744"/>
                  </a:lnTo>
                  <a:lnTo>
                    <a:pt x="630" y="750"/>
                  </a:lnTo>
                  <a:lnTo>
                    <a:pt x="636" y="750"/>
                  </a:lnTo>
                  <a:lnTo>
                    <a:pt x="636" y="756"/>
                  </a:lnTo>
                  <a:lnTo>
                    <a:pt x="630" y="756"/>
                  </a:lnTo>
                  <a:lnTo>
                    <a:pt x="636" y="762"/>
                  </a:lnTo>
                  <a:lnTo>
                    <a:pt x="630" y="762"/>
                  </a:lnTo>
                  <a:lnTo>
                    <a:pt x="624" y="762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24" y="786"/>
                  </a:lnTo>
                  <a:lnTo>
                    <a:pt x="618" y="786"/>
                  </a:lnTo>
                  <a:lnTo>
                    <a:pt x="618" y="78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12" y="774"/>
                  </a:lnTo>
                  <a:lnTo>
                    <a:pt x="612" y="780"/>
                  </a:lnTo>
                  <a:lnTo>
                    <a:pt x="606" y="780"/>
                  </a:lnTo>
                  <a:lnTo>
                    <a:pt x="600" y="780"/>
                  </a:lnTo>
                  <a:lnTo>
                    <a:pt x="600" y="774"/>
                  </a:lnTo>
                  <a:lnTo>
                    <a:pt x="594" y="768"/>
                  </a:lnTo>
                  <a:lnTo>
                    <a:pt x="594" y="762"/>
                  </a:lnTo>
                  <a:lnTo>
                    <a:pt x="594" y="756"/>
                  </a:lnTo>
                  <a:lnTo>
                    <a:pt x="594" y="762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594" y="780"/>
                  </a:lnTo>
                  <a:lnTo>
                    <a:pt x="588" y="780"/>
                  </a:lnTo>
                  <a:lnTo>
                    <a:pt x="582" y="780"/>
                  </a:lnTo>
                  <a:lnTo>
                    <a:pt x="576" y="780"/>
                  </a:lnTo>
                  <a:lnTo>
                    <a:pt x="570" y="780"/>
                  </a:lnTo>
                  <a:lnTo>
                    <a:pt x="564" y="780"/>
                  </a:lnTo>
                  <a:lnTo>
                    <a:pt x="564" y="786"/>
                  </a:lnTo>
                  <a:lnTo>
                    <a:pt x="558" y="786"/>
                  </a:lnTo>
                  <a:lnTo>
                    <a:pt x="552" y="786"/>
                  </a:lnTo>
                  <a:lnTo>
                    <a:pt x="552" y="780"/>
                  </a:lnTo>
                  <a:lnTo>
                    <a:pt x="552" y="774"/>
                  </a:lnTo>
                  <a:lnTo>
                    <a:pt x="552" y="768"/>
                  </a:lnTo>
                  <a:lnTo>
                    <a:pt x="546" y="768"/>
                  </a:lnTo>
                  <a:lnTo>
                    <a:pt x="540" y="762"/>
                  </a:lnTo>
                  <a:lnTo>
                    <a:pt x="540" y="756"/>
                  </a:lnTo>
                  <a:lnTo>
                    <a:pt x="534" y="756"/>
                  </a:lnTo>
                  <a:lnTo>
                    <a:pt x="534" y="750"/>
                  </a:lnTo>
                  <a:lnTo>
                    <a:pt x="534" y="744"/>
                  </a:lnTo>
                  <a:lnTo>
                    <a:pt x="528" y="738"/>
                  </a:lnTo>
                  <a:lnTo>
                    <a:pt x="522" y="738"/>
                  </a:lnTo>
                  <a:lnTo>
                    <a:pt x="522" y="732"/>
                  </a:lnTo>
                  <a:lnTo>
                    <a:pt x="510" y="726"/>
                  </a:lnTo>
                  <a:lnTo>
                    <a:pt x="510" y="720"/>
                  </a:lnTo>
                  <a:lnTo>
                    <a:pt x="504" y="720"/>
                  </a:lnTo>
                  <a:lnTo>
                    <a:pt x="504" y="714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8" y="702"/>
                  </a:lnTo>
                  <a:lnTo>
                    <a:pt x="498" y="696"/>
                  </a:lnTo>
                  <a:lnTo>
                    <a:pt x="492" y="690"/>
                  </a:lnTo>
                  <a:lnTo>
                    <a:pt x="492" y="684"/>
                  </a:lnTo>
                  <a:lnTo>
                    <a:pt x="486" y="684"/>
                  </a:lnTo>
                  <a:lnTo>
                    <a:pt x="486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74" y="678"/>
                  </a:lnTo>
                  <a:lnTo>
                    <a:pt x="468" y="678"/>
                  </a:lnTo>
                  <a:lnTo>
                    <a:pt x="462" y="678"/>
                  </a:lnTo>
                  <a:lnTo>
                    <a:pt x="462" y="672"/>
                  </a:lnTo>
                  <a:lnTo>
                    <a:pt x="456" y="672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44" y="666"/>
                  </a:lnTo>
                  <a:lnTo>
                    <a:pt x="438" y="660"/>
                  </a:lnTo>
                  <a:lnTo>
                    <a:pt x="438" y="648"/>
                  </a:lnTo>
                  <a:lnTo>
                    <a:pt x="438" y="642"/>
                  </a:lnTo>
                  <a:lnTo>
                    <a:pt x="438" y="636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36"/>
                  </a:lnTo>
                  <a:lnTo>
                    <a:pt x="420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60"/>
                  </a:lnTo>
                  <a:lnTo>
                    <a:pt x="432" y="666"/>
                  </a:lnTo>
                  <a:lnTo>
                    <a:pt x="438" y="666"/>
                  </a:lnTo>
                  <a:lnTo>
                    <a:pt x="438" y="672"/>
                  </a:lnTo>
                  <a:lnTo>
                    <a:pt x="444" y="672"/>
                  </a:lnTo>
                  <a:lnTo>
                    <a:pt x="444" y="678"/>
                  </a:lnTo>
                  <a:lnTo>
                    <a:pt x="450" y="678"/>
                  </a:lnTo>
                  <a:lnTo>
                    <a:pt x="456" y="678"/>
                  </a:lnTo>
                  <a:lnTo>
                    <a:pt x="456" y="684"/>
                  </a:lnTo>
                  <a:lnTo>
                    <a:pt x="462" y="684"/>
                  </a:lnTo>
                  <a:lnTo>
                    <a:pt x="468" y="684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80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86" y="708"/>
                  </a:lnTo>
                  <a:lnTo>
                    <a:pt x="492" y="714"/>
                  </a:lnTo>
                  <a:lnTo>
                    <a:pt x="492" y="720"/>
                  </a:lnTo>
                  <a:lnTo>
                    <a:pt x="492" y="726"/>
                  </a:lnTo>
                  <a:lnTo>
                    <a:pt x="498" y="732"/>
                  </a:lnTo>
                  <a:lnTo>
                    <a:pt x="492" y="738"/>
                  </a:lnTo>
                  <a:lnTo>
                    <a:pt x="492" y="744"/>
                  </a:lnTo>
                  <a:lnTo>
                    <a:pt x="492" y="750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68" y="738"/>
                  </a:lnTo>
                  <a:lnTo>
                    <a:pt x="468" y="744"/>
                  </a:lnTo>
                  <a:lnTo>
                    <a:pt x="474" y="750"/>
                  </a:lnTo>
                  <a:lnTo>
                    <a:pt x="480" y="756"/>
                  </a:lnTo>
                  <a:lnTo>
                    <a:pt x="486" y="756"/>
                  </a:lnTo>
                  <a:lnTo>
                    <a:pt x="492" y="762"/>
                  </a:lnTo>
                  <a:lnTo>
                    <a:pt x="498" y="768"/>
                  </a:lnTo>
                  <a:lnTo>
                    <a:pt x="492" y="774"/>
                  </a:lnTo>
                  <a:lnTo>
                    <a:pt x="492" y="780"/>
                  </a:lnTo>
                  <a:lnTo>
                    <a:pt x="498" y="780"/>
                  </a:lnTo>
                  <a:lnTo>
                    <a:pt x="492" y="786"/>
                  </a:lnTo>
                  <a:lnTo>
                    <a:pt x="492" y="792"/>
                  </a:lnTo>
                  <a:lnTo>
                    <a:pt x="492" y="79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0" y="810"/>
                  </a:lnTo>
                  <a:lnTo>
                    <a:pt x="480" y="804"/>
                  </a:lnTo>
                  <a:lnTo>
                    <a:pt x="474" y="804"/>
                  </a:lnTo>
                  <a:lnTo>
                    <a:pt x="474" y="798"/>
                  </a:lnTo>
                  <a:lnTo>
                    <a:pt x="474" y="804"/>
                  </a:lnTo>
                  <a:lnTo>
                    <a:pt x="468" y="804"/>
                  </a:lnTo>
                  <a:lnTo>
                    <a:pt x="468" y="810"/>
                  </a:lnTo>
                  <a:lnTo>
                    <a:pt x="462" y="810"/>
                  </a:lnTo>
                  <a:lnTo>
                    <a:pt x="456" y="810"/>
                  </a:lnTo>
                  <a:lnTo>
                    <a:pt x="450" y="810"/>
                  </a:lnTo>
                  <a:lnTo>
                    <a:pt x="450" y="816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50" y="822"/>
                  </a:lnTo>
                  <a:lnTo>
                    <a:pt x="450" y="816"/>
                  </a:lnTo>
                  <a:lnTo>
                    <a:pt x="444" y="816"/>
                  </a:lnTo>
                  <a:lnTo>
                    <a:pt x="438" y="810"/>
                  </a:lnTo>
                  <a:lnTo>
                    <a:pt x="432" y="810"/>
                  </a:lnTo>
                  <a:lnTo>
                    <a:pt x="426" y="804"/>
                  </a:lnTo>
                  <a:lnTo>
                    <a:pt x="426" y="798"/>
                  </a:lnTo>
                  <a:lnTo>
                    <a:pt x="420" y="798"/>
                  </a:lnTo>
                  <a:lnTo>
                    <a:pt x="426" y="798"/>
                  </a:lnTo>
                  <a:lnTo>
                    <a:pt x="426" y="792"/>
                  </a:lnTo>
                  <a:lnTo>
                    <a:pt x="426" y="786"/>
                  </a:lnTo>
                  <a:lnTo>
                    <a:pt x="432" y="786"/>
                  </a:lnTo>
                  <a:lnTo>
                    <a:pt x="432" y="780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0" y="756"/>
                  </a:lnTo>
                  <a:lnTo>
                    <a:pt x="420" y="750"/>
                  </a:lnTo>
                  <a:lnTo>
                    <a:pt x="414" y="750"/>
                  </a:lnTo>
                  <a:lnTo>
                    <a:pt x="420" y="750"/>
                  </a:lnTo>
                  <a:lnTo>
                    <a:pt x="420" y="744"/>
                  </a:lnTo>
                  <a:lnTo>
                    <a:pt x="414" y="744"/>
                  </a:lnTo>
                  <a:lnTo>
                    <a:pt x="414" y="738"/>
                  </a:lnTo>
                  <a:lnTo>
                    <a:pt x="414" y="732"/>
                  </a:lnTo>
                  <a:lnTo>
                    <a:pt x="408" y="732"/>
                  </a:lnTo>
                  <a:lnTo>
                    <a:pt x="408" y="726"/>
                  </a:lnTo>
                  <a:lnTo>
                    <a:pt x="402" y="726"/>
                  </a:lnTo>
                  <a:lnTo>
                    <a:pt x="396" y="726"/>
                  </a:lnTo>
                  <a:lnTo>
                    <a:pt x="390" y="726"/>
                  </a:lnTo>
                  <a:lnTo>
                    <a:pt x="390" y="720"/>
                  </a:lnTo>
                  <a:lnTo>
                    <a:pt x="390" y="714"/>
                  </a:lnTo>
                  <a:lnTo>
                    <a:pt x="384" y="708"/>
                  </a:lnTo>
                  <a:lnTo>
                    <a:pt x="384" y="702"/>
                  </a:lnTo>
                  <a:lnTo>
                    <a:pt x="378" y="702"/>
                  </a:lnTo>
                  <a:lnTo>
                    <a:pt x="378" y="696"/>
                  </a:lnTo>
                  <a:lnTo>
                    <a:pt x="378" y="690"/>
                  </a:lnTo>
                  <a:lnTo>
                    <a:pt x="372" y="684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66" y="666"/>
                  </a:lnTo>
                  <a:lnTo>
                    <a:pt x="366" y="660"/>
                  </a:lnTo>
                  <a:lnTo>
                    <a:pt x="366" y="654"/>
                  </a:lnTo>
                  <a:lnTo>
                    <a:pt x="360" y="648"/>
                  </a:lnTo>
                  <a:lnTo>
                    <a:pt x="360" y="654"/>
                  </a:lnTo>
                  <a:lnTo>
                    <a:pt x="360" y="660"/>
                  </a:lnTo>
                  <a:lnTo>
                    <a:pt x="360" y="666"/>
                  </a:lnTo>
                  <a:lnTo>
                    <a:pt x="360" y="672"/>
                  </a:lnTo>
                  <a:lnTo>
                    <a:pt x="360" y="678"/>
                  </a:lnTo>
                  <a:lnTo>
                    <a:pt x="366" y="678"/>
                  </a:lnTo>
                  <a:lnTo>
                    <a:pt x="366" y="684"/>
                  </a:lnTo>
                  <a:lnTo>
                    <a:pt x="366" y="690"/>
                  </a:lnTo>
                  <a:lnTo>
                    <a:pt x="372" y="696"/>
                  </a:lnTo>
                  <a:lnTo>
                    <a:pt x="372" y="702"/>
                  </a:lnTo>
                  <a:lnTo>
                    <a:pt x="372" y="708"/>
                  </a:lnTo>
                  <a:lnTo>
                    <a:pt x="372" y="714"/>
                  </a:lnTo>
                  <a:lnTo>
                    <a:pt x="366" y="714"/>
                  </a:lnTo>
                  <a:lnTo>
                    <a:pt x="360" y="714"/>
                  </a:lnTo>
                  <a:lnTo>
                    <a:pt x="354" y="714"/>
                  </a:lnTo>
                  <a:lnTo>
                    <a:pt x="348" y="714"/>
                  </a:lnTo>
                  <a:lnTo>
                    <a:pt x="348" y="708"/>
                  </a:lnTo>
                  <a:lnTo>
                    <a:pt x="342" y="708"/>
                  </a:lnTo>
                  <a:lnTo>
                    <a:pt x="342" y="702"/>
                  </a:lnTo>
                  <a:lnTo>
                    <a:pt x="342" y="696"/>
                  </a:lnTo>
                  <a:lnTo>
                    <a:pt x="336" y="696"/>
                  </a:lnTo>
                  <a:lnTo>
                    <a:pt x="336" y="690"/>
                  </a:lnTo>
                  <a:lnTo>
                    <a:pt x="336" y="684"/>
                  </a:lnTo>
                  <a:lnTo>
                    <a:pt x="330" y="684"/>
                  </a:lnTo>
                  <a:lnTo>
                    <a:pt x="330" y="678"/>
                  </a:lnTo>
                  <a:lnTo>
                    <a:pt x="324" y="672"/>
                  </a:lnTo>
                  <a:lnTo>
                    <a:pt x="324" y="666"/>
                  </a:lnTo>
                  <a:lnTo>
                    <a:pt x="318" y="666"/>
                  </a:lnTo>
                  <a:lnTo>
                    <a:pt x="318" y="672"/>
                  </a:lnTo>
                  <a:lnTo>
                    <a:pt x="324" y="672"/>
                  </a:lnTo>
                  <a:lnTo>
                    <a:pt x="324" y="678"/>
                  </a:lnTo>
                  <a:lnTo>
                    <a:pt x="324" y="684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30" y="696"/>
                  </a:lnTo>
                  <a:lnTo>
                    <a:pt x="336" y="702"/>
                  </a:lnTo>
                  <a:lnTo>
                    <a:pt x="342" y="708"/>
                  </a:lnTo>
                  <a:lnTo>
                    <a:pt x="342" y="714"/>
                  </a:lnTo>
                  <a:lnTo>
                    <a:pt x="348" y="720"/>
                  </a:lnTo>
                  <a:lnTo>
                    <a:pt x="342" y="720"/>
                  </a:lnTo>
                  <a:lnTo>
                    <a:pt x="336" y="720"/>
                  </a:lnTo>
                  <a:lnTo>
                    <a:pt x="330" y="720"/>
                  </a:lnTo>
                  <a:lnTo>
                    <a:pt x="330" y="726"/>
                  </a:lnTo>
                  <a:lnTo>
                    <a:pt x="336" y="726"/>
                  </a:lnTo>
                  <a:lnTo>
                    <a:pt x="330" y="732"/>
                  </a:lnTo>
                  <a:lnTo>
                    <a:pt x="330" y="738"/>
                  </a:lnTo>
                  <a:lnTo>
                    <a:pt x="330" y="744"/>
                  </a:lnTo>
                  <a:lnTo>
                    <a:pt x="336" y="744"/>
                  </a:lnTo>
                  <a:lnTo>
                    <a:pt x="342" y="744"/>
                  </a:lnTo>
                  <a:lnTo>
                    <a:pt x="348" y="744"/>
                  </a:lnTo>
                  <a:lnTo>
                    <a:pt x="348" y="750"/>
                  </a:lnTo>
                  <a:lnTo>
                    <a:pt x="354" y="750"/>
                  </a:lnTo>
                  <a:lnTo>
                    <a:pt x="360" y="756"/>
                  </a:lnTo>
                  <a:lnTo>
                    <a:pt x="360" y="762"/>
                  </a:lnTo>
                  <a:lnTo>
                    <a:pt x="366" y="762"/>
                  </a:lnTo>
                  <a:lnTo>
                    <a:pt x="366" y="768"/>
                  </a:lnTo>
                  <a:lnTo>
                    <a:pt x="366" y="774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72" y="792"/>
                  </a:lnTo>
                  <a:lnTo>
                    <a:pt x="372" y="798"/>
                  </a:lnTo>
                  <a:lnTo>
                    <a:pt x="372" y="804"/>
                  </a:lnTo>
                  <a:lnTo>
                    <a:pt x="378" y="804"/>
                  </a:lnTo>
                  <a:lnTo>
                    <a:pt x="378" y="810"/>
                  </a:lnTo>
                  <a:lnTo>
                    <a:pt x="378" y="816"/>
                  </a:lnTo>
                  <a:lnTo>
                    <a:pt x="372" y="816"/>
                  </a:lnTo>
                  <a:lnTo>
                    <a:pt x="378" y="816"/>
                  </a:lnTo>
                  <a:lnTo>
                    <a:pt x="378" y="822"/>
                  </a:lnTo>
                  <a:lnTo>
                    <a:pt x="378" y="828"/>
                  </a:lnTo>
                  <a:lnTo>
                    <a:pt x="378" y="834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0" y="864"/>
                  </a:lnTo>
                  <a:lnTo>
                    <a:pt x="384" y="864"/>
                  </a:lnTo>
                  <a:lnTo>
                    <a:pt x="384" y="870"/>
                  </a:lnTo>
                  <a:lnTo>
                    <a:pt x="378" y="864"/>
                  </a:lnTo>
                  <a:lnTo>
                    <a:pt x="372" y="864"/>
                  </a:lnTo>
                  <a:lnTo>
                    <a:pt x="366" y="858"/>
                  </a:lnTo>
                  <a:lnTo>
                    <a:pt x="366" y="852"/>
                  </a:lnTo>
                  <a:lnTo>
                    <a:pt x="360" y="852"/>
                  </a:lnTo>
                  <a:lnTo>
                    <a:pt x="360" y="858"/>
                  </a:lnTo>
                  <a:lnTo>
                    <a:pt x="366" y="858"/>
                  </a:lnTo>
                  <a:lnTo>
                    <a:pt x="366" y="864"/>
                  </a:lnTo>
                  <a:lnTo>
                    <a:pt x="360" y="864"/>
                  </a:lnTo>
                  <a:lnTo>
                    <a:pt x="354" y="864"/>
                  </a:lnTo>
                  <a:lnTo>
                    <a:pt x="354" y="870"/>
                  </a:lnTo>
                  <a:lnTo>
                    <a:pt x="354" y="864"/>
                  </a:lnTo>
                  <a:lnTo>
                    <a:pt x="348" y="864"/>
                  </a:lnTo>
                  <a:lnTo>
                    <a:pt x="342" y="864"/>
                  </a:lnTo>
                  <a:lnTo>
                    <a:pt x="342" y="858"/>
                  </a:lnTo>
                  <a:lnTo>
                    <a:pt x="336" y="858"/>
                  </a:lnTo>
                  <a:lnTo>
                    <a:pt x="330" y="858"/>
                  </a:lnTo>
                  <a:lnTo>
                    <a:pt x="324" y="858"/>
                  </a:lnTo>
                  <a:lnTo>
                    <a:pt x="318" y="858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0" y="852"/>
                  </a:lnTo>
                  <a:lnTo>
                    <a:pt x="294" y="852"/>
                  </a:lnTo>
                  <a:lnTo>
                    <a:pt x="294" y="846"/>
                  </a:lnTo>
                  <a:lnTo>
                    <a:pt x="288" y="840"/>
                  </a:lnTo>
                  <a:lnTo>
                    <a:pt x="288" y="828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2" y="816"/>
                  </a:lnTo>
                  <a:lnTo>
                    <a:pt x="282" y="810"/>
                  </a:lnTo>
                  <a:lnTo>
                    <a:pt x="276" y="810"/>
                  </a:lnTo>
                  <a:lnTo>
                    <a:pt x="276" y="804"/>
                  </a:lnTo>
                  <a:lnTo>
                    <a:pt x="276" y="798"/>
                  </a:lnTo>
                  <a:lnTo>
                    <a:pt x="276" y="792"/>
                  </a:lnTo>
                  <a:lnTo>
                    <a:pt x="270" y="786"/>
                  </a:lnTo>
                  <a:lnTo>
                    <a:pt x="270" y="780"/>
                  </a:lnTo>
                  <a:lnTo>
                    <a:pt x="270" y="774"/>
                  </a:lnTo>
                  <a:lnTo>
                    <a:pt x="264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64" y="750"/>
                  </a:lnTo>
                  <a:lnTo>
                    <a:pt x="264" y="744"/>
                  </a:lnTo>
                  <a:lnTo>
                    <a:pt x="264" y="738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26"/>
                  </a:lnTo>
                  <a:lnTo>
                    <a:pt x="276" y="720"/>
                  </a:lnTo>
                  <a:lnTo>
                    <a:pt x="282" y="720"/>
                  </a:lnTo>
                  <a:lnTo>
                    <a:pt x="282" y="714"/>
                  </a:lnTo>
                  <a:lnTo>
                    <a:pt x="282" y="708"/>
                  </a:lnTo>
                  <a:lnTo>
                    <a:pt x="276" y="708"/>
                  </a:lnTo>
                  <a:lnTo>
                    <a:pt x="276" y="702"/>
                  </a:lnTo>
                  <a:lnTo>
                    <a:pt x="270" y="702"/>
                  </a:lnTo>
                  <a:lnTo>
                    <a:pt x="270" y="696"/>
                  </a:lnTo>
                  <a:lnTo>
                    <a:pt x="264" y="690"/>
                  </a:lnTo>
                  <a:lnTo>
                    <a:pt x="258" y="690"/>
                  </a:lnTo>
                  <a:lnTo>
                    <a:pt x="258" y="684"/>
                  </a:lnTo>
                  <a:lnTo>
                    <a:pt x="252" y="684"/>
                  </a:lnTo>
                  <a:lnTo>
                    <a:pt x="252" y="678"/>
                  </a:lnTo>
                  <a:lnTo>
                    <a:pt x="246" y="678"/>
                  </a:lnTo>
                  <a:lnTo>
                    <a:pt x="240" y="678"/>
                  </a:lnTo>
                  <a:lnTo>
                    <a:pt x="240" y="684"/>
                  </a:lnTo>
                  <a:lnTo>
                    <a:pt x="246" y="684"/>
                  </a:lnTo>
                  <a:lnTo>
                    <a:pt x="252" y="690"/>
                  </a:lnTo>
                  <a:lnTo>
                    <a:pt x="258" y="690"/>
                  </a:lnTo>
                  <a:lnTo>
                    <a:pt x="258" y="696"/>
                  </a:lnTo>
                  <a:lnTo>
                    <a:pt x="258" y="702"/>
                  </a:lnTo>
                  <a:lnTo>
                    <a:pt x="264" y="702"/>
                  </a:lnTo>
                  <a:lnTo>
                    <a:pt x="270" y="708"/>
                  </a:lnTo>
                  <a:lnTo>
                    <a:pt x="270" y="714"/>
                  </a:lnTo>
                  <a:lnTo>
                    <a:pt x="270" y="720"/>
                  </a:lnTo>
                  <a:lnTo>
                    <a:pt x="276" y="720"/>
                  </a:lnTo>
                  <a:lnTo>
                    <a:pt x="270" y="720"/>
                  </a:lnTo>
                  <a:lnTo>
                    <a:pt x="270" y="726"/>
                  </a:lnTo>
                  <a:lnTo>
                    <a:pt x="264" y="726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52" y="738"/>
                  </a:lnTo>
                  <a:lnTo>
                    <a:pt x="252" y="744"/>
                  </a:lnTo>
                  <a:lnTo>
                    <a:pt x="252" y="750"/>
                  </a:lnTo>
                  <a:lnTo>
                    <a:pt x="252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58" y="774"/>
                  </a:lnTo>
                  <a:lnTo>
                    <a:pt x="258" y="780"/>
                  </a:lnTo>
                  <a:lnTo>
                    <a:pt x="264" y="786"/>
                  </a:lnTo>
                  <a:lnTo>
                    <a:pt x="264" y="792"/>
                  </a:lnTo>
                  <a:lnTo>
                    <a:pt x="264" y="798"/>
                  </a:lnTo>
                  <a:lnTo>
                    <a:pt x="270" y="810"/>
                  </a:lnTo>
                  <a:lnTo>
                    <a:pt x="270" y="816"/>
                  </a:lnTo>
                  <a:lnTo>
                    <a:pt x="270" y="822"/>
                  </a:lnTo>
                  <a:lnTo>
                    <a:pt x="276" y="822"/>
                  </a:lnTo>
                  <a:lnTo>
                    <a:pt x="276" y="828"/>
                  </a:lnTo>
                  <a:lnTo>
                    <a:pt x="276" y="834"/>
                  </a:lnTo>
                  <a:lnTo>
                    <a:pt x="276" y="840"/>
                  </a:lnTo>
                  <a:lnTo>
                    <a:pt x="276" y="846"/>
                  </a:lnTo>
                  <a:lnTo>
                    <a:pt x="282" y="852"/>
                  </a:lnTo>
                  <a:lnTo>
                    <a:pt x="282" y="858"/>
                  </a:lnTo>
                  <a:lnTo>
                    <a:pt x="294" y="864"/>
                  </a:lnTo>
                  <a:lnTo>
                    <a:pt x="300" y="870"/>
                  </a:lnTo>
                  <a:lnTo>
                    <a:pt x="300" y="876"/>
                  </a:lnTo>
                  <a:lnTo>
                    <a:pt x="288" y="876"/>
                  </a:lnTo>
                  <a:lnTo>
                    <a:pt x="282" y="876"/>
                  </a:lnTo>
                  <a:lnTo>
                    <a:pt x="276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2" y="882"/>
                  </a:lnTo>
                  <a:lnTo>
                    <a:pt x="246" y="882"/>
                  </a:lnTo>
                  <a:lnTo>
                    <a:pt x="240" y="882"/>
                  </a:lnTo>
                  <a:lnTo>
                    <a:pt x="234" y="882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204" y="876"/>
                  </a:lnTo>
                  <a:lnTo>
                    <a:pt x="198" y="876"/>
                  </a:lnTo>
                  <a:lnTo>
                    <a:pt x="198" y="870"/>
                  </a:lnTo>
                  <a:lnTo>
                    <a:pt x="198" y="852"/>
                  </a:lnTo>
                  <a:lnTo>
                    <a:pt x="198" y="846"/>
                  </a:lnTo>
                  <a:lnTo>
                    <a:pt x="204" y="846"/>
                  </a:lnTo>
                  <a:lnTo>
                    <a:pt x="198" y="840"/>
                  </a:lnTo>
                  <a:lnTo>
                    <a:pt x="198" y="834"/>
                  </a:lnTo>
                  <a:lnTo>
                    <a:pt x="198" y="828"/>
                  </a:lnTo>
                  <a:lnTo>
                    <a:pt x="198" y="822"/>
                  </a:lnTo>
                  <a:lnTo>
                    <a:pt x="198" y="816"/>
                  </a:lnTo>
                  <a:lnTo>
                    <a:pt x="198" y="810"/>
                  </a:lnTo>
                  <a:lnTo>
                    <a:pt x="192" y="810"/>
                  </a:lnTo>
                  <a:lnTo>
                    <a:pt x="192" y="804"/>
                  </a:lnTo>
                  <a:lnTo>
                    <a:pt x="192" y="798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2" y="774"/>
                  </a:lnTo>
                  <a:lnTo>
                    <a:pt x="192" y="768"/>
                  </a:lnTo>
                  <a:lnTo>
                    <a:pt x="198" y="768"/>
                  </a:lnTo>
                  <a:lnTo>
                    <a:pt x="198" y="762"/>
                  </a:lnTo>
                  <a:lnTo>
                    <a:pt x="198" y="756"/>
                  </a:lnTo>
                  <a:lnTo>
                    <a:pt x="204" y="756"/>
                  </a:lnTo>
                  <a:lnTo>
                    <a:pt x="204" y="750"/>
                  </a:lnTo>
                  <a:lnTo>
                    <a:pt x="210" y="744"/>
                  </a:lnTo>
                  <a:lnTo>
                    <a:pt x="210" y="738"/>
                  </a:lnTo>
                  <a:lnTo>
                    <a:pt x="210" y="732"/>
                  </a:lnTo>
                  <a:lnTo>
                    <a:pt x="210" y="726"/>
                  </a:lnTo>
                  <a:lnTo>
                    <a:pt x="210" y="720"/>
                  </a:lnTo>
                  <a:lnTo>
                    <a:pt x="204" y="714"/>
                  </a:lnTo>
                  <a:lnTo>
                    <a:pt x="204" y="720"/>
                  </a:lnTo>
                  <a:lnTo>
                    <a:pt x="204" y="732"/>
                  </a:lnTo>
                  <a:lnTo>
                    <a:pt x="204" y="738"/>
                  </a:lnTo>
                  <a:lnTo>
                    <a:pt x="198" y="738"/>
                  </a:lnTo>
                  <a:lnTo>
                    <a:pt x="198" y="744"/>
                  </a:lnTo>
                  <a:lnTo>
                    <a:pt x="198" y="750"/>
                  </a:lnTo>
                  <a:lnTo>
                    <a:pt x="192" y="756"/>
                  </a:lnTo>
                  <a:lnTo>
                    <a:pt x="186" y="762"/>
                  </a:lnTo>
                  <a:lnTo>
                    <a:pt x="186" y="768"/>
                  </a:lnTo>
                  <a:lnTo>
                    <a:pt x="186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98"/>
                  </a:lnTo>
                  <a:lnTo>
                    <a:pt x="186" y="804"/>
                  </a:lnTo>
                  <a:lnTo>
                    <a:pt x="186" y="810"/>
                  </a:lnTo>
                  <a:lnTo>
                    <a:pt x="192" y="816"/>
                  </a:lnTo>
                  <a:lnTo>
                    <a:pt x="192" y="828"/>
                  </a:lnTo>
                  <a:lnTo>
                    <a:pt x="192" y="834"/>
                  </a:lnTo>
                  <a:lnTo>
                    <a:pt x="186" y="834"/>
                  </a:lnTo>
                  <a:lnTo>
                    <a:pt x="186" y="828"/>
                  </a:lnTo>
                  <a:lnTo>
                    <a:pt x="180" y="822"/>
                  </a:lnTo>
                  <a:lnTo>
                    <a:pt x="180" y="816"/>
                  </a:lnTo>
                  <a:lnTo>
                    <a:pt x="180" y="810"/>
                  </a:lnTo>
                  <a:lnTo>
                    <a:pt x="174" y="810"/>
                  </a:lnTo>
                  <a:lnTo>
                    <a:pt x="174" y="804"/>
                  </a:lnTo>
                  <a:lnTo>
                    <a:pt x="174" y="798"/>
                  </a:lnTo>
                  <a:lnTo>
                    <a:pt x="174" y="792"/>
                  </a:lnTo>
                  <a:lnTo>
                    <a:pt x="168" y="786"/>
                  </a:lnTo>
                  <a:lnTo>
                    <a:pt x="168" y="780"/>
                  </a:lnTo>
                  <a:lnTo>
                    <a:pt x="162" y="780"/>
                  </a:lnTo>
                  <a:lnTo>
                    <a:pt x="168" y="774"/>
                  </a:lnTo>
                  <a:lnTo>
                    <a:pt x="168" y="768"/>
                  </a:lnTo>
                  <a:lnTo>
                    <a:pt x="174" y="768"/>
                  </a:lnTo>
                  <a:lnTo>
                    <a:pt x="168" y="768"/>
                  </a:lnTo>
                  <a:lnTo>
                    <a:pt x="162" y="774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50" y="774"/>
                  </a:lnTo>
                  <a:lnTo>
                    <a:pt x="144" y="774"/>
                  </a:lnTo>
                  <a:lnTo>
                    <a:pt x="144" y="768"/>
                  </a:lnTo>
                  <a:lnTo>
                    <a:pt x="144" y="762"/>
                  </a:lnTo>
                  <a:lnTo>
                    <a:pt x="138" y="756"/>
                  </a:lnTo>
                  <a:lnTo>
                    <a:pt x="132" y="756"/>
                  </a:lnTo>
                  <a:lnTo>
                    <a:pt x="138" y="756"/>
                  </a:lnTo>
                  <a:lnTo>
                    <a:pt x="138" y="762"/>
                  </a:lnTo>
                  <a:lnTo>
                    <a:pt x="138" y="768"/>
                  </a:lnTo>
                  <a:lnTo>
                    <a:pt x="144" y="768"/>
                  </a:lnTo>
                  <a:lnTo>
                    <a:pt x="144" y="774"/>
                  </a:lnTo>
                  <a:lnTo>
                    <a:pt x="150" y="780"/>
                  </a:lnTo>
                  <a:lnTo>
                    <a:pt x="156" y="780"/>
                  </a:lnTo>
                  <a:lnTo>
                    <a:pt x="156" y="786"/>
                  </a:lnTo>
                  <a:lnTo>
                    <a:pt x="162" y="786"/>
                  </a:lnTo>
                  <a:lnTo>
                    <a:pt x="168" y="792"/>
                  </a:lnTo>
                  <a:lnTo>
                    <a:pt x="168" y="798"/>
                  </a:lnTo>
                  <a:lnTo>
                    <a:pt x="168" y="804"/>
                  </a:lnTo>
                  <a:lnTo>
                    <a:pt x="174" y="810"/>
                  </a:lnTo>
                  <a:lnTo>
                    <a:pt x="174" y="816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68" y="828"/>
                  </a:lnTo>
                  <a:lnTo>
                    <a:pt x="168" y="834"/>
                  </a:lnTo>
                  <a:lnTo>
                    <a:pt x="174" y="840"/>
                  </a:lnTo>
                  <a:lnTo>
                    <a:pt x="180" y="840"/>
                  </a:lnTo>
                  <a:lnTo>
                    <a:pt x="180" y="846"/>
                  </a:lnTo>
                  <a:lnTo>
                    <a:pt x="186" y="846"/>
                  </a:lnTo>
                  <a:lnTo>
                    <a:pt x="186" y="852"/>
                  </a:lnTo>
                  <a:lnTo>
                    <a:pt x="186" y="858"/>
                  </a:lnTo>
                  <a:lnTo>
                    <a:pt x="186" y="864"/>
                  </a:lnTo>
                  <a:lnTo>
                    <a:pt x="192" y="864"/>
                  </a:lnTo>
                  <a:lnTo>
                    <a:pt x="192" y="870"/>
                  </a:lnTo>
                  <a:lnTo>
                    <a:pt x="192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6" y="888"/>
                  </a:lnTo>
                  <a:lnTo>
                    <a:pt x="180" y="888"/>
                  </a:lnTo>
                  <a:lnTo>
                    <a:pt x="174" y="888"/>
                  </a:lnTo>
                  <a:lnTo>
                    <a:pt x="168" y="894"/>
                  </a:lnTo>
                  <a:lnTo>
                    <a:pt x="162" y="894"/>
                  </a:lnTo>
                  <a:lnTo>
                    <a:pt x="156" y="894"/>
                  </a:lnTo>
                  <a:lnTo>
                    <a:pt x="150" y="894"/>
                  </a:lnTo>
                  <a:lnTo>
                    <a:pt x="144" y="894"/>
                  </a:lnTo>
                  <a:lnTo>
                    <a:pt x="144" y="900"/>
                  </a:lnTo>
                  <a:lnTo>
                    <a:pt x="138" y="894"/>
                  </a:lnTo>
                  <a:lnTo>
                    <a:pt x="138" y="900"/>
                  </a:lnTo>
                  <a:lnTo>
                    <a:pt x="132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6" y="882"/>
                  </a:lnTo>
                  <a:lnTo>
                    <a:pt x="126" y="876"/>
                  </a:lnTo>
                  <a:lnTo>
                    <a:pt x="120" y="876"/>
                  </a:lnTo>
                  <a:lnTo>
                    <a:pt x="126" y="870"/>
                  </a:lnTo>
                  <a:lnTo>
                    <a:pt x="126" y="864"/>
                  </a:lnTo>
                  <a:lnTo>
                    <a:pt x="126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26" y="828"/>
                  </a:lnTo>
                  <a:lnTo>
                    <a:pt x="126" y="822"/>
                  </a:lnTo>
                  <a:lnTo>
                    <a:pt x="126" y="816"/>
                  </a:lnTo>
                  <a:lnTo>
                    <a:pt x="126" y="810"/>
                  </a:lnTo>
                  <a:lnTo>
                    <a:pt x="126" y="804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20" y="792"/>
                  </a:lnTo>
                  <a:lnTo>
                    <a:pt x="114" y="792"/>
                  </a:lnTo>
                  <a:lnTo>
                    <a:pt x="114" y="786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96" y="780"/>
                  </a:lnTo>
                  <a:lnTo>
                    <a:pt x="96" y="774"/>
                  </a:lnTo>
                  <a:lnTo>
                    <a:pt x="90" y="774"/>
                  </a:lnTo>
                  <a:lnTo>
                    <a:pt x="90" y="768"/>
                  </a:lnTo>
                  <a:close/>
                  <a:moveTo>
                    <a:pt x="96" y="780"/>
                  </a:moveTo>
                  <a:lnTo>
                    <a:pt x="102" y="780"/>
                  </a:lnTo>
                  <a:lnTo>
                    <a:pt x="102" y="786"/>
                  </a:lnTo>
                  <a:lnTo>
                    <a:pt x="108" y="786"/>
                  </a:lnTo>
                  <a:lnTo>
                    <a:pt x="114" y="792"/>
                  </a:lnTo>
                  <a:lnTo>
                    <a:pt x="120" y="798"/>
                  </a:lnTo>
                  <a:lnTo>
                    <a:pt x="120" y="804"/>
                  </a:lnTo>
                  <a:lnTo>
                    <a:pt x="126" y="810"/>
                  </a:lnTo>
                  <a:lnTo>
                    <a:pt x="126" y="816"/>
                  </a:lnTo>
                  <a:lnTo>
                    <a:pt x="126" y="822"/>
                  </a:lnTo>
                  <a:lnTo>
                    <a:pt x="120" y="828"/>
                  </a:lnTo>
                  <a:lnTo>
                    <a:pt x="120" y="840"/>
                  </a:lnTo>
                  <a:lnTo>
                    <a:pt x="120" y="852"/>
                  </a:lnTo>
                  <a:lnTo>
                    <a:pt x="120" y="858"/>
                  </a:lnTo>
                  <a:lnTo>
                    <a:pt x="120" y="864"/>
                  </a:lnTo>
                  <a:lnTo>
                    <a:pt x="120" y="870"/>
                  </a:lnTo>
                  <a:lnTo>
                    <a:pt x="114" y="870"/>
                  </a:lnTo>
                  <a:lnTo>
                    <a:pt x="108" y="870"/>
                  </a:lnTo>
                  <a:lnTo>
                    <a:pt x="108" y="876"/>
                  </a:lnTo>
                  <a:lnTo>
                    <a:pt x="114" y="876"/>
                  </a:lnTo>
                  <a:lnTo>
                    <a:pt x="120" y="876"/>
                  </a:lnTo>
                  <a:lnTo>
                    <a:pt x="120" y="882"/>
                  </a:lnTo>
                  <a:lnTo>
                    <a:pt x="114" y="888"/>
                  </a:lnTo>
                  <a:lnTo>
                    <a:pt x="120" y="888"/>
                  </a:lnTo>
                  <a:lnTo>
                    <a:pt x="120" y="894"/>
                  </a:lnTo>
                  <a:lnTo>
                    <a:pt x="114" y="894"/>
                  </a:lnTo>
                  <a:lnTo>
                    <a:pt x="108" y="894"/>
                  </a:lnTo>
                  <a:lnTo>
                    <a:pt x="96" y="894"/>
                  </a:lnTo>
                  <a:lnTo>
                    <a:pt x="96" y="882"/>
                  </a:lnTo>
                  <a:lnTo>
                    <a:pt x="96" y="876"/>
                  </a:lnTo>
                  <a:lnTo>
                    <a:pt x="84" y="870"/>
                  </a:lnTo>
                  <a:lnTo>
                    <a:pt x="72" y="864"/>
                  </a:lnTo>
                  <a:lnTo>
                    <a:pt x="72" y="852"/>
                  </a:lnTo>
                  <a:lnTo>
                    <a:pt x="72" y="840"/>
                  </a:lnTo>
                  <a:lnTo>
                    <a:pt x="78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90" y="792"/>
                  </a:lnTo>
                  <a:lnTo>
                    <a:pt x="96" y="780"/>
                  </a:lnTo>
                  <a:close/>
                  <a:moveTo>
                    <a:pt x="492" y="810"/>
                  </a:moveTo>
                  <a:lnTo>
                    <a:pt x="498" y="810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510" y="792"/>
                  </a:lnTo>
                  <a:lnTo>
                    <a:pt x="516" y="786"/>
                  </a:lnTo>
                  <a:lnTo>
                    <a:pt x="522" y="780"/>
                  </a:lnTo>
                  <a:lnTo>
                    <a:pt x="522" y="774"/>
                  </a:lnTo>
                  <a:lnTo>
                    <a:pt x="528" y="768"/>
                  </a:lnTo>
                  <a:lnTo>
                    <a:pt x="528" y="762"/>
                  </a:lnTo>
                  <a:lnTo>
                    <a:pt x="534" y="762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46" y="780"/>
                  </a:lnTo>
                  <a:lnTo>
                    <a:pt x="552" y="786"/>
                  </a:lnTo>
                  <a:lnTo>
                    <a:pt x="558" y="786"/>
                  </a:lnTo>
                  <a:lnTo>
                    <a:pt x="564" y="786"/>
                  </a:lnTo>
                  <a:lnTo>
                    <a:pt x="576" y="786"/>
                  </a:lnTo>
                  <a:lnTo>
                    <a:pt x="582" y="786"/>
                  </a:lnTo>
                  <a:lnTo>
                    <a:pt x="588" y="786"/>
                  </a:lnTo>
                  <a:lnTo>
                    <a:pt x="594" y="786"/>
                  </a:lnTo>
                  <a:lnTo>
                    <a:pt x="588" y="792"/>
                  </a:lnTo>
                  <a:lnTo>
                    <a:pt x="588" y="798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82" y="822"/>
                  </a:lnTo>
                  <a:lnTo>
                    <a:pt x="588" y="828"/>
                  </a:lnTo>
                  <a:lnTo>
                    <a:pt x="588" y="834"/>
                  </a:lnTo>
                  <a:lnTo>
                    <a:pt x="582" y="840"/>
                  </a:lnTo>
                  <a:lnTo>
                    <a:pt x="570" y="840"/>
                  </a:lnTo>
                  <a:lnTo>
                    <a:pt x="558" y="846"/>
                  </a:lnTo>
                  <a:lnTo>
                    <a:pt x="552" y="846"/>
                  </a:lnTo>
                  <a:lnTo>
                    <a:pt x="534" y="852"/>
                  </a:lnTo>
                  <a:lnTo>
                    <a:pt x="522" y="858"/>
                  </a:lnTo>
                  <a:lnTo>
                    <a:pt x="510" y="858"/>
                  </a:lnTo>
                  <a:lnTo>
                    <a:pt x="498" y="864"/>
                  </a:lnTo>
                  <a:lnTo>
                    <a:pt x="474" y="864"/>
                  </a:lnTo>
                  <a:lnTo>
                    <a:pt x="468" y="858"/>
                  </a:lnTo>
                  <a:lnTo>
                    <a:pt x="468" y="852"/>
                  </a:lnTo>
                  <a:lnTo>
                    <a:pt x="468" y="846"/>
                  </a:lnTo>
                  <a:lnTo>
                    <a:pt x="474" y="840"/>
                  </a:lnTo>
                  <a:lnTo>
                    <a:pt x="474" y="834"/>
                  </a:lnTo>
                  <a:lnTo>
                    <a:pt x="480" y="828"/>
                  </a:lnTo>
                  <a:lnTo>
                    <a:pt x="492" y="822"/>
                  </a:lnTo>
                  <a:lnTo>
                    <a:pt x="492" y="810"/>
                  </a:lnTo>
                  <a:close/>
                  <a:moveTo>
                    <a:pt x="384" y="720"/>
                  </a:moveTo>
                  <a:lnTo>
                    <a:pt x="384" y="726"/>
                  </a:lnTo>
                  <a:lnTo>
                    <a:pt x="390" y="726"/>
                  </a:lnTo>
                  <a:lnTo>
                    <a:pt x="396" y="726"/>
                  </a:lnTo>
                  <a:lnTo>
                    <a:pt x="402" y="732"/>
                  </a:lnTo>
                  <a:lnTo>
                    <a:pt x="408" y="732"/>
                  </a:lnTo>
                  <a:lnTo>
                    <a:pt x="414" y="732"/>
                  </a:lnTo>
                  <a:lnTo>
                    <a:pt x="414" y="738"/>
                  </a:lnTo>
                  <a:lnTo>
                    <a:pt x="414" y="744"/>
                  </a:lnTo>
                  <a:lnTo>
                    <a:pt x="414" y="750"/>
                  </a:lnTo>
                  <a:lnTo>
                    <a:pt x="414" y="756"/>
                  </a:lnTo>
                  <a:lnTo>
                    <a:pt x="414" y="762"/>
                  </a:lnTo>
                  <a:lnTo>
                    <a:pt x="420" y="768"/>
                  </a:lnTo>
                  <a:lnTo>
                    <a:pt x="420" y="774"/>
                  </a:lnTo>
                  <a:lnTo>
                    <a:pt x="426" y="780"/>
                  </a:lnTo>
                  <a:lnTo>
                    <a:pt x="426" y="786"/>
                  </a:lnTo>
                  <a:lnTo>
                    <a:pt x="420" y="786"/>
                  </a:lnTo>
                  <a:lnTo>
                    <a:pt x="420" y="792"/>
                  </a:lnTo>
                  <a:lnTo>
                    <a:pt x="420" y="798"/>
                  </a:lnTo>
                  <a:lnTo>
                    <a:pt x="420" y="804"/>
                  </a:lnTo>
                  <a:lnTo>
                    <a:pt x="426" y="804"/>
                  </a:lnTo>
                  <a:lnTo>
                    <a:pt x="426" y="810"/>
                  </a:lnTo>
                  <a:lnTo>
                    <a:pt x="426" y="816"/>
                  </a:lnTo>
                  <a:lnTo>
                    <a:pt x="432" y="816"/>
                  </a:lnTo>
                  <a:lnTo>
                    <a:pt x="438" y="816"/>
                  </a:lnTo>
                  <a:lnTo>
                    <a:pt x="438" y="822"/>
                  </a:lnTo>
                  <a:lnTo>
                    <a:pt x="432" y="822"/>
                  </a:lnTo>
                  <a:lnTo>
                    <a:pt x="426" y="828"/>
                  </a:lnTo>
                  <a:lnTo>
                    <a:pt x="420" y="828"/>
                  </a:lnTo>
                  <a:lnTo>
                    <a:pt x="414" y="828"/>
                  </a:lnTo>
                  <a:lnTo>
                    <a:pt x="408" y="828"/>
                  </a:lnTo>
                  <a:lnTo>
                    <a:pt x="402" y="828"/>
                  </a:lnTo>
                  <a:lnTo>
                    <a:pt x="402" y="822"/>
                  </a:lnTo>
                  <a:lnTo>
                    <a:pt x="396" y="822"/>
                  </a:lnTo>
                  <a:lnTo>
                    <a:pt x="402" y="822"/>
                  </a:lnTo>
                  <a:lnTo>
                    <a:pt x="402" y="816"/>
                  </a:lnTo>
                  <a:lnTo>
                    <a:pt x="396" y="816"/>
                  </a:lnTo>
                  <a:lnTo>
                    <a:pt x="396" y="810"/>
                  </a:lnTo>
                  <a:lnTo>
                    <a:pt x="396" y="804"/>
                  </a:lnTo>
                  <a:lnTo>
                    <a:pt x="390" y="798"/>
                  </a:lnTo>
                  <a:lnTo>
                    <a:pt x="390" y="792"/>
                  </a:lnTo>
                  <a:lnTo>
                    <a:pt x="390" y="786"/>
                  </a:lnTo>
                  <a:lnTo>
                    <a:pt x="390" y="780"/>
                  </a:lnTo>
                  <a:lnTo>
                    <a:pt x="390" y="774"/>
                  </a:lnTo>
                  <a:lnTo>
                    <a:pt x="390" y="768"/>
                  </a:lnTo>
                  <a:lnTo>
                    <a:pt x="390" y="762"/>
                  </a:lnTo>
                  <a:lnTo>
                    <a:pt x="384" y="756"/>
                  </a:lnTo>
                  <a:lnTo>
                    <a:pt x="384" y="750"/>
                  </a:lnTo>
                  <a:lnTo>
                    <a:pt x="384" y="744"/>
                  </a:lnTo>
                  <a:lnTo>
                    <a:pt x="378" y="744"/>
                  </a:lnTo>
                  <a:lnTo>
                    <a:pt x="384" y="744"/>
                  </a:lnTo>
                  <a:lnTo>
                    <a:pt x="384" y="738"/>
                  </a:lnTo>
                  <a:lnTo>
                    <a:pt x="378" y="738"/>
                  </a:lnTo>
                  <a:lnTo>
                    <a:pt x="378" y="732"/>
                  </a:lnTo>
                  <a:lnTo>
                    <a:pt x="378" y="726"/>
                  </a:lnTo>
                  <a:lnTo>
                    <a:pt x="378" y="720"/>
                  </a:lnTo>
                  <a:lnTo>
                    <a:pt x="384" y="720"/>
                  </a:lnTo>
                  <a:close/>
                  <a:moveTo>
                    <a:pt x="330" y="738"/>
                  </a:moveTo>
                  <a:lnTo>
                    <a:pt x="336" y="732"/>
                  </a:lnTo>
                  <a:lnTo>
                    <a:pt x="336" y="726"/>
                  </a:lnTo>
                  <a:lnTo>
                    <a:pt x="342" y="720"/>
                  </a:lnTo>
                  <a:lnTo>
                    <a:pt x="348" y="720"/>
                  </a:lnTo>
                  <a:lnTo>
                    <a:pt x="360" y="720"/>
                  </a:lnTo>
                  <a:lnTo>
                    <a:pt x="366" y="726"/>
                  </a:lnTo>
                  <a:lnTo>
                    <a:pt x="372" y="732"/>
                  </a:lnTo>
                  <a:lnTo>
                    <a:pt x="372" y="738"/>
                  </a:lnTo>
                  <a:lnTo>
                    <a:pt x="366" y="750"/>
                  </a:lnTo>
                  <a:lnTo>
                    <a:pt x="372" y="756"/>
                  </a:lnTo>
                  <a:lnTo>
                    <a:pt x="372" y="762"/>
                  </a:lnTo>
                  <a:lnTo>
                    <a:pt x="372" y="768"/>
                  </a:lnTo>
                  <a:lnTo>
                    <a:pt x="372" y="774"/>
                  </a:lnTo>
                  <a:lnTo>
                    <a:pt x="372" y="780"/>
                  </a:lnTo>
                  <a:lnTo>
                    <a:pt x="372" y="774"/>
                  </a:lnTo>
                  <a:lnTo>
                    <a:pt x="366" y="768"/>
                  </a:lnTo>
                  <a:lnTo>
                    <a:pt x="366" y="762"/>
                  </a:lnTo>
                  <a:lnTo>
                    <a:pt x="366" y="756"/>
                  </a:lnTo>
                  <a:lnTo>
                    <a:pt x="360" y="756"/>
                  </a:lnTo>
                  <a:lnTo>
                    <a:pt x="360" y="750"/>
                  </a:lnTo>
                  <a:lnTo>
                    <a:pt x="354" y="750"/>
                  </a:lnTo>
                  <a:lnTo>
                    <a:pt x="348" y="744"/>
                  </a:lnTo>
                  <a:lnTo>
                    <a:pt x="342" y="744"/>
                  </a:lnTo>
                  <a:lnTo>
                    <a:pt x="336" y="744"/>
                  </a:lnTo>
                  <a:lnTo>
                    <a:pt x="330" y="73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01" name="Freeform 6">
              <a:extLst>
                <a:ext uri="{FF2B5EF4-FFF2-40B4-BE49-F238E27FC236}">
                  <a16:creationId xmlns:a16="http://schemas.microsoft.com/office/drawing/2014/main" id="{0656C385-F30A-4AC8-AE9F-B1F66208B38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3123" y="4163918"/>
              <a:ext cx="266107" cy="248252"/>
            </a:xfrm>
            <a:custGeom>
              <a:avLst/>
              <a:gdLst>
                <a:gd name="T0" fmla="*/ 33 w 504"/>
                <a:gd name="T1" fmla="*/ 41 h 468"/>
                <a:gd name="T2" fmla="*/ 26 w 504"/>
                <a:gd name="T3" fmla="*/ 39 h 468"/>
                <a:gd name="T4" fmla="*/ 21 w 504"/>
                <a:gd name="T5" fmla="*/ 38 h 468"/>
                <a:gd name="T6" fmla="*/ 18 w 504"/>
                <a:gd name="T7" fmla="*/ 38 h 468"/>
                <a:gd name="T8" fmla="*/ 15 w 504"/>
                <a:gd name="T9" fmla="*/ 39 h 468"/>
                <a:gd name="T10" fmla="*/ 12 w 504"/>
                <a:gd name="T11" fmla="*/ 38 h 468"/>
                <a:gd name="T12" fmla="*/ 9 w 504"/>
                <a:gd name="T13" fmla="*/ 37 h 468"/>
                <a:gd name="T14" fmla="*/ 7 w 504"/>
                <a:gd name="T15" fmla="*/ 32 h 468"/>
                <a:gd name="T16" fmla="*/ 6 w 504"/>
                <a:gd name="T17" fmla="*/ 26 h 468"/>
                <a:gd name="T18" fmla="*/ 3 w 504"/>
                <a:gd name="T19" fmla="*/ 24 h 468"/>
                <a:gd name="T20" fmla="*/ 1 w 504"/>
                <a:gd name="T21" fmla="*/ 24 h 468"/>
                <a:gd name="T22" fmla="*/ 2 w 504"/>
                <a:gd name="T23" fmla="*/ 18 h 468"/>
                <a:gd name="T24" fmla="*/ 1 w 504"/>
                <a:gd name="T25" fmla="*/ 17 h 468"/>
                <a:gd name="T26" fmla="*/ 0 w 504"/>
                <a:gd name="T27" fmla="*/ 17 h 468"/>
                <a:gd name="T28" fmla="*/ 0 w 504"/>
                <a:gd name="T29" fmla="*/ 15 h 468"/>
                <a:gd name="T30" fmla="*/ 2 w 504"/>
                <a:gd name="T31" fmla="*/ 12 h 468"/>
                <a:gd name="T32" fmla="*/ 4 w 504"/>
                <a:gd name="T33" fmla="*/ 10 h 468"/>
                <a:gd name="T34" fmla="*/ 6 w 504"/>
                <a:gd name="T35" fmla="*/ 8 h 468"/>
                <a:gd name="T36" fmla="*/ 8 w 504"/>
                <a:gd name="T37" fmla="*/ 8 h 468"/>
                <a:gd name="T38" fmla="*/ 10 w 504"/>
                <a:gd name="T39" fmla="*/ 9 h 468"/>
                <a:gd name="T40" fmla="*/ 12 w 504"/>
                <a:gd name="T41" fmla="*/ 10 h 468"/>
                <a:gd name="T42" fmla="*/ 12 w 504"/>
                <a:gd name="T43" fmla="*/ 11 h 468"/>
                <a:gd name="T44" fmla="*/ 14 w 504"/>
                <a:gd name="T45" fmla="*/ 8 h 468"/>
                <a:gd name="T46" fmla="*/ 15 w 504"/>
                <a:gd name="T47" fmla="*/ 7 h 468"/>
                <a:gd name="T48" fmla="*/ 17 w 504"/>
                <a:gd name="T49" fmla="*/ 6 h 468"/>
                <a:gd name="T50" fmla="*/ 19 w 504"/>
                <a:gd name="T51" fmla="*/ 3 h 468"/>
                <a:gd name="T52" fmla="*/ 20 w 504"/>
                <a:gd name="T53" fmla="*/ 2 h 468"/>
                <a:gd name="T54" fmla="*/ 22 w 504"/>
                <a:gd name="T55" fmla="*/ 1 h 468"/>
                <a:gd name="T56" fmla="*/ 27 w 504"/>
                <a:gd name="T57" fmla="*/ 1 h 468"/>
                <a:gd name="T58" fmla="*/ 30 w 504"/>
                <a:gd name="T59" fmla="*/ 2 h 468"/>
                <a:gd name="T60" fmla="*/ 31 w 504"/>
                <a:gd name="T61" fmla="*/ 2 h 468"/>
                <a:gd name="T62" fmla="*/ 34 w 504"/>
                <a:gd name="T63" fmla="*/ 0 h 468"/>
                <a:gd name="T64" fmla="*/ 37 w 504"/>
                <a:gd name="T65" fmla="*/ 1 h 468"/>
                <a:gd name="T66" fmla="*/ 41 w 504"/>
                <a:gd name="T67" fmla="*/ 2 h 468"/>
                <a:gd name="T68" fmla="*/ 42 w 504"/>
                <a:gd name="T69" fmla="*/ 4 h 468"/>
                <a:gd name="T70" fmla="*/ 42 w 504"/>
                <a:gd name="T71" fmla="*/ 10 h 468"/>
                <a:gd name="T72" fmla="*/ 41 w 504"/>
                <a:gd name="T73" fmla="*/ 14 h 468"/>
                <a:gd name="T74" fmla="*/ 42 w 504"/>
                <a:gd name="T75" fmla="*/ 15 h 468"/>
                <a:gd name="T76" fmla="*/ 44 w 504"/>
                <a:gd name="T77" fmla="*/ 18 h 468"/>
                <a:gd name="T78" fmla="*/ 43 w 504"/>
                <a:gd name="T79" fmla="*/ 19 h 468"/>
                <a:gd name="T80" fmla="*/ 42 w 504"/>
                <a:gd name="T81" fmla="*/ 21 h 468"/>
                <a:gd name="T82" fmla="*/ 42 w 504"/>
                <a:gd name="T83" fmla="*/ 23 h 468"/>
                <a:gd name="T84" fmla="*/ 39 w 504"/>
                <a:gd name="T85" fmla="*/ 27 h 468"/>
                <a:gd name="T86" fmla="*/ 38 w 504"/>
                <a:gd name="T87" fmla="*/ 29 h 468"/>
                <a:gd name="T88" fmla="*/ 38 w 504"/>
                <a:gd name="T89" fmla="*/ 31 h 468"/>
                <a:gd name="T90" fmla="*/ 36 w 504"/>
                <a:gd name="T91" fmla="*/ 32 h 468"/>
                <a:gd name="T92" fmla="*/ 35 w 504"/>
                <a:gd name="T93" fmla="*/ 34 h 468"/>
                <a:gd name="T94" fmla="*/ 34 w 504"/>
                <a:gd name="T95" fmla="*/ 38 h 46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04"/>
                <a:gd name="T145" fmla="*/ 0 h 468"/>
                <a:gd name="T146" fmla="*/ 504 w 504"/>
                <a:gd name="T147" fmla="*/ 468 h 46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04" h="468">
                  <a:moveTo>
                    <a:pt x="390" y="456"/>
                  </a:moveTo>
                  <a:lnTo>
                    <a:pt x="384" y="468"/>
                  </a:lnTo>
                  <a:lnTo>
                    <a:pt x="378" y="468"/>
                  </a:lnTo>
                  <a:lnTo>
                    <a:pt x="354" y="468"/>
                  </a:lnTo>
                  <a:lnTo>
                    <a:pt x="348" y="462"/>
                  </a:lnTo>
                  <a:lnTo>
                    <a:pt x="300" y="456"/>
                  </a:lnTo>
                  <a:lnTo>
                    <a:pt x="270" y="444"/>
                  </a:lnTo>
                  <a:lnTo>
                    <a:pt x="252" y="438"/>
                  </a:lnTo>
                  <a:lnTo>
                    <a:pt x="240" y="438"/>
                  </a:lnTo>
                  <a:lnTo>
                    <a:pt x="234" y="438"/>
                  </a:lnTo>
                  <a:lnTo>
                    <a:pt x="228" y="444"/>
                  </a:lnTo>
                  <a:lnTo>
                    <a:pt x="210" y="444"/>
                  </a:lnTo>
                  <a:lnTo>
                    <a:pt x="198" y="444"/>
                  </a:lnTo>
                  <a:lnTo>
                    <a:pt x="198" y="450"/>
                  </a:lnTo>
                  <a:lnTo>
                    <a:pt x="168" y="456"/>
                  </a:lnTo>
                  <a:lnTo>
                    <a:pt x="150" y="450"/>
                  </a:lnTo>
                  <a:lnTo>
                    <a:pt x="144" y="444"/>
                  </a:lnTo>
                  <a:lnTo>
                    <a:pt x="132" y="438"/>
                  </a:lnTo>
                  <a:lnTo>
                    <a:pt x="138" y="432"/>
                  </a:lnTo>
                  <a:lnTo>
                    <a:pt x="114" y="432"/>
                  </a:lnTo>
                  <a:lnTo>
                    <a:pt x="102" y="426"/>
                  </a:lnTo>
                  <a:lnTo>
                    <a:pt x="90" y="414"/>
                  </a:lnTo>
                  <a:lnTo>
                    <a:pt x="72" y="402"/>
                  </a:lnTo>
                  <a:lnTo>
                    <a:pt x="78" y="366"/>
                  </a:lnTo>
                  <a:lnTo>
                    <a:pt x="78" y="330"/>
                  </a:lnTo>
                  <a:lnTo>
                    <a:pt x="66" y="318"/>
                  </a:lnTo>
                  <a:lnTo>
                    <a:pt x="66" y="300"/>
                  </a:lnTo>
                  <a:lnTo>
                    <a:pt x="66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30" y="282"/>
                  </a:lnTo>
                  <a:lnTo>
                    <a:pt x="24" y="282"/>
                  </a:lnTo>
                  <a:lnTo>
                    <a:pt x="12" y="276"/>
                  </a:lnTo>
                  <a:lnTo>
                    <a:pt x="0" y="282"/>
                  </a:lnTo>
                  <a:lnTo>
                    <a:pt x="12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2" y="198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6" y="180"/>
                  </a:lnTo>
                  <a:lnTo>
                    <a:pt x="12" y="186"/>
                  </a:lnTo>
                  <a:lnTo>
                    <a:pt x="18" y="138"/>
                  </a:lnTo>
                  <a:lnTo>
                    <a:pt x="24" y="126"/>
                  </a:lnTo>
                  <a:lnTo>
                    <a:pt x="30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20" y="102"/>
                  </a:lnTo>
                  <a:lnTo>
                    <a:pt x="126" y="108"/>
                  </a:lnTo>
                  <a:lnTo>
                    <a:pt x="126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0"/>
                  </a:lnTo>
                  <a:lnTo>
                    <a:pt x="156" y="96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16" y="42"/>
                  </a:lnTo>
                  <a:lnTo>
                    <a:pt x="222" y="36"/>
                  </a:lnTo>
                  <a:lnTo>
                    <a:pt x="228" y="36"/>
                  </a:lnTo>
                  <a:lnTo>
                    <a:pt x="228" y="30"/>
                  </a:lnTo>
                  <a:lnTo>
                    <a:pt x="228" y="24"/>
                  </a:lnTo>
                  <a:lnTo>
                    <a:pt x="246" y="18"/>
                  </a:lnTo>
                  <a:lnTo>
                    <a:pt x="252" y="18"/>
                  </a:lnTo>
                  <a:lnTo>
                    <a:pt x="258" y="12"/>
                  </a:lnTo>
                  <a:lnTo>
                    <a:pt x="270" y="6"/>
                  </a:lnTo>
                  <a:lnTo>
                    <a:pt x="288" y="6"/>
                  </a:lnTo>
                  <a:lnTo>
                    <a:pt x="312" y="12"/>
                  </a:lnTo>
                  <a:lnTo>
                    <a:pt x="324" y="12"/>
                  </a:lnTo>
                  <a:lnTo>
                    <a:pt x="336" y="18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14" y="12"/>
                  </a:lnTo>
                  <a:lnTo>
                    <a:pt x="426" y="12"/>
                  </a:lnTo>
                  <a:lnTo>
                    <a:pt x="444" y="18"/>
                  </a:lnTo>
                  <a:lnTo>
                    <a:pt x="462" y="18"/>
                  </a:lnTo>
                  <a:lnTo>
                    <a:pt x="474" y="18"/>
                  </a:lnTo>
                  <a:lnTo>
                    <a:pt x="480" y="18"/>
                  </a:lnTo>
                  <a:lnTo>
                    <a:pt x="486" y="36"/>
                  </a:lnTo>
                  <a:lnTo>
                    <a:pt x="480" y="42"/>
                  </a:lnTo>
                  <a:lnTo>
                    <a:pt x="480" y="54"/>
                  </a:lnTo>
                  <a:lnTo>
                    <a:pt x="486" y="78"/>
                  </a:lnTo>
                  <a:lnTo>
                    <a:pt x="486" y="114"/>
                  </a:lnTo>
                  <a:lnTo>
                    <a:pt x="486" y="150"/>
                  </a:lnTo>
                  <a:lnTo>
                    <a:pt x="468" y="150"/>
                  </a:lnTo>
                  <a:lnTo>
                    <a:pt x="474" y="162"/>
                  </a:lnTo>
                  <a:lnTo>
                    <a:pt x="480" y="162"/>
                  </a:lnTo>
                  <a:lnTo>
                    <a:pt x="486" y="174"/>
                  </a:lnTo>
                  <a:lnTo>
                    <a:pt x="492" y="174"/>
                  </a:lnTo>
                  <a:lnTo>
                    <a:pt x="492" y="192"/>
                  </a:lnTo>
                  <a:lnTo>
                    <a:pt x="498" y="198"/>
                  </a:lnTo>
                  <a:lnTo>
                    <a:pt x="504" y="204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8" y="222"/>
                  </a:lnTo>
                  <a:lnTo>
                    <a:pt x="492" y="228"/>
                  </a:lnTo>
                  <a:lnTo>
                    <a:pt x="492" y="234"/>
                  </a:lnTo>
                  <a:lnTo>
                    <a:pt x="492" y="240"/>
                  </a:lnTo>
                  <a:lnTo>
                    <a:pt x="486" y="246"/>
                  </a:lnTo>
                  <a:lnTo>
                    <a:pt x="486" y="258"/>
                  </a:lnTo>
                  <a:lnTo>
                    <a:pt x="480" y="264"/>
                  </a:lnTo>
                  <a:lnTo>
                    <a:pt x="474" y="276"/>
                  </a:lnTo>
                  <a:lnTo>
                    <a:pt x="468" y="288"/>
                  </a:lnTo>
                  <a:lnTo>
                    <a:pt x="456" y="306"/>
                  </a:lnTo>
                  <a:lnTo>
                    <a:pt x="456" y="312"/>
                  </a:lnTo>
                  <a:lnTo>
                    <a:pt x="444" y="318"/>
                  </a:lnTo>
                  <a:lnTo>
                    <a:pt x="432" y="336"/>
                  </a:lnTo>
                  <a:lnTo>
                    <a:pt x="432" y="342"/>
                  </a:lnTo>
                  <a:lnTo>
                    <a:pt x="432" y="348"/>
                  </a:lnTo>
                  <a:lnTo>
                    <a:pt x="432" y="354"/>
                  </a:lnTo>
                  <a:lnTo>
                    <a:pt x="426" y="366"/>
                  </a:lnTo>
                  <a:lnTo>
                    <a:pt x="420" y="366"/>
                  </a:lnTo>
                  <a:lnTo>
                    <a:pt x="420" y="372"/>
                  </a:lnTo>
                  <a:lnTo>
                    <a:pt x="414" y="378"/>
                  </a:lnTo>
                  <a:lnTo>
                    <a:pt x="414" y="390"/>
                  </a:lnTo>
                  <a:lnTo>
                    <a:pt x="408" y="390"/>
                  </a:lnTo>
                  <a:lnTo>
                    <a:pt x="408" y="402"/>
                  </a:lnTo>
                  <a:lnTo>
                    <a:pt x="402" y="414"/>
                  </a:lnTo>
                  <a:lnTo>
                    <a:pt x="396" y="438"/>
                  </a:lnTo>
                  <a:lnTo>
                    <a:pt x="396" y="444"/>
                  </a:lnTo>
                  <a:lnTo>
                    <a:pt x="390" y="45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11" name="Freeform 7">
              <a:extLst>
                <a:ext uri="{FF2B5EF4-FFF2-40B4-BE49-F238E27FC236}">
                  <a16:creationId xmlns:a16="http://schemas.microsoft.com/office/drawing/2014/main" id="{0D8DE62D-4554-4314-9F3A-7208D89B4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90838" y="4128134"/>
              <a:ext cx="283995" cy="411516"/>
            </a:xfrm>
            <a:custGeom>
              <a:avLst/>
              <a:gdLst>
                <a:gd name="T0" fmla="*/ 39 w 534"/>
                <a:gd name="T1" fmla="*/ 35 h 774"/>
                <a:gd name="T2" fmla="*/ 35 w 534"/>
                <a:gd name="T3" fmla="*/ 31 h 774"/>
                <a:gd name="T4" fmla="*/ 32 w 534"/>
                <a:gd name="T5" fmla="*/ 29 h 774"/>
                <a:gd name="T6" fmla="*/ 32 w 534"/>
                <a:gd name="T7" fmla="*/ 31 h 774"/>
                <a:gd name="T8" fmla="*/ 29 w 534"/>
                <a:gd name="T9" fmla="*/ 33 h 774"/>
                <a:gd name="T10" fmla="*/ 27 w 534"/>
                <a:gd name="T11" fmla="*/ 36 h 774"/>
                <a:gd name="T12" fmla="*/ 30 w 534"/>
                <a:gd name="T13" fmla="*/ 38 h 774"/>
                <a:gd name="T14" fmla="*/ 29 w 534"/>
                <a:gd name="T15" fmla="*/ 40 h 774"/>
                <a:gd name="T16" fmla="*/ 25 w 534"/>
                <a:gd name="T17" fmla="*/ 40 h 774"/>
                <a:gd name="T18" fmla="*/ 23 w 534"/>
                <a:gd name="T19" fmla="*/ 42 h 774"/>
                <a:gd name="T20" fmla="*/ 22 w 534"/>
                <a:gd name="T21" fmla="*/ 47 h 774"/>
                <a:gd name="T22" fmla="*/ 22 w 534"/>
                <a:gd name="T23" fmla="*/ 51 h 774"/>
                <a:gd name="T24" fmla="*/ 22 w 534"/>
                <a:gd name="T25" fmla="*/ 54 h 774"/>
                <a:gd name="T26" fmla="*/ 21 w 534"/>
                <a:gd name="T27" fmla="*/ 56 h 774"/>
                <a:gd name="T28" fmla="*/ 19 w 534"/>
                <a:gd name="T29" fmla="*/ 58 h 774"/>
                <a:gd name="T30" fmla="*/ 20 w 534"/>
                <a:gd name="T31" fmla="*/ 59 h 774"/>
                <a:gd name="T32" fmla="*/ 19 w 534"/>
                <a:gd name="T33" fmla="*/ 62 h 774"/>
                <a:gd name="T34" fmla="*/ 19 w 534"/>
                <a:gd name="T35" fmla="*/ 64 h 774"/>
                <a:gd name="T36" fmla="*/ 20 w 534"/>
                <a:gd name="T37" fmla="*/ 66 h 774"/>
                <a:gd name="T38" fmla="*/ 17 w 534"/>
                <a:gd name="T39" fmla="*/ 66 h 774"/>
                <a:gd name="T40" fmla="*/ 16 w 534"/>
                <a:gd name="T41" fmla="*/ 65 h 774"/>
                <a:gd name="T42" fmla="*/ 13 w 534"/>
                <a:gd name="T43" fmla="*/ 65 h 774"/>
                <a:gd name="T44" fmla="*/ 11 w 534"/>
                <a:gd name="T45" fmla="*/ 65 h 774"/>
                <a:gd name="T46" fmla="*/ 8 w 534"/>
                <a:gd name="T47" fmla="*/ 65 h 774"/>
                <a:gd name="T48" fmla="*/ 8 w 534"/>
                <a:gd name="T49" fmla="*/ 64 h 774"/>
                <a:gd name="T50" fmla="*/ 5 w 534"/>
                <a:gd name="T51" fmla="*/ 65 h 774"/>
                <a:gd name="T52" fmla="*/ 3 w 534"/>
                <a:gd name="T53" fmla="*/ 65 h 774"/>
                <a:gd name="T54" fmla="*/ 0 w 534"/>
                <a:gd name="T55" fmla="*/ 64 h 774"/>
                <a:gd name="T56" fmla="*/ 0 w 534"/>
                <a:gd name="T57" fmla="*/ 62 h 774"/>
                <a:gd name="T58" fmla="*/ 3 w 534"/>
                <a:gd name="T59" fmla="*/ 60 h 774"/>
                <a:gd name="T60" fmla="*/ 6 w 534"/>
                <a:gd name="T61" fmla="*/ 57 h 774"/>
                <a:gd name="T62" fmla="*/ 8 w 534"/>
                <a:gd name="T63" fmla="*/ 50 h 774"/>
                <a:gd name="T64" fmla="*/ 6 w 534"/>
                <a:gd name="T65" fmla="*/ 45 h 774"/>
                <a:gd name="T66" fmla="*/ 8 w 534"/>
                <a:gd name="T67" fmla="*/ 41 h 774"/>
                <a:gd name="T68" fmla="*/ 9 w 534"/>
                <a:gd name="T69" fmla="*/ 38 h 774"/>
                <a:gd name="T70" fmla="*/ 10 w 534"/>
                <a:gd name="T71" fmla="*/ 36 h 774"/>
                <a:gd name="T72" fmla="*/ 12 w 534"/>
                <a:gd name="T73" fmla="*/ 33 h 774"/>
                <a:gd name="T74" fmla="*/ 14 w 534"/>
                <a:gd name="T75" fmla="*/ 29 h 774"/>
                <a:gd name="T76" fmla="*/ 16 w 534"/>
                <a:gd name="T77" fmla="*/ 26 h 774"/>
                <a:gd name="T78" fmla="*/ 16 w 534"/>
                <a:gd name="T79" fmla="*/ 24 h 774"/>
                <a:gd name="T80" fmla="*/ 16 w 534"/>
                <a:gd name="T81" fmla="*/ 21 h 774"/>
                <a:gd name="T82" fmla="*/ 13 w 534"/>
                <a:gd name="T83" fmla="*/ 19 h 774"/>
                <a:gd name="T84" fmla="*/ 14 w 534"/>
                <a:gd name="T85" fmla="*/ 10 h 774"/>
                <a:gd name="T86" fmla="*/ 14 w 534"/>
                <a:gd name="T87" fmla="*/ 7 h 774"/>
                <a:gd name="T88" fmla="*/ 8 w 534"/>
                <a:gd name="T89" fmla="*/ 7 h 774"/>
                <a:gd name="T90" fmla="*/ 7 w 534"/>
                <a:gd name="T91" fmla="*/ 3 h 774"/>
                <a:gd name="T92" fmla="*/ 11 w 534"/>
                <a:gd name="T93" fmla="*/ 1 h 774"/>
                <a:gd name="T94" fmla="*/ 12 w 534"/>
                <a:gd name="T95" fmla="*/ 0 h 774"/>
                <a:gd name="T96" fmla="*/ 16 w 534"/>
                <a:gd name="T97" fmla="*/ 2 h 774"/>
                <a:gd name="T98" fmla="*/ 20 w 534"/>
                <a:gd name="T99" fmla="*/ 2 h 774"/>
                <a:gd name="T100" fmla="*/ 23 w 534"/>
                <a:gd name="T101" fmla="*/ 3 h 774"/>
                <a:gd name="T102" fmla="*/ 23 w 534"/>
                <a:gd name="T103" fmla="*/ 10 h 774"/>
                <a:gd name="T104" fmla="*/ 29 w 534"/>
                <a:gd name="T105" fmla="*/ 12 h 774"/>
                <a:gd name="T106" fmla="*/ 35 w 534"/>
                <a:gd name="T107" fmla="*/ 12 h 774"/>
                <a:gd name="T108" fmla="*/ 38 w 534"/>
                <a:gd name="T109" fmla="*/ 17 h 774"/>
                <a:gd name="T110" fmla="*/ 40 w 534"/>
                <a:gd name="T111" fmla="*/ 19 h 774"/>
                <a:gd name="T112" fmla="*/ 44 w 534"/>
                <a:gd name="T113" fmla="*/ 23 h 774"/>
                <a:gd name="T114" fmla="*/ 44 w 534"/>
                <a:gd name="T115" fmla="*/ 30 h 774"/>
                <a:gd name="T116" fmla="*/ 46 w 534"/>
                <a:gd name="T117" fmla="*/ 36 h 774"/>
                <a:gd name="T118" fmla="*/ 41 w 534"/>
                <a:gd name="T119" fmla="*/ 37 h 77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34"/>
                <a:gd name="T181" fmla="*/ 0 h 774"/>
                <a:gd name="T182" fmla="*/ 534 w 534"/>
                <a:gd name="T183" fmla="*/ 774 h 77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34" h="774">
                  <a:moveTo>
                    <a:pt x="462" y="426"/>
                  </a:moveTo>
                  <a:lnTo>
                    <a:pt x="462" y="414"/>
                  </a:lnTo>
                  <a:lnTo>
                    <a:pt x="450" y="402"/>
                  </a:lnTo>
                  <a:lnTo>
                    <a:pt x="444" y="396"/>
                  </a:lnTo>
                  <a:lnTo>
                    <a:pt x="420" y="396"/>
                  </a:lnTo>
                  <a:lnTo>
                    <a:pt x="408" y="390"/>
                  </a:lnTo>
                  <a:lnTo>
                    <a:pt x="402" y="366"/>
                  </a:lnTo>
                  <a:lnTo>
                    <a:pt x="390" y="354"/>
                  </a:lnTo>
                  <a:lnTo>
                    <a:pt x="384" y="336"/>
                  </a:lnTo>
                  <a:lnTo>
                    <a:pt x="378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8" y="348"/>
                  </a:lnTo>
                  <a:lnTo>
                    <a:pt x="360" y="354"/>
                  </a:lnTo>
                  <a:lnTo>
                    <a:pt x="360" y="390"/>
                  </a:lnTo>
                  <a:lnTo>
                    <a:pt x="348" y="390"/>
                  </a:lnTo>
                  <a:lnTo>
                    <a:pt x="342" y="384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90"/>
                  </a:lnTo>
                  <a:lnTo>
                    <a:pt x="312" y="402"/>
                  </a:lnTo>
                  <a:lnTo>
                    <a:pt x="306" y="420"/>
                  </a:lnTo>
                  <a:lnTo>
                    <a:pt x="324" y="414"/>
                  </a:lnTo>
                  <a:lnTo>
                    <a:pt x="330" y="414"/>
                  </a:lnTo>
                  <a:lnTo>
                    <a:pt x="336" y="420"/>
                  </a:lnTo>
                  <a:lnTo>
                    <a:pt x="336" y="432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6"/>
                  </a:lnTo>
                  <a:lnTo>
                    <a:pt x="318" y="456"/>
                  </a:lnTo>
                  <a:lnTo>
                    <a:pt x="300" y="456"/>
                  </a:lnTo>
                  <a:lnTo>
                    <a:pt x="288" y="462"/>
                  </a:lnTo>
                  <a:lnTo>
                    <a:pt x="276" y="462"/>
                  </a:lnTo>
                  <a:lnTo>
                    <a:pt x="270" y="462"/>
                  </a:lnTo>
                  <a:lnTo>
                    <a:pt x="270" y="468"/>
                  </a:lnTo>
                  <a:lnTo>
                    <a:pt x="252" y="468"/>
                  </a:lnTo>
                  <a:lnTo>
                    <a:pt x="258" y="480"/>
                  </a:lnTo>
                  <a:lnTo>
                    <a:pt x="258" y="492"/>
                  </a:lnTo>
                  <a:lnTo>
                    <a:pt x="258" y="498"/>
                  </a:lnTo>
                  <a:lnTo>
                    <a:pt x="258" y="510"/>
                  </a:lnTo>
                  <a:lnTo>
                    <a:pt x="252" y="540"/>
                  </a:lnTo>
                  <a:lnTo>
                    <a:pt x="246" y="564"/>
                  </a:lnTo>
                  <a:lnTo>
                    <a:pt x="246" y="570"/>
                  </a:lnTo>
                  <a:lnTo>
                    <a:pt x="252" y="576"/>
                  </a:lnTo>
                  <a:lnTo>
                    <a:pt x="246" y="582"/>
                  </a:lnTo>
                  <a:lnTo>
                    <a:pt x="252" y="600"/>
                  </a:lnTo>
                  <a:lnTo>
                    <a:pt x="258" y="606"/>
                  </a:lnTo>
                  <a:lnTo>
                    <a:pt x="258" y="612"/>
                  </a:lnTo>
                  <a:lnTo>
                    <a:pt x="252" y="618"/>
                  </a:lnTo>
                  <a:lnTo>
                    <a:pt x="246" y="624"/>
                  </a:lnTo>
                  <a:lnTo>
                    <a:pt x="246" y="630"/>
                  </a:lnTo>
                  <a:lnTo>
                    <a:pt x="246" y="636"/>
                  </a:lnTo>
                  <a:lnTo>
                    <a:pt x="240" y="642"/>
                  </a:lnTo>
                  <a:lnTo>
                    <a:pt x="234" y="654"/>
                  </a:lnTo>
                  <a:lnTo>
                    <a:pt x="228" y="654"/>
                  </a:lnTo>
                  <a:lnTo>
                    <a:pt x="222" y="660"/>
                  </a:lnTo>
                  <a:lnTo>
                    <a:pt x="216" y="666"/>
                  </a:lnTo>
                  <a:lnTo>
                    <a:pt x="210" y="666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22" y="684"/>
                  </a:lnTo>
                  <a:lnTo>
                    <a:pt x="222" y="690"/>
                  </a:lnTo>
                  <a:lnTo>
                    <a:pt x="222" y="696"/>
                  </a:lnTo>
                  <a:lnTo>
                    <a:pt x="222" y="702"/>
                  </a:lnTo>
                  <a:lnTo>
                    <a:pt x="216" y="708"/>
                  </a:lnTo>
                  <a:lnTo>
                    <a:pt x="210" y="720"/>
                  </a:lnTo>
                  <a:lnTo>
                    <a:pt x="216" y="732"/>
                  </a:lnTo>
                  <a:lnTo>
                    <a:pt x="210" y="732"/>
                  </a:lnTo>
                  <a:lnTo>
                    <a:pt x="216" y="738"/>
                  </a:lnTo>
                  <a:lnTo>
                    <a:pt x="216" y="744"/>
                  </a:lnTo>
                  <a:lnTo>
                    <a:pt x="222" y="750"/>
                  </a:lnTo>
                  <a:lnTo>
                    <a:pt x="228" y="756"/>
                  </a:lnTo>
                  <a:lnTo>
                    <a:pt x="222" y="762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04" y="762"/>
                  </a:lnTo>
                  <a:lnTo>
                    <a:pt x="198" y="762"/>
                  </a:lnTo>
                  <a:lnTo>
                    <a:pt x="192" y="762"/>
                  </a:lnTo>
                  <a:lnTo>
                    <a:pt x="186" y="756"/>
                  </a:lnTo>
                  <a:lnTo>
                    <a:pt x="180" y="750"/>
                  </a:lnTo>
                  <a:lnTo>
                    <a:pt x="180" y="744"/>
                  </a:lnTo>
                  <a:lnTo>
                    <a:pt x="174" y="744"/>
                  </a:lnTo>
                  <a:lnTo>
                    <a:pt x="156" y="750"/>
                  </a:lnTo>
                  <a:lnTo>
                    <a:pt x="150" y="750"/>
                  </a:lnTo>
                  <a:lnTo>
                    <a:pt x="144" y="750"/>
                  </a:lnTo>
                  <a:lnTo>
                    <a:pt x="138" y="750"/>
                  </a:lnTo>
                  <a:lnTo>
                    <a:pt x="138" y="744"/>
                  </a:lnTo>
                  <a:lnTo>
                    <a:pt x="132" y="744"/>
                  </a:lnTo>
                  <a:lnTo>
                    <a:pt x="120" y="744"/>
                  </a:lnTo>
                  <a:lnTo>
                    <a:pt x="114" y="738"/>
                  </a:lnTo>
                  <a:lnTo>
                    <a:pt x="108" y="744"/>
                  </a:lnTo>
                  <a:lnTo>
                    <a:pt x="102" y="744"/>
                  </a:lnTo>
                  <a:lnTo>
                    <a:pt x="96" y="744"/>
                  </a:lnTo>
                  <a:lnTo>
                    <a:pt x="96" y="738"/>
                  </a:lnTo>
                  <a:lnTo>
                    <a:pt x="96" y="744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44"/>
                  </a:lnTo>
                  <a:lnTo>
                    <a:pt x="72" y="750"/>
                  </a:lnTo>
                  <a:lnTo>
                    <a:pt x="66" y="750"/>
                  </a:lnTo>
                  <a:lnTo>
                    <a:pt x="60" y="750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0"/>
                  </a:lnTo>
                  <a:lnTo>
                    <a:pt x="30" y="750"/>
                  </a:lnTo>
                  <a:lnTo>
                    <a:pt x="24" y="744"/>
                  </a:lnTo>
                  <a:lnTo>
                    <a:pt x="18" y="738"/>
                  </a:lnTo>
                  <a:lnTo>
                    <a:pt x="6" y="738"/>
                  </a:lnTo>
                  <a:lnTo>
                    <a:pt x="0" y="732"/>
                  </a:lnTo>
                  <a:lnTo>
                    <a:pt x="0" y="726"/>
                  </a:lnTo>
                  <a:lnTo>
                    <a:pt x="0" y="720"/>
                  </a:lnTo>
                  <a:lnTo>
                    <a:pt x="6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8" y="702"/>
                  </a:lnTo>
                  <a:lnTo>
                    <a:pt x="24" y="696"/>
                  </a:lnTo>
                  <a:lnTo>
                    <a:pt x="30" y="696"/>
                  </a:lnTo>
                  <a:lnTo>
                    <a:pt x="48" y="690"/>
                  </a:lnTo>
                  <a:lnTo>
                    <a:pt x="54" y="678"/>
                  </a:lnTo>
                  <a:lnTo>
                    <a:pt x="66" y="672"/>
                  </a:lnTo>
                  <a:lnTo>
                    <a:pt x="66" y="654"/>
                  </a:lnTo>
                  <a:lnTo>
                    <a:pt x="72" y="636"/>
                  </a:lnTo>
                  <a:lnTo>
                    <a:pt x="72" y="612"/>
                  </a:lnTo>
                  <a:lnTo>
                    <a:pt x="84" y="594"/>
                  </a:lnTo>
                  <a:lnTo>
                    <a:pt x="90" y="576"/>
                  </a:lnTo>
                  <a:lnTo>
                    <a:pt x="96" y="552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72" y="522"/>
                  </a:lnTo>
                  <a:lnTo>
                    <a:pt x="78" y="510"/>
                  </a:lnTo>
                  <a:lnTo>
                    <a:pt x="78" y="504"/>
                  </a:lnTo>
                  <a:lnTo>
                    <a:pt x="84" y="480"/>
                  </a:lnTo>
                  <a:lnTo>
                    <a:pt x="90" y="468"/>
                  </a:lnTo>
                  <a:lnTo>
                    <a:pt x="90" y="456"/>
                  </a:lnTo>
                  <a:lnTo>
                    <a:pt x="96" y="456"/>
                  </a:lnTo>
                  <a:lnTo>
                    <a:pt x="96" y="444"/>
                  </a:lnTo>
                  <a:lnTo>
                    <a:pt x="102" y="438"/>
                  </a:lnTo>
                  <a:lnTo>
                    <a:pt x="102" y="432"/>
                  </a:lnTo>
                  <a:lnTo>
                    <a:pt x="108" y="432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14" y="408"/>
                  </a:lnTo>
                  <a:lnTo>
                    <a:pt x="114" y="402"/>
                  </a:lnTo>
                  <a:lnTo>
                    <a:pt x="126" y="384"/>
                  </a:lnTo>
                  <a:lnTo>
                    <a:pt x="138" y="378"/>
                  </a:lnTo>
                  <a:lnTo>
                    <a:pt x="138" y="372"/>
                  </a:lnTo>
                  <a:lnTo>
                    <a:pt x="150" y="354"/>
                  </a:lnTo>
                  <a:lnTo>
                    <a:pt x="156" y="342"/>
                  </a:lnTo>
                  <a:lnTo>
                    <a:pt x="162" y="330"/>
                  </a:lnTo>
                  <a:lnTo>
                    <a:pt x="168" y="324"/>
                  </a:lnTo>
                  <a:lnTo>
                    <a:pt x="168" y="312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74" y="294"/>
                  </a:lnTo>
                  <a:lnTo>
                    <a:pt x="180" y="288"/>
                  </a:lnTo>
                  <a:lnTo>
                    <a:pt x="180" y="276"/>
                  </a:lnTo>
                  <a:lnTo>
                    <a:pt x="186" y="276"/>
                  </a:lnTo>
                  <a:lnTo>
                    <a:pt x="186" y="270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40"/>
                  </a:lnTo>
                  <a:lnTo>
                    <a:pt x="168" y="240"/>
                  </a:lnTo>
                  <a:lnTo>
                    <a:pt x="162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68" y="216"/>
                  </a:lnTo>
                  <a:lnTo>
                    <a:pt x="168" y="180"/>
                  </a:lnTo>
                  <a:lnTo>
                    <a:pt x="168" y="144"/>
                  </a:lnTo>
                  <a:lnTo>
                    <a:pt x="162" y="120"/>
                  </a:lnTo>
                  <a:lnTo>
                    <a:pt x="162" y="108"/>
                  </a:lnTo>
                  <a:lnTo>
                    <a:pt x="168" y="102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44" y="84"/>
                  </a:lnTo>
                  <a:lnTo>
                    <a:pt x="126" y="84"/>
                  </a:lnTo>
                  <a:lnTo>
                    <a:pt x="108" y="78"/>
                  </a:lnTo>
                  <a:lnTo>
                    <a:pt x="96" y="78"/>
                  </a:lnTo>
                  <a:lnTo>
                    <a:pt x="78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8" y="36"/>
                  </a:lnTo>
                  <a:lnTo>
                    <a:pt x="96" y="24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56" y="0"/>
                  </a:lnTo>
                  <a:lnTo>
                    <a:pt x="156" y="6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18"/>
                  </a:lnTo>
                  <a:lnTo>
                    <a:pt x="198" y="18"/>
                  </a:lnTo>
                  <a:lnTo>
                    <a:pt x="210" y="18"/>
                  </a:lnTo>
                  <a:lnTo>
                    <a:pt x="222" y="18"/>
                  </a:lnTo>
                  <a:lnTo>
                    <a:pt x="234" y="12"/>
                  </a:lnTo>
                  <a:lnTo>
                    <a:pt x="252" y="18"/>
                  </a:lnTo>
                  <a:lnTo>
                    <a:pt x="252" y="24"/>
                  </a:lnTo>
                  <a:lnTo>
                    <a:pt x="258" y="36"/>
                  </a:lnTo>
                  <a:lnTo>
                    <a:pt x="258" y="66"/>
                  </a:lnTo>
                  <a:lnTo>
                    <a:pt x="252" y="84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82" y="126"/>
                  </a:lnTo>
                  <a:lnTo>
                    <a:pt x="294" y="132"/>
                  </a:lnTo>
                  <a:lnTo>
                    <a:pt x="306" y="138"/>
                  </a:lnTo>
                  <a:lnTo>
                    <a:pt x="324" y="138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60" y="144"/>
                  </a:lnTo>
                  <a:lnTo>
                    <a:pt x="396" y="144"/>
                  </a:lnTo>
                  <a:lnTo>
                    <a:pt x="408" y="150"/>
                  </a:lnTo>
                  <a:lnTo>
                    <a:pt x="414" y="180"/>
                  </a:lnTo>
                  <a:lnTo>
                    <a:pt x="420" y="186"/>
                  </a:lnTo>
                  <a:lnTo>
                    <a:pt x="426" y="192"/>
                  </a:lnTo>
                  <a:lnTo>
                    <a:pt x="426" y="198"/>
                  </a:lnTo>
                  <a:lnTo>
                    <a:pt x="432" y="198"/>
                  </a:lnTo>
                  <a:lnTo>
                    <a:pt x="438" y="210"/>
                  </a:lnTo>
                  <a:lnTo>
                    <a:pt x="450" y="216"/>
                  </a:lnTo>
                  <a:lnTo>
                    <a:pt x="468" y="228"/>
                  </a:lnTo>
                  <a:lnTo>
                    <a:pt x="492" y="234"/>
                  </a:lnTo>
                  <a:lnTo>
                    <a:pt x="492" y="246"/>
                  </a:lnTo>
                  <a:lnTo>
                    <a:pt x="492" y="270"/>
                  </a:lnTo>
                  <a:lnTo>
                    <a:pt x="486" y="294"/>
                  </a:lnTo>
                  <a:lnTo>
                    <a:pt x="486" y="312"/>
                  </a:lnTo>
                  <a:lnTo>
                    <a:pt x="486" y="330"/>
                  </a:lnTo>
                  <a:lnTo>
                    <a:pt x="492" y="348"/>
                  </a:lnTo>
                  <a:lnTo>
                    <a:pt x="498" y="360"/>
                  </a:lnTo>
                  <a:lnTo>
                    <a:pt x="510" y="366"/>
                  </a:lnTo>
                  <a:lnTo>
                    <a:pt x="516" y="384"/>
                  </a:lnTo>
                  <a:lnTo>
                    <a:pt x="522" y="414"/>
                  </a:lnTo>
                  <a:lnTo>
                    <a:pt x="528" y="414"/>
                  </a:lnTo>
                  <a:lnTo>
                    <a:pt x="534" y="426"/>
                  </a:lnTo>
                  <a:lnTo>
                    <a:pt x="528" y="432"/>
                  </a:lnTo>
                  <a:lnTo>
                    <a:pt x="468" y="426"/>
                  </a:lnTo>
                  <a:lnTo>
                    <a:pt x="462" y="4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3" name="Freeform 8">
              <a:extLst>
                <a:ext uri="{FF2B5EF4-FFF2-40B4-BE49-F238E27FC236}">
                  <a16:creationId xmlns:a16="http://schemas.microsoft.com/office/drawing/2014/main" id="{D473457C-872E-4E31-888A-D60FD52063A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98175" y="4307054"/>
              <a:ext cx="295177" cy="348894"/>
            </a:xfrm>
            <a:custGeom>
              <a:avLst/>
              <a:gdLst>
                <a:gd name="T0" fmla="*/ 3 w 552"/>
                <a:gd name="T1" fmla="*/ 46 h 660"/>
                <a:gd name="T2" fmla="*/ 4 w 552"/>
                <a:gd name="T3" fmla="*/ 42 h 660"/>
                <a:gd name="T4" fmla="*/ 2 w 552"/>
                <a:gd name="T5" fmla="*/ 38 h 660"/>
                <a:gd name="T6" fmla="*/ 0 w 552"/>
                <a:gd name="T7" fmla="*/ 34 h 660"/>
                <a:gd name="T8" fmla="*/ 2 w 552"/>
                <a:gd name="T9" fmla="*/ 30 h 660"/>
                <a:gd name="T10" fmla="*/ 3 w 552"/>
                <a:gd name="T11" fmla="*/ 27 h 660"/>
                <a:gd name="T12" fmla="*/ 5 w 552"/>
                <a:gd name="T13" fmla="*/ 23 h 660"/>
                <a:gd name="T14" fmla="*/ 5 w 552"/>
                <a:gd name="T15" fmla="*/ 15 h 660"/>
                <a:gd name="T16" fmla="*/ 6 w 552"/>
                <a:gd name="T17" fmla="*/ 11 h 660"/>
                <a:gd name="T18" fmla="*/ 11 w 552"/>
                <a:gd name="T19" fmla="*/ 9 h 660"/>
                <a:gd name="T20" fmla="*/ 10 w 552"/>
                <a:gd name="T21" fmla="*/ 5 h 660"/>
                <a:gd name="T22" fmla="*/ 12 w 552"/>
                <a:gd name="T23" fmla="*/ 1 h 660"/>
                <a:gd name="T24" fmla="*/ 16 w 552"/>
                <a:gd name="T25" fmla="*/ 2 h 660"/>
                <a:gd name="T26" fmla="*/ 23 w 552"/>
                <a:gd name="T27" fmla="*/ 8 h 660"/>
                <a:gd name="T28" fmla="*/ 23 w 552"/>
                <a:gd name="T29" fmla="*/ 11 h 660"/>
                <a:gd name="T30" fmla="*/ 27 w 552"/>
                <a:gd name="T31" fmla="*/ 12 h 660"/>
                <a:gd name="T32" fmla="*/ 29 w 552"/>
                <a:gd name="T33" fmla="*/ 17 h 660"/>
                <a:gd name="T34" fmla="*/ 31 w 552"/>
                <a:gd name="T35" fmla="*/ 15 h 660"/>
                <a:gd name="T36" fmla="*/ 33 w 552"/>
                <a:gd name="T37" fmla="*/ 17 h 660"/>
                <a:gd name="T38" fmla="*/ 36 w 552"/>
                <a:gd name="T39" fmla="*/ 23 h 660"/>
                <a:gd name="T40" fmla="*/ 41 w 552"/>
                <a:gd name="T41" fmla="*/ 33 h 660"/>
                <a:gd name="T42" fmla="*/ 43 w 552"/>
                <a:gd name="T43" fmla="*/ 36 h 660"/>
                <a:gd name="T44" fmla="*/ 43 w 552"/>
                <a:gd name="T45" fmla="*/ 37 h 660"/>
                <a:gd name="T46" fmla="*/ 41 w 552"/>
                <a:gd name="T47" fmla="*/ 35 h 660"/>
                <a:gd name="T48" fmla="*/ 43 w 552"/>
                <a:gd name="T49" fmla="*/ 37 h 660"/>
                <a:gd name="T50" fmla="*/ 44 w 552"/>
                <a:gd name="T51" fmla="*/ 39 h 660"/>
                <a:gd name="T52" fmla="*/ 47 w 552"/>
                <a:gd name="T53" fmla="*/ 41 h 660"/>
                <a:gd name="T54" fmla="*/ 47 w 552"/>
                <a:gd name="T55" fmla="*/ 44 h 660"/>
                <a:gd name="T56" fmla="*/ 48 w 552"/>
                <a:gd name="T57" fmla="*/ 46 h 660"/>
                <a:gd name="T58" fmla="*/ 47 w 552"/>
                <a:gd name="T59" fmla="*/ 46 h 660"/>
                <a:gd name="T60" fmla="*/ 44 w 552"/>
                <a:gd name="T61" fmla="*/ 46 h 660"/>
                <a:gd name="T62" fmla="*/ 47 w 552"/>
                <a:gd name="T63" fmla="*/ 47 h 660"/>
                <a:gd name="T64" fmla="*/ 47 w 552"/>
                <a:gd name="T65" fmla="*/ 49 h 660"/>
                <a:gd name="T66" fmla="*/ 47 w 552"/>
                <a:gd name="T67" fmla="*/ 52 h 660"/>
                <a:gd name="T68" fmla="*/ 46 w 552"/>
                <a:gd name="T69" fmla="*/ 53 h 660"/>
                <a:gd name="T70" fmla="*/ 43 w 552"/>
                <a:gd name="T71" fmla="*/ 54 h 660"/>
                <a:gd name="T72" fmla="*/ 37 w 552"/>
                <a:gd name="T73" fmla="*/ 54 h 660"/>
                <a:gd name="T74" fmla="*/ 30 w 552"/>
                <a:gd name="T75" fmla="*/ 54 h 660"/>
                <a:gd name="T76" fmla="*/ 29 w 552"/>
                <a:gd name="T77" fmla="*/ 53 h 660"/>
                <a:gd name="T78" fmla="*/ 27 w 552"/>
                <a:gd name="T79" fmla="*/ 53 h 660"/>
                <a:gd name="T80" fmla="*/ 29 w 552"/>
                <a:gd name="T81" fmla="*/ 53 h 660"/>
                <a:gd name="T82" fmla="*/ 28 w 552"/>
                <a:gd name="T83" fmla="*/ 54 h 660"/>
                <a:gd name="T84" fmla="*/ 24 w 552"/>
                <a:gd name="T85" fmla="*/ 54 h 660"/>
                <a:gd name="T86" fmla="*/ 20 w 552"/>
                <a:gd name="T87" fmla="*/ 55 h 660"/>
                <a:gd name="T88" fmla="*/ 15 w 552"/>
                <a:gd name="T89" fmla="*/ 56 h 660"/>
                <a:gd name="T90" fmla="*/ 12 w 552"/>
                <a:gd name="T91" fmla="*/ 56 h 660"/>
                <a:gd name="T92" fmla="*/ 11 w 552"/>
                <a:gd name="T93" fmla="*/ 57 h 660"/>
                <a:gd name="T94" fmla="*/ 9 w 552"/>
                <a:gd name="T95" fmla="*/ 57 h 660"/>
                <a:gd name="T96" fmla="*/ 7 w 552"/>
                <a:gd name="T97" fmla="*/ 56 h 660"/>
                <a:gd name="T98" fmla="*/ 5 w 552"/>
                <a:gd name="T99" fmla="*/ 55 h 660"/>
                <a:gd name="T100" fmla="*/ 7 w 552"/>
                <a:gd name="T101" fmla="*/ 54 h 660"/>
                <a:gd name="T102" fmla="*/ 5 w 552"/>
                <a:gd name="T103" fmla="*/ 54 h 660"/>
                <a:gd name="T104" fmla="*/ 5 w 552"/>
                <a:gd name="T105" fmla="*/ 53 h 660"/>
                <a:gd name="T106" fmla="*/ 4 w 552"/>
                <a:gd name="T107" fmla="*/ 49 h 660"/>
                <a:gd name="T108" fmla="*/ 45 w 552"/>
                <a:gd name="T109" fmla="*/ 38 h 66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52"/>
                <a:gd name="T166" fmla="*/ 0 h 660"/>
                <a:gd name="T167" fmla="*/ 552 w 552"/>
                <a:gd name="T168" fmla="*/ 660 h 66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52" h="660">
                  <a:moveTo>
                    <a:pt x="36" y="564"/>
                  </a:moveTo>
                  <a:lnTo>
                    <a:pt x="36" y="558"/>
                  </a:lnTo>
                  <a:lnTo>
                    <a:pt x="36" y="552"/>
                  </a:lnTo>
                  <a:lnTo>
                    <a:pt x="42" y="546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34"/>
                  </a:lnTo>
                  <a:lnTo>
                    <a:pt x="36" y="528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54" y="510"/>
                  </a:lnTo>
                  <a:lnTo>
                    <a:pt x="54" y="504"/>
                  </a:lnTo>
                  <a:lnTo>
                    <a:pt x="54" y="498"/>
                  </a:lnTo>
                  <a:lnTo>
                    <a:pt x="48" y="492"/>
                  </a:lnTo>
                  <a:lnTo>
                    <a:pt x="42" y="486"/>
                  </a:lnTo>
                  <a:lnTo>
                    <a:pt x="42" y="480"/>
                  </a:lnTo>
                  <a:lnTo>
                    <a:pt x="42" y="468"/>
                  </a:lnTo>
                  <a:lnTo>
                    <a:pt x="30" y="456"/>
                  </a:lnTo>
                  <a:lnTo>
                    <a:pt x="30" y="450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2"/>
                  </a:lnTo>
                  <a:lnTo>
                    <a:pt x="18" y="426"/>
                  </a:lnTo>
                  <a:lnTo>
                    <a:pt x="24" y="420"/>
                  </a:lnTo>
                  <a:lnTo>
                    <a:pt x="18" y="414"/>
                  </a:lnTo>
                  <a:lnTo>
                    <a:pt x="12" y="408"/>
                  </a:lnTo>
                  <a:lnTo>
                    <a:pt x="12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6" y="384"/>
                  </a:lnTo>
                  <a:lnTo>
                    <a:pt x="12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8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36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54" y="270"/>
                  </a:lnTo>
                  <a:lnTo>
                    <a:pt x="48" y="264"/>
                  </a:lnTo>
                  <a:lnTo>
                    <a:pt x="42" y="246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8" y="204"/>
                  </a:lnTo>
                  <a:lnTo>
                    <a:pt x="54" y="174"/>
                  </a:lnTo>
                  <a:lnTo>
                    <a:pt x="54" y="162"/>
                  </a:lnTo>
                  <a:lnTo>
                    <a:pt x="54" y="156"/>
                  </a:lnTo>
                  <a:lnTo>
                    <a:pt x="54" y="144"/>
                  </a:lnTo>
                  <a:lnTo>
                    <a:pt x="48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72" y="126"/>
                  </a:lnTo>
                  <a:lnTo>
                    <a:pt x="84" y="126"/>
                  </a:lnTo>
                  <a:lnTo>
                    <a:pt x="96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2" y="84"/>
                  </a:lnTo>
                  <a:lnTo>
                    <a:pt x="126" y="78"/>
                  </a:lnTo>
                  <a:lnTo>
                    <a:pt x="120" y="78"/>
                  </a:lnTo>
                  <a:lnTo>
                    <a:pt x="102" y="84"/>
                  </a:lnTo>
                  <a:lnTo>
                    <a:pt x="108" y="66"/>
                  </a:lnTo>
                  <a:lnTo>
                    <a:pt x="114" y="54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8" y="4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6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74" y="0"/>
                  </a:lnTo>
                  <a:lnTo>
                    <a:pt x="180" y="0"/>
                  </a:lnTo>
                  <a:lnTo>
                    <a:pt x="186" y="18"/>
                  </a:lnTo>
                  <a:lnTo>
                    <a:pt x="198" y="30"/>
                  </a:lnTo>
                  <a:lnTo>
                    <a:pt x="204" y="54"/>
                  </a:lnTo>
                  <a:lnTo>
                    <a:pt x="216" y="60"/>
                  </a:lnTo>
                  <a:lnTo>
                    <a:pt x="240" y="60"/>
                  </a:lnTo>
                  <a:lnTo>
                    <a:pt x="246" y="66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2" y="120"/>
                  </a:lnTo>
                  <a:lnTo>
                    <a:pt x="25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6" y="126"/>
                  </a:lnTo>
                  <a:lnTo>
                    <a:pt x="282" y="120"/>
                  </a:lnTo>
                  <a:lnTo>
                    <a:pt x="282" y="126"/>
                  </a:lnTo>
                  <a:lnTo>
                    <a:pt x="294" y="126"/>
                  </a:lnTo>
                  <a:lnTo>
                    <a:pt x="300" y="132"/>
                  </a:lnTo>
                  <a:lnTo>
                    <a:pt x="306" y="144"/>
                  </a:lnTo>
                  <a:lnTo>
                    <a:pt x="312" y="144"/>
                  </a:lnTo>
                  <a:lnTo>
                    <a:pt x="312" y="150"/>
                  </a:lnTo>
                  <a:lnTo>
                    <a:pt x="312" y="162"/>
                  </a:lnTo>
                  <a:lnTo>
                    <a:pt x="312" y="174"/>
                  </a:lnTo>
                  <a:lnTo>
                    <a:pt x="324" y="180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30" y="192"/>
                  </a:lnTo>
                  <a:lnTo>
                    <a:pt x="336" y="198"/>
                  </a:lnTo>
                  <a:lnTo>
                    <a:pt x="342" y="192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54" y="180"/>
                  </a:lnTo>
                  <a:lnTo>
                    <a:pt x="354" y="174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84" y="192"/>
                  </a:lnTo>
                  <a:lnTo>
                    <a:pt x="390" y="204"/>
                  </a:lnTo>
                  <a:lnTo>
                    <a:pt x="390" y="210"/>
                  </a:lnTo>
                  <a:lnTo>
                    <a:pt x="390" y="216"/>
                  </a:lnTo>
                  <a:lnTo>
                    <a:pt x="384" y="234"/>
                  </a:lnTo>
                  <a:lnTo>
                    <a:pt x="390" y="240"/>
                  </a:lnTo>
                  <a:lnTo>
                    <a:pt x="408" y="252"/>
                  </a:lnTo>
                  <a:lnTo>
                    <a:pt x="414" y="264"/>
                  </a:lnTo>
                  <a:lnTo>
                    <a:pt x="408" y="300"/>
                  </a:lnTo>
                  <a:lnTo>
                    <a:pt x="414" y="312"/>
                  </a:lnTo>
                  <a:lnTo>
                    <a:pt x="426" y="336"/>
                  </a:lnTo>
                  <a:lnTo>
                    <a:pt x="438" y="354"/>
                  </a:lnTo>
                  <a:lnTo>
                    <a:pt x="444" y="366"/>
                  </a:lnTo>
                  <a:lnTo>
                    <a:pt x="456" y="366"/>
                  </a:lnTo>
                  <a:lnTo>
                    <a:pt x="474" y="378"/>
                  </a:lnTo>
                  <a:lnTo>
                    <a:pt x="474" y="384"/>
                  </a:lnTo>
                  <a:lnTo>
                    <a:pt x="480" y="390"/>
                  </a:lnTo>
                  <a:lnTo>
                    <a:pt x="486" y="396"/>
                  </a:lnTo>
                  <a:lnTo>
                    <a:pt x="486" y="402"/>
                  </a:lnTo>
                  <a:lnTo>
                    <a:pt x="480" y="408"/>
                  </a:lnTo>
                  <a:lnTo>
                    <a:pt x="486" y="408"/>
                  </a:lnTo>
                  <a:lnTo>
                    <a:pt x="486" y="414"/>
                  </a:lnTo>
                  <a:lnTo>
                    <a:pt x="492" y="414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32"/>
                  </a:lnTo>
                  <a:lnTo>
                    <a:pt x="498" y="438"/>
                  </a:lnTo>
                  <a:lnTo>
                    <a:pt x="492" y="432"/>
                  </a:lnTo>
                  <a:lnTo>
                    <a:pt x="486" y="426"/>
                  </a:lnTo>
                  <a:lnTo>
                    <a:pt x="486" y="420"/>
                  </a:lnTo>
                  <a:lnTo>
                    <a:pt x="486" y="414"/>
                  </a:lnTo>
                  <a:lnTo>
                    <a:pt x="480" y="414"/>
                  </a:lnTo>
                  <a:lnTo>
                    <a:pt x="480" y="408"/>
                  </a:lnTo>
                  <a:lnTo>
                    <a:pt x="474" y="408"/>
                  </a:lnTo>
                  <a:lnTo>
                    <a:pt x="468" y="408"/>
                  </a:lnTo>
                  <a:lnTo>
                    <a:pt x="468" y="402"/>
                  </a:lnTo>
                  <a:lnTo>
                    <a:pt x="462" y="402"/>
                  </a:lnTo>
                  <a:lnTo>
                    <a:pt x="462" y="408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80" y="426"/>
                  </a:lnTo>
                  <a:lnTo>
                    <a:pt x="486" y="426"/>
                  </a:lnTo>
                  <a:lnTo>
                    <a:pt x="486" y="432"/>
                  </a:lnTo>
                  <a:lnTo>
                    <a:pt x="492" y="438"/>
                  </a:lnTo>
                  <a:lnTo>
                    <a:pt x="498" y="438"/>
                  </a:lnTo>
                  <a:lnTo>
                    <a:pt x="504" y="444"/>
                  </a:lnTo>
                  <a:lnTo>
                    <a:pt x="510" y="444"/>
                  </a:lnTo>
                  <a:lnTo>
                    <a:pt x="510" y="450"/>
                  </a:lnTo>
                  <a:lnTo>
                    <a:pt x="510" y="456"/>
                  </a:lnTo>
                  <a:lnTo>
                    <a:pt x="516" y="456"/>
                  </a:lnTo>
                  <a:lnTo>
                    <a:pt x="516" y="462"/>
                  </a:lnTo>
                  <a:lnTo>
                    <a:pt x="522" y="462"/>
                  </a:lnTo>
                  <a:lnTo>
                    <a:pt x="522" y="468"/>
                  </a:lnTo>
                  <a:lnTo>
                    <a:pt x="528" y="468"/>
                  </a:lnTo>
                  <a:lnTo>
                    <a:pt x="534" y="468"/>
                  </a:lnTo>
                  <a:lnTo>
                    <a:pt x="534" y="474"/>
                  </a:lnTo>
                  <a:lnTo>
                    <a:pt x="540" y="474"/>
                  </a:lnTo>
                  <a:lnTo>
                    <a:pt x="540" y="480"/>
                  </a:lnTo>
                  <a:lnTo>
                    <a:pt x="546" y="486"/>
                  </a:lnTo>
                  <a:lnTo>
                    <a:pt x="546" y="492"/>
                  </a:lnTo>
                  <a:lnTo>
                    <a:pt x="546" y="498"/>
                  </a:lnTo>
                  <a:lnTo>
                    <a:pt x="546" y="504"/>
                  </a:lnTo>
                  <a:lnTo>
                    <a:pt x="540" y="504"/>
                  </a:lnTo>
                  <a:lnTo>
                    <a:pt x="546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10"/>
                  </a:lnTo>
                  <a:lnTo>
                    <a:pt x="552" y="516"/>
                  </a:lnTo>
                  <a:lnTo>
                    <a:pt x="552" y="522"/>
                  </a:lnTo>
                  <a:lnTo>
                    <a:pt x="552" y="528"/>
                  </a:lnTo>
                  <a:lnTo>
                    <a:pt x="552" y="534"/>
                  </a:lnTo>
                  <a:lnTo>
                    <a:pt x="552" y="540"/>
                  </a:lnTo>
                  <a:lnTo>
                    <a:pt x="546" y="540"/>
                  </a:lnTo>
                  <a:lnTo>
                    <a:pt x="546" y="546"/>
                  </a:lnTo>
                  <a:lnTo>
                    <a:pt x="546" y="540"/>
                  </a:lnTo>
                  <a:lnTo>
                    <a:pt x="546" y="534"/>
                  </a:lnTo>
                  <a:lnTo>
                    <a:pt x="540" y="534"/>
                  </a:lnTo>
                  <a:lnTo>
                    <a:pt x="540" y="528"/>
                  </a:lnTo>
                  <a:lnTo>
                    <a:pt x="534" y="528"/>
                  </a:lnTo>
                  <a:lnTo>
                    <a:pt x="528" y="528"/>
                  </a:lnTo>
                  <a:lnTo>
                    <a:pt x="522" y="528"/>
                  </a:lnTo>
                  <a:lnTo>
                    <a:pt x="516" y="528"/>
                  </a:lnTo>
                  <a:lnTo>
                    <a:pt x="510" y="528"/>
                  </a:lnTo>
                  <a:lnTo>
                    <a:pt x="510" y="534"/>
                  </a:lnTo>
                  <a:lnTo>
                    <a:pt x="510" y="528"/>
                  </a:lnTo>
                  <a:lnTo>
                    <a:pt x="516" y="528"/>
                  </a:lnTo>
                  <a:lnTo>
                    <a:pt x="522" y="528"/>
                  </a:lnTo>
                  <a:lnTo>
                    <a:pt x="528" y="528"/>
                  </a:lnTo>
                  <a:lnTo>
                    <a:pt x="534" y="534"/>
                  </a:lnTo>
                  <a:lnTo>
                    <a:pt x="540" y="534"/>
                  </a:lnTo>
                  <a:lnTo>
                    <a:pt x="540" y="540"/>
                  </a:lnTo>
                  <a:lnTo>
                    <a:pt x="540" y="546"/>
                  </a:lnTo>
                  <a:lnTo>
                    <a:pt x="546" y="546"/>
                  </a:lnTo>
                  <a:lnTo>
                    <a:pt x="546" y="552"/>
                  </a:lnTo>
                  <a:lnTo>
                    <a:pt x="552" y="552"/>
                  </a:lnTo>
                  <a:lnTo>
                    <a:pt x="552" y="558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0" y="576"/>
                  </a:lnTo>
                  <a:lnTo>
                    <a:pt x="540" y="582"/>
                  </a:lnTo>
                  <a:lnTo>
                    <a:pt x="540" y="588"/>
                  </a:lnTo>
                  <a:lnTo>
                    <a:pt x="534" y="594"/>
                  </a:lnTo>
                  <a:lnTo>
                    <a:pt x="534" y="600"/>
                  </a:lnTo>
                  <a:lnTo>
                    <a:pt x="528" y="600"/>
                  </a:lnTo>
                  <a:lnTo>
                    <a:pt x="522" y="594"/>
                  </a:lnTo>
                  <a:lnTo>
                    <a:pt x="528" y="600"/>
                  </a:lnTo>
                  <a:lnTo>
                    <a:pt x="534" y="600"/>
                  </a:lnTo>
                  <a:lnTo>
                    <a:pt x="534" y="606"/>
                  </a:lnTo>
                  <a:lnTo>
                    <a:pt x="528" y="606"/>
                  </a:lnTo>
                  <a:lnTo>
                    <a:pt x="528" y="612"/>
                  </a:lnTo>
                  <a:lnTo>
                    <a:pt x="522" y="612"/>
                  </a:lnTo>
                  <a:lnTo>
                    <a:pt x="522" y="618"/>
                  </a:lnTo>
                  <a:lnTo>
                    <a:pt x="522" y="624"/>
                  </a:lnTo>
                  <a:lnTo>
                    <a:pt x="510" y="624"/>
                  </a:lnTo>
                  <a:lnTo>
                    <a:pt x="498" y="624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0" y="624"/>
                  </a:lnTo>
                  <a:lnTo>
                    <a:pt x="474" y="624"/>
                  </a:lnTo>
                  <a:lnTo>
                    <a:pt x="468" y="618"/>
                  </a:lnTo>
                  <a:lnTo>
                    <a:pt x="456" y="618"/>
                  </a:lnTo>
                  <a:lnTo>
                    <a:pt x="450" y="618"/>
                  </a:lnTo>
                  <a:lnTo>
                    <a:pt x="426" y="618"/>
                  </a:lnTo>
                  <a:lnTo>
                    <a:pt x="420" y="618"/>
                  </a:lnTo>
                  <a:lnTo>
                    <a:pt x="414" y="618"/>
                  </a:lnTo>
                  <a:lnTo>
                    <a:pt x="408" y="618"/>
                  </a:lnTo>
                  <a:lnTo>
                    <a:pt x="396" y="618"/>
                  </a:lnTo>
                  <a:lnTo>
                    <a:pt x="366" y="618"/>
                  </a:lnTo>
                  <a:lnTo>
                    <a:pt x="348" y="624"/>
                  </a:lnTo>
                  <a:lnTo>
                    <a:pt x="342" y="624"/>
                  </a:lnTo>
                  <a:lnTo>
                    <a:pt x="342" y="618"/>
                  </a:lnTo>
                  <a:lnTo>
                    <a:pt x="336" y="618"/>
                  </a:lnTo>
                  <a:lnTo>
                    <a:pt x="336" y="612"/>
                  </a:lnTo>
                  <a:lnTo>
                    <a:pt x="342" y="612"/>
                  </a:lnTo>
                  <a:lnTo>
                    <a:pt x="348" y="612"/>
                  </a:lnTo>
                  <a:lnTo>
                    <a:pt x="342" y="612"/>
                  </a:lnTo>
                  <a:lnTo>
                    <a:pt x="336" y="612"/>
                  </a:lnTo>
                  <a:lnTo>
                    <a:pt x="336" y="606"/>
                  </a:lnTo>
                  <a:lnTo>
                    <a:pt x="330" y="606"/>
                  </a:lnTo>
                  <a:lnTo>
                    <a:pt x="330" y="600"/>
                  </a:lnTo>
                  <a:lnTo>
                    <a:pt x="324" y="600"/>
                  </a:lnTo>
                  <a:lnTo>
                    <a:pt x="324" y="606"/>
                  </a:lnTo>
                  <a:lnTo>
                    <a:pt x="318" y="606"/>
                  </a:lnTo>
                  <a:lnTo>
                    <a:pt x="318" y="612"/>
                  </a:lnTo>
                  <a:lnTo>
                    <a:pt x="312" y="612"/>
                  </a:lnTo>
                  <a:lnTo>
                    <a:pt x="306" y="606"/>
                  </a:lnTo>
                  <a:lnTo>
                    <a:pt x="306" y="612"/>
                  </a:lnTo>
                  <a:lnTo>
                    <a:pt x="312" y="612"/>
                  </a:lnTo>
                  <a:lnTo>
                    <a:pt x="318" y="612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30" y="606"/>
                  </a:lnTo>
                  <a:lnTo>
                    <a:pt x="336" y="612"/>
                  </a:lnTo>
                  <a:lnTo>
                    <a:pt x="336" y="618"/>
                  </a:lnTo>
                  <a:lnTo>
                    <a:pt x="330" y="618"/>
                  </a:lnTo>
                  <a:lnTo>
                    <a:pt x="336" y="618"/>
                  </a:lnTo>
                  <a:lnTo>
                    <a:pt x="336" y="624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288" y="624"/>
                  </a:lnTo>
                  <a:lnTo>
                    <a:pt x="282" y="624"/>
                  </a:lnTo>
                  <a:lnTo>
                    <a:pt x="270" y="630"/>
                  </a:lnTo>
                  <a:lnTo>
                    <a:pt x="264" y="630"/>
                  </a:lnTo>
                  <a:lnTo>
                    <a:pt x="258" y="630"/>
                  </a:lnTo>
                  <a:lnTo>
                    <a:pt x="252" y="630"/>
                  </a:lnTo>
                  <a:lnTo>
                    <a:pt x="246" y="630"/>
                  </a:lnTo>
                  <a:lnTo>
                    <a:pt x="240" y="630"/>
                  </a:lnTo>
                  <a:lnTo>
                    <a:pt x="228" y="636"/>
                  </a:lnTo>
                  <a:lnTo>
                    <a:pt x="222" y="636"/>
                  </a:lnTo>
                  <a:lnTo>
                    <a:pt x="210" y="636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42"/>
                  </a:lnTo>
                  <a:lnTo>
                    <a:pt x="186" y="642"/>
                  </a:lnTo>
                  <a:lnTo>
                    <a:pt x="180" y="642"/>
                  </a:lnTo>
                  <a:lnTo>
                    <a:pt x="168" y="642"/>
                  </a:lnTo>
                  <a:lnTo>
                    <a:pt x="162" y="642"/>
                  </a:lnTo>
                  <a:lnTo>
                    <a:pt x="162" y="648"/>
                  </a:lnTo>
                  <a:lnTo>
                    <a:pt x="156" y="648"/>
                  </a:lnTo>
                  <a:lnTo>
                    <a:pt x="150" y="648"/>
                  </a:lnTo>
                  <a:lnTo>
                    <a:pt x="144" y="648"/>
                  </a:lnTo>
                  <a:lnTo>
                    <a:pt x="138" y="648"/>
                  </a:lnTo>
                  <a:lnTo>
                    <a:pt x="132" y="648"/>
                  </a:lnTo>
                  <a:lnTo>
                    <a:pt x="126" y="642"/>
                  </a:lnTo>
                  <a:lnTo>
                    <a:pt x="126" y="636"/>
                  </a:lnTo>
                  <a:lnTo>
                    <a:pt x="120" y="636"/>
                  </a:lnTo>
                  <a:lnTo>
                    <a:pt x="126" y="642"/>
                  </a:lnTo>
                  <a:lnTo>
                    <a:pt x="126" y="648"/>
                  </a:lnTo>
                  <a:lnTo>
                    <a:pt x="132" y="648"/>
                  </a:lnTo>
                  <a:lnTo>
                    <a:pt x="126" y="654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54"/>
                  </a:lnTo>
                  <a:lnTo>
                    <a:pt x="108" y="660"/>
                  </a:lnTo>
                  <a:lnTo>
                    <a:pt x="108" y="654"/>
                  </a:lnTo>
                  <a:lnTo>
                    <a:pt x="102" y="654"/>
                  </a:lnTo>
                  <a:lnTo>
                    <a:pt x="102" y="660"/>
                  </a:lnTo>
                  <a:lnTo>
                    <a:pt x="108" y="660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0" y="660"/>
                  </a:lnTo>
                  <a:lnTo>
                    <a:pt x="90" y="654"/>
                  </a:lnTo>
                  <a:lnTo>
                    <a:pt x="84" y="648"/>
                  </a:lnTo>
                  <a:lnTo>
                    <a:pt x="84" y="642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72" y="636"/>
                  </a:lnTo>
                  <a:lnTo>
                    <a:pt x="78" y="636"/>
                  </a:lnTo>
                  <a:lnTo>
                    <a:pt x="72" y="636"/>
                  </a:lnTo>
                  <a:lnTo>
                    <a:pt x="66" y="636"/>
                  </a:lnTo>
                  <a:lnTo>
                    <a:pt x="60" y="636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60" y="618"/>
                  </a:lnTo>
                  <a:lnTo>
                    <a:pt x="66" y="618"/>
                  </a:lnTo>
                  <a:lnTo>
                    <a:pt x="72" y="618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2" y="612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12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54" y="618"/>
                  </a:lnTo>
                  <a:lnTo>
                    <a:pt x="54" y="624"/>
                  </a:lnTo>
                  <a:lnTo>
                    <a:pt x="48" y="618"/>
                  </a:lnTo>
                  <a:lnTo>
                    <a:pt x="42" y="618"/>
                  </a:lnTo>
                  <a:lnTo>
                    <a:pt x="42" y="612"/>
                  </a:lnTo>
                  <a:lnTo>
                    <a:pt x="48" y="606"/>
                  </a:lnTo>
                  <a:lnTo>
                    <a:pt x="54" y="606"/>
                  </a:lnTo>
                  <a:lnTo>
                    <a:pt x="54" y="600"/>
                  </a:lnTo>
                  <a:lnTo>
                    <a:pt x="54" y="594"/>
                  </a:lnTo>
                  <a:lnTo>
                    <a:pt x="54" y="588"/>
                  </a:lnTo>
                  <a:lnTo>
                    <a:pt x="48" y="588"/>
                  </a:lnTo>
                  <a:lnTo>
                    <a:pt x="48" y="582"/>
                  </a:lnTo>
                  <a:lnTo>
                    <a:pt x="42" y="582"/>
                  </a:lnTo>
                  <a:lnTo>
                    <a:pt x="42" y="570"/>
                  </a:lnTo>
                  <a:lnTo>
                    <a:pt x="42" y="564"/>
                  </a:lnTo>
                  <a:lnTo>
                    <a:pt x="36" y="564"/>
                  </a:lnTo>
                  <a:close/>
                  <a:moveTo>
                    <a:pt x="498" y="420"/>
                  </a:moveTo>
                  <a:lnTo>
                    <a:pt x="504" y="426"/>
                  </a:lnTo>
                  <a:lnTo>
                    <a:pt x="510" y="432"/>
                  </a:lnTo>
                  <a:lnTo>
                    <a:pt x="516" y="432"/>
                  </a:lnTo>
                  <a:lnTo>
                    <a:pt x="516" y="438"/>
                  </a:lnTo>
                  <a:lnTo>
                    <a:pt x="510" y="438"/>
                  </a:lnTo>
                  <a:lnTo>
                    <a:pt x="504" y="438"/>
                  </a:lnTo>
                  <a:lnTo>
                    <a:pt x="504" y="432"/>
                  </a:lnTo>
                  <a:lnTo>
                    <a:pt x="498" y="432"/>
                  </a:lnTo>
                  <a:lnTo>
                    <a:pt x="498" y="426"/>
                  </a:lnTo>
                  <a:lnTo>
                    <a:pt x="498" y="4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4" name="Freeform 9">
              <a:extLst>
                <a:ext uri="{FF2B5EF4-FFF2-40B4-BE49-F238E27FC236}">
                  <a16:creationId xmlns:a16="http://schemas.microsoft.com/office/drawing/2014/main" id="{E0116D32-BD2E-45EA-B818-A3082585D5F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3055" y="2468650"/>
              <a:ext cx="800556" cy="1207710"/>
            </a:xfrm>
            <a:custGeom>
              <a:avLst/>
              <a:gdLst>
                <a:gd name="T0" fmla="*/ 24 w 1506"/>
                <a:gd name="T1" fmla="*/ 190 h 2274"/>
                <a:gd name="T2" fmla="*/ 25 w 1506"/>
                <a:gd name="T3" fmla="*/ 180 h 2274"/>
                <a:gd name="T4" fmla="*/ 21 w 1506"/>
                <a:gd name="T5" fmla="*/ 174 h 2274"/>
                <a:gd name="T6" fmla="*/ 17 w 1506"/>
                <a:gd name="T7" fmla="*/ 170 h 2274"/>
                <a:gd name="T8" fmla="*/ 12 w 1506"/>
                <a:gd name="T9" fmla="*/ 168 h 2274"/>
                <a:gd name="T10" fmla="*/ 10 w 1506"/>
                <a:gd name="T11" fmla="*/ 173 h 2274"/>
                <a:gd name="T12" fmla="*/ 7 w 1506"/>
                <a:gd name="T13" fmla="*/ 174 h 2274"/>
                <a:gd name="T14" fmla="*/ 0 w 1506"/>
                <a:gd name="T15" fmla="*/ 163 h 2274"/>
                <a:gd name="T16" fmla="*/ 16 w 1506"/>
                <a:gd name="T17" fmla="*/ 140 h 2274"/>
                <a:gd name="T18" fmla="*/ 19 w 1506"/>
                <a:gd name="T19" fmla="*/ 137 h 2274"/>
                <a:gd name="T20" fmla="*/ 24 w 1506"/>
                <a:gd name="T21" fmla="*/ 126 h 2274"/>
                <a:gd name="T22" fmla="*/ 23 w 1506"/>
                <a:gd name="T23" fmla="*/ 105 h 2274"/>
                <a:gd name="T24" fmla="*/ 14 w 1506"/>
                <a:gd name="T25" fmla="*/ 86 h 2274"/>
                <a:gd name="T26" fmla="*/ 8 w 1506"/>
                <a:gd name="T27" fmla="*/ 84 h 2274"/>
                <a:gd name="T28" fmla="*/ 5 w 1506"/>
                <a:gd name="T29" fmla="*/ 79 h 2274"/>
                <a:gd name="T30" fmla="*/ 16 w 1506"/>
                <a:gd name="T31" fmla="*/ 71 h 2274"/>
                <a:gd name="T32" fmla="*/ 28 w 1506"/>
                <a:gd name="T33" fmla="*/ 55 h 2274"/>
                <a:gd name="T34" fmla="*/ 29 w 1506"/>
                <a:gd name="T35" fmla="*/ 48 h 2274"/>
                <a:gd name="T36" fmla="*/ 35 w 1506"/>
                <a:gd name="T37" fmla="*/ 50 h 2274"/>
                <a:gd name="T38" fmla="*/ 42 w 1506"/>
                <a:gd name="T39" fmla="*/ 47 h 2274"/>
                <a:gd name="T40" fmla="*/ 63 w 1506"/>
                <a:gd name="T41" fmla="*/ 34 h 2274"/>
                <a:gd name="T42" fmla="*/ 74 w 1506"/>
                <a:gd name="T43" fmla="*/ 27 h 2274"/>
                <a:gd name="T44" fmla="*/ 81 w 1506"/>
                <a:gd name="T45" fmla="*/ 20 h 2274"/>
                <a:gd name="T46" fmla="*/ 89 w 1506"/>
                <a:gd name="T47" fmla="*/ 20 h 2274"/>
                <a:gd name="T48" fmla="*/ 98 w 1506"/>
                <a:gd name="T49" fmla="*/ 27 h 2274"/>
                <a:gd name="T50" fmla="*/ 106 w 1506"/>
                <a:gd name="T51" fmla="*/ 17 h 2274"/>
                <a:gd name="T52" fmla="*/ 111 w 1506"/>
                <a:gd name="T53" fmla="*/ 8 h 2274"/>
                <a:gd name="T54" fmla="*/ 121 w 1506"/>
                <a:gd name="T55" fmla="*/ 2 h 2274"/>
                <a:gd name="T56" fmla="*/ 129 w 1506"/>
                <a:gd name="T57" fmla="*/ 5 h 2274"/>
                <a:gd name="T58" fmla="*/ 125 w 1506"/>
                <a:gd name="T59" fmla="*/ 12 h 2274"/>
                <a:gd name="T60" fmla="*/ 122 w 1506"/>
                <a:gd name="T61" fmla="*/ 20 h 2274"/>
                <a:gd name="T62" fmla="*/ 122 w 1506"/>
                <a:gd name="T63" fmla="*/ 27 h 2274"/>
                <a:gd name="T64" fmla="*/ 120 w 1506"/>
                <a:gd name="T65" fmla="*/ 36 h 2274"/>
                <a:gd name="T66" fmla="*/ 116 w 1506"/>
                <a:gd name="T67" fmla="*/ 43 h 2274"/>
                <a:gd name="T68" fmla="*/ 109 w 1506"/>
                <a:gd name="T69" fmla="*/ 47 h 2274"/>
                <a:gd name="T70" fmla="*/ 108 w 1506"/>
                <a:gd name="T71" fmla="*/ 54 h 2274"/>
                <a:gd name="T72" fmla="*/ 106 w 1506"/>
                <a:gd name="T73" fmla="*/ 59 h 2274"/>
                <a:gd name="T74" fmla="*/ 109 w 1506"/>
                <a:gd name="T75" fmla="*/ 64 h 2274"/>
                <a:gd name="T76" fmla="*/ 106 w 1506"/>
                <a:gd name="T77" fmla="*/ 70 h 2274"/>
                <a:gd name="T78" fmla="*/ 105 w 1506"/>
                <a:gd name="T79" fmla="*/ 75 h 2274"/>
                <a:gd name="T80" fmla="*/ 101 w 1506"/>
                <a:gd name="T81" fmla="*/ 78 h 2274"/>
                <a:gd name="T82" fmla="*/ 92 w 1506"/>
                <a:gd name="T83" fmla="*/ 81 h 2274"/>
                <a:gd name="T84" fmla="*/ 85 w 1506"/>
                <a:gd name="T85" fmla="*/ 85 h 2274"/>
                <a:gd name="T86" fmla="*/ 87 w 1506"/>
                <a:gd name="T87" fmla="*/ 91 h 2274"/>
                <a:gd name="T88" fmla="*/ 86 w 1506"/>
                <a:gd name="T89" fmla="*/ 98 h 2274"/>
                <a:gd name="T90" fmla="*/ 86 w 1506"/>
                <a:gd name="T91" fmla="*/ 103 h 2274"/>
                <a:gd name="T92" fmla="*/ 82 w 1506"/>
                <a:gd name="T93" fmla="*/ 111 h 2274"/>
                <a:gd name="T94" fmla="*/ 81 w 1506"/>
                <a:gd name="T95" fmla="*/ 116 h 2274"/>
                <a:gd name="T96" fmla="*/ 78 w 1506"/>
                <a:gd name="T97" fmla="*/ 120 h 2274"/>
                <a:gd name="T98" fmla="*/ 76 w 1506"/>
                <a:gd name="T99" fmla="*/ 126 h 2274"/>
                <a:gd name="T100" fmla="*/ 68 w 1506"/>
                <a:gd name="T101" fmla="*/ 129 h 2274"/>
                <a:gd name="T102" fmla="*/ 62 w 1506"/>
                <a:gd name="T103" fmla="*/ 131 h 2274"/>
                <a:gd name="T104" fmla="*/ 58 w 1506"/>
                <a:gd name="T105" fmla="*/ 136 h 2274"/>
                <a:gd name="T106" fmla="*/ 51 w 1506"/>
                <a:gd name="T107" fmla="*/ 138 h 2274"/>
                <a:gd name="T108" fmla="*/ 51 w 1506"/>
                <a:gd name="T109" fmla="*/ 147 h 2274"/>
                <a:gd name="T110" fmla="*/ 49 w 1506"/>
                <a:gd name="T111" fmla="*/ 159 h 2274"/>
                <a:gd name="T112" fmla="*/ 48 w 1506"/>
                <a:gd name="T113" fmla="*/ 166 h 2274"/>
                <a:gd name="T114" fmla="*/ 41 w 1506"/>
                <a:gd name="T115" fmla="*/ 174 h 2274"/>
                <a:gd name="T116" fmla="*/ 39 w 1506"/>
                <a:gd name="T117" fmla="*/ 181 h 2274"/>
                <a:gd name="T118" fmla="*/ 37 w 1506"/>
                <a:gd name="T119" fmla="*/ 190 h 2274"/>
                <a:gd name="T120" fmla="*/ 29 w 1506"/>
                <a:gd name="T121" fmla="*/ 198 h 22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06"/>
                <a:gd name="T184" fmla="*/ 0 h 2274"/>
                <a:gd name="T185" fmla="*/ 1506 w 1506"/>
                <a:gd name="T186" fmla="*/ 2274 h 227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06" h="2274">
                  <a:moveTo>
                    <a:pt x="330" y="2274"/>
                  </a:moveTo>
                  <a:lnTo>
                    <a:pt x="318" y="2262"/>
                  </a:lnTo>
                  <a:lnTo>
                    <a:pt x="312" y="2238"/>
                  </a:lnTo>
                  <a:lnTo>
                    <a:pt x="312" y="2232"/>
                  </a:lnTo>
                  <a:lnTo>
                    <a:pt x="294" y="2214"/>
                  </a:lnTo>
                  <a:lnTo>
                    <a:pt x="288" y="2208"/>
                  </a:lnTo>
                  <a:lnTo>
                    <a:pt x="288" y="2202"/>
                  </a:lnTo>
                  <a:lnTo>
                    <a:pt x="276" y="2196"/>
                  </a:lnTo>
                  <a:lnTo>
                    <a:pt x="276" y="2190"/>
                  </a:lnTo>
                  <a:lnTo>
                    <a:pt x="282" y="2190"/>
                  </a:lnTo>
                  <a:lnTo>
                    <a:pt x="282" y="2184"/>
                  </a:lnTo>
                  <a:lnTo>
                    <a:pt x="276" y="2172"/>
                  </a:lnTo>
                  <a:lnTo>
                    <a:pt x="276" y="2166"/>
                  </a:lnTo>
                  <a:lnTo>
                    <a:pt x="282" y="2166"/>
                  </a:lnTo>
                  <a:lnTo>
                    <a:pt x="282" y="2154"/>
                  </a:lnTo>
                  <a:lnTo>
                    <a:pt x="276" y="2136"/>
                  </a:lnTo>
                  <a:lnTo>
                    <a:pt x="276" y="2112"/>
                  </a:lnTo>
                  <a:lnTo>
                    <a:pt x="282" y="2088"/>
                  </a:lnTo>
                  <a:lnTo>
                    <a:pt x="282" y="2082"/>
                  </a:lnTo>
                  <a:lnTo>
                    <a:pt x="282" y="2076"/>
                  </a:lnTo>
                  <a:lnTo>
                    <a:pt x="282" y="2070"/>
                  </a:lnTo>
                  <a:lnTo>
                    <a:pt x="288" y="2070"/>
                  </a:lnTo>
                  <a:lnTo>
                    <a:pt x="288" y="2064"/>
                  </a:lnTo>
                  <a:lnTo>
                    <a:pt x="282" y="2052"/>
                  </a:lnTo>
                  <a:lnTo>
                    <a:pt x="282" y="2046"/>
                  </a:lnTo>
                  <a:lnTo>
                    <a:pt x="276" y="2040"/>
                  </a:lnTo>
                  <a:lnTo>
                    <a:pt x="270" y="2034"/>
                  </a:lnTo>
                  <a:lnTo>
                    <a:pt x="264" y="2022"/>
                  </a:lnTo>
                  <a:lnTo>
                    <a:pt x="258" y="2022"/>
                  </a:lnTo>
                  <a:lnTo>
                    <a:pt x="258" y="2016"/>
                  </a:lnTo>
                  <a:lnTo>
                    <a:pt x="252" y="2016"/>
                  </a:lnTo>
                  <a:lnTo>
                    <a:pt x="246" y="2016"/>
                  </a:lnTo>
                  <a:lnTo>
                    <a:pt x="240" y="2010"/>
                  </a:lnTo>
                  <a:lnTo>
                    <a:pt x="234" y="2004"/>
                  </a:lnTo>
                  <a:lnTo>
                    <a:pt x="228" y="2004"/>
                  </a:lnTo>
                  <a:lnTo>
                    <a:pt x="228" y="1998"/>
                  </a:lnTo>
                  <a:lnTo>
                    <a:pt x="228" y="1992"/>
                  </a:lnTo>
                  <a:lnTo>
                    <a:pt x="222" y="1992"/>
                  </a:lnTo>
                  <a:lnTo>
                    <a:pt x="222" y="1986"/>
                  </a:lnTo>
                  <a:lnTo>
                    <a:pt x="216" y="1986"/>
                  </a:lnTo>
                  <a:lnTo>
                    <a:pt x="210" y="1980"/>
                  </a:lnTo>
                  <a:lnTo>
                    <a:pt x="216" y="1974"/>
                  </a:lnTo>
                  <a:lnTo>
                    <a:pt x="210" y="1968"/>
                  </a:lnTo>
                  <a:lnTo>
                    <a:pt x="198" y="1956"/>
                  </a:lnTo>
                  <a:lnTo>
                    <a:pt x="192" y="1956"/>
                  </a:lnTo>
                  <a:lnTo>
                    <a:pt x="186" y="1956"/>
                  </a:lnTo>
                  <a:lnTo>
                    <a:pt x="180" y="1944"/>
                  </a:lnTo>
                  <a:lnTo>
                    <a:pt x="180" y="1938"/>
                  </a:lnTo>
                  <a:lnTo>
                    <a:pt x="174" y="1932"/>
                  </a:lnTo>
                  <a:lnTo>
                    <a:pt x="168" y="1932"/>
                  </a:lnTo>
                  <a:lnTo>
                    <a:pt x="162" y="1932"/>
                  </a:lnTo>
                  <a:lnTo>
                    <a:pt x="150" y="1932"/>
                  </a:lnTo>
                  <a:lnTo>
                    <a:pt x="150" y="1926"/>
                  </a:lnTo>
                  <a:lnTo>
                    <a:pt x="150" y="1932"/>
                  </a:lnTo>
                  <a:lnTo>
                    <a:pt x="144" y="1932"/>
                  </a:lnTo>
                  <a:lnTo>
                    <a:pt x="138" y="1932"/>
                  </a:lnTo>
                  <a:lnTo>
                    <a:pt x="132" y="1932"/>
                  </a:lnTo>
                  <a:lnTo>
                    <a:pt x="132" y="1938"/>
                  </a:lnTo>
                  <a:lnTo>
                    <a:pt x="126" y="1944"/>
                  </a:lnTo>
                  <a:lnTo>
                    <a:pt x="126" y="1956"/>
                  </a:lnTo>
                  <a:lnTo>
                    <a:pt x="120" y="1968"/>
                  </a:lnTo>
                  <a:lnTo>
                    <a:pt x="120" y="1974"/>
                  </a:lnTo>
                  <a:lnTo>
                    <a:pt x="120" y="1980"/>
                  </a:lnTo>
                  <a:lnTo>
                    <a:pt x="126" y="1980"/>
                  </a:lnTo>
                  <a:lnTo>
                    <a:pt x="120" y="1986"/>
                  </a:lnTo>
                  <a:lnTo>
                    <a:pt x="120" y="1992"/>
                  </a:lnTo>
                  <a:lnTo>
                    <a:pt x="114" y="1992"/>
                  </a:lnTo>
                  <a:lnTo>
                    <a:pt x="114" y="1986"/>
                  </a:lnTo>
                  <a:lnTo>
                    <a:pt x="108" y="1992"/>
                  </a:lnTo>
                  <a:lnTo>
                    <a:pt x="108" y="1998"/>
                  </a:lnTo>
                  <a:lnTo>
                    <a:pt x="114" y="2004"/>
                  </a:lnTo>
                  <a:lnTo>
                    <a:pt x="108" y="2004"/>
                  </a:lnTo>
                  <a:lnTo>
                    <a:pt x="102" y="2010"/>
                  </a:lnTo>
                  <a:lnTo>
                    <a:pt x="102" y="2004"/>
                  </a:lnTo>
                  <a:lnTo>
                    <a:pt x="90" y="2004"/>
                  </a:lnTo>
                  <a:lnTo>
                    <a:pt x="84" y="2004"/>
                  </a:lnTo>
                  <a:lnTo>
                    <a:pt x="78" y="1998"/>
                  </a:lnTo>
                  <a:lnTo>
                    <a:pt x="78" y="1992"/>
                  </a:lnTo>
                  <a:lnTo>
                    <a:pt x="78" y="1986"/>
                  </a:lnTo>
                  <a:lnTo>
                    <a:pt x="72" y="1986"/>
                  </a:lnTo>
                  <a:lnTo>
                    <a:pt x="66" y="1980"/>
                  </a:lnTo>
                  <a:lnTo>
                    <a:pt x="66" y="1968"/>
                  </a:lnTo>
                  <a:lnTo>
                    <a:pt x="60" y="1956"/>
                  </a:lnTo>
                  <a:lnTo>
                    <a:pt x="60" y="1950"/>
                  </a:lnTo>
                  <a:lnTo>
                    <a:pt x="48" y="1944"/>
                  </a:lnTo>
                  <a:lnTo>
                    <a:pt x="30" y="1926"/>
                  </a:lnTo>
                  <a:lnTo>
                    <a:pt x="12" y="1890"/>
                  </a:lnTo>
                  <a:lnTo>
                    <a:pt x="6" y="1872"/>
                  </a:lnTo>
                  <a:lnTo>
                    <a:pt x="0" y="1854"/>
                  </a:lnTo>
                  <a:lnTo>
                    <a:pt x="6" y="1824"/>
                  </a:lnTo>
                  <a:lnTo>
                    <a:pt x="30" y="1794"/>
                  </a:lnTo>
                  <a:lnTo>
                    <a:pt x="66" y="1752"/>
                  </a:lnTo>
                  <a:lnTo>
                    <a:pt x="72" y="1752"/>
                  </a:lnTo>
                  <a:lnTo>
                    <a:pt x="78" y="1746"/>
                  </a:lnTo>
                  <a:lnTo>
                    <a:pt x="84" y="1746"/>
                  </a:lnTo>
                  <a:lnTo>
                    <a:pt x="90" y="1746"/>
                  </a:lnTo>
                  <a:lnTo>
                    <a:pt x="138" y="1674"/>
                  </a:lnTo>
                  <a:lnTo>
                    <a:pt x="186" y="1620"/>
                  </a:lnTo>
                  <a:lnTo>
                    <a:pt x="186" y="1614"/>
                  </a:lnTo>
                  <a:lnTo>
                    <a:pt x="186" y="1608"/>
                  </a:lnTo>
                  <a:lnTo>
                    <a:pt x="192" y="1608"/>
                  </a:lnTo>
                  <a:lnTo>
                    <a:pt x="192" y="1614"/>
                  </a:lnTo>
                  <a:lnTo>
                    <a:pt x="198" y="1614"/>
                  </a:lnTo>
                  <a:lnTo>
                    <a:pt x="198" y="1608"/>
                  </a:lnTo>
                  <a:lnTo>
                    <a:pt x="198" y="1602"/>
                  </a:lnTo>
                  <a:lnTo>
                    <a:pt x="204" y="1602"/>
                  </a:lnTo>
                  <a:lnTo>
                    <a:pt x="204" y="1596"/>
                  </a:lnTo>
                  <a:lnTo>
                    <a:pt x="210" y="1590"/>
                  </a:lnTo>
                  <a:lnTo>
                    <a:pt x="216" y="1590"/>
                  </a:lnTo>
                  <a:lnTo>
                    <a:pt x="216" y="1584"/>
                  </a:lnTo>
                  <a:lnTo>
                    <a:pt x="222" y="1584"/>
                  </a:lnTo>
                  <a:lnTo>
                    <a:pt x="228" y="1572"/>
                  </a:lnTo>
                  <a:lnTo>
                    <a:pt x="222" y="1572"/>
                  </a:lnTo>
                  <a:lnTo>
                    <a:pt x="228" y="1566"/>
                  </a:lnTo>
                  <a:lnTo>
                    <a:pt x="228" y="1560"/>
                  </a:lnTo>
                  <a:lnTo>
                    <a:pt x="252" y="1548"/>
                  </a:lnTo>
                  <a:lnTo>
                    <a:pt x="276" y="1530"/>
                  </a:lnTo>
                  <a:lnTo>
                    <a:pt x="282" y="1512"/>
                  </a:lnTo>
                  <a:lnTo>
                    <a:pt x="282" y="1506"/>
                  </a:lnTo>
                  <a:lnTo>
                    <a:pt x="282" y="1494"/>
                  </a:lnTo>
                  <a:lnTo>
                    <a:pt x="282" y="1452"/>
                  </a:lnTo>
                  <a:lnTo>
                    <a:pt x="288" y="1440"/>
                  </a:lnTo>
                  <a:lnTo>
                    <a:pt x="294" y="1440"/>
                  </a:lnTo>
                  <a:lnTo>
                    <a:pt x="294" y="1428"/>
                  </a:lnTo>
                  <a:lnTo>
                    <a:pt x="324" y="1368"/>
                  </a:lnTo>
                  <a:lnTo>
                    <a:pt x="330" y="1362"/>
                  </a:lnTo>
                  <a:lnTo>
                    <a:pt x="330" y="1356"/>
                  </a:lnTo>
                  <a:lnTo>
                    <a:pt x="360" y="1338"/>
                  </a:lnTo>
                  <a:lnTo>
                    <a:pt x="366" y="1296"/>
                  </a:lnTo>
                  <a:lnTo>
                    <a:pt x="354" y="1278"/>
                  </a:lnTo>
                  <a:lnTo>
                    <a:pt x="336" y="1230"/>
                  </a:lnTo>
                  <a:lnTo>
                    <a:pt x="270" y="1212"/>
                  </a:lnTo>
                  <a:lnTo>
                    <a:pt x="264" y="1212"/>
                  </a:lnTo>
                  <a:lnTo>
                    <a:pt x="252" y="1200"/>
                  </a:lnTo>
                  <a:lnTo>
                    <a:pt x="234" y="1188"/>
                  </a:lnTo>
                  <a:lnTo>
                    <a:pt x="222" y="1182"/>
                  </a:lnTo>
                  <a:lnTo>
                    <a:pt x="228" y="1104"/>
                  </a:lnTo>
                  <a:lnTo>
                    <a:pt x="228" y="1098"/>
                  </a:lnTo>
                  <a:lnTo>
                    <a:pt x="198" y="1038"/>
                  </a:lnTo>
                  <a:lnTo>
                    <a:pt x="192" y="1032"/>
                  </a:lnTo>
                  <a:lnTo>
                    <a:pt x="180" y="1020"/>
                  </a:lnTo>
                  <a:lnTo>
                    <a:pt x="168" y="996"/>
                  </a:lnTo>
                  <a:lnTo>
                    <a:pt x="162" y="990"/>
                  </a:lnTo>
                  <a:lnTo>
                    <a:pt x="156" y="990"/>
                  </a:lnTo>
                  <a:lnTo>
                    <a:pt x="150" y="990"/>
                  </a:lnTo>
                  <a:lnTo>
                    <a:pt x="132" y="990"/>
                  </a:lnTo>
                  <a:lnTo>
                    <a:pt x="120" y="984"/>
                  </a:lnTo>
                  <a:lnTo>
                    <a:pt x="120" y="990"/>
                  </a:lnTo>
                  <a:lnTo>
                    <a:pt x="114" y="990"/>
                  </a:lnTo>
                  <a:lnTo>
                    <a:pt x="102" y="984"/>
                  </a:lnTo>
                  <a:lnTo>
                    <a:pt x="96" y="984"/>
                  </a:lnTo>
                  <a:lnTo>
                    <a:pt x="96" y="978"/>
                  </a:lnTo>
                  <a:lnTo>
                    <a:pt x="90" y="978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84" y="960"/>
                  </a:lnTo>
                  <a:lnTo>
                    <a:pt x="84" y="954"/>
                  </a:lnTo>
                  <a:lnTo>
                    <a:pt x="78" y="948"/>
                  </a:lnTo>
                  <a:lnTo>
                    <a:pt x="72" y="948"/>
                  </a:lnTo>
                  <a:lnTo>
                    <a:pt x="72" y="942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06"/>
                  </a:lnTo>
                  <a:lnTo>
                    <a:pt x="60" y="888"/>
                  </a:lnTo>
                  <a:lnTo>
                    <a:pt x="54" y="882"/>
                  </a:lnTo>
                  <a:lnTo>
                    <a:pt x="60" y="882"/>
                  </a:lnTo>
                  <a:lnTo>
                    <a:pt x="72" y="876"/>
                  </a:lnTo>
                  <a:lnTo>
                    <a:pt x="78" y="876"/>
                  </a:lnTo>
                  <a:lnTo>
                    <a:pt x="90" y="870"/>
                  </a:lnTo>
                  <a:lnTo>
                    <a:pt x="90" y="864"/>
                  </a:lnTo>
                  <a:lnTo>
                    <a:pt x="96" y="840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80" y="822"/>
                  </a:lnTo>
                  <a:lnTo>
                    <a:pt x="204" y="798"/>
                  </a:lnTo>
                  <a:lnTo>
                    <a:pt x="222" y="786"/>
                  </a:lnTo>
                  <a:lnTo>
                    <a:pt x="252" y="780"/>
                  </a:lnTo>
                  <a:lnTo>
                    <a:pt x="264" y="762"/>
                  </a:lnTo>
                  <a:lnTo>
                    <a:pt x="276" y="762"/>
                  </a:lnTo>
                  <a:lnTo>
                    <a:pt x="288" y="744"/>
                  </a:lnTo>
                  <a:lnTo>
                    <a:pt x="306" y="738"/>
                  </a:lnTo>
                  <a:lnTo>
                    <a:pt x="318" y="732"/>
                  </a:lnTo>
                  <a:lnTo>
                    <a:pt x="324" y="648"/>
                  </a:lnTo>
                  <a:lnTo>
                    <a:pt x="324" y="636"/>
                  </a:lnTo>
                  <a:lnTo>
                    <a:pt x="324" y="630"/>
                  </a:lnTo>
                  <a:lnTo>
                    <a:pt x="330" y="624"/>
                  </a:lnTo>
                  <a:lnTo>
                    <a:pt x="324" y="618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24" y="588"/>
                  </a:lnTo>
                  <a:lnTo>
                    <a:pt x="318" y="576"/>
                  </a:lnTo>
                  <a:lnTo>
                    <a:pt x="318" y="570"/>
                  </a:lnTo>
                  <a:lnTo>
                    <a:pt x="324" y="570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30" y="558"/>
                  </a:lnTo>
                  <a:lnTo>
                    <a:pt x="336" y="558"/>
                  </a:lnTo>
                  <a:lnTo>
                    <a:pt x="342" y="558"/>
                  </a:lnTo>
                  <a:lnTo>
                    <a:pt x="348" y="558"/>
                  </a:lnTo>
                  <a:lnTo>
                    <a:pt x="354" y="564"/>
                  </a:lnTo>
                  <a:lnTo>
                    <a:pt x="360" y="564"/>
                  </a:lnTo>
                  <a:lnTo>
                    <a:pt x="366" y="570"/>
                  </a:lnTo>
                  <a:lnTo>
                    <a:pt x="366" y="576"/>
                  </a:lnTo>
                  <a:lnTo>
                    <a:pt x="372" y="570"/>
                  </a:lnTo>
                  <a:lnTo>
                    <a:pt x="378" y="570"/>
                  </a:lnTo>
                  <a:lnTo>
                    <a:pt x="390" y="570"/>
                  </a:lnTo>
                  <a:lnTo>
                    <a:pt x="402" y="570"/>
                  </a:lnTo>
                  <a:lnTo>
                    <a:pt x="408" y="570"/>
                  </a:lnTo>
                  <a:lnTo>
                    <a:pt x="414" y="564"/>
                  </a:lnTo>
                  <a:lnTo>
                    <a:pt x="420" y="564"/>
                  </a:lnTo>
                  <a:lnTo>
                    <a:pt x="420" y="570"/>
                  </a:lnTo>
                  <a:lnTo>
                    <a:pt x="426" y="570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44" y="570"/>
                  </a:lnTo>
                  <a:lnTo>
                    <a:pt x="450" y="564"/>
                  </a:lnTo>
                  <a:lnTo>
                    <a:pt x="474" y="558"/>
                  </a:lnTo>
                  <a:lnTo>
                    <a:pt x="486" y="54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40" y="474"/>
                  </a:lnTo>
                  <a:lnTo>
                    <a:pt x="558" y="456"/>
                  </a:lnTo>
                  <a:lnTo>
                    <a:pt x="582" y="450"/>
                  </a:lnTo>
                  <a:lnTo>
                    <a:pt x="594" y="414"/>
                  </a:lnTo>
                  <a:lnTo>
                    <a:pt x="612" y="390"/>
                  </a:lnTo>
                  <a:lnTo>
                    <a:pt x="636" y="390"/>
                  </a:lnTo>
                  <a:lnTo>
                    <a:pt x="666" y="390"/>
                  </a:lnTo>
                  <a:lnTo>
                    <a:pt x="696" y="390"/>
                  </a:lnTo>
                  <a:lnTo>
                    <a:pt x="726" y="390"/>
                  </a:lnTo>
                  <a:lnTo>
                    <a:pt x="762" y="378"/>
                  </a:lnTo>
                  <a:lnTo>
                    <a:pt x="780" y="366"/>
                  </a:lnTo>
                  <a:lnTo>
                    <a:pt x="780" y="342"/>
                  </a:lnTo>
                  <a:lnTo>
                    <a:pt x="786" y="342"/>
                  </a:lnTo>
                  <a:lnTo>
                    <a:pt x="786" y="336"/>
                  </a:lnTo>
                  <a:lnTo>
                    <a:pt x="786" y="330"/>
                  </a:lnTo>
                  <a:lnTo>
                    <a:pt x="786" y="324"/>
                  </a:lnTo>
                  <a:lnTo>
                    <a:pt x="816" y="318"/>
                  </a:lnTo>
                  <a:lnTo>
                    <a:pt x="834" y="312"/>
                  </a:lnTo>
                  <a:lnTo>
                    <a:pt x="840" y="318"/>
                  </a:lnTo>
                  <a:lnTo>
                    <a:pt x="852" y="318"/>
                  </a:lnTo>
                  <a:lnTo>
                    <a:pt x="858" y="306"/>
                  </a:lnTo>
                  <a:lnTo>
                    <a:pt x="864" y="288"/>
                  </a:lnTo>
                  <a:lnTo>
                    <a:pt x="870" y="282"/>
                  </a:lnTo>
                  <a:lnTo>
                    <a:pt x="876" y="276"/>
                  </a:lnTo>
                  <a:lnTo>
                    <a:pt x="882" y="264"/>
                  </a:lnTo>
                  <a:lnTo>
                    <a:pt x="882" y="258"/>
                  </a:lnTo>
                  <a:lnTo>
                    <a:pt x="888" y="252"/>
                  </a:lnTo>
                  <a:lnTo>
                    <a:pt x="894" y="240"/>
                  </a:lnTo>
                  <a:lnTo>
                    <a:pt x="906" y="228"/>
                  </a:lnTo>
                  <a:lnTo>
                    <a:pt x="912" y="228"/>
                  </a:lnTo>
                  <a:lnTo>
                    <a:pt x="936" y="228"/>
                  </a:lnTo>
                  <a:lnTo>
                    <a:pt x="942" y="222"/>
                  </a:lnTo>
                  <a:lnTo>
                    <a:pt x="948" y="216"/>
                  </a:lnTo>
                  <a:lnTo>
                    <a:pt x="954" y="216"/>
                  </a:lnTo>
                  <a:lnTo>
                    <a:pt x="960" y="216"/>
                  </a:lnTo>
                  <a:lnTo>
                    <a:pt x="966" y="216"/>
                  </a:lnTo>
                  <a:lnTo>
                    <a:pt x="978" y="216"/>
                  </a:lnTo>
                  <a:lnTo>
                    <a:pt x="990" y="222"/>
                  </a:lnTo>
                  <a:lnTo>
                    <a:pt x="996" y="222"/>
                  </a:lnTo>
                  <a:lnTo>
                    <a:pt x="1002" y="228"/>
                  </a:lnTo>
                  <a:lnTo>
                    <a:pt x="1014" y="234"/>
                  </a:lnTo>
                  <a:lnTo>
                    <a:pt x="1020" y="234"/>
                  </a:lnTo>
                  <a:lnTo>
                    <a:pt x="1032" y="240"/>
                  </a:lnTo>
                  <a:lnTo>
                    <a:pt x="1044" y="240"/>
                  </a:lnTo>
                  <a:lnTo>
                    <a:pt x="1050" y="240"/>
                  </a:lnTo>
                  <a:lnTo>
                    <a:pt x="1056" y="246"/>
                  </a:lnTo>
                  <a:lnTo>
                    <a:pt x="1068" y="264"/>
                  </a:lnTo>
                  <a:lnTo>
                    <a:pt x="1086" y="276"/>
                  </a:lnTo>
                  <a:lnTo>
                    <a:pt x="1092" y="276"/>
                  </a:lnTo>
                  <a:lnTo>
                    <a:pt x="1104" y="282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8" y="312"/>
                  </a:lnTo>
                  <a:lnTo>
                    <a:pt x="1152" y="324"/>
                  </a:lnTo>
                  <a:lnTo>
                    <a:pt x="1188" y="324"/>
                  </a:lnTo>
                  <a:lnTo>
                    <a:pt x="1206" y="318"/>
                  </a:lnTo>
                  <a:lnTo>
                    <a:pt x="1200" y="294"/>
                  </a:lnTo>
                  <a:lnTo>
                    <a:pt x="1206" y="252"/>
                  </a:lnTo>
                  <a:lnTo>
                    <a:pt x="1218" y="222"/>
                  </a:lnTo>
                  <a:lnTo>
                    <a:pt x="1212" y="222"/>
                  </a:lnTo>
                  <a:lnTo>
                    <a:pt x="1212" y="216"/>
                  </a:lnTo>
                  <a:lnTo>
                    <a:pt x="1218" y="204"/>
                  </a:lnTo>
                  <a:lnTo>
                    <a:pt x="1224" y="198"/>
                  </a:lnTo>
                  <a:lnTo>
                    <a:pt x="1224" y="192"/>
                  </a:lnTo>
                  <a:lnTo>
                    <a:pt x="1236" y="180"/>
                  </a:lnTo>
                  <a:lnTo>
                    <a:pt x="1254" y="156"/>
                  </a:lnTo>
                  <a:lnTo>
                    <a:pt x="1260" y="150"/>
                  </a:lnTo>
                  <a:lnTo>
                    <a:pt x="1260" y="144"/>
                  </a:lnTo>
                  <a:lnTo>
                    <a:pt x="1266" y="138"/>
                  </a:lnTo>
                  <a:lnTo>
                    <a:pt x="1272" y="138"/>
                  </a:lnTo>
                  <a:lnTo>
                    <a:pt x="1272" y="120"/>
                  </a:lnTo>
                  <a:lnTo>
                    <a:pt x="1278" y="114"/>
                  </a:lnTo>
                  <a:lnTo>
                    <a:pt x="1278" y="108"/>
                  </a:lnTo>
                  <a:lnTo>
                    <a:pt x="1278" y="102"/>
                  </a:lnTo>
                  <a:lnTo>
                    <a:pt x="1278" y="90"/>
                  </a:lnTo>
                  <a:lnTo>
                    <a:pt x="1278" y="84"/>
                  </a:lnTo>
                  <a:lnTo>
                    <a:pt x="1278" y="78"/>
                  </a:lnTo>
                  <a:lnTo>
                    <a:pt x="1278" y="72"/>
                  </a:lnTo>
                  <a:lnTo>
                    <a:pt x="1278" y="60"/>
                  </a:lnTo>
                  <a:lnTo>
                    <a:pt x="1284" y="48"/>
                  </a:lnTo>
                  <a:lnTo>
                    <a:pt x="1284" y="24"/>
                  </a:lnTo>
                  <a:lnTo>
                    <a:pt x="1284" y="18"/>
                  </a:lnTo>
                  <a:lnTo>
                    <a:pt x="1308" y="24"/>
                  </a:lnTo>
                  <a:lnTo>
                    <a:pt x="1332" y="30"/>
                  </a:lnTo>
                  <a:lnTo>
                    <a:pt x="1368" y="30"/>
                  </a:lnTo>
                  <a:lnTo>
                    <a:pt x="1392" y="24"/>
                  </a:lnTo>
                  <a:lnTo>
                    <a:pt x="1410" y="18"/>
                  </a:lnTo>
                  <a:lnTo>
                    <a:pt x="1416" y="6"/>
                  </a:lnTo>
                  <a:lnTo>
                    <a:pt x="1500" y="6"/>
                  </a:lnTo>
                  <a:lnTo>
                    <a:pt x="1506" y="0"/>
                  </a:lnTo>
                  <a:lnTo>
                    <a:pt x="1506" y="6"/>
                  </a:lnTo>
                  <a:lnTo>
                    <a:pt x="1506" y="18"/>
                  </a:lnTo>
                  <a:lnTo>
                    <a:pt x="1506" y="24"/>
                  </a:lnTo>
                  <a:lnTo>
                    <a:pt x="1500" y="30"/>
                  </a:lnTo>
                  <a:lnTo>
                    <a:pt x="1500" y="42"/>
                  </a:lnTo>
                  <a:lnTo>
                    <a:pt x="1494" y="54"/>
                  </a:lnTo>
                  <a:lnTo>
                    <a:pt x="1488" y="60"/>
                  </a:lnTo>
                  <a:lnTo>
                    <a:pt x="1482" y="60"/>
                  </a:lnTo>
                  <a:lnTo>
                    <a:pt x="1476" y="66"/>
                  </a:lnTo>
                  <a:lnTo>
                    <a:pt x="1476" y="72"/>
                  </a:lnTo>
                  <a:lnTo>
                    <a:pt x="1476" y="78"/>
                  </a:lnTo>
                  <a:lnTo>
                    <a:pt x="1470" y="78"/>
                  </a:lnTo>
                  <a:lnTo>
                    <a:pt x="1464" y="90"/>
                  </a:lnTo>
                  <a:lnTo>
                    <a:pt x="1458" y="96"/>
                  </a:lnTo>
                  <a:lnTo>
                    <a:pt x="1458" y="102"/>
                  </a:lnTo>
                  <a:lnTo>
                    <a:pt x="1452" y="120"/>
                  </a:lnTo>
                  <a:lnTo>
                    <a:pt x="1452" y="132"/>
                  </a:lnTo>
                  <a:lnTo>
                    <a:pt x="1446" y="144"/>
                  </a:lnTo>
                  <a:lnTo>
                    <a:pt x="1446" y="150"/>
                  </a:lnTo>
                  <a:lnTo>
                    <a:pt x="1440" y="150"/>
                  </a:lnTo>
                  <a:lnTo>
                    <a:pt x="1434" y="156"/>
                  </a:lnTo>
                  <a:lnTo>
                    <a:pt x="1428" y="168"/>
                  </a:lnTo>
                  <a:lnTo>
                    <a:pt x="1422" y="168"/>
                  </a:lnTo>
                  <a:lnTo>
                    <a:pt x="1416" y="174"/>
                  </a:lnTo>
                  <a:lnTo>
                    <a:pt x="1410" y="186"/>
                  </a:lnTo>
                  <a:lnTo>
                    <a:pt x="1410" y="204"/>
                  </a:lnTo>
                  <a:lnTo>
                    <a:pt x="1404" y="210"/>
                  </a:lnTo>
                  <a:lnTo>
                    <a:pt x="1404" y="216"/>
                  </a:lnTo>
                  <a:lnTo>
                    <a:pt x="1410" y="228"/>
                  </a:lnTo>
                  <a:lnTo>
                    <a:pt x="1410" y="234"/>
                  </a:lnTo>
                  <a:lnTo>
                    <a:pt x="1410" y="240"/>
                  </a:lnTo>
                  <a:lnTo>
                    <a:pt x="1416" y="252"/>
                  </a:lnTo>
                  <a:lnTo>
                    <a:pt x="1416" y="258"/>
                  </a:lnTo>
                  <a:lnTo>
                    <a:pt x="1422" y="264"/>
                  </a:lnTo>
                  <a:lnTo>
                    <a:pt x="1422" y="270"/>
                  </a:lnTo>
                  <a:lnTo>
                    <a:pt x="1422" y="282"/>
                  </a:lnTo>
                  <a:lnTo>
                    <a:pt x="1416" y="288"/>
                  </a:lnTo>
                  <a:lnTo>
                    <a:pt x="1410" y="294"/>
                  </a:lnTo>
                  <a:lnTo>
                    <a:pt x="1404" y="300"/>
                  </a:lnTo>
                  <a:lnTo>
                    <a:pt x="1404" y="306"/>
                  </a:lnTo>
                  <a:lnTo>
                    <a:pt x="1398" y="324"/>
                  </a:lnTo>
                  <a:lnTo>
                    <a:pt x="1404" y="330"/>
                  </a:lnTo>
                  <a:lnTo>
                    <a:pt x="1404" y="342"/>
                  </a:lnTo>
                  <a:lnTo>
                    <a:pt x="1392" y="354"/>
                  </a:lnTo>
                  <a:lnTo>
                    <a:pt x="1392" y="360"/>
                  </a:lnTo>
                  <a:lnTo>
                    <a:pt x="1392" y="372"/>
                  </a:lnTo>
                  <a:lnTo>
                    <a:pt x="1392" y="384"/>
                  </a:lnTo>
                  <a:lnTo>
                    <a:pt x="1392" y="396"/>
                  </a:lnTo>
                  <a:lnTo>
                    <a:pt x="1392" y="408"/>
                  </a:lnTo>
                  <a:lnTo>
                    <a:pt x="1386" y="414"/>
                  </a:lnTo>
                  <a:lnTo>
                    <a:pt x="1380" y="420"/>
                  </a:lnTo>
                  <a:lnTo>
                    <a:pt x="1380" y="426"/>
                  </a:lnTo>
                  <a:lnTo>
                    <a:pt x="1368" y="432"/>
                  </a:lnTo>
                  <a:lnTo>
                    <a:pt x="1362" y="444"/>
                  </a:lnTo>
                  <a:lnTo>
                    <a:pt x="1362" y="450"/>
                  </a:lnTo>
                  <a:lnTo>
                    <a:pt x="1362" y="462"/>
                  </a:lnTo>
                  <a:lnTo>
                    <a:pt x="1362" y="468"/>
                  </a:lnTo>
                  <a:lnTo>
                    <a:pt x="1362" y="474"/>
                  </a:lnTo>
                  <a:lnTo>
                    <a:pt x="1356" y="474"/>
                  </a:lnTo>
                  <a:lnTo>
                    <a:pt x="1350" y="480"/>
                  </a:lnTo>
                  <a:lnTo>
                    <a:pt x="1344" y="486"/>
                  </a:lnTo>
                  <a:lnTo>
                    <a:pt x="1338" y="498"/>
                  </a:lnTo>
                  <a:lnTo>
                    <a:pt x="1332" y="510"/>
                  </a:lnTo>
                  <a:lnTo>
                    <a:pt x="1320" y="510"/>
                  </a:lnTo>
                  <a:lnTo>
                    <a:pt x="1314" y="516"/>
                  </a:lnTo>
                  <a:lnTo>
                    <a:pt x="1302" y="522"/>
                  </a:lnTo>
                  <a:lnTo>
                    <a:pt x="1296" y="522"/>
                  </a:lnTo>
                  <a:lnTo>
                    <a:pt x="1284" y="516"/>
                  </a:lnTo>
                  <a:lnTo>
                    <a:pt x="1278" y="516"/>
                  </a:lnTo>
                  <a:lnTo>
                    <a:pt x="1272" y="522"/>
                  </a:lnTo>
                  <a:lnTo>
                    <a:pt x="1266" y="522"/>
                  </a:lnTo>
                  <a:lnTo>
                    <a:pt x="1266" y="528"/>
                  </a:lnTo>
                  <a:lnTo>
                    <a:pt x="1254" y="540"/>
                  </a:lnTo>
                  <a:lnTo>
                    <a:pt x="1248" y="546"/>
                  </a:lnTo>
                  <a:lnTo>
                    <a:pt x="1242" y="558"/>
                  </a:lnTo>
                  <a:lnTo>
                    <a:pt x="1230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30" y="594"/>
                  </a:lnTo>
                  <a:lnTo>
                    <a:pt x="1230" y="600"/>
                  </a:lnTo>
                  <a:lnTo>
                    <a:pt x="1236" y="606"/>
                  </a:lnTo>
                  <a:lnTo>
                    <a:pt x="1242" y="606"/>
                  </a:lnTo>
                  <a:lnTo>
                    <a:pt x="1242" y="612"/>
                  </a:lnTo>
                  <a:lnTo>
                    <a:pt x="1242" y="618"/>
                  </a:lnTo>
                  <a:lnTo>
                    <a:pt x="1242" y="624"/>
                  </a:lnTo>
                  <a:lnTo>
                    <a:pt x="1236" y="630"/>
                  </a:lnTo>
                  <a:lnTo>
                    <a:pt x="1230" y="642"/>
                  </a:lnTo>
                  <a:lnTo>
                    <a:pt x="1230" y="648"/>
                  </a:lnTo>
                  <a:lnTo>
                    <a:pt x="1218" y="654"/>
                  </a:lnTo>
                  <a:lnTo>
                    <a:pt x="1212" y="654"/>
                  </a:lnTo>
                  <a:lnTo>
                    <a:pt x="1212" y="660"/>
                  </a:lnTo>
                  <a:lnTo>
                    <a:pt x="1212" y="666"/>
                  </a:lnTo>
                  <a:lnTo>
                    <a:pt x="1212" y="672"/>
                  </a:lnTo>
                  <a:lnTo>
                    <a:pt x="1212" y="678"/>
                  </a:lnTo>
                  <a:lnTo>
                    <a:pt x="1218" y="684"/>
                  </a:lnTo>
                  <a:lnTo>
                    <a:pt x="1218" y="690"/>
                  </a:lnTo>
                  <a:lnTo>
                    <a:pt x="1224" y="696"/>
                  </a:lnTo>
                  <a:lnTo>
                    <a:pt x="1230" y="702"/>
                  </a:lnTo>
                  <a:lnTo>
                    <a:pt x="1236" y="696"/>
                  </a:lnTo>
                  <a:lnTo>
                    <a:pt x="1242" y="702"/>
                  </a:lnTo>
                  <a:lnTo>
                    <a:pt x="1248" y="708"/>
                  </a:lnTo>
                  <a:lnTo>
                    <a:pt x="1254" y="714"/>
                  </a:lnTo>
                  <a:lnTo>
                    <a:pt x="1254" y="720"/>
                  </a:lnTo>
                  <a:lnTo>
                    <a:pt x="1260" y="720"/>
                  </a:lnTo>
                  <a:lnTo>
                    <a:pt x="1254" y="732"/>
                  </a:lnTo>
                  <a:lnTo>
                    <a:pt x="1248" y="738"/>
                  </a:lnTo>
                  <a:lnTo>
                    <a:pt x="1242" y="744"/>
                  </a:lnTo>
                  <a:lnTo>
                    <a:pt x="1236" y="750"/>
                  </a:lnTo>
                  <a:lnTo>
                    <a:pt x="1236" y="756"/>
                  </a:lnTo>
                  <a:lnTo>
                    <a:pt x="1236" y="762"/>
                  </a:lnTo>
                  <a:lnTo>
                    <a:pt x="1236" y="768"/>
                  </a:lnTo>
                  <a:lnTo>
                    <a:pt x="1236" y="780"/>
                  </a:lnTo>
                  <a:lnTo>
                    <a:pt x="1230" y="780"/>
                  </a:lnTo>
                  <a:lnTo>
                    <a:pt x="1230" y="786"/>
                  </a:lnTo>
                  <a:lnTo>
                    <a:pt x="1230" y="792"/>
                  </a:lnTo>
                  <a:lnTo>
                    <a:pt x="1230" y="804"/>
                  </a:lnTo>
                  <a:lnTo>
                    <a:pt x="1224" y="810"/>
                  </a:lnTo>
                  <a:lnTo>
                    <a:pt x="1218" y="816"/>
                  </a:lnTo>
                  <a:lnTo>
                    <a:pt x="1224" y="822"/>
                  </a:lnTo>
                  <a:lnTo>
                    <a:pt x="1224" y="828"/>
                  </a:lnTo>
                  <a:lnTo>
                    <a:pt x="1218" y="834"/>
                  </a:lnTo>
                  <a:lnTo>
                    <a:pt x="1224" y="834"/>
                  </a:lnTo>
                  <a:lnTo>
                    <a:pt x="1224" y="840"/>
                  </a:lnTo>
                  <a:lnTo>
                    <a:pt x="1224" y="846"/>
                  </a:lnTo>
                  <a:lnTo>
                    <a:pt x="1224" y="852"/>
                  </a:lnTo>
                  <a:lnTo>
                    <a:pt x="1218" y="858"/>
                  </a:lnTo>
                  <a:lnTo>
                    <a:pt x="1218" y="870"/>
                  </a:lnTo>
                  <a:lnTo>
                    <a:pt x="1212" y="870"/>
                  </a:lnTo>
                  <a:lnTo>
                    <a:pt x="1212" y="876"/>
                  </a:lnTo>
                  <a:lnTo>
                    <a:pt x="1206" y="888"/>
                  </a:lnTo>
                  <a:lnTo>
                    <a:pt x="1200" y="882"/>
                  </a:lnTo>
                  <a:lnTo>
                    <a:pt x="1194" y="888"/>
                  </a:lnTo>
                  <a:lnTo>
                    <a:pt x="1188" y="894"/>
                  </a:lnTo>
                  <a:lnTo>
                    <a:pt x="1182" y="894"/>
                  </a:lnTo>
                  <a:lnTo>
                    <a:pt x="1182" y="900"/>
                  </a:lnTo>
                  <a:lnTo>
                    <a:pt x="1176" y="900"/>
                  </a:lnTo>
                  <a:lnTo>
                    <a:pt x="1170" y="894"/>
                  </a:lnTo>
                  <a:lnTo>
                    <a:pt x="1164" y="900"/>
                  </a:lnTo>
                  <a:lnTo>
                    <a:pt x="1158" y="900"/>
                  </a:lnTo>
                  <a:lnTo>
                    <a:pt x="1152" y="900"/>
                  </a:lnTo>
                  <a:lnTo>
                    <a:pt x="1140" y="900"/>
                  </a:lnTo>
                  <a:lnTo>
                    <a:pt x="1134" y="900"/>
                  </a:lnTo>
                  <a:lnTo>
                    <a:pt x="1128" y="906"/>
                  </a:lnTo>
                  <a:lnTo>
                    <a:pt x="1110" y="906"/>
                  </a:lnTo>
                  <a:lnTo>
                    <a:pt x="1104" y="906"/>
                  </a:lnTo>
                  <a:lnTo>
                    <a:pt x="1098" y="906"/>
                  </a:lnTo>
                  <a:lnTo>
                    <a:pt x="1092" y="912"/>
                  </a:lnTo>
                  <a:lnTo>
                    <a:pt x="1080" y="918"/>
                  </a:lnTo>
                  <a:lnTo>
                    <a:pt x="1068" y="930"/>
                  </a:lnTo>
                  <a:lnTo>
                    <a:pt x="1062" y="930"/>
                  </a:lnTo>
                  <a:lnTo>
                    <a:pt x="1056" y="930"/>
                  </a:lnTo>
                  <a:lnTo>
                    <a:pt x="1050" y="930"/>
                  </a:lnTo>
                  <a:lnTo>
                    <a:pt x="1050" y="936"/>
                  </a:lnTo>
                  <a:lnTo>
                    <a:pt x="1038" y="942"/>
                  </a:lnTo>
                  <a:lnTo>
                    <a:pt x="1032" y="948"/>
                  </a:lnTo>
                  <a:lnTo>
                    <a:pt x="1026" y="954"/>
                  </a:lnTo>
                  <a:lnTo>
                    <a:pt x="1020" y="960"/>
                  </a:lnTo>
                  <a:lnTo>
                    <a:pt x="1014" y="966"/>
                  </a:lnTo>
                  <a:lnTo>
                    <a:pt x="1002" y="966"/>
                  </a:lnTo>
                  <a:lnTo>
                    <a:pt x="990" y="978"/>
                  </a:lnTo>
                  <a:lnTo>
                    <a:pt x="984" y="978"/>
                  </a:lnTo>
                  <a:lnTo>
                    <a:pt x="978" y="984"/>
                  </a:lnTo>
                  <a:lnTo>
                    <a:pt x="972" y="984"/>
                  </a:lnTo>
                  <a:lnTo>
                    <a:pt x="978" y="990"/>
                  </a:lnTo>
                  <a:lnTo>
                    <a:pt x="972" y="996"/>
                  </a:lnTo>
                  <a:lnTo>
                    <a:pt x="978" y="1002"/>
                  </a:lnTo>
                  <a:lnTo>
                    <a:pt x="1002" y="1002"/>
                  </a:lnTo>
                  <a:lnTo>
                    <a:pt x="1002" y="1008"/>
                  </a:lnTo>
                  <a:lnTo>
                    <a:pt x="1008" y="1020"/>
                  </a:lnTo>
                  <a:lnTo>
                    <a:pt x="1002" y="1026"/>
                  </a:lnTo>
                  <a:lnTo>
                    <a:pt x="1002" y="1032"/>
                  </a:lnTo>
                  <a:lnTo>
                    <a:pt x="1002" y="1050"/>
                  </a:lnTo>
                  <a:lnTo>
                    <a:pt x="1002" y="1056"/>
                  </a:lnTo>
                  <a:lnTo>
                    <a:pt x="1008" y="1062"/>
                  </a:lnTo>
                  <a:lnTo>
                    <a:pt x="1008" y="1074"/>
                  </a:lnTo>
                  <a:lnTo>
                    <a:pt x="1008" y="1086"/>
                  </a:lnTo>
                  <a:lnTo>
                    <a:pt x="996" y="1092"/>
                  </a:lnTo>
                  <a:lnTo>
                    <a:pt x="996" y="1098"/>
                  </a:lnTo>
                  <a:lnTo>
                    <a:pt x="996" y="1104"/>
                  </a:lnTo>
                  <a:lnTo>
                    <a:pt x="990" y="1110"/>
                  </a:lnTo>
                  <a:lnTo>
                    <a:pt x="990" y="1116"/>
                  </a:lnTo>
                  <a:lnTo>
                    <a:pt x="996" y="1122"/>
                  </a:lnTo>
                  <a:lnTo>
                    <a:pt x="990" y="1128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96" y="1140"/>
                  </a:lnTo>
                  <a:lnTo>
                    <a:pt x="996" y="1146"/>
                  </a:lnTo>
                  <a:lnTo>
                    <a:pt x="996" y="1152"/>
                  </a:lnTo>
                  <a:lnTo>
                    <a:pt x="996" y="1158"/>
                  </a:lnTo>
                  <a:lnTo>
                    <a:pt x="996" y="1164"/>
                  </a:lnTo>
                  <a:lnTo>
                    <a:pt x="996" y="1170"/>
                  </a:lnTo>
                  <a:lnTo>
                    <a:pt x="996" y="1176"/>
                  </a:lnTo>
                  <a:lnTo>
                    <a:pt x="990" y="1182"/>
                  </a:lnTo>
                  <a:lnTo>
                    <a:pt x="990" y="1188"/>
                  </a:lnTo>
                  <a:lnTo>
                    <a:pt x="984" y="1200"/>
                  </a:lnTo>
                  <a:lnTo>
                    <a:pt x="990" y="1206"/>
                  </a:lnTo>
                  <a:lnTo>
                    <a:pt x="990" y="1212"/>
                  </a:lnTo>
                  <a:lnTo>
                    <a:pt x="990" y="1218"/>
                  </a:lnTo>
                  <a:lnTo>
                    <a:pt x="978" y="1230"/>
                  </a:lnTo>
                  <a:lnTo>
                    <a:pt x="972" y="1236"/>
                  </a:lnTo>
                  <a:lnTo>
                    <a:pt x="972" y="1242"/>
                  </a:lnTo>
                  <a:lnTo>
                    <a:pt x="966" y="1248"/>
                  </a:lnTo>
                  <a:lnTo>
                    <a:pt x="960" y="1260"/>
                  </a:lnTo>
                  <a:lnTo>
                    <a:pt x="954" y="1266"/>
                  </a:lnTo>
                  <a:lnTo>
                    <a:pt x="942" y="1278"/>
                  </a:lnTo>
                  <a:lnTo>
                    <a:pt x="936" y="1278"/>
                  </a:lnTo>
                  <a:lnTo>
                    <a:pt x="936" y="1284"/>
                  </a:lnTo>
                  <a:lnTo>
                    <a:pt x="936" y="1296"/>
                  </a:lnTo>
                  <a:lnTo>
                    <a:pt x="936" y="1302"/>
                  </a:lnTo>
                  <a:lnTo>
                    <a:pt x="942" y="1302"/>
                  </a:lnTo>
                  <a:lnTo>
                    <a:pt x="942" y="1308"/>
                  </a:lnTo>
                  <a:lnTo>
                    <a:pt x="936" y="1314"/>
                  </a:lnTo>
                  <a:lnTo>
                    <a:pt x="930" y="1320"/>
                  </a:lnTo>
                  <a:lnTo>
                    <a:pt x="930" y="1326"/>
                  </a:lnTo>
                  <a:lnTo>
                    <a:pt x="930" y="1332"/>
                  </a:lnTo>
                  <a:lnTo>
                    <a:pt x="936" y="1338"/>
                  </a:lnTo>
                  <a:lnTo>
                    <a:pt x="936" y="1344"/>
                  </a:lnTo>
                  <a:lnTo>
                    <a:pt x="942" y="1356"/>
                  </a:lnTo>
                  <a:lnTo>
                    <a:pt x="948" y="1368"/>
                  </a:lnTo>
                  <a:lnTo>
                    <a:pt x="942" y="1380"/>
                  </a:lnTo>
                  <a:lnTo>
                    <a:pt x="936" y="1386"/>
                  </a:lnTo>
                  <a:lnTo>
                    <a:pt x="930" y="1392"/>
                  </a:lnTo>
                  <a:lnTo>
                    <a:pt x="924" y="1392"/>
                  </a:lnTo>
                  <a:lnTo>
                    <a:pt x="918" y="1386"/>
                  </a:lnTo>
                  <a:lnTo>
                    <a:pt x="912" y="1386"/>
                  </a:lnTo>
                  <a:lnTo>
                    <a:pt x="906" y="1386"/>
                  </a:lnTo>
                  <a:lnTo>
                    <a:pt x="900" y="1386"/>
                  </a:lnTo>
                  <a:lnTo>
                    <a:pt x="900" y="1392"/>
                  </a:lnTo>
                  <a:lnTo>
                    <a:pt x="894" y="1392"/>
                  </a:lnTo>
                  <a:lnTo>
                    <a:pt x="888" y="1392"/>
                  </a:lnTo>
                  <a:lnTo>
                    <a:pt x="888" y="1398"/>
                  </a:lnTo>
                  <a:lnTo>
                    <a:pt x="882" y="1404"/>
                  </a:lnTo>
                  <a:lnTo>
                    <a:pt x="882" y="1416"/>
                  </a:lnTo>
                  <a:lnTo>
                    <a:pt x="882" y="1428"/>
                  </a:lnTo>
                  <a:lnTo>
                    <a:pt x="882" y="1434"/>
                  </a:lnTo>
                  <a:lnTo>
                    <a:pt x="870" y="1440"/>
                  </a:lnTo>
                  <a:lnTo>
                    <a:pt x="864" y="1452"/>
                  </a:lnTo>
                  <a:lnTo>
                    <a:pt x="870" y="1452"/>
                  </a:lnTo>
                  <a:lnTo>
                    <a:pt x="864" y="1458"/>
                  </a:lnTo>
                  <a:lnTo>
                    <a:pt x="858" y="1464"/>
                  </a:lnTo>
                  <a:lnTo>
                    <a:pt x="852" y="1464"/>
                  </a:lnTo>
                  <a:lnTo>
                    <a:pt x="846" y="1458"/>
                  </a:lnTo>
                  <a:lnTo>
                    <a:pt x="840" y="1458"/>
                  </a:lnTo>
                  <a:lnTo>
                    <a:pt x="828" y="1470"/>
                  </a:lnTo>
                  <a:lnTo>
                    <a:pt x="810" y="1482"/>
                  </a:lnTo>
                  <a:lnTo>
                    <a:pt x="804" y="1488"/>
                  </a:lnTo>
                  <a:lnTo>
                    <a:pt x="798" y="1488"/>
                  </a:lnTo>
                  <a:lnTo>
                    <a:pt x="792" y="1488"/>
                  </a:lnTo>
                  <a:lnTo>
                    <a:pt x="786" y="1488"/>
                  </a:lnTo>
                  <a:lnTo>
                    <a:pt x="768" y="1482"/>
                  </a:lnTo>
                  <a:lnTo>
                    <a:pt x="762" y="1476"/>
                  </a:lnTo>
                  <a:lnTo>
                    <a:pt x="744" y="1476"/>
                  </a:lnTo>
                  <a:lnTo>
                    <a:pt x="738" y="1476"/>
                  </a:lnTo>
                  <a:lnTo>
                    <a:pt x="732" y="1476"/>
                  </a:lnTo>
                  <a:lnTo>
                    <a:pt x="726" y="1482"/>
                  </a:lnTo>
                  <a:lnTo>
                    <a:pt x="726" y="1488"/>
                  </a:lnTo>
                  <a:lnTo>
                    <a:pt x="726" y="1494"/>
                  </a:lnTo>
                  <a:lnTo>
                    <a:pt x="726" y="1500"/>
                  </a:lnTo>
                  <a:lnTo>
                    <a:pt x="720" y="1500"/>
                  </a:lnTo>
                  <a:lnTo>
                    <a:pt x="720" y="1506"/>
                  </a:lnTo>
                  <a:lnTo>
                    <a:pt x="714" y="1512"/>
                  </a:lnTo>
                  <a:lnTo>
                    <a:pt x="714" y="1518"/>
                  </a:lnTo>
                  <a:lnTo>
                    <a:pt x="708" y="1518"/>
                  </a:lnTo>
                  <a:lnTo>
                    <a:pt x="708" y="1530"/>
                  </a:lnTo>
                  <a:lnTo>
                    <a:pt x="708" y="1536"/>
                  </a:lnTo>
                  <a:lnTo>
                    <a:pt x="708" y="1542"/>
                  </a:lnTo>
                  <a:lnTo>
                    <a:pt x="696" y="1554"/>
                  </a:lnTo>
                  <a:lnTo>
                    <a:pt x="690" y="1560"/>
                  </a:lnTo>
                  <a:lnTo>
                    <a:pt x="684" y="1566"/>
                  </a:lnTo>
                  <a:lnTo>
                    <a:pt x="672" y="1566"/>
                  </a:lnTo>
                  <a:lnTo>
                    <a:pt x="666" y="1566"/>
                  </a:lnTo>
                  <a:lnTo>
                    <a:pt x="660" y="1566"/>
                  </a:lnTo>
                  <a:lnTo>
                    <a:pt x="654" y="1572"/>
                  </a:lnTo>
                  <a:lnTo>
                    <a:pt x="654" y="1578"/>
                  </a:lnTo>
                  <a:lnTo>
                    <a:pt x="642" y="1578"/>
                  </a:lnTo>
                  <a:lnTo>
                    <a:pt x="630" y="1572"/>
                  </a:lnTo>
                  <a:lnTo>
                    <a:pt x="624" y="1572"/>
                  </a:lnTo>
                  <a:lnTo>
                    <a:pt x="618" y="1578"/>
                  </a:lnTo>
                  <a:lnTo>
                    <a:pt x="612" y="1584"/>
                  </a:lnTo>
                  <a:lnTo>
                    <a:pt x="606" y="1584"/>
                  </a:lnTo>
                  <a:lnTo>
                    <a:pt x="600" y="1590"/>
                  </a:lnTo>
                  <a:lnTo>
                    <a:pt x="594" y="1590"/>
                  </a:lnTo>
                  <a:lnTo>
                    <a:pt x="588" y="1590"/>
                  </a:lnTo>
                  <a:lnTo>
                    <a:pt x="582" y="1590"/>
                  </a:lnTo>
                  <a:lnTo>
                    <a:pt x="582" y="1596"/>
                  </a:lnTo>
                  <a:lnTo>
                    <a:pt x="576" y="1614"/>
                  </a:lnTo>
                  <a:lnTo>
                    <a:pt x="570" y="1632"/>
                  </a:lnTo>
                  <a:lnTo>
                    <a:pt x="570" y="1638"/>
                  </a:lnTo>
                  <a:lnTo>
                    <a:pt x="576" y="1644"/>
                  </a:lnTo>
                  <a:lnTo>
                    <a:pt x="576" y="1650"/>
                  </a:lnTo>
                  <a:lnTo>
                    <a:pt x="582" y="1662"/>
                  </a:lnTo>
                  <a:lnTo>
                    <a:pt x="582" y="1668"/>
                  </a:lnTo>
                  <a:lnTo>
                    <a:pt x="588" y="1692"/>
                  </a:lnTo>
                  <a:lnTo>
                    <a:pt x="594" y="1728"/>
                  </a:lnTo>
                  <a:lnTo>
                    <a:pt x="594" y="1752"/>
                  </a:lnTo>
                  <a:lnTo>
                    <a:pt x="594" y="1764"/>
                  </a:lnTo>
                  <a:lnTo>
                    <a:pt x="582" y="1770"/>
                  </a:lnTo>
                  <a:lnTo>
                    <a:pt x="582" y="1782"/>
                  </a:lnTo>
                  <a:lnTo>
                    <a:pt x="576" y="1788"/>
                  </a:lnTo>
                  <a:lnTo>
                    <a:pt x="570" y="1794"/>
                  </a:lnTo>
                  <a:lnTo>
                    <a:pt x="564" y="1806"/>
                  </a:lnTo>
                  <a:lnTo>
                    <a:pt x="564" y="1812"/>
                  </a:lnTo>
                  <a:lnTo>
                    <a:pt x="558" y="1812"/>
                  </a:lnTo>
                  <a:lnTo>
                    <a:pt x="564" y="1824"/>
                  </a:lnTo>
                  <a:lnTo>
                    <a:pt x="564" y="1830"/>
                  </a:lnTo>
                  <a:lnTo>
                    <a:pt x="564" y="1842"/>
                  </a:lnTo>
                  <a:lnTo>
                    <a:pt x="564" y="1848"/>
                  </a:lnTo>
                  <a:lnTo>
                    <a:pt x="564" y="1854"/>
                  </a:lnTo>
                  <a:lnTo>
                    <a:pt x="570" y="1860"/>
                  </a:lnTo>
                  <a:lnTo>
                    <a:pt x="570" y="1866"/>
                  </a:lnTo>
                  <a:lnTo>
                    <a:pt x="570" y="1872"/>
                  </a:lnTo>
                  <a:lnTo>
                    <a:pt x="570" y="1878"/>
                  </a:lnTo>
                  <a:lnTo>
                    <a:pt x="564" y="1890"/>
                  </a:lnTo>
                  <a:lnTo>
                    <a:pt x="558" y="1896"/>
                  </a:lnTo>
                  <a:lnTo>
                    <a:pt x="552" y="1908"/>
                  </a:lnTo>
                  <a:lnTo>
                    <a:pt x="546" y="1914"/>
                  </a:lnTo>
                  <a:lnTo>
                    <a:pt x="540" y="1920"/>
                  </a:lnTo>
                  <a:lnTo>
                    <a:pt x="534" y="1932"/>
                  </a:lnTo>
                  <a:lnTo>
                    <a:pt x="528" y="1944"/>
                  </a:lnTo>
                  <a:lnTo>
                    <a:pt x="516" y="1950"/>
                  </a:lnTo>
                  <a:lnTo>
                    <a:pt x="510" y="1956"/>
                  </a:lnTo>
                  <a:lnTo>
                    <a:pt x="498" y="1962"/>
                  </a:lnTo>
                  <a:lnTo>
                    <a:pt x="492" y="1974"/>
                  </a:lnTo>
                  <a:lnTo>
                    <a:pt x="486" y="1980"/>
                  </a:lnTo>
                  <a:lnTo>
                    <a:pt x="480" y="1998"/>
                  </a:lnTo>
                  <a:lnTo>
                    <a:pt x="474" y="2004"/>
                  </a:lnTo>
                  <a:lnTo>
                    <a:pt x="474" y="2010"/>
                  </a:lnTo>
                  <a:lnTo>
                    <a:pt x="474" y="2016"/>
                  </a:lnTo>
                  <a:lnTo>
                    <a:pt x="468" y="2016"/>
                  </a:lnTo>
                  <a:lnTo>
                    <a:pt x="468" y="2028"/>
                  </a:lnTo>
                  <a:lnTo>
                    <a:pt x="462" y="2034"/>
                  </a:lnTo>
                  <a:lnTo>
                    <a:pt x="456" y="2040"/>
                  </a:lnTo>
                  <a:lnTo>
                    <a:pt x="456" y="2052"/>
                  </a:lnTo>
                  <a:lnTo>
                    <a:pt x="450" y="2058"/>
                  </a:lnTo>
                  <a:lnTo>
                    <a:pt x="450" y="2070"/>
                  </a:lnTo>
                  <a:lnTo>
                    <a:pt x="450" y="2076"/>
                  </a:lnTo>
                  <a:lnTo>
                    <a:pt x="450" y="2082"/>
                  </a:lnTo>
                  <a:lnTo>
                    <a:pt x="444" y="2088"/>
                  </a:lnTo>
                  <a:lnTo>
                    <a:pt x="438" y="2094"/>
                  </a:lnTo>
                  <a:lnTo>
                    <a:pt x="444" y="2100"/>
                  </a:lnTo>
                  <a:lnTo>
                    <a:pt x="444" y="2124"/>
                  </a:lnTo>
                  <a:lnTo>
                    <a:pt x="444" y="2142"/>
                  </a:lnTo>
                  <a:lnTo>
                    <a:pt x="444" y="2160"/>
                  </a:lnTo>
                  <a:lnTo>
                    <a:pt x="450" y="2166"/>
                  </a:lnTo>
                  <a:lnTo>
                    <a:pt x="456" y="2178"/>
                  </a:lnTo>
                  <a:lnTo>
                    <a:pt x="438" y="2184"/>
                  </a:lnTo>
                  <a:lnTo>
                    <a:pt x="432" y="2184"/>
                  </a:lnTo>
                  <a:lnTo>
                    <a:pt x="426" y="2190"/>
                  </a:lnTo>
                  <a:lnTo>
                    <a:pt x="408" y="2190"/>
                  </a:lnTo>
                  <a:lnTo>
                    <a:pt x="402" y="2196"/>
                  </a:lnTo>
                  <a:lnTo>
                    <a:pt x="396" y="2196"/>
                  </a:lnTo>
                  <a:lnTo>
                    <a:pt x="384" y="2208"/>
                  </a:lnTo>
                  <a:lnTo>
                    <a:pt x="378" y="2220"/>
                  </a:lnTo>
                  <a:lnTo>
                    <a:pt x="366" y="2232"/>
                  </a:lnTo>
                  <a:lnTo>
                    <a:pt x="366" y="2238"/>
                  </a:lnTo>
                  <a:lnTo>
                    <a:pt x="360" y="2238"/>
                  </a:lnTo>
                  <a:lnTo>
                    <a:pt x="360" y="2244"/>
                  </a:lnTo>
                  <a:lnTo>
                    <a:pt x="354" y="2244"/>
                  </a:lnTo>
                  <a:lnTo>
                    <a:pt x="330" y="227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5" name="Freeform 10">
              <a:extLst>
                <a:ext uri="{FF2B5EF4-FFF2-40B4-BE49-F238E27FC236}">
                  <a16:creationId xmlns:a16="http://schemas.microsoft.com/office/drawing/2014/main" id="{3AD2FC58-3490-4B7F-A8BE-621F3CDD69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1996" y="1931890"/>
              <a:ext cx="805029" cy="1037736"/>
            </a:xfrm>
            <a:custGeom>
              <a:avLst/>
              <a:gdLst>
                <a:gd name="T0" fmla="*/ 124 w 1512"/>
                <a:gd name="T1" fmla="*/ 76 h 1956"/>
                <a:gd name="T2" fmla="*/ 120 w 1512"/>
                <a:gd name="T3" fmla="*/ 80 h 1956"/>
                <a:gd name="T4" fmla="*/ 106 w 1512"/>
                <a:gd name="T5" fmla="*/ 84 h 1956"/>
                <a:gd name="T6" fmla="*/ 105 w 1512"/>
                <a:gd name="T7" fmla="*/ 91 h 1956"/>
                <a:gd name="T8" fmla="*/ 101 w 1512"/>
                <a:gd name="T9" fmla="*/ 99 h 1956"/>
                <a:gd name="T10" fmla="*/ 105 w 1512"/>
                <a:gd name="T11" fmla="*/ 107 h 1956"/>
                <a:gd name="T12" fmla="*/ 119 w 1512"/>
                <a:gd name="T13" fmla="*/ 116 h 1956"/>
                <a:gd name="T14" fmla="*/ 121 w 1512"/>
                <a:gd name="T15" fmla="*/ 128 h 1956"/>
                <a:gd name="T16" fmla="*/ 112 w 1512"/>
                <a:gd name="T17" fmla="*/ 136 h 1956"/>
                <a:gd name="T18" fmla="*/ 119 w 1512"/>
                <a:gd name="T19" fmla="*/ 143 h 1956"/>
                <a:gd name="T20" fmla="*/ 126 w 1512"/>
                <a:gd name="T21" fmla="*/ 148 h 1956"/>
                <a:gd name="T22" fmla="*/ 126 w 1512"/>
                <a:gd name="T23" fmla="*/ 160 h 1956"/>
                <a:gd name="T24" fmla="*/ 104 w 1512"/>
                <a:gd name="T25" fmla="*/ 170 h 1956"/>
                <a:gd name="T26" fmla="*/ 99 w 1512"/>
                <a:gd name="T27" fmla="*/ 164 h 1956"/>
                <a:gd name="T28" fmla="*/ 73 w 1512"/>
                <a:gd name="T29" fmla="*/ 152 h 1956"/>
                <a:gd name="T30" fmla="*/ 56 w 1512"/>
                <a:gd name="T31" fmla="*/ 165 h 1956"/>
                <a:gd name="T32" fmla="*/ 33 w 1512"/>
                <a:gd name="T33" fmla="*/ 162 h 1956"/>
                <a:gd name="T34" fmla="*/ 25 w 1512"/>
                <a:gd name="T35" fmla="*/ 155 h 1956"/>
                <a:gd name="T36" fmla="*/ 31 w 1512"/>
                <a:gd name="T37" fmla="*/ 142 h 1956"/>
                <a:gd name="T38" fmla="*/ 24 w 1512"/>
                <a:gd name="T39" fmla="*/ 137 h 1956"/>
                <a:gd name="T40" fmla="*/ 14 w 1512"/>
                <a:gd name="T41" fmla="*/ 136 h 1956"/>
                <a:gd name="T42" fmla="*/ 11 w 1512"/>
                <a:gd name="T43" fmla="*/ 125 h 1956"/>
                <a:gd name="T44" fmla="*/ 3 w 1512"/>
                <a:gd name="T45" fmla="*/ 116 h 1956"/>
                <a:gd name="T46" fmla="*/ 2 w 1512"/>
                <a:gd name="T47" fmla="*/ 106 h 1956"/>
                <a:gd name="T48" fmla="*/ 5 w 1512"/>
                <a:gd name="T49" fmla="*/ 101 h 1956"/>
                <a:gd name="T50" fmla="*/ 2 w 1512"/>
                <a:gd name="T51" fmla="*/ 95 h 1956"/>
                <a:gd name="T52" fmla="*/ 1 w 1512"/>
                <a:gd name="T53" fmla="*/ 88 h 1956"/>
                <a:gd name="T54" fmla="*/ 4 w 1512"/>
                <a:gd name="T55" fmla="*/ 80 h 1956"/>
                <a:gd name="T56" fmla="*/ 12 w 1512"/>
                <a:gd name="T57" fmla="*/ 73 h 1956"/>
                <a:gd name="T58" fmla="*/ 16 w 1512"/>
                <a:gd name="T59" fmla="*/ 68 h 1956"/>
                <a:gd name="T60" fmla="*/ 22 w 1512"/>
                <a:gd name="T61" fmla="*/ 66 h 1956"/>
                <a:gd name="T62" fmla="*/ 32 w 1512"/>
                <a:gd name="T63" fmla="*/ 65 h 1956"/>
                <a:gd name="T64" fmla="*/ 45 w 1512"/>
                <a:gd name="T65" fmla="*/ 66 h 1956"/>
                <a:gd name="T66" fmla="*/ 50 w 1512"/>
                <a:gd name="T67" fmla="*/ 70 h 1956"/>
                <a:gd name="T68" fmla="*/ 55 w 1512"/>
                <a:gd name="T69" fmla="*/ 70 h 1956"/>
                <a:gd name="T70" fmla="*/ 63 w 1512"/>
                <a:gd name="T71" fmla="*/ 71 h 1956"/>
                <a:gd name="T72" fmla="*/ 61 w 1512"/>
                <a:gd name="T73" fmla="*/ 75 h 1956"/>
                <a:gd name="T74" fmla="*/ 66 w 1512"/>
                <a:gd name="T75" fmla="*/ 84 h 1956"/>
                <a:gd name="T76" fmla="*/ 81 w 1512"/>
                <a:gd name="T77" fmla="*/ 85 h 1956"/>
                <a:gd name="T78" fmla="*/ 83 w 1512"/>
                <a:gd name="T79" fmla="*/ 79 h 1956"/>
                <a:gd name="T80" fmla="*/ 89 w 1512"/>
                <a:gd name="T81" fmla="*/ 77 h 1956"/>
                <a:gd name="T82" fmla="*/ 89 w 1512"/>
                <a:gd name="T83" fmla="*/ 73 h 1956"/>
                <a:gd name="T84" fmla="*/ 83 w 1512"/>
                <a:gd name="T85" fmla="*/ 72 h 1956"/>
                <a:gd name="T86" fmla="*/ 77 w 1512"/>
                <a:gd name="T87" fmla="*/ 70 h 1956"/>
                <a:gd name="T88" fmla="*/ 71 w 1512"/>
                <a:gd name="T89" fmla="*/ 70 h 1956"/>
                <a:gd name="T90" fmla="*/ 59 w 1512"/>
                <a:gd name="T91" fmla="*/ 58 h 1956"/>
                <a:gd name="T92" fmla="*/ 54 w 1512"/>
                <a:gd name="T93" fmla="*/ 45 h 1956"/>
                <a:gd name="T94" fmla="*/ 49 w 1512"/>
                <a:gd name="T95" fmla="*/ 42 h 1956"/>
                <a:gd name="T96" fmla="*/ 51 w 1512"/>
                <a:gd name="T97" fmla="*/ 39 h 1956"/>
                <a:gd name="T98" fmla="*/ 55 w 1512"/>
                <a:gd name="T99" fmla="*/ 36 h 1956"/>
                <a:gd name="T100" fmla="*/ 63 w 1512"/>
                <a:gd name="T101" fmla="*/ 34 h 1956"/>
                <a:gd name="T102" fmla="*/ 68 w 1512"/>
                <a:gd name="T103" fmla="*/ 32 h 1956"/>
                <a:gd name="T104" fmla="*/ 73 w 1512"/>
                <a:gd name="T105" fmla="*/ 29 h 1956"/>
                <a:gd name="T106" fmla="*/ 78 w 1512"/>
                <a:gd name="T107" fmla="*/ 27 h 1956"/>
                <a:gd name="T108" fmla="*/ 81 w 1512"/>
                <a:gd name="T109" fmla="*/ 17 h 1956"/>
                <a:gd name="T110" fmla="*/ 84 w 1512"/>
                <a:gd name="T111" fmla="*/ 6 h 1956"/>
                <a:gd name="T112" fmla="*/ 95 w 1512"/>
                <a:gd name="T113" fmla="*/ 6 h 1956"/>
                <a:gd name="T114" fmla="*/ 99 w 1512"/>
                <a:gd name="T115" fmla="*/ 3 h 1956"/>
                <a:gd name="T116" fmla="*/ 103 w 1512"/>
                <a:gd name="T117" fmla="*/ 0 h 1956"/>
                <a:gd name="T118" fmla="*/ 110 w 1512"/>
                <a:gd name="T119" fmla="*/ 4 h 1956"/>
                <a:gd name="T120" fmla="*/ 114 w 1512"/>
                <a:gd name="T121" fmla="*/ 33 h 1956"/>
                <a:gd name="T122" fmla="*/ 117 w 1512"/>
                <a:gd name="T123" fmla="*/ 41 h 1956"/>
                <a:gd name="T124" fmla="*/ 119 w 1512"/>
                <a:gd name="T125" fmla="*/ 62 h 195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12"/>
                <a:gd name="T190" fmla="*/ 0 h 1956"/>
                <a:gd name="T191" fmla="*/ 1512 w 1512"/>
                <a:gd name="T192" fmla="*/ 1956 h 195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12" h="1956">
                  <a:moveTo>
                    <a:pt x="1512" y="780"/>
                  </a:moveTo>
                  <a:lnTo>
                    <a:pt x="1482" y="786"/>
                  </a:lnTo>
                  <a:lnTo>
                    <a:pt x="1476" y="792"/>
                  </a:lnTo>
                  <a:lnTo>
                    <a:pt x="1476" y="798"/>
                  </a:lnTo>
                  <a:lnTo>
                    <a:pt x="1476" y="804"/>
                  </a:lnTo>
                  <a:lnTo>
                    <a:pt x="1476" y="816"/>
                  </a:lnTo>
                  <a:lnTo>
                    <a:pt x="1470" y="834"/>
                  </a:lnTo>
                  <a:lnTo>
                    <a:pt x="1464" y="840"/>
                  </a:lnTo>
                  <a:lnTo>
                    <a:pt x="1452" y="852"/>
                  </a:lnTo>
                  <a:lnTo>
                    <a:pt x="1440" y="864"/>
                  </a:lnTo>
                  <a:lnTo>
                    <a:pt x="1434" y="864"/>
                  </a:lnTo>
                  <a:lnTo>
                    <a:pt x="1434" y="870"/>
                  </a:lnTo>
                  <a:lnTo>
                    <a:pt x="1422" y="876"/>
                  </a:lnTo>
                  <a:lnTo>
                    <a:pt x="1410" y="894"/>
                  </a:lnTo>
                  <a:lnTo>
                    <a:pt x="1404" y="894"/>
                  </a:lnTo>
                  <a:lnTo>
                    <a:pt x="1404" y="900"/>
                  </a:lnTo>
                  <a:lnTo>
                    <a:pt x="1404" y="906"/>
                  </a:lnTo>
                  <a:lnTo>
                    <a:pt x="1410" y="918"/>
                  </a:lnTo>
                  <a:lnTo>
                    <a:pt x="1404" y="918"/>
                  </a:lnTo>
                  <a:lnTo>
                    <a:pt x="1392" y="924"/>
                  </a:lnTo>
                  <a:lnTo>
                    <a:pt x="1386" y="924"/>
                  </a:lnTo>
                  <a:lnTo>
                    <a:pt x="1380" y="924"/>
                  </a:lnTo>
                  <a:lnTo>
                    <a:pt x="1380" y="930"/>
                  </a:lnTo>
                  <a:lnTo>
                    <a:pt x="1374" y="930"/>
                  </a:lnTo>
                  <a:lnTo>
                    <a:pt x="1374" y="924"/>
                  </a:lnTo>
                  <a:lnTo>
                    <a:pt x="1374" y="918"/>
                  </a:lnTo>
                  <a:lnTo>
                    <a:pt x="1368" y="912"/>
                  </a:lnTo>
                  <a:lnTo>
                    <a:pt x="1368" y="906"/>
                  </a:lnTo>
                  <a:lnTo>
                    <a:pt x="1368" y="900"/>
                  </a:lnTo>
                  <a:lnTo>
                    <a:pt x="1368" y="894"/>
                  </a:lnTo>
                  <a:lnTo>
                    <a:pt x="1362" y="894"/>
                  </a:lnTo>
                  <a:lnTo>
                    <a:pt x="1326" y="894"/>
                  </a:lnTo>
                  <a:lnTo>
                    <a:pt x="1302" y="906"/>
                  </a:lnTo>
                  <a:lnTo>
                    <a:pt x="1284" y="918"/>
                  </a:lnTo>
                  <a:lnTo>
                    <a:pt x="1284" y="924"/>
                  </a:lnTo>
                  <a:lnTo>
                    <a:pt x="1278" y="930"/>
                  </a:lnTo>
                  <a:lnTo>
                    <a:pt x="1266" y="930"/>
                  </a:lnTo>
                  <a:lnTo>
                    <a:pt x="1236" y="954"/>
                  </a:lnTo>
                  <a:lnTo>
                    <a:pt x="1212" y="972"/>
                  </a:lnTo>
                  <a:lnTo>
                    <a:pt x="1218" y="996"/>
                  </a:lnTo>
                  <a:lnTo>
                    <a:pt x="1224" y="1008"/>
                  </a:lnTo>
                  <a:lnTo>
                    <a:pt x="1236" y="1014"/>
                  </a:lnTo>
                  <a:lnTo>
                    <a:pt x="1242" y="1026"/>
                  </a:lnTo>
                  <a:lnTo>
                    <a:pt x="1248" y="1038"/>
                  </a:lnTo>
                  <a:lnTo>
                    <a:pt x="1260" y="1050"/>
                  </a:lnTo>
                  <a:lnTo>
                    <a:pt x="1260" y="1056"/>
                  </a:lnTo>
                  <a:lnTo>
                    <a:pt x="1260" y="1074"/>
                  </a:lnTo>
                  <a:lnTo>
                    <a:pt x="1254" y="1074"/>
                  </a:lnTo>
                  <a:lnTo>
                    <a:pt x="1236" y="1056"/>
                  </a:lnTo>
                  <a:lnTo>
                    <a:pt x="1224" y="1050"/>
                  </a:lnTo>
                  <a:lnTo>
                    <a:pt x="1212" y="1050"/>
                  </a:lnTo>
                  <a:lnTo>
                    <a:pt x="1206" y="1050"/>
                  </a:lnTo>
                  <a:lnTo>
                    <a:pt x="1200" y="1056"/>
                  </a:lnTo>
                  <a:lnTo>
                    <a:pt x="1194" y="1062"/>
                  </a:lnTo>
                  <a:lnTo>
                    <a:pt x="1188" y="1068"/>
                  </a:lnTo>
                  <a:lnTo>
                    <a:pt x="1188" y="1074"/>
                  </a:lnTo>
                  <a:lnTo>
                    <a:pt x="1176" y="1086"/>
                  </a:lnTo>
                  <a:lnTo>
                    <a:pt x="1170" y="1086"/>
                  </a:lnTo>
                  <a:lnTo>
                    <a:pt x="1170" y="1092"/>
                  </a:lnTo>
                  <a:lnTo>
                    <a:pt x="1164" y="1098"/>
                  </a:lnTo>
                  <a:lnTo>
                    <a:pt x="1158" y="1110"/>
                  </a:lnTo>
                  <a:lnTo>
                    <a:pt x="1152" y="1116"/>
                  </a:lnTo>
                  <a:lnTo>
                    <a:pt x="1152" y="1122"/>
                  </a:lnTo>
                  <a:lnTo>
                    <a:pt x="1146" y="1128"/>
                  </a:lnTo>
                  <a:lnTo>
                    <a:pt x="1152" y="1140"/>
                  </a:lnTo>
                  <a:lnTo>
                    <a:pt x="1158" y="1140"/>
                  </a:lnTo>
                  <a:lnTo>
                    <a:pt x="1164" y="1146"/>
                  </a:lnTo>
                  <a:lnTo>
                    <a:pt x="1164" y="1152"/>
                  </a:lnTo>
                  <a:lnTo>
                    <a:pt x="1170" y="1164"/>
                  </a:lnTo>
                  <a:lnTo>
                    <a:pt x="1164" y="1176"/>
                  </a:lnTo>
                  <a:lnTo>
                    <a:pt x="1170" y="1182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82" y="1218"/>
                  </a:lnTo>
                  <a:lnTo>
                    <a:pt x="1188" y="1218"/>
                  </a:lnTo>
                  <a:lnTo>
                    <a:pt x="1194" y="1218"/>
                  </a:lnTo>
                  <a:lnTo>
                    <a:pt x="1194" y="1224"/>
                  </a:lnTo>
                  <a:lnTo>
                    <a:pt x="1200" y="1230"/>
                  </a:lnTo>
                  <a:lnTo>
                    <a:pt x="1200" y="1248"/>
                  </a:lnTo>
                  <a:lnTo>
                    <a:pt x="1212" y="1266"/>
                  </a:lnTo>
                  <a:lnTo>
                    <a:pt x="1218" y="1278"/>
                  </a:lnTo>
                  <a:lnTo>
                    <a:pt x="1224" y="1284"/>
                  </a:lnTo>
                  <a:lnTo>
                    <a:pt x="1236" y="1296"/>
                  </a:lnTo>
                  <a:lnTo>
                    <a:pt x="1242" y="1302"/>
                  </a:lnTo>
                  <a:lnTo>
                    <a:pt x="1242" y="1308"/>
                  </a:lnTo>
                  <a:lnTo>
                    <a:pt x="1272" y="1308"/>
                  </a:lnTo>
                  <a:lnTo>
                    <a:pt x="1296" y="1314"/>
                  </a:lnTo>
                  <a:lnTo>
                    <a:pt x="1320" y="1320"/>
                  </a:lnTo>
                  <a:lnTo>
                    <a:pt x="1338" y="1320"/>
                  </a:lnTo>
                  <a:lnTo>
                    <a:pt x="1356" y="1332"/>
                  </a:lnTo>
                  <a:lnTo>
                    <a:pt x="1368" y="1344"/>
                  </a:lnTo>
                  <a:lnTo>
                    <a:pt x="1374" y="1362"/>
                  </a:lnTo>
                  <a:lnTo>
                    <a:pt x="1368" y="1362"/>
                  </a:lnTo>
                  <a:lnTo>
                    <a:pt x="1368" y="1398"/>
                  </a:lnTo>
                  <a:lnTo>
                    <a:pt x="1368" y="1410"/>
                  </a:lnTo>
                  <a:lnTo>
                    <a:pt x="1368" y="1428"/>
                  </a:lnTo>
                  <a:lnTo>
                    <a:pt x="1368" y="1434"/>
                  </a:lnTo>
                  <a:lnTo>
                    <a:pt x="1368" y="1440"/>
                  </a:lnTo>
                  <a:lnTo>
                    <a:pt x="1374" y="1446"/>
                  </a:lnTo>
                  <a:lnTo>
                    <a:pt x="1374" y="1452"/>
                  </a:lnTo>
                  <a:lnTo>
                    <a:pt x="1380" y="1458"/>
                  </a:lnTo>
                  <a:lnTo>
                    <a:pt x="1386" y="1464"/>
                  </a:lnTo>
                  <a:lnTo>
                    <a:pt x="1386" y="1470"/>
                  </a:lnTo>
                  <a:lnTo>
                    <a:pt x="1380" y="1476"/>
                  </a:lnTo>
                  <a:lnTo>
                    <a:pt x="1374" y="1482"/>
                  </a:lnTo>
                  <a:lnTo>
                    <a:pt x="1362" y="1500"/>
                  </a:lnTo>
                  <a:lnTo>
                    <a:pt x="1362" y="1506"/>
                  </a:lnTo>
                  <a:lnTo>
                    <a:pt x="1362" y="1512"/>
                  </a:lnTo>
                  <a:lnTo>
                    <a:pt x="1362" y="1518"/>
                  </a:lnTo>
                  <a:lnTo>
                    <a:pt x="1362" y="1524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38" y="1548"/>
                  </a:lnTo>
                  <a:lnTo>
                    <a:pt x="1296" y="1548"/>
                  </a:lnTo>
                  <a:lnTo>
                    <a:pt x="1290" y="1554"/>
                  </a:lnTo>
                  <a:lnTo>
                    <a:pt x="1284" y="1560"/>
                  </a:lnTo>
                  <a:lnTo>
                    <a:pt x="1284" y="1566"/>
                  </a:lnTo>
                  <a:lnTo>
                    <a:pt x="1290" y="1578"/>
                  </a:lnTo>
                  <a:lnTo>
                    <a:pt x="1296" y="1590"/>
                  </a:lnTo>
                  <a:lnTo>
                    <a:pt x="1302" y="1590"/>
                  </a:lnTo>
                  <a:lnTo>
                    <a:pt x="1308" y="1596"/>
                  </a:lnTo>
                  <a:lnTo>
                    <a:pt x="1320" y="1602"/>
                  </a:lnTo>
                  <a:lnTo>
                    <a:pt x="1326" y="1602"/>
                  </a:lnTo>
                  <a:lnTo>
                    <a:pt x="1326" y="1608"/>
                  </a:lnTo>
                  <a:lnTo>
                    <a:pt x="1332" y="1614"/>
                  </a:lnTo>
                  <a:lnTo>
                    <a:pt x="1344" y="1620"/>
                  </a:lnTo>
                  <a:lnTo>
                    <a:pt x="1356" y="1626"/>
                  </a:lnTo>
                  <a:lnTo>
                    <a:pt x="1356" y="1632"/>
                  </a:lnTo>
                  <a:lnTo>
                    <a:pt x="1356" y="1638"/>
                  </a:lnTo>
                  <a:lnTo>
                    <a:pt x="1362" y="1644"/>
                  </a:lnTo>
                  <a:lnTo>
                    <a:pt x="1368" y="1644"/>
                  </a:lnTo>
                  <a:lnTo>
                    <a:pt x="1380" y="1650"/>
                  </a:lnTo>
                  <a:lnTo>
                    <a:pt x="1386" y="1650"/>
                  </a:lnTo>
                  <a:lnTo>
                    <a:pt x="1386" y="1656"/>
                  </a:lnTo>
                  <a:lnTo>
                    <a:pt x="1392" y="1656"/>
                  </a:lnTo>
                  <a:lnTo>
                    <a:pt x="1398" y="1662"/>
                  </a:lnTo>
                  <a:lnTo>
                    <a:pt x="1410" y="1674"/>
                  </a:lnTo>
                  <a:lnTo>
                    <a:pt x="1428" y="1680"/>
                  </a:lnTo>
                  <a:lnTo>
                    <a:pt x="1428" y="1686"/>
                  </a:lnTo>
                  <a:lnTo>
                    <a:pt x="1428" y="1698"/>
                  </a:lnTo>
                  <a:lnTo>
                    <a:pt x="1434" y="1704"/>
                  </a:lnTo>
                  <a:lnTo>
                    <a:pt x="1434" y="1710"/>
                  </a:lnTo>
                  <a:lnTo>
                    <a:pt x="1440" y="1710"/>
                  </a:lnTo>
                  <a:lnTo>
                    <a:pt x="1446" y="1710"/>
                  </a:lnTo>
                  <a:lnTo>
                    <a:pt x="1446" y="1716"/>
                  </a:lnTo>
                  <a:lnTo>
                    <a:pt x="1440" y="1722"/>
                  </a:lnTo>
                  <a:lnTo>
                    <a:pt x="1440" y="1728"/>
                  </a:lnTo>
                  <a:lnTo>
                    <a:pt x="1440" y="1734"/>
                  </a:lnTo>
                  <a:lnTo>
                    <a:pt x="1440" y="1740"/>
                  </a:lnTo>
                  <a:lnTo>
                    <a:pt x="1440" y="1746"/>
                  </a:lnTo>
                  <a:lnTo>
                    <a:pt x="1440" y="1788"/>
                  </a:lnTo>
                  <a:lnTo>
                    <a:pt x="1440" y="1800"/>
                  </a:lnTo>
                  <a:lnTo>
                    <a:pt x="1440" y="1806"/>
                  </a:lnTo>
                  <a:lnTo>
                    <a:pt x="1440" y="1836"/>
                  </a:lnTo>
                  <a:lnTo>
                    <a:pt x="1440" y="1848"/>
                  </a:lnTo>
                  <a:lnTo>
                    <a:pt x="1446" y="1848"/>
                  </a:lnTo>
                  <a:lnTo>
                    <a:pt x="1446" y="1854"/>
                  </a:lnTo>
                  <a:lnTo>
                    <a:pt x="1452" y="1848"/>
                  </a:lnTo>
                  <a:lnTo>
                    <a:pt x="1458" y="1854"/>
                  </a:lnTo>
                  <a:lnTo>
                    <a:pt x="1452" y="1860"/>
                  </a:lnTo>
                  <a:lnTo>
                    <a:pt x="1452" y="1866"/>
                  </a:lnTo>
                  <a:lnTo>
                    <a:pt x="1458" y="1872"/>
                  </a:lnTo>
                  <a:lnTo>
                    <a:pt x="1464" y="1884"/>
                  </a:lnTo>
                  <a:lnTo>
                    <a:pt x="1428" y="1878"/>
                  </a:lnTo>
                  <a:lnTo>
                    <a:pt x="1356" y="1890"/>
                  </a:lnTo>
                  <a:lnTo>
                    <a:pt x="1296" y="1926"/>
                  </a:lnTo>
                  <a:lnTo>
                    <a:pt x="1266" y="1944"/>
                  </a:lnTo>
                  <a:lnTo>
                    <a:pt x="1224" y="1944"/>
                  </a:lnTo>
                  <a:lnTo>
                    <a:pt x="1188" y="1956"/>
                  </a:lnTo>
                  <a:lnTo>
                    <a:pt x="1188" y="1950"/>
                  </a:lnTo>
                  <a:lnTo>
                    <a:pt x="1176" y="1944"/>
                  </a:lnTo>
                  <a:lnTo>
                    <a:pt x="1176" y="1938"/>
                  </a:lnTo>
                  <a:lnTo>
                    <a:pt x="1170" y="1938"/>
                  </a:lnTo>
                  <a:lnTo>
                    <a:pt x="1164" y="1932"/>
                  </a:lnTo>
                  <a:lnTo>
                    <a:pt x="1158" y="1926"/>
                  </a:lnTo>
                  <a:lnTo>
                    <a:pt x="1158" y="1920"/>
                  </a:lnTo>
                  <a:lnTo>
                    <a:pt x="1152" y="1920"/>
                  </a:lnTo>
                  <a:lnTo>
                    <a:pt x="1146" y="1914"/>
                  </a:lnTo>
                  <a:lnTo>
                    <a:pt x="1146" y="1908"/>
                  </a:lnTo>
                  <a:lnTo>
                    <a:pt x="1140" y="1908"/>
                  </a:lnTo>
                  <a:lnTo>
                    <a:pt x="1134" y="1902"/>
                  </a:lnTo>
                  <a:lnTo>
                    <a:pt x="1134" y="1896"/>
                  </a:lnTo>
                  <a:lnTo>
                    <a:pt x="1116" y="1896"/>
                  </a:lnTo>
                  <a:lnTo>
                    <a:pt x="1104" y="1884"/>
                  </a:lnTo>
                  <a:lnTo>
                    <a:pt x="1092" y="1860"/>
                  </a:lnTo>
                  <a:lnTo>
                    <a:pt x="1068" y="1854"/>
                  </a:lnTo>
                  <a:lnTo>
                    <a:pt x="1032" y="1842"/>
                  </a:lnTo>
                  <a:lnTo>
                    <a:pt x="1008" y="1836"/>
                  </a:lnTo>
                  <a:lnTo>
                    <a:pt x="978" y="1824"/>
                  </a:lnTo>
                  <a:lnTo>
                    <a:pt x="942" y="1818"/>
                  </a:lnTo>
                  <a:lnTo>
                    <a:pt x="924" y="1806"/>
                  </a:lnTo>
                  <a:lnTo>
                    <a:pt x="906" y="1788"/>
                  </a:lnTo>
                  <a:lnTo>
                    <a:pt x="894" y="1776"/>
                  </a:lnTo>
                  <a:lnTo>
                    <a:pt x="864" y="1758"/>
                  </a:lnTo>
                  <a:lnTo>
                    <a:pt x="834" y="1752"/>
                  </a:lnTo>
                  <a:lnTo>
                    <a:pt x="798" y="1746"/>
                  </a:lnTo>
                  <a:lnTo>
                    <a:pt x="792" y="1806"/>
                  </a:lnTo>
                  <a:lnTo>
                    <a:pt x="798" y="1812"/>
                  </a:lnTo>
                  <a:lnTo>
                    <a:pt x="810" y="1830"/>
                  </a:lnTo>
                  <a:lnTo>
                    <a:pt x="792" y="1842"/>
                  </a:lnTo>
                  <a:lnTo>
                    <a:pt x="768" y="1842"/>
                  </a:lnTo>
                  <a:lnTo>
                    <a:pt x="708" y="1848"/>
                  </a:lnTo>
                  <a:lnTo>
                    <a:pt x="690" y="1860"/>
                  </a:lnTo>
                  <a:lnTo>
                    <a:pt x="690" y="1866"/>
                  </a:lnTo>
                  <a:lnTo>
                    <a:pt x="678" y="1878"/>
                  </a:lnTo>
                  <a:lnTo>
                    <a:pt x="660" y="1884"/>
                  </a:lnTo>
                  <a:lnTo>
                    <a:pt x="660" y="1902"/>
                  </a:lnTo>
                  <a:lnTo>
                    <a:pt x="642" y="1902"/>
                  </a:lnTo>
                  <a:lnTo>
                    <a:pt x="582" y="1914"/>
                  </a:lnTo>
                  <a:lnTo>
                    <a:pt x="534" y="1908"/>
                  </a:lnTo>
                  <a:lnTo>
                    <a:pt x="510" y="1908"/>
                  </a:lnTo>
                  <a:lnTo>
                    <a:pt x="510" y="1896"/>
                  </a:lnTo>
                  <a:lnTo>
                    <a:pt x="492" y="1896"/>
                  </a:lnTo>
                  <a:lnTo>
                    <a:pt x="486" y="1902"/>
                  </a:lnTo>
                  <a:lnTo>
                    <a:pt x="474" y="1908"/>
                  </a:lnTo>
                  <a:lnTo>
                    <a:pt x="450" y="1908"/>
                  </a:lnTo>
                  <a:lnTo>
                    <a:pt x="432" y="1902"/>
                  </a:lnTo>
                  <a:lnTo>
                    <a:pt x="426" y="1896"/>
                  </a:lnTo>
                  <a:lnTo>
                    <a:pt x="402" y="1884"/>
                  </a:lnTo>
                  <a:lnTo>
                    <a:pt x="390" y="1872"/>
                  </a:lnTo>
                  <a:lnTo>
                    <a:pt x="384" y="1872"/>
                  </a:lnTo>
                  <a:lnTo>
                    <a:pt x="378" y="1872"/>
                  </a:lnTo>
                  <a:lnTo>
                    <a:pt x="378" y="1866"/>
                  </a:lnTo>
                  <a:lnTo>
                    <a:pt x="372" y="1860"/>
                  </a:lnTo>
                  <a:lnTo>
                    <a:pt x="372" y="1854"/>
                  </a:lnTo>
                  <a:lnTo>
                    <a:pt x="366" y="1842"/>
                  </a:lnTo>
                  <a:lnTo>
                    <a:pt x="366" y="1836"/>
                  </a:lnTo>
                  <a:lnTo>
                    <a:pt x="348" y="1830"/>
                  </a:lnTo>
                  <a:lnTo>
                    <a:pt x="348" y="1806"/>
                  </a:lnTo>
                  <a:lnTo>
                    <a:pt x="348" y="1800"/>
                  </a:lnTo>
                  <a:lnTo>
                    <a:pt x="348" y="1782"/>
                  </a:lnTo>
                  <a:lnTo>
                    <a:pt x="336" y="1788"/>
                  </a:lnTo>
                  <a:lnTo>
                    <a:pt x="312" y="1794"/>
                  </a:lnTo>
                  <a:lnTo>
                    <a:pt x="288" y="1788"/>
                  </a:lnTo>
                  <a:lnTo>
                    <a:pt x="264" y="1758"/>
                  </a:lnTo>
                  <a:lnTo>
                    <a:pt x="270" y="1758"/>
                  </a:lnTo>
                  <a:lnTo>
                    <a:pt x="270" y="1752"/>
                  </a:lnTo>
                  <a:lnTo>
                    <a:pt x="276" y="1752"/>
                  </a:lnTo>
                  <a:lnTo>
                    <a:pt x="282" y="1746"/>
                  </a:lnTo>
                  <a:lnTo>
                    <a:pt x="300" y="1746"/>
                  </a:lnTo>
                  <a:lnTo>
                    <a:pt x="312" y="1746"/>
                  </a:lnTo>
                  <a:lnTo>
                    <a:pt x="336" y="1710"/>
                  </a:lnTo>
                  <a:lnTo>
                    <a:pt x="342" y="1692"/>
                  </a:lnTo>
                  <a:lnTo>
                    <a:pt x="348" y="1680"/>
                  </a:lnTo>
                  <a:lnTo>
                    <a:pt x="342" y="1650"/>
                  </a:lnTo>
                  <a:lnTo>
                    <a:pt x="354" y="1644"/>
                  </a:lnTo>
                  <a:lnTo>
                    <a:pt x="354" y="1638"/>
                  </a:lnTo>
                  <a:lnTo>
                    <a:pt x="360" y="1632"/>
                  </a:lnTo>
                  <a:lnTo>
                    <a:pt x="354" y="1626"/>
                  </a:lnTo>
                  <a:lnTo>
                    <a:pt x="348" y="1626"/>
                  </a:lnTo>
                  <a:lnTo>
                    <a:pt x="348" y="1620"/>
                  </a:lnTo>
                  <a:lnTo>
                    <a:pt x="342" y="1620"/>
                  </a:lnTo>
                  <a:lnTo>
                    <a:pt x="348" y="1614"/>
                  </a:lnTo>
                  <a:lnTo>
                    <a:pt x="324" y="1566"/>
                  </a:lnTo>
                  <a:lnTo>
                    <a:pt x="318" y="1566"/>
                  </a:lnTo>
                  <a:lnTo>
                    <a:pt x="306" y="1572"/>
                  </a:lnTo>
                  <a:lnTo>
                    <a:pt x="300" y="1572"/>
                  </a:lnTo>
                  <a:lnTo>
                    <a:pt x="294" y="1578"/>
                  </a:lnTo>
                  <a:lnTo>
                    <a:pt x="288" y="1584"/>
                  </a:lnTo>
                  <a:lnTo>
                    <a:pt x="282" y="1584"/>
                  </a:lnTo>
                  <a:lnTo>
                    <a:pt x="282" y="1578"/>
                  </a:lnTo>
                  <a:lnTo>
                    <a:pt x="276" y="1578"/>
                  </a:lnTo>
                  <a:lnTo>
                    <a:pt x="270" y="1578"/>
                  </a:lnTo>
                  <a:lnTo>
                    <a:pt x="264" y="1578"/>
                  </a:lnTo>
                  <a:lnTo>
                    <a:pt x="258" y="1578"/>
                  </a:lnTo>
                  <a:lnTo>
                    <a:pt x="252" y="1578"/>
                  </a:lnTo>
                  <a:lnTo>
                    <a:pt x="252" y="1584"/>
                  </a:lnTo>
                  <a:lnTo>
                    <a:pt x="246" y="1584"/>
                  </a:lnTo>
                  <a:lnTo>
                    <a:pt x="210" y="1584"/>
                  </a:lnTo>
                  <a:lnTo>
                    <a:pt x="204" y="1584"/>
                  </a:lnTo>
                  <a:lnTo>
                    <a:pt x="192" y="1584"/>
                  </a:lnTo>
                  <a:lnTo>
                    <a:pt x="168" y="1596"/>
                  </a:lnTo>
                  <a:lnTo>
                    <a:pt x="156" y="1572"/>
                  </a:lnTo>
                  <a:lnTo>
                    <a:pt x="156" y="1566"/>
                  </a:lnTo>
                  <a:lnTo>
                    <a:pt x="156" y="1560"/>
                  </a:lnTo>
                  <a:lnTo>
                    <a:pt x="162" y="1548"/>
                  </a:lnTo>
                  <a:lnTo>
                    <a:pt x="162" y="1542"/>
                  </a:lnTo>
                  <a:lnTo>
                    <a:pt x="162" y="1536"/>
                  </a:lnTo>
                  <a:lnTo>
                    <a:pt x="168" y="1530"/>
                  </a:lnTo>
                  <a:lnTo>
                    <a:pt x="168" y="1524"/>
                  </a:lnTo>
                  <a:lnTo>
                    <a:pt x="168" y="1518"/>
                  </a:lnTo>
                  <a:lnTo>
                    <a:pt x="174" y="1518"/>
                  </a:lnTo>
                  <a:lnTo>
                    <a:pt x="174" y="1506"/>
                  </a:lnTo>
                  <a:lnTo>
                    <a:pt x="156" y="1470"/>
                  </a:lnTo>
                  <a:lnTo>
                    <a:pt x="138" y="1464"/>
                  </a:lnTo>
                  <a:lnTo>
                    <a:pt x="126" y="1446"/>
                  </a:lnTo>
                  <a:lnTo>
                    <a:pt x="126" y="1440"/>
                  </a:lnTo>
                  <a:lnTo>
                    <a:pt x="126" y="1434"/>
                  </a:lnTo>
                  <a:lnTo>
                    <a:pt x="120" y="1428"/>
                  </a:lnTo>
                  <a:lnTo>
                    <a:pt x="126" y="1398"/>
                  </a:lnTo>
                  <a:lnTo>
                    <a:pt x="120" y="1374"/>
                  </a:lnTo>
                  <a:lnTo>
                    <a:pt x="60" y="1374"/>
                  </a:lnTo>
                  <a:lnTo>
                    <a:pt x="60" y="1368"/>
                  </a:lnTo>
                  <a:lnTo>
                    <a:pt x="54" y="1362"/>
                  </a:lnTo>
                  <a:lnTo>
                    <a:pt x="48" y="1356"/>
                  </a:lnTo>
                  <a:lnTo>
                    <a:pt x="42" y="1356"/>
                  </a:lnTo>
                  <a:lnTo>
                    <a:pt x="42" y="1350"/>
                  </a:lnTo>
                  <a:lnTo>
                    <a:pt x="36" y="1344"/>
                  </a:lnTo>
                  <a:lnTo>
                    <a:pt x="36" y="1338"/>
                  </a:lnTo>
                  <a:lnTo>
                    <a:pt x="30" y="1332"/>
                  </a:lnTo>
                  <a:lnTo>
                    <a:pt x="30" y="1326"/>
                  </a:lnTo>
                  <a:lnTo>
                    <a:pt x="18" y="1326"/>
                  </a:lnTo>
                  <a:lnTo>
                    <a:pt x="18" y="1320"/>
                  </a:lnTo>
                  <a:lnTo>
                    <a:pt x="18" y="1326"/>
                  </a:lnTo>
                  <a:lnTo>
                    <a:pt x="6" y="1320"/>
                  </a:lnTo>
                  <a:lnTo>
                    <a:pt x="0" y="1314"/>
                  </a:lnTo>
                  <a:lnTo>
                    <a:pt x="12" y="1266"/>
                  </a:lnTo>
                  <a:lnTo>
                    <a:pt x="6" y="1242"/>
                  </a:lnTo>
                  <a:lnTo>
                    <a:pt x="12" y="1236"/>
                  </a:lnTo>
                  <a:lnTo>
                    <a:pt x="12" y="1230"/>
                  </a:lnTo>
                  <a:lnTo>
                    <a:pt x="18" y="1230"/>
                  </a:lnTo>
                  <a:lnTo>
                    <a:pt x="18" y="1224"/>
                  </a:lnTo>
                  <a:lnTo>
                    <a:pt x="24" y="1218"/>
                  </a:lnTo>
                  <a:lnTo>
                    <a:pt x="24" y="1212"/>
                  </a:lnTo>
                  <a:lnTo>
                    <a:pt x="30" y="1212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48" y="1188"/>
                  </a:lnTo>
                  <a:lnTo>
                    <a:pt x="48" y="1182"/>
                  </a:lnTo>
                  <a:lnTo>
                    <a:pt x="48" y="1176"/>
                  </a:lnTo>
                  <a:lnTo>
                    <a:pt x="48" y="1170"/>
                  </a:lnTo>
                  <a:lnTo>
                    <a:pt x="54" y="1170"/>
                  </a:lnTo>
                  <a:lnTo>
                    <a:pt x="60" y="1164"/>
                  </a:lnTo>
                  <a:lnTo>
                    <a:pt x="60" y="1158"/>
                  </a:lnTo>
                  <a:lnTo>
                    <a:pt x="66" y="1152"/>
                  </a:lnTo>
                  <a:lnTo>
                    <a:pt x="60" y="1140"/>
                  </a:lnTo>
                  <a:lnTo>
                    <a:pt x="60" y="1134"/>
                  </a:lnTo>
                  <a:lnTo>
                    <a:pt x="54" y="1134"/>
                  </a:lnTo>
                  <a:lnTo>
                    <a:pt x="54" y="1128"/>
                  </a:lnTo>
                  <a:lnTo>
                    <a:pt x="48" y="1122"/>
                  </a:lnTo>
                  <a:lnTo>
                    <a:pt x="48" y="1116"/>
                  </a:lnTo>
                  <a:lnTo>
                    <a:pt x="48" y="1110"/>
                  </a:lnTo>
                  <a:lnTo>
                    <a:pt x="42" y="1104"/>
                  </a:lnTo>
                  <a:lnTo>
                    <a:pt x="42" y="1098"/>
                  </a:lnTo>
                  <a:lnTo>
                    <a:pt x="36" y="1092"/>
                  </a:lnTo>
                  <a:lnTo>
                    <a:pt x="30" y="1092"/>
                  </a:lnTo>
                  <a:lnTo>
                    <a:pt x="24" y="1092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18" y="1080"/>
                  </a:lnTo>
                  <a:lnTo>
                    <a:pt x="18" y="1074"/>
                  </a:lnTo>
                  <a:lnTo>
                    <a:pt x="12" y="1068"/>
                  </a:lnTo>
                  <a:lnTo>
                    <a:pt x="6" y="1068"/>
                  </a:lnTo>
                  <a:lnTo>
                    <a:pt x="12" y="1056"/>
                  </a:lnTo>
                  <a:lnTo>
                    <a:pt x="6" y="1056"/>
                  </a:lnTo>
                  <a:lnTo>
                    <a:pt x="6" y="1050"/>
                  </a:lnTo>
                  <a:lnTo>
                    <a:pt x="6" y="1044"/>
                  </a:lnTo>
                  <a:lnTo>
                    <a:pt x="6" y="1026"/>
                  </a:lnTo>
                  <a:lnTo>
                    <a:pt x="12" y="1020"/>
                  </a:lnTo>
                  <a:lnTo>
                    <a:pt x="12" y="1014"/>
                  </a:lnTo>
                  <a:lnTo>
                    <a:pt x="18" y="1014"/>
                  </a:lnTo>
                  <a:lnTo>
                    <a:pt x="18" y="1008"/>
                  </a:lnTo>
                  <a:lnTo>
                    <a:pt x="18" y="1002"/>
                  </a:lnTo>
                  <a:lnTo>
                    <a:pt x="18" y="990"/>
                  </a:lnTo>
                  <a:lnTo>
                    <a:pt x="12" y="972"/>
                  </a:lnTo>
                  <a:lnTo>
                    <a:pt x="18" y="954"/>
                  </a:lnTo>
                  <a:lnTo>
                    <a:pt x="18" y="948"/>
                  </a:lnTo>
                  <a:lnTo>
                    <a:pt x="24" y="948"/>
                  </a:lnTo>
                  <a:lnTo>
                    <a:pt x="24" y="930"/>
                  </a:lnTo>
                  <a:lnTo>
                    <a:pt x="30" y="930"/>
                  </a:lnTo>
                  <a:lnTo>
                    <a:pt x="36" y="918"/>
                  </a:lnTo>
                  <a:lnTo>
                    <a:pt x="42" y="918"/>
                  </a:lnTo>
                  <a:lnTo>
                    <a:pt x="48" y="918"/>
                  </a:lnTo>
                  <a:lnTo>
                    <a:pt x="78" y="912"/>
                  </a:lnTo>
                  <a:lnTo>
                    <a:pt x="90" y="894"/>
                  </a:lnTo>
                  <a:lnTo>
                    <a:pt x="96" y="894"/>
                  </a:lnTo>
                  <a:lnTo>
                    <a:pt x="102" y="888"/>
                  </a:lnTo>
                  <a:lnTo>
                    <a:pt x="102" y="882"/>
                  </a:lnTo>
                  <a:lnTo>
                    <a:pt x="114" y="870"/>
                  </a:lnTo>
                  <a:lnTo>
                    <a:pt x="120" y="864"/>
                  </a:lnTo>
                  <a:lnTo>
                    <a:pt x="120" y="852"/>
                  </a:lnTo>
                  <a:lnTo>
                    <a:pt x="120" y="846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32" y="840"/>
                  </a:lnTo>
                  <a:lnTo>
                    <a:pt x="138" y="840"/>
                  </a:lnTo>
                  <a:lnTo>
                    <a:pt x="138" y="834"/>
                  </a:lnTo>
                  <a:lnTo>
                    <a:pt x="144" y="834"/>
                  </a:lnTo>
                  <a:lnTo>
                    <a:pt x="144" y="828"/>
                  </a:lnTo>
                  <a:lnTo>
                    <a:pt x="150" y="828"/>
                  </a:lnTo>
                  <a:lnTo>
                    <a:pt x="156" y="822"/>
                  </a:lnTo>
                  <a:lnTo>
                    <a:pt x="162" y="816"/>
                  </a:lnTo>
                  <a:lnTo>
                    <a:pt x="162" y="822"/>
                  </a:lnTo>
                  <a:lnTo>
                    <a:pt x="162" y="816"/>
                  </a:lnTo>
                  <a:lnTo>
                    <a:pt x="162" y="810"/>
                  </a:lnTo>
                  <a:lnTo>
                    <a:pt x="168" y="810"/>
                  </a:lnTo>
                  <a:lnTo>
                    <a:pt x="174" y="804"/>
                  </a:lnTo>
                  <a:lnTo>
                    <a:pt x="180" y="798"/>
                  </a:lnTo>
                  <a:lnTo>
                    <a:pt x="180" y="786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8" y="780"/>
                  </a:lnTo>
                  <a:lnTo>
                    <a:pt x="204" y="774"/>
                  </a:lnTo>
                  <a:lnTo>
                    <a:pt x="210" y="774"/>
                  </a:lnTo>
                  <a:lnTo>
                    <a:pt x="216" y="768"/>
                  </a:lnTo>
                  <a:lnTo>
                    <a:pt x="222" y="762"/>
                  </a:lnTo>
                  <a:lnTo>
                    <a:pt x="228" y="762"/>
                  </a:lnTo>
                  <a:lnTo>
                    <a:pt x="228" y="768"/>
                  </a:lnTo>
                  <a:lnTo>
                    <a:pt x="234" y="768"/>
                  </a:lnTo>
                  <a:lnTo>
                    <a:pt x="240" y="762"/>
                  </a:lnTo>
                  <a:lnTo>
                    <a:pt x="252" y="762"/>
                  </a:lnTo>
                  <a:lnTo>
                    <a:pt x="264" y="768"/>
                  </a:lnTo>
                  <a:lnTo>
                    <a:pt x="294" y="756"/>
                  </a:lnTo>
                  <a:lnTo>
                    <a:pt x="294" y="750"/>
                  </a:lnTo>
                  <a:lnTo>
                    <a:pt x="300" y="750"/>
                  </a:lnTo>
                  <a:lnTo>
                    <a:pt x="306" y="744"/>
                  </a:lnTo>
                  <a:lnTo>
                    <a:pt x="342" y="750"/>
                  </a:lnTo>
                  <a:lnTo>
                    <a:pt x="348" y="750"/>
                  </a:lnTo>
                  <a:lnTo>
                    <a:pt x="348" y="744"/>
                  </a:lnTo>
                  <a:lnTo>
                    <a:pt x="354" y="744"/>
                  </a:lnTo>
                  <a:lnTo>
                    <a:pt x="360" y="744"/>
                  </a:lnTo>
                  <a:lnTo>
                    <a:pt x="360" y="750"/>
                  </a:lnTo>
                  <a:lnTo>
                    <a:pt x="366" y="750"/>
                  </a:lnTo>
                  <a:lnTo>
                    <a:pt x="366" y="744"/>
                  </a:lnTo>
                  <a:lnTo>
                    <a:pt x="366" y="738"/>
                  </a:lnTo>
                  <a:lnTo>
                    <a:pt x="372" y="744"/>
                  </a:lnTo>
                  <a:lnTo>
                    <a:pt x="378" y="744"/>
                  </a:lnTo>
                  <a:lnTo>
                    <a:pt x="384" y="750"/>
                  </a:lnTo>
                  <a:lnTo>
                    <a:pt x="444" y="774"/>
                  </a:lnTo>
                  <a:lnTo>
                    <a:pt x="450" y="774"/>
                  </a:lnTo>
                  <a:lnTo>
                    <a:pt x="456" y="768"/>
                  </a:lnTo>
                  <a:lnTo>
                    <a:pt x="462" y="768"/>
                  </a:lnTo>
                  <a:lnTo>
                    <a:pt x="462" y="762"/>
                  </a:lnTo>
                  <a:lnTo>
                    <a:pt x="468" y="762"/>
                  </a:lnTo>
                  <a:lnTo>
                    <a:pt x="474" y="756"/>
                  </a:lnTo>
                  <a:lnTo>
                    <a:pt x="480" y="750"/>
                  </a:lnTo>
                  <a:lnTo>
                    <a:pt x="516" y="756"/>
                  </a:lnTo>
                  <a:lnTo>
                    <a:pt x="522" y="756"/>
                  </a:lnTo>
                  <a:lnTo>
                    <a:pt x="522" y="762"/>
                  </a:lnTo>
                  <a:lnTo>
                    <a:pt x="522" y="768"/>
                  </a:lnTo>
                  <a:lnTo>
                    <a:pt x="522" y="774"/>
                  </a:lnTo>
                  <a:lnTo>
                    <a:pt x="528" y="780"/>
                  </a:lnTo>
                  <a:lnTo>
                    <a:pt x="540" y="780"/>
                  </a:lnTo>
                  <a:lnTo>
                    <a:pt x="540" y="804"/>
                  </a:lnTo>
                  <a:lnTo>
                    <a:pt x="540" y="810"/>
                  </a:lnTo>
                  <a:lnTo>
                    <a:pt x="546" y="810"/>
                  </a:lnTo>
                  <a:lnTo>
                    <a:pt x="552" y="810"/>
                  </a:lnTo>
                  <a:lnTo>
                    <a:pt x="558" y="810"/>
                  </a:lnTo>
                  <a:lnTo>
                    <a:pt x="564" y="810"/>
                  </a:lnTo>
                  <a:lnTo>
                    <a:pt x="570" y="810"/>
                  </a:lnTo>
                  <a:lnTo>
                    <a:pt x="576" y="810"/>
                  </a:lnTo>
                  <a:lnTo>
                    <a:pt x="576" y="816"/>
                  </a:lnTo>
                  <a:lnTo>
                    <a:pt x="588" y="816"/>
                  </a:lnTo>
                  <a:lnTo>
                    <a:pt x="594" y="816"/>
                  </a:lnTo>
                  <a:lnTo>
                    <a:pt x="600" y="822"/>
                  </a:lnTo>
                  <a:lnTo>
                    <a:pt x="606" y="816"/>
                  </a:lnTo>
                  <a:lnTo>
                    <a:pt x="612" y="816"/>
                  </a:lnTo>
                  <a:lnTo>
                    <a:pt x="612" y="810"/>
                  </a:lnTo>
                  <a:lnTo>
                    <a:pt x="624" y="810"/>
                  </a:lnTo>
                  <a:lnTo>
                    <a:pt x="624" y="804"/>
                  </a:lnTo>
                  <a:lnTo>
                    <a:pt x="630" y="798"/>
                  </a:lnTo>
                  <a:lnTo>
                    <a:pt x="636" y="798"/>
                  </a:lnTo>
                  <a:lnTo>
                    <a:pt x="636" y="804"/>
                  </a:lnTo>
                  <a:lnTo>
                    <a:pt x="642" y="804"/>
                  </a:lnTo>
                  <a:lnTo>
                    <a:pt x="648" y="804"/>
                  </a:lnTo>
                  <a:lnTo>
                    <a:pt x="654" y="804"/>
                  </a:lnTo>
                  <a:lnTo>
                    <a:pt x="660" y="804"/>
                  </a:lnTo>
                  <a:lnTo>
                    <a:pt x="678" y="798"/>
                  </a:lnTo>
                  <a:lnTo>
                    <a:pt x="714" y="786"/>
                  </a:lnTo>
                  <a:lnTo>
                    <a:pt x="714" y="792"/>
                  </a:lnTo>
                  <a:lnTo>
                    <a:pt x="714" y="798"/>
                  </a:lnTo>
                  <a:lnTo>
                    <a:pt x="714" y="804"/>
                  </a:lnTo>
                  <a:lnTo>
                    <a:pt x="720" y="804"/>
                  </a:lnTo>
                  <a:lnTo>
                    <a:pt x="720" y="810"/>
                  </a:lnTo>
                  <a:lnTo>
                    <a:pt x="720" y="816"/>
                  </a:lnTo>
                  <a:lnTo>
                    <a:pt x="726" y="822"/>
                  </a:lnTo>
                  <a:lnTo>
                    <a:pt x="732" y="828"/>
                  </a:lnTo>
                  <a:lnTo>
                    <a:pt x="732" y="834"/>
                  </a:lnTo>
                  <a:lnTo>
                    <a:pt x="732" y="846"/>
                  </a:lnTo>
                  <a:lnTo>
                    <a:pt x="732" y="858"/>
                  </a:lnTo>
                  <a:lnTo>
                    <a:pt x="738" y="858"/>
                  </a:lnTo>
                  <a:lnTo>
                    <a:pt x="732" y="864"/>
                  </a:lnTo>
                  <a:lnTo>
                    <a:pt x="732" y="870"/>
                  </a:lnTo>
                  <a:lnTo>
                    <a:pt x="726" y="870"/>
                  </a:lnTo>
                  <a:lnTo>
                    <a:pt x="726" y="876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0" y="882"/>
                  </a:lnTo>
                  <a:lnTo>
                    <a:pt x="690" y="912"/>
                  </a:lnTo>
                  <a:lnTo>
                    <a:pt x="696" y="936"/>
                  </a:lnTo>
                  <a:lnTo>
                    <a:pt x="702" y="936"/>
                  </a:lnTo>
                  <a:lnTo>
                    <a:pt x="702" y="930"/>
                  </a:lnTo>
                  <a:lnTo>
                    <a:pt x="708" y="930"/>
                  </a:lnTo>
                  <a:lnTo>
                    <a:pt x="708" y="924"/>
                  </a:lnTo>
                  <a:lnTo>
                    <a:pt x="708" y="918"/>
                  </a:lnTo>
                  <a:lnTo>
                    <a:pt x="714" y="918"/>
                  </a:lnTo>
                  <a:lnTo>
                    <a:pt x="720" y="954"/>
                  </a:lnTo>
                  <a:lnTo>
                    <a:pt x="726" y="966"/>
                  </a:lnTo>
                  <a:lnTo>
                    <a:pt x="744" y="966"/>
                  </a:lnTo>
                  <a:lnTo>
                    <a:pt x="756" y="972"/>
                  </a:lnTo>
                  <a:lnTo>
                    <a:pt x="792" y="990"/>
                  </a:lnTo>
                  <a:lnTo>
                    <a:pt x="828" y="978"/>
                  </a:lnTo>
                  <a:lnTo>
                    <a:pt x="834" y="978"/>
                  </a:lnTo>
                  <a:lnTo>
                    <a:pt x="840" y="978"/>
                  </a:lnTo>
                  <a:lnTo>
                    <a:pt x="840" y="984"/>
                  </a:lnTo>
                  <a:lnTo>
                    <a:pt x="846" y="984"/>
                  </a:lnTo>
                  <a:lnTo>
                    <a:pt x="858" y="972"/>
                  </a:lnTo>
                  <a:lnTo>
                    <a:pt x="882" y="972"/>
                  </a:lnTo>
                  <a:lnTo>
                    <a:pt x="888" y="984"/>
                  </a:lnTo>
                  <a:lnTo>
                    <a:pt x="900" y="990"/>
                  </a:lnTo>
                  <a:lnTo>
                    <a:pt x="924" y="996"/>
                  </a:lnTo>
                  <a:lnTo>
                    <a:pt x="930" y="990"/>
                  </a:lnTo>
                  <a:lnTo>
                    <a:pt x="930" y="984"/>
                  </a:lnTo>
                  <a:lnTo>
                    <a:pt x="924" y="978"/>
                  </a:lnTo>
                  <a:lnTo>
                    <a:pt x="906" y="972"/>
                  </a:lnTo>
                  <a:lnTo>
                    <a:pt x="900" y="966"/>
                  </a:lnTo>
                  <a:lnTo>
                    <a:pt x="900" y="960"/>
                  </a:lnTo>
                  <a:lnTo>
                    <a:pt x="900" y="954"/>
                  </a:lnTo>
                  <a:lnTo>
                    <a:pt x="900" y="948"/>
                  </a:lnTo>
                  <a:lnTo>
                    <a:pt x="912" y="936"/>
                  </a:lnTo>
                  <a:lnTo>
                    <a:pt x="912" y="924"/>
                  </a:lnTo>
                  <a:lnTo>
                    <a:pt x="918" y="924"/>
                  </a:lnTo>
                  <a:lnTo>
                    <a:pt x="918" y="918"/>
                  </a:lnTo>
                  <a:lnTo>
                    <a:pt x="936" y="906"/>
                  </a:lnTo>
                  <a:lnTo>
                    <a:pt x="942" y="906"/>
                  </a:lnTo>
                  <a:lnTo>
                    <a:pt x="948" y="906"/>
                  </a:lnTo>
                  <a:lnTo>
                    <a:pt x="954" y="906"/>
                  </a:lnTo>
                  <a:lnTo>
                    <a:pt x="960" y="906"/>
                  </a:lnTo>
                  <a:lnTo>
                    <a:pt x="966" y="912"/>
                  </a:lnTo>
                  <a:lnTo>
                    <a:pt x="972" y="906"/>
                  </a:lnTo>
                  <a:lnTo>
                    <a:pt x="978" y="906"/>
                  </a:lnTo>
                  <a:lnTo>
                    <a:pt x="984" y="900"/>
                  </a:lnTo>
                  <a:lnTo>
                    <a:pt x="984" y="894"/>
                  </a:lnTo>
                  <a:lnTo>
                    <a:pt x="990" y="894"/>
                  </a:lnTo>
                  <a:lnTo>
                    <a:pt x="996" y="888"/>
                  </a:lnTo>
                  <a:lnTo>
                    <a:pt x="1002" y="888"/>
                  </a:lnTo>
                  <a:lnTo>
                    <a:pt x="1008" y="882"/>
                  </a:lnTo>
                  <a:lnTo>
                    <a:pt x="1014" y="882"/>
                  </a:lnTo>
                  <a:lnTo>
                    <a:pt x="1020" y="882"/>
                  </a:lnTo>
                  <a:lnTo>
                    <a:pt x="1020" y="888"/>
                  </a:lnTo>
                  <a:lnTo>
                    <a:pt x="1026" y="882"/>
                  </a:lnTo>
                  <a:lnTo>
                    <a:pt x="1026" y="876"/>
                  </a:lnTo>
                  <a:lnTo>
                    <a:pt x="1026" y="870"/>
                  </a:lnTo>
                  <a:lnTo>
                    <a:pt x="1032" y="864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44" y="852"/>
                  </a:lnTo>
                  <a:lnTo>
                    <a:pt x="1038" y="846"/>
                  </a:lnTo>
                  <a:lnTo>
                    <a:pt x="1038" y="840"/>
                  </a:lnTo>
                  <a:lnTo>
                    <a:pt x="1032" y="840"/>
                  </a:lnTo>
                  <a:lnTo>
                    <a:pt x="1026" y="840"/>
                  </a:lnTo>
                  <a:lnTo>
                    <a:pt x="1020" y="840"/>
                  </a:lnTo>
                  <a:lnTo>
                    <a:pt x="1014" y="846"/>
                  </a:lnTo>
                  <a:lnTo>
                    <a:pt x="1008" y="846"/>
                  </a:lnTo>
                  <a:lnTo>
                    <a:pt x="1002" y="840"/>
                  </a:lnTo>
                  <a:lnTo>
                    <a:pt x="996" y="840"/>
                  </a:lnTo>
                  <a:lnTo>
                    <a:pt x="990" y="834"/>
                  </a:lnTo>
                  <a:lnTo>
                    <a:pt x="984" y="834"/>
                  </a:lnTo>
                  <a:lnTo>
                    <a:pt x="978" y="834"/>
                  </a:lnTo>
                  <a:lnTo>
                    <a:pt x="972" y="834"/>
                  </a:lnTo>
                  <a:lnTo>
                    <a:pt x="966" y="834"/>
                  </a:lnTo>
                  <a:lnTo>
                    <a:pt x="966" y="828"/>
                  </a:lnTo>
                  <a:lnTo>
                    <a:pt x="960" y="828"/>
                  </a:lnTo>
                  <a:lnTo>
                    <a:pt x="954" y="828"/>
                  </a:lnTo>
                  <a:lnTo>
                    <a:pt x="942" y="828"/>
                  </a:lnTo>
                  <a:lnTo>
                    <a:pt x="936" y="828"/>
                  </a:lnTo>
                  <a:lnTo>
                    <a:pt x="930" y="828"/>
                  </a:lnTo>
                  <a:lnTo>
                    <a:pt x="918" y="828"/>
                  </a:lnTo>
                  <a:lnTo>
                    <a:pt x="918" y="822"/>
                  </a:lnTo>
                  <a:lnTo>
                    <a:pt x="912" y="828"/>
                  </a:lnTo>
                  <a:lnTo>
                    <a:pt x="912" y="822"/>
                  </a:lnTo>
                  <a:lnTo>
                    <a:pt x="906" y="816"/>
                  </a:lnTo>
                  <a:lnTo>
                    <a:pt x="900" y="816"/>
                  </a:lnTo>
                  <a:lnTo>
                    <a:pt x="894" y="816"/>
                  </a:lnTo>
                  <a:lnTo>
                    <a:pt x="888" y="816"/>
                  </a:lnTo>
                  <a:lnTo>
                    <a:pt x="882" y="816"/>
                  </a:lnTo>
                  <a:lnTo>
                    <a:pt x="882" y="810"/>
                  </a:lnTo>
                  <a:lnTo>
                    <a:pt x="876" y="804"/>
                  </a:lnTo>
                  <a:lnTo>
                    <a:pt x="870" y="804"/>
                  </a:lnTo>
                  <a:lnTo>
                    <a:pt x="864" y="798"/>
                  </a:lnTo>
                  <a:lnTo>
                    <a:pt x="858" y="798"/>
                  </a:lnTo>
                  <a:lnTo>
                    <a:pt x="858" y="804"/>
                  </a:lnTo>
                  <a:lnTo>
                    <a:pt x="852" y="804"/>
                  </a:lnTo>
                  <a:lnTo>
                    <a:pt x="846" y="804"/>
                  </a:lnTo>
                  <a:lnTo>
                    <a:pt x="846" y="798"/>
                  </a:lnTo>
                  <a:lnTo>
                    <a:pt x="840" y="804"/>
                  </a:lnTo>
                  <a:lnTo>
                    <a:pt x="834" y="804"/>
                  </a:lnTo>
                  <a:lnTo>
                    <a:pt x="828" y="804"/>
                  </a:lnTo>
                  <a:lnTo>
                    <a:pt x="828" y="810"/>
                  </a:lnTo>
                  <a:lnTo>
                    <a:pt x="822" y="810"/>
                  </a:lnTo>
                  <a:lnTo>
                    <a:pt x="810" y="804"/>
                  </a:lnTo>
                  <a:lnTo>
                    <a:pt x="810" y="798"/>
                  </a:lnTo>
                  <a:lnTo>
                    <a:pt x="780" y="798"/>
                  </a:lnTo>
                  <a:lnTo>
                    <a:pt x="756" y="774"/>
                  </a:lnTo>
                  <a:lnTo>
                    <a:pt x="750" y="768"/>
                  </a:lnTo>
                  <a:lnTo>
                    <a:pt x="750" y="744"/>
                  </a:lnTo>
                  <a:lnTo>
                    <a:pt x="732" y="738"/>
                  </a:lnTo>
                  <a:lnTo>
                    <a:pt x="732" y="720"/>
                  </a:lnTo>
                  <a:lnTo>
                    <a:pt x="714" y="690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6" y="666"/>
                  </a:lnTo>
                  <a:lnTo>
                    <a:pt x="690" y="666"/>
                  </a:lnTo>
                  <a:lnTo>
                    <a:pt x="678" y="672"/>
                  </a:lnTo>
                  <a:lnTo>
                    <a:pt x="678" y="654"/>
                  </a:lnTo>
                  <a:lnTo>
                    <a:pt x="684" y="630"/>
                  </a:lnTo>
                  <a:lnTo>
                    <a:pt x="690" y="618"/>
                  </a:lnTo>
                  <a:lnTo>
                    <a:pt x="696" y="612"/>
                  </a:lnTo>
                  <a:lnTo>
                    <a:pt x="696" y="588"/>
                  </a:lnTo>
                  <a:lnTo>
                    <a:pt x="690" y="576"/>
                  </a:lnTo>
                  <a:lnTo>
                    <a:pt x="696" y="552"/>
                  </a:lnTo>
                  <a:lnTo>
                    <a:pt x="684" y="522"/>
                  </a:lnTo>
                  <a:lnTo>
                    <a:pt x="672" y="504"/>
                  </a:lnTo>
                  <a:lnTo>
                    <a:pt x="654" y="504"/>
                  </a:lnTo>
                  <a:lnTo>
                    <a:pt x="642" y="504"/>
                  </a:lnTo>
                  <a:lnTo>
                    <a:pt x="624" y="510"/>
                  </a:lnTo>
                  <a:lnTo>
                    <a:pt x="612" y="516"/>
                  </a:lnTo>
                  <a:lnTo>
                    <a:pt x="594" y="516"/>
                  </a:lnTo>
                  <a:lnTo>
                    <a:pt x="588" y="516"/>
                  </a:lnTo>
                  <a:lnTo>
                    <a:pt x="588" y="522"/>
                  </a:lnTo>
                  <a:lnTo>
                    <a:pt x="582" y="516"/>
                  </a:lnTo>
                  <a:lnTo>
                    <a:pt x="588" y="510"/>
                  </a:lnTo>
                  <a:lnTo>
                    <a:pt x="582" y="510"/>
                  </a:lnTo>
                  <a:lnTo>
                    <a:pt x="582" y="504"/>
                  </a:lnTo>
                  <a:lnTo>
                    <a:pt x="576" y="498"/>
                  </a:lnTo>
                  <a:lnTo>
                    <a:pt x="570" y="498"/>
                  </a:lnTo>
                  <a:lnTo>
                    <a:pt x="570" y="492"/>
                  </a:lnTo>
                  <a:lnTo>
                    <a:pt x="564" y="492"/>
                  </a:lnTo>
                  <a:lnTo>
                    <a:pt x="570" y="486"/>
                  </a:lnTo>
                  <a:lnTo>
                    <a:pt x="564" y="486"/>
                  </a:lnTo>
                  <a:lnTo>
                    <a:pt x="564" y="480"/>
                  </a:lnTo>
                  <a:lnTo>
                    <a:pt x="564" y="474"/>
                  </a:lnTo>
                  <a:lnTo>
                    <a:pt x="558" y="468"/>
                  </a:lnTo>
                  <a:lnTo>
                    <a:pt x="564" y="468"/>
                  </a:lnTo>
                  <a:lnTo>
                    <a:pt x="564" y="462"/>
                  </a:lnTo>
                  <a:lnTo>
                    <a:pt x="570" y="462"/>
                  </a:lnTo>
                  <a:lnTo>
                    <a:pt x="570" y="456"/>
                  </a:lnTo>
                  <a:lnTo>
                    <a:pt x="570" y="450"/>
                  </a:lnTo>
                  <a:lnTo>
                    <a:pt x="576" y="450"/>
                  </a:lnTo>
                  <a:lnTo>
                    <a:pt x="576" y="444"/>
                  </a:lnTo>
                  <a:lnTo>
                    <a:pt x="582" y="438"/>
                  </a:lnTo>
                  <a:lnTo>
                    <a:pt x="588" y="438"/>
                  </a:lnTo>
                  <a:lnTo>
                    <a:pt x="588" y="444"/>
                  </a:lnTo>
                  <a:lnTo>
                    <a:pt x="594" y="438"/>
                  </a:lnTo>
                  <a:lnTo>
                    <a:pt x="594" y="432"/>
                  </a:lnTo>
                  <a:lnTo>
                    <a:pt x="600" y="432"/>
                  </a:lnTo>
                  <a:lnTo>
                    <a:pt x="600" y="426"/>
                  </a:lnTo>
                  <a:lnTo>
                    <a:pt x="600" y="420"/>
                  </a:lnTo>
                  <a:lnTo>
                    <a:pt x="606" y="420"/>
                  </a:lnTo>
                  <a:lnTo>
                    <a:pt x="600" y="420"/>
                  </a:lnTo>
                  <a:lnTo>
                    <a:pt x="600" y="414"/>
                  </a:lnTo>
                  <a:lnTo>
                    <a:pt x="606" y="408"/>
                  </a:lnTo>
                  <a:lnTo>
                    <a:pt x="612" y="408"/>
                  </a:lnTo>
                  <a:lnTo>
                    <a:pt x="612" y="414"/>
                  </a:lnTo>
                  <a:lnTo>
                    <a:pt x="618" y="414"/>
                  </a:lnTo>
                  <a:lnTo>
                    <a:pt x="624" y="414"/>
                  </a:lnTo>
                  <a:lnTo>
                    <a:pt x="630" y="414"/>
                  </a:lnTo>
                  <a:lnTo>
                    <a:pt x="636" y="414"/>
                  </a:lnTo>
                  <a:lnTo>
                    <a:pt x="642" y="408"/>
                  </a:lnTo>
                  <a:lnTo>
                    <a:pt x="648" y="408"/>
                  </a:lnTo>
                  <a:lnTo>
                    <a:pt x="660" y="408"/>
                  </a:lnTo>
                  <a:lnTo>
                    <a:pt x="666" y="402"/>
                  </a:lnTo>
                  <a:lnTo>
                    <a:pt x="672" y="402"/>
                  </a:lnTo>
                  <a:lnTo>
                    <a:pt x="684" y="396"/>
                  </a:lnTo>
                  <a:lnTo>
                    <a:pt x="690" y="396"/>
                  </a:lnTo>
                  <a:lnTo>
                    <a:pt x="696" y="396"/>
                  </a:lnTo>
                  <a:lnTo>
                    <a:pt x="702" y="396"/>
                  </a:lnTo>
                  <a:lnTo>
                    <a:pt x="708" y="396"/>
                  </a:lnTo>
                  <a:lnTo>
                    <a:pt x="714" y="390"/>
                  </a:lnTo>
                  <a:lnTo>
                    <a:pt x="714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32" y="384"/>
                  </a:lnTo>
                  <a:lnTo>
                    <a:pt x="738" y="378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56" y="372"/>
                  </a:lnTo>
                  <a:lnTo>
                    <a:pt x="762" y="366"/>
                  </a:lnTo>
                  <a:lnTo>
                    <a:pt x="768" y="366"/>
                  </a:lnTo>
                  <a:lnTo>
                    <a:pt x="774" y="366"/>
                  </a:lnTo>
                  <a:lnTo>
                    <a:pt x="774" y="360"/>
                  </a:lnTo>
                  <a:lnTo>
                    <a:pt x="780" y="366"/>
                  </a:lnTo>
                  <a:lnTo>
                    <a:pt x="786" y="366"/>
                  </a:lnTo>
                  <a:lnTo>
                    <a:pt x="786" y="360"/>
                  </a:lnTo>
                  <a:lnTo>
                    <a:pt x="792" y="354"/>
                  </a:lnTo>
                  <a:lnTo>
                    <a:pt x="786" y="354"/>
                  </a:lnTo>
                  <a:lnTo>
                    <a:pt x="792" y="348"/>
                  </a:lnTo>
                  <a:lnTo>
                    <a:pt x="798" y="348"/>
                  </a:lnTo>
                  <a:lnTo>
                    <a:pt x="804" y="348"/>
                  </a:lnTo>
                  <a:lnTo>
                    <a:pt x="810" y="342"/>
                  </a:lnTo>
                  <a:lnTo>
                    <a:pt x="816" y="342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28" y="336"/>
                  </a:lnTo>
                  <a:lnTo>
                    <a:pt x="834" y="336"/>
                  </a:lnTo>
                  <a:lnTo>
                    <a:pt x="840" y="336"/>
                  </a:lnTo>
                  <a:lnTo>
                    <a:pt x="846" y="330"/>
                  </a:lnTo>
                  <a:lnTo>
                    <a:pt x="852" y="330"/>
                  </a:lnTo>
                  <a:lnTo>
                    <a:pt x="858" y="330"/>
                  </a:lnTo>
                  <a:lnTo>
                    <a:pt x="864" y="324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0" y="312"/>
                  </a:lnTo>
                  <a:lnTo>
                    <a:pt x="876" y="312"/>
                  </a:lnTo>
                  <a:lnTo>
                    <a:pt x="882" y="312"/>
                  </a:lnTo>
                  <a:lnTo>
                    <a:pt x="882" y="318"/>
                  </a:lnTo>
                  <a:lnTo>
                    <a:pt x="888" y="312"/>
                  </a:lnTo>
                  <a:lnTo>
                    <a:pt x="894" y="306"/>
                  </a:lnTo>
                  <a:lnTo>
                    <a:pt x="900" y="306"/>
                  </a:lnTo>
                  <a:lnTo>
                    <a:pt x="906" y="306"/>
                  </a:lnTo>
                  <a:lnTo>
                    <a:pt x="912" y="300"/>
                  </a:lnTo>
                  <a:lnTo>
                    <a:pt x="906" y="294"/>
                  </a:lnTo>
                  <a:lnTo>
                    <a:pt x="912" y="276"/>
                  </a:lnTo>
                  <a:lnTo>
                    <a:pt x="912" y="252"/>
                  </a:lnTo>
                  <a:lnTo>
                    <a:pt x="906" y="234"/>
                  </a:lnTo>
                  <a:lnTo>
                    <a:pt x="912" y="228"/>
                  </a:lnTo>
                  <a:lnTo>
                    <a:pt x="912" y="216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24" y="192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36" y="186"/>
                  </a:lnTo>
                  <a:lnTo>
                    <a:pt x="930" y="180"/>
                  </a:lnTo>
                  <a:lnTo>
                    <a:pt x="930" y="174"/>
                  </a:lnTo>
                  <a:lnTo>
                    <a:pt x="936" y="156"/>
                  </a:lnTo>
                  <a:lnTo>
                    <a:pt x="930" y="156"/>
                  </a:lnTo>
                  <a:lnTo>
                    <a:pt x="924" y="150"/>
                  </a:lnTo>
                  <a:lnTo>
                    <a:pt x="942" y="78"/>
                  </a:lnTo>
                  <a:lnTo>
                    <a:pt x="948" y="78"/>
                  </a:lnTo>
                  <a:lnTo>
                    <a:pt x="954" y="66"/>
                  </a:lnTo>
                  <a:lnTo>
                    <a:pt x="954" y="72"/>
                  </a:lnTo>
                  <a:lnTo>
                    <a:pt x="954" y="66"/>
                  </a:lnTo>
                  <a:lnTo>
                    <a:pt x="960" y="66"/>
                  </a:lnTo>
                  <a:lnTo>
                    <a:pt x="966" y="66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54"/>
                  </a:lnTo>
                  <a:lnTo>
                    <a:pt x="990" y="54"/>
                  </a:lnTo>
                  <a:lnTo>
                    <a:pt x="996" y="48"/>
                  </a:lnTo>
                  <a:lnTo>
                    <a:pt x="1002" y="48"/>
                  </a:lnTo>
                  <a:lnTo>
                    <a:pt x="1032" y="48"/>
                  </a:lnTo>
                  <a:lnTo>
                    <a:pt x="1062" y="48"/>
                  </a:lnTo>
                  <a:lnTo>
                    <a:pt x="1068" y="78"/>
                  </a:lnTo>
                  <a:lnTo>
                    <a:pt x="1086" y="78"/>
                  </a:lnTo>
                  <a:lnTo>
                    <a:pt x="1092" y="66"/>
                  </a:lnTo>
                  <a:lnTo>
                    <a:pt x="1092" y="60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8" y="48"/>
                  </a:lnTo>
                  <a:lnTo>
                    <a:pt x="1104" y="48"/>
                  </a:lnTo>
                  <a:lnTo>
                    <a:pt x="1110" y="48"/>
                  </a:lnTo>
                  <a:lnTo>
                    <a:pt x="1110" y="42"/>
                  </a:lnTo>
                  <a:lnTo>
                    <a:pt x="1110" y="36"/>
                  </a:lnTo>
                  <a:lnTo>
                    <a:pt x="1116" y="36"/>
                  </a:lnTo>
                  <a:lnTo>
                    <a:pt x="1116" y="30"/>
                  </a:lnTo>
                  <a:lnTo>
                    <a:pt x="1122" y="30"/>
                  </a:lnTo>
                  <a:lnTo>
                    <a:pt x="1128" y="30"/>
                  </a:lnTo>
                  <a:lnTo>
                    <a:pt x="1134" y="30"/>
                  </a:lnTo>
                  <a:lnTo>
                    <a:pt x="1140" y="24"/>
                  </a:lnTo>
                  <a:lnTo>
                    <a:pt x="1152" y="18"/>
                  </a:lnTo>
                  <a:lnTo>
                    <a:pt x="1158" y="18"/>
                  </a:lnTo>
                  <a:lnTo>
                    <a:pt x="1152" y="12"/>
                  </a:lnTo>
                  <a:lnTo>
                    <a:pt x="1152" y="6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8"/>
                  </a:lnTo>
                  <a:lnTo>
                    <a:pt x="1170" y="12"/>
                  </a:lnTo>
                  <a:lnTo>
                    <a:pt x="1170" y="6"/>
                  </a:lnTo>
                  <a:lnTo>
                    <a:pt x="1176" y="6"/>
                  </a:lnTo>
                  <a:lnTo>
                    <a:pt x="1176" y="0"/>
                  </a:lnTo>
                  <a:lnTo>
                    <a:pt x="1182" y="6"/>
                  </a:lnTo>
                  <a:lnTo>
                    <a:pt x="1188" y="6"/>
                  </a:lnTo>
                  <a:lnTo>
                    <a:pt x="1188" y="0"/>
                  </a:lnTo>
                  <a:lnTo>
                    <a:pt x="1194" y="6"/>
                  </a:lnTo>
                  <a:lnTo>
                    <a:pt x="1200" y="12"/>
                  </a:lnTo>
                  <a:lnTo>
                    <a:pt x="1206" y="18"/>
                  </a:lnTo>
                  <a:lnTo>
                    <a:pt x="1212" y="18"/>
                  </a:lnTo>
                  <a:lnTo>
                    <a:pt x="1218" y="24"/>
                  </a:lnTo>
                  <a:lnTo>
                    <a:pt x="1236" y="36"/>
                  </a:lnTo>
                  <a:lnTo>
                    <a:pt x="1242" y="36"/>
                  </a:lnTo>
                  <a:lnTo>
                    <a:pt x="1248" y="42"/>
                  </a:lnTo>
                  <a:lnTo>
                    <a:pt x="1248" y="48"/>
                  </a:lnTo>
                  <a:lnTo>
                    <a:pt x="1260" y="48"/>
                  </a:lnTo>
                  <a:lnTo>
                    <a:pt x="1260" y="108"/>
                  </a:lnTo>
                  <a:lnTo>
                    <a:pt x="1266" y="168"/>
                  </a:lnTo>
                  <a:lnTo>
                    <a:pt x="1278" y="234"/>
                  </a:lnTo>
                  <a:lnTo>
                    <a:pt x="1284" y="240"/>
                  </a:lnTo>
                  <a:lnTo>
                    <a:pt x="1290" y="264"/>
                  </a:lnTo>
                  <a:lnTo>
                    <a:pt x="1296" y="288"/>
                  </a:lnTo>
                  <a:lnTo>
                    <a:pt x="1296" y="300"/>
                  </a:lnTo>
                  <a:lnTo>
                    <a:pt x="1296" y="312"/>
                  </a:lnTo>
                  <a:lnTo>
                    <a:pt x="1296" y="324"/>
                  </a:lnTo>
                  <a:lnTo>
                    <a:pt x="1296" y="354"/>
                  </a:lnTo>
                  <a:lnTo>
                    <a:pt x="1302" y="366"/>
                  </a:lnTo>
                  <a:lnTo>
                    <a:pt x="1308" y="372"/>
                  </a:lnTo>
                  <a:lnTo>
                    <a:pt x="1308" y="384"/>
                  </a:lnTo>
                  <a:lnTo>
                    <a:pt x="1314" y="390"/>
                  </a:lnTo>
                  <a:lnTo>
                    <a:pt x="1308" y="408"/>
                  </a:lnTo>
                  <a:lnTo>
                    <a:pt x="1314" y="408"/>
                  </a:lnTo>
                  <a:lnTo>
                    <a:pt x="1314" y="414"/>
                  </a:lnTo>
                  <a:lnTo>
                    <a:pt x="1308" y="420"/>
                  </a:lnTo>
                  <a:lnTo>
                    <a:pt x="1308" y="432"/>
                  </a:lnTo>
                  <a:lnTo>
                    <a:pt x="1320" y="432"/>
                  </a:lnTo>
                  <a:lnTo>
                    <a:pt x="1320" y="444"/>
                  </a:lnTo>
                  <a:lnTo>
                    <a:pt x="1332" y="444"/>
                  </a:lnTo>
                  <a:lnTo>
                    <a:pt x="1338" y="450"/>
                  </a:lnTo>
                  <a:lnTo>
                    <a:pt x="1344" y="456"/>
                  </a:lnTo>
                  <a:lnTo>
                    <a:pt x="1344" y="462"/>
                  </a:lnTo>
                  <a:lnTo>
                    <a:pt x="1344" y="474"/>
                  </a:lnTo>
                  <a:lnTo>
                    <a:pt x="1350" y="474"/>
                  </a:lnTo>
                  <a:lnTo>
                    <a:pt x="1368" y="504"/>
                  </a:lnTo>
                  <a:lnTo>
                    <a:pt x="1374" y="534"/>
                  </a:lnTo>
                  <a:lnTo>
                    <a:pt x="1380" y="558"/>
                  </a:lnTo>
                  <a:lnTo>
                    <a:pt x="1386" y="576"/>
                  </a:lnTo>
                  <a:lnTo>
                    <a:pt x="1386" y="600"/>
                  </a:lnTo>
                  <a:lnTo>
                    <a:pt x="1386" y="624"/>
                  </a:lnTo>
                  <a:lnTo>
                    <a:pt x="1386" y="648"/>
                  </a:lnTo>
                  <a:lnTo>
                    <a:pt x="1386" y="684"/>
                  </a:lnTo>
                  <a:lnTo>
                    <a:pt x="1380" y="684"/>
                  </a:lnTo>
                  <a:lnTo>
                    <a:pt x="1374" y="696"/>
                  </a:lnTo>
                  <a:lnTo>
                    <a:pt x="1368" y="702"/>
                  </a:lnTo>
                  <a:lnTo>
                    <a:pt x="1362" y="708"/>
                  </a:lnTo>
                  <a:lnTo>
                    <a:pt x="1356" y="714"/>
                  </a:lnTo>
                  <a:lnTo>
                    <a:pt x="1350" y="720"/>
                  </a:lnTo>
                  <a:lnTo>
                    <a:pt x="1338" y="720"/>
                  </a:lnTo>
                  <a:lnTo>
                    <a:pt x="1338" y="738"/>
                  </a:lnTo>
                  <a:lnTo>
                    <a:pt x="1362" y="750"/>
                  </a:lnTo>
                  <a:lnTo>
                    <a:pt x="1362" y="756"/>
                  </a:lnTo>
                  <a:lnTo>
                    <a:pt x="1374" y="756"/>
                  </a:lnTo>
                  <a:lnTo>
                    <a:pt x="1410" y="774"/>
                  </a:lnTo>
                  <a:lnTo>
                    <a:pt x="1446" y="774"/>
                  </a:lnTo>
                  <a:lnTo>
                    <a:pt x="1482" y="768"/>
                  </a:lnTo>
                  <a:lnTo>
                    <a:pt x="1500" y="774"/>
                  </a:lnTo>
                  <a:lnTo>
                    <a:pt x="1512" y="78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6" name="Freeform 11">
              <a:extLst>
                <a:ext uri="{FF2B5EF4-FFF2-40B4-BE49-F238E27FC236}">
                  <a16:creationId xmlns:a16="http://schemas.microsoft.com/office/drawing/2014/main" id="{1FF8E66F-B850-456A-B132-C45FEEDE95C6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2475" y="2345643"/>
              <a:ext cx="445003" cy="603855"/>
            </a:xfrm>
            <a:custGeom>
              <a:avLst/>
              <a:gdLst>
                <a:gd name="T0" fmla="*/ 47 w 840"/>
                <a:gd name="T1" fmla="*/ 98 h 1134"/>
                <a:gd name="T2" fmla="*/ 41 w 840"/>
                <a:gd name="T3" fmla="*/ 98 h 1134"/>
                <a:gd name="T4" fmla="*/ 37 w 840"/>
                <a:gd name="T5" fmla="*/ 98 h 1134"/>
                <a:gd name="T6" fmla="*/ 29 w 840"/>
                <a:gd name="T7" fmla="*/ 97 h 1134"/>
                <a:gd name="T8" fmla="*/ 27 w 840"/>
                <a:gd name="T9" fmla="*/ 94 h 1134"/>
                <a:gd name="T10" fmla="*/ 26 w 840"/>
                <a:gd name="T11" fmla="*/ 93 h 1134"/>
                <a:gd name="T12" fmla="*/ 26 w 840"/>
                <a:gd name="T13" fmla="*/ 83 h 1134"/>
                <a:gd name="T14" fmla="*/ 26 w 840"/>
                <a:gd name="T15" fmla="*/ 81 h 1134"/>
                <a:gd name="T16" fmla="*/ 23 w 840"/>
                <a:gd name="T17" fmla="*/ 77 h 1134"/>
                <a:gd name="T18" fmla="*/ 19 w 840"/>
                <a:gd name="T19" fmla="*/ 75 h 1134"/>
                <a:gd name="T20" fmla="*/ 16 w 840"/>
                <a:gd name="T21" fmla="*/ 72 h 1134"/>
                <a:gd name="T22" fmla="*/ 13 w 840"/>
                <a:gd name="T23" fmla="*/ 70 h 1134"/>
                <a:gd name="T24" fmla="*/ 17 w 840"/>
                <a:gd name="T25" fmla="*/ 67 h 1134"/>
                <a:gd name="T26" fmla="*/ 19 w 840"/>
                <a:gd name="T27" fmla="*/ 63 h 1134"/>
                <a:gd name="T28" fmla="*/ 20 w 840"/>
                <a:gd name="T29" fmla="*/ 59 h 1134"/>
                <a:gd name="T30" fmla="*/ 19 w 840"/>
                <a:gd name="T31" fmla="*/ 55 h 1134"/>
                <a:gd name="T32" fmla="*/ 17 w 840"/>
                <a:gd name="T33" fmla="*/ 47 h 1134"/>
                <a:gd name="T34" fmla="*/ 8 w 840"/>
                <a:gd name="T35" fmla="*/ 45 h 1134"/>
                <a:gd name="T36" fmla="*/ 4 w 840"/>
                <a:gd name="T37" fmla="*/ 39 h 1134"/>
                <a:gd name="T38" fmla="*/ 2 w 840"/>
                <a:gd name="T39" fmla="*/ 35 h 1134"/>
                <a:gd name="T40" fmla="*/ 0 w 840"/>
                <a:gd name="T41" fmla="*/ 31 h 1134"/>
                <a:gd name="T42" fmla="*/ 2 w 840"/>
                <a:gd name="T43" fmla="*/ 27 h 1134"/>
                <a:gd name="T44" fmla="*/ 5 w 840"/>
                <a:gd name="T45" fmla="*/ 24 h 1134"/>
                <a:gd name="T46" fmla="*/ 10 w 840"/>
                <a:gd name="T47" fmla="*/ 26 h 1134"/>
                <a:gd name="T48" fmla="*/ 7 w 840"/>
                <a:gd name="T49" fmla="*/ 20 h 1134"/>
                <a:gd name="T50" fmla="*/ 12 w 840"/>
                <a:gd name="T51" fmla="*/ 12 h 1134"/>
                <a:gd name="T52" fmla="*/ 19 w 840"/>
                <a:gd name="T53" fmla="*/ 10 h 1134"/>
                <a:gd name="T54" fmla="*/ 20 w 840"/>
                <a:gd name="T55" fmla="*/ 13 h 1134"/>
                <a:gd name="T56" fmla="*/ 22 w 840"/>
                <a:gd name="T57" fmla="*/ 11 h 1134"/>
                <a:gd name="T58" fmla="*/ 25 w 840"/>
                <a:gd name="T59" fmla="*/ 7 h 1134"/>
                <a:gd name="T60" fmla="*/ 29 w 840"/>
                <a:gd name="T61" fmla="*/ 2 h 1134"/>
                <a:gd name="T62" fmla="*/ 33 w 840"/>
                <a:gd name="T63" fmla="*/ 1 h 1134"/>
                <a:gd name="T64" fmla="*/ 37 w 840"/>
                <a:gd name="T65" fmla="*/ 2 h 1134"/>
                <a:gd name="T66" fmla="*/ 39 w 840"/>
                <a:gd name="T67" fmla="*/ 4 h 1134"/>
                <a:gd name="T68" fmla="*/ 43 w 840"/>
                <a:gd name="T69" fmla="*/ 5 h 1134"/>
                <a:gd name="T70" fmla="*/ 46 w 840"/>
                <a:gd name="T71" fmla="*/ 11 h 1134"/>
                <a:gd name="T72" fmla="*/ 49 w 840"/>
                <a:gd name="T73" fmla="*/ 12 h 1134"/>
                <a:gd name="T74" fmla="*/ 52 w 840"/>
                <a:gd name="T75" fmla="*/ 15 h 1134"/>
                <a:gd name="T76" fmla="*/ 54 w 840"/>
                <a:gd name="T77" fmla="*/ 18 h 1134"/>
                <a:gd name="T78" fmla="*/ 55 w 840"/>
                <a:gd name="T79" fmla="*/ 22 h 1134"/>
                <a:gd name="T80" fmla="*/ 56 w 840"/>
                <a:gd name="T81" fmla="*/ 26 h 1134"/>
                <a:gd name="T82" fmla="*/ 55 w 840"/>
                <a:gd name="T83" fmla="*/ 32 h 1134"/>
                <a:gd name="T84" fmla="*/ 55 w 840"/>
                <a:gd name="T85" fmla="*/ 36 h 1134"/>
                <a:gd name="T86" fmla="*/ 54 w 840"/>
                <a:gd name="T87" fmla="*/ 39 h 1134"/>
                <a:gd name="T88" fmla="*/ 56 w 840"/>
                <a:gd name="T89" fmla="*/ 39 h 1134"/>
                <a:gd name="T90" fmla="*/ 58 w 840"/>
                <a:gd name="T91" fmla="*/ 39 h 1134"/>
                <a:gd name="T92" fmla="*/ 61 w 840"/>
                <a:gd name="T93" fmla="*/ 39 h 1134"/>
                <a:gd name="T94" fmla="*/ 60 w 840"/>
                <a:gd name="T95" fmla="*/ 49 h 1134"/>
                <a:gd name="T96" fmla="*/ 59 w 840"/>
                <a:gd name="T97" fmla="*/ 53 h 1134"/>
                <a:gd name="T98" fmla="*/ 59 w 840"/>
                <a:gd name="T99" fmla="*/ 56 h 1134"/>
                <a:gd name="T100" fmla="*/ 60 w 840"/>
                <a:gd name="T101" fmla="*/ 59 h 1134"/>
                <a:gd name="T102" fmla="*/ 64 w 840"/>
                <a:gd name="T103" fmla="*/ 61 h 1134"/>
                <a:gd name="T104" fmla="*/ 69 w 840"/>
                <a:gd name="T105" fmla="*/ 63 h 1134"/>
                <a:gd name="T106" fmla="*/ 72 w 840"/>
                <a:gd name="T107" fmla="*/ 69 h 1134"/>
                <a:gd name="T108" fmla="*/ 72 w 840"/>
                <a:gd name="T109" fmla="*/ 73 h 1134"/>
                <a:gd name="T110" fmla="*/ 72 w 840"/>
                <a:gd name="T111" fmla="*/ 83 h 1134"/>
                <a:gd name="T112" fmla="*/ 63 w 840"/>
                <a:gd name="T113" fmla="*/ 88 h 1134"/>
                <a:gd name="T114" fmla="*/ 52 w 840"/>
                <a:gd name="T115" fmla="*/ 95 h 11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40"/>
                <a:gd name="T175" fmla="*/ 0 h 1134"/>
                <a:gd name="T176" fmla="*/ 840 w 840"/>
                <a:gd name="T177" fmla="*/ 1134 h 11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40" h="1134">
                  <a:moveTo>
                    <a:pt x="564" y="1110"/>
                  </a:moveTo>
                  <a:lnTo>
                    <a:pt x="564" y="1104"/>
                  </a:lnTo>
                  <a:lnTo>
                    <a:pt x="558" y="1104"/>
                  </a:lnTo>
                  <a:lnTo>
                    <a:pt x="552" y="1110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28" y="1128"/>
                  </a:lnTo>
                  <a:lnTo>
                    <a:pt x="498" y="1128"/>
                  </a:lnTo>
                  <a:lnTo>
                    <a:pt x="492" y="1128"/>
                  </a:lnTo>
                  <a:lnTo>
                    <a:pt x="486" y="1128"/>
                  </a:lnTo>
                  <a:lnTo>
                    <a:pt x="480" y="1128"/>
                  </a:lnTo>
                  <a:lnTo>
                    <a:pt x="474" y="1134"/>
                  </a:lnTo>
                  <a:lnTo>
                    <a:pt x="468" y="1134"/>
                  </a:lnTo>
                  <a:lnTo>
                    <a:pt x="462" y="1134"/>
                  </a:lnTo>
                  <a:lnTo>
                    <a:pt x="456" y="1134"/>
                  </a:lnTo>
                  <a:lnTo>
                    <a:pt x="456" y="1128"/>
                  </a:lnTo>
                  <a:lnTo>
                    <a:pt x="450" y="1122"/>
                  </a:lnTo>
                  <a:lnTo>
                    <a:pt x="426" y="1128"/>
                  </a:lnTo>
                  <a:lnTo>
                    <a:pt x="414" y="1128"/>
                  </a:lnTo>
                  <a:lnTo>
                    <a:pt x="348" y="1134"/>
                  </a:lnTo>
                  <a:lnTo>
                    <a:pt x="348" y="1128"/>
                  </a:lnTo>
                  <a:lnTo>
                    <a:pt x="342" y="1128"/>
                  </a:lnTo>
                  <a:lnTo>
                    <a:pt x="336" y="1122"/>
                  </a:lnTo>
                  <a:lnTo>
                    <a:pt x="330" y="1122"/>
                  </a:lnTo>
                  <a:lnTo>
                    <a:pt x="324" y="1116"/>
                  </a:lnTo>
                  <a:lnTo>
                    <a:pt x="324" y="1110"/>
                  </a:lnTo>
                  <a:lnTo>
                    <a:pt x="318" y="1110"/>
                  </a:lnTo>
                  <a:lnTo>
                    <a:pt x="318" y="1104"/>
                  </a:lnTo>
                  <a:lnTo>
                    <a:pt x="312" y="1092"/>
                  </a:lnTo>
                  <a:lnTo>
                    <a:pt x="306" y="1086"/>
                  </a:lnTo>
                  <a:lnTo>
                    <a:pt x="306" y="1080"/>
                  </a:lnTo>
                  <a:lnTo>
                    <a:pt x="312" y="1074"/>
                  </a:lnTo>
                  <a:lnTo>
                    <a:pt x="306" y="1068"/>
                  </a:lnTo>
                  <a:lnTo>
                    <a:pt x="300" y="1074"/>
                  </a:lnTo>
                  <a:lnTo>
                    <a:pt x="300" y="1068"/>
                  </a:lnTo>
                  <a:lnTo>
                    <a:pt x="294" y="1068"/>
                  </a:lnTo>
                  <a:lnTo>
                    <a:pt x="294" y="1056"/>
                  </a:lnTo>
                  <a:lnTo>
                    <a:pt x="294" y="1026"/>
                  </a:lnTo>
                  <a:lnTo>
                    <a:pt x="294" y="1020"/>
                  </a:lnTo>
                  <a:lnTo>
                    <a:pt x="294" y="1008"/>
                  </a:lnTo>
                  <a:lnTo>
                    <a:pt x="294" y="966"/>
                  </a:lnTo>
                  <a:lnTo>
                    <a:pt x="294" y="960"/>
                  </a:lnTo>
                  <a:lnTo>
                    <a:pt x="294" y="954"/>
                  </a:lnTo>
                  <a:lnTo>
                    <a:pt x="294" y="948"/>
                  </a:lnTo>
                  <a:lnTo>
                    <a:pt x="294" y="942"/>
                  </a:lnTo>
                  <a:lnTo>
                    <a:pt x="300" y="936"/>
                  </a:lnTo>
                  <a:lnTo>
                    <a:pt x="300" y="930"/>
                  </a:lnTo>
                  <a:lnTo>
                    <a:pt x="294" y="930"/>
                  </a:lnTo>
                  <a:lnTo>
                    <a:pt x="288" y="930"/>
                  </a:lnTo>
                  <a:lnTo>
                    <a:pt x="288" y="924"/>
                  </a:lnTo>
                  <a:lnTo>
                    <a:pt x="282" y="918"/>
                  </a:lnTo>
                  <a:lnTo>
                    <a:pt x="282" y="906"/>
                  </a:lnTo>
                  <a:lnTo>
                    <a:pt x="282" y="900"/>
                  </a:lnTo>
                  <a:lnTo>
                    <a:pt x="264" y="894"/>
                  </a:lnTo>
                  <a:lnTo>
                    <a:pt x="252" y="882"/>
                  </a:lnTo>
                  <a:lnTo>
                    <a:pt x="246" y="876"/>
                  </a:lnTo>
                  <a:lnTo>
                    <a:pt x="240" y="876"/>
                  </a:lnTo>
                  <a:lnTo>
                    <a:pt x="240" y="870"/>
                  </a:lnTo>
                  <a:lnTo>
                    <a:pt x="234" y="870"/>
                  </a:lnTo>
                  <a:lnTo>
                    <a:pt x="222" y="864"/>
                  </a:lnTo>
                  <a:lnTo>
                    <a:pt x="216" y="864"/>
                  </a:lnTo>
                  <a:lnTo>
                    <a:pt x="210" y="858"/>
                  </a:lnTo>
                  <a:lnTo>
                    <a:pt x="210" y="852"/>
                  </a:lnTo>
                  <a:lnTo>
                    <a:pt x="210" y="846"/>
                  </a:lnTo>
                  <a:lnTo>
                    <a:pt x="198" y="840"/>
                  </a:lnTo>
                  <a:lnTo>
                    <a:pt x="186" y="834"/>
                  </a:lnTo>
                  <a:lnTo>
                    <a:pt x="180" y="828"/>
                  </a:lnTo>
                  <a:lnTo>
                    <a:pt x="180" y="822"/>
                  </a:lnTo>
                  <a:lnTo>
                    <a:pt x="174" y="822"/>
                  </a:lnTo>
                  <a:lnTo>
                    <a:pt x="162" y="816"/>
                  </a:lnTo>
                  <a:lnTo>
                    <a:pt x="156" y="810"/>
                  </a:lnTo>
                  <a:lnTo>
                    <a:pt x="150" y="810"/>
                  </a:lnTo>
                  <a:lnTo>
                    <a:pt x="144" y="798"/>
                  </a:lnTo>
                  <a:lnTo>
                    <a:pt x="138" y="786"/>
                  </a:lnTo>
                  <a:lnTo>
                    <a:pt x="138" y="780"/>
                  </a:lnTo>
                  <a:lnTo>
                    <a:pt x="144" y="774"/>
                  </a:lnTo>
                  <a:lnTo>
                    <a:pt x="150" y="768"/>
                  </a:lnTo>
                  <a:lnTo>
                    <a:pt x="192" y="768"/>
                  </a:lnTo>
                  <a:lnTo>
                    <a:pt x="210" y="762"/>
                  </a:lnTo>
                  <a:lnTo>
                    <a:pt x="216" y="756"/>
                  </a:lnTo>
                  <a:lnTo>
                    <a:pt x="216" y="744"/>
                  </a:lnTo>
                  <a:lnTo>
                    <a:pt x="216" y="738"/>
                  </a:lnTo>
                  <a:lnTo>
                    <a:pt x="216" y="732"/>
                  </a:lnTo>
                  <a:lnTo>
                    <a:pt x="216" y="726"/>
                  </a:lnTo>
                  <a:lnTo>
                    <a:pt x="216" y="720"/>
                  </a:lnTo>
                  <a:lnTo>
                    <a:pt x="228" y="702"/>
                  </a:lnTo>
                  <a:lnTo>
                    <a:pt x="234" y="696"/>
                  </a:lnTo>
                  <a:lnTo>
                    <a:pt x="240" y="690"/>
                  </a:lnTo>
                  <a:lnTo>
                    <a:pt x="240" y="684"/>
                  </a:lnTo>
                  <a:lnTo>
                    <a:pt x="234" y="678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0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22" y="630"/>
                  </a:lnTo>
                  <a:lnTo>
                    <a:pt x="222" y="618"/>
                  </a:lnTo>
                  <a:lnTo>
                    <a:pt x="222" y="582"/>
                  </a:lnTo>
                  <a:lnTo>
                    <a:pt x="228" y="582"/>
                  </a:lnTo>
                  <a:lnTo>
                    <a:pt x="222" y="564"/>
                  </a:lnTo>
                  <a:lnTo>
                    <a:pt x="210" y="552"/>
                  </a:lnTo>
                  <a:lnTo>
                    <a:pt x="192" y="540"/>
                  </a:lnTo>
                  <a:lnTo>
                    <a:pt x="174" y="540"/>
                  </a:lnTo>
                  <a:lnTo>
                    <a:pt x="150" y="534"/>
                  </a:lnTo>
                  <a:lnTo>
                    <a:pt x="126" y="528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90" y="516"/>
                  </a:lnTo>
                  <a:lnTo>
                    <a:pt x="78" y="504"/>
                  </a:lnTo>
                  <a:lnTo>
                    <a:pt x="72" y="498"/>
                  </a:lnTo>
                  <a:lnTo>
                    <a:pt x="66" y="486"/>
                  </a:lnTo>
                  <a:lnTo>
                    <a:pt x="54" y="468"/>
                  </a:lnTo>
                  <a:lnTo>
                    <a:pt x="54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42" y="438"/>
                  </a:lnTo>
                  <a:lnTo>
                    <a:pt x="36" y="438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24" y="384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2" y="360"/>
                  </a:lnTo>
                  <a:lnTo>
                    <a:pt x="6" y="360"/>
                  </a:lnTo>
                  <a:lnTo>
                    <a:pt x="0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0"/>
                  </a:lnTo>
                  <a:lnTo>
                    <a:pt x="18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8" y="270"/>
                  </a:lnTo>
                  <a:lnTo>
                    <a:pt x="90" y="276"/>
                  </a:lnTo>
                  <a:lnTo>
                    <a:pt x="108" y="294"/>
                  </a:lnTo>
                  <a:lnTo>
                    <a:pt x="114" y="294"/>
                  </a:lnTo>
                  <a:lnTo>
                    <a:pt x="114" y="276"/>
                  </a:lnTo>
                  <a:lnTo>
                    <a:pt x="114" y="270"/>
                  </a:lnTo>
                  <a:lnTo>
                    <a:pt x="102" y="258"/>
                  </a:lnTo>
                  <a:lnTo>
                    <a:pt x="96" y="246"/>
                  </a:lnTo>
                  <a:lnTo>
                    <a:pt x="90" y="234"/>
                  </a:lnTo>
                  <a:lnTo>
                    <a:pt x="78" y="228"/>
                  </a:lnTo>
                  <a:lnTo>
                    <a:pt x="72" y="216"/>
                  </a:lnTo>
                  <a:lnTo>
                    <a:pt x="66" y="192"/>
                  </a:lnTo>
                  <a:lnTo>
                    <a:pt x="90" y="174"/>
                  </a:lnTo>
                  <a:lnTo>
                    <a:pt x="120" y="150"/>
                  </a:lnTo>
                  <a:lnTo>
                    <a:pt x="132" y="150"/>
                  </a:lnTo>
                  <a:lnTo>
                    <a:pt x="138" y="144"/>
                  </a:lnTo>
                  <a:lnTo>
                    <a:pt x="138" y="138"/>
                  </a:lnTo>
                  <a:lnTo>
                    <a:pt x="156" y="126"/>
                  </a:lnTo>
                  <a:lnTo>
                    <a:pt x="180" y="114"/>
                  </a:lnTo>
                  <a:lnTo>
                    <a:pt x="216" y="114"/>
                  </a:lnTo>
                  <a:lnTo>
                    <a:pt x="222" y="114"/>
                  </a:lnTo>
                  <a:lnTo>
                    <a:pt x="222" y="120"/>
                  </a:lnTo>
                  <a:lnTo>
                    <a:pt x="222" y="126"/>
                  </a:lnTo>
                  <a:lnTo>
                    <a:pt x="222" y="132"/>
                  </a:lnTo>
                  <a:lnTo>
                    <a:pt x="228" y="138"/>
                  </a:lnTo>
                  <a:lnTo>
                    <a:pt x="228" y="144"/>
                  </a:lnTo>
                  <a:lnTo>
                    <a:pt x="228" y="150"/>
                  </a:lnTo>
                  <a:lnTo>
                    <a:pt x="234" y="150"/>
                  </a:lnTo>
                  <a:lnTo>
                    <a:pt x="234" y="144"/>
                  </a:lnTo>
                  <a:lnTo>
                    <a:pt x="240" y="144"/>
                  </a:lnTo>
                  <a:lnTo>
                    <a:pt x="246" y="144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58" y="126"/>
                  </a:lnTo>
                  <a:lnTo>
                    <a:pt x="258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76" y="96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6" y="72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36"/>
                  </a:lnTo>
                  <a:lnTo>
                    <a:pt x="330" y="24"/>
                  </a:lnTo>
                  <a:lnTo>
                    <a:pt x="330" y="18"/>
                  </a:lnTo>
                  <a:lnTo>
                    <a:pt x="330" y="12"/>
                  </a:lnTo>
                  <a:lnTo>
                    <a:pt x="336" y="6"/>
                  </a:lnTo>
                  <a:lnTo>
                    <a:pt x="366" y="0"/>
                  </a:lnTo>
                  <a:lnTo>
                    <a:pt x="372" y="6"/>
                  </a:lnTo>
                  <a:lnTo>
                    <a:pt x="384" y="12"/>
                  </a:lnTo>
                  <a:lnTo>
                    <a:pt x="402" y="12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18"/>
                  </a:lnTo>
                  <a:lnTo>
                    <a:pt x="420" y="18"/>
                  </a:lnTo>
                  <a:lnTo>
                    <a:pt x="426" y="24"/>
                  </a:lnTo>
                  <a:lnTo>
                    <a:pt x="432" y="30"/>
                  </a:lnTo>
                  <a:lnTo>
                    <a:pt x="438" y="36"/>
                  </a:lnTo>
                  <a:lnTo>
                    <a:pt x="444" y="42"/>
                  </a:lnTo>
                  <a:lnTo>
                    <a:pt x="450" y="42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16" y="78"/>
                  </a:lnTo>
                  <a:lnTo>
                    <a:pt x="522" y="102"/>
                  </a:lnTo>
                  <a:lnTo>
                    <a:pt x="522" y="108"/>
                  </a:lnTo>
                  <a:lnTo>
                    <a:pt x="528" y="126"/>
                  </a:lnTo>
                  <a:lnTo>
                    <a:pt x="534" y="126"/>
                  </a:lnTo>
                  <a:lnTo>
                    <a:pt x="540" y="120"/>
                  </a:lnTo>
                  <a:lnTo>
                    <a:pt x="546" y="126"/>
                  </a:lnTo>
                  <a:lnTo>
                    <a:pt x="552" y="126"/>
                  </a:lnTo>
                  <a:lnTo>
                    <a:pt x="558" y="132"/>
                  </a:lnTo>
                  <a:lnTo>
                    <a:pt x="564" y="138"/>
                  </a:lnTo>
                  <a:lnTo>
                    <a:pt x="570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594" y="168"/>
                  </a:lnTo>
                  <a:lnTo>
                    <a:pt x="600" y="174"/>
                  </a:lnTo>
                  <a:lnTo>
                    <a:pt x="606" y="180"/>
                  </a:lnTo>
                  <a:lnTo>
                    <a:pt x="606" y="186"/>
                  </a:lnTo>
                  <a:lnTo>
                    <a:pt x="612" y="192"/>
                  </a:lnTo>
                  <a:lnTo>
                    <a:pt x="612" y="198"/>
                  </a:lnTo>
                  <a:lnTo>
                    <a:pt x="624" y="204"/>
                  </a:lnTo>
                  <a:lnTo>
                    <a:pt x="624" y="210"/>
                  </a:lnTo>
                  <a:lnTo>
                    <a:pt x="630" y="216"/>
                  </a:lnTo>
                  <a:lnTo>
                    <a:pt x="636" y="222"/>
                  </a:lnTo>
                  <a:lnTo>
                    <a:pt x="636" y="228"/>
                  </a:lnTo>
                  <a:lnTo>
                    <a:pt x="636" y="234"/>
                  </a:lnTo>
                  <a:lnTo>
                    <a:pt x="636" y="252"/>
                  </a:lnTo>
                  <a:lnTo>
                    <a:pt x="636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42" y="276"/>
                  </a:lnTo>
                  <a:lnTo>
                    <a:pt x="642" y="282"/>
                  </a:lnTo>
                  <a:lnTo>
                    <a:pt x="642" y="288"/>
                  </a:lnTo>
                  <a:lnTo>
                    <a:pt x="642" y="300"/>
                  </a:lnTo>
                  <a:lnTo>
                    <a:pt x="642" y="306"/>
                  </a:lnTo>
                  <a:lnTo>
                    <a:pt x="636" y="312"/>
                  </a:lnTo>
                  <a:lnTo>
                    <a:pt x="636" y="324"/>
                  </a:lnTo>
                  <a:lnTo>
                    <a:pt x="636" y="342"/>
                  </a:lnTo>
                  <a:lnTo>
                    <a:pt x="630" y="354"/>
                  </a:lnTo>
                  <a:lnTo>
                    <a:pt x="630" y="366"/>
                  </a:lnTo>
                  <a:lnTo>
                    <a:pt x="624" y="378"/>
                  </a:lnTo>
                  <a:lnTo>
                    <a:pt x="624" y="384"/>
                  </a:lnTo>
                  <a:lnTo>
                    <a:pt x="636" y="396"/>
                  </a:lnTo>
                  <a:lnTo>
                    <a:pt x="636" y="402"/>
                  </a:lnTo>
                  <a:lnTo>
                    <a:pt x="636" y="408"/>
                  </a:lnTo>
                  <a:lnTo>
                    <a:pt x="630" y="414"/>
                  </a:lnTo>
                  <a:lnTo>
                    <a:pt x="630" y="420"/>
                  </a:lnTo>
                  <a:lnTo>
                    <a:pt x="630" y="426"/>
                  </a:lnTo>
                  <a:lnTo>
                    <a:pt x="630" y="432"/>
                  </a:lnTo>
                  <a:lnTo>
                    <a:pt x="624" y="438"/>
                  </a:lnTo>
                  <a:lnTo>
                    <a:pt x="624" y="444"/>
                  </a:lnTo>
                  <a:lnTo>
                    <a:pt x="624" y="450"/>
                  </a:lnTo>
                  <a:lnTo>
                    <a:pt x="630" y="450"/>
                  </a:lnTo>
                  <a:lnTo>
                    <a:pt x="630" y="456"/>
                  </a:lnTo>
                  <a:lnTo>
                    <a:pt x="630" y="462"/>
                  </a:lnTo>
                  <a:lnTo>
                    <a:pt x="636" y="468"/>
                  </a:lnTo>
                  <a:lnTo>
                    <a:pt x="642" y="456"/>
                  </a:lnTo>
                  <a:lnTo>
                    <a:pt x="642" y="450"/>
                  </a:lnTo>
                  <a:lnTo>
                    <a:pt x="648" y="450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60" y="444"/>
                  </a:lnTo>
                  <a:lnTo>
                    <a:pt x="666" y="450"/>
                  </a:lnTo>
                  <a:lnTo>
                    <a:pt x="672" y="444"/>
                  </a:lnTo>
                  <a:lnTo>
                    <a:pt x="678" y="444"/>
                  </a:lnTo>
                  <a:lnTo>
                    <a:pt x="684" y="438"/>
                  </a:lnTo>
                  <a:lnTo>
                    <a:pt x="690" y="438"/>
                  </a:lnTo>
                  <a:lnTo>
                    <a:pt x="696" y="438"/>
                  </a:lnTo>
                  <a:lnTo>
                    <a:pt x="702" y="444"/>
                  </a:lnTo>
                  <a:lnTo>
                    <a:pt x="702" y="450"/>
                  </a:lnTo>
                  <a:lnTo>
                    <a:pt x="708" y="450"/>
                  </a:lnTo>
                  <a:lnTo>
                    <a:pt x="708" y="456"/>
                  </a:lnTo>
                  <a:lnTo>
                    <a:pt x="708" y="462"/>
                  </a:lnTo>
                  <a:lnTo>
                    <a:pt x="708" y="468"/>
                  </a:lnTo>
                  <a:lnTo>
                    <a:pt x="708" y="504"/>
                  </a:lnTo>
                  <a:lnTo>
                    <a:pt x="696" y="564"/>
                  </a:lnTo>
                  <a:lnTo>
                    <a:pt x="696" y="582"/>
                  </a:lnTo>
                  <a:lnTo>
                    <a:pt x="696" y="600"/>
                  </a:lnTo>
                  <a:lnTo>
                    <a:pt x="690" y="606"/>
                  </a:lnTo>
                  <a:lnTo>
                    <a:pt x="684" y="606"/>
                  </a:lnTo>
                  <a:lnTo>
                    <a:pt x="690" y="612"/>
                  </a:lnTo>
                  <a:lnTo>
                    <a:pt x="684" y="612"/>
                  </a:lnTo>
                  <a:lnTo>
                    <a:pt x="678" y="618"/>
                  </a:lnTo>
                  <a:lnTo>
                    <a:pt x="672" y="624"/>
                  </a:lnTo>
                  <a:lnTo>
                    <a:pt x="666" y="630"/>
                  </a:lnTo>
                  <a:lnTo>
                    <a:pt x="660" y="636"/>
                  </a:lnTo>
                  <a:lnTo>
                    <a:pt x="672" y="636"/>
                  </a:lnTo>
                  <a:lnTo>
                    <a:pt x="678" y="642"/>
                  </a:lnTo>
                  <a:lnTo>
                    <a:pt x="678" y="648"/>
                  </a:lnTo>
                  <a:lnTo>
                    <a:pt x="684" y="654"/>
                  </a:lnTo>
                  <a:lnTo>
                    <a:pt x="690" y="666"/>
                  </a:lnTo>
                  <a:lnTo>
                    <a:pt x="690" y="672"/>
                  </a:lnTo>
                  <a:lnTo>
                    <a:pt x="696" y="672"/>
                  </a:lnTo>
                  <a:lnTo>
                    <a:pt x="696" y="684"/>
                  </a:lnTo>
                  <a:lnTo>
                    <a:pt x="708" y="690"/>
                  </a:lnTo>
                  <a:lnTo>
                    <a:pt x="720" y="696"/>
                  </a:lnTo>
                  <a:lnTo>
                    <a:pt x="726" y="696"/>
                  </a:lnTo>
                  <a:lnTo>
                    <a:pt x="732" y="696"/>
                  </a:lnTo>
                  <a:lnTo>
                    <a:pt x="738" y="696"/>
                  </a:lnTo>
                  <a:lnTo>
                    <a:pt x="738" y="702"/>
                  </a:lnTo>
                  <a:lnTo>
                    <a:pt x="738" y="708"/>
                  </a:lnTo>
                  <a:lnTo>
                    <a:pt x="738" y="714"/>
                  </a:lnTo>
                  <a:lnTo>
                    <a:pt x="744" y="714"/>
                  </a:lnTo>
                  <a:lnTo>
                    <a:pt x="756" y="720"/>
                  </a:lnTo>
                  <a:lnTo>
                    <a:pt x="780" y="726"/>
                  </a:lnTo>
                  <a:lnTo>
                    <a:pt x="792" y="732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22" y="774"/>
                  </a:lnTo>
                  <a:lnTo>
                    <a:pt x="834" y="786"/>
                  </a:lnTo>
                  <a:lnTo>
                    <a:pt x="834" y="792"/>
                  </a:lnTo>
                  <a:lnTo>
                    <a:pt x="834" y="798"/>
                  </a:lnTo>
                  <a:lnTo>
                    <a:pt x="828" y="798"/>
                  </a:lnTo>
                  <a:lnTo>
                    <a:pt x="828" y="804"/>
                  </a:lnTo>
                  <a:lnTo>
                    <a:pt x="834" y="816"/>
                  </a:lnTo>
                  <a:lnTo>
                    <a:pt x="834" y="834"/>
                  </a:lnTo>
                  <a:lnTo>
                    <a:pt x="834" y="840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34" y="858"/>
                  </a:lnTo>
                  <a:lnTo>
                    <a:pt x="834" y="864"/>
                  </a:lnTo>
                  <a:lnTo>
                    <a:pt x="834" y="876"/>
                  </a:lnTo>
                  <a:lnTo>
                    <a:pt x="828" y="960"/>
                  </a:lnTo>
                  <a:lnTo>
                    <a:pt x="816" y="966"/>
                  </a:lnTo>
                  <a:lnTo>
                    <a:pt x="798" y="972"/>
                  </a:lnTo>
                  <a:lnTo>
                    <a:pt x="786" y="990"/>
                  </a:lnTo>
                  <a:lnTo>
                    <a:pt x="774" y="990"/>
                  </a:lnTo>
                  <a:lnTo>
                    <a:pt x="762" y="1008"/>
                  </a:lnTo>
                  <a:lnTo>
                    <a:pt x="732" y="1014"/>
                  </a:lnTo>
                  <a:lnTo>
                    <a:pt x="714" y="1026"/>
                  </a:lnTo>
                  <a:lnTo>
                    <a:pt x="690" y="1050"/>
                  </a:lnTo>
                  <a:lnTo>
                    <a:pt x="654" y="1056"/>
                  </a:lnTo>
                  <a:lnTo>
                    <a:pt x="630" y="1056"/>
                  </a:lnTo>
                  <a:lnTo>
                    <a:pt x="606" y="1068"/>
                  </a:lnTo>
                  <a:lnTo>
                    <a:pt x="600" y="1092"/>
                  </a:lnTo>
                  <a:lnTo>
                    <a:pt x="600" y="1098"/>
                  </a:lnTo>
                  <a:lnTo>
                    <a:pt x="588" y="1104"/>
                  </a:lnTo>
                  <a:lnTo>
                    <a:pt x="582" y="1104"/>
                  </a:lnTo>
                  <a:lnTo>
                    <a:pt x="570" y="1110"/>
                  </a:lnTo>
                  <a:lnTo>
                    <a:pt x="564" y="111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7" name="Freeform 12">
              <a:extLst>
                <a:ext uri="{FF2B5EF4-FFF2-40B4-BE49-F238E27FC236}">
                  <a16:creationId xmlns:a16="http://schemas.microsoft.com/office/drawing/2014/main" id="{6C93C114-E5D0-49BB-A44C-A127CE01CFE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810" y="2271838"/>
              <a:ext cx="923547" cy="845397"/>
            </a:xfrm>
            <a:custGeom>
              <a:avLst/>
              <a:gdLst>
                <a:gd name="T0" fmla="*/ 138 w 1740"/>
                <a:gd name="T1" fmla="*/ 134 h 1590"/>
                <a:gd name="T2" fmla="*/ 128 w 1740"/>
                <a:gd name="T3" fmla="*/ 131 h 1590"/>
                <a:gd name="T4" fmla="*/ 121 w 1740"/>
                <a:gd name="T5" fmla="*/ 130 h 1590"/>
                <a:gd name="T6" fmla="*/ 119 w 1740"/>
                <a:gd name="T7" fmla="*/ 134 h 1590"/>
                <a:gd name="T8" fmla="*/ 110 w 1740"/>
                <a:gd name="T9" fmla="*/ 132 h 1590"/>
                <a:gd name="T10" fmla="*/ 111 w 1740"/>
                <a:gd name="T11" fmla="*/ 127 h 1590"/>
                <a:gd name="T12" fmla="*/ 103 w 1740"/>
                <a:gd name="T13" fmla="*/ 117 h 1590"/>
                <a:gd name="T14" fmla="*/ 93 w 1740"/>
                <a:gd name="T15" fmla="*/ 123 h 1590"/>
                <a:gd name="T16" fmla="*/ 80 w 1740"/>
                <a:gd name="T17" fmla="*/ 118 h 1590"/>
                <a:gd name="T18" fmla="*/ 66 w 1740"/>
                <a:gd name="T19" fmla="*/ 117 h 1590"/>
                <a:gd name="T20" fmla="*/ 66 w 1740"/>
                <a:gd name="T21" fmla="*/ 110 h 1590"/>
                <a:gd name="T22" fmla="*/ 69 w 1740"/>
                <a:gd name="T23" fmla="*/ 107 h 1590"/>
                <a:gd name="T24" fmla="*/ 68 w 1740"/>
                <a:gd name="T25" fmla="*/ 102 h 1590"/>
                <a:gd name="T26" fmla="*/ 68 w 1740"/>
                <a:gd name="T27" fmla="*/ 96 h 1590"/>
                <a:gd name="T28" fmla="*/ 67 w 1740"/>
                <a:gd name="T29" fmla="*/ 82 h 1590"/>
                <a:gd name="T30" fmla="*/ 58 w 1740"/>
                <a:gd name="T31" fmla="*/ 82 h 1590"/>
                <a:gd name="T32" fmla="*/ 52 w 1740"/>
                <a:gd name="T33" fmla="*/ 82 h 1590"/>
                <a:gd name="T34" fmla="*/ 46 w 1740"/>
                <a:gd name="T35" fmla="*/ 80 h 1590"/>
                <a:gd name="T36" fmla="*/ 45 w 1740"/>
                <a:gd name="T37" fmla="*/ 74 h 1590"/>
                <a:gd name="T38" fmla="*/ 52 w 1740"/>
                <a:gd name="T39" fmla="*/ 70 h 1590"/>
                <a:gd name="T40" fmla="*/ 52 w 1740"/>
                <a:gd name="T41" fmla="*/ 64 h 1590"/>
                <a:gd name="T42" fmla="*/ 42 w 1740"/>
                <a:gd name="T43" fmla="*/ 53 h 1590"/>
                <a:gd name="T44" fmla="*/ 35 w 1740"/>
                <a:gd name="T45" fmla="*/ 52 h 1590"/>
                <a:gd name="T46" fmla="*/ 20 w 1740"/>
                <a:gd name="T47" fmla="*/ 51 h 1590"/>
                <a:gd name="T48" fmla="*/ 17 w 1740"/>
                <a:gd name="T49" fmla="*/ 56 h 1590"/>
                <a:gd name="T50" fmla="*/ 11 w 1740"/>
                <a:gd name="T51" fmla="*/ 61 h 1590"/>
                <a:gd name="T52" fmla="*/ 7 w 1740"/>
                <a:gd name="T53" fmla="*/ 63 h 1590"/>
                <a:gd name="T54" fmla="*/ 0 w 1740"/>
                <a:gd name="T55" fmla="*/ 55 h 1590"/>
                <a:gd name="T56" fmla="*/ 2 w 1740"/>
                <a:gd name="T57" fmla="*/ 50 h 1590"/>
                <a:gd name="T58" fmla="*/ 0 w 1740"/>
                <a:gd name="T59" fmla="*/ 44 h 1590"/>
                <a:gd name="T60" fmla="*/ 2 w 1740"/>
                <a:gd name="T61" fmla="*/ 38 h 1590"/>
                <a:gd name="T62" fmla="*/ 7 w 1740"/>
                <a:gd name="T63" fmla="*/ 35 h 1590"/>
                <a:gd name="T64" fmla="*/ 11 w 1740"/>
                <a:gd name="T65" fmla="*/ 30 h 1590"/>
                <a:gd name="T66" fmla="*/ 21 w 1740"/>
                <a:gd name="T67" fmla="*/ 26 h 1590"/>
                <a:gd name="T68" fmla="*/ 29 w 1740"/>
                <a:gd name="T69" fmla="*/ 25 h 1590"/>
                <a:gd name="T70" fmla="*/ 35 w 1740"/>
                <a:gd name="T71" fmla="*/ 21 h 1590"/>
                <a:gd name="T72" fmla="*/ 36 w 1740"/>
                <a:gd name="T73" fmla="*/ 16 h 1590"/>
                <a:gd name="T74" fmla="*/ 41 w 1740"/>
                <a:gd name="T75" fmla="*/ 11 h 1590"/>
                <a:gd name="T76" fmla="*/ 51 w 1740"/>
                <a:gd name="T77" fmla="*/ 9 h 1590"/>
                <a:gd name="T78" fmla="*/ 59 w 1740"/>
                <a:gd name="T79" fmla="*/ 21 h 1590"/>
                <a:gd name="T80" fmla="*/ 65 w 1740"/>
                <a:gd name="T81" fmla="*/ 13 h 1590"/>
                <a:gd name="T82" fmla="*/ 73 w 1740"/>
                <a:gd name="T83" fmla="*/ 8 h 1590"/>
                <a:gd name="T84" fmla="*/ 82 w 1740"/>
                <a:gd name="T85" fmla="*/ 12 h 1590"/>
                <a:gd name="T86" fmla="*/ 88 w 1740"/>
                <a:gd name="T87" fmla="*/ 12 h 1590"/>
                <a:gd name="T88" fmla="*/ 99 w 1740"/>
                <a:gd name="T89" fmla="*/ 7 h 1590"/>
                <a:gd name="T90" fmla="*/ 114 w 1740"/>
                <a:gd name="T91" fmla="*/ 0 h 1590"/>
                <a:gd name="T92" fmla="*/ 117 w 1740"/>
                <a:gd name="T93" fmla="*/ 10 h 1590"/>
                <a:gd name="T94" fmla="*/ 132 w 1740"/>
                <a:gd name="T95" fmla="*/ 17 h 1590"/>
                <a:gd name="T96" fmla="*/ 140 w 1740"/>
                <a:gd name="T97" fmla="*/ 25 h 1590"/>
                <a:gd name="T98" fmla="*/ 140 w 1740"/>
                <a:gd name="T99" fmla="*/ 33 h 1590"/>
                <a:gd name="T100" fmla="*/ 140 w 1740"/>
                <a:gd name="T101" fmla="*/ 44 h 1590"/>
                <a:gd name="T102" fmla="*/ 138 w 1740"/>
                <a:gd name="T103" fmla="*/ 48 h 1590"/>
                <a:gd name="T104" fmla="*/ 141 w 1740"/>
                <a:gd name="T105" fmla="*/ 49 h 1590"/>
                <a:gd name="T106" fmla="*/ 146 w 1740"/>
                <a:gd name="T107" fmla="*/ 50 h 1590"/>
                <a:gd name="T108" fmla="*/ 149 w 1740"/>
                <a:gd name="T109" fmla="*/ 59 h 1590"/>
                <a:gd name="T110" fmla="*/ 148 w 1740"/>
                <a:gd name="T111" fmla="*/ 67 h 1590"/>
                <a:gd name="T112" fmla="*/ 141 w 1740"/>
                <a:gd name="T113" fmla="*/ 78 h 1590"/>
                <a:gd name="T114" fmla="*/ 141 w 1740"/>
                <a:gd name="T115" fmla="*/ 91 h 1590"/>
                <a:gd name="T116" fmla="*/ 138 w 1740"/>
                <a:gd name="T117" fmla="*/ 102 h 1590"/>
                <a:gd name="T118" fmla="*/ 138 w 1740"/>
                <a:gd name="T119" fmla="*/ 110 h 1590"/>
                <a:gd name="T120" fmla="*/ 144 w 1740"/>
                <a:gd name="T121" fmla="*/ 118 h 1590"/>
                <a:gd name="T122" fmla="*/ 143 w 1740"/>
                <a:gd name="T123" fmla="*/ 125 h 159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740"/>
                <a:gd name="T187" fmla="*/ 0 h 1590"/>
                <a:gd name="T188" fmla="*/ 1740 w 1740"/>
                <a:gd name="T189" fmla="*/ 1590 h 159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740" h="1590">
                  <a:moveTo>
                    <a:pt x="1638" y="1458"/>
                  </a:moveTo>
                  <a:lnTo>
                    <a:pt x="1638" y="1482"/>
                  </a:lnTo>
                  <a:lnTo>
                    <a:pt x="1638" y="1500"/>
                  </a:lnTo>
                  <a:lnTo>
                    <a:pt x="1626" y="1500"/>
                  </a:lnTo>
                  <a:lnTo>
                    <a:pt x="1620" y="1500"/>
                  </a:lnTo>
                  <a:lnTo>
                    <a:pt x="1614" y="1500"/>
                  </a:lnTo>
                  <a:lnTo>
                    <a:pt x="1614" y="1506"/>
                  </a:lnTo>
                  <a:lnTo>
                    <a:pt x="1614" y="1512"/>
                  </a:lnTo>
                  <a:lnTo>
                    <a:pt x="1620" y="1518"/>
                  </a:lnTo>
                  <a:lnTo>
                    <a:pt x="1614" y="1524"/>
                  </a:lnTo>
                  <a:lnTo>
                    <a:pt x="1590" y="1536"/>
                  </a:lnTo>
                  <a:lnTo>
                    <a:pt x="1584" y="1566"/>
                  </a:lnTo>
                  <a:lnTo>
                    <a:pt x="1578" y="1590"/>
                  </a:lnTo>
                  <a:lnTo>
                    <a:pt x="1548" y="1590"/>
                  </a:lnTo>
                  <a:lnTo>
                    <a:pt x="1542" y="1584"/>
                  </a:lnTo>
                  <a:lnTo>
                    <a:pt x="1542" y="1572"/>
                  </a:lnTo>
                  <a:lnTo>
                    <a:pt x="1536" y="1566"/>
                  </a:lnTo>
                  <a:lnTo>
                    <a:pt x="1536" y="1554"/>
                  </a:lnTo>
                  <a:lnTo>
                    <a:pt x="1536" y="1548"/>
                  </a:lnTo>
                  <a:lnTo>
                    <a:pt x="1506" y="1530"/>
                  </a:lnTo>
                  <a:lnTo>
                    <a:pt x="1488" y="1506"/>
                  </a:lnTo>
                  <a:lnTo>
                    <a:pt x="1464" y="1500"/>
                  </a:lnTo>
                  <a:lnTo>
                    <a:pt x="1470" y="1494"/>
                  </a:lnTo>
                  <a:lnTo>
                    <a:pt x="1470" y="1488"/>
                  </a:lnTo>
                  <a:lnTo>
                    <a:pt x="1470" y="1482"/>
                  </a:lnTo>
                  <a:lnTo>
                    <a:pt x="1428" y="1464"/>
                  </a:lnTo>
                  <a:lnTo>
                    <a:pt x="1404" y="1470"/>
                  </a:lnTo>
                  <a:lnTo>
                    <a:pt x="1398" y="1470"/>
                  </a:lnTo>
                  <a:lnTo>
                    <a:pt x="1392" y="1476"/>
                  </a:lnTo>
                  <a:lnTo>
                    <a:pt x="1386" y="1476"/>
                  </a:lnTo>
                  <a:lnTo>
                    <a:pt x="1386" y="1482"/>
                  </a:lnTo>
                  <a:lnTo>
                    <a:pt x="1392" y="1482"/>
                  </a:lnTo>
                  <a:lnTo>
                    <a:pt x="1386" y="1488"/>
                  </a:lnTo>
                  <a:lnTo>
                    <a:pt x="1386" y="1494"/>
                  </a:lnTo>
                  <a:lnTo>
                    <a:pt x="1380" y="1494"/>
                  </a:lnTo>
                  <a:lnTo>
                    <a:pt x="1380" y="1500"/>
                  </a:lnTo>
                  <a:lnTo>
                    <a:pt x="1380" y="1512"/>
                  </a:lnTo>
                  <a:lnTo>
                    <a:pt x="1380" y="1518"/>
                  </a:lnTo>
                  <a:lnTo>
                    <a:pt x="1380" y="1524"/>
                  </a:lnTo>
                  <a:lnTo>
                    <a:pt x="1380" y="1530"/>
                  </a:lnTo>
                  <a:lnTo>
                    <a:pt x="1374" y="1536"/>
                  </a:lnTo>
                  <a:lnTo>
                    <a:pt x="1374" y="1542"/>
                  </a:lnTo>
                  <a:lnTo>
                    <a:pt x="1368" y="1542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44" y="1554"/>
                  </a:lnTo>
                  <a:lnTo>
                    <a:pt x="1332" y="1560"/>
                  </a:lnTo>
                  <a:lnTo>
                    <a:pt x="1302" y="1554"/>
                  </a:lnTo>
                  <a:lnTo>
                    <a:pt x="1290" y="1554"/>
                  </a:lnTo>
                  <a:lnTo>
                    <a:pt x="1278" y="1542"/>
                  </a:lnTo>
                  <a:lnTo>
                    <a:pt x="1272" y="1530"/>
                  </a:lnTo>
                  <a:lnTo>
                    <a:pt x="1272" y="1524"/>
                  </a:lnTo>
                  <a:lnTo>
                    <a:pt x="1272" y="1518"/>
                  </a:lnTo>
                  <a:lnTo>
                    <a:pt x="1266" y="1518"/>
                  </a:lnTo>
                  <a:lnTo>
                    <a:pt x="1266" y="1512"/>
                  </a:lnTo>
                  <a:lnTo>
                    <a:pt x="1266" y="1506"/>
                  </a:lnTo>
                  <a:lnTo>
                    <a:pt x="1272" y="1506"/>
                  </a:lnTo>
                  <a:lnTo>
                    <a:pt x="1272" y="1500"/>
                  </a:lnTo>
                  <a:lnTo>
                    <a:pt x="1278" y="1500"/>
                  </a:lnTo>
                  <a:lnTo>
                    <a:pt x="1278" y="1494"/>
                  </a:lnTo>
                  <a:lnTo>
                    <a:pt x="1278" y="1488"/>
                  </a:lnTo>
                  <a:lnTo>
                    <a:pt x="1284" y="1488"/>
                  </a:lnTo>
                  <a:lnTo>
                    <a:pt x="1284" y="1482"/>
                  </a:lnTo>
                  <a:lnTo>
                    <a:pt x="1290" y="1476"/>
                  </a:lnTo>
                  <a:lnTo>
                    <a:pt x="1284" y="1470"/>
                  </a:lnTo>
                  <a:lnTo>
                    <a:pt x="1278" y="1458"/>
                  </a:lnTo>
                  <a:lnTo>
                    <a:pt x="1278" y="1452"/>
                  </a:lnTo>
                  <a:lnTo>
                    <a:pt x="1260" y="1428"/>
                  </a:lnTo>
                  <a:lnTo>
                    <a:pt x="1254" y="1416"/>
                  </a:lnTo>
                  <a:lnTo>
                    <a:pt x="1254" y="1410"/>
                  </a:lnTo>
                  <a:lnTo>
                    <a:pt x="1248" y="1398"/>
                  </a:lnTo>
                  <a:lnTo>
                    <a:pt x="1242" y="1398"/>
                  </a:lnTo>
                  <a:lnTo>
                    <a:pt x="1236" y="1398"/>
                  </a:lnTo>
                  <a:lnTo>
                    <a:pt x="1218" y="1386"/>
                  </a:lnTo>
                  <a:lnTo>
                    <a:pt x="1212" y="1362"/>
                  </a:lnTo>
                  <a:lnTo>
                    <a:pt x="1200" y="1344"/>
                  </a:lnTo>
                  <a:lnTo>
                    <a:pt x="1188" y="1338"/>
                  </a:lnTo>
                  <a:lnTo>
                    <a:pt x="1164" y="1338"/>
                  </a:lnTo>
                  <a:lnTo>
                    <a:pt x="1158" y="1344"/>
                  </a:lnTo>
                  <a:lnTo>
                    <a:pt x="1152" y="1350"/>
                  </a:lnTo>
                  <a:lnTo>
                    <a:pt x="1152" y="1356"/>
                  </a:lnTo>
                  <a:lnTo>
                    <a:pt x="1140" y="1362"/>
                  </a:lnTo>
                  <a:lnTo>
                    <a:pt x="1134" y="1380"/>
                  </a:lnTo>
                  <a:lnTo>
                    <a:pt x="1116" y="1398"/>
                  </a:lnTo>
                  <a:lnTo>
                    <a:pt x="1110" y="1416"/>
                  </a:lnTo>
                  <a:lnTo>
                    <a:pt x="1086" y="1416"/>
                  </a:lnTo>
                  <a:lnTo>
                    <a:pt x="1080" y="1410"/>
                  </a:lnTo>
                  <a:lnTo>
                    <a:pt x="1074" y="1410"/>
                  </a:lnTo>
                  <a:lnTo>
                    <a:pt x="1074" y="1404"/>
                  </a:lnTo>
                  <a:lnTo>
                    <a:pt x="1062" y="1404"/>
                  </a:lnTo>
                  <a:lnTo>
                    <a:pt x="1062" y="1380"/>
                  </a:lnTo>
                  <a:lnTo>
                    <a:pt x="1038" y="1380"/>
                  </a:lnTo>
                  <a:lnTo>
                    <a:pt x="1026" y="1350"/>
                  </a:lnTo>
                  <a:lnTo>
                    <a:pt x="996" y="1326"/>
                  </a:lnTo>
                  <a:lnTo>
                    <a:pt x="966" y="1314"/>
                  </a:lnTo>
                  <a:lnTo>
                    <a:pt x="954" y="1320"/>
                  </a:lnTo>
                  <a:lnTo>
                    <a:pt x="942" y="1338"/>
                  </a:lnTo>
                  <a:lnTo>
                    <a:pt x="930" y="1338"/>
                  </a:lnTo>
                  <a:lnTo>
                    <a:pt x="924" y="1350"/>
                  </a:lnTo>
                  <a:lnTo>
                    <a:pt x="906" y="1356"/>
                  </a:lnTo>
                  <a:lnTo>
                    <a:pt x="846" y="1356"/>
                  </a:lnTo>
                  <a:lnTo>
                    <a:pt x="834" y="1368"/>
                  </a:lnTo>
                  <a:lnTo>
                    <a:pt x="810" y="1362"/>
                  </a:lnTo>
                  <a:lnTo>
                    <a:pt x="792" y="1362"/>
                  </a:lnTo>
                  <a:lnTo>
                    <a:pt x="780" y="1368"/>
                  </a:lnTo>
                  <a:lnTo>
                    <a:pt x="762" y="1368"/>
                  </a:lnTo>
                  <a:lnTo>
                    <a:pt x="762" y="1362"/>
                  </a:lnTo>
                  <a:lnTo>
                    <a:pt x="750" y="1362"/>
                  </a:lnTo>
                  <a:lnTo>
                    <a:pt x="750" y="1338"/>
                  </a:lnTo>
                  <a:lnTo>
                    <a:pt x="762" y="1338"/>
                  </a:lnTo>
                  <a:lnTo>
                    <a:pt x="762" y="1326"/>
                  </a:lnTo>
                  <a:lnTo>
                    <a:pt x="762" y="1314"/>
                  </a:lnTo>
                  <a:lnTo>
                    <a:pt x="732" y="1314"/>
                  </a:lnTo>
                  <a:lnTo>
                    <a:pt x="726" y="1308"/>
                  </a:lnTo>
                  <a:lnTo>
                    <a:pt x="732" y="1284"/>
                  </a:lnTo>
                  <a:lnTo>
                    <a:pt x="732" y="1278"/>
                  </a:lnTo>
                  <a:lnTo>
                    <a:pt x="738" y="1272"/>
                  </a:lnTo>
                  <a:lnTo>
                    <a:pt x="738" y="1266"/>
                  </a:lnTo>
                  <a:lnTo>
                    <a:pt x="744" y="1266"/>
                  </a:lnTo>
                  <a:lnTo>
                    <a:pt x="750" y="1272"/>
                  </a:lnTo>
                  <a:lnTo>
                    <a:pt x="756" y="1266"/>
                  </a:lnTo>
                  <a:lnTo>
                    <a:pt x="762" y="1266"/>
                  </a:lnTo>
                  <a:lnTo>
                    <a:pt x="768" y="1260"/>
                  </a:lnTo>
                  <a:lnTo>
                    <a:pt x="774" y="1260"/>
                  </a:lnTo>
                  <a:lnTo>
                    <a:pt x="780" y="1254"/>
                  </a:lnTo>
                  <a:lnTo>
                    <a:pt x="774" y="1254"/>
                  </a:lnTo>
                  <a:lnTo>
                    <a:pt x="768" y="1254"/>
                  </a:lnTo>
                  <a:lnTo>
                    <a:pt x="774" y="1248"/>
                  </a:lnTo>
                  <a:lnTo>
                    <a:pt x="774" y="1242"/>
                  </a:lnTo>
                  <a:lnTo>
                    <a:pt x="780" y="1236"/>
                  </a:lnTo>
                  <a:lnTo>
                    <a:pt x="786" y="1236"/>
                  </a:lnTo>
                  <a:lnTo>
                    <a:pt x="792" y="1230"/>
                  </a:lnTo>
                  <a:lnTo>
                    <a:pt x="792" y="1236"/>
                  </a:lnTo>
                  <a:lnTo>
                    <a:pt x="798" y="1236"/>
                  </a:lnTo>
                  <a:lnTo>
                    <a:pt x="798" y="1230"/>
                  </a:lnTo>
                  <a:lnTo>
                    <a:pt x="804" y="1230"/>
                  </a:lnTo>
                  <a:lnTo>
                    <a:pt x="804" y="1218"/>
                  </a:lnTo>
                  <a:lnTo>
                    <a:pt x="804" y="1206"/>
                  </a:lnTo>
                  <a:lnTo>
                    <a:pt x="792" y="1188"/>
                  </a:lnTo>
                  <a:lnTo>
                    <a:pt x="768" y="1182"/>
                  </a:lnTo>
                  <a:lnTo>
                    <a:pt x="768" y="1170"/>
                  </a:lnTo>
                  <a:lnTo>
                    <a:pt x="774" y="1170"/>
                  </a:lnTo>
                  <a:lnTo>
                    <a:pt x="780" y="1170"/>
                  </a:lnTo>
                  <a:lnTo>
                    <a:pt x="786" y="1170"/>
                  </a:lnTo>
                  <a:lnTo>
                    <a:pt x="780" y="1152"/>
                  </a:lnTo>
                  <a:lnTo>
                    <a:pt x="780" y="1146"/>
                  </a:lnTo>
                  <a:lnTo>
                    <a:pt x="744" y="1140"/>
                  </a:lnTo>
                  <a:lnTo>
                    <a:pt x="732" y="1128"/>
                  </a:lnTo>
                  <a:lnTo>
                    <a:pt x="720" y="1122"/>
                  </a:lnTo>
                  <a:lnTo>
                    <a:pt x="732" y="1116"/>
                  </a:lnTo>
                  <a:lnTo>
                    <a:pt x="750" y="1104"/>
                  </a:lnTo>
                  <a:lnTo>
                    <a:pt x="756" y="1116"/>
                  </a:lnTo>
                  <a:lnTo>
                    <a:pt x="774" y="1116"/>
                  </a:lnTo>
                  <a:lnTo>
                    <a:pt x="780" y="1104"/>
                  </a:lnTo>
                  <a:lnTo>
                    <a:pt x="780" y="1080"/>
                  </a:lnTo>
                  <a:lnTo>
                    <a:pt x="786" y="1080"/>
                  </a:lnTo>
                  <a:lnTo>
                    <a:pt x="786" y="1074"/>
                  </a:lnTo>
                  <a:lnTo>
                    <a:pt x="792" y="1074"/>
                  </a:lnTo>
                  <a:lnTo>
                    <a:pt x="786" y="1068"/>
                  </a:lnTo>
                  <a:lnTo>
                    <a:pt x="786" y="1062"/>
                  </a:lnTo>
                  <a:lnTo>
                    <a:pt x="786" y="1056"/>
                  </a:lnTo>
                  <a:lnTo>
                    <a:pt x="792" y="1050"/>
                  </a:lnTo>
                  <a:lnTo>
                    <a:pt x="786" y="1020"/>
                  </a:lnTo>
                  <a:lnTo>
                    <a:pt x="780" y="960"/>
                  </a:lnTo>
                  <a:lnTo>
                    <a:pt x="768" y="942"/>
                  </a:lnTo>
                  <a:lnTo>
                    <a:pt x="732" y="936"/>
                  </a:lnTo>
                  <a:lnTo>
                    <a:pt x="732" y="942"/>
                  </a:lnTo>
                  <a:lnTo>
                    <a:pt x="726" y="942"/>
                  </a:lnTo>
                  <a:lnTo>
                    <a:pt x="720" y="936"/>
                  </a:lnTo>
                  <a:lnTo>
                    <a:pt x="714" y="942"/>
                  </a:lnTo>
                  <a:lnTo>
                    <a:pt x="708" y="942"/>
                  </a:lnTo>
                  <a:lnTo>
                    <a:pt x="702" y="942"/>
                  </a:lnTo>
                  <a:lnTo>
                    <a:pt x="690" y="936"/>
                  </a:lnTo>
                  <a:lnTo>
                    <a:pt x="684" y="936"/>
                  </a:lnTo>
                  <a:lnTo>
                    <a:pt x="678" y="936"/>
                  </a:lnTo>
                  <a:lnTo>
                    <a:pt x="672" y="936"/>
                  </a:lnTo>
                  <a:lnTo>
                    <a:pt x="666" y="942"/>
                  </a:lnTo>
                  <a:lnTo>
                    <a:pt x="660" y="942"/>
                  </a:lnTo>
                  <a:lnTo>
                    <a:pt x="654" y="942"/>
                  </a:lnTo>
                  <a:lnTo>
                    <a:pt x="648" y="942"/>
                  </a:lnTo>
                  <a:lnTo>
                    <a:pt x="642" y="936"/>
                  </a:lnTo>
                  <a:lnTo>
                    <a:pt x="636" y="936"/>
                  </a:lnTo>
                  <a:lnTo>
                    <a:pt x="630" y="930"/>
                  </a:lnTo>
                  <a:lnTo>
                    <a:pt x="618" y="930"/>
                  </a:lnTo>
                  <a:lnTo>
                    <a:pt x="612" y="930"/>
                  </a:lnTo>
                  <a:lnTo>
                    <a:pt x="606" y="936"/>
                  </a:lnTo>
                  <a:lnTo>
                    <a:pt x="600" y="942"/>
                  </a:lnTo>
                  <a:lnTo>
                    <a:pt x="600" y="936"/>
                  </a:lnTo>
                  <a:lnTo>
                    <a:pt x="594" y="930"/>
                  </a:lnTo>
                  <a:lnTo>
                    <a:pt x="588" y="930"/>
                  </a:lnTo>
                  <a:lnTo>
                    <a:pt x="582" y="930"/>
                  </a:lnTo>
                  <a:lnTo>
                    <a:pt x="576" y="930"/>
                  </a:lnTo>
                  <a:lnTo>
                    <a:pt x="564" y="936"/>
                  </a:lnTo>
                  <a:lnTo>
                    <a:pt x="558" y="936"/>
                  </a:lnTo>
                  <a:lnTo>
                    <a:pt x="546" y="924"/>
                  </a:lnTo>
                  <a:lnTo>
                    <a:pt x="540" y="924"/>
                  </a:lnTo>
                  <a:lnTo>
                    <a:pt x="534" y="918"/>
                  </a:lnTo>
                  <a:lnTo>
                    <a:pt x="528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6" y="918"/>
                  </a:lnTo>
                  <a:lnTo>
                    <a:pt x="516" y="912"/>
                  </a:lnTo>
                  <a:lnTo>
                    <a:pt x="510" y="894"/>
                  </a:lnTo>
                  <a:lnTo>
                    <a:pt x="510" y="882"/>
                  </a:lnTo>
                  <a:lnTo>
                    <a:pt x="510" y="876"/>
                  </a:lnTo>
                  <a:lnTo>
                    <a:pt x="516" y="870"/>
                  </a:lnTo>
                  <a:lnTo>
                    <a:pt x="510" y="864"/>
                  </a:lnTo>
                  <a:lnTo>
                    <a:pt x="516" y="858"/>
                  </a:lnTo>
                  <a:lnTo>
                    <a:pt x="522" y="858"/>
                  </a:lnTo>
                  <a:lnTo>
                    <a:pt x="528" y="858"/>
                  </a:lnTo>
                  <a:lnTo>
                    <a:pt x="522" y="852"/>
                  </a:lnTo>
                  <a:lnTo>
                    <a:pt x="528" y="852"/>
                  </a:lnTo>
                  <a:lnTo>
                    <a:pt x="528" y="846"/>
                  </a:lnTo>
                  <a:lnTo>
                    <a:pt x="552" y="846"/>
                  </a:lnTo>
                  <a:lnTo>
                    <a:pt x="558" y="840"/>
                  </a:lnTo>
                  <a:lnTo>
                    <a:pt x="564" y="828"/>
                  </a:lnTo>
                  <a:lnTo>
                    <a:pt x="570" y="816"/>
                  </a:lnTo>
                  <a:lnTo>
                    <a:pt x="582" y="810"/>
                  </a:lnTo>
                  <a:lnTo>
                    <a:pt x="588" y="804"/>
                  </a:lnTo>
                  <a:lnTo>
                    <a:pt x="594" y="804"/>
                  </a:lnTo>
                  <a:lnTo>
                    <a:pt x="594" y="792"/>
                  </a:lnTo>
                  <a:lnTo>
                    <a:pt x="600" y="786"/>
                  </a:lnTo>
                  <a:lnTo>
                    <a:pt x="606" y="780"/>
                  </a:lnTo>
                  <a:lnTo>
                    <a:pt x="612" y="774"/>
                  </a:lnTo>
                  <a:lnTo>
                    <a:pt x="618" y="774"/>
                  </a:lnTo>
                  <a:lnTo>
                    <a:pt x="618" y="768"/>
                  </a:lnTo>
                  <a:lnTo>
                    <a:pt x="618" y="762"/>
                  </a:lnTo>
                  <a:lnTo>
                    <a:pt x="624" y="756"/>
                  </a:lnTo>
                  <a:lnTo>
                    <a:pt x="618" y="750"/>
                  </a:lnTo>
                  <a:lnTo>
                    <a:pt x="618" y="744"/>
                  </a:lnTo>
                  <a:lnTo>
                    <a:pt x="600" y="738"/>
                  </a:lnTo>
                  <a:lnTo>
                    <a:pt x="558" y="744"/>
                  </a:lnTo>
                  <a:lnTo>
                    <a:pt x="552" y="732"/>
                  </a:lnTo>
                  <a:lnTo>
                    <a:pt x="546" y="720"/>
                  </a:lnTo>
                  <a:lnTo>
                    <a:pt x="564" y="702"/>
                  </a:lnTo>
                  <a:lnTo>
                    <a:pt x="570" y="684"/>
                  </a:lnTo>
                  <a:lnTo>
                    <a:pt x="564" y="648"/>
                  </a:lnTo>
                  <a:lnTo>
                    <a:pt x="534" y="624"/>
                  </a:lnTo>
                  <a:lnTo>
                    <a:pt x="504" y="612"/>
                  </a:lnTo>
                  <a:lnTo>
                    <a:pt x="498" y="606"/>
                  </a:lnTo>
                  <a:lnTo>
                    <a:pt x="492" y="600"/>
                  </a:lnTo>
                  <a:lnTo>
                    <a:pt x="486" y="606"/>
                  </a:lnTo>
                  <a:lnTo>
                    <a:pt x="480" y="558"/>
                  </a:lnTo>
                  <a:lnTo>
                    <a:pt x="462" y="546"/>
                  </a:lnTo>
                  <a:lnTo>
                    <a:pt x="408" y="540"/>
                  </a:lnTo>
                  <a:lnTo>
                    <a:pt x="408" y="546"/>
                  </a:lnTo>
                  <a:lnTo>
                    <a:pt x="408" y="558"/>
                  </a:lnTo>
                  <a:lnTo>
                    <a:pt x="408" y="564"/>
                  </a:lnTo>
                  <a:lnTo>
                    <a:pt x="408" y="570"/>
                  </a:lnTo>
                  <a:lnTo>
                    <a:pt x="414" y="582"/>
                  </a:lnTo>
                  <a:lnTo>
                    <a:pt x="408" y="594"/>
                  </a:lnTo>
                  <a:lnTo>
                    <a:pt x="414" y="594"/>
                  </a:lnTo>
                  <a:lnTo>
                    <a:pt x="408" y="600"/>
                  </a:lnTo>
                  <a:lnTo>
                    <a:pt x="348" y="600"/>
                  </a:lnTo>
                  <a:lnTo>
                    <a:pt x="324" y="600"/>
                  </a:lnTo>
                  <a:lnTo>
                    <a:pt x="324" y="612"/>
                  </a:lnTo>
                  <a:lnTo>
                    <a:pt x="306" y="618"/>
                  </a:lnTo>
                  <a:lnTo>
                    <a:pt x="312" y="618"/>
                  </a:lnTo>
                  <a:lnTo>
                    <a:pt x="294" y="588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76"/>
                  </a:lnTo>
                  <a:lnTo>
                    <a:pt x="240" y="582"/>
                  </a:lnTo>
                  <a:lnTo>
                    <a:pt x="234" y="582"/>
                  </a:lnTo>
                  <a:lnTo>
                    <a:pt x="228" y="588"/>
                  </a:lnTo>
                  <a:lnTo>
                    <a:pt x="222" y="588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8" y="600"/>
                  </a:lnTo>
                  <a:lnTo>
                    <a:pt x="192" y="612"/>
                  </a:lnTo>
                  <a:lnTo>
                    <a:pt x="192" y="618"/>
                  </a:lnTo>
                  <a:lnTo>
                    <a:pt x="198" y="624"/>
                  </a:lnTo>
                  <a:lnTo>
                    <a:pt x="192" y="624"/>
                  </a:lnTo>
                  <a:lnTo>
                    <a:pt x="192" y="630"/>
                  </a:lnTo>
                  <a:lnTo>
                    <a:pt x="192" y="642"/>
                  </a:lnTo>
                  <a:lnTo>
                    <a:pt x="180" y="648"/>
                  </a:lnTo>
                  <a:lnTo>
                    <a:pt x="174" y="654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6"/>
                  </a:lnTo>
                  <a:lnTo>
                    <a:pt x="156" y="672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90"/>
                  </a:lnTo>
                  <a:lnTo>
                    <a:pt x="132" y="690"/>
                  </a:lnTo>
                  <a:lnTo>
                    <a:pt x="126" y="702"/>
                  </a:lnTo>
                  <a:lnTo>
                    <a:pt x="132" y="708"/>
                  </a:lnTo>
                  <a:lnTo>
                    <a:pt x="126" y="708"/>
                  </a:lnTo>
                  <a:lnTo>
                    <a:pt x="120" y="708"/>
                  </a:lnTo>
                  <a:lnTo>
                    <a:pt x="114" y="708"/>
                  </a:lnTo>
                  <a:lnTo>
                    <a:pt x="108" y="708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78" y="720"/>
                  </a:lnTo>
                  <a:lnTo>
                    <a:pt x="72" y="720"/>
                  </a:lnTo>
                  <a:lnTo>
                    <a:pt x="66" y="720"/>
                  </a:lnTo>
                  <a:lnTo>
                    <a:pt x="54" y="732"/>
                  </a:lnTo>
                  <a:lnTo>
                    <a:pt x="48" y="702"/>
                  </a:lnTo>
                  <a:lnTo>
                    <a:pt x="36" y="666"/>
                  </a:lnTo>
                  <a:lnTo>
                    <a:pt x="0" y="660"/>
                  </a:lnTo>
                  <a:lnTo>
                    <a:pt x="6" y="660"/>
                  </a:lnTo>
                  <a:lnTo>
                    <a:pt x="6" y="654"/>
                  </a:lnTo>
                  <a:lnTo>
                    <a:pt x="6" y="648"/>
                  </a:lnTo>
                  <a:lnTo>
                    <a:pt x="6" y="642"/>
                  </a:lnTo>
                  <a:lnTo>
                    <a:pt x="6" y="624"/>
                  </a:lnTo>
                  <a:lnTo>
                    <a:pt x="6" y="612"/>
                  </a:lnTo>
                  <a:lnTo>
                    <a:pt x="6" y="606"/>
                  </a:lnTo>
                  <a:lnTo>
                    <a:pt x="12" y="612"/>
                  </a:lnTo>
                  <a:lnTo>
                    <a:pt x="18" y="606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30" y="594"/>
                  </a:lnTo>
                  <a:lnTo>
                    <a:pt x="30" y="588"/>
                  </a:lnTo>
                  <a:lnTo>
                    <a:pt x="30" y="582"/>
                  </a:lnTo>
                  <a:lnTo>
                    <a:pt x="24" y="576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18" y="558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36" y="528"/>
                  </a:lnTo>
                  <a:lnTo>
                    <a:pt x="30" y="522"/>
                  </a:lnTo>
                  <a:lnTo>
                    <a:pt x="24" y="522"/>
                  </a:lnTo>
                  <a:lnTo>
                    <a:pt x="18" y="510"/>
                  </a:lnTo>
                  <a:lnTo>
                    <a:pt x="12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8" y="474"/>
                  </a:lnTo>
                  <a:lnTo>
                    <a:pt x="12" y="468"/>
                  </a:lnTo>
                  <a:lnTo>
                    <a:pt x="12" y="462"/>
                  </a:lnTo>
                  <a:lnTo>
                    <a:pt x="18" y="456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0" y="420"/>
                  </a:lnTo>
                  <a:lnTo>
                    <a:pt x="30" y="414"/>
                  </a:lnTo>
                  <a:lnTo>
                    <a:pt x="48" y="414"/>
                  </a:lnTo>
                  <a:lnTo>
                    <a:pt x="54" y="408"/>
                  </a:lnTo>
                  <a:lnTo>
                    <a:pt x="60" y="402"/>
                  </a:lnTo>
                  <a:lnTo>
                    <a:pt x="66" y="402"/>
                  </a:lnTo>
                  <a:lnTo>
                    <a:pt x="72" y="402"/>
                  </a:lnTo>
                  <a:lnTo>
                    <a:pt x="78" y="408"/>
                  </a:lnTo>
                  <a:lnTo>
                    <a:pt x="84" y="396"/>
                  </a:lnTo>
                  <a:lnTo>
                    <a:pt x="90" y="390"/>
                  </a:lnTo>
                  <a:lnTo>
                    <a:pt x="90" y="378"/>
                  </a:lnTo>
                  <a:lnTo>
                    <a:pt x="96" y="372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8" y="354"/>
                  </a:lnTo>
                  <a:lnTo>
                    <a:pt x="114" y="348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32" y="336"/>
                  </a:lnTo>
                  <a:lnTo>
                    <a:pt x="132" y="330"/>
                  </a:lnTo>
                  <a:lnTo>
                    <a:pt x="138" y="324"/>
                  </a:lnTo>
                  <a:lnTo>
                    <a:pt x="138" y="318"/>
                  </a:lnTo>
                  <a:lnTo>
                    <a:pt x="144" y="306"/>
                  </a:lnTo>
                  <a:lnTo>
                    <a:pt x="156" y="306"/>
                  </a:lnTo>
                  <a:lnTo>
                    <a:pt x="186" y="300"/>
                  </a:lnTo>
                  <a:lnTo>
                    <a:pt x="198" y="300"/>
                  </a:lnTo>
                  <a:lnTo>
                    <a:pt x="210" y="300"/>
                  </a:lnTo>
                  <a:lnTo>
                    <a:pt x="222" y="300"/>
                  </a:lnTo>
                  <a:lnTo>
                    <a:pt x="246" y="300"/>
                  </a:lnTo>
                  <a:lnTo>
                    <a:pt x="264" y="312"/>
                  </a:lnTo>
                  <a:lnTo>
                    <a:pt x="270" y="312"/>
                  </a:lnTo>
                  <a:lnTo>
                    <a:pt x="282" y="306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300" y="306"/>
                  </a:lnTo>
                  <a:lnTo>
                    <a:pt x="312" y="306"/>
                  </a:lnTo>
                  <a:lnTo>
                    <a:pt x="318" y="300"/>
                  </a:lnTo>
                  <a:lnTo>
                    <a:pt x="324" y="300"/>
                  </a:lnTo>
                  <a:lnTo>
                    <a:pt x="330" y="294"/>
                  </a:lnTo>
                  <a:lnTo>
                    <a:pt x="336" y="288"/>
                  </a:lnTo>
                  <a:lnTo>
                    <a:pt x="354" y="288"/>
                  </a:lnTo>
                  <a:lnTo>
                    <a:pt x="360" y="288"/>
                  </a:lnTo>
                  <a:lnTo>
                    <a:pt x="366" y="282"/>
                  </a:lnTo>
                  <a:lnTo>
                    <a:pt x="372" y="282"/>
                  </a:lnTo>
                  <a:lnTo>
                    <a:pt x="378" y="282"/>
                  </a:lnTo>
                  <a:lnTo>
                    <a:pt x="384" y="276"/>
                  </a:lnTo>
                  <a:lnTo>
                    <a:pt x="384" y="270"/>
                  </a:lnTo>
                  <a:lnTo>
                    <a:pt x="390" y="264"/>
                  </a:lnTo>
                  <a:lnTo>
                    <a:pt x="402" y="258"/>
                  </a:lnTo>
                  <a:lnTo>
                    <a:pt x="402" y="252"/>
                  </a:lnTo>
                  <a:lnTo>
                    <a:pt x="402" y="246"/>
                  </a:lnTo>
                  <a:lnTo>
                    <a:pt x="408" y="234"/>
                  </a:lnTo>
                  <a:lnTo>
                    <a:pt x="414" y="234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14" y="216"/>
                  </a:lnTo>
                  <a:lnTo>
                    <a:pt x="414" y="210"/>
                  </a:lnTo>
                  <a:lnTo>
                    <a:pt x="420" y="210"/>
                  </a:lnTo>
                  <a:lnTo>
                    <a:pt x="414" y="198"/>
                  </a:lnTo>
                  <a:lnTo>
                    <a:pt x="414" y="192"/>
                  </a:lnTo>
                  <a:lnTo>
                    <a:pt x="420" y="192"/>
                  </a:lnTo>
                  <a:lnTo>
                    <a:pt x="420" y="186"/>
                  </a:lnTo>
                  <a:lnTo>
                    <a:pt x="420" y="174"/>
                  </a:lnTo>
                  <a:lnTo>
                    <a:pt x="420" y="168"/>
                  </a:lnTo>
                  <a:lnTo>
                    <a:pt x="426" y="162"/>
                  </a:lnTo>
                  <a:lnTo>
                    <a:pt x="432" y="156"/>
                  </a:lnTo>
                  <a:lnTo>
                    <a:pt x="438" y="144"/>
                  </a:lnTo>
                  <a:lnTo>
                    <a:pt x="444" y="144"/>
                  </a:lnTo>
                  <a:lnTo>
                    <a:pt x="450" y="138"/>
                  </a:lnTo>
                  <a:lnTo>
                    <a:pt x="456" y="138"/>
                  </a:lnTo>
                  <a:lnTo>
                    <a:pt x="462" y="132"/>
                  </a:lnTo>
                  <a:lnTo>
                    <a:pt x="462" y="126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0"/>
                  </a:lnTo>
                  <a:lnTo>
                    <a:pt x="486" y="108"/>
                  </a:lnTo>
                  <a:lnTo>
                    <a:pt x="492" y="108"/>
                  </a:lnTo>
                  <a:lnTo>
                    <a:pt x="498" y="102"/>
                  </a:lnTo>
                  <a:lnTo>
                    <a:pt x="504" y="96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40" y="102"/>
                  </a:lnTo>
                  <a:lnTo>
                    <a:pt x="552" y="108"/>
                  </a:lnTo>
                  <a:lnTo>
                    <a:pt x="582" y="102"/>
                  </a:lnTo>
                  <a:lnTo>
                    <a:pt x="594" y="126"/>
                  </a:lnTo>
                  <a:lnTo>
                    <a:pt x="594" y="144"/>
                  </a:lnTo>
                  <a:lnTo>
                    <a:pt x="588" y="156"/>
                  </a:lnTo>
                  <a:lnTo>
                    <a:pt x="588" y="168"/>
                  </a:lnTo>
                  <a:lnTo>
                    <a:pt x="582" y="180"/>
                  </a:lnTo>
                  <a:lnTo>
                    <a:pt x="570" y="192"/>
                  </a:lnTo>
                  <a:lnTo>
                    <a:pt x="594" y="192"/>
                  </a:lnTo>
                  <a:lnTo>
                    <a:pt x="618" y="198"/>
                  </a:lnTo>
                  <a:lnTo>
                    <a:pt x="642" y="210"/>
                  </a:lnTo>
                  <a:lnTo>
                    <a:pt x="660" y="234"/>
                  </a:lnTo>
                  <a:lnTo>
                    <a:pt x="678" y="246"/>
                  </a:lnTo>
                  <a:lnTo>
                    <a:pt x="684" y="252"/>
                  </a:lnTo>
                  <a:lnTo>
                    <a:pt x="702" y="252"/>
                  </a:lnTo>
                  <a:lnTo>
                    <a:pt x="732" y="234"/>
                  </a:lnTo>
                  <a:lnTo>
                    <a:pt x="732" y="222"/>
                  </a:lnTo>
                  <a:lnTo>
                    <a:pt x="720" y="216"/>
                  </a:lnTo>
                  <a:lnTo>
                    <a:pt x="714" y="198"/>
                  </a:lnTo>
                  <a:lnTo>
                    <a:pt x="714" y="174"/>
                  </a:lnTo>
                  <a:lnTo>
                    <a:pt x="720" y="162"/>
                  </a:lnTo>
                  <a:lnTo>
                    <a:pt x="726" y="162"/>
                  </a:lnTo>
                  <a:lnTo>
                    <a:pt x="732" y="156"/>
                  </a:lnTo>
                  <a:lnTo>
                    <a:pt x="744" y="150"/>
                  </a:lnTo>
                  <a:lnTo>
                    <a:pt x="774" y="162"/>
                  </a:lnTo>
                  <a:lnTo>
                    <a:pt x="786" y="162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16" y="150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2" y="132"/>
                  </a:lnTo>
                  <a:lnTo>
                    <a:pt x="822" y="114"/>
                  </a:lnTo>
                  <a:lnTo>
                    <a:pt x="828" y="108"/>
                  </a:lnTo>
                  <a:lnTo>
                    <a:pt x="834" y="96"/>
                  </a:lnTo>
                  <a:lnTo>
                    <a:pt x="846" y="96"/>
                  </a:lnTo>
                  <a:lnTo>
                    <a:pt x="858" y="90"/>
                  </a:lnTo>
                  <a:lnTo>
                    <a:pt x="870" y="84"/>
                  </a:lnTo>
                  <a:lnTo>
                    <a:pt x="888" y="84"/>
                  </a:lnTo>
                  <a:lnTo>
                    <a:pt x="894" y="90"/>
                  </a:lnTo>
                  <a:lnTo>
                    <a:pt x="894" y="102"/>
                  </a:lnTo>
                  <a:lnTo>
                    <a:pt x="900" y="102"/>
                  </a:lnTo>
                  <a:lnTo>
                    <a:pt x="906" y="114"/>
                  </a:lnTo>
                  <a:lnTo>
                    <a:pt x="930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54" y="138"/>
                  </a:lnTo>
                  <a:lnTo>
                    <a:pt x="966" y="144"/>
                  </a:lnTo>
                  <a:lnTo>
                    <a:pt x="966" y="150"/>
                  </a:lnTo>
                  <a:lnTo>
                    <a:pt x="972" y="150"/>
                  </a:lnTo>
                  <a:lnTo>
                    <a:pt x="978" y="150"/>
                  </a:lnTo>
                  <a:lnTo>
                    <a:pt x="978" y="144"/>
                  </a:lnTo>
                  <a:lnTo>
                    <a:pt x="984" y="144"/>
                  </a:lnTo>
                  <a:lnTo>
                    <a:pt x="990" y="138"/>
                  </a:lnTo>
                  <a:lnTo>
                    <a:pt x="996" y="138"/>
                  </a:lnTo>
                  <a:lnTo>
                    <a:pt x="1002" y="138"/>
                  </a:lnTo>
                  <a:lnTo>
                    <a:pt x="1008" y="138"/>
                  </a:lnTo>
                  <a:lnTo>
                    <a:pt x="1026" y="132"/>
                  </a:lnTo>
                  <a:lnTo>
                    <a:pt x="1044" y="126"/>
                  </a:lnTo>
                  <a:lnTo>
                    <a:pt x="1056" y="120"/>
                  </a:lnTo>
                  <a:lnTo>
                    <a:pt x="1062" y="108"/>
                  </a:lnTo>
                  <a:lnTo>
                    <a:pt x="1056" y="102"/>
                  </a:lnTo>
                  <a:lnTo>
                    <a:pt x="1062" y="96"/>
                  </a:lnTo>
                  <a:lnTo>
                    <a:pt x="1074" y="90"/>
                  </a:lnTo>
                  <a:lnTo>
                    <a:pt x="1080" y="84"/>
                  </a:lnTo>
                  <a:lnTo>
                    <a:pt x="1128" y="84"/>
                  </a:lnTo>
                  <a:lnTo>
                    <a:pt x="1134" y="84"/>
                  </a:lnTo>
                  <a:lnTo>
                    <a:pt x="1140" y="78"/>
                  </a:lnTo>
                  <a:lnTo>
                    <a:pt x="1152" y="72"/>
                  </a:lnTo>
                  <a:lnTo>
                    <a:pt x="1164" y="66"/>
                  </a:lnTo>
                  <a:lnTo>
                    <a:pt x="1170" y="60"/>
                  </a:lnTo>
                  <a:lnTo>
                    <a:pt x="1188" y="48"/>
                  </a:lnTo>
                  <a:lnTo>
                    <a:pt x="1200" y="36"/>
                  </a:lnTo>
                  <a:lnTo>
                    <a:pt x="1218" y="24"/>
                  </a:lnTo>
                  <a:lnTo>
                    <a:pt x="1248" y="24"/>
                  </a:lnTo>
                  <a:lnTo>
                    <a:pt x="1272" y="24"/>
                  </a:lnTo>
                  <a:lnTo>
                    <a:pt x="1284" y="12"/>
                  </a:lnTo>
                  <a:lnTo>
                    <a:pt x="1302" y="0"/>
                  </a:lnTo>
                  <a:lnTo>
                    <a:pt x="1314" y="0"/>
                  </a:lnTo>
                  <a:lnTo>
                    <a:pt x="1326" y="18"/>
                  </a:lnTo>
                  <a:lnTo>
                    <a:pt x="1338" y="30"/>
                  </a:lnTo>
                  <a:lnTo>
                    <a:pt x="1338" y="54"/>
                  </a:lnTo>
                  <a:lnTo>
                    <a:pt x="1332" y="72"/>
                  </a:lnTo>
                  <a:lnTo>
                    <a:pt x="1326" y="72"/>
                  </a:lnTo>
                  <a:lnTo>
                    <a:pt x="1326" y="78"/>
                  </a:lnTo>
                  <a:lnTo>
                    <a:pt x="1326" y="102"/>
                  </a:lnTo>
                  <a:lnTo>
                    <a:pt x="1332" y="102"/>
                  </a:lnTo>
                  <a:lnTo>
                    <a:pt x="1332" y="108"/>
                  </a:lnTo>
                  <a:lnTo>
                    <a:pt x="1344" y="114"/>
                  </a:lnTo>
                  <a:lnTo>
                    <a:pt x="1350" y="114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404" y="132"/>
                  </a:lnTo>
                  <a:lnTo>
                    <a:pt x="1404" y="138"/>
                  </a:lnTo>
                  <a:lnTo>
                    <a:pt x="1410" y="150"/>
                  </a:lnTo>
                  <a:lnTo>
                    <a:pt x="1416" y="162"/>
                  </a:lnTo>
                  <a:lnTo>
                    <a:pt x="1428" y="168"/>
                  </a:lnTo>
                  <a:lnTo>
                    <a:pt x="1440" y="180"/>
                  </a:lnTo>
                  <a:lnTo>
                    <a:pt x="1476" y="174"/>
                  </a:lnTo>
                  <a:lnTo>
                    <a:pt x="1494" y="174"/>
                  </a:lnTo>
                  <a:lnTo>
                    <a:pt x="1512" y="192"/>
                  </a:lnTo>
                  <a:lnTo>
                    <a:pt x="1518" y="204"/>
                  </a:lnTo>
                  <a:lnTo>
                    <a:pt x="1530" y="216"/>
                  </a:lnTo>
                  <a:lnTo>
                    <a:pt x="1548" y="228"/>
                  </a:lnTo>
                  <a:lnTo>
                    <a:pt x="1548" y="234"/>
                  </a:lnTo>
                  <a:lnTo>
                    <a:pt x="1542" y="246"/>
                  </a:lnTo>
                  <a:lnTo>
                    <a:pt x="1560" y="246"/>
                  </a:lnTo>
                  <a:lnTo>
                    <a:pt x="1560" y="252"/>
                  </a:lnTo>
                  <a:lnTo>
                    <a:pt x="1566" y="258"/>
                  </a:lnTo>
                  <a:lnTo>
                    <a:pt x="1578" y="270"/>
                  </a:lnTo>
                  <a:lnTo>
                    <a:pt x="1596" y="270"/>
                  </a:lnTo>
                  <a:lnTo>
                    <a:pt x="1602" y="288"/>
                  </a:lnTo>
                  <a:lnTo>
                    <a:pt x="1608" y="306"/>
                  </a:lnTo>
                  <a:lnTo>
                    <a:pt x="1608" y="318"/>
                  </a:lnTo>
                  <a:lnTo>
                    <a:pt x="1608" y="324"/>
                  </a:lnTo>
                  <a:lnTo>
                    <a:pt x="1614" y="330"/>
                  </a:lnTo>
                  <a:lnTo>
                    <a:pt x="1614" y="336"/>
                  </a:lnTo>
                  <a:lnTo>
                    <a:pt x="1614" y="342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08" y="390"/>
                  </a:lnTo>
                  <a:lnTo>
                    <a:pt x="1602" y="390"/>
                  </a:lnTo>
                  <a:lnTo>
                    <a:pt x="1602" y="396"/>
                  </a:lnTo>
                  <a:lnTo>
                    <a:pt x="1584" y="420"/>
                  </a:lnTo>
                  <a:lnTo>
                    <a:pt x="1584" y="426"/>
                  </a:lnTo>
                  <a:lnTo>
                    <a:pt x="1602" y="474"/>
                  </a:lnTo>
                  <a:lnTo>
                    <a:pt x="1608" y="480"/>
                  </a:lnTo>
                  <a:lnTo>
                    <a:pt x="1608" y="486"/>
                  </a:lnTo>
                  <a:lnTo>
                    <a:pt x="1614" y="486"/>
                  </a:lnTo>
                  <a:lnTo>
                    <a:pt x="1608" y="504"/>
                  </a:lnTo>
                  <a:lnTo>
                    <a:pt x="1572" y="504"/>
                  </a:lnTo>
                  <a:lnTo>
                    <a:pt x="1560" y="510"/>
                  </a:lnTo>
                  <a:lnTo>
                    <a:pt x="1554" y="522"/>
                  </a:lnTo>
                  <a:lnTo>
                    <a:pt x="1560" y="552"/>
                  </a:lnTo>
                  <a:lnTo>
                    <a:pt x="1566" y="552"/>
                  </a:lnTo>
                  <a:lnTo>
                    <a:pt x="1566" y="558"/>
                  </a:lnTo>
                  <a:lnTo>
                    <a:pt x="1572" y="558"/>
                  </a:lnTo>
                  <a:lnTo>
                    <a:pt x="1578" y="558"/>
                  </a:lnTo>
                  <a:lnTo>
                    <a:pt x="1578" y="552"/>
                  </a:lnTo>
                  <a:lnTo>
                    <a:pt x="1584" y="552"/>
                  </a:lnTo>
                  <a:lnTo>
                    <a:pt x="1590" y="552"/>
                  </a:lnTo>
                  <a:lnTo>
                    <a:pt x="1590" y="546"/>
                  </a:lnTo>
                  <a:lnTo>
                    <a:pt x="1596" y="546"/>
                  </a:lnTo>
                  <a:lnTo>
                    <a:pt x="1602" y="552"/>
                  </a:lnTo>
                  <a:lnTo>
                    <a:pt x="1602" y="546"/>
                  </a:lnTo>
                  <a:lnTo>
                    <a:pt x="1608" y="546"/>
                  </a:lnTo>
                  <a:lnTo>
                    <a:pt x="1608" y="552"/>
                  </a:lnTo>
                  <a:lnTo>
                    <a:pt x="1614" y="552"/>
                  </a:lnTo>
                  <a:lnTo>
                    <a:pt x="1614" y="546"/>
                  </a:lnTo>
                  <a:lnTo>
                    <a:pt x="1620" y="552"/>
                  </a:lnTo>
                  <a:lnTo>
                    <a:pt x="1626" y="552"/>
                  </a:lnTo>
                  <a:lnTo>
                    <a:pt x="1626" y="558"/>
                  </a:lnTo>
                  <a:lnTo>
                    <a:pt x="1632" y="558"/>
                  </a:lnTo>
                  <a:lnTo>
                    <a:pt x="1638" y="558"/>
                  </a:lnTo>
                  <a:lnTo>
                    <a:pt x="1644" y="558"/>
                  </a:lnTo>
                  <a:lnTo>
                    <a:pt x="1650" y="558"/>
                  </a:lnTo>
                  <a:lnTo>
                    <a:pt x="1650" y="564"/>
                  </a:lnTo>
                  <a:lnTo>
                    <a:pt x="1656" y="564"/>
                  </a:lnTo>
                  <a:lnTo>
                    <a:pt x="1662" y="564"/>
                  </a:lnTo>
                  <a:lnTo>
                    <a:pt x="1668" y="564"/>
                  </a:lnTo>
                  <a:lnTo>
                    <a:pt x="1668" y="570"/>
                  </a:lnTo>
                  <a:lnTo>
                    <a:pt x="1674" y="570"/>
                  </a:lnTo>
                  <a:lnTo>
                    <a:pt x="1680" y="570"/>
                  </a:lnTo>
                  <a:lnTo>
                    <a:pt x="1686" y="576"/>
                  </a:lnTo>
                  <a:lnTo>
                    <a:pt x="1686" y="582"/>
                  </a:lnTo>
                  <a:lnTo>
                    <a:pt x="1710" y="588"/>
                  </a:lnTo>
                  <a:lnTo>
                    <a:pt x="1710" y="594"/>
                  </a:lnTo>
                  <a:lnTo>
                    <a:pt x="1704" y="600"/>
                  </a:lnTo>
                  <a:lnTo>
                    <a:pt x="1710" y="624"/>
                  </a:lnTo>
                  <a:lnTo>
                    <a:pt x="1698" y="672"/>
                  </a:lnTo>
                  <a:lnTo>
                    <a:pt x="1704" y="678"/>
                  </a:lnTo>
                  <a:lnTo>
                    <a:pt x="1716" y="684"/>
                  </a:lnTo>
                  <a:lnTo>
                    <a:pt x="1716" y="678"/>
                  </a:lnTo>
                  <a:lnTo>
                    <a:pt x="1716" y="684"/>
                  </a:lnTo>
                  <a:lnTo>
                    <a:pt x="1728" y="684"/>
                  </a:lnTo>
                  <a:lnTo>
                    <a:pt x="1728" y="690"/>
                  </a:lnTo>
                  <a:lnTo>
                    <a:pt x="1734" y="696"/>
                  </a:lnTo>
                  <a:lnTo>
                    <a:pt x="1734" y="702"/>
                  </a:lnTo>
                  <a:lnTo>
                    <a:pt x="1740" y="708"/>
                  </a:lnTo>
                  <a:lnTo>
                    <a:pt x="1740" y="714"/>
                  </a:lnTo>
                  <a:lnTo>
                    <a:pt x="1710" y="714"/>
                  </a:lnTo>
                  <a:lnTo>
                    <a:pt x="1710" y="756"/>
                  </a:lnTo>
                  <a:lnTo>
                    <a:pt x="1704" y="762"/>
                  </a:lnTo>
                  <a:lnTo>
                    <a:pt x="1698" y="762"/>
                  </a:lnTo>
                  <a:lnTo>
                    <a:pt x="1698" y="768"/>
                  </a:lnTo>
                  <a:lnTo>
                    <a:pt x="1698" y="774"/>
                  </a:lnTo>
                  <a:lnTo>
                    <a:pt x="1692" y="780"/>
                  </a:lnTo>
                  <a:lnTo>
                    <a:pt x="1692" y="786"/>
                  </a:lnTo>
                  <a:lnTo>
                    <a:pt x="1686" y="786"/>
                  </a:lnTo>
                  <a:lnTo>
                    <a:pt x="1668" y="798"/>
                  </a:lnTo>
                  <a:lnTo>
                    <a:pt x="1662" y="810"/>
                  </a:lnTo>
                  <a:lnTo>
                    <a:pt x="1650" y="810"/>
                  </a:lnTo>
                  <a:lnTo>
                    <a:pt x="1644" y="816"/>
                  </a:lnTo>
                  <a:lnTo>
                    <a:pt x="1638" y="816"/>
                  </a:lnTo>
                  <a:lnTo>
                    <a:pt x="1626" y="852"/>
                  </a:lnTo>
                  <a:lnTo>
                    <a:pt x="1620" y="888"/>
                  </a:lnTo>
                  <a:lnTo>
                    <a:pt x="1626" y="888"/>
                  </a:lnTo>
                  <a:lnTo>
                    <a:pt x="1638" y="912"/>
                  </a:lnTo>
                  <a:lnTo>
                    <a:pt x="1644" y="918"/>
                  </a:lnTo>
                  <a:lnTo>
                    <a:pt x="1650" y="966"/>
                  </a:lnTo>
                  <a:lnTo>
                    <a:pt x="1626" y="972"/>
                  </a:lnTo>
                  <a:lnTo>
                    <a:pt x="1608" y="978"/>
                  </a:lnTo>
                  <a:lnTo>
                    <a:pt x="1614" y="984"/>
                  </a:lnTo>
                  <a:lnTo>
                    <a:pt x="1620" y="984"/>
                  </a:lnTo>
                  <a:lnTo>
                    <a:pt x="1620" y="1020"/>
                  </a:lnTo>
                  <a:lnTo>
                    <a:pt x="1614" y="1038"/>
                  </a:lnTo>
                  <a:lnTo>
                    <a:pt x="1620" y="1044"/>
                  </a:lnTo>
                  <a:lnTo>
                    <a:pt x="1626" y="1056"/>
                  </a:lnTo>
                  <a:lnTo>
                    <a:pt x="1626" y="1074"/>
                  </a:lnTo>
                  <a:lnTo>
                    <a:pt x="1620" y="1080"/>
                  </a:lnTo>
                  <a:lnTo>
                    <a:pt x="1620" y="1104"/>
                  </a:lnTo>
                  <a:lnTo>
                    <a:pt x="1620" y="1110"/>
                  </a:lnTo>
                  <a:lnTo>
                    <a:pt x="1614" y="1116"/>
                  </a:lnTo>
                  <a:lnTo>
                    <a:pt x="1608" y="1140"/>
                  </a:lnTo>
                  <a:lnTo>
                    <a:pt x="1602" y="1146"/>
                  </a:lnTo>
                  <a:lnTo>
                    <a:pt x="1602" y="1164"/>
                  </a:lnTo>
                  <a:lnTo>
                    <a:pt x="1596" y="1170"/>
                  </a:lnTo>
                  <a:lnTo>
                    <a:pt x="1590" y="1164"/>
                  </a:lnTo>
                  <a:lnTo>
                    <a:pt x="1584" y="1164"/>
                  </a:lnTo>
                  <a:lnTo>
                    <a:pt x="1578" y="1164"/>
                  </a:lnTo>
                  <a:lnTo>
                    <a:pt x="1578" y="1188"/>
                  </a:lnTo>
                  <a:lnTo>
                    <a:pt x="1584" y="1194"/>
                  </a:lnTo>
                  <a:lnTo>
                    <a:pt x="1590" y="1194"/>
                  </a:lnTo>
                  <a:lnTo>
                    <a:pt x="1590" y="1212"/>
                  </a:lnTo>
                  <a:lnTo>
                    <a:pt x="1584" y="1212"/>
                  </a:lnTo>
                  <a:lnTo>
                    <a:pt x="1584" y="1224"/>
                  </a:lnTo>
                  <a:lnTo>
                    <a:pt x="1578" y="1224"/>
                  </a:lnTo>
                  <a:lnTo>
                    <a:pt x="1578" y="1236"/>
                  </a:lnTo>
                  <a:lnTo>
                    <a:pt x="1584" y="1254"/>
                  </a:lnTo>
                  <a:lnTo>
                    <a:pt x="1584" y="1260"/>
                  </a:lnTo>
                  <a:lnTo>
                    <a:pt x="1590" y="1260"/>
                  </a:lnTo>
                  <a:lnTo>
                    <a:pt x="1590" y="1266"/>
                  </a:lnTo>
                  <a:lnTo>
                    <a:pt x="1596" y="1284"/>
                  </a:lnTo>
                  <a:lnTo>
                    <a:pt x="1602" y="1278"/>
                  </a:lnTo>
                  <a:lnTo>
                    <a:pt x="1608" y="1284"/>
                  </a:lnTo>
                  <a:lnTo>
                    <a:pt x="1632" y="1350"/>
                  </a:lnTo>
                  <a:lnTo>
                    <a:pt x="1638" y="1356"/>
                  </a:lnTo>
                  <a:lnTo>
                    <a:pt x="1644" y="1356"/>
                  </a:lnTo>
                  <a:lnTo>
                    <a:pt x="1650" y="1356"/>
                  </a:lnTo>
                  <a:lnTo>
                    <a:pt x="1656" y="1356"/>
                  </a:lnTo>
                  <a:lnTo>
                    <a:pt x="1662" y="1362"/>
                  </a:lnTo>
                  <a:lnTo>
                    <a:pt x="1668" y="1356"/>
                  </a:lnTo>
                  <a:lnTo>
                    <a:pt x="1668" y="1380"/>
                  </a:lnTo>
                  <a:lnTo>
                    <a:pt x="1662" y="1392"/>
                  </a:lnTo>
                  <a:lnTo>
                    <a:pt x="1656" y="1404"/>
                  </a:lnTo>
                  <a:lnTo>
                    <a:pt x="1656" y="1410"/>
                  </a:lnTo>
                  <a:lnTo>
                    <a:pt x="1656" y="1416"/>
                  </a:lnTo>
                  <a:lnTo>
                    <a:pt x="1650" y="1422"/>
                  </a:lnTo>
                  <a:lnTo>
                    <a:pt x="1650" y="1428"/>
                  </a:lnTo>
                  <a:lnTo>
                    <a:pt x="1644" y="1428"/>
                  </a:lnTo>
                  <a:lnTo>
                    <a:pt x="1644" y="1434"/>
                  </a:lnTo>
                  <a:lnTo>
                    <a:pt x="1638" y="1434"/>
                  </a:lnTo>
                  <a:lnTo>
                    <a:pt x="1638" y="1440"/>
                  </a:lnTo>
                  <a:lnTo>
                    <a:pt x="1632" y="1440"/>
                  </a:lnTo>
                  <a:lnTo>
                    <a:pt x="1638" y="145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8" name="Freeform 13">
              <a:extLst>
                <a:ext uri="{FF2B5EF4-FFF2-40B4-BE49-F238E27FC236}">
                  <a16:creationId xmlns:a16="http://schemas.microsoft.com/office/drawing/2014/main" id="{66308D9B-1739-4227-AAC3-BB866CD1F5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63374" y="2969626"/>
              <a:ext cx="330956" cy="357840"/>
            </a:xfrm>
            <a:custGeom>
              <a:avLst/>
              <a:gdLst>
                <a:gd name="T0" fmla="*/ 11 w 624"/>
                <a:gd name="T1" fmla="*/ 59 h 672"/>
                <a:gd name="T2" fmla="*/ 4 w 624"/>
                <a:gd name="T3" fmla="*/ 58 h 672"/>
                <a:gd name="T4" fmla="*/ 3 w 624"/>
                <a:gd name="T5" fmla="*/ 58 h 672"/>
                <a:gd name="T6" fmla="*/ 2 w 624"/>
                <a:gd name="T7" fmla="*/ 11 h 672"/>
                <a:gd name="T8" fmla="*/ 13 w 624"/>
                <a:gd name="T9" fmla="*/ 11 h 672"/>
                <a:gd name="T10" fmla="*/ 14 w 624"/>
                <a:gd name="T11" fmla="*/ 11 h 672"/>
                <a:gd name="T12" fmla="*/ 15 w 624"/>
                <a:gd name="T13" fmla="*/ 12 h 672"/>
                <a:gd name="T14" fmla="*/ 18 w 624"/>
                <a:gd name="T15" fmla="*/ 14 h 672"/>
                <a:gd name="T16" fmla="*/ 21 w 624"/>
                <a:gd name="T17" fmla="*/ 16 h 672"/>
                <a:gd name="T18" fmla="*/ 22 w 624"/>
                <a:gd name="T19" fmla="*/ 18 h 672"/>
                <a:gd name="T20" fmla="*/ 23 w 624"/>
                <a:gd name="T21" fmla="*/ 19 h 672"/>
                <a:gd name="T22" fmla="*/ 24 w 624"/>
                <a:gd name="T23" fmla="*/ 19 h 672"/>
                <a:gd name="T24" fmla="*/ 26 w 624"/>
                <a:gd name="T25" fmla="*/ 19 h 672"/>
                <a:gd name="T26" fmla="*/ 27 w 624"/>
                <a:gd name="T27" fmla="*/ 18 h 672"/>
                <a:gd name="T28" fmla="*/ 29 w 624"/>
                <a:gd name="T29" fmla="*/ 15 h 672"/>
                <a:gd name="T30" fmla="*/ 30 w 624"/>
                <a:gd name="T31" fmla="*/ 14 h 672"/>
                <a:gd name="T32" fmla="*/ 31 w 624"/>
                <a:gd name="T33" fmla="*/ 12 h 672"/>
                <a:gd name="T34" fmla="*/ 32 w 624"/>
                <a:gd name="T35" fmla="*/ 12 h 672"/>
                <a:gd name="T36" fmla="*/ 33 w 624"/>
                <a:gd name="T37" fmla="*/ 10 h 672"/>
                <a:gd name="T38" fmla="*/ 34 w 624"/>
                <a:gd name="T39" fmla="*/ 8 h 672"/>
                <a:gd name="T40" fmla="*/ 34 w 624"/>
                <a:gd name="T41" fmla="*/ 6 h 672"/>
                <a:gd name="T42" fmla="*/ 35 w 624"/>
                <a:gd name="T43" fmla="*/ 4 h 672"/>
                <a:gd name="T44" fmla="*/ 42 w 624"/>
                <a:gd name="T45" fmla="*/ 3 h 672"/>
                <a:gd name="T46" fmla="*/ 44 w 624"/>
                <a:gd name="T47" fmla="*/ 2 h 672"/>
                <a:gd name="T48" fmla="*/ 46 w 624"/>
                <a:gd name="T49" fmla="*/ 0 h 672"/>
                <a:gd name="T50" fmla="*/ 51 w 624"/>
                <a:gd name="T51" fmla="*/ 3 h 672"/>
                <a:gd name="T52" fmla="*/ 54 w 624"/>
                <a:gd name="T53" fmla="*/ 6 h 672"/>
                <a:gd name="T54" fmla="*/ 54 w 624"/>
                <a:gd name="T55" fmla="*/ 8 h 672"/>
                <a:gd name="T56" fmla="*/ 52 w 624"/>
                <a:gd name="T57" fmla="*/ 9 h 672"/>
                <a:gd name="T58" fmla="*/ 49 w 624"/>
                <a:gd name="T59" fmla="*/ 11 h 672"/>
                <a:gd name="T60" fmla="*/ 48 w 624"/>
                <a:gd name="T61" fmla="*/ 14 h 672"/>
                <a:gd name="T62" fmla="*/ 46 w 624"/>
                <a:gd name="T63" fmla="*/ 22 h 672"/>
                <a:gd name="T64" fmla="*/ 45 w 624"/>
                <a:gd name="T65" fmla="*/ 39 h 672"/>
                <a:gd name="T66" fmla="*/ 43 w 624"/>
                <a:gd name="T67" fmla="*/ 43 h 672"/>
                <a:gd name="T68" fmla="*/ 39 w 624"/>
                <a:gd name="T69" fmla="*/ 50 h 672"/>
                <a:gd name="T70" fmla="*/ 36 w 624"/>
                <a:gd name="T71" fmla="*/ 53 h 672"/>
                <a:gd name="T72" fmla="*/ 32 w 624"/>
                <a:gd name="T73" fmla="*/ 56 h 672"/>
                <a:gd name="T74" fmla="*/ 30 w 624"/>
                <a:gd name="T75" fmla="*/ 58 h 672"/>
                <a:gd name="T76" fmla="*/ 20 w 624"/>
                <a:gd name="T77" fmla="*/ 59 h 672"/>
                <a:gd name="T78" fmla="*/ 15 w 624"/>
                <a:gd name="T79" fmla="*/ 59 h 67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24"/>
                <a:gd name="T121" fmla="*/ 0 h 672"/>
                <a:gd name="T122" fmla="*/ 624 w 624"/>
                <a:gd name="T123" fmla="*/ 672 h 67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24" h="672">
                  <a:moveTo>
                    <a:pt x="168" y="672"/>
                  </a:moveTo>
                  <a:lnTo>
                    <a:pt x="132" y="672"/>
                  </a:lnTo>
                  <a:lnTo>
                    <a:pt x="72" y="666"/>
                  </a:lnTo>
                  <a:lnTo>
                    <a:pt x="42" y="666"/>
                  </a:lnTo>
                  <a:lnTo>
                    <a:pt x="36" y="666"/>
                  </a:lnTo>
                  <a:lnTo>
                    <a:pt x="30" y="660"/>
                  </a:lnTo>
                  <a:lnTo>
                    <a:pt x="0" y="660"/>
                  </a:lnTo>
                  <a:lnTo>
                    <a:pt x="24" y="120"/>
                  </a:lnTo>
                  <a:lnTo>
                    <a:pt x="60" y="120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62" y="120"/>
                  </a:lnTo>
                  <a:lnTo>
                    <a:pt x="168" y="120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10" y="156"/>
                  </a:lnTo>
                  <a:lnTo>
                    <a:pt x="222" y="174"/>
                  </a:lnTo>
                  <a:lnTo>
                    <a:pt x="240" y="186"/>
                  </a:lnTo>
                  <a:lnTo>
                    <a:pt x="252" y="198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216"/>
                  </a:lnTo>
                  <a:lnTo>
                    <a:pt x="270" y="216"/>
                  </a:lnTo>
                  <a:lnTo>
                    <a:pt x="282" y="222"/>
                  </a:lnTo>
                  <a:lnTo>
                    <a:pt x="288" y="222"/>
                  </a:lnTo>
                  <a:lnTo>
                    <a:pt x="294" y="216"/>
                  </a:lnTo>
                  <a:lnTo>
                    <a:pt x="294" y="210"/>
                  </a:lnTo>
                  <a:lnTo>
                    <a:pt x="312" y="204"/>
                  </a:lnTo>
                  <a:lnTo>
                    <a:pt x="330" y="186"/>
                  </a:lnTo>
                  <a:lnTo>
                    <a:pt x="336" y="174"/>
                  </a:lnTo>
                  <a:lnTo>
                    <a:pt x="342" y="162"/>
                  </a:lnTo>
                  <a:lnTo>
                    <a:pt x="342" y="156"/>
                  </a:lnTo>
                  <a:lnTo>
                    <a:pt x="348" y="150"/>
                  </a:lnTo>
                  <a:lnTo>
                    <a:pt x="354" y="144"/>
                  </a:lnTo>
                  <a:lnTo>
                    <a:pt x="360" y="138"/>
                  </a:lnTo>
                  <a:lnTo>
                    <a:pt x="366" y="132"/>
                  </a:lnTo>
                  <a:lnTo>
                    <a:pt x="372" y="114"/>
                  </a:lnTo>
                  <a:lnTo>
                    <a:pt x="378" y="114"/>
                  </a:lnTo>
                  <a:lnTo>
                    <a:pt x="378" y="96"/>
                  </a:lnTo>
                  <a:lnTo>
                    <a:pt x="390" y="96"/>
                  </a:lnTo>
                  <a:lnTo>
                    <a:pt x="396" y="84"/>
                  </a:lnTo>
                  <a:lnTo>
                    <a:pt x="396" y="72"/>
                  </a:lnTo>
                  <a:lnTo>
                    <a:pt x="396" y="54"/>
                  </a:lnTo>
                  <a:lnTo>
                    <a:pt x="408" y="42"/>
                  </a:lnTo>
                  <a:lnTo>
                    <a:pt x="468" y="42"/>
                  </a:lnTo>
                  <a:lnTo>
                    <a:pt x="486" y="36"/>
                  </a:lnTo>
                  <a:lnTo>
                    <a:pt x="492" y="24"/>
                  </a:lnTo>
                  <a:lnTo>
                    <a:pt x="504" y="24"/>
                  </a:lnTo>
                  <a:lnTo>
                    <a:pt x="516" y="6"/>
                  </a:lnTo>
                  <a:lnTo>
                    <a:pt x="528" y="0"/>
                  </a:lnTo>
                  <a:lnTo>
                    <a:pt x="558" y="12"/>
                  </a:lnTo>
                  <a:lnTo>
                    <a:pt x="588" y="36"/>
                  </a:lnTo>
                  <a:lnTo>
                    <a:pt x="600" y="66"/>
                  </a:lnTo>
                  <a:lnTo>
                    <a:pt x="624" y="66"/>
                  </a:lnTo>
                  <a:lnTo>
                    <a:pt x="624" y="90"/>
                  </a:lnTo>
                  <a:lnTo>
                    <a:pt x="618" y="90"/>
                  </a:lnTo>
                  <a:lnTo>
                    <a:pt x="618" y="96"/>
                  </a:lnTo>
                  <a:lnTo>
                    <a:pt x="600" y="102"/>
                  </a:lnTo>
                  <a:lnTo>
                    <a:pt x="588" y="108"/>
                  </a:lnTo>
                  <a:lnTo>
                    <a:pt x="570" y="120"/>
                  </a:lnTo>
                  <a:lnTo>
                    <a:pt x="564" y="138"/>
                  </a:lnTo>
                  <a:lnTo>
                    <a:pt x="558" y="162"/>
                  </a:lnTo>
                  <a:lnTo>
                    <a:pt x="540" y="210"/>
                  </a:lnTo>
                  <a:lnTo>
                    <a:pt x="528" y="252"/>
                  </a:lnTo>
                  <a:lnTo>
                    <a:pt x="528" y="402"/>
                  </a:lnTo>
                  <a:lnTo>
                    <a:pt x="522" y="444"/>
                  </a:lnTo>
                  <a:lnTo>
                    <a:pt x="510" y="468"/>
                  </a:lnTo>
                  <a:lnTo>
                    <a:pt x="498" y="498"/>
                  </a:lnTo>
                  <a:lnTo>
                    <a:pt x="474" y="534"/>
                  </a:lnTo>
                  <a:lnTo>
                    <a:pt x="456" y="570"/>
                  </a:lnTo>
                  <a:lnTo>
                    <a:pt x="444" y="576"/>
                  </a:lnTo>
                  <a:lnTo>
                    <a:pt x="420" y="606"/>
                  </a:lnTo>
                  <a:lnTo>
                    <a:pt x="390" y="624"/>
                  </a:lnTo>
                  <a:lnTo>
                    <a:pt x="372" y="642"/>
                  </a:lnTo>
                  <a:lnTo>
                    <a:pt x="366" y="654"/>
                  </a:lnTo>
                  <a:lnTo>
                    <a:pt x="342" y="660"/>
                  </a:lnTo>
                  <a:lnTo>
                    <a:pt x="300" y="666"/>
                  </a:lnTo>
                  <a:lnTo>
                    <a:pt x="234" y="672"/>
                  </a:lnTo>
                  <a:lnTo>
                    <a:pt x="192" y="672"/>
                  </a:lnTo>
                  <a:lnTo>
                    <a:pt x="168" y="67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9" name="Freeform 14">
              <a:extLst>
                <a:ext uri="{FF2B5EF4-FFF2-40B4-BE49-F238E27FC236}">
                  <a16:creationId xmlns:a16="http://schemas.microsoft.com/office/drawing/2014/main" id="{2EA1E999-9CDF-4391-8BC9-7DE71AF9C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0460" y="2983045"/>
              <a:ext cx="905658" cy="561362"/>
            </a:xfrm>
            <a:custGeom>
              <a:avLst/>
              <a:gdLst>
                <a:gd name="T0" fmla="*/ 31 w 1704"/>
                <a:gd name="T1" fmla="*/ 78 h 1056"/>
                <a:gd name="T2" fmla="*/ 23 w 1704"/>
                <a:gd name="T3" fmla="*/ 78 h 1056"/>
                <a:gd name="T4" fmla="*/ 11 w 1704"/>
                <a:gd name="T5" fmla="*/ 79 h 1056"/>
                <a:gd name="T6" fmla="*/ 1 w 1704"/>
                <a:gd name="T7" fmla="*/ 81 h 1056"/>
                <a:gd name="T8" fmla="*/ 0 w 1704"/>
                <a:gd name="T9" fmla="*/ 62 h 1056"/>
                <a:gd name="T10" fmla="*/ 9 w 1704"/>
                <a:gd name="T11" fmla="*/ 56 h 1056"/>
                <a:gd name="T12" fmla="*/ 27 w 1704"/>
                <a:gd name="T13" fmla="*/ 48 h 1056"/>
                <a:gd name="T14" fmla="*/ 35 w 1704"/>
                <a:gd name="T15" fmla="*/ 20 h 1056"/>
                <a:gd name="T16" fmla="*/ 43 w 1704"/>
                <a:gd name="T17" fmla="*/ 6 h 1056"/>
                <a:gd name="T18" fmla="*/ 47 w 1704"/>
                <a:gd name="T19" fmla="*/ 7 h 1056"/>
                <a:gd name="T20" fmla="*/ 52 w 1704"/>
                <a:gd name="T21" fmla="*/ 0 h 1056"/>
                <a:gd name="T22" fmla="*/ 59 w 1704"/>
                <a:gd name="T23" fmla="*/ 5 h 1056"/>
                <a:gd name="T24" fmla="*/ 63 w 1704"/>
                <a:gd name="T25" fmla="*/ 12 h 1056"/>
                <a:gd name="T26" fmla="*/ 62 w 1704"/>
                <a:gd name="T27" fmla="*/ 15 h 1056"/>
                <a:gd name="T28" fmla="*/ 62 w 1704"/>
                <a:gd name="T29" fmla="*/ 18 h 1056"/>
                <a:gd name="T30" fmla="*/ 70 w 1704"/>
                <a:gd name="T31" fmla="*/ 18 h 1056"/>
                <a:gd name="T32" fmla="*/ 71 w 1704"/>
                <a:gd name="T33" fmla="*/ 14 h 1056"/>
                <a:gd name="T34" fmla="*/ 72 w 1704"/>
                <a:gd name="T35" fmla="*/ 12 h 1056"/>
                <a:gd name="T36" fmla="*/ 78 w 1704"/>
                <a:gd name="T37" fmla="*/ 14 h 1056"/>
                <a:gd name="T38" fmla="*/ 85 w 1704"/>
                <a:gd name="T39" fmla="*/ 21 h 1056"/>
                <a:gd name="T40" fmla="*/ 91 w 1704"/>
                <a:gd name="T41" fmla="*/ 15 h 1056"/>
                <a:gd name="T42" fmla="*/ 93 w 1704"/>
                <a:gd name="T43" fmla="*/ 10 h 1056"/>
                <a:gd name="T44" fmla="*/ 101 w 1704"/>
                <a:gd name="T45" fmla="*/ 14 h 1056"/>
                <a:gd name="T46" fmla="*/ 103 w 1704"/>
                <a:gd name="T47" fmla="*/ 19 h 1056"/>
                <a:gd name="T48" fmla="*/ 115 w 1704"/>
                <a:gd name="T49" fmla="*/ 20 h 1056"/>
                <a:gd name="T50" fmla="*/ 118 w 1704"/>
                <a:gd name="T51" fmla="*/ 23 h 1056"/>
                <a:gd name="T52" fmla="*/ 117 w 1704"/>
                <a:gd name="T53" fmla="*/ 27 h 1056"/>
                <a:gd name="T54" fmla="*/ 111 w 1704"/>
                <a:gd name="T55" fmla="*/ 33 h 1056"/>
                <a:gd name="T56" fmla="*/ 108 w 1704"/>
                <a:gd name="T57" fmla="*/ 36 h 1056"/>
                <a:gd name="T58" fmla="*/ 109 w 1704"/>
                <a:gd name="T59" fmla="*/ 40 h 1056"/>
                <a:gd name="T60" fmla="*/ 111 w 1704"/>
                <a:gd name="T61" fmla="*/ 43 h 1056"/>
                <a:gd name="T62" fmla="*/ 113 w 1704"/>
                <a:gd name="T63" fmla="*/ 50 h 1056"/>
                <a:gd name="T64" fmla="*/ 121 w 1704"/>
                <a:gd name="T65" fmla="*/ 55 h 1056"/>
                <a:gd name="T66" fmla="*/ 132 w 1704"/>
                <a:gd name="T67" fmla="*/ 52 h 1056"/>
                <a:gd name="T68" fmla="*/ 148 w 1704"/>
                <a:gd name="T69" fmla="*/ 58 h 1056"/>
                <a:gd name="T70" fmla="*/ 148 w 1704"/>
                <a:gd name="T71" fmla="*/ 61 h 1056"/>
                <a:gd name="T72" fmla="*/ 148 w 1704"/>
                <a:gd name="T73" fmla="*/ 64 h 1056"/>
                <a:gd name="T74" fmla="*/ 135 w 1704"/>
                <a:gd name="T75" fmla="*/ 61 h 1056"/>
                <a:gd name="T76" fmla="*/ 135 w 1704"/>
                <a:gd name="T77" fmla="*/ 66 h 1056"/>
                <a:gd name="T78" fmla="*/ 137 w 1704"/>
                <a:gd name="T79" fmla="*/ 71 h 1056"/>
                <a:gd name="T80" fmla="*/ 136 w 1704"/>
                <a:gd name="T81" fmla="*/ 79 h 1056"/>
                <a:gd name="T82" fmla="*/ 126 w 1704"/>
                <a:gd name="T83" fmla="*/ 84 h 1056"/>
                <a:gd name="T84" fmla="*/ 121 w 1704"/>
                <a:gd name="T85" fmla="*/ 79 h 1056"/>
                <a:gd name="T86" fmla="*/ 117 w 1704"/>
                <a:gd name="T87" fmla="*/ 75 h 1056"/>
                <a:gd name="T88" fmla="*/ 98 w 1704"/>
                <a:gd name="T89" fmla="*/ 74 h 1056"/>
                <a:gd name="T90" fmla="*/ 81 w 1704"/>
                <a:gd name="T91" fmla="*/ 75 h 1056"/>
                <a:gd name="T92" fmla="*/ 83 w 1704"/>
                <a:gd name="T93" fmla="*/ 88 h 1056"/>
                <a:gd name="T94" fmla="*/ 82 w 1704"/>
                <a:gd name="T95" fmla="*/ 91 h 1056"/>
                <a:gd name="T96" fmla="*/ 77 w 1704"/>
                <a:gd name="T97" fmla="*/ 90 h 1056"/>
                <a:gd name="T98" fmla="*/ 73 w 1704"/>
                <a:gd name="T99" fmla="*/ 86 h 1056"/>
                <a:gd name="T100" fmla="*/ 68 w 1704"/>
                <a:gd name="T101" fmla="*/ 85 h 1056"/>
                <a:gd name="T102" fmla="*/ 64 w 1704"/>
                <a:gd name="T103" fmla="*/ 83 h 1056"/>
                <a:gd name="T104" fmla="*/ 57 w 1704"/>
                <a:gd name="T105" fmla="*/ 81 h 1056"/>
                <a:gd name="T106" fmla="*/ 52 w 1704"/>
                <a:gd name="T107" fmla="*/ 80 h 1056"/>
                <a:gd name="T108" fmla="*/ 50 w 1704"/>
                <a:gd name="T109" fmla="*/ 80 h 1056"/>
                <a:gd name="T110" fmla="*/ 46 w 1704"/>
                <a:gd name="T111" fmla="*/ 79 h 1056"/>
                <a:gd name="T112" fmla="*/ 41 w 1704"/>
                <a:gd name="T113" fmla="*/ 78 h 10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04"/>
                <a:gd name="T172" fmla="*/ 0 h 1056"/>
                <a:gd name="T173" fmla="*/ 1704 w 1704"/>
                <a:gd name="T174" fmla="*/ 1056 h 10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04" h="1056">
                  <a:moveTo>
                    <a:pt x="450" y="888"/>
                  </a:moveTo>
                  <a:lnTo>
                    <a:pt x="420" y="888"/>
                  </a:lnTo>
                  <a:lnTo>
                    <a:pt x="414" y="888"/>
                  </a:lnTo>
                  <a:lnTo>
                    <a:pt x="396" y="888"/>
                  </a:lnTo>
                  <a:lnTo>
                    <a:pt x="372" y="888"/>
                  </a:lnTo>
                  <a:lnTo>
                    <a:pt x="366" y="888"/>
                  </a:lnTo>
                  <a:lnTo>
                    <a:pt x="360" y="888"/>
                  </a:lnTo>
                  <a:lnTo>
                    <a:pt x="348" y="888"/>
                  </a:lnTo>
                  <a:lnTo>
                    <a:pt x="330" y="894"/>
                  </a:lnTo>
                  <a:lnTo>
                    <a:pt x="324" y="894"/>
                  </a:lnTo>
                  <a:lnTo>
                    <a:pt x="312" y="888"/>
                  </a:lnTo>
                  <a:lnTo>
                    <a:pt x="300" y="888"/>
                  </a:lnTo>
                  <a:lnTo>
                    <a:pt x="282" y="888"/>
                  </a:lnTo>
                  <a:lnTo>
                    <a:pt x="270" y="888"/>
                  </a:lnTo>
                  <a:lnTo>
                    <a:pt x="240" y="882"/>
                  </a:lnTo>
                  <a:lnTo>
                    <a:pt x="222" y="882"/>
                  </a:lnTo>
                  <a:lnTo>
                    <a:pt x="198" y="882"/>
                  </a:lnTo>
                  <a:lnTo>
                    <a:pt x="174" y="894"/>
                  </a:lnTo>
                  <a:lnTo>
                    <a:pt x="162" y="900"/>
                  </a:lnTo>
                  <a:lnTo>
                    <a:pt x="144" y="906"/>
                  </a:lnTo>
                  <a:lnTo>
                    <a:pt x="126" y="912"/>
                  </a:lnTo>
                  <a:lnTo>
                    <a:pt x="102" y="924"/>
                  </a:lnTo>
                  <a:lnTo>
                    <a:pt x="78" y="930"/>
                  </a:lnTo>
                  <a:lnTo>
                    <a:pt x="72" y="936"/>
                  </a:lnTo>
                  <a:lnTo>
                    <a:pt x="30" y="954"/>
                  </a:lnTo>
                  <a:lnTo>
                    <a:pt x="12" y="966"/>
                  </a:lnTo>
                  <a:lnTo>
                    <a:pt x="12" y="954"/>
                  </a:lnTo>
                  <a:lnTo>
                    <a:pt x="12" y="930"/>
                  </a:lnTo>
                  <a:lnTo>
                    <a:pt x="12" y="894"/>
                  </a:lnTo>
                  <a:lnTo>
                    <a:pt x="30" y="828"/>
                  </a:lnTo>
                  <a:lnTo>
                    <a:pt x="36" y="798"/>
                  </a:lnTo>
                  <a:lnTo>
                    <a:pt x="18" y="774"/>
                  </a:lnTo>
                  <a:lnTo>
                    <a:pt x="18" y="756"/>
                  </a:lnTo>
                  <a:lnTo>
                    <a:pt x="6" y="738"/>
                  </a:lnTo>
                  <a:lnTo>
                    <a:pt x="0" y="714"/>
                  </a:lnTo>
                  <a:lnTo>
                    <a:pt x="12" y="678"/>
                  </a:lnTo>
                  <a:lnTo>
                    <a:pt x="18" y="678"/>
                  </a:lnTo>
                  <a:lnTo>
                    <a:pt x="24" y="672"/>
                  </a:lnTo>
                  <a:lnTo>
                    <a:pt x="30" y="666"/>
                  </a:lnTo>
                  <a:lnTo>
                    <a:pt x="42" y="648"/>
                  </a:lnTo>
                  <a:lnTo>
                    <a:pt x="66" y="648"/>
                  </a:lnTo>
                  <a:lnTo>
                    <a:pt x="108" y="648"/>
                  </a:lnTo>
                  <a:lnTo>
                    <a:pt x="174" y="642"/>
                  </a:lnTo>
                  <a:lnTo>
                    <a:pt x="216" y="636"/>
                  </a:lnTo>
                  <a:lnTo>
                    <a:pt x="240" y="630"/>
                  </a:lnTo>
                  <a:lnTo>
                    <a:pt x="246" y="618"/>
                  </a:lnTo>
                  <a:lnTo>
                    <a:pt x="264" y="600"/>
                  </a:lnTo>
                  <a:lnTo>
                    <a:pt x="294" y="582"/>
                  </a:lnTo>
                  <a:lnTo>
                    <a:pt x="318" y="552"/>
                  </a:lnTo>
                  <a:lnTo>
                    <a:pt x="330" y="546"/>
                  </a:lnTo>
                  <a:lnTo>
                    <a:pt x="348" y="510"/>
                  </a:lnTo>
                  <a:lnTo>
                    <a:pt x="372" y="474"/>
                  </a:lnTo>
                  <a:lnTo>
                    <a:pt x="384" y="444"/>
                  </a:lnTo>
                  <a:lnTo>
                    <a:pt x="396" y="420"/>
                  </a:lnTo>
                  <a:lnTo>
                    <a:pt x="402" y="378"/>
                  </a:lnTo>
                  <a:lnTo>
                    <a:pt x="402" y="228"/>
                  </a:lnTo>
                  <a:lnTo>
                    <a:pt x="414" y="186"/>
                  </a:lnTo>
                  <a:lnTo>
                    <a:pt x="432" y="138"/>
                  </a:lnTo>
                  <a:lnTo>
                    <a:pt x="438" y="114"/>
                  </a:lnTo>
                  <a:lnTo>
                    <a:pt x="444" y="96"/>
                  </a:lnTo>
                  <a:lnTo>
                    <a:pt x="462" y="84"/>
                  </a:lnTo>
                  <a:lnTo>
                    <a:pt x="474" y="78"/>
                  </a:lnTo>
                  <a:lnTo>
                    <a:pt x="492" y="72"/>
                  </a:lnTo>
                  <a:lnTo>
                    <a:pt x="492" y="66"/>
                  </a:lnTo>
                  <a:lnTo>
                    <a:pt x="498" y="66"/>
                  </a:lnTo>
                  <a:lnTo>
                    <a:pt x="510" y="66"/>
                  </a:lnTo>
                  <a:lnTo>
                    <a:pt x="510" y="72"/>
                  </a:lnTo>
                  <a:lnTo>
                    <a:pt x="516" y="72"/>
                  </a:lnTo>
                  <a:lnTo>
                    <a:pt x="522" y="78"/>
                  </a:lnTo>
                  <a:lnTo>
                    <a:pt x="546" y="78"/>
                  </a:lnTo>
                  <a:lnTo>
                    <a:pt x="552" y="60"/>
                  </a:lnTo>
                  <a:lnTo>
                    <a:pt x="570" y="42"/>
                  </a:lnTo>
                  <a:lnTo>
                    <a:pt x="576" y="24"/>
                  </a:lnTo>
                  <a:lnTo>
                    <a:pt x="588" y="18"/>
                  </a:lnTo>
                  <a:lnTo>
                    <a:pt x="588" y="12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624" y="0"/>
                  </a:lnTo>
                  <a:lnTo>
                    <a:pt x="636" y="6"/>
                  </a:lnTo>
                  <a:lnTo>
                    <a:pt x="648" y="24"/>
                  </a:lnTo>
                  <a:lnTo>
                    <a:pt x="654" y="48"/>
                  </a:lnTo>
                  <a:lnTo>
                    <a:pt x="672" y="60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0" y="72"/>
                  </a:lnTo>
                  <a:lnTo>
                    <a:pt x="690" y="78"/>
                  </a:lnTo>
                  <a:lnTo>
                    <a:pt x="696" y="90"/>
                  </a:lnTo>
                  <a:lnTo>
                    <a:pt x="714" y="114"/>
                  </a:lnTo>
                  <a:lnTo>
                    <a:pt x="714" y="120"/>
                  </a:lnTo>
                  <a:lnTo>
                    <a:pt x="720" y="132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20" y="150"/>
                  </a:lnTo>
                  <a:lnTo>
                    <a:pt x="714" y="150"/>
                  </a:lnTo>
                  <a:lnTo>
                    <a:pt x="714" y="156"/>
                  </a:lnTo>
                  <a:lnTo>
                    <a:pt x="714" y="162"/>
                  </a:lnTo>
                  <a:lnTo>
                    <a:pt x="708" y="162"/>
                  </a:lnTo>
                  <a:lnTo>
                    <a:pt x="708" y="168"/>
                  </a:lnTo>
                  <a:lnTo>
                    <a:pt x="702" y="168"/>
                  </a:lnTo>
                  <a:lnTo>
                    <a:pt x="702" y="174"/>
                  </a:lnTo>
                  <a:lnTo>
                    <a:pt x="702" y="180"/>
                  </a:lnTo>
                  <a:lnTo>
                    <a:pt x="708" y="180"/>
                  </a:lnTo>
                  <a:lnTo>
                    <a:pt x="708" y="186"/>
                  </a:lnTo>
                  <a:lnTo>
                    <a:pt x="708" y="192"/>
                  </a:lnTo>
                  <a:lnTo>
                    <a:pt x="714" y="204"/>
                  </a:lnTo>
                  <a:lnTo>
                    <a:pt x="726" y="216"/>
                  </a:lnTo>
                  <a:lnTo>
                    <a:pt x="738" y="216"/>
                  </a:lnTo>
                  <a:lnTo>
                    <a:pt x="768" y="222"/>
                  </a:lnTo>
                  <a:lnTo>
                    <a:pt x="780" y="216"/>
                  </a:lnTo>
                  <a:lnTo>
                    <a:pt x="792" y="204"/>
                  </a:lnTo>
                  <a:lnTo>
                    <a:pt x="798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6" y="192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6" y="174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22" y="156"/>
                  </a:lnTo>
                  <a:lnTo>
                    <a:pt x="822" y="150"/>
                  </a:lnTo>
                  <a:lnTo>
                    <a:pt x="828" y="144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8" y="138"/>
                  </a:lnTo>
                  <a:lnTo>
                    <a:pt x="834" y="132"/>
                  </a:lnTo>
                  <a:lnTo>
                    <a:pt x="840" y="132"/>
                  </a:lnTo>
                  <a:lnTo>
                    <a:pt x="864" y="126"/>
                  </a:lnTo>
                  <a:lnTo>
                    <a:pt x="906" y="144"/>
                  </a:lnTo>
                  <a:lnTo>
                    <a:pt x="906" y="150"/>
                  </a:lnTo>
                  <a:lnTo>
                    <a:pt x="906" y="156"/>
                  </a:lnTo>
                  <a:lnTo>
                    <a:pt x="900" y="162"/>
                  </a:lnTo>
                  <a:lnTo>
                    <a:pt x="924" y="168"/>
                  </a:lnTo>
                  <a:lnTo>
                    <a:pt x="942" y="192"/>
                  </a:lnTo>
                  <a:lnTo>
                    <a:pt x="972" y="210"/>
                  </a:lnTo>
                  <a:lnTo>
                    <a:pt x="972" y="216"/>
                  </a:lnTo>
                  <a:lnTo>
                    <a:pt x="972" y="228"/>
                  </a:lnTo>
                  <a:lnTo>
                    <a:pt x="978" y="234"/>
                  </a:lnTo>
                  <a:lnTo>
                    <a:pt x="978" y="246"/>
                  </a:lnTo>
                  <a:lnTo>
                    <a:pt x="984" y="252"/>
                  </a:lnTo>
                  <a:lnTo>
                    <a:pt x="1014" y="252"/>
                  </a:lnTo>
                  <a:lnTo>
                    <a:pt x="1020" y="228"/>
                  </a:lnTo>
                  <a:lnTo>
                    <a:pt x="1026" y="198"/>
                  </a:lnTo>
                  <a:lnTo>
                    <a:pt x="1050" y="186"/>
                  </a:lnTo>
                  <a:lnTo>
                    <a:pt x="1056" y="180"/>
                  </a:lnTo>
                  <a:lnTo>
                    <a:pt x="1050" y="174"/>
                  </a:lnTo>
                  <a:lnTo>
                    <a:pt x="1050" y="168"/>
                  </a:lnTo>
                  <a:lnTo>
                    <a:pt x="1050" y="162"/>
                  </a:lnTo>
                  <a:lnTo>
                    <a:pt x="1056" y="162"/>
                  </a:lnTo>
                  <a:lnTo>
                    <a:pt x="1062" y="162"/>
                  </a:lnTo>
                  <a:lnTo>
                    <a:pt x="1074" y="162"/>
                  </a:lnTo>
                  <a:lnTo>
                    <a:pt x="1074" y="144"/>
                  </a:lnTo>
                  <a:lnTo>
                    <a:pt x="1074" y="120"/>
                  </a:lnTo>
                  <a:lnTo>
                    <a:pt x="1092" y="120"/>
                  </a:lnTo>
                  <a:lnTo>
                    <a:pt x="1098" y="126"/>
                  </a:lnTo>
                  <a:lnTo>
                    <a:pt x="1134" y="132"/>
                  </a:lnTo>
                  <a:lnTo>
                    <a:pt x="1146" y="132"/>
                  </a:lnTo>
                  <a:lnTo>
                    <a:pt x="1158" y="150"/>
                  </a:lnTo>
                  <a:lnTo>
                    <a:pt x="1158" y="156"/>
                  </a:lnTo>
                  <a:lnTo>
                    <a:pt x="1158" y="162"/>
                  </a:lnTo>
                  <a:lnTo>
                    <a:pt x="1158" y="180"/>
                  </a:lnTo>
                  <a:lnTo>
                    <a:pt x="1158" y="186"/>
                  </a:lnTo>
                  <a:lnTo>
                    <a:pt x="1164" y="192"/>
                  </a:lnTo>
                  <a:lnTo>
                    <a:pt x="1176" y="198"/>
                  </a:lnTo>
                  <a:lnTo>
                    <a:pt x="1182" y="198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8"/>
                  </a:lnTo>
                  <a:lnTo>
                    <a:pt x="1188" y="234"/>
                  </a:lnTo>
                  <a:lnTo>
                    <a:pt x="1212" y="234"/>
                  </a:lnTo>
                  <a:lnTo>
                    <a:pt x="1242" y="234"/>
                  </a:lnTo>
                  <a:lnTo>
                    <a:pt x="1248" y="234"/>
                  </a:lnTo>
                  <a:lnTo>
                    <a:pt x="1278" y="240"/>
                  </a:lnTo>
                  <a:lnTo>
                    <a:pt x="1320" y="234"/>
                  </a:lnTo>
                  <a:lnTo>
                    <a:pt x="1332" y="228"/>
                  </a:lnTo>
                  <a:lnTo>
                    <a:pt x="1344" y="228"/>
                  </a:lnTo>
                  <a:lnTo>
                    <a:pt x="1350" y="234"/>
                  </a:lnTo>
                  <a:lnTo>
                    <a:pt x="1350" y="240"/>
                  </a:lnTo>
                  <a:lnTo>
                    <a:pt x="1356" y="246"/>
                  </a:lnTo>
                  <a:lnTo>
                    <a:pt x="1350" y="252"/>
                  </a:lnTo>
                  <a:lnTo>
                    <a:pt x="1356" y="264"/>
                  </a:lnTo>
                  <a:lnTo>
                    <a:pt x="1356" y="270"/>
                  </a:lnTo>
                  <a:lnTo>
                    <a:pt x="1356" y="276"/>
                  </a:lnTo>
                  <a:lnTo>
                    <a:pt x="1356" y="282"/>
                  </a:lnTo>
                  <a:lnTo>
                    <a:pt x="1356" y="288"/>
                  </a:lnTo>
                  <a:lnTo>
                    <a:pt x="1350" y="294"/>
                  </a:lnTo>
                  <a:lnTo>
                    <a:pt x="1344" y="300"/>
                  </a:lnTo>
                  <a:lnTo>
                    <a:pt x="1344" y="306"/>
                  </a:lnTo>
                  <a:lnTo>
                    <a:pt x="1338" y="312"/>
                  </a:lnTo>
                  <a:lnTo>
                    <a:pt x="1326" y="342"/>
                  </a:lnTo>
                  <a:lnTo>
                    <a:pt x="1320" y="348"/>
                  </a:lnTo>
                  <a:lnTo>
                    <a:pt x="1314" y="354"/>
                  </a:lnTo>
                  <a:lnTo>
                    <a:pt x="1290" y="354"/>
                  </a:lnTo>
                  <a:lnTo>
                    <a:pt x="1284" y="360"/>
                  </a:lnTo>
                  <a:lnTo>
                    <a:pt x="1278" y="378"/>
                  </a:lnTo>
                  <a:lnTo>
                    <a:pt x="1278" y="384"/>
                  </a:lnTo>
                  <a:lnTo>
                    <a:pt x="1272" y="390"/>
                  </a:lnTo>
                  <a:lnTo>
                    <a:pt x="1266" y="396"/>
                  </a:lnTo>
                  <a:lnTo>
                    <a:pt x="1260" y="396"/>
                  </a:lnTo>
                  <a:lnTo>
                    <a:pt x="1248" y="402"/>
                  </a:lnTo>
                  <a:lnTo>
                    <a:pt x="1242" y="408"/>
                  </a:lnTo>
                  <a:lnTo>
                    <a:pt x="1242" y="414"/>
                  </a:lnTo>
                  <a:lnTo>
                    <a:pt x="1242" y="420"/>
                  </a:lnTo>
                  <a:lnTo>
                    <a:pt x="1236" y="432"/>
                  </a:lnTo>
                  <a:lnTo>
                    <a:pt x="1242" y="432"/>
                  </a:lnTo>
                  <a:lnTo>
                    <a:pt x="1242" y="444"/>
                  </a:lnTo>
                  <a:lnTo>
                    <a:pt x="1242" y="456"/>
                  </a:lnTo>
                  <a:lnTo>
                    <a:pt x="1248" y="456"/>
                  </a:lnTo>
                  <a:lnTo>
                    <a:pt x="1254" y="462"/>
                  </a:lnTo>
                  <a:lnTo>
                    <a:pt x="1248" y="468"/>
                  </a:lnTo>
                  <a:lnTo>
                    <a:pt x="1254" y="468"/>
                  </a:lnTo>
                  <a:lnTo>
                    <a:pt x="1266" y="474"/>
                  </a:lnTo>
                  <a:lnTo>
                    <a:pt x="1266" y="480"/>
                  </a:lnTo>
                  <a:lnTo>
                    <a:pt x="1266" y="486"/>
                  </a:lnTo>
                  <a:lnTo>
                    <a:pt x="1272" y="486"/>
                  </a:lnTo>
                  <a:lnTo>
                    <a:pt x="1272" y="492"/>
                  </a:lnTo>
                  <a:lnTo>
                    <a:pt x="1290" y="510"/>
                  </a:lnTo>
                  <a:lnTo>
                    <a:pt x="1296" y="516"/>
                  </a:lnTo>
                  <a:lnTo>
                    <a:pt x="1302" y="540"/>
                  </a:lnTo>
                  <a:lnTo>
                    <a:pt x="1302" y="546"/>
                  </a:lnTo>
                  <a:lnTo>
                    <a:pt x="1302" y="558"/>
                  </a:lnTo>
                  <a:lnTo>
                    <a:pt x="1302" y="570"/>
                  </a:lnTo>
                  <a:lnTo>
                    <a:pt x="1302" y="576"/>
                  </a:lnTo>
                  <a:lnTo>
                    <a:pt x="1344" y="570"/>
                  </a:lnTo>
                  <a:lnTo>
                    <a:pt x="1350" y="582"/>
                  </a:lnTo>
                  <a:lnTo>
                    <a:pt x="1368" y="594"/>
                  </a:lnTo>
                  <a:lnTo>
                    <a:pt x="1374" y="600"/>
                  </a:lnTo>
                  <a:lnTo>
                    <a:pt x="1380" y="600"/>
                  </a:lnTo>
                  <a:lnTo>
                    <a:pt x="1380" y="618"/>
                  </a:lnTo>
                  <a:lnTo>
                    <a:pt x="1386" y="624"/>
                  </a:lnTo>
                  <a:lnTo>
                    <a:pt x="1404" y="624"/>
                  </a:lnTo>
                  <a:lnTo>
                    <a:pt x="1410" y="612"/>
                  </a:lnTo>
                  <a:lnTo>
                    <a:pt x="1428" y="606"/>
                  </a:lnTo>
                  <a:lnTo>
                    <a:pt x="1488" y="606"/>
                  </a:lnTo>
                  <a:lnTo>
                    <a:pt x="1506" y="606"/>
                  </a:lnTo>
                  <a:lnTo>
                    <a:pt x="1512" y="600"/>
                  </a:lnTo>
                  <a:lnTo>
                    <a:pt x="1524" y="594"/>
                  </a:lnTo>
                  <a:lnTo>
                    <a:pt x="1554" y="594"/>
                  </a:lnTo>
                  <a:lnTo>
                    <a:pt x="1578" y="606"/>
                  </a:lnTo>
                  <a:lnTo>
                    <a:pt x="1596" y="624"/>
                  </a:lnTo>
                  <a:lnTo>
                    <a:pt x="1650" y="642"/>
                  </a:lnTo>
                  <a:lnTo>
                    <a:pt x="1686" y="648"/>
                  </a:lnTo>
                  <a:lnTo>
                    <a:pt x="1698" y="654"/>
                  </a:lnTo>
                  <a:lnTo>
                    <a:pt x="1698" y="660"/>
                  </a:lnTo>
                  <a:lnTo>
                    <a:pt x="1692" y="666"/>
                  </a:lnTo>
                  <a:lnTo>
                    <a:pt x="1692" y="672"/>
                  </a:lnTo>
                  <a:lnTo>
                    <a:pt x="1698" y="678"/>
                  </a:lnTo>
                  <a:lnTo>
                    <a:pt x="1698" y="684"/>
                  </a:lnTo>
                  <a:lnTo>
                    <a:pt x="1692" y="684"/>
                  </a:lnTo>
                  <a:lnTo>
                    <a:pt x="1692" y="690"/>
                  </a:lnTo>
                  <a:lnTo>
                    <a:pt x="1698" y="696"/>
                  </a:lnTo>
                  <a:lnTo>
                    <a:pt x="1698" y="702"/>
                  </a:lnTo>
                  <a:lnTo>
                    <a:pt x="1698" y="708"/>
                  </a:lnTo>
                  <a:lnTo>
                    <a:pt x="1704" y="714"/>
                  </a:lnTo>
                  <a:lnTo>
                    <a:pt x="1704" y="720"/>
                  </a:lnTo>
                  <a:lnTo>
                    <a:pt x="1704" y="726"/>
                  </a:lnTo>
                  <a:lnTo>
                    <a:pt x="1704" y="732"/>
                  </a:lnTo>
                  <a:lnTo>
                    <a:pt x="1704" y="738"/>
                  </a:lnTo>
                  <a:lnTo>
                    <a:pt x="1698" y="726"/>
                  </a:lnTo>
                  <a:lnTo>
                    <a:pt x="1668" y="720"/>
                  </a:lnTo>
                  <a:lnTo>
                    <a:pt x="1626" y="714"/>
                  </a:lnTo>
                  <a:lnTo>
                    <a:pt x="1614" y="708"/>
                  </a:lnTo>
                  <a:lnTo>
                    <a:pt x="1578" y="696"/>
                  </a:lnTo>
                  <a:lnTo>
                    <a:pt x="1566" y="696"/>
                  </a:lnTo>
                  <a:lnTo>
                    <a:pt x="1548" y="702"/>
                  </a:lnTo>
                  <a:lnTo>
                    <a:pt x="1542" y="714"/>
                  </a:lnTo>
                  <a:lnTo>
                    <a:pt x="1536" y="732"/>
                  </a:lnTo>
                  <a:lnTo>
                    <a:pt x="1530" y="750"/>
                  </a:lnTo>
                  <a:lnTo>
                    <a:pt x="1536" y="750"/>
                  </a:lnTo>
                  <a:lnTo>
                    <a:pt x="1542" y="756"/>
                  </a:lnTo>
                  <a:lnTo>
                    <a:pt x="1542" y="762"/>
                  </a:lnTo>
                  <a:lnTo>
                    <a:pt x="1548" y="762"/>
                  </a:lnTo>
                  <a:lnTo>
                    <a:pt x="1554" y="762"/>
                  </a:lnTo>
                  <a:lnTo>
                    <a:pt x="1554" y="768"/>
                  </a:lnTo>
                  <a:lnTo>
                    <a:pt x="1560" y="774"/>
                  </a:lnTo>
                  <a:lnTo>
                    <a:pt x="1566" y="774"/>
                  </a:lnTo>
                  <a:lnTo>
                    <a:pt x="1584" y="792"/>
                  </a:lnTo>
                  <a:lnTo>
                    <a:pt x="1584" y="810"/>
                  </a:lnTo>
                  <a:lnTo>
                    <a:pt x="1572" y="816"/>
                  </a:lnTo>
                  <a:lnTo>
                    <a:pt x="1578" y="834"/>
                  </a:lnTo>
                  <a:lnTo>
                    <a:pt x="1578" y="846"/>
                  </a:lnTo>
                  <a:lnTo>
                    <a:pt x="1584" y="858"/>
                  </a:lnTo>
                  <a:lnTo>
                    <a:pt x="1590" y="864"/>
                  </a:lnTo>
                  <a:lnTo>
                    <a:pt x="1590" y="876"/>
                  </a:lnTo>
                  <a:lnTo>
                    <a:pt x="1578" y="888"/>
                  </a:lnTo>
                  <a:lnTo>
                    <a:pt x="1560" y="906"/>
                  </a:lnTo>
                  <a:lnTo>
                    <a:pt x="1536" y="930"/>
                  </a:lnTo>
                  <a:lnTo>
                    <a:pt x="1530" y="930"/>
                  </a:lnTo>
                  <a:lnTo>
                    <a:pt x="1506" y="942"/>
                  </a:lnTo>
                  <a:lnTo>
                    <a:pt x="1488" y="948"/>
                  </a:lnTo>
                  <a:lnTo>
                    <a:pt x="1476" y="954"/>
                  </a:lnTo>
                  <a:lnTo>
                    <a:pt x="1458" y="960"/>
                  </a:lnTo>
                  <a:lnTo>
                    <a:pt x="1452" y="966"/>
                  </a:lnTo>
                  <a:lnTo>
                    <a:pt x="1446" y="966"/>
                  </a:lnTo>
                  <a:lnTo>
                    <a:pt x="1434" y="972"/>
                  </a:lnTo>
                  <a:lnTo>
                    <a:pt x="1434" y="954"/>
                  </a:lnTo>
                  <a:lnTo>
                    <a:pt x="1422" y="942"/>
                  </a:lnTo>
                  <a:lnTo>
                    <a:pt x="1398" y="924"/>
                  </a:lnTo>
                  <a:lnTo>
                    <a:pt x="1398" y="912"/>
                  </a:lnTo>
                  <a:lnTo>
                    <a:pt x="1398" y="906"/>
                  </a:lnTo>
                  <a:lnTo>
                    <a:pt x="1398" y="900"/>
                  </a:lnTo>
                  <a:lnTo>
                    <a:pt x="1380" y="900"/>
                  </a:lnTo>
                  <a:lnTo>
                    <a:pt x="1380" y="894"/>
                  </a:lnTo>
                  <a:lnTo>
                    <a:pt x="1368" y="888"/>
                  </a:lnTo>
                  <a:lnTo>
                    <a:pt x="1362" y="882"/>
                  </a:lnTo>
                  <a:lnTo>
                    <a:pt x="1356" y="876"/>
                  </a:lnTo>
                  <a:lnTo>
                    <a:pt x="1350" y="864"/>
                  </a:lnTo>
                  <a:lnTo>
                    <a:pt x="1344" y="858"/>
                  </a:lnTo>
                  <a:lnTo>
                    <a:pt x="1314" y="870"/>
                  </a:lnTo>
                  <a:lnTo>
                    <a:pt x="1272" y="876"/>
                  </a:lnTo>
                  <a:lnTo>
                    <a:pt x="1218" y="870"/>
                  </a:lnTo>
                  <a:lnTo>
                    <a:pt x="1200" y="864"/>
                  </a:lnTo>
                  <a:lnTo>
                    <a:pt x="1182" y="864"/>
                  </a:lnTo>
                  <a:lnTo>
                    <a:pt x="1134" y="858"/>
                  </a:lnTo>
                  <a:lnTo>
                    <a:pt x="1110" y="840"/>
                  </a:lnTo>
                  <a:lnTo>
                    <a:pt x="1086" y="828"/>
                  </a:lnTo>
                  <a:lnTo>
                    <a:pt x="1044" y="816"/>
                  </a:lnTo>
                  <a:lnTo>
                    <a:pt x="1014" y="816"/>
                  </a:lnTo>
                  <a:lnTo>
                    <a:pt x="990" y="822"/>
                  </a:lnTo>
                  <a:lnTo>
                    <a:pt x="948" y="858"/>
                  </a:lnTo>
                  <a:lnTo>
                    <a:pt x="930" y="864"/>
                  </a:lnTo>
                  <a:lnTo>
                    <a:pt x="924" y="876"/>
                  </a:lnTo>
                  <a:lnTo>
                    <a:pt x="918" y="906"/>
                  </a:lnTo>
                  <a:lnTo>
                    <a:pt x="924" y="930"/>
                  </a:lnTo>
                  <a:lnTo>
                    <a:pt x="948" y="984"/>
                  </a:lnTo>
                  <a:lnTo>
                    <a:pt x="954" y="1008"/>
                  </a:lnTo>
                  <a:lnTo>
                    <a:pt x="948" y="1014"/>
                  </a:lnTo>
                  <a:lnTo>
                    <a:pt x="954" y="1014"/>
                  </a:lnTo>
                  <a:lnTo>
                    <a:pt x="954" y="1032"/>
                  </a:lnTo>
                  <a:lnTo>
                    <a:pt x="966" y="1044"/>
                  </a:lnTo>
                  <a:lnTo>
                    <a:pt x="960" y="1056"/>
                  </a:lnTo>
                  <a:lnTo>
                    <a:pt x="954" y="1056"/>
                  </a:lnTo>
                  <a:lnTo>
                    <a:pt x="948" y="1056"/>
                  </a:lnTo>
                  <a:lnTo>
                    <a:pt x="942" y="1056"/>
                  </a:lnTo>
                  <a:lnTo>
                    <a:pt x="936" y="1050"/>
                  </a:lnTo>
                  <a:lnTo>
                    <a:pt x="930" y="1044"/>
                  </a:lnTo>
                  <a:lnTo>
                    <a:pt x="924" y="1044"/>
                  </a:lnTo>
                  <a:lnTo>
                    <a:pt x="918" y="1038"/>
                  </a:lnTo>
                  <a:lnTo>
                    <a:pt x="912" y="1038"/>
                  </a:lnTo>
                  <a:lnTo>
                    <a:pt x="906" y="1032"/>
                  </a:lnTo>
                  <a:lnTo>
                    <a:pt x="900" y="1032"/>
                  </a:lnTo>
                  <a:lnTo>
                    <a:pt x="888" y="1026"/>
                  </a:lnTo>
                  <a:lnTo>
                    <a:pt x="882" y="1026"/>
                  </a:lnTo>
                  <a:lnTo>
                    <a:pt x="876" y="1026"/>
                  </a:lnTo>
                  <a:lnTo>
                    <a:pt x="864" y="1014"/>
                  </a:lnTo>
                  <a:lnTo>
                    <a:pt x="846" y="1008"/>
                  </a:lnTo>
                  <a:lnTo>
                    <a:pt x="840" y="996"/>
                  </a:lnTo>
                  <a:lnTo>
                    <a:pt x="840" y="990"/>
                  </a:lnTo>
                  <a:lnTo>
                    <a:pt x="834" y="990"/>
                  </a:lnTo>
                  <a:lnTo>
                    <a:pt x="828" y="990"/>
                  </a:lnTo>
                  <a:lnTo>
                    <a:pt x="816" y="990"/>
                  </a:lnTo>
                  <a:lnTo>
                    <a:pt x="810" y="990"/>
                  </a:lnTo>
                  <a:lnTo>
                    <a:pt x="804" y="984"/>
                  </a:lnTo>
                  <a:lnTo>
                    <a:pt x="792" y="978"/>
                  </a:lnTo>
                  <a:lnTo>
                    <a:pt x="786" y="972"/>
                  </a:lnTo>
                  <a:lnTo>
                    <a:pt x="780" y="972"/>
                  </a:lnTo>
                  <a:lnTo>
                    <a:pt x="768" y="966"/>
                  </a:lnTo>
                  <a:lnTo>
                    <a:pt x="762" y="966"/>
                  </a:lnTo>
                  <a:lnTo>
                    <a:pt x="756" y="966"/>
                  </a:lnTo>
                  <a:lnTo>
                    <a:pt x="750" y="966"/>
                  </a:lnTo>
                  <a:lnTo>
                    <a:pt x="744" y="966"/>
                  </a:lnTo>
                  <a:lnTo>
                    <a:pt x="738" y="960"/>
                  </a:lnTo>
                  <a:lnTo>
                    <a:pt x="732" y="954"/>
                  </a:lnTo>
                  <a:lnTo>
                    <a:pt x="720" y="954"/>
                  </a:lnTo>
                  <a:lnTo>
                    <a:pt x="714" y="948"/>
                  </a:lnTo>
                  <a:lnTo>
                    <a:pt x="708" y="948"/>
                  </a:lnTo>
                  <a:lnTo>
                    <a:pt x="696" y="948"/>
                  </a:lnTo>
                  <a:lnTo>
                    <a:pt x="684" y="942"/>
                  </a:lnTo>
                  <a:lnTo>
                    <a:pt x="678" y="936"/>
                  </a:lnTo>
                  <a:lnTo>
                    <a:pt x="660" y="930"/>
                  </a:lnTo>
                  <a:lnTo>
                    <a:pt x="642" y="924"/>
                  </a:lnTo>
                  <a:lnTo>
                    <a:pt x="636" y="924"/>
                  </a:lnTo>
                  <a:lnTo>
                    <a:pt x="630" y="924"/>
                  </a:lnTo>
                  <a:lnTo>
                    <a:pt x="618" y="924"/>
                  </a:lnTo>
                  <a:lnTo>
                    <a:pt x="618" y="918"/>
                  </a:lnTo>
                  <a:lnTo>
                    <a:pt x="606" y="918"/>
                  </a:lnTo>
                  <a:lnTo>
                    <a:pt x="600" y="918"/>
                  </a:lnTo>
                  <a:lnTo>
                    <a:pt x="594" y="918"/>
                  </a:lnTo>
                  <a:lnTo>
                    <a:pt x="594" y="912"/>
                  </a:lnTo>
                  <a:lnTo>
                    <a:pt x="588" y="912"/>
                  </a:lnTo>
                  <a:lnTo>
                    <a:pt x="582" y="912"/>
                  </a:lnTo>
                  <a:lnTo>
                    <a:pt x="582" y="918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58" y="918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12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00"/>
                  </a:lnTo>
                  <a:lnTo>
                    <a:pt x="516" y="900"/>
                  </a:lnTo>
                  <a:lnTo>
                    <a:pt x="510" y="900"/>
                  </a:lnTo>
                  <a:lnTo>
                    <a:pt x="486" y="894"/>
                  </a:lnTo>
                  <a:lnTo>
                    <a:pt x="474" y="888"/>
                  </a:lnTo>
                  <a:lnTo>
                    <a:pt x="468" y="888"/>
                  </a:lnTo>
                  <a:lnTo>
                    <a:pt x="450" y="88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0" name="Freeform 15">
              <a:extLst>
                <a:ext uri="{FF2B5EF4-FFF2-40B4-BE49-F238E27FC236}">
                  <a16:creationId xmlns:a16="http://schemas.microsoft.com/office/drawing/2014/main" id="{8B991D7A-45C6-40F6-A035-24DFC733305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382" y="2652043"/>
              <a:ext cx="724526" cy="695552"/>
            </a:xfrm>
            <a:custGeom>
              <a:avLst/>
              <a:gdLst>
                <a:gd name="T0" fmla="*/ 44 w 1362"/>
                <a:gd name="T1" fmla="*/ 106 h 1308"/>
                <a:gd name="T2" fmla="*/ 32 w 1362"/>
                <a:gd name="T3" fmla="*/ 109 h 1308"/>
                <a:gd name="T4" fmla="*/ 25 w 1362"/>
                <a:gd name="T5" fmla="*/ 105 h 1308"/>
                <a:gd name="T6" fmla="*/ 22 w 1362"/>
                <a:gd name="T7" fmla="*/ 97 h 1308"/>
                <a:gd name="T8" fmla="*/ 21 w 1362"/>
                <a:gd name="T9" fmla="*/ 95 h 1308"/>
                <a:gd name="T10" fmla="*/ 20 w 1362"/>
                <a:gd name="T11" fmla="*/ 90 h 1308"/>
                <a:gd name="T12" fmla="*/ 23 w 1362"/>
                <a:gd name="T13" fmla="*/ 87 h 1308"/>
                <a:gd name="T14" fmla="*/ 29 w 1362"/>
                <a:gd name="T15" fmla="*/ 81 h 1308"/>
                <a:gd name="T16" fmla="*/ 30 w 1362"/>
                <a:gd name="T17" fmla="*/ 78 h 1308"/>
                <a:gd name="T18" fmla="*/ 27 w 1362"/>
                <a:gd name="T19" fmla="*/ 75 h 1308"/>
                <a:gd name="T20" fmla="*/ 15 w 1362"/>
                <a:gd name="T21" fmla="*/ 73 h 1308"/>
                <a:gd name="T22" fmla="*/ 12 w 1362"/>
                <a:gd name="T23" fmla="*/ 69 h 1308"/>
                <a:gd name="T24" fmla="*/ 5 w 1362"/>
                <a:gd name="T25" fmla="*/ 65 h 1308"/>
                <a:gd name="T26" fmla="*/ 6 w 1362"/>
                <a:gd name="T27" fmla="*/ 62 h 1308"/>
                <a:gd name="T28" fmla="*/ 7 w 1362"/>
                <a:gd name="T29" fmla="*/ 56 h 1308"/>
                <a:gd name="T30" fmla="*/ 2 w 1362"/>
                <a:gd name="T31" fmla="*/ 49 h 1308"/>
                <a:gd name="T32" fmla="*/ 0 w 1362"/>
                <a:gd name="T33" fmla="*/ 44 h 1308"/>
                <a:gd name="T34" fmla="*/ 0 w 1362"/>
                <a:gd name="T35" fmla="*/ 39 h 1308"/>
                <a:gd name="T36" fmla="*/ 3 w 1362"/>
                <a:gd name="T37" fmla="*/ 35 h 1308"/>
                <a:gd name="T38" fmla="*/ 3 w 1362"/>
                <a:gd name="T39" fmla="*/ 28 h 1308"/>
                <a:gd name="T40" fmla="*/ 6 w 1362"/>
                <a:gd name="T41" fmla="*/ 18 h 1308"/>
                <a:gd name="T42" fmla="*/ 6 w 1362"/>
                <a:gd name="T43" fmla="*/ 8 h 1308"/>
                <a:gd name="T44" fmla="*/ 10 w 1362"/>
                <a:gd name="T45" fmla="*/ 5 h 1308"/>
                <a:gd name="T46" fmla="*/ 15 w 1362"/>
                <a:gd name="T47" fmla="*/ 0 h 1308"/>
                <a:gd name="T48" fmla="*/ 21 w 1362"/>
                <a:gd name="T49" fmla="*/ 7 h 1308"/>
                <a:gd name="T50" fmla="*/ 25 w 1362"/>
                <a:gd name="T51" fmla="*/ 15 h 1308"/>
                <a:gd name="T52" fmla="*/ 24 w 1362"/>
                <a:gd name="T53" fmla="*/ 19 h 1308"/>
                <a:gd name="T54" fmla="*/ 32 w 1362"/>
                <a:gd name="T55" fmla="*/ 19 h 1308"/>
                <a:gd name="T56" fmla="*/ 35 w 1362"/>
                <a:gd name="T57" fmla="*/ 20 h 1308"/>
                <a:gd name="T58" fmla="*/ 40 w 1362"/>
                <a:gd name="T59" fmla="*/ 23 h 1308"/>
                <a:gd name="T60" fmla="*/ 40 w 1362"/>
                <a:gd name="T61" fmla="*/ 26 h 1308"/>
                <a:gd name="T62" fmla="*/ 34 w 1362"/>
                <a:gd name="T63" fmla="*/ 35 h 1308"/>
                <a:gd name="T64" fmla="*/ 41 w 1362"/>
                <a:gd name="T65" fmla="*/ 37 h 1308"/>
                <a:gd name="T66" fmla="*/ 43 w 1362"/>
                <a:gd name="T67" fmla="*/ 44 h 1308"/>
                <a:gd name="T68" fmla="*/ 48 w 1362"/>
                <a:gd name="T69" fmla="*/ 47 h 1308"/>
                <a:gd name="T70" fmla="*/ 57 w 1362"/>
                <a:gd name="T71" fmla="*/ 48 h 1308"/>
                <a:gd name="T72" fmla="*/ 70 w 1362"/>
                <a:gd name="T73" fmla="*/ 44 h 1308"/>
                <a:gd name="T74" fmla="*/ 80 w 1362"/>
                <a:gd name="T75" fmla="*/ 34 h 1308"/>
                <a:gd name="T76" fmla="*/ 95 w 1362"/>
                <a:gd name="T77" fmla="*/ 41 h 1308"/>
                <a:gd name="T78" fmla="*/ 109 w 1362"/>
                <a:gd name="T79" fmla="*/ 47 h 1308"/>
                <a:gd name="T80" fmla="*/ 111 w 1362"/>
                <a:gd name="T81" fmla="*/ 50 h 1308"/>
                <a:gd name="T82" fmla="*/ 113 w 1362"/>
                <a:gd name="T83" fmla="*/ 53 h 1308"/>
                <a:gd name="T84" fmla="*/ 113 w 1362"/>
                <a:gd name="T85" fmla="*/ 55 h 1308"/>
                <a:gd name="T86" fmla="*/ 113 w 1362"/>
                <a:gd name="T87" fmla="*/ 59 h 1308"/>
                <a:gd name="T88" fmla="*/ 113 w 1362"/>
                <a:gd name="T89" fmla="*/ 62 h 1308"/>
                <a:gd name="T90" fmla="*/ 115 w 1362"/>
                <a:gd name="T91" fmla="*/ 65 h 1308"/>
                <a:gd name="T92" fmla="*/ 115 w 1362"/>
                <a:gd name="T93" fmla="*/ 67 h 1308"/>
                <a:gd name="T94" fmla="*/ 116 w 1362"/>
                <a:gd name="T95" fmla="*/ 69 h 1308"/>
                <a:gd name="T96" fmla="*/ 116 w 1362"/>
                <a:gd name="T97" fmla="*/ 71 h 1308"/>
                <a:gd name="T98" fmla="*/ 118 w 1362"/>
                <a:gd name="T99" fmla="*/ 75 h 1308"/>
                <a:gd name="T100" fmla="*/ 116 w 1362"/>
                <a:gd name="T101" fmla="*/ 77 h 1308"/>
                <a:gd name="T102" fmla="*/ 116 w 1362"/>
                <a:gd name="T103" fmla="*/ 79 h 1308"/>
                <a:gd name="T104" fmla="*/ 101 w 1362"/>
                <a:gd name="T105" fmla="*/ 87 h 1308"/>
                <a:gd name="T106" fmla="*/ 85 w 1362"/>
                <a:gd name="T107" fmla="*/ 103 h 1308"/>
                <a:gd name="T108" fmla="*/ 67 w 1362"/>
                <a:gd name="T109" fmla="*/ 114 h 130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62"/>
                <a:gd name="T166" fmla="*/ 0 h 1308"/>
                <a:gd name="T167" fmla="*/ 1362 w 1362"/>
                <a:gd name="T168" fmla="*/ 1308 h 130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62" h="1308">
                  <a:moveTo>
                    <a:pt x="684" y="1278"/>
                  </a:moveTo>
                  <a:lnTo>
                    <a:pt x="672" y="1272"/>
                  </a:lnTo>
                  <a:lnTo>
                    <a:pt x="636" y="1266"/>
                  </a:lnTo>
                  <a:lnTo>
                    <a:pt x="582" y="1248"/>
                  </a:lnTo>
                  <a:lnTo>
                    <a:pt x="564" y="1230"/>
                  </a:lnTo>
                  <a:lnTo>
                    <a:pt x="540" y="1218"/>
                  </a:lnTo>
                  <a:lnTo>
                    <a:pt x="510" y="1218"/>
                  </a:lnTo>
                  <a:lnTo>
                    <a:pt x="498" y="1224"/>
                  </a:lnTo>
                  <a:lnTo>
                    <a:pt x="492" y="1230"/>
                  </a:lnTo>
                  <a:lnTo>
                    <a:pt x="474" y="1230"/>
                  </a:lnTo>
                  <a:lnTo>
                    <a:pt x="414" y="1230"/>
                  </a:lnTo>
                  <a:lnTo>
                    <a:pt x="396" y="1236"/>
                  </a:lnTo>
                  <a:lnTo>
                    <a:pt x="390" y="1248"/>
                  </a:lnTo>
                  <a:lnTo>
                    <a:pt x="372" y="1248"/>
                  </a:lnTo>
                  <a:lnTo>
                    <a:pt x="366" y="1242"/>
                  </a:lnTo>
                  <a:lnTo>
                    <a:pt x="366" y="1224"/>
                  </a:lnTo>
                  <a:lnTo>
                    <a:pt x="360" y="1224"/>
                  </a:lnTo>
                  <a:lnTo>
                    <a:pt x="354" y="1218"/>
                  </a:lnTo>
                  <a:lnTo>
                    <a:pt x="336" y="1206"/>
                  </a:lnTo>
                  <a:lnTo>
                    <a:pt x="330" y="1194"/>
                  </a:lnTo>
                  <a:lnTo>
                    <a:pt x="288" y="1200"/>
                  </a:lnTo>
                  <a:lnTo>
                    <a:pt x="288" y="1194"/>
                  </a:lnTo>
                  <a:lnTo>
                    <a:pt x="288" y="1182"/>
                  </a:lnTo>
                  <a:lnTo>
                    <a:pt x="288" y="1170"/>
                  </a:lnTo>
                  <a:lnTo>
                    <a:pt x="288" y="1164"/>
                  </a:lnTo>
                  <a:lnTo>
                    <a:pt x="282" y="1140"/>
                  </a:lnTo>
                  <a:lnTo>
                    <a:pt x="276" y="1134"/>
                  </a:lnTo>
                  <a:lnTo>
                    <a:pt x="258" y="1116"/>
                  </a:lnTo>
                  <a:lnTo>
                    <a:pt x="258" y="1110"/>
                  </a:lnTo>
                  <a:lnTo>
                    <a:pt x="252" y="1110"/>
                  </a:lnTo>
                  <a:lnTo>
                    <a:pt x="252" y="1104"/>
                  </a:lnTo>
                  <a:lnTo>
                    <a:pt x="252" y="1098"/>
                  </a:lnTo>
                  <a:lnTo>
                    <a:pt x="240" y="1092"/>
                  </a:lnTo>
                  <a:lnTo>
                    <a:pt x="234" y="1092"/>
                  </a:lnTo>
                  <a:lnTo>
                    <a:pt x="240" y="1086"/>
                  </a:lnTo>
                  <a:lnTo>
                    <a:pt x="234" y="1080"/>
                  </a:lnTo>
                  <a:lnTo>
                    <a:pt x="228" y="1080"/>
                  </a:lnTo>
                  <a:lnTo>
                    <a:pt x="228" y="1068"/>
                  </a:lnTo>
                  <a:lnTo>
                    <a:pt x="228" y="1056"/>
                  </a:lnTo>
                  <a:lnTo>
                    <a:pt x="222" y="1056"/>
                  </a:lnTo>
                  <a:lnTo>
                    <a:pt x="228" y="1044"/>
                  </a:lnTo>
                  <a:lnTo>
                    <a:pt x="228" y="1038"/>
                  </a:lnTo>
                  <a:lnTo>
                    <a:pt x="228" y="1032"/>
                  </a:lnTo>
                  <a:lnTo>
                    <a:pt x="234" y="1026"/>
                  </a:lnTo>
                  <a:lnTo>
                    <a:pt x="246" y="1020"/>
                  </a:lnTo>
                  <a:lnTo>
                    <a:pt x="252" y="1020"/>
                  </a:lnTo>
                  <a:lnTo>
                    <a:pt x="258" y="1014"/>
                  </a:lnTo>
                  <a:lnTo>
                    <a:pt x="264" y="1008"/>
                  </a:lnTo>
                  <a:lnTo>
                    <a:pt x="264" y="1002"/>
                  </a:lnTo>
                  <a:lnTo>
                    <a:pt x="270" y="984"/>
                  </a:lnTo>
                  <a:lnTo>
                    <a:pt x="276" y="978"/>
                  </a:lnTo>
                  <a:lnTo>
                    <a:pt x="300" y="978"/>
                  </a:lnTo>
                  <a:lnTo>
                    <a:pt x="306" y="972"/>
                  </a:lnTo>
                  <a:lnTo>
                    <a:pt x="312" y="966"/>
                  </a:lnTo>
                  <a:lnTo>
                    <a:pt x="324" y="936"/>
                  </a:lnTo>
                  <a:lnTo>
                    <a:pt x="330" y="930"/>
                  </a:lnTo>
                  <a:lnTo>
                    <a:pt x="330" y="924"/>
                  </a:lnTo>
                  <a:lnTo>
                    <a:pt x="336" y="918"/>
                  </a:lnTo>
                  <a:lnTo>
                    <a:pt x="342" y="912"/>
                  </a:lnTo>
                  <a:lnTo>
                    <a:pt x="342" y="906"/>
                  </a:lnTo>
                  <a:lnTo>
                    <a:pt x="342" y="900"/>
                  </a:lnTo>
                  <a:lnTo>
                    <a:pt x="342" y="894"/>
                  </a:lnTo>
                  <a:lnTo>
                    <a:pt x="342" y="888"/>
                  </a:lnTo>
                  <a:lnTo>
                    <a:pt x="336" y="876"/>
                  </a:lnTo>
                  <a:lnTo>
                    <a:pt x="342" y="870"/>
                  </a:lnTo>
                  <a:lnTo>
                    <a:pt x="336" y="864"/>
                  </a:lnTo>
                  <a:lnTo>
                    <a:pt x="336" y="858"/>
                  </a:lnTo>
                  <a:lnTo>
                    <a:pt x="330" y="852"/>
                  </a:lnTo>
                  <a:lnTo>
                    <a:pt x="318" y="852"/>
                  </a:lnTo>
                  <a:lnTo>
                    <a:pt x="306" y="858"/>
                  </a:lnTo>
                  <a:lnTo>
                    <a:pt x="264" y="864"/>
                  </a:lnTo>
                  <a:lnTo>
                    <a:pt x="234" y="858"/>
                  </a:lnTo>
                  <a:lnTo>
                    <a:pt x="228" y="858"/>
                  </a:lnTo>
                  <a:lnTo>
                    <a:pt x="198" y="858"/>
                  </a:lnTo>
                  <a:lnTo>
                    <a:pt x="174" y="858"/>
                  </a:lnTo>
                  <a:lnTo>
                    <a:pt x="168" y="852"/>
                  </a:lnTo>
                  <a:lnTo>
                    <a:pt x="168" y="840"/>
                  </a:lnTo>
                  <a:lnTo>
                    <a:pt x="168" y="834"/>
                  </a:lnTo>
                  <a:lnTo>
                    <a:pt x="168" y="822"/>
                  </a:lnTo>
                  <a:lnTo>
                    <a:pt x="162" y="822"/>
                  </a:lnTo>
                  <a:lnTo>
                    <a:pt x="150" y="816"/>
                  </a:lnTo>
                  <a:lnTo>
                    <a:pt x="144" y="810"/>
                  </a:lnTo>
                  <a:lnTo>
                    <a:pt x="144" y="804"/>
                  </a:lnTo>
                  <a:lnTo>
                    <a:pt x="144" y="786"/>
                  </a:lnTo>
                  <a:lnTo>
                    <a:pt x="144" y="780"/>
                  </a:lnTo>
                  <a:lnTo>
                    <a:pt x="144" y="774"/>
                  </a:lnTo>
                  <a:lnTo>
                    <a:pt x="132" y="756"/>
                  </a:lnTo>
                  <a:lnTo>
                    <a:pt x="120" y="756"/>
                  </a:lnTo>
                  <a:lnTo>
                    <a:pt x="84" y="750"/>
                  </a:lnTo>
                  <a:lnTo>
                    <a:pt x="78" y="744"/>
                  </a:lnTo>
                  <a:lnTo>
                    <a:pt x="60" y="744"/>
                  </a:lnTo>
                  <a:lnTo>
                    <a:pt x="54" y="726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66" y="720"/>
                  </a:lnTo>
                  <a:lnTo>
                    <a:pt x="66" y="714"/>
                  </a:lnTo>
                  <a:lnTo>
                    <a:pt x="72" y="714"/>
                  </a:lnTo>
                  <a:lnTo>
                    <a:pt x="72" y="708"/>
                  </a:lnTo>
                  <a:lnTo>
                    <a:pt x="78" y="702"/>
                  </a:lnTo>
                  <a:lnTo>
                    <a:pt x="78" y="696"/>
                  </a:lnTo>
                  <a:lnTo>
                    <a:pt x="78" y="690"/>
                  </a:lnTo>
                  <a:lnTo>
                    <a:pt x="84" y="678"/>
                  </a:lnTo>
                  <a:lnTo>
                    <a:pt x="90" y="666"/>
                  </a:lnTo>
                  <a:lnTo>
                    <a:pt x="90" y="642"/>
                  </a:lnTo>
                  <a:lnTo>
                    <a:pt x="84" y="648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66" y="642"/>
                  </a:lnTo>
                  <a:lnTo>
                    <a:pt x="60" y="642"/>
                  </a:lnTo>
                  <a:lnTo>
                    <a:pt x="54" y="636"/>
                  </a:lnTo>
                  <a:lnTo>
                    <a:pt x="30" y="570"/>
                  </a:lnTo>
                  <a:lnTo>
                    <a:pt x="24" y="564"/>
                  </a:lnTo>
                  <a:lnTo>
                    <a:pt x="18" y="570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6"/>
                  </a:lnTo>
                  <a:lnTo>
                    <a:pt x="6" y="540"/>
                  </a:lnTo>
                  <a:lnTo>
                    <a:pt x="0" y="522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2" y="480"/>
                  </a:lnTo>
                  <a:lnTo>
                    <a:pt x="6" y="480"/>
                  </a:lnTo>
                  <a:lnTo>
                    <a:pt x="0" y="474"/>
                  </a:lnTo>
                  <a:lnTo>
                    <a:pt x="0" y="450"/>
                  </a:lnTo>
                  <a:lnTo>
                    <a:pt x="6" y="450"/>
                  </a:lnTo>
                  <a:lnTo>
                    <a:pt x="12" y="450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32"/>
                  </a:lnTo>
                  <a:lnTo>
                    <a:pt x="30" y="426"/>
                  </a:lnTo>
                  <a:lnTo>
                    <a:pt x="36" y="402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2" y="366"/>
                  </a:lnTo>
                  <a:lnTo>
                    <a:pt x="48" y="360"/>
                  </a:lnTo>
                  <a:lnTo>
                    <a:pt x="48" y="342"/>
                  </a:lnTo>
                  <a:lnTo>
                    <a:pt x="42" y="330"/>
                  </a:lnTo>
                  <a:lnTo>
                    <a:pt x="36" y="324"/>
                  </a:lnTo>
                  <a:lnTo>
                    <a:pt x="42" y="306"/>
                  </a:lnTo>
                  <a:lnTo>
                    <a:pt x="42" y="270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48" y="258"/>
                  </a:lnTo>
                  <a:lnTo>
                    <a:pt x="72" y="252"/>
                  </a:lnTo>
                  <a:lnTo>
                    <a:pt x="66" y="204"/>
                  </a:lnTo>
                  <a:lnTo>
                    <a:pt x="60" y="198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8" y="13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84" y="96"/>
                  </a:lnTo>
                  <a:lnTo>
                    <a:pt x="90" y="84"/>
                  </a:lnTo>
                  <a:lnTo>
                    <a:pt x="108" y="72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20" y="60"/>
                  </a:lnTo>
                  <a:lnTo>
                    <a:pt x="120" y="54"/>
                  </a:lnTo>
                  <a:lnTo>
                    <a:pt x="120" y="48"/>
                  </a:lnTo>
                  <a:lnTo>
                    <a:pt x="126" y="48"/>
                  </a:lnTo>
                  <a:lnTo>
                    <a:pt x="132" y="42"/>
                  </a:lnTo>
                  <a:lnTo>
                    <a:pt x="132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240" y="18"/>
                  </a:lnTo>
                  <a:lnTo>
                    <a:pt x="246" y="42"/>
                  </a:lnTo>
                  <a:lnTo>
                    <a:pt x="240" y="72"/>
                  </a:lnTo>
                  <a:lnTo>
                    <a:pt x="246" y="78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8" y="108"/>
                  </a:lnTo>
                  <a:lnTo>
                    <a:pt x="276" y="114"/>
                  </a:lnTo>
                  <a:lnTo>
                    <a:pt x="294" y="150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82" y="186"/>
                  </a:lnTo>
                  <a:lnTo>
                    <a:pt x="282" y="192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76" y="216"/>
                  </a:lnTo>
                  <a:lnTo>
                    <a:pt x="288" y="240"/>
                  </a:lnTo>
                  <a:lnTo>
                    <a:pt x="312" y="228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66" y="228"/>
                  </a:lnTo>
                  <a:lnTo>
                    <a:pt x="372" y="228"/>
                  </a:lnTo>
                  <a:lnTo>
                    <a:pt x="372" y="222"/>
                  </a:lnTo>
                  <a:lnTo>
                    <a:pt x="378" y="222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6" y="222"/>
                  </a:lnTo>
                  <a:lnTo>
                    <a:pt x="402" y="222"/>
                  </a:lnTo>
                  <a:lnTo>
                    <a:pt x="402" y="228"/>
                  </a:lnTo>
                  <a:lnTo>
                    <a:pt x="408" y="228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26" y="216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68" y="258"/>
                  </a:lnTo>
                  <a:lnTo>
                    <a:pt x="462" y="264"/>
                  </a:lnTo>
                  <a:lnTo>
                    <a:pt x="468" y="264"/>
                  </a:lnTo>
                  <a:lnTo>
                    <a:pt x="468" y="270"/>
                  </a:lnTo>
                  <a:lnTo>
                    <a:pt x="474" y="270"/>
                  </a:lnTo>
                  <a:lnTo>
                    <a:pt x="480" y="276"/>
                  </a:lnTo>
                  <a:lnTo>
                    <a:pt x="474" y="282"/>
                  </a:lnTo>
                  <a:lnTo>
                    <a:pt x="474" y="288"/>
                  </a:lnTo>
                  <a:lnTo>
                    <a:pt x="462" y="294"/>
                  </a:lnTo>
                  <a:lnTo>
                    <a:pt x="468" y="324"/>
                  </a:lnTo>
                  <a:lnTo>
                    <a:pt x="462" y="336"/>
                  </a:lnTo>
                  <a:lnTo>
                    <a:pt x="456" y="354"/>
                  </a:lnTo>
                  <a:lnTo>
                    <a:pt x="432" y="390"/>
                  </a:lnTo>
                  <a:lnTo>
                    <a:pt x="420" y="390"/>
                  </a:lnTo>
                  <a:lnTo>
                    <a:pt x="402" y="390"/>
                  </a:lnTo>
                  <a:lnTo>
                    <a:pt x="396" y="396"/>
                  </a:lnTo>
                  <a:lnTo>
                    <a:pt x="390" y="396"/>
                  </a:lnTo>
                  <a:lnTo>
                    <a:pt x="390" y="402"/>
                  </a:lnTo>
                  <a:lnTo>
                    <a:pt x="384" y="402"/>
                  </a:lnTo>
                  <a:lnTo>
                    <a:pt x="408" y="432"/>
                  </a:lnTo>
                  <a:lnTo>
                    <a:pt x="432" y="438"/>
                  </a:lnTo>
                  <a:lnTo>
                    <a:pt x="456" y="432"/>
                  </a:lnTo>
                  <a:lnTo>
                    <a:pt x="468" y="426"/>
                  </a:lnTo>
                  <a:lnTo>
                    <a:pt x="468" y="444"/>
                  </a:lnTo>
                  <a:lnTo>
                    <a:pt x="468" y="450"/>
                  </a:lnTo>
                  <a:lnTo>
                    <a:pt x="468" y="474"/>
                  </a:lnTo>
                  <a:lnTo>
                    <a:pt x="486" y="480"/>
                  </a:lnTo>
                  <a:lnTo>
                    <a:pt x="486" y="486"/>
                  </a:lnTo>
                  <a:lnTo>
                    <a:pt x="492" y="498"/>
                  </a:lnTo>
                  <a:lnTo>
                    <a:pt x="492" y="504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504" y="516"/>
                  </a:lnTo>
                  <a:lnTo>
                    <a:pt x="510" y="516"/>
                  </a:lnTo>
                  <a:lnTo>
                    <a:pt x="522" y="528"/>
                  </a:lnTo>
                  <a:lnTo>
                    <a:pt x="546" y="540"/>
                  </a:lnTo>
                  <a:lnTo>
                    <a:pt x="552" y="546"/>
                  </a:lnTo>
                  <a:lnTo>
                    <a:pt x="570" y="552"/>
                  </a:lnTo>
                  <a:lnTo>
                    <a:pt x="594" y="552"/>
                  </a:lnTo>
                  <a:lnTo>
                    <a:pt x="606" y="546"/>
                  </a:lnTo>
                  <a:lnTo>
                    <a:pt x="612" y="540"/>
                  </a:lnTo>
                  <a:lnTo>
                    <a:pt x="630" y="540"/>
                  </a:lnTo>
                  <a:lnTo>
                    <a:pt x="630" y="552"/>
                  </a:lnTo>
                  <a:lnTo>
                    <a:pt x="654" y="552"/>
                  </a:lnTo>
                  <a:lnTo>
                    <a:pt x="702" y="558"/>
                  </a:lnTo>
                  <a:lnTo>
                    <a:pt x="762" y="546"/>
                  </a:lnTo>
                  <a:lnTo>
                    <a:pt x="780" y="546"/>
                  </a:lnTo>
                  <a:lnTo>
                    <a:pt x="780" y="528"/>
                  </a:lnTo>
                  <a:lnTo>
                    <a:pt x="798" y="522"/>
                  </a:lnTo>
                  <a:lnTo>
                    <a:pt x="810" y="510"/>
                  </a:lnTo>
                  <a:lnTo>
                    <a:pt x="810" y="504"/>
                  </a:lnTo>
                  <a:lnTo>
                    <a:pt x="828" y="492"/>
                  </a:lnTo>
                  <a:lnTo>
                    <a:pt x="888" y="486"/>
                  </a:lnTo>
                  <a:lnTo>
                    <a:pt x="912" y="486"/>
                  </a:lnTo>
                  <a:lnTo>
                    <a:pt x="930" y="474"/>
                  </a:lnTo>
                  <a:lnTo>
                    <a:pt x="918" y="456"/>
                  </a:lnTo>
                  <a:lnTo>
                    <a:pt x="912" y="450"/>
                  </a:lnTo>
                  <a:lnTo>
                    <a:pt x="918" y="390"/>
                  </a:lnTo>
                  <a:lnTo>
                    <a:pt x="954" y="396"/>
                  </a:lnTo>
                  <a:lnTo>
                    <a:pt x="984" y="402"/>
                  </a:lnTo>
                  <a:lnTo>
                    <a:pt x="1014" y="420"/>
                  </a:lnTo>
                  <a:lnTo>
                    <a:pt x="1026" y="432"/>
                  </a:lnTo>
                  <a:lnTo>
                    <a:pt x="1044" y="450"/>
                  </a:lnTo>
                  <a:lnTo>
                    <a:pt x="1062" y="462"/>
                  </a:lnTo>
                  <a:lnTo>
                    <a:pt x="1098" y="468"/>
                  </a:lnTo>
                  <a:lnTo>
                    <a:pt x="1128" y="480"/>
                  </a:lnTo>
                  <a:lnTo>
                    <a:pt x="1152" y="486"/>
                  </a:lnTo>
                  <a:lnTo>
                    <a:pt x="1188" y="498"/>
                  </a:lnTo>
                  <a:lnTo>
                    <a:pt x="1212" y="504"/>
                  </a:lnTo>
                  <a:lnTo>
                    <a:pt x="1224" y="528"/>
                  </a:lnTo>
                  <a:lnTo>
                    <a:pt x="1236" y="540"/>
                  </a:lnTo>
                  <a:lnTo>
                    <a:pt x="1254" y="540"/>
                  </a:lnTo>
                  <a:lnTo>
                    <a:pt x="1254" y="546"/>
                  </a:lnTo>
                  <a:lnTo>
                    <a:pt x="1260" y="552"/>
                  </a:lnTo>
                  <a:lnTo>
                    <a:pt x="1266" y="552"/>
                  </a:lnTo>
                  <a:lnTo>
                    <a:pt x="1266" y="558"/>
                  </a:lnTo>
                  <a:lnTo>
                    <a:pt x="1272" y="564"/>
                  </a:lnTo>
                  <a:lnTo>
                    <a:pt x="1278" y="564"/>
                  </a:lnTo>
                  <a:lnTo>
                    <a:pt x="1278" y="570"/>
                  </a:lnTo>
                  <a:lnTo>
                    <a:pt x="1284" y="576"/>
                  </a:lnTo>
                  <a:lnTo>
                    <a:pt x="1290" y="582"/>
                  </a:lnTo>
                  <a:lnTo>
                    <a:pt x="1296" y="582"/>
                  </a:lnTo>
                  <a:lnTo>
                    <a:pt x="1296" y="588"/>
                  </a:lnTo>
                  <a:lnTo>
                    <a:pt x="1308" y="594"/>
                  </a:lnTo>
                  <a:lnTo>
                    <a:pt x="1308" y="600"/>
                  </a:lnTo>
                  <a:lnTo>
                    <a:pt x="1308" y="606"/>
                  </a:lnTo>
                  <a:lnTo>
                    <a:pt x="1314" y="612"/>
                  </a:lnTo>
                  <a:lnTo>
                    <a:pt x="1308" y="618"/>
                  </a:lnTo>
                  <a:lnTo>
                    <a:pt x="1314" y="618"/>
                  </a:lnTo>
                  <a:lnTo>
                    <a:pt x="1314" y="624"/>
                  </a:lnTo>
                  <a:lnTo>
                    <a:pt x="1308" y="624"/>
                  </a:lnTo>
                  <a:lnTo>
                    <a:pt x="1302" y="630"/>
                  </a:lnTo>
                  <a:lnTo>
                    <a:pt x="1302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296" y="654"/>
                  </a:lnTo>
                  <a:lnTo>
                    <a:pt x="1302" y="660"/>
                  </a:lnTo>
                  <a:lnTo>
                    <a:pt x="1302" y="666"/>
                  </a:lnTo>
                  <a:lnTo>
                    <a:pt x="1308" y="666"/>
                  </a:lnTo>
                  <a:lnTo>
                    <a:pt x="1308" y="672"/>
                  </a:lnTo>
                  <a:lnTo>
                    <a:pt x="1308" y="678"/>
                  </a:lnTo>
                  <a:lnTo>
                    <a:pt x="1308" y="684"/>
                  </a:lnTo>
                  <a:lnTo>
                    <a:pt x="1308" y="690"/>
                  </a:lnTo>
                  <a:lnTo>
                    <a:pt x="1302" y="696"/>
                  </a:lnTo>
                  <a:lnTo>
                    <a:pt x="1302" y="702"/>
                  </a:lnTo>
                  <a:lnTo>
                    <a:pt x="1308" y="702"/>
                  </a:lnTo>
                  <a:lnTo>
                    <a:pt x="1302" y="708"/>
                  </a:lnTo>
                  <a:lnTo>
                    <a:pt x="1308" y="714"/>
                  </a:lnTo>
                  <a:lnTo>
                    <a:pt x="1308" y="720"/>
                  </a:lnTo>
                  <a:lnTo>
                    <a:pt x="1308" y="726"/>
                  </a:lnTo>
                  <a:lnTo>
                    <a:pt x="1308" y="732"/>
                  </a:lnTo>
                  <a:lnTo>
                    <a:pt x="1314" y="732"/>
                  </a:lnTo>
                  <a:lnTo>
                    <a:pt x="1314" y="738"/>
                  </a:lnTo>
                  <a:lnTo>
                    <a:pt x="1320" y="744"/>
                  </a:lnTo>
                  <a:lnTo>
                    <a:pt x="1326" y="750"/>
                  </a:lnTo>
                  <a:lnTo>
                    <a:pt x="1320" y="750"/>
                  </a:lnTo>
                  <a:lnTo>
                    <a:pt x="1320" y="756"/>
                  </a:lnTo>
                  <a:lnTo>
                    <a:pt x="1314" y="756"/>
                  </a:lnTo>
                  <a:lnTo>
                    <a:pt x="1314" y="762"/>
                  </a:lnTo>
                  <a:lnTo>
                    <a:pt x="1314" y="768"/>
                  </a:lnTo>
                  <a:lnTo>
                    <a:pt x="1320" y="768"/>
                  </a:lnTo>
                  <a:lnTo>
                    <a:pt x="1320" y="762"/>
                  </a:lnTo>
                  <a:lnTo>
                    <a:pt x="1320" y="768"/>
                  </a:lnTo>
                  <a:lnTo>
                    <a:pt x="1326" y="774"/>
                  </a:lnTo>
                  <a:lnTo>
                    <a:pt x="1332" y="774"/>
                  </a:lnTo>
                  <a:lnTo>
                    <a:pt x="1332" y="780"/>
                  </a:lnTo>
                  <a:lnTo>
                    <a:pt x="1332" y="786"/>
                  </a:lnTo>
                  <a:lnTo>
                    <a:pt x="1332" y="792"/>
                  </a:lnTo>
                  <a:lnTo>
                    <a:pt x="1338" y="786"/>
                  </a:lnTo>
                  <a:lnTo>
                    <a:pt x="1338" y="792"/>
                  </a:lnTo>
                  <a:lnTo>
                    <a:pt x="1344" y="798"/>
                  </a:lnTo>
                  <a:lnTo>
                    <a:pt x="1344" y="804"/>
                  </a:lnTo>
                  <a:lnTo>
                    <a:pt x="1344" y="810"/>
                  </a:lnTo>
                  <a:lnTo>
                    <a:pt x="1344" y="816"/>
                  </a:lnTo>
                  <a:lnTo>
                    <a:pt x="1344" y="822"/>
                  </a:lnTo>
                  <a:lnTo>
                    <a:pt x="1338" y="828"/>
                  </a:lnTo>
                  <a:lnTo>
                    <a:pt x="1332" y="828"/>
                  </a:lnTo>
                  <a:lnTo>
                    <a:pt x="1338" y="840"/>
                  </a:lnTo>
                  <a:lnTo>
                    <a:pt x="1344" y="846"/>
                  </a:lnTo>
                  <a:lnTo>
                    <a:pt x="1344" y="852"/>
                  </a:lnTo>
                  <a:lnTo>
                    <a:pt x="1350" y="852"/>
                  </a:lnTo>
                  <a:lnTo>
                    <a:pt x="1356" y="858"/>
                  </a:lnTo>
                  <a:lnTo>
                    <a:pt x="1362" y="858"/>
                  </a:lnTo>
                  <a:lnTo>
                    <a:pt x="1362" y="870"/>
                  </a:lnTo>
                  <a:lnTo>
                    <a:pt x="1356" y="870"/>
                  </a:lnTo>
                  <a:lnTo>
                    <a:pt x="1356" y="876"/>
                  </a:lnTo>
                  <a:lnTo>
                    <a:pt x="1350" y="876"/>
                  </a:lnTo>
                  <a:lnTo>
                    <a:pt x="1344" y="876"/>
                  </a:lnTo>
                  <a:lnTo>
                    <a:pt x="1344" y="882"/>
                  </a:lnTo>
                  <a:lnTo>
                    <a:pt x="1338" y="882"/>
                  </a:lnTo>
                  <a:lnTo>
                    <a:pt x="1338" y="888"/>
                  </a:lnTo>
                  <a:lnTo>
                    <a:pt x="1338" y="894"/>
                  </a:lnTo>
                  <a:lnTo>
                    <a:pt x="1344" y="900"/>
                  </a:lnTo>
                  <a:lnTo>
                    <a:pt x="1344" y="906"/>
                  </a:lnTo>
                  <a:lnTo>
                    <a:pt x="1338" y="906"/>
                  </a:lnTo>
                  <a:lnTo>
                    <a:pt x="1332" y="912"/>
                  </a:lnTo>
                  <a:lnTo>
                    <a:pt x="1332" y="918"/>
                  </a:lnTo>
                  <a:lnTo>
                    <a:pt x="1326" y="918"/>
                  </a:lnTo>
                  <a:lnTo>
                    <a:pt x="1332" y="924"/>
                  </a:lnTo>
                  <a:lnTo>
                    <a:pt x="1284" y="942"/>
                  </a:lnTo>
                  <a:lnTo>
                    <a:pt x="1236" y="948"/>
                  </a:lnTo>
                  <a:lnTo>
                    <a:pt x="1194" y="966"/>
                  </a:lnTo>
                  <a:lnTo>
                    <a:pt x="1170" y="1002"/>
                  </a:lnTo>
                  <a:lnTo>
                    <a:pt x="1134" y="1020"/>
                  </a:lnTo>
                  <a:lnTo>
                    <a:pt x="1116" y="1032"/>
                  </a:lnTo>
                  <a:lnTo>
                    <a:pt x="1098" y="1050"/>
                  </a:lnTo>
                  <a:lnTo>
                    <a:pt x="1074" y="1074"/>
                  </a:lnTo>
                  <a:lnTo>
                    <a:pt x="1008" y="1134"/>
                  </a:lnTo>
                  <a:lnTo>
                    <a:pt x="990" y="1158"/>
                  </a:lnTo>
                  <a:lnTo>
                    <a:pt x="978" y="1182"/>
                  </a:lnTo>
                  <a:lnTo>
                    <a:pt x="960" y="1194"/>
                  </a:lnTo>
                  <a:lnTo>
                    <a:pt x="942" y="1212"/>
                  </a:lnTo>
                  <a:lnTo>
                    <a:pt x="912" y="1242"/>
                  </a:lnTo>
                  <a:lnTo>
                    <a:pt x="888" y="1254"/>
                  </a:lnTo>
                  <a:lnTo>
                    <a:pt x="864" y="1278"/>
                  </a:lnTo>
                  <a:lnTo>
                    <a:pt x="828" y="1296"/>
                  </a:lnTo>
                  <a:lnTo>
                    <a:pt x="774" y="1308"/>
                  </a:lnTo>
                  <a:lnTo>
                    <a:pt x="732" y="1302"/>
                  </a:lnTo>
                  <a:lnTo>
                    <a:pt x="702" y="1284"/>
                  </a:lnTo>
                  <a:lnTo>
                    <a:pt x="684" y="127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1" name="Freeform 16">
              <a:extLst>
                <a:ext uri="{FF2B5EF4-FFF2-40B4-BE49-F238E27FC236}">
                  <a16:creationId xmlns:a16="http://schemas.microsoft.com/office/drawing/2014/main" id="{D8D8591A-D9DB-4301-BEBD-D8F5A26DA9E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3001" y="2929369"/>
              <a:ext cx="914601" cy="1037736"/>
            </a:xfrm>
            <a:custGeom>
              <a:avLst/>
              <a:gdLst>
                <a:gd name="T0" fmla="*/ 144 w 1722"/>
                <a:gd name="T1" fmla="*/ 131 h 1956"/>
                <a:gd name="T2" fmla="*/ 142 w 1722"/>
                <a:gd name="T3" fmla="*/ 139 h 1956"/>
                <a:gd name="T4" fmla="*/ 137 w 1722"/>
                <a:gd name="T5" fmla="*/ 143 h 1956"/>
                <a:gd name="T6" fmla="*/ 133 w 1722"/>
                <a:gd name="T7" fmla="*/ 147 h 1956"/>
                <a:gd name="T8" fmla="*/ 132 w 1722"/>
                <a:gd name="T9" fmla="*/ 152 h 1956"/>
                <a:gd name="T10" fmla="*/ 130 w 1722"/>
                <a:gd name="T11" fmla="*/ 159 h 1956"/>
                <a:gd name="T12" fmla="*/ 127 w 1722"/>
                <a:gd name="T13" fmla="*/ 164 h 1956"/>
                <a:gd name="T14" fmla="*/ 123 w 1722"/>
                <a:gd name="T15" fmla="*/ 168 h 1956"/>
                <a:gd name="T16" fmla="*/ 117 w 1722"/>
                <a:gd name="T17" fmla="*/ 169 h 1956"/>
                <a:gd name="T18" fmla="*/ 110 w 1722"/>
                <a:gd name="T19" fmla="*/ 168 h 1956"/>
                <a:gd name="T20" fmla="*/ 104 w 1722"/>
                <a:gd name="T21" fmla="*/ 166 h 1956"/>
                <a:gd name="T22" fmla="*/ 101 w 1722"/>
                <a:gd name="T23" fmla="*/ 159 h 1956"/>
                <a:gd name="T24" fmla="*/ 95 w 1722"/>
                <a:gd name="T25" fmla="*/ 156 h 1956"/>
                <a:gd name="T26" fmla="*/ 89 w 1722"/>
                <a:gd name="T27" fmla="*/ 151 h 1956"/>
                <a:gd name="T28" fmla="*/ 87 w 1722"/>
                <a:gd name="T29" fmla="*/ 144 h 1956"/>
                <a:gd name="T30" fmla="*/ 82 w 1722"/>
                <a:gd name="T31" fmla="*/ 141 h 1956"/>
                <a:gd name="T32" fmla="*/ 76 w 1722"/>
                <a:gd name="T33" fmla="*/ 134 h 1956"/>
                <a:gd name="T34" fmla="*/ 74 w 1722"/>
                <a:gd name="T35" fmla="*/ 143 h 1956"/>
                <a:gd name="T36" fmla="*/ 68 w 1722"/>
                <a:gd name="T37" fmla="*/ 147 h 1956"/>
                <a:gd name="T38" fmla="*/ 54 w 1722"/>
                <a:gd name="T39" fmla="*/ 144 h 1956"/>
                <a:gd name="T40" fmla="*/ 51 w 1722"/>
                <a:gd name="T41" fmla="*/ 142 h 1956"/>
                <a:gd name="T42" fmla="*/ 42 w 1722"/>
                <a:gd name="T43" fmla="*/ 151 h 1956"/>
                <a:gd name="T44" fmla="*/ 33 w 1722"/>
                <a:gd name="T45" fmla="*/ 154 h 1956"/>
                <a:gd name="T46" fmla="*/ 31 w 1722"/>
                <a:gd name="T47" fmla="*/ 159 h 1956"/>
                <a:gd name="T48" fmla="*/ 29 w 1722"/>
                <a:gd name="T49" fmla="*/ 166 h 1956"/>
                <a:gd name="T50" fmla="*/ 25 w 1722"/>
                <a:gd name="T51" fmla="*/ 169 h 1956"/>
                <a:gd name="T52" fmla="*/ 27 w 1722"/>
                <a:gd name="T53" fmla="*/ 154 h 1956"/>
                <a:gd name="T54" fmla="*/ 37 w 1722"/>
                <a:gd name="T55" fmla="*/ 133 h 1956"/>
                <a:gd name="T56" fmla="*/ 36 w 1722"/>
                <a:gd name="T57" fmla="*/ 109 h 1956"/>
                <a:gd name="T58" fmla="*/ 27 w 1722"/>
                <a:gd name="T59" fmla="*/ 101 h 1956"/>
                <a:gd name="T60" fmla="*/ 5 w 1722"/>
                <a:gd name="T61" fmla="*/ 98 h 1956"/>
                <a:gd name="T62" fmla="*/ 2 w 1722"/>
                <a:gd name="T63" fmla="*/ 93 h 1956"/>
                <a:gd name="T64" fmla="*/ 12 w 1722"/>
                <a:gd name="T65" fmla="*/ 82 h 1956"/>
                <a:gd name="T66" fmla="*/ 9 w 1722"/>
                <a:gd name="T67" fmla="*/ 74 h 1956"/>
                <a:gd name="T68" fmla="*/ 23 w 1722"/>
                <a:gd name="T69" fmla="*/ 72 h 1956"/>
                <a:gd name="T70" fmla="*/ 22 w 1722"/>
                <a:gd name="T71" fmla="*/ 67 h 1956"/>
                <a:gd name="T72" fmla="*/ 48 w 1722"/>
                <a:gd name="T73" fmla="*/ 57 h 1956"/>
                <a:gd name="T74" fmla="*/ 78 w 1722"/>
                <a:gd name="T75" fmla="*/ 34 h 1956"/>
                <a:gd name="T76" fmla="*/ 81 w 1722"/>
                <a:gd name="T77" fmla="*/ 31 h 1956"/>
                <a:gd name="T78" fmla="*/ 80 w 1722"/>
                <a:gd name="T79" fmla="*/ 26 h 1956"/>
                <a:gd name="T80" fmla="*/ 78 w 1722"/>
                <a:gd name="T81" fmla="*/ 21 h 1956"/>
                <a:gd name="T82" fmla="*/ 77 w 1722"/>
                <a:gd name="T83" fmla="*/ 18 h 1956"/>
                <a:gd name="T84" fmla="*/ 77 w 1722"/>
                <a:gd name="T85" fmla="*/ 12 h 1956"/>
                <a:gd name="T86" fmla="*/ 77 w 1722"/>
                <a:gd name="T87" fmla="*/ 7 h 1956"/>
                <a:gd name="T88" fmla="*/ 102 w 1722"/>
                <a:gd name="T89" fmla="*/ 2 h 1956"/>
                <a:gd name="T90" fmla="*/ 115 w 1722"/>
                <a:gd name="T91" fmla="*/ 3 h 1956"/>
                <a:gd name="T92" fmla="*/ 123 w 1722"/>
                <a:gd name="T93" fmla="*/ 3 h 1956"/>
                <a:gd name="T94" fmla="*/ 125 w 1722"/>
                <a:gd name="T95" fmla="*/ 9 h 1956"/>
                <a:gd name="T96" fmla="*/ 133 w 1722"/>
                <a:gd name="T97" fmla="*/ 13 h 1956"/>
                <a:gd name="T98" fmla="*/ 149 w 1722"/>
                <a:gd name="T99" fmla="*/ 37 h 1956"/>
                <a:gd name="T100" fmla="*/ 141 w 1722"/>
                <a:gd name="T101" fmla="*/ 57 h 1956"/>
                <a:gd name="T102" fmla="*/ 135 w 1722"/>
                <a:gd name="T103" fmla="*/ 63 h 1956"/>
                <a:gd name="T104" fmla="*/ 124 w 1722"/>
                <a:gd name="T105" fmla="*/ 77 h 1956"/>
                <a:gd name="T106" fmla="*/ 123 w 1722"/>
                <a:gd name="T107" fmla="*/ 96 h 1956"/>
                <a:gd name="T108" fmla="*/ 127 w 1722"/>
                <a:gd name="T109" fmla="*/ 97 h 1956"/>
                <a:gd name="T110" fmla="*/ 129 w 1722"/>
                <a:gd name="T111" fmla="*/ 92 h 1956"/>
                <a:gd name="T112" fmla="*/ 134 w 1722"/>
                <a:gd name="T113" fmla="*/ 94 h 1956"/>
                <a:gd name="T114" fmla="*/ 138 w 1722"/>
                <a:gd name="T115" fmla="*/ 99 h 1956"/>
                <a:gd name="T116" fmla="*/ 142 w 1722"/>
                <a:gd name="T117" fmla="*/ 104 h 1956"/>
                <a:gd name="T118" fmla="*/ 141 w 1722"/>
                <a:gd name="T119" fmla="*/ 115 h 19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722"/>
                <a:gd name="T181" fmla="*/ 0 h 1956"/>
                <a:gd name="T182" fmla="*/ 1722 w 1722"/>
                <a:gd name="T183" fmla="*/ 1956 h 19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722" h="1956">
                  <a:moveTo>
                    <a:pt x="1686" y="1404"/>
                  </a:moveTo>
                  <a:lnTo>
                    <a:pt x="1680" y="1416"/>
                  </a:lnTo>
                  <a:lnTo>
                    <a:pt x="1674" y="1422"/>
                  </a:lnTo>
                  <a:lnTo>
                    <a:pt x="1674" y="1428"/>
                  </a:lnTo>
                  <a:lnTo>
                    <a:pt x="1668" y="1428"/>
                  </a:lnTo>
                  <a:lnTo>
                    <a:pt x="1668" y="1434"/>
                  </a:lnTo>
                  <a:lnTo>
                    <a:pt x="1662" y="1446"/>
                  </a:lnTo>
                  <a:lnTo>
                    <a:pt x="1656" y="1464"/>
                  </a:lnTo>
                  <a:lnTo>
                    <a:pt x="1656" y="1476"/>
                  </a:lnTo>
                  <a:lnTo>
                    <a:pt x="1656" y="1488"/>
                  </a:lnTo>
                  <a:lnTo>
                    <a:pt x="1662" y="1500"/>
                  </a:lnTo>
                  <a:lnTo>
                    <a:pt x="1662" y="1506"/>
                  </a:lnTo>
                  <a:lnTo>
                    <a:pt x="1662" y="1524"/>
                  </a:lnTo>
                  <a:lnTo>
                    <a:pt x="1668" y="1542"/>
                  </a:lnTo>
                  <a:lnTo>
                    <a:pt x="1674" y="1560"/>
                  </a:lnTo>
                  <a:lnTo>
                    <a:pt x="1680" y="1578"/>
                  </a:lnTo>
                  <a:lnTo>
                    <a:pt x="1686" y="1578"/>
                  </a:lnTo>
                  <a:lnTo>
                    <a:pt x="1686" y="1584"/>
                  </a:lnTo>
                  <a:lnTo>
                    <a:pt x="1686" y="1590"/>
                  </a:lnTo>
                  <a:lnTo>
                    <a:pt x="1686" y="1596"/>
                  </a:lnTo>
                  <a:lnTo>
                    <a:pt x="1680" y="1596"/>
                  </a:lnTo>
                  <a:lnTo>
                    <a:pt x="1674" y="1602"/>
                  </a:lnTo>
                  <a:lnTo>
                    <a:pt x="1662" y="1602"/>
                  </a:lnTo>
                  <a:lnTo>
                    <a:pt x="1638" y="1596"/>
                  </a:lnTo>
                  <a:lnTo>
                    <a:pt x="1632" y="1596"/>
                  </a:lnTo>
                  <a:lnTo>
                    <a:pt x="1626" y="1602"/>
                  </a:lnTo>
                  <a:lnTo>
                    <a:pt x="1620" y="1602"/>
                  </a:lnTo>
                  <a:lnTo>
                    <a:pt x="1614" y="1602"/>
                  </a:lnTo>
                  <a:lnTo>
                    <a:pt x="1602" y="1602"/>
                  </a:lnTo>
                  <a:lnTo>
                    <a:pt x="1602" y="1608"/>
                  </a:lnTo>
                  <a:lnTo>
                    <a:pt x="1602" y="1620"/>
                  </a:lnTo>
                  <a:lnTo>
                    <a:pt x="1596" y="1620"/>
                  </a:lnTo>
                  <a:lnTo>
                    <a:pt x="1590" y="1620"/>
                  </a:lnTo>
                  <a:lnTo>
                    <a:pt x="1584" y="1626"/>
                  </a:lnTo>
                  <a:lnTo>
                    <a:pt x="1584" y="1632"/>
                  </a:lnTo>
                  <a:lnTo>
                    <a:pt x="1578" y="1644"/>
                  </a:lnTo>
                  <a:lnTo>
                    <a:pt x="1572" y="1644"/>
                  </a:lnTo>
                  <a:lnTo>
                    <a:pt x="1566" y="1644"/>
                  </a:lnTo>
                  <a:lnTo>
                    <a:pt x="1566" y="1650"/>
                  </a:lnTo>
                  <a:lnTo>
                    <a:pt x="1560" y="1650"/>
                  </a:lnTo>
                  <a:lnTo>
                    <a:pt x="1554" y="1650"/>
                  </a:lnTo>
                  <a:lnTo>
                    <a:pt x="1548" y="1650"/>
                  </a:lnTo>
                  <a:lnTo>
                    <a:pt x="1548" y="1656"/>
                  </a:lnTo>
                  <a:lnTo>
                    <a:pt x="1542" y="1668"/>
                  </a:lnTo>
                  <a:lnTo>
                    <a:pt x="1542" y="1674"/>
                  </a:lnTo>
                  <a:lnTo>
                    <a:pt x="1542" y="1692"/>
                  </a:lnTo>
                  <a:lnTo>
                    <a:pt x="1536" y="1698"/>
                  </a:lnTo>
                  <a:lnTo>
                    <a:pt x="1530" y="1698"/>
                  </a:lnTo>
                  <a:lnTo>
                    <a:pt x="1524" y="1698"/>
                  </a:lnTo>
                  <a:lnTo>
                    <a:pt x="1518" y="1704"/>
                  </a:lnTo>
                  <a:lnTo>
                    <a:pt x="1512" y="1710"/>
                  </a:lnTo>
                  <a:lnTo>
                    <a:pt x="1506" y="1722"/>
                  </a:lnTo>
                  <a:lnTo>
                    <a:pt x="1500" y="1728"/>
                  </a:lnTo>
                  <a:lnTo>
                    <a:pt x="1500" y="1734"/>
                  </a:lnTo>
                  <a:lnTo>
                    <a:pt x="1512" y="1734"/>
                  </a:lnTo>
                  <a:lnTo>
                    <a:pt x="1518" y="1740"/>
                  </a:lnTo>
                  <a:lnTo>
                    <a:pt x="1518" y="1746"/>
                  </a:lnTo>
                  <a:lnTo>
                    <a:pt x="1518" y="1752"/>
                  </a:lnTo>
                  <a:lnTo>
                    <a:pt x="1518" y="1758"/>
                  </a:lnTo>
                  <a:lnTo>
                    <a:pt x="1524" y="1758"/>
                  </a:lnTo>
                  <a:lnTo>
                    <a:pt x="1524" y="1764"/>
                  </a:lnTo>
                  <a:lnTo>
                    <a:pt x="1530" y="1770"/>
                  </a:lnTo>
                  <a:lnTo>
                    <a:pt x="1518" y="1770"/>
                  </a:lnTo>
                  <a:lnTo>
                    <a:pt x="1512" y="1782"/>
                  </a:lnTo>
                  <a:lnTo>
                    <a:pt x="1512" y="1788"/>
                  </a:lnTo>
                  <a:lnTo>
                    <a:pt x="1518" y="1788"/>
                  </a:lnTo>
                  <a:lnTo>
                    <a:pt x="1524" y="1800"/>
                  </a:lnTo>
                  <a:lnTo>
                    <a:pt x="1524" y="1806"/>
                  </a:lnTo>
                  <a:lnTo>
                    <a:pt x="1518" y="1812"/>
                  </a:lnTo>
                  <a:lnTo>
                    <a:pt x="1512" y="1818"/>
                  </a:lnTo>
                  <a:lnTo>
                    <a:pt x="1506" y="1818"/>
                  </a:lnTo>
                  <a:lnTo>
                    <a:pt x="1500" y="1824"/>
                  </a:lnTo>
                  <a:lnTo>
                    <a:pt x="1500" y="1836"/>
                  </a:lnTo>
                  <a:lnTo>
                    <a:pt x="1500" y="1842"/>
                  </a:lnTo>
                  <a:lnTo>
                    <a:pt x="1500" y="1848"/>
                  </a:lnTo>
                  <a:lnTo>
                    <a:pt x="1500" y="1854"/>
                  </a:lnTo>
                  <a:lnTo>
                    <a:pt x="1494" y="1860"/>
                  </a:lnTo>
                  <a:lnTo>
                    <a:pt x="1488" y="1860"/>
                  </a:lnTo>
                  <a:lnTo>
                    <a:pt x="1488" y="1866"/>
                  </a:lnTo>
                  <a:lnTo>
                    <a:pt x="1482" y="1872"/>
                  </a:lnTo>
                  <a:lnTo>
                    <a:pt x="1482" y="1878"/>
                  </a:lnTo>
                  <a:lnTo>
                    <a:pt x="1482" y="1884"/>
                  </a:lnTo>
                  <a:lnTo>
                    <a:pt x="1476" y="1890"/>
                  </a:lnTo>
                  <a:lnTo>
                    <a:pt x="1470" y="1890"/>
                  </a:lnTo>
                  <a:lnTo>
                    <a:pt x="1470" y="1896"/>
                  </a:lnTo>
                  <a:lnTo>
                    <a:pt x="1464" y="1896"/>
                  </a:lnTo>
                  <a:lnTo>
                    <a:pt x="1458" y="1896"/>
                  </a:lnTo>
                  <a:lnTo>
                    <a:pt x="1452" y="1896"/>
                  </a:lnTo>
                  <a:lnTo>
                    <a:pt x="1440" y="1890"/>
                  </a:lnTo>
                  <a:lnTo>
                    <a:pt x="1434" y="1896"/>
                  </a:lnTo>
                  <a:lnTo>
                    <a:pt x="1428" y="1896"/>
                  </a:lnTo>
                  <a:lnTo>
                    <a:pt x="1422" y="1896"/>
                  </a:lnTo>
                  <a:lnTo>
                    <a:pt x="1422" y="1902"/>
                  </a:lnTo>
                  <a:lnTo>
                    <a:pt x="1416" y="1902"/>
                  </a:lnTo>
                  <a:lnTo>
                    <a:pt x="1422" y="1914"/>
                  </a:lnTo>
                  <a:lnTo>
                    <a:pt x="1422" y="1932"/>
                  </a:lnTo>
                  <a:lnTo>
                    <a:pt x="1416" y="1938"/>
                  </a:lnTo>
                  <a:lnTo>
                    <a:pt x="1422" y="1938"/>
                  </a:lnTo>
                  <a:lnTo>
                    <a:pt x="1404" y="1938"/>
                  </a:lnTo>
                  <a:lnTo>
                    <a:pt x="1392" y="1944"/>
                  </a:lnTo>
                  <a:lnTo>
                    <a:pt x="1386" y="1944"/>
                  </a:lnTo>
                  <a:lnTo>
                    <a:pt x="1374" y="1944"/>
                  </a:lnTo>
                  <a:lnTo>
                    <a:pt x="1368" y="1950"/>
                  </a:lnTo>
                  <a:lnTo>
                    <a:pt x="1374" y="1956"/>
                  </a:lnTo>
                  <a:lnTo>
                    <a:pt x="1368" y="1956"/>
                  </a:lnTo>
                  <a:lnTo>
                    <a:pt x="1356" y="1956"/>
                  </a:lnTo>
                  <a:lnTo>
                    <a:pt x="1350" y="1956"/>
                  </a:lnTo>
                  <a:lnTo>
                    <a:pt x="1350" y="1950"/>
                  </a:lnTo>
                  <a:lnTo>
                    <a:pt x="1344" y="1944"/>
                  </a:lnTo>
                  <a:lnTo>
                    <a:pt x="1332" y="1938"/>
                  </a:lnTo>
                  <a:lnTo>
                    <a:pt x="1326" y="1938"/>
                  </a:lnTo>
                  <a:lnTo>
                    <a:pt x="1320" y="1938"/>
                  </a:lnTo>
                  <a:lnTo>
                    <a:pt x="1314" y="1944"/>
                  </a:lnTo>
                  <a:lnTo>
                    <a:pt x="1308" y="1944"/>
                  </a:lnTo>
                  <a:lnTo>
                    <a:pt x="1302" y="1944"/>
                  </a:lnTo>
                  <a:lnTo>
                    <a:pt x="1296" y="1938"/>
                  </a:lnTo>
                  <a:lnTo>
                    <a:pt x="1284" y="1938"/>
                  </a:lnTo>
                  <a:lnTo>
                    <a:pt x="1278" y="1938"/>
                  </a:lnTo>
                  <a:lnTo>
                    <a:pt x="1272" y="1938"/>
                  </a:lnTo>
                  <a:lnTo>
                    <a:pt x="1266" y="1932"/>
                  </a:lnTo>
                  <a:lnTo>
                    <a:pt x="1260" y="1932"/>
                  </a:lnTo>
                  <a:lnTo>
                    <a:pt x="1254" y="1920"/>
                  </a:lnTo>
                  <a:lnTo>
                    <a:pt x="1248" y="1920"/>
                  </a:lnTo>
                  <a:lnTo>
                    <a:pt x="1242" y="1920"/>
                  </a:lnTo>
                  <a:lnTo>
                    <a:pt x="1236" y="1926"/>
                  </a:lnTo>
                  <a:lnTo>
                    <a:pt x="1236" y="1932"/>
                  </a:lnTo>
                  <a:lnTo>
                    <a:pt x="1230" y="1932"/>
                  </a:lnTo>
                  <a:lnTo>
                    <a:pt x="1224" y="1932"/>
                  </a:lnTo>
                  <a:lnTo>
                    <a:pt x="1218" y="1938"/>
                  </a:lnTo>
                  <a:lnTo>
                    <a:pt x="1212" y="1932"/>
                  </a:lnTo>
                  <a:lnTo>
                    <a:pt x="1206" y="1926"/>
                  </a:lnTo>
                  <a:lnTo>
                    <a:pt x="1206" y="1908"/>
                  </a:lnTo>
                  <a:lnTo>
                    <a:pt x="1206" y="1884"/>
                  </a:lnTo>
                  <a:lnTo>
                    <a:pt x="1206" y="1866"/>
                  </a:lnTo>
                  <a:lnTo>
                    <a:pt x="1212" y="1848"/>
                  </a:lnTo>
                  <a:lnTo>
                    <a:pt x="1212" y="1842"/>
                  </a:lnTo>
                  <a:lnTo>
                    <a:pt x="1206" y="1836"/>
                  </a:lnTo>
                  <a:lnTo>
                    <a:pt x="1200" y="1830"/>
                  </a:lnTo>
                  <a:lnTo>
                    <a:pt x="1194" y="1824"/>
                  </a:lnTo>
                  <a:lnTo>
                    <a:pt x="1188" y="1824"/>
                  </a:lnTo>
                  <a:lnTo>
                    <a:pt x="1182" y="1824"/>
                  </a:lnTo>
                  <a:lnTo>
                    <a:pt x="1176" y="1824"/>
                  </a:lnTo>
                  <a:lnTo>
                    <a:pt x="1170" y="1818"/>
                  </a:lnTo>
                  <a:lnTo>
                    <a:pt x="1164" y="1830"/>
                  </a:lnTo>
                  <a:lnTo>
                    <a:pt x="1152" y="1836"/>
                  </a:lnTo>
                  <a:lnTo>
                    <a:pt x="1146" y="1842"/>
                  </a:lnTo>
                  <a:lnTo>
                    <a:pt x="1140" y="1842"/>
                  </a:lnTo>
                  <a:lnTo>
                    <a:pt x="1134" y="1842"/>
                  </a:lnTo>
                  <a:lnTo>
                    <a:pt x="1128" y="1842"/>
                  </a:lnTo>
                  <a:lnTo>
                    <a:pt x="1116" y="1836"/>
                  </a:lnTo>
                  <a:lnTo>
                    <a:pt x="1110" y="1842"/>
                  </a:lnTo>
                  <a:lnTo>
                    <a:pt x="1092" y="1830"/>
                  </a:lnTo>
                  <a:lnTo>
                    <a:pt x="1092" y="1824"/>
                  </a:lnTo>
                  <a:lnTo>
                    <a:pt x="1092" y="1806"/>
                  </a:lnTo>
                  <a:lnTo>
                    <a:pt x="1092" y="1800"/>
                  </a:lnTo>
                  <a:lnTo>
                    <a:pt x="1092" y="1794"/>
                  </a:lnTo>
                  <a:lnTo>
                    <a:pt x="1086" y="1788"/>
                  </a:lnTo>
                  <a:lnTo>
                    <a:pt x="1080" y="1794"/>
                  </a:lnTo>
                  <a:lnTo>
                    <a:pt x="1074" y="1788"/>
                  </a:lnTo>
                  <a:lnTo>
                    <a:pt x="1068" y="1770"/>
                  </a:lnTo>
                  <a:lnTo>
                    <a:pt x="1056" y="1764"/>
                  </a:lnTo>
                  <a:lnTo>
                    <a:pt x="1050" y="1764"/>
                  </a:lnTo>
                  <a:lnTo>
                    <a:pt x="1044" y="1764"/>
                  </a:lnTo>
                  <a:lnTo>
                    <a:pt x="1038" y="1758"/>
                  </a:lnTo>
                  <a:lnTo>
                    <a:pt x="1032" y="1752"/>
                  </a:lnTo>
                  <a:lnTo>
                    <a:pt x="1032" y="1746"/>
                  </a:lnTo>
                  <a:lnTo>
                    <a:pt x="1032" y="1740"/>
                  </a:lnTo>
                  <a:lnTo>
                    <a:pt x="1032" y="1734"/>
                  </a:lnTo>
                  <a:lnTo>
                    <a:pt x="1026" y="1734"/>
                  </a:lnTo>
                  <a:lnTo>
                    <a:pt x="1032" y="1728"/>
                  </a:lnTo>
                  <a:lnTo>
                    <a:pt x="1032" y="1722"/>
                  </a:lnTo>
                  <a:lnTo>
                    <a:pt x="1044" y="1686"/>
                  </a:lnTo>
                  <a:lnTo>
                    <a:pt x="1044" y="1680"/>
                  </a:lnTo>
                  <a:lnTo>
                    <a:pt x="1032" y="1674"/>
                  </a:lnTo>
                  <a:lnTo>
                    <a:pt x="1026" y="1674"/>
                  </a:lnTo>
                  <a:lnTo>
                    <a:pt x="1026" y="1668"/>
                  </a:lnTo>
                  <a:lnTo>
                    <a:pt x="1020" y="1662"/>
                  </a:lnTo>
                  <a:lnTo>
                    <a:pt x="1014" y="1668"/>
                  </a:lnTo>
                  <a:lnTo>
                    <a:pt x="1008" y="1662"/>
                  </a:lnTo>
                  <a:lnTo>
                    <a:pt x="1002" y="1662"/>
                  </a:lnTo>
                  <a:lnTo>
                    <a:pt x="1002" y="1668"/>
                  </a:lnTo>
                  <a:lnTo>
                    <a:pt x="996" y="1668"/>
                  </a:lnTo>
                  <a:lnTo>
                    <a:pt x="996" y="1662"/>
                  </a:lnTo>
                  <a:lnTo>
                    <a:pt x="984" y="1662"/>
                  </a:lnTo>
                  <a:lnTo>
                    <a:pt x="984" y="1656"/>
                  </a:lnTo>
                  <a:lnTo>
                    <a:pt x="978" y="1650"/>
                  </a:lnTo>
                  <a:lnTo>
                    <a:pt x="978" y="1644"/>
                  </a:lnTo>
                  <a:lnTo>
                    <a:pt x="966" y="1650"/>
                  </a:lnTo>
                  <a:lnTo>
                    <a:pt x="960" y="1638"/>
                  </a:lnTo>
                  <a:lnTo>
                    <a:pt x="954" y="1632"/>
                  </a:lnTo>
                  <a:lnTo>
                    <a:pt x="948" y="1632"/>
                  </a:lnTo>
                  <a:lnTo>
                    <a:pt x="942" y="1626"/>
                  </a:lnTo>
                  <a:lnTo>
                    <a:pt x="942" y="1614"/>
                  </a:lnTo>
                  <a:lnTo>
                    <a:pt x="930" y="1608"/>
                  </a:lnTo>
                  <a:lnTo>
                    <a:pt x="924" y="1614"/>
                  </a:lnTo>
                  <a:lnTo>
                    <a:pt x="912" y="1608"/>
                  </a:lnTo>
                  <a:lnTo>
                    <a:pt x="888" y="1590"/>
                  </a:lnTo>
                  <a:lnTo>
                    <a:pt x="894" y="1578"/>
                  </a:lnTo>
                  <a:lnTo>
                    <a:pt x="894" y="1572"/>
                  </a:lnTo>
                  <a:lnTo>
                    <a:pt x="894" y="1566"/>
                  </a:lnTo>
                  <a:lnTo>
                    <a:pt x="894" y="1548"/>
                  </a:lnTo>
                  <a:lnTo>
                    <a:pt x="888" y="1548"/>
                  </a:lnTo>
                  <a:lnTo>
                    <a:pt x="882" y="1542"/>
                  </a:lnTo>
                  <a:lnTo>
                    <a:pt x="876" y="1542"/>
                  </a:lnTo>
                  <a:lnTo>
                    <a:pt x="876" y="1536"/>
                  </a:lnTo>
                  <a:lnTo>
                    <a:pt x="870" y="1542"/>
                  </a:lnTo>
                  <a:lnTo>
                    <a:pt x="870" y="1554"/>
                  </a:lnTo>
                  <a:lnTo>
                    <a:pt x="870" y="1566"/>
                  </a:lnTo>
                  <a:lnTo>
                    <a:pt x="870" y="1578"/>
                  </a:lnTo>
                  <a:lnTo>
                    <a:pt x="870" y="1584"/>
                  </a:lnTo>
                  <a:lnTo>
                    <a:pt x="864" y="1584"/>
                  </a:lnTo>
                  <a:lnTo>
                    <a:pt x="870" y="1602"/>
                  </a:lnTo>
                  <a:lnTo>
                    <a:pt x="864" y="1608"/>
                  </a:lnTo>
                  <a:lnTo>
                    <a:pt x="870" y="1614"/>
                  </a:lnTo>
                  <a:lnTo>
                    <a:pt x="864" y="1644"/>
                  </a:lnTo>
                  <a:lnTo>
                    <a:pt x="858" y="1650"/>
                  </a:lnTo>
                  <a:lnTo>
                    <a:pt x="858" y="1656"/>
                  </a:lnTo>
                  <a:lnTo>
                    <a:pt x="852" y="1662"/>
                  </a:lnTo>
                  <a:lnTo>
                    <a:pt x="852" y="1680"/>
                  </a:lnTo>
                  <a:lnTo>
                    <a:pt x="846" y="1686"/>
                  </a:lnTo>
                  <a:lnTo>
                    <a:pt x="834" y="1692"/>
                  </a:lnTo>
                  <a:lnTo>
                    <a:pt x="828" y="1692"/>
                  </a:lnTo>
                  <a:lnTo>
                    <a:pt x="822" y="1698"/>
                  </a:lnTo>
                  <a:lnTo>
                    <a:pt x="822" y="1704"/>
                  </a:lnTo>
                  <a:lnTo>
                    <a:pt x="816" y="1704"/>
                  </a:lnTo>
                  <a:lnTo>
                    <a:pt x="804" y="1692"/>
                  </a:lnTo>
                  <a:lnTo>
                    <a:pt x="786" y="1698"/>
                  </a:lnTo>
                  <a:lnTo>
                    <a:pt x="780" y="1698"/>
                  </a:lnTo>
                  <a:lnTo>
                    <a:pt x="756" y="1698"/>
                  </a:lnTo>
                  <a:lnTo>
                    <a:pt x="744" y="1698"/>
                  </a:lnTo>
                  <a:lnTo>
                    <a:pt x="738" y="1698"/>
                  </a:lnTo>
                  <a:lnTo>
                    <a:pt x="732" y="1704"/>
                  </a:lnTo>
                  <a:lnTo>
                    <a:pt x="726" y="1704"/>
                  </a:lnTo>
                  <a:lnTo>
                    <a:pt x="678" y="1710"/>
                  </a:lnTo>
                  <a:lnTo>
                    <a:pt x="642" y="1710"/>
                  </a:lnTo>
                  <a:lnTo>
                    <a:pt x="618" y="1680"/>
                  </a:lnTo>
                  <a:lnTo>
                    <a:pt x="618" y="1674"/>
                  </a:lnTo>
                  <a:lnTo>
                    <a:pt x="618" y="1668"/>
                  </a:lnTo>
                  <a:lnTo>
                    <a:pt x="624" y="1662"/>
                  </a:lnTo>
                  <a:lnTo>
                    <a:pt x="624" y="1656"/>
                  </a:lnTo>
                  <a:lnTo>
                    <a:pt x="624" y="1650"/>
                  </a:lnTo>
                  <a:lnTo>
                    <a:pt x="618" y="1650"/>
                  </a:lnTo>
                  <a:lnTo>
                    <a:pt x="618" y="1644"/>
                  </a:lnTo>
                  <a:lnTo>
                    <a:pt x="618" y="1638"/>
                  </a:lnTo>
                  <a:lnTo>
                    <a:pt x="618" y="1632"/>
                  </a:lnTo>
                  <a:lnTo>
                    <a:pt x="618" y="1626"/>
                  </a:lnTo>
                  <a:lnTo>
                    <a:pt x="612" y="1626"/>
                  </a:lnTo>
                  <a:lnTo>
                    <a:pt x="612" y="1620"/>
                  </a:lnTo>
                  <a:lnTo>
                    <a:pt x="606" y="1614"/>
                  </a:lnTo>
                  <a:lnTo>
                    <a:pt x="594" y="1626"/>
                  </a:lnTo>
                  <a:lnTo>
                    <a:pt x="594" y="1632"/>
                  </a:lnTo>
                  <a:lnTo>
                    <a:pt x="588" y="1638"/>
                  </a:lnTo>
                  <a:lnTo>
                    <a:pt x="582" y="1638"/>
                  </a:lnTo>
                  <a:lnTo>
                    <a:pt x="564" y="1656"/>
                  </a:lnTo>
                  <a:lnTo>
                    <a:pt x="558" y="1662"/>
                  </a:lnTo>
                  <a:lnTo>
                    <a:pt x="552" y="1662"/>
                  </a:lnTo>
                  <a:lnTo>
                    <a:pt x="540" y="1674"/>
                  </a:lnTo>
                  <a:lnTo>
                    <a:pt x="534" y="1680"/>
                  </a:lnTo>
                  <a:lnTo>
                    <a:pt x="522" y="1692"/>
                  </a:lnTo>
                  <a:lnTo>
                    <a:pt x="516" y="1704"/>
                  </a:lnTo>
                  <a:lnTo>
                    <a:pt x="510" y="1704"/>
                  </a:lnTo>
                  <a:lnTo>
                    <a:pt x="504" y="1704"/>
                  </a:lnTo>
                  <a:lnTo>
                    <a:pt x="486" y="1722"/>
                  </a:lnTo>
                  <a:lnTo>
                    <a:pt x="480" y="1740"/>
                  </a:lnTo>
                  <a:lnTo>
                    <a:pt x="474" y="1740"/>
                  </a:lnTo>
                  <a:lnTo>
                    <a:pt x="468" y="1746"/>
                  </a:lnTo>
                  <a:lnTo>
                    <a:pt x="456" y="1758"/>
                  </a:lnTo>
                  <a:lnTo>
                    <a:pt x="444" y="1770"/>
                  </a:lnTo>
                  <a:lnTo>
                    <a:pt x="438" y="1782"/>
                  </a:lnTo>
                  <a:lnTo>
                    <a:pt x="426" y="1788"/>
                  </a:lnTo>
                  <a:lnTo>
                    <a:pt x="420" y="1788"/>
                  </a:lnTo>
                  <a:lnTo>
                    <a:pt x="420" y="1782"/>
                  </a:lnTo>
                  <a:lnTo>
                    <a:pt x="414" y="1782"/>
                  </a:lnTo>
                  <a:lnTo>
                    <a:pt x="390" y="1782"/>
                  </a:lnTo>
                  <a:lnTo>
                    <a:pt x="390" y="1776"/>
                  </a:lnTo>
                  <a:lnTo>
                    <a:pt x="384" y="1776"/>
                  </a:lnTo>
                  <a:lnTo>
                    <a:pt x="378" y="1776"/>
                  </a:lnTo>
                  <a:lnTo>
                    <a:pt x="372" y="1776"/>
                  </a:lnTo>
                  <a:lnTo>
                    <a:pt x="366" y="1770"/>
                  </a:lnTo>
                  <a:lnTo>
                    <a:pt x="366" y="1776"/>
                  </a:lnTo>
                  <a:lnTo>
                    <a:pt x="360" y="1788"/>
                  </a:lnTo>
                  <a:lnTo>
                    <a:pt x="360" y="1794"/>
                  </a:lnTo>
                  <a:lnTo>
                    <a:pt x="360" y="1800"/>
                  </a:lnTo>
                  <a:lnTo>
                    <a:pt x="354" y="1806"/>
                  </a:lnTo>
                  <a:lnTo>
                    <a:pt x="354" y="1812"/>
                  </a:lnTo>
                  <a:lnTo>
                    <a:pt x="354" y="1824"/>
                  </a:lnTo>
                  <a:lnTo>
                    <a:pt x="348" y="1830"/>
                  </a:lnTo>
                  <a:lnTo>
                    <a:pt x="354" y="1836"/>
                  </a:lnTo>
                  <a:lnTo>
                    <a:pt x="348" y="1842"/>
                  </a:lnTo>
                  <a:lnTo>
                    <a:pt x="354" y="1848"/>
                  </a:lnTo>
                  <a:lnTo>
                    <a:pt x="348" y="1854"/>
                  </a:lnTo>
                  <a:lnTo>
                    <a:pt x="354" y="1854"/>
                  </a:lnTo>
                  <a:lnTo>
                    <a:pt x="348" y="1860"/>
                  </a:lnTo>
                  <a:lnTo>
                    <a:pt x="348" y="1866"/>
                  </a:lnTo>
                  <a:lnTo>
                    <a:pt x="342" y="1866"/>
                  </a:lnTo>
                  <a:lnTo>
                    <a:pt x="342" y="1872"/>
                  </a:lnTo>
                  <a:lnTo>
                    <a:pt x="342" y="1878"/>
                  </a:lnTo>
                  <a:lnTo>
                    <a:pt x="342" y="1884"/>
                  </a:lnTo>
                  <a:lnTo>
                    <a:pt x="336" y="1896"/>
                  </a:lnTo>
                  <a:lnTo>
                    <a:pt x="330" y="1914"/>
                  </a:lnTo>
                  <a:lnTo>
                    <a:pt x="324" y="1920"/>
                  </a:lnTo>
                  <a:lnTo>
                    <a:pt x="324" y="1926"/>
                  </a:lnTo>
                  <a:lnTo>
                    <a:pt x="318" y="1944"/>
                  </a:lnTo>
                  <a:lnTo>
                    <a:pt x="318" y="1950"/>
                  </a:lnTo>
                  <a:lnTo>
                    <a:pt x="312" y="1956"/>
                  </a:lnTo>
                  <a:lnTo>
                    <a:pt x="312" y="1950"/>
                  </a:lnTo>
                  <a:lnTo>
                    <a:pt x="306" y="1950"/>
                  </a:lnTo>
                  <a:lnTo>
                    <a:pt x="306" y="1956"/>
                  </a:lnTo>
                  <a:lnTo>
                    <a:pt x="300" y="1950"/>
                  </a:lnTo>
                  <a:lnTo>
                    <a:pt x="294" y="1956"/>
                  </a:lnTo>
                  <a:lnTo>
                    <a:pt x="288" y="1950"/>
                  </a:lnTo>
                  <a:lnTo>
                    <a:pt x="288" y="1944"/>
                  </a:lnTo>
                  <a:lnTo>
                    <a:pt x="282" y="1938"/>
                  </a:lnTo>
                  <a:lnTo>
                    <a:pt x="282" y="1932"/>
                  </a:lnTo>
                  <a:lnTo>
                    <a:pt x="282" y="1890"/>
                  </a:lnTo>
                  <a:lnTo>
                    <a:pt x="288" y="1860"/>
                  </a:lnTo>
                  <a:lnTo>
                    <a:pt x="294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300" y="1818"/>
                  </a:lnTo>
                  <a:lnTo>
                    <a:pt x="306" y="1794"/>
                  </a:lnTo>
                  <a:lnTo>
                    <a:pt x="306" y="1788"/>
                  </a:lnTo>
                  <a:lnTo>
                    <a:pt x="306" y="1782"/>
                  </a:lnTo>
                  <a:lnTo>
                    <a:pt x="312" y="1776"/>
                  </a:lnTo>
                  <a:lnTo>
                    <a:pt x="306" y="1776"/>
                  </a:lnTo>
                  <a:lnTo>
                    <a:pt x="312" y="1770"/>
                  </a:lnTo>
                  <a:lnTo>
                    <a:pt x="312" y="1740"/>
                  </a:lnTo>
                  <a:lnTo>
                    <a:pt x="318" y="1722"/>
                  </a:lnTo>
                  <a:lnTo>
                    <a:pt x="312" y="1722"/>
                  </a:lnTo>
                  <a:lnTo>
                    <a:pt x="300" y="1716"/>
                  </a:lnTo>
                  <a:lnTo>
                    <a:pt x="306" y="1716"/>
                  </a:lnTo>
                  <a:lnTo>
                    <a:pt x="312" y="1710"/>
                  </a:lnTo>
                  <a:lnTo>
                    <a:pt x="324" y="1674"/>
                  </a:lnTo>
                  <a:lnTo>
                    <a:pt x="366" y="1590"/>
                  </a:lnTo>
                  <a:lnTo>
                    <a:pt x="408" y="1548"/>
                  </a:lnTo>
                  <a:lnTo>
                    <a:pt x="426" y="1530"/>
                  </a:lnTo>
                  <a:lnTo>
                    <a:pt x="432" y="1500"/>
                  </a:lnTo>
                  <a:lnTo>
                    <a:pt x="426" y="1494"/>
                  </a:lnTo>
                  <a:lnTo>
                    <a:pt x="426" y="1482"/>
                  </a:lnTo>
                  <a:lnTo>
                    <a:pt x="432" y="1464"/>
                  </a:lnTo>
                  <a:lnTo>
                    <a:pt x="438" y="1428"/>
                  </a:lnTo>
                  <a:lnTo>
                    <a:pt x="462" y="1398"/>
                  </a:lnTo>
                  <a:lnTo>
                    <a:pt x="468" y="1362"/>
                  </a:lnTo>
                  <a:lnTo>
                    <a:pt x="462" y="1314"/>
                  </a:lnTo>
                  <a:lnTo>
                    <a:pt x="444" y="1284"/>
                  </a:lnTo>
                  <a:lnTo>
                    <a:pt x="432" y="1260"/>
                  </a:lnTo>
                  <a:lnTo>
                    <a:pt x="426" y="1260"/>
                  </a:lnTo>
                  <a:lnTo>
                    <a:pt x="420" y="1254"/>
                  </a:lnTo>
                  <a:lnTo>
                    <a:pt x="408" y="1260"/>
                  </a:lnTo>
                  <a:lnTo>
                    <a:pt x="402" y="1260"/>
                  </a:lnTo>
                  <a:lnTo>
                    <a:pt x="402" y="1254"/>
                  </a:lnTo>
                  <a:lnTo>
                    <a:pt x="396" y="1254"/>
                  </a:lnTo>
                  <a:lnTo>
                    <a:pt x="396" y="1248"/>
                  </a:lnTo>
                  <a:lnTo>
                    <a:pt x="384" y="1248"/>
                  </a:lnTo>
                  <a:lnTo>
                    <a:pt x="372" y="1230"/>
                  </a:lnTo>
                  <a:lnTo>
                    <a:pt x="360" y="1212"/>
                  </a:lnTo>
                  <a:lnTo>
                    <a:pt x="348" y="1188"/>
                  </a:lnTo>
                  <a:lnTo>
                    <a:pt x="324" y="1170"/>
                  </a:lnTo>
                  <a:lnTo>
                    <a:pt x="318" y="1170"/>
                  </a:lnTo>
                  <a:lnTo>
                    <a:pt x="312" y="1158"/>
                  </a:lnTo>
                  <a:lnTo>
                    <a:pt x="312" y="1152"/>
                  </a:lnTo>
                  <a:lnTo>
                    <a:pt x="306" y="1146"/>
                  </a:lnTo>
                  <a:lnTo>
                    <a:pt x="270" y="1122"/>
                  </a:lnTo>
                  <a:lnTo>
                    <a:pt x="240" y="1122"/>
                  </a:lnTo>
                  <a:lnTo>
                    <a:pt x="180" y="1116"/>
                  </a:lnTo>
                  <a:lnTo>
                    <a:pt x="174" y="1122"/>
                  </a:lnTo>
                  <a:lnTo>
                    <a:pt x="174" y="1128"/>
                  </a:lnTo>
                  <a:lnTo>
                    <a:pt x="168" y="1122"/>
                  </a:lnTo>
                  <a:lnTo>
                    <a:pt x="162" y="1116"/>
                  </a:lnTo>
                  <a:lnTo>
                    <a:pt x="144" y="1122"/>
                  </a:lnTo>
                  <a:lnTo>
                    <a:pt x="120" y="1122"/>
                  </a:lnTo>
                  <a:lnTo>
                    <a:pt x="54" y="1134"/>
                  </a:lnTo>
                  <a:lnTo>
                    <a:pt x="24" y="1152"/>
                  </a:lnTo>
                  <a:lnTo>
                    <a:pt x="6" y="1146"/>
                  </a:lnTo>
                  <a:lnTo>
                    <a:pt x="0" y="1134"/>
                  </a:lnTo>
                  <a:lnTo>
                    <a:pt x="0" y="1128"/>
                  </a:lnTo>
                  <a:lnTo>
                    <a:pt x="18" y="1110"/>
                  </a:lnTo>
                  <a:lnTo>
                    <a:pt x="24" y="1104"/>
                  </a:lnTo>
                  <a:lnTo>
                    <a:pt x="24" y="1098"/>
                  </a:lnTo>
                  <a:lnTo>
                    <a:pt x="30" y="1086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24" y="1074"/>
                  </a:lnTo>
                  <a:lnTo>
                    <a:pt x="18" y="1068"/>
                  </a:lnTo>
                  <a:lnTo>
                    <a:pt x="24" y="1062"/>
                  </a:lnTo>
                  <a:lnTo>
                    <a:pt x="42" y="1056"/>
                  </a:lnTo>
                  <a:lnTo>
                    <a:pt x="54" y="1050"/>
                  </a:lnTo>
                  <a:lnTo>
                    <a:pt x="72" y="1044"/>
                  </a:lnTo>
                  <a:lnTo>
                    <a:pt x="96" y="1032"/>
                  </a:lnTo>
                  <a:lnTo>
                    <a:pt x="102" y="1032"/>
                  </a:lnTo>
                  <a:lnTo>
                    <a:pt x="126" y="1008"/>
                  </a:lnTo>
                  <a:lnTo>
                    <a:pt x="144" y="990"/>
                  </a:lnTo>
                  <a:lnTo>
                    <a:pt x="156" y="978"/>
                  </a:lnTo>
                  <a:lnTo>
                    <a:pt x="156" y="966"/>
                  </a:lnTo>
                  <a:lnTo>
                    <a:pt x="150" y="960"/>
                  </a:lnTo>
                  <a:lnTo>
                    <a:pt x="144" y="948"/>
                  </a:lnTo>
                  <a:lnTo>
                    <a:pt x="144" y="936"/>
                  </a:lnTo>
                  <a:lnTo>
                    <a:pt x="138" y="918"/>
                  </a:lnTo>
                  <a:lnTo>
                    <a:pt x="150" y="912"/>
                  </a:lnTo>
                  <a:lnTo>
                    <a:pt x="150" y="894"/>
                  </a:lnTo>
                  <a:lnTo>
                    <a:pt x="132" y="876"/>
                  </a:lnTo>
                  <a:lnTo>
                    <a:pt x="126" y="876"/>
                  </a:lnTo>
                  <a:lnTo>
                    <a:pt x="120" y="870"/>
                  </a:lnTo>
                  <a:lnTo>
                    <a:pt x="120" y="864"/>
                  </a:lnTo>
                  <a:lnTo>
                    <a:pt x="114" y="864"/>
                  </a:lnTo>
                  <a:lnTo>
                    <a:pt x="108" y="864"/>
                  </a:lnTo>
                  <a:lnTo>
                    <a:pt x="108" y="858"/>
                  </a:lnTo>
                  <a:lnTo>
                    <a:pt x="102" y="852"/>
                  </a:lnTo>
                  <a:lnTo>
                    <a:pt x="96" y="852"/>
                  </a:lnTo>
                  <a:lnTo>
                    <a:pt x="102" y="834"/>
                  </a:lnTo>
                  <a:lnTo>
                    <a:pt x="108" y="816"/>
                  </a:lnTo>
                  <a:lnTo>
                    <a:pt x="114" y="804"/>
                  </a:lnTo>
                  <a:lnTo>
                    <a:pt x="132" y="798"/>
                  </a:lnTo>
                  <a:lnTo>
                    <a:pt x="144" y="798"/>
                  </a:lnTo>
                  <a:lnTo>
                    <a:pt x="180" y="810"/>
                  </a:lnTo>
                  <a:lnTo>
                    <a:pt x="192" y="816"/>
                  </a:lnTo>
                  <a:lnTo>
                    <a:pt x="234" y="822"/>
                  </a:lnTo>
                  <a:lnTo>
                    <a:pt x="264" y="828"/>
                  </a:lnTo>
                  <a:lnTo>
                    <a:pt x="270" y="840"/>
                  </a:lnTo>
                  <a:lnTo>
                    <a:pt x="270" y="834"/>
                  </a:lnTo>
                  <a:lnTo>
                    <a:pt x="270" y="828"/>
                  </a:lnTo>
                  <a:lnTo>
                    <a:pt x="270" y="822"/>
                  </a:lnTo>
                  <a:lnTo>
                    <a:pt x="270" y="816"/>
                  </a:lnTo>
                  <a:lnTo>
                    <a:pt x="264" y="810"/>
                  </a:lnTo>
                  <a:lnTo>
                    <a:pt x="264" y="804"/>
                  </a:lnTo>
                  <a:lnTo>
                    <a:pt x="264" y="798"/>
                  </a:lnTo>
                  <a:lnTo>
                    <a:pt x="258" y="792"/>
                  </a:lnTo>
                  <a:lnTo>
                    <a:pt x="258" y="786"/>
                  </a:lnTo>
                  <a:lnTo>
                    <a:pt x="264" y="786"/>
                  </a:lnTo>
                  <a:lnTo>
                    <a:pt x="264" y="780"/>
                  </a:lnTo>
                  <a:lnTo>
                    <a:pt x="258" y="774"/>
                  </a:lnTo>
                  <a:lnTo>
                    <a:pt x="258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82" y="762"/>
                  </a:lnTo>
                  <a:lnTo>
                    <a:pt x="312" y="780"/>
                  </a:lnTo>
                  <a:lnTo>
                    <a:pt x="354" y="786"/>
                  </a:lnTo>
                  <a:lnTo>
                    <a:pt x="408" y="774"/>
                  </a:lnTo>
                  <a:lnTo>
                    <a:pt x="444" y="756"/>
                  </a:lnTo>
                  <a:lnTo>
                    <a:pt x="468" y="732"/>
                  </a:lnTo>
                  <a:lnTo>
                    <a:pt x="492" y="720"/>
                  </a:lnTo>
                  <a:lnTo>
                    <a:pt x="522" y="690"/>
                  </a:lnTo>
                  <a:lnTo>
                    <a:pt x="540" y="672"/>
                  </a:lnTo>
                  <a:lnTo>
                    <a:pt x="558" y="660"/>
                  </a:lnTo>
                  <a:lnTo>
                    <a:pt x="570" y="636"/>
                  </a:lnTo>
                  <a:lnTo>
                    <a:pt x="588" y="612"/>
                  </a:lnTo>
                  <a:lnTo>
                    <a:pt x="654" y="552"/>
                  </a:lnTo>
                  <a:lnTo>
                    <a:pt x="678" y="528"/>
                  </a:lnTo>
                  <a:lnTo>
                    <a:pt x="696" y="510"/>
                  </a:lnTo>
                  <a:lnTo>
                    <a:pt x="714" y="498"/>
                  </a:lnTo>
                  <a:lnTo>
                    <a:pt x="750" y="480"/>
                  </a:lnTo>
                  <a:lnTo>
                    <a:pt x="774" y="444"/>
                  </a:lnTo>
                  <a:lnTo>
                    <a:pt x="816" y="426"/>
                  </a:lnTo>
                  <a:lnTo>
                    <a:pt x="864" y="420"/>
                  </a:lnTo>
                  <a:lnTo>
                    <a:pt x="912" y="402"/>
                  </a:lnTo>
                  <a:lnTo>
                    <a:pt x="906" y="396"/>
                  </a:lnTo>
                  <a:lnTo>
                    <a:pt x="912" y="396"/>
                  </a:lnTo>
                  <a:lnTo>
                    <a:pt x="912" y="390"/>
                  </a:lnTo>
                  <a:lnTo>
                    <a:pt x="918" y="384"/>
                  </a:lnTo>
                  <a:lnTo>
                    <a:pt x="924" y="384"/>
                  </a:lnTo>
                  <a:lnTo>
                    <a:pt x="924" y="378"/>
                  </a:lnTo>
                  <a:lnTo>
                    <a:pt x="918" y="372"/>
                  </a:lnTo>
                  <a:lnTo>
                    <a:pt x="918" y="366"/>
                  </a:lnTo>
                  <a:lnTo>
                    <a:pt x="918" y="360"/>
                  </a:lnTo>
                  <a:lnTo>
                    <a:pt x="924" y="360"/>
                  </a:lnTo>
                  <a:lnTo>
                    <a:pt x="924" y="354"/>
                  </a:lnTo>
                  <a:lnTo>
                    <a:pt x="930" y="354"/>
                  </a:lnTo>
                  <a:lnTo>
                    <a:pt x="936" y="354"/>
                  </a:lnTo>
                  <a:lnTo>
                    <a:pt x="936" y="348"/>
                  </a:lnTo>
                  <a:lnTo>
                    <a:pt x="942" y="348"/>
                  </a:lnTo>
                  <a:lnTo>
                    <a:pt x="942" y="336"/>
                  </a:lnTo>
                  <a:lnTo>
                    <a:pt x="936" y="336"/>
                  </a:lnTo>
                  <a:lnTo>
                    <a:pt x="930" y="330"/>
                  </a:lnTo>
                  <a:lnTo>
                    <a:pt x="924" y="330"/>
                  </a:lnTo>
                  <a:lnTo>
                    <a:pt x="924" y="324"/>
                  </a:lnTo>
                  <a:lnTo>
                    <a:pt x="918" y="318"/>
                  </a:lnTo>
                  <a:lnTo>
                    <a:pt x="912" y="306"/>
                  </a:lnTo>
                  <a:lnTo>
                    <a:pt x="918" y="306"/>
                  </a:lnTo>
                  <a:lnTo>
                    <a:pt x="924" y="300"/>
                  </a:lnTo>
                  <a:lnTo>
                    <a:pt x="924" y="294"/>
                  </a:lnTo>
                  <a:lnTo>
                    <a:pt x="924" y="288"/>
                  </a:lnTo>
                  <a:lnTo>
                    <a:pt x="924" y="282"/>
                  </a:lnTo>
                  <a:lnTo>
                    <a:pt x="924" y="276"/>
                  </a:lnTo>
                  <a:lnTo>
                    <a:pt x="918" y="270"/>
                  </a:lnTo>
                  <a:lnTo>
                    <a:pt x="918" y="264"/>
                  </a:lnTo>
                  <a:lnTo>
                    <a:pt x="912" y="270"/>
                  </a:lnTo>
                  <a:lnTo>
                    <a:pt x="912" y="264"/>
                  </a:lnTo>
                  <a:lnTo>
                    <a:pt x="912" y="258"/>
                  </a:lnTo>
                  <a:lnTo>
                    <a:pt x="912" y="252"/>
                  </a:lnTo>
                  <a:lnTo>
                    <a:pt x="906" y="252"/>
                  </a:lnTo>
                  <a:lnTo>
                    <a:pt x="900" y="246"/>
                  </a:lnTo>
                  <a:lnTo>
                    <a:pt x="900" y="240"/>
                  </a:lnTo>
                  <a:lnTo>
                    <a:pt x="900" y="246"/>
                  </a:lnTo>
                  <a:lnTo>
                    <a:pt x="894" y="246"/>
                  </a:lnTo>
                  <a:lnTo>
                    <a:pt x="894" y="240"/>
                  </a:lnTo>
                  <a:lnTo>
                    <a:pt x="894" y="234"/>
                  </a:lnTo>
                  <a:lnTo>
                    <a:pt x="900" y="234"/>
                  </a:lnTo>
                  <a:lnTo>
                    <a:pt x="900" y="228"/>
                  </a:lnTo>
                  <a:lnTo>
                    <a:pt x="906" y="228"/>
                  </a:lnTo>
                  <a:lnTo>
                    <a:pt x="900" y="222"/>
                  </a:lnTo>
                  <a:lnTo>
                    <a:pt x="894" y="216"/>
                  </a:lnTo>
                  <a:lnTo>
                    <a:pt x="894" y="210"/>
                  </a:lnTo>
                  <a:lnTo>
                    <a:pt x="888" y="210"/>
                  </a:lnTo>
                  <a:lnTo>
                    <a:pt x="888" y="204"/>
                  </a:lnTo>
                  <a:lnTo>
                    <a:pt x="888" y="198"/>
                  </a:lnTo>
                  <a:lnTo>
                    <a:pt x="888" y="192"/>
                  </a:lnTo>
                  <a:lnTo>
                    <a:pt x="882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82" y="174"/>
                  </a:lnTo>
                  <a:lnTo>
                    <a:pt x="888" y="168"/>
                  </a:lnTo>
                  <a:lnTo>
                    <a:pt x="888" y="162"/>
                  </a:lnTo>
                  <a:lnTo>
                    <a:pt x="888" y="156"/>
                  </a:lnTo>
                  <a:lnTo>
                    <a:pt x="888" y="150"/>
                  </a:lnTo>
                  <a:lnTo>
                    <a:pt x="888" y="144"/>
                  </a:lnTo>
                  <a:lnTo>
                    <a:pt x="882" y="144"/>
                  </a:lnTo>
                  <a:lnTo>
                    <a:pt x="882" y="138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76" y="120"/>
                  </a:lnTo>
                  <a:lnTo>
                    <a:pt x="882" y="114"/>
                  </a:lnTo>
                  <a:lnTo>
                    <a:pt x="882" y="108"/>
                  </a:lnTo>
                  <a:lnTo>
                    <a:pt x="888" y="102"/>
                  </a:lnTo>
                  <a:lnTo>
                    <a:pt x="894" y="102"/>
                  </a:lnTo>
                  <a:lnTo>
                    <a:pt x="894" y="96"/>
                  </a:lnTo>
                  <a:lnTo>
                    <a:pt x="888" y="96"/>
                  </a:lnTo>
                  <a:lnTo>
                    <a:pt x="894" y="90"/>
                  </a:lnTo>
                  <a:lnTo>
                    <a:pt x="888" y="84"/>
                  </a:lnTo>
                  <a:lnTo>
                    <a:pt x="888" y="78"/>
                  </a:lnTo>
                  <a:lnTo>
                    <a:pt x="924" y="66"/>
                  </a:lnTo>
                  <a:lnTo>
                    <a:pt x="966" y="66"/>
                  </a:lnTo>
                  <a:lnTo>
                    <a:pt x="996" y="48"/>
                  </a:lnTo>
                  <a:lnTo>
                    <a:pt x="1056" y="12"/>
                  </a:lnTo>
                  <a:lnTo>
                    <a:pt x="1128" y="0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0" y="18"/>
                  </a:lnTo>
                  <a:lnTo>
                    <a:pt x="1176" y="24"/>
                  </a:lnTo>
                  <a:lnTo>
                    <a:pt x="1182" y="24"/>
                  </a:lnTo>
                  <a:lnTo>
                    <a:pt x="1188" y="30"/>
                  </a:lnTo>
                  <a:lnTo>
                    <a:pt x="1194" y="30"/>
                  </a:lnTo>
                  <a:lnTo>
                    <a:pt x="1194" y="36"/>
                  </a:lnTo>
                  <a:lnTo>
                    <a:pt x="1260" y="30"/>
                  </a:lnTo>
                  <a:lnTo>
                    <a:pt x="1272" y="30"/>
                  </a:lnTo>
                  <a:lnTo>
                    <a:pt x="1296" y="24"/>
                  </a:lnTo>
                  <a:lnTo>
                    <a:pt x="1302" y="30"/>
                  </a:lnTo>
                  <a:lnTo>
                    <a:pt x="1302" y="36"/>
                  </a:lnTo>
                  <a:lnTo>
                    <a:pt x="1308" y="36"/>
                  </a:lnTo>
                  <a:lnTo>
                    <a:pt x="1314" y="36"/>
                  </a:lnTo>
                  <a:lnTo>
                    <a:pt x="1320" y="36"/>
                  </a:lnTo>
                  <a:lnTo>
                    <a:pt x="1326" y="30"/>
                  </a:lnTo>
                  <a:lnTo>
                    <a:pt x="1332" y="30"/>
                  </a:lnTo>
                  <a:lnTo>
                    <a:pt x="1338" y="30"/>
                  </a:lnTo>
                  <a:lnTo>
                    <a:pt x="1344" y="30"/>
                  </a:lnTo>
                  <a:lnTo>
                    <a:pt x="1374" y="30"/>
                  </a:lnTo>
                  <a:lnTo>
                    <a:pt x="1386" y="30"/>
                  </a:lnTo>
                  <a:lnTo>
                    <a:pt x="1392" y="24"/>
                  </a:lnTo>
                  <a:lnTo>
                    <a:pt x="1398" y="12"/>
                  </a:lnTo>
                  <a:lnTo>
                    <a:pt x="1404" y="6"/>
                  </a:lnTo>
                  <a:lnTo>
                    <a:pt x="1410" y="6"/>
                  </a:lnTo>
                  <a:lnTo>
                    <a:pt x="1410" y="12"/>
                  </a:lnTo>
                  <a:lnTo>
                    <a:pt x="1416" y="18"/>
                  </a:lnTo>
                  <a:lnTo>
                    <a:pt x="1416" y="36"/>
                  </a:lnTo>
                  <a:lnTo>
                    <a:pt x="1434" y="54"/>
                  </a:lnTo>
                  <a:lnTo>
                    <a:pt x="1434" y="60"/>
                  </a:lnTo>
                  <a:lnTo>
                    <a:pt x="1434" y="66"/>
                  </a:lnTo>
                  <a:lnTo>
                    <a:pt x="1434" y="72"/>
                  </a:lnTo>
                  <a:lnTo>
                    <a:pt x="1428" y="72"/>
                  </a:lnTo>
                  <a:lnTo>
                    <a:pt x="1428" y="78"/>
                  </a:lnTo>
                  <a:lnTo>
                    <a:pt x="1434" y="78"/>
                  </a:lnTo>
                  <a:lnTo>
                    <a:pt x="1440" y="84"/>
                  </a:lnTo>
                  <a:lnTo>
                    <a:pt x="1440" y="90"/>
                  </a:lnTo>
                  <a:lnTo>
                    <a:pt x="1440" y="96"/>
                  </a:lnTo>
                  <a:lnTo>
                    <a:pt x="1446" y="96"/>
                  </a:lnTo>
                  <a:lnTo>
                    <a:pt x="1446" y="108"/>
                  </a:lnTo>
                  <a:lnTo>
                    <a:pt x="1452" y="108"/>
                  </a:lnTo>
                  <a:lnTo>
                    <a:pt x="1452" y="114"/>
                  </a:lnTo>
                  <a:lnTo>
                    <a:pt x="1458" y="114"/>
                  </a:lnTo>
                  <a:lnTo>
                    <a:pt x="1470" y="120"/>
                  </a:lnTo>
                  <a:lnTo>
                    <a:pt x="1476" y="120"/>
                  </a:lnTo>
                  <a:lnTo>
                    <a:pt x="1476" y="114"/>
                  </a:lnTo>
                  <a:lnTo>
                    <a:pt x="1488" y="120"/>
                  </a:lnTo>
                  <a:lnTo>
                    <a:pt x="1506" y="120"/>
                  </a:lnTo>
                  <a:lnTo>
                    <a:pt x="1512" y="120"/>
                  </a:lnTo>
                  <a:lnTo>
                    <a:pt x="1518" y="120"/>
                  </a:lnTo>
                  <a:lnTo>
                    <a:pt x="1524" y="126"/>
                  </a:lnTo>
                  <a:lnTo>
                    <a:pt x="1536" y="150"/>
                  </a:lnTo>
                  <a:lnTo>
                    <a:pt x="1548" y="162"/>
                  </a:lnTo>
                  <a:lnTo>
                    <a:pt x="1554" y="168"/>
                  </a:lnTo>
                  <a:lnTo>
                    <a:pt x="1584" y="228"/>
                  </a:lnTo>
                  <a:lnTo>
                    <a:pt x="1584" y="234"/>
                  </a:lnTo>
                  <a:lnTo>
                    <a:pt x="1578" y="312"/>
                  </a:lnTo>
                  <a:lnTo>
                    <a:pt x="1590" y="318"/>
                  </a:lnTo>
                  <a:lnTo>
                    <a:pt x="1608" y="330"/>
                  </a:lnTo>
                  <a:lnTo>
                    <a:pt x="1620" y="342"/>
                  </a:lnTo>
                  <a:lnTo>
                    <a:pt x="1626" y="342"/>
                  </a:lnTo>
                  <a:lnTo>
                    <a:pt x="1692" y="360"/>
                  </a:lnTo>
                  <a:lnTo>
                    <a:pt x="1710" y="408"/>
                  </a:lnTo>
                  <a:lnTo>
                    <a:pt x="1722" y="426"/>
                  </a:lnTo>
                  <a:lnTo>
                    <a:pt x="1716" y="468"/>
                  </a:lnTo>
                  <a:lnTo>
                    <a:pt x="1686" y="486"/>
                  </a:lnTo>
                  <a:lnTo>
                    <a:pt x="1686" y="492"/>
                  </a:lnTo>
                  <a:lnTo>
                    <a:pt x="1680" y="498"/>
                  </a:lnTo>
                  <a:lnTo>
                    <a:pt x="1650" y="558"/>
                  </a:lnTo>
                  <a:lnTo>
                    <a:pt x="1650" y="570"/>
                  </a:lnTo>
                  <a:lnTo>
                    <a:pt x="1644" y="570"/>
                  </a:lnTo>
                  <a:lnTo>
                    <a:pt x="1638" y="582"/>
                  </a:lnTo>
                  <a:lnTo>
                    <a:pt x="1638" y="624"/>
                  </a:lnTo>
                  <a:lnTo>
                    <a:pt x="1638" y="636"/>
                  </a:lnTo>
                  <a:lnTo>
                    <a:pt x="1638" y="642"/>
                  </a:lnTo>
                  <a:lnTo>
                    <a:pt x="1632" y="660"/>
                  </a:lnTo>
                  <a:lnTo>
                    <a:pt x="1608" y="678"/>
                  </a:lnTo>
                  <a:lnTo>
                    <a:pt x="1584" y="690"/>
                  </a:lnTo>
                  <a:lnTo>
                    <a:pt x="1584" y="696"/>
                  </a:lnTo>
                  <a:lnTo>
                    <a:pt x="1578" y="702"/>
                  </a:lnTo>
                  <a:lnTo>
                    <a:pt x="1584" y="702"/>
                  </a:lnTo>
                  <a:lnTo>
                    <a:pt x="1578" y="714"/>
                  </a:lnTo>
                  <a:lnTo>
                    <a:pt x="1572" y="714"/>
                  </a:lnTo>
                  <a:lnTo>
                    <a:pt x="1572" y="720"/>
                  </a:lnTo>
                  <a:lnTo>
                    <a:pt x="1566" y="720"/>
                  </a:lnTo>
                  <a:lnTo>
                    <a:pt x="1560" y="726"/>
                  </a:lnTo>
                  <a:lnTo>
                    <a:pt x="1560" y="732"/>
                  </a:lnTo>
                  <a:lnTo>
                    <a:pt x="1554" y="732"/>
                  </a:lnTo>
                  <a:lnTo>
                    <a:pt x="1554" y="738"/>
                  </a:lnTo>
                  <a:lnTo>
                    <a:pt x="1554" y="744"/>
                  </a:lnTo>
                  <a:lnTo>
                    <a:pt x="1548" y="744"/>
                  </a:lnTo>
                  <a:lnTo>
                    <a:pt x="1548" y="738"/>
                  </a:lnTo>
                  <a:lnTo>
                    <a:pt x="1542" y="738"/>
                  </a:lnTo>
                  <a:lnTo>
                    <a:pt x="1542" y="744"/>
                  </a:lnTo>
                  <a:lnTo>
                    <a:pt x="1542" y="750"/>
                  </a:lnTo>
                  <a:lnTo>
                    <a:pt x="1494" y="804"/>
                  </a:lnTo>
                  <a:lnTo>
                    <a:pt x="1446" y="876"/>
                  </a:lnTo>
                  <a:lnTo>
                    <a:pt x="1440" y="876"/>
                  </a:lnTo>
                  <a:lnTo>
                    <a:pt x="1434" y="876"/>
                  </a:lnTo>
                  <a:lnTo>
                    <a:pt x="1428" y="882"/>
                  </a:lnTo>
                  <a:lnTo>
                    <a:pt x="1422" y="882"/>
                  </a:lnTo>
                  <a:lnTo>
                    <a:pt x="1386" y="924"/>
                  </a:lnTo>
                  <a:lnTo>
                    <a:pt x="1362" y="954"/>
                  </a:lnTo>
                  <a:lnTo>
                    <a:pt x="1356" y="984"/>
                  </a:lnTo>
                  <a:lnTo>
                    <a:pt x="1362" y="1002"/>
                  </a:lnTo>
                  <a:lnTo>
                    <a:pt x="1368" y="1020"/>
                  </a:lnTo>
                  <a:lnTo>
                    <a:pt x="1386" y="1056"/>
                  </a:lnTo>
                  <a:lnTo>
                    <a:pt x="1404" y="1074"/>
                  </a:lnTo>
                  <a:lnTo>
                    <a:pt x="1416" y="1080"/>
                  </a:lnTo>
                  <a:lnTo>
                    <a:pt x="1416" y="1086"/>
                  </a:lnTo>
                  <a:lnTo>
                    <a:pt x="1422" y="1098"/>
                  </a:lnTo>
                  <a:lnTo>
                    <a:pt x="1422" y="1110"/>
                  </a:lnTo>
                  <a:lnTo>
                    <a:pt x="1428" y="1116"/>
                  </a:lnTo>
                  <a:lnTo>
                    <a:pt x="1434" y="1116"/>
                  </a:lnTo>
                  <a:lnTo>
                    <a:pt x="1434" y="1122"/>
                  </a:lnTo>
                  <a:lnTo>
                    <a:pt x="1434" y="1128"/>
                  </a:lnTo>
                  <a:lnTo>
                    <a:pt x="1440" y="1134"/>
                  </a:lnTo>
                  <a:lnTo>
                    <a:pt x="1446" y="1134"/>
                  </a:lnTo>
                  <a:lnTo>
                    <a:pt x="1458" y="1134"/>
                  </a:lnTo>
                  <a:lnTo>
                    <a:pt x="1458" y="1140"/>
                  </a:lnTo>
                  <a:lnTo>
                    <a:pt x="1464" y="1134"/>
                  </a:lnTo>
                  <a:lnTo>
                    <a:pt x="1470" y="1134"/>
                  </a:lnTo>
                  <a:lnTo>
                    <a:pt x="1464" y="1128"/>
                  </a:lnTo>
                  <a:lnTo>
                    <a:pt x="1464" y="1122"/>
                  </a:lnTo>
                  <a:lnTo>
                    <a:pt x="1470" y="1116"/>
                  </a:lnTo>
                  <a:lnTo>
                    <a:pt x="1470" y="1122"/>
                  </a:lnTo>
                  <a:lnTo>
                    <a:pt x="1476" y="1122"/>
                  </a:lnTo>
                  <a:lnTo>
                    <a:pt x="1476" y="1116"/>
                  </a:lnTo>
                  <a:lnTo>
                    <a:pt x="1482" y="1110"/>
                  </a:lnTo>
                  <a:lnTo>
                    <a:pt x="1476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82" y="1086"/>
                  </a:lnTo>
                  <a:lnTo>
                    <a:pt x="1482" y="1074"/>
                  </a:lnTo>
                  <a:lnTo>
                    <a:pt x="1488" y="1068"/>
                  </a:lnTo>
                  <a:lnTo>
                    <a:pt x="1488" y="1062"/>
                  </a:lnTo>
                  <a:lnTo>
                    <a:pt x="1494" y="1062"/>
                  </a:lnTo>
                  <a:lnTo>
                    <a:pt x="1500" y="1062"/>
                  </a:lnTo>
                  <a:lnTo>
                    <a:pt x="1506" y="1062"/>
                  </a:lnTo>
                  <a:lnTo>
                    <a:pt x="1506" y="1056"/>
                  </a:lnTo>
                  <a:lnTo>
                    <a:pt x="1506" y="1062"/>
                  </a:lnTo>
                  <a:lnTo>
                    <a:pt x="1518" y="1062"/>
                  </a:lnTo>
                  <a:lnTo>
                    <a:pt x="1524" y="1062"/>
                  </a:lnTo>
                  <a:lnTo>
                    <a:pt x="1530" y="1062"/>
                  </a:lnTo>
                  <a:lnTo>
                    <a:pt x="1536" y="1068"/>
                  </a:lnTo>
                  <a:lnTo>
                    <a:pt x="1536" y="1074"/>
                  </a:lnTo>
                  <a:lnTo>
                    <a:pt x="1542" y="1086"/>
                  </a:lnTo>
                  <a:lnTo>
                    <a:pt x="1548" y="1086"/>
                  </a:lnTo>
                  <a:lnTo>
                    <a:pt x="1554" y="1086"/>
                  </a:lnTo>
                  <a:lnTo>
                    <a:pt x="1566" y="1098"/>
                  </a:lnTo>
                  <a:lnTo>
                    <a:pt x="1572" y="1104"/>
                  </a:lnTo>
                  <a:lnTo>
                    <a:pt x="1566" y="1110"/>
                  </a:lnTo>
                  <a:lnTo>
                    <a:pt x="1572" y="1116"/>
                  </a:lnTo>
                  <a:lnTo>
                    <a:pt x="1578" y="1116"/>
                  </a:lnTo>
                  <a:lnTo>
                    <a:pt x="1578" y="1122"/>
                  </a:lnTo>
                  <a:lnTo>
                    <a:pt x="1584" y="1122"/>
                  </a:lnTo>
                  <a:lnTo>
                    <a:pt x="1584" y="1128"/>
                  </a:lnTo>
                  <a:lnTo>
                    <a:pt x="1584" y="1134"/>
                  </a:lnTo>
                  <a:lnTo>
                    <a:pt x="1590" y="1134"/>
                  </a:lnTo>
                  <a:lnTo>
                    <a:pt x="1596" y="1140"/>
                  </a:lnTo>
                  <a:lnTo>
                    <a:pt x="1602" y="1146"/>
                  </a:lnTo>
                  <a:lnTo>
                    <a:pt x="1608" y="1146"/>
                  </a:lnTo>
                  <a:lnTo>
                    <a:pt x="1614" y="1146"/>
                  </a:lnTo>
                  <a:lnTo>
                    <a:pt x="1614" y="1152"/>
                  </a:lnTo>
                  <a:lnTo>
                    <a:pt x="1620" y="1152"/>
                  </a:lnTo>
                  <a:lnTo>
                    <a:pt x="1626" y="1164"/>
                  </a:lnTo>
                  <a:lnTo>
                    <a:pt x="1632" y="1170"/>
                  </a:lnTo>
                  <a:lnTo>
                    <a:pt x="1638" y="1176"/>
                  </a:lnTo>
                  <a:lnTo>
                    <a:pt x="1638" y="1182"/>
                  </a:lnTo>
                  <a:lnTo>
                    <a:pt x="1644" y="1194"/>
                  </a:lnTo>
                  <a:lnTo>
                    <a:pt x="1644" y="1200"/>
                  </a:lnTo>
                  <a:lnTo>
                    <a:pt x="1638" y="1200"/>
                  </a:lnTo>
                  <a:lnTo>
                    <a:pt x="1638" y="1206"/>
                  </a:lnTo>
                  <a:lnTo>
                    <a:pt x="1638" y="1212"/>
                  </a:lnTo>
                  <a:lnTo>
                    <a:pt x="1638" y="1218"/>
                  </a:lnTo>
                  <a:lnTo>
                    <a:pt x="1632" y="1242"/>
                  </a:lnTo>
                  <a:lnTo>
                    <a:pt x="1632" y="1266"/>
                  </a:lnTo>
                  <a:lnTo>
                    <a:pt x="1638" y="1284"/>
                  </a:lnTo>
                  <a:lnTo>
                    <a:pt x="1638" y="1296"/>
                  </a:lnTo>
                  <a:lnTo>
                    <a:pt x="1632" y="1296"/>
                  </a:lnTo>
                  <a:lnTo>
                    <a:pt x="1632" y="1302"/>
                  </a:lnTo>
                  <a:lnTo>
                    <a:pt x="1638" y="1314"/>
                  </a:lnTo>
                  <a:lnTo>
                    <a:pt x="1638" y="1320"/>
                  </a:lnTo>
                  <a:lnTo>
                    <a:pt x="1632" y="1320"/>
                  </a:lnTo>
                  <a:lnTo>
                    <a:pt x="1632" y="1326"/>
                  </a:lnTo>
                  <a:lnTo>
                    <a:pt x="1644" y="1332"/>
                  </a:lnTo>
                  <a:lnTo>
                    <a:pt x="1644" y="1338"/>
                  </a:lnTo>
                  <a:lnTo>
                    <a:pt x="1650" y="1344"/>
                  </a:lnTo>
                  <a:lnTo>
                    <a:pt x="1668" y="1362"/>
                  </a:lnTo>
                  <a:lnTo>
                    <a:pt x="1668" y="1368"/>
                  </a:lnTo>
                  <a:lnTo>
                    <a:pt x="1674" y="1392"/>
                  </a:lnTo>
                  <a:lnTo>
                    <a:pt x="1686" y="140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2" name="Freeform 17">
              <a:extLst>
                <a:ext uri="{FF2B5EF4-FFF2-40B4-BE49-F238E27FC236}">
                  <a16:creationId xmlns:a16="http://schemas.microsoft.com/office/drawing/2014/main" id="{9F9DF7AF-2203-4CCB-AF1B-32CDAF87CC5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416927"/>
              <a:ext cx="816209" cy="574781"/>
            </a:xfrm>
            <a:custGeom>
              <a:avLst/>
              <a:gdLst>
                <a:gd name="T0" fmla="*/ 115 w 1536"/>
                <a:gd name="T1" fmla="*/ 89 h 1080"/>
                <a:gd name="T2" fmla="*/ 113 w 1536"/>
                <a:gd name="T3" fmla="*/ 92 h 1080"/>
                <a:gd name="T4" fmla="*/ 107 w 1536"/>
                <a:gd name="T5" fmla="*/ 93 h 1080"/>
                <a:gd name="T6" fmla="*/ 108 w 1536"/>
                <a:gd name="T7" fmla="*/ 90 h 1080"/>
                <a:gd name="T8" fmla="*/ 105 w 1536"/>
                <a:gd name="T9" fmla="*/ 87 h 1080"/>
                <a:gd name="T10" fmla="*/ 102 w 1536"/>
                <a:gd name="T11" fmla="*/ 85 h 1080"/>
                <a:gd name="T12" fmla="*/ 89 w 1536"/>
                <a:gd name="T13" fmla="*/ 80 h 1080"/>
                <a:gd name="T14" fmla="*/ 85 w 1536"/>
                <a:gd name="T15" fmla="*/ 82 h 1080"/>
                <a:gd name="T16" fmla="*/ 82 w 1536"/>
                <a:gd name="T17" fmla="*/ 80 h 1080"/>
                <a:gd name="T18" fmla="*/ 80 w 1536"/>
                <a:gd name="T19" fmla="*/ 75 h 1080"/>
                <a:gd name="T20" fmla="*/ 75 w 1536"/>
                <a:gd name="T21" fmla="*/ 72 h 1080"/>
                <a:gd name="T22" fmla="*/ 61 w 1536"/>
                <a:gd name="T23" fmla="*/ 70 h 1080"/>
                <a:gd name="T24" fmla="*/ 62 w 1536"/>
                <a:gd name="T25" fmla="*/ 72 h 1080"/>
                <a:gd name="T26" fmla="*/ 58 w 1536"/>
                <a:gd name="T27" fmla="*/ 75 h 1080"/>
                <a:gd name="T28" fmla="*/ 49 w 1536"/>
                <a:gd name="T29" fmla="*/ 76 h 1080"/>
                <a:gd name="T30" fmla="*/ 41 w 1536"/>
                <a:gd name="T31" fmla="*/ 79 h 1080"/>
                <a:gd name="T32" fmla="*/ 41 w 1536"/>
                <a:gd name="T33" fmla="*/ 77 h 1080"/>
                <a:gd name="T34" fmla="*/ 39 w 1536"/>
                <a:gd name="T35" fmla="*/ 74 h 1080"/>
                <a:gd name="T36" fmla="*/ 28 w 1536"/>
                <a:gd name="T37" fmla="*/ 78 h 1080"/>
                <a:gd name="T38" fmla="*/ 18 w 1536"/>
                <a:gd name="T39" fmla="*/ 85 h 1080"/>
                <a:gd name="T40" fmla="*/ 18 w 1536"/>
                <a:gd name="T41" fmla="*/ 77 h 1080"/>
                <a:gd name="T42" fmla="*/ 19 w 1536"/>
                <a:gd name="T43" fmla="*/ 69 h 1080"/>
                <a:gd name="T44" fmla="*/ 16 w 1536"/>
                <a:gd name="T45" fmla="*/ 69 h 1080"/>
                <a:gd name="T46" fmla="*/ 11 w 1536"/>
                <a:gd name="T47" fmla="*/ 69 h 1080"/>
                <a:gd name="T48" fmla="*/ 5 w 1536"/>
                <a:gd name="T49" fmla="*/ 68 h 1080"/>
                <a:gd name="T50" fmla="*/ 1 w 1536"/>
                <a:gd name="T51" fmla="*/ 63 h 1080"/>
                <a:gd name="T52" fmla="*/ 3 w 1536"/>
                <a:gd name="T53" fmla="*/ 59 h 1080"/>
                <a:gd name="T54" fmla="*/ 9 w 1536"/>
                <a:gd name="T55" fmla="*/ 54 h 1080"/>
                <a:gd name="T56" fmla="*/ 15 w 1536"/>
                <a:gd name="T57" fmla="*/ 47 h 1080"/>
                <a:gd name="T58" fmla="*/ 17 w 1536"/>
                <a:gd name="T59" fmla="*/ 40 h 1080"/>
                <a:gd name="T60" fmla="*/ 12 w 1536"/>
                <a:gd name="T61" fmla="*/ 33 h 1080"/>
                <a:gd name="T62" fmla="*/ 10 w 1536"/>
                <a:gd name="T63" fmla="*/ 21 h 1080"/>
                <a:gd name="T64" fmla="*/ 6 w 1536"/>
                <a:gd name="T65" fmla="*/ 14 h 1080"/>
                <a:gd name="T66" fmla="*/ 7 w 1536"/>
                <a:gd name="T67" fmla="*/ 9 h 1080"/>
                <a:gd name="T68" fmla="*/ 12 w 1536"/>
                <a:gd name="T69" fmla="*/ 7 h 1080"/>
                <a:gd name="T70" fmla="*/ 16 w 1536"/>
                <a:gd name="T71" fmla="*/ 8 h 1080"/>
                <a:gd name="T72" fmla="*/ 19 w 1536"/>
                <a:gd name="T73" fmla="*/ 8 h 1080"/>
                <a:gd name="T74" fmla="*/ 22 w 1536"/>
                <a:gd name="T75" fmla="*/ 9 h 1080"/>
                <a:gd name="T76" fmla="*/ 29 w 1536"/>
                <a:gd name="T77" fmla="*/ 12 h 1080"/>
                <a:gd name="T78" fmla="*/ 33 w 1536"/>
                <a:gd name="T79" fmla="*/ 13 h 1080"/>
                <a:gd name="T80" fmla="*/ 38 w 1536"/>
                <a:gd name="T81" fmla="*/ 15 h 1080"/>
                <a:gd name="T82" fmla="*/ 42 w 1536"/>
                <a:gd name="T83" fmla="*/ 17 h 1080"/>
                <a:gd name="T84" fmla="*/ 47 w 1536"/>
                <a:gd name="T85" fmla="*/ 19 h 1080"/>
                <a:gd name="T86" fmla="*/ 51 w 1536"/>
                <a:gd name="T87" fmla="*/ 21 h 1080"/>
                <a:gd name="T88" fmla="*/ 50 w 1536"/>
                <a:gd name="T89" fmla="*/ 15 h 1080"/>
                <a:gd name="T90" fmla="*/ 56 w 1536"/>
                <a:gd name="T91" fmla="*/ 0 h 1080"/>
                <a:gd name="T92" fmla="*/ 74 w 1536"/>
                <a:gd name="T93" fmla="*/ 5 h 1080"/>
                <a:gd name="T94" fmla="*/ 87 w 1536"/>
                <a:gd name="T95" fmla="*/ 6 h 1080"/>
                <a:gd name="T96" fmla="*/ 92 w 1536"/>
                <a:gd name="T97" fmla="*/ 11 h 1080"/>
                <a:gd name="T98" fmla="*/ 95 w 1536"/>
                <a:gd name="T99" fmla="*/ 15 h 1080"/>
                <a:gd name="T100" fmla="*/ 93 w 1536"/>
                <a:gd name="T101" fmla="*/ 20 h 1080"/>
                <a:gd name="T102" fmla="*/ 108 w 1536"/>
                <a:gd name="T103" fmla="*/ 18 h 1080"/>
                <a:gd name="T104" fmla="*/ 120 w 1536"/>
                <a:gd name="T105" fmla="*/ 21 h 1080"/>
                <a:gd name="T106" fmla="*/ 127 w 1536"/>
                <a:gd name="T107" fmla="*/ 29 h 1080"/>
                <a:gd name="T108" fmla="*/ 130 w 1536"/>
                <a:gd name="T109" fmla="*/ 30 h 1080"/>
                <a:gd name="T110" fmla="*/ 130 w 1536"/>
                <a:gd name="T111" fmla="*/ 49 h 1080"/>
                <a:gd name="T112" fmla="*/ 120 w 1536"/>
                <a:gd name="T113" fmla="*/ 69 h 1080"/>
                <a:gd name="T114" fmla="*/ 119 w 1536"/>
                <a:gd name="T115" fmla="*/ 74 h 1080"/>
                <a:gd name="T116" fmla="*/ 118 w 1536"/>
                <a:gd name="T117" fmla="*/ 80 h 108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536"/>
                <a:gd name="T178" fmla="*/ 0 h 1080"/>
                <a:gd name="T179" fmla="*/ 1536 w 1536"/>
                <a:gd name="T180" fmla="*/ 1080 h 108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536" h="1080">
                  <a:moveTo>
                    <a:pt x="1350" y="1020"/>
                  </a:moveTo>
                  <a:lnTo>
                    <a:pt x="1350" y="1026"/>
                  </a:lnTo>
                  <a:lnTo>
                    <a:pt x="1344" y="1026"/>
                  </a:lnTo>
                  <a:lnTo>
                    <a:pt x="1338" y="1032"/>
                  </a:lnTo>
                  <a:lnTo>
                    <a:pt x="1332" y="1026"/>
                  </a:lnTo>
                  <a:lnTo>
                    <a:pt x="1326" y="1026"/>
                  </a:lnTo>
                  <a:lnTo>
                    <a:pt x="1320" y="1020"/>
                  </a:lnTo>
                  <a:lnTo>
                    <a:pt x="1314" y="1026"/>
                  </a:lnTo>
                  <a:lnTo>
                    <a:pt x="1314" y="1032"/>
                  </a:lnTo>
                  <a:lnTo>
                    <a:pt x="1308" y="1038"/>
                  </a:lnTo>
                  <a:lnTo>
                    <a:pt x="1308" y="1044"/>
                  </a:lnTo>
                  <a:lnTo>
                    <a:pt x="1308" y="1050"/>
                  </a:lnTo>
                  <a:lnTo>
                    <a:pt x="1308" y="1056"/>
                  </a:lnTo>
                  <a:lnTo>
                    <a:pt x="1308" y="1062"/>
                  </a:lnTo>
                  <a:lnTo>
                    <a:pt x="1296" y="1068"/>
                  </a:lnTo>
                  <a:lnTo>
                    <a:pt x="1284" y="1074"/>
                  </a:lnTo>
                  <a:lnTo>
                    <a:pt x="1272" y="1080"/>
                  </a:lnTo>
                  <a:lnTo>
                    <a:pt x="1260" y="1080"/>
                  </a:lnTo>
                  <a:lnTo>
                    <a:pt x="1254" y="1074"/>
                  </a:lnTo>
                  <a:lnTo>
                    <a:pt x="1236" y="1074"/>
                  </a:lnTo>
                  <a:lnTo>
                    <a:pt x="1230" y="1074"/>
                  </a:lnTo>
                  <a:lnTo>
                    <a:pt x="1236" y="1074"/>
                  </a:lnTo>
                  <a:lnTo>
                    <a:pt x="1236" y="1068"/>
                  </a:lnTo>
                  <a:lnTo>
                    <a:pt x="1236" y="1062"/>
                  </a:lnTo>
                  <a:lnTo>
                    <a:pt x="1236" y="1056"/>
                  </a:lnTo>
                  <a:lnTo>
                    <a:pt x="1242" y="1050"/>
                  </a:lnTo>
                  <a:lnTo>
                    <a:pt x="1242" y="1044"/>
                  </a:lnTo>
                  <a:lnTo>
                    <a:pt x="1242" y="1038"/>
                  </a:lnTo>
                  <a:lnTo>
                    <a:pt x="1248" y="1032"/>
                  </a:lnTo>
                  <a:lnTo>
                    <a:pt x="1236" y="1026"/>
                  </a:lnTo>
                  <a:lnTo>
                    <a:pt x="1218" y="1020"/>
                  </a:lnTo>
                  <a:lnTo>
                    <a:pt x="1224" y="1014"/>
                  </a:lnTo>
                  <a:lnTo>
                    <a:pt x="1218" y="1008"/>
                  </a:lnTo>
                  <a:lnTo>
                    <a:pt x="1218" y="1002"/>
                  </a:lnTo>
                  <a:lnTo>
                    <a:pt x="1212" y="1008"/>
                  </a:lnTo>
                  <a:lnTo>
                    <a:pt x="1206" y="1002"/>
                  </a:lnTo>
                  <a:lnTo>
                    <a:pt x="1212" y="1002"/>
                  </a:lnTo>
                  <a:lnTo>
                    <a:pt x="1212" y="996"/>
                  </a:lnTo>
                  <a:lnTo>
                    <a:pt x="1200" y="990"/>
                  </a:lnTo>
                  <a:lnTo>
                    <a:pt x="1200" y="984"/>
                  </a:lnTo>
                  <a:lnTo>
                    <a:pt x="1188" y="984"/>
                  </a:lnTo>
                  <a:lnTo>
                    <a:pt x="1176" y="978"/>
                  </a:lnTo>
                  <a:lnTo>
                    <a:pt x="1164" y="960"/>
                  </a:lnTo>
                  <a:lnTo>
                    <a:pt x="1152" y="936"/>
                  </a:lnTo>
                  <a:lnTo>
                    <a:pt x="1146" y="936"/>
                  </a:lnTo>
                  <a:lnTo>
                    <a:pt x="1128" y="900"/>
                  </a:lnTo>
                  <a:lnTo>
                    <a:pt x="1038" y="912"/>
                  </a:lnTo>
                  <a:lnTo>
                    <a:pt x="1038" y="918"/>
                  </a:lnTo>
                  <a:lnTo>
                    <a:pt x="1032" y="924"/>
                  </a:lnTo>
                  <a:lnTo>
                    <a:pt x="1026" y="918"/>
                  </a:lnTo>
                  <a:lnTo>
                    <a:pt x="1020" y="924"/>
                  </a:lnTo>
                  <a:lnTo>
                    <a:pt x="1008" y="936"/>
                  </a:lnTo>
                  <a:lnTo>
                    <a:pt x="990" y="936"/>
                  </a:lnTo>
                  <a:lnTo>
                    <a:pt x="990" y="942"/>
                  </a:lnTo>
                  <a:lnTo>
                    <a:pt x="996" y="942"/>
                  </a:lnTo>
                  <a:lnTo>
                    <a:pt x="984" y="948"/>
                  </a:lnTo>
                  <a:lnTo>
                    <a:pt x="972" y="948"/>
                  </a:lnTo>
                  <a:lnTo>
                    <a:pt x="960" y="948"/>
                  </a:lnTo>
                  <a:lnTo>
                    <a:pt x="948" y="942"/>
                  </a:lnTo>
                  <a:lnTo>
                    <a:pt x="948" y="936"/>
                  </a:lnTo>
                  <a:lnTo>
                    <a:pt x="942" y="936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30" y="924"/>
                  </a:lnTo>
                  <a:lnTo>
                    <a:pt x="936" y="918"/>
                  </a:lnTo>
                  <a:lnTo>
                    <a:pt x="918" y="918"/>
                  </a:lnTo>
                  <a:lnTo>
                    <a:pt x="918" y="900"/>
                  </a:lnTo>
                  <a:lnTo>
                    <a:pt x="924" y="900"/>
                  </a:lnTo>
                  <a:lnTo>
                    <a:pt x="924" y="894"/>
                  </a:lnTo>
                  <a:lnTo>
                    <a:pt x="924" y="870"/>
                  </a:lnTo>
                  <a:lnTo>
                    <a:pt x="924" y="864"/>
                  </a:lnTo>
                  <a:lnTo>
                    <a:pt x="918" y="858"/>
                  </a:lnTo>
                  <a:lnTo>
                    <a:pt x="918" y="852"/>
                  </a:lnTo>
                  <a:lnTo>
                    <a:pt x="906" y="840"/>
                  </a:lnTo>
                  <a:lnTo>
                    <a:pt x="894" y="834"/>
                  </a:lnTo>
                  <a:lnTo>
                    <a:pt x="876" y="822"/>
                  </a:lnTo>
                  <a:lnTo>
                    <a:pt x="870" y="828"/>
                  </a:lnTo>
                  <a:lnTo>
                    <a:pt x="858" y="816"/>
                  </a:lnTo>
                  <a:lnTo>
                    <a:pt x="810" y="798"/>
                  </a:lnTo>
                  <a:lnTo>
                    <a:pt x="774" y="792"/>
                  </a:lnTo>
                  <a:lnTo>
                    <a:pt x="732" y="798"/>
                  </a:lnTo>
                  <a:lnTo>
                    <a:pt x="726" y="804"/>
                  </a:lnTo>
                  <a:lnTo>
                    <a:pt x="714" y="810"/>
                  </a:lnTo>
                  <a:lnTo>
                    <a:pt x="702" y="810"/>
                  </a:lnTo>
                  <a:lnTo>
                    <a:pt x="690" y="810"/>
                  </a:lnTo>
                  <a:lnTo>
                    <a:pt x="696" y="816"/>
                  </a:lnTo>
                  <a:lnTo>
                    <a:pt x="696" y="822"/>
                  </a:lnTo>
                  <a:lnTo>
                    <a:pt x="702" y="822"/>
                  </a:lnTo>
                  <a:lnTo>
                    <a:pt x="708" y="822"/>
                  </a:lnTo>
                  <a:lnTo>
                    <a:pt x="708" y="828"/>
                  </a:lnTo>
                  <a:lnTo>
                    <a:pt x="708" y="834"/>
                  </a:lnTo>
                  <a:lnTo>
                    <a:pt x="714" y="834"/>
                  </a:lnTo>
                  <a:lnTo>
                    <a:pt x="708" y="846"/>
                  </a:lnTo>
                  <a:lnTo>
                    <a:pt x="708" y="852"/>
                  </a:lnTo>
                  <a:lnTo>
                    <a:pt x="702" y="852"/>
                  </a:lnTo>
                  <a:lnTo>
                    <a:pt x="696" y="858"/>
                  </a:lnTo>
                  <a:lnTo>
                    <a:pt x="690" y="864"/>
                  </a:lnTo>
                  <a:lnTo>
                    <a:pt x="666" y="870"/>
                  </a:lnTo>
                  <a:lnTo>
                    <a:pt x="660" y="876"/>
                  </a:lnTo>
                  <a:lnTo>
                    <a:pt x="642" y="876"/>
                  </a:lnTo>
                  <a:lnTo>
                    <a:pt x="606" y="882"/>
                  </a:lnTo>
                  <a:lnTo>
                    <a:pt x="588" y="882"/>
                  </a:lnTo>
                  <a:lnTo>
                    <a:pt x="582" y="876"/>
                  </a:lnTo>
                  <a:lnTo>
                    <a:pt x="576" y="876"/>
                  </a:lnTo>
                  <a:lnTo>
                    <a:pt x="564" y="876"/>
                  </a:lnTo>
                  <a:lnTo>
                    <a:pt x="552" y="882"/>
                  </a:lnTo>
                  <a:lnTo>
                    <a:pt x="540" y="894"/>
                  </a:lnTo>
                  <a:lnTo>
                    <a:pt x="534" y="906"/>
                  </a:lnTo>
                  <a:lnTo>
                    <a:pt x="528" y="912"/>
                  </a:lnTo>
                  <a:lnTo>
                    <a:pt x="516" y="924"/>
                  </a:lnTo>
                  <a:lnTo>
                    <a:pt x="486" y="930"/>
                  </a:lnTo>
                  <a:lnTo>
                    <a:pt x="474" y="912"/>
                  </a:lnTo>
                  <a:lnTo>
                    <a:pt x="474" y="906"/>
                  </a:lnTo>
                  <a:lnTo>
                    <a:pt x="468" y="906"/>
                  </a:lnTo>
                  <a:lnTo>
                    <a:pt x="468" y="900"/>
                  </a:lnTo>
                  <a:lnTo>
                    <a:pt x="462" y="894"/>
                  </a:lnTo>
                  <a:lnTo>
                    <a:pt x="456" y="894"/>
                  </a:lnTo>
                  <a:lnTo>
                    <a:pt x="462" y="888"/>
                  </a:lnTo>
                  <a:lnTo>
                    <a:pt x="468" y="888"/>
                  </a:lnTo>
                  <a:lnTo>
                    <a:pt x="462" y="882"/>
                  </a:lnTo>
                  <a:lnTo>
                    <a:pt x="462" y="876"/>
                  </a:lnTo>
                  <a:lnTo>
                    <a:pt x="456" y="870"/>
                  </a:lnTo>
                  <a:lnTo>
                    <a:pt x="456" y="864"/>
                  </a:lnTo>
                  <a:lnTo>
                    <a:pt x="450" y="858"/>
                  </a:lnTo>
                  <a:lnTo>
                    <a:pt x="444" y="858"/>
                  </a:lnTo>
                  <a:lnTo>
                    <a:pt x="444" y="852"/>
                  </a:lnTo>
                  <a:lnTo>
                    <a:pt x="438" y="852"/>
                  </a:lnTo>
                  <a:lnTo>
                    <a:pt x="438" y="858"/>
                  </a:lnTo>
                  <a:lnTo>
                    <a:pt x="402" y="870"/>
                  </a:lnTo>
                  <a:lnTo>
                    <a:pt x="390" y="882"/>
                  </a:lnTo>
                  <a:lnTo>
                    <a:pt x="384" y="900"/>
                  </a:lnTo>
                  <a:lnTo>
                    <a:pt x="342" y="900"/>
                  </a:lnTo>
                  <a:lnTo>
                    <a:pt x="324" y="900"/>
                  </a:lnTo>
                  <a:lnTo>
                    <a:pt x="294" y="906"/>
                  </a:lnTo>
                  <a:lnTo>
                    <a:pt x="282" y="948"/>
                  </a:lnTo>
                  <a:lnTo>
                    <a:pt x="282" y="978"/>
                  </a:lnTo>
                  <a:lnTo>
                    <a:pt x="270" y="1008"/>
                  </a:lnTo>
                  <a:lnTo>
                    <a:pt x="240" y="1014"/>
                  </a:lnTo>
                  <a:lnTo>
                    <a:pt x="216" y="996"/>
                  </a:lnTo>
                  <a:lnTo>
                    <a:pt x="204" y="984"/>
                  </a:lnTo>
                  <a:lnTo>
                    <a:pt x="192" y="966"/>
                  </a:lnTo>
                  <a:lnTo>
                    <a:pt x="186" y="948"/>
                  </a:lnTo>
                  <a:lnTo>
                    <a:pt x="174" y="948"/>
                  </a:lnTo>
                  <a:lnTo>
                    <a:pt x="174" y="936"/>
                  </a:lnTo>
                  <a:lnTo>
                    <a:pt x="186" y="924"/>
                  </a:lnTo>
                  <a:lnTo>
                    <a:pt x="198" y="906"/>
                  </a:lnTo>
                  <a:lnTo>
                    <a:pt x="204" y="888"/>
                  </a:lnTo>
                  <a:lnTo>
                    <a:pt x="222" y="870"/>
                  </a:lnTo>
                  <a:lnTo>
                    <a:pt x="234" y="858"/>
                  </a:lnTo>
                  <a:lnTo>
                    <a:pt x="234" y="852"/>
                  </a:lnTo>
                  <a:lnTo>
                    <a:pt x="222" y="852"/>
                  </a:lnTo>
                  <a:lnTo>
                    <a:pt x="228" y="810"/>
                  </a:lnTo>
                  <a:lnTo>
                    <a:pt x="222" y="798"/>
                  </a:lnTo>
                  <a:lnTo>
                    <a:pt x="216" y="798"/>
                  </a:lnTo>
                  <a:lnTo>
                    <a:pt x="216" y="792"/>
                  </a:lnTo>
                  <a:lnTo>
                    <a:pt x="210" y="792"/>
                  </a:lnTo>
                  <a:lnTo>
                    <a:pt x="204" y="798"/>
                  </a:lnTo>
                  <a:lnTo>
                    <a:pt x="204" y="792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0" y="786"/>
                  </a:lnTo>
                  <a:lnTo>
                    <a:pt x="174" y="792"/>
                  </a:lnTo>
                  <a:lnTo>
                    <a:pt x="162" y="792"/>
                  </a:lnTo>
                  <a:lnTo>
                    <a:pt x="156" y="792"/>
                  </a:lnTo>
                  <a:lnTo>
                    <a:pt x="156" y="798"/>
                  </a:lnTo>
                  <a:lnTo>
                    <a:pt x="138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6" y="804"/>
                  </a:lnTo>
                  <a:lnTo>
                    <a:pt x="102" y="810"/>
                  </a:lnTo>
                  <a:lnTo>
                    <a:pt x="90" y="810"/>
                  </a:lnTo>
                  <a:lnTo>
                    <a:pt x="72" y="798"/>
                  </a:lnTo>
                  <a:lnTo>
                    <a:pt x="66" y="780"/>
                  </a:lnTo>
                  <a:lnTo>
                    <a:pt x="60" y="780"/>
                  </a:lnTo>
                  <a:lnTo>
                    <a:pt x="60" y="768"/>
                  </a:lnTo>
                  <a:lnTo>
                    <a:pt x="54" y="768"/>
                  </a:lnTo>
                  <a:lnTo>
                    <a:pt x="24" y="756"/>
                  </a:lnTo>
                  <a:lnTo>
                    <a:pt x="18" y="744"/>
                  </a:lnTo>
                  <a:lnTo>
                    <a:pt x="12" y="738"/>
                  </a:lnTo>
                  <a:lnTo>
                    <a:pt x="18" y="732"/>
                  </a:lnTo>
                  <a:lnTo>
                    <a:pt x="12" y="726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8" y="696"/>
                  </a:lnTo>
                  <a:lnTo>
                    <a:pt x="24" y="708"/>
                  </a:lnTo>
                  <a:lnTo>
                    <a:pt x="36" y="702"/>
                  </a:lnTo>
                  <a:lnTo>
                    <a:pt x="36" y="678"/>
                  </a:lnTo>
                  <a:lnTo>
                    <a:pt x="36" y="660"/>
                  </a:lnTo>
                  <a:lnTo>
                    <a:pt x="42" y="654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72" y="624"/>
                  </a:lnTo>
                  <a:lnTo>
                    <a:pt x="90" y="618"/>
                  </a:lnTo>
                  <a:lnTo>
                    <a:pt x="102" y="618"/>
                  </a:lnTo>
                  <a:lnTo>
                    <a:pt x="114" y="612"/>
                  </a:lnTo>
                  <a:lnTo>
                    <a:pt x="138" y="606"/>
                  </a:lnTo>
                  <a:lnTo>
                    <a:pt x="144" y="606"/>
                  </a:lnTo>
                  <a:lnTo>
                    <a:pt x="150" y="594"/>
                  </a:lnTo>
                  <a:lnTo>
                    <a:pt x="156" y="576"/>
                  </a:lnTo>
                  <a:lnTo>
                    <a:pt x="168" y="552"/>
                  </a:lnTo>
                  <a:lnTo>
                    <a:pt x="168" y="540"/>
                  </a:lnTo>
                  <a:lnTo>
                    <a:pt x="180" y="522"/>
                  </a:lnTo>
                  <a:lnTo>
                    <a:pt x="186" y="498"/>
                  </a:lnTo>
                  <a:lnTo>
                    <a:pt x="198" y="480"/>
                  </a:lnTo>
                  <a:lnTo>
                    <a:pt x="204" y="486"/>
                  </a:lnTo>
                  <a:lnTo>
                    <a:pt x="210" y="480"/>
                  </a:lnTo>
                  <a:lnTo>
                    <a:pt x="204" y="474"/>
                  </a:lnTo>
                  <a:lnTo>
                    <a:pt x="198" y="462"/>
                  </a:lnTo>
                  <a:lnTo>
                    <a:pt x="192" y="456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50"/>
                  </a:lnTo>
                  <a:lnTo>
                    <a:pt x="132" y="426"/>
                  </a:lnTo>
                  <a:lnTo>
                    <a:pt x="132" y="396"/>
                  </a:lnTo>
                  <a:lnTo>
                    <a:pt x="132" y="378"/>
                  </a:lnTo>
                  <a:lnTo>
                    <a:pt x="126" y="348"/>
                  </a:lnTo>
                  <a:lnTo>
                    <a:pt x="132" y="312"/>
                  </a:lnTo>
                  <a:lnTo>
                    <a:pt x="126" y="288"/>
                  </a:lnTo>
                  <a:lnTo>
                    <a:pt x="138" y="282"/>
                  </a:lnTo>
                  <a:lnTo>
                    <a:pt x="126" y="264"/>
                  </a:lnTo>
                  <a:lnTo>
                    <a:pt x="126" y="258"/>
                  </a:lnTo>
                  <a:lnTo>
                    <a:pt x="120" y="246"/>
                  </a:lnTo>
                  <a:lnTo>
                    <a:pt x="126" y="234"/>
                  </a:lnTo>
                  <a:lnTo>
                    <a:pt x="114" y="228"/>
                  </a:lnTo>
                  <a:lnTo>
                    <a:pt x="114" y="222"/>
                  </a:lnTo>
                  <a:lnTo>
                    <a:pt x="96" y="204"/>
                  </a:lnTo>
                  <a:lnTo>
                    <a:pt x="84" y="180"/>
                  </a:lnTo>
                  <a:lnTo>
                    <a:pt x="78" y="168"/>
                  </a:lnTo>
                  <a:lnTo>
                    <a:pt x="72" y="162"/>
                  </a:lnTo>
                  <a:lnTo>
                    <a:pt x="66" y="144"/>
                  </a:lnTo>
                  <a:lnTo>
                    <a:pt x="60" y="138"/>
                  </a:lnTo>
                  <a:lnTo>
                    <a:pt x="66" y="126"/>
                  </a:lnTo>
                  <a:lnTo>
                    <a:pt x="66" y="114"/>
                  </a:lnTo>
                  <a:lnTo>
                    <a:pt x="72" y="114"/>
                  </a:lnTo>
                  <a:lnTo>
                    <a:pt x="72" y="108"/>
                  </a:lnTo>
                  <a:lnTo>
                    <a:pt x="78" y="102"/>
                  </a:lnTo>
                  <a:lnTo>
                    <a:pt x="78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120" y="78"/>
                  </a:lnTo>
                  <a:lnTo>
                    <a:pt x="144" y="84"/>
                  </a:lnTo>
                  <a:lnTo>
                    <a:pt x="150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74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92" y="102"/>
                  </a:lnTo>
                  <a:lnTo>
                    <a:pt x="198" y="96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16" y="96"/>
                  </a:lnTo>
                  <a:lnTo>
                    <a:pt x="222" y="96"/>
                  </a:lnTo>
                  <a:lnTo>
                    <a:pt x="228" y="96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94" y="114"/>
                  </a:lnTo>
                  <a:lnTo>
                    <a:pt x="312" y="120"/>
                  </a:lnTo>
                  <a:lnTo>
                    <a:pt x="318" y="126"/>
                  </a:lnTo>
                  <a:lnTo>
                    <a:pt x="330" y="132"/>
                  </a:lnTo>
                  <a:lnTo>
                    <a:pt x="342" y="132"/>
                  </a:lnTo>
                  <a:lnTo>
                    <a:pt x="348" y="132"/>
                  </a:lnTo>
                  <a:lnTo>
                    <a:pt x="354" y="138"/>
                  </a:lnTo>
                  <a:lnTo>
                    <a:pt x="366" y="138"/>
                  </a:lnTo>
                  <a:lnTo>
                    <a:pt x="372" y="144"/>
                  </a:lnTo>
                  <a:lnTo>
                    <a:pt x="378" y="150"/>
                  </a:lnTo>
                  <a:lnTo>
                    <a:pt x="384" y="150"/>
                  </a:lnTo>
                  <a:lnTo>
                    <a:pt x="390" y="150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14" y="156"/>
                  </a:lnTo>
                  <a:lnTo>
                    <a:pt x="420" y="156"/>
                  </a:lnTo>
                  <a:lnTo>
                    <a:pt x="426" y="162"/>
                  </a:lnTo>
                  <a:lnTo>
                    <a:pt x="438" y="168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62" y="174"/>
                  </a:lnTo>
                  <a:lnTo>
                    <a:pt x="468" y="174"/>
                  </a:lnTo>
                  <a:lnTo>
                    <a:pt x="474" y="174"/>
                  </a:lnTo>
                  <a:lnTo>
                    <a:pt x="474" y="180"/>
                  </a:lnTo>
                  <a:lnTo>
                    <a:pt x="480" y="192"/>
                  </a:lnTo>
                  <a:lnTo>
                    <a:pt x="498" y="198"/>
                  </a:lnTo>
                  <a:lnTo>
                    <a:pt x="510" y="210"/>
                  </a:lnTo>
                  <a:lnTo>
                    <a:pt x="516" y="210"/>
                  </a:lnTo>
                  <a:lnTo>
                    <a:pt x="522" y="210"/>
                  </a:lnTo>
                  <a:lnTo>
                    <a:pt x="534" y="216"/>
                  </a:lnTo>
                  <a:lnTo>
                    <a:pt x="540" y="216"/>
                  </a:lnTo>
                  <a:lnTo>
                    <a:pt x="546" y="222"/>
                  </a:lnTo>
                  <a:lnTo>
                    <a:pt x="552" y="222"/>
                  </a:lnTo>
                  <a:lnTo>
                    <a:pt x="558" y="228"/>
                  </a:lnTo>
                  <a:lnTo>
                    <a:pt x="564" y="228"/>
                  </a:lnTo>
                  <a:lnTo>
                    <a:pt x="570" y="234"/>
                  </a:lnTo>
                  <a:lnTo>
                    <a:pt x="576" y="240"/>
                  </a:lnTo>
                  <a:lnTo>
                    <a:pt x="582" y="240"/>
                  </a:lnTo>
                  <a:lnTo>
                    <a:pt x="588" y="240"/>
                  </a:lnTo>
                  <a:lnTo>
                    <a:pt x="594" y="240"/>
                  </a:lnTo>
                  <a:lnTo>
                    <a:pt x="600" y="228"/>
                  </a:lnTo>
                  <a:lnTo>
                    <a:pt x="588" y="216"/>
                  </a:lnTo>
                  <a:lnTo>
                    <a:pt x="588" y="198"/>
                  </a:lnTo>
                  <a:lnTo>
                    <a:pt x="582" y="198"/>
                  </a:lnTo>
                  <a:lnTo>
                    <a:pt x="588" y="192"/>
                  </a:lnTo>
                  <a:lnTo>
                    <a:pt x="582" y="168"/>
                  </a:lnTo>
                  <a:lnTo>
                    <a:pt x="558" y="114"/>
                  </a:lnTo>
                  <a:lnTo>
                    <a:pt x="552" y="90"/>
                  </a:lnTo>
                  <a:lnTo>
                    <a:pt x="558" y="60"/>
                  </a:lnTo>
                  <a:lnTo>
                    <a:pt x="564" y="48"/>
                  </a:lnTo>
                  <a:lnTo>
                    <a:pt x="582" y="42"/>
                  </a:lnTo>
                  <a:lnTo>
                    <a:pt x="624" y="6"/>
                  </a:lnTo>
                  <a:lnTo>
                    <a:pt x="648" y="0"/>
                  </a:lnTo>
                  <a:lnTo>
                    <a:pt x="678" y="0"/>
                  </a:lnTo>
                  <a:lnTo>
                    <a:pt x="720" y="12"/>
                  </a:lnTo>
                  <a:lnTo>
                    <a:pt x="744" y="24"/>
                  </a:lnTo>
                  <a:lnTo>
                    <a:pt x="768" y="42"/>
                  </a:lnTo>
                  <a:lnTo>
                    <a:pt x="816" y="48"/>
                  </a:lnTo>
                  <a:lnTo>
                    <a:pt x="834" y="48"/>
                  </a:lnTo>
                  <a:lnTo>
                    <a:pt x="852" y="54"/>
                  </a:lnTo>
                  <a:lnTo>
                    <a:pt x="906" y="60"/>
                  </a:lnTo>
                  <a:lnTo>
                    <a:pt x="948" y="54"/>
                  </a:lnTo>
                  <a:lnTo>
                    <a:pt x="978" y="42"/>
                  </a:lnTo>
                  <a:lnTo>
                    <a:pt x="984" y="48"/>
                  </a:lnTo>
                  <a:lnTo>
                    <a:pt x="990" y="60"/>
                  </a:lnTo>
                  <a:lnTo>
                    <a:pt x="996" y="66"/>
                  </a:lnTo>
                  <a:lnTo>
                    <a:pt x="1002" y="72"/>
                  </a:lnTo>
                  <a:lnTo>
                    <a:pt x="1014" y="78"/>
                  </a:lnTo>
                  <a:lnTo>
                    <a:pt x="1014" y="84"/>
                  </a:lnTo>
                  <a:lnTo>
                    <a:pt x="1032" y="84"/>
                  </a:lnTo>
                  <a:lnTo>
                    <a:pt x="1032" y="90"/>
                  </a:lnTo>
                  <a:lnTo>
                    <a:pt x="1032" y="96"/>
                  </a:lnTo>
                  <a:lnTo>
                    <a:pt x="1032" y="108"/>
                  </a:lnTo>
                  <a:lnTo>
                    <a:pt x="1056" y="126"/>
                  </a:lnTo>
                  <a:lnTo>
                    <a:pt x="1068" y="138"/>
                  </a:lnTo>
                  <a:lnTo>
                    <a:pt x="1068" y="156"/>
                  </a:lnTo>
                  <a:lnTo>
                    <a:pt x="1080" y="150"/>
                  </a:lnTo>
                  <a:lnTo>
                    <a:pt x="1086" y="150"/>
                  </a:lnTo>
                  <a:lnTo>
                    <a:pt x="1092" y="156"/>
                  </a:lnTo>
                  <a:lnTo>
                    <a:pt x="1092" y="162"/>
                  </a:lnTo>
                  <a:lnTo>
                    <a:pt x="1092" y="168"/>
                  </a:lnTo>
                  <a:lnTo>
                    <a:pt x="1098" y="168"/>
                  </a:lnTo>
                  <a:lnTo>
                    <a:pt x="1092" y="180"/>
                  </a:lnTo>
                  <a:lnTo>
                    <a:pt x="1092" y="186"/>
                  </a:lnTo>
                  <a:lnTo>
                    <a:pt x="1086" y="192"/>
                  </a:lnTo>
                  <a:lnTo>
                    <a:pt x="1068" y="210"/>
                  </a:lnTo>
                  <a:lnTo>
                    <a:pt x="1068" y="216"/>
                  </a:lnTo>
                  <a:lnTo>
                    <a:pt x="1074" y="228"/>
                  </a:lnTo>
                  <a:lnTo>
                    <a:pt x="1092" y="234"/>
                  </a:lnTo>
                  <a:lnTo>
                    <a:pt x="1122" y="216"/>
                  </a:lnTo>
                  <a:lnTo>
                    <a:pt x="1188" y="204"/>
                  </a:lnTo>
                  <a:lnTo>
                    <a:pt x="1212" y="204"/>
                  </a:lnTo>
                  <a:lnTo>
                    <a:pt x="1230" y="198"/>
                  </a:lnTo>
                  <a:lnTo>
                    <a:pt x="1236" y="204"/>
                  </a:lnTo>
                  <a:lnTo>
                    <a:pt x="1242" y="210"/>
                  </a:lnTo>
                  <a:lnTo>
                    <a:pt x="1242" y="204"/>
                  </a:lnTo>
                  <a:lnTo>
                    <a:pt x="1248" y="198"/>
                  </a:lnTo>
                  <a:lnTo>
                    <a:pt x="1308" y="204"/>
                  </a:lnTo>
                  <a:lnTo>
                    <a:pt x="1338" y="204"/>
                  </a:lnTo>
                  <a:lnTo>
                    <a:pt x="1374" y="228"/>
                  </a:lnTo>
                  <a:lnTo>
                    <a:pt x="1380" y="234"/>
                  </a:lnTo>
                  <a:lnTo>
                    <a:pt x="1380" y="240"/>
                  </a:lnTo>
                  <a:lnTo>
                    <a:pt x="1386" y="252"/>
                  </a:lnTo>
                  <a:lnTo>
                    <a:pt x="1392" y="252"/>
                  </a:lnTo>
                  <a:lnTo>
                    <a:pt x="1416" y="270"/>
                  </a:lnTo>
                  <a:lnTo>
                    <a:pt x="1428" y="294"/>
                  </a:lnTo>
                  <a:lnTo>
                    <a:pt x="1440" y="312"/>
                  </a:lnTo>
                  <a:lnTo>
                    <a:pt x="1452" y="330"/>
                  </a:lnTo>
                  <a:lnTo>
                    <a:pt x="1464" y="330"/>
                  </a:lnTo>
                  <a:lnTo>
                    <a:pt x="1464" y="336"/>
                  </a:lnTo>
                  <a:lnTo>
                    <a:pt x="1470" y="336"/>
                  </a:lnTo>
                  <a:lnTo>
                    <a:pt x="1470" y="342"/>
                  </a:lnTo>
                  <a:lnTo>
                    <a:pt x="1476" y="342"/>
                  </a:lnTo>
                  <a:lnTo>
                    <a:pt x="1488" y="336"/>
                  </a:lnTo>
                  <a:lnTo>
                    <a:pt x="1494" y="342"/>
                  </a:lnTo>
                  <a:lnTo>
                    <a:pt x="1500" y="342"/>
                  </a:lnTo>
                  <a:lnTo>
                    <a:pt x="1512" y="366"/>
                  </a:lnTo>
                  <a:lnTo>
                    <a:pt x="1530" y="396"/>
                  </a:lnTo>
                  <a:lnTo>
                    <a:pt x="1536" y="444"/>
                  </a:lnTo>
                  <a:lnTo>
                    <a:pt x="1530" y="480"/>
                  </a:lnTo>
                  <a:lnTo>
                    <a:pt x="1506" y="510"/>
                  </a:lnTo>
                  <a:lnTo>
                    <a:pt x="1500" y="546"/>
                  </a:lnTo>
                  <a:lnTo>
                    <a:pt x="1494" y="564"/>
                  </a:lnTo>
                  <a:lnTo>
                    <a:pt x="1494" y="576"/>
                  </a:lnTo>
                  <a:lnTo>
                    <a:pt x="1500" y="582"/>
                  </a:lnTo>
                  <a:lnTo>
                    <a:pt x="1494" y="612"/>
                  </a:lnTo>
                  <a:lnTo>
                    <a:pt x="1476" y="630"/>
                  </a:lnTo>
                  <a:lnTo>
                    <a:pt x="1434" y="672"/>
                  </a:lnTo>
                  <a:lnTo>
                    <a:pt x="1392" y="756"/>
                  </a:lnTo>
                  <a:lnTo>
                    <a:pt x="1380" y="792"/>
                  </a:lnTo>
                  <a:lnTo>
                    <a:pt x="1374" y="798"/>
                  </a:lnTo>
                  <a:lnTo>
                    <a:pt x="1368" y="798"/>
                  </a:lnTo>
                  <a:lnTo>
                    <a:pt x="1380" y="804"/>
                  </a:lnTo>
                  <a:lnTo>
                    <a:pt x="1386" y="804"/>
                  </a:lnTo>
                  <a:lnTo>
                    <a:pt x="1380" y="822"/>
                  </a:lnTo>
                  <a:lnTo>
                    <a:pt x="1380" y="852"/>
                  </a:lnTo>
                  <a:lnTo>
                    <a:pt x="1374" y="858"/>
                  </a:lnTo>
                  <a:lnTo>
                    <a:pt x="1380" y="858"/>
                  </a:lnTo>
                  <a:lnTo>
                    <a:pt x="1374" y="864"/>
                  </a:lnTo>
                  <a:lnTo>
                    <a:pt x="1374" y="870"/>
                  </a:lnTo>
                  <a:lnTo>
                    <a:pt x="1374" y="876"/>
                  </a:lnTo>
                  <a:lnTo>
                    <a:pt x="1368" y="900"/>
                  </a:lnTo>
                  <a:lnTo>
                    <a:pt x="1362" y="906"/>
                  </a:lnTo>
                  <a:lnTo>
                    <a:pt x="1362" y="918"/>
                  </a:lnTo>
                  <a:lnTo>
                    <a:pt x="1362" y="924"/>
                  </a:lnTo>
                  <a:lnTo>
                    <a:pt x="1356" y="942"/>
                  </a:lnTo>
                  <a:lnTo>
                    <a:pt x="1350" y="972"/>
                  </a:lnTo>
                  <a:lnTo>
                    <a:pt x="1350" y="1014"/>
                  </a:lnTo>
                  <a:lnTo>
                    <a:pt x="1350" y="102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3" name="Freeform 18">
              <a:extLst>
                <a:ext uri="{FF2B5EF4-FFF2-40B4-BE49-F238E27FC236}">
                  <a16:creationId xmlns:a16="http://schemas.microsoft.com/office/drawing/2014/main" id="{EC11F2E0-3C06-46E2-8AD2-66EBE00FFE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32346" y="3837389"/>
              <a:ext cx="556811" cy="818559"/>
            </a:xfrm>
            <a:custGeom>
              <a:avLst/>
              <a:gdLst>
                <a:gd name="T0" fmla="*/ 12 w 1044"/>
                <a:gd name="T1" fmla="*/ 95 h 1542"/>
                <a:gd name="T2" fmla="*/ 7 w 1044"/>
                <a:gd name="T3" fmla="*/ 93 h 1542"/>
                <a:gd name="T4" fmla="*/ 0 w 1044"/>
                <a:gd name="T5" fmla="*/ 88 h 1542"/>
                <a:gd name="T6" fmla="*/ 3 w 1044"/>
                <a:gd name="T7" fmla="*/ 74 h 1542"/>
                <a:gd name="T8" fmla="*/ 4 w 1044"/>
                <a:gd name="T9" fmla="*/ 59 h 1542"/>
                <a:gd name="T10" fmla="*/ 7 w 1044"/>
                <a:gd name="T11" fmla="*/ 52 h 1542"/>
                <a:gd name="T12" fmla="*/ 20 w 1044"/>
                <a:gd name="T13" fmla="*/ 50 h 1542"/>
                <a:gd name="T14" fmla="*/ 24 w 1044"/>
                <a:gd name="T15" fmla="*/ 46 h 1542"/>
                <a:gd name="T16" fmla="*/ 29 w 1044"/>
                <a:gd name="T17" fmla="*/ 33 h 1542"/>
                <a:gd name="T18" fmla="*/ 32 w 1044"/>
                <a:gd name="T19" fmla="*/ 26 h 1542"/>
                <a:gd name="T20" fmla="*/ 30 w 1044"/>
                <a:gd name="T21" fmla="*/ 20 h 1542"/>
                <a:gd name="T22" fmla="*/ 26 w 1044"/>
                <a:gd name="T23" fmla="*/ 17 h 1542"/>
                <a:gd name="T24" fmla="*/ 28 w 1044"/>
                <a:gd name="T25" fmla="*/ 12 h 1542"/>
                <a:gd name="T26" fmla="*/ 44 w 1044"/>
                <a:gd name="T27" fmla="*/ 5 h 1542"/>
                <a:gd name="T28" fmla="*/ 57 w 1044"/>
                <a:gd name="T29" fmla="*/ 2 h 1542"/>
                <a:gd name="T30" fmla="*/ 65 w 1044"/>
                <a:gd name="T31" fmla="*/ 12 h 1542"/>
                <a:gd name="T32" fmla="*/ 81 w 1044"/>
                <a:gd name="T33" fmla="*/ 9 h 1542"/>
                <a:gd name="T34" fmla="*/ 91 w 1044"/>
                <a:gd name="T35" fmla="*/ 20 h 1542"/>
                <a:gd name="T36" fmla="*/ 89 w 1044"/>
                <a:gd name="T37" fmla="*/ 28 h 1542"/>
                <a:gd name="T38" fmla="*/ 83 w 1044"/>
                <a:gd name="T39" fmla="*/ 33 h 1542"/>
                <a:gd name="T40" fmla="*/ 74 w 1044"/>
                <a:gd name="T41" fmla="*/ 42 h 1542"/>
                <a:gd name="T42" fmla="*/ 58 w 1044"/>
                <a:gd name="T43" fmla="*/ 57 h 1542"/>
                <a:gd name="T44" fmla="*/ 54 w 1044"/>
                <a:gd name="T45" fmla="*/ 65 h 1542"/>
                <a:gd name="T46" fmla="*/ 59 w 1044"/>
                <a:gd name="T47" fmla="*/ 74 h 1542"/>
                <a:gd name="T48" fmla="*/ 55 w 1044"/>
                <a:gd name="T49" fmla="*/ 84 h 1542"/>
                <a:gd name="T50" fmla="*/ 52 w 1044"/>
                <a:gd name="T51" fmla="*/ 98 h 1542"/>
                <a:gd name="T52" fmla="*/ 47 w 1044"/>
                <a:gd name="T53" fmla="*/ 105 h 1542"/>
                <a:gd name="T54" fmla="*/ 42 w 1044"/>
                <a:gd name="T55" fmla="*/ 111 h 1542"/>
                <a:gd name="T56" fmla="*/ 43 w 1044"/>
                <a:gd name="T57" fmla="*/ 120 h 1542"/>
                <a:gd name="T58" fmla="*/ 45 w 1044"/>
                <a:gd name="T59" fmla="*/ 125 h 1542"/>
                <a:gd name="T60" fmla="*/ 44 w 1044"/>
                <a:gd name="T61" fmla="*/ 130 h 1542"/>
                <a:gd name="T62" fmla="*/ 45 w 1044"/>
                <a:gd name="T63" fmla="*/ 131 h 1542"/>
                <a:gd name="T64" fmla="*/ 48 w 1044"/>
                <a:gd name="T65" fmla="*/ 133 h 1542"/>
                <a:gd name="T66" fmla="*/ 39 w 1044"/>
                <a:gd name="T67" fmla="*/ 133 h 1542"/>
                <a:gd name="T68" fmla="*/ 42 w 1044"/>
                <a:gd name="T69" fmla="*/ 132 h 1542"/>
                <a:gd name="T70" fmla="*/ 38 w 1044"/>
                <a:gd name="T71" fmla="*/ 133 h 1542"/>
                <a:gd name="T72" fmla="*/ 37 w 1044"/>
                <a:gd name="T73" fmla="*/ 129 h 1542"/>
                <a:gd name="T74" fmla="*/ 40 w 1044"/>
                <a:gd name="T75" fmla="*/ 125 h 1542"/>
                <a:gd name="T76" fmla="*/ 40 w 1044"/>
                <a:gd name="T77" fmla="*/ 120 h 1542"/>
                <a:gd name="T78" fmla="*/ 40 w 1044"/>
                <a:gd name="T79" fmla="*/ 117 h 1542"/>
                <a:gd name="T80" fmla="*/ 37 w 1044"/>
                <a:gd name="T81" fmla="*/ 120 h 1542"/>
                <a:gd name="T82" fmla="*/ 34 w 1044"/>
                <a:gd name="T83" fmla="*/ 122 h 1542"/>
                <a:gd name="T84" fmla="*/ 36 w 1044"/>
                <a:gd name="T85" fmla="*/ 120 h 1542"/>
                <a:gd name="T86" fmla="*/ 30 w 1044"/>
                <a:gd name="T87" fmla="*/ 120 h 1542"/>
                <a:gd name="T88" fmla="*/ 31 w 1044"/>
                <a:gd name="T89" fmla="*/ 113 h 1542"/>
                <a:gd name="T90" fmla="*/ 29 w 1044"/>
                <a:gd name="T91" fmla="*/ 112 h 1542"/>
                <a:gd name="T92" fmla="*/ 31 w 1044"/>
                <a:gd name="T93" fmla="*/ 117 h 1542"/>
                <a:gd name="T94" fmla="*/ 27 w 1044"/>
                <a:gd name="T95" fmla="*/ 116 h 1542"/>
                <a:gd name="T96" fmla="*/ 25 w 1044"/>
                <a:gd name="T97" fmla="*/ 112 h 1542"/>
                <a:gd name="T98" fmla="*/ 21 w 1044"/>
                <a:gd name="T99" fmla="*/ 109 h 1542"/>
                <a:gd name="T100" fmla="*/ 21 w 1044"/>
                <a:gd name="T101" fmla="*/ 113 h 1542"/>
                <a:gd name="T102" fmla="*/ 40 w 1044"/>
                <a:gd name="T103" fmla="*/ 120 h 1542"/>
                <a:gd name="T104" fmla="*/ 40 w 1044"/>
                <a:gd name="T105" fmla="*/ 121 h 1542"/>
                <a:gd name="T106" fmla="*/ 40 w 1044"/>
                <a:gd name="T107" fmla="*/ 116 h 1542"/>
                <a:gd name="T108" fmla="*/ 38 w 1044"/>
                <a:gd name="T109" fmla="*/ 120 h 1542"/>
                <a:gd name="T110" fmla="*/ 23 w 1044"/>
                <a:gd name="T111" fmla="*/ 110 h 1542"/>
                <a:gd name="T112" fmla="*/ 37 w 1044"/>
                <a:gd name="T113" fmla="*/ 124 h 1542"/>
                <a:gd name="T114" fmla="*/ 40 w 1044"/>
                <a:gd name="T115" fmla="*/ 125 h 1542"/>
                <a:gd name="T116" fmla="*/ 38 w 1044"/>
                <a:gd name="T117" fmla="*/ 128 h 1542"/>
                <a:gd name="T118" fmla="*/ 25 w 1044"/>
                <a:gd name="T119" fmla="*/ 117 h 1542"/>
                <a:gd name="T120" fmla="*/ 27 w 1044"/>
                <a:gd name="T121" fmla="*/ 127 h 1542"/>
                <a:gd name="T122" fmla="*/ 24 w 1044"/>
                <a:gd name="T123" fmla="*/ 113 h 15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4"/>
                <a:gd name="T187" fmla="*/ 0 h 1542"/>
                <a:gd name="T188" fmla="*/ 1044 w 1044"/>
                <a:gd name="T189" fmla="*/ 1542 h 154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4" h="1542">
                  <a:moveTo>
                    <a:pt x="234" y="1278"/>
                  </a:moveTo>
                  <a:lnTo>
                    <a:pt x="228" y="1272"/>
                  </a:lnTo>
                  <a:lnTo>
                    <a:pt x="222" y="1266"/>
                  </a:lnTo>
                  <a:lnTo>
                    <a:pt x="222" y="1260"/>
                  </a:lnTo>
                  <a:lnTo>
                    <a:pt x="204" y="1248"/>
                  </a:lnTo>
                  <a:lnTo>
                    <a:pt x="192" y="1248"/>
                  </a:lnTo>
                  <a:lnTo>
                    <a:pt x="186" y="1236"/>
                  </a:lnTo>
                  <a:lnTo>
                    <a:pt x="174" y="1218"/>
                  </a:lnTo>
                  <a:lnTo>
                    <a:pt x="162" y="1194"/>
                  </a:lnTo>
                  <a:lnTo>
                    <a:pt x="156" y="1182"/>
                  </a:lnTo>
                  <a:lnTo>
                    <a:pt x="162" y="1146"/>
                  </a:lnTo>
                  <a:lnTo>
                    <a:pt x="156" y="1134"/>
                  </a:lnTo>
                  <a:lnTo>
                    <a:pt x="138" y="1122"/>
                  </a:lnTo>
                  <a:lnTo>
                    <a:pt x="132" y="1116"/>
                  </a:lnTo>
                  <a:lnTo>
                    <a:pt x="138" y="1098"/>
                  </a:lnTo>
                  <a:lnTo>
                    <a:pt x="138" y="1092"/>
                  </a:lnTo>
                  <a:lnTo>
                    <a:pt x="138" y="1086"/>
                  </a:lnTo>
                  <a:lnTo>
                    <a:pt x="132" y="1074"/>
                  </a:lnTo>
                  <a:lnTo>
                    <a:pt x="126" y="1074"/>
                  </a:lnTo>
                  <a:lnTo>
                    <a:pt x="126" y="1068"/>
                  </a:lnTo>
                  <a:lnTo>
                    <a:pt x="120" y="1062"/>
                  </a:lnTo>
                  <a:lnTo>
                    <a:pt x="120" y="1056"/>
                  </a:lnTo>
                  <a:lnTo>
                    <a:pt x="114" y="1050"/>
                  </a:lnTo>
                  <a:lnTo>
                    <a:pt x="108" y="1050"/>
                  </a:lnTo>
                  <a:lnTo>
                    <a:pt x="102" y="1056"/>
                  </a:lnTo>
                  <a:lnTo>
                    <a:pt x="102" y="1062"/>
                  </a:lnTo>
                  <a:lnTo>
                    <a:pt x="96" y="1062"/>
                  </a:lnTo>
                  <a:lnTo>
                    <a:pt x="96" y="1068"/>
                  </a:lnTo>
                  <a:lnTo>
                    <a:pt x="96" y="1074"/>
                  </a:lnTo>
                  <a:lnTo>
                    <a:pt x="90" y="1074"/>
                  </a:lnTo>
                  <a:lnTo>
                    <a:pt x="84" y="1080"/>
                  </a:lnTo>
                  <a:lnTo>
                    <a:pt x="78" y="1074"/>
                  </a:lnTo>
                  <a:lnTo>
                    <a:pt x="72" y="1074"/>
                  </a:lnTo>
                  <a:lnTo>
                    <a:pt x="72" y="1068"/>
                  </a:lnTo>
                  <a:lnTo>
                    <a:pt x="72" y="1062"/>
                  </a:lnTo>
                  <a:lnTo>
                    <a:pt x="60" y="1056"/>
                  </a:lnTo>
                  <a:lnTo>
                    <a:pt x="60" y="1044"/>
                  </a:lnTo>
                  <a:lnTo>
                    <a:pt x="60" y="1032"/>
                  </a:lnTo>
                  <a:lnTo>
                    <a:pt x="60" y="1026"/>
                  </a:lnTo>
                  <a:lnTo>
                    <a:pt x="54" y="1026"/>
                  </a:lnTo>
                  <a:lnTo>
                    <a:pt x="48" y="1014"/>
                  </a:lnTo>
                  <a:lnTo>
                    <a:pt x="42" y="1008"/>
                  </a:lnTo>
                  <a:lnTo>
                    <a:pt x="30" y="1008"/>
                  </a:lnTo>
                  <a:lnTo>
                    <a:pt x="30" y="1002"/>
                  </a:lnTo>
                  <a:lnTo>
                    <a:pt x="24" y="1008"/>
                  </a:lnTo>
                  <a:lnTo>
                    <a:pt x="12" y="1008"/>
                  </a:lnTo>
                  <a:lnTo>
                    <a:pt x="6" y="1008"/>
                  </a:lnTo>
                  <a:lnTo>
                    <a:pt x="0" y="1008"/>
                  </a:lnTo>
                  <a:lnTo>
                    <a:pt x="0" y="1002"/>
                  </a:lnTo>
                  <a:lnTo>
                    <a:pt x="6" y="990"/>
                  </a:lnTo>
                  <a:lnTo>
                    <a:pt x="6" y="984"/>
                  </a:lnTo>
                  <a:lnTo>
                    <a:pt x="0" y="978"/>
                  </a:lnTo>
                  <a:lnTo>
                    <a:pt x="6" y="972"/>
                  </a:lnTo>
                  <a:lnTo>
                    <a:pt x="12" y="972"/>
                  </a:lnTo>
                  <a:lnTo>
                    <a:pt x="72" y="978"/>
                  </a:lnTo>
                  <a:lnTo>
                    <a:pt x="78" y="972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30"/>
                  </a:lnTo>
                  <a:lnTo>
                    <a:pt x="54" y="912"/>
                  </a:lnTo>
                  <a:lnTo>
                    <a:pt x="42" y="906"/>
                  </a:lnTo>
                  <a:lnTo>
                    <a:pt x="36" y="894"/>
                  </a:lnTo>
                  <a:lnTo>
                    <a:pt x="30" y="876"/>
                  </a:lnTo>
                  <a:lnTo>
                    <a:pt x="30" y="858"/>
                  </a:lnTo>
                  <a:lnTo>
                    <a:pt x="30" y="840"/>
                  </a:lnTo>
                  <a:lnTo>
                    <a:pt x="36" y="816"/>
                  </a:lnTo>
                  <a:lnTo>
                    <a:pt x="36" y="792"/>
                  </a:lnTo>
                  <a:lnTo>
                    <a:pt x="36" y="780"/>
                  </a:lnTo>
                  <a:lnTo>
                    <a:pt x="12" y="774"/>
                  </a:lnTo>
                  <a:lnTo>
                    <a:pt x="24" y="756"/>
                  </a:lnTo>
                  <a:lnTo>
                    <a:pt x="24" y="744"/>
                  </a:lnTo>
                  <a:lnTo>
                    <a:pt x="30" y="738"/>
                  </a:lnTo>
                  <a:lnTo>
                    <a:pt x="30" y="732"/>
                  </a:lnTo>
                  <a:lnTo>
                    <a:pt x="36" y="720"/>
                  </a:lnTo>
                  <a:lnTo>
                    <a:pt x="42" y="714"/>
                  </a:lnTo>
                  <a:lnTo>
                    <a:pt x="54" y="708"/>
                  </a:lnTo>
                  <a:lnTo>
                    <a:pt x="60" y="702"/>
                  </a:lnTo>
                  <a:lnTo>
                    <a:pt x="48" y="690"/>
                  </a:lnTo>
                  <a:lnTo>
                    <a:pt x="48" y="684"/>
                  </a:lnTo>
                  <a:lnTo>
                    <a:pt x="48" y="678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66"/>
                  </a:lnTo>
                  <a:lnTo>
                    <a:pt x="72" y="654"/>
                  </a:lnTo>
                  <a:lnTo>
                    <a:pt x="72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84" y="630"/>
                  </a:lnTo>
                  <a:lnTo>
                    <a:pt x="90" y="630"/>
                  </a:lnTo>
                  <a:lnTo>
                    <a:pt x="96" y="630"/>
                  </a:lnTo>
                  <a:lnTo>
                    <a:pt x="96" y="624"/>
                  </a:lnTo>
                  <a:lnTo>
                    <a:pt x="90" y="624"/>
                  </a:lnTo>
                  <a:lnTo>
                    <a:pt x="84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90" y="600"/>
                  </a:lnTo>
                  <a:lnTo>
                    <a:pt x="84" y="600"/>
                  </a:lnTo>
                  <a:lnTo>
                    <a:pt x="78" y="594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126" y="564"/>
                  </a:lnTo>
                  <a:lnTo>
                    <a:pt x="144" y="564"/>
                  </a:lnTo>
                  <a:lnTo>
                    <a:pt x="156" y="582"/>
                  </a:lnTo>
                  <a:lnTo>
                    <a:pt x="162" y="600"/>
                  </a:lnTo>
                  <a:lnTo>
                    <a:pt x="180" y="588"/>
                  </a:lnTo>
                  <a:lnTo>
                    <a:pt x="192" y="588"/>
                  </a:lnTo>
                  <a:lnTo>
                    <a:pt x="198" y="588"/>
                  </a:lnTo>
                  <a:lnTo>
                    <a:pt x="210" y="582"/>
                  </a:lnTo>
                  <a:lnTo>
                    <a:pt x="216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58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46" y="558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58" y="570"/>
                  </a:lnTo>
                  <a:lnTo>
                    <a:pt x="264" y="570"/>
                  </a:lnTo>
                  <a:lnTo>
                    <a:pt x="270" y="564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46"/>
                  </a:lnTo>
                  <a:lnTo>
                    <a:pt x="276" y="540"/>
                  </a:lnTo>
                  <a:lnTo>
                    <a:pt x="276" y="534"/>
                  </a:lnTo>
                  <a:lnTo>
                    <a:pt x="276" y="528"/>
                  </a:lnTo>
                  <a:lnTo>
                    <a:pt x="282" y="528"/>
                  </a:lnTo>
                  <a:lnTo>
                    <a:pt x="282" y="522"/>
                  </a:lnTo>
                  <a:lnTo>
                    <a:pt x="282" y="516"/>
                  </a:lnTo>
                  <a:lnTo>
                    <a:pt x="282" y="510"/>
                  </a:lnTo>
                  <a:lnTo>
                    <a:pt x="282" y="504"/>
                  </a:lnTo>
                  <a:lnTo>
                    <a:pt x="282" y="492"/>
                  </a:lnTo>
                  <a:lnTo>
                    <a:pt x="288" y="486"/>
                  </a:lnTo>
                  <a:lnTo>
                    <a:pt x="300" y="480"/>
                  </a:lnTo>
                  <a:lnTo>
                    <a:pt x="306" y="462"/>
                  </a:lnTo>
                  <a:lnTo>
                    <a:pt x="318" y="444"/>
                  </a:lnTo>
                  <a:lnTo>
                    <a:pt x="330" y="444"/>
                  </a:lnTo>
                  <a:lnTo>
                    <a:pt x="330" y="432"/>
                  </a:lnTo>
                  <a:lnTo>
                    <a:pt x="342" y="432"/>
                  </a:lnTo>
                  <a:lnTo>
                    <a:pt x="354" y="402"/>
                  </a:lnTo>
                  <a:lnTo>
                    <a:pt x="348" y="390"/>
                  </a:lnTo>
                  <a:lnTo>
                    <a:pt x="336" y="384"/>
                  </a:lnTo>
                  <a:lnTo>
                    <a:pt x="336" y="360"/>
                  </a:lnTo>
                  <a:lnTo>
                    <a:pt x="336" y="354"/>
                  </a:lnTo>
                  <a:lnTo>
                    <a:pt x="336" y="342"/>
                  </a:lnTo>
                  <a:lnTo>
                    <a:pt x="342" y="336"/>
                  </a:lnTo>
                  <a:lnTo>
                    <a:pt x="342" y="324"/>
                  </a:lnTo>
                  <a:lnTo>
                    <a:pt x="372" y="324"/>
                  </a:lnTo>
                  <a:lnTo>
                    <a:pt x="378" y="324"/>
                  </a:lnTo>
                  <a:lnTo>
                    <a:pt x="378" y="318"/>
                  </a:lnTo>
                  <a:lnTo>
                    <a:pt x="372" y="312"/>
                  </a:lnTo>
                  <a:lnTo>
                    <a:pt x="378" y="312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84" y="300"/>
                  </a:lnTo>
                  <a:lnTo>
                    <a:pt x="384" y="294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66" y="294"/>
                  </a:lnTo>
                  <a:lnTo>
                    <a:pt x="366" y="288"/>
                  </a:lnTo>
                  <a:lnTo>
                    <a:pt x="372" y="288"/>
                  </a:lnTo>
                  <a:lnTo>
                    <a:pt x="372" y="282"/>
                  </a:lnTo>
                  <a:lnTo>
                    <a:pt x="366" y="276"/>
                  </a:lnTo>
                  <a:lnTo>
                    <a:pt x="360" y="270"/>
                  </a:lnTo>
                  <a:lnTo>
                    <a:pt x="360" y="264"/>
                  </a:lnTo>
                  <a:lnTo>
                    <a:pt x="354" y="264"/>
                  </a:lnTo>
                  <a:lnTo>
                    <a:pt x="348" y="258"/>
                  </a:lnTo>
                  <a:lnTo>
                    <a:pt x="354" y="258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40"/>
                  </a:lnTo>
                  <a:lnTo>
                    <a:pt x="354" y="240"/>
                  </a:lnTo>
                  <a:lnTo>
                    <a:pt x="342" y="234"/>
                  </a:lnTo>
                  <a:lnTo>
                    <a:pt x="342" y="228"/>
                  </a:lnTo>
                  <a:lnTo>
                    <a:pt x="348" y="228"/>
                  </a:lnTo>
                  <a:lnTo>
                    <a:pt x="342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6" y="216"/>
                  </a:lnTo>
                  <a:lnTo>
                    <a:pt x="330" y="222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24" y="210"/>
                  </a:lnTo>
                  <a:lnTo>
                    <a:pt x="318" y="210"/>
                  </a:lnTo>
                  <a:lnTo>
                    <a:pt x="318" y="204"/>
                  </a:lnTo>
                  <a:lnTo>
                    <a:pt x="312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294" y="192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300" y="174"/>
                  </a:lnTo>
                  <a:lnTo>
                    <a:pt x="300" y="168"/>
                  </a:lnTo>
                  <a:lnTo>
                    <a:pt x="300" y="162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88" y="150"/>
                  </a:lnTo>
                  <a:lnTo>
                    <a:pt x="288" y="144"/>
                  </a:lnTo>
                  <a:lnTo>
                    <a:pt x="282" y="144"/>
                  </a:lnTo>
                  <a:lnTo>
                    <a:pt x="282" y="138"/>
                  </a:lnTo>
                  <a:lnTo>
                    <a:pt x="312" y="132"/>
                  </a:lnTo>
                  <a:lnTo>
                    <a:pt x="324" y="120"/>
                  </a:lnTo>
                  <a:lnTo>
                    <a:pt x="330" y="114"/>
                  </a:lnTo>
                  <a:lnTo>
                    <a:pt x="336" y="102"/>
                  </a:lnTo>
                  <a:lnTo>
                    <a:pt x="348" y="90"/>
                  </a:lnTo>
                  <a:lnTo>
                    <a:pt x="360" y="84"/>
                  </a:lnTo>
                  <a:lnTo>
                    <a:pt x="372" y="84"/>
                  </a:lnTo>
                  <a:lnTo>
                    <a:pt x="378" y="84"/>
                  </a:lnTo>
                  <a:lnTo>
                    <a:pt x="384" y="90"/>
                  </a:lnTo>
                  <a:lnTo>
                    <a:pt x="402" y="90"/>
                  </a:lnTo>
                  <a:lnTo>
                    <a:pt x="438" y="84"/>
                  </a:lnTo>
                  <a:lnTo>
                    <a:pt x="456" y="84"/>
                  </a:lnTo>
                  <a:lnTo>
                    <a:pt x="462" y="78"/>
                  </a:lnTo>
                  <a:lnTo>
                    <a:pt x="486" y="72"/>
                  </a:lnTo>
                  <a:lnTo>
                    <a:pt x="492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04" y="54"/>
                  </a:lnTo>
                  <a:lnTo>
                    <a:pt x="510" y="42"/>
                  </a:lnTo>
                  <a:lnTo>
                    <a:pt x="504" y="42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498" y="30"/>
                  </a:lnTo>
                  <a:lnTo>
                    <a:pt x="492" y="30"/>
                  </a:lnTo>
                  <a:lnTo>
                    <a:pt x="492" y="24"/>
                  </a:lnTo>
                  <a:lnTo>
                    <a:pt x="486" y="18"/>
                  </a:lnTo>
                  <a:lnTo>
                    <a:pt x="498" y="18"/>
                  </a:lnTo>
                  <a:lnTo>
                    <a:pt x="510" y="18"/>
                  </a:lnTo>
                  <a:lnTo>
                    <a:pt x="522" y="12"/>
                  </a:lnTo>
                  <a:lnTo>
                    <a:pt x="528" y="6"/>
                  </a:lnTo>
                  <a:lnTo>
                    <a:pt x="570" y="0"/>
                  </a:lnTo>
                  <a:lnTo>
                    <a:pt x="606" y="6"/>
                  </a:lnTo>
                  <a:lnTo>
                    <a:pt x="654" y="24"/>
                  </a:lnTo>
                  <a:lnTo>
                    <a:pt x="666" y="36"/>
                  </a:lnTo>
                  <a:lnTo>
                    <a:pt x="672" y="30"/>
                  </a:lnTo>
                  <a:lnTo>
                    <a:pt x="690" y="42"/>
                  </a:lnTo>
                  <a:lnTo>
                    <a:pt x="702" y="48"/>
                  </a:lnTo>
                  <a:lnTo>
                    <a:pt x="714" y="60"/>
                  </a:lnTo>
                  <a:lnTo>
                    <a:pt x="714" y="66"/>
                  </a:lnTo>
                  <a:lnTo>
                    <a:pt x="720" y="72"/>
                  </a:lnTo>
                  <a:lnTo>
                    <a:pt x="720" y="78"/>
                  </a:lnTo>
                  <a:lnTo>
                    <a:pt x="720" y="102"/>
                  </a:lnTo>
                  <a:lnTo>
                    <a:pt x="720" y="108"/>
                  </a:lnTo>
                  <a:lnTo>
                    <a:pt x="714" y="108"/>
                  </a:lnTo>
                  <a:lnTo>
                    <a:pt x="714" y="126"/>
                  </a:lnTo>
                  <a:lnTo>
                    <a:pt x="732" y="126"/>
                  </a:lnTo>
                  <a:lnTo>
                    <a:pt x="726" y="132"/>
                  </a:lnTo>
                  <a:lnTo>
                    <a:pt x="738" y="132"/>
                  </a:lnTo>
                  <a:lnTo>
                    <a:pt x="738" y="138"/>
                  </a:lnTo>
                  <a:lnTo>
                    <a:pt x="738" y="144"/>
                  </a:lnTo>
                  <a:lnTo>
                    <a:pt x="744" y="144"/>
                  </a:lnTo>
                  <a:lnTo>
                    <a:pt x="744" y="150"/>
                  </a:lnTo>
                  <a:lnTo>
                    <a:pt x="756" y="156"/>
                  </a:lnTo>
                  <a:lnTo>
                    <a:pt x="768" y="156"/>
                  </a:lnTo>
                  <a:lnTo>
                    <a:pt x="780" y="156"/>
                  </a:lnTo>
                  <a:lnTo>
                    <a:pt x="792" y="150"/>
                  </a:lnTo>
                  <a:lnTo>
                    <a:pt x="786" y="150"/>
                  </a:lnTo>
                  <a:lnTo>
                    <a:pt x="786" y="144"/>
                  </a:lnTo>
                  <a:lnTo>
                    <a:pt x="804" y="144"/>
                  </a:lnTo>
                  <a:lnTo>
                    <a:pt x="816" y="132"/>
                  </a:lnTo>
                  <a:lnTo>
                    <a:pt x="822" y="126"/>
                  </a:lnTo>
                  <a:lnTo>
                    <a:pt x="828" y="132"/>
                  </a:lnTo>
                  <a:lnTo>
                    <a:pt x="834" y="126"/>
                  </a:lnTo>
                  <a:lnTo>
                    <a:pt x="834" y="120"/>
                  </a:lnTo>
                  <a:lnTo>
                    <a:pt x="924" y="108"/>
                  </a:lnTo>
                  <a:lnTo>
                    <a:pt x="942" y="144"/>
                  </a:lnTo>
                  <a:lnTo>
                    <a:pt x="948" y="144"/>
                  </a:lnTo>
                  <a:lnTo>
                    <a:pt x="960" y="168"/>
                  </a:lnTo>
                  <a:lnTo>
                    <a:pt x="972" y="186"/>
                  </a:lnTo>
                  <a:lnTo>
                    <a:pt x="984" y="192"/>
                  </a:lnTo>
                  <a:lnTo>
                    <a:pt x="996" y="192"/>
                  </a:lnTo>
                  <a:lnTo>
                    <a:pt x="996" y="198"/>
                  </a:lnTo>
                  <a:lnTo>
                    <a:pt x="1008" y="204"/>
                  </a:lnTo>
                  <a:lnTo>
                    <a:pt x="1008" y="210"/>
                  </a:lnTo>
                  <a:lnTo>
                    <a:pt x="1002" y="210"/>
                  </a:lnTo>
                  <a:lnTo>
                    <a:pt x="1008" y="216"/>
                  </a:lnTo>
                  <a:lnTo>
                    <a:pt x="1014" y="210"/>
                  </a:lnTo>
                  <a:lnTo>
                    <a:pt x="1014" y="216"/>
                  </a:lnTo>
                  <a:lnTo>
                    <a:pt x="1020" y="222"/>
                  </a:lnTo>
                  <a:lnTo>
                    <a:pt x="1014" y="228"/>
                  </a:lnTo>
                  <a:lnTo>
                    <a:pt x="1032" y="234"/>
                  </a:lnTo>
                  <a:lnTo>
                    <a:pt x="1044" y="240"/>
                  </a:lnTo>
                  <a:lnTo>
                    <a:pt x="1038" y="246"/>
                  </a:lnTo>
                  <a:lnTo>
                    <a:pt x="1038" y="252"/>
                  </a:lnTo>
                  <a:lnTo>
                    <a:pt x="1038" y="258"/>
                  </a:lnTo>
                  <a:lnTo>
                    <a:pt x="1032" y="264"/>
                  </a:lnTo>
                  <a:lnTo>
                    <a:pt x="1032" y="270"/>
                  </a:lnTo>
                  <a:lnTo>
                    <a:pt x="1032" y="276"/>
                  </a:lnTo>
                  <a:lnTo>
                    <a:pt x="1032" y="282"/>
                  </a:lnTo>
                  <a:lnTo>
                    <a:pt x="1026" y="282"/>
                  </a:lnTo>
                  <a:lnTo>
                    <a:pt x="1026" y="288"/>
                  </a:lnTo>
                  <a:lnTo>
                    <a:pt x="1026" y="294"/>
                  </a:lnTo>
                  <a:lnTo>
                    <a:pt x="1026" y="300"/>
                  </a:lnTo>
                  <a:lnTo>
                    <a:pt x="1026" y="306"/>
                  </a:lnTo>
                  <a:lnTo>
                    <a:pt x="1020" y="318"/>
                  </a:lnTo>
                  <a:lnTo>
                    <a:pt x="1020" y="324"/>
                  </a:lnTo>
                  <a:lnTo>
                    <a:pt x="1014" y="324"/>
                  </a:lnTo>
                  <a:lnTo>
                    <a:pt x="1014" y="330"/>
                  </a:lnTo>
                  <a:lnTo>
                    <a:pt x="1014" y="336"/>
                  </a:lnTo>
                  <a:lnTo>
                    <a:pt x="1008" y="366"/>
                  </a:lnTo>
                  <a:lnTo>
                    <a:pt x="1002" y="366"/>
                  </a:lnTo>
                  <a:lnTo>
                    <a:pt x="984" y="354"/>
                  </a:lnTo>
                  <a:lnTo>
                    <a:pt x="978" y="354"/>
                  </a:lnTo>
                  <a:lnTo>
                    <a:pt x="972" y="354"/>
                  </a:lnTo>
                  <a:lnTo>
                    <a:pt x="966" y="348"/>
                  </a:lnTo>
                  <a:lnTo>
                    <a:pt x="954" y="348"/>
                  </a:lnTo>
                  <a:lnTo>
                    <a:pt x="948" y="348"/>
                  </a:lnTo>
                  <a:lnTo>
                    <a:pt x="948" y="360"/>
                  </a:lnTo>
                  <a:lnTo>
                    <a:pt x="948" y="366"/>
                  </a:lnTo>
                  <a:lnTo>
                    <a:pt x="948" y="372"/>
                  </a:lnTo>
                  <a:lnTo>
                    <a:pt x="948" y="378"/>
                  </a:lnTo>
                  <a:lnTo>
                    <a:pt x="948" y="384"/>
                  </a:lnTo>
                  <a:lnTo>
                    <a:pt x="942" y="384"/>
                  </a:lnTo>
                  <a:lnTo>
                    <a:pt x="942" y="390"/>
                  </a:lnTo>
                  <a:lnTo>
                    <a:pt x="936" y="390"/>
                  </a:lnTo>
                  <a:lnTo>
                    <a:pt x="942" y="390"/>
                  </a:lnTo>
                  <a:lnTo>
                    <a:pt x="936" y="396"/>
                  </a:lnTo>
                  <a:lnTo>
                    <a:pt x="930" y="402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2" y="432"/>
                  </a:lnTo>
                  <a:lnTo>
                    <a:pt x="900" y="450"/>
                  </a:lnTo>
                  <a:lnTo>
                    <a:pt x="894" y="456"/>
                  </a:lnTo>
                  <a:lnTo>
                    <a:pt x="888" y="456"/>
                  </a:lnTo>
                  <a:lnTo>
                    <a:pt x="882" y="456"/>
                  </a:lnTo>
                  <a:lnTo>
                    <a:pt x="876" y="456"/>
                  </a:lnTo>
                  <a:lnTo>
                    <a:pt x="864" y="462"/>
                  </a:lnTo>
                  <a:lnTo>
                    <a:pt x="852" y="474"/>
                  </a:lnTo>
                  <a:lnTo>
                    <a:pt x="846" y="480"/>
                  </a:lnTo>
                  <a:lnTo>
                    <a:pt x="840" y="486"/>
                  </a:lnTo>
                  <a:lnTo>
                    <a:pt x="834" y="498"/>
                  </a:lnTo>
                  <a:lnTo>
                    <a:pt x="828" y="510"/>
                  </a:lnTo>
                  <a:lnTo>
                    <a:pt x="816" y="522"/>
                  </a:lnTo>
                  <a:lnTo>
                    <a:pt x="798" y="540"/>
                  </a:lnTo>
                  <a:lnTo>
                    <a:pt x="780" y="558"/>
                  </a:lnTo>
                  <a:lnTo>
                    <a:pt x="774" y="558"/>
                  </a:lnTo>
                  <a:lnTo>
                    <a:pt x="756" y="576"/>
                  </a:lnTo>
                  <a:lnTo>
                    <a:pt x="732" y="600"/>
                  </a:lnTo>
                  <a:lnTo>
                    <a:pt x="726" y="600"/>
                  </a:lnTo>
                  <a:lnTo>
                    <a:pt x="720" y="606"/>
                  </a:lnTo>
                  <a:lnTo>
                    <a:pt x="714" y="612"/>
                  </a:lnTo>
                  <a:lnTo>
                    <a:pt x="690" y="630"/>
                  </a:lnTo>
                  <a:lnTo>
                    <a:pt x="678" y="636"/>
                  </a:lnTo>
                  <a:lnTo>
                    <a:pt x="672" y="642"/>
                  </a:lnTo>
                  <a:lnTo>
                    <a:pt x="660" y="660"/>
                  </a:lnTo>
                  <a:lnTo>
                    <a:pt x="642" y="666"/>
                  </a:lnTo>
                  <a:lnTo>
                    <a:pt x="636" y="678"/>
                  </a:lnTo>
                  <a:lnTo>
                    <a:pt x="630" y="678"/>
                  </a:lnTo>
                  <a:lnTo>
                    <a:pt x="630" y="684"/>
                  </a:lnTo>
                  <a:lnTo>
                    <a:pt x="630" y="690"/>
                  </a:lnTo>
                  <a:lnTo>
                    <a:pt x="636" y="696"/>
                  </a:lnTo>
                  <a:lnTo>
                    <a:pt x="642" y="696"/>
                  </a:lnTo>
                  <a:lnTo>
                    <a:pt x="648" y="702"/>
                  </a:lnTo>
                  <a:lnTo>
                    <a:pt x="648" y="708"/>
                  </a:lnTo>
                  <a:lnTo>
                    <a:pt x="642" y="708"/>
                  </a:lnTo>
                  <a:lnTo>
                    <a:pt x="636" y="714"/>
                  </a:lnTo>
                  <a:lnTo>
                    <a:pt x="636" y="720"/>
                  </a:lnTo>
                  <a:lnTo>
                    <a:pt x="642" y="726"/>
                  </a:lnTo>
                  <a:lnTo>
                    <a:pt x="636" y="738"/>
                  </a:lnTo>
                  <a:lnTo>
                    <a:pt x="618" y="756"/>
                  </a:lnTo>
                  <a:lnTo>
                    <a:pt x="612" y="750"/>
                  </a:lnTo>
                  <a:lnTo>
                    <a:pt x="612" y="756"/>
                  </a:lnTo>
                  <a:lnTo>
                    <a:pt x="618" y="762"/>
                  </a:lnTo>
                  <a:lnTo>
                    <a:pt x="618" y="768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36" y="786"/>
                  </a:lnTo>
                  <a:lnTo>
                    <a:pt x="642" y="792"/>
                  </a:lnTo>
                  <a:lnTo>
                    <a:pt x="642" y="798"/>
                  </a:lnTo>
                  <a:lnTo>
                    <a:pt x="648" y="804"/>
                  </a:lnTo>
                  <a:lnTo>
                    <a:pt x="654" y="810"/>
                  </a:lnTo>
                  <a:lnTo>
                    <a:pt x="660" y="816"/>
                  </a:lnTo>
                  <a:lnTo>
                    <a:pt x="666" y="816"/>
                  </a:lnTo>
                  <a:lnTo>
                    <a:pt x="666" y="822"/>
                  </a:lnTo>
                  <a:lnTo>
                    <a:pt x="672" y="828"/>
                  </a:lnTo>
                  <a:lnTo>
                    <a:pt x="672" y="840"/>
                  </a:lnTo>
                  <a:lnTo>
                    <a:pt x="672" y="846"/>
                  </a:lnTo>
                  <a:lnTo>
                    <a:pt x="666" y="852"/>
                  </a:lnTo>
                  <a:lnTo>
                    <a:pt x="660" y="864"/>
                  </a:lnTo>
                  <a:lnTo>
                    <a:pt x="654" y="876"/>
                  </a:lnTo>
                  <a:lnTo>
                    <a:pt x="648" y="882"/>
                  </a:lnTo>
                  <a:lnTo>
                    <a:pt x="642" y="888"/>
                  </a:lnTo>
                  <a:lnTo>
                    <a:pt x="642" y="894"/>
                  </a:lnTo>
                  <a:lnTo>
                    <a:pt x="642" y="906"/>
                  </a:lnTo>
                  <a:lnTo>
                    <a:pt x="630" y="918"/>
                  </a:lnTo>
                  <a:lnTo>
                    <a:pt x="630" y="924"/>
                  </a:lnTo>
                  <a:lnTo>
                    <a:pt x="624" y="930"/>
                  </a:lnTo>
                  <a:lnTo>
                    <a:pt x="630" y="936"/>
                  </a:lnTo>
                  <a:lnTo>
                    <a:pt x="630" y="942"/>
                  </a:lnTo>
                  <a:lnTo>
                    <a:pt x="630" y="948"/>
                  </a:lnTo>
                  <a:lnTo>
                    <a:pt x="630" y="954"/>
                  </a:lnTo>
                  <a:lnTo>
                    <a:pt x="630" y="960"/>
                  </a:lnTo>
                  <a:lnTo>
                    <a:pt x="624" y="966"/>
                  </a:lnTo>
                  <a:lnTo>
                    <a:pt x="618" y="990"/>
                  </a:lnTo>
                  <a:lnTo>
                    <a:pt x="618" y="1008"/>
                  </a:lnTo>
                  <a:lnTo>
                    <a:pt x="612" y="1026"/>
                  </a:lnTo>
                  <a:lnTo>
                    <a:pt x="612" y="1038"/>
                  </a:lnTo>
                  <a:lnTo>
                    <a:pt x="612" y="1050"/>
                  </a:lnTo>
                  <a:lnTo>
                    <a:pt x="612" y="1056"/>
                  </a:lnTo>
                  <a:lnTo>
                    <a:pt x="612" y="1062"/>
                  </a:lnTo>
                  <a:lnTo>
                    <a:pt x="612" y="1068"/>
                  </a:lnTo>
                  <a:lnTo>
                    <a:pt x="612" y="1086"/>
                  </a:lnTo>
                  <a:lnTo>
                    <a:pt x="612" y="1092"/>
                  </a:lnTo>
                  <a:lnTo>
                    <a:pt x="606" y="1098"/>
                  </a:lnTo>
                  <a:lnTo>
                    <a:pt x="600" y="1110"/>
                  </a:lnTo>
                  <a:lnTo>
                    <a:pt x="600" y="1116"/>
                  </a:lnTo>
                  <a:lnTo>
                    <a:pt x="594" y="1122"/>
                  </a:lnTo>
                  <a:lnTo>
                    <a:pt x="594" y="1128"/>
                  </a:lnTo>
                  <a:lnTo>
                    <a:pt x="588" y="1134"/>
                  </a:lnTo>
                  <a:lnTo>
                    <a:pt x="582" y="1140"/>
                  </a:lnTo>
                  <a:lnTo>
                    <a:pt x="570" y="1140"/>
                  </a:lnTo>
                  <a:lnTo>
                    <a:pt x="564" y="1146"/>
                  </a:lnTo>
                  <a:lnTo>
                    <a:pt x="570" y="1146"/>
                  </a:lnTo>
                  <a:lnTo>
                    <a:pt x="564" y="1152"/>
                  </a:lnTo>
                  <a:lnTo>
                    <a:pt x="558" y="1158"/>
                  </a:lnTo>
                  <a:lnTo>
                    <a:pt x="552" y="1164"/>
                  </a:lnTo>
                  <a:lnTo>
                    <a:pt x="552" y="1170"/>
                  </a:lnTo>
                  <a:lnTo>
                    <a:pt x="546" y="1176"/>
                  </a:lnTo>
                  <a:lnTo>
                    <a:pt x="546" y="1182"/>
                  </a:lnTo>
                  <a:lnTo>
                    <a:pt x="546" y="1188"/>
                  </a:lnTo>
                  <a:lnTo>
                    <a:pt x="540" y="1188"/>
                  </a:lnTo>
                  <a:lnTo>
                    <a:pt x="540" y="1194"/>
                  </a:lnTo>
                  <a:lnTo>
                    <a:pt x="528" y="1206"/>
                  </a:lnTo>
                  <a:lnTo>
                    <a:pt x="528" y="1212"/>
                  </a:lnTo>
                  <a:lnTo>
                    <a:pt x="534" y="1212"/>
                  </a:lnTo>
                  <a:lnTo>
                    <a:pt x="540" y="1218"/>
                  </a:lnTo>
                  <a:lnTo>
                    <a:pt x="534" y="1218"/>
                  </a:lnTo>
                  <a:lnTo>
                    <a:pt x="528" y="1218"/>
                  </a:lnTo>
                  <a:lnTo>
                    <a:pt x="528" y="1224"/>
                  </a:lnTo>
                  <a:lnTo>
                    <a:pt x="522" y="1230"/>
                  </a:lnTo>
                  <a:lnTo>
                    <a:pt x="516" y="1236"/>
                  </a:lnTo>
                  <a:lnTo>
                    <a:pt x="522" y="1236"/>
                  </a:lnTo>
                  <a:lnTo>
                    <a:pt x="516" y="1242"/>
                  </a:lnTo>
                  <a:lnTo>
                    <a:pt x="510" y="1242"/>
                  </a:lnTo>
                  <a:lnTo>
                    <a:pt x="504" y="1248"/>
                  </a:lnTo>
                  <a:lnTo>
                    <a:pt x="510" y="1260"/>
                  </a:lnTo>
                  <a:lnTo>
                    <a:pt x="504" y="1266"/>
                  </a:lnTo>
                  <a:lnTo>
                    <a:pt x="492" y="1266"/>
                  </a:lnTo>
                  <a:lnTo>
                    <a:pt x="486" y="1272"/>
                  </a:lnTo>
                  <a:lnTo>
                    <a:pt x="486" y="1278"/>
                  </a:lnTo>
                  <a:lnTo>
                    <a:pt x="480" y="1278"/>
                  </a:lnTo>
                  <a:lnTo>
                    <a:pt x="480" y="1284"/>
                  </a:lnTo>
                  <a:lnTo>
                    <a:pt x="480" y="1290"/>
                  </a:lnTo>
                  <a:lnTo>
                    <a:pt x="480" y="1296"/>
                  </a:lnTo>
                  <a:lnTo>
                    <a:pt x="492" y="1302"/>
                  </a:lnTo>
                  <a:lnTo>
                    <a:pt x="492" y="1308"/>
                  </a:lnTo>
                  <a:lnTo>
                    <a:pt x="492" y="1320"/>
                  </a:lnTo>
                  <a:lnTo>
                    <a:pt x="492" y="1332"/>
                  </a:lnTo>
                  <a:lnTo>
                    <a:pt x="498" y="1344"/>
                  </a:lnTo>
                  <a:lnTo>
                    <a:pt x="498" y="1350"/>
                  </a:lnTo>
                  <a:lnTo>
                    <a:pt x="498" y="1356"/>
                  </a:lnTo>
                  <a:lnTo>
                    <a:pt x="504" y="1362"/>
                  </a:lnTo>
                  <a:lnTo>
                    <a:pt x="498" y="1362"/>
                  </a:lnTo>
                  <a:lnTo>
                    <a:pt x="498" y="1368"/>
                  </a:lnTo>
                  <a:lnTo>
                    <a:pt x="492" y="1368"/>
                  </a:lnTo>
                  <a:lnTo>
                    <a:pt x="492" y="1374"/>
                  </a:lnTo>
                  <a:lnTo>
                    <a:pt x="492" y="1380"/>
                  </a:lnTo>
                  <a:lnTo>
                    <a:pt x="498" y="1380"/>
                  </a:lnTo>
                  <a:lnTo>
                    <a:pt x="504" y="1380"/>
                  </a:lnTo>
                  <a:lnTo>
                    <a:pt x="498" y="1386"/>
                  </a:lnTo>
                  <a:lnTo>
                    <a:pt x="498" y="1392"/>
                  </a:lnTo>
                  <a:lnTo>
                    <a:pt x="498" y="1398"/>
                  </a:lnTo>
                  <a:lnTo>
                    <a:pt x="498" y="1404"/>
                  </a:lnTo>
                  <a:lnTo>
                    <a:pt x="498" y="1410"/>
                  </a:lnTo>
                  <a:lnTo>
                    <a:pt x="498" y="1416"/>
                  </a:lnTo>
                  <a:lnTo>
                    <a:pt x="492" y="1416"/>
                  </a:lnTo>
                  <a:lnTo>
                    <a:pt x="498" y="1416"/>
                  </a:lnTo>
                  <a:lnTo>
                    <a:pt x="504" y="1416"/>
                  </a:lnTo>
                  <a:lnTo>
                    <a:pt x="504" y="1422"/>
                  </a:lnTo>
                  <a:lnTo>
                    <a:pt x="510" y="1428"/>
                  </a:lnTo>
                  <a:lnTo>
                    <a:pt x="510" y="1434"/>
                  </a:lnTo>
                  <a:lnTo>
                    <a:pt x="510" y="1440"/>
                  </a:lnTo>
                  <a:lnTo>
                    <a:pt x="516" y="1446"/>
                  </a:lnTo>
                  <a:lnTo>
                    <a:pt x="516" y="1452"/>
                  </a:lnTo>
                  <a:lnTo>
                    <a:pt x="516" y="1458"/>
                  </a:lnTo>
                  <a:lnTo>
                    <a:pt x="516" y="1464"/>
                  </a:lnTo>
                  <a:lnTo>
                    <a:pt x="516" y="1482"/>
                  </a:lnTo>
                  <a:lnTo>
                    <a:pt x="516" y="1488"/>
                  </a:lnTo>
                  <a:lnTo>
                    <a:pt x="522" y="1488"/>
                  </a:lnTo>
                  <a:lnTo>
                    <a:pt x="522" y="1494"/>
                  </a:lnTo>
                  <a:lnTo>
                    <a:pt x="522" y="1500"/>
                  </a:lnTo>
                  <a:lnTo>
                    <a:pt x="516" y="1506"/>
                  </a:lnTo>
                  <a:lnTo>
                    <a:pt x="510" y="1500"/>
                  </a:lnTo>
                  <a:lnTo>
                    <a:pt x="504" y="1500"/>
                  </a:lnTo>
                  <a:lnTo>
                    <a:pt x="504" y="1494"/>
                  </a:lnTo>
                  <a:lnTo>
                    <a:pt x="504" y="1488"/>
                  </a:lnTo>
                  <a:lnTo>
                    <a:pt x="504" y="1482"/>
                  </a:lnTo>
                  <a:lnTo>
                    <a:pt x="504" y="1488"/>
                  </a:lnTo>
                  <a:lnTo>
                    <a:pt x="504" y="1494"/>
                  </a:lnTo>
                  <a:lnTo>
                    <a:pt x="504" y="1500"/>
                  </a:lnTo>
                  <a:lnTo>
                    <a:pt x="498" y="1500"/>
                  </a:lnTo>
                  <a:lnTo>
                    <a:pt x="492" y="1500"/>
                  </a:lnTo>
                  <a:lnTo>
                    <a:pt x="492" y="1494"/>
                  </a:lnTo>
                  <a:lnTo>
                    <a:pt x="492" y="1488"/>
                  </a:lnTo>
                  <a:lnTo>
                    <a:pt x="492" y="1494"/>
                  </a:lnTo>
                  <a:lnTo>
                    <a:pt x="492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00"/>
                  </a:lnTo>
                  <a:lnTo>
                    <a:pt x="510" y="1500"/>
                  </a:lnTo>
                  <a:lnTo>
                    <a:pt x="510" y="1506"/>
                  </a:lnTo>
                  <a:lnTo>
                    <a:pt x="516" y="1506"/>
                  </a:lnTo>
                  <a:lnTo>
                    <a:pt x="510" y="1506"/>
                  </a:lnTo>
                  <a:lnTo>
                    <a:pt x="510" y="1512"/>
                  </a:lnTo>
                  <a:lnTo>
                    <a:pt x="516" y="1506"/>
                  </a:lnTo>
                  <a:lnTo>
                    <a:pt x="522" y="1506"/>
                  </a:lnTo>
                  <a:lnTo>
                    <a:pt x="528" y="1506"/>
                  </a:lnTo>
                  <a:lnTo>
                    <a:pt x="528" y="1500"/>
                  </a:lnTo>
                  <a:lnTo>
                    <a:pt x="534" y="1500"/>
                  </a:lnTo>
                  <a:lnTo>
                    <a:pt x="534" y="1506"/>
                  </a:lnTo>
                  <a:lnTo>
                    <a:pt x="540" y="1512"/>
                  </a:lnTo>
                  <a:lnTo>
                    <a:pt x="540" y="1518"/>
                  </a:lnTo>
                  <a:lnTo>
                    <a:pt x="546" y="1518"/>
                  </a:lnTo>
                  <a:lnTo>
                    <a:pt x="540" y="1518"/>
                  </a:lnTo>
                  <a:lnTo>
                    <a:pt x="540" y="1524"/>
                  </a:lnTo>
                  <a:lnTo>
                    <a:pt x="534" y="1524"/>
                  </a:lnTo>
                  <a:lnTo>
                    <a:pt x="540" y="1524"/>
                  </a:lnTo>
                  <a:lnTo>
                    <a:pt x="546" y="1524"/>
                  </a:lnTo>
                  <a:lnTo>
                    <a:pt x="546" y="1530"/>
                  </a:lnTo>
                  <a:lnTo>
                    <a:pt x="540" y="1530"/>
                  </a:lnTo>
                  <a:lnTo>
                    <a:pt x="540" y="1536"/>
                  </a:lnTo>
                  <a:lnTo>
                    <a:pt x="534" y="1542"/>
                  </a:lnTo>
                  <a:lnTo>
                    <a:pt x="528" y="1542"/>
                  </a:lnTo>
                  <a:lnTo>
                    <a:pt x="522" y="1542"/>
                  </a:lnTo>
                  <a:lnTo>
                    <a:pt x="516" y="1542"/>
                  </a:lnTo>
                  <a:lnTo>
                    <a:pt x="510" y="1542"/>
                  </a:lnTo>
                  <a:lnTo>
                    <a:pt x="504" y="1542"/>
                  </a:lnTo>
                  <a:lnTo>
                    <a:pt x="492" y="1542"/>
                  </a:lnTo>
                  <a:lnTo>
                    <a:pt x="486" y="1536"/>
                  </a:lnTo>
                  <a:lnTo>
                    <a:pt x="480" y="1536"/>
                  </a:lnTo>
                  <a:lnTo>
                    <a:pt x="468" y="1536"/>
                  </a:lnTo>
                  <a:lnTo>
                    <a:pt x="468" y="1542"/>
                  </a:lnTo>
                  <a:lnTo>
                    <a:pt x="462" y="1542"/>
                  </a:lnTo>
                  <a:lnTo>
                    <a:pt x="456" y="1542"/>
                  </a:lnTo>
                  <a:lnTo>
                    <a:pt x="450" y="1542"/>
                  </a:lnTo>
                  <a:lnTo>
                    <a:pt x="444" y="1542"/>
                  </a:lnTo>
                  <a:lnTo>
                    <a:pt x="444" y="1536"/>
                  </a:lnTo>
                  <a:lnTo>
                    <a:pt x="450" y="1536"/>
                  </a:lnTo>
                  <a:lnTo>
                    <a:pt x="456" y="1536"/>
                  </a:lnTo>
                  <a:lnTo>
                    <a:pt x="450" y="1536"/>
                  </a:lnTo>
                  <a:lnTo>
                    <a:pt x="444" y="1536"/>
                  </a:lnTo>
                  <a:lnTo>
                    <a:pt x="444" y="1530"/>
                  </a:lnTo>
                  <a:lnTo>
                    <a:pt x="450" y="1530"/>
                  </a:lnTo>
                  <a:lnTo>
                    <a:pt x="456" y="1524"/>
                  </a:lnTo>
                  <a:lnTo>
                    <a:pt x="456" y="1518"/>
                  </a:lnTo>
                  <a:lnTo>
                    <a:pt x="462" y="1518"/>
                  </a:lnTo>
                  <a:lnTo>
                    <a:pt x="462" y="1524"/>
                  </a:lnTo>
                  <a:lnTo>
                    <a:pt x="468" y="1524"/>
                  </a:lnTo>
                  <a:lnTo>
                    <a:pt x="474" y="1524"/>
                  </a:lnTo>
                  <a:lnTo>
                    <a:pt x="474" y="1518"/>
                  </a:lnTo>
                  <a:lnTo>
                    <a:pt x="480" y="1518"/>
                  </a:lnTo>
                  <a:lnTo>
                    <a:pt x="474" y="1518"/>
                  </a:lnTo>
                  <a:lnTo>
                    <a:pt x="474" y="1524"/>
                  </a:lnTo>
                  <a:lnTo>
                    <a:pt x="468" y="1524"/>
                  </a:lnTo>
                  <a:lnTo>
                    <a:pt x="462" y="1518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62" y="1512"/>
                  </a:lnTo>
                  <a:lnTo>
                    <a:pt x="462" y="1506"/>
                  </a:lnTo>
                  <a:lnTo>
                    <a:pt x="456" y="1506"/>
                  </a:lnTo>
                  <a:lnTo>
                    <a:pt x="456" y="1512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50" y="1518"/>
                  </a:lnTo>
                  <a:lnTo>
                    <a:pt x="444" y="1518"/>
                  </a:lnTo>
                  <a:lnTo>
                    <a:pt x="444" y="1524"/>
                  </a:lnTo>
                  <a:lnTo>
                    <a:pt x="438" y="1524"/>
                  </a:lnTo>
                  <a:lnTo>
                    <a:pt x="438" y="1530"/>
                  </a:lnTo>
                  <a:lnTo>
                    <a:pt x="432" y="1530"/>
                  </a:lnTo>
                  <a:lnTo>
                    <a:pt x="432" y="1536"/>
                  </a:lnTo>
                  <a:lnTo>
                    <a:pt x="426" y="1530"/>
                  </a:lnTo>
                  <a:lnTo>
                    <a:pt x="420" y="1530"/>
                  </a:lnTo>
                  <a:lnTo>
                    <a:pt x="414" y="1530"/>
                  </a:lnTo>
                  <a:lnTo>
                    <a:pt x="414" y="1524"/>
                  </a:lnTo>
                  <a:lnTo>
                    <a:pt x="408" y="1518"/>
                  </a:lnTo>
                  <a:lnTo>
                    <a:pt x="414" y="1512"/>
                  </a:lnTo>
                  <a:lnTo>
                    <a:pt x="408" y="1512"/>
                  </a:lnTo>
                  <a:lnTo>
                    <a:pt x="408" y="1506"/>
                  </a:lnTo>
                  <a:lnTo>
                    <a:pt x="408" y="1500"/>
                  </a:lnTo>
                  <a:lnTo>
                    <a:pt x="408" y="1494"/>
                  </a:lnTo>
                  <a:lnTo>
                    <a:pt x="408" y="1488"/>
                  </a:lnTo>
                  <a:lnTo>
                    <a:pt x="408" y="1494"/>
                  </a:lnTo>
                  <a:lnTo>
                    <a:pt x="414" y="1494"/>
                  </a:lnTo>
                  <a:lnTo>
                    <a:pt x="420" y="1494"/>
                  </a:lnTo>
                  <a:lnTo>
                    <a:pt x="420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82"/>
                  </a:lnTo>
                  <a:lnTo>
                    <a:pt x="426" y="1476"/>
                  </a:lnTo>
                  <a:lnTo>
                    <a:pt x="432" y="1476"/>
                  </a:lnTo>
                  <a:lnTo>
                    <a:pt x="432" y="1470"/>
                  </a:lnTo>
                  <a:lnTo>
                    <a:pt x="438" y="1470"/>
                  </a:lnTo>
                  <a:lnTo>
                    <a:pt x="444" y="1464"/>
                  </a:lnTo>
                  <a:lnTo>
                    <a:pt x="450" y="1458"/>
                  </a:lnTo>
                  <a:lnTo>
                    <a:pt x="456" y="1458"/>
                  </a:lnTo>
                  <a:lnTo>
                    <a:pt x="462" y="1452"/>
                  </a:lnTo>
                  <a:lnTo>
                    <a:pt x="468" y="1452"/>
                  </a:lnTo>
                  <a:lnTo>
                    <a:pt x="468" y="1446"/>
                  </a:lnTo>
                  <a:lnTo>
                    <a:pt x="462" y="1440"/>
                  </a:lnTo>
                  <a:lnTo>
                    <a:pt x="456" y="1434"/>
                  </a:lnTo>
                  <a:lnTo>
                    <a:pt x="456" y="1428"/>
                  </a:lnTo>
                  <a:lnTo>
                    <a:pt x="456" y="1422"/>
                  </a:lnTo>
                  <a:lnTo>
                    <a:pt x="456" y="1416"/>
                  </a:lnTo>
                  <a:lnTo>
                    <a:pt x="450" y="1410"/>
                  </a:lnTo>
                  <a:lnTo>
                    <a:pt x="444" y="1410"/>
                  </a:lnTo>
                  <a:lnTo>
                    <a:pt x="450" y="1410"/>
                  </a:lnTo>
                  <a:lnTo>
                    <a:pt x="450" y="1404"/>
                  </a:lnTo>
                  <a:lnTo>
                    <a:pt x="456" y="1404"/>
                  </a:lnTo>
                  <a:lnTo>
                    <a:pt x="462" y="1404"/>
                  </a:lnTo>
                  <a:lnTo>
                    <a:pt x="468" y="1398"/>
                  </a:lnTo>
                  <a:lnTo>
                    <a:pt x="462" y="1398"/>
                  </a:lnTo>
                  <a:lnTo>
                    <a:pt x="462" y="1392"/>
                  </a:lnTo>
                  <a:lnTo>
                    <a:pt x="456" y="1392"/>
                  </a:lnTo>
                  <a:lnTo>
                    <a:pt x="456" y="1386"/>
                  </a:lnTo>
                  <a:lnTo>
                    <a:pt x="462" y="1386"/>
                  </a:lnTo>
                  <a:lnTo>
                    <a:pt x="468" y="1386"/>
                  </a:lnTo>
                  <a:lnTo>
                    <a:pt x="474" y="1386"/>
                  </a:lnTo>
                  <a:lnTo>
                    <a:pt x="468" y="1386"/>
                  </a:lnTo>
                  <a:lnTo>
                    <a:pt x="462" y="1386"/>
                  </a:lnTo>
                  <a:lnTo>
                    <a:pt x="456" y="1380"/>
                  </a:lnTo>
                  <a:lnTo>
                    <a:pt x="456" y="1374"/>
                  </a:lnTo>
                  <a:lnTo>
                    <a:pt x="462" y="1374"/>
                  </a:lnTo>
                  <a:lnTo>
                    <a:pt x="462" y="1368"/>
                  </a:lnTo>
                  <a:lnTo>
                    <a:pt x="456" y="1374"/>
                  </a:lnTo>
                  <a:lnTo>
                    <a:pt x="456" y="1368"/>
                  </a:lnTo>
                  <a:lnTo>
                    <a:pt x="456" y="1362"/>
                  </a:lnTo>
                  <a:lnTo>
                    <a:pt x="450" y="1362"/>
                  </a:lnTo>
                  <a:lnTo>
                    <a:pt x="450" y="1356"/>
                  </a:lnTo>
                  <a:lnTo>
                    <a:pt x="450" y="1350"/>
                  </a:lnTo>
                  <a:lnTo>
                    <a:pt x="450" y="1344"/>
                  </a:lnTo>
                  <a:lnTo>
                    <a:pt x="456" y="1344"/>
                  </a:lnTo>
                  <a:lnTo>
                    <a:pt x="456" y="1338"/>
                  </a:lnTo>
                  <a:lnTo>
                    <a:pt x="462" y="1338"/>
                  </a:lnTo>
                  <a:lnTo>
                    <a:pt x="462" y="1332"/>
                  </a:lnTo>
                  <a:lnTo>
                    <a:pt x="456" y="1332"/>
                  </a:lnTo>
                  <a:lnTo>
                    <a:pt x="456" y="1326"/>
                  </a:lnTo>
                  <a:lnTo>
                    <a:pt x="450" y="1326"/>
                  </a:lnTo>
                  <a:lnTo>
                    <a:pt x="444" y="1326"/>
                  </a:lnTo>
                  <a:lnTo>
                    <a:pt x="444" y="1332"/>
                  </a:lnTo>
                  <a:lnTo>
                    <a:pt x="438" y="1332"/>
                  </a:lnTo>
                  <a:lnTo>
                    <a:pt x="438" y="1338"/>
                  </a:lnTo>
                  <a:lnTo>
                    <a:pt x="432" y="1338"/>
                  </a:lnTo>
                  <a:lnTo>
                    <a:pt x="432" y="1344"/>
                  </a:lnTo>
                  <a:lnTo>
                    <a:pt x="432" y="1350"/>
                  </a:lnTo>
                  <a:lnTo>
                    <a:pt x="426" y="1356"/>
                  </a:lnTo>
                  <a:lnTo>
                    <a:pt x="426" y="1368"/>
                  </a:lnTo>
                  <a:lnTo>
                    <a:pt x="426" y="1374"/>
                  </a:lnTo>
                  <a:lnTo>
                    <a:pt x="426" y="1380"/>
                  </a:lnTo>
                  <a:lnTo>
                    <a:pt x="432" y="1386"/>
                  </a:lnTo>
                  <a:lnTo>
                    <a:pt x="432" y="1392"/>
                  </a:lnTo>
                  <a:lnTo>
                    <a:pt x="432" y="1398"/>
                  </a:lnTo>
                  <a:lnTo>
                    <a:pt x="426" y="1398"/>
                  </a:lnTo>
                  <a:lnTo>
                    <a:pt x="420" y="1398"/>
                  </a:lnTo>
                  <a:lnTo>
                    <a:pt x="414" y="1398"/>
                  </a:lnTo>
                  <a:lnTo>
                    <a:pt x="420" y="1398"/>
                  </a:lnTo>
                  <a:lnTo>
                    <a:pt x="414" y="1404"/>
                  </a:lnTo>
                  <a:lnTo>
                    <a:pt x="420" y="1404"/>
                  </a:lnTo>
                  <a:lnTo>
                    <a:pt x="414" y="1404"/>
                  </a:lnTo>
                  <a:lnTo>
                    <a:pt x="408" y="1404"/>
                  </a:lnTo>
                  <a:lnTo>
                    <a:pt x="402" y="1410"/>
                  </a:lnTo>
                  <a:lnTo>
                    <a:pt x="402" y="1404"/>
                  </a:lnTo>
                  <a:lnTo>
                    <a:pt x="396" y="1404"/>
                  </a:lnTo>
                  <a:lnTo>
                    <a:pt x="390" y="1404"/>
                  </a:lnTo>
                  <a:lnTo>
                    <a:pt x="384" y="1404"/>
                  </a:lnTo>
                  <a:lnTo>
                    <a:pt x="384" y="1398"/>
                  </a:lnTo>
                  <a:lnTo>
                    <a:pt x="384" y="1392"/>
                  </a:lnTo>
                  <a:lnTo>
                    <a:pt x="390" y="1392"/>
                  </a:lnTo>
                  <a:lnTo>
                    <a:pt x="390" y="1386"/>
                  </a:lnTo>
                  <a:lnTo>
                    <a:pt x="390" y="1380"/>
                  </a:lnTo>
                  <a:lnTo>
                    <a:pt x="396" y="1380"/>
                  </a:lnTo>
                  <a:lnTo>
                    <a:pt x="402" y="1380"/>
                  </a:lnTo>
                  <a:lnTo>
                    <a:pt x="408" y="1380"/>
                  </a:lnTo>
                  <a:lnTo>
                    <a:pt x="408" y="1374"/>
                  </a:lnTo>
                  <a:lnTo>
                    <a:pt x="414" y="1374"/>
                  </a:lnTo>
                  <a:lnTo>
                    <a:pt x="414" y="1368"/>
                  </a:lnTo>
                  <a:lnTo>
                    <a:pt x="414" y="1362"/>
                  </a:lnTo>
                  <a:lnTo>
                    <a:pt x="414" y="1368"/>
                  </a:lnTo>
                  <a:lnTo>
                    <a:pt x="414" y="1374"/>
                  </a:lnTo>
                  <a:lnTo>
                    <a:pt x="408" y="1374"/>
                  </a:lnTo>
                  <a:lnTo>
                    <a:pt x="402" y="1380"/>
                  </a:lnTo>
                  <a:lnTo>
                    <a:pt x="396" y="1380"/>
                  </a:lnTo>
                  <a:lnTo>
                    <a:pt x="396" y="1374"/>
                  </a:lnTo>
                  <a:lnTo>
                    <a:pt x="390" y="1374"/>
                  </a:lnTo>
                  <a:lnTo>
                    <a:pt x="390" y="1368"/>
                  </a:lnTo>
                  <a:lnTo>
                    <a:pt x="384" y="1368"/>
                  </a:lnTo>
                  <a:lnTo>
                    <a:pt x="384" y="1374"/>
                  </a:lnTo>
                  <a:lnTo>
                    <a:pt x="378" y="1374"/>
                  </a:lnTo>
                  <a:lnTo>
                    <a:pt x="378" y="1380"/>
                  </a:lnTo>
                  <a:lnTo>
                    <a:pt x="372" y="1380"/>
                  </a:lnTo>
                  <a:lnTo>
                    <a:pt x="366" y="1386"/>
                  </a:lnTo>
                  <a:lnTo>
                    <a:pt x="360" y="1386"/>
                  </a:lnTo>
                  <a:lnTo>
                    <a:pt x="354" y="1386"/>
                  </a:lnTo>
                  <a:lnTo>
                    <a:pt x="354" y="1380"/>
                  </a:lnTo>
                  <a:lnTo>
                    <a:pt x="348" y="1380"/>
                  </a:lnTo>
                  <a:lnTo>
                    <a:pt x="342" y="1380"/>
                  </a:lnTo>
                  <a:lnTo>
                    <a:pt x="342" y="1374"/>
                  </a:lnTo>
                  <a:lnTo>
                    <a:pt x="336" y="1368"/>
                  </a:lnTo>
                  <a:lnTo>
                    <a:pt x="342" y="1368"/>
                  </a:lnTo>
                  <a:lnTo>
                    <a:pt x="342" y="1362"/>
                  </a:lnTo>
                  <a:lnTo>
                    <a:pt x="348" y="1362"/>
                  </a:lnTo>
                  <a:lnTo>
                    <a:pt x="354" y="1362"/>
                  </a:lnTo>
                  <a:lnTo>
                    <a:pt x="354" y="1356"/>
                  </a:lnTo>
                  <a:lnTo>
                    <a:pt x="348" y="1356"/>
                  </a:lnTo>
                  <a:lnTo>
                    <a:pt x="348" y="1350"/>
                  </a:lnTo>
                  <a:lnTo>
                    <a:pt x="348" y="1344"/>
                  </a:lnTo>
                  <a:lnTo>
                    <a:pt x="354" y="1338"/>
                  </a:lnTo>
                  <a:lnTo>
                    <a:pt x="354" y="1332"/>
                  </a:lnTo>
                  <a:lnTo>
                    <a:pt x="354" y="1326"/>
                  </a:lnTo>
                  <a:lnTo>
                    <a:pt x="354" y="1320"/>
                  </a:lnTo>
                  <a:lnTo>
                    <a:pt x="354" y="1314"/>
                  </a:lnTo>
                  <a:lnTo>
                    <a:pt x="354" y="1308"/>
                  </a:lnTo>
                  <a:lnTo>
                    <a:pt x="348" y="1308"/>
                  </a:lnTo>
                  <a:lnTo>
                    <a:pt x="348" y="1302"/>
                  </a:lnTo>
                  <a:lnTo>
                    <a:pt x="342" y="1296"/>
                  </a:lnTo>
                  <a:lnTo>
                    <a:pt x="336" y="1296"/>
                  </a:lnTo>
                  <a:lnTo>
                    <a:pt x="336" y="1290"/>
                  </a:lnTo>
                  <a:lnTo>
                    <a:pt x="330" y="1290"/>
                  </a:lnTo>
                  <a:lnTo>
                    <a:pt x="324" y="1290"/>
                  </a:lnTo>
                  <a:lnTo>
                    <a:pt x="324" y="1284"/>
                  </a:lnTo>
                  <a:lnTo>
                    <a:pt x="318" y="1284"/>
                  </a:lnTo>
                  <a:lnTo>
                    <a:pt x="318" y="1278"/>
                  </a:lnTo>
                  <a:lnTo>
                    <a:pt x="312" y="1278"/>
                  </a:lnTo>
                  <a:lnTo>
                    <a:pt x="312" y="1272"/>
                  </a:lnTo>
                  <a:lnTo>
                    <a:pt x="312" y="1278"/>
                  </a:lnTo>
                  <a:lnTo>
                    <a:pt x="318" y="1284"/>
                  </a:lnTo>
                  <a:lnTo>
                    <a:pt x="324" y="1290"/>
                  </a:lnTo>
                  <a:lnTo>
                    <a:pt x="330" y="1290"/>
                  </a:lnTo>
                  <a:lnTo>
                    <a:pt x="330" y="1296"/>
                  </a:lnTo>
                  <a:lnTo>
                    <a:pt x="336" y="1296"/>
                  </a:lnTo>
                  <a:lnTo>
                    <a:pt x="336" y="1302"/>
                  </a:lnTo>
                  <a:lnTo>
                    <a:pt x="342" y="1302"/>
                  </a:lnTo>
                  <a:lnTo>
                    <a:pt x="348" y="1302"/>
                  </a:lnTo>
                  <a:lnTo>
                    <a:pt x="348" y="1308"/>
                  </a:lnTo>
                  <a:lnTo>
                    <a:pt x="348" y="1314"/>
                  </a:lnTo>
                  <a:lnTo>
                    <a:pt x="354" y="1314"/>
                  </a:lnTo>
                  <a:lnTo>
                    <a:pt x="354" y="1320"/>
                  </a:lnTo>
                  <a:lnTo>
                    <a:pt x="354" y="1326"/>
                  </a:lnTo>
                  <a:lnTo>
                    <a:pt x="348" y="1326"/>
                  </a:lnTo>
                  <a:lnTo>
                    <a:pt x="348" y="1332"/>
                  </a:lnTo>
                  <a:lnTo>
                    <a:pt x="348" y="1338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2" y="1350"/>
                  </a:lnTo>
                  <a:lnTo>
                    <a:pt x="336" y="1350"/>
                  </a:lnTo>
                  <a:lnTo>
                    <a:pt x="330" y="1350"/>
                  </a:lnTo>
                  <a:lnTo>
                    <a:pt x="330" y="1356"/>
                  </a:lnTo>
                  <a:lnTo>
                    <a:pt x="330" y="1350"/>
                  </a:lnTo>
                  <a:lnTo>
                    <a:pt x="324" y="1350"/>
                  </a:lnTo>
                  <a:lnTo>
                    <a:pt x="318" y="1344"/>
                  </a:lnTo>
                  <a:lnTo>
                    <a:pt x="318" y="1350"/>
                  </a:lnTo>
                  <a:lnTo>
                    <a:pt x="312" y="1344"/>
                  </a:lnTo>
                  <a:lnTo>
                    <a:pt x="312" y="1338"/>
                  </a:lnTo>
                  <a:lnTo>
                    <a:pt x="306" y="1338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6" y="1326"/>
                  </a:lnTo>
                  <a:lnTo>
                    <a:pt x="306" y="1320"/>
                  </a:lnTo>
                  <a:lnTo>
                    <a:pt x="306" y="1326"/>
                  </a:lnTo>
                  <a:lnTo>
                    <a:pt x="312" y="1326"/>
                  </a:lnTo>
                  <a:lnTo>
                    <a:pt x="312" y="1320"/>
                  </a:lnTo>
                  <a:lnTo>
                    <a:pt x="306" y="1320"/>
                  </a:lnTo>
                  <a:lnTo>
                    <a:pt x="300" y="1320"/>
                  </a:lnTo>
                  <a:lnTo>
                    <a:pt x="294" y="1320"/>
                  </a:lnTo>
                  <a:lnTo>
                    <a:pt x="294" y="1314"/>
                  </a:lnTo>
                  <a:lnTo>
                    <a:pt x="288" y="1314"/>
                  </a:lnTo>
                  <a:lnTo>
                    <a:pt x="288" y="1308"/>
                  </a:lnTo>
                  <a:lnTo>
                    <a:pt x="288" y="1302"/>
                  </a:lnTo>
                  <a:lnTo>
                    <a:pt x="294" y="1302"/>
                  </a:lnTo>
                  <a:lnTo>
                    <a:pt x="294" y="1296"/>
                  </a:lnTo>
                  <a:lnTo>
                    <a:pt x="288" y="1296"/>
                  </a:lnTo>
                  <a:lnTo>
                    <a:pt x="288" y="1290"/>
                  </a:lnTo>
                  <a:lnTo>
                    <a:pt x="288" y="1296"/>
                  </a:lnTo>
                  <a:lnTo>
                    <a:pt x="294" y="1302"/>
                  </a:lnTo>
                  <a:lnTo>
                    <a:pt x="288" y="1302"/>
                  </a:lnTo>
                  <a:lnTo>
                    <a:pt x="282" y="1296"/>
                  </a:lnTo>
                  <a:lnTo>
                    <a:pt x="276" y="1296"/>
                  </a:lnTo>
                  <a:lnTo>
                    <a:pt x="276" y="1290"/>
                  </a:lnTo>
                  <a:lnTo>
                    <a:pt x="270" y="1290"/>
                  </a:lnTo>
                  <a:lnTo>
                    <a:pt x="264" y="1284"/>
                  </a:lnTo>
                  <a:lnTo>
                    <a:pt x="264" y="1278"/>
                  </a:lnTo>
                  <a:lnTo>
                    <a:pt x="264" y="1272"/>
                  </a:lnTo>
                  <a:lnTo>
                    <a:pt x="264" y="1266"/>
                  </a:lnTo>
                  <a:lnTo>
                    <a:pt x="258" y="1266"/>
                  </a:lnTo>
                  <a:lnTo>
                    <a:pt x="252" y="1266"/>
                  </a:lnTo>
                  <a:lnTo>
                    <a:pt x="246" y="1260"/>
                  </a:lnTo>
                  <a:lnTo>
                    <a:pt x="240" y="1254"/>
                  </a:lnTo>
                  <a:lnTo>
                    <a:pt x="240" y="1260"/>
                  </a:lnTo>
                  <a:lnTo>
                    <a:pt x="240" y="1266"/>
                  </a:lnTo>
                  <a:lnTo>
                    <a:pt x="240" y="1272"/>
                  </a:lnTo>
                  <a:lnTo>
                    <a:pt x="246" y="1272"/>
                  </a:lnTo>
                  <a:lnTo>
                    <a:pt x="246" y="1278"/>
                  </a:lnTo>
                  <a:lnTo>
                    <a:pt x="246" y="1284"/>
                  </a:lnTo>
                  <a:lnTo>
                    <a:pt x="252" y="1284"/>
                  </a:lnTo>
                  <a:lnTo>
                    <a:pt x="252" y="1290"/>
                  </a:lnTo>
                  <a:lnTo>
                    <a:pt x="258" y="1296"/>
                  </a:lnTo>
                  <a:lnTo>
                    <a:pt x="264" y="1302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58" y="1314"/>
                  </a:lnTo>
                  <a:lnTo>
                    <a:pt x="258" y="1308"/>
                  </a:lnTo>
                  <a:lnTo>
                    <a:pt x="252" y="1308"/>
                  </a:lnTo>
                  <a:lnTo>
                    <a:pt x="252" y="1302"/>
                  </a:lnTo>
                  <a:lnTo>
                    <a:pt x="246" y="1302"/>
                  </a:lnTo>
                  <a:lnTo>
                    <a:pt x="246" y="1296"/>
                  </a:lnTo>
                  <a:lnTo>
                    <a:pt x="240" y="1296"/>
                  </a:lnTo>
                  <a:lnTo>
                    <a:pt x="240" y="1290"/>
                  </a:lnTo>
                  <a:lnTo>
                    <a:pt x="234" y="1284"/>
                  </a:lnTo>
                  <a:lnTo>
                    <a:pt x="234" y="1278"/>
                  </a:lnTo>
                  <a:close/>
                  <a:moveTo>
                    <a:pt x="444" y="1332"/>
                  </a:moveTo>
                  <a:lnTo>
                    <a:pt x="450" y="1326"/>
                  </a:lnTo>
                  <a:lnTo>
                    <a:pt x="456" y="1326"/>
                  </a:lnTo>
                  <a:lnTo>
                    <a:pt x="456" y="1332"/>
                  </a:lnTo>
                  <a:lnTo>
                    <a:pt x="456" y="1338"/>
                  </a:lnTo>
                  <a:lnTo>
                    <a:pt x="450" y="1338"/>
                  </a:lnTo>
                  <a:lnTo>
                    <a:pt x="444" y="1338"/>
                  </a:lnTo>
                  <a:lnTo>
                    <a:pt x="444" y="1332"/>
                  </a:lnTo>
                  <a:close/>
                  <a:moveTo>
                    <a:pt x="444" y="1368"/>
                  </a:moveTo>
                  <a:lnTo>
                    <a:pt x="456" y="1368"/>
                  </a:lnTo>
                  <a:lnTo>
                    <a:pt x="456" y="1374"/>
                  </a:lnTo>
                  <a:lnTo>
                    <a:pt x="444" y="1374"/>
                  </a:lnTo>
                  <a:lnTo>
                    <a:pt x="444" y="1368"/>
                  </a:lnTo>
                  <a:close/>
                  <a:moveTo>
                    <a:pt x="444" y="1386"/>
                  </a:moveTo>
                  <a:lnTo>
                    <a:pt x="444" y="1380"/>
                  </a:lnTo>
                  <a:lnTo>
                    <a:pt x="444" y="1374"/>
                  </a:lnTo>
                  <a:lnTo>
                    <a:pt x="444" y="1380"/>
                  </a:lnTo>
                  <a:lnTo>
                    <a:pt x="450" y="1380"/>
                  </a:lnTo>
                  <a:lnTo>
                    <a:pt x="456" y="1380"/>
                  </a:lnTo>
                  <a:lnTo>
                    <a:pt x="456" y="1386"/>
                  </a:lnTo>
                  <a:lnTo>
                    <a:pt x="456" y="1392"/>
                  </a:lnTo>
                  <a:lnTo>
                    <a:pt x="462" y="1392"/>
                  </a:lnTo>
                  <a:lnTo>
                    <a:pt x="462" y="1398"/>
                  </a:lnTo>
                  <a:lnTo>
                    <a:pt x="462" y="1404"/>
                  </a:lnTo>
                  <a:lnTo>
                    <a:pt x="456" y="1404"/>
                  </a:lnTo>
                  <a:lnTo>
                    <a:pt x="450" y="1404"/>
                  </a:lnTo>
                  <a:lnTo>
                    <a:pt x="450" y="1398"/>
                  </a:lnTo>
                  <a:lnTo>
                    <a:pt x="444" y="1398"/>
                  </a:lnTo>
                  <a:lnTo>
                    <a:pt x="444" y="1392"/>
                  </a:lnTo>
                  <a:lnTo>
                    <a:pt x="444" y="1386"/>
                  </a:lnTo>
                  <a:close/>
                  <a:moveTo>
                    <a:pt x="438" y="1362"/>
                  </a:moveTo>
                  <a:lnTo>
                    <a:pt x="444" y="1356"/>
                  </a:lnTo>
                  <a:lnTo>
                    <a:pt x="450" y="1356"/>
                  </a:lnTo>
                  <a:lnTo>
                    <a:pt x="450" y="1362"/>
                  </a:lnTo>
                  <a:lnTo>
                    <a:pt x="450" y="1368"/>
                  </a:lnTo>
                  <a:lnTo>
                    <a:pt x="444" y="1368"/>
                  </a:lnTo>
                  <a:lnTo>
                    <a:pt x="444" y="1362"/>
                  </a:lnTo>
                  <a:lnTo>
                    <a:pt x="438" y="1362"/>
                  </a:lnTo>
                  <a:close/>
                  <a:moveTo>
                    <a:pt x="438" y="1350"/>
                  </a:moveTo>
                  <a:lnTo>
                    <a:pt x="438" y="1344"/>
                  </a:lnTo>
                  <a:lnTo>
                    <a:pt x="438" y="1338"/>
                  </a:lnTo>
                  <a:lnTo>
                    <a:pt x="444" y="1338"/>
                  </a:lnTo>
                  <a:lnTo>
                    <a:pt x="450" y="1338"/>
                  </a:lnTo>
                  <a:lnTo>
                    <a:pt x="456" y="1338"/>
                  </a:lnTo>
                  <a:lnTo>
                    <a:pt x="450" y="1344"/>
                  </a:lnTo>
                  <a:lnTo>
                    <a:pt x="444" y="1350"/>
                  </a:lnTo>
                  <a:lnTo>
                    <a:pt x="438" y="1350"/>
                  </a:lnTo>
                  <a:close/>
                  <a:moveTo>
                    <a:pt x="432" y="1380"/>
                  </a:moveTo>
                  <a:lnTo>
                    <a:pt x="432" y="1368"/>
                  </a:lnTo>
                  <a:lnTo>
                    <a:pt x="432" y="1362"/>
                  </a:lnTo>
                  <a:lnTo>
                    <a:pt x="432" y="1356"/>
                  </a:lnTo>
                  <a:lnTo>
                    <a:pt x="438" y="1356"/>
                  </a:lnTo>
                  <a:lnTo>
                    <a:pt x="438" y="1362"/>
                  </a:lnTo>
                  <a:lnTo>
                    <a:pt x="438" y="1368"/>
                  </a:lnTo>
                  <a:lnTo>
                    <a:pt x="438" y="1374"/>
                  </a:lnTo>
                  <a:lnTo>
                    <a:pt x="438" y="1380"/>
                  </a:lnTo>
                  <a:lnTo>
                    <a:pt x="438" y="1386"/>
                  </a:lnTo>
                  <a:lnTo>
                    <a:pt x="438" y="1380"/>
                  </a:lnTo>
                  <a:lnTo>
                    <a:pt x="432" y="1380"/>
                  </a:lnTo>
                  <a:close/>
                  <a:moveTo>
                    <a:pt x="246" y="1272"/>
                  </a:moveTo>
                  <a:lnTo>
                    <a:pt x="252" y="1272"/>
                  </a:lnTo>
                  <a:lnTo>
                    <a:pt x="252" y="1278"/>
                  </a:lnTo>
                  <a:lnTo>
                    <a:pt x="246" y="1278"/>
                  </a:lnTo>
                  <a:lnTo>
                    <a:pt x="246" y="1272"/>
                  </a:lnTo>
                  <a:close/>
                  <a:moveTo>
                    <a:pt x="426" y="1416"/>
                  </a:moveTo>
                  <a:lnTo>
                    <a:pt x="432" y="1410"/>
                  </a:lnTo>
                  <a:lnTo>
                    <a:pt x="438" y="1410"/>
                  </a:lnTo>
                  <a:lnTo>
                    <a:pt x="438" y="1416"/>
                  </a:lnTo>
                  <a:lnTo>
                    <a:pt x="438" y="1422"/>
                  </a:lnTo>
                  <a:lnTo>
                    <a:pt x="432" y="1422"/>
                  </a:lnTo>
                  <a:lnTo>
                    <a:pt x="426" y="1422"/>
                  </a:lnTo>
                  <a:lnTo>
                    <a:pt x="426" y="1416"/>
                  </a:lnTo>
                  <a:close/>
                  <a:moveTo>
                    <a:pt x="246" y="1266"/>
                  </a:moveTo>
                  <a:lnTo>
                    <a:pt x="252" y="1266"/>
                  </a:lnTo>
                  <a:lnTo>
                    <a:pt x="258" y="1272"/>
                  </a:lnTo>
                  <a:lnTo>
                    <a:pt x="258" y="1278"/>
                  </a:lnTo>
                  <a:lnTo>
                    <a:pt x="258" y="1284"/>
                  </a:lnTo>
                  <a:lnTo>
                    <a:pt x="252" y="1284"/>
                  </a:lnTo>
                  <a:lnTo>
                    <a:pt x="252" y="1278"/>
                  </a:lnTo>
                  <a:lnTo>
                    <a:pt x="252" y="1272"/>
                  </a:lnTo>
                  <a:lnTo>
                    <a:pt x="252" y="1266"/>
                  </a:lnTo>
                  <a:lnTo>
                    <a:pt x="246" y="1266"/>
                  </a:lnTo>
                  <a:close/>
                  <a:moveTo>
                    <a:pt x="408" y="1458"/>
                  </a:moveTo>
                  <a:lnTo>
                    <a:pt x="408" y="1452"/>
                  </a:lnTo>
                  <a:lnTo>
                    <a:pt x="414" y="1452"/>
                  </a:lnTo>
                  <a:lnTo>
                    <a:pt x="414" y="1446"/>
                  </a:lnTo>
                  <a:lnTo>
                    <a:pt x="414" y="1440"/>
                  </a:lnTo>
                  <a:lnTo>
                    <a:pt x="420" y="1440"/>
                  </a:lnTo>
                  <a:lnTo>
                    <a:pt x="420" y="1434"/>
                  </a:lnTo>
                  <a:lnTo>
                    <a:pt x="420" y="1428"/>
                  </a:lnTo>
                  <a:lnTo>
                    <a:pt x="420" y="1422"/>
                  </a:lnTo>
                  <a:lnTo>
                    <a:pt x="426" y="1422"/>
                  </a:lnTo>
                  <a:lnTo>
                    <a:pt x="432" y="1428"/>
                  </a:lnTo>
                  <a:lnTo>
                    <a:pt x="438" y="1428"/>
                  </a:lnTo>
                  <a:lnTo>
                    <a:pt x="438" y="1434"/>
                  </a:lnTo>
                  <a:lnTo>
                    <a:pt x="438" y="1428"/>
                  </a:lnTo>
                  <a:lnTo>
                    <a:pt x="438" y="1422"/>
                  </a:lnTo>
                  <a:lnTo>
                    <a:pt x="444" y="1416"/>
                  </a:lnTo>
                  <a:lnTo>
                    <a:pt x="444" y="1410"/>
                  </a:lnTo>
                  <a:lnTo>
                    <a:pt x="450" y="1416"/>
                  </a:lnTo>
                  <a:lnTo>
                    <a:pt x="456" y="1416"/>
                  </a:lnTo>
                  <a:lnTo>
                    <a:pt x="456" y="1422"/>
                  </a:lnTo>
                  <a:lnTo>
                    <a:pt x="456" y="1428"/>
                  </a:lnTo>
                  <a:lnTo>
                    <a:pt x="456" y="1434"/>
                  </a:lnTo>
                  <a:lnTo>
                    <a:pt x="456" y="1440"/>
                  </a:lnTo>
                  <a:lnTo>
                    <a:pt x="462" y="1440"/>
                  </a:lnTo>
                  <a:lnTo>
                    <a:pt x="462" y="1446"/>
                  </a:lnTo>
                  <a:lnTo>
                    <a:pt x="462" y="1452"/>
                  </a:lnTo>
                  <a:lnTo>
                    <a:pt x="456" y="1452"/>
                  </a:lnTo>
                  <a:lnTo>
                    <a:pt x="450" y="1452"/>
                  </a:lnTo>
                  <a:lnTo>
                    <a:pt x="444" y="1446"/>
                  </a:lnTo>
                  <a:lnTo>
                    <a:pt x="444" y="1452"/>
                  </a:lnTo>
                  <a:lnTo>
                    <a:pt x="450" y="1452"/>
                  </a:lnTo>
                  <a:lnTo>
                    <a:pt x="450" y="1458"/>
                  </a:lnTo>
                  <a:lnTo>
                    <a:pt x="444" y="1458"/>
                  </a:lnTo>
                  <a:lnTo>
                    <a:pt x="438" y="1464"/>
                  </a:lnTo>
                  <a:lnTo>
                    <a:pt x="438" y="1458"/>
                  </a:lnTo>
                  <a:lnTo>
                    <a:pt x="432" y="1458"/>
                  </a:lnTo>
                  <a:lnTo>
                    <a:pt x="426" y="1458"/>
                  </a:lnTo>
                  <a:lnTo>
                    <a:pt x="432" y="1458"/>
                  </a:lnTo>
                  <a:lnTo>
                    <a:pt x="438" y="1464"/>
                  </a:lnTo>
                  <a:lnTo>
                    <a:pt x="432" y="1464"/>
                  </a:lnTo>
                  <a:lnTo>
                    <a:pt x="432" y="1470"/>
                  </a:lnTo>
                  <a:lnTo>
                    <a:pt x="426" y="1470"/>
                  </a:lnTo>
                  <a:lnTo>
                    <a:pt x="420" y="1476"/>
                  </a:lnTo>
                  <a:lnTo>
                    <a:pt x="420" y="1470"/>
                  </a:lnTo>
                  <a:lnTo>
                    <a:pt x="414" y="1470"/>
                  </a:lnTo>
                  <a:lnTo>
                    <a:pt x="414" y="1464"/>
                  </a:lnTo>
                  <a:lnTo>
                    <a:pt x="414" y="1458"/>
                  </a:lnTo>
                  <a:lnTo>
                    <a:pt x="408" y="1458"/>
                  </a:lnTo>
                  <a:close/>
                  <a:moveTo>
                    <a:pt x="270" y="1326"/>
                  </a:moveTo>
                  <a:lnTo>
                    <a:pt x="270" y="1320"/>
                  </a:lnTo>
                  <a:lnTo>
                    <a:pt x="276" y="1320"/>
                  </a:lnTo>
                  <a:lnTo>
                    <a:pt x="282" y="1326"/>
                  </a:lnTo>
                  <a:lnTo>
                    <a:pt x="288" y="1326"/>
                  </a:lnTo>
                  <a:lnTo>
                    <a:pt x="288" y="1332"/>
                  </a:lnTo>
                  <a:lnTo>
                    <a:pt x="288" y="1338"/>
                  </a:lnTo>
                  <a:lnTo>
                    <a:pt x="288" y="1344"/>
                  </a:lnTo>
                  <a:lnTo>
                    <a:pt x="282" y="1344"/>
                  </a:lnTo>
                  <a:lnTo>
                    <a:pt x="282" y="1338"/>
                  </a:lnTo>
                  <a:lnTo>
                    <a:pt x="276" y="1338"/>
                  </a:lnTo>
                  <a:lnTo>
                    <a:pt x="276" y="1332"/>
                  </a:lnTo>
                  <a:lnTo>
                    <a:pt x="270" y="1332"/>
                  </a:lnTo>
                  <a:lnTo>
                    <a:pt x="270" y="1326"/>
                  </a:lnTo>
                  <a:close/>
                  <a:moveTo>
                    <a:pt x="288" y="1458"/>
                  </a:moveTo>
                  <a:lnTo>
                    <a:pt x="294" y="1458"/>
                  </a:lnTo>
                  <a:lnTo>
                    <a:pt x="294" y="1452"/>
                  </a:lnTo>
                  <a:lnTo>
                    <a:pt x="294" y="1446"/>
                  </a:lnTo>
                  <a:lnTo>
                    <a:pt x="300" y="1446"/>
                  </a:lnTo>
                  <a:lnTo>
                    <a:pt x="300" y="1440"/>
                  </a:lnTo>
                  <a:lnTo>
                    <a:pt x="306" y="1440"/>
                  </a:lnTo>
                  <a:lnTo>
                    <a:pt x="306" y="1446"/>
                  </a:lnTo>
                  <a:lnTo>
                    <a:pt x="312" y="1452"/>
                  </a:lnTo>
                  <a:lnTo>
                    <a:pt x="306" y="1452"/>
                  </a:lnTo>
                  <a:lnTo>
                    <a:pt x="306" y="1458"/>
                  </a:lnTo>
                  <a:lnTo>
                    <a:pt x="312" y="1464"/>
                  </a:lnTo>
                  <a:lnTo>
                    <a:pt x="306" y="1464"/>
                  </a:lnTo>
                  <a:lnTo>
                    <a:pt x="306" y="1470"/>
                  </a:lnTo>
                  <a:lnTo>
                    <a:pt x="300" y="1476"/>
                  </a:lnTo>
                  <a:lnTo>
                    <a:pt x="294" y="1476"/>
                  </a:lnTo>
                  <a:lnTo>
                    <a:pt x="294" y="1470"/>
                  </a:lnTo>
                  <a:lnTo>
                    <a:pt x="288" y="1470"/>
                  </a:lnTo>
                  <a:lnTo>
                    <a:pt x="288" y="1464"/>
                  </a:lnTo>
                  <a:lnTo>
                    <a:pt x="288" y="1458"/>
                  </a:lnTo>
                  <a:close/>
                  <a:moveTo>
                    <a:pt x="270" y="1296"/>
                  </a:moveTo>
                  <a:lnTo>
                    <a:pt x="276" y="1296"/>
                  </a:lnTo>
                  <a:lnTo>
                    <a:pt x="282" y="1296"/>
                  </a:lnTo>
                  <a:lnTo>
                    <a:pt x="288" y="1296"/>
                  </a:lnTo>
                  <a:lnTo>
                    <a:pt x="288" y="1302"/>
                  </a:lnTo>
                  <a:lnTo>
                    <a:pt x="282" y="1308"/>
                  </a:lnTo>
                  <a:lnTo>
                    <a:pt x="276" y="1308"/>
                  </a:lnTo>
                  <a:lnTo>
                    <a:pt x="276" y="1302"/>
                  </a:lnTo>
                  <a:lnTo>
                    <a:pt x="270" y="12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4" name="Freeform 19">
              <a:extLst>
                <a:ext uri="{FF2B5EF4-FFF2-40B4-BE49-F238E27FC236}">
                  <a16:creationId xmlns:a16="http://schemas.microsoft.com/office/drawing/2014/main" id="{5B9020B8-E1C1-4611-A248-9642BBD69C9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7043" y="3765821"/>
              <a:ext cx="333193" cy="398097"/>
            </a:xfrm>
            <a:custGeom>
              <a:avLst/>
              <a:gdLst>
                <a:gd name="T0" fmla="*/ 30 w 624"/>
                <a:gd name="T1" fmla="*/ 61 h 750"/>
                <a:gd name="T2" fmla="*/ 27 w 624"/>
                <a:gd name="T3" fmla="*/ 62 h 750"/>
                <a:gd name="T4" fmla="*/ 23 w 624"/>
                <a:gd name="T5" fmla="*/ 59 h 750"/>
                <a:gd name="T6" fmla="*/ 20 w 624"/>
                <a:gd name="T7" fmla="*/ 58 h 750"/>
                <a:gd name="T8" fmla="*/ 19 w 624"/>
                <a:gd name="T9" fmla="*/ 56 h 750"/>
                <a:gd name="T10" fmla="*/ 17 w 624"/>
                <a:gd name="T11" fmla="*/ 55 h 750"/>
                <a:gd name="T12" fmla="*/ 16 w 624"/>
                <a:gd name="T13" fmla="*/ 51 h 750"/>
                <a:gd name="T14" fmla="*/ 14 w 624"/>
                <a:gd name="T15" fmla="*/ 48 h 750"/>
                <a:gd name="T16" fmla="*/ 12 w 624"/>
                <a:gd name="T17" fmla="*/ 46 h 750"/>
                <a:gd name="T18" fmla="*/ 12 w 624"/>
                <a:gd name="T19" fmla="*/ 44 h 750"/>
                <a:gd name="T20" fmla="*/ 11 w 624"/>
                <a:gd name="T21" fmla="*/ 41 h 750"/>
                <a:gd name="T22" fmla="*/ 8 w 624"/>
                <a:gd name="T23" fmla="*/ 38 h 750"/>
                <a:gd name="T24" fmla="*/ 6 w 624"/>
                <a:gd name="T25" fmla="*/ 38 h 750"/>
                <a:gd name="T26" fmla="*/ 6 w 624"/>
                <a:gd name="T27" fmla="*/ 35 h 750"/>
                <a:gd name="T28" fmla="*/ 7 w 624"/>
                <a:gd name="T29" fmla="*/ 31 h 750"/>
                <a:gd name="T30" fmla="*/ 10 w 624"/>
                <a:gd name="T31" fmla="*/ 27 h 750"/>
                <a:gd name="T32" fmla="*/ 8 w 624"/>
                <a:gd name="T33" fmla="*/ 23 h 750"/>
                <a:gd name="T34" fmla="*/ 6 w 624"/>
                <a:gd name="T35" fmla="*/ 23 h 750"/>
                <a:gd name="T36" fmla="*/ 3 w 624"/>
                <a:gd name="T37" fmla="*/ 22 h 750"/>
                <a:gd name="T38" fmla="*/ 0 w 624"/>
                <a:gd name="T39" fmla="*/ 22 h 750"/>
                <a:gd name="T40" fmla="*/ 0 w 624"/>
                <a:gd name="T41" fmla="*/ 19 h 750"/>
                <a:gd name="T42" fmla="*/ 1 w 624"/>
                <a:gd name="T43" fmla="*/ 18 h 750"/>
                <a:gd name="T44" fmla="*/ 2 w 624"/>
                <a:gd name="T45" fmla="*/ 14 h 750"/>
                <a:gd name="T46" fmla="*/ 4 w 624"/>
                <a:gd name="T47" fmla="*/ 17 h 750"/>
                <a:gd name="T48" fmla="*/ 6 w 624"/>
                <a:gd name="T49" fmla="*/ 17 h 750"/>
                <a:gd name="T50" fmla="*/ 7 w 624"/>
                <a:gd name="T51" fmla="*/ 17 h 750"/>
                <a:gd name="T52" fmla="*/ 9 w 624"/>
                <a:gd name="T53" fmla="*/ 15 h 750"/>
                <a:gd name="T54" fmla="*/ 10 w 624"/>
                <a:gd name="T55" fmla="*/ 14 h 750"/>
                <a:gd name="T56" fmla="*/ 11 w 624"/>
                <a:gd name="T57" fmla="*/ 12 h 750"/>
                <a:gd name="T58" fmla="*/ 13 w 624"/>
                <a:gd name="T59" fmla="*/ 12 h 750"/>
                <a:gd name="T60" fmla="*/ 18 w 624"/>
                <a:gd name="T61" fmla="*/ 10 h 750"/>
                <a:gd name="T62" fmla="*/ 22 w 624"/>
                <a:gd name="T63" fmla="*/ 4 h 750"/>
                <a:gd name="T64" fmla="*/ 24 w 624"/>
                <a:gd name="T65" fmla="*/ 4 h 750"/>
                <a:gd name="T66" fmla="*/ 26 w 624"/>
                <a:gd name="T67" fmla="*/ 2 h 750"/>
                <a:gd name="T68" fmla="*/ 29 w 624"/>
                <a:gd name="T69" fmla="*/ 0 h 750"/>
                <a:gd name="T70" fmla="*/ 32 w 624"/>
                <a:gd name="T71" fmla="*/ 2 h 750"/>
                <a:gd name="T72" fmla="*/ 34 w 624"/>
                <a:gd name="T73" fmla="*/ 5 h 750"/>
                <a:gd name="T74" fmla="*/ 35 w 624"/>
                <a:gd name="T75" fmla="*/ 8 h 750"/>
                <a:gd name="T76" fmla="*/ 39 w 624"/>
                <a:gd name="T77" fmla="*/ 11 h 750"/>
                <a:gd name="T78" fmla="*/ 42 w 624"/>
                <a:gd name="T79" fmla="*/ 14 h 750"/>
                <a:gd name="T80" fmla="*/ 46 w 624"/>
                <a:gd name="T81" fmla="*/ 12 h 750"/>
                <a:gd name="T82" fmla="*/ 49 w 624"/>
                <a:gd name="T83" fmla="*/ 12 h 750"/>
                <a:gd name="T84" fmla="*/ 51 w 624"/>
                <a:gd name="T85" fmla="*/ 12 h 750"/>
                <a:gd name="T86" fmla="*/ 53 w 624"/>
                <a:gd name="T87" fmla="*/ 12 h 750"/>
                <a:gd name="T88" fmla="*/ 53 w 624"/>
                <a:gd name="T89" fmla="*/ 17 h 750"/>
                <a:gd name="T90" fmla="*/ 51 w 624"/>
                <a:gd name="T91" fmla="*/ 20 h 750"/>
                <a:gd name="T92" fmla="*/ 49 w 624"/>
                <a:gd name="T93" fmla="*/ 26 h 750"/>
                <a:gd name="T94" fmla="*/ 47 w 624"/>
                <a:gd name="T95" fmla="*/ 26 h 750"/>
                <a:gd name="T96" fmla="*/ 44 w 624"/>
                <a:gd name="T97" fmla="*/ 26 h 750"/>
                <a:gd name="T98" fmla="*/ 43 w 624"/>
                <a:gd name="T99" fmla="*/ 27 h 750"/>
                <a:gd name="T100" fmla="*/ 45 w 624"/>
                <a:gd name="T101" fmla="*/ 32 h 750"/>
                <a:gd name="T102" fmla="*/ 44 w 624"/>
                <a:gd name="T103" fmla="*/ 43 h 750"/>
                <a:gd name="T104" fmla="*/ 44 w 624"/>
                <a:gd name="T105" fmla="*/ 47 h 750"/>
                <a:gd name="T106" fmla="*/ 44 w 624"/>
                <a:gd name="T107" fmla="*/ 54 h 750"/>
                <a:gd name="T108" fmla="*/ 41 w 624"/>
                <a:gd name="T109" fmla="*/ 60 h 750"/>
                <a:gd name="T110" fmla="*/ 42 w 624"/>
                <a:gd name="T111" fmla="*/ 62 h 750"/>
                <a:gd name="T112" fmla="*/ 43 w 624"/>
                <a:gd name="T113" fmla="*/ 65 h 750"/>
                <a:gd name="T114" fmla="*/ 39 w 624"/>
                <a:gd name="T115" fmla="*/ 63 h 750"/>
                <a:gd name="T116" fmla="*/ 35 w 624"/>
                <a:gd name="T117" fmla="*/ 62 h 75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24"/>
                <a:gd name="T178" fmla="*/ 0 h 750"/>
                <a:gd name="T179" fmla="*/ 624 w 624"/>
                <a:gd name="T180" fmla="*/ 750 h 75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24" h="750">
                  <a:moveTo>
                    <a:pt x="390" y="702"/>
                  </a:moveTo>
                  <a:lnTo>
                    <a:pt x="372" y="696"/>
                  </a:lnTo>
                  <a:lnTo>
                    <a:pt x="360" y="702"/>
                  </a:lnTo>
                  <a:lnTo>
                    <a:pt x="348" y="702"/>
                  </a:lnTo>
                  <a:lnTo>
                    <a:pt x="336" y="702"/>
                  </a:lnTo>
                  <a:lnTo>
                    <a:pt x="330" y="702"/>
                  </a:lnTo>
                  <a:lnTo>
                    <a:pt x="318" y="708"/>
                  </a:lnTo>
                  <a:lnTo>
                    <a:pt x="306" y="708"/>
                  </a:lnTo>
                  <a:lnTo>
                    <a:pt x="294" y="690"/>
                  </a:lnTo>
                  <a:lnTo>
                    <a:pt x="294" y="684"/>
                  </a:lnTo>
                  <a:lnTo>
                    <a:pt x="276" y="684"/>
                  </a:lnTo>
                  <a:lnTo>
                    <a:pt x="270" y="678"/>
                  </a:lnTo>
                  <a:lnTo>
                    <a:pt x="240" y="672"/>
                  </a:lnTo>
                  <a:lnTo>
                    <a:pt x="234" y="672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6"/>
                  </a:lnTo>
                  <a:lnTo>
                    <a:pt x="216" y="660"/>
                  </a:lnTo>
                  <a:lnTo>
                    <a:pt x="216" y="654"/>
                  </a:lnTo>
                  <a:lnTo>
                    <a:pt x="216" y="642"/>
                  </a:lnTo>
                  <a:lnTo>
                    <a:pt x="210" y="642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36"/>
                  </a:lnTo>
                  <a:lnTo>
                    <a:pt x="192" y="624"/>
                  </a:lnTo>
                  <a:lnTo>
                    <a:pt x="186" y="612"/>
                  </a:lnTo>
                  <a:lnTo>
                    <a:pt x="186" y="600"/>
                  </a:lnTo>
                  <a:lnTo>
                    <a:pt x="186" y="588"/>
                  </a:lnTo>
                  <a:lnTo>
                    <a:pt x="180" y="582"/>
                  </a:lnTo>
                  <a:lnTo>
                    <a:pt x="180" y="570"/>
                  </a:lnTo>
                  <a:lnTo>
                    <a:pt x="174" y="558"/>
                  </a:lnTo>
                  <a:lnTo>
                    <a:pt x="162" y="558"/>
                  </a:lnTo>
                  <a:lnTo>
                    <a:pt x="144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38" y="534"/>
                  </a:lnTo>
                  <a:lnTo>
                    <a:pt x="138" y="528"/>
                  </a:lnTo>
                  <a:lnTo>
                    <a:pt x="132" y="522"/>
                  </a:lnTo>
                  <a:lnTo>
                    <a:pt x="144" y="522"/>
                  </a:lnTo>
                  <a:lnTo>
                    <a:pt x="144" y="510"/>
                  </a:lnTo>
                  <a:lnTo>
                    <a:pt x="144" y="504"/>
                  </a:lnTo>
                  <a:lnTo>
                    <a:pt x="138" y="492"/>
                  </a:lnTo>
                  <a:lnTo>
                    <a:pt x="138" y="474"/>
                  </a:lnTo>
                  <a:lnTo>
                    <a:pt x="126" y="468"/>
                  </a:lnTo>
                  <a:lnTo>
                    <a:pt x="120" y="456"/>
                  </a:lnTo>
                  <a:lnTo>
                    <a:pt x="114" y="450"/>
                  </a:lnTo>
                  <a:lnTo>
                    <a:pt x="108" y="438"/>
                  </a:lnTo>
                  <a:lnTo>
                    <a:pt x="96" y="432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60" y="426"/>
                  </a:lnTo>
                  <a:lnTo>
                    <a:pt x="66" y="420"/>
                  </a:lnTo>
                  <a:lnTo>
                    <a:pt x="66" y="408"/>
                  </a:lnTo>
                  <a:lnTo>
                    <a:pt x="72" y="408"/>
                  </a:lnTo>
                  <a:lnTo>
                    <a:pt x="72" y="384"/>
                  </a:lnTo>
                  <a:lnTo>
                    <a:pt x="72" y="366"/>
                  </a:lnTo>
                  <a:lnTo>
                    <a:pt x="78" y="354"/>
                  </a:lnTo>
                  <a:lnTo>
                    <a:pt x="84" y="354"/>
                  </a:lnTo>
                  <a:lnTo>
                    <a:pt x="90" y="348"/>
                  </a:lnTo>
                  <a:lnTo>
                    <a:pt x="102" y="336"/>
                  </a:lnTo>
                  <a:lnTo>
                    <a:pt x="114" y="324"/>
                  </a:lnTo>
                  <a:lnTo>
                    <a:pt x="120" y="312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20" y="276"/>
                  </a:lnTo>
                  <a:lnTo>
                    <a:pt x="96" y="270"/>
                  </a:lnTo>
                  <a:lnTo>
                    <a:pt x="84" y="270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72" y="264"/>
                  </a:lnTo>
                  <a:lnTo>
                    <a:pt x="60" y="252"/>
                  </a:lnTo>
                  <a:lnTo>
                    <a:pt x="42" y="252"/>
                  </a:lnTo>
                  <a:lnTo>
                    <a:pt x="42" y="258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18" y="252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42" y="156"/>
                  </a:lnTo>
                  <a:lnTo>
                    <a:pt x="48" y="198"/>
                  </a:lnTo>
                  <a:lnTo>
                    <a:pt x="48" y="204"/>
                  </a:lnTo>
                  <a:lnTo>
                    <a:pt x="54" y="198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204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192"/>
                  </a:lnTo>
                  <a:lnTo>
                    <a:pt x="96" y="186"/>
                  </a:lnTo>
                  <a:lnTo>
                    <a:pt x="102" y="180"/>
                  </a:lnTo>
                  <a:lnTo>
                    <a:pt x="102" y="174"/>
                  </a:lnTo>
                  <a:lnTo>
                    <a:pt x="108" y="168"/>
                  </a:lnTo>
                  <a:lnTo>
                    <a:pt x="108" y="162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0"/>
                  </a:lnTo>
                  <a:lnTo>
                    <a:pt x="132" y="144"/>
                  </a:lnTo>
                  <a:lnTo>
                    <a:pt x="138" y="138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0" y="132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74" y="126"/>
                  </a:lnTo>
                  <a:lnTo>
                    <a:pt x="204" y="120"/>
                  </a:lnTo>
                  <a:lnTo>
                    <a:pt x="210" y="78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54"/>
                  </a:lnTo>
                  <a:lnTo>
                    <a:pt x="276" y="54"/>
                  </a:lnTo>
                  <a:lnTo>
                    <a:pt x="276" y="48"/>
                  </a:lnTo>
                  <a:lnTo>
                    <a:pt x="282" y="48"/>
                  </a:lnTo>
                  <a:lnTo>
                    <a:pt x="288" y="42"/>
                  </a:lnTo>
                  <a:lnTo>
                    <a:pt x="294" y="42"/>
                  </a:lnTo>
                  <a:lnTo>
                    <a:pt x="294" y="18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0"/>
                  </a:lnTo>
                  <a:lnTo>
                    <a:pt x="336" y="0"/>
                  </a:lnTo>
                  <a:lnTo>
                    <a:pt x="342" y="0"/>
                  </a:lnTo>
                  <a:lnTo>
                    <a:pt x="354" y="6"/>
                  </a:lnTo>
                  <a:lnTo>
                    <a:pt x="366" y="18"/>
                  </a:lnTo>
                  <a:lnTo>
                    <a:pt x="378" y="36"/>
                  </a:lnTo>
                  <a:lnTo>
                    <a:pt x="390" y="42"/>
                  </a:lnTo>
                  <a:lnTo>
                    <a:pt x="390" y="48"/>
                  </a:lnTo>
                  <a:lnTo>
                    <a:pt x="396" y="60"/>
                  </a:lnTo>
                  <a:lnTo>
                    <a:pt x="402" y="72"/>
                  </a:lnTo>
                  <a:lnTo>
                    <a:pt x="408" y="78"/>
                  </a:lnTo>
                  <a:lnTo>
                    <a:pt x="402" y="84"/>
                  </a:lnTo>
                  <a:lnTo>
                    <a:pt x="408" y="90"/>
                  </a:lnTo>
                  <a:lnTo>
                    <a:pt x="414" y="102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50" y="126"/>
                  </a:lnTo>
                  <a:lnTo>
                    <a:pt x="456" y="126"/>
                  </a:lnTo>
                  <a:lnTo>
                    <a:pt x="462" y="144"/>
                  </a:lnTo>
                  <a:lnTo>
                    <a:pt x="480" y="156"/>
                  </a:lnTo>
                  <a:lnTo>
                    <a:pt x="492" y="156"/>
                  </a:lnTo>
                  <a:lnTo>
                    <a:pt x="516" y="150"/>
                  </a:lnTo>
                  <a:lnTo>
                    <a:pt x="516" y="144"/>
                  </a:lnTo>
                  <a:lnTo>
                    <a:pt x="516" y="138"/>
                  </a:lnTo>
                  <a:lnTo>
                    <a:pt x="528" y="138"/>
                  </a:lnTo>
                  <a:lnTo>
                    <a:pt x="546" y="144"/>
                  </a:lnTo>
                  <a:lnTo>
                    <a:pt x="546" y="138"/>
                  </a:lnTo>
                  <a:lnTo>
                    <a:pt x="552" y="138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76" y="138"/>
                  </a:lnTo>
                  <a:lnTo>
                    <a:pt x="582" y="138"/>
                  </a:lnTo>
                  <a:lnTo>
                    <a:pt x="588" y="138"/>
                  </a:lnTo>
                  <a:lnTo>
                    <a:pt x="594" y="138"/>
                  </a:lnTo>
                  <a:lnTo>
                    <a:pt x="594" y="144"/>
                  </a:lnTo>
                  <a:lnTo>
                    <a:pt x="600" y="138"/>
                  </a:lnTo>
                  <a:lnTo>
                    <a:pt x="606" y="138"/>
                  </a:lnTo>
                  <a:lnTo>
                    <a:pt x="606" y="144"/>
                  </a:lnTo>
                  <a:lnTo>
                    <a:pt x="612" y="144"/>
                  </a:lnTo>
                  <a:lnTo>
                    <a:pt x="618" y="156"/>
                  </a:lnTo>
                  <a:lnTo>
                    <a:pt x="612" y="198"/>
                  </a:lnTo>
                  <a:lnTo>
                    <a:pt x="624" y="198"/>
                  </a:lnTo>
                  <a:lnTo>
                    <a:pt x="624" y="204"/>
                  </a:lnTo>
                  <a:lnTo>
                    <a:pt x="612" y="216"/>
                  </a:lnTo>
                  <a:lnTo>
                    <a:pt x="594" y="234"/>
                  </a:lnTo>
                  <a:lnTo>
                    <a:pt x="588" y="252"/>
                  </a:lnTo>
                  <a:lnTo>
                    <a:pt x="576" y="270"/>
                  </a:lnTo>
                  <a:lnTo>
                    <a:pt x="564" y="282"/>
                  </a:lnTo>
                  <a:lnTo>
                    <a:pt x="564" y="294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8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34" y="294"/>
                  </a:lnTo>
                  <a:lnTo>
                    <a:pt x="522" y="300"/>
                  </a:lnTo>
                  <a:lnTo>
                    <a:pt x="510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498" y="324"/>
                  </a:lnTo>
                  <a:lnTo>
                    <a:pt x="504" y="336"/>
                  </a:lnTo>
                  <a:lnTo>
                    <a:pt x="510" y="348"/>
                  </a:lnTo>
                  <a:lnTo>
                    <a:pt x="516" y="366"/>
                  </a:lnTo>
                  <a:lnTo>
                    <a:pt x="522" y="432"/>
                  </a:lnTo>
                  <a:lnTo>
                    <a:pt x="522" y="456"/>
                  </a:lnTo>
                  <a:lnTo>
                    <a:pt x="504" y="492"/>
                  </a:lnTo>
                  <a:lnTo>
                    <a:pt x="504" y="498"/>
                  </a:lnTo>
                  <a:lnTo>
                    <a:pt x="498" y="504"/>
                  </a:lnTo>
                  <a:lnTo>
                    <a:pt x="498" y="522"/>
                  </a:lnTo>
                  <a:lnTo>
                    <a:pt x="504" y="534"/>
                  </a:lnTo>
                  <a:lnTo>
                    <a:pt x="510" y="546"/>
                  </a:lnTo>
                  <a:lnTo>
                    <a:pt x="516" y="558"/>
                  </a:lnTo>
                  <a:lnTo>
                    <a:pt x="516" y="588"/>
                  </a:lnTo>
                  <a:lnTo>
                    <a:pt x="516" y="600"/>
                  </a:lnTo>
                  <a:lnTo>
                    <a:pt x="510" y="618"/>
                  </a:lnTo>
                  <a:lnTo>
                    <a:pt x="504" y="636"/>
                  </a:lnTo>
                  <a:lnTo>
                    <a:pt x="504" y="642"/>
                  </a:lnTo>
                  <a:lnTo>
                    <a:pt x="474" y="654"/>
                  </a:lnTo>
                  <a:lnTo>
                    <a:pt x="474" y="690"/>
                  </a:lnTo>
                  <a:lnTo>
                    <a:pt x="474" y="696"/>
                  </a:lnTo>
                  <a:lnTo>
                    <a:pt x="480" y="702"/>
                  </a:lnTo>
                  <a:lnTo>
                    <a:pt x="486" y="708"/>
                  </a:lnTo>
                  <a:lnTo>
                    <a:pt x="492" y="708"/>
                  </a:lnTo>
                  <a:lnTo>
                    <a:pt x="498" y="726"/>
                  </a:lnTo>
                  <a:lnTo>
                    <a:pt x="504" y="726"/>
                  </a:lnTo>
                  <a:lnTo>
                    <a:pt x="504" y="738"/>
                  </a:lnTo>
                  <a:lnTo>
                    <a:pt x="498" y="744"/>
                  </a:lnTo>
                  <a:lnTo>
                    <a:pt x="486" y="750"/>
                  </a:lnTo>
                  <a:lnTo>
                    <a:pt x="474" y="744"/>
                  </a:lnTo>
                  <a:lnTo>
                    <a:pt x="462" y="744"/>
                  </a:lnTo>
                  <a:lnTo>
                    <a:pt x="456" y="732"/>
                  </a:lnTo>
                  <a:lnTo>
                    <a:pt x="444" y="732"/>
                  </a:lnTo>
                  <a:lnTo>
                    <a:pt x="432" y="726"/>
                  </a:lnTo>
                  <a:lnTo>
                    <a:pt x="420" y="720"/>
                  </a:lnTo>
                  <a:lnTo>
                    <a:pt x="408" y="708"/>
                  </a:lnTo>
                  <a:lnTo>
                    <a:pt x="402" y="708"/>
                  </a:lnTo>
                  <a:lnTo>
                    <a:pt x="390" y="70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5" name="Freeform 20">
              <a:extLst>
                <a:ext uri="{FF2B5EF4-FFF2-40B4-BE49-F238E27FC236}">
                  <a16:creationId xmlns:a16="http://schemas.microsoft.com/office/drawing/2014/main" id="{B8342C3B-ECEC-465F-AAFF-4815B8AC392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870937"/>
              <a:ext cx="313067" cy="377968"/>
            </a:xfrm>
            <a:custGeom>
              <a:avLst/>
              <a:gdLst>
                <a:gd name="T0" fmla="*/ 15 w 588"/>
                <a:gd name="T1" fmla="*/ 59 h 714"/>
                <a:gd name="T2" fmla="*/ 14 w 588"/>
                <a:gd name="T3" fmla="*/ 58 h 714"/>
                <a:gd name="T4" fmla="*/ 9 w 588"/>
                <a:gd name="T5" fmla="*/ 54 h 714"/>
                <a:gd name="T6" fmla="*/ 4 w 588"/>
                <a:gd name="T7" fmla="*/ 54 h 714"/>
                <a:gd name="T8" fmla="*/ 0 w 588"/>
                <a:gd name="T9" fmla="*/ 50 h 714"/>
                <a:gd name="T10" fmla="*/ 0 w 588"/>
                <a:gd name="T11" fmla="*/ 44 h 714"/>
                <a:gd name="T12" fmla="*/ 4 w 588"/>
                <a:gd name="T13" fmla="*/ 46 h 714"/>
                <a:gd name="T14" fmla="*/ 7 w 588"/>
                <a:gd name="T15" fmla="*/ 47 h 714"/>
                <a:gd name="T16" fmla="*/ 10 w 588"/>
                <a:gd name="T17" fmla="*/ 46 h 714"/>
                <a:gd name="T18" fmla="*/ 8 w 588"/>
                <a:gd name="T19" fmla="*/ 44 h 714"/>
                <a:gd name="T20" fmla="*/ 10 w 588"/>
                <a:gd name="T21" fmla="*/ 39 h 714"/>
                <a:gd name="T22" fmla="*/ 11 w 588"/>
                <a:gd name="T23" fmla="*/ 34 h 714"/>
                <a:gd name="T24" fmla="*/ 9 w 588"/>
                <a:gd name="T25" fmla="*/ 28 h 714"/>
                <a:gd name="T26" fmla="*/ 11 w 588"/>
                <a:gd name="T27" fmla="*/ 22 h 714"/>
                <a:gd name="T28" fmla="*/ 10 w 588"/>
                <a:gd name="T29" fmla="*/ 12 h 714"/>
                <a:gd name="T30" fmla="*/ 9 w 588"/>
                <a:gd name="T31" fmla="*/ 9 h 714"/>
                <a:gd name="T32" fmla="*/ 12 w 588"/>
                <a:gd name="T33" fmla="*/ 8 h 714"/>
                <a:gd name="T34" fmla="*/ 14 w 588"/>
                <a:gd name="T35" fmla="*/ 7 h 714"/>
                <a:gd name="T36" fmla="*/ 17 w 588"/>
                <a:gd name="T37" fmla="*/ 10 h 714"/>
                <a:gd name="T38" fmla="*/ 23 w 588"/>
                <a:gd name="T39" fmla="*/ 14 h 714"/>
                <a:gd name="T40" fmla="*/ 28 w 588"/>
                <a:gd name="T41" fmla="*/ 4 h 714"/>
                <a:gd name="T42" fmla="*/ 35 w 588"/>
                <a:gd name="T43" fmla="*/ 2 h 714"/>
                <a:gd name="T44" fmla="*/ 38 w 588"/>
                <a:gd name="T45" fmla="*/ 0 h 714"/>
                <a:gd name="T46" fmla="*/ 40 w 588"/>
                <a:gd name="T47" fmla="*/ 2 h 714"/>
                <a:gd name="T48" fmla="*/ 39 w 588"/>
                <a:gd name="T49" fmla="*/ 4 h 714"/>
                <a:gd name="T50" fmla="*/ 41 w 588"/>
                <a:gd name="T51" fmla="*/ 5 h 714"/>
                <a:gd name="T52" fmla="*/ 42 w 588"/>
                <a:gd name="T53" fmla="*/ 7 h 714"/>
                <a:gd name="T54" fmla="*/ 43 w 588"/>
                <a:gd name="T55" fmla="*/ 9 h 714"/>
                <a:gd name="T56" fmla="*/ 43 w 588"/>
                <a:gd name="T57" fmla="*/ 10 h 714"/>
                <a:gd name="T58" fmla="*/ 43 w 588"/>
                <a:gd name="T59" fmla="*/ 12 h 714"/>
                <a:gd name="T60" fmla="*/ 44 w 588"/>
                <a:gd name="T61" fmla="*/ 12 h 714"/>
                <a:gd name="T62" fmla="*/ 46 w 588"/>
                <a:gd name="T63" fmla="*/ 13 h 714"/>
                <a:gd name="T64" fmla="*/ 47 w 588"/>
                <a:gd name="T65" fmla="*/ 14 h 714"/>
                <a:gd name="T66" fmla="*/ 48 w 588"/>
                <a:gd name="T67" fmla="*/ 15 h 714"/>
                <a:gd name="T68" fmla="*/ 49 w 588"/>
                <a:gd name="T69" fmla="*/ 15 h 714"/>
                <a:gd name="T70" fmla="*/ 48 w 588"/>
                <a:gd name="T71" fmla="*/ 17 h 714"/>
                <a:gd name="T72" fmla="*/ 49 w 588"/>
                <a:gd name="T73" fmla="*/ 19 h 714"/>
                <a:gd name="T74" fmla="*/ 49 w 588"/>
                <a:gd name="T75" fmla="*/ 20 h 714"/>
                <a:gd name="T76" fmla="*/ 51 w 588"/>
                <a:gd name="T77" fmla="*/ 21 h 714"/>
                <a:gd name="T78" fmla="*/ 50 w 588"/>
                <a:gd name="T79" fmla="*/ 22 h 714"/>
                <a:gd name="T80" fmla="*/ 47 w 588"/>
                <a:gd name="T81" fmla="*/ 23 h 714"/>
                <a:gd name="T82" fmla="*/ 47 w 588"/>
                <a:gd name="T83" fmla="*/ 26 h 714"/>
                <a:gd name="T84" fmla="*/ 47 w 588"/>
                <a:gd name="T85" fmla="*/ 32 h 714"/>
                <a:gd name="T86" fmla="*/ 44 w 588"/>
                <a:gd name="T87" fmla="*/ 35 h 714"/>
                <a:gd name="T88" fmla="*/ 42 w 588"/>
                <a:gd name="T89" fmla="*/ 39 h 714"/>
                <a:gd name="T90" fmla="*/ 42 w 588"/>
                <a:gd name="T91" fmla="*/ 41 h 714"/>
                <a:gd name="T92" fmla="*/ 42 w 588"/>
                <a:gd name="T93" fmla="*/ 42 h 714"/>
                <a:gd name="T94" fmla="*/ 41 w 588"/>
                <a:gd name="T95" fmla="*/ 44 h 714"/>
                <a:gd name="T96" fmla="*/ 39 w 588"/>
                <a:gd name="T97" fmla="*/ 43 h 714"/>
                <a:gd name="T98" fmla="*/ 37 w 588"/>
                <a:gd name="T99" fmla="*/ 44 h 714"/>
                <a:gd name="T100" fmla="*/ 35 w 588"/>
                <a:gd name="T101" fmla="*/ 46 h 714"/>
                <a:gd name="T102" fmla="*/ 31 w 588"/>
                <a:gd name="T103" fmla="*/ 45 h 714"/>
                <a:gd name="T104" fmla="*/ 24 w 588"/>
                <a:gd name="T105" fmla="*/ 45 h 714"/>
                <a:gd name="T106" fmla="*/ 25 w 588"/>
                <a:gd name="T107" fmla="*/ 47 h 714"/>
                <a:gd name="T108" fmla="*/ 25 w 588"/>
                <a:gd name="T109" fmla="*/ 49 h 714"/>
                <a:gd name="T110" fmla="*/ 25 w 588"/>
                <a:gd name="T111" fmla="*/ 50 h 714"/>
                <a:gd name="T112" fmla="*/ 24 w 588"/>
                <a:gd name="T113" fmla="*/ 51 h 714"/>
                <a:gd name="T114" fmla="*/ 22 w 588"/>
                <a:gd name="T115" fmla="*/ 53 h 714"/>
                <a:gd name="T116" fmla="*/ 23 w 588"/>
                <a:gd name="T117" fmla="*/ 56 h 714"/>
                <a:gd name="T118" fmla="*/ 20 w 588"/>
                <a:gd name="T119" fmla="*/ 58 h 714"/>
                <a:gd name="T120" fmla="*/ 19 w 588"/>
                <a:gd name="T121" fmla="*/ 62 h 7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8"/>
                <a:gd name="T184" fmla="*/ 0 h 714"/>
                <a:gd name="T185" fmla="*/ 588 w 588"/>
                <a:gd name="T186" fmla="*/ 714 h 7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8" h="714">
                  <a:moveTo>
                    <a:pt x="216" y="714"/>
                  </a:moveTo>
                  <a:lnTo>
                    <a:pt x="198" y="702"/>
                  </a:lnTo>
                  <a:lnTo>
                    <a:pt x="186" y="696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74" y="678"/>
                  </a:lnTo>
                  <a:lnTo>
                    <a:pt x="168" y="672"/>
                  </a:lnTo>
                  <a:lnTo>
                    <a:pt x="162" y="666"/>
                  </a:lnTo>
                  <a:lnTo>
                    <a:pt x="156" y="636"/>
                  </a:lnTo>
                  <a:lnTo>
                    <a:pt x="144" y="630"/>
                  </a:lnTo>
                  <a:lnTo>
                    <a:pt x="108" y="630"/>
                  </a:lnTo>
                  <a:lnTo>
                    <a:pt x="102" y="624"/>
                  </a:lnTo>
                  <a:lnTo>
                    <a:pt x="96" y="624"/>
                  </a:lnTo>
                  <a:lnTo>
                    <a:pt x="72" y="624"/>
                  </a:lnTo>
                  <a:lnTo>
                    <a:pt x="54" y="624"/>
                  </a:lnTo>
                  <a:lnTo>
                    <a:pt x="42" y="618"/>
                  </a:lnTo>
                  <a:lnTo>
                    <a:pt x="30" y="612"/>
                  </a:lnTo>
                  <a:lnTo>
                    <a:pt x="6" y="606"/>
                  </a:lnTo>
                  <a:lnTo>
                    <a:pt x="0" y="606"/>
                  </a:lnTo>
                  <a:lnTo>
                    <a:pt x="0" y="570"/>
                  </a:lnTo>
                  <a:lnTo>
                    <a:pt x="6" y="552"/>
                  </a:lnTo>
                  <a:lnTo>
                    <a:pt x="6" y="522"/>
                  </a:lnTo>
                  <a:lnTo>
                    <a:pt x="0" y="510"/>
                  </a:lnTo>
                  <a:lnTo>
                    <a:pt x="0" y="504"/>
                  </a:lnTo>
                  <a:lnTo>
                    <a:pt x="12" y="510"/>
                  </a:lnTo>
                  <a:lnTo>
                    <a:pt x="18" y="510"/>
                  </a:lnTo>
                  <a:lnTo>
                    <a:pt x="30" y="522"/>
                  </a:lnTo>
                  <a:lnTo>
                    <a:pt x="42" y="528"/>
                  </a:lnTo>
                  <a:lnTo>
                    <a:pt x="54" y="534"/>
                  </a:lnTo>
                  <a:lnTo>
                    <a:pt x="66" y="534"/>
                  </a:lnTo>
                  <a:lnTo>
                    <a:pt x="72" y="546"/>
                  </a:lnTo>
                  <a:lnTo>
                    <a:pt x="84" y="546"/>
                  </a:lnTo>
                  <a:lnTo>
                    <a:pt x="96" y="552"/>
                  </a:lnTo>
                  <a:lnTo>
                    <a:pt x="108" y="546"/>
                  </a:lnTo>
                  <a:lnTo>
                    <a:pt x="114" y="540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90" y="504"/>
                  </a:lnTo>
                  <a:lnTo>
                    <a:pt x="84" y="498"/>
                  </a:lnTo>
                  <a:lnTo>
                    <a:pt x="84" y="492"/>
                  </a:lnTo>
                  <a:lnTo>
                    <a:pt x="84" y="456"/>
                  </a:lnTo>
                  <a:lnTo>
                    <a:pt x="114" y="444"/>
                  </a:lnTo>
                  <a:lnTo>
                    <a:pt x="114" y="438"/>
                  </a:lnTo>
                  <a:lnTo>
                    <a:pt x="120" y="420"/>
                  </a:lnTo>
                  <a:lnTo>
                    <a:pt x="126" y="402"/>
                  </a:lnTo>
                  <a:lnTo>
                    <a:pt x="126" y="390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14" y="336"/>
                  </a:lnTo>
                  <a:lnTo>
                    <a:pt x="108" y="324"/>
                  </a:lnTo>
                  <a:lnTo>
                    <a:pt x="108" y="306"/>
                  </a:lnTo>
                  <a:lnTo>
                    <a:pt x="114" y="300"/>
                  </a:lnTo>
                  <a:lnTo>
                    <a:pt x="114" y="294"/>
                  </a:lnTo>
                  <a:lnTo>
                    <a:pt x="132" y="258"/>
                  </a:lnTo>
                  <a:lnTo>
                    <a:pt x="132" y="234"/>
                  </a:lnTo>
                  <a:lnTo>
                    <a:pt x="126" y="168"/>
                  </a:lnTo>
                  <a:lnTo>
                    <a:pt x="120" y="150"/>
                  </a:lnTo>
                  <a:lnTo>
                    <a:pt x="114" y="138"/>
                  </a:lnTo>
                  <a:lnTo>
                    <a:pt x="108" y="126"/>
                  </a:lnTo>
                  <a:lnTo>
                    <a:pt x="108" y="120"/>
                  </a:lnTo>
                  <a:lnTo>
                    <a:pt x="108" y="114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20" y="96"/>
                  </a:lnTo>
                  <a:lnTo>
                    <a:pt x="132" y="102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56" y="90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96"/>
                  </a:lnTo>
                  <a:lnTo>
                    <a:pt x="186" y="96"/>
                  </a:lnTo>
                  <a:lnTo>
                    <a:pt x="192" y="114"/>
                  </a:lnTo>
                  <a:lnTo>
                    <a:pt x="204" y="132"/>
                  </a:lnTo>
                  <a:lnTo>
                    <a:pt x="216" y="144"/>
                  </a:lnTo>
                  <a:lnTo>
                    <a:pt x="240" y="162"/>
                  </a:lnTo>
                  <a:lnTo>
                    <a:pt x="270" y="156"/>
                  </a:lnTo>
                  <a:lnTo>
                    <a:pt x="282" y="126"/>
                  </a:lnTo>
                  <a:lnTo>
                    <a:pt x="282" y="96"/>
                  </a:lnTo>
                  <a:lnTo>
                    <a:pt x="294" y="54"/>
                  </a:lnTo>
                  <a:lnTo>
                    <a:pt x="324" y="48"/>
                  </a:lnTo>
                  <a:lnTo>
                    <a:pt x="342" y="48"/>
                  </a:lnTo>
                  <a:lnTo>
                    <a:pt x="384" y="48"/>
                  </a:lnTo>
                  <a:lnTo>
                    <a:pt x="390" y="30"/>
                  </a:lnTo>
                  <a:lnTo>
                    <a:pt x="402" y="18"/>
                  </a:lnTo>
                  <a:lnTo>
                    <a:pt x="438" y="6"/>
                  </a:lnTo>
                  <a:lnTo>
                    <a:pt x="438" y="0"/>
                  </a:lnTo>
                  <a:lnTo>
                    <a:pt x="444" y="0"/>
                  </a:lnTo>
                  <a:lnTo>
                    <a:pt x="444" y="6"/>
                  </a:lnTo>
                  <a:lnTo>
                    <a:pt x="450" y="6"/>
                  </a:lnTo>
                  <a:lnTo>
                    <a:pt x="456" y="12"/>
                  </a:lnTo>
                  <a:lnTo>
                    <a:pt x="456" y="18"/>
                  </a:lnTo>
                  <a:lnTo>
                    <a:pt x="462" y="24"/>
                  </a:lnTo>
                  <a:lnTo>
                    <a:pt x="462" y="30"/>
                  </a:lnTo>
                  <a:lnTo>
                    <a:pt x="468" y="36"/>
                  </a:lnTo>
                  <a:lnTo>
                    <a:pt x="462" y="36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74" y="60"/>
                  </a:lnTo>
                  <a:lnTo>
                    <a:pt x="486" y="78"/>
                  </a:lnTo>
                  <a:lnTo>
                    <a:pt x="486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8" y="102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498" y="114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504" y="126"/>
                  </a:lnTo>
                  <a:lnTo>
                    <a:pt x="498" y="132"/>
                  </a:lnTo>
                  <a:lnTo>
                    <a:pt x="504" y="138"/>
                  </a:lnTo>
                  <a:lnTo>
                    <a:pt x="504" y="132"/>
                  </a:lnTo>
                  <a:lnTo>
                    <a:pt x="510" y="132"/>
                  </a:lnTo>
                  <a:lnTo>
                    <a:pt x="510" y="138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56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6" y="168"/>
                  </a:lnTo>
                  <a:lnTo>
                    <a:pt x="552" y="168"/>
                  </a:lnTo>
                  <a:lnTo>
                    <a:pt x="546" y="168"/>
                  </a:lnTo>
                  <a:lnTo>
                    <a:pt x="546" y="174"/>
                  </a:lnTo>
                  <a:lnTo>
                    <a:pt x="558" y="180"/>
                  </a:lnTo>
                  <a:lnTo>
                    <a:pt x="564" y="180"/>
                  </a:lnTo>
                  <a:lnTo>
                    <a:pt x="564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52" y="198"/>
                  </a:lnTo>
                  <a:lnTo>
                    <a:pt x="558" y="204"/>
                  </a:lnTo>
                  <a:lnTo>
                    <a:pt x="564" y="204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22"/>
                  </a:lnTo>
                  <a:lnTo>
                    <a:pt x="576" y="228"/>
                  </a:lnTo>
                  <a:lnTo>
                    <a:pt x="570" y="228"/>
                  </a:lnTo>
                  <a:lnTo>
                    <a:pt x="570" y="234"/>
                  </a:lnTo>
                  <a:lnTo>
                    <a:pt x="576" y="234"/>
                  </a:lnTo>
                  <a:lnTo>
                    <a:pt x="582" y="234"/>
                  </a:lnTo>
                  <a:lnTo>
                    <a:pt x="588" y="234"/>
                  </a:lnTo>
                  <a:lnTo>
                    <a:pt x="588" y="240"/>
                  </a:lnTo>
                  <a:lnTo>
                    <a:pt x="588" y="246"/>
                  </a:lnTo>
                  <a:lnTo>
                    <a:pt x="588" y="252"/>
                  </a:lnTo>
                  <a:lnTo>
                    <a:pt x="582" y="252"/>
                  </a:lnTo>
                  <a:lnTo>
                    <a:pt x="576" y="252"/>
                  </a:lnTo>
                  <a:lnTo>
                    <a:pt x="582" y="258"/>
                  </a:lnTo>
                  <a:lnTo>
                    <a:pt x="582" y="264"/>
                  </a:lnTo>
                  <a:lnTo>
                    <a:pt x="576" y="264"/>
                  </a:lnTo>
                  <a:lnTo>
                    <a:pt x="546" y="264"/>
                  </a:lnTo>
                  <a:lnTo>
                    <a:pt x="546" y="276"/>
                  </a:lnTo>
                  <a:lnTo>
                    <a:pt x="540" y="282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40" y="324"/>
                  </a:lnTo>
                  <a:lnTo>
                    <a:pt x="552" y="330"/>
                  </a:lnTo>
                  <a:lnTo>
                    <a:pt x="558" y="342"/>
                  </a:lnTo>
                  <a:lnTo>
                    <a:pt x="546" y="372"/>
                  </a:lnTo>
                  <a:lnTo>
                    <a:pt x="534" y="372"/>
                  </a:lnTo>
                  <a:lnTo>
                    <a:pt x="534" y="384"/>
                  </a:lnTo>
                  <a:lnTo>
                    <a:pt x="522" y="384"/>
                  </a:lnTo>
                  <a:lnTo>
                    <a:pt x="510" y="402"/>
                  </a:lnTo>
                  <a:lnTo>
                    <a:pt x="504" y="420"/>
                  </a:lnTo>
                  <a:lnTo>
                    <a:pt x="492" y="426"/>
                  </a:lnTo>
                  <a:lnTo>
                    <a:pt x="486" y="432"/>
                  </a:lnTo>
                  <a:lnTo>
                    <a:pt x="486" y="444"/>
                  </a:lnTo>
                  <a:lnTo>
                    <a:pt x="486" y="450"/>
                  </a:lnTo>
                  <a:lnTo>
                    <a:pt x="486" y="456"/>
                  </a:lnTo>
                  <a:lnTo>
                    <a:pt x="486" y="462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80" y="474"/>
                  </a:lnTo>
                  <a:lnTo>
                    <a:pt x="480" y="480"/>
                  </a:lnTo>
                  <a:lnTo>
                    <a:pt x="480" y="486"/>
                  </a:lnTo>
                  <a:lnTo>
                    <a:pt x="480" y="492"/>
                  </a:lnTo>
                  <a:lnTo>
                    <a:pt x="480" y="498"/>
                  </a:lnTo>
                  <a:lnTo>
                    <a:pt x="474" y="504"/>
                  </a:lnTo>
                  <a:lnTo>
                    <a:pt x="468" y="510"/>
                  </a:lnTo>
                  <a:lnTo>
                    <a:pt x="462" y="510"/>
                  </a:lnTo>
                  <a:lnTo>
                    <a:pt x="456" y="504"/>
                  </a:lnTo>
                  <a:lnTo>
                    <a:pt x="456" y="498"/>
                  </a:lnTo>
                  <a:lnTo>
                    <a:pt x="450" y="498"/>
                  </a:lnTo>
                  <a:lnTo>
                    <a:pt x="444" y="498"/>
                  </a:lnTo>
                  <a:lnTo>
                    <a:pt x="438" y="498"/>
                  </a:lnTo>
                  <a:lnTo>
                    <a:pt x="432" y="498"/>
                  </a:lnTo>
                  <a:lnTo>
                    <a:pt x="426" y="504"/>
                  </a:lnTo>
                  <a:lnTo>
                    <a:pt x="426" y="510"/>
                  </a:lnTo>
                  <a:lnTo>
                    <a:pt x="420" y="516"/>
                  </a:lnTo>
                  <a:lnTo>
                    <a:pt x="414" y="522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84" y="528"/>
                  </a:lnTo>
                  <a:lnTo>
                    <a:pt x="366" y="540"/>
                  </a:lnTo>
                  <a:lnTo>
                    <a:pt x="360" y="522"/>
                  </a:lnTo>
                  <a:lnTo>
                    <a:pt x="348" y="504"/>
                  </a:lnTo>
                  <a:lnTo>
                    <a:pt x="330" y="504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34"/>
                  </a:lnTo>
                  <a:lnTo>
                    <a:pt x="288" y="540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2" y="540"/>
                  </a:lnTo>
                  <a:lnTo>
                    <a:pt x="282" y="546"/>
                  </a:lnTo>
                  <a:lnTo>
                    <a:pt x="288" y="552"/>
                  </a:lnTo>
                  <a:lnTo>
                    <a:pt x="294" y="564"/>
                  </a:lnTo>
                  <a:lnTo>
                    <a:pt x="300" y="564"/>
                  </a:lnTo>
                  <a:lnTo>
                    <a:pt x="300" y="570"/>
                  </a:lnTo>
                  <a:lnTo>
                    <a:pt x="294" y="570"/>
                  </a:lnTo>
                  <a:lnTo>
                    <a:pt x="288" y="570"/>
                  </a:lnTo>
                  <a:lnTo>
                    <a:pt x="288" y="576"/>
                  </a:lnTo>
                  <a:lnTo>
                    <a:pt x="288" y="582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606"/>
                  </a:lnTo>
                  <a:lnTo>
                    <a:pt x="264" y="612"/>
                  </a:lnTo>
                  <a:lnTo>
                    <a:pt x="258" y="612"/>
                  </a:lnTo>
                  <a:lnTo>
                    <a:pt x="252" y="612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52" y="630"/>
                  </a:lnTo>
                  <a:lnTo>
                    <a:pt x="264" y="642"/>
                  </a:lnTo>
                  <a:lnTo>
                    <a:pt x="258" y="648"/>
                  </a:lnTo>
                  <a:lnTo>
                    <a:pt x="246" y="654"/>
                  </a:lnTo>
                  <a:lnTo>
                    <a:pt x="240" y="660"/>
                  </a:lnTo>
                  <a:lnTo>
                    <a:pt x="234" y="672"/>
                  </a:lnTo>
                  <a:lnTo>
                    <a:pt x="234" y="678"/>
                  </a:lnTo>
                  <a:lnTo>
                    <a:pt x="228" y="684"/>
                  </a:lnTo>
                  <a:lnTo>
                    <a:pt x="228" y="696"/>
                  </a:lnTo>
                  <a:lnTo>
                    <a:pt x="216" y="71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6" name="Freeform 21">
              <a:extLst>
                <a:ext uri="{FF2B5EF4-FFF2-40B4-BE49-F238E27FC236}">
                  <a16:creationId xmlns:a16="http://schemas.microsoft.com/office/drawing/2014/main" id="{DCB1E808-522D-4C19-B741-CC5DD56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4178" y="3866464"/>
              <a:ext cx="250453" cy="371259"/>
            </a:xfrm>
            <a:custGeom>
              <a:avLst/>
              <a:gdLst>
                <a:gd name="T0" fmla="*/ 0 w 468"/>
                <a:gd name="T1" fmla="*/ 61 h 696"/>
                <a:gd name="T2" fmla="*/ 1 w 468"/>
                <a:gd name="T3" fmla="*/ 58 h 696"/>
                <a:gd name="T4" fmla="*/ 2 w 468"/>
                <a:gd name="T5" fmla="*/ 54 h 696"/>
                <a:gd name="T6" fmla="*/ 3 w 468"/>
                <a:gd name="T7" fmla="*/ 51 h 696"/>
                <a:gd name="T8" fmla="*/ 4 w 468"/>
                <a:gd name="T9" fmla="*/ 48 h 696"/>
                <a:gd name="T10" fmla="*/ 6 w 468"/>
                <a:gd name="T11" fmla="*/ 44 h 696"/>
                <a:gd name="T12" fmla="*/ 5 w 468"/>
                <a:gd name="T13" fmla="*/ 41 h 696"/>
                <a:gd name="T14" fmla="*/ 7 w 468"/>
                <a:gd name="T15" fmla="*/ 38 h 696"/>
                <a:gd name="T16" fmla="*/ 8 w 468"/>
                <a:gd name="T17" fmla="*/ 36 h 696"/>
                <a:gd name="T18" fmla="*/ 7 w 468"/>
                <a:gd name="T19" fmla="*/ 33 h 696"/>
                <a:gd name="T20" fmla="*/ 6 w 468"/>
                <a:gd name="T21" fmla="*/ 29 h 696"/>
                <a:gd name="T22" fmla="*/ 4 w 468"/>
                <a:gd name="T23" fmla="*/ 22 h 696"/>
                <a:gd name="T24" fmla="*/ 2 w 468"/>
                <a:gd name="T25" fmla="*/ 14 h 696"/>
                <a:gd name="T26" fmla="*/ 12 w 468"/>
                <a:gd name="T27" fmla="*/ 11 h 696"/>
                <a:gd name="T28" fmla="*/ 14 w 468"/>
                <a:gd name="T29" fmla="*/ 2 h 696"/>
                <a:gd name="T30" fmla="*/ 16 w 468"/>
                <a:gd name="T31" fmla="*/ 0 h 696"/>
                <a:gd name="T32" fmla="*/ 17 w 468"/>
                <a:gd name="T33" fmla="*/ 0 h 696"/>
                <a:gd name="T34" fmla="*/ 18 w 468"/>
                <a:gd name="T35" fmla="*/ 1 h 696"/>
                <a:gd name="T36" fmla="*/ 17 w 468"/>
                <a:gd name="T37" fmla="*/ 2 h 696"/>
                <a:gd name="T38" fmla="*/ 17 w 468"/>
                <a:gd name="T39" fmla="*/ 4 h 696"/>
                <a:gd name="T40" fmla="*/ 17 w 468"/>
                <a:gd name="T41" fmla="*/ 6 h 696"/>
                <a:gd name="T42" fmla="*/ 20 w 468"/>
                <a:gd name="T43" fmla="*/ 6 h 696"/>
                <a:gd name="T44" fmla="*/ 22 w 468"/>
                <a:gd name="T45" fmla="*/ 5 h 696"/>
                <a:gd name="T46" fmla="*/ 24 w 468"/>
                <a:gd name="T47" fmla="*/ 7 h 696"/>
                <a:gd name="T48" fmla="*/ 28 w 468"/>
                <a:gd name="T49" fmla="*/ 7 h 696"/>
                <a:gd name="T50" fmla="*/ 28 w 468"/>
                <a:gd name="T51" fmla="*/ 11 h 696"/>
                <a:gd name="T52" fmla="*/ 25 w 468"/>
                <a:gd name="T53" fmla="*/ 14 h 696"/>
                <a:gd name="T54" fmla="*/ 23 w 468"/>
                <a:gd name="T55" fmla="*/ 15 h 696"/>
                <a:gd name="T56" fmla="*/ 23 w 468"/>
                <a:gd name="T57" fmla="*/ 19 h 696"/>
                <a:gd name="T58" fmla="*/ 23 w 468"/>
                <a:gd name="T59" fmla="*/ 21 h 696"/>
                <a:gd name="T60" fmla="*/ 24 w 468"/>
                <a:gd name="T61" fmla="*/ 21 h 696"/>
                <a:gd name="T62" fmla="*/ 27 w 468"/>
                <a:gd name="T63" fmla="*/ 23 h 696"/>
                <a:gd name="T64" fmla="*/ 29 w 468"/>
                <a:gd name="T65" fmla="*/ 24 h 696"/>
                <a:gd name="T66" fmla="*/ 29 w 468"/>
                <a:gd name="T67" fmla="*/ 28 h 696"/>
                <a:gd name="T68" fmla="*/ 29 w 468"/>
                <a:gd name="T69" fmla="*/ 29 h 696"/>
                <a:gd name="T70" fmla="*/ 29 w 468"/>
                <a:gd name="T71" fmla="*/ 32 h 696"/>
                <a:gd name="T72" fmla="*/ 32 w 468"/>
                <a:gd name="T73" fmla="*/ 32 h 696"/>
                <a:gd name="T74" fmla="*/ 33 w 468"/>
                <a:gd name="T75" fmla="*/ 35 h 696"/>
                <a:gd name="T76" fmla="*/ 34 w 468"/>
                <a:gd name="T77" fmla="*/ 38 h 696"/>
                <a:gd name="T78" fmla="*/ 35 w 468"/>
                <a:gd name="T79" fmla="*/ 39 h 696"/>
                <a:gd name="T80" fmla="*/ 36 w 468"/>
                <a:gd name="T81" fmla="*/ 40 h 696"/>
                <a:gd name="T82" fmla="*/ 37 w 468"/>
                <a:gd name="T83" fmla="*/ 41 h 696"/>
                <a:gd name="T84" fmla="*/ 38 w 468"/>
                <a:gd name="T85" fmla="*/ 42 h 696"/>
                <a:gd name="T86" fmla="*/ 41 w 468"/>
                <a:gd name="T87" fmla="*/ 44 h 696"/>
                <a:gd name="T88" fmla="*/ 40 w 468"/>
                <a:gd name="T89" fmla="*/ 44 h 696"/>
                <a:gd name="T90" fmla="*/ 37 w 468"/>
                <a:gd name="T91" fmla="*/ 45 h 696"/>
                <a:gd name="T92" fmla="*/ 36 w 468"/>
                <a:gd name="T93" fmla="*/ 48 h 696"/>
                <a:gd name="T94" fmla="*/ 34 w 468"/>
                <a:gd name="T95" fmla="*/ 49 h 696"/>
                <a:gd name="T96" fmla="*/ 32 w 468"/>
                <a:gd name="T97" fmla="*/ 51 h 696"/>
                <a:gd name="T98" fmla="*/ 31 w 468"/>
                <a:gd name="T99" fmla="*/ 51 h 696"/>
                <a:gd name="T100" fmla="*/ 26 w 468"/>
                <a:gd name="T101" fmla="*/ 49 h 696"/>
                <a:gd name="T102" fmla="*/ 23 w 468"/>
                <a:gd name="T103" fmla="*/ 51 h 696"/>
                <a:gd name="T104" fmla="*/ 21 w 468"/>
                <a:gd name="T105" fmla="*/ 51 h 696"/>
                <a:gd name="T106" fmla="*/ 20 w 468"/>
                <a:gd name="T107" fmla="*/ 52 h 696"/>
                <a:gd name="T108" fmla="*/ 17 w 468"/>
                <a:gd name="T109" fmla="*/ 55 h 696"/>
                <a:gd name="T110" fmla="*/ 15 w 468"/>
                <a:gd name="T111" fmla="*/ 56 h 696"/>
                <a:gd name="T112" fmla="*/ 15 w 468"/>
                <a:gd name="T113" fmla="*/ 59 h 696"/>
                <a:gd name="T114" fmla="*/ 14 w 468"/>
                <a:gd name="T115" fmla="*/ 59 h 696"/>
                <a:gd name="T116" fmla="*/ 12 w 468"/>
                <a:gd name="T117" fmla="*/ 59 h 696"/>
                <a:gd name="T118" fmla="*/ 11 w 468"/>
                <a:gd name="T119" fmla="*/ 57 h 696"/>
                <a:gd name="T120" fmla="*/ 9 w 468"/>
                <a:gd name="T121" fmla="*/ 57 h 696"/>
                <a:gd name="T122" fmla="*/ 6 w 468"/>
                <a:gd name="T123" fmla="*/ 58 h 696"/>
                <a:gd name="T124" fmla="*/ 4 w 468"/>
                <a:gd name="T125" fmla="*/ 60 h 69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8"/>
                <a:gd name="T190" fmla="*/ 0 h 696"/>
                <a:gd name="T191" fmla="*/ 468 w 468"/>
                <a:gd name="T192" fmla="*/ 696 h 69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8" h="696">
                  <a:moveTo>
                    <a:pt x="30" y="696"/>
                  </a:moveTo>
                  <a:lnTo>
                    <a:pt x="18" y="696"/>
                  </a:lnTo>
                  <a:lnTo>
                    <a:pt x="6" y="696"/>
                  </a:lnTo>
                  <a:lnTo>
                    <a:pt x="0" y="690"/>
                  </a:lnTo>
                  <a:lnTo>
                    <a:pt x="6" y="678"/>
                  </a:lnTo>
                  <a:lnTo>
                    <a:pt x="12" y="666"/>
                  </a:lnTo>
                  <a:lnTo>
                    <a:pt x="18" y="654"/>
                  </a:lnTo>
                  <a:lnTo>
                    <a:pt x="18" y="642"/>
                  </a:lnTo>
                  <a:lnTo>
                    <a:pt x="18" y="618"/>
                  </a:lnTo>
                  <a:lnTo>
                    <a:pt x="24" y="606"/>
                  </a:lnTo>
                  <a:lnTo>
                    <a:pt x="30" y="594"/>
                  </a:lnTo>
                  <a:lnTo>
                    <a:pt x="30" y="582"/>
                  </a:lnTo>
                  <a:lnTo>
                    <a:pt x="36" y="576"/>
                  </a:lnTo>
                  <a:lnTo>
                    <a:pt x="42" y="564"/>
                  </a:lnTo>
                  <a:lnTo>
                    <a:pt x="48" y="546"/>
                  </a:lnTo>
                  <a:lnTo>
                    <a:pt x="48" y="528"/>
                  </a:lnTo>
                  <a:lnTo>
                    <a:pt x="60" y="516"/>
                  </a:lnTo>
                  <a:lnTo>
                    <a:pt x="66" y="504"/>
                  </a:lnTo>
                  <a:lnTo>
                    <a:pt x="66" y="492"/>
                  </a:lnTo>
                  <a:lnTo>
                    <a:pt x="60" y="480"/>
                  </a:lnTo>
                  <a:lnTo>
                    <a:pt x="54" y="468"/>
                  </a:lnTo>
                  <a:lnTo>
                    <a:pt x="60" y="456"/>
                  </a:lnTo>
                  <a:lnTo>
                    <a:pt x="72" y="450"/>
                  </a:lnTo>
                  <a:lnTo>
                    <a:pt x="84" y="438"/>
                  </a:lnTo>
                  <a:lnTo>
                    <a:pt x="90" y="426"/>
                  </a:lnTo>
                  <a:lnTo>
                    <a:pt x="90" y="420"/>
                  </a:lnTo>
                  <a:lnTo>
                    <a:pt x="90" y="408"/>
                  </a:lnTo>
                  <a:lnTo>
                    <a:pt x="90" y="402"/>
                  </a:lnTo>
                  <a:lnTo>
                    <a:pt x="84" y="396"/>
                  </a:lnTo>
                  <a:lnTo>
                    <a:pt x="78" y="378"/>
                  </a:lnTo>
                  <a:lnTo>
                    <a:pt x="72" y="360"/>
                  </a:lnTo>
                  <a:lnTo>
                    <a:pt x="66" y="348"/>
                  </a:lnTo>
                  <a:lnTo>
                    <a:pt x="72" y="336"/>
                  </a:lnTo>
                  <a:lnTo>
                    <a:pt x="66" y="306"/>
                  </a:lnTo>
                  <a:lnTo>
                    <a:pt x="54" y="276"/>
                  </a:lnTo>
                  <a:lnTo>
                    <a:pt x="42" y="252"/>
                  </a:lnTo>
                  <a:lnTo>
                    <a:pt x="36" y="222"/>
                  </a:lnTo>
                  <a:lnTo>
                    <a:pt x="30" y="192"/>
                  </a:lnTo>
                  <a:lnTo>
                    <a:pt x="24" y="162"/>
                  </a:lnTo>
                  <a:lnTo>
                    <a:pt x="42" y="174"/>
                  </a:lnTo>
                  <a:lnTo>
                    <a:pt x="120" y="138"/>
                  </a:lnTo>
                  <a:lnTo>
                    <a:pt x="132" y="126"/>
                  </a:lnTo>
                  <a:lnTo>
                    <a:pt x="120" y="54"/>
                  </a:lnTo>
                  <a:lnTo>
                    <a:pt x="156" y="30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0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8" y="18"/>
                  </a:lnTo>
                  <a:lnTo>
                    <a:pt x="198" y="24"/>
                  </a:lnTo>
                  <a:lnTo>
                    <a:pt x="198" y="30"/>
                  </a:lnTo>
                  <a:lnTo>
                    <a:pt x="198" y="42"/>
                  </a:lnTo>
                  <a:lnTo>
                    <a:pt x="198" y="48"/>
                  </a:lnTo>
                  <a:lnTo>
                    <a:pt x="192" y="60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28" y="60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34" y="60"/>
                  </a:lnTo>
                  <a:lnTo>
                    <a:pt x="252" y="60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312" y="84"/>
                  </a:lnTo>
                  <a:lnTo>
                    <a:pt x="318" y="96"/>
                  </a:lnTo>
                  <a:lnTo>
                    <a:pt x="318" y="102"/>
                  </a:lnTo>
                  <a:lnTo>
                    <a:pt x="312" y="120"/>
                  </a:lnTo>
                  <a:lnTo>
                    <a:pt x="306" y="132"/>
                  </a:lnTo>
                  <a:lnTo>
                    <a:pt x="294" y="144"/>
                  </a:lnTo>
                  <a:lnTo>
                    <a:pt x="282" y="156"/>
                  </a:lnTo>
                  <a:lnTo>
                    <a:pt x="276" y="162"/>
                  </a:lnTo>
                  <a:lnTo>
                    <a:pt x="270" y="162"/>
                  </a:lnTo>
                  <a:lnTo>
                    <a:pt x="264" y="174"/>
                  </a:lnTo>
                  <a:lnTo>
                    <a:pt x="264" y="192"/>
                  </a:lnTo>
                  <a:lnTo>
                    <a:pt x="264" y="216"/>
                  </a:lnTo>
                  <a:lnTo>
                    <a:pt x="258" y="216"/>
                  </a:lnTo>
                  <a:lnTo>
                    <a:pt x="258" y="228"/>
                  </a:lnTo>
                  <a:lnTo>
                    <a:pt x="252" y="234"/>
                  </a:lnTo>
                  <a:lnTo>
                    <a:pt x="258" y="240"/>
                  </a:lnTo>
                  <a:lnTo>
                    <a:pt x="264" y="240"/>
                  </a:lnTo>
                  <a:lnTo>
                    <a:pt x="270" y="240"/>
                  </a:lnTo>
                  <a:lnTo>
                    <a:pt x="276" y="240"/>
                  </a:lnTo>
                  <a:lnTo>
                    <a:pt x="288" y="240"/>
                  </a:lnTo>
                  <a:lnTo>
                    <a:pt x="300" y="246"/>
                  </a:lnTo>
                  <a:lnTo>
                    <a:pt x="306" y="258"/>
                  </a:lnTo>
                  <a:lnTo>
                    <a:pt x="312" y="264"/>
                  </a:lnTo>
                  <a:lnTo>
                    <a:pt x="318" y="276"/>
                  </a:lnTo>
                  <a:lnTo>
                    <a:pt x="330" y="282"/>
                  </a:lnTo>
                  <a:lnTo>
                    <a:pt x="330" y="300"/>
                  </a:lnTo>
                  <a:lnTo>
                    <a:pt x="336" y="312"/>
                  </a:lnTo>
                  <a:lnTo>
                    <a:pt x="336" y="318"/>
                  </a:lnTo>
                  <a:lnTo>
                    <a:pt x="336" y="330"/>
                  </a:lnTo>
                  <a:lnTo>
                    <a:pt x="324" y="330"/>
                  </a:lnTo>
                  <a:lnTo>
                    <a:pt x="330" y="336"/>
                  </a:lnTo>
                  <a:lnTo>
                    <a:pt x="330" y="342"/>
                  </a:lnTo>
                  <a:lnTo>
                    <a:pt x="336" y="348"/>
                  </a:lnTo>
                  <a:lnTo>
                    <a:pt x="330" y="360"/>
                  </a:lnTo>
                  <a:lnTo>
                    <a:pt x="336" y="372"/>
                  </a:lnTo>
                  <a:lnTo>
                    <a:pt x="354" y="366"/>
                  </a:lnTo>
                  <a:lnTo>
                    <a:pt x="366" y="366"/>
                  </a:lnTo>
                  <a:lnTo>
                    <a:pt x="372" y="378"/>
                  </a:lnTo>
                  <a:lnTo>
                    <a:pt x="372" y="390"/>
                  </a:lnTo>
                  <a:lnTo>
                    <a:pt x="378" y="396"/>
                  </a:lnTo>
                  <a:lnTo>
                    <a:pt x="378" y="408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44"/>
                  </a:lnTo>
                  <a:lnTo>
                    <a:pt x="390" y="444"/>
                  </a:lnTo>
                  <a:lnTo>
                    <a:pt x="396" y="444"/>
                  </a:lnTo>
                  <a:lnTo>
                    <a:pt x="402" y="450"/>
                  </a:lnTo>
                  <a:lnTo>
                    <a:pt x="408" y="450"/>
                  </a:lnTo>
                  <a:lnTo>
                    <a:pt x="408" y="462"/>
                  </a:lnTo>
                  <a:lnTo>
                    <a:pt x="408" y="468"/>
                  </a:lnTo>
                  <a:lnTo>
                    <a:pt x="414" y="474"/>
                  </a:lnTo>
                  <a:lnTo>
                    <a:pt x="420" y="474"/>
                  </a:lnTo>
                  <a:lnTo>
                    <a:pt x="420" y="480"/>
                  </a:lnTo>
                  <a:lnTo>
                    <a:pt x="426" y="480"/>
                  </a:lnTo>
                  <a:lnTo>
                    <a:pt x="432" y="480"/>
                  </a:lnTo>
                  <a:lnTo>
                    <a:pt x="462" y="486"/>
                  </a:lnTo>
                  <a:lnTo>
                    <a:pt x="468" y="492"/>
                  </a:lnTo>
                  <a:lnTo>
                    <a:pt x="468" y="498"/>
                  </a:lnTo>
                  <a:lnTo>
                    <a:pt x="462" y="498"/>
                  </a:lnTo>
                  <a:lnTo>
                    <a:pt x="456" y="498"/>
                  </a:lnTo>
                  <a:lnTo>
                    <a:pt x="456" y="504"/>
                  </a:lnTo>
                  <a:lnTo>
                    <a:pt x="456" y="510"/>
                  </a:lnTo>
                  <a:lnTo>
                    <a:pt x="450" y="516"/>
                  </a:lnTo>
                  <a:lnTo>
                    <a:pt x="426" y="516"/>
                  </a:lnTo>
                  <a:lnTo>
                    <a:pt x="408" y="528"/>
                  </a:lnTo>
                  <a:lnTo>
                    <a:pt x="408" y="546"/>
                  </a:lnTo>
                  <a:lnTo>
                    <a:pt x="414" y="552"/>
                  </a:lnTo>
                  <a:lnTo>
                    <a:pt x="408" y="558"/>
                  </a:lnTo>
                  <a:lnTo>
                    <a:pt x="402" y="564"/>
                  </a:lnTo>
                  <a:lnTo>
                    <a:pt x="384" y="564"/>
                  </a:lnTo>
                  <a:lnTo>
                    <a:pt x="372" y="564"/>
                  </a:lnTo>
                  <a:lnTo>
                    <a:pt x="372" y="576"/>
                  </a:lnTo>
                  <a:lnTo>
                    <a:pt x="366" y="576"/>
                  </a:lnTo>
                  <a:lnTo>
                    <a:pt x="366" y="582"/>
                  </a:lnTo>
                  <a:lnTo>
                    <a:pt x="360" y="582"/>
                  </a:lnTo>
                  <a:lnTo>
                    <a:pt x="348" y="576"/>
                  </a:lnTo>
                  <a:lnTo>
                    <a:pt x="336" y="570"/>
                  </a:lnTo>
                  <a:lnTo>
                    <a:pt x="324" y="570"/>
                  </a:lnTo>
                  <a:lnTo>
                    <a:pt x="300" y="564"/>
                  </a:lnTo>
                  <a:lnTo>
                    <a:pt x="282" y="564"/>
                  </a:lnTo>
                  <a:lnTo>
                    <a:pt x="270" y="570"/>
                  </a:lnTo>
                  <a:lnTo>
                    <a:pt x="264" y="576"/>
                  </a:lnTo>
                  <a:lnTo>
                    <a:pt x="258" y="576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34" y="594"/>
                  </a:lnTo>
                  <a:lnTo>
                    <a:pt x="228" y="600"/>
                  </a:lnTo>
                  <a:lnTo>
                    <a:pt x="210" y="618"/>
                  </a:lnTo>
                  <a:lnTo>
                    <a:pt x="210" y="624"/>
                  </a:lnTo>
                  <a:lnTo>
                    <a:pt x="192" y="630"/>
                  </a:lnTo>
                  <a:lnTo>
                    <a:pt x="186" y="630"/>
                  </a:lnTo>
                  <a:lnTo>
                    <a:pt x="180" y="636"/>
                  </a:lnTo>
                  <a:lnTo>
                    <a:pt x="174" y="642"/>
                  </a:lnTo>
                  <a:lnTo>
                    <a:pt x="168" y="642"/>
                  </a:lnTo>
                  <a:lnTo>
                    <a:pt x="168" y="654"/>
                  </a:lnTo>
                  <a:lnTo>
                    <a:pt x="168" y="678"/>
                  </a:lnTo>
                  <a:lnTo>
                    <a:pt x="162" y="684"/>
                  </a:lnTo>
                  <a:lnTo>
                    <a:pt x="156" y="684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72"/>
                  </a:lnTo>
                  <a:lnTo>
                    <a:pt x="138" y="672"/>
                  </a:lnTo>
                  <a:lnTo>
                    <a:pt x="138" y="666"/>
                  </a:lnTo>
                  <a:lnTo>
                    <a:pt x="132" y="660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48"/>
                  </a:lnTo>
                  <a:lnTo>
                    <a:pt x="102" y="654"/>
                  </a:lnTo>
                  <a:lnTo>
                    <a:pt x="90" y="654"/>
                  </a:lnTo>
                  <a:lnTo>
                    <a:pt x="84" y="654"/>
                  </a:lnTo>
                  <a:lnTo>
                    <a:pt x="72" y="660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36" y="684"/>
                  </a:lnTo>
                  <a:lnTo>
                    <a:pt x="30" y="6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7" name="Freeform 22">
              <a:extLst>
                <a:ext uri="{FF2B5EF4-FFF2-40B4-BE49-F238E27FC236}">
                  <a16:creationId xmlns:a16="http://schemas.microsoft.com/office/drawing/2014/main" id="{2F7A477D-6CF8-44B3-8B32-64EE03DC4D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2895" y="3967106"/>
              <a:ext cx="610479" cy="507686"/>
            </a:xfrm>
            <a:custGeom>
              <a:avLst/>
              <a:gdLst>
                <a:gd name="T0" fmla="*/ 87 w 1146"/>
                <a:gd name="T1" fmla="*/ 56 h 954"/>
                <a:gd name="T2" fmla="*/ 83 w 1146"/>
                <a:gd name="T3" fmla="*/ 66 h 954"/>
                <a:gd name="T4" fmla="*/ 74 w 1146"/>
                <a:gd name="T5" fmla="*/ 69 h 954"/>
                <a:gd name="T6" fmla="*/ 67 w 1146"/>
                <a:gd name="T7" fmla="*/ 75 h 954"/>
                <a:gd name="T8" fmla="*/ 59 w 1146"/>
                <a:gd name="T9" fmla="*/ 78 h 954"/>
                <a:gd name="T10" fmla="*/ 52 w 1146"/>
                <a:gd name="T11" fmla="*/ 77 h 954"/>
                <a:gd name="T12" fmla="*/ 48 w 1146"/>
                <a:gd name="T13" fmla="*/ 79 h 954"/>
                <a:gd name="T14" fmla="*/ 41 w 1146"/>
                <a:gd name="T15" fmla="*/ 82 h 954"/>
                <a:gd name="T16" fmla="*/ 29 w 1146"/>
                <a:gd name="T17" fmla="*/ 78 h 954"/>
                <a:gd name="T18" fmla="*/ 28 w 1146"/>
                <a:gd name="T19" fmla="*/ 76 h 954"/>
                <a:gd name="T20" fmla="*/ 28 w 1146"/>
                <a:gd name="T21" fmla="*/ 72 h 954"/>
                <a:gd name="T22" fmla="*/ 28 w 1146"/>
                <a:gd name="T23" fmla="*/ 74 h 954"/>
                <a:gd name="T24" fmla="*/ 21 w 1146"/>
                <a:gd name="T25" fmla="*/ 74 h 954"/>
                <a:gd name="T26" fmla="*/ 20 w 1146"/>
                <a:gd name="T27" fmla="*/ 67 h 954"/>
                <a:gd name="T28" fmla="*/ 23 w 1146"/>
                <a:gd name="T29" fmla="*/ 64 h 954"/>
                <a:gd name="T30" fmla="*/ 28 w 1146"/>
                <a:gd name="T31" fmla="*/ 65 h 954"/>
                <a:gd name="T32" fmla="*/ 32 w 1146"/>
                <a:gd name="T33" fmla="*/ 62 h 954"/>
                <a:gd name="T34" fmla="*/ 31 w 1146"/>
                <a:gd name="T35" fmla="*/ 56 h 954"/>
                <a:gd name="T36" fmla="*/ 36 w 1146"/>
                <a:gd name="T37" fmla="*/ 54 h 954"/>
                <a:gd name="T38" fmla="*/ 38 w 1146"/>
                <a:gd name="T39" fmla="*/ 54 h 954"/>
                <a:gd name="T40" fmla="*/ 32 w 1146"/>
                <a:gd name="T41" fmla="*/ 54 h 954"/>
                <a:gd name="T42" fmla="*/ 29 w 1146"/>
                <a:gd name="T43" fmla="*/ 59 h 954"/>
                <a:gd name="T44" fmla="*/ 26 w 1146"/>
                <a:gd name="T45" fmla="*/ 59 h 954"/>
                <a:gd name="T46" fmla="*/ 25 w 1146"/>
                <a:gd name="T47" fmla="*/ 61 h 954"/>
                <a:gd name="T48" fmla="*/ 20 w 1146"/>
                <a:gd name="T49" fmla="*/ 61 h 954"/>
                <a:gd name="T50" fmla="*/ 11 w 1146"/>
                <a:gd name="T51" fmla="*/ 54 h 954"/>
                <a:gd name="T52" fmla="*/ 14 w 1146"/>
                <a:gd name="T53" fmla="*/ 50 h 954"/>
                <a:gd name="T54" fmla="*/ 21 w 1146"/>
                <a:gd name="T55" fmla="*/ 51 h 954"/>
                <a:gd name="T56" fmla="*/ 24 w 1146"/>
                <a:gd name="T57" fmla="*/ 50 h 954"/>
                <a:gd name="T58" fmla="*/ 28 w 1146"/>
                <a:gd name="T59" fmla="*/ 48 h 954"/>
                <a:gd name="T60" fmla="*/ 30 w 1146"/>
                <a:gd name="T61" fmla="*/ 49 h 954"/>
                <a:gd name="T62" fmla="*/ 26 w 1146"/>
                <a:gd name="T63" fmla="*/ 47 h 954"/>
                <a:gd name="T64" fmla="*/ 20 w 1146"/>
                <a:gd name="T65" fmla="*/ 50 h 954"/>
                <a:gd name="T66" fmla="*/ 20 w 1146"/>
                <a:gd name="T67" fmla="*/ 44 h 954"/>
                <a:gd name="T68" fmla="*/ 19 w 1146"/>
                <a:gd name="T69" fmla="*/ 46 h 954"/>
                <a:gd name="T70" fmla="*/ 15 w 1146"/>
                <a:gd name="T71" fmla="*/ 49 h 954"/>
                <a:gd name="T72" fmla="*/ 8 w 1146"/>
                <a:gd name="T73" fmla="*/ 48 h 954"/>
                <a:gd name="T74" fmla="*/ 6 w 1146"/>
                <a:gd name="T75" fmla="*/ 41 h 954"/>
                <a:gd name="T76" fmla="*/ 10 w 1146"/>
                <a:gd name="T77" fmla="*/ 41 h 954"/>
                <a:gd name="T78" fmla="*/ 9 w 1146"/>
                <a:gd name="T79" fmla="*/ 39 h 954"/>
                <a:gd name="T80" fmla="*/ 14 w 1146"/>
                <a:gd name="T81" fmla="*/ 35 h 954"/>
                <a:gd name="T82" fmla="*/ 19 w 1146"/>
                <a:gd name="T83" fmla="*/ 32 h 954"/>
                <a:gd name="T84" fmla="*/ 20 w 1146"/>
                <a:gd name="T85" fmla="*/ 29 h 954"/>
                <a:gd name="T86" fmla="*/ 27 w 1146"/>
                <a:gd name="T87" fmla="*/ 27 h 954"/>
                <a:gd name="T88" fmla="*/ 33 w 1146"/>
                <a:gd name="T89" fmla="*/ 28 h 954"/>
                <a:gd name="T90" fmla="*/ 44 w 1146"/>
                <a:gd name="T91" fmla="*/ 27 h 954"/>
                <a:gd name="T92" fmla="*/ 52 w 1146"/>
                <a:gd name="T93" fmla="*/ 41 h 954"/>
                <a:gd name="T94" fmla="*/ 61 w 1146"/>
                <a:gd name="T95" fmla="*/ 40 h 954"/>
                <a:gd name="T96" fmla="*/ 69 w 1146"/>
                <a:gd name="T97" fmla="*/ 34 h 954"/>
                <a:gd name="T98" fmla="*/ 62 w 1146"/>
                <a:gd name="T99" fmla="*/ 12 h 954"/>
                <a:gd name="T100" fmla="*/ 74 w 1146"/>
                <a:gd name="T101" fmla="*/ 8 h 954"/>
                <a:gd name="T102" fmla="*/ 87 w 1146"/>
                <a:gd name="T103" fmla="*/ 1 h 954"/>
                <a:gd name="T104" fmla="*/ 99 w 1146"/>
                <a:gd name="T105" fmla="*/ 12 h 954"/>
                <a:gd name="T106" fmla="*/ 98 w 1146"/>
                <a:gd name="T107" fmla="*/ 27 h 954"/>
                <a:gd name="T108" fmla="*/ 16 w 1146"/>
                <a:gd name="T109" fmla="*/ 33 h 954"/>
                <a:gd name="T110" fmla="*/ 11 w 1146"/>
                <a:gd name="T111" fmla="*/ 36 h 954"/>
                <a:gd name="T112" fmla="*/ 5 w 1146"/>
                <a:gd name="T113" fmla="*/ 41 h 954"/>
                <a:gd name="T114" fmla="*/ 2 w 1146"/>
                <a:gd name="T115" fmla="*/ 36 h 954"/>
                <a:gd name="T116" fmla="*/ 5 w 1146"/>
                <a:gd name="T117" fmla="*/ 26 h 954"/>
                <a:gd name="T118" fmla="*/ 10 w 1146"/>
                <a:gd name="T119" fmla="*/ 20 h 954"/>
                <a:gd name="T120" fmla="*/ 13 w 1146"/>
                <a:gd name="T121" fmla="*/ 20 h 954"/>
                <a:gd name="T122" fmla="*/ 15 w 1146"/>
                <a:gd name="T123" fmla="*/ 27 h 95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46"/>
                <a:gd name="T187" fmla="*/ 0 h 954"/>
                <a:gd name="T188" fmla="*/ 1146 w 1146"/>
                <a:gd name="T189" fmla="*/ 954 h 95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46" h="954">
                  <a:moveTo>
                    <a:pt x="1056" y="498"/>
                  </a:moveTo>
                  <a:lnTo>
                    <a:pt x="1044" y="510"/>
                  </a:lnTo>
                  <a:lnTo>
                    <a:pt x="1032" y="516"/>
                  </a:lnTo>
                  <a:lnTo>
                    <a:pt x="1038" y="528"/>
                  </a:lnTo>
                  <a:lnTo>
                    <a:pt x="1050" y="540"/>
                  </a:lnTo>
                  <a:lnTo>
                    <a:pt x="1050" y="546"/>
                  </a:lnTo>
                  <a:lnTo>
                    <a:pt x="1050" y="564"/>
                  </a:lnTo>
                  <a:lnTo>
                    <a:pt x="1038" y="576"/>
                  </a:lnTo>
                  <a:lnTo>
                    <a:pt x="1032" y="588"/>
                  </a:lnTo>
                  <a:lnTo>
                    <a:pt x="1020" y="594"/>
                  </a:lnTo>
                  <a:lnTo>
                    <a:pt x="1008" y="594"/>
                  </a:lnTo>
                  <a:lnTo>
                    <a:pt x="1002" y="600"/>
                  </a:lnTo>
                  <a:lnTo>
                    <a:pt x="996" y="612"/>
                  </a:lnTo>
                  <a:lnTo>
                    <a:pt x="996" y="624"/>
                  </a:lnTo>
                  <a:lnTo>
                    <a:pt x="996" y="648"/>
                  </a:lnTo>
                  <a:lnTo>
                    <a:pt x="996" y="660"/>
                  </a:lnTo>
                  <a:lnTo>
                    <a:pt x="1002" y="672"/>
                  </a:lnTo>
                  <a:lnTo>
                    <a:pt x="1002" y="684"/>
                  </a:lnTo>
                  <a:lnTo>
                    <a:pt x="996" y="684"/>
                  </a:lnTo>
                  <a:lnTo>
                    <a:pt x="984" y="690"/>
                  </a:lnTo>
                  <a:lnTo>
                    <a:pt x="972" y="690"/>
                  </a:lnTo>
                  <a:lnTo>
                    <a:pt x="966" y="696"/>
                  </a:lnTo>
                  <a:lnTo>
                    <a:pt x="966" y="702"/>
                  </a:lnTo>
                  <a:lnTo>
                    <a:pt x="966" y="714"/>
                  </a:lnTo>
                  <a:lnTo>
                    <a:pt x="972" y="726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2" y="756"/>
                  </a:lnTo>
                  <a:lnTo>
                    <a:pt x="966" y="756"/>
                  </a:lnTo>
                  <a:lnTo>
                    <a:pt x="942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18" y="768"/>
                  </a:lnTo>
                  <a:lnTo>
                    <a:pt x="906" y="768"/>
                  </a:lnTo>
                  <a:lnTo>
                    <a:pt x="894" y="762"/>
                  </a:lnTo>
                  <a:lnTo>
                    <a:pt x="882" y="756"/>
                  </a:lnTo>
                  <a:lnTo>
                    <a:pt x="876" y="756"/>
                  </a:lnTo>
                  <a:lnTo>
                    <a:pt x="876" y="762"/>
                  </a:lnTo>
                  <a:lnTo>
                    <a:pt x="864" y="768"/>
                  </a:lnTo>
                  <a:lnTo>
                    <a:pt x="858" y="774"/>
                  </a:lnTo>
                  <a:lnTo>
                    <a:pt x="852" y="774"/>
                  </a:lnTo>
                  <a:lnTo>
                    <a:pt x="840" y="780"/>
                  </a:lnTo>
                  <a:lnTo>
                    <a:pt x="840" y="786"/>
                  </a:lnTo>
                  <a:lnTo>
                    <a:pt x="840" y="792"/>
                  </a:lnTo>
                  <a:lnTo>
                    <a:pt x="840" y="804"/>
                  </a:lnTo>
                  <a:lnTo>
                    <a:pt x="840" y="810"/>
                  </a:lnTo>
                  <a:lnTo>
                    <a:pt x="828" y="816"/>
                  </a:lnTo>
                  <a:lnTo>
                    <a:pt x="810" y="810"/>
                  </a:lnTo>
                  <a:lnTo>
                    <a:pt x="792" y="810"/>
                  </a:lnTo>
                  <a:lnTo>
                    <a:pt x="786" y="816"/>
                  </a:lnTo>
                  <a:lnTo>
                    <a:pt x="780" y="816"/>
                  </a:lnTo>
                  <a:lnTo>
                    <a:pt x="780" y="822"/>
                  </a:lnTo>
                  <a:lnTo>
                    <a:pt x="780" y="828"/>
                  </a:lnTo>
                  <a:lnTo>
                    <a:pt x="780" y="834"/>
                  </a:lnTo>
                  <a:lnTo>
                    <a:pt x="786" y="840"/>
                  </a:lnTo>
                  <a:lnTo>
                    <a:pt x="786" y="846"/>
                  </a:lnTo>
                  <a:lnTo>
                    <a:pt x="786" y="852"/>
                  </a:lnTo>
                  <a:lnTo>
                    <a:pt x="780" y="858"/>
                  </a:lnTo>
                  <a:lnTo>
                    <a:pt x="768" y="858"/>
                  </a:lnTo>
                  <a:lnTo>
                    <a:pt x="762" y="864"/>
                  </a:lnTo>
                  <a:lnTo>
                    <a:pt x="756" y="864"/>
                  </a:lnTo>
                  <a:lnTo>
                    <a:pt x="750" y="870"/>
                  </a:lnTo>
                  <a:lnTo>
                    <a:pt x="744" y="876"/>
                  </a:lnTo>
                  <a:lnTo>
                    <a:pt x="732" y="876"/>
                  </a:lnTo>
                  <a:lnTo>
                    <a:pt x="726" y="876"/>
                  </a:lnTo>
                  <a:lnTo>
                    <a:pt x="720" y="870"/>
                  </a:lnTo>
                  <a:lnTo>
                    <a:pt x="714" y="864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6" y="876"/>
                  </a:lnTo>
                  <a:lnTo>
                    <a:pt x="696" y="882"/>
                  </a:lnTo>
                  <a:lnTo>
                    <a:pt x="696" y="894"/>
                  </a:lnTo>
                  <a:lnTo>
                    <a:pt x="690" y="900"/>
                  </a:lnTo>
                  <a:lnTo>
                    <a:pt x="684" y="900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54" y="888"/>
                  </a:lnTo>
                  <a:lnTo>
                    <a:pt x="654" y="882"/>
                  </a:lnTo>
                  <a:lnTo>
                    <a:pt x="642" y="876"/>
                  </a:lnTo>
                  <a:lnTo>
                    <a:pt x="636" y="876"/>
                  </a:lnTo>
                  <a:lnTo>
                    <a:pt x="630" y="876"/>
                  </a:lnTo>
                  <a:lnTo>
                    <a:pt x="630" y="870"/>
                  </a:lnTo>
                  <a:lnTo>
                    <a:pt x="618" y="858"/>
                  </a:lnTo>
                  <a:lnTo>
                    <a:pt x="612" y="858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06" y="876"/>
                  </a:lnTo>
                  <a:lnTo>
                    <a:pt x="606" y="882"/>
                  </a:lnTo>
                  <a:lnTo>
                    <a:pt x="606" y="888"/>
                  </a:lnTo>
                  <a:lnTo>
                    <a:pt x="600" y="894"/>
                  </a:lnTo>
                  <a:lnTo>
                    <a:pt x="594" y="894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76" y="894"/>
                  </a:lnTo>
                  <a:lnTo>
                    <a:pt x="582" y="900"/>
                  </a:lnTo>
                  <a:lnTo>
                    <a:pt x="576" y="906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64" y="918"/>
                  </a:lnTo>
                  <a:lnTo>
                    <a:pt x="558" y="918"/>
                  </a:lnTo>
                  <a:lnTo>
                    <a:pt x="558" y="912"/>
                  </a:lnTo>
                  <a:lnTo>
                    <a:pt x="552" y="906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06"/>
                  </a:lnTo>
                  <a:lnTo>
                    <a:pt x="534" y="906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0" y="924"/>
                  </a:lnTo>
                  <a:lnTo>
                    <a:pt x="504" y="924"/>
                  </a:lnTo>
                  <a:lnTo>
                    <a:pt x="498" y="930"/>
                  </a:lnTo>
                  <a:lnTo>
                    <a:pt x="492" y="924"/>
                  </a:lnTo>
                  <a:lnTo>
                    <a:pt x="486" y="930"/>
                  </a:lnTo>
                  <a:lnTo>
                    <a:pt x="480" y="942"/>
                  </a:lnTo>
                  <a:lnTo>
                    <a:pt x="468" y="948"/>
                  </a:lnTo>
                  <a:lnTo>
                    <a:pt x="444" y="942"/>
                  </a:lnTo>
                  <a:lnTo>
                    <a:pt x="438" y="954"/>
                  </a:lnTo>
                  <a:lnTo>
                    <a:pt x="426" y="954"/>
                  </a:lnTo>
                  <a:lnTo>
                    <a:pt x="420" y="948"/>
                  </a:lnTo>
                  <a:lnTo>
                    <a:pt x="408" y="936"/>
                  </a:lnTo>
                  <a:lnTo>
                    <a:pt x="396" y="936"/>
                  </a:lnTo>
                  <a:lnTo>
                    <a:pt x="390" y="930"/>
                  </a:lnTo>
                  <a:lnTo>
                    <a:pt x="390" y="924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66" y="924"/>
                  </a:lnTo>
                  <a:lnTo>
                    <a:pt x="360" y="924"/>
                  </a:lnTo>
                  <a:lnTo>
                    <a:pt x="348" y="918"/>
                  </a:lnTo>
                  <a:lnTo>
                    <a:pt x="342" y="906"/>
                  </a:lnTo>
                  <a:lnTo>
                    <a:pt x="336" y="906"/>
                  </a:lnTo>
                  <a:lnTo>
                    <a:pt x="330" y="906"/>
                  </a:lnTo>
                  <a:lnTo>
                    <a:pt x="312" y="906"/>
                  </a:lnTo>
                  <a:lnTo>
                    <a:pt x="312" y="900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888"/>
                  </a:lnTo>
                  <a:lnTo>
                    <a:pt x="312" y="882"/>
                  </a:lnTo>
                  <a:lnTo>
                    <a:pt x="306" y="876"/>
                  </a:lnTo>
                  <a:lnTo>
                    <a:pt x="312" y="876"/>
                  </a:lnTo>
                  <a:lnTo>
                    <a:pt x="312" y="870"/>
                  </a:lnTo>
                  <a:lnTo>
                    <a:pt x="318" y="876"/>
                  </a:lnTo>
                  <a:lnTo>
                    <a:pt x="318" y="870"/>
                  </a:lnTo>
                  <a:lnTo>
                    <a:pt x="324" y="876"/>
                  </a:lnTo>
                  <a:lnTo>
                    <a:pt x="330" y="876"/>
                  </a:lnTo>
                  <a:lnTo>
                    <a:pt x="336" y="876"/>
                  </a:lnTo>
                  <a:lnTo>
                    <a:pt x="342" y="876"/>
                  </a:lnTo>
                  <a:lnTo>
                    <a:pt x="336" y="876"/>
                  </a:lnTo>
                  <a:lnTo>
                    <a:pt x="330" y="870"/>
                  </a:lnTo>
                  <a:lnTo>
                    <a:pt x="324" y="870"/>
                  </a:lnTo>
                  <a:lnTo>
                    <a:pt x="318" y="870"/>
                  </a:lnTo>
                  <a:lnTo>
                    <a:pt x="312" y="870"/>
                  </a:lnTo>
                  <a:lnTo>
                    <a:pt x="318" y="864"/>
                  </a:lnTo>
                  <a:lnTo>
                    <a:pt x="318" y="858"/>
                  </a:lnTo>
                  <a:lnTo>
                    <a:pt x="318" y="852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6" y="846"/>
                  </a:lnTo>
                  <a:lnTo>
                    <a:pt x="312" y="828"/>
                  </a:lnTo>
                  <a:lnTo>
                    <a:pt x="312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06" y="816"/>
                  </a:lnTo>
                  <a:lnTo>
                    <a:pt x="306" y="810"/>
                  </a:lnTo>
                  <a:lnTo>
                    <a:pt x="306" y="816"/>
                  </a:lnTo>
                  <a:lnTo>
                    <a:pt x="312" y="822"/>
                  </a:lnTo>
                  <a:lnTo>
                    <a:pt x="306" y="822"/>
                  </a:lnTo>
                  <a:lnTo>
                    <a:pt x="306" y="828"/>
                  </a:lnTo>
                  <a:lnTo>
                    <a:pt x="306" y="834"/>
                  </a:lnTo>
                  <a:lnTo>
                    <a:pt x="300" y="840"/>
                  </a:lnTo>
                  <a:lnTo>
                    <a:pt x="300" y="846"/>
                  </a:lnTo>
                  <a:lnTo>
                    <a:pt x="306" y="852"/>
                  </a:lnTo>
                  <a:lnTo>
                    <a:pt x="306" y="858"/>
                  </a:lnTo>
                  <a:lnTo>
                    <a:pt x="312" y="858"/>
                  </a:lnTo>
                  <a:lnTo>
                    <a:pt x="312" y="864"/>
                  </a:lnTo>
                  <a:lnTo>
                    <a:pt x="306" y="864"/>
                  </a:lnTo>
                  <a:lnTo>
                    <a:pt x="300" y="864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82" y="870"/>
                  </a:lnTo>
                  <a:lnTo>
                    <a:pt x="276" y="870"/>
                  </a:lnTo>
                  <a:lnTo>
                    <a:pt x="270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8" y="870"/>
                  </a:lnTo>
                  <a:lnTo>
                    <a:pt x="252" y="870"/>
                  </a:lnTo>
                  <a:lnTo>
                    <a:pt x="252" y="864"/>
                  </a:lnTo>
                  <a:lnTo>
                    <a:pt x="246" y="858"/>
                  </a:lnTo>
                  <a:lnTo>
                    <a:pt x="246" y="852"/>
                  </a:lnTo>
                  <a:lnTo>
                    <a:pt x="246" y="846"/>
                  </a:lnTo>
                  <a:lnTo>
                    <a:pt x="246" y="840"/>
                  </a:lnTo>
                  <a:lnTo>
                    <a:pt x="246" y="834"/>
                  </a:lnTo>
                  <a:lnTo>
                    <a:pt x="246" y="828"/>
                  </a:lnTo>
                  <a:lnTo>
                    <a:pt x="246" y="822"/>
                  </a:lnTo>
                  <a:lnTo>
                    <a:pt x="240" y="816"/>
                  </a:lnTo>
                  <a:lnTo>
                    <a:pt x="240" y="810"/>
                  </a:lnTo>
                  <a:lnTo>
                    <a:pt x="240" y="804"/>
                  </a:lnTo>
                  <a:lnTo>
                    <a:pt x="240" y="798"/>
                  </a:lnTo>
                  <a:lnTo>
                    <a:pt x="234" y="798"/>
                  </a:lnTo>
                  <a:lnTo>
                    <a:pt x="234" y="792"/>
                  </a:lnTo>
                  <a:lnTo>
                    <a:pt x="234" y="786"/>
                  </a:lnTo>
                  <a:lnTo>
                    <a:pt x="234" y="780"/>
                  </a:lnTo>
                  <a:lnTo>
                    <a:pt x="228" y="780"/>
                  </a:lnTo>
                  <a:lnTo>
                    <a:pt x="228" y="774"/>
                  </a:lnTo>
                  <a:lnTo>
                    <a:pt x="228" y="768"/>
                  </a:lnTo>
                  <a:lnTo>
                    <a:pt x="222" y="762"/>
                  </a:lnTo>
                  <a:lnTo>
                    <a:pt x="222" y="756"/>
                  </a:lnTo>
                  <a:lnTo>
                    <a:pt x="222" y="750"/>
                  </a:lnTo>
                  <a:lnTo>
                    <a:pt x="222" y="744"/>
                  </a:lnTo>
                  <a:lnTo>
                    <a:pt x="222" y="738"/>
                  </a:lnTo>
                  <a:lnTo>
                    <a:pt x="216" y="732"/>
                  </a:lnTo>
                  <a:lnTo>
                    <a:pt x="222" y="732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32"/>
                  </a:lnTo>
                  <a:lnTo>
                    <a:pt x="246" y="732"/>
                  </a:lnTo>
                  <a:lnTo>
                    <a:pt x="246" y="738"/>
                  </a:lnTo>
                  <a:lnTo>
                    <a:pt x="252" y="738"/>
                  </a:lnTo>
                  <a:lnTo>
                    <a:pt x="258" y="738"/>
                  </a:lnTo>
                  <a:lnTo>
                    <a:pt x="258" y="732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8" y="732"/>
                  </a:lnTo>
                  <a:lnTo>
                    <a:pt x="294" y="732"/>
                  </a:lnTo>
                  <a:lnTo>
                    <a:pt x="300" y="732"/>
                  </a:lnTo>
                  <a:lnTo>
                    <a:pt x="300" y="738"/>
                  </a:lnTo>
                  <a:lnTo>
                    <a:pt x="306" y="738"/>
                  </a:lnTo>
                  <a:lnTo>
                    <a:pt x="306" y="744"/>
                  </a:lnTo>
                  <a:lnTo>
                    <a:pt x="306" y="750"/>
                  </a:lnTo>
                  <a:lnTo>
                    <a:pt x="312" y="750"/>
                  </a:lnTo>
                  <a:lnTo>
                    <a:pt x="312" y="756"/>
                  </a:lnTo>
                  <a:lnTo>
                    <a:pt x="318" y="756"/>
                  </a:lnTo>
                  <a:lnTo>
                    <a:pt x="318" y="750"/>
                  </a:lnTo>
                  <a:lnTo>
                    <a:pt x="312" y="750"/>
                  </a:lnTo>
                  <a:lnTo>
                    <a:pt x="312" y="744"/>
                  </a:lnTo>
                  <a:lnTo>
                    <a:pt x="318" y="738"/>
                  </a:lnTo>
                  <a:lnTo>
                    <a:pt x="324" y="738"/>
                  </a:lnTo>
                  <a:lnTo>
                    <a:pt x="330" y="738"/>
                  </a:lnTo>
                  <a:lnTo>
                    <a:pt x="336" y="738"/>
                  </a:lnTo>
                  <a:lnTo>
                    <a:pt x="342" y="738"/>
                  </a:lnTo>
                  <a:lnTo>
                    <a:pt x="348" y="732"/>
                  </a:lnTo>
                  <a:lnTo>
                    <a:pt x="354" y="732"/>
                  </a:lnTo>
                  <a:lnTo>
                    <a:pt x="360" y="732"/>
                  </a:lnTo>
                  <a:lnTo>
                    <a:pt x="360" y="726"/>
                  </a:lnTo>
                  <a:lnTo>
                    <a:pt x="366" y="726"/>
                  </a:lnTo>
                  <a:lnTo>
                    <a:pt x="366" y="720"/>
                  </a:lnTo>
                  <a:lnTo>
                    <a:pt x="366" y="714"/>
                  </a:lnTo>
                  <a:lnTo>
                    <a:pt x="360" y="708"/>
                  </a:lnTo>
                  <a:lnTo>
                    <a:pt x="354" y="708"/>
                  </a:lnTo>
                  <a:lnTo>
                    <a:pt x="348" y="702"/>
                  </a:lnTo>
                  <a:lnTo>
                    <a:pt x="354" y="702"/>
                  </a:lnTo>
                  <a:lnTo>
                    <a:pt x="354" y="696"/>
                  </a:lnTo>
                  <a:lnTo>
                    <a:pt x="348" y="696"/>
                  </a:lnTo>
                  <a:lnTo>
                    <a:pt x="348" y="690"/>
                  </a:lnTo>
                  <a:lnTo>
                    <a:pt x="342" y="690"/>
                  </a:lnTo>
                  <a:lnTo>
                    <a:pt x="342" y="684"/>
                  </a:lnTo>
                  <a:lnTo>
                    <a:pt x="342" y="678"/>
                  </a:lnTo>
                  <a:lnTo>
                    <a:pt x="342" y="666"/>
                  </a:lnTo>
                  <a:lnTo>
                    <a:pt x="342" y="660"/>
                  </a:lnTo>
                  <a:lnTo>
                    <a:pt x="348" y="654"/>
                  </a:lnTo>
                  <a:lnTo>
                    <a:pt x="348" y="642"/>
                  </a:lnTo>
                  <a:lnTo>
                    <a:pt x="354" y="642"/>
                  </a:lnTo>
                  <a:lnTo>
                    <a:pt x="360" y="642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66" y="642"/>
                  </a:lnTo>
                  <a:lnTo>
                    <a:pt x="372" y="642"/>
                  </a:lnTo>
                  <a:lnTo>
                    <a:pt x="378" y="642"/>
                  </a:lnTo>
                  <a:lnTo>
                    <a:pt x="384" y="642"/>
                  </a:lnTo>
                  <a:lnTo>
                    <a:pt x="390" y="642"/>
                  </a:lnTo>
                  <a:lnTo>
                    <a:pt x="396" y="642"/>
                  </a:lnTo>
                  <a:lnTo>
                    <a:pt x="396" y="636"/>
                  </a:lnTo>
                  <a:lnTo>
                    <a:pt x="402" y="636"/>
                  </a:lnTo>
                  <a:lnTo>
                    <a:pt x="408" y="636"/>
                  </a:lnTo>
                  <a:lnTo>
                    <a:pt x="402" y="636"/>
                  </a:lnTo>
                  <a:lnTo>
                    <a:pt x="402" y="630"/>
                  </a:lnTo>
                  <a:lnTo>
                    <a:pt x="408" y="630"/>
                  </a:lnTo>
                  <a:lnTo>
                    <a:pt x="408" y="624"/>
                  </a:lnTo>
                  <a:lnTo>
                    <a:pt x="408" y="618"/>
                  </a:lnTo>
                  <a:lnTo>
                    <a:pt x="414" y="618"/>
                  </a:lnTo>
                  <a:lnTo>
                    <a:pt x="420" y="618"/>
                  </a:lnTo>
                  <a:lnTo>
                    <a:pt x="426" y="624"/>
                  </a:lnTo>
                  <a:lnTo>
                    <a:pt x="432" y="624"/>
                  </a:lnTo>
                  <a:lnTo>
                    <a:pt x="438" y="624"/>
                  </a:lnTo>
                  <a:lnTo>
                    <a:pt x="438" y="618"/>
                  </a:lnTo>
                  <a:lnTo>
                    <a:pt x="444" y="618"/>
                  </a:lnTo>
                  <a:lnTo>
                    <a:pt x="450" y="618"/>
                  </a:lnTo>
                  <a:lnTo>
                    <a:pt x="444" y="618"/>
                  </a:lnTo>
                  <a:lnTo>
                    <a:pt x="438" y="618"/>
                  </a:lnTo>
                  <a:lnTo>
                    <a:pt x="438" y="612"/>
                  </a:lnTo>
                  <a:lnTo>
                    <a:pt x="438" y="618"/>
                  </a:lnTo>
                  <a:lnTo>
                    <a:pt x="432" y="624"/>
                  </a:lnTo>
                  <a:lnTo>
                    <a:pt x="426" y="618"/>
                  </a:lnTo>
                  <a:lnTo>
                    <a:pt x="420" y="612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402" y="624"/>
                  </a:lnTo>
                  <a:lnTo>
                    <a:pt x="396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78" y="630"/>
                  </a:lnTo>
                  <a:lnTo>
                    <a:pt x="378" y="636"/>
                  </a:lnTo>
                  <a:lnTo>
                    <a:pt x="372" y="630"/>
                  </a:lnTo>
                  <a:lnTo>
                    <a:pt x="366" y="630"/>
                  </a:lnTo>
                  <a:lnTo>
                    <a:pt x="360" y="630"/>
                  </a:lnTo>
                  <a:lnTo>
                    <a:pt x="354" y="630"/>
                  </a:lnTo>
                  <a:lnTo>
                    <a:pt x="354" y="636"/>
                  </a:lnTo>
                  <a:lnTo>
                    <a:pt x="348" y="636"/>
                  </a:lnTo>
                  <a:lnTo>
                    <a:pt x="348" y="642"/>
                  </a:lnTo>
                  <a:lnTo>
                    <a:pt x="342" y="642"/>
                  </a:lnTo>
                  <a:lnTo>
                    <a:pt x="342" y="648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6" y="660"/>
                  </a:lnTo>
                  <a:lnTo>
                    <a:pt x="336" y="666"/>
                  </a:lnTo>
                  <a:lnTo>
                    <a:pt x="330" y="672"/>
                  </a:lnTo>
                  <a:lnTo>
                    <a:pt x="330" y="678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24" y="696"/>
                  </a:lnTo>
                  <a:lnTo>
                    <a:pt x="324" y="702"/>
                  </a:lnTo>
                  <a:lnTo>
                    <a:pt x="318" y="702"/>
                  </a:lnTo>
                  <a:lnTo>
                    <a:pt x="318" y="708"/>
                  </a:lnTo>
                  <a:lnTo>
                    <a:pt x="312" y="708"/>
                  </a:lnTo>
                  <a:lnTo>
                    <a:pt x="312" y="702"/>
                  </a:lnTo>
                  <a:lnTo>
                    <a:pt x="306" y="702"/>
                  </a:lnTo>
                  <a:lnTo>
                    <a:pt x="300" y="702"/>
                  </a:lnTo>
                  <a:lnTo>
                    <a:pt x="294" y="696"/>
                  </a:lnTo>
                  <a:lnTo>
                    <a:pt x="288" y="696"/>
                  </a:lnTo>
                  <a:lnTo>
                    <a:pt x="282" y="690"/>
                  </a:lnTo>
                  <a:lnTo>
                    <a:pt x="288" y="684"/>
                  </a:lnTo>
                  <a:lnTo>
                    <a:pt x="294" y="684"/>
                  </a:lnTo>
                  <a:lnTo>
                    <a:pt x="294" y="678"/>
                  </a:lnTo>
                  <a:lnTo>
                    <a:pt x="300" y="678"/>
                  </a:lnTo>
                  <a:lnTo>
                    <a:pt x="294" y="678"/>
                  </a:lnTo>
                  <a:lnTo>
                    <a:pt x="294" y="672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94" y="672"/>
                  </a:lnTo>
                  <a:lnTo>
                    <a:pt x="288" y="678"/>
                  </a:lnTo>
                  <a:lnTo>
                    <a:pt x="282" y="684"/>
                  </a:lnTo>
                  <a:lnTo>
                    <a:pt x="282" y="678"/>
                  </a:lnTo>
                  <a:lnTo>
                    <a:pt x="276" y="678"/>
                  </a:lnTo>
                  <a:lnTo>
                    <a:pt x="282" y="684"/>
                  </a:lnTo>
                  <a:lnTo>
                    <a:pt x="282" y="690"/>
                  </a:lnTo>
                  <a:lnTo>
                    <a:pt x="282" y="696"/>
                  </a:lnTo>
                  <a:lnTo>
                    <a:pt x="288" y="702"/>
                  </a:lnTo>
                  <a:lnTo>
                    <a:pt x="294" y="708"/>
                  </a:lnTo>
                  <a:lnTo>
                    <a:pt x="294" y="714"/>
                  </a:lnTo>
                  <a:lnTo>
                    <a:pt x="288" y="714"/>
                  </a:lnTo>
                  <a:lnTo>
                    <a:pt x="282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64" y="714"/>
                  </a:lnTo>
                  <a:lnTo>
                    <a:pt x="258" y="714"/>
                  </a:lnTo>
                  <a:lnTo>
                    <a:pt x="252" y="714"/>
                  </a:lnTo>
                  <a:lnTo>
                    <a:pt x="246" y="714"/>
                  </a:lnTo>
                  <a:lnTo>
                    <a:pt x="240" y="714"/>
                  </a:lnTo>
                  <a:lnTo>
                    <a:pt x="240" y="708"/>
                  </a:lnTo>
                  <a:lnTo>
                    <a:pt x="234" y="708"/>
                  </a:lnTo>
                  <a:lnTo>
                    <a:pt x="228" y="708"/>
                  </a:lnTo>
                  <a:lnTo>
                    <a:pt x="222" y="702"/>
                  </a:lnTo>
                  <a:lnTo>
                    <a:pt x="216" y="702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2" y="690"/>
                  </a:lnTo>
                  <a:lnTo>
                    <a:pt x="186" y="690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68" y="684"/>
                  </a:lnTo>
                  <a:lnTo>
                    <a:pt x="168" y="678"/>
                  </a:lnTo>
                  <a:lnTo>
                    <a:pt x="156" y="672"/>
                  </a:lnTo>
                  <a:lnTo>
                    <a:pt x="150" y="660"/>
                  </a:lnTo>
                  <a:lnTo>
                    <a:pt x="126" y="630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12"/>
                  </a:lnTo>
                  <a:lnTo>
                    <a:pt x="126" y="606"/>
                  </a:lnTo>
                  <a:lnTo>
                    <a:pt x="126" y="600"/>
                  </a:lnTo>
                  <a:lnTo>
                    <a:pt x="132" y="594"/>
                  </a:lnTo>
                  <a:lnTo>
                    <a:pt x="138" y="594"/>
                  </a:lnTo>
                  <a:lnTo>
                    <a:pt x="144" y="588"/>
                  </a:lnTo>
                  <a:lnTo>
                    <a:pt x="144" y="582"/>
                  </a:lnTo>
                  <a:lnTo>
                    <a:pt x="150" y="582"/>
                  </a:lnTo>
                  <a:lnTo>
                    <a:pt x="150" y="576"/>
                  </a:lnTo>
                  <a:lnTo>
                    <a:pt x="156" y="576"/>
                  </a:lnTo>
                  <a:lnTo>
                    <a:pt x="156" y="582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8" y="576"/>
                  </a:lnTo>
                  <a:lnTo>
                    <a:pt x="174" y="576"/>
                  </a:lnTo>
                  <a:lnTo>
                    <a:pt x="180" y="582"/>
                  </a:lnTo>
                  <a:lnTo>
                    <a:pt x="192" y="582"/>
                  </a:lnTo>
                  <a:lnTo>
                    <a:pt x="198" y="582"/>
                  </a:lnTo>
                  <a:lnTo>
                    <a:pt x="204" y="582"/>
                  </a:lnTo>
                  <a:lnTo>
                    <a:pt x="210" y="582"/>
                  </a:lnTo>
                  <a:lnTo>
                    <a:pt x="216" y="588"/>
                  </a:lnTo>
                  <a:lnTo>
                    <a:pt x="222" y="588"/>
                  </a:lnTo>
                  <a:lnTo>
                    <a:pt x="234" y="588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46" y="594"/>
                  </a:lnTo>
                  <a:lnTo>
                    <a:pt x="252" y="588"/>
                  </a:lnTo>
                  <a:lnTo>
                    <a:pt x="258" y="588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52" y="600"/>
                  </a:lnTo>
                  <a:lnTo>
                    <a:pt x="246" y="600"/>
                  </a:lnTo>
                  <a:lnTo>
                    <a:pt x="246" y="606"/>
                  </a:lnTo>
                  <a:lnTo>
                    <a:pt x="246" y="600"/>
                  </a:lnTo>
                  <a:lnTo>
                    <a:pt x="252" y="600"/>
                  </a:lnTo>
                  <a:lnTo>
                    <a:pt x="258" y="594"/>
                  </a:lnTo>
                  <a:lnTo>
                    <a:pt x="264" y="594"/>
                  </a:lnTo>
                  <a:lnTo>
                    <a:pt x="264" y="588"/>
                  </a:lnTo>
                  <a:lnTo>
                    <a:pt x="270" y="588"/>
                  </a:lnTo>
                  <a:lnTo>
                    <a:pt x="270" y="582"/>
                  </a:lnTo>
                  <a:lnTo>
                    <a:pt x="270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76" y="564"/>
                  </a:lnTo>
                  <a:lnTo>
                    <a:pt x="270" y="558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58"/>
                  </a:lnTo>
                  <a:lnTo>
                    <a:pt x="282" y="558"/>
                  </a:lnTo>
                  <a:lnTo>
                    <a:pt x="288" y="558"/>
                  </a:lnTo>
                  <a:lnTo>
                    <a:pt x="294" y="558"/>
                  </a:lnTo>
                  <a:lnTo>
                    <a:pt x="300" y="558"/>
                  </a:lnTo>
                  <a:lnTo>
                    <a:pt x="306" y="558"/>
                  </a:lnTo>
                  <a:lnTo>
                    <a:pt x="312" y="558"/>
                  </a:lnTo>
                  <a:lnTo>
                    <a:pt x="318" y="558"/>
                  </a:lnTo>
                  <a:lnTo>
                    <a:pt x="318" y="564"/>
                  </a:lnTo>
                  <a:lnTo>
                    <a:pt x="324" y="564"/>
                  </a:lnTo>
                  <a:lnTo>
                    <a:pt x="324" y="570"/>
                  </a:lnTo>
                  <a:lnTo>
                    <a:pt x="330" y="570"/>
                  </a:lnTo>
                  <a:lnTo>
                    <a:pt x="336" y="570"/>
                  </a:lnTo>
                  <a:lnTo>
                    <a:pt x="342" y="570"/>
                  </a:lnTo>
                  <a:lnTo>
                    <a:pt x="348" y="570"/>
                  </a:lnTo>
                  <a:lnTo>
                    <a:pt x="354" y="570"/>
                  </a:lnTo>
                  <a:lnTo>
                    <a:pt x="360" y="570"/>
                  </a:lnTo>
                  <a:lnTo>
                    <a:pt x="366" y="570"/>
                  </a:lnTo>
                  <a:lnTo>
                    <a:pt x="360" y="570"/>
                  </a:lnTo>
                  <a:lnTo>
                    <a:pt x="360" y="564"/>
                  </a:lnTo>
                  <a:lnTo>
                    <a:pt x="354" y="564"/>
                  </a:lnTo>
                  <a:lnTo>
                    <a:pt x="348" y="564"/>
                  </a:lnTo>
                  <a:lnTo>
                    <a:pt x="342" y="564"/>
                  </a:lnTo>
                  <a:lnTo>
                    <a:pt x="342" y="570"/>
                  </a:lnTo>
                  <a:lnTo>
                    <a:pt x="336" y="564"/>
                  </a:lnTo>
                  <a:lnTo>
                    <a:pt x="336" y="570"/>
                  </a:lnTo>
                  <a:lnTo>
                    <a:pt x="336" y="564"/>
                  </a:lnTo>
                  <a:lnTo>
                    <a:pt x="330" y="564"/>
                  </a:lnTo>
                  <a:lnTo>
                    <a:pt x="324" y="558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18" y="558"/>
                  </a:lnTo>
                  <a:lnTo>
                    <a:pt x="312" y="552"/>
                  </a:lnTo>
                  <a:lnTo>
                    <a:pt x="312" y="558"/>
                  </a:lnTo>
                  <a:lnTo>
                    <a:pt x="312" y="552"/>
                  </a:lnTo>
                  <a:lnTo>
                    <a:pt x="306" y="552"/>
                  </a:lnTo>
                  <a:lnTo>
                    <a:pt x="300" y="546"/>
                  </a:lnTo>
                  <a:lnTo>
                    <a:pt x="294" y="546"/>
                  </a:lnTo>
                  <a:lnTo>
                    <a:pt x="288" y="546"/>
                  </a:lnTo>
                  <a:lnTo>
                    <a:pt x="282" y="546"/>
                  </a:lnTo>
                  <a:lnTo>
                    <a:pt x="276" y="546"/>
                  </a:lnTo>
                  <a:lnTo>
                    <a:pt x="276" y="552"/>
                  </a:lnTo>
                  <a:lnTo>
                    <a:pt x="270" y="552"/>
                  </a:lnTo>
                  <a:lnTo>
                    <a:pt x="270" y="558"/>
                  </a:lnTo>
                  <a:lnTo>
                    <a:pt x="270" y="564"/>
                  </a:lnTo>
                  <a:lnTo>
                    <a:pt x="264" y="570"/>
                  </a:lnTo>
                  <a:lnTo>
                    <a:pt x="258" y="576"/>
                  </a:lnTo>
                  <a:lnTo>
                    <a:pt x="258" y="582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34" y="576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16" y="552"/>
                  </a:lnTo>
                  <a:lnTo>
                    <a:pt x="216" y="546"/>
                  </a:lnTo>
                  <a:lnTo>
                    <a:pt x="216" y="540"/>
                  </a:lnTo>
                  <a:lnTo>
                    <a:pt x="222" y="534"/>
                  </a:lnTo>
                  <a:lnTo>
                    <a:pt x="222" y="528"/>
                  </a:lnTo>
                  <a:lnTo>
                    <a:pt x="228" y="522"/>
                  </a:lnTo>
                  <a:lnTo>
                    <a:pt x="228" y="516"/>
                  </a:lnTo>
                  <a:lnTo>
                    <a:pt x="228" y="510"/>
                  </a:lnTo>
                  <a:lnTo>
                    <a:pt x="234" y="510"/>
                  </a:lnTo>
                  <a:lnTo>
                    <a:pt x="240" y="516"/>
                  </a:lnTo>
                  <a:lnTo>
                    <a:pt x="246" y="522"/>
                  </a:lnTo>
                  <a:lnTo>
                    <a:pt x="246" y="516"/>
                  </a:lnTo>
                  <a:lnTo>
                    <a:pt x="240" y="516"/>
                  </a:lnTo>
                  <a:lnTo>
                    <a:pt x="240" y="510"/>
                  </a:lnTo>
                  <a:lnTo>
                    <a:pt x="234" y="510"/>
                  </a:lnTo>
                  <a:lnTo>
                    <a:pt x="234" y="504"/>
                  </a:lnTo>
                  <a:lnTo>
                    <a:pt x="228" y="504"/>
                  </a:lnTo>
                  <a:lnTo>
                    <a:pt x="222" y="504"/>
                  </a:lnTo>
                  <a:lnTo>
                    <a:pt x="222" y="498"/>
                  </a:lnTo>
                  <a:lnTo>
                    <a:pt x="222" y="504"/>
                  </a:lnTo>
                  <a:lnTo>
                    <a:pt x="222" y="510"/>
                  </a:lnTo>
                  <a:lnTo>
                    <a:pt x="222" y="516"/>
                  </a:lnTo>
                  <a:lnTo>
                    <a:pt x="216" y="522"/>
                  </a:lnTo>
                  <a:lnTo>
                    <a:pt x="216" y="528"/>
                  </a:lnTo>
                  <a:lnTo>
                    <a:pt x="210" y="528"/>
                  </a:lnTo>
                  <a:lnTo>
                    <a:pt x="216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04" y="546"/>
                  </a:lnTo>
                  <a:lnTo>
                    <a:pt x="204" y="552"/>
                  </a:lnTo>
                  <a:lnTo>
                    <a:pt x="204" y="558"/>
                  </a:lnTo>
                  <a:lnTo>
                    <a:pt x="204" y="564"/>
                  </a:lnTo>
                  <a:lnTo>
                    <a:pt x="198" y="570"/>
                  </a:lnTo>
                  <a:lnTo>
                    <a:pt x="192" y="564"/>
                  </a:lnTo>
                  <a:lnTo>
                    <a:pt x="186" y="564"/>
                  </a:lnTo>
                  <a:lnTo>
                    <a:pt x="180" y="564"/>
                  </a:lnTo>
                  <a:lnTo>
                    <a:pt x="174" y="564"/>
                  </a:lnTo>
                  <a:lnTo>
                    <a:pt x="168" y="564"/>
                  </a:lnTo>
                  <a:lnTo>
                    <a:pt x="162" y="564"/>
                  </a:lnTo>
                  <a:lnTo>
                    <a:pt x="156" y="570"/>
                  </a:lnTo>
                  <a:lnTo>
                    <a:pt x="150" y="570"/>
                  </a:lnTo>
                  <a:lnTo>
                    <a:pt x="150" y="564"/>
                  </a:lnTo>
                  <a:lnTo>
                    <a:pt x="150" y="570"/>
                  </a:lnTo>
                  <a:lnTo>
                    <a:pt x="150" y="576"/>
                  </a:lnTo>
                  <a:lnTo>
                    <a:pt x="144" y="576"/>
                  </a:lnTo>
                  <a:lnTo>
                    <a:pt x="138" y="576"/>
                  </a:lnTo>
                  <a:lnTo>
                    <a:pt x="132" y="582"/>
                  </a:lnTo>
                  <a:lnTo>
                    <a:pt x="126" y="582"/>
                  </a:lnTo>
                  <a:lnTo>
                    <a:pt x="120" y="582"/>
                  </a:lnTo>
                  <a:lnTo>
                    <a:pt x="114" y="576"/>
                  </a:lnTo>
                  <a:lnTo>
                    <a:pt x="108" y="564"/>
                  </a:lnTo>
                  <a:lnTo>
                    <a:pt x="102" y="558"/>
                  </a:lnTo>
                  <a:lnTo>
                    <a:pt x="96" y="552"/>
                  </a:lnTo>
                  <a:lnTo>
                    <a:pt x="90" y="546"/>
                  </a:lnTo>
                  <a:lnTo>
                    <a:pt x="90" y="540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2"/>
                  </a:lnTo>
                  <a:lnTo>
                    <a:pt x="78" y="516"/>
                  </a:lnTo>
                  <a:lnTo>
                    <a:pt x="72" y="510"/>
                  </a:lnTo>
                  <a:lnTo>
                    <a:pt x="66" y="504"/>
                  </a:lnTo>
                  <a:lnTo>
                    <a:pt x="66" y="498"/>
                  </a:lnTo>
                  <a:lnTo>
                    <a:pt x="66" y="492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6" y="474"/>
                  </a:lnTo>
                  <a:lnTo>
                    <a:pt x="72" y="474"/>
                  </a:lnTo>
                  <a:lnTo>
                    <a:pt x="72" y="468"/>
                  </a:lnTo>
                  <a:lnTo>
                    <a:pt x="78" y="462"/>
                  </a:lnTo>
                  <a:lnTo>
                    <a:pt x="78" y="456"/>
                  </a:lnTo>
                  <a:lnTo>
                    <a:pt x="84" y="456"/>
                  </a:lnTo>
                  <a:lnTo>
                    <a:pt x="84" y="450"/>
                  </a:lnTo>
                  <a:lnTo>
                    <a:pt x="84" y="444"/>
                  </a:lnTo>
                  <a:lnTo>
                    <a:pt x="90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02" y="450"/>
                  </a:lnTo>
                  <a:lnTo>
                    <a:pt x="108" y="450"/>
                  </a:lnTo>
                  <a:lnTo>
                    <a:pt x="108" y="456"/>
                  </a:lnTo>
                  <a:lnTo>
                    <a:pt x="108" y="462"/>
                  </a:lnTo>
                  <a:lnTo>
                    <a:pt x="114" y="462"/>
                  </a:lnTo>
                  <a:lnTo>
                    <a:pt x="114" y="468"/>
                  </a:lnTo>
                  <a:lnTo>
                    <a:pt x="114" y="474"/>
                  </a:lnTo>
                  <a:lnTo>
                    <a:pt x="114" y="480"/>
                  </a:lnTo>
                  <a:lnTo>
                    <a:pt x="114" y="486"/>
                  </a:lnTo>
                  <a:lnTo>
                    <a:pt x="120" y="486"/>
                  </a:lnTo>
                  <a:lnTo>
                    <a:pt x="126" y="486"/>
                  </a:lnTo>
                  <a:lnTo>
                    <a:pt x="132" y="486"/>
                  </a:lnTo>
                  <a:lnTo>
                    <a:pt x="126" y="480"/>
                  </a:lnTo>
                  <a:lnTo>
                    <a:pt x="120" y="480"/>
                  </a:lnTo>
                  <a:lnTo>
                    <a:pt x="114" y="480"/>
                  </a:lnTo>
                  <a:lnTo>
                    <a:pt x="120" y="480"/>
                  </a:lnTo>
                  <a:lnTo>
                    <a:pt x="120" y="474"/>
                  </a:lnTo>
                  <a:lnTo>
                    <a:pt x="120" y="468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108" y="450"/>
                  </a:lnTo>
                  <a:lnTo>
                    <a:pt x="108" y="444"/>
                  </a:lnTo>
                  <a:lnTo>
                    <a:pt x="114" y="438"/>
                  </a:lnTo>
                  <a:lnTo>
                    <a:pt x="120" y="438"/>
                  </a:lnTo>
                  <a:lnTo>
                    <a:pt x="120" y="432"/>
                  </a:lnTo>
                  <a:lnTo>
                    <a:pt x="132" y="426"/>
                  </a:lnTo>
                  <a:lnTo>
                    <a:pt x="138" y="420"/>
                  </a:lnTo>
                  <a:lnTo>
                    <a:pt x="144" y="420"/>
                  </a:lnTo>
                  <a:lnTo>
                    <a:pt x="144" y="414"/>
                  </a:lnTo>
                  <a:lnTo>
                    <a:pt x="144" y="420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6" y="414"/>
                  </a:lnTo>
                  <a:lnTo>
                    <a:pt x="162" y="414"/>
                  </a:lnTo>
                  <a:lnTo>
                    <a:pt x="162" y="408"/>
                  </a:lnTo>
                  <a:lnTo>
                    <a:pt x="168" y="408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86" y="396"/>
                  </a:lnTo>
                  <a:lnTo>
                    <a:pt x="186" y="390"/>
                  </a:lnTo>
                  <a:lnTo>
                    <a:pt x="192" y="390"/>
                  </a:lnTo>
                  <a:lnTo>
                    <a:pt x="198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210" y="378"/>
                  </a:lnTo>
                  <a:lnTo>
                    <a:pt x="210" y="372"/>
                  </a:lnTo>
                  <a:lnTo>
                    <a:pt x="216" y="372"/>
                  </a:lnTo>
                  <a:lnTo>
                    <a:pt x="222" y="366"/>
                  </a:lnTo>
                  <a:lnTo>
                    <a:pt x="228" y="360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6" y="348"/>
                  </a:lnTo>
                  <a:lnTo>
                    <a:pt x="252" y="348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0" y="342"/>
                  </a:lnTo>
                  <a:lnTo>
                    <a:pt x="234" y="342"/>
                  </a:lnTo>
                  <a:lnTo>
                    <a:pt x="228" y="336"/>
                  </a:lnTo>
                  <a:lnTo>
                    <a:pt x="222" y="336"/>
                  </a:lnTo>
                  <a:lnTo>
                    <a:pt x="216" y="336"/>
                  </a:lnTo>
                  <a:lnTo>
                    <a:pt x="222" y="324"/>
                  </a:lnTo>
                  <a:lnTo>
                    <a:pt x="222" y="318"/>
                  </a:lnTo>
                  <a:lnTo>
                    <a:pt x="222" y="312"/>
                  </a:lnTo>
                  <a:lnTo>
                    <a:pt x="234" y="318"/>
                  </a:lnTo>
                  <a:lnTo>
                    <a:pt x="246" y="318"/>
                  </a:lnTo>
                  <a:lnTo>
                    <a:pt x="258" y="318"/>
                  </a:lnTo>
                  <a:lnTo>
                    <a:pt x="270" y="312"/>
                  </a:lnTo>
                  <a:lnTo>
                    <a:pt x="276" y="312"/>
                  </a:lnTo>
                  <a:lnTo>
                    <a:pt x="288" y="324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94" y="306"/>
                  </a:lnTo>
                  <a:lnTo>
                    <a:pt x="300" y="300"/>
                  </a:lnTo>
                  <a:lnTo>
                    <a:pt x="306" y="306"/>
                  </a:lnTo>
                  <a:lnTo>
                    <a:pt x="312" y="318"/>
                  </a:lnTo>
                  <a:lnTo>
                    <a:pt x="318" y="312"/>
                  </a:lnTo>
                  <a:lnTo>
                    <a:pt x="324" y="312"/>
                  </a:lnTo>
                  <a:lnTo>
                    <a:pt x="330" y="312"/>
                  </a:lnTo>
                  <a:lnTo>
                    <a:pt x="342" y="306"/>
                  </a:lnTo>
                  <a:lnTo>
                    <a:pt x="348" y="306"/>
                  </a:lnTo>
                  <a:lnTo>
                    <a:pt x="348" y="312"/>
                  </a:lnTo>
                  <a:lnTo>
                    <a:pt x="348" y="318"/>
                  </a:lnTo>
                  <a:lnTo>
                    <a:pt x="354" y="318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60" y="336"/>
                  </a:lnTo>
                  <a:lnTo>
                    <a:pt x="366" y="330"/>
                  </a:lnTo>
                  <a:lnTo>
                    <a:pt x="378" y="324"/>
                  </a:lnTo>
                  <a:lnTo>
                    <a:pt x="384" y="324"/>
                  </a:lnTo>
                  <a:lnTo>
                    <a:pt x="384" y="318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6"/>
                  </a:lnTo>
                  <a:lnTo>
                    <a:pt x="402" y="306"/>
                  </a:lnTo>
                  <a:lnTo>
                    <a:pt x="408" y="306"/>
                  </a:lnTo>
                  <a:lnTo>
                    <a:pt x="414" y="300"/>
                  </a:lnTo>
                  <a:lnTo>
                    <a:pt x="420" y="300"/>
                  </a:lnTo>
                  <a:lnTo>
                    <a:pt x="426" y="300"/>
                  </a:lnTo>
                  <a:lnTo>
                    <a:pt x="432" y="300"/>
                  </a:lnTo>
                  <a:lnTo>
                    <a:pt x="444" y="288"/>
                  </a:lnTo>
                  <a:lnTo>
                    <a:pt x="450" y="294"/>
                  </a:lnTo>
                  <a:lnTo>
                    <a:pt x="468" y="300"/>
                  </a:lnTo>
                  <a:lnTo>
                    <a:pt x="498" y="312"/>
                  </a:lnTo>
                  <a:lnTo>
                    <a:pt x="504" y="324"/>
                  </a:lnTo>
                  <a:lnTo>
                    <a:pt x="516" y="330"/>
                  </a:lnTo>
                  <a:lnTo>
                    <a:pt x="516" y="336"/>
                  </a:lnTo>
                  <a:lnTo>
                    <a:pt x="540" y="342"/>
                  </a:lnTo>
                  <a:lnTo>
                    <a:pt x="558" y="372"/>
                  </a:lnTo>
                  <a:lnTo>
                    <a:pt x="594" y="384"/>
                  </a:lnTo>
                  <a:lnTo>
                    <a:pt x="606" y="402"/>
                  </a:lnTo>
                  <a:lnTo>
                    <a:pt x="600" y="420"/>
                  </a:lnTo>
                  <a:lnTo>
                    <a:pt x="588" y="444"/>
                  </a:lnTo>
                  <a:lnTo>
                    <a:pt x="588" y="450"/>
                  </a:lnTo>
                  <a:lnTo>
                    <a:pt x="588" y="456"/>
                  </a:lnTo>
                  <a:lnTo>
                    <a:pt x="594" y="456"/>
                  </a:lnTo>
                  <a:lnTo>
                    <a:pt x="594" y="462"/>
                  </a:lnTo>
                  <a:lnTo>
                    <a:pt x="594" y="468"/>
                  </a:lnTo>
                  <a:lnTo>
                    <a:pt x="594" y="474"/>
                  </a:lnTo>
                  <a:lnTo>
                    <a:pt x="600" y="474"/>
                  </a:lnTo>
                  <a:lnTo>
                    <a:pt x="606" y="480"/>
                  </a:lnTo>
                  <a:lnTo>
                    <a:pt x="606" y="486"/>
                  </a:lnTo>
                  <a:lnTo>
                    <a:pt x="612" y="486"/>
                  </a:lnTo>
                  <a:lnTo>
                    <a:pt x="618" y="486"/>
                  </a:lnTo>
                  <a:lnTo>
                    <a:pt x="624" y="486"/>
                  </a:lnTo>
                  <a:lnTo>
                    <a:pt x="636" y="486"/>
                  </a:lnTo>
                  <a:lnTo>
                    <a:pt x="642" y="486"/>
                  </a:lnTo>
                  <a:lnTo>
                    <a:pt x="648" y="480"/>
                  </a:lnTo>
                  <a:lnTo>
                    <a:pt x="654" y="474"/>
                  </a:lnTo>
                  <a:lnTo>
                    <a:pt x="660" y="468"/>
                  </a:lnTo>
                  <a:lnTo>
                    <a:pt x="666" y="468"/>
                  </a:lnTo>
                  <a:lnTo>
                    <a:pt x="684" y="468"/>
                  </a:lnTo>
                  <a:lnTo>
                    <a:pt x="696" y="468"/>
                  </a:lnTo>
                  <a:lnTo>
                    <a:pt x="696" y="462"/>
                  </a:lnTo>
                  <a:lnTo>
                    <a:pt x="702" y="456"/>
                  </a:lnTo>
                  <a:lnTo>
                    <a:pt x="708" y="450"/>
                  </a:lnTo>
                  <a:lnTo>
                    <a:pt x="714" y="450"/>
                  </a:lnTo>
                  <a:lnTo>
                    <a:pt x="720" y="450"/>
                  </a:lnTo>
                  <a:lnTo>
                    <a:pt x="720" y="438"/>
                  </a:lnTo>
                  <a:lnTo>
                    <a:pt x="726" y="432"/>
                  </a:lnTo>
                  <a:lnTo>
                    <a:pt x="738" y="420"/>
                  </a:lnTo>
                  <a:lnTo>
                    <a:pt x="744" y="420"/>
                  </a:lnTo>
                  <a:lnTo>
                    <a:pt x="750" y="414"/>
                  </a:lnTo>
                  <a:lnTo>
                    <a:pt x="762" y="408"/>
                  </a:lnTo>
                  <a:lnTo>
                    <a:pt x="768" y="408"/>
                  </a:lnTo>
                  <a:lnTo>
                    <a:pt x="768" y="402"/>
                  </a:lnTo>
                  <a:lnTo>
                    <a:pt x="780" y="396"/>
                  </a:lnTo>
                  <a:lnTo>
                    <a:pt x="786" y="396"/>
                  </a:lnTo>
                  <a:lnTo>
                    <a:pt x="786" y="390"/>
                  </a:lnTo>
                  <a:lnTo>
                    <a:pt x="792" y="384"/>
                  </a:lnTo>
                  <a:lnTo>
                    <a:pt x="792" y="378"/>
                  </a:lnTo>
                  <a:lnTo>
                    <a:pt x="798" y="366"/>
                  </a:lnTo>
                  <a:lnTo>
                    <a:pt x="804" y="360"/>
                  </a:lnTo>
                  <a:lnTo>
                    <a:pt x="816" y="342"/>
                  </a:lnTo>
                  <a:lnTo>
                    <a:pt x="816" y="312"/>
                  </a:lnTo>
                  <a:lnTo>
                    <a:pt x="804" y="300"/>
                  </a:lnTo>
                  <a:lnTo>
                    <a:pt x="798" y="288"/>
                  </a:lnTo>
                  <a:lnTo>
                    <a:pt x="762" y="264"/>
                  </a:lnTo>
                  <a:lnTo>
                    <a:pt x="738" y="234"/>
                  </a:lnTo>
                  <a:lnTo>
                    <a:pt x="738" y="222"/>
                  </a:lnTo>
                  <a:lnTo>
                    <a:pt x="744" y="210"/>
                  </a:lnTo>
                  <a:lnTo>
                    <a:pt x="732" y="174"/>
                  </a:lnTo>
                  <a:lnTo>
                    <a:pt x="714" y="156"/>
                  </a:lnTo>
                  <a:lnTo>
                    <a:pt x="708" y="144"/>
                  </a:lnTo>
                  <a:lnTo>
                    <a:pt x="714" y="126"/>
                  </a:lnTo>
                  <a:lnTo>
                    <a:pt x="720" y="114"/>
                  </a:lnTo>
                  <a:lnTo>
                    <a:pt x="732" y="102"/>
                  </a:lnTo>
                  <a:lnTo>
                    <a:pt x="744" y="102"/>
                  </a:lnTo>
                  <a:lnTo>
                    <a:pt x="762" y="108"/>
                  </a:lnTo>
                  <a:lnTo>
                    <a:pt x="774" y="114"/>
                  </a:lnTo>
                  <a:lnTo>
                    <a:pt x="780" y="138"/>
                  </a:lnTo>
                  <a:lnTo>
                    <a:pt x="786" y="144"/>
                  </a:lnTo>
                  <a:lnTo>
                    <a:pt x="798" y="138"/>
                  </a:lnTo>
                  <a:lnTo>
                    <a:pt x="804" y="132"/>
                  </a:lnTo>
                  <a:lnTo>
                    <a:pt x="816" y="120"/>
                  </a:lnTo>
                  <a:lnTo>
                    <a:pt x="816" y="108"/>
                  </a:lnTo>
                  <a:lnTo>
                    <a:pt x="828" y="102"/>
                  </a:lnTo>
                  <a:lnTo>
                    <a:pt x="828" y="96"/>
                  </a:lnTo>
                  <a:lnTo>
                    <a:pt x="840" y="96"/>
                  </a:lnTo>
                  <a:lnTo>
                    <a:pt x="840" y="84"/>
                  </a:lnTo>
                  <a:lnTo>
                    <a:pt x="852" y="90"/>
                  </a:lnTo>
                  <a:lnTo>
                    <a:pt x="852" y="96"/>
                  </a:lnTo>
                  <a:lnTo>
                    <a:pt x="870" y="90"/>
                  </a:lnTo>
                  <a:lnTo>
                    <a:pt x="894" y="78"/>
                  </a:lnTo>
                  <a:lnTo>
                    <a:pt x="912" y="78"/>
                  </a:lnTo>
                  <a:lnTo>
                    <a:pt x="942" y="66"/>
                  </a:lnTo>
                  <a:lnTo>
                    <a:pt x="942" y="60"/>
                  </a:lnTo>
                  <a:lnTo>
                    <a:pt x="954" y="48"/>
                  </a:lnTo>
                  <a:lnTo>
                    <a:pt x="966" y="30"/>
                  </a:lnTo>
                  <a:lnTo>
                    <a:pt x="978" y="30"/>
                  </a:lnTo>
                  <a:lnTo>
                    <a:pt x="978" y="24"/>
                  </a:lnTo>
                  <a:lnTo>
                    <a:pt x="984" y="12"/>
                  </a:lnTo>
                  <a:lnTo>
                    <a:pt x="990" y="12"/>
                  </a:lnTo>
                  <a:lnTo>
                    <a:pt x="996" y="12"/>
                  </a:lnTo>
                  <a:lnTo>
                    <a:pt x="1014" y="6"/>
                  </a:lnTo>
                  <a:lnTo>
                    <a:pt x="1026" y="6"/>
                  </a:lnTo>
                  <a:lnTo>
                    <a:pt x="1044" y="6"/>
                  </a:lnTo>
                  <a:lnTo>
                    <a:pt x="1050" y="6"/>
                  </a:lnTo>
                  <a:lnTo>
                    <a:pt x="1056" y="6"/>
                  </a:lnTo>
                  <a:lnTo>
                    <a:pt x="1062" y="6"/>
                  </a:lnTo>
                  <a:lnTo>
                    <a:pt x="1068" y="6"/>
                  </a:lnTo>
                  <a:lnTo>
                    <a:pt x="1074" y="6"/>
                  </a:lnTo>
                  <a:lnTo>
                    <a:pt x="1080" y="6"/>
                  </a:lnTo>
                  <a:lnTo>
                    <a:pt x="1086" y="0"/>
                  </a:lnTo>
                  <a:lnTo>
                    <a:pt x="1092" y="30"/>
                  </a:lnTo>
                  <a:lnTo>
                    <a:pt x="1098" y="60"/>
                  </a:lnTo>
                  <a:lnTo>
                    <a:pt x="1110" y="84"/>
                  </a:lnTo>
                  <a:lnTo>
                    <a:pt x="1122" y="114"/>
                  </a:lnTo>
                  <a:lnTo>
                    <a:pt x="1128" y="144"/>
                  </a:lnTo>
                  <a:lnTo>
                    <a:pt x="1122" y="156"/>
                  </a:lnTo>
                  <a:lnTo>
                    <a:pt x="1128" y="168"/>
                  </a:lnTo>
                  <a:lnTo>
                    <a:pt x="1134" y="186"/>
                  </a:lnTo>
                  <a:lnTo>
                    <a:pt x="1140" y="204"/>
                  </a:lnTo>
                  <a:lnTo>
                    <a:pt x="1146" y="210"/>
                  </a:lnTo>
                  <a:lnTo>
                    <a:pt x="1146" y="216"/>
                  </a:lnTo>
                  <a:lnTo>
                    <a:pt x="1146" y="228"/>
                  </a:lnTo>
                  <a:lnTo>
                    <a:pt x="1146" y="234"/>
                  </a:lnTo>
                  <a:lnTo>
                    <a:pt x="1140" y="246"/>
                  </a:lnTo>
                  <a:lnTo>
                    <a:pt x="1128" y="258"/>
                  </a:lnTo>
                  <a:lnTo>
                    <a:pt x="1116" y="264"/>
                  </a:lnTo>
                  <a:lnTo>
                    <a:pt x="1110" y="276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2" y="312"/>
                  </a:lnTo>
                  <a:lnTo>
                    <a:pt x="1116" y="324"/>
                  </a:lnTo>
                  <a:lnTo>
                    <a:pt x="1104" y="336"/>
                  </a:lnTo>
                  <a:lnTo>
                    <a:pt x="1104" y="354"/>
                  </a:lnTo>
                  <a:lnTo>
                    <a:pt x="1098" y="372"/>
                  </a:lnTo>
                  <a:lnTo>
                    <a:pt x="1092" y="384"/>
                  </a:lnTo>
                  <a:lnTo>
                    <a:pt x="1086" y="390"/>
                  </a:lnTo>
                  <a:lnTo>
                    <a:pt x="1086" y="402"/>
                  </a:lnTo>
                  <a:lnTo>
                    <a:pt x="1080" y="414"/>
                  </a:lnTo>
                  <a:lnTo>
                    <a:pt x="1074" y="426"/>
                  </a:lnTo>
                  <a:lnTo>
                    <a:pt x="1074" y="450"/>
                  </a:lnTo>
                  <a:lnTo>
                    <a:pt x="1074" y="462"/>
                  </a:lnTo>
                  <a:lnTo>
                    <a:pt x="1068" y="474"/>
                  </a:lnTo>
                  <a:lnTo>
                    <a:pt x="1062" y="486"/>
                  </a:lnTo>
                  <a:lnTo>
                    <a:pt x="1056" y="498"/>
                  </a:lnTo>
                  <a:close/>
                  <a:moveTo>
                    <a:pt x="186" y="378"/>
                  </a:moveTo>
                  <a:lnTo>
                    <a:pt x="186" y="384"/>
                  </a:lnTo>
                  <a:lnTo>
                    <a:pt x="180" y="390"/>
                  </a:lnTo>
                  <a:lnTo>
                    <a:pt x="174" y="396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14"/>
                  </a:lnTo>
                  <a:lnTo>
                    <a:pt x="126" y="414"/>
                  </a:lnTo>
                  <a:lnTo>
                    <a:pt x="120" y="414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2" y="426"/>
                  </a:lnTo>
                  <a:lnTo>
                    <a:pt x="102" y="432"/>
                  </a:lnTo>
                  <a:lnTo>
                    <a:pt x="96" y="432"/>
                  </a:lnTo>
                  <a:lnTo>
                    <a:pt x="90" y="432"/>
                  </a:lnTo>
                  <a:lnTo>
                    <a:pt x="84" y="438"/>
                  </a:lnTo>
                  <a:lnTo>
                    <a:pt x="78" y="438"/>
                  </a:lnTo>
                  <a:lnTo>
                    <a:pt x="78" y="444"/>
                  </a:lnTo>
                  <a:lnTo>
                    <a:pt x="72" y="444"/>
                  </a:lnTo>
                  <a:lnTo>
                    <a:pt x="72" y="450"/>
                  </a:lnTo>
                  <a:lnTo>
                    <a:pt x="66" y="456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48" y="468"/>
                  </a:lnTo>
                  <a:lnTo>
                    <a:pt x="42" y="468"/>
                  </a:lnTo>
                  <a:lnTo>
                    <a:pt x="42" y="462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8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0" y="396"/>
                  </a:lnTo>
                  <a:lnTo>
                    <a:pt x="6" y="384"/>
                  </a:lnTo>
                  <a:lnTo>
                    <a:pt x="18" y="372"/>
                  </a:lnTo>
                  <a:lnTo>
                    <a:pt x="30" y="348"/>
                  </a:lnTo>
                  <a:lnTo>
                    <a:pt x="30" y="342"/>
                  </a:lnTo>
                  <a:lnTo>
                    <a:pt x="42" y="330"/>
                  </a:lnTo>
                  <a:lnTo>
                    <a:pt x="42" y="324"/>
                  </a:lnTo>
                  <a:lnTo>
                    <a:pt x="48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60" y="282"/>
                  </a:lnTo>
                  <a:lnTo>
                    <a:pt x="60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2" y="258"/>
                  </a:lnTo>
                  <a:lnTo>
                    <a:pt x="84" y="246"/>
                  </a:lnTo>
                  <a:lnTo>
                    <a:pt x="90" y="234"/>
                  </a:lnTo>
                  <a:lnTo>
                    <a:pt x="96" y="234"/>
                  </a:lnTo>
                  <a:lnTo>
                    <a:pt x="96" y="228"/>
                  </a:lnTo>
                  <a:lnTo>
                    <a:pt x="102" y="222"/>
                  </a:lnTo>
                  <a:lnTo>
                    <a:pt x="102" y="228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14" y="228"/>
                  </a:lnTo>
                  <a:lnTo>
                    <a:pt x="114" y="234"/>
                  </a:lnTo>
                  <a:lnTo>
                    <a:pt x="120" y="228"/>
                  </a:lnTo>
                  <a:lnTo>
                    <a:pt x="120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26" y="228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8" y="234"/>
                  </a:lnTo>
                  <a:lnTo>
                    <a:pt x="144" y="234"/>
                  </a:lnTo>
                  <a:lnTo>
                    <a:pt x="144" y="228"/>
                  </a:lnTo>
                  <a:lnTo>
                    <a:pt x="150" y="228"/>
                  </a:lnTo>
                  <a:lnTo>
                    <a:pt x="156" y="228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46"/>
                  </a:lnTo>
                  <a:lnTo>
                    <a:pt x="162" y="240"/>
                  </a:lnTo>
                  <a:lnTo>
                    <a:pt x="162" y="246"/>
                  </a:lnTo>
                  <a:lnTo>
                    <a:pt x="162" y="258"/>
                  </a:lnTo>
                  <a:lnTo>
                    <a:pt x="162" y="264"/>
                  </a:lnTo>
                  <a:lnTo>
                    <a:pt x="156" y="270"/>
                  </a:lnTo>
                  <a:lnTo>
                    <a:pt x="162" y="270"/>
                  </a:lnTo>
                  <a:lnTo>
                    <a:pt x="162" y="282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86" y="288"/>
                  </a:lnTo>
                  <a:lnTo>
                    <a:pt x="186" y="294"/>
                  </a:lnTo>
                  <a:lnTo>
                    <a:pt x="180" y="300"/>
                  </a:lnTo>
                  <a:lnTo>
                    <a:pt x="174" y="318"/>
                  </a:lnTo>
                  <a:lnTo>
                    <a:pt x="174" y="324"/>
                  </a:lnTo>
                  <a:lnTo>
                    <a:pt x="168" y="330"/>
                  </a:lnTo>
                  <a:lnTo>
                    <a:pt x="168" y="342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74" y="360"/>
                  </a:lnTo>
                  <a:lnTo>
                    <a:pt x="180" y="366"/>
                  </a:lnTo>
                  <a:lnTo>
                    <a:pt x="186" y="3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8" name="Freeform 23">
              <a:extLst>
                <a:ext uri="{FF2B5EF4-FFF2-40B4-BE49-F238E27FC236}">
                  <a16:creationId xmlns:a16="http://schemas.microsoft.com/office/drawing/2014/main" id="{A539A33E-3F6E-4AF7-BD88-1853165307F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6312" y="3604793"/>
              <a:ext cx="581410" cy="621747"/>
            </a:xfrm>
            <a:custGeom>
              <a:avLst/>
              <a:gdLst>
                <a:gd name="T0" fmla="*/ 90 w 1092"/>
                <a:gd name="T1" fmla="*/ 60 h 1170"/>
                <a:gd name="T2" fmla="*/ 83 w 1092"/>
                <a:gd name="T3" fmla="*/ 62 h 1170"/>
                <a:gd name="T4" fmla="*/ 72 w 1092"/>
                <a:gd name="T5" fmla="*/ 68 h 1170"/>
                <a:gd name="T6" fmla="*/ 68 w 1092"/>
                <a:gd name="T7" fmla="*/ 71 h 1170"/>
                <a:gd name="T8" fmla="*/ 61 w 1092"/>
                <a:gd name="T9" fmla="*/ 69 h 1170"/>
                <a:gd name="T10" fmla="*/ 64 w 1092"/>
                <a:gd name="T11" fmla="*/ 82 h 1170"/>
                <a:gd name="T12" fmla="*/ 67 w 1092"/>
                <a:gd name="T13" fmla="*/ 93 h 1170"/>
                <a:gd name="T14" fmla="*/ 62 w 1092"/>
                <a:gd name="T15" fmla="*/ 96 h 1170"/>
                <a:gd name="T16" fmla="*/ 59 w 1092"/>
                <a:gd name="T17" fmla="*/ 99 h 1170"/>
                <a:gd name="T18" fmla="*/ 53 w 1092"/>
                <a:gd name="T19" fmla="*/ 101 h 1170"/>
                <a:gd name="T20" fmla="*/ 50 w 1092"/>
                <a:gd name="T21" fmla="*/ 100 h 1170"/>
                <a:gd name="T22" fmla="*/ 50 w 1092"/>
                <a:gd name="T23" fmla="*/ 93 h 1170"/>
                <a:gd name="T24" fmla="*/ 37 w 1092"/>
                <a:gd name="T25" fmla="*/ 85 h 1170"/>
                <a:gd name="T26" fmla="*/ 32 w 1092"/>
                <a:gd name="T27" fmla="*/ 86 h 1170"/>
                <a:gd name="T28" fmla="*/ 29 w 1092"/>
                <a:gd name="T29" fmla="*/ 88 h 1170"/>
                <a:gd name="T30" fmla="*/ 27 w 1092"/>
                <a:gd name="T31" fmla="*/ 86 h 1170"/>
                <a:gd name="T32" fmla="*/ 23 w 1092"/>
                <a:gd name="T33" fmla="*/ 87 h 1170"/>
                <a:gd name="T34" fmla="*/ 17 w 1092"/>
                <a:gd name="T35" fmla="*/ 87 h 1170"/>
                <a:gd name="T36" fmla="*/ 18 w 1092"/>
                <a:gd name="T37" fmla="*/ 89 h 1170"/>
                <a:gd name="T38" fmla="*/ 16 w 1092"/>
                <a:gd name="T39" fmla="*/ 92 h 1170"/>
                <a:gd name="T40" fmla="*/ 12 w 1092"/>
                <a:gd name="T41" fmla="*/ 89 h 1170"/>
                <a:gd name="T42" fmla="*/ 13 w 1092"/>
                <a:gd name="T43" fmla="*/ 84 h 1170"/>
                <a:gd name="T44" fmla="*/ 12 w 1092"/>
                <a:gd name="T45" fmla="*/ 80 h 1170"/>
                <a:gd name="T46" fmla="*/ 10 w 1092"/>
                <a:gd name="T47" fmla="*/ 80 h 1170"/>
                <a:gd name="T48" fmla="*/ 8 w 1092"/>
                <a:gd name="T49" fmla="*/ 79 h 1170"/>
                <a:gd name="T50" fmla="*/ 6 w 1092"/>
                <a:gd name="T51" fmla="*/ 78 h 1170"/>
                <a:gd name="T52" fmla="*/ 6 w 1092"/>
                <a:gd name="T53" fmla="*/ 77 h 1170"/>
                <a:gd name="T54" fmla="*/ 4 w 1092"/>
                <a:gd name="T55" fmla="*/ 75 h 1170"/>
                <a:gd name="T56" fmla="*/ 0 w 1092"/>
                <a:gd name="T57" fmla="*/ 72 h 1170"/>
                <a:gd name="T58" fmla="*/ 0 w 1092"/>
                <a:gd name="T59" fmla="*/ 69 h 1170"/>
                <a:gd name="T60" fmla="*/ 3 w 1092"/>
                <a:gd name="T61" fmla="*/ 67 h 1170"/>
                <a:gd name="T62" fmla="*/ 6 w 1092"/>
                <a:gd name="T63" fmla="*/ 62 h 1170"/>
                <a:gd name="T64" fmla="*/ 8 w 1092"/>
                <a:gd name="T65" fmla="*/ 58 h 1170"/>
                <a:gd name="T66" fmla="*/ 5 w 1092"/>
                <a:gd name="T67" fmla="*/ 54 h 1170"/>
                <a:gd name="T68" fmla="*/ 6 w 1092"/>
                <a:gd name="T69" fmla="*/ 50 h 1170"/>
                <a:gd name="T70" fmla="*/ 8 w 1092"/>
                <a:gd name="T71" fmla="*/ 46 h 1170"/>
                <a:gd name="T72" fmla="*/ 10 w 1092"/>
                <a:gd name="T73" fmla="*/ 43 h 1170"/>
                <a:gd name="T74" fmla="*/ 14 w 1092"/>
                <a:gd name="T75" fmla="*/ 38 h 1170"/>
                <a:gd name="T76" fmla="*/ 31 w 1092"/>
                <a:gd name="T77" fmla="*/ 40 h 1170"/>
                <a:gd name="T78" fmla="*/ 30 w 1092"/>
                <a:gd name="T79" fmla="*/ 46 h 1170"/>
                <a:gd name="T80" fmla="*/ 36 w 1092"/>
                <a:gd name="T81" fmla="*/ 47 h 1170"/>
                <a:gd name="T82" fmla="*/ 41 w 1092"/>
                <a:gd name="T83" fmla="*/ 44 h 1170"/>
                <a:gd name="T84" fmla="*/ 43 w 1092"/>
                <a:gd name="T85" fmla="*/ 39 h 1170"/>
                <a:gd name="T86" fmla="*/ 44 w 1092"/>
                <a:gd name="T87" fmla="*/ 35 h 1170"/>
                <a:gd name="T88" fmla="*/ 44 w 1092"/>
                <a:gd name="T89" fmla="*/ 29 h 1170"/>
                <a:gd name="T90" fmla="*/ 48 w 1092"/>
                <a:gd name="T91" fmla="*/ 24 h 1170"/>
                <a:gd name="T92" fmla="*/ 49 w 1092"/>
                <a:gd name="T93" fmla="*/ 19 h 1170"/>
                <a:gd name="T94" fmla="*/ 51 w 1092"/>
                <a:gd name="T95" fmla="*/ 14 h 1170"/>
                <a:gd name="T96" fmla="*/ 54 w 1092"/>
                <a:gd name="T97" fmla="*/ 10 h 1170"/>
                <a:gd name="T98" fmla="*/ 53 w 1092"/>
                <a:gd name="T99" fmla="*/ 7 h 1170"/>
                <a:gd name="T100" fmla="*/ 55 w 1092"/>
                <a:gd name="T101" fmla="*/ 3 h 1170"/>
                <a:gd name="T102" fmla="*/ 58 w 1092"/>
                <a:gd name="T103" fmla="*/ 0 h 1170"/>
                <a:gd name="T104" fmla="*/ 65 w 1092"/>
                <a:gd name="T105" fmla="*/ 2 h 1170"/>
                <a:gd name="T106" fmla="*/ 61 w 1092"/>
                <a:gd name="T107" fmla="*/ 6 h 1170"/>
                <a:gd name="T108" fmla="*/ 67 w 1092"/>
                <a:gd name="T109" fmla="*/ 7 h 1170"/>
                <a:gd name="T110" fmla="*/ 71 w 1092"/>
                <a:gd name="T111" fmla="*/ 6 h 1170"/>
                <a:gd name="T112" fmla="*/ 75 w 1092"/>
                <a:gd name="T113" fmla="*/ 9 h 1170"/>
                <a:gd name="T114" fmla="*/ 82 w 1092"/>
                <a:gd name="T115" fmla="*/ 12 h 1170"/>
                <a:gd name="T116" fmla="*/ 84 w 1092"/>
                <a:gd name="T117" fmla="*/ 17 h 1170"/>
                <a:gd name="T118" fmla="*/ 94 w 1092"/>
                <a:gd name="T119" fmla="*/ 23 h 1170"/>
                <a:gd name="T120" fmla="*/ 94 w 1092"/>
                <a:gd name="T121" fmla="*/ 34 h 1170"/>
                <a:gd name="T122" fmla="*/ 90 w 1092"/>
                <a:gd name="T123" fmla="*/ 41 h 1170"/>
                <a:gd name="T124" fmla="*/ 91 w 1092"/>
                <a:gd name="T125" fmla="*/ 51 h 11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92"/>
                <a:gd name="T190" fmla="*/ 0 h 1170"/>
                <a:gd name="T191" fmla="*/ 1092 w 1092"/>
                <a:gd name="T192" fmla="*/ 1170 h 117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92" h="1170">
                  <a:moveTo>
                    <a:pt x="1056" y="654"/>
                  </a:moveTo>
                  <a:lnTo>
                    <a:pt x="1062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0"/>
                  </a:lnTo>
                  <a:lnTo>
                    <a:pt x="1038" y="690"/>
                  </a:lnTo>
                  <a:lnTo>
                    <a:pt x="1032" y="690"/>
                  </a:lnTo>
                  <a:lnTo>
                    <a:pt x="1026" y="690"/>
                  </a:lnTo>
                  <a:lnTo>
                    <a:pt x="1020" y="690"/>
                  </a:lnTo>
                  <a:lnTo>
                    <a:pt x="1002" y="690"/>
                  </a:lnTo>
                  <a:lnTo>
                    <a:pt x="990" y="690"/>
                  </a:lnTo>
                  <a:lnTo>
                    <a:pt x="972" y="696"/>
                  </a:lnTo>
                  <a:lnTo>
                    <a:pt x="966" y="696"/>
                  </a:lnTo>
                  <a:lnTo>
                    <a:pt x="960" y="696"/>
                  </a:lnTo>
                  <a:lnTo>
                    <a:pt x="954" y="708"/>
                  </a:lnTo>
                  <a:lnTo>
                    <a:pt x="954" y="714"/>
                  </a:lnTo>
                  <a:lnTo>
                    <a:pt x="942" y="714"/>
                  </a:lnTo>
                  <a:lnTo>
                    <a:pt x="930" y="732"/>
                  </a:lnTo>
                  <a:lnTo>
                    <a:pt x="918" y="744"/>
                  </a:lnTo>
                  <a:lnTo>
                    <a:pt x="918" y="750"/>
                  </a:lnTo>
                  <a:lnTo>
                    <a:pt x="888" y="762"/>
                  </a:lnTo>
                  <a:lnTo>
                    <a:pt x="870" y="762"/>
                  </a:lnTo>
                  <a:lnTo>
                    <a:pt x="846" y="774"/>
                  </a:lnTo>
                  <a:lnTo>
                    <a:pt x="828" y="780"/>
                  </a:lnTo>
                  <a:lnTo>
                    <a:pt x="828" y="774"/>
                  </a:lnTo>
                  <a:lnTo>
                    <a:pt x="816" y="768"/>
                  </a:lnTo>
                  <a:lnTo>
                    <a:pt x="816" y="780"/>
                  </a:lnTo>
                  <a:lnTo>
                    <a:pt x="804" y="780"/>
                  </a:lnTo>
                  <a:lnTo>
                    <a:pt x="804" y="786"/>
                  </a:lnTo>
                  <a:lnTo>
                    <a:pt x="792" y="792"/>
                  </a:lnTo>
                  <a:lnTo>
                    <a:pt x="792" y="804"/>
                  </a:lnTo>
                  <a:lnTo>
                    <a:pt x="780" y="816"/>
                  </a:lnTo>
                  <a:lnTo>
                    <a:pt x="774" y="822"/>
                  </a:lnTo>
                  <a:lnTo>
                    <a:pt x="762" y="828"/>
                  </a:lnTo>
                  <a:lnTo>
                    <a:pt x="756" y="822"/>
                  </a:lnTo>
                  <a:lnTo>
                    <a:pt x="750" y="798"/>
                  </a:lnTo>
                  <a:lnTo>
                    <a:pt x="738" y="792"/>
                  </a:lnTo>
                  <a:lnTo>
                    <a:pt x="720" y="786"/>
                  </a:lnTo>
                  <a:lnTo>
                    <a:pt x="708" y="786"/>
                  </a:lnTo>
                  <a:lnTo>
                    <a:pt x="696" y="798"/>
                  </a:lnTo>
                  <a:lnTo>
                    <a:pt x="690" y="810"/>
                  </a:lnTo>
                  <a:lnTo>
                    <a:pt x="684" y="828"/>
                  </a:lnTo>
                  <a:lnTo>
                    <a:pt x="690" y="840"/>
                  </a:lnTo>
                  <a:lnTo>
                    <a:pt x="708" y="858"/>
                  </a:lnTo>
                  <a:lnTo>
                    <a:pt x="720" y="894"/>
                  </a:lnTo>
                  <a:lnTo>
                    <a:pt x="714" y="906"/>
                  </a:lnTo>
                  <a:lnTo>
                    <a:pt x="714" y="918"/>
                  </a:lnTo>
                  <a:lnTo>
                    <a:pt x="738" y="948"/>
                  </a:lnTo>
                  <a:lnTo>
                    <a:pt x="774" y="972"/>
                  </a:lnTo>
                  <a:lnTo>
                    <a:pt x="780" y="984"/>
                  </a:lnTo>
                  <a:lnTo>
                    <a:pt x="792" y="996"/>
                  </a:lnTo>
                  <a:lnTo>
                    <a:pt x="792" y="1026"/>
                  </a:lnTo>
                  <a:lnTo>
                    <a:pt x="780" y="1044"/>
                  </a:lnTo>
                  <a:lnTo>
                    <a:pt x="774" y="1050"/>
                  </a:lnTo>
                  <a:lnTo>
                    <a:pt x="768" y="1062"/>
                  </a:lnTo>
                  <a:lnTo>
                    <a:pt x="768" y="1068"/>
                  </a:lnTo>
                  <a:lnTo>
                    <a:pt x="762" y="1074"/>
                  </a:lnTo>
                  <a:lnTo>
                    <a:pt x="762" y="1080"/>
                  </a:lnTo>
                  <a:lnTo>
                    <a:pt x="756" y="1080"/>
                  </a:lnTo>
                  <a:lnTo>
                    <a:pt x="744" y="1086"/>
                  </a:lnTo>
                  <a:lnTo>
                    <a:pt x="744" y="1092"/>
                  </a:lnTo>
                  <a:lnTo>
                    <a:pt x="738" y="1092"/>
                  </a:lnTo>
                  <a:lnTo>
                    <a:pt x="726" y="1098"/>
                  </a:lnTo>
                  <a:lnTo>
                    <a:pt x="720" y="1104"/>
                  </a:lnTo>
                  <a:lnTo>
                    <a:pt x="714" y="1104"/>
                  </a:lnTo>
                  <a:lnTo>
                    <a:pt x="702" y="1116"/>
                  </a:lnTo>
                  <a:lnTo>
                    <a:pt x="696" y="1122"/>
                  </a:lnTo>
                  <a:lnTo>
                    <a:pt x="696" y="1134"/>
                  </a:lnTo>
                  <a:lnTo>
                    <a:pt x="690" y="1134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72" y="1146"/>
                  </a:lnTo>
                  <a:lnTo>
                    <a:pt x="672" y="1152"/>
                  </a:lnTo>
                  <a:lnTo>
                    <a:pt x="660" y="1152"/>
                  </a:lnTo>
                  <a:lnTo>
                    <a:pt x="642" y="1152"/>
                  </a:lnTo>
                  <a:lnTo>
                    <a:pt x="636" y="1152"/>
                  </a:lnTo>
                  <a:lnTo>
                    <a:pt x="630" y="1158"/>
                  </a:lnTo>
                  <a:lnTo>
                    <a:pt x="624" y="1164"/>
                  </a:lnTo>
                  <a:lnTo>
                    <a:pt x="618" y="1170"/>
                  </a:lnTo>
                  <a:lnTo>
                    <a:pt x="612" y="1170"/>
                  </a:lnTo>
                  <a:lnTo>
                    <a:pt x="600" y="1170"/>
                  </a:lnTo>
                  <a:lnTo>
                    <a:pt x="594" y="1170"/>
                  </a:lnTo>
                  <a:lnTo>
                    <a:pt x="588" y="1170"/>
                  </a:lnTo>
                  <a:lnTo>
                    <a:pt x="582" y="1170"/>
                  </a:lnTo>
                  <a:lnTo>
                    <a:pt x="582" y="1164"/>
                  </a:lnTo>
                  <a:lnTo>
                    <a:pt x="576" y="1158"/>
                  </a:lnTo>
                  <a:lnTo>
                    <a:pt x="570" y="1158"/>
                  </a:lnTo>
                  <a:lnTo>
                    <a:pt x="570" y="1152"/>
                  </a:lnTo>
                  <a:lnTo>
                    <a:pt x="570" y="1146"/>
                  </a:lnTo>
                  <a:lnTo>
                    <a:pt x="570" y="1140"/>
                  </a:lnTo>
                  <a:lnTo>
                    <a:pt x="564" y="1140"/>
                  </a:lnTo>
                  <a:lnTo>
                    <a:pt x="564" y="1134"/>
                  </a:lnTo>
                  <a:lnTo>
                    <a:pt x="564" y="1128"/>
                  </a:lnTo>
                  <a:lnTo>
                    <a:pt x="576" y="1104"/>
                  </a:lnTo>
                  <a:lnTo>
                    <a:pt x="582" y="1086"/>
                  </a:lnTo>
                  <a:lnTo>
                    <a:pt x="570" y="1068"/>
                  </a:lnTo>
                  <a:lnTo>
                    <a:pt x="534" y="1056"/>
                  </a:lnTo>
                  <a:lnTo>
                    <a:pt x="516" y="1026"/>
                  </a:lnTo>
                  <a:lnTo>
                    <a:pt x="492" y="1020"/>
                  </a:lnTo>
                  <a:lnTo>
                    <a:pt x="492" y="1014"/>
                  </a:lnTo>
                  <a:lnTo>
                    <a:pt x="480" y="1008"/>
                  </a:lnTo>
                  <a:lnTo>
                    <a:pt x="474" y="996"/>
                  </a:lnTo>
                  <a:lnTo>
                    <a:pt x="444" y="984"/>
                  </a:lnTo>
                  <a:lnTo>
                    <a:pt x="426" y="978"/>
                  </a:lnTo>
                  <a:lnTo>
                    <a:pt x="420" y="972"/>
                  </a:lnTo>
                  <a:lnTo>
                    <a:pt x="408" y="984"/>
                  </a:lnTo>
                  <a:lnTo>
                    <a:pt x="402" y="984"/>
                  </a:lnTo>
                  <a:lnTo>
                    <a:pt x="396" y="984"/>
                  </a:lnTo>
                  <a:lnTo>
                    <a:pt x="390" y="984"/>
                  </a:lnTo>
                  <a:lnTo>
                    <a:pt x="384" y="990"/>
                  </a:lnTo>
                  <a:lnTo>
                    <a:pt x="378" y="990"/>
                  </a:lnTo>
                  <a:lnTo>
                    <a:pt x="372" y="990"/>
                  </a:lnTo>
                  <a:lnTo>
                    <a:pt x="372" y="996"/>
                  </a:lnTo>
                  <a:lnTo>
                    <a:pt x="366" y="996"/>
                  </a:lnTo>
                  <a:lnTo>
                    <a:pt x="360" y="1002"/>
                  </a:lnTo>
                  <a:lnTo>
                    <a:pt x="360" y="1008"/>
                  </a:lnTo>
                  <a:lnTo>
                    <a:pt x="354" y="1008"/>
                  </a:lnTo>
                  <a:lnTo>
                    <a:pt x="342" y="1014"/>
                  </a:lnTo>
                  <a:lnTo>
                    <a:pt x="336" y="1020"/>
                  </a:lnTo>
                  <a:lnTo>
                    <a:pt x="336" y="1014"/>
                  </a:lnTo>
                  <a:lnTo>
                    <a:pt x="330" y="1014"/>
                  </a:lnTo>
                  <a:lnTo>
                    <a:pt x="330" y="1008"/>
                  </a:lnTo>
                  <a:lnTo>
                    <a:pt x="330" y="1002"/>
                  </a:lnTo>
                  <a:lnTo>
                    <a:pt x="324" y="1002"/>
                  </a:lnTo>
                  <a:lnTo>
                    <a:pt x="324" y="996"/>
                  </a:lnTo>
                  <a:lnTo>
                    <a:pt x="324" y="990"/>
                  </a:lnTo>
                  <a:lnTo>
                    <a:pt x="318" y="990"/>
                  </a:lnTo>
                  <a:lnTo>
                    <a:pt x="306" y="996"/>
                  </a:lnTo>
                  <a:lnTo>
                    <a:pt x="300" y="996"/>
                  </a:lnTo>
                  <a:lnTo>
                    <a:pt x="294" y="996"/>
                  </a:lnTo>
                  <a:lnTo>
                    <a:pt x="288" y="1002"/>
                  </a:lnTo>
                  <a:lnTo>
                    <a:pt x="282" y="990"/>
                  </a:lnTo>
                  <a:lnTo>
                    <a:pt x="276" y="984"/>
                  </a:lnTo>
                  <a:lnTo>
                    <a:pt x="270" y="990"/>
                  </a:lnTo>
                  <a:lnTo>
                    <a:pt x="270" y="996"/>
                  </a:lnTo>
                  <a:lnTo>
                    <a:pt x="270" y="1002"/>
                  </a:lnTo>
                  <a:lnTo>
                    <a:pt x="264" y="1008"/>
                  </a:lnTo>
                  <a:lnTo>
                    <a:pt x="252" y="996"/>
                  </a:lnTo>
                  <a:lnTo>
                    <a:pt x="246" y="996"/>
                  </a:lnTo>
                  <a:lnTo>
                    <a:pt x="234" y="1002"/>
                  </a:lnTo>
                  <a:lnTo>
                    <a:pt x="222" y="1002"/>
                  </a:lnTo>
                  <a:lnTo>
                    <a:pt x="210" y="1002"/>
                  </a:lnTo>
                  <a:lnTo>
                    <a:pt x="198" y="996"/>
                  </a:lnTo>
                  <a:lnTo>
                    <a:pt x="198" y="1002"/>
                  </a:lnTo>
                  <a:lnTo>
                    <a:pt x="198" y="1008"/>
                  </a:lnTo>
                  <a:lnTo>
                    <a:pt x="192" y="1020"/>
                  </a:lnTo>
                  <a:lnTo>
                    <a:pt x="198" y="1020"/>
                  </a:lnTo>
                  <a:lnTo>
                    <a:pt x="204" y="1020"/>
                  </a:lnTo>
                  <a:lnTo>
                    <a:pt x="210" y="1026"/>
                  </a:lnTo>
                  <a:lnTo>
                    <a:pt x="216" y="1026"/>
                  </a:lnTo>
                  <a:lnTo>
                    <a:pt x="216" y="1032"/>
                  </a:lnTo>
                  <a:lnTo>
                    <a:pt x="210" y="1032"/>
                  </a:lnTo>
                  <a:lnTo>
                    <a:pt x="210" y="1038"/>
                  </a:lnTo>
                  <a:lnTo>
                    <a:pt x="204" y="1038"/>
                  </a:lnTo>
                  <a:lnTo>
                    <a:pt x="204" y="1044"/>
                  </a:lnTo>
                  <a:lnTo>
                    <a:pt x="198" y="1044"/>
                  </a:lnTo>
                  <a:lnTo>
                    <a:pt x="192" y="1044"/>
                  </a:lnTo>
                  <a:lnTo>
                    <a:pt x="186" y="1050"/>
                  </a:lnTo>
                  <a:lnTo>
                    <a:pt x="186" y="1056"/>
                  </a:lnTo>
                  <a:lnTo>
                    <a:pt x="180" y="1056"/>
                  </a:lnTo>
                  <a:lnTo>
                    <a:pt x="180" y="1062"/>
                  </a:lnTo>
                  <a:lnTo>
                    <a:pt x="174" y="1062"/>
                  </a:lnTo>
                  <a:lnTo>
                    <a:pt x="168" y="1062"/>
                  </a:lnTo>
                  <a:lnTo>
                    <a:pt x="162" y="1062"/>
                  </a:lnTo>
                  <a:lnTo>
                    <a:pt x="156" y="1050"/>
                  </a:lnTo>
                  <a:lnTo>
                    <a:pt x="150" y="1044"/>
                  </a:lnTo>
                  <a:lnTo>
                    <a:pt x="150" y="1038"/>
                  </a:lnTo>
                  <a:lnTo>
                    <a:pt x="144" y="1032"/>
                  </a:lnTo>
                  <a:lnTo>
                    <a:pt x="144" y="1026"/>
                  </a:lnTo>
                  <a:lnTo>
                    <a:pt x="144" y="1014"/>
                  </a:lnTo>
                  <a:lnTo>
                    <a:pt x="150" y="1008"/>
                  </a:lnTo>
                  <a:lnTo>
                    <a:pt x="150" y="1002"/>
                  </a:lnTo>
                  <a:lnTo>
                    <a:pt x="156" y="984"/>
                  </a:lnTo>
                  <a:lnTo>
                    <a:pt x="162" y="978"/>
                  </a:lnTo>
                  <a:lnTo>
                    <a:pt x="162" y="972"/>
                  </a:lnTo>
                  <a:lnTo>
                    <a:pt x="150" y="966"/>
                  </a:lnTo>
                  <a:lnTo>
                    <a:pt x="144" y="966"/>
                  </a:lnTo>
                  <a:lnTo>
                    <a:pt x="138" y="966"/>
                  </a:lnTo>
                  <a:lnTo>
                    <a:pt x="138" y="954"/>
                  </a:lnTo>
                  <a:lnTo>
                    <a:pt x="132" y="954"/>
                  </a:lnTo>
                  <a:lnTo>
                    <a:pt x="138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8" y="924"/>
                  </a:lnTo>
                  <a:lnTo>
                    <a:pt x="132" y="930"/>
                  </a:lnTo>
                  <a:lnTo>
                    <a:pt x="132" y="924"/>
                  </a:lnTo>
                  <a:lnTo>
                    <a:pt x="126" y="918"/>
                  </a:lnTo>
                  <a:lnTo>
                    <a:pt x="132" y="918"/>
                  </a:lnTo>
                  <a:lnTo>
                    <a:pt x="132" y="912"/>
                  </a:lnTo>
                  <a:lnTo>
                    <a:pt x="126" y="912"/>
                  </a:lnTo>
                  <a:lnTo>
                    <a:pt x="120" y="912"/>
                  </a:lnTo>
                  <a:lnTo>
                    <a:pt x="120" y="918"/>
                  </a:lnTo>
                  <a:lnTo>
                    <a:pt x="114" y="918"/>
                  </a:lnTo>
                  <a:lnTo>
                    <a:pt x="114" y="912"/>
                  </a:lnTo>
                  <a:lnTo>
                    <a:pt x="108" y="912"/>
                  </a:lnTo>
                  <a:lnTo>
                    <a:pt x="102" y="912"/>
                  </a:lnTo>
                  <a:lnTo>
                    <a:pt x="108" y="906"/>
                  </a:lnTo>
                  <a:lnTo>
                    <a:pt x="102" y="906"/>
                  </a:lnTo>
                  <a:lnTo>
                    <a:pt x="96" y="906"/>
                  </a:lnTo>
                  <a:lnTo>
                    <a:pt x="96" y="912"/>
                  </a:lnTo>
                  <a:lnTo>
                    <a:pt x="90" y="918"/>
                  </a:lnTo>
                  <a:lnTo>
                    <a:pt x="90" y="912"/>
                  </a:lnTo>
                  <a:lnTo>
                    <a:pt x="84" y="912"/>
                  </a:lnTo>
                  <a:lnTo>
                    <a:pt x="84" y="918"/>
                  </a:lnTo>
                  <a:lnTo>
                    <a:pt x="78" y="918"/>
                  </a:lnTo>
                  <a:lnTo>
                    <a:pt x="78" y="912"/>
                  </a:lnTo>
                  <a:lnTo>
                    <a:pt x="78" y="906"/>
                  </a:lnTo>
                  <a:lnTo>
                    <a:pt x="72" y="900"/>
                  </a:lnTo>
                  <a:lnTo>
                    <a:pt x="78" y="900"/>
                  </a:lnTo>
                  <a:lnTo>
                    <a:pt x="72" y="900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8" y="888"/>
                  </a:lnTo>
                  <a:lnTo>
                    <a:pt x="72" y="888"/>
                  </a:lnTo>
                  <a:lnTo>
                    <a:pt x="72" y="882"/>
                  </a:lnTo>
                  <a:lnTo>
                    <a:pt x="66" y="876"/>
                  </a:lnTo>
                  <a:lnTo>
                    <a:pt x="60" y="882"/>
                  </a:lnTo>
                  <a:lnTo>
                    <a:pt x="54" y="876"/>
                  </a:lnTo>
                  <a:lnTo>
                    <a:pt x="54" y="882"/>
                  </a:lnTo>
                  <a:lnTo>
                    <a:pt x="48" y="882"/>
                  </a:lnTo>
                  <a:lnTo>
                    <a:pt x="42" y="870"/>
                  </a:lnTo>
                  <a:lnTo>
                    <a:pt x="42" y="864"/>
                  </a:lnTo>
                  <a:lnTo>
                    <a:pt x="36" y="858"/>
                  </a:lnTo>
                  <a:lnTo>
                    <a:pt x="36" y="852"/>
                  </a:lnTo>
                  <a:lnTo>
                    <a:pt x="30" y="852"/>
                  </a:lnTo>
                  <a:lnTo>
                    <a:pt x="30" y="846"/>
                  </a:lnTo>
                  <a:lnTo>
                    <a:pt x="24" y="846"/>
                  </a:lnTo>
                  <a:lnTo>
                    <a:pt x="18" y="840"/>
                  </a:lnTo>
                  <a:lnTo>
                    <a:pt x="12" y="834"/>
                  </a:lnTo>
                  <a:lnTo>
                    <a:pt x="0" y="828"/>
                  </a:lnTo>
                  <a:lnTo>
                    <a:pt x="0" y="822"/>
                  </a:lnTo>
                  <a:lnTo>
                    <a:pt x="0" y="816"/>
                  </a:lnTo>
                  <a:lnTo>
                    <a:pt x="0" y="810"/>
                  </a:lnTo>
                  <a:lnTo>
                    <a:pt x="6" y="804"/>
                  </a:lnTo>
                  <a:lnTo>
                    <a:pt x="12" y="804"/>
                  </a:lnTo>
                  <a:lnTo>
                    <a:pt x="12" y="798"/>
                  </a:lnTo>
                  <a:lnTo>
                    <a:pt x="12" y="792"/>
                  </a:lnTo>
                  <a:lnTo>
                    <a:pt x="6" y="792"/>
                  </a:lnTo>
                  <a:lnTo>
                    <a:pt x="6" y="786"/>
                  </a:lnTo>
                  <a:lnTo>
                    <a:pt x="6" y="780"/>
                  </a:lnTo>
                  <a:lnTo>
                    <a:pt x="18" y="780"/>
                  </a:lnTo>
                  <a:lnTo>
                    <a:pt x="18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0" y="774"/>
                  </a:lnTo>
                  <a:lnTo>
                    <a:pt x="36" y="768"/>
                  </a:lnTo>
                  <a:lnTo>
                    <a:pt x="42" y="768"/>
                  </a:lnTo>
                  <a:lnTo>
                    <a:pt x="60" y="750"/>
                  </a:lnTo>
                  <a:lnTo>
                    <a:pt x="60" y="744"/>
                  </a:lnTo>
                  <a:lnTo>
                    <a:pt x="54" y="738"/>
                  </a:lnTo>
                  <a:lnTo>
                    <a:pt x="60" y="732"/>
                  </a:lnTo>
                  <a:lnTo>
                    <a:pt x="54" y="732"/>
                  </a:lnTo>
                  <a:lnTo>
                    <a:pt x="60" y="726"/>
                  </a:lnTo>
                  <a:lnTo>
                    <a:pt x="66" y="720"/>
                  </a:lnTo>
                  <a:lnTo>
                    <a:pt x="72" y="714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84" y="696"/>
                  </a:lnTo>
                  <a:lnTo>
                    <a:pt x="90" y="684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66"/>
                  </a:lnTo>
                  <a:lnTo>
                    <a:pt x="90" y="660"/>
                  </a:lnTo>
                  <a:lnTo>
                    <a:pt x="84" y="654"/>
                  </a:lnTo>
                  <a:lnTo>
                    <a:pt x="84" y="648"/>
                  </a:lnTo>
                  <a:lnTo>
                    <a:pt x="78" y="636"/>
                  </a:lnTo>
                  <a:lnTo>
                    <a:pt x="66" y="630"/>
                  </a:lnTo>
                  <a:lnTo>
                    <a:pt x="66" y="624"/>
                  </a:lnTo>
                  <a:lnTo>
                    <a:pt x="60" y="624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60" y="600"/>
                  </a:lnTo>
                  <a:lnTo>
                    <a:pt x="66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6" y="588"/>
                  </a:lnTo>
                  <a:lnTo>
                    <a:pt x="66" y="582"/>
                  </a:lnTo>
                  <a:lnTo>
                    <a:pt x="72" y="582"/>
                  </a:lnTo>
                  <a:lnTo>
                    <a:pt x="78" y="576"/>
                  </a:lnTo>
                  <a:lnTo>
                    <a:pt x="72" y="576"/>
                  </a:lnTo>
                  <a:lnTo>
                    <a:pt x="66" y="570"/>
                  </a:lnTo>
                  <a:lnTo>
                    <a:pt x="72" y="564"/>
                  </a:lnTo>
                  <a:lnTo>
                    <a:pt x="78" y="558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90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102" y="516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0" y="504"/>
                  </a:lnTo>
                  <a:lnTo>
                    <a:pt x="120" y="498"/>
                  </a:lnTo>
                  <a:lnTo>
                    <a:pt x="120" y="492"/>
                  </a:lnTo>
                  <a:lnTo>
                    <a:pt x="126" y="480"/>
                  </a:lnTo>
                  <a:lnTo>
                    <a:pt x="132" y="474"/>
                  </a:lnTo>
                  <a:lnTo>
                    <a:pt x="132" y="468"/>
                  </a:lnTo>
                  <a:lnTo>
                    <a:pt x="138" y="462"/>
                  </a:lnTo>
                  <a:lnTo>
                    <a:pt x="138" y="456"/>
                  </a:lnTo>
                  <a:lnTo>
                    <a:pt x="138" y="450"/>
                  </a:lnTo>
                  <a:lnTo>
                    <a:pt x="144" y="444"/>
                  </a:lnTo>
                  <a:lnTo>
                    <a:pt x="162" y="438"/>
                  </a:lnTo>
                  <a:lnTo>
                    <a:pt x="186" y="438"/>
                  </a:lnTo>
                  <a:lnTo>
                    <a:pt x="210" y="444"/>
                  </a:lnTo>
                  <a:lnTo>
                    <a:pt x="276" y="450"/>
                  </a:lnTo>
                  <a:lnTo>
                    <a:pt x="342" y="450"/>
                  </a:lnTo>
                  <a:lnTo>
                    <a:pt x="348" y="450"/>
                  </a:lnTo>
                  <a:lnTo>
                    <a:pt x="354" y="450"/>
                  </a:lnTo>
                  <a:lnTo>
                    <a:pt x="360" y="456"/>
                  </a:lnTo>
                  <a:lnTo>
                    <a:pt x="354" y="462"/>
                  </a:lnTo>
                  <a:lnTo>
                    <a:pt x="354" y="468"/>
                  </a:lnTo>
                  <a:lnTo>
                    <a:pt x="354" y="474"/>
                  </a:lnTo>
                  <a:lnTo>
                    <a:pt x="348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48" y="498"/>
                  </a:lnTo>
                  <a:lnTo>
                    <a:pt x="342" y="510"/>
                  </a:lnTo>
                  <a:lnTo>
                    <a:pt x="348" y="528"/>
                  </a:lnTo>
                  <a:lnTo>
                    <a:pt x="348" y="534"/>
                  </a:lnTo>
                  <a:lnTo>
                    <a:pt x="354" y="552"/>
                  </a:lnTo>
                  <a:lnTo>
                    <a:pt x="366" y="546"/>
                  </a:lnTo>
                  <a:lnTo>
                    <a:pt x="372" y="540"/>
                  </a:lnTo>
                  <a:lnTo>
                    <a:pt x="384" y="540"/>
                  </a:lnTo>
                  <a:lnTo>
                    <a:pt x="396" y="534"/>
                  </a:lnTo>
                  <a:lnTo>
                    <a:pt x="402" y="534"/>
                  </a:lnTo>
                  <a:lnTo>
                    <a:pt x="414" y="546"/>
                  </a:lnTo>
                  <a:lnTo>
                    <a:pt x="432" y="540"/>
                  </a:lnTo>
                  <a:lnTo>
                    <a:pt x="450" y="534"/>
                  </a:lnTo>
                  <a:lnTo>
                    <a:pt x="450" y="528"/>
                  </a:lnTo>
                  <a:lnTo>
                    <a:pt x="456" y="528"/>
                  </a:lnTo>
                  <a:lnTo>
                    <a:pt x="456" y="522"/>
                  </a:lnTo>
                  <a:lnTo>
                    <a:pt x="456" y="516"/>
                  </a:lnTo>
                  <a:lnTo>
                    <a:pt x="462" y="516"/>
                  </a:lnTo>
                  <a:lnTo>
                    <a:pt x="468" y="510"/>
                  </a:lnTo>
                  <a:lnTo>
                    <a:pt x="468" y="504"/>
                  </a:lnTo>
                  <a:lnTo>
                    <a:pt x="474" y="504"/>
                  </a:lnTo>
                  <a:lnTo>
                    <a:pt x="480" y="504"/>
                  </a:lnTo>
                  <a:lnTo>
                    <a:pt x="486" y="498"/>
                  </a:lnTo>
                  <a:lnTo>
                    <a:pt x="492" y="498"/>
                  </a:lnTo>
                  <a:lnTo>
                    <a:pt x="486" y="480"/>
                  </a:lnTo>
                  <a:lnTo>
                    <a:pt x="492" y="462"/>
                  </a:lnTo>
                  <a:lnTo>
                    <a:pt x="498" y="444"/>
                  </a:lnTo>
                  <a:lnTo>
                    <a:pt x="498" y="426"/>
                  </a:lnTo>
                  <a:lnTo>
                    <a:pt x="498" y="420"/>
                  </a:lnTo>
                  <a:lnTo>
                    <a:pt x="504" y="426"/>
                  </a:lnTo>
                  <a:lnTo>
                    <a:pt x="504" y="420"/>
                  </a:lnTo>
                  <a:lnTo>
                    <a:pt x="510" y="420"/>
                  </a:lnTo>
                  <a:lnTo>
                    <a:pt x="510" y="414"/>
                  </a:lnTo>
                  <a:lnTo>
                    <a:pt x="510" y="408"/>
                  </a:lnTo>
                  <a:lnTo>
                    <a:pt x="504" y="402"/>
                  </a:lnTo>
                  <a:lnTo>
                    <a:pt x="504" y="396"/>
                  </a:lnTo>
                  <a:lnTo>
                    <a:pt x="504" y="384"/>
                  </a:lnTo>
                  <a:lnTo>
                    <a:pt x="504" y="378"/>
                  </a:lnTo>
                  <a:lnTo>
                    <a:pt x="504" y="360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510" y="348"/>
                  </a:lnTo>
                  <a:lnTo>
                    <a:pt x="510" y="336"/>
                  </a:lnTo>
                  <a:lnTo>
                    <a:pt x="516" y="330"/>
                  </a:lnTo>
                  <a:lnTo>
                    <a:pt x="522" y="324"/>
                  </a:lnTo>
                  <a:lnTo>
                    <a:pt x="528" y="318"/>
                  </a:lnTo>
                  <a:lnTo>
                    <a:pt x="534" y="312"/>
                  </a:lnTo>
                  <a:lnTo>
                    <a:pt x="534" y="300"/>
                  </a:lnTo>
                  <a:lnTo>
                    <a:pt x="540" y="294"/>
                  </a:lnTo>
                  <a:lnTo>
                    <a:pt x="546" y="288"/>
                  </a:lnTo>
                  <a:lnTo>
                    <a:pt x="552" y="276"/>
                  </a:lnTo>
                  <a:lnTo>
                    <a:pt x="558" y="264"/>
                  </a:lnTo>
                  <a:lnTo>
                    <a:pt x="558" y="258"/>
                  </a:lnTo>
                  <a:lnTo>
                    <a:pt x="558" y="252"/>
                  </a:lnTo>
                  <a:lnTo>
                    <a:pt x="558" y="246"/>
                  </a:lnTo>
                  <a:lnTo>
                    <a:pt x="564" y="246"/>
                  </a:lnTo>
                  <a:lnTo>
                    <a:pt x="564" y="240"/>
                  </a:lnTo>
                  <a:lnTo>
                    <a:pt x="570" y="234"/>
                  </a:lnTo>
                  <a:lnTo>
                    <a:pt x="564" y="216"/>
                  </a:lnTo>
                  <a:lnTo>
                    <a:pt x="564" y="210"/>
                  </a:lnTo>
                  <a:lnTo>
                    <a:pt x="570" y="210"/>
                  </a:lnTo>
                  <a:lnTo>
                    <a:pt x="570" y="204"/>
                  </a:lnTo>
                  <a:lnTo>
                    <a:pt x="570" y="198"/>
                  </a:lnTo>
                  <a:lnTo>
                    <a:pt x="582" y="180"/>
                  </a:lnTo>
                  <a:lnTo>
                    <a:pt x="582" y="174"/>
                  </a:lnTo>
                  <a:lnTo>
                    <a:pt x="582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606" y="150"/>
                  </a:lnTo>
                  <a:lnTo>
                    <a:pt x="612" y="150"/>
                  </a:lnTo>
                  <a:lnTo>
                    <a:pt x="618" y="150"/>
                  </a:lnTo>
                  <a:lnTo>
                    <a:pt x="624" y="138"/>
                  </a:lnTo>
                  <a:lnTo>
                    <a:pt x="618" y="132"/>
                  </a:lnTo>
                  <a:lnTo>
                    <a:pt x="618" y="126"/>
                  </a:lnTo>
                  <a:lnTo>
                    <a:pt x="618" y="120"/>
                  </a:lnTo>
                  <a:lnTo>
                    <a:pt x="618" y="114"/>
                  </a:lnTo>
                  <a:lnTo>
                    <a:pt x="612" y="108"/>
                  </a:lnTo>
                  <a:lnTo>
                    <a:pt x="612" y="102"/>
                  </a:lnTo>
                  <a:lnTo>
                    <a:pt x="618" y="90"/>
                  </a:lnTo>
                  <a:lnTo>
                    <a:pt x="624" y="84"/>
                  </a:lnTo>
                  <a:lnTo>
                    <a:pt x="618" y="84"/>
                  </a:lnTo>
                  <a:lnTo>
                    <a:pt x="618" y="78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0" y="72"/>
                  </a:lnTo>
                  <a:lnTo>
                    <a:pt x="600" y="66"/>
                  </a:lnTo>
                  <a:lnTo>
                    <a:pt x="600" y="60"/>
                  </a:lnTo>
                  <a:lnTo>
                    <a:pt x="600" y="48"/>
                  </a:lnTo>
                  <a:lnTo>
                    <a:pt x="612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36"/>
                  </a:lnTo>
                  <a:lnTo>
                    <a:pt x="630" y="30"/>
                  </a:lnTo>
                  <a:lnTo>
                    <a:pt x="636" y="24"/>
                  </a:lnTo>
                  <a:lnTo>
                    <a:pt x="642" y="24"/>
                  </a:lnTo>
                  <a:lnTo>
                    <a:pt x="648" y="24"/>
                  </a:lnTo>
                  <a:lnTo>
                    <a:pt x="648" y="18"/>
                  </a:lnTo>
                  <a:lnTo>
                    <a:pt x="654" y="12"/>
                  </a:lnTo>
                  <a:lnTo>
                    <a:pt x="660" y="0"/>
                  </a:lnTo>
                  <a:lnTo>
                    <a:pt x="678" y="0"/>
                  </a:lnTo>
                  <a:lnTo>
                    <a:pt x="696" y="0"/>
                  </a:lnTo>
                  <a:lnTo>
                    <a:pt x="702" y="0"/>
                  </a:lnTo>
                  <a:lnTo>
                    <a:pt x="714" y="0"/>
                  </a:lnTo>
                  <a:lnTo>
                    <a:pt x="720" y="6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44" y="24"/>
                  </a:lnTo>
                  <a:lnTo>
                    <a:pt x="744" y="30"/>
                  </a:lnTo>
                  <a:lnTo>
                    <a:pt x="732" y="42"/>
                  </a:lnTo>
                  <a:lnTo>
                    <a:pt x="726" y="42"/>
                  </a:lnTo>
                  <a:lnTo>
                    <a:pt x="720" y="42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54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90"/>
                  </a:lnTo>
                  <a:lnTo>
                    <a:pt x="726" y="84"/>
                  </a:lnTo>
                  <a:lnTo>
                    <a:pt x="738" y="84"/>
                  </a:lnTo>
                  <a:lnTo>
                    <a:pt x="750" y="96"/>
                  </a:lnTo>
                  <a:lnTo>
                    <a:pt x="768" y="96"/>
                  </a:lnTo>
                  <a:lnTo>
                    <a:pt x="768" y="90"/>
                  </a:lnTo>
                  <a:lnTo>
                    <a:pt x="774" y="84"/>
                  </a:lnTo>
                  <a:lnTo>
                    <a:pt x="780" y="78"/>
                  </a:lnTo>
                  <a:lnTo>
                    <a:pt x="786" y="78"/>
                  </a:lnTo>
                  <a:lnTo>
                    <a:pt x="792" y="72"/>
                  </a:lnTo>
                  <a:lnTo>
                    <a:pt x="804" y="72"/>
                  </a:lnTo>
                  <a:lnTo>
                    <a:pt x="804" y="66"/>
                  </a:lnTo>
                  <a:lnTo>
                    <a:pt x="810" y="66"/>
                  </a:lnTo>
                  <a:lnTo>
                    <a:pt x="810" y="72"/>
                  </a:lnTo>
                  <a:lnTo>
                    <a:pt x="816" y="66"/>
                  </a:lnTo>
                  <a:lnTo>
                    <a:pt x="828" y="66"/>
                  </a:lnTo>
                  <a:lnTo>
                    <a:pt x="834" y="72"/>
                  </a:lnTo>
                  <a:lnTo>
                    <a:pt x="840" y="72"/>
                  </a:lnTo>
                  <a:lnTo>
                    <a:pt x="840" y="78"/>
                  </a:lnTo>
                  <a:lnTo>
                    <a:pt x="840" y="84"/>
                  </a:lnTo>
                  <a:lnTo>
                    <a:pt x="852" y="84"/>
                  </a:lnTo>
                  <a:lnTo>
                    <a:pt x="858" y="96"/>
                  </a:lnTo>
                  <a:lnTo>
                    <a:pt x="864" y="108"/>
                  </a:lnTo>
                  <a:lnTo>
                    <a:pt x="876" y="114"/>
                  </a:lnTo>
                  <a:lnTo>
                    <a:pt x="894" y="114"/>
                  </a:lnTo>
                  <a:lnTo>
                    <a:pt x="906" y="114"/>
                  </a:lnTo>
                  <a:lnTo>
                    <a:pt x="906" y="126"/>
                  </a:lnTo>
                  <a:lnTo>
                    <a:pt x="912" y="144"/>
                  </a:lnTo>
                  <a:lnTo>
                    <a:pt x="930" y="138"/>
                  </a:lnTo>
                  <a:lnTo>
                    <a:pt x="936" y="138"/>
                  </a:lnTo>
                  <a:lnTo>
                    <a:pt x="942" y="144"/>
                  </a:lnTo>
                  <a:lnTo>
                    <a:pt x="948" y="150"/>
                  </a:lnTo>
                  <a:lnTo>
                    <a:pt x="954" y="156"/>
                  </a:lnTo>
                  <a:lnTo>
                    <a:pt x="954" y="168"/>
                  </a:lnTo>
                  <a:lnTo>
                    <a:pt x="954" y="174"/>
                  </a:lnTo>
                  <a:lnTo>
                    <a:pt x="960" y="180"/>
                  </a:lnTo>
                  <a:lnTo>
                    <a:pt x="966" y="186"/>
                  </a:lnTo>
                  <a:lnTo>
                    <a:pt x="960" y="186"/>
                  </a:lnTo>
                  <a:lnTo>
                    <a:pt x="966" y="192"/>
                  </a:lnTo>
                  <a:lnTo>
                    <a:pt x="966" y="198"/>
                  </a:lnTo>
                  <a:lnTo>
                    <a:pt x="978" y="204"/>
                  </a:lnTo>
                  <a:lnTo>
                    <a:pt x="1050" y="186"/>
                  </a:lnTo>
                  <a:lnTo>
                    <a:pt x="1056" y="198"/>
                  </a:lnTo>
                  <a:lnTo>
                    <a:pt x="1068" y="210"/>
                  </a:lnTo>
                  <a:lnTo>
                    <a:pt x="1074" y="216"/>
                  </a:lnTo>
                  <a:lnTo>
                    <a:pt x="1080" y="252"/>
                  </a:lnTo>
                  <a:lnTo>
                    <a:pt x="1086" y="270"/>
                  </a:lnTo>
                  <a:lnTo>
                    <a:pt x="1092" y="282"/>
                  </a:lnTo>
                  <a:lnTo>
                    <a:pt x="1086" y="300"/>
                  </a:lnTo>
                  <a:lnTo>
                    <a:pt x="1074" y="330"/>
                  </a:lnTo>
                  <a:lnTo>
                    <a:pt x="1068" y="336"/>
                  </a:lnTo>
                  <a:lnTo>
                    <a:pt x="1062" y="348"/>
                  </a:lnTo>
                  <a:lnTo>
                    <a:pt x="1062" y="360"/>
                  </a:lnTo>
                  <a:lnTo>
                    <a:pt x="1068" y="378"/>
                  </a:lnTo>
                  <a:lnTo>
                    <a:pt x="1074" y="390"/>
                  </a:lnTo>
                  <a:lnTo>
                    <a:pt x="1068" y="396"/>
                  </a:lnTo>
                  <a:lnTo>
                    <a:pt x="1068" y="408"/>
                  </a:lnTo>
                  <a:lnTo>
                    <a:pt x="1062" y="414"/>
                  </a:lnTo>
                  <a:lnTo>
                    <a:pt x="1050" y="432"/>
                  </a:lnTo>
                  <a:lnTo>
                    <a:pt x="1044" y="450"/>
                  </a:lnTo>
                  <a:lnTo>
                    <a:pt x="1038" y="456"/>
                  </a:lnTo>
                  <a:lnTo>
                    <a:pt x="1026" y="468"/>
                  </a:lnTo>
                  <a:lnTo>
                    <a:pt x="1026" y="474"/>
                  </a:lnTo>
                  <a:lnTo>
                    <a:pt x="1026" y="480"/>
                  </a:lnTo>
                  <a:lnTo>
                    <a:pt x="1032" y="492"/>
                  </a:lnTo>
                  <a:lnTo>
                    <a:pt x="1044" y="504"/>
                  </a:lnTo>
                  <a:lnTo>
                    <a:pt x="1044" y="516"/>
                  </a:lnTo>
                  <a:lnTo>
                    <a:pt x="1038" y="528"/>
                  </a:lnTo>
                  <a:lnTo>
                    <a:pt x="1032" y="546"/>
                  </a:lnTo>
                  <a:lnTo>
                    <a:pt x="1032" y="570"/>
                  </a:lnTo>
                  <a:lnTo>
                    <a:pt x="1050" y="594"/>
                  </a:lnTo>
                  <a:lnTo>
                    <a:pt x="1056" y="624"/>
                  </a:lnTo>
                  <a:lnTo>
                    <a:pt x="1056" y="65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9" name="Freeform 24">
              <a:extLst>
                <a:ext uri="{FF2B5EF4-FFF2-40B4-BE49-F238E27FC236}">
                  <a16:creationId xmlns:a16="http://schemas.microsoft.com/office/drawing/2014/main" id="{CAE689DA-332A-4F73-BDE6-8865C9170AA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84829" y="3213406"/>
              <a:ext cx="851989" cy="744754"/>
            </a:xfrm>
            <a:custGeom>
              <a:avLst/>
              <a:gdLst>
                <a:gd name="T0" fmla="*/ 116 w 1602"/>
                <a:gd name="T1" fmla="*/ 91 h 1404"/>
                <a:gd name="T2" fmla="*/ 111 w 1602"/>
                <a:gd name="T3" fmla="*/ 95 h 1404"/>
                <a:gd name="T4" fmla="*/ 102 w 1602"/>
                <a:gd name="T5" fmla="*/ 101 h 1404"/>
                <a:gd name="T6" fmla="*/ 99 w 1602"/>
                <a:gd name="T7" fmla="*/ 103 h 1404"/>
                <a:gd name="T8" fmla="*/ 96 w 1602"/>
                <a:gd name="T9" fmla="*/ 106 h 1404"/>
                <a:gd name="T10" fmla="*/ 93 w 1602"/>
                <a:gd name="T11" fmla="*/ 108 h 1404"/>
                <a:gd name="T12" fmla="*/ 88 w 1602"/>
                <a:gd name="T13" fmla="*/ 106 h 1404"/>
                <a:gd name="T14" fmla="*/ 86 w 1602"/>
                <a:gd name="T15" fmla="*/ 108 h 1404"/>
                <a:gd name="T16" fmla="*/ 81 w 1602"/>
                <a:gd name="T17" fmla="*/ 119 h 1404"/>
                <a:gd name="T18" fmla="*/ 71 w 1602"/>
                <a:gd name="T19" fmla="*/ 109 h 1404"/>
                <a:gd name="T20" fmla="*/ 72 w 1602"/>
                <a:gd name="T21" fmla="*/ 101 h 1404"/>
                <a:gd name="T22" fmla="*/ 74 w 1602"/>
                <a:gd name="T23" fmla="*/ 93 h 1404"/>
                <a:gd name="T24" fmla="*/ 73 w 1602"/>
                <a:gd name="T25" fmla="*/ 82 h 1404"/>
                <a:gd name="T26" fmla="*/ 64 w 1602"/>
                <a:gd name="T27" fmla="*/ 79 h 1404"/>
                <a:gd name="T28" fmla="*/ 59 w 1602"/>
                <a:gd name="T29" fmla="*/ 75 h 1404"/>
                <a:gd name="T30" fmla="*/ 54 w 1602"/>
                <a:gd name="T31" fmla="*/ 71 h 1404"/>
                <a:gd name="T32" fmla="*/ 51 w 1602"/>
                <a:gd name="T33" fmla="*/ 70 h 1404"/>
                <a:gd name="T34" fmla="*/ 45 w 1602"/>
                <a:gd name="T35" fmla="*/ 71 h 1404"/>
                <a:gd name="T36" fmla="*/ 43 w 1602"/>
                <a:gd name="T37" fmla="*/ 68 h 1404"/>
                <a:gd name="T38" fmla="*/ 43 w 1602"/>
                <a:gd name="T39" fmla="*/ 64 h 1404"/>
                <a:gd name="T40" fmla="*/ 36 w 1602"/>
                <a:gd name="T41" fmla="*/ 66 h 1404"/>
                <a:gd name="T42" fmla="*/ 31 w 1602"/>
                <a:gd name="T43" fmla="*/ 55 h 1404"/>
                <a:gd name="T44" fmla="*/ 25 w 1602"/>
                <a:gd name="T45" fmla="*/ 53 h 1404"/>
                <a:gd name="T46" fmla="*/ 19 w 1602"/>
                <a:gd name="T47" fmla="*/ 51 h 1404"/>
                <a:gd name="T48" fmla="*/ 17 w 1602"/>
                <a:gd name="T49" fmla="*/ 43 h 1404"/>
                <a:gd name="T50" fmla="*/ 17 w 1602"/>
                <a:gd name="T51" fmla="*/ 39 h 1404"/>
                <a:gd name="T52" fmla="*/ 12 w 1602"/>
                <a:gd name="T53" fmla="*/ 39 h 1404"/>
                <a:gd name="T54" fmla="*/ 10 w 1602"/>
                <a:gd name="T55" fmla="*/ 35 h 1404"/>
                <a:gd name="T56" fmla="*/ 5 w 1602"/>
                <a:gd name="T57" fmla="*/ 30 h 1404"/>
                <a:gd name="T58" fmla="*/ 3 w 1602"/>
                <a:gd name="T59" fmla="*/ 27 h 1404"/>
                <a:gd name="T60" fmla="*/ 2 w 1602"/>
                <a:gd name="T61" fmla="*/ 25 h 1404"/>
                <a:gd name="T62" fmla="*/ 0 w 1602"/>
                <a:gd name="T63" fmla="*/ 22 h 1404"/>
                <a:gd name="T64" fmla="*/ 8 w 1602"/>
                <a:gd name="T65" fmla="*/ 14 h 1404"/>
                <a:gd name="T66" fmla="*/ 16 w 1602"/>
                <a:gd name="T67" fmla="*/ 16 h 1404"/>
                <a:gd name="T68" fmla="*/ 31 w 1602"/>
                <a:gd name="T69" fmla="*/ 18 h 1404"/>
                <a:gd name="T70" fmla="*/ 43 w 1602"/>
                <a:gd name="T71" fmla="*/ 17 h 1404"/>
                <a:gd name="T72" fmla="*/ 47 w 1602"/>
                <a:gd name="T73" fmla="*/ 6 h 1404"/>
                <a:gd name="T74" fmla="*/ 52 w 1602"/>
                <a:gd name="T75" fmla="*/ 0 h 1404"/>
                <a:gd name="T76" fmla="*/ 55 w 1602"/>
                <a:gd name="T77" fmla="*/ 3 h 1404"/>
                <a:gd name="T78" fmla="*/ 59 w 1602"/>
                <a:gd name="T79" fmla="*/ 9 h 1404"/>
                <a:gd name="T80" fmla="*/ 62 w 1602"/>
                <a:gd name="T81" fmla="*/ 16 h 1404"/>
                <a:gd name="T82" fmla="*/ 66 w 1602"/>
                <a:gd name="T83" fmla="*/ 20 h 1404"/>
                <a:gd name="T84" fmla="*/ 70 w 1602"/>
                <a:gd name="T85" fmla="*/ 25 h 1404"/>
                <a:gd name="T86" fmla="*/ 74 w 1602"/>
                <a:gd name="T87" fmla="*/ 30 h 1404"/>
                <a:gd name="T88" fmla="*/ 76 w 1602"/>
                <a:gd name="T89" fmla="*/ 27 h 1404"/>
                <a:gd name="T90" fmla="*/ 78 w 1602"/>
                <a:gd name="T91" fmla="*/ 27 h 1404"/>
                <a:gd name="T92" fmla="*/ 78 w 1602"/>
                <a:gd name="T93" fmla="*/ 23 h 1404"/>
                <a:gd name="T94" fmla="*/ 82 w 1602"/>
                <a:gd name="T95" fmla="*/ 20 h 1404"/>
                <a:gd name="T96" fmla="*/ 82 w 1602"/>
                <a:gd name="T97" fmla="*/ 18 h 1404"/>
                <a:gd name="T98" fmla="*/ 90 w 1602"/>
                <a:gd name="T99" fmla="*/ 24 h 1404"/>
                <a:gd name="T100" fmla="*/ 90 w 1602"/>
                <a:gd name="T101" fmla="*/ 45 h 1404"/>
                <a:gd name="T102" fmla="*/ 104 w 1602"/>
                <a:gd name="T103" fmla="*/ 41 h 1404"/>
                <a:gd name="T104" fmla="*/ 117 w 1602"/>
                <a:gd name="T105" fmla="*/ 39 h 1404"/>
                <a:gd name="T106" fmla="*/ 125 w 1602"/>
                <a:gd name="T107" fmla="*/ 39 h 1404"/>
                <a:gd name="T108" fmla="*/ 127 w 1602"/>
                <a:gd name="T109" fmla="*/ 43 h 1404"/>
                <a:gd name="T110" fmla="*/ 131 w 1602"/>
                <a:gd name="T111" fmla="*/ 53 h 1404"/>
                <a:gd name="T112" fmla="*/ 133 w 1602"/>
                <a:gd name="T113" fmla="*/ 60 h 1404"/>
                <a:gd name="T114" fmla="*/ 138 w 1602"/>
                <a:gd name="T115" fmla="*/ 73 h 1404"/>
                <a:gd name="T116" fmla="*/ 136 w 1602"/>
                <a:gd name="T117" fmla="*/ 80 h 1404"/>
                <a:gd name="T118" fmla="*/ 129 w 1602"/>
                <a:gd name="T119" fmla="*/ 87 h 1404"/>
                <a:gd name="T120" fmla="*/ 123 w 1602"/>
                <a:gd name="T121" fmla="*/ 95 h 14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02"/>
                <a:gd name="T184" fmla="*/ 0 h 1404"/>
                <a:gd name="T185" fmla="*/ 1602 w 1602"/>
                <a:gd name="T186" fmla="*/ 1404 h 14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02" h="1404">
                  <a:moveTo>
                    <a:pt x="1392" y="1080"/>
                  </a:moveTo>
                  <a:lnTo>
                    <a:pt x="1380" y="1074"/>
                  </a:lnTo>
                  <a:lnTo>
                    <a:pt x="1368" y="1056"/>
                  </a:lnTo>
                  <a:lnTo>
                    <a:pt x="1356" y="1044"/>
                  </a:lnTo>
                  <a:lnTo>
                    <a:pt x="1344" y="1038"/>
                  </a:lnTo>
                  <a:lnTo>
                    <a:pt x="1338" y="1038"/>
                  </a:lnTo>
                  <a:lnTo>
                    <a:pt x="1332" y="1038"/>
                  </a:lnTo>
                  <a:lnTo>
                    <a:pt x="1326" y="1044"/>
                  </a:lnTo>
                  <a:lnTo>
                    <a:pt x="1320" y="1044"/>
                  </a:lnTo>
                  <a:lnTo>
                    <a:pt x="1314" y="1044"/>
                  </a:lnTo>
                  <a:lnTo>
                    <a:pt x="1296" y="1056"/>
                  </a:lnTo>
                  <a:lnTo>
                    <a:pt x="1296" y="1080"/>
                  </a:lnTo>
                  <a:lnTo>
                    <a:pt x="1290" y="1080"/>
                  </a:lnTo>
                  <a:lnTo>
                    <a:pt x="1284" y="1086"/>
                  </a:lnTo>
                  <a:lnTo>
                    <a:pt x="1278" y="1086"/>
                  </a:lnTo>
                  <a:lnTo>
                    <a:pt x="1278" y="1092"/>
                  </a:lnTo>
                  <a:lnTo>
                    <a:pt x="1272" y="1092"/>
                  </a:lnTo>
                  <a:lnTo>
                    <a:pt x="1266" y="1086"/>
                  </a:lnTo>
                  <a:lnTo>
                    <a:pt x="1260" y="1086"/>
                  </a:lnTo>
                  <a:lnTo>
                    <a:pt x="1260" y="1098"/>
                  </a:lnTo>
                  <a:lnTo>
                    <a:pt x="1248" y="1098"/>
                  </a:lnTo>
                  <a:lnTo>
                    <a:pt x="1212" y="1116"/>
                  </a:lnTo>
                  <a:lnTo>
                    <a:pt x="1206" y="1158"/>
                  </a:lnTo>
                  <a:lnTo>
                    <a:pt x="1176" y="1164"/>
                  </a:lnTo>
                  <a:lnTo>
                    <a:pt x="1158" y="1164"/>
                  </a:lnTo>
                  <a:lnTo>
                    <a:pt x="1152" y="1164"/>
                  </a:lnTo>
                  <a:lnTo>
                    <a:pt x="1152" y="1170"/>
                  </a:lnTo>
                  <a:lnTo>
                    <a:pt x="1152" y="1176"/>
                  </a:lnTo>
                  <a:lnTo>
                    <a:pt x="1146" y="1176"/>
                  </a:lnTo>
                  <a:lnTo>
                    <a:pt x="1140" y="1176"/>
                  </a:lnTo>
                  <a:lnTo>
                    <a:pt x="1134" y="1182"/>
                  </a:lnTo>
                  <a:lnTo>
                    <a:pt x="1134" y="1188"/>
                  </a:lnTo>
                  <a:lnTo>
                    <a:pt x="1128" y="1194"/>
                  </a:lnTo>
                  <a:lnTo>
                    <a:pt x="1122" y="1194"/>
                  </a:lnTo>
                  <a:lnTo>
                    <a:pt x="1116" y="1194"/>
                  </a:lnTo>
                  <a:lnTo>
                    <a:pt x="1110" y="1200"/>
                  </a:lnTo>
                  <a:lnTo>
                    <a:pt x="1110" y="1206"/>
                  </a:lnTo>
                  <a:lnTo>
                    <a:pt x="1104" y="1212"/>
                  </a:lnTo>
                  <a:lnTo>
                    <a:pt x="1104" y="1218"/>
                  </a:lnTo>
                  <a:lnTo>
                    <a:pt x="1098" y="1224"/>
                  </a:lnTo>
                  <a:lnTo>
                    <a:pt x="1092" y="1230"/>
                  </a:lnTo>
                  <a:lnTo>
                    <a:pt x="1086" y="1230"/>
                  </a:lnTo>
                  <a:lnTo>
                    <a:pt x="1080" y="1230"/>
                  </a:lnTo>
                  <a:lnTo>
                    <a:pt x="1080" y="1242"/>
                  </a:lnTo>
                  <a:lnTo>
                    <a:pt x="1074" y="1242"/>
                  </a:lnTo>
                  <a:lnTo>
                    <a:pt x="1068" y="1242"/>
                  </a:lnTo>
                  <a:lnTo>
                    <a:pt x="1068" y="1236"/>
                  </a:lnTo>
                  <a:lnTo>
                    <a:pt x="1062" y="1242"/>
                  </a:lnTo>
                  <a:lnTo>
                    <a:pt x="1056" y="1236"/>
                  </a:lnTo>
                  <a:lnTo>
                    <a:pt x="1050" y="1242"/>
                  </a:lnTo>
                  <a:lnTo>
                    <a:pt x="1050" y="1236"/>
                  </a:lnTo>
                  <a:lnTo>
                    <a:pt x="1044" y="1194"/>
                  </a:lnTo>
                  <a:lnTo>
                    <a:pt x="1032" y="1194"/>
                  </a:lnTo>
                  <a:lnTo>
                    <a:pt x="1032" y="1200"/>
                  </a:lnTo>
                  <a:lnTo>
                    <a:pt x="1026" y="1200"/>
                  </a:lnTo>
                  <a:lnTo>
                    <a:pt x="1014" y="1218"/>
                  </a:lnTo>
                  <a:lnTo>
                    <a:pt x="1014" y="1224"/>
                  </a:lnTo>
                  <a:lnTo>
                    <a:pt x="1014" y="1236"/>
                  </a:lnTo>
                  <a:lnTo>
                    <a:pt x="1014" y="1242"/>
                  </a:lnTo>
                  <a:lnTo>
                    <a:pt x="1008" y="1242"/>
                  </a:lnTo>
                  <a:lnTo>
                    <a:pt x="1002" y="1236"/>
                  </a:lnTo>
                  <a:lnTo>
                    <a:pt x="1002" y="1230"/>
                  </a:lnTo>
                  <a:lnTo>
                    <a:pt x="996" y="1236"/>
                  </a:lnTo>
                  <a:lnTo>
                    <a:pt x="990" y="1236"/>
                  </a:lnTo>
                  <a:lnTo>
                    <a:pt x="990" y="1230"/>
                  </a:lnTo>
                  <a:lnTo>
                    <a:pt x="984" y="1236"/>
                  </a:lnTo>
                  <a:lnTo>
                    <a:pt x="978" y="1248"/>
                  </a:lnTo>
                  <a:lnTo>
                    <a:pt x="972" y="1254"/>
                  </a:lnTo>
                  <a:lnTo>
                    <a:pt x="966" y="1260"/>
                  </a:lnTo>
                  <a:lnTo>
                    <a:pt x="930" y="1284"/>
                  </a:lnTo>
                  <a:lnTo>
                    <a:pt x="942" y="1356"/>
                  </a:lnTo>
                  <a:lnTo>
                    <a:pt x="930" y="1368"/>
                  </a:lnTo>
                  <a:lnTo>
                    <a:pt x="852" y="1404"/>
                  </a:lnTo>
                  <a:lnTo>
                    <a:pt x="834" y="1392"/>
                  </a:lnTo>
                  <a:lnTo>
                    <a:pt x="834" y="1362"/>
                  </a:lnTo>
                  <a:lnTo>
                    <a:pt x="828" y="1332"/>
                  </a:lnTo>
                  <a:lnTo>
                    <a:pt x="810" y="1308"/>
                  </a:lnTo>
                  <a:lnTo>
                    <a:pt x="810" y="1284"/>
                  </a:lnTo>
                  <a:lnTo>
                    <a:pt x="816" y="1266"/>
                  </a:lnTo>
                  <a:lnTo>
                    <a:pt x="822" y="1254"/>
                  </a:lnTo>
                  <a:lnTo>
                    <a:pt x="822" y="1242"/>
                  </a:lnTo>
                  <a:lnTo>
                    <a:pt x="810" y="1230"/>
                  </a:lnTo>
                  <a:lnTo>
                    <a:pt x="804" y="1218"/>
                  </a:lnTo>
                  <a:lnTo>
                    <a:pt x="804" y="1212"/>
                  </a:lnTo>
                  <a:lnTo>
                    <a:pt x="804" y="1206"/>
                  </a:lnTo>
                  <a:lnTo>
                    <a:pt x="816" y="1194"/>
                  </a:lnTo>
                  <a:lnTo>
                    <a:pt x="822" y="1188"/>
                  </a:lnTo>
                  <a:lnTo>
                    <a:pt x="828" y="1170"/>
                  </a:lnTo>
                  <a:lnTo>
                    <a:pt x="840" y="1152"/>
                  </a:lnTo>
                  <a:lnTo>
                    <a:pt x="846" y="1146"/>
                  </a:lnTo>
                  <a:lnTo>
                    <a:pt x="846" y="1134"/>
                  </a:lnTo>
                  <a:lnTo>
                    <a:pt x="852" y="1128"/>
                  </a:lnTo>
                  <a:lnTo>
                    <a:pt x="846" y="1116"/>
                  </a:lnTo>
                  <a:lnTo>
                    <a:pt x="840" y="1098"/>
                  </a:lnTo>
                  <a:lnTo>
                    <a:pt x="840" y="1086"/>
                  </a:lnTo>
                  <a:lnTo>
                    <a:pt x="846" y="1074"/>
                  </a:lnTo>
                  <a:lnTo>
                    <a:pt x="852" y="1068"/>
                  </a:lnTo>
                  <a:lnTo>
                    <a:pt x="864" y="1038"/>
                  </a:lnTo>
                  <a:lnTo>
                    <a:pt x="870" y="1020"/>
                  </a:lnTo>
                  <a:lnTo>
                    <a:pt x="864" y="1008"/>
                  </a:lnTo>
                  <a:lnTo>
                    <a:pt x="858" y="990"/>
                  </a:lnTo>
                  <a:lnTo>
                    <a:pt x="852" y="954"/>
                  </a:lnTo>
                  <a:lnTo>
                    <a:pt x="846" y="948"/>
                  </a:lnTo>
                  <a:lnTo>
                    <a:pt x="834" y="936"/>
                  </a:lnTo>
                  <a:lnTo>
                    <a:pt x="828" y="924"/>
                  </a:lnTo>
                  <a:lnTo>
                    <a:pt x="756" y="942"/>
                  </a:lnTo>
                  <a:lnTo>
                    <a:pt x="744" y="936"/>
                  </a:lnTo>
                  <a:lnTo>
                    <a:pt x="744" y="930"/>
                  </a:lnTo>
                  <a:lnTo>
                    <a:pt x="738" y="924"/>
                  </a:lnTo>
                  <a:lnTo>
                    <a:pt x="744" y="924"/>
                  </a:lnTo>
                  <a:lnTo>
                    <a:pt x="738" y="918"/>
                  </a:lnTo>
                  <a:lnTo>
                    <a:pt x="732" y="912"/>
                  </a:lnTo>
                  <a:lnTo>
                    <a:pt x="732" y="906"/>
                  </a:lnTo>
                  <a:lnTo>
                    <a:pt x="732" y="894"/>
                  </a:lnTo>
                  <a:lnTo>
                    <a:pt x="726" y="888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6"/>
                  </a:lnTo>
                  <a:lnTo>
                    <a:pt x="690" y="882"/>
                  </a:lnTo>
                  <a:lnTo>
                    <a:pt x="684" y="864"/>
                  </a:lnTo>
                  <a:lnTo>
                    <a:pt x="684" y="852"/>
                  </a:lnTo>
                  <a:lnTo>
                    <a:pt x="672" y="852"/>
                  </a:lnTo>
                  <a:lnTo>
                    <a:pt x="654" y="852"/>
                  </a:lnTo>
                  <a:lnTo>
                    <a:pt x="642" y="846"/>
                  </a:lnTo>
                  <a:lnTo>
                    <a:pt x="636" y="834"/>
                  </a:lnTo>
                  <a:lnTo>
                    <a:pt x="630" y="822"/>
                  </a:lnTo>
                  <a:lnTo>
                    <a:pt x="618" y="822"/>
                  </a:lnTo>
                  <a:lnTo>
                    <a:pt x="618" y="816"/>
                  </a:lnTo>
                  <a:lnTo>
                    <a:pt x="618" y="810"/>
                  </a:lnTo>
                  <a:lnTo>
                    <a:pt x="612" y="810"/>
                  </a:lnTo>
                  <a:lnTo>
                    <a:pt x="606" y="804"/>
                  </a:lnTo>
                  <a:lnTo>
                    <a:pt x="594" y="804"/>
                  </a:lnTo>
                  <a:lnTo>
                    <a:pt x="588" y="810"/>
                  </a:lnTo>
                  <a:lnTo>
                    <a:pt x="588" y="804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70" y="810"/>
                  </a:lnTo>
                  <a:lnTo>
                    <a:pt x="564" y="816"/>
                  </a:lnTo>
                  <a:lnTo>
                    <a:pt x="558" y="816"/>
                  </a:lnTo>
                  <a:lnTo>
                    <a:pt x="552" y="822"/>
                  </a:lnTo>
                  <a:lnTo>
                    <a:pt x="546" y="828"/>
                  </a:lnTo>
                  <a:lnTo>
                    <a:pt x="546" y="834"/>
                  </a:lnTo>
                  <a:lnTo>
                    <a:pt x="528" y="834"/>
                  </a:lnTo>
                  <a:lnTo>
                    <a:pt x="516" y="822"/>
                  </a:lnTo>
                  <a:lnTo>
                    <a:pt x="504" y="822"/>
                  </a:lnTo>
                  <a:lnTo>
                    <a:pt x="492" y="82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6" y="792"/>
                  </a:lnTo>
                  <a:lnTo>
                    <a:pt x="492" y="786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504" y="780"/>
                  </a:lnTo>
                  <a:lnTo>
                    <a:pt x="510" y="780"/>
                  </a:lnTo>
                  <a:lnTo>
                    <a:pt x="522" y="768"/>
                  </a:lnTo>
                  <a:lnTo>
                    <a:pt x="522" y="762"/>
                  </a:lnTo>
                  <a:lnTo>
                    <a:pt x="504" y="756"/>
                  </a:lnTo>
                  <a:lnTo>
                    <a:pt x="498" y="756"/>
                  </a:lnTo>
                  <a:lnTo>
                    <a:pt x="498" y="744"/>
                  </a:lnTo>
                  <a:lnTo>
                    <a:pt x="492" y="738"/>
                  </a:lnTo>
                  <a:lnTo>
                    <a:pt x="480" y="738"/>
                  </a:lnTo>
                  <a:lnTo>
                    <a:pt x="474" y="738"/>
                  </a:lnTo>
                  <a:lnTo>
                    <a:pt x="456" y="738"/>
                  </a:lnTo>
                  <a:lnTo>
                    <a:pt x="438" y="738"/>
                  </a:lnTo>
                  <a:lnTo>
                    <a:pt x="432" y="750"/>
                  </a:lnTo>
                  <a:lnTo>
                    <a:pt x="426" y="756"/>
                  </a:lnTo>
                  <a:lnTo>
                    <a:pt x="426" y="762"/>
                  </a:lnTo>
                  <a:lnTo>
                    <a:pt x="420" y="762"/>
                  </a:lnTo>
                  <a:lnTo>
                    <a:pt x="408" y="744"/>
                  </a:lnTo>
                  <a:lnTo>
                    <a:pt x="408" y="732"/>
                  </a:lnTo>
                  <a:lnTo>
                    <a:pt x="390" y="714"/>
                  </a:lnTo>
                  <a:lnTo>
                    <a:pt x="384" y="702"/>
                  </a:lnTo>
                  <a:lnTo>
                    <a:pt x="384" y="690"/>
                  </a:lnTo>
                  <a:lnTo>
                    <a:pt x="372" y="690"/>
                  </a:lnTo>
                  <a:lnTo>
                    <a:pt x="366" y="660"/>
                  </a:lnTo>
                  <a:lnTo>
                    <a:pt x="354" y="630"/>
                  </a:lnTo>
                  <a:lnTo>
                    <a:pt x="348" y="630"/>
                  </a:lnTo>
                  <a:lnTo>
                    <a:pt x="336" y="630"/>
                  </a:lnTo>
                  <a:lnTo>
                    <a:pt x="330" y="630"/>
                  </a:lnTo>
                  <a:lnTo>
                    <a:pt x="318" y="630"/>
                  </a:lnTo>
                  <a:lnTo>
                    <a:pt x="312" y="624"/>
                  </a:lnTo>
                  <a:lnTo>
                    <a:pt x="306" y="624"/>
                  </a:lnTo>
                  <a:lnTo>
                    <a:pt x="294" y="618"/>
                  </a:lnTo>
                  <a:lnTo>
                    <a:pt x="288" y="612"/>
                  </a:lnTo>
                  <a:lnTo>
                    <a:pt x="276" y="600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58" y="588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8"/>
                  </a:lnTo>
                  <a:lnTo>
                    <a:pt x="216" y="582"/>
                  </a:lnTo>
                  <a:lnTo>
                    <a:pt x="210" y="588"/>
                  </a:lnTo>
                  <a:lnTo>
                    <a:pt x="198" y="582"/>
                  </a:lnTo>
                  <a:lnTo>
                    <a:pt x="180" y="582"/>
                  </a:lnTo>
                  <a:lnTo>
                    <a:pt x="174" y="552"/>
                  </a:lnTo>
                  <a:lnTo>
                    <a:pt x="168" y="504"/>
                  </a:lnTo>
                  <a:lnTo>
                    <a:pt x="186" y="504"/>
                  </a:lnTo>
                  <a:lnTo>
                    <a:pt x="192" y="504"/>
                  </a:lnTo>
                  <a:lnTo>
                    <a:pt x="192" y="498"/>
                  </a:lnTo>
                  <a:lnTo>
                    <a:pt x="192" y="492"/>
                  </a:lnTo>
                  <a:lnTo>
                    <a:pt x="192" y="486"/>
                  </a:lnTo>
                  <a:lnTo>
                    <a:pt x="198" y="486"/>
                  </a:lnTo>
                  <a:lnTo>
                    <a:pt x="198" y="480"/>
                  </a:lnTo>
                  <a:lnTo>
                    <a:pt x="204" y="474"/>
                  </a:lnTo>
                  <a:lnTo>
                    <a:pt x="210" y="468"/>
                  </a:lnTo>
                  <a:lnTo>
                    <a:pt x="198" y="462"/>
                  </a:lnTo>
                  <a:lnTo>
                    <a:pt x="192" y="444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32"/>
                  </a:lnTo>
                  <a:lnTo>
                    <a:pt x="168" y="438"/>
                  </a:lnTo>
                  <a:lnTo>
                    <a:pt x="150" y="450"/>
                  </a:lnTo>
                  <a:lnTo>
                    <a:pt x="144" y="456"/>
                  </a:lnTo>
                  <a:lnTo>
                    <a:pt x="132" y="456"/>
                  </a:lnTo>
                  <a:lnTo>
                    <a:pt x="126" y="468"/>
                  </a:lnTo>
                  <a:lnTo>
                    <a:pt x="114" y="468"/>
                  </a:lnTo>
                  <a:lnTo>
                    <a:pt x="108" y="468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14"/>
                  </a:lnTo>
                  <a:lnTo>
                    <a:pt x="108" y="396"/>
                  </a:lnTo>
                  <a:lnTo>
                    <a:pt x="120" y="396"/>
                  </a:lnTo>
                  <a:lnTo>
                    <a:pt x="126" y="384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84" y="354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0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60" y="318"/>
                  </a:lnTo>
                  <a:lnTo>
                    <a:pt x="42" y="324"/>
                  </a:lnTo>
                  <a:lnTo>
                    <a:pt x="36" y="318"/>
                  </a:lnTo>
                  <a:lnTo>
                    <a:pt x="36" y="312"/>
                  </a:lnTo>
                  <a:lnTo>
                    <a:pt x="36" y="306"/>
                  </a:lnTo>
                  <a:lnTo>
                    <a:pt x="36" y="300"/>
                  </a:lnTo>
                  <a:lnTo>
                    <a:pt x="30" y="300"/>
                  </a:lnTo>
                  <a:lnTo>
                    <a:pt x="30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24" y="276"/>
                  </a:lnTo>
                  <a:lnTo>
                    <a:pt x="18" y="276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18" y="234"/>
                  </a:lnTo>
                  <a:lnTo>
                    <a:pt x="30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42" y="192"/>
                  </a:lnTo>
                  <a:lnTo>
                    <a:pt x="66" y="186"/>
                  </a:lnTo>
                  <a:lnTo>
                    <a:pt x="90" y="156"/>
                  </a:lnTo>
                  <a:lnTo>
                    <a:pt x="102" y="144"/>
                  </a:lnTo>
                  <a:lnTo>
                    <a:pt x="138" y="150"/>
                  </a:lnTo>
                  <a:lnTo>
                    <a:pt x="162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0" y="180"/>
                  </a:lnTo>
                  <a:lnTo>
                    <a:pt x="174" y="180"/>
                  </a:lnTo>
                  <a:lnTo>
                    <a:pt x="180" y="186"/>
                  </a:lnTo>
                  <a:lnTo>
                    <a:pt x="186" y="186"/>
                  </a:lnTo>
                  <a:lnTo>
                    <a:pt x="198" y="192"/>
                  </a:lnTo>
                  <a:lnTo>
                    <a:pt x="216" y="198"/>
                  </a:lnTo>
                  <a:lnTo>
                    <a:pt x="252" y="204"/>
                  </a:lnTo>
                  <a:lnTo>
                    <a:pt x="258" y="210"/>
                  </a:lnTo>
                  <a:lnTo>
                    <a:pt x="306" y="216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84" y="210"/>
                  </a:lnTo>
                  <a:lnTo>
                    <a:pt x="408" y="222"/>
                  </a:lnTo>
                  <a:lnTo>
                    <a:pt x="438" y="228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86" y="222"/>
                  </a:lnTo>
                  <a:lnTo>
                    <a:pt x="492" y="210"/>
                  </a:lnTo>
                  <a:lnTo>
                    <a:pt x="492" y="198"/>
                  </a:lnTo>
                  <a:lnTo>
                    <a:pt x="486" y="180"/>
                  </a:lnTo>
                  <a:lnTo>
                    <a:pt x="492" y="162"/>
                  </a:lnTo>
                  <a:lnTo>
                    <a:pt x="510" y="96"/>
                  </a:lnTo>
                  <a:lnTo>
                    <a:pt x="516" y="84"/>
                  </a:lnTo>
                  <a:lnTo>
                    <a:pt x="522" y="84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34" y="72"/>
                  </a:lnTo>
                  <a:lnTo>
                    <a:pt x="534" y="60"/>
                  </a:lnTo>
                  <a:lnTo>
                    <a:pt x="540" y="36"/>
                  </a:lnTo>
                  <a:lnTo>
                    <a:pt x="546" y="6"/>
                  </a:lnTo>
                  <a:lnTo>
                    <a:pt x="558" y="6"/>
                  </a:lnTo>
                  <a:lnTo>
                    <a:pt x="564" y="0"/>
                  </a:lnTo>
                  <a:lnTo>
                    <a:pt x="582" y="0"/>
                  </a:lnTo>
                  <a:lnTo>
                    <a:pt x="588" y="0"/>
                  </a:lnTo>
                  <a:lnTo>
                    <a:pt x="594" y="6"/>
                  </a:lnTo>
                  <a:lnTo>
                    <a:pt x="600" y="12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24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36" y="36"/>
                  </a:lnTo>
                  <a:lnTo>
                    <a:pt x="642" y="36"/>
                  </a:lnTo>
                  <a:lnTo>
                    <a:pt x="642" y="42"/>
                  </a:lnTo>
                  <a:lnTo>
                    <a:pt x="648" y="54"/>
                  </a:lnTo>
                  <a:lnTo>
                    <a:pt x="660" y="72"/>
                  </a:lnTo>
                  <a:lnTo>
                    <a:pt x="666" y="78"/>
                  </a:lnTo>
                  <a:lnTo>
                    <a:pt x="672" y="90"/>
                  </a:lnTo>
                  <a:lnTo>
                    <a:pt x="678" y="102"/>
                  </a:lnTo>
                  <a:lnTo>
                    <a:pt x="678" y="114"/>
                  </a:lnTo>
                  <a:lnTo>
                    <a:pt x="684" y="132"/>
                  </a:lnTo>
                  <a:lnTo>
                    <a:pt x="684" y="144"/>
                  </a:lnTo>
                  <a:lnTo>
                    <a:pt x="690" y="162"/>
                  </a:lnTo>
                  <a:lnTo>
                    <a:pt x="696" y="168"/>
                  </a:lnTo>
                  <a:lnTo>
                    <a:pt x="696" y="180"/>
                  </a:lnTo>
                  <a:lnTo>
                    <a:pt x="702" y="186"/>
                  </a:lnTo>
                  <a:lnTo>
                    <a:pt x="708" y="186"/>
                  </a:lnTo>
                  <a:lnTo>
                    <a:pt x="714" y="198"/>
                  </a:lnTo>
                  <a:lnTo>
                    <a:pt x="720" y="198"/>
                  </a:lnTo>
                  <a:lnTo>
                    <a:pt x="732" y="204"/>
                  </a:lnTo>
                  <a:lnTo>
                    <a:pt x="738" y="210"/>
                  </a:lnTo>
                  <a:lnTo>
                    <a:pt x="738" y="216"/>
                  </a:lnTo>
                  <a:lnTo>
                    <a:pt x="744" y="222"/>
                  </a:lnTo>
                  <a:lnTo>
                    <a:pt x="750" y="228"/>
                  </a:lnTo>
                  <a:lnTo>
                    <a:pt x="756" y="228"/>
                  </a:lnTo>
                  <a:lnTo>
                    <a:pt x="768" y="240"/>
                  </a:lnTo>
                  <a:lnTo>
                    <a:pt x="774" y="252"/>
                  </a:lnTo>
                  <a:lnTo>
                    <a:pt x="780" y="258"/>
                  </a:lnTo>
                  <a:lnTo>
                    <a:pt x="786" y="258"/>
                  </a:lnTo>
                  <a:lnTo>
                    <a:pt x="798" y="264"/>
                  </a:lnTo>
                  <a:lnTo>
                    <a:pt x="798" y="270"/>
                  </a:lnTo>
                  <a:lnTo>
                    <a:pt x="798" y="276"/>
                  </a:lnTo>
                  <a:lnTo>
                    <a:pt x="810" y="288"/>
                  </a:lnTo>
                  <a:lnTo>
                    <a:pt x="816" y="288"/>
                  </a:lnTo>
                  <a:lnTo>
                    <a:pt x="816" y="300"/>
                  </a:lnTo>
                  <a:lnTo>
                    <a:pt x="816" y="306"/>
                  </a:lnTo>
                  <a:lnTo>
                    <a:pt x="822" y="318"/>
                  </a:lnTo>
                  <a:lnTo>
                    <a:pt x="828" y="324"/>
                  </a:lnTo>
                  <a:lnTo>
                    <a:pt x="834" y="330"/>
                  </a:lnTo>
                  <a:lnTo>
                    <a:pt x="846" y="336"/>
                  </a:lnTo>
                  <a:lnTo>
                    <a:pt x="846" y="342"/>
                  </a:lnTo>
                  <a:lnTo>
                    <a:pt x="852" y="348"/>
                  </a:lnTo>
                  <a:lnTo>
                    <a:pt x="852" y="354"/>
                  </a:lnTo>
                  <a:lnTo>
                    <a:pt x="858" y="354"/>
                  </a:lnTo>
                  <a:lnTo>
                    <a:pt x="858" y="348"/>
                  </a:lnTo>
                  <a:lnTo>
                    <a:pt x="864" y="342"/>
                  </a:lnTo>
                  <a:lnTo>
                    <a:pt x="864" y="336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76" y="306"/>
                  </a:lnTo>
                  <a:lnTo>
                    <a:pt x="870" y="300"/>
                  </a:lnTo>
                  <a:lnTo>
                    <a:pt x="870" y="294"/>
                  </a:lnTo>
                  <a:lnTo>
                    <a:pt x="876" y="294"/>
                  </a:lnTo>
                  <a:lnTo>
                    <a:pt x="882" y="300"/>
                  </a:lnTo>
                  <a:lnTo>
                    <a:pt x="888" y="300"/>
                  </a:lnTo>
                  <a:lnTo>
                    <a:pt x="888" y="306"/>
                  </a:lnTo>
                  <a:lnTo>
                    <a:pt x="894" y="300"/>
                  </a:lnTo>
                  <a:lnTo>
                    <a:pt x="900" y="294"/>
                  </a:lnTo>
                  <a:lnTo>
                    <a:pt x="894" y="288"/>
                  </a:lnTo>
                  <a:lnTo>
                    <a:pt x="888" y="282"/>
                  </a:lnTo>
                  <a:lnTo>
                    <a:pt x="888" y="276"/>
                  </a:lnTo>
                  <a:lnTo>
                    <a:pt x="894" y="276"/>
                  </a:lnTo>
                  <a:lnTo>
                    <a:pt x="900" y="276"/>
                  </a:lnTo>
                  <a:lnTo>
                    <a:pt x="900" y="270"/>
                  </a:lnTo>
                  <a:lnTo>
                    <a:pt x="906" y="264"/>
                  </a:lnTo>
                  <a:lnTo>
                    <a:pt x="906" y="258"/>
                  </a:lnTo>
                  <a:lnTo>
                    <a:pt x="918" y="264"/>
                  </a:lnTo>
                  <a:lnTo>
                    <a:pt x="918" y="258"/>
                  </a:lnTo>
                  <a:lnTo>
                    <a:pt x="924" y="252"/>
                  </a:lnTo>
                  <a:lnTo>
                    <a:pt x="930" y="252"/>
                  </a:lnTo>
                  <a:lnTo>
                    <a:pt x="930" y="246"/>
                  </a:lnTo>
                  <a:lnTo>
                    <a:pt x="936" y="234"/>
                  </a:lnTo>
                  <a:lnTo>
                    <a:pt x="942" y="228"/>
                  </a:lnTo>
                  <a:lnTo>
                    <a:pt x="942" y="222"/>
                  </a:lnTo>
                  <a:lnTo>
                    <a:pt x="948" y="222"/>
                  </a:lnTo>
                  <a:lnTo>
                    <a:pt x="948" y="216"/>
                  </a:lnTo>
                  <a:lnTo>
                    <a:pt x="942" y="216"/>
                  </a:lnTo>
                  <a:lnTo>
                    <a:pt x="936" y="216"/>
                  </a:lnTo>
                  <a:lnTo>
                    <a:pt x="936" y="210"/>
                  </a:lnTo>
                  <a:lnTo>
                    <a:pt x="942" y="210"/>
                  </a:lnTo>
                  <a:lnTo>
                    <a:pt x="972" y="210"/>
                  </a:lnTo>
                  <a:lnTo>
                    <a:pt x="1032" y="216"/>
                  </a:lnTo>
                  <a:lnTo>
                    <a:pt x="1068" y="216"/>
                  </a:lnTo>
                  <a:lnTo>
                    <a:pt x="1056" y="234"/>
                  </a:lnTo>
                  <a:lnTo>
                    <a:pt x="1050" y="240"/>
                  </a:lnTo>
                  <a:lnTo>
                    <a:pt x="1044" y="246"/>
                  </a:lnTo>
                  <a:lnTo>
                    <a:pt x="1038" y="246"/>
                  </a:lnTo>
                  <a:lnTo>
                    <a:pt x="1026" y="282"/>
                  </a:lnTo>
                  <a:lnTo>
                    <a:pt x="1032" y="306"/>
                  </a:lnTo>
                  <a:lnTo>
                    <a:pt x="1044" y="324"/>
                  </a:lnTo>
                  <a:lnTo>
                    <a:pt x="1044" y="342"/>
                  </a:lnTo>
                  <a:lnTo>
                    <a:pt x="1062" y="366"/>
                  </a:lnTo>
                  <a:lnTo>
                    <a:pt x="1056" y="396"/>
                  </a:lnTo>
                  <a:lnTo>
                    <a:pt x="1038" y="462"/>
                  </a:lnTo>
                  <a:lnTo>
                    <a:pt x="1038" y="498"/>
                  </a:lnTo>
                  <a:lnTo>
                    <a:pt x="1038" y="522"/>
                  </a:lnTo>
                  <a:lnTo>
                    <a:pt x="1038" y="534"/>
                  </a:lnTo>
                  <a:lnTo>
                    <a:pt x="1056" y="522"/>
                  </a:lnTo>
                  <a:lnTo>
                    <a:pt x="1098" y="504"/>
                  </a:lnTo>
                  <a:lnTo>
                    <a:pt x="1104" y="498"/>
                  </a:lnTo>
                  <a:lnTo>
                    <a:pt x="1128" y="492"/>
                  </a:lnTo>
                  <a:lnTo>
                    <a:pt x="1152" y="480"/>
                  </a:lnTo>
                  <a:lnTo>
                    <a:pt x="1170" y="474"/>
                  </a:lnTo>
                  <a:lnTo>
                    <a:pt x="1188" y="468"/>
                  </a:lnTo>
                  <a:lnTo>
                    <a:pt x="1200" y="462"/>
                  </a:lnTo>
                  <a:lnTo>
                    <a:pt x="1224" y="450"/>
                  </a:lnTo>
                  <a:lnTo>
                    <a:pt x="1248" y="450"/>
                  </a:lnTo>
                  <a:lnTo>
                    <a:pt x="1266" y="450"/>
                  </a:lnTo>
                  <a:lnTo>
                    <a:pt x="1296" y="456"/>
                  </a:lnTo>
                  <a:lnTo>
                    <a:pt x="1308" y="456"/>
                  </a:lnTo>
                  <a:lnTo>
                    <a:pt x="1326" y="456"/>
                  </a:lnTo>
                  <a:lnTo>
                    <a:pt x="1338" y="456"/>
                  </a:lnTo>
                  <a:lnTo>
                    <a:pt x="1350" y="462"/>
                  </a:lnTo>
                  <a:lnTo>
                    <a:pt x="1356" y="462"/>
                  </a:lnTo>
                  <a:lnTo>
                    <a:pt x="1374" y="456"/>
                  </a:lnTo>
                  <a:lnTo>
                    <a:pt x="1386" y="456"/>
                  </a:lnTo>
                  <a:lnTo>
                    <a:pt x="1392" y="456"/>
                  </a:lnTo>
                  <a:lnTo>
                    <a:pt x="1398" y="456"/>
                  </a:lnTo>
                  <a:lnTo>
                    <a:pt x="1422" y="456"/>
                  </a:lnTo>
                  <a:lnTo>
                    <a:pt x="1440" y="456"/>
                  </a:lnTo>
                  <a:lnTo>
                    <a:pt x="1446" y="456"/>
                  </a:lnTo>
                  <a:lnTo>
                    <a:pt x="1476" y="456"/>
                  </a:lnTo>
                  <a:lnTo>
                    <a:pt x="1470" y="468"/>
                  </a:lnTo>
                  <a:lnTo>
                    <a:pt x="1470" y="474"/>
                  </a:lnTo>
                  <a:lnTo>
                    <a:pt x="1470" y="486"/>
                  </a:lnTo>
                  <a:lnTo>
                    <a:pt x="1464" y="492"/>
                  </a:lnTo>
                  <a:lnTo>
                    <a:pt x="1464" y="498"/>
                  </a:lnTo>
                  <a:lnTo>
                    <a:pt x="1458" y="498"/>
                  </a:lnTo>
                  <a:lnTo>
                    <a:pt x="1458" y="510"/>
                  </a:lnTo>
                  <a:lnTo>
                    <a:pt x="1452" y="522"/>
                  </a:lnTo>
                  <a:lnTo>
                    <a:pt x="1458" y="528"/>
                  </a:lnTo>
                  <a:lnTo>
                    <a:pt x="1464" y="546"/>
                  </a:lnTo>
                  <a:lnTo>
                    <a:pt x="1470" y="552"/>
                  </a:lnTo>
                  <a:lnTo>
                    <a:pt x="1476" y="564"/>
                  </a:lnTo>
                  <a:lnTo>
                    <a:pt x="1488" y="588"/>
                  </a:lnTo>
                  <a:lnTo>
                    <a:pt x="1506" y="606"/>
                  </a:lnTo>
                  <a:lnTo>
                    <a:pt x="1506" y="612"/>
                  </a:lnTo>
                  <a:lnTo>
                    <a:pt x="1518" y="618"/>
                  </a:lnTo>
                  <a:lnTo>
                    <a:pt x="1512" y="630"/>
                  </a:lnTo>
                  <a:lnTo>
                    <a:pt x="1518" y="642"/>
                  </a:lnTo>
                  <a:lnTo>
                    <a:pt x="1518" y="648"/>
                  </a:lnTo>
                  <a:lnTo>
                    <a:pt x="1530" y="666"/>
                  </a:lnTo>
                  <a:lnTo>
                    <a:pt x="1518" y="672"/>
                  </a:lnTo>
                  <a:lnTo>
                    <a:pt x="1524" y="696"/>
                  </a:lnTo>
                  <a:lnTo>
                    <a:pt x="1518" y="732"/>
                  </a:lnTo>
                  <a:lnTo>
                    <a:pt x="1524" y="762"/>
                  </a:lnTo>
                  <a:lnTo>
                    <a:pt x="1524" y="780"/>
                  </a:lnTo>
                  <a:lnTo>
                    <a:pt x="1524" y="810"/>
                  </a:lnTo>
                  <a:lnTo>
                    <a:pt x="1530" y="834"/>
                  </a:lnTo>
                  <a:lnTo>
                    <a:pt x="1536" y="846"/>
                  </a:lnTo>
                  <a:lnTo>
                    <a:pt x="1542" y="846"/>
                  </a:lnTo>
                  <a:lnTo>
                    <a:pt x="1584" y="840"/>
                  </a:lnTo>
                  <a:lnTo>
                    <a:pt x="1590" y="846"/>
                  </a:lnTo>
                  <a:lnTo>
                    <a:pt x="1596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90" y="864"/>
                  </a:lnTo>
                  <a:lnTo>
                    <a:pt x="1578" y="882"/>
                  </a:lnTo>
                  <a:lnTo>
                    <a:pt x="1572" y="906"/>
                  </a:lnTo>
                  <a:lnTo>
                    <a:pt x="1560" y="924"/>
                  </a:lnTo>
                  <a:lnTo>
                    <a:pt x="1560" y="936"/>
                  </a:lnTo>
                  <a:lnTo>
                    <a:pt x="1548" y="960"/>
                  </a:lnTo>
                  <a:lnTo>
                    <a:pt x="1542" y="978"/>
                  </a:lnTo>
                  <a:lnTo>
                    <a:pt x="1536" y="990"/>
                  </a:lnTo>
                  <a:lnTo>
                    <a:pt x="1530" y="990"/>
                  </a:lnTo>
                  <a:lnTo>
                    <a:pt x="1506" y="996"/>
                  </a:lnTo>
                  <a:lnTo>
                    <a:pt x="1494" y="1002"/>
                  </a:lnTo>
                  <a:lnTo>
                    <a:pt x="1482" y="1002"/>
                  </a:lnTo>
                  <a:lnTo>
                    <a:pt x="1464" y="1008"/>
                  </a:lnTo>
                  <a:lnTo>
                    <a:pt x="1446" y="1026"/>
                  </a:lnTo>
                  <a:lnTo>
                    <a:pt x="1440" y="1026"/>
                  </a:lnTo>
                  <a:lnTo>
                    <a:pt x="1434" y="1038"/>
                  </a:lnTo>
                  <a:lnTo>
                    <a:pt x="1428" y="1044"/>
                  </a:lnTo>
                  <a:lnTo>
                    <a:pt x="1428" y="1062"/>
                  </a:lnTo>
                  <a:lnTo>
                    <a:pt x="1428" y="1086"/>
                  </a:lnTo>
                  <a:lnTo>
                    <a:pt x="1416" y="1092"/>
                  </a:lnTo>
                  <a:lnTo>
                    <a:pt x="1410" y="1080"/>
                  </a:lnTo>
                  <a:lnTo>
                    <a:pt x="1392" y="108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0" name="Freeform 25">
              <a:extLst>
                <a:ext uri="{FF2B5EF4-FFF2-40B4-BE49-F238E27FC236}">
                  <a16:creationId xmlns:a16="http://schemas.microsoft.com/office/drawing/2014/main" id="{39FDFF90-5ACF-4D65-81AD-C44D2CBE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70228" y="3063559"/>
              <a:ext cx="644023" cy="704498"/>
            </a:xfrm>
            <a:custGeom>
              <a:avLst/>
              <a:gdLst>
                <a:gd name="T0" fmla="*/ 74 w 1212"/>
                <a:gd name="T1" fmla="*/ 113 h 1326"/>
                <a:gd name="T2" fmla="*/ 60 w 1212"/>
                <a:gd name="T3" fmla="*/ 116 h 1326"/>
                <a:gd name="T4" fmla="*/ 62 w 1212"/>
                <a:gd name="T5" fmla="*/ 110 h 1326"/>
                <a:gd name="T6" fmla="*/ 60 w 1212"/>
                <a:gd name="T7" fmla="*/ 105 h 1326"/>
                <a:gd name="T8" fmla="*/ 52 w 1212"/>
                <a:gd name="T9" fmla="*/ 96 h 1326"/>
                <a:gd name="T10" fmla="*/ 47 w 1212"/>
                <a:gd name="T11" fmla="*/ 98 h 1326"/>
                <a:gd name="T12" fmla="*/ 44 w 1212"/>
                <a:gd name="T13" fmla="*/ 93 h 1326"/>
                <a:gd name="T14" fmla="*/ 40 w 1212"/>
                <a:gd name="T15" fmla="*/ 96 h 1326"/>
                <a:gd name="T16" fmla="*/ 35 w 1212"/>
                <a:gd name="T17" fmla="*/ 102 h 1326"/>
                <a:gd name="T18" fmla="*/ 27 w 1212"/>
                <a:gd name="T19" fmla="*/ 100 h 1326"/>
                <a:gd name="T20" fmla="*/ 23 w 1212"/>
                <a:gd name="T21" fmla="*/ 96 h 1326"/>
                <a:gd name="T22" fmla="*/ 20 w 1212"/>
                <a:gd name="T23" fmla="*/ 90 h 1326"/>
                <a:gd name="T24" fmla="*/ 18 w 1212"/>
                <a:gd name="T25" fmla="*/ 89 h 1326"/>
                <a:gd name="T26" fmla="*/ 18 w 1212"/>
                <a:gd name="T27" fmla="*/ 85 h 1326"/>
                <a:gd name="T28" fmla="*/ 19 w 1212"/>
                <a:gd name="T29" fmla="*/ 83 h 1326"/>
                <a:gd name="T30" fmla="*/ 19 w 1212"/>
                <a:gd name="T31" fmla="*/ 82 h 1326"/>
                <a:gd name="T32" fmla="*/ 20 w 1212"/>
                <a:gd name="T33" fmla="*/ 79 h 1326"/>
                <a:gd name="T34" fmla="*/ 19 w 1212"/>
                <a:gd name="T35" fmla="*/ 75 h 1326"/>
                <a:gd name="T36" fmla="*/ 17 w 1212"/>
                <a:gd name="T37" fmla="*/ 77 h 1326"/>
                <a:gd name="T38" fmla="*/ 14 w 1212"/>
                <a:gd name="T39" fmla="*/ 76 h 1326"/>
                <a:gd name="T40" fmla="*/ 12 w 1212"/>
                <a:gd name="T41" fmla="*/ 71 h 1326"/>
                <a:gd name="T42" fmla="*/ 8 w 1212"/>
                <a:gd name="T43" fmla="*/ 69 h 1326"/>
                <a:gd name="T44" fmla="*/ 0 w 1212"/>
                <a:gd name="T45" fmla="*/ 72 h 1326"/>
                <a:gd name="T46" fmla="*/ 2 w 1212"/>
                <a:gd name="T47" fmla="*/ 67 h 1326"/>
                <a:gd name="T48" fmla="*/ 3 w 1212"/>
                <a:gd name="T49" fmla="*/ 61 h 1326"/>
                <a:gd name="T50" fmla="*/ 4 w 1212"/>
                <a:gd name="T51" fmla="*/ 56 h 1326"/>
                <a:gd name="T52" fmla="*/ 4 w 1212"/>
                <a:gd name="T53" fmla="*/ 52 h 1326"/>
                <a:gd name="T54" fmla="*/ 2 w 1212"/>
                <a:gd name="T55" fmla="*/ 47 h 1326"/>
                <a:gd name="T56" fmla="*/ 2 w 1212"/>
                <a:gd name="T57" fmla="*/ 42 h 1326"/>
                <a:gd name="T58" fmla="*/ 5 w 1212"/>
                <a:gd name="T59" fmla="*/ 39 h 1326"/>
                <a:gd name="T60" fmla="*/ 5 w 1212"/>
                <a:gd name="T61" fmla="*/ 35 h 1326"/>
                <a:gd name="T62" fmla="*/ 7 w 1212"/>
                <a:gd name="T63" fmla="*/ 31 h 1326"/>
                <a:gd name="T64" fmla="*/ 14 w 1212"/>
                <a:gd name="T65" fmla="*/ 31 h 1326"/>
                <a:gd name="T66" fmla="*/ 18 w 1212"/>
                <a:gd name="T67" fmla="*/ 27 h 1326"/>
                <a:gd name="T68" fmla="*/ 22 w 1212"/>
                <a:gd name="T69" fmla="*/ 24 h 1326"/>
                <a:gd name="T70" fmla="*/ 27 w 1212"/>
                <a:gd name="T71" fmla="*/ 20 h 1326"/>
                <a:gd name="T72" fmla="*/ 35 w 1212"/>
                <a:gd name="T73" fmla="*/ 21 h 1326"/>
                <a:gd name="T74" fmla="*/ 61 w 1212"/>
                <a:gd name="T75" fmla="*/ 8 h 1326"/>
                <a:gd name="T76" fmla="*/ 73 w 1212"/>
                <a:gd name="T77" fmla="*/ 4 h 1326"/>
                <a:gd name="T78" fmla="*/ 86 w 1212"/>
                <a:gd name="T79" fmla="*/ 12 h 1326"/>
                <a:gd name="T80" fmla="*/ 92 w 1212"/>
                <a:gd name="T81" fmla="*/ 13 h 1326"/>
                <a:gd name="T82" fmla="*/ 86 w 1212"/>
                <a:gd name="T83" fmla="*/ 18 h 1326"/>
                <a:gd name="T84" fmla="*/ 88 w 1212"/>
                <a:gd name="T85" fmla="*/ 33 h 1326"/>
                <a:gd name="T86" fmla="*/ 97 w 1212"/>
                <a:gd name="T87" fmla="*/ 49 h 1326"/>
                <a:gd name="T88" fmla="*/ 102 w 1212"/>
                <a:gd name="T89" fmla="*/ 57 h 1326"/>
                <a:gd name="T90" fmla="*/ 104 w 1212"/>
                <a:gd name="T91" fmla="*/ 67 h 1326"/>
                <a:gd name="T92" fmla="*/ 101 w 1212"/>
                <a:gd name="T93" fmla="*/ 69 h 1326"/>
                <a:gd name="T94" fmla="*/ 97 w 1212"/>
                <a:gd name="T95" fmla="*/ 69 h 1326"/>
                <a:gd name="T96" fmla="*/ 96 w 1212"/>
                <a:gd name="T97" fmla="*/ 71 h 1326"/>
                <a:gd name="T98" fmla="*/ 93 w 1212"/>
                <a:gd name="T99" fmla="*/ 70 h 1326"/>
                <a:gd name="T100" fmla="*/ 86 w 1212"/>
                <a:gd name="T101" fmla="*/ 69 h 1326"/>
                <a:gd name="T102" fmla="*/ 82 w 1212"/>
                <a:gd name="T103" fmla="*/ 73 h 1326"/>
                <a:gd name="T104" fmla="*/ 79 w 1212"/>
                <a:gd name="T105" fmla="*/ 74 h 1326"/>
                <a:gd name="T106" fmla="*/ 78 w 1212"/>
                <a:gd name="T107" fmla="*/ 79 h 1326"/>
                <a:gd name="T108" fmla="*/ 78 w 1212"/>
                <a:gd name="T109" fmla="*/ 83 h 1326"/>
                <a:gd name="T110" fmla="*/ 82 w 1212"/>
                <a:gd name="T111" fmla="*/ 87 h 1326"/>
                <a:gd name="T112" fmla="*/ 83 w 1212"/>
                <a:gd name="T113" fmla="*/ 90 h 1326"/>
                <a:gd name="T114" fmla="*/ 82 w 1212"/>
                <a:gd name="T115" fmla="*/ 94 h 1326"/>
                <a:gd name="T116" fmla="*/ 82 w 1212"/>
                <a:gd name="T117" fmla="*/ 98 h 1326"/>
                <a:gd name="T118" fmla="*/ 82 w 1212"/>
                <a:gd name="T119" fmla="*/ 104 h 1326"/>
                <a:gd name="T120" fmla="*/ 78 w 1212"/>
                <a:gd name="T121" fmla="*/ 110 h 132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12"/>
                <a:gd name="T184" fmla="*/ 0 h 1326"/>
                <a:gd name="T185" fmla="*/ 1212 w 1212"/>
                <a:gd name="T186" fmla="*/ 1326 h 132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12" h="1326">
                  <a:moveTo>
                    <a:pt x="906" y="1290"/>
                  </a:moveTo>
                  <a:lnTo>
                    <a:pt x="906" y="1296"/>
                  </a:lnTo>
                  <a:lnTo>
                    <a:pt x="900" y="1296"/>
                  </a:lnTo>
                  <a:lnTo>
                    <a:pt x="876" y="1290"/>
                  </a:lnTo>
                  <a:lnTo>
                    <a:pt x="870" y="1290"/>
                  </a:lnTo>
                  <a:lnTo>
                    <a:pt x="864" y="1296"/>
                  </a:lnTo>
                  <a:lnTo>
                    <a:pt x="852" y="1296"/>
                  </a:lnTo>
                  <a:lnTo>
                    <a:pt x="840" y="1302"/>
                  </a:lnTo>
                  <a:lnTo>
                    <a:pt x="834" y="1308"/>
                  </a:lnTo>
                  <a:lnTo>
                    <a:pt x="822" y="1320"/>
                  </a:lnTo>
                  <a:lnTo>
                    <a:pt x="816" y="1320"/>
                  </a:lnTo>
                  <a:lnTo>
                    <a:pt x="732" y="1320"/>
                  </a:lnTo>
                  <a:lnTo>
                    <a:pt x="696" y="1320"/>
                  </a:lnTo>
                  <a:lnTo>
                    <a:pt x="690" y="1326"/>
                  </a:lnTo>
                  <a:lnTo>
                    <a:pt x="678" y="1326"/>
                  </a:lnTo>
                  <a:lnTo>
                    <a:pt x="672" y="1308"/>
                  </a:lnTo>
                  <a:lnTo>
                    <a:pt x="696" y="1302"/>
                  </a:lnTo>
                  <a:lnTo>
                    <a:pt x="708" y="1296"/>
                  </a:lnTo>
                  <a:lnTo>
                    <a:pt x="720" y="1284"/>
                  </a:lnTo>
                  <a:lnTo>
                    <a:pt x="714" y="1278"/>
                  </a:lnTo>
                  <a:lnTo>
                    <a:pt x="714" y="1266"/>
                  </a:lnTo>
                  <a:lnTo>
                    <a:pt x="708" y="1260"/>
                  </a:lnTo>
                  <a:lnTo>
                    <a:pt x="708" y="1254"/>
                  </a:lnTo>
                  <a:lnTo>
                    <a:pt x="708" y="1248"/>
                  </a:lnTo>
                  <a:lnTo>
                    <a:pt x="702" y="1236"/>
                  </a:lnTo>
                  <a:lnTo>
                    <a:pt x="702" y="1230"/>
                  </a:lnTo>
                  <a:lnTo>
                    <a:pt x="702" y="1218"/>
                  </a:lnTo>
                  <a:lnTo>
                    <a:pt x="696" y="1200"/>
                  </a:lnTo>
                  <a:lnTo>
                    <a:pt x="696" y="1182"/>
                  </a:lnTo>
                  <a:lnTo>
                    <a:pt x="666" y="1182"/>
                  </a:lnTo>
                  <a:lnTo>
                    <a:pt x="672" y="1134"/>
                  </a:lnTo>
                  <a:lnTo>
                    <a:pt x="666" y="1128"/>
                  </a:lnTo>
                  <a:lnTo>
                    <a:pt x="660" y="1092"/>
                  </a:lnTo>
                  <a:lnTo>
                    <a:pt x="654" y="1098"/>
                  </a:lnTo>
                  <a:lnTo>
                    <a:pt x="594" y="1098"/>
                  </a:lnTo>
                  <a:lnTo>
                    <a:pt x="576" y="1098"/>
                  </a:lnTo>
                  <a:lnTo>
                    <a:pt x="570" y="1104"/>
                  </a:lnTo>
                  <a:lnTo>
                    <a:pt x="564" y="1110"/>
                  </a:lnTo>
                  <a:lnTo>
                    <a:pt x="558" y="1110"/>
                  </a:lnTo>
                  <a:lnTo>
                    <a:pt x="552" y="1110"/>
                  </a:lnTo>
                  <a:lnTo>
                    <a:pt x="546" y="1110"/>
                  </a:lnTo>
                  <a:lnTo>
                    <a:pt x="546" y="1116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10" y="1128"/>
                  </a:lnTo>
                  <a:lnTo>
                    <a:pt x="522" y="1104"/>
                  </a:lnTo>
                  <a:lnTo>
                    <a:pt x="510" y="1098"/>
                  </a:lnTo>
                  <a:lnTo>
                    <a:pt x="510" y="1074"/>
                  </a:lnTo>
                  <a:lnTo>
                    <a:pt x="504" y="1068"/>
                  </a:lnTo>
                  <a:lnTo>
                    <a:pt x="498" y="1068"/>
                  </a:lnTo>
                  <a:lnTo>
                    <a:pt x="492" y="1068"/>
                  </a:lnTo>
                  <a:lnTo>
                    <a:pt x="474" y="1080"/>
                  </a:lnTo>
                  <a:lnTo>
                    <a:pt x="474" y="1086"/>
                  </a:lnTo>
                  <a:lnTo>
                    <a:pt x="474" y="1092"/>
                  </a:lnTo>
                  <a:lnTo>
                    <a:pt x="468" y="1098"/>
                  </a:lnTo>
                  <a:lnTo>
                    <a:pt x="462" y="1104"/>
                  </a:lnTo>
                  <a:lnTo>
                    <a:pt x="456" y="1110"/>
                  </a:lnTo>
                  <a:lnTo>
                    <a:pt x="456" y="1122"/>
                  </a:lnTo>
                  <a:lnTo>
                    <a:pt x="456" y="1128"/>
                  </a:lnTo>
                  <a:lnTo>
                    <a:pt x="450" y="1140"/>
                  </a:lnTo>
                  <a:lnTo>
                    <a:pt x="444" y="1146"/>
                  </a:lnTo>
                  <a:lnTo>
                    <a:pt x="426" y="1170"/>
                  </a:lnTo>
                  <a:lnTo>
                    <a:pt x="408" y="1176"/>
                  </a:lnTo>
                  <a:lnTo>
                    <a:pt x="402" y="1170"/>
                  </a:lnTo>
                  <a:lnTo>
                    <a:pt x="396" y="1170"/>
                  </a:lnTo>
                  <a:lnTo>
                    <a:pt x="396" y="1158"/>
                  </a:lnTo>
                  <a:lnTo>
                    <a:pt x="384" y="1152"/>
                  </a:lnTo>
                  <a:lnTo>
                    <a:pt x="372" y="1140"/>
                  </a:lnTo>
                  <a:lnTo>
                    <a:pt x="354" y="1140"/>
                  </a:lnTo>
                  <a:lnTo>
                    <a:pt x="306" y="1146"/>
                  </a:lnTo>
                  <a:lnTo>
                    <a:pt x="294" y="1134"/>
                  </a:lnTo>
                  <a:lnTo>
                    <a:pt x="294" y="1128"/>
                  </a:lnTo>
                  <a:lnTo>
                    <a:pt x="288" y="1122"/>
                  </a:lnTo>
                  <a:lnTo>
                    <a:pt x="276" y="1122"/>
                  </a:lnTo>
                  <a:lnTo>
                    <a:pt x="276" y="1110"/>
                  </a:lnTo>
                  <a:lnTo>
                    <a:pt x="276" y="1104"/>
                  </a:lnTo>
                  <a:lnTo>
                    <a:pt x="270" y="1098"/>
                  </a:lnTo>
                  <a:lnTo>
                    <a:pt x="264" y="1086"/>
                  </a:lnTo>
                  <a:lnTo>
                    <a:pt x="264" y="1074"/>
                  </a:lnTo>
                  <a:lnTo>
                    <a:pt x="258" y="1068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34" y="1038"/>
                  </a:lnTo>
                  <a:lnTo>
                    <a:pt x="228" y="1038"/>
                  </a:lnTo>
                  <a:lnTo>
                    <a:pt x="222" y="1038"/>
                  </a:lnTo>
                  <a:lnTo>
                    <a:pt x="216" y="1038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0"/>
                  </a:lnTo>
                  <a:lnTo>
                    <a:pt x="204" y="1014"/>
                  </a:lnTo>
                  <a:lnTo>
                    <a:pt x="204" y="1008"/>
                  </a:lnTo>
                  <a:lnTo>
                    <a:pt x="198" y="1002"/>
                  </a:lnTo>
                  <a:lnTo>
                    <a:pt x="198" y="996"/>
                  </a:lnTo>
                  <a:lnTo>
                    <a:pt x="198" y="990"/>
                  </a:lnTo>
                  <a:lnTo>
                    <a:pt x="204" y="990"/>
                  </a:lnTo>
                  <a:lnTo>
                    <a:pt x="204" y="984"/>
                  </a:lnTo>
                  <a:lnTo>
                    <a:pt x="210" y="978"/>
                  </a:lnTo>
                  <a:lnTo>
                    <a:pt x="210" y="972"/>
                  </a:lnTo>
                  <a:lnTo>
                    <a:pt x="210" y="966"/>
                  </a:lnTo>
                  <a:lnTo>
                    <a:pt x="216" y="960"/>
                  </a:lnTo>
                  <a:lnTo>
                    <a:pt x="216" y="954"/>
                  </a:lnTo>
                  <a:lnTo>
                    <a:pt x="210" y="954"/>
                  </a:lnTo>
                  <a:lnTo>
                    <a:pt x="204" y="954"/>
                  </a:lnTo>
                  <a:lnTo>
                    <a:pt x="216" y="954"/>
                  </a:lnTo>
                  <a:lnTo>
                    <a:pt x="216" y="948"/>
                  </a:lnTo>
                  <a:lnTo>
                    <a:pt x="210" y="948"/>
                  </a:lnTo>
                  <a:lnTo>
                    <a:pt x="210" y="942"/>
                  </a:lnTo>
                  <a:lnTo>
                    <a:pt x="216" y="942"/>
                  </a:lnTo>
                  <a:lnTo>
                    <a:pt x="222" y="942"/>
                  </a:lnTo>
                  <a:lnTo>
                    <a:pt x="222" y="936"/>
                  </a:lnTo>
                  <a:lnTo>
                    <a:pt x="216" y="936"/>
                  </a:lnTo>
                  <a:lnTo>
                    <a:pt x="210" y="936"/>
                  </a:lnTo>
                  <a:lnTo>
                    <a:pt x="210" y="930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22" y="918"/>
                  </a:lnTo>
                  <a:lnTo>
                    <a:pt x="228" y="912"/>
                  </a:lnTo>
                  <a:lnTo>
                    <a:pt x="228" y="906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2" y="888"/>
                  </a:lnTo>
                  <a:lnTo>
                    <a:pt x="222" y="882"/>
                  </a:lnTo>
                  <a:lnTo>
                    <a:pt x="222" y="876"/>
                  </a:lnTo>
                  <a:lnTo>
                    <a:pt x="222" y="858"/>
                  </a:lnTo>
                  <a:lnTo>
                    <a:pt x="216" y="858"/>
                  </a:lnTo>
                  <a:lnTo>
                    <a:pt x="216" y="852"/>
                  </a:lnTo>
                  <a:lnTo>
                    <a:pt x="210" y="852"/>
                  </a:lnTo>
                  <a:lnTo>
                    <a:pt x="210" y="840"/>
                  </a:lnTo>
                  <a:lnTo>
                    <a:pt x="198" y="840"/>
                  </a:lnTo>
                  <a:lnTo>
                    <a:pt x="198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0" y="894"/>
                  </a:lnTo>
                  <a:lnTo>
                    <a:pt x="180" y="906"/>
                  </a:lnTo>
                  <a:lnTo>
                    <a:pt x="156" y="912"/>
                  </a:lnTo>
                  <a:lnTo>
                    <a:pt x="156" y="894"/>
                  </a:lnTo>
                  <a:lnTo>
                    <a:pt x="156" y="882"/>
                  </a:lnTo>
                  <a:lnTo>
                    <a:pt x="156" y="876"/>
                  </a:lnTo>
                  <a:lnTo>
                    <a:pt x="150" y="876"/>
                  </a:lnTo>
                  <a:lnTo>
                    <a:pt x="144" y="876"/>
                  </a:lnTo>
                  <a:lnTo>
                    <a:pt x="138" y="870"/>
                  </a:lnTo>
                  <a:lnTo>
                    <a:pt x="132" y="864"/>
                  </a:lnTo>
                  <a:lnTo>
                    <a:pt x="138" y="840"/>
                  </a:lnTo>
                  <a:lnTo>
                    <a:pt x="132" y="840"/>
                  </a:lnTo>
                  <a:lnTo>
                    <a:pt x="138" y="810"/>
                  </a:lnTo>
                  <a:lnTo>
                    <a:pt x="144" y="804"/>
                  </a:lnTo>
                  <a:lnTo>
                    <a:pt x="144" y="798"/>
                  </a:lnTo>
                  <a:lnTo>
                    <a:pt x="156" y="798"/>
                  </a:lnTo>
                  <a:lnTo>
                    <a:pt x="156" y="792"/>
                  </a:lnTo>
                  <a:lnTo>
                    <a:pt x="120" y="792"/>
                  </a:lnTo>
                  <a:lnTo>
                    <a:pt x="108" y="786"/>
                  </a:lnTo>
                  <a:lnTo>
                    <a:pt x="96" y="786"/>
                  </a:lnTo>
                  <a:lnTo>
                    <a:pt x="96" y="780"/>
                  </a:lnTo>
                  <a:lnTo>
                    <a:pt x="78" y="780"/>
                  </a:lnTo>
                  <a:lnTo>
                    <a:pt x="72" y="804"/>
                  </a:lnTo>
                  <a:lnTo>
                    <a:pt x="60" y="816"/>
                  </a:lnTo>
                  <a:lnTo>
                    <a:pt x="36" y="828"/>
                  </a:lnTo>
                  <a:lnTo>
                    <a:pt x="18" y="840"/>
                  </a:lnTo>
                  <a:lnTo>
                    <a:pt x="0" y="822"/>
                  </a:lnTo>
                  <a:lnTo>
                    <a:pt x="6" y="816"/>
                  </a:lnTo>
                  <a:lnTo>
                    <a:pt x="12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18" y="786"/>
                  </a:lnTo>
                  <a:lnTo>
                    <a:pt x="24" y="780"/>
                  </a:lnTo>
                  <a:lnTo>
                    <a:pt x="24" y="768"/>
                  </a:lnTo>
                  <a:lnTo>
                    <a:pt x="24" y="762"/>
                  </a:lnTo>
                  <a:lnTo>
                    <a:pt x="24" y="750"/>
                  </a:lnTo>
                  <a:lnTo>
                    <a:pt x="36" y="714"/>
                  </a:lnTo>
                  <a:lnTo>
                    <a:pt x="36" y="708"/>
                  </a:lnTo>
                  <a:lnTo>
                    <a:pt x="42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6" y="690"/>
                  </a:lnTo>
                  <a:lnTo>
                    <a:pt x="42" y="684"/>
                  </a:lnTo>
                  <a:lnTo>
                    <a:pt x="42" y="672"/>
                  </a:lnTo>
                  <a:lnTo>
                    <a:pt x="42" y="666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48" y="648"/>
                  </a:lnTo>
                  <a:lnTo>
                    <a:pt x="54" y="642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54" y="612"/>
                  </a:lnTo>
                  <a:lnTo>
                    <a:pt x="48" y="606"/>
                  </a:lnTo>
                  <a:lnTo>
                    <a:pt x="48" y="600"/>
                  </a:lnTo>
                  <a:lnTo>
                    <a:pt x="42" y="600"/>
                  </a:lnTo>
                  <a:lnTo>
                    <a:pt x="36" y="594"/>
                  </a:lnTo>
                  <a:lnTo>
                    <a:pt x="36" y="588"/>
                  </a:lnTo>
                  <a:lnTo>
                    <a:pt x="30" y="582"/>
                  </a:lnTo>
                  <a:lnTo>
                    <a:pt x="30" y="570"/>
                  </a:lnTo>
                  <a:lnTo>
                    <a:pt x="18" y="552"/>
                  </a:lnTo>
                  <a:lnTo>
                    <a:pt x="18" y="546"/>
                  </a:lnTo>
                  <a:lnTo>
                    <a:pt x="18" y="540"/>
                  </a:lnTo>
                  <a:lnTo>
                    <a:pt x="18" y="528"/>
                  </a:lnTo>
                  <a:lnTo>
                    <a:pt x="18" y="522"/>
                  </a:lnTo>
                  <a:lnTo>
                    <a:pt x="24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30" y="474"/>
                  </a:lnTo>
                  <a:lnTo>
                    <a:pt x="36" y="474"/>
                  </a:lnTo>
                  <a:lnTo>
                    <a:pt x="42" y="468"/>
                  </a:lnTo>
                  <a:lnTo>
                    <a:pt x="48" y="468"/>
                  </a:lnTo>
                  <a:lnTo>
                    <a:pt x="48" y="462"/>
                  </a:lnTo>
                  <a:lnTo>
                    <a:pt x="48" y="456"/>
                  </a:lnTo>
                  <a:lnTo>
                    <a:pt x="54" y="450"/>
                  </a:lnTo>
                  <a:lnTo>
                    <a:pt x="60" y="438"/>
                  </a:lnTo>
                  <a:lnTo>
                    <a:pt x="54" y="438"/>
                  </a:lnTo>
                  <a:lnTo>
                    <a:pt x="54" y="432"/>
                  </a:ln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54" y="402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6" y="384"/>
                  </a:lnTo>
                  <a:lnTo>
                    <a:pt x="72" y="372"/>
                  </a:lnTo>
                  <a:lnTo>
                    <a:pt x="78" y="366"/>
                  </a:lnTo>
                  <a:lnTo>
                    <a:pt x="84" y="360"/>
                  </a:lnTo>
                  <a:lnTo>
                    <a:pt x="102" y="360"/>
                  </a:lnTo>
                  <a:lnTo>
                    <a:pt x="114" y="36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8" y="360"/>
                  </a:lnTo>
                  <a:lnTo>
                    <a:pt x="156" y="360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74" y="342"/>
                  </a:lnTo>
                  <a:lnTo>
                    <a:pt x="180" y="342"/>
                  </a:lnTo>
                  <a:lnTo>
                    <a:pt x="186" y="336"/>
                  </a:lnTo>
                  <a:lnTo>
                    <a:pt x="192" y="330"/>
                  </a:lnTo>
                  <a:lnTo>
                    <a:pt x="204" y="312"/>
                  </a:lnTo>
                  <a:lnTo>
                    <a:pt x="210" y="312"/>
                  </a:lnTo>
                  <a:lnTo>
                    <a:pt x="216" y="306"/>
                  </a:lnTo>
                  <a:lnTo>
                    <a:pt x="216" y="300"/>
                  </a:lnTo>
                  <a:lnTo>
                    <a:pt x="222" y="288"/>
                  </a:lnTo>
                  <a:lnTo>
                    <a:pt x="234" y="288"/>
                  </a:lnTo>
                  <a:lnTo>
                    <a:pt x="240" y="282"/>
                  </a:lnTo>
                  <a:lnTo>
                    <a:pt x="246" y="282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70" y="270"/>
                  </a:lnTo>
                  <a:lnTo>
                    <a:pt x="276" y="264"/>
                  </a:lnTo>
                  <a:lnTo>
                    <a:pt x="282" y="26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8" y="234"/>
                  </a:lnTo>
                  <a:lnTo>
                    <a:pt x="330" y="234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72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14" y="240"/>
                  </a:lnTo>
                  <a:lnTo>
                    <a:pt x="444" y="216"/>
                  </a:lnTo>
                  <a:lnTo>
                    <a:pt x="480" y="204"/>
                  </a:lnTo>
                  <a:lnTo>
                    <a:pt x="600" y="150"/>
                  </a:lnTo>
                  <a:lnTo>
                    <a:pt x="648" y="126"/>
                  </a:lnTo>
                  <a:lnTo>
                    <a:pt x="702" y="96"/>
                  </a:lnTo>
                  <a:lnTo>
                    <a:pt x="708" y="54"/>
                  </a:lnTo>
                  <a:lnTo>
                    <a:pt x="720" y="24"/>
                  </a:lnTo>
                  <a:lnTo>
                    <a:pt x="738" y="12"/>
                  </a:lnTo>
                  <a:lnTo>
                    <a:pt x="768" y="0"/>
                  </a:lnTo>
                  <a:lnTo>
                    <a:pt x="792" y="6"/>
                  </a:lnTo>
                  <a:lnTo>
                    <a:pt x="804" y="12"/>
                  </a:lnTo>
                  <a:lnTo>
                    <a:pt x="834" y="48"/>
                  </a:lnTo>
                  <a:lnTo>
                    <a:pt x="834" y="60"/>
                  </a:lnTo>
                  <a:lnTo>
                    <a:pt x="852" y="84"/>
                  </a:lnTo>
                  <a:lnTo>
                    <a:pt x="864" y="96"/>
                  </a:lnTo>
                  <a:lnTo>
                    <a:pt x="888" y="102"/>
                  </a:lnTo>
                  <a:lnTo>
                    <a:pt x="978" y="120"/>
                  </a:lnTo>
                  <a:lnTo>
                    <a:pt x="984" y="126"/>
                  </a:lnTo>
                  <a:lnTo>
                    <a:pt x="984" y="132"/>
                  </a:lnTo>
                  <a:lnTo>
                    <a:pt x="996" y="138"/>
                  </a:lnTo>
                  <a:lnTo>
                    <a:pt x="1038" y="126"/>
                  </a:lnTo>
                  <a:lnTo>
                    <a:pt x="1056" y="114"/>
                  </a:lnTo>
                  <a:lnTo>
                    <a:pt x="1068" y="126"/>
                  </a:lnTo>
                  <a:lnTo>
                    <a:pt x="1074" y="132"/>
                  </a:lnTo>
                  <a:lnTo>
                    <a:pt x="1068" y="138"/>
                  </a:lnTo>
                  <a:lnTo>
                    <a:pt x="1056" y="150"/>
                  </a:lnTo>
                  <a:lnTo>
                    <a:pt x="1038" y="162"/>
                  </a:lnTo>
                  <a:lnTo>
                    <a:pt x="1038" y="168"/>
                  </a:lnTo>
                  <a:lnTo>
                    <a:pt x="1020" y="174"/>
                  </a:lnTo>
                  <a:lnTo>
                    <a:pt x="1014" y="180"/>
                  </a:lnTo>
                  <a:lnTo>
                    <a:pt x="1008" y="186"/>
                  </a:lnTo>
                  <a:lnTo>
                    <a:pt x="1002" y="198"/>
                  </a:lnTo>
                  <a:lnTo>
                    <a:pt x="984" y="204"/>
                  </a:lnTo>
                  <a:lnTo>
                    <a:pt x="984" y="246"/>
                  </a:lnTo>
                  <a:lnTo>
                    <a:pt x="978" y="270"/>
                  </a:lnTo>
                  <a:lnTo>
                    <a:pt x="990" y="306"/>
                  </a:lnTo>
                  <a:lnTo>
                    <a:pt x="990" y="324"/>
                  </a:lnTo>
                  <a:lnTo>
                    <a:pt x="1002" y="336"/>
                  </a:lnTo>
                  <a:lnTo>
                    <a:pt x="1020" y="372"/>
                  </a:lnTo>
                  <a:lnTo>
                    <a:pt x="1014" y="378"/>
                  </a:lnTo>
                  <a:lnTo>
                    <a:pt x="1014" y="384"/>
                  </a:lnTo>
                  <a:lnTo>
                    <a:pt x="1020" y="384"/>
                  </a:lnTo>
                  <a:lnTo>
                    <a:pt x="1020" y="396"/>
                  </a:lnTo>
                  <a:lnTo>
                    <a:pt x="1062" y="468"/>
                  </a:lnTo>
                  <a:lnTo>
                    <a:pt x="1092" y="522"/>
                  </a:lnTo>
                  <a:lnTo>
                    <a:pt x="1110" y="546"/>
                  </a:lnTo>
                  <a:lnTo>
                    <a:pt x="1122" y="564"/>
                  </a:lnTo>
                  <a:lnTo>
                    <a:pt x="1134" y="576"/>
                  </a:lnTo>
                  <a:lnTo>
                    <a:pt x="1146" y="582"/>
                  </a:lnTo>
                  <a:lnTo>
                    <a:pt x="1146" y="588"/>
                  </a:lnTo>
                  <a:lnTo>
                    <a:pt x="1164" y="600"/>
                  </a:lnTo>
                  <a:lnTo>
                    <a:pt x="1170" y="612"/>
                  </a:lnTo>
                  <a:lnTo>
                    <a:pt x="1170" y="624"/>
                  </a:lnTo>
                  <a:lnTo>
                    <a:pt x="1176" y="654"/>
                  </a:lnTo>
                  <a:lnTo>
                    <a:pt x="1176" y="666"/>
                  </a:lnTo>
                  <a:lnTo>
                    <a:pt x="1182" y="684"/>
                  </a:lnTo>
                  <a:lnTo>
                    <a:pt x="1194" y="696"/>
                  </a:lnTo>
                  <a:lnTo>
                    <a:pt x="1212" y="696"/>
                  </a:lnTo>
                  <a:lnTo>
                    <a:pt x="1206" y="762"/>
                  </a:lnTo>
                  <a:lnTo>
                    <a:pt x="1200" y="768"/>
                  </a:lnTo>
                  <a:lnTo>
                    <a:pt x="1194" y="768"/>
                  </a:lnTo>
                  <a:lnTo>
                    <a:pt x="1194" y="774"/>
                  </a:lnTo>
                  <a:lnTo>
                    <a:pt x="1188" y="774"/>
                  </a:lnTo>
                  <a:lnTo>
                    <a:pt x="1182" y="780"/>
                  </a:lnTo>
                  <a:lnTo>
                    <a:pt x="1176" y="780"/>
                  </a:lnTo>
                  <a:lnTo>
                    <a:pt x="1170" y="780"/>
                  </a:lnTo>
                  <a:lnTo>
                    <a:pt x="1164" y="786"/>
                  </a:lnTo>
                  <a:lnTo>
                    <a:pt x="1158" y="786"/>
                  </a:lnTo>
                  <a:lnTo>
                    <a:pt x="1152" y="786"/>
                  </a:lnTo>
                  <a:lnTo>
                    <a:pt x="1140" y="786"/>
                  </a:lnTo>
                  <a:lnTo>
                    <a:pt x="1134" y="786"/>
                  </a:lnTo>
                  <a:lnTo>
                    <a:pt x="1134" y="780"/>
                  </a:lnTo>
                  <a:lnTo>
                    <a:pt x="1122" y="780"/>
                  </a:lnTo>
                  <a:lnTo>
                    <a:pt x="1116" y="786"/>
                  </a:lnTo>
                  <a:lnTo>
                    <a:pt x="1116" y="792"/>
                  </a:lnTo>
                  <a:lnTo>
                    <a:pt x="1122" y="804"/>
                  </a:lnTo>
                  <a:lnTo>
                    <a:pt x="1128" y="804"/>
                  </a:lnTo>
                  <a:lnTo>
                    <a:pt x="1128" y="816"/>
                  </a:lnTo>
                  <a:lnTo>
                    <a:pt x="1122" y="822"/>
                  </a:lnTo>
                  <a:lnTo>
                    <a:pt x="1116" y="816"/>
                  </a:lnTo>
                  <a:lnTo>
                    <a:pt x="1110" y="816"/>
                  </a:lnTo>
                  <a:lnTo>
                    <a:pt x="1104" y="816"/>
                  </a:lnTo>
                  <a:lnTo>
                    <a:pt x="1098" y="816"/>
                  </a:lnTo>
                  <a:lnTo>
                    <a:pt x="1098" y="822"/>
                  </a:lnTo>
                  <a:lnTo>
                    <a:pt x="1092" y="834"/>
                  </a:lnTo>
                  <a:lnTo>
                    <a:pt x="1092" y="840"/>
                  </a:lnTo>
                  <a:lnTo>
                    <a:pt x="1074" y="840"/>
                  </a:lnTo>
                  <a:lnTo>
                    <a:pt x="1074" y="828"/>
                  </a:lnTo>
                  <a:lnTo>
                    <a:pt x="1062" y="804"/>
                  </a:lnTo>
                  <a:lnTo>
                    <a:pt x="1056" y="792"/>
                  </a:lnTo>
                  <a:lnTo>
                    <a:pt x="1056" y="786"/>
                  </a:lnTo>
                  <a:lnTo>
                    <a:pt x="1026" y="780"/>
                  </a:lnTo>
                  <a:lnTo>
                    <a:pt x="1026" y="768"/>
                  </a:lnTo>
                  <a:lnTo>
                    <a:pt x="1008" y="768"/>
                  </a:lnTo>
                  <a:lnTo>
                    <a:pt x="1002" y="780"/>
                  </a:lnTo>
                  <a:lnTo>
                    <a:pt x="996" y="792"/>
                  </a:lnTo>
                  <a:lnTo>
                    <a:pt x="978" y="798"/>
                  </a:lnTo>
                  <a:lnTo>
                    <a:pt x="972" y="810"/>
                  </a:lnTo>
                  <a:lnTo>
                    <a:pt x="972" y="822"/>
                  </a:lnTo>
                  <a:lnTo>
                    <a:pt x="978" y="828"/>
                  </a:lnTo>
                  <a:lnTo>
                    <a:pt x="978" y="834"/>
                  </a:lnTo>
                  <a:lnTo>
                    <a:pt x="960" y="840"/>
                  </a:lnTo>
                  <a:lnTo>
                    <a:pt x="936" y="840"/>
                  </a:lnTo>
                  <a:lnTo>
                    <a:pt x="918" y="846"/>
                  </a:lnTo>
                  <a:lnTo>
                    <a:pt x="912" y="840"/>
                  </a:lnTo>
                  <a:lnTo>
                    <a:pt x="912" y="834"/>
                  </a:lnTo>
                  <a:lnTo>
                    <a:pt x="906" y="834"/>
                  </a:lnTo>
                  <a:lnTo>
                    <a:pt x="906" y="840"/>
                  </a:lnTo>
                  <a:lnTo>
                    <a:pt x="900" y="846"/>
                  </a:lnTo>
                  <a:lnTo>
                    <a:pt x="906" y="852"/>
                  </a:lnTo>
                  <a:lnTo>
                    <a:pt x="900" y="864"/>
                  </a:lnTo>
                  <a:lnTo>
                    <a:pt x="900" y="876"/>
                  </a:lnTo>
                  <a:lnTo>
                    <a:pt x="900" y="882"/>
                  </a:lnTo>
                  <a:lnTo>
                    <a:pt x="894" y="888"/>
                  </a:lnTo>
                  <a:lnTo>
                    <a:pt x="900" y="900"/>
                  </a:lnTo>
                  <a:lnTo>
                    <a:pt x="900" y="906"/>
                  </a:lnTo>
                  <a:lnTo>
                    <a:pt x="894" y="906"/>
                  </a:lnTo>
                  <a:lnTo>
                    <a:pt x="894" y="912"/>
                  </a:lnTo>
                  <a:lnTo>
                    <a:pt x="900" y="918"/>
                  </a:lnTo>
                  <a:lnTo>
                    <a:pt x="900" y="924"/>
                  </a:lnTo>
                  <a:lnTo>
                    <a:pt x="900" y="948"/>
                  </a:lnTo>
                  <a:lnTo>
                    <a:pt x="888" y="948"/>
                  </a:lnTo>
                  <a:lnTo>
                    <a:pt x="888" y="954"/>
                  </a:lnTo>
                  <a:lnTo>
                    <a:pt x="894" y="954"/>
                  </a:lnTo>
                  <a:lnTo>
                    <a:pt x="900" y="960"/>
                  </a:lnTo>
                  <a:lnTo>
                    <a:pt x="900" y="972"/>
                  </a:lnTo>
                  <a:lnTo>
                    <a:pt x="906" y="984"/>
                  </a:lnTo>
                  <a:lnTo>
                    <a:pt x="912" y="984"/>
                  </a:lnTo>
                  <a:lnTo>
                    <a:pt x="918" y="990"/>
                  </a:lnTo>
                  <a:lnTo>
                    <a:pt x="936" y="990"/>
                  </a:lnTo>
                  <a:lnTo>
                    <a:pt x="936" y="996"/>
                  </a:lnTo>
                  <a:lnTo>
                    <a:pt x="942" y="996"/>
                  </a:lnTo>
                  <a:lnTo>
                    <a:pt x="942" y="1002"/>
                  </a:lnTo>
                  <a:lnTo>
                    <a:pt x="942" y="1008"/>
                  </a:lnTo>
                  <a:lnTo>
                    <a:pt x="948" y="1008"/>
                  </a:lnTo>
                  <a:lnTo>
                    <a:pt x="948" y="1014"/>
                  </a:lnTo>
                  <a:lnTo>
                    <a:pt x="948" y="1020"/>
                  </a:lnTo>
                  <a:lnTo>
                    <a:pt x="954" y="1032"/>
                  </a:lnTo>
                  <a:lnTo>
                    <a:pt x="948" y="1038"/>
                  </a:lnTo>
                  <a:lnTo>
                    <a:pt x="954" y="1044"/>
                  </a:lnTo>
                  <a:lnTo>
                    <a:pt x="954" y="1056"/>
                  </a:lnTo>
                  <a:lnTo>
                    <a:pt x="960" y="1056"/>
                  </a:lnTo>
                  <a:lnTo>
                    <a:pt x="960" y="1062"/>
                  </a:lnTo>
                  <a:lnTo>
                    <a:pt x="954" y="1068"/>
                  </a:lnTo>
                  <a:lnTo>
                    <a:pt x="948" y="1074"/>
                  </a:lnTo>
                  <a:lnTo>
                    <a:pt x="948" y="1080"/>
                  </a:lnTo>
                  <a:lnTo>
                    <a:pt x="948" y="1086"/>
                  </a:lnTo>
                  <a:lnTo>
                    <a:pt x="942" y="1092"/>
                  </a:lnTo>
                  <a:lnTo>
                    <a:pt x="942" y="1098"/>
                  </a:lnTo>
                  <a:lnTo>
                    <a:pt x="942" y="1104"/>
                  </a:lnTo>
                  <a:lnTo>
                    <a:pt x="942" y="1110"/>
                  </a:lnTo>
                  <a:lnTo>
                    <a:pt x="936" y="1116"/>
                  </a:lnTo>
                  <a:lnTo>
                    <a:pt x="936" y="1122"/>
                  </a:lnTo>
                  <a:lnTo>
                    <a:pt x="936" y="1128"/>
                  </a:lnTo>
                  <a:lnTo>
                    <a:pt x="936" y="1134"/>
                  </a:lnTo>
                  <a:lnTo>
                    <a:pt x="942" y="1146"/>
                  </a:lnTo>
                  <a:lnTo>
                    <a:pt x="936" y="1158"/>
                  </a:lnTo>
                  <a:lnTo>
                    <a:pt x="936" y="1170"/>
                  </a:lnTo>
                  <a:lnTo>
                    <a:pt x="936" y="1194"/>
                  </a:lnTo>
                  <a:lnTo>
                    <a:pt x="930" y="1200"/>
                  </a:lnTo>
                  <a:lnTo>
                    <a:pt x="930" y="1212"/>
                  </a:lnTo>
                  <a:lnTo>
                    <a:pt x="918" y="1218"/>
                  </a:lnTo>
                  <a:lnTo>
                    <a:pt x="918" y="1230"/>
                  </a:lnTo>
                  <a:lnTo>
                    <a:pt x="906" y="1230"/>
                  </a:lnTo>
                  <a:lnTo>
                    <a:pt x="900" y="1254"/>
                  </a:lnTo>
                  <a:lnTo>
                    <a:pt x="900" y="1260"/>
                  </a:lnTo>
                  <a:lnTo>
                    <a:pt x="900" y="1266"/>
                  </a:lnTo>
                  <a:lnTo>
                    <a:pt x="900" y="1272"/>
                  </a:lnTo>
                  <a:lnTo>
                    <a:pt x="900" y="1278"/>
                  </a:lnTo>
                  <a:lnTo>
                    <a:pt x="900" y="1284"/>
                  </a:lnTo>
                  <a:lnTo>
                    <a:pt x="906" y="129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1" name="Freeform 26">
              <a:extLst>
                <a:ext uri="{FF2B5EF4-FFF2-40B4-BE49-F238E27FC236}">
                  <a16:creationId xmlns:a16="http://schemas.microsoft.com/office/drawing/2014/main" id="{25725EFE-FE00-49A8-A87A-6752B785C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79173" y="3477313"/>
              <a:ext cx="650731" cy="559125"/>
            </a:xfrm>
            <a:custGeom>
              <a:avLst/>
              <a:gdLst>
                <a:gd name="T0" fmla="*/ 95 w 1224"/>
                <a:gd name="T1" fmla="*/ 89 h 1050"/>
                <a:gd name="T2" fmla="*/ 90 w 1224"/>
                <a:gd name="T3" fmla="*/ 84 h 1050"/>
                <a:gd name="T4" fmla="*/ 84 w 1224"/>
                <a:gd name="T5" fmla="*/ 83 h 1050"/>
                <a:gd name="T6" fmla="*/ 82 w 1224"/>
                <a:gd name="T7" fmla="*/ 80 h 1050"/>
                <a:gd name="T8" fmla="*/ 85 w 1224"/>
                <a:gd name="T9" fmla="*/ 77 h 1050"/>
                <a:gd name="T10" fmla="*/ 81 w 1224"/>
                <a:gd name="T11" fmla="*/ 76 h 1050"/>
                <a:gd name="T12" fmla="*/ 77 w 1224"/>
                <a:gd name="T13" fmla="*/ 77 h 1050"/>
                <a:gd name="T14" fmla="*/ 78 w 1224"/>
                <a:gd name="T15" fmla="*/ 73 h 1050"/>
                <a:gd name="T16" fmla="*/ 59 w 1224"/>
                <a:gd name="T17" fmla="*/ 71 h 1050"/>
                <a:gd name="T18" fmla="*/ 41 w 1224"/>
                <a:gd name="T19" fmla="*/ 73 h 1050"/>
                <a:gd name="T20" fmla="*/ 33 w 1224"/>
                <a:gd name="T21" fmla="*/ 71 h 1050"/>
                <a:gd name="T22" fmla="*/ 30 w 1224"/>
                <a:gd name="T23" fmla="*/ 75 h 1050"/>
                <a:gd name="T24" fmla="*/ 27 w 1224"/>
                <a:gd name="T25" fmla="*/ 80 h 1050"/>
                <a:gd name="T26" fmla="*/ 12 w 1224"/>
                <a:gd name="T27" fmla="*/ 81 h 1050"/>
                <a:gd name="T28" fmla="*/ 9 w 1224"/>
                <a:gd name="T29" fmla="*/ 84 h 1050"/>
                <a:gd name="T30" fmla="*/ 6 w 1224"/>
                <a:gd name="T31" fmla="*/ 83 h 1050"/>
                <a:gd name="T32" fmla="*/ 1 w 1224"/>
                <a:gd name="T33" fmla="*/ 83 h 1050"/>
                <a:gd name="T34" fmla="*/ 3 w 1224"/>
                <a:gd name="T35" fmla="*/ 77 h 1050"/>
                <a:gd name="T36" fmla="*/ 5 w 1224"/>
                <a:gd name="T37" fmla="*/ 70 h 1050"/>
                <a:gd name="T38" fmla="*/ 2 w 1224"/>
                <a:gd name="T39" fmla="*/ 65 h 1050"/>
                <a:gd name="T40" fmla="*/ 3 w 1224"/>
                <a:gd name="T41" fmla="*/ 58 h 1050"/>
                <a:gd name="T42" fmla="*/ 4 w 1224"/>
                <a:gd name="T43" fmla="*/ 51 h 1050"/>
                <a:gd name="T44" fmla="*/ 3 w 1224"/>
                <a:gd name="T45" fmla="*/ 47 h 1050"/>
                <a:gd name="T46" fmla="*/ 4 w 1224"/>
                <a:gd name="T47" fmla="*/ 39 h 1050"/>
                <a:gd name="T48" fmla="*/ 6 w 1224"/>
                <a:gd name="T49" fmla="*/ 29 h 1050"/>
                <a:gd name="T50" fmla="*/ 3 w 1224"/>
                <a:gd name="T51" fmla="*/ 22 h 1050"/>
                <a:gd name="T52" fmla="*/ 2 w 1224"/>
                <a:gd name="T53" fmla="*/ 14 h 1050"/>
                <a:gd name="T54" fmla="*/ 0 w 1224"/>
                <a:gd name="T55" fmla="*/ 6 h 1050"/>
                <a:gd name="T56" fmla="*/ 9 w 1224"/>
                <a:gd name="T57" fmla="*/ 1 h 1050"/>
                <a:gd name="T58" fmla="*/ 11 w 1224"/>
                <a:gd name="T59" fmla="*/ 8 h 1050"/>
                <a:gd name="T60" fmla="*/ 15 w 1224"/>
                <a:gd name="T61" fmla="*/ 9 h 1050"/>
                <a:gd name="T62" fmla="*/ 18 w 1224"/>
                <a:gd name="T63" fmla="*/ 8 h 1050"/>
                <a:gd name="T64" fmla="*/ 18 w 1224"/>
                <a:gd name="T65" fmla="*/ 13 h 1050"/>
                <a:gd name="T66" fmla="*/ 17 w 1224"/>
                <a:gd name="T67" fmla="*/ 15 h 1050"/>
                <a:gd name="T68" fmla="*/ 17 w 1224"/>
                <a:gd name="T69" fmla="*/ 17 h 1050"/>
                <a:gd name="T70" fmla="*/ 17 w 1224"/>
                <a:gd name="T71" fmla="*/ 21 h 1050"/>
                <a:gd name="T72" fmla="*/ 21 w 1224"/>
                <a:gd name="T73" fmla="*/ 25 h 1050"/>
                <a:gd name="T74" fmla="*/ 24 w 1224"/>
                <a:gd name="T75" fmla="*/ 31 h 1050"/>
                <a:gd name="T76" fmla="*/ 35 w 1224"/>
                <a:gd name="T77" fmla="*/ 34 h 1050"/>
                <a:gd name="T78" fmla="*/ 40 w 1224"/>
                <a:gd name="T79" fmla="*/ 27 h 1050"/>
                <a:gd name="T80" fmla="*/ 46 w 1224"/>
                <a:gd name="T81" fmla="*/ 30 h 1050"/>
                <a:gd name="T82" fmla="*/ 51 w 1224"/>
                <a:gd name="T83" fmla="*/ 27 h 1050"/>
                <a:gd name="T84" fmla="*/ 59 w 1224"/>
                <a:gd name="T85" fmla="*/ 39 h 1050"/>
                <a:gd name="T86" fmla="*/ 59 w 1224"/>
                <a:gd name="T87" fmla="*/ 45 h 1050"/>
                <a:gd name="T88" fmla="*/ 72 w 1224"/>
                <a:gd name="T89" fmla="*/ 45 h 1050"/>
                <a:gd name="T90" fmla="*/ 79 w 1224"/>
                <a:gd name="T91" fmla="*/ 44 h 1050"/>
                <a:gd name="T92" fmla="*/ 87 w 1224"/>
                <a:gd name="T93" fmla="*/ 48 h 1050"/>
                <a:gd name="T94" fmla="*/ 93 w 1224"/>
                <a:gd name="T95" fmla="*/ 50 h 1050"/>
                <a:gd name="T96" fmla="*/ 98 w 1224"/>
                <a:gd name="T97" fmla="*/ 51 h 1050"/>
                <a:gd name="T98" fmla="*/ 106 w 1224"/>
                <a:gd name="T99" fmla="*/ 50 h 1050"/>
                <a:gd name="T100" fmla="*/ 104 w 1224"/>
                <a:gd name="T101" fmla="*/ 54 h 1050"/>
                <a:gd name="T102" fmla="*/ 104 w 1224"/>
                <a:gd name="T103" fmla="*/ 60 h 1050"/>
                <a:gd name="T104" fmla="*/ 101 w 1224"/>
                <a:gd name="T105" fmla="*/ 63 h 1050"/>
                <a:gd name="T106" fmla="*/ 98 w 1224"/>
                <a:gd name="T107" fmla="*/ 66 h 1050"/>
                <a:gd name="T108" fmla="*/ 95 w 1224"/>
                <a:gd name="T109" fmla="*/ 68 h 1050"/>
                <a:gd name="T110" fmla="*/ 93 w 1224"/>
                <a:gd name="T111" fmla="*/ 72 h 1050"/>
                <a:gd name="T112" fmla="*/ 98 w 1224"/>
                <a:gd name="T113" fmla="*/ 75 h 1050"/>
                <a:gd name="T114" fmla="*/ 102 w 1224"/>
                <a:gd name="T115" fmla="*/ 77 h 1050"/>
                <a:gd name="T116" fmla="*/ 107 w 1224"/>
                <a:gd name="T117" fmla="*/ 76 h 1050"/>
                <a:gd name="T118" fmla="*/ 104 w 1224"/>
                <a:gd name="T119" fmla="*/ 84 h 1050"/>
                <a:gd name="T120" fmla="*/ 103 w 1224"/>
                <a:gd name="T121" fmla="*/ 87 h 1050"/>
                <a:gd name="T122" fmla="*/ 104 w 1224"/>
                <a:gd name="T123" fmla="*/ 91 h 105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24"/>
                <a:gd name="T187" fmla="*/ 0 h 1050"/>
                <a:gd name="T188" fmla="*/ 1224 w 1224"/>
                <a:gd name="T189" fmla="*/ 1050 h 105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24" h="1050">
                  <a:moveTo>
                    <a:pt x="1128" y="1032"/>
                  </a:moveTo>
                  <a:lnTo>
                    <a:pt x="1122" y="1026"/>
                  </a:lnTo>
                  <a:lnTo>
                    <a:pt x="1116" y="1026"/>
                  </a:lnTo>
                  <a:lnTo>
                    <a:pt x="1110" y="1026"/>
                  </a:lnTo>
                  <a:lnTo>
                    <a:pt x="1104" y="1026"/>
                  </a:lnTo>
                  <a:lnTo>
                    <a:pt x="1104" y="1020"/>
                  </a:lnTo>
                  <a:lnTo>
                    <a:pt x="1098" y="1020"/>
                  </a:lnTo>
                  <a:lnTo>
                    <a:pt x="1092" y="1020"/>
                  </a:lnTo>
                  <a:lnTo>
                    <a:pt x="1086" y="1020"/>
                  </a:lnTo>
                  <a:lnTo>
                    <a:pt x="1080" y="1014"/>
                  </a:lnTo>
                  <a:lnTo>
                    <a:pt x="1068" y="1014"/>
                  </a:lnTo>
                  <a:lnTo>
                    <a:pt x="1062" y="1014"/>
                  </a:lnTo>
                  <a:lnTo>
                    <a:pt x="1062" y="1008"/>
                  </a:lnTo>
                  <a:lnTo>
                    <a:pt x="1062" y="990"/>
                  </a:lnTo>
                  <a:lnTo>
                    <a:pt x="1062" y="984"/>
                  </a:lnTo>
                  <a:lnTo>
                    <a:pt x="1062" y="972"/>
                  </a:lnTo>
                  <a:lnTo>
                    <a:pt x="1044" y="966"/>
                  </a:lnTo>
                  <a:lnTo>
                    <a:pt x="1026" y="966"/>
                  </a:lnTo>
                  <a:lnTo>
                    <a:pt x="1014" y="966"/>
                  </a:lnTo>
                  <a:lnTo>
                    <a:pt x="996" y="966"/>
                  </a:lnTo>
                  <a:lnTo>
                    <a:pt x="996" y="972"/>
                  </a:lnTo>
                  <a:lnTo>
                    <a:pt x="990" y="972"/>
                  </a:lnTo>
                  <a:lnTo>
                    <a:pt x="984" y="966"/>
                  </a:lnTo>
                  <a:lnTo>
                    <a:pt x="978" y="966"/>
                  </a:lnTo>
                  <a:lnTo>
                    <a:pt x="978" y="960"/>
                  </a:lnTo>
                  <a:lnTo>
                    <a:pt x="972" y="954"/>
                  </a:lnTo>
                  <a:lnTo>
                    <a:pt x="966" y="954"/>
                  </a:lnTo>
                  <a:lnTo>
                    <a:pt x="960" y="954"/>
                  </a:lnTo>
                  <a:lnTo>
                    <a:pt x="954" y="954"/>
                  </a:lnTo>
                  <a:lnTo>
                    <a:pt x="954" y="948"/>
                  </a:lnTo>
                  <a:lnTo>
                    <a:pt x="942" y="942"/>
                  </a:lnTo>
                  <a:lnTo>
                    <a:pt x="936" y="942"/>
                  </a:lnTo>
                  <a:lnTo>
                    <a:pt x="936" y="936"/>
                  </a:lnTo>
                  <a:lnTo>
                    <a:pt x="936" y="930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42" y="918"/>
                  </a:lnTo>
                  <a:lnTo>
                    <a:pt x="948" y="918"/>
                  </a:lnTo>
                  <a:lnTo>
                    <a:pt x="960" y="918"/>
                  </a:lnTo>
                  <a:lnTo>
                    <a:pt x="966" y="912"/>
                  </a:lnTo>
                  <a:lnTo>
                    <a:pt x="978" y="906"/>
                  </a:lnTo>
                  <a:lnTo>
                    <a:pt x="978" y="900"/>
                  </a:lnTo>
                  <a:lnTo>
                    <a:pt x="978" y="894"/>
                  </a:lnTo>
                  <a:lnTo>
                    <a:pt x="978" y="888"/>
                  </a:lnTo>
                  <a:lnTo>
                    <a:pt x="972" y="888"/>
                  </a:lnTo>
                  <a:lnTo>
                    <a:pt x="978" y="888"/>
                  </a:lnTo>
                  <a:lnTo>
                    <a:pt x="978" y="882"/>
                  </a:lnTo>
                  <a:lnTo>
                    <a:pt x="972" y="876"/>
                  </a:lnTo>
                  <a:lnTo>
                    <a:pt x="966" y="870"/>
                  </a:lnTo>
                  <a:lnTo>
                    <a:pt x="954" y="876"/>
                  </a:lnTo>
                  <a:lnTo>
                    <a:pt x="948" y="876"/>
                  </a:lnTo>
                  <a:lnTo>
                    <a:pt x="942" y="870"/>
                  </a:lnTo>
                  <a:lnTo>
                    <a:pt x="936" y="876"/>
                  </a:lnTo>
                  <a:lnTo>
                    <a:pt x="930" y="876"/>
                  </a:lnTo>
                  <a:lnTo>
                    <a:pt x="924" y="882"/>
                  </a:lnTo>
                  <a:lnTo>
                    <a:pt x="912" y="888"/>
                  </a:lnTo>
                  <a:lnTo>
                    <a:pt x="906" y="894"/>
                  </a:lnTo>
                  <a:lnTo>
                    <a:pt x="900" y="900"/>
                  </a:lnTo>
                  <a:lnTo>
                    <a:pt x="894" y="888"/>
                  </a:lnTo>
                  <a:lnTo>
                    <a:pt x="888" y="894"/>
                  </a:lnTo>
                  <a:lnTo>
                    <a:pt x="882" y="888"/>
                  </a:lnTo>
                  <a:lnTo>
                    <a:pt x="876" y="894"/>
                  </a:lnTo>
                  <a:lnTo>
                    <a:pt x="876" y="888"/>
                  </a:lnTo>
                  <a:lnTo>
                    <a:pt x="876" y="882"/>
                  </a:lnTo>
                  <a:lnTo>
                    <a:pt x="876" y="876"/>
                  </a:lnTo>
                  <a:lnTo>
                    <a:pt x="870" y="858"/>
                  </a:lnTo>
                  <a:lnTo>
                    <a:pt x="864" y="858"/>
                  </a:lnTo>
                  <a:lnTo>
                    <a:pt x="870" y="852"/>
                  </a:lnTo>
                  <a:lnTo>
                    <a:pt x="870" y="846"/>
                  </a:lnTo>
                  <a:lnTo>
                    <a:pt x="876" y="846"/>
                  </a:lnTo>
                  <a:lnTo>
                    <a:pt x="882" y="846"/>
                  </a:lnTo>
                  <a:lnTo>
                    <a:pt x="888" y="840"/>
                  </a:lnTo>
                  <a:lnTo>
                    <a:pt x="894" y="834"/>
                  </a:lnTo>
                  <a:lnTo>
                    <a:pt x="894" y="828"/>
                  </a:lnTo>
                  <a:lnTo>
                    <a:pt x="894" y="816"/>
                  </a:lnTo>
                  <a:lnTo>
                    <a:pt x="858" y="810"/>
                  </a:lnTo>
                  <a:lnTo>
                    <a:pt x="858" y="816"/>
                  </a:lnTo>
                  <a:lnTo>
                    <a:pt x="852" y="816"/>
                  </a:lnTo>
                  <a:lnTo>
                    <a:pt x="780" y="816"/>
                  </a:lnTo>
                  <a:lnTo>
                    <a:pt x="750" y="816"/>
                  </a:lnTo>
                  <a:lnTo>
                    <a:pt x="684" y="816"/>
                  </a:lnTo>
                  <a:lnTo>
                    <a:pt x="636" y="816"/>
                  </a:lnTo>
                  <a:lnTo>
                    <a:pt x="612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0" y="816"/>
                  </a:lnTo>
                  <a:lnTo>
                    <a:pt x="480" y="822"/>
                  </a:lnTo>
                  <a:lnTo>
                    <a:pt x="480" y="834"/>
                  </a:lnTo>
                  <a:lnTo>
                    <a:pt x="474" y="840"/>
                  </a:lnTo>
                  <a:lnTo>
                    <a:pt x="468" y="840"/>
                  </a:lnTo>
                  <a:lnTo>
                    <a:pt x="432" y="840"/>
                  </a:lnTo>
                  <a:lnTo>
                    <a:pt x="426" y="834"/>
                  </a:lnTo>
                  <a:lnTo>
                    <a:pt x="420" y="834"/>
                  </a:lnTo>
                  <a:lnTo>
                    <a:pt x="420" y="828"/>
                  </a:lnTo>
                  <a:lnTo>
                    <a:pt x="414" y="822"/>
                  </a:lnTo>
                  <a:lnTo>
                    <a:pt x="408" y="822"/>
                  </a:lnTo>
                  <a:lnTo>
                    <a:pt x="396" y="822"/>
                  </a:lnTo>
                  <a:lnTo>
                    <a:pt x="396" y="816"/>
                  </a:lnTo>
                  <a:lnTo>
                    <a:pt x="384" y="816"/>
                  </a:lnTo>
                  <a:lnTo>
                    <a:pt x="372" y="810"/>
                  </a:lnTo>
                  <a:lnTo>
                    <a:pt x="372" y="804"/>
                  </a:lnTo>
                  <a:lnTo>
                    <a:pt x="366" y="804"/>
                  </a:lnTo>
                  <a:lnTo>
                    <a:pt x="360" y="804"/>
                  </a:lnTo>
                  <a:lnTo>
                    <a:pt x="348" y="828"/>
                  </a:lnTo>
                  <a:lnTo>
                    <a:pt x="348" y="834"/>
                  </a:lnTo>
                  <a:lnTo>
                    <a:pt x="348" y="852"/>
                  </a:lnTo>
                  <a:lnTo>
                    <a:pt x="348" y="858"/>
                  </a:lnTo>
                  <a:lnTo>
                    <a:pt x="342" y="864"/>
                  </a:lnTo>
                  <a:lnTo>
                    <a:pt x="342" y="870"/>
                  </a:lnTo>
                  <a:lnTo>
                    <a:pt x="330" y="876"/>
                  </a:lnTo>
                  <a:lnTo>
                    <a:pt x="324" y="888"/>
                  </a:lnTo>
                  <a:lnTo>
                    <a:pt x="324" y="894"/>
                  </a:lnTo>
                  <a:lnTo>
                    <a:pt x="330" y="900"/>
                  </a:lnTo>
                  <a:lnTo>
                    <a:pt x="330" y="906"/>
                  </a:lnTo>
                  <a:lnTo>
                    <a:pt x="324" y="906"/>
                  </a:lnTo>
                  <a:lnTo>
                    <a:pt x="318" y="912"/>
                  </a:lnTo>
                  <a:lnTo>
                    <a:pt x="312" y="918"/>
                  </a:lnTo>
                  <a:lnTo>
                    <a:pt x="306" y="924"/>
                  </a:lnTo>
                  <a:lnTo>
                    <a:pt x="288" y="924"/>
                  </a:lnTo>
                  <a:lnTo>
                    <a:pt x="282" y="924"/>
                  </a:lnTo>
                  <a:lnTo>
                    <a:pt x="276" y="930"/>
                  </a:lnTo>
                  <a:lnTo>
                    <a:pt x="270" y="930"/>
                  </a:lnTo>
                  <a:lnTo>
                    <a:pt x="264" y="930"/>
                  </a:lnTo>
                  <a:lnTo>
                    <a:pt x="198" y="930"/>
                  </a:lnTo>
                  <a:lnTo>
                    <a:pt x="132" y="930"/>
                  </a:lnTo>
                  <a:lnTo>
                    <a:pt x="132" y="936"/>
                  </a:lnTo>
                  <a:lnTo>
                    <a:pt x="132" y="942"/>
                  </a:lnTo>
                  <a:lnTo>
                    <a:pt x="132" y="948"/>
                  </a:lnTo>
                  <a:lnTo>
                    <a:pt x="126" y="948"/>
                  </a:lnTo>
                  <a:lnTo>
                    <a:pt x="120" y="948"/>
                  </a:lnTo>
                  <a:lnTo>
                    <a:pt x="120" y="954"/>
                  </a:lnTo>
                  <a:lnTo>
                    <a:pt x="114" y="954"/>
                  </a:lnTo>
                  <a:lnTo>
                    <a:pt x="114" y="960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02" y="966"/>
                  </a:lnTo>
                  <a:lnTo>
                    <a:pt x="102" y="972"/>
                  </a:lnTo>
                  <a:lnTo>
                    <a:pt x="96" y="972"/>
                  </a:lnTo>
                  <a:lnTo>
                    <a:pt x="96" y="966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78" y="960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60"/>
                  </a:lnTo>
                  <a:lnTo>
                    <a:pt x="54" y="966"/>
                  </a:lnTo>
                  <a:lnTo>
                    <a:pt x="48" y="966"/>
                  </a:lnTo>
                  <a:lnTo>
                    <a:pt x="42" y="966"/>
                  </a:lnTo>
                  <a:lnTo>
                    <a:pt x="36" y="966"/>
                  </a:lnTo>
                  <a:lnTo>
                    <a:pt x="30" y="966"/>
                  </a:lnTo>
                  <a:lnTo>
                    <a:pt x="24" y="960"/>
                  </a:lnTo>
                  <a:lnTo>
                    <a:pt x="18" y="960"/>
                  </a:lnTo>
                  <a:lnTo>
                    <a:pt x="12" y="960"/>
                  </a:lnTo>
                  <a:lnTo>
                    <a:pt x="12" y="948"/>
                  </a:lnTo>
                  <a:lnTo>
                    <a:pt x="18" y="942"/>
                  </a:lnTo>
                  <a:lnTo>
                    <a:pt x="18" y="936"/>
                  </a:lnTo>
                  <a:lnTo>
                    <a:pt x="18" y="930"/>
                  </a:lnTo>
                  <a:lnTo>
                    <a:pt x="18" y="924"/>
                  </a:lnTo>
                  <a:lnTo>
                    <a:pt x="18" y="912"/>
                  </a:lnTo>
                  <a:lnTo>
                    <a:pt x="24" y="906"/>
                  </a:lnTo>
                  <a:lnTo>
                    <a:pt x="30" y="900"/>
                  </a:lnTo>
                  <a:lnTo>
                    <a:pt x="36" y="894"/>
                  </a:lnTo>
                  <a:lnTo>
                    <a:pt x="36" y="882"/>
                  </a:lnTo>
                  <a:lnTo>
                    <a:pt x="30" y="876"/>
                  </a:lnTo>
                  <a:lnTo>
                    <a:pt x="30" y="870"/>
                  </a:lnTo>
                  <a:lnTo>
                    <a:pt x="24" y="858"/>
                  </a:lnTo>
                  <a:lnTo>
                    <a:pt x="24" y="846"/>
                  </a:lnTo>
                  <a:lnTo>
                    <a:pt x="36" y="822"/>
                  </a:lnTo>
                  <a:lnTo>
                    <a:pt x="42" y="816"/>
                  </a:lnTo>
                  <a:lnTo>
                    <a:pt x="48" y="816"/>
                  </a:lnTo>
                  <a:lnTo>
                    <a:pt x="60" y="804"/>
                  </a:lnTo>
                  <a:lnTo>
                    <a:pt x="60" y="786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54" y="762"/>
                  </a:lnTo>
                  <a:lnTo>
                    <a:pt x="42" y="762"/>
                  </a:lnTo>
                  <a:lnTo>
                    <a:pt x="36" y="762"/>
                  </a:lnTo>
                  <a:lnTo>
                    <a:pt x="30" y="762"/>
                  </a:lnTo>
                  <a:lnTo>
                    <a:pt x="30" y="756"/>
                  </a:lnTo>
                  <a:lnTo>
                    <a:pt x="24" y="750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702"/>
                  </a:lnTo>
                  <a:lnTo>
                    <a:pt x="36" y="684"/>
                  </a:lnTo>
                  <a:lnTo>
                    <a:pt x="36" y="678"/>
                  </a:lnTo>
                  <a:lnTo>
                    <a:pt x="36" y="666"/>
                  </a:lnTo>
                  <a:lnTo>
                    <a:pt x="36" y="654"/>
                  </a:lnTo>
                  <a:lnTo>
                    <a:pt x="18" y="654"/>
                  </a:lnTo>
                  <a:lnTo>
                    <a:pt x="18" y="648"/>
                  </a:lnTo>
                  <a:lnTo>
                    <a:pt x="18" y="618"/>
                  </a:lnTo>
                  <a:lnTo>
                    <a:pt x="18" y="612"/>
                  </a:lnTo>
                  <a:lnTo>
                    <a:pt x="24" y="612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54" y="588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76"/>
                  </a:lnTo>
                  <a:lnTo>
                    <a:pt x="48" y="564"/>
                  </a:lnTo>
                  <a:lnTo>
                    <a:pt x="42" y="564"/>
                  </a:lnTo>
                  <a:lnTo>
                    <a:pt x="36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6" y="540"/>
                  </a:lnTo>
                  <a:lnTo>
                    <a:pt x="48" y="534"/>
                  </a:lnTo>
                  <a:lnTo>
                    <a:pt x="54" y="528"/>
                  </a:lnTo>
                  <a:lnTo>
                    <a:pt x="60" y="504"/>
                  </a:lnTo>
                  <a:lnTo>
                    <a:pt x="60" y="492"/>
                  </a:lnTo>
                  <a:lnTo>
                    <a:pt x="54" y="492"/>
                  </a:lnTo>
                  <a:lnTo>
                    <a:pt x="54" y="480"/>
                  </a:lnTo>
                  <a:lnTo>
                    <a:pt x="48" y="456"/>
                  </a:lnTo>
                  <a:lnTo>
                    <a:pt x="42" y="450"/>
                  </a:lnTo>
                  <a:lnTo>
                    <a:pt x="36" y="444"/>
                  </a:lnTo>
                  <a:lnTo>
                    <a:pt x="36" y="420"/>
                  </a:lnTo>
                  <a:lnTo>
                    <a:pt x="36" y="408"/>
                  </a:lnTo>
                  <a:lnTo>
                    <a:pt x="36" y="37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60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6" y="300"/>
                  </a:lnTo>
                  <a:lnTo>
                    <a:pt x="60" y="294"/>
                  </a:lnTo>
                  <a:lnTo>
                    <a:pt x="60" y="288"/>
                  </a:lnTo>
                  <a:lnTo>
                    <a:pt x="54" y="282"/>
                  </a:lnTo>
                  <a:lnTo>
                    <a:pt x="42" y="276"/>
                  </a:lnTo>
                  <a:lnTo>
                    <a:pt x="36" y="276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0" y="252"/>
                  </a:lnTo>
                  <a:lnTo>
                    <a:pt x="24" y="246"/>
                  </a:lnTo>
                  <a:lnTo>
                    <a:pt x="24" y="240"/>
                  </a:lnTo>
                  <a:lnTo>
                    <a:pt x="24" y="228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62"/>
                  </a:lnTo>
                  <a:lnTo>
                    <a:pt x="24" y="144"/>
                  </a:lnTo>
                  <a:lnTo>
                    <a:pt x="24" y="132"/>
                  </a:lnTo>
                  <a:lnTo>
                    <a:pt x="24" y="114"/>
                  </a:lnTo>
                  <a:lnTo>
                    <a:pt x="24" y="102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18" y="48"/>
                  </a:lnTo>
                  <a:lnTo>
                    <a:pt x="42" y="36"/>
                  </a:lnTo>
                  <a:lnTo>
                    <a:pt x="54" y="24"/>
                  </a:lnTo>
                  <a:lnTo>
                    <a:pt x="60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10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14" y="60"/>
                  </a:lnTo>
                  <a:lnTo>
                    <a:pt x="120" y="60"/>
                  </a:lnTo>
                  <a:lnTo>
                    <a:pt x="114" y="84"/>
                  </a:lnTo>
                  <a:lnTo>
                    <a:pt x="120" y="90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38" y="114"/>
                  </a:lnTo>
                  <a:lnTo>
                    <a:pt x="138" y="132"/>
                  </a:lnTo>
                  <a:lnTo>
                    <a:pt x="162" y="126"/>
                  </a:lnTo>
                  <a:lnTo>
                    <a:pt x="162" y="114"/>
                  </a:lnTo>
                  <a:lnTo>
                    <a:pt x="174" y="108"/>
                  </a:lnTo>
                  <a:lnTo>
                    <a:pt x="174" y="102"/>
                  </a:lnTo>
                  <a:lnTo>
                    <a:pt x="180" y="96"/>
                  </a:lnTo>
                  <a:lnTo>
                    <a:pt x="180" y="60"/>
                  </a:lnTo>
                  <a:lnTo>
                    <a:pt x="192" y="60"/>
                  </a:lnTo>
                  <a:lnTo>
                    <a:pt x="192" y="72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04" y="108"/>
                  </a:lnTo>
                  <a:lnTo>
                    <a:pt x="204" y="114"/>
                  </a:lnTo>
                  <a:lnTo>
                    <a:pt x="204" y="120"/>
                  </a:lnTo>
                  <a:lnTo>
                    <a:pt x="204" y="126"/>
                  </a:lnTo>
                  <a:lnTo>
                    <a:pt x="210" y="126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8" y="174"/>
                  </a:lnTo>
                  <a:lnTo>
                    <a:pt x="198" y="180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86" y="204"/>
                  </a:lnTo>
                  <a:lnTo>
                    <a:pt x="186" y="210"/>
                  </a:lnTo>
                  <a:lnTo>
                    <a:pt x="180" y="210"/>
                  </a:lnTo>
                  <a:lnTo>
                    <a:pt x="180" y="216"/>
                  </a:lnTo>
                  <a:lnTo>
                    <a:pt x="180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92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8" y="258"/>
                  </a:lnTo>
                  <a:lnTo>
                    <a:pt x="204" y="258"/>
                  </a:lnTo>
                  <a:lnTo>
                    <a:pt x="210" y="258"/>
                  </a:lnTo>
                  <a:lnTo>
                    <a:pt x="216" y="258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34" y="276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46" y="306"/>
                  </a:lnTo>
                  <a:lnTo>
                    <a:pt x="252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42"/>
                  </a:lnTo>
                  <a:lnTo>
                    <a:pt x="270" y="342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88" y="366"/>
                  </a:lnTo>
                  <a:lnTo>
                    <a:pt x="336" y="360"/>
                  </a:lnTo>
                  <a:lnTo>
                    <a:pt x="354" y="360"/>
                  </a:lnTo>
                  <a:lnTo>
                    <a:pt x="366" y="372"/>
                  </a:lnTo>
                  <a:lnTo>
                    <a:pt x="378" y="378"/>
                  </a:lnTo>
                  <a:lnTo>
                    <a:pt x="378" y="390"/>
                  </a:lnTo>
                  <a:lnTo>
                    <a:pt x="384" y="390"/>
                  </a:lnTo>
                  <a:lnTo>
                    <a:pt x="390" y="396"/>
                  </a:lnTo>
                  <a:lnTo>
                    <a:pt x="408" y="390"/>
                  </a:lnTo>
                  <a:lnTo>
                    <a:pt x="426" y="366"/>
                  </a:lnTo>
                  <a:lnTo>
                    <a:pt x="432" y="360"/>
                  </a:lnTo>
                  <a:lnTo>
                    <a:pt x="438" y="348"/>
                  </a:lnTo>
                  <a:lnTo>
                    <a:pt x="438" y="342"/>
                  </a:lnTo>
                  <a:lnTo>
                    <a:pt x="438" y="330"/>
                  </a:lnTo>
                  <a:lnTo>
                    <a:pt x="444" y="324"/>
                  </a:lnTo>
                  <a:lnTo>
                    <a:pt x="450" y="318"/>
                  </a:lnTo>
                  <a:lnTo>
                    <a:pt x="456" y="312"/>
                  </a:lnTo>
                  <a:lnTo>
                    <a:pt x="456" y="306"/>
                  </a:lnTo>
                  <a:lnTo>
                    <a:pt x="456" y="300"/>
                  </a:lnTo>
                  <a:lnTo>
                    <a:pt x="474" y="288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92" y="294"/>
                  </a:lnTo>
                  <a:lnTo>
                    <a:pt x="492" y="318"/>
                  </a:lnTo>
                  <a:lnTo>
                    <a:pt x="504" y="324"/>
                  </a:lnTo>
                  <a:lnTo>
                    <a:pt x="492" y="348"/>
                  </a:lnTo>
                  <a:lnTo>
                    <a:pt x="522" y="348"/>
                  </a:lnTo>
                  <a:lnTo>
                    <a:pt x="528" y="342"/>
                  </a:lnTo>
                  <a:lnTo>
                    <a:pt x="528" y="336"/>
                  </a:lnTo>
                  <a:lnTo>
                    <a:pt x="528" y="330"/>
                  </a:lnTo>
                  <a:lnTo>
                    <a:pt x="534" y="330"/>
                  </a:lnTo>
                  <a:lnTo>
                    <a:pt x="540" y="330"/>
                  </a:lnTo>
                  <a:lnTo>
                    <a:pt x="546" y="330"/>
                  </a:lnTo>
                  <a:lnTo>
                    <a:pt x="552" y="324"/>
                  </a:lnTo>
                  <a:lnTo>
                    <a:pt x="558" y="318"/>
                  </a:lnTo>
                  <a:lnTo>
                    <a:pt x="576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8" y="348"/>
                  </a:lnTo>
                  <a:lnTo>
                    <a:pt x="654" y="354"/>
                  </a:lnTo>
                  <a:lnTo>
                    <a:pt x="648" y="402"/>
                  </a:lnTo>
                  <a:lnTo>
                    <a:pt x="678" y="402"/>
                  </a:lnTo>
                  <a:lnTo>
                    <a:pt x="678" y="420"/>
                  </a:lnTo>
                  <a:lnTo>
                    <a:pt x="684" y="438"/>
                  </a:lnTo>
                  <a:lnTo>
                    <a:pt x="684" y="450"/>
                  </a:lnTo>
                  <a:lnTo>
                    <a:pt x="684" y="456"/>
                  </a:lnTo>
                  <a:lnTo>
                    <a:pt x="690" y="468"/>
                  </a:lnTo>
                  <a:lnTo>
                    <a:pt x="690" y="474"/>
                  </a:lnTo>
                  <a:lnTo>
                    <a:pt x="690" y="480"/>
                  </a:lnTo>
                  <a:lnTo>
                    <a:pt x="696" y="486"/>
                  </a:lnTo>
                  <a:lnTo>
                    <a:pt x="696" y="498"/>
                  </a:lnTo>
                  <a:lnTo>
                    <a:pt x="702" y="504"/>
                  </a:lnTo>
                  <a:lnTo>
                    <a:pt x="690" y="516"/>
                  </a:lnTo>
                  <a:lnTo>
                    <a:pt x="678" y="522"/>
                  </a:lnTo>
                  <a:lnTo>
                    <a:pt x="654" y="528"/>
                  </a:lnTo>
                  <a:lnTo>
                    <a:pt x="660" y="546"/>
                  </a:lnTo>
                  <a:lnTo>
                    <a:pt x="672" y="546"/>
                  </a:lnTo>
                  <a:lnTo>
                    <a:pt x="678" y="540"/>
                  </a:lnTo>
                  <a:lnTo>
                    <a:pt x="714" y="540"/>
                  </a:lnTo>
                  <a:lnTo>
                    <a:pt x="798" y="540"/>
                  </a:lnTo>
                  <a:lnTo>
                    <a:pt x="804" y="540"/>
                  </a:lnTo>
                  <a:lnTo>
                    <a:pt x="816" y="528"/>
                  </a:lnTo>
                  <a:lnTo>
                    <a:pt x="822" y="522"/>
                  </a:lnTo>
                  <a:lnTo>
                    <a:pt x="834" y="516"/>
                  </a:lnTo>
                  <a:lnTo>
                    <a:pt x="846" y="516"/>
                  </a:lnTo>
                  <a:lnTo>
                    <a:pt x="852" y="510"/>
                  </a:lnTo>
                  <a:lnTo>
                    <a:pt x="858" y="510"/>
                  </a:lnTo>
                  <a:lnTo>
                    <a:pt x="882" y="516"/>
                  </a:lnTo>
                  <a:lnTo>
                    <a:pt x="888" y="516"/>
                  </a:lnTo>
                  <a:lnTo>
                    <a:pt x="888" y="510"/>
                  </a:lnTo>
                  <a:lnTo>
                    <a:pt x="894" y="510"/>
                  </a:lnTo>
                  <a:lnTo>
                    <a:pt x="906" y="504"/>
                  </a:lnTo>
                  <a:lnTo>
                    <a:pt x="918" y="498"/>
                  </a:lnTo>
                  <a:lnTo>
                    <a:pt x="930" y="492"/>
                  </a:lnTo>
                  <a:lnTo>
                    <a:pt x="936" y="492"/>
                  </a:lnTo>
                  <a:lnTo>
                    <a:pt x="948" y="492"/>
                  </a:lnTo>
                  <a:lnTo>
                    <a:pt x="954" y="528"/>
                  </a:lnTo>
                  <a:lnTo>
                    <a:pt x="954" y="564"/>
                  </a:lnTo>
                  <a:lnTo>
                    <a:pt x="972" y="564"/>
                  </a:lnTo>
                  <a:lnTo>
                    <a:pt x="978" y="558"/>
                  </a:lnTo>
                  <a:lnTo>
                    <a:pt x="990" y="552"/>
                  </a:lnTo>
                  <a:lnTo>
                    <a:pt x="1002" y="540"/>
                  </a:lnTo>
                  <a:lnTo>
                    <a:pt x="1026" y="534"/>
                  </a:lnTo>
                  <a:lnTo>
                    <a:pt x="1032" y="540"/>
                  </a:lnTo>
                  <a:lnTo>
                    <a:pt x="1044" y="546"/>
                  </a:lnTo>
                  <a:lnTo>
                    <a:pt x="1062" y="552"/>
                  </a:lnTo>
                  <a:lnTo>
                    <a:pt x="1068" y="552"/>
                  </a:lnTo>
                  <a:lnTo>
                    <a:pt x="1068" y="570"/>
                  </a:lnTo>
                  <a:lnTo>
                    <a:pt x="1068" y="576"/>
                  </a:lnTo>
                  <a:lnTo>
                    <a:pt x="1068" y="582"/>
                  </a:lnTo>
                  <a:lnTo>
                    <a:pt x="1068" y="588"/>
                  </a:lnTo>
                  <a:lnTo>
                    <a:pt x="1068" y="594"/>
                  </a:lnTo>
                  <a:lnTo>
                    <a:pt x="1080" y="600"/>
                  </a:lnTo>
                  <a:lnTo>
                    <a:pt x="1086" y="606"/>
                  </a:lnTo>
                  <a:lnTo>
                    <a:pt x="1092" y="594"/>
                  </a:lnTo>
                  <a:lnTo>
                    <a:pt x="1104" y="588"/>
                  </a:lnTo>
                  <a:lnTo>
                    <a:pt x="1116" y="588"/>
                  </a:lnTo>
                  <a:lnTo>
                    <a:pt x="1122" y="588"/>
                  </a:lnTo>
                  <a:lnTo>
                    <a:pt x="1122" y="594"/>
                  </a:lnTo>
                  <a:lnTo>
                    <a:pt x="1128" y="594"/>
                  </a:lnTo>
                  <a:lnTo>
                    <a:pt x="1134" y="594"/>
                  </a:lnTo>
                  <a:lnTo>
                    <a:pt x="1140" y="594"/>
                  </a:lnTo>
                  <a:lnTo>
                    <a:pt x="1146" y="588"/>
                  </a:lnTo>
                  <a:lnTo>
                    <a:pt x="1158" y="582"/>
                  </a:lnTo>
                  <a:lnTo>
                    <a:pt x="1164" y="576"/>
                  </a:lnTo>
                  <a:lnTo>
                    <a:pt x="1176" y="576"/>
                  </a:lnTo>
                  <a:lnTo>
                    <a:pt x="1194" y="576"/>
                  </a:lnTo>
                  <a:lnTo>
                    <a:pt x="1218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24" y="594"/>
                  </a:lnTo>
                  <a:lnTo>
                    <a:pt x="1212" y="600"/>
                  </a:lnTo>
                  <a:lnTo>
                    <a:pt x="1206" y="606"/>
                  </a:lnTo>
                  <a:lnTo>
                    <a:pt x="1200" y="606"/>
                  </a:lnTo>
                  <a:lnTo>
                    <a:pt x="1200" y="612"/>
                  </a:lnTo>
                  <a:lnTo>
                    <a:pt x="1194" y="612"/>
                  </a:lnTo>
                  <a:lnTo>
                    <a:pt x="1194" y="618"/>
                  </a:lnTo>
                  <a:lnTo>
                    <a:pt x="1194" y="624"/>
                  </a:lnTo>
                  <a:lnTo>
                    <a:pt x="1194" y="630"/>
                  </a:lnTo>
                  <a:lnTo>
                    <a:pt x="1194" y="648"/>
                  </a:lnTo>
                  <a:lnTo>
                    <a:pt x="1194" y="660"/>
                  </a:lnTo>
                  <a:lnTo>
                    <a:pt x="1194" y="666"/>
                  </a:lnTo>
                  <a:lnTo>
                    <a:pt x="1194" y="672"/>
                  </a:lnTo>
                  <a:lnTo>
                    <a:pt x="1194" y="678"/>
                  </a:lnTo>
                  <a:lnTo>
                    <a:pt x="1188" y="684"/>
                  </a:lnTo>
                  <a:lnTo>
                    <a:pt x="1188" y="690"/>
                  </a:lnTo>
                  <a:lnTo>
                    <a:pt x="1188" y="696"/>
                  </a:lnTo>
                  <a:lnTo>
                    <a:pt x="1188" y="702"/>
                  </a:lnTo>
                  <a:lnTo>
                    <a:pt x="1188" y="708"/>
                  </a:lnTo>
                  <a:lnTo>
                    <a:pt x="1188" y="714"/>
                  </a:lnTo>
                  <a:lnTo>
                    <a:pt x="1182" y="720"/>
                  </a:lnTo>
                  <a:lnTo>
                    <a:pt x="1170" y="720"/>
                  </a:lnTo>
                  <a:lnTo>
                    <a:pt x="1158" y="726"/>
                  </a:lnTo>
                  <a:lnTo>
                    <a:pt x="1152" y="726"/>
                  </a:lnTo>
                  <a:lnTo>
                    <a:pt x="1152" y="732"/>
                  </a:lnTo>
                  <a:lnTo>
                    <a:pt x="1146" y="738"/>
                  </a:lnTo>
                  <a:lnTo>
                    <a:pt x="1140" y="738"/>
                  </a:lnTo>
                  <a:lnTo>
                    <a:pt x="1140" y="744"/>
                  </a:lnTo>
                  <a:lnTo>
                    <a:pt x="1134" y="744"/>
                  </a:lnTo>
                  <a:lnTo>
                    <a:pt x="1128" y="744"/>
                  </a:lnTo>
                  <a:lnTo>
                    <a:pt x="1122" y="750"/>
                  </a:lnTo>
                  <a:lnTo>
                    <a:pt x="1128" y="750"/>
                  </a:lnTo>
                  <a:lnTo>
                    <a:pt x="1122" y="756"/>
                  </a:lnTo>
                  <a:lnTo>
                    <a:pt x="1116" y="756"/>
                  </a:lnTo>
                  <a:lnTo>
                    <a:pt x="1110" y="762"/>
                  </a:lnTo>
                  <a:lnTo>
                    <a:pt x="1104" y="762"/>
                  </a:lnTo>
                  <a:lnTo>
                    <a:pt x="1104" y="768"/>
                  </a:lnTo>
                  <a:lnTo>
                    <a:pt x="1098" y="768"/>
                  </a:lnTo>
                  <a:lnTo>
                    <a:pt x="1098" y="774"/>
                  </a:lnTo>
                  <a:lnTo>
                    <a:pt x="1092" y="774"/>
                  </a:lnTo>
                  <a:lnTo>
                    <a:pt x="1092" y="780"/>
                  </a:lnTo>
                  <a:lnTo>
                    <a:pt x="1086" y="780"/>
                  </a:lnTo>
                  <a:lnTo>
                    <a:pt x="1086" y="786"/>
                  </a:lnTo>
                  <a:lnTo>
                    <a:pt x="1080" y="786"/>
                  </a:lnTo>
                  <a:lnTo>
                    <a:pt x="1080" y="792"/>
                  </a:lnTo>
                  <a:lnTo>
                    <a:pt x="1080" y="798"/>
                  </a:lnTo>
                  <a:lnTo>
                    <a:pt x="1080" y="804"/>
                  </a:lnTo>
                  <a:lnTo>
                    <a:pt x="1086" y="810"/>
                  </a:lnTo>
                  <a:lnTo>
                    <a:pt x="1080" y="816"/>
                  </a:lnTo>
                  <a:lnTo>
                    <a:pt x="1080" y="822"/>
                  </a:lnTo>
                  <a:lnTo>
                    <a:pt x="1074" y="822"/>
                  </a:lnTo>
                  <a:lnTo>
                    <a:pt x="1068" y="828"/>
                  </a:lnTo>
                  <a:lnTo>
                    <a:pt x="1074" y="828"/>
                  </a:lnTo>
                  <a:lnTo>
                    <a:pt x="1074" y="834"/>
                  </a:lnTo>
                  <a:lnTo>
                    <a:pt x="1080" y="846"/>
                  </a:lnTo>
                  <a:lnTo>
                    <a:pt x="1086" y="846"/>
                  </a:lnTo>
                  <a:lnTo>
                    <a:pt x="1092" y="852"/>
                  </a:lnTo>
                  <a:lnTo>
                    <a:pt x="1092" y="858"/>
                  </a:lnTo>
                  <a:lnTo>
                    <a:pt x="1098" y="858"/>
                  </a:lnTo>
                  <a:lnTo>
                    <a:pt x="1110" y="864"/>
                  </a:lnTo>
                  <a:lnTo>
                    <a:pt x="1116" y="864"/>
                  </a:lnTo>
                  <a:lnTo>
                    <a:pt x="1122" y="864"/>
                  </a:lnTo>
                  <a:lnTo>
                    <a:pt x="1128" y="864"/>
                  </a:lnTo>
                  <a:lnTo>
                    <a:pt x="1134" y="876"/>
                  </a:lnTo>
                  <a:lnTo>
                    <a:pt x="1140" y="882"/>
                  </a:lnTo>
                  <a:lnTo>
                    <a:pt x="1140" y="888"/>
                  </a:lnTo>
                  <a:lnTo>
                    <a:pt x="1152" y="918"/>
                  </a:lnTo>
                  <a:lnTo>
                    <a:pt x="1158" y="894"/>
                  </a:lnTo>
                  <a:lnTo>
                    <a:pt x="1164" y="888"/>
                  </a:lnTo>
                  <a:lnTo>
                    <a:pt x="1164" y="882"/>
                  </a:lnTo>
                  <a:lnTo>
                    <a:pt x="1176" y="864"/>
                  </a:lnTo>
                  <a:lnTo>
                    <a:pt x="1182" y="858"/>
                  </a:lnTo>
                  <a:lnTo>
                    <a:pt x="1188" y="846"/>
                  </a:lnTo>
                  <a:lnTo>
                    <a:pt x="1200" y="840"/>
                  </a:lnTo>
                  <a:lnTo>
                    <a:pt x="1212" y="840"/>
                  </a:lnTo>
                  <a:lnTo>
                    <a:pt x="1218" y="846"/>
                  </a:lnTo>
                  <a:lnTo>
                    <a:pt x="1224" y="858"/>
                  </a:lnTo>
                  <a:lnTo>
                    <a:pt x="1224" y="864"/>
                  </a:lnTo>
                  <a:lnTo>
                    <a:pt x="1224" y="876"/>
                  </a:lnTo>
                  <a:lnTo>
                    <a:pt x="1212" y="912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00" y="930"/>
                  </a:lnTo>
                  <a:lnTo>
                    <a:pt x="1200" y="942"/>
                  </a:lnTo>
                  <a:lnTo>
                    <a:pt x="1194" y="948"/>
                  </a:lnTo>
                  <a:lnTo>
                    <a:pt x="1194" y="960"/>
                  </a:lnTo>
                  <a:lnTo>
                    <a:pt x="1194" y="966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70" y="984"/>
                  </a:lnTo>
                  <a:lnTo>
                    <a:pt x="1164" y="984"/>
                  </a:lnTo>
                  <a:lnTo>
                    <a:pt x="1158" y="984"/>
                  </a:lnTo>
                  <a:lnTo>
                    <a:pt x="1146" y="984"/>
                  </a:lnTo>
                  <a:lnTo>
                    <a:pt x="1140" y="990"/>
                  </a:lnTo>
                  <a:lnTo>
                    <a:pt x="1140" y="996"/>
                  </a:lnTo>
                  <a:lnTo>
                    <a:pt x="1152" y="996"/>
                  </a:lnTo>
                  <a:lnTo>
                    <a:pt x="1176" y="1002"/>
                  </a:lnTo>
                  <a:lnTo>
                    <a:pt x="1194" y="1008"/>
                  </a:lnTo>
                  <a:lnTo>
                    <a:pt x="1206" y="1008"/>
                  </a:lnTo>
                  <a:lnTo>
                    <a:pt x="1218" y="1014"/>
                  </a:lnTo>
                  <a:lnTo>
                    <a:pt x="1212" y="1038"/>
                  </a:lnTo>
                  <a:lnTo>
                    <a:pt x="1212" y="1044"/>
                  </a:lnTo>
                  <a:lnTo>
                    <a:pt x="1206" y="1044"/>
                  </a:lnTo>
                  <a:lnTo>
                    <a:pt x="1206" y="1050"/>
                  </a:lnTo>
                  <a:lnTo>
                    <a:pt x="1194" y="1050"/>
                  </a:lnTo>
                  <a:lnTo>
                    <a:pt x="1188" y="1044"/>
                  </a:lnTo>
                  <a:lnTo>
                    <a:pt x="1158" y="1020"/>
                  </a:lnTo>
                  <a:lnTo>
                    <a:pt x="1152" y="1020"/>
                  </a:lnTo>
                  <a:lnTo>
                    <a:pt x="1140" y="1020"/>
                  </a:lnTo>
                  <a:lnTo>
                    <a:pt x="1134" y="1020"/>
                  </a:lnTo>
                  <a:lnTo>
                    <a:pt x="1134" y="1026"/>
                  </a:lnTo>
                  <a:lnTo>
                    <a:pt x="1134" y="1032"/>
                  </a:lnTo>
                  <a:lnTo>
                    <a:pt x="1128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2" name="Freeform 27">
              <a:extLst>
                <a:ext uri="{FF2B5EF4-FFF2-40B4-BE49-F238E27FC236}">
                  <a16:creationId xmlns:a16="http://schemas.microsoft.com/office/drawing/2014/main" id="{CE95C9DF-B651-4085-946F-65424BC51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2063" y="3421400"/>
              <a:ext cx="342138" cy="377969"/>
            </a:xfrm>
            <a:custGeom>
              <a:avLst/>
              <a:gdLst>
                <a:gd name="T0" fmla="*/ 43 w 642"/>
                <a:gd name="T1" fmla="*/ 41 h 708"/>
                <a:gd name="T2" fmla="*/ 39 w 642"/>
                <a:gd name="T3" fmla="*/ 41 h 708"/>
                <a:gd name="T4" fmla="*/ 38 w 642"/>
                <a:gd name="T5" fmla="*/ 47 h 708"/>
                <a:gd name="T6" fmla="*/ 38 w 642"/>
                <a:gd name="T7" fmla="*/ 49 h 708"/>
                <a:gd name="T8" fmla="*/ 38 w 642"/>
                <a:gd name="T9" fmla="*/ 50 h 708"/>
                <a:gd name="T10" fmla="*/ 36 w 642"/>
                <a:gd name="T11" fmla="*/ 52 h 708"/>
                <a:gd name="T12" fmla="*/ 35 w 642"/>
                <a:gd name="T13" fmla="*/ 53 h 708"/>
                <a:gd name="T14" fmla="*/ 33 w 642"/>
                <a:gd name="T15" fmla="*/ 55 h 708"/>
                <a:gd name="T16" fmla="*/ 32 w 642"/>
                <a:gd name="T17" fmla="*/ 56 h 708"/>
                <a:gd name="T18" fmla="*/ 31 w 642"/>
                <a:gd name="T19" fmla="*/ 59 h 708"/>
                <a:gd name="T20" fmla="*/ 26 w 642"/>
                <a:gd name="T21" fmla="*/ 59 h 708"/>
                <a:gd name="T22" fmla="*/ 23 w 642"/>
                <a:gd name="T23" fmla="*/ 61 h 708"/>
                <a:gd name="T24" fmla="*/ 20 w 642"/>
                <a:gd name="T25" fmla="*/ 61 h 708"/>
                <a:gd name="T26" fmla="*/ 17 w 642"/>
                <a:gd name="T27" fmla="*/ 59 h 708"/>
                <a:gd name="T28" fmla="*/ 15 w 642"/>
                <a:gd name="T29" fmla="*/ 56 h 708"/>
                <a:gd name="T30" fmla="*/ 9 w 642"/>
                <a:gd name="T31" fmla="*/ 58 h 708"/>
                <a:gd name="T32" fmla="*/ 6 w 642"/>
                <a:gd name="T33" fmla="*/ 52 h 708"/>
                <a:gd name="T34" fmla="*/ 2 w 642"/>
                <a:gd name="T35" fmla="*/ 53 h 708"/>
                <a:gd name="T36" fmla="*/ 1 w 642"/>
                <a:gd name="T37" fmla="*/ 51 h 708"/>
                <a:gd name="T38" fmla="*/ 4 w 642"/>
                <a:gd name="T39" fmla="*/ 47 h 708"/>
                <a:gd name="T40" fmla="*/ 5 w 642"/>
                <a:gd name="T41" fmla="*/ 41 h 708"/>
                <a:gd name="T42" fmla="*/ 5 w 642"/>
                <a:gd name="T43" fmla="*/ 38 h 708"/>
                <a:gd name="T44" fmla="*/ 5 w 642"/>
                <a:gd name="T45" fmla="*/ 35 h 708"/>
                <a:gd name="T46" fmla="*/ 6 w 642"/>
                <a:gd name="T47" fmla="*/ 33 h 708"/>
                <a:gd name="T48" fmla="*/ 5 w 642"/>
                <a:gd name="T49" fmla="*/ 29 h 708"/>
                <a:gd name="T50" fmla="*/ 4 w 642"/>
                <a:gd name="T51" fmla="*/ 28 h 708"/>
                <a:gd name="T52" fmla="*/ 1 w 642"/>
                <a:gd name="T53" fmla="*/ 26 h 708"/>
                <a:gd name="T54" fmla="*/ 1 w 642"/>
                <a:gd name="T55" fmla="*/ 24 h 708"/>
                <a:gd name="T56" fmla="*/ 1 w 642"/>
                <a:gd name="T57" fmla="*/ 20 h 708"/>
                <a:gd name="T58" fmla="*/ 1 w 642"/>
                <a:gd name="T59" fmla="*/ 16 h 708"/>
                <a:gd name="T60" fmla="*/ 2 w 642"/>
                <a:gd name="T61" fmla="*/ 14 h 708"/>
                <a:gd name="T62" fmla="*/ 8 w 642"/>
                <a:gd name="T63" fmla="*/ 14 h 708"/>
                <a:gd name="T64" fmla="*/ 9 w 642"/>
                <a:gd name="T65" fmla="*/ 10 h 708"/>
                <a:gd name="T66" fmla="*/ 15 w 642"/>
                <a:gd name="T67" fmla="*/ 9 h 708"/>
                <a:gd name="T68" fmla="*/ 18 w 642"/>
                <a:gd name="T69" fmla="*/ 14 h 708"/>
                <a:gd name="T70" fmla="*/ 20 w 642"/>
                <a:gd name="T71" fmla="*/ 12 h 708"/>
                <a:gd name="T72" fmla="*/ 20 w 642"/>
                <a:gd name="T73" fmla="*/ 11 h 708"/>
                <a:gd name="T74" fmla="*/ 21 w 642"/>
                <a:gd name="T75" fmla="*/ 9 h 708"/>
                <a:gd name="T76" fmla="*/ 24 w 642"/>
                <a:gd name="T77" fmla="*/ 9 h 708"/>
                <a:gd name="T78" fmla="*/ 27 w 642"/>
                <a:gd name="T79" fmla="*/ 8 h 708"/>
                <a:gd name="T80" fmla="*/ 33 w 642"/>
                <a:gd name="T81" fmla="*/ 2 h 708"/>
                <a:gd name="T82" fmla="*/ 42 w 642"/>
                <a:gd name="T83" fmla="*/ 2 h 708"/>
                <a:gd name="T84" fmla="*/ 49 w 642"/>
                <a:gd name="T85" fmla="*/ 1 h 708"/>
                <a:gd name="T86" fmla="*/ 53 w 642"/>
                <a:gd name="T87" fmla="*/ 4 h 708"/>
                <a:gd name="T88" fmla="*/ 55 w 642"/>
                <a:gd name="T89" fmla="*/ 4 h 708"/>
                <a:gd name="T90" fmla="*/ 55 w 642"/>
                <a:gd name="T91" fmla="*/ 7 h 708"/>
                <a:gd name="T92" fmla="*/ 52 w 642"/>
                <a:gd name="T93" fmla="*/ 9 h 708"/>
                <a:gd name="T94" fmla="*/ 49 w 642"/>
                <a:gd name="T95" fmla="*/ 12 h 708"/>
                <a:gd name="T96" fmla="*/ 47 w 642"/>
                <a:gd name="T97" fmla="*/ 14 h 708"/>
                <a:gd name="T98" fmla="*/ 47 w 642"/>
                <a:gd name="T99" fmla="*/ 17 h 708"/>
                <a:gd name="T100" fmla="*/ 45 w 642"/>
                <a:gd name="T101" fmla="*/ 26 h 708"/>
                <a:gd name="T102" fmla="*/ 50 w 642"/>
                <a:gd name="T103" fmla="*/ 37 h 70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42"/>
                <a:gd name="T157" fmla="*/ 0 h 708"/>
                <a:gd name="T158" fmla="*/ 642 w 642"/>
                <a:gd name="T159" fmla="*/ 708 h 70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42" h="708">
                  <a:moveTo>
                    <a:pt x="576" y="468"/>
                  </a:moveTo>
                  <a:lnTo>
                    <a:pt x="564" y="468"/>
                  </a:lnTo>
                  <a:lnTo>
                    <a:pt x="516" y="468"/>
                  </a:lnTo>
                  <a:lnTo>
                    <a:pt x="498" y="474"/>
                  </a:lnTo>
                  <a:lnTo>
                    <a:pt x="492" y="468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68" y="474"/>
                  </a:lnTo>
                  <a:lnTo>
                    <a:pt x="456" y="468"/>
                  </a:lnTo>
                  <a:lnTo>
                    <a:pt x="444" y="474"/>
                  </a:lnTo>
                  <a:lnTo>
                    <a:pt x="438" y="492"/>
                  </a:lnTo>
                  <a:lnTo>
                    <a:pt x="438" y="504"/>
                  </a:lnTo>
                  <a:lnTo>
                    <a:pt x="432" y="516"/>
                  </a:lnTo>
                  <a:lnTo>
                    <a:pt x="432" y="528"/>
                  </a:lnTo>
                  <a:lnTo>
                    <a:pt x="432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52"/>
                  </a:lnTo>
                  <a:lnTo>
                    <a:pt x="432" y="558"/>
                  </a:lnTo>
                  <a:lnTo>
                    <a:pt x="438" y="564"/>
                  </a:lnTo>
                  <a:lnTo>
                    <a:pt x="444" y="564"/>
                  </a:lnTo>
                  <a:lnTo>
                    <a:pt x="438" y="564"/>
                  </a:lnTo>
                  <a:lnTo>
                    <a:pt x="438" y="570"/>
                  </a:lnTo>
                  <a:lnTo>
                    <a:pt x="432" y="570"/>
                  </a:lnTo>
                  <a:lnTo>
                    <a:pt x="432" y="576"/>
                  </a:lnTo>
                  <a:lnTo>
                    <a:pt x="426" y="588"/>
                  </a:lnTo>
                  <a:lnTo>
                    <a:pt x="420" y="594"/>
                  </a:lnTo>
                  <a:lnTo>
                    <a:pt x="420" y="600"/>
                  </a:lnTo>
                  <a:lnTo>
                    <a:pt x="414" y="600"/>
                  </a:lnTo>
                  <a:lnTo>
                    <a:pt x="414" y="606"/>
                  </a:lnTo>
                  <a:lnTo>
                    <a:pt x="408" y="606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396" y="612"/>
                  </a:lnTo>
                  <a:lnTo>
                    <a:pt x="390" y="612"/>
                  </a:lnTo>
                  <a:lnTo>
                    <a:pt x="390" y="618"/>
                  </a:lnTo>
                  <a:lnTo>
                    <a:pt x="384" y="618"/>
                  </a:lnTo>
                  <a:lnTo>
                    <a:pt x="378" y="618"/>
                  </a:lnTo>
                  <a:lnTo>
                    <a:pt x="378" y="624"/>
                  </a:lnTo>
                  <a:lnTo>
                    <a:pt x="384" y="630"/>
                  </a:lnTo>
                  <a:lnTo>
                    <a:pt x="384" y="636"/>
                  </a:lnTo>
                  <a:lnTo>
                    <a:pt x="378" y="630"/>
                  </a:lnTo>
                  <a:lnTo>
                    <a:pt x="372" y="636"/>
                  </a:lnTo>
                  <a:lnTo>
                    <a:pt x="372" y="642"/>
                  </a:lnTo>
                  <a:lnTo>
                    <a:pt x="366" y="642"/>
                  </a:lnTo>
                  <a:lnTo>
                    <a:pt x="360" y="654"/>
                  </a:lnTo>
                  <a:lnTo>
                    <a:pt x="354" y="666"/>
                  </a:lnTo>
                  <a:lnTo>
                    <a:pt x="354" y="672"/>
                  </a:lnTo>
                  <a:lnTo>
                    <a:pt x="354" y="678"/>
                  </a:lnTo>
                  <a:lnTo>
                    <a:pt x="354" y="684"/>
                  </a:lnTo>
                  <a:lnTo>
                    <a:pt x="348" y="678"/>
                  </a:lnTo>
                  <a:lnTo>
                    <a:pt x="324" y="678"/>
                  </a:lnTo>
                  <a:lnTo>
                    <a:pt x="306" y="678"/>
                  </a:lnTo>
                  <a:lnTo>
                    <a:pt x="294" y="678"/>
                  </a:lnTo>
                  <a:lnTo>
                    <a:pt x="288" y="684"/>
                  </a:lnTo>
                  <a:lnTo>
                    <a:pt x="276" y="690"/>
                  </a:lnTo>
                  <a:lnTo>
                    <a:pt x="270" y="696"/>
                  </a:lnTo>
                  <a:lnTo>
                    <a:pt x="264" y="696"/>
                  </a:lnTo>
                  <a:lnTo>
                    <a:pt x="258" y="696"/>
                  </a:lnTo>
                  <a:lnTo>
                    <a:pt x="252" y="696"/>
                  </a:lnTo>
                  <a:lnTo>
                    <a:pt x="252" y="690"/>
                  </a:lnTo>
                  <a:lnTo>
                    <a:pt x="246" y="690"/>
                  </a:lnTo>
                  <a:lnTo>
                    <a:pt x="234" y="690"/>
                  </a:lnTo>
                  <a:lnTo>
                    <a:pt x="222" y="696"/>
                  </a:lnTo>
                  <a:lnTo>
                    <a:pt x="216" y="708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8" y="690"/>
                  </a:lnTo>
                  <a:lnTo>
                    <a:pt x="198" y="684"/>
                  </a:lnTo>
                  <a:lnTo>
                    <a:pt x="198" y="678"/>
                  </a:lnTo>
                  <a:lnTo>
                    <a:pt x="198" y="672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74" y="648"/>
                  </a:lnTo>
                  <a:lnTo>
                    <a:pt x="162" y="642"/>
                  </a:lnTo>
                  <a:lnTo>
                    <a:pt x="156" y="636"/>
                  </a:lnTo>
                  <a:lnTo>
                    <a:pt x="132" y="642"/>
                  </a:lnTo>
                  <a:lnTo>
                    <a:pt x="120" y="654"/>
                  </a:lnTo>
                  <a:lnTo>
                    <a:pt x="108" y="660"/>
                  </a:lnTo>
                  <a:lnTo>
                    <a:pt x="102" y="666"/>
                  </a:lnTo>
                  <a:lnTo>
                    <a:pt x="84" y="666"/>
                  </a:lnTo>
                  <a:lnTo>
                    <a:pt x="84" y="630"/>
                  </a:lnTo>
                  <a:lnTo>
                    <a:pt x="78" y="594"/>
                  </a:lnTo>
                  <a:lnTo>
                    <a:pt x="66" y="594"/>
                  </a:lnTo>
                  <a:lnTo>
                    <a:pt x="60" y="594"/>
                  </a:lnTo>
                  <a:lnTo>
                    <a:pt x="48" y="600"/>
                  </a:lnTo>
                  <a:lnTo>
                    <a:pt x="36" y="606"/>
                  </a:lnTo>
                  <a:lnTo>
                    <a:pt x="24" y="612"/>
                  </a:lnTo>
                  <a:lnTo>
                    <a:pt x="18" y="612"/>
                  </a:lnTo>
                  <a:lnTo>
                    <a:pt x="12" y="606"/>
                  </a:lnTo>
                  <a:lnTo>
                    <a:pt x="12" y="600"/>
                  </a:lnTo>
                  <a:lnTo>
                    <a:pt x="12" y="594"/>
                  </a:lnTo>
                  <a:lnTo>
                    <a:pt x="12" y="588"/>
                  </a:lnTo>
                  <a:lnTo>
                    <a:pt x="12" y="582"/>
                  </a:lnTo>
                  <a:lnTo>
                    <a:pt x="12" y="576"/>
                  </a:lnTo>
                  <a:lnTo>
                    <a:pt x="18" y="552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42" y="534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48" y="492"/>
                  </a:lnTo>
                  <a:lnTo>
                    <a:pt x="48" y="480"/>
                  </a:lnTo>
                  <a:lnTo>
                    <a:pt x="54" y="468"/>
                  </a:lnTo>
                  <a:lnTo>
                    <a:pt x="48" y="456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66" y="390"/>
                  </a:lnTo>
                  <a:lnTo>
                    <a:pt x="72" y="384"/>
                  </a:lnTo>
                  <a:lnTo>
                    <a:pt x="72" y="378"/>
                  </a:lnTo>
                  <a:lnTo>
                    <a:pt x="66" y="378"/>
                  </a:lnTo>
                  <a:lnTo>
                    <a:pt x="66" y="366"/>
                  </a:lnTo>
                  <a:lnTo>
                    <a:pt x="60" y="360"/>
                  </a:lnTo>
                  <a:lnTo>
                    <a:pt x="66" y="354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48" y="312"/>
                  </a:lnTo>
                  <a:lnTo>
                    <a:pt x="30" y="312"/>
                  </a:lnTo>
                  <a:lnTo>
                    <a:pt x="24" y="306"/>
                  </a:lnTo>
                  <a:lnTo>
                    <a:pt x="18" y="306"/>
                  </a:lnTo>
                  <a:lnTo>
                    <a:pt x="12" y="294"/>
                  </a:lnTo>
                  <a:lnTo>
                    <a:pt x="12" y="282"/>
                  </a:lnTo>
                  <a:lnTo>
                    <a:pt x="6" y="276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12" y="270"/>
                  </a:lnTo>
                  <a:lnTo>
                    <a:pt x="12" y="246"/>
                  </a:lnTo>
                  <a:lnTo>
                    <a:pt x="12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8" y="174"/>
                  </a:lnTo>
                  <a:lnTo>
                    <a:pt x="12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48" y="162"/>
                  </a:lnTo>
                  <a:lnTo>
                    <a:pt x="72" y="162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84" y="132"/>
                  </a:lnTo>
                  <a:lnTo>
                    <a:pt x="90" y="120"/>
                  </a:lnTo>
                  <a:lnTo>
                    <a:pt x="108" y="114"/>
                  </a:lnTo>
                  <a:lnTo>
                    <a:pt x="114" y="102"/>
                  </a:lnTo>
                  <a:lnTo>
                    <a:pt x="120" y="90"/>
                  </a:lnTo>
                  <a:lnTo>
                    <a:pt x="138" y="90"/>
                  </a:lnTo>
                  <a:lnTo>
                    <a:pt x="138" y="102"/>
                  </a:lnTo>
                  <a:lnTo>
                    <a:pt x="168" y="108"/>
                  </a:lnTo>
                  <a:lnTo>
                    <a:pt x="168" y="114"/>
                  </a:lnTo>
                  <a:lnTo>
                    <a:pt x="174" y="126"/>
                  </a:lnTo>
                  <a:lnTo>
                    <a:pt x="186" y="150"/>
                  </a:lnTo>
                  <a:lnTo>
                    <a:pt x="186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34" y="144"/>
                  </a:lnTo>
                  <a:lnTo>
                    <a:pt x="240" y="138"/>
                  </a:lnTo>
                  <a:lnTo>
                    <a:pt x="240" y="126"/>
                  </a:lnTo>
                  <a:lnTo>
                    <a:pt x="234" y="126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34" y="102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82" y="102"/>
                  </a:lnTo>
                  <a:lnTo>
                    <a:pt x="288" y="102"/>
                  </a:lnTo>
                  <a:lnTo>
                    <a:pt x="294" y="102"/>
                  </a:lnTo>
                  <a:lnTo>
                    <a:pt x="300" y="96"/>
                  </a:lnTo>
                  <a:lnTo>
                    <a:pt x="306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84"/>
                  </a:lnTo>
                  <a:lnTo>
                    <a:pt x="324" y="18"/>
                  </a:lnTo>
                  <a:lnTo>
                    <a:pt x="360" y="18"/>
                  </a:lnTo>
                  <a:lnTo>
                    <a:pt x="378" y="18"/>
                  </a:lnTo>
                  <a:lnTo>
                    <a:pt x="378" y="30"/>
                  </a:lnTo>
                  <a:lnTo>
                    <a:pt x="390" y="30"/>
                  </a:lnTo>
                  <a:lnTo>
                    <a:pt x="432" y="30"/>
                  </a:lnTo>
                  <a:lnTo>
                    <a:pt x="456" y="24"/>
                  </a:lnTo>
                  <a:lnTo>
                    <a:pt x="480" y="24"/>
                  </a:lnTo>
                  <a:lnTo>
                    <a:pt x="498" y="30"/>
                  </a:lnTo>
                  <a:lnTo>
                    <a:pt x="522" y="18"/>
                  </a:lnTo>
                  <a:lnTo>
                    <a:pt x="528" y="0"/>
                  </a:lnTo>
                  <a:lnTo>
                    <a:pt x="558" y="6"/>
                  </a:lnTo>
                  <a:lnTo>
                    <a:pt x="558" y="12"/>
                  </a:lnTo>
                  <a:lnTo>
                    <a:pt x="570" y="18"/>
                  </a:lnTo>
                  <a:lnTo>
                    <a:pt x="576" y="24"/>
                  </a:lnTo>
                  <a:lnTo>
                    <a:pt x="588" y="36"/>
                  </a:lnTo>
                  <a:lnTo>
                    <a:pt x="594" y="48"/>
                  </a:lnTo>
                  <a:lnTo>
                    <a:pt x="606" y="48"/>
                  </a:lnTo>
                  <a:lnTo>
                    <a:pt x="606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42"/>
                  </a:lnTo>
                  <a:lnTo>
                    <a:pt x="636" y="42"/>
                  </a:lnTo>
                  <a:lnTo>
                    <a:pt x="636" y="48"/>
                  </a:lnTo>
                  <a:lnTo>
                    <a:pt x="642" y="54"/>
                  </a:lnTo>
                  <a:lnTo>
                    <a:pt x="636" y="60"/>
                  </a:lnTo>
                  <a:lnTo>
                    <a:pt x="636" y="66"/>
                  </a:lnTo>
                  <a:lnTo>
                    <a:pt x="636" y="78"/>
                  </a:lnTo>
                  <a:lnTo>
                    <a:pt x="624" y="84"/>
                  </a:lnTo>
                  <a:lnTo>
                    <a:pt x="618" y="90"/>
                  </a:lnTo>
                  <a:lnTo>
                    <a:pt x="612" y="90"/>
                  </a:lnTo>
                  <a:lnTo>
                    <a:pt x="600" y="102"/>
                  </a:lnTo>
                  <a:lnTo>
                    <a:pt x="594" y="108"/>
                  </a:lnTo>
                  <a:lnTo>
                    <a:pt x="582" y="114"/>
                  </a:lnTo>
                  <a:lnTo>
                    <a:pt x="570" y="132"/>
                  </a:lnTo>
                  <a:lnTo>
                    <a:pt x="564" y="132"/>
                  </a:lnTo>
                  <a:lnTo>
                    <a:pt x="564" y="138"/>
                  </a:lnTo>
                  <a:lnTo>
                    <a:pt x="558" y="144"/>
                  </a:lnTo>
                  <a:lnTo>
                    <a:pt x="558" y="150"/>
                  </a:lnTo>
                  <a:lnTo>
                    <a:pt x="552" y="150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0" y="162"/>
                  </a:lnTo>
                  <a:lnTo>
                    <a:pt x="534" y="168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6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28" y="234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16" y="294"/>
                  </a:lnTo>
                  <a:lnTo>
                    <a:pt x="516" y="312"/>
                  </a:lnTo>
                  <a:lnTo>
                    <a:pt x="528" y="318"/>
                  </a:lnTo>
                  <a:lnTo>
                    <a:pt x="540" y="360"/>
                  </a:lnTo>
                  <a:lnTo>
                    <a:pt x="558" y="408"/>
                  </a:lnTo>
                  <a:lnTo>
                    <a:pt x="570" y="426"/>
                  </a:lnTo>
                  <a:lnTo>
                    <a:pt x="576" y="432"/>
                  </a:lnTo>
                  <a:lnTo>
                    <a:pt x="576" y="438"/>
                  </a:lnTo>
                  <a:lnTo>
                    <a:pt x="576" y="444"/>
                  </a:lnTo>
                  <a:lnTo>
                    <a:pt x="576" y="46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3" name="Freeform 28">
              <a:extLst>
                <a:ext uri="{FF2B5EF4-FFF2-40B4-BE49-F238E27FC236}">
                  <a16:creationId xmlns:a16="http://schemas.microsoft.com/office/drawing/2014/main" id="{CF9B4F31-BF73-448E-83AA-188F6CF1BDC5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4879" y="3432583"/>
              <a:ext cx="324248" cy="270616"/>
            </a:xfrm>
            <a:custGeom>
              <a:avLst/>
              <a:gdLst>
                <a:gd name="T0" fmla="*/ 5 w 606"/>
                <a:gd name="T1" fmla="*/ 36 h 510"/>
                <a:gd name="T2" fmla="*/ 4 w 606"/>
                <a:gd name="T3" fmla="*/ 34 h 510"/>
                <a:gd name="T4" fmla="*/ 0 w 606"/>
                <a:gd name="T5" fmla="*/ 25 h 510"/>
                <a:gd name="T6" fmla="*/ 1 w 606"/>
                <a:gd name="T7" fmla="*/ 20 h 510"/>
                <a:gd name="T8" fmla="*/ 2 w 606"/>
                <a:gd name="T9" fmla="*/ 15 h 510"/>
                <a:gd name="T10" fmla="*/ 2 w 606"/>
                <a:gd name="T11" fmla="*/ 13 h 510"/>
                <a:gd name="T12" fmla="*/ 3 w 606"/>
                <a:gd name="T13" fmla="*/ 12 h 510"/>
                <a:gd name="T14" fmla="*/ 4 w 606"/>
                <a:gd name="T15" fmla="*/ 11 h 510"/>
                <a:gd name="T16" fmla="*/ 4 w 606"/>
                <a:gd name="T17" fmla="*/ 10 h 510"/>
                <a:gd name="T18" fmla="*/ 7 w 606"/>
                <a:gd name="T19" fmla="*/ 8 h 510"/>
                <a:gd name="T20" fmla="*/ 9 w 606"/>
                <a:gd name="T21" fmla="*/ 6 h 510"/>
                <a:gd name="T22" fmla="*/ 11 w 606"/>
                <a:gd name="T23" fmla="*/ 4 h 510"/>
                <a:gd name="T24" fmla="*/ 12 w 606"/>
                <a:gd name="T25" fmla="*/ 3 h 510"/>
                <a:gd name="T26" fmla="*/ 13 w 606"/>
                <a:gd name="T27" fmla="*/ 4 h 510"/>
                <a:gd name="T28" fmla="*/ 15 w 606"/>
                <a:gd name="T29" fmla="*/ 2 h 510"/>
                <a:gd name="T30" fmla="*/ 17 w 606"/>
                <a:gd name="T31" fmla="*/ 2 h 510"/>
                <a:gd name="T32" fmla="*/ 19 w 606"/>
                <a:gd name="T33" fmla="*/ 5 h 510"/>
                <a:gd name="T34" fmla="*/ 22 w 606"/>
                <a:gd name="T35" fmla="*/ 5 h 510"/>
                <a:gd name="T36" fmla="*/ 25 w 606"/>
                <a:gd name="T37" fmla="*/ 6 h 510"/>
                <a:gd name="T38" fmla="*/ 29 w 606"/>
                <a:gd name="T39" fmla="*/ 1 h 510"/>
                <a:gd name="T40" fmla="*/ 38 w 606"/>
                <a:gd name="T41" fmla="*/ 0 h 510"/>
                <a:gd name="T42" fmla="*/ 38 w 606"/>
                <a:gd name="T43" fmla="*/ 5 h 510"/>
                <a:gd name="T44" fmla="*/ 41 w 606"/>
                <a:gd name="T45" fmla="*/ 4 h 510"/>
                <a:gd name="T46" fmla="*/ 45 w 606"/>
                <a:gd name="T47" fmla="*/ 2 h 510"/>
                <a:gd name="T48" fmla="*/ 46 w 606"/>
                <a:gd name="T49" fmla="*/ 2 h 510"/>
                <a:gd name="T50" fmla="*/ 47 w 606"/>
                <a:gd name="T51" fmla="*/ 5 h 510"/>
                <a:gd name="T52" fmla="*/ 45 w 606"/>
                <a:gd name="T53" fmla="*/ 6 h 510"/>
                <a:gd name="T54" fmla="*/ 45 w 606"/>
                <a:gd name="T55" fmla="*/ 7 h 510"/>
                <a:gd name="T56" fmla="*/ 43 w 606"/>
                <a:gd name="T57" fmla="*/ 8 h 510"/>
                <a:gd name="T58" fmla="*/ 45 w 606"/>
                <a:gd name="T59" fmla="*/ 15 h 510"/>
                <a:gd name="T60" fmla="*/ 49 w 606"/>
                <a:gd name="T61" fmla="*/ 15 h 510"/>
                <a:gd name="T62" fmla="*/ 51 w 606"/>
                <a:gd name="T63" fmla="*/ 15 h 510"/>
                <a:gd name="T64" fmla="*/ 53 w 606"/>
                <a:gd name="T65" fmla="*/ 16 h 510"/>
                <a:gd name="T66" fmla="*/ 52 w 606"/>
                <a:gd name="T67" fmla="*/ 20 h 510"/>
                <a:gd name="T68" fmla="*/ 48 w 606"/>
                <a:gd name="T69" fmla="*/ 23 h 510"/>
                <a:gd name="T70" fmla="*/ 45 w 606"/>
                <a:gd name="T71" fmla="*/ 25 h 510"/>
                <a:gd name="T72" fmla="*/ 44 w 606"/>
                <a:gd name="T73" fmla="*/ 28 h 510"/>
                <a:gd name="T74" fmla="*/ 43 w 606"/>
                <a:gd name="T75" fmla="*/ 33 h 510"/>
                <a:gd name="T76" fmla="*/ 39 w 606"/>
                <a:gd name="T77" fmla="*/ 38 h 510"/>
                <a:gd name="T78" fmla="*/ 37 w 606"/>
                <a:gd name="T79" fmla="*/ 41 h 510"/>
                <a:gd name="T80" fmla="*/ 31 w 606"/>
                <a:gd name="T81" fmla="*/ 44 h 510"/>
                <a:gd name="T82" fmla="*/ 28 w 606"/>
                <a:gd name="T83" fmla="*/ 43 h 510"/>
                <a:gd name="T84" fmla="*/ 28 w 606"/>
                <a:gd name="T85" fmla="*/ 41 h 510"/>
                <a:gd name="T86" fmla="*/ 28 w 606"/>
                <a:gd name="T87" fmla="*/ 40 h 510"/>
                <a:gd name="T88" fmla="*/ 27 w 606"/>
                <a:gd name="T89" fmla="*/ 38 h 510"/>
                <a:gd name="T90" fmla="*/ 27 w 606"/>
                <a:gd name="T91" fmla="*/ 36 h 510"/>
                <a:gd name="T92" fmla="*/ 24 w 606"/>
                <a:gd name="T93" fmla="*/ 35 h 510"/>
                <a:gd name="T94" fmla="*/ 16 w 606"/>
                <a:gd name="T95" fmla="*/ 34 h 510"/>
                <a:gd name="T96" fmla="*/ 13 w 606"/>
                <a:gd name="T97" fmla="*/ 34 h 510"/>
                <a:gd name="T98" fmla="*/ 9 w 606"/>
                <a:gd name="T99" fmla="*/ 36 h 510"/>
                <a:gd name="T100" fmla="*/ 8 w 606"/>
                <a:gd name="T101" fmla="*/ 38 h 510"/>
                <a:gd name="T102" fmla="*/ 7 w 606"/>
                <a:gd name="T103" fmla="*/ 39 h 51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06"/>
                <a:gd name="T157" fmla="*/ 0 h 510"/>
                <a:gd name="T158" fmla="*/ 606 w 606"/>
                <a:gd name="T159" fmla="*/ 510 h 51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06" h="510">
                  <a:moveTo>
                    <a:pt x="60" y="450"/>
                  </a:move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42" y="390"/>
                  </a:lnTo>
                  <a:lnTo>
                    <a:pt x="24" y="342"/>
                  </a:lnTo>
                  <a:lnTo>
                    <a:pt x="12" y="300"/>
                  </a:lnTo>
                  <a:lnTo>
                    <a:pt x="0" y="294"/>
                  </a:lnTo>
                  <a:lnTo>
                    <a:pt x="0" y="276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24" y="192"/>
                  </a:lnTo>
                  <a:lnTo>
                    <a:pt x="24" y="180"/>
                  </a:lnTo>
                  <a:lnTo>
                    <a:pt x="24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6" y="96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108" y="66"/>
                  </a:lnTo>
                  <a:lnTo>
                    <a:pt x="120" y="60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36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62" y="36"/>
                  </a:lnTo>
                  <a:lnTo>
                    <a:pt x="162" y="30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0" y="54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46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76" y="66"/>
                  </a:lnTo>
                  <a:lnTo>
                    <a:pt x="312" y="66"/>
                  </a:lnTo>
                  <a:lnTo>
                    <a:pt x="318" y="60"/>
                  </a:lnTo>
                  <a:lnTo>
                    <a:pt x="330" y="12"/>
                  </a:lnTo>
                  <a:lnTo>
                    <a:pt x="414" y="6"/>
                  </a:lnTo>
                  <a:lnTo>
                    <a:pt x="420" y="0"/>
                  </a:lnTo>
                  <a:lnTo>
                    <a:pt x="426" y="6"/>
                  </a:lnTo>
                  <a:lnTo>
                    <a:pt x="426" y="12"/>
                  </a:lnTo>
                  <a:lnTo>
                    <a:pt x="426" y="54"/>
                  </a:lnTo>
                  <a:lnTo>
                    <a:pt x="432" y="54"/>
                  </a:lnTo>
                  <a:lnTo>
                    <a:pt x="444" y="54"/>
                  </a:lnTo>
                  <a:lnTo>
                    <a:pt x="450" y="42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86" y="24"/>
                  </a:lnTo>
                  <a:lnTo>
                    <a:pt x="504" y="18"/>
                  </a:lnTo>
                  <a:lnTo>
                    <a:pt x="510" y="12"/>
                  </a:lnTo>
                  <a:lnTo>
                    <a:pt x="516" y="18"/>
                  </a:lnTo>
                  <a:lnTo>
                    <a:pt x="522" y="24"/>
                  </a:lnTo>
                  <a:lnTo>
                    <a:pt x="510" y="30"/>
                  </a:lnTo>
                  <a:lnTo>
                    <a:pt x="516" y="48"/>
                  </a:lnTo>
                  <a:lnTo>
                    <a:pt x="528" y="54"/>
                  </a:lnTo>
                  <a:lnTo>
                    <a:pt x="522" y="60"/>
                  </a:lnTo>
                  <a:lnTo>
                    <a:pt x="516" y="66"/>
                  </a:lnTo>
                  <a:lnTo>
                    <a:pt x="516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0" y="84"/>
                  </a:lnTo>
                  <a:lnTo>
                    <a:pt x="510" y="90"/>
                  </a:lnTo>
                  <a:lnTo>
                    <a:pt x="504" y="90"/>
                  </a:lnTo>
                  <a:lnTo>
                    <a:pt x="486" y="90"/>
                  </a:lnTo>
                  <a:lnTo>
                    <a:pt x="492" y="138"/>
                  </a:lnTo>
                  <a:lnTo>
                    <a:pt x="498" y="168"/>
                  </a:lnTo>
                  <a:lnTo>
                    <a:pt x="516" y="168"/>
                  </a:lnTo>
                  <a:lnTo>
                    <a:pt x="528" y="174"/>
                  </a:lnTo>
                  <a:lnTo>
                    <a:pt x="534" y="168"/>
                  </a:lnTo>
                  <a:lnTo>
                    <a:pt x="558" y="174"/>
                  </a:lnTo>
                  <a:lnTo>
                    <a:pt x="564" y="168"/>
                  </a:lnTo>
                  <a:lnTo>
                    <a:pt x="570" y="168"/>
                  </a:lnTo>
                  <a:lnTo>
                    <a:pt x="576" y="174"/>
                  </a:lnTo>
                  <a:lnTo>
                    <a:pt x="588" y="168"/>
                  </a:lnTo>
                  <a:lnTo>
                    <a:pt x="594" y="168"/>
                  </a:lnTo>
                  <a:lnTo>
                    <a:pt x="594" y="186"/>
                  </a:lnTo>
                  <a:lnTo>
                    <a:pt x="606" y="198"/>
                  </a:lnTo>
                  <a:lnTo>
                    <a:pt x="600" y="210"/>
                  </a:lnTo>
                  <a:lnTo>
                    <a:pt x="588" y="234"/>
                  </a:lnTo>
                  <a:lnTo>
                    <a:pt x="564" y="246"/>
                  </a:lnTo>
                  <a:lnTo>
                    <a:pt x="546" y="258"/>
                  </a:lnTo>
                  <a:lnTo>
                    <a:pt x="540" y="270"/>
                  </a:lnTo>
                  <a:lnTo>
                    <a:pt x="534" y="294"/>
                  </a:lnTo>
                  <a:lnTo>
                    <a:pt x="528" y="300"/>
                  </a:lnTo>
                  <a:lnTo>
                    <a:pt x="516" y="294"/>
                  </a:lnTo>
                  <a:lnTo>
                    <a:pt x="510" y="300"/>
                  </a:lnTo>
                  <a:lnTo>
                    <a:pt x="498" y="318"/>
                  </a:lnTo>
                  <a:lnTo>
                    <a:pt x="492" y="324"/>
                  </a:lnTo>
                  <a:lnTo>
                    <a:pt x="486" y="336"/>
                  </a:lnTo>
                  <a:lnTo>
                    <a:pt x="486" y="354"/>
                  </a:lnTo>
                  <a:lnTo>
                    <a:pt x="486" y="384"/>
                  </a:lnTo>
                  <a:lnTo>
                    <a:pt x="474" y="408"/>
                  </a:lnTo>
                  <a:lnTo>
                    <a:pt x="450" y="426"/>
                  </a:lnTo>
                  <a:lnTo>
                    <a:pt x="444" y="444"/>
                  </a:lnTo>
                  <a:lnTo>
                    <a:pt x="426" y="474"/>
                  </a:lnTo>
                  <a:lnTo>
                    <a:pt x="420" y="486"/>
                  </a:lnTo>
                  <a:lnTo>
                    <a:pt x="414" y="486"/>
                  </a:lnTo>
                  <a:lnTo>
                    <a:pt x="414" y="498"/>
                  </a:lnTo>
                  <a:lnTo>
                    <a:pt x="378" y="504"/>
                  </a:lnTo>
                  <a:lnTo>
                    <a:pt x="348" y="510"/>
                  </a:lnTo>
                  <a:lnTo>
                    <a:pt x="330" y="510"/>
                  </a:lnTo>
                  <a:lnTo>
                    <a:pt x="324" y="504"/>
                  </a:lnTo>
                  <a:lnTo>
                    <a:pt x="318" y="504"/>
                  </a:lnTo>
                  <a:lnTo>
                    <a:pt x="312" y="504"/>
                  </a:lnTo>
                  <a:lnTo>
                    <a:pt x="312" y="498"/>
                  </a:lnTo>
                  <a:lnTo>
                    <a:pt x="312" y="486"/>
                  </a:lnTo>
                  <a:lnTo>
                    <a:pt x="312" y="480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56"/>
                  </a:lnTo>
                  <a:lnTo>
                    <a:pt x="312" y="450"/>
                  </a:lnTo>
                  <a:lnTo>
                    <a:pt x="306" y="444"/>
                  </a:lnTo>
                  <a:lnTo>
                    <a:pt x="306" y="438"/>
                  </a:lnTo>
                  <a:lnTo>
                    <a:pt x="300" y="426"/>
                  </a:lnTo>
                  <a:lnTo>
                    <a:pt x="300" y="420"/>
                  </a:lnTo>
                  <a:lnTo>
                    <a:pt x="294" y="414"/>
                  </a:lnTo>
                  <a:lnTo>
                    <a:pt x="294" y="408"/>
                  </a:lnTo>
                  <a:lnTo>
                    <a:pt x="270" y="408"/>
                  </a:lnTo>
                  <a:lnTo>
                    <a:pt x="246" y="408"/>
                  </a:lnTo>
                  <a:lnTo>
                    <a:pt x="222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56" y="402"/>
                  </a:lnTo>
                  <a:lnTo>
                    <a:pt x="144" y="396"/>
                  </a:lnTo>
                  <a:lnTo>
                    <a:pt x="126" y="396"/>
                  </a:lnTo>
                  <a:lnTo>
                    <a:pt x="108" y="408"/>
                  </a:lnTo>
                  <a:lnTo>
                    <a:pt x="102" y="414"/>
                  </a:lnTo>
                  <a:lnTo>
                    <a:pt x="102" y="420"/>
                  </a:lnTo>
                  <a:lnTo>
                    <a:pt x="96" y="426"/>
                  </a:lnTo>
                  <a:lnTo>
                    <a:pt x="96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78" y="450"/>
                  </a:lnTo>
                  <a:lnTo>
                    <a:pt x="60" y="45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4" name="Freeform 29">
              <a:extLst>
                <a:ext uri="{FF2B5EF4-FFF2-40B4-BE49-F238E27FC236}">
                  <a16:creationId xmlns:a16="http://schemas.microsoft.com/office/drawing/2014/main" id="{B6AC2B96-1504-4082-8778-17130FDA021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401" y="3537698"/>
              <a:ext cx="559048" cy="641876"/>
            </a:xfrm>
            <a:custGeom>
              <a:avLst/>
              <a:gdLst>
                <a:gd name="T0" fmla="*/ 39 w 1056"/>
                <a:gd name="T1" fmla="*/ 94 h 1206"/>
                <a:gd name="T2" fmla="*/ 35 w 1056"/>
                <a:gd name="T3" fmla="*/ 103 h 1206"/>
                <a:gd name="T4" fmla="*/ 29 w 1056"/>
                <a:gd name="T5" fmla="*/ 99 h 1206"/>
                <a:gd name="T6" fmla="*/ 23 w 1056"/>
                <a:gd name="T7" fmla="*/ 94 h 1206"/>
                <a:gd name="T8" fmla="*/ 21 w 1056"/>
                <a:gd name="T9" fmla="*/ 91 h 1206"/>
                <a:gd name="T10" fmla="*/ 18 w 1056"/>
                <a:gd name="T11" fmla="*/ 89 h 1206"/>
                <a:gd name="T12" fmla="*/ 15 w 1056"/>
                <a:gd name="T13" fmla="*/ 86 h 1206"/>
                <a:gd name="T14" fmla="*/ 11 w 1056"/>
                <a:gd name="T15" fmla="*/ 83 h 1206"/>
                <a:gd name="T16" fmla="*/ 8 w 1056"/>
                <a:gd name="T17" fmla="*/ 81 h 1206"/>
                <a:gd name="T18" fmla="*/ 6 w 1056"/>
                <a:gd name="T19" fmla="*/ 79 h 1206"/>
                <a:gd name="T20" fmla="*/ 13 w 1056"/>
                <a:gd name="T21" fmla="*/ 78 h 1206"/>
                <a:gd name="T22" fmla="*/ 8 w 1056"/>
                <a:gd name="T23" fmla="*/ 75 h 1206"/>
                <a:gd name="T24" fmla="*/ 13 w 1056"/>
                <a:gd name="T25" fmla="*/ 71 h 1206"/>
                <a:gd name="T26" fmla="*/ 10 w 1056"/>
                <a:gd name="T27" fmla="*/ 63 h 1206"/>
                <a:gd name="T28" fmla="*/ 6 w 1056"/>
                <a:gd name="T29" fmla="*/ 66 h 1206"/>
                <a:gd name="T30" fmla="*/ 1 w 1056"/>
                <a:gd name="T31" fmla="*/ 63 h 1206"/>
                <a:gd name="T32" fmla="*/ 1 w 1056"/>
                <a:gd name="T33" fmla="*/ 59 h 1206"/>
                <a:gd name="T34" fmla="*/ 3 w 1056"/>
                <a:gd name="T35" fmla="*/ 57 h 1206"/>
                <a:gd name="T36" fmla="*/ 6 w 1056"/>
                <a:gd name="T37" fmla="*/ 55 h 1206"/>
                <a:gd name="T38" fmla="*/ 10 w 1056"/>
                <a:gd name="T39" fmla="*/ 51 h 1206"/>
                <a:gd name="T40" fmla="*/ 11 w 1056"/>
                <a:gd name="T41" fmla="*/ 46 h 1206"/>
                <a:gd name="T42" fmla="*/ 14 w 1056"/>
                <a:gd name="T43" fmla="*/ 42 h 1206"/>
                <a:gd name="T44" fmla="*/ 15 w 1056"/>
                <a:gd name="T45" fmla="*/ 36 h 1206"/>
                <a:gd name="T46" fmla="*/ 17 w 1056"/>
                <a:gd name="T47" fmla="*/ 34 h 1206"/>
                <a:gd name="T48" fmla="*/ 20 w 1056"/>
                <a:gd name="T49" fmla="*/ 31 h 1206"/>
                <a:gd name="T50" fmla="*/ 21 w 1056"/>
                <a:gd name="T51" fmla="*/ 29 h 1206"/>
                <a:gd name="T52" fmla="*/ 23 w 1056"/>
                <a:gd name="T53" fmla="*/ 22 h 1206"/>
                <a:gd name="T54" fmla="*/ 35 w 1056"/>
                <a:gd name="T55" fmla="*/ 22 h 1206"/>
                <a:gd name="T56" fmla="*/ 41 w 1056"/>
                <a:gd name="T57" fmla="*/ 18 h 1206"/>
                <a:gd name="T58" fmla="*/ 54 w 1056"/>
                <a:gd name="T59" fmla="*/ 20 h 1206"/>
                <a:gd name="T60" fmla="*/ 54 w 1056"/>
                <a:gd name="T61" fmla="*/ 26 h 1206"/>
                <a:gd name="T62" fmla="*/ 64 w 1056"/>
                <a:gd name="T63" fmla="*/ 25 h 1206"/>
                <a:gd name="T64" fmla="*/ 71 w 1056"/>
                <a:gd name="T65" fmla="*/ 10 h 1206"/>
                <a:gd name="T66" fmla="*/ 80 w 1056"/>
                <a:gd name="T67" fmla="*/ 1 h 1206"/>
                <a:gd name="T68" fmla="*/ 86 w 1056"/>
                <a:gd name="T69" fmla="*/ 2 h 1206"/>
                <a:gd name="T70" fmla="*/ 91 w 1056"/>
                <a:gd name="T71" fmla="*/ 13 h 1206"/>
                <a:gd name="T72" fmla="*/ 88 w 1056"/>
                <a:gd name="T73" fmla="*/ 17 h 1206"/>
                <a:gd name="T74" fmla="*/ 89 w 1056"/>
                <a:gd name="T75" fmla="*/ 21 h 1206"/>
                <a:gd name="T76" fmla="*/ 86 w 1056"/>
                <a:gd name="T77" fmla="*/ 25 h 1206"/>
                <a:gd name="T78" fmla="*/ 85 w 1056"/>
                <a:gd name="T79" fmla="*/ 31 h 1206"/>
                <a:gd name="T80" fmla="*/ 83 w 1056"/>
                <a:gd name="T81" fmla="*/ 36 h 1206"/>
                <a:gd name="T82" fmla="*/ 80 w 1056"/>
                <a:gd name="T83" fmla="*/ 42 h 1206"/>
                <a:gd name="T84" fmla="*/ 80 w 1056"/>
                <a:gd name="T85" fmla="*/ 47 h 1206"/>
                <a:gd name="T86" fmla="*/ 77 w 1056"/>
                <a:gd name="T87" fmla="*/ 55 h 1206"/>
                <a:gd name="T88" fmla="*/ 75 w 1056"/>
                <a:gd name="T89" fmla="*/ 57 h 1206"/>
                <a:gd name="T90" fmla="*/ 66 w 1056"/>
                <a:gd name="T91" fmla="*/ 57 h 1206"/>
                <a:gd name="T92" fmla="*/ 66 w 1056"/>
                <a:gd name="T93" fmla="*/ 51 h 1206"/>
                <a:gd name="T94" fmla="*/ 48 w 1056"/>
                <a:gd name="T95" fmla="*/ 50 h 1206"/>
                <a:gd name="T96" fmla="*/ 46 w 1056"/>
                <a:gd name="T97" fmla="*/ 55 h 1206"/>
                <a:gd name="T98" fmla="*/ 42 w 1056"/>
                <a:gd name="T99" fmla="*/ 59 h 1206"/>
                <a:gd name="T100" fmla="*/ 41 w 1056"/>
                <a:gd name="T101" fmla="*/ 62 h 1206"/>
                <a:gd name="T102" fmla="*/ 43 w 1056"/>
                <a:gd name="T103" fmla="*/ 67 h 1206"/>
                <a:gd name="T104" fmla="*/ 42 w 1056"/>
                <a:gd name="T105" fmla="*/ 72 h 1206"/>
                <a:gd name="T106" fmla="*/ 39 w 1056"/>
                <a:gd name="T107" fmla="*/ 77 h 1206"/>
                <a:gd name="T108" fmla="*/ 36 w 1056"/>
                <a:gd name="T109" fmla="*/ 80 h 1206"/>
                <a:gd name="T110" fmla="*/ 37 w 1056"/>
                <a:gd name="T111" fmla="*/ 83 h 1206"/>
                <a:gd name="T112" fmla="*/ 40 w 1056"/>
                <a:gd name="T113" fmla="*/ 87 h 1206"/>
                <a:gd name="T114" fmla="*/ 42 w 1056"/>
                <a:gd name="T115" fmla="*/ 89 h 12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56"/>
                <a:gd name="T175" fmla="*/ 0 h 1206"/>
                <a:gd name="T176" fmla="*/ 1056 w 1056"/>
                <a:gd name="T177" fmla="*/ 1206 h 12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56" h="1206">
                  <a:moveTo>
                    <a:pt x="492" y="1032"/>
                  </a:moveTo>
                  <a:lnTo>
                    <a:pt x="486" y="1038"/>
                  </a:lnTo>
                  <a:lnTo>
                    <a:pt x="486" y="1044"/>
                  </a:lnTo>
                  <a:lnTo>
                    <a:pt x="480" y="1044"/>
                  </a:lnTo>
                  <a:lnTo>
                    <a:pt x="474" y="1056"/>
                  </a:lnTo>
                  <a:lnTo>
                    <a:pt x="462" y="1068"/>
                  </a:lnTo>
                  <a:lnTo>
                    <a:pt x="456" y="1080"/>
                  </a:lnTo>
                  <a:lnTo>
                    <a:pt x="450" y="1080"/>
                  </a:lnTo>
                  <a:lnTo>
                    <a:pt x="450" y="1086"/>
                  </a:lnTo>
                  <a:lnTo>
                    <a:pt x="450" y="1092"/>
                  </a:lnTo>
                  <a:lnTo>
                    <a:pt x="444" y="1104"/>
                  </a:lnTo>
                  <a:lnTo>
                    <a:pt x="444" y="1116"/>
                  </a:lnTo>
                  <a:lnTo>
                    <a:pt x="438" y="1128"/>
                  </a:lnTo>
                  <a:lnTo>
                    <a:pt x="432" y="1134"/>
                  </a:lnTo>
                  <a:lnTo>
                    <a:pt x="432" y="1140"/>
                  </a:lnTo>
                  <a:lnTo>
                    <a:pt x="420" y="1152"/>
                  </a:lnTo>
                  <a:lnTo>
                    <a:pt x="420" y="1158"/>
                  </a:lnTo>
                  <a:lnTo>
                    <a:pt x="408" y="1182"/>
                  </a:lnTo>
                  <a:lnTo>
                    <a:pt x="396" y="1194"/>
                  </a:lnTo>
                  <a:lnTo>
                    <a:pt x="390" y="1206"/>
                  </a:lnTo>
                  <a:lnTo>
                    <a:pt x="390" y="1200"/>
                  </a:lnTo>
                  <a:lnTo>
                    <a:pt x="384" y="1194"/>
                  </a:lnTo>
                  <a:lnTo>
                    <a:pt x="378" y="1188"/>
                  </a:lnTo>
                  <a:lnTo>
                    <a:pt x="366" y="1176"/>
                  </a:lnTo>
                  <a:lnTo>
                    <a:pt x="366" y="1170"/>
                  </a:lnTo>
                  <a:lnTo>
                    <a:pt x="348" y="1152"/>
                  </a:lnTo>
                  <a:lnTo>
                    <a:pt x="336" y="1140"/>
                  </a:lnTo>
                  <a:lnTo>
                    <a:pt x="330" y="1134"/>
                  </a:lnTo>
                  <a:lnTo>
                    <a:pt x="324" y="1128"/>
                  </a:lnTo>
                  <a:lnTo>
                    <a:pt x="318" y="1122"/>
                  </a:lnTo>
                  <a:lnTo>
                    <a:pt x="312" y="1116"/>
                  </a:lnTo>
                  <a:lnTo>
                    <a:pt x="306" y="1110"/>
                  </a:lnTo>
                  <a:lnTo>
                    <a:pt x="300" y="1104"/>
                  </a:lnTo>
                  <a:lnTo>
                    <a:pt x="294" y="1098"/>
                  </a:lnTo>
                  <a:lnTo>
                    <a:pt x="276" y="1080"/>
                  </a:lnTo>
                  <a:lnTo>
                    <a:pt x="270" y="1080"/>
                  </a:lnTo>
                  <a:lnTo>
                    <a:pt x="270" y="1074"/>
                  </a:lnTo>
                  <a:lnTo>
                    <a:pt x="264" y="1068"/>
                  </a:lnTo>
                  <a:lnTo>
                    <a:pt x="258" y="1062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40" y="1050"/>
                  </a:lnTo>
                  <a:lnTo>
                    <a:pt x="234" y="1044"/>
                  </a:lnTo>
                  <a:lnTo>
                    <a:pt x="228" y="1044"/>
                  </a:lnTo>
                  <a:lnTo>
                    <a:pt x="222" y="1038"/>
                  </a:lnTo>
                  <a:lnTo>
                    <a:pt x="222" y="1032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6"/>
                  </a:lnTo>
                  <a:lnTo>
                    <a:pt x="204" y="1020"/>
                  </a:lnTo>
                  <a:lnTo>
                    <a:pt x="204" y="1014"/>
                  </a:lnTo>
                  <a:lnTo>
                    <a:pt x="198" y="1014"/>
                  </a:lnTo>
                  <a:lnTo>
                    <a:pt x="192" y="1014"/>
                  </a:lnTo>
                  <a:lnTo>
                    <a:pt x="192" y="1008"/>
                  </a:lnTo>
                  <a:lnTo>
                    <a:pt x="186" y="1008"/>
                  </a:lnTo>
                  <a:lnTo>
                    <a:pt x="186" y="1002"/>
                  </a:lnTo>
                  <a:lnTo>
                    <a:pt x="180" y="1002"/>
                  </a:lnTo>
                  <a:lnTo>
                    <a:pt x="174" y="996"/>
                  </a:lnTo>
                  <a:lnTo>
                    <a:pt x="168" y="996"/>
                  </a:lnTo>
                  <a:lnTo>
                    <a:pt x="168" y="990"/>
                  </a:lnTo>
                  <a:lnTo>
                    <a:pt x="162" y="990"/>
                  </a:lnTo>
                  <a:lnTo>
                    <a:pt x="162" y="984"/>
                  </a:lnTo>
                  <a:lnTo>
                    <a:pt x="150" y="978"/>
                  </a:lnTo>
                  <a:lnTo>
                    <a:pt x="144" y="972"/>
                  </a:lnTo>
                  <a:lnTo>
                    <a:pt x="138" y="972"/>
                  </a:lnTo>
                  <a:lnTo>
                    <a:pt x="138" y="966"/>
                  </a:lnTo>
                  <a:lnTo>
                    <a:pt x="132" y="966"/>
                  </a:lnTo>
                  <a:lnTo>
                    <a:pt x="126" y="960"/>
                  </a:lnTo>
                  <a:lnTo>
                    <a:pt x="126" y="954"/>
                  </a:lnTo>
                  <a:lnTo>
                    <a:pt x="120" y="954"/>
                  </a:lnTo>
                  <a:lnTo>
                    <a:pt x="114" y="948"/>
                  </a:lnTo>
                  <a:lnTo>
                    <a:pt x="108" y="948"/>
                  </a:lnTo>
                  <a:lnTo>
                    <a:pt x="108" y="942"/>
                  </a:lnTo>
                  <a:lnTo>
                    <a:pt x="102" y="942"/>
                  </a:lnTo>
                  <a:lnTo>
                    <a:pt x="96" y="942"/>
                  </a:lnTo>
                  <a:lnTo>
                    <a:pt x="96" y="936"/>
                  </a:lnTo>
                  <a:lnTo>
                    <a:pt x="90" y="936"/>
                  </a:lnTo>
                  <a:lnTo>
                    <a:pt x="90" y="930"/>
                  </a:lnTo>
                  <a:lnTo>
                    <a:pt x="84" y="930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18"/>
                  </a:lnTo>
                  <a:lnTo>
                    <a:pt x="66" y="918"/>
                  </a:lnTo>
                  <a:lnTo>
                    <a:pt x="66" y="912"/>
                  </a:lnTo>
                  <a:lnTo>
                    <a:pt x="66" y="906"/>
                  </a:lnTo>
                  <a:lnTo>
                    <a:pt x="72" y="906"/>
                  </a:lnTo>
                  <a:lnTo>
                    <a:pt x="84" y="906"/>
                  </a:lnTo>
                  <a:lnTo>
                    <a:pt x="90" y="906"/>
                  </a:lnTo>
                  <a:lnTo>
                    <a:pt x="120" y="930"/>
                  </a:lnTo>
                  <a:lnTo>
                    <a:pt x="126" y="936"/>
                  </a:lnTo>
                  <a:lnTo>
                    <a:pt x="138" y="936"/>
                  </a:lnTo>
                  <a:lnTo>
                    <a:pt x="138" y="930"/>
                  </a:lnTo>
                  <a:lnTo>
                    <a:pt x="144" y="930"/>
                  </a:lnTo>
                  <a:lnTo>
                    <a:pt x="144" y="924"/>
                  </a:lnTo>
                  <a:lnTo>
                    <a:pt x="150" y="900"/>
                  </a:lnTo>
                  <a:lnTo>
                    <a:pt x="138" y="894"/>
                  </a:lnTo>
                  <a:lnTo>
                    <a:pt x="126" y="894"/>
                  </a:lnTo>
                  <a:lnTo>
                    <a:pt x="108" y="888"/>
                  </a:lnTo>
                  <a:lnTo>
                    <a:pt x="84" y="882"/>
                  </a:lnTo>
                  <a:lnTo>
                    <a:pt x="72" y="882"/>
                  </a:lnTo>
                  <a:lnTo>
                    <a:pt x="72" y="876"/>
                  </a:lnTo>
                  <a:lnTo>
                    <a:pt x="78" y="870"/>
                  </a:lnTo>
                  <a:lnTo>
                    <a:pt x="90" y="870"/>
                  </a:lnTo>
                  <a:lnTo>
                    <a:pt x="96" y="870"/>
                  </a:lnTo>
                  <a:lnTo>
                    <a:pt x="102" y="870"/>
                  </a:lnTo>
                  <a:lnTo>
                    <a:pt x="114" y="870"/>
                  </a:lnTo>
                  <a:lnTo>
                    <a:pt x="120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34"/>
                  </a:lnTo>
                  <a:lnTo>
                    <a:pt x="132" y="828"/>
                  </a:lnTo>
                  <a:lnTo>
                    <a:pt x="132" y="816"/>
                  </a:lnTo>
                  <a:lnTo>
                    <a:pt x="150" y="816"/>
                  </a:lnTo>
                  <a:lnTo>
                    <a:pt x="150" y="804"/>
                  </a:lnTo>
                  <a:lnTo>
                    <a:pt x="144" y="798"/>
                  </a:lnTo>
                  <a:lnTo>
                    <a:pt x="156" y="762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32"/>
                  </a:lnTo>
                  <a:lnTo>
                    <a:pt x="144" y="726"/>
                  </a:lnTo>
                  <a:lnTo>
                    <a:pt x="132" y="726"/>
                  </a:lnTo>
                  <a:lnTo>
                    <a:pt x="120" y="732"/>
                  </a:lnTo>
                  <a:lnTo>
                    <a:pt x="114" y="744"/>
                  </a:lnTo>
                  <a:lnTo>
                    <a:pt x="108" y="750"/>
                  </a:lnTo>
                  <a:lnTo>
                    <a:pt x="96" y="768"/>
                  </a:lnTo>
                  <a:lnTo>
                    <a:pt x="96" y="774"/>
                  </a:lnTo>
                  <a:lnTo>
                    <a:pt x="90" y="780"/>
                  </a:lnTo>
                  <a:lnTo>
                    <a:pt x="84" y="804"/>
                  </a:lnTo>
                  <a:lnTo>
                    <a:pt x="72" y="774"/>
                  </a:lnTo>
                  <a:lnTo>
                    <a:pt x="72" y="768"/>
                  </a:lnTo>
                  <a:lnTo>
                    <a:pt x="66" y="762"/>
                  </a:lnTo>
                  <a:lnTo>
                    <a:pt x="60" y="750"/>
                  </a:lnTo>
                  <a:lnTo>
                    <a:pt x="54" y="750"/>
                  </a:lnTo>
                  <a:lnTo>
                    <a:pt x="48" y="750"/>
                  </a:lnTo>
                  <a:lnTo>
                    <a:pt x="42" y="750"/>
                  </a:lnTo>
                  <a:lnTo>
                    <a:pt x="30" y="744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12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2" y="702"/>
                  </a:lnTo>
                  <a:lnTo>
                    <a:pt x="18" y="696"/>
                  </a:lnTo>
                  <a:lnTo>
                    <a:pt x="12" y="690"/>
                  </a:lnTo>
                  <a:lnTo>
                    <a:pt x="12" y="684"/>
                  </a:lnTo>
                  <a:lnTo>
                    <a:pt x="12" y="678"/>
                  </a:lnTo>
                  <a:lnTo>
                    <a:pt x="12" y="672"/>
                  </a:lnTo>
                  <a:lnTo>
                    <a:pt x="18" y="672"/>
                  </a:lnTo>
                  <a:lnTo>
                    <a:pt x="18" y="666"/>
                  </a:lnTo>
                  <a:lnTo>
                    <a:pt x="24" y="666"/>
                  </a:lnTo>
                  <a:lnTo>
                    <a:pt x="24" y="660"/>
                  </a:lnTo>
                  <a:lnTo>
                    <a:pt x="30" y="660"/>
                  </a:lnTo>
                  <a:lnTo>
                    <a:pt x="30" y="654"/>
                  </a:lnTo>
                  <a:lnTo>
                    <a:pt x="36" y="654"/>
                  </a:lnTo>
                  <a:lnTo>
                    <a:pt x="36" y="648"/>
                  </a:lnTo>
                  <a:lnTo>
                    <a:pt x="42" y="648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60" y="630"/>
                  </a:lnTo>
                  <a:lnTo>
                    <a:pt x="66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78" y="624"/>
                  </a:lnTo>
                  <a:lnTo>
                    <a:pt x="84" y="618"/>
                  </a:lnTo>
                  <a:lnTo>
                    <a:pt x="84" y="612"/>
                  </a:lnTo>
                  <a:lnTo>
                    <a:pt x="90" y="612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20" y="588"/>
                  </a:lnTo>
                  <a:lnTo>
                    <a:pt x="120" y="582"/>
                  </a:lnTo>
                  <a:lnTo>
                    <a:pt x="120" y="576"/>
                  </a:lnTo>
                  <a:lnTo>
                    <a:pt x="120" y="570"/>
                  </a:lnTo>
                  <a:lnTo>
                    <a:pt x="126" y="564"/>
                  </a:lnTo>
                  <a:lnTo>
                    <a:pt x="126" y="558"/>
                  </a:lnTo>
                  <a:lnTo>
                    <a:pt x="126" y="552"/>
                  </a:lnTo>
                  <a:lnTo>
                    <a:pt x="126" y="546"/>
                  </a:lnTo>
                  <a:lnTo>
                    <a:pt x="126" y="534"/>
                  </a:lnTo>
                  <a:lnTo>
                    <a:pt x="126" y="516"/>
                  </a:lnTo>
                  <a:lnTo>
                    <a:pt x="126" y="510"/>
                  </a:lnTo>
                  <a:lnTo>
                    <a:pt x="126" y="504"/>
                  </a:lnTo>
                  <a:lnTo>
                    <a:pt x="126" y="498"/>
                  </a:lnTo>
                  <a:lnTo>
                    <a:pt x="132" y="498"/>
                  </a:lnTo>
                  <a:lnTo>
                    <a:pt x="132" y="492"/>
                  </a:lnTo>
                  <a:lnTo>
                    <a:pt x="138" y="492"/>
                  </a:lnTo>
                  <a:lnTo>
                    <a:pt x="144" y="486"/>
                  </a:lnTo>
                  <a:lnTo>
                    <a:pt x="156" y="480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6" y="462"/>
                  </a:lnTo>
                  <a:lnTo>
                    <a:pt x="156" y="456"/>
                  </a:lnTo>
                  <a:lnTo>
                    <a:pt x="156" y="450"/>
                  </a:lnTo>
                  <a:lnTo>
                    <a:pt x="162" y="438"/>
                  </a:lnTo>
                  <a:lnTo>
                    <a:pt x="168" y="426"/>
                  </a:lnTo>
                  <a:lnTo>
                    <a:pt x="174" y="426"/>
                  </a:lnTo>
                  <a:lnTo>
                    <a:pt x="174" y="420"/>
                  </a:lnTo>
                  <a:lnTo>
                    <a:pt x="180" y="414"/>
                  </a:lnTo>
                  <a:lnTo>
                    <a:pt x="186" y="420"/>
                  </a:lnTo>
                  <a:lnTo>
                    <a:pt x="186" y="414"/>
                  </a:lnTo>
                  <a:lnTo>
                    <a:pt x="180" y="408"/>
                  </a:lnTo>
                  <a:lnTo>
                    <a:pt x="180" y="402"/>
                  </a:lnTo>
                  <a:lnTo>
                    <a:pt x="186" y="402"/>
                  </a:lnTo>
                  <a:lnTo>
                    <a:pt x="192" y="402"/>
                  </a:lnTo>
                  <a:lnTo>
                    <a:pt x="192" y="396"/>
                  </a:lnTo>
                  <a:lnTo>
                    <a:pt x="198" y="396"/>
                  </a:lnTo>
                  <a:lnTo>
                    <a:pt x="204" y="396"/>
                  </a:lnTo>
                  <a:lnTo>
                    <a:pt x="210" y="396"/>
                  </a:lnTo>
                  <a:lnTo>
                    <a:pt x="210" y="390"/>
                  </a:lnTo>
                  <a:lnTo>
                    <a:pt x="216" y="390"/>
                  </a:lnTo>
                  <a:lnTo>
                    <a:pt x="216" y="384"/>
                  </a:lnTo>
                  <a:lnTo>
                    <a:pt x="222" y="384"/>
                  </a:lnTo>
                  <a:lnTo>
                    <a:pt x="222" y="378"/>
                  </a:lnTo>
                  <a:lnTo>
                    <a:pt x="228" y="372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0" y="348"/>
                  </a:lnTo>
                  <a:lnTo>
                    <a:pt x="234" y="342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46" y="330"/>
                  </a:lnTo>
                  <a:lnTo>
                    <a:pt x="246" y="324"/>
                  </a:lnTo>
                  <a:lnTo>
                    <a:pt x="234" y="318"/>
                  </a:lnTo>
                  <a:lnTo>
                    <a:pt x="234" y="312"/>
                  </a:lnTo>
                  <a:lnTo>
                    <a:pt x="234" y="300"/>
                  </a:lnTo>
                  <a:lnTo>
                    <a:pt x="240" y="288"/>
                  </a:lnTo>
                  <a:lnTo>
                    <a:pt x="240" y="276"/>
                  </a:lnTo>
                  <a:lnTo>
                    <a:pt x="246" y="258"/>
                  </a:lnTo>
                  <a:lnTo>
                    <a:pt x="258" y="252"/>
                  </a:lnTo>
                  <a:lnTo>
                    <a:pt x="270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294" y="252"/>
                  </a:lnTo>
                  <a:lnTo>
                    <a:pt x="300" y="258"/>
                  </a:lnTo>
                  <a:lnTo>
                    <a:pt x="318" y="252"/>
                  </a:lnTo>
                  <a:lnTo>
                    <a:pt x="366" y="252"/>
                  </a:lnTo>
                  <a:lnTo>
                    <a:pt x="378" y="252"/>
                  </a:lnTo>
                  <a:lnTo>
                    <a:pt x="396" y="252"/>
                  </a:lnTo>
                  <a:lnTo>
                    <a:pt x="408" y="252"/>
                  </a:lnTo>
                  <a:lnTo>
                    <a:pt x="408" y="246"/>
                  </a:lnTo>
                  <a:lnTo>
                    <a:pt x="414" y="240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20" y="216"/>
                  </a:lnTo>
                  <a:lnTo>
                    <a:pt x="426" y="210"/>
                  </a:lnTo>
                  <a:lnTo>
                    <a:pt x="444" y="198"/>
                  </a:lnTo>
                  <a:lnTo>
                    <a:pt x="462" y="198"/>
                  </a:lnTo>
                  <a:lnTo>
                    <a:pt x="474" y="204"/>
                  </a:lnTo>
                  <a:lnTo>
                    <a:pt x="498" y="198"/>
                  </a:lnTo>
                  <a:lnTo>
                    <a:pt x="498" y="204"/>
                  </a:lnTo>
                  <a:lnTo>
                    <a:pt x="540" y="210"/>
                  </a:lnTo>
                  <a:lnTo>
                    <a:pt x="564" y="210"/>
                  </a:lnTo>
                  <a:lnTo>
                    <a:pt x="588" y="210"/>
                  </a:lnTo>
                  <a:lnTo>
                    <a:pt x="612" y="210"/>
                  </a:lnTo>
                  <a:lnTo>
                    <a:pt x="612" y="216"/>
                  </a:lnTo>
                  <a:lnTo>
                    <a:pt x="618" y="222"/>
                  </a:lnTo>
                  <a:lnTo>
                    <a:pt x="618" y="228"/>
                  </a:lnTo>
                  <a:lnTo>
                    <a:pt x="624" y="240"/>
                  </a:lnTo>
                  <a:lnTo>
                    <a:pt x="624" y="246"/>
                  </a:lnTo>
                  <a:lnTo>
                    <a:pt x="630" y="252"/>
                  </a:lnTo>
                  <a:lnTo>
                    <a:pt x="630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0" y="282"/>
                  </a:lnTo>
                  <a:lnTo>
                    <a:pt x="630" y="288"/>
                  </a:lnTo>
                  <a:lnTo>
                    <a:pt x="630" y="300"/>
                  </a:lnTo>
                  <a:lnTo>
                    <a:pt x="630" y="306"/>
                  </a:lnTo>
                  <a:lnTo>
                    <a:pt x="636" y="306"/>
                  </a:lnTo>
                  <a:lnTo>
                    <a:pt x="642" y="306"/>
                  </a:lnTo>
                  <a:lnTo>
                    <a:pt x="648" y="312"/>
                  </a:lnTo>
                  <a:lnTo>
                    <a:pt x="666" y="312"/>
                  </a:lnTo>
                  <a:lnTo>
                    <a:pt x="696" y="306"/>
                  </a:lnTo>
                  <a:lnTo>
                    <a:pt x="732" y="300"/>
                  </a:lnTo>
                  <a:lnTo>
                    <a:pt x="732" y="288"/>
                  </a:lnTo>
                  <a:lnTo>
                    <a:pt x="738" y="288"/>
                  </a:lnTo>
                  <a:lnTo>
                    <a:pt x="744" y="276"/>
                  </a:lnTo>
                  <a:lnTo>
                    <a:pt x="762" y="246"/>
                  </a:lnTo>
                  <a:lnTo>
                    <a:pt x="768" y="228"/>
                  </a:lnTo>
                  <a:lnTo>
                    <a:pt x="792" y="210"/>
                  </a:lnTo>
                  <a:lnTo>
                    <a:pt x="804" y="186"/>
                  </a:lnTo>
                  <a:lnTo>
                    <a:pt x="804" y="156"/>
                  </a:lnTo>
                  <a:lnTo>
                    <a:pt x="804" y="138"/>
                  </a:lnTo>
                  <a:lnTo>
                    <a:pt x="810" y="126"/>
                  </a:lnTo>
                  <a:lnTo>
                    <a:pt x="816" y="120"/>
                  </a:lnTo>
                  <a:lnTo>
                    <a:pt x="828" y="102"/>
                  </a:lnTo>
                  <a:lnTo>
                    <a:pt x="834" y="96"/>
                  </a:lnTo>
                  <a:lnTo>
                    <a:pt x="846" y="102"/>
                  </a:lnTo>
                  <a:lnTo>
                    <a:pt x="852" y="96"/>
                  </a:lnTo>
                  <a:lnTo>
                    <a:pt x="858" y="72"/>
                  </a:lnTo>
                  <a:lnTo>
                    <a:pt x="864" y="60"/>
                  </a:lnTo>
                  <a:lnTo>
                    <a:pt x="882" y="48"/>
                  </a:lnTo>
                  <a:lnTo>
                    <a:pt x="906" y="36"/>
                  </a:lnTo>
                  <a:lnTo>
                    <a:pt x="918" y="12"/>
                  </a:lnTo>
                  <a:lnTo>
                    <a:pt x="924" y="0"/>
                  </a:lnTo>
                  <a:lnTo>
                    <a:pt x="930" y="6"/>
                  </a:lnTo>
                  <a:lnTo>
                    <a:pt x="942" y="12"/>
                  </a:lnTo>
                  <a:lnTo>
                    <a:pt x="948" y="12"/>
                  </a:lnTo>
                  <a:lnTo>
                    <a:pt x="954" y="18"/>
                  </a:lnTo>
                  <a:lnTo>
                    <a:pt x="966" y="18"/>
                  </a:lnTo>
                  <a:lnTo>
                    <a:pt x="972" y="18"/>
                  </a:lnTo>
                  <a:lnTo>
                    <a:pt x="984" y="18"/>
                  </a:lnTo>
                  <a:lnTo>
                    <a:pt x="990" y="18"/>
                  </a:lnTo>
                  <a:lnTo>
                    <a:pt x="1002" y="48"/>
                  </a:lnTo>
                  <a:lnTo>
                    <a:pt x="1008" y="78"/>
                  </a:lnTo>
                  <a:lnTo>
                    <a:pt x="1020" y="78"/>
                  </a:lnTo>
                  <a:lnTo>
                    <a:pt x="1020" y="90"/>
                  </a:lnTo>
                  <a:lnTo>
                    <a:pt x="1026" y="102"/>
                  </a:lnTo>
                  <a:lnTo>
                    <a:pt x="1044" y="120"/>
                  </a:lnTo>
                  <a:lnTo>
                    <a:pt x="1044" y="132"/>
                  </a:lnTo>
                  <a:lnTo>
                    <a:pt x="1056" y="150"/>
                  </a:lnTo>
                  <a:lnTo>
                    <a:pt x="1050" y="150"/>
                  </a:lnTo>
                  <a:lnTo>
                    <a:pt x="1044" y="156"/>
                  </a:lnTo>
                  <a:lnTo>
                    <a:pt x="1044" y="162"/>
                  </a:lnTo>
                  <a:lnTo>
                    <a:pt x="1038" y="162"/>
                  </a:lnTo>
                  <a:lnTo>
                    <a:pt x="1032" y="162"/>
                  </a:lnTo>
                  <a:lnTo>
                    <a:pt x="1026" y="168"/>
                  </a:lnTo>
                  <a:lnTo>
                    <a:pt x="1014" y="174"/>
                  </a:lnTo>
                  <a:lnTo>
                    <a:pt x="1014" y="186"/>
                  </a:lnTo>
                  <a:lnTo>
                    <a:pt x="1014" y="192"/>
                  </a:lnTo>
                  <a:lnTo>
                    <a:pt x="1014" y="198"/>
                  </a:lnTo>
                  <a:lnTo>
                    <a:pt x="1020" y="204"/>
                  </a:lnTo>
                  <a:lnTo>
                    <a:pt x="1026" y="204"/>
                  </a:lnTo>
                  <a:lnTo>
                    <a:pt x="1032" y="204"/>
                  </a:lnTo>
                  <a:lnTo>
                    <a:pt x="1032" y="210"/>
                  </a:lnTo>
                  <a:lnTo>
                    <a:pt x="1038" y="210"/>
                  </a:lnTo>
                  <a:lnTo>
                    <a:pt x="1032" y="216"/>
                  </a:lnTo>
                  <a:lnTo>
                    <a:pt x="1026" y="228"/>
                  </a:lnTo>
                  <a:lnTo>
                    <a:pt x="1026" y="234"/>
                  </a:lnTo>
                  <a:lnTo>
                    <a:pt x="1032" y="240"/>
                  </a:lnTo>
                  <a:lnTo>
                    <a:pt x="1032" y="246"/>
                  </a:lnTo>
                  <a:lnTo>
                    <a:pt x="1032" y="252"/>
                  </a:lnTo>
                  <a:lnTo>
                    <a:pt x="1032" y="258"/>
                  </a:lnTo>
                  <a:lnTo>
                    <a:pt x="1038" y="264"/>
                  </a:lnTo>
                  <a:lnTo>
                    <a:pt x="1032" y="276"/>
                  </a:lnTo>
                  <a:lnTo>
                    <a:pt x="1026" y="276"/>
                  </a:lnTo>
                  <a:lnTo>
                    <a:pt x="1020" y="276"/>
                  </a:lnTo>
                  <a:lnTo>
                    <a:pt x="996" y="282"/>
                  </a:lnTo>
                  <a:lnTo>
                    <a:pt x="996" y="288"/>
                  </a:lnTo>
                  <a:lnTo>
                    <a:pt x="996" y="294"/>
                  </a:lnTo>
                  <a:lnTo>
                    <a:pt x="996" y="300"/>
                  </a:lnTo>
                  <a:lnTo>
                    <a:pt x="996" y="306"/>
                  </a:lnTo>
                  <a:lnTo>
                    <a:pt x="984" y="324"/>
                  </a:lnTo>
                  <a:lnTo>
                    <a:pt x="984" y="330"/>
                  </a:lnTo>
                  <a:lnTo>
                    <a:pt x="984" y="336"/>
                  </a:lnTo>
                  <a:lnTo>
                    <a:pt x="978" y="336"/>
                  </a:lnTo>
                  <a:lnTo>
                    <a:pt x="978" y="342"/>
                  </a:lnTo>
                  <a:lnTo>
                    <a:pt x="984" y="360"/>
                  </a:lnTo>
                  <a:lnTo>
                    <a:pt x="978" y="366"/>
                  </a:lnTo>
                  <a:lnTo>
                    <a:pt x="978" y="372"/>
                  </a:lnTo>
                  <a:lnTo>
                    <a:pt x="972" y="372"/>
                  </a:lnTo>
                  <a:lnTo>
                    <a:pt x="972" y="378"/>
                  </a:lnTo>
                  <a:lnTo>
                    <a:pt x="972" y="384"/>
                  </a:lnTo>
                  <a:lnTo>
                    <a:pt x="972" y="390"/>
                  </a:lnTo>
                  <a:lnTo>
                    <a:pt x="966" y="402"/>
                  </a:lnTo>
                  <a:lnTo>
                    <a:pt x="960" y="414"/>
                  </a:lnTo>
                  <a:lnTo>
                    <a:pt x="954" y="420"/>
                  </a:lnTo>
                  <a:lnTo>
                    <a:pt x="948" y="426"/>
                  </a:lnTo>
                  <a:lnTo>
                    <a:pt x="948" y="438"/>
                  </a:lnTo>
                  <a:lnTo>
                    <a:pt x="942" y="444"/>
                  </a:lnTo>
                  <a:lnTo>
                    <a:pt x="936" y="450"/>
                  </a:lnTo>
                  <a:lnTo>
                    <a:pt x="930" y="456"/>
                  </a:lnTo>
                  <a:lnTo>
                    <a:pt x="924" y="462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18" y="522"/>
                  </a:lnTo>
                  <a:lnTo>
                    <a:pt x="918" y="528"/>
                  </a:lnTo>
                  <a:lnTo>
                    <a:pt x="924" y="534"/>
                  </a:lnTo>
                  <a:lnTo>
                    <a:pt x="924" y="540"/>
                  </a:lnTo>
                  <a:lnTo>
                    <a:pt x="924" y="546"/>
                  </a:lnTo>
                  <a:lnTo>
                    <a:pt x="918" y="546"/>
                  </a:lnTo>
                  <a:lnTo>
                    <a:pt x="918" y="552"/>
                  </a:lnTo>
                  <a:lnTo>
                    <a:pt x="912" y="546"/>
                  </a:lnTo>
                  <a:lnTo>
                    <a:pt x="912" y="552"/>
                  </a:lnTo>
                  <a:lnTo>
                    <a:pt x="912" y="570"/>
                  </a:lnTo>
                  <a:lnTo>
                    <a:pt x="906" y="588"/>
                  </a:lnTo>
                  <a:lnTo>
                    <a:pt x="900" y="606"/>
                  </a:lnTo>
                  <a:lnTo>
                    <a:pt x="906" y="624"/>
                  </a:lnTo>
                  <a:lnTo>
                    <a:pt x="900" y="624"/>
                  </a:lnTo>
                  <a:lnTo>
                    <a:pt x="894" y="630"/>
                  </a:lnTo>
                  <a:lnTo>
                    <a:pt x="888" y="630"/>
                  </a:lnTo>
                  <a:lnTo>
                    <a:pt x="882" y="630"/>
                  </a:lnTo>
                  <a:lnTo>
                    <a:pt x="882" y="636"/>
                  </a:lnTo>
                  <a:lnTo>
                    <a:pt x="876" y="642"/>
                  </a:lnTo>
                  <a:lnTo>
                    <a:pt x="870" y="642"/>
                  </a:lnTo>
                  <a:lnTo>
                    <a:pt x="870" y="648"/>
                  </a:lnTo>
                  <a:lnTo>
                    <a:pt x="870" y="654"/>
                  </a:lnTo>
                  <a:lnTo>
                    <a:pt x="864" y="654"/>
                  </a:lnTo>
                  <a:lnTo>
                    <a:pt x="864" y="660"/>
                  </a:lnTo>
                  <a:lnTo>
                    <a:pt x="846" y="666"/>
                  </a:lnTo>
                  <a:lnTo>
                    <a:pt x="828" y="672"/>
                  </a:lnTo>
                  <a:lnTo>
                    <a:pt x="816" y="660"/>
                  </a:lnTo>
                  <a:lnTo>
                    <a:pt x="810" y="660"/>
                  </a:lnTo>
                  <a:lnTo>
                    <a:pt x="798" y="666"/>
                  </a:lnTo>
                  <a:lnTo>
                    <a:pt x="786" y="666"/>
                  </a:lnTo>
                  <a:lnTo>
                    <a:pt x="780" y="672"/>
                  </a:lnTo>
                  <a:lnTo>
                    <a:pt x="768" y="678"/>
                  </a:lnTo>
                  <a:lnTo>
                    <a:pt x="762" y="660"/>
                  </a:lnTo>
                  <a:lnTo>
                    <a:pt x="762" y="654"/>
                  </a:lnTo>
                  <a:lnTo>
                    <a:pt x="756" y="636"/>
                  </a:lnTo>
                  <a:lnTo>
                    <a:pt x="762" y="624"/>
                  </a:lnTo>
                  <a:lnTo>
                    <a:pt x="756" y="606"/>
                  </a:lnTo>
                  <a:lnTo>
                    <a:pt x="756" y="600"/>
                  </a:lnTo>
                  <a:lnTo>
                    <a:pt x="762" y="594"/>
                  </a:lnTo>
                  <a:lnTo>
                    <a:pt x="768" y="600"/>
                  </a:lnTo>
                  <a:lnTo>
                    <a:pt x="768" y="594"/>
                  </a:lnTo>
                  <a:lnTo>
                    <a:pt x="768" y="588"/>
                  </a:lnTo>
                  <a:lnTo>
                    <a:pt x="774" y="582"/>
                  </a:lnTo>
                  <a:lnTo>
                    <a:pt x="768" y="576"/>
                  </a:lnTo>
                  <a:lnTo>
                    <a:pt x="762" y="576"/>
                  </a:lnTo>
                  <a:lnTo>
                    <a:pt x="756" y="576"/>
                  </a:lnTo>
                  <a:lnTo>
                    <a:pt x="690" y="576"/>
                  </a:lnTo>
                  <a:lnTo>
                    <a:pt x="624" y="570"/>
                  </a:lnTo>
                  <a:lnTo>
                    <a:pt x="600" y="564"/>
                  </a:lnTo>
                  <a:lnTo>
                    <a:pt x="576" y="564"/>
                  </a:lnTo>
                  <a:lnTo>
                    <a:pt x="558" y="570"/>
                  </a:lnTo>
                  <a:lnTo>
                    <a:pt x="552" y="576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46" y="594"/>
                  </a:lnTo>
                  <a:lnTo>
                    <a:pt x="546" y="600"/>
                  </a:lnTo>
                  <a:lnTo>
                    <a:pt x="540" y="606"/>
                  </a:lnTo>
                  <a:lnTo>
                    <a:pt x="534" y="618"/>
                  </a:lnTo>
                  <a:lnTo>
                    <a:pt x="534" y="624"/>
                  </a:lnTo>
                  <a:lnTo>
                    <a:pt x="534" y="630"/>
                  </a:lnTo>
                  <a:lnTo>
                    <a:pt x="534" y="636"/>
                  </a:lnTo>
                  <a:lnTo>
                    <a:pt x="528" y="636"/>
                  </a:lnTo>
                  <a:lnTo>
                    <a:pt x="516" y="642"/>
                  </a:lnTo>
                  <a:lnTo>
                    <a:pt x="516" y="648"/>
                  </a:lnTo>
                  <a:lnTo>
                    <a:pt x="510" y="648"/>
                  </a:lnTo>
                  <a:lnTo>
                    <a:pt x="504" y="654"/>
                  </a:lnTo>
                  <a:lnTo>
                    <a:pt x="492" y="666"/>
                  </a:lnTo>
                  <a:lnTo>
                    <a:pt x="492" y="672"/>
                  </a:lnTo>
                  <a:lnTo>
                    <a:pt x="492" y="684"/>
                  </a:lnTo>
                  <a:lnTo>
                    <a:pt x="486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92" y="702"/>
                  </a:lnTo>
                  <a:lnTo>
                    <a:pt x="486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74" y="720"/>
                  </a:lnTo>
                  <a:lnTo>
                    <a:pt x="480" y="726"/>
                  </a:lnTo>
                  <a:lnTo>
                    <a:pt x="474" y="726"/>
                  </a:lnTo>
                  <a:lnTo>
                    <a:pt x="474" y="738"/>
                  </a:lnTo>
                  <a:lnTo>
                    <a:pt x="474" y="744"/>
                  </a:lnTo>
                  <a:lnTo>
                    <a:pt x="474" y="750"/>
                  </a:lnTo>
                  <a:lnTo>
                    <a:pt x="480" y="750"/>
                  </a:lnTo>
                  <a:lnTo>
                    <a:pt x="480" y="756"/>
                  </a:lnTo>
                  <a:lnTo>
                    <a:pt x="492" y="762"/>
                  </a:lnTo>
                  <a:lnTo>
                    <a:pt x="498" y="774"/>
                  </a:lnTo>
                  <a:lnTo>
                    <a:pt x="498" y="780"/>
                  </a:lnTo>
                  <a:lnTo>
                    <a:pt x="504" y="786"/>
                  </a:lnTo>
                  <a:lnTo>
                    <a:pt x="510" y="792"/>
                  </a:lnTo>
                  <a:lnTo>
                    <a:pt x="504" y="798"/>
                  </a:lnTo>
                  <a:lnTo>
                    <a:pt x="504" y="804"/>
                  </a:lnTo>
                  <a:lnTo>
                    <a:pt x="504" y="810"/>
                  </a:lnTo>
                  <a:lnTo>
                    <a:pt x="498" y="822"/>
                  </a:lnTo>
                  <a:lnTo>
                    <a:pt x="492" y="828"/>
                  </a:lnTo>
                  <a:lnTo>
                    <a:pt x="492" y="834"/>
                  </a:lnTo>
                  <a:lnTo>
                    <a:pt x="486" y="840"/>
                  </a:lnTo>
                  <a:lnTo>
                    <a:pt x="480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74" y="858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876"/>
                  </a:lnTo>
                  <a:lnTo>
                    <a:pt x="456" y="894"/>
                  </a:lnTo>
                  <a:lnTo>
                    <a:pt x="450" y="894"/>
                  </a:lnTo>
                  <a:lnTo>
                    <a:pt x="444" y="900"/>
                  </a:lnTo>
                  <a:lnTo>
                    <a:pt x="444" y="894"/>
                  </a:lnTo>
                  <a:lnTo>
                    <a:pt x="438" y="894"/>
                  </a:lnTo>
                  <a:lnTo>
                    <a:pt x="432" y="900"/>
                  </a:lnTo>
                  <a:lnTo>
                    <a:pt x="432" y="906"/>
                  </a:lnTo>
                  <a:lnTo>
                    <a:pt x="420" y="906"/>
                  </a:lnTo>
                  <a:lnTo>
                    <a:pt x="420" y="912"/>
                  </a:lnTo>
                  <a:lnTo>
                    <a:pt x="420" y="918"/>
                  </a:lnTo>
                  <a:lnTo>
                    <a:pt x="426" y="918"/>
                  </a:lnTo>
                  <a:lnTo>
                    <a:pt x="426" y="924"/>
                  </a:lnTo>
                  <a:lnTo>
                    <a:pt x="426" y="930"/>
                  </a:lnTo>
                  <a:lnTo>
                    <a:pt x="420" y="930"/>
                  </a:lnTo>
                  <a:lnTo>
                    <a:pt x="414" y="936"/>
                  </a:lnTo>
                  <a:lnTo>
                    <a:pt x="414" y="942"/>
                  </a:lnTo>
                  <a:lnTo>
                    <a:pt x="414" y="948"/>
                  </a:lnTo>
                  <a:lnTo>
                    <a:pt x="414" y="954"/>
                  </a:lnTo>
                  <a:lnTo>
                    <a:pt x="426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44" y="972"/>
                  </a:lnTo>
                  <a:lnTo>
                    <a:pt x="444" y="978"/>
                  </a:lnTo>
                  <a:lnTo>
                    <a:pt x="450" y="978"/>
                  </a:lnTo>
                  <a:lnTo>
                    <a:pt x="450" y="984"/>
                  </a:lnTo>
                  <a:lnTo>
                    <a:pt x="456" y="990"/>
                  </a:lnTo>
                  <a:lnTo>
                    <a:pt x="456" y="996"/>
                  </a:lnTo>
                  <a:lnTo>
                    <a:pt x="462" y="1008"/>
                  </a:lnTo>
                  <a:lnTo>
                    <a:pt x="468" y="1008"/>
                  </a:lnTo>
                  <a:lnTo>
                    <a:pt x="468" y="1002"/>
                  </a:lnTo>
                  <a:lnTo>
                    <a:pt x="474" y="1008"/>
                  </a:lnTo>
                  <a:lnTo>
                    <a:pt x="480" y="1002"/>
                  </a:lnTo>
                  <a:lnTo>
                    <a:pt x="486" y="1008"/>
                  </a:lnTo>
                  <a:lnTo>
                    <a:pt x="486" y="1014"/>
                  </a:lnTo>
                  <a:lnTo>
                    <a:pt x="492" y="1014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86" y="1026"/>
                  </a:lnTo>
                  <a:lnTo>
                    <a:pt x="492" y="1026"/>
                  </a:lnTo>
                  <a:lnTo>
                    <a:pt x="486" y="1026"/>
                  </a:lnTo>
                  <a:lnTo>
                    <a:pt x="492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5" name="Freeform 30">
              <a:extLst>
                <a:ext uri="{FF2B5EF4-FFF2-40B4-BE49-F238E27FC236}">
                  <a16:creationId xmlns:a16="http://schemas.microsoft.com/office/drawing/2014/main" id="{85C7B827-0C1A-4D72-AEBD-F01CFE7EC12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3645" y="3904484"/>
              <a:ext cx="559048" cy="111825"/>
            </a:xfrm>
            <a:custGeom>
              <a:avLst/>
              <a:gdLst>
                <a:gd name="T0" fmla="*/ 69 w 1056"/>
                <a:gd name="T1" fmla="*/ 7 h 210"/>
                <a:gd name="T2" fmla="*/ 63 w 1056"/>
                <a:gd name="T3" fmla="*/ 5 h 210"/>
                <a:gd name="T4" fmla="*/ 57 w 1056"/>
                <a:gd name="T5" fmla="*/ 5 h 210"/>
                <a:gd name="T6" fmla="*/ 54 w 1056"/>
                <a:gd name="T7" fmla="*/ 6 h 210"/>
                <a:gd name="T8" fmla="*/ 51 w 1056"/>
                <a:gd name="T9" fmla="*/ 7 h 210"/>
                <a:gd name="T10" fmla="*/ 46 w 1056"/>
                <a:gd name="T11" fmla="*/ 9 h 210"/>
                <a:gd name="T12" fmla="*/ 42 w 1056"/>
                <a:gd name="T13" fmla="*/ 8 h 210"/>
                <a:gd name="T14" fmla="*/ 42 w 1056"/>
                <a:gd name="T15" fmla="*/ 5 h 210"/>
                <a:gd name="T16" fmla="*/ 41 w 1056"/>
                <a:gd name="T17" fmla="*/ 7 h 210"/>
                <a:gd name="T18" fmla="*/ 38 w 1056"/>
                <a:gd name="T19" fmla="*/ 10 h 210"/>
                <a:gd name="T20" fmla="*/ 37 w 1056"/>
                <a:gd name="T21" fmla="*/ 12 h 210"/>
                <a:gd name="T22" fmla="*/ 37 w 1056"/>
                <a:gd name="T23" fmla="*/ 15 h 210"/>
                <a:gd name="T24" fmla="*/ 37 w 1056"/>
                <a:gd name="T25" fmla="*/ 16 h 210"/>
                <a:gd name="T26" fmla="*/ 38 w 1056"/>
                <a:gd name="T27" fmla="*/ 16 h 210"/>
                <a:gd name="T28" fmla="*/ 34 w 1056"/>
                <a:gd name="T29" fmla="*/ 16 h 210"/>
                <a:gd name="T30" fmla="*/ 26 w 1056"/>
                <a:gd name="T31" fmla="*/ 16 h 210"/>
                <a:gd name="T32" fmla="*/ 20 w 1056"/>
                <a:gd name="T33" fmla="*/ 17 h 210"/>
                <a:gd name="T34" fmla="*/ 13 w 1056"/>
                <a:gd name="T35" fmla="*/ 17 h 210"/>
                <a:gd name="T36" fmla="*/ 6 w 1056"/>
                <a:gd name="T37" fmla="*/ 17 h 210"/>
                <a:gd name="T38" fmla="*/ 1 w 1056"/>
                <a:gd name="T39" fmla="*/ 18 h 210"/>
                <a:gd name="T40" fmla="*/ 3 w 1056"/>
                <a:gd name="T41" fmla="*/ 14 h 210"/>
                <a:gd name="T42" fmla="*/ 8 w 1056"/>
                <a:gd name="T43" fmla="*/ 15 h 210"/>
                <a:gd name="T44" fmla="*/ 11 w 1056"/>
                <a:gd name="T45" fmla="*/ 12 h 210"/>
                <a:gd name="T46" fmla="*/ 26 w 1056"/>
                <a:gd name="T47" fmla="*/ 10 h 210"/>
                <a:gd name="T48" fmla="*/ 29 w 1056"/>
                <a:gd name="T49" fmla="*/ 5 h 210"/>
                <a:gd name="T50" fmla="*/ 34 w 1056"/>
                <a:gd name="T51" fmla="*/ 1 h 210"/>
                <a:gd name="T52" fmla="*/ 41 w 1056"/>
                <a:gd name="T53" fmla="*/ 3 h 210"/>
                <a:gd name="T54" fmla="*/ 73 w 1056"/>
                <a:gd name="T55" fmla="*/ 1 h 210"/>
                <a:gd name="T56" fmla="*/ 75 w 1056"/>
                <a:gd name="T57" fmla="*/ 4 h 210"/>
                <a:gd name="T58" fmla="*/ 85 w 1056"/>
                <a:gd name="T59" fmla="*/ 15 h 210"/>
                <a:gd name="T60" fmla="*/ 91 w 1056"/>
                <a:gd name="T61" fmla="*/ 18 h 210"/>
                <a:gd name="T62" fmla="*/ 85 w 1056"/>
                <a:gd name="T63" fmla="*/ 18 h 210"/>
                <a:gd name="T64" fmla="*/ 79 w 1056"/>
                <a:gd name="T65" fmla="*/ 16 h 210"/>
                <a:gd name="T66" fmla="*/ 74 w 1056"/>
                <a:gd name="T67" fmla="*/ 16 h 210"/>
                <a:gd name="T68" fmla="*/ 69 w 1056"/>
                <a:gd name="T69" fmla="*/ 15 h 210"/>
                <a:gd name="T70" fmla="*/ 65 w 1056"/>
                <a:gd name="T71" fmla="*/ 14 h 210"/>
                <a:gd name="T72" fmla="*/ 59 w 1056"/>
                <a:gd name="T73" fmla="*/ 15 h 210"/>
                <a:gd name="T74" fmla="*/ 54 w 1056"/>
                <a:gd name="T75" fmla="*/ 15 h 210"/>
                <a:gd name="T76" fmla="*/ 49 w 1056"/>
                <a:gd name="T77" fmla="*/ 15 h 210"/>
                <a:gd name="T78" fmla="*/ 42 w 1056"/>
                <a:gd name="T79" fmla="*/ 15 h 210"/>
                <a:gd name="T80" fmla="*/ 38 w 1056"/>
                <a:gd name="T81" fmla="*/ 16 h 210"/>
                <a:gd name="T82" fmla="*/ 41 w 1056"/>
                <a:gd name="T83" fmla="*/ 14 h 210"/>
                <a:gd name="T84" fmla="*/ 42 w 1056"/>
                <a:gd name="T85" fmla="*/ 13 h 210"/>
                <a:gd name="T86" fmla="*/ 45 w 1056"/>
                <a:gd name="T87" fmla="*/ 13 h 210"/>
                <a:gd name="T88" fmla="*/ 48 w 1056"/>
                <a:gd name="T89" fmla="*/ 12 h 210"/>
                <a:gd name="T90" fmla="*/ 51 w 1056"/>
                <a:gd name="T91" fmla="*/ 11 h 210"/>
                <a:gd name="T92" fmla="*/ 54 w 1056"/>
                <a:gd name="T93" fmla="*/ 9 h 210"/>
                <a:gd name="T94" fmla="*/ 57 w 1056"/>
                <a:gd name="T95" fmla="*/ 8 h 210"/>
                <a:gd name="T96" fmla="*/ 60 w 1056"/>
                <a:gd name="T97" fmla="*/ 5 h 210"/>
                <a:gd name="T98" fmla="*/ 65 w 1056"/>
                <a:gd name="T99" fmla="*/ 5 h 210"/>
                <a:gd name="T100" fmla="*/ 72 w 1056"/>
                <a:gd name="T101" fmla="*/ 7 h 210"/>
                <a:gd name="T102" fmla="*/ 77 w 1056"/>
                <a:gd name="T103" fmla="*/ 11 h 210"/>
                <a:gd name="T104" fmla="*/ 69 w 1056"/>
                <a:gd name="T105" fmla="*/ 10 h 210"/>
                <a:gd name="T106" fmla="*/ 72 w 1056"/>
                <a:gd name="T107" fmla="*/ 12 h 210"/>
                <a:gd name="T108" fmla="*/ 78 w 1056"/>
                <a:gd name="T109" fmla="*/ 15 h 210"/>
                <a:gd name="T110" fmla="*/ 84 w 1056"/>
                <a:gd name="T111" fmla="*/ 14 h 210"/>
                <a:gd name="T112" fmla="*/ 84 w 1056"/>
                <a:gd name="T113" fmla="*/ 14 h 210"/>
                <a:gd name="T114" fmla="*/ 78 w 1056"/>
                <a:gd name="T115" fmla="*/ 13 h 210"/>
                <a:gd name="T116" fmla="*/ 76 w 1056"/>
                <a:gd name="T117" fmla="*/ 14 h 210"/>
                <a:gd name="T118" fmla="*/ 38 w 1056"/>
                <a:gd name="T119" fmla="*/ 12 h 210"/>
                <a:gd name="T120" fmla="*/ 41 w 1056"/>
                <a:gd name="T121" fmla="*/ 12 h 210"/>
                <a:gd name="T122" fmla="*/ 40 w 1056"/>
                <a:gd name="T123" fmla="*/ 14 h 2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6"/>
                <a:gd name="T187" fmla="*/ 0 h 210"/>
                <a:gd name="T188" fmla="*/ 1056 w 1056"/>
                <a:gd name="T189" fmla="*/ 210 h 21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6" h="210">
                  <a:moveTo>
                    <a:pt x="870" y="90"/>
                  </a:moveTo>
                  <a:lnTo>
                    <a:pt x="864" y="90"/>
                  </a:lnTo>
                  <a:lnTo>
                    <a:pt x="852" y="84"/>
                  </a:lnTo>
                  <a:lnTo>
                    <a:pt x="846" y="84"/>
                  </a:lnTo>
                  <a:lnTo>
                    <a:pt x="846" y="78"/>
                  </a:lnTo>
                  <a:lnTo>
                    <a:pt x="840" y="78"/>
                  </a:lnTo>
                  <a:lnTo>
                    <a:pt x="834" y="78"/>
                  </a:lnTo>
                  <a:lnTo>
                    <a:pt x="834" y="72"/>
                  </a:lnTo>
                  <a:lnTo>
                    <a:pt x="804" y="78"/>
                  </a:lnTo>
                  <a:lnTo>
                    <a:pt x="798" y="78"/>
                  </a:lnTo>
                  <a:lnTo>
                    <a:pt x="792" y="72"/>
                  </a:lnTo>
                  <a:lnTo>
                    <a:pt x="780" y="60"/>
                  </a:lnTo>
                  <a:lnTo>
                    <a:pt x="768" y="54"/>
                  </a:lnTo>
                  <a:lnTo>
                    <a:pt x="756" y="54"/>
                  </a:lnTo>
                  <a:lnTo>
                    <a:pt x="750" y="54"/>
                  </a:lnTo>
                  <a:lnTo>
                    <a:pt x="750" y="48"/>
                  </a:lnTo>
                  <a:lnTo>
                    <a:pt x="744" y="48"/>
                  </a:lnTo>
                  <a:lnTo>
                    <a:pt x="738" y="48"/>
                  </a:lnTo>
                  <a:lnTo>
                    <a:pt x="732" y="48"/>
                  </a:lnTo>
                  <a:lnTo>
                    <a:pt x="732" y="54"/>
                  </a:lnTo>
                  <a:lnTo>
                    <a:pt x="726" y="48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48"/>
                  </a:lnTo>
                  <a:lnTo>
                    <a:pt x="702" y="48"/>
                  </a:lnTo>
                  <a:lnTo>
                    <a:pt x="696" y="48"/>
                  </a:lnTo>
                  <a:lnTo>
                    <a:pt x="684" y="48"/>
                  </a:lnTo>
                  <a:lnTo>
                    <a:pt x="678" y="48"/>
                  </a:lnTo>
                  <a:lnTo>
                    <a:pt x="672" y="48"/>
                  </a:lnTo>
                  <a:lnTo>
                    <a:pt x="666" y="54"/>
                  </a:lnTo>
                  <a:lnTo>
                    <a:pt x="660" y="54"/>
                  </a:lnTo>
                  <a:lnTo>
                    <a:pt x="660" y="48"/>
                  </a:lnTo>
                  <a:lnTo>
                    <a:pt x="654" y="48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42" y="54"/>
                  </a:lnTo>
                  <a:lnTo>
                    <a:pt x="63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30" y="66"/>
                  </a:lnTo>
                  <a:lnTo>
                    <a:pt x="624" y="66"/>
                  </a:lnTo>
                  <a:lnTo>
                    <a:pt x="618" y="66"/>
                  </a:lnTo>
                  <a:lnTo>
                    <a:pt x="618" y="72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6" y="84"/>
                  </a:lnTo>
                  <a:lnTo>
                    <a:pt x="600" y="84"/>
                  </a:lnTo>
                  <a:lnTo>
                    <a:pt x="594" y="90"/>
                  </a:lnTo>
                  <a:lnTo>
                    <a:pt x="588" y="90"/>
                  </a:lnTo>
                  <a:lnTo>
                    <a:pt x="588" y="84"/>
                  </a:lnTo>
                  <a:lnTo>
                    <a:pt x="582" y="84"/>
                  </a:lnTo>
                  <a:lnTo>
                    <a:pt x="576" y="84"/>
                  </a:lnTo>
                  <a:lnTo>
                    <a:pt x="570" y="84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58" y="96"/>
                  </a:lnTo>
                  <a:lnTo>
                    <a:pt x="552" y="96"/>
                  </a:lnTo>
                  <a:lnTo>
                    <a:pt x="546" y="102"/>
                  </a:lnTo>
                  <a:lnTo>
                    <a:pt x="540" y="102"/>
                  </a:lnTo>
                  <a:lnTo>
                    <a:pt x="534" y="102"/>
                  </a:lnTo>
                  <a:lnTo>
                    <a:pt x="528" y="102"/>
                  </a:lnTo>
                  <a:lnTo>
                    <a:pt x="528" y="108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16" y="102"/>
                  </a:lnTo>
                  <a:lnTo>
                    <a:pt x="510" y="102"/>
                  </a:lnTo>
                  <a:lnTo>
                    <a:pt x="504" y="102"/>
                  </a:lnTo>
                  <a:lnTo>
                    <a:pt x="498" y="102"/>
                  </a:lnTo>
                  <a:lnTo>
                    <a:pt x="498" y="96"/>
                  </a:lnTo>
                  <a:lnTo>
                    <a:pt x="492" y="96"/>
                  </a:lnTo>
                  <a:lnTo>
                    <a:pt x="492" y="90"/>
                  </a:lnTo>
                  <a:lnTo>
                    <a:pt x="492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498" y="66"/>
                  </a:lnTo>
                  <a:lnTo>
                    <a:pt x="504" y="60"/>
                  </a:lnTo>
                  <a:lnTo>
                    <a:pt x="498" y="60"/>
                  </a:lnTo>
                  <a:lnTo>
                    <a:pt x="498" y="54"/>
                  </a:lnTo>
                  <a:lnTo>
                    <a:pt x="492" y="54"/>
                  </a:lnTo>
                  <a:lnTo>
                    <a:pt x="492" y="60"/>
                  </a:lnTo>
                  <a:lnTo>
                    <a:pt x="486" y="60"/>
                  </a:lnTo>
                  <a:lnTo>
                    <a:pt x="486" y="66"/>
                  </a:lnTo>
                  <a:lnTo>
                    <a:pt x="480" y="66"/>
                  </a:lnTo>
                  <a:lnTo>
                    <a:pt x="474" y="72"/>
                  </a:lnTo>
                  <a:lnTo>
                    <a:pt x="474" y="66"/>
                  </a:lnTo>
                  <a:lnTo>
                    <a:pt x="474" y="72"/>
                  </a:lnTo>
                  <a:lnTo>
                    <a:pt x="468" y="72"/>
                  </a:lnTo>
                  <a:lnTo>
                    <a:pt x="468" y="78"/>
                  </a:lnTo>
                  <a:lnTo>
                    <a:pt x="468" y="84"/>
                  </a:lnTo>
                  <a:lnTo>
                    <a:pt x="462" y="90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0" y="84"/>
                  </a:lnTo>
                  <a:lnTo>
                    <a:pt x="450" y="90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44" y="102"/>
                  </a:lnTo>
                  <a:lnTo>
                    <a:pt x="444" y="108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38" y="126"/>
                  </a:lnTo>
                  <a:lnTo>
                    <a:pt x="438" y="132"/>
                  </a:lnTo>
                  <a:lnTo>
                    <a:pt x="438" y="138"/>
                  </a:lnTo>
                  <a:lnTo>
                    <a:pt x="438" y="144"/>
                  </a:lnTo>
                  <a:lnTo>
                    <a:pt x="432" y="144"/>
                  </a:lnTo>
                  <a:lnTo>
                    <a:pt x="432" y="150"/>
                  </a:lnTo>
                  <a:lnTo>
                    <a:pt x="432" y="144"/>
                  </a:lnTo>
                  <a:lnTo>
                    <a:pt x="426" y="144"/>
                  </a:lnTo>
                  <a:lnTo>
                    <a:pt x="426" y="150"/>
                  </a:lnTo>
                  <a:lnTo>
                    <a:pt x="426" y="156"/>
                  </a:lnTo>
                  <a:lnTo>
                    <a:pt x="432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2"/>
                  </a:lnTo>
                  <a:lnTo>
                    <a:pt x="432" y="168"/>
                  </a:lnTo>
                  <a:lnTo>
                    <a:pt x="426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44" y="168"/>
                  </a:lnTo>
                  <a:lnTo>
                    <a:pt x="444" y="174"/>
                  </a:lnTo>
                  <a:lnTo>
                    <a:pt x="444" y="180"/>
                  </a:lnTo>
                  <a:lnTo>
                    <a:pt x="444" y="186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2" y="192"/>
                  </a:lnTo>
                  <a:lnTo>
                    <a:pt x="426" y="192"/>
                  </a:lnTo>
                  <a:lnTo>
                    <a:pt x="420" y="186"/>
                  </a:lnTo>
                  <a:lnTo>
                    <a:pt x="414" y="186"/>
                  </a:lnTo>
                  <a:lnTo>
                    <a:pt x="408" y="186"/>
                  </a:lnTo>
                  <a:lnTo>
                    <a:pt x="402" y="186"/>
                  </a:lnTo>
                  <a:lnTo>
                    <a:pt x="396" y="186"/>
                  </a:lnTo>
                  <a:lnTo>
                    <a:pt x="390" y="186"/>
                  </a:lnTo>
                  <a:lnTo>
                    <a:pt x="384" y="186"/>
                  </a:lnTo>
                  <a:lnTo>
                    <a:pt x="378" y="186"/>
                  </a:lnTo>
                  <a:lnTo>
                    <a:pt x="372" y="186"/>
                  </a:lnTo>
                  <a:lnTo>
                    <a:pt x="354" y="186"/>
                  </a:lnTo>
                  <a:lnTo>
                    <a:pt x="342" y="186"/>
                  </a:lnTo>
                  <a:lnTo>
                    <a:pt x="324" y="186"/>
                  </a:lnTo>
                  <a:lnTo>
                    <a:pt x="312" y="186"/>
                  </a:lnTo>
                  <a:lnTo>
                    <a:pt x="306" y="186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82" y="186"/>
                  </a:lnTo>
                  <a:lnTo>
                    <a:pt x="270" y="186"/>
                  </a:lnTo>
                  <a:lnTo>
                    <a:pt x="264" y="186"/>
                  </a:lnTo>
                  <a:lnTo>
                    <a:pt x="258" y="192"/>
                  </a:lnTo>
                  <a:lnTo>
                    <a:pt x="258" y="186"/>
                  </a:lnTo>
                  <a:lnTo>
                    <a:pt x="246" y="186"/>
                  </a:lnTo>
                  <a:lnTo>
                    <a:pt x="240" y="186"/>
                  </a:lnTo>
                  <a:lnTo>
                    <a:pt x="234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2"/>
                  </a:lnTo>
                  <a:lnTo>
                    <a:pt x="204" y="192"/>
                  </a:lnTo>
                  <a:lnTo>
                    <a:pt x="198" y="192"/>
                  </a:lnTo>
                  <a:lnTo>
                    <a:pt x="192" y="192"/>
                  </a:lnTo>
                  <a:lnTo>
                    <a:pt x="180" y="192"/>
                  </a:lnTo>
                  <a:lnTo>
                    <a:pt x="168" y="192"/>
                  </a:lnTo>
                  <a:lnTo>
                    <a:pt x="162" y="192"/>
                  </a:lnTo>
                  <a:lnTo>
                    <a:pt x="150" y="192"/>
                  </a:lnTo>
                  <a:lnTo>
                    <a:pt x="138" y="192"/>
                  </a:lnTo>
                  <a:lnTo>
                    <a:pt x="132" y="192"/>
                  </a:lnTo>
                  <a:lnTo>
                    <a:pt x="120" y="192"/>
                  </a:lnTo>
                  <a:lnTo>
                    <a:pt x="114" y="192"/>
                  </a:lnTo>
                  <a:lnTo>
                    <a:pt x="108" y="192"/>
                  </a:lnTo>
                  <a:lnTo>
                    <a:pt x="102" y="192"/>
                  </a:lnTo>
                  <a:lnTo>
                    <a:pt x="90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2" y="198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36" y="198"/>
                  </a:lnTo>
                  <a:lnTo>
                    <a:pt x="30" y="204"/>
                  </a:lnTo>
                  <a:lnTo>
                    <a:pt x="24" y="204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6" y="210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54" y="156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56"/>
                  </a:lnTo>
                  <a:lnTo>
                    <a:pt x="78" y="162"/>
                  </a:lnTo>
                  <a:lnTo>
                    <a:pt x="84" y="162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9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0" y="126"/>
                  </a:lnTo>
                  <a:lnTo>
                    <a:pt x="276" y="120"/>
                  </a:lnTo>
                  <a:lnTo>
                    <a:pt x="282" y="120"/>
                  </a:lnTo>
                  <a:lnTo>
                    <a:pt x="300" y="120"/>
                  </a:lnTo>
                  <a:lnTo>
                    <a:pt x="306" y="114"/>
                  </a:lnTo>
                  <a:lnTo>
                    <a:pt x="312" y="108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8"/>
                  </a:lnTo>
                  <a:lnTo>
                    <a:pt x="342" y="30"/>
                  </a:lnTo>
                  <a:lnTo>
                    <a:pt x="342" y="24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8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24"/>
                  </a:lnTo>
                  <a:lnTo>
                    <a:pt x="414" y="30"/>
                  </a:lnTo>
                  <a:lnTo>
                    <a:pt x="420" y="30"/>
                  </a:lnTo>
                  <a:lnTo>
                    <a:pt x="42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74" y="30"/>
                  </a:lnTo>
                  <a:lnTo>
                    <a:pt x="474" y="18"/>
                  </a:lnTo>
                  <a:lnTo>
                    <a:pt x="474" y="12"/>
                  </a:lnTo>
                  <a:lnTo>
                    <a:pt x="480" y="12"/>
                  </a:lnTo>
                  <a:lnTo>
                    <a:pt x="486" y="12"/>
                  </a:lnTo>
                  <a:lnTo>
                    <a:pt x="606" y="12"/>
                  </a:lnTo>
                  <a:lnTo>
                    <a:pt x="630" y="12"/>
                  </a:lnTo>
                  <a:lnTo>
                    <a:pt x="678" y="12"/>
                  </a:lnTo>
                  <a:lnTo>
                    <a:pt x="744" y="12"/>
                  </a:lnTo>
                  <a:lnTo>
                    <a:pt x="774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2" y="6"/>
                  </a:lnTo>
                  <a:lnTo>
                    <a:pt x="888" y="12"/>
                  </a:lnTo>
                  <a:lnTo>
                    <a:pt x="888" y="24"/>
                  </a:lnTo>
                  <a:lnTo>
                    <a:pt x="888" y="30"/>
                  </a:lnTo>
                  <a:lnTo>
                    <a:pt x="882" y="36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64" y="42"/>
                  </a:lnTo>
                  <a:lnTo>
                    <a:pt x="864" y="48"/>
                  </a:lnTo>
                  <a:lnTo>
                    <a:pt x="858" y="54"/>
                  </a:lnTo>
                  <a:lnTo>
                    <a:pt x="864" y="54"/>
                  </a:lnTo>
                  <a:lnTo>
                    <a:pt x="870" y="72"/>
                  </a:lnTo>
                  <a:lnTo>
                    <a:pt x="870" y="78"/>
                  </a:lnTo>
                  <a:lnTo>
                    <a:pt x="870" y="84"/>
                  </a:lnTo>
                  <a:lnTo>
                    <a:pt x="870" y="90"/>
                  </a:lnTo>
                  <a:close/>
                  <a:moveTo>
                    <a:pt x="972" y="156"/>
                  </a:moveTo>
                  <a:lnTo>
                    <a:pt x="972" y="162"/>
                  </a:lnTo>
                  <a:lnTo>
                    <a:pt x="978" y="162"/>
                  </a:lnTo>
                  <a:lnTo>
                    <a:pt x="984" y="168"/>
                  </a:lnTo>
                  <a:lnTo>
                    <a:pt x="990" y="168"/>
                  </a:lnTo>
                  <a:lnTo>
                    <a:pt x="990" y="162"/>
                  </a:lnTo>
                  <a:lnTo>
                    <a:pt x="1008" y="162"/>
                  </a:lnTo>
                  <a:lnTo>
                    <a:pt x="1020" y="162"/>
                  </a:lnTo>
                  <a:lnTo>
                    <a:pt x="1038" y="162"/>
                  </a:lnTo>
                  <a:lnTo>
                    <a:pt x="1056" y="168"/>
                  </a:lnTo>
                  <a:lnTo>
                    <a:pt x="1056" y="180"/>
                  </a:lnTo>
                  <a:lnTo>
                    <a:pt x="1056" y="186"/>
                  </a:lnTo>
                  <a:lnTo>
                    <a:pt x="1056" y="204"/>
                  </a:lnTo>
                  <a:lnTo>
                    <a:pt x="1050" y="204"/>
                  </a:lnTo>
                  <a:lnTo>
                    <a:pt x="1044" y="204"/>
                  </a:lnTo>
                  <a:lnTo>
                    <a:pt x="1038" y="204"/>
                  </a:lnTo>
                  <a:lnTo>
                    <a:pt x="1032" y="204"/>
                  </a:lnTo>
                  <a:lnTo>
                    <a:pt x="1026" y="204"/>
                  </a:lnTo>
                  <a:lnTo>
                    <a:pt x="1020" y="204"/>
                  </a:lnTo>
                  <a:lnTo>
                    <a:pt x="1014" y="204"/>
                  </a:lnTo>
                  <a:lnTo>
                    <a:pt x="1008" y="204"/>
                  </a:lnTo>
                  <a:lnTo>
                    <a:pt x="1002" y="204"/>
                  </a:lnTo>
                  <a:lnTo>
                    <a:pt x="996" y="204"/>
                  </a:lnTo>
                  <a:lnTo>
                    <a:pt x="984" y="204"/>
                  </a:lnTo>
                  <a:lnTo>
                    <a:pt x="984" y="198"/>
                  </a:lnTo>
                  <a:lnTo>
                    <a:pt x="978" y="198"/>
                  </a:lnTo>
                  <a:lnTo>
                    <a:pt x="966" y="198"/>
                  </a:lnTo>
                  <a:lnTo>
                    <a:pt x="948" y="192"/>
                  </a:lnTo>
                  <a:lnTo>
                    <a:pt x="942" y="192"/>
                  </a:lnTo>
                  <a:lnTo>
                    <a:pt x="936" y="192"/>
                  </a:lnTo>
                  <a:lnTo>
                    <a:pt x="924" y="192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12" y="186"/>
                  </a:lnTo>
                  <a:lnTo>
                    <a:pt x="906" y="186"/>
                  </a:lnTo>
                  <a:lnTo>
                    <a:pt x="900" y="186"/>
                  </a:lnTo>
                  <a:lnTo>
                    <a:pt x="894" y="186"/>
                  </a:lnTo>
                  <a:lnTo>
                    <a:pt x="888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76" y="180"/>
                  </a:lnTo>
                  <a:lnTo>
                    <a:pt x="870" y="180"/>
                  </a:lnTo>
                  <a:lnTo>
                    <a:pt x="864" y="180"/>
                  </a:lnTo>
                  <a:lnTo>
                    <a:pt x="858" y="180"/>
                  </a:lnTo>
                  <a:lnTo>
                    <a:pt x="852" y="180"/>
                  </a:lnTo>
                  <a:lnTo>
                    <a:pt x="852" y="174"/>
                  </a:lnTo>
                  <a:lnTo>
                    <a:pt x="846" y="174"/>
                  </a:lnTo>
                  <a:lnTo>
                    <a:pt x="840" y="174"/>
                  </a:lnTo>
                  <a:lnTo>
                    <a:pt x="834" y="174"/>
                  </a:lnTo>
                  <a:lnTo>
                    <a:pt x="828" y="174"/>
                  </a:lnTo>
                  <a:lnTo>
                    <a:pt x="822" y="174"/>
                  </a:lnTo>
                  <a:lnTo>
                    <a:pt x="816" y="174"/>
                  </a:lnTo>
                  <a:lnTo>
                    <a:pt x="810" y="168"/>
                  </a:lnTo>
                  <a:lnTo>
                    <a:pt x="804" y="168"/>
                  </a:lnTo>
                  <a:lnTo>
                    <a:pt x="798" y="168"/>
                  </a:lnTo>
                  <a:lnTo>
                    <a:pt x="792" y="168"/>
                  </a:lnTo>
                  <a:lnTo>
                    <a:pt x="786" y="168"/>
                  </a:lnTo>
                  <a:lnTo>
                    <a:pt x="780" y="168"/>
                  </a:lnTo>
                  <a:lnTo>
                    <a:pt x="774" y="168"/>
                  </a:lnTo>
                  <a:lnTo>
                    <a:pt x="768" y="168"/>
                  </a:lnTo>
                  <a:lnTo>
                    <a:pt x="762" y="168"/>
                  </a:lnTo>
                  <a:lnTo>
                    <a:pt x="756" y="168"/>
                  </a:lnTo>
                  <a:lnTo>
                    <a:pt x="750" y="168"/>
                  </a:lnTo>
                  <a:lnTo>
                    <a:pt x="750" y="162"/>
                  </a:lnTo>
                  <a:lnTo>
                    <a:pt x="744" y="168"/>
                  </a:lnTo>
                  <a:lnTo>
                    <a:pt x="738" y="162"/>
                  </a:lnTo>
                  <a:lnTo>
                    <a:pt x="732" y="162"/>
                  </a:lnTo>
                  <a:lnTo>
                    <a:pt x="726" y="162"/>
                  </a:lnTo>
                  <a:lnTo>
                    <a:pt x="714" y="162"/>
                  </a:lnTo>
                  <a:lnTo>
                    <a:pt x="702" y="162"/>
                  </a:lnTo>
                  <a:lnTo>
                    <a:pt x="696" y="168"/>
                  </a:lnTo>
                  <a:lnTo>
                    <a:pt x="690" y="168"/>
                  </a:lnTo>
                  <a:lnTo>
                    <a:pt x="684" y="168"/>
                  </a:lnTo>
                  <a:lnTo>
                    <a:pt x="678" y="168"/>
                  </a:lnTo>
                  <a:lnTo>
                    <a:pt x="672" y="168"/>
                  </a:lnTo>
                  <a:lnTo>
                    <a:pt x="666" y="168"/>
                  </a:lnTo>
                  <a:lnTo>
                    <a:pt x="660" y="168"/>
                  </a:lnTo>
                  <a:lnTo>
                    <a:pt x="654" y="168"/>
                  </a:lnTo>
                  <a:lnTo>
                    <a:pt x="648" y="174"/>
                  </a:lnTo>
                  <a:lnTo>
                    <a:pt x="648" y="168"/>
                  </a:lnTo>
                  <a:lnTo>
                    <a:pt x="642" y="174"/>
                  </a:lnTo>
                  <a:lnTo>
                    <a:pt x="636" y="174"/>
                  </a:lnTo>
                  <a:lnTo>
                    <a:pt x="630" y="174"/>
                  </a:lnTo>
                  <a:lnTo>
                    <a:pt x="624" y="174"/>
                  </a:lnTo>
                  <a:lnTo>
                    <a:pt x="618" y="174"/>
                  </a:lnTo>
                  <a:lnTo>
                    <a:pt x="612" y="174"/>
                  </a:lnTo>
                  <a:lnTo>
                    <a:pt x="606" y="174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74"/>
                  </a:lnTo>
                  <a:lnTo>
                    <a:pt x="582" y="174"/>
                  </a:lnTo>
                  <a:lnTo>
                    <a:pt x="576" y="174"/>
                  </a:lnTo>
                  <a:lnTo>
                    <a:pt x="570" y="174"/>
                  </a:lnTo>
                  <a:lnTo>
                    <a:pt x="564" y="174"/>
                  </a:lnTo>
                  <a:lnTo>
                    <a:pt x="558" y="174"/>
                  </a:lnTo>
                  <a:lnTo>
                    <a:pt x="552" y="174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0" y="174"/>
                  </a:lnTo>
                  <a:lnTo>
                    <a:pt x="504" y="174"/>
                  </a:lnTo>
                  <a:lnTo>
                    <a:pt x="498" y="174"/>
                  </a:lnTo>
                  <a:lnTo>
                    <a:pt x="492" y="174"/>
                  </a:lnTo>
                  <a:lnTo>
                    <a:pt x="486" y="174"/>
                  </a:lnTo>
                  <a:lnTo>
                    <a:pt x="480" y="174"/>
                  </a:lnTo>
                  <a:lnTo>
                    <a:pt x="474" y="174"/>
                  </a:lnTo>
                  <a:lnTo>
                    <a:pt x="468" y="174"/>
                  </a:lnTo>
                  <a:lnTo>
                    <a:pt x="462" y="174"/>
                  </a:lnTo>
                  <a:lnTo>
                    <a:pt x="456" y="174"/>
                  </a:lnTo>
                  <a:lnTo>
                    <a:pt x="450" y="180"/>
                  </a:lnTo>
                  <a:lnTo>
                    <a:pt x="450" y="186"/>
                  </a:lnTo>
                  <a:lnTo>
                    <a:pt x="450" y="192"/>
                  </a:lnTo>
                  <a:lnTo>
                    <a:pt x="444" y="192"/>
                  </a:lnTo>
                  <a:lnTo>
                    <a:pt x="444" y="186"/>
                  </a:lnTo>
                  <a:lnTo>
                    <a:pt x="444" y="180"/>
                  </a:lnTo>
                  <a:lnTo>
                    <a:pt x="450" y="180"/>
                  </a:lnTo>
                  <a:lnTo>
                    <a:pt x="450" y="174"/>
                  </a:lnTo>
                  <a:lnTo>
                    <a:pt x="450" y="168"/>
                  </a:lnTo>
                  <a:lnTo>
                    <a:pt x="450" y="162"/>
                  </a:lnTo>
                  <a:lnTo>
                    <a:pt x="456" y="162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62" y="162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74" y="168"/>
                  </a:lnTo>
                  <a:lnTo>
                    <a:pt x="480" y="168"/>
                  </a:lnTo>
                  <a:lnTo>
                    <a:pt x="480" y="162"/>
                  </a:lnTo>
                  <a:lnTo>
                    <a:pt x="480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56"/>
                  </a:lnTo>
                  <a:lnTo>
                    <a:pt x="492" y="156"/>
                  </a:lnTo>
                  <a:lnTo>
                    <a:pt x="486" y="150"/>
                  </a:lnTo>
                  <a:lnTo>
                    <a:pt x="492" y="150"/>
                  </a:lnTo>
                  <a:lnTo>
                    <a:pt x="498" y="150"/>
                  </a:lnTo>
                  <a:lnTo>
                    <a:pt x="498" y="156"/>
                  </a:lnTo>
                  <a:lnTo>
                    <a:pt x="504" y="156"/>
                  </a:lnTo>
                  <a:lnTo>
                    <a:pt x="504" y="162"/>
                  </a:lnTo>
                  <a:lnTo>
                    <a:pt x="504" y="156"/>
                  </a:lnTo>
                  <a:lnTo>
                    <a:pt x="510" y="156"/>
                  </a:lnTo>
                  <a:lnTo>
                    <a:pt x="510" y="150"/>
                  </a:lnTo>
                  <a:lnTo>
                    <a:pt x="516" y="150"/>
                  </a:lnTo>
                  <a:lnTo>
                    <a:pt x="522" y="150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28" y="150"/>
                  </a:lnTo>
                  <a:lnTo>
                    <a:pt x="528" y="144"/>
                  </a:lnTo>
                  <a:lnTo>
                    <a:pt x="540" y="144"/>
                  </a:lnTo>
                  <a:lnTo>
                    <a:pt x="546" y="144"/>
                  </a:lnTo>
                  <a:lnTo>
                    <a:pt x="552" y="138"/>
                  </a:lnTo>
                  <a:lnTo>
                    <a:pt x="552" y="132"/>
                  </a:lnTo>
                  <a:lnTo>
                    <a:pt x="558" y="132"/>
                  </a:lnTo>
                  <a:lnTo>
                    <a:pt x="558" y="126"/>
                  </a:lnTo>
                  <a:lnTo>
                    <a:pt x="558" y="120"/>
                  </a:lnTo>
                  <a:lnTo>
                    <a:pt x="558" y="114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6" y="114"/>
                  </a:lnTo>
                  <a:lnTo>
                    <a:pt x="582" y="120"/>
                  </a:lnTo>
                  <a:lnTo>
                    <a:pt x="588" y="120"/>
                  </a:lnTo>
                  <a:lnTo>
                    <a:pt x="588" y="126"/>
                  </a:lnTo>
                  <a:lnTo>
                    <a:pt x="588" y="120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600" y="114"/>
                  </a:lnTo>
                  <a:lnTo>
                    <a:pt x="606" y="114"/>
                  </a:lnTo>
                  <a:lnTo>
                    <a:pt x="618" y="114"/>
                  </a:lnTo>
                  <a:lnTo>
                    <a:pt x="618" y="108"/>
                  </a:lnTo>
                  <a:lnTo>
                    <a:pt x="624" y="108"/>
                  </a:lnTo>
                  <a:lnTo>
                    <a:pt x="624" y="102"/>
                  </a:lnTo>
                  <a:lnTo>
                    <a:pt x="630" y="102"/>
                  </a:lnTo>
                  <a:lnTo>
                    <a:pt x="636" y="102"/>
                  </a:lnTo>
                  <a:lnTo>
                    <a:pt x="636" y="108"/>
                  </a:lnTo>
                  <a:lnTo>
                    <a:pt x="642" y="108"/>
                  </a:lnTo>
                  <a:lnTo>
                    <a:pt x="648" y="108"/>
                  </a:lnTo>
                  <a:lnTo>
                    <a:pt x="648" y="102"/>
                  </a:lnTo>
                  <a:lnTo>
                    <a:pt x="654" y="102"/>
                  </a:lnTo>
                  <a:lnTo>
                    <a:pt x="660" y="102"/>
                  </a:lnTo>
                  <a:lnTo>
                    <a:pt x="660" y="96"/>
                  </a:lnTo>
                  <a:lnTo>
                    <a:pt x="660" y="90"/>
                  </a:lnTo>
                  <a:lnTo>
                    <a:pt x="666" y="90"/>
                  </a:lnTo>
                  <a:lnTo>
                    <a:pt x="666" y="84"/>
                  </a:lnTo>
                  <a:lnTo>
                    <a:pt x="672" y="78"/>
                  </a:lnTo>
                  <a:lnTo>
                    <a:pt x="672" y="72"/>
                  </a:lnTo>
                  <a:lnTo>
                    <a:pt x="678" y="66"/>
                  </a:lnTo>
                  <a:lnTo>
                    <a:pt x="684" y="66"/>
                  </a:lnTo>
                  <a:lnTo>
                    <a:pt x="684" y="60"/>
                  </a:lnTo>
                  <a:lnTo>
                    <a:pt x="690" y="60"/>
                  </a:lnTo>
                  <a:lnTo>
                    <a:pt x="696" y="60"/>
                  </a:lnTo>
                  <a:lnTo>
                    <a:pt x="702" y="60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66"/>
                  </a:lnTo>
                  <a:lnTo>
                    <a:pt x="720" y="66"/>
                  </a:lnTo>
                  <a:lnTo>
                    <a:pt x="720" y="60"/>
                  </a:lnTo>
                  <a:lnTo>
                    <a:pt x="726" y="60"/>
                  </a:lnTo>
                  <a:lnTo>
                    <a:pt x="732" y="60"/>
                  </a:lnTo>
                  <a:lnTo>
                    <a:pt x="744" y="60"/>
                  </a:lnTo>
                  <a:lnTo>
                    <a:pt x="750" y="54"/>
                  </a:lnTo>
                  <a:lnTo>
                    <a:pt x="762" y="60"/>
                  </a:lnTo>
                  <a:lnTo>
                    <a:pt x="774" y="60"/>
                  </a:lnTo>
                  <a:lnTo>
                    <a:pt x="774" y="66"/>
                  </a:lnTo>
                  <a:lnTo>
                    <a:pt x="780" y="72"/>
                  </a:lnTo>
                  <a:lnTo>
                    <a:pt x="786" y="78"/>
                  </a:lnTo>
                  <a:lnTo>
                    <a:pt x="792" y="78"/>
                  </a:lnTo>
                  <a:lnTo>
                    <a:pt x="810" y="84"/>
                  </a:lnTo>
                  <a:lnTo>
                    <a:pt x="822" y="84"/>
                  </a:lnTo>
                  <a:lnTo>
                    <a:pt x="828" y="84"/>
                  </a:lnTo>
                  <a:lnTo>
                    <a:pt x="834" y="84"/>
                  </a:lnTo>
                  <a:lnTo>
                    <a:pt x="840" y="96"/>
                  </a:lnTo>
                  <a:lnTo>
                    <a:pt x="846" y="102"/>
                  </a:lnTo>
                  <a:lnTo>
                    <a:pt x="858" y="102"/>
                  </a:lnTo>
                  <a:lnTo>
                    <a:pt x="864" y="102"/>
                  </a:lnTo>
                  <a:lnTo>
                    <a:pt x="876" y="96"/>
                  </a:lnTo>
                  <a:lnTo>
                    <a:pt x="882" y="102"/>
                  </a:lnTo>
                  <a:lnTo>
                    <a:pt x="888" y="108"/>
                  </a:lnTo>
                  <a:lnTo>
                    <a:pt x="888" y="114"/>
                  </a:lnTo>
                  <a:lnTo>
                    <a:pt x="888" y="120"/>
                  </a:lnTo>
                  <a:lnTo>
                    <a:pt x="888" y="126"/>
                  </a:lnTo>
                  <a:lnTo>
                    <a:pt x="888" y="132"/>
                  </a:lnTo>
                  <a:lnTo>
                    <a:pt x="882" y="132"/>
                  </a:lnTo>
                  <a:lnTo>
                    <a:pt x="864" y="126"/>
                  </a:lnTo>
                  <a:lnTo>
                    <a:pt x="852" y="120"/>
                  </a:lnTo>
                  <a:lnTo>
                    <a:pt x="840" y="126"/>
                  </a:lnTo>
                  <a:lnTo>
                    <a:pt x="834" y="120"/>
                  </a:lnTo>
                  <a:lnTo>
                    <a:pt x="828" y="120"/>
                  </a:lnTo>
                  <a:lnTo>
                    <a:pt x="822" y="120"/>
                  </a:lnTo>
                  <a:lnTo>
                    <a:pt x="810" y="114"/>
                  </a:lnTo>
                  <a:lnTo>
                    <a:pt x="804" y="114"/>
                  </a:lnTo>
                  <a:lnTo>
                    <a:pt x="798" y="114"/>
                  </a:lnTo>
                  <a:lnTo>
                    <a:pt x="792" y="114"/>
                  </a:lnTo>
                  <a:lnTo>
                    <a:pt x="786" y="114"/>
                  </a:lnTo>
                  <a:lnTo>
                    <a:pt x="780" y="114"/>
                  </a:lnTo>
                  <a:lnTo>
                    <a:pt x="780" y="126"/>
                  </a:lnTo>
                  <a:lnTo>
                    <a:pt x="786" y="126"/>
                  </a:lnTo>
                  <a:lnTo>
                    <a:pt x="798" y="126"/>
                  </a:lnTo>
                  <a:lnTo>
                    <a:pt x="804" y="126"/>
                  </a:lnTo>
                  <a:lnTo>
                    <a:pt x="822" y="132"/>
                  </a:lnTo>
                  <a:lnTo>
                    <a:pt x="828" y="132"/>
                  </a:lnTo>
                  <a:lnTo>
                    <a:pt x="834" y="132"/>
                  </a:lnTo>
                  <a:lnTo>
                    <a:pt x="840" y="144"/>
                  </a:lnTo>
                  <a:lnTo>
                    <a:pt x="846" y="150"/>
                  </a:lnTo>
                  <a:lnTo>
                    <a:pt x="858" y="150"/>
                  </a:lnTo>
                  <a:lnTo>
                    <a:pt x="864" y="162"/>
                  </a:lnTo>
                  <a:lnTo>
                    <a:pt x="870" y="162"/>
                  </a:lnTo>
                  <a:lnTo>
                    <a:pt x="876" y="168"/>
                  </a:lnTo>
                  <a:lnTo>
                    <a:pt x="888" y="168"/>
                  </a:lnTo>
                  <a:lnTo>
                    <a:pt x="894" y="174"/>
                  </a:lnTo>
                  <a:lnTo>
                    <a:pt x="900" y="174"/>
                  </a:lnTo>
                  <a:lnTo>
                    <a:pt x="918" y="174"/>
                  </a:lnTo>
                  <a:lnTo>
                    <a:pt x="924" y="174"/>
                  </a:lnTo>
                  <a:lnTo>
                    <a:pt x="930" y="174"/>
                  </a:lnTo>
                  <a:lnTo>
                    <a:pt x="942" y="174"/>
                  </a:lnTo>
                  <a:lnTo>
                    <a:pt x="954" y="174"/>
                  </a:lnTo>
                  <a:lnTo>
                    <a:pt x="960" y="174"/>
                  </a:lnTo>
                  <a:lnTo>
                    <a:pt x="966" y="174"/>
                  </a:lnTo>
                  <a:lnTo>
                    <a:pt x="966" y="168"/>
                  </a:lnTo>
                  <a:lnTo>
                    <a:pt x="972" y="162"/>
                  </a:lnTo>
                  <a:lnTo>
                    <a:pt x="972" y="156"/>
                  </a:lnTo>
                  <a:close/>
                  <a:moveTo>
                    <a:pt x="942" y="174"/>
                  </a:moveTo>
                  <a:lnTo>
                    <a:pt x="936" y="174"/>
                  </a:lnTo>
                  <a:lnTo>
                    <a:pt x="936" y="168"/>
                  </a:lnTo>
                  <a:lnTo>
                    <a:pt x="936" y="162"/>
                  </a:lnTo>
                  <a:lnTo>
                    <a:pt x="948" y="162"/>
                  </a:lnTo>
                  <a:lnTo>
                    <a:pt x="948" y="156"/>
                  </a:lnTo>
                  <a:lnTo>
                    <a:pt x="954" y="156"/>
                  </a:lnTo>
                  <a:lnTo>
                    <a:pt x="960" y="156"/>
                  </a:lnTo>
                  <a:lnTo>
                    <a:pt x="966" y="156"/>
                  </a:lnTo>
                  <a:lnTo>
                    <a:pt x="966" y="162"/>
                  </a:lnTo>
                  <a:lnTo>
                    <a:pt x="960" y="168"/>
                  </a:lnTo>
                  <a:lnTo>
                    <a:pt x="942" y="174"/>
                  </a:lnTo>
                  <a:close/>
                  <a:moveTo>
                    <a:pt x="900" y="168"/>
                  </a:moveTo>
                  <a:lnTo>
                    <a:pt x="894" y="168"/>
                  </a:lnTo>
                  <a:lnTo>
                    <a:pt x="882" y="156"/>
                  </a:lnTo>
                  <a:lnTo>
                    <a:pt x="882" y="150"/>
                  </a:lnTo>
                  <a:lnTo>
                    <a:pt x="888" y="156"/>
                  </a:lnTo>
                  <a:lnTo>
                    <a:pt x="894" y="150"/>
                  </a:lnTo>
                  <a:lnTo>
                    <a:pt x="900" y="150"/>
                  </a:lnTo>
                  <a:lnTo>
                    <a:pt x="906" y="150"/>
                  </a:lnTo>
                  <a:lnTo>
                    <a:pt x="912" y="150"/>
                  </a:lnTo>
                  <a:lnTo>
                    <a:pt x="924" y="150"/>
                  </a:lnTo>
                  <a:lnTo>
                    <a:pt x="924" y="156"/>
                  </a:lnTo>
                  <a:lnTo>
                    <a:pt x="924" y="162"/>
                  </a:lnTo>
                  <a:lnTo>
                    <a:pt x="924" y="168"/>
                  </a:lnTo>
                  <a:lnTo>
                    <a:pt x="918" y="168"/>
                  </a:lnTo>
                  <a:lnTo>
                    <a:pt x="906" y="168"/>
                  </a:lnTo>
                  <a:lnTo>
                    <a:pt x="900" y="168"/>
                  </a:lnTo>
                  <a:close/>
                  <a:moveTo>
                    <a:pt x="870" y="162"/>
                  </a:moveTo>
                  <a:lnTo>
                    <a:pt x="876" y="162"/>
                  </a:lnTo>
                  <a:lnTo>
                    <a:pt x="876" y="168"/>
                  </a:lnTo>
                  <a:lnTo>
                    <a:pt x="870" y="168"/>
                  </a:lnTo>
                  <a:lnTo>
                    <a:pt x="870" y="162"/>
                  </a:lnTo>
                  <a:close/>
                  <a:moveTo>
                    <a:pt x="450" y="162"/>
                  </a:moveTo>
                  <a:lnTo>
                    <a:pt x="444" y="162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2" y="150"/>
                  </a:lnTo>
                  <a:lnTo>
                    <a:pt x="438" y="150"/>
                  </a:lnTo>
                  <a:lnTo>
                    <a:pt x="438" y="144"/>
                  </a:lnTo>
                  <a:lnTo>
                    <a:pt x="438" y="150"/>
                  </a:lnTo>
                  <a:lnTo>
                    <a:pt x="444" y="150"/>
                  </a:lnTo>
                  <a:lnTo>
                    <a:pt x="450" y="150"/>
                  </a:lnTo>
                  <a:lnTo>
                    <a:pt x="450" y="156"/>
                  </a:lnTo>
                  <a:lnTo>
                    <a:pt x="456" y="156"/>
                  </a:lnTo>
                  <a:lnTo>
                    <a:pt x="456" y="150"/>
                  </a:lnTo>
                  <a:lnTo>
                    <a:pt x="456" y="156"/>
                  </a:lnTo>
                  <a:lnTo>
                    <a:pt x="462" y="150"/>
                  </a:lnTo>
                  <a:lnTo>
                    <a:pt x="462" y="144"/>
                  </a:lnTo>
                  <a:lnTo>
                    <a:pt x="468" y="144"/>
                  </a:lnTo>
                  <a:lnTo>
                    <a:pt x="468" y="150"/>
                  </a:lnTo>
                  <a:lnTo>
                    <a:pt x="474" y="150"/>
                  </a:lnTo>
                  <a:lnTo>
                    <a:pt x="480" y="150"/>
                  </a:lnTo>
                  <a:lnTo>
                    <a:pt x="480" y="156"/>
                  </a:lnTo>
                  <a:lnTo>
                    <a:pt x="480" y="162"/>
                  </a:lnTo>
                  <a:lnTo>
                    <a:pt x="474" y="162"/>
                  </a:lnTo>
                  <a:lnTo>
                    <a:pt x="474" y="168"/>
                  </a:lnTo>
                  <a:lnTo>
                    <a:pt x="474" y="162"/>
                  </a:lnTo>
                  <a:lnTo>
                    <a:pt x="468" y="162"/>
                  </a:lnTo>
                  <a:lnTo>
                    <a:pt x="462" y="162"/>
                  </a:lnTo>
                  <a:lnTo>
                    <a:pt x="456" y="162"/>
                  </a:lnTo>
                  <a:lnTo>
                    <a:pt x="450" y="16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6" name="Freeform 31">
              <a:extLst>
                <a:ext uri="{FF2B5EF4-FFF2-40B4-BE49-F238E27FC236}">
                  <a16:creationId xmlns:a16="http://schemas.microsoft.com/office/drawing/2014/main" id="{0989F057-38E8-4AA5-8B73-27F6355E235C}"/>
                </a:ext>
              </a:extLst>
            </p:cNvPr>
            <p:cNvSpPr>
              <a:spLocks/>
            </p:cNvSpPr>
            <p:nvPr/>
          </p:nvSpPr>
          <p:spPr bwMode="gray">
            <a:xfrm>
              <a:off x="792590" y="2728084"/>
              <a:ext cx="1182944" cy="740282"/>
            </a:xfrm>
            <a:custGeom>
              <a:avLst/>
              <a:gdLst>
                <a:gd name="T0" fmla="*/ 138 w 2226"/>
                <a:gd name="T1" fmla="*/ 121 h 1392"/>
                <a:gd name="T2" fmla="*/ 133 w 2226"/>
                <a:gd name="T3" fmla="*/ 119 h 1392"/>
                <a:gd name="T4" fmla="*/ 128 w 2226"/>
                <a:gd name="T5" fmla="*/ 117 h 1392"/>
                <a:gd name="T6" fmla="*/ 119 w 2226"/>
                <a:gd name="T7" fmla="*/ 116 h 1392"/>
                <a:gd name="T8" fmla="*/ 101 w 2226"/>
                <a:gd name="T9" fmla="*/ 116 h 1392"/>
                <a:gd name="T10" fmla="*/ 94 w 2226"/>
                <a:gd name="T11" fmla="*/ 104 h 1392"/>
                <a:gd name="T12" fmla="*/ 82 w 2226"/>
                <a:gd name="T13" fmla="*/ 83 h 1392"/>
                <a:gd name="T14" fmla="*/ 87 w 2226"/>
                <a:gd name="T15" fmla="*/ 69 h 1392"/>
                <a:gd name="T16" fmla="*/ 82 w 2226"/>
                <a:gd name="T17" fmla="*/ 65 h 1392"/>
                <a:gd name="T18" fmla="*/ 59 w 2226"/>
                <a:gd name="T19" fmla="*/ 57 h 1392"/>
                <a:gd name="T20" fmla="*/ 29 w 2226"/>
                <a:gd name="T21" fmla="*/ 77 h 1392"/>
                <a:gd name="T22" fmla="*/ 20 w 2226"/>
                <a:gd name="T23" fmla="*/ 78 h 1392"/>
                <a:gd name="T24" fmla="*/ 15 w 2226"/>
                <a:gd name="T25" fmla="*/ 82 h 1392"/>
                <a:gd name="T26" fmla="*/ 8 w 2226"/>
                <a:gd name="T27" fmla="*/ 86 h 1392"/>
                <a:gd name="T28" fmla="*/ 1 w 2226"/>
                <a:gd name="T29" fmla="*/ 88 h 1392"/>
                <a:gd name="T30" fmla="*/ 0 w 2226"/>
                <a:gd name="T31" fmla="*/ 82 h 1392"/>
                <a:gd name="T32" fmla="*/ 0 w 2226"/>
                <a:gd name="T33" fmla="*/ 76 h 1392"/>
                <a:gd name="T34" fmla="*/ 2 w 2226"/>
                <a:gd name="T35" fmla="*/ 70 h 1392"/>
                <a:gd name="T36" fmla="*/ 3 w 2226"/>
                <a:gd name="T37" fmla="*/ 65 h 1392"/>
                <a:gd name="T38" fmla="*/ 2 w 2226"/>
                <a:gd name="T39" fmla="*/ 63 h 1392"/>
                <a:gd name="T40" fmla="*/ 9 w 2226"/>
                <a:gd name="T41" fmla="*/ 60 h 1392"/>
                <a:gd name="T42" fmla="*/ 17 w 2226"/>
                <a:gd name="T43" fmla="*/ 59 h 1392"/>
                <a:gd name="T44" fmla="*/ 22 w 2226"/>
                <a:gd name="T45" fmla="*/ 51 h 1392"/>
                <a:gd name="T46" fmla="*/ 23 w 2226"/>
                <a:gd name="T47" fmla="*/ 43 h 1392"/>
                <a:gd name="T48" fmla="*/ 27 w 2226"/>
                <a:gd name="T49" fmla="*/ 34 h 1392"/>
                <a:gd name="T50" fmla="*/ 30 w 2226"/>
                <a:gd name="T51" fmla="*/ 27 h 1392"/>
                <a:gd name="T52" fmla="*/ 33 w 2226"/>
                <a:gd name="T53" fmla="*/ 22 h 1392"/>
                <a:gd name="T54" fmla="*/ 42 w 2226"/>
                <a:gd name="T55" fmla="*/ 17 h 1392"/>
                <a:gd name="T56" fmla="*/ 47 w 2226"/>
                <a:gd name="T57" fmla="*/ 14 h 1392"/>
                <a:gd name="T58" fmla="*/ 49 w 2226"/>
                <a:gd name="T59" fmla="*/ 5 h 1392"/>
                <a:gd name="T60" fmla="*/ 53 w 2226"/>
                <a:gd name="T61" fmla="*/ 0 h 1392"/>
                <a:gd name="T62" fmla="*/ 55 w 2226"/>
                <a:gd name="T63" fmla="*/ 4 h 1392"/>
                <a:gd name="T64" fmla="*/ 59 w 2226"/>
                <a:gd name="T65" fmla="*/ 7 h 1392"/>
                <a:gd name="T66" fmla="*/ 63 w 2226"/>
                <a:gd name="T67" fmla="*/ 7 h 1392"/>
                <a:gd name="T68" fmla="*/ 66 w 2226"/>
                <a:gd name="T69" fmla="*/ 9 h 1392"/>
                <a:gd name="T70" fmla="*/ 67 w 2226"/>
                <a:gd name="T71" fmla="*/ 12 h 1392"/>
                <a:gd name="T72" fmla="*/ 67 w 2226"/>
                <a:gd name="T73" fmla="*/ 13 h 1392"/>
                <a:gd name="T74" fmla="*/ 70 w 2226"/>
                <a:gd name="T75" fmla="*/ 15 h 1392"/>
                <a:gd name="T76" fmla="*/ 74 w 2226"/>
                <a:gd name="T77" fmla="*/ 17 h 1392"/>
                <a:gd name="T78" fmla="*/ 78 w 2226"/>
                <a:gd name="T79" fmla="*/ 18 h 1392"/>
                <a:gd name="T80" fmla="*/ 97 w 2226"/>
                <a:gd name="T81" fmla="*/ 40 h 1392"/>
                <a:gd name="T82" fmla="*/ 102 w 2226"/>
                <a:gd name="T83" fmla="*/ 44 h 1392"/>
                <a:gd name="T84" fmla="*/ 110 w 2226"/>
                <a:gd name="T85" fmla="*/ 49 h 1392"/>
                <a:gd name="T86" fmla="*/ 113 w 2226"/>
                <a:gd name="T87" fmla="*/ 53 h 1392"/>
                <a:gd name="T88" fmla="*/ 118 w 2226"/>
                <a:gd name="T89" fmla="*/ 57 h 1392"/>
                <a:gd name="T90" fmla="*/ 124 w 2226"/>
                <a:gd name="T91" fmla="*/ 54 h 1392"/>
                <a:gd name="T92" fmla="*/ 133 w 2226"/>
                <a:gd name="T93" fmla="*/ 58 h 1392"/>
                <a:gd name="T94" fmla="*/ 137 w 2226"/>
                <a:gd name="T95" fmla="*/ 64 h 1392"/>
                <a:gd name="T96" fmla="*/ 145 w 2226"/>
                <a:gd name="T97" fmla="*/ 65 h 1392"/>
                <a:gd name="T98" fmla="*/ 152 w 2226"/>
                <a:gd name="T99" fmla="*/ 67 h 1392"/>
                <a:gd name="T100" fmla="*/ 161 w 2226"/>
                <a:gd name="T101" fmla="*/ 72 h 1392"/>
                <a:gd name="T102" fmla="*/ 168 w 2226"/>
                <a:gd name="T103" fmla="*/ 76 h 1392"/>
                <a:gd name="T104" fmla="*/ 177 w 2226"/>
                <a:gd name="T105" fmla="*/ 78 h 1392"/>
                <a:gd name="T106" fmla="*/ 184 w 2226"/>
                <a:gd name="T107" fmla="*/ 78 h 1392"/>
                <a:gd name="T108" fmla="*/ 190 w 2226"/>
                <a:gd name="T109" fmla="*/ 81 h 1392"/>
                <a:gd name="T110" fmla="*/ 192 w 2226"/>
                <a:gd name="T111" fmla="*/ 86 h 1392"/>
                <a:gd name="T112" fmla="*/ 187 w 2226"/>
                <a:gd name="T113" fmla="*/ 99 h 1392"/>
                <a:gd name="T114" fmla="*/ 165 w 2226"/>
                <a:gd name="T115" fmla="*/ 97 h 1392"/>
                <a:gd name="T116" fmla="*/ 155 w 2226"/>
                <a:gd name="T117" fmla="*/ 92 h 1392"/>
                <a:gd name="T118" fmla="*/ 146 w 2226"/>
                <a:gd name="T119" fmla="*/ 102 h 1392"/>
                <a:gd name="T120" fmla="*/ 149 w 2226"/>
                <a:gd name="T121" fmla="*/ 106 h 1392"/>
                <a:gd name="T122" fmla="*/ 151 w 2226"/>
                <a:gd name="T123" fmla="*/ 108 h 1392"/>
                <a:gd name="T124" fmla="*/ 157 w 2226"/>
                <a:gd name="T125" fmla="*/ 113 h 13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1392"/>
                <a:gd name="T191" fmla="*/ 2226 w 2226"/>
                <a:gd name="T192" fmla="*/ 1392 h 13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1392">
                  <a:moveTo>
                    <a:pt x="1782" y="1326"/>
                  </a:moveTo>
                  <a:lnTo>
                    <a:pt x="1776" y="1332"/>
                  </a:lnTo>
                  <a:lnTo>
                    <a:pt x="1692" y="1338"/>
                  </a:lnTo>
                  <a:lnTo>
                    <a:pt x="1680" y="1386"/>
                  </a:lnTo>
                  <a:lnTo>
                    <a:pt x="1674" y="1392"/>
                  </a:lnTo>
                  <a:lnTo>
                    <a:pt x="1638" y="1392"/>
                  </a:lnTo>
                  <a:lnTo>
                    <a:pt x="1620" y="1392"/>
                  </a:lnTo>
                  <a:lnTo>
                    <a:pt x="1614" y="1392"/>
                  </a:lnTo>
                  <a:lnTo>
                    <a:pt x="1608" y="1386"/>
                  </a:lnTo>
                  <a:lnTo>
                    <a:pt x="1584" y="1386"/>
                  </a:lnTo>
                  <a:lnTo>
                    <a:pt x="1578" y="1386"/>
                  </a:lnTo>
                  <a:lnTo>
                    <a:pt x="1572" y="1380"/>
                  </a:lnTo>
                  <a:lnTo>
                    <a:pt x="1578" y="1356"/>
                  </a:lnTo>
                  <a:lnTo>
                    <a:pt x="1572" y="1356"/>
                  </a:lnTo>
                  <a:lnTo>
                    <a:pt x="1560" y="1350"/>
                  </a:lnTo>
                  <a:lnTo>
                    <a:pt x="1554" y="1350"/>
                  </a:lnTo>
                  <a:lnTo>
                    <a:pt x="1542" y="1350"/>
                  </a:lnTo>
                  <a:lnTo>
                    <a:pt x="1530" y="1350"/>
                  </a:lnTo>
                  <a:lnTo>
                    <a:pt x="1524" y="1356"/>
                  </a:lnTo>
                  <a:lnTo>
                    <a:pt x="1524" y="1362"/>
                  </a:lnTo>
                  <a:lnTo>
                    <a:pt x="1512" y="1374"/>
                  </a:lnTo>
                  <a:lnTo>
                    <a:pt x="1506" y="1374"/>
                  </a:lnTo>
                  <a:lnTo>
                    <a:pt x="1500" y="1368"/>
                  </a:lnTo>
                  <a:lnTo>
                    <a:pt x="1500" y="1362"/>
                  </a:lnTo>
                  <a:lnTo>
                    <a:pt x="1488" y="1362"/>
                  </a:lnTo>
                  <a:lnTo>
                    <a:pt x="1482" y="1356"/>
                  </a:lnTo>
                  <a:lnTo>
                    <a:pt x="1482" y="1350"/>
                  </a:lnTo>
                  <a:lnTo>
                    <a:pt x="1476" y="1350"/>
                  </a:lnTo>
                  <a:lnTo>
                    <a:pt x="1470" y="1344"/>
                  </a:lnTo>
                  <a:lnTo>
                    <a:pt x="1464" y="1344"/>
                  </a:lnTo>
                  <a:lnTo>
                    <a:pt x="1452" y="1350"/>
                  </a:lnTo>
                  <a:lnTo>
                    <a:pt x="1452" y="1356"/>
                  </a:lnTo>
                  <a:lnTo>
                    <a:pt x="1440" y="1356"/>
                  </a:lnTo>
                  <a:lnTo>
                    <a:pt x="1434" y="1344"/>
                  </a:lnTo>
                  <a:lnTo>
                    <a:pt x="1422" y="1332"/>
                  </a:lnTo>
                  <a:lnTo>
                    <a:pt x="1416" y="1326"/>
                  </a:lnTo>
                  <a:lnTo>
                    <a:pt x="1404" y="1320"/>
                  </a:lnTo>
                  <a:lnTo>
                    <a:pt x="1404" y="1314"/>
                  </a:lnTo>
                  <a:lnTo>
                    <a:pt x="1374" y="1308"/>
                  </a:lnTo>
                  <a:lnTo>
                    <a:pt x="1368" y="1326"/>
                  </a:lnTo>
                  <a:lnTo>
                    <a:pt x="1344" y="1338"/>
                  </a:lnTo>
                  <a:lnTo>
                    <a:pt x="1326" y="1332"/>
                  </a:lnTo>
                  <a:lnTo>
                    <a:pt x="1302" y="1332"/>
                  </a:lnTo>
                  <a:lnTo>
                    <a:pt x="1278" y="1338"/>
                  </a:lnTo>
                  <a:lnTo>
                    <a:pt x="1236" y="1338"/>
                  </a:lnTo>
                  <a:lnTo>
                    <a:pt x="1224" y="1338"/>
                  </a:lnTo>
                  <a:lnTo>
                    <a:pt x="1224" y="1326"/>
                  </a:lnTo>
                  <a:lnTo>
                    <a:pt x="1206" y="1326"/>
                  </a:lnTo>
                  <a:lnTo>
                    <a:pt x="1170" y="1326"/>
                  </a:lnTo>
                  <a:lnTo>
                    <a:pt x="1152" y="1326"/>
                  </a:lnTo>
                  <a:lnTo>
                    <a:pt x="1140" y="1314"/>
                  </a:lnTo>
                  <a:lnTo>
                    <a:pt x="1134" y="1296"/>
                  </a:lnTo>
                  <a:lnTo>
                    <a:pt x="1134" y="1284"/>
                  </a:lnTo>
                  <a:lnTo>
                    <a:pt x="1128" y="1254"/>
                  </a:lnTo>
                  <a:lnTo>
                    <a:pt x="1128" y="1242"/>
                  </a:lnTo>
                  <a:lnTo>
                    <a:pt x="1122" y="1230"/>
                  </a:lnTo>
                  <a:lnTo>
                    <a:pt x="1104" y="1218"/>
                  </a:lnTo>
                  <a:lnTo>
                    <a:pt x="1104" y="1212"/>
                  </a:lnTo>
                  <a:lnTo>
                    <a:pt x="1092" y="1206"/>
                  </a:lnTo>
                  <a:lnTo>
                    <a:pt x="1080" y="1194"/>
                  </a:lnTo>
                  <a:lnTo>
                    <a:pt x="1068" y="1176"/>
                  </a:lnTo>
                  <a:lnTo>
                    <a:pt x="1050" y="1152"/>
                  </a:lnTo>
                  <a:lnTo>
                    <a:pt x="1020" y="1098"/>
                  </a:lnTo>
                  <a:lnTo>
                    <a:pt x="978" y="1026"/>
                  </a:lnTo>
                  <a:lnTo>
                    <a:pt x="978" y="1014"/>
                  </a:lnTo>
                  <a:lnTo>
                    <a:pt x="972" y="1014"/>
                  </a:lnTo>
                  <a:lnTo>
                    <a:pt x="972" y="1008"/>
                  </a:lnTo>
                  <a:lnTo>
                    <a:pt x="978" y="1002"/>
                  </a:lnTo>
                  <a:lnTo>
                    <a:pt x="960" y="966"/>
                  </a:lnTo>
                  <a:lnTo>
                    <a:pt x="948" y="954"/>
                  </a:lnTo>
                  <a:lnTo>
                    <a:pt x="948" y="936"/>
                  </a:lnTo>
                  <a:lnTo>
                    <a:pt x="936" y="900"/>
                  </a:lnTo>
                  <a:lnTo>
                    <a:pt x="942" y="876"/>
                  </a:lnTo>
                  <a:lnTo>
                    <a:pt x="942" y="834"/>
                  </a:lnTo>
                  <a:lnTo>
                    <a:pt x="960" y="828"/>
                  </a:lnTo>
                  <a:lnTo>
                    <a:pt x="966" y="816"/>
                  </a:lnTo>
                  <a:lnTo>
                    <a:pt x="972" y="810"/>
                  </a:lnTo>
                  <a:lnTo>
                    <a:pt x="978" y="804"/>
                  </a:lnTo>
                  <a:lnTo>
                    <a:pt x="996" y="798"/>
                  </a:lnTo>
                  <a:lnTo>
                    <a:pt x="996" y="792"/>
                  </a:lnTo>
                  <a:lnTo>
                    <a:pt x="1014" y="780"/>
                  </a:lnTo>
                  <a:lnTo>
                    <a:pt x="1026" y="768"/>
                  </a:lnTo>
                  <a:lnTo>
                    <a:pt x="1032" y="762"/>
                  </a:lnTo>
                  <a:lnTo>
                    <a:pt x="1026" y="756"/>
                  </a:lnTo>
                  <a:lnTo>
                    <a:pt x="1014" y="744"/>
                  </a:lnTo>
                  <a:lnTo>
                    <a:pt x="996" y="756"/>
                  </a:lnTo>
                  <a:lnTo>
                    <a:pt x="954" y="768"/>
                  </a:lnTo>
                  <a:lnTo>
                    <a:pt x="942" y="762"/>
                  </a:lnTo>
                  <a:lnTo>
                    <a:pt x="942" y="756"/>
                  </a:lnTo>
                  <a:lnTo>
                    <a:pt x="936" y="750"/>
                  </a:lnTo>
                  <a:lnTo>
                    <a:pt x="846" y="732"/>
                  </a:lnTo>
                  <a:lnTo>
                    <a:pt x="822" y="726"/>
                  </a:lnTo>
                  <a:lnTo>
                    <a:pt x="810" y="714"/>
                  </a:lnTo>
                  <a:lnTo>
                    <a:pt x="792" y="690"/>
                  </a:lnTo>
                  <a:lnTo>
                    <a:pt x="792" y="678"/>
                  </a:lnTo>
                  <a:lnTo>
                    <a:pt x="762" y="642"/>
                  </a:lnTo>
                  <a:lnTo>
                    <a:pt x="750" y="636"/>
                  </a:lnTo>
                  <a:lnTo>
                    <a:pt x="726" y="630"/>
                  </a:lnTo>
                  <a:lnTo>
                    <a:pt x="696" y="642"/>
                  </a:lnTo>
                  <a:lnTo>
                    <a:pt x="678" y="654"/>
                  </a:lnTo>
                  <a:lnTo>
                    <a:pt x="666" y="684"/>
                  </a:lnTo>
                  <a:lnTo>
                    <a:pt x="660" y="726"/>
                  </a:lnTo>
                  <a:lnTo>
                    <a:pt x="606" y="756"/>
                  </a:lnTo>
                  <a:lnTo>
                    <a:pt x="558" y="780"/>
                  </a:lnTo>
                  <a:lnTo>
                    <a:pt x="438" y="834"/>
                  </a:lnTo>
                  <a:lnTo>
                    <a:pt x="402" y="846"/>
                  </a:lnTo>
                  <a:lnTo>
                    <a:pt x="372" y="870"/>
                  </a:lnTo>
                  <a:lnTo>
                    <a:pt x="360" y="876"/>
                  </a:lnTo>
                  <a:lnTo>
                    <a:pt x="354" y="876"/>
                  </a:lnTo>
                  <a:lnTo>
                    <a:pt x="330" y="882"/>
                  </a:lnTo>
                  <a:lnTo>
                    <a:pt x="306" y="882"/>
                  </a:lnTo>
                  <a:lnTo>
                    <a:pt x="300" y="876"/>
                  </a:lnTo>
                  <a:lnTo>
                    <a:pt x="294" y="876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76" y="864"/>
                  </a:lnTo>
                  <a:lnTo>
                    <a:pt x="270" y="870"/>
                  </a:lnTo>
                  <a:lnTo>
                    <a:pt x="264" y="870"/>
                  </a:lnTo>
                  <a:lnTo>
                    <a:pt x="240" y="894"/>
                  </a:lnTo>
                  <a:lnTo>
                    <a:pt x="234" y="894"/>
                  </a:lnTo>
                  <a:lnTo>
                    <a:pt x="228" y="900"/>
                  </a:lnTo>
                  <a:lnTo>
                    <a:pt x="222" y="906"/>
                  </a:lnTo>
                  <a:lnTo>
                    <a:pt x="210" y="912"/>
                  </a:lnTo>
                  <a:lnTo>
                    <a:pt x="204" y="912"/>
                  </a:lnTo>
                  <a:lnTo>
                    <a:pt x="198" y="912"/>
                  </a:lnTo>
                  <a:lnTo>
                    <a:pt x="192" y="918"/>
                  </a:lnTo>
                  <a:lnTo>
                    <a:pt x="180" y="918"/>
                  </a:lnTo>
                  <a:lnTo>
                    <a:pt x="174" y="930"/>
                  </a:lnTo>
                  <a:lnTo>
                    <a:pt x="174" y="936"/>
                  </a:lnTo>
                  <a:lnTo>
                    <a:pt x="168" y="942"/>
                  </a:lnTo>
                  <a:lnTo>
                    <a:pt x="162" y="942"/>
                  </a:lnTo>
                  <a:lnTo>
                    <a:pt x="150" y="960"/>
                  </a:lnTo>
                  <a:lnTo>
                    <a:pt x="144" y="966"/>
                  </a:lnTo>
                  <a:lnTo>
                    <a:pt x="138" y="972"/>
                  </a:lnTo>
                  <a:lnTo>
                    <a:pt x="132" y="972"/>
                  </a:lnTo>
                  <a:lnTo>
                    <a:pt x="126" y="984"/>
                  </a:lnTo>
                  <a:lnTo>
                    <a:pt x="120" y="984"/>
                  </a:lnTo>
                  <a:lnTo>
                    <a:pt x="114" y="990"/>
                  </a:lnTo>
                  <a:lnTo>
                    <a:pt x="96" y="990"/>
                  </a:lnTo>
                  <a:lnTo>
                    <a:pt x="90" y="990"/>
                  </a:lnTo>
                  <a:lnTo>
                    <a:pt x="78" y="990"/>
                  </a:lnTo>
                  <a:lnTo>
                    <a:pt x="72" y="990"/>
                  </a:lnTo>
                  <a:lnTo>
                    <a:pt x="60" y="990"/>
                  </a:lnTo>
                  <a:lnTo>
                    <a:pt x="42" y="990"/>
                  </a:lnTo>
                  <a:lnTo>
                    <a:pt x="36" y="996"/>
                  </a:lnTo>
                  <a:lnTo>
                    <a:pt x="30" y="1002"/>
                  </a:lnTo>
                  <a:lnTo>
                    <a:pt x="24" y="1014"/>
                  </a:lnTo>
                  <a:lnTo>
                    <a:pt x="24" y="1020"/>
                  </a:lnTo>
                  <a:lnTo>
                    <a:pt x="18" y="1020"/>
                  </a:lnTo>
                  <a:lnTo>
                    <a:pt x="12" y="1014"/>
                  </a:lnTo>
                  <a:lnTo>
                    <a:pt x="12" y="1008"/>
                  </a:lnTo>
                  <a:lnTo>
                    <a:pt x="12" y="990"/>
                  </a:lnTo>
                  <a:lnTo>
                    <a:pt x="12" y="984"/>
                  </a:lnTo>
                  <a:lnTo>
                    <a:pt x="12" y="972"/>
                  </a:lnTo>
                  <a:lnTo>
                    <a:pt x="12" y="966"/>
                  </a:lnTo>
                  <a:lnTo>
                    <a:pt x="6" y="966"/>
                  </a:lnTo>
                  <a:lnTo>
                    <a:pt x="6" y="960"/>
                  </a:lnTo>
                  <a:lnTo>
                    <a:pt x="6" y="954"/>
                  </a:lnTo>
                  <a:lnTo>
                    <a:pt x="6" y="948"/>
                  </a:lnTo>
                  <a:lnTo>
                    <a:pt x="6" y="942"/>
                  </a:lnTo>
                  <a:lnTo>
                    <a:pt x="12" y="930"/>
                  </a:lnTo>
                  <a:lnTo>
                    <a:pt x="6" y="924"/>
                  </a:lnTo>
                  <a:lnTo>
                    <a:pt x="6" y="918"/>
                  </a:lnTo>
                  <a:lnTo>
                    <a:pt x="6" y="912"/>
                  </a:lnTo>
                  <a:lnTo>
                    <a:pt x="6" y="906"/>
                  </a:lnTo>
                  <a:lnTo>
                    <a:pt x="6" y="900"/>
                  </a:lnTo>
                  <a:lnTo>
                    <a:pt x="0" y="894"/>
                  </a:lnTo>
                  <a:lnTo>
                    <a:pt x="0" y="888"/>
                  </a:lnTo>
                  <a:lnTo>
                    <a:pt x="0" y="882"/>
                  </a:lnTo>
                  <a:lnTo>
                    <a:pt x="6" y="876"/>
                  </a:lnTo>
                  <a:lnTo>
                    <a:pt x="6" y="870"/>
                  </a:lnTo>
                  <a:lnTo>
                    <a:pt x="18" y="864"/>
                  </a:lnTo>
                  <a:lnTo>
                    <a:pt x="18" y="858"/>
                  </a:lnTo>
                  <a:lnTo>
                    <a:pt x="18" y="846"/>
                  </a:lnTo>
                  <a:lnTo>
                    <a:pt x="18" y="834"/>
                  </a:lnTo>
                  <a:lnTo>
                    <a:pt x="18" y="828"/>
                  </a:lnTo>
                  <a:lnTo>
                    <a:pt x="24" y="828"/>
                  </a:lnTo>
                  <a:lnTo>
                    <a:pt x="24" y="810"/>
                  </a:lnTo>
                  <a:lnTo>
                    <a:pt x="24" y="804"/>
                  </a:lnTo>
                  <a:lnTo>
                    <a:pt x="18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24" y="792"/>
                  </a:lnTo>
                  <a:lnTo>
                    <a:pt x="30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6" y="762"/>
                  </a:lnTo>
                  <a:lnTo>
                    <a:pt x="36" y="756"/>
                  </a:lnTo>
                  <a:lnTo>
                    <a:pt x="30" y="756"/>
                  </a:lnTo>
                  <a:lnTo>
                    <a:pt x="30" y="750"/>
                  </a:lnTo>
                  <a:lnTo>
                    <a:pt x="36" y="750"/>
                  </a:lnTo>
                  <a:lnTo>
                    <a:pt x="36" y="744"/>
                  </a:lnTo>
                  <a:lnTo>
                    <a:pt x="30" y="744"/>
                  </a:lnTo>
                  <a:lnTo>
                    <a:pt x="30" y="738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0" y="732"/>
                  </a:lnTo>
                  <a:lnTo>
                    <a:pt x="36" y="726"/>
                  </a:lnTo>
                  <a:lnTo>
                    <a:pt x="30" y="726"/>
                  </a:lnTo>
                  <a:lnTo>
                    <a:pt x="24" y="726"/>
                  </a:lnTo>
                  <a:lnTo>
                    <a:pt x="30" y="720"/>
                  </a:lnTo>
                  <a:lnTo>
                    <a:pt x="30" y="714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696"/>
                  </a:lnTo>
                  <a:lnTo>
                    <a:pt x="66" y="702"/>
                  </a:lnTo>
                  <a:lnTo>
                    <a:pt x="78" y="702"/>
                  </a:lnTo>
                  <a:lnTo>
                    <a:pt x="84" y="702"/>
                  </a:lnTo>
                  <a:lnTo>
                    <a:pt x="96" y="696"/>
                  </a:lnTo>
                  <a:lnTo>
                    <a:pt x="102" y="690"/>
                  </a:lnTo>
                  <a:lnTo>
                    <a:pt x="102" y="684"/>
                  </a:lnTo>
                  <a:lnTo>
                    <a:pt x="114" y="684"/>
                  </a:lnTo>
                  <a:lnTo>
                    <a:pt x="144" y="684"/>
                  </a:lnTo>
                  <a:lnTo>
                    <a:pt x="150" y="690"/>
                  </a:lnTo>
                  <a:lnTo>
                    <a:pt x="162" y="696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6" y="690"/>
                  </a:lnTo>
                  <a:lnTo>
                    <a:pt x="192" y="690"/>
                  </a:lnTo>
                  <a:lnTo>
                    <a:pt x="198" y="684"/>
                  </a:lnTo>
                  <a:lnTo>
                    <a:pt x="204" y="684"/>
                  </a:lnTo>
                  <a:lnTo>
                    <a:pt x="210" y="684"/>
                  </a:lnTo>
                  <a:lnTo>
                    <a:pt x="222" y="678"/>
                  </a:lnTo>
                  <a:lnTo>
                    <a:pt x="228" y="678"/>
                  </a:lnTo>
                  <a:lnTo>
                    <a:pt x="228" y="660"/>
                  </a:lnTo>
                  <a:lnTo>
                    <a:pt x="234" y="642"/>
                  </a:lnTo>
                  <a:lnTo>
                    <a:pt x="246" y="618"/>
                  </a:lnTo>
                  <a:lnTo>
                    <a:pt x="252" y="618"/>
                  </a:lnTo>
                  <a:lnTo>
                    <a:pt x="252" y="600"/>
                  </a:lnTo>
                  <a:lnTo>
                    <a:pt x="252" y="588"/>
                  </a:lnTo>
                  <a:lnTo>
                    <a:pt x="252" y="582"/>
                  </a:lnTo>
                  <a:lnTo>
                    <a:pt x="258" y="576"/>
                  </a:lnTo>
                  <a:lnTo>
                    <a:pt x="270" y="564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70" y="522"/>
                  </a:lnTo>
                  <a:lnTo>
                    <a:pt x="270" y="510"/>
                  </a:lnTo>
                  <a:lnTo>
                    <a:pt x="270" y="498"/>
                  </a:lnTo>
                  <a:lnTo>
                    <a:pt x="258" y="468"/>
                  </a:lnTo>
                  <a:lnTo>
                    <a:pt x="252" y="456"/>
                  </a:lnTo>
                  <a:lnTo>
                    <a:pt x="258" y="444"/>
                  </a:lnTo>
                  <a:lnTo>
                    <a:pt x="264" y="432"/>
                  </a:lnTo>
                  <a:lnTo>
                    <a:pt x="270" y="426"/>
                  </a:lnTo>
                  <a:lnTo>
                    <a:pt x="276" y="420"/>
                  </a:lnTo>
                  <a:lnTo>
                    <a:pt x="288" y="420"/>
                  </a:lnTo>
                  <a:lnTo>
                    <a:pt x="288" y="414"/>
                  </a:lnTo>
                  <a:lnTo>
                    <a:pt x="294" y="414"/>
                  </a:lnTo>
                  <a:lnTo>
                    <a:pt x="306" y="390"/>
                  </a:lnTo>
                  <a:lnTo>
                    <a:pt x="312" y="384"/>
                  </a:lnTo>
                  <a:lnTo>
                    <a:pt x="318" y="378"/>
                  </a:lnTo>
                  <a:lnTo>
                    <a:pt x="318" y="372"/>
                  </a:lnTo>
                  <a:lnTo>
                    <a:pt x="324" y="366"/>
                  </a:lnTo>
                  <a:lnTo>
                    <a:pt x="330" y="354"/>
                  </a:lnTo>
                  <a:lnTo>
                    <a:pt x="336" y="348"/>
                  </a:lnTo>
                  <a:lnTo>
                    <a:pt x="336" y="330"/>
                  </a:lnTo>
                  <a:lnTo>
                    <a:pt x="342" y="324"/>
                  </a:lnTo>
                  <a:lnTo>
                    <a:pt x="342" y="318"/>
                  </a:lnTo>
                  <a:lnTo>
                    <a:pt x="348" y="318"/>
                  </a:lnTo>
                  <a:lnTo>
                    <a:pt x="360" y="318"/>
                  </a:lnTo>
                  <a:lnTo>
                    <a:pt x="372" y="318"/>
                  </a:lnTo>
                  <a:lnTo>
                    <a:pt x="384" y="306"/>
                  </a:lnTo>
                  <a:lnTo>
                    <a:pt x="396" y="300"/>
                  </a:lnTo>
                  <a:lnTo>
                    <a:pt x="396" y="294"/>
                  </a:lnTo>
                  <a:lnTo>
                    <a:pt x="396" y="288"/>
                  </a:lnTo>
                  <a:lnTo>
                    <a:pt x="390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2"/>
                  </a:lnTo>
                  <a:lnTo>
                    <a:pt x="378" y="246"/>
                  </a:lnTo>
                  <a:lnTo>
                    <a:pt x="384" y="228"/>
                  </a:lnTo>
                  <a:lnTo>
                    <a:pt x="390" y="216"/>
                  </a:lnTo>
                  <a:lnTo>
                    <a:pt x="402" y="210"/>
                  </a:lnTo>
                  <a:lnTo>
                    <a:pt x="408" y="210"/>
                  </a:lnTo>
                  <a:lnTo>
                    <a:pt x="420" y="204"/>
                  </a:lnTo>
                  <a:lnTo>
                    <a:pt x="444" y="198"/>
                  </a:lnTo>
                  <a:lnTo>
                    <a:pt x="462" y="192"/>
                  </a:lnTo>
                  <a:lnTo>
                    <a:pt x="474" y="186"/>
                  </a:lnTo>
                  <a:lnTo>
                    <a:pt x="480" y="192"/>
                  </a:lnTo>
                  <a:lnTo>
                    <a:pt x="492" y="192"/>
                  </a:lnTo>
                  <a:lnTo>
                    <a:pt x="498" y="192"/>
                  </a:lnTo>
                  <a:lnTo>
                    <a:pt x="504" y="192"/>
                  </a:lnTo>
                  <a:lnTo>
                    <a:pt x="510" y="192"/>
                  </a:lnTo>
                  <a:lnTo>
                    <a:pt x="516" y="186"/>
                  </a:lnTo>
                  <a:lnTo>
                    <a:pt x="522" y="180"/>
                  </a:lnTo>
                  <a:lnTo>
                    <a:pt x="522" y="174"/>
                  </a:lnTo>
                  <a:lnTo>
                    <a:pt x="528" y="168"/>
                  </a:lnTo>
                  <a:lnTo>
                    <a:pt x="534" y="168"/>
                  </a:lnTo>
                  <a:lnTo>
                    <a:pt x="534" y="156"/>
                  </a:lnTo>
                  <a:lnTo>
                    <a:pt x="534" y="150"/>
                  </a:lnTo>
                  <a:lnTo>
                    <a:pt x="552" y="138"/>
                  </a:lnTo>
                  <a:lnTo>
                    <a:pt x="558" y="126"/>
                  </a:lnTo>
                  <a:lnTo>
                    <a:pt x="558" y="114"/>
                  </a:lnTo>
                  <a:lnTo>
                    <a:pt x="564" y="102"/>
                  </a:lnTo>
                  <a:lnTo>
                    <a:pt x="564" y="96"/>
                  </a:lnTo>
                  <a:lnTo>
                    <a:pt x="564" y="90"/>
                  </a:lnTo>
                  <a:lnTo>
                    <a:pt x="564" y="72"/>
                  </a:lnTo>
                  <a:lnTo>
                    <a:pt x="564" y="60"/>
                  </a:lnTo>
                  <a:lnTo>
                    <a:pt x="564" y="54"/>
                  </a:lnTo>
                  <a:lnTo>
                    <a:pt x="570" y="42"/>
                  </a:lnTo>
                  <a:lnTo>
                    <a:pt x="576" y="42"/>
                  </a:lnTo>
                  <a:lnTo>
                    <a:pt x="582" y="36"/>
                  </a:lnTo>
                  <a:lnTo>
                    <a:pt x="594" y="36"/>
                  </a:lnTo>
                  <a:lnTo>
                    <a:pt x="594" y="30"/>
                  </a:lnTo>
                  <a:lnTo>
                    <a:pt x="600" y="24"/>
                  </a:lnTo>
                  <a:lnTo>
                    <a:pt x="600" y="12"/>
                  </a:lnTo>
                  <a:lnTo>
                    <a:pt x="606" y="6"/>
                  </a:lnTo>
                  <a:lnTo>
                    <a:pt x="606" y="0"/>
                  </a:lnTo>
                  <a:lnTo>
                    <a:pt x="612" y="0"/>
                  </a:lnTo>
                  <a:lnTo>
                    <a:pt x="618" y="0"/>
                  </a:lnTo>
                  <a:lnTo>
                    <a:pt x="624" y="6"/>
                  </a:lnTo>
                  <a:lnTo>
                    <a:pt x="624" y="12"/>
                  </a:lnTo>
                  <a:lnTo>
                    <a:pt x="624" y="18"/>
                  </a:lnTo>
                  <a:lnTo>
                    <a:pt x="624" y="24"/>
                  </a:lnTo>
                  <a:lnTo>
                    <a:pt x="624" y="30"/>
                  </a:lnTo>
                  <a:lnTo>
                    <a:pt x="630" y="30"/>
                  </a:lnTo>
                  <a:lnTo>
                    <a:pt x="630" y="36"/>
                  </a:lnTo>
                  <a:lnTo>
                    <a:pt x="630" y="42"/>
                  </a:lnTo>
                  <a:lnTo>
                    <a:pt x="630" y="48"/>
                  </a:lnTo>
                  <a:lnTo>
                    <a:pt x="636" y="54"/>
                  </a:lnTo>
                  <a:lnTo>
                    <a:pt x="642" y="48"/>
                  </a:lnTo>
                  <a:lnTo>
                    <a:pt x="648" y="48"/>
                  </a:lnTo>
                  <a:lnTo>
                    <a:pt x="648" y="60"/>
                  </a:lnTo>
                  <a:lnTo>
                    <a:pt x="654" y="66"/>
                  </a:lnTo>
                  <a:lnTo>
                    <a:pt x="660" y="72"/>
                  </a:lnTo>
                  <a:lnTo>
                    <a:pt x="666" y="72"/>
                  </a:lnTo>
                  <a:lnTo>
                    <a:pt x="666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72" y="66"/>
                  </a:lnTo>
                  <a:lnTo>
                    <a:pt x="678" y="66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6" y="66"/>
                  </a:lnTo>
                  <a:lnTo>
                    <a:pt x="696" y="72"/>
                  </a:lnTo>
                  <a:lnTo>
                    <a:pt x="702" y="72"/>
                  </a:lnTo>
                  <a:lnTo>
                    <a:pt x="708" y="72"/>
                  </a:lnTo>
                  <a:lnTo>
                    <a:pt x="720" y="66"/>
                  </a:lnTo>
                  <a:lnTo>
                    <a:pt x="726" y="78"/>
                  </a:lnTo>
                  <a:lnTo>
                    <a:pt x="744" y="84"/>
                  </a:lnTo>
                  <a:lnTo>
                    <a:pt x="744" y="90"/>
                  </a:lnTo>
                  <a:lnTo>
                    <a:pt x="744" y="96"/>
                  </a:lnTo>
                  <a:lnTo>
                    <a:pt x="738" y="96"/>
                  </a:lnTo>
                  <a:lnTo>
                    <a:pt x="738" y="102"/>
                  </a:lnTo>
                  <a:lnTo>
                    <a:pt x="732" y="102"/>
                  </a:lnTo>
                  <a:lnTo>
                    <a:pt x="732" y="108"/>
                  </a:lnTo>
                  <a:lnTo>
                    <a:pt x="738" y="108"/>
                  </a:lnTo>
                  <a:lnTo>
                    <a:pt x="744" y="114"/>
                  </a:lnTo>
                  <a:lnTo>
                    <a:pt x="750" y="108"/>
                  </a:lnTo>
                  <a:lnTo>
                    <a:pt x="756" y="108"/>
                  </a:lnTo>
                  <a:lnTo>
                    <a:pt x="762" y="108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80" y="120"/>
                  </a:lnTo>
                  <a:lnTo>
                    <a:pt x="774" y="120"/>
                  </a:lnTo>
                  <a:lnTo>
                    <a:pt x="768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74" y="138"/>
                  </a:lnTo>
                  <a:lnTo>
                    <a:pt x="774" y="132"/>
                  </a:lnTo>
                  <a:lnTo>
                    <a:pt x="780" y="132"/>
                  </a:lnTo>
                  <a:lnTo>
                    <a:pt x="786" y="132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44"/>
                  </a:lnTo>
                  <a:lnTo>
                    <a:pt x="786" y="150"/>
                  </a:lnTo>
                  <a:lnTo>
                    <a:pt x="780" y="150"/>
                  </a:lnTo>
                  <a:lnTo>
                    <a:pt x="774" y="150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74" y="162"/>
                  </a:lnTo>
                  <a:lnTo>
                    <a:pt x="780" y="162"/>
                  </a:lnTo>
                  <a:lnTo>
                    <a:pt x="786" y="168"/>
                  </a:lnTo>
                  <a:lnTo>
                    <a:pt x="792" y="162"/>
                  </a:lnTo>
                  <a:lnTo>
                    <a:pt x="798" y="168"/>
                  </a:lnTo>
                  <a:lnTo>
                    <a:pt x="798" y="174"/>
                  </a:lnTo>
                  <a:lnTo>
                    <a:pt x="804" y="168"/>
                  </a:lnTo>
                  <a:lnTo>
                    <a:pt x="810" y="168"/>
                  </a:lnTo>
                  <a:lnTo>
                    <a:pt x="810" y="174"/>
                  </a:lnTo>
                  <a:lnTo>
                    <a:pt x="816" y="168"/>
                  </a:lnTo>
                  <a:lnTo>
                    <a:pt x="822" y="162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74"/>
                  </a:lnTo>
                  <a:lnTo>
                    <a:pt x="834" y="192"/>
                  </a:lnTo>
                  <a:lnTo>
                    <a:pt x="834" y="198"/>
                  </a:lnTo>
                  <a:lnTo>
                    <a:pt x="840" y="192"/>
                  </a:lnTo>
                  <a:lnTo>
                    <a:pt x="846" y="192"/>
                  </a:lnTo>
                  <a:lnTo>
                    <a:pt x="852" y="186"/>
                  </a:lnTo>
                  <a:lnTo>
                    <a:pt x="858" y="192"/>
                  </a:lnTo>
                  <a:lnTo>
                    <a:pt x="864" y="192"/>
                  </a:lnTo>
                  <a:lnTo>
                    <a:pt x="870" y="198"/>
                  </a:lnTo>
                  <a:lnTo>
                    <a:pt x="876" y="180"/>
                  </a:lnTo>
                  <a:lnTo>
                    <a:pt x="882" y="180"/>
                  </a:lnTo>
                  <a:lnTo>
                    <a:pt x="888" y="180"/>
                  </a:lnTo>
                  <a:lnTo>
                    <a:pt x="894" y="186"/>
                  </a:lnTo>
                  <a:lnTo>
                    <a:pt x="888" y="198"/>
                  </a:lnTo>
                  <a:lnTo>
                    <a:pt x="894" y="204"/>
                  </a:lnTo>
                  <a:lnTo>
                    <a:pt x="906" y="210"/>
                  </a:lnTo>
                  <a:lnTo>
                    <a:pt x="918" y="246"/>
                  </a:lnTo>
                  <a:lnTo>
                    <a:pt x="930" y="258"/>
                  </a:lnTo>
                  <a:lnTo>
                    <a:pt x="942" y="282"/>
                  </a:lnTo>
                  <a:lnTo>
                    <a:pt x="966" y="288"/>
                  </a:lnTo>
                  <a:lnTo>
                    <a:pt x="972" y="300"/>
                  </a:lnTo>
                  <a:lnTo>
                    <a:pt x="972" y="318"/>
                  </a:lnTo>
                  <a:lnTo>
                    <a:pt x="996" y="336"/>
                  </a:lnTo>
                  <a:lnTo>
                    <a:pt x="1050" y="390"/>
                  </a:lnTo>
                  <a:lnTo>
                    <a:pt x="1116" y="462"/>
                  </a:lnTo>
                  <a:lnTo>
                    <a:pt x="1122" y="468"/>
                  </a:lnTo>
                  <a:lnTo>
                    <a:pt x="1128" y="474"/>
                  </a:lnTo>
                  <a:lnTo>
                    <a:pt x="1140" y="474"/>
                  </a:lnTo>
                  <a:lnTo>
                    <a:pt x="1152" y="486"/>
                  </a:lnTo>
                  <a:lnTo>
                    <a:pt x="1152" y="492"/>
                  </a:lnTo>
                  <a:lnTo>
                    <a:pt x="1158" y="492"/>
                  </a:lnTo>
                  <a:lnTo>
                    <a:pt x="1164" y="492"/>
                  </a:lnTo>
                  <a:lnTo>
                    <a:pt x="1170" y="504"/>
                  </a:lnTo>
                  <a:lnTo>
                    <a:pt x="1176" y="504"/>
                  </a:lnTo>
                  <a:lnTo>
                    <a:pt x="1176" y="510"/>
                  </a:lnTo>
                  <a:lnTo>
                    <a:pt x="1200" y="516"/>
                  </a:lnTo>
                  <a:lnTo>
                    <a:pt x="1200" y="522"/>
                  </a:lnTo>
                  <a:lnTo>
                    <a:pt x="1212" y="534"/>
                  </a:lnTo>
                  <a:lnTo>
                    <a:pt x="1218" y="540"/>
                  </a:lnTo>
                  <a:lnTo>
                    <a:pt x="1224" y="552"/>
                  </a:lnTo>
                  <a:lnTo>
                    <a:pt x="1230" y="552"/>
                  </a:lnTo>
                  <a:lnTo>
                    <a:pt x="1242" y="552"/>
                  </a:lnTo>
                  <a:lnTo>
                    <a:pt x="1248" y="558"/>
                  </a:lnTo>
                  <a:lnTo>
                    <a:pt x="1254" y="558"/>
                  </a:lnTo>
                  <a:lnTo>
                    <a:pt x="1260" y="564"/>
                  </a:lnTo>
                  <a:lnTo>
                    <a:pt x="1266" y="564"/>
                  </a:lnTo>
                  <a:lnTo>
                    <a:pt x="1272" y="564"/>
                  </a:lnTo>
                  <a:lnTo>
                    <a:pt x="1284" y="564"/>
                  </a:lnTo>
                  <a:lnTo>
                    <a:pt x="1290" y="570"/>
                  </a:lnTo>
                  <a:lnTo>
                    <a:pt x="1296" y="576"/>
                  </a:lnTo>
                  <a:lnTo>
                    <a:pt x="1302" y="588"/>
                  </a:lnTo>
                  <a:lnTo>
                    <a:pt x="1296" y="594"/>
                  </a:lnTo>
                  <a:lnTo>
                    <a:pt x="1296" y="600"/>
                  </a:lnTo>
                  <a:lnTo>
                    <a:pt x="1296" y="606"/>
                  </a:lnTo>
                  <a:lnTo>
                    <a:pt x="1290" y="612"/>
                  </a:lnTo>
                  <a:lnTo>
                    <a:pt x="1290" y="624"/>
                  </a:lnTo>
                  <a:lnTo>
                    <a:pt x="1290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308" y="654"/>
                  </a:lnTo>
                  <a:lnTo>
                    <a:pt x="1320" y="654"/>
                  </a:lnTo>
                  <a:lnTo>
                    <a:pt x="1326" y="660"/>
                  </a:lnTo>
                  <a:lnTo>
                    <a:pt x="1338" y="654"/>
                  </a:lnTo>
                  <a:lnTo>
                    <a:pt x="1344" y="654"/>
                  </a:lnTo>
                  <a:lnTo>
                    <a:pt x="1356" y="654"/>
                  </a:lnTo>
                  <a:lnTo>
                    <a:pt x="1362" y="648"/>
                  </a:lnTo>
                  <a:lnTo>
                    <a:pt x="1368" y="642"/>
                  </a:lnTo>
                  <a:lnTo>
                    <a:pt x="1374" y="636"/>
                  </a:lnTo>
                  <a:lnTo>
                    <a:pt x="1380" y="636"/>
                  </a:lnTo>
                  <a:lnTo>
                    <a:pt x="1392" y="636"/>
                  </a:lnTo>
                  <a:lnTo>
                    <a:pt x="1398" y="636"/>
                  </a:lnTo>
                  <a:lnTo>
                    <a:pt x="1404" y="636"/>
                  </a:lnTo>
                  <a:lnTo>
                    <a:pt x="1410" y="630"/>
                  </a:lnTo>
                  <a:lnTo>
                    <a:pt x="1410" y="624"/>
                  </a:lnTo>
                  <a:lnTo>
                    <a:pt x="1422" y="618"/>
                  </a:lnTo>
                  <a:lnTo>
                    <a:pt x="1428" y="618"/>
                  </a:lnTo>
                  <a:lnTo>
                    <a:pt x="1440" y="612"/>
                  </a:lnTo>
                  <a:lnTo>
                    <a:pt x="1446" y="612"/>
                  </a:lnTo>
                  <a:lnTo>
                    <a:pt x="1458" y="612"/>
                  </a:lnTo>
                  <a:lnTo>
                    <a:pt x="1470" y="624"/>
                  </a:lnTo>
                  <a:lnTo>
                    <a:pt x="1488" y="642"/>
                  </a:lnTo>
                  <a:lnTo>
                    <a:pt x="1500" y="648"/>
                  </a:lnTo>
                  <a:lnTo>
                    <a:pt x="1512" y="654"/>
                  </a:lnTo>
                  <a:lnTo>
                    <a:pt x="1518" y="660"/>
                  </a:lnTo>
                  <a:lnTo>
                    <a:pt x="1524" y="660"/>
                  </a:lnTo>
                  <a:lnTo>
                    <a:pt x="1530" y="660"/>
                  </a:lnTo>
                  <a:lnTo>
                    <a:pt x="1536" y="666"/>
                  </a:lnTo>
                  <a:lnTo>
                    <a:pt x="1542" y="672"/>
                  </a:lnTo>
                  <a:lnTo>
                    <a:pt x="1548" y="672"/>
                  </a:lnTo>
                  <a:lnTo>
                    <a:pt x="1554" y="684"/>
                  </a:lnTo>
                  <a:lnTo>
                    <a:pt x="1554" y="690"/>
                  </a:lnTo>
                  <a:lnTo>
                    <a:pt x="1566" y="702"/>
                  </a:lnTo>
                  <a:lnTo>
                    <a:pt x="1572" y="720"/>
                  </a:lnTo>
                  <a:lnTo>
                    <a:pt x="1572" y="726"/>
                  </a:lnTo>
                  <a:lnTo>
                    <a:pt x="1578" y="732"/>
                  </a:lnTo>
                  <a:lnTo>
                    <a:pt x="1584" y="738"/>
                  </a:lnTo>
                  <a:lnTo>
                    <a:pt x="1590" y="738"/>
                  </a:lnTo>
                  <a:lnTo>
                    <a:pt x="1596" y="738"/>
                  </a:lnTo>
                  <a:lnTo>
                    <a:pt x="1602" y="744"/>
                  </a:lnTo>
                  <a:lnTo>
                    <a:pt x="1608" y="744"/>
                  </a:lnTo>
                  <a:lnTo>
                    <a:pt x="1614" y="744"/>
                  </a:lnTo>
                  <a:lnTo>
                    <a:pt x="1626" y="744"/>
                  </a:lnTo>
                  <a:lnTo>
                    <a:pt x="1638" y="744"/>
                  </a:lnTo>
                  <a:lnTo>
                    <a:pt x="1650" y="744"/>
                  </a:lnTo>
                  <a:lnTo>
                    <a:pt x="1662" y="744"/>
                  </a:lnTo>
                  <a:lnTo>
                    <a:pt x="1668" y="744"/>
                  </a:lnTo>
                  <a:lnTo>
                    <a:pt x="1674" y="744"/>
                  </a:lnTo>
                  <a:lnTo>
                    <a:pt x="1686" y="744"/>
                  </a:lnTo>
                  <a:lnTo>
                    <a:pt x="1698" y="750"/>
                  </a:lnTo>
                  <a:lnTo>
                    <a:pt x="1704" y="750"/>
                  </a:lnTo>
                  <a:lnTo>
                    <a:pt x="1716" y="756"/>
                  </a:lnTo>
                  <a:lnTo>
                    <a:pt x="1722" y="756"/>
                  </a:lnTo>
                  <a:lnTo>
                    <a:pt x="1728" y="756"/>
                  </a:lnTo>
                  <a:lnTo>
                    <a:pt x="1734" y="762"/>
                  </a:lnTo>
                  <a:lnTo>
                    <a:pt x="1740" y="768"/>
                  </a:lnTo>
                  <a:lnTo>
                    <a:pt x="1758" y="780"/>
                  </a:lnTo>
                  <a:lnTo>
                    <a:pt x="1770" y="780"/>
                  </a:lnTo>
                  <a:lnTo>
                    <a:pt x="1776" y="780"/>
                  </a:lnTo>
                  <a:lnTo>
                    <a:pt x="1782" y="780"/>
                  </a:lnTo>
                  <a:lnTo>
                    <a:pt x="1800" y="798"/>
                  </a:lnTo>
                  <a:lnTo>
                    <a:pt x="1818" y="810"/>
                  </a:lnTo>
                  <a:lnTo>
                    <a:pt x="1830" y="816"/>
                  </a:lnTo>
                  <a:lnTo>
                    <a:pt x="1836" y="822"/>
                  </a:lnTo>
                  <a:lnTo>
                    <a:pt x="1836" y="828"/>
                  </a:lnTo>
                  <a:lnTo>
                    <a:pt x="1842" y="828"/>
                  </a:lnTo>
                  <a:lnTo>
                    <a:pt x="1848" y="834"/>
                  </a:lnTo>
                  <a:lnTo>
                    <a:pt x="1854" y="840"/>
                  </a:lnTo>
                  <a:lnTo>
                    <a:pt x="1860" y="846"/>
                  </a:lnTo>
                  <a:lnTo>
                    <a:pt x="1872" y="852"/>
                  </a:lnTo>
                  <a:lnTo>
                    <a:pt x="1884" y="852"/>
                  </a:lnTo>
                  <a:lnTo>
                    <a:pt x="1896" y="852"/>
                  </a:lnTo>
                  <a:lnTo>
                    <a:pt x="1902" y="846"/>
                  </a:lnTo>
                  <a:lnTo>
                    <a:pt x="1908" y="852"/>
                  </a:lnTo>
                  <a:lnTo>
                    <a:pt x="1920" y="858"/>
                  </a:lnTo>
                  <a:lnTo>
                    <a:pt x="1926" y="870"/>
                  </a:lnTo>
                  <a:lnTo>
                    <a:pt x="1938" y="888"/>
                  </a:lnTo>
                  <a:lnTo>
                    <a:pt x="1944" y="900"/>
                  </a:lnTo>
                  <a:lnTo>
                    <a:pt x="1950" y="900"/>
                  </a:lnTo>
                  <a:lnTo>
                    <a:pt x="1962" y="906"/>
                  </a:lnTo>
                  <a:lnTo>
                    <a:pt x="1968" y="906"/>
                  </a:lnTo>
                  <a:lnTo>
                    <a:pt x="1980" y="906"/>
                  </a:lnTo>
                  <a:lnTo>
                    <a:pt x="1998" y="906"/>
                  </a:lnTo>
                  <a:lnTo>
                    <a:pt x="2010" y="900"/>
                  </a:lnTo>
                  <a:lnTo>
                    <a:pt x="2022" y="900"/>
                  </a:lnTo>
                  <a:lnTo>
                    <a:pt x="2028" y="900"/>
                  </a:lnTo>
                  <a:lnTo>
                    <a:pt x="2034" y="906"/>
                  </a:lnTo>
                  <a:lnTo>
                    <a:pt x="2046" y="906"/>
                  </a:lnTo>
                  <a:lnTo>
                    <a:pt x="2052" y="900"/>
                  </a:lnTo>
                  <a:lnTo>
                    <a:pt x="2058" y="900"/>
                  </a:lnTo>
                  <a:lnTo>
                    <a:pt x="2064" y="900"/>
                  </a:lnTo>
                  <a:lnTo>
                    <a:pt x="2070" y="900"/>
                  </a:lnTo>
                  <a:lnTo>
                    <a:pt x="2076" y="900"/>
                  </a:lnTo>
                  <a:lnTo>
                    <a:pt x="2076" y="906"/>
                  </a:lnTo>
                  <a:lnTo>
                    <a:pt x="2088" y="906"/>
                  </a:lnTo>
                  <a:lnTo>
                    <a:pt x="2106" y="900"/>
                  </a:lnTo>
                  <a:lnTo>
                    <a:pt x="2118" y="900"/>
                  </a:lnTo>
                  <a:lnTo>
                    <a:pt x="2130" y="900"/>
                  </a:lnTo>
                  <a:lnTo>
                    <a:pt x="2142" y="900"/>
                  </a:lnTo>
                  <a:lnTo>
                    <a:pt x="2148" y="906"/>
                  </a:lnTo>
                  <a:lnTo>
                    <a:pt x="2154" y="906"/>
                  </a:lnTo>
                  <a:lnTo>
                    <a:pt x="2160" y="906"/>
                  </a:lnTo>
                  <a:lnTo>
                    <a:pt x="2166" y="906"/>
                  </a:lnTo>
                  <a:lnTo>
                    <a:pt x="2178" y="918"/>
                  </a:lnTo>
                  <a:lnTo>
                    <a:pt x="2178" y="924"/>
                  </a:lnTo>
                  <a:lnTo>
                    <a:pt x="2184" y="924"/>
                  </a:lnTo>
                  <a:lnTo>
                    <a:pt x="2190" y="924"/>
                  </a:lnTo>
                  <a:lnTo>
                    <a:pt x="2196" y="924"/>
                  </a:lnTo>
                  <a:lnTo>
                    <a:pt x="2202" y="918"/>
                  </a:lnTo>
                  <a:lnTo>
                    <a:pt x="2208" y="918"/>
                  </a:lnTo>
                  <a:lnTo>
                    <a:pt x="2214" y="918"/>
                  </a:lnTo>
                  <a:lnTo>
                    <a:pt x="2226" y="918"/>
                  </a:lnTo>
                  <a:lnTo>
                    <a:pt x="2220" y="948"/>
                  </a:lnTo>
                  <a:lnTo>
                    <a:pt x="2214" y="972"/>
                  </a:lnTo>
                  <a:lnTo>
                    <a:pt x="2214" y="984"/>
                  </a:lnTo>
                  <a:lnTo>
                    <a:pt x="2208" y="990"/>
                  </a:lnTo>
                  <a:lnTo>
                    <a:pt x="2208" y="996"/>
                  </a:lnTo>
                  <a:lnTo>
                    <a:pt x="2202" y="996"/>
                  </a:lnTo>
                  <a:lnTo>
                    <a:pt x="2196" y="996"/>
                  </a:lnTo>
                  <a:lnTo>
                    <a:pt x="2190" y="1008"/>
                  </a:lnTo>
                  <a:lnTo>
                    <a:pt x="2172" y="1074"/>
                  </a:lnTo>
                  <a:lnTo>
                    <a:pt x="2166" y="1092"/>
                  </a:lnTo>
                  <a:lnTo>
                    <a:pt x="2172" y="1110"/>
                  </a:lnTo>
                  <a:lnTo>
                    <a:pt x="2172" y="1122"/>
                  </a:lnTo>
                  <a:lnTo>
                    <a:pt x="2166" y="1134"/>
                  </a:lnTo>
                  <a:lnTo>
                    <a:pt x="2148" y="1140"/>
                  </a:lnTo>
                  <a:lnTo>
                    <a:pt x="2148" y="1134"/>
                  </a:lnTo>
                  <a:lnTo>
                    <a:pt x="2118" y="1140"/>
                  </a:lnTo>
                  <a:lnTo>
                    <a:pt x="2088" y="1134"/>
                  </a:lnTo>
                  <a:lnTo>
                    <a:pt x="2064" y="1122"/>
                  </a:lnTo>
                  <a:lnTo>
                    <a:pt x="2034" y="1122"/>
                  </a:lnTo>
                  <a:lnTo>
                    <a:pt x="2022" y="1128"/>
                  </a:lnTo>
                  <a:lnTo>
                    <a:pt x="1986" y="1128"/>
                  </a:lnTo>
                  <a:lnTo>
                    <a:pt x="1938" y="1122"/>
                  </a:lnTo>
                  <a:lnTo>
                    <a:pt x="1932" y="1116"/>
                  </a:lnTo>
                  <a:lnTo>
                    <a:pt x="1896" y="1110"/>
                  </a:lnTo>
                  <a:lnTo>
                    <a:pt x="1878" y="1104"/>
                  </a:lnTo>
                  <a:lnTo>
                    <a:pt x="1866" y="1098"/>
                  </a:lnTo>
                  <a:lnTo>
                    <a:pt x="1860" y="1098"/>
                  </a:lnTo>
                  <a:lnTo>
                    <a:pt x="1854" y="1092"/>
                  </a:lnTo>
                  <a:lnTo>
                    <a:pt x="1860" y="1092"/>
                  </a:lnTo>
                  <a:lnTo>
                    <a:pt x="1860" y="1086"/>
                  </a:lnTo>
                  <a:lnTo>
                    <a:pt x="1854" y="1086"/>
                  </a:lnTo>
                  <a:lnTo>
                    <a:pt x="1842" y="1080"/>
                  </a:lnTo>
                  <a:lnTo>
                    <a:pt x="1818" y="1062"/>
                  </a:lnTo>
                  <a:lnTo>
                    <a:pt x="1782" y="1056"/>
                  </a:lnTo>
                  <a:lnTo>
                    <a:pt x="1770" y="1068"/>
                  </a:lnTo>
                  <a:lnTo>
                    <a:pt x="1746" y="1098"/>
                  </a:lnTo>
                  <a:lnTo>
                    <a:pt x="1722" y="1104"/>
                  </a:lnTo>
                  <a:lnTo>
                    <a:pt x="1710" y="1122"/>
                  </a:lnTo>
                  <a:lnTo>
                    <a:pt x="1710" y="1128"/>
                  </a:lnTo>
                  <a:lnTo>
                    <a:pt x="1710" y="1140"/>
                  </a:lnTo>
                  <a:lnTo>
                    <a:pt x="1698" y="1146"/>
                  </a:lnTo>
                  <a:lnTo>
                    <a:pt x="1686" y="1152"/>
                  </a:lnTo>
                  <a:lnTo>
                    <a:pt x="1680" y="1164"/>
                  </a:lnTo>
                  <a:lnTo>
                    <a:pt x="1680" y="1170"/>
                  </a:lnTo>
                  <a:lnTo>
                    <a:pt x="1686" y="1170"/>
                  </a:lnTo>
                  <a:lnTo>
                    <a:pt x="1686" y="1176"/>
                  </a:lnTo>
                  <a:lnTo>
                    <a:pt x="1698" y="1188"/>
                  </a:lnTo>
                  <a:lnTo>
                    <a:pt x="1704" y="1188"/>
                  </a:lnTo>
                  <a:lnTo>
                    <a:pt x="1698" y="1194"/>
                  </a:lnTo>
                  <a:lnTo>
                    <a:pt x="1704" y="1194"/>
                  </a:lnTo>
                  <a:lnTo>
                    <a:pt x="1704" y="1200"/>
                  </a:lnTo>
                  <a:lnTo>
                    <a:pt x="1704" y="1206"/>
                  </a:lnTo>
                  <a:lnTo>
                    <a:pt x="1704" y="1212"/>
                  </a:lnTo>
                  <a:lnTo>
                    <a:pt x="1704" y="1218"/>
                  </a:lnTo>
                  <a:lnTo>
                    <a:pt x="1710" y="1218"/>
                  </a:lnTo>
                  <a:lnTo>
                    <a:pt x="1710" y="1212"/>
                  </a:lnTo>
                  <a:lnTo>
                    <a:pt x="1716" y="1212"/>
                  </a:lnTo>
                  <a:lnTo>
                    <a:pt x="1716" y="1218"/>
                  </a:lnTo>
                  <a:lnTo>
                    <a:pt x="1716" y="1224"/>
                  </a:lnTo>
                  <a:lnTo>
                    <a:pt x="1716" y="1230"/>
                  </a:lnTo>
                  <a:lnTo>
                    <a:pt x="1722" y="1236"/>
                  </a:lnTo>
                  <a:lnTo>
                    <a:pt x="1740" y="1230"/>
                  </a:lnTo>
                  <a:lnTo>
                    <a:pt x="1734" y="1236"/>
                  </a:lnTo>
                  <a:lnTo>
                    <a:pt x="1734" y="1242"/>
                  </a:lnTo>
                  <a:lnTo>
                    <a:pt x="1734" y="1248"/>
                  </a:lnTo>
                  <a:lnTo>
                    <a:pt x="1734" y="1254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52" y="1266"/>
                  </a:lnTo>
                  <a:lnTo>
                    <a:pt x="1764" y="1266"/>
                  </a:lnTo>
                  <a:lnTo>
                    <a:pt x="1788" y="1260"/>
                  </a:lnTo>
                  <a:lnTo>
                    <a:pt x="1800" y="1260"/>
                  </a:lnTo>
                  <a:lnTo>
                    <a:pt x="1806" y="1272"/>
                  </a:lnTo>
                  <a:lnTo>
                    <a:pt x="1806" y="1296"/>
                  </a:lnTo>
                  <a:lnTo>
                    <a:pt x="1800" y="1308"/>
                  </a:lnTo>
                  <a:lnTo>
                    <a:pt x="1788" y="1308"/>
                  </a:lnTo>
                  <a:lnTo>
                    <a:pt x="1782" y="1326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7" name="Freeform 32">
              <a:extLst>
                <a:ext uri="{FF2B5EF4-FFF2-40B4-BE49-F238E27FC236}">
                  <a16:creationId xmlns:a16="http://schemas.microsoft.com/office/drawing/2014/main" id="{1EF84438-BF7A-47D2-9156-E231EA2A279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3295" y="2316568"/>
              <a:ext cx="1290281" cy="1084704"/>
            </a:xfrm>
            <a:custGeom>
              <a:avLst/>
              <a:gdLst>
                <a:gd name="T0" fmla="*/ 177 w 2430"/>
                <a:gd name="T1" fmla="*/ 169 h 2040"/>
                <a:gd name="T2" fmla="*/ 174 w 2430"/>
                <a:gd name="T3" fmla="*/ 173 h 2040"/>
                <a:gd name="T4" fmla="*/ 169 w 2430"/>
                <a:gd name="T5" fmla="*/ 171 h 2040"/>
                <a:gd name="T6" fmla="*/ 160 w 2430"/>
                <a:gd name="T7" fmla="*/ 163 h 2040"/>
                <a:gd name="T8" fmla="*/ 154 w 2430"/>
                <a:gd name="T9" fmla="*/ 149 h 2040"/>
                <a:gd name="T10" fmla="*/ 144 w 2430"/>
                <a:gd name="T11" fmla="*/ 147 h 2040"/>
                <a:gd name="T12" fmla="*/ 133 w 2430"/>
                <a:gd name="T13" fmla="*/ 146 h 2040"/>
                <a:gd name="T14" fmla="*/ 121 w 2430"/>
                <a:gd name="T15" fmla="*/ 145 h 2040"/>
                <a:gd name="T16" fmla="*/ 110 w 2430"/>
                <a:gd name="T17" fmla="*/ 137 h 2040"/>
                <a:gd name="T18" fmla="*/ 97 w 2430"/>
                <a:gd name="T19" fmla="*/ 131 h 2040"/>
                <a:gd name="T20" fmla="*/ 87 w 2430"/>
                <a:gd name="T21" fmla="*/ 125 h 2040"/>
                <a:gd name="T22" fmla="*/ 75 w 2430"/>
                <a:gd name="T23" fmla="*/ 122 h 2040"/>
                <a:gd name="T24" fmla="*/ 65 w 2430"/>
                <a:gd name="T25" fmla="*/ 122 h 2040"/>
                <a:gd name="T26" fmla="*/ 59 w 2430"/>
                <a:gd name="T27" fmla="*/ 115 h 2040"/>
                <a:gd name="T28" fmla="*/ 50 w 2430"/>
                <a:gd name="T29" fmla="*/ 107 h 2040"/>
                <a:gd name="T30" fmla="*/ 28 w 2430"/>
                <a:gd name="T31" fmla="*/ 84 h 2040"/>
                <a:gd name="T32" fmla="*/ 22 w 2430"/>
                <a:gd name="T33" fmla="*/ 82 h 2040"/>
                <a:gd name="T34" fmla="*/ 20 w 2430"/>
                <a:gd name="T35" fmla="*/ 79 h 2040"/>
                <a:gd name="T36" fmla="*/ 16 w 2430"/>
                <a:gd name="T37" fmla="*/ 76 h 2040"/>
                <a:gd name="T38" fmla="*/ 11 w 2430"/>
                <a:gd name="T39" fmla="*/ 74 h 2040"/>
                <a:gd name="T40" fmla="*/ 7 w 2430"/>
                <a:gd name="T41" fmla="*/ 69 h 2040"/>
                <a:gd name="T42" fmla="*/ 0 w 2430"/>
                <a:gd name="T43" fmla="*/ 60 h 2040"/>
                <a:gd name="T44" fmla="*/ 10 w 2430"/>
                <a:gd name="T45" fmla="*/ 53 h 2040"/>
                <a:gd name="T46" fmla="*/ 15 w 2430"/>
                <a:gd name="T47" fmla="*/ 40 h 2040"/>
                <a:gd name="T48" fmla="*/ 9 w 2430"/>
                <a:gd name="T49" fmla="*/ 29 h 2040"/>
                <a:gd name="T50" fmla="*/ 7 w 2430"/>
                <a:gd name="T51" fmla="*/ 16 h 2040"/>
                <a:gd name="T52" fmla="*/ 18 w 2430"/>
                <a:gd name="T53" fmla="*/ 21 h 2040"/>
                <a:gd name="T54" fmla="*/ 48 w 2430"/>
                <a:gd name="T55" fmla="*/ 27 h 2040"/>
                <a:gd name="T56" fmla="*/ 62 w 2430"/>
                <a:gd name="T57" fmla="*/ 25 h 2040"/>
                <a:gd name="T58" fmla="*/ 59 w 2430"/>
                <a:gd name="T59" fmla="*/ 42 h 2040"/>
                <a:gd name="T60" fmla="*/ 54 w 2430"/>
                <a:gd name="T61" fmla="*/ 65 h 2040"/>
                <a:gd name="T62" fmla="*/ 65 w 2430"/>
                <a:gd name="T63" fmla="*/ 60 h 2040"/>
                <a:gd name="T64" fmla="*/ 68 w 2430"/>
                <a:gd name="T65" fmla="*/ 40 h 2040"/>
                <a:gd name="T66" fmla="*/ 75 w 2430"/>
                <a:gd name="T67" fmla="*/ 36 h 2040"/>
                <a:gd name="T68" fmla="*/ 83 w 2430"/>
                <a:gd name="T69" fmla="*/ 29 h 2040"/>
                <a:gd name="T70" fmla="*/ 81 w 2430"/>
                <a:gd name="T71" fmla="*/ 17 h 2040"/>
                <a:gd name="T72" fmla="*/ 66 w 2430"/>
                <a:gd name="T73" fmla="*/ 7 h 2040"/>
                <a:gd name="T74" fmla="*/ 80 w 2430"/>
                <a:gd name="T75" fmla="*/ 5 h 2040"/>
                <a:gd name="T76" fmla="*/ 89 w 2430"/>
                <a:gd name="T77" fmla="*/ 1 h 2040"/>
                <a:gd name="T78" fmla="*/ 101 w 2430"/>
                <a:gd name="T79" fmla="*/ 10 h 2040"/>
                <a:gd name="T80" fmla="*/ 103 w 2430"/>
                <a:gd name="T81" fmla="*/ 18 h 2040"/>
                <a:gd name="T82" fmla="*/ 110 w 2430"/>
                <a:gd name="T83" fmla="*/ 23 h 2040"/>
                <a:gd name="T84" fmla="*/ 121 w 2430"/>
                <a:gd name="T85" fmla="*/ 20 h 2040"/>
                <a:gd name="T86" fmla="*/ 129 w 2430"/>
                <a:gd name="T87" fmla="*/ 15 h 2040"/>
                <a:gd name="T88" fmla="*/ 142 w 2430"/>
                <a:gd name="T89" fmla="*/ 23 h 2040"/>
                <a:gd name="T90" fmla="*/ 141 w 2430"/>
                <a:gd name="T91" fmla="*/ 30 h 2040"/>
                <a:gd name="T92" fmla="*/ 140 w 2430"/>
                <a:gd name="T93" fmla="*/ 38 h 2040"/>
                <a:gd name="T94" fmla="*/ 139 w 2430"/>
                <a:gd name="T95" fmla="*/ 46 h 2040"/>
                <a:gd name="T96" fmla="*/ 147 w 2430"/>
                <a:gd name="T97" fmla="*/ 54 h 2040"/>
                <a:gd name="T98" fmla="*/ 152 w 2430"/>
                <a:gd name="T99" fmla="*/ 50 h 2040"/>
                <a:gd name="T100" fmla="*/ 159 w 2430"/>
                <a:gd name="T101" fmla="*/ 43 h 2040"/>
                <a:gd name="T102" fmla="*/ 174 w 2430"/>
                <a:gd name="T103" fmla="*/ 41 h 2040"/>
                <a:gd name="T104" fmla="*/ 190 w 2430"/>
                <a:gd name="T105" fmla="*/ 57 h 2040"/>
                <a:gd name="T106" fmla="*/ 187 w 2430"/>
                <a:gd name="T107" fmla="*/ 66 h 2040"/>
                <a:gd name="T108" fmla="*/ 183 w 2430"/>
                <a:gd name="T109" fmla="*/ 72 h 2040"/>
                <a:gd name="T110" fmla="*/ 194 w 2430"/>
                <a:gd name="T111" fmla="*/ 73 h 2040"/>
                <a:gd name="T112" fmla="*/ 202 w 2430"/>
                <a:gd name="T113" fmla="*/ 74 h 2040"/>
                <a:gd name="T114" fmla="*/ 204 w 2430"/>
                <a:gd name="T115" fmla="*/ 89 h 2040"/>
                <a:gd name="T116" fmla="*/ 208 w 2430"/>
                <a:gd name="T117" fmla="*/ 99 h 2040"/>
                <a:gd name="T118" fmla="*/ 203 w 2430"/>
                <a:gd name="T119" fmla="*/ 103 h 2040"/>
                <a:gd name="T120" fmla="*/ 209 w 2430"/>
                <a:gd name="T121" fmla="*/ 111 h 2040"/>
                <a:gd name="T122" fmla="*/ 204 w 2430"/>
                <a:gd name="T123" fmla="*/ 124 h 2040"/>
                <a:gd name="T124" fmla="*/ 190 w 2430"/>
                <a:gd name="T125" fmla="*/ 117 h 20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30"/>
                <a:gd name="T190" fmla="*/ 0 h 2040"/>
                <a:gd name="T191" fmla="*/ 2430 w 2430"/>
                <a:gd name="T192" fmla="*/ 2040 h 20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30" h="2040">
                  <a:moveTo>
                    <a:pt x="2076" y="1896"/>
                  </a:moveTo>
                  <a:lnTo>
                    <a:pt x="2070" y="1896"/>
                  </a:lnTo>
                  <a:lnTo>
                    <a:pt x="2070" y="1902"/>
                  </a:lnTo>
                  <a:lnTo>
                    <a:pt x="2076" y="1902"/>
                  </a:lnTo>
                  <a:lnTo>
                    <a:pt x="2082" y="1902"/>
                  </a:lnTo>
                  <a:lnTo>
                    <a:pt x="2082" y="1908"/>
                  </a:lnTo>
                  <a:lnTo>
                    <a:pt x="2076" y="1908"/>
                  </a:lnTo>
                  <a:lnTo>
                    <a:pt x="2076" y="1914"/>
                  </a:lnTo>
                  <a:lnTo>
                    <a:pt x="2070" y="1920"/>
                  </a:lnTo>
                  <a:lnTo>
                    <a:pt x="2064" y="1932"/>
                  </a:lnTo>
                  <a:lnTo>
                    <a:pt x="2064" y="1938"/>
                  </a:lnTo>
                  <a:lnTo>
                    <a:pt x="2058" y="1938"/>
                  </a:lnTo>
                  <a:lnTo>
                    <a:pt x="2052" y="1944"/>
                  </a:lnTo>
                  <a:lnTo>
                    <a:pt x="2052" y="1950"/>
                  </a:lnTo>
                  <a:lnTo>
                    <a:pt x="2040" y="1944"/>
                  </a:lnTo>
                  <a:lnTo>
                    <a:pt x="2040" y="1950"/>
                  </a:lnTo>
                  <a:lnTo>
                    <a:pt x="2034" y="1956"/>
                  </a:lnTo>
                  <a:lnTo>
                    <a:pt x="2034" y="1962"/>
                  </a:lnTo>
                  <a:lnTo>
                    <a:pt x="2028" y="1962"/>
                  </a:lnTo>
                  <a:lnTo>
                    <a:pt x="2022" y="1962"/>
                  </a:lnTo>
                  <a:lnTo>
                    <a:pt x="2022" y="1968"/>
                  </a:lnTo>
                  <a:lnTo>
                    <a:pt x="2028" y="1974"/>
                  </a:lnTo>
                  <a:lnTo>
                    <a:pt x="2034" y="1980"/>
                  </a:lnTo>
                  <a:lnTo>
                    <a:pt x="2028" y="1986"/>
                  </a:lnTo>
                  <a:lnTo>
                    <a:pt x="2022" y="1992"/>
                  </a:lnTo>
                  <a:lnTo>
                    <a:pt x="2022" y="1986"/>
                  </a:lnTo>
                  <a:lnTo>
                    <a:pt x="2016" y="1986"/>
                  </a:lnTo>
                  <a:lnTo>
                    <a:pt x="2010" y="1980"/>
                  </a:lnTo>
                  <a:lnTo>
                    <a:pt x="2004" y="1980"/>
                  </a:lnTo>
                  <a:lnTo>
                    <a:pt x="2004" y="1986"/>
                  </a:lnTo>
                  <a:lnTo>
                    <a:pt x="2010" y="1992"/>
                  </a:lnTo>
                  <a:lnTo>
                    <a:pt x="2010" y="1998"/>
                  </a:lnTo>
                  <a:lnTo>
                    <a:pt x="2004" y="2004"/>
                  </a:lnTo>
                  <a:lnTo>
                    <a:pt x="1998" y="2004"/>
                  </a:lnTo>
                  <a:lnTo>
                    <a:pt x="1998" y="2022"/>
                  </a:lnTo>
                  <a:lnTo>
                    <a:pt x="1998" y="2028"/>
                  </a:lnTo>
                  <a:lnTo>
                    <a:pt x="1992" y="2034"/>
                  </a:lnTo>
                  <a:lnTo>
                    <a:pt x="1992" y="2040"/>
                  </a:lnTo>
                  <a:lnTo>
                    <a:pt x="1986" y="2040"/>
                  </a:lnTo>
                  <a:lnTo>
                    <a:pt x="1986" y="2034"/>
                  </a:lnTo>
                  <a:lnTo>
                    <a:pt x="1980" y="2028"/>
                  </a:lnTo>
                  <a:lnTo>
                    <a:pt x="1980" y="2022"/>
                  </a:lnTo>
                  <a:lnTo>
                    <a:pt x="1968" y="2016"/>
                  </a:lnTo>
                  <a:lnTo>
                    <a:pt x="1962" y="2010"/>
                  </a:lnTo>
                  <a:lnTo>
                    <a:pt x="1956" y="2004"/>
                  </a:lnTo>
                  <a:lnTo>
                    <a:pt x="1950" y="1992"/>
                  </a:lnTo>
                  <a:lnTo>
                    <a:pt x="1950" y="1986"/>
                  </a:lnTo>
                  <a:lnTo>
                    <a:pt x="1950" y="1974"/>
                  </a:lnTo>
                  <a:lnTo>
                    <a:pt x="1944" y="1974"/>
                  </a:lnTo>
                  <a:lnTo>
                    <a:pt x="1932" y="1962"/>
                  </a:lnTo>
                  <a:lnTo>
                    <a:pt x="1932" y="1956"/>
                  </a:lnTo>
                  <a:lnTo>
                    <a:pt x="1932" y="1950"/>
                  </a:lnTo>
                  <a:lnTo>
                    <a:pt x="1920" y="1944"/>
                  </a:lnTo>
                  <a:lnTo>
                    <a:pt x="1914" y="1944"/>
                  </a:lnTo>
                  <a:lnTo>
                    <a:pt x="1908" y="1938"/>
                  </a:lnTo>
                  <a:lnTo>
                    <a:pt x="1902" y="1926"/>
                  </a:lnTo>
                  <a:lnTo>
                    <a:pt x="1890" y="1914"/>
                  </a:lnTo>
                  <a:lnTo>
                    <a:pt x="1884" y="1914"/>
                  </a:lnTo>
                  <a:lnTo>
                    <a:pt x="1878" y="1908"/>
                  </a:lnTo>
                  <a:lnTo>
                    <a:pt x="1872" y="1902"/>
                  </a:lnTo>
                  <a:lnTo>
                    <a:pt x="1872" y="1896"/>
                  </a:lnTo>
                  <a:lnTo>
                    <a:pt x="1866" y="1890"/>
                  </a:lnTo>
                  <a:lnTo>
                    <a:pt x="1854" y="1884"/>
                  </a:lnTo>
                  <a:lnTo>
                    <a:pt x="1848" y="1884"/>
                  </a:lnTo>
                  <a:lnTo>
                    <a:pt x="1842" y="1872"/>
                  </a:lnTo>
                  <a:lnTo>
                    <a:pt x="1836" y="1872"/>
                  </a:lnTo>
                  <a:lnTo>
                    <a:pt x="1830" y="1866"/>
                  </a:lnTo>
                  <a:lnTo>
                    <a:pt x="1830" y="1854"/>
                  </a:lnTo>
                  <a:lnTo>
                    <a:pt x="1824" y="1848"/>
                  </a:lnTo>
                  <a:lnTo>
                    <a:pt x="1818" y="1830"/>
                  </a:lnTo>
                  <a:lnTo>
                    <a:pt x="1818" y="1818"/>
                  </a:lnTo>
                  <a:lnTo>
                    <a:pt x="1812" y="1800"/>
                  </a:lnTo>
                  <a:lnTo>
                    <a:pt x="1812" y="1788"/>
                  </a:lnTo>
                  <a:lnTo>
                    <a:pt x="1806" y="1776"/>
                  </a:lnTo>
                  <a:lnTo>
                    <a:pt x="1800" y="1764"/>
                  </a:lnTo>
                  <a:lnTo>
                    <a:pt x="1794" y="1758"/>
                  </a:lnTo>
                  <a:lnTo>
                    <a:pt x="1782" y="1740"/>
                  </a:lnTo>
                  <a:lnTo>
                    <a:pt x="1776" y="1728"/>
                  </a:lnTo>
                  <a:lnTo>
                    <a:pt x="1776" y="1722"/>
                  </a:lnTo>
                  <a:lnTo>
                    <a:pt x="1770" y="1722"/>
                  </a:lnTo>
                  <a:lnTo>
                    <a:pt x="1770" y="1716"/>
                  </a:lnTo>
                  <a:lnTo>
                    <a:pt x="1764" y="1716"/>
                  </a:lnTo>
                  <a:lnTo>
                    <a:pt x="1758" y="1710"/>
                  </a:lnTo>
                  <a:lnTo>
                    <a:pt x="1752" y="1704"/>
                  </a:lnTo>
                  <a:lnTo>
                    <a:pt x="1746" y="1704"/>
                  </a:lnTo>
                  <a:lnTo>
                    <a:pt x="1740" y="1704"/>
                  </a:lnTo>
                  <a:lnTo>
                    <a:pt x="1734" y="1704"/>
                  </a:lnTo>
                  <a:lnTo>
                    <a:pt x="1734" y="1698"/>
                  </a:lnTo>
                  <a:lnTo>
                    <a:pt x="1728" y="1692"/>
                  </a:lnTo>
                  <a:lnTo>
                    <a:pt x="1722" y="1686"/>
                  </a:lnTo>
                  <a:lnTo>
                    <a:pt x="1716" y="1686"/>
                  </a:lnTo>
                  <a:lnTo>
                    <a:pt x="1698" y="1686"/>
                  </a:lnTo>
                  <a:lnTo>
                    <a:pt x="1692" y="1692"/>
                  </a:lnTo>
                  <a:lnTo>
                    <a:pt x="1680" y="1692"/>
                  </a:lnTo>
                  <a:lnTo>
                    <a:pt x="1668" y="1692"/>
                  </a:lnTo>
                  <a:lnTo>
                    <a:pt x="1662" y="1692"/>
                  </a:lnTo>
                  <a:lnTo>
                    <a:pt x="1656" y="1692"/>
                  </a:lnTo>
                  <a:lnTo>
                    <a:pt x="1650" y="1698"/>
                  </a:lnTo>
                  <a:lnTo>
                    <a:pt x="1644" y="1698"/>
                  </a:lnTo>
                  <a:lnTo>
                    <a:pt x="1638" y="1698"/>
                  </a:lnTo>
                  <a:lnTo>
                    <a:pt x="1632" y="1698"/>
                  </a:lnTo>
                  <a:lnTo>
                    <a:pt x="1632" y="1692"/>
                  </a:lnTo>
                  <a:lnTo>
                    <a:pt x="1620" y="1680"/>
                  </a:lnTo>
                  <a:lnTo>
                    <a:pt x="1614" y="1680"/>
                  </a:lnTo>
                  <a:lnTo>
                    <a:pt x="1608" y="1680"/>
                  </a:lnTo>
                  <a:lnTo>
                    <a:pt x="1602" y="1680"/>
                  </a:lnTo>
                  <a:lnTo>
                    <a:pt x="1596" y="1674"/>
                  </a:lnTo>
                  <a:lnTo>
                    <a:pt x="1584" y="1674"/>
                  </a:lnTo>
                  <a:lnTo>
                    <a:pt x="1572" y="1674"/>
                  </a:lnTo>
                  <a:lnTo>
                    <a:pt x="1560" y="1674"/>
                  </a:lnTo>
                  <a:lnTo>
                    <a:pt x="1542" y="1680"/>
                  </a:lnTo>
                  <a:lnTo>
                    <a:pt x="1530" y="1680"/>
                  </a:lnTo>
                  <a:lnTo>
                    <a:pt x="1530" y="1674"/>
                  </a:lnTo>
                  <a:lnTo>
                    <a:pt x="1524" y="1674"/>
                  </a:lnTo>
                  <a:lnTo>
                    <a:pt x="1518" y="1674"/>
                  </a:lnTo>
                  <a:lnTo>
                    <a:pt x="1512" y="1674"/>
                  </a:lnTo>
                  <a:lnTo>
                    <a:pt x="1506" y="1674"/>
                  </a:lnTo>
                  <a:lnTo>
                    <a:pt x="1500" y="1680"/>
                  </a:lnTo>
                  <a:lnTo>
                    <a:pt x="1488" y="1680"/>
                  </a:lnTo>
                  <a:lnTo>
                    <a:pt x="1482" y="1674"/>
                  </a:lnTo>
                  <a:lnTo>
                    <a:pt x="1476" y="1674"/>
                  </a:lnTo>
                  <a:lnTo>
                    <a:pt x="1464" y="1674"/>
                  </a:lnTo>
                  <a:lnTo>
                    <a:pt x="1452" y="1680"/>
                  </a:lnTo>
                  <a:lnTo>
                    <a:pt x="1434" y="1680"/>
                  </a:lnTo>
                  <a:lnTo>
                    <a:pt x="1422" y="1680"/>
                  </a:lnTo>
                  <a:lnTo>
                    <a:pt x="1416" y="1680"/>
                  </a:lnTo>
                  <a:lnTo>
                    <a:pt x="1404" y="1674"/>
                  </a:lnTo>
                  <a:lnTo>
                    <a:pt x="1398" y="1674"/>
                  </a:lnTo>
                  <a:lnTo>
                    <a:pt x="1392" y="1662"/>
                  </a:lnTo>
                  <a:lnTo>
                    <a:pt x="1380" y="1644"/>
                  </a:lnTo>
                  <a:lnTo>
                    <a:pt x="1374" y="1632"/>
                  </a:lnTo>
                  <a:lnTo>
                    <a:pt x="1362" y="1626"/>
                  </a:lnTo>
                  <a:lnTo>
                    <a:pt x="1356" y="1620"/>
                  </a:lnTo>
                  <a:lnTo>
                    <a:pt x="1350" y="1626"/>
                  </a:lnTo>
                  <a:lnTo>
                    <a:pt x="1338" y="1626"/>
                  </a:lnTo>
                  <a:lnTo>
                    <a:pt x="1326" y="1626"/>
                  </a:lnTo>
                  <a:lnTo>
                    <a:pt x="1314" y="1620"/>
                  </a:lnTo>
                  <a:lnTo>
                    <a:pt x="1308" y="1614"/>
                  </a:lnTo>
                  <a:lnTo>
                    <a:pt x="1302" y="1608"/>
                  </a:lnTo>
                  <a:lnTo>
                    <a:pt x="1296" y="1602"/>
                  </a:lnTo>
                  <a:lnTo>
                    <a:pt x="1290" y="1602"/>
                  </a:lnTo>
                  <a:lnTo>
                    <a:pt x="1290" y="1596"/>
                  </a:lnTo>
                  <a:lnTo>
                    <a:pt x="1284" y="1590"/>
                  </a:lnTo>
                  <a:lnTo>
                    <a:pt x="1272" y="1584"/>
                  </a:lnTo>
                  <a:lnTo>
                    <a:pt x="1254" y="1572"/>
                  </a:lnTo>
                  <a:lnTo>
                    <a:pt x="1236" y="1554"/>
                  </a:lnTo>
                  <a:lnTo>
                    <a:pt x="1230" y="1554"/>
                  </a:lnTo>
                  <a:lnTo>
                    <a:pt x="1224" y="1554"/>
                  </a:lnTo>
                  <a:lnTo>
                    <a:pt x="1212" y="1554"/>
                  </a:lnTo>
                  <a:lnTo>
                    <a:pt x="1194" y="1542"/>
                  </a:lnTo>
                  <a:lnTo>
                    <a:pt x="1188" y="1536"/>
                  </a:lnTo>
                  <a:lnTo>
                    <a:pt x="1182" y="1530"/>
                  </a:lnTo>
                  <a:lnTo>
                    <a:pt x="1176" y="1530"/>
                  </a:lnTo>
                  <a:lnTo>
                    <a:pt x="1170" y="1530"/>
                  </a:lnTo>
                  <a:lnTo>
                    <a:pt x="1158" y="1524"/>
                  </a:lnTo>
                  <a:lnTo>
                    <a:pt x="1152" y="1524"/>
                  </a:lnTo>
                  <a:lnTo>
                    <a:pt x="1140" y="1518"/>
                  </a:lnTo>
                  <a:lnTo>
                    <a:pt x="1128" y="1518"/>
                  </a:lnTo>
                  <a:lnTo>
                    <a:pt x="1122" y="1518"/>
                  </a:lnTo>
                  <a:lnTo>
                    <a:pt x="1116" y="1518"/>
                  </a:lnTo>
                  <a:lnTo>
                    <a:pt x="1104" y="1518"/>
                  </a:lnTo>
                  <a:lnTo>
                    <a:pt x="1092" y="1518"/>
                  </a:lnTo>
                  <a:lnTo>
                    <a:pt x="1080" y="1518"/>
                  </a:lnTo>
                  <a:lnTo>
                    <a:pt x="1068" y="1518"/>
                  </a:lnTo>
                  <a:lnTo>
                    <a:pt x="1062" y="1518"/>
                  </a:lnTo>
                  <a:lnTo>
                    <a:pt x="1056" y="1518"/>
                  </a:lnTo>
                  <a:lnTo>
                    <a:pt x="1050" y="1512"/>
                  </a:lnTo>
                  <a:lnTo>
                    <a:pt x="1044" y="1512"/>
                  </a:lnTo>
                  <a:lnTo>
                    <a:pt x="1038" y="1512"/>
                  </a:lnTo>
                  <a:lnTo>
                    <a:pt x="1032" y="1506"/>
                  </a:lnTo>
                  <a:lnTo>
                    <a:pt x="1026" y="1500"/>
                  </a:lnTo>
                  <a:lnTo>
                    <a:pt x="1026" y="1494"/>
                  </a:lnTo>
                  <a:lnTo>
                    <a:pt x="1020" y="1476"/>
                  </a:lnTo>
                  <a:lnTo>
                    <a:pt x="1008" y="1464"/>
                  </a:lnTo>
                  <a:lnTo>
                    <a:pt x="1008" y="1458"/>
                  </a:lnTo>
                  <a:lnTo>
                    <a:pt x="1002" y="1446"/>
                  </a:lnTo>
                  <a:lnTo>
                    <a:pt x="996" y="1446"/>
                  </a:lnTo>
                  <a:lnTo>
                    <a:pt x="990" y="1440"/>
                  </a:lnTo>
                  <a:lnTo>
                    <a:pt x="984" y="1434"/>
                  </a:lnTo>
                  <a:lnTo>
                    <a:pt x="978" y="1434"/>
                  </a:lnTo>
                  <a:lnTo>
                    <a:pt x="972" y="1434"/>
                  </a:lnTo>
                  <a:lnTo>
                    <a:pt x="966" y="1428"/>
                  </a:lnTo>
                  <a:lnTo>
                    <a:pt x="954" y="1422"/>
                  </a:lnTo>
                  <a:lnTo>
                    <a:pt x="942" y="1416"/>
                  </a:lnTo>
                  <a:lnTo>
                    <a:pt x="924" y="1398"/>
                  </a:lnTo>
                  <a:lnTo>
                    <a:pt x="912" y="1386"/>
                  </a:lnTo>
                  <a:lnTo>
                    <a:pt x="900" y="1386"/>
                  </a:lnTo>
                  <a:lnTo>
                    <a:pt x="894" y="1386"/>
                  </a:lnTo>
                  <a:lnTo>
                    <a:pt x="882" y="1392"/>
                  </a:lnTo>
                  <a:lnTo>
                    <a:pt x="876" y="1392"/>
                  </a:lnTo>
                  <a:lnTo>
                    <a:pt x="864" y="1398"/>
                  </a:lnTo>
                  <a:lnTo>
                    <a:pt x="864" y="1404"/>
                  </a:lnTo>
                  <a:lnTo>
                    <a:pt x="858" y="1410"/>
                  </a:lnTo>
                  <a:lnTo>
                    <a:pt x="852" y="1410"/>
                  </a:lnTo>
                  <a:lnTo>
                    <a:pt x="846" y="1410"/>
                  </a:lnTo>
                  <a:lnTo>
                    <a:pt x="834" y="1410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10" y="1428"/>
                  </a:lnTo>
                  <a:lnTo>
                    <a:pt x="798" y="1428"/>
                  </a:lnTo>
                  <a:lnTo>
                    <a:pt x="792" y="1428"/>
                  </a:lnTo>
                  <a:lnTo>
                    <a:pt x="780" y="1434"/>
                  </a:lnTo>
                  <a:lnTo>
                    <a:pt x="774" y="1428"/>
                  </a:lnTo>
                  <a:lnTo>
                    <a:pt x="762" y="1428"/>
                  </a:lnTo>
                  <a:lnTo>
                    <a:pt x="756" y="1422"/>
                  </a:lnTo>
                  <a:lnTo>
                    <a:pt x="750" y="1416"/>
                  </a:lnTo>
                  <a:lnTo>
                    <a:pt x="744" y="1410"/>
                  </a:lnTo>
                  <a:lnTo>
                    <a:pt x="744" y="1398"/>
                  </a:lnTo>
                  <a:lnTo>
                    <a:pt x="744" y="1386"/>
                  </a:lnTo>
                  <a:lnTo>
                    <a:pt x="750" y="1380"/>
                  </a:lnTo>
                  <a:lnTo>
                    <a:pt x="750" y="1374"/>
                  </a:lnTo>
                  <a:lnTo>
                    <a:pt x="750" y="1368"/>
                  </a:lnTo>
                  <a:lnTo>
                    <a:pt x="756" y="1362"/>
                  </a:lnTo>
                  <a:lnTo>
                    <a:pt x="750" y="1350"/>
                  </a:lnTo>
                  <a:lnTo>
                    <a:pt x="744" y="1344"/>
                  </a:lnTo>
                  <a:lnTo>
                    <a:pt x="738" y="1338"/>
                  </a:lnTo>
                  <a:lnTo>
                    <a:pt x="726" y="1338"/>
                  </a:lnTo>
                  <a:lnTo>
                    <a:pt x="720" y="1338"/>
                  </a:lnTo>
                  <a:lnTo>
                    <a:pt x="714" y="1338"/>
                  </a:lnTo>
                  <a:lnTo>
                    <a:pt x="708" y="1332"/>
                  </a:lnTo>
                  <a:lnTo>
                    <a:pt x="702" y="1332"/>
                  </a:lnTo>
                  <a:lnTo>
                    <a:pt x="696" y="1326"/>
                  </a:lnTo>
                  <a:lnTo>
                    <a:pt x="684" y="1326"/>
                  </a:lnTo>
                  <a:lnTo>
                    <a:pt x="678" y="1326"/>
                  </a:lnTo>
                  <a:lnTo>
                    <a:pt x="672" y="1314"/>
                  </a:lnTo>
                  <a:lnTo>
                    <a:pt x="666" y="1308"/>
                  </a:lnTo>
                  <a:lnTo>
                    <a:pt x="654" y="1296"/>
                  </a:lnTo>
                  <a:lnTo>
                    <a:pt x="654" y="1290"/>
                  </a:lnTo>
                  <a:lnTo>
                    <a:pt x="630" y="1284"/>
                  </a:lnTo>
                  <a:lnTo>
                    <a:pt x="630" y="1278"/>
                  </a:lnTo>
                  <a:lnTo>
                    <a:pt x="624" y="1278"/>
                  </a:lnTo>
                  <a:lnTo>
                    <a:pt x="618" y="1266"/>
                  </a:lnTo>
                  <a:lnTo>
                    <a:pt x="612" y="1266"/>
                  </a:lnTo>
                  <a:lnTo>
                    <a:pt x="606" y="1266"/>
                  </a:lnTo>
                  <a:lnTo>
                    <a:pt x="606" y="1260"/>
                  </a:lnTo>
                  <a:lnTo>
                    <a:pt x="594" y="1248"/>
                  </a:lnTo>
                  <a:lnTo>
                    <a:pt x="582" y="1248"/>
                  </a:lnTo>
                  <a:lnTo>
                    <a:pt x="576" y="1242"/>
                  </a:lnTo>
                  <a:lnTo>
                    <a:pt x="570" y="1236"/>
                  </a:lnTo>
                  <a:lnTo>
                    <a:pt x="504" y="1164"/>
                  </a:lnTo>
                  <a:lnTo>
                    <a:pt x="450" y="1110"/>
                  </a:lnTo>
                  <a:lnTo>
                    <a:pt x="426" y="1092"/>
                  </a:lnTo>
                  <a:lnTo>
                    <a:pt x="426" y="1074"/>
                  </a:lnTo>
                  <a:lnTo>
                    <a:pt x="420" y="1062"/>
                  </a:lnTo>
                  <a:lnTo>
                    <a:pt x="396" y="1056"/>
                  </a:lnTo>
                  <a:lnTo>
                    <a:pt x="384" y="1032"/>
                  </a:lnTo>
                  <a:lnTo>
                    <a:pt x="372" y="1020"/>
                  </a:lnTo>
                  <a:lnTo>
                    <a:pt x="360" y="984"/>
                  </a:lnTo>
                  <a:lnTo>
                    <a:pt x="348" y="978"/>
                  </a:lnTo>
                  <a:lnTo>
                    <a:pt x="342" y="972"/>
                  </a:lnTo>
                  <a:lnTo>
                    <a:pt x="348" y="960"/>
                  </a:lnTo>
                  <a:lnTo>
                    <a:pt x="342" y="954"/>
                  </a:lnTo>
                  <a:lnTo>
                    <a:pt x="336" y="954"/>
                  </a:lnTo>
                  <a:lnTo>
                    <a:pt x="330" y="954"/>
                  </a:lnTo>
                  <a:lnTo>
                    <a:pt x="324" y="972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0" y="966"/>
                  </a:lnTo>
                  <a:lnTo>
                    <a:pt x="294" y="966"/>
                  </a:lnTo>
                  <a:lnTo>
                    <a:pt x="288" y="972"/>
                  </a:lnTo>
                  <a:lnTo>
                    <a:pt x="288" y="966"/>
                  </a:lnTo>
                  <a:lnTo>
                    <a:pt x="282" y="948"/>
                  </a:lnTo>
                  <a:lnTo>
                    <a:pt x="282" y="942"/>
                  </a:lnTo>
                  <a:lnTo>
                    <a:pt x="276" y="942"/>
                  </a:lnTo>
                  <a:lnTo>
                    <a:pt x="276" y="936"/>
                  </a:lnTo>
                  <a:lnTo>
                    <a:pt x="270" y="942"/>
                  </a:lnTo>
                  <a:lnTo>
                    <a:pt x="264" y="948"/>
                  </a:lnTo>
                  <a:lnTo>
                    <a:pt x="264" y="942"/>
                  </a:lnTo>
                  <a:lnTo>
                    <a:pt x="258" y="942"/>
                  </a:lnTo>
                  <a:lnTo>
                    <a:pt x="252" y="948"/>
                  </a:lnTo>
                  <a:lnTo>
                    <a:pt x="252" y="942"/>
                  </a:lnTo>
                  <a:lnTo>
                    <a:pt x="246" y="936"/>
                  </a:lnTo>
                  <a:lnTo>
                    <a:pt x="240" y="942"/>
                  </a:lnTo>
                  <a:lnTo>
                    <a:pt x="234" y="936"/>
                  </a:lnTo>
                  <a:lnTo>
                    <a:pt x="228" y="936"/>
                  </a:lnTo>
                  <a:lnTo>
                    <a:pt x="222" y="936"/>
                  </a:lnTo>
                  <a:lnTo>
                    <a:pt x="222" y="930"/>
                  </a:lnTo>
                  <a:lnTo>
                    <a:pt x="222" y="924"/>
                  </a:lnTo>
                  <a:lnTo>
                    <a:pt x="228" y="924"/>
                  </a:lnTo>
                  <a:lnTo>
                    <a:pt x="234" y="924"/>
                  </a:lnTo>
                  <a:lnTo>
                    <a:pt x="240" y="924"/>
                  </a:lnTo>
                  <a:lnTo>
                    <a:pt x="240" y="918"/>
                  </a:lnTo>
                  <a:lnTo>
                    <a:pt x="246" y="918"/>
                  </a:lnTo>
                  <a:lnTo>
                    <a:pt x="246" y="912"/>
                  </a:lnTo>
                  <a:lnTo>
                    <a:pt x="240" y="906"/>
                  </a:lnTo>
                  <a:lnTo>
                    <a:pt x="234" y="906"/>
                  </a:lnTo>
                  <a:lnTo>
                    <a:pt x="228" y="906"/>
                  </a:lnTo>
                  <a:lnTo>
                    <a:pt x="228" y="912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8" y="894"/>
                  </a:lnTo>
                  <a:lnTo>
                    <a:pt x="234" y="894"/>
                  </a:lnTo>
                  <a:lnTo>
                    <a:pt x="228" y="888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198" y="888"/>
                  </a:lnTo>
                  <a:lnTo>
                    <a:pt x="192" y="882"/>
                  </a:lnTo>
                  <a:lnTo>
                    <a:pt x="186" y="882"/>
                  </a:lnTo>
                  <a:lnTo>
                    <a:pt x="186" y="876"/>
                  </a:lnTo>
                  <a:lnTo>
                    <a:pt x="192" y="876"/>
                  </a:lnTo>
                  <a:lnTo>
                    <a:pt x="192" y="870"/>
                  </a:lnTo>
                  <a:lnTo>
                    <a:pt x="198" y="870"/>
                  </a:lnTo>
                  <a:lnTo>
                    <a:pt x="198" y="864"/>
                  </a:lnTo>
                  <a:lnTo>
                    <a:pt x="198" y="858"/>
                  </a:lnTo>
                  <a:lnTo>
                    <a:pt x="180" y="852"/>
                  </a:lnTo>
                  <a:lnTo>
                    <a:pt x="174" y="840"/>
                  </a:lnTo>
                  <a:lnTo>
                    <a:pt x="162" y="846"/>
                  </a:lnTo>
                  <a:lnTo>
                    <a:pt x="156" y="846"/>
                  </a:lnTo>
                  <a:lnTo>
                    <a:pt x="150" y="846"/>
                  </a:lnTo>
                  <a:lnTo>
                    <a:pt x="150" y="840"/>
                  </a:lnTo>
                  <a:lnTo>
                    <a:pt x="138" y="834"/>
                  </a:lnTo>
                  <a:lnTo>
                    <a:pt x="132" y="834"/>
                  </a:lnTo>
                  <a:lnTo>
                    <a:pt x="132" y="840"/>
                  </a:lnTo>
                  <a:lnTo>
                    <a:pt x="126" y="840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58"/>
                  </a:lnTo>
                  <a:lnTo>
                    <a:pt x="120" y="846"/>
                  </a:lnTo>
                  <a:lnTo>
                    <a:pt x="114" y="846"/>
                  </a:lnTo>
                  <a:lnTo>
                    <a:pt x="108" y="840"/>
                  </a:lnTo>
                  <a:lnTo>
                    <a:pt x="102" y="834"/>
                  </a:lnTo>
                  <a:lnTo>
                    <a:pt x="102" y="822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78" y="804"/>
                  </a:lnTo>
                  <a:lnTo>
                    <a:pt x="78" y="798"/>
                  </a:lnTo>
                  <a:lnTo>
                    <a:pt x="78" y="792"/>
                  </a:lnTo>
                  <a:lnTo>
                    <a:pt x="78" y="786"/>
                  </a:lnTo>
                  <a:lnTo>
                    <a:pt x="78" y="780"/>
                  </a:lnTo>
                  <a:lnTo>
                    <a:pt x="72" y="774"/>
                  </a:lnTo>
                  <a:lnTo>
                    <a:pt x="66" y="774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60" y="762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6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2" y="666"/>
                  </a:lnTo>
                  <a:lnTo>
                    <a:pt x="18" y="648"/>
                  </a:lnTo>
                  <a:lnTo>
                    <a:pt x="24" y="636"/>
                  </a:lnTo>
                  <a:lnTo>
                    <a:pt x="30" y="630"/>
                  </a:lnTo>
                  <a:lnTo>
                    <a:pt x="30" y="624"/>
                  </a:lnTo>
                  <a:lnTo>
                    <a:pt x="30" y="612"/>
                  </a:lnTo>
                  <a:lnTo>
                    <a:pt x="30" y="606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66" y="582"/>
                  </a:lnTo>
                  <a:lnTo>
                    <a:pt x="72" y="588"/>
                  </a:lnTo>
                  <a:lnTo>
                    <a:pt x="84" y="594"/>
                  </a:lnTo>
                  <a:lnTo>
                    <a:pt x="90" y="600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14" y="612"/>
                  </a:lnTo>
                  <a:lnTo>
                    <a:pt x="120" y="612"/>
                  </a:lnTo>
                  <a:lnTo>
                    <a:pt x="126" y="618"/>
                  </a:lnTo>
                  <a:lnTo>
                    <a:pt x="138" y="594"/>
                  </a:lnTo>
                  <a:lnTo>
                    <a:pt x="138" y="582"/>
                  </a:lnTo>
                  <a:lnTo>
                    <a:pt x="138" y="570"/>
                  </a:lnTo>
                  <a:lnTo>
                    <a:pt x="138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50" y="528"/>
                  </a:lnTo>
                  <a:lnTo>
                    <a:pt x="156" y="510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62"/>
                  </a:lnTo>
                  <a:lnTo>
                    <a:pt x="168" y="450"/>
                  </a:lnTo>
                  <a:lnTo>
                    <a:pt x="168" y="444"/>
                  </a:lnTo>
                  <a:lnTo>
                    <a:pt x="162" y="432"/>
                  </a:lnTo>
                  <a:lnTo>
                    <a:pt x="162" y="426"/>
                  </a:lnTo>
                  <a:lnTo>
                    <a:pt x="156" y="420"/>
                  </a:lnTo>
                  <a:lnTo>
                    <a:pt x="144" y="414"/>
                  </a:lnTo>
                  <a:lnTo>
                    <a:pt x="132" y="402"/>
                  </a:lnTo>
                  <a:lnTo>
                    <a:pt x="126" y="390"/>
                  </a:lnTo>
                  <a:lnTo>
                    <a:pt x="120" y="384"/>
                  </a:lnTo>
                  <a:lnTo>
                    <a:pt x="120" y="372"/>
                  </a:lnTo>
                  <a:lnTo>
                    <a:pt x="114" y="360"/>
                  </a:lnTo>
                  <a:lnTo>
                    <a:pt x="108" y="360"/>
                  </a:lnTo>
                  <a:lnTo>
                    <a:pt x="108" y="354"/>
                  </a:lnTo>
                  <a:lnTo>
                    <a:pt x="102" y="348"/>
                  </a:lnTo>
                  <a:lnTo>
                    <a:pt x="102" y="342"/>
                  </a:lnTo>
                  <a:lnTo>
                    <a:pt x="108" y="330"/>
                  </a:lnTo>
                  <a:lnTo>
                    <a:pt x="114" y="312"/>
                  </a:lnTo>
                  <a:lnTo>
                    <a:pt x="114" y="300"/>
                  </a:lnTo>
                  <a:lnTo>
                    <a:pt x="120" y="288"/>
                  </a:lnTo>
                  <a:lnTo>
                    <a:pt x="120" y="282"/>
                  </a:lnTo>
                  <a:lnTo>
                    <a:pt x="114" y="270"/>
                  </a:lnTo>
                  <a:lnTo>
                    <a:pt x="114" y="258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84" y="222"/>
                  </a:lnTo>
                  <a:lnTo>
                    <a:pt x="84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84" y="186"/>
                  </a:lnTo>
                  <a:lnTo>
                    <a:pt x="84" y="180"/>
                  </a:lnTo>
                  <a:lnTo>
                    <a:pt x="108" y="174"/>
                  </a:lnTo>
                  <a:lnTo>
                    <a:pt x="132" y="186"/>
                  </a:lnTo>
                  <a:lnTo>
                    <a:pt x="138" y="192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56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74" y="204"/>
                  </a:lnTo>
                  <a:lnTo>
                    <a:pt x="180" y="216"/>
                  </a:lnTo>
                  <a:lnTo>
                    <a:pt x="186" y="228"/>
                  </a:lnTo>
                  <a:lnTo>
                    <a:pt x="192" y="234"/>
                  </a:lnTo>
                  <a:lnTo>
                    <a:pt x="198" y="234"/>
                  </a:lnTo>
                  <a:lnTo>
                    <a:pt x="204" y="240"/>
                  </a:lnTo>
                  <a:lnTo>
                    <a:pt x="210" y="240"/>
                  </a:lnTo>
                  <a:lnTo>
                    <a:pt x="216" y="240"/>
                  </a:lnTo>
                  <a:lnTo>
                    <a:pt x="222" y="240"/>
                  </a:lnTo>
                  <a:lnTo>
                    <a:pt x="228" y="246"/>
                  </a:lnTo>
                  <a:lnTo>
                    <a:pt x="234" y="246"/>
                  </a:lnTo>
                  <a:lnTo>
                    <a:pt x="240" y="246"/>
                  </a:lnTo>
                  <a:lnTo>
                    <a:pt x="252" y="252"/>
                  </a:lnTo>
                  <a:lnTo>
                    <a:pt x="330" y="246"/>
                  </a:lnTo>
                  <a:lnTo>
                    <a:pt x="360" y="228"/>
                  </a:lnTo>
                  <a:lnTo>
                    <a:pt x="396" y="228"/>
                  </a:lnTo>
                  <a:lnTo>
                    <a:pt x="402" y="240"/>
                  </a:lnTo>
                  <a:lnTo>
                    <a:pt x="432" y="240"/>
                  </a:lnTo>
                  <a:lnTo>
                    <a:pt x="450" y="258"/>
                  </a:lnTo>
                  <a:lnTo>
                    <a:pt x="468" y="258"/>
                  </a:lnTo>
                  <a:lnTo>
                    <a:pt x="474" y="294"/>
                  </a:lnTo>
                  <a:lnTo>
                    <a:pt x="558" y="318"/>
                  </a:lnTo>
                  <a:lnTo>
                    <a:pt x="588" y="318"/>
                  </a:lnTo>
                  <a:lnTo>
                    <a:pt x="588" y="312"/>
                  </a:lnTo>
                  <a:lnTo>
                    <a:pt x="594" y="306"/>
                  </a:lnTo>
                  <a:lnTo>
                    <a:pt x="600" y="306"/>
                  </a:lnTo>
                  <a:lnTo>
                    <a:pt x="612" y="300"/>
                  </a:lnTo>
                  <a:lnTo>
                    <a:pt x="618" y="300"/>
                  </a:lnTo>
                  <a:lnTo>
                    <a:pt x="630" y="300"/>
                  </a:lnTo>
                  <a:lnTo>
                    <a:pt x="642" y="306"/>
                  </a:lnTo>
                  <a:lnTo>
                    <a:pt x="660" y="306"/>
                  </a:lnTo>
                  <a:lnTo>
                    <a:pt x="666" y="306"/>
                  </a:lnTo>
                  <a:lnTo>
                    <a:pt x="672" y="306"/>
                  </a:lnTo>
                  <a:lnTo>
                    <a:pt x="684" y="300"/>
                  </a:lnTo>
                  <a:lnTo>
                    <a:pt x="696" y="294"/>
                  </a:lnTo>
                  <a:lnTo>
                    <a:pt x="702" y="288"/>
                  </a:lnTo>
                  <a:lnTo>
                    <a:pt x="714" y="282"/>
                  </a:lnTo>
                  <a:lnTo>
                    <a:pt x="714" y="288"/>
                  </a:lnTo>
                  <a:lnTo>
                    <a:pt x="726" y="300"/>
                  </a:lnTo>
                  <a:lnTo>
                    <a:pt x="732" y="306"/>
                  </a:lnTo>
                  <a:lnTo>
                    <a:pt x="732" y="318"/>
                  </a:lnTo>
                  <a:lnTo>
                    <a:pt x="732" y="330"/>
                  </a:lnTo>
                  <a:lnTo>
                    <a:pt x="726" y="342"/>
                  </a:lnTo>
                  <a:lnTo>
                    <a:pt x="720" y="354"/>
                  </a:lnTo>
                  <a:lnTo>
                    <a:pt x="720" y="360"/>
                  </a:lnTo>
                  <a:lnTo>
                    <a:pt x="714" y="372"/>
                  </a:lnTo>
                  <a:lnTo>
                    <a:pt x="714" y="378"/>
                  </a:lnTo>
                  <a:lnTo>
                    <a:pt x="714" y="408"/>
                  </a:lnTo>
                  <a:lnTo>
                    <a:pt x="708" y="420"/>
                  </a:lnTo>
                  <a:lnTo>
                    <a:pt x="714" y="432"/>
                  </a:lnTo>
                  <a:lnTo>
                    <a:pt x="708" y="450"/>
                  </a:lnTo>
                  <a:lnTo>
                    <a:pt x="708" y="468"/>
                  </a:lnTo>
                  <a:lnTo>
                    <a:pt x="696" y="480"/>
                  </a:lnTo>
                  <a:lnTo>
                    <a:pt x="684" y="486"/>
                  </a:lnTo>
                  <a:lnTo>
                    <a:pt x="672" y="492"/>
                  </a:lnTo>
                  <a:lnTo>
                    <a:pt x="660" y="498"/>
                  </a:lnTo>
                  <a:lnTo>
                    <a:pt x="654" y="510"/>
                  </a:lnTo>
                  <a:lnTo>
                    <a:pt x="648" y="516"/>
                  </a:lnTo>
                  <a:lnTo>
                    <a:pt x="642" y="522"/>
                  </a:lnTo>
                  <a:lnTo>
                    <a:pt x="630" y="522"/>
                  </a:lnTo>
                  <a:lnTo>
                    <a:pt x="624" y="528"/>
                  </a:lnTo>
                  <a:lnTo>
                    <a:pt x="618" y="540"/>
                  </a:lnTo>
                  <a:lnTo>
                    <a:pt x="618" y="558"/>
                  </a:lnTo>
                  <a:lnTo>
                    <a:pt x="612" y="576"/>
                  </a:lnTo>
                  <a:lnTo>
                    <a:pt x="612" y="684"/>
                  </a:lnTo>
                  <a:lnTo>
                    <a:pt x="618" y="696"/>
                  </a:lnTo>
                  <a:lnTo>
                    <a:pt x="636" y="696"/>
                  </a:lnTo>
                  <a:lnTo>
                    <a:pt x="636" y="720"/>
                  </a:lnTo>
                  <a:lnTo>
                    <a:pt x="636" y="732"/>
                  </a:lnTo>
                  <a:lnTo>
                    <a:pt x="618" y="750"/>
                  </a:lnTo>
                  <a:lnTo>
                    <a:pt x="606" y="762"/>
                  </a:lnTo>
                  <a:lnTo>
                    <a:pt x="600" y="774"/>
                  </a:lnTo>
                  <a:lnTo>
                    <a:pt x="594" y="798"/>
                  </a:lnTo>
                  <a:lnTo>
                    <a:pt x="606" y="798"/>
                  </a:lnTo>
                  <a:lnTo>
                    <a:pt x="660" y="792"/>
                  </a:lnTo>
                  <a:lnTo>
                    <a:pt x="696" y="798"/>
                  </a:lnTo>
                  <a:lnTo>
                    <a:pt x="720" y="798"/>
                  </a:lnTo>
                  <a:lnTo>
                    <a:pt x="720" y="786"/>
                  </a:lnTo>
                  <a:lnTo>
                    <a:pt x="720" y="774"/>
                  </a:lnTo>
                  <a:lnTo>
                    <a:pt x="702" y="762"/>
                  </a:lnTo>
                  <a:lnTo>
                    <a:pt x="702" y="750"/>
                  </a:lnTo>
                  <a:lnTo>
                    <a:pt x="702" y="726"/>
                  </a:lnTo>
                  <a:lnTo>
                    <a:pt x="714" y="714"/>
                  </a:lnTo>
                  <a:lnTo>
                    <a:pt x="720" y="702"/>
                  </a:lnTo>
                  <a:lnTo>
                    <a:pt x="720" y="696"/>
                  </a:lnTo>
                  <a:lnTo>
                    <a:pt x="744" y="690"/>
                  </a:lnTo>
                  <a:lnTo>
                    <a:pt x="744" y="696"/>
                  </a:lnTo>
                  <a:lnTo>
                    <a:pt x="756" y="696"/>
                  </a:lnTo>
                  <a:lnTo>
                    <a:pt x="762" y="690"/>
                  </a:lnTo>
                  <a:lnTo>
                    <a:pt x="768" y="690"/>
                  </a:lnTo>
                  <a:lnTo>
                    <a:pt x="774" y="696"/>
                  </a:lnTo>
                  <a:lnTo>
                    <a:pt x="780" y="696"/>
                  </a:lnTo>
                  <a:lnTo>
                    <a:pt x="786" y="696"/>
                  </a:lnTo>
                  <a:lnTo>
                    <a:pt x="804" y="684"/>
                  </a:lnTo>
                  <a:lnTo>
                    <a:pt x="810" y="684"/>
                  </a:lnTo>
                  <a:lnTo>
                    <a:pt x="810" y="654"/>
                  </a:lnTo>
                  <a:lnTo>
                    <a:pt x="816" y="588"/>
                  </a:lnTo>
                  <a:lnTo>
                    <a:pt x="804" y="582"/>
                  </a:lnTo>
                  <a:lnTo>
                    <a:pt x="798" y="552"/>
                  </a:lnTo>
                  <a:lnTo>
                    <a:pt x="798" y="480"/>
                  </a:lnTo>
                  <a:lnTo>
                    <a:pt x="780" y="468"/>
                  </a:lnTo>
                  <a:lnTo>
                    <a:pt x="780" y="462"/>
                  </a:lnTo>
                  <a:lnTo>
                    <a:pt x="774" y="450"/>
                  </a:lnTo>
                  <a:lnTo>
                    <a:pt x="762" y="444"/>
                  </a:lnTo>
                  <a:lnTo>
                    <a:pt x="762" y="438"/>
                  </a:lnTo>
                  <a:lnTo>
                    <a:pt x="768" y="432"/>
                  </a:lnTo>
                  <a:lnTo>
                    <a:pt x="774" y="426"/>
                  </a:lnTo>
                  <a:lnTo>
                    <a:pt x="780" y="426"/>
                  </a:lnTo>
                  <a:lnTo>
                    <a:pt x="780" y="414"/>
                  </a:lnTo>
                  <a:lnTo>
                    <a:pt x="834" y="414"/>
                  </a:lnTo>
                  <a:lnTo>
                    <a:pt x="834" y="426"/>
                  </a:lnTo>
                  <a:lnTo>
                    <a:pt x="840" y="432"/>
                  </a:lnTo>
                  <a:lnTo>
                    <a:pt x="846" y="432"/>
                  </a:lnTo>
                  <a:lnTo>
                    <a:pt x="852" y="432"/>
                  </a:lnTo>
                  <a:lnTo>
                    <a:pt x="858" y="432"/>
                  </a:lnTo>
                  <a:lnTo>
                    <a:pt x="870" y="432"/>
                  </a:lnTo>
                  <a:lnTo>
                    <a:pt x="870" y="426"/>
                  </a:lnTo>
                  <a:lnTo>
                    <a:pt x="870" y="420"/>
                  </a:lnTo>
                  <a:lnTo>
                    <a:pt x="876" y="420"/>
                  </a:lnTo>
                  <a:lnTo>
                    <a:pt x="882" y="420"/>
                  </a:lnTo>
                  <a:lnTo>
                    <a:pt x="894" y="414"/>
                  </a:lnTo>
                  <a:lnTo>
                    <a:pt x="900" y="414"/>
                  </a:lnTo>
                  <a:lnTo>
                    <a:pt x="906" y="408"/>
                  </a:lnTo>
                  <a:lnTo>
                    <a:pt x="918" y="408"/>
                  </a:lnTo>
                  <a:lnTo>
                    <a:pt x="924" y="402"/>
                  </a:lnTo>
                  <a:lnTo>
                    <a:pt x="930" y="384"/>
                  </a:lnTo>
                  <a:lnTo>
                    <a:pt x="948" y="396"/>
                  </a:lnTo>
                  <a:lnTo>
                    <a:pt x="954" y="384"/>
                  </a:lnTo>
                  <a:lnTo>
                    <a:pt x="960" y="384"/>
                  </a:lnTo>
                  <a:lnTo>
                    <a:pt x="972" y="384"/>
                  </a:lnTo>
                  <a:lnTo>
                    <a:pt x="978" y="378"/>
                  </a:lnTo>
                  <a:lnTo>
                    <a:pt x="972" y="366"/>
                  </a:lnTo>
                  <a:lnTo>
                    <a:pt x="966" y="342"/>
                  </a:lnTo>
                  <a:lnTo>
                    <a:pt x="960" y="330"/>
                  </a:lnTo>
                  <a:lnTo>
                    <a:pt x="942" y="324"/>
                  </a:lnTo>
                  <a:lnTo>
                    <a:pt x="936" y="318"/>
                  </a:lnTo>
                  <a:lnTo>
                    <a:pt x="936" y="294"/>
                  </a:lnTo>
                  <a:lnTo>
                    <a:pt x="942" y="294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282"/>
                  </a:lnTo>
                  <a:lnTo>
                    <a:pt x="954" y="276"/>
                  </a:lnTo>
                  <a:lnTo>
                    <a:pt x="960" y="276"/>
                  </a:lnTo>
                  <a:lnTo>
                    <a:pt x="966" y="276"/>
                  </a:lnTo>
                  <a:lnTo>
                    <a:pt x="960" y="258"/>
                  </a:lnTo>
                  <a:lnTo>
                    <a:pt x="954" y="240"/>
                  </a:lnTo>
                  <a:lnTo>
                    <a:pt x="948" y="204"/>
                  </a:lnTo>
                  <a:lnTo>
                    <a:pt x="954" y="204"/>
                  </a:lnTo>
                  <a:lnTo>
                    <a:pt x="960" y="198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00" y="186"/>
                  </a:lnTo>
                  <a:lnTo>
                    <a:pt x="876" y="180"/>
                  </a:lnTo>
                  <a:lnTo>
                    <a:pt x="858" y="180"/>
                  </a:lnTo>
                  <a:lnTo>
                    <a:pt x="852" y="168"/>
                  </a:lnTo>
                  <a:lnTo>
                    <a:pt x="834" y="156"/>
                  </a:lnTo>
                  <a:lnTo>
                    <a:pt x="822" y="156"/>
                  </a:lnTo>
                  <a:lnTo>
                    <a:pt x="804" y="156"/>
                  </a:lnTo>
                  <a:lnTo>
                    <a:pt x="804" y="150"/>
                  </a:lnTo>
                  <a:lnTo>
                    <a:pt x="792" y="144"/>
                  </a:lnTo>
                  <a:lnTo>
                    <a:pt x="762" y="138"/>
                  </a:lnTo>
                  <a:lnTo>
                    <a:pt x="768" y="120"/>
                  </a:lnTo>
                  <a:lnTo>
                    <a:pt x="756" y="120"/>
                  </a:lnTo>
                  <a:lnTo>
                    <a:pt x="744" y="108"/>
                  </a:lnTo>
                  <a:lnTo>
                    <a:pt x="744" y="96"/>
                  </a:lnTo>
                  <a:lnTo>
                    <a:pt x="762" y="84"/>
                  </a:lnTo>
                  <a:lnTo>
                    <a:pt x="768" y="84"/>
                  </a:lnTo>
                  <a:lnTo>
                    <a:pt x="768" y="72"/>
                  </a:lnTo>
                  <a:lnTo>
                    <a:pt x="780" y="66"/>
                  </a:lnTo>
                  <a:lnTo>
                    <a:pt x="798" y="54"/>
                  </a:lnTo>
                  <a:lnTo>
                    <a:pt x="792" y="54"/>
                  </a:lnTo>
                  <a:lnTo>
                    <a:pt x="798" y="36"/>
                  </a:lnTo>
                  <a:lnTo>
                    <a:pt x="804" y="36"/>
                  </a:lnTo>
                  <a:lnTo>
                    <a:pt x="816" y="30"/>
                  </a:lnTo>
                  <a:lnTo>
                    <a:pt x="828" y="30"/>
                  </a:lnTo>
                  <a:lnTo>
                    <a:pt x="846" y="12"/>
                  </a:lnTo>
                  <a:lnTo>
                    <a:pt x="876" y="0"/>
                  </a:lnTo>
                  <a:lnTo>
                    <a:pt x="882" y="6"/>
                  </a:lnTo>
                  <a:lnTo>
                    <a:pt x="900" y="6"/>
                  </a:lnTo>
                  <a:lnTo>
                    <a:pt x="912" y="36"/>
                  </a:lnTo>
                  <a:lnTo>
                    <a:pt x="918" y="42"/>
                  </a:lnTo>
                  <a:lnTo>
                    <a:pt x="924" y="54"/>
                  </a:lnTo>
                  <a:lnTo>
                    <a:pt x="930" y="54"/>
                  </a:lnTo>
                  <a:lnTo>
                    <a:pt x="930" y="78"/>
                  </a:lnTo>
                  <a:lnTo>
                    <a:pt x="954" y="72"/>
                  </a:lnTo>
                  <a:lnTo>
                    <a:pt x="954" y="60"/>
                  </a:lnTo>
                  <a:lnTo>
                    <a:pt x="966" y="66"/>
                  </a:lnTo>
                  <a:lnTo>
                    <a:pt x="966" y="78"/>
                  </a:lnTo>
                  <a:lnTo>
                    <a:pt x="960" y="84"/>
                  </a:lnTo>
                  <a:lnTo>
                    <a:pt x="954" y="102"/>
                  </a:lnTo>
                  <a:lnTo>
                    <a:pt x="972" y="102"/>
                  </a:lnTo>
                  <a:lnTo>
                    <a:pt x="978" y="84"/>
                  </a:lnTo>
                  <a:lnTo>
                    <a:pt x="984" y="72"/>
                  </a:lnTo>
                  <a:lnTo>
                    <a:pt x="990" y="72"/>
                  </a:lnTo>
                  <a:lnTo>
                    <a:pt x="996" y="18"/>
                  </a:lnTo>
                  <a:lnTo>
                    <a:pt x="990" y="12"/>
                  </a:lnTo>
                  <a:lnTo>
                    <a:pt x="1014" y="12"/>
                  </a:lnTo>
                  <a:lnTo>
                    <a:pt x="1026" y="12"/>
                  </a:lnTo>
                  <a:lnTo>
                    <a:pt x="1026" y="24"/>
                  </a:lnTo>
                  <a:lnTo>
                    <a:pt x="1050" y="24"/>
                  </a:lnTo>
                  <a:lnTo>
                    <a:pt x="1050" y="36"/>
                  </a:lnTo>
                  <a:lnTo>
                    <a:pt x="1062" y="66"/>
                  </a:lnTo>
                  <a:lnTo>
                    <a:pt x="1074" y="66"/>
                  </a:lnTo>
                  <a:lnTo>
                    <a:pt x="1080" y="60"/>
                  </a:lnTo>
                  <a:lnTo>
                    <a:pt x="1074" y="24"/>
                  </a:lnTo>
                  <a:lnTo>
                    <a:pt x="1086" y="18"/>
                  </a:lnTo>
                  <a:lnTo>
                    <a:pt x="1086" y="12"/>
                  </a:lnTo>
                  <a:lnTo>
                    <a:pt x="1104" y="6"/>
                  </a:lnTo>
                  <a:lnTo>
                    <a:pt x="1122" y="0"/>
                  </a:lnTo>
                  <a:lnTo>
                    <a:pt x="1134" y="6"/>
                  </a:lnTo>
                  <a:lnTo>
                    <a:pt x="1134" y="42"/>
                  </a:lnTo>
                  <a:lnTo>
                    <a:pt x="1140" y="72"/>
                  </a:lnTo>
                  <a:lnTo>
                    <a:pt x="1158" y="114"/>
                  </a:lnTo>
                  <a:lnTo>
                    <a:pt x="1170" y="114"/>
                  </a:lnTo>
                  <a:lnTo>
                    <a:pt x="1170" y="126"/>
                  </a:lnTo>
                  <a:lnTo>
                    <a:pt x="1182" y="126"/>
                  </a:lnTo>
                  <a:lnTo>
                    <a:pt x="1182" y="138"/>
                  </a:lnTo>
                  <a:lnTo>
                    <a:pt x="1194" y="144"/>
                  </a:lnTo>
                  <a:lnTo>
                    <a:pt x="1194" y="156"/>
                  </a:lnTo>
                  <a:lnTo>
                    <a:pt x="1188" y="156"/>
                  </a:lnTo>
                  <a:lnTo>
                    <a:pt x="1194" y="162"/>
                  </a:lnTo>
                  <a:lnTo>
                    <a:pt x="1194" y="168"/>
                  </a:lnTo>
                  <a:lnTo>
                    <a:pt x="1188" y="168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82" y="180"/>
                  </a:lnTo>
                  <a:lnTo>
                    <a:pt x="1188" y="186"/>
                  </a:lnTo>
                  <a:lnTo>
                    <a:pt x="1188" y="192"/>
                  </a:lnTo>
                  <a:lnTo>
                    <a:pt x="1182" y="198"/>
                  </a:lnTo>
                  <a:lnTo>
                    <a:pt x="1182" y="204"/>
                  </a:lnTo>
                  <a:lnTo>
                    <a:pt x="1182" y="210"/>
                  </a:lnTo>
                  <a:lnTo>
                    <a:pt x="1188" y="210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2"/>
                  </a:lnTo>
                  <a:lnTo>
                    <a:pt x="1194" y="264"/>
                  </a:lnTo>
                  <a:lnTo>
                    <a:pt x="1200" y="264"/>
                  </a:lnTo>
                  <a:lnTo>
                    <a:pt x="1212" y="264"/>
                  </a:lnTo>
                  <a:lnTo>
                    <a:pt x="1212" y="258"/>
                  </a:lnTo>
                  <a:lnTo>
                    <a:pt x="1224" y="258"/>
                  </a:lnTo>
                  <a:lnTo>
                    <a:pt x="1248" y="252"/>
                  </a:lnTo>
                  <a:lnTo>
                    <a:pt x="1248" y="264"/>
                  </a:lnTo>
                  <a:lnTo>
                    <a:pt x="1254" y="264"/>
                  </a:lnTo>
                  <a:lnTo>
                    <a:pt x="1254" y="270"/>
                  </a:lnTo>
                  <a:lnTo>
                    <a:pt x="1260" y="270"/>
                  </a:lnTo>
                  <a:lnTo>
                    <a:pt x="1266" y="270"/>
                  </a:lnTo>
                  <a:lnTo>
                    <a:pt x="1272" y="270"/>
                  </a:lnTo>
                  <a:lnTo>
                    <a:pt x="1272" y="264"/>
                  </a:lnTo>
                  <a:lnTo>
                    <a:pt x="1272" y="258"/>
                  </a:lnTo>
                  <a:lnTo>
                    <a:pt x="1278" y="258"/>
                  </a:lnTo>
                  <a:lnTo>
                    <a:pt x="1278" y="252"/>
                  </a:lnTo>
                  <a:lnTo>
                    <a:pt x="1290" y="252"/>
                  </a:lnTo>
                  <a:lnTo>
                    <a:pt x="1296" y="246"/>
                  </a:lnTo>
                  <a:lnTo>
                    <a:pt x="1308" y="246"/>
                  </a:lnTo>
                  <a:lnTo>
                    <a:pt x="1308" y="240"/>
                  </a:lnTo>
                  <a:lnTo>
                    <a:pt x="1320" y="240"/>
                  </a:lnTo>
                  <a:lnTo>
                    <a:pt x="1326" y="246"/>
                  </a:lnTo>
                  <a:lnTo>
                    <a:pt x="1338" y="246"/>
                  </a:lnTo>
                  <a:lnTo>
                    <a:pt x="1338" y="240"/>
                  </a:lnTo>
                  <a:lnTo>
                    <a:pt x="1350" y="240"/>
                  </a:lnTo>
                  <a:lnTo>
                    <a:pt x="1386" y="234"/>
                  </a:lnTo>
                  <a:lnTo>
                    <a:pt x="1398" y="228"/>
                  </a:lnTo>
                  <a:lnTo>
                    <a:pt x="1404" y="216"/>
                  </a:lnTo>
                  <a:lnTo>
                    <a:pt x="1416" y="204"/>
                  </a:lnTo>
                  <a:lnTo>
                    <a:pt x="1434" y="192"/>
                  </a:lnTo>
                  <a:lnTo>
                    <a:pt x="1446" y="198"/>
                  </a:lnTo>
                  <a:lnTo>
                    <a:pt x="1446" y="204"/>
                  </a:lnTo>
                  <a:lnTo>
                    <a:pt x="1452" y="210"/>
                  </a:lnTo>
                  <a:lnTo>
                    <a:pt x="1464" y="222"/>
                  </a:lnTo>
                  <a:lnTo>
                    <a:pt x="1464" y="228"/>
                  </a:lnTo>
                  <a:lnTo>
                    <a:pt x="1464" y="234"/>
                  </a:lnTo>
                  <a:lnTo>
                    <a:pt x="1470" y="240"/>
                  </a:lnTo>
                  <a:lnTo>
                    <a:pt x="1476" y="228"/>
                  </a:lnTo>
                  <a:lnTo>
                    <a:pt x="1476" y="222"/>
                  </a:lnTo>
                  <a:lnTo>
                    <a:pt x="1482" y="210"/>
                  </a:lnTo>
                  <a:lnTo>
                    <a:pt x="1488" y="192"/>
                  </a:lnTo>
                  <a:lnTo>
                    <a:pt x="1488" y="186"/>
                  </a:lnTo>
                  <a:lnTo>
                    <a:pt x="1488" y="180"/>
                  </a:lnTo>
                  <a:lnTo>
                    <a:pt x="1500" y="180"/>
                  </a:lnTo>
                  <a:lnTo>
                    <a:pt x="1500" y="174"/>
                  </a:lnTo>
                  <a:lnTo>
                    <a:pt x="1518" y="162"/>
                  </a:lnTo>
                  <a:lnTo>
                    <a:pt x="1536" y="150"/>
                  </a:lnTo>
                  <a:lnTo>
                    <a:pt x="1554" y="168"/>
                  </a:lnTo>
                  <a:lnTo>
                    <a:pt x="1572" y="180"/>
                  </a:lnTo>
                  <a:lnTo>
                    <a:pt x="1596" y="216"/>
                  </a:lnTo>
                  <a:lnTo>
                    <a:pt x="1602" y="216"/>
                  </a:lnTo>
                  <a:lnTo>
                    <a:pt x="1614" y="228"/>
                  </a:lnTo>
                  <a:lnTo>
                    <a:pt x="1614" y="234"/>
                  </a:lnTo>
                  <a:lnTo>
                    <a:pt x="1620" y="240"/>
                  </a:lnTo>
                  <a:lnTo>
                    <a:pt x="1620" y="246"/>
                  </a:lnTo>
                  <a:lnTo>
                    <a:pt x="1626" y="252"/>
                  </a:lnTo>
                  <a:lnTo>
                    <a:pt x="1632" y="258"/>
                  </a:lnTo>
                  <a:lnTo>
                    <a:pt x="1632" y="264"/>
                  </a:lnTo>
                  <a:lnTo>
                    <a:pt x="1638" y="264"/>
                  </a:lnTo>
                  <a:lnTo>
                    <a:pt x="1638" y="270"/>
                  </a:lnTo>
                  <a:lnTo>
                    <a:pt x="1638" y="276"/>
                  </a:lnTo>
                  <a:lnTo>
                    <a:pt x="1638" y="282"/>
                  </a:lnTo>
                  <a:lnTo>
                    <a:pt x="1644" y="288"/>
                  </a:lnTo>
                  <a:lnTo>
                    <a:pt x="1644" y="294"/>
                  </a:lnTo>
                  <a:lnTo>
                    <a:pt x="1644" y="300"/>
                  </a:lnTo>
                  <a:lnTo>
                    <a:pt x="1644" y="306"/>
                  </a:lnTo>
                  <a:lnTo>
                    <a:pt x="1650" y="306"/>
                  </a:lnTo>
                  <a:lnTo>
                    <a:pt x="1650" y="312"/>
                  </a:lnTo>
                  <a:lnTo>
                    <a:pt x="1650" y="318"/>
                  </a:lnTo>
                  <a:lnTo>
                    <a:pt x="1650" y="324"/>
                  </a:lnTo>
                  <a:lnTo>
                    <a:pt x="1644" y="330"/>
                  </a:lnTo>
                  <a:lnTo>
                    <a:pt x="1626" y="330"/>
                  </a:lnTo>
                  <a:lnTo>
                    <a:pt x="1626" y="336"/>
                  </a:lnTo>
                  <a:lnTo>
                    <a:pt x="1626" y="342"/>
                  </a:lnTo>
                  <a:lnTo>
                    <a:pt x="1626" y="348"/>
                  </a:lnTo>
                  <a:lnTo>
                    <a:pt x="1620" y="354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14" y="390"/>
                  </a:lnTo>
                  <a:lnTo>
                    <a:pt x="1614" y="396"/>
                  </a:lnTo>
                  <a:lnTo>
                    <a:pt x="1614" y="402"/>
                  </a:lnTo>
                  <a:lnTo>
                    <a:pt x="1614" y="408"/>
                  </a:lnTo>
                  <a:lnTo>
                    <a:pt x="1614" y="414"/>
                  </a:lnTo>
                  <a:lnTo>
                    <a:pt x="1602" y="420"/>
                  </a:lnTo>
                  <a:lnTo>
                    <a:pt x="1602" y="426"/>
                  </a:lnTo>
                  <a:lnTo>
                    <a:pt x="1608" y="432"/>
                  </a:lnTo>
                  <a:lnTo>
                    <a:pt x="1614" y="426"/>
                  </a:lnTo>
                  <a:lnTo>
                    <a:pt x="1620" y="438"/>
                  </a:lnTo>
                  <a:lnTo>
                    <a:pt x="1626" y="438"/>
                  </a:lnTo>
                  <a:lnTo>
                    <a:pt x="1632" y="444"/>
                  </a:lnTo>
                  <a:lnTo>
                    <a:pt x="1626" y="456"/>
                  </a:lnTo>
                  <a:lnTo>
                    <a:pt x="1626" y="468"/>
                  </a:lnTo>
                  <a:lnTo>
                    <a:pt x="1620" y="474"/>
                  </a:lnTo>
                  <a:lnTo>
                    <a:pt x="1614" y="474"/>
                  </a:lnTo>
                  <a:lnTo>
                    <a:pt x="1614" y="486"/>
                  </a:lnTo>
                  <a:lnTo>
                    <a:pt x="1614" y="492"/>
                  </a:lnTo>
                  <a:lnTo>
                    <a:pt x="1620" y="492"/>
                  </a:lnTo>
                  <a:lnTo>
                    <a:pt x="1626" y="498"/>
                  </a:lnTo>
                  <a:lnTo>
                    <a:pt x="1626" y="504"/>
                  </a:lnTo>
                  <a:lnTo>
                    <a:pt x="1626" y="510"/>
                  </a:lnTo>
                  <a:lnTo>
                    <a:pt x="1620" y="516"/>
                  </a:lnTo>
                  <a:lnTo>
                    <a:pt x="1620" y="522"/>
                  </a:lnTo>
                  <a:lnTo>
                    <a:pt x="1614" y="522"/>
                  </a:lnTo>
                  <a:lnTo>
                    <a:pt x="1608" y="528"/>
                  </a:lnTo>
                  <a:lnTo>
                    <a:pt x="1602" y="522"/>
                  </a:lnTo>
                  <a:lnTo>
                    <a:pt x="1602" y="528"/>
                  </a:lnTo>
                  <a:lnTo>
                    <a:pt x="1602" y="540"/>
                  </a:lnTo>
                  <a:lnTo>
                    <a:pt x="1602" y="558"/>
                  </a:lnTo>
                  <a:lnTo>
                    <a:pt x="1602" y="564"/>
                  </a:lnTo>
                  <a:lnTo>
                    <a:pt x="1602" y="570"/>
                  </a:lnTo>
                  <a:lnTo>
                    <a:pt x="1602" y="576"/>
                  </a:lnTo>
                  <a:lnTo>
                    <a:pt x="1596" y="576"/>
                  </a:lnTo>
                  <a:lnTo>
                    <a:pt x="1632" y="582"/>
                  </a:lnTo>
                  <a:lnTo>
                    <a:pt x="1644" y="618"/>
                  </a:lnTo>
                  <a:lnTo>
                    <a:pt x="1650" y="648"/>
                  </a:lnTo>
                  <a:lnTo>
                    <a:pt x="1662" y="636"/>
                  </a:lnTo>
                  <a:lnTo>
                    <a:pt x="1668" y="636"/>
                  </a:lnTo>
                  <a:lnTo>
                    <a:pt x="1674" y="636"/>
                  </a:lnTo>
                  <a:lnTo>
                    <a:pt x="1680" y="630"/>
                  </a:lnTo>
                  <a:lnTo>
                    <a:pt x="1686" y="630"/>
                  </a:lnTo>
                  <a:lnTo>
                    <a:pt x="1692" y="630"/>
                  </a:lnTo>
                  <a:lnTo>
                    <a:pt x="1698" y="630"/>
                  </a:lnTo>
                  <a:lnTo>
                    <a:pt x="1704" y="630"/>
                  </a:lnTo>
                  <a:lnTo>
                    <a:pt x="1704" y="624"/>
                  </a:lnTo>
                  <a:lnTo>
                    <a:pt x="1710" y="624"/>
                  </a:lnTo>
                  <a:lnTo>
                    <a:pt x="1716" y="624"/>
                  </a:lnTo>
                  <a:lnTo>
                    <a:pt x="1722" y="624"/>
                  </a:lnTo>
                  <a:lnTo>
                    <a:pt x="1728" y="624"/>
                  </a:lnTo>
                  <a:lnTo>
                    <a:pt x="1722" y="618"/>
                  </a:lnTo>
                  <a:lnTo>
                    <a:pt x="1728" y="606"/>
                  </a:lnTo>
                  <a:lnTo>
                    <a:pt x="1734" y="606"/>
                  </a:lnTo>
                  <a:lnTo>
                    <a:pt x="1740" y="600"/>
                  </a:lnTo>
                  <a:lnTo>
                    <a:pt x="1746" y="594"/>
                  </a:lnTo>
                  <a:lnTo>
                    <a:pt x="1752" y="588"/>
                  </a:lnTo>
                  <a:lnTo>
                    <a:pt x="1752" y="582"/>
                  </a:lnTo>
                  <a:lnTo>
                    <a:pt x="1758" y="576"/>
                  </a:lnTo>
                  <a:lnTo>
                    <a:pt x="1764" y="576"/>
                  </a:lnTo>
                  <a:lnTo>
                    <a:pt x="1770" y="570"/>
                  </a:lnTo>
                  <a:lnTo>
                    <a:pt x="1776" y="564"/>
                  </a:lnTo>
                  <a:lnTo>
                    <a:pt x="1788" y="558"/>
                  </a:lnTo>
                  <a:lnTo>
                    <a:pt x="1788" y="546"/>
                  </a:lnTo>
                  <a:lnTo>
                    <a:pt x="1788" y="540"/>
                  </a:lnTo>
                  <a:lnTo>
                    <a:pt x="1794" y="540"/>
                  </a:lnTo>
                  <a:lnTo>
                    <a:pt x="1788" y="534"/>
                  </a:lnTo>
                  <a:lnTo>
                    <a:pt x="1788" y="528"/>
                  </a:lnTo>
                  <a:lnTo>
                    <a:pt x="1794" y="516"/>
                  </a:lnTo>
                  <a:lnTo>
                    <a:pt x="1800" y="510"/>
                  </a:lnTo>
                  <a:lnTo>
                    <a:pt x="1812" y="510"/>
                  </a:lnTo>
                  <a:lnTo>
                    <a:pt x="1818" y="504"/>
                  </a:lnTo>
                  <a:lnTo>
                    <a:pt x="1824" y="504"/>
                  </a:lnTo>
                  <a:lnTo>
                    <a:pt x="1830" y="498"/>
                  </a:lnTo>
                  <a:lnTo>
                    <a:pt x="1836" y="498"/>
                  </a:lnTo>
                  <a:lnTo>
                    <a:pt x="1848" y="492"/>
                  </a:lnTo>
                  <a:lnTo>
                    <a:pt x="1848" y="480"/>
                  </a:lnTo>
                  <a:lnTo>
                    <a:pt x="1854" y="480"/>
                  </a:lnTo>
                  <a:lnTo>
                    <a:pt x="1890" y="504"/>
                  </a:lnTo>
                  <a:lnTo>
                    <a:pt x="1908" y="534"/>
                  </a:lnTo>
                  <a:lnTo>
                    <a:pt x="1902" y="534"/>
                  </a:lnTo>
                  <a:lnTo>
                    <a:pt x="1920" y="528"/>
                  </a:lnTo>
                  <a:lnTo>
                    <a:pt x="1920" y="516"/>
                  </a:lnTo>
                  <a:lnTo>
                    <a:pt x="1944" y="516"/>
                  </a:lnTo>
                  <a:lnTo>
                    <a:pt x="2004" y="516"/>
                  </a:lnTo>
                  <a:lnTo>
                    <a:pt x="2010" y="510"/>
                  </a:lnTo>
                  <a:lnTo>
                    <a:pt x="2004" y="510"/>
                  </a:lnTo>
                  <a:lnTo>
                    <a:pt x="2010" y="498"/>
                  </a:lnTo>
                  <a:lnTo>
                    <a:pt x="2004" y="486"/>
                  </a:lnTo>
                  <a:lnTo>
                    <a:pt x="2004" y="480"/>
                  </a:lnTo>
                  <a:lnTo>
                    <a:pt x="2004" y="474"/>
                  </a:lnTo>
                  <a:lnTo>
                    <a:pt x="2004" y="462"/>
                  </a:lnTo>
                  <a:lnTo>
                    <a:pt x="2004" y="456"/>
                  </a:lnTo>
                  <a:lnTo>
                    <a:pt x="2058" y="462"/>
                  </a:lnTo>
                  <a:lnTo>
                    <a:pt x="2076" y="474"/>
                  </a:lnTo>
                  <a:lnTo>
                    <a:pt x="2082" y="522"/>
                  </a:lnTo>
                  <a:lnTo>
                    <a:pt x="2088" y="516"/>
                  </a:lnTo>
                  <a:lnTo>
                    <a:pt x="2094" y="522"/>
                  </a:lnTo>
                  <a:lnTo>
                    <a:pt x="2100" y="528"/>
                  </a:lnTo>
                  <a:lnTo>
                    <a:pt x="2130" y="540"/>
                  </a:lnTo>
                  <a:lnTo>
                    <a:pt x="2160" y="564"/>
                  </a:lnTo>
                  <a:lnTo>
                    <a:pt x="2166" y="600"/>
                  </a:lnTo>
                  <a:lnTo>
                    <a:pt x="2160" y="618"/>
                  </a:lnTo>
                  <a:lnTo>
                    <a:pt x="2142" y="636"/>
                  </a:lnTo>
                  <a:lnTo>
                    <a:pt x="2148" y="648"/>
                  </a:lnTo>
                  <a:lnTo>
                    <a:pt x="2154" y="660"/>
                  </a:lnTo>
                  <a:lnTo>
                    <a:pt x="2196" y="654"/>
                  </a:lnTo>
                  <a:lnTo>
                    <a:pt x="2214" y="660"/>
                  </a:lnTo>
                  <a:lnTo>
                    <a:pt x="2214" y="666"/>
                  </a:lnTo>
                  <a:lnTo>
                    <a:pt x="2220" y="672"/>
                  </a:lnTo>
                  <a:lnTo>
                    <a:pt x="2214" y="678"/>
                  </a:lnTo>
                  <a:lnTo>
                    <a:pt x="2214" y="684"/>
                  </a:lnTo>
                  <a:lnTo>
                    <a:pt x="2214" y="690"/>
                  </a:lnTo>
                  <a:lnTo>
                    <a:pt x="2208" y="690"/>
                  </a:lnTo>
                  <a:lnTo>
                    <a:pt x="2202" y="696"/>
                  </a:lnTo>
                  <a:lnTo>
                    <a:pt x="2196" y="702"/>
                  </a:lnTo>
                  <a:lnTo>
                    <a:pt x="2190" y="708"/>
                  </a:lnTo>
                  <a:lnTo>
                    <a:pt x="2190" y="720"/>
                  </a:lnTo>
                  <a:lnTo>
                    <a:pt x="2184" y="720"/>
                  </a:lnTo>
                  <a:lnTo>
                    <a:pt x="2178" y="726"/>
                  </a:lnTo>
                  <a:lnTo>
                    <a:pt x="2166" y="732"/>
                  </a:lnTo>
                  <a:lnTo>
                    <a:pt x="2160" y="744"/>
                  </a:lnTo>
                  <a:lnTo>
                    <a:pt x="2154" y="756"/>
                  </a:lnTo>
                  <a:lnTo>
                    <a:pt x="2148" y="762"/>
                  </a:lnTo>
                  <a:lnTo>
                    <a:pt x="2124" y="762"/>
                  </a:lnTo>
                  <a:lnTo>
                    <a:pt x="2124" y="768"/>
                  </a:lnTo>
                  <a:lnTo>
                    <a:pt x="2118" y="768"/>
                  </a:lnTo>
                  <a:lnTo>
                    <a:pt x="2124" y="774"/>
                  </a:lnTo>
                  <a:lnTo>
                    <a:pt x="2118" y="774"/>
                  </a:lnTo>
                  <a:lnTo>
                    <a:pt x="2112" y="774"/>
                  </a:lnTo>
                  <a:lnTo>
                    <a:pt x="2106" y="780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06" y="798"/>
                  </a:lnTo>
                  <a:lnTo>
                    <a:pt x="2106" y="810"/>
                  </a:lnTo>
                  <a:lnTo>
                    <a:pt x="2112" y="828"/>
                  </a:lnTo>
                  <a:lnTo>
                    <a:pt x="2112" y="834"/>
                  </a:lnTo>
                  <a:lnTo>
                    <a:pt x="2112" y="840"/>
                  </a:lnTo>
                  <a:lnTo>
                    <a:pt x="2112" y="834"/>
                  </a:lnTo>
                  <a:lnTo>
                    <a:pt x="2124" y="834"/>
                  </a:lnTo>
                  <a:lnTo>
                    <a:pt x="2130" y="834"/>
                  </a:lnTo>
                  <a:lnTo>
                    <a:pt x="2136" y="840"/>
                  </a:lnTo>
                  <a:lnTo>
                    <a:pt x="2142" y="840"/>
                  </a:lnTo>
                  <a:lnTo>
                    <a:pt x="2154" y="852"/>
                  </a:lnTo>
                  <a:lnTo>
                    <a:pt x="2160" y="852"/>
                  </a:lnTo>
                  <a:lnTo>
                    <a:pt x="2172" y="846"/>
                  </a:lnTo>
                  <a:lnTo>
                    <a:pt x="2178" y="846"/>
                  </a:lnTo>
                  <a:lnTo>
                    <a:pt x="2184" y="846"/>
                  </a:lnTo>
                  <a:lnTo>
                    <a:pt x="2190" y="846"/>
                  </a:lnTo>
                  <a:lnTo>
                    <a:pt x="2196" y="852"/>
                  </a:lnTo>
                  <a:lnTo>
                    <a:pt x="2196" y="858"/>
                  </a:lnTo>
                  <a:lnTo>
                    <a:pt x="2202" y="852"/>
                  </a:lnTo>
                  <a:lnTo>
                    <a:pt x="2208" y="846"/>
                  </a:lnTo>
                  <a:lnTo>
                    <a:pt x="2214" y="846"/>
                  </a:lnTo>
                  <a:lnTo>
                    <a:pt x="2226" y="846"/>
                  </a:lnTo>
                  <a:lnTo>
                    <a:pt x="2232" y="852"/>
                  </a:lnTo>
                  <a:lnTo>
                    <a:pt x="2238" y="852"/>
                  </a:lnTo>
                  <a:lnTo>
                    <a:pt x="2244" y="858"/>
                  </a:lnTo>
                  <a:lnTo>
                    <a:pt x="2250" y="858"/>
                  </a:lnTo>
                  <a:lnTo>
                    <a:pt x="2256" y="858"/>
                  </a:lnTo>
                  <a:lnTo>
                    <a:pt x="2262" y="858"/>
                  </a:lnTo>
                  <a:lnTo>
                    <a:pt x="2268" y="852"/>
                  </a:lnTo>
                  <a:lnTo>
                    <a:pt x="2274" y="852"/>
                  </a:lnTo>
                  <a:lnTo>
                    <a:pt x="2280" y="852"/>
                  </a:lnTo>
                  <a:lnTo>
                    <a:pt x="2286" y="852"/>
                  </a:lnTo>
                  <a:lnTo>
                    <a:pt x="2298" y="858"/>
                  </a:lnTo>
                  <a:lnTo>
                    <a:pt x="2304" y="858"/>
                  </a:lnTo>
                  <a:lnTo>
                    <a:pt x="2310" y="858"/>
                  </a:lnTo>
                  <a:lnTo>
                    <a:pt x="2316" y="852"/>
                  </a:lnTo>
                  <a:lnTo>
                    <a:pt x="2322" y="858"/>
                  </a:lnTo>
                  <a:lnTo>
                    <a:pt x="2328" y="858"/>
                  </a:lnTo>
                  <a:lnTo>
                    <a:pt x="2328" y="852"/>
                  </a:lnTo>
                  <a:lnTo>
                    <a:pt x="2364" y="858"/>
                  </a:lnTo>
                  <a:lnTo>
                    <a:pt x="2376" y="876"/>
                  </a:lnTo>
                  <a:lnTo>
                    <a:pt x="2382" y="936"/>
                  </a:lnTo>
                  <a:lnTo>
                    <a:pt x="2388" y="966"/>
                  </a:lnTo>
                  <a:lnTo>
                    <a:pt x="2382" y="972"/>
                  </a:lnTo>
                  <a:lnTo>
                    <a:pt x="2382" y="978"/>
                  </a:lnTo>
                  <a:lnTo>
                    <a:pt x="2382" y="984"/>
                  </a:lnTo>
                  <a:lnTo>
                    <a:pt x="2388" y="990"/>
                  </a:lnTo>
                  <a:lnTo>
                    <a:pt x="2382" y="990"/>
                  </a:lnTo>
                  <a:lnTo>
                    <a:pt x="2382" y="996"/>
                  </a:lnTo>
                  <a:lnTo>
                    <a:pt x="2376" y="996"/>
                  </a:lnTo>
                  <a:lnTo>
                    <a:pt x="2376" y="1020"/>
                  </a:lnTo>
                  <a:lnTo>
                    <a:pt x="2370" y="1032"/>
                  </a:lnTo>
                  <a:lnTo>
                    <a:pt x="2352" y="1032"/>
                  </a:lnTo>
                  <a:lnTo>
                    <a:pt x="2346" y="1020"/>
                  </a:lnTo>
                  <a:lnTo>
                    <a:pt x="2328" y="1032"/>
                  </a:lnTo>
                  <a:lnTo>
                    <a:pt x="2316" y="1038"/>
                  </a:lnTo>
                  <a:lnTo>
                    <a:pt x="2328" y="1044"/>
                  </a:lnTo>
                  <a:lnTo>
                    <a:pt x="2340" y="1056"/>
                  </a:lnTo>
                  <a:lnTo>
                    <a:pt x="2376" y="1062"/>
                  </a:lnTo>
                  <a:lnTo>
                    <a:pt x="2376" y="1068"/>
                  </a:lnTo>
                  <a:lnTo>
                    <a:pt x="2382" y="1086"/>
                  </a:lnTo>
                  <a:lnTo>
                    <a:pt x="2376" y="1086"/>
                  </a:lnTo>
                  <a:lnTo>
                    <a:pt x="2370" y="1086"/>
                  </a:lnTo>
                  <a:lnTo>
                    <a:pt x="2364" y="1086"/>
                  </a:lnTo>
                  <a:lnTo>
                    <a:pt x="2364" y="1098"/>
                  </a:lnTo>
                  <a:lnTo>
                    <a:pt x="2388" y="1104"/>
                  </a:lnTo>
                  <a:lnTo>
                    <a:pt x="2400" y="1122"/>
                  </a:lnTo>
                  <a:lnTo>
                    <a:pt x="2400" y="1134"/>
                  </a:lnTo>
                  <a:lnTo>
                    <a:pt x="2400" y="1146"/>
                  </a:lnTo>
                  <a:lnTo>
                    <a:pt x="2394" y="1146"/>
                  </a:lnTo>
                  <a:lnTo>
                    <a:pt x="2394" y="1152"/>
                  </a:lnTo>
                  <a:lnTo>
                    <a:pt x="2388" y="1152"/>
                  </a:lnTo>
                  <a:lnTo>
                    <a:pt x="2388" y="1146"/>
                  </a:lnTo>
                  <a:lnTo>
                    <a:pt x="2382" y="1152"/>
                  </a:lnTo>
                  <a:lnTo>
                    <a:pt x="2376" y="1152"/>
                  </a:lnTo>
                  <a:lnTo>
                    <a:pt x="2370" y="1158"/>
                  </a:lnTo>
                  <a:lnTo>
                    <a:pt x="2370" y="1164"/>
                  </a:lnTo>
                  <a:lnTo>
                    <a:pt x="2364" y="1170"/>
                  </a:lnTo>
                  <a:lnTo>
                    <a:pt x="2370" y="1170"/>
                  </a:lnTo>
                  <a:lnTo>
                    <a:pt x="2376" y="1170"/>
                  </a:lnTo>
                  <a:lnTo>
                    <a:pt x="2370" y="1176"/>
                  </a:lnTo>
                  <a:lnTo>
                    <a:pt x="2364" y="1176"/>
                  </a:lnTo>
                  <a:lnTo>
                    <a:pt x="2358" y="1182"/>
                  </a:lnTo>
                  <a:lnTo>
                    <a:pt x="2352" y="1182"/>
                  </a:lnTo>
                  <a:lnTo>
                    <a:pt x="2346" y="1188"/>
                  </a:lnTo>
                  <a:lnTo>
                    <a:pt x="2340" y="1182"/>
                  </a:lnTo>
                  <a:lnTo>
                    <a:pt x="2334" y="1182"/>
                  </a:lnTo>
                  <a:lnTo>
                    <a:pt x="2334" y="1188"/>
                  </a:lnTo>
                  <a:lnTo>
                    <a:pt x="2328" y="1194"/>
                  </a:lnTo>
                  <a:lnTo>
                    <a:pt x="2328" y="1200"/>
                  </a:lnTo>
                  <a:lnTo>
                    <a:pt x="2322" y="1224"/>
                  </a:lnTo>
                  <a:lnTo>
                    <a:pt x="2328" y="1230"/>
                  </a:lnTo>
                  <a:lnTo>
                    <a:pt x="2358" y="1230"/>
                  </a:lnTo>
                  <a:lnTo>
                    <a:pt x="2358" y="1242"/>
                  </a:lnTo>
                  <a:lnTo>
                    <a:pt x="2358" y="1254"/>
                  </a:lnTo>
                  <a:lnTo>
                    <a:pt x="2346" y="1254"/>
                  </a:lnTo>
                  <a:lnTo>
                    <a:pt x="2346" y="1278"/>
                  </a:lnTo>
                  <a:lnTo>
                    <a:pt x="2358" y="1278"/>
                  </a:lnTo>
                  <a:lnTo>
                    <a:pt x="2358" y="1284"/>
                  </a:lnTo>
                  <a:lnTo>
                    <a:pt x="2376" y="1284"/>
                  </a:lnTo>
                  <a:lnTo>
                    <a:pt x="2388" y="1278"/>
                  </a:lnTo>
                  <a:lnTo>
                    <a:pt x="2406" y="1278"/>
                  </a:lnTo>
                  <a:lnTo>
                    <a:pt x="2430" y="1284"/>
                  </a:lnTo>
                  <a:lnTo>
                    <a:pt x="2430" y="1302"/>
                  </a:lnTo>
                  <a:lnTo>
                    <a:pt x="2430" y="1314"/>
                  </a:lnTo>
                  <a:lnTo>
                    <a:pt x="2424" y="1326"/>
                  </a:lnTo>
                  <a:lnTo>
                    <a:pt x="2412" y="1326"/>
                  </a:lnTo>
                  <a:lnTo>
                    <a:pt x="2412" y="1344"/>
                  </a:lnTo>
                  <a:lnTo>
                    <a:pt x="2406" y="1344"/>
                  </a:lnTo>
                  <a:lnTo>
                    <a:pt x="2400" y="1362"/>
                  </a:lnTo>
                  <a:lnTo>
                    <a:pt x="2394" y="1368"/>
                  </a:lnTo>
                  <a:lnTo>
                    <a:pt x="2388" y="1374"/>
                  </a:lnTo>
                  <a:lnTo>
                    <a:pt x="2382" y="1380"/>
                  </a:lnTo>
                  <a:lnTo>
                    <a:pt x="2376" y="1386"/>
                  </a:lnTo>
                  <a:lnTo>
                    <a:pt x="2376" y="1392"/>
                  </a:lnTo>
                  <a:lnTo>
                    <a:pt x="2370" y="1404"/>
                  </a:lnTo>
                  <a:lnTo>
                    <a:pt x="2364" y="1416"/>
                  </a:lnTo>
                  <a:lnTo>
                    <a:pt x="2346" y="1434"/>
                  </a:lnTo>
                  <a:lnTo>
                    <a:pt x="2328" y="1440"/>
                  </a:lnTo>
                  <a:lnTo>
                    <a:pt x="2328" y="1446"/>
                  </a:lnTo>
                  <a:lnTo>
                    <a:pt x="2322" y="1452"/>
                  </a:lnTo>
                  <a:lnTo>
                    <a:pt x="2316" y="1452"/>
                  </a:lnTo>
                  <a:lnTo>
                    <a:pt x="2304" y="1446"/>
                  </a:lnTo>
                  <a:lnTo>
                    <a:pt x="2298" y="1446"/>
                  </a:lnTo>
                  <a:lnTo>
                    <a:pt x="2298" y="1434"/>
                  </a:lnTo>
                  <a:lnTo>
                    <a:pt x="2292" y="1434"/>
                  </a:lnTo>
                  <a:lnTo>
                    <a:pt x="2286" y="1428"/>
                  </a:lnTo>
                  <a:lnTo>
                    <a:pt x="2274" y="1416"/>
                  </a:lnTo>
                  <a:lnTo>
                    <a:pt x="2256" y="1404"/>
                  </a:lnTo>
                  <a:lnTo>
                    <a:pt x="2244" y="1386"/>
                  </a:lnTo>
                  <a:lnTo>
                    <a:pt x="2220" y="1368"/>
                  </a:lnTo>
                  <a:lnTo>
                    <a:pt x="2208" y="1362"/>
                  </a:lnTo>
                  <a:lnTo>
                    <a:pt x="2202" y="1350"/>
                  </a:lnTo>
                  <a:lnTo>
                    <a:pt x="2196" y="1350"/>
                  </a:lnTo>
                  <a:lnTo>
                    <a:pt x="2190" y="1356"/>
                  </a:lnTo>
                  <a:lnTo>
                    <a:pt x="2184" y="1356"/>
                  </a:lnTo>
                  <a:lnTo>
                    <a:pt x="2094" y="1350"/>
                  </a:lnTo>
                  <a:lnTo>
                    <a:pt x="2058" y="1350"/>
                  </a:lnTo>
                  <a:lnTo>
                    <a:pt x="2034" y="1890"/>
                  </a:lnTo>
                  <a:lnTo>
                    <a:pt x="2064" y="1890"/>
                  </a:lnTo>
                  <a:lnTo>
                    <a:pt x="2070" y="1896"/>
                  </a:lnTo>
                  <a:lnTo>
                    <a:pt x="2076" y="1896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8" name="Freeform 33">
              <a:extLst>
                <a:ext uri="{FF2B5EF4-FFF2-40B4-BE49-F238E27FC236}">
                  <a16:creationId xmlns:a16="http://schemas.microsoft.com/office/drawing/2014/main" id="{0E96F118-1F4D-4E52-AF27-149259451CD6}"/>
                </a:ext>
              </a:extLst>
            </p:cNvPr>
            <p:cNvSpPr>
              <a:spLocks/>
            </p:cNvSpPr>
            <p:nvPr/>
          </p:nvSpPr>
          <p:spPr bwMode="gray">
            <a:xfrm>
              <a:off x="1266662" y="1459989"/>
              <a:ext cx="903421" cy="778302"/>
            </a:xfrm>
            <a:custGeom>
              <a:avLst/>
              <a:gdLst>
                <a:gd name="T0" fmla="*/ 143 w 1698"/>
                <a:gd name="T1" fmla="*/ 43 h 1464"/>
                <a:gd name="T2" fmla="*/ 131 w 1698"/>
                <a:gd name="T3" fmla="*/ 44 h 1464"/>
                <a:gd name="T4" fmla="*/ 126 w 1698"/>
                <a:gd name="T5" fmla="*/ 41 h 1464"/>
                <a:gd name="T6" fmla="*/ 119 w 1698"/>
                <a:gd name="T7" fmla="*/ 45 h 1464"/>
                <a:gd name="T8" fmla="*/ 111 w 1698"/>
                <a:gd name="T9" fmla="*/ 46 h 1464"/>
                <a:gd name="T10" fmla="*/ 107 w 1698"/>
                <a:gd name="T11" fmla="*/ 50 h 1464"/>
                <a:gd name="T12" fmla="*/ 107 w 1698"/>
                <a:gd name="T13" fmla="*/ 60 h 1464"/>
                <a:gd name="T14" fmla="*/ 104 w 1698"/>
                <a:gd name="T15" fmla="*/ 62 h 1464"/>
                <a:gd name="T16" fmla="*/ 97 w 1698"/>
                <a:gd name="T17" fmla="*/ 59 h 1464"/>
                <a:gd name="T18" fmla="*/ 92 w 1698"/>
                <a:gd name="T19" fmla="*/ 59 h 1464"/>
                <a:gd name="T20" fmla="*/ 90 w 1698"/>
                <a:gd name="T21" fmla="*/ 62 h 1464"/>
                <a:gd name="T22" fmla="*/ 93 w 1698"/>
                <a:gd name="T23" fmla="*/ 77 h 1464"/>
                <a:gd name="T24" fmla="*/ 85 w 1698"/>
                <a:gd name="T25" fmla="*/ 88 h 1464"/>
                <a:gd name="T26" fmla="*/ 70 w 1698"/>
                <a:gd name="T27" fmla="*/ 89 h 1464"/>
                <a:gd name="T28" fmla="*/ 65 w 1698"/>
                <a:gd name="T29" fmla="*/ 88 h 1464"/>
                <a:gd name="T30" fmla="*/ 50 w 1698"/>
                <a:gd name="T31" fmla="*/ 88 h 1464"/>
                <a:gd name="T32" fmla="*/ 48 w 1698"/>
                <a:gd name="T33" fmla="*/ 107 h 1464"/>
                <a:gd name="T34" fmla="*/ 47 w 1698"/>
                <a:gd name="T35" fmla="*/ 120 h 1464"/>
                <a:gd name="T36" fmla="*/ 43 w 1698"/>
                <a:gd name="T37" fmla="*/ 121 h 1464"/>
                <a:gd name="T38" fmla="*/ 40 w 1698"/>
                <a:gd name="T39" fmla="*/ 120 h 1464"/>
                <a:gd name="T40" fmla="*/ 35 w 1698"/>
                <a:gd name="T41" fmla="*/ 122 h 1464"/>
                <a:gd name="T42" fmla="*/ 29 w 1698"/>
                <a:gd name="T43" fmla="*/ 123 h 1464"/>
                <a:gd name="T44" fmla="*/ 24 w 1698"/>
                <a:gd name="T45" fmla="*/ 125 h 1464"/>
                <a:gd name="T46" fmla="*/ 20 w 1698"/>
                <a:gd name="T47" fmla="*/ 125 h 1464"/>
                <a:gd name="T48" fmla="*/ 18 w 1698"/>
                <a:gd name="T49" fmla="*/ 122 h 1464"/>
                <a:gd name="T50" fmla="*/ 26 w 1698"/>
                <a:gd name="T51" fmla="*/ 108 h 1464"/>
                <a:gd name="T52" fmla="*/ 24 w 1698"/>
                <a:gd name="T53" fmla="*/ 89 h 1464"/>
                <a:gd name="T54" fmla="*/ 28 w 1698"/>
                <a:gd name="T55" fmla="*/ 85 h 1464"/>
                <a:gd name="T56" fmla="*/ 32 w 1698"/>
                <a:gd name="T57" fmla="*/ 80 h 1464"/>
                <a:gd name="T58" fmla="*/ 36 w 1698"/>
                <a:gd name="T59" fmla="*/ 86 h 1464"/>
                <a:gd name="T60" fmla="*/ 39 w 1698"/>
                <a:gd name="T61" fmla="*/ 80 h 1464"/>
                <a:gd name="T62" fmla="*/ 41 w 1698"/>
                <a:gd name="T63" fmla="*/ 73 h 1464"/>
                <a:gd name="T64" fmla="*/ 38 w 1698"/>
                <a:gd name="T65" fmla="*/ 64 h 1464"/>
                <a:gd name="T66" fmla="*/ 39 w 1698"/>
                <a:gd name="T67" fmla="*/ 59 h 1464"/>
                <a:gd name="T68" fmla="*/ 32 w 1698"/>
                <a:gd name="T69" fmla="*/ 54 h 1464"/>
                <a:gd name="T70" fmla="*/ 32 w 1698"/>
                <a:gd name="T71" fmla="*/ 45 h 1464"/>
                <a:gd name="T72" fmla="*/ 31 w 1698"/>
                <a:gd name="T73" fmla="*/ 41 h 1464"/>
                <a:gd name="T74" fmla="*/ 24 w 1698"/>
                <a:gd name="T75" fmla="*/ 43 h 1464"/>
                <a:gd name="T76" fmla="*/ 17 w 1698"/>
                <a:gd name="T77" fmla="*/ 40 h 1464"/>
                <a:gd name="T78" fmla="*/ 11 w 1698"/>
                <a:gd name="T79" fmla="*/ 38 h 1464"/>
                <a:gd name="T80" fmla="*/ 2 w 1698"/>
                <a:gd name="T81" fmla="*/ 36 h 1464"/>
                <a:gd name="T82" fmla="*/ 0 w 1698"/>
                <a:gd name="T83" fmla="*/ 24 h 1464"/>
                <a:gd name="T84" fmla="*/ 11 w 1698"/>
                <a:gd name="T85" fmla="*/ 18 h 1464"/>
                <a:gd name="T86" fmla="*/ 19 w 1698"/>
                <a:gd name="T87" fmla="*/ 10 h 1464"/>
                <a:gd name="T88" fmla="*/ 28 w 1698"/>
                <a:gd name="T89" fmla="*/ 9 h 1464"/>
                <a:gd name="T90" fmla="*/ 40 w 1698"/>
                <a:gd name="T91" fmla="*/ 6 h 1464"/>
                <a:gd name="T92" fmla="*/ 49 w 1698"/>
                <a:gd name="T93" fmla="*/ 8 h 1464"/>
                <a:gd name="T94" fmla="*/ 56 w 1698"/>
                <a:gd name="T95" fmla="*/ 8 h 1464"/>
                <a:gd name="T96" fmla="*/ 64 w 1698"/>
                <a:gd name="T97" fmla="*/ 7 h 1464"/>
                <a:gd name="T98" fmla="*/ 74 w 1698"/>
                <a:gd name="T99" fmla="*/ 1 h 1464"/>
                <a:gd name="T100" fmla="*/ 83 w 1698"/>
                <a:gd name="T101" fmla="*/ 3 h 1464"/>
                <a:gd name="T102" fmla="*/ 99 w 1698"/>
                <a:gd name="T103" fmla="*/ 9 h 1464"/>
                <a:gd name="T104" fmla="*/ 112 w 1698"/>
                <a:gd name="T105" fmla="*/ 14 h 1464"/>
                <a:gd name="T106" fmla="*/ 119 w 1698"/>
                <a:gd name="T107" fmla="*/ 12 h 1464"/>
                <a:gd name="T108" fmla="*/ 128 w 1698"/>
                <a:gd name="T109" fmla="*/ 17 h 1464"/>
                <a:gd name="T110" fmla="*/ 141 w 1698"/>
                <a:gd name="T111" fmla="*/ 29 h 1464"/>
                <a:gd name="T112" fmla="*/ 145 w 1698"/>
                <a:gd name="T113" fmla="*/ 35 h 14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98"/>
                <a:gd name="T172" fmla="*/ 0 h 1464"/>
                <a:gd name="T173" fmla="*/ 1698 w 1698"/>
                <a:gd name="T174" fmla="*/ 1464 h 14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98" h="1464">
                  <a:moveTo>
                    <a:pt x="1698" y="462"/>
                  </a:moveTo>
                  <a:lnTo>
                    <a:pt x="1686" y="468"/>
                  </a:lnTo>
                  <a:lnTo>
                    <a:pt x="1680" y="474"/>
                  </a:lnTo>
                  <a:lnTo>
                    <a:pt x="1674" y="480"/>
                  </a:lnTo>
                  <a:lnTo>
                    <a:pt x="1668" y="480"/>
                  </a:lnTo>
                  <a:lnTo>
                    <a:pt x="1662" y="486"/>
                  </a:lnTo>
                  <a:lnTo>
                    <a:pt x="1656" y="492"/>
                  </a:lnTo>
                  <a:lnTo>
                    <a:pt x="1644" y="498"/>
                  </a:lnTo>
                  <a:lnTo>
                    <a:pt x="1626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0" y="516"/>
                  </a:lnTo>
                  <a:lnTo>
                    <a:pt x="1590" y="522"/>
                  </a:lnTo>
                  <a:lnTo>
                    <a:pt x="1566" y="522"/>
                  </a:lnTo>
                  <a:lnTo>
                    <a:pt x="1506" y="510"/>
                  </a:lnTo>
                  <a:lnTo>
                    <a:pt x="1500" y="510"/>
                  </a:lnTo>
                  <a:lnTo>
                    <a:pt x="1488" y="504"/>
                  </a:lnTo>
                  <a:lnTo>
                    <a:pt x="1482" y="498"/>
                  </a:lnTo>
                  <a:lnTo>
                    <a:pt x="1476" y="498"/>
                  </a:lnTo>
                  <a:lnTo>
                    <a:pt x="1476" y="492"/>
                  </a:lnTo>
                  <a:lnTo>
                    <a:pt x="1470" y="492"/>
                  </a:lnTo>
                  <a:lnTo>
                    <a:pt x="1464" y="486"/>
                  </a:lnTo>
                  <a:lnTo>
                    <a:pt x="1452" y="486"/>
                  </a:lnTo>
                  <a:lnTo>
                    <a:pt x="1446" y="474"/>
                  </a:lnTo>
                  <a:lnTo>
                    <a:pt x="1434" y="468"/>
                  </a:lnTo>
                  <a:lnTo>
                    <a:pt x="1416" y="468"/>
                  </a:lnTo>
                  <a:lnTo>
                    <a:pt x="1392" y="468"/>
                  </a:lnTo>
                  <a:lnTo>
                    <a:pt x="1374" y="474"/>
                  </a:lnTo>
                  <a:lnTo>
                    <a:pt x="1368" y="474"/>
                  </a:lnTo>
                  <a:lnTo>
                    <a:pt x="1368" y="486"/>
                  </a:lnTo>
                  <a:lnTo>
                    <a:pt x="1368" y="498"/>
                  </a:lnTo>
                  <a:lnTo>
                    <a:pt x="1368" y="522"/>
                  </a:lnTo>
                  <a:lnTo>
                    <a:pt x="1368" y="534"/>
                  </a:lnTo>
                  <a:lnTo>
                    <a:pt x="1362" y="546"/>
                  </a:lnTo>
                  <a:lnTo>
                    <a:pt x="1356" y="546"/>
                  </a:lnTo>
                  <a:lnTo>
                    <a:pt x="1344" y="540"/>
                  </a:lnTo>
                  <a:lnTo>
                    <a:pt x="1338" y="534"/>
                  </a:lnTo>
                  <a:lnTo>
                    <a:pt x="1308" y="522"/>
                  </a:lnTo>
                  <a:lnTo>
                    <a:pt x="1296" y="522"/>
                  </a:lnTo>
                  <a:lnTo>
                    <a:pt x="1278" y="528"/>
                  </a:lnTo>
                  <a:lnTo>
                    <a:pt x="1260" y="534"/>
                  </a:lnTo>
                  <a:lnTo>
                    <a:pt x="1242" y="546"/>
                  </a:lnTo>
                  <a:lnTo>
                    <a:pt x="1236" y="552"/>
                  </a:lnTo>
                  <a:lnTo>
                    <a:pt x="1224" y="558"/>
                  </a:lnTo>
                  <a:lnTo>
                    <a:pt x="1218" y="558"/>
                  </a:lnTo>
                  <a:lnTo>
                    <a:pt x="1218" y="564"/>
                  </a:lnTo>
                  <a:lnTo>
                    <a:pt x="1224" y="570"/>
                  </a:lnTo>
                  <a:lnTo>
                    <a:pt x="1224" y="582"/>
                  </a:lnTo>
                  <a:lnTo>
                    <a:pt x="1224" y="594"/>
                  </a:lnTo>
                  <a:lnTo>
                    <a:pt x="1212" y="618"/>
                  </a:lnTo>
                  <a:lnTo>
                    <a:pt x="1212" y="624"/>
                  </a:lnTo>
                  <a:lnTo>
                    <a:pt x="1212" y="630"/>
                  </a:lnTo>
                  <a:lnTo>
                    <a:pt x="1212" y="636"/>
                  </a:lnTo>
                  <a:lnTo>
                    <a:pt x="1218" y="654"/>
                  </a:lnTo>
                  <a:lnTo>
                    <a:pt x="1224" y="672"/>
                  </a:lnTo>
                  <a:lnTo>
                    <a:pt x="1230" y="696"/>
                  </a:lnTo>
                  <a:lnTo>
                    <a:pt x="1236" y="708"/>
                  </a:lnTo>
                  <a:lnTo>
                    <a:pt x="1236" y="714"/>
                  </a:lnTo>
                  <a:lnTo>
                    <a:pt x="1236" y="720"/>
                  </a:lnTo>
                  <a:lnTo>
                    <a:pt x="1218" y="726"/>
                  </a:lnTo>
                  <a:lnTo>
                    <a:pt x="1212" y="726"/>
                  </a:lnTo>
                  <a:lnTo>
                    <a:pt x="1206" y="726"/>
                  </a:lnTo>
                  <a:lnTo>
                    <a:pt x="1194" y="720"/>
                  </a:lnTo>
                  <a:lnTo>
                    <a:pt x="1194" y="714"/>
                  </a:lnTo>
                  <a:lnTo>
                    <a:pt x="1176" y="714"/>
                  </a:lnTo>
                  <a:lnTo>
                    <a:pt x="1164" y="708"/>
                  </a:lnTo>
                  <a:lnTo>
                    <a:pt x="1158" y="708"/>
                  </a:lnTo>
                  <a:lnTo>
                    <a:pt x="1140" y="702"/>
                  </a:lnTo>
                  <a:lnTo>
                    <a:pt x="1134" y="696"/>
                  </a:lnTo>
                  <a:lnTo>
                    <a:pt x="1128" y="690"/>
                  </a:lnTo>
                  <a:lnTo>
                    <a:pt x="1116" y="678"/>
                  </a:lnTo>
                  <a:lnTo>
                    <a:pt x="1110" y="678"/>
                  </a:lnTo>
                  <a:lnTo>
                    <a:pt x="1104" y="672"/>
                  </a:lnTo>
                  <a:lnTo>
                    <a:pt x="1092" y="672"/>
                  </a:lnTo>
                  <a:lnTo>
                    <a:pt x="1086" y="672"/>
                  </a:lnTo>
                  <a:lnTo>
                    <a:pt x="1080" y="672"/>
                  </a:lnTo>
                  <a:lnTo>
                    <a:pt x="1074" y="672"/>
                  </a:lnTo>
                  <a:lnTo>
                    <a:pt x="1068" y="672"/>
                  </a:lnTo>
                  <a:lnTo>
                    <a:pt x="1062" y="678"/>
                  </a:lnTo>
                  <a:lnTo>
                    <a:pt x="1056" y="678"/>
                  </a:lnTo>
                  <a:lnTo>
                    <a:pt x="1056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6"/>
                  </a:lnTo>
                  <a:lnTo>
                    <a:pt x="1032" y="708"/>
                  </a:lnTo>
                  <a:lnTo>
                    <a:pt x="1026" y="708"/>
                  </a:lnTo>
                  <a:lnTo>
                    <a:pt x="1032" y="714"/>
                  </a:lnTo>
                  <a:lnTo>
                    <a:pt x="1026" y="720"/>
                  </a:lnTo>
                  <a:lnTo>
                    <a:pt x="1020" y="720"/>
                  </a:lnTo>
                  <a:lnTo>
                    <a:pt x="1014" y="732"/>
                  </a:lnTo>
                  <a:lnTo>
                    <a:pt x="1014" y="744"/>
                  </a:lnTo>
                  <a:lnTo>
                    <a:pt x="1038" y="810"/>
                  </a:lnTo>
                  <a:lnTo>
                    <a:pt x="1050" y="834"/>
                  </a:lnTo>
                  <a:lnTo>
                    <a:pt x="1056" y="858"/>
                  </a:lnTo>
                  <a:lnTo>
                    <a:pt x="1062" y="876"/>
                  </a:lnTo>
                  <a:lnTo>
                    <a:pt x="1068" y="882"/>
                  </a:lnTo>
                  <a:lnTo>
                    <a:pt x="1062" y="972"/>
                  </a:lnTo>
                  <a:lnTo>
                    <a:pt x="1056" y="972"/>
                  </a:lnTo>
                  <a:lnTo>
                    <a:pt x="1050" y="996"/>
                  </a:lnTo>
                  <a:lnTo>
                    <a:pt x="1044" y="1014"/>
                  </a:lnTo>
                  <a:lnTo>
                    <a:pt x="1008" y="1014"/>
                  </a:lnTo>
                  <a:lnTo>
                    <a:pt x="1008" y="1008"/>
                  </a:lnTo>
                  <a:lnTo>
                    <a:pt x="990" y="1008"/>
                  </a:lnTo>
                  <a:lnTo>
                    <a:pt x="972" y="1014"/>
                  </a:lnTo>
                  <a:lnTo>
                    <a:pt x="948" y="1020"/>
                  </a:lnTo>
                  <a:lnTo>
                    <a:pt x="918" y="1026"/>
                  </a:lnTo>
                  <a:lnTo>
                    <a:pt x="840" y="1032"/>
                  </a:lnTo>
                  <a:lnTo>
                    <a:pt x="834" y="1032"/>
                  </a:lnTo>
                  <a:lnTo>
                    <a:pt x="834" y="1026"/>
                  </a:lnTo>
                  <a:lnTo>
                    <a:pt x="822" y="1026"/>
                  </a:lnTo>
                  <a:lnTo>
                    <a:pt x="816" y="1032"/>
                  </a:lnTo>
                  <a:lnTo>
                    <a:pt x="804" y="1032"/>
                  </a:lnTo>
                  <a:lnTo>
                    <a:pt x="798" y="1026"/>
                  </a:lnTo>
                  <a:lnTo>
                    <a:pt x="780" y="1026"/>
                  </a:lnTo>
                  <a:lnTo>
                    <a:pt x="762" y="1026"/>
                  </a:lnTo>
                  <a:lnTo>
                    <a:pt x="756" y="1026"/>
                  </a:lnTo>
                  <a:lnTo>
                    <a:pt x="750" y="1026"/>
                  </a:lnTo>
                  <a:lnTo>
                    <a:pt x="756" y="1020"/>
                  </a:lnTo>
                  <a:lnTo>
                    <a:pt x="750" y="1020"/>
                  </a:lnTo>
                  <a:lnTo>
                    <a:pt x="744" y="1014"/>
                  </a:lnTo>
                  <a:lnTo>
                    <a:pt x="684" y="1020"/>
                  </a:lnTo>
                  <a:lnTo>
                    <a:pt x="648" y="1020"/>
                  </a:lnTo>
                  <a:lnTo>
                    <a:pt x="630" y="1020"/>
                  </a:lnTo>
                  <a:lnTo>
                    <a:pt x="618" y="1020"/>
                  </a:lnTo>
                  <a:lnTo>
                    <a:pt x="606" y="1014"/>
                  </a:lnTo>
                  <a:lnTo>
                    <a:pt x="582" y="1014"/>
                  </a:lnTo>
                  <a:lnTo>
                    <a:pt x="576" y="1014"/>
                  </a:lnTo>
                  <a:lnTo>
                    <a:pt x="570" y="1014"/>
                  </a:lnTo>
                  <a:lnTo>
                    <a:pt x="564" y="1020"/>
                  </a:lnTo>
                  <a:lnTo>
                    <a:pt x="558" y="1026"/>
                  </a:lnTo>
                  <a:lnTo>
                    <a:pt x="552" y="1032"/>
                  </a:lnTo>
                  <a:lnTo>
                    <a:pt x="552" y="1038"/>
                  </a:lnTo>
                  <a:lnTo>
                    <a:pt x="558" y="1194"/>
                  </a:lnTo>
                  <a:lnTo>
                    <a:pt x="558" y="1206"/>
                  </a:lnTo>
                  <a:lnTo>
                    <a:pt x="552" y="1218"/>
                  </a:lnTo>
                  <a:lnTo>
                    <a:pt x="552" y="1236"/>
                  </a:lnTo>
                  <a:lnTo>
                    <a:pt x="546" y="1272"/>
                  </a:lnTo>
                  <a:lnTo>
                    <a:pt x="546" y="1308"/>
                  </a:lnTo>
                  <a:lnTo>
                    <a:pt x="540" y="1332"/>
                  </a:lnTo>
                  <a:lnTo>
                    <a:pt x="546" y="1356"/>
                  </a:lnTo>
                  <a:lnTo>
                    <a:pt x="546" y="1362"/>
                  </a:lnTo>
                  <a:lnTo>
                    <a:pt x="546" y="1374"/>
                  </a:lnTo>
                  <a:lnTo>
                    <a:pt x="546" y="1380"/>
                  </a:lnTo>
                  <a:lnTo>
                    <a:pt x="540" y="1380"/>
                  </a:lnTo>
                  <a:lnTo>
                    <a:pt x="522" y="1380"/>
                  </a:lnTo>
                  <a:lnTo>
                    <a:pt x="516" y="1380"/>
                  </a:lnTo>
                  <a:lnTo>
                    <a:pt x="516" y="1386"/>
                  </a:lnTo>
                  <a:lnTo>
                    <a:pt x="516" y="1392"/>
                  </a:lnTo>
                  <a:lnTo>
                    <a:pt x="510" y="1392"/>
                  </a:lnTo>
                  <a:lnTo>
                    <a:pt x="504" y="1386"/>
                  </a:lnTo>
                  <a:lnTo>
                    <a:pt x="498" y="1392"/>
                  </a:lnTo>
                  <a:lnTo>
                    <a:pt x="492" y="1398"/>
                  </a:lnTo>
                  <a:lnTo>
                    <a:pt x="486" y="1398"/>
                  </a:lnTo>
                  <a:lnTo>
                    <a:pt x="486" y="1392"/>
                  </a:lnTo>
                  <a:lnTo>
                    <a:pt x="486" y="1380"/>
                  </a:lnTo>
                  <a:lnTo>
                    <a:pt x="486" y="1374"/>
                  </a:lnTo>
                  <a:lnTo>
                    <a:pt x="480" y="1374"/>
                  </a:lnTo>
                  <a:lnTo>
                    <a:pt x="474" y="1374"/>
                  </a:lnTo>
                  <a:lnTo>
                    <a:pt x="468" y="1380"/>
                  </a:lnTo>
                  <a:lnTo>
                    <a:pt x="462" y="1380"/>
                  </a:lnTo>
                  <a:lnTo>
                    <a:pt x="456" y="1380"/>
                  </a:lnTo>
                  <a:lnTo>
                    <a:pt x="450" y="1386"/>
                  </a:lnTo>
                  <a:lnTo>
                    <a:pt x="444" y="1386"/>
                  </a:lnTo>
                  <a:lnTo>
                    <a:pt x="444" y="1392"/>
                  </a:lnTo>
                  <a:lnTo>
                    <a:pt x="432" y="1398"/>
                  </a:lnTo>
                  <a:lnTo>
                    <a:pt x="426" y="1404"/>
                  </a:lnTo>
                  <a:lnTo>
                    <a:pt x="420" y="1404"/>
                  </a:lnTo>
                  <a:lnTo>
                    <a:pt x="408" y="1404"/>
                  </a:lnTo>
                  <a:lnTo>
                    <a:pt x="378" y="1410"/>
                  </a:lnTo>
                  <a:lnTo>
                    <a:pt x="372" y="1410"/>
                  </a:lnTo>
                  <a:lnTo>
                    <a:pt x="360" y="1410"/>
                  </a:lnTo>
                  <a:lnTo>
                    <a:pt x="354" y="1416"/>
                  </a:lnTo>
                  <a:lnTo>
                    <a:pt x="348" y="1416"/>
                  </a:lnTo>
                  <a:lnTo>
                    <a:pt x="342" y="1410"/>
                  </a:lnTo>
                  <a:lnTo>
                    <a:pt x="336" y="1410"/>
                  </a:lnTo>
                  <a:lnTo>
                    <a:pt x="336" y="1416"/>
                  </a:lnTo>
                  <a:lnTo>
                    <a:pt x="330" y="1422"/>
                  </a:lnTo>
                  <a:lnTo>
                    <a:pt x="324" y="1422"/>
                  </a:lnTo>
                  <a:lnTo>
                    <a:pt x="318" y="1422"/>
                  </a:lnTo>
                  <a:lnTo>
                    <a:pt x="312" y="1428"/>
                  </a:lnTo>
                  <a:lnTo>
                    <a:pt x="312" y="1434"/>
                  </a:lnTo>
                  <a:lnTo>
                    <a:pt x="300" y="1428"/>
                  </a:lnTo>
                  <a:lnTo>
                    <a:pt x="288" y="1434"/>
                  </a:lnTo>
                  <a:lnTo>
                    <a:pt x="282" y="1440"/>
                  </a:lnTo>
                  <a:lnTo>
                    <a:pt x="282" y="1446"/>
                  </a:lnTo>
                  <a:lnTo>
                    <a:pt x="276" y="1446"/>
                  </a:lnTo>
                  <a:lnTo>
                    <a:pt x="276" y="1452"/>
                  </a:lnTo>
                  <a:lnTo>
                    <a:pt x="270" y="1452"/>
                  </a:lnTo>
                  <a:lnTo>
                    <a:pt x="258" y="1464"/>
                  </a:lnTo>
                  <a:lnTo>
                    <a:pt x="240" y="1458"/>
                  </a:lnTo>
                  <a:lnTo>
                    <a:pt x="234" y="1452"/>
                  </a:lnTo>
                  <a:lnTo>
                    <a:pt x="234" y="1446"/>
                  </a:lnTo>
                  <a:lnTo>
                    <a:pt x="228" y="1446"/>
                  </a:lnTo>
                  <a:lnTo>
                    <a:pt x="222" y="1440"/>
                  </a:lnTo>
                  <a:lnTo>
                    <a:pt x="216" y="1440"/>
                  </a:lnTo>
                  <a:lnTo>
                    <a:pt x="210" y="1428"/>
                  </a:lnTo>
                  <a:lnTo>
                    <a:pt x="210" y="1422"/>
                  </a:lnTo>
                  <a:lnTo>
                    <a:pt x="198" y="1416"/>
                  </a:lnTo>
                  <a:lnTo>
                    <a:pt x="204" y="1410"/>
                  </a:lnTo>
                  <a:lnTo>
                    <a:pt x="210" y="1404"/>
                  </a:lnTo>
                  <a:lnTo>
                    <a:pt x="210" y="1398"/>
                  </a:lnTo>
                  <a:lnTo>
                    <a:pt x="252" y="1368"/>
                  </a:lnTo>
                  <a:lnTo>
                    <a:pt x="276" y="1350"/>
                  </a:lnTo>
                  <a:lnTo>
                    <a:pt x="300" y="1338"/>
                  </a:lnTo>
                  <a:lnTo>
                    <a:pt x="294" y="1314"/>
                  </a:lnTo>
                  <a:lnTo>
                    <a:pt x="288" y="1308"/>
                  </a:lnTo>
                  <a:lnTo>
                    <a:pt x="300" y="1266"/>
                  </a:lnTo>
                  <a:lnTo>
                    <a:pt x="300" y="1242"/>
                  </a:lnTo>
                  <a:lnTo>
                    <a:pt x="300" y="1206"/>
                  </a:lnTo>
                  <a:lnTo>
                    <a:pt x="300" y="1164"/>
                  </a:lnTo>
                  <a:lnTo>
                    <a:pt x="294" y="1134"/>
                  </a:lnTo>
                  <a:lnTo>
                    <a:pt x="282" y="1086"/>
                  </a:lnTo>
                  <a:lnTo>
                    <a:pt x="276" y="1074"/>
                  </a:lnTo>
                  <a:lnTo>
                    <a:pt x="276" y="1056"/>
                  </a:lnTo>
                  <a:lnTo>
                    <a:pt x="270" y="1038"/>
                  </a:lnTo>
                  <a:lnTo>
                    <a:pt x="270" y="1020"/>
                  </a:lnTo>
                  <a:lnTo>
                    <a:pt x="282" y="1020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94" y="1002"/>
                  </a:lnTo>
                  <a:lnTo>
                    <a:pt x="306" y="996"/>
                  </a:lnTo>
                  <a:lnTo>
                    <a:pt x="312" y="990"/>
                  </a:lnTo>
                  <a:lnTo>
                    <a:pt x="318" y="990"/>
                  </a:lnTo>
                  <a:lnTo>
                    <a:pt x="324" y="984"/>
                  </a:lnTo>
                  <a:lnTo>
                    <a:pt x="324" y="978"/>
                  </a:lnTo>
                  <a:lnTo>
                    <a:pt x="324" y="972"/>
                  </a:lnTo>
                  <a:lnTo>
                    <a:pt x="324" y="954"/>
                  </a:lnTo>
                  <a:lnTo>
                    <a:pt x="336" y="948"/>
                  </a:lnTo>
                  <a:lnTo>
                    <a:pt x="342" y="936"/>
                  </a:lnTo>
                  <a:lnTo>
                    <a:pt x="348" y="924"/>
                  </a:lnTo>
                  <a:lnTo>
                    <a:pt x="354" y="924"/>
                  </a:lnTo>
                  <a:lnTo>
                    <a:pt x="372" y="924"/>
                  </a:lnTo>
                  <a:lnTo>
                    <a:pt x="372" y="930"/>
                  </a:lnTo>
                  <a:lnTo>
                    <a:pt x="378" y="930"/>
                  </a:lnTo>
                  <a:lnTo>
                    <a:pt x="378" y="936"/>
                  </a:lnTo>
                  <a:lnTo>
                    <a:pt x="384" y="936"/>
                  </a:lnTo>
                  <a:lnTo>
                    <a:pt x="384" y="942"/>
                  </a:lnTo>
                  <a:lnTo>
                    <a:pt x="402" y="942"/>
                  </a:lnTo>
                  <a:lnTo>
                    <a:pt x="402" y="996"/>
                  </a:lnTo>
                  <a:lnTo>
                    <a:pt x="414" y="996"/>
                  </a:lnTo>
                  <a:lnTo>
                    <a:pt x="420" y="996"/>
                  </a:lnTo>
                  <a:lnTo>
                    <a:pt x="426" y="996"/>
                  </a:lnTo>
                  <a:lnTo>
                    <a:pt x="432" y="996"/>
                  </a:lnTo>
                  <a:lnTo>
                    <a:pt x="438" y="996"/>
                  </a:lnTo>
                  <a:lnTo>
                    <a:pt x="438" y="942"/>
                  </a:lnTo>
                  <a:lnTo>
                    <a:pt x="444" y="930"/>
                  </a:lnTo>
                  <a:lnTo>
                    <a:pt x="444" y="924"/>
                  </a:lnTo>
                  <a:lnTo>
                    <a:pt x="444" y="918"/>
                  </a:lnTo>
                  <a:lnTo>
                    <a:pt x="462" y="918"/>
                  </a:lnTo>
                  <a:lnTo>
                    <a:pt x="474" y="906"/>
                  </a:lnTo>
                  <a:lnTo>
                    <a:pt x="480" y="900"/>
                  </a:lnTo>
                  <a:lnTo>
                    <a:pt x="486" y="888"/>
                  </a:lnTo>
                  <a:lnTo>
                    <a:pt x="492" y="876"/>
                  </a:lnTo>
                  <a:lnTo>
                    <a:pt x="492" y="858"/>
                  </a:lnTo>
                  <a:lnTo>
                    <a:pt x="480" y="858"/>
                  </a:lnTo>
                  <a:lnTo>
                    <a:pt x="474" y="840"/>
                  </a:lnTo>
                  <a:lnTo>
                    <a:pt x="450" y="834"/>
                  </a:lnTo>
                  <a:lnTo>
                    <a:pt x="438" y="816"/>
                  </a:lnTo>
                  <a:lnTo>
                    <a:pt x="432" y="792"/>
                  </a:lnTo>
                  <a:lnTo>
                    <a:pt x="432" y="786"/>
                  </a:lnTo>
                  <a:lnTo>
                    <a:pt x="432" y="774"/>
                  </a:lnTo>
                  <a:lnTo>
                    <a:pt x="432" y="762"/>
                  </a:lnTo>
                  <a:lnTo>
                    <a:pt x="438" y="750"/>
                  </a:lnTo>
                  <a:lnTo>
                    <a:pt x="438" y="738"/>
                  </a:lnTo>
                  <a:lnTo>
                    <a:pt x="444" y="732"/>
                  </a:lnTo>
                  <a:lnTo>
                    <a:pt x="450" y="732"/>
                  </a:lnTo>
                  <a:lnTo>
                    <a:pt x="456" y="732"/>
                  </a:lnTo>
                  <a:lnTo>
                    <a:pt x="456" y="726"/>
                  </a:lnTo>
                  <a:lnTo>
                    <a:pt x="456" y="714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44" y="684"/>
                  </a:lnTo>
                  <a:lnTo>
                    <a:pt x="438" y="666"/>
                  </a:lnTo>
                  <a:lnTo>
                    <a:pt x="426" y="666"/>
                  </a:lnTo>
                  <a:lnTo>
                    <a:pt x="432" y="666"/>
                  </a:lnTo>
                  <a:lnTo>
                    <a:pt x="420" y="666"/>
                  </a:lnTo>
                  <a:lnTo>
                    <a:pt x="414" y="660"/>
                  </a:lnTo>
                  <a:lnTo>
                    <a:pt x="396" y="654"/>
                  </a:lnTo>
                  <a:lnTo>
                    <a:pt x="384" y="642"/>
                  </a:lnTo>
                  <a:lnTo>
                    <a:pt x="366" y="624"/>
                  </a:lnTo>
                  <a:lnTo>
                    <a:pt x="354" y="606"/>
                  </a:lnTo>
                  <a:lnTo>
                    <a:pt x="342" y="588"/>
                  </a:lnTo>
                  <a:lnTo>
                    <a:pt x="342" y="582"/>
                  </a:lnTo>
                  <a:lnTo>
                    <a:pt x="360" y="564"/>
                  </a:lnTo>
                  <a:lnTo>
                    <a:pt x="372" y="540"/>
                  </a:lnTo>
                  <a:lnTo>
                    <a:pt x="366" y="528"/>
                  </a:lnTo>
                  <a:lnTo>
                    <a:pt x="366" y="522"/>
                  </a:lnTo>
                  <a:lnTo>
                    <a:pt x="372" y="516"/>
                  </a:lnTo>
                  <a:lnTo>
                    <a:pt x="384" y="504"/>
                  </a:lnTo>
                  <a:lnTo>
                    <a:pt x="378" y="492"/>
                  </a:lnTo>
                  <a:lnTo>
                    <a:pt x="378" y="486"/>
                  </a:lnTo>
                  <a:lnTo>
                    <a:pt x="378" y="480"/>
                  </a:lnTo>
                  <a:lnTo>
                    <a:pt x="378" y="474"/>
                  </a:lnTo>
                  <a:lnTo>
                    <a:pt x="378" y="468"/>
                  </a:lnTo>
                  <a:lnTo>
                    <a:pt x="366" y="468"/>
                  </a:lnTo>
                  <a:lnTo>
                    <a:pt x="360" y="474"/>
                  </a:lnTo>
                  <a:lnTo>
                    <a:pt x="354" y="480"/>
                  </a:lnTo>
                  <a:lnTo>
                    <a:pt x="348" y="486"/>
                  </a:lnTo>
                  <a:lnTo>
                    <a:pt x="348" y="492"/>
                  </a:lnTo>
                  <a:lnTo>
                    <a:pt x="336" y="510"/>
                  </a:lnTo>
                  <a:lnTo>
                    <a:pt x="300" y="516"/>
                  </a:lnTo>
                  <a:lnTo>
                    <a:pt x="300" y="510"/>
                  </a:lnTo>
                  <a:lnTo>
                    <a:pt x="282" y="504"/>
                  </a:lnTo>
                  <a:lnTo>
                    <a:pt x="282" y="498"/>
                  </a:lnTo>
                  <a:lnTo>
                    <a:pt x="264" y="486"/>
                  </a:lnTo>
                  <a:lnTo>
                    <a:pt x="258" y="492"/>
                  </a:lnTo>
                  <a:lnTo>
                    <a:pt x="234" y="492"/>
                  </a:lnTo>
                  <a:lnTo>
                    <a:pt x="222" y="486"/>
                  </a:lnTo>
                  <a:lnTo>
                    <a:pt x="204" y="480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92" y="462"/>
                  </a:lnTo>
                  <a:lnTo>
                    <a:pt x="186" y="462"/>
                  </a:lnTo>
                  <a:lnTo>
                    <a:pt x="180" y="468"/>
                  </a:lnTo>
                  <a:lnTo>
                    <a:pt x="150" y="450"/>
                  </a:lnTo>
                  <a:lnTo>
                    <a:pt x="144" y="438"/>
                  </a:lnTo>
                  <a:lnTo>
                    <a:pt x="138" y="438"/>
                  </a:lnTo>
                  <a:lnTo>
                    <a:pt x="132" y="432"/>
                  </a:lnTo>
                  <a:lnTo>
                    <a:pt x="126" y="432"/>
                  </a:lnTo>
                  <a:lnTo>
                    <a:pt x="120" y="432"/>
                  </a:lnTo>
                  <a:lnTo>
                    <a:pt x="102" y="426"/>
                  </a:lnTo>
                  <a:lnTo>
                    <a:pt x="96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2" y="414"/>
                  </a:lnTo>
                  <a:lnTo>
                    <a:pt x="60" y="414"/>
                  </a:lnTo>
                  <a:lnTo>
                    <a:pt x="30" y="414"/>
                  </a:lnTo>
                  <a:lnTo>
                    <a:pt x="24" y="414"/>
                  </a:lnTo>
                  <a:lnTo>
                    <a:pt x="12" y="414"/>
                  </a:lnTo>
                  <a:lnTo>
                    <a:pt x="0" y="420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0" y="336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30" y="270"/>
                  </a:lnTo>
                  <a:lnTo>
                    <a:pt x="42" y="270"/>
                  </a:lnTo>
                  <a:lnTo>
                    <a:pt x="54" y="264"/>
                  </a:lnTo>
                  <a:lnTo>
                    <a:pt x="78" y="240"/>
                  </a:lnTo>
                  <a:lnTo>
                    <a:pt x="102" y="216"/>
                  </a:lnTo>
                  <a:lnTo>
                    <a:pt x="114" y="210"/>
                  </a:lnTo>
                  <a:lnTo>
                    <a:pt x="120" y="204"/>
                  </a:lnTo>
                  <a:lnTo>
                    <a:pt x="126" y="198"/>
                  </a:lnTo>
                  <a:lnTo>
                    <a:pt x="138" y="18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38"/>
                  </a:lnTo>
                  <a:lnTo>
                    <a:pt x="210" y="126"/>
                  </a:lnTo>
                  <a:lnTo>
                    <a:pt x="216" y="120"/>
                  </a:lnTo>
                  <a:lnTo>
                    <a:pt x="222" y="120"/>
                  </a:lnTo>
                  <a:lnTo>
                    <a:pt x="258" y="114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300" y="102"/>
                  </a:lnTo>
                  <a:lnTo>
                    <a:pt x="312" y="102"/>
                  </a:lnTo>
                  <a:lnTo>
                    <a:pt x="318" y="102"/>
                  </a:lnTo>
                  <a:lnTo>
                    <a:pt x="348" y="96"/>
                  </a:lnTo>
                  <a:lnTo>
                    <a:pt x="366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408" y="84"/>
                  </a:lnTo>
                  <a:lnTo>
                    <a:pt x="420" y="84"/>
                  </a:lnTo>
                  <a:lnTo>
                    <a:pt x="462" y="72"/>
                  </a:lnTo>
                  <a:lnTo>
                    <a:pt x="474" y="72"/>
                  </a:lnTo>
                  <a:lnTo>
                    <a:pt x="474" y="78"/>
                  </a:lnTo>
                  <a:lnTo>
                    <a:pt x="492" y="90"/>
                  </a:lnTo>
                  <a:lnTo>
                    <a:pt x="498" y="90"/>
                  </a:lnTo>
                  <a:lnTo>
                    <a:pt x="522" y="96"/>
                  </a:lnTo>
                  <a:lnTo>
                    <a:pt x="540" y="96"/>
                  </a:lnTo>
                  <a:lnTo>
                    <a:pt x="546" y="96"/>
                  </a:lnTo>
                  <a:lnTo>
                    <a:pt x="558" y="96"/>
                  </a:lnTo>
                  <a:lnTo>
                    <a:pt x="564" y="96"/>
                  </a:lnTo>
                  <a:lnTo>
                    <a:pt x="576" y="96"/>
                  </a:lnTo>
                  <a:lnTo>
                    <a:pt x="588" y="96"/>
                  </a:lnTo>
                  <a:lnTo>
                    <a:pt x="612" y="90"/>
                  </a:lnTo>
                  <a:lnTo>
                    <a:pt x="624" y="90"/>
                  </a:lnTo>
                  <a:lnTo>
                    <a:pt x="636" y="90"/>
                  </a:lnTo>
                  <a:lnTo>
                    <a:pt x="642" y="90"/>
                  </a:lnTo>
                  <a:lnTo>
                    <a:pt x="648" y="96"/>
                  </a:lnTo>
                  <a:lnTo>
                    <a:pt x="660" y="96"/>
                  </a:lnTo>
                  <a:lnTo>
                    <a:pt x="666" y="96"/>
                  </a:lnTo>
                  <a:lnTo>
                    <a:pt x="672" y="96"/>
                  </a:lnTo>
                  <a:lnTo>
                    <a:pt x="684" y="96"/>
                  </a:lnTo>
                  <a:lnTo>
                    <a:pt x="708" y="96"/>
                  </a:lnTo>
                  <a:lnTo>
                    <a:pt x="714" y="96"/>
                  </a:lnTo>
                  <a:lnTo>
                    <a:pt x="726" y="96"/>
                  </a:lnTo>
                  <a:lnTo>
                    <a:pt x="738" y="84"/>
                  </a:lnTo>
                  <a:lnTo>
                    <a:pt x="744" y="78"/>
                  </a:lnTo>
                  <a:lnTo>
                    <a:pt x="756" y="66"/>
                  </a:lnTo>
                  <a:lnTo>
                    <a:pt x="774" y="42"/>
                  </a:lnTo>
                  <a:lnTo>
                    <a:pt x="780" y="30"/>
                  </a:lnTo>
                  <a:lnTo>
                    <a:pt x="816" y="24"/>
                  </a:lnTo>
                  <a:lnTo>
                    <a:pt x="840" y="18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64" y="6"/>
                  </a:lnTo>
                  <a:lnTo>
                    <a:pt x="870" y="6"/>
                  </a:lnTo>
                  <a:lnTo>
                    <a:pt x="894" y="0"/>
                  </a:lnTo>
                  <a:lnTo>
                    <a:pt x="900" y="6"/>
                  </a:lnTo>
                  <a:lnTo>
                    <a:pt x="930" y="18"/>
                  </a:lnTo>
                  <a:lnTo>
                    <a:pt x="942" y="24"/>
                  </a:lnTo>
                  <a:lnTo>
                    <a:pt x="954" y="30"/>
                  </a:lnTo>
                  <a:lnTo>
                    <a:pt x="1026" y="60"/>
                  </a:lnTo>
                  <a:lnTo>
                    <a:pt x="1032" y="60"/>
                  </a:lnTo>
                  <a:lnTo>
                    <a:pt x="1038" y="66"/>
                  </a:lnTo>
                  <a:lnTo>
                    <a:pt x="1068" y="72"/>
                  </a:lnTo>
                  <a:lnTo>
                    <a:pt x="1098" y="84"/>
                  </a:lnTo>
                  <a:lnTo>
                    <a:pt x="1122" y="90"/>
                  </a:lnTo>
                  <a:lnTo>
                    <a:pt x="1122" y="96"/>
                  </a:lnTo>
                  <a:lnTo>
                    <a:pt x="1140" y="102"/>
                  </a:lnTo>
                  <a:lnTo>
                    <a:pt x="1182" y="114"/>
                  </a:lnTo>
                  <a:lnTo>
                    <a:pt x="1188" y="114"/>
                  </a:lnTo>
                  <a:lnTo>
                    <a:pt x="1200" y="120"/>
                  </a:lnTo>
                  <a:lnTo>
                    <a:pt x="1212" y="126"/>
                  </a:lnTo>
                  <a:lnTo>
                    <a:pt x="1224" y="126"/>
                  </a:lnTo>
                  <a:lnTo>
                    <a:pt x="1248" y="138"/>
                  </a:lnTo>
                  <a:lnTo>
                    <a:pt x="1272" y="150"/>
                  </a:lnTo>
                  <a:lnTo>
                    <a:pt x="1284" y="156"/>
                  </a:lnTo>
                  <a:lnTo>
                    <a:pt x="1290" y="162"/>
                  </a:lnTo>
                  <a:lnTo>
                    <a:pt x="1296" y="162"/>
                  </a:lnTo>
                  <a:lnTo>
                    <a:pt x="1308" y="156"/>
                  </a:lnTo>
                  <a:lnTo>
                    <a:pt x="1320" y="150"/>
                  </a:lnTo>
                  <a:lnTo>
                    <a:pt x="1326" y="150"/>
                  </a:lnTo>
                  <a:lnTo>
                    <a:pt x="1338" y="144"/>
                  </a:lnTo>
                  <a:lnTo>
                    <a:pt x="1362" y="144"/>
                  </a:lnTo>
                  <a:lnTo>
                    <a:pt x="1368" y="144"/>
                  </a:lnTo>
                  <a:lnTo>
                    <a:pt x="1374" y="144"/>
                  </a:lnTo>
                  <a:lnTo>
                    <a:pt x="1386" y="150"/>
                  </a:lnTo>
                  <a:lnTo>
                    <a:pt x="1392" y="150"/>
                  </a:lnTo>
                  <a:lnTo>
                    <a:pt x="1398" y="150"/>
                  </a:lnTo>
                  <a:lnTo>
                    <a:pt x="1416" y="162"/>
                  </a:lnTo>
                  <a:lnTo>
                    <a:pt x="1458" y="186"/>
                  </a:lnTo>
                  <a:lnTo>
                    <a:pt x="1464" y="186"/>
                  </a:lnTo>
                  <a:lnTo>
                    <a:pt x="1470" y="192"/>
                  </a:lnTo>
                  <a:lnTo>
                    <a:pt x="1482" y="204"/>
                  </a:lnTo>
                  <a:lnTo>
                    <a:pt x="1512" y="234"/>
                  </a:lnTo>
                  <a:lnTo>
                    <a:pt x="1554" y="276"/>
                  </a:lnTo>
                  <a:lnTo>
                    <a:pt x="1560" y="276"/>
                  </a:lnTo>
                  <a:lnTo>
                    <a:pt x="1566" y="282"/>
                  </a:lnTo>
                  <a:lnTo>
                    <a:pt x="1578" y="294"/>
                  </a:lnTo>
                  <a:lnTo>
                    <a:pt x="1602" y="318"/>
                  </a:lnTo>
                  <a:lnTo>
                    <a:pt x="1614" y="330"/>
                  </a:lnTo>
                  <a:lnTo>
                    <a:pt x="1620" y="336"/>
                  </a:lnTo>
                  <a:lnTo>
                    <a:pt x="1626" y="342"/>
                  </a:lnTo>
                  <a:lnTo>
                    <a:pt x="1632" y="354"/>
                  </a:lnTo>
                  <a:lnTo>
                    <a:pt x="1644" y="366"/>
                  </a:lnTo>
                  <a:lnTo>
                    <a:pt x="1650" y="378"/>
                  </a:lnTo>
                  <a:lnTo>
                    <a:pt x="1650" y="384"/>
                  </a:lnTo>
                  <a:lnTo>
                    <a:pt x="1656" y="384"/>
                  </a:lnTo>
                  <a:lnTo>
                    <a:pt x="1662" y="402"/>
                  </a:lnTo>
                  <a:lnTo>
                    <a:pt x="1668" y="408"/>
                  </a:lnTo>
                  <a:lnTo>
                    <a:pt x="1674" y="426"/>
                  </a:lnTo>
                  <a:lnTo>
                    <a:pt x="1686" y="438"/>
                  </a:lnTo>
                  <a:lnTo>
                    <a:pt x="1698" y="46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9" name="Freeform 34">
              <a:extLst>
                <a:ext uri="{FF2B5EF4-FFF2-40B4-BE49-F238E27FC236}">
                  <a16:creationId xmlns:a16="http://schemas.microsoft.com/office/drawing/2014/main" id="{94603F24-8CF7-4226-A433-00D18CA7D9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1988" y="1681402"/>
              <a:ext cx="869877" cy="1060101"/>
            </a:xfrm>
            <a:custGeom>
              <a:avLst/>
              <a:gdLst>
                <a:gd name="T0" fmla="*/ 4 w 1638"/>
                <a:gd name="T1" fmla="*/ 111 h 1998"/>
                <a:gd name="T2" fmla="*/ 6 w 1638"/>
                <a:gd name="T3" fmla="*/ 87 h 1998"/>
                <a:gd name="T4" fmla="*/ 10 w 1638"/>
                <a:gd name="T5" fmla="*/ 80 h 1998"/>
                <a:gd name="T6" fmla="*/ 10 w 1638"/>
                <a:gd name="T7" fmla="*/ 71 h 1998"/>
                <a:gd name="T8" fmla="*/ 9 w 1638"/>
                <a:gd name="T9" fmla="*/ 56 h 1998"/>
                <a:gd name="T10" fmla="*/ 8 w 1638"/>
                <a:gd name="T11" fmla="*/ 40 h 1998"/>
                <a:gd name="T12" fmla="*/ 20 w 1638"/>
                <a:gd name="T13" fmla="*/ 30 h 1998"/>
                <a:gd name="T14" fmla="*/ 30 w 1638"/>
                <a:gd name="T15" fmla="*/ 19 h 1998"/>
                <a:gd name="T16" fmla="*/ 35 w 1638"/>
                <a:gd name="T17" fmla="*/ 2 h 1998"/>
                <a:gd name="T18" fmla="*/ 47 w 1638"/>
                <a:gd name="T19" fmla="*/ 2 h 1998"/>
                <a:gd name="T20" fmla="*/ 56 w 1638"/>
                <a:gd name="T21" fmla="*/ 7 h 1998"/>
                <a:gd name="T22" fmla="*/ 67 w 1638"/>
                <a:gd name="T23" fmla="*/ 5 h 1998"/>
                <a:gd name="T24" fmla="*/ 65 w 1638"/>
                <a:gd name="T25" fmla="*/ 15 h 1998"/>
                <a:gd name="T26" fmla="*/ 74 w 1638"/>
                <a:gd name="T27" fmla="*/ 24 h 1998"/>
                <a:gd name="T28" fmla="*/ 73 w 1638"/>
                <a:gd name="T29" fmla="*/ 33 h 1998"/>
                <a:gd name="T30" fmla="*/ 74 w 1638"/>
                <a:gd name="T31" fmla="*/ 44 h 1998"/>
                <a:gd name="T32" fmla="*/ 68 w 1638"/>
                <a:gd name="T33" fmla="*/ 45 h 1998"/>
                <a:gd name="T34" fmla="*/ 63 w 1638"/>
                <a:gd name="T35" fmla="*/ 50 h 1998"/>
                <a:gd name="T36" fmla="*/ 61 w 1638"/>
                <a:gd name="T37" fmla="*/ 62 h 1998"/>
                <a:gd name="T38" fmla="*/ 53 w 1638"/>
                <a:gd name="T39" fmla="*/ 86 h 1998"/>
                <a:gd name="T40" fmla="*/ 59 w 1638"/>
                <a:gd name="T41" fmla="*/ 90 h 1998"/>
                <a:gd name="T42" fmla="*/ 65 w 1638"/>
                <a:gd name="T43" fmla="*/ 86 h 1998"/>
                <a:gd name="T44" fmla="*/ 74 w 1638"/>
                <a:gd name="T45" fmla="*/ 84 h 1998"/>
                <a:gd name="T46" fmla="*/ 79 w 1638"/>
                <a:gd name="T47" fmla="*/ 85 h 1998"/>
                <a:gd name="T48" fmla="*/ 84 w 1638"/>
                <a:gd name="T49" fmla="*/ 84 h 1998"/>
                <a:gd name="T50" fmla="*/ 91 w 1638"/>
                <a:gd name="T51" fmla="*/ 84 h 1998"/>
                <a:gd name="T52" fmla="*/ 94 w 1638"/>
                <a:gd name="T53" fmla="*/ 81 h 1998"/>
                <a:gd name="T54" fmla="*/ 100 w 1638"/>
                <a:gd name="T55" fmla="*/ 81 h 1998"/>
                <a:gd name="T56" fmla="*/ 102 w 1638"/>
                <a:gd name="T57" fmla="*/ 84 h 1998"/>
                <a:gd name="T58" fmla="*/ 108 w 1638"/>
                <a:gd name="T59" fmla="*/ 85 h 1998"/>
                <a:gd name="T60" fmla="*/ 113 w 1638"/>
                <a:gd name="T61" fmla="*/ 88 h 1998"/>
                <a:gd name="T62" fmla="*/ 116 w 1638"/>
                <a:gd name="T63" fmla="*/ 88 h 1998"/>
                <a:gd name="T64" fmla="*/ 123 w 1638"/>
                <a:gd name="T65" fmla="*/ 87 h 1998"/>
                <a:gd name="T66" fmla="*/ 128 w 1638"/>
                <a:gd name="T67" fmla="*/ 86 h 1998"/>
                <a:gd name="T68" fmla="*/ 132 w 1638"/>
                <a:gd name="T69" fmla="*/ 90 h 1998"/>
                <a:gd name="T70" fmla="*/ 138 w 1638"/>
                <a:gd name="T71" fmla="*/ 96 h 1998"/>
                <a:gd name="T72" fmla="*/ 138 w 1638"/>
                <a:gd name="T73" fmla="*/ 110 h 1998"/>
                <a:gd name="T74" fmla="*/ 137 w 1638"/>
                <a:gd name="T75" fmla="*/ 118 h 1998"/>
                <a:gd name="T76" fmla="*/ 133 w 1638"/>
                <a:gd name="T77" fmla="*/ 124 h 1998"/>
                <a:gd name="T78" fmla="*/ 122 w 1638"/>
                <a:gd name="T79" fmla="*/ 125 h 1998"/>
                <a:gd name="T80" fmla="*/ 116 w 1638"/>
                <a:gd name="T81" fmla="*/ 127 h 1998"/>
                <a:gd name="T82" fmla="*/ 108 w 1638"/>
                <a:gd name="T83" fmla="*/ 123 h 1998"/>
                <a:gd name="T84" fmla="*/ 109 w 1638"/>
                <a:gd name="T85" fmla="*/ 119 h 1998"/>
                <a:gd name="T86" fmla="*/ 104 w 1638"/>
                <a:gd name="T87" fmla="*/ 104 h 1998"/>
                <a:gd name="T88" fmla="*/ 94 w 1638"/>
                <a:gd name="T89" fmla="*/ 105 h 1998"/>
                <a:gd name="T90" fmla="*/ 88 w 1638"/>
                <a:gd name="T91" fmla="*/ 109 h 1998"/>
                <a:gd name="T92" fmla="*/ 76 w 1638"/>
                <a:gd name="T93" fmla="*/ 107 h 1998"/>
                <a:gd name="T94" fmla="*/ 72 w 1638"/>
                <a:gd name="T95" fmla="*/ 114 h 1998"/>
                <a:gd name="T96" fmla="*/ 86 w 1638"/>
                <a:gd name="T97" fmla="*/ 121 h 1998"/>
                <a:gd name="T98" fmla="*/ 87 w 1638"/>
                <a:gd name="T99" fmla="*/ 129 h 1998"/>
                <a:gd name="T100" fmla="*/ 86 w 1638"/>
                <a:gd name="T101" fmla="*/ 137 h 1998"/>
                <a:gd name="T102" fmla="*/ 79 w 1638"/>
                <a:gd name="T103" fmla="*/ 141 h 1998"/>
                <a:gd name="T104" fmla="*/ 73 w 1638"/>
                <a:gd name="T105" fmla="*/ 144 h 1998"/>
                <a:gd name="T106" fmla="*/ 72 w 1638"/>
                <a:gd name="T107" fmla="*/ 164 h 1998"/>
                <a:gd name="T108" fmla="*/ 68 w 1638"/>
                <a:gd name="T109" fmla="*/ 172 h 1998"/>
                <a:gd name="T110" fmla="*/ 59 w 1638"/>
                <a:gd name="T111" fmla="*/ 164 h 1998"/>
                <a:gd name="T112" fmla="*/ 65 w 1638"/>
                <a:gd name="T113" fmla="*/ 146 h 1998"/>
                <a:gd name="T114" fmla="*/ 69 w 1638"/>
                <a:gd name="T115" fmla="*/ 133 h 1998"/>
                <a:gd name="T116" fmla="*/ 61 w 1638"/>
                <a:gd name="T117" fmla="*/ 131 h 1998"/>
                <a:gd name="T118" fmla="*/ 43 w 1638"/>
                <a:gd name="T119" fmla="*/ 125 h 1998"/>
                <a:gd name="T120" fmla="*/ 23 w 1638"/>
                <a:gd name="T121" fmla="*/ 125 h 1998"/>
                <a:gd name="T122" fmla="*/ 17 w 1638"/>
                <a:gd name="T123" fmla="*/ 121 h 19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638"/>
                <a:gd name="T187" fmla="*/ 0 h 1998"/>
                <a:gd name="T188" fmla="*/ 1638 w 1638"/>
                <a:gd name="T189" fmla="*/ 1998 h 19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638" h="1998">
                  <a:moveTo>
                    <a:pt x="144" y="1380"/>
                  </a:moveTo>
                  <a:lnTo>
                    <a:pt x="150" y="1368"/>
                  </a:lnTo>
                  <a:lnTo>
                    <a:pt x="150" y="1362"/>
                  </a:lnTo>
                  <a:lnTo>
                    <a:pt x="150" y="1356"/>
                  </a:lnTo>
                  <a:lnTo>
                    <a:pt x="144" y="1356"/>
                  </a:lnTo>
                  <a:lnTo>
                    <a:pt x="138" y="1356"/>
                  </a:lnTo>
                  <a:lnTo>
                    <a:pt x="126" y="1356"/>
                  </a:lnTo>
                  <a:lnTo>
                    <a:pt x="114" y="1344"/>
                  </a:lnTo>
                  <a:lnTo>
                    <a:pt x="84" y="1320"/>
                  </a:lnTo>
                  <a:lnTo>
                    <a:pt x="54" y="1296"/>
                  </a:lnTo>
                  <a:lnTo>
                    <a:pt x="48" y="1290"/>
                  </a:lnTo>
                  <a:lnTo>
                    <a:pt x="42" y="1278"/>
                  </a:lnTo>
                  <a:lnTo>
                    <a:pt x="30" y="1272"/>
                  </a:lnTo>
                  <a:lnTo>
                    <a:pt x="0" y="1248"/>
                  </a:lnTo>
                  <a:lnTo>
                    <a:pt x="6" y="1230"/>
                  </a:lnTo>
                  <a:lnTo>
                    <a:pt x="12" y="1194"/>
                  </a:lnTo>
                  <a:lnTo>
                    <a:pt x="18" y="1170"/>
                  </a:lnTo>
                  <a:lnTo>
                    <a:pt x="30" y="1134"/>
                  </a:lnTo>
                  <a:lnTo>
                    <a:pt x="36" y="1086"/>
                  </a:lnTo>
                  <a:lnTo>
                    <a:pt x="42" y="1050"/>
                  </a:lnTo>
                  <a:lnTo>
                    <a:pt x="48" y="1044"/>
                  </a:lnTo>
                  <a:lnTo>
                    <a:pt x="54" y="1026"/>
                  </a:lnTo>
                  <a:lnTo>
                    <a:pt x="60" y="1014"/>
                  </a:lnTo>
                  <a:lnTo>
                    <a:pt x="66" y="1002"/>
                  </a:lnTo>
                  <a:lnTo>
                    <a:pt x="66" y="996"/>
                  </a:lnTo>
                  <a:lnTo>
                    <a:pt x="72" y="996"/>
                  </a:lnTo>
                  <a:lnTo>
                    <a:pt x="72" y="990"/>
                  </a:lnTo>
                  <a:lnTo>
                    <a:pt x="78" y="990"/>
                  </a:lnTo>
                  <a:lnTo>
                    <a:pt x="90" y="978"/>
                  </a:lnTo>
                  <a:lnTo>
                    <a:pt x="96" y="966"/>
                  </a:lnTo>
                  <a:lnTo>
                    <a:pt x="102" y="966"/>
                  </a:lnTo>
                  <a:lnTo>
                    <a:pt x="114" y="954"/>
                  </a:lnTo>
                  <a:lnTo>
                    <a:pt x="120" y="954"/>
                  </a:lnTo>
                  <a:lnTo>
                    <a:pt x="120" y="948"/>
                  </a:lnTo>
                  <a:lnTo>
                    <a:pt x="114" y="930"/>
                  </a:lnTo>
                  <a:lnTo>
                    <a:pt x="114" y="924"/>
                  </a:lnTo>
                  <a:lnTo>
                    <a:pt x="108" y="918"/>
                  </a:lnTo>
                  <a:lnTo>
                    <a:pt x="102" y="912"/>
                  </a:lnTo>
                  <a:lnTo>
                    <a:pt x="90" y="906"/>
                  </a:lnTo>
                  <a:lnTo>
                    <a:pt x="84" y="900"/>
                  </a:lnTo>
                  <a:lnTo>
                    <a:pt x="84" y="888"/>
                  </a:lnTo>
                  <a:lnTo>
                    <a:pt x="84" y="882"/>
                  </a:lnTo>
                  <a:lnTo>
                    <a:pt x="78" y="858"/>
                  </a:lnTo>
                  <a:lnTo>
                    <a:pt x="78" y="852"/>
                  </a:lnTo>
                  <a:lnTo>
                    <a:pt x="84" y="846"/>
                  </a:lnTo>
                  <a:lnTo>
                    <a:pt x="84" y="840"/>
                  </a:lnTo>
                  <a:lnTo>
                    <a:pt x="96" y="828"/>
                  </a:lnTo>
                  <a:lnTo>
                    <a:pt x="114" y="816"/>
                  </a:lnTo>
                  <a:lnTo>
                    <a:pt x="114" y="810"/>
                  </a:lnTo>
                  <a:lnTo>
                    <a:pt x="114" y="804"/>
                  </a:lnTo>
                  <a:lnTo>
                    <a:pt x="108" y="780"/>
                  </a:lnTo>
                  <a:lnTo>
                    <a:pt x="96" y="756"/>
                  </a:lnTo>
                  <a:lnTo>
                    <a:pt x="96" y="750"/>
                  </a:lnTo>
                  <a:lnTo>
                    <a:pt x="90" y="720"/>
                  </a:lnTo>
                  <a:lnTo>
                    <a:pt x="90" y="708"/>
                  </a:lnTo>
                  <a:lnTo>
                    <a:pt x="90" y="690"/>
                  </a:lnTo>
                  <a:lnTo>
                    <a:pt x="96" y="672"/>
                  </a:lnTo>
                  <a:lnTo>
                    <a:pt x="90" y="666"/>
                  </a:lnTo>
                  <a:lnTo>
                    <a:pt x="96" y="666"/>
                  </a:lnTo>
                  <a:lnTo>
                    <a:pt x="102" y="642"/>
                  </a:lnTo>
                  <a:lnTo>
                    <a:pt x="108" y="624"/>
                  </a:lnTo>
                  <a:lnTo>
                    <a:pt x="102" y="618"/>
                  </a:lnTo>
                  <a:lnTo>
                    <a:pt x="102" y="588"/>
                  </a:lnTo>
                  <a:lnTo>
                    <a:pt x="102" y="564"/>
                  </a:lnTo>
                  <a:lnTo>
                    <a:pt x="102" y="546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0"/>
                  </a:lnTo>
                  <a:lnTo>
                    <a:pt x="96" y="498"/>
                  </a:lnTo>
                  <a:lnTo>
                    <a:pt x="96" y="486"/>
                  </a:lnTo>
                  <a:lnTo>
                    <a:pt x="96" y="474"/>
                  </a:lnTo>
                  <a:lnTo>
                    <a:pt x="96" y="462"/>
                  </a:lnTo>
                  <a:lnTo>
                    <a:pt x="114" y="450"/>
                  </a:lnTo>
                  <a:lnTo>
                    <a:pt x="126" y="438"/>
                  </a:lnTo>
                  <a:lnTo>
                    <a:pt x="132" y="432"/>
                  </a:lnTo>
                  <a:lnTo>
                    <a:pt x="144" y="426"/>
                  </a:lnTo>
                  <a:lnTo>
                    <a:pt x="144" y="420"/>
                  </a:lnTo>
                  <a:lnTo>
                    <a:pt x="156" y="414"/>
                  </a:lnTo>
                  <a:lnTo>
                    <a:pt x="162" y="408"/>
                  </a:lnTo>
                  <a:lnTo>
                    <a:pt x="180" y="396"/>
                  </a:lnTo>
                  <a:lnTo>
                    <a:pt x="210" y="372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34" y="348"/>
                  </a:lnTo>
                  <a:lnTo>
                    <a:pt x="240" y="348"/>
                  </a:lnTo>
                  <a:lnTo>
                    <a:pt x="246" y="342"/>
                  </a:lnTo>
                  <a:lnTo>
                    <a:pt x="276" y="318"/>
                  </a:lnTo>
                  <a:lnTo>
                    <a:pt x="282" y="312"/>
                  </a:lnTo>
                  <a:lnTo>
                    <a:pt x="288" y="306"/>
                  </a:lnTo>
                  <a:lnTo>
                    <a:pt x="300" y="288"/>
                  </a:lnTo>
                  <a:lnTo>
                    <a:pt x="306" y="276"/>
                  </a:lnTo>
                  <a:lnTo>
                    <a:pt x="324" y="246"/>
                  </a:lnTo>
                  <a:lnTo>
                    <a:pt x="330" y="240"/>
                  </a:lnTo>
                  <a:lnTo>
                    <a:pt x="336" y="234"/>
                  </a:lnTo>
                  <a:lnTo>
                    <a:pt x="342" y="228"/>
                  </a:lnTo>
                  <a:lnTo>
                    <a:pt x="342" y="216"/>
                  </a:lnTo>
                  <a:lnTo>
                    <a:pt x="354" y="204"/>
                  </a:lnTo>
                  <a:lnTo>
                    <a:pt x="360" y="204"/>
                  </a:lnTo>
                  <a:lnTo>
                    <a:pt x="366" y="186"/>
                  </a:lnTo>
                  <a:lnTo>
                    <a:pt x="384" y="162"/>
                  </a:lnTo>
                  <a:lnTo>
                    <a:pt x="390" y="144"/>
                  </a:lnTo>
                  <a:lnTo>
                    <a:pt x="396" y="114"/>
                  </a:lnTo>
                  <a:lnTo>
                    <a:pt x="396" y="102"/>
                  </a:lnTo>
                  <a:lnTo>
                    <a:pt x="402" y="90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08" y="36"/>
                  </a:lnTo>
                  <a:lnTo>
                    <a:pt x="408" y="24"/>
                  </a:lnTo>
                  <a:lnTo>
                    <a:pt x="408" y="6"/>
                  </a:lnTo>
                  <a:lnTo>
                    <a:pt x="420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68" y="0"/>
                  </a:lnTo>
                  <a:lnTo>
                    <a:pt x="480" y="0"/>
                  </a:lnTo>
                  <a:lnTo>
                    <a:pt x="492" y="0"/>
                  </a:lnTo>
                  <a:lnTo>
                    <a:pt x="498" y="0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8" y="18"/>
                  </a:lnTo>
                  <a:lnTo>
                    <a:pt x="534" y="18"/>
                  </a:lnTo>
                  <a:lnTo>
                    <a:pt x="540" y="18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8" y="36"/>
                  </a:lnTo>
                  <a:lnTo>
                    <a:pt x="588" y="54"/>
                  </a:lnTo>
                  <a:lnTo>
                    <a:pt x="594" y="48"/>
                  </a:lnTo>
                  <a:lnTo>
                    <a:pt x="600" y="48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12" y="66"/>
                  </a:lnTo>
                  <a:lnTo>
                    <a:pt x="630" y="72"/>
                  </a:lnTo>
                  <a:lnTo>
                    <a:pt x="642" y="78"/>
                  </a:lnTo>
                  <a:lnTo>
                    <a:pt x="666" y="78"/>
                  </a:lnTo>
                  <a:lnTo>
                    <a:pt x="672" y="72"/>
                  </a:lnTo>
                  <a:lnTo>
                    <a:pt x="690" y="84"/>
                  </a:lnTo>
                  <a:lnTo>
                    <a:pt x="690" y="90"/>
                  </a:lnTo>
                  <a:lnTo>
                    <a:pt x="708" y="96"/>
                  </a:lnTo>
                  <a:lnTo>
                    <a:pt x="708" y="102"/>
                  </a:lnTo>
                  <a:lnTo>
                    <a:pt x="744" y="96"/>
                  </a:lnTo>
                  <a:lnTo>
                    <a:pt x="756" y="78"/>
                  </a:lnTo>
                  <a:lnTo>
                    <a:pt x="756" y="72"/>
                  </a:lnTo>
                  <a:lnTo>
                    <a:pt x="762" y="66"/>
                  </a:lnTo>
                  <a:lnTo>
                    <a:pt x="768" y="60"/>
                  </a:lnTo>
                  <a:lnTo>
                    <a:pt x="774" y="54"/>
                  </a:lnTo>
                  <a:lnTo>
                    <a:pt x="786" y="54"/>
                  </a:lnTo>
                  <a:lnTo>
                    <a:pt x="786" y="60"/>
                  </a:lnTo>
                  <a:lnTo>
                    <a:pt x="786" y="66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92" y="90"/>
                  </a:lnTo>
                  <a:lnTo>
                    <a:pt x="780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26"/>
                  </a:lnTo>
                  <a:lnTo>
                    <a:pt x="768" y="150"/>
                  </a:lnTo>
                  <a:lnTo>
                    <a:pt x="750" y="168"/>
                  </a:lnTo>
                  <a:lnTo>
                    <a:pt x="750" y="174"/>
                  </a:lnTo>
                  <a:lnTo>
                    <a:pt x="762" y="192"/>
                  </a:lnTo>
                  <a:lnTo>
                    <a:pt x="774" y="210"/>
                  </a:lnTo>
                  <a:lnTo>
                    <a:pt x="792" y="228"/>
                  </a:lnTo>
                  <a:lnTo>
                    <a:pt x="804" y="240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40" y="252"/>
                  </a:lnTo>
                  <a:lnTo>
                    <a:pt x="834" y="252"/>
                  </a:lnTo>
                  <a:lnTo>
                    <a:pt x="846" y="252"/>
                  </a:lnTo>
                  <a:lnTo>
                    <a:pt x="852" y="270"/>
                  </a:lnTo>
                  <a:lnTo>
                    <a:pt x="858" y="282"/>
                  </a:lnTo>
                  <a:lnTo>
                    <a:pt x="858" y="288"/>
                  </a:lnTo>
                  <a:lnTo>
                    <a:pt x="864" y="300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58" y="318"/>
                  </a:lnTo>
                  <a:lnTo>
                    <a:pt x="852" y="318"/>
                  </a:lnTo>
                  <a:lnTo>
                    <a:pt x="846" y="324"/>
                  </a:lnTo>
                  <a:lnTo>
                    <a:pt x="846" y="336"/>
                  </a:lnTo>
                  <a:lnTo>
                    <a:pt x="840" y="348"/>
                  </a:lnTo>
                  <a:lnTo>
                    <a:pt x="840" y="360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46" y="402"/>
                  </a:lnTo>
                  <a:lnTo>
                    <a:pt x="858" y="420"/>
                  </a:lnTo>
                  <a:lnTo>
                    <a:pt x="882" y="426"/>
                  </a:lnTo>
                  <a:lnTo>
                    <a:pt x="888" y="444"/>
                  </a:lnTo>
                  <a:lnTo>
                    <a:pt x="900" y="444"/>
                  </a:lnTo>
                  <a:lnTo>
                    <a:pt x="900" y="462"/>
                  </a:lnTo>
                  <a:lnTo>
                    <a:pt x="894" y="474"/>
                  </a:lnTo>
                  <a:lnTo>
                    <a:pt x="888" y="486"/>
                  </a:lnTo>
                  <a:lnTo>
                    <a:pt x="882" y="492"/>
                  </a:lnTo>
                  <a:lnTo>
                    <a:pt x="870" y="504"/>
                  </a:lnTo>
                  <a:lnTo>
                    <a:pt x="852" y="504"/>
                  </a:lnTo>
                  <a:lnTo>
                    <a:pt x="852" y="510"/>
                  </a:lnTo>
                  <a:lnTo>
                    <a:pt x="852" y="516"/>
                  </a:lnTo>
                  <a:lnTo>
                    <a:pt x="846" y="528"/>
                  </a:lnTo>
                  <a:lnTo>
                    <a:pt x="846" y="582"/>
                  </a:lnTo>
                  <a:lnTo>
                    <a:pt x="840" y="582"/>
                  </a:lnTo>
                  <a:lnTo>
                    <a:pt x="834" y="582"/>
                  </a:lnTo>
                  <a:lnTo>
                    <a:pt x="828" y="582"/>
                  </a:lnTo>
                  <a:lnTo>
                    <a:pt x="822" y="582"/>
                  </a:lnTo>
                  <a:lnTo>
                    <a:pt x="810" y="582"/>
                  </a:lnTo>
                  <a:lnTo>
                    <a:pt x="810" y="528"/>
                  </a:lnTo>
                  <a:lnTo>
                    <a:pt x="792" y="528"/>
                  </a:lnTo>
                  <a:lnTo>
                    <a:pt x="792" y="522"/>
                  </a:lnTo>
                  <a:lnTo>
                    <a:pt x="786" y="522"/>
                  </a:lnTo>
                  <a:lnTo>
                    <a:pt x="786" y="516"/>
                  </a:lnTo>
                  <a:lnTo>
                    <a:pt x="780" y="516"/>
                  </a:lnTo>
                  <a:lnTo>
                    <a:pt x="780" y="510"/>
                  </a:lnTo>
                  <a:lnTo>
                    <a:pt x="762" y="510"/>
                  </a:lnTo>
                  <a:lnTo>
                    <a:pt x="756" y="510"/>
                  </a:lnTo>
                  <a:lnTo>
                    <a:pt x="750" y="522"/>
                  </a:lnTo>
                  <a:lnTo>
                    <a:pt x="744" y="534"/>
                  </a:lnTo>
                  <a:lnTo>
                    <a:pt x="732" y="540"/>
                  </a:lnTo>
                  <a:lnTo>
                    <a:pt x="732" y="558"/>
                  </a:lnTo>
                  <a:lnTo>
                    <a:pt x="732" y="564"/>
                  </a:lnTo>
                  <a:lnTo>
                    <a:pt x="732" y="570"/>
                  </a:lnTo>
                  <a:lnTo>
                    <a:pt x="726" y="576"/>
                  </a:lnTo>
                  <a:lnTo>
                    <a:pt x="720" y="576"/>
                  </a:lnTo>
                  <a:lnTo>
                    <a:pt x="714" y="582"/>
                  </a:lnTo>
                  <a:lnTo>
                    <a:pt x="702" y="588"/>
                  </a:lnTo>
                  <a:lnTo>
                    <a:pt x="696" y="594"/>
                  </a:lnTo>
                  <a:lnTo>
                    <a:pt x="690" y="600"/>
                  </a:lnTo>
                  <a:lnTo>
                    <a:pt x="690" y="606"/>
                  </a:lnTo>
                  <a:lnTo>
                    <a:pt x="678" y="606"/>
                  </a:lnTo>
                  <a:lnTo>
                    <a:pt x="678" y="624"/>
                  </a:lnTo>
                  <a:lnTo>
                    <a:pt x="684" y="642"/>
                  </a:lnTo>
                  <a:lnTo>
                    <a:pt x="684" y="660"/>
                  </a:lnTo>
                  <a:lnTo>
                    <a:pt x="690" y="672"/>
                  </a:lnTo>
                  <a:lnTo>
                    <a:pt x="702" y="720"/>
                  </a:lnTo>
                  <a:lnTo>
                    <a:pt x="708" y="750"/>
                  </a:lnTo>
                  <a:lnTo>
                    <a:pt x="708" y="792"/>
                  </a:lnTo>
                  <a:lnTo>
                    <a:pt x="708" y="828"/>
                  </a:lnTo>
                  <a:lnTo>
                    <a:pt x="708" y="852"/>
                  </a:lnTo>
                  <a:lnTo>
                    <a:pt x="696" y="894"/>
                  </a:lnTo>
                  <a:lnTo>
                    <a:pt x="702" y="900"/>
                  </a:lnTo>
                  <a:lnTo>
                    <a:pt x="708" y="924"/>
                  </a:lnTo>
                  <a:lnTo>
                    <a:pt x="684" y="936"/>
                  </a:lnTo>
                  <a:lnTo>
                    <a:pt x="660" y="954"/>
                  </a:lnTo>
                  <a:lnTo>
                    <a:pt x="618" y="984"/>
                  </a:lnTo>
                  <a:lnTo>
                    <a:pt x="618" y="990"/>
                  </a:lnTo>
                  <a:lnTo>
                    <a:pt x="612" y="996"/>
                  </a:lnTo>
                  <a:lnTo>
                    <a:pt x="606" y="1002"/>
                  </a:lnTo>
                  <a:lnTo>
                    <a:pt x="618" y="1008"/>
                  </a:lnTo>
                  <a:lnTo>
                    <a:pt x="618" y="1014"/>
                  </a:lnTo>
                  <a:lnTo>
                    <a:pt x="624" y="1026"/>
                  </a:lnTo>
                  <a:lnTo>
                    <a:pt x="630" y="1026"/>
                  </a:lnTo>
                  <a:lnTo>
                    <a:pt x="636" y="1032"/>
                  </a:lnTo>
                  <a:lnTo>
                    <a:pt x="642" y="1032"/>
                  </a:lnTo>
                  <a:lnTo>
                    <a:pt x="642" y="1038"/>
                  </a:lnTo>
                  <a:lnTo>
                    <a:pt x="648" y="1044"/>
                  </a:lnTo>
                  <a:lnTo>
                    <a:pt x="666" y="1050"/>
                  </a:lnTo>
                  <a:lnTo>
                    <a:pt x="678" y="1038"/>
                  </a:lnTo>
                  <a:lnTo>
                    <a:pt x="684" y="1038"/>
                  </a:lnTo>
                  <a:lnTo>
                    <a:pt x="684" y="1032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20"/>
                  </a:lnTo>
                  <a:lnTo>
                    <a:pt x="708" y="1014"/>
                  </a:lnTo>
                  <a:lnTo>
                    <a:pt x="720" y="1020"/>
                  </a:lnTo>
                  <a:lnTo>
                    <a:pt x="720" y="1014"/>
                  </a:lnTo>
                  <a:lnTo>
                    <a:pt x="726" y="1008"/>
                  </a:lnTo>
                  <a:lnTo>
                    <a:pt x="732" y="1008"/>
                  </a:lnTo>
                  <a:lnTo>
                    <a:pt x="738" y="1008"/>
                  </a:lnTo>
                  <a:lnTo>
                    <a:pt x="744" y="1002"/>
                  </a:lnTo>
                  <a:lnTo>
                    <a:pt x="744" y="996"/>
                  </a:lnTo>
                  <a:lnTo>
                    <a:pt x="750" y="996"/>
                  </a:lnTo>
                  <a:lnTo>
                    <a:pt x="756" y="1002"/>
                  </a:lnTo>
                  <a:lnTo>
                    <a:pt x="762" y="1002"/>
                  </a:lnTo>
                  <a:lnTo>
                    <a:pt x="768" y="996"/>
                  </a:lnTo>
                  <a:lnTo>
                    <a:pt x="780" y="996"/>
                  </a:lnTo>
                  <a:lnTo>
                    <a:pt x="786" y="996"/>
                  </a:lnTo>
                  <a:lnTo>
                    <a:pt x="816" y="990"/>
                  </a:lnTo>
                  <a:lnTo>
                    <a:pt x="828" y="990"/>
                  </a:lnTo>
                  <a:lnTo>
                    <a:pt x="834" y="990"/>
                  </a:lnTo>
                  <a:lnTo>
                    <a:pt x="840" y="984"/>
                  </a:lnTo>
                  <a:lnTo>
                    <a:pt x="852" y="978"/>
                  </a:lnTo>
                  <a:lnTo>
                    <a:pt x="852" y="972"/>
                  </a:lnTo>
                  <a:lnTo>
                    <a:pt x="858" y="972"/>
                  </a:lnTo>
                  <a:lnTo>
                    <a:pt x="864" y="966"/>
                  </a:lnTo>
                  <a:lnTo>
                    <a:pt x="870" y="966"/>
                  </a:lnTo>
                  <a:lnTo>
                    <a:pt x="876" y="966"/>
                  </a:lnTo>
                  <a:lnTo>
                    <a:pt x="882" y="960"/>
                  </a:lnTo>
                  <a:lnTo>
                    <a:pt x="888" y="960"/>
                  </a:lnTo>
                  <a:lnTo>
                    <a:pt x="894" y="960"/>
                  </a:lnTo>
                  <a:lnTo>
                    <a:pt x="894" y="966"/>
                  </a:lnTo>
                  <a:lnTo>
                    <a:pt x="894" y="978"/>
                  </a:lnTo>
                  <a:lnTo>
                    <a:pt x="894" y="984"/>
                  </a:lnTo>
                  <a:lnTo>
                    <a:pt x="900" y="984"/>
                  </a:lnTo>
                  <a:lnTo>
                    <a:pt x="906" y="978"/>
                  </a:lnTo>
                  <a:lnTo>
                    <a:pt x="912" y="972"/>
                  </a:lnTo>
                  <a:lnTo>
                    <a:pt x="918" y="978"/>
                  </a:lnTo>
                  <a:lnTo>
                    <a:pt x="924" y="978"/>
                  </a:lnTo>
                  <a:lnTo>
                    <a:pt x="924" y="972"/>
                  </a:lnTo>
                  <a:lnTo>
                    <a:pt x="924" y="966"/>
                  </a:lnTo>
                  <a:lnTo>
                    <a:pt x="930" y="966"/>
                  </a:lnTo>
                  <a:lnTo>
                    <a:pt x="948" y="966"/>
                  </a:lnTo>
                  <a:lnTo>
                    <a:pt x="954" y="966"/>
                  </a:lnTo>
                  <a:lnTo>
                    <a:pt x="954" y="960"/>
                  </a:lnTo>
                  <a:lnTo>
                    <a:pt x="960" y="960"/>
                  </a:lnTo>
                  <a:lnTo>
                    <a:pt x="966" y="960"/>
                  </a:lnTo>
                  <a:lnTo>
                    <a:pt x="966" y="966"/>
                  </a:lnTo>
                  <a:lnTo>
                    <a:pt x="978" y="972"/>
                  </a:lnTo>
                  <a:lnTo>
                    <a:pt x="978" y="978"/>
                  </a:lnTo>
                  <a:lnTo>
                    <a:pt x="978" y="984"/>
                  </a:lnTo>
                  <a:lnTo>
                    <a:pt x="984" y="978"/>
                  </a:lnTo>
                  <a:lnTo>
                    <a:pt x="990" y="978"/>
                  </a:lnTo>
                  <a:lnTo>
                    <a:pt x="996" y="984"/>
                  </a:lnTo>
                  <a:lnTo>
                    <a:pt x="1002" y="990"/>
                  </a:lnTo>
                  <a:lnTo>
                    <a:pt x="1008" y="972"/>
                  </a:lnTo>
                  <a:lnTo>
                    <a:pt x="1026" y="972"/>
                  </a:lnTo>
                  <a:lnTo>
                    <a:pt x="1032" y="972"/>
                  </a:lnTo>
                  <a:lnTo>
                    <a:pt x="1038" y="972"/>
                  </a:lnTo>
                  <a:lnTo>
                    <a:pt x="1050" y="972"/>
                  </a:lnTo>
                  <a:lnTo>
                    <a:pt x="1056" y="972"/>
                  </a:lnTo>
                  <a:lnTo>
                    <a:pt x="1062" y="966"/>
                  </a:lnTo>
                  <a:lnTo>
                    <a:pt x="1074" y="966"/>
                  </a:lnTo>
                  <a:lnTo>
                    <a:pt x="1074" y="960"/>
                  </a:lnTo>
                  <a:lnTo>
                    <a:pt x="1080" y="954"/>
                  </a:lnTo>
                  <a:lnTo>
                    <a:pt x="1080" y="948"/>
                  </a:lnTo>
                  <a:lnTo>
                    <a:pt x="1074" y="948"/>
                  </a:lnTo>
                  <a:lnTo>
                    <a:pt x="1068" y="948"/>
                  </a:lnTo>
                  <a:lnTo>
                    <a:pt x="1062" y="942"/>
                  </a:lnTo>
                  <a:lnTo>
                    <a:pt x="1068" y="936"/>
                  </a:lnTo>
                  <a:lnTo>
                    <a:pt x="1074" y="936"/>
                  </a:lnTo>
                  <a:lnTo>
                    <a:pt x="1080" y="936"/>
                  </a:lnTo>
                  <a:lnTo>
                    <a:pt x="1086" y="942"/>
                  </a:lnTo>
                  <a:lnTo>
                    <a:pt x="1092" y="942"/>
                  </a:lnTo>
                  <a:lnTo>
                    <a:pt x="1098" y="948"/>
                  </a:lnTo>
                  <a:lnTo>
                    <a:pt x="1104" y="954"/>
                  </a:lnTo>
                  <a:lnTo>
                    <a:pt x="1110" y="954"/>
                  </a:lnTo>
                  <a:lnTo>
                    <a:pt x="1116" y="948"/>
                  </a:lnTo>
                  <a:lnTo>
                    <a:pt x="1122" y="942"/>
                  </a:lnTo>
                  <a:lnTo>
                    <a:pt x="1128" y="942"/>
                  </a:lnTo>
                  <a:lnTo>
                    <a:pt x="1134" y="942"/>
                  </a:lnTo>
                  <a:lnTo>
                    <a:pt x="1140" y="948"/>
                  </a:lnTo>
                  <a:lnTo>
                    <a:pt x="1146" y="942"/>
                  </a:lnTo>
                  <a:lnTo>
                    <a:pt x="1152" y="942"/>
                  </a:lnTo>
                  <a:lnTo>
                    <a:pt x="1152" y="930"/>
                  </a:lnTo>
                  <a:lnTo>
                    <a:pt x="1164" y="936"/>
                  </a:lnTo>
                  <a:lnTo>
                    <a:pt x="1158" y="942"/>
                  </a:lnTo>
                  <a:lnTo>
                    <a:pt x="1158" y="948"/>
                  </a:lnTo>
                  <a:lnTo>
                    <a:pt x="1146" y="954"/>
                  </a:lnTo>
                  <a:lnTo>
                    <a:pt x="1152" y="954"/>
                  </a:lnTo>
                  <a:lnTo>
                    <a:pt x="1158" y="954"/>
                  </a:lnTo>
                  <a:lnTo>
                    <a:pt x="1158" y="948"/>
                  </a:lnTo>
                  <a:lnTo>
                    <a:pt x="1164" y="948"/>
                  </a:lnTo>
                  <a:lnTo>
                    <a:pt x="1170" y="948"/>
                  </a:lnTo>
                  <a:lnTo>
                    <a:pt x="1176" y="954"/>
                  </a:lnTo>
                  <a:lnTo>
                    <a:pt x="1176" y="966"/>
                  </a:lnTo>
                  <a:lnTo>
                    <a:pt x="1182" y="972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88" y="984"/>
                  </a:lnTo>
                  <a:lnTo>
                    <a:pt x="1194" y="984"/>
                  </a:lnTo>
                  <a:lnTo>
                    <a:pt x="1200" y="984"/>
                  </a:lnTo>
                  <a:lnTo>
                    <a:pt x="1212" y="984"/>
                  </a:lnTo>
                  <a:lnTo>
                    <a:pt x="1218" y="990"/>
                  </a:lnTo>
                  <a:lnTo>
                    <a:pt x="1224" y="990"/>
                  </a:lnTo>
                  <a:lnTo>
                    <a:pt x="1224" y="984"/>
                  </a:lnTo>
                  <a:lnTo>
                    <a:pt x="1230" y="990"/>
                  </a:lnTo>
                  <a:lnTo>
                    <a:pt x="1236" y="984"/>
                  </a:lnTo>
                  <a:lnTo>
                    <a:pt x="1242" y="984"/>
                  </a:lnTo>
                  <a:lnTo>
                    <a:pt x="1248" y="990"/>
                  </a:lnTo>
                  <a:lnTo>
                    <a:pt x="1254" y="990"/>
                  </a:lnTo>
                  <a:lnTo>
                    <a:pt x="1254" y="996"/>
                  </a:lnTo>
                  <a:lnTo>
                    <a:pt x="1254" y="1002"/>
                  </a:lnTo>
                  <a:lnTo>
                    <a:pt x="1254" y="1008"/>
                  </a:lnTo>
                  <a:lnTo>
                    <a:pt x="1260" y="1014"/>
                  </a:lnTo>
                  <a:lnTo>
                    <a:pt x="1266" y="1014"/>
                  </a:lnTo>
                  <a:lnTo>
                    <a:pt x="1272" y="1014"/>
                  </a:lnTo>
                  <a:lnTo>
                    <a:pt x="1278" y="1020"/>
                  </a:lnTo>
                  <a:lnTo>
                    <a:pt x="1284" y="1020"/>
                  </a:lnTo>
                  <a:lnTo>
                    <a:pt x="1290" y="1014"/>
                  </a:lnTo>
                  <a:lnTo>
                    <a:pt x="1290" y="1008"/>
                  </a:lnTo>
                  <a:lnTo>
                    <a:pt x="1296" y="1008"/>
                  </a:lnTo>
                  <a:lnTo>
                    <a:pt x="1302" y="1014"/>
                  </a:lnTo>
                  <a:lnTo>
                    <a:pt x="1308" y="1014"/>
                  </a:lnTo>
                  <a:lnTo>
                    <a:pt x="1314" y="1008"/>
                  </a:lnTo>
                  <a:lnTo>
                    <a:pt x="1320" y="1008"/>
                  </a:lnTo>
                  <a:lnTo>
                    <a:pt x="1320" y="1002"/>
                  </a:lnTo>
                  <a:lnTo>
                    <a:pt x="1320" y="996"/>
                  </a:lnTo>
                  <a:lnTo>
                    <a:pt x="1332" y="1002"/>
                  </a:lnTo>
                  <a:lnTo>
                    <a:pt x="1332" y="1008"/>
                  </a:lnTo>
                  <a:lnTo>
                    <a:pt x="1326" y="1014"/>
                  </a:lnTo>
                  <a:lnTo>
                    <a:pt x="1332" y="1014"/>
                  </a:lnTo>
                  <a:lnTo>
                    <a:pt x="1338" y="1014"/>
                  </a:lnTo>
                  <a:lnTo>
                    <a:pt x="1338" y="1008"/>
                  </a:lnTo>
                  <a:lnTo>
                    <a:pt x="1344" y="1008"/>
                  </a:lnTo>
                  <a:lnTo>
                    <a:pt x="1350" y="1008"/>
                  </a:lnTo>
                  <a:lnTo>
                    <a:pt x="1356" y="1014"/>
                  </a:lnTo>
                  <a:lnTo>
                    <a:pt x="1356" y="1008"/>
                  </a:lnTo>
                  <a:lnTo>
                    <a:pt x="1362" y="1014"/>
                  </a:lnTo>
                  <a:lnTo>
                    <a:pt x="1392" y="1014"/>
                  </a:lnTo>
                  <a:lnTo>
                    <a:pt x="1398" y="1014"/>
                  </a:lnTo>
                  <a:lnTo>
                    <a:pt x="1404" y="1008"/>
                  </a:lnTo>
                  <a:lnTo>
                    <a:pt x="1404" y="1014"/>
                  </a:lnTo>
                  <a:lnTo>
                    <a:pt x="1410" y="1008"/>
                  </a:lnTo>
                  <a:lnTo>
                    <a:pt x="1416" y="1008"/>
                  </a:lnTo>
                  <a:lnTo>
                    <a:pt x="1422" y="1002"/>
                  </a:lnTo>
                  <a:lnTo>
                    <a:pt x="1428" y="1002"/>
                  </a:lnTo>
                  <a:lnTo>
                    <a:pt x="1428" y="996"/>
                  </a:lnTo>
                  <a:lnTo>
                    <a:pt x="1428" y="990"/>
                  </a:lnTo>
                  <a:lnTo>
                    <a:pt x="1440" y="1002"/>
                  </a:lnTo>
                  <a:lnTo>
                    <a:pt x="1446" y="1002"/>
                  </a:lnTo>
                  <a:lnTo>
                    <a:pt x="1452" y="1002"/>
                  </a:lnTo>
                  <a:lnTo>
                    <a:pt x="1446" y="996"/>
                  </a:lnTo>
                  <a:lnTo>
                    <a:pt x="1452" y="996"/>
                  </a:lnTo>
                  <a:lnTo>
                    <a:pt x="1458" y="996"/>
                  </a:lnTo>
                  <a:lnTo>
                    <a:pt x="1464" y="996"/>
                  </a:lnTo>
                  <a:lnTo>
                    <a:pt x="1464" y="1002"/>
                  </a:lnTo>
                  <a:lnTo>
                    <a:pt x="1476" y="1014"/>
                  </a:lnTo>
                  <a:lnTo>
                    <a:pt x="1476" y="1008"/>
                  </a:lnTo>
                  <a:lnTo>
                    <a:pt x="1482" y="1008"/>
                  </a:lnTo>
                  <a:lnTo>
                    <a:pt x="1488" y="1020"/>
                  </a:lnTo>
                  <a:lnTo>
                    <a:pt x="1494" y="1020"/>
                  </a:lnTo>
                  <a:lnTo>
                    <a:pt x="1500" y="1014"/>
                  </a:lnTo>
                  <a:lnTo>
                    <a:pt x="1500" y="1020"/>
                  </a:lnTo>
                  <a:lnTo>
                    <a:pt x="1506" y="1026"/>
                  </a:lnTo>
                  <a:lnTo>
                    <a:pt x="1512" y="1032"/>
                  </a:lnTo>
                  <a:lnTo>
                    <a:pt x="1518" y="1032"/>
                  </a:lnTo>
                  <a:lnTo>
                    <a:pt x="1518" y="1038"/>
                  </a:lnTo>
                  <a:lnTo>
                    <a:pt x="1518" y="1044"/>
                  </a:lnTo>
                  <a:lnTo>
                    <a:pt x="1524" y="1044"/>
                  </a:lnTo>
                  <a:lnTo>
                    <a:pt x="1524" y="1050"/>
                  </a:lnTo>
                  <a:lnTo>
                    <a:pt x="1530" y="1056"/>
                  </a:lnTo>
                  <a:lnTo>
                    <a:pt x="1548" y="1062"/>
                  </a:lnTo>
                  <a:lnTo>
                    <a:pt x="1560" y="1074"/>
                  </a:lnTo>
                  <a:lnTo>
                    <a:pt x="1560" y="1080"/>
                  </a:lnTo>
                  <a:lnTo>
                    <a:pt x="1560" y="1086"/>
                  </a:lnTo>
                  <a:lnTo>
                    <a:pt x="1566" y="1086"/>
                  </a:lnTo>
                  <a:lnTo>
                    <a:pt x="1572" y="1098"/>
                  </a:lnTo>
                  <a:lnTo>
                    <a:pt x="1572" y="1104"/>
                  </a:lnTo>
                  <a:lnTo>
                    <a:pt x="1584" y="1110"/>
                  </a:lnTo>
                  <a:lnTo>
                    <a:pt x="1590" y="1116"/>
                  </a:lnTo>
                  <a:lnTo>
                    <a:pt x="1596" y="1116"/>
                  </a:lnTo>
                  <a:lnTo>
                    <a:pt x="1608" y="1122"/>
                  </a:lnTo>
                  <a:lnTo>
                    <a:pt x="1620" y="1140"/>
                  </a:lnTo>
                  <a:lnTo>
                    <a:pt x="1626" y="1158"/>
                  </a:lnTo>
                  <a:lnTo>
                    <a:pt x="1638" y="1200"/>
                  </a:lnTo>
                  <a:lnTo>
                    <a:pt x="1638" y="1218"/>
                  </a:lnTo>
                  <a:lnTo>
                    <a:pt x="1620" y="1230"/>
                  </a:lnTo>
                  <a:lnTo>
                    <a:pt x="1554" y="1230"/>
                  </a:lnTo>
                  <a:lnTo>
                    <a:pt x="1560" y="1248"/>
                  </a:lnTo>
                  <a:lnTo>
                    <a:pt x="1584" y="1260"/>
                  </a:lnTo>
                  <a:lnTo>
                    <a:pt x="1584" y="1266"/>
                  </a:lnTo>
                  <a:lnTo>
                    <a:pt x="1578" y="1272"/>
                  </a:lnTo>
                  <a:lnTo>
                    <a:pt x="1572" y="1272"/>
                  </a:lnTo>
                  <a:lnTo>
                    <a:pt x="1566" y="1278"/>
                  </a:lnTo>
                  <a:lnTo>
                    <a:pt x="1566" y="1284"/>
                  </a:lnTo>
                  <a:lnTo>
                    <a:pt x="1560" y="1290"/>
                  </a:lnTo>
                  <a:lnTo>
                    <a:pt x="1554" y="1290"/>
                  </a:lnTo>
                  <a:lnTo>
                    <a:pt x="1554" y="1296"/>
                  </a:lnTo>
                  <a:lnTo>
                    <a:pt x="1554" y="1302"/>
                  </a:lnTo>
                  <a:lnTo>
                    <a:pt x="1560" y="1332"/>
                  </a:lnTo>
                  <a:lnTo>
                    <a:pt x="1566" y="1356"/>
                  </a:lnTo>
                  <a:lnTo>
                    <a:pt x="1572" y="1356"/>
                  </a:lnTo>
                  <a:lnTo>
                    <a:pt x="1572" y="1362"/>
                  </a:lnTo>
                  <a:lnTo>
                    <a:pt x="1578" y="1362"/>
                  </a:lnTo>
                  <a:lnTo>
                    <a:pt x="1560" y="1374"/>
                  </a:lnTo>
                  <a:lnTo>
                    <a:pt x="1560" y="1380"/>
                  </a:lnTo>
                  <a:lnTo>
                    <a:pt x="1548" y="1380"/>
                  </a:lnTo>
                  <a:lnTo>
                    <a:pt x="1548" y="1386"/>
                  </a:lnTo>
                  <a:lnTo>
                    <a:pt x="1548" y="1392"/>
                  </a:lnTo>
                  <a:lnTo>
                    <a:pt x="1542" y="1410"/>
                  </a:lnTo>
                  <a:lnTo>
                    <a:pt x="1536" y="1422"/>
                  </a:lnTo>
                  <a:lnTo>
                    <a:pt x="1536" y="1428"/>
                  </a:lnTo>
                  <a:lnTo>
                    <a:pt x="1530" y="1440"/>
                  </a:lnTo>
                  <a:lnTo>
                    <a:pt x="1524" y="1434"/>
                  </a:lnTo>
                  <a:lnTo>
                    <a:pt x="1524" y="1428"/>
                  </a:lnTo>
                  <a:lnTo>
                    <a:pt x="1524" y="1422"/>
                  </a:lnTo>
                  <a:lnTo>
                    <a:pt x="1512" y="1410"/>
                  </a:lnTo>
                  <a:lnTo>
                    <a:pt x="1506" y="1404"/>
                  </a:lnTo>
                  <a:lnTo>
                    <a:pt x="1506" y="1398"/>
                  </a:lnTo>
                  <a:lnTo>
                    <a:pt x="1494" y="1392"/>
                  </a:lnTo>
                  <a:lnTo>
                    <a:pt x="1476" y="1404"/>
                  </a:lnTo>
                  <a:lnTo>
                    <a:pt x="1464" y="1416"/>
                  </a:lnTo>
                  <a:lnTo>
                    <a:pt x="1458" y="1428"/>
                  </a:lnTo>
                  <a:lnTo>
                    <a:pt x="1446" y="1434"/>
                  </a:lnTo>
                  <a:lnTo>
                    <a:pt x="1410" y="1440"/>
                  </a:lnTo>
                  <a:lnTo>
                    <a:pt x="1398" y="1440"/>
                  </a:lnTo>
                  <a:lnTo>
                    <a:pt x="1398" y="1446"/>
                  </a:lnTo>
                  <a:lnTo>
                    <a:pt x="1386" y="1446"/>
                  </a:lnTo>
                  <a:lnTo>
                    <a:pt x="1380" y="1440"/>
                  </a:lnTo>
                  <a:lnTo>
                    <a:pt x="1368" y="1440"/>
                  </a:lnTo>
                  <a:lnTo>
                    <a:pt x="1368" y="1446"/>
                  </a:lnTo>
                  <a:lnTo>
                    <a:pt x="1356" y="1446"/>
                  </a:lnTo>
                  <a:lnTo>
                    <a:pt x="1350" y="1452"/>
                  </a:lnTo>
                  <a:lnTo>
                    <a:pt x="1338" y="1452"/>
                  </a:lnTo>
                  <a:lnTo>
                    <a:pt x="1338" y="1458"/>
                  </a:lnTo>
                  <a:lnTo>
                    <a:pt x="1332" y="1458"/>
                  </a:lnTo>
                  <a:lnTo>
                    <a:pt x="1332" y="1464"/>
                  </a:lnTo>
                  <a:lnTo>
                    <a:pt x="1332" y="1470"/>
                  </a:lnTo>
                  <a:lnTo>
                    <a:pt x="1326" y="1470"/>
                  </a:lnTo>
                  <a:lnTo>
                    <a:pt x="1320" y="1470"/>
                  </a:lnTo>
                  <a:lnTo>
                    <a:pt x="1314" y="1470"/>
                  </a:lnTo>
                  <a:lnTo>
                    <a:pt x="1314" y="1464"/>
                  </a:lnTo>
                  <a:lnTo>
                    <a:pt x="1308" y="1464"/>
                  </a:lnTo>
                  <a:lnTo>
                    <a:pt x="1308" y="1452"/>
                  </a:lnTo>
                  <a:lnTo>
                    <a:pt x="1284" y="1458"/>
                  </a:lnTo>
                  <a:lnTo>
                    <a:pt x="1272" y="1458"/>
                  </a:lnTo>
                  <a:lnTo>
                    <a:pt x="1272" y="1464"/>
                  </a:lnTo>
                  <a:lnTo>
                    <a:pt x="1260" y="1464"/>
                  </a:lnTo>
                  <a:lnTo>
                    <a:pt x="1254" y="1464"/>
                  </a:lnTo>
                  <a:lnTo>
                    <a:pt x="1242" y="1422"/>
                  </a:lnTo>
                  <a:lnTo>
                    <a:pt x="1242" y="1416"/>
                  </a:lnTo>
                  <a:lnTo>
                    <a:pt x="1242" y="1410"/>
                  </a:lnTo>
                  <a:lnTo>
                    <a:pt x="1248" y="1410"/>
                  </a:lnTo>
                  <a:lnTo>
                    <a:pt x="1242" y="1410"/>
                  </a:lnTo>
                  <a:lnTo>
                    <a:pt x="1242" y="1404"/>
                  </a:lnTo>
                  <a:lnTo>
                    <a:pt x="1242" y="1398"/>
                  </a:lnTo>
                  <a:lnTo>
                    <a:pt x="1248" y="1392"/>
                  </a:lnTo>
                  <a:lnTo>
                    <a:pt x="1248" y="1386"/>
                  </a:lnTo>
                  <a:lnTo>
                    <a:pt x="1242" y="1380"/>
                  </a:lnTo>
                  <a:lnTo>
                    <a:pt x="1248" y="1380"/>
                  </a:lnTo>
                  <a:lnTo>
                    <a:pt x="1248" y="1374"/>
                  </a:lnTo>
                  <a:lnTo>
                    <a:pt x="1248" y="1368"/>
                  </a:lnTo>
                  <a:lnTo>
                    <a:pt x="1254" y="1368"/>
                  </a:lnTo>
                  <a:lnTo>
                    <a:pt x="1254" y="1362"/>
                  </a:lnTo>
                  <a:lnTo>
                    <a:pt x="1248" y="1356"/>
                  </a:lnTo>
                  <a:lnTo>
                    <a:pt x="1254" y="1356"/>
                  </a:lnTo>
                  <a:lnTo>
                    <a:pt x="1254" y="1344"/>
                  </a:lnTo>
                  <a:lnTo>
                    <a:pt x="1242" y="1338"/>
                  </a:lnTo>
                  <a:lnTo>
                    <a:pt x="1242" y="1326"/>
                  </a:lnTo>
                  <a:lnTo>
                    <a:pt x="1230" y="1326"/>
                  </a:lnTo>
                  <a:lnTo>
                    <a:pt x="1230" y="1314"/>
                  </a:lnTo>
                  <a:lnTo>
                    <a:pt x="1218" y="1314"/>
                  </a:lnTo>
                  <a:lnTo>
                    <a:pt x="1200" y="1272"/>
                  </a:lnTo>
                  <a:lnTo>
                    <a:pt x="1194" y="1242"/>
                  </a:lnTo>
                  <a:lnTo>
                    <a:pt x="1194" y="1206"/>
                  </a:lnTo>
                  <a:lnTo>
                    <a:pt x="1182" y="1200"/>
                  </a:lnTo>
                  <a:lnTo>
                    <a:pt x="1164" y="1206"/>
                  </a:lnTo>
                  <a:lnTo>
                    <a:pt x="1146" y="1212"/>
                  </a:lnTo>
                  <a:lnTo>
                    <a:pt x="1146" y="1218"/>
                  </a:lnTo>
                  <a:lnTo>
                    <a:pt x="1134" y="1224"/>
                  </a:lnTo>
                  <a:lnTo>
                    <a:pt x="1140" y="1260"/>
                  </a:lnTo>
                  <a:lnTo>
                    <a:pt x="1134" y="1266"/>
                  </a:lnTo>
                  <a:lnTo>
                    <a:pt x="1122" y="1266"/>
                  </a:lnTo>
                  <a:lnTo>
                    <a:pt x="1110" y="1236"/>
                  </a:lnTo>
                  <a:lnTo>
                    <a:pt x="1110" y="1224"/>
                  </a:lnTo>
                  <a:lnTo>
                    <a:pt x="1086" y="1224"/>
                  </a:lnTo>
                  <a:lnTo>
                    <a:pt x="1086" y="1212"/>
                  </a:lnTo>
                  <a:lnTo>
                    <a:pt x="1074" y="1212"/>
                  </a:lnTo>
                  <a:lnTo>
                    <a:pt x="1050" y="1212"/>
                  </a:lnTo>
                  <a:lnTo>
                    <a:pt x="1056" y="1218"/>
                  </a:lnTo>
                  <a:lnTo>
                    <a:pt x="1050" y="1272"/>
                  </a:lnTo>
                  <a:lnTo>
                    <a:pt x="1044" y="1272"/>
                  </a:lnTo>
                  <a:lnTo>
                    <a:pt x="1038" y="1284"/>
                  </a:lnTo>
                  <a:lnTo>
                    <a:pt x="1032" y="1302"/>
                  </a:lnTo>
                  <a:lnTo>
                    <a:pt x="1014" y="1302"/>
                  </a:lnTo>
                  <a:lnTo>
                    <a:pt x="1020" y="1284"/>
                  </a:lnTo>
                  <a:lnTo>
                    <a:pt x="1026" y="1278"/>
                  </a:lnTo>
                  <a:lnTo>
                    <a:pt x="1026" y="1266"/>
                  </a:lnTo>
                  <a:lnTo>
                    <a:pt x="1014" y="1260"/>
                  </a:lnTo>
                  <a:lnTo>
                    <a:pt x="1014" y="1272"/>
                  </a:lnTo>
                  <a:lnTo>
                    <a:pt x="990" y="1278"/>
                  </a:lnTo>
                  <a:lnTo>
                    <a:pt x="990" y="1254"/>
                  </a:lnTo>
                  <a:lnTo>
                    <a:pt x="984" y="1254"/>
                  </a:lnTo>
                  <a:lnTo>
                    <a:pt x="978" y="1242"/>
                  </a:lnTo>
                  <a:lnTo>
                    <a:pt x="972" y="1236"/>
                  </a:lnTo>
                  <a:lnTo>
                    <a:pt x="960" y="1206"/>
                  </a:lnTo>
                  <a:lnTo>
                    <a:pt x="942" y="1206"/>
                  </a:lnTo>
                  <a:lnTo>
                    <a:pt x="936" y="1200"/>
                  </a:lnTo>
                  <a:lnTo>
                    <a:pt x="906" y="1212"/>
                  </a:lnTo>
                  <a:lnTo>
                    <a:pt x="888" y="1230"/>
                  </a:lnTo>
                  <a:lnTo>
                    <a:pt x="876" y="1230"/>
                  </a:lnTo>
                  <a:lnTo>
                    <a:pt x="864" y="1236"/>
                  </a:lnTo>
                  <a:lnTo>
                    <a:pt x="858" y="1236"/>
                  </a:lnTo>
                  <a:lnTo>
                    <a:pt x="852" y="1254"/>
                  </a:lnTo>
                  <a:lnTo>
                    <a:pt x="858" y="1254"/>
                  </a:lnTo>
                  <a:lnTo>
                    <a:pt x="840" y="1266"/>
                  </a:lnTo>
                  <a:lnTo>
                    <a:pt x="828" y="1272"/>
                  </a:lnTo>
                  <a:lnTo>
                    <a:pt x="828" y="1284"/>
                  </a:lnTo>
                  <a:lnTo>
                    <a:pt x="822" y="1284"/>
                  </a:lnTo>
                  <a:lnTo>
                    <a:pt x="804" y="1296"/>
                  </a:lnTo>
                  <a:lnTo>
                    <a:pt x="804" y="1308"/>
                  </a:lnTo>
                  <a:lnTo>
                    <a:pt x="816" y="1320"/>
                  </a:lnTo>
                  <a:lnTo>
                    <a:pt x="828" y="1320"/>
                  </a:lnTo>
                  <a:lnTo>
                    <a:pt x="822" y="1338"/>
                  </a:lnTo>
                  <a:lnTo>
                    <a:pt x="852" y="1344"/>
                  </a:lnTo>
                  <a:lnTo>
                    <a:pt x="864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94" y="1356"/>
                  </a:lnTo>
                  <a:lnTo>
                    <a:pt x="912" y="1368"/>
                  </a:lnTo>
                  <a:lnTo>
                    <a:pt x="918" y="1380"/>
                  </a:lnTo>
                  <a:lnTo>
                    <a:pt x="936" y="1380"/>
                  </a:lnTo>
                  <a:lnTo>
                    <a:pt x="960" y="1386"/>
                  </a:lnTo>
                  <a:lnTo>
                    <a:pt x="990" y="1386"/>
                  </a:lnTo>
                  <a:lnTo>
                    <a:pt x="990" y="1392"/>
                  </a:lnTo>
                  <a:lnTo>
                    <a:pt x="1020" y="1398"/>
                  </a:lnTo>
                  <a:lnTo>
                    <a:pt x="1014" y="1404"/>
                  </a:lnTo>
                  <a:lnTo>
                    <a:pt x="1008" y="1404"/>
                  </a:lnTo>
                  <a:lnTo>
                    <a:pt x="1014" y="1440"/>
                  </a:lnTo>
                  <a:lnTo>
                    <a:pt x="1020" y="1458"/>
                  </a:lnTo>
                  <a:lnTo>
                    <a:pt x="1026" y="1476"/>
                  </a:lnTo>
                  <a:lnTo>
                    <a:pt x="1020" y="1476"/>
                  </a:lnTo>
                  <a:lnTo>
                    <a:pt x="1014" y="1476"/>
                  </a:lnTo>
                  <a:lnTo>
                    <a:pt x="1014" y="1482"/>
                  </a:lnTo>
                  <a:lnTo>
                    <a:pt x="1014" y="1488"/>
                  </a:lnTo>
                  <a:lnTo>
                    <a:pt x="1002" y="1488"/>
                  </a:lnTo>
                  <a:lnTo>
                    <a:pt x="1002" y="1494"/>
                  </a:lnTo>
                  <a:lnTo>
                    <a:pt x="996" y="1494"/>
                  </a:lnTo>
                  <a:lnTo>
                    <a:pt x="996" y="1518"/>
                  </a:lnTo>
                  <a:lnTo>
                    <a:pt x="1002" y="1524"/>
                  </a:lnTo>
                  <a:lnTo>
                    <a:pt x="1020" y="1530"/>
                  </a:lnTo>
                  <a:lnTo>
                    <a:pt x="1026" y="1542"/>
                  </a:lnTo>
                  <a:lnTo>
                    <a:pt x="1032" y="1566"/>
                  </a:lnTo>
                  <a:lnTo>
                    <a:pt x="1038" y="1578"/>
                  </a:lnTo>
                  <a:lnTo>
                    <a:pt x="1032" y="1584"/>
                  </a:lnTo>
                  <a:lnTo>
                    <a:pt x="1020" y="1584"/>
                  </a:lnTo>
                  <a:lnTo>
                    <a:pt x="1014" y="1584"/>
                  </a:lnTo>
                  <a:lnTo>
                    <a:pt x="1008" y="1596"/>
                  </a:lnTo>
                  <a:lnTo>
                    <a:pt x="990" y="1584"/>
                  </a:lnTo>
                  <a:lnTo>
                    <a:pt x="984" y="1602"/>
                  </a:lnTo>
                  <a:lnTo>
                    <a:pt x="978" y="1608"/>
                  </a:lnTo>
                  <a:lnTo>
                    <a:pt x="966" y="1608"/>
                  </a:lnTo>
                  <a:lnTo>
                    <a:pt x="960" y="1614"/>
                  </a:lnTo>
                  <a:lnTo>
                    <a:pt x="954" y="1614"/>
                  </a:lnTo>
                  <a:lnTo>
                    <a:pt x="942" y="1620"/>
                  </a:lnTo>
                  <a:lnTo>
                    <a:pt x="936" y="1620"/>
                  </a:lnTo>
                  <a:lnTo>
                    <a:pt x="930" y="1620"/>
                  </a:lnTo>
                  <a:lnTo>
                    <a:pt x="930" y="1626"/>
                  </a:lnTo>
                  <a:lnTo>
                    <a:pt x="930" y="1632"/>
                  </a:lnTo>
                  <a:lnTo>
                    <a:pt x="918" y="1632"/>
                  </a:lnTo>
                  <a:lnTo>
                    <a:pt x="912" y="1632"/>
                  </a:lnTo>
                  <a:lnTo>
                    <a:pt x="906" y="1632"/>
                  </a:lnTo>
                  <a:lnTo>
                    <a:pt x="900" y="1632"/>
                  </a:lnTo>
                  <a:lnTo>
                    <a:pt x="894" y="1626"/>
                  </a:lnTo>
                  <a:lnTo>
                    <a:pt x="894" y="1614"/>
                  </a:lnTo>
                  <a:lnTo>
                    <a:pt x="840" y="1614"/>
                  </a:lnTo>
                  <a:lnTo>
                    <a:pt x="840" y="1626"/>
                  </a:lnTo>
                  <a:lnTo>
                    <a:pt x="834" y="1626"/>
                  </a:lnTo>
                  <a:lnTo>
                    <a:pt x="828" y="1632"/>
                  </a:lnTo>
                  <a:lnTo>
                    <a:pt x="822" y="1638"/>
                  </a:lnTo>
                  <a:lnTo>
                    <a:pt x="822" y="1644"/>
                  </a:lnTo>
                  <a:lnTo>
                    <a:pt x="834" y="1650"/>
                  </a:lnTo>
                  <a:lnTo>
                    <a:pt x="840" y="1662"/>
                  </a:lnTo>
                  <a:lnTo>
                    <a:pt x="840" y="1668"/>
                  </a:lnTo>
                  <a:lnTo>
                    <a:pt x="858" y="1680"/>
                  </a:lnTo>
                  <a:lnTo>
                    <a:pt x="858" y="1752"/>
                  </a:lnTo>
                  <a:lnTo>
                    <a:pt x="864" y="1782"/>
                  </a:lnTo>
                  <a:lnTo>
                    <a:pt x="876" y="1788"/>
                  </a:lnTo>
                  <a:lnTo>
                    <a:pt x="870" y="1854"/>
                  </a:lnTo>
                  <a:lnTo>
                    <a:pt x="870" y="1884"/>
                  </a:lnTo>
                  <a:lnTo>
                    <a:pt x="864" y="1884"/>
                  </a:lnTo>
                  <a:lnTo>
                    <a:pt x="846" y="1896"/>
                  </a:lnTo>
                  <a:lnTo>
                    <a:pt x="840" y="1896"/>
                  </a:lnTo>
                  <a:lnTo>
                    <a:pt x="834" y="1896"/>
                  </a:lnTo>
                  <a:lnTo>
                    <a:pt x="828" y="1890"/>
                  </a:lnTo>
                  <a:lnTo>
                    <a:pt x="822" y="1890"/>
                  </a:lnTo>
                  <a:lnTo>
                    <a:pt x="816" y="1896"/>
                  </a:lnTo>
                  <a:lnTo>
                    <a:pt x="804" y="1896"/>
                  </a:lnTo>
                  <a:lnTo>
                    <a:pt x="804" y="1890"/>
                  </a:lnTo>
                  <a:lnTo>
                    <a:pt x="780" y="1896"/>
                  </a:lnTo>
                  <a:lnTo>
                    <a:pt x="780" y="1902"/>
                  </a:lnTo>
                  <a:lnTo>
                    <a:pt x="774" y="1914"/>
                  </a:lnTo>
                  <a:lnTo>
                    <a:pt x="762" y="1926"/>
                  </a:lnTo>
                  <a:lnTo>
                    <a:pt x="762" y="1950"/>
                  </a:lnTo>
                  <a:lnTo>
                    <a:pt x="762" y="1962"/>
                  </a:lnTo>
                  <a:lnTo>
                    <a:pt x="780" y="1974"/>
                  </a:lnTo>
                  <a:lnTo>
                    <a:pt x="780" y="1986"/>
                  </a:lnTo>
                  <a:lnTo>
                    <a:pt x="780" y="1998"/>
                  </a:lnTo>
                  <a:lnTo>
                    <a:pt x="756" y="1998"/>
                  </a:lnTo>
                  <a:lnTo>
                    <a:pt x="720" y="1992"/>
                  </a:lnTo>
                  <a:lnTo>
                    <a:pt x="666" y="1998"/>
                  </a:lnTo>
                  <a:lnTo>
                    <a:pt x="654" y="1998"/>
                  </a:lnTo>
                  <a:lnTo>
                    <a:pt x="660" y="1974"/>
                  </a:lnTo>
                  <a:lnTo>
                    <a:pt x="666" y="1962"/>
                  </a:lnTo>
                  <a:lnTo>
                    <a:pt x="678" y="1950"/>
                  </a:lnTo>
                  <a:lnTo>
                    <a:pt x="696" y="1932"/>
                  </a:lnTo>
                  <a:lnTo>
                    <a:pt x="696" y="1920"/>
                  </a:lnTo>
                  <a:lnTo>
                    <a:pt x="696" y="1896"/>
                  </a:lnTo>
                  <a:lnTo>
                    <a:pt x="678" y="1896"/>
                  </a:lnTo>
                  <a:lnTo>
                    <a:pt x="672" y="1884"/>
                  </a:lnTo>
                  <a:lnTo>
                    <a:pt x="672" y="1776"/>
                  </a:lnTo>
                  <a:lnTo>
                    <a:pt x="678" y="1758"/>
                  </a:lnTo>
                  <a:lnTo>
                    <a:pt x="678" y="1740"/>
                  </a:lnTo>
                  <a:lnTo>
                    <a:pt x="684" y="1728"/>
                  </a:lnTo>
                  <a:lnTo>
                    <a:pt x="690" y="1722"/>
                  </a:lnTo>
                  <a:lnTo>
                    <a:pt x="702" y="1722"/>
                  </a:lnTo>
                  <a:lnTo>
                    <a:pt x="708" y="1716"/>
                  </a:lnTo>
                  <a:lnTo>
                    <a:pt x="714" y="1710"/>
                  </a:lnTo>
                  <a:lnTo>
                    <a:pt x="720" y="1698"/>
                  </a:lnTo>
                  <a:lnTo>
                    <a:pt x="732" y="1692"/>
                  </a:lnTo>
                  <a:lnTo>
                    <a:pt x="744" y="1686"/>
                  </a:lnTo>
                  <a:lnTo>
                    <a:pt x="756" y="1680"/>
                  </a:lnTo>
                  <a:lnTo>
                    <a:pt x="768" y="1668"/>
                  </a:lnTo>
                  <a:lnTo>
                    <a:pt x="768" y="1650"/>
                  </a:lnTo>
                  <a:lnTo>
                    <a:pt x="774" y="1632"/>
                  </a:lnTo>
                  <a:lnTo>
                    <a:pt x="768" y="1620"/>
                  </a:lnTo>
                  <a:lnTo>
                    <a:pt x="774" y="1608"/>
                  </a:lnTo>
                  <a:lnTo>
                    <a:pt x="774" y="1578"/>
                  </a:lnTo>
                  <a:lnTo>
                    <a:pt x="774" y="1572"/>
                  </a:lnTo>
                  <a:lnTo>
                    <a:pt x="780" y="1560"/>
                  </a:lnTo>
                  <a:lnTo>
                    <a:pt x="780" y="1554"/>
                  </a:lnTo>
                  <a:lnTo>
                    <a:pt x="786" y="1542"/>
                  </a:lnTo>
                  <a:lnTo>
                    <a:pt x="792" y="1530"/>
                  </a:lnTo>
                  <a:lnTo>
                    <a:pt x="792" y="1518"/>
                  </a:lnTo>
                  <a:lnTo>
                    <a:pt x="792" y="1506"/>
                  </a:lnTo>
                  <a:lnTo>
                    <a:pt x="786" y="1500"/>
                  </a:lnTo>
                  <a:lnTo>
                    <a:pt x="774" y="1488"/>
                  </a:lnTo>
                  <a:lnTo>
                    <a:pt x="774" y="1482"/>
                  </a:lnTo>
                  <a:lnTo>
                    <a:pt x="762" y="1488"/>
                  </a:lnTo>
                  <a:lnTo>
                    <a:pt x="756" y="1494"/>
                  </a:lnTo>
                  <a:lnTo>
                    <a:pt x="744" y="1500"/>
                  </a:lnTo>
                  <a:lnTo>
                    <a:pt x="732" y="1506"/>
                  </a:lnTo>
                  <a:lnTo>
                    <a:pt x="726" y="1506"/>
                  </a:lnTo>
                  <a:lnTo>
                    <a:pt x="720" y="1506"/>
                  </a:lnTo>
                  <a:lnTo>
                    <a:pt x="702" y="1506"/>
                  </a:lnTo>
                  <a:lnTo>
                    <a:pt x="690" y="1500"/>
                  </a:lnTo>
                  <a:lnTo>
                    <a:pt x="678" y="1500"/>
                  </a:lnTo>
                  <a:lnTo>
                    <a:pt x="672" y="1500"/>
                  </a:lnTo>
                  <a:lnTo>
                    <a:pt x="660" y="1506"/>
                  </a:lnTo>
                  <a:lnTo>
                    <a:pt x="654" y="1506"/>
                  </a:lnTo>
                  <a:lnTo>
                    <a:pt x="648" y="1512"/>
                  </a:lnTo>
                  <a:lnTo>
                    <a:pt x="648" y="1518"/>
                  </a:lnTo>
                  <a:lnTo>
                    <a:pt x="618" y="1518"/>
                  </a:lnTo>
                  <a:lnTo>
                    <a:pt x="534" y="1494"/>
                  </a:lnTo>
                  <a:lnTo>
                    <a:pt x="528" y="1458"/>
                  </a:lnTo>
                  <a:lnTo>
                    <a:pt x="510" y="1458"/>
                  </a:lnTo>
                  <a:lnTo>
                    <a:pt x="492" y="1440"/>
                  </a:lnTo>
                  <a:lnTo>
                    <a:pt x="462" y="1440"/>
                  </a:lnTo>
                  <a:lnTo>
                    <a:pt x="456" y="1428"/>
                  </a:lnTo>
                  <a:lnTo>
                    <a:pt x="420" y="1428"/>
                  </a:lnTo>
                  <a:lnTo>
                    <a:pt x="390" y="1446"/>
                  </a:lnTo>
                  <a:lnTo>
                    <a:pt x="312" y="1452"/>
                  </a:lnTo>
                  <a:lnTo>
                    <a:pt x="300" y="1446"/>
                  </a:lnTo>
                  <a:lnTo>
                    <a:pt x="294" y="1446"/>
                  </a:lnTo>
                  <a:lnTo>
                    <a:pt x="288" y="1446"/>
                  </a:lnTo>
                  <a:lnTo>
                    <a:pt x="282" y="1440"/>
                  </a:lnTo>
                  <a:lnTo>
                    <a:pt x="276" y="1440"/>
                  </a:lnTo>
                  <a:lnTo>
                    <a:pt x="270" y="1440"/>
                  </a:lnTo>
                  <a:lnTo>
                    <a:pt x="264" y="1440"/>
                  </a:lnTo>
                  <a:lnTo>
                    <a:pt x="258" y="1434"/>
                  </a:lnTo>
                  <a:lnTo>
                    <a:pt x="252" y="1434"/>
                  </a:lnTo>
                  <a:lnTo>
                    <a:pt x="246" y="1428"/>
                  </a:lnTo>
                  <a:lnTo>
                    <a:pt x="240" y="1416"/>
                  </a:lnTo>
                  <a:lnTo>
                    <a:pt x="234" y="1404"/>
                  </a:lnTo>
                  <a:lnTo>
                    <a:pt x="228" y="1398"/>
                  </a:lnTo>
                  <a:lnTo>
                    <a:pt x="222" y="1398"/>
                  </a:lnTo>
                  <a:lnTo>
                    <a:pt x="216" y="1404"/>
                  </a:lnTo>
                  <a:lnTo>
                    <a:pt x="210" y="1404"/>
                  </a:lnTo>
                  <a:lnTo>
                    <a:pt x="204" y="1404"/>
                  </a:lnTo>
                  <a:lnTo>
                    <a:pt x="204" y="1398"/>
                  </a:lnTo>
                  <a:lnTo>
                    <a:pt x="198" y="1392"/>
                  </a:lnTo>
                  <a:lnTo>
                    <a:pt x="192" y="1386"/>
                  </a:lnTo>
                  <a:lnTo>
                    <a:pt x="168" y="1374"/>
                  </a:lnTo>
                  <a:lnTo>
                    <a:pt x="144" y="1380"/>
                  </a:lnTo>
                  <a:close/>
                </a:path>
              </a:pathLst>
            </a:custGeom>
            <a:solidFill>
              <a:srgbClr val="2A4F1D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0" name="Freeform 35">
              <a:extLst>
                <a:ext uri="{FF2B5EF4-FFF2-40B4-BE49-F238E27FC236}">
                  <a16:creationId xmlns:a16="http://schemas.microsoft.com/office/drawing/2014/main" id="{F64BF16E-9D62-438E-A1CC-CD4088AC7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2895" y="1706004"/>
              <a:ext cx="767013" cy="785011"/>
            </a:xfrm>
            <a:custGeom>
              <a:avLst/>
              <a:gdLst>
                <a:gd name="T0" fmla="*/ 102 w 1440"/>
                <a:gd name="T1" fmla="*/ 104 h 1476"/>
                <a:gd name="T2" fmla="*/ 99 w 1440"/>
                <a:gd name="T3" fmla="*/ 108 h 1476"/>
                <a:gd name="T4" fmla="*/ 98 w 1440"/>
                <a:gd name="T5" fmla="*/ 112 h 1476"/>
                <a:gd name="T6" fmla="*/ 96 w 1440"/>
                <a:gd name="T7" fmla="*/ 116 h 1476"/>
                <a:gd name="T8" fmla="*/ 91 w 1440"/>
                <a:gd name="T9" fmla="*/ 118 h 1476"/>
                <a:gd name="T10" fmla="*/ 87 w 1440"/>
                <a:gd name="T11" fmla="*/ 120 h 1476"/>
                <a:gd name="T12" fmla="*/ 75 w 1440"/>
                <a:gd name="T13" fmla="*/ 120 h 1476"/>
                <a:gd name="T14" fmla="*/ 72 w 1440"/>
                <a:gd name="T15" fmla="*/ 123 h 1476"/>
                <a:gd name="T16" fmla="*/ 69 w 1440"/>
                <a:gd name="T17" fmla="*/ 128 h 1476"/>
                <a:gd name="T18" fmla="*/ 67 w 1440"/>
                <a:gd name="T19" fmla="*/ 127 h 1476"/>
                <a:gd name="T20" fmla="*/ 66 w 1440"/>
                <a:gd name="T21" fmla="*/ 123 h 1476"/>
                <a:gd name="T22" fmla="*/ 63 w 1440"/>
                <a:gd name="T23" fmla="*/ 119 h 1476"/>
                <a:gd name="T24" fmla="*/ 54 w 1440"/>
                <a:gd name="T25" fmla="*/ 114 h 1476"/>
                <a:gd name="T26" fmla="*/ 55 w 1440"/>
                <a:gd name="T27" fmla="*/ 106 h 1476"/>
                <a:gd name="T28" fmla="*/ 60 w 1440"/>
                <a:gd name="T29" fmla="*/ 100 h 1476"/>
                <a:gd name="T30" fmla="*/ 55 w 1440"/>
                <a:gd name="T31" fmla="*/ 91 h 1476"/>
                <a:gd name="T32" fmla="*/ 51 w 1440"/>
                <a:gd name="T33" fmla="*/ 86 h 1476"/>
                <a:gd name="T34" fmla="*/ 47 w 1440"/>
                <a:gd name="T35" fmla="*/ 85 h 1476"/>
                <a:gd name="T36" fmla="*/ 44 w 1440"/>
                <a:gd name="T37" fmla="*/ 82 h 1476"/>
                <a:gd name="T38" fmla="*/ 41 w 1440"/>
                <a:gd name="T39" fmla="*/ 83 h 1476"/>
                <a:gd name="T40" fmla="*/ 36 w 1440"/>
                <a:gd name="T41" fmla="*/ 83 h 1476"/>
                <a:gd name="T42" fmla="*/ 33 w 1440"/>
                <a:gd name="T43" fmla="*/ 83 h 1476"/>
                <a:gd name="T44" fmla="*/ 30 w 1440"/>
                <a:gd name="T45" fmla="*/ 83 h 1476"/>
                <a:gd name="T46" fmla="*/ 27 w 1440"/>
                <a:gd name="T47" fmla="*/ 83 h 1476"/>
                <a:gd name="T48" fmla="*/ 24 w 1440"/>
                <a:gd name="T49" fmla="*/ 82 h 1476"/>
                <a:gd name="T50" fmla="*/ 21 w 1440"/>
                <a:gd name="T51" fmla="*/ 80 h 1476"/>
                <a:gd name="T52" fmla="*/ 18 w 1440"/>
                <a:gd name="T53" fmla="*/ 79 h 1476"/>
                <a:gd name="T54" fmla="*/ 17 w 1440"/>
                <a:gd name="T55" fmla="*/ 78 h 1476"/>
                <a:gd name="T56" fmla="*/ 12 w 1440"/>
                <a:gd name="T57" fmla="*/ 78 h 1476"/>
                <a:gd name="T58" fmla="*/ 12 w 1440"/>
                <a:gd name="T59" fmla="*/ 78 h 1476"/>
                <a:gd name="T60" fmla="*/ 7 w 1440"/>
                <a:gd name="T61" fmla="*/ 80 h 1476"/>
                <a:gd name="T62" fmla="*/ 3 w 1440"/>
                <a:gd name="T63" fmla="*/ 81 h 1476"/>
                <a:gd name="T64" fmla="*/ 0 w 1440"/>
                <a:gd name="T65" fmla="*/ 76 h 1476"/>
                <a:gd name="T66" fmla="*/ 1 w 1440"/>
                <a:gd name="T67" fmla="*/ 50 h 1476"/>
                <a:gd name="T68" fmla="*/ 8 w 1440"/>
                <a:gd name="T69" fmla="*/ 48 h 1476"/>
                <a:gd name="T70" fmla="*/ 20 w 1440"/>
                <a:gd name="T71" fmla="*/ 49 h 1476"/>
                <a:gd name="T72" fmla="*/ 26 w 1440"/>
                <a:gd name="T73" fmla="*/ 50 h 1476"/>
                <a:gd name="T74" fmla="*/ 44 w 1440"/>
                <a:gd name="T75" fmla="*/ 47 h 1476"/>
                <a:gd name="T76" fmla="*/ 41 w 1440"/>
                <a:gd name="T77" fmla="*/ 24 h 1476"/>
                <a:gd name="T78" fmla="*/ 44 w 1440"/>
                <a:gd name="T79" fmla="*/ 20 h 1476"/>
                <a:gd name="T80" fmla="*/ 47 w 1440"/>
                <a:gd name="T81" fmla="*/ 18 h 1476"/>
                <a:gd name="T82" fmla="*/ 54 w 1440"/>
                <a:gd name="T83" fmla="*/ 21 h 1476"/>
                <a:gd name="T84" fmla="*/ 61 w 1440"/>
                <a:gd name="T85" fmla="*/ 23 h 1476"/>
                <a:gd name="T86" fmla="*/ 59 w 1440"/>
                <a:gd name="T87" fmla="*/ 14 h 1476"/>
                <a:gd name="T88" fmla="*/ 61 w 1440"/>
                <a:gd name="T89" fmla="*/ 8 h 1476"/>
                <a:gd name="T90" fmla="*/ 71 w 1440"/>
                <a:gd name="T91" fmla="*/ 7 h 1476"/>
                <a:gd name="T92" fmla="*/ 75 w 1440"/>
                <a:gd name="T93" fmla="*/ 0 h 1476"/>
                <a:gd name="T94" fmla="*/ 82 w 1440"/>
                <a:gd name="T95" fmla="*/ 3 h 1476"/>
                <a:gd name="T96" fmla="*/ 93 w 1440"/>
                <a:gd name="T97" fmla="*/ 5 h 1476"/>
                <a:gd name="T98" fmla="*/ 100 w 1440"/>
                <a:gd name="T99" fmla="*/ 1 h 1476"/>
                <a:gd name="T100" fmla="*/ 104 w 1440"/>
                <a:gd name="T101" fmla="*/ 4 h 1476"/>
                <a:gd name="T102" fmla="*/ 110 w 1440"/>
                <a:gd name="T103" fmla="*/ 10 h 1476"/>
                <a:gd name="T104" fmla="*/ 115 w 1440"/>
                <a:gd name="T105" fmla="*/ 23 h 1476"/>
                <a:gd name="T106" fmla="*/ 117 w 1440"/>
                <a:gd name="T107" fmla="*/ 42 h 1476"/>
                <a:gd name="T108" fmla="*/ 121 w 1440"/>
                <a:gd name="T109" fmla="*/ 52 h 1476"/>
                <a:gd name="T110" fmla="*/ 118 w 1440"/>
                <a:gd name="T111" fmla="*/ 62 h 1476"/>
                <a:gd name="T112" fmla="*/ 124 w 1440"/>
                <a:gd name="T113" fmla="*/ 66 h 1476"/>
                <a:gd name="T114" fmla="*/ 121 w 1440"/>
                <a:gd name="T115" fmla="*/ 71 h 1476"/>
                <a:gd name="T116" fmla="*/ 115 w 1440"/>
                <a:gd name="T117" fmla="*/ 76 h 1476"/>
                <a:gd name="T118" fmla="*/ 109 w 1440"/>
                <a:gd name="T119" fmla="*/ 76 h 1476"/>
                <a:gd name="T120" fmla="*/ 105 w 1440"/>
                <a:gd name="T121" fmla="*/ 86 h 1476"/>
                <a:gd name="T122" fmla="*/ 107 w 1440"/>
                <a:gd name="T123" fmla="*/ 97 h 147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40"/>
                <a:gd name="T187" fmla="*/ 0 h 1476"/>
                <a:gd name="T188" fmla="*/ 1440 w 1440"/>
                <a:gd name="T189" fmla="*/ 1476 h 147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40" h="1476">
                  <a:moveTo>
                    <a:pt x="1212" y="1164"/>
                  </a:moveTo>
                  <a:lnTo>
                    <a:pt x="1206" y="1170"/>
                  </a:lnTo>
                  <a:lnTo>
                    <a:pt x="1200" y="1176"/>
                  </a:lnTo>
                  <a:lnTo>
                    <a:pt x="1194" y="1176"/>
                  </a:lnTo>
                  <a:lnTo>
                    <a:pt x="1188" y="1188"/>
                  </a:lnTo>
                  <a:lnTo>
                    <a:pt x="1182" y="1194"/>
                  </a:lnTo>
                  <a:lnTo>
                    <a:pt x="1176" y="1194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64" y="1206"/>
                  </a:lnTo>
                  <a:lnTo>
                    <a:pt x="1158" y="1206"/>
                  </a:lnTo>
                  <a:lnTo>
                    <a:pt x="1152" y="1212"/>
                  </a:lnTo>
                  <a:lnTo>
                    <a:pt x="1146" y="1212"/>
                  </a:lnTo>
                  <a:lnTo>
                    <a:pt x="1140" y="1224"/>
                  </a:lnTo>
                  <a:lnTo>
                    <a:pt x="1134" y="1230"/>
                  </a:lnTo>
                  <a:lnTo>
                    <a:pt x="1128" y="1236"/>
                  </a:lnTo>
                  <a:lnTo>
                    <a:pt x="1128" y="1242"/>
                  </a:lnTo>
                  <a:lnTo>
                    <a:pt x="1128" y="1254"/>
                  </a:lnTo>
                  <a:lnTo>
                    <a:pt x="1128" y="1260"/>
                  </a:lnTo>
                  <a:lnTo>
                    <a:pt x="1122" y="1260"/>
                  </a:lnTo>
                  <a:lnTo>
                    <a:pt x="1122" y="1266"/>
                  </a:lnTo>
                  <a:lnTo>
                    <a:pt x="1128" y="1278"/>
                  </a:lnTo>
                  <a:lnTo>
                    <a:pt x="1122" y="1278"/>
                  </a:lnTo>
                  <a:lnTo>
                    <a:pt x="1122" y="1284"/>
                  </a:lnTo>
                  <a:lnTo>
                    <a:pt x="1128" y="1290"/>
                  </a:lnTo>
                  <a:lnTo>
                    <a:pt x="1122" y="1296"/>
                  </a:lnTo>
                  <a:lnTo>
                    <a:pt x="1122" y="1302"/>
                  </a:lnTo>
                  <a:lnTo>
                    <a:pt x="1116" y="1302"/>
                  </a:lnTo>
                  <a:lnTo>
                    <a:pt x="1110" y="1314"/>
                  </a:lnTo>
                  <a:lnTo>
                    <a:pt x="1110" y="1320"/>
                  </a:lnTo>
                  <a:lnTo>
                    <a:pt x="1110" y="1326"/>
                  </a:lnTo>
                  <a:lnTo>
                    <a:pt x="1098" y="1332"/>
                  </a:lnTo>
                  <a:lnTo>
                    <a:pt x="1092" y="1338"/>
                  </a:lnTo>
                  <a:lnTo>
                    <a:pt x="1092" y="1344"/>
                  </a:lnTo>
                  <a:lnTo>
                    <a:pt x="1086" y="1350"/>
                  </a:lnTo>
                  <a:lnTo>
                    <a:pt x="1080" y="1350"/>
                  </a:lnTo>
                  <a:lnTo>
                    <a:pt x="1074" y="1350"/>
                  </a:lnTo>
                  <a:lnTo>
                    <a:pt x="1068" y="1356"/>
                  </a:lnTo>
                  <a:lnTo>
                    <a:pt x="1062" y="1356"/>
                  </a:lnTo>
                  <a:lnTo>
                    <a:pt x="1044" y="1356"/>
                  </a:lnTo>
                  <a:lnTo>
                    <a:pt x="1038" y="1362"/>
                  </a:lnTo>
                  <a:lnTo>
                    <a:pt x="1032" y="1368"/>
                  </a:lnTo>
                  <a:lnTo>
                    <a:pt x="1026" y="1368"/>
                  </a:lnTo>
                  <a:lnTo>
                    <a:pt x="1020" y="1374"/>
                  </a:lnTo>
                  <a:lnTo>
                    <a:pt x="1008" y="1374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74"/>
                  </a:lnTo>
                  <a:lnTo>
                    <a:pt x="978" y="1380"/>
                  </a:lnTo>
                  <a:lnTo>
                    <a:pt x="972" y="1380"/>
                  </a:lnTo>
                  <a:lnTo>
                    <a:pt x="954" y="1368"/>
                  </a:lnTo>
                  <a:lnTo>
                    <a:pt x="930" y="1368"/>
                  </a:lnTo>
                  <a:lnTo>
                    <a:pt x="918" y="1368"/>
                  </a:lnTo>
                  <a:lnTo>
                    <a:pt x="906" y="1368"/>
                  </a:lnTo>
                  <a:lnTo>
                    <a:pt x="894" y="1368"/>
                  </a:lnTo>
                  <a:lnTo>
                    <a:pt x="864" y="1374"/>
                  </a:lnTo>
                  <a:lnTo>
                    <a:pt x="852" y="1374"/>
                  </a:lnTo>
                  <a:lnTo>
                    <a:pt x="846" y="1386"/>
                  </a:lnTo>
                  <a:lnTo>
                    <a:pt x="846" y="1392"/>
                  </a:lnTo>
                  <a:lnTo>
                    <a:pt x="840" y="1398"/>
                  </a:lnTo>
                  <a:lnTo>
                    <a:pt x="840" y="1404"/>
                  </a:lnTo>
                  <a:lnTo>
                    <a:pt x="834" y="1416"/>
                  </a:lnTo>
                  <a:lnTo>
                    <a:pt x="828" y="1416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04" y="1428"/>
                  </a:lnTo>
                  <a:lnTo>
                    <a:pt x="804" y="1434"/>
                  </a:lnTo>
                  <a:lnTo>
                    <a:pt x="804" y="1440"/>
                  </a:lnTo>
                  <a:lnTo>
                    <a:pt x="798" y="1446"/>
                  </a:lnTo>
                  <a:lnTo>
                    <a:pt x="798" y="1458"/>
                  </a:lnTo>
                  <a:lnTo>
                    <a:pt x="792" y="1464"/>
                  </a:lnTo>
                  <a:lnTo>
                    <a:pt x="786" y="1476"/>
                  </a:lnTo>
                  <a:lnTo>
                    <a:pt x="780" y="1470"/>
                  </a:lnTo>
                  <a:lnTo>
                    <a:pt x="774" y="1470"/>
                  </a:lnTo>
                  <a:lnTo>
                    <a:pt x="768" y="1470"/>
                  </a:lnTo>
                  <a:lnTo>
                    <a:pt x="762" y="1476"/>
                  </a:lnTo>
                  <a:lnTo>
                    <a:pt x="762" y="1470"/>
                  </a:lnTo>
                  <a:lnTo>
                    <a:pt x="762" y="1464"/>
                  </a:lnTo>
                  <a:lnTo>
                    <a:pt x="762" y="1458"/>
                  </a:lnTo>
                  <a:lnTo>
                    <a:pt x="756" y="1458"/>
                  </a:lnTo>
                  <a:lnTo>
                    <a:pt x="756" y="1452"/>
                  </a:lnTo>
                  <a:lnTo>
                    <a:pt x="756" y="1446"/>
                  </a:lnTo>
                  <a:lnTo>
                    <a:pt x="756" y="1440"/>
                  </a:lnTo>
                  <a:lnTo>
                    <a:pt x="750" y="1434"/>
                  </a:lnTo>
                  <a:lnTo>
                    <a:pt x="750" y="1428"/>
                  </a:lnTo>
                  <a:lnTo>
                    <a:pt x="750" y="1422"/>
                  </a:lnTo>
                  <a:lnTo>
                    <a:pt x="750" y="1416"/>
                  </a:lnTo>
                  <a:lnTo>
                    <a:pt x="744" y="1416"/>
                  </a:lnTo>
                  <a:lnTo>
                    <a:pt x="744" y="1410"/>
                  </a:lnTo>
                  <a:lnTo>
                    <a:pt x="738" y="1404"/>
                  </a:lnTo>
                  <a:lnTo>
                    <a:pt x="732" y="1398"/>
                  </a:lnTo>
                  <a:lnTo>
                    <a:pt x="732" y="1392"/>
                  </a:lnTo>
                  <a:lnTo>
                    <a:pt x="726" y="1386"/>
                  </a:lnTo>
                  <a:lnTo>
                    <a:pt x="726" y="1380"/>
                  </a:lnTo>
                  <a:lnTo>
                    <a:pt x="714" y="1368"/>
                  </a:lnTo>
                  <a:lnTo>
                    <a:pt x="708" y="1368"/>
                  </a:lnTo>
                  <a:lnTo>
                    <a:pt x="684" y="1332"/>
                  </a:lnTo>
                  <a:lnTo>
                    <a:pt x="666" y="1320"/>
                  </a:lnTo>
                  <a:lnTo>
                    <a:pt x="648" y="1302"/>
                  </a:lnTo>
                  <a:lnTo>
                    <a:pt x="630" y="1314"/>
                  </a:lnTo>
                  <a:lnTo>
                    <a:pt x="624" y="1314"/>
                  </a:lnTo>
                  <a:lnTo>
                    <a:pt x="624" y="1308"/>
                  </a:lnTo>
                  <a:lnTo>
                    <a:pt x="618" y="1308"/>
                  </a:lnTo>
                  <a:lnTo>
                    <a:pt x="612" y="1284"/>
                  </a:lnTo>
                  <a:lnTo>
                    <a:pt x="606" y="1254"/>
                  </a:lnTo>
                  <a:lnTo>
                    <a:pt x="606" y="1248"/>
                  </a:lnTo>
                  <a:lnTo>
                    <a:pt x="606" y="1242"/>
                  </a:lnTo>
                  <a:lnTo>
                    <a:pt x="612" y="1242"/>
                  </a:lnTo>
                  <a:lnTo>
                    <a:pt x="618" y="1236"/>
                  </a:lnTo>
                  <a:lnTo>
                    <a:pt x="618" y="1230"/>
                  </a:lnTo>
                  <a:lnTo>
                    <a:pt x="624" y="1224"/>
                  </a:lnTo>
                  <a:lnTo>
                    <a:pt x="630" y="1224"/>
                  </a:lnTo>
                  <a:lnTo>
                    <a:pt x="636" y="1218"/>
                  </a:lnTo>
                  <a:lnTo>
                    <a:pt x="636" y="1212"/>
                  </a:lnTo>
                  <a:lnTo>
                    <a:pt x="612" y="1200"/>
                  </a:lnTo>
                  <a:lnTo>
                    <a:pt x="606" y="1182"/>
                  </a:lnTo>
                  <a:lnTo>
                    <a:pt x="672" y="1182"/>
                  </a:lnTo>
                  <a:lnTo>
                    <a:pt x="690" y="1170"/>
                  </a:lnTo>
                  <a:lnTo>
                    <a:pt x="690" y="1152"/>
                  </a:lnTo>
                  <a:lnTo>
                    <a:pt x="678" y="1110"/>
                  </a:lnTo>
                  <a:lnTo>
                    <a:pt x="672" y="1092"/>
                  </a:lnTo>
                  <a:lnTo>
                    <a:pt x="660" y="1074"/>
                  </a:lnTo>
                  <a:lnTo>
                    <a:pt x="648" y="1068"/>
                  </a:lnTo>
                  <a:lnTo>
                    <a:pt x="642" y="1068"/>
                  </a:lnTo>
                  <a:lnTo>
                    <a:pt x="636" y="1062"/>
                  </a:lnTo>
                  <a:lnTo>
                    <a:pt x="624" y="1056"/>
                  </a:lnTo>
                  <a:lnTo>
                    <a:pt x="624" y="1050"/>
                  </a:lnTo>
                  <a:lnTo>
                    <a:pt x="618" y="1038"/>
                  </a:lnTo>
                  <a:lnTo>
                    <a:pt x="612" y="1038"/>
                  </a:lnTo>
                  <a:lnTo>
                    <a:pt x="612" y="1032"/>
                  </a:lnTo>
                  <a:lnTo>
                    <a:pt x="612" y="1026"/>
                  </a:lnTo>
                  <a:lnTo>
                    <a:pt x="600" y="1014"/>
                  </a:lnTo>
                  <a:lnTo>
                    <a:pt x="582" y="1008"/>
                  </a:lnTo>
                  <a:lnTo>
                    <a:pt x="576" y="1002"/>
                  </a:lnTo>
                  <a:lnTo>
                    <a:pt x="576" y="996"/>
                  </a:lnTo>
                  <a:lnTo>
                    <a:pt x="570" y="996"/>
                  </a:lnTo>
                  <a:lnTo>
                    <a:pt x="570" y="990"/>
                  </a:lnTo>
                  <a:lnTo>
                    <a:pt x="570" y="984"/>
                  </a:lnTo>
                  <a:lnTo>
                    <a:pt x="564" y="984"/>
                  </a:lnTo>
                  <a:lnTo>
                    <a:pt x="558" y="978"/>
                  </a:lnTo>
                  <a:lnTo>
                    <a:pt x="552" y="972"/>
                  </a:lnTo>
                  <a:lnTo>
                    <a:pt x="552" y="966"/>
                  </a:lnTo>
                  <a:lnTo>
                    <a:pt x="546" y="972"/>
                  </a:lnTo>
                  <a:lnTo>
                    <a:pt x="540" y="972"/>
                  </a:lnTo>
                  <a:lnTo>
                    <a:pt x="534" y="960"/>
                  </a:lnTo>
                  <a:lnTo>
                    <a:pt x="528" y="960"/>
                  </a:lnTo>
                  <a:lnTo>
                    <a:pt x="528" y="966"/>
                  </a:lnTo>
                  <a:lnTo>
                    <a:pt x="516" y="954"/>
                  </a:lnTo>
                  <a:lnTo>
                    <a:pt x="516" y="948"/>
                  </a:lnTo>
                  <a:lnTo>
                    <a:pt x="510" y="948"/>
                  </a:lnTo>
                  <a:lnTo>
                    <a:pt x="504" y="948"/>
                  </a:lnTo>
                  <a:lnTo>
                    <a:pt x="498" y="948"/>
                  </a:lnTo>
                  <a:lnTo>
                    <a:pt x="504" y="954"/>
                  </a:lnTo>
                  <a:lnTo>
                    <a:pt x="498" y="954"/>
                  </a:lnTo>
                  <a:lnTo>
                    <a:pt x="492" y="954"/>
                  </a:lnTo>
                  <a:lnTo>
                    <a:pt x="480" y="942"/>
                  </a:lnTo>
                  <a:lnTo>
                    <a:pt x="480" y="948"/>
                  </a:lnTo>
                  <a:lnTo>
                    <a:pt x="480" y="954"/>
                  </a:lnTo>
                  <a:lnTo>
                    <a:pt x="474" y="954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56" y="966"/>
                  </a:lnTo>
                  <a:lnTo>
                    <a:pt x="456" y="960"/>
                  </a:lnTo>
                  <a:lnTo>
                    <a:pt x="450" y="966"/>
                  </a:lnTo>
                  <a:lnTo>
                    <a:pt x="444" y="966"/>
                  </a:lnTo>
                  <a:lnTo>
                    <a:pt x="414" y="966"/>
                  </a:lnTo>
                  <a:lnTo>
                    <a:pt x="408" y="960"/>
                  </a:lnTo>
                  <a:lnTo>
                    <a:pt x="408" y="966"/>
                  </a:lnTo>
                  <a:lnTo>
                    <a:pt x="402" y="960"/>
                  </a:lnTo>
                  <a:lnTo>
                    <a:pt x="396" y="960"/>
                  </a:lnTo>
                  <a:lnTo>
                    <a:pt x="390" y="960"/>
                  </a:lnTo>
                  <a:lnTo>
                    <a:pt x="390" y="966"/>
                  </a:lnTo>
                  <a:lnTo>
                    <a:pt x="384" y="966"/>
                  </a:lnTo>
                  <a:lnTo>
                    <a:pt x="378" y="966"/>
                  </a:lnTo>
                  <a:lnTo>
                    <a:pt x="384" y="960"/>
                  </a:lnTo>
                  <a:lnTo>
                    <a:pt x="384" y="954"/>
                  </a:lnTo>
                  <a:lnTo>
                    <a:pt x="372" y="948"/>
                  </a:lnTo>
                  <a:lnTo>
                    <a:pt x="372" y="954"/>
                  </a:lnTo>
                  <a:lnTo>
                    <a:pt x="372" y="960"/>
                  </a:lnTo>
                  <a:lnTo>
                    <a:pt x="366" y="960"/>
                  </a:lnTo>
                  <a:lnTo>
                    <a:pt x="360" y="966"/>
                  </a:lnTo>
                  <a:lnTo>
                    <a:pt x="354" y="966"/>
                  </a:lnTo>
                  <a:lnTo>
                    <a:pt x="348" y="960"/>
                  </a:lnTo>
                  <a:lnTo>
                    <a:pt x="342" y="960"/>
                  </a:lnTo>
                  <a:lnTo>
                    <a:pt x="342" y="966"/>
                  </a:lnTo>
                  <a:lnTo>
                    <a:pt x="336" y="972"/>
                  </a:lnTo>
                  <a:lnTo>
                    <a:pt x="330" y="972"/>
                  </a:lnTo>
                  <a:lnTo>
                    <a:pt x="324" y="966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6" y="954"/>
                  </a:lnTo>
                  <a:lnTo>
                    <a:pt x="306" y="948"/>
                  </a:lnTo>
                  <a:lnTo>
                    <a:pt x="306" y="942"/>
                  </a:lnTo>
                  <a:lnTo>
                    <a:pt x="300" y="942"/>
                  </a:lnTo>
                  <a:lnTo>
                    <a:pt x="294" y="936"/>
                  </a:lnTo>
                  <a:lnTo>
                    <a:pt x="288" y="936"/>
                  </a:lnTo>
                  <a:lnTo>
                    <a:pt x="282" y="942"/>
                  </a:lnTo>
                  <a:lnTo>
                    <a:pt x="276" y="936"/>
                  </a:lnTo>
                  <a:lnTo>
                    <a:pt x="276" y="942"/>
                  </a:lnTo>
                  <a:lnTo>
                    <a:pt x="270" y="942"/>
                  </a:lnTo>
                  <a:lnTo>
                    <a:pt x="264" y="936"/>
                  </a:lnTo>
                  <a:lnTo>
                    <a:pt x="252" y="936"/>
                  </a:lnTo>
                  <a:lnTo>
                    <a:pt x="246" y="936"/>
                  </a:lnTo>
                  <a:lnTo>
                    <a:pt x="240" y="936"/>
                  </a:lnTo>
                  <a:lnTo>
                    <a:pt x="234" y="936"/>
                  </a:lnTo>
                  <a:lnTo>
                    <a:pt x="240" y="924"/>
                  </a:lnTo>
                  <a:lnTo>
                    <a:pt x="234" y="924"/>
                  </a:lnTo>
                  <a:lnTo>
                    <a:pt x="228" y="918"/>
                  </a:lnTo>
                  <a:lnTo>
                    <a:pt x="228" y="906"/>
                  </a:lnTo>
                  <a:lnTo>
                    <a:pt x="222" y="900"/>
                  </a:lnTo>
                  <a:lnTo>
                    <a:pt x="216" y="900"/>
                  </a:lnTo>
                  <a:lnTo>
                    <a:pt x="210" y="900"/>
                  </a:lnTo>
                  <a:lnTo>
                    <a:pt x="210" y="906"/>
                  </a:lnTo>
                  <a:lnTo>
                    <a:pt x="204" y="906"/>
                  </a:lnTo>
                  <a:lnTo>
                    <a:pt x="198" y="906"/>
                  </a:lnTo>
                  <a:lnTo>
                    <a:pt x="210" y="900"/>
                  </a:lnTo>
                  <a:lnTo>
                    <a:pt x="210" y="894"/>
                  </a:lnTo>
                  <a:lnTo>
                    <a:pt x="216" y="888"/>
                  </a:lnTo>
                  <a:lnTo>
                    <a:pt x="204" y="882"/>
                  </a:lnTo>
                  <a:lnTo>
                    <a:pt x="204" y="894"/>
                  </a:lnTo>
                  <a:lnTo>
                    <a:pt x="198" y="894"/>
                  </a:lnTo>
                  <a:lnTo>
                    <a:pt x="192" y="900"/>
                  </a:lnTo>
                  <a:lnTo>
                    <a:pt x="186" y="894"/>
                  </a:lnTo>
                  <a:lnTo>
                    <a:pt x="180" y="894"/>
                  </a:lnTo>
                  <a:lnTo>
                    <a:pt x="174" y="894"/>
                  </a:lnTo>
                  <a:lnTo>
                    <a:pt x="168" y="900"/>
                  </a:lnTo>
                  <a:lnTo>
                    <a:pt x="162" y="906"/>
                  </a:lnTo>
                  <a:lnTo>
                    <a:pt x="156" y="906"/>
                  </a:lnTo>
                  <a:lnTo>
                    <a:pt x="150" y="900"/>
                  </a:lnTo>
                  <a:lnTo>
                    <a:pt x="144" y="894"/>
                  </a:lnTo>
                  <a:lnTo>
                    <a:pt x="138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0" y="888"/>
                  </a:lnTo>
                  <a:lnTo>
                    <a:pt x="114" y="894"/>
                  </a:lnTo>
                  <a:lnTo>
                    <a:pt x="120" y="900"/>
                  </a:lnTo>
                  <a:lnTo>
                    <a:pt x="126" y="900"/>
                  </a:lnTo>
                  <a:lnTo>
                    <a:pt x="132" y="900"/>
                  </a:lnTo>
                  <a:lnTo>
                    <a:pt x="132" y="906"/>
                  </a:lnTo>
                  <a:lnTo>
                    <a:pt x="126" y="912"/>
                  </a:lnTo>
                  <a:lnTo>
                    <a:pt x="126" y="918"/>
                  </a:lnTo>
                  <a:lnTo>
                    <a:pt x="114" y="918"/>
                  </a:lnTo>
                  <a:lnTo>
                    <a:pt x="108" y="924"/>
                  </a:lnTo>
                  <a:lnTo>
                    <a:pt x="102" y="924"/>
                  </a:lnTo>
                  <a:lnTo>
                    <a:pt x="90" y="924"/>
                  </a:lnTo>
                  <a:lnTo>
                    <a:pt x="84" y="924"/>
                  </a:lnTo>
                  <a:lnTo>
                    <a:pt x="78" y="924"/>
                  </a:lnTo>
                  <a:lnTo>
                    <a:pt x="60" y="924"/>
                  </a:lnTo>
                  <a:lnTo>
                    <a:pt x="54" y="942"/>
                  </a:lnTo>
                  <a:lnTo>
                    <a:pt x="48" y="936"/>
                  </a:lnTo>
                  <a:lnTo>
                    <a:pt x="42" y="930"/>
                  </a:lnTo>
                  <a:lnTo>
                    <a:pt x="36" y="930"/>
                  </a:lnTo>
                  <a:lnTo>
                    <a:pt x="30" y="936"/>
                  </a:lnTo>
                  <a:lnTo>
                    <a:pt x="30" y="930"/>
                  </a:lnTo>
                  <a:lnTo>
                    <a:pt x="30" y="924"/>
                  </a:lnTo>
                  <a:lnTo>
                    <a:pt x="18" y="918"/>
                  </a:lnTo>
                  <a:lnTo>
                    <a:pt x="18" y="912"/>
                  </a:lnTo>
                  <a:lnTo>
                    <a:pt x="12" y="912"/>
                  </a:lnTo>
                  <a:lnTo>
                    <a:pt x="6" y="912"/>
                  </a:lnTo>
                  <a:lnTo>
                    <a:pt x="6" y="900"/>
                  </a:lnTo>
                  <a:lnTo>
                    <a:pt x="6" y="894"/>
                  </a:lnTo>
                  <a:lnTo>
                    <a:pt x="0" y="870"/>
                  </a:lnTo>
                  <a:lnTo>
                    <a:pt x="6" y="846"/>
                  </a:lnTo>
                  <a:lnTo>
                    <a:pt x="6" y="810"/>
                  </a:lnTo>
                  <a:lnTo>
                    <a:pt x="12" y="774"/>
                  </a:lnTo>
                  <a:lnTo>
                    <a:pt x="12" y="756"/>
                  </a:lnTo>
                  <a:lnTo>
                    <a:pt x="18" y="744"/>
                  </a:lnTo>
                  <a:lnTo>
                    <a:pt x="18" y="732"/>
                  </a:lnTo>
                  <a:lnTo>
                    <a:pt x="12" y="576"/>
                  </a:lnTo>
                  <a:lnTo>
                    <a:pt x="12" y="570"/>
                  </a:lnTo>
                  <a:lnTo>
                    <a:pt x="18" y="564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42" y="552"/>
                  </a:lnTo>
                  <a:lnTo>
                    <a:pt x="66" y="552"/>
                  </a:lnTo>
                  <a:lnTo>
                    <a:pt x="78" y="558"/>
                  </a:lnTo>
                  <a:lnTo>
                    <a:pt x="90" y="558"/>
                  </a:lnTo>
                  <a:lnTo>
                    <a:pt x="108" y="558"/>
                  </a:lnTo>
                  <a:lnTo>
                    <a:pt x="144" y="558"/>
                  </a:lnTo>
                  <a:lnTo>
                    <a:pt x="204" y="552"/>
                  </a:lnTo>
                  <a:lnTo>
                    <a:pt x="210" y="558"/>
                  </a:lnTo>
                  <a:lnTo>
                    <a:pt x="216" y="558"/>
                  </a:lnTo>
                  <a:lnTo>
                    <a:pt x="210" y="564"/>
                  </a:lnTo>
                  <a:lnTo>
                    <a:pt x="216" y="564"/>
                  </a:lnTo>
                  <a:lnTo>
                    <a:pt x="222" y="564"/>
                  </a:lnTo>
                  <a:lnTo>
                    <a:pt x="240" y="564"/>
                  </a:lnTo>
                  <a:lnTo>
                    <a:pt x="258" y="564"/>
                  </a:lnTo>
                  <a:lnTo>
                    <a:pt x="264" y="570"/>
                  </a:lnTo>
                  <a:lnTo>
                    <a:pt x="276" y="570"/>
                  </a:lnTo>
                  <a:lnTo>
                    <a:pt x="282" y="564"/>
                  </a:lnTo>
                  <a:lnTo>
                    <a:pt x="294" y="564"/>
                  </a:lnTo>
                  <a:lnTo>
                    <a:pt x="294" y="570"/>
                  </a:lnTo>
                  <a:lnTo>
                    <a:pt x="300" y="570"/>
                  </a:lnTo>
                  <a:lnTo>
                    <a:pt x="378" y="564"/>
                  </a:lnTo>
                  <a:lnTo>
                    <a:pt x="408" y="558"/>
                  </a:lnTo>
                  <a:lnTo>
                    <a:pt x="432" y="552"/>
                  </a:lnTo>
                  <a:lnTo>
                    <a:pt x="450" y="546"/>
                  </a:lnTo>
                  <a:lnTo>
                    <a:pt x="468" y="546"/>
                  </a:lnTo>
                  <a:lnTo>
                    <a:pt x="468" y="552"/>
                  </a:lnTo>
                  <a:lnTo>
                    <a:pt x="504" y="552"/>
                  </a:lnTo>
                  <a:lnTo>
                    <a:pt x="510" y="534"/>
                  </a:lnTo>
                  <a:lnTo>
                    <a:pt x="516" y="510"/>
                  </a:lnTo>
                  <a:lnTo>
                    <a:pt x="522" y="510"/>
                  </a:lnTo>
                  <a:lnTo>
                    <a:pt x="528" y="420"/>
                  </a:lnTo>
                  <a:lnTo>
                    <a:pt x="522" y="414"/>
                  </a:lnTo>
                  <a:lnTo>
                    <a:pt x="516" y="396"/>
                  </a:lnTo>
                  <a:lnTo>
                    <a:pt x="510" y="372"/>
                  </a:lnTo>
                  <a:lnTo>
                    <a:pt x="498" y="348"/>
                  </a:lnTo>
                  <a:lnTo>
                    <a:pt x="474" y="282"/>
                  </a:lnTo>
                  <a:lnTo>
                    <a:pt x="474" y="270"/>
                  </a:lnTo>
                  <a:lnTo>
                    <a:pt x="480" y="258"/>
                  </a:lnTo>
                  <a:lnTo>
                    <a:pt x="486" y="258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92" y="246"/>
                  </a:lnTo>
                  <a:lnTo>
                    <a:pt x="504" y="234"/>
                  </a:lnTo>
                  <a:lnTo>
                    <a:pt x="510" y="228"/>
                  </a:lnTo>
                  <a:lnTo>
                    <a:pt x="516" y="228"/>
                  </a:lnTo>
                  <a:lnTo>
                    <a:pt x="516" y="222"/>
                  </a:lnTo>
                  <a:lnTo>
                    <a:pt x="516" y="216"/>
                  </a:lnTo>
                  <a:lnTo>
                    <a:pt x="522" y="216"/>
                  </a:lnTo>
                  <a:lnTo>
                    <a:pt x="528" y="210"/>
                  </a:lnTo>
                  <a:lnTo>
                    <a:pt x="534" y="210"/>
                  </a:lnTo>
                  <a:lnTo>
                    <a:pt x="540" y="210"/>
                  </a:lnTo>
                  <a:lnTo>
                    <a:pt x="546" y="210"/>
                  </a:lnTo>
                  <a:lnTo>
                    <a:pt x="552" y="210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16"/>
                  </a:lnTo>
                  <a:lnTo>
                    <a:pt x="588" y="228"/>
                  </a:lnTo>
                  <a:lnTo>
                    <a:pt x="594" y="234"/>
                  </a:lnTo>
                  <a:lnTo>
                    <a:pt x="600" y="240"/>
                  </a:lnTo>
                  <a:lnTo>
                    <a:pt x="618" y="246"/>
                  </a:lnTo>
                  <a:lnTo>
                    <a:pt x="624" y="246"/>
                  </a:lnTo>
                  <a:lnTo>
                    <a:pt x="636" y="252"/>
                  </a:lnTo>
                  <a:lnTo>
                    <a:pt x="654" y="252"/>
                  </a:lnTo>
                  <a:lnTo>
                    <a:pt x="654" y="258"/>
                  </a:lnTo>
                  <a:lnTo>
                    <a:pt x="666" y="264"/>
                  </a:lnTo>
                  <a:lnTo>
                    <a:pt x="672" y="264"/>
                  </a:lnTo>
                  <a:lnTo>
                    <a:pt x="678" y="264"/>
                  </a:lnTo>
                  <a:lnTo>
                    <a:pt x="696" y="258"/>
                  </a:lnTo>
                  <a:lnTo>
                    <a:pt x="696" y="252"/>
                  </a:lnTo>
                  <a:lnTo>
                    <a:pt x="696" y="246"/>
                  </a:lnTo>
                  <a:lnTo>
                    <a:pt x="690" y="234"/>
                  </a:lnTo>
                  <a:lnTo>
                    <a:pt x="684" y="210"/>
                  </a:lnTo>
                  <a:lnTo>
                    <a:pt x="678" y="192"/>
                  </a:lnTo>
                  <a:lnTo>
                    <a:pt x="672" y="174"/>
                  </a:lnTo>
                  <a:lnTo>
                    <a:pt x="672" y="168"/>
                  </a:lnTo>
                  <a:lnTo>
                    <a:pt x="672" y="162"/>
                  </a:lnTo>
                  <a:lnTo>
                    <a:pt x="672" y="156"/>
                  </a:lnTo>
                  <a:lnTo>
                    <a:pt x="684" y="132"/>
                  </a:lnTo>
                  <a:lnTo>
                    <a:pt x="684" y="120"/>
                  </a:lnTo>
                  <a:lnTo>
                    <a:pt x="684" y="108"/>
                  </a:lnTo>
                  <a:lnTo>
                    <a:pt x="678" y="102"/>
                  </a:lnTo>
                  <a:lnTo>
                    <a:pt x="678" y="96"/>
                  </a:lnTo>
                  <a:lnTo>
                    <a:pt x="684" y="96"/>
                  </a:lnTo>
                  <a:lnTo>
                    <a:pt x="696" y="90"/>
                  </a:lnTo>
                  <a:lnTo>
                    <a:pt x="702" y="84"/>
                  </a:lnTo>
                  <a:lnTo>
                    <a:pt x="720" y="72"/>
                  </a:lnTo>
                  <a:lnTo>
                    <a:pt x="738" y="66"/>
                  </a:lnTo>
                  <a:lnTo>
                    <a:pt x="756" y="60"/>
                  </a:lnTo>
                  <a:lnTo>
                    <a:pt x="768" y="60"/>
                  </a:lnTo>
                  <a:lnTo>
                    <a:pt x="798" y="72"/>
                  </a:lnTo>
                  <a:lnTo>
                    <a:pt x="804" y="78"/>
                  </a:lnTo>
                  <a:lnTo>
                    <a:pt x="816" y="84"/>
                  </a:lnTo>
                  <a:lnTo>
                    <a:pt x="822" y="84"/>
                  </a:lnTo>
                  <a:lnTo>
                    <a:pt x="828" y="72"/>
                  </a:lnTo>
                  <a:lnTo>
                    <a:pt x="828" y="60"/>
                  </a:lnTo>
                  <a:lnTo>
                    <a:pt x="828" y="36"/>
                  </a:lnTo>
                  <a:lnTo>
                    <a:pt x="828" y="24"/>
                  </a:lnTo>
                  <a:lnTo>
                    <a:pt x="828" y="12"/>
                  </a:lnTo>
                  <a:lnTo>
                    <a:pt x="834" y="12"/>
                  </a:lnTo>
                  <a:lnTo>
                    <a:pt x="852" y="6"/>
                  </a:lnTo>
                  <a:lnTo>
                    <a:pt x="876" y="6"/>
                  </a:lnTo>
                  <a:lnTo>
                    <a:pt x="894" y="6"/>
                  </a:lnTo>
                  <a:lnTo>
                    <a:pt x="906" y="12"/>
                  </a:lnTo>
                  <a:lnTo>
                    <a:pt x="912" y="24"/>
                  </a:lnTo>
                  <a:lnTo>
                    <a:pt x="924" y="24"/>
                  </a:lnTo>
                  <a:lnTo>
                    <a:pt x="930" y="30"/>
                  </a:lnTo>
                  <a:lnTo>
                    <a:pt x="936" y="30"/>
                  </a:lnTo>
                  <a:lnTo>
                    <a:pt x="936" y="36"/>
                  </a:lnTo>
                  <a:lnTo>
                    <a:pt x="942" y="36"/>
                  </a:lnTo>
                  <a:lnTo>
                    <a:pt x="948" y="42"/>
                  </a:lnTo>
                  <a:lnTo>
                    <a:pt x="960" y="48"/>
                  </a:lnTo>
                  <a:lnTo>
                    <a:pt x="966" y="48"/>
                  </a:lnTo>
                  <a:lnTo>
                    <a:pt x="1026" y="60"/>
                  </a:lnTo>
                  <a:lnTo>
                    <a:pt x="1050" y="60"/>
                  </a:lnTo>
                  <a:lnTo>
                    <a:pt x="1050" y="54"/>
                  </a:lnTo>
                  <a:lnTo>
                    <a:pt x="1062" y="54"/>
                  </a:lnTo>
                  <a:lnTo>
                    <a:pt x="1074" y="48"/>
                  </a:lnTo>
                  <a:lnTo>
                    <a:pt x="1086" y="42"/>
                  </a:lnTo>
                  <a:lnTo>
                    <a:pt x="1104" y="36"/>
                  </a:lnTo>
                  <a:lnTo>
                    <a:pt x="1116" y="30"/>
                  </a:lnTo>
                  <a:lnTo>
                    <a:pt x="1122" y="24"/>
                  </a:lnTo>
                  <a:lnTo>
                    <a:pt x="1128" y="18"/>
                  </a:lnTo>
                  <a:lnTo>
                    <a:pt x="1134" y="18"/>
                  </a:lnTo>
                  <a:lnTo>
                    <a:pt x="1140" y="12"/>
                  </a:lnTo>
                  <a:lnTo>
                    <a:pt x="1146" y="6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24"/>
                  </a:lnTo>
                  <a:lnTo>
                    <a:pt x="1176" y="36"/>
                  </a:lnTo>
                  <a:lnTo>
                    <a:pt x="1188" y="42"/>
                  </a:lnTo>
                  <a:lnTo>
                    <a:pt x="1200" y="54"/>
                  </a:lnTo>
                  <a:lnTo>
                    <a:pt x="1224" y="84"/>
                  </a:lnTo>
                  <a:lnTo>
                    <a:pt x="1224" y="90"/>
                  </a:lnTo>
                  <a:lnTo>
                    <a:pt x="1236" y="96"/>
                  </a:lnTo>
                  <a:lnTo>
                    <a:pt x="1236" y="108"/>
                  </a:lnTo>
                  <a:lnTo>
                    <a:pt x="1248" y="114"/>
                  </a:lnTo>
                  <a:lnTo>
                    <a:pt x="1254" y="114"/>
                  </a:lnTo>
                  <a:lnTo>
                    <a:pt x="1260" y="114"/>
                  </a:lnTo>
                  <a:lnTo>
                    <a:pt x="1296" y="114"/>
                  </a:lnTo>
                  <a:lnTo>
                    <a:pt x="1302" y="114"/>
                  </a:lnTo>
                  <a:lnTo>
                    <a:pt x="1320" y="108"/>
                  </a:lnTo>
                  <a:lnTo>
                    <a:pt x="1326" y="108"/>
                  </a:lnTo>
                  <a:lnTo>
                    <a:pt x="1326" y="138"/>
                  </a:lnTo>
                  <a:lnTo>
                    <a:pt x="1326" y="210"/>
                  </a:lnTo>
                  <a:lnTo>
                    <a:pt x="1320" y="252"/>
                  </a:lnTo>
                  <a:lnTo>
                    <a:pt x="1320" y="270"/>
                  </a:lnTo>
                  <a:lnTo>
                    <a:pt x="1320" y="288"/>
                  </a:lnTo>
                  <a:lnTo>
                    <a:pt x="1320" y="318"/>
                  </a:lnTo>
                  <a:lnTo>
                    <a:pt x="1326" y="354"/>
                  </a:lnTo>
                  <a:lnTo>
                    <a:pt x="1326" y="372"/>
                  </a:lnTo>
                  <a:lnTo>
                    <a:pt x="1332" y="420"/>
                  </a:lnTo>
                  <a:lnTo>
                    <a:pt x="1332" y="450"/>
                  </a:lnTo>
                  <a:lnTo>
                    <a:pt x="1338" y="480"/>
                  </a:lnTo>
                  <a:lnTo>
                    <a:pt x="1344" y="486"/>
                  </a:lnTo>
                  <a:lnTo>
                    <a:pt x="1338" y="492"/>
                  </a:lnTo>
                  <a:lnTo>
                    <a:pt x="1344" y="492"/>
                  </a:lnTo>
                  <a:lnTo>
                    <a:pt x="1344" y="498"/>
                  </a:lnTo>
                  <a:lnTo>
                    <a:pt x="1350" y="498"/>
                  </a:lnTo>
                  <a:lnTo>
                    <a:pt x="1350" y="522"/>
                  </a:lnTo>
                  <a:lnTo>
                    <a:pt x="1362" y="564"/>
                  </a:lnTo>
                  <a:lnTo>
                    <a:pt x="1368" y="582"/>
                  </a:lnTo>
                  <a:lnTo>
                    <a:pt x="1380" y="600"/>
                  </a:lnTo>
                  <a:lnTo>
                    <a:pt x="1386" y="636"/>
                  </a:lnTo>
                  <a:lnTo>
                    <a:pt x="1380" y="660"/>
                  </a:lnTo>
                  <a:lnTo>
                    <a:pt x="1380" y="678"/>
                  </a:lnTo>
                  <a:lnTo>
                    <a:pt x="1380" y="684"/>
                  </a:lnTo>
                  <a:lnTo>
                    <a:pt x="1374" y="684"/>
                  </a:lnTo>
                  <a:lnTo>
                    <a:pt x="1368" y="690"/>
                  </a:lnTo>
                  <a:lnTo>
                    <a:pt x="1356" y="702"/>
                  </a:lnTo>
                  <a:lnTo>
                    <a:pt x="1350" y="708"/>
                  </a:lnTo>
                  <a:lnTo>
                    <a:pt x="1356" y="714"/>
                  </a:lnTo>
                  <a:lnTo>
                    <a:pt x="1368" y="726"/>
                  </a:lnTo>
                  <a:lnTo>
                    <a:pt x="1380" y="738"/>
                  </a:lnTo>
                  <a:lnTo>
                    <a:pt x="1386" y="744"/>
                  </a:lnTo>
                  <a:lnTo>
                    <a:pt x="1392" y="744"/>
                  </a:lnTo>
                  <a:lnTo>
                    <a:pt x="1410" y="750"/>
                  </a:lnTo>
                  <a:lnTo>
                    <a:pt x="1416" y="756"/>
                  </a:lnTo>
                  <a:lnTo>
                    <a:pt x="1422" y="756"/>
                  </a:lnTo>
                  <a:lnTo>
                    <a:pt x="1422" y="762"/>
                  </a:lnTo>
                  <a:lnTo>
                    <a:pt x="1428" y="774"/>
                  </a:lnTo>
                  <a:lnTo>
                    <a:pt x="1428" y="780"/>
                  </a:lnTo>
                  <a:lnTo>
                    <a:pt x="1434" y="780"/>
                  </a:lnTo>
                  <a:lnTo>
                    <a:pt x="1440" y="798"/>
                  </a:lnTo>
                  <a:lnTo>
                    <a:pt x="1422" y="816"/>
                  </a:lnTo>
                  <a:lnTo>
                    <a:pt x="1386" y="810"/>
                  </a:lnTo>
                  <a:lnTo>
                    <a:pt x="1380" y="816"/>
                  </a:lnTo>
                  <a:lnTo>
                    <a:pt x="1374" y="840"/>
                  </a:lnTo>
                  <a:lnTo>
                    <a:pt x="1350" y="852"/>
                  </a:lnTo>
                  <a:lnTo>
                    <a:pt x="1350" y="858"/>
                  </a:lnTo>
                  <a:lnTo>
                    <a:pt x="1350" y="864"/>
                  </a:lnTo>
                  <a:lnTo>
                    <a:pt x="1344" y="864"/>
                  </a:lnTo>
                  <a:lnTo>
                    <a:pt x="1338" y="870"/>
                  </a:lnTo>
                  <a:lnTo>
                    <a:pt x="1332" y="876"/>
                  </a:lnTo>
                  <a:lnTo>
                    <a:pt x="1314" y="876"/>
                  </a:lnTo>
                  <a:lnTo>
                    <a:pt x="1314" y="870"/>
                  </a:lnTo>
                  <a:lnTo>
                    <a:pt x="1308" y="870"/>
                  </a:lnTo>
                  <a:lnTo>
                    <a:pt x="1302" y="864"/>
                  </a:lnTo>
                  <a:lnTo>
                    <a:pt x="1296" y="864"/>
                  </a:lnTo>
                  <a:lnTo>
                    <a:pt x="1284" y="870"/>
                  </a:lnTo>
                  <a:lnTo>
                    <a:pt x="1266" y="870"/>
                  </a:lnTo>
                  <a:lnTo>
                    <a:pt x="1260" y="870"/>
                  </a:lnTo>
                  <a:lnTo>
                    <a:pt x="1248" y="876"/>
                  </a:lnTo>
                  <a:lnTo>
                    <a:pt x="1236" y="876"/>
                  </a:lnTo>
                  <a:lnTo>
                    <a:pt x="1230" y="882"/>
                  </a:lnTo>
                  <a:lnTo>
                    <a:pt x="1224" y="894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18" y="942"/>
                  </a:lnTo>
                  <a:lnTo>
                    <a:pt x="1212" y="948"/>
                  </a:lnTo>
                  <a:lnTo>
                    <a:pt x="1200" y="984"/>
                  </a:lnTo>
                  <a:lnTo>
                    <a:pt x="1194" y="1008"/>
                  </a:lnTo>
                  <a:lnTo>
                    <a:pt x="1218" y="1038"/>
                  </a:lnTo>
                  <a:lnTo>
                    <a:pt x="1224" y="1044"/>
                  </a:lnTo>
                  <a:lnTo>
                    <a:pt x="1224" y="1062"/>
                  </a:lnTo>
                  <a:lnTo>
                    <a:pt x="1236" y="1080"/>
                  </a:lnTo>
                  <a:lnTo>
                    <a:pt x="1236" y="1086"/>
                  </a:lnTo>
                  <a:lnTo>
                    <a:pt x="1230" y="1092"/>
                  </a:lnTo>
                  <a:lnTo>
                    <a:pt x="1224" y="1110"/>
                  </a:lnTo>
                  <a:lnTo>
                    <a:pt x="1218" y="1122"/>
                  </a:lnTo>
                  <a:lnTo>
                    <a:pt x="1224" y="1140"/>
                  </a:lnTo>
                  <a:lnTo>
                    <a:pt x="1218" y="1146"/>
                  </a:lnTo>
                  <a:lnTo>
                    <a:pt x="1218" y="1152"/>
                  </a:lnTo>
                  <a:lnTo>
                    <a:pt x="1212" y="116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1" name="Freeform 36">
              <a:extLst>
                <a:ext uri="{FF2B5EF4-FFF2-40B4-BE49-F238E27FC236}">
                  <a16:creationId xmlns:a16="http://schemas.microsoft.com/office/drawing/2014/main" id="{B9C0D6BE-CB1C-4E69-B224-1ABF097AA8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90208" y="1647855"/>
              <a:ext cx="742415" cy="758173"/>
            </a:xfrm>
            <a:custGeom>
              <a:avLst/>
              <a:gdLst>
                <a:gd name="T0" fmla="*/ 75 w 1398"/>
                <a:gd name="T1" fmla="*/ 48 h 1428"/>
                <a:gd name="T2" fmla="*/ 68 w 1398"/>
                <a:gd name="T3" fmla="*/ 54 h 1428"/>
                <a:gd name="T4" fmla="*/ 57 w 1398"/>
                <a:gd name="T5" fmla="*/ 59 h 1428"/>
                <a:gd name="T6" fmla="*/ 55 w 1398"/>
                <a:gd name="T7" fmla="*/ 68 h 1428"/>
                <a:gd name="T8" fmla="*/ 55 w 1398"/>
                <a:gd name="T9" fmla="*/ 77 h 1428"/>
                <a:gd name="T10" fmla="*/ 57 w 1398"/>
                <a:gd name="T11" fmla="*/ 81 h 1428"/>
                <a:gd name="T12" fmla="*/ 56 w 1398"/>
                <a:gd name="T13" fmla="*/ 86 h 1428"/>
                <a:gd name="T14" fmla="*/ 57 w 1398"/>
                <a:gd name="T15" fmla="*/ 89 h 1428"/>
                <a:gd name="T16" fmla="*/ 58 w 1398"/>
                <a:gd name="T17" fmla="*/ 92 h 1428"/>
                <a:gd name="T18" fmla="*/ 58 w 1398"/>
                <a:gd name="T19" fmla="*/ 96 h 1428"/>
                <a:gd name="T20" fmla="*/ 49 w 1398"/>
                <a:gd name="T21" fmla="*/ 100 h 1428"/>
                <a:gd name="T22" fmla="*/ 47 w 1398"/>
                <a:gd name="T23" fmla="*/ 108 h 1428"/>
                <a:gd name="T24" fmla="*/ 48 w 1398"/>
                <a:gd name="T25" fmla="*/ 113 h 1428"/>
                <a:gd name="T26" fmla="*/ 43 w 1398"/>
                <a:gd name="T27" fmla="*/ 114 h 1428"/>
                <a:gd name="T28" fmla="*/ 39 w 1398"/>
                <a:gd name="T29" fmla="*/ 113 h 1428"/>
                <a:gd name="T30" fmla="*/ 33 w 1398"/>
                <a:gd name="T31" fmla="*/ 109 h 1428"/>
                <a:gd name="T32" fmla="*/ 29 w 1398"/>
                <a:gd name="T33" fmla="*/ 114 h 1428"/>
                <a:gd name="T34" fmla="*/ 22 w 1398"/>
                <a:gd name="T35" fmla="*/ 115 h 1428"/>
                <a:gd name="T36" fmla="*/ 21 w 1398"/>
                <a:gd name="T37" fmla="*/ 121 h 1428"/>
                <a:gd name="T38" fmla="*/ 12 w 1398"/>
                <a:gd name="T39" fmla="*/ 119 h 1428"/>
                <a:gd name="T40" fmla="*/ 9 w 1398"/>
                <a:gd name="T41" fmla="*/ 113 h 1428"/>
                <a:gd name="T42" fmla="*/ 2 w 1398"/>
                <a:gd name="T43" fmla="*/ 109 h 1428"/>
                <a:gd name="T44" fmla="*/ 4 w 1398"/>
                <a:gd name="T45" fmla="*/ 103 h 1428"/>
                <a:gd name="T46" fmla="*/ 2 w 1398"/>
                <a:gd name="T47" fmla="*/ 91 h 1428"/>
                <a:gd name="T48" fmla="*/ 6 w 1398"/>
                <a:gd name="T49" fmla="*/ 85 h 1428"/>
                <a:gd name="T50" fmla="*/ 10 w 1398"/>
                <a:gd name="T51" fmla="*/ 85 h 1428"/>
                <a:gd name="T52" fmla="*/ 15 w 1398"/>
                <a:gd name="T53" fmla="*/ 82 h 1428"/>
                <a:gd name="T54" fmla="*/ 20 w 1398"/>
                <a:gd name="T55" fmla="*/ 77 h 1428"/>
                <a:gd name="T56" fmla="*/ 16 w 1398"/>
                <a:gd name="T57" fmla="*/ 73 h 1428"/>
                <a:gd name="T58" fmla="*/ 16 w 1398"/>
                <a:gd name="T59" fmla="*/ 69 h 1428"/>
                <a:gd name="T60" fmla="*/ 14 w 1398"/>
                <a:gd name="T61" fmla="*/ 54 h 1428"/>
                <a:gd name="T62" fmla="*/ 12 w 1398"/>
                <a:gd name="T63" fmla="*/ 48 h 1428"/>
                <a:gd name="T64" fmla="*/ 11 w 1398"/>
                <a:gd name="T65" fmla="*/ 31 h 1428"/>
                <a:gd name="T66" fmla="*/ 14 w 1398"/>
                <a:gd name="T67" fmla="*/ 18 h 1428"/>
                <a:gd name="T68" fmla="*/ 19 w 1398"/>
                <a:gd name="T69" fmla="*/ 15 h 1428"/>
                <a:gd name="T70" fmla="*/ 26 w 1398"/>
                <a:gd name="T71" fmla="*/ 13 h 1428"/>
                <a:gd name="T72" fmla="*/ 34 w 1398"/>
                <a:gd name="T73" fmla="*/ 12 h 1428"/>
                <a:gd name="T74" fmla="*/ 39 w 1398"/>
                <a:gd name="T75" fmla="*/ 9 h 1428"/>
                <a:gd name="T76" fmla="*/ 43 w 1398"/>
                <a:gd name="T77" fmla="*/ 7 h 1428"/>
                <a:gd name="T78" fmla="*/ 48 w 1398"/>
                <a:gd name="T79" fmla="*/ 3 h 1428"/>
                <a:gd name="T80" fmla="*/ 54 w 1398"/>
                <a:gd name="T81" fmla="*/ 0 h 1428"/>
                <a:gd name="T82" fmla="*/ 58 w 1398"/>
                <a:gd name="T83" fmla="*/ 0 h 1428"/>
                <a:gd name="T84" fmla="*/ 66 w 1398"/>
                <a:gd name="T85" fmla="*/ 2 h 1428"/>
                <a:gd name="T86" fmla="*/ 70 w 1398"/>
                <a:gd name="T87" fmla="*/ 3 h 1428"/>
                <a:gd name="T88" fmla="*/ 75 w 1398"/>
                <a:gd name="T89" fmla="*/ 6 h 1428"/>
                <a:gd name="T90" fmla="*/ 80 w 1398"/>
                <a:gd name="T91" fmla="*/ 9 h 1428"/>
                <a:gd name="T92" fmla="*/ 83 w 1398"/>
                <a:gd name="T93" fmla="*/ 12 h 1428"/>
                <a:gd name="T94" fmla="*/ 87 w 1398"/>
                <a:gd name="T95" fmla="*/ 15 h 1428"/>
                <a:gd name="T96" fmla="*/ 94 w 1398"/>
                <a:gd name="T97" fmla="*/ 15 h 1428"/>
                <a:gd name="T98" fmla="*/ 99 w 1398"/>
                <a:gd name="T99" fmla="*/ 21 h 1428"/>
                <a:gd name="T100" fmla="*/ 103 w 1398"/>
                <a:gd name="T101" fmla="*/ 23 h 1428"/>
                <a:gd name="T102" fmla="*/ 110 w 1398"/>
                <a:gd name="T103" fmla="*/ 26 h 1428"/>
                <a:gd name="T104" fmla="*/ 116 w 1398"/>
                <a:gd name="T105" fmla="*/ 27 h 1428"/>
                <a:gd name="T106" fmla="*/ 120 w 1398"/>
                <a:gd name="T107" fmla="*/ 27 h 1428"/>
                <a:gd name="T108" fmla="*/ 116 w 1398"/>
                <a:gd name="T109" fmla="*/ 35 h 1428"/>
                <a:gd name="T110" fmla="*/ 104 w 1398"/>
                <a:gd name="T111" fmla="*/ 37 h 1428"/>
                <a:gd name="T112" fmla="*/ 97 w 1398"/>
                <a:gd name="T113" fmla="*/ 34 h 1428"/>
                <a:gd name="T114" fmla="*/ 91 w 1398"/>
                <a:gd name="T115" fmla="*/ 29 h 1428"/>
                <a:gd name="T116" fmla="*/ 75 w 1398"/>
                <a:gd name="T117" fmla="*/ 29 h 1428"/>
                <a:gd name="T118" fmla="*/ 72 w 1398"/>
                <a:gd name="T119" fmla="*/ 39 h 1428"/>
                <a:gd name="T120" fmla="*/ 80 w 1398"/>
                <a:gd name="T121" fmla="*/ 41 h 142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98"/>
                <a:gd name="T184" fmla="*/ 0 h 1428"/>
                <a:gd name="T185" fmla="*/ 1398 w 1398"/>
                <a:gd name="T186" fmla="*/ 1428 h 142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98" h="1428">
                  <a:moveTo>
                    <a:pt x="924" y="474"/>
                  </a:moveTo>
                  <a:lnTo>
                    <a:pt x="900" y="480"/>
                  </a:lnTo>
                  <a:lnTo>
                    <a:pt x="864" y="486"/>
                  </a:lnTo>
                  <a:lnTo>
                    <a:pt x="864" y="504"/>
                  </a:lnTo>
                  <a:lnTo>
                    <a:pt x="858" y="522"/>
                  </a:lnTo>
                  <a:lnTo>
                    <a:pt x="864" y="528"/>
                  </a:lnTo>
                  <a:lnTo>
                    <a:pt x="864" y="552"/>
                  </a:lnTo>
                  <a:lnTo>
                    <a:pt x="852" y="552"/>
                  </a:lnTo>
                  <a:lnTo>
                    <a:pt x="846" y="564"/>
                  </a:lnTo>
                  <a:lnTo>
                    <a:pt x="840" y="582"/>
                  </a:lnTo>
                  <a:lnTo>
                    <a:pt x="834" y="594"/>
                  </a:lnTo>
                  <a:lnTo>
                    <a:pt x="828" y="606"/>
                  </a:lnTo>
                  <a:lnTo>
                    <a:pt x="828" y="618"/>
                  </a:lnTo>
                  <a:lnTo>
                    <a:pt x="786" y="630"/>
                  </a:lnTo>
                  <a:lnTo>
                    <a:pt x="774" y="636"/>
                  </a:lnTo>
                  <a:lnTo>
                    <a:pt x="762" y="642"/>
                  </a:lnTo>
                  <a:lnTo>
                    <a:pt x="744" y="648"/>
                  </a:lnTo>
                  <a:lnTo>
                    <a:pt x="714" y="660"/>
                  </a:lnTo>
                  <a:lnTo>
                    <a:pt x="696" y="666"/>
                  </a:lnTo>
                  <a:lnTo>
                    <a:pt x="666" y="672"/>
                  </a:lnTo>
                  <a:lnTo>
                    <a:pt x="654" y="684"/>
                  </a:lnTo>
                  <a:lnTo>
                    <a:pt x="648" y="684"/>
                  </a:lnTo>
                  <a:lnTo>
                    <a:pt x="642" y="696"/>
                  </a:lnTo>
                  <a:lnTo>
                    <a:pt x="636" y="696"/>
                  </a:lnTo>
                  <a:lnTo>
                    <a:pt x="630" y="714"/>
                  </a:lnTo>
                  <a:lnTo>
                    <a:pt x="624" y="738"/>
                  </a:lnTo>
                  <a:lnTo>
                    <a:pt x="624" y="762"/>
                  </a:lnTo>
                  <a:lnTo>
                    <a:pt x="630" y="780"/>
                  </a:lnTo>
                  <a:lnTo>
                    <a:pt x="636" y="804"/>
                  </a:lnTo>
                  <a:lnTo>
                    <a:pt x="642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6" y="834"/>
                  </a:lnTo>
                  <a:lnTo>
                    <a:pt x="636" y="870"/>
                  </a:lnTo>
                  <a:lnTo>
                    <a:pt x="636" y="882"/>
                  </a:lnTo>
                  <a:lnTo>
                    <a:pt x="636" y="906"/>
                  </a:lnTo>
                  <a:lnTo>
                    <a:pt x="630" y="906"/>
                  </a:lnTo>
                  <a:lnTo>
                    <a:pt x="636" y="918"/>
                  </a:lnTo>
                  <a:lnTo>
                    <a:pt x="642" y="918"/>
                  </a:lnTo>
                  <a:lnTo>
                    <a:pt x="642" y="930"/>
                  </a:lnTo>
                  <a:lnTo>
                    <a:pt x="648" y="936"/>
                  </a:lnTo>
                  <a:lnTo>
                    <a:pt x="654" y="936"/>
                  </a:lnTo>
                  <a:lnTo>
                    <a:pt x="654" y="942"/>
                  </a:lnTo>
                  <a:lnTo>
                    <a:pt x="654" y="948"/>
                  </a:lnTo>
                  <a:lnTo>
                    <a:pt x="648" y="954"/>
                  </a:lnTo>
                  <a:lnTo>
                    <a:pt x="648" y="960"/>
                  </a:lnTo>
                  <a:lnTo>
                    <a:pt x="648" y="966"/>
                  </a:lnTo>
                  <a:lnTo>
                    <a:pt x="648" y="972"/>
                  </a:lnTo>
                  <a:lnTo>
                    <a:pt x="648" y="990"/>
                  </a:lnTo>
                  <a:lnTo>
                    <a:pt x="654" y="996"/>
                  </a:lnTo>
                  <a:lnTo>
                    <a:pt x="648" y="1002"/>
                  </a:lnTo>
                  <a:lnTo>
                    <a:pt x="648" y="1008"/>
                  </a:lnTo>
                  <a:lnTo>
                    <a:pt x="654" y="1014"/>
                  </a:lnTo>
                  <a:lnTo>
                    <a:pt x="654" y="1020"/>
                  </a:lnTo>
                  <a:lnTo>
                    <a:pt x="654" y="1026"/>
                  </a:lnTo>
                  <a:lnTo>
                    <a:pt x="660" y="1026"/>
                  </a:lnTo>
                  <a:lnTo>
                    <a:pt x="660" y="1032"/>
                  </a:lnTo>
                  <a:lnTo>
                    <a:pt x="660" y="1038"/>
                  </a:lnTo>
                  <a:lnTo>
                    <a:pt x="666" y="1044"/>
                  </a:lnTo>
                  <a:lnTo>
                    <a:pt x="672" y="1050"/>
                  </a:lnTo>
                  <a:lnTo>
                    <a:pt x="672" y="1056"/>
                  </a:lnTo>
                  <a:lnTo>
                    <a:pt x="672" y="1062"/>
                  </a:lnTo>
                  <a:lnTo>
                    <a:pt x="672" y="1068"/>
                  </a:lnTo>
                  <a:lnTo>
                    <a:pt x="672" y="1074"/>
                  </a:lnTo>
                  <a:lnTo>
                    <a:pt x="678" y="1074"/>
                  </a:lnTo>
                  <a:lnTo>
                    <a:pt x="678" y="1080"/>
                  </a:lnTo>
                  <a:lnTo>
                    <a:pt x="678" y="1086"/>
                  </a:lnTo>
                  <a:lnTo>
                    <a:pt x="672" y="1092"/>
                  </a:lnTo>
                  <a:lnTo>
                    <a:pt x="672" y="1098"/>
                  </a:lnTo>
                  <a:lnTo>
                    <a:pt x="672" y="1104"/>
                  </a:lnTo>
                  <a:lnTo>
                    <a:pt x="666" y="1116"/>
                  </a:lnTo>
                  <a:lnTo>
                    <a:pt x="624" y="1122"/>
                  </a:lnTo>
                  <a:lnTo>
                    <a:pt x="576" y="1134"/>
                  </a:lnTo>
                  <a:lnTo>
                    <a:pt x="570" y="1140"/>
                  </a:lnTo>
                  <a:lnTo>
                    <a:pt x="570" y="1146"/>
                  </a:lnTo>
                  <a:lnTo>
                    <a:pt x="564" y="1146"/>
                  </a:lnTo>
                  <a:lnTo>
                    <a:pt x="564" y="1152"/>
                  </a:lnTo>
                  <a:lnTo>
                    <a:pt x="564" y="1164"/>
                  </a:lnTo>
                  <a:lnTo>
                    <a:pt x="564" y="1170"/>
                  </a:lnTo>
                  <a:lnTo>
                    <a:pt x="564" y="1176"/>
                  </a:lnTo>
                  <a:lnTo>
                    <a:pt x="546" y="1176"/>
                  </a:lnTo>
                  <a:lnTo>
                    <a:pt x="540" y="1212"/>
                  </a:lnTo>
                  <a:lnTo>
                    <a:pt x="540" y="1230"/>
                  </a:lnTo>
                  <a:lnTo>
                    <a:pt x="546" y="1242"/>
                  </a:lnTo>
                  <a:lnTo>
                    <a:pt x="546" y="1254"/>
                  </a:lnTo>
                  <a:lnTo>
                    <a:pt x="558" y="1266"/>
                  </a:lnTo>
                  <a:lnTo>
                    <a:pt x="576" y="1272"/>
                  </a:lnTo>
                  <a:lnTo>
                    <a:pt x="570" y="1278"/>
                  </a:lnTo>
                  <a:lnTo>
                    <a:pt x="576" y="1284"/>
                  </a:lnTo>
                  <a:lnTo>
                    <a:pt x="570" y="1296"/>
                  </a:lnTo>
                  <a:lnTo>
                    <a:pt x="558" y="1302"/>
                  </a:lnTo>
                  <a:lnTo>
                    <a:pt x="540" y="1308"/>
                  </a:lnTo>
                  <a:lnTo>
                    <a:pt x="522" y="1314"/>
                  </a:lnTo>
                  <a:lnTo>
                    <a:pt x="516" y="1314"/>
                  </a:lnTo>
                  <a:lnTo>
                    <a:pt x="510" y="1314"/>
                  </a:lnTo>
                  <a:lnTo>
                    <a:pt x="504" y="1314"/>
                  </a:lnTo>
                  <a:lnTo>
                    <a:pt x="498" y="1320"/>
                  </a:lnTo>
                  <a:lnTo>
                    <a:pt x="492" y="1320"/>
                  </a:lnTo>
                  <a:lnTo>
                    <a:pt x="492" y="1326"/>
                  </a:lnTo>
                  <a:lnTo>
                    <a:pt x="486" y="1326"/>
                  </a:lnTo>
                  <a:lnTo>
                    <a:pt x="480" y="1326"/>
                  </a:lnTo>
                  <a:lnTo>
                    <a:pt x="480" y="1320"/>
                  </a:lnTo>
                  <a:lnTo>
                    <a:pt x="468" y="1314"/>
                  </a:lnTo>
                  <a:lnTo>
                    <a:pt x="462" y="1308"/>
                  </a:lnTo>
                  <a:lnTo>
                    <a:pt x="456" y="1302"/>
                  </a:lnTo>
                  <a:lnTo>
                    <a:pt x="444" y="1296"/>
                  </a:lnTo>
                  <a:lnTo>
                    <a:pt x="420" y="1290"/>
                  </a:lnTo>
                  <a:lnTo>
                    <a:pt x="414" y="1278"/>
                  </a:lnTo>
                  <a:lnTo>
                    <a:pt x="408" y="1278"/>
                  </a:lnTo>
                  <a:lnTo>
                    <a:pt x="408" y="1266"/>
                  </a:lnTo>
                  <a:lnTo>
                    <a:pt x="402" y="1260"/>
                  </a:lnTo>
                  <a:lnTo>
                    <a:pt x="384" y="1260"/>
                  </a:lnTo>
                  <a:lnTo>
                    <a:pt x="372" y="1266"/>
                  </a:lnTo>
                  <a:lnTo>
                    <a:pt x="360" y="1272"/>
                  </a:lnTo>
                  <a:lnTo>
                    <a:pt x="348" y="1272"/>
                  </a:lnTo>
                  <a:lnTo>
                    <a:pt x="342" y="1284"/>
                  </a:lnTo>
                  <a:lnTo>
                    <a:pt x="336" y="1290"/>
                  </a:lnTo>
                  <a:lnTo>
                    <a:pt x="336" y="1308"/>
                  </a:lnTo>
                  <a:lnTo>
                    <a:pt x="336" y="1314"/>
                  </a:lnTo>
                  <a:lnTo>
                    <a:pt x="336" y="1320"/>
                  </a:lnTo>
                  <a:lnTo>
                    <a:pt x="330" y="1326"/>
                  </a:lnTo>
                  <a:lnTo>
                    <a:pt x="330" y="1332"/>
                  </a:lnTo>
                  <a:lnTo>
                    <a:pt x="330" y="1338"/>
                  </a:lnTo>
                  <a:lnTo>
                    <a:pt x="300" y="1338"/>
                  </a:lnTo>
                  <a:lnTo>
                    <a:pt x="288" y="1338"/>
                  </a:lnTo>
                  <a:lnTo>
                    <a:pt x="258" y="1326"/>
                  </a:lnTo>
                  <a:lnTo>
                    <a:pt x="246" y="1332"/>
                  </a:lnTo>
                  <a:lnTo>
                    <a:pt x="240" y="1338"/>
                  </a:lnTo>
                  <a:lnTo>
                    <a:pt x="234" y="1338"/>
                  </a:lnTo>
                  <a:lnTo>
                    <a:pt x="228" y="1350"/>
                  </a:lnTo>
                  <a:lnTo>
                    <a:pt x="228" y="1374"/>
                  </a:lnTo>
                  <a:lnTo>
                    <a:pt x="234" y="1392"/>
                  </a:lnTo>
                  <a:lnTo>
                    <a:pt x="246" y="1398"/>
                  </a:lnTo>
                  <a:lnTo>
                    <a:pt x="246" y="1410"/>
                  </a:lnTo>
                  <a:lnTo>
                    <a:pt x="216" y="1428"/>
                  </a:lnTo>
                  <a:lnTo>
                    <a:pt x="198" y="1428"/>
                  </a:lnTo>
                  <a:lnTo>
                    <a:pt x="192" y="1422"/>
                  </a:lnTo>
                  <a:lnTo>
                    <a:pt x="174" y="1410"/>
                  </a:lnTo>
                  <a:lnTo>
                    <a:pt x="156" y="1386"/>
                  </a:lnTo>
                  <a:lnTo>
                    <a:pt x="132" y="1374"/>
                  </a:lnTo>
                  <a:lnTo>
                    <a:pt x="108" y="1368"/>
                  </a:lnTo>
                  <a:lnTo>
                    <a:pt x="84" y="1368"/>
                  </a:lnTo>
                  <a:lnTo>
                    <a:pt x="96" y="1356"/>
                  </a:lnTo>
                  <a:lnTo>
                    <a:pt x="102" y="1344"/>
                  </a:lnTo>
                  <a:lnTo>
                    <a:pt x="102" y="1332"/>
                  </a:lnTo>
                  <a:lnTo>
                    <a:pt x="108" y="1320"/>
                  </a:lnTo>
                  <a:lnTo>
                    <a:pt x="108" y="1302"/>
                  </a:lnTo>
                  <a:lnTo>
                    <a:pt x="96" y="1278"/>
                  </a:lnTo>
                  <a:lnTo>
                    <a:pt x="66" y="1284"/>
                  </a:lnTo>
                  <a:lnTo>
                    <a:pt x="54" y="1278"/>
                  </a:lnTo>
                  <a:lnTo>
                    <a:pt x="36" y="1278"/>
                  </a:lnTo>
                  <a:lnTo>
                    <a:pt x="18" y="1284"/>
                  </a:lnTo>
                  <a:lnTo>
                    <a:pt x="18" y="1272"/>
                  </a:lnTo>
                  <a:lnTo>
                    <a:pt x="24" y="1260"/>
                  </a:lnTo>
                  <a:lnTo>
                    <a:pt x="24" y="1254"/>
                  </a:lnTo>
                  <a:lnTo>
                    <a:pt x="30" y="1248"/>
                  </a:lnTo>
                  <a:lnTo>
                    <a:pt x="24" y="1230"/>
                  </a:lnTo>
                  <a:lnTo>
                    <a:pt x="30" y="1218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30" y="1170"/>
                  </a:lnTo>
                  <a:lnTo>
                    <a:pt x="30" y="1152"/>
                  </a:lnTo>
                  <a:lnTo>
                    <a:pt x="24" y="1146"/>
                  </a:lnTo>
                  <a:lnTo>
                    <a:pt x="0" y="1116"/>
                  </a:lnTo>
                  <a:lnTo>
                    <a:pt x="6" y="1092"/>
                  </a:lnTo>
                  <a:lnTo>
                    <a:pt x="18" y="1056"/>
                  </a:lnTo>
                  <a:lnTo>
                    <a:pt x="24" y="1050"/>
                  </a:lnTo>
                  <a:lnTo>
                    <a:pt x="24" y="1038"/>
                  </a:lnTo>
                  <a:lnTo>
                    <a:pt x="24" y="1026"/>
                  </a:lnTo>
                  <a:lnTo>
                    <a:pt x="30" y="1002"/>
                  </a:lnTo>
                  <a:lnTo>
                    <a:pt x="36" y="990"/>
                  </a:lnTo>
                  <a:lnTo>
                    <a:pt x="42" y="984"/>
                  </a:lnTo>
                  <a:lnTo>
                    <a:pt x="54" y="984"/>
                  </a:lnTo>
                  <a:lnTo>
                    <a:pt x="66" y="978"/>
                  </a:lnTo>
                  <a:lnTo>
                    <a:pt x="72" y="978"/>
                  </a:lnTo>
                  <a:lnTo>
                    <a:pt x="90" y="978"/>
                  </a:lnTo>
                  <a:lnTo>
                    <a:pt x="102" y="972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78"/>
                  </a:lnTo>
                  <a:lnTo>
                    <a:pt x="120" y="984"/>
                  </a:lnTo>
                  <a:lnTo>
                    <a:pt x="138" y="984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6" y="972"/>
                  </a:lnTo>
                  <a:lnTo>
                    <a:pt x="156" y="966"/>
                  </a:lnTo>
                  <a:lnTo>
                    <a:pt x="156" y="960"/>
                  </a:lnTo>
                  <a:lnTo>
                    <a:pt x="180" y="948"/>
                  </a:lnTo>
                  <a:lnTo>
                    <a:pt x="186" y="924"/>
                  </a:lnTo>
                  <a:lnTo>
                    <a:pt x="192" y="918"/>
                  </a:lnTo>
                  <a:lnTo>
                    <a:pt x="228" y="924"/>
                  </a:lnTo>
                  <a:lnTo>
                    <a:pt x="246" y="906"/>
                  </a:lnTo>
                  <a:lnTo>
                    <a:pt x="240" y="888"/>
                  </a:lnTo>
                  <a:lnTo>
                    <a:pt x="234" y="888"/>
                  </a:lnTo>
                  <a:lnTo>
                    <a:pt x="234" y="882"/>
                  </a:lnTo>
                  <a:lnTo>
                    <a:pt x="228" y="870"/>
                  </a:lnTo>
                  <a:lnTo>
                    <a:pt x="228" y="864"/>
                  </a:lnTo>
                  <a:lnTo>
                    <a:pt x="222" y="864"/>
                  </a:lnTo>
                  <a:lnTo>
                    <a:pt x="216" y="858"/>
                  </a:lnTo>
                  <a:lnTo>
                    <a:pt x="198" y="852"/>
                  </a:lnTo>
                  <a:lnTo>
                    <a:pt x="192" y="852"/>
                  </a:lnTo>
                  <a:lnTo>
                    <a:pt x="186" y="846"/>
                  </a:lnTo>
                  <a:lnTo>
                    <a:pt x="174" y="834"/>
                  </a:lnTo>
                  <a:lnTo>
                    <a:pt x="162" y="822"/>
                  </a:lnTo>
                  <a:lnTo>
                    <a:pt x="156" y="816"/>
                  </a:lnTo>
                  <a:lnTo>
                    <a:pt x="162" y="810"/>
                  </a:lnTo>
                  <a:lnTo>
                    <a:pt x="174" y="798"/>
                  </a:lnTo>
                  <a:lnTo>
                    <a:pt x="180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68"/>
                  </a:lnTo>
                  <a:lnTo>
                    <a:pt x="192" y="744"/>
                  </a:lnTo>
                  <a:lnTo>
                    <a:pt x="186" y="708"/>
                  </a:lnTo>
                  <a:lnTo>
                    <a:pt x="174" y="690"/>
                  </a:lnTo>
                  <a:lnTo>
                    <a:pt x="168" y="672"/>
                  </a:lnTo>
                  <a:lnTo>
                    <a:pt x="156" y="630"/>
                  </a:lnTo>
                  <a:lnTo>
                    <a:pt x="156" y="606"/>
                  </a:lnTo>
                  <a:lnTo>
                    <a:pt x="150" y="606"/>
                  </a:lnTo>
                  <a:lnTo>
                    <a:pt x="150" y="600"/>
                  </a:lnTo>
                  <a:lnTo>
                    <a:pt x="144" y="600"/>
                  </a:lnTo>
                  <a:lnTo>
                    <a:pt x="150" y="594"/>
                  </a:lnTo>
                  <a:lnTo>
                    <a:pt x="144" y="588"/>
                  </a:lnTo>
                  <a:lnTo>
                    <a:pt x="138" y="558"/>
                  </a:lnTo>
                  <a:lnTo>
                    <a:pt x="138" y="528"/>
                  </a:lnTo>
                  <a:lnTo>
                    <a:pt x="132" y="480"/>
                  </a:lnTo>
                  <a:lnTo>
                    <a:pt x="132" y="462"/>
                  </a:lnTo>
                  <a:lnTo>
                    <a:pt x="126" y="426"/>
                  </a:lnTo>
                  <a:lnTo>
                    <a:pt x="126" y="396"/>
                  </a:lnTo>
                  <a:lnTo>
                    <a:pt x="126" y="378"/>
                  </a:lnTo>
                  <a:lnTo>
                    <a:pt x="126" y="360"/>
                  </a:lnTo>
                  <a:lnTo>
                    <a:pt x="132" y="318"/>
                  </a:lnTo>
                  <a:lnTo>
                    <a:pt x="132" y="24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2" y="210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92" y="198"/>
                  </a:lnTo>
                  <a:lnTo>
                    <a:pt x="198" y="198"/>
                  </a:lnTo>
                  <a:lnTo>
                    <a:pt x="216" y="180"/>
                  </a:lnTo>
                  <a:lnTo>
                    <a:pt x="222" y="174"/>
                  </a:lnTo>
                  <a:lnTo>
                    <a:pt x="222" y="168"/>
                  </a:lnTo>
                  <a:lnTo>
                    <a:pt x="228" y="168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44"/>
                  </a:lnTo>
                  <a:lnTo>
                    <a:pt x="258" y="144"/>
                  </a:lnTo>
                  <a:lnTo>
                    <a:pt x="276" y="150"/>
                  </a:lnTo>
                  <a:lnTo>
                    <a:pt x="300" y="150"/>
                  </a:lnTo>
                  <a:lnTo>
                    <a:pt x="312" y="150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8" y="156"/>
                  </a:lnTo>
                  <a:lnTo>
                    <a:pt x="354" y="150"/>
                  </a:lnTo>
                  <a:lnTo>
                    <a:pt x="372" y="144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08" y="126"/>
                  </a:lnTo>
                  <a:lnTo>
                    <a:pt x="414" y="120"/>
                  </a:lnTo>
                  <a:lnTo>
                    <a:pt x="420" y="120"/>
                  </a:lnTo>
                  <a:lnTo>
                    <a:pt x="426" y="120"/>
                  </a:lnTo>
                  <a:lnTo>
                    <a:pt x="432" y="114"/>
                  </a:lnTo>
                  <a:lnTo>
                    <a:pt x="450" y="102"/>
                  </a:lnTo>
                  <a:lnTo>
                    <a:pt x="456" y="96"/>
                  </a:lnTo>
                  <a:lnTo>
                    <a:pt x="468" y="90"/>
                  </a:lnTo>
                  <a:lnTo>
                    <a:pt x="474" y="90"/>
                  </a:lnTo>
                  <a:lnTo>
                    <a:pt x="480" y="84"/>
                  </a:lnTo>
                  <a:lnTo>
                    <a:pt x="486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504" y="72"/>
                  </a:lnTo>
                  <a:lnTo>
                    <a:pt x="510" y="66"/>
                  </a:lnTo>
                  <a:lnTo>
                    <a:pt x="516" y="66"/>
                  </a:lnTo>
                  <a:lnTo>
                    <a:pt x="522" y="60"/>
                  </a:lnTo>
                  <a:lnTo>
                    <a:pt x="552" y="42"/>
                  </a:lnTo>
                  <a:lnTo>
                    <a:pt x="558" y="36"/>
                  </a:lnTo>
                  <a:lnTo>
                    <a:pt x="576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94" y="18"/>
                  </a:lnTo>
                  <a:lnTo>
                    <a:pt x="600" y="12"/>
                  </a:lnTo>
                  <a:lnTo>
                    <a:pt x="612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6"/>
                  </a:lnTo>
                  <a:lnTo>
                    <a:pt x="648" y="6"/>
                  </a:lnTo>
                  <a:lnTo>
                    <a:pt x="660" y="6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38" y="18"/>
                  </a:lnTo>
                  <a:lnTo>
                    <a:pt x="744" y="18"/>
                  </a:lnTo>
                  <a:lnTo>
                    <a:pt x="756" y="18"/>
                  </a:lnTo>
                  <a:lnTo>
                    <a:pt x="762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80" y="24"/>
                  </a:lnTo>
                  <a:lnTo>
                    <a:pt x="792" y="24"/>
                  </a:lnTo>
                  <a:lnTo>
                    <a:pt x="792" y="30"/>
                  </a:lnTo>
                  <a:lnTo>
                    <a:pt x="810" y="30"/>
                  </a:lnTo>
                  <a:lnTo>
                    <a:pt x="822" y="36"/>
                  </a:lnTo>
                  <a:lnTo>
                    <a:pt x="834" y="42"/>
                  </a:lnTo>
                  <a:lnTo>
                    <a:pt x="840" y="48"/>
                  </a:lnTo>
                  <a:lnTo>
                    <a:pt x="846" y="54"/>
                  </a:lnTo>
                  <a:lnTo>
                    <a:pt x="852" y="60"/>
                  </a:lnTo>
                  <a:lnTo>
                    <a:pt x="858" y="66"/>
                  </a:lnTo>
                  <a:lnTo>
                    <a:pt x="864" y="66"/>
                  </a:lnTo>
                  <a:lnTo>
                    <a:pt x="864" y="72"/>
                  </a:lnTo>
                  <a:lnTo>
                    <a:pt x="876" y="78"/>
                  </a:lnTo>
                  <a:lnTo>
                    <a:pt x="900" y="84"/>
                  </a:lnTo>
                  <a:lnTo>
                    <a:pt x="906" y="90"/>
                  </a:lnTo>
                  <a:lnTo>
                    <a:pt x="912" y="90"/>
                  </a:lnTo>
                  <a:lnTo>
                    <a:pt x="912" y="96"/>
                  </a:lnTo>
                  <a:lnTo>
                    <a:pt x="924" y="108"/>
                  </a:lnTo>
                  <a:lnTo>
                    <a:pt x="930" y="108"/>
                  </a:lnTo>
                  <a:lnTo>
                    <a:pt x="936" y="114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60" y="138"/>
                  </a:lnTo>
                  <a:lnTo>
                    <a:pt x="966" y="144"/>
                  </a:lnTo>
                  <a:lnTo>
                    <a:pt x="972" y="156"/>
                  </a:lnTo>
                  <a:lnTo>
                    <a:pt x="978" y="162"/>
                  </a:lnTo>
                  <a:lnTo>
                    <a:pt x="984" y="162"/>
                  </a:lnTo>
                  <a:lnTo>
                    <a:pt x="990" y="168"/>
                  </a:lnTo>
                  <a:lnTo>
                    <a:pt x="996" y="174"/>
                  </a:lnTo>
                  <a:lnTo>
                    <a:pt x="1002" y="180"/>
                  </a:lnTo>
                  <a:lnTo>
                    <a:pt x="1008" y="180"/>
                  </a:lnTo>
                  <a:lnTo>
                    <a:pt x="1020" y="180"/>
                  </a:lnTo>
                  <a:lnTo>
                    <a:pt x="1038" y="174"/>
                  </a:lnTo>
                  <a:lnTo>
                    <a:pt x="1050" y="174"/>
                  </a:lnTo>
                  <a:lnTo>
                    <a:pt x="1056" y="174"/>
                  </a:lnTo>
                  <a:lnTo>
                    <a:pt x="1068" y="180"/>
                  </a:lnTo>
                  <a:lnTo>
                    <a:pt x="1080" y="180"/>
                  </a:lnTo>
                  <a:lnTo>
                    <a:pt x="1086" y="186"/>
                  </a:lnTo>
                  <a:lnTo>
                    <a:pt x="1098" y="192"/>
                  </a:lnTo>
                  <a:lnTo>
                    <a:pt x="1116" y="204"/>
                  </a:lnTo>
                  <a:lnTo>
                    <a:pt x="1122" y="210"/>
                  </a:lnTo>
                  <a:lnTo>
                    <a:pt x="1134" y="222"/>
                  </a:lnTo>
                  <a:lnTo>
                    <a:pt x="1146" y="234"/>
                  </a:lnTo>
                  <a:lnTo>
                    <a:pt x="1146" y="240"/>
                  </a:lnTo>
                  <a:lnTo>
                    <a:pt x="1152" y="246"/>
                  </a:lnTo>
                  <a:lnTo>
                    <a:pt x="1152" y="252"/>
                  </a:lnTo>
                  <a:lnTo>
                    <a:pt x="1152" y="258"/>
                  </a:lnTo>
                  <a:lnTo>
                    <a:pt x="1164" y="258"/>
                  </a:lnTo>
                  <a:lnTo>
                    <a:pt x="1170" y="264"/>
                  </a:lnTo>
                  <a:lnTo>
                    <a:pt x="1182" y="270"/>
                  </a:lnTo>
                  <a:lnTo>
                    <a:pt x="1188" y="270"/>
                  </a:lnTo>
                  <a:lnTo>
                    <a:pt x="1194" y="270"/>
                  </a:lnTo>
                  <a:lnTo>
                    <a:pt x="1206" y="276"/>
                  </a:lnTo>
                  <a:lnTo>
                    <a:pt x="1224" y="282"/>
                  </a:lnTo>
                  <a:lnTo>
                    <a:pt x="1236" y="282"/>
                  </a:lnTo>
                  <a:lnTo>
                    <a:pt x="1242" y="288"/>
                  </a:lnTo>
                  <a:lnTo>
                    <a:pt x="1254" y="288"/>
                  </a:lnTo>
                  <a:lnTo>
                    <a:pt x="1266" y="294"/>
                  </a:lnTo>
                  <a:lnTo>
                    <a:pt x="1272" y="294"/>
                  </a:lnTo>
                  <a:lnTo>
                    <a:pt x="1284" y="300"/>
                  </a:lnTo>
                  <a:lnTo>
                    <a:pt x="1290" y="300"/>
                  </a:lnTo>
                  <a:lnTo>
                    <a:pt x="1296" y="300"/>
                  </a:lnTo>
                  <a:lnTo>
                    <a:pt x="1302" y="306"/>
                  </a:lnTo>
                  <a:lnTo>
                    <a:pt x="1326" y="312"/>
                  </a:lnTo>
                  <a:lnTo>
                    <a:pt x="1338" y="312"/>
                  </a:lnTo>
                  <a:lnTo>
                    <a:pt x="1338" y="318"/>
                  </a:lnTo>
                  <a:lnTo>
                    <a:pt x="1344" y="318"/>
                  </a:lnTo>
                  <a:lnTo>
                    <a:pt x="1350" y="318"/>
                  </a:lnTo>
                  <a:lnTo>
                    <a:pt x="1362" y="324"/>
                  </a:lnTo>
                  <a:lnTo>
                    <a:pt x="1368" y="318"/>
                  </a:lnTo>
                  <a:lnTo>
                    <a:pt x="1374" y="318"/>
                  </a:lnTo>
                  <a:lnTo>
                    <a:pt x="1386" y="318"/>
                  </a:lnTo>
                  <a:lnTo>
                    <a:pt x="1398" y="324"/>
                  </a:lnTo>
                  <a:lnTo>
                    <a:pt x="1398" y="342"/>
                  </a:lnTo>
                  <a:lnTo>
                    <a:pt x="1356" y="342"/>
                  </a:lnTo>
                  <a:lnTo>
                    <a:pt x="1350" y="348"/>
                  </a:lnTo>
                  <a:lnTo>
                    <a:pt x="1350" y="372"/>
                  </a:lnTo>
                  <a:lnTo>
                    <a:pt x="1338" y="384"/>
                  </a:lnTo>
                  <a:lnTo>
                    <a:pt x="1332" y="408"/>
                  </a:lnTo>
                  <a:lnTo>
                    <a:pt x="1320" y="420"/>
                  </a:lnTo>
                  <a:lnTo>
                    <a:pt x="1254" y="426"/>
                  </a:lnTo>
                  <a:lnTo>
                    <a:pt x="1248" y="432"/>
                  </a:lnTo>
                  <a:lnTo>
                    <a:pt x="1230" y="432"/>
                  </a:lnTo>
                  <a:lnTo>
                    <a:pt x="1212" y="432"/>
                  </a:lnTo>
                  <a:lnTo>
                    <a:pt x="1212" y="426"/>
                  </a:lnTo>
                  <a:lnTo>
                    <a:pt x="1200" y="426"/>
                  </a:lnTo>
                  <a:lnTo>
                    <a:pt x="1182" y="414"/>
                  </a:lnTo>
                  <a:lnTo>
                    <a:pt x="1182" y="420"/>
                  </a:lnTo>
                  <a:lnTo>
                    <a:pt x="1164" y="420"/>
                  </a:lnTo>
                  <a:lnTo>
                    <a:pt x="1158" y="414"/>
                  </a:lnTo>
                  <a:lnTo>
                    <a:pt x="1152" y="408"/>
                  </a:lnTo>
                  <a:lnTo>
                    <a:pt x="1146" y="402"/>
                  </a:lnTo>
                  <a:lnTo>
                    <a:pt x="1122" y="396"/>
                  </a:lnTo>
                  <a:lnTo>
                    <a:pt x="1116" y="366"/>
                  </a:lnTo>
                  <a:lnTo>
                    <a:pt x="1116" y="348"/>
                  </a:lnTo>
                  <a:lnTo>
                    <a:pt x="1110" y="342"/>
                  </a:lnTo>
                  <a:lnTo>
                    <a:pt x="1104" y="336"/>
                  </a:lnTo>
                  <a:lnTo>
                    <a:pt x="1092" y="330"/>
                  </a:lnTo>
                  <a:lnTo>
                    <a:pt x="1074" y="330"/>
                  </a:lnTo>
                  <a:lnTo>
                    <a:pt x="1044" y="330"/>
                  </a:lnTo>
                  <a:lnTo>
                    <a:pt x="1014" y="336"/>
                  </a:lnTo>
                  <a:lnTo>
                    <a:pt x="984" y="342"/>
                  </a:lnTo>
                  <a:lnTo>
                    <a:pt x="978" y="330"/>
                  </a:lnTo>
                  <a:lnTo>
                    <a:pt x="966" y="324"/>
                  </a:lnTo>
                  <a:lnTo>
                    <a:pt x="888" y="336"/>
                  </a:lnTo>
                  <a:lnTo>
                    <a:pt x="888" y="330"/>
                  </a:lnTo>
                  <a:lnTo>
                    <a:pt x="870" y="336"/>
                  </a:lnTo>
                  <a:lnTo>
                    <a:pt x="858" y="336"/>
                  </a:lnTo>
                  <a:lnTo>
                    <a:pt x="852" y="354"/>
                  </a:lnTo>
                  <a:lnTo>
                    <a:pt x="852" y="402"/>
                  </a:lnTo>
                  <a:lnTo>
                    <a:pt x="840" y="414"/>
                  </a:lnTo>
                  <a:lnTo>
                    <a:pt x="834" y="420"/>
                  </a:lnTo>
                  <a:lnTo>
                    <a:pt x="834" y="444"/>
                  </a:lnTo>
                  <a:lnTo>
                    <a:pt x="834" y="450"/>
                  </a:lnTo>
                  <a:lnTo>
                    <a:pt x="852" y="456"/>
                  </a:lnTo>
                  <a:lnTo>
                    <a:pt x="864" y="462"/>
                  </a:lnTo>
                  <a:lnTo>
                    <a:pt x="894" y="456"/>
                  </a:lnTo>
                  <a:lnTo>
                    <a:pt x="900" y="468"/>
                  </a:lnTo>
                  <a:lnTo>
                    <a:pt x="918" y="462"/>
                  </a:lnTo>
                  <a:lnTo>
                    <a:pt x="924" y="468"/>
                  </a:lnTo>
                  <a:lnTo>
                    <a:pt x="924" y="47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2" name="Freeform 37">
              <a:extLst>
                <a:ext uri="{FF2B5EF4-FFF2-40B4-BE49-F238E27FC236}">
                  <a16:creationId xmlns:a16="http://schemas.microsoft.com/office/drawing/2014/main" id="{DED8A1FF-B656-4D37-BD26-5B0A7B1A4A6D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441" y="1898343"/>
              <a:ext cx="567992" cy="686605"/>
            </a:xfrm>
            <a:custGeom>
              <a:avLst/>
              <a:gdLst>
                <a:gd name="T0" fmla="*/ 79 w 1068"/>
                <a:gd name="T1" fmla="*/ 72 h 1290"/>
                <a:gd name="T2" fmla="*/ 75 w 1068"/>
                <a:gd name="T3" fmla="*/ 73 h 1290"/>
                <a:gd name="T4" fmla="*/ 72 w 1068"/>
                <a:gd name="T5" fmla="*/ 76 h 1290"/>
                <a:gd name="T6" fmla="*/ 70 w 1068"/>
                <a:gd name="T7" fmla="*/ 78 h 1290"/>
                <a:gd name="T8" fmla="*/ 67 w 1068"/>
                <a:gd name="T9" fmla="*/ 82 h 1290"/>
                <a:gd name="T10" fmla="*/ 61 w 1068"/>
                <a:gd name="T11" fmla="*/ 86 h 1290"/>
                <a:gd name="T12" fmla="*/ 60 w 1068"/>
                <a:gd name="T13" fmla="*/ 93 h 1290"/>
                <a:gd name="T14" fmla="*/ 59 w 1068"/>
                <a:gd name="T15" fmla="*/ 97 h 1290"/>
                <a:gd name="T16" fmla="*/ 61 w 1068"/>
                <a:gd name="T17" fmla="*/ 101 h 1290"/>
                <a:gd name="T18" fmla="*/ 63 w 1068"/>
                <a:gd name="T19" fmla="*/ 104 h 1290"/>
                <a:gd name="T20" fmla="*/ 62 w 1068"/>
                <a:gd name="T21" fmla="*/ 108 h 1290"/>
                <a:gd name="T22" fmla="*/ 60 w 1068"/>
                <a:gd name="T23" fmla="*/ 111 h 1290"/>
                <a:gd name="T24" fmla="*/ 56 w 1068"/>
                <a:gd name="T25" fmla="*/ 111 h 1290"/>
                <a:gd name="T26" fmla="*/ 53 w 1068"/>
                <a:gd name="T27" fmla="*/ 110 h 1290"/>
                <a:gd name="T28" fmla="*/ 50 w 1068"/>
                <a:gd name="T29" fmla="*/ 109 h 1290"/>
                <a:gd name="T30" fmla="*/ 47 w 1068"/>
                <a:gd name="T31" fmla="*/ 110 h 1290"/>
                <a:gd name="T32" fmla="*/ 51 w 1068"/>
                <a:gd name="T33" fmla="*/ 104 h 1290"/>
                <a:gd name="T34" fmla="*/ 50 w 1068"/>
                <a:gd name="T35" fmla="*/ 95 h 1290"/>
                <a:gd name="T36" fmla="*/ 51 w 1068"/>
                <a:gd name="T37" fmla="*/ 90 h 1290"/>
                <a:gd name="T38" fmla="*/ 47 w 1068"/>
                <a:gd name="T39" fmla="*/ 84 h 1290"/>
                <a:gd name="T40" fmla="*/ 42 w 1068"/>
                <a:gd name="T41" fmla="*/ 78 h 1290"/>
                <a:gd name="T42" fmla="*/ 33 w 1068"/>
                <a:gd name="T43" fmla="*/ 73 h 1290"/>
                <a:gd name="T44" fmla="*/ 26 w 1068"/>
                <a:gd name="T45" fmla="*/ 68 h 1290"/>
                <a:gd name="T46" fmla="*/ 22 w 1068"/>
                <a:gd name="T47" fmla="*/ 63 h 1290"/>
                <a:gd name="T48" fmla="*/ 11 w 1068"/>
                <a:gd name="T49" fmla="*/ 67 h 1290"/>
                <a:gd name="T50" fmla="*/ 0 w 1068"/>
                <a:gd name="T51" fmla="*/ 68 h 1290"/>
                <a:gd name="T52" fmla="*/ 2 w 1068"/>
                <a:gd name="T53" fmla="*/ 59 h 1290"/>
                <a:gd name="T54" fmla="*/ 12 w 1068"/>
                <a:gd name="T55" fmla="*/ 55 h 1290"/>
                <a:gd name="T56" fmla="*/ 12 w 1068"/>
                <a:gd name="T57" fmla="*/ 51 h 1290"/>
                <a:gd name="T58" fmla="*/ 10 w 1068"/>
                <a:gd name="T59" fmla="*/ 47 h 1290"/>
                <a:gd name="T60" fmla="*/ 9 w 1068"/>
                <a:gd name="T61" fmla="*/ 42 h 1290"/>
                <a:gd name="T62" fmla="*/ 8 w 1068"/>
                <a:gd name="T63" fmla="*/ 38 h 1290"/>
                <a:gd name="T64" fmla="*/ 8 w 1068"/>
                <a:gd name="T65" fmla="*/ 29 h 1290"/>
                <a:gd name="T66" fmla="*/ 10 w 1068"/>
                <a:gd name="T67" fmla="*/ 18 h 1290"/>
                <a:gd name="T68" fmla="*/ 25 w 1068"/>
                <a:gd name="T69" fmla="*/ 12 h 1290"/>
                <a:gd name="T70" fmla="*/ 27 w 1068"/>
                <a:gd name="T71" fmla="*/ 4 h 1290"/>
                <a:gd name="T72" fmla="*/ 35 w 1068"/>
                <a:gd name="T73" fmla="*/ 6 h 1290"/>
                <a:gd name="T74" fmla="*/ 39 w 1068"/>
                <a:gd name="T75" fmla="*/ 8 h 1290"/>
                <a:gd name="T76" fmla="*/ 41 w 1068"/>
                <a:gd name="T77" fmla="*/ 3 h 1290"/>
                <a:gd name="T78" fmla="*/ 45 w 1068"/>
                <a:gd name="T79" fmla="*/ 0 h 1290"/>
                <a:gd name="T80" fmla="*/ 51 w 1068"/>
                <a:gd name="T81" fmla="*/ 0 h 1290"/>
                <a:gd name="T82" fmla="*/ 56 w 1068"/>
                <a:gd name="T83" fmla="*/ 4 h 1290"/>
                <a:gd name="T84" fmla="*/ 62 w 1068"/>
                <a:gd name="T85" fmla="*/ 12 h 1290"/>
                <a:gd name="T86" fmla="*/ 58 w 1068"/>
                <a:gd name="T87" fmla="*/ 17 h 1290"/>
                <a:gd name="T88" fmla="*/ 60 w 1068"/>
                <a:gd name="T89" fmla="*/ 18 h 1290"/>
                <a:gd name="T90" fmla="*/ 64 w 1068"/>
                <a:gd name="T91" fmla="*/ 16 h 1290"/>
                <a:gd name="T92" fmla="*/ 68 w 1068"/>
                <a:gd name="T93" fmla="*/ 18 h 1290"/>
                <a:gd name="T94" fmla="*/ 71 w 1068"/>
                <a:gd name="T95" fmla="*/ 27 h 1290"/>
                <a:gd name="T96" fmla="*/ 74 w 1068"/>
                <a:gd name="T97" fmla="*/ 30 h 1290"/>
                <a:gd name="T98" fmla="*/ 82 w 1068"/>
                <a:gd name="T99" fmla="*/ 30 h 1290"/>
                <a:gd name="T100" fmla="*/ 87 w 1068"/>
                <a:gd name="T101" fmla="*/ 35 h 1290"/>
                <a:gd name="T102" fmla="*/ 85 w 1068"/>
                <a:gd name="T103" fmla="*/ 42 h 1290"/>
                <a:gd name="T104" fmla="*/ 81 w 1068"/>
                <a:gd name="T105" fmla="*/ 46 h 1290"/>
                <a:gd name="T106" fmla="*/ 86 w 1068"/>
                <a:gd name="T107" fmla="*/ 50 h 1290"/>
                <a:gd name="T108" fmla="*/ 89 w 1068"/>
                <a:gd name="T109" fmla="*/ 58 h 1290"/>
                <a:gd name="T110" fmla="*/ 92 w 1068"/>
                <a:gd name="T111" fmla="*/ 61 h 1290"/>
                <a:gd name="T112" fmla="*/ 86 w 1068"/>
                <a:gd name="T113" fmla="*/ 66 h 1290"/>
                <a:gd name="T114" fmla="*/ 85 w 1068"/>
                <a:gd name="T115" fmla="*/ 70 h 129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68"/>
                <a:gd name="T175" fmla="*/ 0 h 1290"/>
                <a:gd name="T176" fmla="*/ 1068 w 1068"/>
                <a:gd name="T177" fmla="*/ 1290 h 129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68" h="1290">
                  <a:moveTo>
                    <a:pt x="978" y="804"/>
                  </a:moveTo>
                  <a:lnTo>
                    <a:pt x="972" y="810"/>
                  </a:lnTo>
                  <a:lnTo>
                    <a:pt x="966" y="810"/>
                  </a:lnTo>
                  <a:lnTo>
                    <a:pt x="966" y="816"/>
                  </a:lnTo>
                  <a:lnTo>
                    <a:pt x="936" y="828"/>
                  </a:lnTo>
                  <a:lnTo>
                    <a:pt x="924" y="822"/>
                  </a:lnTo>
                  <a:lnTo>
                    <a:pt x="912" y="822"/>
                  </a:lnTo>
                  <a:lnTo>
                    <a:pt x="906" y="828"/>
                  </a:lnTo>
                  <a:lnTo>
                    <a:pt x="900" y="828"/>
                  </a:lnTo>
                  <a:lnTo>
                    <a:pt x="900" y="822"/>
                  </a:lnTo>
                  <a:lnTo>
                    <a:pt x="894" y="822"/>
                  </a:lnTo>
                  <a:lnTo>
                    <a:pt x="888" y="828"/>
                  </a:lnTo>
                  <a:lnTo>
                    <a:pt x="882" y="834"/>
                  </a:lnTo>
                  <a:lnTo>
                    <a:pt x="876" y="834"/>
                  </a:lnTo>
                  <a:lnTo>
                    <a:pt x="870" y="840"/>
                  </a:lnTo>
                  <a:lnTo>
                    <a:pt x="864" y="840"/>
                  </a:lnTo>
                  <a:lnTo>
                    <a:pt x="864" y="846"/>
                  </a:lnTo>
                  <a:lnTo>
                    <a:pt x="858" y="846"/>
                  </a:lnTo>
                  <a:lnTo>
                    <a:pt x="852" y="846"/>
                  </a:lnTo>
                  <a:lnTo>
                    <a:pt x="852" y="858"/>
                  </a:lnTo>
                  <a:lnTo>
                    <a:pt x="846" y="864"/>
                  </a:lnTo>
                  <a:lnTo>
                    <a:pt x="840" y="870"/>
                  </a:lnTo>
                  <a:lnTo>
                    <a:pt x="834" y="870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34" y="876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10" y="894"/>
                  </a:lnTo>
                  <a:lnTo>
                    <a:pt x="810" y="900"/>
                  </a:lnTo>
                  <a:lnTo>
                    <a:pt x="804" y="900"/>
                  </a:lnTo>
                  <a:lnTo>
                    <a:pt x="798" y="900"/>
                  </a:lnTo>
                  <a:lnTo>
                    <a:pt x="798" y="906"/>
                  </a:lnTo>
                  <a:lnTo>
                    <a:pt x="792" y="906"/>
                  </a:lnTo>
                  <a:lnTo>
                    <a:pt x="792" y="912"/>
                  </a:lnTo>
                  <a:lnTo>
                    <a:pt x="792" y="924"/>
                  </a:lnTo>
                  <a:lnTo>
                    <a:pt x="786" y="930"/>
                  </a:lnTo>
                  <a:lnTo>
                    <a:pt x="774" y="942"/>
                  </a:lnTo>
                  <a:lnTo>
                    <a:pt x="774" y="948"/>
                  </a:lnTo>
                  <a:lnTo>
                    <a:pt x="768" y="954"/>
                  </a:lnTo>
                  <a:lnTo>
                    <a:pt x="762" y="954"/>
                  </a:lnTo>
                  <a:lnTo>
                    <a:pt x="750" y="972"/>
                  </a:lnTo>
                  <a:lnTo>
                    <a:pt x="720" y="978"/>
                  </a:lnTo>
                  <a:lnTo>
                    <a:pt x="714" y="978"/>
                  </a:lnTo>
                  <a:lnTo>
                    <a:pt x="708" y="978"/>
                  </a:lnTo>
                  <a:lnTo>
                    <a:pt x="702" y="990"/>
                  </a:lnTo>
                  <a:lnTo>
                    <a:pt x="696" y="990"/>
                  </a:lnTo>
                  <a:lnTo>
                    <a:pt x="696" y="1008"/>
                  </a:lnTo>
                  <a:lnTo>
                    <a:pt x="690" y="1008"/>
                  </a:lnTo>
                  <a:lnTo>
                    <a:pt x="690" y="1014"/>
                  </a:lnTo>
                  <a:lnTo>
                    <a:pt x="684" y="1032"/>
                  </a:lnTo>
                  <a:lnTo>
                    <a:pt x="690" y="1050"/>
                  </a:lnTo>
                  <a:lnTo>
                    <a:pt x="690" y="1062"/>
                  </a:lnTo>
                  <a:lnTo>
                    <a:pt x="690" y="1068"/>
                  </a:lnTo>
                  <a:lnTo>
                    <a:pt x="690" y="1074"/>
                  </a:lnTo>
                  <a:lnTo>
                    <a:pt x="684" y="1074"/>
                  </a:lnTo>
                  <a:lnTo>
                    <a:pt x="684" y="1080"/>
                  </a:lnTo>
                  <a:lnTo>
                    <a:pt x="678" y="1086"/>
                  </a:lnTo>
                  <a:lnTo>
                    <a:pt x="678" y="1104"/>
                  </a:lnTo>
                  <a:lnTo>
                    <a:pt x="678" y="1110"/>
                  </a:lnTo>
                  <a:lnTo>
                    <a:pt x="678" y="1116"/>
                  </a:lnTo>
                  <a:lnTo>
                    <a:pt x="684" y="1116"/>
                  </a:lnTo>
                  <a:lnTo>
                    <a:pt x="678" y="1128"/>
                  </a:lnTo>
                  <a:lnTo>
                    <a:pt x="684" y="1128"/>
                  </a:lnTo>
                  <a:lnTo>
                    <a:pt x="690" y="1134"/>
                  </a:lnTo>
                  <a:lnTo>
                    <a:pt x="690" y="1140"/>
                  </a:lnTo>
                  <a:lnTo>
                    <a:pt x="696" y="1140"/>
                  </a:lnTo>
                  <a:lnTo>
                    <a:pt x="696" y="1146"/>
                  </a:lnTo>
                  <a:lnTo>
                    <a:pt x="696" y="1152"/>
                  </a:lnTo>
                  <a:lnTo>
                    <a:pt x="702" y="1152"/>
                  </a:lnTo>
                  <a:lnTo>
                    <a:pt x="708" y="1152"/>
                  </a:lnTo>
                  <a:lnTo>
                    <a:pt x="714" y="1158"/>
                  </a:lnTo>
                  <a:lnTo>
                    <a:pt x="714" y="1164"/>
                  </a:lnTo>
                  <a:lnTo>
                    <a:pt x="720" y="1170"/>
                  </a:lnTo>
                  <a:lnTo>
                    <a:pt x="720" y="1176"/>
                  </a:lnTo>
                  <a:lnTo>
                    <a:pt x="720" y="1182"/>
                  </a:lnTo>
                  <a:lnTo>
                    <a:pt x="726" y="1188"/>
                  </a:lnTo>
                  <a:lnTo>
                    <a:pt x="726" y="1194"/>
                  </a:lnTo>
                  <a:lnTo>
                    <a:pt x="732" y="1194"/>
                  </a:lnTo>
                  <a:lnTo>
                    <a:pt x="732" y="1200"/>
                  </a:lnTo>
                  <a:lnTo>
                    <a:pt x="738" y="1212"/>
                  </a:lnTo>
                  <a:lnTo>
                    <a:pt x="732" y="1218"/>
                  </a:lnTo>
                  <a:lnTo>
                    <a:pt x="732" y="1224"/>
                  </a:lnTo>
                  <a:lnTo>
                    <a:pt x="726" y="1230"/>
                  </a:lnTo>
                  <a:lnTo>
                    <a:pt x="720" y="1230"/>
                  </a:lnTo>
                  <a:lnTo>
                    <a:pt x="720" y="1236"/>
                  </a:lnTo>
                  <a:lnTo>
                    <a:pt x="720" y="1242"/>
                  </a:lnTo>
                  <a:lnTo>
                    <a:pt x="720" y="1248"/>
                  </a:lnTo>
                  <a:lnTo>
                    <a:pt x="714" y="1248"/>
                  </a:lnTo>
                  <a:lnTo>
                    <a:pt x="714" y="1254"/>
                  </a:lnTo>
                  <a:lnTo>
                    <a:pt x="708" y="1260"/>
                  </a:lnTo>
                  <a:lnTo>
                    <a:pt x="702" y="1272"/>
                  </a:lnTo>
                  <a:lnTo>
                    <a:pt x="696" y="1272"/>
                  </a:lnTo>
                  <a:lnTo>
                    <a:pt x="696" y="1278"/>
                  </a:lnTo>
                  <a:lnTo>
                    <a:pt x="690" y="1284"/>
                  </a:lnTo>
                  <a:lnTo>
                    <a:pt x="690" y="1290"/>
                  </a:lnTo>
                  <a:lnTo>
                    <a:pt x="684" y="1290"/>
                  </a:lnTo>
                  <a:lnTo>
                    <a:pt x="660" y="1284"/>
                  </a:lnTo>
                  <a:lnTo>
                    <a:pt x="660" y="1278"/>
                  </a:lnTo>
                  <a:lnTo>
                    <a:pt x="654" y="1272"/>
                  </a:lnTo>
                  <a:lnTo>
                    <a:pt x="648" y="1272"/>
                  </a:lnTo>
                  <a:lnTo>
                    <a:pt x="642" y="1272"/>
                  </a:lnTo>
                  <a:lnTo>
                    <a:pt x="642" y="1266"/>
                  </a:lnTo>
                  <a:lnTo>
                    <a:pt x="636" y="1266"/>
                  </a:lnTo>
                  <a:lnTo>
                    <a:pt x="630" y="1266"/>
                  </a:lnTo>
                  <a:lnTo>
                    <a:pt x="624" y="1266"/>
                  </a:lnTo>
                  <a:lnTo>
                    <a:pt x="624" y="1260"/>
                  </a:lnTo>
                  <a:lnTo>
                    <a:pt x="618" y="1260"/>
                  </a:lnTo>
                  <a:lnTo>
                    <a:pt x="612" y="1260"/>
                  </a:lnTo>
                  <a:lnTo>
                    <a:pt x="606" y="1260"/>
                  </a:lnTo>
                  <a:lnTo>
                    <a:pt x="600" y="1260"/>
                  </a:lnTo>
                  <a:lnTo>
                    <a:pt x="600" y="1254"/>
                  </a:lnTo>
                  <a:lnTo>
                    <a:pt x="594" y="1254"/>
                  </a:lnTo>
                  <a:lnTo>
                    <a:pt x="588" y="1248"/>
                  </a:lnTo>
                  <a:lnTo>
                    <a:pt x="588" y="1254"/>
                  </a:lnTo>
                  <a:lnTo>
                    <a:pt x="582" y="1254"/>
                  </a:lnTo>
                  <a:lnTo>
                    <a:pt x="582" y="1248"/>
                  </a:lnTo>
                  <a:lnTo>
                    <a:pt x="576" y="1248"/>
                  </a:lnTo>
                  <a:lnTo>
                    <a:pt x="576" y="1254"/>
                  </a:lnTo>
                  <a:lnTo>
                    <a:pt x="570" y="1248"/>
                  </a:lnTo>
                  <a:lnTo>
                    <a:pt x="564" y="1248"/>
                  </a:lnTo>
                  <a:lnTo>
                    <a:pt x="564" y="1254"/>
                  </a:lnTo>
                  <a:lnTo>
                    <a:pt x="558" y="1254"/>
                  </a:lnTo>
                  <a:lnTo>
                    <a:pt x="552" y="1254"/>
                  </a:lnTo>
                  <a:lnTo>
                    <a:pt x="552" y="1260"/>
                  </a:lnTo>
                  <a:lnTo>
                    <a:pt x="546" y="1260"/>
                  </a:lnTo>
                  <a:lnTo>
                    <a:pt x="540" y="1260"/>
                  </a:lnTo>
                  <a:lnTo>
                    <a:pt x="540" y="1254"/>
                  </a:lnTo>
                  <a:lnTo>
                    <a:pt x="534" y="1254"/>
                  </a:lnTo>
                  <a:lnTo>
                    <a:pt x="528" y="1224"/>
                  </a:lnTo>
                  <a:lnTo>
                    <a:pt x="534" y="1212"/>
                  </a:lnTo>
                  <a:lnTo>
                    <a:pt x="546" y="1206"/>
                  </a:lnTo>
                  <a:lnTo>
                    <a:pt x="582" y="1206"/>
                  </a:lnTo>
                  <a:lnTo>
                    <a:pt x="588" y="1188"/>
                  </a:lnTo>
                  <a:lnTo>
                    <a:pt x="582" y="1188"/>
                  </a:lnTo>
                  <a:lnTo>
                    <a:pt x="582" y="1182"/>
                  </a:lnTo>
                  <a:lnTo>
                    <a:pt x="576" y="1176"/>
                  </a:lnTo>
                  <a:lnTo>
                    <a:pt x="558" y="1128"/>
                  </a:lnTo>
                  <a:lnTo>
                    <a:pt x="558" y="1122"/>
                  </a:lnTo>
                  <a:lnTo>
                    <a:pt x="576" y="1098"/>
                  </a:lnTo>
                  <a:lnTo>
                    <a:pt x="576" y="1092"/>
                  </a:lnTo>
                  <a:lnTo>
                    <a:pt x="582" y="1092"/>
                  </a:lnTo>
                  <a:lnTo>
                    <a:pt x="582" y="1086"/>
                  </a:lnTo>
                  <a:lnTo>
                    <a:pt x="582" y="1080"/>
                  </a:lnTo>
                  <a:lnTo>
                    <a:pt x="582" y="1074"/>
                  </a:lnTo>
                  <a:lnTo>
                    <a:pt x="588" y="1074"/>
                  </a:lnTo>
                  <a:lnTo>
                    <a:pt x="588" y="1062"/>
                  </a:lnTo>
                  <a:lnTo>
                    <a:pt x="588" y="1056"/>
                  </a:lnTo>
                  <a:lnTo>
                    <a:pt x="588" y="1044"/>
                  </a:lnTo>
                  <a:lnTo>
                    <a:pt x="588" y="1038"/>
                  </a:lnTo>
                  <a:lnTo>
                    <a:pt x="588" y="1032"/>
                  </a:lnTo>
                  <a:lnTo>
                    <a:pt x="582" y="1026"/>
                  </a:lnTo>
                  <a:lnTo>
                    <a:pt x="582" y="1020"/>
                  </a:lnTo>
                  <a:lnTo>
                    <a:pt x="582" y="1008"/>
                  </a:lnTo>
                  <a:lnTo>
                    <a:pt x="576" y="990"/>
                  </a:lnTo>
                  <a:lnTo>
                    <a:pt x="570" y="972"/>
                  </a:lnTo>
                  <a:lnTo>
                    <a:pt x="552" y="972"/>
                  </a:lnTo>
                  <a:lnTo>
                    <a:pt x="540" y="960"/>
                  </a:lnTo>
                  <a:lnTo>
                    <a:pt x="534" y="954"/>
                  </a:lnTo>
                  <a:lnTo>
                    <a:pt x="534" y="948"/>
                  </a:lnTo>
                  <a:lnTo>
                    <a:pt x="516" y="948"/>
                  </a:lnTo>
                  <a:lnTo>
                    <a:pt x="522" y="936"/>
                  </a:lnTo>
                  <a:lnTo>
                    <a:pt x="522" y="930"/>
                  </a:lnTo>
                  <a:lnTo>
                    <a:pt x="504" y="918"/>
                  </a:lnTo>
                  <a:lnTo>
                    <a:pt x="492" y="906"/>
                  </a:lnTo>
                  <a:lnTo>
                    <a:pt x="486" y="894"/>
                  </a:lnTo>
                  <a:lnTo>
                    <a:pt x="468" y="876"/>
                  </a:lnTo>
                  <a:lnTo>
                    <a:pt x="450" y="876"/>
                  </a:lnTo>
                  <a:lnTo>
                    <a:pt x="414" y="882"/>
                  </a:lnTo>
                  <a:lnTo>
                    <a:pt x="402" y="870"/>
                  </a:lnTo>
                  <a:lnTo>
                    <a:pt x="390" y="864"/>
                  </a:lnTo>
                  <a:lnTo>
                    <a:pt x="384" y="852"/>
                  </a:lnTo>
                  <a:lnTo>
                    <a:pt x="378" y="840"/>
                  </a:lnTo>
                  <a:lnTo>
                    <a:pt x="378" y="834"/>
                  </a:lnTo>
                  <a:lnTo>
                    <a:pt x="360" y="822"/>
                  </a:lnTo>
                  <a:lnTo>
                    <a:pt x="342" y="828"/>
                  </a:lnTo>
                  <a:lnTo>
                    <a:pt x="324" y="816"/>
                  </a:lnTo>
                  <a:lnTo>
                    <a:pt x="318" y="816"/>
                  </a:lnTo>
                  <a:lnTo>
                    <a:pt x="306" y="810"/>
                  </a:lnTo>
                  <a:lnTo>
                    <a:pt x="306" y="804"/>
                  </a:lnTo>
                  <a:lnTo>
                    <a:pt x="300" y="804"/>
                  </a:lnTo>
                  <a:lnTo>
                    <a:pt x="300" y="780"/>
                  </a:lnTo>
                  <a:lnTo>
                    <a:pt x="300" y="774"/>
                  </a:lnTo>
                  <a:lnTo>
                    <a:pt x="306" y="774"/>
                  </a:lnTo>
                  <a:lnTo>
                    <a:pt x="312" y="756"/>
                  </a:lnTo>
                  <a:lnTo>
                    <a:pt x="312" y="732"/>
                  </a:lnTo>
                  <a:lnTo>
                    <a:pt x="300" y="720"/>
                  </a:lnTo>
                  <a:lnTo>
                    <a:pt x="288" y="702"/>
                  </a:lnTo>
                  <a:lnTo>
                    <a:pt x="276" y="702"/>
                  </a:lnTo>
                  <a:lnTo>
                    <a:pt x="258" y="714"/>
                  </a:lnTo>
                  <a:lnTo>
                    <a:pt x="246" y="726"/>
                  </a:lnTo>
                  <a:lnTo>
                    <a:pt x="222" y="726"/>
                  </a:lnTo>
                  <a:lnTo>
                    <a:pt x="192" y="726"/>
                  </a:lnTo>
                  <a:lnTo>
                    <a:pt x="174" y="738"/>
                  </a:lnTo>
                  <a:lnTo>
                    <a:pt x="162" y="750"/>
                  </a:lnTo>
                  <a:lnTo>
                    <a:pt x="144" y="762"/>
                  </a:lnTo>
                  <a:lnTo>
                    <a:pt x="138" y="768"/>
                  </a:lnTo>
                  <a:lnTo>
                    <a:pt x="126" y="774"/>
                  </a:lnTo>
                  <a:lnTo>
                    <a:pt x="114" y="780"/>
                  </a:lnTo>
                  <a:lnTo>
                    <a:pt x="108" y="786"/>
                  </a:lnTo>
                  <a:lnTo>
                    <a:pt x="102" y="786"/>
                  </a:lnTo>
                  <a:lnTo>
                    <a:pt x="54" y="786"/>
                  </a:lnTo>
                  <a:lnTo>
                    <a:pt x="48" y="792"/>
                  </a:lnTo>
                  <a:lnTo>
                    <a:pt x="36" y="798"/>
                  </a:lnTo>
                  <a:lnTo>
                    <a:pt x="18" y="792"/>
                  </a:lnTo>
                  <a:lnTo>
                    <a:pt x="6" y="780"/>
                  </a:lnTo>
                  <a:lnTo>
                    <a:pt x="6" y="768"/>
                  </a:lnTo>
                  <a:lnTo>
                    <a:pt x="0" y="756"/>
                  </a:lnTo>
                  <a:lnTo>
                    <a:pt x="0" y="738"/>
                  </a:lnTo>
                  <a:lnTo>
                    <a:pt x="6" y="702"/>
                  </a:lnTo>
                  <a:lnTo>
                    <a:pt x="24" y="702"/>
                  </a:lnTo>
                  <a:lnTo>
                    <a:pt x="24" y="696"/>
                  </a:lnTo>
                  <a:lnTo>
                    <a:pt x="24" y="690"/>
                  </a:lnTo>
                  <a:lnTo>
                    <a:pt x="24" y="678"/>
                  </a:lnTo>
                  <a:lnTo>
                    <a:pt x="24" y="672"/>
                  </a:lnTo>
                  <a:lnTo>
                    <a:pt x="30" y="672"/>
                  </a:lnTo>
                  <a:lnTo>
                    <a:pt x="30" y="666"/>
                  </a:lnTo>
                  <a:lnTo>
                    <a:pt x="36" y="660"/>
                  </a:lnTo>
                  <a:lnTo>
                    <a:pt x="84" y="648"/>
                  </a:lnTo>
                  <a:lnTo>
                    <a:pt x="126" y="642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32" y="618"/>
                  </a:lnTo>
                  <a:lnTo>
                    <a:pt x="138" y="612"/>
                  </a:lnTo>
                  <a:lnTo>
                    <a:pt x="138" y="606"/>
                  </a:lnTo>
                  <a:lnTo>
                    <a:pt x="138" y="600"/>
                  </a:lnTo>
                  <a:lnTo>
                    <a:pt x="132" y="600"/>
                  </a:lnTo>
                  <a:lnTo>
                    <a:pt x="132" y="594"/>
                  </a:lnTo>
                  <a:lnTo>
                    <a:pt x="132" y="588"/>
                  </a:lnTo>
                  <a:lnTo>
                    <a:pt x="132" y="582"/>
                  </a:lnTo>
                  <a:lnTo>
                    <a:pt x="132" y="576"/>
                  </a:lnTo>
                  <a:lnTo>
                    <a:pt x="126" y="570"/>
                  </a:lnTo>
                  <a:lnTo>
                    <a:pt x="120" y="564"/>
                  </a:lnTo>
                  <a:lnTo>
                    <a:pt x="120" y="558"/>
                  </a:lnTo>
                  <a:lnTo>
                    <a:pt x="120" y="552"/>
                  </a:lnTo>
                  <a:lnTo>
                    <a:pt x="114" y="552"/>
                  </a:lnTo>
                  <a:lnTo>
                    <a:pt x="114" y="546"/>
                  </a:lnTo>
                  <a:lnTo>
                    <a:pt x="114" y="540"/>
                  </a:lnTo>
                  <a:lnTo>
                    <a:pt x="108" y="534"/>
                  </a:lnTo>
                  <a:lnTo>
                    <a:pt x="108" y="528"/>
                  </a:lnTo>
                  <a:lnTo>
                    <a:pt x="114" y="522"/>
                  </a:lnTo>
                  <a:lnTo>
                    <a:pt x="108" y="516"/>
                  </a:lnTo>
                  <a:lnTo>
                    <a:pt x="108" y="498"/>
                  </a:lnTo>
                  <a:lnTo>
                    <a:pt x="108" y="492"/>
                  </a:lnTo>
                  <a:lnTo>
                    <a:pt x="108" y="486"/>
                  </a:lnTo>
                  <a:lnTo>
                    <a:pt x="108" y="480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08" y="462"/>
                  </a:lnTo>
                  <a:lnTo>
                    <a:pt x="102" y="456"/>
                  </a:lnTo>
                  <a:lnTo>
                    <a:pt x="102" y="444"/>
                  </a:lnTo>
                  <a:lnTo>
                    <a:pt x="96" y="444"/>
                  </a:lnTo>
                  <a:lnTo>
                    <a:pt x="90" y="432"/>
                  </a:lnTo>
                  <a:lnTo>
                    <a:pt x="96" y="432"/>
                  </a:lnTo>
                  <a:lnTo>
                    <a:pt x="96" y="408"/>
                  </a:lnTo>
                  <a:lnTo>
                    <a:pt x="96" y="396"/>
                  </a:lnTo>
                  <a:lnTo>
                    <a:pt x="96" y="360"/>
                  </a:lnTo>
                  <a:lnTo>
                    <a:pt x="96" y="354"/>
                  </a:lnTo>
                  <a:lnTo>
                    <a:pt x="102" y="354"/>
                  </a:lnTo>
                  <a:lnTo>
                    <a:pt x="102" y="348"/>
                  </a:lnTo>
                  <a:lnTo>
                    <a:pt x="96" y="330"/>
                  </a:lnTo>
                  <a:lnTo>
                    <a:pt x="90" y="306"/>
                  </a:lnTo>
                  <a:lnTo>
                    <a:pt x="84" y="288"/>
                  </a:lnTo>
                  <a:lnTo>
                    <a:pt x="84" y="264"/>
                  </a:lnTo>
                  <a:lnTo>
                    <a:pt x="90" y="240"/>
                  </a:lnTo>
                  <a:lnTo>
                    <a:pt x="96" y="222"/>
                  </a:lnTo>
                  <a:lnTo>
                    <a:pt x="102" y="222"/>
                  </a:lnTo>
                  <a:lnTo>
                    <a:pt x="108" y="210"/>
                  </a:lnTo>
                  <a:lnTo>
                    <a:pt x="114" y="210"/>
                  </a:lnTo>
                  <a:lnTo>
                    <a:pt x="126" y="198"/>
                  </a:lnTo>
                  <a:lnTo>
                    <a:pt x="156" y="192"/>
                  </a:lnTo>
                  <a:lnTo>
                    <a:pt x="174" y="186"/>
                  </a:lnTo>
                  <a:lnTo>
                    <a:pt x="204" y="174"/>
                  </a:lnTo>
                  <a:lnTo>
                    <a:pt x="222" y="168"/>
                  </a:lnTo>
                  <a:lnTo>
                    <a:pt x="234" y="162"/>
                  </a:lnTo>
                  <a:lnTo>
                    <a:pt x="246" y="156"/>
                  </a:lnTo>
                  <a:lnTo>
                    <a:pt x="288" y="144"/>
                  </a:lnTo>
                  <a:lnTo>
                    <a:pt x="288" y="132"/>
                  </a:lnTo>
                  <a:lnTo>
                    <a:pt x="294" y="120"/>
                  </a:lnTo>
                  <a:lnTo>
                    <a:pt x="300" y="108"/>
                  </a:lnTo>
                  <a:lnTo>
                    <a:pt x="306" y="90"/>
                  </a:lnTo>
                  <a:lnTo>
                    <a:pt x="312" y="78"/>
                  </a:lnTo>
                  <a:lnTo>
                    <a:pt x="324" y="78"/>
                  </a:lnTo>
                  <a:lnTo>
                    <a:pt x="324" y="54"/>
                  </a:lnTo>
                  <a:lnTo>
                    <a:pt x="318" y="48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60" y="6"/>
                  </a:lnTo>
                  <a:lnTo>
                    <a:pt x="384" y="0"/>
                  </a:lnTo>
                  <a:lnTo>
                    <a:pt x="390" y="6"/>
                  </a:lnTo>
                  <a:lnTo>
                    <a:pt x="390" y="18"/>
                  </a:lnTo>
                  <a:lnTo>
                    <a:pt x="390" y="54"/>
                  </a:lnTo>
                  <a:lnTo>
                    <a:pt x="396" y="66"/>
                  </a:lnTo>
                  <a:lnTo>
                    <a:pt x="414" y="84"/>
                  </a:lnTo>
                  <a:lnTo>
                    <a:pt x="426" y="90"/>
                  </a:lnTo>
                  <a:lnTo>
                    <a:pt x="432" y="96"/>
                  </a:lnTo>
                  <a:lnTo>
                    <a:pt x="426" y="102"/>
                  </a:lnTo>
                  <a:lnTo>
                    <a:pt x="438" y="102"/>
                  </a:lnTo>
                  <a:lnTo>
                    <a:pt x="444" y="108"/>
                  </a:lnTo>
                  <a:lnTo>
                    <a:pt x="444" y="102"/>
                  </a:lnTo>
                  <a:lnTo>
                    <a:pt x="450" y="90"/>
                  </a:lnTo>
                  <a:lnTo>
                    <a:pt x="450" y="84"/>
                  </a:lnTo>
                  <a:lnTo>
                    <a:pt x="450" y="78"/>
                  </a:lnTo>
                  <a:lnTo>
                    <a:pt x="456" y="72"/>
                  </a:lnTo>
                  <a:lnTo>
                    <a:pt x="462" y="66"/>
                  </a:lnTo>
                  <a:lnTo>
                    <a:pt x="462" y="60"/>
                  </a:lnTo>
                  <a:lnTo>
                    <a:pt x="462" y="54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74" y="24"/>
                  </a:lnTo>
                  <a:lnTo>
                    <a:pt x="480" y="18"/>
                  </a:lnTo>
                  <a:lnTo>
                    <a:pt x="486" y="12"/>
                  </a:lnTo>
                  <a:lnTo>
                    <a:pt x="492" y="12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2" y="6"/>
                  </a:lnTo>
                  <a:lnTo>
                    <a:pt x="534" y="6"/>
                  </a:lnTo>
                  <a:lnTo>
                    <a:pt x="540" y="6"/>
                  </a:lnTo>
                  <a:lnTo>
                    <a:pt x="546" y="6"/>
                  </a:lnTo>
                  <a:lnTo>
                    <a:pt x="564" y="0"/>
                  </a:lnTo>
                  <a:lnTo>
                    <a:pt x="570" y="0"/>
                  </a:lnTo>
                  <a:lnTo>
                    <a:pt x="576" y="6"/>
                  </a:lnTo>
                  <a:lnTo>
                    <a:pt x="582" y="6"/>
                  </a:lnTo>
                  <a:lnTo>
                    <a:pt x="594" y="6"/>
                  </a:lnTo>
                  <a:lnTo>
                    <a:pt x="600" y="6"/>
                  </a:lnTo>
                  <a:lnTo>
                    <a:pt x="606" y="6"/>
                  </a:lnTo>
                  <a:lnTo>
                    <a:pt x="624" y="0"/>
                  </a:lnTo>
                  <a:lnTo>
                    <a:pt x="636" y="0"/>
                  </a:lnTo>
                  <a:lnTo>
                    <a:pt x="636" y="6"/>
                  </a:lnTo>
                  <a:lnTo>
                    <a:pt x="654" y="18"/>
                  </a:lnTo>
                  <a:lnTo>
                    <a:pt x="654" y="30"/>
                  </a:lnTo>
                  <a:lnTo>
                    <a:pt x="642" y="42"/>
                  </a:lnTo>
                  <a:lnTo>
                    <a:pt x="630" y="66"/>
                  </a:lnTo>
                  <a:lnTo>
                    <a:pt x="636" y="84"/>
                  </a:lnTo>
                  <a:lnTo>
                    <a:pt x="636" y="96"/>
                  </a:lnTo>
                  <a:lnTo>
                    <a:pt x="648" y="102"/>
                  </a:lnTo>
                  <a:lnTo>
                    <a:pt x="672" y="114"/>
                  </a:lnTo>
                  <a:lnTo>
                    <a:pt x="702" y="120"/>
                  </a:lnTo>
                  <a:lnTo>
                    <a:pt x="714" y="126"/>
                  </a:lnTo>
                  <a:lnTo>
                    <a:pt x="720" y="144"/>
                  </a:lnTo>
                  <a:lnTo>
                    <a:pt x="720" y="156"/>
                  </a:lnTo>
                  <a:lnTo>
                    <a:pt x="708" y="156"/>
                  </a:lnTo>
                  <a:lnTo>
                    <a:pt x="702" y="162"/>
                  </a:lnTo>
                  <a:lnTo>
                    <a:pt x="702" y="174"/>
                  </a:lnTo>
                  <a:lnTo>
                    <a:pt x="696" y="174"/>
                  </a:lnTo>
                  <a:lnTo>
                    <a:pt x="690" y="180"/>
                  </a:lnTo>
                  <a:lnTo>
                    <a:pt x="678" y="186"/>
                  </a:lnTo>
                  <a:lnTo>
                    <a:pt x="672" y="192"/>
                  </a:lnTo>
                  <a:lnTo>
                    <a:pt x="654" y="210"/>
                  </a:lnTo>
                  <a:lnTo>
                    <a:pt x="654" y="216"/>
                  </a:lnTo>
                  <a:lnTo>
                    <a:pt x="648" y="246"/>
                  </a:lnTo>
                  <a:lnTo>
                    <a:pt x="660" y="246"/>
                  </a:lnTo>
                  <a:lnTo>
                    <a:pt x="666" y="234"/>
                  </a:lnTo>
                  <a:lnTo>
                    <a:pt x="678" y="240"/>
                  </a:lnTo>
                  <a:lnTo>
                    <a:pt x="684" y="228"/>
                  </a:lnTo>
                  <a:lnTo>
                    <a:pt x="690" y="210"/>
                  </a:lnTo>
                  <a:lnTo>
                    <a:pt x="696" y="204"/>
                  </a:lnTo>
                  <a:lnTo>
                    <a:pt x="702" y="204"/>
                  </a:lnTo>
                  <a:lnTo>
                    <a:pt x="708" y="192"/>
                  </a:lnTo>
                  <a:lnTo>
                    <a:pt x="714" y="192"/>
                  </a:lnTo>
                  <a:lnTo>
                    <a:pt x="714" y="186"/>
                  </a:lnTo>
                  <a:lnTo>
                    <a:pt x="726" y="186"/>
                  </a:lnTo>
                  <a:lnTo>
                    <a:pt x="732" y="186"/>
                  </a:lnTo>
                  <a:lnTo>
                    <a:pt x="738" y="186"/>
                  </a:lnTo>
                  <a:lnTo>
                    <a:pt x="744" y="216"/>
                  </a:lnTo>
                  <a:lnTo>
                    <a:pt x="750" y="210"/>
                  </a:lnTo>
                  <a:lnTo>
                    <a:pt x="750" y="204"/>
                  </a:lnTo>
                  <a:lnTo>
                    <a:pt x="756" y="192"/>
                  </a:lnTo>
                  <a:lnTo>
                    <a:pt x="762" y="192"/>
                  </a:lnTo>
                  <a:lnTo>
                    <a:pt x="768" y="192"/>
                  </a:lnTo>
                  <a:lnTo>
                    <a:pt x="780" y="186"/>
                  </a:lnTo>
                  <a:lnTo>
                    <a:pt x="786" y="204"/>
                  </a:lnTo>
                  <a:lnTo>
                    <a:pt x="774" y="210"/>
                  </a:lnTo>
                  <a:lnTo>
                    <a:pt x="774" y="234"/>
                  </a:lnTo>
                  <a:lnTo>
                    <a:pt x="780" y="246"/>
                  </a:lnTo>
                  <a:lnTo>
                    <a:pt x="804" y="264"/>
                  </a:lnTo>
                  <a:lnTo>
                    <a:pt x="816" y="276"/>
                  </a:lnTo>
                  <a:lnTo>
                    <a:pt x="822" y="288"/>
                  </a:lnTo>
                  <a:lnTo>
                    <a:pt x="822" y="312"/>
                  </a:lnTo>
                  <a:lnTo>
                    <a:pt x="816" y="312"/>
                  </a:lnTo>
                  <a:lnTo>
                    <a:pt x="810" y="318"/>
                  </a:lnTo>
                  <a:lnTo>
                    <a:pt x="810" y="348"/>
                  </a:lnTo>
                  <a:lnTo>
                    <a:pt x="816" y="348"/>
                  </a:lnTo>
                  <a:lnTo>
                    <a:pt x="816" y="342"/>
                  </a:lnTo>
                  <a:lnTo>
                    <a:pt x="834" y="342"/>
                  </a:lnTo>
                  <a:lnTo>
                    <a:pt x="834" y="348"/>
                  </a:lnTo>
                  <a:lnTo>
                    <a:pt x="846" y="348"/>
                  </a:lnTo>
                  <a:lnTo>
                    <a:pt x="846" y="342"/>
                  </a:lnTo>
                  <a:lnTo>
                    <a:pt x="882" y="342"/>
                  </a:lnTo>
                  <a:lnTo>
                    <a:pt x="894" y="366"/>
                  </a:lnTo>
                  <a:lnTo>
                    <a:pt x="900" y="372"/>
                  </a:lnTo>
                  <a:lnTo>
                    <a:pt x="906" y="384"/>
                  </a:lnTo>
                  <a:lnTo>
                    <a:pt x="924" y="384"/>
                  </a:lnTo>
                  <a:lnTo>
                    <a:pt x="930" y="372"/>
                  </a:lnTo>
                  <a:lnTo>
                    <a:pt x="936" y="372"/>
                  </a:lnTo>
                  <a:lnTo>
                    <a:pt x="942" y="348"/>
                  </a:lnTo>
                  <a:lnTo>
                    <a:pt x="954" y="348"/>
                  </a:lnTo>
                  <a:lnTo>
                    <a:pt x="954" y="342"/>
                  </a:lnTo>
                  <a:lnTo>
                    <a:pt x="984" y="342"/>
                  </a:lnTo>
                  <a:lnTo>
                    <a:pt x="978" y="390"/>
                  </a:lnTo>
                  <a:lnTo>
                    <a:pt x="984" y="390"/>
                  </a:lnTo>
                  <a:lnTo>
                    <a:pt x="990" y="396"/>
                  </a:lnTo>
                  <a:lnTo>
                    <a:pt x="996" y="396"/>
                  </a:lnTo>
                  <a:lnTo>
                    <a:pt x="1002" y="396"/>
                  </a:lnTo>
                  <a:lnTo>
                    <a:pt x="1002" y="408"/>
                  </a:lnTo>
                  <a:lnTo>
                    <a:pt x="990" y="414"/>
                  </a:lnTo>
                  <a:lnTo>
                    <a:pt x="984" y="426"/>
                  </a:lnTo>
                  <a:lnTo>
                    <a:pt x="990" y="444"/>
                  </a:lnTo>
                  <a:lnTo>
                    <a:pt x="996" y="450"/>
                  </a:lnTo>
                  <a:lnTo>
                    <a:pt x="990" y="462"/>
                  </a:lnTo>
                  <a:lnTo>
                    <a:pt x="990" y="468"/>
                  </a:lnTo>
                  <a:lnTo>
                    <a:pt x="984" y="480"/>
                  </a:lnTo>
                  <a:lnTo>
                    <a:pt x="978" y="486"/>
                  </a:lnTo>
                  <a:lnTo>
                    <a:pt x="972" y="486"/>
                  </a:lnTo>
                  <a:lnTo>
                    <a:pt x="966" y="492"/>
                  </a:lnTo>
                  <a:lnTo>
                    <a:pt x="966" y="498"/>
                  </a:lnTo>
                  <a:lnTo>
                    <a:pt x="954" y="510"/>
                  </a:lnTo>
                  <a:lnTo>
                    <a:pt x="948" y="510"/>
                  </a:lnTo>
                  <a:lnTo>
                    <a:pt x="942" y="516"/>
                  </a:lnTo>
                  <a:lnTo>
                    <a:pt x="936" y="528"/>
                  </a:lnTo>
                  <a:lnTo>
                    <a:pt x="936" y="534"/>
                  </a:lnTo>
                  <a:lnTo>
                    <a:pt x="936" y="546"/>
                  </a:lnTo>
                  <a:lnTo>
                    <a:pt x="936" y="558"/>
                  </a:lnTo>
                  <a:lnTo>
                    <a:pt x="948" y="558"/>
                  </a:lnTo>
                  <a:lnTo>
                    <a:pt x="954" y="558"/>
                  </a:lnTo>
                  <a:lnTo>
                    <a:pt x="996" y="558"/>
                  </a:lnTo>
                  <a:lnTo>
                    <a:pt x="1002" y="570"/>
                  </a:lnTo>
                  <a:lnTo>
                    <a:pt x="996" y="576"/>
                  </a:lnTo>
                  <a:lnTo>
                    <a:pt x="996" y="588"/>
                  </a:lnTo>
                  <a:lnTo>
                    <a:pt x="984" y="588"/>
                  </a:lnTo>
                  <a:lnTo>
                    <a:pt x="990" y="612"/>
                  </a:lnTo>
                  <a:lnTo>
                    <a:pt x="1014" y="606"/>
                  </a:lnTo>
                  <a:lnTo>
                    <a:pt x="1014" y="636"/>
                  </a:lnTo>
                  <a:lnTo>
                    <a:pt x="1014" y="648"/>
                  </a:lnTo>
                  <a:lnTo>
                    <a:pt x="1020" y="648"/>
                  </a:lnTo>
                  <a:lnTo>
                    <a:pt x="1026" y="660"/>
                  </a:lnTo>
                  <a:lnTo>
                    <a:pt x="1038" y="654"/>
                  </a:lnTo>
                  <a:lnTo>
                    <a:pt x="1050" y="654"/>
                  </a:lnTo>
                  <a:lnTo>
                    <a:pt x="1062" y="654"/>
                  </a:lnTo>
                  <a:lnTo>
                    <a:pt x="1068" y="660"/>
                  </a:lnTo>
                  <a:lnTo>
                    <a:pt x="1068" y="678"/>
                  </a:lnTo>
                  <a:lnTo>
                    <a:pt x="1068" y="684"/>
                  </a:lnTo>
                  <a:lnTo>
                    <a:pt x="1062" y="690"/>
                  </a:lnTo>
                  <a:lnTo>
                    <a:pt x="1056" y="696"/>
                  </a:lnTo>
                  <a:lnTo>
                    <a:pt x="1056" y="702"/>
                  </a:lnTo>
                  <a:lnTo>
                    <a:pt x="1038" y="714"/>
                  </a:lnTo>
                  <a:lnTo>
                    <a:pt x="1026" y="720"/>
                  </a:lnTo>
                  <a:lnTo>
                    <a:pt x="1008" y="726"/>
                  </a:lnTo>
                  <a:lnTo>
                    <a:pt x="1008" y="732"/>
                  </a:lnTo>
                  <a:lnTo>
                    <a:pt x="990" y="732"/>
                  </a:lnTo>
                  <a:lnTo>
                    <a:pt x="984" y="744"/>
                  </a:lnTo>
                  <a:lnTo>
                    <a:pt x="990" y="750"/>
                  </a:lnTo>
                  <a:lnTo>
                    <a:pt x="984" y="762"/>
                  </a:lnTo>
                  <a:lnTo>
                    <a:pt x="984" y="768"/>
                  </a:lnTo>
                  <a:lnTo>
                    <a:pt x="984" y="774"/>
                  </a:lnTo>
                  <a:lnTo>
                    <a:pt x="984" y="780"/>
                  </a:lnTo>
                  <a:lnTo>
                    <a:pt x="984" y="786"/>
                  </a:lnTo>
                  <a:lnTo>
                    <a:pt x="984" y="792"/>
                  </a:lnTo>
                  <a:lnTo>
                    <a:pt x="978" y="798"/>
                  </a:lnTo>
                  <a:lnTo>
                    <a:pt x="978" y="80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3" name="Freeform 38">
              <a:extLst>
                <a:ext uri="{FF2B5EF4-FFF2-40B4-BE49-F238E27FC236}">
                  <a16:creationId xmlns:a16="http://schemas.microsoft.com/office/drawing/2014/main" id="{819B99CE-D972-4530-8964-A992C1EC87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2825" y="1634436"/>
              <a:ext cx="959326" cy="959458"/>
            </a:xfrm>
            <a:custGeom>
              <a:avLst/>
              <a:gdLst>
                <a:gd name="T0" fmla="*/ 105 w 1806"/>
                <a:gd name="T1" fmla="*/ 155 h 1806"/>
                <a:gd name="T2" fmla="*/ 103 w 1806"/>
                <a:gd name="T3" fmla="*/ 155 h 1806"/>
                <a:gd name="T4" fmla="*/ 103 w 1806"/>
                <a:gd name="T5" fmla="*/ 150 h 1806"/>
                <a:gd name="T6" fmla="*/ 104 w 1806"/>
                <a:gd name="T7" fmla="*/ 141 h 1806"/>
                <a:gd name="T8" fmla="*/ 104 w 1806"/>
                <a:gd name="T9" fmla="*/ 136 h 1806"/>
                <a:gd name="T10" fmla="*/ 100 w 1806"/>
                <a:gd name="T11" fmla="*/ 131 h 1806"/>
                <a:gd name="T12" fmla="*/ 96 w 1806"/>
                <a:gd name="T13" fmla="*/ 127 h 1806"/>
                <a:gd name="T14" fmla="*/ 91 w 1806"/>
                <a:gd name="T15" fmla="*/ 121 h 1806"/>
                <a:gd name="T16" fmla="*/ 87 w 1806"/>
                <a:gd name="T17" fmla="*/ 120 h 1806"/>
                <a:gd name="T18" fmla="*/ 81 w 1806"/>
                <a:gd name="T19" fmla="*/ 117 h 1806"/>
                <a:gd name="T20" fmla="*/ 65 w 1806"/>
                <a:gd name="T21" fmla="*/ 113 h 1806"/>
                <a:gd name="T22" fmla="*/ 69 w 1806"/>
                <a:gd name="T23" fmla="*/ 105 h 1806"/>
                <a:gd name="T24" fmla="*/ 66 w 1806"/>
                <a:gd name="T25" fmla="*/ 89 h 1806"/>
                <a:gd name="T26" fmla="*/ 63 w 1806"/>
                <a:gd name="T27" fmla="*/ 84 h 1806"/>
                <a:gd name="T28" fmla="*/ 62 w 1806"/>
                <a:gd name="T29" fmla="*/ 74 h 1806"/>
                <a:gd name="T30" fmla="*/ 58 w 1806"/>
                <a:gd name="T31" fmla="*/ 52 h 1806"/>
                <a:gd name="T32" fmla="*/ 53 w 1806"/>
                <a:gd name="T33" fmla="*/ 49 h 1806"/>
                <a:gd name="T34" fmla="*/ 51 w 1806"/>
                <a:gd name="T35" fmla="*/ 36 h 1806"/>
                <a:gd name="T36" fmla="*/ 43 w 1806"/>
                <a:gd name="T37" fmla="*/ 32 h 1806"/>
                <a:gd name="T38" fmla="*/ 33 w 1806"/>
                <a:gd name="T39" fmla="*/ 30 h 1806"/>
                <a:gd name="T40" fmla="*/ 30 w 1806"/>
                <a:gd name="T41" fmla="*/ 21 h 1806"/>
                <a:gd name="T42" fmla="*/ 17 w 1806"/>
                <a:gd name="T43" fmla="*/ 25 h 1806"/>
                <a:gd name="T44" fmla="*/ 4 w 1806"/>
                <a:gd name="T45" fmla="*/ 33 h 1806"/>
                <a:gd name="T46" fmla="*/ 7 w 1806"/>
                <a:gd name="T47" fmla="*/ 26 h 1806"/>
                <a:gd name="T48" fmla="*/ 11 w 1806"/>
                <a:gd name="T49" fmla="*/ 20 h 1806"/>
                <a:gd name="T50" fmla="*/ 18 w 1806"/>
                <a:gd name="T51" fmla="*/ 12 h 1806"/>
                <a:gd name="T52" fmla="*/ 26 w 1806"/>
                <a:gd name="T53" fmla="*/ 8 h 1806"/>
                <a:gd name="T54" fmla="*/ 35 w 1806"/>
                <a:gd name="T55" fmla="*/ 6 h 1806"/>
                <a:gd name="T56" fmla="*/ 44 w 1806"/>
                <a:gd name="T57" fmla="*/ 5 h 1806"/>
                <a:gd name="T58" fmla="*/ 54 w 1806"/>
                <a:gd name="T59" fmla="*/ 2 h 1806"/>
                <a:gd name="T60" fmla="*/ 65 w 1806"/>
                <a:gd name="T61" fmla="*/ 0 h 1806"/>
                <a:gd name="T62" fmla="*/ 76 w 1806"/>
                <a:gd name="T63" fmla="*/ 0 h 1806"/>
                <a:gd name="T64" fmla="*/ 85 w 1806"/>
                <a:gd name="T65" fmla="*/ 0 h 1806"/>
                <a:gd name="T66" fmla="*/ 97 w 1806"/>
                <a:gd name="T67" fmla="*/ 0 h 1806"/>
                <a:gd name="T68" fmla="*/ 108 w 1806"/>
                <a:gd name="T69" fmla="*/ 3 h 1806"/>
                <a:gd name="T70" fmla="*/ 115 w 1806"/>
                <a:gd name="T71" fmla="*/ 5 h 1806"/>
                <a:gd name="T72" fmla="*/ 123 w 1806"/>
                <a:gd name="T73" fmla="*/ 7 h 1806"/>
                <a:gd name="T74" fmla="*/ 133 w 1806"/>
                <a:gd name="T75" fmla="*/ 14 h 1806"/>
                <a:gd name="T76" fmla="*/ 138 w 1806"/>
                <a:gd name="T77" fmla="*/ 16 h 1806"/>
                <a:gd name="T78" fmla="*/ 140 w 1806"/>
                <a:gd name="T79" fmla="*/ 14 h 1806"/>
                <a:gd name="T80" fmla="*/ 145 w 1806"/>
                <a:gd name="T81" fmla="*/ 16 h 1806"/>
                <a:gd name="T82" fmla="*/ 147 w 1806"/>
                <a:gd name="T83" fmla="*/ 16 h 1806"/>
                <a:gd name="T84" fmla="*/ 150 w 1806"/>
                <a:gd name="T85" fmla="*/ 17 h 1806"/>
                <a:gd name="T86" fmla="*/ 152 w 1806"/>
                <a:gd name="T87" fmla="*/ 18 h 1806"/>
                <a:gd name="T88" fmla="*/ 155 w 1806"/>
                <a:gd name="T89" fmla="*/ 37 h 1806"/>
                <a:gd name="T90" fmla="*/ 146 w 1806"/>
                <a:gd name="T91" fmla="*/ 66 h 1806"/>
                <a:gd name="T92" fmla="*/ 143 w 1806"/>
                <a:gd name="T93" fmla="*/ 88 h 1806"/>
                <a:gd name="T94" fmla="*/ 144 w 1806"/>
                <a:gd name="T95" fmla="*/ 98 h 1806"/>
                <a:gd name="T96" fmla="*/ 137 w 1806"/>
                <a:gd name="T97" fmla="*/ 118 h 1806"/>
                <a:gd name="T98" fmla="*/ 132 w 1806"/>
                <a:gd name="T99" fmla="*/ 129 h 1806"/>
                <a:gd name="T100" fmla="*/ 124 w 1806"/>
                <a:gd name="T101" fmla="*/ 135 h 1806"/>
                <a:gd name="T102" fmla="*/ 119 w 1806"/>
                <a:gd name="T103" fmla="*/ 136 h 1806"/>
                <a:gd name="T104" fmla="*/ 116 w 1806"/>
                <a:gd name="T105" fmla="*/ 137 h 1806"/>
                <a:gd name="T106" fmla="*/ 112 w 1806"/>
                <a:gd name="T107" fmla="*/ 139 h 1806"/>
                <a:gd name="T108" fmla="*/ 112 w 1806"/>
                <a:gd name="T109" fmla="*/ 141 h 1806"/>
                <a:gd name="T110" fmla="*/ 116 w 1806"/>
                <a:gd name="T111" fmla="*/ 146 h 1806"/>
                <a:gd name="T112" fmla="*/ 116 w 1806"/>
                <a:gd name="T113" fmla="*/ 151 h 1806"/>
                <a:gd name="T114" fmla="*/ 113 w 1806"/>
                <a:gd name="T115" fmla="*/ 153 h 18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6"/>
                <a:gd name="T175" fmla="*/ 0 h 1806"/>
                <a:gd name="T176" fmla="*/ 1806 w 1806"/>
                <a:gd name="T177" fmla="*/ 1806 h 18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6" h="1806">
                  <a:moveTo>
                    <a:pt x="1260" y="1776"/>
                  </a:moveTo>
                  <a:lnTo>
                    <a:pt x="1254" y="1776"/>
                  </a:lnTo>
                  <a:lnTo>
                    <a:pt x="1248" y="1776"/>
                  </a:lnTo>
                  <a:lnTo>
                    <a:pt x="1242" y="1782"/>
                  </a:lnTo>
                  <a:lnTo>
                    <a:pt x="1236" y="1782"/>
                  </a:lnTo>
                  <a:lnTo>
                    <a:pt x="1230" y="1788"/>
                  </a:lnTo>
                  <a:lnTo>
                    <a:pt x="1224" y="1782"/>
                  </a:lnTo>
                  <a:lnTo>
                    <a:pt x="1218" y="1782"/>
                  </a:lnTo>
                  <a:lnTo>
                    <a:pt x="1218" y="1788"/>
                  </a:lnTo>
                  <a:lnTo>
                    <a:pt x="1212" y="1788"/>
                  </a:lnTo>
                  <a:lnTo>
                    <a:pt x="1206" y="1788"/>
                  </a:lnTo>
                  <a:lnTo>
                    <a:pt x="1206" y="1794"/>
                  </a:lnTo>
                  <a:lnTo>
                    <a:pt x="1200" y="1806"/>
                  </a:lnTo>
                  <a:lnTo>
                    <a:pt x="1194" y="1800"/>
                  </a:lnTo>
                  <a:lnTo>
                    <a:pt x="1194" y="1794"/>
                  </a:lnTo>
                  <a:lnTo>
                    <a:pt x="1194" y="1788"/>
                  </a:lnTo>
                  <a:lnTo>
                    <a:pt x="1188" y="1788"/>
                  </a:lnTo>
                  <a:lnTo>
                    <a:pt x="1188" y="1782"/>
                  </a:lnTo>
                  <a:lnTo>
                    <a:pt x="1188" y="1776"/>
                  </a:lnTo>
                  <a:lnTo>
                    <a:pt x="1194" y="1770"/>
                  </a:lnTo>
                  <a:lnTo>
                    <a:pt x="1194" y="1764"/>
                  </a:lnTo>
                  <a:lnTo>
                    <a:pt x="1194" y="1758"/>
                  </a:lnTo>
                  <a:lnTo>
                    <a:pt x="1194" y="1752"/>
                  </a:lnTo>
                  <a:lnTo>
                    <a:pt x="1200" y="1746"/>
                  </a:lnTo>
                  <a:lnTo>
                    <a:pt x="1200" y="1740"/>
                  </a:lnTo>
                  <a:lnTo>
                    <a:pt x="1200" y="1734"/>
                  </a:lnTo>
                  <a:lnTo>
                    <a:pt x="1188" y="1722"/>
                  </a:lnTo>
                  <a:lnTo>
                    <a:pt x="1188" y="1716"/>
                  </a:lnTo>
                  <a:lnTo>
                    <a:pt x="1194" y="1704"/>
                  </a:lnTo>
                  <a:lnTo>
                    <a:pt x="1194" y="1692"/>
                  </a:lnTo>
                  <a:lnTo>
                    <a:pt x="1200" y="1680"/>
                  </a:lnTo>
                  <a:lnTo>
                    <a:pt x="1200" y="1662"/>
                  </a:lnTo>
                  <a:lnTo>
                    <a:pt x="1200" y="1650"/>
                  </a:lnTo>
                  <a:lnTo>
                    <a:pt x="1206" y="1644"/>
                  </a:lnTo>
                  <a:lnTo>
                    <a:pt x="1206" y="1638"/>
                  </a:lnTo>
                  <a:lnTo>
                    <a:pt x="1206" y="1626"/>
                  </a:lnTo>
                  <a:lnTo>
                    <a:pt x="1206" y="1620"/>
                  </a:lnTo>
                  <a:lnTo>
                    <a:pt x="1206" y="1614"/>
                  </a:lnTo>
                  <a:lnTo>
                    <a:pt x="1200" y="1608"/>
                  </a:lnTo>
                  <a:lnTo>
                    <a:pt x="1200" y="1602"/>
                  </a:lnTo>
                  <a:lnTo>
                    <a:pt x="1200" y="1596"/>
                  </a:lnTo>
                  <a:lnTo>
                    <a:pt x="1200" y="1590"/>
                  </a:lnTo>
                  <a:lnTo>
                    <a:pt x="1200" y="1572"/>
                  </a:lnTo>
                  <a:lnTo>
                    <a:pt x="1200" y="1566"/>
                  </a:lnTo>
                  <a:lnTo>
                    <a:pt x="1200" y="1560"/>
                  </a:lnTo>
                  <a:lnTo>
                    <a:pt x="1194" y="1554"/>
                  </a:lnTo>
                  <a:lnTo>
                    <a:pt x="1188" y="1548"/>
                  </a:lnTo>
                  <a:lnTo>
                    <a:pt x="1188" y="1542"/>
                  </a:lnTo>
                  <a:lnTo>
                    <a:pt x="1176" y="1536"/>
                  </a:lnTo>
                  <a:lnTo>
                    <a:pt x="1176" y="1530"/>
                  </a:lnTo>
                  <a:lnTo>
                    <a:pt x="1170" y="1524"/>
                  </a:lnTo>
                  <a:lnTo>
                    <a:pt x="1170" y="1518"/>
                  </a:lnTo>
                  <a:lnTo>
                    <a:pt x="1164" y="1512"/>
                  </a:lnTo>
                  <a:lnTo>
                    <a:pt x="1158" y="1506"/>
                  </a:lnTo>
                  <a:lnTo>
                    <a:pt x="1152" y="1500"/>
                  </a:lnTo>
                  <a:lnTo>
                    <a:pt x="1146" y="1494"/>
                  </a:lnTo>
                  <a:lnTo>
                    <a:pt x="1140" y="1488"/>
                  </a:lnTo>
                  <a:lnTo>
                    <a:pt x="1134" y="1482"/>
                  </a:lnTo>
                  <a:lnTo>
                    <a:pt x="1128" y="1476"/>
                  </a:lnTo>
                  <a:lnTo>
                    <a:pt x="1122" y="1470"/>
                  </a:lnTo>
                  <a:lnTo>
                    <a:pt x="1116" y="1464"/>
                  </a:lnTo>
                  <a:lnTo>
                    <a:pt x="1110" y="1464"/>
                  </a:lnTo>
                  <a:lnTo>
                    <a:pt x="1104" y="1458"/>
                  </a:lnTo>
                  <a:lnTo>
                    <a:pt x="1098" y="1464"/>
                  </a:lnTo>
                  <a:lnTo>
                    <a:pt x="1092" y="1464"/>
                  </a:lnTo>
                  <a:lnTo>
                    <a:pt x="1086" y="1446"/>
                  </a:lnTo>
                  <a:lnTo>
                    <a:pt x="1086" y="1440"/>
                  </a:lnTo>
                  <a:lnTo>
                    <a:pt x="1080" y="1416"/>
                  </a:lnTo>
                  <a:lnTo>
                    <a:pt x="1068" y="1404"/>
                  </a:lnTo>
                  <a:lnTo>
                    <a:pt x="1062" y="1398"/>
                  </a:lnTo>
                  <a:lnTo>
                    <a:pt x="1056" y="1398"/>
                  </a:lnTo>
                  <a:lnTo>
                    <a:pt x="1050" y="1398"/>
                  </a:lnTo>
                  <a:lnTo>
                    <a:pt x="1044" y="1398"/>
                  </a:lnTo>
                  <a:lnTo>
                    <a:pt x="1044" y="1392"/>
                  </a:lnTo>
                  <a:lnTo>
                    <a:pt x="1038" y="1392"/>
                  </a:lnTo>
                  <a:lnTo>
                    <a:pt x="1032" y="1392"/>
                  </a:lnTo>
                  <a:lnTo>
                    <a:pt x="1020" y="1386"/>
                  </a:lnTo>
                  <a:lnTo>
                    <a:pt x="1014" y="1386"/>
                  </a:lnTo>
                  <a:lnTo>
                    <a:pt x="1014" y="1380"/>
                  </a:lnTo>
                  <a:lnTo>
                    <a:pt x="1008" y="1380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62"/>
                  </a:lnTo>
                  <a:lnTo>
                    <a:pt x="984" y="1356"/>
                  </a:lnTo>
                  <a:lnTo>
                    <a:pt x="978" y="1356"/>
                  </a:lnTo>
                  <a:lnTo>
                    <a:pt x="972" y="1356"/>
                  </a:lnTo>
                  <a:lnTo>
                    <a:pt x="966" y="1356"/>
                  </a:lnTo>
                  <a:lnTo>
                    <a:pt x="966" y="1350"/>
                  </a:lnTo>
                  <a:lnTo>
                    <a:pt x="948" y="1350"/>
                  </a:lnTo>
                  <a:lnTo>
                    <a:pt x="936" y="1344"/>
                  </a:lnTo>
                  <a:lnTo>
                    <a:pt x="930" y="1338"/>
                  </a:lnTo>
                  <a:lnTo>
                    <a:pt x="918" y="1332"/>
                  </a:lnTo>
                  <a:lnTo>
                    <a:pt x="900" y="1326"/>
                  </a:lnTo>
                  <a:lnTo>
                    <a:pt x="864" y="1332"/>
                  </a:lnTo>
                  <a:lnTo>
                    <a:pt x="828" y="1332"/>
                  </a:lnTo>
                  <a:lnTo>
                    <a:pt x="792" y="1314"/>
                  </a:lnTo>
                  <a:lnTo>
                    <a:pt x="780" y="1314"/>
                  </a:lnTo>
                  <a:lnTo>
                    <a:pt x="780" y="1308"/>
                  </a:lnTo>
                  <a:lnTo>
                    <a:pt x="756" y="1296"/>
                  </a:lnTo>
                  <a:lnTo>
                    <a:pt x="756" y="1278"/>
                  </a:lnTo>
                  <a:lnTo>
                    <a:pt x="768" y="1278"/>
                  </a:lnTo>
                  <a:lnTo>
                    <a:pt x="774" y="1272"/>
                  </a:lnTo>
                  <a:lnTo>
                    <a:pt x="780" y="1266"/>
                  </a:lnTo>
                  <a:lnTo>
                    <a:pt x="786" y="1260"/>
                  </a:lnTo>
                  <a:lnTo>
                    <a:pt x="792" y="1254"/>
                  </a:lnTo>
                  <a:lnTo>
                    <a:pt x="798" y="1242"/>
                  </a:lnTo>
                  <a:lnTo>
                    <a:pt x="804" y="1242"/>
                  </a:lnTo>
                  <a:lnTo>
                    <a:pt x="804" y="1206"/>
                  </a:lnTo>
                  <a:lnTo>
                    <a:pt x="804" y="1182"/>
                  </a:lnTo>
                  <a:lnTo>
                    <a:pt x="804" y="1158"/>
                  </a:lnTo>
                  <a:lnTo>
                    <a:pt x="804" y="1134"/>
                  </a:lnTo>
                  <a:lnTo>
                    <a:pt x="798" y="1116"/>
                  </a:lnTo>
                  <a:lnTo>
                    <a:pt x="792" y="1092"/>
                  </a:lnTo>
                  <a:lnTo>
                    <a:pt x="786" y="1062"/>
                  </a:lnTo>
                  <a:lnTo>
                    <a:pt x="768" y="1032"/>
                  </a:lnTo>
                  <a:lnTo>
                    <a:pt x="762" y="1032"/>
                  </a:lnTo>
                  <a:lnTo>
                    <a:pt x="762" y="1020"/>
                  </a:lnTo>
                  <a:lnTo>
                    <a:pt x="762" y="1014"/>
                  </a:lnTo>
                  <a:lnTo>
                    <a:pt x="756" y="1008"/>
                  </a:lnTo>
                  <a:lnTo>
                    <a:pt x="750" y="1002"/>
                  </a:lnTo>
                  <a:lnTo>
                    <a:pt x="738" y="1002"/>
                  </a:lnTo>
                  <a:lnTo>
                    <a:pt x="738" y="990"/>
                  </a:lnTo>
                  <a:lnTo>
                    <a:pt x="726" y="990"/>
                  </a:lnTo>
                  <a:lnTo>
                    <a:pt x="726" y="978"/>
                  </a:lnTo>
                  <a:lnTo>
                    <a:pt x="732" y="972"/>
                  </a:lnTo>
                  <a:lnTo>
                    <a:pt x="732" y="966"/>
                  </a:lnTo>
                  <a:lnTo>
                    <a:pt x="726" y="966"/>
                  </a:lnTo>
                  <a:lnTo>
                    <a:pt x="732" y="948"/>
                  </a:lnTo>
                  <a:lnTo>
                    <a:pt x="726" y="942"/>
                  </a:lnTo>
                  <a:lnTo>
                    <a:pt x="726" y="930"/>
                  </a:lnTo>
                  <a:lnTo>
                    <a:pt x="720" y="924"/>
                  </a:lnTo>
                  <a:lnTo>
                    <a:pt x="714" y="912"/>
                  </a:lnTo>
                  <a:lnTo>
                    <a:pt x="714" y="882"/>
                  </a:lnTo>
                  <a:lnTo>
                    <a:pt x="714" y="870"/>
                  </a:lnTo>
                  <a:lnTo>
                    <a:pt x="714" y="858"/>
                  </a:lnTo>
                  <a:lnTo>
                    <a:pt x="714" y="846"/>
                  </a:lnTo>
                  <a:lnTo>
                    <a:pt x="708" y="822"/>
                  </a:lnTo>
                  <a:lnTo>
                    <a:pt x="702" y="798"/>
                  </a:lnTo>
                  <a:lnTo>
                    <a:pt x="696" y="792"/>
                  </a:lnTo>
                  <a:lnTo>
                    <a:pt x="684" y="726"/>
                  </a:lnTo>
                  <a:lnTo>
                    <a:pt x="678" y="666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66" y="600"/>
                  </a:lnTo>
                  <a:lnTo>
                    <a:pt x="660" y="594"/>
                  </a:lnTo>
                  <a:lnTo>
                    <a:pt x="654" y="594"/>
                  </a:lnTo>
                  <a:lnTo>
                    <a:pt x="636" y="582"/>
                  </a:lnTo>
                  <a:lnTo>
                    <a:pt x="630" y="576"/>
                  </a:lnTo>
                  <a:lnTo>
                    <a:pt x="624" y="576"/>
                  </a:lnTo>
                  <a:lnTo>
                    <a:pt x="618" y="570"/>
                  </a:lnTo>
                  <a:lnTo>
                    <a:pt x="612" y="564"/>
                  </a:lnTo>
                  <a:lnTo>
                    <a:pt x="606" y="558"/>
                  </a:lnTo>
                  <a:lnTo>
                    <a:pt x="606" y="564"/>
                  </a:lnTo>
                  <a:lnTo>
                    <a:pt x="600" y="564"/>
                  </a:lnTo>
                  <a:lnTo>
                    <a:pt x="594" y="558"/>
                  </a:lnTo>
                  <a:lnTo>
                    <a:pt x="594" y="540"/>
                  </a:lnTo>
                  <a:lnTo>
                    <a:pt x="594" y="528"/>
                  </a:lnTo>
                  <a:lnTo>
                    <a:pt x="594" y="516"/>
                  </a:lnTo>
                  <a:lnTo>
                    <a:pt x="594" y="510"/>
                  </a:lnTo>
                  <a:lnTo>
                    <a:pt x="594" y="492"/>
                  </a:lnTo>
                  <a:lnTo>
                    <a:pt x="594" y="456"/>
                  </a:lnTo>
                  <a:lnTo>
                    <a:pt x="588" y="414"/>
                  </a:lnTo>
                  <a:lnTo>
                    <a:pt x="588" y="408"/>
                  </a:lnTo>
                  <a:lnTo>
                    <a:pt x="582" y="396"/>
                  </a:lnTo>
                  <a:lnTo>
                    <a:pt x="582" y="384"/>
                  </a:lnTo>
                  <a:lnTo>
                    <a:pt x="582" y="372"/>
                  </a:lnTo>
                  <a:lnTo>
                    <a:pt x="564" y="372"/>
                  </a:lnTo>
                  <a:lnTo>
                    <a:pt x="552" y="366"/>
                  </a:lnTo>
                  <a:lnTo>
                    <a:pt x="552" y="372"/>
                  </a:lnTo>
                  <a:lnTo>
                    <a:pt x="498" y="372"/>
                  </a:lnTo>
                  <a:lnTo>
                    <a:pt x="498" y="366"/>
                  </a:lnTo>
                  <a:lnTo>
                    <a:pt x="474" y="360"/>
                  </a:lnTo>
                  <a:lnTo>
                    <a:pt x="456" y="354"/>
                  </a:lnTo>
                  <a:lnTo>
                    <a:pt x="438" y="348"/>
                  </a:lnTo>
                  <a:lnTo>
                    <a:pt x="426" y="354"/>
                  </a:lnTo>
                  <a:lnTo>
                    <a:pt x="408" y="360"/>
                  </a:lnTo>
                  <a:lnTo>
                    <a:pt x="378" y="360"/>
                  </a:lnTo>
                  <a:lnTo>
                    <a:pt x="378" y="354"/>
                  </a:lnTo>
                  <a:lnTo>
                    <a:pt x="378" y="348"/>
                  </a:lnTo>
                  <a:lnTo>
                    <a:pt x="378" y="342"/>
                  </a:lnTo>
                  <a:lnTo>
                    <a:pt x="390" y="330"/>
                  </a:lnTo>
                  <a:lnTo>
                    <a:pt x="396" y="312"/>
                  </a:lnTo>
                  <a:lnTo>
                    <a:pt x="396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8"/>
                  </a:lnTo>
                  <a:lnTo>
                    <a:pt x="372" y="234"/>
                  </a:lnTo>
                  <a:lnTo>
                    <a:pt x="354" y="234"/>
                  </a:lnTo>
                  <a:lnTo>
                    <a:pt x="342" y="246"/>
                  </a:lnTo>
                  <a:lnTo>
                    <a:pt x="330" y="252"/>
                  </a:lnTo>
                  <a:lnTo>
                    <a:pt x="318" y="252"/>
                  </a:lnTo>
                  <a:lnTo>
                    <a:pt x="276" y="258"/>
                  </a:lnTo>
                  <a:lnTo>
                    <a:pt x="276" y="264"/>
                  </a:lnTo>
                  <a:lnTo>
                    <a:pt x="252" y="270"/>
                  </a:lnTo>
                  <a:lnTo>
                    <a:pt x="240" y="270"/>
                  </a:lnTo>
                  <a:lnTo>
                    <a:pt x="228" y="276"/>
                  </a:lnTo>
                  <a:lnTo>
                    <a:pt x="210" y="282"/>
                  </a:lnTo>
                  <a:lnTo>
                    <a:pt x="198" y="288"/>
                  </a:lnTo>
                  <a:lnTo>
                    <a:pt x="186" y="294"/>
                  </a:lnTo>
                  <a:lnTo>
                    <a:pt x="174" y="330"/>
                  </a:lnTo>
                  <a:lnTo>
                    <a:pt x="162" y="342"/>
                  </a:lnTo>
                  <a:lnTo>
                    <a:pt x="156" y="354"/>
                  </a:lnTo>
                  <a:lnTo>
                    <a:pt x="150" y="360"/>
                  </a:lnTo>
                  <a:lnTo>
                    <a:pt x="150" y="366"/>
                  </a:lnTo>
                  <a:lnTo>
                    <a:pt x="108" y="372"/>
                  </a:lnTo>
                  <a:lnTo>
                    <a:pt x="60" y="378"/>
                  </a:lnTo>
                  <a:lnTo>
                    <a:pt x="42" y="378"/>
                  </a:lnTo>
                  <a:lnTo>
                    <a:pt x="12" y="378"/>
                  </a:lnTo>
                  <a:lnTo>
                    <a:pt x="6" y="378"/>
                  </a:lnTo>
                  <a:lnTo>
                    <a:pt x="0" y="366"/>
                  </a:lnTo>
                  <a:lnTo>
                    <a:pt x="12" y="360"/>
                  </a:lnTo>
                  <a:lnTo>
                    <a:pt x="24" y="348"/>
                  </a:lnTo>
                  <a:lnTo>
                    <a:pt x="30" y="342"/>
                  </a:lnTo>
                  <a:lnTo>
                    <a:pt x="36" y="330"/>
                  </a:lnTo>
                  <a:lnTo>
                    <a:pt x="72" y="300"/>
                  </a:lnTo>
                  <a:lnTo>
                    <a:pt x="78" y="294"/>
                  </a:lnTo>
                  <a:lnTo>
                    <a:pt x="78" y="288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96" y="270"/>
                  </a:lnTo>
                  <a:lnTo>
                    <a:pt x="102" y="264"/>
                  </a:lnTo>
                  <a:lnTo>
                    <a:pt x="108" y="258"/>
                  </a:lnTo>
                  <a:lnTo>
                    <a:pt x="114" y="246"/>
                  </a:lnTo>
                  <a:lnTo>
                    <a:pt x="120" y="240"/>
                  </a:lnTo>
                  <a:lnTo>
                    <a:pt x="126" y="234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0" y="210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86" y="174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22" y="138"/>
                  </a:lnTo>
                  <a:lnTo>
                    <a:pt x="234" y="132"/>
                  </a:lnTo>
                  <a:lnTo>
                    <a:pt x="246" y="126"/>
                  </a:lnTo>
                  <a:lnTo>
                    <a:pt x="246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88" y="102"/>
                  </a:lnTo>
                  <a:lnTo>
                    <a:pt x="300" y="96"/>
                  </a:lnTo>
                  <a:lnTo>
                    <a:pt x="306" y="90"/>
                  </a:lnTo>
                  <a:lnTo>
                    <a:pt x="318" y="90"/>
                  </a:lnTo>
                  <a:lnTo>
                    <a:pt x="324" y="84"/>
                  </a:lnTo>
                  <a:lnTo>
                    <a:pt x="348" y="72"/>
                  </a:lnTo>
                  <a:lnTo>
                    <a:pt x="354" y="72"/>
                  </a:lnTo>
                  <a:lnTo>
                    <a:pt x="384" y="66"/>
                  </a:lnTo>
                  <a:lnTo>
                    <a:pt x="390" y="66"/>
                  </a:lnTo>
                  <a:lnTo>
                    <a:pt x="396" y="66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66"/>
                  </a:lnTo>
                  <a:lnTo>
                    <a:pt x="438" y="66"/>
                  </a:lnTo>
                  <a:lnTo>
                    <a:pt x="468" y="66"/>
                  </a:lnTo>
                  <a:lnTo>
                    <a:pt x="480" y="66"/>
                  </a:lnTo>
                  <a:lnTo>
                    <a:pt x="486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22" y="60"/>
                  </a:lnTo>
                  <a:lnTo>
                    <a:pt x="534" y="54"/>
                  </a:lnTo>
                  <a:lnTo>
                    <a:pt x="564" y="42"/>
                  </a:lnTo>
                  <a:lnTo>
                    <a:pt x="570" y="42"/>
                  </a:lnTo>
                  <a:lnTo>
                    <a:pt x="582" y="36"/>
                  </a:lnTo>
                  <a:lnTo>
                    <a:pt x="588" y="36"/>
                  </a:lnTo>
                  <a:lnTo>
                    <a:pt x="600" y="30"/>
                  </a:lnTo>
                  <a:lnTo>
                    <a:pt x="606" y="30"/>
                  </a:lnTo>
                  <a:lnTo>
                    <a:pt x="618" y="24"/>
                  </a:lnTo>
                  <a:lnTo>
                    <a:pt x="642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72" y="12"/>
                  </a:lnTo>
                  <a:lnTo>
                    <a:pt x="696" y="12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50" y="6"/>
                  </a:lnTo>
                  <a:lnTo>
                    <a:pt x="768" y="6"/>
                  </a:lnTo>
                  <a:lnTo>
                    <a:pt x="774" y="6"/>
                  </a:lnTo>
                  <a:lnTo>
                    <a:pt x="786" y="6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6" y="6"/>
                  </a:lnTo>
                  <a:lnTo>
                    <a:pt x="846" y="6"/>
                  </a:lnTo>
                  <a:lnTo>
                    <a:pt x="852" y="0"/>
                  </a:lnTo>
                  <a:lnTo>
                    <a:pt x="876" y="0"/>
                  </a:lnTo>
                  <a:lnTo>
                    <a:pt x="876" y="6"/>
                  </a:lnTo>
                  <a:lnTo>
                    <a:pt x="888" y="0"/>
                  </a:lnTo>
                  <a:lnTo>
                    <a:pt x="900" y="0"/>
                  </a:lnTo>
                  <a:lnTo>
                    <a:pt x="906" y="0"/>
                  </a:lnTo>
                  <a:lnTo>
                    <a:pt x="912" y="0"/>
                  </a:lnTo>
                  <a:lnTo>
                    <a:pt x="948" y="0"/>
                  </a:lnTo>
                  <a:lnTo>
                    <a:pt x="954" y="0"/>
                  </a:lnTo>
                  <a:lnTo>
                    <a:pt x="972" y="0"/>
                  </a:lnTo>
                  <a:lnTo>
                    <a:pt x="978" y="0"/>
                  </a:lnTo>
                  <a:lnTo>
                    <a:pt x="996" y="0"/>
                  </a:lnTo>
                  <a:lnTo>
                    <a:pt x="1032" y="0"/>
                  </a:lnTo>
                  <a:lnTo>
                    <a:pt x="1044" y="0"/>
                  </a:lnTo>
                  <a:lnTo>
                    <a:pt x="1050" y="0"/>
                  </a:lnTo>
                  <a:lnTo>
                    <a:pt x="1056" y="6"/>
                  </a:lnTo>
                  <a:lnTo>
                    <a:pt x="1056" y="0"/>
                  </a:lnTo>
                  <a:lnTo>
                    <a:pt x="1074" y="0"/>
                  </a:lnTo>
                  <a:lnTo>
                    <a:pt x="1098" y="6"/>
                  </a:lnTo>
                  <a:lnTo>
                    <a:pt x="1116" y="6"/>
                  </a:lnTo>
                  <a:lnTo>
                    <a:pt x="1140" y="12"/>
                  </a:lnTo>
                  <a:lnTo>
                    <a:pt x="1152" y="12"/>
                  </a:lnTo>
                  <a:lnTo>
                    <a:pt x="1158" y="12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6" y="12"/>
                  </a:lnTo>
                  <a:lnTo>
                    <a:pt x="1194" y="18"/>
                  </a:lnTo>
                  <a:lnTo>
                    <a:pt x="1206" y="18"/>
                  </a:lnTo>
                  <a:lnTo>
                    <a:pt x="1242" y="36"/>
                  </a:lnTo>
                  <a:lnTo>
                    <a:pt x="1248" y="36"/>
                  </a:lnTo>
                  <a:lnTo>
                    <a:pt x="1254" y="36"/>
                  </a:lnTo>
                  <a:lnTo>
                    <a:pt x="1260" y="42"/>
                  </a:lnTo>
                  <a:lnTo>
                    <a:pt x="1272" y="48"/>
                  </a:lnTo>
                  <a:lnTo>
                    <a:pt x="1278" y="48"/>
                  </a:lnTo>
                  <a:lnTo>
                    <a:pt x="1284" y="48"/>
                  </a:lnTo>
                  <a:lnTo>
                    <a:pt x="1290" y="54"/>
                  </a:lnTo>
                  <a:lnTo>
                    <a:pt x="1308" y="60"/>
                  </a:lnTo>
                  <a:lnTo>
                    <a:pt x="1326" y="60"/>
                  </a:lnTo>
                  <a:lnTo>
                    <a:pt x="1338" y="66"/>
                  </a:lnTo>
                  <a:lnTo>
                    <a:pt x="1344" y="66"/>
                  </a:lnTo>
                  <a:lnTo>
                    <a:pt x="1350" y="66"/>
                  </a:lnTo>
                  <a:lnTo>
                    <a:pt x="1356" y="66"/>
                  </a:lnTo>
                  <a:lnTo>
                    <a:pt x="1362" y="72"/>
                  </a:lnTo>
                  <a:lnTo>
                    <a:pt x="1368" y="72"/>
                  </a:lnTo>
                  <a:lnTo>
                    <a:pt x="1380" y="72"/>
                  </a:lnTo>
                  <a:lnTo>
                    <a:pt x="1386" y="72"/>
                  </a:lnTo>
                  <a:lnTo>
                    <a:pt x="1422" y="84"/>
                  </a:lnTo>
                  <a:lnTo>
                    <a:pt x="1428" y="84"/>
                  </a:lnTo>
                  <a:lnTo>
                    <a:pt x="1446" y="90"/>
                  </a:lnTo>
                  <a:lnTo>
                    <a:pt x="1458" y="102"/>
                  </a:lnTo>
                  <a:lnTo>
                    <a:pt x="1494" y="126"/>
                  </a:lnTo>
                  <a:lnTo>
                    <a:pt x="1500" y="132"/>
                  </a:lnTo>
                  <a:lnTo>
                    <a:pt x="1512" y="138"/>
                  </a:lnTo>
                  <a:lnTo>
                    <a:pt x="1512" y="144"/>
                  </a:lnTo>
                  <a:lnTo>
                    <a:pt x="1518" y="150"/>
                  </a:lnTo>
                  <a:lnTo>
                    <a:pt x="1530" y="156"/>
                  </a:lnTo>
                  <a:lnTo>
                    <a:pt x="1530" y="162"/>
                  </a:lnTo>
                  <a:lnTo>
                    <a:pt x="1548" y="168"/>
                  </a:lnTo>
                  <a:lnTo>
                    <a:pt x="1566" y="180"/>
                  </a:lnTo>
                  <a:lnTo>
                    <a:pt x="1578" y="186"/>
                  </a:lnTo>
                  <a:lnTo>
                    <a:pt x="1578" y="180"/>
                  </a:lnTo>
                  <a:lnTo>
                    <a:pt x="1584" y="186"/>
                  </a:lnTo>
                  <a:lnTo>
                    <a:pt x="1584" y="174"/>
                  </a:lnTo>
                  <a:lnTo>
                    <a:pt x="1590" y="174"/>
                  </a:lnTo>
                  <a:lnTo>
                    <a:pt x="1590" y="180"/>
                  </a:lnTo>
                  <a:lnTo>
                    <a:pt x="1596" y="180"/>
                  </a:lnTo>
                  <a:lnTo>
                    <a:pt x="1596" y="174"/>
                  </a:lnTo>
                  <a:lnTo>
                    <a:pt x="1602" y="174"/>
                  </a:lnTo>
                  <a:lnTo>
                    <a:pt x="1608" y="174"/>
                  </a:lnTo>
                  <a:lnTo>
                    <a:pt x="1614" y="180"/>
                  </a:lnTo>
                  <a:lnTo>
                    <a:pt x="1620" y="174"/>
                  </a:lnTo>
                  <a:lnTo>
                    <a:pt x="1614" y="168"/>
                  </a:lnTo>
                  <a:lnTo>
                    <a:pt x="1614" y="162"/>
                  </a:lnTo>
                  <a:lnTo>
                    <a:pt x="1620" y="162"/>
                  </a:lnTo>
                  <a:lnTo>
                    <a:pt x="1626" y="162"/>
                  </a:lnTo>
                  <a:lnTo>
                    <a:pt x="1632" y="162"/>
                  </a:lnTo>
                  <a:lnTo>
                    <a:pt x="1638" y="168"/>
                  </a:lnTo>
                  <a:lnTo>
                    <a:pt x="1644" y="168"/>
                  </a:lnTo>
                  <a:lnTo>
                    <a:pt x="1650" y="174"/>
                  </a:lnTo>
                  <a:lnTo>
                    <a:pt x="1656" y="168"/>
                  </a:lnTo>
                  <a:lnTo>
                    <a:pt x="1668" y="168"/>
                  </a:lnTo>
                  <a:lnTo>
                    <a:pt x="1674" y="174"/>
                  </a:lnTo>
                  <a:lnTo>
                    <a:pt x="1674" y="180"/>
                  </a:lnTo>
                  <a:lnTo>
                    <a:pt x="1674" y="186"/>
                  </a:lnTo>
                  <a:lnTo>
                    <a:pt x="1680" y="186"/>
                  </a:lnTo>
                  <a:lnTo>
                    <a:pt x="1680" y="192"/>
                  </a:lnTo>
                  <a:lnTo>
                    <a:pt x="1686" y="192"/>
                  </a:lnTo>
                  <a:lnTo>
                    <a:pt x="1686" y="186"/>
                  </a:lnTo>
                  <a:lnTo>
                    <a:pt x="1680" y="186"/>
                  </a:lnTo>
                  <a:lnTo>
                    <a:pt x="1686" y="180"/>
                  </a:lnTo>
                  <a:lnTo>
                    <a:pt x="1692" y="180"/>
                  </a:lnTo>
                  <a:lnTo>
                    <a:pt x="1698" y="180"/>
                  </a:lnTo>
                  <a:lnTo>
                    <a:pt x="1704" y="180"/>
                  </a:lnTo>
                  <a:lnTo>
                    <a:pt x="1704" y="186"/>
                  </a:lnTo>
                  <a:lnTo>
                    <a:pt x="1710" y="186"/>
                  </a:lnTo>
                  <a:lnTo>
                    <a:pt x="1716" y="186"/>
                  </a:lnTo>
                  <a:lnTo>
                    <a:pt x="1716" y="192"/>
                  </a:lnTo>
                  <a:lnTo>
                    <a:pt x="1716" y="198"/>
                  </a:lnTo>
                  <a:lnTo>
                    <a:pt x="1722" y="192"/>
                  </a:lnTo>
                  <a:lnTo>
                    <a:pt x="1722" y="186"/>
                  </a:lnTo>
                  <a:lnTo>
                    <a:pt x="1728" y="192"/>
                  </a:lnTo>
                  <a:lnTo>
                    <a:pt x="1734" y="192"/>
                  </a:lnTo>
                  <a:lnTo>
                    <a:pt x="1734" y="186"/>
                  </a:lnTo>
                  <a:lnTo>
                    <a:pt x="1740" y="186"/>
                  </a:lnTo>
                  <a:lnTo>
                    <a:pt x="1740" y="192"/>
                  </a:lnTo>
                  <a:lnTo>
                    <a:pt x="1746" y="192"/>
                  </a:lnTo>
                  <a:lnTo>
                    <a:pt x="1758" y="192"/>
                  </a:lnTo>
                  <a:lnTo>
                    <a:pt x="1764" y="192"/>
                  </a:lnTo>
                  <a:lnTo>
                    <a:pt x="1764" y="198"/>
                  </a:lnTo>
                  <a:lnTo>
                    <a:pt x="1758" y="204"/>
                  </a:lnTo>
                  <a:lnTo>
                    <a:pt x="1752" y="210"/>
                  </a:lnTo>
                  <a:lnTo>
                    <a:pt x="1746" y="216"/>
                  </a:lnTo>
                  <a:lnTo>
                    <a:pt x="1746" y="222"/>
                  </a:lnTo>
                  <a:lnTo>
                    <a:pt x="1734" y="228"/>
                  </a:lnTo>
                  <a:lnTo>
                    <a:pt x="1734" y="234"/>
                  </a:lnTo>
                  <a:lnTo>
                    <a:pt x="1734" y="258"/>
                  </a:lnTo>
                  <a:lnTo>
                    <a:pt x="1740" y="330"/>
                  </a:lnTo>
                  <a:lnTo>
                    <a:pt x="1746" y="372"/>
                  </a:lnTo>
                  <a:lnTo>
                    <a:pt x="1788" y="426"/>
                  </a:lnTo>
                  <a:lnTo>
                    <a:pt x="1806" y="438"/>
                  </a:lnTo>
                  <a:lnTo>
                    <a:pt x="1794" y="480"/>
                  </a:lnTo>
                  <a:lnTo>
                    <a:pt x="1770" y="516"/>
                  </a:lnTo>
                  <a:lnTo>
                    <a:pt x="1746" y="546"/>
                  </a:lnTo>
                  <a:lnTo>
                    <a:pt x="1716" y="570"/>
                  </a:lnTo>
                  <a:lnTo>
                    <a:pt x="1680" y="594"/>
                  </a:lnTo>
                  <a:lnTo>
                    <a:pt x="1668" y="630"/>
                  </a:lnTo>
                  <a:lnTo>
                    <a:pt x="1680" y="684"/>
                  </a:lnTo>
                  <a:lnTo>
                    <a:pt x="1686" y="756"/>
                  </a:lnTo>
                  <a:lnTo>
                    <a:pt x="1662" y="870"/>
                  </a:lnTo>
                  <a:lnTo>
                    <a:pt x="1656" y="888"/>
                  </a:lnTo>
                  <a:lnTo>
                    <a:pt x="1650" y="972"/>
                  </a:lnTo>
                  <a:lnTo>
                    <a:pt x="1656" y="978"/>
                  </a:lnTo>
                  <a:lnTo>
                    <a:pt x="1650" y="984"/>
                  </a:lnTo>
                  <a:lnTo>
                    <a:pt x="1650" y="990"/>
                  </a:lnTo>
                  <a:lnTo>
                    <a:pt x="1650" y="1002"/>
                  </a:lnTo>
                  <a:lnTo>
                    <a:pt x="1656" y="1008"/>
                  </a:lnTo>
                  <a:lnTo>
                    <a:pt x="1656" y="1014"/>
                  </a:lnTo>
                  <a:lnTo>
                    <a:pt x="1662" y="1026"/>
                  </a:lnTo>
                  <a:lnTo>
                    <a:pt x="1650" y="1032"/>
                  </a:lnTo>
                  <a:lnTo>
                    <a:pt x="1638" y="1044"/>
                  </a:lnTo>
                  <a:lnTo>
                    <a:pt x="1626" y="1080"/>
                  </a:lnTo>
                  <a:lnTo>
                    <a:pt x="1614" y="1116"/>
                  </a:lnTo>
                  <a:lnTo>
                    <a:pt x="1614" y="1128"/>
                  </a:lnTo>
                  <a:lnTo>
                    <a:pt x="1626" y="1134"/>
                  </a:lnTo>
                  <a:lnTo>
                    <a:pt x="1644" y="1134"/>
                  </a:lnTo>
                  <a:lnTo>
                    <a:pt x="1662" y="1134"/>
                  </a:lnTo>
                  <a:lnTo>
                    <a:pt x="1680" y="1140"/>
                  </a:lnTo>
                  <a:lnTo>
                    <a:pt x="1698" y="1170"/>
                  </a:lnTo>
                  <a:lnTo>
                    <a:pt x="1704" y="1194"/>
                  </a:lnTo>
                  <a:lnTo>
                    <a:pt x="1692" y="1206"/>
                  </a:lnTo>
                  <a:lnTo>
                    <a:pt x="1662" y="1242"/>
                  </a:lnTo>
                  <a:lnTo>
                    <a:pt x="1632" y="1266"/>
                  </a:lnTo>
                  <a:lnTo>
                    <a:pt x="1620" y="1314"/>
                  </a:lnTo>
                  <a:lnTo>
                    <a:pt x="1584" y="1356"/>
                  </a:lnTo>
                  <a:lnTo>
                    <a:pt x="1578" y="1356"/>
                  </a:lnTo>
                  <a:lnTo>
                    <a:pt x="1578" y="1362"/>
                  </a:lnTo>
                  <a:lnTo>
                    <a:pt x="1572" y="1410"/>
                  </a:lnTo>
                  <a:lnTo>
                    <a:pt x="1584" y="1452"/>
                  </a:lnTo>
                  <a:lnTo>
                    <a:pt x="1608" y="1476"/>
                  </a:lnTo>
                  <a:lnTo>
                    <a:pt x="1596" y="1476"/>
                  </a:lnTo>
                  <a:lnTo>
                    <a:pt x="1584" y="1482"/>
                  </a:lnTo>
                  <a:lnTo>
                    <a:pt x="1560" y="1482"/>
                  </a:lnTo>
                  <a:lnTo>
                    <a:pt x="1536" y="1482"/>
                  </a:lnTo>
                  <a:lnTo>
                    <a:pt x="1524" y="1482"/>
                  </a:lnTo>
                  <a:lnTo>
                    <a:pt x="1506" y="1500"/>
                  </a:lnTo>
                  <a:lnTo>
                    <a:pt x="1482" y="1530"/>
                  </a:lnTo>
                  <a:lnTo>
                    <a:pt x="1452" y="1542"/>
                  </a:lnTo>
                  <a:lnTo>
                    <a:pt x="1446" y="1542"/>
                  </a:lnTo>
                  <a:lnTo>
                    <a:pt x="1440" y="1542"/>
                  </a:lnTo>
                  <a:lnTo>
                    <a:pt x="1440" y="1548"/>
                  </a:lnTo>
                  <a:lnTo>
                    <a:pt x="1434" y="1548"/>
                  </a:lnTo>
                  <a:lnTo>
                    <a:pt x="1428" y="1548"/>
                  </a:lnTo>
                  <a:lnTo>
                    <a:pt x="1428" y="1554"/>
                  </a:lnTo>
                  <a:lnTo>
                    <a:pt x="1422" y="1560"/>
                  </a:lnTo>
                  <a:lnTo>
                    <a:pt x="1416" y="1560"/>
                  </a:lnTo>
                  <a:lnTo>
                    <a:pt x="1410" y="1566"/>
                  </a:lnTo>
                  <a:lnTo>
                    <a:pt x="1410" y="1560"/>
                  </a:lnTo>
                  <a:lnTo>
                    <a:pt x="1404" y="1560"/>
                  </a:lnTo>
                  <a:lnTo>
                    <a:pt x="1392" y="1560"/>
                  </a:lnTo>
                  <a:lnTo>
                    <a:pt x="1386" y="1560"/>
                  </a:lnTo>
                  <a:lnTo>
                    <a:pt x="1380" y="1566"/>
                  </a:lnTo>
                  <a:lnTo>
                    <a:pt x="1374" y="1560"/>
                  </a:lnTo>
                  <a:lnTo>
                    <a:pt x="1368" y="1566"/>
                  </a:lnTo>
                  <a:lnTo>
                    <a:pt x="1362" y="1566"/>
                  </a:lnTo>
                  <a:lnTo>
                    <a:pt x="1362" y="1572"/>
                  </a:lnTo>
                  <a:lnTo>
                    <a:pt x="1356" y="1572"/>
                  </a:lnTo>
                  <a:lnTo>
                    <a:pt x="1356" y="1578"/>
                  </a:lnTo>
                  <a:lnTo>
                    <a:pt x="1350" y="1578"/>
                  </a:lnTo>
                  <a:lnTo>
                    <a:pt x="1350" y="1572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32" y="1584"/>
                  </a:lnTo>
                  <a:lnTo>
                    <a:pt x="1326" y="1590"/>
                  </a:lnTo>
                  <a:lnTo>
                    <a:pt x="1320" y="1584"/>
                  </a:lnTo>
                  <a:lnTo>
                    <a:pt x="1314" y="1590"/>
                  </a:lnTo>
                  <a:lnTo>
                    <a:pt x="1308" y="1596"/>
                  </a:lnTo>
                  <a:lnTo>
                    <a:pt x="1302" y="1596"/>
                  </a:lnTo>
                  <a:lnTo>
                    <a:pt x="1296" y="1596"/>
                  </a:lnTo>
                  <a:lnTo>
                    <a:pt x="1290" y="1596"/>
                  </a:lnTo>
                  <a:lnTo>
                    <a:pt x="1284" y="1596"/>
                  </a:lnTo>
                  <a:lnTo>
                    <a:pt x="1278" y="1602"/>
                  </a:lnTo>
                  <a:lnTo>
                    <a:pt x="1266" y="1602"/>
                  </a:lnTo>
                  <a:lnTo>
                    <a:pt x="1272" y="1608"/>
                  </a:lnTo>
                  <a:lnTo>
                    <a:pt x="1278" y="1608"/>
                  </a:lnTo>
                  <a:lnTo>
                    <a:pt x="1284" y="1608"/>
                  </a:lnTo>
                  <a:lnTo>
                    <a:pt x="1290" y="1614"/>
                  </a:lnTo>
                  <a:lnTo>
                    <a:pt x="1296" y="1620"/>
                  </a:lnTo>
                  <a:lnTo>
                    <a:pt x="1302" y="1626"/>
                  </a:lnTo>
                  <a:lnTo>
                    <a:pt x="1308" y="1632"/>
                  </a:lnTo>
                  <a:lnTo>
                    <a:pt x="1314" y="1638"/>
                  </a:lnTo>
                  <a:lnTo>
                    <a:pt x="1314" y="1644"/>
                  </a:lnTo>
                  <a:lnTo>
                    <a:pt x="1320" y="1644"/>
                  </a:lnTo>
                  <a:lnTo>
                    <a:pt x="1320" y="1650"/>
                  </a:lnTo>
                  <a:lnTo>
                    <a:pt x="1326" y="1656"/>
                  </a:lnTo>
                  <a:lnTo>
                    <a:pt x="1332" y="1668"/>
                  </a:lnTo>
                  <a:lnTo>
                    <a:pt x="1338" y="1680"/>
                  </a:lnTo>
                  <a:lnTo>
                    <a:pt x="1338" y="1698"/>
                  </a:lnTo>
                  <a:lnTo>
                    <a:pt x="1350" y="1710"/>
                  </a:lnTo>
                  <a:lnTo>
                    <a:pt x="1350" y="1716"/>
                  </a:lnTo>
                  <a:lnTo>
                    <a:pt x="1350" y="1722"/>
                  </a:lnTo>
                  <a:lnTo>
                    <a:pt x="1350" y="1728"/>
                  </a:lnTo>
                  <a:lnTo>
                    <a:pt x="1356" y="1728"/>
                  </a:lnTo>
                  <a:lnTo>
                    <a:pt x="1356" y="1734"/>
                  </a:lnTo>
                  <a:lnTo>
                    <a:pt x="1350" y="1734"/>
                  </a:lnTo>
                  <a:lnTo>
                    <a:pt x="1344" y="1740"/>
                  </a:lnTo>
                  <a:lnTo>
                    <a:pt x="1338" y="1740"/>
                  </a:lnTo>
                  <a:lnTo>
                    <a:pt x="1332" y="1746"/>
                  </a:lnTo>
                  <a:lnTo>
                    <a:pt x="1326" y="1746"/>
                  </a:lnTo>
                  <a:lnTo>
                    <a:pt x="1326" y="1752"/>
                  </a:lnTo>
                  <a:lnTo>
                    <a:pt x="1320" y="1752"/>
                  </a:lnTo>
                  <a:lnTo>
                    <a:pt x="1320" y="1758"/>
                  </a:lnTo>
                  <a:lnTo>
                    <a:pt x="1314" y="1758"/>
                  </a:lnTo>
                  <a:lnTo>
                    <a:pt x="1308" y="1758"/>
                  </a:lnTo>
                  <a:lnTo>
                    <a:pt x="1302" y="1758"/>
                  </a:lnTo>
                  <a:lnTo>
                    <a:pt x="1296" y="1758"/>
                  </a:lnTo>
                  <a:lnTo>
                    <a:pt x="1290" y="1764"/>
                  </a:lnTo>
                  <a:lnTo>
                    <a:pt x="1284" y="1770"/>
                  </a:lnTo>
                  <a:lnTo>
                    <a:pt x="1278" y="1770"/>
                  </a:lnTo>
                  <a:lnTo>
                    <a:pt x="1272" y="1770"/>
                  </a:lnTo>
                  <a:lnTo>
                    <a:pt x="1266" y="1770"/>
                  </a:lnTo>
                  <a:lnTo>
                    <a:pt x="1266" y="1776"/>
                  </a:lnTo>
                  <a:lnTo>
                    <a:pt x="1260" y="1776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4" name="Freeform 39">
              <a:extLst>
                <a:ext uri="{FF2B5EF4-FFF2-40B4-BE49-F238E27FC236}">
                  <a16:creationId xmlns:a16="http://schemas.microsoft.com/office/drawing/2014/main" id="{E01CDA8B-32C7-421A-B23E-968CAC7F78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2974" y="1759680"/>
              <a:ext cx="825155" cy="700024"/>
            </a:xfrm>
            <a:custGeom>
              <a:avLst/>
              <a:gdLst>
                <a:gd name="T0" fmla="*/ 60 w 1554"/>
                <a:gd name="T1" fmla="*/ 86 h 1320"/>
                <a:gd name="T2" fmla="*/ 66 w 1554"/>
                <a:gd name="T3" fmla="*/ 80 h 1320"/>
                <a:gd name="T4" fmla="*/ 61 w 1554"/>
                <a:gd name="T5" fmla="*/ 73 h 1320"/>
                <a:gd name="T6" fmla="*/ 57 w 1554"/>
                <a:gd name="T7" fmla="*/ 67 h 1320"/>
                <a:gd name="T8" fmla="*/ 60 w 1554"/>
                <a:gd name="T9" fmla="*/ 59 h 1320"/>
                <a:gd name="T10" fmla="*/ 56 w 1554"/>
                <a:gd name="T11" fmla="*/ 55 h 1320"/>
                <a:gd name="T12" fmla="*/ 45 w 1554"/>
                <a:gd name="T13" fmla="*/ 53 h 1320"/>
                <a:gd name="T14" fmla="*/ 42 w 1554"/>
                <a:gd name="T15" fmla="*/ 41 h 1320"/>
                <a:gd name="T16" fmla="*/ 37 w 1554"/>
                <a:gd name="T17" fmla="*/ 39 h 1320"/>
                <a:gd name="T18" fmla="*/ 31 w 1554"/>
                <a:gd name="T19" fmla="*/ 44 h 1320"/>
                <a:gd name="T20" fmla="*/ 37 w 1554"/>
                <a:gd name="T21" fmla="*/ 35 h 1320"/>
                <a:gd name="T22" fmla="*/ 30 w 1554"/>
                <a:gd name="T23" fmla="*/ 23 h 1320"/>
                <a:gd name="T24" fmla="*/ 21 w 1554"/>
                <a:gd name="T25" fmla="*/ 23 h 1320"/>
                <a:gd name="T26" fmla="*/ 15 w 1554"/>
                <a:gd name="T27" fmla="*/ 27 h 1320"/>
                <a:gd name="T28" fmla="*/ 11 w 1554"/>
                <a:gd name="T29" fmla="*/ 32 h 1320"/>
                <a:gd name="T30" fmla="*/ 6 w 1554"/>
                <a:gd name="T31" fmla="*/ 22 h 1320"/>
                <a:gd name="T32" fmla="*/ 3 w 1554"/>
                <a:gd name="T33" fmla="*/ 11 h 1320"/>
                <a:gd name="T34" fmla="*/ 24 w 1554"/>
                <a:gd name="T35" fmla="*/ 12 h 1320"/>
                <a:gd name="T36" fmla="*/ 33 w 1554"/>
                <a:gd name="T37" fmla="*/ 19 h 1320"/>
                <a:gd name="T38" fmla="*/ 49 w 1554"/>
                <a:gd name="T39" fmla="*/ 12 h 1320"/>
                <a:gd name="T40" fmla="*/ 58 w 1554"/>
                <a:gd name="T41" fmla="*/ 10 h 1320"/>
                <a:gd name="T42" fmla="*/ 68 w 1554"/>
                <a:gd name="T43" fmla="*/ 11 h 1320"/>
                <a:gd name="T44" fmla="*/ 79 w 1554"/>
                <a:gd name="T45" fmla="*/ 12 h 1320"/>
                <a:gd name="T46" fmla="*/ 96 w 1554"/>
                <a:gd name="T47" fmla="*/ 11 h 1320"/>
                <a:gd name="T48" fmla="*/ 107 w 1554"/>
                <a:gd name="T49" fmla="*/ 2 h 1320"/>
                <a:gd name="T50" fmla="*/ 117 w 1554"/>
                <a:gd name="T51" fmla="*/ 8 h 1320"/>
                <a:gd name="T52" fmla="*/ 126 w 1554"/>
                <a:gd name="T53" fmla="*/ 12 h 1320"/>
                <a:gd name="T54" fmla="*/ 134 w 1554"/>
                <a:gd name="T55" fmla="*/ 24 h 1320"/>
                <a:gd name="T56" fmla="*/ 133 w 1554"/>
                <a:gd name="T57" fmla="*/ 29 h 1320"/>
                <a:gd name="T58" fmla="*/ 129 w 1554"/>
                <a:gd name="T59" fmla="*/ 31 h 1320"/>
                <a:gd name="T60" fmla="*/ 125 w 1554"/>
                <a:gd name="T61" fmla="*/ 32 h 1320"/>
                <a:gd name="T62" fmla="*/ 115 w 1554"/>
                <a:gd name="T63" fmla="*/ 34 h 1320"/>
                <a:gd name="T64" fmla="*/ 113 w 1554"/>
                <a:gd name="T65" fmla="*/ 44 h 1320"/>
                <a:gd name="T66" fmla="*/ 111 w 1554"/>
                <a:gd name="T67" fmla="*/ 54 h 1320"/>
                <a:gd name="T68" fmla="*/ 107 w 1554"/>
                <a:gd name="T69" fmla="*/ 56 h 1320"/>
                <a:gd name="T70" fmla="*/ 102 w 1554"/>
                <a:gd name="T71" fmla="*/ 58 h 1320"/>
                <a:gd name="T72" fmla="*/ 99 w 1554"/>
                <a:gd name="T73" fmla="*/ 60 h 1320"/>
                <a:gd name="T74" fmla="*/ 93 w 1554"/>
                <a:gd name="T75" fmla="*/ 62 h 1320"/>
                <a:gd name="T76" fmla="*/ 87 w 1554"/>
                <a:gd name="T77" fmla="*/ 64 h 1320"/>
                <a:gd name="T78" fmla="*/ 84 w 1554"/>
                <a:gd name="T79" fmla="*/ 65 h 1320"/>
                <a:gd name="T80" fmla="*/ 81 w 1554"/>
                <a:gd name="T81" fmla="*/ 69 h 1320"/>
                <a:gd name="T82" fmla="*/ 83 w 1554"/>
                <a:gd name="T83" fmla="*/ 72 h 1320"/>
                <a:gd name="T84" fmla="*/ 92 w 1554"/>
                <a:gd name="T85" fmla="*/ 73 h 1320"/>
                <a:gd name="T86" fmla="*/ 93 w 1554"/>
                <a:gd name="T87" fmla="*/ 87 h 1320"/>
                <a:gd name="T88" fmla="*/ 104 w 1554"/>
                <a:gd name="T89" fmla="*/ 98 h 1320"/>
                <a:gd name="T90" fmla="*/ 108 w 1554"/>
                <a:gd name="T91" fmla="*/ 98 h 1320"/>
                <a:gd name="T92" fmla="*/ 112 w 1554"/>
                <a:gd name="T93" fmla="*/ 100 h 1320"/>
                <a:gd name="T94" fmla="*/ 118 w 1554"/>
                <a:gd name="T95" fmla="*/ 100 h 1320"/>
                <a:gd name="T96" fmla="*/ 122 w 1554"/>
                <a:gd name="T97" fmla="*/ 102 h 1320"/>
                <a:gd name="T98" fmla="*/ 118 w 1554"/>
                <a:gd name="T99" fmla="*/ 105 h 1320"/>
                <a:gd name="T100" fmla="*/ 114 w 1554"/>
                <a:gd name="T101" fmla="*/ 107 h 1320"/>
                <a:gd name="T102" fmla="*/ 113 w 1554"/>
                <a:gd name="T103" fmla="*/ 113 h 1320"/>
                <a:gd name="T104" fmla="*/ 104 w 1554"/>
                <a:gd name="T105" fmla="*/ 113 h 1320"/>
                <a:gd name="T106" fmla="*/ 93 w 1554"/>
                <a:gd name="T107" fmla="*/ 109 h 1320"/>
                <a:gd name="T108" fmla="*/ 96 w 1554"/>
                <a:gd name="T109" fmla="*/ 103 h 1320"/>
                <a:gd name="T110" fmla="*/ 95 w 1554"/>
                <a:gd name="T111" fmla="*/ 97 h 1320"/>
                <a:gd name="T112" fmla="*/ 87 w 1554"/>
                <a:gd name="T113" fmla="*/ 98 h 1320"/>
                <a:gd name="T114" fmla="*/ 81 w 1554"/>
                <a:gd name="T115" fmla="*/ 98 h 1320"/>
                <a:gd name="T116" fmla="*/ 78 w 1554"/>
                <a:gd name="T117" fmla="*/ 93 h 1320"/>
                <a:gd name="T118" fmla="*/ 65 w 1554"/>
                <a:gd name="T119" fmla="*/ 92 h 1320"/>
                <a:gd name="T120" fmla="*/ 59 w 1554"/>
                <a:gd name="T121" fmla="*/ 92 h 13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54"/>
                <a:gd name="T184" fmla="*/ 0 h 1320"/>
                <a:gd name="T185" fmla="*/ 1554 w 1554"/>
                <a:gd name="T186" fmla="*/ 1320 h 132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54" h="1320">
                  <a:moveTo>
                    <a:pt x="684" y="1068"/>
                  </a:moveTo>
                  <a:lnTo>
                    <a:pt x="684" y="1062"/>
                  </a:lnTo>
                  <a:lnTo>
                    <a:pt x="690" y="1056"/>
                  </a:lnTo>
                  <a:lnTo>
                    <a:pt x="690" y="1050"/>
                  </a:lnTo>
                  <a:lnTo>
                    <a:pt x="690" y="1044"/>
                  </a:lnTo>
                  <a:lnTo>
                    <a:pt x="690" y="1038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14"/>
                  </a:lnTo>
                  <a:lnTo>
                    <a:pt x="690" y="1008"/>
                  </a:lnTo>
                  <a:lnTo>
                    <a:pt x="696" y="996"/>
                  </a:lnTo>
                  <a:lnTo>
                    <a:pt x="714" y="996"/>
                  </a:lnTo>
                  <a:lnTo>
                    <a:pt x="714" y="990"/>
                  </a:lnTo>
                  <a:lnTo>
                    <a:pt x="732" y="984"/>
                  </a:lnTo>
                  <a:lnTo>
                    <a:pt x="744" y="978"/>
                  </a:lnTo>
                  <a:lnTo>
                    <a:pt x="762" y="966"/>
                  </a:lnTo>
                  <a:lnTo>
                    <a:pt x="762" y="960"/>
                  </a:lnTo>
                  <a:lnTo>
                    <a:pt x="768" y="954"/>
                  </a:lnTo>
                  <a:lnTo>
                    <a:pt x="774" y="948"/>
                  </a:lnTo>
                  <a:lnTo>
                    <a:pt x="774" y="942"/>
                  </a:lnTo>
                  <a:lnTo>
                    <a:pt x="774" y="924"/>
                  </a:lnTo>
                  <a:lnTo>
                    <a:pt x="768" y="918"/>
                  </a:lnTo>
                  <a:lnTo>
                    <a:pt x="756" y="918"/>
                  </a:lnTo>
                  <a:lnTo>
                    <a:pt x="744" y="918"/>
                  </a:lnTo>
                  <a:lnTo>
                    <a:pt x="732" y="924"/>
                  </a:lnTo>
                  <a:lnTo>
                    <a:pt x="726" y="912"/>
                  </a:lnTo>
                  <a:lnTo>
                    <a:pt x="720" y="912"/>
                  </a:lnTo>
                  <a:lnTo>
                    <a:pt x="720" y="900"/>
                  </a:lnTo>
                  <a:lnTo>
                    <a:pt x="720" y="870"/>
                  </a:lnTo>
                  <a:lnTo>
                    <a:pt x="696" y="876"/>
                  </a:lnTo>
                  <a:lnTo>
                    <a:pt x="690" y="852"/>
                  </a:lnTo>
                  <a:lnTo>
                    <a:pt x="702" y="852"/>
                  </a:lnTo>
                  <a:lnTo>
                    <a:pt x="702" y="840"/>
                  </a:lnTo>
                  <a:lnTo>
                    <a:pt x="708" y="834"/>
                  </a:lnTo>
                  <a:lnTo>
                    <a:pt x="702" y="822"/>
                  </a:lnTo>
                  <a:lnTo>
                    <a:pt x="660" y="822"/>
                  </a:lnTo>
                  <a:lnTo>
                    <a:pt x="654" y="822"/>
                  </a:lnTo>
                  <a:lnTo>
                    <a:pt x="642" y="822"/>
                  </a:lnTo>
                  <a:lnTo>
                    <a:pt x="642" y="810"/>
                  </a:lnTo>
                  <a:lnTo>
                    <a:pt x="642" y="798"/>
                  </a:lnTo>
                  <a:lnTo>
                    <a:pt x="642" y="792"/>
                  </a:lnTo>
                  <a:lnTo>
                    <a:pt x="648" y="780"/>
                  </a:lnTo>
                  <a:lnTo>
                    <a:pt x="654" y="774"/>
                  </a:lnTo>
                  <a:lnTo>
                    <a:pt x="660" y="774"/>
                  </a:lnTo>
                  <a:lnTo>
                    <a:pt x="672" y="762"/>
                  </a:lnTo>
                  <a:lnTo>
                    <a:pt x="672" y="756"/>
                  </a:lnTo>
                  <a:lnTo>
                    <a:pt x="678" y="750"/>
                  </a:lnTo>
                  <a:lnTo>
                    <a:pt x="684" y="750"/>
                  </a:lnTo>
                  <a:lnTo>
                    <a:pt x="690" y="744"/>
                  </a:lnTo>
                  <a:lnTo>
                    <a:pt x="696" y="732"/>
                  </a:lnTo>
                  <a:lnTo>
                    <a:pt x="696" y="726"/>
                  </a:lnTo>
                  <a:lnTo>
                    <a:pt x="702" y="714"/>
                  </a:lnTo>
                  <a:lnTo>
                    <a:pt x="696" y="708"/>
                  </a:lnTo>
                  <a:lnTo>
                    <a:pt x="690" y="690"/>
                  </a:lnTo>
                  <a:lnTo>
                    <a:pt x="696" y="678"/>
                  </a:lnTo>
                  <a:lnTo>
                    <a:pt x="708" y="672"/>
                  </a:lnTo>
                  <a:lnTo>
                    <a:pt x="708" y="660"/>
                  </a:lnTo>
                  <a:lnTo>
                    <a:pt x="702" y="660"/>
                  </a:lnTo>
                  <a:lnTo>
                    <a:pt x="696" y="660"/>
                  </a:lnTo>
                  <a:lnTo>
                    <a:pt x="690" y="654"/>
                  </a:lnTo>
                  <a:lnTo>
                    <a:pt x="684" y="654"/>
                  </a:lnTo>
                  <a:lnTo>
                    <a:pt x="690" y="606"/>
                  </a:lnTo>
                  <a:lnTo>
                    <a:pt x="660" y="606"/>
                  </a:lnTo>
                  <a:lnTo>
                    <a:pt x="660" y="612"/>
                  </a:lnTo>
                  <a:lnTo>
                    <a:pt x="648" y="612"/>
                  </a:lnTo>
                  <a:lnTo>
                    <a:pt x="642" y="636"/>
                  </a:lnTo>
                  <a:lnTo>
                    <a:pt x="636" y="636"/>
                  </a:lnTo>
                  <a:lnTo>
                    <a:pt x="630" y="648"/>
                  </a:lnTo>
                  <a:lnTo>
                    <a:pt x="612" y="648"/>
                  </a:lnTo>
                  <a:lnTo>
                    <a:pt x="606" y="636"/>
                  </a:lnTo>
                  <a:lnTo>
                    <a:pt x="600" y="630"/>
                  </a:lnTo>
                  <a:lnTo>
                    <a:pt x="588" y="606"/>
                  </a:lnTo>
                  <a:lnTo>
                    <a:pt x="552" y="606"/>
                  </a:lnTo>
                  <a:lnTo>
                    <a:pt x="552" y="612"/>
                  </a:lnTo>
                  <a:lnTo>
                    <a:pt x="540" y="612"/>
                  </a:lnTo>
                  <a:lnTo>
                    <a:pt x="540" y="606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16" y="612"/>
                  </a:lnTo>
                  <a:lnTo>
                    <a:pt x="516" y="582"/>
                  </a:lnTo>
                  <a:lnTo>
                    <a:pt x="522" y="576"/>
                  </a:lnTo>
                  <a:lnTo>
                    <a:pt x="528" y="576"/>
                  </a:lnTo>
                  <a:lnTo>
                    <a:pt x="528" y="552"/>
                  </a:lnTo>
                  <a:lnTo>
                    <a:pt x="522" y="540"/>
                  </a:lnTo>
                  <a:lnTo>
                    <a:pt x="510" y="528"/>
                  </a:lnTo>
                  <a:lnTo>
                    <a:pt x="486" y="510"/>
                  </a:lnTo>
                  <a:lnTo>
                    <a:pt x="480" y="498"/>
                  </a:lnTo>
                  <a:lnTo>
                    <a:pt x="480" y="474"/>
                  </a:lnTo>
                  <a:lnTo>
                    <a:pt x="492" y="468"/>
                  </a:lnTo>
                  <a:lnTo>
                    <a:pt x="486" y="450"/>
                  </a:lnTo>
                  <a:lnTo>
                    <a:pt x="474" y="456"/>
                  </a:lnTo>
                  <a:lnTo>
                    <a:pt x="468" y="456"/>
                  </a:lnTo>
                  <a:lnTo>
                    <a:pt x="462" y="456"/>
                  </a:lnTo>
                  <a:lnTo>
                    <a:pt x="456" y="468"/>
                  </a:lnTo>
                  <a:lnTo>
                    <a:pt x="456" y="474"/>
                  </a:lnTo>
                  <a:lnTo>
                    <a:pt x="450" y="480"/>
                  </a:lnTo>
                  <a:lnTo>
                    <a:pt x="444" y="450"/>
                  </a:lnTo>
                  <a:lnTo>
                    <a:pt x="438" y="450"/>
                  </a:lnTo>
                  <a:lnTo>
                    <a:pt x="432" y="450"/>
                  </a:lnTo>
                  <a:lnTo>
                    <a:pt x="420" y="450"/>
                  </a:lnTo>
                  <a:lnTo>
                    <a:pt x="420" y="456"/>
                  </a:lnTo>
                  <a:lnTo>
                    <a:pt x="414" y="456"/>
                  </a:lnTo>
                  <a:lnTo>
                    <a:pt x="408" y="468"/>
                  </a:lnTo>
                  <a:lnTo>
                    <a:pt x="402" y="468"/>
                  </a:lnTo>
                  <a:lnTo>
                    <a:pt x="396" y="474"/>
                  </a:lnTo>
                  <a:lnTo>
                    <a:pt x="390" y="492"/>
                  </a:lnTo>
                  <a:lnTo>
                    <a:pt x="384" y="504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54" y="510"/>
                  </a:lnTo>
                  <a:lnTo>
                    <a:pt x="360" y="480"/>
                  </a:lnTo>
                  <a:lnTo>
                    <a:pt x="360" y="474"/>
                  </a:lnTo>
                  <a:lnTo>
                    <a:pt x="378" y="456"/>
                  </a:lnTo>
                  <a:lnTo>
                    <a:pt x="384" y="450"/>
                  </a:lnTo>
                  <a:lnTo>
                    <a:pt x="396" y="444"/>
                  </a:lnTo>
                  <a:lnTo>
                    <a:pt x="402" y="438"/>
                  </a:lnTo>
                  <a:lnTo>
                    <a:pt x="408" y="438"/>
                  </a:lnTo>
                  <a:lnTo>
                    <a:pt x="408" y="426"/>
                  </a:lnTo>
                  <a:lnTo>
                    <a:pt x="414" y="420"/>
                  </a:lnTo>
                  <a:lnTo>
                    <a:pt x="426" y="420"/>
                  </a:lnTo>
                  <a:lnTo>
                    <a:pt x="426" y="408"/>
                  </a:lnTo>
                  <a:lnTo>
                    <a:pt x="420" y="390"/>
                  </a:lnTo>
                  <a:lnTo>
                    <a:pt x="408" y="384"/>
                  </a:lnTo>
                  <a:lnTo>
                    <a:pt x="378" y="378"/>
                  </a:lnTo>
                  <a:lnTo>
                    <a:pt x="354" y="366"/>
                  </a:lnTo>
                  <a:lnTo>
                    <a:pt x="342" y="360"/>
                  </a:lnTo>
                  <a:lnTo>
                    <a:pt x="342" y="348"/>
                  </a:lnTo>
                  <a:lnTo>
                    <a:pt x="336" y="330"/>
                  </a:lnTo>
                  <a:lnTo>
                    <a:pt x="348" y="306"/>
                  </a:lnTo>
                  <a:lnTo>
                    <a:pt x="360" y="294"/>
                  </a:lnTo>
                  <a:lnTo>
                    <a:pt x="360" y="282"/>
                  </a:lnTo>
                  <a:lnTo>
                    <a:pt x="342" y="270"/>
                  </a:lnTo>
                  <a:lnTo>
                    <a:pt x="342" y="264"/>
                  </a:lnTo>
                  <a:lnTo>
                    <a:pt x="330" y="264"/>
                  </a:lnTo>
                  <a:lnTo>
                    <a:pt x="312" y="270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88" y="270"/>
                  </a:lnTo>
                  <a:lnTo>
                    <a:pt x="282" y="270"/>
                  </a:lnTo>
                  <a:lnTo>
                    <a:pt x="276" y="264"/>
                  </a:lnTo>
                  <a:lnTo>
                    <a:pt x="270" y="264"/>
                  </a:lnTo>
                  <a:lnTo>
                    <a:pt x="252" y="270"/>
                  </a:lnTo>
                  <a:lnTo>
                    <a:pt x="246" y="270"/>
                  </a:lnTo>
                  <a:lnTo>
                    <a:pt x="240" y="270"/>
                  </a:lnTo>
                  <a:lnTo>
                    <a:pt x="228" y="270"/>
                  </a:lnTo>
                  <a:lnTo>
                    <a:pt x="216" y="276"/>
                  </a:lnTo>
                  <a:lnTo>
                    <a:pt x="210" y="270"/>
                  </a:lnTo>
                  <a:lnTo>
                    <a:pt x="204" y="270"/>
                  </a:lnTo>
                  <a:lnTo>
                    <a:pt x="198" y="276"/>
                  </a:lnTo>
                  <a:lnTo>
                    <a:pt x="192" y="276"/>
                  </a:lnTo>
                  <a:lnTo>
                    <a:pt x="186" y="282"/>
                  </a:lnTo>
                  <a:lnTo>
                    <a:pt x="180" y="288"/>
                  </a:lnTo>
                  <a:lnTo>
                    <a:pt x="174" y="300"/>
                  </a:lnTo>
                  <a:lnTo>
                    <a:pt x="168" y="306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8" y="330"/>
                  </a:lnTo>
                  <a:lnTo>
                    <a:pt x="162" y="336"/>
                  </a:lnTo>
                  <a:lnTo>
                    <a:pt x="156" y="342"/>
                  </a:lnTo>
                  <a:lnTo>
                    <a:pt x="156" y="348"/>
                  </a:lnTo>
                  <a:lnTo>
                    <a:pt x="156" y="354"/>
                  </a:lnTo>
                  <a:lnTo>
                    <a:pt x="150" y="366"/>
                  </a:lnTo>
                  <a:lnTo>
                    <a:pt x="150" y="372"/>
                  </a:lnTo>
                  <a:lnTo>
                    <a:pt x="144" y="366"/>
                  </a:lnTo>
                  <a:lnTo>
                    <a:pt x="132" y="366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20" y="348"/>
                  </a:lnTo>
                  <a:lnTo>
                    <a:pt x="102" y="330"/>
                  </a:lnTo>
                  <a:lnTo>
                    <a:pt x="96" y="318"/>
                  </a:lnTo>
                  <a:lnTo>
                    <a:pt x="96" y="282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0" y="258"/>
                  </a:lnTo>
                  <a:lnTo>
                    <a:pt x="84" y="252"/>
                  </a:lnTo>
                  <a:lnTo>
                    <a:pt x="66" y="258"/>
                  </a:lnTo>
                  <a:lnTo>
                    <a:pt x="60" y="246"/>
                  </a:lnTo>
                  <a:lnTo>
                    <a:pt x="30" y="252"/>
                  </a:lnTo>
                  <a:lnTo>
                    <a:pt x="18" y="246"/>
                  </a:lnTo>
                  <a:lnTo>
                    <a:pt x="0" y="240"/>
                  </a:lnTo>
                  <a:lnTo>
                    <a:pt x="0" y="234"/>
                  </a:lnTo>
                  <a:lnTo>
                    <a:pt x="0" y="210"/>
                  </a:lnTo>
                  <a:lnTo>
                    <a:pt x="6" y="204"/>
                  </a:lnTo>
                  <a:lnTo>
                    <a:pt x="18" y="192"/>
                  </a:lnTo>
                  <a:lnTo>
                    <a:pt x="18" y="144"/>
                  </a:lnTo>
                  <a:lnTo>
                    <a:pt x="24" y="126"/>
                  </a:lnTo>
                  <a:lnTo>
                    <a:pt x="36" y="126"/>
                  </a:lnTo>
                  <a:lnTo>
                    <a:pt x="54" y="120"/>
                  </a:lnTo>
                  <a:lnTo>
                    <a:pt x="54" y="126"/>
                  </a:lnTo>
                  <a:lnTo>
                    <a:pt x="132" y="114"/>
                  </a:lnTo>
                  <a:lnTo>
                    <a:pt x="144" y="120"/>
                  </a:lnTo>
                  <a:lnTo>
                    <a:pt x="150" y="132"/>
                  </a:lnTo>
                  <a:lnTo>
                    <a:pt x="180" y="126"/>
                  </a:lnTo>
                  <a:lnTo>
                    <a:pt x="210" y="120"/>
                  </a:lnTo>
                  <a:lnTo>
                    <a:pt x="240" y="120"/>
                  </a:lnTo>
                  <a:lnTo>
                    <a:pt x="258" y="120"/>
                  </a:lnTo>
                  <a:lnTo>
                    <a:pt x="270" y="126"/>
                  </a:lnTo>
                  <a:lnTo>
                    <a:pt x="276" y="132"/>
                  </a:lnTo>
                  <a:lnTo>
                    <a:pt x="282" y="138"/>
                  </a:lnTo>
                  <a:lnTo>
                    <a:pt x="282" y="156"/>
                  </a:lnTo>
                  <a:lnTo>
                    <a:pt x="288" y="186"/>
                  </a:lnTo>
                  <a:lnTo>
                    <a:pt x="312" y="192"/>
                  </a:lnTo>
                  <a:lnTo>
                    <a:pt x="318" y="198"/>
                  </a:lnTo>
                  <a:lnTo>
                    <a:pt x="324" y="204"/>
                  </a:lnTo>
                  <a:lnTo>
                    <a:pt x="330" y="210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66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86" y="210"/>
                  </a:lnTo>
                  <a:lnTo>
                    <a:pt x="498" y="198"/>
                  </a:lnTo>
                  <a:lnTo>
                    <a:pt x="504" y="174"/>
                  </a:lnTo>
                  <a:lnTo>
                    <a:pt x="516" y="162"/>
                  </a:lnTo>
                  <a:lnTo>
                    <a:pt x="516" y="138"/>
                  </a:lnTo>
                  <a:lnTo>
                    <a:pt x="522" y="132"/>
                  </a:lnTo>
                  <a:lnTo>
                    <a:pt x="564" y="132"/>
                  </a:lnTo>
                  <a:lnTo>
                    <a:pt x="564" y="114"/>
                  </a:lnTo>
                  <a:lnTo>
                    <a:pt x="582" y="114"/>
                  </a:lnTo>
                  <a:lnTo>
                    <a:pt x="594" y="114"/>
                  </a:lnTo>
                  <a:lnTo>
                    <a:pt x="606" y="114"/>
                  </a:lnTo>
                  <a:lnTo>
                    <a:pt x="612" y="114"/>
                  </a:lnTo>
                  <a:lnTo>
                    <a:pt x="630" y="114"/>
                  </a:lnTo>
                  <a:lnTo>
                    <a:pt x="636" y="114"/>
                  </a:lnTo>
                  <a:lnTo>
                    <a:pt x="648" y="114"/>
                  </a:lnTo>
                  <a:lnTo>
                    <a:pt x="654" y="114"/>
                  </a:lnTo>
                  <a:lnTo>
                    <a:pt x="660" y="120"/>
                  </a:lnTo>
                  <a:lnTo>
                    <a:pt x="672" y="120"/>
                  </a:lnTo>
                  <a:lnTo>
                    <a:pt x="684" y="120"/>
                  </a:lnTo>
                  <a:lnTo>
                    <a:pt x="690" y="120"/>
                  </a:lnTo>
                  <a:lnTo>
                    <a:pt x="702" y="120"/>
                  </a:lnTo>
                  <a:lnTo>
                    <a:pt x="708" y="120"/>
                  </a:lnTo>
                  <a:lnTo>
                    <a:pt x="726" y="126"/>
                  </a:lnTo>
                  <a:lnTo>
                    <a:pt x="732" y="126"/>
                  </a:lnTo>
                  <a:lnTo>
                    <a:pt x="738" y="126"/>
                  </a:lnTo>
                  <a:lnTo>
                    <a:pt x="750" y="126"/>
                  </a:lnTo>
                  <a:lnTo>
                    <a:pt x="756" y="126"/>
                  </a:lnTo>
                  <a:lnTo>
                    <a:pt x="768" y="126"/>
                  </a:lnTo>
                  <a:lnTo>
                    <a:pt x="780" y="126"/>
                  </a:lnTo>
                  <a:lnTo>
                    <a:pt x="786" y="120"/>
                  </a:lnTo>
                  <a:lnTo>
                    <a:pt x="792" y="120"/>
                  </a:lnTo>
                  <a:lnTo>
                    <a:pt x="810" y="120"/>
                  </a:lnTo>
                  <a:lnTo>
                    <a:pt x="822" y="120"/>
                  </a:lnTo>
                  <a:lnTo>
                    <a:pt x="846" y="126"/>
                  </a:lnTo>
                  <a:lnTo>
                    <a:pt x="858" y="126"/>
                  </a:lnTo>
                  <a:lnTo>
                    <a:pt x="870" y="132"/>
                  </a:lnTo>
                  <a:lnTo>
                    <a:pt x="882" y="132"/>
                  </a:lnTo>
                  <a:lnTo>
                    <a:pt x="894" y="132"/>
                  </a:lnTo>
                  <a:lnTo>
                    <a:pt x="900" y="132"/>
                  </a:lnTo>
                  <a:lnTo>
                    <a:pt x="912" y="132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36" y="132"/>
                  </a:lnTo>
                  <a:lnTo>
                    <a:pt x="960" y="132"/>
                  </a:lnTo>
                  <a:lnTo>
                    <a:pt x="966" y="144"/>
                  </a:lnTo>
                  <a:lnTo>
                    <a:pt x="972" y="144"/>
                  </a:lnTo>
                  <a:lnTo>
                    <a:pt x="1002" y="144"/>
                  </a:lnTo>
                  <a:lnTo>
                    <a:pt x="1020" y="144"/>
                  </a:lnTo>
                  <a:lnTo>
                    <a:pt x="1068" y="138"/>
                  </a:lnTo>
                  <a:lnTo>
                    <a:pt x="1110" y="132"/>
                  </a:lnTo>
                  <a:lnTo>
                    <a:pt x="1110" y="126"/>
                  </a:lnTo>
                  <a:lnTo>
                    <a:pt x="1116" y="120"/>
                  </a:lnTo>
                  <a:lnTo>
                    <a:pt x="1122" y="108"/>
                  </a:lnTo>
                  <a:lnTo>
                    <a:pt x="1134" y="96"/>
                  </a:lnTo>
                  <a:lnTo>
                    <a:pt x="1146" y="60"/>
                  </a:lnTo>
                  <a:lnTo>
                    <a:pt x="1158" y="54"/>
                  </a:lnTo>
                  <a:lnTo>
                    <a:pt x="1170" y="48"/>
                  </a:lnTo>
                  <a:lnTo>
                    <a:pt x="1188" y="42"/>
                  </a:lnTo>
                  <a:lnTo>
                    <a:pt x="1200" y="36"/>
                  </a:lnTo>
                  <a:lnTo>
                    <a:pt x="1212" y="36"/>
                  </a:lnTo>
                  <a:lnTo>
                    <a:pt x="1236" y="30"/>
                  </a:lnTo>
                  <a:lnTo>
                    <a:pt x="1236" y="24"/>
                  </a:lnTo>
                  <a:lnTo>
                    <a:pt x="1278" y="18"/>
                  </a:lnTo>
                  <a:lnTo>
                    <a:pt x="1290" y="18"/>
                  </a:lnTo>
                  <a:lnTo>
                    <a:pt x="1302" y="12"/>
                  </a:lnTo>
                  <a:lnTo>
                    <a:pt x="1314" y="0"/>
                  </a:lnTo>
                  <a:lnTo>
                    <a:pt x="1332" y="0"/>
                  </a:lnTo>
                  <a:lnTo>
                    <a:pt x="1338" y="24"/>
                  </a:lnTo>
                  <a:lnTo>
                    <a:pt x="1344" y="30"/>
                  </a:lnTo>
                  <a:lnTo>
                    <a:pt x="1350" y="42"/>
                  </a:lnTo>
                  <a:lnTo>
                    <a:pt x="1356" y="48"/>
                  </a:lnTo>
                  <a:lnTo>
                    <a:pt x="1356" y="78"/>
                  </a:lnTo>
                  <a:lnTo>
                    <a:pt x="1350" y="96"/>
                  </a:lnTo>
                  <a:lnTo>
                    <a:pt x="1338" y="108"/>
                  </a:lnTo>
                  <a:lnTo>
                    <a:pt x="1338" y="114"/>
                  </a:lnTo>
                  <a:lnTo>
                    <a:pt x="1338" y="120"/>
                  </a:lnTo>
                  <a:lnTo>
                    <a:pt x="1338" y="126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398" y="114"/>
                  </a:lnTo>
                  <a:lnTo>
                    <a:pt x="1416" y="120"/>
                  </a:lnTo>
                  <a:lnTo>
                    <a:pt x="1434" y="126"/>
                  </a:lnTo>
                  <a:lnTo>
                    <a:pt x="1458" y="132"/>
                  </a:lnTo>
                  <a:lnTo>
                    <a:pt x="1458" y="138"/>
                  </a:lnTo>
                  <a:lnTo>
                    <a:pt x="1512" y="138"/>
                  </a:lnTo>
                  <a:lnTo>
                    <a:pt x="1512" y="132"/>
                  </a:lnTo>
                  <a:lnTo>
                    <a:pt x="1524" y="138"/>
                  </a:lnTo>
                  <a:lnTo>
                    <a:pt x="1542" y="138"/>
                  </a:lnTo>
                  <a:lnTo>
                    <a:pt x="1542" y="150"/>
                  </a:lnTo>
                  <a:lnTo>
                    <a:pt x="1542" y="162"/>
                  </a:lnTo>
                  <a:lnTo>
                    <a:pt x="1548" y="174"/>
                  </a:lnTo>
                  <a:lnTo>
                    <a:pt x="1548" y="180"/>
                  </a:lnTo>
                  <a:lnTo>
                    <a:pt x="1554" y="222"/>
                  </a:lnTo>
                  <a:lnTo>
                    <a:pt x="1554" y="258"/>
                  </a:lnTo>
                  <a:lnTo>
                    <a:pt x="1554" y="276"/>
                  </a:lnTo>
                  <a:lnTo>
                    <a:pt x="1554" y="282"/>
                  </a:lnTo>
                  <a:lnTo>
                    <a:pt x="1554" y="294"/>
                  </a:lnTo>
                  <a:lnTo>
                    <a:pt x="1554" y="306"/>
                  </a:lnTo>
                  <a:lnTo>
                    <a:pt x="1554" y="324"/>
                  </a:lnTo>
                  <a:lnTo>
                    <a:pt x="1554" y="330"/>
                  </a:lnTo>
                  <a:lnTo>
                    <a:pt x="1548" y="330"/>
                  </a:lnTo>
                  <a:lnTo>
                    <a:pt x="1548" y="336"/>
                  </a:lnTo>
                  <a:lnTo>
                    <a:pt x="1548" y="342"/>
                  </a:lnTo>
                  <a:lnTo>
                    <a:pt x="1542" y="336"/>
                  </a:lnTo>
                  <a:lnTo>
                    <a:pt x="1542" y="330"/>
                  </a:lnTo>
                  <a:lnTo>
                    <a:pt x="1536" y="330"/>
                  </a:lnTo>
                  <a:lnTo>
                    <a:pt x="1530" y="330"/>
                  </a:lnTo>
                  <a:lnTo>
                    <a:pt x="1530" y="336"/>
                  </a:lnTo>
                  <a:lnTo>
                    <a:pt x="1536" y="342"/>
                  </a:lnTo>
                  <a:lnTo>
                    <a:pt x="1530" y="342"/>
                  </a:lnTo>
                  <a:lnTo>
                    <a:pt x="1518" y="348"/>
                  </a:lnTo>
                  <a:lnTo>
                    <a:pt x="1512" y="354"/>
                  </a:lnTo>
                  <a:lnTo>
                    <a:pt x="1506" y="354"/>
                  </a:lnTo>
                  <a:lnTo>
                    <a:pt x="1500" y="354"/>
                  </a:lnTo>
                  <a:lnTo>
                    <a:pt x="1494" y="354"/>
                  </a:lnTo>
                  <a:lnTo>
                    <a:pt x="1494" y="360"/>
                  </a:lnTo>
                  <a:lnTo>
                    <a:pt x="1488" y="360"/>
                  </a:lnTo>
                  <a:lnTo>
                    <a:pt x="1488" y="366"/>
                  </a:lnTo>
                  <a:lnTo>
                    <a:pt x="1488" y="372"/>
                  </a:lnTo>
                  <a:lnTo>
                    <a:pt x="1482" y="372"/>
                  </a:lnTo>
                  <a:lnTo>
                    <a:pt x="1476" y="372"/>
                  </a:lnTo>
                  <a:lnTo>
                    <a:pt x="1470" y="372"/>
                  </a:lnTo>
                  <a:lnTo>
                    <a:pt x="1470" y="378"/>
                  </a:lnTo>
                  <a:lnTo>
                    <a:pt x="1470" y="384"/>
                  </a:lnTo>
                  <a:lnTo>
                    <a:pt x="1470" y="390"/>
                  </a:lnTo>
                  <a:lnTo>
                    <a:pt x="1464" y="402"/>
                  </a:lnTo>
                  <a:lnTo>
                    <a:pt x="1446" y="402"/>
                  </a:lnTo>
                  <a:lnTo>
                    <a:pt x="1440" y="372"/>
                  </a:lnTo>
                  <a:lnTo>
                    <a:pt x="1410" y="372"/>
                  </a:lnTo>
                  <a:lnTo>
                    <a:pt x="1380" y="372"/>
                  </a:lnTo>
                  <a:lnTo>
                    <a:pt x="1374" y="372"/>
                  </a:lnTo>
                  <a:lnTo>
                    <a:pt x="1368" y="378"/>
                  </a:lnTo>
                  <a:lnTo>
                    <a:pt x="1362" y="378"/>
                  </a:lnTo>
                  <a:lnTo>
                    <a:pt x="1356" y="378"/>
                  </a:lnTo>
                  <a:lnTo>
                    <a:pt x="1350" y="384"/>
                  </a:lnTo>
                  <a:lnTo>
                    <a:pt x="1350" y="390"/>
                  </a:lnTo>
                  <a:lnTo>
                    <a:pt x="1344" y="390"/>
                  </a:lnTo>
                  <a:lnTo>
                    <a:pt x="1338" y="390"/>
                  </a:lnTo>
                  <a:lnTo>
                    <a:pt x="1332" y="390"/>
                  </a:lnTo>
                  <a:lnTo>
                    <a:pt x="1332" y="396"/>
                  </a:lnTo>
                  <a:lnTo>
                    <a:pt x="1332" y="390"/>
                  </a:lnTo>
                  <a:lnTo>
                    <a:pt x="1326" y="402"/>
                  </a:lnTo>
                  <a:lnTo>
                    <a:pt x="1320" y="402"/>
                  </a:lnTo>
                  <a:lnTo>
                    <a:pt x="1302" y="474"/>
                  </a:lnTo>
                  <a:lnTo>
                    <a:pt x="1308" y="480"/>
                  </a:lnTo>
                  <a:lnTo>
                    <a:pt x="1314" y="480"/>
                  </a:lnTo>
                  <a:lnTo>
                    <a:pt x="1308" y="498"/>
                  </a:lnTo>
                  <a:lnTo>
                    <a:pt x="1308" y="504"/>
                  </a:lnTo>
                  <a:lnTo>
                    <a:pt x="1314" y="510"/>
                  </a:lnTo>
                  <a:lnTo>
                    <a:pt x="1308" y="510"/>
                  </a:lnTo>
                  <a:lnTo>
                    <a:pt x="1308" y="516"/>
                  </a:lnTo>
                  <a:lnTo>
                    <a:pt x="1302" y="516"/>
                  </a:lnTo>
                  <a:lnTo>
                    <a:pt x="1296" y="510"/>
                  </a:lnTo>
                  <a:lnTo>
                    <a:pt x="1296" y="516"/>
                  </a:lnTo>
                  <a:lnTo>
                    <a:pt x="1290" y="540"/>
                  </a:lnTo>
                  <a:lnTo>
                    <a:pt x="1290" y="552"/>
                  </a:lnTo>
                  <a:lnTo>
                    <a:pt x="1284" y="558"/>
                  </a:lnTo>
                  <a:lnTo>
                    <a:pt x="1290" y="576"/>
                  </a:lnTo>
                  <a:lnTo>
                    <a:pt x="1290" y="600"/>
                  </a:lnTo>
                  <a:lnTo>
                    <a:pt x="1284" y="618"/>
                  </a:lnTo>
                  <a:lnTo>
                    <a:pt x="1290" y="624"/>
                  </a:lnTo>
                  <a:lnTo>
                    <a:pt x="1284" y="630"/>
                  </a:lnTo>
                  <a:lnTo>
                    <a:pt x="1278" y="630"/>
                  </a:lnTo>
                  <a:lnTo>
                    <a:pt x="1272" y="630"/>
                  </a:lnTo>
                  <a:lnTo>
                    <a:pt x="1266" y="636"/>
                  </a:lnTo>
                  <a:lnTo>
                    <a:pt x="1260" y="642"/>
                  </a:lnTo>
                  <a:lnTo>
                    <a:pt x="1260" y="636"/>
                  </a:lnTo>
                  <a:lnTo>
                    <a:pt x="1254" y="636"/>
                  </a:lnTo>
                  <a:lnTo>
                    <a:pt x="1248" y="636"/>
                  </a:lnTo>
                  <a:lnTo>
                    <a:pt x="1248" y="642"/>
                  </a:lnTo>
                  <a:lnTo>
                    <a:pt x="1242" y="642"/>
                  </a:lnTo>
                  <a:lnTo>
                    <a:pt x="1242" y="648"/>
                  </a:lnTo>
                  <a:lnTo>
                    <a:pt x="1236" y="654"/>
                  </a:lnTo>
                  <a:lnTo>
                    <a:pt x="1230" y="654"/>
                  </a:lnTo>
                  <a:lnTo>
                    <a:pt x="1224" y="654"/>
                  </a:lnTo>
                  <a:lnTo>
                    <a:pt x="1218" y="660"/>
                  </a:lnTo>
                  <a:lnTo>
                    <a:pt x="1212" y="660"/>
                  </a:lnTo>
                  <a:lnTo>
                    <a:pt x="1206" y="660"/>
                  </a:lnTo>
                  <a:lnTo>
                    <a:pt x="1200" y="660"/>
                  </a:lnTo>
                  <a:lnTo>
                    <a:pt x="1200" y="666"/>
                  </a:lnTo>
                  <a:lnTo>
                    <a:pt x="1194" y="666"/>
                  </a:lnTo>
                  <a:lnTo>
                    <a:pt x="1188" y="666"/>
                  </a:lnTo>
                  <a:lnTo>
                    <a:pt x="1182" y="672"/>
                  </a:lnTo>
                  <a:lnTo>
                    <a:pt x="1176" y="672"/>
                  </a:lnTo>
                  <a:lnTo>
                    <a:pt x="1170" y="672"/>
                  </a:lnTo>
                  <a:lnTo>
                    <a:pt x="1164" y="678"/>
                  </a:lnTo>
                  <a:lnTo>
                    <a:pt x="1170" y="678"/>
                  </a:lnTo>
                  <a:lnTo>
                    <a:pt x="1164" y="684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52" y="684"/>
                  </a:lnTo>
                  <a:lnTo>
                    <a:pt x="1152" y="690"/>
                  </a:lnTo>
                  <a:lnTo>
                    <a:pt x="1146" y="690"/>
                  </a:lnTo>
                  <a:lnTo>
                    <a:pt x="1140" y="690"/>
                  </a:lnTo>
                  <a:lnTo>
                    <a:pt x="1134" y="696"/>
                  </a:lnTo>
                  <a:lnTo>
                    <a:pt x="1128" y="696"/>
                  </a:lnTo>
                  <a:lnTo>
                    <a:pt x="1122" y="702"/>
                  </a:lnTo>
                  <a:lnTo>
                    <a:pt x="1116" y="702"/>
                  </a:lnTo>
                  <a:lnTo>
                    <a:pt x="1110" y="708"/>
                  </a:lnTo>
                  <a:lnTo>
                    <a:pt x="1104" y="708"/>
                  </a:lnTo>
                  <a:lnTo>
                    <a:pt x="1098" y="708"/>
                  </a:lnTo>
                  <a:lnTo>
                    <a:pt x="1092" y="708"/>
                  </a:lnTo>
                  <a:lnTo>
                    <a:pt x="1092" y="714"/>
                  </a:lnTo>
                  <a:lnTo>
                    <a:pt x="1086" y="720"/>
                  </a:lnTo>
                  <a:lnTo>
                    <a:pt x="1080" y="720"/>
                  </a:lnTo>
                  <a:lnTo>
                    <a:pt x="1074" y="720"/>
                  </a:lnTo>
                  <a:lnTo>
                    <a:pt x="1068" y="720"/>
                  </a:lnTo>
                  <a:lnTo>
                    <a:pt x="1062" y="720"/>
                  </a:lnTo>
                  <a:lnTo>
                    <a:pt x="1050" y="726"/>
                  </a:lnTo>
                  <a:lnTo>
                    <a:pt x="1044" y="726"/>
                  </a:lnTo>
                  <a:lnTo>
                    <a:pt x="1038" y="732"/>
                  </a:lnTo>
                  <a:lnTo>
                    <a:pt x="1026" y="732"/>
                  </a:lnTo>
                  <a:lnTo>
                    <a:pt x="1020" y="732"/>
                  </a:lnTo>
                  <a:lnTo>
                    <a:pt x="1014" y="738"/>
                  </a:lnTo>
                  <a:lnTo>
                    <a:pt x="1008" y="738"/>
                  </a:lnTo>
                  <a:lnTo>
                    <a:pt x="1002" y="738"/>
                  </a:lnTo>
                  <a:lnTo>
                    <a:pt x="996" y="738"/>
                  </a:lnTo>
                  <a:lnTo>
                    <a:pt x="990" y="738"/>
                  </a:lnTo>
                  <a:lnTo>
                    <a:pt x="990" y="732"/>
                  </a:lnTo>
                  <a:lnTo>
                    <a:pt x="984" y="732"/>
                  </a:lnTo>
                  <a:lnTo>
                    <a:pt x="978" y="738"/>
                  </a:lnTo>
                  <a:lnTo>
                    <a:pt x="978" y="744"/>
                  </a:lnTo>
                  <a:lnTo>
                    <a:pt x="984" y="744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8" y="756"/>
                  </a:lnTo>
                  <a:lnTo>
                    <a:pt x="972" y="756"/>
                  </a:lnTo>
                  <a:lnTo>
                    <a:pt x="972" y="762"/>
                  </a:lnTo>
                  <a:lnTo>
                    <a:pt x="966" y="768"/>
                  </a:lnTo>
                  <a:lnTo>
                    <a:pt x="966" y="762"/>
                  </a:lnTo>
                  <a:lnTo>
                    <a:pt x="960" y="762"/>
                  </a:lnTo>
                  <a:lnTo>
                    <a:pt x="954" y="768"/>
                  </a:lnTo>
                  <a:lnTo>
                    <a:pt x="954" y="774"/>
                  </a:lnTo>
                  <a:lnTo>
                    <a:pt x="948" y="774"/>
                  </a:lnTo>
                  <a:lnTo>
                    <a:pt x="948" y="780"/>
                  </a:lnTo>
                  <a:lnTo>
                    <a:pt x="948" y="786"/>
                  </a:lnTo>
                  <a:lnTo>
                    <a:pt x="942" y="786"/>
                  </a:lnTo>
                  <a:lnTo>
                    <a:pt x="942" y="792"/>
                  </a:lnTo>
                  <a:lnTo>
                    <a:pt x="936" y="792"/>
                  </a:lnTo>
                  <a:lnTo>
                    <a:pt x="942" y="798"/>
                  </a:lnTo>
                  <a:lnTo>
                    <a:pt x="942" y="804"/>
                  </a:lnTo>
                  <a:lnTo>
                    <a:pt x="942" y="810"/>
                  </a:lnTo>
                  <a:lnTo>
                    <a:pt x="948" y="810"/>
                  </a:lnTo>
                  <a:lnTo>
                    <a:pt x="942" y="816"/>
                  </a:lnTo>
                  <a:lnTo>
                    <a:pt x="948" y="816"/>
                  </a:lnTo>
                  <a:lnTo>
                    <a:pt x="948" y="822"/>
                  </a:lnTo>
                  <a:lnTo>
                    <a:pt x="954" y="822"/>
                  </a:lnTo>
                  <a:lnTo>
                    <a:pt x="960" y="828"/>
                  </a:lnTo>
                  <a:lnTo>
                    <a:pt x="960" y="834"/>
                  </a:lnTo>
                  <a:lnTo>
                    <a:pt x="966" y="834"/>
                  </a:lnTo>
                  <a:lnTo>
                    <a:pt x="960" y="840"/>
                  </a:lnTo>
                  <a:lnTo>
                    <a:pt x="966" y="846"/>
                  </a:lnTo>
                  <a:lnTo>
                    <a:pt x="966" y="840"/>
                  </a:lnTo>
                  <a:lnTo>
                    <a:pt x="972" y="840"/>
                  </a:lnTo>
                  <a:lnTo>
                    <a:pt x="990" y="840"/>
                  </a:lnTo>
                  <a:lnTo>
                    <a:pt x="1002" y="834"/>
                  </a:lnTo>
                  <a:lnTo>
                    <a:pt x="1020" y="828"/>
                  </a:lnTo>
                  <a:lnTo>
                    <a:pt x="1032" y="828"/>
                  </a:lnTo>
                  <a:lnTo>
                    <a:pt x="1050" y="828"/>
                  </a:lnTo>
                  <a:lnTo>
                    <a:pt x="1062" y="846"/>
                  </a:lnTo>
                  <a:lnTo>
                    <a:pt x="1074" y="876"/>
                  </a:lnTo>
                  <a:lnTo>
                    <a:pt x="1068" y="900"/>
                  </a:lnTo>
                  <a:lnTo>
                    <a:pt x="1074" y="912"/>
                  </a:lnTo>
                  <a:lnTo>
                    <a:pt x="1074" y="936"/>
                  </a:lnTo>
                  <a:lnTo>
                    <a:pt x="1068" y="942"/>
                  </a:lnTo>
                  <a:lnTo>
                    <a:pt x="1062" y="954"/>
                  </a:lnTo>
                  <a:lnTo>
                    <a:pt x="1056" y="978"/>
                  </a:lnTo>
                  <a:lnTo>
                    <a:pt x="1056" y="996"/>
                  </a:lnTo>
                  <a:lnTo>
                    <a:pt x="1068" y="990"/>
                  </a:lnTo>
                  <a:lnTo>
                    <a:pt x="1074" y="990"/>
                  </a:lnTo>
                  <a:lnTo>
                    <a:pt x="1074" y="1008"/>
                  </a:lnTo>
                  <a:lnTo>
                    <a:pt x="1080" y="1008"/>
                  </a:lnTo>
                  <a:lnTo>
                    <a:pt x="1092" y="1014"/>
                  </a:lnTo>
                  <a:lnTo>
                    <a:pt x="1110" y="1044"/>
                  </a:lnTo>
                  <a:lnTo>
                    <a:pt x="1110" y="1062"/>
                  </a:lnTo>
                  <a:lnTo>
                    <a:pt x="1128" y="1068"/>
                  </a:lnTo>
                  <a:lnTo>
                    <a:pt x="1128" y="1092"/>
                  </a:lnTo>
                  <a:lnTo>
                    <a:pt x="1134" y="1098"/>
                  </a:lnTo>
                  <a:lnTo>
                    <a:pt x="1158" y="1122"/>
                  </a:lnTo>
                  <a:lnTo>
                    <a:pt x="1188" y="1122"/>
                  </a:lnTo>
                  <a:lnTo>
                    <a:pt x="1188" y="1128"/>
                  </a:lnTo>
                  <a:lnTo>
                    <a:pt x="1200" y="1134"/>
                  </a:lnTo>
                  <a:lnTo>
                    <a:pt x="1206" y="1134"/>
                  </a:lnTo>
                  <a:lnTo>
                    <a:pt x="1206" y="1128"/>
                  </a:lnTo>
                  <a:lnTo>
                    <a:pt x="1212" y="1128"/>
                  </a:lnTo>
                  <a:lnTo>
                    <a:pt x="1218" y="1128"/>
                  </a:lnTo>
                  <a:lnTo>
                    <a:pt x="1224" y="1122"/>
                  </a:lnTo>
                  <a:lnTo>
                    <a:pt x="1224" y="1128"/>
                  </a:lnTo>
                  <a:lnTo>
                    <a:pt x="1230" y="1128"/>
                  </a:lnTo>
                  <a:lnTo>
                    <a:pt x="1236" y="1128"/>
                  </a:lnTo>
                  <a:lnTo>
                    <a:pt x="1236" y="1122"/>
                  </a:lnTo>
                  <a:lnTo>
                    <a:pt x="1242" y="1122"/>
                  </a:lnTo>
                  <a:lnTo>
                    <a:pt x="1248" y="1128"/>
                  </a:lnTo>
                  <a:lnTo>
                    <a:pt x="1254" y="1128"/>
                  </a:lnTo>
                  <a:lnTo>
                    <a:pt x="1260" y="1134"/>
                  </a:lnTo>
                  <a:lnTo>
                    <a:pt x="1260" y="1140"/>
                  </a:lnTo>
                  <a:lnTo>
                    <a:pt x="1266" y="1140"/>
                  </a:lnTo>
                  <a:lnTo>
                    <a:pt x="1272" y="1140"/>
                  </a:lnTo>
                  <a:lnTo>
                    <a:pt x="1278" y="1140"/>
                  </a:lnTo>
                  <a:lnTo>
                    <a:pt x="1284" y="1140"/>
                  </a:lnTo>
                  <a:lnTo>
                    <a:pt x="1290" y="1146"/>
                  </a:lnTo>
                  <a:lnTo>
                    <a:pt x="1290" y="1152"/>
                  </a:lnTo>
                  <a:lnTo>
                    <a:pt x="1296" y="1146"/>
                  </a:lnTo>
                  <a:lnTo>
                    <a:pt x="1296" y="1152"/>
                  </a:lnTo>
                  <a:lnTo>
                    <a:pt x="1308" y="1152"/>
                  </a:lnTo>
                  <a:lnTo>
                    <a:pt x="1314" y="1152"/>
                  </a:lnTo>
                  <a:lnTo>
                    <a:pt x="1320" y="1152"/>
                  </a:lnTo>
                  <a:lnTo>
                    <a:pt x="1332" y="1152"/>
                  </a:lnTo>
                  <a:lnTo>
                    <a:pt x="1338" y="1152"/>
                  </a:lnTo>
                  <a:lnTo>
                    <a:pt x="1344" y="1152"/>
                  </a:lnTo>
                  <a:lnTo>
                    <a:pt x="1344" y="1158"/>
                  </a:lnTo>
                  <a:lnTo>
                    <a:pt x="1350" y="1158"/>
                  </a:lnTo>
                  <a:lnTo>
                    <a:pt x="1356" y="1158"/>
                  </a:lnTo>
                  <a:lnTo>
                    <a:pt x="1362" y="1158"/>
                  </a:lnTo>
                  <a:lnTo>
                    <a:pt x="1368" y="1158"/>
                  </a:lnTo>
                  <a:lnTo>
                    <a:pt x="1374" y="1164"/>
                  </a:lnTo>
                  <a:lnTo>
                    <a:pt x="1380" y="1164"/>
                  </a:lnTo>
                  <a:lnTo>
                    <a:pt x="1386" y="1170"/>
                  </a:lnTo>
                  <a:lnTo>
                    <a:pt x="1392" y="1170"/>
                  </a:lnTo>
                  <a:lnTo>
                    <a:pt x="1398" y="1164"/>
                  </a:lnTo>
                  <a:lnTo>
                    <a:pt x="1404" y="1164"/>
                  </a:lnTo>
                  <a:lnTo>
                    <a:pt x="1410" y="1164"/>
                  </a:lnTo>
                  <a:lnTo>
                    <a:pt x="1416" y="1164"/>
                  </a:lnTo>
                  <a:lnTo>
                    <a:pt x="1416" y="1170"/>
                  </a:lnTo>
                  <a:lnTo>
                    <a:pt x="1422" y="1176"/>
                  </a:lnTo>
                  <a:lnTo>
                    <a:pt x="1416" y="1176"/>
                  </a:lnTo>
                  <a:lnTo>
                    <a:pt x="1416" y="1182"/>
                  </a:lnTo>
                  <a:lnTo>
                    <a:pt x="1410" y="1188"/>
                  </a:lnTo>
                  <a:lnTo>
                    <a:pt x="1404" y="1194"/>
                  </a:lnTo>
                  <a:lnTo>
                    <a:pt x="1404" y="1200"/>
                  </a:lnTo>
                  <a:lnTo>
                    <a:pt x="1404" y="1206"/>
                  </a:lnTo>
                  <a:lnTo>
                    <a:pt x="1398" y="1212"/>
                  </a:lnTo>
                  <a:lnTo>
                    <a:pt x="1398" y="1206"/>
                  </a:lnTo>
                  <a:lnTo>
                    <a:pt x="1392" y="1206"/>
                  </a:lnTo>
                  <a:lnTo>
                    <a:pt x="1386" y="1206"/>
                  </a:lnTo>
                  <a:lnTo>
                    <a:pt x="1380" y="1212"/>
                  </a:lnTo>
                  <a:lnTo>
                    <a:pt x="1374" y="1212"/>
                  </a:lnTo>
                  <a:lnTo>
                    <a:pt x="1368" y="1218"/>
                  </a:lnTo>
                  <a:lnTo>
                    <a:pt x="1362" y="1218"/>
                  </a:lnTo>
                  <a:lnTo>
                    <a:pt x="1362" y="1224"/>
                  </a:lnTo>
                  <a:lnTo>
                    <a:pt x="1356" y="1230"/>
                  </a:lnTo>
                  <a:lnTo>
                    <a:pt x="1350" y="1230"/>
                  </a:lnTo>
                  <a:lnTo>
                    <a:pt x="1344" y="1236"/>
                  </a:lnTo>
                  <a:lnTo>
                    <a:pt x="1338" y="1230"/>
                  </a:lnTo>
                  <a:lnTo>
                    <a:pt x="1332" y="1230"/>
                  </a:lnTo>
                  <a:lnTo>
                    <a:pt x="1326" y="1230"/>
                  </a:lnTo>
                  <a:lnTo>
                    <a:pt x="1320" y="1230"/>
                  </a:lnTo>
                  <a:lnTo>
                    <a:pt x="1314" y="1230"/>
                  </a:lnTo>
                  <a:lnTo>
                    <a:pt x="1296" y="1242"/>
                  </a:lnTo>
                  <a:lnTo>
                    <a:pt x="1296" y="1248"/>
                  </a:lnTo>
                  <a:lnTo>
                    <a:pt x="1290" y="1248"/>
                  </a:lnTo>
                  <a:lnTo>
                    <a:pt x="1290" y="1260"/>
                  </a:lnTo>
                  <a:lnTo>
                    <a:pt x="1278" y="1272"/>
                  </a:lnTo>
                  <a:lnTo>
                    <a:pt x="1278" y="1278"/>
                  </a:lnTo>
                  <a:lnTo>
                    <a:pt x="1278" y="1284"/>
                  </a:lnTo>
                  <a:lnTo>
                    <a:pt x="1278" y="1290"/>
                  </a:lnTo>
                  <a:lnTo>
                    <a:pt x="1284" y="1296"/>
                  </a:lnTo>
                  <a:lnTo>
                    <a:pt x="1302" y="1302"/>
                  </a:lnTo>
                  <a:lnTo>
                    <a:pt x="1308" y="1308"/>
                  </a:lnTo>
                  <a:lnTo>
                    <a:pt x="1308" y="1314"/>
                  </a:lnTo>
                  <a:lnTo>
                    <a:pt x="1302" y="1320"/>
                  </a:lnTo>
                  <a:lnTo>
                    <a:pt x="1278" y="1314"/>
                  </a:lnTo>
                  <a:lnTo>
                    <a:pt x="1266" y="1308"/>
                  </a:lnTo>
                  <a:lnTo>
                    <a:pt x="1260" y="1296"/>
                  </a:lnTo>
                  <a:lnTo>
                    <a:pt x="1236" y="1296"/>
                  </a:lnTo>
                  <a:lnTo>
                    <a:pt x="1224" y="1308"/>
                  </a:lnTo>
                  <a:lnTo>
                    <a:pt x="1218" y="1308"/>
                  </a:lnTo>
                  <a:lnTo>
                    <a:pt x="1218" y="1302"/>
                  </a:lnTo>
                  <a:lnTo>
                    <a:pt x="1212" y="1302"/>
                  </a:lnTo>
                  <a:lnTo>
                    <a:pt x="1206" y="1302"/>
                  </a:lnTo>
                  <a:lnTo>
                    <a:pt x="1170" y="1314"/>
                  </a:lnTo>
                  <a:lnTo>
                    <a:pt x="1134" y="1296"/>
                  </a:lnTo>
                  <a:lnTo>
                    <a:pt x="1122" y="1290"/>
                  </a:lnTo>
                  <a:lnTo>
                    <a:pt x="1104" y="1290"/>
                  </a:lnTo>
                  <a:lnTo>
                    <a:pt x="1098" y="1278"/>
                  </a:lnTo>
                  <a:lnTo>
                    <a:pt x="1092" y="1242"/>
                  </a:lnTo>
                  <a:lnTo>
                    <a:pt x="1086" y="1242"/>
                  </a:lnTo>
                  <a:lnTo>
                    <a:pt x="1086" y="1248"/>
                  </a:lnTo>
                  <a:lnTo>
                    <a:pt x="1086" y="1254"/>
                  </a:lnTo>
                  <a:lnTo>
                    <a:pt x="1080" y="1254"/>
                  </a:lnTo>
                  <a:lnTo>
                    <a:pt x="1080" y="1260"/>
                  </a:lnTo>
                  <a:lnTo>
                    <a:pt x="1074" y="1260"/>
                  </a:lnTo>
                  <a:lnTo>
                    <a:pt x="1068" y="1236"/>
                  </a:lnTo>
                  <a:lnTo>
                    <a:pt x="1068" y="1206"/>
                  </a:lnTo>
                  <a:lnTo>
                    <a:pt x="1080" y="1194"/>
                  </a:lnTo>
                  <a:lnTo>
                    <a:pt x="1086" y="1194"/>
                  </a:lnTo>
                  <a:lnTo>
                    <a:pt x="1092" y="1200"/>
                  </a:lnTo>
                  <a:lnTo>
                    <a:pt x="1098" y="1206"/>
                  </a:lnTo>
                  <a:lnTo>
                    <a:pt x="1104" y="1200"/>
                  </a:lnTo>
                  <a:lnTo>
                    <a:pt x="1104" y="1194"/>
                  </a:lnTo>
                  <a:lnTo>
                    <a:pt x="1110" y="1194"/>
                  </a:lnTo>
                  <a:lnTo>
                    <a:pt x="1110" y="1188"/>
                  </a:lnTo>
                  <a:lnTo>
                    <a:pt x="1116" y="1182"/>
                  </a:lnTo>
                  <a:lnTo>
                    <a:pt x="1110" y="1182"/>
                  </a:lnTo>
                  <a:lnTo>
                    <a:pt x="1110" y="1170"/>
                  </a:lnTo>
                  <a:lnTo>
                    <a:pt x="1110" y="1158"/>
                  </a:lnTo>
                  <a:lnTo>
                    <a:pt x="1110" y="1152"/>
                  </a:lnTo>
                  <a:lnTo>
                    <a:pt x="1104" y="1146"/>
                  </a:lnTo>
                  <a:lnTo>
                    <a:pt x="1098" y="1140"/>
                  </a:lnTo>
                  <a:lnTo>
                    <a:pt x="1098" y="1134"/>
                  </a:lnTo>
                  <a:lnTo>
                    <a:pt x="1098" y="1128"/>
                  </a:lnTo>
                  <a:lnTo>
                    <a:pt x="1092" y="1128"/>
                  </a:lnTo>
                  <a:lnTo>
                    <a:pt x="1092" y="1122"/>
                  </a:lnTo>
                  <a:lnTo>
                    <a:pt x="1092" y="1116"/>
                  </a:lnTo>
                  <a:lnTo>
                    <a:pt x="1092" y="1110"/>
                  </a:lnTo>
                  <a:lnTo>
                    <a:pt x="1056" y="1122"/>
                  </a:lnTo>
                  <a:lnTo>
                    <a:pt x="1038" y="1128"/>
                  </a:lnTo>
                  <a:lnTo>
                    <a:pt x="1032" y="1128"/>
                  </a:lnTo>
                  <a:lnTo>
                    <a:pt x="1026" y="1128"/>
                  </a:lnTo>
                  <a:lnTo>
                    <a:pt x="1020" y="1128"/>
                  </a:lnTo>
                  <a:lnTo>
                    <a:pt x="1014" y="1128"/>
                  </a:lnTo>
                  <a:lnTo>
                    <a:pt x="1014" y="1122"/>
                  </a:lnTo>
                  <a:lnTo>
                    <a:pt x="1008" y="1122"/>
                  </a:lnTo>
                  <a:lnTo>
                    <a:pt x="1002" y="1128"/>
                  </a:lnTo>
                  <a:lnTo>
                    <a:pt x="1002" y="1134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84" y="1140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66" y="1140"/>
                  </a:lnTo>
                  <a:lnTo>
                    <a:pt x="954" y="1140"/>
                  </a:lnTo>
                  <a:lnTo>
                    <a:pt x="954" y="1134"/>
                  </a:lnTo>
                  <a:lnTo>
                    <a:pt x="948" y="1134"/>
                  </a:lnTo>
                  <a:lnTo>
                    <a:pt x="942" y="1134"/>
                  </a:lnTo>
                  <a:lnTo>
                    <a:pt x="936" y="1134"/>
                  </a:lnTo>
                  <a:lnTo>
                    <a:pt x="930" y="1134"/>
                  </a:lnTo>
                  <a:lnTo>
                    <a:pt x="924" y="1134"/>
                  </a:lnTo>
                  <a:lnTo>
                    <a:pt x="918" y="1134"/>
                  </a:lnTo>
                  <a:lnTo>
                    <a:pt x="918" y="1128"/>
                  </a:lnTo>
                  <a:lnTo>
                    <a:pt x="918" y="1104"/>
                  </a:lnTo>
                  <a:lnTo>
                    <a:pt x="906" y="1104"/>
                  </a:lnTo>
                  <a:lnTo>
                    <a:pt x="900" y="1098"/>
                  </a:lnTo>
                  <a:lnTo>
                    <a:pt x="900" y="1092"/>
                  </a:lnTo>
                  <a:lnTo>
                    <a:pt x="900" y="1086"/>
                  </a:lnTo>
                  <a:lnTo>
                    <a:pt x="900" y="1080"/>
                  </a:lnTo>
                  <a:lnTo>
                    <a:pt x="894" y="1080"/>
                  </a:lnTo>
                  <a:lnTo>
                    <a:pt x="858" y="1074"/>
                  </a:lnTo>
                  <a:lnTo>
                    <a:pt x="852" y="1080"/>
                  </a:lnTo>
                  <a:lnTo>
                    <a:pt x="846" y="1086"/>
                  </a:lnTo>
                  <a:lnTo>
                    <a:pt x="840" y="1086"/>
                  </a:lnTo>
                  <a:lnTo>
                    <a:pt x="840" y="1092"/>
                  </a:lnTo>
                  <a:lnTo>
                    <a:pt x="834" y="1092"/>
                  </a:lnTo>
                  <a:lnTo>
                    <a:pt x="828" y="1098"/>
                  </a:lnTo>
                  <a:lnTo>
                    <a:pt x="822" y="1098"/>
                  </a:lnTo>
                  <a:lnTo>
                    <a:pt x="762" y="1074"/>
                  </a:lnTo>
                  <a:lnTo>
                    <a:pt x="756" y="1068"/>
                  </a:lnTo>
                  <a:lnTo>
                    <a:pt x="750" y="1068"/>
                  </a:lnTo>
                  <a:lnTo>
                    <a:pt x="744" y="1062"/>
                  </a:lnTo>
                  <a:lnTo>
                    <a:pt x="744" y="1068"/>
                  </a:lnTo>
                  <a:lnTo>
                    <a:pt x="744" y="1074"/>
                  </a:lnTo>
                  <a:lnTo>
                    <a:pt x="738" y="1074"/>
                  </a:lnTo>
                  <a:lnTo>
                    <a:pt x="738" y="1068"/>
                  </a:lnTo>
                  <a:lnTo>
                    <a:pt x="732" y="1068"/>
                  </a:lnTo>
                  <a:lnTo>
                    <a:pt x="726" y="1068"/>
                  </a:lnTo>
                  <a:lnTo>
                    <a:pt x="726" y="1074"/>
                  </a:lnTo>
                  <a:lnTo>
                    <a:pt x="720" y="1074"/>
                  </a:lnTo>
                  <a:lnTo>
                    <a:pt x="684" y="106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5" name="Freeform 40">
              <a:extLst>
                <a:ext uri="{FF2B5EF4-FFF2-40B4-BE49-F238E27FC236}">
                  <a16:creationId xmlns:a16="http://schemas.microsoft.com/office/drawing/2014/main" id="{37EC2F22-BDB9-4162-8FA4-08493F6898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3558" y="1520374"/>
              <a:ext cx="1057717" cy="1252440"/>
            </a:xfrm>
            <a:custGeom>
              <a:avLst/>
              <a:gdLst>
                <a:gd name="T0" fmla="*/ 98 w 1992"/>
                <a:gd name="T1" fmla="*/ 162 h 2358"/>
                <a:gd name="T2" fmla="*/ 93 w 1992"/>
                <a:gd name="T3" fmla="*/ 172 h 2358"/>
                <a:gd name="T4" fmla="*/ 82 w 1992"/>
                <a:gd name="T5" fmla="*/ 179 h 2358"/>
                <a:gd name="T6" fmla="*/ 70 w 1992"/>
                <a:gd name="T7" fmla="*/ 174 h 2358"/>
                <a:gd name="T8" fmla="*/ 62 w 1992"/>
                <a:gd name="T9" fmla="*/ 182 h 2358"/>
                <a:gd name="T10" fmla="*/ 45 w 1992"/>
                <a:gd name="T11" fmla="*/ 189 h 2358"/>
                <a:gd name="T12" fmla="*/ 24 w 1992"/>
                <a:gd name="T13" fmla="*/ 205 h 2358"/>
                <a:gd name="T14" fmla="*/ 17 w 1992"/>
                <a:gd name="T15" fmla="*/ 204 h 2358"/>
                <a:gd name="T16" fmla="*/ 7 w 1992"/>
                <a:gd name="T17" fmla="*/ 197 h 2358"/>
                <a:gd name="T18" fmla="*/ 1 w 1992"/>
                <a:gd name="T19" fmla="*/ 191 h 2358"/>
                <a:gd name="T20" fmla="*/ 4 w 1992"/>
                <a:gd name="T21" fmla="*/ 175 h 2358"/>
                <a:gd name="T22" fmla="*/ 7 w 1992"/>
                <a:gd name="T23" fmla="*/ 172 h 2358"/>
                <a:gd name="T24" fmla="*/ 11 w 1992"/>
                <a:gd name="T25" fmla="*/ 168 h 2358"/>
                <a:gd name="T26" fmla="*/ 5 w 1992"/>
                <a:gd name="T27" fmla="*/ 159 h 2358"/>
                <a:gd name="T28" fmla="*/ 10 w 1992"/>
                <a:gd name="T29" fmla="*/ 156 h 2358"/>
                <a:gd name="T30" fmla="*/ 15 w 1992"/>
                <a:gd name="T31" fmla="*/ 155 h 2358"/>
                <a:gd name="T32" fmla="*/ 24 w 1992"/>
                <a:gd name="T33" fmla="*/ 149 h 2358"/>
                <a:gd name="T34" fmla="*/ 38 w 1992"/>
                <a:gd name="T35" fmla="*/ 127 h 2358"/>
                <a:gd name="T36" fmla="*/ 38 w 1992"/>
                <a:gd name="T37" fmla="*/ 107 h 2358"/>
                <a:gd name="T38" fmla="*/ 45 w 1992"/>
                <a:gd name="T39" fmla="*/ 66 h 2358"/>
                <a:gd name="T40" fmla="*/ 47 w 1992"/>
                <a:gd name="T41" fmla="*/ 36 h 2358"/>
                <a:gd name="T42" fmla="*/ 51 w 1992"/>
                <a:gd name="T43" fmla="*/ 35 h 2358"/>
                <a:gd name="T44" fmla="*/ 55 w 1992"/>
                <a:gd name="T45" fmla="*/ 30 h 2358"/>
                <a:gd name="T46" fmla="*/ 56 w 1992"/>
                <a:gd name="T47" fmla="*/ 27 h 2358"/>
                <a:gd name="T48" fmla="*/ 60 w 1992"/>
                <a:gd name="T49" fmla="*/ 23 h 2358"/>
                <a:gd name="T50" fmla="*/ 63 w 1992"/>
                <a:gd name="T51" fmla="*/ 23 h 2358"/>
                <a:gd name="T52" fmla="*/ 70 w 1992"/>
                <a:gd name="T53" fmla="*/ 18 h 2358"/>
                <a:gd name="T54" fmla="*/ 71 w 1992"/>
                <a:gd name="T55" fmla="*/ 15 h 2358"/>
                <a:gd name="T56" fmla="*/ 72 w 1992"/>
                <a:gd name="T57" fmla="*/ 13 h 2358"/>
                <a:gd name="T58" fmla="*/ 77 w 1992"/>
                <a:gd name="T59" fmla="*/ 12 h 2358"/>
                <a:gd name="T60" fmla="*/ 83 w 1992"/>
                <a:gd name="T61" fmla="*/ 10 h 2358"/>
                <a:gd name="T62" fmla="*/ 87 w 1992"/>
                <a:gd name="T63" fmla="*/ 10 h 2358"/>
                <a:gd name="T64" fmla="*/ 89 w 1992"/>
                <a:gd name="T65" fmla="*/ 10 h 2358"/>
                <a:gd name="T66" fmla="*/ 93 w 1992"/>
                <a:gd name="T67" fmla="*/ 8 h 2358"/>
                <a:gd name="T68" fmla="*/ 95 w 1992"/>
                <a:gd name="T69" fmla="*/ 4 h 2358"/>
                <a:gd name="T70" fmla="*/ 99 w 1992"/>
                <a:gd name="T71" fmla="*/ 0 h 2358"/>
                <a:gd name="T72" fmla="*/ 111 w 1992"/>
                <a:gd name="T73" fmla="*/ 0 h 2358"/>
                <a:gd name="T74" fmla="*/ 121 w 1992"/>
                <a:gd name="T75" fmla="*/ 9 h 2358"/>
                <a:gd name="T76" fmla="*/ 128 w 1992"/>
                <a:gd name="T77" fmla="*/ 19 h 2358"/>
                <a:gd name="T78" fmla="*/ 138 w 1992"/>
                <a:gd name="T79" fmla="*/ 33 h 2358"/>
                <a:gd name="T80" fmla="*/ 142 w 1992"/>
                <a:gd name="T81" fmla="*/ 47 h 2358"/>
                <a:gd name="T82" fmla="*/ 145 w 1992"/>
                <a:gd name="T83" fmla="*/ 62 h 2358"/>
                <a:gd name="T84" fmla="*/ 145 w 1992"/>
                <a:gd name="T85" fmla="*/ 70 h 2358"/>
                <a:gd name="T86" fmla="*/ 147 w 1992"/>
                <a:gd name="T87" fmla="*/ 75 h 2358"/>
                <a:gd name="T88" fmla="*/ 153 w 1992"/>
                <a:gd name="T89" fmla="*/ 75 h 2358"/>
                <a:gd name="T90" fmla="*/ 160 w 1992"/>
                <a:gd name="T91" fmla="*/ 76 h 2358"/>
                <a:gd name="T92" fmla="*/ 164 w 1992"/>
                <a:gd name="T93" fmla="*/ 79 h 2358"/>
                <a:gd name="T94" fmla="*/ 168 w 1992"/>
                <a:gd name="T95" fmla="*/ 83 h 2358"/>
                <a:gd name="T96" fmla="*/ 172 w 1992"/>
                <a:gd name="T97" fmla="*/ 86 h 2358"/>
                <a:gd name="T98" fmla="*/ 170 w 1992"/>
                <a:gd name="T99" fmla="*/ 93 h 2358"/>
                <a:gd name="T100" fmla="*/ 170 w 1992"/>
                <a:gd name="T101" fmla="*/ 99 h 2358"/>
                <a:gd name="T102" fmla="*/ 169 w 1992"/>
                <a:gd name="T103" fmla="*/ 106 h 2358"/>
                <a:gd name="T104" fmla="*/ 166 w 1992"/>
                <a:gd name="T105" fmla="*/ 113 h 2358"/>
                <a:gd name="T106" fmla="*/ 170 w 1992"/>
                <a:gd name="T107" fmla="*/ 122 h 2358"/>
                <a:gd name="T108" fmla="*/ 159 w 1992"/>
                <a:gd name="T109" fmla="*/ 128 h 2358"/>
                <a:gd name="T110" fmla="*/ 148 w 1992"/>
                <a:gd name="T111" fmla="*/ 134 h 2358"/>
                <a:gd name="T112" fmla="*/ 139 w 1992"/>
                <a:gd name="T113" fmla="*/ 136 h 2358"/>
                <a:gd name="T114" fmla="*/ 132 w 1992"/>
                <a:gd name="T115" fmla="*/ 138 h 2358"/>
                <a:gd name="T116" fmla="*/ 128 w 1992"/>
                <a:gd name="T117" fmla="*/ 145 h 2358"/>
                <a:gd name="T118" fmla="*/ 124 w 1992"/>
                <a:gd name="T119" fmla="*/ 150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92"/>
                <a:gd name="T181" fmla="*/ 0 h 2358"/>
                <a:gd name="T182" fmla="*/ 1992 w 1992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92" h="2358">
                  <a:moveTo>
                    <a:pt x="1356" y="1782"/>
                  </a:moveTo>
                  <a:lnTo>
                    <a:pt x="1350" y="1788"/>
                  </a:lnTo>
                  <a:lnTo>
                    <a:pt x="1266" y="1788"/>
                  </a:lnTo>
                  <a:lnTo>
                    <a:pt x="1260" y="1800"/>
                  </a:lnTo>
                  <a:lnTo>
                    <a:pt x="1242" y="1806"/>
                  </a:lnTo>
                  <a:lnTo>
                    <a:pt x="1218" y="1812"/>
                  </a:lnTo>
                  <a:lnTo>
                    <a:pt x="1182" y="1812"/>
                  </a:lnTo>
                  <a:lnTo>
                    <a:pt x="1158" y="1806"/>
                  </a:lnTo>
                  <a:lnTo>
                    <a:pt x="1134" y="1800"/>
                  </a:lnTo>
                  <a:lnTo>
                    <a:pt x="1134" y="1806"/>
                  </a:lnTo>
                  <a:lnTo>
                    <a:pt x="1134" y="1830"/>
                  </a:lnTo>
                  <a:lnTo>
                    <a:pt x="1128" y="1842"/>
                  </a:lnTo>
                  <a:lnTo>
                    <a:pt x="1128" y="1854"/>
                  </a:lnTo>
                  <a:lnTo>
                    <a:pt x="1128" y="1860"/>
                  </a:lnTo>
                  <a:lnTo>
                    <a:pt x="1128" y="1866"/>
                  </a:lnTo>
                  <a:lnTo>
                    <a:pt x="1128" y="1872"/>
                  </a:lnTo>
                  <a:lnTo>
                    <a:pt x="1128" y="1884"/>
                  </a:lnTo>
                  <a:lnTo>
                    <a:pt x="1128" y="1890"/>
                  </a:lnTo>
                  <a:lnTo>
                    <a:pt x="1128" y="1896"/>
                  </a:lnTo>
                  <a:lnTo>
                    <a:pt x="1122" y="1902"/>
                  </a:lnTo>
                  <a:lnTo>
                    <a:pt x="1122" y="1920"/>
                  </a:lnTo>
                  <a:lnTo>
                    <a:pt x="1116" y="1920"/>
                  </a:lnTo>
                  <a:lnTo>
                    <a:pt x="1110" y="1926"/>
                  </a:lnTo>
                  <a:lnTo>
                    <a:pt x="1110" y="1932"/>
                  </a:lnTo>
                  <a:lnTo>
                    <a:pt x="1104" y="1938"/>
                  </a:lnTo>
                  <a:lnTo>
                    <a:pt x="1086" y="1962"/>
                  </a:lnTo>
                  <a:lnTo>
                    <a:pt x="1074" y="1974"/>
                  </a:lnTo>
                  <a:lnTo>
                    <a:pt x="1074" y="1980"/>
                  </a:lnTo>
                  <a:lnTo>
                    <a:pt x="1068" y="1986"/>
                  </a:lnTo>
                  <a:lnTo>
                    <a:pt x="1062" y="1998"/>
                  </a:lnTo>
                  <a:lnTo>
                    <a:pt x="1062" y="2004"/>
                  </a:lnTo>
                  <a:lnTo>
                    <a:pt x="1068" y="2004"/>
                  </a:lnTo>
                  <a:lnTo>
                    <a:pt x="1056" y="2034"/>
                  </a:lnTo>
                  <a:lnTo>
                    <a:pt x="1050" y="2076"/>
                  </a:lnTo>
                  <a:lnTo>
                    <a:pt x="1056" y="2100"/>
                  </a:lnTo>
                  <a:lnTo>
                    <a:pt x="1038" y="2106"/>
                  </a:lnTo>
                  <a:lnTo>
                    <a:pt x="1002" y="2106"/>
                  </a:lnTo>
                  <a:lnTo>
                    <a:pt x="978" y="2094"/>
                  </a:lnTo>
                  <a:lnTo>
                    <a:pt x="972" y="2082"/>
                  </a:lnTo>
                  <a:lnTo>
                    <a:pt x="966" y="2070"/>
                  </a:lnTo>
                  <a:lnTo>
                    <a:pt x="954" y="2064"/>
                  </a:lnTo>
                  <a:lnTo>
                    <a:pt x="942" y="2058"/>
                  </a:lnTo>
                  <a:lnTo>
                    <a:pt x="936" y="2058"/>
                  </a:lnTo>
                  <a:lnTo>
                    <a:pt x="918" y="2046"/>
                  </a:lnTo>
                  <a:lnTo>
                    <a:pt x="906" y="2028"/>
                  </a:lnTo>
                  <a:lnTo>
                    <a:pt x="900" y="2022"/>
                  </a:lnTo>
                  <a:lnTo>
                    <a:pt x="894" y="2022"/>
                  </a:lnTo>
                  <a:lnTo>
                    <a:pt x="882" y="2022"/>
                  </a:lnTo>
                  <a:lnTo>
                    <a:pt x="870" y="2016"/>
                  </a:lnTo>
                  <a:lnTo>
                    <a:pt x="864" y="2016"/>
                  </a:lnTo>
                  <a:lnTo>
                    <a:pt x="852" y="2010"/>
                  </a:lnTo>
                  <a:lnTo>
                    <a:pt x="846" y="2004"/>
                  </a:lnTo>
                  <a:lnTo>
                    <a:pt x="840" y="2004"/>
                  </a:lnTo>
                  <a:lnTo>
                    <a:pt x="828" y="1998"/>
                  </a:lnTo>
                  <a:lnTo>
                    <a:pt x="816" y="1998"/>
                  </a:lnTo>
                  <a:lnTo>
                    <a:pt x="810" y="1998"/>
                  </a:lnTo>
                  <a:lnTo>
                    <a:pt x="804" y="1998"/>
                  </a:lnTo>
                  <a:lnTo>
                    <a:pt x="798" y="1998"/>
                  </a:lnTo>
                  <a:lnTo>
                    <a:pt x="792" y="2004"/>
                  </a:lnTo>
                  <a:lnTo>
                    <a:pt x="786" y="2010"/>
                  </a:lnTo>
                  <a:lnTo>
                    <a:pt x="762" y="2010"/>
                  </a:lnTo>
                  <a:lnTo>
                    <a:pt x="756" y="2010"/>
                  </a:lnTo>
                  <a:lnTo>
                    <a:pt x="744" y="2022"/>
                  </a:lnTo>
                  <a:lnTo>
                    <a:pt x="738" y="2034"/>
                  </a:lnTo>
                  <a:lnTo>
                    <a:pt x="732" y="2040"/>
                  </a:lnTo>
                  <a:lnTo>
                    <a:pt x="732" y="2046"/>
                  </a:lnTo>
                  <a:lnTo>
                    <a:pt x="726" y="2058"/>
                  </a:lnTo>
                  <a:lnTo>
                    <a:pt x="720" y="2064"/>
                  </a:lnTo>
                  <a:lnTo>
                    <a:pt x="714" y="2070"/>
                  </a:lnTo>
                  <a:lnTo>
                    <a:pt x="708" y="2088"/>
                  </a:lnTo>
                  <a:lnTo>
                    <a:pt x="702" y="2100"/>
                  </a:lnTo>
                  <a:lnTo>
                    <a:pt x="690" y="2100"/>
                  </a:lnTo>
                  <a:lnTo>
                    <a:pt x="684" y="2094"/>
                  </a:lnTo>
                  <a:lnTo>
                    <a:pt x="666" y="2100"/>
                  </a:lnTo>
                  <a:lnTo>
                    <a:pt x="636" y="2106"/>
                  </a:lnTo>
                  <a:lnTo>
                    <a:pt x="636" y="2112"/>
                  </a:lnTo>
                  <a:lnTo>
                    <a:pt x="636" y="2118"/>
                  </a:lnTo>
                  <a:lnTo>
                    <a:pt x="636" y="2124"/>
                  </a:lnTo>
                  <a:lnTo>
                    <a:pt x="630" y="2124"/>
                  </a:lnTo>
                  <a:lnTo>
                    <a:pt x="630" y="2148"/>
                  </a:lnTo>
                  <a:lnTo>
                    <a:pt x="612" y="2160"/>
                  </a:lnTo>
                  <a:lnTo>
                    <a:pt x="576" y="2172"/>
                  </a:lnTo>
                  <a:lnTo>
                    <a:pt x="546" y="2172"/>
                  </a:lnTo>
                  <a:lnTo>
                    <a:pt x="516" y="2172"/>
                  </a:lnTo>
                  <a:lnTo>
                    <a:pt x="486" y="2172"/>
                  </a:lnTo>
                  <a:lnTo>
                    <a:pt x="462" y="2172"/>
                  </a:lnTo>
                  <a:lnTo>
                    <a:pt x="444" y="2196"/>
                  </a:lnTo>
                  <a:lnTo>
                    <a:pt x="432" y="2232"/>
                  </a:lnTo>
                  <a:lnTo>
                    <a:pt x="408" y="2238"/>
                  </a:lnTo>
                  <a:lnTo>
                    <a:pt x="390" y="2256"/>
                  </a:lnTo>
                  <a:lnTo>
                    <a:pt x="372" y="2274"/>
                  </a:lnTo>
                  <a:lnTo>
                    <a:pt x="360" y="2274"/>
                  </a:lnTo>
                  <a:lnTo>
                    <a:pt x="336" y="2328"/>
                  </a:lnTo>
                  <a:lnTo>
                    <a:pt x="324" y="2340"/>
                  </a:lnTo>
                  <a:lnTo>
                    <a:pt x="300" y="2346"/>
                  </a:lnTo>
                  <a:lnTo>
                    <a:pt x="294" y="2352"/>
                  </a:lnTo>
                  <a:lnTo>
                    <a:pt x="288" y="2352"/>
                  </a:lnTo>
                  <a:lnTo>
                    <a:pt x="282" y="2352"/>
                  </a:lnTo>
                  <a:lnTo>
                    <a:pt x="276" y="2352"/>
                  </a:lnTo>
                  <a:lnTo>
                    <a:pt x="270" y="2352"/>
                  </a:lnTo>
                  <a:lnTo>
                    <a:pt x="270" y="2346"/>
                  </a:lnTo>
                  <a:lnTo>
                    <a:pt x="264" y="2346"/>
                  </a:lnTo>
                  <a:lnTo>
                    <a:pt x="258" y="2352"/>
                  </a:lnTo>
                  <a:lnTo>
                    <a:pt x="252" y="2352"/>
                  </a:lnTo>
                  <a:lnTo>
                    <a:pt x="240" y="2352"/>
                  </a:lnTo>
                  <a:lnTo>
                    <a:pt x="228" y="2352"/>
                  </a:lnTo>
                  <a:lnTo>
                    <a:pt x="222" y="2352"/>
                  </a:lnTo>
                  <a:lnTo>
                    <a:pt x="216" y="2358"/>
                  </a:lnTo>
                  <a:lnTo>
                    <a:pt x="216" y="2352"/>
                  </a:lnTo>
                  <a:lnTo>
                    <a:pt x="210" y="2346"/>
                  </a:lnTo>
                  <a:lnTo>
                    <a:pt x="204" y="2346"/>
                  </a:lnTo>
                  <a:lnTo>
                    <a:pt x="198" y="2340"/>
                  </a:lnTo>
                  <a:lnTo>
                    <a:pt x="192" y="2340"/>
                  </a:lnTo>
                  <a:lnTo>
                    <a:pt x="186" y="2340"/>
                  </a:lnTo>
                  <a:lnTo>
                    <a:pt x="180" y="2340"/>
                  </a:lnTo>
                  <a:lnTo>
                    <a:pt x="174" y="2340"/>
                  </a:lnTo>
                  <a:lnTo>
                    <a:pt x="162" y="2328"/>
                  </a:lnTo>
                  <a:lnTo>
                    <a:pt x="156" y="2322"/>
                  </a:lnTo>
                  <a:lnTo>
                    <a:pt x="156" y="2316"/>
                  </a:lnTo>
                  <a:lnTo>
                    <a:pt x="156" y="2310"/>
                  </a:lnTo>
                  <a:lnTo>
                    <a:pt x="132" y="2286"/>
                  </a:lnTo>
                  <a:lnTo>
                    <a:pt x="120" y="2280"/>
                  </a:lnTo>
                  <a:lnTo>
                    <a:pt x="96" y="2274"/>
                  </a:lnTo>
                  <a:lnTo>
                    <a:pt x="84" y="2268"/>
                  </a:lnTo>
                  <a:lnTo>
                    <a:pt x="78" y="2268"/>
                  </a:lnTo>
                  <a:lnTo>
                    <a:pt x="78" y="2262"/>
                  </a:lnTo>
                  <a:lnTo>
                    <a:pt x="78" y="2256"/>
                  </a:lnTo>
                  <a:lnTo>
                    <a:pt x="78" y="2250"/>
                  </a:lnTo>
                  <a:lnTo>
                    <a:pt x="72" y="2250"/>
                  </a:lnTo>
                  <a:lnTo>
                    <a:pt x="66" y="2250"/>
                  </a:lnTo>
                  <a:lnTo>
                    <a:pt x="60" y="2250"/>
                  </a:lnTo>
                  <a:lnTo>
                    <a:pt x="48" y="2244"/>
                  </a:lnTo>
                  <a:lnTo>
                    <a:pt x="36" y="2238"/>
                  </a:lnTo>
                  <a:lnTo>
                    <a:pt x="36" y="2226"/>
                  </a:lnTo>
                  <a:lnTo>
                    <a:pt x="30" y="2226"/>
                  </a:lnTo>
                  <a:lnTo>
                    <a:pt x="30" y="2220"/>
                  </a:lnTo>
                  <a:lnTo>
                    <a:pt x="24" y="2208"/>
                  </a:lnTo>
                  <a:lnTo>
                    <a:pt x="18" y="2202"/>
                  </a:lnTo>
                  <a:lnTo>
                    <a:pt x="18" y="2196"/>
                  </a:lnTo>
                  <a:lnTo>
                    <a:pt x="12" y="2190"/>
                  </a:lnTo>
                  <a:lnTo>
                    <a:pt x="0" y="2190"/>
                  </a:lnTo>
                  <a:lnTo>
                    <a:pt x="6" y="2184"/>
                  </a:lnTo>
                  <a:lnTo>
                    <a:pt x="12" y="2178"/>
                  </a:lnTo>
                  <a:lnTo>
                    <a:pt x="18" y="2172"/>
                  </a:lnTo>
                  <a:lnTo>
                    <a:pt x="24" y="2166"/>
                  </a:lnTo>
                  <a:lnTo>
                    <a:pt x="30" y="2166"/>
                  </a:lnTo>
                  <a:lnTo>
                    <a:pt x="24" y="2160"/>
                  </a:lnTo>
                  <a:lnTo>
                    <a:pt x="30" y="2160"/>
                  </a:lnTo>
                  <a:lnTo>
                    <a:pt x="36" y="2154"/>
                  </a:lnTo>
                  <a:lnTo>
                    <a:pt x="36" y="2136"/>
                  </a:lnTo>
                  <a:lnTo>
                    <a:pt x="36" y="2118"/>
                  </a:lnTo>
                  <a:lnTo>
                    <a:pt x="48" y="2058"/>
                  </a:lnTo>
                  <a:lnTo>
                    <a:pt x="48" y="2022"/>
                  </a:lnTo>
                  <a:lnTo>
                    <a:pt x="48" y="2016"/>
                  </a:lnTo>
                  <a:lnTo>
                    <a:pt x="48" y="2010"/>
                  </a:lnTo>
                  <a:lnTo>
                    <a:pt x="48" y="2004"/>
                  </a:lnTo>
                  <a:lnTo>
                    <a:pt x="42" y="2004"/>
                  </a:lnTo>
                  <a:lnTo>
                    <a:pt x="42" y="1998"/>
                  </a:lnTo>
                  <a:lnTo>
                    <a:pt x="36" y="1992"/>
                  </a:lnTo>
                  <a:lnTo>
                    <a:pt x="42" y="1992"/>
                  </a:lnTo>
                  <a:lnTo>
                    <a:pt x="42" y="1986"/>
                  </a:lnTo>
                  <a:lnTo>
                    <a:pt x="48" y="1986"/>
                  </a:lnTo>
                  <a:lnTo>
                    <a:pt x="54" y="1986"/>
                  </a:lnTo>
                  <a:lnTo>
                    <a:pt x="60" y="1986"/>
                  </a:lnTo>
                  <a:lnTo>
                    <a:pt x="66" y="1980"/>
                  </a:lnTo>
                  <a:lnTo>
                    <a:pt x="72" y="1974"/>
                  </a:lnTo>
                  <a:lnTo>
                    <a:pt x="78" y="1974"/>
                  </a:lnTo>
                  <a:lnTo>
                    <a:pt x="84" y="1974"/>
                  </a:lnTo>
                  <a:lnTo>
                    <a:pt x="90" y="1974"/>
                  </a:lnTo>
                  <a:lnTo>
                    <a:pt x="96" y="1974"/>
                  </a:lnTo>
                  <a:lnTo>
                    <a:pt x="96" y="1968"/>
                  </a:lnTo>
                  <a:lnTo>
                    <a:pt x="102" y="1968"/>
                  </a:lnTo>
                  <a:lnTo>
                    <a:pt x="102" y="1962"/>
                  </a:lnTo>
                  <a:lnTo>
                    <a:pt x="108" y="1962"/>
                  </a:lnTo>
                  <a:lnTo>
                    <a:pt x="114" y="1956"/>
                  </a:lnTo>
                  <a:lnTo>
                    <a:pt x="120" y="1956"/>
                  </a:lnTo>
                  <a:lnTo>
                    <a:pt x="126" y="1950"/>
                  </a:lnTo>
                  <a:lnTo>
                    <a:pt x="132" y="1950"/>
                  </a:lnTo>
                  <a:lnTo>
                    <a:pt x="132" y="1944"/>
                  </a:lnTo>
                  <a:lnTo>
                    <a:pt x="126" y="1944"/>
                  </a:lnTo>
                  <a:lnTo>
                    <a:pt x="126" y="1938"/>
                  </a:lnTo>
                  <a:lnTo>
                    <a:pt x="126" y="1932"/>
                  </a:lnTo>
                  <a:lnTo>
                    <a:pt x="126" y="1926"/>
                  </a:lnTo>
                  <a:lnTo>
                    <a:pt x="114" y="1914"/>
                  </a:lnTo>
                  <a:lnTo>
                    <a:pt x="114" y="1896"/>
                  </a:lnTo>
                  <a:lnTo>
                    <a:pt x="108" y="1884"/>
                  </a:lnTo>
                  <a:lnTo>
                    <a:pt x="102" y="1872"/>
                  </a:lnTo>
                  <a:lnTo>
                    <a:pt x="96" y="1866"/>
                  </a:lnTo>
                  <a:lnTo>
                    <a:pt x="96" y="1860"/>
                  </a:lnTo>
                  <a:lnTo>
                    <a:pt x="90" y="1860"/>
                  </a:lnTo>
                  <a:lnTo>
                    <a:pt x="90" y="1854"/>
                  </a:lnTo>
                  <a:lnTo>
                    <a:pt x="84" y="1848"/>
                  </a:lnTo>
                  <a:lnTo>
                    <a:pt x="78" y="1842"/>
                  </a:lnTo>
                  <a:lnTo>
                    <a:pt x="72" y="1836"/>
                  </a:lnTo>
                  <a:lnTo>
                    <a:pt x="66" y="1830"/>
                  </a:lnTo>
                  <a:lnTo>
                    <a:pt x="60" y="1824"/>
                  </a:lnTo>
                  <a:lnTo>
                    <a:pt x="54" y="1824"/>
                  </a:lnTo>
                  <a:lnTo>
                    <a:pt x="48" y="1824"/>
                  </a:lnTo>
                  <a:lnTo>
                    <a:pt x="42" y="1818"/>
                  </a:lnTo>
                  <a:lnTo>
                    <a:pt x="54" y="1818"/>
                  </a:lnTo>
                  <a:lnTo>
                    <a:pt x="60" y="1812"/>
                  </a:lnTo>
                  <a:lnTo>
                    <a:pt x="66" y="1812"/>
                  </a:lnTo>
                  <a:lnTo>
                    <a:pt x="72" y="1812"/>
                  </a:lnTo>
                  <a:lnTo>
                    <a:pt x="78" y="1812"/>
                  </a:lnTo>
                  <a:lnTo>
                    <a:pt x="84" y="1812"/>
                  </a:lnTo>
                  <a:lnTo>
                    <a:pt x="90" y="1806"/>
                  </a:lnTo>
                  <a:lnTo>
                    <a:pt x="96" y="1800"/>
                  </a:lnTo>
                  <a:lnTo>
                    <a:pt x="102" y="1806"/>
                  </a:lnTo>
                  <a:lnTo>
                    <a:pt x="108" y="1800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26" y="1788"/>
                  </a:lnTo>
                  <a:lnTo>
                    <a:pt x="126" y="1794"/>
                  </a:lnTo>
                  <a:lnTo>
                    <a:pt x="132" y="1794"/>
                  </a:lnTo>
                  <a:lnTo>
                    <a:pt x="132" y="1788"/>
                  </a:lnTo>
                  <a:lnTo>
                    <a:pt x="138" y="1788"/>
                  </a:lnTo>
                  <a:lnTo>
                    <a:pt x="138" y="1782"/>
                  </a:lnTo>
                  <a:lnTo>
                    <a:pt x="144" y="1782"/>
                  </a:lnTo>
                  <a:lnTo>
                    <a:pt x="150" y="1776"/>
                  </a:lnTo>
                  <a:lnTo>
                    <a:pt x="156" y="1782"/>
                  </a:lnTo>
                  <a:lnTo>
                    <a:pt x="162" y="1776"/>
                  </a:lnTo>
                  <a:lnTo>
                    <a:pt x="168" y="1776"/>
                  </a:lnTo>
                  <a:lnTo>
                    <a:pt x="180" y="1776"/>
                  </a:lnTo>
                  <a:lnTo>
                    <a:pt x="186" y="1776"/>
                  </a:lnTo>
                  <a:lnTo>
                    <a:pt x="186" y="1782"/>
                  </a:lnTo>
                  <a:lnTo>
                    <a:pt x="192" y="1776"/>
                  </a:lnTo>
                  <a:lnTo>
                    <a:pt x="198" y="1776"/>
                  </a:lnTo>
                  <a:lnTo>
                    <a:pt x="204" y="1770"/>
                  </a:lnTo>
                  <a:lnTo>
                    <a:pt x="204" y="1764"/>
                  </a:lnTo>
                  <a:lnTo>
                    <a:pt x="210" y="1764"/>
                  </a:lnTo>
                  <a:lnTo>
                    <a:pt x="216" y="1764"/>
                  </a:lnTo>
                  <a:lnTo>
                    <a:pt x="216" y="1758"/>
                  </a:lnTo>
                  <a:lnTo>
                    <a:pt x="222" y="1758"/>
                  </a:lnTo>
                  <a:lnTo>
                    <a:pt x="228" y="1758"/>
                  </a:lnTo>
                  <a:lnTo>
                    <a:pt x="258" y="1746"/>
                  </a:lnTo>
                  <a:lnTo>
                    <a:pt x="282" y="1716"/>
                  </a:lnTo>
                  <a:lnTo>
                    <a:pt x="300" y="1698"/>
                  </a:lnTo>
                  <a:lnTo>
                    <a:pt x="312" y="1698"/>
                  </a:lnTo>
                  <a:lnTo>
                    <a:pt x="336" y="1698"/>
                  </a:lnTo>
                  <a:lnTo>
                    <a:pt x="360" y="1698"/>
                  </a:lnTo>
                  <a:lnTo>
                    <a:pt x="372" y="1692"/>
                  </a:lnTo>
                  <a:lnTo>
                    <a:pt x="384" y="1692"/>
                  </a:lnTo>
                  <a:lnTo>
                    <a:pt x="360" y="1668"/>
                  </a:lnTo>
                  <a:lnTo>
                    <a:pt x="348" y="1626"/>
                  </a:lnTo>
                  <a:lnTo>
                    <a:pt x="354" y="1578"/>
                  </a:lnTo>
                  <a:lnTo>
                    <a:pt x="354" y="1572"/>
                  </a:lnTo>
                  <a:lnTo>
                    <a:pt x="360" y="1572"/>
                  </a:lnTo>
                  <a:lnTo>
                    <a:pt x="396" y="1530"/>
                  </a:lnTo>
                  <a:lnTo>
                    <a:pt x="408" y="1482"/>
                  </a:lnTo>
                  <a:lnTo>
                    <a:pt x="438" y="1458"/>
                  </a:lnTo>
                  <a:lnTo>
                    <a:pt x="468" y="1422"/>
                  </a:lnTo>
                  <a:lnTo>
                    <a:pt x="480" y="1410"/>
                  </a:lnTo>
                  <a:lnTo>
                    <a:pt x="474" y="1386"/>
                  </a:lnTo>
                  <a:lnTo>
                    <a:pt x="456" y="1356"/>
                  </a:lnTo>
                  <a:lnTo>
                    <a:pt x="438" y="1350"/>
                  </a:lnTo>
                  <a:lnTo>
                    <a:pt x="420" y="1350"/>
                  </a:lnTo>
                  <a:lnTo>
                    <a:pt x="402" y="1350"/>
                  </a:lnTo>
                  <a:lnTo>
                    <a:pt x="390" y="1344"/>
                  </a:lnTo>
                  <a:lnTo>
                    <a:pt x="390" y="1332"/>
                  </a:lnTo>
                  <a:lnTo>
                    <a:pt x="402" y="1296"/>
                  </a:lnTo>
                  <a:lnTo>
                    <a:pt x="414" y="1260"/>
                  </a:lnTo>
                  <a:lnTo>
                    <a:pt x="426" y="1248"/>
                  </a:lnTo>
                  <a:lnTo>
                    <a:pt x="438" y="1242"/>
                  </a:lnTo>
                  <a:lnTo>
                    <a:pt x="432" y="1230"/>
                  </a:lnTo>
                  <a:lnTo>
                    <a:pt x="432" y="1224"/>
                  </a:lnTo>
                  <a:lnTo>
                    <a:pt x="426" y="1218"/>
                  </a:lnTo>
                  <a:lnTo>
                    <a:pt x="426" y="1206"/>
                  </a:lnTo>
                  <a:lnTo>
                    <a:pt x="426" y="1200"/>
                  </a:lnTo>
                  <a:lnTo>
                    <a:pt x="432" y="1194"/>
                  </a:lnTo>
                  <a:lnTo>
                    <a:pt x="426" y="1188"/>
                  </a:lnTo>
                  <a:lnTo>
                    <a:pt x="432" y="1104"/>
                  </a:lnTo>
                  <a:lnTo>
                    <a:pt x="438" y="1086"/>
                  </a:lnTo>
                  <a:lnTo>
                    <a:pt x="462" y="972"/>
                  </a:lnTo>
                  <a:lnTo>
                    <a:pt x="456" y="900"/>
                  </a:lnTo>
                  <a:lnTo>
                    <a:pt x="444" y="846"/>
                  </a:lnTo>
                  <a:lnTo>
                    <a:pt x="456" y="810"/>
                  </a:lnTo>
                  <a:lnTo>
                    <a:pt x="492" y="786"/>
                  </a:lnTo>
                  <a:lnTo>
                    <a:pt x="522" y="762"/>
                  </a:lnTo>
                  <a:lnTo>
                    <a:pt x="546" y="732"/>
                  </a:lnTo>
                  <a:lnTo>
                    <a:pt x="570" y="696"/>
                  </a:lnTo>
                  <a:lnTo>
                    <a:pt x="582" y="654"/>
                  </a:lnTo>
                  <a:lnTo>
                    <a:pt x="564" y="642"/>
                  </a:lnTo>
                  <a:lnTo>
                    <a:pt x="522" y="588"/>
                  </a:lnTo>
                  <a:lnTo>
                    <a:pt x="516" y="546"/>
                  </a:lnTo>
                  <a:lnTo>
                    <a:pt x="510" y="474"/>
                  </a:lnTo>
                  <a:lnTo>
                    <a:pt x="510" y="450"/>
                  </a:lnTo>
                  <a:lnTo>
                    <a:pt x="510" y="444"/>
                  </a:lnTo>
                  <a:lnTo>
                    <a:pt x="522" y="438"/>
                  </a:lnTo>
                  <a:lnTo>
                    <a:pt x="522" y="432"/>
                  </a:lnTo>
                  <a:lnTo>
                    <a:pt x="528" y="426"/>
                  </a:lnTo>
                  <a:lnTo>
                    <a:pt x="534" y="420"/>
                  </a:lnTo>
                  <a:lnTo>
                    <a:pt x="540" y="414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08"/>
                  </a:lnTo>
                  <a:lnTo>
                    <a:pt x="546" y="408"/>
                  </a:lnTo>
                  <a:lnTo>
                    <a:pt x="558" y="414"/>
                  </a:lnTo>
                  <a:lnTo>
                    <a:pt x="564" y="414"/>
                  </a:lnTo>
                  <a:lnTo>
                    <a:pt x="570" y="414"/>
                  </a:lnTo>
                  <a:lnTo>
                    <a:pt x="582" y="414"/>
                  </a:lnTo>
                  <a:lnTo>
                    <a:pt x="582" y="420"/>
                  </a:lnTo>
                  <a:lnTo>
                    <a:pt x="588" y="414"/>
                  </a:lnTo>
                  <a:lnTo>
                    <a:pt x="582" y="408"/>
                  </a:lnTo>
                  <a:lnTo>
                    <a:pt x="588" y="402"/>
                  </a:lnTo>
                  <a:lnTo>
                    <a:pt x="594" y="402"/>
                  </a:lnTo>
                  <a:lnTo>
                    <a:pt x="594" y="396"/>
                  </a:lnTo>
                  <a:lnTo>
                    <a:pt x="594" y="390"/>
                  </a:lnTo>
                  <a:lnTo>
                    <a:pt x="594" y="384"/>
                  </a:lnTo>
                  <a:lnTo>
                    <a:pt x="594" y="378"/>
                  </a:lnTo>
                  <a:lnTo>
                    <a:pt x="600" y="366"/>
                  </a:lnTo>
                  <a:lnTo>
                    <a:pt x="606" y="366"/>
                  </a:lnTo>
                  <a:lnTo>
                    <a:pt x="612" y="360"/>
                  </a:lnTo>
                  <a:lnTo>
                    <a:pt x="612" y="366"/>
                  </a:lnTo>
                  <a:lnTo>
                    <a:pt x="618" y="366"/>
                  </a:lnTo>
                  <a:lnTo>
                    <a:pt x="624" y="366"/>
                  </a:lnTo>
                  <a:lnTo>
                    <a:pt x="630" y="360"/>
                  </a:lnTo>
                  <a:lnTo>
                    <a:pt x="636" y="354"/>
                  </a:lnTo>
                  <a:lnTo>
                    <a:pt x="630" y="354"/>
                  </a:lnTo>
                  <a:lnTo>
                    <a:pt x="630" y="348"/>
                  </a:lnTo>
                  <a:lnTo>
                    <a:pt x="630" y="342"/>
                  </a:lnTo>
                  <a:lnTo>
                    <a:pt x="636" y="342"/>
                  </a:lnTo>
                  <a:lnTo>
                    <a:pt x="642" y="336"/>
                  </a:lnTo>
                  <a:lnTo>
                    <a:pt x="636" y="330"/>
                  </a:lnTo>
                  <a:lnTo>
                    <a:pt x="630" y="336"/>
                  </a:lnTo>
                  <a:lnTo>
                    <a:pt x="624" y="336"/>
                  </a:lnTo>
                  <a:lnTo>
                    <a:pt x="624" y="330"/>
                  </a:lnTo>
                  <a:lnTo>
                    <a:pt x="624" y="324"/>
                  </a:lnTo>
                  <a:lnTo>
                    <a:pt x="618" y="324"/>
                  </a:lnTo>
                  <a:lnTo>
                    <a:pt x="624" y="324"/>
                  </a:lnTo>
                  <a:lnTo>
                    <a:pt x="630" y="330"/>
                  </a:lnTo>
                  <a:lnTo>
                    <a:pt x="630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2" y="306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8" y="288"/>
                  </a:lnTo>
                  <a:lnTo>
                    <a:pt x="648" y="282"/>
                  </a:lnTo>
                  <a:lnTo>
                    <a:pt x="654" y="288"/>
                  </a:lnTo>
                  <a:lnTo>
                    <a:pt x="654" y="282"/>
                  </a:lnTo>
                  <a:lnTo>
                    <a:pt x="660" y="282"/>
                  </a:lnTo>
                  <a:lnTo>
                    <a:pt x="666" y="282"/>
                  </a:lnTo>
                  <a:lnTo>
                    <a:pt x="672" y="282"/>
                  </a:lnTo>
                  <a:lnTo>
                    <a:pt x="678" y="282"/>
                  </a:lnTo>
                  <a:lnTo>
                    <a:pt x="684" y="276"/>
                  </a:lnTo>
                  <a:lnTo>
                    <a:pt x="690" y="270"/>
                  </a:lnTo>
                  <a:lnTo>
                    <a:pt x="690" y="264"/>
                  </a:lnTo>
                  <a:lnTo>
                    <a:pt x="690" y="270"/>
                  </a:lnTo>
                  <a:lnTo>
                    <a:pt x="690" y="276"/>
                  </a:lnTo>
                  <a:lnTo>
                    <a:pt x="696" y="276"/>
                  </a:lnTo>
                  <a:lnTo>
                    <a:pt x="702" y="276"/>
                  </a:lnTo>
                  <a:lnTo>
                    <a:pt x="702" y="282"/>
                  </a:lnTo>
                  <a:lnTo>
                    <a:pt x="708" y="282"/>
                  </a:lnTo>
                  <a:lnTo>
                    <a:pt x="720" y="270"/>
                  </a:lnTo>
                  <a:lnTo>
                    <a:pt x="720" y="264"/>
                  </a:lnTo>
                  <a:lnTo>
                    <a:pt x="720" y="258"/>
                  </a:lnTo>
                  <a:lnTo>
                    <a:pt x="726" y="258"/>
                  </a:lnTo>
                  <a:lnTo>
                    <a:pt x="732" y="258"/>
                  </a:lnTo>
                  <a:lnTo>
                    <a:pt x="732" y="264"/>
                  </a:lnTo>
                  <a:lnTo>
                    <a:pt x="738" y="264"/>
                  </a:lnTo>
                  <a:lnTo>
                    <a:pt x="738" y="258"/>
                  </a:lnTo>
                  <a:lnTo>
                    <a:pt x="732" y="258"/>
                  </a:lnTo>
                  <a:lnTo>
                    <a:pt x="732" y="252"/>
                  </a:lnTo>
                  <a:lnTo>
                    <a:pt x="744" y="252"/>
                  </a:lnTo>
                  <a:lnTo>
                    <a:pt x="750" y="252"/>
                  </a:lnTo>
                  <a:lnTo>
                    <a:pt x="750" y="246"/>
                  </a:lnTo>
                  <a:lnTo>
                    <a:pt x="750" y="240"/>
                  </a:lnTo>
                  <a:lnTo>
                    <a:pt x="762" y="234"/>
                  </a:lnTo>
                  <a:lnTo>
                    <a:pt x="768" y="234"/>
                  </a:lnTo>
                  <a:lnTo>
                    <a:pt x="774" y="234"/>
                  </a:lnTo>
                  <a:lnTo>
                    <a:pt x="780" y="228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16"/>
                  </a:lnTo>
                  <a:lnTo>
                    <a:pt x="792" y="210"/>
                  </a:lnTo>
                  <a:lnTo>
                    <a:pt x="804" y="204"/>
                  </a:lnTo>
                  <a:lnTo>
                    <a:pt x="804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0" y="192"/>
                  </a:lnTo>
                  <a:lnTo>
                    <a:pt x="798" y="186"/>
                  </a:lnTo>
                  <a:lnTo>
                    <a:pt x="810" y="186"/>
                  </a:lnTo>
                  <a:lnTo>
                    <a:pt x="810" y="180"/>
                  </a:lnTo>
                  <a:lnTo>
                    <a:pt x="810" y="186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0" y="180"/>
                  </a:lnTo>
                  <a:lnTo>
                    <a:pt x="816" y="174"/>
                  </a:lnTo>
                  <a:lnTo>
                    <a:pt x="822" y="174"/>
                  </a:lnTo>
                  <a:lnTo>
                    <a:pt x="822" y="180"/>
                  </a:lnTo>
                  <a:lnTo>
                    <a:pt x="828" y="180"/>
                  </a:lnTo>
                  <a:lnTo>
                    <a:pt x="828" y="174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62"/>
                  </a:lnTo>
                  <a:lnTo>
                    <a:pt x="828" y="156"/>
                  </a:lnTo>
                  <a:lnTo>
                    <a:pt x="822" y="156"/>
                  </a:lnTo>
                  <a:lnTo>
                    <a:pt x="828" y="156"/>
                  </a:lnTo>
                  <a:lnTo>
                    <a:pt x="828" y="150"/>
                  </a:lnTo>
                  <a:lnTo>
                    <a:pt x="834" y="150"/>
                  </a:lnTo>
                  <a:lnTo>
                    <a:pt x="840" y="156"/>
                  </a:lnTo>
                  <a:lnTo>
                    <a:pt x="840" y="150"/>
                  </a:lnTo>
                  <a:lnTo>
                    <a:pt x="834" y="150"/>
                  </a:lnTo>
                  <a:lnTo>
                    <a:pt x="834" y="144"/>
                  </a:lnTo>
                  <a:lnTo>
                    <a:pt x="840" y="138"/>
                  </a:lnTo>
                  <a:lnTo>
                    <a:pt x="846" y="144"/>
                  </a:lnTo>
                  <a:lnTo>
                    <a:pt x="846" y="150"/>
                  </a:lnTo>
                  <a:lnTo>
                    <a:pt x="852" y="150"/>
                  </a:lnTo>
                  <a:lnTo>
                    <a:pt x="858" y="150"/>
                  </a:lnTo>
                  <a:lnTo>
                    <a:pt x="870" y="150"/>
                  </a:lnTo>
                  <a:lnTo>
                    <a:pt x="870" y="144"/>
                  </a:lnTo>
                  <a:lnTo>
                    <a:pt x="876" y="138"/>
                  </a:lnTo>
                  <a:lnTo>
                    <a:pt x="882" y="138"/>
                  </a:lnTo>
                  <a:lnTo>
                    <a:pt x="888" y="132"/>
                  </a:lnTo>
                  <a:lnTo>
                    <a:pt x="888" y="138"/>
                  </a:lnTo>
                  <a:lnTo>
                    <a:pt x="894" y="138"/>
                  </a:lnTo>
                  <a:lnTo>
                    <a:pt x="894" y="132"/>
                  </a:lnTo>
                  <a:lnTo>
                    <a:pt x="900" y="126"/>
                  </a:lnTo>
                  <a:lnTo>
                    <a:pt x="900" y="132"/>
                  </a:lnTo>
                  <a:lnTo>
                    <a:pt x="906" y="132"/>
                  </a:lnTo>
                  <a:lnTo>
                    <a:pt x="912" y="132"/>
                  </a:lnTo>
                  <a:lnTo>
                    <a:pt x="918" y="126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24" y="126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8" y="120"/>
                  </a:lnTo>
                  <a:lnTo>
                    <a:pt x="948" y="114"/>
                  </a:lnTo>
                  <a:lnTo>
                    <a:pt x="948" y="108"/>
                  </a:lnTo>
                  <a:lnTo>
                    <a:pt x="954" y="114"/>
                  </a:lnTo>
                  <a:lnTo>
                    <a:pt x="960" y="108"/>
                  </a:lnTo>
                  <a:lnTo>
                    <a:pt x="966" y="108"/>
                  </a:lnTo>
                  <a:lnTo>
                    <a:pt x="972" y="108"/>
                  </a:lnTo>
                  <a:lnTo>
                    <a:pt x="966" y="114"/>
                  </a:lnTo>
                  <a:lnTo>
                    <a:pt x="960" y="114"/>
                  </a:lnTo>
                  <a:lnTo>
                    <a:pt x="960" y="120"/>
                  </a:lnTo>
                  <a:lnTo>
                    <a:pt x="966" y="126"/>
                  </a:lnTo>
                  <a:lnTo>
                    <a:pt x="972" y="126"/>
                  </a:lnTo>
                  <a:lnTo>
                    <a:pt x="978" y="126"/>
                  </a:lnTo>
                  <a:lnTo>
                    <a:pt x="984" y="120"/>
                  </a:lnTo>
                  <a:lnTo>
                    <a:pt x="984" y="114"/>
                  </a:lnTo>
                  <a:lnTo>
                    <a:pt x="996" y="126"/>
                  </a:lnTo>
                  <a:lnTo>
                    <a:pt x="996" y="120"/>
                  </a:lnTo>
                  <a:lnTo>
                    <a:pt x="1002" y="120"/>
                  </a:lnTo>
                  <a:lnTo>
                    <a:pt x="996" y="114"/>
                  </a:lnTo>
                  <a:lnTo>
                    <a:pt x="1002" y="114"/>
                  </a:lnTo>
                  <a:lnTo>
                    <a:pt x="1008" y="114"/>
                  </a:lnTo>
                  <a:lnTo>
                    <a:pt x="1008" y="108"/>
                  </a:lnTo>
                  <a:lnTo>
                    <a:pt x="1014" y="108"/>
                  </a:lnTo>
                  <a:lnTo>
                    <a:pt x="1008" y="114"/>
                  </a:lnTo>
                  <a:lnTo>
                    <a:pt x="1008" y="120"/>
                  </a:lnTo>
                  <a:lnTo>
                    <a:pt x="1008" y="126"/>
                  </a:lnTo>
                  <a:lnTo>
                    <a:pt x="1014" y="126"/>
                  </a:lnTo>
                  <a:lnTo>
                    <a:pt x="1014" y="132"/>
                  </a:lnTo>
                  <a:lnTo>
                    <a:pt x="1020" y="132"/>
                  </a:lnTo>
                  <a:lnTo>
                    <a:pt x="1020" y="126"/>
                  </a:lnTo>
                  <a:lnTo>
                    <a:pt x="1020" y="120"/>
                  </a:lnTo>
                  <a:lnTo>
                    <a:pt x="1032" y="120"/>
                  </a:lnTo>
                  <a:lnTo>
                    <a:pt x="1038" y="120"/>
                  </a:lnTo>
                  <a:lnTo>
                    <a:pt x="1038" y="126"/>
                  </a:lnTo>
                  <a:lnTo>
                    <a:pt x="1044" y="132"/>
                  </a:lnTo>
                  <a:lnTo>
                    <a:pt x="1044" y="126"/>
                  </a:lnTo>
                  <a:lnTo>
                    <a:pt x="1050" y="120"/>
                  </a:lnTo>
                  <a:lnTo>
                    <a:pt x="1050" y="114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68" y="102"/>
                  </a:lnTo>
                  <a:lnTo>
                    <a:pt x="1074" y="96"/>
                  </a:lnTo>
                  <a:lnTo>
                    <a:pt x="1074" y="90"/>
                  </a:lnTo>
                  <a:lnTo>
                    <a:pt x="1068" y="90"/>
                  </a:lnTo>
                  <a:lnTo>
                    <a:pt x="1068" y="84"/>
                  </a:lnTo>
                  <a:lnTo>
                    <a:pt x="1080" y="84"/>
                  </a:lnTo>
                  <a:lnTo>
                    <a:pt x="1086" y="78"/>
                  </a:lnTo>
                  <a:lnTo>
                    <a:pt x="1086" y="72"/>
                  </a:lnTo>
                  <a:lnTo>
                    <a:pt x="1080" y="78"/>
                  </a:lnTo>
                  <a:lnTo>
                    <a:pt x="1080" y="72"/>
                  </a:lnTo>
                  <a:lnTo>
                    <a:pt x="1080" y="66"/>
                  </a:lnTo>
                  <a:lnTo>
                    <a:pt x="1074" y="66"/>
                  </a:lnTo>
                  <a:lnTo>
                    <a:pt x="1080" y="66"/>
                  </a:lnTo>
                  <a:lnTo>
                    <a:pt x="1080" y="60"/>
                  </a:lnTo>
                  <a:lnTo>
                    <a:pt x="1086" y="60"/>
                  </a:lnTo>
                  <a:lnTo>
                    <a:pt x="1086" y="54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2" y="42"/>
                  </a:lnTo>
                  <a:lnTo>
                    <a:pt x="1098" y="42"/>
                  </a:lnTo>
                  <a:lnTo>
                    <a:pt x="1104" y="36"/>
                  </a:lnTo>
                  <a:lnTo>
                    <a:pt x="1110" y="36"/>
                  </a:lnTo>
                  <a:lnTo>
                    <a:pt x="1110" y="30"/>
                  </a:lnTo>
                  <a:lnTo>
                    <a:pt x="1110" y="24"/>
                  </a:lnTo>
                  <a:lnTo>
                    <a:pt x="1116" y="24"/>
                  </a:lnTo>
                  <a:lnTo>
                    <a:pt x="1116" y="18"/>
                  </a:lnTo>
                  <a:lnTo>
                    <a:pt x="1122" y="18"/>
                  </a:lnTo>
                  <a:lnTo>
                    <a:pt x="1128" y="18"/>
                  </a:lnTo>
                  <a:lnTo>
                    <a:pt x="1134" y="12"/>
                  </a:lnTo>
                  <a:lnTo>
                    <a:pt x="1134" y="6"/>
                  </a:lnTo>
                  <a:lnTo>
                    <a:pt x="1140" y="6"/>
                  </a:lnTo>
                  <a:lnTo>
                    <a:pt x="1146" y="0"/>
                  </a:lnTo>
                  <a:lnTo>
                    <a:pt x="1152" y="0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70" y="0"/>
                  </a:lnTo>
                  <a:lnTo>
                    <a:pt x="1176" y="6"/>
                  </a:lnTo>
                  <a:lnTo>
                    <a:pt x="1182" y="6"/>
                  </a:lnTo>
                  <a:lnTo>
                    <a:pt x="1194" y="6"/>
                  </a:lnTo>
                  <a:lnTo>
                    <a:pt x="1200" y="6"/>
                  </a:lnTo>
                  <a:lnTo>
                    <a:pt x="1212" y="0"/>
                  </a:lnTo>
                  <a:lnTo>
                    <a:pt x="1212" y="6"/>
                  </a:lnTo>
                  <a:lnTo>
                    <a:pt x="1218" y="6"/>
                  </a:lnTo>
                  <a:lnTo>
                    <a:pt x="1266" y="6"/>
                  </a:lnTo>
                  <a:lnTo>
                    <a:pt x="1272" y="0"/>
                  </a:lnTo>
                  <a:lnTo>
                    <a:pt x="1278" y="6"/>
                  </a:lnTo>
                  <a:lnTo>
                    <a:pt x="1290" y="6"/>
                  </a:lnTo>
                  <a:lnTo>
                    <a:pt x="1296" y="6"/>
                  </a:lnTo>
                  <a:lnTo>
                    <a:pt x="1308" y="6"/>
                  </a:lnTo>
                  <a:lnTo>
                    <a:pt x="1314" y="6"/>
                  </a:lnTo>
                  <a:lnTo>
                    <a:pt x="1320" y="6"/>
                  </a:lnTo>
                  <a:lnTo>
                    <a:pt x="1326" y="12"/>
                  </a:lnTo>
                  <a:lnTo>
                    <a:pt x="1338" y="30"/>
                  </a:lnTo>
                  <a:lnTo>
                    <a:pt x="1344" y="36"/>
                  </a:lnTo>
                  <a:lnTo>
                    <a:pt x="1356" y="48"/>
                  </a:lnTo>
                  <a:lnTo>
                    <a:pt x="1362" y="60"/>
                  </a:lnTo>
                  <a:lnTo>
                    <a:pt x="1368" y="66"/>
                  </a:lnTo>
                  <a:lnTo>
                    <a:pt x="1374" y="72"/>
                  </a:lnTo>
                  <a:lnTo>
                    <a:pt x="1374" y="78"/>
                  </a:lnTo>
                  <a:lnTo>
                    <a:pt x="1398" y="108"/>
                  </a:lnTo>
                  <a:lnTo>
                    <a:pt x="1398" y="114"/>
                  </a:lnTo>
                  <a:lnTo>
                    <a:pt x="1404" y="114"/>
                  </a:lnTo>
                  <a:lnTo>
                    <a:pt x="1404" y="120"/>
                  </a:lnTo>
                  <a:lnTo>
                    <a:pt x="1410" y="132"/>
                  </a:lnTo>
                  <a:lnTo>
                    <a:pt x="1416" y="132"/>
                  </a:lnTo>
                  <a:lnTo>
                    <a:pt x="1416" y="138"/>
                  </a:lnTo>
                  <a:lnTo>
                    <a:pt x="1422" y="144"/>
                  </a:lnTo>
                  <a:lnTo>
                    <a:pt x="1428" y="150"/>
                  </a:lnTo>
                  <a:lnTo>
                    <a:pt x="1428" y="156"/>
                  </a:lnTo>
                  <a:lnTo>
                    <a:pt x="1458" y="192"/>
                  </a:lnTo>
                  <a:lnTo>
                    <a:pt x="1458" y="198"/>
                  </a:lnTo>
                  <a:lnTo>
                    <a:pt x="1464" y="204"/>
                  </a:lnTo>
                  <a:lnTo>
                    <a:pt x="1470" y="210"/>
                  </a:lnTo>
                  <a:lnTo>
                    <a:pt x="1476" y="216"/>
                  </a:lnTo>
                  <a:lnTo>
                    <a:pt x="1482" y="228"/>
                  </a:lnTo>
                  <a:lnTo>
                    <a:pt x="1488" y="234"/>
                  </a:lnTo>
                  <a:lnTo>
                    <a:pt x="1512" y="270"/>
                  </a:lnTo>
                  <a:lnTo>
                    <a:pt x="1512" y="276"/>
                  </a:lnTo>
                  <a:lnTo>
                    <a:pt x="1530" y="300"/>
                  </a:lnTo>
                  <a:lnTo>
                    <a:pt x="1536" y="306"/>
                  </a:lnTo>
                  <a:lnTo>
                    <a:pt x="1542" y="312"/>
                  </a:lnTo>
                  <a:lnTo>
                    <a:pt x="1542" y="318"/>
                  </a:lnTo>
                  <a:lnTo>
                    <a:pt x="1560" y="336"/>
                  </a:lnTo>
                  <a:lnTo>
                    <a:pt x="1566" y="348"/>
                  </a:lnTo>
                  <a:lnTo>
                    <a:pt x="1572" y="354"/>
                  </a:lnTo>
                  <a:lnTo>
                    <a:pt x="1578" y="360"/>
                  </a:lnTo>
                  <a:lnTo>
                    <a:pt x="1584" y="378"/>
                  </a:lnTo>
                  <a:lnTo>
                    <a:pt x="1590" y="378"/>
                  </a:lnTo>
                  <a:lnTo>
                    <a:pt x="1596" y="390"/>
                  </a:lnTo>
                  <a:lnTo>
                    <a:pt x="1602" y="396"/>
                  </a:lnTo>
                  <a:lnTo>
                    <a:pt x="1608" y="408"/>
                  </a:lnTo>
                  <a:lnTo>
                    <a:pt x="1614" y="408"/>
                  </a:lnTo>
                  <a:lnTo>
                    <a:pt x="1614" y="432"/>
                  </a:lnTo>
                  <a:lnTo>
                    <a:pt x="1620" y="438"/>
                  </a:lnTo>
                  <a:lnTo>
                    <a:pt x="1620" y="450"/>
                  </a:lnTo>
                  <a:lnTo>
                    <a:pt x="1620" y="462"/>
                  </a:lnTo>
                  <a:lnTo>
                    <a:pt x="1626" y="474"/>
                  </a:lnTo>
                  <a:lnTo>
                    <a:pt x="1626" y="480"/>
                  </a:lnTo>
                  <a:lnTo>
                    <a:pt x="1626" y="486"/>
                  </a:lnTo>
                  <a:lnTo>
                    <a:pt x="1632" y="522"/>
                  </a:lnTo>
                  <a:lnTo>
                    <a:pt x="1632" y="528"/>
                  </a:lnTo>
                  <a:lnTo>
                    <a:pt x="1632" y="534"/>
                  </a:lnTo>
                  <a:lnTo>
                    <a:pt x="1638" y="540"/>
                  </a:lnTo>
                  <a:lnTo>
                    <a:pt x="1638" y="558"/>
                  </a:lnTo>
                  <a:lnTo>
                    <a:pt x="1638" y="570"/>
                  </a:lnTo>
                  <a:lnTo>
                    <a:pt x="1644" y="582"/>
                  </a:lnTo>
                  <a:lnTo>
                    <a:pt x="1650" y="618"/>
                  </a:lnTo>
                  <a:lnTo>
                    <a:pt x="1650" y="624"/>
                  </a:lnTo>
                  <a:lnTo>
                    <a:pt x="1650" y="636"/>
                  </a:lnTo>
                  <a:lnTo>
                    <a:pt x="1656" y="642"/>
                  </a:lnTo>
                  <a:lnTo>
                    <a:pt x="1656" y="648"/>
                  </a:lnTo>
                  <a:lnTo>
                    <a:pt x="1656" y="654"/>
                  </a:lnTo>
                  <a:lnTo>
                    <a:pt x="1656" y="660"/>
                  </a:lnTo>
                  <a:lnTo>
                    <a:pt x="1662" y="696"/>
                  </a:lnTo>
                  <a:lnTo>
                    <a:pt x="1668" y="708"/>
                  </a:lnTo>
                  <a:lnTo>
                    <a:pt x="1668" y="714"/>
                  </a:lnTo>
                  <a:lnTo>
                    <a:pt x="1668" y="732"/>
                  </a:lnTo>
                  <a:lnTo>
                    <a:pt x="1668" y="744"/>
                  </a:lnTo>
                  <a:lnTo>
                    <a:pt x="1674" y="756"/>
                  </a:lnTo>
                  <a:lnTo>
                    <a:pt x="1680" y="762"/>
                  </a:lnTo>
                  <a:lnTo>
                    <a:pt x="1680" y="768"/>
                  </a:lnTo>
                  <a:lnTo>
                    <a:pt x="1680" y="774"/>
                  </a:lnTo>
                  <a:lnTo>
                    <a:pt x="1680" y="780"/>
                  </a:lnTo>
                  <a:lnTo>
                    <a:pt x="1674" y="786"/>
                  </a:lnTo>
                  <a:lnTo>
                    <a:pt x="1668" y="792"/>
                  </a:lnTo>
                  <a:lnTo>
                    <a:pt x="1668" y="798"/>
                  </a:lnTo>
                  <a:lnTo>
                    <a:pt x="1668" y="804"/>
                  </a:lnTo>
                  <a:lnTo>
                    <a:pt x="1674" y="804"/>
                  </a:lnTo>
                  <a:lnTo>
                    <a:pt x="1668" y="810"/>
                  </a:lnTo>
                  <a:lnTo>
                    <a:pt x="1674" y="810"/>
                  </a:lnTo>
                  <a:lnTo>
                    <a:pt x="1680" y="810"/>
                  </a:lnTo>
                  <a:lnTo>
                    <a:pt x="1680" y="816"/>
                  </a:lnTo>
                  <a:lnTo>
                    <a:pt x="1680" y="822"/>
                  </a:lnTo>
                  <a:lnTo>
                    <a:pt x="1674" y="822"/>
                  </a:lnTo>
                  <a:lnTo>
                    <a:pt x="1674" y="828"/>
                  </a:lnTo>
                  <a:lnTo>
                    <a:pt x="1668" y="828"/>
                  </a:lnTo>
                  <a:lnTo>
                    <a:pt x="1674" y="834"/>
                  </a:lnTo>
                  <a:lnTo>
                    <a:pt x="1668" y="834"/>
                  </a:lnTo>
                  <a:lnTo>
                    <a:pt x="1668" y="840"/>
                  </a:lnTo>
                  <a:lnTo>
                    <a:pt x="1674" y="840"/>
                  </a:lnTo>
                  <a:lnTo>
                    <a:pt x="1686" y="852"/>
                  </a:lnTo>
                  <a:lnTo>
                    <a:pt x="1692" y="858"/>
                  </a:lnTo>
                  <a:lnTo>
                    <a:pt x="1698" y="858"/>
                  </a:lnTo>
                  <a:lnTo>
                    <a:pt x="1698" y="864"/>
                  </a:lnTo>
                  <a:lnTo>
                    <a:pt x="1698" y="870"/>
                  </a:lnTo>
                  <a:lnTo>
                    <a:pt x="1704" y="864"/>
                  </a:lnTo>
                  <a:lnTo>
                    <a:pt x="1716" y="864"/>
                  </a:lnTo>
                  <a:lnTo>
                    <a:pt x="1722" y="864"/>
                  </a:lnTo>
                  <a:lnTo>
                    <a:pt x="1728" y="864"/>
                  </a:lnTo>
                  <a:lnTo>
                    <a:pt x="1734" y="864"/>
                  </a:lnTo>
                  <a:lnTo>
                    <a:pt x="1740" y="864"/>
                  </a:lnTo>
                  <a:lnTo>
                    <a:pt x="1746" y="876"/>
                  </a:lnTo>
                  <a:lnTo>
                    <a:pt x="1746" y="870"/>
                  </a:lnTo>
                  <a:lnTo>
                    <a:pt x="1740" y="864"/>
                  </a:lnTo>
                  <a:lnTo>
                    <a:pt x="1746" y="864"/>
                  </a:lnTo>
                  <a:lnTo>
                    <a:pt x="1752" y="870"/>
                  </a:lnTo>
                  <a:lnTo>
                    <a:pt x="1758" y="864"/>
                  </a:lnTo>
                  <a:lnTo>
                    <a:pt x="1764" y="864"/>
                  </a:lnTo>
                  <a:lnTo>
                    <a:pt x="1770" y="858"/>
                  </a:lnTo>
                  <a:lnTo>
                    <a:pt x="1782" y="864"/>
                  </a:lnTo>
                  <a:lnTo>
                    <a:pt x="1782" y="870"/>
                  </a:lnTo>
                  <a:lnTo>
                    <a:pt x="1788" y="864"/>
                  </a:lnTo>
                  <a:lnTo>
                    <a:pt x="1794" y="864"/>
                  </a:lnTo>
                  <a:lnTo>
                    <a:pt x="1800" y="870"/>
                  </a:lnTo>
                  <a:lnTo>
                    <a:pt x="1818" y="864"/>
                  </a:lnTo>
                  <a:lnTo>
                    <a:pt x="1824" y="870"/>
                  </a:lnTo>
                  <a:lnTo>
                    <a:pt x="1830" y="864"/>
                  </a:lnTo>
                  <a:lnTo>
                    <a:pt x="1836" y="864"/>
                  </a:lnTo>
                  <a:lnTo>
                    <a:pt x="1842" y="870"/>
                  </a:lnTo>
                  <a:lnTo>
                    <a:pt x="1842" y="876"/>
                  </a:lnTo>
                  <a:lnTo>
                    <a:pt x="1848" y="876"/>
                  </a:lnTo>
                  <a:lnTo>
                    <a:pt x="1848" y="870"/>
                  </a:lnTo>
                  <a:lnTo>
                    <a:pt x="1854" y="870"/>
                  </a:lnTo>
                  <a:lnTo>
                    <a:pt x="1860" y="870"/>
                  </a:lnTo>
                  <a:lnTo>
                    <a:pt x="1860" y="876"/>
                  </a:lnTo>
                  <a:lnTo>
                    <a:pt x="1866" y="876"/>
                  </a:lnTo>
                  <a:lnTo>
                    <a:pt x="1866" y="882"/>
                  </a:lnTo>
                  <a:lnTo>
                    <a:pt x="1872" y="882"/>
                  </a:lnTo>
                  <a:lnTo>
                    <a:pt x="1878" y="888"/>
                  </a:lnTo>
                  <a:lnTo>
                    <a:pt x="1890" y="888"/>
                  </a:lnTo>
                  <a:lnTo>
                    <a:pt x="1890" y="894"/>
                  </a:lnTo>
                  <a:lnTo>
                    <a:pt x="1890" y="900"/>
                  </a:lnTo>
                  <a:lnTo>
                    <a:pt x="1884" y="900"/>
                  </a:lnTo>
                  <a:lnTo>
                    <a:pt x="1884" y="906"/>
                  </a:lnTo>
                  <a:lnTo>
                    <a:pt x="1884" y="912"/>
                  </a:lnTo>
                  <a:lnTo>
                    <a:pt x="1890" y="912"/>
                  </a:lnTo>
                  <a:lnTo>
                    <a:pt x="1896" y="912"/>
                  </a:lnTo>
                  <a:lnTo>
                    <a:pt x="1902" y="912"/>
                  </a:lnTo>
                  <a:lnTo>
                    <a:pt x="1908" y="918"/>
                  </a:lnTo>
                  <a:lnTo>
                    <a:pt x="1908" y="924"/>
                  </a:lnTo>
                  <a:lnTo>
                    <a:pt x="1908" y="930"/>
                  </a:lnTo>
                  <a:lnTo>
                    <a:pt x="1908" y="936"/>
                  </a:lnTo>
                  <a:lnTo>
                    <a:pt x="1914" y="936"/>
                  </a:lnTo>
                  <a:lnTo>
                    <a:pt x="1914" y="942"/>
                  </a:lnTo>
                  <a:lnTo>
                    <a:pt x="1908" y="948"/>
                  </a:lnTo>
                  <a:lnTo>
                    <a:pt x="1914" y="948"/>
                  </a:lnTo>
                  <a:lnTo>
                    <a:pt x="1920" y="954"/>
                  </a:lnTo>
                  <a:lnTo>
                    <a:pt x="1926" y="954"/>
                  </a:lnTo>
                  <a:lnTo>
                    <a:pt x="1932" y="954"/>
                  </a:lnTo>
                  <a:lnTo>
                    <a:pt x="1938" y="954"/>
                  </a:lnTo>
                  <a:lnTo>
                    <a:pt x="1938" y="960"/>
                  </a:lnTo>
                  <a:lnTo>
                    <a:pt x="1944" y="966"/>
                  </a:lnTo>
                  <a:lnTo>
                    <a:pt x="1944" y="972"/>
                  </a:lnTo>
                  <a:lnTo>
                    <a:pt x="1944" y="978"/>
                  </a:lnTo>
                  <a:lnTo>
                    <a:pt x="1950" y="978"/>
                  </a:lnTo>
                  <a:lnTo>
                    <a:pt x="1950" y="984"/>
                  </a:lnTo>
                  <a:lnTo>
                    <a:pt x="1956" y="984"/>
                  </a:lnTo>
                  <a:lnTo>
                    <a:pt x="1962" y="984"/>
                  </a:lnTo>
                  <a:lnTo>
                    <a:pt x="1962" y="978"/>
                  </a:lnTo>
                  <a:lnTo>
                    <a:pt x="1968" y="978"/>
                  </a:lnTo>
                  <a:lnTo>
                    <a:pt x="1974" y="978"/>
                  </a:lnTo>
                  <a:lnTo>
                    <a:pt x="1980" y="972"/>
                  </a:lnTo>
                  <a:lnTo>
                    <a:pt x="1980" y="978"/>
                  </a:lnTo>
                  <a:lnTo>
                    <a:pt x="1980" y="984"/>
                  </a:lnTo>
                  <a:lnTo>
                    <a:pt x="1986" y="984"/>
                  </a:lnTo>
                  <a:lnTo>
                    <a:pt x="1992" y="990"/>
                  </a:lnTo>
                  <a:lnTo>
                    <a:pt x="1992" y="996"/>
                  </a:lnTo>
                  <a:lnTo>
                    <a:pt x="1992" y="1002"/>
                  </a:lnTo>
                  <a:lnTo>
                    <a:pt x="1974" y="1008"/>
                  </a:lnTo>
                  <a:lnTo>
                    <a:pt x="1974" y="1014"/>
                  </a:lnTo>
                  <a:lnTo>
                    <a:pt x="1974" y="1020"/>
                  </a:lnTo>
                  <a:lnTo>
                    <a:pt x="1974" y="1026"/>
                  </a:lnTo>
                  <a:lnTo>
                    <a:pt x="1968" y="1038"/>
                  </a:lnTo>
                  <a:lnTo>
                    <a:pt x="1968" y="1044"/>
                  </a:lnTo>
                  <a:lnTo>
                    <a:pt x="1974" y="1056"/>
                  </a:lnTo>
                  <a:lnTo>
                    <a:pt x="1968" y="1062"/>
                  </a:lnTo>
                  <a:lnTo>
                    <a:pt x="1962" y="1062"/>
                  </a:lnTo>
                  <a:lnTo>
                    <a:pt x="1956" y="1068"/>
                  </a:lnTo>
                  <a:lnTo>
                    <a:pt x="1956" y="1074"/>
                  </a:lnTo>
                  <a:lnTo>
                    <a:pt x="1956" y="1080"/>
                  </a:lnTo>
                  <a:lnTo>
                    <a:pt x="1956" y="1086"/>
                  </a:lnTo>
                  <a:lnTo>
                    <a:pt x="1956" y="1092"/>
                  </a:lnTo>
                  <a:lnTo>
                    <a:pt x="1962" y="1092"/>
                  </a:lnTo>
                  <a:lnTo>
                    <a:pt x="1962" y="1104"/>
                  </a:lnTo>
                  <a:lnTo>
                    <a:pt x="1968" y="1110"/>
                  </a:lnTo>
                  <a:lnTo>
                    <a:pt x="1968" y="1116"/>
                  </a:lnTo>
                  <a:lnTo>
                    <a:pt x="1974" y="1116"/>
                  </a:lnTo>
                  <a:lnTo>
                    <a:pt x="1974" y="1122"/>
                  </a:lnTo>
                  <a:lnTo>
                    <a:pt x="1980" y="1122"/>
                  </a:lnTo>
                  <a:lnTo>
                    <a:pt x="1974" y="1128"/>
                  </a:lnTo>
                  <a:lnTo>
                    <a:pt x="1968" y="1134"/>
                  </a:lnTo>
                  <a:lnTo>
                    <a:pt x="1962" y="1140"/>
                  </a:lnTo>
                  <a:lnTo>
                    <a:pt x="1962" y="1146"/>
                  </a:lnTo>
                  <a:lnTo>
                    <a:pt x="1968" y="1152"/>
                  </a:lnTo>
                  <a:lnTo>
                    <a:pt x="1968" y="1158"/>
                  </a:lnTo>
                  <a:lnTo>
                    <a:pt x="1962" y="1158"/>
                  </a:lnTo>
                  <a:lnTo>
                    <a:pt x="1962" y="1164"/>
                  </a:lnTo>
                  <a:lnTo>
                    <a:pt x="1956" y="1164"/>
                  </a:lnTo>
                  <a:lnTo>
                    <a:pt x="1956" y="1170"/>
                  </a:lnTo>
                  <a:lnTo>
                    <a:pt x="1944" y="1182"/>
                  </a:lnTo>
                  <a:lnTo>
                    <a:pt x="1944" y="1188"/>
                  </a:lnTo>
                  <a:lnTo>
                    <a:pt x="1950" y="1188"/>
                  </a:lnTo>
                  <a:lnTo>
                    <a:pt x="1944" y="1200"/>
                  </a:lnTo>
                  <a:lnTo>
                    <a:pt x="1944" y="1206"/>
                  </a:lnTo>
                  <a:lnTo>
                    <a:pt x="1944" y="1212"/>
                  </a:lnTo>
                  <a:lnTo>
                    <a:pt x="1944" y="1218"/>
                  </a:lnTo>
                  <a:lnTo>
                    <a:pt x="1944" y="1230"/>
                  </a:lnTo>
                  <a:lnTo>
                    <a:pt x="1944" y="1236"/>
                  </a:lnTo>
                  <a:lnTo>
                    <a:pt x="1944" y="1242"/>
                  </a:lnTo>
                  <a:lnTo>
                    <a:pt x="1938" y="1248"/>
                  </a:lnTo>
                  <a:lnTo>
                    <a:pt x="1938" y="1254"/>
                  </a:lnTo>
                  <a:lnTo>
                    <a:pt x="1932" y="1254"/>
                  </a:lnTo>
                  <a:lnTo>
                    <a:pt x="1926" y="1260"/>
                  </a:lnTo>
                  <a:lnTo>
                    <a:pt x="1920" y="1266"/>
                  </a:lnTo>
                  <a:lnTo>
                    <a:pt x="1914" y="1272"/>
                  </a:lnTo>
                  <a:lnTo>
                    <a:pt x="1908" y="1272"/>
                  </a:lnTo>
                  <a:lnTo>
                    <a:pt x="1908" y="1278"/>
                  </a:lnTo>
                  <a:lnTo>
                    <a:pt x="1914" y="1278"/>
                  </a:lnTo>
                  <a:lnTo>
                    <a:pt x="1914" y="1290"/>
                  </a:lnTo>
                  <a:lnTo>
                    <a:pt x="1920" y="1296"/>
                  </a:lnTo>
                  <a:lnTo>
                    <a:pt x="1938" y="1302"/>
                  </a:lnTo>
                  <a:lnTo>
                    <a:pt x="1944" y="1308"/>
                  </a:lnTo>
                  <a:lnTo>
                    <a:pt x="1950" y="1314"/>
                  </a:lnTo>
                  <a:lnTo>
                    <a:pt x="1956" y="1314"/>
                  </a:lnTo>
                  <a:lnTo>
                    <a:pt x="1962" y="1320"/>
                  </a:lnTo>
                  <a:lnTo>
                    <a:pt x="1962" y="1326"/>
                  </a:lnTo>
                  <a:lnTo>
                    <a:pt x="1968" y="1326"/>
                  </a:lnTo>
                  <a:lnTo>
                    <a:pt x="1968" y="1332"/>
                  </a:lnTo>
                  <a:lnTo>
                    <a:pt x="1968" y="1344"/>
                  </a:lnTo>
                  <a:lnTo>
                    <a:pt x="1968" y="1350"/>
                  </a:lnTo>
                  <a:lnTo>
                    <a:pt x="1968" y="1368"/>
                  </a:lnTo>
                  <a:lnTo>
                    <a:pt x="1962" y="1380"/>
                  </a:lnTo>
                  <a:lnTo>
                    <a:pt x="1968" y="1392"/>
                  </a:lnTo>
                  <a:lnTo>
                    <a:pt x="1962" y="1398"/>
                  </a:lnTo>
                  <a:lnTo>
                    <a:pt x="1956" y="1404"/>
                  </a:lnTo>
                  <a:lnTo>
                    <a:pt x="1950" y="1410"/>
                  </a:lnTo>
                  <a:lnTo>
                    <a:pt x="1944" y="1410"/>
                  </a:lnTo>
                  <a:lnTo>
                    <a:pt x="1932" y="1416"/>
                  </a:lnTo>
                  <a:lnTo>
                    <a:pt x="1926" y="1416"/>
                  </a:lnTo>
                  <a:lnTo>
                    <a:pt x="1896" y="1428"/>
                  </a:lnTo>
                  <a:lnTo>
                    <a:pt x="1884" y="1434"/>
                  </a:lnTo>
                  <a:lnTo>
                    <a:pt x="1878" y="1434"/>
                  </a:lnTo>
                  <a:lnTo>
                    <a:pt x="1866" y="1434"/>
                  </a:lnTo>
                  <a:lnTo>
                    <a:pt x="1854" y="1440"/>
                  </a:lnTo>
                  <a:lnTo>
                    <a:pt x="1848" y="1440"/>
                  </a:lnTo>
                  <a:lnTo>
                    <a:pt x="1842" y="1446"/>
                  </a:lnTo>
                  <a:lnTo>
                    <a:pt x="1842" y="1458"/>
                  </a:lnTo>
                  <a:lnTo>
                    <a:pt x="1836" y="1470"/>
                  </a:lnTo>
                  <a:lnTo>
                    <a:pt x="1830" y="1476"/>
                  </a:lnTo>
                  <a:lnTo>
                    <a:pt x="1824" y="1476"/>
                  </a:lnTo>
                  <a:lnTo>
                    <a:pt x="1806" y="1482"/>
                  </a:lnTo>
                  <a:lnTo>
                    <a:pt x="1800" y="1488"/>
                  </a:lnTo>
                  <a:lnTo>
                    <a:pt x="1794" y="1488"/>
                  </a:lnTo>
                  <a:lnTo>
                    <a:pt x="1788" y="1488"/>
                  </a:lnTo>
                  <a:lnTo>
                    <a:pt x="1776" y="1494"/>
                  </a:lnTo>
                  <a:lnTo>
                    <a:pt x="1764" y="1494"/>
                  </a:lnTo>
                  <a:lnTo>
                    <a:pt x="1758" y="1500"/>
                  </a:lnTo>
                  <a:lnTo>
                    <a:pt x="1746" y="1506"/>
                  </a:lnTo>
                  <a:lnTo>
                    <a:pt x="1728" y="1518"/>
                  </a:lnTo>
                  <a:lnTo>
                    <a:pt x="1716" y="1524"/>
                  </a:lnTo>
                  <a:lnTo>
                    <a:pt x="1710" y="1530"/>
                  </a:lnTo>
                  <a:lnTo>
                    <a:pt x="1704" y="1536"/>
                  </a:lnTo>
                  <a:lnTo>
                    <a:pt x="1698" y="1542"/>
                  </a:lnTo>
                  <a:lnTo>
                    <a:pt x="1692" y="1554"/>
                  </a:lnTo>
                  <a:lnTo>
                    <a:pt x="1686" y="1560"/>
                  </a:lnTo>
                  <a:lnTo>
                    <a:pt x="1680" y="1560"/>
                  </a:lnTo>
                  <a:lnTo>
                    <a:pt x="1674" y="1560"/>
                  </a:lnTo>
                  <a:lnTo>
                    <a:pt x="1656" y="1572"/>
                  </a:lnTo>
                  <a:lnTo>
                    <a:pt x="1650" y="1572"/>
                  </a:lnTo>
                  <a:lnTo>
                    <a:pt x="1644" y="1572"/>
                  </a:lnTo>
                  <a:lnTo>
                    <a:pt x="1638" y="1578"/>
                  </a:lnTo>
                  <a:lnTo>
                    <a:pt x="1632" y="1578"/>
                  </a:lnTo>
                  <a:lnTo>
                    <a:pt x="1626" y="1578"/>
                  </a:lnTo>
                  <a:lnTo>
                    <a:pt x="1620" y="1572"/>
                  </a:lnTo>
                  <a:lnTo>
                    <a:pt x="1614" y="1572"/>
                  </a:lnTo>
                  <a:lnTo>
                    <a:pt x="1608" y="1566"/>
                  </a:lnTo>
                  <a:lnTo>
                    <a:pt x="1602" y="1560"/>
                  </a:lnTo>
                  <a:lnTo>
                    <a:pt x="1596" y="1554"/>
                  </a:lnTo>
                  <a:lnTo>
                    <a:pt x="1590" y="1548"/>
                  </a:lnTo>
                  <a:lnTo>
                    <a:pt x="1578" y="1548"/>
                  </a:lnTo>
                  <a:lnTo>
                    <a:pt x="1572" y="1548"/>
                  </a:lnTo>
                  <a:lnTo>
                    <a:pt x="1566" y="1548"/>
                  </a:lnTo>
                  <a:lnTo>
                    <a:pt x="1554" y="1536"/>
                  </a:lnTo>
                  <a:lnTo>
                    <a:pt x="1548" y="1536"/>
                  </a:lnTo>
                  <a:lnTo>
                    <a:pt x="1542" y="1542"/>
                  </a:lnTo>
                  <a:lnTo>
                    <a:pt x="1536" y="1548"/>
                  </a:lnTo>
                  <a:lnTo>
                    <a:pt x="1536" y="1566"/>
                  </a:lnTo>
                  <a:lnTo>
                    <a:pt x="1530" y="1572"/>
                  </a:lnTo>
                  <a:lnTo>
                    <a:pt x="1524" y="1578"/>
                  </a:lnTo>
                  <a:lnTo>
                    <a:pt x="1518" y="1584"/>
                  </a:lnTo>
                  <a:lnTo>
                    <a:pt x="1512" y="1596"/>
                  </a:lnTo>
                  <a:lnTo>
                    <a:pt x="1506" y="1602"/>
                  </a:lnTo>
                  <a:lnTo>
                    <a:pt x="1506" y="1608"/>
                  </a:lnTo>
                  <a:lnTo>
                    <a:pt x="1506" y="1614"/>
                  </a:lnTo>
                  <a:lnTo>
                    <a:pt x="1500" y="1614"/>
                  </a:lnTo>
                  <a:lnTo>
                    <a:pt x="1500" y="1620"/>
                  </a:lnTo>
                  <a:lnTo>
                    <a:pt x="1500" y="1626"/>
                  </a:lnTo>
                  <a:lnTo>
                    <a:pt x="1494" y="1632"/>
                  </a:lnTo>
                  <a:lnTo>
                    <a:pt x="1488" y="1638"/>
                  </a:lnTo>
                  <a:lnTo>
                    <a:pt x="1482" y="1638"/>
                  </a:lnTo>
                  <a:lnTo>
                    <a:pt x="1482" y="1644"/>
                  </a:lnTo>
                  <a:lnTo>
                    <a:pt x="1482" y="1650"/>
                  </a:lnTo>
                  <a:lnTo>
                    <a:pt x="1482" y="1656"/>
                  </a:lnTo>
                  <a:lnTo>
                    <a:pt x="1476" y="1662"/>
                  </a:lnTo>
                  <a:lnTo>
                    <a:pt x="1470" y="1668"/>
                  </a:lnTo>
                  <a:lnTo>
                    <a:pt x="1464" y="1674"/>
                  </a:lnTo>
                  <a:lnTo>
                    <a:pt x="1464" y="1680"/>
                  </a:lnTo>
                  <a:lnTo>
                    <a:pt x="1458" y="1680"/>
                  </a:lnTo>
                  <a:lnTo>
                    <a:pt x="1452" y="1686"/>
                  </a:lnTo>
                  <a:lnTo>
                    <a:pt x="1446" y="1686"/>
                  </a:lnTo>
                  <a:lnTo>
                    <a:pt x="1440" y="1698"/>
                  </a:lnTo>
                  <a:lnTo>
                    <a:pt x="1440" y="1704"/>
                  </a:lnTo>
                  <a:lnTo>
                    <a:pt x="1434" y="1710"/>
                  </a:lnTo>
                  <a:lnTo>
                    <a:pt x="1434" y="1716"/>
                  </a:lnTo>
                  <a:lnTo>
                    <a:pt x="1428" y="1716"/>
                  </a:lnTo>
                  <a:lnTo>
                    <a:pt x="1428" y="1722"/>
                  </a:lnTo>
                  <a:lnTo>
                    <a:pt x="1428" y="1728"/>
                  </a:lnTo>
                  <a:lnTo>
                    <a:pt x="1422" y="1728"/>
                  </a:lnTo>
                  <a:lnTo>
                    <a:pt x="1422" y="1734"/>
                  </a:lnTo>
                  <a:lnTo>
                    <a:pt x="1416" y="1734"/>
                  </a:lnTo>
                  <a:lnTo>
                    <a:pt x="1410" y="1734"/>
                  </a:lnTo>
                  <a:lnTo>
                    <a:pt x="1392" y="1746"/>
                  </a:lnTo>
                  <a:lnTo>
                    <a:pt x="1386" y="1746"/>
                  </a:lnTo>
                  <a:lnTo>
                    <a:pt x="1368" y="1752"/>
                  </a:lnTo>
                  <a:lnTo>
                    <a:pt x="1362" y="1758"/>
                  </a:lnTo>
                  <a:lnTo>
                    <a:pt x="1362" y="1770"/>
                  </a:lnTo>
                  <a:lnTo>
                    <a:pt x="1356" y="178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graphicFrame>
        <p:nvGraphicFramePr>
          <p:cNvPr id="357" name="Group 76">
            <a:extLst>
              <a:ext uri="{FF2B5EF4-FFF2-40B4-BE49-F238E27FC236}">
                <a16:creationId xmlns:a16="http://schemas.microsoft.com/office/drawing/2014/main" id="{57830D68-CF73-4A3E-9D36-141B03AADBF7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41338" y="3402013"/>
          <a:ext cx="3735387" cy="1827306"/>
        </p:xfrm>
        <a:graphic>
          <a:graphicData uri="http://schemas.openxmlformats.org/drawingml/2006/table">
            <a:tbl>
              <a:tblPr/>
              <a:tblGrid>
                <a:gridCol w="1316931">
                  <a:extLst>
                    <a:ext uri="{9D8B030D-6E8A-4147-A177-3AD203B41FA5}">
                      <a16:colId xmlns:a16="http://schemas.microsoft.com/office/drawing/2014/main" val="2027704273"/>
                    </a:ext>
                  </a:extLst>
                </a:gridCol>
                <a:gridCol w="603796">
                  <a:extLst>
                    <a:ext uri="{9D8B030D-6E8A-4147-A177-3AD203B41FA5}">
                      <a16:colId xmlns:a16="http://schemas.microsoft.com/office/drawing/2014/main" val="3432768286"/>
                    </a:ext>
                  </a:extLst>
                </a:gridCol>
                <a:gridCol w="744015">
                  <a:extLst>
                    <a:ext uri="{9D8B030D-6E8A-4147-A177-3AD203B41FA5}">
                      <a16:colId xmlns:a16="http://schemas.microsoft.com/office/drawing/2014/main" val="3730294207"/>
                    </a:ext>
                  </a:extLst>
                </a:gridCol>
                <a:gridCol w="1070645">
                  <a:extLst>
                    <a:ext uri="{9D8B030D-6E8A-4147-A177-3AD203B41FA5}">
                      <a16:colId xmlns:a16="http://schemas.microsoft.com/office/drawing/2014/main" val="2258321117"/>
                    </a:ext>
                  </a:extLst>
                </a:gridCol>
              </a:tblGrid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apital</a:t>
                      </a:r>
                      <a:endParaRPr kumimoji="0" lang="en-SG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292929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SG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Birnin</a:t>
                      </a:r>
                      <a:r>
                        <a:rPr kumimoji="0" lang="en-SG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SG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Kebbi</a:t>
                      </a:r>
                      <a:endParaRPr kumimoji="0" lang="en-SG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703009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nd Are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36,985 km</a:t>
                      </a:r>
                      <a:r>
                        <a:rPr kumimoji="0" lang="en-US" altLang="en-US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9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603614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Population (2017E)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4,419,195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22 of 37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505851"/>
                  </a:ext>
                </a:extLst>
              </a:tr>
              <a:tr h="203024">
                <a:tc row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Dem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0-14: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,140,787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48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130093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5-64: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,156,941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49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387564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65+: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+mn-cs"/>
                        </a:rPr>
                        <a:t>   121,468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[3%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38801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bour force 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,477,394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0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797882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limate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ropical savanna, hot semi-arid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3942226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op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Rocky and sand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32899"/>
                  </a:ext>
                </a:extLst>
              </a:tr>
            </a:tbl>
          </a:graphicData>
        </a:graphic>
      </p:graphicFrame>
      <p:pic>
        <p:nvPicPr>
          <p:cNvPr id="23609" name="Picture 13">
            <a:extLst>
              <a:ext uri="{FF2B5EF4-FFF2-40B4-BE49-F238E27FC236}">
                <a16:creationId xmlns:a16="http://schemas.microsoft.com/office/drawing/2014/main" id="{952964D5-F0ED-4CAE-B71C-DB4A723FA5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0" y="3006725"/>
            <a:ext cx="1116013" cy="155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9" name="TextBox 378">
            <a:extLst>
              <a:ext uri="{FF2B5EF4-FFF2-40B4-BE49-F238E27FC236}">
                <a16:creationId xmlns:a16="http://schemas.microsoft.com/office/drawing/2014/main" id="{1B3FD4BF-4685-4C74-821F-10048D6246BF}"/>
              </a:ext>
            </a:extLst>
          </p:cNvPr>
          <p:cNvSpPr txBox="1"/>
          <p:nvPr/>
        </p:nvSpPr>
        <p:spPr>
          <a:xfrm>
            <a:off x="6124575" y="957263"/>
            <a:ext cx="3475038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Competitive Advantages</a:t>
            </a: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455FE7A1-ADE5-4F7B-A489-00196671A53E}"/>
              </a:ext>
            </a:extLst>
          </p:cNvPr>
          <p:cNvSpPr/>
          <p:nvPr/>
        </p:nvSpPr>
        <p:spPr>
          <a:xfrm>
            <a:off x="4267248" y="1187511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dbl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N</a:t>
            </a:r>
            <a:r>
              <a:rPr kumimoji="0" lang="en-US" sz="1600" b="0" i="0" u="none" strike="no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4.3bn/$144m</a:t>
            </a:r>
            <a:endParaRPr kumimoji="0" lang="en-MY" sz="1600" b="0" i="0" u="none" strike="noStrike" kern="1200" cap="none" spc="-15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EBB25788-D073-4A78-9D6C-DF3836CFFFBB}"/>
              </a:ext>
            </a:extLst>
          </p:cNvPr>
          <p:cNvSpPr txBox="1"/>
          <p:nvPr/>
        </p:nvSpPr>
        <p:spPr>
          <a:xfrm>
            <a:off x="4267200" y="955675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IGR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 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(2017)</a:t>
            </a: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6F07DF39-553B-44F0-8864-1F897C2BD79A}"/>
              </a:ext>
            </a:extLst>
          </p:cNvPr>
          <p:cNvSpPr/>
          <p:nvPr/>
        </p:nvSpPr>
        <p:spPr>
          <a:xfrm>
            <a:off x="4267252" y="1809750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dbl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N</a:t>
            </a:r>
            <a:r>
              <a:rPr lang="en-US" sz="1600" spc="-150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 pitchFamily="34" charset="0"/>
                <a:cs typeface="Arial" charset="0"/>
              </a:rPr>
              <a:t>151.2</a:t>
            </a:r>
            <a:r>
              <a:rPr kumimoji="0" lang="en-US" sz="1600" b="0" i="0" u="none" strike="noStrike" kern="1200" cap="none" spc="-15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bn</a:t>
            </a:r>
            <a:r>
              <a:rPr kumimoji="0" lang="en-US" sz="1600" b="0" i="0" u="none" strike="no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/$</a:t>
            </a:r>
            <a:r>
              <a:rPr lang="en-US" sz="1600" spc="-150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 pitchFamily="34" charset="0"/>
                <a:cs typeface="Arial" charset="0"/>
              </a:rPr>
              <a:t>495.7m</a:t>
            </a:r>
            <a:endParaRPr kumimoji="0" lang="en-MY" sz="1600" b="0" i="0" u="none" strike="noStrike" kern="1200" cap="none" spc="-15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2508695A-2D2C-45A3-80FE-9C2CB18200C2}"/>
              </a:ext>
            </a:extLst>
          </p:cNvPr>
          <p:cNvSpPr txBox="1"/>
          <p:nvPr/>
        </p:nvSpPr>
        <p:spPr>
          <a:xfrm>
            <a:off x="4267200" y="1576388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Budget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 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(2018)</a:t>
            </a: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86A33ABE-3AE3-40A7-A6A6-1B757A6A9B0F}"/>
              </a:ext>
            </a:extLst>
          </p:cNvPr>
          <p:cNvSpPr/>
          <p:nvPr/>
        </p:nvSpPr>
        <p:spPr>
          <a:xfrm>
            <a:off x="4256076" y="2667155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dbl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N</a:t>
            </a:r>
            <a:r>
              <a:rPr kumimoji="0" lang="en-US" sz="1600" b="0" i="0" u="none" strike="no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963bn /$3.2bn</a:t>
            </a:r>
            <a:endParaRPr kumimoji="0" lang="en-MY" sz="1600" b="0" i="0" u="none" strike="noStrike" kern="1200" cap="none" spc="-15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1E919764-A18B-4532-A533-A84A31D7FEFE}"/>
              </a:ext>
            </a:extLst>
          </p:cNvPr>
          <p:cNvSpPr txBox="1"/>
          <p:nvPr/>
        </p:nvSpPr>
        <p:spPr>
          <a:xfrm>
            <a:off x="4256088" y="2185988"/>
            <a:ext cx="1811337" cy="50641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Househol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Consumption 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(2017)</a:t>
            </a:r>
          </a:p>
        </p:txBody>
      </p:sp>
      <p:sp>
        <p:nvSpPr>
          <p:cNvPr id="96" name="Plaque 95">
            <a:extLst>
              <a:ext uri="{FF2B5EF4-FFF2-40B4-BE49-F238E27FC236}">
                <a16:creationId xmlns:a16="http://schemas.microsoft.com/office/drawing/2014/main" id="{E3BE1182-17B4-4194-8641-F1EA2CCBB757}"/>
              </a:ext>
            </a:extLst>
          </p:cNvPr>
          <p:cNvSpPr/>
          <p:nvPr/>
        </p:nvSpPr>
        <p:spPr>
          <a:xfrm>
            <a:off x="5583996" y="2807593"/>
            <a:ext cx="483429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dirty="0">
                <a:solidFill>
                  <a:prstClr val="white"/>
                </a:solidFill>
                <a:latin typeface="Calibri" panose="020F0502020204030204" pitchFamily="34" charset="0"/>
              </a:rPr>
              <a:t>28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of 36</a:t>
            </a:r>
          </a:p>
        </p:txBody>
      </p:sp>
      <p:sp>
        <p:nvSpPr>
          <p:cNvPr id="99" name="Plaque 98">
            <a:extLst>
              <a:ext uri="{FF2B5EF4-FFF2-40B4-BE49-F238E27FC236}">
                <a16:creationId xmlns:a16="http://schemas.microsoft.com/office/drawing/2014/main" id="{8620E393-1C52-4CE1-9888-20922FA6DFEA}"/>
              </a:ext>
            </a:extLst>
          </p:cNvPr>
          <p:cNvSpPr/>
          <p:nvPr/>
        </p:nvSpPr>
        <p:spPr>
          <a:xfrm>
            <a:off x="5571332" y="1982093"/>
            <a:ext cx="496094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noProof="0" dirty="0">
                <a:solidFill>
                  <a:prstClr val="white"/>
                </a:solidFill>
                <a:latin typeface="Calibri" panose="020F0502020204030204" pitchFamily="34" charset="0"/>
              </a:rPr>
              <a:t>24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of 36</a:t>
            </a:r>
          </a:p>
        </p:txBody>
      </p:sp>
      <p:sp>
        <p:nvSpPr>
          <p:cNvPr id="100" name="Plaque 99">
            <a:extLst>
              <a:ext uri="{FF2B5EF4-FFF2-40B4-BE49-F238E27FC236}">
                <a16:creationId xmlns:a16="http://schemas.microsoft.com/office/drawing/2014/main" id="{3BFA6D28-9A42-4459-8BF1-090CE1B45216}"/>
              </a:ext>
            </a:extLst>
          </p:cNvPr>
          <p:cNvSpPr/>
          <p:nvPr/>
        </p:nvSpPr>
        <p:spPr>
          <a:xfrm>
            <a:off x="5638800" y="1333500"/>
            <a:ext cx="430213" cy="1539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noProof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4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of 36</a:t>
            </a:r>
          </a:p>
        </p:txBody>
      </p:sp>
      <p:sp>
        <p:nvSpPr>
          <p:cNvPr id="101" name="Pentagon 19">
            <a:extLst>
              <a:ext uri="{FF2B5EF4-FFF2-40B4-BE49-F238E27FC236}">
                <a16:creationId xmlns:a16="http://schemas.microsoft.com/office/drawing/2014/main" id="{CCD74FA4-19D0-4356-90C9-B3B49BCC3F54}"/>
              </a:ext>
            </a:extLst>
          </p:cNvPr>
          <p:cNvSpPr>
            <a:spLocks/>
          </p:cNvSpPr>
          <p:nvPr/>
        </p:nvSpPr>
        <p:spPr bwMode="auto">
          <a:xfrm>
            <a:off x="688340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dirty="0">
                <a:solidFill>
                  <a:prstClr val="white"/>
                </a:solidFill>
                <a:latin typeface="Calibri" panose="020F0502020204030204" pitchFamily="34" charset="0"/>
              </a:rPr>
              <a:t>20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of 37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12EE735-1E43-4799-A46A-5D0787F375CE}"/>
              </a:ext>
            </a:extLst>
          </p:cNvPr>
          <p:cNvSpPr/>
          <p:nvPr/>
        </p:nvSpPr>
        <p:spPr>
          <a:xfrm>
            <a:off x="6880225" y="5726113"/>
            <a:ext cx="642938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rting a Business</a:t>
            </a:r>
          </a:p>
        </p:txBody>
      </p:sp>
      <p:pic>
        <p:nvPicPr>
          <p:cNvPr id="23622" name="Picture 3">
            <a:extLst>
              <a:ext uri="{FF2B5EF4-FFF2-40B4-BE49-F238E27FC236}">
                <a16:creationId xmlns:a16="http://schemas.microsoft.com/office/drawing/2014/main" id="{53FAD0C6-8FFE-437B-B7E4-F2A938D3BE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350" y="5249863"/>
            <a:ext cx="41910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23" name="Freeform 15">
            <a:extLst>
              <a:ext uri="{FF2B5EF4-FFF2-40B4-BE49-F238E27FC236}">
                <a16:creationId xmlns:a16="http://schemas.microsoft.com/office/drawing/2014/main" id="{183A3C8B-011E-4D99-9165-3FF03A2D3207}"/>
              </a:ext>
            </a:extLst>
          </p:cNvPr>
          <p:cNvSpPr>
            <a:spLocks noEditPoints="1"/>
          </p:cNvSpPr>
          <p:nvPr/>
        </p:nvSpPr>
        <p:spPr bwMode="auto">
          <a:xfrm>
            <a:off x="9093200" y="5257800"/>
            <a:ext cx="276225" cy="347663"/>
          </a:xfrm>
          <a:custGeom>
            <a:avLst/>
            <a:gdLst>
              <a:gd name="T0" fmla="*/ 2147483646 w 3556"/>
              <a:gd name="T1" fmla="*/ 2147483646 h 3950"/>
              <a:gd name="T2" fmla="*/ 2147483646 w 3556"/>
              <a:gd name="T3" fmla="*/ 2147483646 h 3950"/>
              <a:gd name="T4" fmla="*/ 2147483646 w 3556"/>
              <a:gd name="T5" fmla="*/ 2147483646 h 3950"/>
              <a:gd name="T6" fmla="*/ 2147483646 w 3556"/>
              <a:gd name="T7" fmla="*/ 2147483646 h 3950"/>
              <a:gd name="T8" fmla="*/ 2147483646 w 3556"/>
              <a:gd name="T9" fmla="*/ 2147483646 h 3950"/>
              <a:gd name="T10" fmla="*/ 2147483646 w 3556"/>
              <a:gd name="T11" fmla="*/ 2147483646 h 3950"/>
              <a:gd name="T12" fmla="*/ 2147483646 w 3556"/>
              <a:gd name="T13" fmla="*/ 2147483646 h 3950"/>
              <a:gd name="T14" fmla="*/ 2147483646 w 3556"/>
              <a:gd name="T15" fmla="*/ 2147483646 h 3950"/>
              <a:gd name="T16" fmla="*/ 2147483646 w 3556"/>
              <a:gd name="T17" fmla="*/ 2147483646 h 3950"/>
              <a:gd name="T18" fmla="*/ 2147483646 w 3556"/>
              <a:gd name="T19" fmla="*/ 2147483646 h 3950"/>
              <a:gd name="T20" fmla="*/ 2147483646 w 3556"/>
              <a:gd name="T21" fmla="*/ 2147483646 h 3950"/>
              <a:gd name="T22" fmla="*/ 0 w 3556"/>
              <a:gd name="T23" fmla="*/ 2147483646 h 3950"/>
              <a:gd name="T24" fmla="*/ 2147483646 w 3556"/>
              <a:gd name="T25" fmla="*/ 2147483646 h 3950"/>
              <a:gd name="T26" fmla="*/ 2147483646 w 3556"/>
              <a:gd name="T27" fmla="*/ 2147483646 h 3950"/>
              <a:gd name="T28" fmla="*/ 2147483646 w 3556"/>
              <a:gd name="T29" fmla="*/ 2147483646 h 3950"/>
              <a:gd name="T30" fmla="*/ 2147483646 w 3556"/>
              <a:gd name="T31" fmla="*/ 2147483646 h 3950"/>
              <a:gd name="T32" fmla="*/ 2147483646 w 3556"/>
              <a:gd name="T33" fmla="*/ 2147483646 h 3950"/>
              <a:gd name="T34" fmla="*/ 2147483646 w 3556"/>
              <a:gd name="T35" fmla="*/ 2147483646 h 3950"/>
              <a:gd name="T36" fmla="*/ 2147483646 w 3556"/>
              <a:gd name="T37" fmla="*/ 2147483646 h 3950"/>
              <a:gd name="T38" fmla="*/ 2147483646 w 3556"/>
              <a:gd name="T39" fmla="*/ 2147483646 h 3950"/>
              <a:gd name="T40" fmla="*/ 2147483646 w 3556"/>
              <a:gd name="T41" fmla="*/ 2147483646 h 3950"/>
              <a:gd name="T42" fmla="*/ 2147483646 w 3556"/>
              <a:gd name="T43" fmla="*/ 2147483646 h 3950"/>
              <a:gd name="T44" fmla="*/ 2147483646 w 3556"/>
              <a:gd name="T45" fmla="*/ 2147483646 h 3950"/>
              <a:gd name="T46" fmla="*/ 2147483646 w 3556"/>
              <a:gd name="T47" fmla="*/ 2147483646 h 3950"/>
              <a:gd name="T48" fmla="*/ 2147483646 w 3556"/>
              <a:gd name="T49" fmla="*/ 2147483646 h 3950"/>
              <a:gd name="T50" fmla="*/ 2147483646 w 3556"/>
              <a:gd name="T51" fmla="*/ 2147483646 h 3950"/>
              <a:gd name="T52" fmla="*/ 2147483646 w 3556"/>
              <a:gd name="T53" fmla="*/ 2147483646 h 3950"/>
              <a:gd name="T54" fmla="*/ 2147483646 w 3556"/>
              <a:gd name="T55" fmla="*/ 2147483646 h 3950"/>
              <a:gd name="T56" fmla="*/ 2147483646 w 3556"/>
              <a:gd name="T57" fmla="*/ 2147483646 h 3950"/>
              <a:gd name="T58" fmla="*/ 2147483646 w 3556"/>
              <a:gd name="T59" fmla="*/ 2147483646 h 3950"/>
              <a:gd name="T60" fmla="*/ 2147483646 w 3556"/>
              <a:gd name="T61" fmla="*/ 2147483646 h 3950"/>
              <a:gd name="T62" fmla="*/ 2147483646 w 3556"/>
              <a:gd name="T63" fmla="*/ 2147483646 h 3950"/>
              <a:gd name="T64" fmla="*/ 2147483646 w 3556"/>
              <a:gd name="T65" fmla="*/ 2147483646 h 3950"/>
              <a:gd name="T66" fmla="*/ 2147483646 w 3556"/>
              <a:gd name="T67" fmla="*/ 2147483646 h 3950"/>
              <a:gd name="T68" fmla="*/ 2147483646 w 3556"/>
              <a:gd name="T69" fmla="*/ 2147483646 h 3950"/>
              <a:gd name="T70" fmla="*/ 2147483646 w 3556"/>
              <a:gd name="T71" fmla="*/ 2147483646 h 3950"/>
              <a:gd name="T72" fmla="*/ 2147483646 w 3556"/>
              <a:gd name="T73" fmla="*/ 2147483646 h 3950"/>
              <a:gd name="T74" fmla="*/ 2147483646 w 3556"/>
              <a:gd name="T75" fmla="*/ 2147483646 h 3950"/>
              <a:gd name="T76" fmla="*/ 2147483646 w 3556"/>
              <a:gd name="T77" fmla="*/ 2147483646 h 3950"/>
              <a:gd name="T78" fmla="*/ 2147483646 w 3556"/>
              <a:gd name="T79" fmla="*/ 2147483646 h 3950"/>
              <a:gd name="T80" fmla="*/ 2147483646 w 3556"/>
              <a:gd name="T81" fmla="*/ 0 h 3950"/>
              <a:gd name="T82" fmla="*/ 2147483646 w 3556"/>
              <a:gd name="T83" fmla="*/ 2147483646 h 3950"/>
              <a:gd name="T84" fmla="*/ 2147483646 w 3556"/>
              <a:gd name="T85" fmla="*/ 2147483646 h 3950"/>
              <a:gd name="T86" fmla="*/ 2147483646 w 3556"/>
              <a:gd name="T87" fmla="*/ 2147483646 h 395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556"/>
              <a:gd name="T133" fmla="*/ 0 h 3950"/>
              <a:gd name="T134" fmla="*/ 3556 w 3556"/>
              <a:gd name="T135" fmla="*/ 3950 h 395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556" h="3950">
                <a:moveTo>
                  <a:pt x="909" y="3917"/>
                </a:moveTo>
                <a:cubicBezTo>
                  <a:pt x="824" y="3832"/>
                  <a:pt x="894" y="3725"/>
                  <a:pt x="1036" y="3725"/>
                </a:cubicBezTo>
                <a:cubicBezTo>
                  <a:pt x="1119" y="3725"/>
                  <a:pt x="1129" y="3717"/>
                  <a:pt x="1129" y="3645"/>
                </a:cubicBezTo>
                <a:cubicBezTo>
                  <a:pt x="1129" y="3472"/>
                  <a:pt x="1135" y="3471"/>
                  <a:pt x="2192" y="3471"/>
                </a:cubicBezTo>
                <a:cubicBezTo>
                  <a:pt x="3086" y="3471"/>
                  <a:pt x="3155" y="3475"/>
                  <a:pt x="3199" y="3523"/>
                </a:cubicBezTo>
                <a:cubicBezTo>
                  <a:pt x="3225" y="3551"/>
                  <a:pt x="3246" y="3608"/>
                  <a:pt x="3246" y="3648"/>
                </a:cubicBezTo>
                <a:cubicBezTo>
                  <a:pt x="3246" y="3712"/>
                  <a:pt x="3259" y="3723"/>
                  <a:pt x="3349" y="3730"/>
                </a:cubicBezTo>
                <a:cubicBezTo>
                  <a:pt x="3470" y="3741"/>
                  <a:pt x="3530" y="3811"/>
                  <a:pt x="3482" y="3887"/>
                </a:cubicBezTo>
                <a:cubicBezTo>
                  <a:pt x="3453" y="3933"/>
                  <a:pt x="3356" y="3937"/>
                  <a:pt x="2197" y="3944"/>
                </a:cubicBezTo>
                <a:cubicBezTo>
                  <a:pt x="1245" y="3950"/>
                  <a:pt x="935" y="3943"/>
                  <a:pt x="909" y="3917"/>
                </a:cubicBezTo>
                <a:close/>
                <a:moveTo>
                  <a:pt x="87" y="3370"/>
                </a:moveTo>
                <a:cubicBezTo>
                  <a:pt x="24" y="3317"/>
                  <a:pt x="0" y="3272"/>
                  <a:pt x="0" y="3209"/>
                </a:cubicBezTo>
                <a:cubicBezTo>
                  <a:pt x="0" y="3132"/>
                  <a:pt x="86" y="3035"/>
                  <a:pt x="705" y="2414"/>
                </a:cubicBezTo>
                <a:lnTo>
                  <a:pt x="1411" y="1706"/>
                </a:lnTo>
                <a:lnTo>
                  <a:pt x="1235" y="1530"/>
                </a:lnTo>
                <a:lnTo>
                  <a:pt x="1059" y="1355"/>
                </a:lnTo>
                <a:lnTo>
                  <a:pt x="1510" y="903"/>
                </a:lnTo>
                <a:lnTo>
                  <a:pt x="1960" y="452"/>
                </a:lnTo>
                <a:lnTo>
                  <a:pt x="2135" y="624"/>
                </a:lnTo>
                <a:cubicBezTo>
                  <a:pt x="2305" y="793"/>
                  <a:pt x="2310" y="796"/>
                  <a:pt x="2374" y="751"/>
                </a:cubicBezTo>
                <a:cubicBezTo>
                  <a:pt x="2469" y="685"/>
                  <a:pt x="2547" y="695"/>
                  <a:pt x="2633" y="785"/>
                </a:cubicBezTo>
                <a:cubicBezTo>
                  <a:pt x="2720" y="875"/>
                  <a:pt x="2731" y="974"/>
                  <a:pt x="2662" y="1050"/>
                </a:cubicBezTo>
                <a:cubicBezTo>
                  <a:pt x="2616" y="1100"/>
                  <a:pt x="2624" y="1112"/>
                  <a:pt x="2823" y="1313"/>
                </a:cubicBezTo>
                <a:lnTo>
                  <a:pt x="3033" y="1524"/>
                </a:lnTo>
                <a:lnTo>
                  <a:pt x="2582" y="1975"/>
                </a:lnTo>
                <a:lnTo>
                  <a:pt x="2132" y="2427"/>
                </a:lnTo>
                <a:lnTo>
                  <a:pt x="1933" y="2229"/>
                </a:lnTo>
                <a:cubicBezTo>
                  <a:pt x="1824" y="2121"/>
                  <a:pt x="1722" y="2032"/>
                  <a:pt x="1707" y="2032"/>
                </a:cubicBezTo>
                <a:cubicBezTo>
                  <a:pt x="1693" y="2032"/>
                  <a:pt x="1362" y="2349"/>
                  <a:pt x="973" y="2737"/>
                </a:cubicBezTo>
                <a:cubicBezTo>
                  <a:pt x="584" y="3125"/>
                  <a:pt x="245" y="3443"/>
                  <a:pt x="220" y="3443"/>
                </a:cubicBezTo>
                <a:cubicBezTo>
                  <a:pt x="194" y="3443"/>
                  <a:pt x="135" y="3410"/>
                  <a:pt x="87" y="3370"/>
                </a:cubicBezTo>
                <a:close/>
                <a:moveTo>
                  <a:pt x="2258" y="2887"/>
                </a:moveTo>
                <a:cubicBezTo>
                  <a:pt x="2196" y="2865"/>
                  <a:pt x="2145" y="2792"/>
                  <a:pt x="2145" y="2725"/>
                </a:cubicBezTo>
                <a:cubicBezTo>
                  <a:pt x="2145" y="2686"/>
                  <a:pt x="2337" y="2474"/>
                  <a:pt x="2703" y="2109"/>
                </a:cubicBezTo>
                <a:cubicBezTo>
                  <a:pt x="3289" y="1523"/>
                  <a:pt x="3346" y="1485"/>
                  <a:pt x="3453" y="1604"/>
                </a:cubicBezTo>
                <a:cubicBezTo>
                  <a:pt x="3556" y="1717"/>
                  <a:pt x="3522" y="1766"/>
                  <a:pt x="2956" y="2331"/>
                </a:cubicBezTo>
                <a:cubicBezTo>
                  <a:pt x="2657" y="2630"/>
                  <a:pt x="2388" y="2880"/>
                  <a:pt x="2357" y="2888"/>
                </a:cubicBezTo>
                <a:cubicBezTo>
                  <a:pt x="2326" y="2895"/>
                  <a:pt x="2281" y="2895"/>
                  <a:pt x="2258" y="2887"/>
                </a:cubicBezTo>
                <a:close/>
                <a:moveTo>
                  <a:pt x="637" y="1282"/>
                </a:moveTo>
                <a:cubicBezTo>
                  <a:pt x="528" y="1172"/>
                  <a:pt x="568" y="1113"/>
                  <a:pt x="1137" y="544"/>
                </a:cubicBezTo>
                <a:cubicBezTo>
                  <a:pt x="1607" y="74"/>
                  <a:pt x="1693" y="0"/>
                  <a:pt x="1767" y="0"/>
                </a:cubicBezTo>
                <a:cubicBezTo>
                  <a:pt x="1862" y="0"/>
                  <a:pt x="1947" y="73"/>
                  <a:pt x="1947" y="156"/>
                </a:cubicBezTo>
                <a:cubicBezTo>
                  <a:pt x="1947" y="186"/>
                  <a:pt x="1715" y="442"/>
                  <a:pt x="1391" y="767"/>
                </a:cubicBezTo>
                <a:cubicBezTo>
                  <a:pt x="808" y="1353"/>
                  <a:pt x="749" y="1393"/>
                  <a:pt x="637" y="12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" name="Group 118">
            <a:extLst>
              <a:ext uri="{FF2B5EF4-FFF2-40B4-BE49-F238E27FC236}">
                <a16:creationId xmlns:a16="http://schemas.microsoft.com/office/drawing/2014/main" id="{FB3D6A90-C4FD-433A-A1C1-A4B3864804A5}"/>
              </a:ext>
            </a:extLst>
          </p:cNvPr>
          <p:cNvGrpSpPr/>
          <p:nvPr/>
        </p:nvGrpSpPr>
        <p:grpSpPr>
          <a:xfrm>
            <a:off x="8409631" y="5248358"/>
            <a:ext cx="346498" cy="347472"/>
            <a:chOff x="1468138" y="5997240"/>
            <a:chExt cx="283642" cy="307072"/>
          </a:xfrm>
          <a:solidFill>
            <a:schemeClr val="bg1"/>
          </a:solidFill>
        </p:grpSpPr>
        <p:sp>
          <p:nvSpPr>
            <p:cNvPr id="120" name="Freeform 16">
              <a:extLst>
                <a:ext uri="{FF2B5EF4-FFF2-40B4-BE49-F238E27FC236}">
                  <a16:creationId xmlns:a16="http://schemas.microsoft.com/office/drawing/2014/main" id="{D6134FC8-4249-4088-8AE8-003C8AAC7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6136" y="6255221"/>
              <a:ext cx="26428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1 w 349"/>
                <a:gd name="T25" fmla="*/ 226 h 350"/>
                <a:gd name="T26" fmla="*/ 225 w 349"/>
                <a:gd name="T27" fmla="*/ 213 h 350"/>
                <a:gd name="T28" fmla="*/ 234 w 349"/>
                <a:gd name="T29" fmla="*/ 194 h 350"/>
                <a:gd name="T30" fmla="*/ 237 w 349"/>
                <a:gd name="T31" fmla="*/ 175 h 350"/>
                <a:gd name="T32" fmla="*/ 235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5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4 w 349"/>
                <a:gd name="T47" fmla="*/ 3 h 350"/>
                <a:gd name="T48" fmla="*/ 234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8 w 349"/>
                <a:gd name="T55" fmla="*/ 63 h 350"/>
                <a:gd name="T56" fmla="*/ 325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5 w 349"/>
                <a:gd name="T65" fmla="*/ 210 h 350"/>
                <a:gd name="T66" fmla="*/ 335 w 349"/>
                <a:gd name="T67" fmla="*/ 243 h 350"/>
                <a:gd name="T68" fmla="*/ 319 w 349"/>
                <a:gd name="T69" fmla="*/ 273 h 350"/>
                <a:gd name="T70" fmla="*/ 297 w 349"/>
                <a:gd name="T71" fmla="*/ 299 h 350"/>
                <a:gd name="T72" fmla="*/ 272 w 349"/>
                <a:gd name="T73" fmla="*/ 319 h 350"/>
                <a:gd name="T74" fmla="*/ 242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39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29 w 349"/>
                <a:gd name="T89" fmla="*/ 273 h 350"/>
                <a:gd name="T90" fmla="*/ 14 w 349"/>
                <a:gd name="T91" fmla="*/ 243 h 350"/>
                <a:gd name="T92" fmla="*/ 3 w 349"/>
                <a:gd name="T93" fmla="*/ 210 h 350"/>
                <a:gd name="T94" fmla="*/ 0 w 349"/>
                <a:gd name="T95" fmla="*/ 175 h 350"/>
                <a:gd name="T96" fmla="*/ 3 w 349"/>
                <a:gd name="T97" fmla="*/ 140 h 350"/>
                <a:gd name="T98" fmla="*/ 14 w 349"/>
                <a:gd name="T99" fmla="*/ 107 h 350"/>
                <a:gd name="T100" fmla="*/ 29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39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1" y="226"/>
                  </a:lnTo>
                  <a:lnTo>
                    <a:pt x="225" y="213"/>
                  </a:lnTo>
                  <a:lnTo>
                    <a:pt x="234" y="194"/>
                  </a:lnTo>
                  <a:lnTo>
                    <a:pt x="237" y="175"/>
                  </a:lnTo>
                  <a:lnTo>
                    <a:pt x="235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5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4" y="3"/>
                  </a:lnTo>
                  <a:lnTo>
                    <a:pt x="234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8" y="63"/>
                  </a:lnTo>
                  <a:lnTo>
                    <a:pt x="325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5" y="210"/>
                  </a:lnTo>
                  <a:lnTo>
                    <a:pt x="335" y="243"/>
                  </a:lnTo>
                  <a:lnTo>
                    <a:pt x="319" y="273"/>
                  </a:lnTo>
                  <a:lnTo>
                    <a:pt x="297" y="299"/>
                  </a:lnTo>
                  <a:lnTo>
                    <a:pt x="272" y="319"/>
                  </a:lnTo>
                  <a:lnTo>
                    <a:pt x="242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39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29" y="273"/>
                  </a:lnTo>
                  <a:lnTo>
                    <a:pt x="14" y="243"/>
                  </a:lnTo>
                  <a:lnTo>
                    <a:pt x="3" y="210"/>
                  </a:lnTo>
                  <a:lnTo>
                    <a:pt x="0" y="175"/>
                  </a:lnTo>
                  <a:lnTo>
                    <a:pt x="3" y="140"/>
                  </a:lnTo>
                  <a:lnTo>
                    <a:pt x="14" y="107"/>
                  </a:lnTo>
                  <a:lnTo>
                    <a:pt x="29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39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1" name="Freeform 17">
              <a:extLst>
                <a:ext uri="{FF2B5EF4-FFF2-40B4-BE49-F238E27FC236}">
                  <a16:creationId xmlns:a16="http://schemas.microsoft.com/office/drawing/2014/main" id="{67A5F0B0-C078-4A85-9E32-409FF0B3D5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2133" y="6255221"/>
              <a:ext cx="26656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2 w 349"/>
                <a:gd name="T25" fmla="*/ 226 h 350"/>
                <a:gd name="T26" fmla="*/ 226 w 349"/>
                <a:gd name="T27" fmla="*/ 213 h 350"/>
                <a:gd name="T28" fmla="*/ 235 w 349"/>
                <a:gd name="T29" fmla="*/ 194 h 350"/>
                <a:gd name="T30" fmla="*/ 237 w 349"/>
                <a:gd name="T31" fmla="*/ 175 h 350"/>
                <a:gd name="T32" fmla="*/ 236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7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5 w 349"/>
                <a:gd name="T47" fmla="*/ 3 h 350"/>
                <a:gd name="T48" fmla="*/ 235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9 w 349"/>
                <a:gd name="T55" fmla="*/ 63 h 350"/>
                <a:gd name="T56" fmla="*/ 326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6 w 349"/>
                <a:gd name="T65" fmla="*/ 210 h 350"/>
                <a:gd name="T66" fmla="*/ 336 w 349"/>
                <a:gd name="T67" fmla="*/ 243 h 350"/>
                <a:gd name="T68" fmla="*/ 319 w 349"/>
                <a:gd name="T69" fmla="*/ 273 h 350"/>
                <a:gd name="T70" fmla="*/ 298 w 349"/>
                <a:gd name="T71" fmla="*/ 299 h 350"/>
                <a:gd name="T72" fmla="*/ 272 w 349"/>
                <a:gd name="T73" fmla="*/ 319 h 350"/>
                <a:gd name="T74" fmla="*/ 243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40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30 w 349"/>
                <a:gd name="T89" fmla="*/ 273 h 350"/>
                <a:gd name="T90" fmla="*/ 14 w 349"/>
                <a:gd name="T91" fmla="*/ 243 h 350"/>
                <a:gd name="T92" fmla="*/ 4 w 349"/>
                <a:gd name="T93" fmla="*/ 210 h 350"/>
                <a:gd name="T94" fmla="*/ 0 w 349"/>
                <a:gd name="T95" fmla="*/ 175 h 350"/>
                <a:gd name="T96" fmla="*/ 4 w 349"/>
                <a:gd name="T97" fmla="*/ 140 h 350"/>
                <a:gd name="T98" fmla="*/ 14 w 349"/>
                <a:gd name="T99" fmla="*/ 107 h 350"/>
                <a:gd name="T100" fmla="*/ 30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40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7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7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5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19" y="273"/>
                  </a:lnTo>
                  <a:lnTo>
                    <a:pt x="298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2" name="Freeform 18">
              <a:extLst>
                <a:ext uri="{FF2B5EF4-FFF2-40B4-BE49-F238E27FC236}">
                  <a16:creationId xmlns:a16="http://schemas.microsoft.com/office/drawing/2014/main" id="{BF1784DA-3E40-44FD-998D-DB1DD379C0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8357" y="6255221"/>
              <a:ext cx="26428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7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1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7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8 w 350"/>
                <a:gd name="T31" fmla="*/ 175 h 350"/>
                <a:gd name="T32" fmla="*/ 236 w 350"/>
                <a:gd name="T33" fmla="*/ 158 h 350"/>
                <a:gd name="T34" fmla="*/ 229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7 w 350"/>
                <a:gd name="T53" fmla="*/ 41 h 350"/>
                <a:gd name="T54" fmla="*/ 309 w 350"/>
                <a:gd name="T55" fmla="*/ 63 h 350"/>
                <a:gd name="T56" fmla="*/ 326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2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7 w 350"/>
                <a:gd name="T85" fmla="*/ 319 h 350"/>
                <a:gd name="T86" fmla="*/ 51 w 350"/>
                <a:gd name="T87" fmla="*/ 299 h 350"/>
                <a:gd name="T88" fmla="*/ 30 w 350"/>
                <a:gd name="T89" fmla="*/ 273 h 350"/>
                <a:gd name="T90" fmla="*/ 14 w 350"/>
                <a:gd name="T91" fmla="*/ 243 h 350"/>
                <a:gd name="T92" fmla="*/ 4 w 350"/>
                <a:gd name="T93" fmla="*/ 210 h 350"/>
                <a:gd name="T94" fmla="*/ 0 w 350"/>
                <a:gd name="T95" fmla="*/ 175 h 350"/>
                <a:gd name="T96" fmla="*/ 4 w 350"/>
                <a:gd name="T97" fmla="*/ 140 h 350"/>
                <a:gd name="T98" fmla="*/ 14 w 350"/>
                <a:gd name="T99" fmla="*/ 107 h 350"/>
                <a:gd name="T100" fmla="*/ 30 w 350"/>
                <a:gd name="T101" fmla="*/ 78 h 350"/>
                <a:gd name="T102" fmla="*/ 51 w 350"/>
                <a:gd name="T103" fmla="*/ 52 h 350"/>
                <a:gd name="T104" fmla="*/ 77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8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3" name="Freeform 19">
              <a:extLst>
                <a:ext uri="{FF2B5EF4-FFF2-40B4-BE49-F238E27FC236}">
                  <a16:creationId xmlns:a16="http://schemas.microsoft.com/office/drawing/2014/main" id="{FF26547B-24B3-4108-8095-A2794E966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4353" y="6255221"/>
              <a:ext cx="26656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8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3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8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9 w 350"/>
                <a:gd name="T31" fmla="*/ 175 h 350"/>
                <a:gd name="T32" fmla="*/ 236 w 350"/>
                <a:gd name="T33" fmla="*/ 158 h 350"/>
                <a:gd name="T34" fmla="*/ 231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8 w 350"/>
                <a:gd name="T53" fmla="*/ 41 h 350"/>
                <a:gd name="T54" fmla="*/ 309 w 350"/>
                <a:gd name="T55" fmla="*/ 63 h 350"/>
                <a:gd name="T56" fmla="*/ 327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3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8 w 350"/>
                <a:gd name="T85" fmla="*/ 319 h 350"/>
                <a:gd name="T86" fmla="*/ 53 w 350"/>
                <a:gd name="T87" fmla="*/ 299 h 350"/>
                <a:gd name="T88" fmla="*/ 31 w 350"/>
                <a:gd name="T89" fmla="*/ 273 h 350"/>
                <a:gd name="T90" fmla="*/ 15 w 350"/>
                <a:gd name="T91" fmla="*/ 243 h 350"/>
                <a:gd name="T92" fmla="*/ 5 w 350"/>
                <a:gd name="T93" fmla="*/ 210 h 350"/>
                <a:gd name="T94" fmla="*/ 0 w 350"/>
                <a:gd name="T95" fmla="*/ 175 h 350"/>
                <a:gd name="T96" fmla="*/ 5 w 350"/>
                <a:gd name="T97" fmla="*/ 140 h 350"/>
                <a:gd name="T98" fmla="*/ 15 w 350"/>
                <a:gd name="T99" fmla="*/ 107 h 350"/>
                <a:gd name="T100" fmla="*/ 31 w 350"/>
                <a:gd name="T101" fmla="*/ 78 h 350"/>
                <a:gd name="T102" fmla="*/ 53 w 350"/>
                <a:gd name="T103" fmla="*/ 52 h 350"/>
                <a:gd name="T104" fmla="*/ 78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8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3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8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9" y="175"/>
                  </a:lnTo>
                  <a:lnTo>
                    <a:pt x="236" y="158"/>
                  </a:lnTo>
                  <a:lnTo>
                    <a:pt x="231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8" y="41"/>
                  </a:lnTo>
                  <a:lnTo>
                    <a:pt x="309" y="63"/>
                  </a:lnTo>
                  <a:lnTo>
                    <a:pt x="327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3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8" y="319"/>
                  </a:lnTo>
                  <a:lnTo>
                    <a:pt x="53" y="299"/>
                  </a:lnTo>
                  <a:lnTo>
                    <a:pt x="31" y="273"/>
                  </a:lnTo>
                  <a:lnTo>
                    <a:pt x="15" y="243"/>
                  </a:lnTo>
                  <a:lnTo>
                    <a:pt x="5" y="210"/>
                  </a:lnTo>
                  <a:lnTo>
                    <a:pt x="0" y="175"/>
                  </a:lnTo>
                  <a:lnTo>
                    <a:pt x="5" y="140"/>
                  </a:lnTo>
                  <a:lnTo>
                    <a:pt x="15" y="107"/>
                  </a:lnTo>
                  <a:lnTo>
                    <a:pt x="31" y="78"/>
                  </a:lnTo>
                  <a:lnTo>
                    <a:pt x="53" y="52"/>
                  </a:lnTo>
                  <a:lnTo>
                    <a:pt x="78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4" name="Freeform 20">
              <a:extLst>
                <a:ext uri="{FF2B5EF4-FFF2-40B4-BE49-F238E27FC236}">
                  <a16:creationId xmlns:a16="http://schemas.microsoft.com/office/drawing/2014/main" id="{6F553FA1-4728-401A-8C20-F18E165CA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80832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2 h 111"/>
                <a:gd name="T10" fmla="*/ 168 w 171"/>
                <a:gd name="T11" fmla="*/ 37 h 111"/>
                <a:gd name="T12" fmla="*/ 171 w 171"/>
                <a:gd name="T13" fmla="*/ 55 h 111"/>
                <a:gd name="T14" fmla="*/ 168 w 171"/>
                <a:gd name="T15" fmla="*/ 72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8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8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2 h 111"/>
                <a:gd name="T34" fmla="*/ 0 w 171"/>
                <a:gd name="T35" fmla="*/ 55 h 111"/>
                <a:gd name="T36" fmla="*/ 2 w 171"/>
                <a:gd name="T37" fmla="*/ 37 h 111"/>
                <a:gd name="T38" fmla="*/ 10 w 171"/>
                <a:gd name="T39" fmla="*/ 22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2"/>
                  </a:lnTo>
                  <a:lnTo>
                    <a:pt x="168" y="37"/>
                  </a:lnTo>
                  <a:lnTo>
                    <a:pt x="171" y="55"/>
                  </a:lnTo>
                  <a:lnTo>
                    <a:pt x="168" y="72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8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8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2"/>
                  </a:lnTo>
                  <a:lnTo>
                    <a:pt x="0" y="55"/>
                  </a:lnTo>
                  <a:lnTo>
                    <a:pt x="2" y="37"/>
                  </a:lnTo>
                  <a:lnTo>
                    <a:pt x="10" y="22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5" name="Freeform 21">
              <a:extLst>
                <a:ext uri="{FF2B5EF4-FFF2-40B4-BE49-F238E27FC236}">
                  <a16:creationId xmlns:a16="http://schemas.microsoft.com/office/drawing/2014/main" id="{2A783787-5E9B-43C9-9BF4-073950C97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95860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3 h 111"/>
                <a:gd name="T10" fmla="*/ 168 w 171"/>
                <a:gd name="T11" fmla="*/ 38 h 111"/>
                <a:gd name="T12" fmla="*/ 171 w 171"/>
                <a:gd name="T13" fmla="*/ 55 h 111"/>
                <a:gd name="T14" fmla="*/ 168 w 171"/>
                <a:gd name="T15" fmla="*/ 74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9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9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4 h 111"/>
                <a:gd name="T34" fmla="*/ 0 w 171"/>
                <a:gd name="T35" fmla="*/ 55 h 111"/>
                <a:gd name="T36" fmla="*/ 2 w 171"/>
                <a:gd name="T37" fmla="*/ 38 h 111"/>
                <a:gd name="T38" fmla="*/ 10 w 171"/>
                <a:gd name="T39" fmla="*/ 23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3"/>
                  </a:lnTo>
                  <a:lnTo>
                    <a:pt x="168" y="38"/>
                  </a:lnTo>
                  <a:lnTo>
                    <a:pt x="171" y="55"/>
                  </a:lnTo>
                  <a:lnTo>
                    <a:pt x="168" y="74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9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9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4"/>
                  </a:lnTo>
                  <a:lnTo>
                    <a:pt x="0" y="55"/>
                  </a:lnTo>
                  <a:lnTo>
                    <a:pt x="2" y="38"/>
                  </a:lnTo>
                  <a:lnTo>
                    <a:pt x="10" y="23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6" name="Freeform 22">
              <a:extLst>
                <a:ext uri="{FF2B5EF4-FFF2-40B4-BE49-F238E27FC236}">
                  <a16:creationId xmlns:a16="http://schemas.microsoft.com/office/drawing/2014/main" id="{6465D05A-ED22-49B3-924E-6DFC4C8C8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8138" y="5997240"/>
              <a:ext cx="283642" cy="307072"/>
            </a:xfrm>
            <a:custGeom>
              <a:avLst/>
              <a:gdLst>
                <a:gd name="T0" fmla="*/ 185 w 3736"/>
                <a:gd name="T1" fmla="*/ 3069 h 3678"/>
                <a:gd name="T2" fmla="*/ 125 w 3736"/>
                <a:gd name="T3" fmla="*/ 3352 h 3678"/>
                <a:gd name="T4" fmla="*/ 325 w 3736"/>
                <a:gd name="T5" fmla="*/ 3554 h 3678"/>
                <a:gd name="T6" fmla="*/ 2002 w 3736"/>
                <a:gd name="T7" fmla="*/ 3518 h 3678"/>
                <a:gd name="T8" fmla="*/ 2140 w 3736"/>
                <a:gd name="T9" fmla="*/ 3266 h 3678"/>
                <a:gd name="T10" fmla="*/ 2002 w 3736"/>
                <a:gd name="T11" fmla="*/ 3013 h 3678"/>
                <a:gd name="T12" fmla="*/ 943 w 3736"/>
                <a:gd name="T13" fmla="*/ 2853 h 3678"/>
                <a:gd name="T14" fmla="*/ 2970 w 3736"/>
                <a:gd name="T15" fmla="*/ 2765 h 3678"/>
                <a:gd name="T16" fmla="*/ 3240 w 3736"/>
                <a:gd name="T17" fmla="*/ 2787 h 3678"/>
                <a:gd name="T18" fmla="*/ 3506 w 3736"/>
                <a:gd name="T19" fmla="*/ 2599 h 3678"/>
                <a:gd name="T20" fmla="*/ 302 w 3736"/>
                <a:gd name="T21" fmla="*/ 2099 h 3678"/>
                <a:gd name="T22" fmla="*/ 333 w 3736"/>
                <a:gd name="T23" fmla="*/ 2613 h 3678"/>
                <a:gd name="T24" fmla="*/ 3524 w 3736"/>
                <a:gd name="T25" fmla="*/ 1966 h 3678"/>
                <a:gd name="T26" fmla="*/ 3542 w 3736"/>
                <a:gd name="T27" fmla="*/ 2077 h 3678"/>
                <a:gd name="T28" fmla="*/ 3622 w 3736"/>
                <a:gd name="T29" fmla="*/ 1998 h 3678"/>
                <a:gd name="T30" fmla="*/ 893 w 3736"/>
                <a:gd name="T31" fmla="*/ 1458 h 3678"/>
                <a:gd name="T32" fmla="*/ 1843 w 3736"/>
                <a:gd name="T33" fmla="*/ 2616 h 3678"/>
                <a:gd name="T34" fmla="*/ 1132 w 3736"/>
                <a:gd name="T35" fmla="*/ 2414 h 3678"/>
                <a:gd name="T36" fmla="*/ 954 w 3736"/>
                <a:gd name="T37" fmla="*/ 2256 h 3678"/>
                <a:gd name="T38" fmla="*/ 1082 w 3736"/>
                <a:gd name="T39" fmla="*/ 2271 h 3678"/>
                <a:gd name="T40" fmla="*/ 1271 w 3736"/>
                <a:gd name="T41" fmla="*/ 1557 h 3678"/>
                <a:gd name="T42" fmla="*/ 1360 w 3736"/>
                <a:gd name="T43" fmla="*/ 1601 h 3678"/>
                <a:gd name="T44" fmla="*/ 1958 w 3736"/>
                <a:gd name="T45" fmla="*/ 2171 h 3678"/>
                <a:gd name="T46" fmla="*/ 1525 w 3736"/>
                <a:gd name="T47" fmla="*/ 1457 h 3678"/>
                <a:gd name="T48" fmla="*/ 2749 w 3736"/>
                <a:gd name="T49" fmla="*/ 361 h 3678"/>
                <a:gd name="T50" fmla="*/ 3541 w 3736"/>
                <a:gd name="T51" fmla="*/ 1844 h 3678"/>
                <a:gd name="T52" fmla="*/ 1658 w 3736"/>
                <a:gd name="T53" fmla="*/ 1439 h 3678"/>
                <a:gd name="T54" fmla="*/ 2419 w 3736"/>
                <a:gd name="T55" fmla="*/ 427 h 3678"/>
                <a:gd name="T56" fmla="*/ 2498 w 3736"/>
                <a:gd name="T57" fmla="*/ 124 h 3678"/>
                <a:gd name="T58" fmla="*/ 2441 w 3736"/>
                <a:gd name="T59" fmla="*/ 287 h 3678"/>
                <a:gd name="T60" fmla="*/ 2599 w 3736"/>
                <a:gd name="T61" fmla="*/ 347 h 3678"/>
                <a:gd name="T62" fmla="*/ 2672 w 3736"/>
                <a:gd name="T63" fmla="*/ 256 h 3678"/>
                <a:gd name="T64" fmla="*/ 2625 w 3736"/>
                <a:gd name="T65" fmla="*/ 136 h 3678"/>
                <a:gd name="T66" fmla="*/ 2665 w 3736"/>
                <a:gd name="T67" fmla="*/ 28 h 3678"/>
                <a:gd name="T68" fmla="*/ 3734 w 3736"/>
                <a:gd name="T69" fmla="*/ 1986 h 3678"/>
                <a:gd name="T70" fmla="*/ 3646 w 3736"/>
                <a:gd name="T71" fmla="*/ 2170 h 3678"/>
                <a:gd name="T72" fmla="*/ 3580 w 3736"/>
                <a:gd name="T73" fmla="*/ 2724 h 3678"/>
                <a:gd name="T74" fmla="*/ 3180 w 3736"/>
                <a:gd name="T75" fmla="*/ 2918 h 3678"/>
                <a:gd name="T76" fmla="*/ 2865 w 3736"/>
                <a:gd name="T77" fmla="*/ 2826 h 3678"/>
                <a:gd name="T78" fmla="*/ 2459 w 3736"/>
                <a:gd name="T79" fmla="*/ 2397 h 3678"/>
                <a:gd name="T80" fmla="*/ 3431 w 3736"/>
                <a:gd name="T81" fmla="*/ 2200 h 3678"/>
                <a:gd name="T82" fmla="*/ 3506 w 3736"/>
                <a:gd name="T83" fmla="*/ 2183 h 3678"/>
                <a:gd name="T84" fmla="*/ 1983 w 3736"/>
                <a:gd name="T85" fmla="*/ 1926 h 3678"/>
                <a:gd name="T86" fmla="*/ 2073 w 3736"/>
                <a:gd name="T87" fmla="*/ 2433 h 3678"/>
                <a:gd name="T88" fmla="*/ 2059 w 3736"/>
                <a:gd name="T89" fmla="*/ 2469 h 3678"/>
                <a:gd name="T90" fmla="*/ 2043 w 3736"/>
                <a:gd name="T91" fmla="*/ 2482 h 3678"/>
                <a:gd name="T92" fmla="*/ 2024 w 3736"/>
                <a:gd name="T93" fmla="*/ 2489 h 3678"/>
                <a:gd name="T94" fmla="*/ 1942 w 3736"/>
                <a:gd name="T95" fmla="*/ 2705 h 3678"/>
                <a:gd name="T96" fmla="*/ 1890 w 3736"/>
                <a:gd name="T97" fmla="*/ 2857 h 3678"/>
                <a:gd name="T98" fmla="*/ 2177 w 3736"/>
                <a:gd name="T99" fmla="*/ 3030 h 3678"/>
                <a:gd name="T100" fmla="*/ 2238 w 3736"/>
                <a:gd name="T101" fmla="*/ 3367 h 3678"/>
                <a:gd name="T102" fmla="*/ 2032 w 3736"/>
                <a:gd name="T103" fmla="*/ 3630 h 3678"/>
                <a:gd name="T104" fmla="*/ 311 w 3736"/>
                <a:gd name="T105" fmla="*/ 3666 h 3678"/>
                <a:gd name="T106" fmla="*/ 49 w 3736"/>
                <a:gd name="T107" fmla="*/ 3460 h 3678"/>
                <a:gd name="T108" fmla="*/ 28 w 3736"/>
                <a:gd name="T109" fmla="*/ 3116 h 3678"/>
                <a:gd name="T110" fmla="*/ 263 w 3736"/>
                <a:gd name="T111" fmla="*/ 2882 h 3678"/>
                <a:gd name="T112" fmla="*/ 317 w 3736"/>
                <a:gd name="T113" fmla="*/ 2724 h 3678"/>
                <a:gd name="T114" fmla="*/ 178 w 3736"/>
                <a:gd name="T115" fmla="*/ 2553 h 3678"/>
                <a:gd name="T116" fmla="*/ 284 w 3736"/>
                <a:gd name="T117" fmla="*/ 1975 h 3678"/>
                <a:gd name="T118" fmla="*/ 740 w 3736"/>
                <a:gd name="T119" fmla="*/ 1477 h 3678"/>
                <a:gd name="T120" fmla="*/ 963 w 3736"/>
                <a:gd name="T121" fmla="*/ 1310 h 3678"/>
                <a:gd name="T122" fmla="*/ 2410 w 3736"/>
                <a:gd name="T123" fmla="*/ 48 h 3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6" h="3678">
                  <a:moveTo>
                    <a:pt x="413" y="2964"/>
                  </a:moveTo>
                  <a:lnTo>
                    <a:pt x="367" y="2968"/>
                  </a:lnTo>
                  <a:lnTo>
                    <a:pt x="325" y="2978"/>
                  </a:lnTo>
                  <a:lnTo>
                    <a:pt x="286" y="2993"/>
                  </a:lnTo>
                  <a:lnTo>
                    <a:pt x="248" y="3013"/>
                  </a:lnTo>
                  <a:lnTo>
                    <a:pt x="215" y="3039"/>
                  </a:lnTo>
                  <a:lnTo>
                    <a:pt x="185" y="3069"/>
                  </a:lnTo>
                  <a:lnTo>
                    <a:pt x="160" y="3102"/>
                  </a:lnTo>
                  <a:lnTo>
                    <a:pt x="139" y="3139"/>
                  </a:lnTo>
                  <a:lnTo>
                    <a:pt x="125" y="3179"/>
                  </a:lnTo>
                  <a:lnTo>
                    <a:pt x="114" y="3222"/>
                  </a:lnTo>
                  <a:lnTo>
                    <a:pt x="111" y="3266"/>
                  </a:lnTo>
                  <a:lnTo>
                    <a:pt x="114" y="3310"/>
                  </a:lnTo>
                  <a:lnTo>
                    <a:pt x="125" y="3352"/>
                  </a:lnTo>
                  <a:lnTo>
                    <a:pt x="139" y="3393"/>
                  </a:lnTo>
                  <a:lnTo>
                    <a:pt x="160" y="3430"/>
                  </a:lnTo>
                  <a:lnTo>
                    <a:pt x="185" y="3464"/>
                  </a:lnTo>
                  <a:lnTo>
                    <a:pt x="215" y="3493"/>
                  </a:lnTo>
                  <a:lnTo>
                    <a:pt x="248" y="3518"/>
                  </a:lnTo>
                  <a:lnTo>
                    <a:pt x="286" y="3538"/>
                  </a:lnTo>
                  <a:lnTo>
                    <a:pt x="325" y="3554"/>
                  </a:lnTo>
                  <a:lnTo>
                    <a:pt x="367" y="3563"/>
                  </a:lnTo>
                  <a:lnTo>
                    <a:pt x="413" y="3567"/>
                  </a:lnTo>
                  <a:lnTo>
                    <a:pt x="1838" y="3567"/>
                  </a:lnTo>
                  <a:lnTo>
                    <a:pt x="1882" y="3563"/>
                  </a:lnTo>
                  <a:lnTo>
                    <a:pt x="1925" y="3554"/>
                  </a:lnTo>
                  <a:lnTo>
                    <a:pt x="1965" y="3538"/>
                  </a:lnTo>
                  <a:lnTo>
                    <a:pt x="2002" y="3518"/>
                  </a:lnTo>
                  <a:lnTo>
                    <a:pt x="2035" y="3493"/>
                  </a:lnTo>
                  <a:lnTo>
                    <a:pt x="2065" y="3464"/>
                  </a:lnTo>
                  <a:lnTo>
                    <a:pt x="2091" y="3430"/>
                  </a:lnTo>
                  <a:lnTo>
                    <a:pt x="2111" y="3393"/>
                  </a:lnTo>
                  <a:lnTo>
                    <a:pt x="2126" y="3352"/>
                  </a:lnTo>
                  <a:lnTo>
                    <a:pt x="2136" y="3310"/>
                  </a:lnTo>
                  <a:lnTo>
                    <a:pt x="2140" y="3266"/>
                  </a:lnTo>
                  <a:lnTo>
                    <a:pt x="2136" y="3222"/>
                  </a:lnTo>
                  <a:lnTo>
                    <a:pt x="2126" y="3179"/>
                  </a:lnTo>
                  <a:lnTo>
                    <a:pt x="2111" y="3139"/>
                  </a:lnTo>
                  <a:lnTo>
                    <a:pt x="2091" y="3102"/>
                  </a:lnTo>
                  <a:lnTo>
                    <a:pt x="2065" y="3069"/>
                  </a:lnTo>
                  <a:lnTo>
                    <a:pt x="2035" y="3039"/>
                  </a:lnTo>
                  <a:lnTo>
                    <a:pt x="2002" y="3013"/>
                  </a:lnTo>
                  <a:lnTo>
                    <a:pt x="1965" y="2993"/>
                  </a:lnTo>
                  <a:lnTo>
                    <a:pt x="1925" y="2978"/>
                  </a:lnTo>
                  <a:lnTo>
                    <a:pt x="1882" y="2968"/>
                  </a:lnTo>
                  <a:lnTo>
                    <a:pt x="1838" y="2964"/>
                  </a:lnTo>
                  <a:lnTo>
                    <a:pt x="413" y="2964"/>
                  </a:lnTo>
                  <a:close/>
                  <a:moveTo>
                    <a:pt x="943" y="2727"/>
                  </a:moveTo>
                  <a:lnTo>
                    <a:pt x="943" y="2853"/>
                  </a:lnTo>
                  <a:lnTo>
                    <a:pt x="1307" y="2853"/>
                  </a:lnTo>
                  <a:lnTo>
                    <a:pt x="1307" y="2727"/>
                  </a:lnTo>
                  <a:lnTo>
                    <a:pt x="943" y="2727"/>
                  </a:lnTo>
                  <a:close/>
                  <a:moveTo>
                    <a:pt x="3407" y="2328"/>
                  </a:moveTo>
                  <a:lnTo>
                    <a:pt x="2754" y="2590"/>
                  </a:lnTo>
                  <a:lnTo>
                    <a:pt x="2936" y="2741"/>
                  </a:lnTo>
                  <a:lnTo>
                    <a:pt x="2970" y="2765"/>
                  </a:lnTo>
                  <a:lnTo>
                    <a:pt x="3005" y="2783"/>
                  </a:lnTo>
                  <a:lnTo>
                    <a:pt x="3042" y="2797"/>
                  </a:lnTo>
                  <a:lnTo>
                    <a:pt x="3081" y="2806"/>
                  </a:lnTo>
                  <a:lnTo>
                    <a:pt x="3121" y="2809"/>
                  </a:lnTo>
                  <a:lnTo>
                    <a:pt x="3161" y="2808"/>
                  </a:lnTo>
                  <a:lnTo>
                    <a:pt x="3201" y="2800"/>
                  </a:lnTo>
                  <a:lnTo>
                    <a:pt x="3240" y="2787"/>
                  </a:lnTo>
                  <a:lnTo>
                    <a:pt x="3429" y="2711"/>
                  </a:lnTo>
                  <a:lnTo>
                    <a:pt x="3452" y="2700"/>
                  </a:lnTo>
                  <a:lnTo>
                    <a:pt x="3470" y="2684"/>
                  </a:lnTo>
                  <a:lnTo>
                    <a:pt x="3485" y="2666"/>
                  </a:lnTo>
                  <a:lnTo>
                    <a:pt x="3496" y="2646"/>
                  </a:lnTo>
                  <a:lnTo>
                    <a:pt x="3504" y="2623"/>
                  </a:lnTo>
                  <a:lnTo>
                    <a:pt x="3506" y="2599"/>
                  </a:lnTo>
                  <a:lnTo>
                    <a:pt x="3504" y="2575"/>
                  </a:lnTo>
                  <a:lnTo>
                    <a:pt x="3497" y="2551"/>
                  </a:lnTo>
                  <a:lnTo>
                    <a:pt x="3407" y="2328"/>
                  </a:lnTo>
                  <a:close/>
                  <a:moveTo>
                    <a:pt x="353" y="2073"/>
                  </a:moveTo>
                  <a:lnTo>
                    <a:pt x="333" y="2076"/>
                  </a:lnTo>
                  <a:lnTo>
                    <a:pt x="315" y="2085"/>
                  </a:lnTo>
                  <a:lnTo>
                    <a:pt x="302" y="2099"/>
                  </a:lnTo>
                  <a:lnTo>
                    <a:pt x="292" y="2116"/>
                  </a:lnTo>
                  <a:lnTo>
                    <a:pt x="289" y="2136"/>
                  </a:lnTo>
                  <a:lnTo>
                    <a:pt x="289" y="2553"/>
                  </a:lnTo>
                  <a:lnTo>
                    <a:pt x="292" y="2572"/>
                  </a:lnTo>
                  <a:lnTo>
                    <a:pt x="302" y="2590"/>
                  </a:lnTo>
                  <a:lnTo>
                    <a:pt x="315" y="2604"/>
                  </a:lnTo>
                  <a:lnTo>
                    <a:pt x="333" y="2613"/>
                  </a:lnTo>
                  <a:lnTo>
                    <a:pt x="353" y="2616"/>
                  </a:lnTo>
                  <a:lnTo>
                    <a:pt x="713" y="2616"/>
                  </a:lnTo>
                  <a:lnTo>
                    <a:pt x="713" y="2073"/>
                  </a:lnTo>
                  <a:lnTo>
                    <a:pt x="353" y="2073"/>
                  </a:lnTo>
                  <a:close/>
                  <a:moveTo>
                    <a:pt x="3562" y="1955"/>
                  </a:moveTo>
                  <a:lnTo>
                    <a:pt x="3542" y="1957"/>
                  </a:lnTo>
                  <a:lnTo>
                    <a:pt x="3524" y="1966"/>
                  </a:lnTo>
                  <a:lnTo>
                    <a:pt x="3511" y="1980"/>
                  </a:lnTo>
                  <a:lnTo>
                    <a:pt x="3502" y="1998"/>
                  </a:lnTo>
                  <a:lnTo>
                    <a:pt x="3498" y="2017"/>
                  </a:lnTo>
                  <a:lnTo>
                    <a:pt x="3502" y="2038"/>
                  </a:lnTo>
                  <a:lnTo>
                    <a:pt x="3511" y="2055"/>
                  </a:lnTo>
                  <a:lnTo>
                    <a:pt x="3524" y="2068"/>
                  </a:lnTo>
                  <a:lnTo>
                    <a:pt x="3542" y="2077"/>
                  </a:lnTo>
                  <a:lnTo>
                    <a:pt x="3562" y="2081"/>
                  </a:lnTo>
                  <a:lnTo>
                    <a:pt x="3582" y="2077"/>
                  </a:lnTo>
                  <a:lnTo>
                    <a:pt x="3599" y="2068"/>
                  </a:lnTo>
                  <a:lnTo>
                    <a:pt x="3613" y="2055"/>
                  </a:lnTo>
                  <a:lnTo>
                    <a:pt x="3622" y="2038"/>
                  </a:lnTo>
                  <a:lnTo>
                    <a:pt x="3625" y="2017"/>
                  </a:lnTo>
                  <a:lnTo>
                    <a:pt x="3622" y="1998"/>
                  </a:lnTo>
                  <a:lnTo>
                    <a:pt x="3613" y="1980"/>
                  </a:lnTo>
                  <a:lnTo>
                    <a:pt x="3599" y="1966"/>
                  </a:lnTo>
                  <a:lnTo>
                    <a:pt x="3582" y="1957"/>
                  </a:lnTo>
                  <a:lnTo>
                    <a:pt x="3562" y="1955"/>
                  </a:lnTo>
                  <a:close/>
                  <a:moveTo>
                    <a:pt x="950" y="1428"/>
                  </a:moveTo>
                  <a:lnTo>
                    <a:pt x="921" y="1441"/>
                  </a:lnTo>
                  <a:lnTo>
                    <a:pt x="893" y="1458"/>
                  </a:lnTo>
                  <a:lnTo>
                    <a:pt x="871" y="1481"/>
                  </a:lnTo>
                  <a:lnTo>
                    <a:pt x="851" y="1507"/>
                  </a:lnTo>
                  <a:lnTo>
                    <a:pt x="837" y="1536"/>
                  </a:lnTo>
                  <a:lnTo>
                    <a:pt x="828" y="1568"/>
                  </a:lnTo>
                  <a:lnTo>
                    <a:pt x="824" y="1601"/>
                  </a:lnTo>
                  <a:lnTo>
                    <a:pt x="824" y="2616"/>
                  </a:lnTo>
                  <a:lnTo>
                    <a:pt x="1843" y="2616"/>
                  </a:lnTo>
                  <a:lnTo>
                    <a:pt x="1843" y="2489"/>
                  </a:lnTo>
                  <a:lnTo>
                    <a:pt x="1556" y="2489"/>
                  </a:lnTo>
                  <a:lnTo>
                    <a:pt x="1468" y="2487"/>
                  </a:lnTo>
                  <a:lnTo>
                    <a:pt x="1382" y="2478"/>
                  </a:lnTo>
                  <a:lnTo>
                    <a:pt x="1297" y="2462"/>
                  </a:lnTo>
                  <a:lnTo>
                    <a:pt x="1213" y="2441"/>
                  </a:lnTo>
                  <a:lnTo>
                    <a:pt x="1132" y="2414"/>
                  </a:lnTo>
                  <a:lnTo>
                    <a:pt x="1050" y="2382"/>
                  </a:lnTo>
                  <a:lnTo>
                    <a:pt x="1026" y="2369"/>
                  </a:lnTo>
                  <a:lnTo>
                    <a:pt x="1005" y="2352"/>
                  </a:lnTo>
                  <a:lnTo>
                    <a:pt x="985" y="2331"/>
                  </a:lnTo>
                  <a:lnTo>
                    <a:pt x="971" y="2309"/>
                  </a:lnTo>
                  <a:lnTo>
                    <a:pt x="960" y="2284"/>
                  </a:lnTo>
                  <a:lnTo>
                    <a:pt x="954" y="2256"/>
                  </a:lnTo>
                  <a:lnTo>
                    <a:pt x="950" y="2228"/>
                  </a:lnTo>
                  <a:lnTo>
                    <a:pt x="950" y="1428"/>
                  </a:lnTo>
                  <a:close/>
                  <a:moveTo>
                    <a:pt x="1062" y="1419"/>
                  </a:moveTo>
                  <a:lnTo>
                    <a:pt x="1062" y="2228"/>
                  </a:lnTo>
                  <a:lnTo>
                    <a:pt x="1065" y="2245"/>
                  </a:lnTo>
                  <a:lnTo>
                    <a:pt x="1071" y="2259"/>
                  </a:lnTo>
                  <a:lnTo>
                    <a:pt x="1082" y="2271"/>
                  </a:lnTo>
                  <a:lnTo>
                    <a:pt x="1095" y="2280"/>
                  </a:lnTo>
                  <a:lnTo>
                    <a:pt x="1171" y="2311"/>
                  </a:lnTo>
                  <a:lnTo>
                    <a:pt x="1248" y="2335"/>
                  </a:lnTo>
                  <a:lnTo>
                    <a:pt x="1248" y="1601"/>
                  </a:lnTo>
                  <a:lnTo>
                    <a:pt x="1251" y="1584"/>
                  </a:lnTo>
                  <a:lnTo>
                    <a:pt x="1259" y="1568"/>
                  </a:lnTo>
                  <a:lnTo>
                    <a:pt x="1271" y="1557"/>
                  </a:lnTo>
                  <a:lnTo>
                    <a:pt x="1286" y="1549"/>
                  </a:lnTo>
                  <a:lnTo>
                    <a:pt x="1304" y="1545"/>
                  </a:lnTo>
                  <a:lnTo>
                    <a:pt x="1321" y="1549"/>
                  </a:lnTo>
                  <a:lnTo>
                    <a:pt x="1337" y="1557"/>
                  </a:lnTo>
                  <a:lnTo>
                    <a:pt x="1348" y="1568"/>
                  </a:lnTo>
                  <a:lnTo>
                    <a:pt x="1356" y="1584"/>
                  </a:lnTo>
                  <a:lnTo>
                    <a:pt x="1360" y="1601"/>
                  </a:lnTo>
                  <a:lnTo>
                    <a:pt x="1360" y="2361"/>
                  </a:lnTo>
                  <a:lnTo>
                    <a:pt x="1424" y="2370"/>
                  </a:lnTo>
                  <a:lnTo>
                    <a:pt x="1490" y="2376"/>
                  </a:lnTo>
                  <a:lnTo>
                    <a:pt x="1556" y="2378"/>
                  </a:lnTo>
                  <a:lnTo>
                    <a:pt x="1961" y="2378"/>
                  </a:lnTo>
                  <a:lnTo>
                    <a:pt x="1961" y="2221"/>
                  </a:lnTo>
                  <a:lnTo>
                    <a:pt x="1958" y="2171"/>
                  </a:lnTo>
                  <a:lnTo>
                    <a:pt x="1949" y="2123"/>
                  </a:lnTo>
                  <a:lnTo>
                    <a:pt x="1936" y="2076"/>
                  </a:lnTo>
                  <a:lnTo>
                    <a:pt x="1915" y="2031"/>
                  </a:lnTo>
                  <a:lnTo>
                    <a:pt x="1890" y="1988"/>
                  </a:lnTo>
                  <a:lnTo>
                    <a:pt x="1566" y="1500"/>
                  </a:lnTo>
                  <a:lnTo>
                    <a:pt x="1547" y="1477"/>
                  </a:lnTo>
                  <a:lnTo>
                    <a:pt x="1525" y="1457"/>
                  </a:lnTo>
                  <a:lnTo>
                    <a:pt x="1500" y="1441"/>
                  </a:lnTo>
                  <a:lnTo>
                    <a:pt x="1473" y="1428"/>
                  </a:lnTo>
                  <a:lnTo>
                    <a:pt x="1445" y="1422"/>
                  </a:lnTo>
                  <a:lnTo>
                    <a:pt x="1414" y="1419"/>
                  </a:lnTo>
                  <a:lnTo>
                    <a:pt x="1062" y="1419"/>
                  </a:lnTo>
                  <a:close/>
                  <a:moveTo>
                    <a:pt x="2753" y="353"/>
                  </a:moveTo>
                  <a:lnTo>
                    <a:pt x="2749" y="361"/>
                  </a:lnTo>
                  <a:lnTo>
                    <a:pt x="2571" y="659"/>
                  </a:lnTo>
                  <a:lnTo>
                    <a:pt x="3419" y="1917"/>
                  </a:lnTo>
                  <a:lnTo>
                    <a:pt x="3437" y="1895"/>
                  </a:lnTo>
                  <a:lnTo>
                    <a:pt x="3460" y="1876"/>
                  </a:lnTo>
                  <a:lnTo>
                    <a:pt x="3485" y="1861"/>
                  </a:lnTo>
                  <a:lnTo>
                    <a:pt x="3512" y="1850"/>
                  </a:lnTo>
                  <a:lnTo>
                    <a:pt x="3541" y="1844"/>
                  </a:lnTo>
                  <a:lnTo>
                    <a:pt x="2753" y="353"/>
                  </a:lnTo>
                  <a:close/>
                  <a:moveTo>
                    <a:pt x="2334" y="320"/>
                  </a:moveTo>
                  <a:lnTo>
                    <a:pt x="1562" y="1348"/>
                  </a:lnTo>
                  <a:lnTo>
                    <a:pt x="1590" y="1366"/>
                  </a:lnTo>
                  <a:lnTo>
                    <a:pt x="1616" y="1387"/>
                  </a:lnTo>
                  <a:lnTo>
                    <a:pt x="1638" y="1411"/>
                  </a:lnTo>
                  <a:lnTo>
                    <a:pt x="1658" y="1439"/>
                  </a:lnTo>
                  <a:lnTo>
                    <a:pt x="1827" y="1690"/>
                  </a:lnTo>
                  <a:lnTo>
                    <a:pt x="2555" y="467"/>
                  </a:lnTo>
                  <a:lnTo>
                    <a:pt x="2551" y="467"/>
                  </a:lnTo>
                  <a:lnTo>
                    <a:pt x="2515" y="465"/>
                  </a:lnTo>
                  <a:lnTo>
                    <a:pt x="2481" y="457"/>
                  </a:lnTo>
                  <a:lnTo>
                    <a:pt x="2448" y="444"/>
                  </a:lnTo>
                  <a:lnTo>
                    <a:pt x="2419" y="427"/>
                  </a:lnTo>
                  <a:lnTo>
                    <a:pt x="2391" y="405"/>
                  </a:lnTo>
                  <a:lnTo>
                    <a:pt x="2369" y="380"/>
                  </a:lnTo>
                  <a:lnTo>
                    <a:pt x="2349" y="351"/>
                  </a:lnTo>
                  <a:lnTo>
                    <a:pt x="2334" y="320"/>
                  </a:lnTo>
                  <a:close/>
                  <a:moveTo>
                    <a:pt x="2551" y="111"/>
                  </a:moveTo>
                  <a:lnTo>
                    <a:pt x="2523" y="115"/>
                  </a:lnTo>
                  <a:lnTo>
                    <a:pt x="2498" y="124"/>
                  </a:lnTo>
                  <a:lnTo>
                    <a:pt x="2475" y="138"/>
                  </a:lnTo>
                  <a:lnTo>
                    <a:pt x="2456" y="157"/>
                  </a:lnTo>
                  <a:lnTo>
                    <a:pt x="2441" y="180"/>
                  </a:lnTo>
                  <a:lnTo>
                    <a:pt x="2432" y="205"/>
                  </a:lnTo>
                  <a:lnTo>
                    <a:pt x="2429" y="234"/>
                  </a:lnTo>
                  <a:lnTo>
                    <a:pt x="2432" y="262"/>
                  </a:lnTo>
                  <a:lnTo>
                    <a:pt x="2441" y="287"/>
                  </a:lnTo>
                  <a:lnTo>
                    <a:pt x="2456" y="311"/>
                  </a:lnTo>
                  <a:lnTo>
                    <a:pt x="2475" y="329"/>
                  </a:lnTo>
                  <a:lnTo>
                    <a:pt x="2498" y="344"/>
                  </a:lnTo>
                  <a:lnTo>
                    <a:pt x="2523" y="353"/>
                  </a:lnTo>
                  <a:lnTo>
                    <a:pt x="2551" y="356"/>
                  </a:lnTo>
                  <a:lnTo>
                    <a:pt x="2576" y="354"/>
                  </a:lnTo>
                  <a:lnTo>
                    <a:pt x="2599" y="347"/>
                  </a:lnTo>
                  <a:lnTo>
                    <a:pt x="2619" y="336"/>
                  </a:lnTo>
                  <a:lnTo>
                    <a:pt x="2638" y="321"/>
                  </a:lnTo>
                  <a:lnTo>
                    <a:pt x="2653" y="303"/>
                  </a:lnTo>
                  <a:lnTo>
                    <a:pt x="2656" y="298"/>
                  </a:lnTo>
                  <a:lnTo>
                    <a:pt x="2657" y="297"/>
                  </a:lnTo>
                  <a:lnTo>
                    <a:pt x="2666" y="278"/>
                  </a:lnTo>
                  <a:lnTo>
                    <a:pt x="2672" y="256"/>
                  </a:lnTo>
                  <a:lnTo>
                    <a:pt x="2674" y="234"/>
                  </a:lnTo>
                  <a:lnTo>
                    <a:pt x="2672" y="210"/>
                  </a:lnTo>
                  <a:lnTo>
                    <a:pt x="2665" y="187"/>
                  </a:lnTo>
                  <a:lnTo>
                    <a:pt x="2661" y="180"/>
                  </a:lnTo>
                  <a:lnTo>
                    <a:pt x="2658" y="174"/>
                  </a:lnTo>
                  <a:lnTo>
                    <a:pt x="2643" y="153"/>
                  </a:lnTo>
                  <a:lnTo>
                    <a:pt x="2625" y="136"/>
                  </a:lnTo>
                  <a:lnTo>
                    <a:pt x="2603" y="123"/>
                  </a:lnTo>
                  <a:lnTo>
                    <a:pt x="2579" y="115"/>
                  </a:lnTo>
                  <a:lnTo>
                    <a:pt x="2551" y="111"/>
                  </a:lnTo>
                  <a:close/>
                  <a:moveTo>
                    <a:pt x="2551" y="0"/>
                  </a:moveTo>
                  <a:lnTo>
                    <a:pt x="2591" y="3"/>
                  </a:lnTo>
                  <a:lnTo>
                    <a:pt x="2630" y="12"/>
                  </a:lnTo>
                  <a:lnTo>
                    <a:pt x="2665" y="28"/>
                  </a:lnTo>
                  <a:lnTo>
                    <a:pt x="2696" y="50"/>
                  </a:lnTo>
                  <a:lnTo>
                    <a:pt x="2724" y="75"/>
                  </a:lnTo>
                  <a:lnTo>
                    <a:pt x="2747" y="106"/>
                  </a:lnTo>
                  <a:lnTo>
                    <a:pt x="2766" y="138"/>
                  </a:lnTo>
                  <a:lnTo>
                    <a:pt x="3713" y="1930"/>
                  </a:lnTo>
                  <a:lnTo>
                    <a:pt x="3726" y="1957"/>
                  </a:lnTo>
                  <a:lnTo>
                    <a:pt x="3734" y="1986"/>
                  </a:lnTo>
                  <a:lnTo>
                    <a:pt x="3736" y="2017"/>
                  </a:lnTo>
                  <a:lnTo>
                    <a:pt x="3733" y="2050"/>
                  </a:lnTo>
                  <a:lnTo>
                    <a:pt x="3725" y="2080"/>
                  </a:lnTo>
                  <a:lnTo>
                    <a:pt x="3711" y="2108"/>
                  </a:lnTo>
                  <a:lnTo>
                    <a:pt x="3693" y="2132"/>
                  </a:lnTo>
                  <a:lnTo>
                    <a:pt x="3672" y="2153"/>
                  </a:lnTo>
                  <a:lnTo>
                    <a:pt x="3646" y="2170"/>
                  </a:lnTo>
                  <a:lnTo>
                    <a:pt x="3617" y="2183"/>
                  </a:lnTo>
                  <a:lnTo>
                    <a:pt x="3617" y="2612"/>
                  </a:lnTo>
                  <a:lnTo>
                    <a:pt x="3617" y="2620"/>
                  </a:lnTo>
                  <a:lnTo>
                    <a:pt x="3616" y="2626"/>
                  </a:lnTo>
                  <a:lnTo>
                    <a:pt x="3609" y="2660"/>
                  </a:lnTo>
                  <a:lnTo>
                    <a:pt x="3597" y="2693"/>
                  </a:lnTo>
                  <a:lnTo>
                    <a:pt x="3580" y="2724"/>
                  </a:lnTo>
                  <a:lnTo>
                    <a:pt x="3559" y="2752"/>
                  </a:lnTo>
                  <a:lnTo>
                    <a:pt x="3533" y="2777"/>
                  </a:lnTo>
                  <a:lnTo>
                    <a:pt x="3504" y="2799"/>
                  </a:lnTo>
                  <a:lnTo>
                    <a:pt x="3471" y="2815"/>
                  </a:lnTo>
                  <a:lnTo>
                    <a:pt x="3282" y="2891"/>
                  </a:lnTo>
                  <a:lnTo>
                    <a:pt x="3231" y="2908"/>
                  </a:lnTo>
                  <a:lnTo>
                    <a:pt x="3180" y="2918"/>
                  </a:lnTo>
                  <a:lnTo>
                    <a:pt x="3127" y="2920"/>
                  </a:lnTo>
                  <a:lnTo>
                    <a:pt x="3081" y="2918"/>
                  </a:lnTo>
                  <a:lnTo>
                    <a:pt x="3034" y="2910"/>
                  </a:lnTo>
                  <a:lnTo>
                    <a:pt x="2989" y="2896"/>
                  </a:lnTo>
                  <a:lnTo>
                    <a:pt x="2946" y="2878"/>
                  </a:lnTo>
                  <a:lnTo>
                    <a:pt x="2904" y="2855"/>
                  </a:lnTo>
                  <a:lnTo>
                    <a:pt x="2865" y="2826"/>
                  </a:lnTo>
                  <a:lnTo>
                    <a:pt x="2454" y="2487"/>
                  </a:lnTo>
                  <a:lnTo>
                    <a:pt x="2442" y="2474"/>
                  </a:lnTo>
                  <a:lnTo>
                    <a:pt x="2436" y="2458"/>
                  </a:lnTo>
                  <a:lnTo>
                    <a:pt x="2433" y="2441"/>
                  </a:lnTo>
                  <a:lnTo>
                    <a:pt x="2438" y="2424"/>
                  </a:lnTo>
                  <a:lnTo>
                    <a:pt x="2447" y="2409"/>
                  </a:lnTo>
                  <a:lnTo>
                    <a:pt x="2459" y="2397"/>
                  </a:lnTo>
                  <a:lnTo>
                    <a:pt x="2475" y="2390"/>
                  </a:lnTo>
                  <a:lnTo>
                    <a:pt x="2492" y="2388"/>
                  </a:lnTo>
                  <a:lnTo>
                    <a:pt x="2509" y="2393"/>
                  </a:lnTo>
                  <a:lnTo>
                    <a:pt x="2525" y="2402"/>
                  </a:lnTo>
                  <a:lnTo>
                    <a:pt x="2656" y="2509"/>
                  </a:lnTo>
                  <a:lnTo>
                    <a:pt x="3418" y="2203"/>
                  </a:lnTo>
                  <a:lnTo>
                    <a:pt x="3431" y="2200"/>
                  </a:lnTo>
                  <a:lnTo>
                    <a:pt x="3446" y="2200"/>
                  </a:lnTo>
                  <a:lnTo>
                    <a:pt x="3460" y="2204"/>
                  </a:lnTo>
                  <a:lnTo>
                    <a:pt x="3472" y="2211"/>
                  </a:lnTo>
                  <a:lnTo>
                    <a:pt x="3482" y="2221"/>
                  </a:lnTo>
                  <a:lnTo>
                    <a:pt x="3490" y="2235"/>
                  </a:lnTo>
                  <a:lnTo>
                    <a:pt x="3506" y="2275"/>
                  </a:lnTo>
                  <a:lnTo>
                    <a:pt x="3506" y="2183"/>
                  </a:lnTo>
                  <a:lnTo>
                    <a:pt x="3478" y="2170"/>
                  </a:lnTo>
                  <a:lnTo>
                    <a:pt x="3452" y="2152"/>
                  </a:lnTo>
                  <a:lnTo>
                    <a:pt x="3429" y="2131"/>
                  </a:lnTo>
                  <a:lnTo>
                    <a:pt x="3411" y="2106"/>
                  </a:lnTo>
                  <a:lnTo>
                    <a:pt x="2507" y="766"/>
                  </a:lnTo>
                  <a:lnTo>
                    <a:pt x="1895" y="1794"/>
                  </a:lnTo>
                  <a:lnTo>
                    <a:pt x="1983" y="1926"/>
                  </a:lnTo>
                  <a:lnTo>
                    <a:pt x="2010" y="1971"/>
                  </a:lnTo>
                  <a:lnTo>
                    <a:pt x="2032" y="2018"/>
                  </a:lnTo>
                  <a:lnTo>
                    <a:pt x="2050" y="2067"/>
                  </a:lnTo>
                  <a:lnTo>
                    <a:pt x="2063" y="2117"/>
                  </a:lnTo>
                  <a:lnTo>
                    <a:pt x="2069" y="2168"/>
                  </a:lnTo>
                  <a:lnTo>
                    <a:pt x="2073" y="2221"/>
                  </a:lnTo>
                  <a:lnTo>
                    <a:pt x="2073" y="2433"/>
                  </a:lnTo>
                  <a:lnTo>
                    <a:pt x="2072" y="2441"/>
                  </a:lnTo>
                  <a:lnTo>
                    <a:pt x="2069" y="2452"/>
                  </a:lnTo>
                  <a:lnTo>
                    <a:pt x="2066" y="2460"/>
                  </a:lnTo>
                  <a:lnTo>
                    <a:pt x="2064" y="2463"/>
                  </a:lnTo>
                  <a:lnTo>
                    <a:pt x="2063" y="2465"/>
                  </a:lnTo>
                  <a:lnTo>
                    <a:pt x="2060" y="2469"/>
                  </a:lnTo>
                  <a:lnTo>
                    <a:pt x="2059" y="2469"/>
                  </a:lnTo>
                  <a:lnTo>
                    <a:pt x="2058" y="2471"/>
                  </a:lnTo>
                  <a:lnTo>
                    <a:pt x="2056" y="2473"/>
                  </a:lnTo>
                  <a:lnTo>
                    <a:pt x="2055" y="2474"/>
                  </a:lnTo>
                  <a:lnTo>
                    <a:pt x="2052" y="2477"/>
                  </a:lnTo>
                  <a:lnTo>
                    <a:pt x="2050" y="2478"/>
                  </a:lnTo>
                  <a:lnTo>
                    <a:pt x="2048" y="2480"/>
                  </a:lnTo>
                  <a:lnTo>
                    <a:pt x="2043" y="2482"/>
                  </a:lnTo>
                  <a:lnTo>
                    <a:pt x="2039" y="2485"/>
                  </a:lnTo>
                  <a:lnTo>
                    <a:pt x="2039" y="2485"/>
                  </a:lnTo>
                  <a:lnTo>
                    <a:pt x="2035" y="2486"/>
                  </a:lnTo>
                  <a:lnTo>
                    <a:pt x="2033" y="2487"/>
                  </a:lnTo>
                  <a:lnTo>
                    <a:pt x="2031" y="2488"/>
                  </a:lnTo>
                  <a:lnTo>
                    <a:pt x="2027" y="2488"/>
                  </a:lnTo>
                  <a:lnTo>
                    <a:pt x="2024" y="2489"/>
                  </a:lnTo>
                  <a:lnTo>
                    <a:pt x="2023" y="2489"/>
                  </a:lnTo>
                  <a:lnTo>
                    <a:pt x="2019" y="2489"/>
                  </a:lnTo>
                  <a:lnTo>
                    <a:pt x="2017" y="2489"/>
                  </a:lnTo>
                  <a:lnTo>
                    <a:pt x="1954" y="2489"/>
                  </a:lnTo>
                  <a:lnTo>
                    <a:pt x="1954" y="2672"/>
                  </a:lnTo>
                  <a:lnTo>
                    <a:pt x="1950" y="2689"/>
                  </a:lnTo>
                  <a:lnTo>
                    <a:pt x="1942" y="2705"/>
                  </a:lnTo>
                  <a:lnTo>
                    <a:pt x="1931" y="2716"/>
                  </a:lnTo>
                  <a:lnTo>
                    <a:pt x="1915" y="2724"/>
                  </a:lnTo>
                  <a:lnTo>
                    <a:pt x="1898" y="2727"/>
                  </a:lnTo>
                  <a:lnTo>
                    <a:pt x="1418" y="2727"/>
                  </a:lnTo>
                  <a:lnTo>
                    <a:pt x="1418" y="2853"/>
                  </a:lnTo>
                  <a:lnTo>
                    <a:pt x="1838" y="2853"/>
                  </a:lnTo>
                  <a:lnTo>
                    <a:pt x="1890" y="2857"/>
                  </a:lnTo>
                  <a:lnTo>
                    <a:pt x="1940" y="2866"/>
                  </a:lnTo>
                  <a:lnTo>
                    <a:pt x="1988" y="2882"/>
                  </a:lnTo>
                  <a:lnTo>
                    <a:pt x="2032" y="2902"/>
                  </a:lnTo>
                  <a:lnTo>
                    <a:pt x="2074" y="2927"/>
                  </a:lnTo>
                  <a:lnTo>
                    <a:pt x="2112" y="2958"/>
                  </a:lnTo>
                  <a:lnTo>
                    <a:pt x="2146" y="2992"/>
                  </a:lnTo>
                  <a:lnTo>
                    <a:pt x="2177" y="3030"/>
                  </a:lnTo>
                  <a:lnTo>
                    <a:pt x="2202" y="3072"/>
                  </a:lnTo>
                  <a:lnTo>
                    <a:pt x="2222" y="3116"/>
                  </a:lnTo>
                  <a:lnTo>
                    <a:pt x="2238" y="3164"/>
                  </a:lnTo>
                  <a:lnTo>
                    <a:pt x="2247" y="3214"/>
                  </a:lnTo>
                  <a:lnTo>
                    <a:pt x="2251" y="3266"/>
                  </a:lnTo>
                  <a:lnTo>
                    <a:pt x="2247" y="3317"/>
                  </a:lnTo>
                  <a:lnTo>
                    <a:pt x="2238" y="3367"/>
                  </a:lnTo>
                  <a:lnTo>
                    <a:pt x="2222" y="3415"/>
                  </a:lnTo>
                  <a:lnTo>
                    <a:pt x="2202" y="3460"/>
                  </a:lnTo>
                  <a:lnTo>
                    <a:pt x="2177" y="3501"/>
                  </a:lnTo>
                  <a:lnTo>
                    <a:pt x="2146" y="3540"/>
                  </a:lnTo>
                  <a:lnTo>
                    <a:pt x="2112" y="3574"/>
                  </a:lnTo>
                  <a:lnTo>
                    <a:pt x="2074" y="3604"/>
                  </a:lnTo>
                  <a:lnTo>
                    <a:pt x="2032" y="3630"/>
                  </a:lnTo>
                  <a:lnTo>
                    <a:pt x="1988" y="3651"/>
                  </a:lnTo>
                  <a:lnTo>
                    <a:pt x="1940" y="3666"/>
                  </a:lnTo>
                  <a:lnTo>
                    <a:pt x="1890" y="3676"/>
                  </a:lnTo>
                  <a:lnTo>
                    <a:pt x="1838" y="3678"/>
                  </a:lnTo>
                  <a:lnTo>
                    <a:pt x="413" y="3678"/>
                  </a:lnTo>
                  <a:lnTo>
                    <a:pt x="360" y="3676"/>
                  </a:lnTo>
                  <a:lnTo>
                    <a:pt x="311" y="3666"/>
                  </a:lnTo>
                  <a:lnTo>
                    <a:pt x="263" y="3651"/>
                  </a:lnTo>
                  <a:lnTo>
                    <a:pt x="219" y="3630"/>
                  </a:lnTo>
                  <a:lnTo>
                    <a:pt x="177" y="3604"/>
                  </a:lnTo>
                  <a:lnTo>
                    <a:pt x="138" y="3574"/>
                  </a:lnTo>
                  <a:lnTo>
                    <a:pt x="104" y="3540"/>
                  </a:lnTo>
                  <a:lnTo>
                    <a:pt x="74" y="3501"/>
                  </a:lnTo>
                  <a:lnTo>
                    <a:pt x="49" y="3460"/>
                  </a:lnTo>
                  <a:lnTo>
                    <a:pt x="28" y="3415"/>
                  </a:lnTo>
                  <a:lnTo>
                    <a:pt x="12" y="3367"/>
                  </a:lnTo>
                  <a:lnTo>
                    <a:pt x="3" y="3317"/>
                  </a:lnTo>
                  <a:lnTo>
                    <a:pt x="0" y="3266"/>
                  </a:lnTo>
                  <a:lnTo>
                    <a:pt x="3" y="3214"/>
                  </a:lnTo>
                  <a:lnTo>
                    <a:pt x="12" y="3164"/>
                  </a:lnTo>
                  <a:lnTo>
                    <a:pt x="28" y="3116"/>
                  </a:lnTo>
                  <a:lnTo>
                    <a:pt x="49" y="3072"/>
                  </a:lnTo>
                  <a:lnTo>
                    <a:pt x="74" y="3030"/>
                  </a:lnTo>
                  <a:lnTo>
                    <a:pt x="104" y="2992"/>
                  </a:lnTo>
                  <a:lnTo>
                    <a:pt x="138" y="2958"/>
                  </a:lnTo>
                  <a:lnTo>
                    <a:pt x="177" y="2927"/>
                  </a:lnTo>
                  <a:lnTo>
                    <a:pt x="219" y="2902"/>
                  </a:lnTo>
                  <a:lnTo>
                    <a:pt x="263" y="2882"/>
                  </a:lnTo>
                  <a:lnTo>
                    <a:pt x="311" y="2866"/>
                  </a:lnTo>
                  <a:lnTo>
                    <a:pt x="360" y="2857"/>
                  </a:lnTo>
                  <a:lnTo>
                    <a:pt x="413" y="2853"/>
                  </a:lnTo>
                  <a:lnTo>
                    <a:pt x="832" y="2853"/>
                  </a:lnTo>
                  <a:lnTo>
                    <a:pt x="832" y="2727"/>
                  </a:lnTo>
                  <a:lnTo>
                    <a:pt x="353" y="2727"/>
                  </a:lnTo>
                  <a:lnTo>
                    <a:pt x="317" y="2724"/>
                  </a:lnTo>
                  <a:lnTo>
                    <a:pt x="284" y="2714"/>
                  </a:lnTo>
                  <a:lnTo>
                    <a:pt x="255" y="2698"/>
                  </a:lnTo>
                  <a:lnTo>
                    <a:pt x="229" y="2676"/>
                  </a:lnTo>
                  <a:lnTo>
                    <a:pt x="209" y="2650"/>
                  </a:lnTo>
                  <a:lnTo>
                    <a:pt x="192" y="2621"/>
                  </a:lnTo>
                  <a:lnTo>
                    <a:pt x="181" y="2588"/>
                  </a:lnTo>
                  <a:lnTo>
                    <a:pt x="178" y="2553"/>
                  </a:lnTo>
                  <a:lnTo>
                    <a:pt x="178" y="2136"/>
                  </a:lnTo>
                  <a:lnTo>
                    <a:pt x="181" y="2101"/>
                  </a:lnTo>
                  <a:lnTo>
                    <a:pt x="192" y="2068"/>
                  </a:lnTo>
                  <a:lnTo>
                    <a:pt x="209" y="2039"/>
                  </a:lnTo>
                  <a:lnTo>
                    <a:pt x="229" y="2013"/>
                  </a:lnTo>
                  <a:lnTo>
                    <a:pt x="255" y="1991"/>
                  </a:lnTo>
                  <a:lnTo>
                    <a:pt x="284" y="1975"/>
                  </a:lnTo>
                  <a:lnTo>
                    <a:pt x="317" y="1965"/>
                  </a:lnTo>
                  <a:lnTo>
                    <a:pt x="353" y="1962"/>
                  </a:lnTo>
                  <a:lnTo>
                    <a:pt x="713" y="1962"/>
                  </a:lnTo>
                  <a:lnTo>
                    <a:pt x="713" y="1601"/>
                  </a:lnTo>
                  <a:lnTo>
                    <a:pt x="717" y="1558"/>
                  </a:lnTo>
                  <a:lnTo>
                    <a:pt x="726" y="1517"/>
                  </a:lnTo>
                  <a:lnTo>
                    <a:pt x="740" y="1477"/>
                  </a:lnTo>
                  <a:lnTo>
                    <a:pt x="761" y="1442"/>
                  </a:lnTo>
                  <a:lnTo>
                    <a:pt x="785" y="1409"/>
                  </a:lnTo>
                  <a:lnTo>
                    <a:pt x="814" y="1380"/>
                  </a:lnTo>
                  <a:lnTo>
                    <a:pt x="847" y="1355"/>
                  </a:lnTo>
                  <a:lnTo>
                    <a:pt x="883" y="1335"/>
                  </a:lnTo>
                  <a:lnTo>
                    <a:pt x="922" y="1321"/>
                  </a:lnTo>
                  <a:lnTo>
                    <a:pt x="963" y="1310"/>
                  </a:lnTo>
                  <a:lnTo>
                    <a:pt x="1007" y="1308"/>
                  </a:lnTo>
                  <a:lnTo>
                    <a:pt x="1414" y="1308"/>
                  </a:lnTo>
                  <a:lnTo>
                    <a:pt x="1452" y="1310"/>
                  </a:lnTo>
                  <a:lnTo>
                    <a:pt x="2359" y="101"/>
                  </a:lnTo>
                  <a:lnTo>
                    <a:pt x="2359" y="101"/>
                  </a:lnTo>
                  <a:lnTo>
                    <a:pt x="2382" y="73"/>
                  </a:lnTo>
                  <a:lnTo>
                    <a:pt x="2410" y="48"/>
                  </a:lnTo>
                  <a:lnTo>
                    <a:pt x="2441" y="27"/>
                  </a:lnTo>
                  <a:lnTo>
                    <a:pt x="2475" y="12"/>
                  </a:lnTo>
                  <a:lnTo>
                    <a:pt x="2513" y="3"/>
                  </a:lnTo>
                  <a:lnTo>
                    <a:pt x="2551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</p:grpSp>
      <p:sp>
        <p:nvSpPr>
          <p:cNvPr id="23625" name="TextBox 158">
            <a:extLst>
              <a:ext uri="{FF2B5EF4-FFF2-40B4-BE49-F238E27FC236}">
                <a16:creationId xmlns:a16="http://schemas.microsoft.com/office/drawing/2014/main" id="{E039C87F-72AD-4054-B63A-554ACFFB9E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4663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26" name="TextBox 159">
            <a:extLst>
              <a:ext uri="{FF2B5EF4-FFF2-40B4-BE49-F238E27FC236}">
                <a16:creationId xmlns:a16="http://schemas.microsoft.com/office/drawing/2014/main" id="{C89D28E8-6E73-4458-A352-42A749EC09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3488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27" name="TextBox 127">
            <a:extLst>
              <a:ext uri="{FF2B5EF4-FFF2-40B4-BE49-F238E27FC236}">
                <a16:creationId xmlns:a16="http://schemas.microsoft.com/office/drawing/2014/main" id="{D2C4F5E9-E854-4896-8355-45DEC69063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7813" y="6378575"/>
            <a:ext cx="426243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Sources: National Bureau of Statistics, World Bank Report on Doing Business in Nigeria 2018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climate-data.org, State Government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Exchange rate= $1/N305 (Central Bank of Nigeria)</a:t>
            </a:r>
          </a:p>
        </p:txBody>
      </p:sp>
      <p:sp>
        <p:nvSpPr>
          <p:cNvPr id="23628" name="TextBox 128">
            <a:extLst>
              <a:ext uri="{FF2B5EF4-FFF2-40B4-BE49-F238E27FC236}">
                <a16:creationId xmlns:a16="http://schemas.microsoft.com/office/drawing/2014/main" id="{409BCC6F-A5F0-4C79-BB4A-38A1ABC14F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91600" y="3640453"/>
            <a:ext cx="47160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Onion</a:t>
            </a:r>
          </a:p>
        </p:txBody>
      </p:sp>
      <p:sp>
        <p:nvSpPr>
          <p:cNvPr id="23629" name="TextBox 129">
            <a:extLst>
              <a:ext uri="{FF2B5EF4-FFF2-40B4-BE49-F238E27FC236}">
                <a16:creationId xmlns:a16="http://schemas.microsoft.com/office/drawing/2014/main" id="{489E7B41-20C9-4493-8E7D-07238EB8FA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56217" y="3654980"/>
            <a:ext cx="78579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900" dirty="0">
                <a:solidFill>
                  <a:prstClr val="black"/>
                </a:solidFill>
                <a:latin typeface="Calibri" panose="020F0502020204030204" pitchFamily="34" charset="0"/>
              </a:rPr>
              <a:t>Wind energy</a:t>
            </a:r>
            <a:endParaRPr kumimoji="0" lang="en-GB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31" name="TextBox 131">
            <a:extLst>
              <a:ext uri="{FF2B5EF4-FFF2-40B4-BE49-F238E27FC236}">
                <a16:creationId xmlns:a16="http://schemas.microsoft.com/office/drawing/2014/main" id="{FF8B6C80-43E2-43AF-A364-A31845F05C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5388" y="3656613"/>
            <a:ext cx="662361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Glassware</a:t>
            </a:r>
          </a:p>
        </p:txBody>
      </p:sp>
      <p:sp>
        <p:nvSpPr>
          <p:cNvPr id="23632" name="TextBox 132">
            <a:extLst>
              <a:ext uri="{FF2B5EF4-FFF2-40B4-BE49-F238E27FC236}">
                <a16:creationId xmlns:a16="http://schemas.microsoft.com/office/drawing/2014/main" id="{A1C640C1-61D1-4BA5-8A76-E684397E8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59646" y="3637238"/>
            <a:ext cx="61587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Livestock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238751" y="3833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38" name="TextBox 141">
            <a:extLst>
              <a:ext uri="{FF2B5EF4-FFF2-40B4-BE49-F238E27FC236}">
                <a16:creationId xmlns:a16="http://schemas.microsoft.com/office/drawing/2014/main" id="{EE481231-8673-4FD7-B5CC-900AEE7A9F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61083" y="3652271"/>
            <a:ext cx="38023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900" dirty="0">
                <a:solidFill>
                  <a:prstClr val="black"/>
                </a:solidFill>
                <a:latin typeface="Calibri" panose="020F0502020204030204" pitchFamily="34" charset="0"/>
              </a:rPr>
              <a:t>Rice</a:t>
            </a:r>
            <a:endParaRPr kumimoji="0" lang="en-GB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49" name="TextBox 165">
            <a:extLst>
              <a:ext uri="{FF2B5EF4-FFF2-40B4-BE49-F238E27FC236}">
                <a16:creationId xmlns:a16="http://schemas.microsoft.com/office/drawing/2014/main" id="{1242633E-9CB1-48ED-83F4-2223DFC7ED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71711" y="4459560"/>
            <a:ext cx="49564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900" dirty="0">
                <a:solidFill>
                  <a:prstClr val="black"/>
                </a:solidFill>
                <a:latin typeface="Calibri" panose="020F0502020204030204" pitchFamily="34" charset="0"/>
              </a:rPr>
              <a:t>Health</a:t>
            </a:r>
            <a:endParaRPr kumimoji="0" lang="en-GB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50" name="TextBox 166">
            <a:extLst>
              <a:ext uri="{FF2B5EF4-FFF2-40B4-BE49-F238E27FC236}">
                <a16:creationId xmlns:a16="http://schemas.microsoft.com/office/drawing/2014/main" id="{6B51369B-8FA6-464A-B908-12B0FFE6B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08966" y="4458812"/>
            <a:ext cx="56778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Tourism</a:t>
            </a:r>
          </a:p>
        </p:txBody>
      </p:sp>
      <p:sp>
        <p:nvSpPr>
          <p:cNvPr id="23651" name="TextBox 167">
            <a:extLst>
              <a:ext uri="{FF2B5EF4-FFF2-40B4-BE49-F238E27FC236}">
                <a16:creationId xmlns:a16="http://schemas.microsoft.com/office/drawing/2014/main" id="{4F9404E1-8339-401B-8B10-4C7D1A8CEC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82636" y="4457881"/>
            <a:ext cx="40588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Gold</a:t>
            </a:r>
          </a:p>
        </p:txBody>
      </p:sp>
      <p:sp>
        <p:nvSpPr>
          <p:cNvPr id="23652" name="TextBox 168">
            <a:extLst>
              <a:ext uri="{FF2B5EF4-FFF2-40B4-BE49-F238E27FC236}">
                <a16:creationId xmlns:a16="http://schemas.microsoft.com/office/drawing/2014/main" id="{1C04917D-B2C3-4C21-8CC2-A45C349B4B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84506" y="4457133"/>
            <a:ext cx="35779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Salt</a:t>
            </a:r>
          </a:p>
        </p:txBody>
      </p:sp>
      <p:sp>
        <p:nvSpPr>
          <p:cNvPr id="23653" name="TextBox 169">
            <a:extLst>
              <a:ext uri="{FF2B5EF4-FFF2-40B4-BE49-F238E27FC236}">
                <a16:creationId xmlns:a16="http://schemas.microsoft.com/office/drawing/2014/main" id="{4BADA327-4F2D-4897-B7C0-4647A1484B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47726" y="4457973"/>
            <a:ext cx="468398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Maize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8A28B48-1841-45BB-BFBC-EADE77B37C6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779712" y="2589213"/>
          <a:ext cx="1482725" cy="812800"/>
        </p:xfrm>
        <a:graphic>
          <a:graphicData uri="http://schemas.openxmlformats.org/drawingml/2006/table">
            <a:tbl>
              <a:tblPr/>
              <a:tblGrid>
                <a:gridCol w="11367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9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32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GB" sz="1000" b="1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Domestic</a:t>
                      </a:r>
                      <a:r>
                        <a:rPr lang="en-GB" sz="10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US" sz="1000" b="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International 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Yes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Railway</a:t>
                      </a:r>
                      <a:r>
                        <a:rPr lang="en-GB" sz="1000" b="1" kern="1200" baseline="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 Station</a:t>
                      </a:r>
                      <a:endParaRPr lang="en-GB" sz="1000" b="1" kern="1200" dirty="0">
                        <a:solidFill>
                          <a:srgbClr val="292929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32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Sea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7" name="TextBox 136">
            <a:extLst>
              <a:ext uri="{FF2B5EF4-FFF2-40B4-BE49-F238E27FC236}">
                <a16:creationId xmlns:a16="http://schemas.microsoft.com/office/drawing/2014/main" id="{2F4C4876-7073-4C13-A183-127A8909BDC0}"/>
              </a:ext>
            </a:extLst>
          </p:cNvPr>
          <p:cNvSpPr txBox="1"/>
          <p:nvPr/>
        </p:nvSpPr>
        <p:spPr>
          <a:xfrm>
            <a:off x="538163" y="5268913"/>
            <a:ext cx="373856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For further details</a:t>
            </a:r>
          </a:p>
        </p:txBody>
      </p:sp>
      <p:sp>
        <p:nvSpPr>
          <p:cNvPr id="23676" name="TextBox 156">
            <a:extLst>
              <a:ext uri="{FF2B5EF4-FFF2-40B4-BE49-F238E27FC236}">
                <a16:creationId xmlns:a16="http://schemas.microsoft.com/office/drawing/2014/main" id="{95D66AAF-6B48-4B9E-9E5B-F1BB063A89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6300" y="6342063"/>
            <a:ext cx="37306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Abbreviations: </a:t>
            </a:r>
            <a:r>
              <a:rPr kumimoji="0" lang="en-GB" alt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	NICPS</a:t>
            </a:r>
            <a: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: Nigerian Investment Certification Programme for States             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	</a:t>
            </a:r>
            <a:r>
              <a:rPr kumimoji="0" lang="en-GB" alt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IGR</a:t>
            </a:r>
            <a: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:     Internal Generated Revenue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D4E23C6-26A0-4545-B8F7-7007C8EEBFE4}"/>
              </a:ext>
            </a:extLst>
          </p:cNvPr>
          <p:cNvSpPr txBox="1"/>
          <p:nvPr/>
        </p:nvSpPr>
        <p:spPr>
          <a:xfrm>
            <a:off x="4338638" y="5265738"/>
            <a:ext cx="247491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Did you know?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sp>
        <p:nvSpPr>
          <p:cNvPr id="132" name="Text Placeholder 42">
            <a:extLst>
              <a:ext uri="{FF2B5EF4-FFF2-40B4-BE49-F238E27FC236}">
                <a16:creationId xmlns:a16="http://schemas.microsoft.com/office/drawing/2014/main" id="{D510D0DC-1548-4249-8DB1-9A1055126D07}"/>
              </a:ext>
            </a:extLst>
          </p:cNvPr>
          <p:cNvSpPr txBox="1">
            <a:spLocks/>
          </p:cNvSpPr>
          <p:nvPr/>
        </p:nvSpPr>
        <p:spPr>
          <a:xfrm>
            <a:off x="522288" y="5511800"/>
            <a:ext cx="3733800" cy="701675"/>
          </a:xfrm>
          <a:prstGeom prst="rect">
            <a:avLst/>
          </a:prstGeom>
        </p:spPr>
        <p:txBody>
          <a:bodyPr lIns="36576" tIns="0" rIns="36576" bIns="0"/>
          <a:lstStyle>
            <a:lvl1pPr marL="0" indent="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/>
              <a:buNone/>
              <a:defRPr sz="800" b="1" baseline="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6575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93763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 charset="0"/>
              <a:buChar char="►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50950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619250" indent="-188913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0764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25336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29908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34480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</a:rPr>
              <a:t>NIGERIAN INVESTMENT PROMOTION COMMISSION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Arial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hlinkClick r:id="rId7"/>
              </a:rPr>
              <a:t>statesco@nipc.gov.ng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Arial"/>
              <a:buNone/>
              <a:tabLst/>
              <a:defRPr/>
            </a:pPr>
            <a:endParaRPr kumimoji="0" lang="en-US" sz="5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</a:endParaRPr>
          </a:p>
          <a:p>
            <a:pPr lvl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prstClr val="black"/>
                </a:solidFill>
              </a:rPr>
              <a:t>MINISTRY OF COMMERCE AND INDUSTRY</a:t>
            </a:r>
          </a:p>
          <a:p>
            <a:pPr lvl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>
                <a:solidFill>
                  <a:prstClr val="black"/>
                </a:solidFill>
                <a:hlinkClick r:id="rId8"/>
              </a:rPr>
              <a:t>mincomkebbi@gmail.com</a:t>
            </a:r>
            <a:endParaRPr lang="en-US" sz="1000" b="0" kern="0" dirty="0">
              <a:solidFill>
                <a:prstClr val="black"/>
              </a:solidFill>
            </a:endParaRPr>
          </a:p>
          <a:p>
            <a:pPr lvl="0">
              <a:spcBef>
                <a:spcPts val="0"/>
              </a:spcBef>
              <a:spcAft>
                <a:spcPts val="0"/>
              </a:spcAft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</a:endParaRPr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FF015425-7997-4612-9D0E-1F6C433DFCC7}"/>
              </a:ext>
            </a:extLst>
          </p:cNvPr>
          <p:cNvSpPr/>
          <p:nvPr/>
        </p:nvSpPr>
        <p:spPr>
          <a:xfrm>
            <a:off x="6080877" y="3040856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4C0B7457-CABD-4AC8-8A1A-1FD468581E4D}"/>
              </a:ext>
            </a:extLst>
          </p:cNvPr>
          <p:cNvSpPr/>
          <p:nvPr/>
        </p:nvSpPr>
        <p:spPr>
          <a:xfrm>
            <a:off x="6784796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2D626A89-F50C-45A3-9271-5D3F2EEA9C83}"/>
              </a:ext>
            </a:extLst>
          </p:cNvPr>
          <p:cNvSpPr/>
          <p:nvPr/>
        </p:nvSpPr>
        <p:spPr>
          <a:xfrm>
            <a:off x="7518399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240713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A62E850A-D87D-46D0-9257-0071E677FCF0}"/>
              </a:ext>
            </a:extLst>
          </p:cNvPr>
          <p:cNvSpPr/>
          <p:nvPr/>
        </p:nvSpPr>
        <p:spPr>
          <a:xfrm>
            <a:off x="8947150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4D1FAA17-3EFF-404B-B4C4-B468BCE2E9A5}"/>
              </a:ext>
            </a:extLst>
          </p:cNvPr>
          <p:cNvSpPr/>
          <p:nvPr/>
        </p:nvSpPr>
        <p:spPr>
          <a:xfrm>
            <a:off x="6078265" y="3836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E861211D-5D09-4577-8A09-FD96D972A5D4}"/>
              </a:ext>
            </a:extLst>
          </p:cNvPr>
          <p:cNvSpPr/>
          <p:nvPr/>
        </p:nvSpPr>
        <p:spPr>
          <a:xfrm>
            <a:off x="6780509" y="3833831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3CBEFD1C-6360-47CD-AEDD-DFB49FC0E0C7}"/>
              </a:ext>
            </a:extLst>
          </p:cNvPr>
          <p:cNvSpPr/>
          <p:nvPr/>
        </p:nvSpPr>
        <p:spPr>
          <a:xfrm>
            <a:off x="7518603" y="3830834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4" name="TextBox 152">
            <a:extLst>
              <a:ext uri="{FF2B5EF4-FFF2-40B4-BE49-F238E27FC236}">
                <a16:creationId xmlns:a16="http://schemas.microsoft.com/office/drawing/2014/main" id="{C53ECC99-201F-4F50-BD09-4044FFD3B8E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4575" y="1123950"/>
            <a:ext cx="3446463" cy="16927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15888" indent="-11588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MY" sz="1300" dirty="0">
                <a:latin typeface="Calibri" panose="020F0502020204030204" pitchFamily="34" charset="0"/>
              </a:rPr>
              <a:t>Rich agricultural land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MY" sz="1300" dirty="0">
                <a:latin typeface="Calibri" panose="020F0502020204030204" pitchFamily="34" charset="0"/>
              </a:rPr>
              <a:t>Major producer of ric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MY" sz="1300" dirty="0">
                <a:latin typeface="Calibri" panose="020F0502020204030204" pitchFamily="34" charset="0"/>
              </a:rPr>
              <a:t>Endowed with abundant natural resources (Bauxite) 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MY" sz="1300" dirty="0">
                <a:latin typeface="Calibri" panose="020F0502020204030204" pitchFamily="34" charset="0"/>
              </a:rPr>
              <a:t>New hub for agro-based commoditi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MY" sz="1300" dirty="0">
                <a:latin typeface="Calibri" panose="020F0502020204030204" pitchFamily="34" charset="0"/>
              </a:rPr>
              <a:t>Abundant livestock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MY" sz="1300" dirty="0">
                <a:latin typeface="Calibri" panose="020F0502020204030204" pitchFamily="34" charset="0"/>
              </a:rPr>
              <a:t>Tourism (</a:t>
            </a:r>
            <a:r>
              <a:rPr lang="en-MY" sz="1300" dirty="0" err="1">
                <a:latin typeface="Calibri" panose="020F0502020204030204" pitchFamily="34" charset="0"/>
              </a:rPr>
              <a:t>Argungu</a:t>
            </a:r>
            <a:r>
              <a:rPr lang="en-MY" sz="1300" dirty="0">
                <a:latin typeface="Calibri" panose="020F0502020204030204" pitchFamily="34" charset="0"/>
              </a:rPr>
              <a:t> Fishing Festival; The biggest fishing festival in World)</a:t>
            </a:r>
          </a:p>
        </p:txBody>
      </p:sp>
      <p:sp>
        <p:nvSpPr>
          <p:cNvPr id="161" name="Oval 160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953126" y="3843338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27" name="Picture 126" descr="rice.png"/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15867" r="20664"/>
          <a:stretch>
            <a:fillRect/>
          </a:stretch>
        </p:blipFill>
        <p:spPr>
          <a:xfrm>
            <a:off x="6164784" y="3121065"/>
            <a:ext cx="476674" cy="465587"/>
          </a:xfrm>
          <a:prstGeom prst="rect">
            <a:avLst/>
          </a:prstGeom>
        </p:spPr>
      </p:pic>
      <p:pic>
        <p:nvPicPr>
          <p:cNvPr id="134" name="Picture 133" descr="Maize.jpg"/>
          <p:cNvPicPr>
            <a:picLocks noChangeAspect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183131" y="3913199"/>
            <a:ext cx="499926" cy="488915"/>
          </a:xfrm>
          <a:prstGeom prst="rect">
            <a:avLst/>
          </a:prstGeom>
        </p:spPr>
      </p:pic>
      <p:pic>
        <p:nvPicPr>
          <p:cNvPr id="135" name="Picture 3" descr="E:\ONE PAGE STATES PRESENTATION\1 PAGE PRESENTATION ON STATES\MATERIALS\Silhouettes\Glassware.png"/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0877" y="3177203"/>
            <a:ext cx="217823" cy="399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6" name="Picture 7" descr="E:\ONE PAGE STATES PRESENTATION\1 PAGE PRESENTATION ON STATES\MATERIALS\Silhouettes\Onion.jpg"/>
          <p:cNvPicPr>
            <a:picLocks noChangeAspect="1" noChangeArrowheads="1"/>
          </p:cNvPicPr>
          <p:nvPr/>
        </p:nvPicPr>
        <p:blipFill>
          <a:blip r:embed="rId12" cstate="print">
            <a:clrChange>
              <a:clrFrom>
                <a:srgbClr val="F6F6F6"/>
              </a:clrFrom>
              <a:clrTo>
                <a:srgbClr val="F6F6F6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646" y="3038753"/>
            <a:ext cx="546176" cy="546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9" name="Picture 138">
            <a:extLst>
              <a:ext uri="{FF2B5EF4-FFF2-40B4-BE49-F238E27FC236}">
                <a16:creationId xmlns:a16="http://schemas.microsoft.com/office/drawing/2014/main" id="{9793C388-C61C-45EC-BF8F-149315464127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47" t="15869" r="6216" b="22345"/>
          <a:stretch/>
        </p:blipFill>
        <p:spPr>
          <a:xfrm>
            <a:off x="7606150" y="3972185"/>
            <a:ext cx="467274" cy="341525"/>
          </a:xfrm>
          <a:prstGeom prst="rect">
            <a:avLst/>
          </a:prstGeom>
        </p:spPr>
      </p:pic>
      <p:pic>
        <p:nvPicPr>
          <p:cNvPr id="141" name="Picture 140">
            <a:extLst>
              <a:ext uri="{FF2B5EF4-FFF2-40B4-BE49-F238E27FC236}">
                <a16:creationId xmlns:a16="http://schemas.microsoft.com/office/drawing/2014/main" id="{512A488A-184C-4FBA-8492-F2F8D03C9AF0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l="10362" t="1" r="9417" b="-6930"/>
          <a:stretch/>
        </p:blipFill>
        <p:spPr>
          <a:xfrm>
            <a:off x="8291284" y="3072503"/>
            <a:ext cx="545652" cy="506435"/>
          </a:xfrm>
          <a:prstGeom prst="rect">
            <a:avLst/>
          </a:prstGeom>
        </p:spPr>
      </p:pic>
      <p:pic>
        <p:nvPicPr>
          <p:cNvPr id="142" name="Picture 141">
            <a:extLst>
              <a:ext uri="{FF2B5EF4-FFF2-40B4-BE49-F238E27FC236}">
                <a16:creationId xmlns:a16="http://schemas.microsoft.com/office/drawing/2014/main" id="{09D6F6C9-4F49-412A-B2D8-4C2265A297C6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016964" y="3097939"/>
            <a:ext cx="272077" cy="463538"/>
          </a:xfrm>
          <a:prstGeom prst="rect">
            <a:avLst/>
          </a:prstGeom>
        </p:spPr>
      </p:pic>
      <p:pic>
        <p:nvPicPr>
          <p:cNvPr id="146" name="Picture 145">
            <a:extLst>
              <a:ext uri="{FF2B5EF4-FFF2-40B4-BE49-F238E27FC236}">
                <a16:creationId xmlns:a16="http://schemas.microsoft.com/office/drawing/2014/main" id="{A30B005A-7979-47B7-806B-4D614C281E42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2972" y="3901117"/>
            <a:ext cx="464155" cy="464155"/>
          </a:xfrm>
          <a:prstGeom prst="rect">
            <a:avLst/>
          </a:prstGeom>
        </p:spPr>
      </p:pic>
      <p:pic>
        <p:nvPicPr>
          <p:cNvPr id="149" name="Picture 148">
            <a:extLst>
              <a:ext uri="{FF2B5EF4-FFF2-40B4-BE49-F238E27FC236}">
                <a16:creationId xmlns:a16="http://schemas.microsoft.com/office/drawing/2014/main" id="{5F5CBD1F-7954-48F2-B189-327EDD93CCE7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358486" y="3868702"/>
            <a:ext cx="392999" cy="418192"/>
          </a:xfrm>
          <a:prstGeom prst="rect">
            <a:avLst/>
          </a:prstGeom>
        </p:spPr>
      </p:pic>
      <p:pic>
        <p:nvPicPr>
          <p:cNvPr id="150" name="Picture 149">
            <a:extLst>
              <a:ext uri="{FF2B5EF4-FFF2-40B4-BE49-F238E27FC236}">
                <a16:creationId xmlns:a16="http://schemas.microsoft.com/office/drawing/2014/main" id="{24558390-C1BE-4DBA-A632-6D8354CDAF91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9425" y="3961977"/>
            <a:ext cx="426587" cy="442775"/>
          </a:xfrm>
          <a:prstGeom prst="rect">
            <a:avLst/>
          </a:prstGeom>
        </p:spPr>
      </p:pic>
      <p:sp>
        <p:nvSpPr>
          <p:cNvPr id="151" name="TextBox 150">
            <a:extLst>
              <a:ext uri="{FF2B5EF4-FFF2-40B4-BE49-F238E27FC236}">
                <a16:creationId xmlns:a16="http://schemas.microsoft.com/office/drawing/2014/main" id="{D0A41506-8873-4C2F-B45B-4459F0229CA3}"/>
              </a:ext>
            </a:extLst>
          </p:cNvPr>
          <p:cNvSpPr txBox="1"/>
          <p:nvPr/>
        </p:nvSpPr>
        <p:spPr>
          <a:xfrm>
            <a:off x="4374578" y="4541674"/>
            <a:ext cx="17988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te Investment Certification Process Not Started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295255" y="5428516"/>
            <a:ext cx="252940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The world famous </a:t>
            </a:r>
            <a:r>
              <a:rPr lang="en-US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Argungu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 Fishing Festival or </a:t>
            </a:r>
            <a:r>
              <a:rPr lang="en-US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Argungu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 Dance Festival is an annual four-day festival in </a:t>
            </a:r>
            <a:r>
              <a:rPr lang="en-US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Kebbi</a:t>
            </a:r>
            <a:endParaRPr lang="en-US" sz="13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251216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Pentagon 19">
            <a:extLst>
              <a:ext uri="{FF2B5EF4-FFF2-40B4-BE49-F238E27FC236}">
                <a16:creationId xmlns:a16="http://schemas.microsoft.com/office/drawing/2014/main" id="{CAD93C59-72A9-4F6D-A654-02B9F8A5EFF9}"/>
              </a:ext>
            </a:extLst>
          </p:cNvPr>
          <p:cNvSpPr>
            <a:spLocks/>
          </p:cNvSpPr>
          <p:nvPr/>
        </p:nvSpPr>
        <p:spPr bwMode="auto">
          <a:xfrm>
            <a:off x="756602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noProof="0" dirty="0">
                <a:solidFill>
                  <a:prstClr val="white"/>
                </a:solidFill>
                <a:latin typeface="Calibri" panose="020F0502020204030204" pitchFamily="34" charset="0"/>
              </a:rPr>
              <a:t>14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of 37</a:t>
            </a:r>
          </a:p>
        </p:txBody>
      </p:sp>
      <p:sp>
        <p:nvSpPr>
          <p:cNvPr id="376" name="Pentagon 19">
            <a:extLst>
              <a:ext uri="{FF2B5EF4-FFF2-40B4-BE49-F238E27FC236}">
                <a16:creationId xmlns:a16="http://schemas.microsoft.com/office/drawing/2014/main" id="{1BDC5465-6022-4404-B4D8-ED55CF961B8A}"/>
              </a:ext>
            </a:extLst>
          </p:cNvPr>
          <p:cNvSpPr>
            <a:spLocks/>
          </p:cNvSpPr>
          <p:nvPr/>
        </p:nvSpPr>
        <p:spPr bwMode="auto">
          <a:xfrm>
            <a:off x="824865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2 of 3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57F1EBC-D01A-4083-B657-63AFB1490839}"/>
              </a:ext>
            </a:extLst>
          </p:cNvPr>
          <p:cNvSpPr txBox="1"/>
          <p:nvPr/>
        </p:nvSpPr>
        <p:spPr>
          <a:xfrm>
            <a:off x="6122988" y="2749550"/>
            <a:ext cx="3475037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Investment Opportunit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D251BD-538A-4F4F-847E-620EEDA298A0}"/>
              </a:ext>
            </a:extLst>
          </p:cNvPr>
          <p:cNvSpPr txBox="1"/>
          <p:nvPr/>
        </p:nvSpPr>
        <p:spPr>
          <a:xfrm>
            <a:off x="6881813" y="4632911"/>
            <a:ext cx="2697162" cy="33855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Doing Business Ranking(2018)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1B8F13C-F732-4DA1-9250-DB02936E7688}"/>
              </a:ext>
            </a:extLst>
          </p:cNvPr>
          <p:cNvSpPr/>
          <p:nvPr/>
        </p:nvSpPr>
        <p:spPr>
          <a:xfrm>
            <a:off x="756602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egistering Propert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6BA1818-32ED-44D1-975C-958200BDD124}"/>
              </a:ext>
            </a:extLst>
          </p:cNvPr>
          <p:cNvSpPr/>
          <p:nvPr/>
        </p:nvSpPr>
        <p:spPr>
          <a:xfrm>
            <a:off x="8248650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ealing with Construction Permits</a:t>
            </a:r>
          </a:p>
        </p:txBody>
      </p:sp>
      <p:sp>
        <p:nvSpPr>
          <p:cNvPr id="23560" name="TextBox 174">
            <a:extLst>
              <a:ext uri="{FF2B5EF4-FFF2-40B4-BE49-F238E27FC236}">
                <a16:creationId xmlns:a16="http://schemas.microsoft.com/office/drawing/2014/main" id="{1573FD4E-62B9-45E8-8F28-CED990ED2D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0B63A6C-2A5E-4CA3-BC66-4CBC6008BC9A}"/>
              </a:ext>
            </a:extLst>
          </p:cNvPr>
          <p:cNvSpPr/>
          <p:nvPr/>
        </p:nvSpPr>
        <p:spPr>
          <a:xfrm>
            <a:off x="893127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nforcing Contracts</a:t>
            </a:r>
          </a:p>
        </p:txBody>
      </p:sp>
      <p:pic>
        <p:nvPicPr>
          <p:cNvPr id="23562" name="Picture 4">
            <a:extLst>
              <a:ext uri="{FF2B5EF4-FFF2-40B4-BE49-F238E27FC236}">
                <a16:creationId xmlns:a16="http://schemas.microsoft.com/office/drawing/2014/main" id="{7C8EEAB2-0239-4BB5-94B3-23E319AF1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513" y="5249863"/>
            <a:ext cx="439737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6" name="Pentagon 19">
            <a:extLst>
              <a:ext uri="{FF2B5EF4-FFF2-40B4-BE49-F238E27FC236}">
                <a16:creationId xmlns:a16="http://schemas.microsoft.com/office/drawing/2014/main" id="{5F8E9670-D71A-4765-B6B5-D711BC9AD6E1}"/>
              </a:ext>
            </a:extLst>
          </p:cNvPr>
          <p:cNvSpPr>
            <a:spLocks/>
          </p:cNvSpPr>
          <p:nvPr/>
        </p:nvSpPr>
        <p:spPr bwMode="auto">
          <a:xfrm>
            <a:off x="893127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noProof="0" dirty="0">
                <a:solidFill>
                  <a:prstClr val="white"/>
                </a:solidFill>
                <a:latin typeface="Calibri" panose="020F0502020204030204" pitchFamily="34" charset="0"/>
              </a:rPr>
              <a:t>18</a:t>
            </a:r>
            <a:r>
              <a:rPr kumimoji="0" lang="en-GB" sz="10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f 37</a:t>
            </a:r>
          </a:p>
        </p:txBody>
      </p:sp>
      <p:sp>
        <p:nvSpPr>
          <p:cNvPr id="23564" name="Title 3">
            <a:extLst>
              <a:ext uri="{FF2B5EF4-FFF2-40B4-BE49-F238E27FC236}">
                <a16:creationId xmlns:a16="http://schemas.microsoft.com/office/drawing/2014/main" id="{C62A749B-CFC7-4224-A789-D20A772AC33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en-GB" altLang="en-US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ogi</a:t>
            </a:r>
            <a:r>
              <a:rPr lang="en-GB" alt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State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6882DF2C-9120-4A66-8487-575D9494F4D6}"/>
              </a:ext>
            </a:extLst>
          </p:cNvPr>
          <p:cNvSpPr txBox="1"/>
          <p:nvPr/>
        </p:nvSpPr>
        <p:spPr>
          <a:xfrm rot="16200000">
            <a:off x="-2290084" y="3478372"/>
            <a:ext cx="5303837" cy="2743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prstClr val="white"/>
                </a:solidFill>
                <a:latin typeface="Calibri" panose="020F0502020204030204" pitchFamily="34" charset="0"/>
                <a:cs typeface="Arial" charset="0"/>
              </a:rPr>
              <a:t>Confluence State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grpSp>
        <p:nvGrpSpPr>
          <p:cNvPr id="23566" name="Group 9">
            <a:extLst>
              <a:ext uri="{FF2B5EF4-FFF2-40B4-BE49-F238E27FC236}">
                <a16:creationId xmlns:a16="http://schemas.microsoft.com/office/drawing/2014/main" id="{5B6131BD-3CE3-4FC4-B13A-FA9B797C1EF5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41338" y="963613"/>
            <a:ext cx="2897187" cy="2319337"/>
            <a:chOff x="770228" y="1459989"/>
            <a:chExt cx="4081047" cy="3267527"/>
          </a:xfrm>
        </p:grpSpPr>
        <p:sp>
          <p:nvSpPr>
            <p:cNvPr id="299" name="Freeform 4">
              <a:extLst>
                <a:ext uri="{FF2B5EF4-FFF2-40B4-BE49-F238E27FC236}">
                  <a16:creationId xmlns:a16="http://schemas.microsoft.com/office/drawing/2014/main" id="{B6150C82-CBE5-48B4-B60C-C210BB7B26A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91538" y="4349548"/>
              <a:ext cx="418167" cy="377968"/>
            </a:xfrm>
            <a:custGeom>
              <a:avLst/>
              <a:gdLst>
                <a:gd name="T0" fmla="*/ 12 w 786"/>
                <a:gd name="T1" fmla="*/ 19 h 714"/>
                <a:gd name="T2" fmla="*/ 22 w 786"/>
                <a:gd name="T3" fmla="*/ 18 h 714"/>
                <a:gd name="T4" fmla="*/ 27 w 786"/>
                <a:gd name="T5" fmla="*/ 17 h 714"/>
                <a:gd name="T6" fmla="*/ 30 w 786"/>
                <a:gd name="T7" fmla="*/ 14 h 714"/>
                <a:gd name="T8" fmla="*/ 37 w 786"/>
                <a:gd name="T9" fmla="*/ 16 h 714"/>
                <a:gd name="T10" fmla="*/ 43 w 786"/>
                <a:gd name="T11" fmla="*/ 13 h 714"/>
                <a:gd name="T12" fmla="*/ 48 w 786"/>
                <a:gd name="T13" fmla="*/ 8 h 714"/>
                <a:gd name="T14" fmla="*/ 55 w 786"/>
                <a:gd name="T15" fmla="*/ 4 h 714"/>
                <a:gd name="T16" fmla="*/ 66 w 786"/>
                <a:gd name="T17" fmla="*/ 0 h 714"/>
                <a:gd name="T18" fmla="*/ 63 w 786"/>
                <a:gd name="T19" fmla="*/ 12 h 714"/>
                <a:gd name="T20" fmla="*/ 59 w 786"/>
                <a:gd name="T21" fmla="*/ 19 h 714"/>
                <a:gd name="T22" fmla="*/ 57 w 786"/>
                <a:gd name="T23" fmla="*/ 29 h 714"/>
                <a:gd name="T24" fmla="*/ 59 w 786"/>
                <a:gd name="T25" fmla="*/ 36 h 714"/>
                <a:gd name="T26" fmla="*/ 66 w 786"/>
                <a:gd name="T27" fmla="*/ 35 h 714"/>
                <a:gd name="T28" fmla="*/ 64 w 786"/>
                <a:gd name="T29" fmla="*/ 41 h 714"/>
                <a:gd name="T30" fmla="*/ 64 w 786"/>
                <a:gd name="T31" fmla="*/ 48 h 714"/>
                <a:gd name="T32" fmla="*/ 63 w 786"/>
                <a:gd name="T33" fmla="*/ 56 h 714"/>
                <a:gd name="T34" fmla="*/ 60 w 786"/>
                <a:gd name="T35" fmla="*/ 60 h 714"/>
                <a:gd name="T36" fmla="*/ 57 w 786"/>
                <a:gd name="T37" fmla="*/ 58 h 714"/>
                <a:gd name="T38" fmla="*/ 54 w 786"/>
                <a:gd name="T39" fmla="*/ 54 h 714"/>
                <a:gd name="T40" fmla="*/ 53 w 786"/>
                <a:gd name="T41" fmla="*/ 51 h 714"/>
                <a:gd name="T42" fmla="*/ 51 w 786"/>
                <a:gd name="T43" fmla="*/ 53 h 714"/>
                <a:gd name="T44" fmla="*/ 49 w 786"/>
                <a:gd name="T45" fmla="*/ 54 h 714"/>
                <a:gd name="T46" fmla="*/ 47 w 786"/>
                <a:gd name="T47" fmla="*/ 50 h 714"/>
                <a:gd name="T48" fmla="*/ 48 w 786"/>
                <a:gd name="T49" fmla="*/ 54 h 714"/>
                <a:gd name="T50" fmla="*/ 47 w 786"/>
                <a:gd name="T51" fmla="*/ 54 h 714"/>
                <a:gd name="T52" fmla="*/ 46 w 786"/>
                <a:gd name="T53" fmla="*/ 59 h 714"/>
                <a:gd name="T54" fmla="*/ 47 w 786"/>
                <a:gd name="T55" fmla="*/ 62 h 714"/>
                <a:gd name="T56" fmla="*/ 42 w 786"/>
                <a:gd name="T57" fmla="*/ 62 h 714"/>
                <a:gd name="T58" fmla="*/ 39 w 786"/>
                <a:gd name="T59" fmla="*/ 57 h 714"/>
                <a:gd name="T60" fmla="*/ 40 w 786"/>
                <a:gd name="T61" fmla="*/ 54 h 714"/>
                <a:gd name="T62" fmla="*/ 43 w 786"/>
                <a:gd name="T63" fmla="*/ 55 h 714"/>
                <a:gd name="T64" fmla="*/ 40 w 786"/>
                <a:gd name="T65" fmla="*/ 53 h 714"/>
                <a:gd name="T66" fmla="*/ 38 w 786"/>
                <a:gd name="T67" fmla="*/ 57 h 714"/>
                <a:gd name="T68" fmla="*/ 37 w 786"/>
                <a:gd name="T69" fmla="*/ 57 h 714"/>
                <a:gd name="T70" fmla="*/ 37 w 786"/>
                <a:gd name="T71" fmla="*/ 60 h 714"/>
                <a:gd name="T72" fmla="*/ 33 w 786"/>
                <a:gd name="T73" fmla="*/ 56 h 714"/>
                <a:gd name="T74" fmla="*/ 32 w 786"/>
                <a:gd name="T75" fmla="*/ 58 h 714"/>
                <a:gd name="T76" fmla="*/ 26 w 786"/>
                <a:gd name="T77" fmla="*/ 54 h 714"/>
                <a:gd name="T78" fmla="*/ 26 w 786"/>
                <a:gd name="T79" fmla="*/ 54 h 714"/>
                <a:gd name="T80" fmla="*/ 24 w 786"/>
                <a:gd name="T81" fmla="*/ 51 h 714"/>
                <a:gd name="T82" fmla="*/ 22 w 786"/>
                <a:gd name="T83" fmla="*/ 51 h 714"/>
                <a:gd name="T84" fmla="*/ 20 w 786"/>
                <a:gd name="T85" fmla="*/ 50 h 714"/>
                <a:gd name="T86" fmla="*/ 20 w 786"/>
                <a:gd name="T87" fmla="*/ 48 h 714"/>
                <a:gd name="T88" fmla="*/ 18 w 786"/>
                <a:gd name="T89" fmla="*/ 47 h 714"/>
                <a:gd name="T90" fmla="*/ 15 w 786"/>
                <a:gd name="T91" fmla="*/ 45 h 714"/>
                <a:gd name="T92" fmla="*/ 11 w 786"/>
                <a:gd name="T93" fmla="*/ 39 h 714"/>
                <a:gd name="T94" fmla="*/ 12 w 786"/>
                <a:gd name="T95" fmla="*/ 36 h 714"/>
                <a:gd name="T96" fmla="*/ 7 w 786"/>
                <a:gd name="T97" fmla="*/ 33 h 714"/>
                <a:gd name="T98" fmla="*/ 5 w 786"/>
                <a:gd name="T99" fmla="*/ 28 h 714"/>
                <a:gd name="T100" fmla="*/ 7 w 786"/>
                <a:gd name="T101" fmla="*/ 30 h 714"/>
                <a:gd name="T102" fmla="*/ 4 w 786"/>
                <a:gd name="T103" fmla="*/ 24 h 714"/>
                <a:gd name="T104" fmla="*/ 2 w 786"/>
                <a:gd name="T105" fmla="*/ 20 h 714"/>
                <a:gd name="T106" fmla="*/ 0 w 786"/>
                <a:gd name="T107" fmla="*/ 15 h 714"/>
                <a:gd name="T108" fmla="*/ 4 w 786"/>
                <a:gd name="T109" fmla="*/ 16 h 714"/>
                <a:gd name="T110" fmla="*/ 55 w 786"/>
                <a:gd name="T111" fmla="*/ 60 h 714"/>
                <a:gd name="T112" fmla="*/ 47 w 786"/>
                <a:gd name="T113" fmla="*/ 60 h 714"/>
                <a:gd name="T114" fmla="*/ 51 w 786"/>
                <a:gd name="T115" fmla="*/ 54 h 714"/>
                <a:gd name="T116" fmla="*/ 54 w 786"/>
                <a:gd name="T117" fmla="*/ 56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86"/>
                <a:gd name="T178" fmla="*/ 0 h 714"/>
                <a:gd name="T179" fmla="*/ 786 w 786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86" h="714">
                  <a:moveTo>
                    <a:pt x="54" y="186"/>
                  </a:moveTo>
                  <a:lnTo>
                    <a:pt x="54" y="192"/>
                  </a:lnTo>
                  <a:lnTo>
                    <a:pt x="72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204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20" y="210"/>
                  </a:lnTo>
                  <a:lnTo>
                    <a:pt x="126" y="210"/>
                  </a:lnTo>
                  <a:lnTo>
                    <a:pt x="132" y="210"/>
                  </a:lnTo>
                  <a:lnTo>
                    <a:pt x="132" y="216"/>
                  </a:lnTo>
                  <a:lnTo>
                    <a:pt x="138" y="222"/>
                  </a:lnTo>
                  <a:lnTo>
                    <a:pt x="150" y="222"/>
                  </a:lnTo>
                  <a:lnTo>
                    <a:pt x="162" y="234"/>
                  </a:lnTo>
                  <a:lnTo>
                    <a:pt x="168" y="240"/>
                  </a:lnTo>
                  <a:lnTo>
                    <a:pt x="180" y="240"/>
                  </a:lnTo>
                  <a:lnTo>
                    <a:pt x="186" y="228"/>
                  </a:lnTo>
                  <a:lnTo>
                    <a:pt x="210" y="234"/>
                  </a:lnTo>
                  <a:lnTo>
                    <a:pt x="222" y="228"/>
                  </a:lnTo>
                  <a:lnTo>
                    <a:pt x="228" y="216"/>
                  </a:lnTo>
                  <a:lnTo>
                    <a:pt x="234" y="210"/>
                  </a:lnTo>
                  <a:lnTo>
                    <a:pt x="240" y="216"/>
                  </a:lnTo>
                  <a:lnTo>
                    <a:pt x="246" y="210"/>
                  </a:lnTo>
                  <a:lnTo>
                    <a:pt x="252" y="210"/>
                  </a:lnTo>
                  <a:lnTo>
                    <a:pt x="258" y="210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192"/>
                  </a:lnTo>
                  <a:lnTo>
                    <a:pt x="270" y="192"/>
                  </a:lnTo>
                  <a:lnTo>
                    <a:pt x="276" y="192"/>
                  </a:lnTo>
                  <a:lnTo>
                    <a:pt x="282" y="192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192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198"/>
                  </a:lnTo>
                  <a:lnTo>
                    <a:pt x="312" y="198"/>
                  </a:lnTo>
                  <a:lnTo>
                    <a:pt x="312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24" y="186"/>
                  </a:lnTo>
                  <a:lnTo>
                    <a:pt x="318" y="180"/>
                  </a:lnTo>
                  <a:lnTo>
                    <a:pt x="324" y="180"/>
                  </a:lnTo>
                  <a:lnTo>
                    <a:pt x="330" y="186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74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54" y="144"/>
                  </a:lnTo>
                  <a:lnTo>
                    <a:pt x="360" y="144"/>
                  </a:lnTo>
                  <a:lnTo>
                    <a:pt x="372" y="156"/>
                  </a:lnTo>
                  <a:lnTo>
                    <a:pt x="372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96" y="168"/>
                  </a:lnTo>
                  <a:lnTo>
                    <a:pt x="396" y="174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26" y="186"/>
                  </a:lnTo>
                  <a:lnTo>
                    <a:pt x="432" y="186"/>
                  </a:lnTo>
                  <a:lnTo>
                    <a:pt x="438" y="180"/>
                  </a:lnTo>
                  <a:lnTo>
                    <a:pt x="438" y="168"/>
                  </a:lnTo>
                  <a:lnTo>
                    <a:pt x="438" y="162"/>
                  </a:lnTo>
                  <a:lnTo>
                    <a:pt x="444" y="156"/>
                  </a:lnTo>
                  <a:lnTo>
                    <a:pt x="450" y="156"/>
                  </a:lnTo>
                  <a:lnTo>
                    <a:pt x="456" y="150"/>
                  </a:lnTo>
                  <a:lnTo>
                    <a:pt x="462" y="156"/>
                  </a:lnTo>
                  <a:lnTo>
                    <a:pt x="468" y="162"/>
                  </a:lnTo>
                  <a:lnTo>
                    <a:pt x="474" y="162"/>
                  </a:lnTo>
                  <a:lnTo>
                    <a:pt x="486" y="162"/>
                  </a:lnTo>
                  <a:lnTo>
                    <a:pt x="492" y="156"/>
                  </a:lnTo>
                  <a:lnTo>
                    <a:pt x="498" y="150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28" y="126"/>
                  </a:lnTo>
                  <a:lnTo>
                    <a:pt x="522" y="120"/>
                  </a:lnTo>
                  <a:lnTo>
                    <a:pt x="522" y="114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28" y="102"/>
                  </a:lnTo>
                  <a:lnTo>
                    <a:pt x="534" y="96"/>
                  </a:lnTo>
                  <a:lnTo>
                    <a:pt x="552" y="96"/>
                  </a:lnTo>
                  <a:lnTo>
                    <a:pt x="570" y="102"/>
                  </a:lnTo>
                  <a:lnTo>
                    <a:pt x="582" y="96"/>
                  </a:lnTo>
                  <a:lnTo>
                    <a:pt x="582" y="90"/>
                  </a:lnTo>
                  <a:lnTo>
                    <a:pt x="582" y="78"/>
                  </a:lnTo>
                  <a:lnTo>
                    <a:pt x="582" y="72"/>
                  </a:lnTo>
                  <a:lnTo>
                    <a:pt x="582" y="66"/>
                  </a:lnTo>
                  <a:lnTo>
                    <a:pt x="594" y="60"/>
                  </a:lnTo>
                  <a:lnTo>
                    <a:pt x="600" y="60"/>
                  </a:lnTo>
                  <a:lnTo>
                    <a:pt x="606" y="54"/>
                  </a:lnTo>
                  <a:lnTo>
                    <a:pt x="618" y="48"/>
                  </a:lnTo>
                  <a:lnTo>
                    <a:pt x="618" y="42"/>
                  </a:lnTo>
                  <a:lnTo>
                    <a:pt x="624" y="42"/>
                  </a:lnTo>
                  <a:lnTo>
                    <a:pt x="636" y="48"/>
                  </a:lnTo>
                  <a:lnTo>
                    <a:pt x="648" y="54"/>
                  </a:lnTo>
                  <a:lnTo>
                    <a:pt x="660" y="54"/>
                  </a:lnTo>
                  <a:lnTo>
                    <a:pt x="666" y="60"/>
                  </a:lnTo>
                  <a:lnTo>
                    <a:pt x="672" y="54"/>
                  </a:lnTo>
                  <a:lnTo>
                    <a:pt x="684" y="48"/>
                  </a:lnTo>
                  <a:lnTo>
                    <a:pt x="708" y="42"/>
                  </a:lnTo>
                  <a:lnTo>
                    <a:pt x="714" y="42"/>
                  </a:lnTo>
                  <a:lnTo>
                    <a:pt x="720" y="36"/>
                  </a:lnTo>
                  <a:lnTo>
                    <a:pt x="720" y="30"/>
                  </a:lnTo>
                  <a:lnTo>
                    <a:pt x="714" y="12"/>
                  </a:lnTo>
                  <a:lnTo>
                    <a:pt x="708" y="0"/>
                  </a:lnTo>
                  <a:lnTo>
                    <a:pt x="738" y="6"/>
                  </a:lnTo>
                  <a:lnTo>
                    <a:pt x="756" y="6"/>
                  </a:lnTo>
                  <a:lnTo>
                    <a:pt x="762" y="42"/>
                  </a:lnTo>
                  <a:lnTo>
                    <a:pt x="738" y="72"/>
                  </a:lnTo>
                  <a:lnTo>
                    <a:pt x="750" y="90"/>
                  </a:lnTo>
                  <a:lnTo>
                    <a:pt x="762" y="96"/>
                  </a:lnTo>
                  <a:lnTo>
                    <a:pt x="756" y="102"/>
                  </a:lnTo>
                  <a:lnTo>
                    <a:pt x="750" y="108"/>
                  </a:lnTo>
                  <a:lnTo>
                    <a:pt x="750" y="114"/>
                  </a:lnTo>
                  <a:lnTo>
                    <a:pt x="750" y="120"/>
                  </a:lnTo>
                  <a:lnTo>
                    <a:pt x="750" y="126"/>
                  </a:lnTo>
                  <a:lnTo>
                    <a:pt x="750" y="132"/>
                  </a:lnTo>
                  <a:lnTo>
                    <a:pt x="738" y="132"/>
                  </a:lnTo>
                  <a:lnTo>
                    <a:pt x="732" y="138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14" y="144"/>
                  </a:lnTo>
                  <a:lnTo>
                    <a:pt x="714" y="150"/>
                  </a:lnTo>
                  <a:lnTo>
                    <a:pt x="720" y="156"/>
                  </a:lnTo>
                  <a:lnTo>
                    <a:pt x="720" y="162"/>
                  </a:lnTo>
                  <a:lnTo>
                    <a:pt x="714" y="162"/>
                  </a:lnTo>
                  <a:lnTo>
                    <a:pt x="708" y="168"/>
                  </a:lnTo>
                  <a:lnTo>
                    <a:pt x="708" y="180"/>
                  </a:lnTo>
                  <a:lnTo>
                    <a:pt x="708" y="192"/>
                  </a:lnTo>
                  <a:lnTo>
                    <a:pt x="696" y="198"/>
                  </a:lnTo>
                  <a:lnTo>
                    <a:pt x="696" y="204"/>
                  </a:lnTo>
                  <a:lnTo>
                    <a:pt x="684" y="210"/>
                  </a:lnTo>
                  <a:lnTo>
                    <a:pt x="684" y="216"/>
                  </a:lnTo>
                  <a:lnTo>
                    <a:pt x="684" y="222"/>
                  </a:lnTo>
                  <a:lnTo>
                    <a:pt x="678" y="228"/>
                  </a:lnTo>
                  <a:lnTo>
                    <a:pt x="678" y="234"/>
                  </a:lnTo>
                  <a:lnTo>
                    <a:pt x="672" y="240"/>
                  </a:lnTo>
                  <a:lnTo>
                    <a:pt x="672" y="252"/>
                  </a:lnTo>
                  <a:lnTo>
                    <a:pt x="672" y="258"/>
                  </a:lnTo>
                  <a:lnTo>
                    <a:pt x="666" y="264"/>
                  </a:lnTo>
                  <a:lnTo>
                    <a:pt x="678" y="264"/>
                  </a:lnTo>
                  <a:lnTo>
                    <a:pt x="684" y="276"/>
                  </a:lnTo>
                  <a:lnTo>
                    <a:pt x="684" y="288"/>
                  </a:lnTo>
                  <a:lnTo>
                    <a:pt x="672" y="300"/>
                  </a:lnTo>
                  <a:lnTo>
                    <a:pt x="660" y="318"/>
                  </a:lnTo>
                  <a:lnTo>
                    <a:pt x="660" y="336"/>
                  </a:lnTo>
                  <a:lnTo>
                    <a:pt x="654" y="342"/>
                  </a:lnTo>
                  <a:lnTo>
                    <a:pt x="660" y="354"/>
                  </a:lnTo>
                  <a:lnTo>
                    <a:pt x="660" y="366"/>
                  </a:lnTo>
                  <a:lnTo>
                    <a:pt x="666" y="378"/>
                  </a:lnTo>
                  <a:lnTo>
                    <a:pt x="672" y="390"/>
                  </a:lnTo>
                  <a:lnTo>
                    <a:pt x="678" y="396"/>
                  </a:lnTo>
                  <a:lnTo>
                    <a:pt x="684" y="390"/>
                  </a:lnTo>
                  <a:lnTo>
                    <a:pt x="690" y="390"/>
                  </a:lnTo>
                  <a:lnTo>
                    <a:pt x="690" y="396"/>
                  </a:lnTo>
                  <a:lnTo>
                    <a:pt x="684" y="396"/>
                  </a:lnTo>
                  <a:lnTo>
                    <a:pt x="684" y="402"/>
                  </a:lnTo>
                  <a:lnTo>
                    <a:pt x="684" y="408"/>
                  </a:lnTo>
                  <a:lnTo>
                    <a:pt x="678" y="414"/>
                  </a:lnTo>
                  <a:lnTo>
                    <a:pt x="684" y="414"/>
                  </a:lnTo>
                  <a:lnTo>
                    <a:pt x="684" y="420"/>
                  </a:lnTo>
                  <a:lnTo>
                    <a:pt x="684" y="426"/>
                  </a:lnTo>
                  <a:lnTo>
                    <a:pt x="690" y="420"/>
                  </a:lnTo>
                  <a:lnTo>
                    <a:pt x="696" y="420"/>
                  </a:lnTo>
                  <a:lnTo>
                    <a:pt x="696" y="426"/>
                  </a:lnTo>
                  <a:lnTo>
                    <a:pt x="690" y="426"/>
                  </a:lnTo>
                  <a:lnTo>
                    <a:pt x="696" y="426"/>
                  </a:lnTo>
                  <a:lnTo>
                    <a:pt x="708" y="426"/>
                  </a:lnTo>
                  <a:lnTo>
                    <a:pt x="726" y="414"/>
                  </a:lnTo>
                  <a:lnTo>
                    <a:pt x="732" y="408"/>
                  </a:lnTo>
                  <a:lnTo>
                    <a:pt x="744" y="402"/>
                  </a:lnTo>
                  <a:lnTo>
                    <a:pt x="756" y="402"/>
                  </a:lnTo>
                  <a:lnTo>
                    <a:pt x="768" y="402"/>
                  </a:lnTo>
                  <a:lnTo>
                    <a:pt x="786" y="408"/>
                  </a:lnTo>
                  <a:lnTo>
                    <a:pt x="786" y="414"/>
                  </a:lnTo>
                  <a:lnTo>
                    <a:pt x="774" y="420"/>
                  </a:lnTo>
                  <a:lnTo>
                    <a:pt x="774" y="426"/>
                  </a:lnTo>
                  <a:lnTo>
                    <a:pt x="768" y="432"/>
                  </a:lnTo>
                  <a:lnTo>
                    <a:pt x="762" y="438"/>
                  </a:lnTo>
                  <a:lnTo>
                    <a:pt x="756" y="438"/>
                  </a:lnTo>
                  <a:lnTo>
                    <a:pt x="756" y="444"/>
                  </a:lnTo>
                  <a:lnTo>
                    <a:pt x="756" y="450"/>
                  </a:lnTo>
                  <a:lnTo>
                    <a:pt x="762" y="450"/>
                  </a:lnTo>
                  <a:lnTo>
                    <a:pt x="750" y="456"/>
                  </a:lnTo>
                  <a:lnTo>
                    <a:pt x="738" y="468"/>
                  </a:lnTo>
                  <a:lnTo>
                    <a:pt x="726" y="480"/>
                  </a:lnTo>
                  <a:lnTo>
                    <a:pt x="726" y="486"/>
                  </a:lnTo>
                  <a:lnTo>
                    <a:pt x="732" y="486"/>
                  </a:lnTo>
                  <a:lnTo>
                    <a:pt x="732" y="492"/>
                  </a:lnTo>
                  <a:lnTo>
                    <a:pt x="732" y="504"/>
                  </a:lnTo>
                  <a:lnTo>
                    <a:pt x="738" y="504"/>
                  </a:lnTo>
                  <a:lnTo>
                    <a:pt x="744" y="510"/>
                  </a:lnTo>
                  <a:lnTo>
                    <a:pt x="738" y="522"/>
                  </a:lnTo>
                  <a:lnTo>
                    <a:pt x="744" y="528"/>
                  </a:lnTo>
                  <a:lnTo>
                    <a:pt x="756" y="534"/>
                  </a:lnTo>
                  <a:lnTo>
                    <a:pt x="756" y="540"/>
                  </a:lnTo>
                  <a:lnTo>
                    <a:pt x="744" y="552"/>
                  </a:lnTo>
                  <a:lnTo>
                    <a:pt x="738" y="552"/>
                  </a:lnTo>
                  <a:lnTo>
                    <a:pt x="738" y="558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64"/>
                  </a:lnTo>
                  <a:lnTo>
                    <a:pt x="744" y="576"/>
                  </a:lnTo>
                  <a:lnTo>
                    <a:pt x="738" y="588"/>
                  </a:lnTo>
                  <a:lnTo>
                    <a:pt x="738" y="594"/>
                  </a:lnTo>
                  <a:lnTo>
                    <a:pt x="738" y="600"/>
                  </a:lnTo>
                  <a:lnTo>
                    <a:pt x="738" y="606"/>
                  </a:lnTo>
                  <a:lnTo>
                    <a:pt x="732" y="612"/>
                  </a:lnTo>
                  <a:lnTo>
                    <a:pt x="726" y="624"/>
                  </a:lnTo>
                  <a:lnTo>
                    <a:pt x="726" y="636"/>
                  </a:lnTo>
                  <a:lnTo>
                    <a:pt x="726" y="648"/>
                  </a:lnTo>
                  <a:lnTo>
                    <a:pt x="738" y="654"/>
                  </a:lnTo>
                  <a:lnTo>
                    <a:pt x="750" y="660"/>
                  </a:lnTo>
                  <a:lnTo>
                    <a:pt x="750" y="666"/>
                  </a:lnTo>
                  <a:lnTo>
                    <a:pt x="750" y="678"/>
                  </a:lnTo>
                  <a:lnTo>
                    <a:pt x="744" y="678"/>
                  </a:lnTo>
                  <a:lnTo>
                    <a:pt x="738" y="684"/>
                  </a:lnTo>
                  <a:lnTo>
                    <a:pt x="732" y="684"/>
                  </a:lnTo>
                  <a:lnTo>
                    <a:pt x="720" y="678"/>
                  </a:lnTo>
                  <a:lnTo>
                    <a:pt x="714" y="684"/>
                  </a:lnTo>
                  <a:lnTo>
                    <a:pt x="708" y="684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0" y="690"/>
                  </a:lnTo>
                  <a:lnTo>
                    <a:pt x="690" y="684"/>
                  </a:lnTo>
                  <a:lnTo>
                    <a:pt x="690" y="690"/>
                  </a:lnTo>
                  <a:lnTo>
                    <a:pt x="684" y="690"/>
                  </a:lnTo>
                  <a:lnTo>
                    <a:pt x="684" y="684"/>
                  </a:lnTo>
                  <a:lnTo>
                    <a:pt x="678" y="684"/>
                  </a:lnTo>
                  <a:lnTo>
                    <a:pt x="672" y="678"/>
                  </a:lnTo>
                  <a:lnTo>
                    <a:pt x="672" y="672"/>
                  </a:lnTo>
                  <a:lnTo>
                    <a:pt x="678" y="672"/>
                  </a:lnTo>
                  <a:lnTo>
                    <a:pt x="672" y="672"/>
                  </a:lnTo>
                  <a:lnTo>
                    <a:pt x="666" y="672"/>
                  </a:lnTo>
                  <a:lnTo>
                    <a:pt x="660" y="672"/>
                  </a:lnTo>
                  <a:lnTo>
                    <a:pt x="654" y="672"/>
                  </a:lnTo>
                  <a:lnTo>
                    <a:pt x="654" y="666"/>
                  </a:lnTo>
                  <a:lnTo>
                    <a:pt x="648" y="666"/>
                  </a:lnTo>
                  <a:lnTo>
                    <a:pt x="642" y="660"/>
                  </a:lnTo>
                  <a:lnTo>
                    <a:pt x="642" y="654"/>
                  </a:lnTo>
                  <a:lnTo>
                    <a:pt x="642" y="648"/>
                  </a:lnTo>
                  <a:lnTo>
                    <a:pt x="636" y="648"/>
                  </a:lnTo>
                  <a:lnTo>
                    <a:pt x="630" y="648"/>
                  </a:lnTo>
                  <a:lnTo>
                    <a:pt x="624" y="648"/>
                  </a:lnTo>
                  <a:lnTo>
                    <a:pt x="624" y="642"/>
                  </a:lnTo>
                  <a:lnTo>
                    <a:pt x="618" y="636"/>
                  </a:lnTo>
                  <a:lnTo>
                    <a:pt x="624" y="636"/>
                  </a:lnTo>
                  <a:lnTo>
                    <a:pt x="624" y="630"/>
                  </a:lnTo>
                  <a:lnTo>
                    <a:pt x="618" y="630"/>
                  </a:lnTo>
                  <a:lnTo>
                    <a:pt x="618" y="624"/>
                  </a:lnTo>
                  <a:lnTo>
                    <a:pt x="618" y="618"/>
                  </a:lnTo>
                  <a:lnTo>
                    <a:pt x="618" y="612"/>
                  </a:lnTo>
                  <a:lnTo>
                    <a:pt x="618" y="606"/>
                  </a:lnTo>
                  <a:lnTo>
                    <a:pt x="624" y="606"/>
                  </a:lnTo>
                  <a:lnTo>
                    <a:pt x="624" y="600"/>
                  </a:lnTo>
                  <a:lnTo>
                    <a:pt x="618" y="600"/>
                  </a:lnTo>
                  <a:lnTo>
                    <a:pt x="618" y="594"/>
                  </a:lnTo>
                  <a:lnTo>
                    <a:pt x="618" y="588"/>
                  </a:lnTo>
                  <a:lnTo>
                    <a:pt x="618" y="582"/>
                  </a:lnTo>
                  <a:lnTo>
                    <a:pt x="612" y="582"/>
                  </a:lnTo>
                  <a:lnTo>
                    <a:pt x="606" y="582"/>
                  </a:lnTo>
                  <a:lnTo>
                    <a:pt x="612" y="582"/>
                  </a:lnTo>
                  <a:lnTo>
                    <a:pt x="612" y="588"/>
                  </a:lnTo>
                  <a:lnTo>
                    <a:pt x="612" y="594"/>
                  </a:lnTo>
                  <a:lnTo>
                    <a:pt x="618" y="594"/>
                  </a:lnTo>
                  <a:lnTo>
                    <a:pt x="618" y="600"/>
                  </a:lnTo>
                  <a:lnTo>
                    <a:pt x="618" y="606"/>
                  </a:lnTo>
                  <a:lnTo>
                    <a:pt x="618" y="612"/>
                  </a:lnTo>
                  <a:lnTo>
                    <a:pt x="612" y="612"/>
                  </a:lnTo>
                  <a:lnTo>
                    <a:pt x="612" y="618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94" y="612"/>
                  </a:lnTo>
                  <a:lnTo>
                    <a:pt x="588" y="606"/>
                  </a:lnTo>
                  <a:lnTo>
                    <a:pt x="588" y="612"/>
                  </a:lnTo>
                  <a:lnTo>
                    <a:pt x="594" y="612"/>
                  </a:lnTo>
                  <a:lnTo>
                    <a:pt x="594" y="618"/>
                  </a:lnTo>
                  <a:lnTo>
                    <a:pt x="588" y="618"/>
                  </a:lnTo>
                  <a:lnTo>
                    <a:pt x="588" y="624"/>
                  </a:lnTo>
                  <a:lnTo>
                    <a:pt x="582" y="624"/>
                  </a:lnTo>
                  <a:lnTo>
                    <a:pt x="582" y="630"/>
                  </a:lnTo>
                  <a:lnTo>
                    <a:pt x="576" y="630"/>
                  </a:lnTo>
                  <a:lnTo>
                    <a:pt x="576" y="636"/>
                  </a:lnTo>
                  <a:lnTo>
                    <a:pt x="570" y="636"/>
                  </a:lnTo>
                  <a:lnTo>
                    <a:pt x="570" y="642"/>
                  </a:lnTo>
                  <a:lnTo>
                    <a:pt x="564" y="642"/>
                  </a:lnTo>
                  <a:lnTo>
                    <a:pt x="564" y="636"/>
                  </a:lnTo>
                  <a:lnTo>
                    <a:pt x="564" y="630"/>
                  </a:lnTo>
                  <a:lnTo>
                    <a:pt x="564" y="624"/>
                  </a:lnTo>
                  <a:lnTo>
                    <a:pt x="564" y="618"/>
                  </a:lnTo>
                  <a:lnTo>
                    <a:pt x="570" y="612"/>
                  </a:lnTo>
                  <a:lnTo>
                    <a:pt x="564" y="606"/>
                  </a:lnTo>
                  <a:lnTo>
                    <a:pt x="564" y="600"/>
                  </a:lnTo>
                  <a:lnTo>
                    <a:pt x="564" y="594"/>
                  </a:lnTo>
                  <a:lnTo>
                    <a:pt x="558" y="594"/>
                  </a:lnTo>
                  <a:lnTo>
                    <a:pt x="558" y="588"/>
                  </a:lnTo>
                  <a:lnTo>
                    <a:pt x="552" y="582"/>
                  </a:lnTo>
                  <a:lnTo>
                    <a:pt x="552" y="576"/>
                  </a:lnTo>
                  <a:lnTo>
                    <a:pt x="552" y="570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6" y="582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58" y="588"/>
                  </a:lnTo>
                  <a:lnTo>
                    <a:pt x="558" y="594"/>
                  </a:lnTo>
                  <a:lnTo>
                    <a:pt x="558" y="600"/>
                  </a:lnTo>
                  <a:lnTo>
                    <a:pt x="558" y="606"/>
                  </a:lnTo>
                  <a:lnTo>
                    <a:pt x="552" y="612"/>
                  </a:lnTo>
                  <a:lnTo>
                    <a:pt x="558" y="612"/>
                  </a:lnTo>
                  <a:lnTo>
                    <a:pt x="558" y="618"/>
                  </a:lnTo>
                  <a:lnTo>
                    <a:pt x="558" y="624"/>
                  </a:lnTo>
                  <a:lnTo>
                    <a:pt x="558" y="630"/>
                  </a:lnTo>
                  <a:lnTo>
                    <a:pt x="552" y="630"/>
                  </a:lnTo>
                  <a:lnTo>
                    <a:pt x="552" y="624"/>
                  </a:lnTo>
                  <a:lnTo>
                    <a:pt x="546" y="624"/>
                  </a:lnTo>
                  <a:lnTo>
                    <a:pt x="546" y="618"/>
                  </a:lnTo>
                  <a:lnTo>
                    <a:pt x="546" y="612"/>
                  </a:lnTo>
                  <a:lnTo>
                    <a:pt x="540" y="612"/>
                  </a:lnTo>
                  <a:lnTo>
                    <a:pt x="534" y="612"/>
                  </a:lnTo>
                  <a:lnTo>
                    <a:pt x="528" y="612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28" y="618"/>
                  </a:lnTo>
                  <a:lnTo>
                    <a:pt x="534" y="618"/>
                  </a:lnTo>
                  <a:lnTo>
                    <a:pt x="540" y="618"/>
                  </a:lnTo>
                  <a:lnTo>
                    <a:pt x="540" y="624"/>
                  </a:lnTo>
                  <a:lnTo>
                    <a:pt x="546" y="624"/>
                  </a:lnTo>
                  <a:lnTo>
                    <a:pt x="546" y="630"/>
                  </a:lnTo>
                  <a:lnTo>
                    <a:pt x="552" y="630"/>
                  </a:lnTo>
                  <a:lnTo>
                    <a:pt x="552" y="636"/>
                  </a:lnTo>
                  <a:lnTo>
                    <a:pt x="546" y="642"/>
                  </a:lnTo>
                  <a:lnTo>
                    <a:pt x="546" y="648"/>
                  </a:lnTo>
                  <a:lnTo>
                    <a:pt x="540" y="648"/>
                  </a:lnTo>
                  <a:lnTo>
                    <a:pt x="540" y="654"/>
                  </a:lnTo>
                  <a:lnTo>
                    <a:pt x="540" y="660"/>
                  </a:lnTo>
                  <a:lnTo>
                    <a:pt x="534" y="666"/>
                  </a:lnTo>
                  <a:lnTo>
                    <a:pt x="534" y="672"/>
                  </a:lnTo>
                  <a:lnTo>
                    <a:pt x="534" y="678"/>
                  </a:lnTo>
                  <a:lnTo>
                    <a:pt x="534" y="684"/>
                  </a:lnTo>
                  <a:lnTo>
                    <a:pt x="534" y="678"/>
                  </a:lnTo>
                  <a:lnTo>
                    <a:pt x="528" y="678"/>
                  </a:lnTo>
                  <a:lnTo>
                    <a:pt x="528" y="684"/>
                  </a:lnTo>
                  <a:lnTo>
                    <a:pt x="522" y="690"/>
                  </a:lnTo>
                  <a:lnTo>
                    <a:pt x="528" y="690"/>
                  </a:lnTo>
                  <a:lnTo>
                    <a:pt x="528" y="684"/>
                  </a:lnTo>
                  <a:lnTo>
                    <a:pt x="534" y="684"/>
                  </a:lnTo>
                  <a:lnTo>
                    <a:pt x="534" y="690"/>
                  </a:lnTo>
                  <a:lnTo>
                    <a:pt x="534" y="696"/>
                  </a:lnTo>
                  <a:lnTo>
                    <a:pt x="540" y="696"/>
                  </a:lnTo>
                  <a:lnTo>
                    <a:pt x="540" y="702"/>
                  </a:lnTo>
                  <a:lnTo>
                    <a:pt x="540" y="708"/>
                  </a:lnTo>
                  <a:lnTo>
                    <a:pt x="534" y="708"/>
                  </a:lnTo>
                  <a:lnTo>
                    <a:pt x="528" y="708"/>
                  </a:lnTo>
                  <a:lnTo>
                    <a:pt x="522" y="708"/>
                  </a:lnTo>
                  <a:lnTo>
                    <a:pt x="516" y="708"/>
                  </a:lnTo>
                  <a:lnTo>
                    <a:pt x="510" y="708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2" y="708"/>
                  </a:lnTo>
                  <a:lnTo>
                    <a:pt x="486" y="714"/>
                  </a:lnTo>
                  <a:lnTo>
                    <a:pt x="480" y="708"/>
                  </a:lnTo>
                  <a:lnTo>
                    <a:pt x="474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68" y="714"/>
                  </a:lnTo>
                  <a:lnTo>
                    <a:pt x="456" y="714"/>
                  </a:lnTo>
                  <a:lnTo>
                    <a:pt x="450" y="714"/>
                  </a:lnTo>
                  <a:lnTo>
                    <a:pt x="450" y="708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50" y="690"/>
                  </a:lnTo>
                  <a:lnTo>
                    <a:pt x="450" y="684"/>
                  </a:lnTo>
                  <a:lnTo>
                    <a:pt x="450" y="678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56" y="660"/>
                  </a:lnTo>
                  <a:lnTo>
                    <a:pt x="462" y="660"/>
                  </a:lnTo>
                  <a:lnTo>
                    <a:pt x="462" y="654"/>
                  </a:lnTo>
                  <a:lnTo>
                    <a:pt x="456" y="654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48"/>
                  </a:lnTo>
                  <a:lnTo>
                    <a:pt x="444" y="648"/>
                  </a:lnTo>
                  <a:lnTo>
                    <a:pt x="444" y="642"/>
                  </a:lnTo>
                  <a:lnTo>
                    <a:pt x="444" y="636"/>
                  </a:lnTo>
                  <a:lnTo>
                    <a:pt x="450" y="636"/>
                  </a:lnTo>
                  <a:lnTo>
                    <a:pt x="450" y="630"/>
                  </a:lnTo>
                  <a:lnTo>
                    <a:pt x="456" y="630"/>
                  </a:lnTo>
                  <a:lnTo>
                    <a:pt x="462" y="630"/>
                  </a:lnTo>
                  <a:lnTo>
                    <a:pt x="462" y="624"/>
                  </a:lnTo>
                  <a:lnTo>
                    <a:pt x="468" y="624"/>
                  </a:lnTo>
                  <a:lnTo>
                    <a:pt x="474" y="624"/>
                  </a:lnTo>
                  <a:lnTo>
                    <a:pt x="474" y="618"/>
                  </a:lnTo>
                  <a:lnTo>
                    <a:pt x="480" y="618"/>
                  </a:lnTo>
                  <a:lnTo>
                    <a:pt x="486" y="618"/>
                  </a:lnTo>
                  <a:lnTo>
                    <a:pt x="486" y="624"/>
                  </a:lnTo>
                  <a:lnTo>
                    <a:pt x="486" y="636"/>
                  </a:lnTo>
                  <a:lnTo>
                    <a:pt x="486" y="642"/>
                  </a:lnTo>
                  <a:lnTo>
                    <a:pt x="486" y="648"/>
                  </a:lnTo>
                  <a:lnTo>
                    <a:pt x="492" y="648"/>
                  </a:lnTo>
                  <a:lnTo>
                    <a:pt x="492" y="642"/>
                  </a:lnTo>
                  <a:lnTo>
                    <a:pt x="498" y="636"/>
                  </a:lnTo>
                  <a:lnTo>
                    <a:pt x="492" y="636"/>
                  </a:lnTo>
                  <a:lnTo>
                    <a:pt x="492" y="630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6" y="618"/>
                  </a:lnTo>
                  <a:lnTo>
                    <a:pt x="486" y="612"/>
                  </a:lnTo>
                  <a:lnTo>
                    <a:pt x="486" y="606"/>
                  </a:lnTo>
                  <a:lnTo>
                    <a:pt x="480" y="606"/>
                  </a:lnTo>
                  <a:lnTo>
                    <a:pt x="480" y="612"/>
                  </a:lnTo>
                  <a:lnTo>
                    <a:pt x="474" y="618"/>
                  </a:lnTo>
                  <a:lnTo>
                    <a:pt x="468" y="618"/>
                  </a:lnTo>
                  <a:lnTo>
                    <a:pt x="462" y="618"/>
                  </a:lnTo>
                  <a:lnTo>
                    <a:pt x="462" y="612"/>
                  </a:lnTo>
                  <a:lnTo>
                    <a:pt x="456" y="612"/>
                  </a:lnTo>
                  <a:lnTo>
                    <a:pt x="456" y="618"/>
                  </a:lnTo>
                  <a:lnTo>
                    <a:pt x="462" y="618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30"/>
                  </a:lnTo>
                  <a:lnTo>
                    <a:pt x="444" y="630"/>
                  </a:lnTo>
                  <a:lnTo>
                    <a:pt x="444" y="636"/>
                  </a:lnTo>
                  <a:lnTo>
                    <a:pt x="444" y="642"/>
                  </a:lnTo>
                  <a:lnTo>
                    <a:pt x="444" y="654"/>
                  </a:lnTo>
                  <a:lnTo>
                    <a:pt x="444" y="660"/>
                  </a:lnTo>
                  <a:lnTo>
                    <a:pt x="438" y="660"/>
                  </a:lnTo>
                  <a:lnTo>
                    <a:pt x="432" y="660"/>
                  </a:lnTo>
                  <a:lnTo>
                    <a:pt x="432" y="654"/>
                  </a:lnTo>
                  <a:lnTo>
                    <a:pt x="438" y="654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48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26" y="660"/>
                  </a:lnTo>
                  <a:lnTo>
                    <a:pt x="432" y="666"/>
                  </a:lnTo>
                  <a:lnTo>
                    <a:pt x="432" y="672"/>
                  </a:lnTo>
                  <a:lnTo>
                    <a:pt x="438" y="672"/>
                  </a:lnTo>
                  <a:lnTo>
                    <a:pt x="438" y="678"/>
                  </a:lnTo>
                  <a:lnTo>
                    <a:pt x="444" y="678"/>
                  </a:lnTo>
                  <a:lnTo>
                    <a:pt x="444" y="684"/>
                  </a:lnTo>
                  <a:lnTo>
                    <a:pt x="438" y="690"/>
                  </a:lnTo>
                  <a:lnTo>
                    <a:pt x="438" y="696"/>
                  </a:lnTo>
                  <a:lnTo>
                    <a:pt x="438" y="702"/>
                  </a:lnTo>
                  <a:lnTo>
                    <a:pt x="432" y="702"/>
                  </a:lnTo>
                  <a:lnTo>
                    <a:pt x="426" y="702"/>
                  </a:lnTo>
                  <a:lnTo>
                    <a:pt x="426" y="696"/>
                  </a:lnTo>
                  <a:lnTo>
                    <a:pt x="414" y="696"/>
                  </a:lnTo>
                  <a:lnTo>
                    <a:pt x="402" y="696"/>
                  </a:lnTo>
                  <a:lnTo>
                    <a:pt x="402" y="690"/>
                  </a:lnTo>
                  <a:lnTo>
                    <a:pt x="396" y="690"/>
                  </a:lnTo>
                  <a:lnTo>
                    <a:pt x="390" y="690"/>
                  </a:lnTo>
                  <a:lnTo>
                    <a:pt x="384" y="690"/>
                  </a:lnTo>
                  <a:lnTo>
                    <a:pt x="384" y="684"/>
                  </a:lnTo>
                  <a:lnTo>
                    <a:pt x="384" y="678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390" y="660"/>
                  </a:lnTo>
                  <a:lnTo>
                    <a:pt x="390" y="654"/>
                  </a:lnTo>
                  <a:lnTo>
                    <a:pt x="384" y="648"/>
                  </a:lnTo>
                  <a:lnTo>
                    <a:pt x="384" y="642"/>
                  </a:lnTo>
                  <a:lnTo>
                    <a:pt x="378" y="636"/>
                  </a:lnTo>
                  <a:lnTo>
                    <a:pt x="378" y="642"/>
                  </a:lnTo>
                  <a:lnTo>
                    <a:pt x="378" y="648"/>
                  </a:lnTo>
                  <a:lnTo>
                    <a:pt x="372" y="648"/>
                  </a:lnTo>
                  <a:lnTo>
                    <a:pt x="378" y="654"/>
                  </a:lnTo>
                  <a:lnTo>
                    <a:pt x="378" y="660"/>
                  </a:lnTo>
                  <a:lnTo>
                    <a:pt x="378" y="666"/>
                  </a:lnTo>
                  <a:lnTo>
                    <a:pt x="372" y="672"/>
                  </a:lnTo>
                  <a:lnTo>
                    <a:pt x="378" y="672"/>
                  </a:lnTo>
                  <a:lnTo>
                    <a:pt x="378" y="678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54" y="666"/>
                  </a:lnTo>
                  <a:lnTo>
                    <a:pt x="354" y="660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0" y="654"/>
                  </a:lnTo>
                  <a:lnTo>
                    <a:pt x="324" y="648"/>
                  </a:lnTo>
                  <a:lnTo>
                    <a:pt x="318" y="648"/>
                  </a:lnTo>
                  <a:lnTo>
                    <a:pt x="318" y="642"/>
                  </a:lnTo>
                  <a:lnTo>
                    <a:pt x="312" y="642"/>
                  </a:lnTo>
                  <a:lnTo>
                    <a:pt x="306" y="636"/>
                  </a:lnTo>
                  <a:lnTo>
                    <a:pt x="300" y="636"/>
                  </a:lnTo>
                  <a:lnTo>
                    <a:pt x="300" y="630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0" y="618"/>
                  </a:lnTo>
                  <a:lnTo>
                    <a:pt x="306" y="612"/>
                  </a:lnTo>
                  <a:lnTo>
                    <a:pt x="300" y="612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294" y="612"/>
                  </a:lnTo>
                  <a:lnTo>
                    <a:pt x="288" y="618"/>
                  </a:lnTo>
                  <a:lnTo>
                    <a:pt x="288" y="612"/>
                  </a:lnTo>
                  <a:lnTo>
                    <a:pt x="288" y="618"/>
                  </a:lnTo>
                  <a:lnTo>
                    <a:pt x="294" y="618"/>
                  </a:lnTo>
                  <a:lnTo>
                    <a:pt x="300" y="624"/>
                  </a:lnTo>
                  <a:lnTo>
                    <a:pt x="294" y="624"/>
                  </a:lnTo>
                  <a:lnTo>
                    <a:pt x="288" y="624"/>
                  </a:lnTo>
                  <a:lnTo>
                    <a:pt x="282" y="61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70" y="600"/>
                  </a:lnTo>
                  <a:lnTo>
                    <a:pt x="270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82" y="588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594"/>
                  </a:lnTo>
                  <a:lnTo>
                    <a:pt x="264" y="600"/>
                  </a:lnTo>
                  <a:lnTo>
                    <a:pt x="264" y="594"/>
                  </a:lnTo>
                  <a:lnTo>
                    <a:pt x="270" y="594"/>
                  </a:lnTo>
                  <a:lnTo>
                    <a:pt x="270" y="588"/>
                  </a:lnTo>
                  <a:lnTo>
                    <a:pt x="264" y="594"/>
                  </a:lnTo>
                  <a:lnTo>
                    <a:pt x="258" y="594"/>
                  </a:lnTo>
                  <a:lnTo>
                    <a:pt x="258" y="588"/>
                  </a:lnTo>
                  <a:lnTo>
                    <a:pt x="252" y="588"/>
                  </a:lnTo>
                  <a:lnTo>
                    <a:pt x="246" y="588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52" y="588"/>
                  </a:lnTo>
                  <a:lnTo>
                    <a:pt x="252" y="594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46" y="594"/>
                  </a:lnTo>
                  <a:lnTo>
                    <a:pt x="246" y="588"/>
                  </a:lnTo>
                  <a:lnTo>
                    <a:pt x="240" y="588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2" y="570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64"/>
                  </a:lnTo>
                  <a:lnTo>
                    <a:pt x="234" y="564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34" y="558"/>
                  </a:lnTo>
                  <a:lnTo>
                    <a:pt x="228" y="558"/>
                  </a:lnTo>
                  <a:lnTo>
                    <a:pt x="222" y="558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2" y="564"/>
                  </a:lnTo>
                  <a:lnTo>
                    <a:pt x="222" y="558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04" y="546"/>
                  </a:lnTo>
                  <a:lnTo>
                    <a:pt x="204" y="540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10" y="540"/>
                  </a:lnTo>
                  <a:lnTo>
                    <a:pt x="210" y="534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8"/>
                  </a:lnTo>
                  <a:lnTo>
                    <a:pt x="174" y="516"/>
                  </a:lnTo>
                  <a:lnTo>
                    <a:pt x="168" y="510"/>
                  </a:lnTo>
                  <a:lnTo>
                    <a:pt x="162" y="504"/>
                  </a:lnTo>
                  <a:lnTo>
                    <a:pt x="156" y="498"/>
                  </a:lnTo>
                  <a:lnTo>
                    <a:pt x="156" y="492"/>
                  </a:lnTo>
                  <a:lnTo>
                    <a:pt x="150" y="486"/>
                  </a:lnTo>
                  <a:lnTo>
                    <a:pt x="144" y="480"/>
                  </a:lnTo>
                  <a:lnTo>
                    <a:pt x="144" y="474"/>
                  </a:lnTo>
                  <a:lnTo>
                    <a:pt x="138" y="474"/>
                  </a:lnTo>
                  <a:lnTo>
                    <a:pt x="138" y="468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26" y="450"/>
                  </a:lnTo>
                  <a:lnTo>
                    <a:pt x="126" y="444"/>
                  </a:lnTo>
                  <a:lnTo>
                    <a:pt x="114" y="438"/>
                  </a:lnTo>
                  <a:lnTo>
                    <a:pt x="114" y="432"/>
                  </a:lnTo>
                  <a:lnTo>
                    <a:pt x="114" y="426"/>
                  </a:lnTo>
                  <a:lnTo>
                    <a:pt x="114" y="432"/>
                  </a:lnTo>
                  <a:lnTo>
                    <a:pt x="120" y="432"/>
                  </a:lnTo>
                  <a:lnTo>
                    <a:pt x="120" y="438"/>
                  </a:lnTo>
                  <a:lnTo>
                    <a:pt x="120" y="444"/>
                  </a:lnTo>
                  <a:lnTo>
                    <a:pt x="126" y="444"/>
                  </a:lnTo>
                  <a:lnTo>
                    <a:pt x="126" y="438"/>
                  </a:lnTo>
                  <a:lnTo>
                    <a:pt x="120" y="438"/>
                  </a:lnTo>
                  <a:lnTo>
                    <a:pt x="126" y="432"/>
                  </a:lnTo>
                  <a:lnTo>
                    <a:pt x="126" y="426"/>
                  </a:lnTo>
                  <a:lnTo>
                    <a:pt x="132" y="420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08" y="414"/>
                  </a:lnTo>
                  <a:lnTo>
                    <a:pt x="102" y="414"/>
                  </a:lnTo>
                  <a:lnTo>
                    <a:pt x="102" y="408"/>
                  </a:lnTo>
                  <a:lnTo>
                    <a:pt x="96" y="402"/>
                  </a:lnTo>
                  <a:lnTo>
                    <a:pt x="96" y="396"/>
                  </a:lnTo>
                  <a:lnTo>
                    <a:pt x="96" y="390"/>
                  </a:lnTo>
                  <a:lnTo>
                    <a:pt x="90" y="390"/>
                  </a:lnTo>
                  <a:lnTo>
                    <a:pt x="90" y="384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78" y="372"/>
                  </a:lnTo>
                  <a:lnTo>
                    <a:pt x="78" y="366"/>
                  </a:lnTo>
                  <a:lnTo>
                    <a:pt x="78" y="360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6" y="348"/>
                  </a:lnTo>
                  <a:lnTo>
                    <a:pt x="66" y="342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6" y="336"/>
                  </a:lnTo>
                  <a:lnTo>
                    <a:pt x="66" y="342"/>
                  </a:lnTo>
                  <a:lnTo>
                    <a:pt x="72" y="348"/>
                  </a:lnTo>
                  <a:lnTo>
                    <a:pt x="78" y="354"/>
                  </a:lnTo>
                  <a:lnTo>
                    <a:pt x="84" y="360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0" y="360"/>
                  </a:lnTo>
                  <a:lnTo>
                    <a:pt x="84" y="360"/>
                  </a:lnTo>
                  <a:lnTo>
                    <a:pt x="84" y="354"/>
                  </a:lnTo>
                  <a:lnTo>
                    <a:pt x="78" y="348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66" y="330"/>
                  </a:lnTo>
                  <a:lnTo>
                    <a:pt x="66" y="324"/>
                  </a:lnTo>
                  <a:lnTo>
                    <a:pt x="60" y="318"/>
                  </a:lnTo>
                  <a:lnTo>
                    <a:pt x="60" y="312"/>
                  </a:lnTo>
                  <a:lnTo>
                    <a:pt x="54" y="306"/>
                  </a:lnTo>
                  <a:lnTo>
                    <a:pt x="54" y="300"/>
                  </a:lnTo>
                  <a:lnTo>
                    <a:pt x="54" y="294"/>
                  </a:lnTo>
                  <a:lnTo>
                    <a:pt x="48" y="288"/>
                  </a:lnTo>
                  <a:lnTo>
                    <a:pt x="48" y="294"/>
                  </a:lnTo>
                  <a:lnTo>
                    <a:pt x="48" y="288"/>
                  </a:lnTo>
                  <a:lnTo>
                    <a:pt x="48" y="282"/>
                  </a:lnTo>
                  <a:lnTo>
                    <a:pt x="48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18" y="216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62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68"/>
                  </a:lnTo>
                  <a:lnTo>
                    <a:pt x="42" y="168"/>
                  </a:lnTo>
                  <a:lnTo>
                    <a:pt x="42" y="174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86"/>
                  </a:lnTo>
                  <a:close/>
                  <a:moveTo>
                    <a:pt x="642" y="660"/>
                  </a:moveTo>
                  <a:lnTo>
                    <a:pt x="642" y="666"/>
                  </a:lnTo>
                  <a:lnTo>
                    <a:pt x="648" y="666"/>
                  </a:lnTo>
                  <a:lnTo>
                    <a:pt x="648" y="672"/>
                  </a:lnTo>
                  <a:lnTo>
                    <a:pt x="648" y="678"/>
                  </a:lnTo>
                  <a:lnTo>
                    <a:pt x="654" y="678"/>
                  </a:lnTo>
                  <a:lnTo>
                    <a:pt x="654" y="684"/>
                  </a:lnTo>
                  <a:lnTo>
                    <a:pt x="660" y="684"/>
                  </a:lnTo>
                  <a:lnTo>
                    <a:pt x="660" y="690"/>
                  </a:lnTo>
                  <a:lnTo>
                    <a:pt x="654" y="690"/>
                  </a:lnTo>
                  <a:lnTo>
                    <a:pt x="648" y="690"/>
                  </a:lnTo>
                  <a:lnTo>
                    <a:pt x="636" y="696"/>
                  </a:lnTo>
                  <a:lnTo>
                    <a:pt x="630" y="696"/>
                  </a:lnTo>
                  <a:lnTo>
                    <a:pt x="624" y="696"/>
                  </a:lnTo>
                  <a:lnTo>
                    <a:pt x="618" y="696"/>
                  </a:lnTo>
                  <a:lnTo>
                    <a:pt x="612" y="696"/>
                  </a:lnTo>
                  <a:lnTo>
                    <a:pt x="594" y="696"/>
                  </a:lnTo>
                  <a:lnTo>
                    <a:pt x="588" y="696"/>
                  </a:lnTo>
                  <a:lnTo>
                    <a:pt x="582" y="696"/>
                  </a:lnTo>
                  <a:lnTo>
                    <a:pt x="570" y="702"/>
                  </a:lnTo>
                  <a:lnTo>
                    <a:pt x="564" y="702"/>
                  </a:lnTo>
                  <a:lnTo>
                    <a:pt x="558" y="702"/>
                  </a:lnTo>
                  <a:lnTo>
                    <a:pt x="552" y="702"/>
                  </a:lnTo>
                  <a:lnTo>
                    <a:pt x="552" y="696"/>
                  </a:lnTo>
                  <a:lnTo>
                    <a:pt x="546" y="696"/>
                  </a:lnTo>
                  <a:lnTo>
                    <a:pt x="546" y="690"/>
                  </a:lnTo>
                  <a:lnTo>
                    <a:pt x="552" y="684"/>
                  </a:lnTo>
                  <a:lnTo>
                    <a:pt x="552" y="678"/>
                  </a:lnTo>
                  <a:lnTo>
                    <a:pt x="558" y="672"/>
                  </a:lnTo>
                  <a:lnTo>
                    <a:pt x="558" y="666"/>
                  </a:lnTo>
                  <a:lnTo>
                    <a:pt x="564" y="666"/>
                  </a:lnTo>
                  <a:lnTo>
                    <a:pt x="570" y="666"/>
                  </a:lnTo>
                  <a:lnTo>
                    <a:pt x="570" y="654"/>
                  </a:lnTo>
                  <a:lnTo>
                    <a:pt x="570" y="648"/>
                  </a:lnTo>
                  <a:lnTo>
                    <a:pt x="582" y="642"/>
                  </a:lnTo>
                  <a:lnTo>
                    <a:pt x="582" y="636"/>
                  </a:lnTo>
                  <a:lnTo>
                    <a:pt x="588" y="636"/>
                  </a:lnTo>
                  <a:lnTo>
                    <a:pt x="588" y="630"/>
                  </a:lnTo>
                  <a:lnTo>
                    <a:pt x="594" y="624"/>
                  </a:lnTo>
                  <a:lnTo>
                    <a:pt x="594" y="618"/>
                  </a:lnTo>
                  <a:lnTo>
                    <a:pt x="600" y="618"/>
                  </a:lnTo>
                  <a:lnTo>
                    <a:pt x="600" y="612"/>
                  </a:lnTo>
                  <a:lnTo>
                    <a:pt x="606" y="612"/>
                  </a:lnTo>
                  <a:lnTo>
                    <a:pt x="606" y="618"/>
                  </a:lnTo>
                  <a:lnTo>
                    <a:pt x="612" y="618"/>
                  </a:lnTo>
                  <a:lnTo>
                    <a:pt x="618" y="618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18" y="636"/>
                  </a:lnTo>
                  <a:lnTo>
                    <a:pt x="618" y="642"/>
                  </a:lnTo>
                  <a:lnTo>
                    <a:pt x="618" y="648"/>
                  </a:lnTo>
                  <a:lnTo>
                    <a:pt x="624" y="648"/>
                  </a:lnTo>
                  <a:lnTo>
                    <a:pt x="630" y="648"/>
                  </a:lnTo>
                  <a:lnTo>
                    <a:pt x="636" y="654"/>
                  </a:lnTo>
                  <a:lnTo>
                    <a:pt x="642" y="654"/>
                  </a:lnTo>
                  <a:lnTo>
                    <a:pt x="642" y="66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00" name="Freeform 5">
              <a:extLst>
                <a:ext uri="{FF2B5EF4-FFF2-40B4-BE49-F238E27FC236}">
                  <a16:creationId xmlns:a16="http://schemas.microsoft.com/office/drawing/2014/main" id="{5577BDCA-F2C7-42E0-A391-018D79AA29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0384" y="4231013"/>
              <a:ext cx="404750" cy="480848"/>
            </a:xfrm>
            <a:custGeom>
              <a:avLst/>
              <a:gdLst>
                <a:gd name="T0" fmla="*/ 9 w 762"/>
                <a:gd name="T1" fmla="*/ 58 h 900"/>
                <a:gd name="T2" fmla="*/ 4 w 762"/>
                <a:gd name="T3" fmla="*/ 56 h 900"/>
                <a:gd name="T4" fmla="*/ 0 w 762"/>
                <a:gd name="T5" fmla="*/ 49 h 900"/>
                <a:gd name="T6" fmla="*/ 4 w 762"/>
                <a:gd name="T7" fmla="*/ 36 h 900"/>
                <a:gd name="T8" fmla="*/ 8 w 762"/>
                <a:gd name="T9" fmla="*/ 28 h 900"/>
                <a:gd name="T10" fmla="*/ 7 w 762"/>
                <a:gd name="T11" fmla="*/ 13 h 900"/>
                <a:gd name="T12" fmla="*/ 15 w 762"/>
                <a:gd name="T13" fmla="*/ 0 h 900"/>
                <a:gd name="T14" fmla="*/ 16 w 762"/>
                <a:gd name="T15" fmla="*/ 13 h 900"/>
                <a:gd name="T16" fmla="*/ 31 w 762"/>
                <a:gd name="T17" fmla="*/ 28 h 900"/>
                <a:gd name="T18" fmla="*/ 49 w 762"/>
                <a:gd name="T19" fmla="*/ 33 h 900"/>
                <a:gd name="T20" fmla="*/ 42 w 762"/>
                <a:gd name="T21" fmla="*/ 48 h 900"/>
                <a:gd name="T22" fmla="*/ 51 w 762"/>
                <a:gd name="T23" fmla="*/ 48 h 900"/>
                <a:gd name="T24" fmla="*/ 61 w 762"/>
                <a:gd name="T25" fmla="*/ 51 h 900"/>
                <a:gd name="T26" fmla="*/ 63 w 762"/>
                <a:gd name="T27" fmla="*/ 60 h 900"/>
                <a:gd name="T28" fmla="*/ 63 w 762"/>
                <a:gd name="T29" fmla="*/ 66 h 900"/>
                <a:gd name="T30" fmla="*/ 65 w 762"/>
                <a:gd name="T31" fmla="*/ 69 h 900"/>
                <a:gd name="T32" fmla="*/ 66 w 762"/>
                <a:gd name="T33" fmla="*/ 72 h 900"/>
                <a:gd name="T34" fmla="*/ 56 w 762"/>
                <a:gd name="T35" fmla="*/ 73 h 900"/>
                <a:gd name="T36" fmla="*/ 55 w 762"/>
                <a:gd name="T37" fmla="*/ 69 h 900"/>
                <a:gd name="T38" fmla="*/ 57 w 762"/>
                <a:gd name="T39" fmla="*/ 67 h 900"/>
                <a:gd name="T40" fmla="*/ 55 w 762"/>
                <a:gd name="T41" fmla="*/ 65 h 900"/>
                <a:gd name="T42" fmla="*/ 53 w 762"/>
                <a:gd name="T43" fmla="*/ 68 h 900"/>
                <a:gd name="T44" fmla="*/ 49 w 762"/>
                <a:gd name="T45" fmla="*/ 68 h 900"/>
                <a:gd name="T46" fmla="*/ 44 w 762"/>
                <a:gd name="T47" fmla="*/ 63 h 900"/>
                <a:gd name="T48" fmla="*/ 40 w 762"/>
                <a:gd name="T49" fmla="*/ 59 h 900"/>
                <a:gd name="T50" fmla="*/ 38 w 762"/>
                <a:gd name="T51" fmla="*/ 57 h 900"/>
                <a:gd name="T52" fmla="*/ 43 w 762"/>
                <a:gd name="T53" fmla="*/ 62 h 900"/>
                <a:gd name="T54" fmla="*/ 43 w 762"/>
                <a:gd name="T55" fmla="*/ 66 h 900"/>
                <a:gd name="T56" fmla="*/ 41 w 762"/>
                <a:gd name="T57" fmla="*/ 71 h 900"/>
                <a:gd name="T58" fmla="*/ 37 w 762"/>
                <a:gd name="T59" fmla="*/ 69 h 900"/>
                <a:gd name="T60" fmla="*/ 35 w 762"/>
                <a:gd name="T61" fmla="*/ 64 h 900"/>
                <a:gd name="T62" fmla="*/ 31 w 762"/>
                <a:gd name="T63" fmla="*/ 57 h 900"/>
                <a:gd name="T64" fmla="*/ 30 w 762"/>
                <a:gd name="T65" fmla="*/ 62 h 900"/>
                <a:gd name="T66" fmla="*/ 29 w 762"/>
                <a:gd name="T67" fmla="*/ 61 h 900"/>
                <a:gd name="T68" fmla="*/ 31 w 762"/>
                <a:gd name="T69" fmla="*/ 66 h 900"/>
                <a:gd name="T70" fmla="*/ 33 w 762"/>
                <a:gd name="T71" fmla="*/ 72 h 900"/>
                <a:gd name="T72" fmla="*/ 32 w 762"/>
                <a:gd name="T73" fmla="*/ 76 h 900"/>
                <a:gd name="T74" fmla="*/ 28 w 762"/>
                <a:gd name="T75" fmla="*/ 75 h 900"/>
                <a:gd name="T76" fmla="*/ 24 w 762"/>
                <a:gd name="T77" fmla="*/ 69 h 900"/>
                <a:gd name="T78" fmla="*/ 24 w 762"/>
                <a:gd name="T79" fmla="*/ 62 h 900"/>
                <a:gd name="T80" fmla="*/ 23 w 762"/>
                <a:gd name="T81" fmla="*/ 62 h 900"/>
                <a:gd name="T82" fmla="*/ 23 w 762"/>
                <a:gd name="T83" fmla="*/ 68 h 900"/>
                <a:gd name="T84" fmla="*/ 25 w 762"/>
                <a:gd name="T85" fmla="*/ 77 h 900"/>
                <a:gd name="T86" fmla="*/ 17 w 762"/>
                <a:gd name="T87" fmla="*/ 74 h 900"/>
                <a:gd name="T88" fmla="*/ 17 w 762"/>
                <a:gd name="T89" fmla="*/ 67 h 900"/>
                <a:gd name="T90" fmla="*/ 16 w 762"/>
                <a:gd name="T91" fmla="*/ 67 h 900"/>
                <a:gd name="T92" fmla="*/ 15 w 762"/>
                <a:gd name="T93" fmla="*/ 71 h 900"/>
                <a:gd name="T94" fmla="*/ 12 w 762"/>
                <a:gd name="T95" fmla="*/ 68 h 900"/>
                <a:gd name="T96" fmla="*/ 15 w 762"/>
                <a:gd name="T97" fmla="*/ 72 h 900"/>
                <a:gd name="T98" fmla="*/ 17 w 762"/>
                <a:gd name="T99" fmla="*/ 77 h 900"/>
                <a:gd name="T100" fmla="*/ 11 w 762"/>
                <a:gd name="T101" fmla="*/ 77 h 900"/>
                <a:gd name="T102" fmla="*/ 10 w 762"/>
                <a:gd name="T103" fmla="*/ 69 h 900"/>
                <a:gd name="T104" fmla="*/ 11 w 762"/>
                <a:gd name="T105" fmla="*/ 72 h 900"/>
                <a:gd name="T106" fmla="*/ 9 w 762"/>
                <a:gd name="T107" fmla="*/ 78 h 900"/>
                <a:gd name="T108" fmla="*/ 43 w 762"/>
                <a:gd name="T109" fmla="*/ 71 h 900"/>
                <a:gd name="T110" fmla="*/ 51 w 762"/>
                <a:gd name="T111" fmla="*/ 69 h 900"/>
                <a:gd name="T112" fmla="*/ 43 w 762"/>
                <a:gd name="T113" fmla="*/ 76 h 900"/>
                <a:gd name="T114" fmla="*/ 36 w 762"/>
                <a:gd name="T115" fmla="*/ 65 h 900"/>
                <a:gd name="T116" fmla="*/ 38 w 762"/>
                <a:gd name="T117" fmla="*/ 72 h 900"/>
                <a:gd name="T118" fmla="*/ 34 w 762"/>
                <a:gd name="T119" fmla="*/ 69 h 900"/>
                <a:gd name="T120" fmla="*/ 29 w 762"/>
                <a:gd name="T121" fmla="*/ 64 h 900"/>
                <a:gd name="T122" fmla="*/ 32 w 762"/>
                <a:gd name="T123" fmla="*/ 66 h 9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900"/>
                <a:gd name="T188" fmla="*/ 762 w 762"/>
                <a:gd name="T189" fmla="*/ 900 h 90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900">
                  <a:moveTo>
                    <a:pt x="90" y="768"/>
                  </a:moveTo>
                  <a:lnTo>
                    <a:pt x="102" y="756"/>
                  </a:lnTo>
                  <a:lnTo>
                    <a:pt x="102" y="750"/>
                  </a:lnTo>
                  <a:lnTo>
                    <a:pt x="90" y="744"/>
                  </a:lnTo>
                  <a:lnTo>
                    <a:pt x="84" y="738"/>
                  </a:lnTo>
                  <a:lnTo>
                    <a:pt x="90" y="726"/>
                  </a:lnTo>
                  <a:lnTo>
                    <a:pt x="84" y="720"/>
                  </a:lnTo>
                  <a:lnTo>
                    <a:pt x="78" y="720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72" y="702"/>
                  </a:lnTo>
                  <a:lnTo>
                    <a:pt x="72" y="696"/>
                  </a:lnTo>
                  <a:lnTo>
                    <a:pt x="84" y="684"/>
                  </a:lnTo>
                  <a:lnTo>
                    <a:pt x="96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102" y="654"/>
                  </a:lnTo>
                  <a:lnTo>
                    <a:pt x="108" y="654"/>
                  </a:lnTo>
                  <a:lnTo>
                    <a:pt x="114" y="648"/>
                  </a:lnTo>
                  <a:lnTo>
                    <a:pt x="120" y="642"/>
                  </a:lnTo>
                  <a:lnTo>
                    <a:pt x="120" y="636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14" y="618"/>
                  </a:lnTo>
                  <a:lnTo>
                    <a:pt x="102" y="618"/>
                  </a:lnTo>
                  <a:lnTo>
                    <a:pt x="90" y="618"/>
                  </a:lnTo>
                  <a:lnTo>
                    <a:pt x="78" y="624"/>
                  </a:lnTo>
                  <a:lnTo>
                    <a:pt x="72" y="630"/>
                  </a:lnTo>
                  <a:lnTo>
                    <a:pt x="54" y="642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42" y="642"/>
                  </a:lnTo>
                  <a:lnTo>
                    <a:pt x="42" y="636"/>
                  </a:lnTo>
                  <a:lnTo>
                    <a:pt x="36" y="636"/>
                  </a:lnTo>
                  <a:lnTo>
                    <a:pt x="30" y="642"/>
                  </a:lnTo>
                  <a:lnTo>
                    <a:pt x="30" y="636"/>
                  </a:lnTo>
                  <a:lnTo>
                    <a:pt x="30" y="630"/>
                  </a:lnTo>
                  <a:lnTo>
                    <a:pt x="24" y="630"/>
                  </a:lnTo>
                  <a:lnTo>
                    <a:pt x="30" y="624"/>
                  </a:lnTo>
                  <a:lnTo>
                    <a:pt x="30" y="618"/>
                  </a:lnTo>
                  <a:lnTo>
                    <a:pt x="30" y="612"/>
                  </a:lnTo>
                  <a:lnTo>
                    <a:pt x="36" y="612"/>
                  </a:lnTo>
                  <a:lnTo>
                    <a:pt x="36" y="606"/>
                  </a:lnTo>
                  <a:lnTo>
                    <a:pt x="30" y="606"/>
                  </a:lnTo>
                  <a:lnTo>
                    <a:pt x="24" y="612"/>
                  </a:lnTo>
                  <a:lnTo>
                    <a:pt x="18" y="606"/>
                  </a:lnTo>
                  <a:lnTo>
                    <a:pt x="12" y="594"/>
                  </a:lnTo>
                  <a:lnTo>
                    <a:pt x="6" y="582"/>
                  </a:lnTo>
                  <a:lnTo>
                    <a:pt x="6" y="570"/>
                  </a:lnTo>
                  <a:lnTo>
                    <a:pt x="0" y="558"/>
                  </a:lnTo>
                  <a:lnTo>
                    <a:pt x="6" y="552"/>
                  </a:lnTo>
                  <a:lnTo>
                    <a:pt x="6" y="534"/>
                  </a:lnTo>
                  <a:lnTo>
                    <a:pt x="18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12" y="480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54" y="408"/>
                  </a:lnTo>
                  <a:lnTo>
                    <a:pt x="54" y="396"/>
                  </a:lnTo>
                  <a:lnTo>
                    <a:pt x="54" y="384"/>
                  </a:lnTo>
                  <a:lnTo>
                    <a:pt x="60" y="378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66"/>
                  </a:lnTo>
                  <a:lnTo>
                    <a:pt x="60" y="360"/>
                  </a:lnTo>
                  <a:lnTo>
                    <a:pt x="66" y="360"/>
                  </a:lnTo>
                  <a:lnTo>
                    <a:pt x="72" y="354"/>
                  </a:lnTo>
                  <a:lnTo>
                    <a:pt x="78" y="354"/>
                  </a:lnTo>
                  <a:lnTo>
                    <a:pt x="84" y="348"/>
                  </a:lnTo>
                  <a:lnTo>
                    <a:pt x="96" y="348"/>
                  </a:lnTo>
                  <a:lnTo>
                    <a:pt x="96" y="342"/>
                  </a:lnTo>
                  <a:lnTo>
                    <a:pt x="96" y="336"/>
                  </a:lnTo>
                  <a:lnTo>
                    <a:pt x="96" y="330"/>
                  </a:lnTo>
                  <a:lnTo>
                    <a:pt x="96" y="324"/>
                  </a:lnTo>
                  <a:lnTo>
                    <a:pt x="102" y="318"/>
                  </a:lnTo>
                  <a:lnTo>
                    <a:pt x="108" y="312"/>
                  </a:lnTo>
                  <a:lnTo>
                    <a:pt x="96" y="306"/>
                  </a:lnTo>
                  <a:lnTo>
                    <a:pt x="84" y="288"/>
                  </a:lnTo>
                  <a:lnTo>
                    <a:pt x="108" y="258"/>
                  </a:lnTo>
                  <a:lnTo>
                    <a:pt x="102" y="222"/>
                  </a:lnTo>
                  <a:lnTo>
                    <a:pt x="84" y="222"/>
                  </a:lnTo>
                  <a:lnTo>
                    <a:pt x="54" y="216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2"/>
                  </a:lnTo>
                  <a:lnTo>
                    <a:pt x="72" y="192"/>
                  </a:lnTo>
                  <a:lnTo>
                    <a:pt x="84" y="186"/>
                  </a:lnTo>
                  <a:lnTo>
                    <a:pt x="90" y="186"/>
                  </a:lnTo>
                  <a:lnTo>
                    <a:pt x="90" y="174"/>
                  </a:lnTo>
                  <a:lnTo>
                    <a:pt x="84" y="162"/>
                  </a:lnTo>
                  <a:lnTo>
                    <a:pt x="84" y="150"/>
                  </a:lnTo>
                  <a:lnTo>
                    <a:pt x="84" y="126"/>
                  </a:lnTo>
                  <a:lnTo>
                    <a:pt x="84" y="114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8" y="96"/>
                  </a:lnTo>
                  <a:lnTo>
                    <a:pt x="120" y="90"/>
                  </a:lnTo>
                  <a:lnTo>
                    <a:pt x="126" y="78"/>
                  </a:lnTo>
                  <a:lnTo>
                    <a:pt x="138" y="66"/>
                  </a:lnTo>
                  <a:lnTo>
                    <a:pt x="138" y="48"/>
                  </a:lnTo>
                  <a:lnTo>
                    <a:pt x="138" y="42"/>
                  </a:lnTo>
                  <a:lnTo>
                    <a:pt x="126" y="30"/>
                  </a:lnTo>
                  <a:lnTo>
                    <a:pt x="120" y="18"/>
                  </a:lnTo>
                  <a:lnTo>
                    <a:pt x="132" y="12"/>
                  </a:lnTo>
                  <a:lnTo>
                    <a:pt x="144" y="0"/>
                  </a:lnTo>
                  <a:lnTo>
                    <a:pt x="150" y="6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6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74" y="66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68" y="72"/>
                  </a:lnTo>
                  <a:lnTo>
                    <a:pt x="156" y="150"/>
                  </a:lnTo>
                  <a:lnTo>
                    <a:pt x="168" y="144"/>
                  </a:lnTo>
                  <a:lnTo>
                    <a:pt x="180" y="150"/>
                  </a:lnTo>
                  <a:lnTo>
                    <a:pt x="186" y="150"/>
                  </a:lnTo>
                  <a:lnTo>
                    <a:pt x="186" y="144"/>
                  </a:lnTo>
                  <a:lnTo>
                    <a:pt x="192" y="150"/>
                  </a:lnTo>
                  <a:lnTo>
                    <a:pt x="222" y="150"/>
                  </a:lnTo>
                  <a:lnTo>
                    <a:pt x="222" y="168"/>
                  </a:lnTo>
                  <a:lnTo>
                    <a:pt x="222" y="186"/>
                  </a:lnTo>
                  <a:lnTo>
                    <a:pt x="234" y="198"/>
                  </a:lnTo>
                  <a:lnTo>
                    <a:pt x="234" y="234"/>
                  </a:lnTo>
                  <a:lnTo>
                    <a:pt x="228" y="270"/>
                  </a:lnTo>
                  <a:lnTo>
                    <a:pt x="246" y="282"/>
                  </a:lnTo>
                  <a:lnTo>
                    <a:pt x="258" y="294"/>
                  </a:lnTo>
                  <a:lnTo>
                    <a:pt x="270" y="300"/>
                  </a:lnTo>
                  <a:lnTo>
                    <a:pt x="294" y="300"/>
                  </a:lnTo>
                  <a:lnTo>
                    <a:pt x="288" y="306"/>
                  </a:lnTo>
                  <a:lnTo>
                    <a:pt x="300" y="312"/>
                  </a:lnTo>
                  <a:lnTo>
                    <a:pt x="306" y="318"/>
                  </a:lnTo>
                  <a:lnTo>
                    <a:pt x="324" y="324"/>
                  </a:lnTo>
                  <a:lnTo>
                    <a:pt x="354" y="318"/>
                  </a:lnTo>
                  <a:lnTo>
                    <a:pt x="354" y="312"/>
                  </a:lnTo>
                  <a:lnTo>
                    <a:pt x="366" y="312"/>
                  </a:lnTo>
                  <a:lnTo>
                    <a:pt x="384" y="312"/>
                  </a:lnTo>
                  <a:lnTo>
                    <a:pt x="390" y="306"/>
                  </a:lnTo>
                  <a:lnTo>
                    <a:pt x="396" y="306"/>
                  </a:lnTo>
                  <a:lnTo>
                    <a:pt x="408" y="306"/>
                  </a:lnTo>
                  <a:lnTo>
                    <a:pt x="426" y="312"/>
                  </a:lnTo>
                  <a:lnTo>
                    <a:pt x="456" y="324"/>
                  </a:lnTo>
                  <a:lnTo>
                    <a:pt x="504" y="330"/>
                  </a:lnTo>
                  <a:lnTo>
                    <a:pt x="510" y="336"/>
                  </a:lnTo>
                  <a:lnTo>
                    <a:pt x="534" y="336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58" y="330"/>
                  </a:lnTo>
                  <a:lnTo>
                    <a:pt x="564" y="330"/>
                  </a:lnTo>
                  <a:lnTo>
                    <a:pt x="570" y="354"/>
                  </a:lnTo>
                  <a:lnTo>
                    <a:pt x="564" y="378"/>
                  </a:lnTo>
                  <a:lnTo>
                    <a:pt x="558" y="396"/>
                  </a:lnTo>
                  <a:lnTo>
                    <a:pt x="546" y="414"/>
                  </a:lnTo>
                  <a:lnTo>
                    <a:pt x="546" y="438"/>
                  </a:lnTo>
                  <a:lnTo>
                    <a:pt x="540" y="456"/>
                  </a:lnTo>
                  <a:lnTo>
                    <a:pt x="540" y="474"/>
                  </a:lnTo>
                  <a:lnTo>
                    <a:pt x="528" y="480"/>
                  </a:lnTo>
                  <a:lnTo>
                    <a:pt x="522" y="492"/>
                  </a:lnTo>
                  <a:lnTo>
                    <a:pt x="504" y="498"/>
                  </a:lnTo>
                  <a:lnTo>
                    <a:pt x="498" y="498"/>
                  </a:lnTo>
                  <a:lnTo>
                    <a:pt x="492" y="504"/>
                  </a:lnTo>
                  <a:lnTo>
                    <a:pt x="486" y="510"/>
                  </a:lnTo>
                  <a:lnTo>
                    <a:pt x="480" y="510"/>
                  </a:lnTo>
                  <a:lnTo>
                    <a:pt x="480" y="516"/>
                  </a:lnTo>
                  <a:lnTo>
                    <a:pt x="474" y="522"/>
                  </a:lnTo>
                  <a:lnTo>
                    <a:pt x="474" y="528"/>
                  </a:lnTo>
                  <a:lnTo>
                    <a:pt x="474" y="534"/>
                  </a:lnTo>
                  <a:lnTo>
                    <a:pt x="480" y="540"/>
                  </a:lnTo>
                  <a:lnTo>
                    <a:pt x="492" y="540"/>
                  </a:lnTo>
                  <a:lnTo>
                    <a:pt x="498" y="546"/>
                  </a:lnTo>
                  <a:lnTo>
                    <a:pt x="504" y="552"/>
                  </a:lnTo>
                  <a:lnTo>
                    <a:pt x="510" y="552"/>
                  </a:lnTo>
                  <a:lnTo>
                    <a:pt x="516" y="558"/>
                  </a:lnTo>
                  <a:lnTo>
                    <a:pt x="528" y="558"/>
                  </a:lnTo>
                  <a:lnTo>
                    <a:pt x="534" y="552"/>
                  </a:lnTo>
                  <a:lnTo>
                    <a:pt x="540" y="552"/>
                  </a:lnTo>
                  <a:lnTo>
                    <a:pt x="546" y="552"/>
                  </a:lnTo>
                  <a:lnTo>
                    <a:pt x="558" y="546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70" y="546"/>
                  </a:lnTo>
                  <a:lnTo>
                    <a:pt x="570" y="540"/>
                  </a:lnTo>
                  <a:lnTo>
                    <a:pt x="570" y="546"/>
                  </a:lnTo>
                  <a:lnTo>
                    <a:pt x="576" y="546"/>
                  </a:lnTo>
                  <a:lnTo>
                    <a:pt x="582" y="546"/>
                  </a:lnTo>
                  <a:lnTo>
                    <a:pt x="588" y="540"/>
                  </a:lnTo>
                  <a:lnTo>
                    <a:pt x="594" y="546"/>
                  </a:lnTo>
                  <a:lnTo>
                    <a:pt x="606" y="546"/>
                  </a:lnTo>
                  <a:lnTo>
                    <a:pt x="612" y="546"/>
                  </a:lnTo>
                  <a:lnTo>
                    <a:pt x="612" y="552"/>
                  </a:lnTo>
                  <a:lnTo>
                    <a:pt x="618" y="552"/>
                  </a:lnTo>
                  <a:lnTo>
                    <a:pt x="624" y="552"/>
                  </a:lnTo>
                  <a:lnTo>
                    <a:pt x="630" y="552"/>
                  </a:lnTo>
                  <a:lnTo>
                    <a:pt x="648" y="546"/>
                  </a:lnTo>
                  <a:lnTo>
                    <a:pt x="654" y="546"/>
                  </a:lnTo>
                  <a:lnTo>
                    <a:pt x="654" y="552"/>
                  </a:lnTo>
                  <a:lnTo>
                    <a:pt x="660" y="558"/>
                  </a:lnTo>
                  <a:lnTo>
                    <a:pt x="666" y="564"/>
                  </a:lnTo>
                  <a:lnTo>
                    <a:pt x="672" y="564"/>
                  </a:lnTo>
                  <a:lnTo>
                    <a:pt x="678" y="564"/>
                  </a:lnTo>
                  <a:lnTo>
                    <a:pt x="696" y="576"/>
                  </a:lnTo>
                  <a:lnTo>
                    <a:pt x="696" y="582"/>
                  </a:lnTo>
                  <a:lnTo>
                    <a:pt x="708" y="588"/>
                  </a:lnTo>
                  <a:lnTo>
                    <a:pt x="708" y="594"/>
                  </a:lnTo>
                  <a:lnTo>
                    <a:pt x="720" y="606"/>
                  </a:lnTo>
                  <a:lnTo>
                    <a:pt x="720" y="618"/>
                  </a:lnTo>
                  <a:lnTo>
                    <a:pt x="720" y="624"/>
                  </a:lnTo>
                  <a:lnTo>
                    <a:pt x="726" y="630"/>
                  </a:lnTo>
                  <a:lnTo>
                    <a:pt x="732" y="636"/>
                  </a:lnTo>
                  <a:lnTo>
                    <a:pt x="732" y="642"/>
                  </a:lnTo>
                  <a:lnTo>
                    <a:pt x="732" y="648"/>
                  </a:lnTo>
                  <a:lnTo>
                    <a:pt x="726" y="654"/>
                  </a:lnTo>
                  <a:lnTo>
                    <a:pt x="720" y="660"/>
                  </a:lnTo>
                  <a:lnTo>
                    <a:pt x="714" y="666"/>
                  </a:lnTo>
                  <a:lnTo>
                    <a:pt x="714" y="672"/>
                  </a:lnTo>
                  <a:lnTo>
                    <a:pt x="714" y="678"/>
                  </a:lnTo>
                  <a:lnTo>
                    <a:pt x="720" y="678"/>
                  </a:lnTo>
                  <a:lnTo>
                    <a:pt x="720" y="684"/>
                  </a:lnTo>
                  <a:lnTo>
                    <a:pt x="714" y="690"/>
                  </a:lnTo>
                  <a:lnTo>
                    <a:pt x="714" y="696"/>
                  </a:lnTo>
                  <a:lnTo>
                    <a:pt x="714" y="702"/>
                  </a:lnTo>
                  <a:lnTo>
                    <a:pt x="714" y="708"/>
                  </a:lnTo>
                  <a:lnTo>
                    <a:pt x="720" y="708"/>
                  </a:lnTo>
                  <a:lnTo>
                    <a:pt x="720" y="720"/>
                  </a:lnTo>
                  <a:lnTo>
                    <a:pt x="720" y="726"/>
                  </a:lnTo>
                  <a:lnTo>
                    <a:pt x="726" y="726"/>
                  </a:lnTo>
                  <a:lnTo>
                    <a:pt x="726" y="732"/>
                  </a:lnTo>
                  <a:lnTo>
                    <a:pt x="732" y="732"/>
                  </a:lnTo>
                  <a:lnTo>
                    <a:pt x="732" y="738"/>
                  </a:lnTo>
                  <a:lnTo>
                    <a:pt x="726" y="738"/>
                  </a:lnTo>
                  <a:lnTo>
                    <a:pt x="720" y="738"/>
                  </a:lnTo>
                  <a:lnTo>
                    <a:pt x="720" y="744"/>
                  </a:lnTo>
                  <a:lnTo>
                    <a:pt x="720" y="750"/>
                  </a:lnTo>
                  <a:lnTo>
                    <a:pt x="714" y="750"/>
                  </a:lnTo>
                  <a:lnTo>
                    <a:pt x="714" y="756"/>
                  </a:lnTo>
                  <a:lnTo>
                    <a:pt x="720" y="756"/>
                  </a:lnTo>
                  <a:lnTo>
                    <a:pt x="714" y="762"/>
                  </a:lnTo>
                  <a:lnTo>
                    <a:pt x="720" y="762"/>
                  </a:lnTo>
                  <a:lnTo>
                    <a:pt x="726" y="768"/>
                  </a:lnTo>
                  <a:lnTo>
                    <a:pt x="726" y="774"/>
                  </a:lnTo>
                  <a:lnTo>
                    <a:pt x="732" y="774"/>
                  </a:lnTo>
                  <a:lnTo>
                    <a:pt x="732" y="780"/>
                  </a:lnTo>
                  <a:lnTo>
                    <a:pt x="726" y="780"/>
                  </a:lnTo>
                  <a:lnTo>
                    <a:pt x="726" y="786"/>
                  </a:lnTo>
                  <a:lnTo>
                    <a:pt x="720" y="786"/>
                  </a:lnTo>
                  <a:lnTo>
                    <a:pt x="726" y="786"/>
                  </a:lnTo>
                  <a:lnTo>
                    <a:pt x="732" y="780"/>
                  </a:lnTo>
                  <a:lnTo>
                    <a:pt x="738" y="780"/>
                  </a:lnTo>
                  <a:lnTo>
                    <a:pt x="744" y="780"/>
                  </a:lnTo>
                  <a:lnTo>
                    <a:pt x="744" y="786"/>
                  </a:lnTo>
                  <a:lnTo>
                    <a:pt x="750" y="786"/>
                  </a:lnTo>
                  <a:lnTo>
                    <a:pt x="744" y="786"/>
                  </a:lnTo>
                  <a:lnTo>
                    <a:pt x="744" y="792"/>
                  </a:lnTo>
                  <a:lnTo>
                    <a:pt x="744" y="786"/>
                  </a:lnTo>
                  <a:lnTo>
                    <a:pt x="738" y="792"/>
                  </a:lnTo>
                  <a:lnTo>
                    <a:pt x="744" y="792"/>
                  </a:lnTo>
                  <a:lnTo>
                    <a:pt x="750" y="792"/>
                  </a:lnTo>
                  <a:lnTo>
                    <a:pt x="750" y="786"/>
                  </a:lnTo>
                  <a:lnTo>
                    <a:pt x="756" y="786"/>
                  </a:lnTo>
                  <a:lnTo>
                    <a:pt x="756" y="792"/>
                  </a:lnTo>
                  <a:lnTo>
                    <a:pt x="762" y="792"/>
                  </a:lnTo>
                  <a:lnTo>
                    <a:pt x="756" y="798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0" y="810"/>
                  </a:lnTo>
                  <a:lnTo>
                    <a:pt x="756" y="810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6" y="816"/>
                  </a:lnTo>
                  <a:lnTo>
                    <a:pt x="750" y="816"/>
                  </a:lnTo>
                  <a:lnTo>
                    <a:pt x="738" y="810"/>
                  </a:lnTo>
                  <a:lnTo>
                    <a:pt x="732" y="810"/>
                  </a:lnTo>
                  <a:lnTo>
                    <a:pt x="732" y="816"/>
                  </a:lnTo>
                  <a:lnTo>
                    <a:pt x="726" y="810"/>
                  </a:lnTo>
                  <a:lnTo>
                    <a:pt x="714" y="816"/>
                  </a:lnTo>
                  <a:lnTo>
                    <a:pt x="708" y="816"/>
                  </a:lnTo>
                  <a:lnTo>
                    <a:pt x="702" y="816"/>
                  </a:lnTo>
                  <a:lnTo>
                    <a:pt x="696" y="816"/>
                  </a:lnTo>
                  <a:lnTo>
                    <a:pt x="690" y="822"/>
                  </a:lnTo>
                  <a:lnTo>
                    <a:pt x="684" y="822"/>
                  </a:lnTo>
                  <a:lnTo>
                    <a:pt x="678" y="822"/>
                  </a:lnTo>
                  <a:lnTo>
                    <a:pt x="672" y="822"/>
                  </a:lnTo>
                  <a:lnTo>
                    <a:pt x="666" y="822"/>
                  </a:lnTo>
                  <a:lnTo>
                    <a:pt x="666" y="828"/>
                  </a:lnTo>
                  <a:lnTo>
                    <a:pt x="654" y="828"/>
                  </a:lnTo>
                  <a:lnTo>
                    <a:pt x="648" y="828"/>
                  </a:lnTo>
                  <a:lnTo>
                    <a:pt x="642" y="828"/>
                  </a:lnTo>
                  <a:lnTo>
                    <a:pt x="630" y="828"/>
                  </a:lnTo>
                  <a:lnTo>
                    <a:pt x="624" y="822"/>
                  </a:lnTo>
                  <a:lnTo>
                    <a:pt x="618" y="822"/>
                  </a:lnTo>
                  <a:lnTo>
                    <a:pt x="612" y="822"/>
                  </a:lnTo>
                  <a:lnTo>
                    <a:pt x="606" y="822"/>
                  </a:lnTo>
                  <a:lnTo>
                    <a:pt x="600" y="822"/>
                  </a:lnTo>
                  <a:lnTo>
                    <a:pt x="594" y="822"/>
                  </a:lnTo>
                  <a:lnTo>
                    <a:pt x="594" y="816"/>
                  </a:lnTo>
                  <a:lnTo>
                    <a:pt x="594" y="810"/>
                  </a:lnTo>
                  <a:lnTo>
                    <a:pt x="600" y="804"/>
                  </a:lnTo>
                  <a:lnTo>
                    <a:pt x="600" y="798"/>
                  </a:lnTo>
                  <a:lnTo>
                    <a:pt x="600" y="792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2" y="786"/>
                  </a:lnTo>
                  <a:lnTo>
                    <a:pt x="618" y="786"/>
                  </a:lnTo>
                  <a:lnTo>
                    <a:pt x="624" y="786"/>
                  </a:lnTo>
                  <a:lnTo>
                    <a:pt x="624" y="780"/>
                  </a:lnTo>
                  <a:lnTo>
                    <a:pt x="630" y="780"/>
                  </a:lnTo>
                  <a:lnTo>
                    <a:pt x="630" y="774"/>
                  </a:lnTo>
                  <a:lnTo>
                    <a:pt x="636" y="774"/>
                  </a:lnTo>
                  <a:lnTo>
                    <a:pt x="642" y="780"/>
                  </a:lnTo>
                  <a:lnTo>
                    <a:pt x="642" y="786"/>
                  </a:lnTo>
                  <a:lnTo>
                    <a:pt x="642" y="792"/>
                  </a:lnTo>
                  <a:lnTo>
                    <a:pt x="648" y="792"/>
                  </a:lnTo>
                  <a:lnTo>
                    <a:pt x="648" y="786"/>
                  </a:lnTo>
                  <a:lnTo>
                    <a:pt x="642" y="786"/>
                  </a:lnTo>
                  <a:lnTo>
                    <a:pt x="642" y="780"/>
                  </a:lnTo>
                  <a:lnTo>
                    <a:pt x="642" y="774"/>
                  </a:lnTo>
                  <a:lnTo>
                    <a:pt x="648" y="768"/>
                  </a:lnTo>
                  <a:lnTo>
                    <a:pt x="642" y="768"/>
                  </a:lnTo>
                  <a:lnTo>
                    <a:pt x="648" y="768"/>
                  </a:lnTo>
                  <a:lnTo>
                    <a:pt x="648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66" y="762"/>
                  </a:lnTo>
                  <a:lnTo>
                    <a:pt x="672" y="756"/>
                  </a:lnTo>
                  <a:lnTo>
                    <a:pt x="666" y="756"/>
                  </a:lnTo>
                  <a:lnTo>
                    <a:pt x="660" y="756"/>
                  </a:lnTo>
                  <a:lnTo>
                    <a:pt x="660" y="750"/>
                  </a:lnTo>
                  <a:lnTo>
                    <a:pt x="654" y="750"/>
                  </a:lnTo>
                  <a:lnTo>
                    <a:pt x="648" y="750"/>
                  </a:lnTo>
                  <a:lnTo>
                    <a:pt x="648" y="756"/>
                  </a:lnTo>
                  <a:lnTo>
                    <a:pt x="642" y="756"/>
                  </a:lnTo>
                  <a:lnTo>
                    <a:pt x="642" y="750"/>
                  </a:lnTo>
                  <a:lnTo>
                    <a:pt x="642" y="744"/>
                  </a:lnTo>
                  <a:lnTo>
                    <a:pt x="642" y="750"/>
                  </a:lnTo>
                  <a:lnTo>
                    <a:pt x="636" y="750"/>
                  </a:lnTo>
                  <a:lnTo>
                    <a:pt x="636" y="744"/>
                  </a:lnTo>
                  <a:lnTo>
                    <a:pt x="630" y="744"/>
                  </a:lnTo>
                  <a:lnTo>
                    <a:pt x="630" y="738"/>
                  </a:lnTo>
                  <a:lnTo>
                    <a:pt x="630" y="744"/>
                  </a:lnTo>
                  <a:lnTo>
                    <a:pt x="630" y="750"/>
                  </a:lnTo>
                  <a:lnTo>
                    <a:pt x="636" y="750"/>
                  </a:lnTo>
                  <a:lnTo>
                    <a:pt x="636" y="756"/>
                  </a:lnTo>
                  <a:lnTo>
                    <a:pt x="630" y="756"/>
                  </a:lnTo>
                  <a:lnTo>
                    <a:pt x="636" y="762"/>
                  </a:lnTo>
                  <a:lnTo>
                    <a:pt x="630" y="762"/>
                  </a:lnTo>
                  <a:lnTo>
                    <a:pt x="624" y="762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24" y="786"/>
                  </a:lnTo>
                  <a:lnTo>
                    <a:pt x="618" y="786"/>
                  </a:lnTo>
                  <a:lnTo>
                    <a:pt x="618" y="78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12" y="774"/>
                  </a:lnTo>
                  <a:lnTo>
                    <a:pt x="612" y="780"/>
                  </a:lnTo>
                  <a:lnTo>
                    <a:pt x="606" y="780"/>
                  </a:lnTo>
                  <a:lnTo>
                    <a:pt x="600" y="780"/>
                  </a:lnTo>
                  <a:lnTo>
                    <a:pt x="600" y="774"/>
                  </a:lnTo>
                  <a:lnTo>
                    <a:pt x="594" y="768"/>
                  </a:lnTo>
                  <a:lnTo>
                    <a:pt x="594" y="762"/>
                  </a:lnTo>
                  <a:lnTo>
                    <a:pt x="594" y="756"/>
                  </a:lnTo>
                  <a:lnTo>
                    <a:pt x="594" y="762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594" y="780"/>
                  </a:lnTo>
                  <a:lnTo>
                    <a:pt x="588" y="780"/>
                  </a:lnTo>
                  <a:lnTo>
                    <a:pt x="582" y="780"/>
                  </a:lnTo>
                  <a:lnTo>
                    <a:pt x="576" y="780"/>
                  </a:lnTo>
                  <a:lnTo>
                    <a:pt x="570" y="780"/>
                  </a:lnTo>
                  <a:lnTo>
                    <a:pt x="564" y="780"/>
                  </a:lnTo>
                  <a:lnTo>
                    <a:pt x="564" y="786"/>
                  </a:lnTo>
                  <a:lnTo>
                    <a:pt x="558" y="786"/>
                  </a:lnTo>
                  <a:lnTo>
                    <a:pt x="552" y="786"/>
                  </a:lnTo>
                  <a:lnTo>
                    <a:pt x="552" y="780"/>
                  </a:lnTo>
                  <a:lnTo>
                    <a:pt x="552" y="774"/>
                  </a:lnTo>
                  <a:lnTo>
                    <a:pt x="552" y="768"/>
                  </a:lnTo>
                  <a:lnTo>
                    <a:pt x="546" y="768"/>
                  </a:lnTo>
                  <a:lnTo>
                    <a:pt x="540" y="762"/>
                  </a:lnTo>
                  <a:lnTo>
                    <a:pt x="540" y="756"/>
                  </a:lnTo>
                  <a:lnTo>
                    <a:pt x="534" y="756"/>
                  </a:lnTo>
                  <a:lnTo>
                    <a:pt x="534" y="750"/>
                  </a:lnTo>
                  <a:lnTo>
                    <a:pt x="534" y="744"/>
                  </a:lnTo>
                  <a:lnTo>
                    <a:pt x="528" y="738"/>
                  </a:lnTo>
                  <a:lnTo>
                    <a:pt x="522" y="738"/>
                  </a:lnTo>
                  <a:lnTo>
                    <a:pt x="522" y="732"/>
                  </a:lnTo>
                  <a:lnTo>
                    <a:pt x="510" y="726"/>
                  </a:lnTo>
                  <a:lnTo>
                    <a:pt x="510" y="720"/>
                  </a:lnTo>
                  <a:lnTo>
                    <a:pt x="504" y="720"/>
                  </a:lnTo>
                  <a:lnTo>
                    <a:pt x="504" y="714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8" y="702"/>
                  </a:lnTo>
                  <a:lnTo>
                    <a:pt x="498" y="696"/>
                  </a:lnTo>
                  <a:lnTo>
                    <a:pt x="492" y="690"/>
                  </a:lnTo>
                  <a:lnTo>
                    <a:pt x="492" y="684"/>
                  </a:lnTo>
                  <a:lnTo>
                    <a:pt x="486" y="684"/>
                  </a:lnTo>
                  <a:lnTo>
                    <a:pt x="486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74" y="678"/>
                  </a:lnTo>
                  <a:lnTo>
                    <a:pt x="468" y="678"/>
                  </a:lnTo>
                  <a:lnTo>
                    <a:pt x="462" y="678"/>
                  </a:lnTo>
                  <a:lnTo>
                    <a:pt x="462" y="672"/>
                  </a:lnTo>
                  <a:lnTo>
                    <a:pt x="456" y="672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44" y="666"/>
                  </a:lnTo>
                  <a:lnTo>
                    <a:pt x="438" y="660"/>
                  </a:lnTo>
                  <a:lnTo>
                    <a:pt x="438" y="648"/>
                  </a:lnTo>
                  <a:lnTo>
                    <a:pt x="438" y="642"/>
                  </a:lnTo>
                  <a:lnTo>
                    <a:pt x="438" y="636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36"/>
                  </a:lnTo>
                  <a:lnTo>
                    <a:pt x="420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60"/>
                  </a:lnTo>
                  <a:lnTo>
                    <a:pt x="432" y="666"/>
                  </a:lnTo>
                  <a:lnTo>
                    <a:pt x="438" y="666"/>
                  </a:lnTo>
                  <a:lnTo>
                    <a:pt x="438" y="672"/>
                  </a:lnTo>
                  <a:lnTo>
                    <a:pt x="444" y="672"/>
                  </a:lnTo>
                  <a:lnTo>
                    <a:pt x="444" y="678"/>
                  </a:lnTo>
                  <a:lnTo>
                    <a:pt x="450" y="678"/>
                  </a:lnTo>
                  <a:lnTo>
                    <a:pt x="456" y="678"/>
                  </a:lnTo>
                  <a:lnTo>
                    <a:pt x="456" y="684"/>
                  </a:lnTo>
                  <a:lnTo>
                    <a:pt x="462" y="684"/>
                  </a:lnTo>
                  <a:lnTo>
                    <a:pt x="468" y="684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80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86" y="708"/>
                  </a:lnTo>
                  <a:lnTo>
                    <a:pt x="492" y="714"/>
                  </a:lnTo>
                  <a:lnTo>
                    <a:pt x="492" y="720"/>
                  </a:lnTo>
                  <a:lnTo>
                    <a:pt x="492" y="726"/>
                  </a:lnTo>
                  <a:lnTo>
                    <a:pt x="498" y="732"/>
                  </a:lnTo>
                  <a:lnTo>
                    <a:pt x="492" y="738"/>
                  </a:lnTo>
                  <a:lnTo>
                    <a:pt x="492" y="744"/>
                  </a:lnTo>
                  <a:lnTo>
                    <a:pt x="492" y="750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68" y="738"/>
                  </a:lnTo>
                  <a:lnTo>
                    <a:pt x="468" y="744"/>
                  </a:lnTo>
                  <a:lnTo>
                    <a:pt x="474" y="750"/>
                  </a:lnTo>
                  <a:lnTo>
                    <a:pt x="480" y="756"/>
                  </a:lnTo>
                  <a:lnTo>
                    <a:pt x="486" y="756"/>
                  </a:lnTo>
                  <a:lnTo>
                    <a:pt x="492" y="762"/>
                  </a:lnTo>
                  <a:lnTo>
                    <a:pt x="498" y="768"/>
                  </a:lnTo>
                  <a:lnTo>
                    <a:pt x="492" y="774"/>
                  </a:lnTo>
                  <a:lnTo>
                    <a:pt x="492" y="780"/>
                  </a:lnTo>
                  <a:lnTo>
                    <a:pt x="498" y="780"/>
                  </a:lnTo>
                  <a:lnTo>
                    <a:pt x="492" y="786"/>
                  </a:lnTo>
                  <a:lnTo>
                    <a:pt x="492" y="792"/>
                  </a:lnTo>
                  <a:lnTo>
                    <a:pt x="492" y="79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0" y="810"/>
                  </a:lnTo>
                  <a:lnTo>
                    <a:pt x="480" y="804"/>
                  </a:lnTo>
                  <a:lnTo>
                    <a:pt x="474" y="804"/>
                  </a:lnTo>
                  <a:lnTo>
                    <a:pt x="474" y="798"/>
                  </a:lnTo>
                  <a:lnTo>
                    <a:pt x="474" y="804"/>
                  </a:lnTo>
                  <a:lnTo>
                    <a:pt x="468" y="804"/>
                  </a:lnTo>
                  <a:lnTo>
                    <a:pt x="468" y="810"/>
                  </a:lnTo>
                  <a:lnTo>
                    <a:pt x="462" y="810"/>
                  </a:lnTo>
                  <a:lnTo>
                    <a:pt x="456" y="810"/>
                  </a:lnTo>
                  <a:lnTo>
                    <a:pt x="450" y="810"/>
                  </a:lnTo>
                  <a:lnTo>
                    <a:pt x="450" y="816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50" y="822"/>
                  </a:lnTo>
                  <a:lnTo>
                    <a:pt x="450" y="816"/>
                  </a:lnTo>
                  <a:lnTo>
                    <a:pt x="444" y="816"/>
                  </a:lnTo>
                  <a:lnTo>
                    <a:pt x="438" y="810"/>
                  </a:lnTo>
                  <a:lnTo>
                    <a:pt x="432" y="810"/>
                  </a:lnTo>
                  <a:lnTo>
                    <a:pt x="426" y="804"/>
                  </a:lnTo>
                  <a:lnTo>
                    <a:pt x="426" y="798"/>
                  </a:lnTo>
                  <a:lnTo>
                    <a:pt x="420" y="798"/>
                  </a:lnTo>
                  <a:lnTo>
                    <a:pt x="426" y="798"/>
                  </a:lnTo>
                  <a:lnTo>
                    <a:pt x="426" y="792"/>
                  </a:lnTo>
                  <a:lnTo>
                    <a:pt x="426" y="786"/>
                  </a:lnTo>
                  <a:lnTo>
                    <a:pt x="432" y="786"/>
                  </a:lnTo>
                  <a:lnTo>
                    <a:pt x="432" y="780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0" y="756"/>
                  </a:lnTo>
                  <a:lnTo>
                    <a:pt x="420" y="750"/>
                  </a:lnTo>
                  <a:lnTo>
                    <a:pt x="414" y="750"/>
                  </a:lnTo>
                  <a:lnTo>
                    <a:pt x="420" y="750"/>
                  </a:lnTo>
                  <a:lnTo>
                    <a:pt x="420" y="744"/>
                  </a:lnTo>
                  <a:lnTo>
                    <a:pt x="414" y="744"/>
                  </a:lnTo>
                  <a:lnTo>
                    <a:pt x="414" y="738"/>
                  </a:lnTo>
                  <a:lnTo>
                    <a:pt x="414" y="732"/>
                  </a:lnTo>
                  <a:lnTo>
                    <a:pt x="408" y="732"/>
                  </a:lnTo>
                  <a:lnTo>
                    <a:pt x="408" y="726"/>
                  </a:lnTo>
                  <a:lnTo>
                    <a:pt x="402" y="726"/>
                  </a:lnTo>
                  <a:lnTo>
                    <a:pt x="396" y="726"/>
                  </a:lnTo>
                  <a:lnTo>
                    <a:pt x="390" y="726"/>
                  </a:lnTo>
                  <a:lnTo>
                    <a:pt x="390" y="720"/>
                  </a:lnTo>
                  <a:lnTo>
                    <a:pt x="390" y="714"/>
                  </a:lnTo>
                  <a:lnTo>
                    <a:pt x="384" y="708"/>
                  </a:lnTo>
                  <a:lnTo>
                    <a:pt x="384" y="702"/>
                  </a:lnTo>
                  <a:lnTo>
                    <a:pt x="378" y="702"/>
                  </a:lnTo>
                  <a:lnTo>
                    <a:pt x="378" y="696"/>
                  </a:lnTo>
                  <a:lnTo>
                    <a:pt x="378" y="690"/>
                  </a:lnTo>
                  <a:lnTo>
                    <a:pt x="372" y="684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66" y="666"/>
                  </a:lnTo>
                  <a:lnTo>
                    <a:pt x="366" y="660"/>
                  </a:lnTo>
                  <a:lnTo>
                    <a:pt x="366" y="654"/>
                  </a:lnTo>
                  <a:lnTo>
                    <a:pt x="360" y="648"/>
                  </a:lnTo>
                  <a:lnTo>
                    <a:pt x="360" y="654"/>
                  </a:lnTo>
                  <a:lnTo>
                    <a:pt x="360" y="660"/>
                  </a:lnTo>
                  <a:lnTo>
                    <a:pt x="360" y="666"/>
                  </a:lnTo>
                  <a:lnTo>
                    <a:pt x="360" y="672"/>
                  </a:lnTo>
                  <a:lnTo>
                    <a:pt x="360" y="678"/>
                  </a:lnTo>
                  <a:lnTo>
                    <a:pt x="366" y="678"/>
                  </a:lnTo>
                  <a:lnTo>
                    <a:pt x="366" y="684"/>
                  </a:lnTo>
                  <a:lnTo>
                    <a:pt x="366" y="690"/>
                  </a:lnTo>
                  <a:lnTo>
                    <a:pt x="372" y="696"/>
                  </a:lnTo>
                  <a:lnTo>
                    <a:pt x="372" y="702"/>
                  </a:lnTo>
                  <a:lnTo>
                    <a:pt x="372" y="708"/>
                  </a:lnTo>
                  <a:lnTo>
                    <a:pt x="372" y="714"/>
                  </a:lnTo>
                  <a:lnTo>
                    <a:pt x="366" y="714"/>
                  </a:lnTo>
                  <a:lnTo>
                    <a:pt x="360" y="714"/>
                  </a:lnTo>
                  <a:lnTo>
                    <a:pt x="354" y="714"/>
                  </a:lnTo>
                  <a:lnTo>
                    <a:pt x="348" y="714"/>
                  </a:lnTo>
                  <a:lnTo>
                    <a:pt x="348" y="708"/>
                  </a:lnTo>
                  <a:lnTo>
                    <a:pt x="342" y="708"/>
                  </a:lnTo>
                  <a:lnTo>
                    <a:pt x="342" y="702"/>
                  </a:lnTo>
                  <a:lnTo>
                    <a:pt x="342" y="696"/>
                  </a:lnTo>
                  <a:lnTo>
                    <a:pt x="336" y="696"/>
                  </a:lnTo>
                  <a:lnTo>
                    <a:pt x="336" y="690"/>
                  </a:lnTo>
                  <a:lnTo>
                    <a:pt x="336" y="684"/>
                  </a:lnTo>
                  <a:lnTo>
                    <a:pt x="330" y="684"/>
                  </a:lnTo>
                  <a:lnTo>
                    <a:pt x="330" y="678"/>
                  </a:lnTo>
                  <a:lnTo>
                    <a:pt x="324" y="672"/>
                  </a:lnTo>
                  <a:lnTo>
                    <a:pt x="324" y="666"/>
                  </a:lnTo>
                  <a:lnTo>
                    <a:pt x="318" y="666"/>
                  </a:lnTo>
                  <a:lnTo>
                    <a:pt x="318" y="672"/>
                  </a:lnTo>
                  <a:lnTo>
                    <a:pt x="324" y="672"/>
                  </a:lnTo>
                  <a:lnTo>
                    <a:pt x="324" y="678"/>
                  </a:lnTo>
                  <a:lnTo>
                    <a:pt x="324" y="684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30" y="696"/>
                  </a:lnTo>
                  <a:lnTo>
                    <a:pt x="336" y="702"/>
                  </a:lnTo>
                  <a:lnTo>
                    <a:pt x="342" y="708"/>
                  </a:lnTo>
                  <a:lnTo>
                    <a:pt x="342" y="714"/>
                  </a:lnTo>
                  <a:lnTo>
                    <a:pt x="348" y="720"/>
                  </a:lnTo>
                  <a:lnTo>
                    <a:pt x="342" y="720"/>
                  </a:lnTo>
                  <a:lnTo>
                    <a:pt x="336" y="720"/>
                  </a:lnTo>
                  <a:lnTo>
                    <a:pt x="330" y="720"/>
                  </a:lnTo>
                  <a:lnTo>
                    <a:pt x="330" y="726"/>
                  </a:lnTo>
                  <a:lnTo>
                    <a:pt x="336" y="726"/>
                  </a:lnTo>
                  <a:lnTo>
                    <a:pt x="330" y="732"/>
                  </a:lnTo>
                  <a:lnTo>
                    <a:pt x="330" y="738"/>
                  </a:lnTo>
                  <a:lnTo>
                    <a:pt x="330" y="744"/>
                  </a:lnTo>
                  <a:lnTo>
                    <a:pt x="336" y="744"/>
                  </a:lnTo>
                  <a:lnTo>
                    <a:pt x="342" y="744"/>
                  </a:lnTo>
                  <a:lnTo>
                    <a:pt x="348" y="744"/>
                  </a:lnTo>
                  <a:lnTo>
                    <a:pt x="348" y="750"/>
                  </a:lnTo>
                  <a:lnTo>
                    <a:pt x="354" y="750"/>
                  </a:lnTo>
                  <a:lnTo>
                    <a:pt x="360" y="756"/>
                  </a:lnTo>
                  <a:lnTo>
                    <a:pt x="360" y="762"/>
                  </a:lnTo>
                  <a:lnTo>
                    <a:pt x="366" y="762"/>
                  </a:lnTo>
                  <a:lnTo>
                    <a:pt x="366" y="768"/>
                  </a:lnTo>
                  <a:lnTo>
                    <a:pt x="366" y="774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72" y="792"/>
                  </a:lnTo>
                  <a:lnTo>
                    <a:pt x="372" y="798"/>
                  </a:lnTo>
                  <a:lnTo>
                    <a:pt x="372" y="804"/>
                  </a:lnTo>
                  <a:lnTo>
                    <a:pt x="378" y="804"/>
                  </a:lnTo>
                  <a:lnTo>
                    <a:pt x="378" y="810"/>
                  </a:lnTo>
                  <a:lnTo>
                    <a:pt x="378" y="816"/>
                  </a:lnTo>
                  <a:lnTo>
                    <a:pt x="372" y="816"/>
                  </a:lnTo>
                  <a:lnTo>
                    <a:pt x="378" y="816"/>
                  </a:lnTo>
                  <a:lnTo>
                    <a:pt x="378" y="822"/>
                  </a:lnTo>
                  <a:lnTo>
                    <a:pt x="378" y="828"/>
                  </a:lnTo>
                  <a:lnTo>
                    <a:pt x="378" y="834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0" y="864"/>
                  </a:lnTo>
                  <a:lnTo>
                    <a:pt x="384" y="864"/>
                  </a:lnTo>
                  <a:lnTo>
                    <a:pt x="384" y="870"/>
                  </a:lnTo>
                  <a:lnTo>
                    <a:pt x="378" y="864"/>
                  </a:lnTo>
                  <a:lnTo>
                    <a:pt x="372" y="864"/>
                  </a:lnTo>
                  <a:lnTo>
                    <a:pt x="366" y="858"/>
                  </a:lnTo>
                  <a:lnTo>
                    <a:pt x="366" y="852"/>
                  </a:lnTo>
                  <a:lnTo>
                    <a:pt x="360" y="852"/>
                  </a:lnTo>
                  <a:lnTo>
                    <a:pt x="360" y="858"/>
                  </a:lnTo>
                  <a:lnTo>
                    <a:pt x="366" y="858"/>
                  </a:lnTo>
                  <a:lnTo>
                    <a:pt x="366" y="864"/>
                  </a:lnTo>
                  <a:lnTo>
                    <a:pt x="360" y="864"/>
                  </a:lnTo>
                  <a:lnTo>
                    <a:pt x="354" y="864"/>
                  </a:lnTo>
                  <a:lnTo>
                    <a:pt x="354" y="870"/>
                  </a:lnTo>
                  <a:lnTo>
                    <a:pt x="354" y="864"/>
                  </a:lnTo>
                  <a:lnTo>
                    <a:pt x="348" y="864"/>
                  </a:lnTo>
                  <a:lnTo>
                    <a:pt x="342" y="864"/>
                  </a:lnTo>
                  <a:lnTo>
                    <a:pt x="342" y="858"/>
                  </a:lnTo>
                  <a:lnTo>
                    <a:pt x="336" y="858"/>
                  </a:lnTo>
                  <a:lnTo>
                    <a:pt x="330" y="858"/>
                  </a:lnTo>
                  <a:lnTo>
                    <a:pt x="324" y="858"/>
                  </a:lnTo>
                  <a:lnTo>
                    <a:pt x="318" y="858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0" y="852"/>
                  </a:lnTo>
                  <a:lnTo>
                    <a:pt x="294" y="852"/>
                  </a:lnTo>
                  <a:lnTo>
                    <a:pt x="294" y="846"/>
                  </a:lnTo>
                  <a:lnTo>
                    <a:pt x="288" y="840"/>
                  </a:lnTo>
                  <a:lnTo>
                    <a:pt x="288" y="828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2" y="816"/>
                  </a:lnTo>
                  <a:lnTo>
                    <a:pt x="282" y="810"/>
                  </a:lnTo>
                  <a:lnTo>
                    <a:pt x="276" y="810"/>
                  </a:lnTo>
                  <a:lnTo>
                    <a:pt x="276" y="804"/>
                  </a:lnTo>
                  <a:lnTo>
                    <a:pt x="276" y="798"/>
                  </a:lnTo>
                  <a:lnTo>
                    <a:pt x="276" y="792"/>
                  </a:lnTo>
                  <a:lnTo>
                    <a:pt x="270" y="786"/>
                  </a:lnTo>
                  <a:lnTo>
                    <a:pt x="270" y="780"/>
                  </a:lnTo>
                  <a:lnTo>
                    <a:pt x="270" y="774"/>
                  </a:lnTo>
                  <a:lnTo>
                    <a:pt x="264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64" y="750"/>
                  </a:lnTo>
                  <a:lnTo>
                    <a:pt x="264" y="744"/>
                  </a:lnTo>
                  <a:lnTo>
                    <a:pt x="264" y="738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26"/>
                  </a:lnTo>
                  <a:lnTo>
                    <a:pt x="276" y="720"/>
                  </a:lnTo>
                  <a:lnTo>
                    <a:pt x="282" y="720"/>
                  </a:lnTo>
                  <a:lnTo>
                    <a:pt x="282" y="714"/>
                  </a:lnTo>
                  <a:lnTo>
                    <a:pt x="282" y="708"/>
                  </a:lnTo>
                  <a:lnTo>
                    <a:pt x="276" y="708"/>
                  </a:lnTo>
                  <a:lnTo>
                    <a:pt x="276" y="702"/>
                  </a:lnTo>
                  <a:lnTo>
                    <a:pt x="270" y="702"/>
                  </a:lnTo>
                  <a:lnTo>
                    <a:pt x="270" y="696"/>
                  </a:lnTo>
                  <a:lnTo>
                    <a:pt x="264" y="690"/>
                  </a:lnTo>
                  <a:lnTo>
                    <a:pt x="258" y="690"/>
                  </a:lnTo>
                  <a:lnTo>
                    <a:pt x="258" y="684"/>
                  </a:lnTo>
                  <a:lnTo>
                    <a:pt x="252" y="684"/>
                  </a:lnTo>
                  <a:lnTo>
                    <a:pt x="252" y="678"/>
                  </a:lnTo>
                  <a:lnTo>
                    <a:pt x="246" y="678"/>
                  </a:lnTo>
                  <a:lnTo>
                    <a:pt x="240" y="678"/>
                  </a:lnTo>
                  <a:lnTo>
                    <a:pt x="240" y="684"/>
                  </a:lnTo>
                  <a:lnTo>
                    <a:pt x="246" y="684"/>
                  </a:lnTo>
                  <a:lnTo>
                    <a:pt x="252" y="690"/>
                  </a:lnTo>
                  <a:lnTo>
                    <a:pt x="258" y="690"/>
                  </a:lnTo>
                  <a:lnTo>
                    <a:pt x="258" y="696"/>
                  </a:lnTo>
                  <a:lnTo>
                    <a:pt x="258" y="702"/>
                  </a:lnTo>
                  <a:lnTo>
                    <a:pt x="264" y="702"/>
                  </a:lnTo>
                  <a:lnTo>
                    <a:pt x="270" y="708"/>
                  </a:lnTo>
                  <a:lnTo>
                    <a:pt x="270" y="714"/>
                  </a:lnTo>
                  <a:lnTo>
                    <a:pt x="270" y="720"/>
                  </a:lnTo>
                  <a:lnTo>
                    <a:pt x="276" y="720"/>
                  </a:lnTo>
                  <a:lnTo>
                    <a:pt x="270" y="720"/>
                  </a:lnTo>
                  <a:lnTo>
                    <a:pt x="270" y="726"/>
                  </a:lnTo>
                  <a:lnTo>
                    <a:pt x="264" y="726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52" y="738"/>
                  </a:lnTo>
                  <a:lnTo>
                    <a:pt x="252" y="744"/>
                  </a:lnTo>
                  <a:lnTo>
                    <a:pt x="252" y="750"/>
                  </a:lnTo>
                  <a:lnTo>
                    <a:pt x="252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58" y="774"/>
                  </a:lnTo>
                  <a:lnTo>
                    <a:pt x="258" y="780"/>
                  </a:lnTo>
                  <a:lnTo>
                    <a:pt x="264" y="786"/>
                  </a:lnTo>
                  <a:lnTo>
                    <a:pt x="264" y="792"/>
                  </a:lnTo>
                  <a:lnTo>
                    <a:pt x="264" y="798"/>
                  </a:lnTo>
                  <a:lnTo>
                    <a:pt x="270" y="810"/>
                  </a:lnTo>
                  <a:lnTo>
                    <a:pt x="270" y="816"/>
                  </a:lnTo>
                  <a:lnTo>
                    <a:pt x="270" y="822"/>
                  </a:lnTo>
                  <a:lnTo>
                    <a:pt x="276" y="822"/>
                  </a:lnTo>
                  <a:lnTo>
                    <a:pt x="276" y="828"/>
                  </a:lnTo>
                  <a:lnTo>
                    <a:pt x="276" y="834"/>
                  </a:lnTo>
                  <a:lnTo>
                    <a:pt x="276" y="840"/>
                  </a:lnTo>
                  <a:lnTo>
                    <a:pt x="276" y="846"/>
                  </a:lnTo>
                  <a:lnTo>
                    <a:pt x="282" y="852"/>
                  </a:lnTo>
                  <a:lnTo>
                    <a:pt x="282" y="858"/>
                  </a:lnTo>
                  <a:lnTo>
                    <a:pt x="294" y="864"/>
                  </a:lnTo>
                  <a:lnTo>
                    <a:pt x="300" y="870"/>
                  </a:lnTo>
                  <a:lnTo>
                    <a:pt x="300" y="876"/>
                  </a:lnTo>
                  <a:lnTo>
                    <a:pt x="288" y="876"/>
                  </a:lnTo>
                  <a:lnTo>
                    <a:pt x="282" y="876"/>
                  </a:lnTo>
                  <a:lnTo>
                    <a:pt x="276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2" y="882"/>
                  </a:lnTo>
                  <a:lnTo>
                    <a:pt x="246" y="882"/>
                  </a:lnTo>
                  <a:lnTo>
                    <a:pt x="240" y="882"/>
                  </a:lnTo>
                  <a:lnTo>
                    <a:pt x="234" y="882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204" y="876"/>
                  </a:lnTo>
                  <a:lnTo>
                    <a:pt x="198" y="876"/>
                  </a:lnTo>
                  <a:lnTo>
                    <a:pt x="198" y="870"/>
                  </a:lnTo>
                  <a:lnTo>
                    <a:pt x="198" y="852"/>
                  </a:lnTo>
                  <a:lnTo>
                    <a:pt x="198" y="846"/>
                  </a:lnTo>
                  <a:lnTo>
                    <a:pt x="204" y="846"/>
                  </a:lnTo>
                  <a:lnTo>
                    <a:pt x="198" y="840"/>
                  </a:lnTo>
                  <a:lnTo>
                    <a:pt x="198" y="834"/>
                  </a:lnTo>
                  <a:lnTo>
                    <a:pt x="198" y="828"/>
                  </a:lnTo>
                  <a:lnTo>
                    <a:pt x="198" y="822"/>
                  </a:lnTo>
                  <a:lnTo>
                    <a:pt x="198" y="816"/>
                  </a:lnTo>
                  <a:lnTo>
                    <a:pt x="198" y="810"/>
                  </a:lnTo>
                  <a:lnTo>
                    <a:pt x="192" y="810"/>
                  </a:lnTo>
                  <a:lnTo>
                    <a:pt x="192" y="804"/>
                  </a:lnTo>
                  <a:lnTo>
                    <a:pt x="192" y="798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2" y="774"/>
                  </a:lnTo>
                  <a:lnTo>
                    <a:pt x="192" y="768"/>
                  </a:lnTo>
                  <a:lnTo>
                    <a:pt x="198" y="768"/>
                  </a:lnTo>
                  <a:lnTo>
                    <a:pt x="198" y="762"/>
                  </a:lnTo>
                  <a:lnTo>
                    <a:pt x="198" y="756"/>
                  </a:lnTo>
                  <a:lnTo>
                    <a:pt x="204" y="756"/>
                  </a:lnTo>
                  <a:lnTo>
                    <a:pt x="204" y="750"/>
                  </a:lnTo>
                  <a:lnTo>
                    <a:pt x="210" y="744"/>
                  </a:lnTo>
                  <a:lnTo>
                    <a:pt x="210" y="738"/>
                  </a:lnTo>
                  <a:lnTo>
                    <a:pt x="210" y="732"/>
                  </a:lnTo>
                  <a:lnTo>
                    <a:pt x="210" y="726"/>
                  </a:lnTo>
                  <a:lnTo>
                    <a:pt x="210" y="720"/>
                  </a:lnTo>
                  <a:lnTo>
                    <a:pt x="204" y="714"/>
                  </a:lnTo>
                  <a:lnTo>
                    <a:pt x="204" y="720"/>
                  </a:lnTo>
                  <a:lnTo>
                    <a:pt x="204" y="732"/>
                  </a:lnTo>
                  <a:lnTo>
                    <a:pt x="204" y="738"/>
                  </a:lnTo>
                  <a:lnTo>
                    <a:pt x="198" y="738"/>
                  </a:lnTo>
                  <a:lnTo>
                    <a:pt x="198" y="744"/>
                  </a:lnTo>
                  <a:lnTo>
                    <a:pt x="198" y="750"/>
                  </a:lnTo>
                  <a:lnTo>
                    <a:pt x="192" y="756"/>
                  </a:lnTo>
                  <a:lnTo>
                    <a:pt x="186" y="762"/>
                  </a:lnTo>
                  <a:lnTo>
                    <a:pt x="186" y="768"/>
                  </a:lnTo>
                  <a:lnTo>
                    <a:pt x="186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98"/>
                  </a:lnTo>
                  <a:lnTo>
                    <a:pt x="186" y="804"/>
                  </a:lnTo>
                  <a:lnTo>
                    <a:pt x="186" y="810"/>
                  </a:lnTo>
                  <a:lnTo>
                    <a:pt x="192" y="816"/>
                  </a:lnTo>
                  <a:lnTo>
                    <a:pt x="192" y="828"/>
                  </a:lnTo>
                  <a:lnTo>
                    <a:pt x="192" y="834"/>
                  </a:lnTo>
                  <a:lnTo>
                    <a:pt x="186" y="834"/>
                  </a:lnTo>
                  <a:lnTo>
                    <a:pt x="186" y="828"/>
                  </a:lnTo>
                  <a:lnTo>
                    <a:pt x="180" y="822"/>
                  </a:lnTo>
                  <a:lnTo>
                    <a:pt x="180" y="816"/>
                  </a:lnTo>
                  <a:lnTo>
                    <a:pt x="180" y="810"/>
                  </a:lnTo>
                  <a:lnTo>
                    <a:pt x="174" y="810"/>
                  </a:lnTo>
                  <a:lnTo>
                    <a:pt x="174" y="804"/>
                  </a:lnTo>
                  <a:lnTo>
                    <a:pt x="174" y="798"/>
                  </a:lnTo>
                  <a:lnTo>
                    <a:pt x="174" y="792"/>
                  </a:lnTo>
                  <a:lnTo>
                    <a:pt x="168" y="786"/>
                  </a:lnTo>
                  <a:lnTo>
                    <a:pt x="168" y="780"/>
                  </a:lnTo>
                  <a:lnTo>
                    <a:pt x="162" y="780"/>
                  </a:lnTo>
                  <a:lnTo>
                    <a:pt x="168" y="774"/>
                  </a:lnTo>
                  <a:lnTo>
                    <a:pt x="168" y="768"/>
                  </a:lnTo>
                  <a:lnTo>
                    <a:pt x="174" y="768"/>
                  </a:lnTo>
                  <a:lnTo>
                    <a:pt x="168" y="768"/>
                  </a:lnTo>
                  <a:lnTo>
                    <a:pt x="162" y="774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50" y="774"/>
                  </a:lnTo>
                  <a:lnTo>
                    <a:pt x="144" y="774"/>
                  </a:lnTo>
                  <a:lnTo>
                    <a:pt x="144" y="768"/>
                  </a:lnTo>
                  <a:lnTo>
                    <a:pt x="144" y="762"/>
                  </a:lnTo>
                  <a:lnTo>
                    <a:pt x="138" y="756"/>
                  </a:lnTo>
                  <a:lnTo>
                    <a:pt x="132" y="756"/>
                  </a:lnTo>
                  <a:lnTo>
                    <a:pt x="138" y="756"/>
                  </a:lnTo>
                  <a:lnTo>
                    <a:pt x="138" y="762"/>
                  </a:lnTo>
                  <a:lnTo>
                    <a:pt x="138" y="768"/>
                  </a:lnTo>
                  <a:lnTo>
                    <a:pt x="144" y="768"/>
                  </a:lnTo>
                  <a:lnTo>
                    <a:pt x="144" y="774"/>
                  </a:lnTo>
                  <a:lnTo>
                    <a:pt x="150" y="780"/>
                  </a:lnTo>
                  <a:lnTo>
                    <a:pt x="156" y="780"/>
                  </a:lnTo>
                  <a:lnTo>
                    <a:pt x="156" y="786"/>
                  </a:lnTo>
                  <a:lnTo>
                    <a:pt x="162" y="786"/>
                  </a:lnTo>
                  <a:lnTo>
                    <a:pt x="168" y="792"/>
                  </a:lnTo>
                  <a:lnTo>
                    <a:pt x="168" y="798"/>
                  </a:lnTo>
                  <a:lnTo>
                    <a:pt x="168" y="804"/>
                  </a:lnTo>
                  <a:lnTo>
                    <a:pt x="174" y="810"/>
                  </a:lnTo>
                  <a:lnTo>
                    <a:pt x="174" y="816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68" y="828"/>
                  </a:lnTo>
                  <a:lnTo>
                    <a:pt x="168" y="834"/>
                  </a:lnTo>
                  <a:lnTo>
                    <a:pt x="174" y="840"/>
                  </a:lnTo>
                  <a:lnTo>
                    <a:pt x="180" y="840"/>
                  </a:lnTo>
                  <a:lnTo>
                    <a:pt x="180" y="846"/>
                  </a:lnTo>
                  <a:lnTo>
                    <a:pt x="186" y="846"/>
                  </a:lnTo>
                  <a:lnTo>
                    <a:pt x="186" y="852"/>
                  </a:lnTo>
                  <a:lnTo>
                    <a:pt x="186" y="858"/>
                  </a:lnTo>
                  <a:lnTo>
                    <a:pt x="186" y="864"/>
                  </a:lnTo>
                  <a:lnTo>
                    <a:pt x="192" y="864"/>
                  </a:lnTo>
                  <a:lnTo>
                    <a:pt x="192" y="870"/>
                  </a:lnTo>
                  <a:lnTo>
                    <a:pt x="192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6" y="888"/>
                  </a:lnTo>
                  <a:lnTo>
                    <a:pt x="180" y="888"/>
                  </a:lnTo>
                  <a:lnTo>
                    <a:pt x="174" y="888"/>
                  </a:lnTo>
                  <a:lnTo>
                    <a:pt x="168" y="894"/>
                  </a:lnTo>
                  <a:lnTo>
                    <a:pt x="162" y="894"/>
                  </a:lnTo>
                  <a:lnTo>
                    <a:pt x="156" y="894"/>
                  </a:lnTo>
                  <a:lnTo>
                    <a:pt x="150" y="894"/>
                  </a:lnTo>
                  <a:lnTo>
                    <a:pt x="144" y="894"/>
                  </a:lnTo>
                  <a:lnTo>
                    <a:pt x="144" y="900"/>
                  </a:lnTo>
                  <a:lnTo>
                    <a:pt x="138" y="894"/>
                  </a:lnTo>
                  <a:lnTo>
                    <a:pt x="138" y="900"/>
                  </a:lnTo>
                  <a:lnTo>
                    <a:pt x="132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6" y="882"/>
                  </a:lnTo>
                  <a:lnTo>
                    <a:pt x="126" y="876"/>
                  </a:lnTo>
                  <a:lnTo>
                    <a:pt x="120" y="876"/>
                  </a:lnTo>
                  <a:lnTo>
                    <a:pt x="126" y="870"/>
                  </a:lnTo>
                  <a:lnTo>
                    <a:pt x="126" y="864"/>
                  </a:lnTo>
                  <a:lnTo>
                    <a:pt x="126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26" y="828"/>
                  </a:lnTo>
                  <a:lnTo>
                    <a:pt x="126" y="822"/>
                  </a:lnTo>
                  <a:lnTo>
                    <a:pt x="126" y="816"/>
                  </a:lnTo>
                  <a:lnTo>
                    <a:pt x="126" y="810"/>
                  </a:lnTo>
                  <a:lnTo>
                    <a:pt x="126" y="804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20" y="792"/>
                  </a:lnTo>
                  <a:lnTo>
                    <a:pt x="114" y="792"/>
                  </a:lnTo>
                  <a:lnTo>
                    <a:pt x="114" y="786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96" y="780"/>
                  </a:lnTo>
                  <a:lnTo>
                    <a:pt x="96" y="774"/>
                  </a:lnTo>
                  <a:lnTo>
                    <a:pt x="90" y="774"/>
                  </a:lnTo>
                  <a:lnTo>
                    <a:pt x="90" y="768"/>
                  </a:lnTo>
                  <a:close/>
                  <a:moveTo>
                    <a:pt x="96" y="780"/>
                  </a:moveTo>
                  <a:lnTo>
                    <a:pt x="102" y="780"/>
                  </a:lnTo>
                  <a:lnTo>
                    <a:pt x="102" y="786"/>
                  </a:lnTo>
                  <a:lnTo>
                    <a:pt x="108" y="786"/>
                  </a:lnTo>
                  <a:lnTo>
                    <a:pt x="114" y="792"/>
                  </a:lnTo>
                  <a:lnTo>
                    <a:pt x="120" y="798"/>
                  </a:lnTo>
                  <a:lnTo>
                    <a:pt x="120" y="804"/>
                  </a:lnTo>
                  <a:lnTo>
                    <a:pt x="126" y="810"/>
                  </a:lnTo>
                  <a:lnTo>
                    <a:pt x="126" y="816"/>
                  </a:lnTo>
                  <a:lnTo>
                    <a:pt x="126" y="822"/>
                  </a:lnTo>
                  <a:lnTo>
                    <a:pt x="120" y="828"/>
                  </a:lnTo>
                  <a:lnTo>
                    <a:pt x="120" y="840"/>
                  </a:lnTo>
                  <a:lnTo>
                    <a:pt x="120" y="852"/>
                  </a:lnTo>
                  <a:lnTo>
                    <a:pt x="120" y="858"/>
                  </a:lnTo>
                  <a:lnTo>
                    <a:pt x="120" y="864"/>
                  </a:lnTo>
                  <a:lnTo>
                    <a:pt x="120" y="870"/>
                  </a:lnTo>
                  <a:lnTo>
                    <a:pt x="114" y="870"/>
                  </a:lnTo>
                  <a:lnTo>
                    <a:pt x="108" y="870"/>
                  </a:lnTo>
                  <a:lnTo>
                    <a:pt x="108" y="876"/>
                  </a:lnTo>
                  <a:lnTo>
                    <a:pt x="114" y="876"/>
                  </a:lnTo>
                  <a:lnTo>
                    <a:pt x="120" y="876"/>
                  </a:lnTo>
                  <a:lnTo>
                    <a:pt x="120" y="882"/>
                  </a:lnTo>
                  <a:lnTo>
                    <a:pt x="114" y="888"/>
                  </a:lnTo>
                  <a:lnTo>
                    <a:pt x="120" y="888"/>
                  </a:lnTo>
                  <a:lnTo>
                    <a:pt x="120" y="894"/>
                  </a:lnTo>
                  <a:lnTo>
                    <a:pt x="114" y="894"/>
                  </a:lnTo>
                  <a:lnTo>
                    <a:pt x="108" y="894"/>
                  </a:lnTo>
                  <a:lnTo>
                    <a:pt x="96" y="894"/>
                  </a:lnTo>
                  <a:lnTo>
                    <a:pt x="96" y="882"/>
                  </a:lnTo>
                  <a:lnTo>
                    <a:pt x="96" y="876"/>
                  </a:lnTo>
                  <a:lnTo>
                    <a:pt x="84" y="870"/>
                  </a:lnTo>
                  <a:lnTo>
                    <a:pt x="72" y="864"/>
                  </a:lnTo>
                  <a:lnTo>
                    <a:pt x="72" y="852"/>
                  </a:lnTo>
                  <a:lnTo>
                    <a:pt x="72" y="840"/>
                  </a:lnTo>
                  <a:lnTo>
                    <a:pt x="78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90" y="792"/>
                  </a:lnTo>
                  <a:lnTo>
                    <a:pt x="96" y="780"/>
                  </a:lnTo>
                  <a:close/>
                  <a:moveTo>
                    <a:pt x="492" y="810"/>
                  </a:moveTo>
                  <a:lnTo>
                    <a:pt x="498" y="810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510" y="792"/>
                  </a:lnTo>
                  <a:lnTo>
                    <a:pt x="516" y="786"/>
                  </a:lnTo>
                  <a:lnTo>
                    <a:pt x="522" y="780"/>
                  </a:lnTo>
                  <a:lnTo>
                    <a:pt x="522" y="774"/>
                  </a:lnTo>
                  <a:lnTo>
                    <a:pt x="528" y="768"/>
                  </a:lnTo>
                  <a:lnTo>
                    <a:pt x="528" y="762"/>
                  </a:lnTo>
                  <a:lnTo>
                    <a:pt x="534" y="762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46" y="780"/>
                  </a:lnTo>
                  <a:lnTo>
                    <a:pt x="552" y="786"/>
                  </a:lnTo>
                  <a:lnTo>
                    <a:pt x="558" y="786"/>
                  </a:lnTo>
                  <a:lnTo>
                    <a:pt x="564" y="786"/>
                  </a:lnTo>
                  <a:lnTo>
                    <a:pt x="576" y="786"/>
                  </a:lnTo>
                  <a:lnTo>
                    <a:pt x="582" y="786"/>
                  </a:lnTo>
                  <a:lnTo>
                    <a:pt x="588" y="786"/>
                  </a:lnTo>
                  <a:lnTo>
                    <a:pt x="594" y="786"/>
                  </a:lnTo>
                  <a:lnTo>
                    <a:pt x="588" y="792"/>
                  </a:lnTo>
                  <a:lnTo>
                    <a:pt x="588" y="798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82" y="822"/>
                  </a:lnTo>
                  <a:lnTo>
                    <a:pt x="588" y="828"/>
                  </a:lnTo>
                  <a:lnTo>
                    <a:pt x="588" y="834"/>
                  </a:lnTo>
                  <a:lnTo>
                    <a:pt x="582" y="840"/>
                  </a:lnTo>
                  <a:lnTo>
                    <a:pt x="570" y="840"/>
                  </a:lnTo>
                  <a:lnTo>
                    <a:pt x="558" y="846"/>
                  </a:lnTo>
                  <a:lnTo>
                    <a:pt x="552" y="846"/>
                  </a:lnTo>
                  <a:lnTo>
                    <a:pt x="534" y="852"/>
                  </a:lnTo>
                  <a:lnTo>
                    <a:pt x="522" y="858"/>
                  </a:lnTo>
                  <a:lnTo>
                    <a:pt x="510" y="858"/>
                  </a:lnTo>
                  <a:lnTo>
                    <a:pt x="498" y="864"/>
                  </a:lnTo>
                  <a:lnTo>
                    <a:pt x="474" y="864"/>
                  </a:lnTo>
                  <a:lnTo>
                    <a:pt x="468" y="858"/>
                  </a:lnTo>
                  <a:lnTo>
                    <a:pt x="468" y="852"/>
                  </a:lnTo>
                  <a:lnTo>
                    <a:pt x="468" y="846"/>
                  </a:lnTo>
                  <a:lnTo>
                    <a:pt x="474" y="840"/>
                  </a:lnTo>
                  <a:lnTo>
                    <a:pt x="474" y="834"/>
                  </a:lnTo>
                  <a:lnTo>
                    <a:pt x="480" y="828"/>
                  </a:lnTo>
                  <a:lnTo>
                    <a:pt x="492" y="822"/>
                  </a:lnTo>
                  <a:lnTo>
                    <a:pt x="492" y="810"/>
                  </a:lnTo>
                  <a:close/>
                  <a:moveTo>
                    <a:pt x="384" y="720"/>
                  </a:moveTo>
                  <a:lnTo>
                    <a:pt x="384" y="726"/>
                  </a:lnTo>
                  <a:lnTo>
                    <a:pt x="390" y="726"/>
                  </a:lnTo>
                  <a:lnTo>
                    <a:pt x="396" y="726"/>
                  </a:lnTo>
                  <a:lnTo>
                    <a:pt x="402" y="732"/>
                  </a:lnTo>
                  <a:lnTo>
                    <a:pt x="408" y="732"/>
                  </a:lnTo>
                  <a:lnTo>
                    <a:pt x="414" y="732"/>
                  </a:lnTo>
                  <a:lnTo>
                    <a:pt x="414" y="738"/>
                  </a:lnTo>
                  <a:lnTo>
                    <a:pt x="414" y="744"/>
                  </a:lnTo>
                  <a:lnTo>
                    <a:pt x="414" y="750"/>
                  </a:lnTo>
                  <a:lnTo>
                    <a:pt x="414" y="756"/>
                  </a:lnTo>
                  <a:lnTo>
                    <a:pt x="414" y="762"/>
                  </a:lnTo>
                  <a:lnTo>
                    <a:pt x="420" y="768"/>
                  </a:lnTo>
                  <a:lnTo>
                    <a:pt x="420" y="774"/>
                  </a:lnTo>
                  <a:lnTo>
                    <a:pt x="426" y="780"/>
                  </a:lnTo>
                  <a:lnTo>
                    <a:pt x="426" y="786"/>
                  </a:lnTo>
                  <a:lnTo>
                    <a:pt x="420" y="786"/>
                  </a:lnTo>
                  <a:lnTo>
                    <a:pt x="420" y="792"/>
                  </a:lnTo>
                  <a:lnTo>
                    <a:pt x="420" y="798"/>
                  </a:lnTo>
                  <a:lnTo>
                    <a:pt x="420" y="804"/>
                  </a:lnTo>
                  <a:lnTo>
                    <a:pt x="426" y="804"/>
                  </a:lnTo>
                  <a:lnTo>
                    <a:pt x="426" y="810"/>
                  </a:lnTo>
                  <a:lnTo>
                    <a:pt x="426" y="816"/>
                  </a:lnTo>
                  <a:lnTo>
                    <a:pt x="432" y="816"/>
                  </a:lnTo>
                  <a:lnTo>
                    <a:pt x="438" y="816"/>
                  </a:lnTo>
                  <a:lnTo>
                    <a:pt x="438" y="822"/>
                  </a:lnTo>
                  <a:lnTo>
                    <a:pt x="432" y="822"/>
                  </a:lnTo>
                  <a:lnTo>
                    <a:pt x="426" y="828"/>
                  </a:lnTo>
                  <a:lnTo>
                    <a:pt x="420" y="828"/>
                  </a:lnTo>
                  <a:lnTo>
                    <a:pt x="414" y="828"/>
                  </a:lnTo>
                  <a:lnTo>
                    <a:pt x="408" y="828"/>
                  </a:lnTo>
                  <a:lnTo>
                    <a:pt x="402" y="828"/>
                  </a:lnTo>
                  <a:lnTo>
                    <a:pt x="402" y="822"/>
                  </a:lnTo>
                  <a:lnTo>
                    <a:pt x="396" y="822"/>
                  </a:lnTo>
                  <a:lnTo>
                    <a:pt x="402" y="822"/>
                  </a:lnTo>
                  <a:lnTo>
                    <a:pt x="402" y="816"/>
                  </a:lnTo>
                  <a:lnTo>
                    <a:pt x="396" y="816"/>
                  </a:lnTo>
                  <a:lnTo>
                    <a:pt x="396" y="810"/>
                  </a:lnTo>
                  <a:lnTo>
                    <a:pt x="396" y="804"/>
                  </a:lnTo>
                  <a:lnTo>
                    <a:pt x="390" y="798"/>
                  </a:lnTo>
                  <a:lnTo>
                    <a:pt x="390" y="792"/>
                  </a:lnTo>
                  <a:lnTo>
                    <a:pt x="390" y="786"/>
                  </a:lnTo>
                  <a:lnTo>
                    <a:pt x="390" y="780"/>
                  </a:lnTo>
                  <a:lnTo>
                    <a:pt x="390" y="774"/>
                  </a:lnTo>
                  <a:lnTo>
                    <a:pt x="390" y="768"/>
                  </a:lnTo>
                  <a:lnTo>
                    <a:pt x="390" y="762"/>
                  </a:lnTo>
                  <a:lnTo>
                    <a:pt x="384" y="756"/>
                  </a:lnTo>
                  <a:lnTo>
                    <a:pt x="384" y="750"/>
                  </a:lnTo>
                  <a:lnTo>
                    <a:pt x="384" y="744"/>
                  </a:lnTo>
                  <a:lnTo>
                    <a:pt x="378" y="744"/>
                  </a:lnTo>
                  <a:lnTo>
                    <a:pt x="384" y="744"/>
                  </a:lnTo>
                  <a:lnTo>
                    <a:pt x="384" y="738"/>
                  </a:lnTo>
                  <a:lnTo>
                    <a:pt x="378" y="738"/>
                  </a:lnTo>
                  <a:lnTo>
                    <a:pt x="378" y="732"/>
                  </a:lnTo>
                  <a:lnTo>
                    <a:pt x="378" y="726"/>
                  </a:lnTo>
                  <a:lnTo>
                    <a:pt x="378" y="720"/>
                  </a:lnTo>
                  <a:lnTo>
                    <a:pt x="384" y="720"/>
                  </a:lnTo>
                  <a:close/>
                  <a:moveTo>
                    <a:pt x="330" y="738"/>
                  </a:moveTo>
                  <a:lnTo>
                    <a:pt x="336" y="732"/>
                  </a:lnTo>
                  <a:lnTo>
                    <a:pt x="336" y="726"/>
                  </a:lnTo>
                  <a:lnTo>
                    <a:pt x="342" y="720"/>
                  </a:lnTo>
                  <a:lnTo>
                    <a:pt x="348" y="720"/>
                  </a:lnTo>
                  <a:lnTo>
                    <a:pt x="360" y="720"/>
                  </a:lnTo>
                  <a:lnTo>
                    <a:pt x="366" y="726"/>
                  </a:lnTo>
                  <a:lnTo>
                    <a:pt x="372" y="732"/>
                  </a:lnTo>
                  <a:lnTo>
                    <a:pt x="372" y="738"/>
                  </a:lnTo>
                  <a:lnTo>
                    <a:pt x="366" y="750"/>
                  </a:lnTo>
                  <a:lnTo>
                    <a:pt x="372" y="756"/>
                  </a:lnTo>
                  <a:lnTo>
                    <a:pt x="372" y="762"/>
                  </a:lnTo>
                  <a:lnTo>
                    <a:pt x="372" y="768"/>
                  </a:lnTo>
                  <a:lnTo>
                    <a:pt x="372" y="774"/>
                  </a:lnTo>
                  <a:lnTo>
                    <a:pt x="372" y="780"/>
                  </a:lnTo>
                  <a:lnTo>
                    <a:pt x="372" y="774"/>
                  </a:lnTo>
                  <a:lnTo>
                    <a:pt x="366" y="768"/>
                  </a:lnTo>
                  <a:lnTo>
                    <a:pt x="366" y="762"/>
                  </a:lnTo>
                  <a:lnTo>
                    <a:pt x="366" y="756"/>
                  </a:lnTo>
                  <a:lnTo>
                    <a:pt x="360" y="756"/>
                  </a:lnTo>
                  <a:lnTo>
                    <a:pt x="360" y="750"/>
                  </a:lnTo>
                  <a:lnTo>
                    <a:pt x="354" y="750"/>
                  </a:lnTo>
                  <a:lnTo>
                    <a:pt x="348" y="744"/>
                  </a:lnTo>
                  <a:lnTo>
                    <a:pt x="342" y="744"/>
                  </a:lnTo>
                  <a:lnTo>
                    <a:pt x="336" y="744"/>
                  </a:lnTo>
                  <a:lnTo>
                    <a:pt x="330" y="73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01" name="Freeform 6">
              <a:extLst>
                <a:ext uri="{FF2B5EF4-FFF2-40B4-BE49-F238E27FC236}">
                  <a16:creationId xmlns:a16="http://schemas.microsoft.com/office/drawing/2014/main" id="{0656C385-F30A-4AC8-AE9F-B1F66208B38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3123" y="4163918"/>
              <a:ext cx="266107" cy="248252"/>
            </a:xfrm>
            <a:custGeom>
              <a:avLst/>
              <a:gdLst>
                <a:gd name="T0" fmla="*/ 33 w 504"/>
                <a:gd name="T1" fmla="*/ 41 h 468"/>
                <a:gd name="T2" fmla="*/ 26 w 504"/>
                <a:gd name="T3" fmla="*/ 39 h 468"/>
                <a:gd name="T4" fmla="*/ 21 w 504"/>
                <a:gd name="T5" fmla="*/ 38 h 468"/>
                <a:gd name="T6" fmla="*/ 18 w 504"/>
                <a:gd name="T7" fmla="*/ 38 h 468"/>
                <a:gd name="T8" fmla="*/ 15 w 504"/>
                <a:gd name="T9" fmla="*/ 39 h 468"/>
                <a:gd name="T10" fmla="*/ 12 w 504"/>
                <a:gd name="T11" fmla="*/ 38 h 468"/>
                <a:gd name="T12" fmla="*/ 9 w 504"/>
                <a:gd name="T13" fmla="*/ 37 h 468"/>
                <a:gd name="T14" fmla="*/ 7 w 504"/>
                <a:gd name="T15" fmla="*/ 32 h 468"/>
                <a:gd name="T16" fmla="*/ 6 w 504"/>
                <a:gd name="T17" fmla="*/ 26 h 468"/>
                <a:gd name="T18" fmla="*/ 3 w 504"/>
                <a:gd name="T19" fmla="*/ 24 h 468"/>
                <a:gd name="T20" fmla="*/ 1 w 504"/>
                <a:gd name="T21" fmla="*/ 24 h 468"/>
                <a:gd name="T22" fmla="*/ 2 w 504"/>
                <a:gd name="T23" fmla="*/ 18 h 468"/>
                <a:gd name="T24" fmla="*/ 1 w 504"/>
                <a:gd name="T25" fmla="*/ 17 h 468"/>
                <a:gd name="T26" fmla="*/ 0 w 504"/>
                <a:gd name="T27" fmla="*/ 17 h 468"/>
                <a:gd name="T28" fmla="*/ 0 w 504"/>
                <a:gd name="T29" fmla="*/ 15 h 468"/>
                <a:gd name="T30" fmla="*/ 2 w 504"/>
                <a:gd name="T31" fmla="*/ 12 h 468"/>
                <a:gd name="T32" fmla="*/ 4 w 504"/>
                <a:gd name="T33" fmla="*/ 10 h 468"/>
                <a:gd name="T34" fmla="*/ 6 w 504"/>
                <a:gd name="T35" fmla="*/ 8 h 468"/>
                <a:gd name="T36" fmla="*/ 8 w 504"/>
                <a:gd name="T37" fmla="*/ 8 h 468"/>
                <a:gd name="T38" fmla="*/ 10 w 504"/>
                <a:gd name="T39" fmla="*/ 9 h 468"/>
                <a:gd name="T40" fmla="*/ 12 w 504"/>
                <a:gd name="T41" fmla="*/ 10 h 468"/>
                <a:gd name="T42" fmla="*/ 12 w 504"/>
                <a:gd name="T43" fmla="*/ 11 h 468"/>
                <a:gd name="T44" fmla="*/ 14 w 504"/>
                <a:gd name="T45" fmla="*/ 8 h 468"/>
                <a:gd name="T46" fmla="*/ 15 w 504"/>
                <a:gd name="T47" fmla="*/ 7 h 468"/>
                <a:gd name="T48" fmla="*/ 17 w 504"/>
                <a:gd name="T49" fmla="*/ 6 h 468"/>
                <a:gd name="T50" fmla="*/ 19 w 504"/>
                <a:gd name="T51" fmla="*/ 3 h 468"/>
                <a:gd name="T52" fmla="*/ 20 w 504"/>
                <a:gd name="T53" fmla="*/ 2 h 468"/>
                <a:gd name="T54" fmla="*/ 22 w 504"/>
                <a:gd name="T55" fmla="*/ 1 h 468"/>
                <a:gd name="T56" fmla="*/ 27 w 504"/>
                <a:gd name="T57" fmla="*/ 1 h 468"/>
                <a:gd name="T58" fmla="*/ 30 w 504"/>
                <a:gd name="T59" fmla="*/ 2 h 468"/>
                <a:gd name="T60" fmla="*/ 31 w 504"/>
                <a:gd name="T61" fmla="*/ 2 h 468"/>
                <a:gd name="T62" fmla="*/ 34 w 504"/>
                <a:gd name="T63" fmla="*/ 0 h 468"/>
                <a:gd name="T64" fmla="*/ 37 w 504"/>
                <a:gd name="T65" fmla="*/ 1 h 468"/>
                <a:gd name="T66" fmla="*/ 41 w 504"/>
                <a:gd name="T67" fmla="*/ 2 h 468"/>
                <a:gd name="T68" fmla="*/ 42 w 504"/>
                <a:gd name="T69" fmla="*/ 4 h 468"/>
                <a:gd name="T70" fmla="*/ 42 w 504"/>
                <a:gd name="T71" fmla="*/ 10 h 468"/>
                <a:gd name="T72" fmla="*/ 41 w 504"/>
                <a:gd name="T73" fmla="*/ 14 h 468"/>
                <a:gd name="T74" fmla="*/ 42 w 504"/>
                <a:gd name="T75" fmla="*/ 15 h 468"/>
                <a:gd name="T76" fmla="*/ 44 w 504"/>
                <a:gd name="T77" fmla="*/ 18 h 468"/>
                <a:gd name="T78" fmla="*/ 43 w 504"/>
                <a:gd name="T79" fmla="*/ 19 h 468"/>
                <a:gd name="T80" fmla="*/ 42 w 504"/>
                <a:gd name="T81" fmla="*/ 21 h 468"/>
                <a:gd name="T82" fmla="*/ 42 w 504"/>
                <a:gd name="T83" fmla="*/ 23 h 468"/>
                <a:gd name="T84" fmla="*/ 39 w 504"/>
                <a:gd name="T85" fmla="*/ 27 h 468"/>
                <a:gd name="T86" fmla="*/ 38 w 504"/>
                <a:gd name="T87" fmla="*/ 29 h 468"/>
                <a:gd name="T88" fmla="*/ 38 w 504"/>
                <a:gd name="T89" fmla="*/ 31 h 468"/>
                <a:gd name="T90" fmla="*/ 36 w 504"/>
                <a:gd name="T91" fmla="*/ 32 h 468"/>
                <a:gd name="T92" fmla="*/ 35 w 504"/>
                <a:gd name="T93" fmla="*/ 34 h 468"/>
                <a:gd name="T94" fmla="*/ 34 w 504"/>
                <a:gd name="T95" fmla="*/ 38 h 46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04"/>
                <a:gd name="T145" fmla="*/ 0 h 468"/>
                <a:gd name="T146" fmla="*/ 504 w 504"/>
                <a:gd name="T147" fmla="*/ 468 h 46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04" h="468">
                  <a:moveTo>
                    <a:pt x="390" y="456"/>
                  </a:moveTo>
                  <a:lnTo>
                    <a:pt x="384" y="468"/>
                  </a:lnTo>
                  <a:lnTo>
                    <a:pt x="378" y="468"/>
                  </a:lnTo>
                  <a:lnTo>
                    <a:pt x="354" y="468"/>
                  </a:lnTo>
                  <a:lnTo>
                    <a:pt x="348" y="462"/>
                  </a:lnTo>
                  <a:lnTo>
                    <a:pt x="300" y="456"/>
                  </a:lnTo>
                  <a:lnTo>
                    <a:pt x="270" y="444"/>
                  </a:lnTo>
                  <a:lnTo>
                    <a:pt x="252" y="438"/>
                  </a:lnTo>
                  <a:lnTo>
                    <a:pt x="240" y="438"/>
                  </a:lnTo>
                  <a:lnTo>
                    <a:pt x="234" y="438"/>
                  </a:lnTo>
                  <a:lnTo>
                    <a:pt x="228" y="444"/>
                  </a:lnTo>
                  <a:lnTo>
                    <a:pt x="210" y="444"/>
                  </a:lnTo>
                  <a:lnTo>
                    <a:pt x="198" y="444"/>
                  </a:lnTo>
                  <a:lnTo>
                    <a:pt x="198" y="450"/>
                  </a:lnTo>
                  <a:lnTo>
                    <a:pt x="168" y="456"/>
                  </a:lnTo>
                  <a:lnTo>
                    <a:pt x="150" y="450"/>
                  </a:lnTo>
                  <a:lnTo>
                    <a:pt x="144" y="444"/>
                  </a:lnTo>
                  <a:lnTo>
                    <a:pt x="132" y="438"/>
                  </a:lnTo>
                  <a:lnTo>
                    <a:pt x="138" y="432"/>
                  </a:lnTo>
                  <a:lnTo>
                    <a:pt x="114" y="432"/>
                  </a:lnTo>
                  <a:lnTo>
                    <a:pt x="102" y="426"/>
                  </a:lnTo>
                  <a:lnTo>
                    <a:pt x="90" y="414"/>
                  </a:lnTo>
                  <a:lnTo>
                    <a:pt x="72" y="402"/>
                  </a:lnTo>
                  <a:lnTo>
                    <a:pt x="78" y="366"/>
                  </a:lnTo>
                  <a:lnTo>
                    <a:pt x="78" y="330"/>
                  </a:lnTo>
                  <a:lnTo>
                    <a:pt x="66" y="318"/>
                  </a:lnTo>
                  <a:lnTo>
                    <a:pt x="66" y="300"/>
                  </a:lnTo>
                  <a:lnTo>
                    <a:pt x="66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30" y="282"/>
                  </a:lnTo>
                  <a:lnTo>
                    <a:pt x="24" y="282"/>
                  </a:lnTo>
                  <a:lnTo>
                    <a:pt x="12" y="276"/>
                  </a:lnTo>
                  <a:lnTo>
                    <a:pt x="0" y="282"/>
                  </a:lnTo>
                  <a:lnTo>
                    <a:pt x="12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2" y="198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6" y="180"/>
                  </a:lnTo>
                  <a:lnTo>
                    <a:pt x="12" y="186"/>
                  </a:lnTo>
                  <a:lnTo>
                    <a:pt x="18" y="138"/>
                  </a:lnTo>
                  <a:lnTo>
                    <a:pt x="24" y="126"/>
                  </a:lnTo>
                  <a:lnTo>
                    <a:pt x="30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20" y="102"/>
                  </a:lnTo>
                  <a:lnTo>
                    <a:pt x="126" y="108"/>
                  </a:lnTo>
                  <a:lnTo>
                    <a:pt x="126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0"/>
                  </a:lnTo>
                  <a:lnTo>
                    <a:pt x="156" y="96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16" y="42"/>
                  </a:lnTo>
                  <a:lnTo>
                    <a:pt x="222" y="36"/>
                  </a:lnTo>
                  <a:lnTo>
                    <a:pt x="228" y="36"/>
                  </a:lnTo>
                  <a:lnTo>
                    <a:pt x="228" y="30"/>
                  </a:lnTo>
                  <a:lnTo>
                    <a:pt x="228" y="24"/>
                  </a:lnTo>
                  <a:lnTo>
                    <a:pt x="246" y="18"/>
                  </a:lnTo>
                  <a:lnTo>
                    <a:pt x="252" y="18"/>
                  </a:lnTo>
                  <a:lnTo>
                    <a:pt x="258" y="12"/>
                  </a:lnTo>
                  <a:lnTo>
                    <a:pt x="270" y="6"/>
                  </a:lnTo>
                  <a:lnTo>
                    <a:pt x="288" y="6"/>
                  </a:lnTo>
                  <a:lnTo>
                    <a:pt x="312" y="12"/>
                  </a:lnTo>
                  <a:lnTo>
                    <a:pt x="324" y="12"/>
                  </a:lnTo>
                  <a:lnTo>
                    <a:pt x="336" y="18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14" y="12"/>
                  </a:lnTo>
                  <a:lnTo>
                    <a:pt x="426" y="12"/>
                  </a:lnTo>
                  <a:lnTo>
                    <a:pt x="444" y="18"/>
                  </a:lnTo>
                  <a:lnTo>
                    <a:pt x="462" y="18"/>
                  </a:lnTo>
                  <a:lnTo>
                    <a:pt x="474" y="18"/>
                  </a:lnTo>
                  <a:lnTo>
                    <a:pt x="480" y="18"/>
                  </a:lnTo>
                  <a:lnTo>
                    <a:pt x="486" y="36"/>
                  </a:lnTo>
                  <a:lnTo>
                    <a:pt x="480" y="42"/>
                  </a:lnTo>
                  <a:lnTo>
                    <a:pt x="480" y="54"/>
                  </a:lnTo>
                  <a:lnTo>
                    <a:pt x="486" y="78"/>
                  </a:lnTo>
                  <a:lnTo>
                    <a:pt x="486" y="114"/>
                  </a:lnTo>
                  <a:lnTo>
                    <a:pt x="486" y="150"/>
                  </a:lnTo>
                  <a:lnTo>
                    <a:pt x="468" y="150"/>
                  </a:lnTo>
                  <a:lnTo>
                    <a:pt x="474" y="162"/>
                  </a:lnTo>
                  <a:lnTo>
                    <a:pt x="480" y="162"/>
                  </a:lnTo>
                  <a:lnTo>
                    <a:pt x="486" y="174"/>
                  </a:lnTo>
                  <a:lnTo>
                    <a:pt x="492" y="174"/>
                  </a:lnTo>
                  <a:lnTo>
                    <a:pt x="492" y="192"/>
                  </a:lnTo>
                  <a:lnTo>
                    <a:pt x="498" y="198"/>
                  </a:lnTo>
                  <a:lnTo>
                    <a:pt x="504" y="204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8" y="222"/>
                  </a:lnTo>
                  <a:lnTo>
                    <a:pt x="492" y="228"/>
                  </a:lnTo>
                  <a:lnTo>
                    <a:pt x="492" y="234"/>
                  </a:lnTo>
                  <a:lnTo>
                    <a:pt x="492" y="240"/>
                  </a:lnTo>
                  <a:lnTo>
                    <a:pt x="486" y="246"/>
                  </a:lnTo>
                  <a:lnTo>
                    <a:pt x="486" y="258"/>
                  </a:lnTo>
                  <a:lnTo>
                    <a:pt x="480" y="264"/>
                  </a:lnTo>
                  <a:lnTo>
                    <a:pt x="474" y="276"/>
                  </a:lnTo>
                  <a:lnTo>
                    <a:pt x="468" y="288"/>
                  </a:lnTo>
                  <a:lnTo>
                    <a:pt x="456" y="306"/>
                  </a:lnTo>
                  <a:lnTo>
                    <a:pt x="456" y="312"/>
                  </a:lnTo>
                  <a:lnTo>
                    <a:pt x="444" y="318"/>
                  </a:lnTo>
                  <a:lnTo>
                    <a:pt x="432" y="336"/>
                  </a:lnTo>
                  <a:lnTo>
                    <a:pt x="432" y="342"/>
                  </a:lnTo>
                  <a:lnTo>
                    <a:pt x="432" y="348"/>
                  </a:lnTo>
                  <a:lnTo>
                    <a:pt x="432" y="354"/>
                  </a:lnTo>
                  <a:lnTo>
                    <a:pt x="426" y="366"/>
                  </a:lnTo>
                  <a:lnTo>
                    <a:pt x="420" y="366"/>
                  </a:lnTo>
                  <a:lnTo>
                    <a:pt x="420" y="372"/>
                  </a:lnTo>
                  <a:lnTo>
                    <a:pt x="414" y="378"/>
                  </a:lnTo>
                  <a:lnTo>
                    <a:pt x="414" y="390"/>
                  </a:lnTo>
                  <a:lnTo>
                    <a:pt x="408" y="390"/>
                  </a:lnTo>
                  <a:lnTo>
                    <a:pt x="408" y="402"/>
                  </a:lnTo>
                  <a:lnTo>
                    <a:pt x="402" y="414"/>
                  </a:lnTo>
                  <a:lnTo>
                    <a:pt x="396" y="438"/>
                  </a:lnTo>
                  <a:lnTo>
                    <a:pt x="396" y="444"/>
                  </a:lnTo>
                  <a:lnTo>
                    <a:pt x="390" y="45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11" name="Freeform 7">
              <a:extLst>
                <a:ext uri="{FF2B5EF4-FFF2-40B4-BE49-F238E27FC236}">
                  <a16:creationId xmlns:a16="http://schemas.microsoft.com/office/drawing/2014/main" id="{0D8DE62D-4554-4314-9F3A-7208D89B4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90838" y="4128134"/>
              <a:ext cx="283995" cy="411516"/>
            </a:xfrm>
            <a:custGeom>
              <a:avLst/>
              <a:gdLst>
                <a:gd name="T0" fmla="*/ 39 w 534"/>
                <a:gd name="T1" fmla="*/ 35 h 774"/>
                <a:gd name="T2" fmla="*/ 35 w 534"/>
                <a:gd name="T3" fmla="*/ 31 h 774"/>
                <a:gd name="T4" fmla="*/ 32 w 534"/>
                <a:gd name="T5" fmla="*/ 29 h 774"/>
                <a:gd name="T6" fmla="*/ 32 w 534"/>
                <a:gd name="T7" fmla="*/ 31 h 774"/>
                <a:gd name="T8" fmla="*/ 29 w 534"/>
                <a:gd name="T9" fmla="*/ 33 h 774"/>
                <a:gd name="T10" fmla="*/ 27 w 534"/>
                <a:gd name="T11" fmla="*/ 36 h 774"/>
                <a:gd name="T12" fmla="*/ 30 w 534"/>
                <a:gd name="T13" fmla="*/ 38 h 774"/>
                <a:gd name="T14" fmla="*/ 29 w 534"/>
                <a:gd name="T15" fmla="*/ 40 h 774"/>
                <a:gd name="T16" fmla="*/ 25 w 534"/>
                <a:gd name="T17" fmla="*/ 40 h 774"/>
                <a:gd name="T18" fmla="*/ 23 w 534"/>
                <a:gd name="T19" fmla="*/ 42 h 774"/>
                <a:gd name="T20" fmla="*/ 22 w 534"/>
                <a:gd name="T21" fmla="*/ 47 h 774"/>
                <a:gd name="T22" fmla="*/ 22 w 534"/>
                <a:gd name="T23" fmla="*/ 51 h 774"/>
                <a:gd name="T24" fmla="*/ 22 w 534"/>
                <a:gd name="T25" fmla="*/ 54 h 774"/>
                <a:gd name="T26" fmla="*/ 21 w 534"/>
                <a:gd name="T27" fmla="*/ 56 h 774"/>
                <a:gd name="T28" fmla="*/ 19 w 534"/>
                <a:gd name="T29" fmla="*/ 58 h 774"/>
                <a:gd name="T30" fmla="*/ 20 w 534"/>
                <a:gd name="T31" fmla="*/ 59 h 774"/>
                <a:gd name="T32" fmla="*/ 19 w 534"/>
                <a:gd name="T33" fmla="*/ 62 h 774"/>
                <a:gd name="T34" fmla="*/ 19 w 534"/>
                <a:gd name="T35" fmla="*/ 64 h 774"/>
                <a:gd name="T36" fmla="*/ 20 w 534"/>
                <a:gd name="T37" fmla="*/ 66 h 774"/>
                <a:gd name="T38" fmla="*/ 17 w 534"/>
                <a:gd name="T39" fmla="*/ 66 h 774"/>
                <a:gd name="T40" fmla="*/ 16 w 534"/>
                <a:gd name="T41" fmla="*/ 65 h 774"/>
                <a:gd name="T42" fmla="*/ 13 w 534"/>
                <a:gd name="T43" fmla="*/ 65 h 774"/>
                <a:gd name="T44" fmla="*/ 11 w 534"/>
                <a:gd name="T45" fmla="*/ 65 h 774"/>
                <a:gd name="T46" fmla="*/ 8 w 534"/>
                <a:gd name="T47" fmla="*/ 65 h 774"/>
                <a:gd name="T48" fmla="*/ 8 w 534"/>
                <a:gd name="T49" fmla="*/ 64 h 774"/>
                <a:gd name="T50" fmla="*/ 5 w 534"/>
                <a:gd name="T51" fmla="*/ 65 h 774"/>
                <a:gd name="T52" fmla="*/ 3 w 534"/>
                <a:gd name="T53" fmla="*/ 65 h 774"/>
                <a:gd name="T54" fmla="*/ 0 w 534"/>
                <a:gd name="T55" fmla="*/ 64 h 774"/>
                <a:gd name="T56" fmla="*/ 0 w 534"/>
                <a:gd name="T57" fmla="*/ 62 h 774"/>
                <a:gd name="T58" fmla="*/ 3 w 534"/>
                <a:gd name="T59" fmla="*/ 60 h 774"/>
                <a:gd name="T60" fmla="*/ 6 w 534"/>
                <a:gd name="T61" fmla="*/ 57 h 774"/>
                <a:gd name="T62" fmla="*/ 8 w 534"/>
                <a:gd name="T63" fmla="*/ 50 h 774"/>
                <a:gd name="T64" fmla="*/ 6 w 534"/>
                <a:gd name="T65" fmla="*/ 45 h 774"/>
                <a:gd name="T66" fmla="*/ 8 w 534"/>
                <a:gd name="T67" fmla="*/ 41 h 774"/>
                <a:gd name="T68" fmla="*/ 9 w 534"/>
                <a:gd name="T69" fmla="*/ 38 h 774"/>
                <a:gd name="T70" fmla="*/ 10 w 534"/>
                <a:gd name="T71" fmla="*/ 36 h 774"/>
                <a:gd name="T72" fmla="*/ 12 w 534"/>
                <a:gd name="T73" fmla="*/ 33 h 774"/>
                <a:gd name="T74" fmla="*/ 14 w 534"/>
                <a:gd name="T75" fmla="*/ 29 h 774"/>
                <a:gd name="T76" fmla="*/ 16 w 534"/>
                <a:gd name="T77" fmla="*/ 26 h 774"/>
                <a:gd name="T78" fmla="*/ 16 w 534"/>
                <a:gd name="T79" fmla="*/ 24 h 774"/>
                <a:gd name="T80" fmla="*/ 16 w 534"/>
                <a:gd name="T81" fmla="*/ 21 h 774"/>
                <a:gd name="T82" fmla="*/ 13 w 534"/>
                <a:gd name="T83" fmla="*/ 19 h 774"/>
                <a:gd name="T84" fmla="*/ 14 w 534"/>
                <a:gd name="T85" fmla="*/ 10 h 774"/>
                <a:gd name="T86" fmla="*/ 14 w 534"/>
                <a:gd name="T87" fmla="*/ 7 h 774"/>
                <a:gd name="T88" fmla="*/ 8 w 534"/>
                <a:gd name="T89" fmla="*/ 7 h 774"/>
                <a:gd name="T90" fmla="*/ 7 w 534"/>
                <a:gd name="T91" fmla="*/ 3 h 774"/>
                <a:gd name="T92" fmla="*/ 11 w 534"/>
                <a:gd name="T93" fmla="*/ 1 h 774"/>
                <a:gd name="T94" fmla="*/ 12 w 534"/>
                <a:gd name="T95" fmla="*/ 0 h 774"/>
                <a:gd name="T96" fmla="*/ 16 w 534"/>
                <a:gd name="T97" fmla="*/ 2 h 774"/>
                <a:gd name="T98" fmla="*/ 20 w 534"/>
                <a:gd name="T99" fmla="*/ 2 h 774"/>
                <a:gd name="T100" fmla="*/ 23 w 534"/>
                <a:gd name="T101" fmla="*/ 3 h 774"/>
                <a:gd name="T102" fmla="*/ 23 w 534"/>
                <a:gd name="T103" fmla="*/ 10 h 774"/>
                <a:gd name="T104" fmla="*/ 29 w 534"/>
                <a:gd name="T105" fmla="*/ 12 h 774"/>
                <a:gd name="T106" fmla="*/ 35 w 534"/>
                <a:gd name="T107" fmla="*/ 12 h 774"/>
                <a:gd name="T108" fmla="*/ 38 w 534"/>
                <a:gd name="T109" fmla="*/ 17 h 774"/>
                <a:gd name="T110" fmla="*/ 40 w 534"/>
                <a:gd name="T111" fmla="*/ 19 h 774"/>
                <a:gd name="T112" fmla="*/ 44 w 534"/>
                <a:gd name="T113" fmla="*/ 23 h 774"/>
                <a:gd name="T114" fmla="*/ 44 w 534"/>
                <a:gd name="T115" fmla="*/ 30 h 774"/>
                <a:gd name="T116" fmla="*/ 46 w 534"/>
                <a:gd name="T117" fmla="*/ 36 h 774"/>
                <a:gd name="T118" fmla="*/ 41 w 534"/>
                <a:gd name="T119" fmla="*/ 37 h 77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34"/>
                <a:gd name="T181" fmla="*/ 0 h 774"/>
                <a:gd name="T182" fmla="*/ 534 w 534"/>
                <a:gd name="T183" fmla="*/ 774 h 77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34" h="774">
                  <a:moveTo>
                    <a:pt x="462" y="426"/>
                  </a:moveTo>
                  <a:lnTo>
                    <a:pt x="462" y="414"/>
                  </a:lnTo>
                  <a:lnTo>
                    <a:pt x="450" y="402"/>
                  </a:lnTo>
                  <a:lnTo>
                    <a:pt x="444" y="396"/>
                  </a:lnTo>
                  <a:lnTo>
                    <a:pt x="420" y="396"/>
                  </a:lnTo>
                  <a:lnTo>
                    <a:pt x="408" y="390"/>
                  </a:lnTo>
                  <a:lnTo>
                    <a:pt x="402" y="366"/>
                  </a:lnTo>
                  <a:lnTo>
                    <a:pt x="390" y="354"/>
                  </a:lnTo>
                  <a:lnTo>
                    <a:pt x="384" y="336"/>
                  </a:lnTo>
                  <a:lnTo>
                    <a:pt x="378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8" y="348"/>
                  </a:lnTo>
                  <a:lnTo>
                    <a:pt x="360" y="354"/>
                  </a:lnTo>
                  <a:lnTo>
                    <a:pt x="360" y="390"/>
                  </a:lnTo>
                  <a:lnTo>
                    <a:pt x="348" y="390"/>
                  </a:lnTo>
                  <a:lnTo>
                    <a:pt x="342" y="384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90"/>
                  </a:lnTo>
                  <a:lnTo>
                    <a:pt x="312" y="402"/>
                  </a:lnTo>
                  <a:lnTo>
                    <a:pt x="306" y="420"/>
                  </a:lnTo>
                  <a:lnTo>
                    <a:pt x="324" y="414"/>
                  </a:lnTo>
                  <a:lnTo>
                    <a:pt x="330" y="414"/>
                  </a:lnTo>
                  <a:lnTo>
                    <a:pt x="336" y="420"/>
                  </a:lnTo>
                  <a:lnTo>
                    <a:pt x="336" y="432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6"/>
                  </a:lnTo>
                  <a:lnTo>
                    <a:pt x="318" y="456"/>
                  </a:lnTo>
                  <a:lnTo>
                    <a:pt x="300" y="456"/>
                  </a:lnTo>
                  <a:lnTo>
                    <a:pt x="288" y="462"/>
                  </a:lnTo>
                  <a:lnTo>
                    <a:pt x="276" y="462"/>
                  </a:lnTo>
                  <a:lnTo>
                    <a:pt x="270" y="462"/>
                  </a:lnTo>
                  <a:lnTo>
                    <a:pt x="270" y="468"/>
                  </a:lnTo>
                  <a:lnTo>
                    <a:pt x="252" y="468"/>
                  </a:lnTo>
                  <a:lnTo>
                    <a:pt x="258" y="480"/>
                  </a:lnTo>
                  <a:lnTo>
                    <a:pt x="258" y="492"/>
                  </a:lnTo>
                  <a:lnTo>
                    <a:pt x="258" y="498"/>
                  </a:lnTo>
                  <a:lnTo>
                    <a:pt x="258" y="510"/>
                  </a:lnTo>
                  <a:lnTo>
                    <a:pt x="252" y="540"/>
                  </a:lnTo>
                  <a:lnTo>
                    <a:pt x="246" y="564"/>
                  </a:lnTo>
                  <a:lnTo>
                    <a:pt x="246" y="570"/>
                  </a:lnTo>
                  <a:lnTo>
                    <a:pt x="252" y="576"/>
                  </a:lnTo>
                  <a:lnTo>
                    <a:pt x="246" y="582"/>
                  </a:lnTo>
                  <a:lnTo>
                    <a:pt x="252" y="600"/>
                  </a:lnTo>
                  <a:lnTo>
                    <a:pt x="258" y="606"/>
                  </a:lnTo>
                  <a:lnTo>
                    <a:pt x="258" y="612"/>
                  </a:lnTo>
                  <a:lnTo>
                    <a:pt x="252" y="618"/>
                  </a:lnTo>
                  <a:lnTo>
                    <a:pt x="246" y="624"/>
                  </a:lnTo>
                  <a:lnTo>
                    <a:pt x="246" y="630"/>
                  </a:lnTo>
                  <a:lnTo>
                    <a:pt x="246" y="636"/>
                  </a:lnTo>
                  <a:lnTo>
                    <a:pt x="240" y="642"/>
                  </a:lnTo>
                  <a:lnTo>
                    <a:pt x="234" y="654"/>
                  </a:lnTo>
                  <a:lnTo>
                    <a:pt x="228" y="654"/>
                  </a:lnTo>
                  <a:lnTo>
                    <a:pt x="222" y="660"/>
                  </a:lnTo>
                  <a:lnTo>
                    <a:pt x="216" y="666"/>
                  </a:lnTo>
                  <a:lnTo>
                    <a:pt x="210" y="666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22" y="684"/>
                  </a:lnTo>
                  <a:lnTo>
                    <a:pt x="222" y="690"/>
                  </a:lnTo>
                  <a:lnTo>
                    <a:pt x="222" y="696"/>
                  </a:lnTo>
                  <a:lnTo>
                    <a:pt x="222" y="702"/>
                  </a:lnTo>
                  <a:lnTo>
                    <a:pt x="216" y="708"/>
                  </a:lnTo>
                  <a:lnTo>
                    <a:pt x="210" y="720"/>
                  </a:lnTo>
                  <a:lnTo>
                    <a:pt x="216" y="732"/>
                  </a:lnTo>
                  <a:lnTo>
                    <a:pt x="210" y="732"/>
                  </a:lnTo>
                  <a:lnTo>
                    <a:pt x="216" y="738"/>
                  </a:lnTo>
                  <a:lnTo>
                    <a:pt x="216" y="744"/>
                  </a:lnTo>
                  <a:lnTo>
                    <a:pt x="222" y="750"/>
                  </a:lnTo>
                  <a:lnTo>
                    <a:pt x="228" y="756"/>
                  </a:lnTo>
                  <a:lnTo>
                    <a:pt x="222" y="762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04" y="762"/>
                  </a:lnTo>
                  <a:lnTo>
                    <a:pt x="198" y="762"/>
                  </a:lnTo>
                  <a:lnTo>
                    <a:pt x="192" y="762"/>
                  </a:lnTo>
                  <a:lnTo>
                    <a:pt x="186" y="756"/>
                  </a:lnTo>
                  <a:lnTo>
                    <a:pt x="180" y="750"/>
                  </a:lnTo>
                  <a:lnTo>
                    <a:pt x="180" y="744"/>
                  </a:lnTo>
                  <a:lnTo>
                    <a:pt x="174" y="744"/>
                  </a:lnTo>
                  <a:lnTo>
                    <a:pt x="156" y="750"/>
                  </a:lnTo>
                  <a:lnTo>
                    <a:pt x="150" y="750"/>
                  </a:lnTo>
                  <a:lnTo>
                    <a:pt x="144" y="750"/>
                  </a:lnTo>
                  <a:lnTo>
                    <a:pt x="138" y="750"/>
                  </a:lnTo>
                  <a:lnTo>
                    <a:pt x="138" y="744"/>
                  </a:lnTo>
                  <a:lnTo>
                    <a:pt x="132" y="744"/>
                  </a:lnTo>
                  <a:lnTo>
                    <a:pt x="120" y="744"/>
                  </a:lnTo>
                  <a:lnTo>
                    <a:pt x="114" y="738"/>
                  </a:lnTo>
                  <a:lnTo>
                    <a:pt x="108" y="744"/>
                  </a:lnTo>
                  <a:lnTo>
                    <a:pt x="102" y="744"/>
                  </a:lnTo>
                  <a:lnTo>
                    <a:pt x="96" y="744"/>
                  </a:lnTo>
                  <a:lnTo>
                    <a:pt x="96" y="738"/>
                  </a:lnTo>
                  <a:lnTo>
                    <a:pt x="96" y="744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44"/>
                  </a:lnTo>
                  <a:lnTo>
                    <a:pt x="72" y="750"/>
                  </a:lnTo>
                  <a:lnTo>
                    <a:pt x="66" y="750"/>
                  </a:lnTo>
                  <a:lnTo>
                    <a:pt x="60" y="750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0"/>
                  </a:lnTo>
                  <a:lnTo>
                    <a:pt x="30" y="750"/>
                  </a:lnTo>
                  <a:lnTo>
                    <a:pt x="24" y="744"/>
                  </a:lnTo>
                  <a:lnTo>
                    <a:pt x="18" y="738"/>
                  </a:lnTo>
                  <a:lnTo>
                    <a:pt x="6" y="738"/>
                  </a:lnTo>
                  <a:lnTo>
                    <a:pt x="0" y="732"/>
                  </a:lnTo>
                  <a:lnTo>
                    <a:pt x="0" y="726"/>
                  </a:lnTo>
                  <a:lnTo>
                    <a:pt x="0" y="720"/>
                  </a:lnTo>
                  <a:lnTo>
                    <a:pt x="6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8" y="702"/>
                  </a:lnTo>
                  <a:lnTo>
                    <a:pt x="24" y="696"/>
                  </a:lnTo>
                  <a:lnTo>
                    <a:pt x="30" y="696"/>
                  </a:lnTo>
                  <a:lnTo>
                    <a:pt x="48" y="690"/>
                  </a:lnTo>
                  <a:lnTo>
                    <a:pt x="54" y="678"/>
                  </a:lnTo>
                  <a:lnTo>
                    <a:pt x="66" y="672"/>
                  </a:lnTo>
                  <a:lnTo>
                    <a:pt x="66" y="654"/>
                  </a:lnTo>
                  <a:lnTo>
                    <a:pt x="72" y="636"/>
                  </a:lnTo>
                  <a:lnTo>
                    <a:pt x="72" y="612"/>
                  </a:lnTo>
                  <a:lnTo>
                    <a:pt x="84" y="594"/>
                  </a:lnTo>
                  <a:lnTo>
                    <a:pt x="90" y="576"/>
                  </a:lnTo>
                  <a:lnTo>
                    <a:pt x="96" y="552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72" y="522"/>
                  </a:lnTo>
                  <a:lnTo>
                    <a:pt x="78" y="510"/>
                  </a:lnTo>
                  <a:lnTo>
                    <a:pt x="78" y="504"/>
                  </a:lnTo>
                  <a:lnTo>
                    <a:pt x="84" y="480"/>
                  </a:lnTo>
                  <a:lnTo>
                    <a:pt x="90" y="468"/>
                  </a:lnTo>
                  <a:lnTo>
                    <a:pt x="90" y="456"/>
                  </a:lnTo>
                  <a:lnTo>
                    <a:pt x="96" y="456"/>
                  </a:lnTo>
                  <a:lnTo>
                    <a:pt x="96" y="444"/>
                  </a:lnTo>
                  <a:lnTo>
                    <a:pt x="102" y="438"/>
                  </a:lnTo>
                  <a:lnTo>
                    <a:pt x="102" y="432"/>
                  </a:lnTo>
                  <a:lnTo>
                    <a:pt x="108" y="432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14" y="408"/>
                  </a:lnTo>
                  <a:lnTo>
                    <a:pt x="114" y="402"/>
                  </a:lnTo>
                  <a:lnTo>
                    <a:pt x="126" y="384"/>
                  </a:lnTo>
                  <a:lnTo>
                    <a:pt x="138" y="378"/>
                  </a:lnTo>
                  <a:lnTo>
                    <a:pt x="138" y="372"/>
                  </a:lnTo>
                  <a:lnTo>
                    <a:pt x="150" y="354"/>
                  </a:lnTo>
                  <a:lnTo>
                    <a:pt x="156" y="342"/>
                  </a:lnTo>
                  <a:lnTo>
                    <a:pt x="162" y="330"/>
                  </a:lnTo>
                  <a:lnTo>
                    <a:pt x="168" y="324"/>
                  </a:lnTo>
                  <a:lnTo>
                    <a:pt x="168" y="312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74" y="294"/>
                  </a:lnTo>
                  <a:lnTo>
                    <a:pt x="180" y="288"/>
                  </a:lnTo>
                  <a:lnTo>
                    <a:pt x="180" y="276"/>
                  </a:lnTo>
                  <a:lnTo>
                    <a:pt x="186" y="276"/>
                  </a:lnTo>
                  <a:lnTo>
                    <a:pt x="186" y="270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40"/>
                  </a:lnTo>
                  <a:lnTo>
                    <a:pt x="168" y="240"/>
                  </a:lnTo>
                  <a:lnTo>
                    <a:pt x="162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68" y="216"/>
                  </a:lnTo>
                  <a:lnTo>
                    <a:pt x="168" y="180"/>
                  </a:lnTo>
                  <a:lnTo>
                    <a:pt x="168" y="144"/>
                  </a:lnTo>
                  <a:lnTo>
                    <a:pt x="162" y="120"/>
                  </a:lnTo>
                  <a:lnTo>
                    <a:pt x="162" y="108"/>
                  </a:lnTo>
                  <a:lnTo>
                    <a:pt x="168" y="102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44" y="84"/>
                  </a:lnTo>
                  <a:lnTo>
                    <a:pt x="126" y="84"/>
                  </a:lnTo>
                  <a:lnTo>
                    <a:pt x="108" y="78"/>
                  </a:lnTo>
                  <a:lnTo>
                    <a:pt x="96" y="78"/>
                  </a:lnTo>
                  <a:lnTo>
                    <a:pt x="78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8" y="36"/>
                  </a:lnTo>
                  <a:lnTo>
                    <a:pt x="96" y="24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56" y="0"/>
                  </a:lnTo>
                  <a:lnTo>
                    <a:pt x="156" y="6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18"/>
                  </a:lnTo>
                  <a:lnTo>
                    <a:pt x="198" y="18"/>
                  </a:lnTo>
                  <a:lnTo>
                    <a:pt x="210" y="18"/>
                  </a:lnTo>
                  <a:lnTo>
                    <a:pt x="222" y="18"/>
                  </a:lnTo>
                  <a:lnTo>
                    <a:pt x="234" y="12"/>
                  </a:lnTo>
                  <a:lnTo>
                    <a:pt x="252" y="18"/>
                  </a:lnTo>
                  <a:lnTo>
                    <a:pt x="252" y="24"/>
                  </a:lnTo>
                  <a:lnTo>
                    <a:pt x="258" y="36"/>
                  </a:lnTo>
                  <a:lnTo>
                    <a:pt x="258" y="66"/>
                  </a:lnTo>
                  <a:lnTo>
                    <a:pt x="252" y="84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82" y="126"/>
                  </a:lnTo>
                  <a:lnTo>
                    <a:pt x="294" y="132"/>
                  </a:lnTo>
                  <a:lnTo>
                    <a:pt x="306" y="138"/>
                  </a:lnTo>
                  <a:lnTo>
                    <a:pt x="324" y="138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60" y="144"/>
                  </a:lnTo>
                  <a:lnTo>
                    <a:pt x="396" y="144"/>
                  </a:lnTo>
                  <a:lnTo>
                    <a:pt x="408" y="150"/>
                  </a:lnTo>
                  <a:lnTo>
                    <a:pt x="414" y="180"/>
                  </a:lnTo>
                  <a:lnTo>
                    <a:pt x="420" y="186"/>
                  </a:lnTo>
                  <a:lnTo>
                    <a:pt x="426" y="192"/>
                  </a:lnTo>
                  <a:lnTo>
                    <a:pt x="426" y="198"/>
                  </a:lnTo>
                  <a:lnTo>
                    <a:pt x="432" y="198"/>
                  </a:lnTo>
                  <a:lnTo>
                    <a:pt x="438" y="210"/>
                  </a:lnTo>
                  <a:lnTo>
                    <a:pt x="450" y="216"/>
                  </a:lnTo>
                  <a:lnTo>
                    <a:pt x="468" y="228"/>
                  </a:lnTo>
                  <a:lnTo>
                    <a:pt x="492" y="234"/>
                  </a:lnTo>
                  <a:lnTo>
                    <a:pt x="492" y="246"/>
                  </a:lnTo>
                  <a:lnTo>
                    <a:pt x="492" y="270"/>
                  </a:lnTo>
                  <a:lnTo>
                    <a:pt x="486" y="294"/>
                  </a:lnTo>
                  <a:lnTo>
                    <a:pt x="486" y="312"/>
                  </a:lnTo>
                  <a:lnTo>
                    <a:pt x="486" y="330"/>
                  </a:lnTo>
                  <a:lnTo>
                    <a:pt x="492" y="348"/>
                  </a:lnTo>
                  <a:lnTo>
                    <a:pt x="498" y="360"/>
                  </a:lnTo>
                  <a:lnTo>
                    <a:pt x="510" y="366"/>
                  </a:lnTo>
                  <a:lnTo>
                    <a:pt x="516" y="384"/>
                  </a:lnTo>
                  <a:lnTo>
                    <a:pt x="522" y="414"/>
                  </a:lnTo>
                  <a:lnTo>
                    <a:pt x="528" y="414"/>
                  </a:lnTo>
                  <a:lnTo>
                    <a:pt x="534" y="426"/>
                  </a:lnTo>
                  <a:lnTo>
                    <a:pt x="528" y="432"/>
                  </a:lnTo>
                  <a:lnTo>
                    <a:pt x="468" y="426"/>
                  </a:lnTo>
                  <a:lnTo>
                    <a:pt x="462" y="4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3" name="Freeform 8">
              <a:extLst>
                <a:ext uri="{FF2B5EF4-FFF2-40B4-BE49-F238E27FC236}">
                  <a16:creationId xmlns:a16="http://schemas.microsoft.com/office/drawing/2014/main" id="{D473457C-872E-4E31-888A-D60FD52063A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98175" y="4307054"/>
              <a:ext cx="295177" cy="348894"/>
            </a:xfrm>
            <a:custGeom>
              <a:avLst/>
              <a:gdLst>
                <a:gd name="T0" fmla="*/ 3 w 552"/>
                <a:gd name="T1" fmla="*/ 46 h 660"/>
                <a:gd name="T2" fmla="*/ 4 w 552"/>
                <a:gd name="T3" fmla="*/ 42 h 660"/>
                <a:gd name="T4" fmla="*/ 2 w 552"/>
                <a:gd name="T5" fmla="*/ 38 h 660"/>
                <a:gd name="T6" fmla="*/ 0 w 552"/>
                <a:gd name="T7" fmla="*/ 34 h 660"/>
                <a:gd name="T8" fmla="*/ 2 w 552"/>
                <a:gd name="T9" fmla="*/ 30 h 660"/>
                <a:gd name="T10" fmla="*/ 3 w 552"/>
                <a:gd name="T11" fmla="*/ 27 h 660"/>
                <a:gd name="T12" fmla="*/ 5 w 552"/>
                <a:gd name="T13" fmla="*/ 23 h 660"/>
                <a:gd name="T14" fmla="*/ 5 w 552"/>
                <a:gd name="T15" fmla="*/ 15 h 660"/>
                <a:gd name="T16" fmla="*/ 6 w 552"/>
                <a:gd name="T17" fmla="*/ 11 h 660"/>
                <a:gd name="T18" fmla="*/ 11 w 552"/>
                <a:gd name="T19" fmla="*/ 9 h 660"/>
                <a:gd name="T20" fmla="*/ 10 w 552"/>
                <a:gd name="T21" fmla="*/ 5 h 660"/>
                <a:gd name="T22" fmla="*/ 12 w 552"/>
                <a:gd name="T23" fmla="*/ 1 h 660"/>
                <a:gd name="T24" fmla="*/ 16 w 552"/>
                <a:gd name="T25" fmla="*/ 2 h 660"/>
                <a:gd name="T26" fmla="*/ 23 w 552"/>
                <a:gd name="T27" fmla="*/ 8 h 660"/>
                <a:gd name="T28" fmla="*/ 23 w 552"/>
                <a:gd name="T29" fmla="*/ 11 h 660"/>
                <a:gd name="T30" fmla="*/ 27 w 552"/>
                <a:gd name="T31" fmla="*/ 12 h 660"/>
                <a:gd name="T32" fmla="*/ 29 w 552"/>
                <a:gd name="T33" fmla="*/ 17 h 660"/>
                <a:gd name="T34" fmla="*/ 31 w 552"/>
                <a:gd name="T35" fmla="*/ 15 h 660"/>
                <a:gd name="T36" fmla="*/ 33 w 552"/>
                <a:gd name="T37" fmla="*/ 17 h 660"/>
                <a:gd name="T38" fmla="*/ 36 w 552"/>
                <a:gd name="T39" fmla="*/ 23 h 660"/>
                <a:gd name="T40" fmla="*/ 41 w 552"/>
                <a:gd name="T41" fmla="*/ 33 h 660"/>
                <a:gd name="T42" fmla="*/ 43 w 552"/>
                <a:gd name="T43" fmla="*/ 36 h 660"/>
                <a:gd name="T44" fmla="*/ 43 w 552"/>
                <a:gd name="T45" fmla="*/ 37 h 660"/>
                <a:gd name="T46" fmla="*/ 41 w 552"/>
                <a:gd name="T47" fmla="*/ 35 h 660"/>
                <a:gd name="T48" fmla="*/ 43 w 552"/>
                <a:gd name="T49" fmla="*/ 37 h 660"/>
                <a:gd name="T50" fmla="*/ 44 w 552"/>
                <a:gd name="T51" fmla="*/ 39 h 660"/>
                <a:gd name="T52" fmla="*/ 47 w 552"/>
                <a:gd name="T53" fmla="*/ 41 h 660"/>
                <a:gd name="T54" fmla="*/ 47 w 552"/>
                <a:gd name="T55" fmla="*/ 44 h 660"/>
                <a:gd name="T56" fmla="*/ 48 w 552"/>
                <a:gd name="T57" fmla="*/ 46 h 660"/>
                <a:gd name="T58" fmla="*/ 47 w 552"/>
                <a:gd name="T59" fmla="*/ 46 h 660"/>
                <a:gd name="T60" fmla="*/ 44 w 552"/>
                <a:gd name="T61" fmla="*/ 46 h 660"/>
                <a:gd name="T62" fmla="*/ 47 w 552"/>
                <a:gd name="T63" fmla="*/ 47 h 660"/>
                <a:gd name="T64" fmla="*/ 47 w 552"/>
                <a:gd name="T65" fmla="*/ 49 h 660"/>
                <a:gd name="T66" fmla="*/ 47 w 552"/>
                <a:gd name="T67" fmla="*/ 52 h 660"/>
                <a:gd name="T68" fmla="*/ 46 w 552"/>
                <a:gd name="T69" fmla="*/ 53 h 660"/>
                <a:gd name="T70" fmla="*/ 43 w 552"/>
                <a:gd name="T71" fmla="*/ 54 h 660"/>
                <a:gd name="T72" fmla="*/ 37 w 552"/>
                <a:gd name="T73" fmla="*/ 54 h 660"/>
                <a:gd name="T74" fmla="*/ 30 w 552"/>
                <a:gd name="T75" fmla="*/ 54 h 660"/>
                <a:gd name="T76" fmla="*/ 29 w 552"/>
                <a:gd name="T77" fmla="*/ 53 h 660"/>
                <a:gd name="T78" fmla="*/ 27 w 552"/>
                <a:gd name="T79" fmla="*/ 53 h 660"/>
                <a:gd name="T80" fmla="*/ 29 w 552"/>
                <a:gd name="T81" fmla="*/ 53 h 660"/>
                <a:gd name="T82" fmla="*/ 28 w 552"/>
                <a:gd name="T83" fmla="*/ 54 h 660"/>
                <a:gd name="T84" fmla="*/ 24 w 552"/>
                <a:gd name="T85" fmla="*/ 54 h 660"/>
                <a:gd name="T86" fmla="*/ 20 w 552"/>
                <a:gd name="T87" fmla="*/ 55 h 660"/>
                <a:gd name="T88" fmla="*/ 15 w 552"/>
                <a:gd name="T89" fmla="*/ 56 h 660"/>
                <a:gd name="T90" fmla="*/ 12 w 552"/>
                <a:gd name="T91" fmla="*/ 56 h 660"/>
                <a:gd name="T92" fmla="*/ 11 w 552"/>
                <a:gd name="T93" fmla="*/ 57 h 660"/>
                <a:gd name="T94" fmla="*/ 9 w 552"/>
                <a:gd name="T95" fmla="*/ 57 h 660"/>
                <a:gd name="T96" fmla="*/ 7 w 552"/>
                <a:gd name="T97" fmla="*/ 56 h 660"/>
                <a:gd name="T98" fmla="*/ 5 w 552"/>
                <a:gd name="T99" fmla="*/ 55 h 660"/>
                <a:gd name="T100" fmla="*/ 7 w 552"/>
                <a:gd name="T101" fmla="*/ 54 h 660"/>
                <a:gd name="T102" fmla="*/ 5 w 552"/>
                <a:gd name="T103" fmla="*/ 54 h 660"/>
                <a:gd name="T104" fmla="*/ 5 w 552"/>
                <a:gd name="T105" fmla="*/ 53 h 660"/>
                <a:gd name="T106" fmla="*/ 4 w 552"/>
                <a:gd name="T107" fmla="*/ 49 h 660"/>
                <a:gd name="T108" fmla="*/ 45 w 552"/>
                <a:gd name="T109" fmla="*/ 38 h 66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52"/>
                <a:gd name="T166" fmla="*/ 0 h 660"/>
                <a:gd name="T167" fmla="*/ 552 w 552"/>
                <a:gd name="T168" fmla="*/ 660 h 66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52" h="660">
                  <a:moveTo>
                    <a:pt x="36" y="564"/>
                  </a:moveTo>
                  <a:lnTo>
                    <a:pt x="36" y="558"/>
                  </a:lnTo>
                  <a:lnTo>
                    <a:pt x="36" y="552"/>
                  </a:lnTo>
                  <a:lnTo>
                    <a:pt x="42" y="546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34"/>
                  </a:lnTo>
                  <a:lnTo>
                    <a:pt x="36" y="528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54" y="510"/>
                  </a:lnTo>
                  <a:lnTo>
                    <a:pt x="54" y="504"/>
                  </a:lnTo>
                  <a:lnTo>
                    <a:pt x="54" y="498"/>
                  </a:lnTo>
                  <a:lnTo>
                    <a:pt x="48" y="492"/>
                  </a:lnTo>
                  <a:lnTo>
                    <a:pt x="42" y="486"/>
                  </a:lnTo>
                  <a:lnTo>
                    <a:pt x="42" y="480"/>
                  </a:lnTo>
                  <a:lnTo>
                    <a:pt x="42" y="468"/>
                  </a:lnTo>
                  <a:lnTo>
                    <a:pt x="30" y="456"/>
                  </a:lnTo>
                  <a:lnTo>
                    <a:pt x="30" y="450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2"/>
                  </a:lnTo>
                  <a:lnTo>
                    <a:pt x="18" y="426"/>
                  </a:lnTo>
                  <a:lnTo>
                    <a:pt x="24" y="420"/>
                  </a:lnTo>
                  <a:lnTo>
                    <a:pt x="18" y="414"/>
                  </a:lnTo>
                  <a:lnTo>
                    <a:pt x="12" y="408"/>
                  </a:lnTo>
                  <a:lnTo>
                    <a:pt x="12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6" y="384"/>
                  </a:lnTo>
                  <a:lnTo>
                    <a:pt x="12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8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36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54" y="270"/>
                  </a:lnTo>
                  <a:lnTo>
                    <a:pt x="48" y="264"/>
                  </a:lnTo>
                  <a:lnTo>
                    <a:pt x="42" y="246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8" y="204"/>
                  </a:lnTo>
                  <a:lnTo>
                    <a:pt x="54" y="174"/>
                  </a:lnTo>
                  <a:lnTo>
                    <a:pt x="54" y="162"/>
                  </a:lnTo>
                  <a:lnTo>
                    <a:pt x="54" y="156"/>
                  </a:lnTo>
                  <a:lnTo>
                    <a:pt x="54" y="144"/>
                  </a:lnTo>
                  <a:lnTo>
                    <a:pt x="48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72" y="126"/>
                  </a:lnTo>
                  <a:lnTo>
                    <a:pt x="84" y="126"/>
                  </a:lnTo>
                  <a:lnTo>
                    <a:pt x="96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2" y="84"/>
                  </a:lnTo>
                  <a:lnTo>
                    <a:pt x="126" y="78"/>
                  </a:lnTo>
                  <a:lnTo>
                    <a:pt x="120" y="78"/>
                  </a:lnTo>
                  <a:lnTo>
                    <a:pt x="102" y="84"/>
                  </a:lnTo>
                  <a:lnTo>
                    <a:pt x="108" y="66"/>
                  </a:lnTo>
                  <a:lnTo>
                    <a:pt x="114" y="54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8" y="4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6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74" y="0"/>
                  </a:lnTo>
                  <a:lnTo>
                    <a:pt x="180" y="0"/>
                  </a:lnTo>
                  <a:lnTo>
                    <a:pt x="186" y="18"/>
                  </a:lnTo>
                  <a:lnTo>
                    <a:pt x="198" y="30"/>
                  </a:lnTo>
                  <a:lnTo>
                    <a:pt x="204" y="54"/>
                  </a:lnTo>
                  <a:lnTo>
                    <a:pt x="216" y="60"/>
                  </a:lnTo>
                  <a:lnTo>
                    <a:pt x="240" y="60"/>
                  </a:lnTo>
                  <a:lnTo>
                    <a:pt x="246" y="66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2" y="120"/>
                  </a:lnTo>
                  <a:lnTo>
                    <a:pt x="25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6" y="126"/>
                  </a:lnTo>
                  <a:lnTo>
                    <a:pt x="282" y="120"/>
                  </a:lnTo>
                  <a:lnTo>
                    <a:pt x="282" y="126"/>
                  </a:lnTo>
                  <a:lnTo>
                    <a:pt x="294" y="126"/>
                  </a:lnTo>
                  <a:lnTo>
                    <a:pt x="300" y="132"/>
                  </a:lnTo>
                  <a:lnTo>
                    <a:pt x="306" y="144"/>
                  </a:lnTo>
                  <a:lnTo>
                    <a:pt x="312" y="144"/>
                  </a:lnTo>
                  <a:lnTo>
                    <a:pt x="312" y="150"/>
                  </a:lnTo>
                  <a:lnTo>
                    <a:pt x="312" y="162"/>
                  </a:lnTo>
                  <a:lnTo>
                    <a:pt x="312" y="174"/>
                  </a:lnTo>
                  <a:lnTo>
                    <a:pt x="324" y="180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30" y="192"/>
                  </a:lnTo>
                  <a:lnTo>
                    <a:pt x="336" y="198"/>
                  </a:lnTo>
                  <a:lnTo>
                    <a:pt x="342" y="192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54" y="180"/>
                  </a:lnTo>
                  <a:lnTo>
                    <a:pt x="354" y="174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84" y="192"/>
                  </a:lnTo>
                  <a:lnTo>
                    <a:pt x="390" y="204"/>
                  </a:lnTo>
                  <a:lnTo>
                    <a:pt x="390" y="210"/>
                  </a:lnTo>
                  <a:lnTo>
                    <a:pt x="390" y="216"/>
                  </a:lnTo>
                  <a:lnTo>
                    <a:pt x="384" y="234"/>
                  </a:lnTo>
                  <a:lnTo>
                    <a:pt x="390" y="240"/>
                  </a:lnTo>
                  <a:lnTo>
                    <a:pt x="408" y="252"/>
                  </a:lnTo>
                  <a:lnTo>
                    <a:pt x="414" y="264"/>
                  </a:lnTo>
                  <a:lnTo>
                    <a:pt x="408" y="300"/>
                  </a:lnTo>
                  <a:lnTo>
                    <a:pt x="414" y="312"/>
                  </a:lnTo>
                  <a:lnTo>
                    <a:pt x="426" y="336"/>
                  </a:lnTo>
                  <a:lnTo>
                    <a:pt x="438" y="354"/>
                  </a:lnTo>
                  <a:lnTo>
                    <a:pt x="444" y="366"/>
                  </a:lnTo>
                  <a:lnTo>
                    <a:pt x="456" y="366"/>
                  </a:lnTo>
                  <a:lnTo>
                    <a:pt x="474" y="378"/>
                  </a:lnTo>
                  <a:lnTo>
                    <a:pt x="474" y="384"/>
                  </a:lnTo>
                  <a:lnTo>
                    <a:pt x="480" y="390"/>
                  </a:lnTo>
                  <a:lnTo>
                    <a:pt x="486" y="396"/>
                  </a:lnTo>
                  <a:lnTo>
                    <a:pt x="486" y="402"/>
                  </a:lnTo>
                  <a:lnTo>
                    <a:pt x="480" y="408"/>
                  </a:lnTo>
                  <a:lnTo>
                    <a:pt x="486" y="408"/>
                  </a:lnTo>
                  <a:lnTo>
                    <a:pt x="486" y="414"/>
                  </a:lnTo>
                  <a:lnTo>
                    <a:pt x="492" y="414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32"/>
                  </a:lnTo>
                  <a:lnTo>
                    <a:pt x="498" y="438"/>
                  </a:lnTo>
                  <a:lnTo>
                    <a:pt x="492" y="432"/>
                  </a:lnTo>
                  <a:lnTo>
                    <a:pt x="486" y="426"/>
                  </a:lnTo>
                  <a:lnTo>
                    <a:pt x="486" y="420"/>
                  </a:lnTo>
                  <a:lnTo>
                    <a:pt x="486" y="414"/>
                  </a:lnTo>
                  <a:lnTo>
                    <a:pt x="480" y="414"/>
                  </a:lnTo>
                  <a:lnTo>
                    <a:pt x="480" y="408"/>
                  </a:lnTo>
                  <a:lnTo>
                    <a:pt x="474" y="408"/>
                  </a:lnTo>
                  <a:lnTo>
                    <a:pt x="468" y="408"/>
                  </a:lnTo>
                  <a:lnTo>
                    <a:pt x="468" y="402"/>
                  </a:lnTo>
                  <a:lnTo>
                    <a:pt x="462" y="402"/>
                  </a:lnTo>
                  <a:lnTo>
                    <a:pt x="462" y="408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80" y="426"/>
                  </a:lnTo>
                  <a:lnTo>
                    <a:pt x="486" y="426"/>
                  </a:lnTo>
                  <a:lnTo>
                    <a:pt x="486" y="432"/>
                  </a:lnTo>
                  <a:lnTo>
                    <a:pt x="492" y="438"/>
                  </a:lnTo>
                  <a:lnTo>
                    <a:pt x="498" y="438"/>
                  </a:lnTo>
                  <a:lnTo>
                    <a:pt x="504" y="444"/>
                  </a:lnTo>
                  <a:lnTo>
                    <a:pt x="510" y="444"/>
                  </a:lnTo>
                  <a:lnTo>
                    <a:pt x="510" y="450"/>
                  </a:lnTo>
                  <a:lnTo>
                    <a:pt x="510" y="456"/>
                  </a:lnTo>
                  <a:lnTo>
                    <a:pt x="516" y="456"/>
                  </a:lnTo>
                  <a:lnTo>
                    <a:pt x="516" y="462"/>
                  </a:lnTo>
                  <a:lnTo>
                    <a:pt x="522" y="462"/>
                  </a:lnTo>
                  <a:lnTo>
                    <a:pt x="522" y="468"/>
                  </a:lnTo>
                  <a:lnTo>
                    <a:pt x="528" y="468"/>
                  </a:lnTo>
                  <a:lnTo>
                    <a:pt x="534" y="468"/>
                  </a:lnTo>
                  <a:lnTo>
                    <a:pt x="534" y="474"/>
                  </a:lnTo>
                  <a:lnTo>
                    <a:pt x="540" y="474"/>
                  </a:lnTo>
                  <a:lnTo>
                    <a:pt x="540" y="480"/>
                  </a:lnTo>
                  <a:lnTo>
                    <a:pt x="546" y="486"/>
                  </a:lnTo>
                  <a:lnTo>
                    <a:pt x="546" y="492"/>
                  </a:lnTo>
                  <a:lnTo>
                    <a:pt x="546" y="498"/>
                  </a:lnTo>
                  <a:lnTo>
                    <a:pt x="546" y="504"/>
                  </a:lnTo>
                  <a:lnTo>
                    <a:pt x="540" y="504"/>
                  </a:lnTo>
                  <a:lnTo>
                    <a:pt x="546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10"/>
                  </a:lnTo>
                  <a:lnTo>
                    <a:pt x="552" y="516"/>
                  </a:lnTo>
                  <a:lnTo>
                    <a:pt x="552" y="522"/>
                  </a:lnTo>
                  <a:lnTo>
                    <a:pt x="552" y="528"/>
                  </a:lnTo>
                  <a:lnTo>
                    <a:pt x="552" y="534"/>
                  </a:lnTo>
                  <a:lnTo>
                    <a:pt x="552" y="540"/>
                  </a:lnTo>
                  <a:lnTo>
                    <a:pt x="546" y="540"/>
                  </a:lnTo>
                  <a:lnTo>
                    <a:pt x="546" y="546"/>
                  </a:lnTo>
                  <a:lnTo>
                    <a:pt x="546" y="540"/>
                  </a:lnTo>
                  <a:lnTo>
                    <a:pt x="546" y="534"/>
                  </a:lnTo>
                  <a:lnTo>
                    <a:pt x="540" y="534"/>
                  </a:lnTo>
                  <a:lnTo>
                    <a:pt x="540" y="528"/>
                  </a:lnTo>
                  <a:lnTo>
                    <a:pt x="534" y="528"/>
                  </a:lnTo>
                  <a:lnTo>
                    <a:pt x="528" y="528"/>
                  </a:lnTo>
                  <a:lnTo>
                    <a:pt x="522" y="528"/>
                  </a:lnTo>
                  <a:lnTo>
                    <a:pt x="516" y="528"/>
                  </a:lnTo>
                  <a:lnTo>
                    <a:pt x="510" y="528"/>
                  </a:lnTo>
                  <a:lnTo>
                    <a:pt x="510" y="534"/>
                  </a:lnTo>
                  <a:lnTo>
                    <a:pt x="510" y="528"/>
                  </a:lnTo>
                  <a:lnTo>
                    <a:pt x="516" y="528"/>
                  </a:lnTo>
                  <a:lnTo>
                    <a:pt x="522" y="528"/>
                  </a:lnTo>
                  <a:lnTo>
                    <a:pt x="528" y="528"/>
                  </a:lnTo>
                  <a:lnTo>
                    <a:pt x="534" y="534"/>
                  </a:lnTo>
                  <a:lnTo>
                    <a:pt x="540" y="534"/>
                  </a:lnTo>
                  <a:lnTo>
                    <a:pt x="540" y="540"/>
                  </a:lnTo>
                  <a:lnTo>
                    <a:pt x="540" y="546"/>
                  </a:lnTo>
                  <a:lnTo>
                    <a:pt x="546" y="546"/>
                  </a:lnTo>
                  <a:lnTo>
                    <a:pt x="546" y="552"/>
                  </a:lnTo>
                  <a:lnTo>
                    <a:pt x="552" y="552"/>
                  </a:lnTo>
                  <a:lnTo>
                    <a:pt x="552" y="558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0" y="576"/>
                  </a:lnTo>
                  <a:lnTo>
                    <a:pt x="540" y="582"/>
                  </a:lnTo>
                  <a:lnTo>
                    <a:pt x="540" y="588"/>
                  </a:lnTo>
                  <a:lnTo>
                    <a:pt x="534" y="594"/>
                  </a:lnTo>
                  <a:lnTo>
                    <a:pt x="534" y="600"/>
                  </a:lnTo>
                  <a:lnTo>
                    <a:pt x="528" y="600"/>
                  </a:lnTo>
                  <a:lnTo>
                    <a:pt x="522" y="594"/>
                  </a:lnTo>
                  <a:lnTo>
                    <a:pt x="528" y="600"/>
                  </a:lnTo>
                  <a:lnTo>
                    <a:pt x="534" y="600"/>
                  </a:lnTo>
                  <a:lnTo>
                    <a:pt x="534" y="606"/>
                  </a:lnTo>
                  <a:lnTo>
                    <a:pt x="528" y="606"/>
                  </a:lnTo>
                  <a:lnTo>
                    <a:pt x="528" y="612"/>
                  </a:lnTo>
                  <a:lnTo>
                    <a:pt x="522" y="612"/>
                  </a:lnTo>
                  <a:lnTo>
                    <a:pt x="522" y="618"/>
                  </a:lnTo>
                  <a:lnTo>
                    <a:pt x="522" y="624"/>
                  </a:lnTo>
                  <a:lnTo>
                    <a:pt x="510" y="624"/>
                  </a:lnTo>
                  <a:lnTo>
                    <a:pt x="498" y="624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0" y="624"/>
                  </a:lnTo>
                  <a:lnTo>
                    <a:pt x="474" y="624"/>
                  </a:lnTo>
                  <a:lnTo>
                    <a:pt x="468" y="618"/>
                  </a:lnTo>
                  <a:lnTo>
                    <a:pt x="456" y="618"/>
                  </a:lnTo>
                  <a:lnTo>
                    <a:pt x="450" y="618"/>
                  </a:lnTo>
                  <a:lnTo>
                    <a:pt x="426" y="618"/>
                  </a:lnTo>
                  <a:lnTo>
                    <a:pt x="420" y="618"/>
                  </a:lnTo>
                  <a:lnTo>
                    <a:pt x="414" y="618"/>
                  </a:lnTo>
                  <a:lnTo>
                    <a:pt x="408" y="618"/>
                  </a:lnTo>
                  <a:lnTo>
                    <a:pt x="396" y="618"/>
                  </a:lnTo>
                  <a:lnTo>
                    <a:pt x="366" y="618"/>
                  </a:lnTo>
                  <a:lnTo>
                    <a:pt x="348" y="624"/>
                  </a:lnTo>
                  <a:lnTo>
                    <a:pt x="342" y="624"/>
                  </a:lnTo>
                  <a:lnTo>
                    <a:pt x="342" y="618"/>
                  </a:lnTo>
                  <a:lnTo>
                    <a:pt x="336" y="618"/>
                  </a:lnTo>
                  <a:lnTo>
                    <a:pt x="336" y="612"/>
                  </a:lnTo>
                  <a:lnTo>
                    <a:pt x="342" y="612"/>
                  </a:lnTo>
                  <a:lnTo>
                    <a:pt x="348" y="612"/>
                  </a:lnTo>
                  <a:lnTo>
                    <a:pt x="342" y="612"/>
                  </a:lnTo>
                  <a:lnTo>
                    <a:pt x="336" y="612"/>
                  </a:lnTo>
                  <a:lnTo>
                    <a:pt x="336" y="606"/>
                  </a:lnTo>
                  <a:lnTo>
                    <a:pt x="330" y="606"/>
                  </a:lnTo>
                  <a:lnTo>
                    <a:pt x="330" y="600"/>
                  </a:lnTo>
                  <a:lnTo>
                    <a:pt x="324" y="600"/>
                  </a:lnTo>
                  <a:lnTo>
                    <a:pt x="324" y="606"/>
                  </a:lnTo>
                  <a:lnTo>
                    <a:pt x="318" y="606"/>
                  </a:lnTo>
                  <a:lnTo>
                    <a:pt x="318" y="612"/>
                  </a:lnTo>
                  <a:lnTo>
                    <a:pt x="312" y="612"/>
                  </a:lnTo>
                  <a:lnTo>
                    <a:pt x="306" y="606"/>
                  </a:lnTo>
                  <a:lnTo>
                    <a:pt x="306" y="612"/>
                  </a:lnTo>
                  <a:lnTo>
                    <a:pt x="312" y="612"/>
                  </a:lnTo>
                  <a:lnTo>
                    <a:pt x="318" y="612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30" y="606"/>
                  </a:lnTo>
                  <a:lnTo>
                    <a:pt x="336" y="612"/>
                  </a:lnTo>
                  <a:lnTo>
                    <a:pt x="336" y="618"/>
                  </a:lnTo>
                  <a:lnTo>
                    <a:pt x="330" y="618"/>
                  </a:lnTo>
                  <a:lnTo>
                    <a:pt x="336" y="618"/>
                  </a:lnTo>
                  <a:lnTo>
                    <a:pt x="336" y="624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288" y="624"/>
                  </a:lnTo>
                  <a:lnTo>
                    <a:pt x="282" y="624"/>
                  </a:lnTo>
                  <a:lnTo>
                    <a:pt x="270" y="630"/>
                  </a:lnTo>
                  <a:lnTo>
                    <a:pt x="264" y="630"/>
                  </a:lnTo>
                  <a:lnTo>
                    <a:pt x="258" y="630"/>
                  </a:lnTo>
                  <a:lnTo>
                    <a:pt x="252" y="630"/>
                  </a:lnTo>
                  <a:lnTo>
                    <a:pt x="246" y="630"/>
                  </a:lnTo>
                  <a:lnTo>
                    <a:pt x="240" y="630"/>
                  </a:lnTo>
                  <a:lnTo>
                    <a:pt x="228" y="636"/>
                  </a:lnTo>
                  <a:lnTo>
                    <a:pt x="222" y="636"/>
                  </a:lnTo>
                  <a:lnTo>
                    <a:pt x="210" y="636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42"/>
                  </a:lnTo>
                  <a:lnTo>
                    <a:pt x="186" y="642"/>
                  </a:lnTo>
                  <a:lnTo>
                    <a:pt x="180" y="642"/>
                  </a:lnTo>
                  <a:lnTo>
                    <a:pt x="168" y="642"/>
                  </a:lnTo>
                  <a:lnTo>
                    <a:pt x="162" y="642"/>
                  </a:lnTo>
                  <a:lnTo>
                    <a:pt x="162" y="648"/>
                  </a:lnTo>
                  <a:lnTo>
                    <a:pt x="156" y="648"/>
                  </a:lnTo>
                  <a:lnTo>
                    <a:pt x="150" y="648"/>
                  </a:lnTo>
                  <a:lnTo>
                    <a:pt x="144" y="648"/>
                  </a:lnTo>
                  <a:lnTo>
                    <a:pt x="138" y="648"/>
                  </a:lnTo>
                  <a:lnTo>
                    <a:pt x="132" y="648"/>
                  </a:lnTo>
                  <a:lnTo>
                    <a:pt x="126" y="642"/>
                  </a:lnTo>
                  <a:lnTo>
                    <a:pt x="126" y="636"/>
                  </a:lnTo>
                  <a:lnTo>
                    <a:pt x="120" y="636"/>
                  </a:lnTo>
                  <a:lnTo>
                    <a:pt x="126" y="642"/>
                  </a:lnTo>
                  <a:lnTo>
                    <a:pt x="126" y="648"/>
                  </a:lnTo>
                  <a:lnTo>
                    <a:pt x="132" y="648"/>
                  </a:lnTo>
                  <a:lnTo>
                    <a:pt x="126" y="654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54"/>
                  </a:lnTo>
                  <a:lnTo>
                    <a:pt x="108" y="660"/>
                  </a:lnTo>
                  <a:lnTo>
                    <a:pt x="108" y="654"/>
                  </a:lnTo>
                  <a:lnTo>
                    <a:pt x="102" y="654"/>
                  </a:lnTo>
                  <a:lnTo>
                    <a:pt x="102" y="660"/>
                  </a:lnTo>
                  <a:lnTo>
                    <a:pt x="108" y="660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0" y="660"/>
                  </a:lnTo>
                  <a:lnTo>
                    <a:pt x="90" y="654"/>
                  </a:lnTo>
                  <a:lnTo>
                    <a:pt x="84" y="648"/>
                  </a:lnTo>
                  <a:lnTo>
                    <a:pt x="84" y="642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72" y="636"/>
                  </a:lnTo>
                  <a:lnTo>
                    <a:pt x="78" y="636"/>
                  </a:lnTo>
                  <a:lnTo>
                    <a:pt x="72" y="636"/>
                  </a:lnTo>
                  <a:lnTo>
                    <a:pt x="66" y="636"/>
                  </a:lnTo>
                  <a:lnTo>
                    <a:pt x="60" y="636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60" y="618"/>
                  </a:lnTo>
                  <a:lnTo>
                    <a:pt x="66" y="618"/>
                  </a:lnTo>
                  <a:lnTo>
                    <a:pt x="72" y="618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2" y="612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12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54" y="618"/>
                  </a:lnTo>
                  <a:lnTo>
                    <a:pt x="54" y="624"/>
                  </a:lnTo>
                  <a:lnTo>
                    <a:pt x="48" y="618"/>
                  </a:lnTo>
                  <a:lnTo>
                    <a:pt x="42" y="618"/>
                  </a:lnTo>
                  <a:lnTo>
                    <a:pt x="42" y="612"/>
                  </a:lnTo>
                  <a:lnTo>
                    <a:pt x="48" y="606"/>
                  </a:lnTo>
                  <a:lnTo>
                    <a:pt x="54" y="606"/>
                  </a:lnTo>
                  <a:lnTo>
                    <a:pt x="54" y="600"/>
                  </a:lnTo>
                  <a:lnTo>
                    <a:pt x="54" y="594"/>
                  </a:lnTo>
                  <a:lnTo>
                    <a:pt x="54" y="588"/>
                  </a:lnTo>
                  <a:lnTo>
                    <a:pt x="48" y="588"/>
                  </a:lnTo>
                  <a:lnTo>
                    <a:pt x="48" y="582"/>
                  </a:lnTo>
                  <a:lnTo>
                    <a:pt x="42" y="582"/>
                  </a:lnTo>
                  <a:lnTo>
                    <a:pt x="42" y="570"/>
                  </a:lnTo>
                  <a:lnTo>
                    <a:pt x="42" y="564"/>
                  </a:lnTo>
                  <a:lnTo>
                    <a:pt x="36" y="564"/>
                  </a:lnTo>
                  <a:close/>
                  <a:moveTo>
                    <a:pt x="498" y="420"/>
                  </a:moveTo>
                  <a:lnTo>
                    <a:pt x="504" y="426"/>
                  </a:lnTo>
                  <a:lnTo>
                    <a:pt x="510" y="432"/>
                  </a:lnTo>
                  <a:lnTo>
                    <a:pt x="516" y="432"/>
                  </a:lnTo>
                  <a:lnTo>
                    <a:pt x="516" y="438"/>
                  </a:lnTo>
                  <a:lnTo>
                    <a:pt x="510" y="438"/>
                  </a:lnTo>
                  <a:lnTo>
                    <a:pt x="504" y="438"/>
                  </a:lnTo>
                  <a:lnTo>
                    <a:pt x="504" y="432"/>
                  </a:lnTo>
                  <a:lnTo>
                    <a:pt x="498" y="432"/>
                  </a:lnTo>
                  <a:lnTo>
                    <a:pt x="498" y="426"/>
                  </a:lnTo>
                  <a:lnTo>
                    <a:pt x="498" y="4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4" name="Freeform 9">
              <a:extLst>
                <a:ext uri="{FF2B5EF4-FFF2-40B4-BE49-F238E27FC236}">
                  <a16:creationId xmlns:a16="http://schemas.microsoft.com/office/drawing/2014/main" id="{E0116D32-BD2E-45EA-B818-A3082585D5F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3055" y="2468650"/>
              <a:ext cx="800556" cy="1207710"/>
            </a:xfrm>
            <a:custGeom>
              <a:avLst/>
              <a:gdLst>
                <a:gd name="T0" fmla="*/ 24 w 1506"/>
                <a:gd name="T1" fmla="*/ 190 h 2274"/>
                <a:gd name="T2" fmla="*/ 25 w 1506"/>
                <a:gd name="T3" fmla="*/ 180 h 2274"/>
                <a:gd name="T4" fmla="*/ 21 w 1506"/>
                <a:gd name="T5" fmla="*/ 174 h 2274"/>
                <a:gd name="T6" fmla="*/ 17 w 1506"/>
                <a:gd name="T7" fmla="*/ 170 h 2274"/>
                <a:gd name="T8" fmla="*/ 12 w 1506"/>
                <a:gd name="T9" fmla="*/ 168 h 2274"/>
                <a:gd name="T10" fmla="*/ 10 w 1506"/>
                <a:gd name="T11" fmla="*/ 173 h 2274"/>
                <a:gd name="T12" fmla="*/ 7 w 1506"/>
                <a:gd name="T13" fmla="*/ 174 h 2274"/>
                <a:gd name="T14" fmla="*/ 0 w 1506"/>
                <a:gd name="T15" fmla="*/ 163 h 2274"/>
                <a:gd name="T16" fmla="*/ 16 w 1506"/>
                <a:gd name="T17" fmla="*/ 140 h 2274"/>
                <a:gd name="T18" fmla="*/ 19 w 1506"/>
                <a:gd name="T19" fmla="*/ 137 h 2274"/>
                <a:gd name="T20" fmla="*/ 24 w 1506"/>
                <a:gd name="T21" fmla="*/ 126 h 2274"/>
                <a:gd name="T22" fmla="*/ 23 w 1506"/>
                <a:gd name="T23" fmla="*/ 105 h 2274"/>
                <a:gd name="T24" fmla="*/ 14 w 1506"/>
                <a:gd name="T25" fmla="*/ 86 h 2274"/>
                <a:gd name="T26" fmla="*/ 8 w 1506"/>
                <a:gd name="T27" fmla="*/ 84 h 2274"/>
                <a:gd name="T28" fmla="*/ 5 w 1506"/>
                <a:gd name="T29" fmla="*/ 79 h 2274"/>
                <a:gd name="T30" fmla="*/ 16 w 1506"/>
                <a:gd name="T31" fmla="*/ 71 h 2274"/>
                <a:gd name="T32" fmla="*/ 28 w 1506"/>
                <a:gd name="T33" fmla="*/ 55 h 2274"/>
                <a:gd name="T34" fmla="*/ 29 w 1506"/>
                <a:gd name="T35" fmla="*/ 48 h 2274"/>
                <a:gd name="T36" fmla="*/ 35 w 1506"/>
                <a:gd name="T37" fmla="*/ 50 h 2274"/>
                <a:gd name="T38" fmla="*/ 42 w 1506"/>
                <a:gd name="T39" fmla="*/ 47 h 2274"/>
                <a:gd name="T40" fmla="*/ 63 w 1506"/>
                <a:gd name="T41" fmla="*/ 34 h 2274"/>
                <a:gd name="T42" fmla="*/ 74 w 1506"/>
                <a:gd name="T43" fmla="*/ 27 h 2274"/>
                <a:gd name="T44" fmla="*/ 81 w 1506"/>
                <a:gd name="T45" fmla="*/ 20 h 2274"/>
                <a:gd name="T46" fmla="*/ 89 w 1506"/>
                <a:gd name="T47" fmla="*/ 20 h 2274"/>
                <a:gd name="T48" fmla="*/ 98 w 1506"/>
                <a:gd name="T49" fmla="*/ 27 h 2274"/>
                <a:gd name="T50" fmla="*/ 106 w 1506"/>
                <a:gd name="T51" fmla="*/ 17 h 2274"/>
                <a:gd name="T52" fmla="*/ 111 w 1506"/>
                <a:gd name="T53" fmla="*/ 8 h 2274"/>
                <a:gd name="T54" fmla="*/ 121 w 1506"/>
                <a:gd name="T55" fmla="*/ 2 h 2274"/>
                <a:gd name="T56" fmla="*/ 129 w 1506"/>
                <a:gd name="T57" fmla="*/ 5 h 2274"/>
                <a:gd name="T58" fmla="*/ 125 w 1506"/>
                <a:gd name="T59" fmla="*/ 12 h 2274"/>
                <a:gd name="T60" fmla="*/ 122 w 1506"/>
                <a:gd name="T61" fmla="*/ 20 h 2274"/>
                <a:gd name="T62" fmla="*/ 122 w 1506"/>
                <a:gd name="T63" fmla="*/ 27 h 2274"/>
                <a:gd name="T64" fmla="*/ 120 w 1506"/>
                <a:gd name="T65" fmla="*/ 36 h 2274"/>
                <a:gd name="T66" fmla="*/ 116 w 1506"/>
                <a:gd name="T67" fmla="*/ 43 h 2274"/>
                <a:gd name="T68" fmla="*/ 109 w 1506"/>
                <a:gd name="T69" fmla="*/ 47 h 2274"/>
                <a:gd name="T70" fmla="*/ 108 w 1506"/>
                <a:gd name="T71" fmla="*/ 54 h 2274"/>
                <a:gd name="T72" fmla="*/ 106 w 1506"/>
                <a:gd name="T73" fmla="*/ 59 h 2274"/>
                <a:gd name="T74" fmla="*/ 109 w 1506"/>
                <a:gd name="T75" fmla="*/ 64 h 2274"/>
                <a:gd name="T76" fmla="*/ 106 w 1506"/>
                <a:gd name="T77" fmla="*/ 70 h 2274"/>
                <a:gd name="T78" fmla="*/ 105 w 1506"/>
                <a:gd name="T79" fmla="*/ 75 h 2274"/>
                <a:gd name="T80" fmla="*/ 101 w 1506"/>
                <a:gd name="T81" fmla="*/ 78 h 2274"/>
                <a:gd name="T82" fmla="*/ 92 w 1506"/>
                <a:gd name="T83" fmla="*/ 81 h 2274"/>
                <a:gd name="T84" fmla="*/ 85 w 1506"/>
                <a:gd name="T85" fmla="*/ 85 h 2274"/>
                <a:gd name="T86" fmla="*/ 87 w 1506"/>
                <a:gd name="T87" fmla="*/ 91 h 2274"/>
                <a:gd name="T88" fmla="*/ 86 w 1506"/>
                <a:gd name="T89" fmla="*/ 98 h 2274"/>
                <a:gd name="T90" fmla="*/ 86 w 1506"/>
                <a:gd name="T91" fmla="*/ 103 h 2274"/>
                <a:gd name="T92" fmla="*/ 82 w 1506"/>
                <a:gd name="T93" fmla="*/ 111 h 2274"/>
                <a:gd name="T94" fmla="*/ 81 w 1506"/>
                <a:gd name="T95" fmla="*/ 116 h 2274"/>
                <a:gd name="T96" fmla="*/ 78 w 1506"/>
                <a:gd name="T97" fmla="*/ 120 h 2274"/>
                <a:gd name="T98" fmla="*/ 76 w 1506"/>
                <a:gd name="T99" fmla="*/ 126 h 2274"/>
                <a:gd name="T100" fmla="*/ 68 w 1506"/>
                <a:gd name="T101" fmla="*/ 129 h 2274"/>
                <a:gd name="T102" fmla="*/ 62 w 1506"/>
                <a:gd name="T103" fmla="*/ 131 h 2274"/>
                <a:gd name="T104" fmla="*/ 58 w 1506"/>
                <a:gd name="T105" fmla="*/ 136 h 2274"/>
                <a:gd name="T106" fmla="*/ 51 w 1506"/>
                <a:gd name="T107" fmla="*/ 138 h 2274"/>
                <a:gd name="T108" fmla="*/ 51 w 1506"/>
                <a:gd name="T109" fmla="*/ 147 h 2274"/>
                <a:gd name="T110" fmla="*/ 49 w 1506"/>
                <a:gd name="T111" fmla="*/ 159 h 2274"/>
                <a:gd name="T112" fmla="*/ 48 w 1506"/>
                <a:gd name="T113" fmla="*/ 166 h 2274"/>
                <a:gd name="T114" fmla="*/ 41 w 1506"/>
                <a:gd name="T115" fmla="*/ 174 h 2274"/>
                <a:gd name="T116" fmla="*/ 39 w 1506"/>
                <a:gd name="T117" fmla="*/ 181 h 2274"/>
                <a:gd name="T118" fmla="*/ 37 w 1506"/>
                <a:gd name="T119" fmla="*/ 190 h 2274"/>
                <a:gd name="T120" fmla="*/ 29 w 1506"/>
                <a:gd name="T121" fmla="*/ 198 h 22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06"/>
                <a:gd name="T184" fmla="*/ 0 h 2274"/>
                <a:gd name="T185" fmla="*/ 1506 w 1506"/>
                <a:gd name="T186" fmla="*/ 2274 h 227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06" h="2274">
                  <a:moveTo>
                    <a:pt x="330" y="2274"/>
                  </a:moveTo>
                  <a:lnTo>
                    <a:pt x="318" y="2262"/>
                  </a:lnTo>
                  <a:lnTo>
                    <a:pt x="312" y="2238"/>
                  </a:lnTo>
                  <a:lnTo>
                    <a:pt x="312" y="2232"/>
                  </a:lnTo>
                  <a:lnTo>
                    <a:pt x="294" y="2214"/>
                  </a:lnTo>
                  <a:lnTo>
                    <a:pt x="288" y="2208"/>
                  </a:lnTo>
                  <a:lnTo>
                    <a:pt x="288" y="2202"/>
                  </a:lnTo>
                  <a:lnTo>
                    <a:pt x="276" y="2196"/>
                  </a:lnTo>
                  <a:lnTo>
                    <a:pt x="276" y="2190"/>
                  </a:lnTo>
                  <a:lnTo>
                    <a:pt x="282" y="2190"/>
                  </a:lnTo>
                  <a:lnTo>
                    <a:pt x="282" y="2184"/>
                  </a:lnTo>
                  <a:lnTo>
                    <a:pt x="276" y="2172"/>
                  </a:lnTo>
                  <a:lnTo>
                    <a:pt x="276" y="2166"/>
                  </a:lnTo>
                  <a:lnTo>
                    <a:pt x="282" y="2166"/>
                  </a:lnTo>
                  <a:lnTo>
                    <a:pt x="282" y="2154"/>
                  </a:lnTo>
                  <a:lnTo>
                    <a:pt x="276" y="2136"/>
                  </a:lnTo>
                  <a:lnTo>
                    <a:pt x="276" y="2112"/>
                  </a:lnTo>
                  <a:lnTo>
                    <a:pt x="282" y="2088"/>
                  </a:lnTo>
                  <a:lnTo>
                    <a:pt x="282" y="2082"/>
                  </a:lnTo>
                  <a:lnTo>
                    <a:pt x="282" y="2076"/>
                  </a:lnTo>
                  <a:lnTo>
                    <a:pt x="282" y="2070"/>
                  </a:lnTo>
                  <a:lnTo>
                    <a:pt x="288" y="2070"/>
                  </a:lnTo>
                  <a:lnTo>
                    <a:pt x="288" y="2064"/>
                  </a:lnTo>
                  <a:lnTo>
                    <a:pt x="282" y="2052"/>
                  </a:lnTo>
                  <a:lnTo>
                    <a:pt x="282" y="2046"/>
                  </a:lnTo>
                  <a:lnTo>
                    <a:pt x="276" y="2040"/>
                  </a:lnTo>
                  <a:lnTo>
                    <a:pt x="270" y="2034"/>
                  </a:lnTo>
                  <a:lnTo>
                    <a:pt x="264" y="2022"/>
                  </a:lnTo>
                  <a:lnTo>
                    <a:pt x="258" y="2022"/>
                  </a:lnTo>
                  <a:lnTo>
                    <a:pt x="258" y="2016"/>
                  </a:lnTo>
                  <a:lnTo>
                    <a:pt x="252" y="2016"/>
                  </a:lnTo>
                  <a:lnTo>
                    <a:pt x="246" y="2016"/>
                  </a:lnTo>
                  <a:lnTo>
                    <a:pt x="240" y="2010"/>
                  </a:lnTo>
                  <a:lnTo>
                    <a:pt x="234" y="2004"/>
                  </a:lnTo>
                  <a:lnTo>
                    <a:pt x="228" y="2004"/>
                  </a:lnTo>
                  <a:lnTo>
                    <a:pt x="228" y="1998"/>
                  </a:lnTo>
                  <a:lnTo>
                    <a:pt x="228" y="1992"/>
                  </a:lnTo>
                  <a:lnTo>
                    <a:pt x="222" y="1992"/>
                  </a:lnTo>
                  <a:lnTo>
                    <a:pt x="222" y="1986"/>
                  </a:lnTo>
                  <a:lnTo>
                    <a:pt x="216" y="1986"/>
                  </a:lnTo>
                  <a:lnTo>
                    <a:pt x="210" y="1980"/>
                  </a:lnTo>
                  <a:lnTo>
                    <a:pt x="216" y="1974"/>
                  </a:lnTo>
                  <a:lnTo>
                    <a:pt x="210" y="1968"/>
                  </a:lnTo>
                  <a:lnTo>
                    <a:pt x="198" y="1956"/>
                  </a:lnTo>
                  <a:lnTo>
                    <a:pt x="192" y="1956"/>
                  </a:lnTo>
                  <a:lnTo>
                    <a:pt x="186" y="1956"/>
                  </a:lnTo>
                  <a:lnTo>
                    <a:pt x="180" y="1944"/>
                  </a:lnTo>
                  <a:lnTo>
                    <a:pt x="180" y="1938"/>
                  </a:lnTo>
                  <a:lnTo>
                    <a:pt x="174" y="1932"/>
                  </a:lnTo>
                  <a:lnTo>
                    <a:pt x="168" y="1932"/>
                  </a:lnTo>
                  <a:lnTo>
                    <a:pt x="162" y="1932"/>
                  </a:lnTo>
                  <a:lnTo>
                    <a:pt x="150" y="1932"/>
                  </a:lnTo>
                  <a:lnTo>
                    <a:pt x="150" y="1926"/>
                  </a:lnTo>
                  <a:lnTo>
                    <a:pt x="150" y="1932"/>
                  </a:lnTo>
                  <a:lnTo>
                    <a:pt x="144" y="1932"/>
                  </a:lnTo>
                  <a:lnTo>
                    <a:pt x="138" y="1932"/>
                  </a:lnTo>
                  <a:lnTo>
                    <a:pt x="132" y="1932"/>
                  </a:lnTo>
                  <a:lnTo>
                    <a:pt x="132" y="1938"/>
                  </a:lnTo>
                  <a:lnTo>
                    <a:pt x="126" y="1944"/>
                  </a:lnTo>
                  <a:lnTo>
                    <a:pt x="126" y="1956"/>
                  </a:lnTo>
                  <a:lnTo>
                    <a:pt x="120" y="1968"/>
                  </a:lnTo>
                  <a:lnTo>
                    <a:pt x="120" y="1974"/>
                  </a:lnTo>
                  <a:lnTo>
                    <a:pt x="120" y="1980"/>
                  </a:lnTo>
                  <a:lnTo>
                    <a:pt x="126" y="1980"/>
                  </a:lnTo>
                  <a:lnTo>
                    <a:pt x="120" y="1986"/>
                  </a:lnTo>
                  <a:lnTo>
                    <a:pt x="120" y="1992"/>
                  </a:lnTo>
                  <a:lnTo>
                    <a:pt x="114" y="1992"/>
                  </a:lnTo>
                  <a:lnTo>
                    <a:pt x="114" y="1986"/>
                  </a:lnTo>
                  <a:lnTo>
                    <a:pt x="108" y="1992"/>
                  </a:lnTo>
                  <a:lnTo>
                    <a:pt x="108" y="1998"/>
                  </a:lnTo>
                  <a:lnTo>
                    <a:pt x="114" y="2004"/>
                  </a:lnTo>
                  <a:lnTo>
                    <a:pt x="108" y="2004"/>
                  </a:lnTo>
                  <a:lnTo>
                    <a:pt x="102" y="2010"/>
                  </a:lnTo>
                  <a:lnTo>
                    <a:pt x="102" y="2004"/>
                  </a:lnTo>
                  <a:lnTo>
                    <a:pt x="90" y="2004"/>
                  </a:lnTo>
                  <a:lnTo>
                    <a:pt x="84" y="2004"/>
                  </a:lnTo>
                  <a:lnTo>
                    <a:pt x="78" y="1998"/>
                  </a:lnTo>
                  <a:lnTo>
                    <a:pt x="78" y="1992"/>
                  </a:lnTo>
                  <a:lnTo>
                    <a:pt x="78" y="1986"/>
                  </a:lnTo>
                  <a:lnTo>
                    <a:pt x="72" y="1986"/>
                  </a:lnTo>
                  <a:lnTo>
                    <a:pt x="66" y="1980"/>
                  </a:lnTo>
                  <a:lnTo>
                    <a:pt x="66" y="1968"/>
                  </a:lnTo>
                  <a:lnTo>
                    <a:pt x="60" y="1956"/>
                  </a:lnTo>
                  <a:lnTo>
                    <a:pt x="60" y="1950"/>
                  </a:lnTo>
                  <a:lnTo>
                    <a:pt x="48" y="1944"/>
                  </a:lnTo>
                  <a:lnTo>
                    <a:pt x="30" y="1926"/>
                  </a:lnTo>
                  <a:lnTo>
                    <a:pt x="12" y="1890"/>
                  </a:lnTo>
                  <a:lnTo>
                    <a:pt x="6" y="1872"/>
                  </a:lnTo>
                  <a:lnTo>
                    <a:pt x="0" y="1854"/>
                  </a:lnTo>
                  <a:lnTo>
                    <a:pt x="6" y="1824"/>
                  </a:lnTo>
                  <a:lnTo>
                    <a:pt x="30" y="1794"/>
                  </a:lnTo>
                  <a:lnTo>
                    <a:pt x="66" y="1752"/>
                  </a:lnTo>
                  <a:lnTo>
                    <a:pt x="72" y="1752"/>
                  </a:lnTo>
                  <a:lnTo>
                    <a:pt x="78" y="1746"/>
                  </a:lnTo>
                  <a:lnTo>
                    <a:pt x="84" y="1746"/>
                  </a:lnTo>
                  <a:lnTo>
                    <a:pt x="90" y="1746"/>
                  </a:lnTo>
                  <a:lnTo>
                    <a:pt x="138" y="1674"/>
                  </a:lnTo>
                  <a:lnTo>
                    <a:pt x="186" y="1620"/>
                  </a:lnTo>
                  <a:lnTo>
                    <a:pt x="186" y="1614"/>
                  </a:lnTo>
                  <a:lnTo>
                    <a:pt x="186" y="1608"/>
                  </a:lnTo>
                  <a:lnTo>
                    <a:pt x="192" y="1608"/>
                  </a:lnTo>
                  <a:lnTo>
                    <a:pt x="192" y="1614"/>
                  </a:lnTo>
                  <a:lnTo>
                    <a:pt x="198" y="1614"/>
                  </a:lnTo>
                  <a:lnTo>
                    <a:pt x="198" y="1608"/>
                  </a:lnTo>
                  <a:lnTo>
                    <a:pt x="198" y="1602"/>
                  </a:lnTo>
                  <a:lnTo>
                    <a:pt x="204" y="1602"/>
                  </a:lnTo>
                  <a:lnTo>
                    <a:pt x="204" y="1596"/>
                  </a:lnTo>
                  <a:lnTo>
                    <a:pt x="210" y="1590"/>
                  </a:lnTo>
                  <a:lnTo>
                    <a:pt x="216" y="1590"/>
                  </a:lnTo>
                  <a:lnTo>
                    <a:pt x="216" y="1584"/>
                  </a:lnTo>
                  <a:lnTo>
                    <a:pt x="222" y="1584"/>
                  </a:lnTo>
                  <a:lnTo>
                    <a:pt x="228" y="1572"/>
                  </a:lnTo>
                  <a:lnTo>
                    <a:pt x="222" y="1572"/>
                  </a:lnTo>
                  <a:lnTo>
                    <a:pt x="228" y="1566"/>
                  </a:lnTo>
                  <a:lnTo>
                    <a:pt x="228" y="1560"/>
                  </a:lnTo>
                  <a:lnTo>
                    <a:pt x="252" y="1548"/>
                  </a:lnTo>
                  <a:lnTo>
                    <a:pt x="276" y="1530"/>
                  </a:lnTo>
                  <a:lnTo>
                    <a:pt x="282" y="1512"/>
                  </a:lnTo>
                  <a:lnTo>
                    <a:pt x="282" y="1506"/>
                  </a:lnTo>
                  <a:lnTo>
                    <a:pt x="282" y="1494"/>
                  </a:lnTo>
                  <a:lnTo>
                    <a:pt x="282" y="1452"/>
                  </a:lnTo>
                  <a:lnTo>
                    <a:pt x="288" y="1440"/>
                  </a:lnTo>
                  <a:lnTo>
                    <a:pt x="294" y="1440"/>
                  </a:lnTo>
                  <a:lnTo>
                    <a:pt x="294" y="1428"/>
                  </a:lnTo>
                  <a:lnTo>
                    <a:pt x="324" y="1368"/>
                  </a:lnTo>
                  <a:lnTo>
                    <a:pt x="330" y="1362"/>
                  </a:lnTo>
                  <a:lnTo>
                    <a:pt x="330" y="1356"/>
                  </a:lnTo>
                  <a:lnTo>
                    <a:pt x="360" y="1338"/>
                  </a:lnTo>
                  <a:lnTo>
                    <a:pt x="366" y="1296"/>
                  </a:lnTo>
                  <a:lnTo>
                    <a:pt x="354" y="1278"/>
                  </a:lnTo>
                  <a:lnTo>
                    <a:pt x="336" y="1230"/>
                  </a:lnTo>
                  <a:lnTo>
                    <a:pt x="270" y="1212"/>
                  </a:lnTo>
                  <a:lnTo>
                    <a:pt x="264" y="1212"/>
                  </a:lnTo>
                  <a:lnTo>
                    <a:pt x="252" y="1200"/>
                  </a:lnTo>
                  <a:lnTo>
                    <a:pt x="234" y="1188"/>
                  </a:lnTo>
                  <a:lnTo>
                    <a:pt x="222" y="1182"/>
                  </a:lnTo>
                  <a:lnTo>
                    <a:pt x="228" y="1104"/>
                  </a:lnTo>
                  <a:lnTo>
                    <a:pt x="228" y="1098"/>
                  </a:lnTo>
                  <a:lnTo>
                    <a:pt x="198" y="1038"/>
                  </a:lnTo>
                  <a:lnTo>
                    <a:pt x="192" y="1032"/>
                  </a:lnTo>
                  <a:lnTo>
                    <a:pt x="180" y="1020"/>
                  </a:lnTo>
                  <a:lnTo>
                    <a:pt x="168" y="996"/>
                  </a:lnTo>
                  <a:lnTo>
                    <a:pt x="162" y="990"/>
                  </a:lnTo>
                  <a:lnTo>
                    <a:pt x="156" y="990"/>
                  </a:lnTo>
                  <a:lnTo>
                    <a:pt x="150" y="990"/>
                  </a:lnTo>
                  <a:lnTo>
                    <a:pt x="132" y="990"/>
                  </a:lnTo>
                  <a:lnTo>
                    <a:pt x="120" y="984"/>
                  </a:lnTo>
                  <a:lnTo>
                    <a:pt x="120" y="990"/>
                  </a:lnTo>
                  <a:lnTo>
                    <a:pt x="114" y="990"/>
                  </a:lnTo>
                  <a:lnTo>
                    <a:pt x="102" y="984"/>
                  </a:lnTo>
                  <a:lnTo>
                    <a:pt x="96" y="984"/>
                  </a:lnTo>
                  <a:lnTo>
                    <a:pt x="96" y="978"/>
                  </a:lnTo>
                  <a:lnTo>
                    <a:pt x="90" y="978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84" y="960"/>
                  </a:lnTo>
                  <a:lnTo>
                    <a:pt x="84" y="954"/>
                  </a:lnTo>
                  <a:lnTo>
                    <a:pt x="78" y="948"/>
                  </a:lnTo>
                  <a:lnTo>
                    <a:pt x="72" y="948"/>
                  </a:lnTo>
                  <a:lnTo>
                    <a:pt x="72" y="942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06"/>
                  </a:lnTo>
                  <a:lnTo>
                    <a:pt x="60" y="888"/>
                  </a:lnTo>
                  <a:lnTo>
                    <a:pt x="54" y="882"/>
                  </a:lnTo>
                  <a:lnTo>
                    <a:pt x="60" y="882"/>
                  </a:lnTo>
                  <a:lnTo>
                    <a:pt x="72" y="876"/>
                  </a:lnTo>
                  <a:lnTo>
                    <a:pt x="78" y="876"/>
                  </a:lnTo>
                  <a:lnTo>
                    <a:pt x="90" y="870"/>
                  </a:lnTo>
                  <a:lnTo>
                    <a:pt x="90" y="864"/>
                  </a:lnTo>
                  <a:lnTo>
                    <a:pt x="96" y="840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80" y="822"/>
                  </a:lnTo>
                  <a:lnTo>
                    <a:pt x="204" y="798"/>
                  </a:lnTo>
                  <a:lnTo>
                    <a:pt x="222" y="786"/>
                  </a:lnTo>
                  <a:lnTo>
                    <a:pt x="252" y="780"/>
                  </a:lnTo>
                  <a:lnTo>
                    <a:pt x="264" y="762"/>
                  </a:lnTo>
                  <a:lnTo>
                    <a:pt x="276" y="762"/>
                  </a:lnTo>
                  <a:lnTo>
                    <a:pt x="288" y="744"/>
                  </a:lnTo>
                  <a:lnTo>
                    <a:pt x="306" y="738"/>
                  </a:lnTo>
                  <a:lnTo>
                    <a:pt x="318" y="732"/>
                  </a:lnTo>
                  <a:lnTo>
                    <a:pt x="324" y="648"/>
                  </a:lnTo>
                  <a:lnTo>
                    <a:pt x="324" y="636"/>
                  </a:lnTo>
                  <a:lnTo>
                    <a:pt x="324" y="630"/>
                  </a:lnTo>
                  <a:lnTo>
                    <a:pt x="330" y="624"/>
                  </a:lnTo>
                  <a:lnTo>
                    <a:pt x="324" y="618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24" y="588"/>
                  </a:lnTo>
                  <a:lnTo>
                    <a:pt x="318" y="576"/>
                  </a:lnTo>
                  <a:lnTo>
                    <a:pt x="318" y="570"/>
                  </a:lnTo>
                  <a:lnTo>
                    <a:pt x="324" y="570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30" y="558"/>
                  </a:lnTo>
                  <a:lnTo>
                    <a:pt x="336" y="558"/>
                  </a:lnTo>
                  <a:lnTo>
                    <a:pt x="342" y="558"/>
                  </a:lnTo>
                  <a:lnTo>
                    <a:pt x="348" y="558"/>
                  </a:lnTo>
                  <a:lnTo>
                    <a:pt x="354" y="564"/>
                  </a:lnTo>
                  <a:lnTo>
                    <a:pt x="360" y="564"/>
                  </a:lnTo>
                  <a:lnTo>
                    <a:pt x="366" y="570"/>
                  </a:lnTo>
                  <a:lnTo>
                    <a:pt x="366" y="576"/>
                  </a:lnTo>
                  <a:lnTo>
                    <a:pt x="372" y="570"/>
                  </a:lnTo>
                  <a:lnTo>
                    <a:pt x="378" y="570"/>
                  </a:lnTo>
                  <a:lnTo>
                    <a:pt x="390" y="570"/>
                  </a:lnTo>
                  <a:lnTo>
                    <a:pt x="402" y="570"/>
                  </a:lnTo>
                  <a:lnTo>
                    <a:pt x="408" y="570"/>
                  </a:lnTo>
                  <a:lnTo>
                    <a:pt x="414" y="564"/>
                  </a:lnTo>
                  <a:lnTo>
                    <a:pt x="420" y="564"/>
                  </a:lnTo>
                  <a:lnTo>
                    <a:pt x="420" y="570"/>
                  </a:lnTo>
                  <a:lnTo>
                    <a:pt x="426" y="570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44" y="570"/>
                  </a:lnTo>
                  <a:lnTo>
                    <a:pt x="450" y="564"/>
                  </a:lnTo>
                  <a:lnTo>
                    <a:pt x="474" y="558"/>
                  </a:lnTo>
                  <a:lnTo>
                    <a:pt x="486" y="54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40" y="474"/>
                  </a:lnTo>
                  <a:lnTo>
                    <a:pt x="558" y="456"/>
                  </a:lnTo>
                  <a:lnTo>
                    <a:pt x="582" y="450"/>
                  </a:lnTo>
                  <a:lnTo>
                    <a:pt x="594" y="414"/>
                  </a:lnTo>
                  <a:lnTo>
                    <a:pt x="612" y="390"/>
                  </a:lnTo>
                  <a:lnTo>
                    <a:pt x="636" y="390"/>
                  </a:lnTo>
                  <a:lnTo>
                    <a:pt x="666" y="390"/>
                  </a:lnTo>
                  <a:lnTo>
                    <a:pt x="696" y="390"/>
                  </a:lnTo>
                  <a:lnTo>
                    <a:pt x="726" y="390"/>
                  </a:lnTo>
                  <a:lnTo>
                    <a:pt x="762" y="378"/>
                  </a:lnTo>
                  <a:lnTo>
                    <a:pt x="780" y="366"/>
                  </a:lnTo>
                  <a:lnTo>
                    <a:pt x="780" y="342"/>
                  </a:lnTo>
                  <a:lnTo>
                    <a:pt x="786" y="342"/>
                  </a:lnTo>
                  <a:lnTo>
                    <a:pt x="786" y="336"/>
                  </a:lnTo>
                  <a:lnTo>
                    <a:pt x="786" y="330"/>
                  </a:lnTo>
                  <a:lnTo>
                    <a:pt x="786" y="324"/>
                  </a:lnTo>
                  <a:lnTo>
                    <a:pt x="816" y="318"/>
                  </a:lnTo>
                  <a:lnTo>
                    <a:pt x="834" y="312"/>
                  </a:lnTo>
                  <a:lnTo>
                    <a:pt x="840" y="318"/>
                  </a:lnTo>
                  <a:lnTo>
                    <a:pt x="852" y="318"/>
                  </a:lnTo>
                  <a:lnTo>
                    <a:pt x="858" y="306"/>
                  </a:lnTo>
                  <a:lnTo>
                    <a:pt x="864" y="288"/>
                  </a:lnTo>
                  <a:lnTo>
                    <a:pt x="870" y="282"/>
                  </a:lnTo>
                  <a:lnTo>
                    <a:pt x="876" y="276"/>
                  </a:lnTo>
                  <a:lnTo>
                    <a:pt x="882" y="264"/>
                  </a:lnTo>
                  <a:lnTo>
                    <a:pt x="882" y="258"/>
                  </a:lnTo>
                  <a:lnTo>
                    <a:pt x="888" y="252"/>
                  </a:lnTo>
                  <a:lnTo>
                    <a:pt x="894" y="240"/>
                  </a:lnTo>
                  <a:lnTo>
                    <a:pt x="906" y="228"/>
                  </a:lnTo>
                  <a:lnTo>
                    <a:pt x="912" y="228"/>
                  </a:lnTo>
                  <a:lnTo>
                    <a:pt x="936" y="228"/>
                  </a:lnTo>
                  <a:lnTo>
                    <a:pt x="942" y="222"/>
                  </a:lnTo>
                  <a:lnTo>
                    <a:pt x="948" y="216"/>
                  </a:lnTo>
                  <a:lnTo>
                    <a:pt x="954" y="216"/>
                  </a:lnTo>
                  <a:lnTo>
                    <a:pt x="960" y="216"/>
                  </a:lnTo>
                  <a:lnTo>
                    <a:pt x="966" y="216"/>
                  </a:lnTo>
                  <a:lnTo>
                    <a:pt x="978" y="216"/>
                  </a:lnTo>
                  <a:lnTo>
                    <a:pt x="990" y="222"/>
                  </a:lnTo>
                  <a:lnTo>
                    <a:pt x="996" y="222"/>
                  </a:lnTo>
                  <a:lnTo>
                    <a:pt x="1002" y="228"/>
                  </a:lnTo>
                  <a:lnTo>
                    <a:pt x="1014" y="234"/>
                  </a:lnTo>
                  <a:lnTo>
                    <a:pt x="1020" y="234"/>
                  </a:lnTo>
                  <a:lnTo>
                    <a:pt x="1032" y="240"/>
                  </a:lnTo>
                  <a:lnTo>
                    <a:pt x="1044" y="240"/>
                  </a:lnTo>
                  <a:lnTo>
                    <a:pt x="1050" y="240"/>
                  </a:lnTo>
                  <a:lnTo>
                    <a:pt x="1056" y="246"/>
                  </a:lnTo>
                  <a:lnTo>
                    <a:pt x="1068" y="264"/>
                  </a:lnTo>
                  <a:lnTo>
                    <a:pt x="1086" y="276"/>
                  </a:lnTo>
                  <a:lnTo>
                    <a:pt x="1092" y="276"/>
                  </a:lnTo>
                  <a:lnTo>
                    <a:pt x="1104" y="282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8" y="312"/>
                  </a:lnTo>
                  <a:lnTo>
                    <a:pt x="1152" y="324"/>
                  </a:lnTo>
                  <a:lnTo>
                    <a:pt x="1188" y="324"/>
                  </a:lnTo>
                  <a:lnTo>
                    <a:pt x="1206" y="318"/>
                  </a:lnTo>
                  <a:lnTo>
                    <a:pt x="1200" y="294"/>
                  </a:lnTo>
                  <a:lnTo>
                    <a:pt x="1206" y="252"/>
                  </a:lnTo>
                  <a:lnTo>
                    <a:pt x="1218" y="222"/>
                  </a:lnTo>
                  <a:lnTo>
                    <a:pt x="1212" y="222"/>
                  </a:lnTo>
                  <a:lnTo>
                    <a:pt x="1212" y="216"/>
                  </a:lnTo>
                  <a:lnTo>
                    <a:pt x="1218" y="204"/>
                  </a:lnTo>
                  <a:lnTo>
                    <a:pt x="1224" y="198"/>
                  </a:lnTo>
                  <a:lnTo>
                    <a:pt x="1224" y="192"/>
                  </a:lnTo>
                  <a:lnTo>
                    <a:pt x="1236" y="180"/>
                  </a:lnTo>
                  <a:lnTo>
                    <a:pt x="1254" y="156"/>
                  </a:lnTo>
                  <a:lnTo>
                    <a:pt x="1260" y="150"/>
                  </a:lnTo>
                  <a:lnTo>
                    <a:pt x="1260" y="144"/>
                  </a:lnTo>
                  <a:lnTo>
                    <a:pt x="1266" y="138"/>
                  </a:lnTo>
                  <a:lnTo>
                    <a:pt x="1272" y="138"/>
                  </a:lnTo>
                  <a:lnTo>
                    <a:pt x="1272" y="120"/>
                  </a:lnTo>
                  <a:lnTo>
                    <a:pt x="1278" y="114"/>
                  </a:lnTo>
                  <a:lnTo>
                    <a:pt x="1278" y="108"/>
                  </a:lnTo>
                  <a:lnTo>
                    <a:pt x="1278" y="102"/>
                  </a:lnTo>
                  <a:lnTo>
                    <a:pt x="1278" y="90"/>
                  </a:lnTo>
                  <a:lnTo>
                    <a:pt x="1278" y="84"/>
                  </a:lnTo>
                  <a:lnTo>
                    <a:pt x="1278" y="78"/>
                  </a:lnTo>
                  <a:lnTo>
                    <a:pt x="1278" y="72"/>
                  </a:lnTo>
                  <a:lnTo>
                    <a:pt x="1278" y="60"/>
                  </a:lnTo>
                  <a:lnTo>
                    <a:pt x="1284" y="48"/>
                  </a:lnTo>
                  <a:lnTo>
                    <a:pt x="1284" y="24"/>
                  </a:lnTo>
                  <a:lnTo>
                    <a:pt x="1284" y="18"/>
                  </a:lnTo>
                  <a:lnTo>
                    <a:pt x="1308" y="24"/>
                  </a:lnTo>
                  <a:lnTo>
                    <a:pt x="1332" y="30"/>
                  </a:lnTo>
                  <a:lnTo>
                    <a:pt x="1368" y="30"/>
                  </a:lnTo>
                  <a:lnTo>
                    <a:pt x="1392" y="24"/>
                  </a:lnTo>
                  <a:lnTo>
                    <a:pt x="1410" y="18"/>
                  </a:lnTo>
                  <a:lnTo>
                    <a:pt x="1416" y="6"/>
                  </a:lnTo>
                  <a:lnTo>
                    <a:pt x="1500" y="6"/>
                  </a:lnTo>
                  <a:lnTo>
                    <a:pt x="1506" y="0"/>
                  </a:lnTo>
                  <a:lnTo>
                    <a:pt x="1506" y="6"/>
                  </a:lnTo>
                  <a:lnTo>
                    <a:pt x="1506" y="18"/>
                  </a:lnTo>
                  <a:lnTo>
                    <a:pt x="1506" y="24"/>
                  </a:lnTo>
                  <a:lnTo>
                    <a:pt x="1500" y="30"/>
                  </a:lnTo>
                  <a:lnTo>
                    <a:pt x="1500" y="42"/>
                  </a:lnTo>
                  <a:lnTo>
                    <a:pt x="1494" y="54"/>
                  </a:lnTo>
                  <a:lnTo>
                    <a:pt x="1488" y="60"/>
                  </a:lnTo>
                  <a:lnTo>
                    <a:pt x="1482" y="60"/>
                  </a:lnTo>
                  <a:lnTo>
                    <a:pt x="1476" y="66"/>
                  </a:lnTo>
                  <a:lnTo>
                    <a:pt x="1476" y="72"/>
                  </a:lnTo>
                  <a:lnTo>
                    <a:pt x="1476" y="78"/>
                  </a:lnTo>
                  <a:lnTo>
                    <a:pt x="1470" y="78"/>
                  </a:lnTo>
                  <a:lnTo>
                    <a:pt x="1464" y="90"/>
                  </a:lnTo>
                  <a:lnTo>
                    <a:pt x="1458" y="96"/>
                  </a:lnTo>
                  <a:lnTo>
                    <a:pt x="1458" y="102"/>
                  </a:lnTo>
                  <a:lnTo>
                    <a:pt x="1452" y="120"/>
                  </a:lnTo>
                  <a:lnTo>
                    <a:pt x="1452" y="132"/>
                  </a:lnTo>
                  <a:lnTo>
                    <a:pt x="1446" y="144"/>
                  </a:lnTo>
                  <a:lnTo>
                    <a:pt x="1446" y="150"/>
                  </a:lnTo>
                  <a:lnTo>
                    <a:pt x="1440" y="150"/>
                  </a:lnTo>
                  <a:lnTo>
                    <a:pt x="1434" y="156"/>
                  </a:lnTo>
                  <a:lnTo>
                    <a:pt x="1428" y="168"/>
                  </a:lnTo>
                  <a:lnTo>
                    <a:pt x="1422" y="168"/>
                  </a:lnTo>
                  <a:lnTo>
                    <a:pt x="1416" y="174"/>
                  </a:lnTo>
                  <a:lnTo>
                    <a:pt x="1410" y="186"/>
                  </a:lnTo>
                  <a:lnTo>
                    <a:pt x="1410" y="204"/>
                  </a:lnTo>
                  <a:lnTo>
                    <a:pt x="1404" y="210"/>
                  </a:lnTo>
                  <a:lnTo>
                    <a:pt x="1404" y="216"/>
                  </a:lnTo>
                  <a:lnTo>
                    <a:pt x="1410" y="228"/>
                  </a:lnTo>
                  <a:lnTo>
                    <a:pt x="1410" y="234"/>
                  </a:lnTo>
                  <a:lnTo>
                    <a:pt x="1410" y="240"/>
                  </a:lnTo>
                  <a:lnTo>
                    <a:pt x="1416" y="252"/>
                  </a:lnTo>
                  <a:lnTo>
                    <a:pt x="1416" y="258"/>
                  </a:lnTo>
                  <a:lnTo>
                    <a:pt x="1422" y="264"/>
                  </a:lnTo>
                  <a:lnTo>
                    <a:pt x="1422" y="270"/>
                  </a:lnTo>
                  <a:lnTo>
                    <a:pt x="1422" y="282"/>
                  </a:lnTo>
                  <a:lnTo>
                    <a:pt x="1416" y="288"/>
                  </a:lnTo>
                  <a:lnTo>
                    <a:pt x="1410" y="294"/>
                  </a:lnTo>
                  <a:lnTo>
                    <a:pt x="1404" y="300"/>
                  </a:lnTo>
                  <a:lnTo>
                    <a:pt x="1404" y="306"/>
                  </a:lnTo>
                  <a:lnTo>
                    <a:pt x="1398" y="324"/>
                  </a:lnTo>
                  <a:lnTo>
                    <a:pt x="1404" y="330"/>
                  </a:lnTo>
                  <a:lnTo>
                    <a:pt x="1404" y="342"/>
                  </a:lnTo>
                  <a:lnTo>
                    <a:pt x="1392" y="354"/>
                  </a:lnTo>
                  <a:lnTo>
                    <a:pt x="1392" y="360"/>
                  </a:lnTo>
                  <a:lnTo>
                    <a:pt x="1392" y="372"/>
                  </a:lnTo>
                  <a:lnTo>
                    <a:pt x="1392" y="384"/>
                  </a:lnTo>
                  <a:lnTo>
                    <a:pt x="1392" y="396"/>
                  </a:lnTo>
                  <a:lnTo>
                    <a:pt x="1392" y="408"/>
                  </a:lnTo>
                  <a:lnTo>
                    <a:pt x="1386" y="414"/>
                  </a:lnTo>
                  <a:lnTo>
                    <a:pt x="1380" y="420"/>
                  </a:lnTo>
                  <a:lnTo>
                    <a:pt x="1380" y="426"/>
                  </a:lnTo>
                  <a:lnTo>
                    <a:pt x="1368" y="432"/>
                  </a:lnTo>
                  <a:lnTo>
                    <a:pt x="1362" y="444"/>
                  </a:lnTo>
                  <a:lnTo>
                    <a:pt x="1362" y="450"/>
                  </a:lnTo>
                  <a:lnTo>
                    <a:pt x="1362" y="462"/>
                  </a:lnTo>
                  <a:lnTo>
                    <a:pt x="1362" y="468"/>
                  </a:lnTo>
                  <a:lnTo>
                    <a:pt x="1362" y="474"/>
                  </a:lnTo>
                  <a:lnTo>
                    <a:pt x="1356" y="474"/>
                  </a:lnTo>
                  <a:lnTo>
                    <a:pt x="1350" y="480"/>
                  </a:lnTo>
                  <a:lnTo>
                    <a:pt x="1344" y="486"/>
                  </a:lnTo>
                  <a:lnTo>
                    <a:pt x="1338" y="498"/>
                  </a:lnTo>
                  <a:lnTo>
                    <a:pt x="1332" y="510"/>
                  </a:lnTo>
                  <a:lnTo>
                    <a:pt x="1320" y="510"/>
                  </a:lnTo>
                  <a:lnTo>
                    <a:pt x="1314" y="516"/>
                  </a:lnTo>
                  <a:lnTo>
                    <a:pt x="1302" y="522"/>
                  </a:lnTo>
                  <a:lnTo>
                    <a:pt x="1296" y="522"/>
                  </a:lnTo>
                  <a:lnTo>
                    <a:pt x="1284" y="516"/>
                  </a:lnTo>
                  <a:lnTo>
                    <a:pt x="1278" y="516"/>
                  </a:lnTo>
                  <a:lnTo>
                    <a:pt x="1272" y="522"/>
                  </a:lnTo>
                  <a:lnTo>
                    <a:pt x="1266" y="522"/>
                  </a:lnTo>
                  <a:lnTo>
                    <a:pt x="1266" y="528"/>
                  </a:lnTo>
                  <a:lnTo>
                    <a:pt x="1254" y="540"/>
                  </a:lnTo>
                  <a:lnTo>
                    <a:pt x="1248" y="546"/>
                  </a:lnTo>
                  <a:lnTo>
                    <a:pt x="1242" y="558"/>
                  </a:lnTo>
                  <a:lnTo>
                    <a:pt x="1230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30" y="594"/>
                  </a:lnTo>
                  <a:lnTo>
                    <a:pt x="1230" y="600"/>
                  </a:lnTo>
                  <a:lnTo>
                    <a:pt x="1236" y="606"/>
                  </a:lnTo>
                  <a:lnTo>
                    <a:pt x="1242" y="606"/>
                  </a:lnTo>
                  <a:lnTo>
                    <a:pt x="1242" y="612"/>
                  </a:lnTo>
                  <a:lnTo>
                    <a:pt x="1242" y="618"/>
                  </a:lnTo>
                  <a:lnTo>
                    <a:pt x="1242" y="624"/>
                  </a:lnTo>
                  <a:lnTo>
                    <a:pt x="1236" y="630"/>
                  </a:lnTo>
                  <a:lnTo>
                    <a:pt x="1230" y="642"/>
                  </a:lnTo>
                  <a:lnTo>
                    <a:pt x="1230" y="648"/>
                  </a:lnTo>
                  <a:lnTo>
                    <a:pt x="1218" y="654"/>
                  </a:lnTo>
                  <a:lnTo>
                    <a:pt x="1212" y="654"/>
                  </a:lnTo>
                  <a:lnTo>
                    <a:pt x="1212" y="660"/>
                  </a:lnTo>
                  <a:lnTo>
                    <a:pt x="1212" y="666"/>
                  </a:lnTo>
                  <a:lnTo>
                    <a:pt x="1212" y="672"/>
                  </a:lnTo>
                  <a:lnTo>
                    <a:pt x="1212" y="678"/>
                  </a:lnTo>
                  <a:lnTo>
                    <a:pt x="1218" y="684"/>
                  </a:lnTo>
                  <a:lnTo>
                    <a:pt x="1218" y="690"/>
                  </a:lnTo>
                  <a:lnTo>
                    <a:pt x="1224" y="696"/>
                  </a:lnTo>
                  <a:lnTo>
                    <a:pt x="1230" y="702"/>
                  </a:lnTo>
                  <a:lnTo>
                    <a:pt x="1236" y="696"/>
                  </a:lnTo>
                  <a:lnTo>
                    <a:pt x="1242" y="702"/>
                  </a:lnTo>
                  <a:lnTo>
                    <a:pt x="1248" y="708"/>
                  </a:lnTo>
                  <a:lnTo>
                    <a:pt x="1254" y="714"/>
                  </a:lnTo>
                  <a:lnTo>
                    <a:pt x="1254" y="720"/>
                  </a:lnTo>
                  <a:lnTo>
                    <a:pt x="1260" y="720"/>
                  </a:lnTo>
                  <a:lnTo>
                    <a:pt x="1254" y="732"/>
                  </a:lnTo>
                  <a:lnTo>
                    <a:pt x="1248" y="738"/>
                  </a:lnTo>
                  <a:lnTo>
                    <a:pt x="1242" y="744"/>
                  </a:lnTo>
                  <a:lnTo>
                    <a:pt x="1236" y="750"/>
                  </a:lnTo>
                  <a:lnTo>
                    <a:pt x="1236" y="756"/>
                  </a:lnTo>
                  <a:lnTo>
                    <a:pt x="1236" y="762"/>
                  </a:lnTo>
                  <a:lnTo>
                    <a:pt x="1236" y="768"/>
                  </a:lnTo>
                  <a:lnTo>
                    <a:pt x="1236" y="780"/>
                  </a:lnTo>
                  <a:lnTo>
                    <a:pt x="1230" y="780"/>
                  </a:lnTo>
                  <a:lnTo>
                    <a:pt x="1230" y="786"/>
                  </a:lnTo>
                  <a:lnTo>
                    <a:pt x="1230" y="792"/>
                  </a:lnTo>
                  <a:lnTo>
                    <a:pt x="1230" y="804"/>
                  </a:lnTo>
                  <a:lnTo>
                    <a:pt x="1224" y="810"/>
                  </a:lnTo>
                  <a:lnTo>
                    <a:pt x="1218" y="816"/>
                  </a:lnTo>
                  <a:lnTo>
                    <a:pt x="1224" y="822"/>
                  </a:lnTo>
                  <a:lnTo>
                    <a:pt x="1224" y="828"/>
                  </a:lnTo>
                  <a:lnTo>
                    <a:pt x="1218" y="834"/>
                  </a:lnTo>
                  <a:lnTo>
                    <a:pt x="1224" y="834"/>
                  </a:lnTo>
                  <a:lnTo>
                    <a:pt x="1224" y="840"/>
                  </a:lnTo>
                  <a:lnTo>
                    <a:pt x="1224" y="846"/>
                  </a:lnTo>
                  <a:lnTo>
                    <a:pt x="1224" y="852"/>
                  </a:lnTo>
                  <a:lnTo>
                    <a:pt x="1218" y="858"/>
                  </a:lnTo>
                  <a:lnTo>
                    <a:pt x="1218" y="870"/>
                  </a:lnTo>
                  <a:lnTo>
                    <a:pt x="1212" y="870"/>
                  </a:lnTo>
                  <a:lnTo>
                    <a:pt x="1212" y="876"/>
                  </a:lnTo>
                  <a:lnTo>
                    <a:pt x="1206" y="888"/>
                  </a:lnTo>
                  <a:lnTo>
                    <a:pt x="1200" y="882"/>
                  </a:lnTo>
                  <a:lnTo>
                    <a:pt x="1194" y="888"/>
                  </a:lnTo>
                  <a:lnTo>
                    <a:pt x="1188" y="894"/>
                  </a:lnTo>
                  <a:lnTo>
                    <a:pt x="1182" y="894"/>
                  </a:lnTo>
                  <a:lnTo>
                    <a:pt x="1182" y="900"/>
                  </a:lnTo>
                  <a:lnTo>
                    <a:pt x="1176" y="900"/>
                  </a:lnTo>
                  <a:lnTo>
                    <a:pt x="1170" y="894"/>
                  </a:lnTo>
                  <a:lnTo>
                    <a:pt x="1164" y="900"/>
                  </a:lnTo>
                  <a:lnTo>
                    <a:pt x="1158" y="900"/>
                  </a:lnTo>
                  <a:lnTo>
                    <a:pt x="1152" y="900"/>
                  </a:lnTo>
                  <a:lnTo>
                    <a:pt x="1140" y="900"/>
                  </a:lnTo>
                  <a:lnTo>
                    <a:pt x="1134" y="900"/>
                  </a:lnTo>
                  <a:lnTo>
                    <a:pt x="1128" y="906"/>
                  </a:lnTo>
                  <a:lnTo>
                    <a:pt x="1110" y="906"/>
                  </a:lnTo>
                  <a:lnTo>
                    <a:pt x="1104" y="906"/>
                  </a:lnTo>
                  <a:lnTo>
                    <a:pt x="1098" y="906"/>
                  </a:lnTo>
                  <a:lnTo>
                    <a:pt x="1092" y="912"/>
                  </a:lnTo>
                  <a:lnTo>
                    <a:pt x="1080" y="918"/>
                  </a:lnTo>
                  <a:lnTo>
                    <a:pt x="1068" y="930"/>
                  </a:lnTo>
                  <a:lnTo>
                    <a:pt x="1062" y="930"/>
                  </a:lnTo>
                  <a:lnTo>
                    <a:pt x="1056" y="930"/>
                  </a:lnTo>
                  <a:lnTo>
                    <a:pt x="1050" y="930"/>
                  </a:lnTo>
                  <a:lnTo>
                    <a:pt x="1050" y="936"/>
                  </a:lnTo>
                  <a:lnTo>
                    <a:pt x="1038" y="942"/>
                  </a:lnTo>
                  <a:lnTo>
                    <a:pt x="1032" y="948"/>
                  </a:lnTo>
                  <a:lnTo>
                    <a:pt x="1026" y="954"/>
                  </a:lnTo>
                  <a:lnTo>
                    <a:pt x="1020" y="960"/>
                  </a:lnTo>
                  <a:lnTo>
                    <a:pt x="1014" y="966"/>
                  </a:lnTo>
                  <a:lnTo>
                    <a:pt x="1002" y="966"/>
                  </a:lnTo>
                  <a:lnTo>
                    <a:pt x="990" y="978"/>
                  </a:lnTo>
                  <a:lnTo>
                    <a:pt x="984" y="978"/>
                  </a:lnTo>
                  <a:lnTo>
                    <a:pt x="978" y="984"/>
                  </a:lnTo>
                  <a:lnTo>
                    <a:pt x="972" y="984"/>
                  </a:lnTo>
                  <a:lnTo>
                    <a:pt x="978" y="990"/>
                  </a:lnTo>
                  <a:lnTo>
                    <a:pt x="972" y="996"/>
                  </a:lnTo>
                  <a:lnTo>
                    <a:pt x="978" y="1002"/>
                  </a:lnTo>
                  <a:lnTo>
                    <a:pt x="1002" y="1002"/>
                  </a:lnTo>
                  <a:lnTo>
                    <a:pt x="1002" y="1008"/>
                  </a:lnTo>
                  <a:lnTo>
                    <a:pt x="1008" y="1020"/>
                  </a:lnTo>
                  <a:lnTo>
                    <a:pt x="1002" y="1026"/>
                  </a:lnTo>
                  <a:lnTo>
                    <a:pt x="1002" y="1032"/>
                  </a:lnTo>
                  <a:lnTo>
                    <a:pt x="1002" y="1050"/>
                  </a:lnTo>
                  <a:lnTo>
                    <a:pt x="1002" y="1056"/>
                  </a:lnTo>
                  <a:lnTo>
                    <a:pt x="1008" y="1062"/>
                  </a:lnTo>
                  <a:lnTo>
                    <a:pt x="1008" y="1074"/>
                  </a:lnTo>
                  <a:lnTo>
                    <a:pt x="1008" y="1086"/>
                  </a:lnTo>
                  <a:lnTo>
                    <a:pt x="996" y="1092"/>
                  </a:lnTo>
                  <a:lnTo>
                    <a:pt x="996" y="1098"/>
                  </a:lnTo>
                  <a:lnTo>
                    <a:pt x="996" y="1104"/>
                  </a:lnTo>
                  <a:lnTo>
                    <a:pt x="990" y="1110"/>
                  </a:lnTo>
                  <a:lnTo>
                    <a:pt x="990" y="1116"/>
                  </a:lnTo>
                  <a:lnTo>
                    <a:pt x="996" y="1122"/>
                  </a:lnTo>
                  <a:lnTo>
                    <a:pt x="990" y="1128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96" y="1140"/>
                  </a:lnTo>
                  <a:lnTo>
                    <a:pt x="996" y="1146"/>
                  </a:lnTo>
                  <a:lnTo>
                    <a:pt x="996" y="1152"/>
                  </a:lnTo>
                  <a:lnTo>
                    <a:pt x="996" y="1158"/>
                  </a:lnTo>
                  <a:lnTo>
                    <a:pt x="996" y="1164"/>
                  </a:lnTo>
                  <a:lnTo>
                    <a:pt x="996" y="1170"/>
                  </a:lnTo>
                  <a:lnTo>
                    <a:pt x="996" y="1176"/>
                  </a:lnTo>
                  <a:lnTo>
                    <a:pt x="990" y="1182"/>
                  </a:lnTo>
                  <a:lnTo>
                    <a:pt x="990" y="1188"/>
                  </a:lnTo>
                  <a:lnTo>
                    <a:pt x="984" y="1200"/>
                  </a:lnTo>
                  <a:lnTo>
                    <a:pt x="990" y="1206"/>
                  </a:lnTo>
                  <a:lnTo>
                    <a:pt x="990" y="1212"/>
                  </a:lnTo>
                  <a:lnTo>
                    <a:pt x="990" y="1218"/>
                  </a:lnTo>
                  <a:lnTo>
                    <a:pt x="978" y="1230"/>
                  </a:lnTo>
                  <a:lnTo>
                    <a:pt x="972" y="1236"/>
                  </a:lnTo>
                  <a:lnTo>
                    <a:pt x="972" y="1242"/>
                  </a:lnTo>
                  <a:lnTo>
                    <a:pt x="966" y="1248"/>
                  </a:lnTo>
                  <a:lnTo>
                    <a:pt x="960" y="1260"/>
                  </a:lnTo>
                  <a:lnTo>
                    <a:pt x="954" y="1266"/>
                  </a:lnTo>
                  <a:lnTo>
                    <a:pt x="942" y="1278"/>
                  </a:lnTo>
                  <a:lnTo>
                    <a:pt x="936" y="1278"/>
                  </a:lnTo>
                  <a:lnTo>
                    <a:pt x="936" y="1284"/>
                  </a:lnTo>
                  <a:lnTo>
                    <a:pt x="936" y="1296"/>
                  </a:lnTo>
                  <a:lnTo>
                    <a:pt x="936" y="1302"/>
                  </a:lnTo>
                  <a:lnTo>
                    <a:pt x="942" y="1302"/>
                  </a:lnTo>
                  <a:lnTo>
                    <a:pt x="942" y="1308"/>
                  </a:lnTo>
                  <a:lnTo>
                    <a:pt x="936" y="1314"/>
                  </a:lnTo>
                  <a:lnTo>
                    <a:pt x="930" y="1320"/>
                  </a:lnTo>
                  <a:lnTo>
                    <a:pt x="930" y="1326"/>
                  </a:lnTo>
                  <a:lnTo>
                    <a:pt x="930" y="1332"/>
                  </a:lnTo>
                  <a:lnTo>
                    <a:pt x="936" y="1338"/>
                  </a:lnTo>
                  <a:lnTo>
                    <a:pt x="936" y="1344"/>
                  </a:lnTo>
                  <a:lnTo>
                    <a:pt x="942" y="1356"/>
                  </a:lnTo>
                  <a:lnTo>
                    <a:pt x="948" y="1368"/>
                  </a:lnTo>
                  <a:lnTo>
                    <a:pt x="942" y="1380"/>
                  </a:lnTo>
                  <a:lnTo>
                    <a:pt x="936" y="1386"/>
                  </a:lnTo>
                  <a:lnTo>
                    <a:pt x="930" y="1392"/>
                  </a:lnTo>
                  <a:lnTo>
                    <a:pt x="924" y="1392"/>
                  </a:lnTo>
                  <a:lnTo>
                    <a:pt x="918" y="1386"/>
                  </a:lnTo>
                  <a:lnTo>
                    <a:pt x="912" y="1386"/>
                  </a:lnTo>
                  <a:lnTo>
                    <a:pt x="906" y="1386"/>
                  </a:lnTo>
                  <a:lnTo>
                    <a:pt x="900" y="1386"/>
                  </a:lnTo>
                  <a:lnTo>
                    <a:pt x="900" y="1392"/>
                  </a:lnTo>
                  <a:lnTo>
                    <a:pt x="894" y="1392"/>
                  </a:lnTo>
                  <a:lnTo>
                    <a:pt x="888" y="1392"/>
                  </a:lnTo>
                  <a:lnTo>
                    <a:pt x="888" y="1398"/>
                  </a:lnTo>
                  <a:lnTo>
                    <a:pt x="882" y="1404"/>
                  </a:lnTo>
                  <a:lnTo>
                    <a:pt x="882" y="1416"/>
                  </a:lnTo>
                  <a:lnTo>
                    <a:pt x="882" y="1428"/>
                  </a:lnTo>
                  <a:lnTo>
                    <a:pt x="882" y="1434"/>
                  </a:lnTo>
                  <a:lnTo>
                    <a:pt x="870" y="1440"/>
                  </a:lnTo>
                  <a:lnTo>
                    <a:pt x="864" y="1452"/>
                  </a:lnTo>
                  <a:lnTo>
                    <a:pt x="870" y="1452"/>
                  </a:lnTo>
                  <a:lnTo>
                    <a:pt x="864" y="1458"/>
                  </a:lnTo>
                  <a:lnTo>
                    <a:pt x="858" y="1464"/>
                  </a:lnTo>
                  <a:lnTo>
                    <a:pt x="852" y="1464"/>
                  </a:lnTo>
                  <a:lnTo>
                    <a:pt x="846" y="1458"/>
                  </a:lnTo>
                  <a:lnTo>
                    <a:pt x="840" y="1458"/>
                  </a:lnTo>
                  <a:lnTo>
                    <a:pt x="828" y="1470"/>
                  </a:lnTo>
                  <a:lnTo>
                    <a:pt x="810" y="1482"/>
                  </a:lnTo>
                  <a:lnTo>
                    <a:pt x="804" y="1488"/>
                  </a:lnTo>
                  <a:lnTo>
                    <a:pt x="798" y="1488"/>
                  </a:lnTo>
                  <a:lnTo>
                    <a:pt x="792" y="1488"/>
                  </a:lnTo>
                  <a:lnTo>
                    <a:pt x="786" y="1488"/>
                  </a:lnTo>
                  <a:lnTo>
                    <a:pt x="768" y="1482"/>
                  </a:lnTo>
                  <a:lnTo>
                    <a:pt x="762" y="1476"/>
                  </a:lnTo>
                  <a:lnTo>
                    <a:pt x="744" y="1476"/>
                  </a:lnTo>
                  <a:lnTo>
                    <a:pt x="738" y="1476"/>
                  </a:lnTo>
                  <a:lnTo>
                    <a:pt x="732" y="1476"/>
                  </a:lnTo>
                  <a:lnTo>
                    <a:pt x="726" y="1482"/>
                  </a:lnTo>
                  <a:lnTo>
                    <a:pt x="726" y="1488"/>
                  </a:lnTo>
                  <a:lnTo>
                    <a:pt x="726" y="1494"/>
                  </a:lnTo>
                  <a:lnTo>
                    <a:pt x="726" y="1500"/>
                  </a:lnTo>
                  <a:lnTo>
                    <a:pt x="720" y="1500"/>
                  </a:lnTo>
                  <a:lnTo>
                    <a:pt x="720" y="1506"/>
                  </a:lnTo>
                  <a:lnTo>
                    <a:pt x="714" y="1512"/>
                  </a:lnTo>
                  <a:lnTo>
                    <a:pt x="714" y="1518"/>
                  </a:lnTo>
                  <a:lnTo>
                    <a:pt x="708" y="1518"/>
                  </a:lnTo>
                  <a:lnTo>
                    <a:pt x="708" y="1530"/>
                  </a:lnTo>
                  <a:lnTo>
                    <a:pt x="708" y="1536"/>
                  </a:lnTo>
                  <a:lnTo>
                    <a:pt x="708" y="1542"/>
                  </a:lnTo>
                  <a:lnTo>
                    <a:pt x="696" y="1554"/>
                  </a:lnTo>
                  <a:lnTo>
                    <a:pt x="690" y="1560"/>
                  </a:lnTo>
                  <a:lnTo>
                    <a:pt x="684" y="1566"/>
                  </a:lnTo>
                  <a:lnTo>
                    <a:pt x="672" y="1566"/>
                  </a:lnTo>
                  <a:lnTo>
                    <a:pt x="666" y="1566"/>
                  </a:lnTo>
                  <a:lnTo>
                    <a:pt x="660" y="1566"/>
                  </a:lnTo>
                  <a:lnTo>
                    <a:pt x="654" y="1572"/>
                  </a:lnTo>
                  <a:lnTo>
                    <a:pt x="654" y="1578"/>
                  </a:lnTo>
                  <a:lnTo>
                    <a:pt x="642" y="1578"/>
                  </a:lnTo>
                  <a:lnTo>
                    <a:pt x="630" y="1572"/>
                  </a:lnTo>
                  <a:lnTo>
                    <a:pt x="624" y="1572"/>
                  </a:lnTo>
                  <a:lnTo>
                    <a:pt x="618" y="1578"/>
                  </a:lnTo>
                  <a:lnTo>
                    <a:pt x="612" y="1584"/>
                  </a:lnTo>
                  <a:lnTo>
                    <a:pt x="606" y="1584"/>
                  </a:lnTo>
                  <a:lnTo>
                    <a:pt x="600" y="1590"/>
                  </a:lnTo>
                  <a:lnTo>
                    <a:pt x="594" y="1590"/>
                  </a:lnTo>
                  <a:lnTo>
                    <a:pt x="588" y="1590"/>
                  </a:lnTo>
                  <a:lnTo>
                    <a:pt x="582" y="1590"/>
                  </a:lnTo>
                  <a:lnTo>
                    <a:pt x="582" y="1596"/>
                  </a:lnTo>
                  <a:lnTo>
                    <a:pt x="576" y="1614"/>
                  </a:lnTo>
                  <a:lnTo>
                    <a:pt x="570" y="1632"/>
                  </a:lnTo>
                  <a:lnTo>
                    <a:pt x="570" y="1638"/>
                  </a:lnTo>
                  <a:lnTo>
                    <a:pt x="576" y="1644"/>
                  </a:lnTo>
                  <a:lnTo>
                    <a:pt x="576" y="1650"/>
                  </a:lnTo>
                  <a:lnTo>
                    <a:pt x="582" y="1662"/>
                  </a:lnTo>
                  <a:lnTo>
                    <a:pt x="582" y="1668"/>
                  </a:lnTo>
                  <a:lnTo>
                    <a:pt x="588" y="1692"/>
                  </a:lnTo>
                  <a:lnTo>
                    <a:pt x="594" y="1728"/>
                  </a:lnTo>
                  <a:lnTo>
                    <a:pt x="594" y="1752"/>
                  </a:lnTo>
                  <a:lnTo>
                    <a:pt x="594" y="1764"/>
                  </a:lnTo>
                  <a:lnTo>
                    <a:pt x="582" y="1770"/>
                  </a:lnTo>
                  <a:lnTo>
                    <a:pt x="582" y="1782"/>
                  </a:lnTo>
                  <a:lnTo>
                    <a:pt x="576" y="1788"/>
                  </a:lnTo>
                  <a:lnTo>
                    <a:pt x="570" y="1794"/>
                  </a:lnTo>
                  <a:lnTo>
                    <a:pt x="564" y="1806"/>
                  </a:lnTo>
                  <a:lnTo>
                    <a:pt x="564" y="1812"/>
                  </a:lnTo>
                  <a:lnTo>
                    <a:pt x="558" y="1812"/>
                  </a:lnTo>
                  <a:lnTo>
                    <a:pt x="564" y="1824"/>
                  </a:lnTo>
                  <a:lnTo>
                    <a:pt x="564" y="1830"/>
                  </a:lnTo>
                  <a:lnTo>
                    <a:pt x="564" y="1842"/>
                  </a:lnTo>
                  <a:lnTo>
                    <a:pt x="564" y="1848"/>
                  </a:lnTo>
                  <a:lnTo>
                    <a:pt x="564" y="1854"/>
                  </a:lnTo>
                  <a:lnTo>
                    <a:pt x="570" y="1860"/>
                  </a:lnTo>
                  <a:lnTo>
                    <a:pt x="570" y="1866"/>
                  </a:lnTo>
                  <a:lnTo>
                    <a:pt x="570" y="1872"/>
                  </a:lnTo>
                  <a:lnTo>
                    <a:pt x="570" y="1878"/>
                  </a:lnTo>
                  <a:lnTo>
                    <a:pt x="564" y="1890"/>
                  </a:lnTo>
                  <a:lnTo>
                    <a:pt x="558" y="1896"/>
                  </a:lnTo>
                  <a:lnTo>
                    <a:pt x="552" y="1908"/>
                  </a:lnTo>
                  <a:lnTo>
                    <a:pt x="546" y="1914"/>
                  </a:lnTo>
                  <a:lnTo>
                    <a:pt x="540" y="1920"/>
                  </a:lnTo>
                  <a:lnTo>
                    <a:pt x="534" y="1932"/>
                  </a:lnTo>
                  <a:lnTo>
                    <a:pt x="528" y="1944"/>
                  </a:lnTo>
                  <a:lnTo>
                    <a:pt x="516" y="1950"/>
                  </a:lnTo>
                  <a:lnTo>
                    <a:pt x="510" y="1956"/>
                  </a:lnTo>
                  <a:lnTo>
                    <a:pt x="498" y="1962"/>
                  </a:lnTo>
                  <a:lnTo>
                    <a:pt x="492" y="1974"/>
                  </a:lnTo>
                  <a:lnTo>
                    <a:pt x="486" y="1980"/>
                  </a:lnTo>
                  <a:lnTo>
                    <a:pt x="480" y="1998"/>
                  </a:lnTo>
                  <a:lnTo>
                    <a:pt x="474" y="2004"/>
                  </a:lnTo>
                  <a:lnTo>
                    <a:pt x="474" y="2010"/>
                  </a:lnTo>
                  <a:lnTo>
                    <a:pt x="474" y="2016"/>
                  </a:lnTo>
                  <a:lnTo>
                    <a:pt x="468" y="2016"/>
                  </a:lnTo>
                  <a:lnTo>
                    <a:pt x="468" y="2028"/>
                  </a:lnTo>
                  <a:lnTo>
                    <a:pt x="462" y="2034"/>
                  </a:lnTo>
                  <a:lnTo>
                    <a:pt x="456" y="2040"/>
                  </a:lnTo>
                  <a:lnTo>
                    <a:pt x="456" y="2052"/>
                  </a:lnTo>
                  <a:lnTo>
                    <a:pt x="450" y="2058"/>
                  </a:lnTo>
                  <a:lnTo>
                    <a:pt x="450" y="2070"/>
                  </a:lnTo>
                  <a:lnTo>
                    <a:pt x="450" y="2076"/>
                  </a:lnTo>
                  <a:lnTo>
                    <a:pt x="450" y="2082"/>
                  </a:lnTo>
                  <a:lnTo>
                    <a:pt x="444" y="2088"/>
                  </a:lnTo>
                  <a:lnTo>
                    <a:pt x="438" y="2094"/>
                  </a:lnTo>
                  <a:lnTo>
                    <a:pt x="444" y="2100"/>
                  </a:lnTo>
                  <a:lnTo>
                    <a:pt x="444" y="2124"/>
                  </a:lnTo>
                  <a:lnTo>
                    <a:pt x="444" y="2142"/>
                  </a:lnTo>
                  <a:lnTo>
                    <a:pt x="444" y="2160"/>
                  </a:lnTo>
                  <a:lnTo>
                    <a:pt x="450" y="2166"/>
                  </a:lnTo>
                  <a:lnTo>
                    <a:pt x="456" y="2178"/>
                  </a:lnTo>
                  <a:lnTo>
                    <a:pt x="438" y="2184"/>
                  </a:lnTo>
                  <a:lnTo>
                    <a:pt x="432" y="2184"/>
                  </a:lnTo>
                  <a:lnTo>
                    <a:pt x="426" y="2190"/>
                  </a:lnTo>
                  <a:lnTo>
                    <a:pt x="408" y="2190"/>
                  </a:lnTo>
                  <a:lnTo>
                    <a:pt x="402" y="2196"/>
                  </a:lnTo>
                  <a:lnTo>
                    <a:pt x="396" y="2196"/>
                  </a:lnTo>
                  <a:lnTo>
                    <a:pt x="384" y="2208"/>
                  </a:lnTo>
                  <a:lnTo>
                    <a:pt x="378" y="2220"/>
                  </a:lnTo>
                  <a:lnTo>
                    <a:pt x="366" y="2232"/>
                  </a:lnTo>
                  <a:lnTo>
                    <a:pt x="366" y="2238"/>
                  </a:lnTo>
                  <a:lnTo>
                    <a:pt x="360" y="2238"/>
                  </a:lnTo>
                  <a:lnTo>
                    <a:pt x="360" y="2244"/>
                  </a:lnTo>
                  <a:lnTo>
                    <a:pt x="354" y="2244"/>
                  </a:lnTo>
                  <a:lnTo>
                    <a:pt x="330" y="227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5" name="Freeform 10">
              <a:extLst>
                <a:ext uri="{FF2B5EF4-FFF2-40B4-BE49-F238E27FC236}">
                  <a16:creationId xmlns:a16="http://schemas.microsoft.com/office/drawing/2014/main" id="{3AD2FC58-3490-4B7F-A8BE-621F3CDD69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1996" y="1931890"/>
              <a:ext cx="805029" cy="1037736"/>
            </a:xfrm>
            <a:custGeom>
              <a:avLst/>
              <a:gdLst>
                <a:gd name="T0" fmla="*/ 124 w 1512"/>
                <a:gd name="T1" fmla="*/ 76 h 1956"/>
                <a:gd name="T2" fmla="*/ 120 w 1512"/>
                <a:gd name="T3" fmla="*/ 80 h 1956"/>
                <a:gd name="T4" fmla="*/ 106 w 1512"/>
                <a:gd name="T5" fmla="*/ 84 h 1956"/>
                <a:gd name="T6" fmla="*/ 105 w 1512"/>
                <a:gd name="T7" fmla="*/ 91 h 1956"/>
                <a:gd name="T8" fmla="*/ 101 w 1512"/>
                <a:gd name="T9" fmla="*/ 99 h 1956"/>
                <a:gd name="T10" fmla="*/ 105 w 1512"/>
                <a:gd name="T11" fmla="*/ 107 h 1956"/>
                <a:gd name="T12" fmla="*/ 119 w 1512"/>
                <a:gd name="T13" fmla="*/ 116 h 1956"/>
                <a:gd name="T14" fmla="*/ 121 w 1512"/>
                <a:gd name="T15" fmla="*/ 128 h 1956"/>
                <a:gd name="T16" fmla="*/ 112 w 1512"/>
                <a:gd name="T17" fmla="*/ 136 h 1956"/>
                <a:gd name="T18" fmla="*/ 119 w 1512"/>
                <a:gd name="T19" fmla="*/ 143 h 1956"/>
                <a:gd name="T20" fmla="*/ 126 w 1512"/>
                <a:gd name="T21" fmla="*/ 148 h 1956"/>
                <a:gd name="T22" fmla="*/ 126 w 1512"/>
                <a:gd name="T23" fmla="*/ 160 h 1956"/>
                <a:gd name="T24" fmla="*/ 104 w 1512"/>
                <a:gd name="T25" fmla="*/ 170 h 1956"/>
                <a:gd name="T26" fmla="*/ 99 w 1512"/>
                <a:gd name="T27" fmla="*/ 164 h 1956"/>
                <a:gd name="T28" fmla="*/ 73 w 1512"/>
                <a:gd name="T29" fmla="*/ 152 h 1956"/>
                <a:gd name="T30" fmla="*/ 56 w 1512"/>
                <a:gd name="T31" fmla="*/ 165 h 1956"/>
                <a:gd name="T32" fmla="*/ 33 w 1512"/>
                <a:gd name="T33" fmla="*/ 162 h 1956"/>
                <a:gd name="T34" fmla="*/ 25 w 1512"/>
                <a:gd name="T35" fmla="*/ 155 h 1956"/>
                <a:gd name="T36" fmla="*/ 31 w 1512"/>
                <a:gd name="T37" fmla="*/ 142 h 1956"/>
                <a:gd name="T38" fmla="*/ 24 w 1512"/>
                <a:gd name="T39" fmla="*/ 137 h 1956"/>
                <a:gd name="T40" fmla="*/ 14 w 1512"/>
                <a:gd name="T41" fmla="*/ 136 h 1956"/>
                <a:gd name="T42" fmla="*/ 11 w 1512"/>
                <a:gd name="T43" fmla="*/ 125 h 1956"/>
                <a:gd name="T44" fmla="*/ 3 w 1512"/>
                <a:gd name="T45" fmla="*/ 116 h 1956"/>
                <a:gd name="T46" fmla="*/ 2 w 1512"/>
                <a:gd name="T47" fmla="*/ 106 h 1956"/>
                <a:gd name="T48" fmla="*/ 5 w 1512"/>
                <a:gd name="T49" fmla="*/ 101 h 1956"/>
                <a:gd name="T50" fmla="*/ 2 w 1512"/>
                <a:gd name="T51" fmla="*/ 95 h 1956"/>
                <a:gd name="T52" fmla="*/ 1 w 1512"/>
                <a:gd name="T53" fmla="*/ 88 h 1956"/>
                <a:gd name="T54" fmla="*/ 4 w 1512"/>
                <a:gd name="T55" fmla="*/ 80 h 1956"/>
                <a:gd name="T56" fmla="*/ 12 w 1512"/>
                <a:gd name="T57" fmla="*/ 73 h 1956"/>
                <a:gd name="T58" fmla="*/ 16 w 1512"/>
                <a:gd name="T59" fmla="*/ 68 h 1956"/>
                <a:gd name="T60" fmla="*/ 22 w 1512"/>
                <a:gd name="T61" fmla="*/ 66 h 1956"/>
                <a:gd name="T62" fmla="*/ 32 w 1512"/>
                <a:gd name="T63" fmla="*/ 65 h 1956"/>
                <a:gd name="T64" fmla="*/ 45 w 1512"/>
                <a:gd name="T65" fmla="*/ 66 h 1956"/>
                <a:gd name="T66" fmla="*/ 50 w 1512"/>
                <a:gd name="T67" fmla="*/ 70 h 1956"/>
                <a:gd name="T68" fmla="*/ 55 w 1512"/>
                <a:gd name="T69" fmla="*/ 70 h 1956"/>
                <a:gd name="T70" fmla="*/ 63 w 1512"/>
                <a:gd name="T71" fmla="*/ 71 h 1956"/>
                <a:gd name="T72" fmla="*/ 61 w 1512"/>
                <a:gd name="T73" fmla="*/ 75 h 1956"/>
                <a:gd name="T74" fmla="*/ 66 w 1512"/>
                <a:gd name="T75" fmla="*/ 84 h 1956"/>
                <a:gd name="T76" fmla="*/ 81 w 1512"/>
                <a:gd name="T77" fmla="*/ 85 h 1956"/>
                <a:gd name="T78" fmla="*/ 83 w 1512"/>
                <a:gd name="T79" fmla="*/ 79 h 1956"/>
                <a:gd name="T80" fmla="*/ 89 w 1512"/>
                <a:gd name="T81" fmla="*/ 77 h 1956"/>
                <a:gd name="T82" fmla="*/ 89 w 1512"/>
                <a:gd name="T83" fmla="*/ 73 h 1956"/>
                <a:gd name="T84" fmla="*/ 83 w 1512"/>
                <a:gd name="T85" fmla="*/ 72 h 1956"/>
                <a:gd name="T86" fmla="*/ 77 w 1512"/>
                <a:gd name="T87" fmla="*/ 70 h 1956"/>
                <a:gd name="T88" fmla="*/ 71 w 1512"/>
                <a:gd name="T89" fmla="*/ 70 h 1956"/>
                <a:gd name="T90" fmla="*/ 59 w 1512"/>
                <a:gd name="T91" fmla="*/ 58 h 1956"/>
                <a:gd name="T92" fmla="*/ 54 w 1512"/>
                <a:gd name="T93" fmla="*/ 45 h 1956"/>
                <a:gd name="T94" fmla="*/ 49 w 1512"/>
                <a:gd name="T95" fmla="*/ 42 h 1956"/>
                <a:gd name="T96" fmla="*/ 51 w 1512"/>
                <a:gd name="T97" fmla="*/ 39 h 1956"/>
                <a:gd name="T98" fmla="*/ 55 w 1512"/>
                <a:gd name="T99" fmla="*/ 36 h 1956"/>
                <a:gd name="T100" fmla="*/ 63 w 1512"/>
                <a:gd name="T101" fmla="*/ 34 h 1956"/>
                <a:gd name="T102" fmla="*/ 68 w 1512"/>
                <a:gd name="T103" fmla="*/ 32 h 1956"/>
                <a:gd name="T104" fmla="*/ 73 w 1512"/>
                <a:gd name="T105" fmla="*/ 29 h 1956"/>
                <a:gd name="T106" fmla="*/ 78 w 1512"/>
                <a:gd name="T107" fmla="*/ 27 h 1956"/>
                <a:gd name="T108" fmla="*/ 81 w 1512"/>
                <a:gd name="T109" fmla="*/ 17 h 1956"/>
                <a:gd name="T110" fmla="*/ 84 w 1512"/>
                <a:gd name="T111" fmla="*/ 6 h 1956"/>
                <a:gd name="T112" fmla="*/ 95 w 1512"/>
                <a:gd name="T113" fmla="*/ 6 h 1956"/>
                <a:gd name="T114" fmla="*/ 99 w 1512"/>
                <a:gd name="T115" fmla="*/ 3 h 1956"/>
                <a:gd name="T116" fmla="*/ 103 w 1512"/>
                <a:gd name="T117" fmla="*/ 0 h 1956"/>
                <a:gd name="T118" fmla="*/ 110 w 1512"/>
                <a:gd name="T119" fmla="*/ 4 h 1956"/>
                <a:gd name="T120" fmla="*/ 114 w 1512"/>
                <a:gd name="T121" fmla="*/ 33 h 1956"/>
                <a:gd name="T122" fmla="*/ 117 w 1512"/>
                <a:gd name="T123" fmla="*/ 41 h 1956"/>
                <a:gd name="T124" fmla="*/ 119 w 1512"/>
                <a:gd name="T125" fmla="*/ 62 h 195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12"/>
                <a:gd name="T190" fmla="*/ 0 h 1956"/>
                <a:gd name="T191" fmla="*/ 1512 w 1512"/>
                <a:gd name="T192" fmla="*/ 1956 h 195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12" h="1956">
                  <a:moveTo>
                    <a:pt x="1512" y="780"/>
                  </a:moveTo>
                  <a:lnTo>
                    <a:pt x="1482" y="786"/>
                  </a:lnTo>
                  <a:lnTo>
                    <a:pt x="1476" y="792"/>
                  </a:lnTo>
                  <a:lnTo>
                    <a:pt x="1476" y="798"/>
                  </a:lnTo>
                  <a:lnTo>
                    <a:pt x="1476" y="804"/>
                  </a:lnTo>
                  <a:lnTo>
                    <a:pt x="1476" y="816"/>
                  </a:lnTo>
                  <a:lnTo>
                    <a:pt x="1470" y="834"/>
                  </a:lnTo>
                  <a:lnTo>
                    <a:pt x="1464" y="840"/>
                  </a:lnTo>
                  <a:lnTo>
                    <a:pt x="1452" y="852"/>
                  </a:lnTo>
                  <a:lnTo>
                    <a:pt x="1440" y="864"/>
                  </a:lnTo>
                  <a:lnTo>
                    <a:pt x="1434" y="864"/>
                  </a:lnTo>
                  <a:lnTo>
                    <a:pt x="1434" y="870"/>
                  </a:lnTo>
                  <a:lnTo>
                    <a:pt x="1422" y="876"/>
                  </a:lnTo>
                  <a:lnTo>
                    <a:pt x="1410" y="894"/>
                  </a:lnTo>
                  <a:lnTo>
                    <a:pt x="1404" y="894"/>
                  </a:lnTo>
                  <a:lnTo>
                    <a:pt x="1404" y="900"/>
                  </a:lnTo>
                  <a:lnTo>
                    <a:pt x="1404" y="906"/>
                  </a:lnTo>
                  <a:lnTo>
                    <a:pt x="1410" y="918"/>
                  </a:lnTo>
                  <a:lnTo>
                    <a:pt x="1404" y="918"/>
                  </a:lnTo>
                  <a:lnTo>
                    <a:pt x="1392" y="924"/>
                  </a:lnTo>
                  <a:lnTo>
                    <a:pt x="1386" y="924"/>
                  </a:lnTo>
                  <a:lnTo>
                    <a:pt x="1380" y="924"/>
                  </a:lnTo>
                  <a:lnTo>
                    <a:pt x="1380" y="930"/>
                  </a:lnTo>
                  <a:lnTo>
                    <a:pt x="1374" y="930"/>
                  </a:lnTo>
                  <a:lnTo>
                    <a:pt x="1374" y="924"/>
                  </a:lnTo>
                  <a:lnTo>
                    <a:pt x="1374" y="918"/>
                  </a:lnTo>
                  <a:lnTo>
                    <a:pt x="1368" y="912"/>
                  </a:lnTo>
                  <a:lnTo>
                    <a:pt x="1368" y="906"/>
                  </a:lnTo>
                  <a:lnTo>
                    <a:pt x="1368" y="900"/>
                  </a:lnTo>
                  <a:lnTo>
                    <a:pt x="1368" y="894"/>
                  </a:lnTo>
                  <a:lnTo>
                    <a:pt x="1362" y="894"/>
                  </a:lnTo>
                  <a:lnTo>
                    <a:pt x="1326" y="894"/>
                  </a:lnTo>
                  <a:lnTo>
                    <a:pt x="1302" y="906"/>
                  </a:lnTo>
                  <a:lnTo>
                    <a:pt x="1284" y="918"/>
                  </a:lnTo>
                  <a:lnTo>
                    <a:pt x="1284" y="924"/>
                  </a:lnTo>
                  <a:lnTo>
                    <a:pt x="1278" y="930"/>
                  </a:lnTo>
                  <a:lnTo>
                    <a:pt x="1266" y="930"/>
                  </a:lnTo>
                  <a:lnTo>
                    <a:pt x="1236" y="954"/>
                  </a:lnTo>
                  <a:lnTo>
                    <a:pt x="1212" y="972"/>
                  </a:lnTo>
                  <a:lnTo>
                    <a:pt x="1218" y="996"/>
                  </a:lnTo>
                  <a:lnTo>
                    <a:pt x="1224" y="1008"/>
                  </a:lnTo>
                  <a:lnTo>
                    <a:pt x="1236" y="1014"/>
                  </a:lnTo>
                  <a:lnTo>
                    <a:pt x="1242" y="1026"/>
                  </a:lnTo>
                  <a:lnTo>
                    <a:pt x="1248" y="1038"/>
                  </a:lnTo>
                  <a:lnTo>
                    <a:pt x="1260" y="1050"/>
                  </a:lnTo>
                  <a:lnTo>
                    <a:pt x="1260" y="1056"/>
                  </a:lnTo>
                  <a:lnTo>
                    <a:pt x="1260" y="1074"/>
                  </a:lnTo>
                  <a:lnTo>
                    <a:pt x="1254" y="1074"/>
                  </a:lnTo>
                  <a:lnTo>
                    <a:pt x="1236" y="1056"/>
                  </a:lnTo>
                  <a:lnTo>
                    <a:pt x="1224" y="1050"/>
                  </a:lnTo>
                  <a:lnTo>
                    <a:pt x="1212" y="1050"/>
                  </a:lnTo>
                  <a:lnTo>
                    <a:pt x="1206" y="1050"/>
                  </a:lnTo>
                  <a:lnTo>
                    <a:pt x="1200" y="1056"/>
                  </a:lnTo>
                  <a:lnTo>
                    <a:pt x="1194" y="1062"/>
                  </a:lnTo>
                  <a:lnTo>
                    <a:pt x="1188" y="1068"/>
                  </a:lnTo>
                  <a:lnTo>
                    <a:pt x="1188" y="1074"/>
                  </a:lnTo>
                  <a:lnTo>
                    <a:pt x="1176" y="1086"/>
                  </a:lnTo>
                  <a:lnTo>
                    <a:pt x="1170" y="1086"/>
                  </a:lnTo>
                  <a:lnTo>
                    <a:pt x="1170" y="1092"/>
                  </a:lnTo>
                  <a:lnTo>
                    <a:pt x="1164" y="1098"/>
                  </a:lnTo>
                  <a:lnTo>
                    <a:pt x="1158" y="1110"/>
                  </a:lnTo>
                  <a:lnTo>
                    <a:pt x="1152" y="1116"/>
                  </a:lnTo>
                  <a:lnTo>
                    <a:pt x="1152" y="1122"/>
                  </a:lnTo>
                  <a:lnTo>
                    <a:pt x="1146" y="1128"/>
                  </a:lnTo>
                  <a:lnTo>
                    <a:pt x="1152" y="1140"/>
                  </a:lnTo>
                  <a:lnTo>
                    <a:pt x="1158" y="1140"/>
                  </a:lnTo>
                  <a:lnTo>
                    <a:pt x="1164" y="1146"/>
                  </a:lnTo>
                  <a:lnTo>
                    <a:pt x="1164" y="1152"/>
                  </a:lnTo>
                  <a:lnTo>
                    <a:pt x="1170" y="1164"/>
                  </a:lnTo>
                  <a:lnTo>
                    <a:pt x="1164" y="1176"/>
                  </a:lnTo>
                  <a:lnTo>
                    <a:pt x="1170" y="1182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82" y="1218"/>
                  </a:lnTo>
                  <a:lnTo>
                    <a:pt x="1188" y="1218"/>
                  </a:lnTo>
                  <a:lnTo>
                    <a:pt x="1194" y="1218"/>
                  </a:lnTo>
                  <a:lnTo>
                    <a:pt x="1194" y="1224"/>
                  </a:lnTo>
                  <a:lnTo>
                    <a:pt x="1200" y="1230"/>
                  </a:lnTo>
                  <a:lnTo>
                    <a:pt x="1200" y="1248"/>
                  </a:lnTo>
                  <a:lnTo>
                    <a:pt x="1212" y="1266"/>
                  </a:lnTo>
                  <a:lnTo>
                    <a:pt x="1218" y="1278"/>
                  </a:lnTo>
                  <a:lnTo>
                    <a:pt x="1224" y="1284"/>
                  </a:lnTo>
                  <a:lnTo>
                    <a:pt x="1236" y="1296"/>
                  </a:lnTo>
                  <a:lnTo>
                    <a:pt x="1242" y="1302"/>
                  </a:lnTo>
                  <a:lnTo>
                    <a:pt x="1242" y="1308"/>
                  </a:lnTo>
                  <a:lnTo>
                    <a:pt x="1272" y="1308"/>
                  </a:lnTo>
                  <a:lnTo>
                    <a:pt x="1296" y="1314"/>
                  </a:lnTo>
                  <a:lnTo>
                    <a:pt x="1320" y="1320"/>
                  </a:lnTo>
                  <a:lnTo>
                    <a:pt x="1338" y="1320"/>
                  </a:lnTo>
                  <a:lnTo>
                    <a:pt x="1356" y="1332"/>
                  </a:lnTo>
                  <a:lnTo>
                    <a:pt x="1368" y="1344"/>
                  </a:lnTo>
                  <a:lnTo>
                    <a:pt x="1374" y="1362"/>
                  </a:lnTo>
                  <a:lnTo>
                    <a:pt x="1368" y="1362"/>
                  </a:lnTo>
                  <a:lnTo>
                    <a:pt x="1368" y="1398"/>
                  </a:lnTo>
                  <a:lnTo>
                    <a:pt x="1368" y="1410"/>
                  </a:lnTo>
                  <a:lnTo>
                    <a:pt x="1368" y="1428"/>
                  </a:lnTo>
                  <a:lnTo>
                    <a:pt x="1368" y="1434"/>
                  </a:lnTo>
                  <a:lnTo>
                    <a:pt x="1368" y="1440"/>
                  </a:lnTo>
                  <a:lnTo>
                    <a:pt x="1374" y="1446"/>
                  </a:lnTo>
                  <a:lnTo>
                    <a:pt x="1374" y="1452"/>
                  </a:lnTo>
                  <a:lnTo>
                    <a:pt x="1380" y="1458"/>
                  </a:lnTo>
                  <a:lnTo>
                    <a:pt x="1386" y="1464"/>
                  </a:lnTo>
                  <a:lnTo>
                    <a:pt x="1386" y="1470"/>
                  </a:lnTo>
                  <a:lnTo>
                    <a:pt x="1380" y="1476"/>
                  </a:lnTo>
                  <a:lnTo>
                    <a:pt x="1374" y="1482"/>
                  </a:lnTo>
                  <a:lnTo>
                    <a:pt x="1362" y="1500"/>
                  </a:lnTo>
                  <a:lnTo>
                    <a:pt x="1362" y="1506"/>
                  </a:lnTo>
                  <a:lnTo>
                    <a:pt x="1362" y="1512"/>
                  </a:lnTo>
                  <a:lnTo>
                    <a:pt x="1362" y="1518"/>
                  </a:lnTo>
                  <a:lnTo>
                    <a:pt x="1362" y="1524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38" y="1548"/>
                  </a:lnTo>
                  <a:lnTo>
                    <a:pt x="1296" y="1548"/>
                  </a:lnTo>
                  <a:lnTo>
                    <a:pt x="1290" y="1554"/>
                  </a:lnTo>
                  <a:lnTo>
                    <a:pt x="1284" y="1560"/>
                  </a:lnTo>
                  <a:lnTo>
                    <a:pt x="1284" y="1566"/>
                  </a:lnTo>
                  <a:lnTo>
                    <a:pt x="1290" y="1578"/>
                  </a:lnTo>
                  <a:lnTo>
                    <a:pt x="1296" y="1590"/>
                  </a:lnTo>
                  <a:lnTo>
                    <a:pt x="1302" y="1590"/>
                  </a:lnTo>
                  <a:lnTo>
                    <a:pt x="1308" y="1596"/>
                  </a:lnTo>
                  <a:lnTo>
                    <a:pt x="1320" y="1602"/>
                  </a:lnTo>
                  <a:lnTo>
                    <a:pt x="1326" y="1602"/>
                  </a:lnTo>
                  <a:lnTo>
                    <a:pt x="1326" y="1608"/>
                  </a:lnTo>
                  <a:lnTo>
                    <a:pt x="1332" y="1614"/>
                  </a:lnTo>
                  <a:lnTo>
                    <a:pt x="1344" y="1620"/>
                  </a:lnTo>
                  <a:lnTo>
                    <a:pt x="1356" y="1626"/>
                  </a:lnTo>
                  <a:lnTo>
                    <a:pt x="1356" y="1632"/>
                  </a:lnTo>
                  <a:lnTo>
                    <a:pt x="1356" y="1638"/>
                  </a:lnTo>
                  <a:lnTo>
                    <a:pt x="1362" y="1644"/>
                  </a:lnTo>
                  <a:lnTo>
                    <a:pt x="1368" y="1644"/>
                  </a:lnTo>
                  <a:lnTo>
                    <a:pt x="1380" y="1650"/>
                  </a:lnTo>
                  <a:lnTo>
                    <a:pt x="1386" y="1650"/>
                  </a:lnTo>
                  <a:lnTo>
                    <a:pt x="1386" y="1656"/>
                  </a:lnTo>
                  <a:lnTo>
                    <a:pt x="1392" y="1656"/>
                  </a:lnTo>
                  <a:lnTo>
                    <a:pt x="1398" y="1662"/>
                  </a:lnTo>
                  <a:lnTo>
                    <a:pt x="1410" y="1674"/>
                  </a:lnTo>
                  <a:lnTo>
                    <a:pt x="1428" y="1680"/>
                  </a:lnTo>
                  <a:lnTo>
                    <a:pt x="1428" y="1686"/>
                  </a:lnTo>
                  <a:lnTo>
                    <a:pt x="1428" y="1698"/>
                  </a:lnTo>
                  <a:lnTo>
                    <a:pt x="1434" y="1704"/>
                  </a:lnTo>
                  <a:lnTo>
                    <a:pt x="1434" y="1710"/>
                  </a:lnTo>
                  <a:lnTo>
                    <a:pt x="1440" y="1710"/>
                  </a:lnTo>
                  <a:lnTo>
                    <a:pt x="1446" y="1710"/>
                  </a:lnTo>
                  <a:lnTo>
                    <a:pt x="1446" y="1716"/>
                  </a:lnTo>
                  <a:lnTo>
                    <a:pt x="1440" y="1722"/>
                  </a:lnTo>
                  <a:lnTo>
                    <a:pt x="1440" y="1728"/>
                  </a:lnTo>
                  <a:lnTo>
                    <a:pt x="1440" y="1734"/>
                  </a:lnTo>
                  <a:lnTo>
                    <a:pt x="1440" y="1740"/>
                  </a:lnTo>
                  <a:lnTo>
                    <a:pt x="1440" y="1746"/>
                  </a:lnTo>
                  <a:lnTo>
                    <a:pt x="1440" y="1788"/>
                  </a:lnTo>
                  <a:lnTo>
                    <a:pt x="1440" y="1800"/>
                  </a:lnTo>
                  <a:lnTo>
                    <a:pt x="1440" y="1806"/>
                  </a:lnTo>
                  <a:lnTo>
                    <a:pt x="1440" y="1836"/>
                  </a:lnTo>
                  <a:lnTo>
                    <a:pt x="1440" y="1848"/>
                  </a:lnTo>
                  <a:lnTo>
                    <a:pt x="1446" y="1848"/>
                  </a:lnTo>
                  <a:lnTo>
                    <a:pt x="1446" y="1854"/>
                  </a:lnTo>
                  <a:lnTo>
                    <a:pt x="1452" y="1848"/>
                  </a:lnTo>
                  <a:lnTo>
                    <a:pt x="1458" y="1854"/>
                  </a:lnTo>
                  <a:lnTo>
                    <a:pt x="1452" y="1860"/>
                  </a:lnTo>
                  <a:lnTo>
                    <a:pt x="1452" y="1866"/>
                  </a:lnTo>
                  <a:lnTo>
                    <a:pt x="1458" y="1872"/>
                  </a:lnTo>
                  <a:lnTo>
                    <a:pt x="1464" y="1884"/>
                  </a:lnTo>
                  <a:lnTo>
                    <a:pt x="1428" y="1878"/>
                  </a:lnTo>
                  <a:lnTo>
                    <a:pt x="1356" y="1890"/>
                  </a:lnTo>
                  <a:lnTo>
                    <a:pt x="1296" y="1926"/>
                  </a:lnTo>
                  <a:lnTo>
                    <a:pt x="1266" y="1944"/>
                  </a:lnTo>
                  <a:lnTo>
                    <a:pt x="1224" y="1944"/>
                  </a:lnTo>
                  <a:lnTo>
                    <a:pt x="1188" y="1956"/>
                  </a:lnTo>
                  <a:lnTo>
                    <a:pt x="1188" y="1950"/>
                  </a:lnTo>
                  <a:lnTo>
                    <a:pt x="1176" y="1944"/>
                  </a:lnTo>
                  <a:lnTo>
                    <a:pt x="1176" y="1938"/>
                  </a:lnTo>
                  <a:lnTo>
                    <a:pt x="1170" y="1938"/>
                  </a:lnTo>
                  <a:lnTo>
                    <a:pt x="1164" y="1932"/>
                  </a:lnTo>
                  <a:lnTo>
                    <a:pt x="1158" y="1926"/>
                  </a:lnTo>
                  <a:lnTo>
                    <a:pt x="1158" y="1920"/>
                  </a:lnTo>
                  <a:lnTo>
                    <a:pt x="1152" y="1920"/>
                  </a:lnTo>
                  <a:lnTo>
                    <a:pt x="1146" y="1914"/>
                  </a:lnTo>
                  <a:lnTo>
                    <a:pt x="1146" y="1908"/>
                  </a:lnTo>
                  <a:lnTo>
                    <a:pt x="1140" y="1908"/>
                  </a:lnTo>
                  <a:lnTo>
                    <a:pt x="1134" y="1902"/>
                  </a:lnTo>
                  <a:lnTo>
                    <a:pt x="1134" y="1896"/>
                  </a:lnTo>
                  <a:lnTo>
                    <a:pt x="1116" y="1896"/>
                  </a:lnTo>
                  <a:lnTo>
                    <a:pt x="1104" y="1884"/>
                  </a:lnTo>
                  <a:lnTo>
                    <a:pt x="1092" y="1860"/>
                  </a:lnTo>
                  <a:lnTo>
                    <a:pt x="1068" y="1854"/>
                  </a:lnTo>
                  <a:lnTo>
                    <a:pt x="1032" y="1842"/>
                  </a:lnTo>
                  <a:lnTo>
                    <a:pt x="1008" y="1836"/>
                  </a:lnTo>
                  <a:lnTo>
                    <a:pt x="978" y="1824"/>
                  </a:lnTo>
                  <a:lnTo>
                    <a:pt x="942" y="1818"/>
                  </a:lnTo>
                  <a:lnTo>
                    <a:pt x="924" y="1806"/>
                  </a:lnTo>
                  <a:lnTo>
                    <a:pt x="906" y="1788"/>
                  </a:lnTo>
                  <a:lnTo>
                    <a:pt x="894" y="1776"/>
                  </a:lnTo>
                  <a:lnTo>
                    <a:pt x="864" y="1758"/>
                  </a:lnTo>
                  <a:lnTo>
                    <a:pt x="834" y="1752"/>
                  </a:lnTo>
                  <a:lnTo>
                    <a:pt x="798" y="1746"/>
                  </a:lnTo>
                  <a:lnTo>
                    <a:pt x="792" y="1806"/>
                  </a:lnTo>
                  <a:lnTo>
                    <a:pt x="798" y="1812"/>
                  </a:lnTo>
                  <a:lnTo>
                    <a:pt x="810" y="1830"/>
                  </a:lnTo>
                  <a:lnTo>
                    <a:pt x="792" y="1842"/>
                  </a:lnTo>
                  <a:lnTo>
                    <a:pt x="768" y="1842"/>
                  </a:lnTo>
                  <a:lnTo>
                    <a:pt x="708" y="1848"/>
                  </a:lnTo>
                  <a:lnTo>
                    <a:pt x="690" y="1860"/>
                  </a:lnTo>
                  <a:lnTo>
                    <a:pt x="690" y="1866"/>
                  </a:lnTo>
                  <a:lnTo>
                    <a:pt x="678" y="1878"/>
                  </a:lnTo>
                  <a:lnTo>
                    <a:pt x="660" y="1884"/>
                  </a:lnTo>
                  <a:lnTo>
                    <a:pt x="660" y="1902"/>
                  </a:lnTo>
                  <a:lnTo>
                    <a:pt x="642" y="1902"/>
                  </a:lnTo>
                  <a:lnTo>
                    <a:pt x="582" y="1914"/>
                  </a:lnTo>
                  <a:lnTo>
                    <a:pt x="534" y="1908"/>
                  </a:lnTo>
                  <a:lnTo>
                    <a:pt x="510" y="1908"/>
                  </a:lnTo>
                  <a:lnTo>
                    <a:pt x="510" y="1896"/>
                  </a:lnTo>
                  <a:lnTo>
                    <a:pt x="492" y="1896"/>
                  </a:lnTo>
                  <a:lnTo>
                    <a:pt x="486" y="1902"/>
                  </a:lnTo>
                  <a:lnTo>
                    <a:pt x="474" y="1908"/>
                  </a:lnTo>
                  <a:lnTo>
                    <a:pt x="450" y="1908"/>
                  </a:lnTo>
                  <a:lnTo>
                    <a:pt x="432" y="1902"/>
                  </a:lnTo>
                  <a:lnTo>
                    <a:pt x="426" y="1896"/>
                  </a:lnTo>
                  <a:lnTo>
                    <a:pt x="402" y="1884"/>
                  </a:lnTo>
                  <a:lnTo>
                    <a:pt x="390" y="1872"/>
                  </a:lnTo>
                  <a:lnTo>
                    <a:pt x="384" y="1872"/>
                  </a:lnTo>
                  <a:lnTo>
                    <a:pt x="378" y="1872"/>
                  </a:lnTo>
                  <a:lnTo>
                    <a:pt x="378" y="1866"/>
                  </a:lnTo>
                  <a:lnTo>
                    <a:pt x="372" y="1860"/>
                  </a:lnTo>
                  <a:lnTo>
                    <a:pt x="372" y="1854"/>
                  </a:lnTo>
                  <a:lnTo>
                    <a:pt x="366" y="1842"/>
                  </a:lnTo>
                  <a:lnTo>
                    <a:pt x="366" y="1836"/>
                  </a:lnTo>
                  <a:lnTo>
                    <a:pt x="348" y="1830"/>
                  </a:lnTo>
                  <a:lnTo>
                    <a:pt x="348" y="1806"/>
                  </a:lnTo>
                  <a:lnTo>
                    <a:pt x="348" y="1800"/>
                  </a:lnTo>
                  <a:lnTo>
                    <a:pt x="348" y="1782"/>
                  </a:lnTo>
                  <a:lnTo>
                    <a:pt x="336" y="1788"/>
                  </a:lnTo>
                  <a:lnTo>
                    <a:pt x="312" y="1794"/>
                  </a:lnTo>
                  <a:lnTo>
                    <a:pt x="288" y="1788"/>
                  </a:lnTo>
                  <a:lnTo>
                    <a:pt x="264" y="1758"/>
                  </a:lnTo>
                  <a:lnTo>
                    <a:pt x="270" y="1758"/>
                  </a:lnTo>
                  <a:lnTo>
                    <a:pt x="270" y="1752"/>
                  </a:lnTo>
                  <a:lnTo>
                    <a:pt x="276" y="1752"/>
                  </a:lnTo>
                  <a:lnTo>
                    <a:pt x="282" y="1746"/>
                  </a:lnTo>
                  <a:lnTo>
                    <a:pt x="300" y="1746"/>
                  </a:lnTo>
                  <a:lnTo>
                    <a:pt x="312" y="1746"/>
                  </a:lnTo>
                  <a:lnTo>
                    <a:pt x="336" y="1710"/>
                  </a:lnTo>
                  <a:lnTo>
                    <a:pt x="342" y="1692"/>
                  </a:lnTo>
                  <a:lnTo>
                    <a:pt x="348" y="1680"/>
                  </a:lnTo>
                  <a:lnTo>
                    <a:pt x="342" y="1650"/>
                  </a:lnTo>
                  <a:lnTo>
                    <a:pt x="354" y="1644"/>
                  </a:lnTo>
                  <a:lnTo>
                    <a:pt x="354" y="1638"/>
                  </a:lnTo>
                  <a:lnTo>
                    <a:pt x="360" y="1632"/>
                  </a:lnTo>
                  <a:lnTo>
                    <a:pt x="354" y="1626"/>
                  </a:lnTo>
                  <a:lnTo>
                    <a:pt x="348" y="1626"/>
                  </a:lnTo>
                  <a:lnTo>
                    <a:pt x="348" y="1620"/>
                  </a:lnTo>
                  <a:lnTo>
                    <a:pt x="342" y="1620"/>
                  </a:lnTo>
                  <a:lnTo>
                    <a:pt x="348" y="1614"/>
                  </a:lnTo>
                  <a:lnTo>
                    <a:pt x="324" y="1566"/>
                  </a:lnTo>
                  <a:lnTo>
                    <a:pt x="318" y="1566"/>
                  </a:lnTo>
                  <a:lnTo>
                    <a:pt x="306" y="1572"/>
                  </a:lnTo>
                  <a:lnTo>
                    <a:pt x="300" y="1572"/>
                  </a:lnTo>
                  <a:lnTo>
                    <a:pt x="294" y="1578"/>
                  </a:lnTo>
                  <a:lnTo>
                    <a:pt x="288" y="1584"/>
                  </a:lnTo>
                  <a:lnTo>
                    <a:pt x="282" y="1584"/>
                  </a:lnTo>
                  <a:lnTo>
                    <a:pt x="282" y="1578"/>
                  </a:lnTo>
                  <a:lnTo>
                    <a:pt x="276" y="1578"/>
                  </a:lnTo>
                  <a:lnTo>
                    <a:pt x="270" y="1578"/>
                  </a:lnTo>
                  <a:lnTo>
                    <a:pt x="264" y="1578"/>
                  </a:lnTo>
                  <a:lnTo>
                    <a:pt x="258" y="1578"/>
                  </a:lnTo>
                  <a:lnTo>
                    <a:pt x="252" y="1578"/>
                  </a:lnTo>
                  <a:lnTo>
                    <a:pt x="252" y="1584"/>
                  </a:lnTo>
                  <a:lnTo>
                    <a:pt x="246" y="1584"/>
                  </a:lnTo>
                  <a:lnTo>
                    <a:pt x="210" y="1584"/>
                  </a:lnTo>
                  <a:lnTo>
                    <a:pt x="204" y="1584"/>
                  </a:lnTo>
                  <a:lnTo>
                    <a:pt x="192" y="1584"/>
                  </a:lnTo>
                  <a:lnTo>
                    <a:pt x="168" y="1596"/>
                  </a:lnTo>
                  <a:lnTo>
                    <a:pt x="156" y="1572"/>
                  </a:lnTo>
                  <a:lnTo>
                    <a:pt x="156" y="1566"/>
                  </a:lnTo>
                  <a:lnTo>
                    <a:pt x="156" y="1560"/>
                  </a:lnTo>
                  <a:lnTo>
                    <a:pt x="162" y="1548"/>
                  </a:lnTo>
                  <a:lnTo>
                    <a:pt x="162" y="1542"/>
                  </a:lnTo>
                  <a:lnTo>
                    <a:pt x="162" y="1536"/>
                  </a:lnTo>
                  <a:lnTo>
                    <a:pt x="168" y="1530"/>
                  </a:lnTo>
                  <a:lnTo>
                    <a:pt x="168" y="1524"/>
                  </a:lnTo>
                  <a:lnTo>
                    <a:pt x="168" y="1518"/>
                  </a:lnTo>
                  <a:lnTo>
                    <a:pt x="174" y="1518"/>
                  </a:lnTo>
                  <a:lnTo>
                    <a:pt x="174" y="1506"/>
                  </a:lnTo>
                  <a:lnTo>
                    <a:pt x="156" y="1470"/>
                  </a:lnTo>
                  <a:lnTo>
                    <a:pt x="138" y="1464"/>
                  </a:lnTo>
                  <a:lnTo>
                    <a:pt x="126" y="1446"/>
                  </a:lnTo>
                  <a:lnTo>
                    <a:pt x="126" y="1440"/>
                  </a:lnTo>
                  <a:lnTo>
                    <a:pt x="126" y="1434"/>
                  </a:lnTo>
                  <a:lnTo>
                    <a:pt x="120" y="1428"/>
                  </a:lnTo>
                  <a:lnTo>
                    <a:pt x="126" y="1398"/>
                  </a:lnTo>
                  <a:lnTo>
                    <a:pt x="120" y="1374"/>
                  </a:lnTo>
                  <a:lnTo>
                    <a:pt x="60" y="1374"/>
                  </a:lnTo>
                  <a:lnTo>
                    <a:pt x="60" y="1368"/>
                  </a:lnTo>
                  <a:lnTo>
                    <a:pt x="54" y="1362"/>
                  </a:lnTo>
                  <a:lnTo>
                    <a:pt x="48" y="1356"/>
                  </a:lnTo>
                  <a:lnTo>
                    <a:pt x="42" y="1356"/>
                  </a:lnTo>
                  <a:lnTo>
                    <a:pt x="42" y="1350"/>
                  </a:lnTo>
                  <a:lnTo>
                    <a:pt x="36" y="1344"/>
                  </a:lnTo>
                  <a:lnTo>
                    <a:pt x="36" y="1338"/>
                  </a:lnTo>
                  <a:lnTo>
                    <a:pt x="30" y="1332"/>
                  </a:lnTo>
                  <a:lnTo>
                    <a:pt x="30" y="1326"/>
                  </a:lnTo>
                  <a:lnTo>
                    <a:pt x="18" y="1326"/>
                  </a:lnTo>
                  <a:lnTo>
                    <a:pt x="18" y="1320"/>
                  </a:lnTo>
                  <a:lnTo>
                    <a:pt x="18" y="1326"/>
                  </a:lnTo>
                  <a:lnTo>
                    <a:pt x="6" y="1320"/>
                  </a:lnTo>
                  <a:lnTo>
                    <a:pt x="0" y="1314"/>
                  </a:lnTo>
                  <a:lnTo>
                    <a:pt x="12" y="1266"/>
                  </a:lnTo>
                  <a:lnTo>
                    <a:pt x="6" y="1242"/>
                  </a:lnTo>
                  <a:lnTo>
                    <a:pt x="12" y="1236"/>
                  </a:lnTo>
                  <a:lnTo>
                    <a:pt x="12" y="1230"/>
                  </a:lnTo>
                  <a:lnTo>
                    <a:pt x="18" y="1230"/>
                  </a:lnTo>
                  <a:lnTo>
                    <a:pt x="18" y="1224"/>
                  </a:lnTo>
                  <a:lnTo>
                    <a:pt x="24" y="1218"/>
                  </a:lnTo>
                  <a:lnTo>
                    <a:pt x="24" y="1212"/>
                  </a:lnTo>
                  <a:lnTo>
                    <a:pt x="30" y="1212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48" y="1188"/>
                  </a:lnTo>
                  <a:lnTo>
                    <a:pt x="48" y="1182"/>
                  </a:lnTo>
                  <a:lnTo>
                    <a:pt x="48" y="1176"/>
                  </a:lnTo>
                  <a:lnTo>
                    <a:pt x="48" y="1170"/>
                  </a:lnTo>
                  <a:lnTo>
                    <a:pt x="54" y="1170"/>
                  </a:lnTo>
                  <a:lnTo>
                    <a:pt x="60" y="1164"/>
                  </a:lnTo>
                  <a:lnTo>
                    <a:pt x="60" y="1158"/>
                  </a:lnTo>
                  <a:lnTo>
                    <a:pt x="66" y="1152"/>
                  </a:lnTo>
                  <a:lnTo>
                    <a:pt x="60" y="1140"/>
                  </a:lnTo>
                  <a:lnTo>
                    <a:pt x="60" y="1134"/>
                  </a:lnTo>
                  <a:lnTo>
                    <a:pt x="54" y="1134"/>
                  </a:lnTo>
                  <a:lnTo>
                    <a:pt x="54" y="1128"/>
                  </a:lnTo>
                  <a:lnTo>
                    <a:pt x="48" y="1122"/>
                  </a:lnTo>
                  <a:lnTo>
                    <a:pt x="48" y="1116"/>
                  </a:lnTo>
                  <a:lnTo>
                    <a:pt x="48" y="1110"/>
                  </a:lnTo>
                  <a:lnTo>
                    <a:pt x="42" y="1104"/>
                  </a:lnTo>
                  <a:lnTo>
                    <a:pt x="42" y="1098"/>
                  </a:lnTo>
                  <a:lnTo>
                    <a:pt x="36" y="1092"/>
                  </a:lnTo>
                  <a:lnTo>
                    <a:pt x="30" y="1092"/>
                  </a:lnTo>
                  <a:lnTo>
                    <a:pt x="24" y="1092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18" y="1080"/>
                  </a:lnTo>
                  <a:lnTo>
                    <a:pt x="18" y="1074"/>
                  </a:lnTo>
                  <a:lnTo>
                    <a:pt x="12" y="1068"/>
                  </a:lnTo>
                  <a:lnTo>
                    <a:pt x="6" y="1068"/>
                  </a:lnTo>
                  <a:lnTo>
                    <a:pt x="12" y="1056"/>
                  </a:lnTo>
                  <a:lnTo>
                    <a:pt x="6" y="1056"/>
                  </a:lnTo>
                  <a:lnTo>
                    <a:pt x="6" y="1050"/>
                  </a:lnTo>
                  <a:lnTo>
                    <a:pt x="6" y="1044"/>
                  </a:lnTo>
                  <a:lnTo>
                    <a:pt x="6" y="1026"/>
                  </a:lnTo>
                  <a:lnTo>
                    <a:pt x="12" y="1020"/>
                  </a:lnTo>
                  <a:lnTo>
                    <a:pt x="12" y="1014"/>
                  </a:lnTo>
                  <a:lnTo>
                    <a:pt x="18" y="1014"/>
                  </a:lnTo>
                  <a:lnTo>
                    <a:pt x="18" y="1008"/>
                  </a:lnTo>
                  <a:lnTo>
                    <a:pt x="18" y="1002"/>
                  </a:lnTo>
                  <a:lnTo>
                    <a:pt x="18" y="990"/>
                  </a:lnTo>
                  <a:lnTo>
                    <a:pt x="12" y="972"/>
                  </a:lnTo>
                  <a:lnTo>
                    <a:pt x="18" y="954"/>
                  </a:lnTo>
                  <a:lnTo>
                    <a:pt x="18" y="948"/>
                  </a:lnTo>
                  <a:lnTo>
                    <a:pt x="24" y="948"/>
                  </a:lnTo>
                  <a:lnTo>
                    <a:pt x="24" y="930"/>
                  </a:lnTo>
                  <a:lnTo>
                    <a:pt x="30" y="930"/>
                  </a:lnTo>
                  <a:lnTo>
                    <a:pt x="36" y="918"/>
                  </a:lnTo>
                  <a:lnTo>
                    <a:pt x="42" y="918"/>
                  </a:lnTo>
                  <a:lnTo>
                    <a:pt x="48" y="918"/>
                  </a:lnTo>
                  <a:lnTo>
                    <a:pt x="78" y="912"/>
                  </a:lnTo>
                  <a:lnTo>
                    <a:pt x="90" y="894"/>
                  </a:lnTo>
                  <a:lnTo>
                    <a:pt x="96" y="894"/>
                  </a:lnTo>
                  <a:lnTo>
                    <a:pt x="102" y="888"/>
                  </a:lnTo>
                  <a:lnTo>
                    <a:pt x="102" y="882"/>
                  </a:lnTo>
                  <a:lnTo>
                    <a:pt x="114" y="870"/>
                  </a:lnTo>
                  <a:lnTo>
                    <a:pt x="120" y="864"/>
                  </a:lnTo>
                  <a:lnTo>
                    <a:pt x="120" y="852"/>
                  </a:lnTo>
                  <a:lnTo>
                    <a:pt x="120" y="846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32" y="840"/>
                  </a:lnTo>
                  <a:lnTo>
                    <a:pt x="138" y="840"/>
                  </a:lnTo>
                  <a:lnTo>
                    <a:pt x="138" y="834"/>
                  </a:lnTo>
                  <a:lnTo>
                    <a:pt x="144" y="834"/>
                  </a:lnTo>
                  <a:lnTo>
                    <a:pt x="144" y="828"/>
                  </a:lnTo>
                  <a:lnTo>
                    <a:pt x="150" y="828"/>
                  </a:lnTo>
                  <a:lnTo>
                    <a:pt x="156" y="822"/>
                  </a:lnTo>
                  <a:lnTo>
                    <a:pt x="162" y="816"/>
                  </a:lnTo>
                  <a:lnTo>
                    <a:pt x="162" y="822"/>
                  </a:lnTo>
                  <a:lnTo>
                    <a:pt x="162" y="816"/>
                  </a:lnTo>
                  <a:lnTo>
                    <a:pt x="162" y="810"/>
                  </a:lnTo>
                  <a:lnTo>
                    <a:pt x="168" y="810"/>
                  </a:lnTo>
                  <a:lnTo>
                    <a:pt x="174" y="804"/>
                  </a:lnTo>
                  <a:lnTo>
                    <a:pt x="180" y="798"/>
                  </a:lnTo>
                  <a:lnTo>
                    <a:pt x="180" y="786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8" y="780"/>
                  </a:lnTo>
                  <a:lnTo>
                    <a:pt x="204" y="774"/>
                  </a:lnTo>
                  <a:lnTo>
                    <a:pt x="210" y="774"/>
                  </a:lnTo>
                  <a:lnTo>
                    <a:pt x="216" y="768"/>
                  </a:lnTo>
                  <a:lnTo>
                    <a:pt x="222" y="762"/>
                  </a:lnTo>
                  <a:lnTo>
                    <a:pt x="228" y="762"/>
                  </a:lnTo>
                  <a:lnTo>
                    <a:pt x="228" y="768"/>
                  </a:lnTo>
                  <a:lnTo>
                    <a:pt x="234" y="768"/>
                  </a:lnTo>
                  <a:lnTo>
                    <a:pt x="240" y="762"/>
                  </a:lnTo>
                  <a:lnTo>
                    <a:pt x="252" y="762"/>
                  </a:lnTo>
                  <a:lnTo>
                    <a:pt x="264" y="768"/>
                  </a:lnTo>
                  <a:lnTo>
                    <a:pt x="294" y="756"/>
                  </a:lnTo>
                  <a:lnTo>
                    <a:pt x="294" y="750"/>
                  </a:lnTo>
                  <a:lnTo>
                    <a:pt x="300" y="750"/>
                  </a:lnTo>
                  <a:lnTo>
                    <a:pt x="306" y="744"/>
                  </a:lnTo>
                  <a:lnTo>
                    <a:pt x="342" y="750"/>
                  </a:lnTo>
                  <a:lnTo>
                    <a:pt x="348" y="750"/>
                  </a:lnTo>
                  <a:lnTo>
                    <a:pt x="348" y="744"/>
                  </a:lnTo>
                  <a:lnTo>
                    <a:pt x="354" y="744"/>
                  </a:lnTo>
                  <a:lnTo>
                    <a:pt x="360" y="744"/>
                  </a:lnTo>
                  <a:lnTo>
                    <a:pt x="360" y="750"/>
                  </a:lnTo>
                  <a:lnTo>
                    <a:pt x="366" y="750"/>
                  </a:lnTo>
                  <a:lnTo>
                    <a:pt x="366" y="744"/>
                  </a:lnTo>
                  <a:lnTo>
                    <a:pt x="366" y="738"/>
                  </a:lnTo>
                  <a:lnTo>
                    <a:pt x="372" y="744"/>
                  </a:lnTo>
                  <a:lnTo>
                    <a:pt x="378" y="744"/>
                  </a:lnTo>
                  <a:lnTo>
                    <a:pt x="384" y="750"/>
                  </a:lnTo>
                  <a:lnTo>
                    <a:pt x="444" y="774"/>
                  </a:lnTo>
                  <a:lnTo>
                    <a:pt x="450" y="774"/>
                  </a:lnTo>
                  <a:lnTo>
                    <a:pt x="456" y="768"/>
                  </a:lnTo>
                  <a:lnTo>
                    <a:pt x="462" y="768"/>
                  </a:lnTo>
                  <a:lnTo>
                    <a:pt x="462" y="762"/>
                  </a:lnTo>
                  <a:lnTo>
                    <a:pt x="468" y="762"/>
                  </a:lnTo>
                  <a:lnTo>
                    <a:pt x="474" y="756"/>
                  </a:lnTo>
                  <a:lnTo>
                    <a:pt x="480" y="750"/>
                  </a:lnTo>
                  <a:lnTo>
                    <a:pt x="516" y="756"/>
                  </a:lnTo>
                  <a:lnTo>
                    <a:pt x="522" y="756"/>
                  </a:lnTo>
                  <a:lnTo>
                    <a:pt x="522" y="762"/>
                  </a:lnTo>
                  <a:lnTo>
                    <a:pt x="522" y="768"/>
                  </a:lnTo>
                  <a:lnTo>
                    <a:pt x="522" y="774"/>
                  </a:lnTo>
                  <a:lnTo>
                    <a:pt x="528" y="780"/>
                  </a:lnTo>
                  <a:lnTo>
                    <a:pt x="540" y="780"/>
                  </a:lnTo>
                  <a:lnTo>
                    <a:pt x="540" y="804"/>
                  </a:lnTo>
                  <a:lnTo>
                    <a:pt x="540" y="810"/>
                  </a:lnTo>
                  <a:lnTo>
                    <a:pt x="546" y="810"/>
                  </a:lnTo>
                  <a:lnTo>
                    <a:pt x="552" y="810"/>
                  </a:lnTo>
                  <a:lnTo>
                    <a:pt x="558" y="810"/>
                  </a:lnTo>
                  <a:lnTo>
                    <a:pt x="564" y="810"/>
                  </a:lnTo>
                  <a:lnTo>
                    <a:pt x="570" y="810"/>
                  </a:lnTo>
                  <a:lnTo>
                    <a:pt x="576" y="810"/>
                  </a:lnTo>
                  <a:lnTo>
                    <a:pt x="576" y="816"/>
                  </a:lnTo>
                  <a:lnTo>
                    <a:pt x="588" y="816"/>
                  </a:lnTo>
                  <a:lnTo>
                    <a:pt x="594" y="816"/>
                  </a:lnTo>
                  <a:lnTo>
                    <a:pt x="600" y="822"/>
                  </a:lnTo>
                  <a:lnTo>
                    <a:pt x="606" y="816"/>
                  </a:lnTo>
                  <a:lnTo>
                    <a:pt x="612" y="816"/>
                  </a:lnTo>
                  <a:lnTo>
                    <a:pt x="612" y="810"/>
                  </a:lnTo>
                  <a:lnTo>
                    <a:pt x="624" y="810"/>
                  </a:lnTo>
                  <a:lnTo>
                    <a:pt x="624" y="804"/>
                  </a:lnTo>
                  <a:lnTo>
                    <a:pt x="630" y="798"/>
                  </a:lnTo>
                  <a:lnTo>
                    <a:pt x="636" y="798"/>
                  </a:lnTo>
                  <a:lnTo>
                    <a:pt x="636" y="804"/>
                  </a:lnTo>
                  <a:lnTo>
                    <a:pt x="642" y="804"/>
                  </a:lnTo>
                  <a:lnTo>
                    <a:pt x="648" y="804"/>
                  </a:lnTo>
                  <a:lnTo>
                    <a:pt x="654" y="804"/>
                  </a:lnTo>
                  <a:lnTo>
                    <a:pt x="660" y="804"/>
                  </a:lnTo>
                  <a:lnTo>
                    <a:pt x="678" y="798"/>
                  </a:lnTo>
                  <a:lnTo>
                    <a:pt x="714" y="786"/>
                  </a:lnTo>
                  <a:lnTo>
                    <a:pt x="714" y="792"/>
                  </a:lnTo>
                  <a:lnTo>
                    <a:pt x="714" y="798"/>
                  </a:lnTo>
                  <a:lnTo>
                    <a:pt x="714" y="804"/>
                  </a:lnTo>
                  <a:lnTo>
                    <a:pt x="720" y="804"/>
                  </a:lnTo>
                  <a:lnTo>
                    <a:pt x="720" y="810"/>
                  </a:lnTo>
                  <a:lnTo>
                    <a:pt x="720" y="816"/>
                  </a:lnTo>
                  <a:lnTo>
                    <a:pt x="726" y="822"/>
                  </a:lnTo>
                  <a:lnTo>
                    <a:pt x="732" y="828"/>
                  </a:lnTo>
                  <a:lnTo>
                    <a:pt x="732" y="834"/>
                  </a:lnTo>
                  <a:lnTo>
                    <a:pt x="732" y="846"/>
                  </a:lnTo>
                  <a:lnTo>
                    <a:pt x="732" y="858"/>
                  </a:lnTo>
                  <a:lnTo>
                    <a:pt x="738" y="858"/>
                  </a:lnTo>
                  <a:lnTo>
                    <a:pt x="732" y="864"/>
                  </a:lnTo>
                  <a:lnTo>
                    <a:pt x="732" y="870"/>
                  </a:lnTo>
                  <a:lnTo>
                    <a:pt x="726" y="870"/>
                  </a:lnTo>
                  <a:lnTo>
                    <a:pt x="726" y="876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0" y="882"/>
                  </a:lnTo>
                  <a:lnTo>
                    <a:pt x="690" y="912"/>
                  </a:lnTo>
                  <a:lnTo>
                    <a:pt x="696" y="936"/>
                  </a:lnTo>
                  <a:lnTo>
                    <a:pt x="702" y="936"/>
                  </a:lnTo>
                  <a:lnTo>
                    <a:pt x="702" y="930"/>
                  </a:lnTo>
                  <a:lnTo>
                    <a:pt x="708" y="930"/>
                  </a:lnTo>
                  <a:lnTo>
                    <a:pt x="708" y="924"/>
                  </a:lnTo>
                  <a:lnTo>
                    <a:pt x="708" y="918"/>
                  </a:lnTo>
                  <a:lnTo>
                    <a:pt x="714" y="918"/>
                  </a:lnTo>
                  <a:lnTo>
                    <a:pt x="720" y="954"/>
                  </a:lnTo>
                  <a:lnTo>
                    <a:pt x="726" y="966"/>
                  </a:lnTo>
                  <a:lnTo>
                    <a:pt x="744" y="966"/>
                  </a:lnTo>
                  <a:lnTo>
                    <a:pt x="756" y="972"/>
                  </a:lnTo>
                  <a:lnTo>
                    <a:pt x="792" y="990"/>
                  </a:lnTo>
                  <a:lnTo>
                    <a:pt x="828" y="978"/>
                  </a:lnTo>
                  <a:lnTo>
                    <a:pt x="834" y="978"/>
                  </a:lnTo>
                  <a:lnTo>
                    <a:pt x="840" y="978"/>
                  </a:lnTo>
                  <a:lnTo>
                    <a:pt x="840" y="984"/>
                  </a:lnTo>
                  <a:lnTo>
                    <a:pt x="846" y="984"/>
                  </a:lnTo>
                  <a:lnTo>
                    <a:pt x="858" y="972"/>
                  </a:lnTo>
                  <a:lnTo>
                    <a:pt x="882" y="972"/>
                  </a:lnTo>
                  <a:lnTo>
                    <a:pt x="888" y="984"/>
                  </a:lnTo>
                  <a:lnTo>
                    <a:pt x="900" y="990"/>
                  </a:lnTo>
                  <a:lnTo>
                    <a:pt x="924" y="996"/>
                  </a:lnTo>
                  <a:lnTo>
                    <a:pt x="930" y="990"/>
                  </a:lnTo>
                  <a:lnTo>
                    <a:pt x="930" y="984"/>
                  </a:lnTo>
                  <a:lnTo>
                    <a:pt x="924" y="978"/>
                  </a:lnTo>
                  <a:lnTo>
                    <a:pt x="906" y="972"/>
                  </a:lnTo>
                  <a:lnTo>
                    <a:pt x="900" y="966"/>
                  </a:lnTo>
                  <a:lnTo>
                    <a:pt x="900" y="960"/>
                  </a:lnTo>
                  <a:lnTo>
                    <a:pt x="900" y="954"/>
                  </a:lnTo>
                  <a:lnTo>
                    <a:pt x="900" y="948"/>
                  </a:lnTo>
                  <a:lnTo>
                    <a:pt x="912" y="936"/>
                  </a:lnTo>
                  <a:lnTo>
                    <a:pt x="912" y="924"/>
                  </a:lnTo>
                  <a:lnTo>
                    <a:pt x="918" y="924"/>
                  </a:lnTo>
                  <a:lnTo>
                    <a:pt x="918" y="918"/>
                  </a:lnTo>
                  <a:lnTo>
                    <a:pt x="936" y="906"/>
                  </a:lnTo>
                  <a:lnTo>
                    <a:pt x="942" y="906"/>
                  </a:lnTo>
                  <a:lnTo>
                    <a:pt x="948" y="906"/>
                  </a:lnTo>
                  <a:lnTo>
                    <a:pt x="954" y="906"/>
                  </a:lnTo>
                  <a:lnTo>
                    <a:pt x="960" y="906"/>
                  </a:lnTo>
                  <a:lnTo>
                    <a:pt x="966" y="912"/>
                  </a:lnTo>
                  <a:lnTo>
                    <a:pt x="972" y="906"/>
                  </a:lnTo>
                  <a:lnTo>
                    <a:pt x="978" y="906"/>
                  </a:lnTo>
                  <a:lnTo>
                    <a:pt x="984" y="900"/>
                  </a:lnTo>
                  <a:lnTo>
                    <a:pt x="984" y="894"/>
                  </a:lnTo>
                  <a:lnTo>
                    <a:pt x="990" y="894"/>
                  </a:lnTo>
                  <a:lnTo>
                    <a:pt x="996" y="888"/>
                  </a:lnTo>
                  <a:lnTo>
                    <a:pt x="1002" y="888"/>
                  </a:lnTo>
                  <a:lnTo>
                    <a:pt x="1008" y="882"/>
                  </a:lnTo>
                  <a:lnTo>
                    <a:pt x="1014" y="882"/>
                  </a:lnTo>
                  <a:lnTo>
                    <a:pt x="1020" y="882"/>
                  </a:lnTo>
                  <a:lnTo>
                    <a:pt x="1020" y="888"/>
                  </a:lnTo>
                  <a:lnTo>
                    <a:pt x="1026" y="882"/>
                  </a:lnTo>
                  <a:lnTo>
                    <a:pt x="1026" y="876"/>
                  </a:lnTo>
                  <a:lnTo>
                    <a:pt x="1026" y="870"/>
                  </a:lnTo>
                  <a:lnTo>
                    <a:pt x="1032" y="864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44" y="852"/>
                  </a:lnTo>
                  <a:lnTo>
                    <a:pt x="1038" y="846"/>
                  </a:lnTo>
                  <a:lnTo>
                    <a:pt x="1038" y="840"/>
                  </a:lnTo>
                  <a:lnTo>
                    <a:pt x="1032" y="840"/>
                  </a:lnTo>
                  <a:lnTo>
                    <a:pt x="1026" y="840"/>
                  </a:lnTo>
                  <a:lnTo>
                    <a:pt x="1020" y="840"/>
                  </a:lnTo>
                  <a:lnTo>
                    <a:pt x="1014" y="846"/>
                  </a:lnTo>
                  <a:lnTo>
                    <a:pt x="1008" y="846"/>
                  </a:lnTo>
                  <a:lnTo>
                    <a:pt x="1002" y="840"/>
                  </a:lnTo>
                  <a:lnTo>
                    <a:pt x="996" y="840"/>
                  </a:lnTo>
                  <a:lnTo>
                    <a:pt x="990" y="834"/>
                  </a:lnTo>
                  <a:lnTo>
                    <a:pt x="984" y="834"/>
                  </a:lnTo>
                  <a:lnTo>
                    <a:pt x="978" y="834"/>
                  </a:lnTo>
                  <a:lnTo>
                    <a:pt x="972" y="834"/>
                  </a:lnTo>
                  <a:lnTo>
                    <a:pt x="966" y="834"/>
                  </a:lnTo>
                  <a:lnTo>
                    <a:pt x="966" y="828"/>
                  </a:lnTo>
                  <a:lnTo>
                    <a:pt x="960" y="828"/>
                  </a:lnTo>
                  <a:lnTo>
                    <a:pt x="954" y="828"/>
                  </a:lnTo>
                  <a:lnTo>
                    <a:pt x="942" y="828"/>
                  </a:lnTo>
                  <a:lnTo>
                    <a:pt x="936" y="828"/>
                  </a:lnTo>
                  <a:lnTo>
                    <a:pt x="930" y="828"/>
                  </a:lnTo>
                  <a:lnTo>
                    <a:pt x="918" y="828"/>
                  </a:lnTo>
                  <a:lnTo>
                    <a:pt x="918" y="822"/>
                  </a:lnTo>
                  <a:lnTo>
                    <a:pt x="912" y="828"/>
                  </a:lnTo>
                  <a:lnTo>
                    <a:pt x="912" y="822"/>
                  </a:lnTo>
                  <a:lnTo>
                    <a:pt x="906" y="816"/>
                  </a:lnTo>
                  <a:lnTo>
                    <a:pt x="900" y="816"/>
                  </a:lnTo>
                  <a:lnTo>
                    <a:pt x="894" y="816"/>
                  </a:lnTo>
                  <a:lnTo>
                    <a:pt x="888" y="816"/>
                  </a:lnTo>
                  <a:lnTo>
                    <a:pt x="882" y="816"/>
                  </a:lnTo>
                  <a:lnTo>
                    <a:pt x="882" y="810"/>
                  </a:lnTo>
                  <a:lnTo>
                    <a:pt x="876" y="804"/>
                  </a:lnTo>
                  <a:lnTo>
                    <a:pt x="870" y="804"/>
                  </a:lnTo>
                  <a:lnTo>
                    <a:pt x="864" y="798"/>
                  </a:lnTo>
                  <a:lnTo>
                    <a:pt x="858" y="798"/>
                  </a:lnTo>
                  <a:lnTo>
                    <a:pt x="858" y="804"/>
                  </a:lnTo>
                  <a:lnTo>
                    <a:pt x="852" y="804"/>
                  </a:lnTo>
                  <a:lnTo>
                    <a:pt x="846" y="804"/>
                  </a:lnTo>
                  <a:lnTo>
                    <a:pt x="846" y="798"/>
                  </a:lnTo>
                  <a:lnTo>
                    <a:pt x="840" y="804"/>
                  </a:lnTo>
                  <a:lnTo>
                    <a:pt x="834" y="804"/>
                  </a:lnTo>
                  <a:lnTo>
                    <a:pt x="828" y="804"/>
                  </a:lnTo>
                  <a:lnTo>
                    <a:pt x="828" y="810"/>
                  </a:lnTo>
                  <a:lnTo>
                    <a:pt x="822" y="810"/>
                  </a:lnTo>
                  <a:lnTo>
                    <a:pt x="810" y="804"/>
                  </a:lnTo>
                  <a:lnTo>
                    <a:pt x="810" y="798"/>
                  </a:lnTo>
                  <a:lnTo>
                    <a:pt x="780" y="798"/>
                  </a:lnTo>
                  <a:lnTo>
                    <a:pt x="756" y="774"/>
                  </a:lnTo>
                  <a:lnTo>
                    <a:pt x="750" y="768"/>
                  </a:lnTo>
                  <a:lnTo>
                    <a:pt x="750" y="744"/>
                  </a:lnTo>
                  <a:lnTo>
                    <a:pt x="732" y="738"/>
                  </a:lnTo>
                  <a:lnTo>
                    <a:pt x="732" y="720"/>
                  </a:lnTo>
                  <a:lnTo>
                    <a:pt x="714" y="690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6" y="666"/>
                  </a:lnTo>
                  <a:lnTo>
                    <a:pt x="690" y="666"/>
                  </a:lnTo>
                  <a:lnTo>
                    <a:pt x="678" y="672"/>
                  </a:lnTo>
                  <a:lnTo>
                    <a:pt x="678" y="654"/>
                  </a:lnTo>
                  <a:lnTo>
                    <a:pt x="684" y="630"/>
                  </a:lnTo>
                  <a:lnTo>
                    <a:pt x="690" y="618"/>
                  </a:lnTo>
                  <a:lnTo>
                    <a:pt x="696" y="612"/>
                  </a:lnTo>
                  <a:lnTo>
                    <a:pt x="696" y="588"/>
                  </a:lnTo>
                  <a:lnTo>
                    <a:pt x="690" y="576"/>
                  </a:lnTo>
                  <a:lnTo>
                    <a:pt x="696" y="552"/>
                  </a:lnTo>
                  <a:lnTo>
                    <a:pt x="684" y="522"/>
                  </a:lnTo>
                  <a:lnTo>
                    <a:pt x="672" y="504"/>
                  </a:lnTo>
                  <a:lnTo>
                    <a:pt x="654" y="504"/>
                  </a:lnTo>
                  <a:lnTo>
                    <a:pt x="642" y="504"/>
                  </a:lnTo>
                  <a:lnTo>
                    <a:pt x="624" y="510"/>
                  </a:lnTo>
                  <a:lnTo>
                    <a:pt x="612" y="516"/>
                  </a:lnTo>
                  <a:lnTo>
                    <a:pt x="594" y="516"/>
                  </a:lnTo>
                  <a:lnTo>
                    <a:pt x="588" y="516"/>
                  </a:lnTo>
                  <a:lnTo>
                    <a:pt x="588" y="522"/>
                  </a:lnTo>
                  <a:lnTo>
                    <a:pt x="582" y="516"/>
                  </a:lnTo>
                  <a:lnTo>
                    <a:pt x="588" y="510"/>
                  </a:lnTo>
                  <a:lnTo>
                    <a:pt x="582" y="510"/>
                  </a:lnTo>
                  <a:lnTo>
                    <a:pt x="582" y="504"/>
                  </a:lnTo>
                  <a:lnTo>
                    <a:pt x="576" y="498"/>
                  </a:lnTo>
                  <a:lnTo>
                    <a:pt x="570" y="498"/>
                  </a:lnTo>
                  <a:lnTo>
                    <a:pt x="570" y="492"/>
                  </a:lnTo>
                  <a:lnTo>
                    <a:pt x="564" y="492"/>
                  </a:lnTo>
                  <a:lnTo>
                    <a:pt x="570" y="486"/>
                  </a:lnTo>
                  <a:lnTo>
                    <a:pt x="564" y="486"/>
                  </a:lnTo>
                  <a:lnTo>
                    <a:pt x="564" y="480"/>
                  </a:lnTo>
                  <a:lnTo>
                    <a:pt x="564" y="474"/>
                  </a:lnTo>
                  <a:lnTo>
                    <a:pt x="558" y="468"/>
                  </a:lnTo>
                  <a:lnTo>
                    <a:pt x="564" y="468"/>
                  </a:lnTo>
                  <a:lnTo>
                    <a:pt x="564" y="462"/>
                  </a:lnTo>
                  <a:lnTo>
                    <a:pt x="570" y="462"/>
                  </a:lnTo>
                  <a:lnTo>
                    <a:pt x="570" y="456"/>
                  </a:lnTo>
                  <a:lnTo>
                    <a:pt x="570" y="450"/>
                  </a:lnTo>
                  <a:lnTo>
                    <a:pt x="576" y="450"/>
                  </a:lnTo>
                  <a:lnTo>
                    <a:pt x="576" y="444"/>
                  </a:lnTo>
                  <a:lnTo>
                    <a:pt x="582" y="438"/>
                  </a:lnTo>
                  <a:lnTo>
                    <a:pt x="588" y="438"/>
                  </a:lnTo>
                  <a:lnTo>
                    <a:pt x="588" y="444"/>
                  </a:lnTo>
                  <a:lnTo>
                    <a:pt x="594" y="438"/>
                  </a:lnTo>
                  <a:lnTo>
                    <a:pt x="594" y="432"/>
                  </a:lnTo>
                  <a:lnTo>
                    <a:pt x="600" y="432"/>
                  </a:lnTo>
                  <a:lnTo>
                    <a:pt x="600" y="426"/>
                  </a:lnTo>
                  <a:lnTo>
                    <a:pt x="600" y="420"/>
                  </a:lnTo>
                  <a:lnTo>
                    <a:pt x="606" y="420"/>
                  </a:lnTo>
                  <a:lnTo>
                    <a:pt x="600" y="420"/>
                  </a:lnTo>
                  <a:lnTo>
                    <a:pt x="600" y="414"/>
                  </a:lnTo>
                  <a:lnTo>
                    <a:pt x="606" y="408"/>
                  </a:lnTo>
                  <a:lnTo>
                    <a:pt x="612" y="408"/>
                  </a:lnTo>
                  <a:lnTo>
                    <a:pt x="612" y="414"/>
                  </a:lnTo>
                  <a:lnTo>
                    <a:pt x="618" y="414"/>
                  </a:lnTo>
                  <a:lnTo>
                    <a:pt x="624" y="414"/>
                  </a:lnTo>
                  <a:lnTo>
                    <a:pt x="630" y="414"/>
                  </a:lnTo>
                  <a:lnTo>
                    <a:pt x="636" y="414"/>
                  </a:lnTo>
                  <a:lnTo>
                    <a:pt x="642" y="408"/>
                  </a:lnTo>
                  <a:lnTo>
                    <a:pt x="648" y="408"/>
                  </a:lnTo>
                  <a:lnTo>
                    <a:pt x="660" y="408"/>
                  </a:lnTo>
                  <a:lnTo>
                    <a:pt x="666" y="402"/>
                  </a:lnTo>
                  <a:lnTo>
                    <a:pt x="672" y="402"/>
                  </a:lnTo>
                  <a:lnTo>
                    <a:pt x="684" y="396"/>
                  </a:lnTo>
                  <a:lnTo>
                    <a:pt x="690" y="396"/>
                  </a:lnTo>
                  <a:lnTo>
                    <a:pt x="696" y="396"/>
                  </a:lnTo>
                  <a:lnTo>
                    <a:pt x="702" y="396"/>
                  </a:lnTo>
                  <a:lnTo>
                    <a:pt x="708" y="396"/>
                  </a:lnTo>
                  <a:lnTo>
                    <a:pt x="714" y="390"/>
                  </a:lnTo>
                  <a:lnTo>
                    <a:pt x="714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32" y="384"/>
                  </a:lnTo>
                  <a:lnTo>
                    <a:pt x="738" y="378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56" y="372"/>
                  </a:lnTo>
                  <a:lnTo>
                    <a:pt x="762" y="366"/>
                  </a:lnTo>
                  <a:lnTo>
                    <a:pt x="768" y="366"/>
                  </a:lnTo>
                  <a:lnTo>
                    <a:pt x="774" y="366"/>
                  </a:lnTo>
                  <a:lnTo>
                    <a:pt x="774" y="360"/>
                  </a:lnTo>
                  <a:lnTo>
                    <a:pt x="780" y="366"/>
                  </a:lnTo>
                  <a:lnTo>
                    <a:pt x="786" y="366"/>
                  </a:lnTo>
                  <a:lnTo>
                    <a:pt x="786" y="360"/>
                  </a:lnTo>
                  <a:lnTo>
                    <a:pt x="792" y="354"/>
                  </a:lnTo>
                  <a:lnTo>
                    <a:pt x="786" y="354"/>
                  </a:lnTo>
                  <a:lnTo>
                    <a:pt x="792" y="348"/>
                  </a:lnTo>
                  <a:lnTo>
                    <a:pt x="798" y="348"/>
                  </a:lnTo>
                  <a:lnTo>
                    <a:pt x="804" y="348"/>
                  </a:lnTo>
                  <a:lnTo>
                    <a:pt x="810" y="342"/>
                  </a:lnTo>
                  <a:lnTo>
                    <a:pt x="816" y="342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28" y="336"/>
                  </a:lnTo>
                  <a:lnTo>
                    <a:pt x="834" y="336"/>
                  </a:lnTo>
                  <a:lnTo>
                    <a:pt x="840" y="336"/>
                  </a:lnTo>
                  <a:lnTo>
                    <a:pt x="846" y="330"/>
                  </a:lnTo>
                  <a:lnTo>
                    <a:pt x="852" y="330"/>
                  </a:lnTo>
                  <a:lnTo>
                    <a:pt x="858" y="330"/>
                  </a:lnTo>
                  <a:lnTo>
                    <a:pt x="864" y="324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0" y="312"/>
                  </a:lnTo>
                  <a:lnTo>
                    <a:pt x="876" y="312"/>
                  </a:lnTo>
                  <a:lnTo>
                    <a:pt x="882" y="312"/>
                  </a:lnTo>
                  <a:lnTo>
                    <a:pt x="882" y="318"/>
                  </a:lnTo>
                  <a:lnTo>
                    <a:pt x="888" y="312"/>
                  </a:lnTo>
                  <a:lnTo>
                    <a:pt x="894" y="306"/>
                  </a:lnTo>
                  <a:lnTo>
                    <a:pt x="900" y="306"/>
                  </a:lnTo>
                  <a:lnTo>
                    <a:pt x="906" y="306"/>
                  </a:lnTo>
                  <a:lnTo>
                    <a:pt x="912" y="300"/>
                  </a:lnTo>
                  <a:lnTo>
                    <a:pt x="906" y="294"/>
                  </a:lnTo>
                  <a:lnTo>
                    <a:pt x="912" y="276"/>
                  </a:lnTo>
                  <a:lnTo>
                    <a:pt x="912" y="252"/>
                  </a:lnTo>
                  <a:lnTo>
                    <a:pt x="906" y="234"/>
                  </a:lnTo>
                  <a:lnTo>
                    <a:pt x="912" y="228"/>
                  </a:lnTo>
                  <a:lnTo>
                    <a:pt x="912" y="216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24" y="192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36" y="186"/>
                  </a:lnTo>
                  <a:lnTo>
                    <a:pt x="930" y="180"/>
                  </a:lnTo>
                  <a:lnTo>
                    <a:pt x="930" y="174"/>
                  </a:lnTo>
                  <a:lnTo>
                    <a:pt x="936" y="156"/>
                  </a:lnTo>
                  <a:lnTo>
                    <a:pt x="930" y="156"/>
                  </a:lnTo>
                  <a:lnTo>
                    <a:pt x="924" y="150"/>
                  </a:lnTo>
                  <a:lnTo>
                    <a:pt x="942" y="78"/>
                  </a:lnTo>
                  <a:lnTo>
                    <a:pt x="948" y="78"/>
                  </a:lnTo>
                  <a:lnTo>
                    <a:pt x="954" y="66"/>
                  </a:lnTo>
                  <a:lnTo>
                    <a:pt x="954" y="72"/>
                  </a:lnTo>
                  <a:lnTo>
                    <a:pt x="954" y="66"/>
                  </a:lnTo>
                  <a:lnTo>
                    <a:pt x="960" y="66"/>
                  </a:lnTo>
                  <a:lnTo>
                    <a:pt x="966" y="66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54"/>
                  </a:lnTo>
                  <a:lnTo>
                    <a:pt x="990" y="54"/>
                  </a:lnTo>
                  <a:lnTo>
                    <a:pt x="996" y="48"/>
                  </a:lnTo>
                  <a:lnTo>
                    <a:pt x="1002" y="48"/>
                  </a:lnTo>
                  <a:lnTo>
                    <a:pt x="1032" y="48"/>
                  </a:lnTo>
                  <a:lnTo>
                    <a:pt x="1062" y="48"/>
                  </a:lnTo>
                  <a:lnTo>
                    <a:pt x="1068" y="78"/>
                  </a:lnTo>
                  <a:lnTo>
                    <a:pt x="1086" y="78"/>
                  </a:lnTo>
                  <a:lnTo>
                    <a:pt x="1092" y="66"/>
                  </a:lnTo>
                  <a:lnTo>
                    <a:pt x="1092" y="60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8" y="48"/>
                  </a:lnTo>
                  <a:lnTo>
                    <a:pt x="1104" y="48"/>
                  </a:lnTo>
                  <a:lnTo>
                    <a:pt x="1110" y="48"/>
                  </a:lnTo>
                  <a:lnTo>
                    <a:pt x="1110" y="42"/>
                  </a:lnTo>
                  <a:lnTo>
                    <a:pt x="1110" y="36"/>
                  </a:lnTo>
                  <a:lnTo>
                    <a:pt x="1116" y="36"/>
                  </a:lnTo>
                  <a:lnTo>
                    <a:pt x="1116" y="30"/>
                  </a:lnTo>
                  <a:lnTo>
                    <a:pt x="1122" y="30"/>
                  </a:lnTo>
                  <a:lnTo>
                    <a:pt x="1128" y="30"/>
                  </a:lnTo>
                  <a:lnTo>
                    <a:pt x="1134" y="30"/>
                  </a:lnTo>
                  <a:lnTo>
                    <a:pt x="1140" y="24"/>
                  </a:lnTo>
                  <a:lnTo>
                    <a:pt x="1152" y="18"/>
                  </a:lnTo>
                  <a:lnTo>
                    <a:pt x="1158" y="18"/>
                  </a:lnTo>
                  <a:lnTo>
                    <a:pt x="1152" y="12"/>
                  </a:lnTo>
                  <a:lnTo>
                    <a:pt x="1152" y="6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8"/>
                  </a:lnTo>
                  <a:lnTo>
                    <a:pt x="1170" y="12"/>
                  </a:lnTo>
                  <a:lnTo>
                    <a:pt x="1170" y="6"/>
                  </a:lnTo>
                  <a:lnTo>
                    <a:pt x="1176" y="6"/>
                  </a:lnTo>
                  <a:lnTo>
                    <a:pt x="1176" y="0"/>
                  </a:lnTo>
                  <a:lnTo>
                    <a:pt x="1182" y="6"/>
                  </a:lnTo>
                  <a:lnTo>
                    <a:pt x="1188" y="6"/>
                  </a:lnTo>
                  <a:lnTo>
                    <a:pt x="1188" y="0"/>
                  </a:lnTo>
                  <a:lnTo>
                    <a:pt x="1194" y="6"/>
                  </a:lnTo>
                  <a:lnTo>
                    <a:pt x="1200" y="12"/>
                  </a:lnTo>
                  <a:lnTo>
                    <a:pt x="1206" y="18"/>
                  </a:lnTo>
                  <a:lnTo>
                    <a:pt x="1212" y="18"/>
                  </a:lnTo>
                  <a:lnTo>
                    <a:pt x="1218" y="24"/>
                  </a:lnTo>
                  <a:lnTo>
                    <a:pt x="1236" y="36"/>
                  </a:lnTo>
                  <a:lnTo>
                    <a:pt x="1242" y="36"/>
                  </a:lnTo>
                  <a:lnTo>
                    <a:pt x="1248" y="42"/>
                  </a:lnTo>
                  <a:lnTo>
                    <a:pt x="1248" y="48"/>
                  </a:lnTo>
                  <a:lnTo>
                    <a:pt x="1260" y="48"/>
                  </a:lnTo>
                  <a:lnTo>
                    <a:pt x="1260" y="108"/>
                  </a:lnTo>
                  <a:lnTo>
                    <a:pt x="1266" y="168"/>
                  </a:lnTo>
                  <a:lnTo>
                    <a:pt x="1278" y="234"/>
                  </a:lnTo>
                  <a:lnTo>
                    <a:pt x="1284" y="240"/>
                  </a:lnTo>
                  <a:lnTo>
                    <a:pt x="1290" y="264"/>
                  </a:lnTo>
                  <a:lnTo>
                    <a:pt x="1296" y="288"/>
                  </a:lnTo>
                  <a:lnTo>
                    <a:pt x="1296" y="300"/>
                  </a:lnTo>
                  <a:lnTo>
                    <a:pt x="1296" y="312"/>
                  </a:lnTo>
                  <a:lnTo>
                    <a:pt x="1296" y="324"/>
                  </a:lnTo>
                  <a:lnTo>
                    <a:pt x="1296" y="354"/>
                  </a:lnTo>
                  <a:lnTo>
                    <a:pt x="1302" y="366"/>
                  </a:lnTo>
                  <a:lnTo>
                    <a:pt x="1308" y="372"/>
                  </a:lnTo>
                  <a:lnTo>
                    <a:pt x="1308" y="384"/>
                  </a:lnTo>
                  <a:lnTo>
                    <a:pt x="1314" y="390"/>
                  </a:lnTo>
                  <a:lnTo>
                    <a:pt x="1308" y="408"/>
                  </a:lnTo>
                  <a:lnTo>
                    <a:pt x="1314" y="408"/>
                  </a:lnTo>
                  <a:lnTo>
                    <a:pt x="1314" y="414"/>
                  </a:lnTo>
                  <a:lnTo>
                    <a:pt x="1308" y="420"/>
                  </a:lnTo>
                  <a:lnTo>
                    <a:pt x="1308" y="432"/>
                  </a:lnTo>
                  <a:lnTo>
                    <a:pt x="1320" y="432"/>
                  </a:lnTo>
                  <a:lnTo>
                    <a:pt x="1320" y="444"/>
                  </a:lnTo>
                  <a:lnTo>
                    <a:pt x="1332" y="444"/>
                  </a:lnTo>
                  <a:lnTo>
                    <a:pt x="1338" y="450"/>
                  </a:lnTo>
                  <a:lnTo>
                    <a:pt x="1344" y="456"/>
                  </a:lnTo>
                  <a:lnTo>
                    <a:pt x="1344" y="462"/>
                  </a:lnTo>
                  <a:lnTo>
                    <a:pt x="1344" y="474"/>
                  </a:lnTo>
                  <a:lnTo>
                    <a:pt x="1350" y="474"/>
                  </a:lnTo>
                  <a:lnTo>
                    <a:pt x="1368" y="504"/>
                  </a:lnTo>
                  <a:lnTo>
                    <a:pt x="1374" y="534"/>
                  </a:lnTo>
                  <a:lnTo>
                    <a:pt x="1380" y="558"/>
                  </a:lnTo>
                  <a:lnTo>
                    <a:pt x="1386" y="576"/>
                  </a:lnTo>
                  <a:lnTo>
                    <a:pt x="1386" y="600"/>
                  </a:lnTo>
                  <a:lnTo>
                    <a:pt x="1386" y="624"/>
                  </a:lnTo>
                  <a:lnTo>
                    <a:pt x="1386" y="648"/>
                  </a:lnTo>
                  <a:lnTo>
                    <a:pt x="1386" y="684"/>
                  </a:lnTo>
                  <a:lnTo>
                    <a:pt x="1380" y="684"/>
                  </a:lnTo>
                  <a:lnTo>
                    <a:pt x="1374" y="696"/>
                  </a:lnTo>
                  <a:lnTo>
                    <a:pt x="1368" y="702"/>
                  </a:lnTo>
                  <a:lnTo>
                    <a:pt x="1362" y="708"/>
                  </a:lnTo>
                  <a:lnTo>
                    <a:pt x="1356" y="714"/>
                  </a:lnTo>
                  <a:lnTo>
                    <a:pt x="1350" y="720"/>
                  </a:lnTo>
                  <a:lnTo>
                    <a:pt x="1338" y="720"/>
                  </a:lnTo>
                  <a:lnTo>
                    <a:pt x="1338" y="738"/>
                  </a:lnTo>
                  <a:lnTo>
                    <a:pt x="1362" y="750"/>
                  </a:lnTo>
                  <a:lnTo>
                    <a:pt x="1362" y="756"/>
                  </a:lnTo>
                  <a:lnTo>
                    <a:pt x="1374" y="756"/>
                  </a:lnTo>
                  <a:lnTo>
                    <a:pt x="1410" y="774"/>
                  </a:lnTo>
                  <a:lnTo>
                    <a:pt x="1446" y="774"/>
                  </a:lnTo>
                  <a:lnTo>
                    <a:pt x="1482" y="768"/>
                  </a:lnTo>
                  <a:lnTo>
                    <a:pt x="1500" y="774"/>
                  </a:lnTo>
                  <a:lnTo>
                    <a:pt x="1512" y="78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6" name="Freeform 11">
              <a:extLst>
                <a:ext uri="{FF2B5EF4-FFF2-40B4-BE49-F238E27FC236}">
                  <a16:creationId xmlns:a16="http://schemas.microsoft.com/office/drawing/2014/main" id="{1FF8E66F-B850-456A-B132-C45FEEDE95C6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2475" y="2345643"/>
              <a:ext cx="445003" cy="603855"/>
            </a:xfrm>
            <a:custGeom>
              <a:avLst/>
              <a:gdLst>
                <a:gd name="T0" fmla="*/ 47 w 840"/>
                <a:gd name="T1" fmla="*/ 98 h 1134"/>
                <a:gd name="T2" fmla="*/ 41 w 840"/>
                <a:gd name="T3" fmla="*/ 98 h 1134"/>
                <a:gd name="T4" fmla="*/ 37 w 840"/>
                <a:gd name="T5" fmla="*/ 98 h 1134"/>
                <a:gd name="T6" fmla="*/ 29 w 840"/>
                <a:gd name="T7" fmla="*/ 97 h 1134"/>
                <a:gd name="T8" fmla="*/ 27 w 840"/>
                <a:gd name="T9" fmla="*/ 94 h 1134"/>
                <a:gd name="T10" fmla="*/ 26 w 840"/>
                <a:gd name="T11" fmla="*/ 93 h 1134"/>
                <a:gd name="T12" fmla="*/ 26 w 840"/>
                <a:gd name="T13" fmla="*/ 83 h 1134"/>
                <a:gd name="T14" fmla="*/ 26 w 840"/>
                <a:gd name="T15" fmla="*/ 81 h 1134"/>
                <a:gd name="T16" fmla="*/ 23 w 840"/>
                <a:gd name="T17" fmla="*/ 77 h 1134"/>
                <a:gd name="T18" fmla="*/ 19 w 840"/>
                <a:gd name="T19" fmla="*/ 75 h 1134"/>
                <a:gd name="T20" fmla="*/ 16 w 840"/>
                <a:gd name="T21" fmla="*/ 72 h 1134"/>
                <a:gd name="T22" fmla="*/ 13 w 840"/>
                <a:gd name="T23" fmla="*/ 70 h 1134"/>
                <a:gd name="T24" fmla="*/ 17 w 840"/>
                <a:gd name="T25" fmla="*/ 67 h 1134"/>
                <a:gd name="T26" fmla="*/ 19 w 840"/>
                <a:gd name="T27" fmla="*/ 63 h 1134"/>
                <a:gd name="T28" fmla="*/ 20 w 840"/>
                <a:gd name="T29" fmla="*/ 59 h 1134"/>
                <a:gd name="T30" fmla="*/ 19 w 840"/>
                <a:gd name="T31" fmla="*/ 55 h 1134"/>
                <a:gd name="T32" fmla="*/ 17 w 840"/>
                <a:gd name="T33" fmla="*/ 47 h 1134"/>
                <a:gd name="T34" fmla="*/ 8 w 840"/>
                <a:gd name="T35" fmla="*/ 45 h 1134"/>
                <a:gd name="T36" fmla="*/ 4 w 840"/>
                <a:gd name="T37" fmla="*/ 39 h 1134"/>
                <a:gd name="T38" fmla="*/ 2 w 840"/>
                <a:gd name="T39" fmla="*/ 35 h 1134"/>
                <a:gd name="T40" fmla="*/ 0 w 840"/>
                <a:gd name="T41" fmla="*/ 31 h 1134"/>
                <a:gd name="T42" fmla="*/ 2 w 840"/>
                <a:gd name="T43" fmla="*/ 27 h 1134"/>
                <a:gd name="T44" fmla="*/ 5 w 840"/>
                <a:gd name="T45" fmla="*/ 24 h 1134"/>
                <a:gd name="T46" fmla="*/ 10 w 840"/>
                <a:gd name="T47" fmla="*/ 26 h 1134"/>
                <a:gd name="T48" fmla="*/ 7 w 840"/>
                <a:gd name="T49" fmla="*/ 20 h 1134"/>
                <a:gd name="T50" fmla="*/ 12 w 840"/>
                <a:gd name="T51" fmla="*/ 12 h 1134"/>
                <a:gd name="T52" fmla="*/ 19 w 840"/>
                <a:gd name="T53" fmla="*/ 10 h 1134"/>
                <a:gd name="T54" fmla="*/ 20 w 840"/>
                <a:gd name="T55" fmla="*/ 13 h 1134"/>
                <a:gd name="T56" fmla="*/ 22 w 840"/>
                <a:gd name="T57" fmla="*/ 11 h 1134"/>
                <a:gd name="T58" fmla="*/ 25 w 840"/>
                <a:gd name="T59" fmla="*/ 7 h 1134"/>
                <a:gd name="T60" fmla="*/ 29 w 840"/>
                <a:gd name="T61" fmla="*/ 2 h 1134"/>
                <a:gd name="T62" fmla="*/ 33 w 840"/>
                <a:gd name="T63" fmla="*/ 1 h 1134"/>
                <a:gd name="T64" fmla="*/ 37 w 840"/>
                <a:gd name="T65" fmla="*/ 2 h 1134"/>
                <a:gd name="T66" fmla="*/ 39 w 840"/>
                <a:gd name="T67" fmla="*/ 4 h 1134"/>
                <a:gd name="T68" fmla="*/ 43 w 840"/>
                <a:gd name="T69" fmla="*/ 5 h 1134"/>
                <a:gd name="T70" fmla="*/ 46 w 840"/>
                <a:gd name="T71" fmla="*/ 11 h 1134"/>
                <a:gd name="T72" fmla="*/ 49 w 840"/>
                <a:gd name="T73" fmla="*/ 12 h 1134"/>
                <a:gd name="T74" fmla="*/ 52 w 840"/>
                <a:gd name="T75" fmla="*/ 15 h 1134"/>
                <a:gd name="T76" fmla="*/ 54 w 840"/>
                <a:gd name="T77" fmla="*/ 18 h 1134"/>
                <a:gd name="T78" fmla="*/ 55 w 840"/>
                <a:gd name="T79" fmla="*/ 22 h 1134"/>
                <a:gd name="T80" fmla="*/ 56 w 840"/>
                <a:gd name="T81" fmla="*/ 26 h 1134"/>
                <a:gd name="T82" fmla="*/ 55 w 840"/>
                <a:gd name="T83" fmla="*/ 32 h 1134"/>
                <a:gd name="T84" fmla="*/ 55 w 840"/>
                <a:gd name="T85" fmla="*/ 36 h 1134"/>
                <a:gd name="T86" fmla="*/ 54 w 840"/>
                <a:gd name="T87" fmla="*/ 39 h 1134"/>
                <a:gd name="T88" fmla="*/ 56 w 840"/>
                <a:gd name="T89" fmla="*/ 39 h 1134"/>
                <a:gd name="T90" fmla="*/ 58 w 840"/>
                <a:gd name="T91" fmla="*/ 39 h 1134"/>
                <a:gd name="T92" fmla="*/ 61 w 840"/>
                <a:gd name="T93" fmla="*/ 39 h 1134"/>
                <a:gd name="T94" fmla="*/ 60 w 840"/>
                <a:gd name="T95" fmla="*/ 49 h 1134"/>
                <a:gd name="T96" fmla="*/ 59 w 840"/>
                <a:gd name="T97" fmla="*/ 53 h 1134"/>
                <a:gd name="T98" fmla="*/ 59 w 840"/>
                <a:gd name="T99" fmla="*/ 56 h 1134"/>
                <a:gd name="T100" fmla="*/ 60 w 840"/>
                <a:gd name="T101" fmla="*/ 59 h 1134"/>
                <a:gd name="T102" fmla="*/ 64 w 840"/>
                <a:gd name="T103" fmla="*/ 61 h 1134"/>
                <a:gd name="T104" fmla="*/ 69 w 840"/>
                <a:gd name="T105" fmla="*/ 63 h 1134"/>
                <a:gd name="T106" fmla="*/ 72 w 840"/>
                <a:gd name="T107" fmla="*/ 69 h 1134"/>
                <a:gd name="T108" fmla="*/ 72 w 840"/>
                <a:gd name="T109" fmla="*/ 73 h 1134"/>
                <a:gd name="T110" fmla="*/ 72 w 840"/>
                <a:gd name="T111" fmla="*/ 83 h 1134"/>
                <a:gd name="T112" fmla="*/ 63 w 840"/>
                <a:gd name="T113" fmla="*/ 88 h 1134"/>
                <a:gd name="T114" fmla="*/ 52 w 840"/>
                <a:gd name="T115" fmla="*/ 95 h 11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40"/>
                <a:gd name="T175" fmla="*/ 0 h 1134"/>
                <a:gd name="T176" fmla="*/ 840 w 840"/>
                <a:gd name="T177" fmla="*/ 1134 h 11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40" h="1134">
                  <a:moveTo>
                    <a:pt x="564" y="1110"/>
                  </a:moveTo>
                  <a:lnTo>
                    <a:pt x="564" y="1104"/>
                  </a:lnTo>
                  <a:lnTo>
                    <a:pt x="558" y="1104"/>
                  </a:lnTo>
                  <a:lnTo>
                    <a:pt x="552" y="1110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28" y="1128"/>
                  </a:lnTo>
                  <a:lnTo>
                    <a:pt x="498" y="1128"/>
                  </a:lnTo>
                  <a:lnTo>
                    <a:pt x="492" y="1128"/>
                  </a:lnTo>
                  <a:lnTo>
                    <a:pt x="486" y="1128"/>
                  </a:lnTo>
                  <a:lnTo>
                    <a:pt x="480" y="1128"/>
                  </a:lnTo>
                  <a:lnTo>
                    <a:pt x="474" y="1134"/>
                  </a:lnTo>
                  <a:lnTo>
                    <a:pt x="468" y="1134"/>
                  </a:lnTo>
                  <a:lnTo>
                    <a:pt x="462" y="1134"/>
                  </a:lnTo>
                  <a:lnTo>
                    <a:pt x="456" y="1134"/>
                  </a:lnTo>
                  <a:lnTo>
                    <a:pt x="456" y="1128"/>
                  </a:lnTo>
                  <a:lnTo>
                    <a:pt x="450" y="1122"/>
                  </a:lnTo>
                  <a:lnTo>
                    <a:pt x="426" y="1128"/>
                  </a:lnTo>
                  <a:lnTo>
                    <a:pt x="414" y="1128"/>
                  </a:lnTo>
                  <a:lnTo>
                    <a:pt x="348" y="1134"/>
                  </a:lnTo>
                  <a:lnTo>
                    <a:pt x="348" y="1128"/>
                  </a:lnTo>
                  <a:lnTo>
                    <a:pt x="342" y="1128"/>
                  </a:lnTo>
                  <a:lnTo>
                    <a:pt x="336" y="1122"/>
                  </a:lnTo>
                  <a:lnTo>
                    <a:pt x="330" y="1122"/>
                  </a:lnTo>
                  <a:lnTo>
                    <a:pt x="324" y="1116"/>
                  </a:lnTo>
                  <a:lnTo>
                    <a:pt x="324" y="1110"/>
                  </a:lnTo>
                  <a:lnTo>
                    <a:pt x="318" y="1110"/>
                  </a:lnTo>
                  <a:lnTo>
                    <a:pt x="318" y="1104"/>
                  </a:lnTo>
                  <a:lnTo>
                    <a:pt x="312" y="1092"/>
                  </a:lnTo>
                  <a:lnTo>
                    <a:pt x="306" y="1086"/>
                  </a:lnTo>
                  <a:lnTo>
                    <a:pt x="306" y="1080"/>
                  </a:lnTo>
                  <a:lnTo>
                    <a:pt x="312" y="1074"/>
                  </a:lnTo>
                  <a:lnTo>
                    <a:pt x="306" y="1068"/>
                  </a:lnTo>
                  <a:lnTo>
                    <a:pt x="300" y="1074"/>
                  </a:lnTo>
                  <a:lnTo>
                    <a:pt x="300" y="1068"/>
                  </a:lnTo>
                  <a:lnTo>
                    <a:pt x="294" y="1068"/>
                  </a:lnTo>
                  <a:lnTo>
                    <a:pt x="294" y="1056"/>
                  </a:lnTo>
                  <a:lnTo>
                    <a:pt x="294" y="1026"/>
                  </a:lnTo>
                  <a:lnTo>
                    <a:pt x="294" y="1020"/>
                  </a:lnTo>
                  <a:lnTo>
                    <a:pt x="294" y="1008"/>
                  </a:lnTo>
                  <a:lnTo>
                    <a:pt x="294" y="966"/>
                  </a:lnTo>
                  <a:lnTo>
                    <a:pt x="294" y="960"/>
                  </a:lnTo>
                  <a:lnTo>
                    <a:pt x="294" y="954"/>
                  </a:lnTo>
                  <a:lnTo>
                    <a:pt x="294" y="948"/>
                  </a:lnTo>
                  <a:lnTo>
                    <a:pt x="294" y="942"/>
                  </a:lnTo>
                  <a:lnTo>
                    <a:pt x="300" y="936"/>
                  </a:lnTo>
                  <a:lnTo>
                    <a:pt x="300" y="930"/>
                  </a:lnTo>
                  <a:lnTo>
                    <a:pt x="294" y="930"/>
                  </a:lnTo>
                  <a:lnTo>
                    <a:pt x="288" y="930"/>
                  </a:lnTo>
                  <a:lnTo>
                    <a:pt x="288" y="924"/>
                  </a:lnTo>
                  <a:lnTo>
                    <a:pt x="282" y="918"/>
                  </a:lnTo>
                  <a:lnTo>
                    <a:pt x="282" y="906"/>
                  </a:lnTo>
                  <a:lnTo>
                    <a:pt x="282" y="900"/>
                  </a:lnTo>
                  <a:lnTo>
                    <a:pt x="264" y="894"/>
                  </a:lnTo>
                  <a:lnTo>
                    <a:pt x="252" y="882"/>
                  </a:lnTo>
                  <a:lnTo>
                    <a:pt x="246" y="876"/>
                  </a:lnTo>
                  <a:lnTo>
                    <a:pt x="240" y="876"/>
                  </a:lnTo>
                  <a:lnTo>
                    <a:pt x="240" y="870"/>
                  </a:lnTo>
                  <a:lnTo>
                    <a:pt x="234" y="870"/>
                  </a:lnTo>
                  <a:lnTo>
                    <a:pt x="222" y="864"/>
                  </a:lnTo>
                  <a:lnTo>
                    <a:pt x="216" y="864"/>
                  </a:lnTo>
                  <a:lnTo>
                    <a:pt x="210" y="858"/>
                  </a:lnTo>
                  <a:lnTo>
                    <a:pt x="210" y="852"/>
                  </a:lnTo>
                  <a:lnTo>
                    <a:pt x="210" y="846"/>
                  </a:lnTo>
                  <a:lnTo>
                    <a:pt x="198" y="840"/>
                  </a:lnTo>
                  <a:lnTo>
                    <a:pt x="186" y="834"/>
                  </a:lnTo>
                  <a:lnTo>
                    <a:pt x="180" y="828"/>
                  </a:lnTo>
                  <a:lnTo>
                    <a:pt x="180" y="822"/>
                  </a:lnTo>
                  <a:lnTo>
                    <a:pt x="174" y="822"/>
                  </a:lnTo>
                  <a:lnTo>
                    <a:pt x="162" y="816"/>
                  </a:lnTo>
                  <a:lnTo>
                    <a:pt x="156" y="810"/>
                  </a:lnTo>
                  <a:lnTo>
                    <a:pt x="150" y="810"/>
                  </a:lnTo>
                  <a:lnTo>
                    <a:pt x="144" y="798"/>
                  </a:lnTo>
                  <a:lnTo>
                    <a:pt x="138" y="786"/>
                  </a:lnTo>
                  <a:lnTo>
                    <a:pt x="138" y="780"/>
                  </a:lnTo>
                  <a:lnTo>
                    <a:pt x="144" y="774"/>
                  </a:lnTo>
                  <a:lnTo>
                    <a:pt x="150" y="768"/>
                  </a:lnTo>
                  <a:lnTo>
                    <a:pt x="192" y="768"/>
                  </a:lnTo>
                  <a:lnTo>
                    <a:pt x="210" y="762"/>
                  </a:lnTo>
                  <a:lnTo>
                    <a:pt x="216" y="756"/>
                  </a:lnTo>
                  <a:lnTo>
                    <a:pt x="216" y="744"/>
                  </a:lnTo>
                  <a:lnTo>
                    <a:pt x="216" y="738"/>
                  </a:lnTo>
                  <a:lnTo>
                    <a:pt x="216" y="732"/>
                  </a:lnTo>
                  <a:lnTo>
                    <a:pt x="216" y="726"/>
                  </a:lnTo>
                  <a:lnTo>
                    <a:pt x="216" y="720"/>
                  </a:lnTo>
                  <a:lnTo>
                    <a:pt x="228" y="702"/>
                  </a:lnTo>
                  <a:lnTo>
                    <a:pt x="234" y="696"/>
                  </a:lnTo>
                  <a:lnTo>
                    <a:pt x="240" y="690"/>
                  </a:lnTo>
                  <a:lnTo>
                    <a:pt x="240" y="684"/>
                  </a:lnTo>
                  <a:lnTo>
                    <a:pt x="234" y="678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0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22" y="630"/>
                  </a:lnTo>
                  <a:lnTo>
                    <a:pt x="222" y="618"/>
                  </a:lnTo>
                  <a:lnTo>
                    <a:pt x="222" y="582"/>
                  </a:lnTo>
                  <a:lnTo>
                    <a:pt x="228" y="582"/>
                  </a:lnTo>
                  <a:lnTo>
                    <a:pt x="222" y="564"/>
                  </a:lnTo>
                  <a:lnTo>
                    <a:pt x="210" y="552"/>
                  </a:lnTo>
                  <a:lnTo>
                    <a:pt x="192" y="540"/>
                  </a:lnTo>
                  <a:lnTo>
                    <a:pt x="174" y="540"/>
                  </a:lnTo>
                  <a:lnTo>
                    <a:pt x="150" y="534"/>
                  </a:lnTo>
                  <a:lnTo>
                    <a:pt x="126" y="528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90" y="516"/>
                  </a:lnTo>
                  <a:lnTo>
                    <a:pt x="78" y="504"/>
                  </a:lnTo>
                  <a:lnTo>
                    <a:pt x="72" y="498"/>
                  </a:lnTo>
                  <a:lnTo>
                    <a:pt x="66" y="486"/>
                  </a:lnTo>
                  <a:lnTo>
                    <a:pt x="54" y="468"/>
                  </a:lnTo>
                  <a:lnTo>
                    <a:pt x="54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42" y="438"/>
                  </a:lnTo>
                  <a:lnTo>
                    <a:pt x="36" y="438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24" y="384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2" y="360"/>
                  </a:lnTo>
                  <a:lnTo>
                    <a:pt x="6" y="360"/>
                  </a:lnTo>
                  <a:lnTo>
                    <a:pt x="0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0"/>
                  </a:lnTo>
                  <a:lnTo>
                    <a:pt x="18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8" y="270"/>
                  </a:lnTo>
                  <a:lnTo>
                    <a:pt x="90" y="276"/>
                  </a:lnTo>
                  <a:lnTo>
                    <a:pt x="108" y="294"/>
                  </a:lnTo>
                  <a:lnTo>
                    <a:pt x="114" y="294"/>
                  </a:lnTo>
                  <a:lnTo>
                    <a:pt x="114" y="276"/>
                  </a:lnTo>
                  <a:lnTo>
                    <a:pt x="114" y="270"/>
                  </a:lnTo>
                  <a:lnTo>
                    <a:pt x="102" y="258"/>
                  </a:lnTo>
                  <a:lnTo>
                    <a:pt x="96" y="246"/>
                  </a:lnTo>
                  <a:lnTo>
                    <a:pt x="90" y="234"/>
                  </a:lnTo>
                  <a:lnTo>
                    <a:pt x="78" y="228"/>
                  </a:lnTo>
                  <a:lnTo>
                    <a:pt x="72" y="216"/>
                  </a:lnTo>
                  <a:lnTo>
                    <a:pt x="66" y="192"/>
                  </a:lnTo>
                  <a:lnTo>
                    <a:pt x="90" y="174"/>
                  </a:lnTo>
                  <a:lnTo>
                    <a:pt x="120" y="150"/>
                  </a:lnTo>
                  <a:lnTo>
                    <a:pt x="132" y="150"/>
                  </a:lnTo>
                  <a:lnTo>
                    <a:pt x="138" y="144"/>
                  </a:lnTo>
                  <a:lnTo>
                    <a:pt x="138" y="138"/>
                  </a:lnTo>
                  <a:lnTo>
                    <a:pt x="156" y="126"/>
                  </a:lnTo>
                  <a:lnTo>
                    <a:pt x="180" y="114"/>
                  </a:lnTo>
                  <a:lnTo>
                    <a:pt x="216" y="114"/>
                  </a:lnTo>
                  <a:lnTo>
                    <a:pt x="222" y="114"/>
                  </a:lnTo>
                  <a:lnTo>
                    <a:pt x="222" y="120"/>
                  </a:lnTo>
                  <a:lnTo>
                    <a:pt x="222" y="126"/>
                  </a:lnTo>
                  <a:lnTo>
                    <a:pt x="222" y="132"/>
                  </a:lnTo>
                  <a:lnTo>
                    <a:pt x="228" y="138"/>
                  </a:lnTo>
                  <a:lnTo>
                    <a:pt x="228" y="144"/>
                  </a:lnTo>
                  <a:lnTo>
                    <a:pt x="228" y="150"/>
                  </a:lnTo>
                  <a:lnTo>
                    <a:pt x="234" y="150"/>
                  </a:lnTo>
                  <a:lnTo>
                    <a:pt x="234" y="144"/>
                  </a:lnTo>
                  <a:lnTo>
                    <a:pt x="240" y="144"/>
                  </a:lnTo>
                  <a:lnTo>
                    <a:pt x="246" y="144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58" y="126"/>
                  </a:lnTo>
                  <a:lnTo>
                    <a:pt x="258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76" y="96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6" y="72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36"/>
                  </a:lnTo>
                  <a:lnTo>
                    <a:pt x="330" y="24"/>
                  </a:lnTo>
                  <a:lnTo>
                    <a:pt x="330" y="18"/>
                  </a:lnTo>
                  <a:lnTo>
                    <a:pt x="330" y="12"/>
                  </a:lnTo>
                  <a:lnTo>
                    <a:pt x="336" y="6"/>
                  </a:lnTo>
                  <a:lnTo>
                    <a:pt x="366" y="0"/>
                  </a:lnTo>
                  <a:lnTo>
                    <a:pt x="372" y="6"/>
                  </a:lnTo>
                  <a:lnTo>
                    <a:pt x="384" y="12"/>
                  </a:lnTo>
                  <a:lnTo>
                    <a:pt x="402" y="12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18"/>
                  </a:lnTo>
                  <a:lnTo>
                    <a:pt x="420" y="18"/>
                  </a:lnTo>
                  <a:lnTo>
                    <a:pt x="426" y="24"/>
                  </a:lnTo>
                  <a:lnTo>
                    <a:pt x="432" y="30"/>
                  </a:lnTo>
                  <a:lnTo>
                    <a:pt x="438" y="36"/>
                  </a:lnTo>
                  <a:lnTo>
                    <a:pt x="444" y="42"/>
                  </a:lnTo>
                  <a:lnTo>
                    <a:pt x="450" y="42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16" y="78"/>
                  </a:lnTo>
                  <a:lnTo>
                    <a:pt x="522" y="102"/>
                  </a:lnTo>
                  <a:lnTo>
                    <a:pt x="522" y="108"/>
                  </a:lnTo>
                  <a:lnTo>
                    <a:pt x="528" y="126"/>
                  </a:lnTo>
                  <a:lnTo>
                    <a:pt x="534" y="126"/>
                  </a:lnTo>
                  <a:lnTo>
                    <a:pt x="540" y="120"/>
                  </a:lnTo>
                  <a:lnTo>
                    <a:pt x="546" y="126"/>
                  </a:lnTo>
                  <a:lnTo>
                    <a:pt x="552" y="126"/>
                  </a:lnTo>
                  <a:lnTo>
                    <a:pt x="558" y="132"/>
                  </a:lnTo>
                  <a:lnTo>
                    <a:pt x="564" y="138"/>
                  </a:lnTo>
                  <a:lnTo>
                    <a:pt x="570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594" y="168"/>
                  </a:lnTo>
                  <a:lnTo>
                    <a:pt x="600" y="174"/>
                  </a:lnTo>
                  <a:lnTo>
                    <a:pt x="606" y="180"/>
                  </a:lnTo>
                  <a:lnTo>
                    <a:pt x="606" y="186"/>
                  </a:lnTo>
                  <a:lnTo>
                    <a:pt x="612" y="192"/>
                  </a:lnTo>
                  <a:lnTo>
                    <a:pt x="612" y="198"/>
                  </a:lnTo>
                  <a:lnTo>
                    <a:pt x="624" y="204"/>
                  </a:lnTo>
                  <a:lnTo>
                    <a:pt x="624" y="210"/>
                  </a:lnTo>
                  <a:lnTo>
                    <a:pt x="630" y="216"/>
                  </a:lnTo>
                  <a:lnTo>
                    <a:pt x="636" y="222"/>
                  </a:lnTo>
                  <a:lnTo>
                    <a:pt x="636" y="228"/>
                  </a:lnTo>
                  <a:lnTo>
                    <a:pt x="636" y="234"/>
                  </a:lnTo>
                  <a:lnTo>
                    <a:pt x="636" y="252"/>
                  </a:lnTo>
                  <a:lnTo>
                    <a:pt x="636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42" y="276"/>
                  </a:lnTo>
                  <a:lnTo>
                    <a:pt x="642" y="282"/>
                  </a:lnTo>
                  <a:lnTo>
                    <a:pt x="642" y="288"/>
                  </a:lnTo>
                  <a:lnTo>
                    <a:pt x="642" y="300"/>
                  </a:lnTo>
                  <a:lnTo>
                    <a:pt x="642" y="306"/>
                  </a:lnTo>
                  <a:lnTo>
                    <a:pt x="636" y="312"/>
                  </a:lnTo>
                  <a:lnTo>
                    <a:pt x="636" y="324"/>
                  </a:lnTo>
                  <a:lnTo>
                    <a:pt x="636" y="342"/>
                  </a:lnTo>
                  <a:lnTo>
                    <a:pt x="630" y="354"/>
                  </a:lnTo>
                  <a:lnTo>
                    <a:pt x="630" y="366"/>
                  </a:lnTo>
                  <a:lnTo>
                    <a:pt x="624" y="378"/>
                  </a:lnTo>
                  <a:lnTo>
                    <a:pt x="624" y="384"/>
                  </a:lnTo>
                  <a:lnTo>
                    <a:pt x="636" y="396"/>
                  </a:lnTo>
                  <a:lnTo>
                    <a:pt x="636" y="402"/>
                  </a:lnTo>
                  <a:lnTo>
                    <a:pt x="636" y="408"/>
                  </a:lnTo>
                  <a:lnTo>
                    <a:pt x="630" y="414"/>
                  </a:lnTo>
                  <a:lnTo>
                    <a:pt x="630" y="420"/>
                  </a:lnTo>
                  <a:lnTo>
                    <a:pt x="630" y="426"/>
                  </a:lnTo>
                  <a:lnTo>
                    <a:pt x="630" y="432"/>
                  </a:lnTo>
                  <a:lnTo>
                    <a:pt x="624" y="438"/>
                  </a:lnTo>
                  <a:lnTo>
                    <a:pt x="624" y="444"/>
                  </a:lnTo>
                  <a:lnTo>
                    <a:pt x="624" y="450"/>
                  </a:lnTo>
                  <a:lnTo>
                    <a:pt x="630" y="450"/>
                  </a:lnTo>
                  <a:lnTo>
                    <a:pt x="630" y="456"/>
                  </a:lnTo>
                  <a:lnTo>
                    <a:pt x="630" y="462"/>
                  </a:lnTo>
                  <a:lnTo>
                    <a:pt x="636" y="468"/>
                  </a:lnTo>
                  <a:lnTo>
                    <a:pt x="642" y="456"/>
                  </a:lnTo>
                  <a:lnTo>
                    <a:pt x="642" y="450"/>
                  </a:lnTo>
                  <a:lnTo>
                    <a:pt x="648" y="450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60" y="444"/>
                  </a:lnTo>
                  <a:lnTo>
                    <a:pt x="666" y="450"/>
                  </a:lnTo>
                  <a:lnTo>
                    <a:pt x="672" y="444"/>
                  </a:lnTo>
                  <a:lnTo>
                    <a:pt x="678" y="444"/>
                  </a:lnTo>
                  <a:lnTo>
                    <a:pt x="684" y="438"/>
                  </a:lnTo>
                  <a:lnTo>
                    <a:pt x="690" y="438"/>
                  </a:lnTo>
                  <a:lnTo>
                    <a:pt x="696" y="438"/>
                  </a:lnTo>
                  <a:lnTo>
                    <a:pt x="702" y="444"/>
                  </a:lnTo>
                  <a:lnTo>
                    <a:pt x="702" y="450"/>
                  </a:lnTo>
                  <a:lnTo>
                    <a:pt x="708" y="450"/>
                  </a:lnTo>
                  <a:lnTo>
                    <a:pt x="708" y="456"/>
                  </a:lnTo>
                  <a:lnTo>
                    <a:pt x="708" y="462"/>
                  </a:lnTo>
                  <a:lnTo>
                    <a:pt x="708" y="468"/>
                  </a:lnTo>
                  <a:lnTo>
                    <a:pt x="708" y="504"/>
                  </a:lnTo>
                  <a:lnTo>
                    <a:pt x="696" y="564"/>
                  </a:lnTo>
                  <a:lnTo>
                    <a:pt x="696" y="582"/>
                  </a:lnTo>
                  <a:lnTo>
                    <a:pt x="696" y="600"/>
                  </a:lnTo>
                  <a:lnTo>
                    <a:pt x="690" y="606"/>
                  </a:lnTo>
                  <a:lnTo>
                    <a:pt x="684" y="606"/>
                  </a:lnTo>
                  <a:lnTo>
                    <a:pt x="690" y="612"/>
                  </a:lnTo>
                  <a:lnTo>
                    <a:pt x="684" y="612"/>
                  </a:lnTo>
                  <a:lnTo>
                    <a:pt x="678" y="618"/>
                  </a:lnTo>
                  <a:lnTo>
                    <a:pt x="672" y="624"/>
                  </a:lnTo>
                  <a:lnTo>
                    <a:pt x="666" y="630"/>
                  </a:lnTo>
                  <a:lnTo>
                    <a:pt x="660" y="636"/>
                  </a:lnTo>
                  <a:lnTo>
                    <a:pt x="672" y="636"/>
                  </a:lnTo>
                  <a:lnTo>
                    <a:pt x="678" y="642"/>
                  </a:lnTo>
                  <a:lnTo>
                    <a:pt x="678" y="648"/>
                  </a:lnTo>
                  <a:lnTo>
                    <a:pt x="684" y="654"/>
                  </a:lnTo>
                  <a:lnTo>
                    <a:pt x="690" y="666"/>
                  </a:lnTo>
                  <a:lnTo>
                    <a:pt x="690" y="672"/>
                  </a:lnTo>
                  <a:lnTo>
                    <a:pt x="696" y="672"/>
                  </a:lnTo>
                  <a:lnTo>
                    <a:pt x="696" y="684"/>
                  </a:lnTo>
                  <a:lnTo>
                    <a:pt x="708" y="690"/>
                  </a:lnTo>
                  <a:lnTo>
                    <a:pt x="720" y="696"/>
                  </a:lnTo>
                  <a:lnTo>
                    <a:pt x="726" y="696"/>
                  </a:lnTo>
                  <a:lnTo>
                    <a:pt x="732" y="696"/>
                  </a:lnTo>
                  <a:lnTo>
                    <a:pt x="738" y="696"/>
                  </a:lnTo>
                  <a:lnTo>
                    <a:pt x="738" y="702"/>
                  </a:lnTo>
                  <a:lnTo>
                    <a:pt x="738" y="708"/>
                  </a:lnTo>
                  <a:lnTo>
                    <a:pt x="738" y="714"/>
                  </a:lnTo>
                  <a:lnTo>
                    <a:pt x="744" y="714"/>
                  </a:lnTo>
                  <a:lnTo>
                    <a:pt x="756" y="720"/>
                  </a:lnTo>
                  <a:lnTo>
                    <a:pt x="780" y="726"/>
                  </a:lnTo>
                  <a:lnTo>
                    <a:pt x="792" y="732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22" y="774"/>
                  </a:lnTo>
                  <a:lnTo>
                    <a:pt x="834" y="786"/>
                  </a:lnTo>
                  <a:lnTo>
                    <a:pt x="834" y="792"/>
                  </a:lnTo>
                  <a:lnTo>
                    <a:pt x="834" y="798"/>
                  </a:lnTo>
                  <a:lnTo>
                    <a:pt x="828" y="798"/>
                  </a:lnTo>
                  <a:lnTo>
                    <a:pt x="828" y="804"/>
                  </a:lnTo>
                  <a:lnTo>
                    <a:pt x="834" y="816"/>
                  </a:lnTo>
                  <a:lnTo>
                    <a:pt x="834" y="834"/>
                  </a:lnTo>
                  <a:lnTo>
                    <a:pt x="834" y="840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34" y="858"/>
                  </a:lnTo>
                  <a:lnTo>
                    <a:pt x="834" y="864"/>
                  </a:lnTo>
                  <a:lnTo>
                    <a:pt x="834" y="876"/>
                  </a:lnTo>
                  <a:lnTo>
                    <a:pt x="828" y="960"/>
                  </a:lnTo>
                  <a:lnTo>
                    <a:pt x="816" y="966"/>
                  </a:lnTo>
                  <a:lnTo>
                    <a:pt x="798" y="972"/>
                  </a:lnTo>
                  <a:lnTo>
                    <a:pt x="786" y="990"/>
                  </a:lnTo>
                  <a:lnTo>
                    <a:pt x="774" y="990"/>
                  </a:lnTo>
                  <a:lnTo>
                    <a:pt x="762" y="1008"/>
                  </a:lnTo>
                  <a:lnTo>
                    <a:pt x="732" y="1014"/>
                  </a:lnTo>
                  <a:lnTo>
                    <a:pt x="714" y="1026"/>
                  </a:lnTo>
                  <a:lnTo>
                    <a:pt x="690" y="1050"/>
                  </a:lnTo>
                  <a:lnTo>
                    <a:pt x="654" y="1056"/>
                  </a:lnTo>
                  <a:lnTo>
                    <a:pt x="630" y="1056"/>
                  </a:lnTo>
                  <a:lnTo>
                    <a:pt x="606" y="1068"/>
                  </a:lnTo>
                  <a:lnTo>
                    <a:pt x="600" y="1092"/>
                  </a:lnTo>
                  <a:lnTo>
                    <a:pt x="600" y="1098"/>
                  </a:lnTo>
                  <a:lnTo>
                    <a:pt x="588" y="1104"/>
                  </a:lnTo>
                  <a:lnTo>
                    <a:pt x="582" y="1104"/>
                  </a:lnTo>
                  <a:lnTo>
                    <a:pt x="570" y="1110"/>
                  </a:lnTo>
                  <a:lnTo>
                    <a:pt x="564" y="111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7" name="Freeform 12">
              <a:extLst>
                <a:ext uri="{FF2B5EF4-FFF2-40B4-BE49-F238E27FC236}">
                  <a16:creationId xmlns:a16="http://schemas.microsoft.com/office/drawing/2014/main" id="{6C93C114-E5D0-49BB-A44C-A127CE01CFE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810" y="2271838"/>
              <a:ext cx="923547" cy="845397"/>
            </a:xfrm>
            <a:custGeom>
              <a:avLst/>
              <a:gdLst>
                <a:gd name="T0" fmla="*/ 138 w 1740"/>
                <a:gd name="T1" fmla="*/ 134 h 1590"/>
                <a:gd name="T2" fmla="*/ 128 w 1740"/>
                <a:gd name="T3" fmla="*/ 131 h 1590"/>
                <a:gd name="T4" fmla="*/ 121 w 1740"/>
                <a:gd name="T5" fmla="*/ 130 h 1590"/>
                <a:gd name="T6" fmla="*/ 119 w 1740"/>
                <a:gd name="T7" fmla="*/ 134 h 1590"/>
                <a:gd name="T8" fmla="*/ 110 w 1740"/>
                <a:gd name="T9" fmla="*/ 132 h 1590"/>
                <a:gd name="T10" fmla="*/ 111 w 1740"/>
                <a:gd name="T11" fmla="*/ 127 h 1590"/>
                <a:gd name="T12" fmla="*/ 103 w 1740"/>
                <a:gd name="T13" fmla="*/ 117 h 1590"/>
                <a:gd name="T14" fmla="*/ 93 w 1740"/>
                <a:gd name="T15" fmla="*/ 123 h 1590"/>
                <a:gd name="T16" fmla="*/ 80 w 1740"/>
                <a:gd name="T17" fmla="*/ 118 h 1590"/>
                <a:gd name="T18" fmla="*/ 66 w 1740"/>
                <a:gd name="T19" fmla="*/ 117 h 1590"/>
                <a:gd name="T20" fmla="*/ 66 w 1740"/>
                <a:gd name="T21" fmla="*/ 110 h 1590"/>
                <a:gd name="T22" fmla="*/ 69 w 1740"/>
                <a:gd name="T23" fmla="*/ 107 h 1590"/>
                <a:gd name="T24" fmla="*/ 68 w 1740"/>
                <a:gd name="T25" fmla="*/ 102 h 1590"/>
                <a:gd name="T26" fmla="*/ 68 w 1740"/>
                <a:gd name="T27" fmla="*/ 96 h 1590"/>
                <a:gd name="T28" fmla="*/ 67 w 1740"/>
                <a:gd name="T29" fmla="*/ 82 h 1590"/>
                <a:gd name="T30" fmla="*/ 58 w 1740"/>
                <a:gd name="T31" fmla="*/ 82 h 1590"/>
                <a:gd name="T32" fmla="*/ 52 w 1740"/>
                <a:gd name="T33" fmla="*/ 82 h 1590"/>
                <a:gd name="T34" fmla="*/ 46 w 1740"/>
                <a:gd name="T35" fmla="*/ 80 h 1590"/>
                <a:gd name="T36" fmla="*/ 45 w 1740"/>
                <a:gd name="T37" fmla="*/ 74 h 1590"/>
                <a:gd name="T38" fmla="*/ 52 w 1740"/>
                <a:gd name="T39" fmla="*/ 70 h 1590"/>
                <a:gd name="T40" fmla="*/ 52 w 1740"/>
                <a:gd name="T41" fmla="*/ 64 h 1590"/>
                <a:gd name="T42" fmla="*/ 42 w 1740"/>
                <a:gd name="T43" fmla="*/ 53 h 1590"/>
                <a:gd name="T44" fmla="*/ 35 w 1740"/>
                <a:gd name="T45" fmla="*/ 52 h 1590"/>
                <a:gd name="T46" fmla="*/ 20 w 1740"/>
                <a:gd name="T47" fmla="*/ 51 h 1590"/>
                <a:gd name="T48" fmla="*/ 17 w 1740"/>
                <a:gd name="T49" fmla="*/ 56 h 1590"/>
                <a:gd name="T50" fmla="*/ 11 w 1740"/>
                <a:gd name="T51" fmla="*/ 61 h 1590"/>
                <a:gd name="T52" fmla="*/ 7 w 1740"/>
                <a:gd name="T53" fmla="*/ 63 h 1590"/>
                <a:gd name="T54" fmla="*/ 0 w 1740"/>
                <a:gd name="T55" fmla="*/ 55 h 1590"/>
                <a:gd name="T56" fmla="*/ 2 w 1740"/>
                <a:gd name="T57" fmla="*/ 50 h 1590"/>
                <a:gd name="T58" fmla="*/ 0 w 1740"/>
                <a:gd name="T59" fmla="*/ 44 h 1590"/>
                <a:gd name="T60" fmla="*/ 2 w 1740"/>
                <a:gd name="T61" fmla="*/ 38 h 1590"/>
                <a:gd name="T62" fmla="*/ 7 w 1740"/>
                <a:gd name="T63" fmla="*/ 35 h 1590"/>
                <a:gd name="T64" fmla="*/ 11 w 1740"/>
                <a:gd name="T65" fmla="*/ 30 h 1590"/>
                <a:gd name="T66" fmla="*/ 21 w 1740"/>
                <a:gd name="T67" fmla="*/ 26 h 1590"/>
                <a:gd name="T68" fmla="*/ 29 w 1740"/>
                <a:gd name="T69" fmla="*/ 25 h 1590"/>
                <a:gd name="T70" fmla="*/ 35 w 1740"/>
                <a:gd name="T71" fmla="*/ 21 h 1590"/>
                <a:gd name="T72" fmla="*/ 36 w 1740"/>
                <a:gd name="T73" fmla="*/ 16 h 1590"/>
                <a:gd name="T74" fmla="*/ 41 w 1740"/>
                <a:gd name="T75" fmla="*/ 11 h 1590"/>
                <a:gd name="T76" fmla="*/ 51 w 1740"/>
                <a:gd name="T77" fmla="*/ 9 h 1590"/>
                <a:gd name="T78" fmla="*/ 59 w 1740"/>
                <a:gd name="T79" fmla="*/ 21 h 1590"/>
                <a:gd name="T80" fmla="*/ 65 w 1740"/>
                <a:gd name="T81" fmla="*/ 13 h 1590"/>
                <a:gd name="T82" fmla="*/ 73 w 1740"/>
                <a:gd name="T83" fmla="*/ 8 h 1590"/>
                <a:gd name="T84" fmla="*/ 82 w 1740"/>
                <a:gd name="T85" fmla="*/ 12 h 1590"/>
                <a:gd name="T86" fmla="*/ 88 w 1740"/>
                <a:gd name="T87" fmla="*/ 12 h 1590"/>
                <a:gd name="T88" fmla="*/ 99 w 1740"/>
                <a:gd name="T89" fmla="*/ 7 h 1590"/>
                <a:gd name="T90" fmla="*/ 114 w 1740"/>
                <a:gd name="T91" fmla="*/ 0 h 1590"/>
                <a:gd name="T92" fmla="*/ 117 w 1740"/>
                <a:gd name="T93" fmla="*/ 10 h 1590"/>
                <a:gd name="T94" fmla="*/ 132 w 1740"/>
                <a:gd name="T95" fmla="*/ 17 h 1590"/>
                <a:gd name="T96" fmla="*/ 140 w 1740"/>
                <a:gd name="T97" fmla="*/ 25 h 1590"/>
                <a:gd name="T98" fmla="*/ 140 w 1740"/>
                <a:gd name="T99" fmla="*/ 33 h 1590"/>
                <a:gd name="T100" fmla="*/ 140 w 1740"/>
                <a:gd name="T101" fmla="*/ 44 h 1590"/>
                <a:gd name="T102" fmla="*/ 138 w 1740"/>
                <a:gd name="T103" fmla="*/ 48 h 1590"/>
                <a:gd name="T104" fmla="*/ 141 w 1740"/>
                <a:gd name="T105" fmla="*/ 49 h 1590"/>
                <a:gd name="T106" fmla="*/ 146 w 1740"/>
                <a:gd name="T107" fmla="*/ 50 h 1590"/>
                <a:gd name="T108" fmla="*/ 149 w 1740"/>
                <a:gd name="T109" fmla="*/ 59 h 1590"/>
                <a:gd name="T110" fmla="*/ 148 w 1740"/>
                <a:gd name="T111" fmla="*/ 67 h 1590"/>
                <a:gd name="T112" fmla="*/ 141 w 1740"/>
                <a:gd name="T113" fmla="*/ 78 h 1590"/>
                <a:gd name="T114" fmla="*/ 141 w 1740"/>
                <a:gd name="T115" fmla="*/ 91 h 1590"/>
                <a:gd name="T116" fmla="*/ 138 w 1740"/>
                <a:gd name="T117" fmla="*/ 102 h 1590"/>
                <a:gd name="T118" fmla="*/ 138 w 1740"/>
                <a:gd name="T119" fmla="*/ 110 h 1590"/>
                <a:gd name="T120" fmla="*/ 144 w 1740"/>
                <a:gd name="T121" fmla="*/ 118 h 1590"/>
                <a:gd name="T122" fmla="*/ 143 w 1740"/>
                <a:gd name="T123" fmla="*/ 125 h 159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740"/>
                <a:gd name="T187" fmla="*/ 0 h 1590"/>
                <a:gd name="T188" fmla="*/ 1740 w 1740"/>
                <a:gd name="T189" fmla="*/ 1590 h 159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740" h="1590">
                  <a:moveTo>
                    <a:pt x="1638" y="1458"/>
                  </a:moveTo>
                  <a:lnTo>
                    <a:pt x="1638" y="1482"/>
                  </a:lnTo>
                  <a:lnTo>
                    <a:pt x="1638" y="1500"/>
                  </a:lnTo>
                  <a:lnTo>
                    <a:pt x="1626" y="1500"/>
                  </a:lnTo>
                  <a:lnTo>
                    <a:pt x="1620" y="1500"/>
                  </a:lnTo>
                  <a:lnTo>
                    <a:pt x="1614" y="1500"/>
                  </a:lnTo>
                  <a:lnTo>
                    <a:pt x="1614" y="1506"/>
                  </a:lnTo>
                  <a:lnTo>
                    <a:pt x="1614" y="1512"/>
                  </a:lnTo>
                  <a:lnTo>
                    <a:pt x="1620" y="1518"/>
                  </a:lnTo>
                  <a:lnTo>
                    <a:pt x="1614" y="1524"/>
                  </a:lnTo>
                  <a:lnTo>
                    <a:pt x="1590" y="1536"/>
                  </a:lnTo>
                  <a:lnTo>
                    <a:pt x="1584" y="1566"/>
                  </a:lnTo>
                  <a:lnTo>
                    <a:pt x="1578" y="1590"/>
                  </a:lnTo>
                  <a:lnTo>
                    <a:pt x="1548" y="1590"/>
                  </a:lnTo>
                  <a:lnTo>
                    <a:pt x="1542" y="1584"/>
                  </a:lnTo>
                  <a:lnTo>
                    <a:pt x="1542" y="1572"/>
                  </a:lnTo>
                  <a:lnTo>
                    <a:pt x="1536" y="1566"/>
                  </a:lnTo>
                  <a:lnTo>
                    <a:pt x="1536" y="1554"/>
                  </a:lnTo>
                  <a:lnTo>
                    <a:pt x="1536" y="1548"/>
                  </a:lnTo>
                  <a:lnTo>
                    <a:pt x="1506" y="1530"/>
                  </a:lnTo>
                  <a:lnTo>
                    <a:pt x="1488" y="1506"/>
                  </a:lnTo>
                  <a:lnTo>
                    <a:pt x="1464" y="1500"/>
                  </a:lnTo>
                  <a:lnTo>
                    <a:pt x="1470" y="1494"/>
                  </a:lnTo>
                  <a:lnTo>
                    <a:pt x="1470" y="1488"/>
                  </a:lnTo>
                  <a:lnTo>
                    <a:pt x="1470" y="1482"/>
                  </a:lnTo>
                  <a:lnTo>
                    <a:pt x="1428" y="1464"/>
                  </a:lnTo>
                  <a:lnTo>
                    <a:pt x="1404" y="1470"/>
                  </a:lnTo>
                  <a:lnTo>
                    <a:pt x="1398" y="1470"/>
                  </a:lnTo>
                  <a:lnTo>
                    <a:pt x="1392" y="1476"/>
                  </a:lnTo>
                  <a:lnTo>
                    <a:pt x="1386" y="1476"/>
                  </a:lnTo>
                  <a:lnTo>
                    <a:pt x="1386" y="1482"/>
                  </a:lnTo>
                  <a:lnTo>
                    <a:pt x="1392" y="1482"/>
                  </a:lnTo>
                  <a:lnTo>
                    <a:pt x="1386" y="1488"/>
                  </a:lnTo>
                  <a:lnTo>
                    <a:pt x="1386" y="1494"/>
                  </a:lnTo>
                  <a:lnTo>
                    <a:pt x="1380" y="1494"/>
                  </a:lnTo>
                  <a:lnTo>
                    <a:pt x="1380" y="1500"/>
                  </a:lnTo>
                  <a:lnTo>
                    <a:pt x="1380" y="1512"/>
                  </a:lnTo>
                  <a:lnTo>
                    <a:pt x="1380" y="1518"/>
                  </a:lnTo>
                  <a:lnTo>
                    <a:pt x="1380" y="1524"/>
                  </a:lnTo>
                  <a:lnTo>
                    <a:pt x="1380" y="1530"/>
                  </a:lnTo>
                  <a:lnTo>
                    <a:pt x="1374" y="1536"/>
                  </a:lnTo>
                  <a:lnTo>
                    <a:pt x="1374" y="1542"/>
                  </a:lnTo>
                  <a:lnTo>
                    <a:pt x="1368" y="1542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44" y="1554"/>
                  </a:lnTo>
                  <a:lnTo>
                    <a:pt x="1332" y="1560"/>
                  </a:lnTo>
                  <a:lnTo>
                    <a:pt x="1302" y="1554"/>
                  </a:lnTo>
                  <a:lnTo>
                    <a:pt x="1290" y="1554"/>
                  </a:lnTo>
                  <a:lnTo>
                    <a:pt x="1278" y="1542"/>
                  </a:lnTo>
                  <a:lnTo>
                    <a:pt x="1272" y="1530"/>
                  </a:lnTo>
                  <a:lnTo>
                    <a:pt x="1272" y="1524"/>
                  </a:lnTo>
                  <a:lnTo>
                    <a:pt x="1272" y="1518"/>
                  </a:lnTo>
                  <a:lnTo>
                    <a:pt x="1266" y="1518"/>
                  </a:lnTo>
                  <a:lnTo>
                    <a:pt x="1266" y="1512"/>
                  </a:lnTo>
                  <a:lnTo>
                    <a:pt x="1266" y="1506"/>
                  </a:lnTo>
                  <a:lnTo>
                    <a:pt x="1272" y="1506"/>
                  </a:lnTo>
                  <a:lnTo>
                    <a:pt x="1272" y="1500"/>
                  </a:lnTo>
                  <a:lnTo>
                    <a:pt x="1278" y="1500"/>
                  </a:lnTo>
                  <a:lnTo>
                    <a:pt x="1278" y="1494"/>
                  </a:lnTo>
                  <a:lnTo>
                    <a:pt x="1278" y="1488"/>
                  </a:lnTo>
                  <a:lnTo>
                    <a:pt x="1284" y="1488"/>
                  </a:lnTo>
                  <a:lnTo>
                    <a:pt x="1284" y="1482"/>
                  </a:lnTo>
                  <a:lnTo>
                    <a:pt x="1290" y="1476"/>
                  </a:lnTo>
                  <a:lnTo>
                    <a:pt x="1284" y="1470"/>
                  </a:lnTo>
                  <a:lnTo>
                    <a:pt x="1278" y="1458"/>
                  </a:lnTo>
                  <a:lnTo>
                    <a:pt x="1278" y="1452"/>
                  </a:lnTo>
                  <a:lnTo>
                    <a:pt x="1260" y="1428"/>
                  </a:lnTo>
                  <a:lnTo>
                    <a:pt x="1254" y="1416"/>
                  </a:lnTo>
                  <a:lnTo>
                    <a:pt x="1254" y="1410"/>
                  </a:lnTo>
                  <a:lnTo>
                    <a:pt x="1248" y="1398"/>
                  </a:lnTo>
                  <a:lnTo>
                    <a:pt x="1242" y="1398"/>
                  </a:lnTo>
                  <a:lnTo>
                    <a:pt x="1236" y="1398"/>
                  </a:lnTo>
                  <a:lnTo>
                    <a:pt x="1218" y="1386"/>
                  </a:lnTo>
                  <a:lnTo>
                    <a:pt x="1212" y="1362"/>
                  </a:lnTo>
                  <a:lnTo>
                    <a:pt x="1200" y="1344"/>
                  </a:lnTo>
                  <a:lnTo>
                    <a:pt x="1188" y="1338"/>
                  </a:lnTo>
                  <a:lnTo>
                    <a:pt x="1164" y="1338"/>
                  </a:lnTo>
                  <a:lnTo>
                    <a:pt x="1158" y="1344"/>
                  </a:lnTo>
                  <a:lnTo>
                    <a:pt x="1152" y="1350"/>
                  </a:lnTo>
                  <a:lnTo>
                    <a:pt x="1152" y="1356"/>
                  </a:lnTo>
                  <a:lnTo>
                    <a:pt x="1140" y="1362"/>
                  </a:lnTo>
                  <a:lnTo>
                    <a:pt x="1134" y="1380"/>
                  </a:lnTo>
                  <a:lnTo>
                    <a:pt x="1116" y="1398"/>
                  </a:lnTo>
                  <a:lnTo>
                    <a:pt x="1110" y="1416"/>
                  </a:lnTo>
                  <a:lnTo>
                    <a:pt x="1086" y="1416"/>
                  </a:lnTo>
                  <a:lnTo>
                    <a:pt x="1080" y="1410"/>
                  </a:lnTo>
                  <a:lnTo>
                    <a:pt x="1074" y="1410"/>
                  </a:lnTo>
                  <a:lnTo>
                    <a:pt x="1074" y="1404"/>
                  </a:lnTo>
                  <a:lnTo>
                    <a:pt x="1062" y="1404"/>
                  </a:lnTo>
                  <a:lnTo>
                    <a:pt x="1062" y="1380"/>
                  </a:lnTo>
                  <a:lnTo>
                    <a:pt x="1038" y="1380"/>
                  </a:lnTo>
                  <a:lnTo>
                    <a:pt x="1026" y="1350"/>
                  </a:lnTo>
                  <a:lnTo>
                    <a:pt x="996" y="1326"/>
                  </a:lnTo>
                  <a:lnTo>
                    <a:pt x="966" y="1314"/>
                  </a:lnTo>
                  <a:lnTo>
                    <a:pt x="954" y="1320"/>
                  </a:lnTo>
                  <a:lnTo>
                    <a:pt x="942" y="1338"/>
                  </a:lnTo>
                  <a:lnTo>
                    <a:pt x="930" y="1338"/>
                  </a:lnTo>
                  <a:lnTo>
                    <a:pt x="924" y="1350"/>
                  </a:lnTo>
                  <a:lnTo>
                    <a:pt x="906" y="1356"/>
                  </a:lnTo>
                  <a:lnTo>
                    <a:pt x="846" y="1356"/>
                  </a:lnTo>
                  <a:lnTo>
                    <a:pt x="834" y="1368"/>
                  </a:lnTo>
                  <a:lnTo>
                    <a:pt x="810" y="1362"/>
                  </a:lnTo>
                  <a:lnTo>
                    <a:pt x="792" y="1362"/>
                  </a:lnTo>
                  <a:lnTo>
                    <a:pt x="780" y="1368"/>
                  </a:lnTo>
                  <a:lnTo>
                    <a:pt x="762" y="1368"/>
                  </a:lnTo>
                  <a:lnTo>
                    <a:pt x="762" y="1362"/>
                  </a:lnTo>
                  <a:lnTo>
                    <a:pt x="750" y="1362"/>
                  </a:lnTo>
                  <a:lnTo>
                    <a:pt x="750" y="1338"/>
                  </a:lnTo>
                  <a:lnTo>
                    <a:pt x="762" y="1338"/>
                  </a:lnTo>
                  <a:lnTo>
                    <a:pt x="762" y="1326"/>
                  </a:lnTo>
                  <a:lnTo>
                    <a:pt x="762" y="1314"/>
                  </a:lnTo>
                  <a:lnTo>
                    <a:pt x="732" y="1314"/>
                  </a:lnTo>
                  <a:lnTo>
                    <a:pt x="726" y="1308"/>
                  </a:lnTo>
                  <a:lnTo>
                    <a:pt x="732" y="1284"/>
                  </a:lnTo>
                  <a:lnTo>
                    <a:pt x="732" y="1278"/>
                  </a:lnTo>
                  <a:lnTo>
                    <a:pt x="738" y="1272"/>
                  </a:lnTo>
                  <a:lnTo>
                    <a:pt x="738" y="1266"/>
                  </a:lnTo>
                  <a:lnTo>
                    <a:pt x="744" y="1266"/>
                  </a:lnTo>
                  <a:lnTo>
                    <a:pt x="750" y="1272"/>
                  </a:lnTo>
                  <a:lnTo>
                    <a:pt x="756" y="1266"/>
                  </a:lnTo>
                  <a:lnTo>
                    <a:pt x="762" y="1266"/>
                  </a:lnTo>
                  <a:lnTo>
                    <a:pt x="768" y="1260"/>
                  </a:lnTo>
                  <a:lnTo>
                    <a:pt x="774" y="1260"/>
                  </a:lnTo>
                  <a:lnTo>
                    <a:pt x="780" y="1254"/>
                  </a:lnTo>
                  <a:lnTo>
                    <a:pt x="774" y="1254"/>
                  </a:lnTo>
                  <a:lnTo>
                    <a:pt x="768" y="1254"/>
                  </a:lnTo>
                  <a:lnTo>
                    <a:pt x="774" y="1248"/>
                  </a:lnTo>
                  <a:lnTo>
                    <a:pt x="774" y="1242"/>
                  </a:lnTo>
                  <a:lnTo>
                    <a:pt x="780" y="1236"/>
                  </a:lnTo>
                  <a:lnTo>
                    <a:pt x="786" y="1236"/>
                  </a:lnTo>
                  <a:lnTo>
                    <a:pt x="792" y="1230"/>
                  </a:lnTo>
                  <a:lnTo>
                    <a:pt x="792" y="1236"/>
                  </a:lnTo>
                  <a:lnTo>
                    <a:pt x="798" y="1236"/>
                  </a:lnTo>
                  <a:lnTo>
                    <a:pt x="798" y="1230"/>
                  </a:lnTo>
                  <a:lnTo>
                    <a:pt x="804" y="1230"/>
                  </a:lnTo>
                  <a:lnTo>
                    <a:pt x="804" y="1218"/>
                  </a:lnTo>
                  <a:lnTo>
                    <a:pt x="804" y="1206"/>
                  </a:lnTo>
                  <a:lnTo>
                    <a:pt x="792" y="1188"/>
                  </a:lnTo>
                  <a:lnTo>
                    <a:pt x="768" y="1182"/>
                  </a:lnTo>
                  <a:lnTo>
                    <a:pt x="768" y="1170"/>
                  </a:lnTo>
                  <a:lnTo>
                    <a:pt x="774" y="1170"/>
                  </a:lnTo>
                  <a:lnTo>
                    <a:pt x="780" y="1170"/>
                  </a:lnTo>
                  <a:lnTo>
                    <a:pt x="786" y="1170"/>
                  </a:lnTo>
                  <a:lnTo>
                    <a:pt x="780" y="1152"/>
                  </a:lnTo>
                  <a:lnTo>
                    <a:pt x="780" y="1146"/>
                  </a:lnTo>
                  <a:lnTo>
                    <a:pt x="744" y="1140"/>
                  </a:lnTo>
                  <a:lnTo>
                    <a:pt x="732" y="1128"/>
                  </a:lnTo>
                  <a:lnTo>
                    <a:pt x="720" y="1122"/>
                  </a:lnTo>
                  <a:lnTo>
                    <a:pt x="732" y="1116"/>
                  </a:lnTo>
                  <a:lnTo>
                    <a:pt x="750" y="1104"/>
                  </a:lnTo>
                  <a:lnTo>
                    <a:pt x="756" y="1116"/>
                  </a:lnTo>
                  <a:lnTo>
                    <a:pt x="774" y="1116"/>
                  </a:lnTo>
                  <a:lnTo>
                    <a:pt x="780" y="1104"/>
                  </a:lnTo>
                  <a:lnTo>
                    <a:pt x="780" y="1080"/>
                  </a:lnTo>
                  <a:lnTo>
                    <a:pt x="786" y="1080"/>
                  </a:lnTo>
                  <a:lnTo>
                    <a:pt x="786" y="1074"/>
                  </a:lnTo>
                  <a:lnTo>
                    <a:pt x="792" y="1074"/>
                  </a:lnTo>
                  <a:lnTo>
                    <a:pt x="786" y="1068"/>
                  </a:lnTo>
                  <a:lnTo>
                    <a:pt x="786" y="1062"/>
                  </a:lnTo>
                  <a:lnTo>
                    <a:pt x="786" y="1056"/>
                  </a:lnTo>
                  <a:lnTo>
                    <a:pt x="792" y="1050"/>
                  </a:lnTo>
                  <a:lnTo>
                    <a:pt x="786" y="1020"/>
                  </a:lnTo>
                  <a:lnTo>
                    <a:pt x="780" y="960"/>
                  </a:lnTo>
                  <a:lnTo>
                    <a:pt x="768" y="942"/>
                  </a:lnTo>
                  <a:lnTo>
                    <a:pt x="732" y="936"/>
                  </a:lnTo>
                  <a:lnTo>
                    <a:pt x="732" y="942"/>
                  </a:lnTo>
                  <a:lnTo>
                    <a:pt x="726" y="942"/>
                  </a:lnTo>
                  <a:lnTo>
                    <a:pt x="720" y="936"/>
                  </a:lnTo>
                  <a:lnTo>
                    <a:pt x="714" y="942"/>
                  </a:lnTo>
                  <a:lnTo>
                    <a:pt x="708" y="942"/>
                  </a:lnTo>
                  <a:lnTo>
                    <a:pt x="702" y="942"/>
                  </a:lnTo>
                  <a:lnTo>
                    <a:pt x="690" y="936"/>
                  </a:lnTo>
                  <a:lnTo>
                    <a:pt x="684" y="936"/>
                  </a:lnTo>
                  <a:lnTo>
                    <a:pt x="678" y="936"/>
                  </a:lnTo>
                  <a:lnTo>
                    <a:pt x="672" y="936"/>
                  </a:lnTo>
                  <a:lnTo>
                    <a:pt x="666" y="942"/>
                  </a:lnTo>
                  <a:lnTo>
                    <a:pt x="660" y="942"/>
                  </a:lnTo>
                  <a:lnTo>
                    <a:pt x="654" y="942"/>
                  </a:lnTo>
                  <a:lnTo>
                    <a:pt x="648" y="942"/>
                  </a:lnTo>
                  <a:lnTo>
                    <a:pt x="642" y="936"/>
                  </a:lnTo>
                  <a:lnTo>
                    <a:pt x="636" y="936"/>
                  </a:lnTo>
                  <a:lnTo>
                    <a:pt x="630" y="930"/>
                  </a:lnTo>
                  <a:lnTo>
                    <a:pt x="618" y="930"/>
                  </a:lnTo>
                  <a:lnTo>
                    <a:pt x="612" y="930"/>
                  </a:lnTo>
                  <a:lnTo>
                    <a:pt x="606" y="936"/>
                  </a:lnTo>
                  <a:lnTo>
                    <a:pt x="600" y="942"/>
                  </a:lnTo>
                  <a:lnTo>
                    <a:pt x="600" y="936"/>
                  </a:lnTo>
                  <a:lnTo>
                    <a:pt x="594" y="930"/>
                  </a:lnTo>
                  <a:lnTo>
                    <a:pt x="588" y="930"/>
                  </a:lnTo>
                  <a:lnTo>
                    <a:pt x="582" y="930"/>
                  </a:lnTo>
                  <a:lnTo>
                    <a:pt x="576" y="930"/>
                  </a:lnTo>
                  <a:lnTo>
                    <a:pt x="564" y="936"/>
                  </a:lnTo>
                  <a:lnTo>
                    <a:pt x="558" y="936"/>
                  </a:lnTo>
                  <a:lnTo>
                    <a:pt x="546" y="924"/>
                  </a:lnTo>
                  <a:lnTo>
                    <a:pt x="540" y="924"/>
                  </a:lnTo>
                  <a:lnTo>
                    <a:pt x="534" y="918"/>
                  </a:lnTo>
                  <a:lnTo>
                    <a:pt x="528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6" y="918"/>
                  </a:lnTo>
                  <a:lnTo>
                    <a:pt x="516" y="912"/>
                  </a:lnTo>
                  <a:lnTo>
                    <a:pt x="510" y="894"/>
                  </a:lnTo>
                  <a:lnTo>
                    <a:pt x="510" y="882"/>
                  </a:lnTo>
                  <a:lnTo>
                    <a:pt x="510" y="876"/>
                  </a:lnTo>
                  <a:lnTo>
                    <a:pt x="516" y="870"/>
                  </a:lnTo>
                  <a:lnTo>
                    <a:pt x="510" y="864"/>
                  </a:lnTo>
                  <a:lnTo>
                    <a:pt x="516" y="858"/>
                  </a:lnTo>
                  <a:lnTo>
                    <a:pt x="522" y="858"/>
                  </a:lnTo>
                  <a:lnTo>
                    <a:pt x="528" y="858"/>
                  </a:lnTo>
                  <a:lnTo>
                    <a:pt x="522" y="852"/>
                  </a:lnTo>
                  <a:lnTo>
                    <a:pt x="528" y="852"/>
                  </a:lnTo>
                  <a:lnTo>
                    <a:pt x="528" y="846"/>
                  </a:lnTo>
                  <a:lnTo>
                    <a:pt x="552" y="846"/>
                  </a:lnTo>
                  <a:lnTo>
                    <a:pt x="558" y="840"/>
                  </a:lnTo>
                  <a:lnTo>
                    <a:pt x="564" y="828"/>
                  </a:lnTo>
                  <a:lnTo>
                    <a:pt x="570" y="816"/>
                  </a:lnTo>
                  <a:lnTo>
                    <a:pt x="582" y="810"/>
                  </a:lnTo>
                  <a:lnTo>
                    <a:pt x="588" y="804"/>
                  </a:lnTo>
                  <a:lnTo>
                    <a:pt x="594" y="804"/>
                  </a:lnTo>
                  <a:lnTo>
                    <a:pt x="594" y="792"/>
                  </a:lnTo>
                  <a:lnTo>
                    <a:pt x="600" y="786"/>
                  </a:lnTo>
                  <a:lnTo>
                    <a:pt x="606" y="780"/>
                  </a:lnTo>
                  <a:lnTo>
                    <a:pt x="612" y="774"/>
                  </a:lnTo>
                  <a:lnTo>
                    <a:pt x="618" y="774"/>
                  </a:lnTo>
                  <a:lnTo>
                    <a:pt x="618" y="768"/>
                  </a:lnTo>
                  <a:lnTo>
                    <a:pt x="618" y="762"/>
                  </a:lnTo>
                  <a:lnTo>
                    <a:pt x="624" y="756"/>
                  </a:lnTo>
                  <a:lnTo>
                    <a:pt x="618" y="750"/>
                  </a:lnTo>
                  <a:lnTo>
                    <a:pt x="618" y="744"/>
                  </a:lnTo>
                  <a:lnTo>
                    <a:pt x="600" y="738"/>
                  </a:lnTo>
                  <a:lnTo>
                    <a:pt x="558" y="744"/>
                  </a:lnTo>
                  <a:lnTo>
                    <a:pt x="552" y="732"/>
                  </a:lnTo>
                  <a:lnTo>
                    <a:pt x="546" y="720"/>
                  </a:lnTo>
                  <a:lnTo>
                    <a:pt x="564" y="702"/>
                  </a:lnTo>
                  <a:lnTo>
                    <a:pt x="570" y="684"/>
                  </a:lnTo>
                  <a:lnTo>
                    <a:pt x="564" y="648"/>
                  </a:lnTo>
                  <a:lnTo>
                    <a:pt x="534" y="624"/>
                  </a:lnTo>
                  <a:lnTo>
                    <a:pt x="504" y="612"/>
                  </a:lnTo>
                  <a:lnTo>
                    <a:pt x="498" y="606"/>
                  </a:lnTo>
                  <a:lnTo>
                    <a:pt x="492" y="600"/>
                  </a:lnTo>
                  <a:lnTo>
                    <a:pt x="486" y="606"/>
                  </a:lnTo>
                  <a:lnTo>
                    <a:pt x="480" y="558"/>
                  </a:lnTo>
                  <a:lnTo>
                    <a:pt x="462" y="546"/>
                  </a:lnTo>
                  <a:lnTo>
                    <a:pt x="408" y="540"/>
                  </a:lnTo>
                  <a:lnTo>
                    <a:pt x="408" y="546"/>
                  </a:lnTo>
                  <a:lnTo>
                    <a:pt x="408" y="558"/>
                  </a:lnTo>
                  <a:lnTo>
                    <a:pt x="408" y="564"/>
                  </a:lnTo>
                  <a:lnTo>
                    <a:pt x="408" y="570"/>
                  </a:lnTo>
                  <a:lnTo>
                    <a:pt x="414" y="582"/>
                  </a:lnTo>
                  <a:lnTo>
                    <a:pt x="408" y="594"/>
                  </a:lnTo>
                  <a:lnTo>
                    <a:pt x="414" y="594"/>
                  </a:lnTo>
                  <a:lnTo>
                    <a:pt x="408" y="600"/>
                  </a:lnTo>
                  <a:lnTo>
                    <a:pt x="348" y="600"/>
                  </a:lnTo>
                  <a:lnTo>
                    <a:pt x="324" y="600"/>
                  </a:lnTo>
                  <a:lnTo>
                    <a:pt x="324" y="612"/>
                  </a:lnTo>
                  <a:lnTo>
                    <a:pt x="306" y="618"/>
                  </a:lnTo>
                  <a:lnTo>
                    <a:pt x="312" y="618"/>
                  </a:lnTo>
                  <a:lnTo>
                    <a:pt x="294" y="588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76"/>
                  </a:lnTo>
                  <a:lnTo>
                    <a:pt x="240" y="582"/>
                  </a:lnTo>
                  <a:lnTo>
                    <a:pt x="234" y="582"/>
                  </a:lnTo>
                  <a:lnTo>
                    <a:pt x="228" y="588"/>
                  </a:lnTo>
                  <a:lnTo>
                    <a:pt x="222" y="588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8" y="600"/>
                  </a:lnTo>
                  <a:lnTo>
                    <a:pt x="192" y="612"/>
                  </a:lnTo>
                  <a:lnTo>
                    <a:pt x="192" y="618"/>
                  </a:lnTo>
                  <a:lnTo>
                    <a:pt x="198" y="624"/>
                  </a:lnTo>
                  <a:lnTo>
                    <a:pt x="192" y="624"/>
                  </a:lnTo>
                  <a:lnTo>
                    <a:pt x="192" y="630"/>
                  </a:lnTo>
                  <a:lnTo>
                    <a:pt x="192" y="642"/>
                  </a:lnTo>
                  <a:lnTo>
                    <a:pt x="180" y="648"/>
                  </a:lnTo>
                  <a:lnTo>
                    <a:pt x="174" y="654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6"/>
                  </a:lnTo>
                  <a:lnTo>
                    <a:pt x="156" y="672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90"/>
                  </a:lnTo>
                  <a:lnTo>
                    <a:pt x="132" y="690"/>
                  </a:lnTo>
                  <a:lnTo>
                    <a:pt x="126" y="702"/>
                  </a:lnTo>
                  <a:lnTo>
                    <a:pt x="132" y="708"/>
                  </a:lnTo>
                  <a:lnTo>
                    <a:pt x="126" y="708"/>
                  </a:lnTo>
                  <a:lnTo>
                    <a:pt x="120" y="708"/>
                  </a:lnTo>
                  <a:lnTo>
                    <a:pt x="114" y="708"/>
                  </a:lnTo>
                  <a:lnTo>
                    <a:pt x="108" y="708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78" y="720"/>
                  </a:lnTo>
                  <a:lnTo>
                    <a:pt x="72" y="720"/>
                  </a:lnTo>
                  <a:lnTo>
                    <a:pt x="66" y="720"/>
                  </a:lnTo>
                  <a:lnTo>
                    <a:pt x="54" y="732"/>
                  </a:lnTo>
                  <a:lnTo>
                    <a:pt x="48" y="702"/>
                  </a:lnTo>
                  <a:lnTo>
                    <a:pt x="36" y="666"/>
                  </a:lnTo>
                  <a:lnTo>
                    <a:pt x="0" y="660"/>
                  </a:lnTo>
                  <a:lnTo>
                    <a:pt x="6" y="660"/>
                  </a:lnTo>
                  <a:lnTo>
                    <a:pt x="6" y="654"/>
                  </a:lnTo>
                  <a:lnTo>
                    <a:pt x="6" y="648"/>
                  </a:lnTo>
                  <a:lnTo>
                    <a:pt x="6" y="642"/>
                  </a:lnTo>
                  <a:lnTo>
                    <a:pt x="6" y="624"/>
                  </a:lnTo>
                  <a:lnTo>
                    <a:pt x="6" y="612"/>
                  </a:lnTo>
                  <a:lnTo>
                    <a:pt x="6" y="606"/>
                  </a:lnTo>
                  <a:lnTo>
                    <a:pt x="12" y="612"/>
                  </a:lnTo>
                  <a:lnTo>
                    <a:pt x="18" y="606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30" y="594"/>
                  </a:lnTo>
                  <a:lnTo>
                    <a:pt x="30" y="588"/>
                  </a:lnTo>
                  <a:lnTo>
                    <a:pt x="30" y="582"/>
                  </a:lnTo>
                  <a:lnTo>
                    <a:pt x="24" y="576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18" y="558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36" y="528"/>
                  </a:lnTo>
                  <a:lnTo>
                    <a:pt x="30" y="522"/>
                  </a:lnTo>
                  <a:lnTo>
                    <a:pt x="24" y="522"/>
                  </a:lnTo>
                  <a:lnTo>
                    <a:pt x="18" y="510"/>
                  </a:lnTo>
                  <a:lnTo>
                    <a:pt x="12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8" y="474"/>
                  </a:lnTo>
                  <a:lnTo>
                    <a:pt x="12" y="468"/>
                  </a:lnTo>
                  <a:lnTo>
                    <a:pt x="12" y="462"/>
                  </a:lnTo>
                  <a:lnTo>
                    <a:pt x="18" y="456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0" y="420"/>
                  </a:lnTo>
                  <a:lnTo>
                    <a:pt x="30" y="414"/>
                  </a:lnTo>
                  <a:lnTo>
                    <a:pt x="48" y="414"/>
                  </a:lnTo>
                  <a:lnTo>
                    <a:pt x="54" y="408"/>
                  </a:lnTo>
                  <a:lnTo>
                    <a:pt x="60" y="402"/>
                  </a:lnTo>
                  <a:lnTo>
                    <a:pt x="66" y="402"/>
                  </a:lnTo>
                  <a:lnTo>
                    <a:pt x="72" y="402"/>
                  </a:lnTo>
                  <a:lnTo>
                    <a:pt x="78" y="408"/>
                  </a:lnTo>
                  <a:lnTo>
                    <a:pt x="84" y="396"/>
                  </a:lnTo>
                  <a:lnTo>
                    <a:pt x="90" y="390"/>
                  </a:lnTo>
                  <a:lnTo>
                    <a:pt x="90" y="378"/>
                  </a:lnTo>
                  <a:lnTo>
                    <a:pt x="96" y="372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8" y="354"/>
                  </a:lnTo>
                  <a:lnTo>
                    <a:pt x="114" y="348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32" y="336"/>
                  </a:lnTo>
                  <a:lnTo>
                    <a:pt x="132" y="330"/>
                  </a:lnTo>
                  <a:lnTo>
                    <a:pt x="138" y="324"/>
                  </a:lnTo>
                  <a:lnTo>
                    <a:pt x="138" y="318"/>
                  </a:lnTo>
                  <a:lnTo>
                    <a:pt x="144" y="306"/>
                  </a:lnTo>
                  <a:lnTo>
                    <a:pt x="156" y="306"/>
                  </a:lnTo>
                  <a:lnTo>
                    <a:pt x="186" y="300"/>
                  </a:lnTo>
                  <a:lnTo>
                    <a:pt x="198" y="300"/>
                  </a:lnTo>
                  <a:lnTo>
                    <a:pt x="210" y="300"/>
                  </a:lnTo>
                  <a:lnTo>
                    <a:pt x="222" y="300"/>
                  </a:lnTo>
                  <a:lnTo>
                    <a:pt x="246" y="300"/>
                  </a:lnTo>
                  <a:lnTo>
                    <a:pt x="264" y="312"/>
                  </a:lnTo>
                  <a:lnTo>
                    <a:pt x="270" y="312"/>
                  </a:lnTo>
                  <a:lnTo>
                    <a:pt x="282" y="306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300" y="306"/>
                  </a:lnTo>
                  <a:lnTo>
                    <a:pt x="312" y="306"/>
                  </a:lnTo>
                  <a:lnTo>
                    <a:pt x="318" y="300"/>
                  </a:lnTo>
                  <a:lnTo>
                    <a:pt x="324" y="300"/>
                  </a:lnTo>
                  <a:lnTo>
                    <a:pt x="330" y="294"/>
                  </a:lnTo>
                  <a:lnTo>
                    <a:pt x="336" y="288"/>
                  </a:lnTo>
                  <a:lnTo>
                    <a:pt x="354" y="288"/>
                  </a:lnTo>
                  <a:lnTo>
                    <a:pt x="360" y="288"/>
                  </a:lnTo>
                  <a:lnTo>
                    <a:pt x="366" y="282"/>
                  </a:lnTo>
                  <a:lnTo>
                    <a:pt x="372" y="282"/>
                  </a:lnTo>
                  <a:lnTo>
                    <a:pt x="378" y="282"/>
                  </a:lnTo>
                  <a:lnTo>
                    <a:pt x="384" y="276"/>
                  </a:lnTo>
                  <a:lnTo>
                    <a:pt x="384" y="270"/>
                  </a:lnTo>
                  <a:lnTo>
                    <a:pt x="390" y="264"/>
                  </a:lnTo>
                  <a:lnTo>
                    <a:pt x="402" y="258"/>
                  </a:lnTo>
                  <a:lnTo>
                    <a:pt x="402" y="252"/>
                  </a:lnTo>
                  <a:lnTo>
                    <a:pt x="402" y="246"/>
                  </a:lnTo>
                  <a:lnTo>
                    <a:pt x="408" y="234"/>
                  </a:lnTo>
                  <a:lnTo>
                    <a:pt x="414" y="234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14" y="216"/>
                  </a:lnTo>
                  <a:lnTo>
                    <a:pt x="414" y="210"/>
                  </a:lnTo>
                  <a:lnTo>
                    <a:pt x="420" y="210"/>
                  </a:lnTo>
                  <a:lnTo>
                    <a:pt x="414" y="198"/>
                  </a:lnTo>
                  <a:lnTo>
                    <a:pt x="414" y="192"/>
                  </a:lnTo>
                  <a:lnTo>
                    <a:pt x="420" y="192"/>
                  </a:lnTo>
                  <a:lnTo>
                    <a:pt x="420" y="186"/>
                  </a:lnTo>
                  <a:lnTo>
                    <a:pt x="420" y="174"/>
                  </a:lnTo>
                  <a:lnTo>
                    <a:pt x="420" y="168"/>
                  </a:lnTo>
                  <a:lnTo>
                    <a:pt x="426" y="162"/>
                  </a:lnTo>
                  <a:lnTo>
                    <a:pt x="432" y="156"/>
                  </a:lnTo>
                  <a:lnTo>
                    <a:pt x="438" y="144"/>
                  </a:lnTo>
                  <a:lnTo>
                    <a:pt x="444" y="144"/>
                  </a:lnTo>
                  <a:lnTo>
                    <a:pt x="450" y="138"/>
                  </a:lnTo>
                  <a:lnTo>
                    <a:pt x="456" y="138"/>
                  </a:lnTo>
                  <a:lnTo>
                    <a:pt x="462" y="132"/>
                  </a:lnTo>
                  <a:lnTo>
                    <a:pt x="462" y="126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0"/>
                  </a:lnTo>
                  <a:lnTo>
                    <a:pt x="486" y="108"/>
                  </a:lnTo>
                  <a:lnTo>
                    <a:pt x="492" y="108"/>
                  </a:lnTo>
                  <a:lnTo>
                    <a:pt x="498" y="102"/>
                  </a:lnTo>
                  <a:lnTo>
                    <a:pt x="504" y="96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40" y="102"/>
                  </a:lnTo>
                  <a:lnTo>
                    <a:pt x="552" y="108"/>
                  </a:lnTo>
                  <a:lnTo>
                    <a:pt x="582" y="102"/>
                  </a:lnTo>
                  <a:lnTo>
                    <a:pt x="594" y="126"/>
                  </a:lnTo>
                  <a:lnTo>
                    <a:pt x="594" y="144"/>
                  </a:lnTo>
                  <a:lnTo>
                    <a:pt x="588" y="156"/>
                  </a:lnTo>
                  <a:lnTo>
                    <a:pt x="588" y="168"/>
                  </a:lnTo>
                  <a:lnTo>
                    <a:pt x="582" y="180"/>
                  </a:lnTo>
                  <a:lnTo>
                    <a:pt x="570" y="192"/>
                  </a:lnTo>
                  <a:lnTo>
                    <a:pt x="594" y="192"/>
                  </a:lnTo>
                  <a:lnTo>
                    <a:pt x="618" y="198"/>
                  </a:lnTo>
                  <a:lnTo>
                    <a:pt x="642" y="210"/>
                  </a:lnTo>
                  <a:lnTo>
                    <a:pt x="660" y="234"/>
                  </a:lnTo>
                  <a:lnTo>
                    <a:pt x="678" y="246"/>
                  </a:lnTo>
                  <a:lnTo>
                    <a:pt x="684" y="252"/>
                  </a:lnTo>
                  <a:lnTo>
                    <a:pt x="702" y="252"/>
                  </a:lnTo>
                  <a:lnTo>
                    <a:pt x="732" y="234"/>
                  </a:lnTo>
                  <a:lnTo>
                    <a:pt x="732" y="222"/>
                  </a:lnTo>
                  <a:lnTo>
                    <a:pt x="720" y="216"/>
                  </a:lnTo>
                  <a:lnTo>
                    <a:pt x="714" y="198"/>
                  </a:lnTo>
                  <a:lnTo>
                    <a:pt x="714" y="174"/>
                  </a:lnTo>
                  <a:lnTo>
                    <a:pt x="720" y="162"/>
                  </a:lnTo>
                  <a:lnTo>
                    <a:pt x="726" y="162"/>
                  </a:lnTo>
                  <a:lnTo>
                    <a:pt x="732" y="156"/>
                  </a:lnTo>
                  <a:lnTo>
                    <a:pt x="744" y="150"/>
                  </a:lnTo>
                  <a:lnTo>
                    <a:pt x="774" y="162"/>
                  </a:lnTo>
                  <a:lnTo>
                    <a:pt x="786" y="162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16" y="150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2" y="132"/>
                  </a:lnTo>
                  <a:lnTo>
                    <a:pt x="822" y="114"/>
                  </a:lnTo>
                  <a:lnTo>
                    <a:pt x="828" y="108"/>
                  </a:lnTo>
                  <a:lnTo>
                    <a:pt x="834" y="96"/>
                  </a:lnTo>
                  <a:lnTo>
                    <a:pt x="846" y="96"/>
                  </a:lnTo>
                  <a:lnTo>
                    <a:pt x="858" y="90"/>
                  </a:lnTo>
                  <a:lnTo>
                    <a:pt x="870" y="84"/>
                  </a:lnTo>
                  <a:lnTo>
                    <a:pt x="888" y="84"/>
                  </a:lnTo>
                  <a:lnTo>
                    <a:pt x="894" y="90"/>
                  </a:lnTo>
                  <a:lnTo>
                    <a:pt x="894" y="102"/>
                  </a:lnTo>
                  <a:lnTo>
                    <a:pt x="900" y="102"/>
                  </a:lnTo>
                  <a:lnTo>
                    <a:pt x="906" y="114"/>
                  </a:lnTo>
                  <a:lnTo>
                    <a:pt x="930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54" y="138"/>
                  </a:lnTo>
                  <a:lnTo>
                    <a:pt x="966" y="144"/>
                  </a:lnTo>
                  <a:lnTo>
                    <a:pt x="966" y="150"/>
                  </a:lnTo>
                  <a:lnTo>
                    <a:pt x="972" y="150"/>
                  </a:lnTo>
                  <a:lnTo>
                    <a:pt x="978" y="150"/>
                  </a:lnTo>
                  <a:lnTo>
                    <a:pt x="978" y="144"/>
                  </a:lnTo>
                  <a:lnTo>
                    <a:pt x="984" y="144"/>
                  </a:lnTo>
                  <a:lnTo>
                    <a:pt x="990" y="138"/>
                  </a:lnTo>
                  <a:lnTo>
                    <a:pt x="996" y="138"/>
                  </a:lnTo>
                  <a:lnTo>
                    <a:pt x="1002" y="138"/>
                  </a:lnTo>
                  <a:lnTo>
                    <a:pt x="1008" y="138"/>
                  </a:lnTo>
                  <a:lnTo>
                    <a:pt x="1026" y="132"/>
                  </a:lnTo>
                  <a:lnTo>
                    <a:pt x="1044" y="126"/>
                  </a:lnTo>
                  <a:lnTo>
                    <a:pt x="1056" y="120"/>
                  </a:lnTo>
                  <a:lnTo>
                    <a:pt x="1062" y="108"/>
                  </a:lnTo>
                  <a:lnTo>
                    <a:pt x="1056" y="102"/>
                  </a:lnTo>
                  <a:lnTo>
                    <a:pt x="1062" y="96"/>
                  </a:lnTo>
                  <a:lnTo>
                    <a:pt x="1074" y="90"/>
                  </a:lnTo>
                  <a:lnTo>
                    <a:pt x="1080" y="84"/>
                  </a:lnTo>
                  <a:lnTo>
                    <a:pt x="1128" y="84"/>
                  </a:lnTo>
                  <a:lnTo>
                    <a:pt x="1134" y="84"/>
                  </a:lnTo>
                  <a:lnTo>
                    <a:pt x="1140" y="78"/>
                  </a:lnTo>
                  <a:lnTo>
                    <a:pt x="1152" y="72"/>
                  </a:lnTo>
                  <a:lnTo>
                    <a:pt x="1164" y="66"/>
                  </a:lnTo>
                  <a:lnTo>
                    <a:pt x="1170" y="60"/>
                  </a:lnTo>
                  <a:lnTo>
                    <a:pt x="1188" y="48"/>
                  </a:lnTo>
                  <a:lnTo>
                    <a:pt x="1200" y="36"/>
                  </a:lnTo>
                  <a:lnTo>
                    <a:pt x="1218" y="24"/>
                  </a:lnTo>
                  <a:lnTo>
                    <a:pt x="1248" y="24"/>
                  </a:lnTo>
                  <a:lnTo>
                    <a:pt x="1272" y="24"/>
                  </a:lnTo>
                  <a:lnTo>
                    <a:pt x="1284" y="12"/>
                  </a:lnTo>
                  <a:lnTo>
                    <a:pt x="1302" y="0"/>
                  </a:lnTo>
                  <a:lnTo>
                    <a:pt x="1314" y="0"/>
                  </a:lnTo>
                  <a:lnTo>
                    <a:pt x="1326" y="18"/>
                  </a:lnTo>
                  <a:lnTo>
                    <a:pt x="1338" y="30"/>
                  </a:lnTo>
                  <a:lnTo>
                    <a:pt x="1338" y="54"/>
                  </a:lnTo>
                  <a:lnTo>
                    <a:pt x="1332" y="72"/>
                  </a:lnTo>
                  <a:lnTo>
                    <a:pt x="1326" y="72"/>
                  </a:lnTo>
                  <a:lnTo>
                    <a:pt x="1326" y="78"/>
                  </a:lnTo>
                  <a:lnTo>
                    <a:pt x="1326" y="102"/>
                  </a:lnTo>
                  <a:lnTo>
                    <a:pt x="1332" y="102"/>
                  </a:lnTo>
                  <a:lnTo>
                    <a:pt x="1332" y="108"/>
                  </a:lnTo>
                  <a:lnTo>
                    <a:pt x="1344" y="114"/>
                  </a:lnTo>
                  <a:lnTo>
                    <a:pt x="1350" y="114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404" y="132"/>
                  </a:lnTo>
                  <a:lnTo>
                    <a:pt x="1404" y="138"/>
                  </a:lnTo>
                  <a:lnTo>
                    <a:pt x="1410" y="150"/>
                  </a:lnTo>
                  <a:lnTo>
                    <a:pt x="1416" y="162"/>
                  </a:lnTo>
                  <a:lnTo>
                    <a:pt x="1428" y="168"/>
                  </a:lnTo>
                  <a:lnTo>
                    <a:pt x="1440" y="180"/>
                  </a:lnTo>
                  <a:lnTo>
                    <a:pt x="1476" y="174"/>
                  </a:lnTo>
                  <a:lnTo>
                    <a:pt x="1494" y="174"/>
                  </a:lnTo>
                  <a:lnTo>
                    <a:pt x="1512" y="192"/>
                  </a:lnTo>
                  <a:lnTo>
                    <a:pt x="1518" y="204"/>
                  </a:lnTo>
                  <a:lnTo>
                    <a:pt x="1530" y="216"/>
                  </a:lnTo>
                  <a:lnTo>
                    <a:pt x="1548" y="228"/>
                  </a:lnTo>
                  <a:lnTo>
                    <a:pt x="1548" y="234"/>
                  </a:lnTo>
                  <a:lnTo>
                    <a:pt x="1542" y="246"/>
                  </a:lnTo>
                  <a:lnTo>
                    <a:pt x="1560" y="246"/>
                  </a:lnTo>
                  <a:lnTo>
                    <a:pt x="1560" y="252"/>
                  </a:lnTo>
                  <a:lnTo>
                    <a:pt x="1566" y="258"/>
                  </a:lnTo>
                  <a:lnTo>
                    <a:pt x="1578" y="270"/>
                  </a:lnTo>
                  <a:lnTo>
                    <a:pt x="1596" y="270"/>
                  </a:lnTo>
                  <a:lnTo>
                    <a:pt x="1602" y="288"/>
                  </a:lnTo>
                  <a:lnTo>
                    <a:pt x="1608" y="306"/>
                  </a:lnTo>
                  <a:lnTo>
                    <a:pt x="1608" y="318"/>
                  </a:lnTo>
                  <a:lnTo>
                    <a:pt x="1608" y="324"/>
                  </a:lnTo>
                  <a:lnTo>
                    <a:pt x="1614" y="330"/>
                  </a:lnTo>
                  <a:lnTo>
                    <a:pt x="1614" y="336"/>
                  </a:lnTo>
                  <a:lnTo>
                    <a:pt x="1614" y="342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08" y="390"/>
                  </a:lnTo>
                  <a:lnTo>
                    <a:pt x="1602" y="390"/>
                  </a:lnTo>
                  <a:lnTo>
                    <a:pt x="1602" y="396"/>
                  </a:lnTo>
                  <a:lnTo>
                    <a:pt x="1584" y="420"/>
                  </a:lnTo>
                  <a:lnTo>
                    <a:pt x="1584" y="426"/>
                  </a:lnTo>
                  <a:lnTo>
                    <a:pt x="1602" y="474"/>
                  </a:lnTo>
                  <a:lnTo>
                    <a:pt x="1608" y="480"/>
                  </a:lnTo>
                  <a:lnTo>
                    <a:pt x="1608" y="486"/>
                  </a:lnTo>
                  <a:lnTo>
                    <a:pt x="1614" y="486"/>
                  </a:lnTo>
                  <a:lnTo>
                    <a:pt x="1608" y="504"/>
                  </a:lnTo>
                  <a:lnTo>
                    <a:pt x="1572" y="504"/>
                  </a:lnTo>
                  <a:lnTo>
                    <a:pt x="1560" y="510"/>
                  </a:lnTo>
                  <a:lnTo>
                    <a:pt x="1554" y="522"/>
                  </a:lnTo>
                  <a:lnTo>
                    <a:pt x="1560" y="552"/>
                  </a:lnTo>
                  <a:lnTo>
                    <a:pt x="1566" y="552"/>
                  </a:lnTo>
                  <a:lnTo>
                    <a:pt x="1566" y="558"/>
                  </a:lnTo>
                  <a:lnTo>
                    <a:pt x="1572" y="558"/>
                  </a:lnTo>
                  <a:lnTo>
                    <a:pt x="1578" y="558"/>
                  </a:lnTo>
                  <a:lnTo>
                    <a:pt x="1578" y="552"/>
                  </a:lnTo>
                  <a:lnTo>
                    <a:pt x="1584" y="552"/>
                  </a:lnTo>
                  <a:lnTo>
                    <a:pt x="1590" y="552"/>
                  </a:lnTo>
                  <a:lnTo>
                    <a:pt x="1590" y="546"/>
                  </a:lnTo>
                  <a:lnTo>
                    <a:pt x="1596" y="546"/>
                  </a:lnTo>
                  <a:lnTo>
                    <a:pt x="1602" y="552"/>
                  </a:lnTo>
                  <a:lnTo>
                    <a:pt x="1602" y="546"/>
                  </a:lnTo>
                  <a:lnTo>
                    <a:pt x="1608" y="546"/>
                  </a:lnTo>
                  <a:lnTo>
                    <a:pt x="1608" y="552"/>
                  </a:lnTo>
                  <a:lnTo>
                    <a:pt x="1614" y="552"/>
                  </a:lnTo>
                  <a:lnTo>
                    <a:pt x="1614" y="546"/>
                  </a:lnTo>
                  <a:lnTo>
                    <a:pt x="1620" y="552"/>
                  </a:lnTo>
                  <a:lnTo>
                    <a:pt x="1626" y="552"/>
                  </a:lnTo>
                  <a:lnTo>
                    <a:pt x="1626" y="558"/>
                  </a:lnTo>
                  <a:lnTo>
                    <a:pt x="1632" y="558"/>
                  </a:lnTo>
                  <a:lnTo>
                    <a:pt x="1638" y="558"/>
                  </a:lnTo>
                  <a:lnTo>
                    <a:pt x="1644" y="558"/>
                  </a:lnTo>
                  <a:lnTo>
                    <a:pt x="1650" y="558"/>
                  </a:lnTo>
                  <a:lnTo>
                    <a:pt x="1650" y="564"/>
                  </a:lnTo>
                  <a:lnTo>
                    <a:pt x="1656" y="564"/>
                  </a:lnTo>
                  <a:lnTo>
                    <a:pt x="1662" y="564"/>
                  </a:lnTo>
                  <a:lnTo>
                    <a:pt x="1668" y="564"/>
                  </a:lnTo>
                  <a:lnTo>
                    <a:pt x="1668" y="570"/>
                  </a:lnTo>
                  <a:lnTo>
                    <a:pt x="1674" y="570"/>
                  </a:lnTo>
                  <a:lnTo>
                    <a:pt x="1680" y="570"/>
                  </a:lnTo>
                  <a:lnTo>
                    <a:pt x="1686" y="576"/>
                  </a:lnTo>
                  <a:lnTo>
                    <a:pt x="1686" y="582"/>
                  </a:lnTo>
                  <a:lnTo>
                    <a:pt x="1710" y="588"/>
                  </a:lnTo>
                  <a:lnTo>
                    <a:pt x="1710" y="594"/>
                  </a:lnTo>
                  <a:lnTo>
                    <a:pt x="1704" y="600"/>
                  </a:lnTo>
                  <a:lnTo>
                    <a:pt x="1710" y="624"/>
                  </a:lnTo>
                  <a:lnTo>
                    <a:pt x="1698" y="672"/>
                  </a:lnTo>
                  <a:lnTo>
                    <a:pt x="1704" y="678"/>
                  </a:lnTo>
                  <a:lnTo>
                    <a:pt x="1716" y="684"/>
                  </a:lnTo>
                  <a:lnTo>
                    <a:pt x="1716" y="678"/>
                  </a:lnTo>
                  <a:lnTo>
                    <a:pt x="1716" y="684"/>
                  </a:lnTo>
                  <a:lnTo>
                    <a:pt x="1728" y="684"/>
                  </a:lnTo>
                  <a:lnTo>
                    <a:pt x="1728" y="690"/>
                  </a:lnTo>
                  <a:lnTo>
                    <a:pt x="1734" y="696"/>
                  </a:lnTo>
                  <a:lnTo>
                    <a:pt x="1734" y="702"/>
                  </a:lnTo>
                  <a:lnTo>
                    <a:pt x="1740" y="708"/>
                  </a:lnTo>
                  <a:lnTo>
                    <a:pt x="1740" y="714"/>
                  </a:lnTo>
                  <a:lnTo>
                    <a:pt x="1710" y="714"/>
                  </a:lnTo>
                  <a:lnTo>
                    <a:pt x="1710" y="756"/>
                  </a:lnTo>
                  <a:lnTo>
                    <a:pt x="1704" y="762"/>
                  </a:lnTo>
                  <a:lnTo>
                    <a:pt x="1698" y="762"/>
                  </a:lnTo>
                  <a:lnTo>
                    <a:pt x="1698" y="768"/>
                  </a:lnTo>
                  <a:lnTo>
                    <a:pt x="1698" y="774"/>
                  </a:lnTo>
                  <a:lnTo>
                    <a:pt x="1692" y="780"/>
                  </a:lnTo>
                  <a:lnTo>
                    <a:pt x="1692" y="786"/>
                  </a:lnTo>
                  <a:lnTo>
                    <a:pt x="1686" y="786"/>
                  </a:lnTo>
                  <a:lnTo>
                    <a:pt x="1668" y="798"/>
                  </a:lnTo>
                  <a:lnTo>
                    <a:pt x="1662" y="810"/>
                  </a:lnTo>
                  <a:lnTo>
                    <a:pt x="1650" y="810"/>
                  </a:lnTo>
                  <a:lnTo>
                    <a:pt x="1644" y="816"/>
                  </a:lnTo>
                  <a:lnTo>
                    <a:pt x="1638" y="816"/>
                  </a:lnTo>
                  <a:lnTo>
                    <a:pt x="1626" y="852"/>
                  </a:lnTo>
                  <a:lnTo>
                    <a:pt x="1620" y="888"/>
                  </a:lnTo>
                  <a:lnTo>
                    <a:pt x="1626" y="888"/>
                  </a:lnTo>
                  <a:lnTo>
                    <a:pt x="1638" y="912"/>
                  </a:lnTo>
                  <a:lnTo>
                    <a:pt x="1644" y="918"/>
                  </a:lnTo>
                  <a:lnTo>
                    <a:pt x="1650" y="966"/>
                  </a:lnTo>
                  <a:lnTo>
                    <a:pt x="1626" y="972"/>
                  </a:lnTo>
                  <a:lnTo>
                    <a:pt x="1608" y="978"/>
                  </a:lnTo>
                  <a:lnTo>
                    <a:pt x="1614" y="984"/>
                  </a:lnTo>
                  <a:lnTo>
                    <a:pt x="1620" y="984"/>
                  </a:lnTo>
                  <a:lnTo>
                    <a:pt x="1620" y="1020"/>
                  </a:lnTo>
                  <a:lnTo>
                    <a:pt x="1614" y="1038"/>
                  </a:lnTo>
                  <a:lnTo>
                    <a:pt x="1620" y="1044"/>
                  </a:lnTo>
                  <a:lnTo>
                    <a:pt x="1626" y="1056"/>
                  </a:lnTo>
                  <a:lnTo>
                    <a:pt x="1626" y="1074"/>
                  </a:lnTo>
                  <a:lnTo>
                    <a:pt x="1620" y="1080"/>
                  </a:lnTo>
                  <a:lnTo>
                    <a:pt x="1620" y="1104"/>
                  </a:lnTo>
                  <a:lnTo>
                    <a:pt x="1620" y="1110"/>
                  </a:lnTo>
                  <a:lnTo>
                    <a:pt x="1614" y="1116"/>
                  </a:lnTo>
                  <a:lnTo>
                    <a:pt x="1608" y="1140"/>
                  </a:lnTo>
                  <a:lnTo>
                    <a:pt x="1602" y="1146"/>
                  </a:lnTo>
                  <a:lnTo>
                    <a:pt x="1602" y="1164"/>
                  </a:lnTo>
                  <a:lnTo>
                    <a:pt x="1596" y="1170"/>
                  </a:lnTo>
                  <a:lnTo>
                    <a:pt x="1590" y="1164"/>
                  </a:lnTo>
                  <a:lnTo>
                    <a:pt x="1584" y="1164"/>
                  </a:lnTo>
                  <a:lnTo>
                    <a:pt x="1578" y="1164"/>
                  </a:lnTo>
                  <a:lnTo>
                    <a:pt x="1578" y="1188"/>
                  </a:lnTo>
                  <a:lnTo>
                    <a:pt x="1584" y="1194"/>
                  </a:lnTo>
                  <a:lnTo>
                    <a:pt x="1590" y="1194"/>
                  </a:lnTo>
                  <a:lnTo>
                    <a:pt x="1590" y="1212"/>
                  </a:lnTo>
                  <a:lnTo>
                    <a:pt x="1584" y="1212"/>
                  </a:lnTo>
                  <a:lnTo>
                    <a:pt x="1584" y="1224"/>
                  </a:lnTo>
                  <a:lnTo>
                    <a:pt x="1578" y="1224"/>
                  </a:lnTo>
                  <a:lnTo>
                    <a:pt x="1578" y="1236"/>
                  </a:lnTo>
                  <a:lnTo>
                    <a:pt x="1584" y="1254"/>
                  </a:lnTo>
                  <a:lnTo>
                    <a:pt x="1584" y="1260"/>
                  </a:lnTo>
                  <a:lnTo>
                    <a:pt x="1590" y="1260"/>
                  </a:lnTo>
                  <a:lnTo>
                    <a:pt x="1590" y="1266"/>
                  </a:lnTo>
                  <a:lnTo>
                    <a:pt x="1596" y="1284"/>
                  </a:lnTo>
                  <a:lnTo>
                    <a:pt x="1602" y="1278"/>
                  </a:lnTo>
                  <a:lnTo>
                    <a:pt x="1608" y="1284"/>
                  </a:lnTo>
                  <a:lnTo>
                    <a:pt x="1632" y="1350"/>
                  </a:lnTo>
                  <a:lnTo>
                    <a:pt x="1638" y="1356"/>
                  </a:lnTo>
                  <a:lnTo>
                    <a:pt x="1644" y="1356"/>
                  </a:lnTo>
                  <a:lnTo>
                    <a:pt x="1650" y="1356"/>
                  </a:lnTo>
                  <a:lnTo>
                    <a:pt x="1656" y="1356"/>
                  </a:lnTo>
                  <a:lnTo>
                    <a:pt x="1662" y="1362"/>
                  </a:lnTo>
                  <a:lnTo>
                    <a:pt x="1668" y="1356"/>
                  </a:lnTo>
                  <a:lnTo>
                    <a:pt x="1668" y="1380"/>
                  </a:lnTo>
                  <a:lnTo>
                    <a:pt x="1662" y="1392"/>
                  </a:lnTo>
                  <a:lnTo>
                    <a:pt x="1656" y="1404"/>
                  </a:lnTo>
                  <a:lnTo>
                    <a:pt x="1656" y="1410"/>
                  </a:lnTo>
                  <a:lnTo>
                    <a:pt x="1656" y="1416"/>
                  </a:lnTo>
                  <a:lnTo>
                    <a:pt x="1650" y="1422"/>
                  </a:lnTo>
                  <a:lnTo>
                    <a:pt x="1650" y="1428"/>
                  </a:lnTo>
                  <a:lnTo>
                    <a:pt x="1644" y="1428"/>
                  </a:lnTo>
                  <a:lnTo>
                    <a:pt x="1644" y="1434"/>
                  </a:lnTo>
                  <a:lnTo>
                    <a:pt x="1638" y="1434"/>
                  </a:lnTo>
                  <a:lnTo>
                    <a:pt x="1638" y="1440"/>
                  </a:lnTo>
                  <a:lnTo>
                    <a:pt x="1632" y="1440"/>
                  </a:lnTo>
                  <a:lnTo>
                    <a:pt x="1638" y="145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8" name="Freeform 13">
              <a:extLst>
                <a:ext uri="{FF2B5EF4-FFF2-40B4-BE49-F238E27FC236}">
                  <a16:creationId xmlns:a16="http://schemas.microsoft.com/office/drawing/2014/main" id="{66308D9B-1739-4227-AAC3-BB866CD1F5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63374" y="2969626"/>
              <a:ext cx="330956" cy="357840"/>
            </a:xfrm>
            <a:custGeom>
              <a:avLst/>
              <a:gdLst>
                <a:gd name="T0" fmla="*/ 11 w 624"/>
                <a:gd name="T1" fmla="*/ 59 h 672"/>
                <a:gd name="T2" fmla="*/ 4 w 624"/>
                <a:gd name="T3" fmla="*/ 58 h 672"/>
                <a:gd name="T4" fmla="*/ 3 w 624"/>
                <a:gd name="T5" fmla="*/ 58 h 672"/>
                <a:gd name="T6" fmla="*/ 2 w 624"/>
                <a:gd name="T7" fmla="*/ 11 h 672"/>
                <a:gd name="T8" fmla="*/ 13 w 624"/>
                <a:gd name="T9" fmla="*/ 11 h 672"/>
                <a:gd name="T10" fmla="*/ 14 w 624"/>
                <a:gd name="T11" fmla="*/ 11 h 672"/>
                <a:gd name="T12" fmla="*/ 15 w 624"/>
                <a:gd name="T13" fmla="*/ 12 h 672"/>
                <a:gd name="T14" fmla="*/ 18 w 624"/>
                <a:gd name="T15" fmla="*/ 14 h 672"/>
                <a:gd name="T16" fmla="*/ 21 w 624"/>
                <a:gd name="T17" fmla="*/ 16 h 672"/>
                <a:gd name="T18" fmla="*/ 22 w 624"/>
                <a:gd name="T19" fmla="*/ 18 h 672"/>
                <a:gd name="T20" fmla="*/ 23 w 624"/>
                <a:gd name="T21" fmla="*/ 19 h 672"/>
                <a:gd name="T22" fmla="*/ 24 w 624"/>
                <a:gd name="T23" fmla="*/ 19 h 672"/>
                <a:gd name="T24" fmla="*/ 26 w 624"/>
                <a:gd name="T25" fmla="*/ 19 h 672"/>
                <a:gd name="T26" fmla="*/ 27 w 624"/>
                <a:gd name="T27" fmla="*/ 18 h 672"/>
                <a:gd name="T28" fmla="*/ 29 w 624"/>
                <a:gd name="T29" fmla="*/ 15 h 672"/>
                <a:gd name="T30" fmla="*/ 30 w 624"/>
                <a:gd name="T31" fmla="*/ 14 h 672"/>
                <a:gd name="T32" fmla="*/ 31 w 624"/>
                <a:gd name="T33" fmla="*/ 12 h 672"/>
                <a:gd name="T34" fmla="*/ 32 w 624"/>
                <a:gd name="T35" fmla="*/ 12 h 672"/>
                <a:gd name="T36" fmla="*/ 33 w 624"/>
                <a:gd name="T37" fmla="*/ 10 h 672"/>
                <a:gd name="T38" fmla="*/ 34 w 624"/>
                <a:gd name="T39" fmla="*/ 8 h 672"/>
                <a:gd name="T40" fmla="*/ 34 w 624"/>
                <a:gd name="T41" fmla="*/ 6 h 672"/>
                <a:gd name="T42" fmla="*/ 35 w 624"/>
                <a:gd name="T43" fmla="*/ 4 h 672"/>
                <a:gd name="T44" fmla="*/ 42 w 624"/>
                <a:gd name="T45" fmla="*/ 3 h 672"/>
                <a:gd name="T46" fmla="*/ 44 w 624"/>
                <a:gd name="T47" fmla="*/ 2 h 672"/>
                <a:gd name="T48" fmla="*/ 46 w 624"/>
                <a:gd name="T49" fmla="*/ 0 h 672"/>
                <a:gd name="T50" fmla="*/ 51 w 624"/>
                <a:gd name="T51" fmla="*/ 3 h 672"/>
                <a:gd name="T52" fmla="*/ 54 w 624"/>
                <a:gd name="T53" fmla="*/ 6 h 672"/>
                <a:gd name="T54" fmla="*/ 54 w 624"/>
                <a:gd name="T55" fmla="*/ 8 h 672"/>
                <a:gd name="T56" fmla="*/ 52 w 624"/>
                <a:gd name="T57" fmla="*/ 9 h 672"/>
                <a:gd name="T58" fmla="*/ 49 w 624"/>
                <a:gd name="T59" fmla="*/ 11 h 672"/>
                <a:gd name="T60" fmla="*/ 48 w 624"/>
                <a:gd name="T61" fmla="*/ 14 h 672"/>
                <a:gd name="T62" fmla="*/ 46 w 624"/>
                <a:gd name="T63" fmla="*/ 22 h 672"/>
                <a:gd name="T64" fmla="*/ 45 w 624"/>
                <a:gd name="T65" fmla="*/ 39 h 672"/>
                <a:gd name="T66" fmla="*/ 43 w 624"/>
                <a:gd name="T67" fmla="*/ 43 h 672"/>
                <a:gd name="T68" fmla="*/ 39 w 624"/>
                <a:gd name="T69" fmla="*/ 50 h 672"/>
                <a:gd name="T70" fmla="*/ 36 w 624"/>
                <a:gd name="T71" fmla="*/ 53 h 672"/>
                <a:gd name="T72" fmla="*/ 32 w 624"/>
                <a:gd name="T73" fmla="*/ 56 h 672"/>
                <a:gd name="T74" fmla="*/ 30 w 624"/>
                <a:gd name="T75" fmla="*/ 58 h 672"/>
                <a:gd name="T76" fmla="*/ 20 w 624"/>
                <a:gd name="T77" fmla="*/ 59 h 672"/>
                <a:gd name="T78" fmla="*/ 15 w 624"/>
                <a:gd name="T79" fmla="*/ 59 h 67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24"/>
                <a:gd name="T121" fmla="*/ 0 h 672"/>
                <a:gd name="T122" fmla="*/ 624 w 624"/>
                <a:gd name="T123" fmla="*/ 672 h 67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24" h="672">
                  <a:moveTo>
                    <a:pt x="168" y="672"/>
                  </a:moveTo>
                  <a:lnTo>
                    <a:pt x="132" y="672"/>
                  </a:lnTo>
                  <a:lnTo>
                    <a:pt x="72" y="666"/>
                  </a:lnTo>
                  <a:lnTo>
                    <a:pt x="42" y="666"/>
                  </a:lnTo>
                  <a:lnTo>
                    <a:pt x="36" y="666"/>
                  </a:lnTo>
                  <a:lnTo>
                    <a:pt x="30" y="660"/>
                  </a:lnTo>
                  <a:lnTo>
                    <a:pt x="0" y="660"/>
                  </a:lnTo>
                  <a:lnTo>
                    <a:pt x="24" y="120"/>
                  </a:lnTo>
                  <a:lnTo>
                    <a:pt x="60" y="120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62" y="120"/>
                  </a:lnTo>
                  <a:lnTo>
                    <a:pt x="168" y="120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10" y="156"/>
                  </a:lnTo>
                  <a:lnTo>
                    <a:pt x="222" y="174"/>
                  </a:lnTo>
                  <a:lnTo>
                    <a:pt x="240" y="186"/>
                  </a:lnTo>
                  <a:lnTo>
                    <a:pt x="252" y="198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216"/>
                  </a:lnTo>
                  <a:lnTo>
                    <a:pt x="270" y="216"/>
                  </a:lnTo>
                  <a:lnTo>
                    <a:pt x="282" y="222"/>
                  </a:lnTo>
                  <a:lnTo>
                    <a:pt x="288" y="222"/>
                  </a:lnTo>
                  <a:lnTo>
                    <a:pt x="294" y="216"/>
                  </a:lnTo>
                  <a:lnTo>
                    <a:pt x="294" y="210"/>
                  </a:lnTo>
                  <a:lnTo>
                    <a:pt x="312" y="204"/>
                  </a:lnTo>
                  <a:lnTo>
                    <a:pt x="330" y="186"/>
                  </a:lnTo>
                  <a:lnTo>
                    <a:pt x="336" y="174"/>
                  </a:lnTo>
                  <a:lnTo>
                    <a:pt x="342" y="162"/>
                  </a:lnTo>
                  <a:lnTo>
                    <a:pt x="342" y="156"/>
                  </a:lnTo>
                  <a:lnTo>
                    <a:pt x="348" y="150"/>
                  </a:lnTo>
                  <a:lnTo>
                    <a:pt x="354" y="144"/>
                  </a:lnTo>
                  <a:lnTo>
                    <a:pt x="360" y="138"/>
                  </a:lnTo>
                  <a:lnTo>
                    <a:pt x="366" y="132"/>
                  </a:lnTo>
                  <a:lnTo>
                    <a:pt x="372" y="114"/>
                  </a:lnTo>
                  <a:lnTo>
                    <a:pt x="378" y="114"/>
                  </a:lnTo>
                  <a:lnTo>
                    <a:pt x="378" y="96"/>
                  </a:lnTo>
                  <a:lnTo>
                    <a:pt x="390" y="96"/>
                  </a:lnTo>
                  <a:lnTo>
                    <a:pt x="396" y="84"/>
                  </a:lnTo>
                  <a:lnTo>
                    <a:pt x="396" y="72"/>
                  </a:lnTo>
                  <a:lnTo>
                    <a:pt x="396" y="54"/>
                  </a:lnTo>
                  <a:lnTo>
                    <a:pt x="408" y="42"/>
                  </a:lnTo>
                  <a:lnTo>
                    <a:pt x="468" y="42"/>
                  </a:lnTo>
                  <a:lnTo>
                    <a:pt x="486" y="36"/>
                  </a:lnTo>
                  <a:lnTo>
                    <a:pt x="492" y="24"/>
                  </a:lnTo>
                  <a:lnTo>
                    <a:pt x="504" y="24"/>
                  </a:lnTo>
                  <a:lnTo>
                    <a:pt x="516" y="6"/>
                  </a:lnTo>
                  <a:lnTo>
                    <a:pt x="528" y="0"/>
                  </a:lnTo>
                  <a:lnTo>
                    <a:pt x="558" y="12"/>
                  </a:lnTo>
                  <a:lnTo>
                    <a:pt x="588" y="36"/>
                  </a:lnTo>
                  <a:lnTo>
                    <a:pt x="600" y="66"/>
                  </a:lnTo>
                  <a:lnTo>
                    <a:pt x="624" y="66"/>
                  </a:lnTo>
                  <a:lnTo>
                    <a:pt x="624" y="90"/>
                  </a:lnTo>
                  <a:lnTo>
                    <a:pt x="618" y="90"/>
                  </a:lnTo>
                  <a:lnTo>
                    <a:pt x="618" y="96"/>
                  </a:lnTo>
                  <a:lnTo>
                    <a:pt x="600" y="102"/>
                  </a:lnTo>
                  <a:lnTo>
                    <a:pt x="588" y="108"/>
                  </a:lnTo>
                  <a:lnTo>
                    <a:pt x="570" y="120"/>
                  </a:lnTo>
                  <a:lnTo>
                    <a:pt x="564" y="138"/>
                  </a:lnTo>
                  <a:lnTo>
                    <a:pt x="558" y="162"/>
                  </a:lnTo>
                  <a:lnTo>
                    <a:pt x="540" y="210"/>
                  </a:lnTo>
                  <a:lnTo>
                    <a:pt x="528" y="252"/>
                  </a:lnTo>
                  <a:lnTo>
                    <a:pt x="528" y="402"/>
                  </a:lnTo>
                  <a:lnTo>
                    <a:pt x="522" y="444"/>
                  </a:lnTo>
                  <a:lnTo>
                    <a:pt x="510" y="468"/>
                  </a:lnTo>
                  <a:lnTo>
                    <a:pt x="498" y="498"/>
                  </a:lnTo>
                  <a:lnTo>
                    <a:pt x="474" y="534"/>
                  </a:lnTo>
                  <a:lnTo>
                    <a:pt x="456" y="570"/>
                  </a:lnTo>
                  <a:lnTo>
                    <a:pt x="444" y="576"/>
                  </a:lnTo>
                  <a:lnTo>
                    <a:pt x="420" y="606"/>
                  </a:lnTo>
                  <a:lnTo>
                    <a:pt x="390" y="624"/>
                  </a:lnTo>
                  <a:lnTo>
                    <a:pt x="372" y="642"/>
                  </a:lnTo>
                  <a:lnTo>
                    <a:pt x="366" y="654"/>
                  </a:lnTo>
                  <a:lnTo>
                    <a:pt x="342" y="660"/>
                  </a:lnTo>
                  <a:lnTo>
                    <a:pt x="300" y="666"/>
                  </a:lnTo>
                  <a:lnTo>
                    <a:pt x="234" y="672"/>
                  </a:lnTo>
                  <a:lnTo>
                    <a:pt x="192" y="672"/>
                  </a:lnTo>
                  <a:lnTo>
                    <a:pt x="168" y="67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9" name="Freeform 14">
              <a:extLst>
                <a:ext uri="{FF2B5EF4-FFF2-40B4-BE49-F238E27FC236}">
                  <a16:creationId xmlns:a16="http://schemas.microsoft.com/office/drawing/2014/main" id="{2EA1E999-9CDF-4391-8BC9-7DE71AF9C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0460" y="2983045"/>
              <a:ext cx="905658" cy="561362"/>
            </a:xfrm>
            <a:custGeom>
              <a:avLst/>
              <a:gdLst>
                <a:gd name="T0" fmla="*/ 31 w 1704"/>
                <a:gd name="T1" fmla="*/ 78 h 1056"/>
                <a:gd name="T2" fmla="*/ 23 w 1704"/>
                <a:gd name="T3" fmla="*/ 78 h 1056"/>
                <a:gd name="T4" fmla="*/ 11 w 1704"/>
                <a:gd name="T5" fmla="*/ 79 h 1056"/>
                <a:gd name="T6" fmla="*/ 1 w 1704"/>
                <a:gd name="T7" fmla="*/ 81 h 1056"/>
                <a:gd name="T8" fmla="*/ 0 w 1704"/>
                <a:gd name="T9" fmla="*/ 62 h 1056"/>
                <a:gd name="T10" fmla="*/ 9 w 1704"/>
                <a:gd name="T11" fmla="*/ 56 h 1056"/>
                <a:gd name="T12" fmla="*/ 27 w 1704"/>
                <a:gd name="T13" fmla="*/ 48 h 1056"/>
                <a:gd name="T14" fmla="*/ 35 w 1704"/>
                <a:gd name="T15" fmla="*/ 20 h 1056"/>
                <a:gd name="T16" fmla="*/ 43 w 1704"/>
                <a:gd name="T17" fmla="*/ 6 h 1056"/>
                <a:gd name="T18" fmla="*/ 47 w 1704"/>
                <a:gd name="T19" fmla="*/ 7 h 1056"/>
                <a:gd name="T20" fmla="*/ 52 w 1704"/>
                <a:gd name="T21" fmla="*/ 0 h 1056"/>
                <a:gd name="T22" fmla="*/ 59 w 1704"/>
                <a:gd name="T23" fmla="*/ 5 h 1056"/>
                <a:gd name="T24" fmla="*/ 63 w 1704"/>
                <a:gd name="T25" fmla="*/ 12 h 1056"/>
                <a:gd name="T26" fmla="*/ 62 w 1704"/>
                <a:gd name="T27" fmla="*/ 15 h 1056"/>
                <a:gd name="T28" fmla="*/ 62 w 1704"/>
                <a:gd name="T29" fmla="*/ 18 h 1056"/>
                <a:gd name="T30" fmla="*/ 70 w 1704"/>
                <a:gd name="T31" fmla="*/ 18 h 1056"/>
                <a:gd name="T32" fmla="*/ 71 w 1704"/>
                <a:gd name="T33" fmla="*/ 14 h 1056"/>
                <a:gd name="T34" fmla="*/ 72 w 1704"/>
                <a:gd name="T35" fmla="*/ 12 h 1056"/>
                <a:gd name="T36" fmla="*/ 78 w 1704"/>
                <a:gd name="T37" fmla="*/ 14 h 1056"/>
                <a:gd name="T38" fmla="*/ 85 w 1704"/>
                <a:gd name="T39" fmla="*/ 21 h 1056"/>
                <a:gd name="T40" fmla="*/ 91 w 1704"/>
                <a:gd name="T41" fmla="*/ 15 h 1056"/>
                <a:gd name="T42" fmla="*/ 93 w 1704"/>
                <a:gd name="T43" fmla="*/ 10 h 1056"/>
                <a:gd name="T44" fmla="*/ 101 w 1704"/>
                <a:gd name="T45" fmla="*/ 14 h 1056"/>
                <a:gd name="T46" fmla="*/ 103 w 1704"/>
                <a:gd name="T47" fmla="*/ 19 h 1056"/>
                <a:gd name="T48" fmla="*/ 115 w 1704"/>
                <a:gd name="T49" fmla="*/ 20 h 1056"/>
                <a:gd name="T50" fmla="*/ 118 w 1704"/>
                <a:gd name="T51" fmla="*/ 23 h 1056"/>
                <a:gd name="T52" fmla="*/ 117 w 1704"/>
                <a:gd name="T53" fmla="*/ 27 h 1056"/>
                <a:gd name="T54" fmla="*/ 111 w 1704"/>
                <a:gd name="T55" fmla="*/ 33 h 1056"/>
                <a:gd name="T56" fmla="*/ 108 w 1704"/>
                <a:gd name="T57" fmla="*/ 36 h 1056"/>
                <a:gd name="T58" fmla="*/ 109 w 1704"/>
                <a:gd name="T59" fmla="*/ 40 h 1056"/>
                <a:gd name="T60" fmla="*/ 111 w 1704"/>
                <a:gd name="T61" fmla="*/ 43 h 1056"/>
                <a:gd name="T62" fmla="*/ 113 w 1704"/>
                <a:gd name="T63" fmla="*/ 50 h 1056"/>
                <a:gd name="T64" fmla="*/ 121 w 1704"/>
                <a:gd name="T65" fmla="*/ 55 h 1056"/>
                <a:gd name="T66" fmla="*/ 132 w 1704"/>
                <a:gd name="T67" fmla="*/ 52 h 1056"/>
                <a:gd name="T68" fmla="*/ 148 w 1704"/>
                <a:gd name="T69" fmla="*/ 58 h 1056"/>
                <a:gd name="T70" fmla="*/ 148 w 1704"/>
                <a:gd name="T71" fmla="*/ 61 h 1056"/>
                <a:gd name="T72" fmla="*/ 148 w 1704"/>
                <a:gd name="T73" fmla="*/ 64 h 1056"/>
                <a:gd name="T74" fmla="*/ 135 w 1704"/>
                <a:gd name="T75" fmla="*/ 61 h 1056"/>
                <a:gd name="T76" fmla="*/ 135 w 1704"/>
                <a:gd name="T77" fmla="*/ 66 h 1056"/>
                <a:gd name="T78" fmla="*/ 137 w 1704"/>
                <a:gd name="T79" fmla="*/ 71 h 1056"/>
                <a:gd name="T80" fmla="*/ 136 w 1704"/>
                <a:gd name="T81" fmla="*/ 79 h 1056"/>
                <a:gd name="T82" fmla="*/ 126 w 1704"/>
                <a:gd name="T83" fmla="*/ 84 h 1056"/>
                <a:gd name="T84" fmla="*/ 121 w 1704"/>
                <a:gd name="T85" fmla="*/ 79 h 1056"/>
                <a:gd name="T86" fmla="*/ 117 w 1704"/>
                <a:gd name="T87" fmla="*/ 75 h 1056"/>
                <a:gd name="T88" fmla="*/ 98 w 1704"/>
                <a:gd name="T89" fmla="*/ 74 h 1056"/>
                <a:gd name="T90" fmla="*/ 81 w 1704"/>
                <a:gd name="T91" fmla="*/ 75 h 1056"/>
                <a:gd name="T92" fmla="*/ 83 w 1704"/>
                <a:gd name="T93" fmla="*/ 88 h 1056"/>
                <a:gd name="T94" fmla="*/ 82 w 1704"/>
                <a:gd name="T95" fmla="*/ 91 h 1056"/>
                <a:gd name="T96" fmla="*/ 77 w 1704"/>
                <a:gd name="T97" fmla="*/ 90 h 1056"/>
                <a:gd name="T98" fmla="*/ 73 w 1704"/>
                <a:gd name="T99" fmla="*/ 86 h 1056"/>
                <a:gd name="T100" fmla="*/ 68 w 1704"/>
                <a:gd name="T101" fmla="*/ 85 h 1056"/>
                <a:gd name="T102" fmla="*/ 64 w 1704"/>
                <a:gd name="T103" fmla="*/ 83 h 1056"/>
                <a:gd name="T104" fmla="*/ 57 w 1704"/>
                <a:gd name="T105" fmla="*/ 81 h 1056"/>
                <a:gd name="T106" fmla="*/ 52 w 1704"/>
                <a:gd name="T107" fmla="*/ 80 h 1056"/>
                <a:gd name="T108" fmla="*/ 50 w 1704"/>
                <a:gd name="T109" fmla="*/ 80 h 1056"/>
                <a:gd name="T110" fmla="*/ 46 w 1704"/>
                <a:gd name="T111" fmla="*/ 79 h 1056"/>
                <a:gd name="T112" fmla="*/ 41 w 1704"/>
                <a:gd name="T113" fmla="*/ 78 h 10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04"/>
                <a:gd name="T172" fmla="*/ 0 h 1056"/>
                <a:gd name="T173" fmla="*/ 1704 w 1704"/>
                <a:gd name="T174" fmla="*/ 1056 h 10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04" h="1056">
                  <a:moveTo>
                    <a:pt x="450" y="888"/>
                  </a:moveTo>
                  <a:lnTo>
                    <a:pt x="420" y="888"/>
                  </a:lnTo>
                  <a:lnTo>
                    <a:pt x="414" y="888"/>
                  </a:lnTo>
                  <a:lnTo>
                    <a:pt x="396" y="888"/>
                  </a:lnTo>
                  <a:lnTo>
                    <a:pt x="372" y="888"/>
                  </a:lnTo>
                  <a:lnTo>
                    <a:pt x="366" y="888"/>
                  </a:lnTo>
                  <a:lnTo>
                    <a:pt x="360" y="888"/>
                  </a:lnTo>
                  <a:lnTo>
                    <a:pt x="348" y="888"/>
                  </a:lnTo>
                  <a:lnTo>
                    <a:pt x="330" y="894"/>
                  </a:lnTo>
                  <a:lnTo>
                    <a:pt x="324" y="894"/>
                  </a:lnTo>
                  <a:lnTo>
                    <a:pt x="312" y="888"/>
                  </a:lnTo>
                  <a:lnTo>
                    <a:pt x="300" y="888"/>
                  </a:lnTo>
                  <a:lnTo>
                    <a:pt x="282" y="888"/>
                  </a:lnTo>
                  <a:lnTo>
                    <a:pt x="270" y="888"/>
                  </a:lnTo>
                  <a:lnTo>
                    <a:pt x="240" y="882"/>
                  </a:lnTo>
                  <a:lnTo>
                    <a:pt x="222" y="882"/>
                  </a:lnTo>
                  <a:lnTo>
                    <a:pt x="198" y="882"/>
                  </a:lnTo>
                  <a:lnTo>
                    <a:pt x="174" y="894"/>
                  </a:lnTo>
                  <a:lnTo>
                    <a:pt x="162" y="900"/>
                  </a:lnTo>
                  <a:lnTo>
                    <a:pt x="144" y="906"/>
                  </a:lnTo>
                  <a:lnTo>
                    <a:pt x="126" y="912"/>
                  </a:lnTo>
                  <a:lnTo>
                    <a:pt x="102" y="924"/>
                  </a:lnTo>
                  <a:lnTo>
                    <a:pt x="78" y="930"/>
                  </a:lnTo>
                  <a:lnTo>
                    <a:pt x="72" y="936"/>
                  </a:lnTo>
                  <a:lnTo>
                    <a:pt x="30" y="954"/>
                  </a:lnTo>
                  <a:lnTo>
                    <a:pt x="12" y="966"/>
                  </a:lnTo>
                  <a:lnTo>
                    <a:pt x="12" y="954"/>
                  </a:lnTo>
                  <a:lnTo>
                    <a:pt x="12" y="930"/>
                  </a:lnTo>
                  <a:lnTo>
                    <a:pt x="12" y="894"/>
                  </a:lnTo>
                  <a:lnTo>
                    <a:pt x="30" y="828"/>
                  </a:lnTo>
                  <a:lnTo>
                    <a:pt x="36" y="798"/>
                  </a:lnTo>
                  <a:lnTo>
                    <a:pt x="18" y="774"/>
                  </a:lnTo>
                  <a:lnTo>
                    <a:pt x="18" y="756"/>
                  </a:lnTo>
                  <a:lnTo>
                    <a:pt x="6" y="738"/>
                  </a:lnTo>
                  <a:lnTo>
                    <a:pt x="0" y="714"/>
                  </a:lnTo>
                  <a:lnTo>
                    <a:pt x="12" y="678"/>
                  </a:lnTo>
                  <a:lnTo>
                    <a:pt x="18" y="678"/>
                  </a:lnTo>
                  <a:lnTo>
                    <a:pt x="24" y="672"/>
                  </a:lnTo>
                  <a:lnTo>
                    <a:pt x="30" y="666"/>
                  </a:lnTo>
                  <a:lnTo>
                    <a:pt x="42" y="648"/>
                  </a:lnTo>
                  <a:lnTo>
                    <a:pt x="66" y="648"/>
                  </a:lnTo>
                  <a:lnTo>
                    <a:pt x="108" y="648"/>
                  </a:lnTo>
                  <a:lnTo>
                    <a:pt x="174" y="642"/>
                  </a:lnTo>
                  <a:lnTo>
                    <a:pt x="216" y="636"/>
                  </a:lnTo>
                  <a:lnTo>
                    <a:pt x="240" y="630"/>
                  </a:lnTo>
                  <a:lnTo>
                    <a:pt x="246" y="618"/>
                  </a:lnTo>
                  <a:lnTo>
                    <a:pt x="264" y="600"/>
                  </a:lnTo>
                  <a:lnTo>
                    <a:pt x="294" y="582"/>
                  </a:lnTo>
                  <a:lnTo>
                    <a:pt x="318" y="552"/>
                  </a:lnTo>
                  <a:lnTo>
                    <a:pt x="330" y="546"/>
                  </a:lnTo>
                  <a:lnTo>
                    <a:pt x="348" y="510"/>
                  </a:lnTo>
                  <a:lnTo>
                    <a:pt x="372" y="474"/>
                  </a:lnTo>
                  <a:lnTo>
                    <a:pt x="384" y="444"/>
                  </a:lnTo>
                  <a:lnTo>
                    <a:pt x="396" y="420"/>
                  </a:lnTo>
                  <a:lnTo>
                    <a:pt x="402" y="378"/>
                  </a:lnTo>
                  <a:lnTo>
                    <a:pt x="402" y="228"/>
                  </a:lnTo>
                  <a:lnTo>
                    <a:pt x="414" y="186"/>
                  </a:lnTo>
                  <a:lnTo>
                    <a:pt x="432" y="138"/>
                  </a:lnTo>
                  <a:lnTo>
                    <a:pt x="438" y="114"/>
                  </a:lnTo>
                  <a:lnTo>
                    <a:pt x="444" y="96"/>
                  </a:lnTo>
                  <a:lnTo>
                    <a:pt x="462" y="84"/>
                  </a:lnTo>
                  <a:lnTo>
                    <a:pt x="474" y="78"/>
                  </a:lnTo>
                  <a:lnTo>
                    <a:pt x="492" y="72"/>
                  </a:lnTo>
                  <a:lnTo>
                    <a:pt x="492" y="66"/>
                  </a:lnTo>
                  <a:lnTo>
                    <a:pt x="498" y="66"/>
                  </a:lnTo>
                  <a:lnTo>
                    <a:pt x="510" y="66"/>
                  </a:lnTo>
                  <a:lnTo>
                    <a:pt x="510" y="72"/>
                  </a:lnTo>
                  <a:lnTo>
                    <a:pt x="516" y="72"/>
                  </a:lnTo>
                  <a:lnTo>
                    <a:pt x="522" y="78"/>
                  </a:lnTo>
                  <a:lnTo>
                    <a:pt x="546" y="78"/>
                  </a:lnTo>
                  <a:lnTo>
                    <a:pt x="552" y="60"/>
                  </a:lnTo>
                  <a:lnTo>
                    <a:pt x="570" y="42"/>
                  </a:lnTo>
                  <a:lnTo>
                    <a:pt x="576" y="24"/>
                  </a:lnTo>
                  <a:lnTo>
                    <a:pt x="588" y="18"/>
                  </a:lnTo>
                  <a:lnTo>
                    <a:pt x="588" y="12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624" y="0"/>
                  </a:lnTo>
                  <a:lnTo>
                    <a:pt x="636" y="6"/>
                  </a:lnTo>
                  <a:lnTo>
                    <a:pt x="648" y="24"/>
                  </a:lnTo>
                  <a:lnTo>
                    <a:pt x="654" y="48"/>
                  </a:lnTo>
                  <a:lnTo>
                    <a:pt x="672" y="60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0" y="72"/>
                  </a:lnTo>
                  <a:lnTo>
                    <a:pt x="690" y="78"/>
                  </a:lnTo>
                  <a:lnTo>
                    <a:pt x="696" y="90"/>
                  </a:lnTo>
                  <a:lnTo>
                    <a:pt x="714" y="114"/>
                  </a:lnTo>
                  <a:lnTo>
                    <a:pt x="714" y="120"/>
                  </a:lnTo>
                  <a:lnTo>
                    <a:pt x="720" y="132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20" y="150"/>
                  </a:lnTo>
                  <a:lnTo>
                    <a:pt x="714" y="150"/>
                  </a:lnTo>
                  <a:lnTo>
                    <a:pt x="714" y="156"/>
                  </a:lnTo>
                  <a:lnTo>
                    <a:pt x="714" y="162"/>
                  </a:lnTo>
                  <a:lnTo>
                    <a:pt x="708" y="162"/>
                  </a:lnTo>
                  <a:lnTo>
                    <a:pt x="708" y="168"/>
                  </a:lnTo>
                  <a:lnTo>
                    <a:pt x="702" y="168"/>
                  </a:lnTo>
                  <a:lnTo>
                    <a:pt x="702" y="174"/>
                  </a:lnTo>
                  <a:lnTo>
                    <a:pt x="702" y="180"/>
                  </a:lnTo>
                  <a:lnTo>
                    <a:pt x="708" y="180"/>
                  </a:lnTo>
                  <a:lnTo>
                    <a:pt x="708" y="186"/>
                  </a:lnTo>
                  <a:lnTo>
                    <a:pt x="708" y="192"/>
                  </a:lnTo>
                  <a:lnTo>
                    <a:pt x="714" y="204"/>
                  </a:lnTo>
                  <a:lnTo>
                    <a:pt x="726" y="216"/>
                  </a:lnTo>
                  <a:lnTo>
                    <a:pt x="738" y="216"/>
                  </a:lnTo>
                  <a:lnTo>
                    <a:pt x="768" y="222"/>
                  </a:lnTo>
                  <a:lnTo>
                    <a:pt x="780" y="216"/>
                  </a:lnTo>
                  <a:lnTo>
                    <a:pt x="792" y="204"/>
                  </a:lnTo>
                  <a:lnTo>
                    <a:pt x="798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6" y="192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6" y="174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22" y="156"/>
                  </a:lnTo>
                  <a:lnTo>
                    <a:pt x="822" y="150"/>
                  </a:lnTo>
                  <a:lnTo>
                    <a:pt x="828" y="144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8" y="138"/>
                  </a:lnTo>
                  <a:lnTo>
                    <a:pt x="834" y="132"/>
                  </a:lnTo>
                  <a:lnTo>
                    <a:pt x="840" y="132"/>
                  </a:lnTo>
                  <a:lnTo>
                    <a:pt x="864" y="126"/>
                  </a:lnTo>
                  <a:lnTo>
                    <a:pt x="906" y="144"/>
                  </a:lnTo>
                  <a:lnTo>
                    <a:pt x="906" y="150"/>
                  </a:lnTo>
                  <a:lnTo>
                    <a:pt x="906" y="156"/>
                  </a:lnTo>
                  <a:lnTo>
                    <a:pt x="900" y="162"/>
                  </a:lnTo>
                  <a:lnTo>
                    <a:pt x="924" y="168"/>
                  </a:lnTo>
                  <a:lnTo>
                    <a:pt x="942" y="192"/>
                  </a:lnTo>
                  <a:lnTo>
                    <a:pt x="972" y="210"/>
                  </a:lnTo>
                  <a:lnTo>
                    <a:pt x="972" y="216"/>
                  </a:lnTo>
                  <a:lnTo>
                    <a:pt x="972" y="228"/>
                  </a:lnTo>
                  <a:lnTo>
                    <a:pt x="978" y="234"/>
                  </a:lnTo>
                  <a:lnTo>
                    <a:pt x="978" y="246"/>
                  </a:lnTo>
                  <a:lnTo>
                    <a:pt x="984" y="252"/>
                  </a:lnTo>
                  <a:lnTo>
                    <a:pt x="1014" y="252"/>
                  </a:lnTo>
                  <a:lnTo>
                    <a:pt x="1020" y="228"/>
                  </a:lnTo>
                  <a:lnTo>
                    <a:pt x="1026" y="198"/>
                  </a:lnTo>
                  <a:lnTo>
                    <a:pt x="1050" y="186"/>
                  </a:lnTo>
                  <a:lnTo>
                    <a:pt x="1056" y="180"/>
                  </a:lnTo>
                  <a:lnTo>
                    <a:pt x="1050" y="174"/>
                  </a:lnTo>
                  <a:lnTo>
                    <a:pt x="1050" y="168"/>
                  </a:lnTo>
                  <a:lnTo>
                    <a:pt x="1050" y="162"/>
                  </a:lnTo>
                  <a:lnTo>
                    <a:pt x="1056" y="162"/>
                  </a:lnTo>
                  <a:lnTo>
                    <a:pt x="1062" y="162"/>
                  </a:lnTo>
                  <a:lnTo>
                    <a:pt x="1074" y="162"/>
                  </a:lnTo>
                  <a:lnTo>
                    <a:pt x="1074" y="144"/>
                  </a:lnTo>
                  <a:lnTo>
                    <a:pt x="1074" y="120"/>
                  </a:lnTo>
                  <a:lnTo>
                    <a:pt x="1092" y="120"/>
                  </a:lnTo>
                  <a:lnTo>
                    <a:pt x="1098" y="126"/>
                  </a:lnTo>
                  <a:lnTo>
                    <a:pt x="1134" y="132"/>
                  </a:lnTo>
                  <a:lnTo>
                    <a:pt x="1146" y="132"/>
                  </a:lnTo>
                  <a:lnTo>
                    <a:pt x="1158" y="150"/>
                  </a:lnTo>
                  <a:lnTo>
                    <a:pt x="1158" y="156"/>
                  </a:lnTo>
                  <a:lnTo>
                    <a:pt x="1158" y="162"/>
                  </a:lnTo>
                  <a:lnTo>
                    <a:pt x="1158" y="180"/>
                  </a:lnTo>
                  <a:lnTo>
                    <a:pt x="1158" y="186"/>
                  </a:lnTo>
                  <a:lnTo>
                    <a:pt x="1164" y="192"/>
                  </a:lnTo>
                  <a:lnTo>
                    <a:pt x="1176" y="198"/>
                  </a:lnTo>
                  <a:lnTo>
                    <a:pt x="1182" y="198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8"/>
                  </a:lnTo>
                  <a:lnTo>
                    <a:pt x="1188" y="234"/>
                  </a:lnTo>
                  <a:lnTo>
                    <a:pt x="1212" y="234"/>
                  </a:lnTo>
                  <a:lnTo>
                    <a:pt x="1242" y="234"/>
                  </a:lnTo>
                  <a:lnTo>
                    <a:pt x="1248" y="234"/>
                  </a:lnTo>
                  <a:lnTo>
                    <a:pt x="1278" y="240"/>
                  </a:lnTo>
                  <a:lnTo>
                    <a:pt x="1320" y="234"/>
                  </a:lnTo>
                  <a:lnTo>
                    <a:pt x="1332" y="228"/>
                  </a:lnTo>
                  <a:lnTo>
                    <a:pt x="1344" y="228"/>
                  </a:lnTo>
                  <a:lnTo>
                    <a:pt x="1350" y="234"/>
                  </a:lnTo>
                  <a:lnTo>
                    <a:pt x="1350" y="240"/>
                  </a:lnTo>
                  <a:lnTo>
                    <a:pt x="1356" y="246"/>
                  </a:lnTo>
                  <a:lnTo>
                    <a:pt x="1350" y="252"/>
                  </a:lnTo>
                  <a:lnTo>
                    <a:pt x="1356" y="264"/>
                  </a:lnTo>
                  <a:lnTo>
                    <a:pt x="1356" y="270"/>
                  </a:lnTo>
                  <a:lnTo>
                    <a:pt x="1356" y="276"/>
                  </a:lnTo>
                  <a:lnTo>
                    <a:pt x="1356" y="282"/>
                  </a:lnTo>
                  <a:lnTo>
                    <a:pt x="1356" y="288"/>
                  </a:lnTo>
                  <a:lnTo>
                    <a:pt x="1350" y="294"/>
                  </a:lnTo>
                  <a:lnTo>
                    <a:pt x="1344" y="300"/>
                  </a:lnTo>
                  <a:lnTo>
                    <a:pt x="1344" y="306"/>
                  </a:lnTo>
                  <a:lnTo>
                    <a:pt x="1338" y="312"/>
                  </a:lnTo>
                  <a:lnTo>
                    <a:pt x="1326" y="342"/>
                  </a:lnTo>
                  <a:lnTo>
                    <a:pt x="1320" y="348"/>
                  </a:lnTo>
                  <a:lnTo>
                    <a:pt x="1314" y="354"/>
                  </a:lnTo>
                  <a:lnTo>
                    <a:pt x="1290" y="354"/>
                  </a:lnTo>
                  <a:lnTo>
                    <a:pt x="1284" y="360"/>
                  </a:lnTo>
                  <a:lnTo>
                    <a:pt x="1278" y="378"/>
                  </a:lnTo>
                  <a:lnTo>
                    <a:pt x="1278" y="384"/>
                  </a:lnTo>
                  <a:lnTo>
                    <a:pt x="1272" y="390"/>
                  </a:lnTo>
                  <a:lnTo>
                    <a:pt x="1266" y="396"/>
                  </a:lnTo>
                  <a:lnTo>
                    <a:pt x="1260" y="396"/>
                  </a:lnTo>
                  <a:lnTo>
                    <a:pt x="1248" y="402"/>
                  </a:lnTo>
                  <a:lnTo>
                    <a:pt x="1242" y="408"/>
                  </a:lnTo>
                  <a:lnTo>
                    <a:pt x="1242" y="414"/>
                  </a:lnTo>
                  <a:lnTo>
                    <a:pt x="1242" y="420"/>
                  </a:lnTo>
                  <a:lnTo>
                    <a:pt x="1236" y="432"/>
                  </a:lnTo>
                  <a:lnTo>
                    <a:pt x="1242" y="432"/>
                  </a:lnTo>
                  <a:lnTo>
                    <a:pt x="1242" y="444"/>
                  </a:lnTo>
                  <a:lnTo>
                    <a:pt x="1242" y="456"/>
                  </a:lnTo>
                  <a:lnTo>
                    <a:pt x="1248" y="456"/>
                  </a:lnTo>
                  <a:lnTo>
                    <a:pt x="1254" y="462"/>
                  </a:lnTo>
                  <a:lnTo>
                    <a:pt x="1248" y="468"/>
                  </a:lnTo>
                  <a:lnTo>
                    <a:pt x="1254" y="468"/>
                  </a:lnTo>
                  <a:lnTo>
                    <a:pt x="1266" y="474"/>
                  </a:lnTo>
                  <a:lnTo>
                    <a:pt x="1266" y="480"/>
                  </a:lnTo>
                  <a:lnTo>
                    <a:pt x="1266" y="486"/>
                  </a:lnTo>
                  <a:lnTo>
                    <a:pt x="1272" y="486"/>
                  </a:lnTo>
                  <a:lnTo>
                    <a:pt x="1272" y="492"/>
                  </a:lnTo>
                  <a:lnTo>
                    <a:pt x="1290" y="510"/>
                  </a:lnTo>
                  <a:lnTo>
                    <a:pt x="1296" y="516"/>
                  </a:lnTo>
                  <a:lnTo>
                    <a:pt x="1302" y="540"/>
                  </a:lnTo>
                  <a:lnTo>
                    <a:pt x="1302" y="546"/>
                  </a:lnTo>
                  <a:lnTo>
                    <a:pt x="1302" y="558"/>
                  </a:lnTo>
                  <a:lnTo>
                    <a:pt x="1302" y="570"/>
                  </a:lnTo>
                  <a:lnTo>
                    <a:pt x="1302" y="576"/>
                  </a:lnTo>
                  <a:lnTo>
                    <a:pt x="1344" y="570"/>
                  </a:lnTo>
                  <a:lnTo>
                    <a:pt x="1350" y="582"/>
                  </a:lnTo>
                  <a:lnTo>
                    <a:pt x="1368" y="594"/>
                  </a:lnTo>
                  <a:lnTo>
                    <a:pt x="1374" y="600"/>
                  </a:lnTo>
                  <a:lnTo>
                    <a:pt x="1380" y="600"/>
                  </a:lnTo>
                  <a:lnTo>
                    <a:pt x="1380" y="618"/>
                  </a:lnTo>
                  <a:lnTo>
                    <a:pt x="1386" y="624"/>
                  </a:lnTo>
                  <a:lnTo>
                    <a:pt x="1404" y="624"/>
                  </a:lnTo>
                  <a:lnTo>
                    <a:pt x="1410" y="612"/>
                  </a:lnTo>
                  <a:lnTo>
                    <a:pt x="1428" y="606"/>
                  </a:lnTo>
                  <a:lnTo>
                    <a:pt x="1488" y="606"/>
                  </a:lnTo>
                  <a:lnTo>
                    <a:pt x="1506" y="606"/>
                  </a:lnTo>
                  <a:lnTo>
                    <a:pt x="1512" y="600"/>
                  </a:lnTo>
                  <a:lnTo>
                    <a:pt x="1524" y="594"/>
                  </a:lnTo>
                  <a:lnTo>
                    <a:pt x="1554" y="594"/>
                  </a:lnTo>
                  <a:lnTo>
                    <a:pt x="1578" y="606"/>
                  </a:lnTo>
                  <a:lnTo>
                    <a:pt x="1596" y="624"/>
                  </a:lnTo>
                  <a:lnTo>
                    <a:pt x="1650" y="642"/>
                  </a:lnTo>
                  <a:lnTo>
                    <a:pt x="1686" y="648"/>
                  </a:lnTo>
                  <a:lnTo>
                    <a:pt x="1698" y="654"/>
                  </a:lnTo>
                  <a:lnTo>
                    <a:pt x="1698" y="660"/>
                  </a:lnTo>
                  <a:lnTo>
                    <a:pt x="1692" y="666"/>
                  </a:lnTo>
                  <a:lnTo>
                    <a:pt x="1692" y="672"/>
                  </a:lnTo>
                  <a:lnTo>
                    <a:pt x="1698" y="678"/>
                  </a:lnTo>
                  <a:lnTo>
                    <a:pt x="1698" y="684"/>
                  </a:lnTo>
                  <a:lnTo>
                    <a:pt x="1692" y="684"/>
                  </a:lnTo>
                  <a:lnTo>
                    <a:pt x="1692" y="690"/>
                  </a:lnTo>
                  <a:lnTo>
                    <a:pt x="1698" y="696"/>
                  </a:lnTo>
                  <a:lnTo>
                    <a:pt x="1698" y="702"/>
                  </a:lnTo>
                  <a:lnTo>
                    <a:pt x="1698" y="708"/>
                  </a:lnTo>
                  <a:lnTo>
                    <a:pt x="1704" y="714"/>
                  </a:lnTo>
                  <a:lnTo>
                    <a:pt x="1704" y="720"/>
                  </a:lnTo>
                  <a:lnTo>
                    <a:pt x="1704" y="726"/>
                  </a:lnTo>
                  <a:lnTo>
                    <a:pt x="1704" y="732"/>
                  </a:lnTo>
                  <a:lnTo>
                    <a:pt x="1704" y="738"/>
                  </a:lnTo>
                  <a:lnTo>
                    <a:pt x="1698" y="726"/>
                  </a:lnTo>
                  <a:lnTo>
                    <a:pt x="1668" y="720"/>
                  </a:lnTo>
                  <a:lnTo>
                    <a:pt x="1626" y="714"/>
                  </a:lnTo>
                  <a:lnTo>
                    <a:pt x="1614" y="708"/>
                  </a:lnTo>
                  <a:lnTo>
                    <a:pt x="1578" y="696"/>
                  </a:lnTo>
                  <a:lnTo>
                    <a:pt x="1566" y="696"/>
                  </a:lnTo>
                  <a:lnTo>
                    <a:pt x="1548" y="702"/>
                  </a:lnTo>
                  <a:lnTo>
                    <a:pt x="1542" y="714"/>
                  </a:lnTo>
                  <a:lnTo>
                    <a:pt x="1536" y="732"/>
                  </a:lnTo>
                  <a:lnTo>
                    <a:pt x="1530" y="750"/>
                  </a:lnTo>
                  <a:lnTo>
                    <a:pt x="1536" y="750"/>
                  </a:lnTo>
                  <a:lnTo>
                    <a:pt x="1542" y="756"/>
                  </a:lnTo>
                  <a:lnTo>
                    <a:pt x="1542" y="762"/>
                  </a:lnTo>
                  <a:lnTo>
                    <a:pt x="1548" y="762"/>
                  </a:lnTo>
                  <a:lnTo>
                    <a:pt x="1554" y="762"/>
                  </a:lnTo>
                  <a:lnTo>
                    <a:pt x="1554" y="768"/>
                  </a:lnTo>
                  <a:lnTo>
                    <a:pt x="1560" y="774"/>
                  </a:lnTo>
                  <a:lnTo>
                    <a:pt x="1566" y="774"/>
                  </a:lnTo>
                  <a:lnTo>
                    <a:pt x="1584" y="792"/>
                  </a:lnTo>
                  <a:lnTo>
                    <a:pt x="1584" y="810"/>
                  </a:lnTo>
                  <a:lnTo>
                    <a:pt x="1572" y="816"/>
                  </a:lnTo>
                  <a:lnTo>
                    <a:pt x="1578" y="834"/>
                  </a:lnTo>
                  <a:lnTo>
                    <a:pt x="1578" y="846"/>
                  </a:lnTo>
                  <a:lnTo>
                    <a:pt x="1584" y="858"/>
                  </a:lnTo>
                  <a:lnTo>
                    <a:pt x="1590" y="864"/>
                  </a:lnTo>
                  <a:lnTo>
                    <a:pt x="1590" y="876"/>
                  </a:lnTo>
                  <a:lnTo>
                    <a:pt x="1578" y="888"/>
                  </a:lnTo>
                  <a:lnTo>
                    <a:pt x="1560" y="906"/>
                  </a:lnTo>
                  <a:lnTo>
                    <a:pt x="1536" y="930"/>
                  </a:lnTo>
                  <a:lnTo>
                    <a:pt x="1530" y="930"/>
                  </a:lnTo>
                  <a:lnTo>
                    <a:pt x="1506" y="942"/>
                  </a:lnTo>
                  <a:lnTo>
                    <a:pt x="1488" y="948"/>
                  </a:lnTo>
                  <a:lnTo>
                    <a:pt x="1476" y="954"/>
                  </a:lnTo>
                  <a:lnTo>
                    <a:pt x="1458" y="960"/>
                  </a:lnTo>
                  <a:lnTo>
                    <a:pt x="1452" y="966"/>
                  </a:lnTo>
                  <a:lnTo>
                    <a:pt x="1446" y="966"/>
                  </a:lnTo>
                  <a:lnTo>
                    <a:pt x="1434" y="972"/>
                  </a:lnTo>
                  <a:lnTo>
                    <a:pt x="1434" y="954"/>
                  </a:lnTo>
                  <a:lnTo>
                    <a:pt x="1422" y="942"/>
                  </a:lnTo>
                  <a:lnTo>
                    <a:pt x="1398" y="924"/>
                  </a:lnTo>
                  <a:lnTo>
                    <a:pt x="1398" y="912"/>
                  </a:lnTo>
                  <a:lnTo>
                    <a:pt x="1398" y="906"/>
                  </a:lnTo>
                  <a:lnTo>
                    <a:pt x="1398" y="900"/>
                  </a:lnTo>
                  <a:lnTo>
                    <a:pt x="1380" y="900"/>
                  </a:lnTo>
                  <a:lnTo>
                    <a:pt x="1380" y="894"/>
                  </a:lnTo>
                  <a:lnTo>
                    <a:pt x="1368" y="888"/>
                  </a:lnTo>
                  <a:lnTo>
                    <a:pt x="1362" y="882"/>
                  </a:lnTo>
                  <a:lnTo>
                    <a:pt x="1356" y="876"/>
                  </a:lnTo>
                  <a:lnTo>
                    <a:pt x="1350" y="864"/>
                  </a:lnTo>
                  <a:lnTo>
                    <a:pt x="1344" y="858"/>
                  </a:lnTo>
                  <a:lnTo>
                    <a:pt x="1314" y="870"/>
                  </a:lnTo>
                  <a:lnTo>
                    <a:pt x="1272" y="876"/>
                  </a:lnTo>
                  <a:lnTo>
                    <a:pt x="1218" y="870"/>
                  </a:lnTo>
                  <a:lnTo>
                    <a:pt x="1200" y="864"/>
                  </a:lnTo>
                  <a:lnTo>
                    <a:pt x="1182" y="864"/>
                  </a:lnTo>
                  <a:lnTo>
                    <a:pt x="1134" y="858"/>
                  </a:lnTo>
                  <a:lnTo>
                    <a:pt x="1110" y="840"/>
                  </a:lnTo>
                  <a:lnTo>
                    <a:pt x="1086" y="828"/>
                  </a:lnTo>
                  <a:lnTo>
                    <a:pt x="1044" y="816"/>
                  </a:lnTo>
                  <a:lnTo>
                    <a:pt x="1014" y="816"/>
                  </a:lnTo>
                  <a:lnTo>
                    <a:pt x="990" y="822"/>
                  </a:lnTo>
                  <a:lnTo>
                    <a:pt x="948" y="858"/>
                  </a:lnTo>
                  <a:lnTo>
                    <a:pt x="930" y="864"/>
                  </a:lnTo>
                  <a:lnTo>
                    <a:pt x="924" y="876"/>
                  </a:lnTo>
                  <a:lnTo>
                    <a:pt x="918" y="906"/>
                  </a:lnTo>
                  <a:lnTo>
                    <a:pt x="924" y="930"/>
                  </a:lnTo>
                  <a:lnTo>
                    <a:pt x="948" y="984"/>
                  </a:lnTo>
                  <a:lnTo>
                    <a:pt x="954" y="1008"/>
                  </a:lnTo>
                  <a:lnTo>
                    <a:pt x="948" y="1014"/>
                  </a:lnTo>
                  <a:lnTo>
                    <a:pt x="954" y="1014"/>
                  </a:lnTo>
                  <a:lnTo>
                    <a:pt x="954" y="1032"/>
                  </a:lnTo>
                  <a:lnTo>
                    <a:pt x="966" y="1044"/>
                  </a:lnTo>
                  <a:lnTo>
                    <a:pt x="960" y="1056"/>
                  </a:lnTo>
                  <a:lnTo>
                    <a:pt x="954" y="1056"/>
                  </a:lnTo>
                  <a:lnTo>
                    <a:pt x="948" y="1056"/>
                  </a:lnTo>
                  <a:lnTo>
                    <a:pt x="942" y="1056"/>
                  </a:lnTo>
                  <a:lnTo>
                    <a:pt x="936" y="1050"/>
                  </a:lnTo>
                  <a:lnTo>
                    <a:pt x="930" y="1044"/>
                  </a:lnTo>
                  <a:lnTo>
                    <a:pt x="924" y="1044"/>
                  </a:lnTo>
                  <a:lnTo>
                    <a:pt x="918" y="1038"/>
                  </a:lnTo>
                  <a:lnTo>
                    <a:pt x="912" y="1038"/>
                  </a:lnTo>
                  <a:lnTo>
                    <a:pt x="906" y="1032"/>
                  </a:lnTo>
                  <a:lnTo>
                    <a:pt x="900" y="1032"/>
                  </a:lnTo>
                  <a:lnTo>
                    <a:pt x="888" y="1026"/>
                  </a:lnTo>
                  <a:lnTo>
                    <a:pt x="882" y="1026"/>
                  </a:lnTo>
                  <a:lnTo>
                    <a:pt x="876" y="1026"/>
                  </a:lnTo>
                  <a:lnTo>
                    <a:pt x="864" y="1014"/>
                  </a:lnTo>
                  <a:lnTo>
                    <a:pt x="846" y="1008"/>
                  </a:lnTo>
                  <a:lnTo>
                    <a:pt x="840" y="996"/>
                  </a:lnTo>
                  <a:lnTo>
                    <a:pt x="840" y="990"/>
                  </a:lnTo>
                  <a:lnTo>
                    <a:pt x="834" y="990"/>
                  </a:lnTo>
                  <a:lnTo>
                    <a:pt x="828" y="990"/>
                  </a:lnTo>
                  <a:lnTo>
                    <a:pt x="816" y="990"/>
                  </a:lnTo>
                  <a:lnTo>
                    <a:pt x="810" y="990"/>
                  </a:lnTo>
                  <a:lnTo>
                    <a:pt x="804" y="984"/>
                  </a:lnTo>
                  <a:lnTo>
                    <a:pt x="792" y="978"/>
                  </a:lnTo>
                  <a:lnTo>
                    <a:pt x="786" y="972"/>
                  </a:lnTo>
                  <a:lnTo>
                    <a:pt x="780" y="972"/>
                  </a:lnTo>
                  <a:lnTo>
                    <a:pt x="768" y="966"/>
                  </a:lnTo>
                  <a:lnTo>
                    <a:pt x="762" y="966"/>
                  </a:lnTo>
                  <a:lnTo>
                    <a:pt x="756" y="966"/>
                  </a:lnTo>
                  <a:lnTo>
                    <a:pt x="750" y="966"/>
                  </a:lnTo>
                  <a:lnTo>
                    <a:pt x="744" y="966"/>
                  </a:lnTo>
                  <a:lnTo>
                    <a:pt x="738" y="960"/>
                  </a:lnTo>
                  <a:lnTo>
                    <a:pt x="732" y="954"/>
                  </a:lnTo>
                  <a:lnTo>
                    <a:pt x="720" y="954"/>
                  </a:lnTo>
                  <a:lnTo>
                    <a:pt x="714" y="948"/>
                  </a:lnTo>
                  <a:lnTo>
                    <a:pt x="708" y="948"/>
                  </a:lnTo>
                  <a:lnTo>
                    <a:pt x="696" y="948"/>
                  </a:lnTo>
                  <a:lnTo>
                    <a:pt x="684" y="942"/>
                  </a:lnTo>
                  <a:lnTo>
                    <a:pt x="678" y="936"/>
                  </a:lnTo>
                  <a:lnTo>
                    <a:pt x="660" y="930"/>
                  </a:lnTo>
                  <a:lnTo>
                    <a:pt x="642" y="924"/>
                  </a:lnTo>
                  <a:lnTo>
                    <a:pt x="636" y="924"/>
                  </a:lnTo>
                  <a:lnTo>
                    <a:pt x="630" y="924"/>
                  </a:lnTo>
                  <a:lnTo>
                    <a:pt x="618" y="924"/>
                  </a:lnTo>
                  <a:lnTo>
                    <a:pt x="618" y="918"/>
                  </a:lnTo>
                  <a:lnTo>
                    <a:pt x="606" y="918"/>
                  </a:lnTo>
                  <a:lnTo>
                    <a:pt x="600" y="918"/>
                  </a:lnTo>
                  <a:lnTo>
                    <a:pt x="594" y="918"/>
                  </a:lnTo>
                  <a:lnTo>
                    <a:pt x="594" y="912"/>
                  </a:lnTo>
                  <a:lnTo>
                    <a:pt x="588" y="912"/>
                  </a:lnTo>
                  <a:lnTo>
                    <a:pt x="582" y="912"/>
                  </a:lnTo>
                  <a:lnTo>
                    <a:pt x="582" y="918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58" y="918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12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00"/>
                  </a:lnTo>
                  <a:lnTo>
                    <a:pt x="516" y="900"/>
                  </a:lnTo>
                  <a:lnTo>
                    <a:pt x="510" y="900"/>
                  </a:lnTo>
                  <a:lnTo>
                    <a:pt x="486" y="894"/>
                  </a:lnTo>
                  <a:lnTo>
                    <a:pt x="474" y="888"/>
                  </a:lnTo>
                  <a:lnTo>
                    <a:pt x="468" y="888"/>
                  </a:lnTo>
                  <a:lnTo>
                    <a:pt x="450" y="88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0" name="Freeform 15">
              <a:extLst>
                <a:ext uri="{FF2B5EF4-FFF2-40B4-BE49-F238E27FC236}">
                  <a16:creationId xmlns:a16="http://schemas.microsoft.com/office/drawing/2014/main" id="{8B991D7A-45C6-40F6-A035-24DFC733305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382" y="2652043"/>
              <a:ext cx="724526" cy="695552"/>
            </a:xfrm>
            <a:custGeom>
              <a:avLst/>
              <a:gdLst>
                <a:gd name="T0" fmla="*/ 44 w 1362"/>
                <a:gd name="T1" fmla="*/ 106 h 1308"/>
                <a:gd name="T2" fmla="*/ 32 w 1362"/>
                <a:gd name="T3" fmla="*/ 109 h 1308"/>
                <a:gd name="T4" fmla="*/ 25 w 1362"/>
                <a:gd name="T5" fmla="*/ 105 h 1308"/>
                <a:gd name="T6" fmla="*/ 22 w 1362"/>
                <a:gd name="T7" fmla="*/ 97 h 1308"/>
                <a:gd name="T8" fmla="*/ 21 w 1362"/>
                <a:gd name="T9" fmla="*/ 95 h 1308"/>
                <a:gd name="T10" fmla="*/ 20 w 1362"/>
                <a:gd name="T11" fmla="*/ 90 h 1308"/>
                <a:gd name="T12" fmla="*/ 23 w 1362"/>
                <a:gd name="T13" fmla="*/ 87 h 1308"/>
                <a:gd name="T14" fmla="*/ 29 w 1362"/>
                <a:gd name="T15" fmla="*/ 81 h 1308"/>
                <a:gd name="T16" fmla="*/ 30 w 1362"/>
                <a:gd name="T17" fmla="*/ 78 h 1308"/>
                <a:gd name="T18" fmla="*/ 27 w 1362"/>
                <a:gd name="T19" fmla="*/ 75 h 1308"/>
                <a:gd name="T20" fmla="*/ 15 w 1362"/>
                <a:gd name="T21" fmla="*/ 73 h 1308"/>
                <a:gd name="T22" fmla="*/ 12 w 1362"/>
                <a:gd name="T23" fmla="*/ 69 h 1308"/>
                <a:gd name="T24" fmla="*/ 5 w 1362"/>
                <a:gd name="T25" fmla="*/ 65 h 1308"/>
                <a:gd name="T26" fmla="*/ 6 w 1362"/>
                <a:gd name="T27" fmla="*/ 62 h 1308"/>
                <a:gd name="T28" fmla="*/ 7 w 1362"/>
                <a:gd name="T29" fmla="*/ 56 h 1308"/>
                <a:gd name="T30" fmla="*/ 2 w 1362"/>
                <a:gd name="T31" fmla="*/ 49 h 1308"/>
                <a:gd name="T32" fmla="*/ 0 w 1362"/>
                <a:gd name="T33" fmla="*/ 44 h 1308"/>
                <a:gd name="T34" fmla="*/ 0 w 1362"/>
                <a:gd name="T35" fmla="*/ 39 h 1308"/>
                <a:gd name="T36" fmla="*/ 3 w 1362"/>
                <a:gd name="T37" fmla="*/ 35 h 1308"/>
                <a:gd name="T38" fmla="*/ 3 w 1362"/>
                <a:gd name="T39" fmla="*/ 28 h 1308"/>
                <a:gd name="T40" fmla="*/ 6 w 1362"/>
                <a:gd name="T41" fmla="*/ 18 h 1308"/>
                <a:gd name="T42" fmla="*/ 6 w 1362"/>
                <a:gd name="T43" fmla="*/ 8 h 1308"/>
                <a:gd name="T44" fmla="*/ 10 w 1362"/>
                <a:gd name="T45" fmla="*/ 5 h 1308"/>
                <a:gd name="T46" fmla="*/ 15 w 1362"/>
                <a:gd name="T47" fmla="*/ 0 h 1308"/>
                <a:gd name="T48" fmla="*/ 21 w 1362"/>
                <a:gd name="T49" fmla="*/ 7 h 1308"/>
                <a:gd name="T50" fmla="*/ 25 w 1362"/>
                <a:gd name="T51" fmla="*/ 15 h 1308"/>
                <a:gd name="T52" fmla="*/ 24 w 1362"/>
                <a:gd name="T53" fmla="*/ 19 h 1308"/>
                <a:gd name="T54" fmla="*/ 32 w 1362"/>
                <a:gd name="T55" fmla="*/ 19 h 1308"/>
                <a:gd name="T56" fmla="*/ 35 w 1362"/>
                <a:gd name="T57" fmla="*/ 20 h 1308"/>
                <a:gd name="T58" fmla="*/ 40 w 1362"/>
                <a:gd name="T59" fmla="*/ 23 h 1308"/>
                <a:gd name="T60" fmla="*/ 40 w 1362"/>
                <a:gd name="T61" fmla="*/ 26 h 1308"/>
                <a:gd name="T62" fmla="*/ 34 w 1362"/>
                <a:gd name="T63" fmla="*/ 35 h 1308"/>
                <a:gd name="T64" fmla="*/ 41 w 1362"/>
                <a:gd name="T65" fmla="*/ 37 h 1308"/>
                <a:gd name="T66" fmla="*/ 43 w 1362"/>
                <a:gd name="T67" fmla="*/ 44 h 1308"/>
                <a:gd name="T68" fmla="*/ 48 w 1362"/>
                <a:gd name="T69" fmla="*/ 47 h 1308"/>
                <a:gd name="T70" fmla="*/ 57 w 1362"/>
                <a:gd name="T71" fmla="*/ 48 h 1308"/>
                <a:gd name="T72" fmla="*/ 70 w 1362"/>
                <a:gd name="T73" fmla="*/ 44 h 1308"/>
                <a:gd name="T74" fmla="*/ 80 w 1362"/>
                <a:gd name="T75" fmla="*/ 34 h 1308"/>
                <a:gd name="T76" fmla="*/ 95 w 1362"/>
                <a:gd name="T77" fmla="*/ 41 h 1308"/>
                <a:gd name="T78" fmla="*/ 109 w 1362"/>
                <a:gd name="T79" fmla="*/ 47 h 1308"/>
                <a:gd name="T80" fmla="*/ 111 w 1362"/>
                <a:gd name="T81" fmla="*/ 50 h 1308"/>
                <a:gd name="T82" fmla="*/ 113 w 1362"/>
                <a:gd name="T83" fmla="*/ 53 h 1308"/>
                <a:gd name="T84" fmla="*/ 113 w 1362"/>
                <a:gd name="T85" fmla="*/ 55 h 1308"/>
                <a:gd name="T86" fmla="*/ 113 w 1362"/>
                <a:gd name="T87" fmla="*/ 59 h 1308"/>
                <a:gd name="T88" fmla="*/ 113 w 1362"/>
                <a:gd name="T89" fmla="*/ 62 h 1308"/>
                <a:gd name="T90" fmla="*/ 115 w 1362"/>
                <a:gd name="T91" fmla="*/ 65 h 1308"/>
                <a:gd name="T92" fmla="*/ 115 w 1362"/>
                <a:gd name="T93" fmla="*/ 67 h 1308"/>
                <a:gd name="T94" fmla="*/ 116 w 1362"/>
                <a:gd name="T95" fmla="*/ 69 h 1308"/>
                <a:gd name="T96" fmla="*/ 116 w 1362"/>
                <a:gd name="T97" fmla="*/ 71 h 1308"/>
                <a:gd name="T98" fmla="*/ 118 w 1362"/>
                <a:gd name="T99" fmla="*/ 75 h 1308"/>
                <a:gd name="T100" fmla="*/ 116 w 1362"/>
                <a:gd name="T101" fmla="*/ 77 h 1308"/>
                <a:gd name="T102" fmla="*/ 116 w 1362"/>
                <a:gd name="T103" fmla="*/ 79 h 1308"/>
                <a:gd name="T104" fmla="*/ 101 w 1362"/>
                <a:gd name="T105" fmla="*/ 87 h 1308"/>
                <a:gd name="T106" fmla="*/ 85 w 1362"/>
                <a:gd name="T107" fmla="*/ 103 h 1308"/>
                <a:gd name="T108" fmla="*/ 67 w 1362"/>
                <a:gd name="T109" fmla="*/ 114 h 130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62"/>
                <a:gd name="T166" fmla="*/ 0 h 1308"/>
                <a:gd name="T167" fmla="*/ 1362 w 1362"/>
                <a:gd name="T168" fmla="*/ 1308 h 130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62" h="1308">
                  <a:moveTo>
                    <a:pt x="684" y="1278"/>
                  </a:moveTo>
                  <a:lnTo>
                    <a:pt x="672" y="1272"/>
                  </a:lnTo>
                  <a:lnTo>
                    <a:pt x="636" y="1266"/>
                  </a:lnTo>
                  <a:lnTo>
                    <a:pt x="582" y="1248"/>
                  </a:lnTo>
                  <a:lnTo>
                    <a:pt x="564" y="1230"/>
                  </a:lnTo>
                  <a:lnTo>
                    <a:pt x="540" y="1218"/>
                  </a:lnTo>
                  <a:lnTo>
                    <a:pt x="510" y="1218"/>
                  </a:lnTo>
                  <a:lnTo>
                    <a:pt x="498" y="1224"/>
                  </a:lnTo>
                  <a:lnTo>
                    <a:pt x="492" y="1230"/>
                  </a:lnTo>
                  <a:lnTo>
                    <a:pt x="474" y="1230"/>
                  </a:lnTo>
                  <a:lnTo>
                    <a:pt x="414" y="1230"/>
                  </a:lnTo>
                  <a:lnTo>
                    <a:pt x="396" y="1236"/>
                  </a:lnTo>
                  <a:lnTo>
                    <a:pt x="390" y="1248"/>
                  </a:lnTo>
                  <a:lnTo>
                    <a:pt x="372" y="1248"/>
                  </a:lnTo>
                  <a:lnTo>
                    <a:pt x="366" y="1242"/>
                  </a:lnTo>
                  <a:lnTo>
                    <a:pt x="366" y="1224"/>
                  </a:lnTo>
                  <a:lnTo>
                    <a:pt x="360" y="1224"/>
                  </a:lnTo>
                  <a:lnTo>
                    <a:pt x="354" y="1218"/>
                  </a:lnTo>
                  <a:lnTo>
                    <a:pt x="336" y="1206"/>
                  </a:lnTo>
                  <a:lnTo>
                    <a:pt x="330" y="1194"/>
                  </a:lnTo>
                  <a:lnTo>
                    <a:pt x="288" y="1200"/>
                  </a:lnTo>
                  <a:lnTo>
                    <a:pt x="288" y="1194"/>
                  </a:lnTo>
                  <a:lnTo>
                    <a:pt x="288" y="1182"/>
                  </a:lnTo>
                  <a:lnTo>
                    <a:pt x="288" y="1170"/>
                  </a:lnTo>
                  <a:lnTo>
                    <a:pt x="288" y="1164"/>
                  </a:lnTo>
                  <a:lnTo>
                    <a:pt x="282" y="1140"/>
                  </a:lnTo>
                  <a:lnTo>
                    <a:pt x="276" y="1134"/>
                  </a:lnTo>
                  <a:lnTo>
                    <a:pt x="258" y="1116"/>
                  </a:lnTo>
                  <a:lnTo>
                    <a:pt x="258" y="1110"/>
                  </a:lnTo>
                  <a:lnTo>
                    <a:pt x="252" y="1110"/>
                  </a:lnTo>
                  <a:lnTo>
                    <a:pt x="252" y="1104"/>
                  </a:lnTo>
                  <a:lnTo>
                    <a:pt x="252" y="1098"/>
                  </a:lnTo>
                  <a:lnTo>
                    <a:pt x="240" y="1092"/>
                  </a:lnTo>
                  <a:lnTo>
                    <a:pt x="234" y="1092"/>
                  </a:lnTo>
                  <a:lnTo>
                    <a:pt x="240" y="1086"/>
                  </a:lnTo>
                  <a:lnTo>
                    <a:pt x="234" y="1080"/>
                  </a:lnTo>
                  <a:lnTo>
                    <a:pt x="228" y="1080"/>
                  </a:lnTo>
                  <a:lnTo>
                    <a:pt x="228" y="1068"/>
                  </a:lnTo>
                  <a:lnTo>
                    <a:pt x="228" y="1056"/>
                  </a:lnTo>
                  <a:lnTo>
                    <a:pt x="222" y="1056"/>
                  </a:lnTo>
                  <a:lnTo>
                    <a:pt x="228" y="1044"/>
                  </a:lnTo>
                  <a:lnTo>
                    <a:pt x="228" y="1038"/>
                  </a:lnTo>
                  <a:lnTo>
                    <a:pt x="228" y="1032"/>
                  </a:lnTo>
                  <a:lnTo>
                    <a:pt x="234" y="1026"/>
                  </a:lnTo>
                  <a:lnTo>
                    <a:pt x="246" y="1020"/>
                  </a:lnTo>
                  <a:lnTo>
                    <a:pt x="252" y="1020"/>
                  </a:lnTo>
                  <a:lnTo>
                    <a:pt x="258" y="1014"/>
                  </a:lnTo>
                  <a:lnTo>
                    <a:pt x="264" y="1008"/>
                  </a:lnTo>
                  <a:lnTo>
                    <a:pt x="264" y="1002"/>
                  </a:lnTo>
                  <a:lnTo>
                    <a:pt x="270" y="984"/>
                  </a:lnTo>
                  <a:lnTo>
                    <a:pt x="276" y="978"/>
                  </a:lnTo>
                  <a:lnTo>
                    <a:pt x="300" y="978"/>
                  </a:lnTo>
                  <a:lnTo>
                    <a:pt x="306" y="972"/>
                  </a:lnTo>
                  <a:lnTo>
                    <a:pt x="312" y="966"/>
                  </a:lnTo>
                  <a:lnTo>
                    <a:pt x="324" y="936"/>
                  </a:lnTo>
                  <a:lnTo>
                    <a:pt x="330" y="930"/>
                  </a:lnTo>
                  <a:lnTo>
                    <a:pt x="330" y="924"/>
                  </a:lnTo>
                  <a:lnTo>
                    <a:pt x="336" y="918"/>
                  </a:lnTo>
                  <a:lnTo>
                    <a:pt x="342" y="912"/>
                  </a:lnTo>
                  <a:lnTo>
                    <a:pt x="342" y="906"/>
                  </a:lnTo>
                  <a:lnTo>
                    <a:pt x="342" y="900"/>
                  </a:lnTo>
                  <a:lnTo>
                    <a:pt x="342" y="894"/>
                  </a:lnTo>
                  <a:lnTo>
                    <a:pt x="342" y="888"/>
                  </a:lnTo>
                  <a:lnTo>
                    <a:pt x="336" y="876"/>
                  </a:lnTo>
                  <a:lnTo>
                    <a:pt x="342" y="870"/>
                  </a:lnTo>
                  <a:lnTo>
                    <a:pt x="336" y="864"/>
                  </a:lnTo>
                  <a:lnTo>
                    <a:pt x="336" y="858"/>
                  </a:lnTo>
                  <a:lnTo>
                    <a:pt x="330" y="852"/>
                  </a:lnTo>
                  <a:lnTo>
                    <a:pt x="318" y="852"/>
                  </a:lnTo>
                  <a:lnTo>
                    <a:pt x="306" y="858"/>
                  </a:lnTo>
                  <a:lnTo>
                    <a:pt x="264" y="864"/>
                  </a:lnTo>
                  <a:lnTo>
                    <a:pt x="234" y="858"/>
                  </a:lnTo>
                  <a:lnTo>
                    <a:pt x="228" y="858"/>
                  </a:lnTo>
                  <a:lnTo>
                    <a:pt x="198" y="858"/>
                  </a:lnTo>
                  <a:lnTo>
                    <a:pt x="174" y="858"/>
                  </a:lnTo>
                  <a:lnTo>
                    <a:pt x="168" y="852"/>
                  </a:lnTo>
                  <a:lnTo>
                    <a:pt x="168" y="840"/>
                  </a:lnTo>
                  <a:lnTo>
                    <a:pt x="168" y="834"/>
                  </a:lnTo>
                  <a:lnTo>
                    <a:pt x="168" y="822"/>
                  </a:lnTo>
                  <a:lnTo>
                    <a:pt x="162" y="822"/>
                  </a:lnTo>
                  <a:lnTo>
                    <a:pt x="150" y="816"/>
                  </a:lnTo>
                  <a:lnTo>
                    <a:pt x="144" y="810"/>
                  </a:lnTo>
                  <a:lnTo>
                    <a:pt x="144" y="804"/>
                  </a:lnTo>
                  <a:lnTo>
                    <a:pt x="144" y="786"/>
                  </a:lnTo>
                  <a:lnTo>
                    <a:pt x="144" y="780"/>
                  </a:lnTo>
                  <a:lnTo>
                    <a:pt x="144" y="774"/>
                  </a:lnTo>
                  <a:lnTo>
                    <a:pt x="132" y="756"/>
                  </a:lnTo>
                  <a:lnTo>
                    <a:pt x="120" y="756"/>
                  </a:lnTo>
                  <a:lnTo>
                    <a:pt x="84" y="750"/>
                  </a:lnTo>
                  <a:lnTo>
                    <a:pt x="78" y="744"/>
                  </a:lnTo>
                  <a:lnTo>
                    <a:pt x="60" y="744"/>
                  </a:lnTo>
                  <a:lnTo>
                    <a:pt x="54" y="726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66" y="720"/>
                  </a:lnTo>
                  <a:lnTo>
                    <a:pt x="66" y="714"/>
                  </a:lnTo>
                  <a:lnTo>
                    <a:pt x="72" y="714"/>
                  </a:lnTo>
                  <a:lnTo>
                    <a:pt x="72" y="708"/>
                  </a:lnTo>
                  <a:lnTo>
                    <a:pt x="78" y="702"/>
                  </a:lnTo>
                  <a:lnTo>
                    <a:pt x="78" y="696"/>
                  </a:lnTo>
                  <a:lnTo>
                    <a:pt x="78" y="690"/>
                  </a:lnTo>
                  <a:lnTo>
                    <a:pt x="84" y="678"/>
                  </a:lnTo>
                  <a:lnTo>
                    <a:pt x="90" y="666"/>
                  </a:lnTo>
                  <a:lnTo>
                    <a:pt x="90" y="642"/>
                  </a:lnTo>
                  <a:lnTo>
                    <a:pt x="84" y="648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66" y="642"/>
                  </a:lnTo>
                  <a:lnTo>
                    <a:pt x="60" y="642"/>
                  </a:lnTo>
                  <a:lnTo>
                    <a:pt x="54" y="636"/>
                  </a:lnTo>
                  <a:lnTo>
                    <a:pt x="30" y="570"/>
                  </a:lnTo>
                  <a:lnTo>
                    <a:pt x="24" y="564"/>
                  </a:lnTo>
                  <a:lnTo>
                    <a:pt x="18" y="570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6"/>
                  </a:lnTo>
                  <a:lnTo>
                    <a:pt x="6" y="540"/>
                  </a:lnTo>
                  <a:lnTo>
                    <a:pt x="0" y="522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2" y="480"/>
                  </a:lnTo>
                  <a:lnTo>
                    <a:pt x="6" y="480"/>
                  </a:lnTo>
                  <a:lnTo>
                    <a:pt x="0" y="474"/>
                  </a:lnTo>
                  <a:lnTo>
                    <a:pt x="0" y="450"/>
                  </a:lnTo>
                  <a:lnTo>
                    <a:pt x="6" y="450"/>
                  </a:lnTo>
                  <a:lnTo>
                    <a:pt x="12" y="450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32"/>
                  </a:lnTo>
                  <a:lnTo>
                    <a:pt x="30" y="426"/>
                  </a:lnTo>
                  <a:lnTo>
                    <a:pt x="36" y="402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2" y="366"/>
                  </a:lnTo>
                  <a:lnTo>
                    <a:pt x="48" y="360"/>
                  </a:lnTo>
                  <a:lnTo>
                    <a:pt x="48" y="342"/>
                  </a:lnTo>
                  <a:lnTo>
                    <a:pt x="42" y="330"/>
                  </a:lnTo>
                  <a:lnTo>
                    <a:pt x="36" y="324"/>
                  </a:lnTo>
                  <a:lnTo>
                    <a:pt x="42" y="306"/>
                  </a:lnTo>
                  <a:lnTo>
                    <a:pt x="42" y="270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48" y="258"/>
                  </a:lnTo>
                  <a:lnTo>
                    <a:pt x="72" y="252"/>
                  </a:lnTo>
                  <a:lnTo>
                    <a:pt x="66" y="204"/>
                  </a:lnTo>
                  <a:lnTo>
                    <a:pt x="60" y="198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8" y="13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84" y="96"/>
                  </a:lnTo>
                  <a:lnTo>
                    <a:pt x="90" y="84"/>
                  </a:lnTo>
                  <a:lnTo>
                    <a:pt x="108" y="72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20" y="60"/>
                  </a:lnTo>
                  <a:lnTo>
                    <a:pt x="120" y="54"/>
                  </a:lnTo>
                  <a:lnTo>
                    <a:pt x="120" y="48"/>
                  </a:lnTo>
                  <a:lnTo>
                    <a:pt x="126" y="48"/>
                  </a:lnTo>
                  <a:lnTo>
                    <a:pt x="132" y="42"/>
                  </a:lnTo>
                  <a:lnTo>
                    <a:pt x="132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240" y="18"/>
                  </a:lnTo>
                  <a:lnTo>
                    <a:pt x="246" y="42"/>
                  </a:lnTo>
                  <a:lnTo>
                    <a:pt x="240" y="72"/>
                  </a:lnTo>
                  <a:lnTo>
                    <a:pt x="246" y="78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8" y="108"/>
                  </a:lnTo>
                  <a:lnTo>
                    <a:pt x="276" y="114"/>
                  </a:lnTo>
                  <a:lnTo>
                    <a:pt x="294" y="150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82" y="186"/>
                  </a:lnTo>
                  <a:lnTo>
                    <a:pt x="282" y="192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76" y="216"/>
                  </a:lnTo>
                  <a:lnTo>
                    <a:pt x="288" y="240"/>
                  </a:lnTo>
                  <a:lnTo>
                    <a:pt x="312" y="228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66" y="228"/>
                  </a:lnTo>
                  <a:lnTo>
                    <a:pt x="372" y="228"/>
                  </a:lnTo>
                  <a:lnTo>
                    <a:pt x="372" y="222"/>
                  </a:lnTo>
                  <a:lnTo>
                    <a:pt x="378" y="222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6" y="222"/>
                  </a:lnTo>
                  <a:lnTo>
                    <a:pt x="402" y="222"/>
                  </a:lnTo>
                  <a:lnTo>
                    <a:pt x="402" y="228"/>
                  </a:lnTo>
                  <a:lnTo>
                    <a:pt x="408" y="228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26" y="216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68" y="258"/>
                  </a:lnTo>
                  <a:lnTo>
                    <a:pt x="462" y="264"/>
                  </a:lnTo>
                  <a:lnTo>
                    <a:pt x="468" y="264"/>
                  </a:lnTo>
                  <a:lnTo>
                    <a:pt x="468" y="270"/>
                  </a:lnTo>
                  <a:lnTo>
                    <a:pt x="474" y="270"/>
                  </a:lnTo>
                  <a:lnTo>
                    <a:pt x="480" y="276"/>
                  </a:lnTo>
                  <a:lnTo>
                    <a:pt x="474" y="282"/>
                  </a:lnTo>
                  <a:lnTo>
                    <a:pt x="474" y="288"/>
                  </a:lnTo>
                  <a:lnTo>
                    <a:pt x="462" y="294"/>
                  </a:lnTo>
                  <a:lnTo>
                    <a:pt x="468" y="324"/>
                  </a:lnTo>
                  <a:lnTo>
                    <a:pt x="462" y="336"/>
                  </a:lnTo>
                  <a:lnTo>
                    <a:pt x="456" y="354"/>
                  </a:lnTo>
                  <a:lnTo>
                    <a:pt x="432" y="390"/>
                  </a:lnTo>
                  <a:lnTo>
                    <a:pt x="420" y="390"/>
                  </a:lnTo>
                  <a:lnTo>
                    <a:pt x="402" y="390"/>
                  </a:lnTo>
                  <a:lnTo>
                    <a:pt x="396" y="396"/>
                  </a:lnTo>
                  <a:lnTo>
                    <a:pt x="390" y="396"/>
                  </a:lnTo>
                  <a:lnTo>
                    <a:pt x="390" y="402"/>
                  </a:lnTo>
                  <a:lnTo>
                    <a:pt x="384" y="402"/>
                  </a:lnTo>
                  <a:lnTo>
                    <a:pt x="408" y="432"/>
                  </a:lnTo>
                  <a:lnTo>
                    <a:pt x="432" y="438"/>
                  </a:lnTo>
                  <a:lnTo>
                    <a:pt x="456" y="432"/>
                  </a:lnTo>
                  <a:lnTo>
                    <a:pt x="468" y="426"/>
                  </a:lnTo>
                  <a:lnTo>
                    <a:pt x="468" y="444"/>
                  </a:lnTo>
                  <a:lnTo>
                    <a:pt x="468" y="450"/>
                  </a:lnTo>
                  <a:lnTo>
                    <a:pt x="468" y="474"/>
                  </a:lnTo>
                  <a:lnTo>
                    <a:pt x="486" y="480"/>
                  </a:lnTo>
                  <a:lnTo>
                    <a:pt x="486" y="486"/>
                  </a:lnTo>
                  <a:lnTo>
                    <a:pt x="492" y="498"/>
                  </a:lnTo>
                  <a:lnTo>
                    <a:pt x="492" y="504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504" y="516"/>
                  </a:lnTo>
                  <a:lnTo>
                    <a:pt x="510" y="516"/>
                  </a:lnTo>
                  <a:lnTo>
                    <a:pt x="522" y="528"/>
                  </a:lnTo>
                  <a:lnTo>
                    <a:pt x="546" y="540"/>
                  </a:lnTo>
                  <a:lnTo>
                    <a:pt x="552" y="546"/>
                  </a:lnTo>
                  <a:lnTo>
                    <a:pt x="570" y="552"/>
                  </a:lnTo>
                  <a:lnTo>
                    <a:pt x="594" y="552"/>
                  </a:lnTo>
                  <a:lnTo>
                    <a:pt x="606" y="546"/>
                  </a:lnTo>
                  <a:lnTo>
                    <a:pt x="612" y="540"/>
                  </a:lnTo>
                  <a:lnTo>
                    <a:pt x="630" y="540"/>
                  </a:lnTo>
                  <a:lnTo>
                    <a:pt x="630" y="552"/>
                  </a:lnTo>
                  <a:lnTo>
                    <a:pt x="654" y="552"/>
                  </a:lnTo>
                  <a:lnTo>
                    <a:pt x="702" y="558"/>
                  </a:lnTo>
                  <a:lnTo>
                    <a:pt x="762" y="546"/>
                  </a:lnTo>
                  <a:lnTo>
                    <a:pt x="780" y="546"/>
                  </a:lnTo>
                  <a:lnTo>
                    <a:pt x="780" y="528"/>
                  </a:lnTo>
                  <a:lnTo>
                    <a:pt x="798" y="522"/>
                  </a:lnTo>
                  <a:lnTo>
                    <a:pt x="810" y="510"/>
                  </a:lnTo>
                  <a:lnTo>
                    <a:pt x="810" y="504"/>
                  </a:lnTo>
                  <a:lnTo>
                    <a:pt x="828" y="492"/>
                  </a:lnTo>
                  <a:lnTo>
                    <a:pt x="888" y="486"/>
                  </a:lnTo>
                  <a:lnTo>
                    <a:pt x="912" y="486"/>
                  </a:lnTo>
                  <a:lnTo>
                    <a:pt x="930" y="474"/>
                  </a:lnTo>
                  <a:lnTo>
                    <a:pt x="918" y="456"/>
                  </a:lnTo>
                  <a:lnTo>
                    <a:pt x="912" y="450"/>
                  </a:lnTo>
                  <a:lnTo>
                    <a:pt x="918" y="390"/>
                  </a:lnTo>
                  <a:lnTo>
                    <a:pt x="954" y="396"/>
                  </a:lnTo>
                  <a:lnTo>
                    <a:pt x="984" y="402"/>
                  </a:lnTo>
                  <a:lnTo>
                    <a:pt x="1014" y="420"/>
                  </a:lnTo>
                  <a:lnTo>
                    <a:pt x="1026" y="432"/>
                  </a:lnTo>
                  <a:lnTo>
                    <a:pt x="1044" y="450"/>
                  </a:lnTo>
                  <a:lnTo>
                    <a:pt x="1062" y="462"/>
                  </a:lnTo>
                  <a:lnTo>
                    <a:pt x="1098" y="468"/>
                  </a:lnTo>
                  <a:lnTo>
                    <a:pt x="1128" y="480"/>
                  </a:lnTo>
                  <a:lnTo>
                    <a:pt x="1152" y="486"/>
                  </a:lnTo>
                  <a:lnTo>
                    <a:pt x="1188" y="498"/>
                  </a:lnTo>
                  <a:lnTo>
                    <a:pt x="1212" y="504"/>
                  </a:lnTo>
                  <a:lnTo>
                    <a:pt x="1224" y="528"/>
                  </a:lnTo>
                  <a:lnTo>
                    <a:pt x="1236" y="540"/>
                  </a:lnTo>
                  <a:lnTo>
                    <a:pt x="1254" y="540"/>
                  </a:lnTo>
                  <a:lnTo>
                    <a:pt x="1254" y="546"/>
                  </a:lnTo>
                  <a:lnTo>
                    <a:pt x="1260" y="552"/>
                  </a:lnTo>
                  <a:lnTo>
                    <a:pt x="1266" y="552"/>
                  </a:lnTo>
                  <a:lnTo>
                    <a:pt x="1266" y="558"/>
                  </a:lnTo>
                  <a:lnTo>
                    <a:pt x="1272" y="564"/>
                  </a:lnTo>
                  <a:lnTo>
                    <a:pt x="1278" y="564"/>
                  </a:lnTo>
                  <a:lnTo>
                    <a:pt x="1278" y="570"/>
                  </a:lnTo>
                  <a:lnTo>
                    <a:pt x="1284" y="576"/>
                  </a:lnTo>
                  <a:lnTo>
                    <a:pt x="1290" y="582"/>
                  </a:lnTo>
                  <a:lnTo>
                    <a:pt x="1296" y="582"/>
                  </a:lnTo>
                  <a:lnTo>
                    <a:pt x="1296" y="588"/>
                  </a:lnTo>
                  <a:lnTo>
                    <a:pt x="1308" y="594"/>
                  </a:lnTo>
                  <a:lnTo>
                    <a:pt x="1308" y="600"/>
                  </a:lnTo>
                  <a:lnTo>
                    <a:pt x="1308" y="606"/>
                  </a:lnTo>
                  <a:lnTo>
                    <a:pt x="1314" y="612"/>
                  </a:lnTo>
                  <a:lnTo>
                    <a:pt x="1308" y="618"/>
                  </a:lnTo>
                  <a:lnTo>
                    <a:pt x="1314" y="618"/>
                  </a:lnTo>
                  <a:lnTo>
                    <a:pt x="1314" y="624"/>
                  </a:lnTo>
                  <a:lnTo>
                    <a:pt x="1308" y="624"/>
                  </a:lnTo>
                  <a:lnTo>
                    <a:pt x="1302" y="630"/>
                  </a:lnTo>
                  <a:lnTo>
                    <a:pt x="1302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296" y="654"/>
                  </a:lnTo>
                  <a:lnTo>
                    <a:pt x="1302" y="660"/>
                  </a:lnTo>
                  <a:lnTo>
                    <a:pt x="1302" y="666"/>
                  </a:lnTo>
                  <a:lnTo>
                    <a:pt x="1308" y="666"/>
                  </a:lnTo>
                  <a:lnTo>
                    <a:pt x="1308" y="672"/>
                  </a:lnTo>
                  <a:lnTo>
                    <a:pt x="1308" y="678"/>
                  </a:lnTo>
                  <a:lnTo>
                    <a:pt x="1308" y="684"/>
                  </a:lnTo>
                  <a:lnTo>
                    <a:pt x="1308" y="690"/>
                  </a:lnTo>
                  <a:lnTo>
                    <a:pt x="1302" y="696"/>
                  </a:lnTo>
                  <a:lnTo>
                    <a:pt x="1302" y="702"/>
                  </a:lnTo>
                  <a:lnTo>
                    <a:pt x="1308" y="702"/>
                  </a:lnTo>
                  <a:lnTo>
                    <a:pt x="1302" y="708"/>
                  </a:lnTo>
                  <a:lnTo>
                    <a:pt x="1308" y="714"/>
                  </a:lnTo>
                  <a:lnTo>
                    <a:pt x="1308" y="720"/>
                  </a:lnTo>
                  <a:lnTo>
                    <a:pt x="1308" y="726"/>
                  </a:lnTo>
                  <a:lnTo>
                    <a:pt x="1308" y="732"/>
                  </a:lnTo>
                  <a:lnTo>
                    <a:pt x="1314" y="732"/>
                  </a:lnTo>
                  <a:lnTo>
                    <a:pt x="1314" y="738"/>
                  </a:lnTo>
                  <a:lnTo>
                    <a:pt x="1320" y="744"/>
                  </a:lnTo>
                  <a:lnTo>
                    <a:pt x="1326" y="750"/>
                  </a:lnTo>
                  <a:lnTo>
                    <a:pt x="1320" y="750"/>
                  </a:lnTo>
                  <a:lnTo>
                    <a:pt x="1320" y="756"/>
                  </a:lnTo>
                  <a:lnTo>
                    <a:pt x="1314" y="756"/>
                  </a:lnTo>
                  <a:lnTo>
                    <a:pt x="1314" y="762"/>
                  </a:lnTo>
                  <a:lnTo>
                    <a:pt x="1314" y="768"/>
                  </a:lnTo>
                  <a:lnTo>
                    <a:pt x="1320" y="768"/>
                  </a:lnTo>
                  <a:lnTo>
                    <a:pt x="1320" y="762"/>
                  </a:lnTo>
                  <a:lnTo>
                    <a:pt x="1320" y="768"/>
                  </a:lnTo>
                  <a:lnTo>
                    <a:pt x="1326" y="774"/>
                  </a:lnTo>
                  <a:lnTo>
                    <a:pt x="1332" y="774"/>
                  </a:lnTo>
                  <a:lnTo>
                    <a:pt x="1332" y="780"/>
                  </a:lnTo>
                  <a:lnTo>
                    <a:pt x="1332" y="786"/>
                  </a:lnTo>
                  <a:lnTo>
                    <a:pt x="1332" y="792"/>
                  </a:lnTo>
                  <a:lnTo>
                    <a:pt x="1338" y="786"/>
                  </a:lnTo>
                  <a:lnTo>
                    <a:pt x="1338" y="792"/>
                  </a:lnTo>
                  <a:lnTo>
                    <a:pt x="1344" y="798"/>
                  </a:lnTo>
                  <a:lnTo>
                    <a:pt x="1344" y="804"/>
                  </a:lnTo>
                  <a:lnTo>
                    <a:pt x="1344" y="810"/>
                  </a:lnTo>
                  <a:lnTo>
                    <a:pt x="1344" y="816"/>
                  </a:lnTo>
                  <a:lnTo>
                    <a:pt x="1344" y="822"/>
                  </a:lnTo>
                  <a:lnTo>
                    <a:pt x="1338" y="828"/>
                  </a:lnTo>
                  <a:lnTo>
                    <a:pt x="1332" y="828"/>
                  </a:lnTo>
                  <a:lnTo>
                    <a:pt x="1338" y="840"/>
                  </a:lnTo>
                  <a:lnTo>
                    <a:pt x="1344" y="846"/>
                  </a:lnTo>
                  <a:lnTo>
                    <a:pt x="1344" y="852"/>
                  </a:lnTo>
                  <a:lnTo>
                    <a:pt x="1350" y="852"/>
                  </a:lnTo>
                  <a:lnTo>
                    <a:pt x="1356" y="858"/>
                  </a:lnTo>
                  <a:lnTo>
                    <a:pt x="1362" y="858"/>
                  </a:lnTo>
                  <a:lnTo>
                    <a:pt x="1362" y="870"/>
                  </a:lnTo>
                  <a:lnTo>
                    <a:pt x="1356" y="870"/>
                  </a:lnTo>
                  <a:lnTo>
                    <a:pt x="1356" y="876"/>
                  </a:lnTo>
                  <a:lnTo>
                    <a:pt x="1350" y="876"/>
                  </a:lnTo>
                  <a:lnTo>
                    <a:pt x="1344" y="876"/>
                  </a:lnTo>
                  <a:lnTo>
                    <a:pt x="1344" y="882"/>
                  </a:lnTo>
                  <a:lnTo>
                    <a:pt x="1338" y="882"/>
                  </a:lnTo>
                  <a:lnTo>
                    <a:pt x="1338" y="888"/>
                  </a:lnTo>
                  <a:lnTo>
                    <a:pt x="1338" y="894"/>
                  </a:lnTo>
                  <a:lnTo>
                    <a:pt x="1344" y="900"/>
                  </a:lnTo>
                  <a:lnTo>
                    <a:pt x="1344" y="906"/>
                  </a:lnTo>
                  <a:lnTo>
                    <a:pt x="1338" y="906"/>
                  </a:lnTo>
                  <a:lnTo>
                    <a:pt x="1332" y="912"/>
                  </a:lnTo>
                  <a:lnTo>
                    <a:pt x="1332" y="918"/>
                  </a:lnTo>
                  <a:lnTo>
                    <a:pt x="1326" y="918"/>
                  </a:lnTo>
                  <a:lnTo>
                    <a:pt x="1332" y="924"/>
                  </a:lnTo>
                  <a:lnTo>
                    <a:pt x="1284" y="942"/>
                  </a:lnTo>
                  <a:lnTo>
                    <a:pt x="1236" y="948"/>
                  </a:lnTo>
                  <a:lnTo>
                    <a:pt x="1194" y="966"/>
                  </a:lnTo>
                  <a:lnTo>
                    <a:pt x="1170" y="1002"/>
                  </a:lnTo>
                  <a:lnTo>
                    <a:pt x="1134" y="1020"/>
                  </a:lnTo>
                  <a:lnTo>
                    <a:pt x="1116" y="1032"/>
                  </a:lnTo>
                  <a:lnTo>
                    <a:pt x="1098" y="1050"/>
                  </a:lnTo>
                  <a:lnTo>
                    <a:pt x="1074" y="1074"/>
                  </a:lnTo>
                  <a:lnTo>
                    <a:pt x="1008" y="1134"/>
                  </a:lnTo>
                  <a:lnTo>
                    <a:pt x="990" y="1158"/>
                  </a:lnTo>
                  <a:lnTo>
                    <a:pt x="978" y="1182"/>
                  </a:lnTo>
                  <a:lnTo>
                    <a:pt x="960" y="1194"/>
                  </a:lnTo>
                  <a:lnTo>
                    <a:pt x="942" y="1212"/>
                  </a:lnTo>
                  <a:lnTo>
                    <a:pt x="912" y="1242"/>
                  </a:lnTo>
                  <a:lnTo>
                    <a:pt x="888" y="1254"/>
                  </a:lnTo>
                  <a:lnTo>
                    <a:pt x="864" y="1278"/>
                  </a:lnTo>
                  <a:lnTo>
                    <a:pt x="828" y="1296"/>
                  </a:lnTo>
                  <a:lnTo>
                    <a:pt x="774" y="1308"/>
                  </a:lnTo>
                  <a:lnTo>
                    <a:pt x="732" y="1302"/>
                  </a:lnTo>
                  <a:lnTo>
                    <a:pt x="702" y="1284"/>
                  </a:lnTo>
                  <a:lnTo>
                    <a:pt x="684" y="127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1" name="Freeform 16">
              <a:extLst>
                <a:ext uri="{FF2B5EF4-FFF2-40B4-BE49-F238E27FC236}">
                  <a16:creationId xmlns:a16="http://schemas.microsoft.com/office/drawing/2014/main" id="{D8D8591A-D9DB-4301-BEBD-D8F5A26DA9E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3001" y="2929369"/>
              <a:ext cx="914601" cy="1037736"/>
            </a:xfrm>
            <a:custGeom>
              <a:avLst/>
              <a:gdLst>
                <a:gd name="T0" fmla="*/ 144 w 1722"/>
                <a:gd name="T1" fmla="*/ 131 h 1956"/>
                <a:gd name="T2" fmla="*/ 142 w 1722"/>
                <a:gd name="T3" fmla="*/ 139 h 1956"/>
                <a:gd name="T4" fmla="*/ 137 w 1722"/>
                <a:gd name="T5" fmla="*/ 143 h 1956"/>
                <a:gd name="T6" fmla="*/ 133 w 1722"/>
                <a:gd name="T7" fmla="*/ 147 h 1956"/>
                <a:gd name="T8" fmla="*/ 132 w 1722"/>
                <a:gd name="T9" fmla="*/ 152 h 1956"/>
                <a:gd name="T10" fmla="*/ 130 w 1722"/>
                <a:gd name="T11" fmla="*/ 159 h 1956"/>
                <a:gd name="T12" fmla="*/ 127 w 1722"/>
                <a:gd name="T13" fmla="*/ 164 h 1956"/>
                <a:gd name="T14" fmla="*/ 123 w 1722"/>
                <a:gd name="T15" fmla="*/ 168 h 1956"/>
                <a:gd name="T16" fmla="*/ 117 w 1722"/>
                <a:gd name="T17" fmla="*/ 169 h 1956"/>
                <a:gd name="T18" fmla="*/ 110 w 1722"/>
                <a:gd name="T19" fmla="*/ 168 h 1956"/>
                <a:gd name="T20" fmla="*/ 104 w 1722"/>
                <a:gd name="T21" fmla="*/ 166 h 1956"/>
                <a:gd name="T22" fmla="*/ 101 w 1722"/>
                <a:gd name="T23" fmla="*/ 159 h 1956"/>
                <a:gd name="T24" fmla="*/ 95 w 1722"/>
                <a:gd name="T25" fmla="*/ 156 h 1956"/>
                <a:gd name="T26" fmla="*/ 89 w 1722"/>
                <a:gd name="T27" fmla="*/ 151 h 1956"/>
                <a:gd name="T28" fmla="*/ 87 w 1722"/>
                <a:gd name="T29" fmla="*/ 144 h 1956"/>
                <a:gd name="T30" fmla="*/ 82 w 1722"/>
                <a:gd name="T31" fmla="*/ 141 h 1956"/>
                <a:gd name="T32" fmla="*/ 76 w 1722"/>
                <a:gd name="T33" fmla="*/ 134 h 1956"/>
                <a:gd name="T34" fmla="*/ 74 w 1722"/>
                <a:gd name="T35" fmla="*/ 143 h 1956"/>
                <a:gd name="T36" fmla="*/ 68 w 1722"/>
                <a:gd name="T37" fmla="*/ 147 h 1956"/>
                <a:gd name="T38" fmla="*/ 54 w 1722"/>
                <a:gd name="T39" fmla="*/ 144 h 1956"/>
                <a:gd name="T40" fmla="*/ 51 w 1722"/>
                <a:gd name="T41" fmla="*/ 142 h 1956"/>
                <a:gd name="T42" fmla="*/ 42 w 1722"/>
                <a:gd name="T43" fmla="*/ 151 h 1956"/>
                <a:gd name="T44" fmla="*/ 33 w 1722"/>
                <a:gd name="T45" fmla="*/ 154 h 1956"/>
                <a:gd name="T46" fmla="*/ 31 w 1722"/>
                <a:gd name="T47" fmla="*/ 159 h 1956"/>
                <a:gd name="T48" fmla="*/ 29 w 1722"/>
                <a:gd name="T49" fmla="*/ 166 h 1956"/>
                <a:gd name="T50" fmla="*/ 25 w 1722"/>
                <a:gd name="T51" fmla="*/ 169 h 1956"/>
                <a:gd name="T52" fmla="*/ 27 w 1722"/>
                <a:gd name="T53" fmla="*/ 154 h 1956"/>
                <a:gd name="T54" fmla="*/ 37 w 1722"/>
                <a:gd name="T55" fmla="*/ 133 h 1956"/>
                <a:gd name="T56" fmla="*/ 36 w 1722"/>
                <a:gd name="T57" fmla="*/ 109 h 1956"/>
                <a:gd name="T58" fmla="*/ 27 w 1722"/>
                <a:gd name="T59" fmla="*/ 101 h 1956"/>
                <a:gd name="T60" fmla="*/ 5 w 1722"/>
                <a:gd name="T61" fmla="*/ 98 h 1956"/>
                <a:gd name="T62" fmla="*/ 2 w 1722"/>
                <a:gd name="T63" fmla="*/ 93 h 1956"/>
                <a:gd name="T64" fmla="*/ 12 w 1722"/>
                <a:gd name="T65" fmla="*/ 82 h 1956"/>
                <a:gd name="T66" fmla="*/ 9 w 1722"/>
                <a:gd name="T67" fmla="*/ 74 h 1956"/>
                <a:gd name="T68" fmla="*/ 23 w 1722"/>
                <a:gd name="T69" fmla="*/ 72 h 1956"/>
                <a:gd name="T70" fmla="*/ 22 w 1722"/>
                <a:gd name="T71" fmla="*/ 67 h 1956"/>
                <a:gd name="T72" fmla="*/ 48 w 1722"/>
                <a:gd name="T73" fmla="*/ 57 h 1956"/>
                <a:gd name="T74" fmla="*/ 78 w 1722"/>
                <a:gd name="T75" fmla="*/ 34 h 1956"/>
                <a:gd name="T76" fmla="*/ 81 w 1722"/>
                <a:gd name="T77" fmla="*/ 31 h 1956"/>
                <a:gd name="T78" fmla="*/ 80 w 1722"/>
                <a:gd name="T79" fmla="*/ 26 h 1956"/>
                <a:gd name="T80" fmla="*/ 78 w 1722"/>
                <a:gd name="T81" fmla="*/ 21 h 1956"/>
                <a:gd name="T82" fmla="*/ 77 w 1722"/>
                <a:gd name="T83" fmla="*/ 18 h 1956"/>
                <a:gd name="T84" fmla="*/ 77 w 1722"/>
                <a:gd name="T85" fmla="*/ 12 h 1956"/>
                <a:gd name="T86" fmla="*/ 77 w 1722"/>
                <a:gd name="T87" fmla="*/ 7 h 1956"/>
                <a:gd name="T88" fmla="*/ 102 w 1722"/>
                <a:gd name="T89" fmla="*/ 2 h 1956"/>
                <a:gd name="T90" fmla="*/ 115 w 1722"/>
                <a:gd name="T91" fmla="*/ 3 h 1956"/>
                <a:gd name="T92" fmla="*/ 123 w 1722"/>
                <a:gd name="T93" fmla="*/ 3 h 1956"/>
                <a:gd name="T94" fmla="*/ 125 w 1722"/>
                <a:gd name="T95" fmla="*/ 9 h 1956"/>
                <a:gd name="T96" fmla="*/ 133 w 1722"/>
                <a:gd name="T97" fmla="*/ 13 h 1956"/>
                <a:gd name="T98" fmla="*/ 149 w 1722"/>
                <a:gd name="T99" fmla="*/ 37 h 1956"/>
                <a:gd name="T100" fmla="*/ 141 w 1722"/>
                <a:gd name="T101" fmla="*/ 57 h 1956"/>
                <a:gd name="T102" fmla="*/ 135 w 1722"/>
                <a:gd name="T103" fmla="*/ 63 h 1956"/>
                <a:gd name="T104" fmla="*/ 124 w 1722"/>
                <a:gd name="T105" fmla="*/ 77 h 1956"/>
                <a:gd name="T106" fmla="*/ 123 w 1722"/>
                <a:gd name="T107" fmla="*/ 96 h 1956"/>
                <a:gd name="T108" fmla="*/ 127 w 1722"/>
                <a:gd name="T109" fmla="*/ 97 h 1956"/>
                <a:gd name="T110" fmla="*/ 129 w 1722"/>
                <a:gd name="T111" fmla="*/ 92 h 1956"/>
                <a:gd name="T112" fmla="*/ 134 w 1722"/>
                <a:gd name="T113" fmla="*/ 94 h 1956"/>
                <a:gd name="T114" fmla="*/ 138 w 1722"/>
                <a:gd name="T115" fmla="*/ 99 h 1956"/>
                <a:gd name="T116" fmla="*/ 142 w 1722"/>
                <a:gd name="T117" fmla="*/ 104 h 1956"/>
                <a:gd name="T118" fmla="*/ 141 w 1722"/>
                <a:gd name="T119" fmla="*/ 115 h 19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722"/>
                <a:gd name="T181" fmla="*/ 0 h 1956"/>
                <a:gd name="T182" fmla="*/ 1722 w 1722"/>
                <a:gd name="T183" fmla="*/ 1956 h 19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722" h="1956">
                  <a:moveTo>
                    <a:pt x="1686" y="1404"/>
                  </a:moveTo>
                  <a:lnTo>
                    <a:pt x="1680" y="1416"/>
                  </a:lnTo>
                  <a:lnTo>
                    <a:pt x="1674" y="1422"/>
                  </a:lnTo>
                  <a:lnTo>
                    <a:pt x="1674" y="1428"/>
                  </a:lnTo>
                  <a:lnTo>
                    <a:pt x="1668" y="1428"/>
                  </a:lnTo>
                  <a:lnTo>
                    <a:pt x="1668" y="1434"/>
                  </a:lnTo>
                  <a:lnTo>
                    <a:pt x="1662" y="1446"/>
                  </a:lnTo>
                  <a:lnTo>
                    <a:pt x="1656" y="1464"/>
                  </a:lnTo>
                  <a:lnTo>
                    <a:pt x="1656" y="1476"/>
                  </a:lnTo>
                  <a:lnTo>
                    <a:pt x="1656" y="1488"/>
                  </a:lnTo>
                  <a:lnTo>
                    <a:pt x="1662" y="1500"/>
                  </a:lnTo>
                  <a:lnTo>
                    <a:pt x="1662" y="1506"/>
                  </a:lnTo>
                  <a:lnTo>
                    <a:pt x="1662" y="1524"/>
                  </a:lnTo>
                  <a:lnTo>
                    <a:pt x="1668" y="1542"/>
                  </a:lnTo>
                  <a:lnTo>
                    <a:pt x="1674" y="1560"/>
                  </a:lnTo>
                  <a:lnTo>
                    <a:pt x="1680" y="1578"/>
                  </a:lnTo>
                  <a:lnTo>
                    <a:pt x="1686" y="1578"/>
                  </a:lnTo>
                  <a:lnTo>
                    <a:pt x="1686" y="1584"/>
                  </a:lnTo>
                  <a:lnTo>
                    <a:pt x="1686" y="1590"/>
                  </a:lnTo>
                  <a:lnTo>
                    <a:pt x="1686" y="1596"/>
                  </a:lnTo>
                  <a:lnTo>
                    <a:pt x="1680" y="1596"/>
                  </a:lnTo>
                  <a:lnTo>
                    <a:pt x="1674" y="1602"/>
                  </a:lnTo>
                  <a:lnTo>
                    <a:pt x="1662" y="1602"/>
                  </a:lnTo>
                  <a:lnTo>
                    <a:pt x="1638" y="1596"/>
                  </a:lnTo>
                  <a:lnTo>
                    <a:pt x="1632" y="1596"/>
                  </a:lnTo>
                  <a:lnTo>
                    <a:pt x="1626" y="1602"/>
                  </a:lnTo>
                  <a:lnTo>
                    <a:pt x="1620" y="1602"/>
                  </a:lnTo>
                  <a:lnTo>
                    <a:pt x="1614" y="1602"/>
                  </a:lnTo>
                  <a:lnTo>
                    <a:pt x="1602" y="1602"/>
                  </a:lnTo>
                  <a:lnTo>
                    <a:pt x="1602" y="1608"/>
                  </a:lnTo>
                  <a:lnTo>
                    <a:pt x="1602" y="1620"/>
                  </a:lnTo>
                  <a:lnTo>
                    <a:pt x="1596" y="1620"/>
                  </a:lnTo>
                  <a:lnTo>
                    <a:pt x="1590" y="1620"/>
                  </a:lnTo>
                  <a:lnTo>
                    <a:pt x="1584" y="1626"/>
                  </a:lnTo>
                  <a:lnTo>
                    <a:pt x="1584" y="1632"/>
                  </a:lnTo>
                  <a:lnTo>
                    <a:pt x="1578" y="1644"/>
                  </a:lnTo>
                  <a:lnTo>
                    <a:pt x="1572" y="1644"/>
                  </a:lnTo>
                  <a:lnTo>
                    <a:pt x="1566" y="1644"/>
                  </a:lnTo>
                  <a:lnTo>
                    <a:pt x="1566" y="1650"/>
                  </a:lnTo>
                  <a:lnTo>
                    <a:pt x="1560" y="1650"/>
                  </a:lnTo>
                  <a:lnTo>
                    <a:pt x="1554" y="1650"/>
                  </a:lnTo>
                  <a:lnTo>
                    <a:pt x="1548" y="1650"/>
                  </a:lnTo>
                  <a:lnTo>
                    <a:pt x="1548" y="1656"/>
                  </a:lnTo>
                  <a:lnTo>
                    <a:pt x="1542" y="1668"/>
                  </a:lnTo>
                  <a:lnTo>
                    <a:pt x="1542" y="1674"/>
                  </a:lnTo>
                  <a:lnTo>
                    <a:pt x="1542" y="1692"/>
                  </a:lnTo>
                  <a:lnTo>
                    <a:pt x="1536" y="1698"/>
                  </a:lnTo>
                  <a:lnTo>
                    <a:pt x="1530" y="1698"/>
                  </a:lnTo>
                  <a:lnTo>
                    <a:pt x="1524" y="1698"/>
                  </a:lnTo>
                  <a:lnTo>
                    <a:pt x="1518" y="1704"/>
                  </a:lnTo>
                  <a:lnTo>
                    <a:pt x="1512" y="1710"/>
                  </a:lnTo>
                  <a:lnTo>
                    <a:pt x="1506" y="1722"/>
                  </a:lnTo>
                  <a:lnTo>
                    <a:pt x="1500" y="1728"/>
                  </a:lnTo>
                  <a:lnTo>
                    <a:pt x="1500" y="1734"/>
                  </a:lnTo>
                  <a:lnTo>
                    <a:pt x="1512" y="1734"/>
                  </a:lnTo>
                  <a:lnTo>
                    <a:pt x="1518" y="1740"/>
                  </a:lnTo>
                  <a:lnTo>
                    <a:pt x="1518" y="1746"/>
                  </a:lnTo>
                  <a:lnTo>
                    <a:pt x="1518" y="1752"/>
                  </a:lnTo>
                  <a:lnTo>
                    <a:pt x="1518" y="1758"/>
                  </a:lnTo>
                  <a:lnTo>
                    <a:pt x="1524" y="1758"/>
                  </a:lnTo>
                  <a:lnTo>
                    <a:pt x="1524" y="1764"/>
                  </a:lnTo>
                  <a:lnTo>
                    <a:pt x="1530" y="1770"/>
                  </a:lnTo>
                  <a:lnTo>
                    <a:pt x="1518" y="1770"/>
                  </a:lnTo>
                  <a:lnTo>
                    <a:pt x="1512" y="1782"/>
                  </a:lnTo>
                  <a:lnTo>
                    <a:pt x="1512" y="1788"/>
                  </a:lnTo>
                  <a:lnTo>
                    <a:pt x="1518" y="1788"/>
                  </a:lnTo>
                  <a:lnTo>
                    <a:pt x="1524" y="1800"/>
                  </a:lnTo>
                  <a:lnTo>
                    <a:pt x="1524" y="1806"/>
                  </a:lnTo>
                  <a:lnTo>
                    <a:pt x="1518" y="1812"/>
                  </a:lnTo>
                  <a:lnTo>
                    <a:pt x="1512" y="1818"/>
                  </a:lnTo>
                  <a:lnTo>
                    <a:pt x="1506" y="1818"/>
                  </a:lnTo>
                  <a:lnTo>
                    <a:pt x="1500" y="1824"/>
                  </a:lnTo>
                  <a:lnTo>
                    <a:pt x="1500" y="1836"/>
                  </a:lnTo>
                  <a:lnTo>
                    <a:pt x="1500" y="1842"/>
                  </a:lnTo>
                  <a:lnTo>
                    <a:pt x="1500" y="1848"/>
                  </a:lnTo>
                  <a:lnTo>
                    <a:pt x="1500" y="1854"/>
                  </a:lnTo>
                  <a:lnTo>
                    <a:pt x="1494" y="1860"/>
                  </a:lnTo>
                  <a:lnTo>
                    <a:pt x="1488" y="1860"/>
                  </a:lnTo>
                  <a:lnTo>
                    <a:pt x="1488" y="1866"/>
                  </a:lnTo>
                  <a:lnTo>
                    <a:pt x="1482" y="1872"/>
                  </a:lnTo>
                  <a:lnTo>
                    <a:pt x="1482" y="1878"/>
                  </a:lnTo>
                  <a:lnTo>
                    <a:pt x="1482" y="1884"/>
                  </a:lnTo>
                  <a:lnTo>
                    <a:pt x="1476" y="1890"/>
                  </a:lnTo>
                  <a:lnTo>
                    <a:pt x="1470" y="1890"/>
                  </a:lnTo>
                  <a:lnTo>
                    <a:pt x="1470" y="1896"/>
                  </a:lnTo>
                  <a:lnTo>
                    <a:pt x="1464" y="1896"/>
                  </a:lnTo>
                  <a:lnTo>
                    <a:pt x="1458" y="1896"/>
                  </a:lnTo>
                  <a:lnTo>
                    <a:pt x="1452" y="1896"/>
                  </a:lnTo>
                  <a:lnTo>
                    <a:pt x="1440" y="1890"/>
                  </a:lnTo>
                  <a:lnTo>
                    <a:pt x="1434" y="1896"/>
                  </a:lnTo>
                  <a:lnTo>
                    <a:pt x="1428" y="1896"/>
                  </a:lnTo>
                  <a:lnTo>
                    <a:pt x="1422" y="1896"/>
                  </a:lnTo>
                  <a:lnTo>
                    <a:pt x="1422" y="1902"/>
                  </a:lnTo>
                  <a:lnTo>
                    <a:pt x="1416" y="1902"/>
                  </a:lnTo>
                  <a:lnTo>
                    <a:pt x="1422" y="1914"/>
                  </a:lnTo>
                  <a:lnTo>
                    <a:pt x="1422" y="1932"/>
                  </a:lnTo>
                  <a:lnTo>
                    <a:pt x="1416" y="1938"/>
                  </a:lnTo>
                  <a:lnTo>
                    <a:pt x="1422" y="1938"/>
                  </a:lnTo>
                  <a:lnTo>
                    <a:pt x="1404" y="1938"/>
                  </a:lnTo>
                  <a:lnTo>
                    <a:pt x="1392" y="1944"/>
                  </a:lnTo>
                  <a:lnTo>
                    <a:pt x="1386" y="1944"/>
                  </a:lnTo>
                  <a:lnTo>
                    <a:pt x="1374" y="1944"/>
                  </a:lnTo>
                  <a:lnTo>
                    <a:pt x="1368" y="1950"/>
                  </a:lnTo>
                  <a:lnTo>
                    <a:pt x="1374" y="1956"/>
                  </a:lnTo>
                  <a:lnTo>
                    <a:pt x="1368" y="1956"/>
                  </a:lnTo>
                  <a:lnTo>
                    <a:pt x="1356" y="1956"/>
                  </a:lnTo>
                  <a:lnTo>
                    <a:pt x="1350" y="1956"/>
                  </a:lnTo>
                  <a:lnTo>
                    <a:pt x="1350" y="1950"/>
                  </a:lnTo>
                  <a:lnTo>
                    <a:pt x="1344" y="1944"/>
                  </a:lnTo>
                  <a:lnTo>
                    <a:pt x="1332" y="1938"/>
                  </a:lnTo>
                  <a:lnTo>
                    <a:pt x="1326" y="1938"/>
                  </a:lnTo>
                  <a:lnTo>
                    <a:pt x="1320" y="1938"/>
                  </a:lnTo>
                  <a:lnTo>
                    <a:pt x="1314" y="1944"/>
                  </a:lnTo>
                  <a:lnTo>
                    <a:pt x="1308" y="1944"/>
                  </a:lnTo>
                  <a:lnTo>
                    <a:pt x="1302" y="1944"/>
                  </a:lnTo>
                  <a:lnTo>
                    <a:pt x="1296" y="1938"/>
                  </a:lnTo>
                  <a:lnTo>
                    <a:pt x="1284" y="1938"/>
                  </a:lnTo>
                  <a:lnTo>
                    <a:pt x="1278" y="1938"/>
                  </a:lnTo>
                  <a:lnTo>
                    <a:pt x="1272" y="1938"/>
                  </a:lnTo>
                  <a:lnTo>
                    <a:pt x="1266" y="1932"/>
                  </a:lnTo>
                  <a:lnTo>
                    <a:pt x="1260" y="1932"/>
                  </a:lnTo>
                  <a:lnTo>
                    <a:pt x="1254" y="1920"/>
                  </a:lnTo>
                  <a:lnTo>
                    <a:pt x="1248" y="1920"/>
                  </a:lnTo>
                  <a:lnTo>
                    <a:pt x="1242" y="1920"/>
                  </a:lnTo>
                  <a:lnTo>
                    <a:pt x="1236" y="1926"/>
                  </a:lnTo>
                  <a:lnTo>
                    <a:pt x="1236" y="1932"/>
                  </a:lnTo>
                  <a:lnTo>
                    <a:pt x="1230" y="1932"/>
                  </a:lnTo>
                  <a:lnTo>
                    <a:pt x="1224" y="1932"/>
                  </a:lnTo>
                  <a:lnTo>
                    <a:pt x="1218" y="1938"/>
                  </a:lnTo>
                  <a:lnTo>
                    <a:pt x="1212" y="1932"/>
                  </a:lnTo>
                  <a:lnTo>
                    <a:pt x="1206" y="1926"/>
                  </a:lnTo>
                  <a:lnTo>
                    <a:pt x="1206" y="1908"/>
                  </a:lnTo>
                  <a:lnTo>
                    <a:pt x="1206" y="1884"/>
                  </a:lnTo>
                  <a:lnTo>
                    <a:pt x="1206" y="1866"/>
                  </a:lnTo>
                  <a:lnTo>
                    <a:pt x="1212" y="1848"/>
                  </a:lnTo>
                  <a:lnTo>
                    <a:pt x="1212" y="1842"/>
                  </a:lnTo>
                  <a:lnTo>
                    <a:pt x="1206" y="1836"/>
                  </a:lnTo>
                  <a:lnTo>
                    <a:pt x="1200" y="1830"/>
                  </a:lnTo>
                  <a:lnTo>
                    <a:pt x="1194" y="1824"/>
                  </a:lnTo>
                  <a:lnTo>
                    <a:pt x="1188" y="1824"/>
                  </a:lnTo>
                  <a:lnTo>
                    <a:pt x="1182" y="1824"/>
                  </a:lnTo>
                  <a:lnTo>
                    <a:pt x="1176" y="1824"/>
                  </a:lnTo>
                  <a:lnTo>
                    <a:pt x="1170" y="1818"/>
                  </a:lnTo>
                  <a:lnTo>
                    <a:pt x="1164" y="1830"/>
                  </a:lnTo>
                  <a:lnTo>
                    <a:pt x="1152" y="1836"/>
                  </a:lnTo>
                  <a:lnTo>
                    <a:pt x="1146" y="1842"/>
                  </a:lnTo>
                  <a:lnTo>
                    <a:pt x="1140" y="1842"/>
                  </a:lnTo>
                  <a:lnTo>
                    <a:pt x="1134" y="1842"/>
                  </a:lnTo>
                  <a:lnTo>
                    <a:pt x="1128" y="1842"/>
                  </a:lnTo>
                  <a:lnTo>
                    <a:pt x="1116" y="1836"/>
                  </a:lnTo>
                  <a:lnTo>
                    <a:pt x="1110" y="1842"/>
                  </a:lnTo>
                  <a:lnTo>
                    <a:pt x="1092" y="1830"/>
                  </a:lnTo>
                  <a:lnTo>
                    <a:pt x="1092" y="1824"/>
                  </a:lnTo>
                  <a:lnTo>
                    <a:pt x="1092" y="1806"/>
                  </a:lnTo>
                  <a:lnTo>
                    <a:pt x="1092" y="1800"/>
                  </a:lnTo>
                  <a:lnTo>
                    <a:pt x="1092" y="1794"/>
                  </a:lnTo>
                  <a:lnTo>
                    <a:pt x="1086" y="1788"/>
                  </a:lnTo>
                  <a:lnTo>
                    <a:pt x="1080" y="1794"/>
                  </a:lnTo>
                  <a:lnTo>
                    <a:pt x="1074" y="1788"/>
                  </a:lnTo>
                  <a:lnTo>
                    <a:pt x="1068" y="1770"/>
                  </a:lnTo>
                  <a:lnTo>
                    <a:pt x="1056" y="1764"/>
                  </a:lnTo>
                  <a:lnTo>
                    <a:pt x="1050" y="1764"/>
                  </a:lnTo>
                  <a:lnTo>
                    <a:pt x="1044" y="1764"/>
                  </a:lnTo>
                  <a:lnTo>
                    <a:pt x="1038" y="1758"/>
                  </a:lnTo>
                  <a:lnTo>
                    <a:pt x="1032" y="1752"/>
                  </a:lnTo>
                  <a:lnTo>
                    <a:pt x="1032" y="1746"/>
                  </a:lnTo>
                  <a:lnTo>
                    <a:pt x="1032" y="1740"/>
                  </a:lnTo>
                  <a:lnTo>
                    <a:pt x="1032" y="1734"/>
                  </a:lnTo>
                  <a:lnTo>
                    <a:pt x="1026" y="1734"/>
                  </a:lnTo>
                  <a:lnTo>
                    <a:pt x="1032" y="1728"/>
                  </a:lnTo>
                  <a:lnTo>
                    <a:pt x="1032" y="1722"/>
                  </a:lnTo>
                  <a:lnTo>
                    <a:pt x="1044" y="1686"/>
                  </a:lnTo>
                  <a:lnTo>
                    <a:pt x="1044" y="1680"/>
                  </a:lnTo>
                  <a:lnTo>
                    <a:pt x="1032" y="1674"/>
                  </a:lnTo>
                  <a:lnTo>
                    <a:pt x="1026" y="1674"/>
                  </a:lnTo>
                  <a:lnTo>
                    <a:pt x="1026" y="1668"/>
                  </a:lnTo>
                  <a:lnTo>
                    <a:pt x="1020" y="1662"/>
                  </a:lnTo>
                  <a:lnTo>
                    <a:pt x="1014" y="1668"/>
                  </a:lnTo>
                  <a:lnTo>
                    <a:pt x="1008" y="1662"/>
                  </a:lnTo>
                  <a:lnTo>
                    <a:pt x="1002" y="1662"/>
                  </a:lnTo>
                  <a:lnTo>
                    <a:pt x="1002" y="1668"/>
                  </a:lnTo>
                  <a:lnTo>
                    <a:pt x="996" y="1668"/>
                  </a:lnTo>
                  <a:lnTo>
                    <a:pt x="996" y="1662"/>
                  </a:lnTo>
                  <a:lnTo>
                    <a:pt x="984" y="1662"/>
                  </a:lnTo>
                  <a:lnTo>
                    <a:pt x="984" y="1656"/>
                  </a:lnTo>
                  <a:lnTo>
                    <a:pt x="978" y="1650"/>
                  </a:lnTo>
                  <a:lnTo>
                    <a:pt x="978" y="1644"/>
                  </a:lnTo>
                  <a:lnTo>
                    <a:pt x="966" y="1650"/>
                  </a:lnTo>
                  <a:lnTo>
                    <a:pt x="960" y="1638"/>
                  </a:lnTo>
                  <a:lnTo>
                    <a:pt x="954" y="1632"/>
                  </a:lnTo>
                  <a:lnTo>
                    <a:pt x="948" y="1632"/>
                  </a:lnTo>
                  <a:lnTo>
                    <a:pt x="942" y="1626"/>
                  </a:lnTo>
                  <a:lnTo>
                    <a:pt x="942" y="1614"/>
                  </a:lnTo>
                  <a:lnTo>
                    <a:pt x="930" y="1608"/>
                  </a:lnTo>
                  <a:lnTo>
                    <a:pt x="924" y="1614"/>
                  </a:lnTo>
                  <a:lnTo>
                    <a:pt x="912" y="1608"/>
                  </a:lnTo>
                  <a:lnTo>
                    <a:pt x="888" y="1590"/>
                  </a:lnTo>
                  <a:lnTo>
                    <a:pt x="894" y="1578"/>
                  </a:lnTo>
                  <a:lnTo>
                    <a:pt x="894" y="1572"/>
                  </a:lnTo>
                  <a:lnTo>
                    <a:pt x="894" y="1566"/>
                  </a:lnTo>
                  <a:lnTo>
                    <a:pt x="894" y="1548"/>
                  </a:lnTo>
                  <a:lnTo>
                    <a:pt x="888" y="1548"/>
                  </a:lnTo>
                  <a:lnTo>
                    <a:pt x="882" y="1542"/>
                  </a:lnTo>
                  <a:lnTo>
                    <a:pt x="876" y="1542"/>
                  </a:lnTo>
                  <a:lnTo>
                    <a:pt x="876" y="1536"/>
                  </a:lnTo>
                  <a:lnTo>
                    <a:pt x="870" y="1542"/>
                  </a:lnTo>
                  <a:lnTo>
                    <a:pt x="870" y="1554"/>
                  </a:lnTo>
                  <a:lnTo>
                    <a:pt x="870" y="1566"/>
                  </a:lnTo>
                  <a:lnTo>
                    <a:pt x="870" y="1578"/>
                  </a:lnTo>
                  <a:lnTo>
                    <a:pt x="870" y="1584"/>
                  </a:lnTo>
                  <a:lnTo>
                    <a:pt x="864" y="1584"/>
                  </a:lnTo>
                  <a:lnTo>
                    <a:pt x="870" y="1602"/>
                  </a:lnTo>
                  <a:lnTo>
                    <a:pt x="864" y="1608"/>
                  </a:lnTo>
                  <a:lnTo>
                    <a:pt x="870" y="1614"/>
                  </a:lnTo>
                  <a:lnTo>
                    <a:pt x="864" y="1644"/>
                  </a:lnTo>
                  <a:lnTo>
                    <a:pt x="858" y="1650"/>
                  </a:lnTo>
                  <a:lnTo>
                    <a:pt x="858" y="1656"/>
                  </a:lnTo>
                  <a:lnTo>
                    <a:pt x="852" y="1662"/>
                  </a:lnTo>
                  <a:lnTo>
                    <a:pt x="852" y="1680"/>
                  </a:lnTo>
                  <a:lnTo>
                    <a:pt x="846" y="1686"/>
                  </a:lnTo>
                  <a:lnTo>
                    <a:pt x="834" y="1692"/>
                  </a:lnTo>
                  <a:lnTo>
                    <a:pt x="828" y="1692"/>
                  </a:lnTo>
                  <a:lnTo>
                    <a:pt x="822" y="1698"/>
                  </a:lnTo>
                  <a:lnTo>
                    <a:pt x="822" y="1704"/>
                  </a:lnTo>
                  <a:lnTo>
                    <a:pt x="816" y="1704"/>
                  </a:lnTo>
                  <a:lnTo>
                    <a:pt x="804" y="1692"/>
                  </a:lnTo>
                  <a:lnTo>
                    <a:pt x="786" y="1698"/>
                  </a:lnTo>
                  <a:lnTo>
                    <a:pt x="780" y="1698"/>
                  </a:lnTo>
                  <a:lnTo>
                    <a:pt x="756" y="1698"/>
                  </a:lnTo>
                  <a:lnTo>
                    <a:pt x="744" y="1698"/>
                  </a:lnTo>
                  <a:lnTo>
                    <a:pt x="738" y="1698"/>
                  </a:lnTo>
                  <a:lnTo>
                    <a:pt x="732" y="1704"/>
                  </a:lnTo>
                  <a:lnTo>
                    <a:pt x="726" y="1704"/>
                  </a:lnTo>
                  <a:lnTo>
                    <a:pt x="678" y="1710"/>
                  </a:lnTo>
                  <a:lnTo>
                    <a:pt x="642" y="1710"/>
                  </a:lnTo>
                  <a:lnTo>
                    <a:pt x="618" y="1680"/>
                  </a:lnTo>
                  <a:lnTo>
                    <a:pt x="618" y="1674"/>
                  </a:lnTo>
                  <a:lnTo>
                    <a:pt x="618" y="1668"/>
                  </a:lnTo>
                  <a:lnTo>
                    <a:pt x="624" y="1662"/>
                  </a:lnTo>
                  <a:lnTo>
                    <a:pt x="624" y="1656"/>
                  </a:lnTo>
                  <a:lnTo>
                    <a:pt x="624" y="1650"/>
                  </a:lnTo>
                  <a:lnTo>
                    <a:pt x="618" y="1650"/>
                  </a:lnTo>
                  <a:lnTo>
                    <a:pt x="618" y="1644"/>
                  </a:lnTo>
                  <a:lnTo>
                    <a:pt x="618" y="1638"/>
                  </a:lnTo>
                  <a:lnTo>
                    <a:pt x="618" y="1632"/>
                  </a:lnTo>
                  <a:lnTo>
                    <a:pt x="618" y="1626"/>
                  </a:lnTo>
                  <a:lnTo>
                    <a:pt x="612" y="1626"/>
                  </a:lnTo>
                  <a:lnTo>
                    <a:pt x="612" y="1620"/>
                  </a:lnTo>
                  <a:lnTo>
                    <a:pt x="606" y="1614"/>
                  </a:lnTo>
                  <a:lnTo>
                    <a:pt x="594" y="1626"/>
                  </a:lnTo>
                  <a:lnTo>
                    <a:pt x="594" y="1632"/>
                  </a:lnTo>
                  <a:lnTo>
                    <a:pt x="588" y="1638"/>
                  </a:lnTo>
                  <a:lnTo>
                    <a:pt x="582" y="1638"/>
                  </a:lnTo>
                  <a:lnTo>
                    <a:pt x="564" y="1656"/>
                  </a:lnTo>
                  <a:lnTo>
                    <a:pt x="558" y="1662"/>
                  </a:lnTo>
                  <a:lnTo>
                    <a:pt x="552" y="1662"/>
                  </a:lnTo>
                  <a:lnTo>
                    <a:pt x="540" y="1674"/>
                  </a:lnTo>
                  <a:lnTo>
                    <a:pt x="534" y="1680"/>
                  </a:lnTo>
                  <a:lnTo>
                    <a:pt x="522" y="1692"/>
                  </a:lnTo>
                  <a:lnTo>
                    <a:pt x="516" y="1704"/>
                  </a:lnTo>
                  <a:lnTo>
                    <a:pt x="510" y="1704"/>
                  </a:lnTo>
                  <a:lnTo>
                    <a:pt x="504" y="1704"/>
                  </a:lnTo>
                  <a:lnTo>
                    <a:pt x="486" y="1722"/>
                  </a:lnTo>
                  <a:lnTo>
                    <a:pt x="480" y="1740"/>
                  </a:lnTo>
                  <a:lnTo>
                    <a:pt x="474" y="1740"/>
                  </a:lnTo>
                  <a:lnTo>
                    <a:pt x="468" y="1746"/>
                  </a:lnTo>
                  <a:lnTo>
                    <a:pt x="456" y="1758"/>
                  </a:lnTo>
                  <a:lnTo>
                    <a:pt x="444" y="1770"/>
                  </a:lnTo>
                  <a:lnTo>
                    <a:pt x="438" y="1782"/>
                  </a:lnTo>
                  <a:lnTo>
                    <a:pt x="426" y="1788"/>
                  </a:lnTo>
                  <a:lnTo>
                    <a:pt x="420" y="1788"/>
                  </a:lnTo>
                  <a:lnTo>
                    <a:pt x="420" y="1782"/>
                  </a:lnTo>
                  <a:lnTo>
                    <a:pt x="414" y="1782"/>
                  </a:lnTo>
                  <a:lnTo>
                    <a:pt x="390" y="1782"/>
                  </a:lnTo>
                  <a:lnTo>
                    <a:pt x="390" y="1776"/>
                  </a:lnTo>
                  <a:lnTo>
                    <a:pt x="384" y="1776"/>
                  </a:lnTo>
                  <a:lnTo>
                    <a:pt x="378" y="1776"/>
                  </a:lnTo>
                  <a:lnTo>
                    <a:pt x="372" y="1776"/>
                  </a:lnTo>
                  <a:lnTo>
                    <a:pt x="366" y="1770"/>
                  </a:lnTo>
                  <a:lnTo>
                    <a:pt x="366" y="1776"/>
                  </a:lnTo>
                  <a:lnTo>
                    <a:pt x="360" y="1788"/>
                  </a:lnTo>
                  <a:lnTo>
                    <a:pt x="360" y="1794"/>
                  </a:lnTo>
                  <a:lnTo>
                    <a:pt x="360" y="1800"/>
                  </a:lnTo>
                  <a:lnTo>
                    <a:pt x="354" y="1806"/>
                  </a:lnTo>
                  <a:lnTo>
                    <a:pt x="354" y="1812"/>
                  </a:lnTo>
                  <a:lnTo>
                    <a:pt x="354" y="1824"/>
                  </a:lnTo>
                  <a:lnTo>
                    <a:pt x="348" y="1830"/>
                  </a:lnTo>
                  <a:lnTo>
                    <a:pt x="354" y="1836"/>
                  </a:lnTo>
                  <a:lnTo>
                    <a:pt x="348" y="1842"/>
                  </a:lnTo>
                  <a:lnTo>
                    <a:pt x="354" y="1848"/>
                  </a:lnTo>
                  <a:lnTo>
                    <a:pt x="348" y="1854"/>
                  </a:lnTo>
                  <a:lnTo>
                    <a:pt x="354" y="1854"/>
                  </a:lnTo>
                  <a:lnTo>
                    <a:pt x="348" y="1860"/>
                  </a:lnTo>
                  <a:lnTo>
                    <a:pt x="348" y="1866"/>
                  </a:lnTo>
                  <a:lnTo>
                    <a:pt x="342" y="1866"/>
                  </a:lnTo>
                  <a:lnTo>
                    <a:pt x="342" y="1872"/>
                  </a:lnTo>
                  <a:lnTo>
                    <a:pt x="342" y="1878"/>
                  </a:lnTo>
                  <a:lnTo>
                    <a:pt x="342" y="1884"/>
                  </a:lnTo>
                  <a:lnTo>
                    <a:pt x="336" y="1896"/>
                  </a:lnTo>
                  <a:lnTo>
                    <a:pt x="330" y="1914"/>
                  </a:lnTo>
                  <a:lnTo>
                    <a:pt x="324" y="1920"/>
                  </a:lnTo>
                  <a:lnTo>
                    <a:pt x="324" y="1926"/>
                  </a:lnTo>
                  <a:lnTo>
                    <a:pt x="318" y="1944"/>
                  </a:lnTo>
                  <a:lnTo>
                    <a:pt x="318" y="1950"/>
                  </a:lnTo>
                  <a:lnTo>
                    <a:pt x="312" y="1956"/>
                  </a:lnTo>
                  <a:lnTo>
                    <a:pt x="312" y="1950"/>
                  </a:lnTo>
                  <a:lnTo>
                    <a:pt x="306" y="1950"/>
                  </a:lnTo>
                  <a:lnTo>
                    <a:pt x="306" y="1956"/>
                  </a:lnTo>
                  <a:lnTo>
                    <a:pt x="300" y="1950"/>
                  </a:lnTo>
                  <a:lnTo>
                    <a:pt x="294" y="1956"/>
                  </a:lnTo>
                  <a:lnTo>
                    <a:pt x="288" y="1950"/>
                  </a:lnTo>
                  <a:lnTo>
                    <a:pt x="288" y="1944"/>
                  </a:lnTo>
                  <a:lnTo>
                    <a:pt x="282" y="1938"/>
                  </a:lnTo>
                  <a:lnTo>
                    <a:pt x="282" y="1932"/>
                  </a:lnTo>
                  <a:lnTo>
                    <a:pt x="282" y="1890"/>
                  </a:lnTo>
                  <a:lnTo>
                    <a:pt x="288" y="1860"/>
                  </a:lnTo>
                  <a:lnTo>
                    <a:pt x="294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300" y="1818"/>
                  </a:lnTo>
                  <a:lnTo>
                    <a:pt x="306" y="1794"/>
                  </a:lnTo>
                  <a:lnTo>
                    <a:pt x="306" y="1788"/>
                  </a:lnTo>
                  <a:lnTo>
                    <a:pt x="306" y="1782"/>
                  </a:lnTo>
                  <a:lnTo>
                    <a:pt x="312" y="1776"/>
                  </a:lnTo>
                  <a:lnTo>
                    <a:pt x="306" y="1776"/>
                  </a:lnTo>
                  <a:lnTo>
                    <a:pt x="312" y="1770"/>
                  </a:lnTo>
                  <a:lnTo>
                    <a:pt x="312" y="1740"/>
                  </a:lnTo>
                  <a:lnTo>
                    <a:pt x="318" y="1722"/>
                  </a:lnTo>
                  <a:lnTo>
                    <a:pt x="312" y="1722"/>
                  </a:lnTo>
                  <a:lnTo>
                    <a:pt x="300" y="1716"/>
                  </a:lnTo>
                  <a:lnTo>
                    <a:pt x="306" y="1716"/>
                  </a:lnTo>
                  <a:lnTo>
                    <a:pt x="312" y="1710"/>
                  </a:lnTo>
                  <a:lnTo>
                    <a:pt x="324" y="1674"/>
                  </a:lnTo>
                  <a:lnTo>
                    <a:pt x="366" y="1590"/>
                  </a:lnTo>
                  <a:lnTo>
                    <a:pt x="408" y="1548"/>
                  </a:lnTo>
                  <a:lnTo>
                    <a:pt x="426" y="1530"/>
                  </a:lnTo>
                  <a:lnTo>
                    <a:pt x="432" y="1500"/>
                  </a:lnTo>
                  <a:lnTo>
                    <a:pt x="426" y="1494"/>
                  </a:lnTo>
                  <a:lnTo>
                    <a:pt x="426" y="1482"/>
                  </a:lnTo>
                  <a:lnTo>
                    <a:pt x="432" y="1464"/>
                  </a:lnTo>
                  <a:lnTo>
                    <a:pt x="438" y="1428"/>
                  </a:lnTo>
                  <a:lnTo>
                    <a:pt x="462" y="1398"/>
                  </a:lnTo>
                  <a:lnTo>
                    <a:pt x="468" y="1362"/>
                  </a:lnTo>
                  <a:lnTo>
                    <a:pt x="462" y="1314"/>
                  </a:lnTo>
                  <a:lnTo>
                    <a:pt x="444" y="1284"/>
                  </a:lnTo>
                  <a:lnTo>
                    <a:pt x="432" y="1260"/>
                  </a:lnTo>
                  <a:lnTo>
                    <a:pt x="426" y="1260"/>
                  </a:lnTo>
                  <a:lnTo>
                    <a:pt x="420" y="1254"/>
                  </a:lnTo>
                  <a:lnTo>
                    <a:pt x="408" y="1260"/>
                  </a:lnTo>
                  <a:lnTo>
                    <a:pt x="402" y="1260"/>
                  </a:lnTo>
                  <a:lnTo>
                    <a:pt x="402" y="1254"/>
                  </a:lnTo>
                  <a:lnTo>
                    <a:pt x="396" y="1254"/>
                  </a:lnTo>
                  <a:lnTo>
                    <a:pt x="396" y="1248"/>
                  </a:lnTo>
                  <a:lnTo>
                    <a:pt x="384" y="1248"/>
                  </a:lnTo>
                  <a:lnTo>
                    <a:pt x="372" y="1230"/>
                  </a:lnTo>
                  <a:lnTo>
                    <a:pt x="360" y="1212"/>
                  </a:lnTo>
                  <a:lnTo>
                    <a:pt x="348" y="1188"/>
                  </a:lnTo>
                  <a:lnTo>
                    <a:pt x="324" y="1170"/>
                  </a:lnTo>
                  <a:lnTo>
                    <a:pt x="318" y="1170"/>
                  </a:lnTo>
                  <a:lnTo>
                    <a:pt x="312" y="1158"/>
                  </a:lnTo>
                  <a:lnTo>
                    <a:pt x="312" y="1152"/>
                  </a:lnTo>
                  <a:lnTo>
                    <a:pt x="306" y="1146"/>
                  </a:lnTo>
                  <a:lnTo>
                    <a:pt x="270" y="1122"/>
                  </a:lnTo>
                  <a:lnTo>
                    <a:pt x="240" y="1122"/>
                  </a:lnTo>
                  <a:lnTo>
                    <a:pt x="180" y="1116"/>
                  </a:lnTo>
                  <a:lnTo>
                    <a:pt x="174" y="1122"/>
                  </a:lnTo>
                  <a:lnTo>
                    <a:pt x="174" y="1128"/>
                  </a:lnTo>
                  <a:lnTo>
                    <a:pt x="168" y="1122"/>
                  </a:lnTo>
                  <a:lnTo>
                    <a:pt x="162" y="1116"/>
                  </a:lnTo>
                  <a:lnTo>
                    <a:pt x="144" y="1122"/>
                  </a:lnTo>
                  <a:lnTo>
                    <a:pt x="120" y="1122"/>
                  </a:lnTo>
                  <a:lnTo>
                    <a:pt x="54" y="1134"/>
                  </a:lnTo>
                  <a:lnTo>
                    <a:pt x="24" y="1152"/>
                  </a:lnTo>
                  <a:lnTo>
                    <a:pt x="6" y="1146"/>
                  </a:lnTo>
                  <a:lnTo>
                    <a:pt x="0" y="1134"/>
                  </a:lnTo>
                  <a:lnTo>
                    <a:pt x="0" y="1128"/>
                  </a:lnTo>
                  <a:lnTo>
                    <a:pt x="18" y="1110"/>
                  </a:lnTo>
                  <a:lnTo>
                    <a:pt x="24" y="1104"/>
                  </a:lnTo>
                  <a:lnTo>
                    <a:pt x="24" y="1098"/>
                  </a:lnTo>
                  <a:lnTo>
                    <a:pt x="30" y="1086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24" y="1074"/>
                  </a:lnTo>
                  <a:lnTo>
                    <a:pt x="18" y="1068"/>
                  </a:lnTo>
                  <a:lnTo>
                    <a:pt x="24" y="1062"/>
                  </a:lnTo>
                  <a:lnTo>
                    <a:pt x="42" y="1056"/>
                  </a:lnTo>
                  <a:lnTo>
                    <a:pt x="54" y="1050"/>
                  </a:lnTo>
                  <a:lnTo>
                    <a:pt x="72" y="1044"/>
                  </a:lnTo>
                  <a:lnTo>
                    <a:pt x="96" y="1032"/>
                  </a:lnTo>
                  <a:lnTo>
                    <a:pt x="102" y="1032"/>
                  </a:lnTo>
                  <a:lnTo>
                    <a:pt x="126" y="1008"/>
                  </a:lnTo>
                  <a:lnTo>
                    <a:pt x="144" y="990"/>
                  </a:lnTo>
                  <a:lnTo>
                    <a:pt x="156" y="978"/>
                  </a:lnTo>
                  <a:lnTo>
                    <a:pt x="156" y="966"/>
                  </a:lnTo>
                  <a:lnTo>
                    <a:pt x="150" y="960"/>
                  </a:lnTo>
                  <a:lnTo>
                    <a:pt x="144" y="948"/>
                  </a:lnTo>
                  <a:lnTo>
                    <a:pt x="144" y="936"/>
                  </a:lnTo>
                  <a:lnTo>
                    <a:pt x="138" y="918"/>
                  </a:lnTo>
                  <a:lnTo>
                    <a:pt x="150" y="912"/>
                  </a:lnTo>
                  <a:lnTo>
                    <a:pt x="150" y="894"/>
                  </a:lnTo>
                  <a:lnTo>
                    <a:pt x="132" y="876"/>
                  </a:lnTo>
                  <a:lnTo>
                    <a:pt x="126" y="876"/>
                  </a:lnTo>
                  <a:lnTo>
                    <a:pt x="120" y="870"/>
                  </a:lnTo>
                  <a:lnTo>
                    <a:pt x="120" y="864"/>
                  </a:lnTo>
                  <a:lnTo>
                    <a:pt x="114" y="864"/>
                  </a:lnTo>
                  <a:lnTo>
                    <a:pt x="108" y="864"/>
                  </a:lnTo>
                  <a:lnTo>
                    <a:pt x="108" y="858"/>
                  </a:lnTo>
                  <a:lnTo>
                    <a:pt x="102" y="852"/>
                  </a:lnTo>
                  <a:lnTo>
                    <a:pt x="96" y="852"/>
                  </a:lnTo>
                  <a:lnTo>
                    <a:pt x="102" y="834"/>
                  </a:lnTo>
                  <a:lnTo>
                    <a:pt x="108" y="816"/>
                  </a:lnTo>
                  <a:lnTo>
                    <a:pt x="114" y="804"/>
                  </a:lnTo>
                  <a:lnTo>
                    <a:pt x="132" y="798"/>
                  </a:lnTo>
                  <a:lnTo>
                    <a:pt x="144" y="798"/>
                  </a:lnTo>
                  <a:lnTo>
                    <a:pt x="180" y="810"/>
                  </a:lnTo>
                  <a:lnTo>
                    <a:pt x="192" y="816"/>
                  </a:lnTo>
                  <a:lnTo>
                    <a:pt x="234" y="822"/>
                  </a:lnTo>
                  <a:lnTo>
                    <a:pt x="264" y="828"/>
                  </a:lnTo>
                  <a:lnTo>
                    <a:pt x="270" y="840"/>
                  </a:lnTo>
                  <a:lnTo>
                    <a:pt x="270" y="834"/>
                  </a:lnTo>
                  <a:lnTo>
                    <a:pt x="270" y="828"/>
                  </a:lnTo>
                  <a:lnTo>
                    <a:pt x="270" y="822"/>
                  </a:lnTo>
                  <a:lnTo>
                    <a:pt x="270" y="816"/>
                  </a:lnTo>
                  <a:lnTo>
                    <a:pt x="264" y="810"/>
                  </a:lnTo>
                  <a:lnTo>
                    <a:pt x="264" y="804"/>
                  </a:lnTo>
                  <a:lnTo>
                    <a:pt x="264" y="798"/>
                  </a:lnTo>
                  <a:lnTo>
                    <a:pt x="258" y="792"/>
                  </a:lnTo>
                  <a:lnTo>
                    <a:pt x="258" y="786"/>
                  </a:lnTo>
                  <a:lnTo>
                    <a:pt x="264" y="786"/>
                  </a:lnTo>
                  <a:lnTo>
                    <a:pt x="264" y="780"/>
                  </a:lnTo>
                  <a:lnTo>
                    <a:pt x="258" y="774"/>
                  </a:lnTo>
                  <a:lnTo>
                    <a:pt x="258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82" y="762"/>
                  </a:lnTo>
                  <a:lnTo>
                    <a:pt x="312" y="780"/>
                  </a:lnTo>
                  <a:lnTo>
                    <a:pt x="354" y="786"/>
                  </a:lnTo>
                  <a:lnTo>
                    <a:pt x="408" y="774"/>
                  </a:lnTo>
                  <a:lnTo>
                    <a:pt x="444" y="756"/>
                  </a:lnTo>
                  <a:lnTo>
                    <a:pt x="468" y="732"/>
                  </a:lnTo>
                  <a:lnTo>
                    <a:pt x="492" y="720"/>
                  </a:lnTo>
                  <a:lnTo>
                    <a:pt x="522" y="690"/>
                  </a:lnTo>
                  <a:lnTo>
                    <a:pt x="540" y="672"/>
                  </a:lnTo>
                  <a:lnTo>
                    <a:pt x="558" y="660"/>
                  </a:lnTo>
                  <a:lnTo>
                    <a:pt x="570" y="636"/>
                  </a:lnTo>
                  <a:lnTo>
                    <a:pt x="588" y="612"/>
                  </a:lnTo>
                  <a:lnTo>
                    <a:pt x="654" y="552"/>
                  </a:lnTo>
                  <a:lnTo>
                    <a:pt x="678" y="528"/>
                  </a:lnTo>
                  <a:lnTo>
                    <a:pt x="696" y="510"/>
                  </a:lnTo>
                  <a:lnTo>
                    <a:pt x="714" y="498"/>
                  </a:lnTo>
                  <a:lnTo>
                    <a:pt x="750" y="480"/>
                  </a:lnTo>
                  <a:lnTo>
                    <a:pt x="774" y="444"/>
                  </a:lnTo>
                  <a:lnTo>
                    <a:pt x="816" y="426"/>
                  </a:lnTo>
                  <a:lnTo>
                    <a:pt x="864" y="420"/>
                  </a:lnTo>
                  <a:lnTo>
                    <a:pt x="912" y="402"/>
                  </a:lnTo>
                  <a:lnTo>
                    <a:pt x="906" y="396"/>
                  </a:lnTo>
                  <a:lnTo>
                    <a:pt x="912" y="396"/>
                  </a:lnTo>
                  <a:lnTo>
                    <a:pt x="912" y="390"/>
                  </a:lnTo>
                  <a:lnTo>
                    <a:pt x="918" y="384"/>
                  </a:lnTo>
                  <a:lnTo>
                    <a:pt x="924" y="384"/>
                  </a:lnTo>
                  <a:lnTo>
                    <a:pt x="924" y="378"/>
                  </a:lnTo>
                  <a:lnTo>
                    <a:pt x="918" y="372"/>
                  </a:lnTo>
                  <a:lnTo>
                    <a:pt x="918" y="366"/>
                  </a:lnTo>
                  <a:lnTo>
                    <a:pt x="918" y="360"/>
                  </a:lnTo>
                  <a:lnTo>
                    <a:pt x="924" y="360"/>
                  </a:lnTo>
                  <a:lnTo>
                    <a:pt x="924" y="354"/>
                  </a:lnTo>
                  <a:lnTo>
                    <a:pt x="930" y="354"/>
                  </a:lnTo>
                  <a:lnTo>
                    <a:pt x="936" y="354"/>
                  </a:lnTo>
                  <a:lnTo>
                    <a:pt x="936" y="348"/>
                  </a:lnTo>
                  <a:lnTo>
                    <a:pt x="942" y="348"/>
                  </a:lnTo>
                  <a:lnTo>
                    <a:pt x="942" y="336"/>
                  </a:lnTo>
                  <a:lnTo>
                    <a:pt x="936" y="336"/>
                  </a:lnTo>
                  <a:lnTo>
                    <a:pt x="930" y="330"/>
                  </a:lnTo>
                  <a:lnTo>
                    <a:pt x="924" y="330"/>
                  </a:lnTo>
                  <a:lnTo>
                    <a:pt x="924" y="324"/>
                  </a:lnTo>
                  <a:lnTo>
                    <a:pt x="918" y="318"/>
                  </a:lnTo>
                  <a:lnTo>
                    <a:pt x="912" y="306"/>
                  </a:lnTo>
                  <a:lnTo>
                    <a:pt x="918" y="306"/>
                  </a:lnTo>
                  <a:lnTo>
                    <a:pt x="924" y="300"/>
                  </a:lnTo>
                  <a:lnTo>
                    <a:pt x="924" y="294"/>
                  </a:lnTo>
                  <a:lnTo>
                    <a:pt x="924" y="288"/>
                  </a:lnTo>
                  <a:lnTo>
                    <a:pt x="924" y="282"/>
                  </a:lnTo>
                  <a:lnTo>
                    <a:pt x="924" y="276"/>
                  </a:lnTo>
                  <a:lnTo>
                    <a:pt x="918" y="270"/>
                  </a:lnTo>
                  <a:lnTo>
                    <a:pt x="918" y="264"/>
                  </a:lnTo>
                  <a:lnTo>
                    <a:pt x="912" y="270"/>
                  </a:lnTo>
                  <a:lnTo>
                    <a:pt x="912" y="264"/>
                  </a:lnTo>
                  <a:lnTo>
                    <a:pt x="912" y="258"/>
                  </a:lnTo>
                  <a:lnTo>
                    <a:pt x="912" y="252"/>
                  </a:lnTo>
                  <a:lnTo>
                    <a:pt x="906" y="252"/>
                  </a:lnTo>
                  <a:lnTo>
                    <a:pt x="900" y="246"/>
                  </a:lnTo>
                  <a:lnTo>
                    <a:pt x="900" y="240"/>
                  </a:lnTo>
                  <a:lnTo>
                    <a:pt x="900" y="246"/>
                  </a:lnTo>
                  <a:lnTo>
                    <a:pt x="894" y="246"/>
                  </a:lnTo>
                  <a:lnTo>
                    <a:pt x="894" y="240"/>
                  </a:lnTo>
                  <a:lnTo>
                    <a:pt x="894" y="234"/>
                  </a:lnTo>
                  <a:lnTo>
                    <a:pt x="900" y="234"/>
                  </a:lnTo>
                  <a:lnTo>
                    <a:pt x="900" y="228"/>
                  </a:lnTo>
                  <a:lnTo>
                    <a:pt x="906" y="228"/>
                  </a:lnTo>
                  <a:lnTo>
                    <a:pt x="900" y="222"/>
                  </a:lnTo>
                  <a:lnTo>
                    <a:pt x="894" y="216"/>
                  </a:lnTo>
                  <a:lnTo>
                    <a:pt x="894" y="210"/>
                  </a:lnTo>
                  <a:lnTo>
                    <a:pt x="888" y="210"/>
                  </a:lnTo>
                  <a:lnTo>
                    <a:pt x="888" y="204"/>
                  </a:lnTo>
                  <a:lnTo>
                    <a:pt x="888" y="198"/>
                  </a:lnTo>
                  <a:lnTo>
                    <a:pt x="888" y="192"/>
                  </a:lnTo>
                  <a:lnTo>
                    <a:pt x="882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82" y="174"/>
                  </a:lnTo>
                  <a:lnTo>
                    <a:pt x="888" y="168"/>
                  </a:lnTo>
                  <a:lnTo>
                    <a:pt x="888" y="162"/>
                  </a:lnTo>
                  <a:lnTo>
                    <a:pt x="888" y="156"/>
                  </a:lnTo>
                  <a:lnTo>
                    <a:pt x="888" y="150"/>
                  </a:lnTo>
                  <a:lnTo>
                    <a:pt x="888" y="144"/>
                  </a:lnTo>
                  <a:lnTo>
                    <a:pt x="882" y="144"/>
                  </a:lnTo>
                  <a:lnTo>
                    <a:pt x="882" y="138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76" y="120"/>
                  </a:lnTo>
                  <a:lnTo>
                    <a:pt x="882" y="114"/>
                  </a:lnTo>
                  <a:lnTo>
                    <a:pt x="882" y="108"/>
                  </a:lnTo>
                  <a:lnTo>
                    <a:pt x="888" y="102"/>
                  </a:lnTo>
                  <a:lnTo>
                    <a:pt x="894" y="102"/>
                  </a:lnTo>
                  <a:lnTo>
                    <a:pt x="894" y="96"/>
                  </a:lnTo>
                  <a:lnTo>
                    <a:pt x="888" y="96"/>
                  </a:lnTo>
                  <a:lnTo>
                    <a:pt x="894" y="90"/>
                  </a:lnTo>
                  <a:lnTo>
                    <a:pt x="888" y="84"/>
                  </a:lnTo>
                  <a:lnTo>
                    <a:pt x="888" y="78"/>
                  </a:lnTo>
                  <a:lnTo>
                    <a:pt x="924" y="66"/>
                  </a:lnTo>
                  <a:lnTo>
                    <a:pt x="966" y="66"/>
                  </a:lnTo>
                  <a:lnTo>
                    <a:pt x="996" y="48"/>
                  </a:lnTo>
                  <a:lnTo>
                    <a:pt x="1056" y="12"/>
                  </a:lnTo>
                  <a:lnTo>
                    <a:pt x="1128" y="0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0" y="18"/>
                  </a:lnTo>
                  <a:lnTo>
                    <a:pt x="1176" y="24"/>
                  </a:lnTo>
                  <a:lnTo>
                    <a:pt x="1182" y="24"/>
                  </a:lnTo>
                  <a:lnTo>
                    <a:pt x="1188" y="30"/>
                  </a:lnTo>
                  <a:lnTo>
                    <a:pt x="1194" y="30"/>
                  </a:lnTo>
                  <a:lnTo>
                    <a:pt x="1194" y="36"/>
                  </a:lnTo>
                  <a:lnTo>
                    <a:pt x="1260" y="30"/>
                  </a:lnTo>
                  <a:lnTo>
                    <a:pt x="1272" y="30"/>
                  </a:lnTo>
                  <a:lnTo>
                    <a:pt x="1296" y="24"/>
                  </a:lnTo>
                  <a:lnTo>
                    <a:pt x="1302" y="30"/>
                  </a:lnTo>
                  <a:lnTo>
                    <a:pt x="1302" y="36"/>
                  </a:lnTo>
                  <a:lnTo>
                    <a:pt x="1308" y="36"/>
                  </a:lnTo>
                  <a:lnTo>
                    <a:pt x="1314" y="36"/>
                  </a:lnTo>
                  <a:lnTo>
                    <a:pt x="1320" y="36"/>
                  </a:lnTo>
                  <a:lnTo>
                    <a:pt x="1326" y="30"/>
                  </a:lnTo>
                  <a:lnTo>
                    <a:pt x="1332" y="30"/>
                  </a:lnTo>
                  <a:lnTo>
                    <a:pt x="1338" y="30"/>
                  </a:lnTo>
                  <a:lnTo>
                    <a:pt x="1344" y="30"/>
                  </a:lnTo>
                  <a:lnTo>
                    <a:pt x="1374" y="30"/>
                  </a:lnTo>
                  <a:lnTo>
                    <a:pt x="1386" y="30"/>
                  </a:lnTo>
                  <a:lnTo>
                    <a:pt x="1392" y="24"/>
                  </a:lnTo>
                  <a:lnTo>
                    <a:pt x="1398" y="12"/>
                  </a:lnTo>
                  <a:lnTo>
                    <a:pt x="1404" y="6"/>
                  </a:lnTo>
                  <a:lnTo>
                    <a:pt x="1410" y="6"/>
                  </a:lnTo>
                  <a:lnTo>
                    <a:pt x="1410" y="12"/>
                  </a:lnTo>
                  <a:lnTo>
                    <a:pt x="1416" y="18"/>
                  </a:lnTo>
                  <a:lnTo>
                    <a:pt x="1416" y="36"/>
                  </a:lnTo>
                  <a:lnTo>
                    <a:pt x="1434" y="54"/>
                  </a:lnTo>
                  <a:lnTo>
                    <a:pt x="1434" y="60"/>
                  </a:lnTo>
                  <a:lnTo>
                    <a:pt x="1434" y="66"/>
                  </a:lnTo>
                  <a:lnTo>
                    <a:pt x="1434" y="72"/>
                  </a:lnTo>
                  <a:lnTo>
                    <a:pt x="1428" y="72"/>
                  </a:lnTo>
                  <a:lnTo>
                    <a:pt x="1428" y="78"/>
                  </a:lnTo>
                  <a:lnTo>
                    <a:pt x="1434" y="78"/>
                  </a:lnTo>
                  <a:lnTo>
                    <a:pt x="1440" y="84"/>
                  </a:lnTo>
                  <a:lnTo>
                    <a:pt x="1440" y="90"/>
                  </a:lnTo>
                  <a:lnTo>
                    <a:pt x="1440" y="96"/>
                  </a:lnTo>
                  <a:lnTo>
                    <a:pt x="1446" y="96"/>
                  </a:lnTo>
                  <a:lnTo>
                    <a:pt x="1446" y="108"/>
                  </a:lnTo>
                  <a:lnTo>
                    <a:pt x="1452" y="108"/>
                  </a:lnTo>
                  <a:lnTo>
                    <a:pt x="1452" y="114"/>
                  </a:lnTo>
                  <a:lnTo>
                    <a:pt x="1458" y="114"/>
                  </a:lnTo>
                  <a:lnTo>
                    <a:pt x="1470" y="120"/>
                  </a:lnTo>
                  <a:lnTo>
                    <a:pt x="1476" y="120"/>
                  </a:lnTo>
                  <a:lnTo>
                    <a:pt x="1476" y="114"/>
                  </a:lnTo>
                  <a:lnTo>
                    <a:pt x="1488" y="120"/>
                  </a:lnTo>
                  <a:lnTo>
                    <a:pt x="1506" y="120"/>
                  </a:lnTo>
                  <a:lnTo>
                    <a:pt x="1512" y="120"/>
                  </a:lnTo>
                  <a:lnTo>
                    <a:pt x="1518" y="120"/>
                  </a:lnTo>
                  <a:lnTo>
                    <a:pt x="1524" y="126"/>
                  </a:lnTo>
                  <a:lnTo>
                    <a:pt x="1536" y="150"/>
                  </a:lnTo>
                  <a:lnTo>
                    <a:pt x="1548" y="162"/>
                  </a:lnTo>
                  <a:lnTo>
                    <a:pt x="1554" y="168"/>
                  </a:lnTo>
                  <a:lnTo>
                    <a:pt x="1584" y="228"/>
                  </a:lnTo>
                  <a:lnTo>
                    <a:pt x="1584" y="234"/>
                  </a:lnTo>
                  <a:lnTo>
                    <a:pt x="1578" y="312"/>
                  </a:lnTo>
                  <a:lnTo>
                    <a:pt x="1590" y="318"/>
                  </a:lnTo>
                  <a:lnTo>
                    <a:pt x="1608" y="330"/>
                  </a:lnTo>
                  <a:lnTo>
                    <a:pt x="1620" y="342"/>
                  </a:lnTo>
                  <a:lnTo>
                    <a:pt x="1626" y="342"/>
                  </a:lnTo>
                  <a:lnTo>
                    <a:pt x="1692" y="360"/>
                  </a:lnTo>
                  <a:lnTo>
                    <a:pt x="1710" y="408"/>
                  </a:lnTo>
                  <a:lnTo>
                    <a:pt x="1722" y="426"/>
                  </a:lnTo>
                  <a:lnTo>
                    <a:pt x="1716" y="468"/>
                  </a:lnTo>
                  <a:lnTo>
                    <a:pt x="1686" y="486"/>
                  </a:lnTo>
                  <a:lnTo>
                    <a:pt x="1686" y="492"/>
                  </a:lnTo>
                  <a:lnTo>
                    <a:pt x="1680" y="498"/>
                  </a:lnTo>
                  <a:lnTo>
                    <a:pt x="1650" y="558"/>
                  </a:lnTo>
                  <a:lnTo>
                    <a:pt x="1650" y="570"/>
                  </a:lnTo>
                  <a:lnTo>
                    <a:pt x="1644" y="570"/>
                  </a:lnTo>
                  <a:lnTo>
                    <a:pt x="1638" y="582"/>
                  </a:lnTo>
                  <a:lnTo>
                    <a:pt x="1638" y="624"/>
                  </a:lnTo>
                  <a:lnTo>
                    <a:pt x="1638" y="636"/>
                  </a:lnTo>
                  <a:lnTo>
                    <a:pt x="1638" y="642"/>
                  </a:lnTo>
                  <a:lnTo>
                    <a:pt x="1632" y="660"/>
                  </a:lnTo>
                  <a:lnTo>
                    <a:pt x="1608" y="678"/>
                  </a:lnTo>
                  <a:lnTo>
                    <a:pt x="1584" y="690"/>
                  </a:lnTo>
                  <a:lnTo>
                    <a:pt x="1584" y="696"/>
                  </a:lnTo>
                  <a:lnTo>
                    <a:pt x="1578" y="702"/>
                  </a:lnTo>
                  <a:lnTo>
                    <a:pt x="1584" y="702"/>
                  </a:lnTo>
                  <a:lnTo>
                    <a:pt x="1578" y="714"/>
                  </a:lnTo>
                  <a:lnTo>
                    <a:pt x="1572" y="714"/>
                  </a:lnTo>
                  <a:lnTo>
                    <a:pt x="1572" y="720"/>
                  </a:lnTo>
                  <a:lnTo>
                    <a:pt x="1566" y="720"/>
                  </a:lnTo>
                  <a:lnTo>
                    <a:pt x="1560" y="726"/>
                  </a:lnTo>
                  <a:lnTo>
                    <a:pt x="1560" y="732"/>
                  </a:lnTo>
                  <a:lnTo>
                    <a:pt x="1554" y="732"/>
                  </a:lnTo>
                  <a:lnTo>
                    <a:pt x="1554" y="738"/>
                  </a:lnTo>
                  <a:lnTo>
                    <a:pt x="1554" y="744"/>
                  </a:lnTo>
                  <a:lnTo>
                    <a:pt x="1548" y="744"/>
                  </a:lnTo>
                  <a:lnTo>
                    <a:pt x="1548" y="738"/>
                  </a:lnTo>
                  <a:lnTo>
                    <a:pt x="1542" y="738"/>
                  </a:lnTo>
                  <a:lnTo>
                    <a:pt x="1542" y="744"/>
                  </a:lnTo>
                  <a:lnTo>
                    <a:pt x="1542" y="750"/>
                  </a:lnTo>
                  <a:lnTo>
                    <a:pt x="1494" y="804"/>
                  </a:lnTo>
                  <a:lnTo>
                    <a:pt x="1446" y="876"/>
                  </a:lnTo>
                  <a:lnTo>
                    <a:pt x="1440" y="876"/>
                  </a:lnTo>
                  <a:lnTo>
                    <a:pt x="1434" y="876"/>
                  </a:lnTo>
                  <a:lnTo>
                    <a:pt x="1428" y="882"/>
                  </a:lnTo>
                  <a:lnTo>
                    <a:pt x="1422" y="882"/>
                  </a:lnTo>
                  <a:lnTo>
                    <a:pt x="1386" y="924"/>
                  </a:lnTo>
                  <a:lnTo>
                    <a:pt x="1362" y="954"/>
                  </a:lnTo>
                  <a:lnTo>
                    <a:pt x="1356" y="984"/>
                  </a:lnTo>
                  <a:lnTo>
                    <a:pt x="1362" y="1002"/>
                  </a:lnTo>
                  <a:lnTo>
                    <a:pt x="1368" y="1020"/>
                  </a:lnTo>
                  <a:lnTo>
                    <a:pt x="1386" y="1056"/>
                  </a:lnTo>
                  <a:lnTo>
                    <a:pt x="1404" y="1074"/>
                  </a:lnTo>
                  <a:lnTo>
                    <a:pt x="1416" y="1080"/>
                  </a:lnTo>
                  <a:lnTo>
                    <a:pt x="1416" y="1086"/>
                  </a:lnTo>
                  <a:lnTo>
                    <a:pt x="1422" y="1098"/>
                  </a:lnTo>
                  <a:lnTo>
                    <a:pt x="1422" y="1110"/>
                  </a:lnTo>
                  <a:lnTo>
                    <a:pt x="1428" y="1116"/>
                  </a:lnTo>
                  <a:lnTo>
                    <a:pt x="1434" y="1116"/>
                  </a:lnTo>
                  <a:lnTo>
                    <a:pt x="1434" y="1122"/>
                  </a:lnTo>
                  <a:lnTo>
                    <a:pt x="1434" y="1128"/>
                  </a:lnTo>
                  <a:lnTo>
                    <a:pt x="1440" y="1134"/>
                  </a:lnTo>
                  <a:lnTo>
                    <a:pt x="1446" y="1134"/>
                  </a:lnTo>
                  <a:lnTo>
                    <a:pt x="1458" y="1134"/>
                  </a:lnTo>
                  <a:lnTo>
                    <a:pt x="1458" y="1140"/>
                  </a:lnTo>
                  <a:lnTo>
                    <a:pt x="1464" y="1134"/>
                  </a:lnTo>
                  <a:lnTo>
                    <a:pt x="1470" y="1134"/>
                  </a:lnTo>
                  <a:lnTo>
                    <a:pt x="1464" y="1128"/>
                  </a:lnTo>
                  <a:lnTo>
                    <a:pt x="1464" y="1122"/>
                  </a:lnTo>
                  <a:lnTo>
                    <a:pt x="1470" y="1116"/>
                  </a:lnTo>
                  <a:lnTo>
                    <a:pt x="1470" y="1122"/>
                  </a:lnTo>
                  <a:lnTo>
                    <a:pt x="1476" y="1122"/>
                  </a:lnTo>
                  <a:lnTo>
                    <a:pt x="1476" y="1116"/>
                  </a:lnTo>
                  <a:lnTo>
                    <a:pt x="1482" y="1110"/>
                  </a:lnTo>
                  <a:lnTo>
                    <a:pt x="1476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82" y="1086"/>
                  </a:lnTo>
                  <a:lnTo>
                    <a:pt x="1482" y="1074"/>
                  </a:lnTo>
                  <a:lnTo>
                    <a:pt x="1488" y="1068"/>
                  </a:lnTo>
                  <a:lnTo>
                    <a:pt x="1488" y="1062"/>
                  </a:lnTo>
                  <a:lnTo>
                    <a:pt x="1494" y="1062"/>
                  </a:lnTo>
                  <a:lnTo>
                    <a:pt x="1500" y="1062"/>
                  </a:lnTo>
                  <a:lnTo>
                    <a:pt x="1506" y="1062"/>
                  </a:lnTo>
                  <a:lnTo>
                    <a:pt x="1506" y="1056"/>
                  </a:lnTo>
                  <a:lnTo>
                    <a:pt x="1506" y="1062"/>
                  </a:lnTo>
                  <a:lnTo>
                    <a:pt x="1518" y="1062"/>
                  </a:lnTo>
                  <a:lnTo>
                    <a:pt x="1524" y="1062"/>
                  </a:lnTo>
                  <a:lnTo>
                    <a:pt x="1530" y="1062"/>
                  </a:lnTo>
                  <a:lnTo>
                    <a:pt x="1536" y="1068"/>
                  </a:lnTo>
                  <a:lnTo>
                    <a:pt x="1536" y="1074"/>
                  </a:lnTo>
                  <a:lnTo>
                    <a:pt x="1542" y="1086"/>
                  </a:lnTo>
                  <a:lnTo>
                    <a:pt x="1548" y="1086"/>
                  </a:lnTo>
                  <a:lnTo>
                    <a:pt x="1554" y="1086"/>
                  </a:lnTo>
                  <a:lnTo>
                    <a:pt x="1566" y="1098"/>
                  </a:lnTo>
                  <a:lnTo>
                    <a:pt x="1572" y="1104"/>
                  </a:lnTo>
                  <a:lnTo>
                    <a:pt x="1566" y="1110"/>
                  </a:lnTo>
                  <a:lnTo>
                    <a:pt x="1572" y="1116"/>
                  </a:lnTo>
                  <a:lnTo>
                    <a:pt x="1578" y="1116"/>
                  </a:lnTo>
                  <a:lnTo>
                    <a:pt x="1578" y="1122"/>
                  </a:lnTo>
                  <a:lnTo>
                    <a:pt x="1584" y="1122"/>
                  </a:lnTo>
                  <a:lnTo>
                    <a:pt x="1584" y="1128"/>
                  </a:lnTo>
                  <a:lnTo>
                    <a:pt x="1584" y="1134"/>
                  </a:lnTo>
                  <a:lnTo>
                    <a:pt x="1590" y="1134"/>
                  </a:lnTo>
                  <a:lnTo>
                    <a:pt x="1596" y="1140"/>
                  </a:lnTo>
                  <a:lnTo>
                    <a:pt x="1602" y="1146"/>
                  </a:lnTo>
                  <a:lnTo>
                    <a:pt x="1608" y="1146"/>
                  </a:lnTo>
                  <a:lnTo>
                    <a:pt x="1614" y="1146"/>
                  </a:lnTo>
                  <a:lnTo>
                    <a:pt x="1614" y="1152"/>
                  </a:lnTo>
                  <a:lnTo>
                    <a:pt x="1620" y="1152"/>
                  </a:lnTo>
                  <a:lnTo>
                    <a:pt x="1626" y="1164"/>
                  </a:lnTo>
                  <a:lnTo>
                    <a:pt x="1632" y="1170"/>
                  </a:lnTo>
                  <a:lnTo>
                    <a:pt x="1638" y="1176"/>
                  </a:lnTo>
                  <a:lnTo>
                    <a:pt x="1638" y="1182"/>
                  </a:lnTo>
                  <a:lnTo>
                    <a:pt x="1644" y="1194"/>
                  </a:lnTo>
                  <a:lnTo>
                    <a:pt x="1644" y="1200"/>
                  </a:lnTo>
                  <a:lnTo>
                    <a:pt x="1638" y="1200"/>
                  </a:lnTo>
                  <a:lnTo>
                    <a:pt x="1638" y="1206"/>
                  </a:lnTo>
                  <a:lnTo>
                    <a:pt x="1638" y="1212"/>
                  </a:lnTo>
                  <a:lnTo>
                    <a:pt x="1638" y="1218"/>
                  </a:lnTo>
                  <a:lnTo>
                    <a:pt x="1632" y="1242"/>
                  </a:lnTo>
                  <a:lnTo>
                    <a:pt x="1632" y="1266"/>
                  </a:lnTo>
                  <a:lnTo>
                    <a:pt x="1638" y="1284"/>
                  </a:lnTo>
                  <a:lnTo>
                    <a:pt x="1638" y="1296"/>
                  </a:lnTo>
                  <a:lnTo>
                    <a:pt x="1632" y="1296"/>
                  </a:lnTo>
                  <a:lnTo>
                    <a:pt x="1632" y="1302"/>
                  </a:lnTo>
                  <a:lnTo>
                    <a:pt x="1638" y="1314"/>
                  </a:lnTo>
                  <a:lnTo>
                    <a:pt x="1638" y="1320"/>
                  </a:lnTo>
                  <a:lnTo>
                    <a:pt x="1632" y="1320"/>
                  </a:lnTo>
                  <a:lnTo>
                    <a:pt x="1632" y="1326"/>
                  </a:lnTo>
                  <a:lnTo>
                    <a:pt x="1644" y="1332"/>
                  </a:lnTo>
                  <a:lnTo>
                    <a:pt x="1644" y="1338"/>
                  </a:lnTo>
                  <a:lnTo>
                    <a:pt x="1650" y="1344"/>
                  </a:lnTo>
                  <a:lnTo>
                    <a:pt x="1668" y="1362"/>
                  </a:lnTo>
                  <a:lnTo>
                    <a:pt x="1668" y="1368"/>
                  </a:lnTo>
                  <a:lnTo>
                    <a:pt x="1674" y="1392"/>
                  </a:lnTo>
                  <a:lnTo>
                    <a:pt x="1686" y="140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2" name="Freeform 17">
              <a:extLst>
                <a:ext uri="{FF2B5EF4-FFF2-40B4-BE49-F238E27FC236}">
                  <a16:creationId xmlns:a16="http://schemas.microsoft.com/office/drawing/2014/main" id="{9F9DF7AF-2203-4CCB-AF1B-32CDAF87CC5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416927"/>
              <a:ext cx="816209" cy="574781"/>
            </a:xfrm>
            <a:custGeom>
              <a:avLst/>
              <a:gdLst>
                <a:gd name="T0" fmla="*/ 115 w 1536"/>
                <a:gd name="T1" fmla="*/ 89 h 1080"/>
                <a:gd name="T2" fmla="*/ 113 w 1536"/>
                <a:gd name="T3" fmla="*/ 92 h 1080"/>
                <a:gd name="T4" fmla="*/ 107 w 1536"/>
                <a:gd name="T5" fmla="*/ 93 h 1080"/>
                <a:gd name="T6" fmla="*/ 108 w 1536"/>
                <a:gd name="T7" fmla="*/ 90 h 1080"/>
                <a:gd name="T8" fmla="*/ 105 w 1536"/>
                <a:gd name="T9" fmla="*/ 87 h 1080"/>
                <a:gd name="T10" fmla="*/ 102 w 1536"/>
                <a:gd name="T11" fmla="*/ 85 h 1080"/>
                <a:gd name="T12" fmla="*/ 89 w 1536"/>
                <a:gd name="T13" fmla="*/ 80 h 1080"/>
                <a:gd name="T14" fmla="*/ 85 w 1536"/>
                <a:gd name="T15" fmla="*/ 82 h 1080"/>
                <a:gd name="T16" fmla="*/ 82 w 1536"/>
                <a:gd name="T17" fmla="*/ 80 h 1080"/>
                <a:gd name="T18" fmla="*/ 80 w 1536"/>
                <a:gd name="T19" fmla="*/ 75 h 1080"/>
                <a:gd name="T20" fmla="*/ 75 w 1536"/>
                <a:gd name="T21" fmla="*/ 72 h 1080"/>
                <a:gd name="T22" fmla="*/ 61 w 1536"/>
                <a:gd name="T23" fmla="*/ 70 h 1080"/>
                <a:gd name="T24" fmla="*/ 62 w 1536"/>
                <a:gd name="T25" fmla="*/ 72 h 1080"/>
                <a:gd name="T26" fmla="*/ 58 w 1536"/>
                <a:gd name="T27" fmla="*/ 75 h 1080"/>
                <a:gd name="T28" fmla="*/ 49 w 1536"/>
                <a:gd name="T29" fmla="*/ 76 h 1080"/>
                <a:gd name="T30" fmla="*/ 41 w 1536"/>
                <a:gd name="T31" fmla="*/ 79 h 1080"/>
                <a:gd name="T32" fmla="*/ 41 w 1536"/>
                <a:gd name="T33" fmla="*/ 77 h 1080"/>
                <a:gd name="T34" fmla="*/ 39 w 1536"/>
                <a:gd name="T35" fmla="*/ 74 h 1080"/>
                <a:gd name="T36" fmla="*/ 28 w 1536"/>
                <a:gd name="T37" fmla="*/ 78 h 1080"/>
                <a:gd name="T38" fmla="*/ 18 w 1536"/>
                <a:gd name="T39" fmla="*/ 85 h 1080"/>
                <a:gd name="T40" fmla="*/ 18 w 1536"/>
                <a:gd name="T41" fmla="*/ 77 h 1080"/>
                <a:gd name="T42" fmla="*/ 19 w 1536"/>
                <a:gd name="T43" fmla="*/ 69 h 1080"/>
                <a:gd name="T44" fmla="*/ 16 w 1536"/>
                <a:gd name="T45" fmla="*/ 69 h 1080"/>
                <a:gd name="T46" fmla="*/ 11 w 1536"/>
                <a:gd name="T47" fmla="*/ 69 h 1080"/>
                <a:gd name="T48" fmla="*/ 5 w 1536"/>
                <a:gd name="T49" fmla="*/ 68 h 1080"/>
                <a:gd name="T50" fmla="*/ 1 w 1536"/>
                <a:gd name="T51" fmla="*/ 63 h 1080"/>
                <a:gd name="T52" fmla="*/ 3 w 1536"/>
                <a:gd name="T53" fmla="*/ 59 h 1080"/>
                <a:gd name="T54" fmla="*/ 9 w 1536"/>
                <a:gd name="T55" fmla="*/ 54 h 1080"/>
                <a:gd name="T56" fmla="*/ 15 w 1536"/>
                <a:gd name="T57" fmla="*/ 47 h 1080"/>
                <a:gd name="T58" fmla="*/ 17 w 1536"/>
                <a:gd name="T59" fmla="*/ 40 h 1080"/>
                <a:gd name="T60" fmla="*/ 12 w 1536"/>
                <a:gd name="T61" fmla="*/ 33 h 1080"/>
                <a:gd name="T62" fmla="*/ 10 w 1536"/>
                <a:gd name="T63" fmla="*/ 21 h 1080"/>
                <a:gd name="T64" fmla="*/ 6 w 1536"/>
                <a:gd name="T65" fmla="*/ 14 h 1080"/>
                <a:gd name="T66" fmla="*/ 7 w 1536"/>
                <a:gd name="T67" fmla="*/ 9 h 1080"/>
                <a:gd name="T68" fmla="*/ 12 w 1536"/>
                <a:gd name="T69" fmla="*/ 7 h 1080"/>
                <a:gd name="T70" fmla="*/ 16 w 1536"/>
                <a:gd name="T71" fmla="*/ 8 h 1080"/>
                <a:gd name="T72" fmla="*/ 19 w 1536"/>
                <a:gd name="T73" fmla="*/ 8 h 1080"/>
                <a:gd name="T74" fmla="*/ 22 w 1536"/>
                <a:gd name="T75" fmla="*/ 9 h 1080"/>
                <a:gd name="T76" fmla="*/ 29 w 1536"/>
                <a:gd name="T77" fmla="*/ 12 h 1080"/>
                <a:gd name="T78" fmla="*/ 33 w 1536"/>
                <a:gd name="T79" fmla="*/ 13 h 1080"/>
                <a:gd name="T80" fmla="*/ 38 w 1536"/>
                <a:gd name="T81" fmla="*/ 15 h 1080"/>
                <a:gd name="T82" fmla="*/ 42 w 1536"/>
                <a:gd name="T83" fmla="*/ 17 h 1080"/>
                <a:gd name="T84" fmla="*/ 47 w 1536"/>
                <a:gd name="T85" fmla="*/ 19 h 1080"/>
                <a:gd name="T86" fmla="*/ 51 w 1536"/>
                <a:gd name="T87" fmla="*/ 21 h 1080"/>
                <a:gd name="T88" fmla="*/ 50 w 1536"/>
                <a:gd name="T89" fmla="*/ 15 h 1080"/>
                <a:gd name="T90" fmla="*/ 56 w 1536"/>
                <a:gd name="T91" fmla="*/ 0 h 1080"/>
                <a:gd name="T92" fmla="*/ 74 w 1536"/>
                <a:gd name="T93" fmla="*/ 5 h 1080"/>
                <a:gd name="T94" fmla="*/ 87 w 1536"/>
                <a:gd name="T95" fmla="*/ 6 h 1080"/>
                <a:gd name="T96" fmla="*/ 92 w 1536"/>
                <a:gd name="T97" fmla="*/ 11 h 1080"/>
                <a:gd name="T98" fmla="*/ 95 w 1536"/>
                <a:gd name="T99" fmla="*/ 15 h 1080"/>
                <a:gd name="T100" fmla="*/ 93 w 1536"/>
                <a:gd name="T101" fmla="*/ 20 h 1080"/>
                <a:gd name="T102" fmla="*/ 108 w 1536"/>
                <a:gd name="T103" fmla="*/ 18 h 1080"/>
                <a:gd name="T104" fmla="*/ 120 w 1536"/>
                <a:gd name="T105" fmla="*/ 21 h 1080"/>
                <a:gd name="T106" fmla="*/ 127 w 1536"/>
                <a:gd name="T107" fmla="*/ 29 h 1080"/>
                <a:gd name="T108" fmla="*/ 130 w 1536"/>
                <a:gd name="T109" fmla="*/ 30 h 1080"/>
                <a:gd name="T110" fmla="*/ 130 w 1536"/>
                <a:gd name="T111" fmla="*/ 49 h 1080"/>
                <a:gd name="T112" fmla="*/ 120 w 1536"/>
                <a:gd name="T113" fmla="*/ 69 h 1080"/>
                <a:gd name="T114" fmla="*/ 119 w 1536"/>
                <a:gd name="T115" fmla="*/ 74 h 1080"/>
                <a:gd name="T116" fmla="*/ 118 w 1536"/>
                <a:gd name="T117" fmla="*/ 80 h 108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536"/>
                <a:gd name="T178" fmla="*/ 0 h 1080"/>
                <a:gd name="T179" fmla="*/ 1536 w 1536"/>
                <a:gd name="T180" fmla="*/ 1080 h 108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536" h="1080">
                  <a:moveTo>
                    <a:pt x="1350" y="1020"/>
                  </a:moveTo>
                  <a:lnTo>
                    <a:pt x="1350" y="1026"/>
                  </a:lnTo>
                  <a:lnTo>
                    <a:pt x="1344" y="1026"/>
                  </a:lnTo>
                  <a:lnTo>
                    <a:pt x="1338" y="1032"/>
                  </a:lnTo>
                  <a:lnTo>
                    <a:pt x="1332" y="1026"/>
                  </a:lnTo>
                  <a:lnTo>
                    <a:pt x="1326" y="1026"/>
                  </a:lnTo>
                  <a:lnTo>
                    <a:pt x="1320" y="1020"/>
                  </a:lnTo>
                  <a:lnTo>
                    <a:pt x="1314" y="1026"/>
                  </a:lnTo>
                  <a:lnTo>
                    <a:pt x="1314" y="1032"/>
                  </a:lnTo>
                  <a:lnTo>
                    <a:pt x="1308" y="1038"/>
                  </a:lnTo>
                  <a:lnTo>
                    <a:pt x="1308" y="1044"/>
                  </a:lnTo>
                  <a:lnTo>
                    <a:pt x="1308" y="1050"/>
                  </a:lnTo>
                  <a:lnTo>
                    <a:pt x="1308" y="1056"/>
                  </a:lnTo>
                  <a:lnTo>
                    <a:pt x="1308" y="1062"/>
                  </a:lnTo>
                  <a:lnTo>
                    <a:pt x="1296" y="1068"/>
                  </a:lnTo>
                  <a:lnTo>
                    <a:pt x="1284" y="1074"/>
                  </a:lnTo>
                  <a:lnTo>
                    <a:pt x="1272" y="1080"/>
                  </a:lnTo>
                  <a:lnTo>
                    <a:pt x="1260" y="1080"/>
                  </a:lnTo>
                  <a:lnTo>
                    <a:pt x="1254" y="1074"/>
                  </a:lnTo>
                  <a:lnTo>
                    <a:pt x="1236" y="1074"/>
                  </a:lnTo>
                  <a:lnTo>
                    <a:pt x="1230" y="1074"/>
                  </a:lnTo>
                  <a:lnTo>
                    <a:pt x="1236" y="1074"/>
                  </a:lnTo>
                  <a:lnTo>
                    <a:pt x="1236" y="1068"/>
                  </a:lnTo>
                  <a:lnTo>
                    <a:pt x="1236" y="1062"/>
                  </a:lnTo>
                  <a:lnTo>
                    <a:pt x="1236" y="1056"/>
                  </a:lnTo>
                  <a:lnTo>
                    <a:pt x="1242" y="1050"/>
                  </a:lnTo>
                  <a:lnTo>
                    <a:pt x="1242" y="1044"/>
                  </a:lnTo>
                  <a:lnTo>
                    <a:pt x="1242" y="1038"/>
                  </a:lnTo>
                  <a:lnTo>
                    <a:pt x="1248" y="1032"/>
                  </a:lnTo>
                  <a:lnTo>
                    <a:pt x="1236" y="1026"/>
                  </a:lnTo>
                  <a:lnTo>
                    <a:pt x="1218" y="1020"/>
                  </a:lnTo>
                  <a:lnTo>
                    <a:pt x="1224" y="1014"/>
                  </a:lnTo>
                  <a:lnTo>
                    <a:pt x="1218" y="1008"/>
                  </a:lnTo>
                  <a:lnTo>
                    <a:pt x="1218" y="1002"/>
                  </a:lnTo>
                  <a:lnTo>
                    <a:pt x="1212" y="1008"/>
                  </a:lnTo>
                  <a:lnTo>
                    <a:pt x="1206" y="1002"/>
                  </a:lnTo>
                  <a:lnTo>
                    <a:pt x="1212" y="1002"/>
                  </a:lnTo>
                  <a:lnTo>
                    <a:pt x="1212" y="996"/>
                  </a:lnTo>
                  <a:lnTo>
                    <a:pt x="1200" y="990"/>
                  </a:lnTo>
                  <a:lnTo>
                    <a:pt x="1200" y="984"/>
                  </a:lnTo>
                  <a:lnTo>
                    <a:pt x="1188" y="984"/>
                  </a:lnTo>
                  <a:lnTo>
                    <a:pt x="1176" y="978"/>
                  </a:lnTo>
                  <a:lnTo>
                    <a:pt x="1164" y="960"/>
                  </a:lnTo>
                  <a:lnTo>
                    <a:pt x="1152" y="936"/>
                  </a:lnTo>
                  <a:lnTo>
                    <a:pt x="1146" y="936"/>
                  </a:lnTo>
                  <a:lnTo>
                    <a:pt x="1128" y="900"/>
                  </a:lnTo>
                  <a:lnTo>
                    <a:pt x="1038" y="912"/>
                  </a:lnTo>
                  <a:lnTo>
                    <a:pt x="1038" y="918"/>
                  </a:lnTo>
                  <a:lnTo>
                    <a:pt x="1032" y="924"/>
                  </a:lnTo>
                  <a:lnTo>
                    <a:pt x="1026" y="918"/>
                  </a:lnTo>
                  <a:lnTo>
                    <a:pt x="1020" y="924"/>
                  </a:lnTo>
                  <a:lnTo>
                    <a:pt x="1008" y="936"/>
                  </a:lnTo>
                  <a:lnTo>
                    <a:pt x="990" y="936"/>
                  </a:lnTo>
                  <a:lnTo>
                    <a:pt x="990" y="942"/>
                  </a:lnTo>
                  <a:lnTo>
                    <a:pt x="996" y="942"/>
                  </a:lnTo>
                  <a:lnTo>
                    <a:pt x="984" y="948"/>
                  </a:lnTo>
                  <a:lnTo>
                    <a:pt x="972" y="948"/>
                  </a:lnTo>
                  <a:lnTo>
                    <a:pt x="960" y="948"/>
                  </a:lnTo>
                  <a:lnTo>
                    <a:pt x="948" y="942"/>
                  </a:lnTo>
                  <a:lnTo>
                    <a:pt x="948" y="936"/>
                  </a:lnTo>
                  <a:lnTo>
                    <a:pt x="942" y="936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30" y="924"/>
                  </a:lnTo>
                  <a:lnTo>
                    <a:pt x="936" y="918"/>
                  </a:lnTo>
                  <a:lnTo>
                    <a:pt x="918" y="918"/>
                  </a:lnTo>
                  <a:lnTo>
                    <a:pt x="918" y="900"/>
                  </a:lnTo>
                  <a:lnTo>
                    <a:pt x="924" y="900"/>
                  </a:lnTo>
                  <a:lnTo>
                    <a:pt x="924" y="894"/>
                  </a:lnTo>
                  <a:lnTo>
                    <a:pt x="924" y="870"/>
                  </a:lnTo>
                  <a:lnTo>
                    <a:pt x="924" y="864"/>
                  </a:lnTo>
                  <a:lnTo>
                    <a:pt x="918" y="858"/>
                  </a:lnTo>
                  <a:lnTo>
                    <a:pt x="918" y="852"/>
                  </a:lnTo>
                  <a:lnTo>
                    <a:pt x="906" y="840"/>
                  </a:lnTo>
                  <a:lnTo>
                    <a:pt x="894" y="834"/>
                  </a:lnTo>
                  <a:lnTo>
                    <a:pt x="876" y="822"/>
                  </a:lnTo>
                  <a:lnTo>
                    <a:pt x="870" y="828"/>
                  </a:lnTo>
                  <a:lnTo>
                    <a:pt x="858" y="816"/>
                  </a:lnTo>
                  <a:lnTo>
                    <a:pt x="810" y="798"/>
                  </a:lnTo>
                  <a:lnTo>
                    <a:pt x="774" y="792"/>
                  </a:lnTo>
                  <a:lnTo>
                    <a:pt x="732" y="798"/>
                  </a:lnTo>
                  <a:lnTo>
                    <a:pt x="726" y="804"/>
                  </a:lnTo>
                  <a:lnTo>
                    <a:pt x="714" y="810"/>
                  </a:lnTo>
                  <a:lnTo>
                    <a:pt x="702" y="810"/>
                  </a:lnTo>
                  <a:lnTo>
                    <a:pt x="690" y="810"/>
                  </a:lnTo>
                  <a:lnTo>
                    <a:pt x="696" y="816"/>
                  </a:lnTo>
                  <a:lnTo>
                    <a:pt x="696" y="822"/>
                  </a:lnTo>
                  <a:lnTo>
                    <a:pt x="702" y="822"/>
                  </a:lnTo>
                  <a:lnTo>
                    <a:pt x="708" y="822"/>
                  </a:lnTo>
                  <a:lnTo>
                    <a:pt x="708" y="828"/>
                  </a:lnTo>
                  <a:lnTo>
                    <a:pt x="708" y="834"/>
                  </a:lnTo>
                  <a:lnTo>
                    <a:pt x="714" y="834"/>
                  </a:lnTo>
                  <a:lnTo>
                    <a:pt x="708" y="846"/>
                  </a:lnTo>
                  <a:lnTo>
                    <a:pt x="708" y="852"/>
                  </a:lnTo>
                  <a:lnTo>
                    <a:pt x="702" y="852"/>
                  </a:lnTo>
                  <a:lnTo>
                    <a:pt x="696" y="858"/>
                  </a:lnTo>
                  <a:lnTo>
                    <a:pt x="690" y="864"/>
                  </a:lnTo>
                  <a:lnTo>
                    <a:pt x="666" y="870"/>
                  </a:lnTo>
                  <a:lnTo>
                    <a:pt x="660" y="876"/>
                  </a:lnTo>
                  <a:lnTo>
                    <a:pt x="642" y="876"/>
                  </a:lnTo>
                  <a:lnTo>
                    <a:pt x="606" y="882"/>
                  </a:lnTo>
                  <a:lnTo>
                    <a:pt x="588" y="882"/>
                  </a:lnTo>
                  <a:lnTo>
                    <a:pt x="582" y="876"/>
                  </a:lnTo>
                  <a:lnTo>
                    <a:pt x="576" y="876"/>
                  </a:lnTo>
                  <a:lnTo>
                    <a:pt x="564" y="876"/>
                  </a:lnTo>
                  <a:lnTo>
                    <a:pt x="552" y="882"/>
                  </a:lnTo>
                  <a:lnTo>
                    <a:pt x="540" y="894"/>
                  </a:lnTo>
                  <a:lnTo>
                    <a:pt x="534" y="906"/>
                  </a:lnTo>
                  <a:lnTo>
                    <a:pt x="528" y="912"/>
                  </a:lnTo>
                  <a:lnTo>
                    <a:pt x="516" y="924"/>
                  </a:lnTo>
                  <a:lnTo>
                    <a:pt x="486" y="930"/>
                  </a:lnTo>
                  <a:lnTo>
                    <a:pt x="474" y="912"/>
                  </a:lnTo>
                  <a:lnTo>
                    <a:pt x="474" y="906"/>
                  </a:lnTo>
                  <a:lnTo>
                    <a:pt x="468" y="906"/>
                  </a:lnTo>
                  <a:lnTo>
                    <a:pt x="468" y="900"/>
                  </a:lnTo>
                  <a:lnTo>
                    <a:pt x="462" y="894"/>
                  </a:lnTo>
                  <a:lnTo>
                    <a:pt x="456" y="894"/>
                  </a:lnTo>
                  <a:lnTo>
                    <a:pt x="462" y="888"/>
                  </a:lnTo>
                  <a:lnTo>
                    <a:pt x="468" y="888"/>
                  </a:lnTo>
                  <a:lnTo>
                    <a:pt x="462" y="882"/>
                  </a:lnTo>
                  <a:lnTo>
                    <a:pt x="462" y="876"/>
                  </a:lnTo>
                  <a:lnTo>
                    <a:pt x="456" y="870"/>
                  </a:lnTo>
                  <a:lnTo>
                    <a:pt x="456" y="864"/>
                  </a:lnTo>
                  <a:lnTo>
                    <a:pt x="450" y="858"/>
                  </a:lnTo>
                  <a:lnTo>
                    <a:pt x="444" y="858"/>
                  </a:lnTo>
                  <a:lnTo>
                    <a:pt x="444" y="852"/>
                  </a:lnTo>
                  <a:lnTo>
                    <a:pt x="438" y="852"/>
                  </a:lnTo>
                  <a:lnTo>
                    <a:pt x="438" y="858"/>
                  </a:lnTo>
                  <a:lnTo>
                    <a:pt x="402" y="870"/>
                  </a:lnTo>
                  <a:lnTo>
                    <a:pt x="390" y="882"/>
                  </a:lnTo>
                  <a:lnTo>
                    <a:pt x="384" y="900"/>
                  </a:lnTo>
                  <a:lnTo>
                    <a:pt x="342" y="900"/>
                  </a:lnTo>
                  <a:lnTo>
                    <a:pt x="324" y="900"/>
                  </a:lnTo>
                  <a:lnTo>
                    <a:pt x="294" y="906"/>
                  </a:lnTo>
                  <a:lnTo>
                    <a:pt x="282" y="948"/>
                  </a:lnTo>
                  <a:lnTo>
                    <a:pt x="282" y="978"/>
                  </a:lnTo>
                  <a:lnTo>
                    <a:pt x="270" y="1008"/>
                  </a:lnTo>
                  <a:lnTo>
                    <a:pt x="240" y="1014"/>
                  </a:lnTo>
                  <a:lnTo>
                    <a:pt x="216" y="996"/>
                  </a:lnTo>
                  <a:lnTo>
                    <a:pt x="204" y="984"/>
                  </a:lnTo>
                  <a:lnTo>
                    <a:pt x="192" y="966"/>
                  </a:lnTo>
                  <a:lnTo>
                    <a:pt x="186" y="948"/>
                  </a:lnTo>
                  <a:lnTo>
                    <a:pt x="174" y="948"/>
                  </a:lnTo>
                  <a:lnTo>
                    <a:pt x="174" y="936"/>
                  </a:lnTo>
                  <a:lnTo>
                    <a:pt x="186" y="924"/>
                  </a:lnTo>
                  <a:lnTo>
                    <a:pt x="198" y="906"/>
                  </a:lnTo>
                  <a:lnTo>
                    <a:pt x="204" y="888"/>
                  </a:lnTo>
                  <a:lnTo>
                    <a:pt x="222" y="870"/>
                  </a:lnTo>
                  <a:lnTo>
                    <a:pt x="234" y="858"/>
                  </a:lnTo>
                  <a:lnTo>
                    <a:pt x="234" y="852"/>
                  </a:lnTo>
                  <a:lnTo>
                    <a:pt x="222" y="852"/>
                  </a:lnTo>
                  <a:lnTo>
                    <a:pt x="228" y="810"/>
                  </a:lnTo>
                  <a:lnTo>
                    <a:pt x="222" y="798"/>
                  </a:lnTo>
                  <a:lnTo>
                    <a:pt x="216" y="798"/>
                  </a:lnTo>
                  <a:lnTo>
                    <a:pt x="216" y="792"/>
                  </a:lnTo>
                  <a:lnTo>
                    <a:pt x="210" y="792"/>
                  </a:lnTo>
                  <a:lnTo>
                    <a:pt x="204" y="798"/>
                  </a:lnTo>
                  <a:lnTo>
                    <a:pt x="204" y="792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0" y="786"/>
                  </a:lnTo>
                  <a:lnTo>
                    <a:pt x="174" y="792"/>
                  </a:lnTo>
                  <a:lnTo>
                    <a:pt x="162" y="792"/>
                  </a:lnTo>
                  <a:lnTo>
                    <a:pt x="156" y="792"/>
                  </a:lnTo>
                  <a:lnTo>
                    <a:pt x="156" y="798"/>
                  </a:lnTo>
                  <a:lnTo>
                    <a:pt x="138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6" y="804"/>
                  </a:lnTo>
                  <a:lnTo>
                    <a:pt x="102" y="810"/>
                  </a:lnTo>
                  <a:lnTo>
                    <a:pt x="90" y="810"/>
                  </a:lnTo>
                  <a:lnTo>
                    <a:pt x="72" y="798"/>
                  </a:lnTo>
                  <a:lnTo>
                    <a:pt x="66" y="780"/>
                  </a:lnTo>
                  <a:lnTo>
                    <a:pt x="60" y="780"/>
                  </a:lnTo>
                  <a:lnTo>
                    <a:pt x="60" y="768"/>
                  </a:lnTo>
                  <a:lnTo>
                    <a:pt x="54" y="768"/>
                  </a:lnTo>
                  <a:lnTo>
                    <a:pt x="24" y="756"/>
                  </a:lnTo>
                  <a:lnTo>
                    <a:pt x="18" y="744"/>
                  </a:lnTo>
                  <a:lnTo>
                    <a:pt x="12" y="738"/>
                  </a:lnTo>
                  <a:lnTo>
                    <a:pt x="18" y="732"/>
                  </a:lnTo>
                  <a:lnTo>
                    <a:pt x="12" y="726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8" y="696"/>
                  </a:lnTo>
                  <a:lnTo>
                    <a:pt x="24" y="708"/>
                  </a:lnTo>
                  <a:lnTo>
                    <a:pt x="36" y="702"/>
                  </a:lnTo>
                  <a:lnTo>
                    <a:pt x="36" y="678"/>
                  </a:lnTo>
                  <a:lnTo>
                    <a:pt x="36" y="660"/>
                  </a:lnTo>
                  <a:lnTo>
                    <a:pt x="42" y="654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72" y="624"/>
                  </a:lnTo>
                  <a:lnTo>
                    <a:pt x="90" y="618"/>
                  </a:lnTo>
                  <a:lnTo>
                    <a:pt x="102" y="618"/>
                  </a:lnTo>
                  <a:lnTo>
                    <a:pt x="114" y="612"/>
                  </a:lnTo>
                  <a:lnTo>
                    <a:pt x="138" y="606"/>
                  </a:lnTo>
                  <a:lnTo>
                    <a:pt x="144" y="606"/>
                  </a:lnTo>
                  <a:lnTo>
                    <a:pt x="150" y="594"/>
                  </a:lnTo>
                  <a:lnTo>
                    <a:pt x="156" y="576"/>
                  </a:lnTo>
                  <a:lnTo>
                    <a:pt x="168" y="552"/>
                  </a:lnTo>
                  <a:lnTo>
                    <a:pt x="168" y="540"/>
                  </a:lnTo>
                  <a:lnTo>
                    <a:pt x="180" y="522"/>
                  </a:lnTo>
                  <a:lnTo>
                    <a:pt x="186" y="498"/>
                  </a:lnTo>
                  <a:lnTo>
                    <a:pt x="198" y="480"/>
                  </a:lnTo>
                  <a:lnTo>
                    <a:pt x="204" y="486"/>
                  </a:lnTo>
                  <a:lnTo>
                    <a:pt x="210" y="480"/>
                  </a:lnTo>
                  <a:lnTo>
                    <a:pt x="204" y="474"/>
                  </a:lnTo>
                  <a:lnTo>
                    <a:pt x="198" y="462"/>
                  </a:lnTo>
                  <a:lnTo>
                    <a:pt x="192" y="456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50"/>
                  </a:lnTo>
                  <a:lnTo>
                    <a:pt x="132" y="426"/>
                  </a:lnTo>
                  <a:lnTo>
                    <a:pt x="132" y="396"/>
                  </a:lnTo>
                  <a:lnTo>
                    <a:pt x="132" y="378"/>
                  </a:lnTo>
                  <a:lnTo>
                    <a:pt x="126" y="348"/>
                  </a:lnTo>
                  <a:lnTo>
                    <a:pt x="132" y="312"/>
                  </a:lnTo>
                  <a:lnTo>
                    <a:pt x="126" y="288"/>
                  </a:lnTo>
                  <a:lnTo>
                    <a:pt x="138" y="282"/>
                  </a:lnTo>
                  <a:lnTo>
                    <a:pt x="126" y="264"/>
                  </a:lnTo>
                  <a:lnTo>
                    <a:pt x="126" y="258"/>
                  </a:lnTo>
                  <a:lnTo>
                    <a:pt x="120" y="246"/>
                  </a:lnTo>
                  <a:lnTo>
                    <a:pt x="126" y="234"/>
                  </a:lnTo>
                  <a:lnTo>
                    <a:pt x="114" y="228"/>
                  </a:lnTo>
                  <a:lnTo>
                    <a:pt x="114" y="222"/>
                  </a:lnTo>
                  <a:lnTo>
                    <a:pt x="96" y="204"/>
                  </a:lnTo>
                  <a:lnTo>
                    <a:pt x="84" y="180"/>
                  </a:lnTo>
                  <a:lnTo>
                    <a:pt x="78" y="168"/>
                  </a:lnTo>
                  <a:lnTo>
                    <a:pt x="72" y="162"/>
                  </a:lnTo>
                  <a:lnTo>
                    <a:pt x="66" y="144"/>
                  </a:lnTo>
                  <a:lnTo>
                    <a:pt x="60" y="138"/>
                  </a:lnTo>
                  <a:lnTo>
                    <a:pt x="66" y="126"/>
                  </a:lnTo>
                  <a:lnTo>
                    <a:pt x="66" y="114"/>
                  </a:lnTo>
                  <a:lnTo>
                    <a:pt x="72" y="114"/>
                  </a:lnTo>
                  <a:lnTo>
                    <a:pt x="72" y="108"/>
                  </a:lnTo>
                  <a:lnTo>
                    <a:pt x="78" y="102"/>
                  </a:lnTo>
                  <a:lnTo>
                    <a:pt x="78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120" y="78"/>
                  </a:lnTo>
                  <a:lnTo>
                    <a:pt x="144" y="84"/>
                  </a:lnTo>
                  <a:lnTo>
                    <a:pt x="150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74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92" y="102"/>
                  </a:lnTo>
                  <a:lnTo>
                    <a:pt x="198" y="96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16" y="96"/>
                  </a:lnTo>
                  <a:lnTo>
                    <a:pt x="222" y="96"/>
                  </a:lnTo>
                  <a:lnTo>
                    <a:pt x="228" y="96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94" y="114"/>
                  </a:lnTo>
                  <a:lnTo>
                    <a:pt x="312" y="120"/>
                  </a:lnTo>
                  <a:lnTo>
                    <a:pt x="318" y="126"/>
                  </a:lnTo>
                  <a:lnTo>
                    <a:pt x="330" y="132"/>
                  </a:lnTo>
                  <a:lnTo>
                    <a:pt x="342" y="132"/>
                  </a:lnTo>
                  <a:lnTo>
                    <a:pt x="348" y="132"/>
                  </a:lnTo>
                  <a:lnTo>
                    <a:pt x="354" y="138"/>
                  </a:lnTo>
                  <a:lnTo>
                    <a:pt x="366" y="138"/>
                  </a:lnTo>
                  <a:lnTo>
                    <a:pt x="372" y="144"/>
                  </a:lnTo>
                  <a:lnTo>
                    <a:pt x="378" y="150"/>
                  </a:lnTo>
                  <a:lnTo>
                    <a:pt x="384" y="150"/>
                  </a:lnTo>
                  <a:lnTo>
                    <a:pt x="390" y="150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14" y="156"/>
                  </a:lnTo>
                  <a:lnTo>
                    <a:pt x="420" y="156"/>
                  </a:lnTo>
                  <a:lnTo>
                    <a:pt x="426" y="162"/>
                  </a:lnTo>
                  <a:lnTo>
                    <a:pt x="438" y="168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62" y="174"/>
                  </a:lnTo>
                  <a:lnTo>
                    <a:pt x="468" y="174"/>
                  </a:lnTo>
                  <a:lnTo>
                    <a:pt x="474" y="174"/>
                  </a:lnTo>
                  <a:lnTo>
                    <a:pt x="474" y="180"/>
                  </a:lnTo>
                  <a:lnTo>
                    <a:pt x="480" y="192"/>
                  </a:lnTo>
                  <a:lnTo>
                    <a:pt x="498" y="198"/>
                  </a:lnTo>
                  <a:lnTo>
                    <a:pt x="510" y="210"/>
                  </a:lnTo>
                  <a:lnTo>
                    <a:pt x="516" y="210"/>
                  </a:lnTo>
                  <a:lnTo>
                    <a:pt x="522" y="210"/>
                  </a:lnTo>
                  <a:lnTo>
                    <a:pt x="534" y="216"/>
                  </a:lnTo>
                  <a:lnTo>
                    <a:pt x="540" y="216"/>
                  </a:lnTo>
                  <a:lnTo>
                    <a:pt x="546" y="222"/>
                  </a:lnTo>
                  <a:lnTo>
                    <a:pt x="552" y="222"/>
                  </a:lnTo>
                  <a:lnTo>
                    <a:pt x="558" y="228"/>
                  </a:lnTo>
                  <a:lnTo>
                    <a:pt x="564" y="228"/>
                  </a:lnTo>
                  <a:lnTo>
                    <a:pt x="570" y="234"/>
                  </a:lnTo>
                  <a:lnTo>
                    <a:pt x="576" y="240"/>
                  </a:lnTo>
                  <a:lnTo>
                    <a:pt x="582" y="240"/>
                  </a:lnTo>
                  <a:lnTo>
                    <a:pt x="588" y="240"/>
                  </a:lnTo>
                  <a:lnTo>
                    <a:pt x="594" y="240"/>
                  </a:lnTo>
                  <a:lnTo>
                    <a:pt x="600" y="228"/>
                  </a:lnTo>
                  <a:lnTo>
                    <a:pt x="588" y="216"/>
                  </a:lnTo>
                  <a:lnTo>
                    <a:pt x="588" y="198"/>
                  </a:lnTo>
                  <a:lnTo>
                    <a:pt x="582" y="198"/>
                  </a:lnTo>
                  <a:lnTo>
                    <a:pt x="588" y="192"/>
                  </a:lnTo>
                  <a:lnTo>
                    <a:pt x="582" y="168"/>
                  </a:lnTo>
                  <a:lnTo>
                    <a:pt x="558" y="114"/>
                  </a:lnTo>
                  <a:lnTo>
                    <a:pt x="552" y="90"/>
                  </a:lnTo>
                  <a:lnTo>
                    <a:pt x="558" y="60"/>
                  </a:lnTo>
                  <a:lnTo>
                    <a:pt x="564" y="48"/>
                  </a:lnTo>
                  <a:lnTo>
                    <a:pt x="582" y="42"/>
                  </a:lnTo>
                  <a:lnTo>
                    <a:pt x="624" y="6"/>
                  </a:lnTo>
                  <a:lnTo>
                    <a:pt x="648" y="0"/>
                  </a:lnTo>
                  <a:lnTo>
                    <a:pt x="678" y="0"/>
                  </a:lnTo>
                  <a:lnTo>
                    <a:pt x="720" y="12"/>
                  </a:lnTo>
                  <a:lnTo>
                    <a:pt x="744" y="24"/>
                  </a:lnTo>
                  <a:lnTo>
                    <a:pt x="768" y="42"/>
                  </a:lnTo>
                  <a:lnTo>
                    <a:pt x="816" y="48"/>
                  </a:lnTo>
                  <a:lnTo>
                    <a:pt x="834" y="48"/>
                  </a:lnTo>
                  <a:lnTo>
                    <a:pt x="852" y="54"/>
                  </a:lnTo>
                  <a:lnTo>
                    <a:pt x="906" y="60"/>
                  </a:lnTo>
                  <a:lnTo>
                    <a:pt x="948" y="54"/>
                  </a:lnTo>
                  <a:lnTo>
                    <a:pt x="978" y="42"/>
                  </a:lnTo>
                  <a:lnTo>
                    <a:pt x="984" y="48"/>
                  </a:lnTo>
                  <a:lnTo>
                    <a:pt x="990" y="60"/>
                  </a:lnTo>
                  <a:lnTo>
                    <a:pt x="996" y="66"/>
                  </a:lnTo>
                  <a:lnTo>
                    <a:pt x="1002" y="72"/>
                  </a:lnTo>
                  <a:lnTo>
                    <a:pt x="1014" y="78"/>
                  </a:lnTo>
                  <a:lnTo>
                    <a:pt x="1014" y="84"/>
                  </a:lnTo>
                  <a:lnTo>
                    <a:pt x="1032" y="84"/>
                  </a:lnTo>
                  <a:lnTo>
                    <a:pt x="1032" y="90"/>
                  </a:lnTo>
                  <a:lnTo>
                    <a:pt x="1032" y="96"/>
                  </a:lnTo>
                  <a:lnTo>
                    <a:pt x="1032" y="108"/>
                  </a:lnTo>
                  <a:lnTo>
                    <a:pt x="1056" y="126"/>
                  </a:lnTo>
                  <a:lnTo>
                    <a:pt x="1068" y="138"/>
                  </a:lnTo>
                  <a:lnTo>
                    <a:pt x="1068" y="156"/>
                  </a:lnTo>
                  <a:lnTo>
                    <a:pt x="1080" y="150"/>
                  </a:lnTo>
                  <a:lnTo>
                    <a:pt x="1086" y="150"/>
                  </a:lnTo>
                  <a:lnTo>
                    <a:pt x="1092" y="156"/>
                  </a:lnTo>
                  <a:lnTo>
                    <a:pt x="1092" y="162"/>
                  </a:lnTo>
                  <a:lnTo>
                    <a:pt x="1092" y="168"/>
                  </a:lnTo>
                  <a:lnTo>
                    <a:pt x="1098" y="168"/>
                  </a:lnTo>
                  <a:lnTo>
                    <a:pt x="1092" y="180"/>
                  </a:lnTo>
                  <a:lnTo>
                    <a:pt x="1092" y="186"/>
                  </a:lnTo>
                  <a:lnTo>
                    <a:pt x="1086" y="192"/>
                  </a:lnTo>
                  <a:lnTo>
                    <a:pt x="1068" y="210"/>
                  </a:lnTo>
                  <a:lnTo>
                    <a:pt x="1068" y="216"/>
                  </a:lnTo>
                  <a:lnTo>
                    <a:pt x="1074" y="228"/>
                  </a:lnTo>
                  <a:lnTo>
                    <a:pt x="1092" y="234"/>
                  </a:lnTo>
                  <a:lnTo>
                    <a:pt x="1122" y="216"/>
                  </a:lnTo>
                  <a:lnTo>
                    <a:pt x="1188" y="204"/>
                  </a:lnTo>
                  <a:lnTo>
                    <a:pt x="1212" y="204"/>
                  </a:lnTo>
                  <a:lnTo>
                    <a:pt x="1230" y="198"/>
                  </a:lnTo>
                  <a:lnTo>
                    <a:pt x="1236" y="204"/>
                  </a:lnTo>
                  <a:lnTo>
                    <a:pt x="1242" y="210"/>
                  </a:lnTo>
                  <a:lnTo>
                    <a:pt x="1242" y="204"/>
                  </a:lnTo>
                  <a:lnTo>
                    <a:pt x="1248" y="198"/>
                  </a:lnTo>
                  <a:lnTo>
                    <a:pt x="1308" y="204"/>
                  </a:lnTo>
                  <a:lnTo>
                    <a:pt x="1338" y="204"/>
                  </a:lnTo>
                  <a:lnTo>
                    <a:pt x="1374" y="228"/>
                  </a:lnTo>
                  <a:lnTo>
                    <a:pt x="1380" y="234"/>
                  </a:lnTo>
                  <a:lnTo>
                    <a:pt x="1380" y="240"/>
                  </a:lnTo>
                  <a:lnTo>
                    <a:pt x="1386" y="252"/>
                  </a:lnTo>
                  <a:lnTo>
                    <a:pt x="1392" y="252"/>
                  </a:lnTo>
                  <a:lnTo>
                    <a:pt x="1416" y="270"/>
                  </a:lnTo>
                  <a:lnTo>
                    <a:pt x="1428" y="294"/>
                  </a:lnTo>
                  <a:lnTo>
                    <a:pt x="1440" y="312"/>
                  </a:lnTo>
                  <a:lnTo>
                    <a:pt x="1452" y="330"/>
                  </a:lnTo>
                  <a:lnTo>
                    <a:pt x="1464" y="330"/>
                  </a:lnTo>
                  <a:lnTo>
                    <a:pt x="1464" y="336"/>
                  </a:lnTo>
                  <a:lnTo>
                    <a:pt x="1470" y="336"/>
                  </a:lnTo>
                  <a:lnTo>
                    <a:pt x="1470" y="342"/>
                  </a:lnTo>
                  <a:lnTo>
                    <a:pt x="1476" y="342"/>
                  </a:lnTo>
                  <a:lnTo>
                    <a:pt x="1488" y="336"/>
                  </a:lnTo>
                  <a:lnTo>
                    <a:pt x="1494" y="342"/>
                  </a:lnTo>
                  <a:lnTo>
                    <a:pt x="1500" y="342"/>
                  </a:lnTo>
                  <a:lnTo>
                    <a:pt x="1512" y="366"/>
                  </a:lnTo>
                  <a:lnTo>
                    <a:pt x="1530" y="396"/>
                  </a:lnTo>
                  <a:lnTo>
                    <a:pt x="1536" y="444"/>
                  </a:lnTo>
                  <a:lnTo>
                    <a:pt x="1530" y="480"/>
                  </a:lnTo>
                  <a:lnTo>
                    <a:pt x="1506" y="510"/>
                  </a:lnTo>
                  <a:lnTo>
                    <a:pt x="1500" y="546"/>
                  </a:lnTo>
                  <a:lnTo>
                    <a:pt x="1494" y="564"/>
                  </a:lnTo>
                  <a:lnTo>
                    <a:pt x="1494" y="576"/>
                  </a:lnTo>
                  <a:lnTo>
                    <a:pt x="1500" y="582"/>
                  </a:lnTo>
                  <a:lnTo>
                    <a:pt x="1494" y="612"/>
                  </a:lnTo>
                  <a:lnTo>
                    <a:pt x="1476" y="630"/>
                  </a:lnTo>
                  <a:lnTo>
                    <a:pt x="1434" y="672"/>
                  </a:lnTo>
                  <a:lnTo>
                    <a:pt x="1392" y="756"/>
                  </a:lnTo>
                  <a:lnTo>
                    <a:pt x="1380" y="792"/>
                  </a:lnTo>
                  <a:lnTo>
                    <a:pt x="1374" y="798"/>
                  </a:lnTo>
                  <a:lnTo>
                    <a:pt x="1368" y="798"/>
                  </a:lnTo>
                  <a:lnTo>
                    <a:pt x="1380" y="804"/>
                  </a:lnTo>
                  <a:lnTo>
                    <a:pt x="1386" y="804"/>
                  </a:lnTo>
                  <a:lnTo>
                    <a:pt x="1380" y="822"/>
                  </a:lnTo>
                  <a:lnTo>
                    <a:pt x="1380" y="852"/>
                  </a:lnTo>
                  <a:lnTo>
                    <a:pt x="1374" y="858"/>
                  </a:lnTo>
                  <a:lnTo>
                    <a:pt x="1380" y="858"/>
                  </a:lnTo>
                  <a:lnTo>
                    <a:pt x="1374" y="864"/>
                  </a:lnTo>
                  <a:lnTo>
                    <a:pt x="1374" y="870"/>
                  </a:lnTo>
                  <a:lnTo>
                    <a:pt x="1374" y="876"/>
                  </a:lnTo>
                  <a:lnTo>
                    <a:pt x="1368" y="900"/>
                  </a:lnTo>
                  <a:lnTo>
                    <a:pt x="1362" y="906"/>
                  </a:lnTo>
                  <a:lnTo>
                    <a:pt x="1362" y="918"/>
                  </a:lnTo>
                  <a:lnTo>
                    <a:pt x="1362" y="924"/>
                  </a:lnTo>
                  <a:lnTo>
                    <a:pt x="1356" y="942"/>
                  </a:lnTo>
                  <a:lnTo>
                    <a:pt x="1350" y="972"/>
                  </a:lnTo>
                  <a:lnTo>
                    <a:pt x="1350" y="1014"/>
                  </a:lnTo>
                  <a:lnTo>
                    <a:pt x="1350" y="102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3" name="Freeform 18">
              <a:extLst>
                <a:ext uri="{FF2B5EF4-FFF2-40B4-BE49-F238E27FC236}">
                  <a16:creationId xmlns:a16="http://schemas.microsoft.com/office/drawing/2014/main" id="{EC11F2E0-3C06-46E2-8AD2-66EBE00FFE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32346" y="3837389"/>
              <a:ext cx="556811" cy="818559"/>
            </a:xfrm>
            <a:custGeom>
              <a:avLst/>
              <a:gdLst>
                <a:gd name="T0" fmla="*/ 12 w 1044"/>
                <a:gd name="T1" fmla="*/ 95 h 1542"/>
                <a:gd name="T2" fmla="*/ 7 w 1044"/>
                <a:gd name="T3" fmla="*/ 93 h 1542"/>
                <a:gd name="T4" fmla="*/ 0 w 1044"/>
                <a:gd name="T5" fmla="*/ 88 h 1542"/>
                <a:gd name="T6" fmla="*/ 3 w 1044"/>
                <a:gd name="T7" fmla="*/ 74 h 1542"/>
                <a:gd name="T8" fmla="*/ 4 w 1044"/>
                <a:gd name="T9" fmla="*/ 59 h 1542"/>
                <a:gd name="T10" fmla="*/ 7 w 1044"/>
                <a:gd name="T11" fmla="*/ 52 h 1542"/>
                <a:gd name="T12" fmla="*/ 20 w 1044"/>
                <a:gd name="T13" fmla="*/ 50 h 1542"/>
                <a:gd name="T14" fmla="*/ 24 w 1044"/>
                <a:gd name="T15" fmla="*/ 46 h 1542"/>
                <a:gd name="T16" fmla="*/ 29 w 1044"/>
                <a:gd name="T17" fmla="*/ 33 h 1542"/>
                <a:gd name="T18" fmla="*/ 32 w 1044"/>
                <a:gd name="T19" fmla="*/ 26 h 1542"/>
                <a:gd name="T20" fmla="*/ 30 w 1044"/>
                <a:gd name="T21" fmla="*/ 20 h 1542"/>
                <a:gd name="T22" fmla="*/ 26 w 1044"/>
                <a:gd name="T23" fmla="*/ 17 h 1542"/>
                <a:gd name="T24" fmla="*/ 28 w 1044"/>
                <a:gd name="T25" fmla="*/ 12 h 1542"/>
                <a:gd name="T26" fmla="*/ 44 w 1044"/>
                <a:gd name="T27" fmla="*/ 5 h 1542"/>
                <a:gd name="T28" fmla="*/ 57 w 1044"/>
                <a:gd name="T29" fmla="*/ 2 h 1542"/>
                <a:gd name="T30" fmla="*/ 65 w 1044"/>
                <a:gd name="T31" fmla="*/ 12 h 1542"/>
                <a:gd name="T32" fmla="*/ 81 w 1044"/>
                <a:gd name="T33" fmla="*/ 9 h 1542"/>
                <a:gd name="T34" fmla="*/ 91 w 1044"/>
                <a:gd name="T35" fmla="*/ 20 h 1542"/>
                <a:gd name="T36" fmla="*/ 89 w 1044"/>
                <a:gd name="T37" fmla="*/ 28 h 1542"/>
                <a:gd name="T38" fmla="*/ 83 w 1044"/>
                <a:gd name="T39" fmla="*/ 33 h 1542"/>
                <a:gd name="T40" fmla="*/ 74 w 1044"/>
                <a:gd name="T41" fmla="*/ 42 h 1542"/>
                <a:gd name="T42" fmla="*/ 58 w 1044"/>
                <a:gd name="T43" fmla="*/ 57 h 1542"/>
                <a:gd name="T44" fmla="*/ 54 w 1044"/>
                <a:gd name="T45" fmla="*/ 65 h 1542"/>
                <a:gd name="T46" fmla="*/ 59 w 1044"/>
                <a:gd name="T47" fmla="*/ 74 h 1542"/>
                <a:gd name="T48" fmla="*/ 55 w 1044"/>
                <a:gd name="T49" fmla="*/ 84 h 1542"/>
                <a:gd name="T50" fmla="*/ 52 w 1044"/>
                <a:gd name="T51" fmla="*/ 98 h 1542"/>
                <a:gd name="T52" fmla="*/ 47 w 1044"/>
                <a:gd name="T53" fmla="*/ 105 h 1542"/>
                <a:gd name="T54" fmla="*/ 42 w 1044"/>
                <a:gd name="T55" fmla="*/ 111 h 1542"/>
                <a:gd name="T56" fmla="*/ 43 w 1044"/>
                <a:gd name="T57" fmla="*/ 120 h 1542"/>
                <a:gd name="T58" fmla="*/ 45 w 1044"/>
                <a:gd name="T59" fmla="*/ 125 h 1542"/>
                <a:gd name="T60" fmla="*/ 44 w 1044"/>
                <a:gd name="T61" fmla="*/ 130 h 1542"/>
                <a:gd name="T62" fmla="*/ 45 w 1044"/>
                <a:gd name="T63" fmla="*/ 131 h 1542"/>
                <a:gd name="T64" fmla="*/ 48 w 1044"/>
                <a:gd name="T65" fmla="*/ 133 h 1542"/>
                <a:gd name="T66" fmla="*/ 39 w 1044"/>
                <a:gd name="T67" fmla="*/ 133 h 1542"/>
                <a:gd name="T68" fmla="*/ 42 w 1044"/>
                <a:gd name="T69" fmla="*/ 132 h 1542"/>
                <a:gd name="T70" fmla="*/ 38 w 1044"/>
                <a:gd name="T71" fmla="*/ 133 h 1542"/>
                <a:gd name="T72" fmla="*/ 37 w 1044"/>
                <a:gd name="T73" fmla="*/ 129 h 1542"/>
                <a:gd name="T74" fmla="*/ 40 w 1044"/>
                <a:gd name="T75" fmla="*/ 125 h 1542"/>
                <a:gd name="T76" fmla="*/ 40 w 1044"/>
                <a:gd name="T77" fmla="*/ 120 h 1542"/>
                <a:gd name="T78" fmla="*/ 40 w 1044"/>
                <a:gd name="T79" fmla="*/ 117 h 1542"/>
                <a:gd name="T80" fmla="*/ 37 w 1044"/>
                <a:gd name="T81" fmla="*/ 120 h 1542"/>
                <a:gd name="T82" fmla="*/ 34 w 1044"/>
                <a:gd name="T83" fmla="*/ 122 h 1542"/>
                <a:gd name="T84" fmla="*/ 36 w 1044"/>
                <a:gd name="T85" fmla="*/ 120 h 1542"/>
                <a:gd name="T86" fmla="*/ 30 w 1044"/>
                <a:gd name="T87" fmla="*/ 120 h 1542"/>
                <a:gd name="T88" fmla="*/ 31 w 1044"/>
                <a:gd name="T89" fmla="*/ 113 h 1542"/>
                <a:gd name="T90" fmla="*/ 29 w 1044"/>
                <a:gd name="T91" fmla="*/ 112 h 1542"/>
                <a:gd name="T92" fmla="*/ 31 w 1044"/>
                <a:gd name="T93" fmla="*/ 117 h 1542"/>
                <a:gd name="T94" fmla="*/ 27 w 1044"/>
                <a:gd name="T95" fmla="*/ 116 h 1542"/>
                <a:gd name="T96" fmla="*/ 25 w 1044"/>
                <a:gd name="T97" fmla="*/ 112 h 1542"/>
                <a:gd name="T98" fmla="*/ 21 w 1044"/>
                <a:gd name="T99" fmla="*/ 109 h 1542"/>
                <a:gd name="T100" fmla="*/ 21 w 1044"/>
                <a:gd name="T101" fmla="*/ 113 h 1542"/>
                <a:gd name="T102" fmla="*/ 40 w 1044"/>
                <a:gd name="T103" fmla="*/ 120 h 1542"/>
                <a:gd name="T104" fmla="*/ 40 w 1044"/>
                <a:gd name="T105" fmla="*/ 121 h 1542"/>
                <a:gd name="T106" fmla="*/ 40 w 1044"/>
                <a:gd name="T107" fmla="*/ 116 h 1542"/>
                <a:gd name="T108" fmla="*/ 38 w 1044"/>
                <a:gd name="T109" fmla="*/ 120 h 1542"/>
                <a:gd name="T110" fmla="*/ 23 w 1044"/>
                <a:gd name="T111" fmla="*/ 110 h 1542"/>
                <a:gd name="T112" fmla="*/ 37 w 1044"/>
                <a:gd name="T113" fmla="*/ 124 h 1542"/>
                <a:gd name="T114" fmla="*/ 40 w 1044"/>
                <a:gd name="T115" fmla="*/ 125 h 1542"/>
                <a:gd name="T116" fmla="*/ 38 w 1044"/>
                <a:gd name="T117" fmla="*/ 128 h 1542"/>
                <a:gd name="T118" fmla="*/ 25 w 1044"/>
                <a:gd name="T119" fmla="*/ 117 h 1542"/>
                <a:gd name="T120" fmla="*/ 27 w 1044"/>
                <a:gd name="T121" fmla="*/ 127 h 1542"/>
                <a:gd name="T122" fmla="*/ 24 w 1044"/>
                <a:gd name="T123" fmla="*/ 113 h 15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4"/>
                <a:gd name="T187" fmla="*/ 0 h 1542"/>
                <a:gd name="T188" fmla="*/ 1044 w 1044"/>
                <a:gd name="T189" fmla="*/ 1542 h 154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4" h="1542">
                  <a:moveTo>
                    <a:pt x="234" y="1278"/>
                  </a:moveTo>
                  <a:lnTo>
                    <a:pt x="228" y="1272"/>
                  </a:lnTo>
                  <a:lnTo>
                    <a:pt x="222" y="1266"/>
                  </a:lnTo>
                  <a:lnTo>
                    <a:pt x="222" y="1260"/>
                  </a:lnTo>
                  <a:lnTo>
                    <a:pt x="204" y="1248"/>
                  </a:lnTo>
                  <a:lnTo>
                    <a:pt x="192" y="1248"/>
                  </a:lnTo>
                  <a:lnTo>
                    <a:pt x="186" y="1236"/>
                  </a:lnTo>
                  <a:lnTo>
                    <a:pt x="174" y="1218"/>
                  </a:lnTo>
                  <a:lnTo>
                    <a:pt x="162" y="1194"/>
                  </a:lnTo>
                  <a:lnTo>
                    <a:pt x="156" y="1182"/>
                  </a:lnTo>
                  <a:lnTo>
                    <a:pt x="162" y="1146"/>
                  </a:lnTo>
                  <a:lnTo>
                    <a:pt x="156" y="1134"/>
                  </a:lnTo>
                  <a:lnTo>
                    <a:pt x="138" y="1122"/>
                  </a:lnTo>
                  <a:lnTo>
                    <a:pt x="132" y="1116"/>
                  </a:lnTo>
                  <a:lnTo>
                    <a:pt x="138" y="1098"/>
                  </a:lnTo>
                  <a:lnTo>
                    <a:pt x="138" y="1092"/>
                  </a:lnTo>
                  <a:lnTo>
                    <a:pt x="138" y="1086"/>
                  </a:lnTo>
                  <a:lnTo>
                    <a:pt x="132" y="1074"/>
                  </a:lnTo>
                  <a:lnTo>
                    <a:pt x="126" y="1074"/>
                  </a:lnTo>
                  <a:lnTo>
                    <a:pt x="126" y="1068"/>
                  </a:lnTo>
                  <a:lnTo>
                    <a:pt x="120" y="1062"/>
                  </a:lnTo>
                  <a:lnTo>
                    <a:pt x="120" y="1056"/>
                  </a:lnTo>
                  <a:lnTo>
                    <a:pt x="114" y="1050"/>
                  </a:lnTo>
                  <a:lnTo>
                    <a:pt x="108" y="1050"/>
                  </a:lnTo>
                  <a:lnTo>
                    <a:pt x="102" y="1056"/>
                  </a:lnTo>
                  <a:lnTo>
                    <a:pt x="102" y="1062"/>
                  </a:lnTo>
                  <a:lnTo>
                    <a:pt x="96" y="1062"/>
                  </a:lnTo>
                  <a:lnTo>
                    <a:pt x="96" y="1068"/>
                  </a:lnTo>
                  <a:lnTo>
                    <a:pt x="96" y="1074"/>
                  </a:lnTo>
                  <a:lnTo>
                    <a:pt x="90" y="1074"/>
                  </a:lnTo>
                  <a:lnTo>
                    <a:pt x="84" y="1080"/>
                  </a:lnTo>
                  <a:lnTo>
                    <a:pt x="78" y="1074"/>
                  </a:lnTo>
                  <a:lnTo>
                    <a:pt x="72" y="1074"/>
                  </a:lnTo>
                  <a:lnTo>
                    <a:pt x="72" y="1068"/>
                  </a:lnTo>
                  <a:lnTo>
                    <a:pt x="72" y="1062"/>
                  </a:lnTo>
                  <a:lnTo>
                    <a:pt x="60" y="1056"/>
                  </a:lnTo>
                  <a:lnTo>
                    <a:pt x="60" y="1044"/>
                  </a:lnTo>
                  <a:lnTo>
                    <a:pt x="60" y="1032"/>
                  </a:lnTo>
                  <a:lnTo>
                    <a:pt x="60" y="1026"/>
                  </a:lnTo>
                  <a:lnTo>
                    <a:pt x="54" y="1026"/>
                  </a:lnTo>
                  <a:lnTo>
                    <a:pt x="48" y="1014"/>
                  </a:lnTo>
                  <a:lnTo>
                    <a:pt x="42" y="1008"/>
                  </a:lnTo>
                  <a:lnTo>
                    <a:pt x="30" y="1008"/>
                  </a:lnTo>
                  <a:lnTo>
                    <a:pt x="30" y="1002"/>
                  </a:lnTo>
                  <a:lnTo>
                    <a:pt x="24" y="1008"/>
                  </a:lnTo>
                  <a:lnTo>
                    <a:pt x="12" y="1008"/>
                  </a:lnTo>
                  <a:lnTo>
                    <a:pt x="6" y="1008"/>
                  </a:lnTo>
                  <a:lnTo>
                    <a:pt x="0" y="1008"/>
                  </a:lnTo>
                  <a:lnTo>
                    <a:pt x="0" y="1002"/>
                  </a:lnTo>
                  <a:lnTo>
                    <a:pt x="6" y="990"/>
                  </a:lnTo>
                  <a:lnTo>
                    <a:pt x="6" y="984"/>
                  </a:lnTo>
                  <a:lnTo>
                    <a:pt x="0" y="978"/>
                  </a:lnTo>
                  <a:lnTo>
                    <a:pt x="6" y="972"/>
                  </a:lnTo>
                  <a:lnTo>
                    <a:pt x="12" y="972"/>
                  </a:lnTo>
                  <a:lnTo>
                    <a:pt x="72" y="978"/>
                  </a:lnTo>
                  <a:lnTo>
                    <a:pt x="78" y="972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30"/>
                  </a:lnTo>
                  <a:lnTo>
                    <a:pt x="54" y="912"/>
                  </a:lnTo>
                  <a:lnTo>
                    <a:pt x="42" y="906"/>
                  </a:lnTo>
                  <a:lnTo>
                    <a:pt x="36" y="894"/>
                  </a:lnTo>
                  <a:lnTo>
                    <a:pt x="30" y="876"/>
                  </a:lnTo>
                  <a:lnTo>
                    <a:pt x="30" y="858"/>
                  </a:lnTo>
                  <a:lnTo>
                    <a:pt x="30" y="840"/>
                  </a:lnTo>
                  <a:lnTo>
                    <a:pt x="36" y="816"/>
                  </a:lnTo>
                  <a:lnTo>
                    <a:pt x="36" y="792"/>
                  </a:lnTo>
                  <a:lnTo>
                    <a:pt x="36" y="780"/>
                  </a:lnTo>
                  <a:lnTo>
                    <a:pt x="12" y="774"/>
                  </a:lnTo>
                  <a:lnTo>
                    <a:pt x="24" y="756"/>
                  </a:lnTo>
                  <a:lnTo>
                    <a:pt x="24" y="744"/>
                  </a:lnTo>
                  <a:lnTo>
                    <a:pt x="30" y="738"/>
                  </a:lnTo>
                  <a:lnTo>
                    <a:pt x="30" y="732"/>
                  </a:lnTo>
                  <a:lnTo>
                    <a:pt x="36" y="720"/>
                  </a:lnTo>
                  <a:lnTo>
                    <a:pt x="42" y="714"/>
                  </a:lnTo>
                  <a:lnTo>
                    <a:pt x="54" y="708"/>
                  </a:lnTo>
                  <a:lnTo>
                    <a:pt x="60" y="702"/>
                  </a:lnTo>
                  <a:lnTo>
                    <a:pt x="48" y="690"/>
                  </a:lnTo>
                  <a:lnTo>
                    <a:pt x="48" y="684"/>
                  </a:lnTo>
                  <a:lnTo>
                    <a:pt x="48" y="678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66"/>
                  </a:lnTo>
                  <a:lnTo>
                    <a:pt x="72" y="654"/>
                  </a:lnTo>
                  <a:lnTo>
                    <a:pt x="72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84" y="630"/>
                  </a:lnTo>
                  <a:lnTo>
                    <a:pt x="90" y="630"/>
                  </a:lnTo>
                  <a:lnTo>
                    <a:pt x="96" y="630"/>
                  </a:lnTo>
                  <a:lnTo>
                    <a:pt x="96" y="624"/>
                  </a:lnTo>
                  <a:lnTo>
                    <a:pt x="90" y="624"/>
                  </a:lnTo>
                  <a:lnTo>
                    <a:pt x="84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90" y="600"/>
                  </a:lnTo>
                  <a:lnTo>
                    <a:pt x="84" y="600"/>
                  </a:lnTo>
                  <a:lnTo>
                    <a:pt x="78" y="594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126" y="564"/>
                  </a:lnTo>
                  <a:lnTo>
                    <a:pt x="144" y="564"/>
                  </a:lnTo>
                  <a:lnTo>
                    <a:pt x="156" y="582"/>
                  </a:lnTo>
                  <a:lnTo>
                    <a:pt x="162" y="600"/>
                  </a:lnTo>
                  <a:lnTo>
                    <a:pt x="180" y="588"/>
                  </a:lnTo>
                  <a:lnTo>
                    <a:pt x="192" y="588"/>
                  </a:lnTo>
                  <a:lnTo>
                    <a:pt x="198" y="588"/>
                  </a:lnTo>
                  <a:lnTo>
                    <a:pt x="210" y="582"/>
                  </a:lnTo>
                  <a:lnTo>
                    <a:pt x="216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58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46" y="558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58" y="570"/>
                  </a:lnTo>
                  <a:lnTo>
                    <a:pt x="264" y="570"/>
                  </a:lnTo>
                  <a:lnTo>
                    <a:pt x="270" y="564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46"/>
                  </a:lnTo>
                  <a:lnTo>
                    <a:pt x="276" y="540"/>
                  </a:lnTo>
                  <a:lnTo>
                    <a:pt x="276" y="534"/>
                  </a:lnTo>
                  <a:lnTo>
                    <a:pt x="276" y="528"/>
                  </a:lnTo>
                  <a:lnTo>
                    <a:pt x="282" y="528"/>
                  </a:lnTo>
                  <a:lnTo>
                    <a:pt x="282" y="522"/>
                  </a:lnTo>
                  <a:lnTo>
                    <a:pt x="282" y="516"/>
                  </a:lnTo>
                  <a:lnTo>
                    <a:pt x="282" y="510"/>
                  </a:lnTo>
                  <a:lnTo>
                    <a:pt x="282" y="504"/>
                  </a:lnTo>
                  <a:lnTo>
                    <a:pt x="282" y="492"/>
                  </a:lnTo>
                  <a:lnTo>
                    <a:pt x="288" y="486"/>
                  </a:lnTo>
                  <a:lnTo>
                    <a:pt x="300" y="480"/>
                  </a:lnTo>
                  <a:lnTo>
                    <a:pt x="306" y="462"/>
                  </a:lnTo>
                  <a:lnTo>
                    <a:pt x="318" y="444"/>
                  </a:lnTo>
                  <a:lnTo>
                    <a:pt x="330" y="444"/>
                  </a:lnTo>
                  <a:lnTo>
                    <a:pt x="330" y="432"/>
                  </a:lnTo>
                  <a:lnTo>
                    <a:pt x="342" y="432"/>
                  </a:lnTo>
                  <a:lnTo>
                    <a:pt x="354" y="402"/>
                  </a:lnTo>
                  <a:lnTo>
                    <a:pt x="348" y="390"/>
                  </a:lnTo>
                  <a:lnTo>
                    <a:pt x="336" y="384"/>
                  </a:lnTo>
                  <a:lnTo>
                    <a:pt x="336" y="360"/>
                  </a:lnTo>
                  <a:lnTo>
                    <a:pt x="336" y="354"/>
                  </a:lnTo>
                  <a:lnTo>
                    <a:pt x="336" y="342"/>
                  </a:lnTo>
                  <a:lnTo>
                    <a:pt x="342" y="336"/>
                  </a:lnTo>
                  <a:lnTo>
                    <a:pt x="342" y="324"/>
                  </a:lnTo>
                  <a:lnTo>
                    <a:pt x="372" y="324"/>
                  </a:lnTo>
                  <a:lnTo>
                    <a:pt x="378" y="324"/>
                  </a:lnTo>
                  <a:lnTo>
                    <a:pt x="378" y="318"/>
                  </a:lnTo>
                  <a:lnTo>
                    <a:pt x="372" y="312"/>
                  </a:lnTo>
                  <a:lnTo>
                    <a:pt x="378" y="312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84" y="300"/>
                  </a:lnTo>
                  <a:lnTo>
                    <a:pt x="384" y="294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66" y="294"/>
                  </a:lnTo>
                  <a:lnTo>
                    <a:pt x="366" y="288"/>
                  </a:lnTo>
                  <a:lnTo>
                    <a:pt x="372" y="288"/>
                  </a:lnTo>
                  <a:lnTo>
                    <a:pt x="372" y="282"/>
                  </a:lnTo>
                  <a:lnTo>
                    <a:pt x="366" y="276"/>
                  </a:lnTo>
                  <a:lnTo>
                    <a:pt x="360" y="270"/>
                  </a:lnTo>
                  <a:lnTo>
                    <a:pt x="360" y="264"/>
                  </a:lnTo>
                  <a:lnTo>
                    <a:pt x="354" y="264"/>
                  </a:lnTo>
                  <a:lnTo>
                    <a:pt x="348" y="258"/>
                  </a:lnTo>
                  <a:lnTo>
                    <a:pt x="354" y="258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40"/>
                  </a:lnTo>
                  <a:lnTo>
                    <a:pt x="354" y="240"/>
                  </a:lnTo>
                  <a:lnTo>
                    <a:pt x="342" y="234"/>
                  </a:lnTo>
                  <a:lnTo>
                    <a:pt x="342" y="228"/>
                  </a:lnTo>
                  <a:lnTo>
                    <a:pt x="348" y="228"/>
                  </a:lnTo>
                  <a:lnTo>
                    <a:pt x="342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6" y="216"/>
                  </a:lnTo>
                  <a:lnTo>
                    <a:pt x="330" y="222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24" y="210"/>
                  </a:lnTo>
                  <a:lnTo>
                    <a:pt x="318" y="210"/>
                  </a:lnTo>
                  <a:lnTo>
                    <a:pt x="318" y="204"/>
                  </a:lnTo>
                  <a:lnTo>
                    <a:pt x="312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294" y="192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300" y="174"/>
                  </a:lnTo>
                  <a:lnTo>
                    <a:pt x="300" y="168"/>
                  </a:lnTo>
                  <a:lnTo>
                    <a:pt x="300" y="162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88" y="150"/>
                  </a:lnTo>
                  <a:lnTo>
                    <a:pt x="288" y="144"/>
                  </a:lnTo>
                  <a:lnTo>
                    <a:pt x="282" y="144"/>
                  </a:lnTo>
                  <a:lnTo>
                    <a:pt x="282" y="138"/>
                  </a:lnTo>
                  <a:lnTo>
                    <a:pt x="312" y="132"/>
                  </a:lnTo>
                  <a:lnTo>
                    <a:pt x="324" y="120"/>
                  </a:lnTo>
                  <a:lnTo>
                    <a:pt x="330" y="114"/>
                  </a:lnTo>
                  <a:lnTo>
                    <a:pt x="336" y="102"/>
                  </a:lnTo>
                  <a:lnTo>
                    <a:pt x="348" y="90"/>
                  </a:lnTo>
                  <a:lnTo>
                    <a:pt x="360" y="84"/>
                  </a:lnTo>
                  <a:lnTo>
                    <a:pt x="372" y="84"/>
                  </a:lnTo>
                  <a:lnTo>
                    <a:pt x="378" y="84"/>
                  </a:lnTo>
                  <a:lnTo>
                    <a:pt x="384" y="90"/>
                  </a:lnTo>
                  <a:lnTo>
                    <a:pt x="402" y="90"/>
                  </a:lnTo>
                  <a:lnTo>
                    <a:pt x="438" y="84"/>
                  </a:lnTo>
                  <a:lnTo>
                    <a:pt x="456" y="84"/>
                  </a:lnTo>
                  <a:lnTo>
                    <a:pt x="462" y="78"/>
                  </a:lnTo>
                  <a:lnTo>
                    <a:pt x="486" y="72"/>
                  </a:lnTo>
                  <a:lnTo>
                    <a:pt x="492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04" y="54"/>
                  </a:lnTo>
                  <a:lnTo>
                    <a:pt x="510" y="42"/>
                  </a:lnTo>
                  <a:lnTo>
                    <a:pt x="504" y="42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498" y="30"/>
                  </a:lnTo>
                  <a:lnTo>
                    <a:pt x="492" y="30"/>
                  </a:lnTo>
                  <a:lnTo>
                    <a:pt x="492" y="24"/>
                  </a:lnTo>
                  <a:lnTo>
                    <a:pt x="486" y="18"/>
                  </a:lnTo>
                  <a:lnTo>
                    <a:pt x="498" y="18"/>
                  </a:lnTo>
                  <a:lnTo>
                    <a:pt x="510" y="18"/>
                  </a:lnTo>
                  <a:lnTo>
                    <a:pt x="522" y="12"/>
                  </a:lnTo>
                  <a:lnTo>
                    <a:pt x="528" y="6"/>
                  </a:lnTo>
                  <a:lnTo>
                    <a:pt x="570" y="0"/>
                  </a:lnTo>
                  <a:lnTo>
                    <a:pt x="606" y="6"/>
                  </a:lnTo>
                  <a:lnTo>
                    <a:pt x="654" y="24"/>
                  </a:lnTo>
                  <a:lnTo>
                    <a:pt x="666" y="36"/>
                  </a:lnTo>
                  <a:lnTo>
                    <a:pt x="672" y="30"/>
                  </a:lnTo>
                  <a:lnTo>
                    <a:pt x="690" y="42"/>
                  </a:lnTo>
                  <a:lnTo>
                    <a:pt x="702" y="48"/>
                  </a:lnTo>
                  <a:lnTo>
                    <a:pt x="714" y="60"/>
                  </a:lnTo>
                  <a:lnTo>
                    <a:pt x="714" y="66"/>
                  </a:lnTo>
                  <a:lnTo>
                    <a:pt x="720" y="72"/>
                  </a:lnTo>
                  <a:lnTo>
                    <a:pt x="720" y="78"/>
                  </a:lnTo>
                  <a:lnTo>
                    <a:pt x="720" y="102"/>
                  </a:lnTo>
                  <a:lnTo>
                    <a:pt x="720" y="108"/>
                  </a:lnTo>
                  <a:lnTo>
                    <a:pt x="714" y="108"/>
                  </a:lnTo>
                  <a:lnTo>
                    <a:pt x="714" y="126"/>
                  </a:lnTo>
                  <a:lnTo>
                    <a:pt x="732" y="126"/>
                  </a:lnTo>
                  <a:lnTo>
                    <a:pt x="726" y="132"/>
                  </a:lnTo>
                  <a:lnTo>
                    <a:pt x="738" y="132"/>
                  </a:lnTo>
                  <a:lnTo>
                    <a:pt x="738" y="138"/>
                  </a:lnTo>
                  <a:lnTo>
                    <a:pt x="738" y="144"/>
                  </a:lnTo>
                  <a:lnTo>
                    <a:pt x="744" y="144"/>
                  </a:lnTo>
                  <a:lnTo>
                    <a:pt x="744" y="150"/>
                  </a:lnTo>
                  <a:lnTo>
                    <a:pt x="756" y="156"/>
                  </a:lnTo>
                  <a:lnTo>
                    <a:pt x="768" y="156"/>
                  </a:lnTo>
                  <a:lnTo>
                    <a:pt x="780" y="156"/>
                  </a:lnTo>
                  <a:lnTo>
                    <a:pt x="792" y="150"/>
                  </a:lnTo>
                  <a:lnTo>
                    <a:pt x="786" y="150"/>
                  </a:lnTo>
                  <a:lnTo>
                    <a:pt x="786" y="144"/>
                  </a:lnTo>
                  <a:lnTo>
                    <a:pt x="804" y="144"/>
                  </a:lnTo>
                  <a:lnTo>
                    <a:pt x="816" y="132"/>
                  </a:lnTo>
                  <a:lnTo>
                    <a:pt x="822" y="126"/>
                  </a:lnTo>
                  <a:lnTo>
                    <a:pt x="828" y="132"/>
                  </a:lnTo>
                  <a:lnTo>
                    <a:pt x="834" y="126"/>
                  </a:lnTo>
                  <a:lnTo>
                    <a:pt x="834" y="120"/>
                  </a:lnTo>
                  <a:lnTo>
                    <a:pt x="924" y="108"/>
                  </a:lnTo>
                  <a:lnTo>
                    <a:pt x="942" y="144"/>
                  </a:lnTo>
                  <a:lnTo>
                    <a:pt x="948" y="144"/>
                  </a:lnTo>
                  <a:lnTo>
                    <a:pt x="960" y="168"/>
                  </a:lnTo>
                  <a:lnTo>
                    <a:pt x="972" y="186"/>
                  </a:lnTo>
                  <a:lnTo>
                    <a:pt x="984" y="192"/>
                  </a:lnTo>
                  <a:lnTo>
                    <a:pt x="996" y="192"/>
                  </a:lnTo>
                  <a:lnTo>
                    <a:pt x="996" y="198"/>
                  </a:lnTo>
                  <a:lnTo>
                    <a:pt x="1008" y="204"/>
                  </a:lnTo>
                  <a:lnTo>
                    <a:pt x="1008" y="210"/>
                  </a:lnTo>
                  <a:lnTo>
                    <a:pt x="1002" y="210"/>
                  </a:lnTo>
                  <a:lnTo>
                    <a:pt x="1008" y="216"/>
                  </a:lnTo>
                  <a:lnTo>
                    <a:pt x="1014" y="210"/>
                  </a:lnTo>
                  <a:lnTo>
                    <a:pt x="1014" y="216"/>
                  </a:lnTo>
                  <a:lnTo>
                    <a:pt x="1020" y="222"/>
                  </a:lnTo>
                  <a:lnTo>
                    <a:pt x="1014" y="228"/>
                  </a:lnTo>
                  <a:lnTo>
                    <a:pt x="1032" y="234"/>
                  </a:lnTo>
                  <a:lnTo>
                    <a:pt x="1044" y="240"/>
                  </a:lnTo>
                  <a:lnTo>
                    <a:pt x="1038" y="246"/>
                  </a:lnTo>
                  <a:lnTo>
                    <a:pt x="1038" y="252"/>
                  </a:lnTo>
                  <a:lnTo>
                    <a:pt x="1038" y="258"/>
                  </a:lnTo>
                  <a:lnTo>
                    <a:pt x="1032" y="264"/>
                  </a:lnTo>
                  <a:lnTo>
                    <a:pt x="1032" y="270"/>
                  </a:lnTo>
                  <a:lnTo>
                    <a:pt x="1032" y="276"/>
                  </a:lnTo>
                  <a:lnTo>
                    <a:pt x="1032" y="282"/>
                  </a:lnTo>
                  <a:lnTo>
                    <a:pt x="1026" y="282"/>
                  </a:lnTo>
                  <a:lnTo>
                    <a:pt x="1026" y="288"/>
                  </a:lnTo>
                  <a:lnTo>
                    <a:pt x="1026" y="294"/>
                  </a:lnTo>
                  <a:lnTo>
                    <a:pt x="1026" y="300"/>
                  </a:lnTo>
                  <a:lnTo>
                    <a:pt x="1026" y="306"/>
                  </a:lnTo>
                  <a:lnTo>
                    <a:pt x="1020" y="318"/>
                  </a:lnTo>
                  <a:lnTo>
                    <a:pt x="1020" y="324"/>
                  </a:lnTo>
                  <a:lnTo>
                    <a:pt x="1014" y="324"/>
                  </a:lnTo>
                  <a:lnTo>
                    <a:pt x="1014" y="330"/>
                  </a:lnTo>
                  <a:lnTo>
                    <a:pt x="1014" y="336"/>
                  </a:lnTo>
                  <a:lnTo>
                    <a:pt x="1008" y="366"/>
                  </a:lnTo>
                  <a:lnTo>
                    <a:pt x="1002" y="366"/>
                  </a:lnTo>
                  <a:lnTo>
                    <a:pt x="984" y="354"/>
                  </a:lnTo>
                  <a:lnTo>
                    <a:pt x="978" y="354"/>
                  </a:lnTo>
                  <a:lnTo>
                    <a:pt x="972" y="354"/>
                  </a:lnTo>
                  <a:lnTo>
                    <a:pt x="966" y="348"/>
                  </a:lnTo>
                  <a:lnTo>
                    <a:pt x="954" y="348"/>
                  </a:lnTo>
                  <a:lnTo>
                    <a:pt x="948" y="348"/>
                  </a:lnTo>
                  <a:lnTo>
                    <a:pt x="948" y="360"/>
                  </a:lnTo>
                  <a:lnTo>
                    <a:pt x="948" y="366"/>
                  </a:lnTo>
                  <a:lnTo>
                    <a:pt x="948" y="372"/>
                  </a:lnTo>
                  <a:lnTo>
                    <a:pt x="948" y="378"/>
                  </a:lnTo>
                  <a:lnTo>
                    <a:pt x="948" y="384"/>
                  </a:lnTo>
                  <a:lnTo>
                    <a:pt x="942" y="384"/>
                  </a:lnTo>
                  <a:lnTo>
                    <a:pt x="942" y="390"/>
                  </a:lnTo>
                  <a:lnTo>
                    <a:pt x="936" y="390"/>
                  </a:lnTo>
                  <a:lnTo>
                    <a:pt x="942" y="390"/>
                  </a:lnTo>
                  <a:lnTo>
                    <a:pt x="936" y="396"/>
                  </a:lnTo>
                  <a:lnTo>
                    <a:pt x="930" y="402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2" y="432"/>
                  </a:lnTo>
                  <a:lnTo>
                    <a:pt x="900" y="450"/>
                  </a:lnTo>
                  <a:lnTo>
                    <a:pt x="894" y="456"/>
                  </a:lnTo>
                  <a:lnTo>
                    <a:pt x="888" y="456"/>
                  </a:lnTo>
                  <a:lnTo>
                    <a:pt x="882" y="456"/>
                  </a:lnTo>
                  <a:lnTo>
                    <a:pt x="876" y="456"/>
                  </a:lnTo>
                  <a:lnTo>
                    <a:pt x="864" y="462"/>
                  </a:lnTo>
                  <a:lnTo>
                    <a:pt x="852" y="474"/>
                  </a:lnTo>
                  <a:lnTo>
                    <a:pt x="846" y="480"/>
                  </a:lnTo>
                  <a:lnTo>
                    <a:pt x="840" y="486"/>
                  </a:lnTo>
                  <a:lnTo>
                    <a:pt x="834" y="498"/>
                  </a:lnTo>
                  <a:lnTo>
                    <a:pt x="828" y="510"/>
                  </a:lnTo>
                  <a:lnTo>
                    <a:pt x="816" y="522"/>
                  </a:lnTo>
                  <a:lnTo>
                    <a:pt x="798" y="540"/>
                  </a:lnTo>
                  <a:lnTo>
                    <a:pt x="780" y="558"/>
                  </a:lnTo>
                  <a:lnTo>
                    <a:pt x="774" y="558"/>
                  </a:lnTo>
                  <a:lnTo>
                    <a:pt x="756" y="576"/>
                  </a:lnTo>
                  <a:lnTo>
                    <a:pt x="732" y="600"/>
                  </a:lnTo>
                  <a:lnTo>
                    <a:pt x="726" y="600"/>
                  </a:lnTo>
                  <a:lnTo>
                    <a:pt x="720" y="606"/>
                  </a:lnTo>
                  <a:lnTo>
                    <a:pt x="714" y="612"/>
                  </a:lnTo>
                  <a:lnTo>
                    <a:pt x="690" y="630"/>
                  </a:lnTo>
                  <a:lnTo>
                    <a:pt x="678" y="636"/>
                  </a:lnTo>
                  <a:lnTo>
                    <a:pt x="672" y="642"/>
                  </a:lnTo>
                  <a:lnTo>
                    <a:pt x="660" y="660"/>
                  </a:lnTo>
                  <a:lnTo>
                    <a:pt x="642" y="666"/>
                  </a:lnTo>
                  <a:lnTo>
                    <a:pt x="636" y="678"/>
                  </a:lnTo>
                  <a:lnTo>
                    <a:pt x="630" y="678"/>
                  </a:lnTo>
                  <a:lnTo>
                    <a:pt x="630" y="684"/>
                  </a:lnTo>
                  <a:lnTo>
                    <a:pt x="630" y="690"/>
                  </a:lnTo>
                  <a:lnTo>
                    <a:pt x="636" y="696"/>
                  </a:lnTo>
                  <a:lnTo>
                    <a:pt x="642" y="696"/>
                  </a:lnTo>
                  <a:lnTo>
                    <a:pt x="648" y="702"/>
                  </a:lnTo>
                  <a:lnTo>
                    <a:pt x="648" y="708"/>
                  </a:lnTo>
                  <a:lnTo>
                    <a:pt x="642" y="708"/>
                  </a:lnTo>
                  <a:lnTo>
                    <a:pt x="636" y="714"/>
                  </a:lnTo>
                  <a:lnTo>
                    <a:pt x="636" y="720"/>
                  </a:lnTo>
                  <a:lnTo>
                    <a:pt x="642" y="726"/>
                  </a:lnTo>
                  <a:lnTo>
                    <a:pt x="636" y="738"/>
                  </a:lnTo>
                  <a:lnTo>
                    <a:pt x="618" y="756"/>
                  </a:lnTo>
                  <a:lnTo>
                    <a:pt x="612" y="750"/>
                  </a:lnTo>
                  <a:lnTo>
                    <a:pt x="612" y="756"/>
                  </a:lnTo>
                  <a:lnTo>
                    <a:pt x="618" y="762"/>
                  </a:lnTo>
                  <a:lnTo>
                    <a:pt x="618" y="768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36" y="786"/>
                  </a:lnTo>
                  <a:lnTo>
                    <a:pt x="642" y="792"/>
                  </a:lnTo>
                  <a:lnTo>
                    <a:pt x="642" y="798"/>
                  </a:lnTo>
                  <a:lnTo>
                    <a:pt x="648" y="804"/>
                  </a:lnTo>
                  <a:lnTo>
                    <a:pt x="654" y="810"/>
                  </a:lnTo>
                  <a:lnTo>
                    <a:pt x="660" y="816"/>
                  </a:lnTo>
                  <a:lnTo>
                    <a:pt x="666" y="816"/>
                  </a:lnTo>
                  <a:lnTo>
                    <a:pt x="666" y="822"/>
                  </a:lnTo>
                  <a:lnTo>
                    <a:pt x="672" y="828"/>
                  </a:lnTo>
                  <a:lnTo>
                    <a:pt x="672" y="840"/>
                  </a:lnTo>
                  <a:lnTo>
                    <a:pt x="672" y="846"/>
                  </a:lnTo>
                  <a:lnTo>
                    <a:pt x="666" y="852"/>
                  </a:lnTo>
                  <a:lnTo>
                    <a:pt x="660" y="864"/>
                  </a:lnTo>
                  <a:lnTo>
                    <a:pt x="654" y="876"/>
                  </a:lnTo>
                  <a:lnTo>
                    <a:pt x="648" y="882"/>
                  </a:lnTo>
                  <a:lnTo>
                    <a:pt x="642" y="888"/>
                  </a:lnTo>
                  <a:lnTo>
                    <a:pt x="642" y="894"/>
                  </a:lnTo>
                  <a:lnTo>
                    <a:pt x="642" y="906"/>
                  </a:lnTo>
                  <a:lnTo>
                    <a:pt x="630" y="918"/>
                  </a:lnTo>
                  <a:lnTo>
                    <a:pt x="630" y="924"/>
                  </a:lnTo>
                  <a:lnTo>
                    <a:pt x="624" y="930"/>
                  </a:lnTo>
                  <a:lnTo>
                    <a:pt x="630" y="936"/>
                  </a:lnTo>
                  <a:lnTo>
                    <a:pt x="630" y="942"/>
                  </a:lnTo>
                  <a:lnTo>
                    <a:pt x="630" y="948"/>
                  </a:lnTo>
                  <a:lnTo>
                    <a:pt x="630" y="954"/>
                  </a:lnTo>
                  <a:lnTo>
                    <a:pt x="630" y="960"/>
                  </a:lnTo>
                  <a:lnTo>
                    <a:pt x="624" y="966"/>
                  </a:lnTo>
                  <a:lnTo>
                    <a:pt x="618" y="990"/>
                  </a:lnTo>
                  <a:lnTo>
                    <a:pt x="618" y="1008"/>
                  </a:lnTo>
                  <a:lnTo>
                    <a:pt x="612" y="1026"/>
                  </a:lnTo>
                  <a:lnTo>
                    <a:pt x="612" y="1038"/>
                  </a:lnTo>
                  <a:lnTo>
                    <a:pt x="612" y="1050"/>
                  </a:lnTo>
                  <a:lnTo>
                    <a:pt x="612" y="1056"/>
                  </a:lnTo>
                  <a:lnTo>
                    <a:pt x="612" y="1062"/>
                  </a:lnTo>
                  <a:lnTo>
                    <a:pt x="612" y="1068"/>
                  </a:lnTo>
                  <a:lnTo>
                    <a:pt x="612" y="1086"/>
                  </a:lnTo>
                  <a:lnTo>
                    <a:pt x="612" y="1092"/>
                  </a:lnTo>
                  <a:lnTo>
                    <a:pt x="606" y="1098"/>
                  </a:lnTo>
                  <a:lnTo>
                    <a:pt x="600" y="1110"/>
                  </a:lnTo>
                  <a:lnTo>
                    <a:pt x="600" y="1116"/>
                  </a:lnTo>
                  <a:lnTo>
                    <a:pt x="594" y="1122"/>
                  </a:lnTo>
                  <a:lnTo>
                    <a:pt x="594" y="1128"/>
                  </a:lnTo>
                  <a:lnTo>
                    <a:pt x="588" y="1134"/>
                  </a:lnTo>
                  <a:lnTo>
                    <a:pt x="582" y="1140"/>
                  </a:lnTo>
                  <a:lnTo>
                    <a:pt x="570" y="1140"/>
                  </a:lnTo>
                  <a:lnTo>
                    <a:pt x="564" y="1146"/>
                  </a:lnTo>
                  <a:lnTo>
                    <a:pt x="570" y="1146"/>
                  </a:lnTo>
                  <a:lnTo>
                    <a:pt x="564" y="1152"/>
                  </a:lnTo>
                  <a:lnTo>
                    <a:pt x="558" y="1158"/>
                  </a:lnTo>
                  <a:lnTo>
                    <a:pt x="552" y="1164"/>
                  </a:lnTo>
                  <a:lnTo>
                    <a:pt x="552" y="1170"/>
                  </a:lnTo>
                  <a:lnTo>
                    <a:pt x="546" y="1176"/>
                  </a:lnTo>
                  <a:lnTo>
                    <a:pt x="546" y="1182"/>
                  </a:lnTo>
                  <a:lnTo>
                    <a:pt x="546" y="1188"/>
                  </a:lnTo>
                  <a:lnTo>
                    <a:pt x="540" y="1188"/>
                  </a:lnTo>
                  <a:lnTo>
                    <a:pt x="540" y="1194"/>
                  </a:lnTo>
                  <a:lnTo>
                    <a:pt x="528" y="1206"/>
                  </a:lnTo>
                  <a:lnTo>
                    <a:pt x="528" y="1212"/>
                  </a:lnTo>
                  <a:lnTo>
                    <a:pt x="534" y="1212"/>
                  </a:lnTo>
                  <a:lnTo>
                    <a:pt x="540" y="1218"/>
                  </a:lnTo>
                  <a:lnTo>
                    <a:pt x="534" y="1218"/>
                  </a:lnTo>
                  <a:lnTo>
                    <a:pt x="528" y="1218"/>
                  </a:lnTo>
                  <a:lnTo>
                    <a:pt x="528" y="1224"/>
                  </a:lnTo>
                  <a:lnTo>
                    <a:pt x="522" y="1230"/>
                  </a:lnTo>
                  <a:lnTo>
                    <a:pt x="516" y="1236"/>
                  </a:lnTo>
                  <a:lnTo>
                    <a:pt x="522" y="1236"/>
                  </a:lnTo>
                  <a:lnTo>
                    <a:pt x="516" y="1242"/>
                  </a:lnTo>
                  <a:lnTo>
                    <a:pt x="510" y="1242"/>
                  </a:lnTo>
                  <a:lnTo>
                    <a:pt x="504" y="1248"/>
                  </a:lnTo>
                  <a:lnTo>
                    <a:pt x="510" y="1260"/>
                  </a:lnTo>
                  <a:lnTo>
                    <a:pt x="504" y="1266"/>
                  </a:lnTo>
                  <a:lnTo>
                    <a:pt x="492" y="1266"/>
                  </a:lnTo>
                  <a:lnTo>
                    <a:pt x="486" y="1272"/>
                  </a:lnTo>
                  <a:lnTo>
                    <a:pt x="486" y="1278"/>
                  </a:lnTo>
                  <a:lnTo>
                    <a:pt x="480" y="1278"/>
                  </a:lnTo>
                  <a:lnTo>
                    <a:pt x="480" y="1284"/>
                  </a:lnTo>
                  <a:lnTo>
                    <a:pt x="480" y="1290"/>
                  </a:lnTo>
                  <a:lnTo>
                    <a:pt x="480" y="1296"/>
                  </a:lnTo>
                  <a:lnTo>
                    <a:pt x="492" y="1302"/>
                  </a:lnTo>
                  <a:lnTo>
                    <a:pt x="492" y="1308"/>
                  </a:lnTo>
                  <a:lnTo>
                    <a:pt x="492" y="1320"/>
                  </a:lnTo>
                  <a:lnTo>
                    <a:pt x="492" y="1332"/>
                  </a:lnTo>
                  <a:lnTo>
                    <a:pt x="498" y="1344"/>
                  </a:lnTo>
                  <a:lnTo>
                    <a:pt x="498" y="1350"/>
                  </a:lnTo>
                  <a:lnTo>
                    <a:pt x="498" y="1356"/>
                  </a:lnTo>
                  <a:lnTo>
                    <a:pt x="504" y="1362"/>
                  </a:lnTo>
                  <a:lnTo>
                    <a:pt x="498" y="1362"/>
                  </a:lnTo>
                  <a:lnTo>
                    <a:pt x="498" y="1368"/>
                  </a:lnTo>
                  <a:lnTo>
                    <a:pt x="492" y="1368"/>
                  </a:lnTo>
                  <a:lnTo>
                    <a:pt x="492" y="1374"/>
                  </a:lnTo>
                  <a:lnTo>
                    <a:pt x="492" y="1380"/>
                  </a:lnTo>
                  <a:lnTo>
                    <a:pt x="498" y="1380"/>
                  </a:lnTo>
                  <a:lnTo>
                    <a:pt x="504" y="1380"/>
                  </a:lnTo>
                  <a:lnTo>
                    <a:pt x="498" y="1386"/>
                  </a:lnTo>
                  <a:lnTo>
                    <a:pt x="498" y="1392"/>
                  </a:lnTo>
                  <a:lnTo>
                    <a:pt x="498" y="1398"/>
                  </a:lnTo>
                  <a:lnTo>
                    <a:pt x="498" y="1404"/>
                  </a:lnTo>
                  <a:lnTo>
                    <a:pt x="498" y="1410"/>
                  </a:lnTo>
                  <a:lnTo>
                    <a:pt x="498" y="1416"/>
                  </a:lnTo>
                  <a:lnTo>
                    <a:pt x="492" y="1416"/>
                  </a:lnTo>
                  <a:lnTo>
                    <a:pt x="498" y="1416"/>
                  </a:lnTo>
                  <a:lnTo>
                    <a:pt x="504" y="1416"/>
                  </a:lnTo>
                  <a:lnTo>
                    <a:pt x="504" y="1422"/>
                  </a:lnTo>
                  <a:lnTo>
                    <a:pt x="510" y="1428"/>
                  </a:lnTo>
                  <a:lnTo>
                    <a:pt x="510" y="1434"/>
                  </a:lnTo>
                  <a:lnTo>
                    <a:pt x="510" y="1440"/>
                  </a:lnTo>
                  <a:lnTo>
                    <a:pt x="516" y="1446"/>
                  </a:lnTo>
                  <a:lnTo>
                    <a:pt x="516" y="1452"/>
                  </a:lnTo>
                  <a:lnTo>
                    <a:pt x="516" y="1458"/>
                  </a:lnTo>
                  <a:lnTo>
                    <a:pt x="516" y="1464"/>
                  </a:lnTo>
                  <a:lnTo>
                    <a:pt x="516" y="1482"/>
                  </a:lnTo>
                  <a:lnTo>
                    <a:pt x="516" y="1488"/>
                  </a:lnTo>
                  <a:lnTo>
                    <a:pt x="522" y="1488"/>
                  </a:lnTo>
                  <a:lnTo>
                    <a:pt x="522" y="1494"/>
                  </a:lnTo>
                  <a:lnTo>
                    <a:pt x="522" y="1500"/>
                  </a:lnTo>
                  <a:lnTo>
                    <a:pt x="516" y="1506"/>
                  </a:lnTo>
                  <a:lnTo>
                    <a:pt x="510" y="1500"/>
                  </a:lnTo>
                  <a:lnTo>
                    <a:pt x="504" y="1500"/>
                  </a:lnTo>
                  <a:lnTo>
                    <a:pt x="504" y="1494"/>
                  </a:lnTo>
                  <a:lnTo>
                    <a:pt x="504" y="1488"/>
                  </a:lnTo>
                  <a:lnTo>
                    <a:pt x="504" y="1482"/>
                  </a:lnTo>
                  <a:lnTo>
                    <a:pt x="504" y="1488"/>
                  </a:lnTo>
                  <a:lnTo>
                    <a:pt x="504" y="1494"/>
                  </a:lnTo>
                  <a:lnTo>
                    <a:pt x="504" y="1500"/>
                  </a:lnTo>
                  <a:lnTo>
                    <a:pt x="498" y="1500"/>
                  </a:lnTo>
                  <a:lnTo>
                    <a:pt x="492" y="1500"/>
                  </a:lnTo>
                  <a:lnTo>
                    <a:pt x="492" y="1494"/>
                  </a:lnTo>
                  <a:lnTo>
                    <a:pt x="492" y="1488"/>
                  </a:lnTo>
                  <a:lnTo>
                    <a:pt x="492" y="1494"/>
                  </a:lnTo>
                  <a:lnTo>
                    <a:pt x="492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00"/>
                  </a:lnTo>
                  <a:lnTo>
                    <a:pt x="510" y="1500"/>
                  </a:lnTo>
                  <a:lnTo>
                    <a:pt x="510" y="1506"/>
                  </a:lnTo>
                  <a:lnTo>
                    <a:pt x="516" y="1506"/>
                  </a:lnTo>
                  <a:lnTo>
                    <a:pt x="510" y="1506"/>
                  </a:lnTo>
                  <a:lnTo>
                    <a:pt x="510" y="1512"/>
                  </a:lnTo>
                  <a:lnTo>
                    <a:pt x="516" y="1506"/>
                  </a:lnTo>
                  <a:lnTo>
                    <a:pt x="522" y="1506"/>
                  </a:lnTo>
                  <a:lnTo>
                    <a:pt x="528" y="1506"/>
                  </a:lnTo>
                  <a:lnTo>
                    <a:pt x="528" y="1500"/>
                  </a:lnTo>
                  <a:lnTo>
                    <a:pt x="534" y="1500"/>
                  </a:lnTo>
                  <a:lnTo>
                    <a:pt x="534" y="1506"/>
                  </a:lnTo>
                  <a:lnTo>
                    <a:pt x="540" y="1512"/>
                  </a:lnTo>
                  <a:lnTo>
                    <a:pt x="540" y="1518"/>
                  </a:lnTo>
                  <a:lnTo>
                    <a:pt x="546" y="1518"/>
                  </a:lnTo>
                  <a:lnTo>
                    <a:pt x="540" y="1518"/>
                  </a:lnTo>
                  <a:lnTo>
                    <a:pt x="540" y="1524"/>
                  </a:lnTo>
                  <a:lnTo>
                    <a:pt x="534" y="1524"/>
                  </a:lnTo>
                  <a:lnTo>
                    <a:pt x="540" y="1524"/>
                  </a:lnTo>
                  <a:lnTo>
                    <a:pt x="546" y="1524"/>
                  </a:lnTo>
                  <a:lnTo>
                    <a:pt x="546" y="1530"/>
                  </a:lnTo>
                  <a:lnTo>
                    <a:pt x="540" y="1530"/>
                  </a:lnTo>
                  <a:lnTo>
                    <a:pt x="540" y="1536"/>
                  </a:lnTo>
                  <a:lnTo>
                    <a:pt x="534" y="1542"/>
                  </a:lnTo>
                  <a:lnTo>
                    <a:pt x="528" y="1542"/>
                  </a:lnTo>
                  <a:lnTo>
                    <a:pt x="522" y="1542"/>
                  </a:lnTo>
                  <a:lnTo>
                    <a:pt x="516" y="1542"/>
                  </a:lnTo>
                  <a:lnTo>
                    <a:pt x="510" y="1542"/>
                  </a:lnTo>
                  <a:lnTo>
                    <a:pt x="504" y="1542"/>
                  </a:lnTo>
                  <a:lnTo>
                    <a:pt x="492" y="1542"/>
                  </a:lnTo>
                  <a:lnTo>
                    <a:pt x="486" y="1536"/>
                  </a:lnTo>
                  <a:lnTo>
                    <a:pt x="480" y="1536"/>
                  </a:lnTo>
                  <a:lnTo>
                    <a:pt x="468" y="1536"/>
                  </a:lnTo>
                  <a:lnTo>
                    <a:pt x="468" y="1542"/>
                  </a:lnTo>
                  <a:lnTo>
                    <a:pt x="462" y="1542"/>
                  </a:lnTo>
                  <a:lnTo>
                    <a:pt x="456" y="1542"/>
                  </a:lnTo>
                  <a:lnTo>
                    <a:pt x="450" y="1542"/>
                  </a:lnTo>
                  <a:lnTo>
                    <a:pt x="444" y="1542"/>
                  </a:lnTo>
                  <a:lnTo>
                    <a:pt x="444" y="1536"/>
                  </a:lnTo>
                  <a:lnTo>
                    <a:pt x="450" y="1536"/>
                  </a:lnTo>
                  <a:lnTo>
                    <a:pt x="456" y="1536"/>
                  </a:lnTo>
                  <a:lnTo>
                    <a:pt x="450" y="1536"/>
                  </a:lnTo>
                  <a:lnTo>
                    <a:pt x="444" y="1536"/>
                  </a:lnTo>
                  <a:lnTo>
                    <a:pt x="444" y="1530"/>
                  </a:lnTo>
                  <a:lnTo>
                    <a:pt x="450" y="1530"/>
                  </a:lnTo>
                  <a:lnTo>
                    <a:pt x="456" y="1524"/>
                  </a:lnTo>
                  <a:lnTo>
                    <a:pt x="456" y="1518"/>
                  </a:lnTo>
                  <a:lnTo>
                    <a:pt x="462" y="1518"/>
                  </a:lnTo>
                  <a:lnTo>
                    <a:pt x="462" y="1524"/>
                  </a:lnTo>
                  <a:lnTo>
                    <a:pt x="468" y="1524"/>
                  </a:lnTo>
                  <a:lnTo>
                    <a:pt x="474" y="1524"/>
                  </a:lnTo>
                  <a:lnTo>
                    <a:pt x="474" y="1518"/>
                  </a:lnTo>
                  <a:lnTo>
                    <a:pt x="480" y="1518"/>
                  </a:lnTo>
                  <a:lnTo>
                    <a:pt x="474" y="1518"/>
                  </a:lnTo>
                  <a:lnTo>
                    <a:pt x="474" y="1524"/>
                  </a:lnTo>
                  <a:lnTo>
                    <a:pt x="468" y="1524"/>
                  </a:lnTo>
                  <a:lnTo>
                    <a:pt x="462" y="1518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62" y="1512"/>
                  </a:lnTo>
                  <a:lnTo>
                    <a:pt x="462" y="1506"/>
                  </a:lnTo>
                  <a:lnTo>
                    <a:pt x="456" y="1506"/>
                  </a:lnTo>
                  <a:lnTo>
                    <a:pt x="456" y="1512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50" y="1518"/>
                  </a:lnTo>
                  <a:lnTo>
                    <a:pt x="444" y="1518"/>
                  </a:lnTo>
                  <a:lnTo>
                    <a:pt x="444" y="1524"/>
                  </a:lnTo>
                  <a:lnTo>
                    <a:pt x="438" y="1524"/>
                  </a:lnTo>
                  <a:lnTo>
                    <a:pt x="438" y="1530"/>
                  </a:lnTo>
                  <a:lnTo>
                    <a:pt x="432" y="1530"/>
                  </a:lnTo>
                  <a:lnTo>
                    <a:pt x="432" y="1536"/>
                  </a:lnTo>
                  <a:lnTo>
                    <a:pt x="426" y="1530"/>
                  </a:lnTo>
                  <a:lnTo>
                    <a:pt x="420" y="1530"/>
                  </a:lnTo>
                  <a:lnTo>
                    <a:pt x="414" y="1530"/>
                  </a:lnTo>
                  <a:lnTo>
                    <a:pt x="414" y="1524"/>
                  </a:lnTo>
                  <a:lnTo>
                    <a:pt x="408" y="1518"/>
                  </a:lnTo>
                  <a:lnTo>
                    <a:pt x="414" y="1512"/>
                  </a:lnTo>
                  <a:lnTo>
                    <a:pt x="408" y="1512"/>
                  </a:lnTo>
                  <a:lnTo>
                    <a:pt x="408" y="1506"/>
                  </a:lnTo>
                  <a:lnTo>
                    <a:pt x="408" y="1500"/>
                  </a:lnTo>
                  <a:lnTo>
                    <a:pt x="408" y="1494"/>
                  </a:lnTo>
                  <a:lnTo>
                    <a:pt x="408" y="1488"/>
                  </a:lnTo>
                  <a:lnTo>
                    <a:pt x="408" y="1494"/>
                  </a:lnTo>
                  <a:lnTo>
                    <a:pt x="414" y="1494"/>
                  </a:lnTo>
                  <a:lnTo>
                    <a:pt x="420" y="1494"/>
                  </a:lnTo>
                  <a:lnTo>
                    <a:pt x="420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82"/>
                  </a:lnTo>
                  <a:lnTo>
                    <a:pt x="426" y="1476"/>
                  </a:lnTo>
                  <a:lnTo>
                    <a:pt x="432" y="1476"/>
                  </a:lnTo>
                  <a:lnTo>
                    <a:pt x="432" y="1470"/>
                  </a:lnTo>
                  <a:lnTo>
                    <a:pt x="438" y="1470"/>
                  </a:lnTo>
                  <a:lnTo>
                    <a:pt x="444" y="1464"/>
                  </a:lnTo>
                  <a:lnTo>
                    <a:pt x="450" y="1458"/>
                  </a:lnTo>
                  <a:lnTo>
                    <a:pt x="456" y="1458"/>
                  </a:lnTo>
                  <a:lnTo>
                    <a:pt x="462" y="1452"/>
                  </a:lnTo>
                  <a:lnTo>
                    <a:pt x="468" y="1452"/>
                  </a:lnTo>
                  <a:lnTo>
                    <a:pt x="468" y="1446"/>
                  </a:lnTo>
                  <a:lnTo>
                    <a:pt x="462" y="1440"/>
                  </a:lnTo>
                  <a:lnTo>
                    <a:pt x="456" y="1434"/>
                  </a:lnTo>
                  <a:lnTo>
                    <a:pt x="456" y="1428"/>
                  </a:lnTo>
                  <a:lnTo>
                    <a:pt x="456" y="1422"/>
                  </a:lnTo>
                  <a:lnTo>
                    <a:pt x="456" y="1416"/>
                  </a:lnTo>
                  <a:lnTo>
                    <a:pt x="450" y="1410"/>
                  </a:lnTo>
                  <a:lnTo>
                    <a:pt x="444" y="1410"/>
                  </a:lnTo>
                  <a:lnTo>
                    <a:pt x="450" y="1410"/>
                  </a:lnTo>
                  <a:lnTo>
                    <a:pt x="450" y="1404"/>
                  </a:lnTo>
                  <a:lnTo>
                    <a:pt x="456" y="1404"/>
                  </a:lnTo>
                  <a:lnTo>
                    <a:pt x="462" y="1404"/>
                  </a:lnTo>
                  <a:lnTo>
                    <a:pt x="468" y="1398"/>
                  </a:lnTo>
                  <a:lnTo>
                    <a:pt x="462" y="1398"/>
                  </a:lnTo>
                  <a:lnTo>
                    <a:pt x="462" y="1392"/>
                  </a:lnTo>
                  <a:lnTo>
                    <a:pt x="456" y="1392"/>
                  </a:lnTo>
                  <a:lnTo>
                    <a:pt x="456" y="1386"/>
                  </a:lnTo>
                  <a:lnTo>
                    <a:pt x="462" y="1386"/>
                  </a:lnTo>
                  <a:lnTo>
                    <a:pt x="468" y="1386"/>
                  </a:lnTo>
                  <a:lnTo>
                    <a:pt x="474" y="1386"/>
                  </a:lnTo>
                  <a:lnTo>
                    <a:pt x="468" y="1386"/>
                  </a:lnTo>
                  <a:lnTo>
                    <a:pt x="462" y="1386"/>
                  </a:lnTo>
                  <a:lnTo>
                    <a:pt x="456" y="1380"/>
                  </a:lnTo>
                  <a:lnTo>
                    <a:pt x="456" y="1374"/>
                  </a:lnTo>
                  <a:lnTo>
                    <a:pt x="462" y="1374"/>
                  </a:lnTo>
                  <a:lnTo>
                    <a:pt x="462" y="1368"/>
                  </a:lnTo>
                  <a:lnTo>
                    <a:pt x="456" y="1374"/>
                  </a:lnTo>
                  <a:lnTo>
                    <a:pt x="456" y="1368"/>
                  </a:lnTo>
                  <a:lnTo>
                    <a:pt x="456" y="1362"/>
                  </a:lnTo>
                  <a:lnTo>
                    <a:pt x="450" y="1362"/>
                  </a:lnTo>
                  <a:lnTo>
                    <a:pt x="450" y="1356"/>
                  </a:lnTo>
                  <a:lnTo>
                    <a:pt x="450" y="1350"/>
                  </a:lnTo>
                  <a:lnTo>
                    <a:pt x="450" y="1344"/>
                  </a:lnTo>
                  <a:lnTo>
                    <a:pt x="456" y="1344"/>
                  </a:lnTo>
                  <a:lnTo>
                    <a:pt x="456" y="1338"/>
                  </a:lnTo>
                  <a:lnTo>
                    <a:pt x="462" y="1338"/>
                  </a:lnTo>
                  <a:lnTo>
                    <a:pt x="462" y="1332"/>
                  </a:lnTo>
                  <a:lnTo>
                    <a:pt x="456" y="1332"/>
                  </a:lnTo>
                  <a:lnTo>
                    <a:pt x="456" y="1326"/>
                  </a:lnTo>
                  <a:lnTo>
                    <a:pt x="450" y="1326"/>
                  </a:lnTo>
                  <a:lnTo>
                    <a:pt x="444" y="1326"/>
                  </a:lnTo>
                  <a:lnTo>
                    <a:pt x="444" y="1332"/>
                  </a:lnTo>
                  <a:lnTo>
                    <a:pt x="438" y="1332"/>
                  </a:lnTo>
                  <a:lnTo>
                    <a:pt x="438" y="1338"/>
                  </a:lnTo>
                  <a:lnTo>
                    <a:pt x="432" y="1338"/>
                  </a:lnTo>
                  <a:lnTo>
                    <a:pt x="432" y="1344"/>
                  </a:lnTo>
                  <a:lnTo>
                    <a:pt x="432" y="1350"/>
                  </a:lnTo>
                  <a:lnTo>
                    <a:pt x="426" y="1356"/>
                  </a:lnTo>
                  <a:lnTo>
                    <a:pt x="426" y="1368"/>
                  </a:lnTo>
                  <a:lnTo>
                    <a:pt x="426" y="1374"/>
                  </a:lnTo>
                  <a:lnTo>
                    <a:pt x="426" y="1380"/>
                  </a:lnTo>
                  <a:lnTo>
                    <a:pt x="432" y="1386"/>
                  </a:lnTo>
                  <a:lnTo>
                    <a:pt x="432" y="1392"/>
                  </a:lnTo>
                  <a:lnTo>
                    <a:pt x="432" y="1398"/>
                  </a:lnTo>
                  <a:lnTo>
                    <a:pt x="426" y="1398"/>
                  </a:lnTo>
                  <a:lnTo>
                    <a:pt x="420" y="1398"/>
                  </a:lnTo>
                  <a:lnTo>
                    <a:pt x="414" y="1398"/>
                  </a:lnTo>
                  <a:lnTo>
                    <a:pt x="420" y="1398"/>
                  </a:lnTo>
                  <a:lnTo>
                    <a:pt x="414" y="1404"/>
                  </a:lnTo>
                  <a:lnTo>
                    <a:pt x="420" y="1404"/>
                  </a:lnTo>
                  <a:lnTo>
                    <a:pt x="414" y="1404"/>
                  </a:lnTo>
                  <a:lnTo>
                    <a:pt x="408" y="1404"/>
                  </a:lnTo>
                  <a:lnTo>
                    <a:pt x="402" y="1410"/>
                  </a:lnTo>
                  <a:lnTo>
                    <a:pt x="402" y="1404"/>
                  </a:lnTo>
                  <a:lnTo>
                    <a:pt x="396" y="1404"/>
                  </a:lnTo>
                  <a:lnTo>
                    <a:pt x="390" y="1404"/>
                  </a:lnTo>
                  <a:lnTo>
                    <a:pt x="384" y="1404"/>
                  </a:lnTo>
                  <a:lnTo>
                    <a:pt x="384" y="1398"/>
                  </a:lnTo>
                  <a:lnTo>
                    <a:pt x="384" y="1392"/>
                  </a:lnTo>
                  <a:lnTo>
                    <a:pt x="390" y="1392"/>
                  </a:lnTo>
                  <a:lnTo>
                    <a:pt x="390" y="1386"/>
                  </a:lnTo>
                  <a:lnTo>
                    <a:pt x="390" y="1380"/>
                  </a:lnTo>
                  <a:lnTo>
                    <a:pt x="396" y="1380"/>
                  </a:lnTo>
                  <a:lnTo>
                    <a:pt x="402" y="1380"/>
                  </a:lnTo>
                  <a:lnTo>
                    <a:pt x="408" y="1380"/>
                  </a:lnTo>
                  <a:lnTo>
                    <a:pt x="408" y="1374"/>
                  </a:lnTo>
                  <a:lnTo>
                    <a:pt x="414" y="1374"/>
                  </a:lnTo>
                  <a:lnTo>
                    <a:pt x="414" y="1368"/>
                  </a:lnTo>
                  <a:lnTo>
                    <a:pt x="414" y="1362"/>
                  </a:lnTo>
                  <a:lnTo>
                    <a:pt x="414" y="1368"/>
                  </a:lnTo>
                  <a:lnTo>
                    <a:pt x="414" y="1374"/>
                  </a:lnTo>
                  <a:lnTo>
                    <a:pt x="408" y="1374"/>
                  </a:lnTo>
                  <a:lnTo>
                    <a:pt x="402" y="1380"/>
                  </a:lnTo>
                  <a:lnTo>
                    <a:pt x="396" y="1380"/>
                  </a:lnTo>
                  <a:lnTo>
                    <a:pt x="396" y="1374"/>
                  </a:lnTo>
                  <a:lnTo>
                    <a:pt x="390" y="1374"/>
                  </a:lnTo>
                  <a:lnTo>
                    <a:pt x="390" y="1368"/>
                  </a:lnTo>
                  <a:lnTo>
                    <a:pt x="384" y="1368"/>
                  </a:lnTo>
                  <a:lnTo>
                    <a:pt x="384" y="1374"/>
                  </a:lnTo>
                  <a:lnTo>
                    <a:pt x="378" y="1374"/>
                  </a:lnTo>
                  <a:lnTo>
                    <a:pt x="378" y="1380"/>
                  </a:lnTo>
                  <a:lnTo>
                    <a:pt x="372" y="1380"/>
                  </a:lnTo>
                  <a:lnTo>
                    <a:pt x="366" y="1386"/>
                  </a:lnTo>
                  <a:lnTo>
                    <a:pt x="360" y="1386"/>
                  </a:lnTo>
                  <a:lnTo>
                    <a:pt x="354" y="1386"/>
                  </a:lnTo>
                  <a:lnTo>
                    <a:pt x="354" y="1380"/>
                  </a:lnTo>
                  <a:lnTo>
                    <a:pt x="348" y="1380"/>
                  </a:lnTo>
                  <a:lnTo>
                    <a:pt x="342" y="1380"/>
                  </a:lnTo>
                  <a:lnTo>
                    <a:pt x="342" y="1374"/>
                  </a:lnTo>
                  <a:lnTo>
                    <a:pt x="336" y="1368"/>
                  </a:lnTo>
                  <a:lnTo>
                    <a:pt x="342" y="1368"/>
                  </a:lnTo>
                  <a:lnTo>
                    <a:pt x="342" y="1362"/>
                  </a:lnTo>
                  <a:lnTo>
                    <a:pt x="348" y="1362"/>
                  </a:lnTo>
                  <a:lnTo>
                    <a:pt x="354" y="1362"/>
                  </a:lnTo>
                  <a:lnTo>
                    <a:pt x="354" y="1356"/>
                  </a:lnTo>
                  <a:lnTo>
                    <a:pt x="348" y="1356"/>
                  </a:lnTo>
                  <a:lnTo>
                    <a:pt x="348" y="1350"/>
                  </a:lnTo>
                  <a:lnTo>
                    <a:pt x="348" y="1344"/>
                  </a:lnTo>
                  <a:lnTo>
                    <a:pt x="354" y="1338"/>
                  </a:lnTo>
                  <a:lnTo>
                    <a:pt x="354" y="1332"/>
                  </a:lnTo>
                  <a:lnTo>
                    <a:pt x="354" y="1326"/>
                  </a:lnTo>
                  <a:lnTo>
                    <a:pt x="354" y="1320"/>
                  </a:lnTo>
                  <a:lnTo>
                    <a:pt x="354" y="1314"/>
                  </a:lnTo>
                  <a:lnTo>
                    <a:pt x="354" y="1308"/>
                  </a:lnTo>
                  <a:lnTo>
                    <a:pt x="348" y="1308"/>
                  </a:lnTo>
                  <a:lnTo>
                    <a:pt x="348" y="1302"/>
                  </a:lnTo>
                  <a:lnTo>
                    <a:pt x="342" y="1296"/>
                  </a:lnTo>
                  <a:lnTo>
                    <a:pt x="336" y="1296"/>
                  </a:lnTo>
                  <a:lnTo>
                    <a:pt x="336" y="1290"/>
                  </a:lnTo>
                  <a:lnTo>
                    <a:pt x="330" y="1290"/>
                  </a:lnTo>
                  <a:lnTo>
                    <a:pt x="324" y="1290"/>
                  </a:lnTo>
                  <a:lnTo>
                    <a:pt x="324" y="1284"/>
                  </a:lnTo>
                  <a:lnTo>
                    <a:pt x="318" y="1284"/>
                  </a:lnTo>
                  <a:lnTo>
                    <a:pt x="318" y="1278"/>
                  </a:lnTo>
                  <a:lnTo>
                    <a:pt x="312" y="1278"/>
                  </a:lnTo>
                  <a:lnTo>
                    <a:pt x="312" y="1272"/>
                  </a:lnTo>
                  <a:lnTo>
                    <a:pt x="312" y="1278"/>
                  </a:lnTo>
                  <a:lnTo>
                    <a:pt x="318" y="1284"/>
                  </a:lnTo>
                  <a:lnTo>
                    <a:pt x="324" y="1290"/>
                  </a:lnTo>
                  <a:lnTo>
                    <a:pt x="330" y="1290"/>
                  </a:lnTo>
                  <a:lnTo>
                    <a:pt x="330" y="1296"/>
                  </a:lnTo>
                  <a:lnTo>
                    <a:pt x="336" y="1296"/>
                  </a:lnTo>
                  <a:lnTo>
                    <a:pt x="336" y="1302"/>
                  </a:lnTo>
                  <a:lnTo>
                    <a:pt x="342" y="1302"/>
                  </a:lnTo>
                  <a:lnTo>
                    <a:pt x="348" y="1302"/>
                  </a:lnTo>
                  <a:lnTo>
                    <a:pt x="348" y="1308"/>
                  </a:lnTo>
                  <a:lnTo>
                    <a:pt x="348" y="1314"/>
                  </a:lnTo>
                  <a:lnTo>
                    <a:pt x="354" y="1314"/>
                  </a:lnTo>
                  <a:lnTo>
                    <a:pt x="354" y="1320"/>
                  </a:lnTo>
                  <a:lnTo>
                    <a:pt x="354" y="1326"/>
                  </a:lnTo>
                  <a:lnTo>
                    <a:pt x="348" y="1326"/>
                  </a:lnTo>
                  <a:lnTo>
                    <a:pt x="348" y="1332"/>
                  </a:lnTo>
                  <a:lnTo>
                    <a:pt x="348" y="1338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2" y="1350"/>
                  </a:lnTo>
                  <a:lnTo>
                    <a:pt x="336" y="1350"/>
                  </a:lnTo>
                  <a:lnTo>
                    <a:pt x="330" y="1350"/>
                  </a:lnTo>
                  <a:lnTo>
                    <a:pt x="330" y="1356"/>
                  </a:lnTo>
                  <a:lnTo>
                    <a:pt x="330" y="1350"/>
                  </a:lnTo>
                  <a:lnTo>
                    <a:pt x="324" y="1350"/>
                  </a:lnTo>
                  <a:lnTo>
                    <a:pt x="318" y="1344"/>
                  </a:lnTo>
                  <a:lnTo>
                    <a:pt x="318" y="1350"/>
                  </a:lnTo>
                  <a:lnTo>
                    <a:pt x="312" y="1344"/>
                  </a:lnTo>
                  <a:lnTo>
                    <a:pt x="312" y="1338"/>
                  </a:lnTo>
                  <a:lnTo>
                    <a:pt x="306" y="1338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6" y="1326"/>
                  </a:lnTo>
                  <a:lnTo>
                    <a:pt x="306" y="1320"/>
                  </a:lnTo>
                  <a:lnTo>
                    <a:pt x="306" y="1326"/>
                  </a:lnTo>
                  <a:lnTo>
                    <a:pt x="312" y="1326"/>
                  </a:lnTo>
                  <a:lnTo>
                    <a:pt x="312" y="1320"/>
                  </a:lnTo>
                  <a:lnTo>
                    <a:pt x="306" y="1320"/>
                  </a:lnTo>
                  <a:lnTo>
                    <a:pt x="300" y="1320"/>
                  </a:lnTo>
                  <a:lnTo>
                    <a:pt x="294" y="1320"/>
                  </a:lnTo>
                  <a:lnTo>
                    <a:pt x="294" y="1314"/>
                  </a:lnTo>
                  <a:lnTo>
                    <a:pt x="288" y="1314"/>
                  </a:lnTo>
                  <a:lnTo>
                    <a:pt x="288" y="1308"/>
                  </a:lnTo>
                  <a:lnTo>
                    <a:pt x="288" y="1302"/>
                  </a:lnTo>
                  <a:lnTo>
                    <a:pt x="294" y="1302"/>
                  </a:lnTo>
                  <a:lnTo>
                    <a:pt x="294" y="1296"/>
                  </a:lnTo>
                  <a:lnTo>
                    <a:pt x="288" y="1296"/>
                  </a:lnTo>
                  <a:lnTo>
                    <a:pt x="288" y="1290"/>
                  </a:lnTo>
                  <a:lnTo>
                    <a:pt x="288" y="1296"/>
                  </a:lnTo>
                  <a:lnTo>
                    <a:pt x="294" y="1302"/>
                  </a:lnTo>
                  <a:lnTo>
                    <a:pt x="288" y="1302"/>
                  </a:lnTo>
                  <a:lnTo>
                    <a:pt x="282" y="1296"/>
                  </a:lnTo>
                  <a:lnTo>
                    <a:pt x="276" y="1296"/>
                  </a:lnTo>
                  <a:lnTo>
                    <a:pt x="276" y="1290"/>
                  </a:lnTo>
                  <a:lnTo>
                    <a:pt x="270" y="1290"/>
                  </a:lnTo>
                  <a:lnTo>
                    <a:pt x="264" y="1284"/>
                  </a:lnTo>
                  <a:lnTo>
                    <a:pt x="264" y="1278"/>
                  </a:lnTo>
                  <a:lnTo>
                    <a:pt x="264" y="1272"/>
                  </a:lnTo>
                  <a:lnTo>
                    <a:pt x="264" y="1266"/>
                  </a:lnTo>
                  <a:lnTo>
                    <a:pt x="258" y="1266"/>
                  </a:lnTo>
                  <a:lnTo>
                    <a:pt x="252" y="1266"/>
                  </a:lnTo>
                  <a:lnTo>
                    <a:pt x="246" y="1260"/>
                  </a:lnTo>
                  <a:lnTo>
                    <a:pt x="240" y="1254"/>
                  </a:lnTo>
                  <a:lnTo>
                    <a:pt x="240" y="1260"/>
                  </a:lnTo>
                  <a:lnTo>
                    <a:pt x="240" y="1266"/>
                  </a:lnTo>
                  <a:lnTo>
                    <a:pt x="240" y="1272"/>
                  </a:lnTo>
                  <a:lnTo>
                    <a:pt x="246" y="1272"/>
                  </a:lnTo>
                  <a:lnTo>
                    <a:pt x="246" y="1278"/>
                  </a:lnTo>
                  <a:lnTo>
                    <a:pt x="246" y="1284"/>
                  </a:lnTo>
                  <a:lnTo>
                    <a:pt x="252" y="1284"/>
                  </a:lnTo>
                  <a:lnTo>
                    <a:pt x="252" y="1290"/>
                  </a:lnTo>
                  <a:lnTo>
                    <a:pt x="258" y="1296"/>
                  </a:lnTo>
                  <a:lnTo>
                    <a:pt x="264" y="1302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58" y="1314"/>
                  </a:lnTo>
                  <a:lnTo>
                    <a:pt x="258" y="1308"/>
                  </a:lnTo>
                  <a:lnTo>
                    <a:pt x="252" y="1308"/>
                  </a:lnTo>
                  <a:lnTo>
                    <a:pt x="252" y="1302"/>
                  </a:lnTo>
                  <a:lnTo>
                    <a:pt x="246" y="1302"/>
                  </a:lnTo>
                  <a:lnTo>
                    <a:pt x="246" y="1296"/>
                  </a:lnTo>
                  <a:lnTo>
                    <a:pt x="240" y="1296"/>
                  </a:lnTo>
                  <a:lnTo>
                    <a:pt x="240" y="1290"/>
                  </a:lnTo>
                  <a:lnTo>
                    <a:pt x="234" y="1284"/>
                  </a:lnTo>
                  <a:lnTo>
                    <a:pt x="234" y="1278"/>
                  </a:lnTo>
                  <a:close/>
                  <a:moveTo>
                    <a:pt x="444" y="1332"/>
                  </a:moveTo>
                  <a:lnTo>
                    <a:pt x="450" y="1326"/>
                  </a:lnTo>
                  <a:lnTo>
                    <a:pt x="456" y="1326"/>
                  </a:lnTo>
                  <a:lnTo>
                    <a:pt x="456" y="1332"/>
                  </a:lnTo>
                  <a:lnTo>
                    <a:pt x="456" y="1338"/>
                  </a:lnTo>
                  <a:lnTo>
                    <a:pt x="450" y="1338"/>
                  </a:lnTo>
                  <a:lnTo>
                    <a:pt x="444" y="1338"/>
                  </a:lnTo>
                  <a:lnTo>
                    <a:pt x="444" y="1332"/>
                  </a:lnTo>
                  <a:close/>
                  <a:moveTo>
                    <a:pt x="444" y="1368"/>
                  </a:moveTo>
                  <a:lnTo>
                    <a:pt x="456" y="1368"/>
                  </a:lnTo>
                  <a:lnTo>
                    <a:pt x="456" y="1374"/>
                  </a:lnTo>
                  <a:lnTo>
                    <a:pt x="444" y="1374"/>
                  </a:lnTo>
                  <a:lnTo>
                    <a:pt x="444" y="1368"/>
                  </a:lnTo>
                  <a:close/>
                  <a:moveTo>
                    <a:pt x="444" y="1386"/>
                  </a:moveTo>
                  <a:lnTo>
                    <a:pt x="444" y="1380"/>
                  </a:lnTo>
                  <a:lnTo>
                    <a:pt x="444" y="1374"/>
                  </a:lnTo>
                  <a:lnTo>
                    <a:pt x="444" y="1380"/>
                  </a:lnTo>
                  <a:lnTo>
                    <a:pt x="450" y="1380"/>
                  </a:lnTo>
                  <a:lnTo>
                    <a:pt x="456" y="1380"/>
                  </a:lnTo>
                  <a:lnTo>
                    <a:pt x="456" y="1386"/>
                  </a:lnTo>
                  <a:lnTo>
                    <a:pt x="456" y="1392"/>
                  </a:lnTo>
                  <a:lnTo>
                    <a:pt x="462" y="1392"/>
                  </a:lnTo>
                  <a:lnTo>
                    <a:pt x="462" y="1398"/>
                  </a:lnTo>
                  <a:lnTo>
                    <a:pt x="462" y="1404"/>
                  </a:lnTo>
                  <a:lnTo>
                    <a:pt x="456" y="1404"/>
                  </a:lnTo>
                  <a:lnTo>
                    <a:pt x="450" y="1404"/>
                  </a:lnTo>
                  <a:lnTo>
                    <a:pt x="450" y="1398"/>
                  </a:lnTo>
                  <a:lnTo>
                    <a:pt x="444" y="1398"/>
                  </a:lnTo>
                  <a:lnTo>
                    <a:pt x="444" y="1392"/>
                  </a:lnTo>
                  <a:lnTo>
                    <a:pt x="444" y="1386"/>
                  </a:lnTo>
                  <a:close/>
                  <a:moveTo>
                    <a:pt x="438" y="1362"/>
                  </a:moveTo>
                  <a:lnTo>
                    <a:pt x="444" y="1356"/>
                  </a:lnTo>
                  <a:lnTo>
                    <a:pt x="450" y="1356"/>
                  </a:lnTo>
                  <a:lnTo>
                    <a:pt x="450" y="1362"/>
                  </a:lnTo>
                  <a:lnTo>
                    <a:pt x="450" y="1368"/>
                  </a:lnTo>
                  <a:lnTo>
                    <a:pt x="444" y="1368"/>
                  </a:lnTo>
                  <a:lnTo>
                    <a:pt x="444" y="1362"/>
                  </a:lnTo>
                  <a:lnTo>
                    <a:pt x="438" y="1362"/>
                  </a:lnTo>
                  <a:close/>
                  <a:moveTo>
                    <a:pt x="438" y="1350"/>
                  </a:moveTo>
                  <a:lnTo>
                    <a:pt x="438" y="1344"/>
                  </a:lnTo>
                  <a:lnTo>
                    <a:pt x="438" y="1338"/>
                  </a:lnTo>
                  <a:lnTo>
                    <a:pt x="444" y="1338"/>
                  </a:lnTo>
                  <a:lnTo>
                    <a:pt x="450" y="1338"/>
                  </a:lnTo>
                  <a:lnTo>
                    <a:pt x="456" y="1338"/>
                  </a:lnTo>
                  <a:lnTo>
                    <a:pt x="450" y="1344"/>
                  </a:lnTo>
                  <a:lnTo>
                    <a:pt x="444" y="1350"/>
                  </a:lnTo>
                  <a:lnTo>
                    <a:pt x="438" y="1350"/>
                  </a:lnTo>
                  <a:close/>
                  <a:moveTo>
                    <a:pt x="432" y="1380"/>
                  </a:moveTo>
                  <a:lnTo>
                    <a:pt x="432" y="1368"/>
                  </a:lnTo>
                  <a:lnTo>
                    <a:pt x="432" y="1362"/>
                  </a:lnTo>
                  <a:lnTo>
                    <a:pt x="432" y="1356"/>
                  </a:lnTo>
                  <a:lnTo>
                    <a:pt x="438" y="1356"/>
                  </a:lnTo>
                  <a:lnTo>
                    <a:pt x="438" y="1362"/>
                  </a:lnTo>
                  <a:lnTo>
                    <a:pt x="438" y="1368"/>
                  </a:lnTo>
                  <a:lnTo>
                    <a:pt x="438" y="1374"/>
                  </a:lnTo>
                  <a:lnTo>
                    <a:pt x="438" y="1380"/>
                  </a:lnTo>
                  <a:lnTo>
                    <a:pt x="438" y="1386"/>
                  </a:lnTo>
                  <a:lnTo>
                    <a:pt x="438" y="1380"/>
                  </a:lnTo>
                  <a:lnTo>
                    <a:pt x="432" y="1380"/>
                  </a:lnTo>
                  <a:close/>
                  <a:moveTo>
                    <a:pt x="246" y="1272"/>
                  </a:moveTo>
                  <a:lnTo>
                    <a:pt x="252" y="1272"/>
                  </a:lnTo>
                  <a:lnTo>
                    <a:pt x="252" y="1278"/>
                  </a:lnTo>
                  <a:lnTo>
                    <a:pt x="246" y="1278"/>
                  </a:lnTo>
                  <a:lnTo>
                    <a:pt x="246" y="1272"/>
                  </a:lnTo>
                  <a:close/>
                  <a:moveTo>
                    <a:pt x="426" y="1416"/>
                  </a:moveTo>
                  <a:lnTo>
                    <a:pt x="432" y="1410"/>
                  </a:lnTo>
                  <a:lnTo>
                    <a:pt x="438" y="1410"/>
                  </a:lnTo>
                  <a:lnTo>
                    <a:pt x="438" y="1416"/>
                  </a:lnTo>
                  <a:lnTo>
                    <a:pt x="438" y="1422"/>
                  </a:lnTo>
                  <a:lnTo>
                    <a:pt x="432" y="1422"/>
                  </a:lnTo>
                  <a:lnTo>
                    <a:pt x="426" y="1422"/>
                  </a:lnTo>
                  <a:lnTo>
                    <a:pt x="426" y="1416"/>
                  </a:lnTo>
                  <a:close/>
                  <a:moveTo>
                    <a:pt x="246" y="1266"/>
                  </a:moveTo>
                  <a:lnTo>
                    <a:pt x="252" y="1266"/>
                  </a:lnTo>
                  <a:lnTo>
                    <a:pt x="258" y="1272"/>
                  </a:lnTo>
                  <a:lnTo>
                    <a:pt x="258" y="1278"/>
                  </a:lnTo>
                  <a:lnTo>
                    <a:pt x="258" y="1284"/>
                  </a:lnTo>
                  <a:lnTo>
                    <a:pt x="252" y="1284"/>
                  </a:lnTo>
                  <a:lnTo>
                    <a:pt x="252" y="1278"/>
                  </a:lnTo>
                  <a:lnTo>
                    <a:pt x="252" y="1272"/>
                  </a:lnTo>
                  <a:lnTo>
                    <a:pt x="252" y="1266"/>
                  </a:lnTo>
                  <a:lnTo>
                    <a:pt x="246" y="1266"/>
                  </a:lnTo>
                  <a:close/>
                  <a:moveTo>
                    <a:pt x="408" y="1458"/>
                  </a:moveTo>
                  <a:lnTo>
                    <a:pt x="408" y="1452"/>
                  </a:lnTo>
                  <a:lnTo>
                    <a:pt x="414" y="1452"/>
                  </a:lnTo>
                  <a:lnTo>
                    <a:pt x="414" y="1446"/>
                  </a:lnTo>
                  <a:lnTo>
                    <a:pt x="414" y="1440"/>
                  </a:lnTo>
                  <a:lnTo>
                    <a:pt x="420" y="1440"/>
                  </a:lnTo>
                  <a:lnTo>
                    <a:pt x="420" y="1434"/>
                  </a:lnTo>
                  <a:lnTo>
                    <a:pt x="420" y="1428"/>
                  </a:lnTo>
                  <a:lnTo>
                    <a:pt x="420" y="1422"/>
                  </a:lnTo>
                  <a:lnTo>
                    <a:pt x="426" y="1422"/>
                  </a:lnTo>
                  <a:lnTo>
                    <a:pt x="432" y="1428"/>
                  </a:lnTo>
                  <a:lnTo>
                    <a:pt x="438" y="1428"/>
                  </a:lnTo>
                  <a:lnTo>
                    <a:pt x="438" y="1434"/>
                  </a:lnTo>
                  <a:lnTo>
                    <a:pt x="438" y="1428"/>
                  </a:lnTo>
                  <a:lnTo>
                    <a:pt x="438" y="1422"/>
                  </a:lnTo>
                  <a:lnTo>
                    <a:pt x="444" y="1416"/>
                  </a:lnTo>
                  <a:lnTo>
                    <a:pt x="444" y="1410"/>
                  </a:lnTo>
                  <a:lnTo>
                    <a:pt x="450" y="1416"/>
                  </a:lnTo>
                  <a:lnTo>
                    <a:pt x="456" y="1416"/>
                  </a:lnTo>
                  <a:lnTo>
                    <a:pt x="456" y="1422"/>
                  </a:lnTo>
                  <a:lnTo>
                    <a:pt x="456" y="1428"/>
                  </a:lnTo>
                  <a:lnTo>
                    <a:pt x="456" y="1434"/>
                  </a:lnTo>
                  <a:lnTo>
                    <a:pt x="456" y="1440"/>
                  </a:lnTo>
                  <a:lnTo>
                    <a:pt x="462" y="1440"/>
                  </a:lnTo>
                  <a:lnTo>
                    <a:pt x="462" y="1446"/>
                  </a:lnTo>
                  <a:lnTo>
                    <a:pt x="462" y="1452"/>
                  </a:lnTo>
                  <a:lnTo>
                    <a:pt x="456" y="1452"/>
                  </a:lnTo>
                  <a:lnTo>
                    <a:pt x="450" y="1452"/>
                  </a:lnTo>
                  <a:lnTo>
                    <a:pt x="444" y="1446"/>
                  </a:lnTo>
                  <a:lnTo>
                    <a:pt x="444" y="1452"/>
                  </a:lnTo>
                  <a:lnTo>
                    <a:pt x="450" y="1452"/>
                  </a:lnTo>
                  <a:lnTo>
                    <a:pt x="450" y="1458"/>
                  </a:lnTo>
                  <a:lnTo>
                    <a:pt x="444" y="1458"/>
                  </a:lnTo>
                  <a:lnTo>
                    <a:pt x="438" y="1464"/>
                  </a:lnTo>
                  <a:lnTo>
                    <a:pt x="438" y="1458"/>
                  </a:lnTo>
                  <a:lnTo>
                    <a:pt x="432" y="1458"/>
                  </a:lnTo>
                  <a:lnTo>
                    <a:pt x="426" y="1458"/>
                  </a:lnTo>
                  <a:lnTo>
                    <a:pt x="432" y="1458"/>
                  </a:lnTo>
                  <a:lnTo>
                    <a:pt x="438" y="1464"/>
                  </a:lnTo>
                  <a:lnTo>
                    <a:pt x="432" y="1464"/>
                  </a:lnTo>
                  <a:lnTo>
                    <a:pt x="432" y="1470"/>
                  </a:lnTo>
                  <a:lnTo>
                    <a:pt x="426" y="1470"/>
                  </a:lnTo>
                  <a:lnTo>
                    <a:pt x="420" y="1476"/>
                  </a:lnTo>
                  <a:lnTo>
                    <a:pt x="420" y="1470"/>
                  </a:lnTo>
                  <a:lnTo>
                    <a:pt x="414" y="1470"/>
                  </a:lnTo>
                  <a:lnTo>
                    <a:pt x="414" y="1464"/>
                  </a:lnTo>
                  <a:lnTo>
                    <a:pt x="414" y="1458"/>
                  </a:lnTo>
                  <a:lnTo>
                    <a:pt x="408" y="1458"/>
                  </a:lnTo>
                  <a:close/>
                  <a:moveTo>
                    <a:pt x="270" y="1326"/>
                  </a:moveTo>
                  <a:lnTo>
                    <a:pt x="270" y="1320"/>
                  </a:lnTo>
                  <a:lnTo>
                    <a:pt x="276" y="1320"/>
                  </a:lnTo>
                  <a:lnTo>
                    <a:pt x="282" y="1326"/>
                  </a:lnTo>
                  <a:lnTo>
                    <a:pt x="288" y="1326"/>
                  </a:lnTo>
                  <a:lnTo>
                    <a:pt x="288" y="1332"/>
                  </a:lnTo>
                  <a:lnTo>
                    <a:pt x="288" y="1338"/>
                  </a:lnTo>
                  <a:lnTo>
                    <a:pt x="288" y="1344"/>
                  </a:lnTo>
                  <a:lnTo>
                    <a:pt x="282" y="1344"/>
                  </a:lnTo>
                  <a:lnTo>
                    <a:pt x="282" y="1338"/>
                  </a:lnTo>
                  <a:lnTo>
                    <a:pt x="276" y="1338"/>
                  </a:lnTo>
                  <a:lnTo>
                    <a:pt x="276" y="1332"/>
                  </a:lnTo>
                  <a:lnTo>
                    <a:pt x="270" y="1332"/>
                  </a:lnTo>
                  <a:lnTo>
                    <a:pt x="270" y="1326"/>
                  </a:lnTo>
                  <a:close/>
                  <a:moveTo>
                    <a:pt x="288" y="1458"/>
                  </a:moveTo>
                  <a:lnTo>
                    <a:pt x="294" y="1458"/>
                  </a:lnTo>
                  <a:lnTo>
                    <a:pt x="294" y="1452"/>
                  </a:lnTo>
                  <a:lnTo>
                    <a:pt x="294" y="1446"/>
                  </a:lnTo>
                  <a:lnTo>
                    <a:pt x="300" y="1446"/>
                  </a:lnTo>
                  <a:lnTo>
                    <a:pt x="300" y="1440"/>
                  </a:lnTo>
                  <a:lnTo>
                    <a:pt x="306" y="1440"/>
                  </a:lnTo>
                  <a:lnTo>
                    <a:pt x="306" y="1446"/>
                  </a:lnTo>
                  <a:lnTo>
                    <a:pt x="312" y="1452"/>
                  </a:lnTo>
                  <a:lnTo>
                    <a:pt x="306" y="1452"/>
                  </a:lnTo>
                  <a:lnTo>
                    <a:pt x="306" y="1458"/>
                  </a:lnTo>
                  <a:lnTo>
                    <a:pt x="312" y="1464"/>
                  </a:lnTo>
                  <a:lnTo>
                    <a:pt x="306" y="1464"/>
                  </a:lnTo>
                  <a:lnTo>
                    <a:pt x="306" y="1470"/>
                  </a:lnTo>
                  <a:lnTo>
                    <a:pt x="300" y="1476"/>
                  </a:lnTo>
                  <a:lnTo>
                    <a:pt x="294" y="1476"/>
                  </a:lnTo>
                  <a:lnTo>
                    <a:pt x="294" y="1470"/>
                  </a:lnTo>
                  <a:lnTo>
                    <a:pt x="288" y="1470"/>
                  </a:lnTo>
                  <a:lnTo>
                    <a:pt x="288" y="1464"/>
                  </a:lnTo>
                  <a:lnTo>
                    <a:pt x="288" y="1458"/>
                  </a:lnTo>
                  <a:close/>
                  <a:moveTo>
                    <a:pt x="270" y="1296"/>
                  </a:moveTo>
                  <a:lnTo>
                    <a:pt x="276" y="1296"/>
                  </a:lnTo>
                  <a:lnTo>
                    <a:pt x="282" y="1296"/>
                  </a:lnTo>
                  <a:lnTo>
                    <a:pt x="288" y="1296"/>
                  </a:lnTo>
                  <a:lnTo>
                    <a:pt x="288" y="1302"/>
                  </a:lnTo>
                  <a:lnTo>
                    <a:pt x="282" y="1308"/>
                  </a:lnTo>
                  <a:lnTo>
                    <a:pt x="276" y="1308"/>
                  </a:lnTo>
                  <a:lnTo>
                    <a:pt x="276" y="1302"/>
                  </a:lnTo>
                  <a:lnTo>
                    <a:pt x="270" y="12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4" name="Freeform 19">
              <a:extLst>
                <a:ext uri="{FF2B5EF4-FFF2-40B4-BE49-F238E27FC236}">
                  <a16:creationId xmlns:a16="http://schemas.microsoft.com/office/drawing/2014/main" id="{5B9020B8-E1C1-4611-A248-9642BBD69C9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7043" y="3765821"/>
              <a:ext cx="333193" cy="398097"/>
            </a:xfrm>
            <a:custGeom>
              <a:avLst/>
              <a:gdLst>
                <a:gd name="T0" fmla="*/ 30 w 624"/>
                <a:gd name="T1" fmla="*/ 61 h 750"/>
                <a:gd name="T2" fmla="*/ 27 w 624"/>
                <a:gd name="T3" fmla="*/ 62 h 750"/>
                <a:gd name="T4" fmla="*/ 23 w 624"/>
                <a:gd name="T5" fmla="*/ 59 h 750"/>
                <a:gd name="T6" fmla="*/ 20 w 624"/>
                <a:gd name="T7" fmla="*/ 58 h 750"/>
                <a:gd name="T8" fmla="*/ 19 w 624"/>
                <a:gd name="T9" fmla="*/ 56 h 750"/>
                <a:gd name="T10" fmla="*/ 17 w 624"/>
                <a:gd name="T11" fmla="*/ 55 h 750"/>
                <a:gd name="T12" fmla="*/ 16 w 624"/>
                <a:gd name="T13" fmla="*/ 51 h 750"/>
                <a:gd name="T14" fmla="*/ 14 w 624"/>
                <a:gd name="T15" fmla="*/ 48 h 750"/>
                <a:gd name="T16" fmla="*/ 12 w 624"/>
                <a:gd name="T17" fmla="*/ 46 h 750"/>
                <a:gd name="T18" fmla="*/ 12 w 624"/>
                <a:gd name="T19" fmla="*/ 44 h 750"/>
                <a:gd name="T20" fmla="*/ 11 w 624"/>
                <a:gd name="T21" fmla="*/ 41 h 750"/>
                <a:gd name="T22" fmla="*/ 8 w 624"/>
                <a:gd name="T23" fmla="*/ 38 h 750"/>
                <a:gd name="T24" fmla="*/ 6 w 624"/>
                <a:gd name="T25" fmla="*/ 38 h 750"/>
                <a:gd name="T26" fmla="*/ 6 w 624"/>
                <a:gd name="T27" fmla="*/ 35 h 750"/>
                <a:gd name="T28" fmla="*/ 7 w 624"/>
                <a:gd name="T29" fmla="*/ 31 h 750"/>
                <a:gd name="T30" fmla="*/ 10 w 624"/>
                <a:gd name="T31" fmla="*/ 27 h 750"/>
                <a:gd name="T32" fmla="*/ 8 w 624"/>
                <a:gd name="T33" fmla="*/ 23 h 750"/>
                <a:gd name="T34" fmla="*/ 6 w 624"/>
                <a:gd name="T35" fmla="*/ 23 h 750"/>
                <a:gd name="T36" fmla="*/ 3 w 624"/>
                <a:gd name="T37" fmla="*/ 22 h 750"/>
                <a:gd name="T38" fmla="*/ 0 w 624"/>
                <a:gd name="T39" fmla="*/ 22 h 750"/>
                <a:gd name="T40" fmla="*/ 0 w 624"/>
                <a:gd name="T41" fmla="*/ 19 h 750"/>
                <a:gd name="T42" fmla="*/ 1 w 624"/>
                <a:gd name="T43" fmla="*/ 18 h 750"/>
                <a:gd name="T44" fmla="*/ 2 w 624"/>
                <a:gd name="T45" fmla="*/ 14 h 750"/>
                <a:gd name="T46" fmla="*/ 4 w 624"/>
                <a:gd name="T47" fmla="*/ 17 h 750"/>
                <a:gd name="T48" fmla="*/ 6 w 624"/>
                <a:gd name="T49" fmla="*/ 17 h 750"/>
                <a:gd name="T50" fmla="*/ 7 w 624"/>
                <a:gd name="T51" fmla="*/ 17 h 750"/>
                <a:gd name="T52" fmla="*/ 9 w 624"/>
                <a:gd name="T53" fmla="*/ 15 h 750"/>
                <a:gd name="T54" fmla="*/ 10 w 624"/>
                <a:gd name="T55" fmla="*/ 14 h 750"/>
                <a:gd name="T56" fmla="*/ 11 w 624"/>
                <a:gd name="T57" fmla="*/ 12 h 750"/>
                <a:gd name="T58" fmla="*/ 13 w 624"/>
                <a:gd name="T59" fmla="*/ 12 h 750"/>
                <a:gd name="T60" fmla="*/ 18 w 624"/>
                <a:gd name="T61" fmla="*/ 10 h 750"/>
                <a:gd name="T62" fmla="*/ 22 w 624"/>
                <a:gd name="T63" fmla="*/ 4 h 750"/>
                <a:gd name="T64" fmla="*/ 24 w 624"/>
                <a:gd name="T65" fmla="*/ 4 h 750"/>
                <a:gd name="T66" fmla="*/ 26 w 624"/>
                <a:gd name="T67" fmla="*/ 2 h 750"/>
                <a:gd name="T68" fmla="*/ 29 w 624"/>
                <a:gd name="T69" fmla="*/ 0 h 750"/>
                <a:gd name="T70" fmla="*/ 32 w 624"/>
                <a:gd name="T71" fmla="*/ 2 h 750"/>
                <a:gd name="T72" fmla="*/ 34 w 624"/>
                <a:gd name="T73" fmla="*/ 5 h 750"/>
                <a:gd name="T74" fmla="*/ 35 w 624"/>
                <a:gd name="T75" fmla="*/ 8 h 750"/>
                <a:gd name="T76" fmla="*/ 39 w 624"/>
                <a:gd name="T77" fmla="*/ 11 h 750"/>
                <a:gd name="T78" fmla="*/ 42 w 624"/>
                <a:gd name="T79" fmla="*/ 14 h 750"/>
                <a:gd name="T80" fmla="*/ 46 w 624"/>
                <a:gd name="T81" fmla="*/ 12 h 750"/>
                <a:gd name="T82" fmla="*/ 49 w 624"/>
                <a:gd name="T83" fmla="*/ 12 h 750"/>
                <a:gd name="T84" fmla="*/ 51 w 624"/>
                <a:gd name="T85" fmla="*/ 12 h 750"/>
                <a:gd name="T86" fmla="*/ 53 w 624"/>
                <a:gd name="T87" fmla="*/ 12 h 750"/>
                <a:gd name="T88" fmla="*/ 53 w 624"/>
                <a:gd name="T89" fmla="*/ 17 h 750"/>
                <a:gd name="T90" fmla="*/ 51 w 624"/>
                <a:gd name="T91" fmla="*/ 20 h 750"/>
                <a:gd name="T92" fmla="*/ 49 w 624"/>
                <a:gd name="T93" fmla="*/ 26 h 750"/>
                <a:gd name="T94" fmla="*/ 47 w 624"/>
                <a:gd name="T95" fmla="*/ 26 h 750"/>
                <a:gd name="T96" fmla="*/ 44 w 624"/>
                <a:gd name="T97" fmla="*/ 26 h 750"/>
                <a:gd name="T98" fmla="*/ 43 w 624"/>
                <a:gd name="T99" fmla="*/ 27 h 750"/>
                <a:gd name="T100" fmla="*/ 45 w 624"/>
                <a:gd name="T101" fmla="*/ 32 h 750"/>
                <a:gd name="T102" fmla="*/ 44 w 624"/>
                <a:gd name="T103" fmla="*/ 43 h 750"/>
                <a:gd name="T104" fmla="*/ 44 w 624"/>
                <a:gd name="T105" fmla="*/ 47 h 750"/>
                <a:gd name="T106" fmla="*/ 44 w 624"/>
                <a:gd name="T107" fmla="*/ 54 h 750"/>
                <a:gd name="T108" fmla="*/ 41 w 624"/>
                <a:gd name="T109" fmla="*/ 60 h 750"/>
                <a:gd name="T110" fmla="*/ 42 w 624"/>
                <a:gd name="T111" fmla="*/ 62 h 750"/>
                <a:gd name="T112" fmla="*/ 43 w 624"/>
                <a:gd name="T113" fmla="*/ 65 h 750"/>
                <a:gd name="T114" fmla="*/ 39 w 624"/>
                <a:gd name="T115" fmla="*/ 63 h 750"/>
                <a:gd name="T116" fmla="*/ 35 w 624"/>
                <a:gd name="T117" fmla="*/ 62 h 75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24"/>
                <a:gd name="T178" fmla="*/ 0 h 750"/>
                <a:gd name="T179" fmla="*/ 624 w 624"/>
                <a:gd name="T180" fmla="*/ 750 h 75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24" h="750">
                  <a:moveTo>
                    <a:pt x="390" y="702"/>
                  </a:moveTo>
                  <a:lnTo>
                    <a:pt x="372" y="696"/>
                  </a:lnTo>
                  <a:lnTo>
                    <a:pt x="360" y="702"/>
                  </a:lnTo>
                  <a:lnTo>
                    <a:pt x="348" y="702"/>
                  </a:lnTo>
                  <a:lnTo>
                    <a:pt x="336" y="702"/>
                  </a:lnTo>
                  <a:lnTo>
                    <a:pt x="330" y="702"/>
                  </a:lnTo>
                  <a:lnTo>
                    <a:pt x="318" y="708"/>
                  </a:lnTo>
                  <a:lnTo>
                    <a:pt x="306" y="708"/>
                  </a:lnTo>
                  <a:lnTo>
                    <a:pt x="294" y="690"/>
                  </a:lnTo>
                  <a:lnTo>
                    <a:pt x="294" y="684"/>
                  </a:lnTo>
                  <a:lnTo>
                    <a:pt x="276" y="684"/>
                  </a:lnTo>
                  <a:lnTo>
                    <a:pt x="270" y="678"/>
                  </a:lnTo>
                  <a:lnTo>
                    <a:pt x="240" y="672"/>
                  </a:lnTo>
                  <a:lnTo>
                    <a:pt x="234" y="672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6"/>
                  </a:lnTo>
                  <a:lnTo>
                    <a:pt x="216" y="660"/>
                  </a:lnTo>
                  <a:lnTo>
                    <a:pt x="216" y="654"/>
                  </a:lnTo>
                  <a:lnTo>
                    <a:pt x="216" y="642"/>
                  </a:lnTo>
                  <a:lnTo>
                    <a:pt x="210" y="642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36"/>
                  </a:lnTo>
                  <a:lnTo>
                    <a:pt x="192" y="624"/>
                  </a:lnTo>
                  <a:lnTo>
                    <a:pt x="186" y="612"/>
                  </a:lnTo>
                  <a:lnTo>
                    <a:pt x="186" y="600"/>
                  </a:lnTo>
                  <a:lnTo>
                    <a:pt x="186" y="588"/>
                  </a:lnTo>
                  <a:lnTo>
                    <a:pt x="180" y="582"/>
                  </a:lnTo>
                  <a:lnTo>
                    <a:pt x="180" y="570"/>
                  </a:lnTo>
                  <a:lnTo>
                    <a:pt x="174" y="558"/>
                  </a:lnTo>
                  <a:lnTo>
                    <a:pt x="162" y="558"/>
                  </a:lnTo>
                  <a:lnTo>
                    <a:pt x="144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38" y="534"/>
                  </a:lnTo>
                  <a:lnTo>
                    <a:pt x="138" y="528"/>
                  </a:lnTo>
                  <a:lnTo>
                    <a:pt x="132" y="522"/>
                  </a:lnTo>
                  <a:lnTo>
                    <a:pt x="144" y="522"/>
                  </a:lnTo>
                  <a:lnTo>
                    <a:pt x="144" y="510"/>
                  </a:lnTo>
                  <a:lnTo>
                    <a:pt x="144" y="504"/>
                  </a:lnTo>
                  <a:lnTo>
                    <a:pt x="138" y="492"/>
                  </a:lnTo>
                  <a:lnTo>
                    <a:pt x="138" y="474"/>
                  </a:lnTo>
                  <a:lnTo>
                    <a:pt x="126" y="468"/>
                  </a:lnTo>
                  <a:lnTo>
                    <a:pt x="120" y="456"/>
                  </a:lnTo>
                  <a:lnTo>
                    <a:pt x="114" y="450"/>
                  </a:lnTo>
                  <a:lnTo>
                    <a:pt x="108" y="438"/>
                  </a:lnTo>
                  <a:lnTo>
                    <a:pt x="96" y="432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60" y="426"/>
                  </a:lnTo>
                  <a:lnTo>
                    <a:pt x="66" y="420"/>
                  </a:lnTo>
                  <a:lnTo>
                    <a:pt x="66" y="408"/>
                  </a:lnTo>
                  <a:lnTo>
                    <a:pt x="72" y="408"/>
                  </a:lnTo>
                  <a:lnTo>
                    <a:pt x="72" y="384"/>
                  </a:lnTo>
                  <a:lnTo>
                    <a:pt x="72" y="366"/>
                  </a:lnTo>
                  <a:lnTo>
                    <a:pt x="78" y="354"/>
                  </a:lnTo>
                  <a:lnTo>
                    <a:pt x="84" y="354"/>
                  </a:lnTo>
                  <a:lnTo>
                    <a:pt x="90" y="348"/>
                  </a:lnTo>
                  <a:lnTo>
                    <a:pt x="102" y="336"/>
                  </a:lnTo>
                  <a:lnTo>
                    <a:pt x="114" y="324"/>
                  </a:lnTo>
                  <a:lnTo>
                    <a:pt x="120" y="312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20" y="276"/>
                  </a:lnTo>
                  <a:lnTo>
                    <a:pt x="96" y="270"/>
                  </a:lnTo>
                  <a:lnTo>
                    <a:pt x="84" y="270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72" y="264"/>
                  </a:lnTo>
                  <a:lnTo>
                    <a:pt x="60" y="252"/>
                  </a:lnTo>
                  <a:lnTo>
                    <a:pt x="42" y="252"/>
                  </a:lnTo>
                  <a:lnTo>
                    <a:pt x="42" y="258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18" y="252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42" y="156"/>
                  </a:lnTo>
                  <a:lnTo>
                    <a:pt x="48" y="198"/>
                  </a:lnTo>
                  <a:lnTo>
                    <a:pt x="48" y="204"/>
                  </a:lnTo>
                  <a:lnTo>
                    <a:pt x="54" y="198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204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192"/>
                  </a:lnTo>
                  <a:lnTo>
                    <a:pt x="96" y="186"/>
                  </a:lnTo>
                  <a:lnTo>
                    <a:pt x="102" y="180"/>
                  </a:lnTo>
                  <a:lnTo>
                    <a:pt x="102" y="174"/>
                  </a:lnTo>
                  <a:lnTo>
                    <a:pt x="108" y="168"/>
                  </a:lnTo>
                  <a:lnTo>
                    <a:pt x="108" y="162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0"/>
                  </a:lnTo>
                  <a:lnTo>
                    <a:pt x="132" y="144"/>
                  </a:lnTo>
                  <a:lnTo>
                    <a:pt x="138" y="138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0" y="132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74" y="126"/>
                  </a:lnTo>
                  <a:lnTo>
                    <a:pt x="204" y="120"/>
                  </a:lnTo>
                  <a:lnTo>
                    <a:pt x="210" y="78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54"/>
                  </a:lnTo>
                  <a:lnTo>
                    <a:pt x="276" y="54"/>
                  </a:lnTo>
                  <a:lnTo>
                    <a:pt x="276" y="48"/>
                  </a:lnTo>
                  <a:lnTo>
                    <a:pt x="282" y="48"/>
                  </a:lnTo>
                  <a:lnTo>
                    <a:pt x="288" y="42"/>
                  </a:lnTo>
                  <a:lnTo>
                    <a:pt x="294" y="42"/>
                  </a:lnTo>
                  <a:lnTo>
                    <a:pt x="294" y="18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0"/>
                  </a:lnTo>
                  <a:lnTo>
                    <a:pt x="336" y="0"/>
                  </a:lnTo>
                  <a:lnTo>
                    <a:pt x="342" y="0"/>
                  </a:lnTo>
                  <a:lnTo>
                    <a:pt x="354" y="6"/>
                  </a:lnTo>
                  <a:lnTo>
                    <a:pt x="366" y="18"/>
                  </a:lnTo>
                  <a:lnTo>
                    <a:pt x="378" y="36"/>
                  </a:lnTo>
                  <a:lnTo>
                    <a:pt x="390" y="42"/>
                  </a:lnTo>
                  <a:lnTo>
                    <a:pt x="390" y="48"/>
                  </a:lnTo>
                  <a:lnTo>
                    <a:pt x="396" y="60"/>
                  </a:lnTo>
                  <a:lnTo>
                    <a:pt x="402" y="72"/>
                  </a:lnTo>
                  <a:lnTo>
                    <a:pt x="408" y="78"/>
                  </a:lnTo>
                  <a:lnTo>
                    <a:pt x="402" y="84"/>
                  </a:lnTo>
                  <a:lnTo>
                    <a:pt x="408" y="90"/>
                  </a:lnTo>
                  <a:lnTo>
                    <a:pt x="414" y="102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50" y="126"/>
                  </a:lnTo>
                  <a:lnTo>
                    <a:pt x="456" y="126"/>
                  </a:lnTo>
                  <a:lnTo>
                    <a:pt x="462" y="144"/>
                  </a:lnTo>
                  <a:lnTo>
                    <a:pt x="480" y="156"/>
                  </a:lnTo>
                  <a:lnTo>
                    <a:pt x="492" y="156"/>
                  </a:lnTo>
                  <a:lnTo>
                    <a:pt x="516" y="150"/>
                  </a:lnTo>
                  <a:lnTo>
                    <a:pt x="516" y="144"/>
                  </a:lnTo>
                  <a:lnTo>
                    <a:pt x="516" y="138"/>
                  </a:lnTo>
                  <a:lnTo>
                    <a:pt x="528" y="138"/>
                  </a:lnTo>
                  <a:lnTo>
                    <a:pt x="546" y="144"/>
                  </a:lnTo>
                  <a:lnTo>
                    <a:pt x="546" y="138"/>
                  </a:lnTo>
                  <a:lnTo>
                    <a:pt x="552" y="138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76" y="138"/>
                  </a:lnTo>
                  <a:lnTo>
                    <a:pt x="582" y="138"/>
                  </a:lnTo>
                  <a:lnTo>
                    <a:pt x="588" y="138"/>
                  </a:lnTo>
                  <a:lnTo>
                    <a:pt x="594" y="138"/>
                  </a:lnTo>
                  <a:lnTo>
                    <a:pt x="594" y="144"/>
                  </a:lnTo>
                  <a:lnTo>
                    <a:pt x="600" y="138"/>
                  </a:lnTo>
                  <a:lnTo>
                    <a:pt x="606" y="138"/>
                  </a:lnTo>
                  <a:lnTo>
                    <a:pt x="606" y="144"/>
                  </a:lnTo>
                  <a:lnTo>
                    <a:pt x="612" y="144"/>
                  </a:lnTo>
                  <a:lnTo>
                    <a:pt x="618" y="156"/>
                  </a:lnTo>
                  <a:lnTo>
                    <a:pt x="612" y="198"/>
                  </a:lnTo>
                  <a:lnTo>
                    <a:pt x="624" y="198"/>
                  </a:lnTo>
                  <a:lnTo>
                    <a:pt x="624" y="204"/>
                  </a:lnTo>
                  <a:lnTo>
                    <a:pt x="612" y="216"/>
                  </a:lnTo>
                  <a:lnTo>
                    <a:pt x="594" y="234"/>
                  </a:lnTo>
                  <a:lnTo>
                    <a:pt x="588" y="252"/>
                  </a:lnTo>
                  <a:lnTo>
                    <a:pt x="576" y="270"/>
                  </a:lnTo>
                  <a:lnTo>
                    <a:pt x="564" y="282"/>
                  </a:lnTo>
                  <a:lnTo>
                    <a:pt x="564" y="294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8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34" y="294"/>
                  </a:lnTo>
                  <a:lnTo>
                    <a:pt x="522" y="300"/>
                  </a:lnTo>
                  <a:lnTo>
                    <a:pt x="510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498" y="324"/>
                  </a:lnTo>
                  <a:lnTo>
                    <a:pt x="504" y="336"/>
                  </a:lnTo>
                  <a:lnTo>
                    <a:pt x="510" y="348"/>
                  </a:lnTo>
                  <a:lnTo>
                    <a:pt x="516" y="366"/>
                  </a:lnTo>
                  <a:lnTo>
                    <a:pt x="522" y="432"/>
                  </a:lnTo>
                  <a:lnTo>
                    <a:pt x="522" y="456"/>
                  </a:lnTo>
                  <a:lnTo>
                    <a:pt x="504" y="492"/>
                  </a:lnTo>
                  <a:lnTo>
                    <a:pt x="504" y="498"/>
                  </a:lnTo>
                  <a:lnTo>
                    <a:pt x="498" y="504"/>
                  </a:lnTo>
                  <a:lnTo>
                    <a:pt x="498" y="522"/>
                  </a:lnTo>
                  <a:lnTo>
                    <a:pt x="504" y="534"/>
                  </a:lnTo>
                  <a:lnTo>
                    <a:pt x="510" y="546"/>
                  </a:lnTo>
                  <a:lnTo>
                    <a:pt x="516" y="558"/>
                  </a:lnTo>
                  <a:lnTo>
                    <a:pt x="516" y="588"/>
                  </a:lnTo>
                  <a:lnTo>
                    <a:pt x="516" y="600"/>
                  </a:lnTo>
                  <a:lnTo>
                    <a:pt x="510" y="618"/>
                  </a:lnTo>
                  <a:lnTo>
                    <a:pt x="504" y="636"/>
                  </a:lnTo>
                  <a:lnTo>
                    <a:pt x="504" y="642"/>
                  </a:lnTo>
                  <a:lnTo>
                    <a:pt x="474" y="654"/>
                  </a:lnTo>
                  <a:lnTo>
                    <a:pt x="474" y="690"/>
                  </a:lnTo>
                  <a:lnTo>
                    <a:pt x="474" y="696"/>
                  </a:lnTo>
                  <a:lnTo>
                    <a:pt x="480" y="702"/>
                  </a:lnTo>
                  <a:lnTo>
                    <a:pt x="486" y="708"/>
                  </a:lnTo>
                  <a:lnTo>
                    <a:pt x="492" y="708"/>
                  </a:lnTo>
                  <a:lnTo>
                    <a:pt x="498" y="726"/>
                  </a:lnTo>
                  <a:lnTo>
                    <a:pt x="504" y="726"/>
                  </a:lnTo>
                  <a:lnTo>
                    <a:pt x="504" y="738"/>
                  </a:lnTo>
                  <a:lnTo>
                    <a:pt x="498" y="744"/>
                  </a:lnTo>
                  <a:lnTo>
                    <a:pt x="486" y="750"/>
                  </a:lnTo>
                  <a:lnTo>
                    <a:pt x="474" y="744"/>
                  </a:lnTo>
                  <a:lnTo>
                    <a:pt x="462" y="744"/>
                  </a:lnTo>
                  <a:lnTo>
                    <a:pt x="456" y="732"/>
                  </a:lnTo>
                  <a:lnTo>
                    <a:pt x="444" y="732"/>
                  </a:lnTo>
                  <a:lnTo>
                    <a:pt x="432" y="726"/>
                  </a:lnTo>
                  <a:lnTo>
                    <a:pt x="420" y="720"/>
                  </a:lnTo>
                  <a:lnTo>
                    <a:pt x="408" y="708"/>
                  </a:lnTo>
                  <a:lnTo>
                    <a:pt x="402" y="708"/>
                  </a:lnTo>
                  <a:lnTo>
                    <a:pt x="390" y="70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5" name="Freeform 20">
              <a:extLst>
                <a:ext uri="{FF2B5EF4-FFF2-40B4-BE49-F238E27FC236}">
                  <a16:creationId xmlns:a16="http://schemas.microsoft.com/office/drawing/2014/main" id="{B8342C3B-ECEC-465F-AAFF-4815B8AC392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870937"/>
              <a:ext cx="313067" cy="377968"/>
            </a:xfrm>
            <a:custGeom>
              <a:avLst/>
              <a:gdLst>
                <a:gd name="T0" fmla="*/ 15 w 588"/>
                <a:gd name="T1" fmla="*/ 59 h 714"/>
                <a:gd name="T2" fmla="*/ 14 w 588"/>
                <a:gd name="T3" fmla="*/ 58 h 714"/>
                <a:gd name="T4" fmla="*/ 9 w 588"/>
                <a:gd name="T5" fmla="*/ 54 h 714"/>
                <a:gd name="T6" fmla="*/ 4 w 588"/>
                <a:gd name="T7" fmla="*/ 54 h 714"/>
                <a:gd name="T8" fmla="*/ 0 w 588"/>
                <a:gd name="T9" fmla="*/ 50 h 714"/>
                <a:gd name="T10" fmla="*/ 0 w 588"/>
                <a:gd name="T11" fmla="*/ 44 h 714"/>
                <a:gd name="T12" fmla="*/ 4 w 588"/>
                <a:gd name="T13" fmla="*/ 46 h 714"/>
                <a:gd name="T14" fmla="*/ 7 w 588"/>
                <a:gd name="T15" fmla="*/ 47 h 714"/>
                <a:gd name="T16" fmla="*/ 10 w 588"/>
                <a:gd name="T17" fmla="*/ 46 h 714"/>
                <a:gd name="T18" fmla="*/ 8 w 588"/>
                <a:gd name="T19" fmla="*/ 44 h 714"/>
                <a:gd name="T20" fmla="*/ 10 w 588"/>
                <a:gd name="T21" fmla="*/ 39 h 714"/>
                <a:gd name="T22" fmla="*/ 11 w 588"/>
                <a:gd name="T23" fmla="*/ 34 h 714"/>
                <a:gd name="T24" fmla="*/ 9 w 588"/>
                <a:gd name="T25" fmla="*/ 28 h 714"/>
                <a:gd name="T26" fmla="*/ 11 w 588"/>
                <a:gd name="T27" fmla="*/ 22 h 714"/>
                <a:gd name="T28" fmla="*/ 10 w 588"/>
                <a:gd name="T29" fmla="*/ 12 h 714"/>
                <a:gd name="T30" fmla="*/ 9 w 588"/>
                <a:gd name="T31" fmla="*/ 9 h 714"/>
                <a:gd name="T32" fmla="*/ 12 w 588"/>
                <a:gd name="T33" fmla="*/ 8 h 714"/>
                <a:gd name="T34" fmla="*/ 14 w 588"/>
                <a:gd name="T35" fmla="*/ 7 h 714"/>
                <a:gd name="T36" fmla="*/ 17 w 588"/>
                <a:gd name="T37" fmla="*/ 10 h 714"/>
                <a:gd name="T38" fmla="*/ 23 w 588"/>
                <a:gd name="T39" fmla="*/ 14 h 714"/>
                <a:gd name="T40" fmla="*/ 28 w 588"/>
                <a:gd name="T41" fmla="*/ 4 h 714"/>
                <a:gd name="T42" fmla="*/ 35 w 588"/>
                <a:gd name="T43" fmla="*/ 2 h 714"/>
                <a:gd name="T44" fmla="*/ 38 w 588"/>
                <a:gd name="T45" fmla="*/ 0 h 714"/>
                <a:gd name="T46" fmla="*/ 40 w 588"/>
                <a:gd name="T47" fmla="*/ 2 h 714"/>
                <a:gd name="T48" fmla="*/ 39 w 588"/>
                <a:gd name="T49" fmla="*/ 4 h 714"/>
                <a:gd name="T50" fmla="*/ 41 w 588"/>
                <a:gd name="T51" fmla="*/ 5 h 714"/>
                <a:gd name="T52" fmla="*/ 42 w 588"/>
                <a:gd name="T53" fmla="*/ 7 h 714"/>
                <a:gd name="T54" fmla="*/ 43 w 588"/>
                <a:gd name="T55" fmla="*/ 9 h 714"/>
                <a:gd name="T56" fmla="*/ 43 w 588"/>
                <a:gd name="T57" fmla="*/ 10 h 714"/>
                <a:gd name="T58" fmla="*/ 43 w 588"/>
                <a:gd name="T59" fmla="*/ 12 h 714"/>
                <a:gd name="T60" fmla="*/ 44 w 588"/>
                <a:gd name="T61" fmla="*/ 12 h 714"/>
                <a:gd name="T62" fmla="*/ 46 w 588"/>
                <a:gd name="T63" fmla="*/ 13 h 714"/>
                <a:gd name="T64" fmla="*/ 47 w 588"/>
                <a:gd name="T65" fmla="*/ 14 h 714"/>
                <a:gd name="T66" fmla="*/ 48 w 588"/>
                <a:gd name="T67" fmla="*/ 15 h 714"/>
                <a:gd name="T68" fmla="*/ 49 w 588"/>
                <a:gd name="T69" fmla="*/ 15 h 714"/>
                <a:gd name="T70" fmla="*/ 48 w 588"/>
                <a:gd name="T71" fmla="*/ 17 h 714"/>
                <a:gd name="T72" fmla="*/ 49 w 588"/>
                <a:gd name="T73" fmla="*/ 19 h 714"/>
                <a:gd name="T74" fmla="*/ 49 w 588"/>
                <a:gd name="T75" fmla="*/ 20 h 714"/>
                <a:gd name="T76" fmla="*/ 51 w 588"/>
                <a:gd name="T77" fmla="*/ 21 h 714"/>
                <a:gd name="T78" fmla="*/ 50 w 588"/>
                <a:gd name="T79" fmla="*/ 22 h 714"/>
                <a:gd name="T80" fmla="*/ 47 w 588"/>
                <a:gd name="T81" fmla="*/ 23 h 714"/>
                <a:gd name="T82" fmla="*/ 47 w 588"/>
                <a:gd name="T83" fmla="*/ 26 h 714"/>
                <a:gd name="T84" fmla="*/ 47 w 588"/>
                <a:gd name="T85" fmla="*/ 32 h 714"/>
                <a:gd name="T86" fmla="*/ 44 w 588"/>
                <a:gd name="T87" fmla="*/ 35 h 714"/>
                <a:gd name="T88" fmla="*/ 42 w 588"/>
                <a:gd name="T89" fmla="*/ 39 h 714"/>
                <a:gd name="T90" fmla="*/ 42 w 588"/>
                <a:gd name="T91" fmla="*/ 41 h 714"/>
                <a:gd name="T92" fmla="*/ 42 w 588"/>
                <a:gd name="T93" fmla="*/ 42 h 714"/>
                <a:gd name="T94" fmla="*/ 41 w 588"/>
                <a:gd name="T95" fmla="*/ 44 h 714"/>
                <a:gd name="T96" fmla="*/ 39 w 588"/>
                <a:gd name="T97" fmla="*/ 43 h 714"/>
                <a:gd name="T98" fmla="*/ 37 w 588"/>
                <a:gd name="T99" fmla="*/ 44 h 714"/>
                <a:gd name="T100" fmla="*/ 35 w 588"/>
                <a:gd name="T101" fmla="*/ 46 h 714"/>
                <a:gd name="T102" fmla="*/ 31 w 588"/>
                <a:gd name="T103" fmla="*/ 45 h 714"/>
                <a:gd name="T104" fmla="*/ 24 w 588"/>
                <a:gd name="T105" fmla="*/ 45 h 714"/>
                <a:gd name="T106" fmla="*/ 25 w 588"/>
                <a:gd name="T107" fmla="*/ 47 h 714"/>
                <a:gd name="T108" fmla="*/ 25 w 588"/>
                <a:gd name="T109" fmla="*/ 49 h 714"/>
                <a:gd name="T110" fmla="*/ 25 w 588"/>
                <a:gd name="T111" fmla="*/ 50 h 714"/>
                <a:gd name="T112" fmla="*/ 24 w 588"/>
                <a:gd name="T113" fmla="*/ 51 h 714"/>
                <a:gd name="T114" fmla="*/ 22 w 588"/>
                <a:gd name="T115" fmla="*/ 53 h 714"/>
                <a:gd name="T116" fmla="*/ 23 w 588"/>
                <a:gd name="T117" fmla="*/ 56 h 714"/>
                <a:gd name="T118" fmla="*/ 20 w 588"/>
                <a:gd name="T119" fmla="*/ 58 h 714"/>
                <a:gd name="T120" fmla="*/ 19 w 588"/>
                <a:gd name="T121" fmla="*/ 62 h 7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8"/>
                <a:gd name="T184" fmla="*/ 0 h 714"/>
                <a:gd name="T185" fmla="*/ 588 w 588"/>
                <a:gd name="T186" fmla="*/ 714 h 7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8" h="714">
                  <a:moveTo>
                    <a:pt x="216" y="714"/>
                  </a:moveTo>
                  <a:lnTo>
                    <a:pt x="198" y="702"/>
                  </a:lnTo>
                  <a:lnTo>
                    <a:pt x="186" y="696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74" y="678"/>
                  </a:lnTo>
                  <a:lnTo>
                    <a:pt x="168" y="672"/>
                  </a:lnTo>
                  <a:lnTo>
                    <a:pt x="162" y="666"/>
                  </a:lnTo>
                  <a:lnTo>
                    <a:pt x="156" y="636"/>
                  </a:lnTo>
                  <a:lnTo>
                    <a:pt x="144" y="630"/>
                  </a:lnTo>
                  <a:lnTo>
                    <a:pt x="108" y="630"/>
                  </a:lnTo>
                  <a:lnTo>
                    <a:pt x="102" y="624"/>
                  </a:lnTo>
                  <a:lnTo>
                    <a:pt x="96" y="624"/>
                  </a:lnTo>
                  <a:lnTo>
                    <a:pt x="72" y="624"/>
                  </a:lnTo>
                  <a:lnTo>
                    <a:pt x="54" y="624"/>
                  </a:lnTo>
                  <a:lnTo>
                    <a:pt x="42" y="618"/>
                  </a:lnTo>
                  <a:lnTo>
                    <a:pt x="30" y="612"/>
                  </a:lnTo>
                  <a:lnTo>
                    <a:pt x="6" y="606"/>
                  </a:lnTo>
                  <a:lnTo>
                    <a:pt x="0" y="606"/>
                  </a:lnTo>
                  <a:lnTo>
                    <a:pt x="0" y="570"/>
                  </a:lnTo>
                  <a:lnTo>
                    <a:pt x="6" y="552"/>
                  </a:lnTo>
                  <a:lnTo>
                    <a:pt x="6" y="522"/>
                  </a:lnTo>
                  <a:lnTo>
                    <a:pt x="0" y="510"/>
                  </a:lnTo>
                  <a:lnTo>
                    <a:pt x="0" y="504"/>
                  </a:lnTo>
                  <a:lnTo>
                    <a:pt x="12" y="510"/>
                  </a:lnTo>
                  <a:lnTo>
                    <a:pt x="18" y="510"/>
                  </a:lnTo>
                  <a:lnTo>
                    <a:pt x="30" y="522"/>
                  </a:lnTo>
                  <a:lnTo>
                    <a:pt x="42" y="528"/>
                  </a:lnTo>
                  <a:lnTo>
                    <a:pt x="54" y="534"/>
                  </a:lnTo>
                  <a:lnTo>
                    <a:pt x="66" y="534"/>
                  </a:lnTo>
                  <a:lnTo>
                    <a:pt x="72" y="546"/>
                  </a:lnTo>
                  <a:lnTo>
                    <a:pt x="84" y="546"/>
                  </a:lnTo>
                  <a:lnTo>
                    <a:pt x="96" y="552"/>
                  </a:lnTo>
                  <a:lnTo>
                    <a:pt x="108" y="546"/>
                  </a:lnTo>
                  <a:lnTo>
                    <a:pt x="114" y="540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90" y="504"/>
                  </a:lnTo>
                  <a:lnTo>
                    <a:pt x="84" y="498"/>
                  </a:lnTo>
                  <a:lnTo>
                    <a:pt x="84" y="492"/>
                  </a:lnTo>
                  <a:lnTo>
                    <a:pt x="84" y="456"/>
                  </a:lnTo>
                  <a:lnTo>
                    <a:pt x="114" y="444"/>
                  </a:lnTo>
                  <a:lnTo>
                    <a:pt x="114" y="438"/>
                  </a:lnTo>
                  <a:lnTo>
                    <a:pt x="120" y="420"/>
                  </a:lnTo>
                  <a:lnTo>
                    <a:pt x="126" y="402"/>
                  </a:lnTo>
                  <a:lnTo>
                    <a:pt x="126" y="390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14" y="336"/>
                  </a:lnTo>
                  <a:lnTo>
                    <a:pt x="108" y="324"/>
                  </a:lnTo>
                  <a:lnTo>
                    <a:pt x="108" y="306"/>
                  </a:lnTo>
                  <a:lnTo>
                    <a:pt x="114" y="300"/>
                  </a:lnTo>
                  <a:lnTo>
                    <a:pt x="114" y="294"/>
                  </a:lnTo>
                  <a:lnTo>
                    <a:pt x="132" y="258"/>
                  </a:lnTo>
                  <a:lnTo>
                    <a:pt x="132" y="234"/>
                  </a:lnTo>
                  <a:lnTo>
                    <a:pt x="126" y="168"/>
                  </a:lnTo>
                  <a:lnTo>
                    <a:pt x="120" y="150"/>
                  </a:lnTo>
                  <a:lnTo>
                    <a:pt x="114" y="138"/>
                  </a:lnTo>
                  <a:lnTo>
                    <a:pt x="108" y="126"/>
                  </a:lnTo>
                  <a:lnTo>
                    <a:pt x="108" y="120"/>
                  </a:lnTo>
                  <a:lnTo>
                    <a:pt x="108" y="114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20" y="96"/>
                  </a:lnTo>
                  <a:lnTo>
                    <a:pt x="132" y="102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56" y="90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96"/>
                  </a:lnTo>
                  <a:lnTo>
                    <a:pt x="186" y="96"/>
                  </a:lnTo>
                  <a:lnTo>
                    <a:pt x="192" y="114"/>
                  </a:lnTo>
                  <a:lnTo>
                    <a:pt x="204" y="132"/>
                  </a:lnTo>
                  <a:lnTo>
                    <a:pt x="216" y="144"/>
                  </a:lnTo>
                  <a:lnTo>
                    <a:pt x="240" y="162"/>
                  </a:lnTo>
                  <a:lnTo>
                    <a:pt x="270" y="156"/>
                  </a:lnTo>
                  <a:lnTo>
                    <a:pt x="282" y="126"/>
                  </a:lnTo>
                  <a:lnTo>
                    <a:pt x="282" y="96"/>
                  </a:lnTo>
                  <a:lnTo>
                    <a:pt x="294" y="54"/>
                  </a:lnTo>
                  <a:lnTo>
                    <a:pt x="324" y="48"/>
                  </a:lnTo>
                  <a:lnTo>
                    <a:pt x="342" y="48"/>
                  </a:lnTo>
                  <a:lnTo>
                    <a:pt x="384" y="48"/>
                  </a:lnTo>
                  <a:lnTo>
                    <a:pt x="390" y="30"/>
                  </a:lnTo>
                  <a:lnTo>
                    <a:pt x="402" y="18"/>
                  </a:lnTo>
                  <a:lnTo>
                    <a:pt x="438" y="6"/>
                  </a:lnTo>
                  <a:lnTo>
                    <a:pt x="438" y="0"/>
                  </a:lnTo>
                  <a:lnTo>
                    <a:pt x="444" y="0"/>
                  </a:lnTo>
                  <a:lnTo>
                    <a:pt x="444" y="6"/>
                  </a:lnTo>
                  <a:lnTo>
                    <a:pt x="450" y="6"/>
                  </a:lnTo>
                  <a:lnTo>
                    <a:pt x="456" y="12"/>
                  </a:lnTo>
                  <a:lnTo>
                    <a:pt x="456" y="18"/>
                  </a:lnTo>
                  <a:lnTo>
                    <a:pt x="462" y="24"/>
                  </a:lnTo>
                  <a:lnTo>
                    <a:pt x="462" y="30"/>
                  </a:lnTo>
                  <a:lnTo>
                    <a:pt x="468" y="36"/>
                  </a:lnTo>
                  <a:lnTo>
                    <a:pt x="462" y="36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74" y="60"/>
                  </a:lnTo>
                  <a:lnTo>
                    <a:pt x="486" y="78"/>
                  </a:lnTo>
                  <a:lnTo>
                    <a:pt x="486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8" y="102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498" y="114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504" y="126"/>
                  </a:lnTo>
                  <a:lnTo>
                    <a:pt x="498" y="132"/>
                  </a:lnTo>
                  <a:lnTo>
                    <a:pt x="504" y="138"/>
                  </a:lnTo>
                  <a:lnTo>
                    <a:pt x="504" y="132"/>
                  </a:lnTo>
                  <a:lnTo>
                    <a:pt x="510" y="132"/>
                  </a:lnTo>
                  <a:lnTo>
                    <a:pt x="510" y="138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56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6" y="168"/>
                  </a:lnTo>
                  <a:lnTo>
                    <a:pt x="552" y="168"/>
                  </a:lnTo>
                  <a:lnTo>
                    <a:pt x="546" y="168"/>
                  </a:lnTo>
                  <a:lnTo>
                    <a:pt x="546" y="174"/>
                  </a:lnTo>
                  <a:lnTo>
                    <a:pt x="558" y="180"/>
                  </a:lnTo>
                  <a:lnTo>
                    <a:pt x="564" y="180"/>
                  </a:lnTo>
                  <a:lnTo>
                    <a:pt x="564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52" y="198"/>
                  </a:lnTo>
                  <a:lnTo>
                    <a:pt x="558" y="204"/>
                  </a:lnTo>
                  <a:lnTo>
                    <a:pt x="564" y="204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22"/>
                  </a:lnTo>
                  <a:lnTo>
                    <a:pt x="576" y="228"/>
                  </a:lnTo>
                  <a:lnTo>
                    <a:pt x="570" y="228"/>
                  </a:lnTo>
                  <a:lnTo>
                    <a:pt x="570" y="234"/>
                  </a:lnTo>
                  <a:lnTo>
                    <a:pt x="576" y="234"/>
                  </a:lnTo>
                  <a:lnTo>
                    <a:pt x="582" y="234"/>
                  </a:lnTo>
                  <a:lnTo>
                    <a:pt x="588" y="234"/>
                  </a:lnTo>
                  <a:lnTo>
                    <a:pt x="588" y="240"/>
                  </a:lnTo>
                  <a:lnTo>
                    <a:pt x="588" y="246"/>
                  </a:lnTo>
                  <a:lnTo>
                    <a:pt x="588" y="252"/>
                  </a:lnTo>
                  <a:lnTo>
                    <a:pt x="582" y="252"/>
                  </a:lnTo>
                  <a:lnTo>
                    <a:pt x="576" y="252"/>
                  </a:lnTo>
                  <a:lnTo>
                    <a:pt x="582" y="258"/>
                  </a:lnTo>
                  <a:lnTo>
                    <a:pt x="582" y="264"/>
                  </a:lnTo>
                  <a:lnTo>
                    <a:pt x="576" y="264"/>
                  </a:lnTo>
                  <a:lnTo>
                    <a:pt x="546" y="264"/>
                  </a:lnTo>
                  <a:lnTo>
                    <a:pt x="546" y="276"/>
                  </a:lnTo>
                  <a:lnTo>
                    <a:pt x="540" y="282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40" y="324"/>
                  </a:lnTo>
                  <a:lnTo>
                    <a:pt x="552" y="330"/>
                  </a:lnTo>
                  <a:lnTo>
                    <a:pt x="558" y="342"/>
                  </a:lnTo>
                  <a:lnTo>
                    <a:pt x="546" y="372"/>
                  </a:lnTo>
                  <a:lnTo>
                    <a:pt x="534" y="372"/>
                  </a:lnTo>
                  <a:lnTo>
                    <a:pt x="534" y="384"/>
                  </a:lnTo>
                  <a:lnTo>
                    <a:pt x="522" y="384"/>
                  </a:lnTo>
                  <a:lnTo>
                    <a:pt x="510" y="402"/>
                  </a:lnTo>
                  <a:lnTo>
                    <a:pt x="504" y="420"/>
                  </a:lnTo>
                  <a:lnTo>
                    <a:pt x="492" y="426"/>
                  </a:lnTo>
                  <a:lnTo>
                    <a:pt x="486" y="432"/>
                  </a:lnTo>
                  <a:lnTo>
                    <a:pt x="486" y="444"/>
                  </a:lnTo>
                  <a:lnTo>
                    <a:pt x="486" y="450"/>
                  </a:lnTo>
                  <a:lnTo>
                    <a:pt x="486" y="456"/>
                  </a:lnTo>
                  <a:lnTo>
                    <a:pt x="486" y="462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80" y="474"/>
                  </a:lnTo>
                  <a:lnTo>
                    <a:pt x="480" y="480"/>
                  </a:lnTo>
                  <a:lnTo>
                    <a:pt x="480" y="486"/>
                  </a:lnTo>
                  <a:lnTo>
                    <a:pt x="480" y="492"/>
                  </a:lnTo>
                  <a:lnTo>
                    <a:pt x="480" y="498"/>
                  </a:lnTo>
                  <a:lnTo>
                    <a:pt x="474" y="504"/>
                  </a:lnTo>
                  <a:lnTo>
                    <a:pt x="468" y="510"/>
                  </a:lnTo>
                  <a:lnTo>
                    <a:pt x="462" y="510"/>
                  </a:lnTo>
                  <a:lnTo>
                    <a:pt x="456" y="504"/>
                  </a:lnTo>
                  <a:lnTo>
                    <a:pt x="456" y="498"/>
                  </a:lnTo>
                  <a:lnTo>
                    <a:pt x="450" y="498"/>
                  </a:lnTo>
                  <a:lnTo>
                    <a:pt x="444" y="498"/>
                  </a:lnTo>
                  <a:lnTo>
                    <a:pt x="438" y="498"/>
                  </a:lnTo>
                  <a:lnTo>
                    <a:pt x="432" y="498"/>
                  </a:lnTo>
                  <a:lnTo>
                    <a:pt x="426" y="504"/>
                  </a:lnTo>
                  <a:lnTo>
                    <a:pt x="426" y="510"/>
                  </a:lnTo>
                  <a:lnTo>
                    <a:pt x="420" y="516"/>
                  </a:lnTo>
                  <a:lnTo>
                    <a:pt x="414" y="522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84" y="528"/>
                  </a:lnTo>
                  <a:lnTo>
                    <a:pt x="366" y="540"/>
                  </a:lnTo>
                  <a:lnTo>
                    <a:pt x="360" y="522"/>
                  </a:lnTo>
                  <a:lnTo>
                    <a:pt x="348" y="504"/>
                  </a:lnTo>
                  <a:lnTo>
                    <a:pt x="330" y="504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34"/>
                  </a:lnTo>
                  <a:lnTo>
                    <a:pt x="288" y="540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2" y="540"/>
                  </a:lnTo>
                  <a:lnTo>
                    <a:pt x="282" y="546"/>
                  </a:lnTo>
                  <a:lnTo>
                    <a:pt x="288" y="552"/>
                  </a:lnTo>
                  <a:lnTo>
                    <a:pt x="294" y="564"/>
                  </a:lnTo>
                  <a:lnTo>
                    <a:pt x="300" y="564"/>
                  </a:lnTo>
                  <a:lnTo>
                    <a:pt x="300" y="570"/>
                  </a:lnTo>
                  <a:lnTo>
                    <a:pt x="294" y="570"/>
                  </a:lnTo>
                  <a:lnTo>
                    <a:pt x="288" y="570"/>
                  </a:lnTo>
                  <a:lnTo>
                    <a:pt x="288" y="576"/>
                  </a:lnTo>
                  <a:lnTo>
                    <a:pt x="288" y="582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606"/>
                  </a:lnTo>
                  <a:lnTo>
                    <a:pt x="264" y="612"/>
                  </a:lnTo>
                  <a:lnTo>
                    <a:pt x="258" y="612"/>
                  </a:lnTo>
                  <a:lnTo>
                    <a:pt x="252" y="612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52" y="630"/>
                  </a:lnTo>
                  <a:lnTo>
                    <a:pt x="264" y="642"/>
                  </a:lnTo>
                  <a:lnTo>
                    <a:pt x="258" y="648"/>
                  </a:lnTo>
                  <a:lnTo>
                    <a:pt x="246" y="654"/>
                  </a:lnTo>
                  <a:lnTo>
                    <a:pt x="240" y="660"/>
                  </a:lnTo>
                  <a:lnTo>
                    <a:pt x="234" y="672"/>
                  </a:lnTo>
                  <a:lnTo>
                    <a:pt x="234" y="678"/>
                  </a:lnTo>
                  <a:lnTo>
                    <a:pt x="228" y="684"/>
                  </a:lnTo>
                  <a:lnTo>
                    <a:pt x="228" y="696"/>
                  </a:lnTo>
                  <a:lnTo>
                    <a:pt x="216" y="71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6" name="Freeform 21">
              <a:extLst>
                <a:ext uri="{FF2B5EF4-FFF2-40B4-BE49-F238E27FC236}">
                  <a16:creationId xmlns:a16="http://schemas.microsoft.com/office/drawing/2014/main" id="{DCB1E808-522D-4C19-B741-CC5DD56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4178" y="3866464"/>
              <a:ext cx="250453" cy="371259"/>
            </a:xfrm>
            <a:custGeom>
              <a:avLst/>
              <a:gdLst>
                <a:gd name="T0" fmla="*/ 0 w 468"/>
                <a:gd name="T1" fmla="*/ 61 h 696"/>
                <a:gd name="T2" fmla="*/ 1 w 468"/>
                <a:gd name="T3" fmla="*/ 58 h 696"/>
                <a:gd name="T4" fmla="*/ 2 w 468"/>
                <a:gd name="T5" fmla="*/ 54 h 696"/>
                <a:gd name="T6" fmla="*/ 3 w 468"/>
                <a:gd name="T7" fmla="*/ 51 h 696"/>
                <a:gd name="T8" fmla="*/ 4 w 468"/>
                <a:gd name="T9" fmla="*/ 48 h 696"/>
                <a:gd name="T10" fmla="*/ 6 w 468"/>
                <a:gd name="T11" fmla="*/ 44 h 696"/>
                <a:gd name="T12" fmla="*/ 5 w 468"/>
                <a:gd name="T13" fmla="*/ 41 h 696"/>
                <a:gd name="T14" fmla="*/ 7 w 468"/>
                <a:gd name="T15" fmla="*/ 38 h 696"/>
                <a:gd name="T16" fmla="*/ 8 w 468"/>
                <a:gd name="T17" fmla="*/ 36 h 696"/>
                <a:gd name="T18" fmla="*/ 7 w 468"/>
                <a:gd name="T19" fmla="*/ 33 h 696"/>
                <a:gd name="T20" fmla="*/ 6 w 468"/>
                <a:gd name="T21" fmla="*/ 29 h 696"/>
                <a:gd name="T22" fmla="*/ 4 w 468"/>
                <a:gd name="T23" fmla="*/ 22 h 696"/>
                <a:gd name="T24" fmla="*/ 2 w 468"/>
                <a:gd name="T25" fmla="*/ 14 h 696"/>
                <a:gd name="T26" fmla="*/ 12 w 468"/>
                <a:gd name="T27" fmla="*/ 11 h 696"/>
                <a:gd name="T28" fmla="*/ 14 w 468"/>
                <a:gd name="T29" fmla="*/ 2 h 696"/>
                <a:gd name="T30" fmla="*/ 16 w 468"/>
                <a:gd name="T31" fmla="*/ 0 h 696"/>
                <a:gd name="T32" fmla="*/ 17 w 468"/>
                <a:gd name="T33" fmla="*/ 0 h 696"/>
                <a:gd name="T34" fmla="*/ 18 w 468"/>
                <a:gd name="T35" fmla="*/ 1 h 696"/>
                <a:gd name="T36" fmla="*/ 17 w 468"/>
                <a:gd name="T37" fmla="*/ 2 h 696"/>
                <a:gd name="T38" fmla="*/ 17 w 468"/>
                <a:gd name="T39" fmla="*/ 4 h 696"/>
                <a:gd name="T40" fmla="*/ 17 w 468"/>
                <a:gd name="T41" fmla="*/ 6 h 696"/>
                <a:gd name="T42" fmla="*/ 20 w 468"/>
                <a:gd name="T43" fmla="*/ 6 h 696"/>
                <a:gd name="T44" fmla="*/ 22 w 468"/>
                <a:gd name="T45" fmla="*/ 5 h 696"/>
                <a:gd name="T46" fmla="*/ 24 w 468"/>
                <a:gd name="T47" fmla="*/ 7 h 696"/>
                <a:gd name="T48" fmla="*/ 28 w 468"/>
                <a:gd name="T49" fmla="*/ 7 h 696"/>
                <a:gd name="T50" fmla="*/ 28 w 468"/>
                <a:gd name="T51" fmla="*/ 11 h 696"/>
                <a:gd name="T52" fmla="*/ 25 w 468"/>
                <a:gd name="T53" fmla="*/ 14 h 696"/>
                <a:gd name="T54" fmla="*/ 23 w 468"/>
                <a:gd name="T55" fmla="*/ 15 h 696"/>
                <a:gd name="T56" fmla="*/ 23 w 468"/>
                <a:gd name="T57" fmla="*/ 19 h 696"/>
                <a:gd name="T58" fmla="*/ 23 w 468"/>
                <a:gd name="T59" fmla="*/ 21 h 696"/>
                <a:gd name="T60" fmla="*/ 24 w 468"/>
                <a:gd name="T61" fmla="*/ 21 h 696"/>
                <a:gd name="T62" fmla="*/ 27 w 468"/>
                <a:gd name="T63" fmla="*/ 23 h 696"/>
                <a:gd name="T64" fmla="*/ 29 w 468"/>
                <a:gd name="T65" fmla="*/ 24 h 696"/>
                <a:gd name="T66" fmla="*/ 29 w 468"/>
                <a:gd name="T67" fmla="*/ 28 h 696"/>
                <a:gd name="T68" fmla="*/ 29 w 468"/>
                <a:gd name="T69" fmla="*/ 29 h 696"/>
                <a:gd name="T70" fmla="*/ 29 w 468"/>
                <a:gd name="T71" fmla="*/ 32 h 696"/>
                <a:gd name="T72" fmla="*/ 32 w 468"/>
                <a:gd name="T73" fmla="*/ 32 h 696"/>
                <a:gd name="T74" fmla="*/ 33 w 468"/>
                <a:gd name="T75" fmla="*/ 35 h 696"/>
                <a:gd name="T76" fmla="*/ 34 w 468"/>
                <a:gd name="T77" fmla="*/ 38 h 696"/>
                <a:gd name="T78" fmla="*/ 35 w 468"/>
                <a:gd name="T79" fmla="*/ 39 h 696"/>
                <a:gd name="T80" fmla="*/ 36 w 468"/>
                <a:gd name="T81" fmla="*/ 40 h 696"/>
                <a:gd name="T82" fmla="*/ 37 w 468"/>
                <a:gd name="T83" fmla="*/ 41 h 696"/>
                <a:gd name="T84" fmla="*/ 38 w 468"/>
                <a:gd name="T85" fmla="*/ 42 h 696"/>
                <a:gd name="T86" fmla="*/ 41 w 468"/>
                <a:gd name="T87" fmla="*/ 44 h 696"/>
                <a:gd name="T88" fmla="*/ 40 w 468"/>
                <a:gd name="T89" fmla="*/ 44 h 696"/>
                <a:gd name="T90" fmla="*/ 37 w 468"/>
                <a:gd name="T91" fmla="*/ 45 h 696"/>
                <a:gd name="T92" fmla="*/ 36 w 468"/>
                <a:gd name="T93" fmla="*/ 48 h 696"/>
                <a:gd name="T94" fmla="*/ 34 w 468"/>
                <a:gd name="T95" fmla="*/ 49 h 696"/>
                <a:gd name="T96" fmla="*/ 32 w 468"/>
                <a:gd name="T97" fmla="*/ 51 h 696"/>
                <a:gd name="T98" fmla="*/ 31 w 468"/>
                <a:gd name="T99" fmla="*/ 51 h 696"/>
                <a:gd name="T100" fmla="*/ 26 w 468"/>
                <a:gd name="T101" fmla="*/ 49 h 696"/>
                <a:gd name="T102" fmla="*/ 23 w 468"/>
                <a:gd name="T103" fmla="*/ 51 h 696"/>
                <a:gd name="T104" fmla="*/ 21 w 468"/>
                <a:gd name="T105" fmla="*/ 51 h 696"/>
                <a:gd name="T106" fmla="*/ 20 w 468"/>
                <a:gd name="T107" fmla="*/ 52 h 696"/>
                <a:gd name="T108" fmla="*/ 17 w 468"/>
                <a:gd name="T109" fmla="*/ 55 h 696"/>
                <a:gd name="T110" fmla="*/ 15 w 468"/>
                <a:gd name="T111" fmla="*/ 56 h 696"/>
                <a:gd name="T112" fmla="*/ 15 w 468"/>
                <a:gd name="T113" fmla="*/ 59 h 696"/>
                <a:gd name="T114" fmla="*/ 14 w 468"/>
                <a:gd name="T115" fmla="*/ 59 h 696"/>
                <a:gd name="T116" fmla="*/ 12 w 468"/>
                <a:gd name="T117" fmla="*/ 59 h 696"/>
                <a:gd name="T118" fmla="*/ 11 w 468"/>
                <a:gd name="T119" fmla="*/ 57 h 696"/>
                <a:gd name="T120" fmla="*/ 9 w 468"/>
                <a:gd name="T121" fmla="*/ 57 h 696"/>
                <a:gd name="T122" fmla="*/ 6 w 468"/>
                <a:gd name="T123" fmla="*/ 58 h 696"/>
                <a:gd name="T124" fmla="*/ 4 w 468"/>
                <a:gd name="T125" fmla="*/ 60 h 69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8"/>
                <a:gd name="T190" fmla="*/ 0 h 696"/>
                <a:gd name="T191" fmla="*/ 468 w 468"/>
                <a:gd name="T192" fmla="*/ 696 h 69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8" h="696">
                  <a:moveTo>
                    <a:pt x="30" y="696"/>
                  </a:moveTo>
                  <a:lnTo>
                    <a:pt x="18" y="696"/>
                  </a:lnTo>
                  <a:lnTo>
                    <a:pt x="6" y="696"/>
                  </a:lnTo>
                  <a:lnTo>
                    <a:pt x="0" y="690"/>
                  </a:lnTo>
                  <a:lnTo>
                    <a:pt x="6" y="678"/>
                  </a:lnTo>
                  <a:lnTo>
                    <a:pt x="12" y="666"/>
                  </a:lnTo>
                  <a:lnTo>
                    <a:pt x="18" y="654"/>
                  </a:lnTo>
                  <a:lnTo>
                    <a:pt x="18" y="642"/>
                  </a:lnTo>
                  <a:lnTo>
                    <a:pt x="18" y="618"/>
                  </a:lnTo>
                  <a:lnTo>
                    <a:pt x="24" y="606"/>
                  </a:lnTo>
                  <a:lnTo>
                    <a:pt x="30" y="594"/>
                  </a:lnTo>
                  <a:lnTo>
                    <a:pt x="30" y="582"/>
                  </a:lnTo>
                  <a:lnTo>
                    <a:pt x="36" y="576"/>
                  </a:lnTo>
                  <a:lnTo>
                    <a:pt x="42" y="564"/>
                  </a:lnTo>
                  <a:lnTo>
                    <a:pt x="48" y="546"/>
                  </a:lnTo>
                  <a:lnTo>
                    <a:pt x="48" y="528"/>
                  </a:lnTo>
                  <a:lnTo>
                    <a:pt x="60" y="516"/>
                  </a:lnTo>
                  <a:lnTo>
                    <a:pt x="66" y="504"/>
                  </a:lnTo>
                  <a:lnTo>
                    <a:pt x="66" y="492"/>
                  </a:lnTo>
                  <a:lnTo>
                    <a:pt x="60" y="480"/>
                  </a:lnTo>
                  <a:lnTo>
                    <a:pt x="54" y="468"/>
                  </a:lnTo>
                  <a:lnTo>
                    <a:pt x="60" y="456"/>
                  </a:lnTo>
                  <a:lnTo>
                    <a:pt x="72" y="450"/>
                  </a:lnTo>
                  <a:lnTo>
                    <a:pt x="84" y="438"/>
                  </a:lnTo>
                  <a:lnTo>
                    <a:pt x="90" y="426"/>
                  </a:lnTo>
                  <a:lnTo>
                    <a:pt x="90" y="420"/>
                  </a:lnTo>
                  <a:lnTo>
                    <a:pt x="90" y="408"/>
                  </a:lnTo>
                  <a:lnTo>
                    <a:pt x="90" y="402"/>
                  </a:lnTo>
                  <a:lnTo>
                    <a:pt x="84" y="396"/>
                  </a:lnTo>
                  <a:lnTo>
                    <a:pt x="78" y="378"/>
                  </a:lnTo>
                  <a:lnTo>
                    <a:pt x="72" y="360"/>
                  </a:lnTo>
                  <a:lnTo>
                    <a:pt x="66" y="348"/>
                  </a:lnTo>
                  <a:lnTo>
                    <a:pt x="72" y="336"/>
                  </a:lnTo>
                  <a:lnTo>
                    <a:pt x="66" y="306"/>
                  </a:lnTo>
                  <a:lnTo>
                    <a:pt x="54" y="276"/>
                  </a:lnTo>
                  <a:lnTo>
                    <a:pt x="42" y="252"/>
                  </a:lnTo>
                  <a:lnTo>
                    <a:pt x="36" y="222"/>
                  </a:lnTo>
                  <a:lnTo>
                    <a:pt x="30" y="192"/>
                  </a:lnTo>
                  <a:lnTo>
                    <a:pt x="24" y="162"/>
                  </a:lnTo>
                  <a:lnTo>
                    <a:pt x="42" y="174"/>
                  </a:lnTo>
                  <a:lnTo>
                    <a:pt x="120" y="138"/>
                  </a:lnTo>
                  <a:lnTo>
                    <a:pt x="132" y="126"/>
                  </a:lnTo>
                  <a:lnTo>
                    <a:pt x="120" y="54"/>
                  </a:lnTo>
                  <a:lnTo>
                    <a:pt x="156" y="30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0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8" y="18"/>
                  </a:lnTo>
                  <a:lnTo>
                    <a:pt x="198" y="24"/>
                  </a:lnTo>
                  <a:lnTo>
                    <a:pt x="198" y="30"/>
                  </a:lnTo>
                  <a:lnTo>
                    <a:pt x="198" y="42"/>
                  </a:lnTo>
                  <a:lnTo>
                    <a:pt x="198" y="48"/>
                  </a:lnTo>
                  <a:lnTo>
                    <a:pt x="192" y="60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28" y="60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34" y="60"/>
                  </a:lnTo>
                  <a:lnTo>
                    <a:pt x="252" y="60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312" y="84"/>
                  </a:lnTo>
                  <a:lnTo>
                    <a:pt x="318" y="96"/>
                  </a:lnTo>
                  <a:lnTo>
                    <a:pt x="318" y="102"/>
                  </a:lnTo>
                  <a:lnTo>
                    <a:pt x="312" y="120"/>
                  </a:lnTo>
                  <a:lnTo>
                    <a:pt x="306" y="132"/>
                  </a:lnTo>
                  <a:lnTo>
                    <a:pt x="294" y="144"/>
                  </a:lnTo>
                  <a:lnTo>
                    <a:pt x="282" y="156"/>
                  </a:lnTo>
                  <a:lnTo>
                    <a:pt x="276" y="162"/>
                  </a:lnTo>
                  <a:lnTo>
                    <a:pt x="270" y="162"/>
                  </a:lnTo>
                  <a:lnTo>
                    <a:pt x="264" y="174"/>
                  </a:lnTo>
                  <a:lnTo>
                    <a:pt x="264" y="192"/>
                  </a:lnTo>
                  <a:lnTo>
                    <a:pt x="264" y="216"/>
                  </a:lnTo>
                  <a:lnTo>
                    <a:pt x="258" y="216"/>
                  </a:lnTo>
                  <a:lnTo>
                    <a:pt x="258" y="228"/>
                  </a:lnTo>
                  <a:lnTo>
                    <a:pt x="252" y="234"/>
                  </a:lnTo>
                  <a:lnTo>
                    <a:pt x="258" y="240"/>
                  </a:lnTo>
                  <a:lnTo>
                    <a:pt x="264" y="240"/>
                  </a:lnTo>
                  <a:lnTo>
                    <a:pt x="270" y="240"/>
                  </a:lnTo>
                  <a:lnTo>
                    <a:pt x="276" y="240"/>
                  </a:lnTo>
                  <a:lnTo>
                    <a:pt x="288" y="240"/>
                  </a:lnTo>
                  <a:lnTo>
                    <a:pt x="300" y="246"/>
                  </a:lnTo>
                  <a:lnTo>
                    <a:pt x="306" y="258"/>
                  </a:lnTo>
                  <a:lnTo>
                    <a:pt x="312" y="264"/>
                  </a:lnTo>
                  <a:lnTo>
                    <a:pt x="318" y="276"/>
                  </a:lnTo>
                  <a:lnTo>
                    <a:pt x="330" y="282"/>
                  </a:lnTo>
                  <a:lnTo>
                    <a:pt x="330" y="300"/>
                  </a:lnTo>
                  <a:lnTo>
                    <a:pt x="336" y="312"/>
                  </a:lnTo>
                  <a:lnTo>
                    <a:pt x="336" y="318"/>
                  </a:lnTo>
                  <a:lnTo>
                    <a:pt x="336" y="330"/>
                  </a:lnTo>
                  <a:lnTo>
                    <a:pt x="324" y="330"/>
                  </a:lnTo>
                  <a:lnTo>
                    <a:pt x="330" y="336"/>
                  </a:lnTo>
                  <a:lnTo>
                    <a:pt x="330" y="342"/>
                  </a:lnTo>
                  <a:lnTo>
                    <a:pt x="336" y="348"/>
                  </a:lnTo>
                  <a:lnTo>
                    <a:pt x="330" y="360"/>
                  </a:lnTo>
                  <a:lnTo>
                    <a:pt x="336" y="372"/>
                  </a:lnTo>
                  <a:lnTo>
                    <a:pt x="354" y="366"/>
                  </a:lnTo>
                  <a:lnTo>
                    <a:pt x="366" y="366"/>
                  </a:lnTo>
                  <a:lnTo>
                    <a:pt x="372" y="378"/>
                  </a:lnTo>
                  <a:lnTo>
                    <a:pt x="372" y="390"/>
                  </a:lnTo>
                  <a:lnTo>
                    <a:pt x="378" y="396"/>
                  </a:lnTo>
                  <a:lnTo>
                    <a:pt x="378" y="408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44"/>
                  </a:lnTo>
                  <a:lnTo>
                    <a:pt x="390" y="444"/>
                  </a:lnTo>
                  <a:lnTo>
                    <a:pt x="396" y="444"/>
                  </a:lnTo>
                  <a:lnTo>
                    <a:pt x="402" y="450"/>
                  </a:lnTo>
                  <a:lnTo>
                    <a:pt x="408" y="450"/>
                  </a:lnTo>
                  <a:lnTo>
                    <a:pt x="408" y="462"/>
                  </a:lnTo>
                  <a:lnTo>
                    <a:pt x="408" y="468"/>
                  </a:lnTo>
                  <a:lnTo>
                    <a:pt x="414" y="474"/>
                  </a:lnTo>
                  <a:lnTo>
                    <a:pt x="420" y="474"/>
                  </a:lnTo>
                  <a:lnTo>
                    <a:pt x="420" y="480"/>
                  </a:lnTo>
                  <a:lnTo>
                    <a:pt x="426" y="480"/>
                  </a:lnTo>
                  <a:lnTo>
                    <a:pt x="432" y="480"/>
                  </a:lnTo>
                  <a:lnTo>
                    <a:pt x="462" y="486"/>
                  </a:lnTo>
                  <a:lnTo>
                    <a:pt x="468" y="492"/>
                  </a:lnTo>
                  <a:lnTo>
                    <a:pt x="468" y="498"/>
                  </a:lnTo>
                  <a:lnTo>
                    <a:pt x="462" y="498"/>
                  </a:lnTo>
                  <a:lnTo>
                    <a:pt x="456" y="498"/>
                  </a:lnTo>
                  <a:lnTo>
                    <a:pt x="456" y="504"/>
                  </a:lnTo>
                  <a:lnTo>
                    <a:pt x="456" y="510"/>
                  </a:lnTo>
                  <a:lnTo>
                    <a:pt x="450" y="516"/>
                  </a:lnTo>
                  <a:lnTo>
                    <a:pt x="426" y="516"/>
                  </a:lnTo>
                  <a:lnTo>
                    <a:pt x="408" y="528"/>
                  </a:lnTo>
                  <a:lnTo>
                    <a:pt x="408" y="546"/>
                  </a:lnTo>
                  <a:lnTo>
                    <a:pt x="414" y="552"/>
                  </a:lnTo>
                  <a:lnTo>
                    <a:pt x="408" y="558"/>
                  </a:lnTo>
                  <a:lnTo>
                    <a:pt x="402" y="564"/>
                  </a:lnTo>
                  <a:lnTo>
                    <a:pt x="384" y="564"/>
                  </a:lnTo>
                  <a:lnTo>
                    <a:pt x="372" y="564"/>
                  </a:lnTo>
                  <a:lnTo>
                    <a:pt x="372" y="576"/>
                  </a:lnTo>
                  <a:lnTo>
                    <a:pt x="366" y="576"/>
                  </a:lnTo>
                  <a:lnTo>
                    <a:pt x="366" y="582"/>
                  </a:lnTo>
                  <a:lnTo>
                    <a:pt x="360" y="582"/>
                  </a:lnTo>
                  <a:lnTo>
                    <a:pt x="348" y="576"/>
                  </a:lnTo>
                  <a:lnTo>
                    <a:pt x="336" y="570"/>
                  </a:lnTo>
                  <a:lnTo>
                    <a:pt x="324" y="570"/>
                  </a:lnTo>
                  <a:lnTo>
                    <a:pt x="300" y="564"/>
                  </a:lnTo>
                  <a:lnTo>
                    <a:pt x="282" y="564"/>
                  </a:lnTo>
                  <a:lnTo>
                    <a:pt x="270" y="570"/>
                  </a:lnTo>
                  <a:lnTo>
                    <a:pt x="264" y="576"/>
                  </a:lnTo>
                  <a:lnTo>
                    <a:pt x="258" y="576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34" y="594"/>
                  </a:lnTo>
                  <a:lnTo>
                    <a:pt x="228" y="600"/>
                  </a:lnTo>
                  <a:lnTo>
                    <a:pt x="210" y="618"/>
                  </a:lnTo>
                  <a:lnTo>
                    <a:pt x="210" y="624"/>
                  </a:lnTo>
                  <a:lnTo>
                    <a:pt x="192" y="630"/>
                  </a:lnTo>
                  <a:lnTo>
                    <a:pt x="186" y="630"/>
                  </a:lnTo>
                  <a:lnTo>
                    <a:pt x="180" y="636"/>
                  </a:lnTo>
                  <a:lnTo>
                    <a:pt x="174" y="642"/>
                  </a:lnTo>
                  <a:lnTo>
                    <a:pt x="168" y="642"/>
                  </a:lnTo>
                  <a:lnTo>
                    <a:pt x="168" y="654"/>
                  </a:lnTo>
                  <a:lnTo>
                    <a:pt x="168" y="678"/>
                  </a:lnTo>
                  <a:lnTo>
                    <a:pt x="162" y="684"/>
                  </a:lnTo>
                  <a:lnTo>
                    <a:pt x="156" y="684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72"/>
                  </a:lnTo>
                  <a:lnTo>
                    <a:pt x="138" y="672"/>
                  </a:lnTo>
                  <a:lnTo>
                    <a:pt x="138" y="666"/>
                  </a:lnTo>
                  <a:lnTo>
                    <a:pt x="132" y="660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48"/>
                  </a:lnTo>
                  <a:lnTo>
                    <a:pt x="102" y="654"/>
                  </a:lnTo>
                  <a:lnTo>
                    <a:pt x="90" y="654"/>
                  </a:lnTo>
                  <a:lnTo>
                    <a:pt x="84" y="654"/>
                  </a:lnTo>
                  <a:lnTo>
                    <a:pt x="72" y="660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36" y="684"/>
                  </a:lnTo>
                  <a:lnTo>
                    <a:pt x="30" y="6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7" name="Freeform 22">
              <a:extLst>
                <a:ext uri="{FF2B5EF4-FFF2-40B4-BE49-F238E27FC236}">
                  <a16:creationId xmlns:a16="http://schemas.microsoft.com/office/drawing/2014/main" id="{2F7A477D-6CF8-44B3-8B32-64EE03DC4D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2895" y="3967106"/>
              <a:ext cx="610479" cy="507686"/>
            </a:xfrm>
            <a:custGeom>
              <a:avLst/>
              <a:gdLst>
                <a:gd name="T0" fmla="*/ 87 w 1146"/>
                <a:gd name="T1" fmla="*/ 56 h 954"/>
                <a:gd name="T2" fmla="*/ 83 w 1146"/>
                <a:gd name="T3" fmla="*/ 66 h 954"/>
                <a:gd name="T4" fmla="*/ 74 w 1146"/>
                <a:gd name="T5" fmla="*/ 69 h 954"/>
                <a:gd name="T6" fmla="*/ 67 w 1146"/>
                <a:gd name="T7" fmla="*/ 75 h 954"/>
                <a:gd name="T8" fmla="*/ 59 w 1146"/>
                <a:gd name="T9" fmla="*/ 78 h 954"/>
                <a:gd name="T10" fmla="*/ 52 w 1146"/>
                <a:gd name="T11" fmla="*/ 77 h 954"/>
                <a:gd name="T12" fmla="*/ 48 w 1146"/>
                <a:gd name="T13" fmla="*/ 79 h 954"/>
                <a:gd name="T14" fmla="*/ 41 w 1146"/>
                <a:gd name="T15" fmla="*/ 82 h 954"/>
                <a:gd name="T16" fmla="*/ 29 w 1146"/>
                <a:gd name="T17" fmla="*/ 78 h 954"/>
                <a:gd name="T18" fmla="*/ 28 w 1146"/>
                <a:gd name="T19" fmla="*/ 76 h 954"/>
                <a:gd name="T20" fmla="*/ 28 w 1146"/>
                <a:gd name="T21" fmla="*/ 72 h 954"/>
                <a:gd name="T22" fmla="*/ 28 w 1146"/>
                <a:gd name="T23" fmla="*/ 74 h 954"/>
                <a:gd name="T24" fmla="*/ 21 w 1146"/>
                <a:gd name="T25" fmla="*/ 74 h 954"/>
                <a:gd name="T26" fmla="*/ 20 w 1146"/>
                <a:gd name="T27" fmla="*/ 67 h 954"/>
                <a:gd name="T28" fmla="*/ 23 w 1146"/>
                <a:gd name="T29" fmla="*/ 64 h 954"/>
                <a:gd name="T30" fmla="*/ 28 w 1146"/>
                <a:gd name="T31" fmla="*/ 65 h 954"/>
                <a:gd name="T32" fmla="*/ 32 w 1146"/>
                <a:gd name="T33" fmla="*/ 62 h 954"/>
                <a:gd name="T34" fmla="*/ 31 w 1146"/>
                <a:gd name="T35" fmla="*/ 56 h 954"/>
                <a:gd name="T36" fmla="*/ 36 w 1146"/>
                <a:gd name="T37" fmla="*/ 54 h 954"/>
                <a:gd name="T38" fmla="*/ 38 w 1146"/>
                <a:gd name="T39" fmla="*/ 54 h 954"/>
                <a:gd name="T40" fmla="*/ 32 w 1146"/>
                <a:gd name="T41" fmla="*/ 54 h 954"/>
                <a:gd name="T42" fmla="*/ 29 w 1146"/>
                <a:gd name="T43" fmla="*/ 59 h 954"/>
                <a:gd name="T44" fmla="*/ 26 w 1146"/>
                <a:gd name="T45" fmla="*/ 59 h 954"/>
                <a:gd name="T46" fmla="*/ 25 w 1146"/>
                <a:gd name="T47" fmla="*/ 61 h 954"/>
                <a:gd name="T48" fmla="*/ 20 w 1146"/>
                <a:gd name="T49" fmla="*/ 61 h 954"/>
                <a:gd name="T50" fmla="*/ 11 w 1146"/>
                <a:gd name="T51" fmla="*/ 54 h 954"/>
                <a:gd name="T52" fmla="*/ 14 w 1146"/>
                <a:gd name="T53" fmla="*/ 50 h 954"/>
                <a:gd name="T54" fmla="*/ 21 w 1146"/>
                <a:gd name="T55" fmla="*/ 51 h 954"/>
                <a:gd name="T56" fmla="*/ 24 w 1146"/>
                <a:gd name="T57" fmla="*/ 50 h 954"/>
                <a:gd name="T58" fmla="*/ 28 w 1146"/>
                <a:gd name="T59" fmla="*/ 48 h 954"/>
                <a:gd name="T60" fmla="*/ 30 w 1146"/>
                <a:gd name="T61" fmla="*/ 49 h 954"/>
                <a:gd name="T62" fmla="*/ 26 w 1146"/>
                <a:gd name="T63" fmla="*/ 47 h 954"/>
                <a:gd name="T64" fmla="*/ 20 w 1146"/>
                <a:gd name="T65" fmla="*/ 50 h 954"/>
                <a:gd name="T66" fmla="*/ 20 w 1146"/>
                <a:gd name="T67" fmla="*/ 44 h 954"/>
                <a:gd name="T68" fmla="*/ 19 w 1146"/>
                <a:gd name="T69" fmla="*/ 46 h 954"/>
                <a:gd name="T70" fmla="*/ 15 w 1146"/>
                <a:gd name="T71" fmla="*/ 49 h 954"/>
                <a:gd name="T72" fmla="*/ 8 w 1146"/>
                <a:gd name="T73" fmla="*/ 48 h 954"/>
                <a:gd name="T74" fmla="*/ 6 w 1146"/>
                <a:gd name="T75" fmla="*/ 41 h 954"/>
                <a:gd name="T76" fmla="*/ 10 w 1146"/>
                <a:gd name="T77" fmla="*/ 41 h 954"/>
                <a:gd name="T78" fmla="*/ 9 w 1146"/>
                <a:gd name="T79" fmla="*/ 39 h 954"/>
                <a:gd name="T80" fmla="*/ 14 w 1146"/>
                <a:gd name="T81" fmla="*/ 35 h 954"/>
                <a:gd name="T82" fmla="*/ 19 w 1146"/>
                <a:gd name="T83" fmla="*/ 32 h 954"/>
                <a:gd name="T84" fmla="*/ 20 w 1146"/>
                <a:gd name="T85" fmla="*/ 29 h 954"/>
                <a:gd name="T86" fmla="*/ 27 w 1146"/>
                <a:gd name="T87" fmla="*/ 27 h 954"/>
                <a:gd name="T88" fmla="*/ 33 w 1146"/>
                <a:gd name="T89" fmla="*/ 28 h 954"/>
                <a:gd name="T90" fmla="*/ 44 w 1146"/>
                <a:gd name="T91" fmla="*/ 27 h 954"/>
                <a:gd name="T92" fmla="*/ 52 w 1146"/>
                <a:gd name="T93" fmla="*/ 41 h 954"/>
                <a:gd name="T94" fmla="*/ 61 w 1146"/>
                <a:gd name="T95" fmla="*/ 40 h 954"/>
                <a:gd name="T96" fmla="*/ 69 w 1146"/>
                <a:gd name="T97" fmla="*/ 34 h 954"/>
                <a:gd name="T98" fmla="*/ 62 w 1146"/>
                <a:gd name="T99" fmla="*/ 12 h 954"/>
                <a:gd name="T100" fmla="*/ 74 w 1146"/>
                <a:gd name="T101" fmla="*/ 8 h 954"/>
                <a:gd name="T102" fmla="*/ 87 w 1146"/>
                <a:gd name="T103" fmla="*/ 1 h 954"/>
                <a:gd name="T104" fmla="*/ 99 w 1146"/>
                <a:gd name="T105" fmla="*/ 12 h 954"/>
                <a:gd name="T106" fmla="*/ 98 w 1146"/>
                <a:gd name="T107" fmla="*/ 27 h 954"/>
                <a:gd name="T108" fmla="*/ 16 w 1146"/>
                <a:gd name="T109" fmla="*/ 33 h 954"/>
                <a:gd name="T110" fmla="*/ 11 w 1146"/>
                <a:gd name="T111" fmla="*/ 36 h 954"/>
                <a:gd name="T112" fmla="*/ 5 w 1146"/>
                <a:gd name="T113" fmla="*/ 41 h 954"/>
                <a:gd name="T114" fmla="*/ 2 w 1146"/>
                <a:gd name="T115" fmla="*/ 36 h 954"/>
                <a:gd name="T116" fmla="*/ 5 w 1146"/>
                <a:gd name="T117" fmla="*/ 26 h 954"/>
                <a:gd name="T118" fmla="*/ 10 w 1146"/>
                <a:gd name="T119" fmla="*/ 20 h 954"/>
                <a:gd name="T120" fmla="*/ 13 w 1146"/>
                <a:gd name="T121" fmla="*/ 20 h 954"/>
                <a:gd name="T122" fmla="*/ 15 w 1146"/>
                <a:gd name="T123" fmla="*/ 27 h 95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46"/>
                <a:gd name="T187" fmla="*/ 0 h 954"/>
                <a:gd name="T188" fmla="*/ 1146 w 1146"/>
                <a:gd name="T189" fmla="*/ 954 h 95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46" h="954">
                  <a:moveTo>
                    <a:pt x="1056" y="498"/>
                  </a:moveTo>
                  <a:lnTo>
                    <a:pt x="1044" y="510"/>
                  </a:lnTo>
                  <a:lnTo>
                    <a:pt x="1032" y="516"/>
                  </a:lnTo>
                  <a:lnTo>
                    <a:pt x="1038" y="528"/>
                  </a:lnTo>
                  <a:lnTo>
                    <a:pt x="1050" y="540"/>
                  </a:lnTo>
                  <a:lnTo>
                    <a:pt x="1050" y="546"/>
                  </a:lnTo>
                  <a:lnTo>
                    <a:pt x="1050" y="564"/>
                  </a:lnTo>
                  <a:lnTo>
                    <a:pt x="1038" y="576"/>
                  </a:lnTo>
                  <a:lnTo>
                    <a:pt x="1032" y="588"/>
                  </a:lnTo>
                  <a:lnTo>
                    <a:pt x="1020" y="594"/>
                  </a:lnTo>
                  <a:lnTo>
                    <a:pt x="1008" y="594"/>
                  </a:lnTo>
                  <a:lnTo>
                    <a:pt x="1002" y="600"/>
                  </a:lnTo>
                  <a:lnTo>
                    <a:pt x="996" y="612"/>
                  </a:lnTo>
                  <a:lnTo>
                    <a:pt x="996" y="624"/>
                  </a:lnTo>
                  <a:lnTo>
                    <a:pt x="996" y="648"/>
                  </a:lnTo>
                  <a:lnTo>
                    <a:pt x="996" y="660"/>
                  </a:lnTo>
                  <a:lnTo>
                    <a:pt x="1002" y="672"/>
                  </a:lnTo>
                  <a:lnTo>
                    <a:pt x="1002" y="684"/>
                  </a:lnTo>
                  <a:lnTo>
                    <a:pt x="996" y="684"/>
                  </a:lnTo>
                  <a:lnTo>
                    <a:pt x="984" y="690"/>
                  </a:lnTo>
                  <a:lnTo>
                    <a:pt x="972" y="690"/>
                  </a:lnTo>
                  <a:lnTo>
                    <a:pt x="966" y="696"/>
                  </a:lnTo>
                  <a:lnTo>
                    <a:pt x="966" y="702"/>
                  </a:lnTo>
                  <a:lnTo>
                    <a:pt x="966" y="714"/>
                  </a:lnTo>
                  <a:lnTo>
                    <a:pt x="972" y="726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2" y="756"/>
                  </a:lnTo>
                  <a:lnTo>
                    <a:pt x="966" y="756"/>
                  </a:lnTo>
                  <a:lnTo>
                    <a:pt x="942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18" y="768"/>
                  </a:lnTo>
                  <a:lnTo>
                    <a:pt x="906" y="768"/>
                  </a:lnTo>
                  <a:lnTo>
                    <a:pt x="894" y="762"/>
                  </a:lnTo>
                  <a:lnTo>
                    <a:pt x="882" y="756"/>
                  </a:lnTo>
                  <a:lnTo>
                    <a:pt x="876" y="756"/>
                  </a:lnTo>
                  <a:lnTo>
                    <a:pt x="876" y="762"/>
                  </a:lnTo>
                  <a:lnTo>
                    <a:pt x="864" y="768"/>
                  </a:lnTo>
                  <a:lnTo>
                    <a:pt x="858" y="774"/>
                  </a:lnTo>
                  <a:lnTo>
                    <a:pt x="852" y="774"/>
                  </a:lnTo>
                  <a:lnTo>
                    <a:pt x="840" y="780"/>
                  </a:lnTo>
                  <a:lnTo>
                    <a:pt x="840" y="786"/>
                  </a:lnTo>
                  <a:lnTo>
                    <a:pt x="840" y="792"/>
                  </a:lnTo>
                  <a:lnTo>
                    <a:pt x="840" y="804"/>
                  </a:lnTo>
                  <a:lnTo>
                    <a:pt x="840" y="810"/>
                  </a:lnTo>
                  <a:lnTo>
                    <a:pt x="828" y="816"/>
                  </a:lnTo>
                  <a:lnTo>
                    <a:pt x="810" y="810"/>
                  </a:lnTo>
                  <a:lnTo>
                    <a:pt x="792" y="810"/>
                  </a:lnTo>
                  <a:lnTo>
                    <a:pt x="786" y="816"/>
                  </a:lnTo>
                  <a:lnTo>
                    <a:pt x="780" y="816"/>
                  </a:lnTo>
                  <a:lnTo>
                    <a:pt x="780" y="822"/>
                  </a:lnTo>
                  <a:lnTo>
                    <a:pt x="780" y="828"/>
                  </a:lnTo>
                  <a:lnTo>
                    <a:pt x="780" y="834"/>
                  </a:lnTo>
                  <a:lnTo>
                    <a:pt x="786" y="840"/>
                  </a:lnTo>
                  <a:lnTo>
                    <a:pt x="786" y="846"/>
                  </a:lnTo>
                  <a:lnTo>
                    <a:pt x="786" y="852"/>
                  </a:lnTo>
                  <a:lnTo>
                    <a:pt x="780" y="858"/>
                  </a:lnTo>
                  <a:lnTo>
                    <a:pt x="768" y="858"/>
                  </a:lnTo>
                  <a:lnTo>
                    <a:pt x="762" y="864"/>
                  </a:lnTo>
                  <a:lnTo>
                    <a:pt x="756" y="864"/>
                  </a:lnTo>
                  <a:lnTo>
                    <a:pt x="750" y="870"/>
                  </a:lnTo>
                  <a:lnTo>
                    <a:pt x="744" y="876"/>
                  </a:lnTo>
                  <a:lnTo>
                    <a:pt x="732" y="876"/>
                  </a:lnTo>
                  <a:lnTo>
                    <a:pt x="726" y="876"/>
                  </a:lnTo>
                  <a:lnTo>
                    <a:pt x="720" y="870"/>
                  </a:lnTo>
                  <a:lnTo>
                    <a:pt x="714" y="864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6" y="876"/>
                  </a:lnTo>
                  <a:lnTo>
                    <a:pt x="696" y="882"/>
                  </a:lnTo>
                  <a:lnTo>
                    <a:pt x="696" y="894"/>
                  </a:lnTo>
                  <a:lnTo>
                    <a:pt x="690" y="900"/>
                  </a:lnTo>
                  <a:lnTo>
                    <a:pt x="684" y="900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54" y="888"/>
                  </a:lnTo>
                  <a:lnTo>
                    <a:pt x="654" y="882"/>
                  </a:lnTo>
                  <a:lnTo>
                    <a:pt x="642" y="876"/>
                  </a:lnTo>
                  <a:lnTo>
                    <a:pt x="636" y="876"/>
                  </a:lnTo>
                  <a:lnTo>
                    <a:pt x="630" y="876"/>
                  </a:lnTo>
                  <a:lnTo>
                    <a:pt x="630" y="870"/>
                  </a:lnTo>
                  <a:lnTo>
                    <a:pt x="618" y="858"/>
                  </a:lnTo>
                  <a:lnTo>
                    <a:pt x="612" y="858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06" y="876"/>
                  </a:lnTo>
                  <a:lnTo>
                    <a:pt x="606" y="882"/>
                  </a:lnTo>
                  <a:lnTo>
                    <a:pt x="606" y="888"/>
                  </a:lnTo>
                  <a:lnTo>
                    <a:pt x="600" y="894"/>
                  </a:lnTo>
                  <a:lnTo>
                    <a:pt x="594" y="894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76" y="894"/>
                  </a:lnTo>
                  <a:lnTo>
                    <a:pt x="582" y="900"/>
                  </a:lnTo>
                  <a:lnTo>
                    <a:pt x="576" y="906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64" y="918"/>
                  </a:lnTo>
                  <a:lnTo>
                    <a:pt x="558" y="918"/>
                  </a:lnTo>
                  <a:lnTo>
                    <a:pt x="558" y="912"/>
                  </a:lnTo>
                  <a:lnTo>
                    <a:pt x="552" y="906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06"/>
                  </a:lnTo>
                  <a:lnTo>
                    <a:pt x="534" y="906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0" y="924"/>
                  </a:lnTo>
                  <a:lnTo>
                    <a:pt x="504" y="924"/>
                  </a:lnTo>
                  <a:lnTo>
                    <a:pt x="498" y="930"/>
                  </a:lnTo>
                  <a:lnTo>
                    <a:pt x="492" y="924"/>
                  </a:lnTo>
                  <a:lnTo>
                    <a:pt x="486" y="930"/>
                  </a:lnTo>
                  <a:lnTo>
                    <a:pt x="480" y="942"/>
                  </a:lnTo>
                  <a:lnTo>
                    <a:pt x="468" y="948"/>
                  </a:lnTo>
                  <a:lnTo>
                    <a:pt x="444" y="942"/>
                  </a:lnTo>
                  <a:lnTo>
                    <a:pt x="438" y="954"/>
                  </a:lnTo>
                  <a:lnTo>
                    <a:pt x="426" y="954"/>
                  </a:lnTo>
                  <a:lnTo>
                    <a:pt x="420" y="948"/>
                  </a:lnTo>
                  <a:lnTo>
                    <a:pt x="408" y="936"/>
                  </a:lnTo>
                  <a:lnTo>
                    <a:pt x="396" y="936"/>
                  </a:lnTo>
                  <a:lnTo>
                    <a:pt x="390" y="930"/>
                  </a:lnTo>
                  <a:lnTo>
                    <a:pt x="390" y="924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66" y="924"/>
                  </a:lnTo>
                  <a:lnTo>
                    <a:pt x="360" y="924"/>
                  </a:lnTo>
                  <a:lnTo>
                    <a:pt x="348" y="918"/>
                  </a:lnTo>
                  <a:lnTo>
                    <a:pt x="342" y="906"/>
                  </a:lnTo>
                  <a:lnTo>
                    <a:pt x="336" y="906"/>
                  </a:lnTo>
                  <a:lnTo>
                    <a:pt x="330" y="906"/>
                  </a:lnTo>
                  <a:lnTo>
                    <a:pt x="312" y="906"/>
                  </a:lnTo>
                  <a:lnTo>
                    <a:pt x="312" y="900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888"/>
                  </a:lnTo>
                  <a:lnTo>
                    <a:pt x="312" y="882"/>
                  </a:lnTo>
                  <a:lnTo>
                    <a:pt x="306" y="876"/>
                  </a:lnTo>
                  <a:lnTo>
                    <a:pt x="312" y="876"/>
                  </a:lnTo>
                  <a:lnTo>
                    <a:pt x="312" y="870"/>
                  </a:lnTo>
                  <a:lnTo>
                    <a:pt x="318" y="876"/>
                  </a:lnTo>
                  <a:lnTo>
                    <a:pt x="318" y="870"/>
                  </a:lnTo>
                  <a:lnTo>
                    <a:pt x="324" y="876"/>
                  </a:lnTo>
                  <a:lnTo>
                    <a:pt x="330" y="876"/>
                  </a:lnTo>
                  <a:lnTo>
                    <a:pt x="336" y="876"/>
                  </a:lnTo>
                  <a:lnTo>
                    <a:pt x="342" y="876"/>
                  </a:lnTo>
                  <a:lnTo>
                    <a:pt x="336" y="876"/>
                  </a:lnTo>
                  <a:lnTo>
                    <a:pt x="330" y="870"/>
                  </a:lnTo>
                  <a:lnTo>
                    <a:pt x="324" y="870"/>
                  </a:lnTo>
                  <a:lnTo>
                    <a:pt x="318" y="870"/>
                  </a:lnTo>
                  <a:lnTo>
                    <a:pt x="312" y="870"/>
                  </a:lnTo>
                  <a:lnTo>
                    <a:pt x="318" y="864"/>
                  </a:lnTo>
                  <a:lnTo>
                    <a:pt x="318" y="858"/>
                  </a:lnTo>
                  <a:lnTo>
                    <a:pt x="318" y="852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6" y="846"/>
                  </a:lnTo>
                  <a:lnTo>
                    <a:pt x="312" y="828"/>
                  </a:lnTo>
                  <a:lnTo>
                    <a:pt x="312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06" y="816"/>
                  </a:lnTo>
                  <a:lnTo>
                    <a:pt x="306" y="810"/>
                  </a:lnTo>
                  <a:lnTo>
                    <a:pt x="306" y="816"/>
                  </a:lnTo>
                  <a:lnTo>
                    <a:pt x="312" y="822"/>
                  </a:lnTo>
                  <a:lnTo>
                    <a:pt x="306" y="822"/>
                  </a:lnTo>
                  <a:lnTo>
                    <a:pt x="306" y="828"/>
                  </a:lnTo>
                  <a:lnTo>
                    <a:pt x="306" y="834"/>
                  </a:lnTo>
                  <a:lnTo>
                    <a:pt x="300" y="840"/>
                  </a:lnTo>
                  <a:lnTo>
                    <a:pt x="300" y="846"/>
                  </a:lnTo>
                  <a:lnTo>
                    <a:pt x="306" y="852"/>
                  </a:lnTo>
                  <a:lnTo>
                    <a:pt x="306" y="858"/>
                  </a:lnTo>
                  <a:lnTo>
                    <a:pt x="312" y="858"/>
                  </a:lnTo>
                  <a:lnTo>
                    <a:pt x="312" y="864"/>
                  </a:lnTo>
                  <a:lnTo>
                    <a:pt x="306" y="864"/>
                  </a:lnTo>
                  <a:lnTo>
                    <a:pt x="300" y="864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82" y="870"/>
                  </a:lnTo>
                  <a:lnTo>
                    <a:pt x="276" y="870"/>
                  </a:lnTo>
                  <a:lnTo>
                    <a:pt x="270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8" y="870"/>
                  </a:lnTo>
                  <a:lnTo>
                    <a:pt x="252" y="870"/>
                  </a:lnTo>
                  <a:lnTo>
                    <a:pt x="252" y="864"/>
                  </a:lnTo>
                  <a:lnTo>
                    <a:pt x="246" y="858"/>
                  </a:lnTo>
                  <a:lnTo>
                    <a:pt x="246" y="852"/>
                  </a:lnTo>
                  <a:lnTo>
                    <a:pt x="246" y="846"/>
                  </a:lnTo>
                  <a:lnTo>
                    <a:pt x="246" y="840"/>
                  </a:lnTo>
                  <a:lnTo>
                    <a:pt x="246" y="834"/>
                  </a:lnTo>
                  <a:lnTo>
                    <a:pt x="246" y="828"/>
                  </a:lnTo>
                  <a:lnTo>
                    <a:pt x="246" y="822"/>
                  </a:lnTo>
                  <a:lnTo>
                    <a:pt x="240" y="816"/>
                  </a:lnTo>
                  <a:lnTo>
                    <a:pt x="240" y="810"/>
                  </a:lnTo>
                  <a:lnTo>
                    <a:pt x="240" y="804"/>
                  </a:lnTo>
                  <a:lnTo>
                    <a:pt x="240" y="798"/>
                  </a:lnTo>
                  <a:lnTo>
                    <a:pt x="234" y="798"/>
                  </a:lnTo>
                  <a:lnTo>
                    <a:pt x="234" y="792"/>
                  </a:lnTo>
                  <a:lnTo>
                    <a:pt x="234" y="786"/>
                  </a:lnTo>
                  <a:lnTo>
                    <a:pt x="234" y="780"/>
                  </a:lnTo>
                  <a:lnTo>
                    <a:pt x="228" y="780"/>
                  </a:lnTo>
                  <a:lnTo>
                    <a:pt x="228" y="774"/>
                  </a:lnTo>
                  <a:lnTo>
                    <a:pt x="228" y="768"/>
                  </a:lnTo>
                  <a:lnTo>
                    <a:pt x="222" y="762"/>
                  </a:lnTo>
                  <a:lnTo>
                    <a:pt x="222" y="756"/>
                  </a:lnTo>
                  <a:lnTo>
                    <a:pt x="222" y="750"/>
                  </a:lnTo>
                  <a:lnTo>
                    <a:pt x="222" y="744"/>
                  </a:lnTo>
                  <a:lnTo>
                    <a:pt x="222" y="738"/>
                  </a:lnTo>
                  <a:lnTo>
                    <a:pt x="216" y="732"/>
                  </a:lnTo>
                  <a:lnTo>
                    <a:pt x="222" y="732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32"/>
                  </a:lnTo>
                  <a:lnTo>
                    <a:pt x="246" y="732"/>
                  </a:lnTo>
                  <a:lnTo>
                    <a:pt x="246" y="738"/>
                  </a:lnTo>
                  <a:lnTo>
                    <a:pt x="252" y="738"/>
                  </a:lnTo>
                  <a:lnTo>
                    <a:pt x="258" y="738"/>
                  </a:lnTo>
                  <a:lnTo>
                    <a:pt x="258" y="732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8" y="732"/>
                  </a:lnTo>
                  <a:lnTo>
                    <a:pt x="294" y="732"/>
                  </a:lnTo>
                  <a:lnTo>
                    <a:pt x="300" y="732"/>
                  </a:lnTo>
                  <a:lnTo>
                    <a:pt x="300" y="738"/>
                  </a:lnTo>
                  <a:lnTo>
                    <a:pt x="306" y="738"/>
                  </a:lnTo>
                  <a:lnTo>
                    <a:pt x="306" y="744"/>
                  </a:lnTo>
                  <a:lnTo>
                    <a:pt x="306" y="750"/>
                  </a:lnTo>
                  <a:lnTo>
                    <a:pt x="312" y="750"/>
                  </a:lnTo>
                  <a:lnTo>
                    <a:pt x="312" y="756"/>
                  </a:lnTo>
                  <a:lnTo>
                    <a:pt x="318" y="756"/>
                  </a:lnTo>
                  <a:lnTo>
                    <a:pt x="318" y="750"/>
                  </a:lnTo>
                  <a:lnTo>
                    <a:pt x="312" y="750"/>
                  </a:lnTo>
                  <a:lnTo>
                    <a:pt x="312" y="744"/>
                  </a:lnTo>
                  <a:lnTo>
                    <a:pt x="318" y="738"/>
                  </a:lnTo>
                  <a:lnTo>
                    <a:pt x="324" y="738"/>
                  </a:lnTo>
                  <a:lnTo>
                    <a:pt x="330" y="738"/>
                  </a:lnTo>
                  <a:lnTo>
                    <a:pt x="336" y="738"/>
                  </a:lnTo>
                  <a:lnTo>
                    <a:pt x="342" y="738"/>
                  </a:lnTo>
                  <a:lnTo>
                    <a:pt x="348" y="732"/>
                  </a:lnTo>
                  <a:lnTo>
                    <a:pt x="354" y="732"/>
                  </a:lnTo>
                  <a:lnTo>
                    <a:pt x="360" y="732"/>
                  </a:lnTo>
                  <a:lnTo>
                    <a:pt x="360" y="726"/>
                  </a:lnTo>
                  <a:lnTo>
                    <a:pt x="366" y="726"/>
                  </a:lnTo>
                  <a:lnTo>
                    <a:pt x="366" y="720"/>
                  </a:lnTo>
                  <a:lnTo>
                    <a:pt x="366" y="714"/>
                  </a:lnTo>
                  <a:lnTo>
                    <a:pt x="360" y="708"/>
                  </a:lnTo>
                  <a:lnTo>
                    <a:pt x="354" y="708"/>
                  </a:lnTo>
                  <a:lnTo>
                    <a:pt x="348" y="702"/>
                  </a:lnTo>
                  <a:lnTo>
                    <a:pt x="354" y="702"/>
                  </a:lnTo>
                  <a:lnTo>
                    <a:pt x="354" y="696"/>
                  </a:lnTo>
                  <a:lnTo>
                    <a:pt x="348" y="696"/>
                  </a:lnTo>
                  <a:lnTo>
                    <a:pt x="348" y="690"/>
                  </a:lnTo>
                  <a:lnTo>
                    <a:pt x="342" y="690"/>
                  </a:lnTo>
                  <a:lnTo>
                    <a:pt x="342" y="684"/>
                  </a:lnTo>
                  <a:lnTo>
                    <a:pt x="342" y="678"/>
                  </a:lnTo>
                  <a:lnTo>
                    <a:pt x="342" y="666"/>
                  </a:lnTo>
                  <a:lnTo>
                    <a:pt x="342" y="660"/>
                  </a:lnTo>
                  <a:lnTo>
                    <a:pt x="348" y="654"/>
                  </a:lnTo>
                  <a:lnTo>
                    <a:pt x="348" y="642"/>
                  </a:lnTo>
                  <a:lnTo>
                    <a:pt x="354" y="642"/>
                  </a:lnTo>
                  <a:lnTo>
                    <a:pt x="360" y="642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66" y="642"/>
                  </a:lnTo>
                  <a:lnTo>
                    <a:pt x="372" y="642"/>
                  </a:lnTo>
                  <a:lnTo>
                    <a:pt x="378" y="642"/>
                  </a:lnTo>
                  <a:lnTo>
                    <a:pt x="384" y="642"/>
                  </a:lnTo>
                  <a:lnTo>
                    <a:pt x="390" y="642"/>
                  </a:lnTo>
                  <a:lnTo>
                    <a:pt x="396" y="642"/>
                  </a:lnTo>
                  <a:lnTo>
                    <a:pt x="396" y="636"/>
                  </a:lnTo>
                  <a:lnTo>
                    <a:pt x="402" y="636"/>
                  </a:lnTo>
                  <a:lnTo>
                    <a:pt x="408" y="636"/>
                  </a:lnTo>
                  <a:lnTo>
                    <a:pt x="402" y="636"/>
                  </a:lnTo>
                  <a:lnTo>
                    <a:pt x="402" y="630"/>
                  </a:lnTo>
                  <a:lnTo>
                    <a:pt x="408" y="630"/>
                  </a:lnTo>
                  <a:lnTo>
                    <a:pt x="408" y="624"/>
                  </a:lnTo>
                  <a:lnTo>
                    <a:pt x="408" y="618"/>
                  </a:lnTo>
                  <a:lnTo>
                    <a:pt x="414" y="618"/>
                  </a:lnTo>
                  <a:lnTo>
                    <a:pt x="420" y="618"/>
                  </a:lnTo>
                  <a:lnTo>
                    <a:pt x="426" y="624"/>
                  </a:lnTo>
                  <a:lnTo>
                    <a:pt x="432" y="624"/>
                  </a:lnTo>
                  <a:lnTo>
                    <a:pt x="438" y="624"/>
                  </a:lnTo>
                  <a:lnTo>
                    <a:pt x="438" y="618"/>
                  </a:lnTo>
                  <a:lnTo>
                    <a:pt x="444" y="618"/>
                  </a:lnTo>
                  <a:lnTo>
                    <a:pt x="450" y="618"/>
                  </a:lnTo>
                  <a:lnTo>
                    <a:pt x="444" y="618"/>
                  </a:lnTo>
                  <a:lnTo>
                    <a:pt x="438" y="618"/>
                  </a:lnTo>
                  <a:lnTo>
                    <a:pt x="438" y="612"/>
                  </a:lnTo>
                  <a:lnTo>
                    <a:pt x="438" y="618"/>
                  </a:lnTo>
                  <a:lnTo>
                    <a:pt x="432" y="624"/>
                  </a:lnTo>
                  <a:lnTo>
                    <a:pt x="426" y="618"/>
                  </a:lnTo>
                  <a:lnTo>
                    <a:pt x="420" y="612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402" y="624"/>
                  </a:lnTo>
                  <a:lnTo>
                    <a:pt x="396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78" y="630"/>
                  </a:lnTo>
                  <a:lnTo>
                    <a:pt x="378" y="636"/>
                  </a:lnTo>
                  <a:lnTo>
                    <a:pt x="372" y="630"/>
                  </a:lnTo>
                  <a:lnTo>
                    <a:pt x="366" y="630"/>
                  </a:lnTo>
                  <a:lnTo>
                    <a:pt x="360" y="630"/>
                  </a:lnTo>
                  <a:lnTo>
                    <a:pt x="354" y="630"/>
                  </a:lnTo>
                  <a:lnTo>
                    <a:pt x="354" y="636"/>
                  </a:lnTo>
                  <a:lnTo>
                    <a:pt x="348" y="636"/>
                  </a:lnTo>
                  <a:lnTo>
                    <a:pt x="348" y="642"/>
                  </a:lnTo>
                  <a:lnTo>
                    <a:pt x="342" y="642"/>
                  </a:lnTo>
                  <a:lnTo>
                    <a:pt x="342" y="648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6" y="660"/>
                  </a:lnTo>
                  <a:lnTo>
                    <a:pt x="336" y="666"/>
                  </a:lnTo>
                  <a:lnTo>
                    <a:pt x="330" y="672"/>
                  </a:lnTo>
                  <a:lnTo>
                    <a:pt x="330" y="678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24" y="696"/>
                  </a:lnTo>
                  <a:lnTo>
                    <a:pt x="324" y="702"/>
                  </a:lnTo>
                  <a:lnTo>
                    <a:pt x="318" y="702"/>
                  </a:lnTo>
                  <a:lnTo>
                    <a:pt x="318" y="708"/>
                  </a:lnTo>
                  <a:lnTo>
                    <a:pt x="312" y="708"/>
                  </a:lnTo>
                  <a:lnTo>
                    <a:pt x="312" y="702"/>
                  </a:lnTo>
                  <a:lnTo>
                    <a:pt x="306" y="702"/>
                  </a:lnTo>
                  <a:lnTo>
                    <a:pt x="300" y="702"/>
                  </a:lnTo>
                  <a:lnTo>
                    <a:pt x="294" y="696"/>
                  </a:lnTo>
                  <a:lnTo>
                    <a:pt x="288" y="696"/>
                  </a:lnTo>
                  <a:lnTo>
                    <a:pt x="282" y="690"/>
                  </a:lnTo>
                  <a:lnTo>
                    <a:pt x="288" y="684"/>
                  </a:lnTo>
                  <a:lnTo>
                    <a:pt x="294" y="684"/>
                  </a:lnTo>
                  <a:lnTo>
                    <a:pt x="294" y="678"/>
                  </a:lnTo>
                  <a:lnTo>
                    <a:pt x="300" y="678"/>
                  </a:lnTo>
                  <a:lnTo>
                    <a:pt x="294" y="678"/>
                  </a:lnTo>
                  <a:lnTo>
                    <a:pt x="294" y="672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94" y="672"/>
                  </a:lnTo>
                  <a:lnTo>
                    <a:pt x="288" y="678"/>
                  </a:lnTo>
                  <a:lnTo>
                    <a:pt x="282" y="684"/>
                  </a:lnTo>
                  <a:lnTo>
                    <a:pt x="282" y="678"/>
                  </a:lnTo>
                  <a:lnTo>
                    <a:pt x="276" y="678"/>
                  </a:lnTo>
                  <a:lnTo>
                    <a:pt x="282" y="684"/>
                  </a:lnTo>
                  <a:lnTo>
                    <a:pt x="282" y="690"/>
                  </a:lnTo>
                  <a:lnTo>
                    <a:pt x="282" y="696"/>
                  </a:lnTo>
                  <a:lnTo>
                    <a:pt x="288" y="702"/>
                  </a:lnTo>
                  <a:lnTo>
                    <a:pt x="294" y="708"/>
                  </a:lnTo>
                  <a:lnTo>
                    <a:pt x="294" y="714"/>
                  </a:lnTo>
                  <a:lnTo>
                    <a:pt x="288" y="714"/>
                  </a:lnTo>
                  <a:lnTo>
                    <a:pt x="282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64" y="714"/>
                  </a:lnTo>
                  <a:lnTo>
                    <a:pt x="258" y="714"/>
                  </a:lnTo>
                  <a:lnTo>
                    <a:pt x="252" y="714"/>
                  </a:lnTo>
                  <a:lnTo>
                    <a:pt x="246" y="714"/>
                  </a:lnTo>
                  <a:lnTo>
                    <a:pt x="240" y="714"/>
                  </a:lnTo>
                  <a:lnTo>
                    <a:pt x="240" y="708"/>
                  </a:lnTo>
                  <a:lnTo>
                    <a:pt x="234" y="708"/>
                  </a:lnTo>
                  <a:lnTo>
                    <a:pt x="228" y="708"/>
                  </a:lnTo>
                  <a:lnTo>
                    <a:pt x="222" y="702"/>
                  </a:lnTo>
                  <a:lnTo>
                    <a:pt x="216" y="702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2" y="690"/>
                  </a:lnTo>
                  <a:lnTo>
                    <a:pt x="186" y="690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68" y="684"/>
                  </a:lnTo>
                  <a:lnTo>
                    <a:pt x="168" y="678"/>
                  </a:lnTo>
                  <a:lnTo>
                    <a:pt x="156" y="672"/>
                  </a:lnTo>
                  <a:lnTo>
                    <a:pt x="150" y="660"/>
                  </a:lnTo>
                  <a:lnTo>
                    <a:pt x="126" y="630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12"/>
                  </a:lnTo>
                  <a:lnTo>
                    <a:pt x="126" y="606"/>
                  </a:lnTo>
                  <a:lnTo>
                    <a:pt x="126" y="600"/>
                  </a:lnTo>
                  <a:lnTo>
                    <a:pt x="132" y="594"/>
                  </a:lnTo>
                  <a:lnTo>
                    <a:pt x="138" y="594"/>
                  </a:lnTo>
                  <a:lnTo>
                    <a:pt x="144" y="588"/>
                  </a:lnTo>
                  <a:lnTo>
                    <a:pt x="144" y="582"/>
                  </a:lnTo>
                  <a:lnTo>
                    <a:pt x="150" y="582"/>
                  </a:lnTo>
                  <a:lnTo>
                    <a:pt x="150" y="576"/>
                  </a:lnTo>
                  <a:lnTo>
                    <a:pt x="156" y="576"/>
                  </a:lnTo>
                  <a:lnTo>
                    <a:pt x="156" y="582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8" y="576"/>
                  </a:lnTo>
                  <a:lnTo>
                    <a:pt x="174" y="576"/>
                  </a:lnTo>
                  <a:lnTo>
                    <a:pt x="180" y="582"/>
                  </a:lnTo>
                  <a:lnTo>
                    <a:pt x="192" y="582"/>
                  </a:lnTo>
                  <a:lnTo>
                    <a:pt x="198" y="582"/>
                  </a:lnTo>
                  <a:lnTo>
                    <a:pt x="204" y="582"/>
                  </a:lnTo>
                  <a:lnTo>
                    <a:pt x="210" y="582"/>
                  </a:lnTo>
                  <a:lnTo>
                    <a:pt x="216" y="588"/>
                  </a:lnTo>
                  <a:lnTo>
                    <a:pt x="222" y="588"/>
                  </a:lnTo>
                  <a:lnTo>
                    <a:pt x="234" y="588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46" y="594"/>
                  </a:lnTo>
                  <a:lnTo>
                    <a:pt x="252" y="588"/>
                  </a:lnTo>
                  <a:lnTo>
                    <a:pt x="258" y="588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52" y="600"/>
                  </a:lnTo>
                  <a:lnTo>
                    <a:pt x="246" y="600"/>
                  </a:lnTo>
                  <a:lnTo>
                    <a:pt x="246" y="606"/>
                  </a:lnTo>
                  <a:lnTo>
                    <a:pt x="246" y="600"/>
                  </a:lnTo>
                  <a:lnTo>
                    <a:pt x="252" y="600"/>
                  </a:lnTo>
                  <a:lnTo>
                    <a:pt x="258" y="594"/>
                  </a:lnTo>
                  <a:lnTo>
                    <a:pt x="264" y="594"/>
                  </a:lnTo>
                  <a:lnTo>
                    <a:pt x="264" y="588"/>
                  </a:lnTo>
                  <a:lnTo>
                    <a:pt x="270" y="588"/>
                  </a:lnTo>
                  <a:lnTo>
                    <a:pt x="270" y="582"/>
                  </a:lnTo>
                  <a:lnTo>
                    <a:pt x="270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76" y="564"/>
                  </a:lnTo>
                  <a:lnTo>
                    <a:pt x="270" y="558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58"/>
                  </a:lnTo>
                  <a:lnTo>
                    <a:pt x="282" y="558"/>
                  </a:lnTo>
                  <a:lnTo>
                    <a:pt x="288" y="558"/>
                  </a:lnTo>
                  <a:lnTo>
                    <a:pt x="294" y="558"/>
                  </a:lnTo>
                  <a:lnTo>
                    <a:pt x="300" y="558"/>
                  </a:lnTo>
                  <a:lnTo>
                    <a:pt x="306" y="558"/>
                  </a:lnTo>
                  <a:lnTo>
                    <a:pt x="312" y="558"/>
                  </a:lnTo>
                  <a:lnTo>
                    <a:pt x="318" y="558"/>
                  </a:lnTo>
                  <a:lnTo>
                    <a:pt x="318" y="564"/>
                  </a:lnTo>
                  <a:lnTo>
                    <a:pt x="324" y="564"/>
                  </a:lnTo>
                  <a:lnTo>
                    <a:pt x="324" y="570"/>
                  </a:lnTo>
                  <a:lnTo>
                    <a:pt x="330" y="570"/>
                  </a:lnTo>
                  <a:lnTo>
                    <a:pt x="336" y="570"/>
                  </a:lnTo>
                  <a:lnTo>
                    <a:pt x="342" y="570"/>
                  </a:lnTo>
                  <a:lnTo>
                    <a:pt x="348" y="570"/>
                  </a:lnTo>
                  <a:lnTo>
                    <a:pt x="354" y="570"/>
                  </a:lnTo>
                  <a:lnTo>
                    <a:pt x="360" y="570"/>
                  </a:lnTo>
                  <a:lnTo>
                    <a:pt x="366" y="570"/>
                  </a:lnTo>
                  <a:lnTo>
                    <a:pt x="360" y="570"/>
                  </a:lnTo>
                  <a:lnTo>
                    <a:pt x="360" y="564"/>
                  </a:lnTo>
                  <a:lnTo>
                    <a:pt x="354" y="564"/>
                  </a:lnTo>
                  <a:lnTo>
                    <a:pt x="348" y="564"/>
                  </a:lnTo>
                  <a:lnTo>
                    <a:pt x="342" y="564"/>
                  </a:lnTo>
                  <a:lnTo>
                    <a:pt x="342" y="570"/>
                  </a:lnTo>
                  <a:lnTo>
                    <a:pt x="336" y="564"/>
                  </a:lnTo>
                  <a:lnTo>
                    <a:pt x="336" y="570"/>
                  </a:lnTo>
                  <a:lnTo>
                    <a:pt x="336" y="564"/>
                  </a:lnTo>
                  <a:lnTo>
                    <a:pt x="330" y="564"/>
                  </a:lnTo>
                  <a:lnTo>
                    <a:pt x="324" y="558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18" y="558"/>
                  </a:lnTo>
                  <a:lnTo>
                    <a:pt x="312" y="552"/>
                  </a:lnTo>
                  <a:lnTo>
                    <a:pt x="312" y="558"/>
                  </a:lnTo>
                  <a:lnTo>
                    <a:pt x="312" y="552"/>
                  </a:lnTo>
                  <a:lnTo>
                    <a:pt x="306" y="552"/>
                  </a:lnTo>
                  <a:lnTo>
                    <a:pt x="300" y="546"/>
                  </a:lnTo>
                  <a:lnTo>
                    <a:pt x="294" y="546"/>
                  </a:lnTo>
                  <a:lnTo>
                    <a:pt x="288" y="546"/>
                  </a:lnTo>
                  <a:lnTo>
                    <a:pt x="282" y="546"/>
                  </a:lnTo>
                  <a:lnTo>
                    <a:pt x="276" y="546"/>
                  </a:lnTo>
                  <a:lnTo>
                    <a:pt x="276" y="552"/>
                  </a:lnTo>
                  <a:lnTo>
                    <a:pt x="270" y="552"/>
                  </a:lnTo>
                  <a:lnTo>
                    <a:pt x="270" y="558"/>
                  </a:lnTo>
                  <a:lnTo>
                    <a:pt x="270" y="564"/>
                  </a:lnTo>
                  <a:lnTo>
                    <a:pt x="264" y="570"/>
                  </a:lnTo>
                  <a:lnTo>
                    <a:pt x="258" y="576"/>
                  </a:lnTo>
                  <a:lnTo>
                    <a:pt x="258" y="582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34" y="576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16" y="552"/>
                  </a:lnTo>
                  <a:lnTo>
                    <a:pt x="216" y="546"/>
                  </a:lnTo>
                  <a:lnTo>
                    <a:pt x="216" y="540"/>
                  </a:lnTo>
                  <a:lnTo>
                    <a:pt x="222" y="534"/>
                  </a:lnTo>
                  <a:lnTo>
                    <a:pt x="222" y="528"/>
                  </a:lnTo>
                  <a:lnTo>
                    <a:pt x="228" y="522"/>
                  </a:lnTo>
                  <a:lnTo>
                    <a:pt x="228" y="516"/>
                  </a:lnTo>
                  <a:lnTo>
                    <a:pt x="228" y="510"/>
                  </a:lnTo>
                  <a:lnTo>
                    <a:pt x="234" y="510"/>
                  </a:lnTo>
                  <a:lnTo>
                    <a:pt x="240" y="516"/>
                  </a:lnTo>
                  <a:lnTo>
                    <a:pt x="246" y="522"/>
                  </a:lnTo>
                  <a:lnTo>
                    <a:pt x="246" y="516"/>
                  </a:lnTo>
                  <a:lnTo>
                    <a:pt x="240" y="516"/>
                  </a:lnTo>
                  <a:lnTo>
                    <a:pt x="240" y="510"/>
                  </a:lnTo>
                  <a:lnTo>
                    <a:pt x="234" y="510"/>
                  </a:lnTo>
                  <a:lnTo>
                    <a:pt x="234" y="504"/>
                  </a:lnTo>
                  <a:lnTo>
                    <a:pt x="228" y="504"/>
                  </a:lnTo>
                  <a:lnTo>
                    <a:pt x="222" y="504"/>
                  </a:lnTo>
                  <a:lnTo>
                    <a:pt x="222" y="498"/>
                  </a:lnTo>
                  <a:lnTo>
                    <a:pt x="222" y="504"/>
                  </a:lnTo>
                  <a:lnTo>
                    <a:pt x="222" y="510"/>
                  </a:lnTo>
                  <a:lnTo>
                    <a:pt x="222" y="516"/>
                  </a:lnTo>
                  <a:lnTo>
                    <a:pt x="216" y="522"/>
                  </a:lnTo>
                  <a:lnTo>
                    <a:pt x="216" y="528"/>
                  </a:lnTo>
                  <a:lnTo>
                    <a:pt x="210" y="528"/>
                  </a:lnTo>
                  <a:lnTo>
                    <a:pt x="216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04" y="546"/>
                  </a:lnTo>
                  <a:lnTo>
                    <a:pt x="204" y="552"/>
                  </a:lnTo>
                  <a:lnTo>
                    <a:pt x="204" y="558"/>
                  </a:lnTo>
                  <a:lnTo>
                    <a:pt x="204" y="564"/>
                  </a:lnTo>
                  <a:lnTo>
                    <a:pt x="198" y="570"/>
                  </a:lnTo>
                  <a:lnTo>
                    <a:pt x="192" y="564"/>
                  </a:lnTo>
                  <a:lnTo>
                    <a:pt x="186" y="564"/>
                  </a:lnTo>
                  <a:lnTo>
                    <a:pt x="180" y="564"/>
                  </a:lnTo>
                  <a:lnTo>
                    <a:pt x="174" y="564"/>
                  </a:lnTo>
                  <a:lnTo>
                    <a:pt x="168" y="564"/>
                  </a:lnTo>
                  <a:lnTo>
                    <a:pt x="162" y="564"/>
                  </a:lnTo>
                  <a:lnTo>
                    <a:pt x="156" y="570"/>
                  </a:lnTo>
                  <a:lnTo>
                    <a:pt x="150" y="570"/>
                  </a:lnTo>
                  <a:lnTo>
                    <a:pt x="150" y="564"/>
                  </a:lnTo>
                  <a:lnTo>
                    <a:pt x="150" y="570"/>
                  </a:lnTo>
                  <a:lnTo>
                    <a:pt x="150" y="576"/>
                  </a:lnTo>
                  <a:lnTo>
                    <a:pt x="144" y="576"/>
                  </a:lnTo>
                  <a:lnTo>
                    <a:pt x="138" y="576"/>
                  </a:lnTo>
                  <a:lnTo>
                    <a:pt x="132" y="582"/>
                  </a:lnTo>
                  <a:lnTo>
                    <a:pt x="126" y="582"/>
                  </a:lnTo>
                  <a:lnTo>
                    <a:pt x="120" y="582"/>
                  </a:lnTo>
                  <a:lnTo>
                    <a:pt x="114" y="576"/>
                  </a:lnTo>
                  <a:lnTo>
                    <a:pt x="108" y="564"/>
                  </a:lnTo>
                  <a:lnTo>
                    <a:pt x="102" y="558"/>
                  </a:lnTo>
                  <a:lnTo>
                    <a:pt x="96" y="552"/>
                  </a:lnTo>
                  <a:lnTo>
                    <a:pt x="90" y="546"/>
                  </a:lnTo>
                  <a:lnTo>
                    <a:pt x="90" y="540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2"/>
                  </a:lnTo>
                  <a:lnTo>
                    <a:pt x="78" y="516"/>
                  </a:lnTo>
                  <a:lnTo>
                    <a:pt x="72" y="510"/>
                  </a:lnTo>
                  <a:lnTo>
                    <a:pt x="66" y="504"/>
                  </a:lnTo>
                  <a:lnTo>
                    <a:pt x="66" y="498"/>
                  </a:lnTo>
                  <a:lnTo>
                    <a:pt x="66" y="492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6" y="474"/>
                  </a:lnTo>
                  <a:lnTo>
                    <a:pt x="72" y="474"/>
                  </a:lnTo>
                  <a:lnTo>
                    <a:pt x="72" y="468"/>
                  </a:lnTo>
                  <a:lnTo>
                    <a:pt x="78" y="462"/>
                  </a:lnTo>
                  <a:lnTo>
                    <a:pt x="78" y="456"/>
                  </a:lnTo>
                  <a:lnTo>
                    <a:pt x="84" y="456"/>
                  </a:lnTo>
                  <a:lnTo>
                    <a:pt x="84" y="450"/>
                  </a:lnTo>
                  <a:lnTo>
                    <a:pt x="84" y="444"/>
                  </a:lnTo>
                  <a:lnTo>
                    <a:pt x="90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02" y="450"/>
                  </a:lnTo>
                  <a:lnTo>
                    <a:pt x="108" y="450"/>
                  </a:lnTo>
                  <a:lnTo>
                    <a:pt x="108" y="456"/>
                  </a:lnTo>
                  <a:lnTo>
                    <a:pt x="108" y="462"/>
                  </a:lnTo>
                  <a:lnTo>
                    <a:pt x="114" y="462"/>
                  </a:lnTo>
                  <a:lnTo>
                    <a:pt x="114" y="468"/>
                  </a:lnTo>
                  <a:lnTo>
                    <a:pt x="114" y="474"/>
                  </a:lnTo>
                  <a:lnTo>
                    <a:pt x="114" y="480"/>
                  </a:lnTo>
                  <a:lnTo>
                    <a:pt x="114" y="486"/>
                  </a:lnTo>
                  <a:lnTo>
                    <a:pt x="120" y="486"/>
                  </a:lnTo>
                  <a:lnTo>
                    <a:pt x="126" y="486"/>
                  </a:lnTo>
                  <a:lnTo>
                    <a:pt x="132" y="486"/>
                  </a:lnTo>
                  <a:lnTo>
                    <a:pt x="126" y="480"/>
                  </a:lnTo>
                  <a:lnTo>
                    <a:pt x="120" y="480"/>
                  </a:lnTo>
                  <a:lnTo>
                    <a:pt x="114" y="480"/>
                  </a:lnTo>
                  <a:lnTo>
                    <a:pt x="120" y="480"/>
                  </a:lnTo>
                  <a:lnTo>
                    <a:pt x="120" y="474"/>
                  </a:lnTo>
                  <a:lnTo>
                    <a:pt x="120" y="468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108" y="450"/>
                  </a:lnTo>
                  <a:lnTo>
                    <a:pt x="108" y="444"/>
                  </a:lnTo>
                  <a:lnTo>
                    <a:pt x="114" y="438"/>
                  </a:lnTo>
                  <a:lnTo>
                    <a:pt x="120" y="438"/>
                  </a:lnTo>
                  <a:lnTo>
                    <a:pt x="120" y="432"/>
                  </a:lnTo>
                  <a:lnTo>
                    <a:pt x="132" y="426"/>
                  </a:lnTo>
                  <a:lnTo>
                    <a:pt x="138" y="420"/>
                  </a:lnTo>
                  <a:lnTo>
                    <a:pt x="144" y="420"/>
                  </a:lnTo>
                  <a:lnTo>
                    <a:pt x="144" y="414"/>
                  </a:lnTo>
                  <a:lnTo>
                    <a:pt x="144" y="420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6" y="414"/>
                  </a:lnTo>
                  <a:lnTo>
                    <a:pt x="162" y="414"/>
                  </a:lnTo>
                  <a:lnTo>
                    <a:pt x="162" y="408"/>
                  </a:lnTo>
                  <a:lnTo>
                    <a:pt x="168" y="408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86" y="396"/>
                  </a:lnTo>
                  <a:lnTo>
                    <a:pt x="186" y="390"/>
                  </a:lnTo>
                  <a:lnTo>
                    <a:pt x="192" y="390"/>
                  </a:lnTo>
                  <a:lnTo>
                    <a:pt x="198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210" y="378"/>
                  </a:lnTo>
                  <a:lnTo>
                    <a:pt x="210" y="372"/>
                  </a:lnTo>
                  <a:lnTo>
                    <a:pt x="216" y="372"/>
                  </a:lnTo>
                  <a:lnTo>
                    <a:pt x="222" y="366"/>
                  </a:lnTo>
                  <a:lnTo>
                    <a:pt x="228" y="360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6" y="348"/>
                  </a:lnTo>
                  <a:lnTo>
                    <a:pt x="252" y="348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0" y="342"/>
                  </a:lnTo>
                  <a:lnTo>
                    <a:pt x="234" y="342"/>
                  </a:lnTo>
                  <a:lnTo>
                    <a:pt x="228" y="336"/>
                  </a:lnTo>
                  <a:lnTo>
                    <a:pt x="222" y="336"/>
                  </a:lnTo>
                  <a:lnTo>
                    <a:pt x="216" y="336"/>
                  </a:lnTo>
                  <a:lnTo>
                    <a:pt x="222" y="324"/>
                  </a:lnTo>
                  <a:lnTo>
                    <a:pt x="222" y="318"/>
                  </a:lnTo>
                  <a:lnTo>
                    <a:pt x="222" y="312"/>
                  </a:lnTo>
                  <a:lnTo>
                    <a:pt x="234" y="318"/>
                  </a:lnTo>
                  <a:lnTo>
                    <a:pt x="246" y="318"/>
                  </a:lnTo>
                  <a:lnTo>
                    <a:pt x="258" y="318"/>
                  </a:lnTo>
                  <a:lnTo>
                    <a:pt x="270" y="312"/>
                  </a:lnTo>
                  <a:lnTo>
                    <a:pt x="276" y="312"/>
                  </a:lnTo>
                  <a:lnTo>
                    <a:pt x="288" y="324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94" y="306"/>
                  </a:lnTo>
                  <a:lnTo>
                    <a:pt x="300" y="300"/>
                  </a:lnTo>
                  <a:lnTo>
                    <a:pt x="306" y="306"/>
                  </a:lnTo>
                  <a:lnTo>
                    <a:pt x="312" y="318"/>
                  </a:lnTo>
                  <a:lnTo>
                    <a:pt x="318" y="312"/>
                  </a:lnTo>
                  <a:lnTo>
                    <a:pt x="324" y="312"/>
                  </a:lnTo>
                  <a:lnTo>
                    <a:pt x="330" y="312"/>
                  </a:lnTo>
                  <a:lnTo>
                    <a:pt x="342" y="306"/>
                  </a:lnTo>
                  <a:lnTo>
                    <a:pt x="348" y="306"/>
                  </a:lnTo>
                  <a:lnTo>
                    <a:pt x="348" y="312"/>
                  </a:lnTo>
                  <a:lnTo>
                    <a:pt x="348" y="318"/>
                  </a:lnTo>
                  <a:lnTo>
                    <a:pt x="354" y="318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60" y="336"/>
                  </a:lnTo>
                  <a:lnTo>
                    <a:pt x="366" y="330"/>
                  </a:lnTo>
                  <a:lnTo>
                    <a:pt x="378" y="324"/>
                  </a:lnTo>
                  <a:lnTo>
                    <a:pt x="384" y="324"/>
                  </a:lnTo>
                  <a:lnTo>
                    <a:pt x="384" y="318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6"/>
                  </a:lnTo>
                  <a:lnTo>
                    <a:pt x="402" y="306"/>
                  </a:lnTo>
                  <a:lnTo>
                    <a:pt x="408" y="306"/>
                  </a:lnTo>
                  <a:lnTo>
                    <a:pt x="414" y="300"/>
                  </a:lnTo>
                  <a:lnTo>
                    <a:pt x="420" y="300"/>
                  </a:lnTo>
                  <a:lnTo>
                    <a:pt x="426" y="300"/>
                  </a:lnTo>
                  <a:lnTo>
                    <a:pt x="432" y="300"/>
                  </a:lnTo>
                  <a:lnTo>
                    <a:pt x="444" y="288"/>
                  </a:lnTo>
                  <a:lnTo>
                    <a:pt x="450" y="294"/>
                  </a:lnTo>
                  <a:lnTo>
                    <a:pt x="468" y="300"/>
                  </a:lnTo>
                  <a:lnTo>
                    <a:pt x="498" y="312"/>
                  </a:lnTo>
                  <a:lnTo>
                    <a:pt x="504" y="324"/>
                  </a:lnTo>
                  <a:lnTo>
                    <a:pt x="516" y="330"/>
                  </a:lnTo>
                  <a:lnTo>
                    <a:pt x="516" y="336"/>
                  </a:lnTo>
                  <a:lnTo>
                    <a:pt x="540" y="342"/>
                  </a:lnTo>
                  <a:lnTo>
                    <a:pt x="558" y="372"/>
                  </a:lnTo>
                  <a:lnTo>
                    <a:pt x="594" y="384"/>
                  </a:lnTo>
                  <a:lnTo>
                    <a:pt x="606" y="402"/>
                  </a:lnTo>
                  <a:lnTo>
                    <a:pt x="600" y="420"/>
                  </a:lnTo>
                  <a:lnTo>
                    <a:pt x="588" y="444"/>
                  </a:lnTo>
                  <a:lnTo>
                    <a:pt x="588" y="450"/>
                  </a:lnTo>
                  <a:lnTo>
                    <a:pt x="588" y="456"/>
                  </a:lnTo>
                  <a:lnTo>
                    <a:pt x="594" y="456"/>
                  </a:lnTo>
                  <a:lnTo>
                    <a:pt x="594" y="462"/>
                  </a:lnTo>
                  <a:lnTo>
                    <a:pt x="594" y="468"/>
                  </a:lnTo>
                  <a:lnTo>
                    <a:pt x="594" y="474"/>
                  </a:lnTo>
                  <a:lnTo>
                    <a:pt x="600" y="474"/>
                  </a:lnTo>
                  <a:lnTo>
                    <a:pt x="606" y="480"/>
                  </a:lnTo>
                  <a:lnTo>
                    <a:pt x="606" y="486"/>
                  </a:lnTo>
                  <a:lnTo>
                    <a:pt x="612" y="486"/>
                  </a:lnTo>
                  <a:lnTo>
                    <a:pt x="618" y="486"/>
                  </a:lnTo>
                  <a:lnTo>
                    <a:pt x="624" y="486"/>
                  </a:lnTo>
                  <a:lnTo>
                    <a:pt x="636" y="486"/>
                  </a:lnTo>
                  <a:lnTo>
                    <a:pt x="642" y="486"/>
                  </a:lnTo>
                  <a:lnTo>
                    <a:pt x="648" y="480"/>
                  </a:lnTo>
                  <a:lnTo>
                    <a:pt x="654" y="474"/>
                  </a:lnTo>
                  <a:lnTo>
                    <a:pt x="660" y="468"/>
                  </a:lnTo>
                  <a:lnTo>
                    <a:pt x="666" y="468"/>
                  </a:lnTo>
                  <a:lnTo>
                    <a:pt x="684" y="468"/>
                  </a:lnTo>
                  <a:lnTo>
                    <a:pt x="696" y="468"/>
                  </a:lnTo>
                  <a:lnTo>
                    <a:pt x="696" y="462"/>
                  </a:lnTo>
                  <a:lnTo>
                    <a:pt x="702" y="456"/>
                  </a:lnTo>
                  <a:lnTo>
                    <a:pt x="708" y="450"/>
                  </a:lnTo>
                  <a:lnTo>
                    <a:pt x="714" y="450"/>
                  </a:lnTo>
                  <a:lnTo>
                    <a:pt x="720" y="450"/>
                  </a:lnTo>
                  <a:lnTo>
                    <a:pt x="720" y="438"/>
                  </a:lnTo>
                  <a:lnTo>
                    <a:pt x="726" y="432"/>
                  </a:lnTo>
                  <a:lnTo>
                    <a:pt x="738" y="420"/>
                  </a:lnTo>
                  <a:lnTo>
                    <a:pt x="744" y="420"/>
                  </a:lnTo>
                  <a:lnTo>
                    <a:pt x="750" y="414"/>
                  </a:lnTo>
                  <a:lnTo>
                    <a:pt x="762" y="408"/>
                  </a:lnTo>
                  <a:lnTo>
                    <a:pt x="768" y="408"/>
                  </a:lnTo>
                  <a:lnTo>
                    <a:pt x="768" y="402"/>
                  </a:lnTo>
                  <a:lnTo>
                    <a:pt x="780" y="396"/>
                  </a:lnTo>
                  <a:lnTo>
                    <a:pt x="786" y="396"/>
                  </a:lnTo>
                  <a:lnTo>
                    <a:pt x="786" y="390"/>
                  </a:lnTo>
                  <a:lnTo>
                    <a:pt x="792" y="384"/>
                  </a:lnTo>
                  <a:lnTo>
                    <a:pt x="792" y="378"/>
                  </a:lnTo>
                  <a:lnTo>
                    <a:pt x="798" y="366"/>
                  </a:lnTo>
                  <a:lnTo>
                    <a:pt x="804" y="360"/>
                  </a:lnTo>
                  <a:lnTo>
                    <a:pt x="816" y="342"/>
                  </a:lnTo>
                  <a:lnTo>
                    <a:pt x="816" y="312"/>
                  </a:lnTo>
                  <a:lnTo>
                    <a:pt x="804" y="300"/>
                  </a:lnTo>
                  <a:lnTo>
                    <a:pt x="798" y="288"/>
                  </a:lnTo>
                  <a:lnTo>
                    <a:pt x="762" y="264"/>
                  </a:lnTo>
                  <a:lnTo>
                    <a:pt x="738" y="234"/>
                  </a:lnTo>
                  <a:lnTo>
                    <a:pt x="738" y="222"/>
                  </a:lnTo>
                  <a:lnTo>
                    <a:pt x="744" y="210"/>
                  </a:lnTo>
                  <a:lnTo>
                    <a:pt x="732" y="174"/>
                  </a:lnTo>
                  <a:lnTo>
                    <a:pt x="714" y="156"/>
                  </a:lnTo>
                  <a:lnTo>
                    <a:pt x="708" y="144"/>
                  </a:lnTo>
                  <a:lnTo>
                    <a:pt x="714" y="126"/>
                  </a:lnTo>
                  <a:lnTo>
                    <a:pt x="720" y="114"/>
                  </a:lnTo>
                  <a:lnTo>
                    <a:pt x="732" y="102"/>
                  </a:lnTo>
                  <a:lnTo>
                    <a:pt x="744" y="102"/>
                  </a:lnTo>
                  <a:lnTo>
                    <a:pt x="762" y="108"/>
                  </a:lnTo>
                  <a:lnTo>
                    <a:pt x="774" y="114"/>
                  </a:lnTo>
                  <a:lnTo>
                    <a:pt x="780" y="138"/>
                  </a:lnTo>
                  <a:lnTo>
                    <a:pt x="786" y="144"/>
                  </a:lnTo>
                  <a:lnTo>
                    <a:pt x="798" y="138"/>
                  </a:lnTo>
                  <a:lnTo>
                    <a:pt x="804" y="132"/>
                  </a:lnTo>
                  <a:lnTo>
                    <a:pt x="816" y="120"/>
                  </a:lnTo>
                  <a:lnTo>
                    <a:pt x="816" y="108"/>
                  </a:lnTo>
                  <a:lnTo>
                    <a:pt x="828" y="102"/>
                  </a:lnTo>
                  <a:lnTo>
                    <a:pt x="828" y="96"/>
                  </a:lnTo>
                  <a:lnTo>
                    <a:pt x="840" y="96"/>
                  </a:lnTo>
                  <a:lnTo>
                    <a:pt x="840" y="84"/>
                  </a:lnTo>
                  <a:lnTo>
                    <a:pt x="852" y="90"/>
                  </a:lnTo>
                  <a:lnTo>
                    <a:pt x="852" y="96"/>
                  </a:lnTo>
                  <a:lnTo>
                    <a:pt x="870" y="90"/>
                  </a:lnTo>
                  <a:lnTo>
                    <a:pt x="894" y="78"/>
                  </a:lnTo>
                  <a:lnTo>
                    <a:pt x="912" y="78"/>
                  </a:lnTo>
                  <a:lnTo>
                    <a:pt x="942" y="66"/>
                  </a:lnTo>
                  <a:lnTo>
                    <a:pt x="942" y="60"/>
                  </a:lnTo>
                  <a:lnTo>
                    <a:pt x="954" y="48"/>
                  </a:lnTo>
                  <a:lnTo>
                    <a:pt x="966" y="30"/>
                  </a:lnTo>
                  <a:lnTo>
                    <a:pt x="978" y="30"/>
                  </a:lnTo>
                  <a:lnTo>
                    <a:pt x="978" y="24"/>
                  </a:lnTo>
                  <a:lnTo>
                    <a:pt x="984" y="12"/>
                  </a:lnTo>
                  <a:lnTo>
                    <a:pt x="990" y="12"/>
                  </a:lnTo>
                  <a:lnTo>
                    <a:pt x="996" y="12"/>
                  </a:lnTo>
                  <a:lnTo>
                    <a:pt x="1014" y="6"/>
                  </a:lnTo>
                  <a:lnTo>
                    <a:pt x="1026" y="6"/>
                  </a:lnTo>
                  <a:lnTo>
                    <a:pt x="1044" y="6"/>
                  </a:lnTo>
                  <a:lnTo>
                    <a:pt x="1050" y="6"/>
                  </a:lnTo>
                  <a:lnTo>
                    <a:pt x="1056" y="6"/>
                  </a:lnTo>
                  <a:lnTo>
                    <a:pt x="1062" y="6"/>
                  </a:lnTo>
                  <a:lnTo>
                    <a:pt x="1068" y="6"/>
                  </a:lnTo>
                  <a:lnTo>
                    <a:pt x="1074" y="6"/>
                  </a:lnTo>
                  <a:lnTo>
                    <a:pt x="1080" y="6"/>
                  </a:lnTo>
                  <a:lnTo>
                    <a:pt x="1086" y="0"/>
                  </a:lnTo>
                  <a:lnTo>
                    <a:pt x="1092" y="30"/>
                  </a:lnTo>
                  <a:lnTo>
                    <a:pt x="1098" y="60"/>
                  </a:lnTo>
                  <a:lnTo>
                    <a:pt x="1110" y="84"/>
                  </a:lnTo>
                  <a:lnTo>
                    <a:pt x="1122" y="114"/>
                  </a:lnTo>
                  <a:lnTo>
                    <a:pt x="1128" y="144"/>
                  </a:lnTo>
                  <a:lnTo>
                    <a:pt x="1122" y="156"/>
                  </a:lnTo>
                  <a:lnTo>
                    <a:pt x="1128" y="168"/>
                  </a:lnTo>
                  <a:lnTo>
                    <a:pt x="1134" y="186"/>
                  </a:lnTo>
                  <a:lnTo>
                    <a:pt x="1140" y="204"/>
                  </a:lnTo>
                  <a:lnTo>
                    <a:pt x="1146" y="210"/>
                  </a:lnTo>
                  <a:lnTo>
                    <a:pt x="1146" y="216"/>
                  </a:lnTo>
                  <a:lnTo>
                    <a:pt x="1146" y="228"/>
                  </a:lnTo>
                  <a:lnTo>
                    <a:pt x="1146" y="234"/>
                  </a:lnTo>
                  <a:lnTo>
                    <a:pt x="1140" y="246"/>
                  </a:lnTo>
                  <a:lnTo>
                    <a:pt x="1128" y="258"/>
                  </a:lnTo>
                  <a:lnTo>
                    <a:pt x="1116" y="264"/>
                  </a:lnTo>
                  <a:lnTo>
                    <a:pt x="1110" y="276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2" y="312"/>
                  </a:lnTo>
                  <a:lnTo>
                    <a:pt x="1116" y="324"/>
                  </a:lnTo>
                  <a:lnTo>
                    <a:pt x="1104" y="336"/>
                  </a:lnTo>
                  <a:lnTo>
                    <a:pt x="1104" y="354"/>
                  </a:lnTo>
                  <a:lnTo>
                    <a:pt x="1098" y="372"/>
                  </a:lnTo>
                  <a:lnTo>
                    <a:pt x="1092" y="384"/>
                  </a:lnTo>
                  <a:lnTo>
                    <a:pt x="1086" y="390"/>
                  </a:lnTo>
                  <a:lnTo>
                    <a:pt x="1086" y="402"/>
                  </a:lnTo>
                  <a:lnTo>
                    <a:pt x="1080" y="414"/>
                  </a:lnTo>
                  <a:lnTo>
                    <a:pt x="1074" y="426"/>
                  </a:lnTo>
                  <a:lnTo>
                    <a:pt x="1074" y="450"/>
                  </a:lnTo>
                  <a:lnTo>
                    <a:pt x="1074" y="462"/>
                  </a:lnTo>
                  <a:lnTo>
                    <a:pt x="1068" y="474"/>
                  </a:lnTo>
                  <a:lnTo>
                    <a:pt x="1062" y="486"/>
                  </a:lnTo>
                  <a:lnTo>
                    <a:pt x="1056" y="498"/>
                  </a:lnTo>
                  <a:close/>
                  <a:moveTo>
                    <a:pt x="186" y="378"/>
                  </a:moveTo>
                  <a:lnTo>
                    <a:pt x="186" y="384"/>
                  </a:lnTo>
                  <a:lnTo>
                    <a:pt x="180" y="390"/>
                  </a:lnTo>
                  <a:lnTo>
                    <a:pt x="174" y="396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14"/>
                  </a:lnTo>
                  <a:lnTo>
                    <a:pt x="126" y="414"/>
                  </a:lnTo>
                  <a:lnTo>
                    <a:pt x="120" y="414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2" y="426"/>
                  </a:lnTo>
                  <a:lnTo>
                    <a:pt x="102" y="432"/>
                  </a:lnTo>
                  <a:lnTo>
                    <a:pt x="96" y="432"/>
                  </a:lnTo>
                  <a:lnTo>
                    <a:pt x="90" y="432"/>
                  </a:lnTo>
                  <a:lnTo>
                    <a:pt x="84" y="438"/>
                  </a:lnTo>
                  <a:lnTo>
                    <a:pt x="78" y="438"/>
                  </a:lnTo>
                  <a:lnTo>
                    <a:pt x="78" y="444"/>
                  </a:lnTo>
                  <a:lnTo>
                    <a:pt x="72" y="444"/>
                  </a:lnTo>
                  <a:lnTo>
                    <a:pt x="72" y="450"/>
                  </a:lnTo>
                  <a:lnTo>
                    <a:pt x="66" y="456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48" y="468"/>
                  </a:lnTo>
                  <a:lnTo>
                    <a:pt x="42" y="468"/>
                  </a:lnTo>
                  <a:lnTo>
                    <a:pt x="42" y="462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8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0" y="396"/>
                  </a:lnTo>
                  <a:lnTo>
                    <a:pt x="6" y="384"/>
                  </a:lnTo>
                  <a:lnTo>
                    <a:pt x="18" y="372"/>
                  </a:lnTo>
                  <a:lnTo>
                    <a:pt x="30" y="348"/>
                  </a:lnTo>
                  <a:lnTo>
                    <a:pt x="30" y="342"/>
                  </a:lnTo>
                  <a:lnTo>
                    <a:pt x="42" y="330"/>
                  </a:lnTo>
                  <a:lnTo>
                    <a:pt x="42" y="324"/>
                  </a:lnTo>
                  <a:lnTo>
                    <a:pt x="48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60" y="282"/>
                  </a:lnTo>
                  <a:lnTo>
                    <a:pt x="60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2" y="258"/>
                  </a:lnTo>
                  <a:lnTo>
                    <a:pt x="84" y="246"/>
                  </a:lnTo>
                  <a:lnTo>
                    <a:pt x="90" y="234"/>
                  </a:lnTo>
                  <a:lnTo>
                    <a:pt x="96" y="234"/>
                  </a:lnTo>
                  <a:lnTo>
                    <a:pt x="96" y="228"/>
                  </a:lnTo>
                  <a:lnTo>
                    <a:pt x="102" y="222"/>
                  </a:lnTo>
                  <a:lnTo>
                    <a:pt x="102" y="228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14" y="228"/>
                  </a:lnTo>
                  <a:lnTo>
                    <a:pt x="114" y="234"/>
                  </a:lnTo>
                  <a:lnTo>
                    <a:pt x="120" y="228"/>
                  </a:lnTo>
                  <a:lnTo>
                    <a:pt x="120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26" y="228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8" y="234"/>
                  </a:lnTo>
                  <a:lnTo>
                    <a:pt x="144" y="234"/>
                  </a:lnTo>
                  <a:lnTo>
                    <a:pt x="144" y="228"/>
                  </a:lnTo>
                  <a:lnTo>
                    <a:pt x="150" y="228"/>
                  </a:lnTo>
                  <a:lnTo>
                    <a:pt x="156" y="228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46"/>
                  </a:lnTo>
                  <a:lnTo>
                    <a:pt x="162" y="240"/>
                  </a:lnTo>
                  <a:lnTo>
                    <a:pt x="162" y="246"/>
                  </a:lnTo>
                  <a:lnTo>
                    <a:pt x="162" y="258"/>
                  </a:lnTo>
                  <a:lnTo>
                    <a:pt x="162" y="264"/>
                  </a:lnTo>
                  <a:lnTo>
                    <a:pt x="156" y="270"/>
                  </a:lnTo>
                  <a:lnTo>
                    <a:pt x="162" y="270"/>
                  </a:lnTo>
                  <a:lnTo>
                    <a:pt x="162" y="282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86" y="288"/>
                  </a:lnTo>
                  <a:lnTo>
                    <a:pt x="186" y="294"/>
                  </a:lnTo>
                  <a:lnTo>
                    <a:pt x="180" y="300"/>
                  </a:lnTo>
                  <a:lnTo>
                    <a:pt x="174" y="318"/>
                  </a:lnTo>
                  <a:lnTo>
                    <a:pt x="174" y="324"/>
                  </a:lnTo>
                  <a:lnTo>
                    <a:pt x="168" y="330"/>
                  </a:lnTo>
                  <a:lnTo>
                    <a:pt x="168" y="342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74" y="360"/>
                  </a:lnTo>
                  <a:lnTo>
                    <a:pt x="180" y="366"/>
                  </a:lnTo>
                  <a:lnTo>
                    <a:pt x="186" y="3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8" name="Freeform 23">
              <a:extLst>
                <a:ext uri="{FF2B5EF4-FFF2-40B4-BE49-F238E27FC236}">
                  <a16:creationId xmlns:a16="http://schemas.microsoft.com/office/drawing/2014/main" id="{A539A33E-3F6E-4AF7-BD88-1853165307F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6312" y="3604793"/>
              <a:ext cx="581410" cy="621747"/>
            </a:xfrm>
            <a:custGeom>
              <a:avLst/>
              <a:gdLst>
                <a:gd name="T0" fmla="*/ 90 w 1092"/>
                <a:gd name="T1" fmla="*/ 60 h 1170"/>
                <a:gd name="T2" fmla="*/ 83 w 1092"/>
                <a:gd name="T3" fmla="*/ 62 h 1170"/>
                <a:gd name="T4" fmla="*/ 72 w 1092"/>
                <a:gd name="T5" fmla="*/ 68 h 1170"/>
                <a:gd name="T6" fmla="*/ 68 w 1092"/>
                <a:gd name="T7" fmla="*/ 71 h 1170"/>
                <a:gd name="T8" fmla="*/ 61 w 1092"/>
                <a:gd name="T9" fmla="*/ 69 h 1170"/>
                <a:gd name="T10" fmla="*/ 64 w 1092"/>
                <a:gd name="T11" fmla="*/ 82 h 1170"/>
                <a:gd name="T12" fmla="*/ 67 w 1092"/>
                <a:gd name="T13" fmla="*/ 93 h 1170"/>
                <a:gd name="T14" fmla="*/ 62 w 1092"/>
                <a:gd name="T15" fmla="*/ 96 h 1170"/>
                <a:gd name="T16" fmla="*/ 59 w 1092"/>
                <a:gd name="T17" fmla="*/ 99 h 1170"/>
                <a:gd name="T18" fmla="*/ 53 w 1092"/>
                <a:gd name="T19" fmla="*/ 101 h 1170"/>
                <a:gd name="T20" fmla="*/ 50 w 1092"/>
                <a:gd name="T21" fmla="*/ 100 h 1170"/>
                <a:gd name="T22" fmla="*/ 50 w 1092"/>
                <a:gd name="T23" fmla="*/ 93 h 1170"/>
                <a:gd name="T24" fmla="*/ 37 w 1092"/>
                <a:gd name="T25" fmla="*/ 85 h 1170"/>
                <a:gd name="T26" fmla="*/ 32 w 1092"/>
                <a:gd name="T27" fmla="*/ 86 h 1170"/>
                <a:gd name="T28" fmla="*/ 29 w 1092"/>
                <a:gd name="T29" fmla="*/ 88 h 1170"/>
                <a:gd name="T30" fmla="*/ 27 w 1092"/>
                <a:gd name="T31" fmla="*/ 86 h 1170"/>
                <a:gd name="T32" fmla="*/ 23 w 1092"/>
                <a:gd name="T33" fmla="*/ 87 h 1170"/>
                <a:gd name="T34" fmla="*/ 17 w 1092"/>
                <a:gd name="T35" fmla="*/ 87 h 1170"/>
                <a:gd name="T36" fmla="*/ 18 w 1092"/>
                <a:gd name="T37" fmla="*/ 89 h 1170"/>
                <a:gd name="T38" fmla="*/ 16 w 1092"/>
                <a:gd name="T39" fmla="*/ 92 h 1170"/>
                <a:gd name="T40" fmla="*/ 12 w 1092"/>
                <a:gd name="T41" fmla="*/ 89 h 1170"/>
                <a:gd name="T42" fmla="*/ 13 w 1092"/>
                <a:gd name="T43" fmla="*/ 84 h 1170"/>
                <a:gd name="T44" fmla="*/ 12 w 1092"/>
                <a:gd name="T45" fmla="*/ 80 h 1170"/>
                <a:gd name="T46" fmla="*/ 10 w 1092"/>
                <a:gd name="T47" fmla="*/ 80 h 1170"/>
                <a:gd name="T48" fmla="*/ 8 w 1092"/>
                <a:gd name="T49" fmla="*/ 79 h 1170"/>
                <a:gd name="T50" fmla="*/ 6 w 1092"/>
                <a:gd name="T51" fmla="*/ 78 h 1170"/>
                <a:gd name="T52" fmla="*/ 6 w 1092"/>
                <a:gd name="T53" fmla="*/ 77 h 1170"/>
                <a:gd name="T54" fmla="*/ 4 w 1092"/>
                <a:gd name="T55" fmla="*/ 75 h 1170"/>
                <a:gd name="T56" fmla="*/ 0 w 1092"/>
                <a:gd name="T57" fmla="*/ 72 h 1170"/>
                <a:gd name="T58" fmla="*/ 0 w 1092"/>
                <a:gd name="T59" fmla="*/ 69 h 1170"/>
                <a:gd name="T60" fmla="*/ 3 w 1092"/>
                <a:gd name="T61" fmla="*/ 67 h 1170"/>
                <a:gd name="T62" fmla="*/ 6 w 1092"/>
                <a:gd name="T63" fmla="*/ 62 h 1170"/>
                <a:gd name="T64" fmla="*/ 8 w 1092"/>
                <a:gd name="T65" fmla="*/ 58 h 1170"/>
                <a:gd name="T66" fmla="*/ 5 w 1092"/>
                <a:gd name="T67" fmla="*/ 54 h 1170"/>
                <a:gd name="T68" fmla="*/ 6 w 1092"/>
                <a:gd name="T69" fmla="*/ 50 h 1170"/>
                <a:gd name="T70" fmla="*/ 8 w 1092"/>
                <a:gd name="T71" fmla="*/ 46 h 1170"/>
                <a:gd name="T72" fmla="*/ 10 w 1092"/>
                <a:gd name="T73" fmla="*/ 43 h 1170"/>
                <a:gd name="T74" fmla="*/ 14 w 1092"/>
                <a:gd name="T75" fmla="*/ 38 h 1170"/>
                <a:gd name="T76" fmla="*/ 31 w 1092"/>
                <a:gd name="T77" fmla="*/ 40 h 1170"/>
                <a:gd name="T78" fmla="*/ 30 w 1092"/>
                <a:gd name="T79" fmla="*/ 46 h 1170"/>
                <a:gd name="T80" fmla="*/ 36 w 1092"/>
                <a:gd name="T81" fmla="*/ 47 h 1170"/>
                <a:gd name="T82" fmla="*/ 41 w 1092"/>
                <a:gd name="T83" fmla="*/ 44 h 1170"/>
                <a:gd name="T84" fmla="*/ 43 w 1092"/>
                <a:gd name="T85" fmla="*/ 39 h 1170"/>
                <a:gd name="T86" fmla="*/ 44 w 1092"/>
                <a:gd name="T87" fmla="*/ 35 h 1170"/>
                <a:gd name="T88" fmla="*/ 44 w 1092"/>
                <a:gd name="T89" fmla="*/ 29 h 1170"/>
                <a:gd name="T90" fmla="*/ 48 w 1092"/>
                <a:gd name="T91" fmla="*/ 24 h 1170"/>
                <a:gd name="T92" fmla="*/ 49 w 1092"/>
                <a:gd name="T93" fmla="*/ 19 h 1170"/>
                <a:gd name="T94" fmla="*/ 51 w 1092"/>
                <a:gd name="T95" fmla="*/ 14 h 1170"/>
                <a:gd name="T96" fmla="*/ 54 w 1092"/>
                <a:gd name="T97" fmla="*/ 10 h 1170"/>
                <a:gd name="T98" fmla="*/ 53 w 1092"/>
                <a:gd name="T99" fmla="*/ 7 h 1170"/>
                <a:gd name="T100" fmla="*/ 55 w 1092"/>
                <a:gd name="T101" fmla="*/ 3 h 1170"/>
                <a:gd name="T102" fmla="*/ 58 w 1092"/>
                <a:gd name="T103" fmla="*/ 0 h 1170"/>
                <a:gd name="T104" fmla="*/ 65 w 1092"/>
                <a:gd name="T105" fmla="*/ 2 h 1170"/>
                <a:gd name="T106" fmla="*/ 61 w 1092"/>
                <a:gd name="T107" fmla="*/ 6 h 1170"/>
                <a:gd name="T108" fmla="*/ 67 w 1092"/>
                <a:gd name="T109" fmla="*/ 7 h 1170"/>
                <a:gd name="T110" fmla="*/ 71 w 1092"/>
                <a:gd name="T111" fmla="*/ 6 h 1170"/>
                <a:gd name="T112" fmla="*/ 75 w 1092"/>
                <a:gd name="T113" fmla="*/ 9 h 1170"/>
                <a:gd name="T114" fmla="*/ 82 w 1092"/>
                <a:gd name="T115" fmla="*/ 12 h 1170"/>
                <a:gd name="T116" fmla="*/ 84 w 1092"/>
                <a:gd name="T117" fmla="*/ 17 h 1170"/>
                <a:gd name="T118" fmla="*/ 94 w 1092"/>
                <a:gd name="T119" fmla="*/ 23 h 1170"/>
                <a:gd name="T120" fmla="*/ 94 w 1092"/>
                <a:gd name="T121" fmla="*/ 34 h 1170"/>
                <a:gd name="T122" fmla="*/ 90 w 1092"/>
                <a:gd name="T123" fmla="*/ 41 h 1170"/>
                <a:gd name="T124" fmla="*/ 91 w 1092"/>
                <a:gd name="T125" fmla="*/ 51 h 11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92"/>
                <a:gd name="T190" fmla="*/ 0 h 1170"/>
                <a:gd name="T191" fmla="*/ 1092 w 1092"/>
                <a:gd name="T192" fmla="*/ 1170 h 117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92" h="1170">
                  <a:moveTo>
                    <a:pt x="1056" y="654"/>
                  </a:moveTo>
                  <a:lnTo>
                    <a:pt x="1062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0"/>
                  </a:lnTo>
                  <a:lnTo>
                    <a:pt x="1038" y="690"/>
                  </a:lnTo>
                  <a:lnTo>
                    <a:pt x="1032" y="690"/>
                  </a:lnTo>
                  <a:lnTo>
                    <a:pt x="1026" y="690"/>
                  </a:lnTo>
                  <a:lnTo>
                    <a:pt x="1020" y="690"/>
                  </a:lnTo>
                  <a:lnTo>
                    <a:pt x="1002" y="690"/>
                  </a:lnTo>
                  <a:lnTo>
                    <a:pt x="990" y="690"/>
                  </a:lnTo>
                  <a:lnTo>
                    <a:pt x="972" y="696"/>
                  </a:lnTo>
                  <a:lnTo>
                    <a:pt x="966" y="696"/>
                  </a:lnTo>
                  <a:lnTo>
                    <a:pt x="960" y="696"/>
                  </a:lnTo>
                  <a:lnTo>
                    <a:pt x="954" y="708"/>
                  </a:lnTo>
                  <a:lnTo>
                    <a:pt x="954" y="714"/>
                  </a:lnTo>
                  <a:lnTo>
                    <a:pt x="942" y="714"/>
                  </a:lnTo>
                  <a:lnTo>
                    <a:pt x="930" y="732"/>
                  </a:lnTo>
                  <a:lnTo>
                    <a:pt x="918" y="744"/>
                  </a:lnTo>
                  <a:lnTo>
                    <a:pt x="918" y="750"/>
                  </a:lnTo>
                  <a:lnTo>
                    <a:pt x="888" y="762"/>
                  </a:lnTo>
                  <a:lnTo>
                    <a:pt x="870" y="762"/>
                  </a:lnTo>
                  <a:lnTo>
                    <a:pt x="846" y="774"/>
                  </a:lnTo>
                  <a:lnTo>
                    <a:pt x="828" y="780"/>
                  </a:lnTo>
                  <a:lnTo>
                    <a:pt x="828" y="774"/>
                  </a:lnTo>
                  <a:lnTo>
                    <a:pt x="816" y="768"/>
                  </a:lnTo>
                  <a:lnTo>
                    <a:pt x="816" y="780"/>
                  </a:lnTo>
                  <a:lnTo>
                    <a:pt x="804" y="780"/>
                  </a:lnTo>
                  <a:lnTo>
                    <a:pt x="804" y="786"/>
                  </a:lnTo>
                  <a:lnTo>
                    <a:pt x="792" y="792"/>
                  </a:lnTo>
                  <a:lnTo>
                    <a:pt x="792" y="804"/>
                  </a:lnTo>
                  <a:lnTo>
                    <a:pt x="780" y="816"/>
                  </a:lnTo>
                  <a:lnTo>
                    <a:pt x="774" y="822"/>
                  </a:lnTo>
                  <a:lnTo>
                    <a:pt x="762" y="828"/>
                  </a:lnTo>
                  <a:lnTo>
                    <a:pt x="756" y="822"/>
                  </a:lnTo>
                  <a:lnTo>
                    <a:pt x="750" y="798"/>
                  </a:lnTo>
                  <a:lnTo>
                    <a:pt x="738" y="792"/>
                  </a:lnTo>
                  <a:lnTo>
                    <a:pt x="720" y="786"/>
                  </a:lnTo>
                  <a:lnTo>
                    <a:pt x="708" y="786"/>
                  </a:lnTo>
                  <a:lnTo>
                    <a:pt x="696" y="798"/>
                  </a:lnTo>
                  <a:lnTo>
                    <a:pt x="690" y="810"/>
                  </a:lnTo>
                  <a:lnTo>
                    <a:pt x="684" y="828"/>
                  </a:lnTo>
                  <a:lnTo>
                    <a:pt x="690" y="840"/>
                  </a:lnTo>
                  <a:lnTo>
                    <a:pt x="708" y="858"/>
                  </a:lnTo>
                  <a:lnTo>
                    <a:pt x="720" y="894"/>
                  </a:lnTo>
                  <a:lnTo>
                    <a:pt x="714" y="906"/>
                  </a:lnTo>
                  <a:lnTo>
                    <a:pt x="714" y="918"/>
                  </a:lnTo>
                  <a:lnTo>
                    <a:pt x="738" y="948"/>
                  </a:lnTo>
                  <a:lnTo>
                    <a:pt x="774" y="972"/>
                  </a:lnTo>
                  <a:lnTo>
                    <a:pt x="780" y="984"/>
                  </a:lnTo>
                  <a:lnTo>
                    <a:pt x="792" y="996"/>
                  </a:lnTo>
                  <a:lnTo>
                    <a:pt x="792" y="1026"/>
                  </a:lnTo>
                  <a:lnTo>
                    <a:pt x="780" y="1044"/>
                  </a:lnTo>
                  <a:lnTo>
                    <a:pt x="774" y="1050"/>
                  </a:lnTo>
                  <a:lnTo>
                    <a:pt x="768" y="1062"/>
                  </a:lnTo>
                  <a:lnTo>
                    <a:pt x="768" y="1068"/>
                  </a:lnTo>
                  <a:lnTo>
                    <a:pt x="762" y="1074"/>
                  </a:lnTo>
                  <a:lnTo>
                    <a:pt x="762" y="1080"/>
                  </a:lnTo>
                  <a:lnTo>
                    <a:pt x="756" y="1080"/>
                  </a:lnTo>
                  <a:lnTo>
                    <a:pt x="744" y="1086"/>
                  </a:lnTo>
                  <a:lnTo>
                    <a:pt x="744" y="1092"/>
                  </a:lnTo>
                  <a:lnTo>
                    <a:pt x="738" y="1092"/>
                  </a:lnTo>
                  <a:lnTo>
                    <a:pt x="726" y="1098"/>
                  </a:lnTo>
                  <a:lnTo>
                    <a:pt x="720" y="1104"/>
                  </a:lnTo>
                  <a:lnTo>
                    <a:pt x="714" y="1104"/>
                  </a:lnTo>
                  <a:lnTo>
                    <a:pt x="702" y="1116"/>
                  </a:lnTo>
                  <a:lnTo>
                    <a:pt x="696" y="1122"/>
                  </a:lnTo>
                  <a:lnTo>
                    <a:pt x="696" y="1134"/>
                  </a:lnTo>
                  <a:lnTo>
                    <a:pt x="690" y="1134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72" y="1146"/>
                  </a:lnTo>
                  <a:lnTo>
                    <a:pt x="672" y="1152"/>
                  </a:lnTo>
                  <a:lnTo>
                    <a:pt x="660" y="1152"/>
                  </a:lnTo>
                  <a:lnTo>
                    <a:pt x="642" y="1152"/>
                  </a:lnTo>
                  <a:lnTo>
                    <a:pt x="636" y="1152"/>
                  </a:lnTo>
                  <a:lnTo>
                    <a:pt x="630" y="1158"/>
                  </a:lnTo>
                  <a:lnTo>
                    <a:pt x="624" y="1164"/>
                  </a:lnTo>
                  <a:lnTo>
                    <a:pt x="618" y="1170"/>
                  </a:lnTo>
                  <a:lnTo>
                    <a:pt x="612" y="1170"/>
                  </a:lnTo>
                  <a:lnTo>
                    <a:pt x="600" y="1170"/>
                  </a:lnTo>
                  <a:lnTo>
                    <a:pt x="594" y="1170"/>
                  </a:lnTo>
                  <a:lnTo>
                    <a:pt x="588" y="1170"/>
                  </a:lnTo>
                  <a:lnTo>
                    <a:pt x="582" y="1170"/>
                  </a:lnTo>
                  <a:lnTo>
                    <a:pt x="582" y="1164"/>
                  </a:lnTo>
                  <a:lnTo>
                    <a:pt x="576" y="1158"/>
                  </a:lnTo>
                  <a:lnTo>
                    <a:pt x="570" y="1158"/>
                  </a:lnTo>
                  <a:lnTo>
                    <a:pt x="570" y="1152"/>
                  </a:lnTo>
                  <a:lnTo>
                    <a:pt x="570" y="1146"/>
                  </a:lnTo>
                  <a:lnTo>
                    <a:pt x="570" y="1140"/>
                  </a:lnTo>
                  <a:lnTo>
                    <a:pt x="564" y="1140"/>
                  </a:lnTo>
                  <a:lnTo>
                    <a:pt x="564" y="1134"/>
                  </a:lnTo>
                  <a:lnTo>
                    <a:pt x="564" y="1128"/>
                  </a:lnTo>
                  <a:lnTo>
                    <a:pt x="576" y="1104"/>
                  </a:lnTo>
                  <a:lnTo>
                    <a:pt x="582" y="1086"/>
                  </a:lnTo>
                  <a:lnTo>
                    <a:pt x="570" y="1068"/>
                  </a:lnTo>
                  <a:lnTo>
                    <a:pt x="534" y="1056"/>
                  </a:lnTo>
                  <a:lnTo>
                    <a:pt x="516" y="1026"/>
                  </a:lnTo>
                  <a:lnTo>
                    <a:pt x="492" y="1020"/>
                  </a:lnTo>
                  <a:lnTo>
                    <a:pt x="492" y="1014"/>
                  </a:lnTo>
                  <a:lnTo>
                    <a:pt x="480" y="1008"/>
                  </a:lnTo>
                  <a:lnTo>
                    <a:pt x="474" y="996"/>
                  </a:lnTo>
                  <a:lnTo>
                    <a:pt x="444" y="984"/>
                  </a:lnTo>
                  <a:lnTo>
                    <a:pt x="426" y="978"/>
                  </a:lnTo>
                  <a:lnTo>
                    <a:pt x="420" y="972"/>
                  </a:lnTo>
                  <a:lnTo>
                    <a:pt x="408" y="984"/>
                  </a:lnTo>
                  <a:lnTo>
                    <a:pt x="402" y="984"/>
                  </a:lnTo>
                  <a:lnTo>
                    <a:pt x="396" y="984"/>
                  </a:lnTo>
                  <a:lnTo>
                    <a:pt x="390" y="984"/>
                  </a:lnTo>
                  <a:lnTo>
                    <a:pt x="384" y="990"/>
                  </a:lnTo>
                  <a:lnTo>
                    <a:pt x="378" y="990"/>
                  </a:lnTo>
                  <a:lnTo>
                    <a:pt x="372" y="990"/>
                  </a:lnTo>
                  <a:lnTo>
                    <a:pt x="372" y="996"/>
                  </a:lnTo>
                  <a:lnTo>
                    <a:pt x="366" y="996"/>
                  </a:lnTo>
                  <a:lnTo>
                    <a:pt x="360" y="1002"/>
                  </a:lnTo>
                  <a:lnTo>
                    <a:pt x="360" y="1008"/>
                  </a:lnTo>
                  <a:lnTo>
                    <a:pt x="354" y="1008"/>
                  </a:lnTo>
                  <a:lnTo>
                    <a:pt x="342" y="1014"/>
                  </a:lnTo>
                  <a:lnTo>
                    <a:pt x="336" y="1020"/>
                  </a:lnTo>
                  <a:lnTo>
                    <a:pt x="336" y="1014"/>
                  </a:lnTo>
                  <a:lnTo>
                    <a:pt x="330" y="1014"/>
                  </a:lnTo>
                  <a:lnTo>
                    <a:pt x="330" y="1008"/>
                  </a:lnTo>
                  <a:lnTo>
                    <a:pt x="330" y="1002"/>
                  </a:lnTo>
                  <a:lnTo>
                    <a:pt x="324" y="1002"/>
                  </a:lnTo>
                  <a:lnTo>
                    <a:pt x="324" y="996"/>
                  </a:lnTo>
                  <a:lnTo>
                    <a:pt x="324" y="990"/>
                  </a:lnTo>
                  <a:lnTo>
                    <a:pt x="318" y="990"/>
                  </a:lnTo>
                  <a:lnTo>
                    <a:pt x="306" y="996"/>
                  </a:lnTo>
                  <a:lnTo>
                    <a:pt x="300" y="996"/>
                  </a:lnTo>
                  <a:lnTo>
                    <a:pt x="294" y="996"/>
                  </a:lnTo>
                  <a:lnTo>
                    <a:pt x="288" y="1002"/>
                  </a:lnTo>
                  <a:lnTo>
                    <a:pt x="282" y="990"/>
                  </a:lnTo>
                  <a:lnTo>
                    <a:pt x="276" y="984"/>
                  </a:lnTo>
                  <a:lnTo>
                    <a:pt x="270" y="990"/>
                  </a:lnTo>
                  <a:lnTo>
                    <a:pt x="270" y="996"/>
                  </a:lnTo>
                  <a:lnTo>
                    <a:pt x="270" y="1002"/>
                  </a:lnTo>
                  <a:lnTo>
                    <a:pt x="264" y="1008"/>
                  </a:lnTo>
                  <a:lnTo>
                    <a:pt x="252" y="996"/>
                  </a:lnTo>
                  <a:lnTo>
                    <a:pt x="246" y="996"/>
                  </a:lnTo>
                  <a:lnTo>
                    <a:pt x="234" y="1002"/>
                  </a:lnTo>
                  <a:lnTo>
                    <a:pt x="222" y="1002"/>
                  </a:lnTo>
                  <a:lnTo>
                    <a:pt x="210" y="1002"/>
                  </a:lnTo>
                  <a:lnTo>
                    <a:pt x="198" y="996"/>
                  </a:lnTo>
                  <a:lnTo>
                    <a:pt x="198" y="1002"/>
                  </a:lnTo>
                  <a:lnTo>
                    <a:pt x="198" y="1008"/>
                  </a:lnTo>
                  <a:lnTo>
                    <a:pt x="192" y="1020"/>
                  </a:lnTo>
                  <a:lnTo>
                    <a:pt x="198" y="1020"/>
                  </a:lnTo>
                  <a:lnTo>
                    <a:pt x="204" y="1020"/>
                  </a:lnTo>
                  <a:lnTo>
                    <a:pt x="210" y="1026"/>
                  </a:lnTo>
                  <a:lnTo>
                    <a:pt x="216" y="1026"/>
                  </a:lnTo>
                  <a:lnTo>
                    <a:pt x="216" y="1032"/>
                  </a:lnTo>
                  <a:lnTo>
                    <a:pt x="210" y="1032"/>
                  </a:lnTo>
                  <a:lnTo>
                    <a:pt x="210" y="1038"/>
                  </a:lnTo>
                  <a:lnTo>
                    <a:pt x="204" y="1038"/>
                  </a:lnTo>
                  <a:lnTo>
                    <a:pt x="204" y="1044"/>
                  </a:lnTo>
                  <a:lnTo>
                    <a:pt x="198" y="1044"/>
                  </a:lnTo>
                  <a:lnTo>
                    <a:pt x="192" y="1044"/>
                  </a:lnTo>
                  <a:lnTo>
                    <a:pt x="186" y="1050"/>
                  </a:lnTo>
                  <a:lnTo>
                    <a:pt x="186" y="1056"/>
                  </a:lnTo>
                  <a:lnTo>
                    <a:pt x="180" y="1056"/>
                  </a:lnTo>
                  <a:lnTo>
                    <a:pt x="180" y="1062"/>
                  </a:lnTo>
                  <a:lnTo>
                    <a:pt x="174" y="1062"/>
                  </a:lnTo>
                  <a:lnTo>
                    <a:pt x="168" y="1062"/>
                  </a:lnTo>
                  <a:lnTo>
                    <a:pt x="162" y="1062"/>
                  </a:lnTo>
                  <a:lnTo>
                    <a:pt x="156" y="1050"/>
                  </a:lnTo>
                  <a:lnTo>
                    <a:pt x="150" y="1044"/>
                  </a:lnTo>
                  <a:lnTo>
                    <a:pt x="150" y="1038"/>
                  </a:lnTo>
                  <a:lnTo>
                    <a:pt x="144" y="1032"/>
                  </a:lnTo>
                  <a:lnTo>
                    <a:pt x="144" y="1026"/>
                  </a:lnTo>
                  <a:lnTo>
                    <a:pt x="144" y="1014"/>
                  </a:lnTo>
                  <a:lnTo>
                    <a:pt x="150" y="1008"/>
                  </a:lnTo>
                  <a:lnTo>
                    <a:pt x="150" y="1002"/>
                  </a:lnTo>
                  <a:lnTo>
                    <a:pt x="156" y="984"/>
                  </a:lnTo>
                  <a:lnTo>
                    <a:pt x="162" y="978"/>
                  </a:lnTo>
                  <a:lnTo>
                    <a:pt x="162" y="972"/>
                  </a:lnTo>
                  <a:lnTo>
                    <a:pt x="150" y="966"/>
                  </a:lnTo>
                  <a:lnTo>
                    <a:pt x="144" y="966"/>
                  </a:lnTo>
                  <a:lnTo>
                    <a:pt x="138" y="966"/>
                  </a:lnTo>
                  <a:lnTo>
                    <a:pt x="138" y="954"/>
                  </a:lnTo>
                  <a:lnTo>
                    <a:pt x="132" y="954"/>
                  </a:lnTo>
                  <a:lnTo>
                    <a:pt x="138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8" y="924"/>
                  </a:lnTo>
                  <a:lnTo>
                    <a:pt x="132" y="930"/>
                  </a:lnTo>
                  <a:lnTo>
                    <a:pt x="132" y="924"/>
                  </a:lnTo>
                  <a:lnTo>
                    <a:pt x="126" y="918"/>
                  </a:lnTo>
                  <a:lnTo>
                    <a:pt x="132" y="918"/>
                  </a:lnTo>
                  <a:lnTo>
                    <a:pt x="132" y="912"/>
                  </a:lnTo>
                  <a:lnTo>
                    <a:pt x="126" y="912"/>
                  </a:lnTo>
                  <a:lnTo>
                    <a:pt x="120" y="912"/>
                  </a:lnTo>
                  <a:lnTo>
                    <a:pt x="120" y="918"/>
                  </a:lnTo>
                  <a:lnTo>
                    <a:pt x="114" y="918"/>
                  </a:lnTo>
                  <a:lnTo>
                    <a:pt x="114" y="912"/>
                  </a:lnTo>
                  <a:lnTo>
                    <a:pt x="108" y="912"/>
                  </a:lnTo>
                  <a:lnTo>
                    <a:pt x="102" y="912"/>
                  </a:lnTo>
                  <a:lnTo>
                    <a:pt x="108" y="906"/>
                  </a:lnTo>
                  <a:lnTo>
                    <a:pt x="102" y="906"/>
                  </a:lnTo>
                  <a:lnTo>
                    <a:pt x="96" y="906"/>
                  </a:lnTo>
                  <a:lnTo>
                    <a:pt x="96" y="912"/>
                  </a:lnTo>
                  <a:lnTo>
                    <a:pt x="90" y="918"/>
                  </a:lnTo>
                  <a:lnTo>
                    <a:pt x="90" y="912"/>
                  </a:lnTo>
                  <a:lnTo>
                    <a:pt x="84" y="912"/>
                  </a:lnTo>
                  <a:lnTo>
                    <a:pt x="84" y="918"/>
                  </a:lnTo>
                  <a:lnTo>
                    <a:pt x="78" y="918"/>
                  </a:lnTo>
                  <a:lnTo>
                    <a:pt x="78" y="912"/>
                  </a:lnTo>
                  <a:lnTo>
                    <a:pt x="78" y="906"/>
                  </a:lnTo>
                  <a:lnTo>
                    <a:pt x="72" y="900"/>
                  </a:lnTo>
                  <a:lnTo>
                    <a:pt x="78" y="900"/>
                  </a:lnTo>
                  <a:lnTo>
                    <a:pt x="72" y="900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8" y="888"/>
                  </a:lnTo>
                  <a:lnTo>
                    <a:pt x="72" y="888"/>
                  </a:lnTo>
                  <a:lnTo>
                    <a:pt x="72" y="882"/>
                  </a:lnTo>
                  <a:lnTo>
                    <a:pt x="66" y="876"/>
                  </a:lnTo>
                  <a:lnTo>
                    <a:pt x="60" y="882"/>
                  </a:lnTo>
                  <a:lnTo>
                    <a:pt x="54" y="876"/>
                  </a:lnTo>
                  <a:lnTo>
                    <a:pt x="54" y="882"/>
                  </a:lnTo>
                  <a:lnTo>
                    <a:pt x="48" y="882"/>
                  </a:lnTo>
                  <a:lnTo>
                    <a:pt x="42" y="870"/>
                  </a:lnTo>
                  <a:lnTo>
                    <a:pt x="42" y="864"/>
                  </a:lnTo>
                  <a:lnTo>
                    <a:pt x="36" y="858"/>
                  </a:lnTo>
                  <a:lnTo>
                    <a:pt x="36" y="852"/>
                  </a:lnTo>
                  <a:lnTo>
                    <a:pt x="30" y="852"/>
                  </a:lnTo>
                  <a:lnTo>
                    <a:pt x="30" y="846"/>
                  </a:lnTo>
                  <a:lnTo>
                    <a:pt x="24" y="846"/>
                  </a:lnTo>
                  <a:lnTo>
                    <a:pt x="18" y="840"/>
                  </a:lnTo>
                  <a:lnTo>
                    <a:pt x="12" y="834"/>
                  </a:lnTo>
                  <a:lnTo>
                    <a:pt x="0" y="828"/>
                  </a:lnTo>
                  <a:lnTo>
                    <a:pt x="0" y="822"/>
                  </a:lnTo>
                  <a:lnTo>
                    <a:pt x="0" y="816"/>
                  </a:lnTo>
                  <a:lnTo>
                    <a:pt x="0" y="810"/>
                  </a:lnTo>
                  <a:lnTo>
                    <a:pt x="6" y="804"/>
                  </a:lnTo>
                  <a:lnTo>
                    <a:pt x="12" y="804"/>
                  </a:lnTo>
                  <a:lnTo>
                    <a:pt x="12" y="798"/>
                  </a:lnTo>
                  <a:lnTo>
                    <a:pt x="12" y="792"/>
                  </a:lnTo>
                  <a:lnTo>
                    <a:pt x="6" y="792"/>
                  </a:lnTo>
                  <a:lnTo>
                    <a:pt x="6" y="786"/>
                  </a:lnTo>
                  <a:lnTo>
                    <a:pt x="6" y="780"/>
                  </a:lnTo>
                  <a:lnTo>
                    <a:pt x="18" y="780"/>
                  </a:lnTo>
                  <a:lnTo>
                    <a:pt x="18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0" y="774"/>
                  </a:lnTo>
                  <a:lnTo>
                    <a:pt x="36" y="768"/>
                  </a:lnTo>
                  <a:lnTo>
                    <a:pt x="42" y="768"/>
                  </a:lnTo>
                  <a:lnTo>
                    <a:pt x="60" y="750"/>
                  </a:lnTo>
                  <a:lnTo>
                    <a:pt x="60" y="744"/>
                  </a:lnTo>
                  <a:lnTo>
                    <a:pt x="54" y="738"/>
                  </a:lnTo>
                  <a:lnTo>
                    <a:pt x="60" y="732"/>
                  </a:lnTo>
                  <a:lnTo>
                    <a:pt x="54" y="732"/>
                  </a:lnTo>
                  <a:lnTo>
                    <a:pt x="60" y="726"/>
                  </a:lnTo>
                  <a:lnTo>
                    <a:pt x="66" y="720"/>
                  </a:lnTo>
                  <a:lnTo>
                    <a:pt x="72" y="714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84" y="696"/>
                  </a:lnTo>
                  <a:lnTo>
                    <a:pt x="90" y="684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66"/>
                  </a:lnTo>
                  <a:lnTo>
                    <a:pt x="90" y="660"/>
                  </a:lnTo>
                  <a:lnTo>
                    <a:pt x="84" y="654"/>
                  </a:lnTo>
                  <a:lnTo>
                    <a:pt x="84" y="648"/>
                  </a:lnTo>
                  <a:lnTo>
                    <a:pt x="78" y="636"/>
                  </a:lnTo>
                  <a:lnTo>
                    <a:pt x="66" y="630"/>
                  </a:lnTo>
                  <a:lnTo>
                    <a:pt x="66" y="624"/>
                  </a:lnTo>
                  <a:lnTo>
                    <a:pt x="60" y="624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60" y="600"/>
                  </a:lnTo>
                  <a:lnTo>
                    <a:pt x="66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6" y="588"/>
                  </a:lnTo>
                  <a:lnTo>
                    <a:pt x="66" y="582"/>
                  </a:lnTo>
                  <a:lnTo>
                    <a:pt x="72" y="582"/>
                  </a:lnTo>
                  <a:lnTo>
                    <a:pt x="78" y="576"/>
                  </a:lnTo>
                  <a:lnTo>
                    <a:pt x="72" y="576"/>
                  </a:lnTo>
                  <a:lnTo>
                    <a:pt x="66" y="570"/>
                  </a:lnTo>
                  <a:lnTo>
                    <a:pt x="72" y="564"/>
                  </a:lnTo>
                  <a:lnTo>
                    <a:pt x="78" y="558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90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102" y="516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0" y="504"/>
                  </a:lnTo>
                  <a:lnTo>
                    <a:pt x="120" y="498"/>
                  </a:lnTo>
                  <a:lnTo>
                    <a:pt x="120" y="492"/>
                  </a:lnTo>
                  <a:lnTo>
                    <a:pt x="126" y="480"/>
                  </a:lnTo>
                  <a:lnTo>
                    <a:pt x="132" y="474"/>
                  </a:lnTo>
                  <a:lnTo>
                    <a:pt x="132" y="468"/>
                  </a:lnTo>
                  <a:lnTo>
                    <a:pt x="138" y="462"/>
                  </a:lnTo>
                  <a:lnTo>
                    <a:pt x="138" y="456"/>
                  </a:lnTo>
                  <a:lnTo>
                    <a:pt x="138" y="450"/>
                  </a:lnTo>
                  <a:lnTo>
                    <a:pt x="144" y="444"/>
                  </a:lnTo>
                  <a:lnTo>
                    <a:pt x="162" y="438"/>
                  </a:lnTo>
                  <a:lnTo>
                    <a:pt x="186" y="438"/>
                  </a:lnTo>
                  <a:lnTo>
                    <a:pt x="210" y="444"/>
                  </a:lnTo>
                  <a:lnTo>
                    <a:pt x="276" y="450"/>
                  </a:lnTo>
                  <a:lnTo>
                    <a:pt x="342" y="450"/>
                  </a:lnTo>
                  <a:lnTo>
                    <a:pt x="348" y="450"/>
                  </a:lnTo>
                  <a:lnTo>
                    <a:pt x="354" y="450"/>
                  </a:lnTo>
                  <a:lnTo>
                    <a:pt x="360" y="456"/>
                  </a:lnTo>
                  <a:lnTo>
                    <a:pt x="354" y="462"/>
                  </a:lnTo>
                  <a:lnTo>
                    <a:pt x="354" y="468"/>
                  </a:lnTo>
                  <a:lnTo>
                    <a:pt x="354" y="474"/>
                  </a:lnTo>
                  <a:lnTo>
                    <a:pt x="348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48" y="498"/>
                  </a:lnTo>
                  <a:lnTo>
                    <a:pt x="342" y="510"/>
                  </a:lnTo>
                  <a:lnTo>
                    <a:pt x="348" y="528"/>
                  </a:lnTo>
                  <a:lnTo>
                    <a:pt x="348" y="534"/>
                  </a:lnTo>
                  <a:lnTo>
                    <a:pt x="354" y="552"/>
                  </a:lnTo>
                  <a:lnTo>
                    <a:pt x="366" y="546"/>
                  </a:lnTo>
                  <a:lnTo>
                    <a:pt x="372" y="540"/>
                  </a:lnTo>
                  <a:lnTo>
                    <a:pt x="384" y="540"/>
                  </a:lnTo>
                  <a:lnTo>
                    <a:pt x="396" y="534"/>
                  </a:lnTo>
                  <a:lnTo>
                    <a:pt x="402" y="534"/>
                  </a:lnTo>
                  <a:lnTo>
                    <a:pt x="414" y="546"/>
                  </a:lnTo>
                  <a:lnTo>
                    <a:pt x="432" y="540"/>
                  </a:lnTo>
                  <a:lnTo>
                    <a:pt x="450" y="534"/>
                  </a:lnTo>
                  <a:lnTo>
                    <a:pt x="450" y="528"/>
                  </a:lnTo>
                  <a:lnTo>
                    <a:pt x="456" y="528"/>
                  </a:lnTo>
                  <a:lnTo>
                    <a:pt x="456" y="522"/>
                  </a:lnTo>
                  <a:lnTo>
                    <a:pt x="456" y="516"/>
                  </a:lnTo>
                  <a:lnTo>
                    <a:pt x="462" y="516"/>
                  </a:lnTo>
                  <a:lnTo>
                    <a:pt x="468" y="510"/>
                  </a:lnTo>
                  <a:lnTo>
                    <a:pt x="468" y="504"/>
                  </a:lnTo>
                  <a:lnTo>
                    <a:pt x="474" y="504"/>
                  </a:lnTo>
                  <a:lnTo>
                    <a:pt x="480" y="504"/>
                  </a:lnTo>
                  <a:lnTo>
                    <a:pt x="486" y="498"/>
                  </a:lnTo>
                  <a:lnTo>
                    <a:pt x="492" y="498"/>
                  </a:lnTo>
                  <a:lnTo>
                    <a:pt x="486" y="480"/>
                  </a:lnTo>
                  <a:lnTo>
                    <a:pt x="492" y="462"/>
                  </a:lnTo>
                  <a:lnTo>
                    <a:pt x="498" y="444"/>
                  </a:lnTo>
                  <a:lnTo>
                    <a:pt x="498" y="426"/>
                  </a:lnTo>
                  <a:lnTo>
                    <a:pt x="498" y="420"/>
                  </a:lnTo>
                  <a:lnTo>
                    <a:pt x="504" y="426"/>
                  </a:lnTo>
                  <a:lnTo>
                    <a:pt x="504" y="420"/>
                  </a:lnTo>
                  <a:lnTo>
                    <a:pt x="510" y="420"/>
                  </a:lnTo>
                  <a:lnTo>
                    <a:pt x="510" y="414"/>
                  </a:lnTo>
                  <a:lnTo>
                    <a:pt x="510" y="408"/>
                  </a:lnTo>
                  <a:lnTo>
                    <a:pt x="504" y="402"/>
                  </a:lnTo>
                  <a:lnTo>
                    <a:pt x="504" y="396"/>
                  </a:lnTo>
                  <a:lnTo>
                    <a:pt x="504" y="384"/>
                  </a:lnTo>
                  <a:lnTo>
                    <a:pt x="504" y="378"/>
                  </a:lnTo>
                  <a:lnTo>
                    <a:pt x="504" y="360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510" y="348"/>
                  </a:lnTo>
                  <a:lnTo>
                    <a:pt x="510" y="336"/>
                  </a:lnTo>
                  <a:lnTo>
                    <a:pt x="516" y="330"/>
                  </a:lnTo>
                  <a:lnTo>
                    <a:pt x="522" y="324"/>
                  </a:lnTo>
                  <a:lnTo>
                    <a:pt x="528" y="318"/>
                  </a:lnTo>
                  <a:lnTo>
                    <a:pt x="534" y="312"/>
                  </a:lnTo>
                  <a:lnTo>
                    <a:pt x="534" y="300"/>
                  </a:lnTo>
                  <a:lnTo>
                    <a:pt x="540" y="294"/>
                  </a:lnTo>
                  <a:lnTo>
                    <a:pt x="546" y="288"/>
                  </a:lnTo>
                  <a:lnTo>
                    <a:pt x="552" y="276"/>
                  </a:lnTo>
                  <a:lnTo>
                    <a:pt x="558" y="264"/>
                  </a:lnTo>
                  <a:lnTo>
                    <a:pt x="558" y="258"/>
                  </a:lnTo>
                  <a:lnTo>
                    <a:pt x="558" y="252"/>
                  </a:lnTo>
                  <a:lnTo>
                    <a:pt x="558" y="246"/>
                  </a:lnTo>
                  <a:lnTo>
                    <a:pt x="564" y="246"/>
                  </a:lnTo>
                  <a:lnTo>
                    <a:pt x="564" y="240"/>
                  </a:lnTo>
                  <a:lnTo>
                    <a:pt x="570" y="234"/>
                  </a:lnTo>
                  <a:lnTo>
                    <a:pt x="564" y="216"/>
                  </a:lnTo>
                  <a:lnTo>
                    <a:pt x="564" y="210"/>
                  </a:lnTo>
                  <a:lnTo>
                    <a:pt x="570" y="210"/>
                  </a:lnTo>
                  <a:lnTo>
                    <a:pt x="570" y="204"/>
                  </a:lnTo>
                  <a:lnTo>
                    <a:pt x="570" y="198"/>
                  </a:lnTo>
                  <a:lnTo>
                    <a:pt x="582" y="180"/>
                  </a:lnTo>
                  <a:lnTo>
                    <a:pt x="582" y="174"/>
                  </a:lnTo>
                  <a:lnTo>
                    <a:pt x="582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606" y="150"/>
                  </a:lnTo>
                  <a:lnTo>
                    <a:pt x="612" y="150"/>
                  </a:lnTo>
                  <a:lnTo>
                    <a:pt x="618" y="150"/>
                  </a:lnTo>
                  <a:lnTo>
                    <a:pt x="624" y="138"/>
                  </a:lnTo>
                  <a:lnTo>
                    <a:pt x="618" y="132"/>
                  </a:lnTo>
                  <a:lnTo>
                    <a:pt x="618" y="126"/>
                  </a:lnTo>
                  <a:lnTo>
                    <a:pt x="618" y="120"/>
                  </a:lnTo>
                  <a:lnTo>
                    <a:pt x="618" y="114"/>
                  </a:lnTo>
                  <a:lnTo>
                    <a:pt x="612" y="108"/>
                  </a:lnTo>
                  <a:lnTo>
                    <a:pt x="612" y="102"/>
                  </a:lnTo>
                  <a:lnTo>
                    <a:pt x="618" y="90"/>
                  </a:lnTo>
                  <a:lnTo>
                    <a:pt x="624" y="84"/>
                  </a:lnTo>
                  <a:lnTo>
                    <a:pt x="618" y="84"/>
                  </a:lnTo>
                  <a:lnTo>
                    <a:pt x="618" y="78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0" y="72"/>
                  </a:lnTo>
                  <a:lnTo>
                    <a:pt x="600" y="66"/>
                  </a:lnTo>
                  <a:lnTo>
                    <a:pt x="600" y="60"/>
                  </a:lnTo>
                  <a:lnTo>
                    <a:pt x="600" y="48"/>
                  </a:lnTo>
                  <a:lnTo>
                    <a:pt x="612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36"/>
                  </a:lnTo>
                  <a:lnTo>
                    <a:pt x="630" y="30"/>
                  </a:lnTo>
                  <a:lnTo>
                    <a:pt x="636" y="24"/>
                  </a:lnTo>
                  <a:lnTo>
                    <a:pt x="642" y="24"/>
                  </a:lnTo>
                  <a:lnTo>
                    <a:pt x="648" y="24"/>
                  </a:lnTo>
                  <a:lnTo>
                    <a:pt x="648" y="18"/>
                  </a:lnTo>
                  <a:lnTo>
                    <a:pt x="654" y="12"/>
                  </a:lnTo>
                  <a:lnTo>
                    <a:pt x="660" y="0"/>
                  </a:lnTo>
                  <a:lnTo>
                    <a:pt x="678" y="0"/>
                  </a:lnTo>
                  <a:lnTo>
                    <a:pt x="696" y="0"/>
                  </a:lnTo>
                  <a:lnTo>
                    <a:pt x="702" y="0"/>
                  </a:lnTo>
                  <a:lnTo>
                    <a:pt x="714" y="0"/>
                  </a:lnTo>
                  <a:lnTo>
                    <a:pt x="720" y="6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44" y="24"/>
                  </a:lnTo>
                  <a:lnTo>
                    <a:pt x="744" y="30"/>
                  </a:lnTo>
                  <a:lnTo>
                    <a:pt x="732" y="42"/>
                  </a:lnTo>
                  <a:lnTo>
                    <a:pt x="726" y="42"/>
                  </a:lnTo>
                  <a:lnTo>
                    <a:pt x="720" y="42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54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90"/>
                  </a:lnTo>
                  <a:lnTo>
                    <a:pt x="726" y="84"/>
                  </a:lnTo>
                  <a:lnTo>
                    <a:pt x="738" y="84"/>
                  </a:lnTo>
                  <a:lnTo>
                    <a:pt x="750" y="96"/>
                  </a:lnTo>
                  <a:lnTo>
                    <a:pt x="768" y="96"/>
                  </a:lnTo>
                  <a:lnTo>
                    <a:pt x="768" y="90"/>
                  </a:lnTo>
                  <a:lnTo>
                    <a:pt x="774" y="84"/>
                  </a:lnTo>
                  <a:lnTo>
                    <a:pt x="780" y="78"/>
                  </a:lnTo>
                  <a:lnTo>
                    <a:pt x="786" y="78"/>
                  </a:lnTo>
                  <a:lnTo>
                    <a:pt x="792" y="72"/>
                  </a:lnTo>
                  <a:lnTo>
                    <a:pt x="804" y="72"/>
                  </a:lnTo>
                  <a:lnTo>
                    <a:pt x="804" y="66"/>
                  </a:lnTo>
                  <a:lnTo>
                    <a:pt x="810" y="66"/>
                  </a:lnTo>
                  <a:lnTo>
                    <a:pt x="810" y="72"/>
                  </a:lnTo>
                  <a:lnTo>
                    <a:pt x="816" y="66"/>
                  </a:lnTo>
                  <a:lnTo>
                    <a:pt x="828" y="66"/>
                  </a:lnTo>
                  <a:lnTo>
                    <a:pt x="834" y="72"/>
                  </a:lnTo>
                  <a:lnTo>
                    <a:pt x="840" y="72"/>
                  </a:lnTo>
                  <a:lnTo>
                    <a:pt x="840" y="78"/>
                  </a:lnTo>
                  <a:lnTo>
                    <a:pt x="840" y="84"/>
                  </a:lnTo>
                  <a:lnTo>
                    <a:pt x="852" y="84"/>
                  </a:lnTo>
                  <a:lnTo>
                    <a:pt x="858" y="96"/>
                  </a:lnTo>
                  <a:lnTo>
                    <a:pt x="864" y="108"/>
                  </a:lnTo>
                  <a:lnTo>
                    <a:pt x="876" y="114"/>
                  </a:lnTo>
                  <a:lnTo>
                    <a:pt x="894" y="114"/>
                  </a:lnTo>
                  <a:lnTo>
                    <a:pt x="906" y="114"/>
                  </a:lnTo>
                  <a:lnTo>
                    <a:pt x="906" y="126"/>
                  </a:lnTo>
                  <a:lnTo>
                    <a:pt x="912" y="144"/>
                  </a:lnTo>
                  <a:lnTo>
                    <a:pt x="930" y="138"/>
                  </a:lnTo>
                  <a:lnTo>
                    <a:pt x="936" y="138"/>
                  </a:lnTo>
                  <a:lnTo>
                    <a:pt x="942" y="144"/>
                  </a:lnTo>
                  <a:lnTo>
                    <a:pt x="948" y="150"/>
                  </a:lnTo>
                  <a:lnTo>
                    <a:pt x="954" y="156"/>
                  </a:lnTo>
                  <a:lnTo>
                    <a:pt x="954" y="168"/>
                  </a:lnTo>
                  <a:lnTo>
                    <a:pt x="954" y="174"/>
                  </a:lnTo>
                  <a:lnTo>
                    <a:pt x="960" y="180"/>
                  </a:lnTo>
                  <a:lnTo>
                    <a:pt x="966" y="186"/>
                  </a:lnTo>
                  <a:lnTo>
                    <a:pt x="960" y="186"/>
                  </a:lnTo>
                  <a:lnTo>
                    <a:pt x="966" y="192"/>
                  </a:lnTo>
                  <a:lnTo>
                    <a:pt x="966" y="198"/>
                  </a:lnTo>
                  <a:lnTo>
                    <a:pt x="978" y="204"/>
                  </a:lnTo>
                  <a:lnTo>
                    <a:pt x="1050" y="186"/>
                  </a:lnTo>
                  <a:lnTo>
                    <a:pt x="1056" y="198"/>
                  </a:lnTo>
                  <a:lnTo>
                    <a:pt x="1068" y="210"/>
                  </a:lnTo>
                  <a:lnTo>
                    <a:pt x="1074" y="216"/>
                  </a:lnTo>
                  <a:lnTo>
                    <a:pt x="1080" y="252"/>
                  </a:lnTo>
                  <a:lnTo>
                    <a:pt x="1086" y="270"/>
                  </a:lnTo>
                  <a:lnTo>
                    <a:pt x="1092" y="282"/>
                  </a:lnTo>
                  <a:lnTo>
                    <a:pt x="1086" y="300"/>
                  </a:lnTo>
                  <a:lnTo>
                    <a:pt x="1074" y="330"/>
                  </a:lnTo>
                  <a:lnTo>
                    <a:pt x="1068" y="336"/>
                  </a:lnTo>
                  <a:lnTo>
                    <a:pt x="1062" y="348"/>
                  </a:lnTo>
                  <a:lnTo>
                    <a:pt x="1062" y="360"/>
                  </a:lnTo>
                  <a:lnTo>
                    <a:pt x="1068" y="378"/>
                  </a:lnTo>
                  <a:lnTo>
                    <a:pt x="1074" y="390"/>
                  </a:lnTo>
                  <a:lnTo>
                    <a:pt x="1068" y="396"/>
                  </a:lnTo>
                  <a:lnTo>
                    <a:pt x="1068" y="408"/>
                  </a:lnTo>
                  <a:lnTo>
                    <a:pt x="1062" y="414"/>
                  </a:lnTo>
                  <a:lnTo>
                    <a:pt x="1050" y="432"/>
                  </a:lnTo>
                  <a:lnTo>
                    <a:pt x="1044" y="450"/>
                  </a:lnTo>
                  <a:lnTo>
                    <a:pt x="1038" y="456"/>
                  </a:lnTo>
                  <a:lnTo>
                    <a:pt x="1026" y="468"/>
                  </a:lnTo>
                  <a:lnTo>
                    <a:pt x="1026" y="474"/>
                  </a:lnTo>
                  <a:lnTo>
                    <a:pt x="1026" y="480"/>
                  </a:lnTo>
                  <a:lnTo>
                    <a:pt x="1032" y="492"/>
                  </a:lnTo>
                  <a:lnTo>
                    <a:pt x="1044" y="504"/>
                  </a:lnTo>
                  <a:lnTo>
                    <a:pt x="1044" y="516"/>
                  </a:lnTo>
                  <a:lnTo>
                    <a:pt x="1038" y="528"/>
                  </a:lnTo>
                  <a:lnTo>
                    <a:pt x="1032" y="546"/>
                  </a:lnTo>
                  <a:lnTo>
                    <a:pt x="1032" y="570"/>
                  </a:lnTo>
                  <a:lnTo>
                    <a:pt x="1050" y="594"/>
                  </a:lnTo>
                  <a:lnTo>
                    <a:pt x="1056" y="624"/>
                  </a:lnTo>
                  <a:lnTo>
                    <a:pt x="1056" y="65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9" name="Freeform 24">
              <a:extLst>
                <a:ext uri="{FF2B5EF4-FFF2-40B4-BE49-F238E27FC236}">
                  <a16:creationId xmlns:a16="http://schemas.microsoft.com/office/drawing/2014/main" id="{CAE689DA-332A-4F73-BDE6-8865C9170AA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84829" y="3213406"/>
              <a:ext cx="851989" cy="744754"/>
            </a:xfrm>
            <a:custGeom>
              <a:avLst/>
              <a:gdLst>
                <a:gd name="T0" fmla="*/ 116 w 1602"/>
                <a:gd name="T1" fmla="*/ 91 h 1404"/>
                <a:gd name="T2" fmla="*/ 111 w 1602"/>
                <a:gd name="T3" fmla="*/ 95 h 1404"/>
                <a:gd name="T4" fmla="*/ 102 w 1602"/>
                <a:gd name="T5" fmla="*/ 101 h 1404"/>
                <a:gd name="T6" fmla="*/ 99 w 1602"/>
                <a:gd name="T7" fmla="*/ 103 h 1404"/>
                <a:gd name="T8" fmla="*/ 96 w 1602"/>
                <a:gd name="T9" fmla="*/ 106 h 1404"/>
                <a:gd name="T10" fmla="*/ 93 w 1602"/>
                <a:gd name="T11" fmla="*/ 108 h 1404"/>
                <a:gd name="T12" fmla="*/ 88 w 1602"/>
                <a:gd name="T13" fmla="*/ 106 h 1404"/>
                <a:gd name="T14" fmla="*/ 86 w 1602"/>
                <a:gd name="T15" fmla="*/ 108 h 1404"/>
                <a:gd name="T16" fmla="*/ 81 w 1602"/>
                <a:gd name="T17" fmla="*/ 119 h 1404"/>
                <a:gd name="T18" fmla="*/ 71 w 1602"/>
                <a:gd name="T19" fmla="*/ 109 h 1404"/>
                <a:gd name="T20" fmla="*/ 72 w 1602"/>
                <a:gd name="T21" fmla="*/ 101 h 1404"/>
                <a:gd name="T22" fmla="*/ 74 w 1602"/>
                <a:gd name="T23" fmla="*/ 93 h 1404"/>
                <a:gd name="T24" fmla="*/ 73 w 1602"/>
                <a:gd name="T25" fmla="*/ 82 h 1404"/>
                <a:gd name="T26" fmla="*/ 64 w 1602"/>
                <a:gd name="T27" fmla="*/ 79 h 1404"/>
                <a:gd name="T28" fmla="*/ 59 w 1602"/>
                <a:gd name="T29" fmla="*/ 75 h 1404"/>
                <a:gd name="T30" fmla="*/ 54 w 1602"/>
                <a:gd name="T31" fmla="*/ 71 h 1404"/>
                <a:gd name="T32" fmla="*/ 51 w 1602"/>
                <a:gd name="T33" fmla="*/ 70 h 1404"/>
                <a:gd name="T34" fmla="*/ 45 w 1602"/>
                <a:gd name="T35" fmla="*/ 71 h 1404"/>
                <a:gd name="T36" fmla="*/ 43 w 1602"/>
                <a:gd name="T37" fmla="*/ 68 h 1404"/>
                <a:gd name="T38" fmla="*/ 43 w 1602"/>
                <a:gd name="T39" fmla="*/ 64 h 1404"/>
                <a:gd name="T40" fmla="*/ 36 w 1602"/>
                <a:gd name="T41" fmla="*/ 66 h 1404"/>
                <a:gd name="T42" fmla="*/ 31 w 1602"/>
                <a:gd name="T43" fmla="*/ 55 h 1404"/>
                <a:gd name="T44" fmla="*/ 25 w 1602"/>
                <a:gd name="T45" fmla="*/ 53 h 1404"/>
                <a:gd name="T46" fmla="*/ 19 w 1602"/>
                <a:gd name="T47" fmla="*/ 51 h 1404"/>
                <a:gd name="T48" fmla="*/ 17 w 1602"/>
                <a:gd name="T49" fmla="*/ 43 h 1404"/>
                <a:gd name="T50" fmla="*/ 17 w 1602"/>
                <a:gd name="T51" fmla="*/ 39 h 1404"/>
                <a:gd name="T52" fmla="*/ 12 w 1602"/>
                <a:gd name="T53" fmla="*/ 39 h 1404"/>
                <a:gd name="T54" fmla="*/ 10 w 1602"/>
                <a:gd name="T55" fmla="*/ 35 h 1404"/>
                <a:gd name="T56" fmla="*/ 5 w 1602"/>
                <a:gd name="T57" fmla="*/ 30 h 1404"/>
                <a:gd name="T58" fmla="*/ 3 w 1602"/>
                <a:gd name="T59" fmla="*/ 27 h 1404"/>
                <a:gd name="T60" fmla="*/ 2 w 1602"/>
                <a:gd name="T61" fmla="*/ 25 h 1404"/>
                <a:gd name="T62" fmla="*/ 0 w 1602"/>
                <a:gd name="T63" fmla="*/ 22 h 1404"/>
                <a:gd name="T64" fmla="*/ 8 w 1602"/>
                <a:gd name="T65" fmla="*/ 14 h 1404"/>
                <a:gd name="T66" fmla="*/ 16 w 1602"/>
                <a:gd name="T67" fmla="*/ 16 h 1404"/>
                <a:gd name="T68" fmla="*/ 31 w 1602"/>
                <a:gd name="T69" fmla="*/ 18 h 1404"/>
                <a:gd name="T70" fmla="*/ 43 w 1602"/>
                <a:gd name="T71" fmla="*/ 17 h 1404"/>
                <a:gd name="T72" fmla="*/ 47 w 1602"/>
                <a:gd name="T73" fmla="*/ 6 h 1404"/>
                <a:gd name="T74" fmla="*/ 52 w 1602"/>
                <a:gd name="T75" fmla="*/ 0 h 1404"/>
                <a:gd name="T76" fmla="*/ 55 w 1602"/>
                <a:gd name="T77" fmla="*/ 3 h 1404"/>
                <a:gd name="T78" fmla="*/ 59 w 1602"/>
                <a:gd name="T79" fmla="*/ 9 h 1404"/>
                <a:gd name="T80" fmla="*/ 62 w 1602"/>
                <a:gd name="T81" fmla="*/ 16 h 1404"/>
                <a:gd name="T82" fmla="*/ 66 w 1602"/>
                <a:gd name="T83" fmla="*/ 20 h 1404"/>
                <a:gd name="T84" fmla="*/ 70 w 1602"/>
                <a:gd name="T85" fmla="*/ 25 h 1404"/>
                <a:gd name="T86" fmla="*/ 74 w 1602"/>
                <a:gd name="T87" fmla="*/ 30 h 1404"/>
                <a:gd name="T88" fmla="*/ 76 w 1602"/>
                <a:gd name="T89" fmla="*/ 27 h 1404"/>
                <a:gd name="T90" fmla="*/ 78 w 1602"/>
                <a:gd name="T91" fmla="*/ 27 h 1404"/>
                <a:gd name="T92" fmla="*/ 78 w 1602"/>
                <a:gd name="T93" fmla="*/ 23 h 1404"/>
                <a:gd name="T94" fmla="*/ 82 w 1602"/>
                <a:gd name="T95" fmla="*/ 20 h 1404"/>
                <a:gd name="T96" fmla="*/ 82 w 1602"/>
                <a:gd name="T97" fmla="*/ 18 h 1404"/>
                <a:gd name="T98" fmla="*/ 90 w 1602"/>
                <a:gd name="T99" fmla="*/ 24 h 1404"/>
                <a:gd name="T100" fmla="*/ 90 w 1602"/>
                <a:gd name="T101" fmla="*/ 45 h 1404"/>
                <a:gd name="T102" fmla="*/ 104 w 1602"/>
                <a:gd name="T103" fmla="*/ 41 h 1404"/>
                <a:gd name="T104" fmla="*/ 117 w 1602"/>
                <a:gd name="T105" fmla="*/ 39 h 1404"/>
                <a:gd name="T106" fmla="*/ 125 w 1602"/>
                <a:gd name="T107" fmla="*/ 39 h 1404"/>
                <a:gd name="T108" fmla="*/ 127 w 1602"/>
                <a:gd name="T109" fmla="*/ 43 h 1404"/>
                <a:gd name="T110" fmla="*/ 131 w 1602"/>
                <a:gd name="T111" fmla="*/ 53 h 1404"/>
                <a:gd name="T112" fmla="*/ 133 w 1602"/>
                <a:gd name="T113" fmla="*/ 60 h 1404"/>
                <a:gd name="T114" fmla="*/ 138 w 1602"/>
                <a:gd name="T115" fmla="*/ 73 h 1404"/>
                <a:gd name="T116" fmla="*/ 136 w 1602"/>
                <a:gd name="T117" fmla="*/ 80 h 1404"/>
                <a:gd name="T118" fmla="*/ 129 w 1602"/>
                <a:gd name="T119" fmla="*/ 87 h 1404"/>
                <a:gd name="T120" fmla="*/ 123 w 1602"/>
                <a:gd name="T121" fmla="*/ 95 h 14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02"/>
                <a:gd name="T184" fmla="*/ 0 h 1404"/>
                <a:gd name="T185" fmla="*/ 1602 w 1602"/>
                <a:gd name="T186" fmla="*/ 1404 h 14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02" h="1404">
                  <a:moveTo>
                    <a:pt x="1392" y="1080"/>
                  </a:moveTo>
                  <a:lnTo>
                    <a:pt x="1380" y="1074"/>
                  </a:lnTo>
                  <a:lnTo>
                    <a:pt x="1368" y="1056"/>
                  </a:lnTo>
                  <a:lnTo>
                    <a:pt x="1356" y="1044"/>
                  </a:lnTo>
                  <a:lnTo>
                    <a:pt x="1344" y="1038"/>
                  </a:lnTo>
                  <a:lnTo>
                    <a:pt x="1338" y="1038"/>
                  </a:lnTo>
                  <a:lnTo>
                    <a:pt x="1332" y="1038"/>
                  </a:lnTo>
                  <a:lnTo>
                    <a:pt x="1326" y="1044"/>
                  </a:lnTo>
                  <a:lnTo>
                    <a:pt x="1320" y="1044"/>
                  </a:lnTo>
                  <a:lnTo>
                    <a:pt x="1314" y="1044"/>
                  </a:lnTo>
                  <a:lnTo>
                    <a:pt x="1296" y="1056"/>
                  </a:lnTo>
                  <a:lnTo>
                    <a:pt x="1296" y="1080"/>
                  </a:lnTo>
                  <a:lnTo>
                    <a:pt x="1290" y="1080"/>
                  </a:lnTo>
                  <a:lnTo>
                    <a:pt x="1284" y="1086"/>
                  </a:lnTo>
                  <a:lnTo>
                    <a:pt x="1278" y="1086"/>
                  </a:lnTo>
                  <a:lnTo>
                    <a:pt x="1278" y="1092"/>
                  </a:lnTo>
                  <a:lnTo>
                    <a:pt x="1272" y="1092"/>
                  </a:lnTo>
                  <a:lnTo>
                    <a:pt x="1266" y="1086"/>
                  </a:lnTo>
                  <a:lnTo>
                    <a:pt x="1260" y="1086"/>
                  </a:lnTo>
                  <a:lnTo>
                    <a:pt x="1260" y="1098"/>
                  </a:lnTo>
                  <a:lnTo>
                    <a:pt x="1248" y="1098"/>
                  </a:lnTo>
                  <a:lnTo>
                    <a:pt x="1212" y="1116"/>
                  </a:lnTo>
                  <a:lnTo>
                    <a:pt x="1206" y="1158"/>
                  </a:lnTo>
                  <a:lnTo>
                    <a:pt x="1176" y="1164"/>
                  </a:lnTo>
                  <a:lnTo>
                    <a:pt x="1158" y="1164"/>
                  </a:lnTo>
                  <a:lnTo>
                    <a:pt x="1152" y="1164"/>
                  </a:lnTo>
                  <a:lnTo>
                    <a:pt x="1152" y="1170"/>
                  </a:lnTo>
                  <a:lnTo>
                    <a:pt x="1152" y="1176"/>
                  </a:lnTo>
                  <a:lnTo>
                    <a:pt x="1146" y="1176"/>
                  </a:lnTo>
                  <a:lnTo>
                    <a:pt x="1140" y="1176"/>
                  </a:lnTo>
                  <a:lnTo>
                    <a:pt x="1134" y="1182"/>
                  </a:lnTo>
                  <a:lnTo>
                    <a:pt x="1134" y="1188"/>
                  </a:lnTo>
                  <a:lnTo>
                    <a:pt x="1128" y="1194"/>
                  </a:lnTo>
                  <a:lnTo>
                    <a:pt x="1122" y="1194"/>
                  </a:lnTo>
                  <a:lnTo>
                    <a:pt x="1116" y="1194"/>
                  </a:lnTo>
                  <a:lnTo>
                    <a:pt x="1110" y="1200"/>
                  </a:lnTo>
                  <a:lnTo>
                    <a:pt x="1110" y="1206"/>
                  </a:lnTo>
                  <a:lnTo>
                    <a:pt x="1104" y="1212"/>
                  </a:lnTo>
                  <a:lnTo>
                    <a:pt x="1104" y="1218"/>
                  </a:lnTo>
                  <a:lnTo>
                    <a:pt x="1098" y="1224"/>
                  </a:lnTo>
                  <a:lnTo>
                    <a:pt x="1092" y="1230"/>
                  </a:lnTo>
                  <a:lnTo>
                    <a:pt x="1086" y="1230"/>
                  </a:lnTo>
                  <a:lnTo>
                    <a:pt x="1080" y="1230"/>
                  </a:lnTo>
                  <a:lnTo>
                    <a:pt x="1080" y="1242"/>
                  </a:lnTo>
                  <a:lnTo>
                    <a:pt x="1074" y="1242"/>
                  </a:lnTo>
                  <a:lnTo>
                    <a:pt x="1068" y="1242"/>
                  </a:lnTo>
                  <a:lnTo>
                    <a:pt x="1068" y="1236"/>
                  </a:lnTo>
                  <a:lnTo>
                    <a:pt x="1062" y="1242"/>
                  </a:lnTo>
                  <a:lnTo>
                    <a:pt x="1056" y="1236"/>
                  </a:lnTo>
                  <a:lnTo>
                    <a:pt x="1050" y="1242"/>
                  </a:lnTo>
                  <a:lnTo>
                    <a:pt x="1050" y="1236"/>
                  </a:lnTo>
                  <a:lnTo>
                    <a:pt x="1044" y="1194"/>
                  </a:lnTo>
                  <a:lnTo>
                    <a:pt x="1032" y="1194"/>
                  </a:lnTo>
                  <a:lnTo>
                    <a:pt x="1032" y="1200"/>
                  </a:lnTo>
                  <a:lnTo>
                    <a:pt x="1026" y="1200"/>
                  </a:lnTo>
                  <a:lnTo>
                    <a:pt x="1014" y="1218"/>
                  </a:lnTo>
                  <a:lnTo>
                    <a:pt x="1014" y="1224"/>
                  </a:lnTo>
                  <a:lnTo>
                    <a:pt x="1014" y="1236"/>
                  </a:lnTo>
                  <a:lnTo>
                    <a:pt x="1014" y="1242"/>
                  </a:lnTo>
                  <a:lnTo>
                    <a:pt x="1008" y="1242"/>
                  </a:lnTo>
                  <a:lnTo>
                    <a:pt x="1002" y="1236"/>
                  </a:lnTo>
                  <a:lnTo>
                    <a:pt x="1002" y="1230"/>
                  </a:lnTo>
                  <a:lnTo>
                    <a:pt x="996" y="1236"/>
                  </a:lnTo>
                  <a:lnTo>
                    <a:pt x="990" y="1236"/>
                  </a:lnTo>
                  <a:lnTo>
                    <a:pt x="990" y="1230"/>
                  </a:lnTo>
                  <a:lnTo>
                    <a:pt x="984" y="1236"/>
                  </a:lnTo>
                  <a:lnTo>
                    <a:pt x="978" y="1248"/>
                  </a:lnTo>
                  <a:lnTo>
                    <a:pt x="972" y="1254"/>
                  </a:lnTo>
                  <a:lnTo>
                    <a:pt x="966" y="1260"/>
                  </a:lnTo>
                  <a:lnTo>
                    <a:pt x="930" y="1284"/>
                  </a:lnTo>
                  <a:lnTo>
                    <a:pt x="942" y="1356"/>
                  </a:lnTo>
                  <a:lnTo>
                    <a:pt x="930" y="1368"/>
                  </a:lnTo>
                  <a:lnTo>
                    <a:pt x="852" y="1404"/>
                  </a:lnTo>
                  <a:lnTo>
                    <a:pt x="834" y="1392"/>
                  </a:lnTo>
                  <a:lnTo>
                    <a:pt x="834" y="1362"/>
                  </a:lnTo>
                  <a:lnTo>
                    <a:pt x="828" y="1332"/>
                  </a:lnTo>
                  <a:lnTo>
                    <a:pt x="810" y="1308"/>
                  </a:lnTo>
                  <a:lnTo>
                    <a:pt x="810" y="1284"/>
                  </a:lnTo>
                  <a:lnTo>
                    <a:pt x="816" y="1266"/>
                  </a:lnTo>
                  <a:lnTo>
                    <a:pt x="822" y="1254"/>
                  </a:lnTo>
                  <a:lnTo>
                    <a:pt x="822" y="1242"/>
                  </a:lnTo>
                  <a:lnTo>
                    <a:pt x="810" y="1230"/>
                  </a:lnTo>
                  <a:lnTo>
                    <a:pt x="804" y="1218"/>
                  </a:lnTo>
                  <a:lnTo>
                    <a:pt x="804" y="1212"/>
                  </a:lnTo>
                  <a:lnTo>
                    <a:pt x="804" y="1206"/>
                  </a:lnTo>
                  <a:lnTo>
                    <a:pt x="816" y="1194"/>
                  </a:lnTo>
                  <a:lnTo>
                    <a:pt x="822" y="1188"/>
                  </a:lnTo>
                  <a:lnTo>
                    <a:pt x="828" y="1170"/>
                  </a:lnTo>
                  <a:lnTo>
                    <a:pt x="840" y="1152"/>
                  </a:lnTo>
                  <a:lnTo>
                    <a:pt x="846" y="1146"/>
                  </a:lnTo>
                  <a:lnTo>
                    <a:pt x="846" y="1134"/>
                  </a:lnTo>
                  <a:lnTo>
                    <a:pt x="852" y="1128"/>
                  </a:lnTo>
                  <a:lnTo>
                    <a:pt x="846" y="1116"/>
                  </a:lnTo>
                  <a:lnTo>
                    <a:pt x="840" y="1098"/>
                  </a:lnTo>
                  <a:lnTo>
                    <a:pt x="840" y="1086"/>
                  </a:lnTo>
                  <a:lnTo>
                    <a:pt x="846" y="1074"/>
                  </a:lnTo>
                  <a:lnTo>
                    <a:pt x="852" y="1068"/>
                  </a:lnTo>
                  <a:lnTo>
                    <a:pt x="864" y="1038"/>
                  </a:lnTo>
                  <a:lnTo>
                    <a:pt x="870" y="1020"/>
                  </a:lnTo>
                  <a:lnTo>
                    <a:pt x="864" y="1008"/>
                  </a:lnTo>
                  <a:lnTo>
                    <a:pt x="858" y="990"/>
                  </a:lnTo>
                  <a:lnTo>
                    <a:pt x="852" y="954"/>
                  </a:lnTo>
                  <a:lnTo>
                    <a:pt x="846" y="948"/>
                  </a:lnTo>
                  <a:lnTo>
                    <a:pt x="834" y="936"/>
                  </a:lnTo>
                  <a:lnTo>
                    <a:pt x="828" y="924"/>
                  </a:lnTo>
                  <a:lnTo>
                    <a:pt x="756" y="942"/>
                  </a:lnTo>
                  <a:lnTo>
                    <a:pt x="744" y="936"/>
                  </a:lnTo>
                  <a:lnTo>
                    <a:pt x="744" y="930"/>
                  </a:lnTo>
                  <a:lnTo>
                    <a:pt x="738" y="924"/>
                  </a:lnTo>
                  <a:lnTo>
                    <a:pt x="744" y="924"/>
                  </a:lnTo>
                  <a:lnTo>
                    <a:pt x="738" y="918"/>
                  </a:lnTo>
                  <a:lnTo>
                    <a:pt x="732" y="912"/>
                  </a:lnTo>
                  <a:lnTo>
                    <a:pt x="732" y="906"/>
                  </a:lnTo>
                  <a:lnTo>
                    <a:pt x="732" y="894"/>
                  </a:lnTo>
                  <a:lnTo>
                    <a:pt x="726" y="888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6"/>
                  </a:lnTo>
                  <a:lnTo>
                    <a:pt x="690" y="882"/>
                  </a:lnTo>
                  <a:lnTo>
                    <a:pt x="684" y="864"/>
                  </a:lnTo>
                  <a:lnTo>
                    <a:pt x="684" y="852"/>
                  </a:lnTo>
                  <a:lnTo>
                    <a:pt x="672" y="852"/>
                  </a:lnTo>
                  <a:lnTo>
                    <a:pt x="654" y="852"/>
                  </a:lnTo>
                  <a:lnTo>
                    <a:pt x="642" y="846"/>
                  </a:lnTo>
                  <a:lnTo>
                    <a:pt x="636" y="834"/>
                  </a:lnTo>
                  <a:lnTo>
                    <a:pt x="630" y="822"/>
                  </a:lnTo>
                  <a:lnTo>
                    <a:pt x="618" y="822"/>
                  </a:lnTo>
                  <a:lnTo>
                    <a:pt x="618" y="816"/>
                  </a:lnTo>
                  <a:lnTo>
                    <a:pt x="618" y="810"/>
                  </a:lnTo>
                  <a:lnTo>
                    <a:pt x="612" y="810"/>
                  </a:lnTo>
                  <a:lnTo>
                    <a:pt x="606" y="804"/>
                  </a:lnTo>
                  <a:lnTo>
                    <a:pt x="594" y="804"/>
                  </a:lnTo>
                  <a:lnTo>
                    <a:pt x="588" y="810"/>
                  </a:lnTo>
                  <a:lnTo>
                    <a:pt x="588" y="804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70" y="810"/>
                  </a:lnTo>
                  <a:lnTo>
                    <a:pt x="564" y="816"/>
                  </a:lnTo>
                  <a:lnTo>
                    <a:pt x="558" y="816"/>
                  </a:lnTo>
                  <a:lnTo>
                    <a:pt x="552" y="822"/>
                  </a:lnTo>
                  <a:lnTo>
                    <a:pt x="546" y="828"/>
                  </a:lnTo>
                  <a:lnTo>
                    <a:pt x="546" y="834"/>
                  </a:lnTo>
                  <a:lnTo>
                    <a:pt x="528" y="834"/>
                  </a:lnTo>
                  <a:lnTo>
                    <a:pt x="516" y="822"/>
                  </a:lnTo>
                  <a:lnTo>
                    <a:pt x="504" y="822"/>
                  </a:lnTo>
                  <a:lnTo>
                    <a:pt x="492" y="82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6" y="792"/>
                  </a:lnTo>
                  <a:lnTo>
                    <a:pt x="492" y="786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504" y="780"/>
                  </a:lnTo>
                  <a:lnTo>
                    <a:pt x="510" y="780"/>
                  </a:lnTo>
                  <a:lnTo>
                    <a:pt x="522" y="768"/>
                  </a:lnTo>
                  <a:lnTo>
                    <a:pt x="522" y="762"/>
                  </a:lnTo>
                  <a:lnTo>
                    <a:pt x="504" y="756"/>
                  </a:lnTo>
                  <a:lnTo>
                    <a:pt x="498" y="756"/>
                  </a:lnTo>
                  <a:lnTo>
                    <a:pt x="498" y="744"/>
                  </a:lnTo>
                  <a:lnTo>
                    <a:pt x="492" y="738"/>
                  </a:lnTo>
                  <a:lnTo>
                    <a:pt x="480" y="738"/>
                  </a:lnTo>
                  <a:lnTo>
                    <a:pt x="474" y="738"/>
                  </a:lnTo>
                  <a:lnTo>
                    <a:pt x="456" y="738"/>
                  </a:lnTo>
                  <a:lnTo>
                    <a:pt x="438" y="738"/>
                  </a:lnTo>
                  <a:lnTo>
                    <a:pt x="432" y="750"/>
                  </a:lnTo>
                  <a:lnTo>
                    <a:pt x="426" y="756"/>
                  </a:lnTo>
                  <a:lnTo>
                    <a:pt x="426" y="762"/>
                  </a:lnTo>
                  <a:lnTo>
                    <a:pt x="420" y="762"/>
                  </a:lnTo>
                  <a:lnTo>
                    <a:pt x="408" y="744"/>
                  </a:lnTo>
                  <a:lnTo>
                    <a:pt x="408" y="732"/>
                  </a:lnTo>
                  <a:lnTo>
                    <a:pt x="390" y="714"/>
                  </a:lnTo>
                  <a:lnTo>
                    <a:pt x="384" y="702"/>
                  </a:lnTo>
                  <a:lnTo>
                    <a:pt x="384" y="690"/>
                  </a:lnTo>
                  <a:lnTo>
                    <a:pt x="372" y="690"/>
                  </a:lnTo>
                  <a:lnTo>
                    <a:pt x="366" y="660"/>
                  </a:lnTo>
                  <a:lnTo>
                    <a:pt x="354" y="630"/>
                  </a:lnTo>
                  <a:lnTo>
                    <a:pt x="348" y="630"/>
                  </a:lnTo>
                  <a:lnTo>
                    <a:pt x="336" y="630"/>
                  </a:lnTo>
                  <a:lnTo>
                    <a:pt x="330" y="630"/>
                  </a:lnTo>
                  <a:lnTo>
                    <a:pt x="318" y="630"/>
                  </a:lnTo>
                  <a:lnTo>
                    <a:pt x="312" y="624"/>
                  </a:lnTo>
                  <a:lnTo>
                    <a:pt x="306" y="624"/>
                  </a:lnTo>
                  <a:lnTo>
                    <a:pt x="294" y="618"/>
                  </a:lnTo>
                  <a:lnTo>
                    <a:pt x="288" y="612"/>
                  </a:lnTo>
                  <a:lnTo>
                    <a:pt x="276" y="600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58" y="588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8"/>
                  </a:lnTo>
                  <a:lnTo>
                    <a:pt x="216" y="582"/>
                  </a:lnTo>
                  <a:lnTo>
                    <a:pt x="210" y="588"/>
                  </a:lnTo>
                  <a:lnTo>
                    <a:pt x="198" y="582"/>
                  </a:lnTo>
                  <a:lnTo>
                    <a:pt x="180" y="582"/>
                  </a:lnTo>
                  <a:lnTo>
                    <a:pt x="174" y="552"/>
                  </a:lnTo>
                  <a:lnTo>
                    <a:pt x="168" y="504"/>
                  </a:lnTo>
                  <a:lnTo>
                    <a:pt x="186" y="504"/>
                  </a:lnTo>
                  <a:lnTo>
                    <a:pt x="192" y="504"/>
                  </a:lnTo>
                  <a:lnTo>
                    <a:pt x="192" y="498"/>
                  </a:lnTo>
                  <a:lnTo>
                    <a:pt x="192" y="492"/>
                  </a:lnTo>
                  <a:lnTo>
                    <a:pt x="192" y="486"/>
                  </a:lnTo>
                  <a:lnTo>
                    <a:pt x="198" y="486"/>
                  </a:lnTo>
                  <a:lnTo>
                    <a:pt x="198" y="480"/>
                  </a:lnTo>
                  <a:lnTo>
                    <a:pt x="204" y="474"/>
                  </a:lnTo>
                  <a:lnTo>
                    <a:pt x="210" y="468"/>
                  </a:lnTo>
                  <a:lnTo>
                    <a:pt x="198" y="462"/>
                  </a:lnTo>
                  <a:lnTo>
                    <a:pt x="192" y="444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32"/>
                  </a:lnTo>
                  <a:lnTo>
                    <a:pt x="168" y="438"/>
                  </a:lnTo>
                  <a:lnTo>
                    <a:pt x="150" y="450"/>
                  </a:lnTo>
                  <a:lnTo>
                    <a:pt x="144" y="456"/>
                  </a:lnTo>
                  <a:lnTo>
                    <a:pt x="132" y="456"/>
                  </a:lnTo>
                  <a:lnTo>
                    <a:pt x="126" y="468"/>
                  </a:lnTo>
                  <a:lnTo>
                    <a:pt x="114" y="468"/>
                  </a:lnTo>
                  <a:lnTo>
                    <a:pt x="108" y="468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14"/>
                  </a:lnTo>
                  <a:lnTo>
                    <a:pt x="108" y="396"/>
                  </a:lnTo>
                  <a:lnTo>
                    <a:pt x="120" y="396"/>
                  </a:lnTo>
                  <a:lnTo>
                    <a:pt x="126" y="384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84" y="354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0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60" y="318"/>
                  </a:lnTo>
                  <a:lnTo>
                    <a:pt x="42" y="324"/>
                  </a:lnTo>
                  <a:lnTo>
                    <a:pt x="36" y="318"/>
                  </a:lnTo>
                  <a:lnTo>
                    <a:pt x="36" y="312"/>
                  </a:lnTo>
                  <a:lnTo>
                    <a:pt x="36" y="306"/>
                  </a:lnTo>
                  <a:lnTo>
                    <a:pt x="36" y="300"/>
                  </a:lnTo>
                  <a:lnTo>
                    <a:pt x="30" y="300"/>
                  </a:lnTo>
                  <a:lnTo>
                    <a:pt x="30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24" y="276"/>
                  </a:lnTo>
                  <a:lnTo>
                    <a:pt x="18" y="276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18" y="234"/>
                  </a:lnTo>
                  <a:lnTo>
                    <a:pt x="30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42" y="192"/>
                  </a:lnTo>
                  <a:lnTo>
                    <a:pt x="66" y="186"/>
                  </a:lnTo>
                  <a:lnTo>
                    <a:pt x="90" y="156"/>
                  </a:lnTo>
                  <a:lnTo>
                    <a:pt x="102" y="144"/>
                  </a:lnTo>
                  <a:lnTo>
                    <a:pt x="138" y="150"/>
                  </a:lnTo>
                  <a:lnTo>
                    <a:pt x="162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0" y="180"/>
                  </a:lnTo>
                  <a:lnTo>
                    <a:pt x="174" y="180"/>
                  </a:lnTo>
                  <a:lnTo>
                    <a:pt x="180" y="186"/>
                  </a:lnTo>
                  <a:lnTo>
                    <a:pt x="186" y="186"/>
                  </a:lnTo>
                  <a:lnTo>
                    <a:pt x="198" y="192"/>
                  </a:lnTo>
                  <a:lnTo>
                    <a:pt x="216" y="198"/>
                  </a:lnTo>
                  <a:lnTo>
                    <a:pt x="252" y="204"/>
                  </a:lnTo>
                  <a:lnTo>
                    <a:pt x="258" y="210"/>
                  </a:lnTo>
                  <a:lnTo>
                    <a:pt x="306" y="216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84" y="210"/>
                  </a:lnTo>
                  <a:lnTo>
                    <a:pt x="408" y="222"/>
                  </a:lnTo>
                  <a:lnTo>
                    <a:pt x="438" y="228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86" y="222"/>
                  </a:lnTo>
                  <a:lnTo>
                    <a:pt x="492" y="210"/>
                  </a:lnTo>
                  <a:lnTo>
                    <a:pt x="492" y="198"/>
                  </a:lnTo>
                  <a:lnTo>
                    <a:pt x="486" y="180"/>
                  </a:lnTo>
                  <a:lnTo>
                    <a:pt x="492" y="162"/>
                  </a:lnTo>
                  <a:lnTo>
                    <a:pt x="510" y="96"/>
                  </a:lnTo>
                  <a:lnTo>
                    <a:pt x="516" y="84"/>
                  </a:lnTo>
                  <a:lnTo>
                    <a:pt x="522" y="84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34" y="72"/>
                  </a:lnTo>
                  <a:lnTo>
                    <a:pt x="534" y="60"/>
                  </a:lnTo>
                  <a:lnTo>
                    <a:pt x="540" y="36"/>
                  </a:lnTo>
                  <a:lnTo>
                    <a:pt x="546" y="6"/>
                  </a:lnTo>
                  <a:lnTo>
                    <a:pt x="558" y="6"/>
                  </a:lnTo>
                  <a:lnTo>
                    <a:pt x="564" y="0"/>
                  </a:lnTo>
                  <a:lnTo>
                    <a:pt x="582" y="0"/>
                  </a:lnTo>
                  <a:lnTo>
                    <a:pt x="588" y="0"/>
                  </a:lnTo>
                  <a:lnTo>
                    <a:pt x="594" y="6"/>
                  </a:lnTo>
                  <a:lnTo>
                    <a:pt x="600" y="12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24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36" y="36"/>
                  </a:lnTo>
                  <a:lnTo>
                    <a:pt x="642" y="36"/>
                  </a:lnTo>
                  <a:lnTo>
                    <a:pt x="642" y="42"/>
                  </a:lnTo>
                  <a:lnTo>
                    <a:pt x="648" y="54"/>
                  </a:lnTo>
                  <a:lnTo>
                    <a:pt x="660" y="72"/>
                  </a:lnTo>
                  <a:lnTo>
                    <a:pt x="666" y="78"/>
                  </a:lnTo>
                  <a:lnTo>
                    <a:pt x="672" y="90"/>
                  </a:lnTo>
                  <a:lnTo>
                    <a:pt x="678" y="102"/>
                  </a:lnTo>
                  <a:lnTo>
                    <a:pt x="678" y="114"/>
                  </a:lnTo>
                  <a:lnTo>
                    <a:pt x="684" y="132"/>
                  </a:lnTo>
                  <a:lnTo>
                    <a:pt x="684" y="144"/>
                  </a:lnTo>
                  <a:lnTo>
                    <a:pt x="690" y="162"/>
                  </a:lnTo>
                  <a:lnTo>
                    <a:pt x="696" y="168"/>
                  </a:lnTo>
                  <a:lnTo>
                    <a:pt x="696" y="180"/>
                  </a:lnTo>
                  <a:lnTo>
                    <a:pt x="702" y="186"/>
                  </a:lnTo>
                  <a:lnTo>
                    <a:pt x="708" y="186"/>
                  </a:lnTo>
                  <a:lnTo>
                    <a:pt x="714" y="198"/>
                  </a:lnTo>
                  <a:lnTo>
                    <a:pt x="720" y="198"/>
                  </a:lnTo>
                  <a:lnTo>
                    <a:pt x="732" y="204"/>
                  </a:lnTo>
                  <a:lnTo>
                    <a:pt x="738" y="210"/>
                  </a:lnTo>
                  <a:lnTo>
                    <a:pt x="738" y="216"/>
                  </a:lnTo>
                  <a:lnTo>
                    <a:pt x="744" y="222"/>
                  </a:lnTo>
                  <a:lnTo>
                    <a:pt x="750" y="228"/>
                  </a:lnTo>
                  <a:lnTo>
                    <a:pt x="756" y="228"/>
                  </a:lnTo>
                  <a:lnTo>
                    <a:pt x="768" y="240"/>
                  </a:lnTo>
                  <a:lnTo>
                    <a:pt x="774" y="252"/>
                  </a:lnTo>
                  <a:lnTo>
                    <a:pt x="780" y="258"/>
                  </a:lnTo>
                  <a:lnTo>
                    <a:pt x="786" y="258"/>
                  </a:lnTo>
                  <a:lnTo>
                    <a:pt x="798" y="264"/>
                  </a:lnTo>
                  <a:lnTo>
                    <a:pt x="798" y="270"/>
                  </a:lnTo>
                  <a:lnTo>
                    <a:pt x="798" y="276"/>
                  </a:lnTo>
                  <a:lnTo>
                    <a:pt x="810" y="288"/>
                  </a:lnTo>
                  <a:lnTo>
                    <a:pt x="816" y="288"/>
                  </a:lnTo>
                  <a:lnTo>
                    <a:pt x="816" y="300"/>
                  </a:lnTo>
                  <a:lnTo>
                    <a:pt x="816" y="306"/>
                  </a:lnTo>
                  <a:lnTo>
                    <a:pt x="822" y="318"/>
                  </a:lnTo>
                  <a:lnTo>
                    <a:pt x="828" y="324"/>
                  </a:lnTo>
                  <a:lnTo>
                    <a:pt x="834" y="330"/>
                  </a:lnTo>
                  <a:lnTo>
                    <a:pt x="846" y="336"/>
                  </a:lnTo>
                  <a:lnTo>
                    <a:pt x="846" y="342"/>
                  </a:lnTo>
                  <a:lnTo>
                    <a:pt x="852" y="348"/>
                  </a:lnTo>
                  <a:lnTo>
                    <a:pt x="852" y="354"/>
                  </a:lnTo>
                  <a:lnTo>
                    <a:pt x="858" y="354"/>
                  </a:lnTo>
                  <a:lnTo>
                    <a:pt x="858" y="348"/>
                  </a:lnTo>
                  <a:lnTo>
                    <a:pt x="864" y="342"/>
                  </a:lnTo>
                  <a:lnTo>
                    <a:pt x="864" y="336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76" y="306"/>
                  </a:lnTo>
                  <a:lnTo>
                    <a:pt x="870" y="300"/>
                  </a:lnTo>
                  <a:lnTo>
                    <a:pt x="870" y="294"/>
                  </a:lnTo>
                  <a:lnTo>
                    <a:pt x="876" y="294"/>
                  </a:lnTo>
                  <a:lnTo>
                    <a:pt x="882" y="300"/>
                  </a:lnTo>
                  <a:lnTo>
                    <a:pt x="888" y="300"/>
                  </a:lnTo>
                  <a:lnTo>
                    <a:pt x="888" y="306"/>
                  </a:lnTo>
                  <a:lnTo>
                    <a:pt x="894" y="300"/>
                  </a:lnTo>
                  <a:lnTo>
                    <a:pt x="900" y="294"/>
                  </a:lnTo>
                  <a:lnTo>
                    <a:pt x="894" y="288"/>
                  </a:lnTo>
                  <a:lnTo>
                    <a:pt x="888" y="282"/>
                  </a:lnTo>
                  <a:lnTo>
                    <a:pt x="888" y="276"/>
                  </a:lnTo>
                  <a:lnTo>
                    <a:pt x="894" y="276"/>
                  </a:lnTo>
                  <a:lnTo>
                    <a:pt x="900" y="276"/>
                  </a:lnTo>
                  <a:lnTo>
                    <a:pt x="900" y="270"/>
                  </a:lnTo>
                  <a:lnTo>
                    <a:pt x="906" y="264"/>
                  </a:lnTo>
                  <a:lnTo>
                    <a:pt x="906" y="258"/>
                  </a:lnTo>
                  <a:lnTo>
                    <a:pt x="918" y="264"/>
                  </a:lnTo>
                  <a:lnTo>
                    <a:pt x="918" y="258"/>
                  </a:lnTo>
                  <a:lnTo>
                    <a:pt x="924" y="252"/>
                  </a:lnTo>
                  <a:lnTo>
                    <a:pt x="930" y="252"/>
                  </a:lnTo>
                  <a:lnTo>
                    <a:pt x="930" y="246"/>
                  </a:lnTo>
                  <a:lnTo>
                    <a:pt x="936" y="234"/>
                  </a:lnTo>
                  <a:lnTo>
                    <a:pt x="942" y="228"/>
                  </a:lnTo>
                  <a:lnTo>
                    <a:pt x="942" y="222"/>
                  </a:lnTo>
                  <a:lnTo>
                    <a:pt x="948" y="222"/>
                  </a:lnTo>
                  <a:lnTo>
                    <a:pt x="948" y="216"/>
                  </a:lnTo>
                  <a:lnTo>
                    <a:pt x="942" y="216"/>
                  </a:lnTo>
                  <a:lnTo>
                    <a:pt x="936" y="216"/>
                  </a:lnTo>
                  <a:lnTo>
                    <a:pt x="936" y="210"/>
                  </a:lnTo>
                  <a:lnTo>
                    <a:pt x="942" y="210"/>
                  </a:lnTo>
                  <a:lnTo>
                    <a:pt x="972" y="210"/>
                  </a:lnTo>
                  <a:lnTo>
                    <a:pt x="1032" y="216"/>
                  </a:lnTo>
                  <a:lnTo>
                    <a:pt x="1068" y="216"/>
                  </a:lnTo>
                  <a:lnTo>
                    <a:pt x="1056" y="234"/>
                  </a:lnTo>
                  <a:lnTo>
                    <a:pt x="1050" y="240"/>
                  </a:lnTo>
                  <a:lnTo>
                    <a:pt x="1044" y="246"/>
                  </a:lnTo>
                  <a:lnTo>
                    <a:pt x="1038" y="246"/>
                  </a:lnTo>
                  <a:lnTo>
                    <a:pt x="1026" y="282"/>
                  </a:lnTo>
                  <a:lnTo>
                    <a:pt x="1032" y="306"/>
                  </a:lnTo>
                  <a:lnTo>
                    <a:pt x="1044" y="324"/>
                  </a:lnTo>
                  <a:lnTo>
                    <a:pt x="1044" y="342"/>
                  </a:lnTo>
                  <a:lnTo>
                    <a:pt x="1062" y="366"/>
                  </a:lnTo>
                  <a:lnTo>
                    <a:pt x="1056" y="396"/>
                  </a:lnTo>
                  <a:lnTo>
                    <a:pt x="1038" y="462"/>
                  </a:lnTo>
                  <a:lnTo>
                    <a:pt x="1038" y="498"/>
                  </a:lnTo>
                  <a:lnTo>
                    <a:pt x="1038" y="522"/>
                  </a:lnTo>
                  <a:lnTo>
                    <a:pt x="1038" y="534"/>
                  </a:lnTo>
                  <a:lnTo>
                    <a:pt x="1056" y="522"/>
                  </a:lnTo>
                  <a:lnTo>
                    <a:pt x="1098" y="504"/>
                  </a:lnTo>
                  <a:lnTo>
                    <a:pt x="1104" y="498"/>
                  </a:lnTo>
                  <a:lnTo>
                    <a:pt x="1128" y="492"/>
                  </a:lnTo>
                  <a:lnTo>
                    <a:pt x="1152" y="480"/>
                  </a:lnTo>
                  <a:lnTo>
                    <a:pt x="1170" y="474"/>
                  </a:lnTo>
                  <a:lnTo>
                    <a:pt x="1188" y="468"/>
                  </a:lnTo>
                  <a:lnTo>
                    <a:pt x="1200" y="462"/>
                  </a:lnTo>
                  <a:lnTo>
                    <a:pt x="1224" y="450"/>
                  </a:lnTo>
                  <a:lnTo>
                    <a:pt x="1248" y="450"/>
                  </a:lnTo>
                  <a:lnTo>
                    <a:pt x="1266" y="450"/>
                  </a:lnTo>
                  <a:lnTo>
                    <a:pt x="1296" y="456"/>
                  </a:lnTo>
                  <a:lnTo>
                    <a:pt x="1308" y="456"/>
                  </a:lnTo>
                  <a:lnTo>
                    <a:pt x="1326" y="456"/>
                  </a:lnTo>
                  <a:lnTo>
                    <a:pt x="1338" y="456"/>
                  </a:lnTo>
                  <a:lnTo>
                    <a:pt x="1350" y="462"/>
                  </a:lnTo>
                  <a:lnTo>
                    <a:pt x="1356" y="462"/>
                  </a:lnTo>
                  <a:lnTo>
                    <a:pt x="1374" y="456"/>
                  </a:lnTo>
                  <a:lnTo>
                    <a:pt x="1386" y="456"/>
                  </a:lnTo>
                  <a:lnTo>
                    <a:pt x="1392" y="456"/>
                  </a:lnTo>
                  <a:lnTo>
                    <a:pt x="1398" y="456"/>
                  </a:lnTo>
                  <a:lnTo>
                    <a:pt x="1422" y="456"/>
                  </a:lnTo>
                  <a:lnTo>
                    <a:pt x="1440" y="456"/>
                  </a:lnTo>
                  <a:lnTo>
                    <a:pt x="1446" y="456"/>
                  </a:lnTo>
                  <a:lnTo>
                    <a:pt x="1476" y="456"/>
                  </a:lnTo>
                  <a:lnTo>
                    <a:pt x="1470" y="468"/>
                  </a:lnTo>
                  <a:lnTo>
                    <a:pt x="1470" y="474"/>
                  </a:lnTo>
                  <a:lnTo>
                    <a:pt x="1470" y="486"/>
                  </a:lnTo>
                  <a:lnTo>
                    <a:pt x="1464" y="492"/>
                  </a:lnTo>
                  <a:lnTo>
                    <a:pt x="1464" y="498"/>
                  </a:lnTo>
                  <a:lnTo>
                    <a:pt x="1458" y="498"/>
                  </a:lnTo>
                  <a:lnTo>
                    <a:pt x="1458" y="510"/>
                  </a:lnTo>
                  <a:lnTo>
                    <a:pt x="1452" y="522"/>
                  </a:lnTo>
                  <a:lnTo>
                    <a:pt x="1458" y="528"/>
                  </a:lnTo>
                  <a:lnTo>
                    <a:pt x="1464" y="546"/>
                  </a:lnTo>
                  <a:lnTo>
                    <a:pt x="1470" y="552"/>
                  </a:lnTo>
                  <a:lnTo>
                    <a:pt x="1476" y="564"/>
                  </a:lnTo>
                  <a:lnTo>
                    <a:pt x="1488" y="588"/>
                  </a:lnTo>
                  <a:lnTo>
                    <a:pt x="1506" y="606"/>
                  </a:lnTo>
                  <a:lnTo>
                    <a:pt x="1506" y="612"/>
                  </a:lnTo>
                  <a:lnTo>
                    <a:pt x="1518" y="618"/>
                  </a:lnTo>
                  <a:lnTo>
                    <a:pt x="1512" y="630"/>
                  </a:lnTo>
                  <a:lnTo>
                    <a:pt x="1518" y="642"/>
                  </a:lnTo>
                  <a:lnTo>
                    <a:pt x="1518" y="648"/>
                  </a:lnTo>
                  <a:lnTo>
                    <a:pt x="1530" y="666"/>
                  </a:lnTo>
                  <a:lnTo>
                    <a:pt x="1518" y="672"/>
                  </a:lnTo>
                  <a:lnTo>
                    <a:pt x="1524" y="696"/>
                  </a:lnTo>
                  <a:lnTo>
                    <a:pt x="1518" y="732"/>
                  </a:lnTo>
                  <a:lnTo>
                    <a:pt x="1524" y="762"/>
                  </a:lnTo>
                  <a:lnTo>
                    <a:pt x="1524" y="780"/>
                  </a:lnTo>
                  <a:lnTo>
                    <a:pt x="1524" y="810"/>
                  </a:lnTo>
                  <a:lnTo>
                    <a:pt x="1530" y="834"/>
                  </a:lnTo>
                  <a:lnTo>
                    <a:pt x="1536" y="846"/>
                  </a:lnTo>
                  <a:lnTo>
                    <a:pt x="1542" y="846"/>
                  </a:lnTo>
                  <a:lnTo>
                    <a:pt x="1584" y="840"/>
                  </a:lnTo>
                  <a:lnTo>
                    <a:pt x="1590" y="846"/>
                  </a:lnTo>
                  <a:lnTo>
                    <a:pt x="1596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90" y="864"/>
                  </a:lnTo>
                  <a:lnTo>
                    <a:pt x="1578" y="882"/>
                  </a:lnTo>
                  <a:lnTo>
                    <a:pt x="1572" y="906"/>
                  </a:lnTo>
                  <a:lnTo>
                    <a:pt x="1560" y="924"/>
                  </a:lnTo>
                  <a:lnTo>
                    <a:pt x="1560" y="936"/>
                  </a:lnTo>
                  <a:lnTo>
                    <a:pt x="1548" y="960"/>
                  </a:lnTo>
                  <a:lnTo>
                    <a:pt x="1542" y="978"/>
                  </a:lnTo>
                  <a:lnTo>
                    <a:pt x="1536" y="990"/>
                  </a:lnTo>
                  <a:lnTo>
                    <a:pt x="1530" y="990"/>
                  </a:lnTo>
                  <a:lnTo>
                    <a:pt x="1506" y="996"/>
                  </a:lnTo>
                  <a:lnTo>
                    <a:pt x="1494" y="1002"/>
                  </a:lnTo>
                  <a:lnTo>
                    <a:pt x="1482" y="1002"/>
                  </a:lnTo>
                  <a:lnTo>
                    <a:pt x="1464" y="1008"/>
                  </a:lnTo>
                  <a:lnTo>
                    <a:pt x="1446" y="1026"/>
                  </a:lnTo>
                  <a:lnTo>
                    <a:pt x="1440" y="1026"/>
                  </a:lnTo>
                  <a:lnTo>
                    <a:pt x="1434" y="1038"/>
                  </a:lnTo>
                  <a:lnTo>
                    <a:pt x="1428" y="1044"/>
                  </a:lnTo>
                  <a:lnTo>
                    <a:pt x="1428" y="1062"/>
                  </a:lnTo>
                  <a:lnTo>
                    <a:pt x="1428" y="1086"/>
                  </a:lnTo>
                  <a:lnTo>
                    <a:pt x="1416" y="1092"/>
                  </a:lnTo>
                  <a:lnTo>
                    <a:pt x="1410" y="1080"/>
                  </a:lnTo>
                  <a:lnTo>
                    <a:pt x="1392" y="1080"/>
                  </a:lnTo>
                  <a:close/>
                </a:path>
              </a:pathLst>
            </a:custGeom>
            <a:solidFill>
              <a:srgbClr val="2A4F1D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0" name="Freeform 25">
              <a:extLst>
                <a:ext uri="{FF2B5EF4-FFF2-40B4-BE49-F238E27FC236}">
                  <a16:creationId xmlns:a16="http://schemas.microsoft.com/office/drawing/2014/main" id="{39FDFF90-5ACF-4D65-81AD-C44D2CBE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70228" y="3063559"/>
              <a:ext cx="644023" cy="704498"/>
            </a:xfrm>
            <a:custGeom>
              <a:avLst/>
              <a:gdLst>
                <a:gd name="T0" fmla="*/ 74 w 1212"/>
                <a:gd name="T1" fmla="*/ 113 h 1326"/>
                <a:gd name="T2" fmla="*/ 60 w 1212"/>
                <a:gd name="T3" fmla="*/ 116 h 1326"/>
                <a:gd name="T4" fmla="*/ 62 w 1212"/>
                <a:gd name="T5" fmla="*/ 110 h 1326"/>
                <a:gd name="T6" fmla="*/ 60 w 1212"/>
                <a:gd name="T7" fmla="*/ 105 h 1326"/>
                <a:gd name="T8" fmla="*/ 52 w 1212"/>
                <a:gd name="T9" fmla="*/ 96 h 1326"/>
                <a:gd name="T10" fmla="*/ 47 w 1212"/>
                <a:gd name="T11" fmla="*/ 98 h 1326"/>
                <a:gd name="T12" fmla="*/ 44 w 1212"/>
                <a:gd name="T13" fmla="*/ 93 h 1326"/>
                <a:gd name="T14" fmla="*/ 40 w 1212"/>
                <a:gd name="T15" fmla="*/ 96 h 1326"/>
                <a:gd name="T16" fmla="*/ 35 w 1212"/>
                <a:gd name="T17" fmla="*/ 102 h 1326"/>
                <a:gd name="T18" fmla="*/ 27 w 1212"/>
                <a:gd name="T19" fmla="*/ 100 h 1326"/>
                <a:gd name="T20" fmla="*/ 23 w 1212"/>
                <a:gd name="T21" fmla="*/ 96 h 1326"/>
                <a:gd name="T22" fmla="*/ 20 w 1212"/>
                <a:gd name="T23" fmla="*/ 90 h 1326"/>
                <a:gd name="T24" fmla="*/ 18 w 1212"/>
                <a:gd name="T25" fmla="*/ 89 h 1326"/>
                <a:gd name="T26" fmla="*/ 18 w 1212"/>
                <a:gd name="T27" fmla="*/ 85 h 1326"/>
                <a:gd name="T28" fmla="*/ 19 w 1212"/>
                <a:gd name="T29" fmla="*/ 83 h 1326"/>
                <a:gd name="T30" fmla="*/ 19 w 1212"/>
                <a:gd name="T31" fmla="*/ 82 h 1326"/>
                <a:gd name="T32" fmla="*/ 20 w 1212"/>
                <a:gd name="T33" fmla="*/ 79 h 1326"/>
                <a:gd name="T34" fmla="*/ 19 w 1212"/>
                <a:gd name="T35" fmla="*/ 75 h 1326"/>
                <a:gd name="T36" fmla="*/ 17 w 1212"/>
                <a:gd name="T37" fmla="*/ 77 h 1326"/>
                <a:gd name="T38" fmla="*/ 14 w 1212"/>
                <a:gd name="T39" fmla="*/ 76 h 1326"/>
                <a:gd name="T40" fmla="*/ 12 w 1212"/>
                <a:gd name="T41" fmla="*/ 71 h 1326"/>
                <a:gd name="T42" fmla="*/ 8 w 1212"/>
                <a:gd name="T43" fmla="*/ 69 h 1326"/>
                <a:gd name="T44" fmla="*/ 0 w 1212"/>
                <a:gd name="T45" fmla="*/ 72 h 1326"/>
                <a:gd name="T46" fmla="*/ 2 w 1212"/>
                <a:gd name="T47" fmla="*/ 67 h 1326"/>
                <a:gd name="T48" fmla="*/ 3 w 1212"/>
                <a:gd name="T49" fmla="*/ 61 h 1326"/>
                <a:gd name="T50" fmla="*/ 4 w 1212"/>
                <a:gd name="T51" fmla="*/ 56 h 1326"/>
                <a:gd name="T52" fmla="*/ 4 w 1212"/>
                <a:gd name="T53" fmla="*/ 52 h 1326"/>
                <a:gd name="T54" fmla="*/ 2 w 1212"/>
                <a:gd name="T55" fmla="*/ 47 h 1326"/>
                <a:gd name="T56" fmla="*/ 2 w 1212"/>
                <a:gd name="T57" fmla="*/ 42 h 1326"/>
                <a:gd name="T58" fmla="*/ 5 w 1212"/>
                <a:gd name="T59" fmla="*/ 39 h 1326"/>
                <a:gd name="T60" fmla="*/ 5 w 1212"/>
                <a:gd name="T61" fmla="*/ 35 h 1326"/>
                <a:gd name="T62" fmla="*/ 7 w 1212"/>
                <a:gd name="T63" fmla="*/ 31 h 1326"/>
                <a:gd name="T64" fmla="*/ 14 w 1212"/>
                <a:gd name="T65" fmla="*/ 31 h 1326"/>
                <a:gd name="T66" fmla="*/ 18 w 1212"/>
                <a:gd name="T67" fmla="*/ 27 h 1326"/>
                <a:gd name="T68" fmla="*/ 22 w 1212"/>
                <a:gd name="T69" fmla="*/ 24 h 1326"/>
                <a:gd name="T70" fmla="*/ 27 w 1212"/>
                <a:gd name="T71" fmla="*/ 20 h 1326"/>
                <a:gd name="T72" fmla="*/ 35 w 1212"/>
                <a:gd name="T73" fmla="*/ 21 h 1326"/>
                <a:gd name="T74" fmla="*/ 61 w 1212"/>
                <a:gd name="T75" fmla="*/ 8 h 1326"/>
                <a:gd name="T76" fmla="*/ 73 w 1212"/>
                <a:gd name="T77" fmla="*/ 4 h 1326"/>
                <a:gd name="T78" fmla="*/ 86 w 1212"/>
                <a:gd name="T79" fmla="*/ 12 h 1326"/>
                <a:gd name="T80" fmla="*/ 92 w 1212"/>
                <a:gd name="T81" fmla="*/ 13 h 1326"/>
                <a:gd name="T82" fmla="*/ 86 w 1212"/>
                <a:gd name="T83" fmla="*/ 18 h 1326"/>
                <a:gd name="T84" fmla="*/ 88 w 1212"/>
                <a:gd name="T85" fmla="*/ 33 h 1326"/>
                <a:gd name="T86" fmla="*/ 97 w 1212"/>
                <a:gd name="T87" fmla="*/ 49 h 1326"/>
                <a:gd name="T88" fmla="*/ 102 w 1212"/>
                <a:gd name="T89" fmla="*/ 57 h 1326"/>
                <a:gd name="T90" fmla="*/ 104 w 1212"/>
                <a:gd name="T91" fmla="*/ 67 h 1326"/>
                <a:gd name="T92" fmla="*/ 101 w 1212"/>
                <a:gd name="T93" fmla="*/ 69 h 1326"/>
                <a:gd name="T94" fmla="*/ 97 w 1212"/>
                <a:gd name="T95" fmla="*/ 69 h 1326"/>
                <a:gd name="T96" fmla="*/ 96 w 1212"/>
                <a:gd name="T97" fmla="*/ 71 h 1326"/>
                <a:gd name="T98" fmla="*/ 93 w 1212"/>
                <a:gd name="T99" fmla="*/ 70 h 1326"/>
                <a:gd name="T100" fmla="*/ 86 w 1212"/>
                <a:gd name="T101" fmla="*/ 69 h 1326"/>
                <a:gd name="T102" fmla="*/ 82 w 1212"/>
                <a:gd name="T103" fmla="*/ 73 h 1326"/>
                <a:gd name="T104" fmla="*/ 79 w 1212"/>
                <a:gd name="T105" fmla="*/ 74 h 1326"/>
                <a:gd name="T106" fmla="*/ 78 w 1212"/>
                <a:gd name="T107" fmla="*/ 79 h 1326"/>
                <a:gd name="T108" fmla="*/ 78 w 1212"/>
                <a:gd name="T109" fmla="*/ 83 h 1326"/>
                <a:gd name="T110" fmla="*/ 82 w 1212"/>
                <a:gd name="T111" fmla="*/ 87 h 1326"/>
                <a:gd name="T112" fmla="*/ 83 w 1212"/>
                <a:gd name="T113" fmla="*/ 90 h 1326"/>
                <a:gd name="T114" fmla="*/ 82 w 1212"/>
                <a:gd name="T115" fmla="*/ 94 h 1326"/>
                <a:gd name="T116" fmla="*/ 82 w 1212"/>
                <a:gd name="T117" fmla="*/ 98 h 1326"/>
                <a:gd name="T118" fmla="*/ 82 w 1212"/>
                <a:gd name="T119" fmla="*/ 104 h 1326"/>
                <a:gd name="T120" fmla="*/ 78 w 1212"/>
                <a:gd name="T121" fmla="*/ 110 h 132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12"/>
                <a:gd name="T184" fmla="*/ 0 h 1326"/>
                <a:gd name="T185" fmla="*/ 1212 w 1212"/>
                <a:gd name="T186" fmla="*/ 1326 h 132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12" h="1326">
                  <a:moveTo>
                    <a:pt x="906" y="1290"/>
                  </a:moveTo>
                  <a:lnTo>
                    <a:pt x="906" y="1296"/>
                  </a:lnTo>
                  <a:lnTo>
                    <a:pt x="900" y="1296"/>
                  </a:lnTo>
                  <a:lnTo>
                    <a:pt x="876" y="1290"/>
                  </a:lnTo>
                  <a:lnTo>
                    <a:pt x="870" y="1290"/>
                  </a:lnTo>
                  <a:lnTo>
                    <a:pt x="864" y="1296"/>
                  </a:lnTo>
                  <a:lnTo>
                    <a:pt x="852" y="1296"/>
                  </a:lnTo>
                  <a:lnTo>
                    <a:pt x="840" y="1302"/>
                  </a:lnTo>
                  <a:lnTo>
                    <a:pt x="834" y="1308"/>
                  </a:lnTo>
                  <a:lnTo>
                    <a:pt x="822" y="1320"/>
                  </a:lnTo>
                  <a:lnTo>
                    <a:pt x="816" y="1320"/>
                  </a:lnTo>
                  <a:lnTo>
                    <a:pt x="732" y="1320"/>
                  </a:lnTo>
                  <a:lnTo>
                    <a:pt x="696" y="1320"/>
                  </a:lnTo>
                  <a:lnTo>
                    <a:pt x="690" y="1326"/>
                  </a:lnTo>
                  <a:lnTo>
                    <a:pt x="678" y="1326"/>
                  </a:lnTo>
                  <a:lnTo>
                    <a:pt x="672" y="1308"/>
                  </a:lnTo>
                  <a:lnTo>
                    <a:pt x="696" y="1302"/>
                  </a:lnTo>
                  <a:lnTo>
                    <a:pt x="708" y="1296"/>
                  </a:lnTo>
                  <a:lnTo>
                    <a:pt x="720" y="1284"/>
                  </a:lnTo>
                  <a:lnTo>
                    <a:pt x="714" y="1278"/>
                  </a:lnTo>
                  <a:lnTo>
                    <a:pt x="714" y="1266"/>
                  </a:lnTo>
                  <a:lnTo>
                    <a:pt x="708" y="1260"/>
                  </a:lnTo>
                  <a:lnTo>
                    <a:pt x="708" y="1254"/>
                  </a:lnTo>
                  <a:lnTo>
                    <a:pt x="708" y="1248"/>
                  </a:lnTo>
                  <a:lnTo>
                    <a:pt x="702" y="1236"/>
                  </a:lnTo>
                  <a:lnTo>
                    <a:pt x="702" y="1230"/>
                  </a:lnTo>
                  <a:lnTo>
                    <a:pt x="702" y="1218"/>
                  </a:lnTo>
                  <a:lnTo>
                    <a:pt x="696" y="1200"/>
                  </a:lnTo>
                  <a:lnTo>
                    <a:pt x="696" y="1182"/>
                  </a:lnTo>
                  <a:lnTo>
                    <a:pt x="666" y="1182"/>
                  </a:lnTo>
                  <a:lnTo>
                    <a:pt x="672" y="1134"/>
                  </a:lnTo>
                  <a:lnTo>
                    <a:pt x="666" y="1128"/>
                  </a:lnTo>
                  <a:lnTo>
                    <a:pt x="660" y="1092"/>
                  </a:lnTo>
                  <a:lnTo>
                    <a:pt x="654" y="1098"/>
                  </a:lnTo>
                  <a:lnTo>
                    <a:pt x="594" y="1098"/>
                  </a:lnTo>
                  <a:lnTo>
                    <a:pt x="576" y="1098"/>
                  </a:lnTo>
                  <a:lnTo>
                    <a:pt x="570" y="1104"/>
                  </a:lnTo>
                  <a:lnTo>
                    <a:pt x="564" y="1110"/>
                  </a:lnTo>
                  <a:lnTo>
                    <a:pt x="558" y="1110"/>
                  </a:lnTo>
                  <a:lnTo>
                    <a:pt x="552" y="1110"/>
                  </a:lnTo>
                  <a:lnTo>
                    <a:pt x="546" y="1110"/>
                  </a:lnTo>
                  <a:lnTo>
                    <a:pt x="546" y="1116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10" y="1128"/>
                  </a:lnTo>
                  <a:lnTo>
                    <a:pt x="522" y="1104"/>
                  </a:lnTo>
                  <a:lnTo>
                    <a:pt x="510" y="1098"/>
                  </a:lnTo>
                  <a:lnTo>
                    <a:pt x="510" y="1074"/>
                  </a:lnTo>
                  <a:lnTo>
                    <a:pt x="504" y="1068"/>
                  </a:lnTo>
                  <a:lnTo>
                    <a:pt x="498" y="1068"/>
                  </a:lnTo>
                  <a:lnTo>
                    <a:pt x="492" y="1068"/>
                  </a:lnTo>
                  <a:lnTo>
                    <a:pt x="474" y="1080"/>
                  </a:lnTo>
                  <a:lnTo>
                    <a:pt x="474" y="1086"/>
                  </a:lnTo>
                  <a:lnTo>
                    <a:pt x="474" y="1092"/>
                  </a:lnTo>
                  <a:lnTo>
                    <a:pt x="468" y="1098"/>
                  </a:lnTo>
                  <a:lnTo>
                    <a:pt x="462" y="1104"/>
                  </a:lnTo>
                  <a:lnTo>
                    <a:pt x="456" y="1110"/>
                  </a:lnTo>
                  <a:lnTo>
                    <a:pt x="456" y="1122"/>
                  </a:lnTo>
                  <a:lnTo>
                    <a:pt x="456" y="1128"/>
                  </a:lnTo>
                  <a:lnTo>
                    <a:pt x="450" y="1140"/>
                  </a:lnTo>
                  <a:lnTo>
                    <a:pt x="444" y="1146"/>
                  </a:lnTo>
                  <a:lnTo>
                    <a:pt x="426" y="1170"/>
                  </a:lnTo>
                  <a:lnTo>
                    <a:pt x="408" y="1176"/>
                  </a:lnTo>
                  <a:lnTo>
                    <a:pt x="402" y="1170"/>
                  </a:lnTo>
                  <a:lnTo>
                    <a:pt x="396" y="1170"/>
                  </a:lnTo>
                  <a:lnTo>
                    <a:pt x="396" y="1158"/>
                  </a:lnTo>
                  <a:lnTo>
                    <a:pt x="384" y="1152"/>
                  </a:lnTo>
                  <a:lnTo>
                    <a:pt x="372" y="1140"/>
                  </a:lnTo>
                  <a:lnTo>
                    <a:pt x="354" y="1140"/>
                  </a:lnTo>
                  <a:lnTo>
                    <a:pt x="306" y="1146"/>
                  </a:lnTo>
                  <a:lnTo>
                    <a:pt x="294" y="1134"/>
                  </a:lnTo>
                  <a:lnTo>
                    <a:pt x="294" y="1128"/>
                  </a:lnTo>
                  <a:lnTo>
                    <a:pt x="288" y="1122"/>
                  </a:lnTo>
                  <a:lnTo>
                    <a:pt x="276" y="1122"/>
                  </a:lnTo>
                  <a:lnTo>
                    <a:pt x="276" y="1110"/>
                  </a:lnTo>
                  <a:lnTo>
                    <a:pt x="276" y="1104"/>
                  </a:lnTo>
                  <a:lnTo>
                    <a:pt x="270" y="1098"/>
                  </a:lnTo>
                  <a:lnTo>
                    <a:pt x="264" y="1086"/>
                  </a:lnTo>
                  <a:lnTo>
                    <a:pt x="264" y="1074"/>
                  </a:lnTo>
                  <a:lnTo>
                    <a:pt x="258" y="1068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34" y="1038"/>
                  </a:lnTo>
                  <a:lnTo>
                    <a:pt x="228" y="1038"/>
                  </a:lnTo>
                  <a:lnTo>
                    <a:pt x="222" y="1038"/>
                  </a:lnTo>
                  <a:lnTo>
                    <a:pt x="216" y="1038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0"/>
                  </a:lnTo>
                  <a:lnTo>
                    <a:pt x="204" y="1014"/>
                  </a:lnTo>
                  <a:lnTo>
                    <a:pt x="204" y="1008"/>
                  </a:lnTo>
                  <a:lnTo>
                    <a:pt x="198" y="1002"/>
                  </a:lnTo>
                  <a:lnTo>
                    <a:pt x="198" y="996"/>
                  </a:lnTo>
                  <a:lnTo>
                    <a:pt x="198" y="990"/>
                  </a:lnTo>
                  <a:lnTo>
                    <a:pt x="204" y="990"/>
                  </a:lnTo>
                  <a:lnTo>
                    <a:pt x="204" y="984"/>
                  </a:lnTo>
                  <a:lnTo>
                    <a:pt x="210" y="978"/>
                  </a:lnTo>
                  <a:lnTo>
                    <a:pt x="210" y="972"/>
                  </a:lnTo>
                  <a:lnTo>
                    <a:pt x="210" y="966"/>
                  </a:lnTo>
                  <a:lnTo>
                    <a:pt x="216" y="960"/>
                  </a:lnTo>
                  <a:lnTo>
                    <a:pt x="216" y="954"/>
                  </a:lnTo>
                  <a:lnTo>
                    <a:pt x="210" y="954"/>
                  </a:lnTo>
                  <a:lnTo>
                    <a:pt x="204" y="954"/>
                  </a:lnTo>
                  <a:lnTo>
                    <a:pt x="216" y="954"/>
                  </a:lnTo>
                  <a:lnTo>
                    <a:pt x="216" y="948"/>
                  </a:lnTo>
                  <a:lnTo>
                    <a:pt x="210" y="948"/>
                  </a:lnTo>
                  <a:lnTo>
                    <a:pt x="210" y="942"/>
                  </a:lnTo>
                  <a:lnTo>
                    <a:pt x="216" y="942"/>
                  </a:lnTo>
                  <a:lnTo>
                    <a:pt x="222" y="942"/>
                  </a:lnTo>
                  <a:lnTo>
                    <a:pt x="222" y="936"/>
                  </a:lnTo>
                  <a:lnTo>
                    <a:pt x="216" y="936"/>
                  </a:lnTo>
                  <a:lnTo>
                    <a:pt x="210" y="936"/>
                  </a:lnTo>
                  <a:lnTo>
                    <a:pt x="210" y="930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22" y="918"/>
                  </a:lnTo>
                  <a:lnTo>
                    <a:pt x="228" y="912"/>
                  </a:lnTo>
                  <a:lnTo>
                    <a:pt x="228" y="906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2" y="888"/>
                  </a:lnTo>
                  <a:lnTo>
                    <a:pt x="222" y="882"/>
                  </a:lnTo>
                  <a:lnTo>
                    <a:pt x="222" y="876"/>
                  </a:lnTo>
                  <a:lnTo>
                    <a:pt x="222" y="858"/>
                  </a:lnTo>
                  <a:lnTo>
                    <a:pt x="216" y="858"/>
                  </a:lnTo>
                  <a:lnTo>
                    <a:pt x="216" y="852"/>
                  </a:lnTo>
                  <a:lnTo>
                    <a:pt x="210" y="852"/>
                  </a:lnTo>
                  <a:lnTo>
                    <a:pt x="210" y="840"/>
                  </a:lnTo>
                  <a:lnTo>
                    <a:pt x="198" y="840"/>
                  </a:lnTo>
                  <a:lnTo>
                    <a:pt x="198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0" y="894"/>
                  </a:lnTo>
                  <a:lnTo>
                    <a:pt x="180" y="906"/>
                  </a:lnTo>
                  <a:lnTo>
                    <a:pt x="156" y="912"/>
                  </a:lnTo>
                  <a:lnTo>
                    <a:pt x="156" y="894"/>
                  </a:lnTo>
                  <a:lnTo>
                    <a:pt x="156" y="882"/>
                  </a:lnTo>
                  <a:lnTo>
                    <a:pt x="156" y="876"/>
                  </a:lnTo>
                  <a:lnTo>
                    <a:pt x="150" y="876"/>
                  </a:lnTo>
                  <a:lnTo>
                    <a:pt x="144" y="876"/>
                  </a:lnTo>
                  <a:lnTo>
                    <a:pt x="138" y="870"/>
                  </a:lnTo>
                  <a:lnTo>
                    <a:pt x="132" y="864"/>
                  </a:lnTo>
                  <a:lnTo>
                    <a:pt x="138" y="840"/>
                  </a:lnTo>
                  <a:lnTo>
                    <a:pt x="132" y="840"/>
                  </a:lnTo>
                  <a:lnTo>
                    <a:pt x="138" y="810"/>
                  </a:lnTo>
                  <a:lnTo>
                    <a:pt x="144" y="804"/>
                  </a:lnTo>
                  <a:lnTo>
                    <a:pt x="144" y="798"/>
                  </a:lnTo>
                  <a:lnTo>
                    <a:pt x="156" y="798"/>
                  </a:lnTo>
                  <a:lnTo>
                    <a:pt x="156" y="792"/>
                  </a:lnTo>
                  <a:lnTo>
                    <a:pt x="120" y="792"/>
                  </a:lnTo>
                  <a:lnTo>
                    <a:pt x="108" y="786"/>
                  </a:lnTo>
                  <a:lnTo>
                    <a:pt x="96" y="786"/>
                  </a:lnTo>
                  <a:lnTo>
                    <a:pt x="96" y="780"/>
                  </a:lnTo>
                  <a:lnTo>
                    <a:pt x="78" y="780"/>
                  </a:lnTo>
                  <a:lnTo>
                    <a:pt x="72" y="804"/>
                  </a:lnTo>
                  <a:lnTo>
                    <a:pt x="60" y="816"/>
                  </a:lnTo>
                  <a:lnTo>
                    <a:pt x="36" y="828"/>
                  </a:lnTo>
                  <a:lnTo>
                    <a:pt x="18" y="840"/>
                  </a:lnTo>
                  <a:lnTo>
                    <a:pt x="0" y="822"/>
                  </a:lnTo>
                  <a:lnTo>
                    <a:pt x="6" y="816"/>
                  </a:lnTo>
                  <a:lnTo>
                    <a:pt x="12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18" y="786"/>
                  </a:lnTo>
                  <a:lnTo>
                    <a:pt x="24" y="780"/>
                  </a:lnTo>
                  <a:lnTo>
                    <a:pt x="24" y="768"/>
                  </a:lnTo>
                  <a:lnTo>
                    <a:pt x="24" y="762"/>
                  </a:lnTo>
                  <a:lnTo>
                    <a:pt x="24" y="750"/>
                  </a:lnTo>
                  <a:lnTo>
                    <a:pt x="36" y="714"/>
                  </a:lnTo>
                  <a:lnTo>
                    <a:pt x="36" y="708"/>
                  </a:lnTo>
                  <a:lnTo>
                    <a:pt x="42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6" y="690"/>
                  </a:lnTo>
                  <a:lnTo>
                    <a:pt x="42" y="684"/>
                  </a:lnTo>
                  <a:lnTo>
                    <a:pt x="42" y="672"/>
                  </a:lnTo>
                  <a:lnTo>
                    <a:pt x="42" y="666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48" y="648"/>
                  </a:lnTo>
                  <a:lnTo>
                    <a:pt x="54" y="642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54" y="612"/>
                  </a:lnTo>
                  <a:lnTo>
                    <a:pt x="48" y="606"/>
                  </a:lnTo>
                  <a:lnTo>
                    <a:pt x="48" y="600"/>
                  </a:lnTo>
                  <a:lnTo>
                    <a:pt x="42" y="600"/>
                  </a:lnTo>
                  <a:lnTo>
                    <a:pt x="36" y="594"/>
                  </a:lnTo>
                  <a:lnTo>
                    <a:pt x="36" y="588"/>
                  </a:lnTo>
                  <a:lnTo>
                    <a:pt x="30" y="582"/>
                  </a:lnTo>
                  <a:lnTo>
                    <a:pt x="30" y="570"/>
                  </a:lnTo>
                  <a:lnTo>
                    <a:pt x="18" y="552"/>
                  </a:lnTo>
                  <a:lnTo>
                    <a:pt x="18" y="546"/>
                  </a:lnTo>
                  <a:lnTo>
                    <a:pt x="18" y="540"/>
                  </a:lnTo>
                  <a:lnTo>
                    <a:pt x="18" y="528"/>
                  </a:lnTo>
                  <a:lnTo>
                    <a:pt x="18" y="522"/>
                  </a:lnTo>
                  <a:lnTo>
                    <a:pt x="24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30" y="474"/>
                  </a:lnTo>
                  <a:lnTo>
                    <a:pt x="36" y="474"/>
                  </a:lnTo>
                  <a:lnTo>
                    <a:pt x="42" y="468"/>
                  </a:lnTo>
                  <a:lnTo>
                    <a:pt x="48" y="468"/>
                  </a:lnTo>
                  <a:lnTo>
                    <a:pt x="48" y="462"/>
                  </a:lnTo>
                  <a:lnTo>
                    <a:pt x="48" y="456"/>
                  </a:lnTo>
                  <a:lnTo>
                    <a:pt x="54" y="450"/>
                  </a:lnTo>
                  <a:lnTo>
                    <a:pt x="60" y="438"/>
                  </a:lnTo>
                  <a:lnTo>
                    <a:pt x="54" y="438"/>
                  </a:lnTo>
                  <a:lnTo>
                    <a:pt x="54" y="432"/>
                  </a:ln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54" y="402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6" y="384"/>
                  </a:lnTo>
                  <a:lnTo>
                    <a:pt x="72" y="372"/>
                  </a:lnTo>
                  <a:lnTo>
                    <a:pt x="78" y="366"/>
                  </a:lnTo>
                  <a:lnTo>
                    <a:pt x="84" y="360"/>
                  </a:lnTo>
                  <a:lnTo>
                    <a:pt x="102" y="360"/>
                  </a:lnTo>
                  <a:lnTo>
                    <a:pt x="114" y="36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8" y="360"/>
                  </a:lnTo>
                  <a:lnTo>
                    <a:pt x="156" y="360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74" y="342"/>
                  </a:lnTo>
                  <a:lnTo>
                    <a:pt x="180" y="342"/>
                  </a:lnTo>
                  <a:lnTo>
                    <a:pt x="186" y="336"/>
                  </a:lnTo>
                  <a:lnTo>
                    <a:pt x="192" y="330"/>
                  </a:lnTo>
                  <a:lnTo>
                    <a:pt x="204" y="312"/>
                  </a:lnTo>
                  <a:lnTo>
                    <a:pt x="210" y="312"/>
                  </a:lnTo>
                  <a:lnTo>
                    <a:pt x="216" y="306"/>
                  </a:lnTo>
                  <a:lnTo>
                    <a:pt x="216" y="300"/>
                  </a:lnTo>
                  <a:lnTo>
                    <a:pt x="222" y="288"/>
                  </a:lnTo>
                  <a:lnTo>
                    <a:pt x="234" y="288"/>
                  </a:lnTo>
                  <a:lnTo>
                    <a:pt x="240" y="282"/>
                  </a:lnTo>
                  <a:lnTo>
                    <a:pt x="246" y="282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70" y="270"/>
                  </a:lnTo>
                  <a:lnTo>
                    <a:pt x="276" y="264"/>
                  </a:lnTo>
                  <a:lnTo>
                    <a:pt x="282" y="26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8" y="234"/>
                  </a:lnTo>
                  <a:lnTo>
                    <a:pt x="330" y="234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72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14" y="240"/>
                  </a:lnTo>
                  <a:lnTo>
                    <a:pt x="444" y="216"/>
                  </a:lnTo>
                  <a:lnTo>
                    <a:pt x="480" y="204"/>
                  </a:lnTo>
                  <a:lnTo>
                    <a:pt x="600" y="150"/>
                  </a:lnTo>
                  <a:lnTo>
                    <a:pt x="648" y="126"/>
                  </a:lnTo>
                  <a:lnTo>
                    <a:pt x="702" y="96"/>
                  </a:lnTo>
                  <a:lnTo>
                    <a:pt x="708" y="54"/>
                  </a:lnTo>
                  <a:lnTo>
                    <a:pt x="720" y="24"/>
                  </a:lnTo>
                  <a:lnTo>
                    <a:pt x="738" y="12"/>
                  </a:lnTo>
                  <a:lnTo>
                    <a:pt x="768" y="0"/>
                  </a:lnTo>
                  <a:lnTo>
                    <a:pt x="792" y="6"/>
                  </a:lnTo>
                  <a:lnTo>
                    <a:pt x="804" y="12"/>
                  </a:lnTo>
                  <a:lnTo>
                    <a:pt x="834" y="48"/>
                  </a:lnTo>
                  <a:lnTo>
                    <a:pt x="834" y="60"/>
                  </a:lnTo>
                  <a:lnTo>
                    <a:pt x="852" y="84"/>
                  </a:lnTo>
                  <a:lnTo>
                    <a:pt x="864" y="96"/>
                  </a:lnTo>
                  <a:lnTo>
                    <a:pt x="888" y="102"/>
                  </a:lnTo>
                  <a:lnTo>
                    <a:pt x="978" y="120"/>
                  </a:lnTo>
                  <a:lnTo>
                    <a:pt x="984" y="126"/>
                  </a:lnTo>
                  <a:lnTo>
                    <a:pt x="984" y="132"/>
                  </a:lnTo>
                  <a:lnTo>
                    <a:pt x="996" y="138"/>
                  </a:lnTo>
                  <a:lnTo>
                    <a:pt x="1038" y="126"/>
                  </a:lnTo>
                  <a:lnTo>
                    <a:pt x="1056" y="114"/>
                  </a:lnTo>
                  <a:lnTo>
                    <a:pt x="1068" y="126"/>
                  </a:lnTo>
                  <a:lnTo>
                    <a:pt x="1074" y="132"/>
                  </a:lnTo>
                  <a:lnTo>
                    <a:pt x="1068" y="138"/>
                  </a:lnTo>
                  <a:lnTo>
                    <a:pt x="1056" y="150"/>
                  </a:lnTo>
                  <a:lnTo>
                    <a:pt x="1038" y="162"/>
                  </a:lnTo>
                  <a:lnTo>
                    <a:pt x="1038" y="168"/>
                  </a:lnTo>
                  <a:lnTo>
                    <a:pt x="1020" y="174"/>
                  </a:lnTo>
                  <a:lnTo>
                    <a:pt x="1014" y="180"/>
                  </a:lnTo>
                  <a:lnTo>
                    <a:pt x="1008" y="186"/>
                  </a:lnTo>
                  <a:lnTo>
                    <a:pt x="1002" y="198"/>
                  </a:lnTo>
                  <a:lnTo>
                    <a:pt x="984" y="204"/>
                  </a:lnTo>
                  <a:lnTo>
                    <a:pt x="984" y="246"/>
                  </a:lnTo>
                  <a:lnTo>
                    <a:pt x="978" y="270"/>
                  </a:lnTo>
                  <a:lnTo>
                    <a:pt x="990" y="306"/>
                  </a:lnTo>
                  <a:lnTo>
                    <a:pt x="990" y="324"/>
                  </a:lnTo>
                  <a:lnTo>
                    <a:pt x="1002" y="336"/>
                  </a:lnTo>
                  <a:lnTo>
                    <a:pt x="1020" y="372"/>
                  </a:lnTo>
                  <a:lnTo>
                    <a:pt x="1014" y="378"/>
                  </a:lnTo>
                  <a:lnTo>
                    <a:pt x="1014" y="384"/>
                  </a:lnTo>
                  <a:lnTo>
                    <a:pt x="1020" y="384"/>
                  </a:lnTo>
                  <a:lnTo>
                    <a:pt x="1020" y="396"/>
                  </a:lnTo>
                  <a:lnTo>
                    <a:pt x="1062" y="468"/>
                  </a:lnTo>
                  <a:lnTo>
                    <a:pt x="1092" y="522"/>
                  </a:lnTo>
                  <a:lnTo>
                    <a:pt x="1110" y="546"/>
                  </a:lnTo>
                  <a:lnTo>
                    <a:pt x="1122" y="564"/>
                  </a:lnTo>
                  <a:lnTo>
                    <a:pt x="1134" y="576"/>
                  </a:lnTo>
                  <a:lnTo>
                    <a:pt x="1146" y="582"/>
                  </a:lnTo>
                  <a:lnTo>
                    <a:pt x="1146" y="588"/>
                  </a:lnTo>
                  <a:lnTo>
                    <a:pt x="1164" y="600"/>
                  </a:lnTo>
                  <a:lnTo>
                    <a:pt x="1170" y="612"/>
                  </a:lnTo>
                  <a:lnTo>
                    <a:pt x="1170" y="624"/>
                  </a:lnTo>
                  <a:lnTo>
                    <a:pt x="1176" y="654"/>
                  </a:lnTo>
                  <a:lnTo>
                    <a:pt x="1176" y="666"/>
                  </a:lnTo>
                  <a:lnTo>
                    <a:pt x="1182" y="684"/>
                  </a:lnTo>
                  <a:lnTo>
                    <a:pt x="1194" y="696"/>
                  </a:lnTo>
                  <a:lnTo>
                    <a:pt x="1212" y="696"/>
                  </a:lnTo>
                  <a:lnTo>
                    <a:pt x="1206" y="762"/>
                  </a:lnTo>
                  <a:lnTo>
                    <a:pt x="1200" y="768"/>
                  </a:lnTo>
                  <a:lnTo>
                    <a:pt x="1194" y="768"/>
                  </a:lnTo>
                  <a:lnTo>
                    <a:pt x="1194" y="774"/>
                  </a:lnTo>
                  <a:lnTo>
                    <a:pt x="1188" y="774"/>
                  </a:lnTo>
                  <a:lnTo>
                    <a:pt x="1182" y="780"/>
                  </a:lnTo>
                  <a:lnTo>
                    <a:pt x="1176" y="780"/>
                  </a:lnTo>
                  <a:lnTo>
                    <a:pt x="1170" y="780"/>
                  </a:lnTo>
                  <a:lnTo>
                    <a:pt x="1164" y="786"/>
                  </a:lnTo>
                  <a:lnTo>
                    <a:pt x="1158" y="786"/>
                  </a:lnTo>
                  <a:lnTo>
                    <a:pt x="1152" y="786"/>
                  </a:lnTo>
                  <a:lnTo>
                    <a:pt x="1140" y="786"/>
                  </a:lnTo>
                  <a:lnTo>
                    <a:pt x="1134" y="786"/>
                  </a:lnTo>
                  <a:lnTo>
                    <a:pt x="1134" y="780"/>
                  </a:lnTo>
                  <a:lnTo>
                    <a:pt x="1122" y="780"/>
                  </a:lnTo>
                  <a:lnTo>
                    <a:pt x="1116" y="786"/>
                  </a:lnTo>
                  <a:lnTo>
                    <a:pt x="1116" y="792"/>
                  </a:lnTo>
                  <a:lnTo>
                    <a:pt x="1122" y="804"/>
                  </a:lnTo>
                  <a:lnTo>
                    <a:pt x="1128" y="804"/>
                  </a:lnTo>
                  <a:lnTo>
                    <a:pt x="1128" y="816"/>
                  </a:lnTo>
                  <a:lnTo>
                    <a:pt x="1122" y="822"/>
                  </a:lnTo>
                  <a:lnTo>
                    <a:pt x="1116" y="816"/>
                  </a:lnTo>
                  <a:lnTo>
                    <a:pt x="1110" y="816"/>
                  </a:lnTo>
                  <a:lnTo>
                    <a:pt x="1104" y="816"/>
                  </a:lnTo>
                  <a:lnTo>
                    <a:pt x="1098" y="816"/>
                  </a:lnTo>
                  <a:lnTo>
                    <a:pt x="1098" y="822"/>
                  </a:lnTo>
                  <a:lnTo>
                    <a:pt x="1092" y="834"/>
                  </a:lnTo>
                  <a:lnTo>
                    <a:pt x="1092" y="840"/>
                  </a:lnTo>
                  <a:lnTo>
                    <a:pt x="1074" y="840"/>
                  </a:lnTo>
                  <a:lnTo>
                    <a:pt x="1074" y="828"/>
                  </a:lnTo>
                  <a:lnTo>
                    <a:pt x="1062" y="804"/>
                  </a:lnTo>
                  <a:lnTo>
                    <a:pt x="1056" y="792"/>
                  </a:lnTo>
                  <a:lnTo>
                    <a:pt x="1056" y="786"/>
                  </a:lnTo>
                  <a:lnTo>
                    <a:pt x="1026" y="780"/>
                  </a:lnTo>
                  <a:lnTo>
                    <a:pt x="1026" y="768"/>
                  </a:lnTo>
                  <a:lnTo>
                    <a:pt x="1008" y="768"/>
                  </a:lnTo>
                  <a:lnTo>
                    <a:pt x="1002" y="780"/>
                  </a:lnTo>
                  <a:lnTo>
                    <a:pt x="996" y="792"/>
                  </a:lnTo>
                  <a:lnTo>
                    <a:pt x="978" y="798"/>
                  </a:lnTo>
                  <a:lnTo>
                    <a:pt x="972" y="810"/>
                  </a:lnTo>
                  <a:lnTo>
                    <a:pt x="972" y="822"/>
                  </a:lnTo>
                  <a:lnTo>
                    <a:pt x="978" y="828"/>
                  </a:lnTo>
                  <a:lnTo>
                    <a:pt x="978" y="834"/>
                  </a:lnTo>
                  <a:lnTo>
                    <a:pt x="960" y="840"/>
                  </a:lnTo>
                  <a:lnTo>
                    <a:pt x="936" y="840"/>
                  </a:lnTo>
                  <a:lnTo>
                    <a:pt x="918" y="846"/>
                  </a:lnTo>
                  <a:lnTo>
                    <a:pt x="912" y="840"/>
                  </a:lnTo>
                  <a:lnTo>
                    <a:pt x="912" y="834"/>
                  </a:lnTo>
                  <a:lnTo>
                    <a:pt x="906" y="834"/>
                  </a:lnTo>
                  <a:lnTo>
                    <a:pt x="906" y="840"/>
                  </a:lnTo>
                  <a:lnTo>
                    <a:pt x="900" y="846"/>
                  </a:lnTo>
                  <a:lnTo>
                    <a:pt x="906" y="852"/>
                  </a:lnTo>
                  <a:lnTo>
                    <a:pt x="900" y="864"/>
                  </a:lnTo>
                  <a:lnTo>
                    <a:pt x="900" y="876"/>
                  </a:lnTo>
                  <a:lnTo>
                    <a:pt x="900" y="882"/>
                  </a:lnTo>
                  <a:lnTo>
                    <a:pt x="894" y="888"/>
                  </a:lnTo>
                  <a:lnTo>
                    <a:pt x="900" y="900"/>
                  </a:lnTo>
                  <a:lnTo>
                    <a:pt x="900" y="906"/>
                  </a:lnTo>
                  <a:lnTo>
                    <a:pt x="894" y="906"/>
                  </a:lnTo>
                  <a:lnTo>
                    <a:pt x="894" y="912"/>
                  </a:lnTo>
                  <a:lnTo>
                    <a:pt x="900" y="918"/>
                  </a:lnTo>
                  <a:lnTo>
                    <a:pt x="900" y="924"/>
                  </a:lnTo>
                  <a:lnTo>
                    <a:pt x="900" y="948"/>
                  </a:lnTo>
                  <a:lnTo>
                    <a:pt x="888" y="948"/>
                  </a:lnTo>
                  <a:lnTo>
                    <a:pt x="888" y="954"/>
                  </a:lnTo>
                  <a:lnTo>
                    <a:pt x="894" y="954"/>
                  </a:lnTo>
                  <a:lnTo>
                    <a:pt x="900" y="960"/>
                  </a:lnTo>
                  <a:lnTo>
                    <a:pt x="900" y="972"/>
                  </a:lnTo>
                  <a:lnTo>
                    <a:pt x="906" y="984"/>
                  </a:lnTo>
                  <a:lnTo>
                    <a:pt x="912" y="984"/>
                  </a:lnTo>
                  <a:lnTo>
                    <a:pt x="918" y="990"/>
                  </a:lnTo>
                  <a:lnTo>
                    <a:pt x="936" y="990"/>
                  </a:lnTo>
                  <a:lnTo>
                    <a:pt x="936" y="996"/>
                  </a:lnTo>
                  <a:lnTo>
                    <a:pt x="942" y="996"/>
                  </a:lnTo>
                  <a:lnTo>
                    <a:pt x="942" y="1002"/>
                  </a:lnTo>
                  <a:lnTo>
                    <a:pt x="942" y="1008"/>
                  </a:lnTo>
                  <a:lnTo>
                    <a:pt x="948" y="1008"/>
                  </a:lnTo>
                  <a:lnTo>
                    <a:pt x="948" y="1014"/>
                  </a:lnTo>
                  <a:lnTo>
                    <a:pt x="948" y="1020"/>
                  </a:lnTo>
                  <a:lnTo>
                    <a:pt x="954" y="1032"/>
                  </a:lnTo>
                  <a:lnTo>
                    <a:pt x="948" y="1038"/>
                  </a:lnTo>
                  <a:lnTo>
                    <a:pt x="954" y="1044"/>
                  </a:lnTo>
                  <a:lnTo>
                    <a:pt x="954" y="1056"/>
                  </a:lnTo>
                  <a:lnTo>
                    <a:pt x="960" y="1056"/>
                  </a:lnTo>
                  <a:lnTo>
                    <a:pt x="960" y="1062"/>
                  </a:lnTo>
                  <a:lnTo>
                    <a:pt x="954" y="1068"/>
                  </a:lnTo>
                  <a:lnTo>
                    <a:pt x="948" y="1074"/>
                  </a:lnTo>
                  <a:lnTo>
                    <a:pt x="948" y="1080"/>
                  </a:lnTo>
                  <a:lnTo>
                    <a:pt x="948" y="1086"/>
                  </a:lnTo>
                  <a:lnTo>
                    <a:pt x="942" y="1092"/>
                  </a:lnTo>
                  <a:lnTo>
                    <a:pt x="942" y="1098"/>
                  </a:lnTo>
                  <a:lnTo>
                    <a:pt x="942" y="1104"/>
                  </a:lnTo>
                  <a:lnTo>
                    <a:pt x="942" y="1110"/>
                  </a:lnTo>
                  <a:lnTo>
                    <a:pt x="936" y="1116"/>
                  </a:lnTo>
                  <a:lnTo>
                    <a:pt x="936" y="1122"/>
                  </a:lnTo>
                  <a:lnTo>
                    <a:pt x="936" y="1128"/>
                  </a:lnTo>
                  <a:lnTo>
                    <a:pt x="936" y="1134"/>
                  </a:lnTo>
                  <a:lnTo>
                    <a:pt x="942" y="1146"/>
                  </a:lnTo>
                  <a:lnTo>
                    <a:pt x="936" y="1158"/>
                  </a:lnTo>
                  <a:lnTo>
                    <a:pt x="936" y="1170"/>
                  </a:lnTo>
                  <a:lnTo>
                    <a:pt x="936" y="1194"/>
                  </a:lnTo>
                  <a:lnTo>
                    <a:pt x="930" y="1200"/>
                  </a:lnTo>
                  <a:lnTo>
                    <a:pt x="930" y="1212"/>
                  </a:lnTo>
                  <a:lnTo>
                    <a:pt x="918" y="1218"/>
                  </a:lnTo>
                  <a:lnTo>
                    <a:pt x="918" y="1230"/>
                  </a:lnTo>
                  <a:lnTo>
                    <a:pt x="906" y="1230"/>
                  </a:lnTo>
                  <a:lnTo>
                    <a:pt x="900" y="1254"/>
                  </a:lnTo>
                  <a:lnTo>
                    <a:pt x="900" y="1260"/>
                  </a:lnTo>
                  <a:lnTo>
                    <a:pt x="900" y="1266"/>
                  </a:lnTo>
                  <a:lnTo>
                    <a:pt x="900" y="1272"/>
                  </a:lnTo>
                  <a:lnTo>
                    <a:pt x="900" y="1278"/>
                  </a:lnTo>
                  <a:lnTo>
                    <a:pt x="900" y="1284"/>
                  </a:lnTo>
                  <a:lnTo>
                    <a:pt x="906" y="129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1" name="Freeform 26">
              <a:extLst>
                <a:ext uri="{FF2B5EF4-FFF2-40B4-BE49-F238E27FC236}">
                  <a16:creationId xmlns:a16="http://schemas.microsoft.com/office/drawing/2014/main" id="{25725EFE-FE00-49A8-A87A-6752B785C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79173" y="3477313"/>
              <a:ext cx="650731" cy="559125"/>
            </a:xfrm>
            <a:custGeom>
              <a:avLst/>
              <a:gdLst>
                <a:gd name="T0" fmla="*/ 95 w 1224"/>
                <a:gd name="T1" fmla="*/ 89 h 1050"/>
                <a:gd name="T2" fmla="*/ 90 w 1224"/>
                <a:gd name="T3" fmla="*/ 84 h 1050"/>
                <a:gd name="T4" fmla="*/ 84 w 1224"/>
                <a:gd name="T5" fmla="*/ 83 h 1050"/>
                <a:gd name="T6" fmla="*/ 82 w 1224"/>
                <a:gd name="T7" fmla="*/ 80 h 1050"/>
                <a:gd name="T8" fmla="*/ 85 w 1224"/>
                <a:gd name="T9" fmla="*/ 77 h 1050"/>
                <a:gd name="T10" fmla="*/ 81 w 1224"/>
                <a:gd name="T11" fmla="*/ 76 h 1050"/>
                <a:gd name="T12" fmla="*/ 77 w 1224"/>
                <a:gd name="T13" fmla="*/ 77 h 1050"/>
                <a:gd name="T14" fmla="*/ 78 w 1224"/>
                <a:gd name="T15" fmla="*/ 73 h 1050"/>
                <a:gd name="T16" fmla="*/ 59 w 1224"/>
                <a:gd name="T17" fmla="*/ 71 h 1050"/>
                <a:gd name="T18" fmla="*/ 41 w 1224"/>
                <a:gd name="T19" fmla="*/ 73 h 1050"/>
                <a:gd name="T20" fmla="*/ 33 w 1224"/>
                <a:gd name="T21" fmla="*/ 71 h 1050"/>
                <a:gd name="T22" fmla="*/ 30 w 1224"/>
                <a:gd name="T23" fmla="*/ 75 h 1050"/>
                <a:gd name="T24" fmla="*/ 27 w 1224"/>
                <a:gd name="T25" fmla="*/ 80 h 1050"/>
                <a:gd name="T26" fmla="*/ 12 w 1224"/>
                <a:gd name="T27" fmla="*/ 81 h 1050"/>
                <a:gd name="T28" fmla="*/ 9 w 1224"/>
                <a:gd name="T29" fmla="*/ 84 h 1050"/>
                <a:gd name="T30" fmla="*/ 6 w 1224"/>
                <a:gd name="T31" fmla="*/ 83 h 1050"/>
                <a:gd name="T32" fmla="*/ 1 w 1224"/>
                <a:gd name="T33" fmla="*/ 83 h 1050"/>
                <a:gd name="T34" fmla="*/ 3 w 1224"/>
                <a:gd name="T35" fmla="*/ 77 h 1050"/>
                <a:gd name="T36" fmla="*/ 5 w 1224"/>
                <a:gd name="T37" fmla="*/ 70 h 1050"/>
                <a:gd name="T38" fmla="*/ 2 w 1224"/>
                <a:gd name="T39" fmla="*/ 65 h 1050"/>
                <a:gd name="T40" fmla="*/ 3 w 1224"/>
                <a:gd name="T41" fmla="*/ 58 h 1050"/>
                <a:gd name="T42" fmla="*/ 4 w 1224"/>
                <a:gd name="T43" fmla="*/ 51 h 1050"/>
                <a:gd name="T44" fmla="*/ 3 w 1224"/>
                <a:gd name="T45" fmla="*/ 47 h 1050"/>
                <a:gd name="T46" fmla="*/ 4 w 1224"/>
                <a:gd name="T47" fmla="*/ 39 h 1050"/>
                <a:gd name="T48" fmla="*/ 6 w 1224"/>
                <a:gd name="T49" fmla="*/ 29 h 1050"/>
                <a:gd name="T50" fmla="*/ 3 w 1224"/>
                <a:gd name="T51" fmla="*/ 22 h 1050"/>
                <a:gd name="T52" fmla="*/ 2 w 1224"/>
                <a:gd name="T53" fmla="*/ 14 h 1050"/>
                <a:gd name="T54" fmla="*/ 0 w 1224"/>
                <a:gd name="T55" fmla="*/ 6 h 1050"/>
                <a:gd name="T56" fmla="*/ 9 w 1224"/>
                <a:gd name="T57" fmla="*/ 1 h 1050"/>
                <a:gd name="T58" fmla="*/ 11 w 1224"/>
                <a:gd name="T59" fmla="*/ 8 h 1050"/>
                <a:gd name="T60" fmla="*/ 15 w 1224"/>
                <a:gd name="T61" fmla="*/ 9 h 1050"/>
                <a:gd name="T62" fmla="*/ 18 w 1224"/>
                <a:gd name="T63" fmla="*/ 8 h 1050"/>
                <a:gd name="T64" fmla="*/ 18 w 1224"/>
                <a:gd name="T65" fmla="*/ 13 h 1050"/>
                <a:gd name="T66" fmla="*/ 17 w 1224"/>
                <a:gd name="T67" fmla="*/ 15 h 1050"/>
                <a:gd name="T68" fmla="*/ 17 w 1224"/>
                <a:gd name="T69" fmla="*/ 17 h 1050"/>
                <a:gd name="T70" fmla="*/ 17 w 1224"/>
                <a:gd name="T71" fmla="*/ 21 h 1050"/>
                <a:gd name="T72" fmla="*/ 21 w 1224"/>
                <a:gd name="T73" fmla="*/ 25 h 1050"/>
                <a:gd name="T74" fmla="*/ 24 w 1224"/>
                <a:gd name="T75" fmla="*/ 31 h 1050"/>
                <a:gd name="T76" fmla="*/ 35 w 1224"/>
                <a:gd name="T77" fmla="*/ 34 h 1050"/>
                <a:gd name="T78" fmla="*/ 40 w 1224"/>
                <a:gd name="T79" fmla="*/ 27 h 1050"/>
                <a:gd name="T80" fmla="*/ 46 w 1224"/>
                <a:gd name="T81" fmla="*/ 30 h 1050"/>
                <a:gd name="T82" fmla="*/ 51 w 1224"/>
                <a:gd name="T83" fmla="*/ 27 h 1050"/>
                <a:gd name="T84" fmla="*/ 59 w 1224"/>
                <a:gd name="T85" fmla="*/ 39 h 1050"/>
                <a:gd name="T86" fmla="*/ 59 w 1224"/>
                <a:gd name="T87" fmla="*/ 45 h 1050"/>
                <a:gd name="T88" fmla="*/ 72 w 1224"/>
                <a:gd name="T89" fmla="*/ 45 h 1050"/>
                <a:gd name="T90" fmla="*/ 79 w 1224"/>
                <a:gd name="T91" fmla="*/ 44 h 1050"/>
                <a:gd name="T92" fmla="*/ 87 w 1224"/>
                <a:gd name="T93" fmla="*/ 48 h 1050"/>
                <a:gd name="T94" fmla="*/ 93 w 1224"/>
                <a:gd name="T95" fmla="*/ 50 h 1050"/>
                <a:gd name="T96" fmla="*/ 98 w 1224"/>
                <a:gd name="T97" fmla="*/ 51 h 1050"/>
                <a:gd name="T98" fmla="*/ 106 w 1224"/>
                <a:gd name="T99" fmla="*/ 50 h 1050"/>
                <a:gd name="T100" fmla="*/ 104 w 1224"/>
                <a:gd name="T101" fmla="*/ 54 h 1050"/>
                <a:gd name="T102" fmla="*/ 104 w 1224"/>
                <a:gd name="T103" fmla="*/ 60 h 1050"/>
                <a:gd name="T104" fmla="*/ 101 w 1224"/>
                <a:gd name="T105" fmla="*/ 63 h 1050"/>
                <a:gd name="T106" fmla="*/ 98 w 1224"/>
                <a:gd name="T107" fmla="*/ 66 h 1050"/>
                <a:gd name="T108" fmla="*/ 95 w 1224"/>
                <a:gd name="T109" fmla="*/ 68 h 1050"/>
                <a:gd name="T110" fmla="*/ 93 w 1224"/>
                <a:gd name="T111" fmla="*/ 72 h 1050"/>
                <a:gd name="T112" fmla="*/ 98 w 1224"/>
                <a:gd name="T113" fmla="*/ 75 h 1050"/>
                <a:gd name="T114" fmla="*/ 102 w 1224"/>
                <a:gd name="T115" fmla="*/ 77 h 1050"/>
                <a:gd name="T116" fmla="*/ 107 w 1224"/>
                <a:gd name="T117" fmla="*/ 76 h 1050"/>
                <a:gd name="T118" fmla="*/ 104 w 1224"/>
                <a:gd name="T119" fmla="*/ 84 h 1050"/>
                <a:gd name="T120" fmla="*/ 103 w 1224"/>
                <a:gd name="T121" fmla="*/ 87 h 1050"/>
                <a:gd name="T122" fmla="*/ 104 w 1224"/>
                <a:gd name="T123" fmla="*/ 91 h 105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24"/>
                <a:gd name="T187" fmla="*/ 0 h 1050"/>
                <a:gd name="T188" fmla="*/ 1224 w 1224"/>
                <a:gd name="T189" fmla="*/ 1050 h 105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24" h="1050">
                  <a:moveTo>
                    <a:pt x="1128" y="1032"/>
                  </a:moveTo>
                  <a:lnTo>
                    <a:pt x="1122" y="1026"/>
                  </a:lnTo>
                  <a:lnTo>
                    <a:pt x="1116" y="1026"/>
                  </a:lnTo>
                  <a:lnTo>
                    <a:pt x="1110" y="1026"/>
                  </a:lnTo>
                  <a:lnTo>
                    <a:pt x="1104" y="1026"/>
                  </a:lnTo>
                  <a:lnTo>
                    <a:pt x="1104" y="1020"/>
                  </a:lnTo>
                  <a:lnTo>
                    <a:pt x="1098" y="1020"/>
                  </a:lnTo>
                  <a:lnTo>
                    <a:pt x="1092" y="1020"/>
                  </a:lnTo>
                  <a:lnTo>
                    <a:pt x="1086" y="1020"/>
                  </a:lnTo>
                  <a:lnTo>
                    <a:pt x="1080" y="1014"/>
                  </a:lnTo>
                  <a:lnTo>
                    <a:pt x="1068" y="1014"/>
                  </a:lnTo>
                  <a:lnTo>
                    <a:pt x="1062" y="1014"/>
                  </a:lnTo>
                  <a:lnTo>
                    <a:pt x="1062" y="1008"/>
                  </a:lnTo>
                  <a:lnTo>
                    <a:pt x="1062" y="990"/>
                  </a:lnTo>
                  <a:lnTo>
                    <a:pt x="1062" y="984"/>
                  </a:lnTo>
                  <a:lnTo>
                    <a:pt x="1062" y="972"/>
                  </a:lnTo>
                  <a:lnTo>
                    <a:pt x="1044" y="966"/>
                  </a:lnTo>
                  <a:lnTo>
                    <a:pt x="1026" y="966"/>
                  </a:lnTo>
                  <a:lnTo>
                    <a:pt x="1014" y="966"/>
                  </a:lnTo>
                  <a:lnTo>
                    <a:pt x="996" y="966"/>
                  </a:lnTo>
                  <a:lnTo>
                    <a:pt x="996" y="972"/>
                  </a:lnTo>
                  <a:lnTo>
                    <a:pt x="990" y="972"/>
                  </a:lnTo>
                  <a:lnTo>
                    <a:pt x="984" y="966"/>
                  </a:lnTo>
                  <a:lnTo>
                    <a:pt x="978" y="966"/>
                  </a:lnTo>
                  <a:lnTo>
                    <a:pt x="978" y="960"/>
                  </a:lnTo>
                  <a:lnTo>
                    <a:pt x="972" y="954"/>
                  </a:lnTo>
                  <a:lnTo>
                    <a:pt x="966" y="954"/>
                  </a:lnTo>
                  <a:lnTo>
                    <a:pt x="960" y="954"/>
                  </a:lnTo>
                  <a:lnTo>
                    <a:pt x="954" y="954"/>
                  </a:lnTo>
                  <a:lnTo>
                    <a:pt x="954" y="948"/>
                  </a:lnTo>
                  <a:lnTo>
                    <a:pt x="942" y="942"/>
                  </a:lnTo>
                  <a:lnTo>
                    <a:pt x="936" y="942"/>
                  </a:lnTo>
                  <a:lnTo>
                    <a:pt x="936" y="936"/>
                  </a:lnTo>
                  <a:lnTo>
                    <a:pt x="936" y="930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42" y="918"/>
                  </a:lnTo>
                  <a:lnTo>
                    <a:pt x="948" y="918"/>
                  </a:lnTo>
                  <a:lnTo>
                    <a:pt x="960" y="918"/>
                  </a:lnTo>
                  <a:lnTo>
                    <a:pt x="966" y="912"/>
                  </a:lnTo>
                  <a:lnTo>
                    <a:pt x="978" y="906"/>
                  </a:lnTo>
                  <a:lnTo>
                    <a:pt x="978" y="900"/>
                  </a:lnTo>
                  <a:lnTo>
                    <a:pt x="978" y="894"/>
                  </a:lnTo>
                  <a:lnTo>
                    <a:pt x="978" y="888"/>
                  </a:lnTo>
                  <a:lnTo>
                    <a:pt x="972" y="888"/>
                  </a:lnTo>
                  <a:lnTo>
                    <a:pt x="978" y="888"/>
                  </a:lnTo>
                  <a:lnTo>
                    <a:pt x="978" y="882"/>
                  </a:lnTo>
                  <a:lnTo>
                    <a:pt x="972" y="876"/>
                  </a:lnTo>
                  <a:lnTo>
                    <a:pt x="966" y="870"/>
                  </a:lnTo>
                  <a:lnTo>
                    <a:pt x="954" y="876"/>
                  </a:lnTo>
                  <a:lnTo>
                    <a:pt x="948" y="876"/>
                  </a:lnTo>
                  <a:lnTo>
                    <a:pt x="942" y="870"/>
                  </a:lnTo>
                  <a:lnTo>
                    <a:pt x="936" y="876"/>
                  </a:lnTo>
                  <a:lnTo>
                    <a:pt x="930" y="876"/>
                  </a:lnTo>
                  <a:lnTo>
                    <a:pt x="924" y="882"/>
                  </a:lnTo>
                  <a:lnTo>
                    <a:pt x="912" y="888"/>
                  </a:lnTo>
                  <a:lnTo>
                    <a:pt x="906" y="894"/>
                  </a:lnTo>
                  <a:lnTo>
                    <a:pt x="900" y="900"/>
                  </a:lnTo>
                  <a:lnTo>
                    <a:pt x="894" y="888"/>
                  </a:lnTo>
                  <a:lnTo>
                    <a:pt x="888" y="894"/>
                  </a:lnTo>
                  <a:lnTo>
                    <a:pt x="882" y="888"/>
                  </a:lnTo>
                  <a:lnTo>
                    <a:pt x="876" y="894"/>
                  </a:lnTo>
                  <a:lnTo>
                    <a:pt x="876" y="888"/>
                  </a:lnTo>
                  <a:lnTo>
                    <a:pt x="876" y="882"/>
                  </a:lnTo>
                  <a:lnTo>
                    <a:pt x="876" y="876"/>
                  </a:lnTo>
                  <a:lnTo>
                    <a:pt x="870" y="858"/>
                  </a:lnTo>
                  <a:lnTo>
                    <a:pt x="864" y="858"/>
                  </a:lnTo>
                  <a:lnTo>
                    <a:pt x="870" y="852"/>
                  </a:lnTo>
                  <a:lnTo>
                    <a:pt x="870" y="846"/>
                  </a:lnTo>
                  <a:lnTo>
                    <a:pt x="876" y="846"/>
                  </a:lnTo>
                  <a:lnTo>
                    <a:pt x="882" y="846"/>
                  </a:lnTo>
                  <a:lnTo>
                    <a:pt x="888" y="840"/>
                  </a:lnTo>
                  <a:lnTo>
                    <a:pt x="894" y="834"/>
                  </a:lnTo>
                  <a:lnTo>
                    <a:pt x="894" y="828"/>
                  </a:lnTo>
                  <a:lnTo>
                    <a:pt x="894" y="816"/>
                  </a:lnTo>
                  <a:lnTo>
                    <a:pt x="858" y="810"/>
                  </a:lnTo>
                  <a:lnTo>
                    <a:pt x="858" y="816"/>
                  </a:lnTo>
                  <a:lnTo>
                    <a:pt x="852" y="816"/>
                  </a:lnTo>
                  <a:lnTo>
                    <a:pt x="780" y="816"/>
                  </a:lnTo>
                  <a:lnTo>
                    <a:pt x="750" y="816"/>
                  </a:lnTo>
                  <a:lnTo>
                    <a:pt x="684" y="816"/>
                  </a:lnTo>
                  <a:lnTo>
                    <a:pt x="636" y="816"/>
                  </a:lnTo>
                  <a:lnTo>
                    <a:pt x="612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0" y="816"/>
                  </a:lnTo>
                  <a:lnTo>
                    <a:pt x="480" y="822"/>
                  </a:lnTo>
                  <a:lnTo>
                    <a:pt x="480" y="834"/>
                  </a:lnTo>
                  <a:lnTo>
                    <a:pt x="474" y="840"/>
                  </a:lnTo>
                  <a:lnTo>
                    <a:pt x="468" y="840"/>
                  </a:lnTo>
                  <a:lnTo>
                    <a:pt x="432" y="840"/>
                  </a:lnTo>
                  <a:lnTo>
                    <a:pt x="426" y="834"/>
                  </a:lnTo>
                  <a:lnTo>
                    <a:pt x="420" y="834"/>
                  </a:lnTo>
                  <a:lnTo>
                    <a:pt x="420" y="828"/>
                  </a:lnTo>
                  <a:lnTo>
                    <a:pt x="414" y="822"/>
                  </a:lnTo>
                  <a:lnTo>
                    <a:pt x="408" y="822"/>
                  </a:lnTo>
                  <a:lnTo>
                    <a:pt x="396" y="822"/>
                  </a:lnTo>
                  <a:lnTo>
                    <a:pt x="396" y="816"/>
                  </a:lnTo>
                  <a:lnTo>
                    <a:pt x="384" y="816"/>
                  </a:lnTo>
                  <a:lnTo>
                    <a:pt x="372" y="810"/>
                  </a:lnTo>
                  <a:lnTo>
                    <a:pt x="372" y="804"/>
                  </a:lnTo>
                  <a:lnTo>
                    <a:pt x="366" y="804"/>
                  </a:lnTo>
                  <a:lnTo>
                    <a:pt x="360" y="804"/>
                  </a:lnTo>
                  <a:lnTo>
                    <a:pt x="348" y="828"/>
                  </a:lnTo>
                  <a:lnTo>
                    <a:pt x="348" y="834"/>
                  </a:lnTo>
                  <a:lnTo>
                    <a:pt x="348" y="852"/>
                  </a:lnTo>
                  <a:lnTo>
                    <a:pt x="348" y="858"/>
                  </a:lnTo>
                  <a:lnTo>
                    <a:pt x="342" y="864"/>
                  </a:lnTo>
                  <a:lnTo>
                    <a:pt x="342" y="870"/>
                  </a:lnTo>
                  <a:lnTo>
                    <a:pt x="330" y="876"/>
                  </a:lnTo>
                  <a:lnTo>
                    <a:pt x="324" y="888"/>
                  </a:lnTo>
                  <a:lnTo>
                    <a:pt x="324" y="894"/>
                  </a:lnTo>
                  <a:lnTo>
                    <a:pt x="330" y="900"/>
                  </a:lnTo>
                  <a:lnTo>
                    <a:pt x="330" y="906"/>
                  </a:lnTo>
                  <a:lnTo>
                    <a:pt x="324" y="906"/>
                  </a:lnTo>
                  <a:lnTo>
                    <a:pt x="318" y="912"/>
                  </a:lnTo>
                  <a:lnTo>
                    <a:pt x="312" y="918"/>
                  </a:lnTo>
                  <a:lnTo>
                    <a:pt x="306" y="924"/>
                  </a:lnTo>
                  <a:lnTo>
                    <a:pt x="288" y="924"/>
                  </a:lnTo>
                  <a:lnTo>
                    <a:pt x="282" y="924"/>
                  </a:lnTo>
                  <a:lnTo>
                    <a:pt x="276" y="930"/>
                  </a:lnTo>
                  <a:lnTo>
                    <a:pt x="270" y="930"/>
                  </a:lnTo>
                  <a:lnTo>
                    <a:pt x="264" y="930"/>
                  </a:lnTo>
                  <a:lnTo>
                    <a:pt x="198" y="930"/>
                  </a:lnTo>
                  <a:lnTo>
                    <a:pt x="132" y="930"/>
                  </a:lnTo>
                  <a:lnTo>
                    <a:pt x="132" y="936"/>
                  </a:lnTo>
                  <a:lnTo>
                    <a:pt x="132" y="942"/>
                  </a:lnTo>
                  <a:lnTo>
                    <a:pt x="132" y="948"/>
                  </a:lnTo>
                  <a:lnTo>
                    <a:pt x="126" y="948"/>
                  </a:lnTo>
                  <a:lnTo>
                    <a:pt x="120" y="948"/>
                  </a:lnTo>
                  <a:lnTo>
                    <a:pt x="120" y="954"/>
                  </a:lnTo>
                  <a:lnTo>
                    <a:pt x="114" y="954"/>
                  </a:lnTo>
                  <a:lnTo>
                    <a:pt x="114" y="960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02" y="966"/>
                  </a:lnTo>
                  <a:lnTo>
                    <a:pt x="102" y="972"/>
                  </a:lnTo>
                  <a:lnTo>
                    <a:pt x="96" y="972"/>
                  </a:lnTo>
                  <a:lnTo>
                    <a:pt x="96" y="966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78" y="960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60"/>
                  </a:lnTo>
                  <a:lnTo>
                    <a:pt x="54" y="966"/>
                  </a:lnTo>
                  <a:lnTo>
                    <a:pt x="48" y="966"/>
                  </a:lnTo>
                  <a:lnTo>
                    <a:pt x="42" y="966"/>
                  </a:lnTo>
                  <a:lnTo>
                    <a:pt x="36" y="966"/>
                  </a:lnTo>
                  <a:lnTo>
                    <a:pt x="30" y="966"/>
                  </a:lnTo>
                  <a:lnTo>
                    <a:pt x="24" y="960"/>
                  </a:lnTo>
                  <a:lnTo>
                    <a:pt x="18" y="960"/>
                  </a:lnTo>
                  <a:lnTo>
                    <a:pt x="12" y="960"/>
                  </a:lnTo>
                  <a:lnTo>
                    <a:pt x="12" y="948"/>
                  </a:lnTo>
                  <a:lnTo>
                    <a:pt x="18" y="942"/>
                  </a:lnTo>
                  <a:lnTo>
                    <a:pt x="18" y="936"/>
                  </a:lnTo>
                  <a:lnTo>
                    <a:pt x="18" y="930"/>
                  </a:lnTo>
                  <a:lnTo>
                    <a:pt x="18" y="924"/>
                  </a:lnTo>
                  <a:lnTo>
                    <a:pt x="18" y="912"/>
                  </a:lnTo>
                  <a:lnTo>
                    <a:pt x="24" y="906"/>
                  </a:lnTo>
                  <a:lnTo>
                    <a:pt x="30" y="900"/>
                  </a:lnTo>
                  <a:lnTo>
                    <a:pt x="36" y="894"/>
                  </a:lnTo>
                  <a:lnTo>
                    <a:pt x="36" y="882"/>
                  </a:lnTo>
                  <a:lnTo>
                    <a:pt x="30" y="876"/>
                  </a:lnTo>
                  <a:lnTo>
                    <a:pt x="30" y="870"/>
                  </a:lnTo>
                  <a:lnTo>
                    <a:pt x="24" y="858"/>
                  </a:lnTo>
                  <a:lnTo>
                    <a:pt x="24" y="846"/>
                  </a:lnTo>
                  <a:lnTo>
                    <a:pt x="36" y="822"/>
                  </a:lnTo>
                  <a:lnTo>
                    <a:pt x="42" y="816"/>
                  </a:lnTo>
                  <a:lnTo>
                    <a:pt x="48" y="816"/>
                  </a:lnTo>
                  <a:lnTo>
                    <a:pt x="60" y="804"/>
                  </a:lnTo>
                  <a:lnTo>
                    <a:pt x="60" y="786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54" y="762"/>
                  </a:lnTo>
                  <a:lnTo>
                    <a:pt x="42" y="762"/>
                  </a:lnTo>
                  <a:lnTo>
                    <a:pt x="36" y="762"/>
                  </a:lnTo>
                  <a:lnTo>
                    <a:pt x="30" y="762"/>
                  </a:lnTo>
                  <a:lnTo>
                    <a:pt x="30" y="756"/>
                  </a:lnTo>
                  <a:lnTo>
                    <a:pt x="24" y="750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702"/>
                  </a:lnTo>
                  <a:lnTo>
                    <a:pt x="36" y="684"/>
                  </a:lnTo>
                  <a:lnTo>
                    <a:pt x="36" y="678"/>
                  </a:lnTo>
                  <a:lnTo>
                    <a:pt x="36" y="666"/>
                  </a:lnTo>
                  <a:lnTo>
                    <a:pt x="36" y="654"/>
                  </a:lnTo>
                  <a:lnTo>
                    <a:pt x="18" y="654"/>
                  </a:lnTo>
                  <a:lnTo>
                    <a:pt x="18" y="648"/>
                  </a:lnTo>
                  <a:lnTo>
                    <a:pt x="18" y="618"/>
                  </a:lnTo>
                  <a:lnTo>
                    <a:pt x="18" y="612"/>
                  </a:lnTo>
                  <a:lnTo>
                    <a:pt x="24" y="612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54" y="588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76"/>
                  </a:lnTo>
                  <a:lnTo>
                    <a:pt x="48" y="564"/>
                  </a:lnTo>
                  <a:lnTo>
                    <a:pt x="42" y="564"/>
                  </a:lnTo>
                  <a:lnTo>
                    <a:pt x="36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6" y="540"/>
                  </a:lnTo>
                  <a:lnTo>
                    <a:pt x="48" y="534"/>
                  </a:lnTo>
                  <a:lnTo>
                    <a:pt x="54" y="528"/>
                  </a:lnTo>
                  <a:lnTo>
                    <a:pt x="60" y="504"/>
                  </a:lnTo>
                  <a:lnTo>
                    <a:pt x="60" y="492"/>
                  </a:lnTo>
                  <a:lnTo>
                    <a:pt x="54" y="492"/>
                  </a:lnTo>
                  <a:lnTo>
                    <a:pt x="54" y="480"/>
                  </a:lnTo>
                  <a:lnTo>
                    <a:pt x="48" y="456"/>
                  </a:lnTo>
                  <a:lnTo>
                    <a:pt x="42" y="450"/>
                  </a:lnTo>
                  <a:lnTo>
                    <a:pt x="36" y="444"/>
                  </a:lnTo>
                  <a:lnTo>
                    <a:pt x="36" y="420"/>
                  </a:lnTo>
                  <a:lnTo>
                    <a:pt x="36" y="408"/>
                  </a:lnTo>
                  <a:lnTo>
                    <a:pt x="36" y="37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60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6" y="300"/>
                  </a:lnTo>
                  <a:lnTo>
                    <a:pt x="60" y="294"/>
                  </a:lnTo>
                  <a:lnTo>
                    <a:pt x="60" y="288"/>
                  </a:lnTo>
                  <a:lnTo>
                    <a:pt x="54" y="282"/>
                  </a:lnTo>
                  <a:lnTo>
                    <a:pt x="42" y="276"/>
                  </a:lnTo>
                  <a:lnTo>
                    <a:pt x="36" y="276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0" y="252"/>
                  </a:lnTo>
                  <a:lnTo>
                    <a:pt x="24" y="246"/>
                  </a:lnTo>
                  <a:lnTo>
                    <a:pt x="24" y="240"/>
                  </a:lnTo>
                  <a:lnTo>
                    <a:pt x="24" y="228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62"/>
                  </a:lnTo>
                  <a:lnTo>
                    <a:pt x="24" y="144"/>
                  </a:lnTo>
                  <a:lnTo>
                    <a:pt x="24" y="132"/>
                  </a:lnTo>
                  <a:lnTo>
                    <a:pt x="24" y="114"/>
                  </a:lnTo>
                  <a:lnTo>
                    <a:pt x="24" y="102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18" y="48"/>
                  </a:lnTo>
                  <a:lnTo>
                    <a:pt x="42" y="36"/>
                  </a:lnTo>
                  <a:lnTo>
                    <a:pt x="54" y="24"/>
                  </a:lnTo>
                  <a:lnTo>
                    <a:pt x="60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10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14" y="60"/>
                  </a:lnTo>
                  <a:lnTo>
                    <a:pt x="120" y="60"/>
                  </a:lnTo>
                  <a:lnTo>
                    <a:pt x="114" y="84"/>
                  </a:lnTo>
                  <a:lnTo>
                    <a:pt x="120" y="90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38" y="114"/>
                  </a:lnTo>
                  <a:lnTo>
                    <a:pt x="138" y="132"/>
                  </a:lnTo>
                  <a:lnTo>
                    <a:pt x="162" y="126"/>
                  </a:lnTo>
                  <a:lnTo>
                    <a:pt x="162" y="114"/>
                  </a:lnTo>
                  <a:lnTo>
                    <a:pt x="174" y="108"/>
                  </a:lnTo>
                  <a:lnTo>
                    <a:pt x="174" y="102"/>
                  </a:lnTo>
                  <a:lnTo>
                    <a:pt x="180" y="96"/>
                  </a:lnTo>
                  <a:lnTo>
                    <a:pt x="180" y="60"/>
                  </a:lnTo>
                  <a:lnTo>
                    <a:pt x="192" y="60"/>
                  </a:lnTo>
                  <a:lnTo>
                    <a:pt x="192" y="72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04" y="108"/>
                  </a:lnTo>
                  <a:lnTo>
                    <a:pt x="204" y="114"/>
                  </a:lnTo>
                  <a:lnTo>
                    <a:pt x="204" y="120"/>
                  </a:lnTo>
                  <a:lnTo>
                    <a:pt x="204" y="126"/>
                  </a:lnTo>
                  <a:lnTo>
                    <a:pt x="210" y="126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8" y="174"/>
                  </a:lnTo>
                  <a:lnTo>
                    <a:pt x="198" y="180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86" y="204"/>
                  </a:lnTo>
                  <a:lnTo>
                    <a:pt x="186" y="210"/>
                  </a:lnTo>
                  <a:lnTo>
                    <a:pt x="180" y="210"/>
                  </a:lnTo>
                  <a:lnTo>
                    <a:pt x="180" y="216"/>
                  </a:lnTo>
                  <a:lnTo>
                    <a:pt x="180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92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8" y="258"/>
                  </a:lnTo>
                  <a:lnTo>
                    <a:pt x="204" y="258"/>
                  </a:lnTo>
                  <a:lnTo>
                    <a:pt x="210" y="258"/>
                  </a:lnTo>
                  <a:lnTo>
                    <a:pt x="216" y="258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34" y="276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46" y="306"/>
                  </a:lnTo>
                  <a:lnTo>
                    <a:pt x="252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42"/>
                  </a:lnTo>
                  <a:lnTo>
                    <a:pt x="270" y="342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88" y="366"/>
                  </a:lnTo>
                  <a:lnTo>
                    <a:pt x="336" y="360"/>
                  </a:lnTo>
                  <a:lnTo>
                    <a:pt x="354" y="360"/>
                  </a:lnTo>
                  <a:lnTo>
                    <a:pt x="366" y="372"/>
                  </a:lnTo>
                  <a:lnTo>
                    <a:pt x="378" y="378"/>
                  </a:lnTo>
                  <a:lnTo>
                    <a:pt x="378" y="390"/>
                  </a:lnTo>
                  <a:lnTo>
                    <a:pt x="384" y="390"/>
                  </a:lnTo>
                  <a:lnTo>
                    <a:pt x="390" y="396"/>
                  </a:lnTo>
                  <a:lnTo>
                    <a:pt x="408" y="390"/>
                  </a:lnTo>
                  <a:lnTo>
                    <a:pt x="426" y="366"/>
                  </a:lnTo>
                  <a:lnTo>
                    <a:pt x="432" y="360"/>
                  </a:lnTo>
                  <a:lnTo>
                    <a:pt x="438" y="348"/>
                  </a:lnTo>
                  <a:lnTo>
                    <a:pt x="438" y="342"/>
                  </a:lnTo>
                  <a:lnTo>
                    <a:pt x="438" y="330"/>
                  </a:lnTo>
                  <a:lnTo>
                    <a:pt x="444" y="324"/>
                  </a:lnTo>
                  <a:lnTo>
                    <a:pt x="450" y="318"/>
                  </a:lnTo>
                  <a:lnTo>
                    <a:pt x="456" y="312"/>
                  </a:lnTo>
                  <a:lnTo>
                    <a:pt x="456" y="306"/>
                  </a:lnTo>
                  <a:lnTo>
                    <a:pt x="456" y="300"/>
                  </a:lnTo>
                  <a:lnTo>
                    <a:pt x="474" y="288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92" y="294"/>
                  </a:lnTo>
                  <a:lnTo>
                    <a:pt x="492" y="318"/>
                  </a:lnTo>
                  <a:lnTo>
                    <a:pt x="504" y="324"/>
                  </a:lnTo>
                  <a:lnTo>
                    <a:pt x="492" y="348"/>
                  </a:lnTo>
                  <a:lnTo>
                    <a:pt x="522" y="348"/>
                  </a:lnTo>
                  <a:lnTo>
                    <a:pt x="528" y="342"/>
                  </a:lnTo>
                  <a:lnTo>
                    <a:pt x="528" y="336"/>
                  </a:lnTo>
                  <a:lnTo>
                    <a:pt x="528" y="330"/>
                  </a:lnTo>
                  <a:lnTo>
                    <a:pt x="534" y="330"/>
                  </a:lnTo>
                  <a:lnTo>
                    <a:pt x="540" y="330"/>
                  </a:lnTo>
                  <a:lnTo>
                    <a:pt x="546" y="330"/>
                  </a:lnTo>
                  <a:lnTo>
                    <a:pt x="552" y="324"/>
                  </a:lnTo>
                  <a:lnTo>
                    <a:pt x="558" y="318"/>
                  </a:lnTo>
                  <a:lnTo>
                    <a:pt x="576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8" y="348"/>
                  </a:lnTo>
                  <a:lnTo>
                    <a:pt x="654" y="354"/>
                  </a:lnTo>
                  <a:lnTo>
                    <a:pt x="648" y="402"/>
                  </a:lnTo>
                  <a:lnTo>
                    <a:pt x="678" y="402"/>
                  </a:lnTo>
                  <a:lnTo>
                    <a:pt x="678" y="420"/>
                  </a:lnTo>
                  <a:lnTo>
                    <a:pt x="684" y="438"/>
                  </a:lnTo>
                  <a:lnTo>
                    <a:pt x="684" y="450"/>
                  </a:lnTo>
                  <a:lnTo>
                    <a:pt x="684" y="456"/>
                  </a:lnTo>
                  <a:lnTo>
                    <a:pt x="690" y="468"/>
                  </a:lnTo>
                  <a:lnTo>
                    <a:pt x="690" y="474"/>
                  </a:lnTo>
                  <a:lnTo>
                    <a:pt x="690" y="480"/>
                  </a:lnTo>
                  <a:lnTo>
                    <a:pt x="696" y="486"/>
                  </a:lnTo>
                  <a:lnTo>
                    <a:pt x="696" y="498"/>
                  </a:lnTo>
                  <a:lnTo>
                    <a:pt x="702" y="504"/>
                  </a:lnTo>
                  <a:lnTo>
                    <a:pt x="690" y="516"/>
                  </a:lnTo>
                  <a:lnTo>
                    <a:pt x="678" y="522"/>
                  </a:lnTo>
                  <a:lnTo>
                    <a:pt x="654" y="528"/>
                  </a:lnTo>
                  <a:lnTo>
                    <a:pt x="660" y="546"/>
                  </a:lnTo>
                  <a:lnTo>
                    <a:pt x="672" y="546"/>
                  </a:lnTo>
                  <a:lnTo>
                    <a:pt x="678" y="540"/>
                  </a:lnTo>
                  <a:lnTo>
                    <a:pt x="714" y="540"/>
                  </a:lnTo>
                  <a:lnTo>
                    <a:pt x="798" y="540"/>
                  </a:lnTo>
                  <a:lnTo>
                    <a:pt x="804" y="540"/>
                  </a:lnTo>
                  <a:lnTo>
                    <a:pt x="816" y="528"/>
                  </a:lnTo>
                  <a:lnTo>
                    <a:pt x="822" y="522"/>
                  </a:lnTo>
                  <a:lnTo>
                    <a:pt x="834" y="516"/>
                  </a:lnTo>
                  <a:lnTo>
                    <a:pt x="846" y="516"/>
                  </a:lnTo>
                  <a:lnTo>
                    <a:pt x="852" y="510"/>
                  </a:lnTo>
                  <a:lnTo>
                    <a:pt x="858" y="510"/>
                  </a:lnTo>
                  <a:lnTo>
                    <a:pt x="882" y="516"/>
                  </a:lnTo>
                  <a:lnTo>
                    <a:pt x="888" y="516"/>
                  </a:lnTo>
                  <a:lnTo>
                    <a:pt x="888" y="510"/>
                  </a:lnTo>
                  <a:lnTo>
                    <a:pt x="894" y="510"/>
                  </a:lnTo>
                  <a:lnTo>
                    <a:pt x="906" y="504"/>
                  </a:lnTo>
                  <a:lnTo>
                    <a:pt x="918" y="498"/>
                  </a:lnTo>
                  <a:lnTo>
                    <a:pt x="930" y="492"/>
                  </a:lnTo>
                  <a:lnTo>
                    <a:pt x="936" y="492"/>
                  </a:lnTo>
                  <a:lnTo>
                    <a:pt x="948" y="492"/>
                  </a:lnTo>
                  <a:lnTo>
                    <a:pt x="954" y="528"/>
                  </a:lnTo>
                  <a:lnTo>
                    <a:pt x="954" y="564"/>
                  </a:lnTo>
                  <a:lnTo>
                    <a:pt x="972" y="564"/>
                  </a:lnTo>
                  <a:lnTo>
                    <a:pt x="978" y="558"/>
                  </a:lnTo>
                  <a:lnTo>
                    <a:pt x="990" y="552"/>
                  </a:lnTo>
                  <a:lnTo>
                    <a:pt x="1002" y="540"/>
                  </a:lnTo>
                  <a:lnTo>
                    <a:pt x="1026" y="534"/>
                  </a:lnTo>
                  <a:lnTo>
                    <a:pt x="1032" y="540"/>
                  </a:lnTo>
                  <a:lnTo>
                    <a:pt x="1044" y="546"/>
                  </a:lnTo>
                  <a:lnTo>
                    <a:pt x="1062" y="552"/>
                  </a:lnTo>
                  <a:lnTo>
                    <a:pt x="1068" y="552"/>
                  </a:lnTo>
                  <a:lnTo>
                    <a:pt x="1068" y="570"/>
                  </a:lnTo>
                  <a:lnTo>
                    <a:pt x="1068" y="576"/>
                  </a:lnTo>
                  <a:lnTo>
                    <a:pt x="1068" y="582"/>
                  </a:lnTo>
                  <a:lnTo>
                    <a:pt x="1068" y="588"/>
                  </a:lnTo>
                  <a:lnTo>
                    <a:pt x="1068" y="594"/>
                  </a:lnTo>
                  <a:lnTo>
                    <a:pt x="1080" y="600"/>
                  </a:lnTo>
                  <a:lnTo>
                    <a:pt x="1086" y="606"/>
                  </a:lnTo>
                  <a:lnTo>
                    <a:pt x="1092" y="594"/>
                  </a:lnTo>
                  <a:lnTo>
                    <a:pt x="1104" y="588"/>
                  </a:lnTo>
                  <a:lnTo>
                    <a:pt x="1116" y="588"/>
                  </a:lnTo>
                  <a:lnTo>
                    <a:pt x="1122" y="588"/>
                  </a:lnTo>
                  <a:lnTo>
                    <a:pt x="1122" y="594"/>
                  </a:lnTo>
                  <a:lnTo>
                    <a:pt x="1128" y="594"/>
                  </a:lnTo>
                  <a:lnTo>
                    <a:pt x="1134" y="594"/>
                  </a:lnTo>
                  <a:lnTo>
                    <a:pt x="1140" y="594"/>
                  </a:lnTo>
                  <a:lnTo>
                    <a:pt x="1146" y="588"/>
                  </a:lnTo>
                  <a:lnTo>
                    <a:pt x="1158" y="582"/>
                  </a:lnTo>
                  <a:lnTo>
                    <a:pt x="1164" y="576"/>
                  </a:lnTo>
                  <a:lnTo>
                    <a:pt x="1176" y="576"/>
                  </a:lnTo>
                  <a:lnTo>
                    <a:pt x="1194" y="576"/>
                  </a:lnTo>
                  <a:lnTo>
                    <a:pt x="1218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24" y="594"/>
                  </a:lnTo>
                  <a:lnTo>
                    <a:pt x="1212" y="600"/>
                  </a:lnTo>
                  <a:lnTo>
                    <a:pt x="1206" y="606"/>
                  </a:lnTo>
                  <a:lnTo>
                    <a:pt x="1200" y="606"/>
                  </a:lnTo>
                  <a:lnTo>
                    <a:pt x="1200" y="612"/>
                  </a:lnTo>
                  <a:lnTo>
                    <a:pt x="1194" y="612"/>
                  </a:lnTo>
                  <a:lnTo>
                    <a:pt x="1194" y="618"/>
                  </a:lnTo>
                  <a:lnTo>
                    <a:pt x="1194" y="624"/>
                  </a:lnTo>
                  <a:lnTo>
                    <a:pt x="1194" y="630"/>
                  </a:lnTo>
                  <a:lnTo>
                    <a:pt x="1194" y="648"/>
                  </a:lnTo>
                  <a:lnTo>
                    <a:pt x="1194" y="660"/>
                  </a:lnTo>
                  <a:lnTo>
                    <a:pt x="1194" y="666"/>
                  </a:lnTo>
                  <a:lnTo>
                    <a:pt x="1194" y="672"/>
                  </a:lnTo>
                  <a:lnTo>
                    <a:pt x="1194" y="678"/>
                  </a:lnTo>
                  <a:lnTo>
                    <a:pt x="1188" y="684"/>
                  </a:lnTo>
                  <a:lnTo>
                    <a:pt x="1188" y="690"/>
                  </a:lnTo>
                  <a:lnTo>
                    <a:pt x="1188" y="696"/>
                  </a:lnTo>
                  <a:lnTo>
                    <a:pt x="1188" y="702"/>
                  </a:lnTo>
                  <a:lnTo>
                    <a:pt x="1188" y="708"/>
                  </a:lnTo>
                  <a:lnTo>
                    <a:pt x="1188" y="714"/>
                  </a:lnTo>
                  <a:lnTo>
                    <a:pt x="1182" y="720"/>
                  </a:lnTo>
                  <a:lnTo>
                    <a:pt x="1170" y="720"/>
                  </a:lnTo>
                  <a:lnTo>
                    <a:pt x="1158" y="726"/>
                  </a:lnTo>
                  <a:lnTo>
                    <a:pt x="1152" y="726"/>
                  </a:lnTo>
                  <a:lnTo>
                    <a:pt x="1152" y="732"/>
                  </a:lnTo>
                  <a:lnTo>
                    <a:pt x="1146" y="738"/>
                  </a:lnTo>
                  <a:lnTo>
                    <a:pt x="1140" y="738"/>
                  </a:lnTo>
                  <a:lnTo>
                    <a:pt x="1140" y="744"/>
                  </a:lnTo>
                  <a:lnTo>
                    <a:pt x="1134" y="744"/>
                  </a:lnTo>
                  <a:lnTo>
                    <a:pt x="1128" y="744"/>
                  </a:lnTo>
                  <a:lnTo>
                    <a:pt x="1122" y="750"/>
                  </a:lnTo>
                  <a:lnTo>
                    <a:pt x="1128" y="750"/>
                  </a:lnTo>
                  <a:lnTo>
                    <a:pt x="1122" y="756"/>
                  </a:lnTo>
                  <a:lnTo>
                    <a:pt x="1116" y="756"/>
                  </a:lnTo>
                  <a:lnTo>
                    <a:pt x="1110" y="762"/>
                  </a:lnTo>
                  <a:lnTo>
                    <a:pt x="1104" y="762"/>
                  </a:lnTo>
                  <a:lnTo>
                    <a:pt x="1104" y="768"/>
                  </a:lnTo>
                  <a:lnTo>
                    <a:pt x="1098" y="768"/>
                  </a:lnTo>
                  <a:lnTo>
                    <a:pt x="1098" y="774"/>
                  </a:lnTo>
                  <a:lnTo>
                    <a:pt x="1092" y="774"/>
                  </a:lnTo>
                  <a:lnTo>
                    <a:pt x="1092" y="780"/>
                  </a:lnTo>
                  <a:lnTo>
                    <a:pt x="1086" y="780"/>
                  </a:lnTo>
                  <a:lnTo>
                    <a:pt x="1086" y="786"/>
                  </a:lnTo>
                  <a:lnTo>
                    <a:pt x="1080" y="786"/>
                  </a:lnTo>
                  <a:lnTo>
                    <a:pt x="1080" y="792"/>
                  </a:lnTo>
                  <a:lnTo>
                    <a:pt x="1080" y="798"/>
                  </a:lnTo>
                  <a:lnTo>
                    <a:pt x="1080" y="804"/>
                  </a:lnTo>
                  <a:lnTo>
                    <a:pt x="1086" y="810"/>
                  </a:lnTo>
                  <a:lnTo>
                    <a:pt x="1080" y="816"/>
                  </a:lnTo>
                  <a:lnTo>
                    <a:pt x="1080" y="822"/>
                  </a:lnTo>
                  <a:lnTo>
                    <a:pt x="1074" y="822"/>
                  </a:lnTo>
                  <a:lnTo>
                    <a:pt x="1068" y="828"/>
                  </a:lnTo>
                  <a:lnTo>
                    <a:pt x="1074" y="828"/>
                  </a:lnTo>
                  <a:lnTo>
                    <a:pt x="1074" y="834"/>
                  </a:lnTo>
                  <a:lnTo>
                    <a:pt x="1080" y="846"/>
                  </a:lnTo>
                  <a:lnTo>
                    <a:pt x="1086" y="846"/>
                  </a:lnTo>
                  <a:lnTo>
                    <a:pt x="1092" y="852"/>
                  </a:lnTo>
                  <a:lnTo>
                    <a:pt x="1092" y="858"/>
                  </a:lnTo>
                  <a:lnTo>
                    <a:pt x="1098" y="858"/>
                  </a:lnTo>
                  <a:lnTo>
                    <a:pt x="1110" y="864"/>
                  </a:lnTo>
                  <a:lnTo>
                    <a:pt x="1116" y="864"/>
                  </a:lnTo>
                  <a:lnTo>
                    <a:pt x="1122" y="864"/>
                  </a:lnTo>
                  <a:lnTo>
                    <a:pt x="1128" y="864"/>
                  </a:lnTo>
                  <a:lnTo>
                    <a:pt x="1134" y="876"/>
                  </a:lnTo>
                  <a:lnTo>
                    <a:pt x="1140" y="882"/>
                  </a:lnTo>
                  <a:lnTo>
                    <a:pt x="1140" y="888"/>
                  </a:lnTo>
                  <a:lnTo>
                    <a:pt x="1152" y="918"/>
                  </a:lnTo>
                  <a:lnTo>
                    <a:pt x="1158" y="894"/>
                  </a:lnTo>
                  <a:lnTo>
                    <a:pt x="1164" y="888"/>
                  </a:lnTo>
                  <a:lnTo>
                    <a:pt x="1164" y="882"/>
                  </a:lnTo>
                  <a:lnTo>
                    <a:pt x="1176" y="864"/>
                  </a:lnTo>
                  <a:lnTo>
                    <a:pt x="1182" y="858"/>
                  </a:lnTo>
                  <a:lnTo>
                    <a:pt x="1188" y="846"/>
                  </a:lnTo>
                  <a:lnTo>
                    <a:pt x="1200" y="840"/>
                  </a:lnTo>
                  <a:lnTo>
                    <a:pt x="1212" y="840"/>
                  </a:lnTo>
                  <a:lnTo>
                    <a:pt x="1218" y="846"/>
                  </a:lnTo>
                  <a:lnTo>
                    <a:pt x="1224" y="858"/>
                  </a:lnTo>
                  <a:lnTo>
                    <a:pt x="1224" y="864"/>
                  </a:lnTo>
                  <a:lnTo>
                    <a:pt x="1224" y="876"/>
                  </a:lnTo>
                  <a:lnTo>
                    <a:pt x="1212" y="912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00" y="930"/>
                  </a:lnTo>
                  <a:lnTo>
                    <a:pt x="1200" y="942"/>
                  </a:lnTo>
                  <a:lnTo>
                    <a:pt x="1194" y="948"/>
                  </a:lnTo>
                  <a:lnTo>
                    <a:pt x="1194" y="960"/>
                  </a:lnTo>
                  <a:lnTo>
                    <a:pt x="1194" y="966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70" y="984"/>
                  </a:lnTo>
                  <a:lnTo>
                    <a:pt x="1164" y="984"/>
                  </a:lnTo>
                  <a:lnTo>
                    <a:pt x="1158" y="984"/>
                  </a:lnTo>
                  <a:lnTo>
                    <a:pt x="1146" y="984"/>
                  </a:lnTo>
                  <a:lnTo>
                    <a:pt x="1140" y="990"/>
                  </a:lnTo>
                  <a:lnTo>
                    <a:pt x="1140" y="996"/>
                  </a:lnTo>
                  <a:lnTo>
                    <a:pt x="1152" y="996"/>
                  </a:lnTo>
                  <a:lnTo>
                    <a:pt x="1176" y="1002"/>
                  </a:lnTo>
                  <a:lnTo>
                    <a:pt x="1194" y="1008"/>
                  </a:lnTo>
                  <a:lnTo>
                    <a:pt x="1206" y="1008"/>
                  </a:lnTo>
                  <a:lnTo>
                    <a:pt x="1218" y="1014"/>
                  </a:lnTo>
                  <a:lnTo>
                    <a:pt x="1212" y="1038"/>
                  </a:lnTo>
                  <a:lnTo>
                    <a:pt x="1212" y="1044"/>
                  </a:lnTo>
                  <a:lnTo>
                    <a:pt x="1206" y="1044"/>
                  </a:lnTo>
                  <a:lnTo>
                    <a:pt x="1206" y="1050"/>
                  </a:lnTo>
                  <a:lnTo>
                    <a:pt x="1194" y="1050"/>
                  </a:lnTo>
                  <a:lnTo>
                    <a:pt x="1188" y="1044"/>
                  </a:lnTo>
                  <a:lnTo>
                    <a:pt x="1158" y="1020"/>
                  </a:lnTo>
                  <a:lnTo>
                    <a:pt x="1152" y="1020"/>
                  </a:lnTo>
                  <a:lnTo>
                    <a:pt x="1140" y="1020"/>
                  </a:lnTo>
                  <a:lnTo>
                    <a:pt x="1134" y="1020"/>
                  </a:lnTo>
                  <a:lnTo>
                    <a:pt x="1134" y="1026"/>
                  </a:lnTo>
                  <a:lnTo>
                    <a:pt x="1134" y="1032"/>
                  </a:lnTo>
                  <a:lnTo>
                    <a:pt x="1128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2" name="Freeform 27">
              <a:extLst>
                <a:ext uri="{FF2B5EF4-FFF2-40B4-BE49-F238E27FC236}">
                  <a16:creationId xmlns:a16="http://schemas.microsoft.com/office/drawing/2014/main" id="{CE95C9DF-B651-4085-946F-65424BC51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2063" y="3421400"/>
              <a:ext cx="342138" cy="377969"/>
            </a:xfrm>
            <a:custGeom>
              <a:avLst/>
              <a:gdLst>
                <a:gd name="T0" fmla="*/ 43 w 642"/>
                <a:gd name="T1" fmla="*/ 41 h 708"/>
                <a:gd name="T2" fmla="*/ 39 w 642"/>
                <a:gd name="T3" fmla="*/ 41 h 708"/>
                <a:gd name="T4" fmla="*/ 38 w 642"/>
                <a:gd name="T5" fmla="*/ 47 h 708"/>
                <a:gd name="T6" fmla="*/ 38 w 642"/>
                <a:gd name="T7" fmla="*/ 49 h 708"/>
                <a:gd name="T8" fmla="*/ 38 w 642"/>
                <a:gd name="T9" fmla="*/ 50 h 708"/>
                <a:gd name="T10" fmla="*/ 36 w 642"/>
                <a:gd name="T11" fmla="*/ 52 h 708"/>
                <a:gd name="T12" fmla="*/ 35 w 642"/>
                <a:gd name="T13" fmla="*/ 53 h 708"/>
                <a:gd name="T14" fmla="*/ 33 w 642"/>
                <a:gd name="T15" fmla="*/ 55 h 708"/>
                <a:gd name="T16" fmla="*/ 32 w 642"/>
                <a:gd name="T17" fmla="*/ 56 h 708"/>
                <a:gd name="T18" fmla="*/ 31 w 642"/>
                <a:gd name="T19" fmla="*/ 59 h 708"/>
                <a:gd name="T20" fmla="*/ 26 w 642"/>
                <a:gd name="T21" fmla="*/ 59 h 708"/>
                <a:gd name="T22" fmla="*/ 23 w 642"/>
                <a:gd name="T23" fmla="*/ 61 h 708"/>
                <a:gd name="T24" fmla="*/ 20 w 642"/>
                <a:gd name="T25" fmla="*/ 61 h 708"/>
                <a:gd name="T26" fmla="*/ 17 w 642"/>
                <a:gd name="T27" fmla="*/ 59 h 708"/>
                <a:gd name="T28" fmla="*/ 15 w 642"/>
                <a:gd name="T29" fmla="*/ 56 h 708"/>
                <a:gd name="T30" fmla="*/ 9 w 642"/>
                <a:gd name="T31" fmla="*/ 58 h 708"/>
                <a:gd name="T32" fmla="*/ 6 w 642"/>
                <a:gd name="T33" fmla="*/ 52 h 708"/>
                <a:gd name="T34" fmla="*/ 2 w 642"/>
                <a:gd name="T35" fmla="*/ 53 h 708"/>
                <a:gd name="T36" fmla="*/ 1 w 642"/>
                <a:gd name="T37" fmla="*/ 51 h 708"/>
                <a:gd name="T38" fmla="*/ 4 w 642"/>
                <a:gd name="T39" fmla="*/ 47 h 708"/>
                <a:gd name="T40" fmla="*/ 5 w 642"/>
                <a:gd name="T41" fmla="*/ 41 h 708"/>
                <a:gd name="T42" fmla="*/ 5 w 642"/>
                <a:gd name="T43" fmla="*/ 38 h 708"/>
                <a:gd name="T44" fmla="*/ 5 w 642"/>
                <a:gd name="T45" fmla="*/ 35 h 708"/>
                <a:gd name="T46" fmla="*/ 6 w 642"/>
                <a:gd name="T47" fmla="*/ 33 h 708"/>
                <a:gd name="T48" fmla="*/ 5 w 642"/>
                <a:gd name="T49" fmla="*/ 29 h 708"/>
                <a:gd name="T50" fmla="*/ 4 w 642"/>
                <a:gd name="T51" fmla="*/ 28 h 708"/>
                <a:gd name="T52" fmla="*/ 1 w 642"/>
                <a:gd name="T53" fmla="*/ 26 h 708"/>
                <a:gd name="T54" fmla="*/ 1 w 642"/>
                <a:gd name="T55" fmla="*/ 24 h 708"/>
                <a:gd name="T56" fmla="*/ 1 w 642"/>
                <a:gd name="T57" fmla="*/ 20 h 708"/>
                <a:gd name="T58" fmla="*/ 1 w 642"/>
                <a:gd name="T59" fmla="*/ 16 h 708"/>
                <a:gd name="T60" fmla="*/ 2 w 642"/>
                <a:gd name="T61" fmla="*/ 14 h 708"/>
                <a:gd name="T62" fmla="*/ 8 w 642"/>
                <a:gd name="T63" fmla="*/ 14 h 708"/>
                <a:gd name="T64" fmla="*/ 9 w 642"/>
                <a:gd name="T65" fmla="*/ 10 h 708"/>
                <a:gd name="T66" fmla="*/ 15 w 642"/>
                <a:gd name="T67" fmla="*/ 9 h 708"/>
                <a:gd name="T68" fmla="*/ 18 w 642"/>
                <a:gd name="T69" fmla="*/ 14 h 708"/>
                <a:gd name="T70" fmla="*/ 20 w 642"/>
                <a:gd name="T71" fmla="*/ 12 h 708"/>
                <a:gd name="T72" fmla="*/ 20 w 642"/>
                <a:gd name="T73" fmla="*/ 11 h 708"/>
                <a:gd name="T74" fmla="*/ 21 w 642"/>
                <a:gd name="T75" fmla="*/ 9 h 708"/>
                <a:gd name="T76" fmla="*/ 24 w 642"/>
                <a:gd name="T77" fmla="*/ 9 h 708"/>
                <a:gd name="T78" fmla="*/ 27 w 642"/>
                <a:gd name="T79" fmla="*/ 8 h 708"/>
                <a:gd name="T80" fmla="*/ 33 w 642"/>
                <a:gd name="T81" fmla="*/ 2 h 708"/>
                <a:gd name="T82" fmla="*/ 42 w 642"/>
                <a:gd name="T83" fmla="*/ 2 h 708"/>
                <a:gd name="T84" fmla="*/ 49 w 642"/>
                <a:gd name="T85" fmla="*/ 1 h 708"/>
                <a:gd name="T86" fmla="*/ 53 w 642"/>
                <a:gd name="T87" fmla="*/ 4 h 708"/>
                <a:gd name="T88" fmla="*/ 55 w 642"/>
                <a:gd name="T89" fmla="*/ 4 h 708"/>
                <a:gd name="T90" fmla="*/ 55 w 642"/>
                <a:gd name="T91" fmla="*/ 7 h 708"/>
                <a:gd name="T92" fmla="*/ 52 w 642"/>
                <a:gd name="T93" fmla="*/ 9 h 708"/>
                <a:gd name="T94" fmla="*/ 49 w 642"/>
                <a:gd name="T95" fmla="*/ 12 h 708"/>
                <a:gd name="T96" fmla="*/ 47 w 642"/>
                <a:gd name="T97" fmla="*/ 14 h 708"/>
                <a:gd name="T98" fmla="*/ 47 w 642"/>
                <a:gd name="T99" fmla="*/ 17 h 708"/>
                <a:gd name="T100" fmla="*/ 45 w 642"/>
                <a:gd name="T101" fmla="*/ 26 h 708"/>
                <a:gd name="T102" fmla="*/ 50 w 642"/>
                <a:gd name="T103" fmla="*/ 37 h 70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42"/>
                <a:gd name="T157" fmla="*/ 0 h 708"/>
                <a:gd name="T158" fmla="*/ 642 w 642"/>
                <a:gd name="T159" fmla="*/ 708 h 70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42" h="708">
                  <a:moveTo>
                    <a:pt x="576" y="468"/>
                  </a:moveTo>
                  <a:lnTo>
                    <a:pt x="564" y="468"/>
                  </a:lnTo>
                  <a:lnTo>
                    <a:pt x="516" y="468"/>
                  </a:lnTo>
                  <a:lnTo>
                    <a:pt x="498" y="474"/>
                  </a:lnTo>
                  <a:lnTo>
                    <a:pt x="492" y="468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68" y="474"/>
                  </a:lnTo>
                  <a:lnTo>
                    <a:pt x="456" y="468"/>
                  </a:lnTo>
                  <a:lnTo>
                    <a:pt x="444" y="474"/>
                  </a:lnTo>
                  <a:lnTo>
                    <a:pt x="438" y="492"/>
                  </a:lnTo>
                  <a:lnTo>
                    <a:pt x="438" y="504"/>
                  </a:lnTo>
                  <a:lnTo>
                    <a:pt x="432" y="516"/>
                  </a:lnTo>
                  <a:lnTo>
                    <a:pt x="432" y="528"/>
                  </a:lnTo>
                  <a:lnTo>
                    <a:pt x="432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52"/>
                  </a:lnTo>
                  <a:lnTo>
                    <a:pt x="432" y="558"/>
                  </a:lnTo>
                  <a:lnTo>
                    <a:pt x="438" y="564"/>
                  </a:lnTo>
                  <a:lnTo>
                    <a:pt x="444" y="564"/>
                  </a:lnTo>
                  <a:lnTo>
                    <a:pt x="438" y="564"/>
                  </a:lnTo>
                  <a:lnTo>
                    <a:pt x="438" y="570"/>
                  </a:lnTo>
                  <a:lnTo>
                    <a:pt x="432" y="570"/>
                  </a:lnTo>
                  <a:lnTo>
                    <a:pt x="432" y="576"/>
                  </a:lnTo>
                  <a:lnTo>
                    <a:pt x="426" y="588"/>
                  </a:lnTo>
                  <a:lnTo>
                    <a:pt x="420" y="594"/>
                  </a:lnTo>
                  <a:lnTo>
                    <a:pt x="420" y="600"/>
                  </a:lnTo>
                  <a:lnTo>
                    <a:pt x="414" y="600"/>
                  </a:lnTo>
                  <a:lnTo>
                    <a:pt x="414" y="606"/>
                  </a:lnTo>
                  <a:lnTo>
                    <a:pt x="408" y="606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396" y="612"/>
                  </a:lnTo>
                  <a:lnTo>
                    <a:pt x="390" y="612"/>
                  </a:lnTo>
                  <a:lnTo>
                    <a:pt x="390" y="618"/>
                  </a:lnTo>
                  <a:lnTo>
                    <a:pt x="384" y="618"/>
                  </a:lnTo>
                  <a:lnTo>
                    <a:pt x="378" y="618"/>
                  </a:lnTo>
                  <a:lnTo>
                    <a:pt x="378" y="624"/>
                  </a:lnTo>
                  <a:lnTo>
                    <a:pt x="384" y="630"/>
                  </a:lnTo>
                  <a:lnTo>
                    <a:pt x="384" y="636"/>
                  </a:lnTo>
                  <a:lnTo>
                    <a:pt x="378" y="630"/>
                  </a:lnTo>
                  <a:lnTo>
                    <a:pt x="372" y="636"/>
                  </a:lnTo>
                  <a:lnTo>
                    <a:pt x="372" y="642"/>
                  </a:lnTo>
                  <a:lnTo>
                    <a:pt x="366" y="642"/>
                  </a:lnTo>
                  <a:lnTo>
                    <a:pt x="360" y="654"/>
                  </a:lnTo>
                  <a:lnTo>
                    <a:pt x="354" y="666"/>
                  </a:lnTo>
                  <a:lnTo>
                    <a:pt x="354" y="672"/>
                  </a:lnTo>
                  <a:lnTo>
                    <a:pt x="354" y="678"/>
                  </a:lnTo>
                  <a:lnTo>
                    <a:pt x="354" y="684"/>
                  </a:lnTo>
                  <a:lnTo>
                    <a:pt x="348" y="678"/>
                  </a:lnTo>
                  <a:lnTo>
                    <a:pt x="324" y="678"/>
                  </a:lnTo>
                  <a:lnTo>
                    <a:pt x="306" y="678"/>
                  </a:lnTo>
                  <a:lnTo>
                    <a:pt x="294" y="678"/>
                  </a:lnTo>
                  <a:lnTo>
                    <a:pt x="288" y="684"/>
                  </a:lnTo>
                  <a:lnTo>
                    <a:pt x="276" y="690"/>
                  </a:lnTo>
                  <a:lnTo>
                    <a:pt x="270" y="696"/>
                  </a:lnTo>
                  <a:lnTo>
                    <a:pt x="264" y="696"/>
                  </a:lnTo>
                  <a:lnTo>
                    <a:pt x="258" y="696"/>
                  </a:lnTo>
                  <a:lnTo>
                    <a:pt x="252" y="696"/>
                  </a:lnTo>
                  <a:lnTo>
                    <a:pt x="252" y="690"/>
                  </a:lnTo>
                  <a:lnTo>
                    <a:pt x="246" y="690"/>
                  </a:lnTo>
                  <a:lnTo>
                    <a:pt x="234" y="690"/>
                  </a:lnTo>
                  <a:lnTo>
                    <a:pt x="222" y="696"/>
                  </a:lnTo>
                  <a:lnTo>
                    <a:pt x="216" y="708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8" y="690"/>
                  </a:lnTo>
                  <a:lnTo>
                    <a:pt x="198" y="684"/>
                  </a:lnTo>
                  <a:lnTo>
                    <a:pt x="198" y="678"/>
                  </a:lnTo>
                  <a:lnTo>
                    <a:pt x="198" y="672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74" y="648"/>
                  </a:lnTo>
                  <a:lnTo>
                    <a:pt x="162" y="642"/>
                  </a:lnTo>
                  <a:lnTo>
                    <a:pt x="156" y="636"/>
                  </a:lnTo>
                  <a:lnTo>
                    <a:pt x="132" y="642"/>
                  </a:lnTo>
                  <a:lnTo>
                    <a:pt x="120" y="654"/>
                  </a:lnTo>
                  <a:lnTo>
                    <a:pt x="108" y="660"/>
                  </a:lnTo>
                  <a:lnTo>
                    <a:pt x="102" y="666"/>
                  </a:lnTo>
                  <a:lnTo>
                    <a:pt x="84" y="666"/>
                  </a:lnTo>
                  <a:lnTo>
                    <a:pt x="84" y="630"/>
                  </a:lnTo>
                  <a:lnTo>
                    <a:pt x="78" y="594"/>
                  </a:lnTo>
                  <a:lnTo>
                    <a:pt x="66" y="594"/>
                  </a:lnTo>
                  <a:lnTo>
                    <a:pt x="60" y="594"/>
                  </a:lnTo>
                  <a:lnTo>
                    <a:pt x="48" y="600"/>
                  </a:lnTo>
                  <a:lnTo>
                    <a:pt x="36" y="606"/>
                  </a:lnTo>
                  <a:lnTo>
                    <a:pt x="24" y="612"/>
                  </a:lnTo>
                  <a:lnTo>
                    <a:pt x="18" y="612"/>
                  </a:lnTo>
                  <a:lnTo>
                    <a:pt x="12" y="606"/>
                  </a:lnTo>
                  <a:lnTo>
                    <a:pt x="12" y="600"/>
                  </a:lnTo>
                  <a:lnTo>
                    <a:pt x="12" y="594"/>
                  </a:lnTo>
                  <a:lnTo>
                    <a:pt x="12" y="588"/>
                  </a:lnTo>
                  <a:lnTo>
                    <a:pt x="12" y="582"/>
                  </a:lnTo>
                  <a:lnTo>
                    <a:pt x="12" y="576"/>
                  </a:lnTo>
                  <a:lnTo>
                    <a:pt x="18" y="552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42" y="534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48" y="492"/>
                  </a:lnTo>
                  <a:lnTo>
                    <a:pt x="48" y="480"/>
                  </a:lnTo>
                  <a:lnTo>
                    <a:pt x="54" y="468"/>
                  </a:lnTo>
                  <a:lnTo>
                    <a:pt x="48" y="456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66" y="390"/>
                  </a:lnTo>
                  <a:lnTo>
                    <a:pt x="72" y="384"/>
                  </a:lnTo>
                  <a:lnTo>
                    <a:pt x="72" y="378"/>
                  </a:lnTo>
                  <a:lnTo>
                    <a:pt x="66" y="378"/>
                  </a:lnTo>
                  <a:lnTo>
                    <a:pt x="66" y="366"/>
                  </a:lnTo>
                  <a:lnTo>
                    <a:pt x="60" y="360"/>
                  </a:lnTo>
                  <a:lnTo>
                    <a:pt x="66" y="354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48" y="312"/>
                  </a:lnTo>
                  <a:lnTo>
                    <a:pt x="30" y="312"/>
                  </a:lnTo>
                  <a:lnTo>
                    <a:pt x="24" y="306"/>
                  </a:lnTo>
                  <a:lnTo>
                    <a:pt x="18" y="306"/>
                  </a:lnTo>
                  <a:lnTo>
                    <a:pt x="12" y="294"/>
                  </a:lnTo>
                  <a:lnTo>
                    <a:pt x="12" y="282"/>
                  </a:lnTo>
                  <a:lnTo>
                    <a:pt x="6" y="276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12" y="270"/>
                  </a:lnTo>
                  <a:lnTo>
                    <a:pt x="12" y="246"/>
                  </a:lnTo>
                  <a:lnTo>
                    <a:pt x="12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8" y="174"/>
                  </a:lnTo>
                  <a:lnTo>
                    <a:pt x="12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48" y="162"/>
                  </a:lnTo>
                  <a:lnTo>
                    <a:pt x="72" y="162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84" y="132"/>
                  </a:lnTo>
                  <a:lnTo>
                    <a:pt x="90" y="120"/>
                  </a:lnTo>
                  <a:lnTo>
                    <a:pt x="108" y="114"/>
                  </a:lnTo>
                  <a:lnTo>
                    <a:pt x="114" y="102"/>
                  </a:lnTo>
                  <a:lnTo>
                    <a:pt x="120" y="90"/>
                  </a:lnTo>
                  <a:lnTo>
                    <a:pt x="138" y="90"/>
                  </a:lnTo>
                  <a:lnTo>
                    <a:pt x="138" y="102"/>
                  </a:lnTo>
                  <a:lnTo>
                    <a:pt x="168" y="108"/>
                  </a:lnTo>
                  <a:lnTo>
                    <a:pt x="168" y="114"/>
                  </a:lnTo>
                  <a:lnTo>
                    <a:pt x="174" y="126"/>
                  </a:lnTo>
                  <a:lnTo>
                    <a:pt x="186" y="150"/>
                  </a:lnTo>
                  <a:lnTo>
                    <a:pt x="186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34" y="144"/>
                  </a:lnTo>
                  <a:lnTo>
                    <a:pt x="240" y="138"/>
                  </a:lnTo>
                  <a:lnTo>
                    <a:pt x="240" y="126"/>
                  </a:lnTo>
                  <a:lnTo>
                    <a:pt x="234" y="126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34" y="102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82" y="102"/>
                  </a:lnTo>
                  <a:lnTo>
                    <a:pt x="288" y="102"/>
                  </a:lnTo>
                  <a:lnTo>
                    <a:pt x="294" y="102"/>
                  </a:lnTo>
                  <a:lnTo>
                    <a:pt x="300" y="96"/>
                  </a:lnTo>
                  <a:lnTo>
                    <a:pt x="306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84"/>
                  </a:lnTo>
                  <a:lnTo>
                    <a:pt x="324" y="18"/>
                  </a:lnTo>
                  <a:lnTo>
                    <a:pt x="360" y="18"/>
                  </a:lnTo>
                  <a:lnTo>
                    <a:pt x="378" y="18"/>
                  </a:lnTo>
                  <a:lnTo>
                    <a:pt x="378" y="30"/>
                  </a:lnTo>
                  <a:lnTo>
                    <a:pt x="390" y="30"/>
                  </a:lnTo>
                  <a:lnTo>
                    <a:pt x="432" y="30"/>
                  </a:lnTo>
                  <a:lnTo>
                    <a:pt x="456" y="24"/>
                  </a:lnTo>
                  <a:lnTo>
                    <a:pt x="480" y="24"/>
                  </a:lnTo>
                  <a:lnTo>
                    <a:pt x="498" y="30"/>
                  </a:lnTo>
                  <a:lnTo>
                    <a:pt x="522" y="18"/>
                  </a:lnTo>
                  <a:lnTo>
                    <a:pt x="528" y="0"/>
                  </a:lnTo>
                  <a:lnTo>
                    <a:pt x="558" y="6"/>
                  </a:lnTo>
                  <a:lnTo>
                    <a:pt x="558" y="12"/>
                  </a:lnTo>
                  <a:lnTo>
                    <a:pt x="570" y="18"/>
                  </a:lnTo>
                  <a:lnTo>
                    <a:pt x="576" y="24"/>
                  </a:lnTo>
                  <a:lnTo>
                    <a:pt x="588" y="36"/>
                  </a:lnTo>
                  <a:lnTo>
                    <a:pt x="594" y="48"/>
                  </a:lnTo>
                  <a:lnTo>
                    <a:pt x="606" y="48"/>
                  </a:lnTo>
                  <a:lnTo>
                    <a:pt x="606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42"/>
                  </a:lnTo>
                  <a:lnTo>
                    <a:pt x="636" y="42"/>
                  </a:lnTo>
                  <a:lnTo>
                    <a:pt x="636" y="48"/>
                  </a:lnTo>
                  <a:lnTo>
                    <a:pt x="642" y="54"/>
                  </a:lnTo>
                  <a:lnTo>
                    <a:pt x="636" y="60"/>
                  </a:lnTo>
                  <a:lnTo>
                    <a:pt x="636" y="66"/>
                  </a:lnTo>
                  <a:lnTo>
                    <a:pt x="636" y="78"/>
                  </a:lnTo>
                  <a:lnTo>
                    <a:pt x="624" y="84"/>
                  </a:lnTo>
                  <a:lnTo>
                    <a:pt x="618" y="90"/>
                  </a:lnTo>
                  <a:lnTo>
                    <a:pt x="612" y="90"/>
                  </a:lnTo>
                  <a:lnTo>
                    <a:pt x="600" y="102"/>
                  </a:lnTo>
                  <a:lnTo>
                    <a:pt x="594" y="108"/>
                  </a:lnTo>
                  <a:lnTo>
                    <a:pt x="582" y="114"/>
                  </a:lnTo>
                  <a:lnTo>
                    <a:pt x="570" y="132"/>
                  </a:lnTo>
                  <a:lnTo>
                    <a:pt x="564" y="132"/>
                  </a:lnTo>
                  <a:lnTo>
                    <a:pt x="564" y="138"/>
                  </a:lnTo>
                  <a:lnTo>
                    <a:pt x="558" y="144"/>
                  </a:lnTo>
                  <a:lnTo>
                    <a:pt x="558" y="150"/>
                  </a:lnTo>
                  <a:lnTo>
                    <a:pt x="552" y="150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0" y="162"/>
                  </a:lnTo>
                  <a:lnTo>
                    <a:pt x="534" y="168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6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28" y="234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16" y="294"/>
                  </a:lnTo>
                  <a:lnTo>
                    <a:pt x="516" y="312"/>
                  </a:lnTo>
                  <a:lnTo>
                    <a:pt x="528" y="318"/>
                  </a:lnTo>
                  <a:lnTo>
                    <a:pt x="540" y="360"/>
                  </a:lnTo>
                  <a:lnTo>
                    <a:pt x="558" y="408"/>
                  </a:lnTo>
                  <a:lnTo>
                    <a:pt x="570" y="426"/>
                  </a:lnTo>
                  <a:lnTo>
                    <a:pt x="576" y="432"/>
                  </a:lnTo>
                  <a:lnTo>
                    <a:pt x="576" y="438"/>
                  </a:lnTo>
                  <a:lnTo>
                    <a:pt x="576" y="444"/>
                  </a:lnTo>
                  <a:lnTo>
                    <a:pt x="576" y="46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3" name="Freeform 28">
              <a:extLst>
                <a:ext uri="{FF2B5EF4-FFF2-40B4-BE49-F238E27FC236}">
                  <a16:creationId xmlns:a16="http://schemas.microsoft.com/office/drawing/2014/main" id="{CF9B4F31-BF73-448E-83AA-188F6CF1BDC5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4879" y="3432583"/>
              <a:ext cx="324248" cy="270616"/>
            </a:xfrm>
            <a:custGeom>
              <a:avLst/>
              <a:gdLst>
                <a:gd name="T0" fmla="*/ 5 w 606"/>
                <a:gd name="T1" fmla="*/ 36 h 510"/>
                <a:gd name="T2" fmla="*/ 4 w 606"/>
                <a:gd name="T3" fmla="*/ 34 h 510"/>
                <a:gd name="T4" fmla="*/ 0 w 606"/>
                <a:gd name="T5" fmla="*/ 25 h 510"/>
                <a:gd name="T6" fmla="*/ 1 w 606"/>
                <a:gd name="T7" fmla="*/ 20 h 510"/>
                <a:gd name="T8" fmla="*/ 2 w 606"/>
                <a:gd name="T9" fmla="*/ 15 h 510"/>
                <a:gd name="T10" fmla="*/ 2 w 606"/>
                <a:gd name="T11" fmla="*/ 13 h 510"/>
                <a:gd name="T12" fmla="*/ 3 w 606"/>
                <a:gd name="T13" fmla="*/ 12 h 510"/>
                <a:gd name="T14" fmla="*/ 4 w 606"/>
                <a:gd name="T15" fmla="*/ 11 h 510"/>
                <a:gd name="T16" fmla="*/ 4 w 606"/>
                <a:gd name="T17" fmla="*/ 10 h 510"/>
                <a:gd name="T18" fmla="*/ 7 w 606"/>
                <a:gd name="T19" fmla="*/ 8 h 510"/>
                <a:gd name="T20" fmla="*/ 9 w 606"/>
                <a:gd name="T21" fmla="*/ 6 h 510"/>
                <a:gd name="T22" fmla="*/ 11 w 606"/>
                <a:gd name="T23" fmla="*/ 4 h 510"/>
                <a:gd name="T24" fmla="*/ 12 w 606"/>
                <a:gd name="T25" fmla="*/ 3 h 510"/>
                <a:gd name="T26" fmla="*/ 13 w 606"/>
                <a:gd name="T27" fmla="*/ 4 h 510"/>
                <a:gd name="T28" fmla="*/ 15 w 606"/>
                <a:gd name="T29" fmla="*/ 2 h 510"/>
                <a:gd name="T30" fmla="*/ 17 w 606"/>
                <a:gd name="T31" fmla="*/ 2 h 510"/>
                <a:gd name="T32" fmla="*/ 19 w 606"/>
                <a:gd name="T33" fmla="*/ 5 h 510"/>
                <a:gd name="T34" fmla="*/ 22 w 606"/>
                <a:gd name="T35" fmla="*/ 5 h 510"/>
                <a:gd name="T36" fmla="*/ 25 w 606"/>
                <a:gd name="T37" fmla="*/ 6 h 510"/>
                <a:gd name="T38" fmla="*/ 29 w 606"/>
                <a:gd name="T39" fmla="*/ 1 h 510"/>
                <a:gd name="T40" fmla="*/ 38 w 606"/>
                <a:gd name="T41" fmla="*/ 0 h 510"/>
                <a:gd name="T42" fmla="*/ 38 w 606"/>
                <a:gd name="T43" fmla="*/ 5 h 510"/>
                <a:gd name="T44" fmla="*/ 41 w 606"/>
                <a:gd name="T45" fmla="*/ 4 h 510"/>
                <a:gd name="T46" fmla="*/ 45 w 606"/>
                <a:gd name="T47" fmla="*/ 2 h 510"/>
                <a:gd name="T48" fmla="*/ 46 w 606"/>
                <a:gd name="T49" fmla="*/ 2 h 510"/>
                <a:gd name="T50" fmla="*/ 47 w 606"/>
                <a:gd name="T51" fmla="*/ 5 h 510"/>
                <a:gd name="T52" fmla="*/ 45 w 606"/>
                <a:gd name="T53" fmla="*/ 6 h 510"/>
                <a:gd name="T54" fmla="*/ 45 w 606"/>
                <a:gd name="T55" fmla="*/ 7 h 510"/>
                <a:gd name="T56" fmla="*/ 43 w 606"/>
                <a:gd name="T57" fmla="*/ 8 h 510"/>
                <a:gd name="T58" fmla="*/ 45 w 606"/>
                <a:gd name="T59" fmla="*/ 15 h 510"/>
                <a:gd name="T60" fmla="*/ 49 w 606"/>
                <a:gd name="T61" fmla="*/ 15 h 510"/>
                <a:gd name="T62" fmla="*/ 51 w 606"/>
                <a:gd name="T63" fmla="*/ 15 h 510"/>
                <a:gd name="T64" fmla="*/ 53 w 606"/>
                <a:gd name="T65" fmla="*/ 16 h 510"/>
                <a:gd name="T66" fmla="*/ 52 w 606"/>
                <a:gd name="T67" fmla="*/ 20 h 510"/>
                <a:gd name="T68" fmla="*/ 48 w 606"/>
                <a:gd name="T69" fmla="*/ 23 h 510"/>
                <a:gd name="T70" fmla="*/ 45 w 606"/>
                <a:gd name="T71" fmla="*/ 25 h 510"/>
                <a:gd name="T72" fmla="*/ 44 w 606"/>
                <a:gd name="T73" fmla="*/ 28 h 510"/>
                <a:gd name="T74" fmla="*/ 43 w 606"/>
                <a:gd name="T75" fmla="*/ 33 h 510"/>
                <a:gd name="T76" fmla="*/ 39 w 606"/>
                <a:gd name="T77" fmla="*/ 38 h 510"/>
                <a:gd name="T78" fmla="*/ 37 w 606"/>
                <a:gd name="T79" fmla="*/ 41 h 510"/>
                <a:gd name="T80" fmla="*/ 31 w 606"/>
                <a:gd name="T81" fmla="*/ 44 h 510"/>
                <a:gd name="T82" fmla="*/ 28 w 606"/>
                <a:gd name="T83" fmla="*/ 43 h 510"/>
                <a:gd name="T84" fmla="*/ 28 w 606"/>
                <a:gd name="T85" fmla="*/ 41 h 510"/>
                <a:gd name="T86" fmla="*/ 28 w 606"/>
                <a:gd name="T87" fmla="*/ 40 h 510"/>
                <a:gd name="T88" fmla="*/ 27 w 606"/>
                <a:gd name="T89" fmla="*/ 38 h 510"/>
                <a:gd name="T90" fmla="*/ 27 w 606"/>
                <a:gd name="T91" fmla="*/ 36 h 510"/>
                <a:gd name="T92" fmla="*/ 24 w 606"/>
                <a:gd name="T93" fmla="*/ 35 h 510"/>
                <a:gd name="T94" fmla="*/ 16 w 606"/>
                <a:gd name="T95" fmla="*/ 34 h 510"/>
                <a:gd name="T96" fmla="*/ 13 w 606"/>
                <a:gd name="T97" fmla="*/ 34 h 510"/>
                <a:gd name="T98" fmla="*/ 9 w 606"/>
                <a:gd name="T99" fmla="*/ 36 h 510"/>
                <a:gd name="T100" fmla="*/ 8 w 606"/>
                <a:gd name="T101" fmla="*/ 38 h 510"/>
                <a:gd name="T102" fmla="*/ 7 w 606"/>
                <a:gd name="T103" fmla="*/ 39 h 51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06"/>
                <a:gd name="T157" fmla="*/ 0 h 510"/>
                <a:gd name="T158" fmla="*/ 606 w 606"/>
                <a:gd name="T159" fmla="*/ 510 h 51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06" h="510">
                  <a:moveTo>
                    <a:pt x="60" y="450"/>
                  </a:move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42" y="390"/>
                  </a:lnTo>
                  <a:lnTo>
                    <a:pt x="24" y="342"/>
                  </a:lnTo>
                  <a:lnTo>
                    <a:pt x="12" y="300"/>
                  </a:lnTo>
                  <a:lnTo>
                    <a:pt x="0" y="294"/>
                  </a:lnTo>
                  <a:lnTo>
                    <a:pt x="0" y="276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24" y="192"/>
                  </a:lnTo>
                  <a:lnTo>
                    <a:pt x="24" y="180"/>
                  </a:lnTo>
                  <a:lnTo>
                    <a:pt x="24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6" y="96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108" y="66"/>
                  </a:lnTo>
                  <a:lnTo>
                    <a:pt x="120" y="60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36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62" y="36"/>
                  </a:lnTo>
                  <a:lnTo>
                    <a:pt x="162" y="30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0" y="54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46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76" y="66"/>
                  </a:lnTo>
                  <a:lnTo>
                    <a:pt x="312" y="66"/>
                  </a:lnTo>
                  <a:lnTo>
                    <a:pt x="318" y="60"/>
                  </a:lnTo>
                  <a:lnTo>
                    <a:pt x="330" y="12"/>
                  </a:lnTo>
                  <a:lnTo>
                    <a:pt x="414" y="6"/>
                  </a:lnTo>
                  <a:lnTo>
                    <a:pt x="420" y="0"/>
                  </a:lnTo>
                  <a:lnTo>
                    <a:pt x="426" y="6"/>
                  </a:lnTo>
                  <a:lnTo>
                    <a:pt x="426" y="12"/>
                  </a:lnTo>
                  <a:lnTo>
                    <a:pt x="426" y="54"/>
                  </a:lnTo>
                  <a:lnTo>
                    <a:pt x="432" y="54"/>
                  </a:lnTo>
                  <a:lnTo>
                    <a:pt x="444" y="54"/>
                  </a:lnTo>
                  <a:lnTo>
                    <a:pt x="450" y="42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86" y="24"/>
                  </a:lnTo>
                  <a:lnTo>
                    <a:pt x="504" y="18"/>
                  </a:lnTo>
                  <a:lnTo>
                    <a:pt x="510" y="12"/>
                  </a:lnTo>
                  <a:lnTo>
                    <a:pt x="516" y="18"/>
                  </a:lnTo>
                  <a:lnTo>
                    <a:pt x="522" y="24"/>
                  </a:lnTo>
                  <a:lnTo>
                    <a:pt x="510" y="30"/>
                  </a:lnTo>
                  <a:lnTo>
                    <a:pt x="516" y="48"/>
                  </a:lnTo>
                  <a:lnTo>
                    <a:pt x="528" y="54"/>
                  </a:lnTo>
                  <a:lnTo>
                    <a:pt x="522" y="60"/>
                  </a:lnTo>
                  <a:lnTo>
                    <a:pt x="516" y="66"/>
                  </a:lnTo>
                  <a:lnTo>
                    <a:pt x="516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0" y="84"/>
                  </a:lnTo>
                  <a:lnTo>
                    <a:pt x="510" y="90"/>
                  </a:lnTo>
                  <a:lnTo>
                    <a:pt x="504" y="90"/>
                  </a:lnTo>
                  <a:lnTo>
                    <a:pt x="486" y="90"/>
                  </a:lnTo>
                  <a:lnTo>
                    <a:pt x="492" y="138"/>
                  </a:lnTo>
                  <a:lnTo>
                    <a:pt x="498" y="168"/>
                  </a:lnTo>
                  <a:lnTo>
                    <a:pt x="516" y="168"/>
                  </a:lnTo>
                  <a:lnTo>
                    <a:pt x="528" y="174"/>
                  </a:lnTo>
                  <a:lnTo>
                    <a:pt x="534" y="168"/>
                  </a:lnTo>
                  <a:lnTo>
                    <a:pt x="558" y="174"/>
                  </a:lnTo>
                  <a:lnTo>
                    <a:pt x="564" y="168"/>
                  </a:lnTo>
                  <a:lnTo>
                    <a:pt x="570" y="168"/>
                  </a:lnTo>
                  <a:lnTo>
                    <a:pt x="576" y="174"/>
                  </a:lnTo>
                  <a:lnTo>
                    <a:pt x="588" y="168"/>
                  </a:lnTo>
                  <a:lnTo>
                    <a:pt x="594" y="168"/>
                  </a:lnTo>
                  <a:lnTo>
                    <a:pt x="594" y="186"/>
                  </a:lnTo>
                  <a:lnTo>
                    <a:pt x="606" y="198"/>
                  </a:lnTo>
                  <a:lnTo>
                    <a:pt x="600" y="210"/>
                  </a:lnTo>
                  <a:lnTo>
                    <a:pt x="588" y="234"/>
                  </a:lnTo>
                  <a:lnTo>
                    <a:pt x="564" y="246"/>
                  </a:lnTo>
                  <a:lnTo>
                    <a:pt x="546" y="258"/>
                  </a:lnTo>
                  <a:lnTo>
                    <a:pt x="540" y="270"/>
                  </a:lnTo>
                  <a:lnTo>
                    <a:pt x="534" y="294"/>
                  </a:lnTo>
                  <a:lnTo>
                    <a:pt x="528" y="300"/>
                  </a:lnTo>
                  <a:lnTo>
                    <a:pt x="516" y="294"/>
                  </a:lnTo>
                  <a:lnTo>
                    <a:pt x="510" y="300"/>
                  </a:lnTo>
                  <a:lnTo>
                    <a:pt x="498" y="318"/>
                  </a:lnTo>
                  <a:lnTo>
                    <a:pt x="492" y="324"/>
                  </a:lnTo>
                  <a:lnTo>
                    <a:pt x="486" y="336"/>
                  </a:lnTo>
                  <a:lnTo>
                    <a:pt x="486" y="354"/>
                  </a:lnTo>
                  <a:lnTo>
                    <a:pt x="486" y="384"/>
                  </a:lnTo>
                  <a:lnTo>
                    <a:pt x="474" y="408"/>
                  </a:lnTo>
                  <a:lnTo>
                    <a:pt x="450" y="426"/>
                  </a:lnTo>
                  <a:lnTo>
                    <a:pt x="444" y="444"/>
                  </a:lnTo>
                  <a:lnTo>
                    <a:pt x="426" y="474"/>
                  </a:lnTo>
                  <a:lnTo>
                    <a:pt x="420" y="486"/>
                  </a:lnTo>
                  <a:lnTo>
                    <a:pt x="414" y="486"/>
                  </a:lnTo>
                  <a:lnTo>
                    <a:pt x="414" y="498"/>
                  </a:lnTo>
                  <a:lnTo>
                    <a:pt x="378" y="504"/>
                  </a:lnTo>
                  <a:lnTo>
                    <a:pt x="348" y="510"/>
                  </a:lnTo>
                  <a:lnTo>
                    <a:pt x="330" y="510"/>
                  </a:lnTo>
                  <a:lnTo>
                    <a:pt x="324" y="504"/>
                  </a:lnTo>
                  <a:lnTo>
                    <a:pt x="318" y="504"/>
                  </a:lnTo>
                  <a:lnTo>
                    <a:pt x="312" y="504"/>
                  </a:lnTo>
                  <a:lnTo>
                    <a:pt x="312" y="498"/>
                  </a:lnTo>
                  <a:lnTo>
                    <a:pt x="312" y="486"/>
                  </a:lnTo>
                  <a:lnTo>
                    <a:pt x="312" y="480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56"/>
                  </a:lnTo>
                  <a:lnTo>
                    <a:pt x="312" y="450"/>
                  </a:lnTo>
                  <a:lnTo>
                    <a:pt x="306" y="444"/>
                  </a:lnTo>
                  <a:lnTo>
                    <a:pt x="306" y="438"/>
                  </a:lnTo>
                  <a:lnTo>
                    <a:pt x="300" y="426"/>
                  </a:lnTo>
                  <a:lnTo>
                    <a:pt x="300" y="420"/>
                  </a:lnTo>
                  <a:lnTo>
                    <a:pt x="294" y="414"/>
                  </a:lnTo>
                  <a:lnTo>
                    <a:pt x="294" y="408"/>
                  </a:lnTo>
                  <a:lnTo>
                    <a:pt x="270" y="408"/>
                  </a:lnTo>
                  <a:lnTo>
                    <a:pt x="246" y="408"/>
                  </a:lnTo>
                  <a:lnTo>
                    <a:pt x="222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56" y="402"/>
                  </a:lnTo>
                  <a:lnTo>
                    <a:pt x="144" y="396"/>
                  </a:lnTo>
                  <a:lnTo>
                    <a:pt x="126" y="396"/>
                  </a:lnTo>
                  <a:lnTo>
                    <a:pt x="108" y="408"/>
                  </a:lnTo>
                  <a:lnTo>
                    <a:pt x="102" y="414"/>
                  </a:lnTo>
                  <a:lnTo>
                    <a:pt x="102" y="420"/>
                  </a:lnTo>
                  <a:lnTo>
                    <a:pt x="96" y="426"/>
                  </a:lnTo>
                  <a:lnTo>
                    <a:pt x="96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78" y="450"/>
                  </a:lnTo>
                  <a:lnTo>
                    <a:pt x="60" y="45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4" name="Freeform 29">
              <a:extLst>
                <a:ext uri="{FF2B5EF4-FFF2-40B4-BE49-F238E27FC236}">
                  <a16:creationId xmlns:a16="http://schemas.microsoft.com/office/drawing/2014/main" id="{B6AC2B96-1504-4082-8778-17130FDA021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401" y="3537698"/>
              <a:ext cx="559048" cy="641876"/>
            </a:xfrm>
            <a:custGeom>
              <a:avLst/>
              <a:gdLst>
                <a:gd name="T0" fmla="*/ 39 w 1056"/>
                <a:gd name="T1" fmla="*/ 94 h 1206"/>
                <a:gd name="T2" fmla="*/ 35 w 1056"/>
                <a:gd name="T3" fmla="*/ 103 h 1206"/>
                <a:gd name="T4" fmla="*/ 29 w 1056"/>
                <a:gd name="T5" fmla="*/ 99 h 1206"/>
                <a:gd name="T6" fmla="*/ 23 w 1056"/>
                <a:gd name="T7" fmla="*/ 94 h 1206"/>
                <a:gd name="T8" fmla="*/ 21 w 1056"/>
                <a:gd name="T9" fmla="*/ 91 h 1206"/>
                <a:gd name="T10" fmla="*/ 18 w 1056"/>
                <a:gd name="T11" fmla="*/ 89 h 1206"/>
                <a:gd name="T12" fmla="*/ 15 w 1056"/>
                <a:gd name="T13" fmla="*/ 86 h 1206"/>
                <a:gd name="T14" fmla="*/ 11 w 1056"/>
                <a:gd name="T15" fmla="*/ 83 h 1206"/>
                <a:gd name="T16" fmla="*/ 8 w 1056"/>
                <a:gd name="T17" fmla="*/ 81 h 1206"/>
                <a:gd name="T18" fmla="*/ 6 w 1056"/>
                <a:gd name="T19" fmla="*/ 79 h 1206"/>
                <a:gd name="T20" fmla="*/ 13 w 1056"/>
                <a:gd name="T21" fmla="*/ 78 h 1206"/>
                <a:gd name="T22" fmla="*/ 8 w 1056"/>
                <a:gd name="T23" fmla="*/ 75 h 1206"/>
                <a:gd name="T24" fmla="*/ 13 w 1056"/>
                <a:gd name="T25" fmla="*/ 71 h 1206"/>
                <a:gd name="T26" fmla="*/ 10 w 1056"/>
                <a:gd name="T27" fmla="*/ 63 h 1206"/>
                <a:gd name="T28" fmla="*/ 6 w 1056"/>
                <a:gd name="T29" fmla="*/ 66 h 1206"/>
                <a:gd name="T30" fmla="*/ 1 w 1056"/>
                <a:gd name="T31" fmla="*/ 63 h 1206"/>
                <a:gd name="T32" fmla="*/ 1 w 1056"/>
                <a:gd name="T33" fmla="*/ 59 h 1206"/>
                <a:gd name="T34" fmla="*/ 3 w 1056"/>
                <a:gd name="T35" fmla="*/ 57 h 1206"/>
                <a:gd name="T36" fmla="*/ 6 w 1056"/>
                <a:gd name="T37" fmla="*/ 55 h 1206"/>
                <a:gd name="T38" fmla="*/ 10 w 1056"/>
                <a:gd name="T39" fmla="*/ 51 h 1206"/>
                <a:gd name="T40" fmla="*/ 11 w 1056"/>
                <a:gd name="T41" fmla="*/ 46 h 1206"/>
                <a:gd name="T42" fmla="*/ 14 w 1056"/>
                <a:gd name="T43" fmla="*/ 42 h 1206"/>
                <a:gd name="T44" fmla="*/ 15 w 1056"/>
                <a:gd name="T45" fmla="*/ 36 h 1206"/>
                <a:gd name="T46" fmla="*/ 17 w 1056"/>
                <a:gd name="T47" fmla="*/ 34 h 1206"/>
                <a:gd name="T48" fmla="*/ 20 w 1056"/>
                <a:gd name="T49" fmla="*/ 31 h 1206"/>
                <a:gd name="T50" fmla="*/ 21 w 1056"/>
                <a:gd name="T51" fmla="*/ 29 h 1206"/>
                <a:gd name="T52" fmla="*/ 23 w 1056"/>
                <a:gd name="T53" fmla="*/ 22 h 1206"/>
                <a:gd name="T54" fmla="*/ 35 w 1056"/>
                <a:gd name="T55" fmla="*/ 22 h 1206"/>
                <a:gd name="T56" fmla="*/ 41 w 1056"/>
                <a:gd name="T57" fmla="*/ 18 h 1206"/>
                <a:gd name="T58" fmla="*/ 54 w 1056"/>
                <a:gd name="T59" fmla="*/ 20 h 1206"/>
                <a:gd name="T60" fmla="*/ 54 w 1056"/>
                <a:gd name="T61" fmla="*/ 26 h 1206"/>
                <a:gd name="T62" fmla="*/ 64 w 1056"/>
                <a:gd name="T63" fmla="*/ 25 h 1206"/>
                <a:gd name="T64" fmla="*/ 71 w 1056"/>
                <a:gd name="T65" fmla="*/ 10 h 1206"/>
                <a:gd name="T66" fmla="*/ 80 w 1056"/>
                <a:gd name="T67" fmla="*/ 1 h 1206"/>
                <a:gd name="T68" fmla="*/ 86 w 1056"/>
                <a:gd name="T69" fmla="*/ 2 h 1206"/>
                <a:gd name="T70" fmla="*/ 91 w 1056"/>
                <a:gd name="T71" fmla="*/ 13 h 1206"/>
                <a:gd name="T72" fmla="*/ 88 w 1056"/>
                <a:gd name="T73" fmla="*/ 17 h 1206"/>
                <a:gd name="T74" fmla="*/ 89 w 1056"/>
                <a:gd name="T75" fmla="*/ 21 h 1206"/>
                <a:gd name="T76" fmla="*/ 86 w 1056"/>
                <a:gd name="T77" fmla="*/ 25 h 1206"/>
                <a:gd name="T78" fmla="*/ 85 w 1056"/>
                <a:gd name="T79" fmla="*/ 31 h 1206"/>
                <a:gd name="T80" fmla="*/ 83 w 1056"/>
                <a:gd name="T81" fmla="*/ 36 h 1206"/>
                <a:gd name="T82" fmla="*/ 80 w 1056"/>
                <a:gd name="T83" fmla="*/ 42 h 1206"/>
                <a:gd name="T84" fmla="*/ 80 w 1056"/>
                <a:gd name="T85" fmla="*/ 47 h 1206"/>
                <a:gd name="T86" fmla="*/ 77 w 1056"/>
                <a:gd name="T87" fmla="*/ 55 h 1206"/>
                <a:gd name="T88" fmla="*/ 75 w 1056"/>
                <a:gd name="T89" fmla="*/ 57 h 1206"/>
                <a:gd name="T90" fmla="*/ 66 w 1056"/>
                <a:gd name="T91" fmla="*/ 57 h 1206"/>
                <a:gd name="T92" fmla="*/ 66 w 1056"/>
                <a:gd name="T93" fmla="*/ 51 h 1206"/>
                <a:gd name="T94" fmla="*/ 48 w 1056"/>
                <a:gd name="T95" fmla="*/ 50 h 1206"/>
                <a:gd name="T96" fmla="*/ 46 w 1056"/>
                <a:gd name="T97" fmla="*/ 55 h 1206"/>
                <a:gd name="T98" fmla="*/ 42 w 1056"/>
                <a:gd name="T99" fmla="*/ 59 h 1206"/>
                <a:gd name="T100" fmla="*/ 41 w 1056"/>
                <a:gd name="T101" fmla="*/ 62 h 1206"/>
                <a:gd name="T102" fmla="*/ 43 w 1056"/>
                <a:gd name="T103" fmla="*/ 67 h 1206"/>
                <a:gd name="T104" fmla="*/ 42 w 1056"/>
                <a:gd name="T105" fmla="*/ 72 h 1206"/>
                <a:gd name="T106" fmla="*/ 39 w 1056"/>
                <a:gd name="T107" fmla="*/ 77 h 1206"/>
                <a:gd name="T108" fmla="*/ 36 w 1056"/>
                <a:gd name="T109" fmla="*/ 80 h 1206"/>
                <a:gd name="T110" fmla="*/ 37 w 1056"/>
                <a:gd name="T111" fmla="*/ 83 h 1206"/>
                <a:gd name="T112" fmla="*/ 40 w 1056"/>
                <a:gd name="T113" fmla="*/ 87 h 1206"/>
                <a:gd name="T114" fmla="*/ 42 w 1056"/>
                <a:gd name="T115" fmla="*/ 89 h 12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56"/>
                <a:gd name="T175" fmla="*/ 0 h 1206"/>
                <a:gd name="T176" fmla="*/ 1056 w 1056"/>
                <a:gd name="T177" fmla="*/ 1206 h 12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56" h="1206">
                  <a:moveTo>
                    <a:pt x="492" y="1032"/>
                  </a:moveTo>
                  <a:lnTo>
                    <a:pt x="486" y="1038"/>
                  </a:lnTo>
                  <a:lnTo>
                    <a:pt x="486" y="1044"/>
                  </a:lnTo>
                  <a:lnTo>
                    <a:pt x="480" y="1044"/>
                  </a:lnTo>
                  <a:lnTo>
                    <a:pt x="474" y="1056"/>
                  </a:lnTo>
                  <a:lnTo>
                    <a:pt x="462" y="1068"/>
                  </a:lnTo>
                  <a:lnTo>
                    <a:pt x="456" y="1080"/>
                  </a:lnTo>
                  <a:lnTo>
                    <a:pt x="450" y="1080"/>
                  </a:lnTo>
                  <a:lnTo>
                    <a:pt x="450" y="1086"/>
                  </a:lnTo>
                  <a:lnTo>
                    <a:pt x="450" y="1092"/>
                  </a:lnTo>
                  <a:lnTo>
                    <a:pt x="444" y="1104"/>
                  </a:lnTo>
                  <a:lnTo>
                    <a:pt x="444" y="1116"/>
                  </a:lnTo>
                  <a:lnTo>
                    <a:pt x="438" y="1128"/>
                  </a:lnTo>
                  <a:lnTo>
                    <a:pt x="432" y="1134"/>
                  </a:lnTo>
                  <a:lnTo>
                    <a:pt x="432" y="1140"/>
                  </a:lnTo>
                  <a:lnTo>
                    <a:pt x="420" y="1152"/>
                  </a:lnTo>
                  <a:lnTo>
                    <a:pt x="420" y="1158"/>
                  </a:lnTo>
                  <a:lnTo>
                    <a:pt x="408" y="1182"/>
                  </a:lnTo>
                  <a:lnTo>
                    <a:pt x="396" y="1194"/>
                  </a:lnTo>
                  <a:lnTo>
                    <a:pt x="390" y="1206"/>
                  </a:lnTo>
                  <a:lnTo>
                    <a:pt x="390" y="1200"/>
                  </a:lnTo>
                  <a:lnTo>
                    <a:pt x="384" y="1194"/>
                  </a:lnTo>
                  <a:lnTo>
                    <a:pt x="378" y="1188"/>
                  </a:lnTo>
                  <a:lnTo>
                    <a:pt x="366" y="1176"/>
                  </a:lnTo>
                  <a:lnTo>
                    <a:pt x="366" y="1170"/>
                  </a:lnTo>
                  <a:lnTo>
                    <a:pt x="348" y="1152"/>
                  </a:lnTo>
                  <a:lnTo>
                    <a:pt x="336" y="1140"/>
                  </a:lnTo>
                  <a:lnTo>
                    <a:pt x="330" y="1134"/>
                  </a:lnTo>
                  <a:lnTo>
                    <a:pt x="324" y="1128"/>
                  </a:lnTo>
                  <a:lnTo>
                    <a:pt x="318" y="1122"/>
                  </a:lnTo>
                  <a:lnTo>
                    <a:pt x="312" y="1116"/>
                  </a:lnTo>
                  <a:lnTo>
                    <a:pt x="306" y="1110"/>
                  </a:lnTo>
                  <a:lnTo>
                    <a:pt x="300" y="1104"/>
                  </a:lnTo>
                  <a:lnTo>
                    <a:pt x="294" y="1098"/>
                  </a:lnTo>
                  <a:lnTo>
                    <a:pt x="276" y="1080"/>
                  </a:lnTo>
                  <a:lnTo>
                    <a:pt x="270" y="1080"/>
                  </a:lnTo>
                  <a:lnTo>
                    <a:pt x="270" y="1074"/>
                  </a:lnTo>
                  <a:lnTo>
                    <a:pt x="264" y="1068"/>
                  </a:lnTo>
                  <a:lnTo>
                    <a:pt x="258" y="1062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40" y="1050"/>
                  </a:lnTo>
                  <a:lnTo>
                    <a:pt x="234" y="1044"/>
                  </a:lnTo>
                  <a:lnTo>
                    <a:pt x="228" y="1044"/>
                  </a:lnTo>
                  <a:lnTo>
                    <a:pt x="222" y="1038"/>
                  </a:lnTo>
                  <a:lnTo>
                    <a:pt x="222" y="1032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6"/>
                  </a:lnTo>
                  <a:lnTo>
                    <a:pt x="204" y="1020"/>
                  </a:lnTo>
                  <a:lnTo>
                    <a:pt x="204" y="1014"/>
                  </a:lnTo>
                  <a:lnTo>
                    <a:pt x="198" y="1014"/>
                  </a:lnTo>
                  <a:lnTo>
                    <a:pt x="192" y="1014"/>
                  </a:lnTo>
                  <a:lnTo>
                    <a:pt x="192" y="1008"/>
                  </a:lnTo>
                  <a:lnTo>
                    <a:pt x="186" y="1008"/>
                  </a:lnTo>
                  <a:lnTo>
                    <a:pt x="186" y="1002"/>
                  </a:lnTo>
                  <a:lnTo>
                    <a:pt x="180" y="1002"/>
                  </a:lnTo>
                  <a:lnTo>
                    <a:pt x="174" y="996"/>
                  </a:lnTo>
                  <a:lnTo>
                    <a:pt x="168" y="996"/>
                  </a:lnTo>
                  <a:lnTo>
                    <a:pt x="168" y="990"/>
                  </a:lnTo>
                  <a:lnTo>
                    <a:pt x="162" y="990"/>
                  </a:lnTo>
                  <a:lnTo>
                    <a:pt x="162" y="984"/>
                  </a:lnTo>
                  <a:lnTo>
                    <a:pt x="150" y="978"/>
                  </a:lnTo>
                  <a:lnTo>
                    <a:pt x="144" y="972"/>
                  </a:lnTo>
                  <a:lnTo>
                    <a:pt x="138" y="972"/>
                  </a:lnTo>
                  <a:lnTo>
                    <a:pt x="138" y="966"/>
                  </a:lnTo>
                  <a:lnTo>
                    <a:pt x="132" y="966"/>
                  </a:lnTo>
                  <a:lnTo>
                    <a:pt x="126" y="960"/>
                  </a:lnTo>
                  <a:lnTo>
                    <a:pt x="126" y="954"/>
                  </a:lnTo>
                  <a:lnTo>
                    <a:pt x="120" y="954"/>
                  </a:lnTo>
                  <a:lnTo>
                    <a:pt x="114" y="948"/>
                  </a:lnTo>
                  <a:lnTo>
                    <a:pt x="108" y="948"/>
                  </a:lnTo>
                  <a:lnTo>
                    <a:pt x="108" y="942"/>
                  </a:lnTo>
                  <a:lnTo>
                    <a:pt x="102" y="942"/>
                  </a:lnTo>
                  <a:lnTo>
                    <a:pt x="96" y="942"/>
                  </a:lnTo>
                  <a:lnTo>
                    <a:pt x="96" y="936"/>
                  </a:lnTo>
                  <a:lnTo>
                    <a:pt x="90" y="936"/>
                  </a:lnTo>
                  <a:lnTo>
                    <a:pt x="90" y="930"/>
                  </a:lnTo>
                  <a:lnTo>
                    <a:pt x="84" y="930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18"/>
                  </a:lnTo>
                  <a:lnTo>
                    <a:pt x="66" y="918"/>
                  </a:lnTo>
                  <a:lnTo>
                    <a:pt x="66" y="912"/>
                  </a:lnTo>
                  <a:lnTo>
                    <a:pt x="66" y="906"/>
                  </a:lnTo>
                  <a:lnTo>
                    <a:pt x="72" y="906"/>
                  </a:lnTo>
                  <a:lnTo>
                    <a:pt x="84" y="906"/>
                  </a:lnTo>
                  <a:lnTo>
                    <a:pt x="90" y="906"/>
                  </a:lnTo>
                  <a:lnTo>
                    <a:pt x="120" y="930"/>
                  </a:lnTo>
                  <a:lnTo>
                    <a:pt x="126" y="936"/>
                  </a:lnTo>
                  <a:lnTo>
                    <a:pt x="138" y="936"/>
                  </a:lnTo>
                  <a:lnTo>
                    <a:pt x="138" y="930"/>
                  </a:lnTo>
                  <a:lnTo>
                    <a:pt x="144" y="930"/>
                  </a:lnTo>
                  <a:lnTo>
                    <a:pt x="144" y="924"/>
                  </a:lnTo>
                  <a:lnTo>
                    <a:pt x="150" y="900"/>
                  </a:lnTo>
                  <a:lnTo>
                    <a:pt x="138" y="894"/>
                  </a:lnTo>
                  <a:lnTo>
                    <a:pt x="126" y="894"/>
                  </a:lnTo>
                  <a:lnTo>
                    <a:pt x="108" y="888"/>
                  </a:lnTo>
                  <a:lnTo>
                    <a:pt x="84" y="882"/>
                  </a:lnTo>
                  <a:lnTo>
                    <a:pt x="72" y="882"/>
                  </a:lnTo>
                  <a:lnTo>
                    <a:pt x="72" y="876"/>
                  </a:lnTo>
                  <a:lnTo>
                    <a:pt x="78" y="870"/>
                  </a:lnTo>
                  <a:lnTo>
                    <a:pt x="90" y="870"/>
                  </a:lnTo>
                  <a:lnTo>
                    <a:pt x="96" y="870"/>
                  </a:lnTo>
                  <a:lnTo>
                    <a:pt x="102" y="870"/>
                  </a:lnTo>
                  <a:lnTo>
                    <a:pt x="114" y="870"/>
                  </a:lnTo>
                  <a:lnTo>
                    <a:pt x="120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34"/>
                  </a:lnTo>
                  <a:lnTo>
                    <a:pt x="132" y="828"/>
                  </a:lnTo>
                  <a:lnTo>
                    <a:pt x="132" y="816"/>
                  </a:lnTo>
                  <a:lnTo>
                    <a:pt x="150" y="816"/>
                  </a:lnTo>
                  <a:lnTo>
                    <a:pt x="150" y="804"/>
                  </a:lnTo>
                  <a:lnTo>
                    <a:pt x="144" y="798"/>
                  </a:lnTo>
                  <a:lnTo>
                    <a:pt x="156" y="762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32"/>
                  </a:lnTo>
                  <a:lnTo>
                    <a:pt x="144" y="726"/>
                  </a:lnTo>
                  <a:lnTo>
                    <a:pt x="132" y="726"/>
                  </a:lnTo>
                  <a:lnTo>
                    <a:pt x="120" y="732"/>
                  </a:lnTo>
                  <a:lnTo>
                    <a:pt x="114" y="744"/>
                  </a:lnTo>
                  <a:lnTo>
                    <a:pt x="108" y="750"/>
                  </a:lnTo>
                  <a:lnTo>
                    <a:pt x="96" y="768"/>
                  </a:lnTo>
                  <a:lnTo>
                    <a:pt x="96" y="774"/>
                  </a:lnTo>
                  <a:lnTo>
                    <a:pt x="90" y="780"/>
                  </a:lnTo>
                  <a:lnTo>
                    <a:pt x="84" y="804"/>
                  </a:lnTo>
                  <a:lnTo>
                    <a:pt x="72" y="774"/>
                  </a:lnTo>
                  <a:lnTo>
                    <a:pt x="72" y="768"/>
                  </a:lnTo>
                  <a:lnTo>
                    <a:pt x="66" y="762"/>
                  </a:lnTo>
                  <a:lnTo>
                    <a:pt x="60" y="750"/>
                  </a:lnTo>
                  <a:lnTo>
                    <a:pt x="54" y="750"/>
                  </a:lnTo>
                  <a:lnTo>
                    <a:pt x="48" y="750"/>
                  </a:lnTo>
                  <a:lnTo>
                    <a:pt x="42" y="750"/>
                  </a:lnTo>
                  <a:lnTo>
                    <a:pt x="30" y="744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12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2" y="702"/>
                  </a:lnTo>
                  <a:lnTo>
                    <a:pt x="18" y="696"/>
                  </a:lnTo>
                  <a:lnTo>
                    <a:pt x="12" y="690"/>
                  </a:lnTo>
                  <a:lnTo>
                    <a:pt x="12" y="684"/>
                  </a:lnTo>
                  <a:lnTo>
                    <a:pt x="12" y="678"/>
                  </a:lnTo>
                  <a:lnTo>
                    <a:pt x="12" y="672"/>
                  </a:lnTo>
                  <a:lnTo>
                    <a:pt x="18" y="672"/>
                  </a:lnTo>
                  <a:lnTo>
                    <a:pt x="18" y="666"/>
                  </a:lnTo>
                  <a:lnTo>
                    <a:pt x="24" y="666"/>
                  </a:lnTo>
                  <a:lnTo>
                    <a:pt x="24" y="660"/>
                  </a:lnTo>
                  <a:lnTo>
                    <a:pt x="30" y="660"/>
                  </a:lnTo>
                  <a:lnTo>
                    <a:pt x="30" y="654"/>
                  </a:lnTo>
                  <a:lnTo>
                    <a:pt x="36" y="654"/>
                  </a:lnTo>
                  <a:lnTo>
                    <a:pt x="36" y="648"/>
                  </a:lnTo>
                  <a:lnTo>
                    <a:pt x="42" y="648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60" y="630"/>
                  </a:lnTo>
                  <a:lnTo>
                    <a:pt x="66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78" y="624"/>
                  </a:lnTo>
                  <a:lnTo>
                    <a:pt x="84" y="618"/>
                  </a:lnTo>
                  <a:lnTo>
                    <a:pt x="84" y="612"/>
                  </a:lnTo>
                  <a:lnTo>
                    <a:pt x="90" y="612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20" y="588"/>
                  </a:lnTo>
                  <a:lnTo>
                    <a:pt x="120" y="582"/>
                  </a:lnTo>
                  <a:lnTo>
                    <a:pt x="120" y="576"/>
                  </a:lnTo>
                  <a:lnTo>
                    <a:pt x="120" y="570"/>
                  </a:lnTo>
                  <a:lnTo>
                    <a:pt x="126" y="564"/>
                  </a:lnTo>
                  <a:lnTo>
                    <a:pt x="126" y="558"/>
                  </a:lnTo>
                  <a:lnTo>
                    <a:pt x="126" y="552"/>
                  </a:lnTo>
                  <a:lnTo>
                    <a:pt x="126" y="546"/>
                  </a:lnTo>
                  <a:lnTo>
                    <a:pt x="126" y="534"/>
                  </a:lnTo>
                  <a:lnTo>
                    <a:pt x="126" y="516"/>
                  </a:lnTo>
                  <a:lnTo>
                    <a:pt x="126" y="510"/>
                  </a:lnTo>
                  <a:lnTo>
                    <a:pt x="126" y="504"/>
                  </a:lnTo>
                  <a:lnTo>
                    <a:pt x="126" y="498"/>
                  </a:lnTo>
                  <a:lnTo>
                    <a:pt x="132" y="498"/>
                  </a:lnTo>
                  <a:lnTo>
                    <a:pt x="132" y="492"/>
                  </a:lnTo>
                  <a:lnTo>
                    <a:pt x="138" y="492"/>
                  </a:lnTo>
                  <a:lnTo>
                    <a:pt x="144" y="486"/>
                  </a:lnTo>
                  <a:lnTo>
                    <a:pt x="156" y="480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6" y="462"/>
                  </a:lnTo>
                  <a:lnTo>
                    <a:pt x="156" y="456"/>
                  </a:lnTo>
                  <a:lnTo>
                    <a:pt x="156" y="450"/>
                  </a:lnTo>
                  <a:lnTo>
                    <a:pt x="162" y="438"/>
                  </a:lnTo>
                  <a:lnTo>
                    <a:pt x="168" y="426"/>
                  </a:lnTo>
                  <a:lnTo>
                    <a:pt x="174" y="426"/>
                  </a:lnTo>
                  <a:lnTo>
                    <a:pt x="174" y="420"/>
                  </a:lnTo>
                  <a:lnTo>
                    <a:pt x="180" y="414"/>
                  </a:lnTo>
                  <a:lnTo>
                    <a:pt x="186" y="420"/>
                  </a:lnTo>
                  <a:lnTo>
                    <a:pt x="186" y="414"/>
                  </a:lnTo>
                  <a:lnTo>
                    <a:pt x="180" y="408"/>
                  </a:lnTo>
                  <a:lnTo>
                    <a:pt x="180" y="402"/>
                  </a:lnTo>
                  <a:lnTo>
                    <a:pt x="186" y="402"/>
                  </a:lnTo>
                  <a:lnTo>
                    <a:pt x="192" y="402"/>
                  </a:lnTo>
                  <a:lnTo>
                    <a:pt x="192" y="396"/>
                  </a:lnTo>
                  <a:lnTo>
                    <a:pt x="198" y="396"/>
                  </a:lnTo>
                  <a:lnTo>
                    <a:pt x="204" y="396"/>
                  </a:lnTo>
                  <a:lnTo>
                    <a:pt x="210" y="396"/>
                  </a:lnTo>
                  <a:lnTo>
                    <a:pt x="210" y="390"/>
                  </a:lnTo>
                  <a:lnTo>
                    <a:pt x="216" y="390"/>
                  </a:lnTo>
                  <a:lnTo>
                    <a:pt x="216" y="384"/>
                  </a:lnTo>
                  <a:lnTo>
                    <a:pt x="222" y="384"/>
                  </a:lnTo>
                  <a:lnTo>
                    <a:pt x="222" y="378"/>
                  </a:lnTo>
                  <a:lnTo>
                    <a:pt x="228" y="372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0" y="348"/>
                  </a:lnTo>
                  <a:lnTo>
                    <a:pt x="234" y="342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46" y="330"/>
                  </a:lnTo>
                  <a:lnTo>
                    <a:pt x="246" y="324"/>
                  </a:lnTo>
                  <a:lnTo>
                    <a:pt x="234" y="318"/>
                  </a:lnTo>
                  <a:lnTo>
                    <a:pt x="234" y="312"/>
                  </a:lnTo>
                  <a:lnTo>
                    <a:pt x="234" y="300"/>
                  </a:lnTo>
                  <a:lnTo>
                    <a:pt x="240" y="288"/>
                  </a:lnTo>
                  <a:lnTo>
                    <a:pt x="240" y="276"/>
                  </a:lnTo>
                  <a:lnTo>
                    <a:pt x="246" y="258"/>
                  </a:lnTo>
                  <a:lnTo>
                    <a:pt x="258" y="252"/>
                  </a:lnTo>
                  <a:lnTo>
                    <a:pt x="270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294" y="252"/>
                  </a:lnTo>
                  <a:lnTo>
                    <a:pt x="300" y="258"/>
                  </a:lnTo>
                  <a:lnTo>
                    <a:pt x="318" y="252"/>
                  </a:lnTo>
                  <a:lnTo>
                    <a:pt x="366" y="252"/>
                  </a:lnTo>
                  <a:lnTo>
                    <a:pt x="378" y="252"/>
                  </a:lnTo>
                  <a:lnTo>
                    <a:pt x="396" y="252"/>
                  </a:lnTo>
                  <a:lnTo>
                    <a:pt x="408" y="252"/>
                  </a:lnTo>
                  <a:lnTo>
                    <a:pt x="408" y="246"/>
                  </a:lnTo>
                  <a:lnTo>
                    <a:pt x="414" y="240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20" y="216"/>
                  </a:lnTo>
                  <a:lnTo>
                    <a:pt x="426" y="210"/>
                  </a:lnTo>
                  <a:lnTo>
                    <a:pt x="444" y="198"/>
                  </a:lnTo>
                  <a:lnTo>
                    <a:pt x="462" y="198"/>
                  </a:lnTo>
                  <a:lnTo>
                    <a:pt x="474" y="204"/>
                  </a:lnTo>
                  <a:lnTo>
                    <a:pt x="498" y="198"/>
                  </a:lnTo>
                  <a:lnTo>
                    <a:pt x="498" y="204"/>
                  </a:lnTo>
                  <a:lnTo>
                    <a:pt x="540" y="210"/>
                  </a:lnTo>
                  <a:lnTo>
                    <a:pt x="564" y="210"/>
                  </a:lnTo>
                  <a:lnTo>
                    <a:pt x="588" y="210"/>
                  </a:lnTo>
                  <a:lnTo>
                    <a:pt x="612" y="210"/>
                  </a:lnTo>
                  <a:lnTo>
                    <a:pt x="612" y="216"/>
                  </a:lnTo>
                  <a:lnTo>
                    <a:pt x="618" y="222"/>
                  </a:lnTo>
                  <a:lnTo>
                    <a:pt x="618" y="228"/>
                  </a:lnTo>
                  <a:lnTo>
                    <a:pt x="624" y="240"/>
                  </a:lnTo>
                  <a:lnTo>
                    <a:pt x="624" y="246"/>
                  </a:lnTo>
                  <a:lnTo>
                    <a:pt x="630" y="252"/>
                  </a:lnTo>
                  <a:lnTo>
                    <a:pt x="630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0" y="282"/>
                  </a:lnTo>
                  <a:lnTo>
                    <a:pt x="630" y="288"/>
                  </a:lnTo>
                  <a:lnTo>
                    <a:pt x="630" y="300"/>
                  </a:lnTo>
                  <a:lnTo>
                    <a:pt x="630" y="306"/>
                  </a:lnTo>
                  <a:lnTo>
                    <a:pt x="636" y="306"/>
                  </a:lnTo>
                  <a:lnTo>
                    <a:pt x="642" y="306"/>
                  </a:lnTo>
                  <a:lnTo>
                    <a:pt x="648" y="312"/>
                  </a:lnTo>
                  <a:lnTo>
                    <a:pt x="666" y="312"/>
                  </a:lnTo>
                  <a:lnTo>
                    <a:pt x="696" y="306"/>
                  </a:lnTo>
                  <a:lnTo>
                    <a:pt x="732" y="300"/>
                  </a:lnTo>
                  <a:lnTo>
                    <a:pt x="732" y="288"/>
                  </a:lnTo>
                  <a:lnTo>
                    <a:pt x="738" y="288"/>
                  </a:lnTo>
                  <a:lnTo>
                    <a:pt x="744" y="276"/>
                  </a:lnTo>
                  <a:lnTo>
                    <a:pt x="762" y="246"/>
                  </a:lnTo>
                  <a:lnTo>
                    <a:pt x="768" y="228"/>
                  </a:lnTo>
                  <a:lnTo>
                    <a:pt x="792" y="210"/>
                  </a:lnTo>
                  <a:lnTo>
                    <a:pt x="804" y="186"/>
                  </a:lnTo>
                  <a:lnTo>
                    <a:pt x="804" y="156"/>
                  </a:lnTo>
                  <a:lnTo>
                    <a:pt x="804" y="138"/>
                  </a:lnTo>
                  <a:lnTo>
                    <a:pt x="810" y="126"/>
                  </a:lnTo>
                  <a:lnTo>
                    <a:pt x="816" y="120"/>
                  </a:lnTo>
                  <a:lnTo>
                    <a:pt x="828" y="102"/>
                  </a:lnTo>
                  <a:lnTo>
                    <a:pt x="834" y="96"/>
                  </a:lnTo>
                  <a:lnTo>
                    <a:pt x="846" y="102"/>
                  </a:lnTo>
                  <a:lnTo>
                    <a:pt x="852" y="96"/>
                  </a:lnTo>
                  <a:lnTo>
                    <a:pt x="858" y="72"/>
                  </a:lnTo>
                  <a:lnTo>
                    <a:pt x="864" y="60"/>
                  </a:lnTo>
                  <a:lnTo>
                    <a:pt x="882" y="48"/>
                  </a:lnTo>
                  <a:lnTo>
                    <a:pt x="906" y="36"/>
                  </a:lnTo>
                  <a:lnTo>
                    <a:pt x="918" y="12"/>
                  </a:lnTo>
                  <a:lnTo>
                    <a:pt x="924" y="0"/>
                  </a:lnTo>
                  <a:lnTo>
                    <a:pt x="930" y="6"/>
                  </a:lnTo>
                  <a:lnTo>
                    <a:pt x="942" y="12"/>
                  </a:lnTo>
                  <a:lnTo>
                    <a:pt x="948" y="12"/>
                  </a:lnTo>
                  <a:lnTo>
                    <a:pt x="954" y="18"/>
                  </a:lnTo>
                  <a:lnTo>
                    <a:pt x="966" y="18"/>
                  </a:lnTo>
                  <a:lnTo>
                    <a:pt x="972" y="18"/>
                  </a:lnTo>
                  <a:lnTo>
                    <a:pt x="984" y="18"/>
                  </a:lnTo>
                  <a:lnTo>
                    <a:pt x="990" y="18"/>
                  </a:lnTo>
                  <a:lnTo>
                    <a:pt x="1002" y="48"/>
                  </a:lnTo>
                  <a:lnTo>
                    <a:pt x="1008" y="78"/>
                  </a:lnTo>
                  <a:lnTo>
                    <a:pt x="1020" y="78"/>
                  </a:lnTo>
                  <a:lnTo>
                    <a:pt x="1020" y="90"/>
                  </a:lnTo>
                  <a:lnTo>
                    <a:pt x="1026" y="102"/>
                  </a:lnTo>
                  <a:lnTo>
                    <a:pt x="1044" y="120"/>
                  </a:lnTo>
                  <a:lnTo>
                    <a:pt x="1044" y="132"/>
                  </a:lnTo>
                  <a:lnTo>
                    <a:pt x="1056" y="150"/>
                  </a:lnTo>
                  <a:lnTo>
                    <a:pt x="1050" y="150"/>
                  </a:lnTo>
                  <a:lnTo>
                    <a:pt x="1044" y="156"/>
                  </a:lnTo>
                  <a:lnTo>
                    <a:pt x="1044" y="162"/>
                  </a:lnTo>
                  <a:lnTo>
                    <a:pt x="1038" y="162"/>
                  </a:lnTo>
                  <a:lnTo>
                    <a:pt x="1032" y="162"/>
                  </a:lnTo>
                  <a:lnTo>
                    <a:pt x="1026" y="168"/>
                  </a:lnTo>
                  <a:lnTo>
                    <a:pt x="1014" y="174"/>
                  </a:lnTo>
                  <a:lnTo>
                    <a:pt x="1014" y="186"/>
                  </a:lnTo>
                  <a:lnTo>
                    <a:pt x="1014" y="192"/>
                  </a:lnTo>
                  <a:lnTo>
                    <a:pt x="1014" y="198"/>
                  </a:lnTo>
                  <a:lnTo>
                    <a:pt x="1020" y="204"/>
                  </a:lnTo>
                  <a:lnTo>
                    <a:pt x="1026" y="204"/>
                  </a:lnTo>
                  <a:lnTo>
                    <a:pt x="1032" y="204"/>
                  </a:lnTo>
                  <a:lnTo>
                    <a:pt x="1032" y="210"/>
                  </a:lnTo>
                  <a:lnTo>
                    <a:pt x="1038" y="210"/>
                  </a:lnTo>
                  <a:lnTo>
                    <a:pt x="1032" y="216"/>
                  </a:lnTo>
                  <a:lnTo>
                    <a:pt x="1026" y="228"/>
                  </a:lnTo>
                  <a:lnTo>
                    <a:pt x="1026" y="234"/>
                  </a:lnTo>
                  <a:lnTo>
                    <a:pt x="1032" y="240"/>
                  </a:lnTo>
                  <a:lnTo>
                    <a:pt x="1032" y="246"/>
                  </a:lnTo>
                  <a:lnTo>
                    <a:pt x="1032" y="252"/>
                  </a:lnTo>
                  <a:lnTo>
                    <a:pt x="1032" y="258"/>
                  </a:lnTo>
                  <a:lnTo>
                    <a:pt x="1038" y="264"/>
                  </a:lnTo>
                  <a:lnTo>
                    <a:pt x="1032" y="276"/>
                  </a:lnTo>
                  <a:lnTo>
                    <a:pt x="1026" y="276"/>
                  </a:lnTo>
                  <a:lnTo>
                    <a:pt x="1020" y="276"/>
                  </a:lnTo>
                  <a:lnTo>
                    <a:pt x="996" y="282"/>
                  </a:lnTo>
                  <a:lnTo>
                    <a:pt x="996" y="288"/>
                  </a:lnTo>
                  <a:lnTo>
                    <a:pt x="996" y="294"/>
                  </a:lnTo>
                  <a:lnTo>
                    <a:pt x="996" y="300"/>
                  </a:lnTo>
                  <a:lnTo>
                    <a:pt x="996" y="306"/>
                  </a:lnTo>
                  <a:lnTo>
                    <a:pt x="984" y="324"/>
                  </a:lnTo>
                  <a:lnTo>
                    <a:pt x="984" y="330"/>
                  </a:lnTo>
                  <a:lnTo>
                    <a:pt x="984" y="336"/>
                  </a:lnTo>
                  <a:lnTo>
                    <a:pt x="978" y="336"/>
                  </a:lnTo>
                  <a:lnTo>
                    <a:pt x="978" y="342"/>
                  </a:lnTo>
                  <a:lnTo>
                    <a:pt x="984" y="360"/>
                  </a:lnTo>
                  <a:lnTo>
                    <a:pt x="978" y="366"/>
                  </a:lnTo>
                  <a:lnTo>
                    <a:pt x="978" y="372"/>
                  </a:lnTo>
                  <a:lnTo>
                    <a:pt x="972" y="372"/>
                  </a:lnTo>
                  <a:lnTo>
                    <a:pt x="972" y="378"/>
                  </a:lnTo>
                  <a:lnTo>
                    <a:pt x="972" y="384"/>
                  </a:lnTo>
                  <a:lnTo>
                    <a:pt x="972" y="390"/>
                  </a:lnTo>
                  <a:lnTo>
                    <a:pt x="966" y="402"/>
                  </a:lnTo>
                  <a:lnTo>
                    <a:pt x="960" y="414"/>
                  </a:lnTo>
                  <a:lnTo>
                    <a:pt x="954" y="420"/>
                  </a:lnTo>
                  <a:lnTo>
                    <a:pt x="948" y="426"/>
                  </a:lnTo>
                  <a:lnTo>
                    <a:pt x="948" y="438"/>
                  </a:lnTo>
                  <a:lnTo>
                    <a:pt x="942" y="444"/>
                  </a:lnTo>
                  <a:lnTo>
                    <a:pt x="936" y="450"/>
                  </a:lnTo>
                  <a:lnTo>
                    <a:pt x="930" y="456"/>
                  </a:lnTo>
                  <a:lnTo>
                    <a:pt x="924" y="462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18" y="522"/>
                  </a:lnTo>
                  <a:lnTo>
                    <a:pt x="918" y="528"/>
                  </a:lnTo>
                  <a:lnTo>
                    <a:pt x="924" y="534"/>
                  </a:lnTo>
                  <a:lnTo>
                    <a:pt x="924" y="540"/>
                  </a:lnTo>
                  <a:lnTo>
                    <a:pt x="924" y="546"/>
                  </a:lnTo>
                  <a:lnTo>
                    <a:pt x="918" y="546"/>
                  </a:lnTo>
                  <a:lnTo>
                    <a:pt x="918" y="552"/>
                  </a:lnTo>
                  <a:lnTo>
                    <a:pt x="912" y="546"/>
                  </a:lnTo>
                  <a:lnTo>
                    <a:pt x="912" y="552"/>
                  </a:lnTo>
                  <a:lnTo>
                    <a:pt x="912" y="570"/>
                  </a:lnTo>
                  <a:lnTo>
                    <a:pt x="906" y="588"/>
                  </a:lnTo>
                  <a:lnTo>
                    <a:pt x="900" y="606"/>
                  </a:lnTo>
                  <a:lnTo>
                    <a:pt x="906" y="624"/>
                  </a:lnTo>
                  <a:lnTo>
                    <a:pt x="900" y="624"/>
                  </a:lnTo>
                  <a:lnTo>
                    <a:pt x="894" y="630"/>
                  </a:lnTo>
                  <a:lnTo>
                    <a:pt x="888" y="630"/>
                  </a:lnTo>
                  <a:lnTo>
                    <a:pt x="882" y="630"/>
                  </a:lnTo>
                  <a:lnTo>
                    <a:pt x="882" y="636"/>
                  </a:lnTo>
                  <a:lnTo>
                    <a:pt x="876" y="642"/>
                  </a:lnTo>
                  <a:lnTo>
                    <a:pt x="870" y="642"/>
                  </a:lnTo>
                  <a:lnTo>
                    <a:pt x="870" y="648"/>
                  </a:lnTo>
                  <a:lnTo>
                    <a:pt x="870" y="654"/>
                  </a:lnTo>
                  <a:lnTo>
                    <a:pt x="864" y="654"/>
                  </a:lnTo>
                  <a:lnTo>
                    <a:pt x="864" y="660"/>
                  </a:lnTo>
                  <a:lnTo>
                    <a:pt x="846" y="666"/>
                  </a:lnTo>
                  <a:lnTo>
                    <a:pt x="828" y="672"/>
                  </a:lnTo>
                  <a:lnTo>
                    <a:pt x="816" y="660"/>
                  </a:lnTo>
                  <a:lnTo>
                    <a:pt x="810" y="660"/>
                  </a:lnTo>
                  <a:lnTo>
                    <a:pt x="798" y="666"/>
                  </a:lnTo>
                  <a:lnTo>
                    <a:pt x="786" y="666"/>
                  </a:lnTo>
                  <a:lnTo>
                    <a:pt x="780" y="672"/>
                  </a:lnTo>
                  <a:lnTo>
                    <a:pt x="768" y="678"/>
                  </a:lnTo>
                  <a:lnTo>
                    <a:pt x="762" y="660"/>
                  </a:lnTo>
                  <a:lnTo>
                    <a:pt x="762" y="654"/>
                  </a:lnTo>
                  <a:lnTo>
                    <a:pt x="756" y="636"/>
                  </a:lnTo>
                  <a:lnTo>
                    <a:pt x="762" y="624"/>
                  </a:lnTo>
                  <a:lnTo>
                    <a:pt x="756" y="606"/>
                  </a:lnTo>
                  <a:lnTo>
                    <a:pt x="756" y="600"/>
                  </a:lnTo>
                  <a:lnTo>
                    <a:pt x="762" y="594"/>
                  </a:lnTo>
                  <a:lnTo>
                    <a:pt x="768" y="600"/>
                  </a:lnTo>
                  <a:lnTo>
                    <a:pt x="768" y="594"/>
                  </a:lnTo>
                  <a:lnTo>
                    <a:pt x="768" y="588"/>
                  </a:lnTo>
                  <a:lnTo>
                    <a:pt x="774" y="582"/>
                  </a:lnTo>
                  <a:lnTo>
                    <a:pt x="768" y="576"/>
                  </a:lnTo>
                  <a:lnTo>
                    <a:pt x="762" y="576"/>
                  </a:lnTo>
                  <a:lnTo>
                    <a:pt x="756" y="576"/>
                  </a:lnTo>
                  <a:lnTo>
                    <a:pt x="690" y="576"/>
                  </a:lnTo>
                  <a:lnTo>
                    <a:pt x="624" y="570"/>
                  </a:lnTo>
                  <a:lnTo>
                    <a:pt x="600" y="564"/>
                  </a:lnTo>
                  <a:lnTo>
                    <a:pt x="576" y="564"/>
                  </a:lnTo>
                  <a:lnTo>
                    <a:pt x="558" y="570"/>
                  </a:lnTo>
                  <a:lnTo>
                    <a:pt x="552" y="576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46" y="594"/>
                  </a:lnTo>
                  <a:lnTo>
                    <a:pt x="546" y="600"/>
                  </a:lnTo>
                  <a:lnTo>
                    <a:pt x="540" y="606"/>
                  </a:lnTo>
                  <a:lnTo>
                    <a:pt x="534" y="618"/>
                  </a:lnTo>
                  <a:lnTo>
                    <a:pt x="534" y="624"/>
                  </a:lnTo>
                  <a:lnTo>
                    <a:pt x="534" y="630"/>
                  </a:lnTo>
                  <a:lnTo>
                    <a:pt x="534" y="636"/>
                  </a:lnTo>
                  <a:lnTo>
                    <a:pt x="528" y="636"/>
                  </a:lnTo>
                  <a:lnTo>
                    <a:pt x="516" y="642"/>
                  </a:lnTo>
                  <a:lnTo>
                    <a:pt x="516" y="648"/>
                  </a:lnTo>
                  <a:lnTo>
                    <a:pt x="510" y="648"/>
                  </a:lnTo>
                  <a:lnTo>
                    <a:pt x="504" y="654"/>
                  </a:lnTo>
                  <a:lnTo>
                    <a:pt x="492" y="666"/>
                  </a:lnTo>
                  <a:lnTo>
                    <a:pt x="492" y="672"/>
                  </a:lnTo>
                  <a:lnTo>
                    <a:pt x="492" y="684"/>
                  </a:lnTo>
                  <a:lnTo>
                    <a:pt x="486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92" y="702"/>
                  </a:lnTo>
                  <a:lnTo>
                    <a:pt x="486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74" y="720"/>
                  </a:lnTo>
                  <a:lnTo>
                    <a:pt x="480" y="726"/>
                  </a:lnTo>
                  <a:lnTo>
                    <a:pt x="474" y="726"/>
                  </a:lnTo>
                  <a:lnTo>
                    <a:pt x="474" y="738"/>
                  </a:lnTo>
                  <a:lnTo>
                    <a:pt x="474" y="744"/>
                  </a:lnTo>
                  <a:lnTo>
                    <a:pt x="474" y="750"/>
                  </a:lnTo>
                  <a:lnTo>
                    <a:pt x="480" y="750"/>
                  </a:lnTo>
                  <a:lnTo>
                    <a:pt x="480" y="756"/>
                  </a:lnTo>
                  <a:lnTo>
                    <a:pt x="492" y="762"/>
                  </a:lnTo>
                  <a:lnTo>
                    <a:pt x="498" y="774"/>
                  </a:lnTo>
                  <a:lnTo>
                    <a:pt x="498" y="780"/>
                  </a:lnTo>
                  <a:lnTo>
                    <a:pt x="504" y="786"/>
                  </a:lnTo>
                  <a:lnTo>
                    <a:pt x="510" y="792"/>
                  </a:lnTo>
                  <a:lnTo>
                    <a:pt x="504" y="798"/>
                  </a:lnTo>
                  <a:lnTo>
                    <a:pt x="504" y="804"/>
                  </a:lnTo>
                  <a:lnTo>
                    <a:pt x="504" y="810"/>
                  </a:lnTo>
                  <a:lnTo>
                    <a:pt x="498" y="822"/>
                  </a:lnTo>
                  <a:lnTo>
                    <a:pt x="492" y="828"/>
                  </a:lnTo>
                  <a:lnTo>
                    <a:pt x="492" y="834"/>
                  </a:lnTo>
                  <a:lnTo>
                    <a:pt x="486" y="840"/>
                  </a:lnTo>
                  <a:lnTo>
                    <a:pt x="480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74" y="858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876"/>
                  </a:lnTo>
                  <a:lnTo>
                    <a:pt x="456" y="894"/>
                  </a:lnTo>
                  <a:lnTo>
                    <a:pt x="450" y="894"/>
                  </a:lnTo>
                  <a:lnTo>
                    <a:pt x="444" y="900"/>
                  </a:lnTo>
                  <a:lnTo>
                    <a:pt x="444" y="894"/>
                  </a:lnTo>
                  <a:lnTo>
                    <a:pt x="438" y="894"/>
                  </a:lnTo>
                  <a:lnTo>
                    <a:pt x="432" y="900"/>
                  </a:lnTo>
                  <a:lnTo>
                    <a:pt x="432" y="906"/>
                  </a:lnTo>
                  <a:lnTo>
                    <a:pt x="420" y="906"/>
                  </a:lnTo>
                  <a:lnTo>
                    <a:pt x="420" y="912"/>
                  </a:lnTo>
                  <a:lnTo>
                    <a:pt x="420" y="918"/>
                  </a:lnTo>
                  <a:lnTo>
                    <a:pt x="426" y="918"/>
                  </a:lnTo>
                  <a:lnTo>
                    <a:pt x="426" y="924"/>
                  </a:lnTo>
                  <a:lnTo>
                    <a:pt x="426" y="930"/>
                  </a:lnTo>
                  <a:lnTo>
                    <a:pt x="420" y="930"/>
                  </a:lnTo>
                  <a:lnTo>
                    <a:pt x="414" y="936"/>
                  </a:lnTo>
                  <a:lnTo>
                    <a:pt x="414" y="942"/>
                  </a:lnTo>
                  <a:lnTo>
                    <a:pt x="414" y="948"/>
                  </a:lnTo>
                  <a:lnTo>
                    <a:pt x="414" y="954"/>
                  </a:lnTo>
                  <a:lnTo>
                    <a:pt x="426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44" y="972"/>
                  </a:lnTo>
                  <a:lnTo>
                    <a:pt x="444" y="978"/>
                  </a:lnTo>
                  <a:lnTo>
                    <a:pt x="450" y="978"/>
                  </a:lnTo>
                  <a:lnTo>
                    <a:pt x="450" y="984"/>
                  </a:lnTo>
                  <a:lnTo>
                    <a:pt x="456" y="990"/>
                  </a:lnTo>
                  <a:lnTo>
                    <a:pt x="456" y="996"/>
                  </a:lnTo>
                  <a:lnTo>
                    <a:pt x="462" y="1008"/>
                  </a:lnTo>
                  <a:lnTo>
                    <a:pt x="468" y="1008"/>
                  </a:lnTo>
                  <a:lnTo>
                    <a:pt x="468" y="1002"/>
                  </a:lnTo>
                  <a:lnTo>
                    <a:pt x="474" y="1008"/>
                  </a:lnTo>
                  <a:lnTo>
                    <a:pt x="480" y="1002"/>
                  </a:lnTo>
                  <a:lnTo>
                    <a:pt x="486" y="1008"/>
                  </a:lnTo>
                  <a:lnTo>
                    <a:pt x="486" y="1014"/>
                  </a:lnTo>
                  <a:lnTo>
                    <a:pt x="492" y="1014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86" y="1026"/>
                  </a:lnTo>
                  <a:lnTo>
                    <a:pt x="492" y="1026"/>
                  </a:lnTo>
                  <a:lnTo>
                    <a:pt x="486" y="1026"/>
                  </a:lnTo>
                  <a:lnTo>
                    <a:pt x="492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5" name="Freeform 30">
              <a:extLst>
                <a:ext uri="{FF2B5EF4-FFF2-40B4-BE49-F238E27FC236}">
                  <a16:creationId xmlns:a16="http://schemas.microsoft.com/office/drawing/2014/main" id="{85C7B827-0C1A-4D72-AEBD-F01CFE7EC12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3645" y="3904484"/>
              <a:ext cx="559048" cy="111825"/>
            </a:xfrm>
            <a:custGeom>
              <a:avLst/>
              <a:gdLst>
                <a:gd name="T0" fmla="*/ 69 w 1056"/>
                <a:gd name="T1" fmla="*/ 7 h 210"/>
                <a:gd name="T2" fmla="*/ 63 w 1056"/>
                <a:gd name="T3" fmla="*/ 5 h 210"/>
                <a:gd name="T4" fmla="*/ 57 w 1056"/>
                <a:gd name="T5" fmla="*/ 5 h 210"/>
                <a:gd name="T6" fmla="*/ 54 w 1056"/>
                <a:gd name="T7" fmla="*/ 6 h 210"/>
                <a:gd name="T8" fmla="*/ 51 w 1056"/>
                <a:gd name="T9" fmla="*/ 7 h 210"/>
                <a:gd name="T10" fmla="*/ 46 w 1056"/>
                <a:gd name="T11" fmla="*/ 9 h 210"/>
                <a:gd name="T12" fmla="*/ 42 w 1056"/>
                <a:gd name="T13" fmla="*/ 8 h 210"/>
                <a:gd name="T14" fmla="*/ 42 w 1056"/>
                <a:gd name="T15" fmla="*/ 5 h 210"/>
                <a:gd name="T16" fmla="*/ 41 w 1056"/>
                <a:gd name="T17" fmla="*/ 7 h 210"/>
                <a:gd name="T18" fmla="*/ 38 w 1056"/>
                <a:gd name="T19" fmla="*/ 10 h 210"/>
                <a:gd name="T20" fmla="*/ 37 w 1056"/>
                <a:gd name="T21" fmla="*/ 12 h 210"/>
                <a:gd name="T22" fmla="*/ 37 w 1056"/>
                <a:gd name="T23" fmla="*/ 15 h 210"/>
                <a:gd name="T24" fmla="*/ 37 w 1056"/>
                <a:gd name="T25" fmla="*/ 16 h 210"/>
                <a:gd name="T26" fmla="*/ 38 w 1056"/>
                <a:gd name="T27" fmla="*/ 16 h 210"/>
                <a:gd name="T28" fmla="*/ 34 w 1056"/>
                <a:gd name="T29" fmla="*/ 16 h 210"/>
                <a:gd name="T30" fmla="*/ 26 w 1056"/>
                <a:gd name="T31" fmla="*/ 16 h 210"/>
                <a:gd name="T32" fmla="*/ 20 w 1056"/>
                <a:gd name="T33" fmla="*/ 17 h 210"/>
                <a:gd name="T34" fmla="*/ 13 w 1056"/>
                <a:gd name="T35" fmla="*/ 17 h 210"/>
                <a:gd name="T36" fmla="*/ 6 w 1056"/>
                <a:gd name="T37" fmla="*/ 17 h 210"/>
                <a:gd name="T38" fmla="*/ 1 w 1056"/>
                <a:gd name="T39" fmla="*/ 18 h 210"/>
                <a:gd name="T40" fmla="*/ 3 w 1056"/>
                <a:gd name="T41" fmla="*/ 14 h 210"/>
                <a:gd name="T42" fmla="*/ 8 w 1056"/>
                <a:gd name="T43" fmla="*/ 15 h 210"/>
                <a:gd name="T44" fmla="*/ 11 w 1056"/>
                <a:gd name="T45" fmla="*/ 12 h 210"/>
                <a:gd name="T46" fmla="*/ 26 w 1056"/>
                <a:gd name="T47" fmla="*/ 10 h 210"/>
                <a:gd name="T48" fmla="*/ 29 w 1056"/>
                <a:gd name="T49" fmla="*/ 5 h 210"/>
                <a:gd name="T50" fmla="*/ 34 w 1056"/>
                <a:gd name="T51" fmla="*/ 1 h 210"/>
                <a:gd name="T52" fmla="*/ 41 w 1056"/>
                <a:gd name="T53" fmla="*/ 3 h 210"/>
                <a:gd name="T54" fmla="*/ 73 w 1056"/>
                <a:gd name="T55" fmla="*/ 1 h 210"/>
                <a:gd name="T56" fmla="*/ 75 w 1056"/>
                <a:gd name="T57" fmla="*/ 4 h 210"/>
                <a:gd name="T58" fmla="*/ 85 w 1056"/>
                <a:gd name="T59" fmla="*/ 15 h 210"/>
                <a:gd name="T60" fmla="*/ 91 w 1056"/>
                <a:gd name="T61" fmla="*/ 18 h 210"/>
                <a:gd name="T62" fmla="*/ 85 w 1056"/>
                <a:gd name="T63" fmla="*/ 18 h 210"/>
                <a:gd name="T64" fmla="*/ 79 w 1056"/>
                <a:gd name="T65" fmla="*/ 16 h 210"/>
                <a:gd name="T66" fmla="*/ 74 w 1056"/>
                <a:gd name="T67" fmla="*/ 16 h 210"/>
                <a:gd name="T68" fmla="*/ 69 w 1056"/>
                <a:gd name="T69" fmla="*/ 15 h 210"/>
                <a:gd name="T70" fmla="*/ 65 w 1056"/>
                <a:gd name="T71" fmla="*/ 14 h 210"/>
                <a:gd name="T72" fmla="*/ 59 w 1056"/>
                <a:gd name="T73" fmla="*/ 15 h 210"/>
                <a:gd name="T74" fmla="*/ 54 w 1056"/>
                <a:gd name="T75" fmla="*/ 15 h 210"/>
                <a:gd name="T76" fmla="*/ 49 w 1056"/>
                <a:gd name="T77" fmla="*/ 15 h 210"/>
                <a:gd name="T78" fmla="*/ 42 w 1056"/>
                <a:gd name="T79" fmla="*/ 15 h 210"/>
                <a:gd name="T80" fmla="*/ 38 w 1056"/>
                <a:gd name="T81" fmla="*/ 16 h 210"/>
                <a:gd name="T82" fmla="*/ 41 w 1056"/>
                <a:gd name="T83" fmla="*/ 14 h 210"/>
                <a:gd name="T84" fmla="*/ 42 w 1056"/>
                <a:gd name="T85" fmla="*/ 13 h 210"/>
                <a:gd name="T86" fmla="*/ 45 w 1056"/>
                <a:gd name="T87" fmla="*/ 13 h 210"/>
                <a:gd name="T88" fmla="*/ 48 w 1056"/>
                <a:gd name="T89" fmla="*/ 12 h 210"/>
                <a:gd name="T90" fmla="*/ 51 w 1056"/>
                <a:gd name="T91" fmla="*/ 11 h 210"/>
                <a:gd name="T92" fmla="*/ 54 w 1056"/>
                <a:gd name="T93" fmla="*/ 9 h 210"/>
                <a:gd name="T94" fmla="*/ 57 w 1056"/>
                <a:gd name="T95" fmla="*/ 8 h 210"/>
                <a:gd name="T96" fmla="*/ 60 w 1056"/>
                <a:gd name="T97" fmla="*/ 5 h 210"/>
                <a:gd name="T98" fmla="*/ 65 w 1056"/>
                <a:gd name="T99" fmla="*/ 5 h 210"/>
                <a:gd name="T100" fmla="*/ 72 w 1056"/>
                <a:gd name="T101" fmla="*/ 7 h 210"/>
                <a:gd name="T102" fmla="*/ 77 w 1056"/>
                <a:gd name="T103" fmla="*/ 11 h 210"/>
                <a:gd name="T104" fmla="*/ 69 w 1056"/>
                <a:gd name="T105" fmla="*/ 10 h 210"/>
                <a:gd name="T106" fmla="*/ 72 w 1056"/>
                <a:gd name="T107" fmla="*/ 12 h 210"/>
                <a:gd name="T108" fmla="*/ 78 w 1056"/>
                <a:gd name="T109" fmla="*/ 15 h 210"/>
                <a:gd name="T110" fmla="*/ 84 w 1056"/>
                <a:gd name="T111" fmla="*/ 14 h 210"/>
                <a:gd name="T112" fmla="*/ 84 w 1056"/>
                <a:gd name="T113" fmla="*/ 14 h 210"/>
                <a:gd name="T114" fmla="*/ 78 w 1056"/>
                <a:gd name="T115" fmla="*/ 13 h 210"/>
                <a:gd name="T116" fmla="*/ 76 w 1056"/>
                <a:gd name="T117" fmla="*/ 14 h 210"/>
                <a:gd name="T118" fmla="*/ 38 w 1056"/>
                <a:gd name="T119" fmla="*/ 12 h 210"/>
                <a:gd name="T120" fmla="*/ 41 w 1056"/>
                <a:gd name="T121" fmla="*/ 12 h 210"/>
                <a:gd name="T122" fmla="*/ 40 w 1056"/>
                <a:gd name="T123" fmla="*/ 14 h 2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6"/>
                <a:gd name="T187" fmla="*/ 0 h 210"/>
                <a:gd name="T188" fmla="*/ 1056 w 1056"/>
                <a:gd name="T189" fmla="*/ 210 h 21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6" h="210">
                  <a:moveTo>
                    <a:pt x="870" y="90"/>
                  </a:moveTo>
                  <a:lnTo>
                    <a:pt x="864" y="90"/>
                  </a:lnTo>
                  <a:lnTo>
                    <a:pt x="852" y="84"/>
                  </a:lnTo>
                  <a:lnTo>
                    <a:pt x="846" y="84"/>
                  </a:lnTo>
                  <a:lnTo>
                    <a:pt x="846" y="78"/>
                  </a:lnTo>
                  <a:lnTo>
                    <a:pt x="840" y="78"/>
                  </a:lnTo>
                  <a:lnTo>
                    <a:pt x="834" y="78"/>
                  </a:lnTo>
                  <a:lnTo>
                    <a:pt x="834" y="72"/>
                  </a:lnTo>
                  <a:lnTo>
                    <a:pt x="804" y="78"/>
                  </a:lnTo>
                  <a:lnTo>
                    <a:pt x="798" y="78"/>
                  </a:lnTo>
                  <a:lnTo>
                    <a:pt x="792" y="72"/>
                  </a:lnTo>
                  <a:lnTo>
                    <a:pt x="780" y="60"/>
                  </a:lnTo>
                  <a:lnTo>
                    <a:pt x="768" y="54"/>
                  </a:lnTo>
                  <a:lnTo>
                    <a:pt x="756" y="54"/>
                  </a:lnTo>
                  <a:lnTo>
                    <a:pt x="750" y="54"/>
                  </a:lnTo>
                  <a:lnTo>
                    <a:pt x="750" y="48"/>
                  </a:lnTo>
                  <a:lnTo>
                    <a:pt x="744" y="48"/>
                  </a:lnTo>
                  <a:lnTo>
                    <a:pt x="738" y="48"/>
                  </a:lnTo>
                  <a:lnTo>
                    <a:pt x="732" y="48"/>
                  </a:lnTo>
                  <a:lnTo>
                    <a:pt x="732" y="54"/>
                  </a:lnTo>
                  <a:lnTo>
                    <a:pt x="726" y="48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48"/>
                  </a:lnTo>
                  <a:lnTo>
                    <a:pt x="702" y="48"/>
                  </a:lnTo>
                  <a:lnTo>
                    <a:pt x="696" y="48"/>
                  </a:lnTo>
                  <a:lnTo>
                    <a:pt x="684" y="48"/>
                  </a:lnTo>
                  <a:lnTo>
                    <a:pt x="678" y="48"/>
                  </a:lnTo>
                  <a:lnTo>
                    <a:pt x="672" y="48"/>
                  </a:lnTo>
                  <a:lnTo>
                    <a:pt x="666" y="54"/>
                  </a:lnTo>
                  <a:lnTo>
                    <a:pt x="660" y="54"/>
                  </a:lnTo>
                  <a:lnTo>
                    <a:pt x="660" y="48"/>
                  </a:lnTo>
                  <a:lnTo>
                    <a:pt x="654" y="48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42" y="54"/>
                  </a:lnTo>
                  <a:lnTo>
                    <a:pt x="63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30" y="66"/>
                  </a:lnTo>
                  <a:lnTo>
                    <a:pt x="624" y="66"/>
                  </a:lnTo>
                  <a:lnTo>
                    <a:pt x="618" y="66"/>
                  </a:lnTo>
                  <a:lnTo>
                    <a:pt x="618" y="72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6" y="84"/>
                  </a:lnTo>
                  <a:lnTo>
                    <a:pt x="600" y="84"/>
                  </a:lnTo>
                  <a:lnTo>
                    <a:pt x="594" y="90"/>
                  </a:lnTo>
                  <a:lnTo>
                    <a:pt x="588" y="90"/>
                  </a:lnTo>
                  <a:lnTo>
                    <a:pt x="588" y="84"/>
                  </a:lnTo>
                  <a:lnTo>
                    <a:pt x="582" y="84"/>
                  </a:lnTo>
                  <a:lnTo>
                    <a:pt x="576" y="84"/>
                  </a:lnTo>
                  <a:lnTo>
                    <a:pt x="570" y="84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58" y="96"/>
                  </a:lnTo>
                  <a:lnTo>
                    <a:pt x="552" y="96"/>
                  </a:lnTo>
                  <a:lnTo>
                    <a:pt x="546" y="102"/>
                  </a:lnTo>
                  <a:lnTo>
                    <a:pt x="540" y="102"/>
                  </a:lnTo>
                  <a:lnTo>
                    <a:pt x="534" y="102"/>
                  </a:lnTo>
                  <a:lnTo>
                    <a:pt x="528" y="102"/>
                  </a:lnTo>
                  <a:lnTo>
                    <a:pt x="528" y="108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16" y="102"/>
                  </a:lnTo>
                  <a:lnTo>
                    <a:pt x="510" y="102"/>
                  </a:lnTo>
                  <a:lnTo>
                    <a:pt x="504" y="102"/>
                  </a:lnTo>
                  <a:lnTo>
                    <a:pt x="498" y="102"/>
                  </a:lnTo>
                  <a:lnTo>
                    <a:pt x="498" y="96"/>
                  </a:lnTo>
                  <a:lnTo>
                    <a:pt x="492" y="96"/>
                  </a:lnTo>
                  <a:lnTo>
                    <a:pt x="492" y="90"/>
                  </a:lnTo>
                  <a:lnTo>
                    <a:pt x="492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498" y="66"/>
                  </a:lnTo>
                  <a:lnTo>
                    <a:pt x="504" y="60"/>
                  </a:lnTo>
                  <a:lnTo>
                    <a:pt x="498" y="60"/>
                  </a:lnTo>
                  <a:lnTo>
                    <a:pt x="498" y="54"/>
                  </a:lnTo>
                  <a:lnTo>
                    <a:pt x="492" y="54"/>
                  </a:lnTo>
                  <a:lnTo>
                    <a:pt x="492" y="60"/>
                  </a:lnTo>
                  <a:lnTo>
                    <a:pt x="486" y="60"/>
                  </a:lnTo>
                  <a:lnTo>
                    <a:pt x="486" y="66"/>
                  </a:lnTo>
                  <a:lnTo>
                    <a:pt x="480" y="66"/>
                  </a:lnTo>
                  <a:lnTo>
                    <a:pt x="474" y="72"/>
                  </a:lnTo>
                  <a:lnTo>
                    <a:pt x="474" y="66"/>
                  </a:lnTo>
                  <a:lnTo>
                    <a:pt x="474" y="72"/>
                  </a:lnTo>
                  <a:lnTo>
                    <a:pt x="468" y="72"/>
                  </a:lnTo>
                  <a:lnTo>
                    <a:pt x="468" y="78"/>
                  </a:lnTo>
                  <a:lnTo>
                    <a:pt x="468" y="84"/>
                  </a:lnTo>
                  <a:lnTo>
                    <a:pt x="462" y="90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0" y="84"/>
                  </a:lnTo>
                  <a:lnTo>
                    <a:pt x="450" y="90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44" y="102"/>
                  </a:lnTo>
                  <a:lnTo>
                    <a:pt x="444" y="108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38" y="126"/>
                  </a:lnTo>
                  <a:lnTo>
                    <a:pt x="438" y="132"/>
                  </a:lnTo>
                  <a:lnTo>
                    <a:pt x="438" y="138"/>
                  </a:lnTo>
                  <a:lnTo>
                    <a:pt x="438" y="144"/>
                  </a:lnTo>
                  <a:lnTo>
                    <a:pt x="432" y="144"/>
                  </a:lnTo>
                  <a:lnTo>
                    <a:pt x="432" y="150"/>
                  </a:lnTo>
                  <a:lnTo>
                    <a:pt x="432" y="144"/>
                  </a:lnTo>
                  <a:lnTo>
                    <a:pt x="426" y="144"/>
                  </a:lnTo>
                  <a:lnTo>
                    <a:pt x="426" y="150"/>
                  </a:lnTo>
                  <a:lnTo>
                    <a:pt x="426" y="156"/>
                  </a:lnTo>
                  <a:lnTo>
                    <a:pt x="432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2"/>
                  </a:lnTo>
                  <a:lnTo>
                    <a:pt x="432" y="168"/>
                  </a:lnTo>
                  <a:lnTo>
                    <a:pt x="426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44" y="168"/>
                  </a:lnTo>
                  <a:lnTo>
                    <a:pt x="444" y="174"/>
                  </a:lnTo>
                  <a:lnTo>
                    <a:pt x="444" y="180"/>
                  </a:lnTo>
                  <a:lnTo>
                    <a:pt x="444" y="186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2" y="192"/>
                  </a:lnTo>
                  <a:lnTo>
                    <a:pt x="426" y="192"/>
                  </a:lnTo>
                  <a:lnTo>
                    <a:pt x="420" y="186"/>
                  </a:lnTo>
                  <a:lnTo>
                    <a:pt x="414" y="186"/>
                  </a:lnTo>
                  <a:lnTo>
                    <a:pt x="408" y="186"/>
                  </a:lnTo>
                  <a:lnTo>
                    <a:pt x="402" y="186"/>
                  </a:lnTo>
                  <a:lnTo>
                    <a:pt x="396" y="186"/>
                  </a:lnTo>
                  <a:lnTo>
                    <a:pt x="390" y="186"/>
                  </a:lnTo>
                  <a:lnTo>
                    <a:pt x="384" y="186"/>
                  </a:lnTo>
                  <a:lnTo>
                    <a:pt x="378" y="186"/>
                  </a:lnTo>
                  <a:lnTo>
                    <a:pt x="372" y="186"/>
                  </a:lnTo>
                  <a:lnTo>
                    <a:pt x="354" y="186"/>
                  </a:lnTo>
                  <a:lnTo>
                    <a:pt x="342" y="186"/>
                  </a:lnTo>
                  <a:lnTo>
                    <a:pt x="324" y="186"/>
                  </a:lnTo>
                  <a:lnTo>
                    <a:pt x="312" y="186"/>
                  </a:lnTo>
                  <a:lnTo>
                    <a:pt x="306" y="186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82" y="186"/>
                  </a:lnTo>
                  <a:lnTo>
                    <a:pt x="270" y="186"/>
                  </a:lnTo>
                  <a:lnTo>
                    <a:pt x="264" y="186"/>
                  </a:lnTo>
                  <a:lnTo>
                    <a:pt x="258" y="192"/>
                  </a:lnTo>
                  <a:lnTo>
                    <a:pt x="258" y="186"/>
                  </a:lnTo>
                  <a:lnTo>
                    <a:pt x="246" y="186"/>
                  </a:lnTo>
                  <a:lnTo>
                    <a:pt x="240" y="186"/>
                  </a:lnTo>
                  <a:lnTo>
                    <a:pt x="234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2"/>
                  </a:lnTo>
                  <a:lnTo>
                    <a:pt x="204" y="192"/>
                  </a:lnTo>
                  <a:lnTo>
                    <a:pt x="198" y="192"/>
                  </a:lnTo>
                  <a:lnTo>
                    <a:pt x="192" y="192"/>
                  </a:lnTo>
                  <a:lnTo>
                    <a:pt x="180" y="192"/>
                  </a:lnTo>
                  <a:lnTo>
                    <a:pt x="168" y="192"/>
                  </a:lnTo>
                  <a:lnTo>
                    <a:pt x="162" y="192"/>
                  </a:lnTo>
                  <a:lnTo>
                    <a:pt x="150" y="192"/>
                  </a:lnTo>
                  <a:lnTo>
                    <a:pt x="138" y="192"/>
                  </a:lnTo>
                  <a:lnTo>
                    <a:pt x="132" y="192"/>
                  </a:lnTo>
                  <a:lnTo>
                    <a:pt x="120" y="192"/>
                  </a:lnTo>
                  <a:lnTo>
                    <a:pt x="114" y="192"/>
                  </a:lnTo>
                  <a:lnTo>
                    <a:pt x="108" y="192"/>
                  </a:lnTo>
                  <a:lnTo>
                    <a:pt x="102" y="192"/>
                  </a:lnTo>
                  <a:lnTo>
                    <a:pt x="90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2" y="198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36" y="198"/>
                  </a:lnTo>
                  <a:lnTo>
                    <a:pt x="30" y="204"/>
                  </a:lnTo>
                  <a:lnTo>
                    <a:pt x="24" y="204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6" y="210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54" y="156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56"/>
                  </a:lnTo>
                  <a:lnTo>
                    <a:pt x="78" y="162"/>
                  </a:lnTo>
                  <a:lnTo>
                    <a:pt x="84" y="162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9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0" y="126"/>
                  </a:lnTo>
                  <a:lnTo>
                    <a:pt x="276" y="120"/>
                  </a:lnTo>
                  <a:lnTo>
                    <a:pt x="282" y="120"/>
                  </a:lnTo>
                  <a:lnTo>
                    <a:pt x="300" y="120"/>
                  </a:lnTo>
                  <a:lnTo>
                    <a:pt x="306" y="114"/>
                  </a:lnTo>
                  <a:lnTo>
                    <a:pt x="312" y="108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8"/>
                  </a:lnTo>
                  <a:lnTo>
                    <a:pt x="342" y="30"/>
                  </a:lnTo>
                  <a:lnTo>
                    <a:pt x="342" y="24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8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24"/>
                  </a:lnTo>
                  <a:lnTo>
                    <a:pt x="414" y="30"/>
                  </a:lnTo>
                  <a:lnTo>
                    <a:pt x="420" y="30"/>
                  </a:lnTo>
                  <a:lnTo>
                    <a:pt x="42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74" y="30"/>
                  </a:lnTo>
                  <a:lnTo>
                    <a:pt x="474" y="18"/>
                  </a:lnTo>
                  <a:lnTo>
                    <a:pt x="474" y="12"/>
                  </a:lnTo>
                  <a:lnTo>
                    <a:pt x="480" y="12"/>
                  </a:lnTo>
                  <a:lnTo>
                    <a:pt x="486" y="12"/>
                  </a:lnTo>
                  <a:lnTo>
                    <a:pt x="606" y="12"/>
                  </a:lnTo>
                  <a:lnTo>
                    <a:pt x="630" y="12"/>
                  </a:lnTo>
                  <a:lnTo>
                    <a:pt x="678" y="12"/>
                  </a:lnTo>
                  <a:lnTo>
                    <a:pt x="744" y="12"/>
                  </a:lnTo>
                  <a:lnTo>
                    <a:pt x="774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2" y="6"/>
                  </a:lnTo>
                  <a:lnTo>
                    <a:pt x="888" y="12"/>
                  </a:lnTo>
                  <a:lnTo>
                    <a:pt x="888" y="24"/>
                  </a:lnTo>
                  <a:lnTo>
                    <a:pt x="888" y="30"/>
                  </a:lnTo>
                  <a:lnTo>
                    <a:pt x="882" y="36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64" y="42"/>
                  </a:lnTo>
                  <a:lnTo>
                    <a:pt x="864" y="48"/>
                  </a:lnTo>
                  <a:lnTo>
                    <a:pt x="858" y="54"/>
                  </a:lnTo>
                  <a:lnTo>
                    <a:pt x="864" y="54"/>
                  </a:lnTo>
                  <a:lnTo>
                    <a:pt x="870" y="72"/>
                  </a:lnTo>
                  <a:lnTo>
                    <a:pt x="870" y="78"/>
                  </a:lnTo>
                  <a:lnTo>
                    <a:pt x="870" y="84"/>
                  </a:lnTo>
                  <a:lnTo>
                    <a:pt x="870" y="90"/>
                  </a:lnTo>
                  <a:close/>
                  <a:moveTo>
                    <a:pt x="972" y="156"/>
                  </a:moveTo>
                  <a:lnTo>
                    <a:pt x="972" y="162"/>
                  </a:lnTo>
                  <a:lnTo>
                    <a:pt x="978" y="162"/>
                  </a:lnTo>
                  <a:lnTo>
                    <a:pt x="984" y="168"/>
                  </a:lnTo>
                  <a:lnTo>
                    <a:pt x="990" y="168"/>
                  </a:lnTo>
                  <a:lnTo>
                    <a:pt x="990" y="162"/>
                  </a:lnTo>
                  <a:lnTo>
                    <a:pt x="1008" y="162"/>
                  </a:lnTo>
                  <a:lnTo>
                    <a:pt x="1020" y="162"/>
                  </a:lnTo>
                  <a:lnTo>
                    <a:pt x="1038" y="162"/>
                  </a:lnTo>
                  <a:lnTo>
                    <a:pt x="1056" y="168"/>
                  </a:lnTo>
                  <a:lnTo>
                    <a:pt x="1056" y="180"/>
                  </a:lnTo>
                  <a:lnTo>
                    <a:pt x="1056" y="186"/>
                  </a:lnTo>
                  <a:lnTo>
                    <a:pt x="1056" y="204"/>
                  </a:lnTo>
                  <a:lnTo>
                    <a:pt x="1050" y="204"/>
                  </a:lnTo>
                  <a:lnTo>
                    <a:pt x="1044" y="204"/>
                  </a:lnTo>
                  <a:lnTo>
                    <a:pt x="1038" y="204"/>
                  </a:lnTo>
                  <a:lnTo>
                    <a:pt x="1032" y="204"/>
                  </a:lnTo>
                  <a:lnTo>
                    <a:pt x="1026" y="204"/>
                  </a:lnTo>
                  <a:lnTo>
                    <a:pt x="1020" y="204"/>
                  </a:lnTo>
                  <a:lnTo>
                    <a:pt x="1014" y="204"/>
                  </a:lnTo>
                  <a:lnTo>
                    <a:pt x="1008" y="204"/>
                  </a:lnTo>
                  <a:lnTo>
                    <a:pt x="1002" y="204"/>
                  </a:lnTo>
                  <a:lnTo>
                    <a:pt x="996" y="204"/>
                  </a:lnTo>
                  <a:lnTo>
                    <a:pt x="984" y="204"/>
                  </a:lnTo>
                  <a:lnTo>
                    <a:pt x="984" y="198"/>
                  </a:lnTo>
                  <a:lnTo>
                    <a:pt x="978" y="198"/>
                  </a:lnTo>
                  <a:lnTo>
                    <a:pt x="966" y="198"/>
                  </a:lnTo>
                  <a:lnTo>
                    <a:pt x="948" y="192"/>
                  </a:lnTo>
                  <a:lnTo>
                    <a:pt x="942" y="192"/>
                  </a:lnTo>
                  <a:lnTo>
                    <a:pt x="936" y="192"/>
                  </a:lnTo>
                  <a:lnTo>
                    <a:pt x="924" y="192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12" y="186"/>
                  </a:lnTo>
                  <a:lnTo>
                    <a:pt x="906" y="186"/>
                  </a:lnTo>
                  <a:lnTo>
                    <a:pt x="900" y="186"/>
                  </a:lnTo>
                  <a:lnTo>
                    <a:pt x="894" y="186"/>
                  </a:lnTo>
                  <a:lnTo>
                    <a:pt x="888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76" y="180"/>
                  </a:lnTo>
                  <a:lnTo>
                    <a:pt x="870" y="180"/>
                  </a:lnTo>
                  <a:lnTo>
                    <a:pt x="864" y="180"/>
                  </a:lnTo>
                  <a:lnTo>
                    <a:pt x="858" y="180"/>
                  </a:lnTo>
                  <a:lnTo>
                    <a:pt x="852" y="180"/>
                  </a:lnTo>
                  <a:lnTo>
                    <a:pt x="852" y="174"/>
                  </a:lnTo>
                  <a:lnTo>
                    <a:pt x="846" y="174"/>
                  </a:lnTo>
                  <a:lnTo>
                    <a:pt x="840" y="174"/>
                  </a:lnTo>
                  <a:lnTo>
                    <a:pt x="834" y="174"/>
                  </a:lnTo>
                  <a:lnTo>
                    <a:pt x="828" y="174"/>
                  </a:lnTo>
                  <a:lnTo>
                    <a:pt x="822" y="174"/>
                  </a:lnTo>
                  <a:lnTo>
                    <a:pt x="816" y="174"/>
                  </a:lnTo>
                  <a:lnTo>
                    <a:pt x="810" y="168"/>
                  </a:lnTo>
                  <a:lnTo>
                    <a:pt x="804" y="168"/>
                  </a:lnTo>
                  <a:lnTo>
                    <a:pt x="798" y="168"/>
                  </a:lnTo>
                  <a:lnTo>
                    <a:pt x="792" y="168"/>
                  </a:lnTo>
                  <a:lnTo>
                    <a:pt x="786" y="168"/>
                  </a:lnTo>
                  <a:lnTo>
                    <a:pt x="780" y="168"/>
                  </a:lnTo>
                  <a:lnTo>
                    <a:pt x="774" y="168"/>
                  </a:lnTo>
                  <a:lnTo>
                    <a:pt x="768" y="168"/>
                  </a:lnTo>
                  <a:lnTo>
                    <a:pt x="762" y="168"/>
                  </a:lnTo>
                  <a:lnTo>
                    <a:pt x="756" y="168"/>
                  </a:lnTo>
                  <a:lnTo>
                    <a:pt x="750" y="168"/>
                  </a:lnTo>
                  <a:lnTo>
                    <a:pt x="750" y="162"/>
                  </a:lnTo>
                  <a:lnTo>
                    <a:pt x="744" y="168"/>
                  </a:lnTo>
                  <a:lnTo>
                    <a:pt x="738" y="162"/>
                  </a:lnTo>
                  <a:lnTo>
                    <a:pt x="732" y="162"/>
                  </a:lnTo>
                  <a:lnTo>
                    <a:pt x="726" y="162"/>
                  </a:lnTo>
                  <a:lnTo>
                    <a:pt x="714" y="162"/>
                  </a:lnTo>
                  <a:lnTo>
                    <a:pt x="702" y="162"/>
                  </a:lnTo>
                  <a:lnTo>
                    <a:pt x="696" y="168"/>
                  </a:lnTo>
                  <a:lnTo>
                    <a:pt x="690" y="168"/>
                  </a:lnTo>
                  <a:lnTo>
                    <a:pt x="684" y="168"/>
                  </a:lnTo>
                  <a:lnTo>
                    <a:pt x="678" y="168"/>
                  </a:lnTo>
                  <a:lnTo>
                    <a:pt x="672" y="168"/>
                  </a:lnTo>
                  <a:lnTo>
                    <a:pt x="666" y="168"/>
                  </a:lnTo>
                  <a:lnTo>
                    <a:pt x="660" y="168"/>
                  </a:lnTo>
                  <a:lnTo>
                    <a:pt x="654" y="168"/>
                  </a:lnTo>
                  <a:lnTo>
                    <a:pt x="648" y="174"/>
                  </a:lnTo>
                  <a:lnTo>
                    <a:pt x="648" y="168"/>
                  </a:lnTo>
                  <a:lnTo>
                    <a:pt x="642" y="174"/>
                  </a:lnTo>
                  <a:lnTo>
                    <a:pt x="636" y="174"/>
                  </a:lnTo>
                  <a:lnTo>
                    <a:pt x="630" y="174"/>
                  </a:lnTo>
                  <a:lnTo>
                    <a:pt x="624" y="174"/>
                  </a:lnTo>
                  <a:lnTo>
                    <a:pt x="618" y="174"/>
                  </a:lnTo>
                  <a:lnTo>
                    <a:pt x="612" y="174"/>
                  </a:lnTo>
                  <a:lnTo>
                    <a:pt x="606" y="174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74"/>
                  </a:lnTo>
                  <a:lnTo>
                    <a:pt x="582" y="174"/>
                  </a:lnTo>
                  <a:lnTo>
                    <a:pt x="576" y="174"/>
                  </a:lnTo>
                  <a:lnTo>
                    <a:pt x="570" y="174"/>
                  </a:lnTo>
                  <a:lnTo>
                    <a:pt x="564" y="174"/>
                  </a:lnTo>
                  <a:lnTo>
                    <a:pt x="558" y="174"/>
                  </a:lnTo>
                  <a:lnTo>
                    <a:pt x="552" y="174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0" y="174"/>
                  </a:lnTo>
                  <a:lnTo>
                    <a:pt x="504" y="174"/>
                  </a:lnTo>
                  <a:lnTo>
                    <a:pt x="498" y="174"/>
                  </a:lnTo>
                  <a:lnTo>
                    <a:pt x="492" y="174"/>
                  </a:lnTo>
                  <a:lnTo>
                    <a:pt x="486" y="174"/>
                  </a:lnTo>
                  <a:lnTo>
                    <a:pt x="480" y="174"/>
                  </a:lnTo>
                  <a:lnTo>
                    <a:pt x="474" y="174"/>
                  </a:lnTo>
                  <a:lnTo>
                    <a:pt x="468" y="174"/>
                  </a:lnTo>
                  <a:lnTo>
                    <a:pt x="462" y="174"/>
                  </a:lnTo>
                  <a:lnTo>
                    <a:pt x="456" y="174"/>
                  </a:lnTo>
                  <a:lnTo>
                    <a:pt x="450" y="180"/>
                  </a:lnTo>
                  <a:lnTo>
                    <a:pt x="450" y="186"/>
                  </a:lnTo>
                  <a:lnTo>
                    <a:pt x="450" y="192"/>
                  </a:lnTo>
                  <a:lnTo>
                    <a:pt x="444" y="192"/>
                  </a:lnTo>
                  <a:lnTo>
                    <a:pt x="444" y="186"/>
                  </a:lnTo>
                  <a:lnTo>
                    <a:pt x="444" y="180"/>
                  </a:lnTo>
                  <a:lnTo>
                    <a:pt x="450" y="180"/>
                  </a:lnTo>
                  <a:lnTo>
                    <a:pt x="450" y="174"/>
                  </a:lnTo>
                  <a:lnTo>
                    <a:pt x="450" y="168"/>
                  </a:lnTo>
                  <a:lnTo>
                    <a:pt x="450" y="162"/>
                  </a:lnTo>
                  <a:lnTo>
                    <a:pt x="456" y="162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62" y="162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74" y="168"/>
                  </a:lnTo>
                  <a:lnTo>
                    <a:pt x="480" y="168"/>
                  </a:lnTo>
                  <a:lnTo>
                    <a:pt x="480" y="162"/>
                  </a:lnTo>
                  <a:lnTo>
                    <a:pt x="480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56"/>
                  </a:lnTo>
                  <a:lnTo>
                    <a:pt x="492" y="156"/>
                  </a:lnTo>
                  <a:lnTo>
                    <a:pt x="486" y="150"/>
                  </a:lnTo>
                  <a:lnTo>
                    <a:pt x="492" y="150"/>
                  </a:lnTo>
                  <a:lnTo>
                    <a:pt x="498" y="150"/>
                  </a:lnTo>
                  <a:lnTo>
                    <a:pt x="498" y="156"/>
                  </a:lnTo>
                  <a:lnTo>
                    <a:pt x="504" y="156"/>
                  </a:lnTo>
                  <a:lnTo>
                    <a:pt x="504" y="162"/>
                  </a:lnTo>
                  <a:lnTo>
                    <a:pt x="504" y="156"/>
                  </a:lnTo>
                  <a:lnTo>
                    <a:pt x="510" y="156"/>
                  </a:lnTo>
                  <a:lnTo>
                    <a:pt x="510" y="150"/>
                  </a:lnTo>
                  <a:lnTo>
                    <a:pt x="516" y="150"/>
                  </a:lnTo>
                  <a:lnTo>
                    <a:pt x="522" y="150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28" y="150"/>
                  </a:lnTo>
                  <a:lnTo>
                    <a:pt x="528" y="144"/>
                  </a:lnTo>
                  <a:lnTo>
                    <a:pt x="540" y="144"/>
                  </a:lnTo>
                  <a:lnTo>
                    <a:pt x="546" y="144"/>
                  </a:lnTo>
                  <a:lnTo>
                    <a:pt x="552" y="138"/>
                  </a:lnTo>
                  <a:lnTo>
                    <a:pt x="552" y="132"/>
                  </a:lnTo>
                  <a:lnTo>
                    <a:pt x="558" y="132"/>
                  </a:lnTo>
                  <a:lnTo>
                    <a:pt x="558" y="126"/>
                  </a:lnTo>
                  <a:lnTo>
                    <a:pt x="558" y="120"/>
                  </a:lnTo>
                  <a:lnTo>
                    <a:pt x="558" y="114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6" y="114"/>
                  </a:lnTo>
                  <a:lnTo>
                    <a:pt x="582" y="120"/>
                  </a:lnTo>
                  <a:lnTo>
                    <a:pt x="588" y="120"/>
                  </a:lnTo>
                  <a:lnTo>
                    <a:pt x="588" y="126"/>
                  </a:lnTo>
                  <a:lnTo>
                    <a:pt x="588" y="120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600" y="114"/>
                  </a:lnTo>
                  <a:lnTo>
                    <a:pt x="606" y="114"/>
                  </a:lnTo>
                  <a:lnTo>
                    <a:pt x="618" y="114"/>
                  </a:lnTo>
                  <a:lnTo>
                    <a:pt x="618" y="108"/>
                  </a:lnTo>
                  <a:lnTo>
                    <a:pt x="624" y="108"/>
                  </a:lnTo>
                  <a:lnTo>
                    <a:pt x="624" y="102"/>
                  </a:lnTo>
                  <a:lnTo>
                    <a:pt x="630" y="102"/>
                  </a:lnTo>
                  <a:lnTo>
                    <a:pt x="636" y="102"/>
                  </a:lnTo>
                  <a:lnTo>
                    <a:pt x="636" y="108"/>
                  </a:lnTo>
                  <a:lnTo>
                    <a:pt x="642" y="108"/>
                  </a:lnTo>
                  <a:lnTo>
                    <a:pt x="648" y="108"/>
                  </a:lnTo>
                  <a:lnTo>
                    <a:pt x="648" y="102"/>
                  </a:lnTo>
                  <a:lnTo>
                    <a:pt x="654" y="102"/>
                  </a:lnTo>
                  <a:lnTo>
                    <a:pt x="660" y="102"/>
                  </a:lnTo>
                  <a:lnTo>
                    <a:pt x="660" y="96"/>
                  </a:lnTo>
                  <a:lnTo>
                    <a:pt x="660" y="90"/>
                  </a:lnTo>
                  <a:lnTo>
                    <a:pt x="666" y="90"/>
                  </a:lnTo>
                  <a:lnTo>
                    <a:pt x="666" y="84"/>
                  </a:lnTo>
                  <a:lnTo>
                    <a:pt x="672" y="78"/>
                  </a:lnTo>
                  <a:lnTo>
                    <a:pt x="672" y="72"/>
                  </a:lnTo>
                  <a:lnTo>
                    <a:pt x="678" y="66"/>
                  </a:lnTo>
                  <a:lnTo>
                    <a:pt x="684" y="66"/>
                  </a:lnTo>
                  <a:lnTo>
                    <a:pt x="684" y="60"/>
                  </a:lnTo>
                  <a:lnTo>
                    <a:pt x="690" y="60"/>
                  </a:lnTo>
                  <a:lnTo>
                    <a:pt x="696" y="60"/>
                  </a:lnTo>
                  <a:lnTo>
                    <a:pt x="702" y="60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66"/>
                  </a:lnTo>
                  <a:lnTo>
                    <a:pt x="720" y="66"/>
                  </a:lnTo>
                  <a:lnTo>
                    <a:pt x="720" y="60"/>
                  </a:lnTo>
                  <a:lnTo>
                    <a:pt x="726" y="60"/>
                  </a:lnTo>
                  <a:lnTo>
                    <a:pt x="732" y="60"/>
                  </a:lnTo>
                  <a:lnTo>
                    <a:pt x="744" y="60"/>
                  </a:lnTo>
                  <a:lnTo>
                    <a:pt x="750" y="54"/>
                  </a:lnTo>
                  <a:lnTo>
                    <a:pt x="762" y="60"/>
                  </a:lnTo>
                  <a:lnTo>
                    <a:pt x="774" y="60"/>
                  </a:lnTo>
                  <a:lnTo>
                    <a:pt x="774" y="66"/>
                  </a:lnTo>
                  <a:lnTo>
                    <a:pt x="780" y="72"/>
                  </a:lnTo>
                  <a:lnTo>
                    <a:pt x="786" y="78"/>
                  </a:lnTo>
                  <a:lnTo>
                    <a:pt x="792" y="78"/>
                  </a:lnTo>
                  <a:lnTo>
                    <a:pt x="810" y="84"/>
                  </a:lnTo>
                  <a:lnTo>
                    <a:pt x="822" y="84"/>
                  </a:lnTo>
                  <a:lnTo>
                    <a:pt x="828" y="84"/>
                  </a:lnTo>
                  <a:lnTo>
                    <a:pt x="834" y="84"/>
                  </a:lnTo>
                  <a:lnTo>
                    <a:pt x="840" y="96"/>
                  </a:lnTo>
                  <a:lnTo>
                    <a:pt x="846" y="102"/>
                  </a:lnTo>
                  <a:lnTo>
                    <a:pt x="858" y="102"/>
                  </a:lnTo>
                  <a:lnTo>
                    <a:pt x="864" y="102"/>
                  </a:lnTo>
                  <a:lnTo>
                    <a:pt x="876" y="96"/>
                  </a:lnTo>
                  <a:lnTo>
                    <a:pt x="882" y="102"/>
                  </a:lnTo>
                  <a:lnTo>
                    <a:pt x="888" y="108"/>
                  </a:lnTo>
                  <a:lnTo>
                    <a:pt x="888" y="114"/>
                  </a:lnTo>
                  <a:lnTo>
                    <a:pt x="888" y="120"/>
                  </a:lnTo>
                  <a:lnTo>
                    <a:pt x="888" y="126"/>
                  </a:lnTo>
                  <a:lnTo>
                    <a:pt x="888" y="132"/>
                  </a:lnTo>
                  <a:lnTo>
                    <a:pt x="882" y="132"/>
                  </a:lnTo>
                  <a:lnTo>
                    <a:pt x="864" y="126"/>
                  </a:lnTo>
                  <a:lnTo>
                    <a:pt x="852" y="120"/>
                  </a:lnTo>
                  <a:lnTo>
                    <a:pt x="840" y="126"/>
                  </a:lnTo>
                  <a:lnTo>
                    <a:pt x="834" y="120"/>
                  </a:lnTo>
                  <a:lnTo>
                    <a:pt x="828" y="120"/>
                  </a:lnTo>
                  <a:lnTo>
                    <a:pt x="822" y="120"/>
                  </a:lnTo>
                  <a:lnTo>
                    <a:pt x="810" y="114"/>
                  </a:lnTo>
                  <a:lnTo>
                    <a:pt x="804" y="114"/>
                  </a:lnTo>
                  <a:lnTo>
                    <a:pt x="798" y="114"/>
                  </a:lnTo>
                  <a:lnTo>
                    <a:pt x="792" y="114"/>
                  </a:lnTo>
                  <a:lnTo>
                    <a:pt x="786" y="114"/>
                  </a:lnTo>
                  <a:lnTo>
                    <a:pt x="780" y="114"/>
                  </a:lnTo>
                  <a:lnTo>
                    <a:pt x="780" y="126"/>
                  </a:lnTo>
                  <a:lnTo>
                    <a:pt x="786" y="126"/>
                  </a:lnTo>
                  <a:lnTo>
                    <a:pt x="798" y="126"/>
                  </a:lnTo>
                  <a:lnTo>
                    <a:pt x="804" y="126"/>
                  </a:lnTo>
                  <a:lnTo>
                    <a:pt x="822" y="132"/>
                  </a:lnTo>
                  <a:lnTo>
                    <a:pt x="828" y="132"/>
                  </a:lnTo>
                  <a:lnTo>
                    <a:pt x="834" y="132"/>
                  </a:lnTo>
                  <a:lnTo>
                    <a:pt x="840" y="144"/>
                  </a:lnTo>
                  <a:lnTo>
                    <a:pt x="846" y="150"/>
                  </a:lnTo>
                  <a:lnTo>
                    <a:pt x="858" y="150"/>
                  </a:lnTo>
                  <a:lnTo>
                    <a:pt x="864" y="162"/>
                  </a:lnTo>
                  <a:lnTo>
                    <a:pt x="870" y="162"/>
                  </a:lnTo>
                  <a:lnTo>
                    <a:pt x="876" y="168"/>
                  </a:lnTo>
                  <a:lnTo>
                    <a:pt x="888" y="168"/>
                  </a:lnTo>
                  <a:lnTo>
                    <a:pt x="894" y="174"/>
                  </a:lnTo>
                  <a:lnTo>
                    <a:pt x="900" y="174"/>
                  </a:lnTo>
                  <a:lnTo>
                    <a:pt x="918" y="174"/>
                  </a:lnTo>
                  <a:lnTo>
                    <a:pt x="924" y="174"/>
                  </a:lnTo>
                  <a:lnTo>
                    <a:pt x="930" y="174"/>
                  </a:lnTo>
                  <a:lnTo>
                    <a:pt x="942" y="174"/>
                  </a:lnTo>
                  <a:lnTo>
                    <a:pt x="954" y="174"/>
                  </a:lnTo>
                  <a:lnTo>
                    <a:pt x="960" y="174"/>
                  </a:lnTo>
                  <a:lnTo>
                    <a:pt x="966" y="174"/>
                  </a:lnTo>
                  <a:lnTo>
                    <a:pt x="966" y="168"/>
                  </a:lnTo>
                  <a:lnTo>
                    <a:pt x="972" y="162"/>
                  </a:lnTo>
                  <a:lnTo>
                    <a:pt x="972" y="156"/>
                  </a:lnTo>
                  <a:close/>
                  <a:moveTo>
                    <a:pt x="942" y="174"/>
                  </a:moveTo>
                  <a:lnTo>
                    <a:pt x="936" y="174"/>
                  </a:lnTo>
                  <a:lnTo>
                    <a:pt x="936" y="168"/>
                  </a:lnTo>
                  <a:lnTo>
                    <a:pt x="936" y="162"/>
                  </a:lnTo>
                  <a:lnTo>
                    <a:pt x="948" y="162"/>
                  </a:lnTo>
                  <a:lnTo>
                    <a:pt x="948" y="156"/>
                  </a:lnTo>
                  <a:lnTo>
                    <a:pt x="954" y="156"/>
                  </a:lnTo>
                  <a:lnTo>
                    <a:pt x="960" y="156"/>
                  </a:lnTo>
                  <a:lnTo>
                    <a:pt x="966" y="156"/>
                  </a:lnTo>
                  <a:lnTo>
                    <a:pt x="966" y="162"/>
                  </a:lnTo>
                  <a:lnTo>
                    <a:pt x="960" y="168"/>
                  </a:lnTo>
                  <a:lnTo>
                    <a:pt x="942" y="174"/>
                  </a:lnTo>
                  <a:close/>
                  <a:moveTo>
                    <a:pt x="900" y="168"/>
                  </a:moveTo>
                  <a:lnTo>
                    <a:pt x="894" y="168"/>
                  </a:lnTo>
                  <a:lnTo>
                    <a:pt x="882" y="156"/>
                  </a:lnTo>
                  <a:lnTo>
                    <a:pt x="882" y="150"/>
                  </a:lnTo>
                  <a:lnTo>
                    <a:pt x="888" y="156"/>
                  </a:lnTo>
                  <a:lnTo>
                    <a:pt x="894" y="150"/>
                  </a:lnTo>
                  <a:lnTo>
                    <a:pt x="900" y="150"/>
                  </a:lnTo>
                  <a:lnTo>
                    <a:pt x="906" y="150"/>
                  </a:lnTo>
                  <a:lnTo>
                    <a:pt x="912" y="150"/>
                  </a:lnTo>
                  <a:lnTo>
                    <a:pt x="924" y="150"/>
                  </a:lnTo>
                  <a:lnTo>
                    <a:pt x="924" y="156"/>
                  </a:lnTo>
                  <a:lnTo>
                    <a:pt x="924" y="162"/>
                  </a:lnTo>
                  <a:lnTo>
                    <a:pt x="924" y="168"/>
                  </a:lnTo>
                  <a:lnTo>
                    <a:pt x="918" y="168"/>
                  </a:lnTo>
                  <a:lnTo>
                    <a:pt x="906" y="168"/>
                  </a:lnTo>
                  <a:lnTo>
                    <a:pt x="900" y="168"/>
                  </a:lnTo>
                  <a:close/>
                  <a:moveTo>
                    <a:pt x="870" y="162"/>
                  </a:moveTo>
                  <a:lnTo>
                    <a:pt x="876" y="162"/>
                  </a:lnTo>
                  <a:lnTo>
                    <a:pt x="876" y="168"/>
                  </a:lnTo>
                  <a:lnTo>
                    <a:pt x="870" y="168"/>
                  </a:lnTo>
                  <a:lnTo>
                    <a:pt x="870" y="162"/>
                  </a:lnTo>
                  <a:close/>
                  <a:moveTo>
                    <a:pt x="450" y="162"/>
                  </a:moveTo>
                  <a:lnTo>
                    <a:pt x="444" y="162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2" y="150"/>
                  </a:lnTo>
                  <a:lnTo>
                    <a:pt x="438" y="150"/>
                  </a:lnTo>
                  <a:lnTo>
                    <a:pt x="438" y="144"/>
                  </a:lnTo>
                  <a:lnTo>
                    <a:pt x="438" y="150"/>
                  </a:lnTo>
                  <a:lnTo>
                    <a:pt x="444" y="150"/>
                  </a:lnTo>
                  <a:lnTo>
                    <a:pt x="450" y="150"/>
                  </a:lnTo>
                  <a:lnTo>
                    <a:pt x="450" y="156"/>
                  </a:lnTo>
                  <a:lnTo>
                    <a:pt x="456" y="156"/>
                  </a:lnTo>
                  <a:lnTo>
                    <a:pt x="456" y="150"/>
                  </a:lnTo>
                  <a:lnTo>
                    <a:pt x="456" y="156"/>
                  </a:lnTo>
                  <a:lnTo>
                    <a:pt x="462" y="150"/>
                  </a:lnTo>
                  <a:lnTo>
                    <a:pt x="462" y="144"/>
                  </a:lnTo>
                  <a:lnTo>
                    <a:pt x="468" y="144"/>
                  </a:lnTo>
                  <a:lnTo>
                    <a:pt x="468" y="150"/>
                  </a:lnTo>
                  <a:lnTo>
                    <a:pt x="474" y="150"/>
                  </a:lnTo>
                  <a:lnTo>
                    <a:pt x="480" y="150"/>
                  </a:lnTo>
                  <a:lnTo>
                    <a:pt x="480" y="156"/>
                  </a:lnTo>
                  <a:lnTo>
                    <a:pt x="480" y="162"/>
                  </a:lnTo>
                  <a:lnTo>
                    <a:pt x="474" y="162"/>
                  </a:lnTo>
                  <a:lnTo>
                    <a:pt x="474" y="168"/>
                  </a:lnTo>
                  <a:lnTo>
                    <a:pt x="474" y="162"/>
                  </a:lnTo>
                  <a:lnTo>
                    <a:pt x="468" y="162"/>
                  </a:lnTo>
                  <a:lnTo>
                    <a:pt x="462" y="162"/>
                  </a:lnTo>
                  <a:lnTo>
                    <a:pt x="456" y="162"/>
                  </a:lnTo>
                  <a:lnTo>
                    <a:pt x="450" y="16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6" name="Freeform 31">
              <a:extLst>
                <a:ext uri="{FF2B5EF4-FFF2-40B4-BE49-F238E27FC236}">
                  <a16:creationId xmlns:a16="http://schemas.microsoft.com/office/drawing/2014/main" id="{0989F057-38E8-4AA5-8B73-27F6355E235C}"/>
                </a:ext>
              </a:extLst>
            </p:cNvPr>
            <p:cNvSpPr>
              <a:spLocks/>
            </p:cNvSpPr>
            <p:nvPr/>
          </p:nvSpPr>
          <p:spPr bwMode="gray">
            <a:xfrm>
              <a:off x="792590" y="2728084"/>
              <a:ext cx="1182944" cy="740282"/>
            </a:xfrm>
            <a:custGeom>
              <a:avLst/>
              <a:gdLst>
                <a:gd name="T0" fmla="*/ 138 w 2226"/>
                <a:gd name="T1" fmla="*/ 121 h 1392"/>
                <a:gd name="T2" fmla="*/ 133 w 2226"/>
                <a:gd name="T3" fmla="*/ 119 h 1392"/>
                <a:gd name="T4" fmla="*/ 128 w 2226"/>
                <a:gd name="T5" fmla="*/ 117 h 1392"/>
                <a:gd name="T6" fmla="*/ 119 w 2226"/>
                <a:gd name="T7" fmla="*/ 116 h 1392"/>
                <a:gd name="T8" fmla="*/ 101 w 2226"/>
                <a:gd name="T9" fmla="*/ 116 h 1392"/>
                <a:gd name="T10" fmla="*/ 94 w 2226"/>
                <a:gd name="T11" fmla="*/ 104 h 1392"/>
                <a:gd name="T12" fmla="*/ 82 w 2226"/>
                <a:gd name="T13" fmla="*/ 83 h 1392"/>
                <a:gd name="T14" fmla="*/ 87 w 2226"/>
                <a:gd name="T15" fmla="*/ 69 h 1392"/>
                <a:gd name="T16" fmla="*/ 82 w 2226"/>
                <a:gd name="T17" fmla="*/ 65 h 1392"/>
                <a:gd name="T18" fmla="*/ 59 w 2226"/>
                <a:gd name="T19" fmla="*/ 57 h 1392"/>
                <a:gd name="T20" fmla="*/ 29 w 2226"/>
                <a:gd name="T21" fmla="*/ 77 h 1392"/>
                <a:gd name="T22" fmla="*/ 20 w 2226"/>
                <a:gd name="T23" fmla="*/ 78 h 1392"/>
                <a:gd name="T24" fmla="*/ 15 w 2226"/>
                <a:gd name="T25" fmla="*/ 82 h 1392"/>
                <a:gd name="T26" fmla="*/ 8 w 2226"/>
                <a:gd name="T27" fmla="*/ 86 h 1392"/>
                <a:gd name="T28" fmla="*/ 1 w 2226"/>
                <a:gd name="T29" fmla="*/ 88 h 1392"/>
                <a:gd name="T30" fmla="*/ 0 w 2226"/>
                <a:gd name="T31" fmla="*/ 82 h 1392"/>
                <a:gd name="T32" fmla="*/ 0 w 2226"/>
                <a:gd name="T33" fmla="*/ 76 h 1392"/>
                <a:gd name="T34" fmla="*/ 2 w 2226"/>
                <a:gd name="T35" fmla="*/ 70 h 1392"/>
                <a:gd name="T36" fmla="*/ 3 w 2226"/>
                <a:gd name="T37" fmla="*/ 65 h 1392"/>
                <a:gd name="T38" fmla="*/ 2 w 2226"/>
                <a:gd name="T39" fmla="*/ 63 h 1392"/>
                <a:gd name="T40" fmla="*/ 9 w 2226"/>
                <a:gd name="T41" fmla="*/ 60 h 1392"/>
                <a:gd name="T42" fmla="*/ 17 w 2226"/>
                <a:gd name="T43" fmla="*/ 59 h 1392"/>
                <a:gd name="T44" fmla="*/ 22 w 2226"/>
                <a:gd name="T45" fmla="*/ 51 h 1392"/>
                <a:gd name="T46" fmla="*/ 23 w 2226"/>
                <a:gd name="T47" fmla="*/ 43 h 1392"/>
                <a:gd name="T48" fmla="*/ 27 w 2226"/>
                <a:gd name="T49" fmla="*/ 34 h 1392"/>
                <a:gd name="T50" fmla="*/ 30 w 2226"/>
                <a:gd name="T51" fmla="*/ 27 h 1392"/>
                <a:gd name="T52" fmla="*/ 33 w 2226"/>
                <a:gd name="T53" fmla="*/ 22 h 1392"/>
                <a:gd name="T54" fmla="*/ 42 w 2226"/>
                <a:gd name="T55" fmla="*/ 17 h 1392"/>
                <a:gd name="T56" fmla="*/ 47 w 2226"/>
                <a:gd name="T57" fmla="*/ 14 h 1392"/>
                <a:gd name="T58" fmla="*/ 49 w 2226"/>
                <a:gd name="T59" fmla="*/ 5 h 1392"/>
                <a:gd name="T60" fmla="*/ 53 w 2226"/>
                <a:gd name="T61" fmla="*/ 0 h 1392"/>
                <a:gd name="T62" fmla="*/ 55 w 2226"/>
                <a:gd name="T63" fmla="*/ 4 h 1392"/>
                <a:gd name="T64" fmla="*/ 59 w 2226"/>
                <a:gd name="T65" fmla="*/ 7 h 1392"/>
                <a:gd name="T66" fmla="*/ 63 w 2226"/>
                <a:gd name="T67" fmla="*/ 7 h 1392"/>
                <a:gd name="T68" fmla="*/ 66 w 2226"/>
                <a:gd name="T69" fmla="*/ 9 h 1392"/>
                <a:gd name="T70" fmla="*/ 67 w 2226"/>
                <a:gd name="T71" fmla="*/ 12 h 1392"/>
                <a:gd name="T72" fmla="*/ 67 w 2226"/>
                <a:gd name="T73" fmla="*/ 13 h 1392"/>
                <a:gd name="T74" fmla="*/ 70 w 2226"/>
                <a:gd name="T75" fmla="*/ 15 h 1392"/>
                <a:gd name="T76" fmla="*/ 74 w 2226"/>
                <a:gd name="T77" fmla="*/ 17 h 1392"/>
                <a:gd name="T78" fmla="*/ 78 w 2226"/>
                <a:gd name="T79" fmla="*/ 18 h 1392"/>
                <a:gd name="T80" fmla="*/ 97 w 2226"/>
                <a:gd name="T81" fmla="*/ 40 h 1392"/>
                <a:gd name="T82" fmla="*/ 102 w 2226"/>
                <a:gd name="T83" fmla="*/ 44 h 1392"/>
                <a:gd name="T84" fmla="*/ 110 w 2226"/>
                <a:gd name="T85" fmla="*/ 49 h 1392"/>
                <a:gd name="T86" fmla="*/ 113 w 2226"/>
                <a:gd name="T87" fmla="*/ 53 h 1392"/>
                <a:gd name="T88" fmla="*/ 118 w 2226"/>
                <a:gd name="T89" fmla="*/ 57 h 1392"/>
                <a:gd name="T90" fmla="*/ 124 w 2226"/>
                <a:gd name="T91" fmla="*/ 54 h 1392"/>
                <a:gd name="T92" fmla="*/ 133 w 2226"/>
                <a:gd name="T93" fmla="*/ 58 h 1392"/>
                <a:gd name="T94" fmla="*/ 137 w 2226"/>
                <a:gd name="T95" fmla="*/ 64 h 1392"/>
                <a:gd name="T96" fmla="*/ 145 w 2226"/>
                <a:gd name="T97" fmla="*/ 65 h 1392"/>
                <a:gd name="T98" fmla="*/ 152 w 2226"/>
                <a:gd name="T99" fmla="*/ 67 h 1392"/>
                <a:gd name="T100" fmla="*/ 161 w 2226"/>
                <a:gd name="T101" fmla="*/ 72 h 1392"/>
                <a:gd name="T102" fmla="*/ 168 w 2226"/>
                <a:gd name="T103" fmla="*/ 76 h 1392"/>
                <a:gd name="T104" fmla="*/ 177 w 2226"/>
                <a:gd name="T105" fmla="*/ 78 h 1392"/>
                <a:gd name="T106" fmla="*/ 184 w 2226"/>
                <a:gd name="T107" fmla="*/ 78 h 1392"/>
                <a:gd name="T108" fmla="*/ 190 w 2226"/>
                <a:gd name="T109" fmla="*/ 81 h 1392"/>
                <a:gd name="T110" fmla="*/ 192 w 2226"/>
                <a:gd name="T111" fmla="*/ 86 h 1392"/>
                <a:gd name="T112" fmla="*/ 187 w 2226"/>
                <a:gd name="T113" fmla="*/ 99 h 1392"/>
                <a:gd name="T114" fmla="*/ 165 w 2226"/>
                <a:gd name="T115" fmla="*/ 97 h 1392"/>
                <a:gd name="T116" fmla="*/ 155 w 2226"/>
                <a:gd name="T117" fmla="*/ 92 h 1392"/>
                <a:gd name="T118" fmla="*/ 146 w 2226"/>
                <a:gd name="T119" fmla="*/ 102 h 1392"/>
                <a:gd name="T120" fmla="*/ 149 w 2226"/>
                <a:gd name="T121" fmla="*/ 106 h 1392"/>
                <a:gd name="T122" fmla="*/ 151 w 2226"/>
                <a:gd name="T123" fmla="*/ 108 h 1392"/>
                <a:gd name="T124" fmla="*/ 157 w 2226"/>
                <a:gd name="T125" fmla="*/ 113 h 13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1392"/>
                <a:gd name="T191" fmla="*/ 2226 w 2226"/>
                <a:gd name="T192" fmla="*/ 1392 h 13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1392">
                  <a:moveTo>
                    <a:pt x="1782" y="1326"/>
                  </a:moveTo>
                  <a:lnTo>
                    <a:pt x="1776" y="1332"/>
                  </a:lnTo>
                  <a:lnTo>
                    <a:pt x="1692" y="1338"/>
                  </a:lnTo>
                  <a:lnTo>
                    <a:pt x="1680" y="1386"/>
                  </a:lnTo>
                  <a:lnTo>
                    <a:pt x="1674" y="1392"/>
                  </a:lnTo>
                  <a:lnTo>
                    <a:pt x="1638" y="1392"/>
                  </a:lnTo>
                  <a:lnTo>
                    <a:pt x="1620" y="1392"/>
                  </a:lnTo>
                  <a:lnTo>
                    <a:pt x="1614" y="1392"/>
                  </a:lnTo>
                  <a:lnTo>
                    <a:pt x="1608" y="1386"/>
                  </a:lnTo>
                  <a:lnTo>
                    <a:pt x="1584" y="1386"/>
                  </a:lnTo>
                  <a:lnTo>
                    <a:pt x="1578" y="1386"/>
                  </a:lnTo>
                  <a:lnTo>
                    <a:pt x="1572" y="1380"/>
                  </a:lnTo>
                  <a:lnTo>
                    <a:pt x="1578" y="1356"/>
                  </a:lnTo>
                  <a:lnTo>
                    <a:pt x="1572" y="1356"/>
                  </a:lnTo>
                  <a:lnTo>
                    <a:pt x="1560" y="1350"/>
                  </a:lnTo>
                  <a:lnTo>
                    <a:pt x="1554" y="1350"/>
                  </a:lnTo>
                  <a:lnTo>
                    <a:pt x="1542" y="1350"/>
                  </a:lnTo>
                  <a:lnTo>
                    <a:pt x="1530" y="1350"/>
                  </a:lnTo>
                  <a:lnTo>
                    <a:pt x="1524" y="1356"/>
                  </a:lnTo>
                  <a:lnTo>
                    <a:pt x="1524" y="1362"/>
                  </a:lnTo>
                  <a:lnTo>
                    <a:pt x="1512" y="1374"/>
                  </a:lnTo>
                  <a:lnTo>
                    <a:pt x="1506" y="1374"/>
                  </a:lnTo>
                  <a:lnTo>
                    <a:pt x="1500" y="1368"/>
                  </a:lnTo>
                  <a:lnTo>
                    <a:pt x="1500" y="1362"/>
                  </a:lnTo>
                  <a:lnTo>
                    <a:pt x="1488" y="1362"/>
                  </a:lnTo>
                  <a:lnTo>
                    <a:pt x="1482" y="1356"/>
                  </a:lnTo>
                  <a:lnTo>
                    <a:pt x="1482" y="1350"/>
                  </a:lnTo>
                  <a:lnTo>
                    <a:pt x="1476" y="1350"/>
                  </a:lnTo>
                  <a:lnTo>
                    <a:pt x="1470" y="1344"/>
                  </a:lnTo>
                  <a:lnTo>
                    <a:pt x="1464" y="1344"/>
                  </a:lnTo>
                  <a:lnTo>
                    <a:pt x="1452" y="1350"/>
                  </a:lnTo>
                  <a:lnTo>
                    <a:pt x="1452" y="1356"/>
                  </a:lnTo>
                  <a:lnTo>
                    <a:pt x="1440" y="1356"/>
                  </a:lnTo>
                  <a:lnTo>
                    <a:pt x="1434" y="1344"/>
                  </a:lnTo>
                  <a:lnTo>
                    <a:pt x="1422" y="1332"/>
                  </a:lnTo>
                  <a:lnTo>
                    <a:pt x="1416" y="1326"/>
                  </a:lnTo>
                  <a:lnTo>
                    <a:pt x="1404" y="1320"/>
                  </a:lnTo>
                  <a:lnTo>
                    <a:pt x="1404" y="1314"/>
                  </a:lnTo>
                  <a:lnTo>
                    <a:pt x="1374" y="1308"/>
                  </a:lnTo>
                  <a:lnTo>
                    <a:pt x="1368" y="1326"/>
                  </a:lnTo>
                  <a:lnTo>
                    <a:pt x="1344" y="1338"/>
                  </a:lnTo>
                  <a:lnTo>
                    <a:pt x="1326" y="1332"/>
                  </a:lnTo>
                  <a:lnTo>
                    <a:pt x="1302" y="1332"/>
                  </a:lnTo>
                  <a:lnTo>
                    <a:pt x="1278" y="1338"/>
                  </a:lnTo>
                  <a:lnTo>
                    <a:pt x="1236" y="1338"/>
                  </a:lnTo>
                  <a:lnTo>
                    <a:pt x="1224" y="1338"/>
                  </a:lnTo>
                  <a:lnTo>
                    <a:pt x="1224" y="1326"/>
                  </a:lnTo>
                  <a:lnTo>
                    <a:pt x="1206" y="1326"/>
                  </a:lnTo>
                  <a:lnTo>
                    <a:pt x="1170" y="1326"/>
                  </a:lnTo>
                  <a:lnTo>
                    <a:pt x="1152" y="1326"/>
                  </a:lnTo>
                  <a:lnTo>
                    <a:pt x="1140" y="1314"/>
                  </a:lnTo>
                  <a:lnTo>
                    <a:pt x="1134" y="1296"/>
                  </a:lnTo>
                  <a:lnTo>
                    <a:pt x="1134" y="1284"/>
                  </a:lnTo>
                  <a:lnTo>
                    <a:pt x="1128" y="1254"/>
                  </a:lnTo>
                  <a:lnTo>
                    <a:pt x="1128" y="1242"/>
                  </a:lnTo>
                  <a:lnTo>
                    <a:pt x="1122" y="1230"/>
                  </a:lnTo>
                  <a:lnTo>
                    <a:pt x="1104" y="1218"/>
                  </a:lnTo>
                  <a:lnTo>
                    <a:pt x="1104" y="1212"/>
                  </a:lnTo>
                  <a:lnTo>
                    <a:pt x="1092" y="1206"/>
                  </a:lnTo>
                  <a:lnTo>
                    <a:pt x="1080" y="1194"/>
                  </a:lnTo>
                  <a:lnTo>
                    <a:pt x="1068" y="1176"/>
                  </a:lnTo>
                  <a:lnTo>
                    <a:pt x="1050" y="1152"/>
                  </a:lnTo>
                  <a:lnTo>
                    <a:pt x="1020" y="1098"/>
                  </a:lnTo>
                  <a:lnTo>
                    <a:pt x="978" y="1026"/>
                  </a:lnTo>
                  <a:lnTo>
                    <a:pt x="978" y="1014"/>
                  </a:lnTo>
                  <a:lnTo>
                    <a:pt x="972" y="1014"/>
                  </a:lnTo>
                  <a:lnTo>
                    <a:pt x="972" y="1008"/>
                  </a:lnTo>
                  <a:lnTo>
                    <a:pt x="978" y="1002"/>
                  </a:lnTo>
                  <a:lnTo>
                    <a:pt x="960" y="966"/>
                  </a:lnTo>
                  <a:lnTo>
                    <a:pt x="948" y="954"/>
                  </a:lnTo>
                  <a:lnTo>
                    <a:pt x="948" y="936"/>
                  </a:lnTo>
                  <a:lnTo>
                    <a:pt x="936" y="900"/>
                  </a:lnTo>
                  <a:lnTo>
                    <a:pt x="942" y="876"/>
                  </a:lnTo>
                  <a:lnTo>
                    <a:pt x="942" y="834"/>
                  </a:lnTo>
                  <a:lnTo>
                    <a:pt x="960" y="828"/>
                  </a:lnTo>
                  <a:lnTo>
                    <a:pt x="966" y="816"/>
                  </a:lnTo>
                  <a:lnTo>
                    <a:pt x="972" y="810"/>
                  </a:lnTo>
                  <a:lnTo>
                    <a:pt x="978" y="804"/>
                  </a:lnTo>
                  <a:lnTo>
                    <a:pt x="996" y="798"/>
                  </a:lnTo>
                  <a:lnTo>
                    <a:pt x="996" y="792"/>
                  </a:lnTo>
                  <a:lnTo>
                    <a:pt x="1014" y="780"/>
                  </a:lnTo>
                  <a:lnTo>
                    <a:pt x="1026" y="768"/>
                  </a:lnTo>
                  <a:lnTo>
                    <a:pt x="1032" y="762"/>
                  </a:lnTo>
                  <a:lnTo>
                    <a:pt x="1026" y="756"/>
                  </a:lnTo>
                  <a:lnTo>
                    <a:pt x="1014" y="744"/>
                  </a:lnTo>
                  <a:lnTo>
                    <a:pt x="996" y="756"/>
                  </a:lnTo>
                  <a:lnTo>
                    <a:pt x="954" y="768"/>
                  </a:lnTo>
                  <a:lnTo>
                    <a:pt x="942" y="762"/>
                  </a:lnTo>
                  <a:lnTo>
                    <a:pt x="942" y="756"/>
                  </a:lnTo>
                  <a:lnTo>
                    <a:pt x="936" y="750"/>
                  </a:lnTo>
                  <a:lnTo>
                    <a:pt x="846" y="732"/>
                  </a:lnTo>
                  <a:lnTo>
                    <a:pt x="822" y="726"/>
                  </a:lnTo>
                  <a:lnTo>
                    <a:pt x="810" y="714"/>
                  </a:lnTo>
                  <a:lnTo>
                    <a:pt x="792" y="690"/>
                  </a:lnTo>
                  <a:lnTo>
                    <a:pt x="792" y="678"/>
                  </a:lnTo>
                  <a:lnTo>
                    <a:pt x="762" y="642"/>
                  </a:lnTo>
                  <a:lnTo>
                    <a:pt x="750" y="636"/>
                  </a:lnTo>
                  <a:lnTo>
                    <a:pt x="726" y="630"/>
                  </a:lnTo>
                  <a:lnTo>
                    <a:pt x="696" y="642"/>
                  </a:lnTo>
                  <a:lnTo>
                    <a:pt x="678" y="654"/>
                  </a:lnTo>
                  <a:lnTo>
                    <a:pt x="666" y="684"/>
                  </a:lnTo>
                  <a:lnTo>
                    <a:pt x="660" y="726"/>
                  </a:lnTo>
                  <a:lnTo>
                    <a:pt x="606" y="756"/>
                  </a:lnTo>
                  <a:lnTo>
                    <a:pt x="558" y="780"/>
                  </a:lnTo>
                  <a:lnTo>
                    <a:pt x="438" y="834"/>
                  </a:lnTo>
                  <a:lnTo>
                    <a:pt x="402" y="846"/>
                  </a:lnTo>
                  <a:lnTo>
                    <a:pt x="372" y="870"/>
                  </a:lnTo>
                  <a:lnTo>
                    <a:pt x="360" y="876"/>
                  </a:lnTo>
                  <a:lnTo>
                    <a:pt x="354" y="876"/>
                  </a:lnTo>
                  <a:lnTo>
                    <a:pt x="330" y="882"/>
                  </a:lnTo>
                  <a:lnTo>
                    <a:pt x="306" y="882"/>
                  </a:lnTo>
                  <a:lnTo>
                    <a:pt x="300" y="876"/>
                  </a:lnTo>
                  <a:lnTo>
                    <a:pt x="294" y="876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76" y="864"/>
                  </a:lnTo>
                  <a:lnTo>
                    <a:pt x="270" y="870"/>
                  </a:lnTo>
                  <a:lnTo>
                    <a:pt x="264" y="870"/>
                  </a:lnTo>
                  <a:lnTo>
                    <a:pt x="240" y="894"/>
                  </a:lnTo>
                  <a:lnTo>
                    <a:pt x="234" y="894"/>
                  </a:lnTo>
                  <a:lnTo>
                    <a:pt x="228" y="900"/>
                  </a:lnTo>
                  <a:lnTo>
                    <a:pt x="222" y="906"/>
                  </a:lnTo>
                  <a:lnTo>
                    <a:pt x="210" y="912"/>
                  </a:lnTo>
                  <a:lnTo>
                    <a:pt x="204" y="912"/>
                  </a:lnTo>
                  <a:lnTo>
                    <a:pt x="198" y="912"/>
                  </a:lnTo>
                  <a:lnTo>
                    <a:pt x="192" y="918"/>
                  </a:lnTo>
                  <a:lnTo>
                    <a:pt x="180" y="918"/>
                  </a:lnTo>
                  <a:lnTo>
                    <a:pt x="174" y="930"/>
                  </a:lnTo>
                  <a:lnTo>
                    <a:pt x="174" y="936"/>
                  </a:lnTo>
                  <a:lnTo>
                    <a:pt x="168" y="942"/>
                  </a:lnTo>
                  <a:lnTo>
                    <a:pt x="162" y="942"/>
                  </a:lnTo>
                  <a:lnTo>
                    <a:pt x="150" y="960"/>
                  </a:lnTo>
                  <a:lnTo>
                    <a:pt x="144" y="966"/>
                  </a:lnTo>
                  <a:lnTo>
                    <a:pt x="138" y="972"/>
                  </a:lnTo>
                  <a:lnTo>
                    <a:pt x="132" y="972"/>
                  </a:lnTo>
                  <a:lnTo>
                    <a:pt x="126" y="984"/>
                  </a:lnTo>
                  <a:lnTo>
                    <a:pt x="120" y="984"/>
                  </a:lnTo>
                  <a:lnTo>
                    <a:pt x="114" y="990"/>
                  </a:lnTo>
                  <a:lnTo>
                    <a:pt x="96" y="990"/>
                  </a:lnTo>
                  <a:lnTo>
                    <a:pt x="90" y="990"/>
                  </a:lnTo>
                  <a:lnTo>
                    <a:pt x="78" y="990"/>
                  </a:lnTo>
                  <a:lnTo>
                    <a:pt x="72" y="990"/>
                  </a:lnTo>
                  <a:lnTo>
                    <a:pt x="60" y="990"/>
                  </a:lnTo>
                  <a:lnTo>
                    <a:pt x="42" y="990"/>
                  </a:lnTo>
                  <a:lnTo>
                    <a:pt x="36" y="996"/>
                  </a:lnTo>
                  <a:lnTo>
                    <a:pt x="30" y="1002"/>
                  </a:lnTo>
                  <a:lnTo>
                    <a:pt x="24" y="1014"/>
                  </a:lnTo>
                  <a:lnTo>
                    <a:pt x="24" y="1020"/>
                  </a:lnTo>
                  <a:lnTo>
                    <a:pt x="18" y="1020"/>
                  </a:lnTo>
                  <a:lnTo>
                    <a:pt x="12" y="1014"/>
                  </a:lnTo>
                  <a:lnTo>
                    <a:pt x="12" y="1008"/>
                  </a:lnTo>
                  <a:lnTo>
                    <a:pt x="12" y="990"/>
                  </a:lnTo>
                  <a:lnTo>
                    <a:pt x="12" y="984"/>
                  </a:lnTo>
                  <a:lnTo>
                    <a:pt x="12" y="972"/>
                  </a:lnTo>
                  <a:lnTo>
                    <a:pt x="12" y="966"/>
                  </a:lnTo>
                  <a:lnTo>
                    <a:pt x="6" y="966"/>
                  </a:lnTo>
                  <a:lnTo>
                    <a:pt x="6" y="960"/>
                  </a:lnTo>
                  <a:lnTo>
                    <a:pt x="6" y="954"/>
                  </a:lnTo>
                  <a:lnTo>
                    <a:pt x="6" y="948"/>
                  </a:lnTo>
                  <a:lnTo>
                    <a:pt x="6" y="942"/>
                  </a:lnTo>
                  <a:lnTo>
                    <a:pt x="12" y="930"/>
                  </a:lnTo>
                  <a:lnTo>
                    <a:pt x="6" y="924"/>
                  </a:lnTo>
                  <a:lnTo>
                    <a:pt x="6" y="918"/>
                  </a:lnTo>
                  <a:lnTo>
                    <a:pt x="6" y="912"/>
                  </a:lnTo>
                  <a:lnTo>
                    <a:pt x="6" y="906"/>
                  </a:lnTo>
                  <a:lnTo>
                    <a:pt x="6" y="900"/>
                  </a:lnTo>
                  <a:lnTo>
                    <a:pt x="0" y="894"/>
                  </a:lnTo>
                  <a:lnTo>
                    <a:pt x="0" y="888"/>
                  </a:lnTo>
                  <a:lnTo>
                    <a:pt x="0" y="882"/>
                  </a:lnTo>
                  <a:lnTo>
                    <a:pt x="6" y="876"/>
                  </a:lnTo>
                  <a:lnTo>
                    <a:pt x="6" y="870"/>
                  </a:lnTo>
                  <a:lnTo>
                    <a:pt x="18" y="864"/>
                  </a:lnTo>
                  <a:lnTo>
                    <a:pt x="18" y="858"/>
                  </a:lnTo>
                  <a:lnTo>
                    <a:pt x="18" y="846"/>
                  </a:lnTo>
                  <a:lnTo>
                    <a:pt x="18" y="834"/>
                  </a:lnTo>
                  <a:lnTo>
                    <a:pt x="18" y="828"/>
                  </a:lnTo>
                  <a:lnTo>
                    <a:pt x="24" y="828"/>
                  </a:lnTo>
                  <a:lnTo>
                    <a:pt x="24" y="810"/>
                  </a:lnTo>
                  <a:lnTo>
                    <a:pt x="24" y="804"/>
                  </a:lnTo>
                  <a:lnTo>
                    <a:pt x="18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24" y="792"/>
                  </a:lnTo>
                  <a:lnTo>
                    <a:pt x="30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6" y="762"/>
                  </a:lnTo>
                  <a:lnTo>
                    <a:pt x="36" y="756"/>
                  </a:lnTo>
                  <a:lnTo>
                    <a:pt x="30" y="756"/>
                  </a:lnTo>
                  <a:lnTo>
                    <a:pt x="30" y="750"/>
                  </a:lnTo>
                  <a:lnTo>
                    <a:pt x="36" y="750"/>
                  </a:lnTo>
                  <a:lnTo>
                    <a:pt x="36" y="744"/>
                  </a:lnTo>
                  <a:lnTo>
                    <a:pt x="30" y="744"/>
                  </a:lnTo>
                  <a:lnTo>
                    <a:pt x="30" y="738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0" y="732"/>
                  </a:lnTo>
                  <a:lnTo>
                    <a:pt x="36" y="726"/>
                  </a:lnTo>
                  <a:lnTo>
                    <a:pt x="30" y="726"/>
                  </a:lnTo>
                  <a:lnTo>
                    <a:pt x="24" y="726"/>
                  </a:lnTo>
                  <a:lnTo>
                    <a:pt x="30" y="720"/>
                  </a:lnTo>
                  <a:lnTo>
                    <a:pt x="30" y="714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696"/>
                  </a:lnTo>
                  <a:lnTo>
                    <a:pt x="66" y="702"/>
                  </a:lnTo>
                  <a:lnTo>
                    <a:pt x="78" y="702"/>
                  </a:lnTo>
                  <a:lnTo>
                    <a:pt x="84" y="702"/>
                  </a:lnTo>
                  <a:lnTo>
                    <a:pt x="96" y="696"/>
                  </a:lnTo>
                  <a:lnTo>
                    <a:pt x="102" y="690"/>
                  </a:lnTo>
                  <a:lnTo>
                    <a:pt x="102" y="684"/>
                  </a:lnTo>
                  <a:lnTo>
                    <a:pt x="114" y="684"/>
                  </a:lnTo>
                  <a:lnTo>
                    <a:pt x="144" y="684"/>
                  </a:lnTo>
                  <a:lnTo>
                    <a:pt x="150" y="690"/>
                  </a:lnTo>
                  <a:lnTo>
                    <a:pt x="162" y="696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6" y="690"/>
                  </a:lnTo>
                  <a:lnTo>
                    <a:pt x="192" y="690"/>
                  </a:lnTo>
                  <a:lnTo>
                    <a:pt x="198" y="684"/>
                  </a:lnTo>
                  <a:lnTo>
                    <a:pt x="204" y="684"/>
                  </a:lnTo>
                  <a:lnTo>
                    <a:pt x="210" y="684"/>
                  </a:lnTo>
                  <a:lnTo>
                    <a:pt x="222" y="678"/>
                  </a:lnTo>
                  <a:lnTo>
                    <a:pt x="228" y="678"/>
                  </a:lnTo>
                  <a:lnTo>
                    <a:pt x="228" y="660"/>
                  </a:lnTo>
                  <a:lnTo>
                    <a:pt x="234" y="642"/>
                  </a:lnTo>
                  <a:lnTo>
                    <a:pt x="246" y="618"/>
                  </a:lnTo>
                  <a:lnTo>
                    <a:pt x="252" y="618"/>
                  </a:lnTo>
                  <a:lnTo>
                    <a:pt x="252" y="600"/>
                  </a:lnTo>
                  <a:lnTo>
                    <a:pt x="252" y="588"/>
                  </a:lnTo>
                  <a:lnTo>
                    <a:pt x="252" y="582"/>
                  </a:lnTo>
                  <a:lnTo>
                    <a:pt x="258" y="576"/>
                  </a:lnTo>
                  <a:lnTo>
                    <a:pt x="270" y="564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70" y="522"/>
                  </a:lnTo>
                  <a:lnTo>
                    <a:pt x="270" y="510"/>
                  </a:lnTo>
                  <a:lnTo>
                    <a:pt x="270" y="498"/>
                  </a:lnTo>
                  <a:lnTo>
                    <a:pt x="258" y="468"/>
                  </a:lnTo>
                  <a:lnTo>
                    <a:pt x="252" y="456"/>
                  </a:lnTo>
                  <a:lnTo>
                    <a:pt x="258" y="444"/>
                  </a:lnTo>
                  <a:lnTo>
                    <a:pt x="264" y="432"/>
                  </a:lnTo>
                  <a:lnTo>
                    <a:pt x="270" y="426"/>
                  </a:lnTo>
                  <a:lnTo>
                    <a:pt x="276" y="420"/>
                  </a:lnTo>
                  <a:lnTo>
                    <a:pt x="288" y="420"/>
                  </a:lnTo>
                  <a:lnTo>
                    <a:pt x="288" y="414"/>
                  </a:lnTo>
                  <a:lnTo>
                    <a:pt x="294" y="414"/>
                  </a:lnTo>
                  <a:lnTo>
                    <a:pt x="306" y="390"/>
                  </a:lnTo>
                  <a:lnTo>
                    <a:pt x="312" y="384"/>
                  </a:lnTo>
                  <a:lnTo>
                    <a:pt x="318" y="378"/>
                  </a:lnTo>
                  <a:lnTo>
                    <a:pt x="318" y="372"/>
                  </a:lnTo>
                  <a:lnTo>
                    <a:pt x="324" y="366"/>
                  </a:lnTo>
                  <a:lnTo>
                    <a:pt x="330" y="354"/>
                  </a:lnTo>
                  <a:lnTo>
                    <a:pt x="336" y="348"/>
                  </a:lnTo>
                  <a:lnTo>
                    <a:pt x="336" y="330"/>
                  </a:lnTo>
                  <a:lnTo>
                    <a:pt x="342" y="324"/>
                  </a:lnTo>
                  <a:lnTo>
                    <a:pt x="342" y="318"/>
                  </a:lnTo>
                  <a:lnTo>
                    <a:pt x="348" y="318"/>
                  </a:lnTo>
                  <a:lnTo>
                    <a:pt x="360" y="318"/>
                  </a:lnTo>
                  <a:lnTo>
                    <a:pt x="372" y="318"/>
                  </a:lnTo>
                  <a:lnTo>
                    <a:pt x="384" y="306"/>
                  </a:lnTo>
                  <a:lnTo>
                    <a:pt x="396" y="300"/>
                  </a:lnTo>
                  <a:lnTo>
                    <a:pt x="396" y="294"/>
                  </a:lnTo>
                  <a:lnTo>
                    <a:pt x="396" y="288"/>
                  </a:lnTo>
                  <a:lnTo>
                    <a:pt x="390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2"/>
                  </a:lnTo>
                  <a:lnTo>
                    <a:pt x="378" y="246"/>
                  </a:lnTo>
                  <a:lnTo>
                    <a:pt x="384" y="228"/>
                  </a:lnTo>
                  <a:lnTo>
                    <a:pt x="390" y="216"/>
                  </a:lnTo>
                  <a:lnTo>
                    <a:pt x="402" y="210"/>
                  </a:lnTo>
                  <a:lnTo>
                    <a:pt x="408" y="210"/>
                  </a:lnTo>
                  <a:lnTo>
                    <a:pt x="420" y="204"/>
                  </a:lnTo>
                  <a:lnTo>
                    <a:pt x="444" y="198"/>
                  </a:lnTo>
                  <a:lnTo>
                    <a:pt x="462" y="192"/>
                  </a:lnTo>
                  <a:lnTo>
                    <a:pt x="474" y="186"/>
                  </a:lnTo>
                  <a:lnTo>
                    <a:pt x="480" y="192"/>
                  </a:lnTo>
                  <a:lnTo>
                    <a:pt x="492" y="192"/>
                  </a:lnTo>
                  <a:lnTo>
                    <a:pt x="498" y="192"/>
                  </a:lnTo>
                  <a:lnTo>
                    <a:pt x="504" y="192"/>
                  </a:lnTo>
                  <a:lnTo>
                    <a:pt x="510" y="192"/>
                  </a:lnTo>
                  <a:lnTo>
                    <a:pt x="516" y="186"/>
                  </a:lnTo>
                  <a:lnTo>
                    <a:pt x="522" y="180"/>
                  </a:lnTo>
                  <a:lnTo>
                    <a:pt x="522" y="174"/>
                  </a:lnTo>
                  <a:lnTo>
                    <a:pt x="528" y="168"/>
                  </a:lnTo>
                  <a:lnTo>
                    <a:pt x="534" y="168"/>
                  </a:lnTo>
                  <a:lnTo>
                    <a:pt x="534" y="156"/>
                  </a:lnTo>
                  <a:lnTo>
                    <a:pt x="534" y="150"/>
                  </a:lnTo>
                  <a:lnTo>
                    <a:pt x="552" y="138"/>
                  </a:lnTo>
                  <a:lnTo>
                    <a:pt x="558" y="126"/>
                  </a:lnTo>
                  <a:lnTo>
                    <a:pt x="558" y="114"/>
                  </a:lnTo>
                  <a:lnTo>
                    <a:pt x="564" y="102"/>
                  </a:lnTo>
                  <a:lnTo>
                    <a:pt x="564" y="96"/>
                  </a:lnTo>
                  <a:lnTo>
                    <a:pt x="564" y="90"/>
                  </a:lnTo>
                  <a:lnTo>
                    <a:pt x="564" y="72"/>
                  </a:lnTo>
                  <a:lnTo>
                    <a:pt x="564" y="60"/>
                  </a:lnTo>
                  <a:lnTo>
                    <a:pt x="564" y="54"/>
                  </a:lnTo>
                  <a:lnTo>
                    <a:pt x="570" y="42"/>
                  </a:lnTo>
                  <a:lnTo>
                    <a:pt x="576" y="42"/>
                  </a:lnTo>
                  <a:lnTo>
                    <a:pt x="582" y="36"/>
                  </a:lnTo>
                  <a:lnTo>
                    <a:pt x="594" y="36"/>
                  </a:lnTo>
                  <a:lnTo>
                    <a:pt x="594" y="30"/>
                  </a:lnTo>
                  <a:lnTo>
                    <a:pt x="600" y="24"/>
                  </a:lnTo>
                  <a:lnTo>
                    <a:pt x="600" y="12"/>
                  </a:lnTo>
                  <a:lnTo>
                    <a:pt x="606" y="6"/>
                  </a:lnTo>
                  <a:lnTo>
                    <a:pt x="606" y="0"/>
                  </a:lnTo>
                  <a:lnTo>
                    <a:pt x="612" y="0"/>
                  </a:lnTo>
                  <a:lnTo>
                    <a:pt x="618" y="0"/>
                  </a:lnTo>
                  <a:lnTo>
                    <a:pt x="624" y="6"/>
                  </a:lnTo>
                  <a:lnTo>
                    <a:pt x="624" y="12"/>
                  </a:lnTo>
                  <a:lnTo>
                    <a:pt x="624" y="18"/>
                  </a:lnTo>
                  <a:lnTo>
                    <a:pt x="624" y="24"/>
                  </a:lnTo>
                  <a:lnTo>
                    <a:pt x="624" y="30"/>
                  </a:lnTo>
                  <a:lnTo>
                    <a:pt x="630" y="30"/>
                  </a:lnTo>
                  <a:lnTo>
                    <a:pt x="630" y="36"/>
                  </a:lnTo>
                  <a:lnTo>
                    <a:pt x="630" y="42"/>
                  </a:lnTo>
                  <a:lnTo>
                    <a:pt x="630" y="48"/>
                  </a:lnTo>
                  <a:lnTo>
                    <a:pt x="636" y="54"/>
                  </a:lnTo>
                  <a:lnTo>
                    <a:pt x="642" y="48"/>
                  </a:lnTo>
                  <a:lnTo>
                    <a:pt x="648" y="48"/>
                  </a:lnTo>
                  <a:lnTo>
                    <a:pt x="648" y="60"/>
                  </a:lnTo>
                  <a:lnTo>
                    <a:pt x="654" y="66"/>
                  </a:lnTo>
                  <a:lnTo>
                    <a:pt x="660" y="72"/>
                  </a:lnTo>
                  <a:lnTo>
                    <a:pt x="666" y="72"/>
                  </a:lnTo>
                  <a:lnTo>
                    <a:pt x="666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72" y="66"/>
                  </a:lnTo>
                  <a:lnTo>
                    <a:pt x="678" y="66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6" y="66"/>
                  </a:lnTo>
                  <a:lnTo>
                    <a:pt x="696" y="72"/>
                  </a:lnTo>
                  <a:lnTo>
                    <a:pt x="702" y="72"/>
                  </a:lnTo>
                  <a:lnTo>
                    <a:pt x="708" y="72"/>
                  </a:lnTo>
                  <a:lnTo>
                    <a:pt x="720" y="66"/>
                  </a:lnTo>
                  <a:lnTo>
                    <a:pt x="726" y="78"/>
                  </a:lnTo>
                  <a:lnTo>
                    <a:pt x="744" y="84"/>
                  </a:lnTo>
                  <a:lnTo>
                    <a:pt x="744" y="90"/>
                  </a:lnTo>
                  <a:lnTo>
                    <a:pt x="744" y="96"/>
                  </a:lnTo>
                  <a:lnTo>
                    <a:pt x="738" y="96"/>
                  </a:lnTo>
                  <a:lnTo>
                    <a:pt x="738" y="102"/>
                  </a:lnTo>
                  <a:lnTo>
                    <a:pt x="732" y="102"/>
                  </a:lnTo>
                  <a:lnTo>
                    <a:pt x="732" y="108"/>
                  </a:lnTo>
                  <a:lnTo>
                    <a:pt x="738" y="108"/>
                  </a:lnTo>
                  <a:lnTo>
                    <a:pt x="744" y="114"/>
                  </a:lnTo>
                  <a:lnTo>
                    <a:pt x="750" y="108"/>
                  </a:lnTo>
                  <a:lnTo>
                    <a:pt x="756" y="108"/>
                  </a:lnTo>
                  <a:lnTo>
                    <a:pt x="762" y="108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80" y="120"/>
                  </a:lnTo>
                  <a:lnTo>
                    <a:pt x="774" y="120"/>
                  </a:lnTo>
                  <a:lnTo>
                    <a:pt x="768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74" y="138"/>
                  </a:lnTo>
                  <a:lnTo>
                    <a:pt x="774" y="132"/>
                  </a:lnTo>
                  <a:lnTo>
                    <a:pt x="780" y="132"/>
                  </a:lnTo>
                  <a:lnTo>
                    <a:pt x="786" y="132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44"/>
                  </a:lnTo>
                  <a:lnTo>
                    <a:pt x="786" y="150"/>
                  </a:lnTo>
                  <a:lnTo>
                    <a:pt x="780" y="150"/>
                  </a:lnTo>
                  <a:lnTo>
                    <a:pt x="774" y="150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74" y="162"/>
                  </a:lnTo>
                  <a:lnTo>
                    <a:pt x="780" y="162"/>
                  </a:lnTo>
                  <a:lnTo>
                    <a:pt x="786" y="168"/>
                  </a:lnTo>
                  <a:lnTo>
                    <a:pt x="792" y="162"/>
                  </a:lnTo>
                  <a:lnTo>
                    <a:pt x="798" y="168"/>
                  </a:lnTo>
                  <a:lnTo>
                    <a:pt x="798" y="174"/>
                  </a:lnTo>
                  <a:lnTo>
                    <a:pt x="804" y="168"/>
                  </a:lnTo>
                  <a:lnTo>
                    <a:pt x="810" y="168"/>
                  </a:lnTo>
                  <a:lnTo>
                    <a:pt x="810" y="174"/>
                  </a:lnTo>
                  <a:lnTo>
                    <a:pt x="816" y="168"/>
                  </a:lnTo>
                  <a:lnTo>
                    <a:pt x="822" y="162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74"/>
                  </a:lnTo>
                  <a:lnTo>
                    <a:pt x="834" y="192"/>
                  </a:lnTo>
                  <a:lnTo>
                    <a:pt x="834" y="198"/>
                  </a:lnTo>
                  <a:lnTo>
                    <a:pt x="840" y="192"/>
                  </a:lnTo>
                  <a:lnTo>
                    <a:pt x="846" y="192"/>
                  </a:lnTo>
                  <a:lnTo>
                    <a:pt x="852" y="186"/>
                  </a:lnTo>
                  <a:lnTo>
                    <a:pt x="858" y="192"/>
                  </a:lnTo>
                  <a:lnTo>
                    <a:pt x="864" y="192"/>
                  </a:lnTo>
                  <a:lnTo>
                    <a:pt x="870" y="198"/>
                  </a:lnTo>
                  <a:lnTo>
                    <a:pt x="876" y="180"/>
                  </a:lnTo>
                  <a:lnTo>
                    <a:pt x="882" y="180"/>
                  </a:lnTo>
                  <a:lnTo>
                    <a:pt x="888" y="180"/>
                  </a:lnTo>
                  <a:lnTo>
                    <a:pt x="894" y="186"/>
                  </a:lnTo>
                  <a:lnTo>
                    <a:pt x="888" y="198"/>
                  </a:lnTo>
                  <a:lnTo>
                    <a:pt x="894" y="204"/>
                  </a:lnTo>
                  <a:lnTo>
                    <a:pt x="906" y="210"/>
                  </a:lnTo>
                  <a:lnTo>
                    <a:pt x="918" y="246"/>
                  </a:lnTo>
                  <a:lnTo>
                    <a:pt x="930" y="258"/>
                  </a:lnTo>
                  <a:lnTo>
                    <a:pt x="942" y="282"/>
                  </a:lnTo>
                  <a:lnTo>
                    <a:pt x="966" y="288"/>
                  </a:lnTo>
                  <a:lnTo>
                    <a:pt x="972" y="300"/>
                  </a:lnTo>
                  <a:lnTo>
                    <a:pt x="972" y="318"/>
                  </a:lnTo>
                  <a:lnTo>
                    <a:pt x="996" y="336"/>
                  </a:lnTo>
                  <a:lnTo>
                    <a:pt x="1050" y="390"/>
                  </a:lnTo>
                  <a:lnTo>
                    <a:pt x="1116" y="462"/>
                  </a:lnTo>
                  <a:lnTo>
                    <a:pt x="1122" y="468"/>
                  </a:lnTo>
                  <a:lnTo>
                    <a:pt x="1128" y="474"/>
                  </a:lnTo>
                  <a:lnTo>
                    <a:pt x="1140" y="474"/>
                  </a:lnTo>
                  <a:lnTo>
                    <a:pt x="1152" y="486"/>
                  </a:lnTo>
                  <a:lnTo>
                    <a:pt x="1152" y="492"/>
                  </a:lnTo>
                  <a:lnTo>
                    <a:pt x="1158" y="492"/>
                  </a:lnTo>
                  <a:lnTo>
                    <a:pt x="1164" y="492"/>
                  </a:lnTo>
                  <a:lnTo>
                    <a:pt x="1170" y="504"/>
                  </a:lnTo>
                  <a:lnTo>
                    <a:pt x="1176" y="504"/>
                  </a:lnTo>
                  <a:lnTo>
                    <a:pt x="1176" y="510"/>
                  </a:lnTo>
                  <a:lnTo>
                    <a:pt x="1200" y="516"/>
                  </a:lnTo>
                  <a:lnTo>
                    <a:pt x="1200" y="522"/>
                  </a:lnTo>
                  <a:lnTo>
                    <a:pt x="1212" y="534"/>
                  </a:lnTo>
                  <a:lnTo>
                    <a:pt x="1218" y="540"/>
                  </a:lnTo>
                  <a:lnTo>
                    <a:pt x="1224" y="552"/>
                  </a:lnTo>
                  <a:lnTo>
                    <a:pt x="1230" y="552"/>
                  </a:lnTo>
                  <a:lnTo>
                    <a:pt x="1242" y="552"/>
                  </a:lnTo>
                  <a:lnTo>
                    <a:pt x="1248" y="558"/>
                  </a:lnTo>
                  <a:lnTo>
                    <a:pt x="1254" y="558"/>
                  </a:lnTo>
                  <a:lnTo>
                    <a:pt x="1260" y="564"/>
                  </a:lnTo>
                  <a:lnTo>
                    <a:pt x="1266" y="564"/>
                  </a:lnTo>
                  <a:lnTo>
                    <a:pt x="1272" y="564"/>
                  </a:lnTo>
                  <a:lnTo>
                    <a:pt x="1284" y="564"/>
                  </a:lnTo>
                  <a:lnTo>
                    <a:pt x="1290" y="570"/>
                  </a:lnTo>
                  <a:lnTo>
                    <a:pt x="1296" y="576"/>
                  </a:lnTo>
                  <a:lnTo>
                    <a:pt x="1302" y="588"/>
                  </a:lnTo>
                  <a:lnTo>
                    <a:pt x="1296" y="594"/>
                  </a:lnTo>
                  <a:lnTo>
                    <a:pt x="1296" y="600"/>
                  </a:lnTo>
                  <a:lnTo>
                    <a:pt x="1296" y="606"/>
                  </a:lnTo>
                  <a:lnTo>
                    <a:pt x="1290" y="612"/>
                  </a:lnTo>
                  <a:lnTo>
                    <a:pt x="1290" y="624"/>
                  </a:lnTo>
                  <a:lnTo>
                    <a:pt x="1290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308" y="654"/>
                  </a:lnTo>
                  <a:lnTo>
                    <a:pt x="1320" y="654"/>
                  </a:lnTo>
                  <a:lnTo>
                    <a:pt x="1326" y="660"/>
                  </a:lnTo>
                  <a:lnTo>
                    <a:pt x="1338" y="654"/>
                  </a:lnTo>
                  <a:lnTo>
                    <a:pt x="1344" y="654"/>
                  </a:lnTo>
                  <a:lnTo>
                    <a:pt x="1356" y="654"/>
                  </a:lnTo>
                  <a:lnTo>
                    <a:pt x="1362" y="648"/>
                  </a:lnTo>
                  <a:lnTo>
                    <a:pt x="1368" y="642"/>
                  </a:lnTo>
                  <a:lnTo>
                    <a:pt x="1374" y="636"/>
                  </a:lnTo>
                  <a:lnTo>
                    <a:pt x="1380" y="636"/>
                  </a:lnTo>
                  <a:lnTo>
                    <a:pt x="1392" y="636"/>
                  </a:lnTo>
                  <a:lnTo>
                    <a:pt x="1398" y="636"/>
                  </a:lnTo>
                  <a:lnTo>
                    <a:pt x="1404" y="636"/>
                  </a:lnTo>
                  <a:lnTo>
                    <a:pt x="1410" y="630"/>
                  </a:lnTo>
                  <a:lnTo>
                    <a:pt x="1410" y="624"/>
                  </a:lnTo>
                  <a:lnTo>
                    <a:pt x="1422" y="618"/>
                  </a:lnTo>
                  <a:lnTo>
                    <a:pt x="1428" y="618"/>
                  </a:lnTo>
                  <a:lnTo>
                    <a:pt x="1440" y="612"/>
                  </a:lnTo>
                  <a:lnTo>
                    <a:pt x="1446" y="612"/>
                  </a:lnTo>
                  <a:lnTo>
                    <a:pt x="1458" y="612"/>
                  </a:lnTo>
                  <a:lnTo>
                    <a:pt x="1470" y="624"/>
                  </a:lnTo>
                  <a:lnTo>
                    <a:pt x="1488" y="642"/>
                  </a:lnTo>
                  <a:lnTo>
                    <a:pt x="1500" y="648"/>
                  </a:lnTo>
                  <a:lnTo>
                    <a:pt x="1512" y="654"/>
                  </a:lnTo>
                  <a:lnTo>
                    <a:pt x="1518" y="660"/>
                  </a:lnTo>
                  <a:lnTo>
                    <a:pt x="1524" y="660"/>
                  </a:lnTo>
                  <a:lnTo>
                    <a:pt x="1530" y="660"/>
                  </a:lnTo>
                  <a:lnTo>
                    <a:pt x="1536" y="666"/>
                  </a:lnTo>
                  <a:lnTo>
                    <a:pt x="1542" y="672"/>
                  </a:lnTo>
                  <a:lnTo>
                    <a:pt x="1548" y="672"/>
                  </a:lnTo>
                  <a:lnTo>
                    <a:pt x="1554" y="684"/>
                  </a:lnTo>
                  <a:lnTo>
                    <a:pt x="1554" y="690"/>
                  </a:lnTo>
                  <a:lnTo>
                    <a:pt x="1566" y="702"/>
                  </a:lnTo>
                  <a:lnTo>
                    <a:pt x="1572" y="720"/>
                  </a:lnTo>
                  <a:lnTo>
                    <a:pt x="1572" y="726"/>
                  </a:lnTo>
                  <a:lnTo>
                    <a:pt x="1578" y="732"/>
                  </a:lnTo>
                  <a:lnTo>
                    <a:pt x="1584" y="738"/>
                  </a:lnTo>
                  <a:lnTo>
                    <a:pt x="1590" y="738"/>
                  </a:lnTo>
                  <a:lnTo>
                    <a:pt x="1596" y="738"/>
                  </a:lnTo>
                  <a:lnTo>
                    <a:pt x="1602" y="744"/>
                  </a:lnTo>
                  <a:lnTo>
                    <a:pt x="1608" y="744"/>
                  </a:lnTo>
                  <a:lnTo>
                    <a:pt x="1614" y="744"/>
                  </a:lnTo>
                  <a:lnTo>
                    <a:pt x="1626" y="744"/>
                  </a:lnTo>
                  <a:lnTo>
                    <a:pt x="1638" y="744"/>
                  </a:lnTo>
                  <a:lnTo>
                    <a:pt x="1650" y="744"/>
                  </a:lnTo>
                  <a:lnTo>
                    <a:pt x="1662" y="744"/>
                  </a:lnTo>
                  <a:lnTo>
                    <a:pt x="1668" y="744"/>
                  </a:lnTo>
                  <a:lnTo>
                    <a:pt x="1674" y="744"/>
                  </a:lnTo>
                  <a:lnTo>
                    <a:pt x="1686" y="744"/>
                  </a:lnTo>
                  <a:lnTo>
                    <a:pt x="1698" y="750"/>
                  </a:lnTo>
                  <a:lnTo>
                    <a:pt x="1704" y="750"/>
                  </a:lnTo>
                  <a:lnTo>
                    <a:pt x="1716" y="756"/>
                  </a:lnTo>
                  <a:lnTo>
                    <a:pt x="1722" y="756"/>
                  </a:lnTo>
                  <a:lnTo>
                    <a:pt x="1728" y="756"/>
                  </a:lnTo>
                  <a:lnTo>
                    <a:pt x="1734" y="762"/>
                  </a:lnTo>
                  <a:lnTo>
                    <a:pt x="1740" y="768"/>
                  </a:lnTo>
                  <a:lnTo>
                    <a:pt x="1758" y="780"/>
                  </a:lnTo>
                  <a:lnTo>
                    <a:pt x="1770" y="780"/>
                  </a:lnTo>
                  <a:lnTo>
                    <a:pt x="1776" y="780"/>
                  </a:lnTo>
                  <a:lnTo>
                    <a:pt x="1782" y="780"/>
                  </a:lnTo>
                  <a:lnTo>
                    <a:pt x="1800" y="798"/>
                  </a:lnTo>
                  <a:lnTo>
                    <a:pt x="1818" y="810"/>
                  </a:lnTo>
                  <a:lnTo>
                    <a:pt x="1830" y="816"/>
                  </a:lnTo>
                  <a:lnTo>
                    <a:pt x="1836" y="822"/>
                  </a:lnTo>
                  <a:lnTo>
                    <a:pt x="1836" y="828"/>
                  </a:lnTo>
                  <a:lnTo>
                    <a:pt x="1842" y="828"/>
                  </a:lnTo>
                  <a:lnTo>
                    <a:pt x="1848" y="834"/>
                  </a:lnTo>
                  <a:lnTo>
                    <a:pt x="1854" y="840"/>
                  </a:lnTo>
                  <a:lnTo>
                    <a:pt x="1860" y="846"/>
                  </a:lnTo>
                  <a:lnTo>
                    <a:pt x="1872" y="852"/>
                  </a:lnTo>
                  <a:lnTo>
                    <a:pt x="1884" y="852"/>
                  </a:lnTo>
                  <a:lnTo>
                    <a:pt x="1896" y="852"/>
                  </a:lnTo>
                  <a:lnTo>
                    <a:pt x="1902" y="846"/>
                  </a:lnTo>
                  <a:lnTo>
                    <a:pt x="1908" y="852"/>
                  </a:lnTo>
                  <a:lnTo>
                    <a:pt x="1920" y="858"/>
                  </a:lnTo>
                  <a:lnTo>
                    <a:pt x="1926" y="870"/>
                  </a:lnTo>
                  <a:lnTo>
                    <a:pt x="1938" y="888"/>
                  </a:lnTo>
                  <a:lnTo>
                    <a:pt x="1944" y="900"/>
                  </a:lnTo>
                  <a:lnTo>
                    <a:pt x="1950" y="900"/>
                  </a:lnTo>
                  <a:lnTo>
                    <a:pt x="1962" y="906"/>
                  </a:lnTo>
                  <a:lnTo>
                    <a:pt x="1968" y="906"/>
                  </a:lnTo>
                  <a:lnTo>
                    <a:pt x="1980" y="906"/>
                  </a:lnTo>
                  <a:lnTo>
                    <a:pt x="1998" y="906"/>
                  </a:lnTo>
                  <a:lnTo>
                    <a:pt x="2010" y="900"/>
                  </a:lnTo>
                  <a:lnTo>
                    <a:pt x="2022" y="900"/>
                  </a:lnTo>
                  <a:lnTo>
                    <a:pt x="2028" y="900"/>
                  </a:lnTo>
                  <a:lnTo>
                    <a:pt x="2034" y="906"/>
                  </a:lnTo>
                  <a:lnTo>
                    <a:pt x="2046" y="906"/>
                  </a:lnTo>
                  <a:lnTo>
                    <a:pt x="2052" y="900"/>
                  </a:lnTo>
                  <a:lnTo>
                    <a:pt x="2058" y="900"/>
                  </a:lnTo>
                  <a:lnTo>
                    <a:pt x="2064" y="900"/>
                  </a:lnTo>
                  <a:lnTo>
                    <a:pt x="2070" y="900"/>
                  </a:lnTo>
                  <a:lnTo>
                    <a:pt x="2076" y="900"/>
                  </a:lnTo>
                  <a:lnTo>
                    <a:pt x="2076" y="906"/>
                  </a:lnTo>
                  <a:lnTo>
                    <a:pt x="2088" y="906"/>
                  </a:lnTo>
                  <a:lnTo>
                    <a:pt x="2106" y="900"/>
                  </a:lnTo>
                  <a:lnTo>
                    <a:pt x="2118" y="900"/>
                  </a:lnTo>
                  <a:lnTo>
                    <a:pt x="2130" y="900"/>
                  </a:lnTo>
                  <a:lnTo>
                    <a:pt x="2142" y="900"/>
                  </a:lnTo>
                  <a:lnTo>
                    <a:pt x="2148" y="906"/>
                  </a:lnTo>
                  <a:lnTo>
                    <a:pt x="2154" y="906"/>
                  </a:lnTo>
                  <a:lnTo>
                    <a:pt x="2160" y="906"/>
                  </a:lnTo>
                  <a:lnTo>
                    <a:pt x="2166" y="906"/>
                  </a:lnTo>
                  <a:lnTo>
                    <a:pt x="2178" y="918"/>
                  </a:lnTo>
                  <a:lnTo>
                    <a:pt x="2178" y="924"/>
                  </a:lnTo>
                  <a:lnTo>
                    <a:pt x="2184" y="924"/>
                  </a:lnTo>
                  <a:lnTo>
                    <a:pt x="2190" y="924"/>
                  </a:lnTo>
                  <a:lnTo>
                    <a:pt x="2196" y="924"/>
                  </a:lnTo>
                  <a:lnTo>
                    <a:pt x="2202" y="918"/>
                  </a:lnTo>
                  <a:lnTo>
                    <a:pt x="2208" y="918"/>
                  </a:lnTo>
                  <a:lnTo>
                    <a:pt x="2214" y="918"/>
                  </a:lnTo>
                  <a:lnTo>
                    <a:pt x="2226" y="918"/>
                  </a:lnTo>
                  <a:lnTo>
                    <a:pt x="2220" y="948"/>
                  </a:lnTo>
                  <a:lnTo>
                    <a:pt x="2214" y="972"/>
                  </a:lnTo>
                  <a:lnTo>
                    <a:pt x="2214" y="984"/>
                  </a:lnTo>
                  <a:lnTo>
                    <a:pt x="2208" y="990"/>
                  </a:lnTo>
                  <a:lnTo>
                    <a:pt x="2208" y="996"/>
                  </a:lnTo>
                  <a:lnTo>
                    <a:pt x="2202" y="996"/>
                  </a:lnTo>
                  <a:lnTo>
                    <a:pt x="2196" y="996"/>
                  </a:lnTo>
                  <a:lnTo>
                    <a:pt x="2190" y="1008"/>
                  </a:lnTo>
                  <a:lnTo>
                    <a:pt x="2172" y="1074"/>
                  </a:lnTo>
                  <a:lnTo>
                    <a:pt x="2166" y="1092"/>
                  </a:lnTo>
                  <a:lnTo>
                    <a:pt x="2172" y="1110"/>
                  </a:lnTo>
                  <a:lnTo>
                    <a:pt x="2172" y="1122"/>
                  </a:lnTo>
                  <a:lnTo>
                    <a:pt x="2166" y="1134"/>
                  </a:lnTo>
                  <a:lnTo>
                    <a:pt x="2148" y="1140"/>
                  </a:lnTo>
                  <a:lnTo>
                    <a:pt x="2148" y="1134"/>
                  </a:lnTo>
                  <a:lnTo>
                    <a:pt x="2118" y="1140"/>
                  </a:lnTo>
                  <a:lnTo>
                    <a:pt x="2088" y="1134"/>
                  </a:lnTo>
                  <a:lnTo>
                    <a:pt x="2064" y="1122"/>
                  </a:lnTo>
                  <a:lnTo>
                    <a:pt x="2034" y="1122"/>
                  </a:lnTo>
                  <a:lnTo>
                    <a:pt x="2022" y="1128"/>
                  </a:lnTo>
                  <a:lnTo>
                    <a:pt x="1986" y="1128"/>
                  </a:lnTo>
                  <a:lnTo>
                    <a:pt x="1938" y="1122"/>
                  </a:lnTo>
                  <a:lnTo>
                    <a:pt x="1932" y="1116"/>
                  </a:lnTo>
                  <a:lnTo>
                    <a:pt x="1896" y="1110"/>
                  </a:lnTo>
                  <a:lnTo>
                    <a:pt x="1878" y="1104"/>
                  </a:lnTo>
                  <a:lnTo>
                    <a:pt x="1866" y="1098"/>
                  </a:lnTo>
                  <a:lnTo>
                    <a:pt x="1860" y="1098"/>
                  </a:lnTo>
                  <a:lnTo>
                    <a:pt x="1854" y="1092"/>
                  </a:lnTo>
                  <a:lnTo>
                    <a:pt x="1860" y="1092"/>
                  </a:lnTo>
                  <a:lnTo>
                    <a:pt x="1860" y="1086"/>
                  </a:lnTo>
                  <a:lnTo>
                    <a:pt x="1854" y="1086"/>
                  </a:lnTo>
                  <a:lnTo>
                    <a:pt x="1842" y="1080"/>
                  </a:lnTo>
                  <a:lnTo>
                    <a:pt x="1818" y="1062"/>
                  </a:lnTo>
                  <a:lnTo>
                    <a:pt x="1782" y="1056"/>
                  </a:lnTo>
                  <a:lnTo>
                    <a:pt x="1770" y="1068"/>
                  </a:lnTo>
                  <a:lnTo>
                    <a:pt x="1746" y="1098"/>
                  </a:lnTo>
                  <a:lnTo>
                    <a:pt x="1722" y="1104"/>
                  </a:lnTo>
                  <a:lnTo>
                    <a:pt x="1710" y="1122"/>
                  </a:lnTo>
                  <a:lnTo>
                    <a:pt x="1710" y="1128"/>
                  </a:lnTo>
                  <a:lnTo>
                    <a:pt x="1710" y="1140"/>
                  </a:lnTo>
                  <a:lnTo>
                    <a:pt x="1698" y="1146"/>
                  </a:lnTo>
                  <a:lnTo>
                    <a:pt x="1686" y="1152"/>
                  </a:lnTo>
                  <a:lnTo>
                    <a:pt x="1680" y="1164"/>
                  </a:lnTo>
                  <a:lnTo>
                    <a:pt x="1680" y="1170"/>
                  </a:lnTo>
                  <a:lnTo>
                    <a:pt x="1686" y="1170"/>
                  </a:lnTo>
                  <a:lnTo>
                    <a:pt x="1686" y="1176"/>
                  </a:lnTo>
                  <a:lnTo>
                    <a:pt x="1698" y="1188"/>
                  </a:lnTo>
                  <a:lnTo>
                    <a:pt x="1704" y="1188"/>
                  </a:lnTo>
                  <a:lnTo>
                    <a:pt x="1698" y="1194"/>
                  </a:lnTo>
                  <a:lnTo>
                    <a:pt x="1704" y="1194"/>
                  </a:lnTo>
                  <a:lnTo>
                    <a:pt x="1704" y="1200"/>
                  </a:lnTo>
                  <a:lnTo>
                    <a:pt x="1704" y="1206"/>
                  </a:lnTo>
                  <a:lnTo>
                    <a:pt x="1704" y="1212"/>
                  </a:lnTo>
                  <a:lnTo>
                    <a:pt x="1704" y="1218"/>
                  </a:lnTo>
                  <a:lnTo>
                    <a:pt x="1710" y="1218"/>
                  </a:lnTo>
                  <a:lnTo>
                    <a:pt x="1710" y="1212"/>
                  </a:lnTo>
                  <a:lnTo>
                    <a:pt x="1716" y="1212"/>
                  </a:lnTo>
                  <a:lnTo>
                    <a:pt x="1716" y="1218"/>
                  </a:lnTo>
                  <a:lnTo>
                    <a:pt x="1716" y="1224"/>
                  </a:lnTo>
                  <a:lnTo>
                    <a:pt x="1716" y="1230"/>
                  </a:lnTo>
                  <a:lnTo>
                    <a:pt x="1722" y="1236"/>
                  </a:lnTo>
                  <a:lnTo>
                    <a:pt x="1740" y="1230"/>
                  </a:lnTo>
                  <a:lnTo>
                    <a:pt x="1734" y="1236"/>
                  </a:lnTo>
                  <a:lnTo>
                    <a:pt x="1734" y="1242"/>
                  </a:lnTo>
                  <a:lnTo>
                    <a:pt x="1734" y="1248"/>
                  </a:lnTo>
                  <a:lnTo>
                    <a:pt x="1734" y="1254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52" y="1266"/>
                  </a:lnTo>
                  <a:lnTo>
                    <a:pt x="1764" y="1266"/>
                  </a:lnTo>
                  <a:lnTo>
                    <a:pt x="1788" y="1260"/>
                  </a:lnTo>
                  <a:lnTo>
                    <a:pt x="1800" y="1260"/>
                  </a:lnTo>
                  <a:lnTo>
                    <a:pt x="1806" y="1272"/>
                  </a:lnTo>
                  <a:lnTo>
                    <a:pt x="1806" y="1296"/>
                  </a:lnTo>
                  <a:lnTo>
                    <a:pt x="1800" y="1308"/>
                  </a:lnTo>
                  <a:lnTo>
                    <a:pt x="1788" y="1308"/>
                  </a:lnTo>
                  <a:lnTo>
                    <a:pt x="1782" y="132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7" name="Freeform 32">
              <a:extLst>
                <a:ext uri="{FF2B5EF4-FFF2-40B4-BE49-F238E27FC236}">
                  <a16:creationId xmlns:a16="http://schemas.microsoft.com/office/drawing/2014/main" id="{1EF84438-BF7A-47D2-9156-E231EA2A279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3295" y="2316568"/>
              <a:ext cx="1290281" cy="1084704"/>
            </a:xfrm>
            <a:custGeom>
              <a:avLst/>
              <a:gdLst>
                <a:gd name="T0" fmla="*/ 177 w 2430"/>
                <a:gd name="T1" fmla="*/ 169 h 2040"/>
                <a:gd name="T2" fmla="*/ 174 w 2430"/>
                <a:gd name="T3" fmla="*/ 173 h 2040"/>
                <a:gd name="T4" fmla="*/ 169 w 2430"/>
                <a:gd name="T5" fmla="*/ 171 h 2040"/>
                <a:gd name="T6" fmla="*/ 160 w 2430"/>
                <a:gd name="T7" fmla="*/ 163 h 2040"/>
                <a:gd name="T8" fmla="*/ 154 w 2430"/>
                <a:gd name="T9" fmla="*/ 149 h 2040"/>
                <a:gd name="T10" fmla="*/ 144 w 2430"/>
                <a:gd name="T11" fmla="*/ 147 h 2040"/>
                <a:gd name="T12" fmla="*/ 133 w 2430"/>
                <a:gd name="T13" fmla="*/ 146 h 2040"/>
                <a:gd name="T14" fmla="*/ 121 w 2430"/>
                <a:gd name="T15" fmla="*/ 145 h 2040"/>
                <a:gd name="T16" fmla="*/ 110 w 2430"/>
                <a:gd name="T17" fmla="*/ 137 h 2040"/>
                <a:gd name="T18" fmla="*/ 97 w 2430"/>
                <a:gd name="T19" fmla="*/ 131 h 2040"/>
                <a:gd name="T20" fmla="*/ 87 w 2430"/>
                <a:gd name="T21" fmla="*/ 125 h 2040"/>
                <a:gd name="T22" fmla="*/ 75 w 2430"/>
                <a:gd name="T23" fmla="*/ 122 h 2040"/>
                <a:gd name="T24" fmla="*/ 65 w 2430"/>
                <a:gd name="T25" fmla="*/ 122 h 2040"/>
                <a:gd name="T26" fmla="*/ 59 w 2430"/>
                <a:gd name="T27" fmla="*/ 115 h 2040"/>
                <a:gd name="T28" fmla="*/ 50 w 2430"/>
                <a:gd name="T29" fmla="*/ 107 h 2040"/>
                <a:gd name="T30" fmla="*/ 28 w 2430"/>
                <a:gd name="T31" fmla="*/ 84 h 2040"/>
                <a:gd name="T32" fmla="*/ 22 w 2430"/>
                <a:gd name="T33" fmla="*/ 82 h 2040"/>
                <a:gd name="T34" fmla="*/ 20 w 2430"/>
                <a:gd name="T35" fmla="*/ 79 h 2040"/>
                <a:gd name="T36" fmla="*/ 16 w 2430"/>
                <a:gd name="T37" fmla="*/ 76 h 2040"/>
                <a:gd name="T38" fmla="*/ 11 w 2430"/>
                <a:gd name="T39" fmla="*/ 74 h 2040"/>
                <a:gd name="T40" fmla="*/ 7 w 2430"/>
                <a:gd name="T41" fmla="*/ 69 h 2040"/>
                <a:gd name="T42" fmla="*/ 0 w 2430"/>
                <a:gd name="T43" fmla="*/ 60 h 2040"/>
                <a:gd name="T44" fmla="*/ 10 w 2430"/>
                <a:gd name="T45" fmla="*/ 53 h 2040"/>
                <a:gd name="T46" fmla="*/ 15 w 2430"/>
                <a:gd name="T47" fmla="*/ 40 h 2040"/>
                <a:gd name="T48" fmla="*/ 9 w 2430"/>
                <a:gd name="T49" fmla="*/ 29 h 2040"/>
                <a:gd name="T50" fmla="*/ 7 w 2430"/>
                <a:gd name="T51" fmla="*/ 16 h 2040"/>
                <a:gd name="T52" fmla="*/ 18 w 2430"/>
                <a:gd name="T53" fmla="*/ 21 h 2040"/>
                <a:gd name="T54" fmla="*/ 48 w 2430"/>
                <a:gd name="T55" fmla="*/ 27 h 2040"/>
                <a:gd name="T56" fmla="*/ 62 w 2430"/>
                <a:gd name="T57" fmla="*/ 25 h 2040"/>
                <a:gd name="T58" fmla="*/ 59 w 2430"/>
                <a:gd name="T59" fmla="*/ 42 h 2040"/>
                <a:gd name="T60" fmla="*/ 54 w 2430"/>
                <a:gd name="T61" fmla="*/ 65 h 2040"/>
                <a:gd name="T62" fmla="*/ 65 w 2430"/>
                <a:gd name="T63" fmla="*/ 60 h 2040"/>
                <a:gd name="T64" fmla="*/ 68 w 2430"/>
                <a:gd name="T65" fmla="*/ 40 h 2040"/>
                <a:gd name="T66" fmla="*/ 75 w 2430"/>
                <a:gd name="T67" fmla="*/ 36 h 2040"/>
                <a:gd name="T68" fmla="*/ 83 w 2430"/>
                <a:gd name="T69" fmla="*/ 29 h 2040"/>
                <a:gd name="T70" fmla="*/ 81 w 2430"/>
                <a:gd name="T71" fmla="*/ 17 h 2040"/>
                <a:gd name="T72" fmla="*/ 66 w 2430"/>
                <a:gd name="T73" fmla="*/ 7 h 2040"/>
                <a:gd name="T74" fmla="*/ 80 w 2430"/>
                <a:gd name="T75" fmla="*/ 5 h 2040"/>
                <a:gd name="T76" fmla="*/ 89 w 2430"/>
                <a:gd name="T77" fmla="*/ 1 h 2040"/>
                <a:gd name="T78" fmla="*/ 101 w 2430"/>
                <a:gd name="T79" fmla="*/ 10 h 2040"/>
                <a:gd name="T80" fmla="*/ 103 w 2430"/>
                <a:gd name="T81" fmla="*/ 18 h 2040"/>
                <a:gd name="T82" fmla="*/ 110 w 2430"/>
                <a:gd name="T83" fmla="*/ 23 h 2040"/>
                <a:gd name="T84" fmla="*/ 121 w 2430"/>
                <a:gd name="T85" fmla="*/ 20 h 2040"/>
                <a:gd name="T86" fmla="*/ 129 w 2430"/>
                <a:gd name="T87" fmla="*/ 15 h 2040"/>
                <a:gd name="T88" fmla="*/ 142 w 2430"/>
                <a:gd name="T89" fmla="*/ 23 h 2040"/>
                <a:gd name="T90" fmla="*/ 141 w 2430"/>
                <a:gd name="T91" fmla="*/ 30 h 2040"/>
                <a:gd name="T92" fmla="*/ 140 w 2430"/>
                <a:gd name="T93" fmla="*/ 38 h 2040"/>
                <a:gd name="T94" fmla="*/ 139 w 2430"/>
                <a:gd name="T95" fmla="*/ 46 h 2040"/>
                <a:gd name="T96" fmla="*/ 147 w 2430"/>
                <a:gd name="T97" fmla="*/ 54 h 2040"/>
                <a:gd name="T98" fmla="*/ 152 w 2430"/>
                <a:gd name="T99" fmla="*/ 50 h 2040"/>
                <a:gd name="T100" fmla="*/ 159 w 2430"/>
                <a:gd name="T101" fmla="*/ 43 h 2040"/>
                <a:gd name="T102" fmla="*/ 174 w 2430"/>
                <a:gd name="T103" fmla="*/ 41 h 2040"/>
                <a:gd name="T104" fmla="*/ 190 w 2430"/>
                <a:gd name="T105" fmla="*/ 57 h 2040"/>
                <a:gd name="T106" fmla="*/ 187 w 2430"/>
                <a:gd name="T107" fmla="*/ 66 h 2040"/>
                <a:gd name="T108" fmla="*/ 183 w 2430"/>
                <a:gd name="T109" fmla="*/ 72 h 2040"/>
                <a:gd name="T110" fmla="*/ 194 w 2430"/>
                <a:gd name="T111" fmla="*/ 73 h 2040"/>
                <a:gd name="T112" fmla="*/ 202 w 2430"/>
                <a:gd name="T113" fmla="*/ 74 h 2040"/>
                <a:gd name="T114" fmla="*/ 204 w 2430"/>
                <a:gd name="T115" fmla="*/ 89 h 2040"/>
                <a:gd name="T116" fmla="*/ 208 w 2430"/>
                <a:gd name="T117" fmla="*/ 99 h 2040"/>
                <a:gd name="T118" fmla="*/ 203 w 2430"/>
                <a:gd name="T119" fmla="*/ 103 h 2040"/>
                <a:gd name="T120" fmla="*/ 209 w 2430"/>
                <a:gd name="T121" fmla="*/ 111 h 2040"/>
                <a:gd name="T122" fmla="*/ 204 w 2430"/>
                <a:gd name="T123" fmla="*/ 124 h 2040"/>
                <a:gd name="T124" fmla="*/ 190 w 2430"/>
                <a:gd name="T125" fmla="*/ 117 h 20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30"/>
                <a:gd name="T190" fmla="*/ 0 h 2040"/>
                <a:gd name="T191" fmla="*/ 2430 w 2430"/>
                <a:gd name="T192" fmla="*/ 2040 h 20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30" h="2040">
                  <a:moveTo>
                    <a:pt x="2076" y="1896"/>
                  </a:moveTo>
                  <a:lnTo>
                    <a:pt x="2070" y="1896"/>
                  </a:lnTo>
                  <a:lnTo>
                    <a:pt x="2070" y="1902"/>
                  </a:lnTo>
                  <a:lnTo>
                    <a:pt x="2076" y="1902"/>
                  </a:lnTo>
                  <a:lnTo>
                    <a:pt x="2082" y="1902"/>
                  </a:lnTo>
                  <a:lnTo>
                    <a:pt x="2082" y="1908"/>
                  </a:lnTo>
                  <a:lnTo>
                    <a:pt x="2076" y="1908"/>
                  </a:lnTo>
                  <a:lnTo>
                    <a:pt x="2076" y="1914"/>
                  </a:lnTo>
                  <a:lnTo>
                    <a:pt x="2070" y="1920"/>
                  </a:lnTo>
                  <a:lnTo>
                    <a:pt x="2064" y="1932"/>
                  </a:lnTo>
                  <a:lnTo>
                    <a:pt x="2064" y="1938"/>
                  </a:lnTo>
                  <a:lnTo>
                    <a:pt x="2058" y="1938"/>
                  </a:lnTo>
                  <a:lnTo>
                    <a:pt x="2052" y="1944"/>
                  </a:lnTo>
                  <a:lnTo>
                    <a:pt x="2052" y="1950"/>
                  </a:lnTo>
                  <a:lnTo>
                    <a:pt x="2040" y="1944"/>
                  </a:lnTo>
                  <a:lnTo>
                    <a:pt x="2040" y="1950"/>
                  </a:lnTo>
                  <a:lnTo>
                    <a:pt x="2034" y="1956"/>
                  </a:lnTo>
                  <a:lnTo>
                    <a:pt x="2034" y="1962"/>
                  </a:lnTo>
                  <a:lnTo>
                    <a:pt x="2028" y="1962"/>
                  </a:lnTo>
                  <a:lnTo>
                    <a:pt x="2022" y="1962"/>
                  </a:lnTo>
                  <a:lnTo>
                    <a:pt x="2022" y="1968"/>
                  </a:lnTo>
                  <a:lnTo>
                    <a:pt x="2028" y="1974"/>
                  </a:lnTo>
                  <a:lnTo>
                    <a:pt x="2034" y="1980"/>
                  </a:lnTo>
                  <a:lnTo>
                    <a:pt x="2028" y="1986"/>
                  </a:lnTo>
                  <a:lnTo>
                    <a:pt x="2022" y="1992"/>
                  </a:lnTo>
                  <a:lnTo>
                    <a:pt x="2022" y="1986"/>
                  </a:lnTo>
                  <a:lnTo>
                    <a:pt x="2016" y="1986"/>
                  </a:lnTo>
                  <a:lnTo>
                    <a:pt x="2010" y="1980"/>
                  </a:lnTo>
                  <a:lnTo>
                    <a:pt x="2004" y="1980"/>
                  </a:lnTo>
                  <a:lnTo>
                    <a:pt x="2004" y="1986"/>
                  </a:lnTo>
                  <a:lnTo>
                    <a:pt x="2010" y="1992"/>
                  </a:lnTo>
                  <a:lnTo>
                    <a:pt x="2010" y="1998"/>
                  </a:lnTo>
                  <a:lnTo>
                    <a:pt x="2004" y="2004"/>
                  </a:lnTo>
                  <a:lnTo>
                    <a:pt x="1998" y="2004"/>
                  </a:lnTo>
                  <a:lnTo>
                    <a:pt x="1998" y="2022"/>
                  </a:lnTo>
                  <a:lnTo>
                    <a:pt x="1998" y="2028"/>
                  </a:lnTo>
                  <a:lnTo>
                    <a:pt x="1992" y="2034"/>
                  </a:lnTo>
                  <a:lnTo>
                    <a:pt x="1992" y="2040"/>
                  </a:lnTo>
                  <a:lnTo>
                    <a:pt x="1986" y="2040"/>
                  </a:lnTo>
                  <a:lnTo>
                    <a:pt x="1986" y="2034"/>
                  </a:lnTo>
                  <a:lnTo>
                    <a:pt x="1980" y="2028"/>
                  </a:lnTo>
                  <a:lnTo>
                    <a:pt x="1980" y="2022"/>
                  </a:lnTo>
                  <a:lnTo>
                    <a:pt x="1968" y="2016"/>
                  </a:lnTo>
                  <a:lnTo>
                    <a:pt x="1962" y="2010"/>
                  </a:lnTo>
                  <a:lnTo>
                    <a:pt x="1956" y="2004"/>
                  </a:lnTo>
                  <a:lnTo>
                    <a:pt x="1950" y="1992"/>
                  </a:lnTo>
                  <a:lnTo>
                    <a:pt x="1950" y="1986"/>
                  </a:lnTo>
                  <a:lnTo>
                    <a:pt x="1950" y="1974"/>
                  </a:lnTo>
                  <a:lnTo>
                    <a:pt x="1944" y="1974"/>
                  </a:lnTo>
                  <a:lnTo>
                    <a:pt x="1932" y="1962"/>
                  </a:lnTo>
                  <a:lnTo>
                    <a:pt x="1932" y="1956"/>
                  </a:lnTo>
                  <a:lnTo>
                    <a:pt x="1932" y="1950"/>
                  </a:lnTo>
                  <a:lnTo>
                    <a:pt x="1920" y="1944"/>
                  </a:lnTo>
                  <a:lnTo>
                    <a:pt x="1914" y="1944"/>
                  </a:lnTo>
                  <a:lnTo>
                    <a:pt x="1908" y="1938"/>
                  </a:lnTo>
                  <a:lnTo>
                    <a:pt x="1902" y="1926"/>
                  </a:lnTo>
                  <a:lnTo>
                    <a:pt x="1890" y="1914"/>
                  </a:lnTo>
                  <a:lnTo>
                    <a:pt x="1884" y="1914"/>
                  </a:lnTo>
                  <a:lnTo>
                    <a:pt x="1878" y="1908"/>
                  </a:lnTo>
                  <a:lnTo>
                    <a:pt x="1872" y="1902"/>
                  </a:lnTo>
                  <a:lnTo>
                    <a:pt x="1872" y="1896"/>
                  </a:lnTo>
                  <a:lnTo>
                    <a:pt x="1866" y="1890"/>
                  </a:lnTo>
                  <a:lnTo>
                    <a:pt x="1854" y="1884"/>
                  </a:lnTo>
                  <a:lnTo>
                    <a:pt x="1848" y="1884"/>
                  </a:lnTo>
                  <a:lnTo>
                    <a:pt x="1842" y="1872"/>
                  </a:lnTo>
                  <a:lnTo>
                    <a:pt x="1836" y="1872"/>
                  </a:lnTo>
                  <a:lnTo>
                    <a:pt x="1830" y="1866"/>
                  </a:lnTo>
                  <a:lnTo>
                    <a:pt x="1830" y="1854"/>
                  </a:lnTo>
                  <a:lnTo>
                    <a:pt x="1824" y="1848"/>
                  </a:lnTo>
                  <a:lnTo>
                    <a:pt x="1818" y="1830"/>
                  </a:lnTo>
                  <a:lnTo>
                    <a:pt x="1818" y="1818"/>
                  </a:lnTo>
                  <a:lnTo>
                    <a:pt x="1812" y="1800"/>
                  </a:lnTo>
                  <a:lnTo>
                    <a:pt x="1812" y="1788"/>
                  </a:lnTo>
                  <a:lnTo>
                    <a:pt x="1806" y="1776"/>
                  </a:lnTo>
                  <a:lnTo>
                    <a:pt x="1800" y="1764"/>
                  </a:lnTo>
                  <a:lnTo>
                    <a:pt x="1794" y="1758"/>
                  </a:lnTo>
                  <a:lnTo>
                    <a:pt x="1782" y="1740"/>
                  </a:lnTo>
                  <a:lnTo>
                    <a:pt x="1776" y="1728"/>
                  </a:lnTo>
                  <a:lnTo>
                    <a:pt x="1776" y="1722"/>
                  </a:lnTo>
                  <a:lnTo>
                    <a:pt x="1770" y="1722"/>
                  </a:lnTo>
                  <a:lnTo>
                    <a:pt x="1770" y="1716"/>
                  </a:lnTo>
                  <a:lnTo>
                    <a:pt x="1764" y="1716"/>
                  </a:lnTo>
                  <a:lnTo>
                    <a:pt x="1758" y="1710"/>
                  </a:lnTo>
                  <a:lnTo>
                    <a:pt x="1752" y="1704"/>
                  </a:lnTo>
                  <a:lnTo>
                    <a:pt x="1746" y="1704"/>
                  </a:lnTo>
                  <a:lnTo>
                    <a:pt x="1740" y="1704"/>
                  </a:lnTo>
                  <a:lnTo>
                    <a:pt x="1734" y="1704"/>
                  </a:lnTo>
                  <a:lnTo>
                    <a:pt x="1734" y="1698"/>
                  </a:lnTo>
                  <a:lnTo>
                    <a:pt x="1728" y="1692"/>
                  </a:lnTo>
                  <a:lnTo>
                    <a:pt x="1722" y="1686"/>
                  </a:lnTo>
                  <a:lnTo>
                    <a:pt x="1716" y="1686"/>
                  </a:lnTo>
                  <a:lnTo>
                    <a:pt x="1698" y="1686"/>
                  </a:lnTo>
                  <a:lnTo>
                    <a:pt x="1692" y="1692"/>
                  </a:lnTo>
                  <a:lnTo>
                    <a:pt x="1680" y="1692"/>
                  </a:lnTo>
                  <a:lnTo>
                    <a:pt x="1668" y="1692"/>
                  </a:lnTo>
                  <a:lnTo>
                    <a:pt x="1662" y="1692"/>
                  </a:lnTo>
                  <a:lnTo>
                    <a:pt x="1656" y="1692"/>
                  </a:lnTo>
                  <a:lnTo>
                    <a:pt x="1650" y="1698"/>
                  </a:lnTo>
                  <a:lnTo>
                    <a:pt x="1644" y="1698"/>
                  </a:lnTo>
                  <a:lnTo>
                    <a:pt x="1638" y="1698"/>
                  </a:lnTo>
                  <a:lnTo>
                    <a:pt x="1632" y="1698"/>
                  </a:lnTo>
                  <a:lnTo>
                    <a:pt x="1632" y="1692"/>
                  </a:lnTo>
                  <a:lnTo>
                    <a:pt x="1620" y="1680"/>
                  </a:lnTo>
                  <a:lnTo>
                    <a:pt x="1614" y="1680"/>
                  </a:lnTo>
                  <a:lnTo>
                    <a:pt x="1608" y="1680"/>
                  </a:lnTo>
                  <a:lnTo>
                    <a:pt x="1602" y="1680"/>
                  </a:lnTo>
                  <a:lnTo>
                    <a:pt x="1596" y="1674"/>
                  </a:lnTo>
                  <a:lnTo>
                    <a:pt x="1584" y="1674"/>
                  </a:lnTo>
                  <a:lnTo>
                    <a:pt x="1572" y="1674"/>
                  </a:lnTo>
                  <a:lnTo>
                    <a:pt x="1560" y="1674"/>
                  </a:lnTo>
                  <a:lnTo>
                    <a:pt x="1542" y="1680"/>
                  </a:lnTo>
                  <a:lnTo>
                    <a:pt x="1530" y="1680"/>
                  </a:lnTo>
                  <a:lnTo>
                    <a:pt x="1530" y="1674"/>
                  </a:lnTo>
                  <a:lnTo>
                    <a:pt x="1524" y="1674"/>
                  </a:lnTo>
                  <a:lnTo>
                    <a:pt x="1518" y="1674"/>
                  </a:lnTo>
                  <a:lnTo>
                    <a:pt x="1512" y="1674"/>
                  </a:lnTo>
                  <a:lnTo>
                    <a:pt x="1506" y="1674"/>
                  </a:lnTo>
                  <a:lnTo>
                    <a:pt x="1500" y="1680"/>
                  </a:lnTo>
                  <a:lnTo>
                    <a:pt x="1488" y="1680"/>
                  </a:lnTo>
                  <a:lnTo>
                    <a:pt x="1482" y="1674"/>
                  </a:lnTo>
                  <a:lnTo>
                    <a:pt x="1476" y="1674"/>
                  </a:lnTo>
                  <a:lnTo>
                    <a:pt x="1464" y="1674"/>
                  </a:lnTo>
                  <a:lnTo>
                    <a:pt x="1452" y="1680"/>
                  </a:lnTo>
                  <a:lnTo>
                    <a:pt x="1434" y="1680"/>
                  </a:lnTo>
                  <a:lnTo>
                    <a:pt x="1422" y="1680"/>
                  </a:lnTo>
                  <a:lnTo>
                    <a:pt x="1416" y="1680"/>
                  </a:lnTo>
                  <a:lnTo>
                    <a:pt x="1404" y="1674"/>
                  </a:lnTo>
                  <a:lnTo>
                    <a:pt x="1398" y="1674"/>
                  </a:lnTo>
                  <a:lnTo>
                    <a:pt x="1392" y="1662"/>
                  </a:lnTo>
                  <a:lnTo>
                    <a:pt x="1380" y="1644"/>
                  </a:lnTo>
                  <a:lnTo>
                    <a:pt x="1374" y="1632"/>
                  </a:lnTo>
                  <a:lnTo>
                    <a:pt x="1362" y="1626"/>
                  </a:lnTo>
                  <a:lnTo>
                    <a:pt x="1356" y="1620"/>
                  </a:lnTo>
                  <a:lnTo>
                    <a:pt x="1350" y="1626"/>
                  </a:lnTo>
                  <a:lnTo>
                    <a:pt x="1338" y="1626"/>
                  </a:lnTo>
                  <a:lnTo>
                    <a:pt x="1326" y="1626"/>
                  </a:lnTo>
                  <a:lnTo>
                    <a:pt x="1314" y="1620"/>
                  </a:lnTo>
                  <a:lnTo>
                    <a:pt x="1308" y="1614"/>
                  </a:lnTo>
                  <a:lnTo>
                    <a:pt x="1302" y="1608"/>
                  </a:lnTo>
                  <a:lnTo>
                    <a:pt x="1296" y="1602"/>
                  </a:lnTo>
                  <a:lnTo>
                    <a:pt x="1290" y="1602"/>
                  </a:lnTo>
                  <a:lnTo>
                    <a:pt x="1290" y="1596"/>
                  </a:lnTo>
                  <a:lnTo>
                    <a:pt x="1284" y="1590"/>
                  </a:lnTo>
                  <a:lnTo>
                    <a:pt x="1272" y="1584"/>
                  </a:lnTo>
                  <a:lnTo>
                    <a:pt x="1254" y="1572"/>
                  </a:lnTo>
                  <a:lnTo>
                    <a:pt x="1236" y="1554"/>
                  </a:lnTo>
                  <a:lnTo>
                    <a:pt x="1230" y="1554"/>
                  </a:lnTo>
                  <a:lnTo>
                    <a:pt x="1224" y="1554"/>
                  </a:lnTo>
                  <a:lnTo>
                    <a:pt x="1212" y="1554"/>
                  </a:lnTo>
                  <a:lnTo>
                    <a:pt x="1194" y="1542"/>
                  </a:lnTo>
                  <a:lnTo>
                    <a:pt x="1188" y="1536"/>
                  </a:lnTo>
                  <a:lnTo>
                    <a:pt x="1182" y="1530"/>
                  </a:lnTo>
                  <a:lnTo>
                    <a:pt x="1176" y="1530"/>
                  </a:lnTo>
                  <a:lnTo>
                    <a:pt x="1170" y="1530"/>
                  </a:lnTo>
                  <a:lnTo>
                    <a:pt x="1158" y="1524"/>
                  </a:lnTo>
                  <a:lnTo>
                    <a:pt x="1152" y="1524"/>
                  </a:lnTo>
                  <a:lnTo>
                    <a:pt x="1140" y="1518"/>
                  </a:lnTo>
                  <a:lnTo>
                    <a:pt x="1128" y="1518"/>
                  </a:lnTo>
                  <a:lnTo>
                    <a:pt x="1122" y="1518"/>
                  </a:lnTo>
                  <a:lnTo>
                    <a:pt x="1116" y="1518"/>
                  </a:lnTo>
                  <a:lnTo>
                    <a:pt x="1104" y="1518"/>
                  </a:lnTo>
                  <a:lnTo>
                    <a:pt x="1092" y="1518"/>
                  </a:lnTo>
                  <a:lnTo>
                    <a:pt x="1080" y="1518"/>
                  </a:lnTo>
                  <a:lnTo>
                    <a:pt x="1068" y="1518"/>
                  </a:lnTo>
                  <a:lnTo>
                    <a:pt x="1062" y="1518"/>
                  </a:lnTo>
                  <a:lnTo>
                    <a:pt x="1056" y="1518"/>
                  </a:lnTo>
                  <a:lnTo>
                    <a:pt x="1050" y="1512"/>
                  </a:lnTo>
                  <a:lnTo>
                    <a:pt x="1044" y="1512"/>
                  </a:lnTo>
                  <a:lnTo>
                    <a:pt x="1038" y="1512"/>
                  </a:lnTo>
                  <a:lnTo>
                    <a:pt x="1032" y="1506"/>
                  </a:lnTo>
                  <a:lnTo>
                    <a:pt x="1026" y="1500"/>
                  </a:lnTo>
                  <a:lnTo>
                    <a:pt x="1026" y="1494"/>
                  </a:lnTo>
                  <a:lnTo>
                    <a:pt x="1020" y="1476"/>
                  </a:lnTo>
                  <a:lnTo>
                    <a:pt x="1008" y="1464"/>
                  </a:lnTo>
                  <a:lnTo>
                    <a:pt x="1008" y="1458"/>
                  </a:lnTo>
                  <a:lnTo>
                    <a:pt x="1002" y="1446"/>
                  </a:lnTo>
                  <a:lnTo>
                    <a:pt x="996" y="1446"/>
                  </a:lnTo>
                  <a:lnTo>
                    <a:pt x="990" y="1440"/>
                  </a:lnTo>
                  <a:lnTo>
                    <a:pt x="984" y="1434"/>
                  </a:lnTo>
                  <a:lnTo>
                    <a:pt x="978" y="1434"/>
                  </a:lnTo>
                  <a:lnTo>
                    <a:pt x="972" y="1434"/>
                  </a:lnTo>
                  <a:lnTo>
                    <a:pt x="966" y="1428"/>
                  </a:lnTo>
                  <a:lnTo>
                    <a:pt x="954" y="1422"/>
                  </a:lnTo>
                  <a:lnTo>
                    <a:pt x="942" y="1416"/>
                  </a:lnTo>
                  <a:lnTo>
                    <a:pt x="924" y="1398"/>
                  </a:lnTo>
                  <a:lnTo>
                    <a:pt x="912" y="1386"/>
                  </a:lnTo>
                  <a:lnTo>
                    <a:pt x="900" y="1386"/>
                  </a:lnTo>
                  <a:lnTo>
                    <a:pt x="894" y="1386"/>
                  </a:lnTo>
                  <a:lnTo>
                    <a:pt x="882" y="1392"/>
                  </a:lnTo>
                  <a:lnTo>
                    <a:pt x="876" y="1392"/>
                  </a:lnTo>
                  <a:lnTo>
                    <a:pt x="864" y="1398"/>
                  </a:lnTo>
                  <a:lnTo>
                    <a:pt x="864" y="1404"/>
                  </a:lnTo>
                  <a:lnTo>
                    <a:pt x="858" y="1410"/>
                  </a:lnTo>
                  <a:lnTo>
                    <a:pt x="852" y="1410"/>
                  </a:lnTo>
                  <a:lnTo>
                    <a:pt x="846" y="1410"/>
                  </a:lnTo>
                  <a:lnTo>
                    <a:pt x="834" y="1410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10" y="1428"/>
                  </a:lnTo>
                  <a:lnTo>
                    <a:pt x="798" y="1428"/>
                  </a:lnTo>
                  <a:lnTo>
                    <a:pt x="792" y="1428"/>
                  </a:lnTo>
                  <a:lnTo>
                    <a:pt x="780" y="1434"/>
                  </a:lnTo>
                  <a:lnTo>
                    <a:pt x="774" y="1428"/>
                  </a:lnTo>
                  <a:lnTo>
                    <a:pt x="762" y="1428"/>
                  </a:lnTo>
                  <a:lnTo>
                    <a:pt x="756" y="1422"/>
                  </a:lnTo>
                  <a:lnTo>
                    <a:pt x="750" y="1416"/>
                  </a:lnTo>
                  <a:lnTo>
                    <a:pt x="744" y="1410"/>
                  </a:lnTo>
                  <a:lnTo>
                    <a:pt x="744" y="1398"/>
                  </a:lnTo>
                  <a:lnTo>
                    <a:pt x="744" y="1386"/>
                  </a:lnTo>
                  <a:lnTo>
                    <a:pt x="750" y="1380"/>
                  </a:lnTo>
                  <a:lnTo>
                    <a:pt x="750" y="1374"/>
                  </a:lnTo>
                  <a:lnTo>
                    <a:pt x="750" y="1368"/>
                  </a:lnTo>
                  <a:lnTo>
                    <a:pt x="756" y="1362"/>
                  </a:lnTo>
                  <a:lnTo>
                    <a:pt x="750" y="1350"/>
                  </a:lnTo>
                  <a:lnTo>
                    <a:pt x="744" y="1344"/>
                  </a:lnTo>
                  <a:lnTo>
                    <a:pt x="738" y="1338"/>
                  </a:lnTo>
                  <a:lnTo>
                    <a:pt x="726" y="1338"/>
                  </a:lnTo>
                  <a:lnTo>
                    <a:pt x="720" y="1338"/>
                  </a:lnTo>
                  <a:lnTo>
                    <a:pt x="714" y="1338"/>
                  </a:lnTo>
                  <a:lnTo>
                    <a:pt x="708" y="1332"/>
                  </a:lnTo>
                  <a:lnTo>
                    <a:pt x="702" y="1332"/>
                  </a:lnTo>
                  <a:lnTo>
                    <a:pt x="696" y="1326"/>
                  </a:lnTo>
                  <a:lnTo>
                    <a:pt x="684" y="1326"/>
                  </a:lnTo>
                  <a:lnTo>
                    <a:pt x="678" y="1326"/>
                  </a:lnTo>
                  <a:lnTo>
                    <a:pt x="672" y="1314"/>
                  </a:lnTo>
                  <a:lnTo>
                    <a:pt x="666" y="1308"/>
                  </a:lnTo>
                  <a:lnTo>
                    <a:pt x="654" y="1296"/>
                  </a:lnTo>
                  <a:lnTo>
                    <a:pt x="654" y="1290"/>
                  </a:lnTo>
                  <a:lnTo>
                    <a:pt x="630" y="1284"/>
                  </a:lnTo>
                  <a:lnTo>
                    <a:pt x="630" y="1278"/>
                  </a:lnTo>
                  <a:lnTo>
                    <a:pt x="624" y="1278"/>
                  </a:lnTo>
                  <a:lnTo>
                    <a:pt x="618" y="1266"/>
                  </a:lnTo>
                  <a:lnTo>
                    <a:pt x="612" y="1266"/>
                  </a:lnTo>
                  <a:lnTo>
                    <a:pt x="606" y="1266"/>
                  </a:lnTo>
                  <a:lnTo>
                    <a:pt x="606" y="1260"/>
                  </a:lnTo>
                  <a:lnTo>
                    <a:pt x="594" y="1248"/>
                  </a:lnTo>
                  <a:lnTo>
                    <a:pt x="582" y="1248"/>
                  </a:lnTo>
                  <a:lnTo>
                    <a:pt x="576" y="1242"/>
                  </a:lnTo>
                  <a:lnTo>
                    <a:pt x="570" y="1236"/>
                  </a:lnTo>
                  <a:lnTo>
                    <a:pt x="504" y="1164"/>
                  </a:lnTo>
                  <a:lnTo>
                    <a:pt x="450" y="1110"/>
                  </a:lnTo>
                  <a:lnTo>
                    <a:pt x="426" y="1092"/>
                  </a:lnTo>
                  <a:lnTo>
                    <a:pt x="426" y="1074"/>
                  </a:lnTo>
                  <a:lnTo>
                    <a:pt x="420" y="1062"/>
                  </a:lnTo>
                  <a:lnTo>
                    <a:pt x="396" y="1056"/>
                  </a:lnTo>
                  <a:lnTo>
                    <a:pt x="384" y="1032"/>
                  </a:lnTo>
                  <a:lnTo>
                    <a:pt x="372" y="1020"/>
                  </a:lnTo>
                  <a:lnTo>
                    <a:pt x="360" y="984"/>
                  </a:lnTo>
                  <a:lnTo>
                    <a:pt x="348" y="978"/>
                  </a:lnTo>
                  <a:lnTo>
                    <a:pt x="342" y="972"/>
                  </a:lnTo>
                  <a:lnTo>
                    <a:pt x="348" y="960"/>
                  </a:lnTo>
                  <a:lnTo>
                    <a:pt x="342" y="954"/>
                  </a:lnTo>
                  <a:lnTo>
                    <a:pt x="336" y="954"/>
                  </a:lnTo>
                  <a:lnTo>
                    <a:pt x="330" y="954"/>
                  </a:lnTo>
                  <a:lnTo>
                    <a:pt x="324" y="972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0" y="966"/>
                  </a:lnTo>
                  <a:lnTo>
                    <a:pt x="294" y="966"/>
                  </a:lnTo>
                  <a:lnTo>
                    <a:pt x="288" y="972"/>
                  </a:lnTo>
                  <a:lnTo>
                    <a:pt x="288" y="966"/>
                  </a:lnTo>
                  <a:lnTo>
                    <a:pt x="282" y="948"/>
                  </a:lnTo>
                  <a:lnTo>
                    <a:pt x="282" y="942"/>
                  </a:lnTo>
                  <a:lnTo>
                    <a:pt x="276" y="942"/>
                  </a:lnTo>
                  <a:lnTo>
                    <a:pt x="276" y="936"/>
                  </a:lnTo>
                  <a:lnTo>
                    <a:pt x="270" y="942"/>
                  </a:lnTo>
                  <a:lnTo>
                    <a:pt x="264" y="948"/>
                  </a:lnTo>
                  <a:lnTo>
                    <a:pt x="264" y="942"/>
                  </a:lnTo>
                  <a:lnTo>
                    <a:pt x="258" y="942"/>
                  </a:lnTo>
                  <a:lnTo>
                    <a:pt x="252" y="948"/>
                  </a:lnTo>
                  <a:lnTo>
                    <a:pt x="252" y="942"/>
                  </a:lnTo>
                  <a:lnTo>
                    <a:pt x="246" y="936"/>
                  </a:lnTo>
                  <a:lnTo>
                    <a:pt x="240" y="942"/>
                  </a:lnTo>
                  <a:lnTo>
                    <a:pt x="234" y="936"/>
                  </a:lnTo>
                  <a:lnTo>
                    <a:pt x="228" y="936"/>
                  </a:lnTo>
                  <a:lnTo>
                    <a:pt x="222" y="936"/>
                  </a:lnTo>
                  <a:lnTo>
                    <a:pt x="222" y="930"/>
                  </a:lnTo>
                  <a:lnTo>
                    <a:pt x="222" y="924"/>
                  </a:lnTo>
                  <a:lnTo>
                    <a:pt x="228" y="924"/>
                  </a:lnTo>
                  <a:lnTo>
                    <a:pt x="234" y="924"/>
                  </a:lnTo>
                  <a:lnTo>
                    <a:pt x="240" y="924"/>
                  </a:lnTo>
                  <a:lnTo>
                    <a:pt x="240" y="918"/>
                  </a:lnTo>
                  <a:lnTo>
                    <a:pt x="246" y="918"/>
                  </a:lnTo>
                  <a:lnTo>
                    <a:pt x="246" y="912"/>
                  </a:lnTo>
                  <a:lnTo>
                    <a:pt x="240" y="906"/>
                  </a:lnTo>
                  <a:lnTo>
                    <a:pt x="234" y="906"/>
                  </a:lnTo>
                  <a:lnTo>
                    <a:pt x="228" y="906"/>
                  </a:lnTo>
                  <a:lnTo>
                    <a:pt x="228" y="912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8" y="894"/>
                  </a:lnTo>
                  <a:lnTo>
                    <a:pt x="234" y="894"/>
                  </a:lnTo>
                  <a:lnTo>
                    <a:pt x="228" y="888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198" y="888"/>
                  </a:lnTo>
                  <a:lnTo>
                    <a:pt x="192" y="882"/>
                  </a:lnTo>
                  <a:lnTo>
                    <a:pt x="186" y="882"/>
                  </a:lnTo>
                  <a:lnTo>
                    <a:pt x="186" y="876"/>
                  </a:lnTo>
                  <a:lnTo>
                    <a:pt x="192" y="876"/>
                  </a:lnTo>
                  <a:lnTo>
                    <a:pt x="192" y="870"/>
                  </a:lnTo>
                  <a:lnTo>
                    <a:pt x="198" y="870"/>
                  </a:lnTo>
                  <a:lnTo>
                    <a:pt x="198" y="864"/>
                  </a:lnTo>
                  <a:lnTo>
                    <a:pt x="198" y="858"/>
                  </a:lnTo>
                  <a:lnTo>
                    <a:pt x="180" y="852"/>
                  </a:lnTo>
                  <a:lnTo>
                    <a:pt x="174" y="840"/>
                  </a:lnTo>
                  <a:lnTo>
                    <a:pt x="162" y="846"/>
                  </a:lnTo>
                  <a:lnTo>
                    <a:pt x="156" y="846"/>
                  </a:lnTo>
                  <a:lnTo>
                    <a:pt x="150" y="846"/>
                  </a:lnTo>
                  <a:lnTo>
                    <a:pt x="150" y="840"/>
                  </a:lnTo>
                  <a:lnTo>
                    <a:pt x="138" y="834"/>
                  </a:lnTo>
                  <a:lnTo>
                    <a:pt x="132" y="834"/>
                  </a:lnTo>
                  <a:lnTo>
                    <a:pt x="132" y="840"/>
                  </a:lnTo>
                  <a:lnTo>
                    <a:pt x="126" y="840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58"/>
                  </a:lnTo>
                  <a:lnTo>
                    <a:pt x="120" y="846"/>
                  </a:lnTo>
                  <a:lnTo>
                    <a:pt x="114" y="846"/>
                  </a:lnTo>
                  <a:lnTo>
                    <a:pt x="108" y="840"/>
                  </a:lnTo>
                  <a:lnTo>
                    <a:pt x="102" y="834"/>
                  </a:lnTo>
                  <a:lnTo>
                    <a:pt x="102" y="822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78" y="804"/>
                  </a:lnTo>
                  <a:lnTo>
                    <a:pt x="78" y="798"/>
                  </a:lnTo>
                  <a:lnTo>
                    <a:pt x="78" y="792"/>
                  </a:lnTo>
                  <a:lnTo>
                    <a:pt x="78" y="786"/>
                  </a:lnTo>
                  <a:lnTo>
                    <a:pt x="78" y="780"/>
                  </a:lnTo>
                  <a:lnTo>
                    <a:pt x="72" y="774"/>
                  </a:lnTo>
                  <a:lnTo>
                    <a:pt x="66" y="774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60" y="762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6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2" y="666"/>
                  </a:lnTo>
                  <a:lnTo>
                    <a:pt x="18" y="648"/>
                  </a:lnTo>
                  <a:lnTo>
                    <a:pt x="24" y="636"/>
                  </a:lnTo>
                  <a:lnTo>
                    <a:pt x="30" y="630"/>
                  </a:lnTo>
                  <a:lnTo>
                    <a:pt x="30" y="624"/>
                  </a:lnTo>
                  <a:lnTo>
                    <a:pt x="30" y="612"/>
                  </a:lnTo>
                  <a:lnTo>
                    <a:pt x="30" y="606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66" y="582"/>
                  </a:lnTo>
                  <a:lnTo>
                    <a:pt x="72" y="588"/>
                  </a:lnTo>
                  <a:lnTo>
                    <a:pt x="84" y="594"/>
                  </a:lnTo>
                  <a:lnTo>
                    <a:pt x="90" y="600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14" y="612"/>
                  </a:lnTo>
                  <a:lnTo>
                    <a:pt x="120" y="612"/>
                  </a:lnTo>
                  <a:lnTo>
                    <a:pt x="126" y="618"/>
                  </a:lnTo>
                  <a:lnTo>
                    <a:pt x="138" y="594"/>
                  </a:lnTo>
                  <a:lnTo>
                    <a:pt x="138" y="582"/>
                  </a:lnTo>
                  <a:lnTo>
                    <a:pt x="138" y="570"/>
                  </a:lnTo>
                  <a:lnTo>
                    <a:pt x="138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50" y="528"/>
                  </a:lnTo>
                  <a:lnTo>
                    <a:pt x="156" y="510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62"/>
                  </a:lnTo>
                  <a:lnTo>
                    <a:pt x="168" y="450"/>
                  </a:lnTo>
                  <a:lnTo>
                    <a:pt x="168" y="444"/>
                  </a:lnTo>
                  <a:lnTo>
                    <a:pt x="162" y="432"/>
                  </a:lnTo>
                  <a:lnTo>
                    <a:pt x="162" y="426"/>
                  </a:lnTo>
                  <a:lnTo>
                    <a:pt x="156" y="420"/>
                  </a:lnTo>
                  <a:lnTo>
                    <a:pt x="144" y="414"/>
                  </a:lnTo>
                  <a:lnTo>
                    <a:pt x="132" y="402"/>
                  </a:lnTo>
                  <a:lnTo>
                    <a:pt x="126" y="390"/>
                  </a:lnTo>
                  <a:lnTo>
                    <a:pt x="120" y="384"/>
                  </a:lnTo>
                  <a:lnTo>
                    <a:pt x="120" y="372"/>
                  </a:lnTo>
                  <a:lnTo>
                    <a:pt x="114" y="360"/>
                  </a:lnTo>
                  <a:lnTo>
                    <a:pt x="108" y="360"/>
                  </a:lnTo>
                  <a:lnTo>
                    <a:pt x="108" y="354"/>
                  </a:lnTo>
                  <a:lnTo>
                    <a:pt x="102" y="348"/>
                  </a:lnTo>
                  <a:lnTo>
                    <a:pt x="102" y="342"/>
                  </a:lnTo>
                  <a:lnTo>
                    <a:pt x="108" y="330"/>
                  </a:lnTo>
                  <a:lnTo>
                    <a:pt x="114" y="312"/>
                  </a:lnTo>
                  <a:lnTo>
                    <a:pt x="114" y="300"/>
                  </a:lnTo>
                  <a:lnTo>
                    <a:pt x="120" y="288"/>
                  </a:lnTo>
                  <a:lnTo>
                    <a:pt x="120" y="282"/>
                  </a:lnTo>
                  <a:lnTo>
                    <a:pt x="114" y="270"/>
                  </a:lnTo>
                  <a:lnTo>
                    <a:pt x="114" y="258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84" y="222"/>
                  </a:lnTo>
                  <a:lnTo>
                    <a:pt x="84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84" y="186"/>
                  </a:lnTo>
                  <a:lnTo>
                    <a:pt x="84" y="180"/>
                  </a:lnTo>
                  <a:lnTo>
                    <a:pt x="108" y="174"/>
                  </a:lnTo>
                  <a:lnTo>
                    <a:pt x="132" y="186"/>
                  </a:lnTo>
                  <a:lnTo>
                    <a:pt x="138" y="192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56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74" y="204"/>
                  </a:lnTo>
                  <a:lnTo>
                    <a:pt x="180" y="216"/>
                  </a:lnTo>
                  <a:lnTo>
                    <a:pt x="186" y="228"/>
                  </a:lnTo>
                  <a:lnTo>
                    <a:pt x="192" y="234"/>
                  </a:lnTo>
                  <a:lnTo>
                    <a:pt x="198" y="234"/>
                  </a:lnTo>
                  <a:lnTo>
                    <a:pt x="204" y="240"/>
                  </a:lnTo>
                  <a:lnTo>
                    <a:pt x="210" y="240"/>
                  </a:lnTo>
                  <a:lnTo>
                    <a:pt x="216" y="240"/>
                  </a:lnTo>
                  <a:lnTo>
                    <a:pt x="222" y="240"/>
                  </a:lnTo>
                  <a:lnTo>
                    <a:pt x="228" y="246"/>
                  </a:lnTo>
                  <a:lnTo>
                    <a:pt x="234" y="246"/>
                  </a:lnTo>
                  <a:lnTo>
                    <a:pt x="240" y="246"/>
                  </a:lnTo>
                  <a:lnTo>
                    <a:pt x="252" y="252"/>
                  </a:lnTo>
                  <a:lnTo>
                    <a:pt x="330" y="246"/>
                  </a:lnTo>
                  <a:lnTo>
                    <a:pt x="360" y="228"/>
                  </a:lnTo>
                  <a:lnTo>
                    <a:pt x="396" y="228"/>
                  </a:lnTo>
                  <a:lnTo>
                    <a:pt x="402" y="240"/>
                  </a:lnTo>
                  <a:lnTo>
                    <a:pt x="432" y="240"/>
                  </a:lnTo>
                  <a:lnTo>
                    <a:pt x="450" y="258"/>
                  </a:lnTo>
                  <a:lnTo>
                    <a:pt x="468" y="258"/>
                  </a:lnTo>
                  <a:lnTo>
                    <a:pt x="474" y="294"/>
                  </a:lnTo>
                  <a:lnTo>
                    <a:pt x="558" y="318"/>
                  </a:lnTo>
                  <a:lnTo>
                    <a:pt x="588" y="318"/>
                  </a:lnTo>
                  <a:lnTo>
                    <a:pt x="588" y="312"/>
                  </a:lnTo>
                  <a:lnTo>
                    <a:pt x="594" y="306"/>
                  </a:lnTo>
                  <a:lnTo>
                    <a:pt x="600" y="306"/>
                  </a:lnTo>
                  <a:lnTo>
                    <a:pt x="612" y="300"/>
                  </a:lnTo>
                  <a:lnTo>
                    <a:pt x="618" y="300"/>
                  </a:lnTo>
                  <a:lnTo>
                    <a:pt x="630" y="300"/>
                  </a:lnTo>
                  <a:lnTo>
                    <a:pt x="642" y="306"/>
                  </a:lnTo>
                  <a:lnTo>
                    <a:pt x="660" y="306"/>
                  </a:lnTo>
                  <a:lnTo>
                    <a:pt x="666" y="306"/>
                  </a:lnTo>
                  <a:lnTo>
                    <a:pt x="672" y="306"/>
                  </a:lnTo>
                  <a:lnTo>
                    <a:pt x="684" y="300"/>
                  </a:lnTo>
                  <a:lnTo>
                    <a:pt x="696" y="294"/>
                  </a:lnTo>
                  <a:lnTo>
                    <a:pt x="702" y="288"/>
                  </a:lnTo>
                  <a:lnTo>
                    <a:pt x="714" y="282"/>
                  </a:lnTo>
                  <a:lnTo>
                    <a:pt x="714" y="288"/>
                  </a:lnTo>
                  <a:lnTo>
                    <a:pt x="726" y="300"/>
                  </a:lnTo>
                  <a:lnTo>
                    <a:pt x="732" y="306"/>
                  </a:lnTo>
                  <a:lnTo>
                    <a:pt x="732" y="318"/>
                  </a:lnTo>
                  <a:lnTo>
                    <a:pt x="732" y="330"/>
                  </a:lnTo>
                  <a:lnTo>
                    <a:pt x="726" y="342"/>
                  </a:lnTo>
                  <a:lnTo>
                    <a:pt x="720" y="354"/>
                  </a:lnTo>
                  <a:lnTo>
                    <a:pt x="720" y="360"/>
                  </a:lnTo>
                  <a:lnTo>
                    <a:pt x="714" y="372"/>
                  </a:lnTo>
                  <a:lnTo>
                    <a:pt x="714" y="378"/>
                  </a:lnTo>
                  <a:lnTo>
                    <a:pt x="714" y="408"/>
                  </a:lnTo>
                  <a:lnTo>
                    <a:pt x="708" y="420"/>
                  </a:lnTo>
                  <a:lnTo>
                    <a:pt x="714" y="432"/>
                  </a:lnTo>
                  <a:lnTo>
                    <a:pt x="708" y="450"/>
                  </a:lnTo>
                  <a:lnTo>
                    <a:pt x="708" y="468"/>
                  </a:lnTo>
                  <a:lnTo>
                    <a:pt x="696" y="480"/>
                  </a:lnTo>
                  <a:lnTo>
                    <a:pt x="684" y="486"/>
                  </a:lnTo>
                  <a:lnTo>
                    <a:pt x="672" y="492"/>
                  </a:lnTo>
                  <a:lnTo>
                    <a:pt x="660" y="498"/>
                  </a:lnTo>
                  <a:lnTo>
                    <a:pt x="654" y="510"/>
                  </a:lnTo>
                  <a:lnTo>
                    <a:pt x="648" y="516"/>
                  </a:lnTo>
                  <a:lnTo>
                    <a:pt x="642" y="522"/>
                  </a:lnTo>
                  <a:lnTo>
                    <a:pt x="630" y="522"/>
                  </a:lnTo>
                  <a:lnTo>
                    <a:pt x="624" y="528"/>
                  </a:lnTo>
                  <a:lnTo>
                    <a:pt x="618" y="540"/>
                  </a:lnTo>
                  <a:lnTo>
                    <a:pt x="618" y="558"/>
                  </a:lnTo>
                  <a:lnTo>
                    <a:pt x="612" y="576"/>
                  </a:lnTo>
                  <a:lnTo>
                    <a:pt x="612" y="684"/>
                  </a:lnTo>
                  <a:lnTo>
                    <a:pt x="618" y="696"/>
                  </a:lnTo>
                  <a:lnTo>
                    <a:pt x="636" y="696"/>
                  </a:lnTo>
                  <a:lnTo>
                    <a:pt x="636" y="720"/>
                  </a:lnTo>
                  <a:lnTo>
                    <a:pt x="636" y="732"/>
                  </a:lnTo>
                  <a:lnTo>
                    <a:pt x="618" y="750"/>
                  </a:lnTo>
                  <a:lnTo>
                    <a:pt x="606" y="762"/>
                  </a:lnTo>
                  <a:lnTo>
                    <a:pt x="600" y="774"/>
                  </a:lnTo>
                  <a:lnTo>
                    <a:pt x="594" y="798"/>
                  </a:lnTo>
                  <a:lnTo>
                    <a:pt x="606" y="798"/>
                  </a:lnTo>
                  <a:lnTo>
                    <a:pt x="660" y="792"/>
                  </a:lnTo>
                  <a:lnTo>
                    <a:pt x="696" y="798"/>
                  </a:lnTo>
                  <a:lnTo>
                    <a:pt x="720" y="798"/>
                  </a:lnTo>
                  <a:lnTo>
                    <a:pt x="720" y="786"/>
                  </a:lnTo>
                  <a:lnTo>
                    <a:pt x="720" y="774"/>
                  </a:lnTo>
                  <a:lnTo>
                    <a:pt x="702" y="762"/>
                  </a:lnTo>
                  <a:lnTo>
                    <a:pt x="702" y="750"/>
                  </a:lnTo>
                  <a:lnTo>
                    <a:pt x="702" y="726"/>
                  </a:lnTo>
                  <a:lnTo>
                    <a:pt x="714" y="714"/>
                  </a:lnTo>
                  <a:lnTo>
                    <a:pt x="720" y="702"/>
                  </a:lnTo>
                  <a:lnTo>
                    <a:pt x="720" y="696"/>
                  </a:lnTo>
                  <a:lnTo>
                    <a:pt x="744" y="690"/>
                  </a:lnTo>
                  <a:lnTo>
                    <a:pt x="744" y="696"/>
                  </a:lnTo>
                  <a:lnTo>
                    <a:pt x="756" y="696"/>
                  </a:lnTo>
                  <a:lnTo>
                    <a:pt x="762" y="690"/>
                  </a:lnTo>
                  <a:lnTo>
                    <a:pt x="768" y="690"/>
                  </a:lnTo>
                  <a:lnTo>
                    <a:pt x="774" y="696"/>
                  </a:lnTo>
                  <a:lnTo>
                    <a:pt x="780" y="696"/>
                  </a:lnTo>
                  <a:lnTo>
                    <a:pt x="786" y="696"/>
                  </a:lnTo>
                  <a:lnTo>
                    <a:pt x="804" y="684"/>
                  </a:lnTo>
                  <a:lnTo>
                    <a:pt x="810" y="684"/>
                  </a:lnTo>
                  <a:lnTo>
                    <a:pt x="810" y="654"/>
                  </a:lnTo>
                  <a:lnTo>
                    <a:pt x="816" y="588"/>
                  </a:lnTo>
                  <a:lnTo>
                    <a:pt x="804" y="582"/>
                  </a:lnTo>
                  <a:lnTo>
                    <a:pt x="798" y="552"/>
                  </a:lnTo>
                  <a:lnTo>
                    <a:pt x="798" y="480"/>
                  </a:lnTo>
                  <a:lnTo>
                    <a:pt x="780" y="468"/>
                  </a:lnTo>
                  <a:lnTo>
                    <a:pt x="780" y="462"/>
                  </a:lnTo>
                  <a:lnTo>
                    <a:pt x="774" y="450"/>
                  </a:lnTo>
                  <a:lnTo>
                    <a:pt x="762" y="444"/>
                  </a:lnTo>
                  <a:lnTo>
                    <a:pt x="762" y="438"/>
                  </a:lnTo>
                  <a:lnTo>
                    <a:pt x="768" y="432"/>
                  </a:lnTo>
                  <a:lnTo>
                    <a:pt x="774" y="426"/>
                  </a:lnTo>
                  <a:lnTo>
                    <a:pt x="780" y="426"/>
                  </a:lnTo>
                  <a:lnTo>
                    <a:pt x="780" y="414"/>
                  </a:lnTo>
                  <a:lnTo>
                    <a:pt x="834" y="414"/>
                  </a:lnTo>
                  <a:lnTo>
                    <a:pt x="834" y="426"/>
                  </a:lnTo>
                  <a:lnTo>
                    <a:pt x="840" y="432"/>
                  </a:lnTo>
                  <a:lnTo>
                    <a:pt x="846" y="432"/>
                  </a:lnTo>
                  <a:lnTo>
                    <a:pt x="852" y="432"/>
                  </a:lnTo>
                  <a:lnTo>
                    <a:pt x="858" y="432"/>
                  </a:lnTo>
                  <a:lnTo>
                    <a:pt x="870" y="432"/>
                  </a:lnTo>
                  <a:lnTo>
                    <a:pt x="870" y="426"/>
                  </a:lnTo>
                  <a:lnTo>
                    <a:pt x="870" y="420"/>
                  </a:lnTo>
                  <a:lnTo>
                    <a:pt x="876" y="420"/>
                  </a:lnTo>
                  <a:lnTo>
                    <a:pt x="882" y="420"/>
                  </a:lnTo>
                  <a:lnTo>
                    <a:pt x="894" y="414"/>
                  </a:lnTo>
                  <a:lnTo>
                    <a:pt x="900" y="414"/>
                  </a:lnTo>
                  <a:lnTo>
                    <a:pt x="906" y="408"/>
                  </a:lnTo>
                  <a:lnTo>
                    <a:pt x="918" y="408"/>
                  </a:lnTo>
                  <a:lnTo>
                    <a:pt x="924" y="402"/>
                  </a:lnTo>
                  <a:lnTo>
                    <a:pt x="930" y="384"/>
                  </a:lnTo>
                  <a:lnTo>
                    <a:pt x="948" y="396"/>
                  </a:lnTo>
                  <a:lnTo>
                    <a:pt x="954" y="384"/>
                  </a:lnTo>
                  <a:lnTo>
                    <a:pt x="960" y="384"/>
                  </a:lnTo>
                  <a:lnTo>
                    <a:pt x="972" y="384"/>
                  </a:lnTo>
                  <a:lnTo>
                    <a:pt x="978" y="378"/>
                  </a:lnTo>
                  <a:lnTo>
                    <a:pt x="972" y="366"/>
                  </a:lnTo>
                  <a:lnTo>
                    <a:pt x="966" y="342"/>
                  </a:lnTo>
                  <a:lnTo>
                    <a:pt x="960" y="330"/>
                  </a:lnTo>
                  <a:lnTo>
                    <a:pt x="942" y="324"/>
                  </a:lnTo>
                  <a:lnTo>
                    <a:pt x="936" y="318"/>
                  </a:lnTo>
                  <a:lnTo>
                    <a:pt x="936" y="294"/>
                  </a:lnTo>
                  <a:lnTo>
                    <a:pt x="942" y="294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282"/>
                  </a:lnTo>
                  <a:lnTo>
                    <a:pt x="954" y="276"/>
                  </a:lnTo>
                  <a:lnTo>
                    <a:pt x="960" y="276"/>
                  </a:lnTo>
                  <a:lnTo>
                    <a:pt x="966" y="276"/>
                  </a:lnTo>
                  <a:lnTo>
                    <a:pt x="960" y="258"/>
                  </a:lnTo>
                  <a:lnTo>
                    <a:pt x="954" y="240"/>
                  </a:lnTo>
                  <a:lnTo>
                    <a:pt x="948" y="204"/>
                  </a:lnTo>
                  <a:lnTo>
                    <a:pt x="954" y="204"/>
                  </a:lnTo>
                  <a:lnTo>
                    <a:pt x="960" y="198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00" y="186"/>
                  </a:lnTo>
                  <a:lnTo>
                    <a:pt x="876" y="180"/>
                  </a:lnTo>
                  <a:lnTo>
                    <a:pt x="858" y="180"/>
                  </a:lnTo>
                  <a:lnTo>
                    <a:pt x="852" y="168"/>
                  </a:lnTo>
                  <a:lnTo>
                    <a:pt x="834" y="156"/>
                  </a:lnTo>
                  <a:lnTo>
                    <a:pt x="822" y="156"/>
                  </a:lnTo>
                  <a:lnTo>
                    <a:pt x="804" y="156"/>
                  </a:lnTo>
                  <a:lnTo>
                    <a:pt x="804" y="150"/>
                  </a:lnTo>
                  <a:lnTo>
                    <a:pt x="792" y="144"/>
                  </a:lnTo>
                  <a:lnTo>
                    <a:pt x="762" y="138"/>
                  </a:lnTo>
                  <a:lnTo>
                    <a:pt x="768" y="120"/>
                  </a:lnTo>
                  <a:lnTo>
                    <a:pt x="756" y="120"/>
                  </a:lnTo>
                  <a:lnTo>
                    <a:pt x="744" y="108"/>
                  </a:lnTo>
                  <a:lnTo>
                    <a:pt x="744" y="96"/>
                  </a:lnTo>
                  <a:lnTo>
                    <a:pt x="762" y="84"/>
                  </a:lnTo>
                  <a:lnTo>
                    <a:pt x="768" y="84"/>
                  </a:lnTo>
                  <a:lnTo>
                    <a:pt x="768" y="72"/>
                  </a:lnTo>
                  <a:lnTo>
                    <a:pt x="780" y="66"/>
                  </a:lnTo>
                  <a:lnTo>
                    <a:pt x="798" y="54"/>
                  </a:lnTo>
                  <a:lnTo>
                    <a:pt x="792" y="54"/>
                  </a:lnTo>
                  <a:lnTo>
                    <a:pt x="798" y="36"/>
                  </a:lnTo>
                  <a:lnTo>
                    <a:pt x="804" y="36"/>
                  </a:lnTo>
                  <a:lnTo>
                    <a:pt x="816" y="30"/>
                  </a:lnTo>
                  <a:lnTo>
                    <a:pt x="828" y="30"/>
                  </a:lnTo>
                  <a:lnTo>
                    <a:pt x="846" y="12"/>
                  </a:lnTo>
                  <a:lnTo>
                    <a:pt x="876" y="0"/>
                  </a:lnTo>
                  <a:lnTo>
                    <a:pt x="882" y="6"/>
                  </a:lnTo>
                  <a:lnTo>
                    <a:pt x="900" y="6"/>
                  </a:lnTo>
                  <a:lnTo>
                    <a:pt x="912" y="36"/>
                  </a:lnTo>
                  <a:lnTo>
                    <a:pt x="918" y="42"/>
                  </a:lnTo>
                  <a:lnTo>
                    <a:pt x="924" y="54"/>
                  </a:lnTo>
                  <a:lnTo>
                    <a:pt x="930" y="54"/>
                  </a:lnTo>
                  <a:lnTo>
                    <a:pt x="930" y="78"/>
                  </a:lnTo>
                  <a:lnTo>
                    <a:pt x="954" y="72"/>
                  </a:lnTo>
                  <a:lnTo>
                    <a:pt x="954" y="60"/>
                  </a:lnTo>
                  <a:lnTo>
                    <a:pt x="966" y="66"/>
                  </a:lnTo>
                  <a:lnTo>
                    <a:pt x="966" y="78"/>
                  </a:lnTo>
                  <a:lnTo>
                    <a:pt x="960" y="84"/>
                  </a:lnTo>
                  <a:lnTo>
                    <a:pt x="954" y="102"/>
                  </a:lnTo>
                  <a:lnTo>
                    <a:pt x="972" y="102"/>
                  </a:lnTo>
                  <a:lnTo>
                    <a:pt x="978" y="84"/>
                  </a:lnTo>
                  <a:lnTo>
                    <a:pt x="984" y="72"/>
                  </a:lnTo>
                  <a:lnTo>
                    <a:pt x="990" y="72"/>
                  </a:lnTo>
                  <a:lnTo>
                    <a:pt x="996" y="18"/>
                  </a:lnTo>
                  <a:lnTo>
                    <a:pt x="990" y="12"/>
                  </a:lnTo>
                  <a:lnTo>
                    <a:pt x="1014" y="12"/>
                  </a:lnTo>
                  <a:lnTo>
                    <a:pt x="1026" y="12"/>
                  </a:lnTo>
                  <a:lnTo>
                    <a:pt x="1026" y="24"/>
                  </a:lnTo>
                  <a:lnTo>
                    <a:pt x="1050" y="24"/>
                  </a:lnTo>
                  <a:lnTo>
                    <a:pt x="1050" y="36"/>
                  </a:lnTo>
                  <a:lnTo>
                    <a:pt x="1062" y="66"/>
                  </a:lnTo>
                  <a:lnTo>
                    <a:pt x="1074" y="66"/>
                  </a:lnTo>
                  <a:lnTo>
                    <a:pt x="1080" y="60"/>
                  </a:lnTo>
                  <a:lnTo>
                    <a:pt x="1074" y="24"/>
                  </a:lnTo>
                  <a:lnTo>
                    <a:pt x="1086" y="18"/>
                  </a:lnTo>
                  <a:lnTo>
                    <a:pt x="1086" y="12"/>
                  </a:lnTo>
                  <a:lnTo>
                    <a:pt x="1104" y="6"/>
                  </a:lnTo>
                  <a:lnTo>
                    <a:pt x="1122" y="0"/>
                  </a:lnTo>
                  <a:lnTo>
                    <a:pt x="1134" y="6"/>
                  </a:lnTo>
                  <a:lnTo>
                    <a:pt x="1134" y="42"/>
                  </a:lnTo>
                  <a:lnTo>
                    <a:pt x="1140" y="72"/>
                  </a:lnTo>
                  <a:lnTo>
                    <a:pt x="1158" y="114"/>
                  </a:lnTo>
                  <a:lnTo>
                    <a:pt x="1170" y="114"/>
                  </a:lnTo>
                  <a:lnTo>
                    <a:pt x="1170" y="126"/>
                  </a:lnTo>
                  <a:lnTo>
                    <a:pt x="1182" y="126"/>
                  </a:lnTo>
                  <a:lnTo>
                    <a:pt x="1182" y="138"/>
                  </a:lnTo>
                  <a:lnTo>
                    <a:pt x="1194" y="144"/>
                  </a:lnTo>
                  <a:lnTo>
                    <a:pt x="1194" y="156"/>
                  </a:lnTo>
                  <a:lnTo>
                    <a:pt x="1188" y="156"/>
                  </a:lnTo>
                  <a:lnTo>
                    <a:pt x="1194" y="162"/>
                  </a:lnTo>
                  <a:lnTo>
                    <a:pt x="1194" y="168"/>
                  </a:lnTo>
                  <a:lnTo>
                    <a:pt x="1188" y="168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82" y="180"/>
                  </a:lnTo>
                  <a:lnTo>
                    <a:pt x="1188" y="186"/>
                  </a:lnTo>
                  <a:lnTo>
                    <a:pt x="1188" y="192"/>
                  </a:lnTo>
                  <a:lnTo>
                    <a:pt x="1182" y="198"/>
                  </a:lnTo>
                  <a:lnTo>
                    <a:pt x="1182" y="204"/>
                  </a:lnTo>
                  <a:lnTo>
                    <a:pt x="1182" y="210"/>
                  </a:lnTo>
                  <a:lnTo>
                    <a:pt x="1188" y="210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2"/>
                  </a:lnTo>
                  <a:lnTo>
                    <a:pt x="1194" y="264"/>
                  </a:lnTo>
                  <a:lnTo>
                    <a:pt x="1200" y="264"/>
                  </a:lnTo>
                  <a:lnTo>
                    <a:pt x="1212" y="264"/>
                  </a:lnTo>
                  <a:lnTo>
                    <a:pt x="1212" y="258"/>
                  </a:lnTo>
                  <a:lnTo>
                    <a:pt x="1224" y="258"/>
                  </a:lnTo>
                  <a:lnTo>
                    <a:pt x="1248" y="252"/>
                  </a:lnTo>
                  <a:lnTo>
                    <a:pt x="1248" y="264"/>
                  </a:lnTo>
                  <a:lnTo>
                    <a:pt x="1254" y="264"/>
                  </a:lnTo>
                  <a:lnTo>
                    <a:pt x="1254" y="270"/>
                  </a:lnTo>
                  <a:lnTo>
                    <a:pt x="1260" y="270"/>
                  </a:lnTo>
                  <a:lnTo>
                    <a:pt x="1266" y="270"/>
                  </a:lnTo>
                  <a:lnTo>
                    <a:pt x="1272" y="270"/>
                  </a:lnTo>
                  <a:lnTo>
                    <a:pt x="1272" y="264"/>
                  </a:lnTo>
                  <a:lnTo>
                    <a:pt x="1272" y="258"/>
                  </a:lnTo>
                  <a:lnTo>
                    <a:pt x="1278" y="258"/>
                  </a:lnTo>
                  <a:lnTo>
                    <a:pt x="1278" y="252"/>
                  </a:lnTo>
                  <a:lnTo>
                    <a:pt x="1290" y="252"/>
                  </a:lnTo>
                  <a:lnTo>
                    <a:pt x="1296" y="246"/>
                  </a:lnTo>
                  <a:lnTo>
                    <a:pt x="1308" y="246"/>
                  </a:lnTo>
                  <a:lnTo>
                    <a:pt x="1308" y="240"/>
                  </a:lnTo>
                  <a:lnTo>
                    <a:pt x="1320" y="240"/>
                  </a:lnTo>
                  <a:lnTo>
                    <a:pt x="1326" y="246"/>
                  </a:lnTo>
                  <a:lnTo>
                    <a:pt x="1338" y="246"/>
                  </a:lnTo>
                  <a:lnTo>
                    <a:pt x="1338" y="240"/>
                  </a:lnTo>
                  <a:lnTo>
                    <a:pt x="1350" y="240"/>
                  </a:lnTo>
                  <a:lnTo>
                    <a:pt x="1386" y="234"/>
                  </a:lnTo>
                  <a:lnTo>
                    <a:pt x="1398" y="228"/>
                  </a:lnTo>
                  <a:lnTo>
                    <a:pt x="1404" y="216"/>
                  </a:lnTo>
                  <a:lnTo>
                    <a:pt x="1416" y="204"/>
                  </a:lnTo>
                  <a:lnTo>
                    <a:pt x="1434" y="192"/>
                  </a:lnTo>
                  <a:lnTo>
                    <a:pt x="1446" y="198"/>
                  </a:lnTo>
                  <a:lnTo>
                    <a:pt x="1446" y="204"/>
                  </a:lnTo>
                  <a:lnTo>
                    <a:pt x="1452" y="210"/>
                  </a:lnTo>
                  <a:lnTo>
                    <a:pt x="1464" y="222"/>
                  </a:lnTo>
                  <a:lnTo>
                    <a:pt x="1464" y="228"/>
                  </a:lnTo>
                  <a:lnTo>
                    <a:pt x="1464" y="234"/>
                  </a:lnTo>
                  <a:lnTo>
                    <a:pt x="1470" y="240"/>
                  </a:lnTo>
                  <a:lnTo>
                    <a:pt x="1476" y="228"/>
                  </a:lnTo>
                  <a:lnTo>
                    <a:pt x="1476" y="222"/>
                  </a:lnTo>
                  <a:lnTo>
                    <a:pt x="1482" y="210"/>
                  </a:lnTo>
                  <a:lnTo>
                    <a:pt x="1488" y="192"/>
                  </a:lnTo>
                  <a:lnTo>
                    <a:pt x="1488" y="186"/>
                  </a:lnTo>
                  <a:lnTo>
                    <a:pt x="1488" y="180"/>
                  </a:lnTo>
                  <a:lnTo>
                    <a:pt x="1500" y="180"/>
                  </a:lnTo>
                  <a:lnTo>
                    <a:pt x="1500" y="174"/>
                  </a:lnTo>
                  <a:lnTo>
                    <a:pt x="1518" y="162"/>
                  </a:lnTo>
                  <a:lnTo>
                    <a:pt x="1536" y="150"/>
                  </a:lnTo>
                  <a:lnTo>
                    <a:pt x="1554" y="168"/>
                  </a:lnTo>
                  <a:lnTo>
                    <a:pt x="1572" y="180"/>
                  </a:lnTo>
                  <a:lnTo>
                    <a:pt x="1596" y="216"/>
                  </a:lnTo>
                  <a:lnTo>
                    <a:pt x="1602" y="216"/>
                  </a:lnTo>
                  <a:lnTo>
                    <a:pt x="1614" y="228"/>
                  </a:lnTo>
                  <a:lnTo>
                    <a:pt x="1614" y="234"/>
                  </a:lnTo>
                  <a:lnTo>
                    <a:pt x="1620" y="240"/>
                  </a:lnTo>
                  <a:lnTo>
                    <a:pt x="1620" y="246"/>
                  </a:lnTo>
                  <a:lnTo>
                    <a:pt x="1626" y="252"/>
                  </a:lnTo>
                  <a:lnTo>
                    <a:pt x="1632" y="258"/>
                  </a:lnTo>
                  <a:lnTo>
                    <a:pt x="1632" y="264"/>
                  </a:lnTo>
                  <a:lnTo>
                    <a:pt x="1638" y="264"/>
                  </a:lnTo>
                  <a:lnTo>
                    <a:pt x="1638" y="270"/>
                  </a:lnTo>
                  <a:lnTo>
                    <a:pt x="1638" y="276"/>
                  </a:lnTo>
                  <a:lnTo>
                    <a:pt x="1638" y="282"/>
                  </a:lnTo>
                  <a:lnTo>
                    <a:pt x="1644" y="288"/>
                  </a:lnTo>
                  <a:lnTo>
                    <a:pt x="1644" y="294"/>
                  </a:lnTo>
                  <a:lnTo>
                    <a:pt x="1644" y="300"/>
                  </a:lnTo>
                  <a:lnTo>
                    <a:pt x="1644" y="306"/>
                  </a:lnTo>
                  <a:lnTo>
                    <a:pt x="1650" y="306"/>
                  </a:lnTo>
                  <a:lnTo>
                    <a:pt x="1650" y="312"/>
                  </a:lnTo>
                  <a:lnTo>
                    <a:pt x="1650" y="318"/>
                  </a:lnTo>
                  <a:lnTo>
                    <a:pt x="1650" y="324"/>
                  </a:lnTo>
                  <a:lnTo>
                    <a:pt x="1644" y="330"/>
                  </a:lnTo>
                  <a:lnTo>
                    <a:pt x="1626" y="330"/>
                  </a:lnTo>
                  <a:lnTo>
                    <a:pt x="1626" y="336"/>
                  </a:lnTo>
                  <a:lnTo>
                    <a:pt x="1626" y="342"/>
                  </a:lnTo>
                  <a:lnTo>
                    <a:pt x="1626" y="348"/>
                  </a:lnTo>
                  <a:lnTo>
                    <a:pt x="1620" y="354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14" y="390"/>
                  </a:lnTo>
                  <a:lnTo>
                    <a:pt x="1614" y="396"/>
                  </a:lnTo>
                  <a:lnTo>
                    <a:pt x="1614" y="402"/>
                  </a:lnTo>
                  <a:lnTo>
                    <a:pt x="1614" y="408"/>
                  </a:lnTo>
                  <a:lnTo>
                    <a:pt x="1614" y="414"/>
                  </a:lnTo>
                  <a:lnTo>
                    <a:pt x="1602" y="420"/>
                  </a:lnTo>
                  <a:lnTo>
                    <a:pt x="1602" y="426"/>
                  </a:lnTo>
                  <a:lnTo>
                    <a:pt x="1608" y="432"/>
                  </a:lnTo>
                  <a:lnTo>
                    <a:pt x="1614" y="426"/>
                  </a:lnTo>
                  <a:lnTo>
                    <a:pt x="1620" y="438"/>
                  </a:lnTo>
                  <a:lnTo>
                    <a:pt x="1626" y="438"/>
                  </a:lnTo>
                  <a:lnTo>
                    <a:pt x="1632" y="444"/>
                  </a:lnTo>
                  <a:lnTo>
                    <a:pt x="1626" y="456"/>
                  </a:lnTo>
                  <a:lnTo>
                    <a:pt x="1626" y="468"/>
                  </a:lnTo>
                  <a:lnTo>
                    <a:pt x="1620" y="474"/>
                  </a:lnTo>
                  <a:lnTo>
                    <a:pt x="1614" y="474"/>
                  </a:lnTo>
                  <a:lnTo>
                    <a:pt x="1614" y="486"/>
                  </a:lnTo>
                  <a:lnTo>
                    <a:pt x="1614" y="492"/>
                  </a:lnTo>
                  <a:lnTo>
                    <a:pt x="1620" y="492"/>
                  </a:lnTo>
                  <a:lnTo>
                    <a:pt x="1626" y="498"/>
                  </a:lnTo>
                  <a:lnTo>
                    <a:pt x="1626" y="504"/>
                  </a:lnTo>
                  <a:lnTo>
                    <a:pt x="1626" y="510"/>
                  </a:lnTo>
                  <a:lnTo>
                    <a:pt x="1620" y="516"/>
                  </a:lnTo>
                  <a:lnTo>
                    <a:pt x="1620" y="522"/>
                  </a:lnTo>
                  <a:lnTo>
                    <a:pt x="1614" y="522"/>
                  </a:lnTo>
                  <a:lnTo>
                    <a:pt x="1608" y="528"/>
                  </a:lnTo>
                  <a:lnTo>
                    <a:pt x="1602" y="522"/>
                  </a:lnTo>
                  <a:lnTo>
                    <a:pt x="1602" y="528"/>
                  </a:lnTo>
                  <a:lnTo>
                    <a:pt x="1602" y="540"/>
                  </a:lnTo>
                  <a:lnTo>
                    <a:pt x="1602" y="558"/>
                  </a:lnTo>
                  <a:lnTo>
                    <a:pt x="1602" y="564"/>
                  </a:lnTo>
                  <a:lnTo>
                    <a:pt x="1602" y="570"/>
                  </a:lnTo>
                  <a:lnTo>
                    <a:pt x="1602" y="576"/>
                  </a:lnTo>
                  <a:lnTo>
                    <a:pt x="1596" y="576"/>
                  </a:lnTo>
                  <a:lnTo>
                    <a:pt x="1632" y="582"/>
                  </a:lnTo>
                  <a:lnTo>
                    <a:pt x="1644" y="618"/>
                  </a:lnTo>
                  <a:lnTo>
                    <a:pt x="1650" y="648"/>
                  </a:lnTo>
                  <a:lnTo>
                    <a:pt x="1662" y="636"/>
                  </a:lnTo>
                  <a:lnTo>
                    <a:pt x="1668" y="636"/>
                  </a:lnTo>
                  <a:lnTo>
                    <a:pt x="1674" y="636"/>
                  </a:lnTo>
                  <a:lnTo>
                    <a:pt x="1680" y="630"/>
                  </a:lnTo>
                  <a:lnTo>
                    <a:pt x="1686" y="630"/>
                  </a:lnTo>
                  <a:lnTo>
                    <a:pt x="1692" y="630"/>
                  </a:lnTo>
                  <a:lnTo>
                    <a:pt x="1698" y="630"/>
                  </a:lnTo>
                  <a:lnTo>
                    <a:pt x="1704" y="630"/>
                  </a:lnTo>
                  <a:lnTo>
                    <a:pt x="1704" y="624"/>
                  </a:lnTo>
                  <a:lnTo>
                    <a:pt x="1710" y="624"/>
                  </a:lnTo>
                  <a:lnTo>
                    <a:pt x="1716" y="624"/>
                  </a:lnTo>
                  <a:lnTo>
                    <a:pt x="1722" y="624"/>
                  </a:lnTo>
                  <a:lnTo>
                    <a:pt x="1728" y="624"/>
                  </a:lnTo>
                  <a:lnTo>
                    <a:pt x="1722" y="618"/>
                  </a:lnTo>
                  <a:lnTo>
                    <a:pt x="1728" y="606"/>
                  </a:lnTo>
                  <a:lnTo>
                    <a:pt x="1734" y="606"/>
                  </a:lnTo>
                  <a:lnTo>
                    <a:pt x="1740" y="600"/>
                  </a:lnTo>
                  <a:lnTo>
                    <a:pt x="1746" y="594"/>
                  </a:lnTo>
                  <a:lnTo>
                    <a:pt x="1752" y="588"/>
                  </a:lnTo>
                  <a:lnTo>
                    <a:pt x="1752" y="582"/>
                  </a:lnTo>
                  <a:lnTo>
                    <a:pt x="1758" y="576"/>
                  </a:lnTo>
                  <a:lnTo>
                    <a:pt x="1764" y="576"/>
                  </a:lnTo>
                  <a:lnTo>
                    <a:pt x="1770" y="570"/>
                  </a:lnTo>
                  <a:lnTo>
                    <a:pt x="1776" y="564"/>
                  </a:lnTo>
                  <a:lnTo>
                    <a:pt x="1788" y="558"/>
                  </a:lnTo>
                  <a:lnTo>
                    <a:pt x="1788" y="546"/>
                  </a:lnTo>
                  <a:lnTo>
                    <a:pt x="1788" y="540"/>
                  </a:lnTo>
                  <a:lnTo>
                    <a:pt x="1794" y="540"/>
                  </a:lnTo>
                  <a:lnTo>
                    <a:pt x="1788" y="534"/>
                  </a:lnTo>
                  <a:lnTo>
                    <a:pt x="1788" y="528"/>
                  </a:lnTo>
                  <a:lnTo>
                    <a:pt x="1794" y="516"/>
                  </a:lnTo>
                  <a:lnTo>
                    <a:pt x="1800" y="510"/>
                  </a:lnTo>
                  <a:lnTo>
                    <a:pt x="1812" y="510"/>
                  </a:lnTo>
                  <a:lnTo>
                    <a:pt x="1818" y="504"/>
                  </a:lnTo>
                  <a:lnTo>
                    <a:pt x="1824" y="504"/>
                  </a:lnTo>
                  <a:lnTo>
                    <a:pt x="1830" y="498"/>
                  </a:lnTo>
                  <a:lnTo>
                    <a:pt x="1836" y="498"/>
                  </a:lnTo>
                  <a:lnTo>
                    <a:pt x="1848" y="492"/>
                  </a:lnTo>
                  <a:lnTo>
                    <a:pt x="1848" y="480"/>
                  </a:lnTo>
                  <a:lnTo>
                    <a:pt x="1854" y="480"/>
                  </a:lnTo>
                  <a:lnTo>
                    <a:pt x="1890" y="504"/>
                  </a:lnTo>
                  <a:lnTo>
                    <a:pt x="1908" y="534"/>
                  </a:lnTo>
                  <a:lnTo>
                    <a:pt x="1902" y="534"/>
                  </a:lnTo>
                  <a:lnTo>
                    <a:pt x="1920" y="528"/>
                  </a:lnTo>
                  <a:lnTo>
                    <a:pt x="1920" y="516"/>
                  </a:lnTo>
                  <a:lnTo>
                    <a:pt x="1944" y="516"/>
                  </a:lnTo>
                  <a:lnTo>
                    <a:pt x="2004" y="516"/>
                  </a:lnTo>
                  <a:lnTo>
                    <a:pt x="2010" y="510"/>
                  </a:lnTo>
                  <a:lnTo>
                    <a:pt x="2004" y="510"/>
                  </a:lnTo>
                  <a:lnTo>
                    <a:pt x="2010" y="498"/>
                  </a:lnTo>
                  <a:lnTo>
                    <a:pt x="2004" y="486"/>
                  </a:lnTo>
                  <a:lnTo>
                    <a:pt x="2004" y="480"/>
                  </a:lnTo>
                  <a:lnTo>
                    <a:pt x="2004" y="474"/>
                  </a:lnTo>
                  <a:lnTo>
                    <a:pt x="2004" y="462"/>
                  </a:lnTo>
                  <a:lnTo>
                    <a:pt x="2004" y="456"/>
                  </a:lnTo>
                  <a:lnTo>
                    <a:pt x="2058" y="462"/>
                  </a:lnTo>
                  <a:lnTo>
                    <a:pt x="2076" y="474"/>
                  </a:lnTo>
                  <a:lnTo>
                    <a:pt x="2082" y="522"/>
                  </a:lnTo>
                  <a:lnTo>
                    <a:pt x="2088" y="516"/>
                  </a:lnTo>
                  <a:lnTo>
                    <a:pt x="2094" y="522"/>
                  </a:lnTo>
                  <a:lnTo>
                    <a:pt x="2100" y="528"/>
                  </a:lnTo>
                  <a:lnTo>
                    <a:pt x="2130" y="540"/>
                  </a:lnTo>
                  <a:lnTo>
                    <a:pt x="2160" y="564"/>
                  </a:lnTo>
                  <a:lnTo>
                    <a:pt x="2166" y="600"/>
                  </a:lnTo>
                  <a:lnTo>
                    <a:pt x="2160" y="618"/>
                  </a:lnTo>
                  <a:lnTo>
                    <a:pt x="2142" y="636"/>
                  </a:lnTo>
                  <a:lnTo>
                    <a:pt x="2148" y="648"/>
                  </a:lnTo>
                  <a:lnTo>
                    <a:pt x="2154" y="660"/>
                  </a:lnTo>
                  <a:lnTo>
                    <a:pt x="2196" y="654"/>
                  </a:lnTo>
                  <a:lnTo>
                    <a:pt x="2214" y="660"/>
                  </a:lnTo>
                  <a:lnTo>
                    <a:pt x="2214" y="666"/>
                  </a:lnTo>
                  <a:lnTo>
                    <a:pt x="2220" y="672"/>
                  </a:lnTo>
                  <a:lnTo>
                    <a:pt x="2214" y="678"/>
                  </a:lnTo>
                  <a:lnTo>
                    <a:pt x="2214" y="684"/>
                  </a:lnTo>
                  <a:lnTo>
                    <a:pt x="2214" y="690"/>
                  </a:lnTo>
                  <a:lnTo>
                    <a:pt x="2208" y="690"/>
                  </a:lnTo>
                  <a:lnTo>
                    <a:pt x="2202" y="696"/>
                  </a:lnTo>
                  <a:lnTo>
                    <a:pt x="2196" y="702"/>
                  </a:lnTo>
                  <a:lnTo>
                    <a:pt x="2190" y="708"/>
                  </a:lnTo>
                  <a:lnTo>
                    <a:pt x="2190" y="720"/>
                  </a:lnTo>
                  <a:lnTo>
                    <a:pt x="2184" y="720"/>
                  </a:lnTo>
                  <a:lnTo>
                    <a:pt x="2178" y="726"/>
                  </a:lnTo>
                  <a:lnTo>
                    <a:pt x="2166" y="732"/>
                  </a:lnTo>
                  <a:lnTo>
                    <a:pt x="2160" y="744"/>
                  </a:lnTo>
                  <a:lnTo>
                    <a:pt x="2154" y="756"/>
                  </a:lnTo>
                  <a:lnTo>
                    <a:pt x="2148" y="762"/>
                  </a:lnTo>
                  <a:lnTo>
                    <a:pt x="2124" y="762"/>
                  </a:lnTo>
                  <a:lnTo>
                    <a:pt x="2124" y="768"/>
                  </a:lnTo>
                  <a:lnTo>
                    <a:pt x="2118" y="768"/>
                  </a:lnTo>
                  <a:lnTo>
                    <a:pt x="2124" y="774"/>
                  </a:lnTo>
                  <a:lnTo>
                    <a:pt x="2118" y="774"/>
                  </a:lnTo>
                  <a:lnTo>
                    <a:pt x="2112" y="774"/>
                  </a:lnTo>
                  <a:lnTo>
                    <a:pt x="2106" y="780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06" y="798"/>
                  </a:lnTo>
                  <a:lnTo>
                    <a:pt x="2106" y="810"/>
                  </a:lnTo>
                  <a:lnTo>
                    <a:pt x="2112" y="828"/>
                  </a:lnTo>
                  <a:lnTo>
                    <a:pt x="2112" y="834"/>
                  </a:lnTo>
                  <a:lnTo>
                    <a:pt x="2112" y="840"/>
                  </a:lnTo>
                  <a:lnTo>
                    <a:pt x="2112" y="834"/>
                  </a:lnTo>
                  <a:lnTo>
                    <a:pt x="2124" y="834"/>
                  </a:lnTo>
                  <a:lnTo>
                    <a:pt x="2130" y="834"/>
                  </a:lnTo>
                  <a:lnTo>
                    <a:pt x="2136" y="840"/>
                  </a:lnTo>
                  <a:lnTo>
                    <a:pt x="2142" y="840"/>
                  </a:lnTo>
                  <a:lnTo>
                    <a:pt x="2154" y="852"/>
                  </a:lnTo>
                  <a:lnTo>
                    <a:pt x="2160" y="852"/>
                  </a:lnTo>
                  <a:lnTo>
                    <a:pt x="2172" y="846"/>
                  </a:lnTo>
                  <a:lnTo>
                    <a:pt x="2178" y="846"/>
                  </a:lnTo>
                  <a:lnTo>
                    <a:pt x="2184" y="846"/>
                  </a:lnTo>
                  <a:lnTo>
                    <a:pt x="2190" y="846"/>
                  </a:lnTo>
                  <a:lnTo>
                    <a:pt x="2196" y="852"/>
                  </a:lnTo>
                  <a:lnTo>
                    <a:pt x="2196" y="858"/>
                  </a:lnTo>
                  <a:lnTo>
                    <a:pt x="2202" y="852"/>
                  </a:lnTo>
                  <a:lnTo>
                    <a:pt x="2208" y="846"/>
                  </a:lnTo>
                  <a:lnTo>
                    <a:pt x="2214" y="846"/>
                  </a:lnTo>
                  <a:lnTo>
                    <a:pt x="2226" y="846"/>
                  </a:lnTo>
                  <a:lnTo>
                    <a:pt x="2232" y="852"/>
                  </a:lnTo>
                  <a:lnTo>
                    <a:pt x="2238" y="852"/>
                  </a:lnTo>
                  <a:lnTo>
                    <a:pt x="2244" y="858"/>
                  </a:lnTo>
                  <a:lnTo>
                    <a:pt x="2250" y="858"/>
                  </a:lnTo>
                  <a:lnTo>
                    <a:pt x="2256" y="858"/>
                  </a:lnTo>
                  <a:lnTo>
                    <a:pt x="2262" y="858"/>
                  </a:lnTo>
                  <a:lnTo>
                    <a:pt x="2268" y="852"/>
                  </a:lnTo>
                  <a:lnTo>
                    <a:pt x="2274" y="852"/>
                  </a:lnTo>
                  <a:lnTo>
                    <a:pt x="2280" y="852"/>
                  </a:lnTo>
                  <a:lnTo>
                    <a:pt x="2286" y="852"/>
                  </a:lnTo>
                  <a:lnTo>
                    <a:pt x="2298" y="858"/>
                  </a:lnTo>
                  <a:lnTo>
                    <a:pt x="2304" y="858"/>
                  </a:lnTo>
                  <a:lnTo>
                    <a:pt x="2310" y="858"/>
                  </a:lnTo>
                  <a:lnTo>
                    <a:pt x="2316" y="852"/>
                  </a:lnTo>
                  <a:lnTo>
                    <a:pt x="2322" y="858"/>
                  </a:lnTo>
                  <a:lnTo>
                    <a:pt x="2328" y="858"/>
                  </a:lnTo>
                  <a:lnTo>
                    <a:pt x="2328" y="852"/>
                  </a:lnTo>
                  <a:lnTo>
                    <a:pt x="2364" y="858"/>
                  </a:lnTo>
                  <a:lnTo>
                    <a:pt x="2376" y="876"/>
                  </a:lnTo>
                  <a:lnTo>
                    <a:pt x="2382" y="936"/>
                  </a:lnTo>
                  <a:lnTo>
                    <a:pt x="2388" y="966"/>
                  </a:lnTo>
                  <a:lnTo>
                    <a:pt x="2382" y="972"/>
                  </a:lnTo>
                  <a:lnTo>
                    <a:pt x="2382" y="978"/>
                  </a:lnTo>
                  <a:lnTo>
                    <a:pt x="2382" y="984"/>
                  </a:lnTo>
                  <a:lnTo>
                    <a:pt x="2388" y="990"/>
                  </a:lnTo>
                  <a:lnTo>
                    <a:pt x="2382" y="990"/>
                  </a:lnTo>
                  <a:lnTo>
                    <a:pt x="2382" y="996"/>
                  </a:lnTo>
                  <a:lnTo>
                    <a:pt x="2376" y="996"/>
                  </a:lnTo>
                  <a:lnTo>
                    <a:pt x="2376" y="1020"/>
                  </a:lnTo>
                  <a:lnTo>
                    <a:pt x="2370" y="1032"/>
                  </a:lnTo>
                  <a:lnTo>
                    <a:pt x="2352" y="1032"/>
                  </a:lnTo>
                  <a:lnTo>
                    <a:pt x="2346" y="1020"/>
                  </a:lnTo>
                  <a:lnTo>
                    <a:pt x="2328" y="1032"/>
                  </a:lnTo>
                  <a:lnTo>
                    <a:pt x="2316" y="1038"/>
                  </a:lnTo>
                  <a:lnTo>
                    <a:pt x="2328" y="1044"/>
                  </a:lnTo>
                  <a:lnTo>
                    <a:pt x="2340" y="1056"/>
                  </a:lnTo>
                  <a:lnTo>
                    <a:pt x="2376" y="1062"/>
                  </a:lnTo>
                  <a:lnTo>
                    <a:pt x="2376" y="1068"/>
                  </a:lnTo>
                  <a:lnTo>
                    <a:pt x="2382" y="1086"/>
                  </a:lnTo>
                  <a:lnTo>
                    <a:pt x="2376" y="1086"/>
                  </a:lnTo>
                  <a:lnTo>
                    <a:pt x="2370" y="1086"/>
                  </a:lnTo>
                  <a:lnTo>
                    <a:pt x="2364" y="1086"/>
                  </a:lnTo>
                  <a:lnTo>
                    <a:pt x="2364" y="1098"/>
                  </a:lnTo>
                  <a:lnTo>
                    <a:pt x="2388" y="1104"/>
                  </a:lnTo>
                  <a:lnTo>
                    <a:pt x="2400" y="1122"/>
                  </a:lnTo>
                  <a:lnTo>
                    <a:pt x="2400" y="1134"/>
                  </a:lnTo>
                  <a:lnTo>
                    <a:pt x="2400" y="1146"/>
                  </a:lnTo>
                  <a:lnTo>
                    <a:pt x="2394" y="1146"/>
                  </a:lnTo>
                  <a:lnTo>
                    <a:pt x="2394" y="1152"/>
                  </a:lnTo>
                  <a:lnTo>
                    <a:pt x="2388" y="1152"/>
                  </a:lnTo>
                  <a:lnTo>
                    <a:pt x="2388" y="1146"/>
                  </a:lnTo>
                  <a:lnTo>
                    <a:pt x="2382" y="1152"/>
                  </a:lnTo>
                  <a:lnTo>
                    <a:pt x="2376" y="1152"/>
                  </a:lnTo>
                  <a:lnTo>
                    <a:pt x="2370" y="1158"/>
                  </a:lnTo>
                  <a:lnTo>
                    <a:pt x="2370" y="1164"/>
                  </a:lnTo>
                  <a:lnTo>
                    <a:pt x="2364" y="1170"/>
                  </a:lnTo>
                  <a:lnTo>
                    <a:pt x="2370" y="1170"/>
                  </a:lnTo>
                  <a:lnTo>
                    <a:pt x="2376" y="1170"/>
                  </a:lnTo>
                  <a:lnTo>
                    <a:pt x="2370" y="1176"/>
                  </a:lnTo>
                  <a:lnTo>
                    <a:pt x="2364" y="1176"/>
                  </a:lnTo>
                  <a:lnTo>
                    <a:pt x="2358" y="1182"/>
                  </a:lnTo>
                  <a:lnTo>
                    <a:pt x="2352" y="1182"/>
                  </a:lnTo>
                  <a:lnTo>
                    <a:pt x="2346" y="1188"/>
                  </a:lnTo>
                  <a:lnTo>
                    <a:pt x="2340" y="1182"/>
                  </a:lnTo>
                  <a:lnTo>
                    <a:pt x="2334" y="1182"/>
                  </a:lnTo>
                  <a:lnTo>
                    <a:pt x="2334" y="1188"/>
                  </a:lnTo>
                  <a:lnTo>
                    <a:pt x="2328" y="1194"/>
                  </a:lnTo>
                  <a:lnTo>
                    <a:pt x="2328" y="1200"/>
                  </a:lnTo>
                  <a:lnTo>
                    <a:pt x="2322" y="1224"/>
                  </a:lnTo>
                  <a:lnTo>
                    <a:pt x="2328" y="1230"/>
                  </a:lnTo>
                  <a:lnTo>
                    <a:pt x="2358" y="1230"/>
                  </a:lnTo>
                  <a:lnTo>
                    <a:pt x="2358" y="1242"/>
                  </a:lnTo>
                  <a:lnTo>
                    <a:pt x="2358" y="1254"/>
                  </a:lnTo>
                  <a:lnTo>
                    <a:pt x="2346" y="1254"/>
                  </a:lnTo>
                  <a:lnTo>
                    <a:pt x="2346" y="1278"/>
                  </a:lnTo>
                  <a:lnTo>
                    <a:pt x="2358" y="1278"/>
                  </a:lnTo>
                  <a:lnTo>
                    <a:pt x="2358" y="1284"/>
                  </a:lnTo>
                  <a:lnTo>
                    <a:pt x="2376" y="1284"/>
                  </a:lnTo>
                  <a:lnTo>
                    <a:pt x="2388" y="1278"/>
                  </a:lnTo>
                  <a:lnTo>
                    <a:pt x="2406" y="1278"/>
                  </a:lnTo>
                  <a:lnTo>
                    <a:pt x="2430" y="1284"/>
                  </a:lnTo>
                  <a:lnTo>
                    <a:pt x="2430" y="1302"/>
                  </a:lnTo>
                  <a:lnTo>
                    <a:pt x="2430" y="1314"/>
                  </a:lnTo>
                  <a:lnTo>
                    <a:pt x="2424" y="1326"/>
                  </a:lnTo>
                  <a:lnTo>
                    <a:pt x="2412" y="1326"/>
                  </a:lnTo>
                  <a:lnTo>
                    <a:pt x="2412" y="1344"/>
                  </a:lnTo>
                  <a:lnTo>
                    <a:pt x="2406" y="1344"/>
                  </a:lnTo>
                  <a:lnTo>
                    <a:pt x="2400" y="1362"/>
                  </a:lnTo>
                  <a:lnTo>
                    <a:pt x="2394" y="1368"/>
                  </a:lnTo>
                  <a:lnTo>
                    <a:pt x="2388" y="1374"/>
                  </a:lnTo>
                  <a:lnTo>
                    <a:pt x="2382" y="1380"/>
                  </a:lnTo>
                  <a:lnTo>
                    <a:pt x="2376" y="1386"/>
                  </a:lnTo>
                  <a:lnTo>
                    <a:pt x="2376" y="1392"/>
                  </a:lnTo>
                  <a:lnTo>
                    <a:pt x="2370" y="1404"/>
                  </a:lnTo>
                  <a:lnTo>
                    <a:pt x="2364" y="1416"/>
                  </a:lnTo>
                  <a:lnTo>
                    <a:pt x="2346" y="1434"/>
                  </a:lnTo>
                  <a:lnTo>
                    <a:pt x="2328" y="1440"/>
                  </a:lnTo>
                  <a:lnTo>
                    <a:pt x="2328" y="1446"/>
                  </a:lnTo>
                  <a:lnTo>
                    <a:pt x="2322" y="1452"/>
                  </a:lnTo>
                  <a:lnTo>
                    <a:pt x="2316" y="1452"/>
                  </a:lnTo>
                  <a:lnTo>
                    <a:pt x="2304" y="1446"/>
                  </a:lnTo>
                  <a:lnTo>
                    <a:pt x="2298" y="1446"/>
                  </a:lnTo>
                  <a:lnTo>
                    <a:pt x="2298" y="1434"/>
                  </a:lnTo>
                  <a:lnTo>
                    <a:pt x="2292" y="1434"/>
                  </a:lnTo>
                  <a:lnTo>
                    <a:pt x="2286" y="1428"/>
                  </a:lnTo>
                  <a:lnTo>
                    <a:pt x="2274" y="1416"/>
                  </a:lnTo>
                  <a:lnTo>
                    <a:pt x="2256" y="1404"/>
                  </a:lnTo>
                  <a:lnTo>
                    <a:pt x="2244" y="1386"/>
                  </a:lnTo>
                  <a:lnTo>
                    <a:pt x="2220" y="1368"/>
                  </a:lnTo>
                  <a:lnTo>
                    <a:pt x="2208" y="1362"/>
                  </a:lnTo>
                  <a:lnTo>
                    <a:pt x="2202" y="1350"/>
                  </a:lnTo>
                  <a:lnTo>
                    <a:pt x="2196" y="1350"/>
                  </a:lnTo>
                  <a:lnTo>
                    <a:pt x="2190" y="1356"/>
                  </a:lnTo>
                  <a:lnTo>
                    <a:pt x="2184" y="1356"/>
                  </a:lnTo>
                  <a:lnTo>
                    <a:pt x="2094" y="1350"/>
                  </a:lnTo>
                  <a:lnTo>
                    <a:pt x="2058" y="1350"/>
                  </a:lnTo>
                  <a:lnTo>
                    <a:pt x="2034" y="1890"/>
                  </a:lnTo>
                  <a:lnTo>
                    <a:pt x="2064" y="1890"/>
                  </a:lnTo>
                  <a:lnTo>
                    <a:pt x="2070" y="1896"/>
                  </a:lnTo>
                  <a:lnTo>
                    <a:pt x="2076" y="189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8" name="Freeform 33">
              <a:extLst>
                <a:ext uri="{FF2B5EF4-FFF2-40B4-BE49-F238E27FC236}">
                  <a16:creationId xmlns:a16="http://schemas.microsoft.com/office/drawing/2014/main" id="{0E96F118-1F4D-4E52-AF27-149259451CD6}"/>
                </a:ext>
              </a:extLst>
            </p:cNvPr>
            <p:cNvSpPr>
              <a:spLocks/>
            </p:cNvSpPr>
            <p:nvPr/>
          </p:nvSpPr>
          <p:spPr bwMode="gray">
            <a:xfrm>
              <a:off x="1266662" y="1459989"/>
              <a:ext cx="903421" cy="778302"/>
            </a:xfrm>
            <a:custGeom>
              <a:avLst/>
              <a:gdLst>
                <a:gd name="T0" fmla="*/ 143 w 1698"/>
                <a:gd name="T1" fmla="*/ 43 h 1464"/>
                <a:gd name="T2" fmla="*/ 131 w 1698"/>
                <a:gd name="T3" fmla="*/ 44 h 1464"/>
                <a:gd name="T4" fmla="*/ 126 w 1698"/>
                <a:gd name="T5" fmla="*/ 41 h 1464"/>
                <a:gd name="T6" fmla="*/ 119 w 1698"/>
                <a:gd name="T7" fmla="*/ 45 h 1464"/>
                <a:gd name="T8" fmla="*/ 111 w 1698"/>
                <a:gd name="T9" fmla="*/ 46 h 1464"/>
                <a:gd name="T10" fmla="*/ 107 w 1698"/>
                <a:gd name="T11" fmla="*/ 50 h 1464"/>
                <a:gd name="T12" fmla="*/ 107 w 1698"/>
                <a:gd name="T13" fmla="*/ 60 h 1464"/>
                <a:gd name="T14" fmla="*/ 104 w 1698"/>
                <a:gd name="T15" fmla="*/ 62 h 1464"/>
                <a:gd name="T16" fmla="*/ 97 w 1698"/>
                <a:gd name="T17" fmla="*/ 59 h 1464"/>
                <a:gd name="T18" fmla="*/ 92 w 1698"/>
                <a:gd name="T19" fmla="*/ 59 h 1464"/>
                <a:gd name="T20" fmla="*/ 90 w 1698"/>
                <a:gd name="T21" fmla="*/ 62 h 1464"/>
                <a:gd name="T22" fmla="*/ 93 w 1698"/>
                <a:gd name="T23" fmla="*/ 77 h 1464"/>
                <a:gd name="T24" fmla="*/ 85 w 1698"/>
                <a:gd name="T25" fmla="*/ 88 h 1464"/>
                <a:gd name="T26" fmla="*/ 70 w 1698"/>
                <a:gd name="T27" fmla="*/ 89 h 1464"/>
                <a:gd name="T28" fmla="*/ 65 w 1698"/>
                <a:gd name="T29" fmla="*/ 88 h 1464"/>
                <a:gd name="T30" fmla="*/ 50 w 1698"/>
                <a:gd name="T31" fmla="*/ 88 h 1464"/>
                <a:gd name="T32" fmla="*/ 48 w 1698"/>
                <a:gd name="T33" fmla="*/ 107 h 1464"/>
                <a:gd name="T34" fmla="*/ 47 w 1698"/>
                <a:gd name="T35" fmla="*/ 120 h 1464"/>
                <a:gd name="T36" fmla="*/ 43 w 1698"/>
                <a:gd name="T37" fmla="*/ 121 h 1464"/>
                <a:gd name="T38" fmla="*/ 40 w 1698"/>
                <a:gd name="T39" fmla="*/ 120 h 1464"/>
                <a:gd name="T40" fmla="*/ 35 w 1698"/>
                <a:gd name="T41" fmla="*/ 122 h 1464"/>
                <a:gd name="T42" fmla="*/ 29 w 1698"/>
                <a:gd name="T43" fmla="*/ 123 h 1464"/>
                <a:gd name="T44" fmla="*/ 24 w 1698"/>
                <a:gd name="T45" fmla="*/ 125 h 1464"/>
                <a:gd name="T46" fmla="*/ 20 w 1698"/>
                <a:gd name="T47" fmla="*/ 125 h 1464"/>
                <a:gd name="T48" fmla="*/ 18 w 1698"/>
                <a:gd name="T49" fmla="*/ 122 h 1464"/>
                <a:gd name="T50" fmla="*/ 26 w 1698"/>
                <a:gd name="T51" fmla="*/ 108 h 1464"/>
                <a:gd name="T52" fmla="*/ 24 w 1698"/>
                <a:gd name="T53" fmla="*/ 89 h 1464"/>
                <a:gd name="T54" fmla="*/ 28 w 1698"/>
                <a:gd name="T55" fmla="*/ 85 h 1464"/>
                <a:gd name="T56" fmla="*/ 32 w 1698"/>
                <a:gd name="T57" fmla="*/ 80 h 1464"/>
                <a:gd name="T58" fmla="*/ 36 w 1698"/>
                <a:gd name="T59" fmla="*/ 86 h 1464"/>
                <a:gd name="T60" fmla="*/ 39 w 1698"/>
                <a:gd name="T61" fmla="*/ 80 h 1464"/>
                <a:gd name="T62" fmla="*/ 41 w 1698"/>
                <a:gd name="T63" fmla="*/ 73 h 1464"/>
                <a:gd name="T64" fmla="*/ 38 w 1698"/>
                <a:gd name="T65" fmla="*/ 64 h 1464"/>
                <a:gd name="T66" fmla="*/ 39 w 1698"/>
                <a:gd name="T67" fmla="*/ 59 h 1464"/>
                <a:gd name="T68" fmla="*/ 32 w 1698"/>
                <a:gd name="T69" fmla="*/ 54 h 1464"/>
                <a:gd name="T70" fmla="*/ 32 w 1698"/>
                <a:gd name="T71" fmla="*/ 45 h 1464"/>
                <a:gd name="T72" fmla="*/ 31 w 1698"/>
                <a:gd name="T73" fmla="*/ 41 h 1464"/>
                <a:gd name="T74" fmla="*/ 24 w 1698"/>
                <a:gd name="T75" fmla="*/ 43 h 1464"/>
                <a:gd name="T76" fmla="*/ 17 w 1698"/>
                <a:gd name="T77" fmla="*/ 40 h 1464"/>
                <a:gd name="T78" fmla="*/ 11 w 1698"/>
                <a:gd name="T79" fmla="*/ 38 h 1464"/>
                <a:gd name="T80" fmla="*/ 2 w 1698"/>
                <a:gd name="T81" fmla="*/ 36 h 1464"/>
                <a:gd name="T82" fmla="*/ 0 w 1698"/>
                <a:gd name="T83" fmla="*/ 24 h 1464"/>
                <a:gd name="T84" fmla="*/ 11 w 1698"/>
                <a:gd name="T85" fmla="*/ 18 h 1464"/>
                <a:gd name="T86" fmla="*/ 19 w 1698"/>
                <a:gd name="T87" fmla="*/ 10 h 1464"/>
                <a:gd name="T88" fmla="*/ 28 w 1698"/>
                <a:gd name="T89" fmla="*/ 9 h 1464"/>
                <a:gd name="T90" fmla="*/ 40 w 1698"/>
                <a:gd name="T91" fmla="*/ 6 h 1464"/>
                <a:gd name="T92" fmla="*/ 49 w 1698"/>
                <a:gd name="T93" fmla="*/ 8 h 1464"/>
                <a:gd name="T94" fmla="*/ 56 w 1698"/>
                <a:gd name="T95" fmla="*/ 8 h 1464"/>
                <a:gd name="T96" fmla="*/ 64 w 1698"/>
                <a:gd name="T97" fmla="*/ 7 h 1464"/>
                <a:gd name="T98" fmla="*/ 74 w 1698"/>
                <a:gd name="T99" fmla="*/ 1 h 1464"/>
                <a:gd name="T100" fmla="*/ 83 w 1698"/>
                <a:gd name="T101" fmla="*/ 3 h 1464"/>
                <a:gd name="T102" fmla="*/ 99 w 1698"/>
                <a:gd name="T103" fmla="*/ 9 h 1464"/>
                <a:gd name="T104" fmla="*/ 112 w 1698"/>
                <a:gd name="T105" fmla="*/ 14 h 1464"/>
                <a:gd name="T106" fmla="*/ 119 w 1698"/>
                <a:gd name="T107" fmla="*/ 12 h 1464"/>
                <a:gd name="T108" fmla="*/ 128 w 1698"/>
                <a:gd name="T109" fmla="*/ 17 h 1464"/>
                <a:gd name="T110" fmla="*/ 141 w 1698"/>
                <a:gd name="T111" fmla="*/ 29 h 1464"/>
                <a:gd name="T112" fmla="*/ 145 w 1698"/>
                <a:gd name="T113" fmla="*/ 35 h 14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98"/>
                <a:gd name="T172" fmla="*/ 0 h 1464"/>
                <a:gd name="T173" fmla="*/ 1698 w 1698"/>
                <a:gd name="T174" fmla="*/ 1464 h 14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98" h="1464">
                  <a:moveTo>
                    <a:pt x="1698" y="462"/>
                  </a:moveTo>
                  <a:lnTo>
                    <a:pt x="1686" y="468"/>
                  </a:lnTo>
                  <a:lnTo>
                    <a:pt x="1680" y="474"/>
                  </a:lnTo>
                  <a:lnTo>
                    <a:pt x="1674" y="480"/>
                  </a:lnTo>
                  <a:lnTo>
                    <a:pt x="1668" y="480"/>
                  </a:lnTo>
                  <a:lnTo>
                    <a:pt x="1662" y="486"/>
                  </a:lnTo>
                  <a:lnTo>
                    <a:pt x="1656" y="492"/>
                  </a:lnTo>
                  <a:lnTo>
                    <a:pt x="1644" y="498"/>
                  </a:lnTo>
                  <a:lnTo>
                    <a:pt x="1626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0" y="516"/>
                  </a:lnTo>
                  <a:lnTo>
                    <a:pt x="1590" y="522"/>
                  </a:lnTo>
                  <a:lnTo>
                    <a:pt x="1566" y="522"/>
                  </a:lnTo>
                  <a:lnTo>
                    <a:pt x="1506" y="510"/>
                  </a:lnTo>
                  <a:lnTo>
                    <a:pt x="1500" y="510"/>
                  </a:lnTo>
                  <a:lnTo>
                    <a:pt x="1488" y="504"/>
                  </a:lnTo>
                  <a:lnTo>
                    <a:pt x="1482" y="498"/>
                  </a:lnTo>
                  <a:lnTo>
                    <a:pt x="1476" y="498"/>
                  </a:lnTo>
                  <a:lnTo>
                    <a:pt x="1476" y="492"/>
                  </a:lnTo>
                  <a:lnTo>
                    <a:pt x="1470" y="492"/>
                  </a:lnTo>
                  <a:lnTo>
                    <a:pt x="1464" y="486"/>
                  </a:lnTo>
                  <a:lnTo>
                    <a:pt x="1452" y="486"/>
                  </a:lnTo>
                  <a:lnTo>
                    <a:pt x="1446" y="474"/>
                  </a:lnTo>
                  <a:lnTo>
                    <a:pt x="1434" y="468"/>
                  </a:lnTo>
                  <a:lnTo>
                    <a:pt x="1416" y="468"/>
                  </a:lnTo>
                  <a:lnTo>
                    <a:pt x="1392" y="468"/>
                  </a:lnTo>
                  <a:lnTo>
                    <a:pt x="1374" y="474"/>
                  </a:lnTo>
                  <a:lnTo>
                    <a:pt x="1368" y="474"/>
                  </a:lnTo>
                  <a:lnTo>
                    <a:pt x="1368" y="486"/>
                  </a:lnTo>
                  <a:lnTo>
                    <a:pt x="1368" y="498"/>
                  </a:lnTo>
                  <a:lnTo>
                    <a:pt x="1368" y="522"/>
                  </a:lnTo>
                  <a:lnTo>
                    <a:pt x="1368" y="534"/>
                  </a:lnTo>
                  <a:lnTo>
                    <a:pt x="1362" y="546"/>
                  </a:lnTo>
                  <a:lnTo>
                    <a:pt x="1356" y="546"/>
                  </a:lnTo>
                  <a:lnTo>
                    <a:pt x="1344" y="540"/>
                  </a:lnTo>
                  <a:lnTo>
                    <a:pt x="1338" y="534"/>
                  </a:lnTo>
                  <a:lnTo>
                    <a:pt x="1308" y="522"/>
                  </a:lnTo>
                  <a:lnTo>
                    <a:pt x="1296" y="522"/>
                  </a:lnTo>
                  <a:lnTo>
                    <a:pt x="1278" y="528"/>
                  </a:lnTo>
                  <a:lnTo>
                    <a:pt x="1260" y="534"/>
                  </a:lnTo>
                  <a:lnTo>
                    <a:pt x="1242" y="546"/>
                  </a:lnTo>
                  <a:lnTo>
                    <a:pt x="1236" y="552"/>
                  </a:lnTo>
                  <a:lnTo>
                    <a:pt x="1224" y="558"/>
                  </a:lnTo>
                  <a:lnTo>
                    <a:pt x="1218" y="558"/>
                  </a:lnTo>
                  <a:lnTo>
                    <a:pt x="1218" y="564"/>
                  </a:lnTo>
                  <a:lnTo>
                    <a:pt x="1224" y="570"/>
                  </a:lnTo>
                  <a:lnTo>
                    <a:pt x="1224" y="582"/>
                  </a:lnTo>
                  <a:lnTo>
                    <a:pt x="1224" y="594"/>
                  </a:lnTo>
                  <a:lnTo>
                    <a:pt x="1212" y="618"/>
                  </a:lnTo>
                  <a:lnTo>
                    <a:pt x="1212" y="624"/>
                  </a:lnTo>
                  <a:lnTo>
                    <a:pt x="1212" y="630"/>
                  </a:lnTo>
                  <a:lnTo>
                    <a:pt x="1212" y="636"/>
                  </a:lnTo>
                  <a:lnTo>
                    <a:pt x="1218" y="654"/>
                  </a:lnTo>
                  <a:lnTo>
                    <a:pt x="1224" y="672"/>
                  </a:lnTo>
                  <a:lnTo>
                    <a:pt x="1230" y="696"/>
                  </a:lnTo>
                  <a:lnTo>
                    <a:pt x="1236" y="708"/>
                  </a:lnTo>
                  <a:lnTo>
                    <a:pt x="1236" y="714"/>
                  </a:lnTo>
                  <a:lnTo>
                    <a:pt x="1236" y="720"/>
                  </a:lnTo>
                  <a:lnTo>
                    <a:pt x="1218" y="726"/>
                  </a:lnTo>
                  <a:lnTo>
                    <a:pt x="1212" y="726"/>
                  </a:lnTo>
                  <a:lnTo>
                    <a:pt x="1206" y="726"/>
                  </a:lnTo>
                  <a:lnTo>
                    <a:pt x="1194" y="720"/>
                  </a:lnTo>
                  <a:lnTo>
                    <a:pt x="1194" y="714"/>
                  </a:lnTo>
                  <a:lnTo>
                    <a:pt x="1176" y="714"/>
                  </a:lnTo>
                  <a:lnTo>
                    <a:pt x="1164" y="708"/>
                  </a:lnTo>
                  <a:lnTo>
                    <a:pt x="1158" y="708"/>
                  </a:lnTo>
                  <a:lnTo>
                    <a:pt x="1140" y="702"/>
                  </a:lnTo>
                  <a:lnTo>
                    <a:pt x="1134" y="696"/>
                  </a:lnTo>
                  <a:lnTo>
                    <a:pt x="1128" y="690"/>
                  </a:lnTo>
                  <a:lnTo>
                    <a:pt x="1116" y="678"/>
                  </a:lnTo>
                  <a:lnTo>
                    <a:pt x="1110" y="678"/>
                  </a:lnTo>
                  <a:lnTo>
                    <a:pt x="1104" y="672"/>
                  </a:lnTo>
                  <a:lnTo>
                    <a:pt x="1092" y="672"/>
                  </a:lnTo>
                  <a:lnTo>
                    <a:pt x="1086" y="672"/>
                  </a:lnTo>
                  <a:lnTo>
                    <a:pt x="1080" y="672"/>
                  </a:lnTo>
                  <a:lnTo>
                    <a:pt x="1074" y="672"/>
                  </a:lnTo>
                  <a:lnTo>
                    <a:pt x="1068" y="672"/>
                  </a:lnTo>
                  <a:lnTo>
                    <a:pt x="1062" y="678"/>
                  </a:lnTo>
                  <a:lnTo>
                    <a:pt x="1056" y="678"/>
                  </a:lnTo>
                  <a:lnTo>
                    <a:pt x="1056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6"/>
                  </a:lnTo>
                  <a:lnTo>
                    <a:pt x="1032" y="708"/>
                  </a:lnTo>
                  <a:lnTo>
                    <a:pt x="1026" y="708"/>
                  </a:lnTo>
                  <a:lnTo>
                    <a:pt x="1032" y="714"/>
                  </a:lnTo>
                  <a:lnTo>
                    <a:pt x="1026" y="720"/>
                  </a:lnTo>
                  <a:lnTo>
                    <a:pt x="1020" y="720"/>
                  </a:lnTo>
                  <a:lnTo>
                    <a:pt x="1014" y="732"/>
                  </a:lnTo>
                  <a:lnTo>
                    <a:pt x="1014" y="744"/>
                  </a:lnTo>
                  <a:lnTo>
                    <a:pt x="1038" y="810"/>
                  </a:lnTo>
                  <a:lnTo>
                    <a:pt x="1050" y="834"/>
                  </a:lnTo>
                  <a:lnTo>
                    <a:pt x="1056" y="858"/>
                  </a:lnTo>
                  <a:lnTo>
                    <a:pt x="1062" y="876"/>
                  </a:lnTo>
                  <a:lnTo>
                    <a:pt x="1068" y="882"/>
                  </a:lnTo>
                  <a:lnTo>
                    <a:pt x="1062" y="972"/>
                  </a:lnTo>
                  <a:lnTo>
                    <a:pt x="1056" y="972"/>
                  </a:lnTo>
                  <a:lnTo>
                    <a:pt x="1050" y="996"/>
                  </a:lnTo>
                  <a:lnTo>
                    <a:pt x="1044" y="1014"/>
                  </a:lnTo>
                  <a:lnTo>
                    <a:pt x="1008" y="1014"/>
                  </a:lnTo>
                  <a:lnTo>
                    <a:pt x="1008" y="1008"/>
                  </a:lnTo>
                  <a:lnTo>
                    <a:pt x="990" y="1008"/>
                  </a:lnTo>
                  <a:lnTo>
                    <a:pt x="972" y="1014"/>
                  </a:lnTo>
                  <a:lnTo>
                    <a:pt x="948" y="1020"/>
                  </a:lnTo>
                  <a:lnTo>
                    <a:pt x="918" y="1026"/>
                  </a:lnTo>
                  <a:lnTo>
                    <a:pt x="840" y="1032"/>
                  </a:lnTo>
                  <a:lnTo>
                    <a:pt x="834" y="1032"/>
                  </a:lnTo>
                  <a:lnTo>
                    <a:pt x="834" y="1026"/>
                  </a:lnTo>
                  <a:lnTo>
                    <a:pt x="822" y="1026"/>
                  </a:lnTo>
                  <a:lnTo>
                    <a:pt x="816" y="1032"/>
                  </a:lnTo>
                  <a:lnTo>
                    <a:pt x="804" y="1032"/>
                  </a:lnTo>
                  <a:lnTo>
                    <a:pt x="798" y="1026"/>
                  </a:lnTo>
                  <a:lnTo>
                    <a:pt x="780" y="1026"/>
                  </a:lnTo>
                  <a:lnTo>
                    <a:pt x="762" y="1026"/>
                  </a:lnTo>
                  <a:lnTo>
                    <a:pt x="756" y="1026"/>
                  </a:lnTo>
                  <a:lnTo>
                    <a:pt x="750" y="1026"/>
                  </a:lnTo>
                  <a:lnTo>
                    <a:pt x="756" y="1020"/>
                  </a:lnTo>
                  <a:lnTo>
                    <a:pt x="750" y="1020"/>
                  </a:lnTo>
                  <a:lnTo>
                    <a:pt x="744" y="1014"/>
                  </a:lnTo>
                  <a:lnTo>
                    <a:pt x="684" y="1020"/>
                  </a:lnTo>
                  <a:lnTo>
                    <a:pt x="648" y="1020"/>
                  </a:lnTo>
                  <a:lnTo>
                    <a:pt x="630" y="1020"/>
                  </a:lnTo>
                  <a:lnTo>
                    <a:pt x="618" y="1020"/>
                  </a:lnTo>
                  <a:lnTo>
                    <a:pt x="606" y="1014"/>
                  </a:lnTo>
                  <a:lnTo>
                    <a:pt x="582" y="1014"/>
                  </a:lnTo>
                  <a:lnTo>
                    <a:pt x="576" y="1014"/>
                  </a:lnTo>
                  <a:lnTo>
                    <a:pt x="570" y="1014"/>
                  </a:lnTo>
                  <a:lnTo>
                    <a:pt x="564" y="1020"/>
                  </a:lnTo>
                  <a:lnTo>
                    <a:pt x="558" y="1026"/>
                  </a:lnTo>
                  <a:lnTo>
                    <a:pt x="552" y="1032"/>
                  </a:lnTo>
                  <a:lnTo>
                    <a:pt x="552" y="1038"/>
                  </a:lnTo>
                  <a:lnTo>
                    <a:pt x="558" y="1194"/>
                  </a:lnTo>
                  <a:lnTo>
                    <a:pt x="558" y="1206"/>
                  </a:lnTo>
                  <a:lnTo>
                    <a:pt x="552" y="1218"/>
                  </a:lnTo>
                  <a:lnTo>
                    <a:pt x="552" y="1236"/>
                  </a:lnTo>
                  <a:lnTo>
                    <a:pt x="546" y="1272"/>
                  </a:lnTo>
                  <a:lnTo>
                    <a:pt x="546" y="1308"/>
                  </a:lnTo>
                  <a:lnTo>
                    <a:pt x="540" y="1332"/>
                  </a:lnTo>
                  <a:lnTo>
                    <a:pt x="546" y="1356"/>
                  </a:lnTo>
                  <a:lnTo>
                    <a:pt x="546" y="1362"/>
                  </a:lnTo>
                  <a:lnTo>
                    <a:pt x="546" y="1374"/>
                  </a:lnTo>
                  <a:lnTo>
                    <a:pt x="546" y="1380"/>
                  </a:lnTo>
                  <a:lnTo>
                    <a:pt x="540" y="1380"/>
                  </a:lnTo>
                  <a:lnTo>
                    <a:pt x="522" y="1380"/>
                  </a:lnTo>
                  <a:lnTo>
                    <a:pt x="516" y="1380"/>
                  </a:lnTo>
                  <a:lnTo>
                    <a:pt x="516" y="1386"/>
                  </a:lnTo>
                  <a:lnTo>
                    <a:pt x="516" y="1392"/>
                  </a:lnTo>
                  <a:lnTo>
                    <a:pt x="510" y="1392"/>
                  </a:lnTo>
                  <a:lnTo>
                    <a:pt x="504" y="1386"/>
                  </a:lnTo>
                  <a:lnTo>
                    <a:pt x="498" y="1392"/>
                  </a:lnTo>
                  <a:lnTo>
                    <a:pt x="492" y="1398"/>
                  </a:lnTo>
                  <a:lnTo>
                    <a:pt x="486" y="1398"/>
                  </a:lnTo>
                  <a:lnTo>
                    <a:pt x="486" y="1392"/>
                  </a:lnTo>
                  <a:lnTo>
                    <a:pt x="486" y="1380"/>
                  </a:lnTo>
                  <a:lnTo>
                    <a:pt x="486" y="1374"/>
                  </a:lnTo>
                  <a:lnTo>
                    <a:pt x="480" y="1374"/>
                  </a:lnTo>
                  <a:lnTo>
                    <a:pt x="474" y="1374"/>
                  </a:lnTo>
                  <a:lnTo>
                    <a:pt x="468" y="1380"/>
                  </a:lnTo>
                  <a:lnTo>
                    <a:pt x="462" y="1380"/>
                  </a:lnTo>
                  <a:lnTo>
                    <a:pt x="456" y="1380"/>
                  </a:lnTo>
                  <a:lnTo>
                    <a:pt x="450" y="1386"/>
                  </a:lnTo>
                  <a:lnTo>
                    <a:pt x="444" y="1386"/>
                  </a:lnTo>
                  <a:lnTo>
                    <a:pt x="444" y="1392"/>
                  </a:lnTo>
                  <a:lnTo>
                    <a:pt x="432" y="1398"/>
                  </a:lnTo>
                  <a:lnTo>
                    <a:pt x="426" y="1404"/>
                  </a:lnTo>
                  <a:lnTo>
                    <a:pt x="420" y="1404"/>
                  </a:lnTo>
                  <a:lnTo>
                    <a:pt x="408" y="1404"/>
                  </a:lnTo>
                  <a:lnTo>
                    <a:pt x="378" y="1410"/>
                  </a:lnTo>
                  <a:lnTo>
                    <a:pt x="372" y="1410"/>
                  </a:lnTo>
                  <a:lnTo>
                    <a:pt x="360" y="1410"/>
                  </a:lnTo>
                  <a:lnTo>
                    <a:pt x="354" y="1416"/>
                  </a:lnTo>
                  <a:lnTo>
                    <a:pt x="348" y="1416"/>
                  </a:lnTo>
                  <a:lnTo>
                    <a:pt x="342" y="1410"/>
                  </a:lnTo>
                  <a:lnTo>
                    <a:pt x="336" y="1410"/>
                  </a:lnTo>
                  <a:lnTo>
                    <a:pt x="336" y="1416"/>
                  </a:lnTo>
                  <a:lnTo>
                    <a:pt x="330" y="1422"/>
                  </a:lnTo>
                  <a:lnTo>
                    <a:pt x="324" y="1422"/>
                  </a:lnTo>
                  <a:lnTo>
                    <a:pt x="318" y="1422"/>
                  </a:lnTo>
                  <a:lnTo>
                    <a:pt x="312" y="1428"/>
                  </a:lnTo>
                  <a:lnTo>
                    <a:pt x="312" y="1434"/>
                  </a:lnTo>
                  <a:lnTo>
                    <a:pt x="300" y="1428"/>
                  </a:lnTo>
                  <a:lnTo>
                    <a:pt x="288" y="1434"/>
                  </a:lnTo>
                  <a:lnTo>
                    <a:pt x="282" y="1440"/>
                  </a:lnTo>
                  <a:lnTo>
                    <a:pt x="282" y="1446"/>
                  </a:lnTo>
                  <a:lnTo>
                    <a:pt x="276" y="1446"/>
                  </a:lnTo>
                  <a:lnTo>
                    <a:pt x="276" y="1452"/>
                  </a:lnTo>
                  <a:lnTo>
                    <a:pt x="270" y="1452"/>
                  </a:lnTo>
                  <a:lnTo>
                    <a:pt x="258" y="1464"/>
                  </a:lnTo>
                  <a:lnTo>
                    <a:pt x="240" y="1458"/>
                  </a:lnTo>
                  <a:lnTo>
                    <a:pt x="234" y="1452"/>
                  </a:lnTo>
                  <a:lnTo>
                    <a:pt x="234" y="1446"/>
                  </a:lnTo>
                  <a:lnTo>
                    <a:pt x="228" y="1446"/>
                  </a:lnTo>
                  <a:lnTo>
                    <a:pt x="222" y="1440"/>
                  </a:lnTo>
                  <a:lnTo>
                    <a:pt x="216" y="1440"/>
                  </a:lnTo>
                  <a:lnTo>
                    <a:pt x="210" y="1428"/>
                  </a:lnTo>
                  <a:lnTo>
                    <a:pt x="210" y="1422"/>
                  </a:lnTo>
                  <a:lnTo>
                    <a:pt x="198" y="1416"/>
                  </a:lnTo>
                  <a:lnTo>
                    <a:pt x="204" y="1410"/>
                  </a:lnTo>
                  <a:lnTo>
                    <a:pt x="210" y="1404"/>
                  </a:lnTo>
                  <a:lnTo>
                    <a:pt x="210" y="1398"/>
                  </a:lnTo>
                  <a:lnTo>
                    <a:pt x="252" y="1368"/>
                  </a:lnTo>
                  <a:lnTo>
                    <a:pt x="276" y="1350"/>
                  </a:lnTo>
                  <a:lnTo>
                    <a:pt x="300" y="1338"/>
                  </a:lnTo>
                  <a:lnTo>
                    <a:pt x="294" y="1314"/>
                  </a:lnTo>
                  <a:lnTo>
                    <a:pt x="288" y="1308"/>
                  </a:lnTo>
                  <a:lnTo>
                    <a:pt x="300" y="1266"/>
                  </a:lnTo>
                  <a:lnTo>
                    <a:pt x="300" y="1242"/>
                  </a:lnTo>
                  <a:lnTo>
                    <a:pt x="300" y="1206"/>
                  </a:lnTo>
                  <a:lnTo>
                    <a:pt x="300" y="1164"/>
                  </a:lnTo>
                  <a:lnTo>
                    <a:pt x="294" y="1134"/>
                  </a:lnTo>
                  <a:lnTo>
                    <a:pt x="282" y="1086"/>
                  </a:lnTo>
                  <a:lnTo>
                    <a:pt x="276" y="1074"/>
                  </a:lnTo>
                  <a:lnTo>
                    <a:pt x="276" y="1056"/>
                  </a:lnTo>
                  <a:lnTo>
                    <a:pt x="270" y="1038"/>
                  </a:lnTo>
                  <a:lnTo>
                    <a:pt x="270" y="1020"/>
                  </a:lnTo>
                  <a:lnTo>
                    <a:pt x="282" y="1020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94" y="1002"/>
                  </a:lnTo>
                  <a:lnTo>
                    <a:pt x="306" y="996"/>
                  </a:lnTo>
                  <a:lnTo>
                    <a:pt x="312" y="990"/>
                  </a:lnTo>
                  <a:lnTo>
                    <a:pt x="318" y="990"/>
                  </a:lnTo>
                  <a:lnTo>
                    <a:pt x="324" y="984"/>
                  </a:lnTo>
                  <a:lnTo>
                    <a:pt x="324" y="978"/>
                  </a:lnTo>
                  <a:lnTo>
                    <a:pt x="324" y="972"/>
                  </a:lnTo>
                  <a:lnTo>
                    <a:pt x="324" y="954"/>
                  </a:lnTo>
                  <a:lnTo>
                    <a:pt x="336" y="948"/>
                  </a:lnTo>
                  <a:lnTo>
                    <a:pt x="342" y="936"/>
                  </a:lnTo>
                  <a:lnTo>
                    <a:pt x="348" y="924"/>
                  </a:lnTo>
                  <a:lnTo>
                    <a:pt x="354" y="924"/>
                  </a:lnTo>
                  <a:lnTo>
                    <a:pt x="372" y="924"/>
                  </a:lnTo>
                  <a:lnTo>
                    <a:pt x="372" y="930"/>
                  </a:lnTo>
                  <a:lnTo>
                    <a:pt x="378" y="930"/>
                  </a:lnTo>
                  <a:lnTo>
                    <a:pt x="378" y="936"/>
                  </a:lnTo>
                  <a:lnTo>
                    <a:pt x="384" y="936"/>
                  </a:lnTo>
                  <a:lnTo>
                    <a:pt x="384" y="942"/>
                  </a:lnTo>
                  <a:lnTo>
                    <a:pt x="402" y="942"/>
                  </a:lnTo>
                  <a:lnTo>
                    <a:pt x="402" y="996"/>
                  </a:lnTo>
                  <a:lnTo>
                    <a:pt x="414" y="996"/>
                  </a:lnTo>
                  <a:lnTo>
                    <a:pt x="420" y="996"/>
                  </a:lnTo>
                  <a:lnTo>
                    <a:pt x="426" y="996"/>
                  </a:lnTo>
                  <a:lnTo>
                    <a:pt x="432" y="996"/>
                  </a:lnTo>
                  <a:lnTo>
                    <a:pt x="438" y="996"/>
                  </a:lnTo>
                  <a:lnTo>
                    <a:pt x="438" y="942"/>
                  </a:lnTo>
                  <a:lnTo>
                    <a:pt x="444" y="930"/>
                  </a:lnTo>
                  <a:lnTo>
                    <a:pt x="444" y="924"/>
                  </a:lnTo>
                  <a:lnTo>
                    <a:pt x="444" y="918"/>
                  </a:lnTo>
                  <a:lnTo>
                    <a:pt x="462" y="918"/>
                  </a:lnTo>
                  <a:lnTo>
                    <a:pt x="474" y="906"/>
                  </a:lnTo>
                  <a:lnTo>
                    <a:pt x="480" y="900"/>
                  </a:lnTo>
                  <a:lnTo>
                    <a:pt x="486" y="888"/>
                  </a:lnTo>
                  <a:lnTo>
                    <a:pt x="492" y="876"/>
                  </a:lnTo>
                  <a:lnTo>
                    <a:pt x="492" y="858"/>
                  </a:lnTo>
                  <a:lnTo>
                    <a:pt x="480" y="858"/>
                  </a:lnTo>
                  <a:lnTo>
                    <a:pt x="474" y="840"/>
                  </a:lnTo>
                  <a:lnTo>
                    <a:pt x="450" y="834"/>
                  </a:lnTo>
                  <a:lnTo>
                    <a:pt x="438" y="816"/>
                  </a:lnTo>
                  <a:lnTo>
                    <a:pt x="432" y="792"/>
                  </a:lnTo>
                  <a:lnTo>
                    <a:pt x="432" y="786"/>
                  </a:lnTo>
                  <a:lnTo>
                    <a:pt x="432" y="774"/>
                  </a:lnTo>
                  <a:lnTo>
                    <a:pt x="432" y="762"/>
                  </a:lnTo>
                  <a:lnTo>
                    <a:pt x="438" y="750"/>
                  </a:lnTo>
                  <a:lnTo>
                    <a:pt x="438" y="738"/>
                  </a:lnTo>
                  <a:lnTo>
                    <a:pt x="444" y="732"/>
                  </a:lnTo>
                  <a:lnTo>
                    <a:pt x="450" y="732"/>
                  </a:lnTo>
                  <a:lnTo>
                    <a:pt x="456" y="732"/>
                  </a:lnTo>
                  <a:lnTo>
                    <a:pt x="456" y="726"/>
                  </a:lnTo>
                  <a:lnTo>
                    <a:pt x="456" y="714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44" y="684"/>
                  </a:lnTo>
                  <a:lnTo>
                    <a:pt x="438" y="666"/>
                  </a:lnTo>
                  <a:lnTo>
                    <a:pt x="426" y="666"/>
                  </a:lnTo>
                  <a:lnTo>
                    <a:pt x="432" y="666"/>
                  </a:lnTo>
                  <a:lnTo>
                    <a:pt x="420" y="666"/>
                  </a:lnTo>
                  <a:lnTo>
                    <a:pt x="414" y="660"/>
                  </a:lnTo>
                  <a:lnTo>
                    <a:pt x="396" y="654"/>
                  </a:lnTo>
                  <a:lnTo>
                    <a:pt x="384" y="642"/>
                  </a:lnTo>
                  <a:lnTo>
                    <a:pt x="366" y="624"/>
                  </a:lnTo>
                  <a:lnTo>
                    <a:pt x="354" y="606"/>
                  </a:lnTo>
                  <a:lnTo>
                    <a:pt x="342" y="588"/>
                  </a:lnTo>
                  <a:lnTo>
                    <a:pt x="342" y="582"/>
                  </a:lnTo>
                  <a:lnTo>
                    <a:pt x="360" y="564"/>
                  </a:lnTo>
                  <a:lnTo>
                    <a:pt x="372" y="540"/>
                  </a:lnTo>
                  <a:lnTo>
                    <a:pt x="366" y="528"/>
                  </a:lnTo>
                  <a:lnTo>
                    <a:pt x="366" y="522"/>
                  </a:lnTo>
                  <a:lnTo>
                    <a:pt x="372" y="516"/>
                  </a:lnTo>
                  <a:lnTo>
                    <a:pt x="384" y="504"/>
                  </a:lnTo>
                  <a:lnTo>
                    <a:pt x="378" y="492"/>
                  </a:lnTo>
                  <a:lnTo>
                    <a:pt x="378" y="486"/>
                  </a:lnTo>
                  <a:lnTo>
                    <a:pt x="378" y="480"/>
                  </a:lnTo>
                  <a:lnTo>
                    <a:pt x="378" y="474"/>
                  </a:lnTo>
                  <a:lnTo>
                    <a:pt x="378" y="468"/>
                  </a:lnTo>
                  <a:lnTo>
                    <a:pt x="366" y="468"/>
                  </a:lnTo>
                  <a:lnTo>
                    <a:pt x="360" y="474"/>
                  </a:lnTo>
                  <a:lnTo>
                    <a:pt x="354" y="480"/>
                  </a:lnTo>
                  <a:lnTo>
                    <a:pt x="348" y="486"/>
                  </a:lnTo>
                  <a:lnTo>
                    <a:pt x="348" y="492"/>
                  </a:lnTo>
                  <a:lnTo>
                    <a:pt x="336" y="510"/>
                  </a:lnTo>
                  <a:lnTo>
                    <a:pt x="300" y="516"/>
                  </a:lnTo>
                  <a:lnTo>
                    <a:pt x="300" y="510"/>
                  </a:lnTo>
                  <a:lnTo>
                    <a:pt x="282" y="504"/>
                  </a:lnTo>
                  <a:lnTo>
                    <a:pt x="282" y="498"/>
                  </a:lnTo>
                  <a:lnTo>
                    <a:pt x="264" y="486"/>
                  </a:lnTo>
                  <a:lnTo>
                    <a:pt x="258" y="492"/>
                  </a:lnTo>
                  <a:lnTo>
                    <a:pt x="234" y="492"/>
                  </a:lnTo>
                  <a:lnTo>
                    <a:pt x="222" y="486"/>
                  </a:lnTo>
                  <a:lnTo>
                    <a:pt x="204" y="480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92" y="462"/>
                  </a:lnTo>
                  <a:lnTo>
                    <a:pt x="186" y="462"/>
                  </a:lnTo>
                  <a:lnTo>
                    <a:pt x="180" y="468"/>
                  </a:lnTo>
                  <a:lnTo>
                    <a:pt x="150" y="450"/>
                  </a:lnTo>
                  <a:lnTo>
                    <a:pt x="144" y="438"/>
                  </a:lnTo>
                  <a:lnTo>
                    <a:pt x="138" y="438"/>
                  </a:lnTo>
                  <a:lnTo>
                    <a:pt x="132" y="432"/>
                  </a:lnTo>
                  <a:lnTo>
                    <a:pt x="126" y="432"/>
                  </a:lnTo>
                  <a:lnTo>
                    <a:pt x="120" y="432"/>
                  </a:lnTo>
                  <a:lnTo>
                    <a:pt x="102" y="426"/>
                  </a:lnTo>
                  <a:lnTo>
                    <a:pt x="96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2" y="414"/>
                  </a:lnTo>
                  <a:lnTo>
                    <a:pt x="60" y="414"/>
                  </a:lnTo>
                  <a:lnTo>
                    <a:pt x="30" y="414"/>
                  </a:lnTo>
                  <a:lnTo>
                    <a:pt x="24" y="414"/>
                  </a:lnTo>
                  <a:lnTo>
                    <a:pt x="12" y="414"/>
                  </a:lnTo>
                  <a:lnTo>
                    <a:pt x="0" y="420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0" y="336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30" y="270"/>
                  </a:lnTo>
                  <a:lnTo>
                    <a:pt x="42" y="270"/>
                  </a:lnTo>
                  <a:lnTo>
                    <a:pt x="54" y="264"/>
                  </a:lnTo>
                  <a:lnTo>
                    <a:pt x="78" y="240"/>
                  </a:lnTo>
                  <a:lnTo>
                    <a:pt x="102" y="216"/>
                  </a:lnTo>
                  <a:lnTo>
                    <a:pt x="114" y="210"/>
                  </a:lnTo>
                  <a:lnTo>
                    <a:pt x="120" y="204"/>
                  </a:lnTo>
                  <a:lnTo>
                    <a:pt x="126" y="198"/>
                  </a:lnTo>
                  <a:lnTo>
                    <a:pt x="138" y="18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38"/>
                  </a:lnTo>
                  <a:lnTo>
                    <a:pt x="210" y="126"/>
                  </a:lnTo>
                  <a:lnTo>
                    <a:pt x="216" y="120"/>
                  </a:lnTo>
                  <a:lnTo>
                    <a:pt x="222" y="120"/>
                  </a:lnTo>
                  <a:lnTo>
                    <a:pt x="258" y="114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300" y="102"/>
                  </a:lnTo>
                  <a:lnTo>
                    <a:pt x="312" y="102"/>
                  </a:lnTo>
                  <a:lnTo>
                    <a:pt x="318" y="102"/>
                  </a:lnTo>
                  <a:lnTo>
                    <a:pt x="348" y="96"/>
                  </a:lnTo>
                  <a:lnTo>
                    <a:pt x="366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408" y="84"/>
                  </a:lnTo>
                  <a:lnTo>
                    <a:pt x="420" y="84"/>
                  </a:lnTo>
                  <a:lnTo>
                    <a:pt x="462" y="72"/>
                  </a:lnTo>
                  <a:lnTo>
                    <a:pt x="474" y="72"/>
                  </a:lnTo>
                  <a:lnTo>
                    <a:pt x="474" y="78"/>
                  </a:lnTo>
                  <a:lnTo>
                    <a:pt x="492" y="90"/>
                  </a:lnTo>
                  <a:lnTo>
                    <a:pt x="498" y="90"/>
                  </a:lnTo>
                  <a:lnTo>
                    <a:pt x="522" y="96"/>
                  </a:lnTo>
                  <a:lnTo>
                    <a:pt x="540" y="96"/>
                  </a:lnTo>
                  <a:lnTo>
                    <a:pt x="546" y="96"/>
                  </a:lnTo>
                  <a:lnTo>
                    <a:pt x="558" y="96"/>
                  </a:lnTo>
                  <a:lnTo>
                    <a:pt x="564" y="96"/>
                  </a:lnTo>
                  <a:lnTo>
                    <a:pt x="576" y="96"/>
                  </a:lnTo>
                  <a:lnTo>
                    <a:pt x="588" y="96"/>
                  </a:lnTo>
                  <a:lnTo>
                    <a:pt x="612" y="90"/>
                  </a:lnTo>
                  <a:lnTo>
                    <a:pt x="624" y="90"/>
                  </a:lnTo>
                  <a:lnTo>
                    <a:pt x="636" y="90"/>
                  </a:lnTo>
                  <a:lnTo>
                    <a:pt x="642" y="90"/>
                  </a:lnTo>
                  <a:lnTo>
                    <a:pt x="648" y="96"/>
                  </a:lnTo>
                  <a:lnTo>
                    <a:pt x="660" y="96"/>
                  </a:lnTo>
                  <a:lnTo>
                    <a:pt x="666" y="96"/>
                  </a:lnTo>
                  <a:lnTo>
                    <a:pt x="672" y="96"/>
                  </a:lnTo>
                  <a:lnTo>
                    <a:pt x="684" y="96"/>
                  </a:lnTo>
                  <a:lnTo>
                    <a:pt x="708" y="96"/>
                  </a:lnTo>
                  <a:lnTo>
                    <a:pt x="714" y="96"/>
                  </a:lnTo>
                  <a:lnTo>
                    <a:pt x="726" y="96"/>
                  </a:lnTo>
                  <a:lnTo>
                    <a:pt x="738" y="84"/>
                  </a:lnTo>
                  <a:lnTo>
                    <a:pt x="744" y="78"/>
                  </a:lnTo>
                  <a:lnTo>
                    <a:pt x="756" y="66"/>
                  </a:lnTo>
                  <a:lnTo>
                    <a:pt x="774" y="42"/>
                  </a:lnTo>
                  <a:lnTo>
                    <a:pt x="780" y="30"/>
                  </a:lnTo>
                  <a:lnTo>
                    <a:pt x="816" y="24"/>
                  </a:lnTo>
                  <a:lnTo>
                    <a:pt x="840" y="18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64" y="6"/>
                  </a:lnTo>
                  <a:lnTo>
                    <a:pt x="870" y="6"/>
                  </a:lnTo>
                  <a:lnTo>
                    <a:pt x="894" y="0"/>
                  </a:lnTo>
                  <a:lnTo>
                    <a:pt x="900" y="6"/>
                  </a:lnTo>
                  <a:lnTo>
                    <a:pt x="930" y="18"/>
                  </a:lnTo>
                  <a:lnTo>
                    <a:pt x="942" y="24"/>
                  </a:lnTo>
                  <a:lnTo>
                    <a:pt x="954" y="30"/>
                  </a:lnTo>
                  <a:lnTo>
                    <a:pt x="1026" y="60"/>
                  </a:lnTo>
                  <a:lnTo>
                    <a:pt x="1032" y="60"/>
                  </a:lnTo>
                  <a:lnTo>
                    <a:pt x="1038" y="66"/>
                  </a:lnTo>
                  <a:lnTo>
                    <a:pt x="1068" y="72"/>
                  </a:lnTo>
                  <a:lnTo>
                    <a:pt x="1098" y="84"/>
                  </a:lnTo>
                  <a:lnTo>
                    <a:pt x="1122" y="90"/>
                  </a:lnTo>
                  <a:lnTo>
                    <a:pt x="1122" y="96"/>
                  </a:lnTo>
                  <a:lnTo>
                    <a:pt x="1140" y="102"/>
                  </a:lnTo>
                  <a:lnTo>
                    <a:pt x="1182" y="114"/>
                  </a:lnTo>
                  <a:lnTo>
                    <a:pt x="1188" y="114"/>
                  </a:lnTo>
                  <a:lnTo>
                    <a:pt x="1200" y="120"/>
                  </a:lnTo>
                  <a:lnTo>
                    <a:pt x="1212" y="126"/>
                  </a:lnTo>
                  <a:lnTo>
                    <a:pt x="1224" y="126"/>
                  </a:lnTo>
                  <a:lnTo>
                    <a:pt x="1248" y="138"/>
                  </a:lnTo>
                  <a:lnTo>
                    <a:pt x="1272" y="150"/>
                  </a:lnTo>
                  <a:lnTo>
                    <a:pt x="1284" y="156"/>
                  </a:lnTo>
                  <a:lnTo>
                    <a:pt x="1290" y="162"/>
                  </a:lnTo>
                  <a:lnTo>
                    <a:pt x="1296" y="162"/>
                  </a:lnTo>
                  <a:lnTo>
                    <a:pt x="1308" y="156"/>
                  </a:lnTo>
                  <a:lnTo>
                    <a:pt x="1320" y="150"/>
                  </a:lnTo>
                  <a:lnTo>
                    <a:pt x="1326" y="150"/>
                  </a:lnTo>
                  <a:lnTo>
                    <a:pt x="1338" y="144"/>
                  </a:lnTo>
                  <a:lnTo>
                    <a:pt x="1362" y="144"/>
                  </a:lnTo>
                  <a:lnTo>
                    <a:pt x="1368" y="144"/>
                  </a:lnTo>
                  <a:lnTo>
                    <a:pt x="1374" y="144"/>
                  </a:lnTo>
                  <a:lnTo>
                    <a:pt x="1386" y="150"/>
                  </a:lnTo>
                  <a:lnTo>
                    <a:pt x="1392" y="150"/>
                  </a:lnTo>
                  <a:lnTo>
                    <a:pt x="1398" y="150"/>
                  </a:lnTo>
                  <a:lnTo>
                    <a:pt x="1416" y="162"/>
                  </a:lnTo>
                  <a:lnTo>
                    <a:pt x="1458" y="186"/>
                  </a:lnTo>
                  <a:lnTo>
                    <a:pt x="1464" y="186"/>
                  </a:lnTo>
                  <a:lnTo>
                    <a:pt x="1470" y="192"/>
                  </a:lnTo>
                  <a:lnTo>
                    <a:pt x="1482" y="204"/>
                  </a:lnTo>
                  <a:lnTo>
                    <a:pt x="1512" y="234"/>
                  </a:lnTo>
                  <a:lnTo>
                    <a:pt x="1554" y="276"/>
                  </a:lnTo>
                  <a:lnTo>
                    <a:pt x="1560" y="276"/>
                  </a:lnTo>
                  <a:lnTo>
                    <a:pt x="1566" y="282"/>
                  </a:lnTo>
                  <a:lnTo>
                    <a:pt x="1578" y="294"/>
                  </a:lnTo>
                  <a:lnTo>
                    <a:pt x="1602" y="318"/>
                  </a:lnTo>
                  <a:lnTo>
                    <a:pt x="1614" y="330"/>
                  </a:lnTo>
                  <a:lnTo>
                    <a:pt x="1620" y="336"/>
                  </a:lnTo>
                  <a:lnTo>
                    <a:pt x="1626" y="342"/>
                  </a:lnTo>
                  <a:lnTo>
                    <a:pt x="1632" y="354"/>
                  </a:lnTo>
                  <a:lnTo>
                    <a:pt x="1644" y="366"/>
                  </a:lnTo>
                  <a:lnTo>
                    <a:pt x="1650" y="378"/>
                  </a:lnTo>
                  <a:lnTo>
                    <a:pt x="1650" y="384"/>
                  </a:lnTo>
                  <a:lnTo>
                    <a:pt x="1656" y="384"/>
                  </a:lnTo>
                  <a:lnTo>
                    <a:pt x="1662" y="402"/>
                  </a:lnTo>
                  <a:lnTo>
                    <a:pt x="1668" y="408"/>
                  </a:lnTo>
                  <a:lnTo>
                    <a:pt x="1674" y="426"/>
                  </a:lnTo>
                  <a:lnTo>
                    <a:pt x="1686" y="438"/>
                  </a:lnTo>
                  <a:lnTo>
                    <a:pt x="1698" y="46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9" name="Freeform 34">
              <a:extLst>
                <a:ext uri="{FF2B5EF4-FFF2-40B4-BE49-F238E27FC236}">
                  <a16:creationId xmlns:a16="http://schemas.microsoft.com/office/drawing/2014/main" id="{94603F24-8CF7-4226-A433-00D18CA7D9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1988" y="1681402"/>
              <a:ext cx="869877" cy="1060101"/>
            </a:xfrm>
            <a:custGeom>
              <a:avLst/>
              <a:gdLst>
                <a:gd name="T0" fmla="*/ 4 w 1638"/>
                <a:gd name="T1" fmla="*/ 111 h 1998"/>
                <a:gd name="T2" fmla="*/ 6 w 1638"/>
                <a:gd name="T3" fmla="*/ 87 h 1998"/>
                <a:gd name="T4" fmla="*/ 10 w 1638"/>
                <a:gd name="T5" fmla="*/ 80 h 1998"/>
                <a:gd name="T6" fmla="*/ 10 w 1638"/>
                <a:gd name="T7" fmla="*/ 71 h 1998"/>
                <a:gd name="T8" fmla="*/ 9 w 1638"/>
                <a:gd name="T9" fmla="*/ 56 h 1998"/>
                <a:gd name="T10" fmla="*/ 8 w 1638"/>
                <a:gd name="T11" fmla="*/ 40 h 1998"/>
                <a:gd name="T12" fmla="*/ 20 w 1638"/>
                <a:gd name="T13" fmla="*/ 30 h 1998"/>
                <a:gd name="T14" fmla="*/ 30 w 1638"/>
                <a:gd name="T15" fmla="*/ 19 h 1998"/>
                <a:gd name="T16" fmla="*/ 35 w 1638"/>
                <a:gd name="T17" fmla="*/ 2 h 1998"/>
                <a:gd name="T18" fmla="*/ 47 w 1638"/>
                <a:gd name="T19" fmla="*/ 2 h 1998"/>
                <a:gd name="T20" fmla="*/ 56 w 1638"/>
                <a:gd name="T21" fmla="*/ 7 h 1998"/>
                <a:gd name="T22" fmla="*/ 67 w 1638"/>
                <a:gd name="T23" fmla="*/ 5 h 1998"/>
                <a:gd name="T24" fmla="*/ 65 w 1638"/>
                <a:gd name="T25" fmla="*/ 15 h 1998"/>
                <a:gd name="T26" fmla="*/ 74 w 1638"/>
                <a:gd name="T27" fmla="*/ 24 h 1998"/>
                <a:gd name="T28" fmla="*/ 73 w 1638"/>
                <a:gd name="T29" fmla="*/ 33 h 1998"/>
                <a:gd name="T30" fmla="*/ 74 w 1638"/>
                <a:gd name="T31" fmla="*/ 44 h 1998"/>
                <a:gd name="T32" fmla="*/ 68 w 1638"/>
                <a:gd name="T33" fmla="*/ 45 h 1998"/>
                <a:gd name="T34" fmla="*/ 63 w 1638"/>
                <a:gd name="T35" fmla="*/ 50 h 1998"/>
                <a:gd name="T36" fmla="*/ 61 w 1638"/>
                <a:gd name="T37" fmla="*/ 62 h 1998"/>
                <a:gd name="T38" fmla="*/ 53 w 1638"/>
                <a:gd name="T39" fmla="*/ 86 h 1998"/>
                <a:gd name="T40" fmla="*/ 59 w 1638"/>
                <a:gd name="T41" fmla="*/ 90 h 1998"/>
                <a:gd name="T42" fmla="*/ 65 w 1638"/>
                <a:gd name="T43" fmla="*/ 86 h 1998"/>
                <a:gd name="T44" fmla="*/ 74 w 1638"/>
                <a:gd name="T45" fmla="*/ 84 h 1998"/>
                <a:gd name="T46" fmla="*/ 79 w 1638"/>
                <a:gd name="T47" fmla="*/ 85 h 1998"/>
                <a:gd name="T48" fmla="*/ 84 w 1638"/>
                <a:gd name="T49" fmla="*/ 84 h 1998"/>
                <a:gd name="T50" fmla="*/ 91 w 1638"/>
                <a:gd name="T51" fmla="*/ 84 h 1998"/>
                <a:gd name="T52" fmla="*/ 94 w 1638"/>
                <a:gd name="T53" fmla="*/ 81 h 1998"/>
                <a:gd name="T54" fmla="*/ 100 w 1638"/>
                <a:gd name="T55" fmla="*/ 81 h 1998"/>
                <a:gd name="T56" fmla="*/ 102 w 1638"/>
                <a:gd name="T57" fmla="*/ 84 h 1998"/>
                <a:gd name="T58" fmla="*/ 108 w 1638"/>
                <a:gd name="T59" fmla="*/ 85 h 1998"/>
                <a:gd name="T60" fmla="*/ 113 w 1638"/>
                <a:gd name="T61" fmla="*/ 88 h 1998"/>
                <a:gd name="T62" fmla="*/ 116 w 1638"/>
                <a:gd name="T63" fmla="*/ 88 h 1998"/>
                <a:gd name="T64" fmla="*/ 123 w 1638"/>
                <a:gd name="T65" fmla="*/ 87 h 1998"/>
                <a:gd name="T66" fmla="*/ 128 w 1638"/>
                <a:gd name="T67" fmla="*/ 86 h 1998"/>
                <a:gd name="T68" fmla="*/ 132 w 1638"/>
                <a:gd name="T69" fmla="*/ 90 h 1998"/>
                <a:gd name="T70" fmla="*/ 138 w 1638"/>
                <a:gd name="T71" fmla="*/ 96 h 1998"/>
                <a:gd name="T72" fmla="*/ 138 w 1638"/>
                <a:gd name="T73" fmla="*/ 110 h 1998"/>
                <a:gd name="T74" fmla="*/ 137 w 1638"/>
                <a:gd name="T75" fmla="*/ 118 h 1998"/>
                <a:gd name="T76" fmla="*/ 133 w 1638"/>
                <a:gd name="T77" fmla="*/ 124 h 1998"/>
                <a:gd name="T78" fmla="*/ 122 w 1638"/>
                <a:gd name="T79" fmla="*/ 125 h 1998"/>
                <a:gd name="T80" fmla="*/ 116 w 1638"/>
                <a:gd name="T81" fmla="*/ 127 h 1998"/>
                <a:gd name="T82" fmla="*/ 108 w 1638"/>
                <a:gd name="T83" fmla="*/ 123 h 1998"/>
                <a:gd name="T84" fmla="*/ 109 w 1638"/>
                <a:gd name="T85" fmla="*/ 119 h 1998"/>
                <a:gd name="T86" fmla="*/ 104 w 1638"/>
                <a:gd name="T87" fmla="*/ 104 h 1998"/>
                <a:gd name="T88" fmla="*/ 94 w 1638"/>
                <a:gd name="T89" fmla="*/ 105 h 1998"/>
                <a:gd name="T90" fmla="*/ 88 w 1638"/>
                <a:gd name="T91" fmla="*/ 109 h 1998"/>
                <a:gd name="T92" fmla="*/ 76 w 1638"/>
                <a:gd name="T93" fmla="*/ 107 h 1998"/>
                <a:gd name="T94" fmla="*/ 72 w 1638"/>
                <a:gd name="T95" fmla="*/ 114 h 1998"/>
                <a:gd name="T96" fmla="*/ 86 w 1638"/>
                <a:gd name="T97" fmla="*/ 121 h 1998"/>
                <a:gd name="T98" fmla="*/ 87 w 1638"/>
                <a:gd name="T99" fmla="*/ 129 h 1998"/>
                <a:gd name="T100" fmla="*/ 86 w 1638"/>
                <a:gd name="T101" fmla="*/ 137 h 1998"/>
                <a:gd name="T102" fmla="*/ 79 w 1638"/>
                <a:gd name="T103" fmla="*/ 141 h 1998"/>
                <a:gd name="T104" fmla="*/ 73 w 1638"/>
                <a:gd name="T105" fmla="*/ 144 h 1998"/>
                <a:gd name="T106" fmla="*/ 72 w 1638"/>
                <a:gd name="T107" fmla="*/ 164 h 1998"/>
                <a:gd name="T108" fmla="*/ 68 w 1638"/>
                <a:gd name="T109" fmla="*/ 172 h 1998"/>
                <a:gd name="T110" fmla="*/ 59 w 1638"/>
                <a:gd name="T111" fmla="*/ 164 h 1998"/>
                <a:gd name="T112" fmla="*/ 65 w 1638"/>
                <a:gd name="T113" fmla="*/ 146 h 1998"/>
                <a:gd name="T114" fmla="*/ 69 w 1638"/>
                <a:gd name="T115" fmla="*/ 133 h 1998"/>
                <a:gd name="T116" fmla="*/ 61 w 1638"/>
                <a:gd name="T117" fmla="*/ 131 h 1998"/>
                <a:gd name="T118" fmla="*/ 43 w 1638"/>
                <a:gd name="T119" fmla="*/ 125 h 1998"/>
                <a:gd name="T120" fmla="*/ 23 w 1638"/>
                <a:gd name="T121" fmla="*/ 125 h 1998"/>
                <a:gd name="T122" fmla="*/ 17 w 1638"/>
                <a:gd name="T123" fmla="*/ 121 h 19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638"/>
                <a:gd name="T187" fmla="*/ 0 h 1998"/>
                <a:gd name="T188" fmla="*/ 1638 w 1638"/>
                <a:gd name="T189" fmla="*/ 1998 h 19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638" h="1998">
                  <a:moveTo>
                    <a:pt x="144" y="1380"/>
                  </a:moveTo>
                  <a:lnTo>
                    <a:pt x="150" y="1368"/>
                  </a:lnTo>
                  <a:lnTo>
                    <a:pt x="150" y="1362"/>
                  </a:lnTo>
                  <a:lnTo>
                    <a:pt x="150" y="1356"/>
                  </a:lnTo>
                  <a:lnTo>
                    <a:pt x="144" y="1356"/>
                  </a:lnTo>
                  <a:lnTo>
                    <a:pt x="138" y="1356"/>
                  </a:lnTo>
                  <a:lnTo>
                    <a:pt x="126" y="1356"/>
                  </a:lnTo>
                  <a:lnTo>
                    <a:pt x="114" y="1344"/>
                  </a:lnTo>
                  <a:lnTo>
                    <a:pt x="84" y="1320"/>
                  </a:lnTo>
                  <a:lnTo>
                    <a:pt x="54" y="1296"/>
                  </a:lnTo>
                  <a:lnTo>
                    <a:pt x="48" y="1290"/>
                  </a:lnTo>
                  <a:lnTo>
                    <a:pt x="42" y="1278"/>
                  </a:lnTo>
                  <a:lnTo>
                    <a:pt x="30" y="1272"/>
                  </a:lnTo>
                  <a:lnTo>
                    <a:pt x="0" y="1248"/>
                  </a:lnTo>
                  <a:lnTo>
                    <a:pt x="6" y="1230"/>
                  </a:lnTo>
                  <a:lnTo>
                    <a:pt x="12" y="1194"/>
                  </a:lnTo>
                  <a:lnTo>
                    <a:pt x="18" y="1170"/>
                  </a:lnTo>
                  <a:lnTo>
                    <a:pt x="30" y="1134"/>
                  </a:lnTo>
                  <a:lnTo>
                    <a:pt x="36" y="1086"/>
                  </a:lnTo>
                  <a:lnTo>
                    <a:pt x="42" y="1050"/>
                  </a:lnTo>
                  <a:lnTo>
                    <a:pt x="48" y="1044"/>
                  </a:lnTo>
                  <a:lnTo>
                    <a:pt x="54" y="1026"/>
                  </a:lnTo>
                  <a:lnTo>
                    <a:pt x="60" y="1014"/>
                  </a:lnTo>
                  <a:lnTo>
                    <a:pt x="66" y="1002"/>
                  </a:lnTo>
                  <a:lnTo>
                    <a:pt x="66" y="996"/>
                  </a:lnTo>
                  <a:lnTo>
                    <a:pt x="72" y="996"/>
                  </a:lnTo>
                  <a:lnTo>
                    <a:pt x="72" y="990"/>
                  </a:lnTo>
                  <a:lnTo>
                    <a:pt x="78" y="990"/>
                  </a:lnTo>
                  <a:lnTo>
                    <a:pt x="90" y="978"/>
                  </a:lnTo>
                  <a:lnTo>
                    <a:pt x="96" y="966"/>
                  </a:lnTo>
                  <a:lnTo>
                    <a:pt x="102" y="966"/>
                  </a:lnTo>
                  <a:lnTo>
                    <a:pt x="114" y="954"/>
                  </a:lnTo>
                  <a:lnTo>
                    <a:pt x="120" y="954"/>
                  </a:lnTo>
                  <a:lnTo>
                    <a:pt x="120" y="948"/>
                  </a:lnTo>
                  <a:lnTo>
                    <a:pt x="114" y="930"/>
                  </a:lnTo>
                  <a:lnTo>
                    <a:pt x="114" y="924"/>
                  </a:lnTo>
                  <a:lnTo>
                    <a:pt x="108" y="918"/>
                  </a:lnTo>
                  <a:lnTo>
                    <a:pt x="102" y="912"/>
                  </a:lnTo>
                  <a:lnTo>
                    <a:pt x="90" y="906"/>
                  </a:lnTo>
                  <a:lnTo>
                    <a:pt x="84" y="900"/>
                  </a:lnTo>
                  <a:lnTo>
                    <a:pt x="84" y="888"/>
                  </a:lnTo>
                  <a:lnTo>
                    <a:pt x="84" y="882"/>
                  </a:lnTo>
                  <a:lnTo>
                    <a:pt x="78" y="858"/>
                  </a:lnTo>
                  <a:lnTo>
                    <a:pt x="78" y="852"/>
                  </a:lnTo>
                  <a:lnTo>
                    <a:pt x="84" y="846"/>
                  </a:lnTo>
                  <a:lnTo>
                    <a:pt x="84" y="840"/>
                  </a:lnTo>
                  <a:lnTo>
                    <a:pt x="96" y="828"/>
                  </a:lnTo>
                  <a:lnTo>
                    <a:pt x="114" y="816"/>
                  </a:lnTo>
                  <a:lnTo>
                    <a:pt x="114" y="810"/>
                  </a:lnTo>
                  <a:lnTo>
                    <a:pt x="114" y="804"/>
                  </a:lnTo>
                  <a:lnTo>
                    <a:pt x="108" y="780"/>
                  </a:lnTo>
                  <a:lnTo>
                    <a:pt x="96" y="756"/>
                  </a:lnTo>
                  <a:lnTo>
                    <a:pt x="96" y="750"/>
                  </a:lnTo>
                  <a:lnTo>
                    <a:pt x="90" y="720"/>
                  </a:lnTo>
                  <a:lnTo>
                    <a:pt x="90" y="708"/>
                  </a:lnTo>
                  <a:lnTo>
                    <a:pt x="90" y="690"/>
                  </a:lnTo>
                  <a:lnTo>
                    <a:pt x="96" y="672"/>
                  </a:lnTo>
                  <a:lnTo>
                    <a:pt x="90" y="666"/>
                  </a:lnTo>
                  <a:lnTo>
                    <a:pt x="96" y="666"/>
                  </a:lnTo>
                  <a:lnTo>
                    <a:pt x="102" y="642"/>
                  </a:lnTo>
                  <a:lnTo>
                    <a:pt x="108" y="624"/>
                  </a:lnTo>
                  <a:lnTo>
                    <a:pt x="102" y="618"/>
                  </a:lnTo>
                  <a:lnTo>
                    <a:pt x="102" y="588"/>
                  </a:lnTo>
                  <a:lnTo>
                    <a:pt x="102" y="564"/>
                  </a:lnTo>
                  <a:lnTo>
                    <a:pt x="102" y="546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0"/>
                  </a:lnTo>
                  <a:lnTo>
                    <a:pt x="96" y="498"/>
                  </a:lnTo>
                  <a:lnTo>
                    <a:pt x="96" y="486"/>
                  </a:lnTo>
                  <a:lnTo>
                    <a:pt x="96" y="474"/>
                  </a:lnTo>
                  <a:lnTo>
                    <a:pt x="96" y="462"/>
                  </a:lnTo>
                  <a:lnTo>
                    <a:pt x="114" y="450"/>
                  </a:lnTo>
                  <a:lnTo>
                    <a:pt x="126" y="438"/>
                  </a:lnTo>
                  <a:lnTo>
                    <a:pt x="132" y="432"/>
                  </a:lnTo>
                  <a:lnTo>
                    <a:pt x="144" y="426"/>
                  </a:lnTo>
                  <a:lnTo>
                    <a:pt x="144" y="420"/>
                  </a:lnTo>
                  <a:lnTo>
                    <a:pt x="156" y="414"/>
                  </a:lnTo>
                  <a:lnTo>
                    <a:pt x="162" y="408"/>
                  </a:lnTo>
                  <a:lnTo>
                    <a:pt x="180" y="396"/>
                  </a:lnTo>
                  <a:lnTo>
                    <a:pt x="210" y="372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34" y="348"/>
                  </a:lnTo>
                  <a:lnTo>
                    <a:pt x="240" y="348"/>
                  </a:lnTo>
                  <a:lnTo>
                    <a:pt x="246" y="342"/>
                  </a:lnTo>
                  <a:lnTo>
                    <a:pt x="276" y="318"/>
                  </a:lnTo>
                  <a:lnTo>
                    <a:pt x="282" y="312"/>
                  </a:lnTo>
                  <a:lnTo>
                    <a:pt x="288" y="306"/>
                  </a:lnTo>
                  <a:lnTo>
                    <a:pt x="300" y="288"/>
                  </a:lnTo>
                  <a:lnTo>
                    <a:pt x="306" y="276"/>
                  </a:lnTo>
                  <a:lnTo>
                    <a:pt x="324" y="246"/>
                  </a:lnTo>
                  <a:lnTo>
                    <a:pt x="330" y="240"/>
                  </a:lnTo>
                  <a:lnTo>
                    <a:pt x="336" y="234"/>
                  </a:lnTo>
                  <a:lnTo>
                    <a:pt x="342" y="228"/>
                  </a:lnTo>
                  <a:lnTo>
                    <a:pt x="342" y="216"/>
                  </a:lnTo>
                  <a:lnTo>
                    <a:pt x="354" y="204"/>
                  </a:lnTo>
                  <a:lnTo>
                    <a:pt x="360" y="204"/>
                  </a:lnTo>
                  <a:lnTo>
                    <a:pt x="366" y="186"/>
                  </a:lnTo>
                  <a:lnTo>
                    <a:pt x="384" y="162"/>
                  </a:lnTo>
                  <a:lnTo>
                    <a:pt x="390" y="144"/>
                  </a:lnTo>
                  <a:lnTo>
                    <a:pt x="396" y="114"/>
                  </a:lnTo>
                  <a:lnTo>
                    <a:pt x="396" y="102"/>
                  </a:lnTo>
                  <a:lnTo>
                    <a:pt x="402" y="90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08" y="36"/>
                  </a:lnTo>
                  <a:lnTo>
                    <a:pt x="408" y="24"/>
                  </a:lnTo>
                  <a:lnTo>
                    <a:pt x="408" y="6"/>
                  </a:lnTo>
                  <a:lnTo>
                    <a:pt x="420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68" y="0"/>
                  </a:lnTo>
                  <a:lnTo>
                    <a:pt x="480" y="0"/>
                  </a:lnTo>
                  <a:lnTo>
                    <a:pt x="492" y="0"/>
                  </a:lnTo>
                  <a:lnTo>
                    <a:pt x="498" y="0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8" y="18"/>
                  </a:lnTo>
                  <a:lnTo>
                    <a:pt x="534" y="18"/>
                  </a:lnTo>
                  <a:lnTo>
                    <a:pt x="540" y="18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8" y="36"/>
                  </a:lnTo>
                  <a:lnTo>
                    <a:pt x="588" y="54"/>
                  </a:lnTo>
                  <a:lnTo>
                    <a:pt x="594" y="48"/>
                  </a:lnTo>
                  <a:lnTo>
                    <a:pt x="600" y="48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12" y="66"/>
                  </a:lnTo>
                  <a:lnTo>
                    <a:pt x="630" y="72"/>
                  </a:lnTo>
                  <a:lnTo>
                    <a:pt x="642" y="78"/>
                  </a:lnTo>
                  <a:lnTo>
                    <a:pt x="666" y="78"/>
                  </a:lnTo>
                  <a:lnTo>
                    <a:pt x="672" y="72"/>
                  </a:lnTo>
                  <a:lnTo>
                    <a:pt x="690" y="84"/>
                  </a:lnTo>
                  <a:lnTo>
                    <a:pt x="690" y="90"/>
                  </a:lnTo>
                  <a:lnTo>
                    <a:pt x="708" y="96"/>
                  </a:lnTo>
                  <a:lnTo>
                    <a:pt x="708" y="102"/>
                  </a:lnTo>
                  <a:lnTo>
                    <a:pt x="744" y="96"/>
                  </a:lnTo>
                  <a:lnTo>
                    <a:pt x="756" y="78"/>
                  </a:lnTo>
                  <a:lnTo>
                    <a:pt x="756" y="72"/>
                  </a:lnTo>
                  <a:lnTo>
                    <a:pt x="762" y="66"/>
                  </a:lnTo>
                  <a:lnTo>
                    <a:pt x="768" y="60"/>
                  </a:lnTo>
                  <a:lnTo>
                    <a:pt x="774" y="54"/>
                  </a:lnTo>
                  <a:lnTo>
                    <a:pt x="786" y="54"/>
                  </a:lnTo>
                  <a:lnTo>
                    <a:pt x="786" y="60"/>
                  </a:lnTo>
                  <a:lnTo>
                    <a:pt x="786" y="66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92" y="90"/>
                  </a:lnTo>
                  <a:lnTo>
                    <a:pt x="780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26"/>
                  </a:lnTo>
                  <a:lnTo>
                    <a:pt x="768" y="150"/>
                  </a:lnTo>
                  <a:lnTo>
                    <a:pt x="750" y="168"/>
                  </a:lnTo>
                  <a:lnTo>
                    <a:pt x="750" y="174"/>
                  </a:lnTo>
                  <a:lnTo>
                    <a:pt x="762" y="192"/>
                  </a:lnTo>
                  <a:lnTo>
                    <a:pt x="774" y="210"/>
                  </a:lnTo>
                  <a:lnTo>
                    <a:pt x="792" y="228"/>
                  </a:lnTo>
                  <a:lnTo>
                    <a:pt x="804" y="240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40" y="252"/>
                  </a:lnTo>
                  <a:lnTo>
                    <a:pt x="834" y="252"/>
                  </a:lnTo>
                  <a:lnTo>
                    <a:pt x="846" y="252"/>
                  </a:lnTo>
                  <a:lnTo>
                    <a:pt x="852" y="270"/>
                  </a:lnTo>
                  <a:lnTo>
                    <a:pt x="858" y="282"/>
                  </a:lnTo>
                  <a:lnTo>
                    <a:pt x="858" y="288"/>
                  </a:lnTo>
                  <a:lnTo>
                    <a:pt x="864" y="300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58" y="318"/>
                  </a:lnTo>
                  <a:lnTo>
                    <a:pt x="852" y="318"/>
                  </a:lnTo>
                  <a:lnTo>
                    <a:pt x="846" y="324"/>
                  </a:lnTo>
                  <a:lnTo>
                    <a:pt x="846" y="336"/>
                  </a:lnTo>
                  <a:lnTo>
                    <a:pt x="840" y="348"/>
                  </a:lnTo>
                  <a:lnTo>
                    <a:pt x="840" y="360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46" y="402"/>
                  </a:lnTo>
                  <a:lnTo>
                    <a:pt x="858" y="420"/>
                  </a:lnTo>
                  <a:lnTo>
                    <a:pt x="882" y="426"/>
                  </a:lnTo>
                  <a:lnTo>
                    <a:pt x="888" y="444"/>
                  </a:lnTo>
                  <a:lnTo>
                    <a:pt x="900" y="444"/>
                  </a:lnTo>
                  <a:lnTo>
                    <a:pt x="900" y="462"/>
                  </a:lnTo>
                  <a:lnTo>
                    <a:pt x="894" y="474"/>
                  </a:lnTo>
                  <a:lnTo>
                    <a:pt x="888" y="486"/>
                  </a:lnTo>
                  <a:lnTo>
                    <a:pt x="882" y="492"/>
                  </a:lnTo>
                  <a:lnTo>
                    <a:pt x="870" y="504"/>
                  </a:lnTo>
                  <a:lnTo>
                    <a:pt x="852" y="504"/>
                  </a:lnTo>
                  <a:lnTo>
                    <a:pt x="852" y="510"/>
                  </a:lnTo>
                  <a:lnTo>
                    <a:pt x="852" y="516"/>
                  </a:lnTo>
                  <a:lnTo>
                    <a:pt x="846" y="528"/>
                  </a:lnTo>
                  <a:lnTo>
                    <a:pt x="846" y="582"/>
                  </a:lnTo>
                  <a:lnTo>
                    <a:pt x="840" y="582"/>
                  </a:lnTo>
                  <a:lnTo>
                    <a:pt x="834" y="582"/>
                  </a:lnTo>
                  <a:lnTo>
                    <a:pt x="828" y="582"/>
                  </a:lnTo>
                  <a:lnTo>
                    <a:pt x="822" y="582"/>
                  </a:lnTo>
                  <a:lnTo>
                    <a:pt x="810" y="582"/>
                  </a:lnTo>
                  <a:lnTo>
                    <a:pt x="810" y="528"/>
                  </a:lnTo>
                  <a:lnTo>
                    <a:pt x="792" y="528"/>
                  </a:lnTo>
                  <a:lnTo>
                    <a:pt x="792" y="522"/>
                  </a:lnTo>
                  <a:lnTo>
                    <a:pt x="786" y="522"/>
                  </a:lnTo>
                  <a:lnTo>
                    <a:pt x="786" y="516"/>
                  </a:lnTo>
                  <a:lnTo>
                    <a:pt x="780" y="516"/>
                  </a:lnTo>
                  <a:lnTo>
                    <a:pt x="780" y="510"/>
                  </a:lnTo>
                  <a:lnTo>
                    <a:pt x="762" y="510"/>
                  </a:lnTo>
                  <a:lnTo>
                    <a:pt x="756" y="510"/>
                  </a:lnTo>
                  <a:lnTo>
                    <a:pt x="750" y="522"/>
                  </a:lnTo>
                  <a:lnTo>
                    <a:pt x="744" y="534"/>
                  </a:lnTo>
                  <a:lnTo>
                    <a:pt x="732" y="540"/>
                  </a:lnTo>
                  <a:lnTo>
                    <a:pt x="732" y="558"/>
                  </a:lnTo>
                  <a:lnTo>
                    <a:pt x="732" y="564"/>
                  </a:lnTo>
                  <a:lnTo>
                    <a:pt x="732" y="570"/>
                  </a:lnTo>
                  <a:lnTo>
                    <a:pt x="726" y="576"/>
                  </a:lnTo>
                  <a:lnTo>
                    <a:pt x="720" y="576"/>
                  </a:lnTo>
                  <a:lnTo>
                    <a:pt x="714" y="582"/>
                  </a:lnTo>
                  <a:lnTo>
                    <a:pt x="702" y="588"/>
                  </a:lnTo>
                  <a:lnTo>
                    <a:pt x="696" y="594"/>
                  </a:lnTo>
                  <a:lnTo>
                    <a:pt x="690" y="600"/>
                  </a:lnTo>
                  <a:lnTo>
                    <a:pt x="690" y="606"/>
                  </a:lnTo>
                  <a:lnTo>
                    <a:pt x="678" y="606"/>
                  </a:lnTo>
                  <a:lnTo>
                    <a:pt x="678" y="624"/>
                  </a:lnTo>
                  <a:lnTo>
                    <a:pt x="684" y="642"/>
                  </a:lnTo>
                  <a:lnTo>
                    <a:pt x="684" y="660"/>
                  </a:lnTo>
                  <a:lnTo>
                    <a:pt x="690" y="672"/>
                  </a:lnTo>
                  <a:lnTo>
                    <a:pt x="702" y="720"/>
                  </a:lnTo>
                  <a:lnTo>
                    <a:pt x="708" y="750"/>
                  </a:lnTo>
                  <a:lnTo>
                    <a:pt x="708" y="792"/>
                  </a:lnTo>
                  <a:lnTo>
                    <a:pt x="708" y="828"/>
                  </a:lnTo>
                  <a:lnTo>
                    <a:pt x="708" y="852"/>
                  </a:lnTo>
                  <a:lnTo>
                    <a:pt x="696" y="894"/>
                  </a:lnTo>
                  <a:lnTo>
                    <a:pt x="702" y="900"/>
                  </a:lnTo>
                  <a:lnTo>
                    <a:pt x="708" y="924"/>
                  </a:lnTo>
                  <a:lnTo>
                    <a:pt x="684" y="936"/>
                  </a:lnTo>
                  <a:lnTo>
                    <a:pt x="660" y="954"/>
                  </a:lnTo>
                  <a:lnTo>
                    <a:pt x="618" y="984"/>
                  </a:lnTo>
                  <a:lnTo>
                    <a:pt x="618" y="990"/>
                  </a:lnTo>
                  <a:lnTo>
                    <a:pt x="612" y="996"/>
                  </a:lnTo>
                  <a:lnTo>
                    <a:pt x="606" y="1002"/>
                  </a:lnTo>
                  <a:lnTo>
                    <a:pt x="618" y="1008"/>
                  </a:lnTo>
                  <a:lnTo>
                    <a:pt x="618" y="1014"/>
                  </a:lnTo>
                  <a:lnTo>
                    <a:pt x="624" y="1026"/>
                  </a:lnTo>
                  <a:lnTo>
                    <a:pt x="630" y="1026"/>
                  </a:lnTo>
                  <a:lnTo>
                    <a:pt x="636" y="1032"/>
                  </a:lnTo>
                  <a:lnTo>
                    <a:pt x="642" y="1032"/>
                  </a:lnTo>
                  <a:lnTo>
                    <a:pt x="642" y="1038"/>
                  </a:lnTo>
                  <a:lnTo>
                    <a:pt x="648" y="1044"/>
                  </a:lnTo>
                  <a:lnTo>
                    <a:pt x="666" y="1050"/>
                  </a:lnTo>
                  <a:lnTo>
                    <a:pt x="678" y="1038"/>
                  </a:lnTo>
                  <a:lnTo>
                    <a:pt x="684" y="1038"/>
                  </a:lnTo>
                  <a:lnTo>
                    <a:pt x="684" y="1032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20"/>
                  </a:lnTo>
                  <a:lnTo>
                    <a:pt x="708" y="1014"/>
                  </a:lnTo>
                  <a:lnTo>
                    <a:pt x="720" y="1020"/>
                  </a:lnTo>
                  <a:lnTo>
                    <a:pt x="720" y="1014"/>
                  </a:lnTo>
                  <a:lnTo>
                    <a:pt x="726" y="1008"/>
                  </a:lnTo>
                  <a:lnTo>
                    <a:pt x="732" y="1008"/>
                  </a:lnTo>
                  <a:lnTo>
                    <a:pt x="738" y="1008"/>
                  </a:lnTo>
                  <a:lnTo>
                    <a:pt x="744" y="1002"/>
                  </a:lnTo>
                  <a:lnTo>
                    <a:pt x="744" y="996"/>
                  </a:lnTo>
                  <a:lnTo>
                    <a:pt x="750" y="996"/>
                  </a:lnTo>
                  <a:lnTo>
                    <a:pt x="756" y="1002"/>
                  </a:lnTo>
                  <a:lnTo>
                    <a:pt x="762" y="1002"/>
                  </a:lnTo>
                  <a:lnTo>
                    <a:pt x="768" y="996"/>
                  </a:lnTo>
                  <a:lnTo>
                    <a:pt x="780" y="996"/>
                  </a:lnTo>
                  <a:lnTo>
                    <a:pt x="786" y="996"/>
                  </a:lnTo>
                  <a:lnTo>
                    <a:pt x="816" y="990"/>
                  </a:lnTo>
                  <a:lnTo>
                    <a:pt x="828" y="990"/>
                  </a:lnTo>
                  <a:lnTo>
                    <a:pt x="834" y="990"/>
                  </a:lnTo>
                  <a:lnTo>
                    <a:pt x="840" y="984"/>
                  </a:lnTo>
                  <a:lnTo>
                    <a:pt x="852" y="978"/>
                  </a:lnTo>
                  <a:lnTo>
                    <a:pt x="852" y="972"/>
                  </a:lnTo>
                  <a:lnTo>
                    <a:pt x="858" y="972"/>
                  </a:lnTo>
                  <a:lnTo>
                    <a:pt x="864" y="966"/>
                  </a:lnTo>
                  <a:lnTo>
                    <a:pt x="870" y="966"/>
                  </a:lnTo>
                  <a:lnTo>
                    <a:pt x="876" y="966"/>
                  </a:lnTo>
                  <a:lnTo>
                    <a:pt x="882" y="960"/>
                  </a:lnTo>
                  <a:lnTo>
                    <a:pt x="888" y="960"/>
                  </a:lnTo>
                  <a:lnTo>
                    <a:pt x="894" y="960"/>
                  </a:lnTo>
                  <a:lnTo>
                    <a:pt x="894" y="966"/>
                  </a:lnTo>
                  <a:lnTo>
                    <a:pt x="894" y="978"/>
                  </a:lnTo>
                  <a:lnTo>
                    <a:pt x="894" y="984"/>
                  </a:lnTo>
                  <a:lnTo>
                    <a:pt x="900" y="984"/>
                  </a:lnTo>
                  <a:lnTo>
                    <a:pt x="906" y="978"/>
                  </a:lnTo>
                  <a:lnTo>
                    <a:pt x="912" y="972"/>
                  </a:lnTo>
                  <a:lnTo>
                    <a:pt x="918" y="978"/>
                  </a:lnTo>
                  <a:lnTo>
                    <a:pt x="924" y="978"/>
                  </a:lnTo>
                  <a:lnTo>
                    <a:pt x="924" y="972"/>
                  </a:lnTo>
                  <a:lnTo>
                    <a:pt x="924" y="966"/>
                  </a:lnTo>
                  <a:lnTo>
                    <a:pt x="930" y="966"/>
                  </a:lnTo>
                  <a:lnTo>
                    <a:pt x="948" y="966"/>
                  </a:lnTo>
                  <a:lnTo>
                    <a:pt x="954" y="966"/>
                  </a:lnTo>
                  <a:lnTo>
                    <a:pt x="954" y="960"/>
                  </a:lnTo>
                  <a:lnTo>
                    <a:pt x="960" y="960"/>
                  </a:lnTo>
                  <a:lnTo>
                    <a:pt x="966" y="960"/>
                  </a:lnTo>
                  <a:lnTo>
                    <a:pt x="966" y="966"/>
                  </a:lnTo>
                  <a:lnTo>
                    <a:pt x="978" y="972"/>
                  </a:lnTo>
                  <a:lnTo>
                    <a:pt x="978" y="978"/>
                  </a:lnTo>
                  <a:lnTo>
                    <a:pt x="978" y="984"/>
                  </a:lnTo>
                  <a:lnTo>
                    <a:pt x="984" y="978"/>
                  </a:lnTo>
                  <a:lnTo>
                    <a:pt x="990" y="978"/>
                  </a:lnTo>
                  <a:lnTo>
                    <a:pt x="996" y="984"/>
                  </a:lnTo>
                  <a:lnTo>
                    <a:pt x="1002" y="990"/>
                  </a:lnTo>
                  <a:lnTo>
                    <a:pt x="1008" y="972"/>
                  </a:lnTo>
                  <a:lnTo>
                    <a:pt x="1026" y="972"/>
                  </a:lnTo>
                  <a:lnTo>
                    <a:pt x="1032" y="972"/>
                  </a:lnTo>
                  <a:lnTo>
                    <a:pt x="1038" y="972"/>
                  </a:lnTo>
                  <a:lnTo>
                    <a:pt x="1050" y="972"/>
                  </a:lnTo>
                  <a:lnTo>
                    <a:pt x="1056" y="972"/>
                  </a:lnTo>
                  <a:lnTo>
                    <a:pt x="1062" y="966"/>
                  </a:lnTo>
                  <a:lnTo>
                    <a:pt x="1074" y="966"/>
                  </a:lnTo>
                  <a:lnTo>
                    <a:pt x="1074" y="960"/>
                  </a:lnTo>
                  <a:lnTo>
                    <a:pt x="1080" y="954"/>
                  </a:lnTo>
                  <a:lnTo>
                    <a:pt x="1080" y="948"/>
                  </a:lnTo>
                  <a:lnTo>
                    <a:pt x="1074" y="948"/>
                  </a:lnTo>
                  <a:lnTo>
                    <a:pt x="1068" y="948"/>
                  </a:lnTo>
                  <a:lnTo>
                    <a:pt x="1062" y="942"/>
                  </a:lnTo>
                  <a:lnTo>
                    <a:pt x="1068" y="936"/>
                  </a:lnTo>
                  <a:lnTo>
                    <a:pt x="1074" y="936"/>
                  </a:lnTo>
                  <a:lnTo>
                    <a:pt x="1080" y="936"/>
                  </a:lnTo>
                  <a:lnTo>
                    <a:pt x="1086" y="942"/>
                  </a:lnTo>
                  <a:lnTo>
                    <a:pt x="1092" y="942"/>
                  </a:lnTo>
                  <a:lnTo>
                    <a:pt x="1098" y="948"/>
                  </a:lnTo>
                  <a:lnTo>
                    <a:pt x="1104" y="954"/>
                  </a:lnTo>
                  <a:lnTo>
                    <a:pt x="1110" y="954"/>
                  </a:lnTo>
                  <a:lnTo>
                    <a:pt x="1116" y="948"/>
                  </a:lnTo>
                  <a:lnTo>
                    <a:pt x="1122" y="942"/>
                  </a:lnTo>
                  <a:lnTo>
                    <a:pt x="1128" y="942"/>
                  </a:lnTo>
                  <a:lnTo>
                    <a:pt x="1134" y="942"/>
                  </a:lnTo>
                  <a:lnTo>
                    <a:pt x="1140" y="948"/>
                  </a:lnTo>
                  <a:lnTo>
                    <a:pt x="1146" y="942"/>
                  </a:lnTo>
                  <a:lnTo>
                    <a:pt x="1152" y="942"/>
                  </a:lnTo>
                  <a:lnTo>
                    <a:pt x="1152" y="930"/>
                  </a:lnTo>
                  <a:lnTo>
                    <a:pt x="1164" y="936"/>
                  </a:lnTo>
                  <a:lnTo>
                    <a:pt x="1158" y="942"/>
                  </a:lnTo>
                  <a:lnTo>
                    <a:pt x="1158" y="948"/>
                  </a:lnTo>
                  <a:lnTo>
                    <a:pt x="1146" y="954"/>
                  </a:lnTo>
                  <a:lnTo>
                    <a:pt x="1152" y="954"/>
                  </a:lnTo>
                  <a:lnTo>
                    <a:pt x="1158" y="954"/>
                  </a:lnTo>
                  <a:lnTo>
                    <a:pt x="1158" y="948"/>
                  </a:lnTo>
                  <a:lnTo>
                    <a:pt x="1164" y="948"/>
                  </a:lnTo>
                  <a:lnTo>
                    <a:pt x="1170" y="948"/>
                  </a:lnTo>
                  <a:lnTo>
                    <a:pt x="1176" y="954"/>
                  </a:lnTo>
                  <a:lnTo>
                    <a:pt x="1176" y="966"/>
                  </a:lnTo>
                  <a:lnTo>
                    <a:pt x="1182" y="972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88" y="984"/>
                  </a:lnTo>
                  <a:lnTo>
                    <a:pt x="1194" y="984"/>
                  </a:lnTo>
                  <a:lnTo>
                    <a:pt x="1200" y="984"/>
                  </a:lnTo>
                  <a:lnTo>
                    <a:pt x="1212" y="984"/>
                  </a:lnTo>
                  <a:lnTo>
                    <a:pt x="1218" y="990"/>
                  </a:lnTo>
                  <a:lnTo>
                    <a:pt x="1224" y="990"/>
                  </a:lnTo>
                  <a:lnTo>
                    <a:pt x="1224" y="984"/>
                  </a:lnTo>
                  <a:lnTo>
                    <a:pt x="1230" y="990"/>
                  </a:lnTo>
                  <a:lnTo>
                    <a:pt x="1236" y="984"/>
                  </a:lnTo>
                  <a:lnTo>
                    <a:pt x="1242" y="984"/>
                  </a:lnTo>
                  <a:lnTo>
                    <a:pt x="1248" y="990"/>
                  </a:lnTo>
                  <a:lnTo>
                    <a:pt x="1254" y="990"/>
                  </a:lnTo>
                  <a:lnTo>
                    <a:pt x="1254" y="996"/>
                  </a:lnTo>
                  <a:lnTo>
                    <a:pt x="1254" y="1002"/>
                  </a:lnTo>
                  <a:lnTo>
                    <a:pt x="1254" y="1008"/>
                  </a:lnTo>
                  <a:lnTo>
                    <a:pt x="1260" y="1014"/>
                  </a:lnTo>
                  <a:lnTo>
                    <a:pt x="1266" y="1014"/>
                  </a:lnTo>
                  <a:lnTo>
                    <a:pt x="1272" y="1014"/>
                  </a:lnTo>
                  <a:lnTo>
                    <a:pt x="1278" y="1020"/>
                  </a:lnTo>
                  <a:lnTo>
                    <a:pt x="1284" y="1020"/>
                  </a:lnTo>
                  <a:lnTo>
                    <a:pt x="1290" y="1014"/>
                  </a:lnTo>
                  <a:lnTo>
                    <a:pt x="1290" y="1008"/>
                  </a:lnTo>
                  <a:lnTo>
                    <a:pt x="1296" y="1008"/>
                  </a:lnTo>
                  <a:lnTo>
                    <a:pt x="1302" y="1014"/>
                  </a:lnTo>
                  <a:lnTo>
                    <a:pt x="1308" y="1014"/>
                  </a:lnTo>
                  <a:lnTo>
                    <a:pt x="1314" y="1008"/>
                  </a:lnTo>
                  <a:lnTo>
                    <a:pt x="1320" y="1008"/>
                  </a:lnTo>
                  <a:lnTo>
                    <a:pt x="1320" y="1002"/>
                  </a:lnTo>
                  <a:lnTo>
                    <a:pt x="1320" y="996"/>
                  </a:lnTo>
                  <a:lnTo>
                    <a:pt x="1332" y="1002"/>
                  </a:lnTo>
                  <a:lnTo>
                    <a:pt x="1332" y="1008"/>
                  </a:lnTo>
                  <a:lnTo>
                    <a:pt x="1326" y="1014"/>
                  </a:lnTo>
                  <a:lnTo>
                    <a:pt x="1332" y="1014"/>
                  </a:lnTo>
                  <a:lnTo>
                    <a:pt x="1338" y="1014"/>
                  </a:lnTo>
                  <a:lnTo>
                    <a:pt x="1338" y="1008"/>
                  </a:lnTo>
                  <a:lnTo>
                    <a:pt x="1344" y="1008"/>
                  </a:lnTo>
                  <a:lnTo>
                    <a:pt x="1350" y="1008"/>
                  </a:lnTo>
                  <a:lnTo>
                    <a:pt x="1356" y="1014"/>
                  </a:lnTo>
                  <a:lnTo>
                    <a:pt x="1356" y="1008"/>
                  </a:lnTo>
                  <a:lnTo>
                    <a:pt x="1362" y="1014"/>
                  </a:lnTo>
                  <a:lnTo>
                    <a:pt x="1392" y="1014"/>
                  </a:lnTo>
                  <a:lnTo>
                    <a:pt x="1398" y="1014"/>
                  </a:lnTo>
                  <a:lnTo>
                    <a:pt x="1404" y="1008"/>
                  </a:lnTo>
                  <a:lnTo>
                    <a:pt x="1404" y="1014"/>
                  </a:lnTo>
                  <a:lnTo>
                    <a:pt x="1410" y="1008"/>
                  </a:lnTo>
                  <a:lnTo>
                    <a:pt x="1416" y="1008"/>
                  </a:lnTo>
                  <a:lnTo>
                    <a:pt x="1422" y="1002"/>
                  </a:lnTo>
                  <a:lnTo>
                    <a:pt x="1428" y="1002"/>
                  </a:lnTo>
                  <a:lnTo>
                    <a:pt x="1428" y="996"/>
                  </a:lnTo>
                  <a:lnTo>
                    <a:pt x="1428" y="990"/>
                  </a:lnTo>
                  <a:lnTo>
                    <a:pt x="1440" y="1002"/>
                  </a:lnTo>
                  <a:lnTo>
                    <a:pt x="1446" y="1002"/>
                  </a:lnTo>
                  <a:lnTo>
                    <a:pt x="1452" y="1002"/>
                  </a:lnTo>
                  <a:lnTo>
                    <a:pt x="1446" y="996"/>
                  </a:lnTo>
                  <a:lnTo>
                    <a:pt x="1452" y="996"/>
                  </a:lnTo>
                  <a:lnTo>
                    <a:pt x="1458" y="996"/>
                  </a:lnTo>
                  <a:lnTo>
                    <a:pt x="1464" y="996"/>
                  </a:lnTo>
                  <a:lnTo>
                    <a:pt x="1464" y="1002"/>
                  </a:lnTo>
                  <a:lnTo>
                    <a:pt x="1476" y="1014"/>
                  </a:lnTo>
                  <a:lnTo>
                    <a:pt x="1476" y="1008"/>
                  </a:lnTo>
                  <a:lnTo>
                    <a:pt x="1482" y="1008"/>
                  </a:lnTo>
                  <a:lnTo>
                    <a:pt x="1488" y="1020"/>
                  </a:lnTo>
                  <a:lnTo>
                    <a:pt x="1494" y="1020"/>
                  </a:lnTo>
                  <a:lnTo>
                    <a:pt x="1500" y="1014"/>
                  </a:lnTo>
                  <a:lnTo>
                    <a:pt x="1500" y="1020"/>
                  </a:lnTo>
                  <a:lnTo>
                    <a:pt x="1506" y="1026"/>
                  </a:lnTo>
                  <a:lnTo>
                    <a:pt x="1512" y="1032"/>
                  </a:lnTo>
                  <a:lnTo>
                    <a:pt x="1518" y="1032"/>
                  </a:lnTo>
                  <a:lnTo>
                    <a:pt x="1518" y="1038"/>
                  </a:lnTo>
                  <a:lnTo>
                    <a:pt x="1518" y="1044"/>
                  </a:lnTo>
                  <a:lnTo>
                    <a:pt x="1524" y="1044"/>
                  </a:lnTo>
                  <a:lnTo>
                    <a:pt x="1524" y="1050"/>
                  </a:lnTo>
                  <a:lnTo>
                    <a:pt x="1530" y="1056"/>
                  </a:lnTo>
                  <a:lnTo>
                    <a:pt x="1548" y="1062"/>
                  </a:lnTo>
                  <a:lnTo>
                    <a:pt x="1560" y="1074"/>
                  </a:lnTo>
                  <a:lnTo>
                    <a:pt x="1560" y="1080"/>
                  </a:lnTo>
                  <a:lnTo>
                    <a:pt x="1560" y="1086"/>
                  </a:lnTo>
                  <a:lnTo>
                    <a:pt x="1566" y="1086"/>
                  </a:lnTo>
                  <a:lnTo>
                    <a:pt x="1572" y="1098"/>
                  </a:lnTo>
                  <a:lnTo>
                    <a:pt x="1572" y="1104"/>
                  </a:lnTo>
                  <a:lnTo>
                    <a:pt x="1584" y="1110"/>
                  </a:lnTo>
                  <a:lnTo>
                    <a:pt x="1590" y="1116"/>
                  </a:lnTo>
                  <a:lnTo>
                    <a:pt x="1596" y="1116"/>
                  </a:lnTo>
                  <a:lnTo>
                    <a:pt x="1608" y="1122"/>
                  </a:lnTo>
                  <a:lnTo>
                    <a:pt x="1620" y="1140"/>
                  </a:lnTo>
                  <a:lnTo>
                    <a:pt x="1626" y="1158"/>
                  </a:lnTo>
                  <a:lnTo>
                    <a:pt x="1638" y="1200"/>
                  </a:lnTo>
                  <a:lnTo>
                    <a:pt x="1638" y="1218"/>
                  </a:lnTo>
                  <a:lnTo>
                    <a:pt x="1620" y="1230"/>
                  </a:lnTo>
                  <a:lnTo>
                    <a:pt x="1554" y="1230"/>
                  </a:lnTo>
                  <a:lnTo>
                    <a:pt x="1560" y="1248"/>
                  </a:lnTo>
                  <a:lnTo>
                    <a:pt x="1584" y="1260"/>
                  </a:lnTo>
                  <a:lnTo>
                    <a:pt x="1584" y="1266"/>
                  </a:lnTo>
                  <a:lnTo>
                    <a:pt x="1578" y="1272"/>
                  </a:lnTo>
                  <a:lnTo>
                    <a:pt x="1572" y="1272"/>
                  </a:lnTo>
                  <a:lnTo>
                    <a:pt x="1566" y="1278"/>
                  </a:lnTo>
                  <a:lnTo>
                    <a:pt x="1566" y="1284"/>
                  </a:lnTo>
                  <a:lnTo>
                    <a:pt x="1560" y="1290"/>
                  </a:lnTo>
                  <a:lnTo>
                    <a:pt x="1554" y="1290"/>
                  </a:lnTo>
                  <a:lnTo>
                    <a:pt x="1554" y="1296"/>
                  </a:lnTo>
                  <a:lnTo>
                    <a:pt x="1554" y="1302"/>
                  </a:lnTo>
                  <a:lnTo>
                    <a:pt x="1560" y="1332"/>
                  </a:lnTo>
                  <a:lnTo>
                    <a:pt x="1566" y="1356"/>
                  </a:lnTo>
                  <a:lnTo>
                    <a:pt x="1572" y="1356"/>
                  </a:lnTo>
                  <a:lnTo>
                    <a:pt x="1572" y="1362"/>
                  </a:lnTo>
                  <a:lnTo>
                    <a:pt x="1578" y="1362"/>
                  </a:lnTo>
                  <a:lnTo>
                    <a:pt x="1560" y="1374"/>
                  </a:lnTo>
                  <a:lnTo>
                    <a:pt x="1560" y="1380"/>
                  </a:lnTo>
                  <a:lnTo>
                    <a:pt x="1548" y="1380"/>
                  </a:lnTo>
                  <a:lnTo>
                    <a:pt x="1548" y="1386"/>
                  </a:lnTo>
                  <a:lnTo>
                    <a:pt x="1548" y="1392"/>
                  </a:lnTo>
                  <a:lnTo>
                    <a:pt x="1542" y="1410"/>
                  </a:lnTo>
                  <a:lnTo>
                    <a:pt x="1536" y="1422"/>
                  </a:lnTo>
                  <a:lnTo>
                    <a:pt x="1536" y="1428"/>
                  </a:lnTo>
                  <a:lnTo>
                    <a:pt x="1530" y="1440"/>
                  </a:lnTo>
                  <a:lnTo>
                    <a:pt x="1524" y="1434"/>
                  </a:lnTo>
                  <a:lnTo>
                    <a:pt x="1524" y="1428"/>
                  </a:lnTo>
                  <a:lnTo>
                    <a:pt x="1524" y="1422"/>
                  </a:lnTo>
                  <a:lnTo>
                    <a:pt x="1512" y="1410"/>
                  </a:lnTo>
                  <a:lnTo>
                    <a:pt x="1506" y="1404"/>
                  </a:lnTo>
                  <a:lnTo>
                    <a:pt x="1506" y="1398"/>
                  </a:lnTo>
                  <a:lnTo>
                    <a:pt x="1494" y="1392"/>
                  </a:lnTo>
                  <a:lnTo>
                    <a:pt x="1476" y="1404"/>
                  </a:lnTo>
                  <a:lnTo>
                    <a:pt x="1464" y="1416"/>
                  </a:lnTo>
                  <a:lnTo>
                    <a:pt x="1458" y="1428"/>
                  </a:lnTo>
                  <a:lnTo>
                    <a:pt x="1446" y="1434"/>
                  </a:lnTo>
                  <a:lnTo>
                    <a:pt x="1410" y="1440"/>
                  </a:lnTo>
                  <a:lnTo>
                    <a:pt x="1398" y="1440"/>
                  </a:lnTo>
                  <a:lnTo>
                    <a:pt x="1398" y="1446"/>
                  </a:lnTo>
                  <a:lnTo>
                    <a:pt x="1386" y="1446"/>
                  </a:lnTo>
                  <a:lnTo>
                    <a:pt x="1380" y="1440"/>
                  </a:lnTo>
                  <a:lnTo>
                    <a:pt x="1368" y="1440"/>
                  </a:lnTo>
                  <a:lnTo>
                    <a:pt x="1368" y="1446"/>
                  </a:lnTo>
                  <a:lnTo>
                    <a:pt x="1356" y="1446"/>
                  </a:lnTo>
                  <a:lnTo>
                    <a:pt x="1350" y="1452"/>
                  </a:lnTo>
                  <a:lnTo>
                    <a:pt x="1338" y="1452"/>
                  </a:lnTo>
                  <a:lnTo>
                    <a:pt x="1338" y="1458"/>
                  </a:lnTo>
                  <a:lnTo>
                    <a:pt x="1332" y="1458"/>
                  </a:lnTo>
                  <a:lnTo>
                    <a:pt x="1332" y="1464"/>
                  </a:lnTo>
                  <a:lnTo>
                    <a:pt x="1332" y="1470"/>
                  </a:lnTo>
                  <a:lnTo>
                    <a:pt x="1326" y="1470"/>
                  </a:lnTo>
                  <a:lnTo>
                    <a:pt x="1320" y="1470"/>
                  </a:lnTo>
                  <a:lnTo>
                    <a:pt x="1314" y="1470"/>
                  </a:lnTo>
                  <a:lnTo>
                    <a:pt x="1314" y="1464"/>
                  </a:lnTo>
                  <a:lnTo>
                    <a:pt x="1308" y="1464"/>
                  </a:lnTo>
                  <a:lnTo>
                    <a:pt x="1308" y="1452"/>
                  </a:lnTo>
                  <a:lnTo>
                    <a:pt x="1284" y="1458"/>
                  </a:lnTo>
                  <a:lnTo>
                    <a:pt x="1272" y="1458"/>
                  </a:lnTo>
                  <a:lnTo>
                    <a:pt x="1272" y="1464"/>
                  </a:lnTo>
                  <a:lnTo>
                    <a:pt x="1260" y="1464"/>
                  </a:lnTo>
                  <a:lnTo>
                    <a:pt x="1254" y="1464"/>
                  </a:lnTo>
                  <a:lnTo>
                    <a:pt x="1242" y="1422"/>
                  </a:lnTo>
                  <a:lnTo>
                    <a:pt x="1242" y="1416"/>
                  </a:lnTo>
                  <a:lnTo>
                    <a:pt x="1242" y="1410"/>
                  </a:lnTo>
                  <a:lnTo>
                    <a:pt x="1248" y="1410"/>
                  </a:lnTo>
                  <a:lnTo>
                    <a:pt x="1242" y="1410"/>
                  </a:lnTo>
                  <a:lnTo>
                    <a:pt x="1242" y="1404"/>
                  </a:lnTo>
                  <a:lnTo>
                    <a:pt x="1242" y="1398"/>
                  </a:lnTo>
                  <a:lnTo>
                    <a:pt x="1248" y="1392"/>
                  </a:lnTo>
                  <a:lnTo>
                    <a:pt x="1248" y="1386"/>
                  </a:lnTo>
                  <a:lnTo>
                    <a:pt x="1242" y="1380"/>
                  </a:lnTo>
                  <a:lnTo>
                    <a:pt x="1248" y="1380"/>
                  </a:lnTo>
                  <a:lnTo>
                    <a:pt x="1248" y="1374"/>
                  </a:lnTo>
                  <a:lnTo>
                    <a:pt x="1248" y="1368"/>
                  </a:lnTo>
                  <a:lnTo>
                    <a:pt x="1254" y="1368"/>
                  </a:lnTo>
                  <a:lnTo>
                    <a:pt x="1254" y="1362"/>
                  </a:lnTo>
                  <a:lnTo>
                    <a:pt x="1248" y="1356"/>
                  </a:lnTo>
                  <a:lnTo>
                    <a:pt x="1254" y="1356"/>
                  </a:lnTo>
                  <a:lnTo>
                    <a:pt x="1254" y="1344"/>
                  </a:lnTo>
                  <a:lnTo>
                    <a:pt x="1242" y="1338"/>
                  </a:lnTo>
                  <a:lnTo>
                    <a:pt x="1242" y="1326"/>
                  </a:lnTo>
                  <a:lnTo>
                    <a:pt x="1230" y="1326"/>
                  </a:lnTo>
                  <a:lnTo>
                    <a:pt x="1230" y="1314"/>
                  </a:lnTo>
                  <a:lnTo>
                    <a:pt x="1218" y="1314"/>
                  </a:lnTo>
                  <a:lnTo>
                    <a:pt x="1200" y="1272"/>
                  </a:lnTo>
                  <a:lnTo>
                    <a:pt x="1194" y="1242"/>
                  </a:lnTo>
                  <a:lnTo>
                    <a:pt x="1194" y="1206"/>
                  </a:lnTo>
                  <a:lnTo>
                    <a:pt x="1182" y="1200"/>
                  </a:lnTo>
                  <a:lnTo>
                    <a:pt x="1164" y="1206"/>
                  </a:lnTo>
                  <a:lnTo>
                    <a:pt x="1146" y="1212"/>
                  </a:lnTo>
                  <a:lnTo>
                    <a:pt x="1146" y="1218"/>
                  </a:lnTo>
                  <a:lnTo>
                    <a:pt x="1134" y="1224"/>
                  </a:lnTo>
                  <a:lnTo>
                    <a:pt x="1140" y="1260"/>
                  </a:lnTo>
                  <a:lnTo>
                    <a:pt x="1134" y="1266"/>
                  </a:lnTo>
                  <a:lnTo>
                    <a:pt x="1122" y="1266"/>
                  </a:lnTo>
                  <a:lnTo>
                    <a:pt x="1110" y="1236"/>
                  </a:lnTo>
                  <a:lnTo>
                    <a:pt x="1110" y="1224"/>
                  </a:lnTo>
                  <a:lnTo>
                    <a:pt x="1086" y="1224"/>
                  </a:lnTo>
                  <a:lnTo>
                    <a:pt x="1086" y="1212"/>
                  </a:lnTo>
                  <a:lnTo>
                    <a:pt x="1074" y="1212"/>
                  </a:lnTo>
                  <a:lnTo>
                    <a:pt x="1050" y="1212"/>
                  </a:lnTo>
                  <a:lnTo>
                    <a:pt x="1056" y="1218"/>
                  </a:lnTo>
                  <a:lnTo>
                    <a:pt x="1050" y="1272"/>
                  </a:lnTo>
                  <a:lnTo>
                    <a:pt x="1044" y="1272"/>
                  </a:lnTo>
                  <a:lnTo>
                    <a:pt x="1038" y="1284"/>
                  </a:lnTo>
                  <a:lnTo>
                    <a:pt x="1032" y="1302"/>
                  </a:lnTo>
                  <a:lnTo>
                    <a:pt x="1014" y="1302"/>
                  </a:lnTo>
                  <a:lnTo>
                    <a:pt x="1020" y="1284"/>
                  </a:lnTo>
                  <a:lnTo>
                    <a:pt x="1026" y="1278"/>
                  </a:lnTo>
                  <a:lnTo>
                    <a:pt x="1026" y="1266"/>
                  </a:lnTo>
                  <a:lnTo>
                    <a:pt x="1014" y="1260"/>
                  </a:lnTo>
                  <a:lnTo>
                    <a:pt x="1014" y="1272"/>
                  </a:lnTo>
                  <a:lnTo>
                    <a:pt x="990" y="1278"/>
                  </a:lnTo>
                  <a:lnTo>
                    <a:pt x="990" y="1254"/>
                  </a:lnTo>
                  <a:lnTo>
                    <a:pt x="984" y="1254"/>
                  </a:lnTo>
                  <a:lnTo>
                    <a:pt x="978" y="1242"/>
                  </a:lnTo>
                  <a:lnTo>
                    <a:pt x="972" y="1236"/>
                  </a:lnTo>
                  <a:lnTo>
                    <a:pt x="960" y="1206"/>
                  </a:lnTo>
                  <a:lnTo>
                    <a:pt x="942" y="1206"/>
                  </a:lnTo>
                  <a:lnTo>
                    <a:pt x="936" y="1200"/>
                  </a:lnTo>
                  <a:lnTo>
                    <a:pt x="906" y="1212"/>
                  </a:lnTo>
                  <a:lnTo>
                    <a:pt x="888" y="1230"/>
                  </a:lnTo>
                  <a:lnTo>
                    <a:pt x="876" y="1230"/>
                  </a:lnTo>
                  <a:lnTo>
                    <a:pt x="864" y="1236"/>
                  </a:lnTo>
                  <a:lnTo>
                    <a:pt x="858" y="1236"/>
                  </a:lnTo>
                  <a:lnTo>
                    <a:pt x="852" y="1254"/>
                  </a:lnTo>
                  <a:lnTo>
                    <a:pt x="858" y="1254"/>
                  </a:lnTo>
                  <a:lnTo>
                    <a:pt x="840" y="1266"/>
                  </a:lnTo>
                  <a:lnTo>
                    <a:pt x="828" y="1272"/>
                  </a:lnTo>
                  <a:lnTo>
                    <a:pt x="828" y="1284"/>
                  </a:lnTo>
                  <a:lnTo>
                    <a:pt x="822" y="1284"/>
                  </a:lnTo>
                  <a:lnTo>
                    <a:pt x="804" y="1296"/>
                  </a:lnTo>
                  <a:lnTo>
                    <a:pt x="804" y="1308"/>
                  </a:lnTo>
                  <a:lnTo>
                    <a:pt x="816" y="1320"/>
                  </a:lnTo>
                  <a:lnTo>
                    <a:pt x="828" y="1320"/>
                  </a:lnTo>
                  <a:lnTo>
                    <a:pt x="822" y="1338"/>
                  </a:lnTo>
                  <a:lnTo>
                    <a:pt x="852" y="1344"/>
                  </a:lnTo>
                  <a:lnTo>
                    <a:pt x="864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94" y="1356"/>
                  </a:lnTo>
                  <a:lnTo>
                    <a:pt x="912" y="1368"/>
                  </a:lnTo>
                  <a:lnTo>
                    <a:pt x="918" y="1380"/>
                  </a:lnTo>
                  <a:lnTo>
                    <a:pt x="936" y="1380"/>
                  </a:lnTo>
                  <a:lnTo>
                    <a:pt x="960" y="1386"/>
                  </a:lnTo>
                  <a:lnTo>
                    <a:pt x="990" y="1386"/>
                  </a:lnTo>
                  <a:lnTo>
                    <a:pt x="990" y="1392"/>
                  </a:lnTo>
                  <a:lnTo>
                    <a:pt x="1020" y="1398"/>
                  </a:lnTo>
                  <a:lnTo>
                    <a:pt x="1014" y="1404"/>
                  </a:lnTo>
                  <a:lnTo>
                    <a:pt x="1008" y="1404"/>
                  </a:lnTo>
                  <a:lnTo>
                    <a:pt x="1014" y="1440"/>
                  </a:lnTo>
                  <a:lnTo>
                    <a:pt x="1020" y="1458"/>
                  </a:lnTo>
                  <a:lnTo>
                    <a:pt x="1026" y="1476"/>
                  </a:lnTo>
                  <a:lnTo>
                    <a:pt x="1020" y="1476"/>
                  </a:lnTo>
                  <a:lnTo>
                    <a:pt x="1014" y="1476"/>
                  </a:lnTo>
                  <a:lnTo>
                    <a:pt x="1014" y="1482"/>
                  </a:lnTo>
                  <a:lnTo>
                    <a:pt x="1014" y="1488"/>
                  </a:lnTo>
                  <a:lnTo>
                    <a:pt x="1002" y="1488"/>
                  </a:lnTo>
                  <a:lnTo>
                    <a:pt x="1002" y="1494"/>
                  </a:lnTo>
                  <a:lnTo>
                    <a:pt x="996" y="1494"/>
                  </a:lnTo>
                  <a:lnTo>
                    <a:pt x="996" y="1518"/>
                  </a:lnTo>
                  <a:lnTo>
                    <a:pt x="1002" y="1524"/>
                  </a:lnTo>
                  <a:lnTo>
                    <a:pt x="1020" y="1530"/>
                  </a:lnTo>
                  <a:lnTo>
                    <a:pt x="1026" y="1542"/>
                  </a:lnTo>
                  <a:lnTo>
                    <a:pt x="1032" y="1566"/>
                  </a:lnTo>
                  <a:lnTo>
                    <a:pt x="1038" y="1578"/>
                  </a:lnTo>
                  <a:lnTo>
                    <a:pt x="1032" y="1584"/>
                  </a:lnTo>
                  <a:lnTo>
                    <a:pt x="1020" y="1584"/>
                  </a:lnTo>
                  <a:lnTo>
                    <a:pt x="1014" y="1584"/>
                  </a:lnTo>
                  <a:lnTo>
                    <a:pt x="1008" y="1596"/>
                  </a:lnTo>
                  <a:lnTo>
                    <a:pt x="990" y="1584"/>
                  </a:lnTo>
                  <a:lnTo>
                    <a:pt x="984" y="1602"/>
                  </a:lnTo>
                  <a:lnTo>
                    <a:pt x="978" y="1608"/>
                  </a:lnTo>
                  <a:lnTo>
                    <a:pt x="966" y="1608"/>
                  </a:lnTo>
                  <a:lnTo>
                    <a:pt x="960" y="1614"/>
                  </a:lnTo>
                  <a:lnTo>
                    <a:pt x="954" y="1614"/>
                  </a:lnTo>
                  <a:lnTo>
                    <a:pt x="942" y="1620"/>
                  </a:lnTo>
                  <a:lnTo>
                    <a:pt x="936" y="1620"/>
                  </a:lnTo>
                  <a:lnTo>
                    <a:pt x="930" y="1620"/>
                  </a:lnTo>
                  <a:lnTo>
                    <a:pt x="930" y="1626"/>
                  </a:lnTo>
                  <a:lnTo>
                    <a:pt x="930" y="1632"/>
                  </a:lnTo>
                  <a:lnTo>
                    <a:pt x="918" y="1632"/>
                  </a:lnTo>
                  <a:lnTo>
                    <a:pt x="912" y="1632"/>
                  </a:lnTo>
                  <a:lnTo>
                    <a:pt x="906" y="1632"/>
                  </a:lnTo>
                  <a:lnTo>
                    <a:pt x="900" y="1632"/>
                  </a:lnTo>
                  <a:lnTo>
                    <a:pt x="894" y="1626"/>
                  </a:lnTo>
                  <a:lnTo>
                    <a:pt x="894" y="1614"/>
                  </a:lnTo>
                  <a:lnTo>
                    <a:pt x="840" y="1614"/>
                  </a:lnTo>
                  <a:lnTo>
                    <a:pt x="840" y="1626"/>
                  </a:lnTo>
                  <a:lnTo>
                    <a:pt x="834" y="1626"/>
                  </a:lnTo>
                  <a:lnTo>
                    <a:pt x="828" y="1632"/>
                  </a:lnTo>
                  <a:lnTo>
                    <a:pt x="822" y="1638"/>
                  </a:lnTo>
                  <a:lnTo>
                    <a:pt x="822" y="1644"/>
                  </a:lnTo>
                  <a:lnTo>
                    <a:pt x="834" y="1650"/>
                  </a:lnTo>
                  <a:lnTo>
                    <a:pt x="840" y="1662"/>
                  </a:lnTo>
                  <a:lnTo>
                    <a:pt x="840" y="1668"/>
                  </a:lnTo>
                  <a:lnTo>
                    <a:pt x="858" y="1680"/>
                  </a:lnTo>
                  <a:lnTo>
                    <a:pt x="858" y="1752"/>
                  </a:lnTo>
                  <a:lnTo>
                    <a:pt x="864" y="1782"/>
                  </a:lnTo>
                  <a:lnTo>
                    <a:pt x="876" y="1788"/>
                  </a:lnTo>
                  <a:lnTo>
                    <a:pt x="870" y="1854"/>
                  </a:lnTo>
                  <a:lnTo>
                    <a:pt x="870" y="1884"/>
                  </a:lnTo>
                  <a:lnTo>
                    <a:pt x="864" y="1884"/>
                  </a:lnTo>
                  <a:lnTo>
                    <a:pt x="846" y="1896"/>
                  </a:lnTo>
                  <a:lnTo>
                    <a:pt x="840" y="1896"/>
                  </a:lnTo>
                  <a:lnTo>
                    <a:pt x="834" y="1896"/>
                  </a:lnTo>
                  <a:lnTo>
                    <a:pt x="828" y="1890"/>
                  </a:lnTo>
                  <a:lnTo>
                    <a:pt x="822" y="1890"/>
                  </a:lnTo>
                  <a:lnTo>
                    <a:pt x="816" y="1896"/>
                  </a:lnTo>
                  <a:lnTo>
                    <a:pt x="804" y="1896"/>
                  </a:lnTo>
                  <a:lnTo>
                    <a:pt x="804" y="1890"/>
                  </a:lnTo>
                  <a:lnTo>
                    <a:pt x="780" y="1896"/>
                  </a:lnTo>
                  <a:lnTo>
                    <a:pt x="780" y="1902"/>
                  </a:lnTo>
                  <a:lnTo>
                    <a:pt x="774" y="1914"/>
                  </a:lnTo>
                  <a:lnTo>
                    <a:pt x="762" y="1926"/>
                  </a:lnTo>
                  <a:lnTo>
                    <a:pt x="762" y="1950"/>
                  </a:lnTo>
                  <a:lnTo>
                    <a:pt x="762" y="1962"/>
                  </a:lnTo>
                  <a:lnTo>
                    <a:pt x="780" y="1974"/>
                  </a:lnTo>
                  <a:lnTo>
                    <a:pt x="780" y="1986"/>
                  </a:lnTo>
                  <a:lnTo>
                    <a:pt x="780" y="1998"/>
                  </a:lnTo>
                  <a:lnTo>
                    <a:pt x="756" y="1998"/>
                  </a:lnTo>
                  <a:lnTo>
                    <a:pt x="720" y="1992"/>
                  </a:lnTo>
                  <a:lnTo>
                    <a:pt x="666" y="1998"/>
                  </a:lnTo>
                  <a:lnTo>
                    <a:pt x="654" y="1998"/>
                  </a:lnTo>
                  <a:lnTo>
                    <a:pt x="660" y="1974"/>
                  </a:lnTo>
                  <a:lnTo>
                    <a:pt x="666" y="1962"/>
                  </a:lnTo>
                  <a:lnTo>
                    <a:pt x="678" y="1950"/>
                  </a:lnTo>
                  <a:lnTo>
                    <a:pt x="696" y="1932"/>
                  </a:lnTo>
                  <a:lnTo>
                    <a:pt x="696" y="1920"/>
                  </a:lnTo>
                  <a:lnTo>
                    <a:pt x="696" y="1896"/>
                  </a:lnTo>
                  <a:lnTo>
                    <a:pt x="678" y="1896"/>
                  </a:lnTo>
                  <a:lnTo>
                    <a:pt x="672" y="1884"/>
                  </a:lnTo>
                  <a:lnTo>
                    <a:pt x="672" y="1776"/>
                  </a:lnTo>
                  <a:lnTo>
                    <a:pt x="678" y="1758"/>
                  </a:lnTo>
                  <a:lnTo>
                    <a:pt x="678" y="1740"/>
                  </a:lnTo>
                  <a:lnTo>
                    <a:pt x="684" y="1728"/>
                  </a:lnTo>
                  <a:lnTo>
                    <a:pt x="690" y="1722"/>
                  </a:lnTo>
                  <a:lnTo>
                    <a:pt x="702" y="1722"/>
                  </a:lnTo>
                  <a:lnTo>
                    <a:pt x="708" y="1716"/>
                  </a:lnTo>
                  <a:lnTo>
                    <a:pt x="714" y="1710"/>
                  </a:lnTo>
                  <a:lnTo>
                    <a:pt x="720" y="1698"/>
                  </a:lnTo>
                  <a:lnTo>
                    <a:pt x="732" y="1692"/>
                  </a:lnTo>
                  <a:lnTo>
                    <a:pt x="744" y="1686"/>
                  </a:lnTo>
                  <a:lnTo>
                    <a:pt x="756" y="1680"/>
                  </a:lnTo>
                  <a:lnTo>
                    <a:pt x="768" y="1668"/>
                  </a:lnTo>
                  <a:lnTo>
                    <a:pt x="768" y="1650"/>
                  </a:lnTo>
                  <a:lnTo>
                    <a:pt x="774" y="1632"/>
                  </a:lnTo>
                  <a:lnTo>
                    <a:pt x="768" y="1620"/>
                  </a:lnTo>
                  <a:lnTo>
                    <a:pt x="774" y="1608"/>
                  </a:lnTo>
                  <a:lnTo>
                    <a:pt x="774" y="1578"/>
                  </a:lnTo>
                  <a:lnTo>
                    <a:pt x="774" y="1572"/>
                  </a:lnTo>
                  <a:lnTo>
                    <a:pt x="780" y="1560"/>
                  </a:lnTo>
                  <a:lnTo>
                    <a:pt x="780" y="1554"/>
                  </a:lnTo>
                  <a:lnTo>
                    <a:pt x="786" y="1542"/>
                  </a:lnTo>
                  <a:lnTo>
                    <a:pt x="792" y="1530"/>
                  </a:lnTo>
                  <a:lnTo>
                    <a:pt x="792" y="1518"/>
                  </a:lnTo>
                  <a:lnTo>
                    <a:pt x="792" y="1506"/>
                  </a:lnTo>
                  <a:lnTo>
                    <a:pt x="786" y="1500"/>
                  </a:lnTo>
                  <a:lnTo>
                    <a:pt x="774" y="1488"/>
                  </a:lnTo>
                  <a:lnTo>
                    <a:pt x="774" y="1482"/>
                  </a:lnTo>
                  <a:lnTo>
                    <a:pt x="762" y="1488"/>
                  </a:lnTo>
                  <a:lnTo>
                    <a:pt x="756" y="1494"/>
                  </a:lnTo>
                  <a:lnTo>
                    <a:pt x="744" y="1500"/>
                  </a:lnTo>
                  <a:lnTo>
                    <a:pt x="732" y="1506"/>
                  </a:lnTo>
                  <a:lnTo>
                    <a:pt x="726" y="1506"/>
                  </a:lnTo>
                  <a:lnTo>
                    <a:pt x="720" y="1506"/>
                  </a:lnTo>
                  <a:lnTo>
                    <a:pt x="702" y="1506"/>
                  </a:lnTo>
                  <a:lnTo>
                    <a:pt x="690" y="1500"/>
                  </a:lnTo>
                  <a:lnTo>
                    <a:pt x="678" y="1500"/>
                  </a:lnTo>
                  <a:lnTo>
                    <a:pt x="672" y="1500"/>
                  </a:lnTo>
                  <a:lnTo>
                    <a:pt x="660" y="1506"/>
                  </a:lnTo>
                  <a:lnTo>
                    <a:pt x="654" y="1506"/>
                  </a:lnTo>
                  <a:lnTo>
                    <a:pt x="648" y="1512"/>
                  </a:lnTo>
                  <a:lnTo>
                    <a:pt x="648" y="1518"/>
                  </a:lnTo>
                  <a:lnTo>
                    <a:pt x="618" y="1518"/>
                  </a:lnTo>
                  <a:lnTo>
                    <a:pt x="534" y="1494"/>
                  </a:lnTo>
                  <a:lnTo>
                    <a:pt x="528" y="1458"/>
                  </a:lnTo>
                  <a:lnTo>
                    <a:pt x="510" y="1458"/>
                  </a:lnTo>
                  <a:lnTo>
                    <a:pt x="492" y="1440"/>
                  </a:lnTo>
                  <a:lnTo>
                    <a:pt x="462" y="1440"/>
                  </a:lnTo>
                  <a:lnTo>
                    <a:pt x="456" y="1428"/>
                  </a:lnTo>
                  <a:lnTo>
                    <a:pt x="420" y="1428"/>
                  </a:lnTo>
                  <a:lnTo>
                    <a:pt x="390" y="1446"/>
                  </a:lnTo>
                  <a:lnTo>
                    <a:pt x="312" y="1452"/>
                  </a:lnTo>
                  <a:lnTo>
                    <a:pt x="300" y="1446"/>
                  </a:lnTo>
                  <a:lnTo>
                    <a:pt x="294" y="1446"/>
                  </a:lnTo>
                  <a:lnTo>
                    <a:pt x="288" y="1446"/>
                  </a:lnTo>
                  <a:lnTo>
                    <a:pt x="282" y="1440"/>
                  </a:lnTo>
                  <a:lnTo>
                    <a:pt x="276" y="1440"/>
                  </a:lnTo>
                  <a:lnTo>
                    <a:pt x="270" y="1440"/>
                  </a:lnTo>
                  <a:lnTo>
                    <a:pt x="264" y="1440"/>
                  </a:lnTo>
                  <a:lnTo>
                    <a:pt x="258" y="1434"/>
                  </a:lnTo>
                  <a:lnTo>
                    <a:pt x="252" y="1434"/>
                  </a:lnTo>
                  <a:lnTo>
                    <a:pt x="246" y="1428"/>
                  </a:lnTo>
                  <a:lnTo>
                    <a:pt x="240" y="1416"/>
                  </a:lnTo>
                  <a:lnTo>
                    <a:pt x="234" y="1404"/>
                  </a:lnTo>
                  <a:lnTo>
                    <a:pt x="228" y="1398"/>
                  </a:lnTo>
                  <a:lnTo>
                    <a:pt x="222" y="1398"/>
                  </a:lnTo>
                  <a:lnTo>
                    <a:pt x="216" y="1404"/>
                  </a:lnTo>
                  <a:lnTo>
                    <a:pt x="210" y="1404"/>
                  </a:lnTo>
                  <a:lnTo>
                    <a:pt x="204" y="1404"/>
                  </a:lnTo>
                  <a:lnTo>
                    <a:pt x="204" y="1398"/>
                  </a:lnTo>
                  <a:lnTo>
                    <a:pt x="198" y="1392"/>
                  </a:lnTo>
                  <a:lnTo>
                    <a:pt x="192" y="1386"/>
                  </a:lnTo>
                  <a:lnTo>
                    <a:pt x="168" y="1374"/>
                  </a:lnTo>
                  <a:lnTo>
                    <a:pt x="144" y="138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0" name="Freeform 35">
              <a:extLst>
                <a:ext uri="{FF2B5EF4-FFF2-40B4-BE49-F238E27FC236}">
                  <a16:creationId xmlns:a16="http://schemas.microsoft.com/office/drawing/2014/main" id="{F64BF16E-9D62-438E-A1CC-CD4088AC7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2895" y="1706004"/>
              <a:ext cx="767013" cy="785011"/>
            </a:xfrm>
            <a:custGeom>
              <a:avLst/>
              <a:gdLst>
                <a:gd name="T0" fmla="*/ 102 w 1440"/>
                <a:gd name="T1" fmla="*/ 104 h 1476"/>
                <a:gd name="T2" fmla="*/ 99 w 1440"/>
                <a:gd name="T3" fmla="*/ 108 h 1476"/>
                <a:gd name="T4" fmla="*/ 98 w 1440"/>
                <a:gd name="T5" fmla="*/ 112 h 1476"/>
                <a:gd name="T6" fmla="*/ 96 w 1440"/>
                <a:gd name="T7" fmla="*/ 116 h 1476"/>
                <a:gd name="T8" fmla="*/ 91 w 1440"/>
                <a:gd name="T9" fmla="*/ 118 h 1476"/>
                <a:gd name="T10" fmla="*/ 87 w 1440"/>
                <a:gd name="T11" fmla="*/ 120 h 1476"/>
                <a:gd name="T12" fmla="*/ 75 w 1440"/>
                <a:gd name="T13" fmla="*/ 120 h 1476"/>
                <a:gd name="T14" fmla="*/ 72 w 1440"/>
                <a:gd name="T15" fmla="*/ 123 h 1476"/>
                <a:gd name="T16" fmla="*/ 69 w 1440"/>
                <a:gd name="T17" fmla="*/ 128 h 1476"/>
                <a:gd name="T18" fmla="*/ 67 w 1440"/>
                <a:gd name="T19" fmla="*/ 127 h 1476"/>
                <a:gd name="T20" fmla="*/ 66 w 1440"/>
                <a:gd name="T21" fmla="*/ 123 h 1476"/>
                <a:gd name="T22" fmla="*/ 63 w 1440"/>
                <a:gd name="T23" fmla="*/ 119 h 1476"/>
                <a:gd name="T24" fmla="*/ 54 w 1440"/>
                <a:gd name="T25" fmla="*/ 114 h 1476"/>
                <a:gd name="T26" fmla="*/ 55 w 1440"/>
                <a:gd name="T27" fmla="*/ 106 h 1476"/>
                <a:gd name="T28" fmla="*/ 60 w 1440"/>
                <a:gd name="T29" fmla="*/ 100 h 1476"/>
                <a:gd name="T30" fmla="*/ 55 w 1440"/>
                <a:gd name="T31" fmla="*/ 91 h 1476"/>
                <a:gd name="T32" fmla="*/ 51 w 1440"/>
                <a:gd name="T33" fmla="*/ 86 h 1476"/>
                <a:gd name="T34" fmla="*/ 47 w 1440"/>
                <a:gd name="T35" fmla="*/ 85 h 1476"/>
                <a:gd name="T36" fmla="*/ 44 w 1440"/>
                <a:gd name="T37" fmla="*/ 82 h 1476"/>
                <a:gd name="T38" fmla="*/ 41 w 1440"/>
                <a:gd name="T39" fmla="*/ 83 h 1476"/>
                <a:gd name="T40" fmla="*/ 36 w 1440"/>
                <a:gd name="T41" fmla="*/ 83 h 1476"/>
                <a:gd name="T42" fmla="*/ 33 w 1440"/>
                <a:gd name="T43" fmla="*/ 83 h 1476"/>
                <a:gd name="T44" fmla="*/ 30 w 1440"/>
                <a:gd name="T45" fmla="*/ 83 h 1476"/>
                <a:gd name="T46" fmla="*/ 27 w 1440"/>
                <a:gd name="T47" fmla="*/ 83 h 1476"/>
                <a:gd name="T48" fmla="*/ 24 w 1440"/>
                <a:gd name="T49" fmla="*/ 82 h 1476"/>
                <a:gd name="T50" fmla="*/ 21 w 1440"/>
                <a:gd name="T51" fmla="*/ 80 h 1476"/>
                <a:gd name="T52" fmla="*/ 18 w 1440"/>
                <a:gd name="T53" fmla="*/ 79 h 1476"/>
                <a:gd name="T54" fmla="*/ 17 w 1440"/>
                <a:gd name="T55" fmla="*/ 78 h 1476"/>
                <a:gd name="T56" fmla="*/ 12 w 1440"/>
                <a:gd name="T57" fmla="*/ 78 h 1476"/>
                <a:gd name="T58" fmla="*/ 12 w 1440"/>
                <a:gd name="T59" fmla="*/ 78 h 1476"/>
                <a:gd name="T60" fmla="*/ 7 w 1440"/>
                <a:gd name="T61" fmla="*/ 80 h 1476"/>
                <a:gd name="T62" fmla="*/ 3 w 1440"/>
                <a:gd name="T63" fmla="*/ 81 h 1476"/>
                <a:gd name="T64" fmla="*/ 0 w 1440"/>
                <a:gd name="T65" fmla="*/ 76 h 1476"/>
                <a:gd name="T66" fmla="*/ 1 w 1440"/>
                <a:gd name="T67" fmla="*/ 50 h 1476"/>
                <a:gd name="T68" fmla="*/ 8 w 1440"/>
                <a:gd name="T69" fmla="*/ 48 h 1476"/>
                <a:gd name="T70" fmla="*/ 20 w 1440"/>
                <a:gd name="T71" fmla="*/ 49 h 1476"/>
                <a:gd name="T72" fmla="*/ 26 w 1440"/>
                <a:gd name="T73" fmla="*/ 50 h 1476"/>
                <a:gd name="T74" fmla="*/ 44 w 1440"/>
                <a:gd name="T75" fmla="*/ 47 h 1476"/>
                <a:gd name="T76" fmla="*/ 41 w 1440"/>
                <a:gd name="T77" fmla="*/ 24 h 1476"/>
                <a:gd name="T78" fmla="*/ 44 w 1440"/>
                <a:gd name="T79" fmla="*/ 20 h 1476"/>
                <a:gd name="T80" fmla="*/ 47 w 1440"/>
                <a:gd name="T81" fmla="*/ 18 h 1476"/>
                <a:gd name="T82" fmla="*/ 54 w 1440"/>
                <a:gd name="T83" fmla="*/ 21 h 1476"/>
                <a:gd name="T84" fmla="*/ 61 w 1440"/>
                <a:gd name="T85" fmla="*/ 23 h 1476"/>
                <a:gd name="T86" fmla="*/ 59 w 1440"/>
                <a:gd name="T87" fmla="*/ 14 h 1476"/>
                <a:gd name="T88" fmla="*/ 61 w 1440"/>
                <a:gd name="T89" fmla="*/ 8 h 1476"/>
                <a:gd name="T90" fmla="*/ 71 w 1440"/>
                <a:gd name="T91" fmla="*/ 7 h 1476"/>
                <a:gd name="T92" fmla="*/ 75 w 1440"/>
                <a:gd name="T93" fmla="*/ 0 h 1476"/>
                <a:gd name="T94" fmla="*/ 82 w 1440"/>
                <a:gd name="T95" fmla="*/ 3 h 1476"/>
                <a:gd name="T96" fmla="*/ 93 w 1440"/>
                <a:gd name="T97" fmla="*/ 5 h 1476"/>
                <a:gd name="T98" fmla="*/ 100 w 1440"/>
                <a:gd name="T99" fmla="*/ 1 h 1476"/>
                <a:gd name="T100" fmla="*/ 104 w 1440"/>
                <a:gd name="T101" fmla="*/ 4 h 1476"/>
                <a:gd name="T102" fmla="*/ 110 w 1440"/>
                <a:gd name="T103" fmla="*/ 10 h 1476"/>
                <a:gd name="T104" fmla="*/ 115 w 1440"/>
                <a:gd name="T105" fmla="*/ 23 h 1476"/>
                <a:gd name="T106" fmla="*/ 117 w 1440"/>
                <a:gd name="T107" fmla="*/ 42 h 1476"/>
                <a:gd name="T108" fmla="*/ 121 w 1440"/>
                <a:gd name="T109" fmla="*/ 52 h 1476"/>
                <a:gd name="T110" fmla="*/ 118 w 1440"/>
                <a:gd name="T111" fmla="*/ 62 h 1476"/>
                <a:gd name="T112" fmla="*/ 124 w 1440"/>
                <a:gd name="T113" fmla="*/ 66 h 1476"/>
                <a:gd name="T114" fmla="*/ 121 w 1440"/>
                <a:gd name="T115" fmla="*/ 71 h 1476"/>
                <a:gd name="T116" fmla="*/ 115 w 1440"/>
                <a:gd name="T117" fmla="*/ 76 h 1476"/>
                <a:gd name="T118" fmla="*/ 109 w 1440"/>
                <a:gd name="T119" fmla="*/ 76 h 1476"/>
                <a:gd name="T120" fmla="*/ 105 w 1440"/>
                <a:gd name="T121" fmla="*/ 86 h 1476"/>
                <a:gd name="T122" fmla="*/ 107 w 1440"/>
                <a:gd name="T123" fmla="*/ 97 h 147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40"/>
                <a:gd name="T187" fmla="*/ 0 h 1476"/>
                <a:gd name="T188" fmla="*/ 1440 w 1440"/>
                <a:gd name="T189" fmla="*/ 1476 h 147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40" h="1476">
                  <a:moveTo>
                    <a:pt x="1212" y="1164"/>
                  </a:moveTo>
                  <a:lnTo>
                    <a:pt x="1206" y="1170"/>
                  </a:lnTo>
                  <a:lnTo>
                    <a:pt x="1200" y="1176"/>
                  </a:lnTo>
                  <a:lnTo>
                    <a:pt x="1194" y="1176"/>
                  </a:lnTo>
                  <a:lnTo>
                    <a:pt x="1188" y="1188"/>
                  </a:lnTo>
                  <a:lnTo>
                    <a:pt x="1182" y="1194"/>
                  </a:lnTo>
                  <a:lnTo>
                    <a:pt x="1176" y="1194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64" y="1206"/>
                  </a:lnTo>
                  <a:lnTo>
                    <a:pt x="1158" y="1206"/>
                  </a:lnTo>
                  <a:lnTo>
                    <a:pt x="1152" y="1212"/>
                  </a:lnTo>
                  <a:lnTo>
                    <a:pt x="1146" y="1212"/>
                  </a:lnTo>
                  <a:lnTo>
                    <a:pt x="1140" y="1224"/>
                  </a:lnTo>
                  <a:lnTo>
                    <a:pt x="1134" y="1230"/>
                  </a:lnTo>
                  <a:lnTo>
                    <a:pt x="1128" y="1236"/>
                  </a:lnTo>
                  <a:lnTo>
                    <a:pt x="1128" y="1242"/>
                  </a:lnTo>
                  <a:lnTo>
                    <a:pt x="1128" y="1254"/>
                  </a:lnTo>
                  <a:lnTo>
                    <a:pt x="1128" y="1260"/>
                  </a:lnTo>
                  <a:lnTo>
                    <a:pt x="1122" y="1260"/>
                  </a:lnTo>
                  <a:lnTo>
                    <a:pt x="1122" y="1266"/>
                  </a:lnTo>
                  <a:lnTo>
                    <a:pt x="1128" y="1278"/>
                  </a:lnTo>
                  <a:lnTo>
                    <a:pt x="1122" y="1278"/>
                  </a:lnTo>
                  <a:lnTo>
                    <a:pt x="1122" y="1284"/>
                  </a:lnTo>
                  <a:lnTo>
                    <a:pt x="1128" y="1290"/>
                  </a:lnTo>
                  <a:lnTo>
                    <a:pt x="1122" y="1296"/>
                  </a:lnTo>
                  <a:lnTo>
                    <a:pt x="1122" y="1302"/>
                  </a:lnTo>
                  <a:lnTo>
                    <a:pt x="1116" y="1302"/>
                  </a:lnTo>
                  <a:lnTo>
                    <a:pt x="1110" y="1314"/>
                  </a:lnTo>
                  <a:lnTo>
                    <a:pt x="1110" y="1320"/>
                  </a:lnTo>
                  <a:lnTo>
                    <a:pt x="1110" y="1326"/>
                  </a:lnTo>
                  <a:lnTo>
                    <a:pt x="1098" y="1332"/>
                  </a:lnTo>
                  <a:lnTo>
                    <a:pt x="1092" y="1338"/>
                  </a:lnTo>
                  <a:lnTo>
                    <a:pt x="1092" y="1344"/>
                  </a:lnTo>
                  <a:lnTo>
                    <a:pt x="1086" y="1350"/>
                  </a:lnTo>
                  <a:lnTo>
                    <a:pt x="1080" y="1350"/>
                  </a:lnTo>
                  <a:lnTo>
                    <a:pt x="1074" y="1350"/>
                  </a:lnTo>
                  <a:lnTo>
                    <a:pt x="1068" y="1356"/>
                  </a:lnTo>
                  <a:lnTo>
                    <a:pt x="1062" y="1356"/>
                  </a:lnTo>
                  <a:lnTo>
                    <a:pt x="1044" y="1356"/>
                  </a:lnTo>
                  <a:lnTo>
                    <a:pt x="1038" y="1362"/>
                  </a:lnTo>
                  <a:lnTo>
                    <a:pt x="1032" y="1368"/>
                  </a:lnTo>
                  <a:lnTo>
                    <a:pt x="1026" y="1368"/>
                  </a:lnTo>
                  <a:lnTo>
                    <a:pt x="1020" y="1374"/>
                  </a:lnTo>
                  <a:lnTo>
                    <a:pt x="1008" y="1374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74"/>
                  </a:lnTo>
                  <a:lnTo>
                    <a:pt x="978" y="1380"/>
                  </a:lnTo>
                  <a:lnTo>
                    <a:pt x="972" y="1380"/>
                  </a:lnTo>
                  <a:lnTo>
                    <a:pt x="954" y="1368"/>
                  </a:lnTo>
                  <a:lnTo>
                    <a:pt x="930" y="1368"/>
                  </a:lnTo>
                  <a:lnTo>
                    <a:pt x="918" y="1368"/>
                  </a:lnTo>
                  <a:lnTo>
                    <a:pt x="906" y="1368"/>
                  </a:lnTo>
                  <a:lnTo>
                    <a:pt x="894" y="1368"/>
                  </a:lnTo>
                  <a:lnTo>
                    <a:pt x="864" y="1374"/>
                  </a:lnTo>
                  <a:lnTo>
                    <a:pt x="852" y="1374"/>
                  </a:lnTo>
                  <a:lnTo>
                    <a:pt x="846" y="1386"/>
                  </a:lnTo>
                  <a:lnTo>
                    <a:pt x="846" y="1392"/>
                  </a:lnTo>
                  <a:lnTo>
                    <a:pt x="840" y="1398"/>
                  </a:lnTo>
                  <a:lnTo>
                    <a:pt x="840" y="1404"/>
                  </a:lnTo>
                  <a:lnTo>
                    <a:pt x="834" y="1416"/>
                  </a:lnTo>
                  <a:lnTo>
                    <a:pt x="828" y="1416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04" y="1428"/>
                  </a:lnTo>
                  <a:lnTo>
                    <a:pt x="804" y="1434"/>
                  </a:lnTo>
                  <a:lnTo>
                    <a:pt x="804" y="1440"/>
                  </a:lnTo>
                  <a:lnTo>
                    <a:pt x="798" y="1446"/>
                  </a:lnTo>
                  <a:lnTo>
                    <a:pt x="798" y="1458"/>
                  </a:lnTo>
                  <a:lnTo>
                    <a:pt x="792" y="1464"/>
                  </a:lnTo>
                  <a:lnTo>
                    <a:pt x="786" y="1476"/>
                  </a:lnTo>
                  <a:lnTo>
                    <a:pt x="780" y="1470"/>
                  </a:lnTo>
                  <a:lnTo>
                    <a:pt x="774" y="1470"/>
                  </a:lnTo>
                  <a:lnTo>
                    <a:pt x="768" y="1470"/>
                  </a:lnTo>
                  <a:lnTo>
                    <a:pt x="762" y="1476"/>
                  </a:lnTo>
                  <a:lnTo>
                    <a:pt x="762" y="1470"/>
                  </a:lnTo>
                  <a:lnTo>
                    <a:pt x="762" y="1464"/>
                  </a:lnTo>
                  <a:lnTo>
                    <a:pt x="762" y="1458"/>
                  </a:lnTo>
                  <a:lnTo>
                    <a:pt x="756" y="1458"/>
                  </a:lnTo>
                  <a:lnTo>
                    <a:pt x="756" y="1452"/>
                  </a:lnTo>
                  <a:lnTo>
                    <a:pt x="756" y="1446"/>
                  </a:lnTo>
                  <a:lnTo>
                    <a:pt x="756" y="1440"/>
                  </a:lnTo>
                  <a:lnTo>
                    <a:pt x="750" y="1434"/>
                  </a:lnTo>
                  <a:lnTo>
                    <a:pt x="750" y="1428"/>
                  </a:lnTo>
                  <a:lnTo>
                    <a:pt x="750" y="1422"/>
                  </a:lnTo>
                  <a:lnTo>
                    <a:pt x="750" y="1416"/>
                  </a:lnTo>
                  <a:lnTo>
                    <a:pt x="744" y="1416"/>
                  </a:lnTo>
                  <a:lnTo>
                    <a:pt x="744" y="1410"/>
                  </a:lnTo>
                  <a:lnTo>
                    <a:pt x="738" y="1404"/>
                  </a:lnTo>
                  <a:lnTo>
                    <a:pt x="732" y="1398"/>
                  </a:lnTo>
                  <a:lnTo>
                    <a:pt x="732" y="1392"/>
                  </a:lnTo>
                  <a:lnTo>
                    <a:pt x="726" y="1386"/>
                  </a:lnTo>
                  <a:lnTo>
                    <a:pt x="726" y="1380"/>
                  </a:lnTo>
                  <a:lnTo>
                    <a:pt x="714" y="1368"/>
                  </a:lnTo>
                  <a:lnTo>
                    <a:pt x="708" y="1368"/>
                  </a:lnTo>
                  <a:lnTo>
                    <a:pt x="684" y="1332"/>
                  </a:lnTo>
                  <a:lnTo>
                    <a:pt x="666" y="1320"/>
                  </a:lnTo>
                  <a:lnTo>
                    <a:pt x="648" y="1302"/>
                  </a:lnTo>
                  <a:lnTo>
                    <a:pt x="630" y="1314"/>
                  </a:lnTo>
                  <a:lnTo>
                    <a:pt x="624" y="1314"/>
                  </a:lnTo>
                  <a:lnTo>
                    <a:pt x="624" y="1308"/>
                  </a:lnTo>
                  <a:lnTo>
                    <a:pt x="618" y="1308"/>
                  </a:lnTo>
                  <a:lnTo>
                    <a:pt x="612" y="1284"/>
                  </a:lnTo>
                  <a:lnTo>
                    <a:pt x="606" y="1254"/>
                  </a:lnTo>
                  <a:lnTo>
                    <a:pt x="606" y="1248"/>
                  </a:lnTo>
                  <a:lnTo>
                    <a:pt x="606" y="1242"/>
                  </a:lnTo>
                  <a:lnTo>
                    <a:pt x="612" y="1242"/>
                  </a:lnTo>
                  <a:lnTo>
                    <a:pt x="618" y="1236"/>
                  </a:lnTo>
                  <a:lnTo>
                    <a:pt x="618" y="1230"/>
                  </a:lnTo>
                  <a:lnTo>
                    <a:pt x="624" y="1224"/>
                  </a:lnTo>
                  <a:lnTo>
                    <a:pt x="630" y="1224"/>
                  </a:lnTo>
                  <a:lnTo>
                    <a:pt x="636" y="1218"/>
                  </a:lnTo>
                  <a:lnTo>
                    <a:pt x="636" y="1212"/>
                  </a:lnTo>
                  <a:lnTo>
                    <a:pt x="612" y="1200"/>
                  </a:lnTo>
                  <a:lnTo>
                    <a:pt x="606" y="1182"/>
                  </a:lnTo>
                  <a:lnTo>
                    <a:pt x="672" y="1182"/>
                  </a:lnTo>
                  <a:lnTo>
                    <a:pt x="690" y="1170"/>
                  </a:lnTo>
                  <a:lnTo>
                    <a:pt x="690" y="1152"/>
                  </a:lnTo>
                  <a:lnTo>
                    <a:pt x="678" y="1110"/>
                  </a:lnTo>
                  <a:lnTo>
                    <a:pt x="672" y="1092"/>
                  </a:lnTo>
                  <a:lnTo>
                    <a:pt x="660" y="1074"/>
                  </a:lnTo>
                  <a:lnTo>
                    <a:pt x="648" y="1068"/>
                  </a:lnTo>
                  <a:lnTo>
                    <a:pt x="642" y="1068"/>
                  </a:lnTo>
                  <a:lnTo>
                    <a:pt x="636" y="1062"/>
                  </a:lnTo>
                  <a:lnTo>
                    <a:pt x="624" y="1056"/>
                  </a:lnTo>
                  <a:lnTo>
                    <a:pt x="624" y="1050"/>
                  </a:lnTo>
                  <a:lnTo>
                    <a:pt x="618" y="1038"/>
                  </a:lnTo>
                  <a:lnTo>
                    <a:pt x="612" y="1038"/>
                  </a:lnTo>
                  <a:lnTo>
                    <a:pt x="612" y="1032"/>
                  </a:lnTo>
                  <a:lnTo>
                    <a:pt x="612" y="1026"/>
                  </a:lnTo>
                  <a:lnTo>
                    <a:pt x="600" y="1014"/>
                  </a:lnTo>
                  <a:lnTo>
                    <a:pt x="582" y="1008"/>
                  </a:lnTo>
                  <a:lnTo>
                    <a:pt x="576" y="1002"/>
                  </a:lnTo>
                  <a:lnTo>
                    <a:pt x="576" y="996"/>
                  </a:lnTo>
                  <a:lnTo>
                    <a:pt x="570" y="996"/>
                  </a:lnTo>
                  <a:lnTo>
                    <a:pt x="570" y="990"/>
                  </a:lnTo>
                  <a:lnTo>
                    <a:pt x="570" y="984"/>
                  </a:lnTo>
                  <a:lnTo>
                    <a:pt x="564" y="984"/>
                  </a:lnTo>
                  <a:lnTo>
                    <a:pt x="558" y="978"/>
                  </a:lnTo>
                  <a:lnTo>
                    <a:pt x="552" y="972"/>
                  </a:lnTo>
                  <a:lnTo>
                    <a:pt x="552" y="966"/>
                  </a:lnTo>
                  <a:lnTo>
                    <a:pt x="546" y="972"/>
                  </a:lnTo>
                  <a:lnTo>
                    <a:pt x="540" y="972"/>
                  </a:lnTo>
                  <a:lnTo>
                    <a:pt x="534" y="960"/>
                  </a:lnTo>
                  <a:lnTo>
                    <a:pt x="528" y="960"/>
                  </a:lnTo>
                  <a:lnTo>
                    <a:pt x="528" y="966"/>
                  </a:lnTo>
                  <a:lnTo>
                    <a:pt x="516" y="954"/>
                  </a:lnTo>
                  <a:lnTo>
                    <a:pt x="516" y="948"/>
                  </a:lnTo>
                  <a:lnTo>
                    <a:pt x="510" y="948"/>
                  </a:lnTo>
                  <a:lnTo>
                    <a:pt x="504" y="948"/>
                  </a:lnTo>
                  <a:lnTo>
                    <a:pt x="498" y="948"/>
                  </a:lnTo>
                  <a:lnTo>
                    <a:pt x="504" y="954"/>
                  </a:lnTo>
                  <a:lnTo>
                    <a:pt x="498" y="954"/>
                  </a:lnTo>
                  <a:lnTo>
                    <a:pt x="492" y="954"/>
                  </a:lnTo>
                  <a:lnTo>
                    <a:pt x="480" y="942"/>
                  </a:lnTo>
                  <a:lnTo>
                    <a:pt x="480" y="948"/>
                  </a:lnTo>
                  <a:lnTo>
                    <a:pt x="480" y="954"/>
                  </a:lnTo>
                  <a:lnTo>
                    <a:pt x="474" y="954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56" y="966"/>
                  </a:lnTo>
                  <a:lnTo>
                    <a:pt x="456" y="960"/>
                  </a:lnTo>
                  <a:lnTo>
                    <a:pt x="450" y="966"/>
                  </a:lnTo>
                  <a:lnTo>
                    <a:pt x="444" y="966"/>
                  </a:lnTo>
                  <a:lnTo>
                    <a:pt x="414" y="966"/>
                  </a:lnTo>
                  <a:lnTo>
                    <a:pt x="408" y="960"/>
                  </a:lnTo>
                  <a:lnTo>
                    <a:pt x="408" y="966"/>
                  </a:lnTo>
                  <a:lnTo>
                    <a:pt x="402" y="960"/>
                  </a:lnTo>
                  <a:lnTo>
                    <a:pt x="396" y="960"/>
                  </a:lnTo>
                  <a:lnTo>
                    <a:pt x="390" y="960"/>
                  </a:lnTo>
                  <a:lnTo>
                    <a:pt x="390" y="966"/>
                  </a:lnTo>
                  <a:lnTo>
                    <a:pt x="384" y="966"/>
                  </a:lnTo>
                  <a:lnTo>
                    <a:pt x="378" y="966"/>
                  </a:lnTo>
                  <a:lnTo>
                    <a:pt x="384" y="960"/>
                  </a:lnTo>
                  <a:lnTo>
                    <a:pt x="384" y="954"/>
                  </a:lnTo>
                  <a:lnTo>
                    <a:pt x="372" y="948"/>
                  </a:lnTo>
                  <a:lnTo>
                    <a:pt x="372" y="954"/>
                  </a:lnTo>
                  <a:lnTo>
                    <a:pt x="372" y="960"/>
                  </a:lnTo>
                  <a:lnTo>
                    <a:pt x="366" y="960"/>
                  </a:lnTo>
                  <a:lnTo>
                    <a:pt x="360" y="966"/>
                  </a:lnTo>
                  <a:lnTo>
                    <a:pt x="354" y="966"/>
                  </a:lnTo>
                  <a:lnTo>
                    <a:pt x="348" y="960"/>
                  </a:lnTo>
                  <a:lnTo>
                    <a:pt x="342" y="960"/>
                  </a:lnTo>
                  <a:lnTo>
                    <a:pt x="342" y="966"/>
                  </a:lnTo>
                  <a:lnTo>
                    <a:pt x="336" y="972"/>
                  </a:lnTo>
                  <a:lnTo>
                    <a:pt x="330" y="972"/>
                  </a:lnTo>
                  <a:lnTo>
                    <a:pt x="324" y="966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6" y="954"/>
                  </a:lnTo>
                  <a:lnTo>
                    <a:pt x="306" y="948"/>
                  </a:lnTo>
                  <a:lnTo>
                    <a:pt x="306" y="942"/>
                  </a:lnTo>
                  <a:lnTo>
                    <a:pt x="300" y="942"/>
                  </a:lnTo>
                  <a:lnTo>
                    <a:pt x="294" y="936"/>
                  </a:lnTo>
                  <a:lnTo>
                    <a:pt x="288" y="936"/>
                  </a:lnTo>
                  <a:lnTo>
                    <a:pt x="282" y="942"/>
                  </a:lnTo>
                  <a:lnTo>
                    <a:pt x="276" y="936"/>
                  </a:lnTo>
                  <a:lnTo>
                    <a:pt x="276" y="942"/>
                  </a:lnTo>
                  <a:lnTo>
                    <a:pt x="270" y="942"/>
                  </a:lnTo>
                  <a:lnTo>
                    <a:pt x="264" y="936"/>
                  </a:lnTo>
                  <a:lnTo>
                    <a:pt x="252" y="936"/>
                  </a:lnTo>
                  <a:lnTo>
                    <a:pt x="246" y="936"/>
                  </a:lnTo>
                  <a:lnTo>
                    <a:pt x="240" y="936"/>
                  </a:lnTo>
                  <a:lnTo>
                    <a:pt x="234" y="936"/>
                  </a:lnTo>
                  <a:lnTo>
                    <a:pt x="240" y="924"/>
                  </a:lnTo>
                  <a:lnTo>
                    <a:pt x="234" y="924"/>
                  </a:lnTo>
                  <a:lnTo>
                    <a:pt x="228" y="918"/>
                  </a:lnTo>
                  <a:lnTo>
                    <a:pt x="228" y="906"/>
                  </a:lnTo>
                  <a:lnTo>
                    <a:pt x="222" y="900"/>
                  </a:lnTo>
                  <a:lnTo>
                    <a:pt x="216" y="900"/>
                  </a:lnTo>
                  <a:lnTo>
                    <a:pt x="210" y="900"/>
                  </a:lnTo>
                  <a:lnTo>
                    <a:pt x="210" y="906"/>
                  </a:lnTo>
                  <a:lnTo>
                    <a:pt x="204" y="906"/>
                  </a:lnTo>
                  <a:lnTo>
                    <a:pt x="198" y="906"/>
                  </a:lnTo>
                  <a:lnTo>
                    <a:pt x="210" y="900"/>
                  </a:lnTo>
                  <a:lnTo>
                    <a:pt x="210" y="894"/>
                  </a:lnTo>
                  <a:lnTo>
                    <a:pt x="216" y="888"/>
                  </a:lnTo>
                  <a:lnTo>
                    <a:pt x="204" y="882"/>
                  </a:lnTo>
                  <a:lnTo>
                    <a:pt x="204" y="894"/>
                  </a:lnTo>
                  <a:lnTo>
                    <a:pt x="198" y="894"/>
                  </a:lnTo>
                  <a:lnTo>
                    <a:pt x="192" y="900"/>
                  </a:lnTo>
                  <a:lnTo>
                    <a:pt x="186" y="894"/>
                  </a:lnTo>
                  <a:lnTo>
                    <a:pt x="180" y="894"/>
                  </a:lnTo>
                  <a:lnTo>
                    <a:pt x="174" y="894"/>
                  </a:lnTo>
                  <a:lnTo>
                    <a:pt x="168" y="900"/>
                  </a:lnTo>
                  <a:lnTo>
                    <a:pt x="162" y="906"/>
                  </a:lnTo>
                  <a:lnTo>
                    <a:pt x="156" y="906"/>
                  </a:lnTo>
                  <a:lnTo>
                    <a:pt x="150" y="900"/>
                  </a:lnTo>
                  <a:lnTo>
                    <a:pt x="144" y="894"/>
                  </a:lnTo>
                  <a:lnTo>
                    <a:pt x="138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0" y="888"/>
                  </a:lnTo>
                  <a:lnTo>
                    <a:pt x="114" y="894"/>
                  </a:lnTo>
                  <a:lnTo>
                    <a:pt x="120" y="900"/>
                  </a:lnTo>
                  <a:lnTo>
                    <a:pt x="126" y="900"/>
                  </a:lnTo>
                  <a:lnTo>
                    <a:pt x="132" y="900"/>
                  </a:lnTo>
                  <a:lnTo>
                    <a:pt x="132" y="906"/>
                  </a:lnTo>
                  <a:lnTo>
                    <a:pt x="126" y="912"/>
                  </a:lnTo>
                  <a:lnTo>
                    <a:pt x="126" y="918"/>
                  </a:lnTo>
                  <a:lnTo>
                    <a:pt x="114" y="918"/>
                  </a:lnTo>
                  <a:lnTo>
                    <a:pt x="108" y="924"/>
                  </a:lnTo>
                  <a:lnTo>
                    <a:pt x="102" y="924"/>
                  </a:lnTo>
                  <a:lnTo>
                    <a:pt x="90" y="924"/>
                  </a:lnTo>
                  <a:lnTo>
                    <a:pt x="84" y="924"/>
                  </a:lnTo>
                  <a:lnTo>
                    <a:pt x="78" y="924"/>
                  </a:lnTo>
                  <a:lnTo>
                    <a:pt x="60" y="924"/>
                  </a:lnTo>
                  <a:lnTo>
                    <a:pt x="54" y="942"/>
                  </a:lnTo>
                  <a:lnTo>
                    <a:pt x="48" y="936"/>
                  </a:lnTo>
                  <a:lnTo>
                    <a:pt x="42" y="930"/>
                  </a:lnTo>
                  <a:lnTo>
                    <a:pt x="36" y="930"/>
                  </a:lnTo>
                  <a:lnTo>
                    <a:pt x="30" y="936"/>
                  </a:lnTo>
                  <a:lnTo>
                    <a:pt x="30" y="930"/>
                  </a:lnTo>
                  <a:lnTo>
                    <a:pt x="30" y="924"/>
                  </a:lnTo>
                  <a:lnTo>
                    <a:pt x="18" y="918"/>
                  </a:lnTo>
                  <a:lnTo>
                    <a:pt x="18" y="912"/>
                  </a:lnTo>
                  <a:lnTo>
                    <a:pt x="12" y="912"/>
                  </a:lnTo>
                  <a:lnTo>
                    <a:pt x="6" y="912"/>
                  </a:lnTo>
                  <a:lnTo>
                    <a:pt x="6" y="900"/>
                  </a:lnTo>
                  <a:lnTo>
                    <a:pt x="6" y="894"/>
                  </a:lnTo>
                  <a:lnTo>
                    <a:pt x="0" y="870"/>
                  </a:lnTo>
                  <a:lnTo>
                    <a:pt x="6" y="846"/>
                  </a:lnTo>
                  <a:lnTo>
                    <a:pt x="6" y="810"/>
                  </a:lnTo>
                  <a:lnTo>
                    <a:pt x="12" y="774"/>
                  </a:lnTo>
                  <a:lnTo>
                    <a:pt x="12" y="756"/>
                  </a:lnTo>
                  <a:lnTo>
                    <a:pt x="18" y="744"/>
                  </a:lnTo>
                  <a:lnTo>
                    <a:pt x="18" y="732"/>
                  </a:lnTo>
                  <a:lnTo>
                    <a:pt x="12" y="576"/>
                  </a:lnTo>
                  <a:lnTo>
                    <a:pt x="12" y="570"/>
                  </a:lnTo>
                  <a:lnTo>
                    <a:pt x="18" y="564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42" y="552"/>
                  </a:lnTo>
                  <a:lnTo>
                    <a:pt x="66" y="552"/>
                  </a:lnTo>
                  <a:lnTo>
                    <a:pt x="78" y="558"/>
                  </a:lnTo>
                  <a:lnTo>
                    <a:pt x="90" y="558"/>
                  </a:lnTo>
                  <a:lnTo>
                    <a:pt x="108" y="558"/>
                  </a:lnTo>
                  <a:lnTo>
                    <a:pt x="144" y="558"/>
                  </a:lnTo>
                  <a:lnTo>
                    <a:pt x="204" y="552"/>
                  </a:lnTo>
                  <a:lnTo>
                    <a:pt x="210" y="558"/>
                  </a:lnTo>
                  <a:lnTo>
                    <a:pt x="216" y="558"/>
                  </a:lnTo>
                  <a:lnTo>
                    <a:pt x="210" y="564"/>
                  </a:lnTo>
                  <a:lnTo>
                    <a:pt x="216" y="564"/>
                  </a:lnTo>
                  <a:lnTo>
                    <a:pt x="222" y="564"/>
                  </a:lnTo>
                  <a:lnTo>
                    <a:pt x="240" y="564"/>
                  </a:lnTo>
                  <a:lnTo>
                    <a:pt x="258" y="564"/>
                  </a:lnTo>
                  <a:lnTo>
                    <a:pt x="264" y="570"/>
                  </a:lnTo>
                  <a:lnTo>
                    <a:pt x="276" y="570"/>
                  </a:lnTo>
                  <a:lnTo>
                    <a:pt x="282" y="564"/>
                  </a:lnTo>
                  <a:lnTo>
                    <a:pt x="294" y="564"/>
                  </a:lnTo>
                  <a:lnTo>
                    <a:pt x="294" y="570"/>
                  </a:lnTo>
                  <a:lnTo>
                    <a:pt x="300" y="570"/>
                  </a:lnTo>
                  <a:lnTo>
                    <a:pt x="378" y="564"/>
                  </a:lnTo>
                  <a:lnTo>
                    <a:pt x="408" y="558"/>
                  </a:lnTo>
                  <a:lnTo>
                    <a:pt x="432" y="552"/>
                  </a:lnTo>
                  <a:lnTo>
                    <a:pt x="450" y="546"/>
                  </a:lnTo>
                  <a:lnTo>
                    <a:pt x="468" y="546"/>
                  </a:lnTo>
                  <a:lnTo>
                    <a:pt x="468" y="552"/>
                  </a:lnTo>
                  <a:lnTo>
                    <a:pt x="504" y="552"/>
                  </a:lnTo>
                  <a:lnTo>
                    <a:pt x="510" y="534"/>
                  </a:lnTo>
                  <a:lnTo>
                    <a:pt x="516" y="510"/>
                  </a:lnTo>
                  <a:lnTo>
                    <a:pt x="522" y="510"/>
                  </a:lnTo>
                  <a:lnTo>
                    <a:pt x="528" y="420"/>
                  </a:lnTo>
                  <a:lnTo>
                    <a:pt x="522" y="414"/>
                  </a:lnTo>
                  <a:lnTo>
                    <a:pt x="516" y="396"/>
                  </a:lnTo>
                  <a:lnTo>
                    <a:pt x="510" y="372"/>
                  </a:lnTo>
                  <a:lnTo>
                    <a:pt x="498" y="348"/>
                  </a:lnTo>
                  <a:lnTo>
                    <a:pt x="474" y="282"/>
                  </a:lnTo>
                  <a:lnTo>
                    <a:pt x="474" y="270"/>
                  </a:lnTo>
                  <a:lnTo>
                    <a:pt x="480" y="258"/>
                  </a:lnTo>
                  <a:lnTo>
                    <a:pt x="486" y="258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92" y="246"/>
                  </a:lnTo>
                  <a:lnTo>
                    <a:pt x="504" y="234"/>
                  </a:lnTo>
                  <a:lnTo>
                    <a:pt x="510" y="228"/>
                  </a:lnTo>
                  <a:lnTo>
                    <a:pt x="516" y="228"/>
                  </a:lnTo>
                  <a:lnTo>
                    <a:pt x="516" y="222"/>
                  </a:lnTo>
                  <a:lnTo>
                    <a:pt x="516" y="216"/>
                  </a:lnTo>
                  <a:lnTo>
                    <a:pt x="522" y="216"/>
                  </a:lnTo>
                  <a:lnTo>
                    <a:pt x="528" y="210"/>
                  </a:lnTo>
                  <a:lnTo>
                    <a:pt x="534" y="210"/>
                  </a:lnTo>
                  <a:lnTo>
                    <a:pt x="540" y="210"/>
                  </a:lnTo>
                  <a:lnTo>
                    <a:pt x="546" y="210"/>
                  </a:lnTo>
                  <a:lnTo>
                    <a:pt x="552" y="210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16"/>
                  </a:lnTo>
                  <a:lnTo>
                    <a:pt x="588" y="228"/>
                  </a:lnTo>
                  <a:lnTo>
                    <a:pt x="594" y="234"/>
                  </a:lnTo>
                  <a:lnTo>
                    <a:pt x="600" y="240"/>
                  </a:lnTo>
                  <a:lnTo>
                    <a:pt x="618" y="246"/>
                  </a:lnTo>
                  <a:lnTo>
                    <a:pt x="624" y="246"/>
                  </a:lnTo>
                  <a:lnTo>
                    <a:pt x="636" y="252"/>
                  </a:lnTo>
                  <a:lnTo>
                    <a:pt x="654" y="252"/>
                  </a:lnTo>
                  <a:lnTo>
                    <a:pt x="654" y="258"/>
                  </a:lnTo>
                  <a:lnTo>
                    <a:pt x="666" y="264"/>
                  </a:lnTo>
                  <a:lnTo>
                    <a:pt x="672" y="264"/>
                  </a:lnTo>
                  <a:lnTo>
                    <a:pt x="678" y="264"/>
                  </a:lnTo>
                  <a:lnTo>
                    <a:pt x="696" y="258"/>
                  </a:lnTo>
                  <a:lnTo>
                    <a:pt x="696" y="252"/>
                  </a:lnTo>
                  <a:lnTo>
                    <a:pt x="696" y="246"/>
                  </a:lnTo>
                  <a:lnTo>
                    <a:pt x="690" y="234"/>
                  </a:lnTo>
                  <a:lnTo>
                    <a:pt x="684" y="210"/>
                  </a:lnTo>
                  <a:lnTo>
                    <a:pt x="678" y="192"/>
                  </a:lnTo>
                  <a:lnTo>
                    <a:pt x="672" y="174"/>
                  </a:lnTo>
                  <a:lnTo>
                    <a:pt x="672" y="168"/>
                  </a:lnTo>
                  <a:lnTo>
                    <a:pt x="672" y="162"/>
                  </a:lnTo>
                  <a:lnTo>
                    <a:pt x="672" y="156"/>
                  </a:lnTo>
                  <a:lnTo>
                    <a:pt x="684" y="132"/>
                  </a:lnTo>
                  <a:lnTo>
                    <a:pt x="684" y="120"/>
                  </a:lnTo>
                  <a:lnTo>
                    <a:pt x="684" y="108"/>
                  </a:lnTo>
                  <a:lnTo>
                    <a:pt x="678" y="102"/>
                  </a:lnTo>
                  <a:lnTo>
                    <a:pt x="678" y="96"/>
                  </a:lnTo>
                  <a:lnTo>
                    <a:pt x="684" y="96"/>
                  </a:lnTo>
                  <a:lnTo>
                    <a:pt x="696" y="90"/>
                  </a:lnTo>
                  <a:lnTo>
                    <a:pt x="702" y="84"/>
                  </a:lnTo>
                  <a:lnTo>
                    <a:pt x="720" y="72"/>
                  </a:lnTo>
                  <a:lnTo>
                    <a:pt x="738" y="66"/>
                  </a:lnTo>
                  <a:lnTo>
                    <a:pt x="756" y="60"/>
                  </a:lnTo>
                  <a:lnTo>
                    <a:pt x="768" y="60"/>
                  </a:lnTo>
                  <a:lnTo>
                    <a:pt x="798" y="72"/>
                  </a:lnTo>
                  <a:lnTo>
                    <a:pt x="804" y="78"/>
                  </a:lnTo>
                  <a:lnTo>
                    <a:pt x="816" y="84"/>
                  </a:lnTo>
                  <a:lnTo>
                    <a:pt x="822" y="84"/>
                  </a:lnTo>
                  <a:lnTo>
                    <a:pt x="828" y="72"/>
                  </a:lnTo>
                  <a:lnTo>
                    <a:pt x="828" y="60"/>
                  </a:lnTo>
                  <a:lnTo>
                    <a:pt x="828" y="36"/>
                  </a:lnTo>
                  <a:lnTo>
                    <a:pt x="828" y="24"/>
                  </a:lnTo>
                  <a:lnTo>
                    <a:pt x="828" y="12"/>
                  </a:lnTo>
                  <a:lnTo>
                    <a:pt x="834" y="12"/>
                  </a:lnTo>
                  <a:lnTo>
                    <a:pt x="852" y="6"/>
                  </a:lnTo>
                  <a:lnTo>
                    <a:pt x="876" y="6"/>
                  </a:lnTo>
                  <a:lnTo>
                    <a:pt x="894" y="6"/>
                  </a:lnTo>
                  <a:lnTo>
                    <a:pt x="906" y="12"/>
                  </a:lnTo>
                  <a:lnTo>
                    <a:pt x="912" y="24"/>
                  </a:lnTo>
                  <a:lnTo>
                    <a:pt x="924" y="24"/>
                  </a:lnTo>
                  <a:lnTo>
                    <a:pt x="930" y="30"/>
                  </a:lnTo>
                  <a:lnTo>
                    <a:pt x="936" y="30"/>
                  </a:lnTo>
                  <a:lnTo>
                    <a:pt x="936" y="36"/>
                  </a:lnTo>
                  <a:lnTo>
                    <a:pt x="942" y="36"/>
                  </a:lnTo>
                  <a:lnTo>
                    <a:pt x="948" y="42"/>
                  </a:lnTo>
                  <a:lnTo>
                    <a:pt x="960" y="48"/>
                  </a:lnTo>
                  <a:lnTo>
                    <a:pt x="966" y="48"/>
                  </a:lnTo>
                  <a:lnTo>
                    <a:pt x="1026" y="60"/>
                  </a:lnTo>
                  <a:lnTo>
                    <a:pt x="1050" y="60"/>
                  </a:lnTo>
                  <a:lnTo>
                    <a:pt x="1050" y="54"/>
                  </a:lnTo>
                  <a:lnTo>
                    <a:pt x="1062" y="54"/>
                  </a:lnTo>
                  <a:lnTo>
                    <a:pt x="1074" y="48"/>
                  </a:lnTo>
                  <a:lnTo>
                    <a:pt x="1086" y="42"/>
                  </a:lnTo>
                  <a:lnTo>
                    <a:pt x="1104" y="36"/>
                  </a:lnTo>
                  <a:lnTo>
                    <a:pt x="1116" y="30"/>
                  </a:lnTo>
                  <a:lnTo>
                    <a:pt x="1122" y="24"/>
                  </a:lnTo>
                  <a:lnTo>
                    <a:pt x="1128" y="18"/>
                  </a:lnTo>
                  <a:lnTo>
                    <a:pt x="1134" y="18"/>
                  </a:lnTo>
                  <a:lnTo>
                    <a:pt x="1140" y="12"/>
                  </a:lnTo>
                  <a:lnTo>
                    <a:pt x="1146" y="6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24"/>
                  </a:lnTo>
                  <a:lnTo>
                    <a:pt x="1176" y="36"/>
                  </a:lnTo>
                  <a:lnTo>
                    <a:pt x="1188" y="42"/>
                  </a:lnTo>
                  <a:lnTo>
                    <a:pt x="1200" y="54"/>
                  </a:lnTo>
                  <a:lnTo>
                    <a:pt x="1224" y="84"/>
                  </a:lnTo>
                  <a:lnTo>
                    <a:pt x="1224" y="90"/>
                  </a:lnTo>
                  <a:lnTo>
                    <a:pt x="1236" y="96"/>
                  </a:lnTo>
                  <a:lnTo>
                    <a:pt x="1236" y="108"/>
                  </a:lnTo>
                  <a:lnTo>
                    <a:pt x="1248" y="114"/>
                  </a:lnTo>
                  <a:lnTo>
                    <a:pt x="1254" y="114"/>
                  </a:lnTo>
                  <a:lnTo>
                    <a:pt x="1260" y="114"/>
                  </a:lnTo>
                  <a:lnTo>
                    <a:pt x="1296" y="114"/>
                  </a:lnTo>
                  <a:lnTo>
                    <a:pt x="1302" y="114"/>
                  </a:lnTo>
                  <a:lnTo>
                    <a:pt x="1320" y="108"/>
                  </a:lnTo>
                  <a:lnTo>
                    <a:pt x="1326" y="108"/>
                  </a:lnTo>
                  <a:lnTo>
                    <a:pt x="1326" y="138"/>
                  </a:lnTo>
                  <a:lnTo>
                    <a:pt x="1326" y="210"/>
                  </a:lnTo>
                  <a:lnTo>
                    <a:pt x="1320" y="252"/>
                  </a:lnTo>
                  <a:lnTo>
                    <a:pt x="1320" y="270"/>
                  </a:lnTo>
                  <a:lnTo>
                    <a:pt x="1320" y="288"/>
                  </a:lnTo>
                  <a:lnTo>
                    <a:pt x="1320" y="318"/>
                  </a:lnTo>
                  <a:lnTo>
                    <a:pt x="1326" y="354"/>
                  </a:lnTo>
                  <a:lnTo>
                    <a:pt x="1326" y="372"/>
                  </a:lnTo>
                  <a:lnTo>
                    <a:pt x="1332" y="420"/>
                  </a:lnTo>
                  <a:lnTo>
                    <a:pt x="1332" y="450"/>
                  </a:lnTo>
                  <a:lnTo>
                    <a:pt x="1338" y="480"/>
                  </a:lnTo>
                  <a:lnTo>
                    <a:pt x="1344" y="486"/>
                  </a:lnTo>
                  <a:lnTo>
                    <a:pt x="1338" y="492"/>
                  </a:lnTo>
                  <a:lnTo>
                    <a:pt x="1344" y="492"/>
                  </a:lnTo>
                  <a:lnTo>
                    <a:pt x="1344" y="498"/>
                  </a:lnTo>
                  <a:lnTo>
                    <a:pt x="1350" y="498"/>
                  </a:lnTo>
                  <a:lnTo>
                    <a:pt x="1350" y="522"/>
                  </a:lnTo>
                  <a:lnTo>
                    <a:pt x="1362" y="564"/>
                  </a:lnTo>
                  <a:lnTo>
                    <a:pt x="1368" y="582"/>
                  </a:lnTo>
                  <a:lnTo>
                    <a:pt x="1380" y="600"/>
                  </a:lnTo>
                  <a:lnTo>
                    <a:pt x="1386" y="636"/>
                  </a:lnTo>
                  <a:lnTo>
                    <a:pt x="1380" y="660"/>
                  </a:lnTo>
                  <a:lnTo>
                    <a:pt x="1380" y="678"/>
                  </a:lnTo>
                  <a:lnTo>
                    <a:pt x="1380" y="684"/>
                  </a:lnTo>
                  <a:lnTo>
                    <a:pt x="1374" y="684"/>
                  </a:lnTo>
                  <a:lnTo>
                    <a:pt x="1368" y="690"/>
                  </a:lnTo>
                  <a:lnTo>
                    <a:pt x="1356" y="702"/>
                  </a:lnTo>
                  <a:lnTo>
                    <a:pt x="1350" y="708"/>
                  </a:lnTo>
                  <a:lnTo>
                    <a:pt x="1356" y="714"/>
                  </a:lnTo>
                  <a:lnTo>
                    <a:pt x="1368" y="726"/>
                  </a:lnTo>
                  <a:lnTo>
                    <a:pt x="1380" y="738"/>
                  </a:lnTo>
                  <a:lnTo>
                    <a:pt x="1386" y="744"/>
                  </a:lnTo>
                  <a:lnTo>
                    <a:pt x="1392" y="744"/>
                  </a:lnTo>
                  <a:lnTo>
                    <a:pt x="1410" y="750"/>
                  </a:lnTo>
                  <a:lnTo>
                    <a:pt x="1416" y="756"/>
                  </a:lnTo>
                  <a:lnTo>
                    <a:pt x="1422" y="756"/>
                  </a:lnTo>
                  <a:lnTo>
                    <a:pt x="1422" y="762"/>
                  </a:lnTo>
                  <a:lnTo>
                    <a:pt x="1428" y="774"/>
                  </a:lnTo>
                  <a:lnTo>
                    <a:pt x="1428" y="780"/>
                  </a:lnTo>
                  <a:lnTo>
                    <a:pt x="1434" y="780"/>
                  </a:lnTo>
                  <a:lnTo>
                    <a:pt x="1440" y="798"/>
                  </a:lnTo>
                  <a:lnTo>
                    <a:pt x="1422" y="816"/>
                  </a:lnTo>
                  <a:lnTo>
                    <a:pt x="1386" y="810"/>
                  </a:lnTo>
                  <a:lnTo>
                    <a:pt x="1380" y="816"/>
                  </a:lnTo>
                  <a:lnTo>
                    <a:pt x="1374" y="840"/>
                  </a:lnTo>
                  <a:lnTo>
                    <a:pt x="1350" y="852"/>
                  </a:lnTo>
                  <a:lnTo>
                    <a:pt x="1350" y="858"/>
                  </a:lnTo>
                  <a:lnTo>
                    <a:pt x="1350" y="864"/>
                  </a:lnTo>
                  <a:lnTo>
                    <a:pt x="1344" y="864"/>
                  </a:lnTo>
                  <a:lnTo>
                    <a:pt x="1338" y="870"/>
                  </a:lnTo>
                  <a:lnTo>
                    <a:pt x="1332" y="876"/>
                  </a:lnTo>
                  <a:lnTo>
                    <a:pt x="1314" y="876"/>
                  </a:lnTo>
                  <a:lnTo>
                    <a:pt x="1314" y="870"/>
                  </a:lnTo>
                  <a:lnTo>
                    <a:pt x="1308" y="870"/>
                  </a:lnTo>
                  <a:lnTo>
                    <a:pt x="1302" y="864"/>
                  </a:lnTo>
                  <a:lnTo>
                    <a:pt x="1296" y="864"/>
                  </a:lnTo>
                  <a:lnTo>
                    <a:pt x="1284" y="870"/>
                  </a:lnTo>
                  <a:lnTo>
                    <a:pt x="1266" y="870"/>
                  </a:lnTo>
                  <a:lnTo>
                    <a:pt x="1260" y="870"/>
                  </a:lnTo>
                  <a:lnTo>
                    <a:pt x="1248" y="876"/>
                  </a:lnTo>
                  <a:lnTo>
                    <a:pt x="1236" y="876"/>
                  </a:lnTo>
                  <a:lnTo>
                    <a:pt x="1230" y="882"/>
                  </a:lnTo>
                  <a:lnTo>
                    <a:pt x="1224" y="894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18" y="942"/>
                  </a:lnTo>
                  <a:lnTo>
                    <a:pt x="1212" y="948"/>
                  </a:lnTo>
                  <a:lnTo>
                    <a:pt x="1200" y="984"/>
                  </a:lnTo>
                  <a:lnTo>
                    <a:pt x="1194" y="1008"/>
                  </a:lnTo>
                  <a:lnTo>
                    <a:pt x="1218" y="1038"/>
                  </a:lnTo>
                  <a:lnTo>
                    <a:pt x="1224" y="1044"/>
                  </a:lnTo>
                  <a:lnTo>
                    <a:pt x="1224" y="1062"/>
                  </a:lnTo>
                  <a:lnTo>
                    <a:pt x="1236" y="1080"/>
                  </a:lnTo>
                  <a:lnTo>
                    <a:pt x="1236" y="1086"/>
                  </a:lnTo>
                  <a:lnTo>
                    <a:pt x="1230" y="1092"/>
                  </a:lnTo>
                  <a:lnTo>
                    <a:pt x="1224" y="1110"/>
                  </a:lnTo>
                  <a:lnTo>
                    <a:pt x="1218" y="1122"/>
                  </a:lnTo>
                  <a:lnTo>
                    <a:pt x="1224" y="1140"/>
                  </a:lnTo>
                  <a:lnTo>
                    <a:pt x="1218" y="1146"/>
                  </a:lnTo>
                  <a:lnTo>
                    <a:pt x="1218" y="1152"/>
                  </a:lnTo>
                  <a:lnTo>
                    <a:pt x="1212" y="116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1" name="Freeform 36">
              <a:extLst>
                <a:ext uri="{FF2B5EF4-FFF2-40B4-BE49-F238E27FC236}">
                  <a16:creationId xmlns:a16="http://schemas.microsoft.com/office/drawing/2014/main" id="{B9C0D6BE-CB1C-4E69-B224-1ABF097AA8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90208" y="1647855"/>
              <a:ext cx="742415" cy="758173"/>
            </a:xfrm>
            <a:custGeom>
              <a:avLst/>
              <a:gdLst>
                <a:gd name="T0" fmla="*/ 75 w 1398"/>
                <a:gd name="T1" fmla="*/ 48 h 1428"/>
                <a:gd name="T2" fmla="*/ 68 w 1398"/>
                <a:gd name="T3" fmla="*/ 54 h 1428"/>
                <a:gd name="T4" fmla="*/ 57 w 1398"/>
                <a:gd name="T5" fmla="*/ 59 h 1428"/>
                <a:gd name="T6" fmla="*/ 55 w 1398"/>
                <a:gd name="T7" fmla="*/ 68 h 1428"/>
                <a:gd name="T8" fmla="*/ 55 w 1398"/>
                <a:gd name="T9" fmla="*/ 77 h 1428"/>
                <a:gd name="T10" fmla="*/ 57 w 1398"/>
                <a:gd name="T11" fmla="*/ 81 h 1428"/>
                <a:gd name="T12" fmla="*/ 56 w 1398"/>
                <a:gd name="T13" fmla="*/ 86 h 1428"/>
                <a:gd name="T14" fmla="*/ 57 w 1398"/>
                <a:gd name="T15" fmla="*/ 89 h 1428"/>
                <a:gd name="T16" fmla="*/ 58 w 1398"/>
                <a:gd name="T17" fmla="*/ 92 h 1428"/>
                <a:gd name="T18" fmla="*/ 58 w 1398"/>
                <a:gd name="T19" fmla="*/ 96 h 1428"/>
                <a:gd name="T20" fmla="*/ 49 w 1398"/>
                <a:gd name="T21" fmla="*/ 100 h 1428"/>
                <a:gd name="T22" fmla="*/ 47 w 1398"/>
                <a:gd name="T23" fmla="*/ 108 h 1428"/>
                <a:gd name="T24" fmla="*/ 48 w 1398"/>
                <a:gd name="T25" fmla="*/ 113 h 1428"/>
                <a:gd name="T26" fmla="*/ 43 w 1398"/>
                <a:gd name="T27" fmla="*/ 114 h 1428"/>
                <a:gd name="T28" fmla="*/ 39 w 1398"/>
                <a:gd name="T29" fmla="*/ 113 h 1428"/>
                <a:gd name="T30" fmla="*/ 33 w 1398"/>
                <a:gd name="T31" fmla="*/ 109 h 1428"/>
                <a:gd name="T32" fmla="*/ 29 w 1398"/>
                <a:gd name="T33" fmla="*/ 114 h 1428"/>
                <a:gd name="T34" fmla="*/ 22 w 1398"/>
                <a:gd name="T35" fmla="*/ 115 h 1428"/>
                <a:gd name="T36" fmla="*/ 21 w 1398"/>
                <a:gd name="T37" fmla="*/ 121 h 1428"/>
                <a:gd name="T38" fmla="*/ 12 w 1398"/>
                <a:gd name="T39" fmla="*/ 119 h 1428"/>
                <a:gd name="T40" fmla="*/ 9 w 1398"/>
                <a:gd name="T41" fmla="*/ 113 h 1428"/>
                <a:gd name="T42" fmla="*/ 2 w 1398"/>
                <a:gd name="T43" fmla="*/ 109 h 1428"/>
                <a:gd name="T44" fmla="*/ 4 w 1398"/>
                <a:gd name="T45" fmla="*/ 103 h 1428"/>
                <a:gd name="T46" fmla="*/ 2 w 1398"/>
                <a:gd name="T47" fmla="*/ 91 h 1428"/>
                <a:gd name="T48" fmla="*/ 6 w 1398"/>
                <a:gd name="T49" fmla="*/ 85 h 1428"/>
                <a:gd name="T50" fmla="*/ 10 w 1398"/>
                <a:gd name="T51" fmla="*/ 85 h 1428"/>
                <a:gd name="T52" fmla="*/ 15 w 1398"/>
                <a:gd name="T53" fmla="*/ 82 h 1428"/>
                <a:gd name="T54" fmla="*/ 20 w 1398"/>
                <a:gd name="T55" fmla="*/ 77 h 1428"/>
                <a:gd name="T56" fmla="*/ 16 w 1398"/>
                <a:gd name="T57" fmla="*/ 73 h 1428"/>
                <a:gd name="T58" fmla="*/ 16 w 1398"/>
                <a:gd name="T59" fmla="*/ 69 h 1428"/>
                <a:gd name="T60" fmla="*/ 14 w 1398"/>
                <a:gd name="T61" fmla="*/ 54 h 1428"/>
                <a:gd name="T62" fmla="*/ 12 w 1398"/>
                <a:gd name="T63" fmla="*/ 48 h 1428"/>
                <a:gd name="T64" fmla="*/ 11 w 1398"/>
                <a:gd name="T65" fmla="*/ 31 h 1428"/>
                <a:gd name="T66" fmla="*/ 14 w 1398"/>
                <a:gd name="T67" fmla="*/ 18 h 1428"/>
                <a:gd name="T68" fmla="*/ 19 w 1398"/>
                <a:gd name="T69" fmla="*/ 15 h 1428"/>
                <a:gd name="T70" fmla="*/ 26 w 1398"/>
                <a:gd name="T71" fmla="*/ 13 h 1428"/>
                <a:gd name="T72" fmla="*/ 34 w 1398"/>
                <a:gd name="T73" fmla="*/ 12 h 1428"/>
                <a:gd name="T74" fmla="*/ 39 w 1398"/>
                <a:gd name="T75" fmla="*/ 9 h 1428"/>
                <a:gd name="T76" fmla="*/ 43 w 1398"/>
                <a:gd name="T77" fmla="*/ 7 h 1428"/>
                <a:gd name="T78" fmla="*/ 48 w 1398"/>
                <a:gd name="T79" fmla="*/ 3 h 1428"/>
                <a:gd name="T80" fmla="*/ 54 w 1398"/>
                <a:gd name="T81" fmla="*/ 0 h 1428"/>
                <a:gd name="T82" fmla="*/ 58 w 1398"/>
                <a:gd name="T83" fmla="*/ 0 h 1428"/>
                <a:gd name="T84" fmla="*/ 66 w 1398"/>
                <a:gd name="T85" fmla="*/ 2 h 1428"/>
                <a:gd name="T86" fmla="*/ 70 w 1398"/>
                <a:gd name="T87" fmla="*/ 3 h 1428"/>
                <a:gd name="T88" fmla="*/ 75 w 1398"/>
                <a:gd name="T89" fmla="*/ 6 h 1428"/>
                <a:gd name="T90" fmla="*/ 80 w 1398"/>
                <a:gd name="T91" fmla="*/ 9 h 1428"/>
                <a:gd name="T92" fmla="*/ 83 w 1398"/>
                <a:gd name="T93" fmla="*/ 12 h 1428"/>
                <a:gd name="T94" fmla="*/ 87 w 1398"/>
                <a:gd name="T95" fmla="*/ 15 h 1428"/>
                <a:gd name="T96" fmla="*/ 94 w 1398"/>
                <a:gd name="T97" fmla="*/ 15 h 1428"/>
                <a:gd name="T98" fmla="*/ 99 w 1398"/>
                <a:gd name="T99" fmla="*/ 21 h 1428"/>
                <a:gd name="T100" fmla="*/ 103 w 1398"/>
                <a:gd name="T101" fmla="*/ 23 h 1428"/>
                <a:gd name="T102" fmla="*/ 110 w 1398"/>
                <a:gd name="T103" fmla="*/ 26 h 1428"/>
                <a:gd name="T104" fmla="*/ 116 w 1398"/>
                <a:gd name="T105" fmla="*/ 27 h 1428"/>
                <a:gd name="T106" fmla="*/ 120 w 1398"/>
                <a:gd name="T107" fmla="*/ 27 h 1428"/>
                <a:gd name="T108" fmla="*/ 116 w 1398"/>
                <a:gd name="T109" fmla="*/ 35 h 1428"/>
                <a:gd name="T110" fmla="*/ 104 w 1398"/>
                <a:gd name="T111" fmla="*/ 37 h 1428"/>
                <a:gd name="T112" fmla="*/ 97 w 1398"/>
                <a:gd name="T113" fmla="*/ 34 h 1428"/>
                <a:gd name="T114" fmla="*/ 91 w 1398"/>
                <a:gd name="T115" fmla="*/ 29 h 1428"/>
                <a:gd name="T116" fmla="*/ 75 w 1398"/>
                <a:gd name="T117" fmla="*/ 29 h 1428"/>
                <a:gd name="T118" fmla="*/ 72 w 1398"/>
                <a:gd name="T119" fmla="*/ 39 h 1428"/>
                <a:gd name="T120" fmla="*/ 80 w 1398"/>
                <a:gd name="T121" fmla="*/ 41 h 142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98"/>
                <a:gd name="T184" fmla="*/ 0 h 1428"/>
                <a:gd name="T185" fmla="*/ 1398 w 1398"/>
                <a:gd name="T186" fmla="*/ 1428 h 142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98" h="1428">
                  <a:moveTo>
                    <a:pt x="924" y="474"/>
                  </a:moveTo>
                  <a:lnTo>
                    <a:pt x="900" y="480"/>
                  </a:lnTo>
                  <a:lnTo>
                    <a:pt x="864" y="486"/>
                  </a:lnTo>
                  <a:lnTo>
                    <a:pt x="864" y="504"/>
                  </a:lnTo>
                  <a:lnTo>
                    <a:pt x="858" y="522"/>
                  </a:lnTo>
                  <a:lnTo>
                    <a:pt x="864" y="528"/>
                  </a:lnTo>
                  <a:lnTo>
                    <a:pt x="864" y="552"/>
                  </a:lnTo>
                  <a:lnTo>
                    <a:pt x="852" y="552"/>
                  </a:lnTo>
                  <a:lnTo>
                    <a:pt x="846" y="564"/>
                  </a:lnTo>
                  <a:lnTo>
                    <a:pt x="840" y="582"/>
                  </a:lnTo>
                  <a:lnTo>
                    <a:pt x="834" y="594"/>
                  </a:lnTo>
                  <a:lnTo>
                    <a:pt x="828" y="606"/>
                  </a:lnTo>
                  <a:lnTo>
                    <a:pt x="828" y="618"/>
                  </a:lnTo>
                  <a:lnTo>
                    <a:pt x="786" y="630"/>
                  </a:lnTo>
                  <a:lnTo>
                    <a:pt x="774" y="636"/>
                  </a:lnTo>
                  <a:lnTo>
                    <a:pt x="762" y="642"/>
                  </a:lnTo>
                  <a:lnTo>
                    <a:pt x="744" y="648"/>
                  </a:lnTo>
                  <a:lnTo>
                    <a:pt x="714" y="660"/>
                  </a:lnTo>
                  <a:lnTo>
                    <a:pt x="696" y="666"/>
                  </a:lnTo>
                  <a:lnTo>
                    <a:pt x="666" y="672"/>
                  </a:lnTo>
                  <a:lnTo>
                    <a:pt x="654" y="684"/>
                  </a:lnTo>
                  <a:lnTo>
                    <a:pt x="648" y="684"/>
                  </a:lnTo>
                  <a:lnTo>
                    <a:pt x="642" y="696"/>
                  </a:lnTo>
                  <a:lnTo>
                    <a:pt x="636" y="696"/>
                  </a:lnTo>
                  <a:lnTo>
                    <a:pt x="630" y="714"/>
                  </a:lnTo>
                  <a:lnTo>
                    <a:pt x="624" y="738"/>
                  </a:lnTo>
                  <a:lnTo>
                    <a:pt x="624" y="762"/>
                  </a:lnTo>
                  <a:lnTo>
                    <a:pt x="630" y="780"/>
                  </a:lnTo>
                  <a:lnTo>
                    <a:pt x="636" y="804"/>
                  </a:lnTo>
                  <a:lnTo>
                    <a:pt x="642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6" y="834"/>
                  </a:lnTo>
                  <a:lnTo>
                    <a:pt x="636" y="870"/>
                  </a:lnTo>
                  <a:lnTo>
                    <a:pt x="636" y="882"/>
                  </a:lnTo>
                  <a:lnTo>
                    <a:pt x="636" y="906"/>
                  </a:lnTo>
                  <a:lnTo>
                    <a:pt x="630" y="906"/>
                  </a:lnTo>
                  <a:lnTo>
                    <a:pt x="636" y="918"/>
                  </a:lnTo>
                  <a:lnTo>
                    <a:pt x="642" y="918"/>
                  </a:lnTo>
                  <a:lnTo>
                    <a:pt x="642" y="930"/>
                  </a:lnTo>
                  <a:lnTo>
                    <a:pt x="648" y="936"/>
                  </a:lnTo>
                  <a:lnTo>
                    <a:pt x="654" y="936"/>
                  </a:lnTo>
                  <a:lnTo>
                    <a:pt x="654" y="942"/>
                  </a:lnTo>
                  <a:lnTo>
                    <a:pt x="654" y="948"/>
                  </a:lnTo>
                  <a:lnTo>
                    <a:pt x="648" y="954"/>
                  </a:lnTo>
                  <a:lnTo>
                    <a:pt x="648" y="960"/>
                  </a:lnTo>
                  <a:lnTo>
                    <a:pt x="648" y="966"/>
                  </a:lnTo>
                  <a:lnTo>
                    <a:pt x="648" y="972"/>
                  </a:lnTo>
                  <a:lnTo>
                    <a:pt x="648" y="990"/>
                  </a:lnTo>
                  <a:lnTo>
                    <a:pt x="654" y="996"/>
                  </a:lnTo>
                  <a:lnTo>
                    <a:pt x="648" y="1002"/>
                  </a:lnTo>
                  <a:lnTo>
                    <a:pt x="648" y="1008"/>
                  </a:lnTo>
                  <a:lnTo>
                    <a:pt x="654" y="1014"/>
                  </a:lnTo>
                  <a:lnTo>
                    <a:pt x="654" y="1020"/>
                  </a:lnTo>
                  <a:lnTo>
                    <a:pt x="654" y="1026"/>
                  </a:lnTo>
                  <a:lnTo>
                    <a:pt x="660" y="1026"/>
                  </a:lnTo>
                  <a:lnTo>
                    <a:pt x="660" y="1032"/>
                  </a:lnTo>
                  <a:lnTo>
                    <a:pt x="660" y="1038"/>
                  </a:lnTo>
                  <a:lnTo>
                    <a:pt x="666" y="1044"/>
                  </a:lnTo>
                  <a:lnTo>
                    <a:pt x="672" y="1050"/>
                  </a:lnTo>
                  <a:lnTo>
                    <a:pt x="672" y="1056"/>
                  </a:lnTo>
                  <a:lnTo>
                    <a:pt x="672" y="1062"/>
                  </a:lnTo>
                  <a:lnTo>
                    <a:pt x="672" y="1068"/>
                  </a:lnTo>
                  <a:lnTo>
                    <a:pt x="672" y="1074"/>
                  </a:lnTo>
                  <a:lnTo>
                    <a:pt x="678" y="1074"/>
                  </a:lnTo>
                  <a:lnTo>
                    <a:pt x="678" y="1080"/>
                  </a:lnTo>
                  <a:lnTo>
                    <a:pt x="678" y="1086"/>
                  </a:lnTo>
                  <a:lnTo>
                    <a:pt x="672" y="1092"/>
                  </a:lnTo>
                  <a:lnTo>
                    <a:pt x="672" y="1098"/>
                  </a:lnTo>
                  <a:lnTo>
                    <a:pt x="672" y="1104"/>
                  </a:lnTo>
                  <a:lnTo>
                    <a:pt x="666" y="1116"/>
                  </a:lnTo>
                  <a:lnTo>
                    <a:pt x="624" y="1122"/>
                  </a:lnTo>
                  <a:lnTo>
                    <a:pt x="576" y="1134"/>
                  </a:lnTo>
                  <a:lnTo>
                    <a:pt x="570" y="1140"/>
                  </a:lnTo>
                  <a:lnTo>
                    <a:pt x="570" y="1146"/>
                  </a:lnTo>
                  <a:lnTo>
                    <a:pt x="564" y="1146"/>
                  </a:lnTo>
                  <a:lnTo>
                    <a:pt x="564" y="1152"/>
                  </a:lnTo>
                  <a:lnTo>
                    <a:pt x="564" y="1164"/>
                  </a:lnTo>
                  <a:lnTo>
                    <a:pt x="564" y="1170"/>
                  </a:lnTo>
                  <a:lnTo>
                    <a:pt x="564" y="1176"/>
                  </a:lnTo>
                  <a:lnTo>
                    <a:pt x="546" y="1176"/>
                  </a:lnTo>
                  <a:lnTo>
                    <a:pt x="540" y="1212"/>
                  </a:lnTo>
                  <a:lnTo>
                    <a:pt x="540" y="1230"/>
                  </a:lnTo>
                  <a:lnTo>
                    <a:pt x="546" y="1242"/>
                  </a:lnTo>
                  <a:lnTo>
                    <a:pt x="546" y="1254"/>
                  </a:lnTo>
                  <a:lnTo>
                    <a:pt x="558" y="1266"/>
                  </a:lnTo>
                  <a:lnTo>
                    <a:pt x="576" y="1272"/>
                  </a:lnTo>
                  <a:lnTo>
                    <a:pt x="570" y="1278"/>
                  </a:lnTo>
                  <a:lnTo>
                    <a:pt x="576" y="1284"/>
                  </a:lnTo>
                  <a:lnTo>
                    <a:pt x="570" y="1296"/>
                  </a:lnTo>
                  <a:lnTo>
                    <a:pt x="558" y="1302"/>
                  </a:lnTo>
                  <a:lnTo>
                    <a:pt x="540" y="1308"/>
                  </a:lnTo>
                  <a:lnTo>
                    <a:pt x="522" y="1314"/>
                  </a:lnTo>
                  <a:lnTo>
                    <a:pt x="516" y="1314"/>
                  </a:lnTo>
                  <a:lnTo>
                    <a:pt x="510" y="1314"/>
                  </a:lnTo>
                  <a:lnTo>
                    <a:pt x="504" y="1314"/>
                  </a:lnTo>
                  <a:lnTo>
                    <a:pt x="498" y="1320"/>
                  </a:lnTo>
                  <a:lnTo>
                    <a:pt x="492" y="1320"/>
                  </a:lnTo>
                  <a:lnTo>
                    <a:pt x="492" y="1326"/>
                  </a:lnTo>
                  <a:lnTo>
                    <a:pt x="486" y="1326"/>
                  </a:lnTo>
                  <a:lnTo>
                    <a:pt x="480" y="1326"/>
                  </a:lnTo>
                  <a:lnTo>
                    <a:pt x="480" y="1320"/>
                  </a:lnTo>
                  <a:lnTo>
                    <a:pt x="468" y="1314"/>
                  </a:lnTo>
                  <a:lnTo>
                    <a:pt x="462" y="1308"/>
                  </a:lnTo>
                  <a:lnTo>
                    <a:pt x="456" y="1302"/>
                  </a:lnTo>
                  <a:lnTo>
                    <a:pt x="444" y="1296"/>
                  </a:lnTo>
                  <a:lnTo>
                    <a:pt x="420" y="1290"/>
                  </a:lnTo>
                  <a:lnTo>
                    <a:pt x="414" y="1278"/>
                  </a:lnTo>
                  <a:lnTo>
                    <a:pt x="408" y="1278"/>
                  </a:lnTo>
                  <a:lnTo>
                    <a:pt x="408" y="1266"/>
                  </a:lnTo>
                  <a:lnTo>
                    <a:pt x="402" y="1260"/>
                  </a:lnTo>
                  <a:lnTo>
                    <a:pt x="384" y="1260"/>
                  </a:lnTo>
                  <a:lnTo>
                    <a:pt x="372" y="1266"/>
                  </a:lnTo>
                  <a:lnTo>
                    <a:pt x="360" y="1272"/>
                  </a:lnTo>
                  <a:lnTo>
                    <a:pt x="348" y="1272"/>
                  </a:lnTo>
                  <a:lnTo>
                    <a:pt x="342" y="1284"/>
                  </a:lnTo>
                  <a:lnTo>
                    <a:pt x="336" y="1290"/>
                  </a:lnTo>
                  <a:lnTo>
                    <a:pt x="336" y="1308"/>
                  </a:lnTo>
                  <a:lnTo>
                    <a:pt x="336" y="1314"/>
                  </a:lnTo>
                  <a:lnTo>
                    <a:pt x="336" y="1320"/>
                  </a:lnTo>
                  <a:lnTo>
                    <a:pt x="330" y="1326"/>
                  </a:lnTo>
                  <a:lnTo>
                    <a:pt x="330" y="1332"/>
                  </a:lnTo>
                  <a:lnTo>
                    <a:pt x="330" y="1338"/>
                  </a:lnTo>
                  <a:lnTo>
                    <a:pt x="300" y="1338"/>
                  </a:lnTo>
                  <a:lnTo>
                    <a:pt x="288" y="1338"/>
                  </a:lnTo>
                  <a:lnTo>
                    <a:pt x="258" y="1326"/>
                  </a:lnTo>
                  <a:lnTo>
                    <a:pt x="246" y="1332"/>
                  </a:lnTo>
                  <a:lnTo>
                    <a:pt x="240" y="1338"/>
                  </a:lnTo>
                  <a:lnTo>
                    <a:pt x="234" y="1338"/>
                  </a:lnTo>
                  <a:lnTo>
                    <a:pt x="228" y="1350"/>
                  </a:lnTo>
                  <a:lnTo>
                    <a:pt x="228" y="1374"/>
                  </a:lnTo>
                  <a:lnTo>
                    <a:pt x="234" y="1392"/>
                  </a:lnTo>
                  <a:lnTo>
                    <a:pt x="246" y="1398"/>
                  </a:lnTo>
                  <a:lnTo>
                    <a:pt x="246" y="1410"/>
                  </a:lnTo>
                  <a:lnTo>
                    <a:pt x="216" y="1428"/>
                  </a:lnTo>
                  <a:lnTo>
                    <a:pt x="198" y="1428"/>
                  </a:lnTo>
                  <a:lnTo>
                    <a:pt x="192" y="1422"/>
                  </a:lnTo>
                  <a:lnTo>
                    <a:pt x="174" y="1410"/>
                  </a:lnTo>
                  <a:lnTo>
                    <a:pt x="156" y="1386"/>
                  </a:lnTo>
                  <a:lnTo>
                    <a:pt x="132" y="1374"/>
                  </a:lnTo>
                  <a:lnTo>
                    <a:pt x="108" y="1368"/>
                  </a:lnTo>
                  <a:lnTo>
                    <a:pt x="84" y="1368"/>
                  </a:lnTo>
                  <a:lnTo>
                    <a:pt x="96" y="1356"/>
                  </a:lnTo>
                  <a:lnTo>
                    <a:pt x="102" y="1344"/>
                  </a:lnTo>
                  <a:lnTo>
                    <a:pt x="102" y="1332"/>
                  </a:lnTo>
                  <a:lnTo>
                    <a:pt x="108" y="1320"/>
                  </a:lnTo>
                  <a:lnTo>
                    <a:pt x="108" y="1302"/>
                  </a:lnTo>
                  <a:lnTo>
                    <a:pt x="96" y="1278"/>
                  </a:lnTo>
                  <a:lnTo>
                    <a:pt x="66" y="1284"/>
                  </a:lnTo>
                  <a:lnTo>
                    <a:pt x="54" y="1278"/>
                  </a:lnTo>
                  <a:lnTo>
                    <a:pt x="36" y="1278"/>
                  </a:lnTo>
                  <a:lnTo>
                    <a:pt x="18" y="1284"/>
                  </a:lnTo>
                  <a:lnTo>
                    <a:pt x="18" y="1272"/>
                  </a:lnTo>
                  <a:lnTo>
                    <a:pt x="24" y="1260"/>
                  </a:lnTo>
                  <a:lnTo>
                    <a:pt x="24" y="1254"/>
                  </a:lnTo>
                  <a:lnTo>
                    <a:pt x="30" y="1248"/>
                  </a:lnTo>
                  <a:lnTo>
                    <a:pt x="24" y="1230"/>
                  </a:lnTo>
                  <a:lnTo>
                    <a:pt x="30" y="1218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30" y="1170"/>
                  </a:lnTo>
                  <a:lnTo>
                    <a:pt x="30" y="1152"/>
                  </a:lnTo>
                  <a:lnTo>
                    <a:pt x="24" y="1146"/>
                  </a:lnTo>
                  <a:lnTo>
                    <a:pt x="0" y="1116"/>
                  </a:lnTo>
                  <a:lnTo>
                    <a:pt x="6" y="1092"/>
                  </a:lnTo>
                  <a:lnTo>
                    <a:pt x="18" y="1056"/>
                  </a:lnTo>
                  <a:lnTo>
                    <a:pt x="24" y="1050"/>
                  </a:lnTo>
                  <a:lnTo>
                    <a:pt x="24" y="1038"/>
                  </a:lnTo>
                  <a:lnTo>
                    <a:pt x="24" y="1026"/>
                  </a:lnTo>
                  <a:lnTo>
                    <a:pt x="30" y="1002"/>
                  </a:lnTo>
                  <a:lnTo>
                    <a:pt x="36" y="990"/>
                  </a:lnTo>
                  <a:lnTo>
                    <a:pt x="42" y="984"/>
                  </a:lnTo>
                  <a:lnTo>
                    <a:pt x="54" y="984"/>
                  </a:lnTo>
                  <a:lnTo>
                    <a:pt x="66" y="978"/>
                  </a:lnTo>
                  <a:lnTo>
                    <a:pt x="72" y="978"/>
                  </a:lnTo>
                  <a:lnTo>
                    <a:pt x="90" y="978"/>
                  </a:lnTo>
                  <a:lnTo>
                    <a:pt x="102" y="972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78"/>
                  </a:lnTo>
                  <a:lnTo>
                    <a:pt x="120" y="984"/>
                  </a:lnTo>
                  <a:lnTo>
                    <a:pt x="138" y="984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6" y="972"/>
                  </a:lnTo>
                  <a:lnTo>
                    <a:pt x="156" y="966"/>
                  </a:lnTo>
                  <a:lnTo>
                    <a:pt x="156" y="960"/>
                  </a:lnTo>
                  <a:lnTo>
                    <a:pt x="180" y="948"/>
                  </a:lnTo>
                  <a:lnTo>
                    <a:pt x="186" y="924"/>
                  </a:lnTo>
                  <a:lnTo>
                    <a:pt x="192" y="918"/>
                  </a:lnTo>
                  <a:lnTo>
                    <a:pt x="228" y="924"/>
                  </a:lnTo>
                  <a:lnTo>
                    <a:pt x="246" y="906"/>
                  </a:lnTo>
                  <a:lnTo>
                    <a:pt x="240" y="888"/>
                  </a:lnTo>
                  <a:lnTo>
                    <a:pt x="234" y="888"/>
                  </a:lnTo>
                  <a:lnTo>
                    <a:pt x="234" y="882"/>
                  </a:lnTo>
                  <a:lnTo>
                    <a:pt x="228" y="870"/>
                  </a:lnTo>
                  <a:lnTo>
                    <a:pt x="228" y="864"/>
                  </a:lnTo>
                  <a:lnTo>
                    <a:pt x="222" y="864"/>
                  </a:lnTo>
                  <a:lnTo>
                    <a:pt x="216" y="858"/>
                  </a:lnTo>
                  <a:lnTo>
                    <a:pt x="198" y="852"/>
                  </a:lnTo>
                  <a:lnTo>
                    <a:pt x="192" y="852"/>
                  </a:lnTo>
                  <a:lnTo>
                    <a:pt x="186" y="846"/>
                  </a:lnTo>
                  <a:lnTo>
                    <a:pt x="174" y="834"/>
                  </a:lnTo>
                  <a:lnTo>
                    <a:pt x="162" y="822"/>
                  </a:lnTo>
                  <a:lnTo>
                    <a:pt x="156" y="816"/>
                  </a:lnTo>
                  <a:lnTo>
                    <a:pt x="162" y="810"/>
                  </a:lnTo>
                  <a:lnTo>
                    <a:pt x="174" y="798"/>
                  </a:lnTo>
                  <a:lnTo>
                    <a:pt x="180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68"/>
                  </a:lnTo>
                  <a:lnTo>
                    <a:pt x="192" y="744"/>
                  </a:lnTo>
                  <a:lnTo>
                    <a:pt x="186" y="708"/>
                  </a:lnTo>
                  <a:lnTo>
                    <a:pt x="174" y="690"/>
                  </a:lnTo>
                  <a:lnTo>
                    <a:pt x="168" y="672"/>
                  </a:lnTo>
                  <a:lnTo>
                    <a:pt x="156" y="630"/>
                  </a:lnTo>
                  <a:lnTo>
                    <a:pt x="156" y="606"/>
                  </a:lnTo>
                  <a:lnTo>
                    <a:pt x="150" y="606"/>
                  </a:lnTo>
                  <a:lnTo>
                    <a:pt x="150" y="600"/>
                  </a:lnTo>
                  <a:lnTo>
                    <a:pt x="144" y="600"/>
                  </a:lnTo>
                  <a:lnTo>
                    <a:pt x="150" y="594"/>
                  </a:lnTo>
                  <a:lnTo>
                    <a:pt x="144" y="588"/>
                  </a:lnTo>
                  <a:lnTo>
                    <a:pt x="138" y="558"/>
                  </a:lnTo>
                  <a:lnTo>
                    <a:pt x="138" y="528"/>
                  </a:lnTo>
                  <a:lnTo>
                    <a:pt x="132" y="480"/>
                  </a:lnTo>
                  <a:lnTo>
                    <a:pt x="132" y="462"/>
                  </a:lnTo>
                  <a:lnTo>
                    <a:pt x="126" y="426"/>
                  </a:lnTo>
                  <a:lnTo>
                    <a:pt x="126" y="396"/>
                  </a:lnTo>
                  <a:lnTo>
                    <a:pt x="126" y="378"/>
                  </a:lnTo>
                  <a:lnTo>
                    <a:pt x="126" y="360"/>
                  </a:lnTo>
                  <a:lnTo>
                    <a:pt x="132" y="318"/>
                  </a:lnTo>
                  <a:lnTo>
                    <a:pt x="132" y="24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2" y="210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92" y="198"/>
                  </a:lnTo>
                  <a:lnTo>
                    <a:pt x="198" y="198"/>
                  </a:lnTo>
                  <a:lnTo>
                    <a:pt x="216" y="180"/>
                  </a:lnTo>
                  <a:lnTo>
                    <a:pt x="222" y="174"/>
                  </a:lnTo>
                  <a:lnTo>
                    <a:pt x="222" y="168"/>
                  </a:lnTo>
                  <a:lnTo>
                    <a:pt x="228" y="168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44"/>
                  </a:lnTo>
                  <a:lnTo>
                    <a:pt x="258" y="144"/>
                  </a:lnTo>
                  <a:lnTo>
                    <a:pt x="276" y="150"/>
                  </a:lnTo>
                  <a:lnTo>
                    <a:pt x="300" y="150"/>
                  </a:lnTo>
                  <a:lnTo>
                    <a:pt x="312" y="150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8" y="156"/>
                  </a:lnTo>
                  <a:lnTo>
                    <a:pt x="354" y="150"/>
                  </a:lnTo>
                  <a:lnTo>
                    <a:pt x="372" y="144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08" y="126"/>
                  </a:lnTo>
                  <a:lnTo>
                    <a:pt x="414" y="120"/>
                  </a:lnTo>
                  <a:lnTo>
                    <a:pt x="420" y="120"/>
                  </a:lnTo>
                  <a:lnTo>
                    <a:pt x="426" y="120"/>
                  </a:lnTo>
                  <a:lnTo>
                    <a:pt x="432" y="114"/>
                  </a:lnTo>
                  <a:lnTo>
                    <a:pt x="450" y="102"/>
                  </a:lnTo>
                  <a:lnTo>
                    <a:pt x="456" y="96"/>
                  </a:lnTo>
                  <a:lnTo>
                    <a:pt x="468" y="90"/>
                  </a:lnTo>
                  <a:lnTo>
                    <a:pt x="474" y="90"/>
                  </a:lnTo>
                  <a:lnTo>
                    <a:pt x="480" y="84"/>
                  </a:lnTo>
                  <a:lnTo>
                    <a:pt x="486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504" y="72"/>
                  </a:lnTo>
                  <a:lnTo>
                    <a:pt x="510" y="66"/>
                  </a:lnTo>
                  <a:lnTo>
                    <a:pt x="516" y="66"/>
                  </a:lnTo>
                  <a:lnTo>
                    <a:pt x="522" y="60"/>
                  </a:lnTo>
                  <a:lnTo>
                    <a:pt x="552" y="42"/>
                  </a:lnTo>
                  <a:lnTo>
                    <a:pt x="558" y="36"/>
                  </a:lnTo>
                  <a:lnTo>
                    <a:pt x="576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94" y="18"/>
                  </a:lnTo>
                  <a:lnTo>
                    <a:pt x="600" y="12"/>
                  </a:lnTo>
                  <a:lnTo>
                    <a:pt x="612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6"/>
                  </a:lnTo>
                  <a:lnTo>
                    <a:pt x="648" y="6"/>
                  </a:lnTo>
                  <a:lnTo>
                    <a:pt x="660" y="6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38" y="18"/>
                  </a:lnTo>
                  <a:lnTo>
                    <a:pt x="744" y="18"/>
                  </a:lnTo>
                  <a:lnTo>
                    <a:pt x="756" y="18"/>
                  </a:lnTo>
                  <a:lnTo>
                    <a:pt x="762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80" y="24"/>
                  </a:lnTo>
                  <a:lnTo>
                    <a:pt x="792" y="24"/>
                  </a:lnTo>
                  <a:lnTo>
                    <a:pt x="792" y="30"/>
                  </a:lnTo>
                  <a:lnTo>
                    <a:pt x="810" y="30"/>
                  </a:lnTo>
                  <a:lnTo>
                    <a:pt x="822" y="36"/>
                  </a:lnTo>
                  <a:lnTo>
                    <a:pt x="834" y="42"/>
                  </a:lnTo>
                  <a:lnTo>
                    <a:pt x="840" y="48"/>
                  </a:lnTo>
                  <a:lnTo>
                    <a:pt x="846" y="54"/>
                  </a:lnTo>
                  <a:lnTo>
                    <a:pt x="852" y="60"/>
                  </a:lnTo>
                  <a:lnTo>
                    <a:pt x="858" y="66"/>
                  </a:lnTo>
                  <a:lnTo>
                    <a:pt x="864" y="66"/>
                  </a:lnTo>
                  <a:lnTo>
                    <a:pt x="864" y="72"/>
                  </a:lnTo>
                  <a:lnTo>
                    <a:pt x="876" y="78"/>
                  </a:lnTo>
                  <a:lnTo>
                    <a:pt x="900" y="84"/>
                  </a:lnTo>
                  <a:lnTo>
                    <a:pt x="906" y="90"/>
                  </a:lnTo>
                  <a:lnTo>
                    <a:pt x="912" y="90"/>
                  </a:lnTo>
                  <a:lnTo>
                    <a:pt x="912" y="96"/>
                  </a:lnTo>
                  <a:lnTo>
                    <a:pt x="924" y="108"/>
                  </a:lnTo>
                  <a:lnTo>
                    <a:pt x="930" y="108"/>
                  </a:lnTo>
                  <a:lnTo>
                    <a:pt x="936" y="114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60" y="138"/>
                  </a:lnTo>
                  <a:lnTo>
                    <a:pt x="966" y="144"/>
                  </a:lnTo>
                  <a:lnTo>
                    <a:pt x="972" y="156"/>
                  </a:lnTo>
                  <a:lnTo>
                    <a:pt x="978" y="162"/>
                  </a:lnTo>
                  <a:lnTo>
                    <a:pt x="984" y="162"/>
                  </a:lnTo>
                  <a:lnTo>
                    <a:pt x="990" y="168"/>
                  </a:lnTo>
                  <a:lnTo>
                    <a:pt x="996" y="174"/>
                  </a:lnTo>
                  <a:lnTo>
                    <a:pt x="1002" y="180"/>
                  </a:lnTo>
                  <a:lnTo>
                    <a:pt x="1008" y="180"/>
                  </a:lnTo>
                  <a:lnTo>
                    <a:pt x="1020" y="180"/>
                  </a:lnTo>
                  <a:lnTo>
                    <a:pt x="1038" y="174"/>
                  </a:lnTo>
                  <a:lnTo>
                    <a:pt x="1050" y="174"/>
                  </a:lnTo>
                  <a:lnTo>
                    <a:pt x="1056" y="174"/>
                  </a:lnTo>
                  <a:lnTo>
                    <a:pt x="1068" y="180"/>
                  </a:lnTo>
                  <a:lnTo>
                    <a:pt x="1080" y="180"/>
                  </a:lnTo>
                  <a:lnTo>
                    <a:pt x="1086" y="186"/>
                  </a:lnTo>
                  <a:lnTo>
                    <a:pt x="1098" y="192"/>
                  </a:lnTo>
                  <a:lnTo>
                    <a:pt x="1116" y="204"/>
                  </a:lnTo>
                  <a:lnTo>
                    <a:pt x="1122" y="210"/>
                  </a:lnTo>
                  <a:lnTo>
                    <a:pt x="1134" y="222"/>
                  </a:lnTo>
                  <a:lnTo>
                    <a:pt x="1146" y="234"/>
                  </a:lnTo>
                  <a:lnTo>
                    <a:pt x="1146" y="240"/>
                  </a:lnTo>
                  <a:lnTo>
                    <a:pt x="1152" y="246"/>
                  </a:lnTo>
                  <a:lnTo>
                    <a:pt x="1152" y="252"/>
                  </a:lnTo>
                  <a:lnTo>
                    <a:pt x="1152" y="258"/>
                  </a:lnTo>
                  <a:lnTo>
                    <a:pt x="1164" y="258"/>
                  </a:lnTo>
                  <a:lnTo>
                    <a:pt x="1170" y="264"/>
                  </a:lnTo>
                  <a:lnTo>
                    <a:pt x="1182" y="270"/>
                  </a:lnTo>
                  <a:lnTo>
                    <a:pt x="1188" y="270"/>
                  </a:lnTo>
                  <a:lnTo>
                    <a:pt x="1194" y="270"/>
                  </a:lnTo>
                  <a:lnTo>
                    <a:pt x="1206" y="276"/>
                  </a:lnTo>
                  <a:lnTo>
                    <a:pt x="1224" y="282"/>
                  </a:lnTo>
                  <a:lnTo>
                    <a:pt x="1236" y="282"/>
                  </a:lnTo>
                  <a:lnTo>
                    <a:pt x="1242" y="288"/>
                  </a:lnTo>
                  <a:lnTo>
                    <a:pt x="1254" y="288"/>
                  </a:lnTo>
                  <a:lnTo>
                    <a:pt x="1266" y="294"/>
                  </a:lnTo>
                  <a:lnTo>
                    <a:pt x="1272" y="294"/>
                  </a:lnTo>
                  <a:lnTo>
                    <a:pt x="1284" y="300"/>
                  </a:lnTo>
                  <a:lnTo>
                    <a:pt x="1290" y="300"/>
                  </a:lnTo>
                  <a:lnTo>
                    <a:pt x="1296" y="300"/>
                  </a:lnTo>
                  <a:lnTo>
                    <a:pt x="1302" y="306"/>
                  </a:lnTo>
                  <a:lnTo>
                    <a:pt x="1326" y="312"/>
                  </a:lnTo>
                  <a:lnTo>
                    <a:pt x="1338" y="312"/>
                  </a:lnTo>
                  <a:lnTo>
                    <a:pt x="1338" y="318"/>
                  </a:lnTo>
                  <a:lnTo>
                    <a:pt x="1344" y="318"/>
                  </a:lnTo>
                  <a:lnTo>
                    <a:pt x="1350" y="318"/>
                  </a:lnTo>
                  <a:lnTo>
                    <a:pt x="1362" y="324"/>
                  </a:lnTo>
                  <a:lnTo>
                    <a:pt x="1368" y="318"/>
                  </a:lnTo>
                  <a:lnTo>
                    <a:pt x="1374" y="318"/>
                  </a:lnTo>
                  <a:lnTo>
                    <a:pt x="1386" y="318"/>
                  </a:lnTo>
                  <a:lnTo>
                    <a:pt x="1398" y="324"/>
                  </a:lnTo>
                  <a:lnTo>
                    <a:pt x="1398" y="342"/>
                  </a:lnTo>
                  <a:lnTo>
                    <a:pt x="1356" y="342"/>
                  </a:lnTo>
                  <a:lnTo>
                    <a:pt x="1350" y="348"/>
                  </a:lnTo>
                  <a:lnTo>
                    <a:pt x="1350" y="372"/>
                  </a:lnTo>
                  <a:lnTo>
                    <a:pt x="1338" y="384"/>
                  </a:lnTo>
                  <a:lnTo>
                    <a:pt x="1332" y="408"/>
                  </a:lnTo>
                  <a:lnTo>
                    <a:pt x="1320" y="420"/>
                  </a:lnTo>
                  <a:lnTo>
                    <a:pt x="1254" y="426"/>
                  </a:lnTo>
                  <a:lnTo>
                    <a:pt x="1248" y="432"/>
                  </a:lnTo>
                  <a:lnTo>
                    <a:pt x="1230" y="432"/>
                  </a:lnTo>
                  <a:lnTo>
                    <a:pt x="1212" y="432"/>
                  </a:lnTo>
                  <a:lnTo>
                    <a:pt x="1212" y="426"/>
                  </a:lnTo>
                  <a:lnTo>
                    <a:pt x="1200" y="426"/>
                  </a:lnTo>
                  <a:lnTo>
                    <a:pt x="1182" y="414"/>
                  </a:lnTo>
                  <a:lnTo>
                    <a:pt x="1182" y="420"/>
                  </a:lnTo>
                  <a:lnTo>
                    <a:pt x="1164" y="420"/>
                  </a:lnTo>
                  <a:lnTo>
                    <a:pt x="1158" y="414"/>
                  </a:lnTo>
                  <a:lnTo>
                    <a:pt x="1152" y="408"/>
                  </a:lnTo>
                  <a:lnTo>
                    <a:pt x="1146" y="402"/>
                  </a:lnTo>
                  <a:lnTo>
                    <a:pt x="1122" y="396"/>
                  </a:lnTo>
                  <a:lnTo>
                    <a:pt x="1116" y="366"/>
                  </a:lnTo>
                  <a:lnTo>
                    <a:pt x="1116" y="348"/>
                  </a:lnTo>
                  <a:lnTo>
                    <a:pt x="1110" y="342"/>
                  </a:lnTo>
                  <a:lnTo>
                    <a:pt x="1104" y="336"/>
                  </a:lnTo>
                  <a:lnTo>
                    <a:pt x="1092" y="330"/>
                  </a:lnTo>
                  <a:lnTo>
                    <a:pt x="1074" y="330"/>
                  </a:lnTo>
                  <a:lnTo>
                    <a:pt x="1044" y="330"/>
                  </a:lnTo>
                  <a:lnTo>
                    <a:pt x="1014" y="336"/>
                  </a:lnTo>
                  <a:lnTo>
                    <a:pt x="984" y="342"/>
                  </a:lnTo>
                  <a:lnTo>
                    <a:pt x="978" y="330"/>
                  </a:lnTo>
                  <a:lnTo>
                    <a:pt x="966" y="324"/>
                  </a:lnTo>
                  <a:lnTo>
                    <a:pt x="888" y="336"/>
                  </a:lnTo>
                  <a:lnTo>
                    <a:pt x="888" y="330"/>
                  </a:lnTo>
                  <a:lnTo>
                    <a:pt x="870" y="336"/>
                  </a:lnTo>
                  <a:lnTo>
                    <a:pt x="858" y="336"/>
                  </a:lnTo>
                  <a:lnTo>
                    <a:pt x="852" y="354"/>
                  </a:lnTo>
                  <a:lnTo>
                    <a:pt x="852" y="402"/>
                  </a:lnTo>
                  <a:lnTo>
                    <a:pt x="840" y="414"/>
                  </a:lnTo>
                  <a:lnTo>
                    <a:pt x="834" y="420"/>
                  </a:lnTo>
                  <a:lnTo>
                    <a:pt x="834" y="444"/>
                  </a:lnTo>
                  <a:lnTo>
                    <a:pt x="834" y="450"/>
                  </a:lnTo>
                  <a:lnTo>
                    <a:pt x="852" y="456"/>
                  </a:lnTo>
                  <a:lnTo>
                    <a:pt x="864" y="462"/>
                  </a:lnTo>
                  <a:lnTo>
                    <a:pt x="894" y="456"/>
                  </a:lnTo>
                  <a:lnTo>
                    <a:pt x="900" y="468"/>
                  </a:lnTo>
                  <a:lnTo>
                    <a:pt x="918" y="462"/>
                  </a:lnTo>
                  <a:lnTo>
                    <a:pt x="924" y="468"/>
                  </a:lnTo>
                  <a:lnTo>
                    <a:pt x="924" y="47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2" name="Freeform 37">
              <a:extLst>
                <a:ext uri="{FF2B5EF4-FFF2-40B4-BE49-F238E27FC236}">
                  <a16:creationId xmlns:a16="http://schemas.microsoft.com/office/drawing/2014/main" id="{DED8A1FF-B656-4D37-BD26-5B0A7B1A4A6D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441" y="1898343"/>
              <a:ext cx="567992" cy="686605"/>
            </a:xfrm>
            <a:custGeom>
              <a:avLst/>
              <a:gdLst>
                <a:gd name="T0" fmla="*/ 79 w 1068"/>
                <a:gd name="T1" fmla="*/ 72 h 1290"/>
                <a:gd name="T2" fmla="*/ 75 w 1068"/>
                <a:gd name="T3" fmla="*/ 73 h 1290"/>
                <a:gd name="T4" fmla="*/ 72 w 1068"/>
                <a:gd name="T5" fmla="*/ 76 h 1290"/>
                <a:gd name="T6" fmla="*/ 70 w 1068"/>
                <a:gd name="T7" fmla="*/ 78 h 1290"/>
                <a:gd name="T8" fmla="*/ 67 w 1068"/>
                <a:gd name="T9" fmla="*/ 82 h 1290"/>
                <a:gd name="T10" fmla="*/ 61 w 1068"/>
                <a:gd name="T11" fmla="*/ 86 h 1290"/>
                <a:gd name="T12" fmla="*/ 60 w 1068"/>
                <a:gd name="T13" fmla="*/ 93 h 1290"/>
                <a:gd name="T14" fmla="*/ 59 w 1068"/>
                <a:gd name="T15" fmla="*/ 97 h 1290"/>
                <a:gd name="T16" fmla="*/ 61 w 1068"/>
                <a:gd name="T17" fmla="*/ 101 h 1290"/>
                <a:gd name="T18" fmla="*/ 63 w 1068"/>
                <a:gd name="T19" fmla="*/ 104 h 1290"/>
                <a:gd name="T20" fmla="*/ 62 w 1068"/>
                <a:gd name="T21" fmla="*/ 108 h 1290"/>
                <a:gd name="T22" fmla="*/ 60 w 1068"/>
                <a:gd name="T23" fmla="*/ 111 h 1290"/>
                <a:gd name="T24" fmla="*/ 56 w 1068"/>
                <a:gd name="T25" fmla="*/ 111 h 1290"/>
                <a:gd name="T26" fmla="*/ 53 w 1068"/>
                <a:gd name="T27" fmla="*/ 110 h 1290"/>
                <a:gd name="T28" fmla="*/ 50 w 1068"/>
                <a:gd name="T29" fmla="*/ 109 h 1290"/>
                <a:gd name="T30" fmla="*/ 47 w 1068"/>
                <a:gd name="T31" fmla="*/ 110 h 1290"/>
                <a:gd name="T32" fmla="*/ 51 w 1068"/>
                <a:gd name="T33" fmla="*/ 104 h 1290"/>
                <a:gd name="T34" fmla="*/ 50 w 1068"/>
                <a:gd name="T35" fmla="*/ 95 h 1290"/>
                <a:gd name="T36" fmla="*/ 51 w 1068"/>
                <a:gd name="T37" fmla="*/ 90 h 1290"/>
                <a:gd name="T38" fmla="*/ 47 w 1068"/>
                <a:gd name="T39" fmla="*/ 84 h 1290"/>
                <a:gd name="T40" fmla="*/ 42 w 1068"/>
                <a:gd name="T41" fmla="*/ 78 h 1290"/>
                <a:gd name="T42" fmla="*/ 33 w 1068"/>
                <a:gd name="T43" fmla="*/ 73 h 1290"/>
                <a:gd name="T44" fmla="*/ 26 w 1068"/>
                <a:gd name="T45" fmla="*/ 68 h 1290"/>
                <a:gd name="T46" fmla="*/ 22 w 1068"/>
                <a:gd name="T47" fmla="*/ 63 h 1290"/>
                <a:gd name="T48" fmla="*/ 11 w 1068"/>
                <a:gd name="T49" fmla="*/ 67 h 1290"/>
                <a:gd name="T50" fmla="*/ 0 w 1068"/>
                <a:gd name="T51" fmla="*/ 68 h 1290"/>
                <a:gd name="T52" fmla="*/ 2 w 1068"/>
                <a:gd name="T53" fmla="*/ 59 h 1290"/>
                <a:gd name="T54" fmla="*/ 12 w 1068"/>
                <a:gd name="T55" fmla="*/ 55 h 1290"/>
                <a:gd name="T56" fmla="*/ 12 w 1068"/>
                <a:gd name="T57" fmla="*/ 51 h 1290"/>
                <a:gd name="T58" fmla="*/ 10 w 1068"/>
                <a:gd name="T59" fmla="*/ 47 h 1290"/>
                <a:gd name="T60" fmla="*/ 9 w 1068"/>
                <a:gd name="T61" fmla="*/ 42 h 1290"/>
                <a:gd name="T62" fmla="*/ 8 w 1068"/>
                <a:gd name="T63" fmla="*/ 38 h 1290"/>
                <a:gd name="T64" fmla="*/ 8 w 1068"/>
                <a:gd name="T65" fmla="*/ 29 h 1290"/>
                <a:gd name="T66" fmla="*/ 10 w 1068"/>
                <a:gd name="T67" fmla="*/ 18 h 1290"/>
                <a:gd name="T68" fmla="*/ 25 w 1068"/>
                <a:gd name="T69" fmla="*/ 12 h 1290"/>
                <a:gd name="T70" fmla="*/ 27 w 1068"/>
                <a:gd name="T71" fmla="*/ 4 h 1290"/>
                <a:gd name="T72" fmla="*/ 35 w 1068"/>
                <a:gd name="T73" fmla="*/ 6 h 1290"/>
                <a:gd name="T74" fmla="*/ 39 w 1068"/>
                <a:gd name="T75" fmla="*/ 8 h 1290"/>
                <a:gd name="T76" fmla="*/ 41 w 1068"/>
                <a:gd name="T77" fmla="*/ 3 h 1290"/>
                <a:gd name="T78" fmla="*/ 45 w 1068"/>
                <a:gd name="T79" fmla="*/ 0 h 1290"/>
                <a:gd name="T80" fmla="*/ 51 w 1068"/>
                <a:gd name="T81" fmla="*/ 0 h 1290"/>
                <a:gd name="T82" fmla="*/ 56 w 1068"/>
                <a:gd name="T83" fmla="*/ 4 h 1290"/>
                <a:gd name="T84" fmla="*/ 62 w 1068"/>
                <a:gd name="T85" fmla="*/ 12 h 1290"/>
                <a:gd name="T86" fmla="*/ 58 w 1068"/>
                <a:gd name="T87" fmla="*/ 17 h 1290"/>
                <a:gd name="T88" fmla="*/ 60 w 1068"/>
                <a:gd name="T89" fmla="*/ 18 h 1290"/>
                <a:gd name="T90" fmla="*/ 64 w 1068"/>
                <a:gd name="T91" fmla="*/ 16 h 1290"/>
                <a:gd name="T92" fmla="*/ 68 w 1068"/>
                <a:gd name="T93" fmla="*/ 18 h 1290"/>
                <a:gd name="T94" fmla="*/ 71 w 1068"/>
                <a:gd name="T95" fmla="*/ 27 h 1290"/>
                <a:gd name="T96" fmla="*/ 74 w 1068"/>
                <a:gd name="T97" fmla="*/ 30 h 1290"/>
                <a:gd name="T98" fmla="*/ 82 w 1068"/>
                <a:gd name="T99" fmla="*/ 30 h 1290"/>
                <a:gd name="T100" fmla="*/ 87 w 1068"/>
                <a:gd name="T101" fmla="*/ 35 h 1290"/>
                <a:gd name="T102" fmla="*/ 85 w 1068"/>
                <a:gd name="T103" fmla="*/ 42 h 1290"/>
                <a:gd name="T104" fmla="*/ 81 w 1068"/>
                <a:gd name="T105" fmla="*/ 46 h 1290"/>
                <a:gd name="T106" fmla="*/ 86 w 1068"/>
                <a:gd name="T107" fmla="*/ 50 h 1290"/>
                <a:gd name="T108" fmla="*/ 89 w 1068"/>
                <a:gd name="T109" fmla="*/ 58 h 1290"/>
                <a:gd name="T110" fmla="*/ 92 w 1068"/>
                <a:gd name="T111" fmla="*/ 61 h 1290"/>
                <a:gd name="T112" fmla="*/ 86 w 1068"/>
                <a:gd name="T113" fmla="*/ 66 h 1290"/>
                <a:gd name="T114" fmla="*/ 85 w 1068"/>
                <a:gd name="T115" fmla="*/ 70 h 129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68"/>
                <a:gd name="T175" fmla="*/ 0 h 1290"/>
                <a:gd name="T176" fmla="*/ 1068 w 1068"/>
                <a:gd name="T177" fmla="*/ 1290 h 129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68" h="1290">
                  <a:moveTo>
                    <a:pt x="978" y="804"/>
                  </a:moveTo>
                  <a:lnTo>
                    <a:pt x="972" y="810"/>
                  </a:lnTo>
                  <a:lnTo>
                    <a:pt x="966" y="810"/>
                  </a:lnTo>
                  <a:lnTo>
                    <a:pt x="966" y="816"/>
                  </a:lnTo>
                  <a:lnTo>
                    <a:pt x="936" y="828"/>
                  </a:lnTo>
                  <a:lnTo>
                    <a:pt x="924" y="822"/>
                  </a:lnTo>
                  <a:lnTo>
                    <a:pt x="912" y="822"/>
                  </a:lnTo>
                  <a:lnTo>
                    <a:pt x="906" y="828"/>
                  </a:lnTo>
                  <a:lnTo>
                    <a:pt x="900" y="828"/>
                  </a:lnTo>
                  <a:lnTo>
                    <a:pt x="900" y="822"/>
                  </a:lnTo>
                  <a:lnTo>
                    <a:pt x="894" y="822"/>
                  </a:lnTo>
                  <a:lnTo>
                    <a:pt x="888" y="828"/>
                  </a:lnTo>
                  <a:lnTo>
                    <a:pt x="882" y="834"/>
                  </a:lnTo>
                  <a:lnTo>
                    <a:pt x="876" y="834"/>
                  </a:lnTo>
                  <a:lnTo>
                    <a:pt x="870" y="840"/>
                  </a:lnTo>
                  <a:lnTo>
                    <a:pt x="864" y="840"/>
                  </a:lnTo>
                  <a:lnTo>
                    <a:pt x="864" y="846"/>
                  </a:lnTo>
                  <a:lnTo>
                    <a:pt x="858" y="846"/>
                  </a:lnTo>
                  <a:lnTo>
                    <a:pt x="852" y="846"/>
                  </a:lnTo>
                  <a:lnTo>
                    <a:pt x="852" y="858"/>
                  </a:lnTo>
                  <a:lnTo>
                    <a:pt x="846" y="864"/>
                  </a:lnTo>
                  <a:lnTo>
                    <a:pt x="840" y="870"/>
                  </a:lnTo>
                  <a:lnTo>
                    <a:pt x="834" y="870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34" y="876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10" y="894"/>
                  </a:lnTo>
                  <a:lnTo>
                    <a:pt x="810" y="900"/>
                  </a:lnTo>
                  <a:lnTo>
                    <a:pt x="804" y="900"/>
                  </a:lnTo>
                  <a:lnTo>
                    <a:pt x="798" y="900"/>
                  </a:lnTo>
                  <a:lnTo>
                    <a:pt x="798" y="906"/>
                  </a:lnTo>
                  <a:lnTo>
                    <a:pt x="792" y="906"/>
                  </a:lnTo>
                  <a:lnTo>
                    <a:pt x="792" y="912"/>
                  </a:lnTo>
                  <a:lnTo>
                    <a:pt x="792" y="924"/>
                  </a:lnTo>
                  <a:lnTo>
                    <a:pt x="786" y="930"/>
                  </a:lnTo>
                  <a:lnTo>
                    <a:pt x="774" y="942"/>
                  </a:lnTo>
                  <a:lnTo>
                    <a:pt x="774" y="948"/>
                  </a:lnTo>
                  <a:lnTo>
                    <a:pt x="768" y="954"/>
                  </a:lnTo>
                  <a:lnTo>
                    <a:pt x="762" y="954"/>
                  </a:lnTo>
                  <a:lnTo>
                    <a:pt x="750" y="972"/>
                  </a:lnTo>
                  <a:lnTo>
                    <a:pt x="720" y="978"/>
                  </a:lnTo>
                  <a:lnTo>
                    <a:pt x="714" y="978"/>
                  </a:lnTo>
                  <a:lnTo>
                    <a:pt x="708" y="978"/>
                  </a:lnTo>
                  <a:lnTo>
                    <a:pt x="702" y="990"/>
                  </a:lnTo>
                  <a:lnTo>
                    <a:pt x="696" y="990"/>
                  </a:lnTo>
                  <a:lnTo>
                    <a:pt x="696" y="1008"/>
                  </a:lnTo>
                  <a:lnTo>
                    <a:pt x="690" y="1008"/>
                  </a:lnTo>
                  <a:lnTo>
                    <a:pt x="690" y="1014"/>
                  </a:lnTo>
                  <a:lnTo>
                    <a:pt x="684" y="1032"/>
                  </a:lnTo>
                  <a:lnTo>
                    <a:pt x="690" y="1050"/>
                  </a:lnTo>
                  <a:lnTo>
                    <a:pt x="690" y="1062"/>
                  </a:lnTo>
                  <a:lnTo>
                    <a:pt x="690" y="1068"/>
                  </a:lnTo>
                  <a:lnTo>
                    <a:pt x="690" y="1074"/>
                  </a:lnTo>
                  <a:lnTo>
                    <a:pt x="684" y="1074"/>
                  </a:lnTo>
                  <a:lnTo>
                    <a:pt x="684" y="1080"/>
                  </a:lnTo>
                  <a:lnTo>
                    <a:pt x="678" y="1086"/>
                  </a:lnTo>
                  <a:lnTo>
                    <a:pt x="678" y="1104"/>
                  </a:lnTo>
                  <a:lnTo>
                    <a:pt x="678" y="1110"/>
                  </a:lnTo>
                  <a:lnTo>
                    <a:pt x="678" y="1116"/>
                  </a:lnTo>
                  <a:lnTo>
                    <a:pt x="684" y="1116"/>
                  </a:lnTo>
                  <a:lnTo>
                    <a:pt x="678" y="1128"/>
                  </a:lnTo>
                  <a:lnTo>
                    <a:pt x="684" y="1128"/>
                  </a:lnTo>
                  <a:lnTo>
                    <a:pt x="690" y="1134"/>
                  </a:lnTo>
                  <a:lnTo>
                    <a:pt x="690" y="1140"/>
                  </a:lnTo>
                  <a:lnTo>
                    <a:pt x="696" y="1140"/>
                  </a:lnTo>
                  <a:lnTo>
                    <a:pt x="696" y="1146"/>
                  </a:lnTo>
                  <a:lnTo>
                    <a:pt x="696" y="1152"/>
                  </a:lnTo>
                  <a:lnTo>
                    <a:pt x="702" y="1152"/>
                  </a:lnTo>
                  <a:lnTo>
                    <a:pt x="708" y="1152"/>
                  </a:lnTo>
                  <a:lnTo>
                    <a:pt x="714" y="1158"/>
                  </a:lnTo>
                  <a:lnTo>
                    <a:pt x="714" y="1164"/>
                  </a:lnTo>
                  <a:lnTo>
                    <a:pt x="720" y="1170"/>
                  </a:lnTo>
                  <a:lnTo>
                    <a:pt x="720" y="1176"/>
                  </a:lnTo>
                  <a:lnTo>
                    <a:pt x="720" y="1182"/>
                  </a:lnTo>
                  <a:lnTo>
                    <a:pt x="726" y="1188"/>
                  </a:lnTo>
                  <a:lnTo>
                    <a:pt x="726" y="1194"/>
                  </a:lnTo>
                  <a:lnTo>
                    <a:pt x="732" y="1194"/>
                  </a:lnTo>
                  <a:lnTo>
                    <a:pt x="732" y="1200"/>
                  </a:lnTo>
                  <a:lnTo>
                    <a:pt x="738" y="1212"/>
                  </a:lnTo>
                  <a:lnTo>
                    <a:pt x="732" y="1218"/>
                  </a:lnTo>
                  <a:lnTo>
                    <a:pt x="732" y="1224"/>
                  </a:lnTo>
                  <a:lnTo>
                    <a:pt x="726" y="1230"/>
                  </a:lnTo>
                  <a:lnTo>
                    <a:pt x="720" y="1230"/>
                  </a:lnTo>
                  <a:lnTo>
                    <a:pt x="720" y="1236"/>
                  </a:lnTo>
                  <a:lnTo>
                    <a:pt x="720" y="1242"/>
                  </a:lnTo>
                  <a:lnTo>
                    <a:pt x="720" y="1248"/>
                  </a:lnTo>
                  <a:lnTo>
                    <a:pt x="714" y="1248"/>
                  </a:lnTo>
                  <a:lnTo>
                    <a:pt x="714" y="1254"/>
                  </a:lnTo>
                  <a:lnTo>
                    <a:pt x="708" y="1260"/>
                  </a:lnTo>
                  <a:lnTo>
                    <a:pt x="702" y="1272"/>
                  </a:lnTo>
                  <a:lnTo>
                    <a:pt x="696" y="1272"/>
                  </a:lnTo>
                  <a:lnTo>
                    <a:pt x="696" y="1278"/>
                  </a:lnTo>
                  <a:lnTo>
                    <a:pt x="690" y="1284"/>
                  </a:lnTo>
                  <a:lnTo>
                    <a:pt x="690" y="1290"/>
                  </a:lnTo>
                  <a:lnTo>
                    <a:pt x="684" y="1290"/>
                  </a:lnTo>
                  <a:lnTo>
                    <a:pt x="660" y="1284"/>
                  </a:lnTo>
                  <a:lnTo>
                    <a:pt x="660" y="1278"/>
                  </a:lnTo>
                  <a:lnTo>
                    <a:pt x="654" y="1272"/>
                  </a:lnTo>
                  <a:lnTo>
                    <a:pt x="648" y="1272"/>
                  </a:lnTo>
                  <a:lnTo>
                    <a:pt x="642" y="1272"/>
                  </a:lnTo>
                  <a:lnTo>
                    <a:pt x="642" y="1266"/>
                  </a:lnTo>
                  <a:lnTo>
                    <a:pt x="636" y="1266"/>
                  </a:lnTo>
                  <a:lnTo>
                    <a:pt x="630" y="1266"/>
                  </a:lnTo>
                  <a:lnTo>
                    <a:pt x="624" y="1266"/>
                  </a:lnTo>
                  <a:lnTo>
                    <a:pt x="624" y="1260"/>
                  </a:lnTo>
                  <a:lnTo>
                    <a:pt x="618" y="1260"/>
                  </a:lnTo>
                  <a:lnTo>
                    <a:pt x="612" y="1260"/>
                  </a:lnTo>
                  <a:lnTo>
                    <a:pt x="606" y="1260"/>
                  </a:lnTo>
                  <a:lnTo>
                    <a:pt x="600" y="1260"/>
                  </a:lnTo>
                  <a:lnTo>
                    <a:pt x="600" y="1254"/>
                  </a:lnTo>
                  <a:lnTo>
                    <a:pt x="594" y="1254"/>
                  </a:lnTo>
                  <a:lnTo>
                    <a:pt x="588" y="1248"/>
                  </a:lnTo>
                  <a:lnTo>
                    <a:pt x="588" y="1254"/>
                  </a:lnTo>
                  <a:lnTo>
                    <a:pt x="582" y="1254"/>
                  </a:lnTo>
                  <a:lnTo>
                    <a:pt x="582" y="1248"/>
                  </a:lnTo>
                  <a:lnTo>
                    <a:pt x="576" y="1248"/>
                  </a:lnTo>
                  <a:lnTo>
                    <a:pt x="576" y="1254"/>
                  </a:lnTo>
                  <a:lnTo>
                    <a:pt x="570" y="1248"/>
                  </a:lnTo>
                  <a:lnTo>
                    <a:pt x="564" y="1248"/>
                  </a:lnTo>
                  <a:lnTo>
                    <a:pt x="564" y="1254"/>
                  </a:lnTo>
                  <a:lnTo>
                    <a:pt x="558" y="1254"/>
                  </a:lnTo>
                  <a:lnTo>
                    <a:pt x="552" y="1254"/>
                  </a:lnTo>
                  <a:lnTo>
                    <a:pt x="552" y="1260"/>
                  </a:lnTo>
                  <a:lnTo>
                    <a:pt x="546" y="1260"/>
                  </a:lnTo>
                  <a:lnTo>
                    <a:pt x="540" y="1260"/>
                  </a:lnTo>
                  <a:lnTo>
                    <a:pt x="540" y="1254"/>
                  </a:lnTo>
                  <a:lnTo>
                    <a:pt x="534" y="1254"/>
                  </a:lnTo>
                  <a:lnTo>
                    <a:pt x="528" y="1224"/>
                  </a:lnTo>
                  <a:lnTo>
                    <a:pt x="534" y="1212"/>
                  </a:lnTo>
                  <a:lnTo>
                    <a:pt x="546" y="1206"/>
                  </a:lnTo>
                  <a:lnTo>
                    <a:pt x="582" y="1206"/>
                  </a:lnTo>
                  <a:lnTo>
                    <a:pt x="588" y="1188"/>
                  </a:lnTo>
                  <a:lnTo>
                    <a:pt x="582" y="1188"/>
                  </a:lnTo>
                  <a:lnTo>
                    <a:pt x="582" y="1182"/>
                  </a:lnTo>
                  <a:lnTo>
                    <a:pt x="576" y="1176"/>
                  </a:lnTo>
                  <a:lnTo>
                    <a:pt x="558" y="1128"/>
                  </a:lnTo>
                  <a:lnTo>
                    <a:pt x="558" y="1122"/>
                  </a:lnTo>
                  <a:lnTo>
                    <a:pt x="576" y="1098"/>
                  </a:lnTo>
                  <a:lnTo>
                    <a:pt x="576" y="1092"/>
                  </a:lnTo>
                  <a:lnTo>
                    <a:pt x="582" y="1092"/>
                  </a:lnTo>
                  <a:lnTo>
                    <a:pt x="582" y="1086"/>
                  </a:lnTo>
                  <a:lnTo>
                    <a:pt x="582" y="1080"/>
                  </a:lnTo>
                  <a:lnTo>
                    <a:pt x="582" y="1074"/>
                  </a:lnTo>
                  <a:lnTo>
                    <a:pt x="588" y="1074"/>
                  </a:lnTo>
                  <a:lnTo>
                    <a:pt x="588" y="1062"/>
                  </a:lnTo>
                  <a:lnTo>
                    <a:pt x="588" y="1056"/>
                  </a:lnTo>
                  <a:lnTo>
                    <a:pt x="588" y="1044"/>
                  </a:lnTo>
                  <a:lnTo>
                    <a:pt x="588" y="1038"/>
                  </a:lnTo>
                  <a:lnTo>
                    <a:pt x="588" y="1032"/>
                  </a:lnTo>
                  <a:lnTo>
                    <a:pt x="582" y="1026"/>
                  </a:lnTo>
                  <a:lnTo>
                    <a:pt x="582" y="1020"/>
                  </a:lnTo>
                  <a:lnTo>
                    <a:pt x="582" y="1008"/>
                  </a:lnTo>
                  <a:lnTo>
                    <a:pt x="576" y="990"/>
                  </a:lnTo>
                  <a:lnTo>
                    <a:pt x="570" y="972"/>
                  </a:lnTo>
                  <a:lnTo>
                    <a:pt x="552" y="972"/>
                  </a:lnTo>
                  <a:lnTo>
                    <a:pt x="540" y="960"/>
                  </a:lnTo>
                  <a:lnTo>
                    <a:pt x="534" y="954"/>
                  </a:lnTo>
                  <a:lnTo>
                    <a:pt x="534" y="948"/>
                  </a:lnTo>
                  <a:lnTo>
                    <a:pt x="516" y="948"/>
                  </a:lnTo>
                  <a:lnTo>
                    <a:pt x="522" y="936"/>
                  </a:lnTo>
                  <a:lnTo>
                    <a:pt x="522" y="930"/>
                  </a:lnTo>
                  <a:lnTo>
                    <a:pt x="504" y="918"/>
                  </a:lnTo>
                  <a:lnTo>
                    <a:pt x="492" y="906"/>
                  </a:lnTo>
                  <a:lnTo>
                    <a:pt x="486" y="894"/>
                  </a:lnTo>
                  <a:lnTo>
                    <a:pt x="468" y="876"/>
                  </a:lnTo>
                  <a:lnTo>
                    <a:pt x="450" y="876"/>
                  </a:lnTo>
                  <a:lnTo>
                    <a:pt x="414" y="882"/>
                  </a:lnTo>
                  <a:lnTo>
                    <a:pt x="402" y="870"/>
                  </a:lnTo>
                  <a:lnTo>
                    <a:pt x="390" y="864"/>
                  </a:lnTo>
                  <a:lnTo>
                    <a:pt x="384" y="852"/>
                  </a:lnTo>
                  <a:lnTo>
                    <a:pt x="378" y="840"/>
                  </a:lnTo>
                  <a:lnTo>
                    <a:pt x="378" y="834"/>
                  </a:lnTo>
                  <a:lnTo>
                    <a:pt x="360" y="822"/>
                  </a:lnTo>
                  <a:lnTo>
                    <a:pt x="342" y="828"/>
                  </a:lnTo>
                  <a:lnTo>
                    <a:pt x="324" y="816"/>
                  </a:lnTo>
                  <a:lnTo>
                    <a:pt x="318" y="816"/>
                  </a:lnTo>
                  <a:lnTo>
                    <a:pt x="306" y="810"/>
                  </a:lnTo>
                  <a:lnTo>
                    <a:pt x="306" y="804"/>
                  </a:lnTo>
                  <a:lnTo>
                    <a:pt x="300" y="804"/>
                  </a:lnTo>
                  <a:lnTo>
                    <a:pt x="300" y="780"/>
                  </a:lnTo>
                  <a:lnTo>
                    <a:pt x="300" y="774"/>
                  </a:lnTo>
                  <a:lnTo>
                    <a:pt x="306" y="774"/>
                  </a:lnTo>
                  <a:lnTo>
                    <a:pt x="312" y="756"/>
                  </a:lnTo>
                  <a:lnTo>
                    <a:pt x="312" y="732"/>
                  </a:lnTo>
                  <a:lnTo>
                    <a:pt x="300" y="720"/>
                  </a:lnTo>
                  <a:lnTo>
                    <a:pt x="288" y="702"/>
                  </a:lnTo>
                  <a:lnTo>
                    <a:pt x="276" y="702"/>
                  </a:lnTo>
                  <a:lnTo>
                    <a:pt x="258" y="714"/>
                  </a:lnTo>
                  <a:lnTo>
                    <a:pt x="246" y="726"/>
                  </a:lnTo>
                  <a:lnTo>
                    <a:pt x="222" y="726"/>
                  </a:lnTo>
                  <a:lnTo>
                    <a:pt x="192" y="726"/>
                  </a:lnTo>
                  <a:lnTo>
                    <a:pt x="174" y="738"/>
                  </a:lnTo>
                  <a:lnTo>
                    <a:pt x="162" y="750"/>
                  </a:lnTo>
                  <a:lnTo>
                    <a:pt x="144" y="762"/>
                  </a:lnTo>
                  <a:lnTo>
                    <a:pt x="138" y="768"/>
                  </a:lnTo>
                  <a:lnTo>
                    <a:pt x="126" y="774"/>
                  </a:lnTo>
                  <a:lnTo>
                    <a:pt x="114" y="780"/>
                  </a:lnTo>
                  <a:lnTo>
                    <a:pt x="108" y="786"/>
                  </a:lnTo>
                  <a:lnTo>
                    <a:pt x="102" y="786"/>
                  </a:lnTo>
                  <a:lnTo>
                    <a:pt x="54" y="786"/>
                  </a:lnTo>
                  <a:lnTo>
                    <a:pt x="48" y="792"/>
                  </a:lnTo>
                  <a:lnTo>
                    <a:pt x="36" y="798"/>
                  </a:lnTo>
                  <a:lnTo>
                    <a:pt x="18" y="792"/>
                  </a:lnTo>
                  <a:lnTo>
                    <a:pt x="6" y="780"/>
                  </a:lnTo>
                  <a:lnTo>
                    <a:pt x="6" y="768"/>
                  </a:lnTo>
                  <a:lnTo>
                    <a:pt x="0" y="756"/>
                  </a:lnTo>
                  <a:lnTo>
                    <a:pt x="0" y="738"/>
                  </a:lnTo>
                  <a:lnTo>
                    <a:pt x="6" y="702"/>
                  </a:lnTo>
                  <a:lnTo>
                    <a:pt x="24" y="702"/>
                  </a:lnTo>
                  <a:lnTo>
                    <a:pt x="24" y="696"/>
                  </a:lnTo>
                  <a:lnTo>
                    <a:pt x="24" y="690"/>
                  </a:lnTo>
                  <a:lnTo>
                    <a:pt x="24" y="678"/>
                  </a:lnTo>
                  <a:lnTo>
                    <a:pt x="24" y="672"/>
                  </a:lnTo>
                  <a:lnTo>
                    <a:pt x="30" y="672"/>
                  </a:lnTo>
                  <a:lnTo>
                    <a:pt x="30" y="666"/>
                  </a:lnTo>
                  <a:lnTo>
                    <a:pt x="36" y="660"/>
                  </a:lnTo>
                  <a:lnTo>
                    <a:pt x="84" y="648"/>
                  </a:lnTo>
                  <a:lnTo>
                    <a:pt x="126" y="642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32" y="618"/>
                  </a:lnTo>
                  <a:lnTo>
                    <a:pt x="138" y="612"/>
                  </a:lnTo>
                  <a:lnTo>
                    <a:pt x="138" y="606"/>
                  </a:lnTo>
                  <a:lnTo>
                    <a:pt x="138" y="600"/>
                  </a:lnTo>
                  <a:lnTo>
                    <a:pt x="132" y="600"/>
                  </a:lnTo>
                  <a:lnTo>
                    <a:pt x="132" y="594"/>
                  </a:lnTo>
                  <a:lnTo>
                    <a:pt x="132" y="588"/>
                  </a:lnTo>
                  <a:lnTo>
                    <a:pt x="132" y="582"/>
                  </a:lnTo>
                  <a:lnTo>
                    <a:pt x="132" y="576"/>
                  </a:lnTo>
                  <a:lnTo>
                    <a:pt x="126" y="570"/>
                  </a:lnTo>
                  <a:lnTo>
                    <a:pt x="120" y="564"/>
                  </a:lnTo>
                  <a:lnTo>
                    <a:pt x="120" y="558"/>
                  </a:lnTo>
                  <a:lnTo>
                    <a:pt x="120" y="552"/>
                  </a:lnTo>
                  <a:lnTo>
                    <a:pt x="114" y="552"/>
                  </a:lnTo>
                  <a:lnTo>
                    <a:pt x="114" y="546"/>
                  </a:lnTo>
                  <a:lnTo>
                    <a:pt x="114" y="540"/>
                  </a:lnTo>
                  <a:lnTo>
                    <a:pt x="108" y="534"/>
                  </a:lnTo>
                  <a:lnTo>
                    <a:pt x="108" y="528"/>
                  </a:lnTo>
                  <a:lnTo>
                    <a:pt x="114" y="522"/>
                  </a:lnTo>
                  <a:lnTo>
                    <a:pt x="108" y="516"/>
                  </a:lnTo>
                  <a:lnTo>
                    <a:pt x="108" y="498"/>
                  </a:lnTo>
                  <a:lnTo>
                    <a:pt x="108" y="492"/>
                  </a:lnTo>
                  <a:lnTo>
                    <a:pt x="108" y="486"/>
                  </a:lnTo>
                  <a:lnTo>
                    <a:pt x="108" y="480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08" y="462"/>
                  </a:lnTo>
                  <a:lnTo>
                    <a:pt x="102" y="456"/>
                  </a:lnTo>
                  <a:lnTo>
                    <a:pt x="102" y="444"/>
                  </a:lnTo>
                  <a:lnTo>
                    <a:pt x="96" y="444"/>
                  </a:lnTo>
                  <a:lnTo>
                    <a:pt x="90" y="432"/>
                  </a:lnTo>
                  <a:lnTo>
                    <a:pt x="96" y="432"/>
                  </a:lnTo>
                  <a:lnTo>
                    <a:pt x="96" y="408"/>
                  </a:lnTo>
                  <a:lnTo>
                    <a:pt x="96" y="396"/>
                  </a:lnTo>
                  <a:lnTo>
                    <a:pt x="96" y="360"/>
                  </a:lnTo>
                  <a:lnTo>
                    <a:pt x="96" y="354"/>
                  </a:lnTo>
                  <a:lnTo>
                    <a:pt x="102" y="354"/>
                  </a:lnTo>
                  <a:lnTo>
                    <a:pt x="102" y="348"/>
                  </a:lnTo>
                  <a:lnTo>
                    <a:pt x="96" y="330"/>
                  </a:lnTo>
                  <a:lnTo>
                    <a:pt x="90" y="306"/>
                  </a:lnTo>
                  <a:lnTo>
                    <a:pt x="84" y="288"/>
                  </a:lnTo>
                  <a:lnTo>
                    <a:pt x="84" y="264"/>
                  </a:lnTo>
                  <a:lnTo>
                    <a:pt x="90" y="240"/>
                  </a:lnTo>
                  <a:lnTo>
                    <a:pt x="96" y="222"/>
                  </a:lnTo>
                  <a:lnTo>
                    <a:pt x="102" y="222"/>
                  </a:lnTo>
                  <a:lnTo>
                    <a:pt x="108" y="210"/>
                  </a:lnTo>
                  <a:lnTo>
                    <a:pt x="114" y="210"/>
                  </a:lnTo>
                  <a:lnTo>
                    <a:pt x="126" y="198"/>
                  </a:lnTo>
                  <a:lnTo>
                    <a:pt x="156" y="192"/>
                  </a:lnTo>
                  <a:lnTo>
                    <a:pt x="174" y="186"/>
                  </a:lnTo>
                  <a:lnTo>
                    <a:pt x="204" y="174"/>
                  </a:lnTo>
                  <a:lnTo>
                    <a:pt x="222" y="168"/>
                  </a:lnTo>
                  <a:lnTo>
                    <a:pt x="234" y="162"/>
                  </a:lnTo>
                  <a:lnTo>
                    <a:pt x="246" y="156"/>
                  </a:lnTo>
                  <a:lnTo>
                    <a:pt x="288" y="144"/>
                  </a:lnTo>
                  <a:lnTo>
                    <a:pt x="288" y="132"/>
                  </a:lnTo>
                  <a:lnTo>
                    <a:pt x="294" y="120"/>
                  </a:lnTo>
                  <a:lnTo>
                    <a:pt x="300" y="108"/>
                  </a:lnTo>
                  <a:lnTo>
                    <a:pt x="306" y="90"/>
                  </a:lnTo>
                  <a:lnTo>
                    <a:pt x="312" y="78"/>
                  </a:lnTo>
                  <a:lnTo>
                    <a:pt x="324" y="78"/>
                  </a:lnTo>
                  <a:lnTo>
                    <a:pt x="324" y="54"/>
                  </a:lnTo>
                  <a:lnTo>
                    <a:pt x="318" y="48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60" y="6"/>
                  </a:lnTo>
                  <a:lnTo>
                    <a:pt x="384" y="0"/>
                  </a:lnTo>
                  <a:lnTo>
                    <a:pt x="390" y="6"/>
                  </a:lnTo>
                  <a:lnTo>
                    <a:pt x="390" y="18"/>
                  </a:lnTo>
                  <a:lnTo>
                    <a:pt x="390" y="54"/>
                  </a:lnTo>
                  <a:lnTo>
                    <a:pt x="396" y="66"/>
                  </a:lnTo>
                  <a:lnTo>
                    <a:pt x="414" y="84"/>
                  </a:lnTo>
                  <a:lnTo>
                    <a:pt x="426" y="90"/>
                  </a:lnTo>
                  <a:lnTo>
                    <a:pt x="432" y="96"/>
                  </a:lnTo>
                  <a:lnTo>
                    <a:pt x="426" y="102"/>
                  </a:lnTo>
                  <a:lnTo>
                    <a:pt x="438" y="102"/>
                  </a:lnTo>
                  <a:lnTo>
                    <a:pt x="444" y="108"/>
                  </a:lnTo>
                  <a:lnTo>
                    <a:pt x="444" y="102"/>
                  </a:lnTo>
                  <a:lnTo>
                    <a:pt x="450" y="90"/>
                  </a:lnTo>
                  <a:lnTo>
                    <a:pt x="450" y="84"/>
                  </a:lnTo>
                  <a:lnTo>
                    <a:pt x="450" y="78"/>
                  </a:lnTo>
                  <a:lnTo>
                    <a:pt x="456" y="72"/>
                  </a:lnTo>
                  <a:lnTo>
                    <a:pt x="462" y="66"/>
                  </a:lnTo>
                  <a:lnTo>
                    <a:pt x="462" y="60"/>
                  </a:lnTo>
                  <a:lnTo>
                    <a:pt x="462" y="54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74" y="24"/>
                  </a:lnTo>
                  <a:lnTo>
                    <a:pt x="480" y="18"/>
                  </a:lnTo>
                  <a:lnTo>
                    <a:pt x="486" y="12"/>
                  </a:lnTo>
                  <a:lnTo>
                    <a:pt x="492" y="12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2" y="6"/>
                  </a:lnTo>
                  <a:lnTo>
                    <a:pt x="534" y="6"/>
                  </a:lnTo>
                  <a:lnTo>
                    <a:pt x="540" y="6"/>
                  </a:lnTo>
                  <a:lnTo>
                    <a:pt x="546" y="6"/>
                  </a:lnTo>
                  <a:lnTo>
                    <a:pt x="564" y="0"/>
                  </a:lnTo>
                  <a:lnTo>
                    <a:pt x="570" y="0"/>
                  </a:lnTo>
                  <a:lnTo>
                    <a:pt x="576" y="6"/>
                  </a:lnTo>
                  <a:lnTo>
                    <a:pt x="582" y="6"/>
                  </a:lnTo>
                  <a:lnTo>
                    <a:pt x="594" y="6"/>
                  </a:lnTo>
                  <a:lnTo>
                    <a:pt x="600" y="6"/>
                  </a:lnTo>
                  <a:lnTo>
                    <a:pt x="606" y="6"/>
                  </a:lnTo>
                  <a:lnTo>
                    <a:pt x="624" y="0"/>
                  </a:lnTo>
                  <a:lnTo>
                    <a:pt x="636" y="0"/>
                  </a:lnTo>
                  <a:lnTo>
                    <a:pt x="636" y="6"/>
                  </a:lnTo>
                  <a:lnTo>
                    <a:pt x="654" y="18"/>
                  </a:lnTo>
                  <a:lnTo>
                    <a:pt x="654" y="30"/>
                  </a:lnTo>
                  <a:lnTo>
                    <a:pt x="642" y="42"/>
                  </a:lnTo>
                  <a:lnTo>
                    <a:pt x="630" y="66"/>
                  </a:lnTo>
                  <a:lnTo>
                    <a:pt x="636" y="84"/>
                  </a:lnTo>
                  <a:lnTo>
                    <a:pt x="636" y="96"/>
                  </a:lnTo>
                  <a:lnTo>
                    <a:pt x="648" y="102"/>
                  </a:lnTo>
                  <a:lnTo>
                    <a:pt x="672" y="114"/>
                  </a:lnTo>
                  <a:lnTo>
                    <a:pt x="702" y="120"/>
                  </a:lnTo>
                  <a:lnTo>
                    <a:pt x="714" y="126"/>
                  </a:lnTo>
                  <a:lnTo>
                    <a:pt x="720" y="144"/>
                  </a:lnTo>
                  <a:lnTo>
                    <a:pt x="720" y="156"/>
                  </a:lnTo>
                  <a:lnTo>
                    <a:pt x="708" y="156"/>
                  </a:lnTo>
                  <a:lnTo>
                    <a:pt x="702" y="162"/>
                  </a:lnTo>
                  <a:lnTo>
                    <a:pt x="702" y="174"/>
                  </a:lnTo>
                  <a:lnTo>
                    <a:pt x="696" y="174"/>
                  </a:lnTo>
                  <a:lnTo>
                    <a:pt x="690" y="180"/>
                  </a:lnTo>
                  <a:lnTo>
                    <a:pt x="678" y="186"/>
                  </a:lnTo>
                  <a:lnTo>
                    <a:pt x="672" y="192"/>
                  </a:lnTo>
                  <a:lnTo>
                    <a:pt x="654" y="210"/>
                  </a:lnTo>
                  <a:lnTo>
                    <a:pt x="654" y="216"/>
                  </a:lnTo>
                  <a:lnTo>
                    <a:pt x="648" y="246"/>
                  </a:lnTo>
                  <a:lnTo>
                    <a:pt x="660" y="246"/>
                  </a:lnTo>
                  <a:lnTo>
                    <a:pt x="666" y="234"/>
                  </a:lnTo>
                  <a:lnTo>
                    <a:pt x="678" y="240"/>
                  </a:lnTo>
                  <a:lnTo>
                    <a:pt x="684" y="228"/>
                  </a:lnTo>
                  <a:lnTo>
                    <a:pt x="690" y="210"/>
                  </a:lnTo>
                  <a:lnTo>
                    <a:pt x="696" y="204"/>
                  </a:lnTo>
                  <a:lnTo>
                    <a:pt x="702" y="204"/>
                  </a:lnTo>
                  <a:lnTo>
                    <a:pt x="708" y="192"/>
                  </a:lnTo>
                  <a:lnTo>
                    <a:pt x="714" y="192"/>
                  </a:lnTo>
                  <a:lnTo>
                    <a:pt x="714" y="186"/>
                  </a:lnTo>
                  <a:lnTo>
                    <a:pt x="726" y="186"/>
                  </a:lnTo>
                  <a:lnTo>
                    <a:pt x="732" y="186"/>
                  </a:lnTo>
                  <a:lnTo>
                    <a:pt x="738" y="186"/>
                  </a:lnTo>
                  <a:lnTo>
                    <a:pt x="744" y="216"/>
                  </a:lnTo>
                  <a:lnTo>
                    <a:pt x="750" y="210"/>
                  </a:lnTo>
                  <a:lnTo>
                    <a:pt x="750" y="204"/>
                  </a:lnTo>
                  <a:lnTo>
                    <a:pt x="756" y="192"/>
                  </a:lnTo>
                  <a:lnTo>
                    <a:pt x="762" y="192"/>
                  </a:lnTo>
                  <a:lnTo>
                    <a:pt x="768" y="192"/>
                  </a:lnTo>
                  <a:lnTo>
                    <a:pt x="780" y="186"/>
                  </a:lnTo>
                  <a:lnTo>
                    <a:pt x="786" y="204"/>
                  </a:lnTo>
                  <a:lnTo>
                    <a:pt x="774" y="210"/>
                  </a:lnTo>
                  <a:lnTo>
                    <a:pt x="774" y="234"/>
                  </a:lnTo>
                  <a:lnTo>
                    <a:pt x="780" y="246"/>
                  </a:lnTo>
                  <a:lnTo>
                    <a:pt x="804" y="264"/>
                  </a:lnTo>
                  <a:lnTo>
                    <a:pt x="816" y="276"/>
                  </a:lnTo>
                  <a:lnTo>
                    <a:pt x="822" y="288"/>
                  </a:lnTo>
                  <a:lnTo>
                    <a:pt x="822" y="312"/>
                  </a:lnTo>
                  <a:lnTo>
                    <a:pt x="816" y="312"/>
                  </a:lnTo>
                  <a:lnTo>
                    <a:pt x="810" y="318"/>
                  </a:lnTo>
                  <a:lnTo>
                    <a:pt x="810" y="348"/>
                  </a:lnTo>
                  <a:lnTo>
                    <a:pt x="816" y="348"/>
                  </a:lnTo>
                  <a:lnTo>
                    <a:pt x="816" y="342"/>
                  </a:lnTo>
                  <a:lnTo>
                    <a:pt x="834" y="342"/>
                  </a:lnTo>
                  <a:lnTo>
                    <a:pt x="834" y="348"/>
                  </a:lnTo>
                  <a:lnTo>
                    <a:pt x="846" y="348"/>
                  </a:lnTo>
                  <a:lnTo>
                    <a:pt x="846" y="342"/>
                  </a:lnTo>
                  <a:lnTo>
                    <a:pt x="882" y="342"/>
                  </a:lnTo>
                  <a:lnTo>
                    <a:pt x="894" y="366"/>
                  </a:lnTo>
                  <a:lnTo>
                    <a:pt x="900" y="372"/>
                  </a:lnTo>
                  <a:lnTo>
                    <a:pt x="906" y="384"/>
                  </a:lnTo>
                  <a:lnTo>
                    <a:pt x="924" y="384"/>
                  </a:lnTo>
                  <a:lnTo>
                    <a:pt x="930" y="372"/>
                  </a:lnTo>
                  <a:lnTo>
                    <a:pt x="936" y="372"/>
                  </a:lnTo>
                  <a:lnTo>
                    <a:pt x="942" y="348"/>
                  </a:lnTo>
                  <a:lnTo>
                    <a:pt x="954" y="348"/>
                  </a:lnTo>
                  <a:lnTo>
                    <a:pt x="954" y="342"/>
                  </a:lnTo>
                  <a:lnTo>
                    <a:pt x="984" y="342"/>
                  </a:lnTo>
                  <a:lnTo>
                    <a:pt x="978" y="390"/>
                  </a:lnTo>
                  <a:lnTo>
                    <a:pt x="984" y="390"/>
                  </a:lnTo>
                  <a:lnTo>
                    <a:pt x="990" y="396"/>
                  </a:lnTo>
                  <a:lnTo>
                    <a:pt x="996" y="396"/>
                  </a:lnTo>
                  <a:lnTo>
                    <a:pt x="1002" y="396"/>
                  </a:lnTo>
                  <a:lnTo>
                    <a:pt x="1002" y="408"/>
                  </a:lnTo>
                  <a:lnTo>
                    <a:pt x="990" y="414"/>
                  </a:lnTo>
                  <a:lnTo>
                    <a:pt x="984" y="426"/>
                  </a:lnTo>
                  <a:lnTo>
                    <a:pt x="990" y="444"/>
                  </a:lnTo>
                  <a:lnTo>
                    <a:pt x="996" y="450"/>
                  </a:lnTo>
                  <a:lnTo>
                    <a:pt x="990" y="462"/>
                  </a:lnTo>
                  <a:lnTo>
                    <a:pt x="990" y="468"/>
                  </a:lnTo>
                  <a:lnTo>
                    <a:pt x="984" y="480"/>
                  </a:lnTo>
                  <a:lnTo>
                    <a:pt x="978" y="486"/>
                  </a:lnTo>
                  <a:lnTo>
                    <a:pt x="972" y="486"/>
                  </a:lnTo>
                  <a:lnTo>
                    <a:pt x="966" y="492"/>
                  </a:lnTo>
                  <a:lnTo>
                    <a:pt x="966" y="498"/>
                  </a:lnTo>
                  <a:lnTo>
                    <a:pt x="954" y="510"/>
                  </a:lnTo>
                  <a:lnTo>
                    <a:pt x="948" y="510"/>
                  </a:lnTo>
                  <a:lnTo>
                    <a:pt x="942" y="516"/>
                  </a:lnTo>
                  <a:lnTo>
                    <a:pt x="936" y="528"/>
                  </a:lnTo>
                  <a:lnTo>
                    <a:pt x="936" y="534"/>
                  </a:lnTo>
                  <a:lnTo>
                    <a:pt x="936" y="546"/>
                  </a:lnTo>
                  <a:lnTo>
                    <a:pt x="936" y="558"/>
                  </a:lnTo>
                  <a:lnTo>
                    <a:pt x="948" y="558"/>
                  </a:lnTo>
                  <a:lnTo>
                    <a:pt x="954" y="558"/>
                  </a:lnTo>
                  <a:lnTo>
                    <a:pt x="996" y="558"/>
                  </a:lnTo>
                  <a:lnTo>
                    <a:pt x="1002" y="570"/>
                  </a:lnTo>
                  <a:lnTo>
                    <a:pt x="996" y="576"/>
                  </a:lnTo>
                  <a:lnTo>
                    <a:pt x="996" y="588"/>
                  </a:lnTo>
                  <a:lnTo>
                    <a:pt x="984" y="588"/>
                  </a:lnTo>
                  <a:lnTo>
                    <a:pt x="990" y="612"/>
                  </a:lnTo>
                  <a:lnTo>
                    <a:pt x="1014" y="606"/>
                  </a:lnTo>
                  <a:lnTo>
                    <a:pt x="1014" y="636"/>
                  </a:lnTo>
                  <a:lnTo>
                    <a:pt x="1014" y="648"/>
                  </a:lnTo>
                  <a:lnTo>
                    <a:pt x="1020" y="648"/>
                  </a:lnTo>
                  <a:lnTo>
                    <a:pt x="1026" y="660"/>
                  </a:lnTo>
                  <a:lnTo>
                    <a:pt x="1038" y="654"/>
                  </a:lnTo>
                  <a:lnTo>
                    <a:pt x="1050" y="654"/>
                  </a:lnTo>
                  <a:lnTo>
                    <a:pt x="1062" y="654"/>
                  </a:lnTo>
                  <a:lnTo>
                    <a:pt x="1068" y="660"/>
                  </a:lnTo>
                  <a:lnTo>
                    <a:pt x="1068" y="678"/>
                  </a:lnTo>
                  <a:lnTo>
                    <a:pt x="1068" y="684"/>
                  </a:lnTo>
                  <a:lnTo>
                    <a:pt x="1062" y="690"/>
                  </a:lnTo>
                  <a:lnTo>
                    <a:pt x="1056" y="696"/>
                  </a:lnTo>
                  <a:lnTo>
                    <a:pt x="1056" y="702"/>
                  </a:lnTo>
                  <a:lnTo>
                    <a:pt x="1038" y="714"/>
                  </a:lnTo>
                  <a:lnTo>
                    <a:pt x="1026" y="720"/>
                  </a:lnTo>
                  <a:lnTo>
                    <a:pt x="1008" y="726"/>
                  </a:lnTo>
                  <a:lnTo>
                    <a:pt x="1008" y="732"/>
                  </a:lnTo>
                  <a:lnTo>
                    <a:pt x="990" y="732"/>
                  </a:lnTo>
                  <a:lnTo>
                    <a:pt x="984" y="744"/>
                  </a:lnTo>
                  <a:lnTo>
                    <a:pt x="990" y="750"/>
                  </a:lnTo>
                  <a:lnTo>
                    <a:pt x="984" y="762"/>
                  </a:lnTo>
                  <a:lnTo>
                    <a:pt x="984" y="768"/>
                  </a:lnTo>
                  <a:lnTo>
                    <a:pt x="984" y="774"/>
                  </a:lnTo>
                  <a:lnTo>
                    <a:pt x="984" y="780"/>
                  </a:lnTo>
                  <a:lnTo>
                    <a:pt x="984" y="786"/>
                  </a:lnTo>
                  <a:lnTo>
                    <a:pt x="984" y="792"/>
                  </a:lnTo>
                  <a:lnTo>
                    <a:pt x="978" y="798"/>
                  </a:lnTo>
                  <a:lnTo>
                    <a:pt x="978" y="80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3" name="Freeform 38">
              <a:extLst>
                <a:ext uri="{FF2B5EF4-FFF2-40B4-BE49-F238E27FC236}">
                  <a16:creationId xmlns:a16="http://schemas.microsoft.com/office/drawing/2014/main" id="{819B99CE-D972-4530-8964-A992C1EC87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2825" y="1634436"/>
              <a:ext cx="959326" cy="959458"/>
            </a:xfrm>
            <a:custGeom>
              <a:avLst/>
              <a:gdLst>
                <a:gd name="T0" fmla="*/ 105 w 1806"/>
                <a:gd name="T1" fmla="*/ 155 h 1806"/>
                <a:gd name="T2" fmla="*/ 103 w 1806"/>
                <a:gd name="T3" fmla="*/ 155 h 1806"/>
                <a:gd name="T4" fmla="*/ 103 w 1806"/>
                <a:gd name="T5" fmla="*/ 150 h 1806"/>
                <a:gd name="T6" fmla="*/ 104 w 1806"/>
                <a:gd name="T7" fmla="*/ 141 h 1806"/>
                <a:gd name="T8" fmla="*/ 104 w 1806"/>
                <a:gd name="T9" fmla="*/ 136 h 1806"/>
                <a:gd name="T10" fmla="*/ 100 w 1806"/>
                <a:gd name="T11" fmla="*/ 131 h 1806"/>
                <a:gd name="T12" fmla="*/ 96 w 1806"/>
                <a:gd name="T13" fmla="*/ 127 h 1806"/>
                <a:gd name="T14" fmla="*/ 91 w 1806"/>
                <a:gd name="T15" fmla="*/ 121 h 1806"/>
                <a:gd name="T16" fmla="*/ 87 w 1806"/>
                <a:gd name="T17" fmla="*/ 120 h 1806"/>
                <a:gd name="T18" fmla="*/ 81 w 1806"/>
                <a:gd name="T19" fmla="*/ 117 h 1806"/>
                <a:gd name="T20" fmla="*/ 65 w 1806"/>
                <a:gd name="T21" fmla="*/ 113 h 1806"/>
                <a:gd name="T22" fmla="*/ 69 w 1806"/>
                <a:gd name="T23" fmla="*/ 105 h 1806"/>
                <a:gd name="T24" fmla="*/ 66 w 1806"/>
                <a:gd name="T25" fmla="*/ 89 h 1806"/>
                <a:gd name="T26" fmla="*/ 63 w 1806"/>
                <a:gd name="T27" fmla="*/ 84 h 1806"/>
                <a:gd name="T28" fmla="*/ 62 w 1806"/>
                <a:gd name="T29" fmla="*/ 74 h 1806"/>
                <a:gd name="T30" fmla="*/ 58 w 1806"/>
                <a:gd name="T31" fmla="*/ 52 h 1806"/>
                <a:gd name="T32" fmla="*/ 53 w 1806"/>
                <a:gd name="T33" fmla="*/ 49 h 1806"/>
                <a:gd name="T34" fmla="*/ 51 w 1806"/>
                <a:gd name="T35" fmla="*/ 36 h 1806"/>
                <a:gd name="T36" fmla="*/ 43 w 1806"/>
                <a:gd name="T37" fmla="*/ 32 h 1806"/>
                <a:gd name="T38" fmla="*/ 33 w 1806"/>
                <a:gd name="T39" fmla="*/ 30 h 1806"/>
                <a:gd name="T40" fmla="*/ 30 w 1806"/>
                <a:gd name="T41" fmla="*/ 21 h 1806"/>
                <a:gd name="T42" fmla="*/ 17 w 1806"/>
                <a:gd name="T43" fmla="*/ 25 h 1806"/>
                <a:gd name="T44" fmla="*/ 4 w 1806"/>
                <a:gd name="T45" fmla="*/ 33 h 1806"/>
                <a:gd name="T46" fmla="*/ 7 w 1806"/>
                <a:gd name="T47" fmla="*/ 26 h 1806"/>
                <a:gd name="T48" fmla="*/ 11 w 1806"/>
                <a:gd name="T49" fmla="*/ 20 h 1806"/>
                <a:gd name="T50" fmla="*/ 18 w 1806"/>
                <a:gd name="T51" fmla="*/ 12 h 1806"/>
                <a:gd name="T52" fmla="*/ 26 w 1806"/>
                <a:gd name="T53" fmla="*/ 8 h 1806"/>
                <a:gd name="T54" fmla="*/ 35 w 1806"/>
                <a:gd name="T55" fmla="*/ 6 h 1806"/>
                <a:gd name="T56" fmla="*/ 44 w 1806"/>
                <a:gd name="T57" fmla="*/ 5 h 1806"/>
                <a:gd name="T58" fmla="*/ 54 w 1806"/>
                <a:gd name="T59" fmla="*/ 2 h 1806"/>
                <a:gd name="T60" fmla="*/ 65 w 1806"/>
                <a:gd name="T61" fmla="*/ 0 h 1806"/>
                <a:gd name="T62" fmla="*/ 76 w 1806"/>
                <a:gd name="T63" fmla="*/ 0 h 1806"/>
                <a:gd name="T64" fmla="*/ 85 w 1806"/>
                <a:gd name="T65" fmla="*/ 0 h 1806"/>
                <a:gd name="T66" fmla="*/ 97 w 1806"/>
                <a:gd name="T67" fmla="*/ 0 h 1806"/>
                <a:gd name="T68" fmla="*/ 108 w 1806"/>
                <a:gd name="T69" fmla="*/ 3 h 1806"/>
                <a:gd name="T70" fmla="*/ 115 w 1806"/>
                <a:gd name="T71" fmla="*/ 5 h 1806"/>
                <a:gd name="T72" fmla="*/ 123 w 1806"/>
                <a:gd name="T73" fmla="*/ 7 h 1806"/>
                <a:gd name="T74" fmla="*/ 133 w 1806"/>
                <a:gd name="T75" fmla="*/ 14 h 1806"/>
                <a:gd name="T76" fmla="*/ 138 w 1806"/>
                <a:gd name="T77" fmla="*/ 16 h 1806"/>
                <a:gd name="T78" fmla="*/ 140 w 1806"/>
                <a:gd name="T79" fmla="*/ 14 h 1806"/>
                <a:gd name="T80" fmla="*/ 145 w 1806"/>
                <a:gd name="T81" fmla="*/ 16 h 1806"/>
                <a:gd name="T82" fmla="*/ 147 w 1806"/>
                <a:gd name="T83" fmla="*/ 16 h 1806"/>
                <a:gd name="T84" fmla="*/ 150 w 1806"/>
                <a:gd name="T85" fmla="*/ 17 h 1806"/>
                <a:gd name="T86" fmla="*/ 152 w 1806"/>
                <a:gd name="T87" fmla="*/ 18 h 1806"/>
                <a:gd name="T88" fmla="*/ 155 w 1806"/>
                <a:gd name="T89" fmla="*/ 37 h 1806"/>
                <a:gd name="T90" fmla="*/ 146 w 1806"/>
                <a:gd name="T91" fmla="*/ 66 h 1806"/>
                <a:gd name="T92" fmla="*/ 143 w 1806"/>
                <a:gd name="T93" fmla="*/ 88 h 1806"/>
                <a:gd name="T94" fmla="*/ 144 w 1806"/>
                <a:gd name="T95" fmla="*/ 98 h 1806"/>
                <a:gd name="T96" fmla="*/ 137 w 1806"/>
                <a:gd name="T97" fmla="*/ 118 h 1806"/>
                <a:gd name="T98" fmla="*/ 132 w 1806"/>
                <a:gd name="T99" fmla="*/ 129 h 1806"/>
                <a:gd name="T100" fmla="*/ 124 w 1806"/>
                <a:gd name="T101" fmla="*/ 135 h 1806"/>
                <a:gd name="T102" fmla="*/ 119 w 1806"/>
                <a:gd name="T103" fmla="*/ 136 h 1806"/>
                <a:gd name="T104" fmla="*/ 116 w 1806"/>
                <a:gd name="T105" fmla="*/ 137 h 1806"/>
                <a:gd name="T106" fmla="*/ 112 w 1806"/>
                <a:gd name="T107" fmla="*/ 139 h 1806"/>
                <a:gd name="T108" fmla="*/ 112 w 1806"/>
                <a:gd name="T109" fmla="*/ 141 h 1806"/>
                <a:gd name="T110" fmla="*/ 116 w 1806"/>
                <a:gd name="T111" fmla="*/ 146 h 1806"/>
                <a:gd name="T112" fmla="*/ 116 w 1806"/>
                <a:gd name="T113" fmla="*/ 151 h 1806"/>
                <a:gd name="T114" fmla="*/ 113 w 1806"/>
                <a:gd name="T115" fmla="*/ 153 h 18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6"/>
                <a:gd name="T175" fmla="*/ 0 h 1806"/>
                <a:gd name="T176" fmla="*/ 1806 w 1806"/>
                <a:gd name="T177" fmla="*/ 1806 h 18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6" h="1806">
                  <a:moveTo>
                    <a:pt x="1260" y="1776"/>
                  </a:moveTo>
                  <a:lnTo>
                    <a:pt x="1254" y="1776"/>
                  </a:lnTo>
                  <a:lnTo>
                    <a:pt x="1248" y="1776"/>
                  </a:lnTo>
                  <a:lnTo>
                    <a:pt x="1242" y="1782"/>
                  </a:lnTo>
                  <a:lnTo>
                    <a:pt x="1236" y="1782"/>
                  </a:lnTo>
                  <a:lnTo>
                    <a:pt x="1230" y="1788"/>
                  </a:lnTo>
                  <a:lnTo>
                    <a:pt x="1224" y="1782"/>
                  </a:lnTo>
                  <a:lnTo>
                    <a:pt x="1218" y="1782"/>
                  </a:lnTo>
                  <a:lnTo>
                    <a:pt x="1218" y="1788"/>
                  </a:lnTo>
                  <a:lnTo>
                    <a:pt x="1212" y="1788"/>
                  </a:lnTo>
                  <a:lnTo>
                    <a:pt x="1206" y="1788"/>
                  </a:lnTo>
                  <a:lnTo>
                    <a:pt x="1206" y="1794"/>
                  </a:lnTo>
                  <a:lnTo>
                    <a:pt x="1200" y="1806"/>
                  </a:lnTo>
                  <a:lnTo>
                    <a:pt x="1194" y="1800"/>
                  </a:lnTo>
                  <a:lnTo>
                    <a:pt x="1194" y="1794"/>
                  </a:lnTo>
                  <a:lnTo>
                    <a:pt x="1194" y="1788"/>
                  </a:lnTo>
                  <a:lnTo>
                    <a:pt x="1188" y="1788"/>
                  </a:lnTo>
                  <a:lnTo>
                    <a:pt x="1188" y="1782"/>
                  </a:lnTo>
                  <a:lnTo>
                    <a:pt x="1188" y="1776"/>
                  </a:lnTo>
                  <a:lnTo>
                    <a:pt x="1194" y="1770"/>
                  </a:lnTo>
                  <a:lnTo>
                    <a:pt x="1194" y="1764"/>
                  </a:lnTo>
                  <a:lnTo>
                    <a:pt x="1194" y="1758"/>
                  </a:lnTo>
                  <a:lnTo>
                    <a:pt x="1194" y="1752"/>
                  </a:lnTo>
                  <a:lnTo>
                    <a:pt x="1200" y="1746"/>
                  </a:lnTo>
                  <a:lnTo>
                    <a:pt x="1200" y="1740"/>
                  </a:lnTo>
                  <a:lnTo>
                    <a:pt x="1200" y="1734"/>
                  </a:lnTo>
                  <a:lnTo>
                    <a:pt x="1188" y="1722"/>
                  </a:lnTo>
                  <a:lnTo>
                    <a:pt x="1188" y="1716"/>
                  </a:lnTo>
                  <a:lnTo>
                    <a:pt x="1194" y="1704"/>
                  </a:lnTo>
                  <a:lnTo>
                    <a:pt x="1194" y="1692"/>
                  </a:lnTo>
                  <a:lnTo>
                    <a:pt x="1200" y="1680"/>
                  </a:lnTo>
                  <a:lnTo>
                    <a:pt x="1200" y="1662"/>
                  </a:lnTo>
                  <a:lnTo>
                    <a:pt x="1200" y="1650"/>
                  </a:lnTo>
                  <a:lnTo>
                    <a:pt x="1206" y="1644"/>
                  </a:lnTo>
                  <a:lnTo>
                    <a:pt x="1206" y="1638"/>
                  </a:lnTo>
                  <a:lnTo>
                    <a:pt x="1206" y="1626"/>
                  </a:lnTo>
                  <a:lnTo>
                    <a:pt x="1206" y="1620"/>
                  </a:lnTo>
                  <a:lnTo>
                    <a:pt x="1206" y="1614"/>
                  </a:lnTo>
                  <a:lnTo>
                    <a:pt x="1200" y="1608"/>
                  </a:lnTo>
                  <a:lnTo>
                    <a:pt x="1200" y="1602"/>
                  </a:lnTo>
                  <a:lnTo>
                    <a:pt x="1200" y="1596"/>
                  </a:lnTo>
                  <a:lnTo>
                    <a:pt x="1200" y="1590"/>
                  </a:lnTo>
                  <a:lnTo>
                    <a:pt x="1200" y="1572"/>
                  </a:lnTo>
                  <a:lnTo>
                    <a:pt x="1200" y="1566"/>
                  </a:lnTo>
                  <a:lnTo>
                    <a:pt x="1200" y="1560"/>
                  </a:lnTo>
                  <a:lnTo>
                    <a:pt x="1194" y="1554"/>
                  </a:lnTo>
                  <a:lnTo>
                    <a:pt x="1188" y="1548"/>
                  </a:lnTo>
                  <a:lnTo>
                    <a:pt x="1188" y="1542"/>
                  </a:lnTo>
                  <a:lnTo>
                    <a:pt x="1176" y="1536"/>
                  </a:lnTo>
                  <a:lnTo>
                    <a:pt x="1176" y="1530"/>
                  </a:lnTo>
                  <a:lnTo>
                    <a:pt x="1170" y="1524"/>
                  </a:lnTo>
                  <a:lnTo>
                    <a:pt x="1170" y="1518"/>
                  </a:lnTo>
                  <a:lnTo>
                    <a:pt x="1164" y="1512"/>
                  </a:lnTo>
                  <a:lnTo>
                    <a:pt x="1158" y="1506"/>
                  </a:lnTo>
                  <a:lnTo>
                    <a:pt x="1152" y="1500"/>
                  </a:lnTo>
                  <a:lnTo>
                    <a:pt x="1146" y="1494"/>
                  </a:lnTo>
                  <a:lnTo>
                    <a:pt x="1140" y="1488"/>
                  </a:lnTo>
                  <a:lnTo>
                    <a:pt x="1134" y="1482"/>
                  </a:lnTo>
                  <a:lnTo>
                    <a:pt x="1128" y="1476"/>
                  </a:lnTo>
                  <a:lnTo>
                    <a:pt x="1122" y="1470"/>
                  </a:lnTo>
                  <a:lnTo>
                    <a:pt x="1116" y="1464"/>
                  </a:lnTo>
                  <a:lnTo>
                    <a:pt x="1110" y="1464"/>
                  </a:lnTo>
                  <a:lnTo>
                    <a:pt x="1104" y="1458"/>
                  </a:lnTo>
                  <a:lnTo>
                    <a:pt x="1098" y="1464"/>
                  </a:lnTo>
                  <a:lnTo>
                    <a:pt x="1092" y="1464"/>
                  </a:lnTo>
                  <a:lnTo>
                    <a:pt x="1086" y="1446"/>
                  </a:lnTo>
                  <a:lnTo>
                    <a:pt x="1086" y="1440"/>
                  </a:lnTo>
                  <a:lnTo>
                    <a:pt x="1080" y="1416"/>
                  </a:lnTo>
                  <a:lnTo>
                    <a:pt x="1068" y="1404"/>
                  </a:lnTo>
                  <a:lnTo>
                    <a:pt x="1062" y="1398"/>
                  </a:lnTo>
                  <a:lnTo>
                    <a:pt x="1056" y="1398"/>
                  </a:lnTo>
                  <a:lnTo>
                    <a:pt x="1050" y="1398"/>
                  </a:lnTo>
                  <a:lnTo>
                    <a:pt x="1044" y="1398"/>
                  </a:lnTo>
                  <a:lnTo>
                    <a:pt x="1044" y="1392"/>
                  </a:lnTo>
                  <a:lnTo>
                    <a:pt x="1038" y="1392"/>
                  </a:lnTo>
                  <a:lnTo>
                    <a:pt x="1032" y="1392"/>
                  </a:lnTo>
                  <a:lnTo>
                    <a:pt x="1020" y="1386"/>
                  </a:lnTo>
                  <a:lnTo>
                    <a:pt x="1014" y="1386"/>
                  </a:lnTo>
                  <a:lnTo>
                    <a:pt x="1014" y="1380"/>
                  </a:lnTo>
                  <a:lnTo>
                    <a:pt x="1008" y="1380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62"/>
                  </a:lnTo>
                  <a:lnTo>
                    <a:pt x="984" y="1356"/>
                  </a:lnTo>
                  <a:lnTo>
                    <a:pt x="978" y="1356"/>
                  </a:lnTo>
                  <a:lnTo>
                    <a:pt x="972" y="1356"/>
                  </a:lnTo>
                  <a:lnTo>
                    <a:pt x="966" y="1356"/>
                  </a:lnTo>
                  <a:lnTo>
                    <a:pt x="966" y="1350"/>
                  </a:lnTo>
                  <a:lnTo>
                    <a:pt x="948" y="1350"/>
                  </a:lnTo>
                  <a:lnTo>
                    <a:pt x="936" y="1344"/>
                  </a:lnTo>
                  <a:lnTo>
                    <a:pt x="930" y="1338"/>
                  </a:lnTo>
                  <a:lnTo>
                    <a:pt x="918" y="1332"/>
                  </a:lnTo>
                  <a:lnTo>
                    <a:pt x="900" y="1326"/>
                  </a:lnTo>
                  <a:lnTo>
                    <a:pt x="864" y="1332"/>
                  </a:lnTo>
                  <a:lnTo>
                    <a:pt x="828" y="1332"/>
                  </a:lnTo>
                  <a:lnTo>
                    <a:pt x="792" y="1314"/>
                  </a:lnTo>
                  <a:lnTo>
                    <a:pt x="780" y="1314"/>
                  </a:lnTo>
                  <a:lnTo>
                    <a:pt x="780" y="1308"/>
                  </a:lnTo>
                  <a:lnTo>
                    <a:pt x="756" y="1296"/>
                  </a:lnTo>
                  <a:lnTo>
                    <a:pt x="756" y="1278"/>
                  </a:lnTo>
                  <a:lnTo>
                    <a:pt x="768" y="1278"/>
                  </a:lnTo>
                  <a:lnTo>
                    <a:pt x="774" y="1272"/>
                  </a:lnTo>
                  <a:lnTo>
                    <a:pt x="780" y="1266"/>
                  </a:lnTo>
                  <a:lnTo>
                    <a:pt x="786" y="1260"/>
                  </a:lnTo>
                  <a:lnTo>
                    <a:pt x="792" y="1254"/>
                  </a:lnTo>
                  <a:lnTo>
                    <a:pt x="798" y="1242"/>
                  </a:lnTo>
                  <a:lnTo>
                    <a:pt x="804" y="1242"/>
                  </a:lnTo>
                  <a:lnTo>
                    <a:pt x="804" y="1206"/>
                  </a:lnTo>
                  <a:lnTo>
                    <a:pt x="804" y="1182"/>
                  </a:lnTo>
                  <a:lnTo>
                    <a:pt x="804" y="1158"/>
                  </a:lnTo>
                  <a:lnTo>
                    <a:pt x="804" y="1134"/>
                  </a:lnTo>
                  <a:lnTo>
                    <a:pt x="798" y="1116"/>
                  </a:lnTo>
                  <a:lnTo>
                    <a:pt x="792" y="1092"/>
                  </a:lnTo>
                  <a:lnTo>
                    <a:pt x="786" y="1062"/>
                  </a:lnTo>
                  <a:lnTo>
                    <a:pt x="768" y="1032"/>
                  </a:lnTo>
                  <a:lnTo>
                    <a:pt x="762" y="1032"/>
                  </a:lnTo>
                  <a:lnTo>
                    <a:pt x="762" y="1020"/>
                  </a:lnTo>
                  <a:lnTo>
                    <a:pt x="762" y="1014"/>
                  </a:lnTo>
                  <a:lnTo>
                    <a:pt x="756" y="1008"/>
                  </a:lnTo>
                  <a:lnTo>
                    <a:pt x="750" y="1002"/>
                  </a:lnTo>
                  <a:lnTo>
                    <a:pt x="738" y="1002"/>
                  </a:lnTo>
                  <a:lnTo>
                    <a:pt x="738" y="990"/>
                  </a:lnTo>
                  <a:lnTo>
                    <a:pt x="726" y="990"/>
                  </a:lnTo>
                  <a:lnTo>
                    <a:pt x="726" y="978"/>
                  </a:lnTo>
                  <a:lnTo>
                    <a:pt x="732" y="972"/>
                  </a:lnTo>
                  <a:lnTo>
                    <a:pt x="732" y="966"/>
                  </a:lnTo>
                  <a:lnTo>
                    <a:pt x="726" y="966"/>
                  </a:lnTo>
                  <a:lnTo>
                    <a:pt x="732" y="948"/>
                  </a:lnTo>
                  <a:lnTo>
                    <a:pt x="726" y="942"/>
                  </a:lnTo>
                  <a:lnTo>
                    <a:pt x="726" y="930"/>
                  </a:lnTo>
                  <a:lnTo>
                    <a:pt x="720" y="924"/>
                  </a:lnTo>
                  <a:lnTo>
                    <a:pt x="714" y="912"/>
                  </a:lnTo>
                  <a:lnTo>
                    <a:pt x="714" y="882"/>
                  </a:lnTo>
                  <a:lnTo>
                    <a:pt x="714" y="870"/>
                  </a:lnTo>
                  <a:lnTo>
                    <a:pt x="714" y="858"/>
                  </a:lnTo>
                  <a:lnTo>
                    <a:pt x="714" y="846"/>
                  </a:lnTo>
                  <a:lnTo>
                    <a:pt x="708" y="822"/>
                  </a:lnTo>
                  <a:lnTo>
                    <a:pt x="702" y="798"/>
                  </a:lnTo>
                  <a:lnTo>
                    <a:pt x="696" y="792"/>
                  </a:lnTo>
                  <a:lnTo>
                    <a:pt x="684" y="726"/>
                  </a:lnTo>
                  <a:lnTo>
                    <a:pt x="678" y="666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66" y="600"/>
                  </a:lnTo>
                  <a:lnTo>
                    <a:pt x="660" y="594"/>
                  </a:lnTo>
                  <a:lnTo>
                    <a:pt x="654" y="594"/>
                  </a:lnTo>
                  <a:lnTo>
                    <a:pt x="636" y="582"/>
                  </a:lnTo>
                  <a:lnTo>
                    <a:pt x="630" y="576"/>
                  </a:lnTo>
                  <a:lnTo>
                    <a:pt x="624" y="576"/>
                  </a:lnTo>
                  <a:lnTo>
                    <a:pt x="618" y="570"/>
                  </a:lnTo>
                  <a:lnTo>
                    <a:pt x="612" y="564"/>
                  </a:lnTo>
                  <a:lnTo>
                    <a:pt x="606" y="558"/>
                  </a:lnTo>
                  <a:lnTo>
                    <a:pt x="606" y="564"/>
                  </a:lnTo>
                  <a:lnTo>
                    <a:pt x="600" y="564"/>
                  </a:lnTo>
                  <a:lnTo>
                    <a:pt x="594" y="558"/>
                  </a:lnTo>
                  <a:lnTo>
                    <a:pt x="594" y="540"/>
                  </a:lnTo>
                  <a:lnTo>
                    <a:pt x="594" y="528"/>
                  </a:lnTo>
                  <a:lnTo>
                    <a:pt x="594" y="516"/>
                  </a:lnTo>
                  <a:lnTo>
                    <a:pt x="594" y="510"/>
                  </a:lnTo>
                  <a:lnTo>
                    <a:pt x="594" y="492"/>
                  </a:lnTo>
                  <a:lnTo>
                    <a:pt x="594" y="456"/>
                  </a:lnTo>
                  <a:lnTo>
                    <a:pt x="588" y="414"/>
                  </a:lnTo>
                  <a:lnTo>
                    <a:pt x="588" y="408"/>
                  </a:lnTo>
                  <a:lnTo>
                    <a:pt x="582" y="396"/>
                  </a:lnTo>
                  <a:lnTo>
                    <a:pt x="582" y="384"/>
                  </a:lnTo>
                  <a:lnTo>
                    <a:pt x="582" y="372"/>
                  </a:lnTo>
                  <a:lnTo>
                    <a:pt x="564" y="372"/>
                  </a:lnTo>
                  <a:lnTo>
                    <a:pt x="552" y="366"/>
                  </a:lnTo>
                  <a:lnTo>
                    <a:pt x="552" y="372"/>
                  </a:lnTo>
                  <a:lnTo>
                    <a:pt x="498" y="372"/>
                  </a:lnTo>
                  <a:lnTo>
                    <a:pt x="498" y="366"/>
                  </a:lnTo>
                  <a:lnTo>
                    <a:pt x="474" y="360"/>
                  </a:lnTo>
                  <a:lnTo>
                    <a:pt x="456" y="354"/>
                  </a:lnTo>
                  <a:lnTo>
                    <a:pt x="438" y="348"/>
                  </a:lnTo>
                  <a:lnTo>
                    <a:pt x="426" y="354"/>
                  </a:lnTo>
                  <a:lnTo>
                    <a:pt x="408" y="360"/>
                  </a:lnTo>
                  <a:lnTo>
                    <a:pt x="378" y="360"/>
                  </a:lnTo>
                  <a:lnTo>
                    <a:pt x="378" y="354"/>
                  </a:lnTo>
                  <a:lnTo>
                    <a:pt x="378" y="348"/>
                  </a:lnTo>
                  <a:lnTo>
                    <a:pt x="378" y="342"/>
                  </a:lnTo>
                  <a:lnTo>
                    <a:pt x="390" y="330"/>
                  </a:lnTo>
                  <a:lnTo>
                    <a:pt x="396" y="312"/>
                  </a:lnTo>
                  <a:lnTo>
                    <a:pt x="396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8"/>
                  </a:lnTo>
                  <a:lnTo>
                    <a:pt x="372" y="234"/>
                  </a:lnTo>
                  <a:lnTo>
                    <a:pt x="354" y="234"/>
                  </a:lnTo>
                  <a:lnTo>
                    <a:pt x="342" y="246"/>
                  </a:lnTo>
                  <a:lnTo>
                    <a:pt x="330" y="252"/>
                  </a:lnTo>
                  <a:lnTo>
                    <a:pt x="318" y="252"/>
                  </a:lnTo>
                  <a:lnTo>
                    <a:pt x="276" y="258"/>
                  </a:lnTo>
                  <a:lnTo>
                    <a:pt x="276" y="264"/>
                  </a:lnTo>
                  <a:lnTo>
                    <a:pt x="252" y="270"/>
                  </a:lnTo>
                  <a:lnTo>
                    <a:pt x="240" y="270"/>
                  </a:lnTo>
                  <a:lnTo>
                    <a:pt x="228" y="276"/>
                  </a:lnTo>
                  <a:lnTo>
                    <a:pt x="210" y="282"/>
                  </a:lnTo>
                  <a:lnTo>
                    <a:pt x="198" y="288"/>
                  </a:lnTo>
                  <a:lnTo>
                    <a:pt x="186" y="294"/>
                  </a:lnTo>
                  <a:lnTo>
                    <a:pt x="174" y="330"/>
                  </a:lnTo>
                  <a:lnTo>
                    <a:pt x="162" y="342"/>
                  </a:lnTo>
                  <a:lnTo>
                    <a:pt x="156" y="354"/>
                  </a:lnTo>
                  <a:lnTo>
                    <a:pt x="150" y="360"/>
                  </a:lnTo>
                  <a:lnTo>
                    <a:pt x="150" y="366"/>
                  </a:lnTo>
                  <a:lnTo>
                    <a:pt x="108" y="372"/>
                  </a:lnTo>
                  <a:lnTo>
                    <a:pt x="60" y="378"/>
                  </a:lnTo>
                  <a:lnTo>
                    <a:pt x="42" y="378"/>
                  </a:lnTo>
                  <a:lnTo>
                    <a:pt x="12" y="378"/>
                  </a:lnTo>
                  <a:lnTo>
                    <a:pt x="6" y="378"/>
                  </a:lnTo>
                  <a:lnTo>
                    <a:pt x="0" y="366"/>
                  </a:lnTo>
                  <a:lnTo>
                    <a:pt x="12" y="360"/>
                  </a:lnTo>
                  <a:lnTo>
                    <a:pt x="24" y="348"/>
                  </a:lnTo>
                  <a:lnTo>
                    <a:pt x="30" y="342"/>
                  </a:lnTo>
                  <a:lnTo>
                    <a:pt x="36" y="330"/>
                  </a:lnTo>
                  <a:lnTo>
                    <a:pt x="72" y="300"/>
                  </a:lnTo>
                  <a:lnTo>
                    <a:pt x="78" y="294"/>
                  </a:lnTo>
                  <a:lnTo>
                    <a:pt x="78" y="288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96" y="270"/>
                  </a:lnTo>
                  <a:lnTo>
                    <a:pt x="102" y="264"/>
                  </a:lnTo>
                  <a:lnTo>
                    <a:pt x="108" y="258"/>
                  </a:lnTo>
                  <a:lnTo>
                    <a:pt x="114" y="246"/>
                  </a:lnTo>
                  <a:lnTo>
                    <a:pt x="120" y="240"/>
                  </a:lnTo>
                  <a:lnTo>
                    <a:pt x="126" y="234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0" y="210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86" y="174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22" y="138"/>
                  </a:lnTo>
                  <a:lnTo>
                    <a:pt x="234" y="132"/>
                  </a:lnTo>
                  <a:lnTo>
                    <a:pt x="246" y="126"/>
                  </a:lnTo>
                  <a:lnTo>
                    <a:pt x="246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88" y="102"/>
                  </a:lnTo>
                  <a:lnTo>
                    <a:pt x="300" y="96"/>
                  </a:lnTo>
                  <a:lnTo>
                    <a:pt x="306" y="90"/>
                  </a:lnTo>
                  <a:lnTo>
                    <a:pt x="318" y="90"/>
                  </a:lnTo>
                  <a:lnTo>
                    <a:pt x="324" y="84"/>
                  </a:lnTo>
                  <a:lnTo>
                    <a:pt x="348" y="72"/>
                  </a:lnTo>
                  <a:lnTo>
                    <a:pt x="354" y="72"/>
                  </a:lnTo>
                  <a:lnTo>
                    <a:pt x="384" y="66"/>
                  </a:lnTo>
                  <a:lnTo>
                    <a:pt x="390" y="66"/>
                  </a:lnTo>
                  <a:lnTo>
                    <a:pt x="396" y="66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66"/>
                  </a:lnTo>
                  <a:lnTo>
                    <a:pt x="438" y="66"/>
                  </a:lnTo>
                  <a:lnTo>
                    <a:pt x="468" y="66"/>
                  </a:lnTo>
                  <a:lnTo>
                    <a:pt x="480" y="66"/>
                  </a:lnTo>
                  <a:lnTo>
                    <a:pt x="486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22" y="60"/>
                  </a:lnTo>
                  <a:lnTo>
                    <a:pt x="534" y="54"/>
                  </a:lnTo>
                  <a:lnTo>
                    <a:pt x="564" y="42"/>
                  </a:lnTo>
                  <a:lnTo>
                    <a:pt x="570" y="42"/>
                  </a:lnTo>
                  <a:lnTo>
                    <a:pt x="582" y="36"/>
                  </a:lnTo>
                  <a:lnTo>
                    <a:pt x="588" y="36"/>
                  </a:lnTo>
                  <a:lnTo>
                    <a:pt x="600" y="30"/>
                  </a:lnTo>
                  <a:lnTo>
                    <a:pt x="606" y="30"/>
                  </a:lnTo>
                  <a:lnTo>
                    <a:pt x="618" y="24"/>
                  </a:lnTo>
                  <a:lnTo>
                    <a:pt x="642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72" y="12"/>
                  </a:lnTo>
                  <a:lnTo>
                    <a:pt x="696" y="12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50" y="6"/>
                  </a:lnTo>
                  <a:lnTo>
                    <a:pt x="768" y="6"/>
                  </a:lnTo>
                  <a:lnTo>
                    <a:pt x="774" y="6"/>
                  </a:lnTo>
                  <a:lnTo>
                    <a:pt x="786" y="6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6" y="6"/>
                  </a:lnTo>
                  <a:lnTo>
                    <a:pt x="846" y="6"/>
                  </a:lnTo>
                  <a:lnTo>
                    <a:pt x="852" y="0"/>
                  </a:lnTo>
                  <a:lnTo>
                    <a:pt x="876" y="0"/>
                  </a:lnTo>
                  <a:lnTo>
                    <a:pt x="876" y="6"/>
                  </a:lnTo>
                  <a:lnTo>
                    <a:pt x="888" y="0"/>
                  </a:lnTo>
                  <a:lnTo>
                    <a:pt x="900" y="0"/>
                  </a:lnTo>
                  <a:lnTo>
                    <a:pt x="906" y="0"/>
                  </a:lnTo>
                  <a:lnTo>
                    <a:pt x="912" y="0"/>
                  </a:lnTo>
                  <a:lnTo>
                    <a:pt x="948" y="0"/>
                  </a:lnTo>
                  <a:lnTo>
                    <a:pt x="954" y="0"/>
                  </a:lnTo>
                  <a:lnTo>
                    <a:pt x="972" y="0"/>
                  </a:lnTo>
                  <a:lnTo>
                    <a:pt x="978" y="0"/>
                  </a:lnTo>
                  <a:lnTo>
                    <a:pt x="996" y="0"/>
                  </a:lnTo>
                  <a:lnTo>
                    <a:pt x="1032" y="0"/>
                  </a:lnTo>
                  <a:lnTo>
                    <a:pt x="1044" y="0"/>
                  </a:lnTo>
                  <a:lnTo>
                    <a:pt x="1050" y="0"/>
                  </a:lnTo>
                  <a:lnTo>
                    <a:pt x="1056" y="6"/>
                  </a:lnTo>
                  <a:lnTo>
                    <a:pt x="1056" y="0"/>
                  </a:lnTo>
                  <a:lnTo>
                    <a:pt x="1074" y="0"/>
                  </a:lnTo>
                  <a:lnTo>
                    <a:pt x="1098" y="6"/>
                  </a:lnTo>
                  <a:lnTo>
                    <a:pt x="1116" y="6"/>
                  </a:lnTo>
                  <a:lnTo>
                    <a:pt x="1140" y="12"/>
                  </a:lnTo>
                  <a:lnTo>
                    <a:pt x="1152" y="12"/>
                  </a:lnTo>
                  <a:lnTo>
                    <a:pt x="1158" y="12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6" y="12"/>
                  </a:lnTo>
                  <a:lnTo>
                    <a:pt x="1194" y="18"/>
                  </a:lnTo>
                  <a:lnTo>
                    <a:pt x="1206" y="18"/>
                  </a:lnTo>
                  <a:lnTo>
                    <a:pt x="1242" y="36"/>
                  </a:lnTo>
                  <a:lnTo>
                    <a:pt x="1248" y="36"/>
                  </a:lnTo>
                  <a:lnTo>
                    <a:pt x="1254" y="36"/>
                  </a:lnTo>
                  <a:lnTo>
                    <a:pt x="1260" y="42"/>
                  </a:lnTo>
                  <a:lnTo>
                    <a:pt x="1272" y="48"/>
                  </a:lnTo>
                  <a:lnTo>
                    <a:pt x="1278" y="48"/>
                  </a:lnTo>
                  <a:lnTo>
                    <a:pt x="1284" y="48"/>
                  </a:lnTo>
                  <a:lnTo>
                    <a:pt x="1290" y="54"/>
                  </a:lnTo>
                  <a:lnTo>
                    <a:pt x="1308" y="60"/>
                  </a:lnTo>
                  <a:lnTo>
                    <a:pt x="1326" y="60"/>
                  </a:lnTo>
                  <a:lnTo>
                    <a:pt x="1338" y="66"/>
                  </a:lnTo>
                  <a:lnTo>
                    <a:pt x="1344" y="66"/>
                  </a:lnTo>
                  <a:lnTo>
                    <a:pt x="1350" y="66"/>
                  </a:lnTo>
                  <a:lnTo>
                    <a:pt x="1356" y="66"/>
                  </a:lnTo>
                  <a:lnTo>
                    <a:pt x="1362" y="72"/>
                  </a:lnTo>
                  <a:lnTo>
                    <a:pt x="1368" y="72"/>
                  </a:lnTo>
                  <a:lnTo>
                    <a:pt x="1380" y="72"/>
                  </a:lnTo>
                  <a:lnTo>
                    <a:pt x="1386" y="72"/>
                  </a:lnTo>
                  <a:lnTo>
                    <a:pt x="1422" y="84"/>
                  </a:lnTo>
                  <a:lnTo>
                    <a:pt x="1428" y="84"/>
                  </a:lnTo>
                  <a:lnTo>
                    <a:pt x="1446" y="90"/>
                  </a:lnTo>
                  <a:lnTo>
                    <a:pt x="1458" y="102"/>
                  </a:lnTo>
                  <a:lnTo>
                    <a:pt x="1494" y="126"/>
                  </a:lnTo>
                  <a:lnTo>
                    <a:pt x="1500" y="132"/>
                  </a:lnTo>
                  <a:lnTo>
                    <a:pt x="1512" y="138"/>
                  </a:lnTo>
                  <a:lnTo>
                    <a:pt x="1512" y="144"/>
                  </a:lnTo>
                  <a:lnTo>
                    <a:pt x="1518" y="150"/>
                  </a:lnTo>
                  <a:lnTo>
                    <a:pt x="1530" y="156"/>
                  </a:lnTo>
                  <a:lnTo>
                    <a:pt x="1530" y="162"/>
                  </a:lnTo>
                  <a:lnTo>
                    <a:pt x="1548" y="168"/>
                  </a:lnTo>
                  <a:lnTo>
                    <a:pt x="1566" y="180"/>
                  </a:lnTo>
                  <a:lnTo>
                    <a:pt x="1578" y="186"/>
                  </a:lnTo>
                  <a:lnTo>
                    <a:pt x="1578" y="180"/>
                  </a:lnTo>
                  <a:lnTo>
                    <a:pt x="1584" y="186"/>
                  </a:lnTo>
                  <a:lnTo>
                    <a:pt x="1584" y="174"/>
                  </a:lnTo>
                  <a:lnTo>
                    <a:pt x="1590" y="174"/>
                  </a:lnTo>
                  <a:lnTo>
                    <a:pt x="1590" y="180"/>
                  </a:lnTo>
                  <a:lnTo>
                    <a:pt x="1596" y="180"/>
                  </a:lnTo>
                  <a:lnTo>
                    <a:pt x="1596" y="174"/>
                  </a:lnTo>
                  <a:lnTo>
                    <a:pt x="1602" y="174"/>
                  </a:lnTo>
                  <a:lnTo>
                    <a:pt x="1608" y="174"/>
                  </a:lnTo>
                  <a:lnTo>
                    <a:pt x="1614" y="180"/>
                  </a:lnTo>
                  <a:lnTo>
                    <a:pt x="1620" y="174"/>
                  </a:lnTo>
                  <a:lnTo>
                    <a:pt x="1614" y="168"/>
                  </a:lnTo>
                  <a:lnTo>
                    <a:pt x="1614" y="162"/>
                  </a:lnTo>
                  <a:lnTo>
                    <a:pt x="1620" y="162"/>
                  </a:lnTo>
                  <a:lnTo>
                    <a:pt x="1626" y="162"/>
                  </a:lnTo>
                  <a:lnTo>
                    <a:pt x="1632" y="162"/>
                  </a:lnTo>
                  <a:lnTo>
                    <a:pt x="1638" y="168"/>
                  </a:lnTo>
                  <a:lnTo>
                    <a:pt x="1644" y="168"/>
                  </a:lnTo>
                  <a:lnTo>
                    <a:pt x="1650" y="174"/>
                  </a:lnTo>
                  <a:lnTo>
                    <a:pt x="1656" y="168"/>
                  </a:lnTo>
                  <a:lnTo>
                    <a:pt x="1668" y="168"/>
                  </a:lnTo>
                  <a:lnTo>
                    <a:pt x="1674" y="174"/>
                  </a:lnTo>
                  <a:lnTo>
                    <a:pt x="1674" y="180"/>
                  </a:lnTo>
                  <a:lnTo>
                    <a:pt x="1674" y="186"/>
                  </a:lnTo>
                  <a:lnTo>
                    <a:pt x="1680" y="186"/>
                  </a:lnTo>
                  <a:lnTo>
                    <a:pt x="1680" y="192"/>
                  </a:lnTo>
                  <a:lnTo>
                    <a:pt x="1686" y="192"/>
                  </a:lnTo>
                  <a:lnTo>
                    <a:pt x="1686" y="186"/>
                  </a:lnTo>
                  <a:lnTo>
                    <a:pt x="1680" y="186"/>
                  </a:lnTo>
                  <a:lnTo>
                    <a:pt x="1686" y="180"/>
                  </a:lnTo>
                  <a:lnTo>
                    <a:pt x="1692" y="180"/>
                  </a:lnTo>
                  <a:lnTo>
                    <a:pt x="1698" y="180"/>
                  </a:lnTo>
                  <a:lnTo>
                    <a:pt x="1704" y="180"/>
                  </a:lnTo>
                  <a:lnTo>
                    <a:pt x="1704" y="186"/>
                  </a:lnTo>
                  <a:lnTo>
                    <a:pt x="1710" y="186"/>
                  </a:lnTo>
                  <a:lnTo>
                    <a:pt x="1716" y="186"/>
                  </a:lnTo>
                  <a:lnTo>
                    <a:pt x="1716" y="192"/>
                  </a:lnTo>
                  <a:lnTo>
                    <a:pt x="1716" y="198"/>
                  </a:lnTo>
                  <a:lnTo>
                    <a:pt x="1722" y="192"/>
                  </a:lnTo>
                  <a:lnTo>
                    <a:pt x="1722" y="186"/>
                  </a:lnTo>
                  <a:lnTo>
                    <a:pt x="1728" y="192"/>
                  </a:lnTo>
                  <a:lnTo>
                    <a:pt x="1734" y="192"/>
                  </a:lnTo>
                  <a:lnTo>
                    <a:pt x="1734" y="186"/>
                  </a:lnTo>
                  <a:lnTo>
                    <a:pt x="1740" y="186"/>
                  </a:lnTo>
                  <a:lnTo>
                    <a:pt x="1740" y="192"/>
                  </a:lnTo>
                  <a:lnTo>
                    <a:pt x="1746" y="192"/>
                  </a:lnTo>
                  <a:lnTo>
                    <a:pt x="1758" y="192"/>
                  </a:lnTo>
                  <a:lnTo>
                    <a:pt x="1764" y="192"/>
                  </a:lnTo>
                  <a:lnTo>
                    <a:pt x="1764" y="198"/>
                  </a:lnTo>
                  <a:lnTo>
                    <a:pt x="1758" y="204"/>
                  </a:lnTo>
                  <a:lnTo>
                    <a:pt x="1752" y="210"/>
                  </a:lnTo>
                  <a:lnTo>
                    <a:pt x="1746" y="216"/>
                  </a:lnTo>
                  <a:lnTo>
                    <a:pt x="1746" y="222"/>
                  </a:lnTo>
                  <a:lnTo>
                    <a:pt x="1734" y="228"/>
                  </a:lnTo>
                  <a:lnTo>
                    <a:pt x="1734" y="234"/>
                  </a:lnTo>
                  <a:lnTo>
                    <a:pt x="1734" y="258"/>
                  </a:lnTo>
                  <a:lnTo>
                    <a:pt x="1740" y="330"/>
                  </a:lnTo>
                  <a:lnTo>
                    <a:pt x="1746" y="372"/>
                  </a:lnTo>
                  <a:lnTo>
                    <a:pt x="1788" y="426"/>
                  </a:lnTo>
                  <a:lnTo>
                    <a:pt x="1806" y="438"/>
                  </a:lnTo>
                  <a:lnTo>
                    <a:pt x="1794" y="480"/>
                  </a:lnTo>
                  <a:lnTo>
                    <a:pt x="1770" y="516"/>
                  </a:lnTo>
                  <a:lnTo>
                    <a:pt x="1746" y="546"/>
                  </a:lnTo>
                  <a:lnTo>
                    <a:pt x="1716" y="570"/>
                  </a:lnTo>
                  <a:lnTo>
                    <a:pt x="1680" y="594"/>
                  </a:lnTo>
                  <a:lnTo>
                    <a:pt x="1668" y="630"/>
                  </a:lnTo>
                  <a:lnTo>
                    <a:pt x="1680" y="684"/>
                  </a:lnTo>
                  <a:lnTo>
                    <a:pt x="1686" y="756"/>
                  </a:lnTo>
                  <a:lnTo>
                    <a:pt x="1662" y="870"/>
                  </a:lnTo>
                  <a:lnTo>
                    <a:pt x="1656" y="888"/>
                  </a:lnTo>
                  <a:lnTo>
                    <a:pt x="1650" y="972"/>
                  </a:lnTo>
                  <a:lnTo>
                    <a:pt x="1656" y="978"/>
                  </a:lnTo>
                  <a:lnTo>
                    <a:pt x="1650" y="984"/>
                  </a:lnTo>
                  <a:lnTo>
                    <a:pt x="1650" y="990"/>
                  </a:lnTo>
                  <a:lnTo>
                    <a:pt x="1650" y="1002"/>
                  </a:lnTo>
                  <a:lnTo>
                    <a:pt x="1656" y="1008"/>
                  </a:lnTo>
                  <a:lnTo>
                    <a:pt x="1656" y="1014"/>
                  </a:lnTo>
                  <a:lnTo>
                    <a:pt x="1662" y="1026"/>
                  </a:lnTo>
                  <a:lnTo>
                    <a:pt x="1650" y="1032"/>
                  </a:lnTo>
                  <a:lnTo>
                    <a:pt x="1638" y="1044"/>
                  </a:lnTo>
                  <a:lnTo>
                    <a:pt x="1626" y="1080"/>
                  </a:lnTo>
                  <a:lnTo>
                    <a:pt x="1614" y="1116"/>
                  </a:lnTo>
                  <a:lnTo>
                    <a:pt x="1614" y="1128"/>
                  </a:lnTo>
                  <a:lnTo>
                    <a:pt x="1626" y="1134"/>
                  </a:lnTo>
                  <a:lnTo>
                    <a:pt x="1644" y="1134"/>
                  </a:lnTo>
                  <a:lnTo>
                    <a:pt x="1662" y="1134"/>
                  </a:lnTo>
                  <a:lnTo>
                    <a:pt x="1680" y="1140"/>
                  </a:lnTo>
                  <a:lnTo>
                    <a:pt x="1698" y="1170"/>
                  </a:lnTo>
                  <a:lnTo>
                    <a:pt x="1704" y="1194"/>
                  </a:lnTo>
                  <a:lnTo>
                    <a:pt x="1692" y="1206"/>
                  </a:lnTo>
                  <a:lnTo>
                    <a:pt x="1662" y="1242"/>
                  </a:lnTo>
                  <a:lnTo>
                    <a:pt x="1632" y="1266"/>
                  </a:lnTo>
                  <a:lnTo>
                    <a:pt x="1620" y="1314"/>
                  </a:lnTo>
                  <a:lnTo>
                    <a:pt x="1584" y="1356"/>
                  </a:lnTo>
                  <a:lnTo>
                    <a:pt x="1578" y="1356"/>
                  </a:lnTo>
                  <a:lnTo>
                    <a:pt x="1578" y="1362"/>
                  </a:lnTo>
                  <a:lnTo>
                    <a:pt x="1572" y="1410"/>
                  </a:lnTo>
                  <a:lnTo>
                    <a:pt x="1584" y="1452"/>
                  </a:lnTo>
                  <a:lnTo>
                    <a:pt x="1608" y="1476"/>
                  </a:lnTo>
                  <a:lnTo>
                    <a:pt x="1596" y="1476"/>
                  </a:lnTo>
                  <a:lnTo>
                    <a:pt x="1584" y="1482"/>
                  </a:lnTo>
                  <a:lnTo>
                    <a:pt x="1560" y="1482"/>
                  </a:lnTo>
                  <a:lnTo>
                    <a:pt x="1536" y="1482"/>
                  </a:lnTo>
                  <a:lnTo>
                    <a:pt x="1524" y="1482"/>
                  </a:lnTo>
                  <a:lnTo>
                    <a:pt x="1506" y="1500"/>
                  </a:lnTo>
                  <a:lnTo>
                    <a:pt x="1482" y="1530"/>
                  </a:lnTo>
                  <a:lnTo>
                    <a:pt x="1452" y="1542"/>
                  </a:lnTo>
                  <a:lnTo>
                    <a:pt x="1446" y="1542"/>
                  </a:lnTo>
                  <a:lnTo>
                    <a:pt x="1440" y="1542"/>
                  </a:lnTo>
                  <a:lnTo>
                    <a:pt x="1440" y="1548"/>
                  </a:lnTo>
                  <a:lnTo>
                    <a:pt x="1434" y="1548"/>
                  </a:lnTo>
                  <a:lnTo>
                    <a:pt x="1428" y="1548"/>
                  </a:lnTo>
                  <a:lnTo>
                    <a:pt x="1428" y="1554"/>
                  </a:lnTo>
                  <a:lnTo>
                    <a:pt x="1422" y="1560"/>
                  </a:lnTo>
                  <a:lnTo>
                    <a:pt x="1416" y="1560"/>
                  </a:lnTo>
                  <a:lnTo>
                    <a:pt x="1410" y="1566"/>
                  </a:lnTo>
                  <a:lnTo>
                    <a:pt x="1410" y="1560"/>
                  </a:lnTo>
                  <a:lnTo>
                    <a:pt x="1404" y="1560"/>
                  </a:lnTo>
                  <a:lnTo>
                    <a:pt x="1392" y="1560"/>
                  </a:lnTo>
                  <a:lnTo>
                    <a:pt x="1386" y="1560"/>
                  </a:lnTo>
                  <a:lnTo>
                    <a:pt x="1380" y="1566"/>
                  </a:lnTo>
                  <a:lnTo>
                    <a:pt x="1374" y="1560"/>
                  </a:lnTo>
                  <a:lnTo>
                    <a:pt x="1368" y="1566"/>
                  </a:lnTo>
                  <a:lnTo>
                    <a:pt x="1362" y="1566"/>
                  </a:lnTo>
                  <a:lnTo>
                    <a:pt x="1362" y="1572"/>
                  </a:lnTo>
                  <a:lnTo>
                    <a:pt x="1356" y="1572"/>
                  </a:lnTo>
                  <a:lnTo>
                    <a:pt x="1356" y="1578"/>
                  </a:lnTo>
                  <a:lnTo>
                    <a:pt x="1350" y="1578"/>
                  </a:lnTo>
                  <a:lnTo>
                    <a:pt x="1350" y="1572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32" y="1584"/>
                  </a:lnTo>
                  <a:lnTo>
                    <a:pt x="1326" y="1590"/>
                  </a:lnTo>
                  <a:lnTo>
                    <a:pt x="1320" y="1584"/>
                  </a:lnTo>
                  <a:lnTo>
                    <a:pt x="1314" y="1590"/>
                  </a:lnTo>
                  <a:lnTo>
                    <a:pt x="1308" y="1596"/>
                  </a:lnTo>
                  <a:lnTo>
                    <a:pt x="1302" y="1596"/>
                  </a:lnTo>
                  <a:lnTo>
                    <a:pt x="1296" y="1596"/>
                  </a:lnTo>
                  <a:lnTo>
                    <a:pt x="1290" y="1596"/>
                  </a:lnTo>
                  <a:lnTo>
                    <a:pt x="1284" y="1596"/>
                  </a:lnTo>
                  <a:lnTo>
                    <a:pt x="1278" y="1602"/>
                  </a:lnTo>
                  <a:lnTo>
                    <a:pt x="1266" y="1602"/>
                  </a:lnTo>
                  <a:lnTo>
                    <a:pt x="1272" y="1608"/>
                  </a:lnTo>
                  <a:lnTo>
                    <a:pt x="1278" y="1608"/>
                  </a:lnTo>
                  <a:lnTo>
                    <a:pt x="1284" y="1608"/>
                  </a:lnTo>
                  <a:lnTo>
                    <a:pt x="1290" y="1614"/>
                  </a:lnTo>
                  <a:lnTo>
                    <a:pt x="1296" y="1620"/>
                  </a:lnTo>
                  <a:lnTo>
                    <a:pt x="1302" y="1626"/>
                  </a:lnTo>
                  <a:lnTo>
                    <a:pt x="1308" y="1632"/>
                  </a:lnTo>
                  <a:lnTo>
                    <a:pt x="1314" y="1638"/>
                  </a:lnTo>
                  <a:lnTo>
                    <a:pt x="1314" y="1644"/>
                  </a:lnTo>
                  <a:lnTo>
                    <a:pt x="1320" y="1644"/>
                  </a:lnTo>
                  <a:lnTo>
                    <a:pt x="1320" y="1650"/>
                  </a:lnTo>
                  <a:lnTo>
                    <a:pt x="1326" y="1656"/>
                  </a:lnTo>
                  <a:lnTo>
                    <a:pt x="1332" y="1668"/>
                  </a:lnTo>
                  <a:lnTo>
                    <a:pt x="1338" y="1680"/>
                  </a:lnTo>
                  <a:lnTo>
                    <a:pt x="1338" y="1698"/>
                  </a:lnTo>
                  <a:lnTo>
                    <a:pt x="1350" y="1710"/>
                  </a:lnTo>
                  <a:lnTo>
                    <a:pt x="1350" y="1716"/>
                  </a:lnTo>
                  <a:lnTo>
                    <a:pt x="1350" y="1722"/>
                  </a:lnTo>
                  <a:lnTo>
                    <a:pt x="1350" y="1728"/>
                  </a:lnTo>
                  <a:lnTo>
                    <a:pt x="1356" y="1728"/>
                  </a:lnTo>
                  <a:lnTo>
                    <a:pt x="1356" y="1734"/>
                  </a:lnTo>
                  <a:lnTo>
                    <a:pt x="1350" y="1734"/>
                  </a:lnTo>
                  <a:lnTo>
                    <a:pt x="1344" y="1740"/>
                  </a:lnTo>
                  <a:lnTo>
                    <a:pt x="1338" y="1740"/>
                  </a:lnTo>
                  <a:lnTo>
                    <a:pt x="1332" y="1746"/>
                  </a:lnTo>
                  <a:lnTo>
                    <a:pt x="1326" y="1746"/>
                  </a:lnTo>
                  <a:lnTo>
                    <a:pt x="1326" y="1752"/>
                  </a:lnTo>
                  <a:lnTo>
                    <a:pt x="1320" y="1752"/>
                  </a:lnTo>
                  <a:lnTo>
                    <a:pt x="1320" y="1758"/>
                  </a:lnTo>
                  <a:lnTo>
                    <a:pt x="1314" y="1758"/>
                  </a:lnTo>
                  <a:lnTo>
                    <a:pt x="1308" y="1758"/>
                  </a:lnTo>
                  <a:lnTo>
                    <a:pt x="1302" y="1758"/>
                  </a:lnTo>
                  <a:lnTo>
                    <a:pt x="1296" y="1758"/>
                  </a:lnTo>
                  <a:lnTo>
                    <a:pt x="1290" y="1764"/>
                  </a:lnTo>
                  <a:lnTo>
                    <a:pt x="1284" y="1770"/>
                  </a:lnTo>
                  <a:lnTo>
                    <a:pt x="1278" y="1770"/>
                  </a:lnTo>
                  <a:lnTo>
                    <a:pt x="1272" y="1770"/>
                  </a:lnTo>
                  <a:lnTo>
                    <a:pt x="1266" y="1770"/>
                  </a:lnTo>
                  <a:lnTo>
                    <a:pt x="1266" y="1776"/>
                  </a:lnTo>
                  <a:lnTo>
                    <a:pt x="1260" y="1776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4" name="Freeform 39">
              <a:extLst>
                <a:ext uri="{FF2B5EF4-FFF2-40B4-BE49-F238E27FC236}">
                  <a16:creationId xmlns:a16="http://schemas.microsoft.com/office/drawing/2014/main" id="{E01CDA8B-32C7-421A-B23E-968CAC7F78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2974" y="1759680"/>
              <a:ext cx="825155" cy="700024"/>
            </a:xfrm>
            <a:custGeom>
              <a:avLst/>
              <a:gdLst>
                <a:gd name="T0" fmla="*/ 60 w 1554"/>
                <a:gd name="T1" fmla="*/ 86 h 1320"/>
                <a:gd name="T2" fmla="*/ 66 w 1554"/>
                <a:gd name="T3" fmla="*/ 80 h 1320"/>
                <a:gd name="T4" fmla="*/ 61 w 1554"/>
                <a:gd name="T5" fmla="*/ 73 h 1320"/>
                <a:gd name="T6" fmla="*/ 57 w 1554"/>
                <a:gd name="T7" fmla="*/ 67 h 1320"/>
                <a:gd name="T8" fmla="*/ 60 w 1554"/>
                <a:gd name="T9" fmla="*/ 59 h 1320"/>
                <a:gd name="T10" fmla="*/ 56 w 1554"/>
                <a:gd name="T11" fmla="*/ 55 h 1320"/>
                <a:gd name="T12" fmla="*/ 45 w 1554"/>
                <a:gd name="T13" fmla="*/ 53 h 1320"/>
                <a:gd name="T14" fmla="*/ 42 w 1554"/>
                <a:gd name="T15" fmla="*/ 41 h 1320"/>
                <a:gd name="T16" fmla="*/ 37 w 1554"/>
                <a:gd name="T17" fmla="*/ 39 h 1320"/>
                <a:gd name="T18" fmla="*/ 31 w 1554"/>
                <a:gd name="T19" fmla="*/ 44 h 1320"/>
                <a:gd name="T20" fmla="*/ 37 w 1554"/>
                <a:gd name="T21" fmla="*/ 35 h 1320"/>
                <a:gd name="T22" fmla="*/ 30 w 1554"/>
                <a:gd name="T23" fmla="*/ 23 h 1320"/>
                <a:gd name="T24" fmla="*/ 21 w 1554"/>
                <a:gd name="T25" fmla="*/ 23 h 1320"/>
                <a:gd name="T26" fmla="*/ 15 w 1554"/>
                <a:gd name="T27" fmla="*/ 27 h 1320"/>
                <a:gd name="T28" fmla="*/ 11 w 1554"/>
                <a:gd name="T29" fmla="*/ 32 h 1320"/>
                <a:gd name="T30" fmla="*/ 6 w 1554"/>
                <a:gd name="T31" fmla="*/ 22 h 1320"/>
                <a:gd name="T32" fmla="*/ 3 w 1554"/>
                <a:gd name="T33" fmla="*/ 11 h 1320"/>
                <a:gd name="T34" fmla="*/ 24 w 1554"/>
                <a:gd name="T35" fmla="*/ 12 h 1320"/>
                <a:gd name="T36" fmla="*/ 33 w 1554"/>
                <a:gd name="T37" fmla="*/ 19 h 1320"/>
                <a:gd name="T38" fmla="*/ 49 w 1554"/>
                <a:gd name="T39" fmla="*/ 12 h 1320"/>
                <a:gd name="T40" fmla="*/ 58 w 1554"/>
                <a:gd name="T41" fmla="*/ 10 h 1320"/>
                <a:gd name="T42" fmla="*/ 68 w 1554"/>
                <a:gd name="T43" fmla="*/ 11 h 1320"/>
                <a:gd name="T44" fmla="*/ 79 w 1554"/>
                <a:gd name="T45" fmla="*/ 12 h 1320"/>
                <a:gd name="T46" fmla="*/ 96 w 1554"/>
                <a:gd name="T47" fmla="*/ 11 h 1320"/>
                <a:gd name="T48" fmla="*/ 107 w 1554"/>
                <a:gd name="T49" fmla="*/ 2 h 1320"/>
                <a:gd name="T50" fmla="*/ 117 w 1554"/>
                <a:gd name="T51" fmla="*/ 8 h 1320"/>
                <a:gd name="T52" fmla="*/ 126 w 1554"/>
                <a:gd name="T53" fmla="*/ 12 h 1320"/>
                <a:gd name="T54" fmla="*/ 134 w 1554"/>
                <a:gd name="T55" fmla="*/ 24 h 1320"/>
                <a:gd name="T56" fmla="*/ 133 w 1554"/>
                <a:gd name="T57" fmla="*/ 29 h 1320"/>
                <a:gd name="T58" fmla="*/ 129 w 1554"/>
                <a:gd name="T59" fmla="*/ 31 h 1320"/>
                <a:gd name="T60" fmla="*/ 125 w 1554"/>
                <a:gd name="T61" fmla="*/ 32 h 1320"/>
                <a:gd name="T62" fmla="*/ 115 w 1554"/>
                <a:gd name="T63" fmla="*/ 34 h 1320"/>
                <a:gd name="T64" fmla="*/ 113 w 1554"/>
                <a:gd name="T65" fmla="*/ 44 h 1320"/>
                <a:gd name="T66" fmla="*/ 111 w 1554"/>
                <a:gd name="T67" fmla="*/ 54 h 1320"/>
                <a:gd name="T68" fmla="*/ 107 w 1554"/>
                <a:gd name="T69" fmla="*/ 56 h 1320"/>
                <a:gd name="T70" fmla="*/ 102 w 1554"/>
                <a:gd name="T71" fmla="*/ 58 h 1320"/>
                <a:gd name="T72" fmla="*/ 99 w 1554"/>
                <a:gd name="T73" fmla="*/ 60 h 1320"/>
                <a:gd name="T74" fmla="*/ 93 w 1554"/>
                <a:gd name="T75" fmla="*/ 62 h 1320"/>
                <a:gd name="T76" fmla="*/ 87 w 1554"/>
                <a:gd name="T77" fmla="*/ 64 h 1320"/>
                <a:gd name="T78" fmla="*/ 84 w 1554"/>
                <a:gd name="T79" fmla="*/ 65 h 1320"/>
                <a:gd name="T80" fmla="*/ 81 w 1554"/>
                <a:gd name="T81" fmla="*/ 69 h 1320"/>
                <a:gd name="T82" fmla="*/ 83 w 1554"/>
                <a:gd name="T83" fmla="*/ 72 h 1320"/>
                <a:gd name="T84" fmla="*/ 92 w 1554"/>
                <a:gd name="T85" fmla="*/ 73 h 1320"/>
                <a:gd name="T86" fmla="*/ 93 w 1554"/>
                <a:gd name="T87" fmla="*/ 87 h 1320"/>
                <a:gd name="T88" fmla="*/ 104 w 1554"/>
                <a:gd name="T89" fmla="*/ 98 h 1320"/>
                <a:gd name="T90" fmla="*/ 108 w 1554"/>
                <a:gd name="T91" fmla="*/ 98 h 1320"/>
                <a:gd name="T92" fmla="*/ 112 w 1554"/>
                <a:gd name="T93" fmla="*/ 100 h 1320"/>
                <a:gd name="T94" fmla="*/ 118 w 1554"/>
                <a:gd name="T95" fmla="*/ 100 h 1320"/>
                <a:gd name="T96" fmla="*/ 122 w 1554"/>
                <a:gd name="T97" fmla="*/ 102 h 1320"/>
                <a:gd name="T98" fmla="*/ 118 w 1554"/>
                <a:gd name="T99" fmla="*/ 105 h 1320"/>
                <a:gd name="T100" fmla="*/ 114 w 1554"/>
                <a:gd name="T101" fmla="*/ 107 h 1320"/>
                <a:gd name="T102" fmla="*/ 113 w 1554"/>
                <a:gd name="T103" fmla="*/ 113 h 1320"/>
                <a:gd name="T104" fmla="*/ 104 w 1554"/>
                <a:gd name="T105" fmla="*/ 113 h 1320"/>
                <a:gd name="T106" fmla="*/ 93 w 1554"/>
                <a:gd name="T107" fmla="*/ 109 h 1320"/>
                <a:gd name="T108" fmla="*/ 96 w 1554"/>
                <a:gd name="T109" fmla="*/ 103 h 1320"/>
                <a:gd name="T110" fmla="*/ 95 w 1554"/>
                <a:gd name="T111" fmla="*/ 97 h 1320"/>
                <a:gd name="T112" fmla="*/ 87 w 1554"/>
                <a:gd name="T113" fmla="*/ 98 h 1320"/>
                <a:gd name="T114" fmla="*/ 81 w 1554"/>
                <a:gd name="T115" fmla="*/ 98 h 1320"/>
                <a:gd name="T116" fmla="*/ 78 w 1554"/>
                <a:gd name="T117" fmla="*/ 93 h 1320"/>
                <a:gd name="T118" fmla="*/ 65 w 1554"/>
                <a:gd name="T119" fmla="*/ 92 h 1320"/>
                <a:gd name="T120" fmla="*/ 59 w 1554"/>
                <a:gd name="T121" fmla="*/ 92 h 13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54"/>
                <a:gd name="T184" fmla="*/ 0 h 1320"/>
                <a:gd name="T185" fmla="*/ 1554 w 1554"/>
                <a:gd name="T186" fmla="*/ 1320 h 132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54" h="1320">
                  <a:moveTo>
                    <a:pt x="684" y="1068"/>
                  </a:moveTo>
                  <a:lnTo>
                    <a:pt x="684" y="1062"/>
                  </a:lnTo>
                  <a:lnTo>
                    <a:pt x="690" y="1056"/>
                  </a:lnTo>
                  <a:lnTo>
                    <a:pt x="690" y="1050"/>
                  </a:lnTo>
                  <a:lnTo>
                    <a:pt x="690" y="1044"/>
                  </a:lnTo>
                  <a:lnTo>
                    <a:pt x="690" y="1038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14"/>
                  </a:lnTo>
                  <a:lnTo>
                    <a:pt x="690" y="1008"/>
                  </a:lnTo>
                  <a:lnTo>
                    <a:pt x="696" y="996"/>
                  </a:lnTo>
                  <a:lnTo>
                    <a:pt x="714" y="996"/>
                  </a:lnTo>
                  <a:lnTo>
                    <a:pt x="714" y="990"/>
                  </a:lnTo>
                  <a:lnTo>
                    <a:pt x="732" y="984"/>
                  </a:lnTo>
                  <a:lnTo>
                    <a:pt x="744" y="978"/>
                  </a:lnTo>
                  <a:lnTo>
                    <a:pt x="762" y="966"/>
                  </a:lnTo>
                  <a:lnTo>
                    <a:pt x="762" y="960"/>
                  </a:lnTo>
                  <a:lnTo>
                    <a:pt x="768" y="954"/>
                  </a:lnTo>
                  <a:lnTo>
                    <a:pt x="774" y="948"/>
                  </a:lnTo>
                  <a:lnTo>
                    <a:pt x="774" y="942"/>
                  </a:lnTo>
                  <a:lnTo>
                    <a:pt x="774" y="924"/>
                  </a:lnTo>
                  <a:lnTo>
                    <a:pt x="768" y="918"/>
                  </a:lnTo>
                  <a:lnTo>
                    <a:pt x="756" y="918"/>
                  </a:lnTo>
                  <a:lnTo>
                    <a:pt x="744" y="918"/>
                  </a:lnTo>
                  <a:lnTo>
                    <a:pt x="732" y="924"/>
                  </a:lnTo>
                  <a:lnTo>
                    <a:pt x="726" y="912"/>
                  </a:lnTo>
                  <a:lnTo>
                    <a:pt x="720" y="912"/>
                  </a:lnTo>
                  <a:lnTo>
                    <a:pt x="720" y="900"/>
                  </a:lnTo>
                  <a:lnTo>
                    <a:pt x="720" y="870"/>
                  </a:lnTo>
                  <a:lnTo>
                    <a:pt x="696" y="876"/>
                  </a:lnTo>
                  <a:lnTo>
                    <a:pt x="690" y="852"/>
                  </a:lnTo>
                  <a:lnTo>
                    <a:pt x="702" y="852"/>
                  </a:lnTo>
                  <a:lnTo>
                    <a:pt x="702" y="840"/>
                  </a:lnTo>
                  <a:lnTo>
                    <a:pt x="708" y="834"/>
                  </a:lnTo>
                  <a:lnTo>
                    <a:pt x="702" y="822"/>
                  </a:lnTo>
                  <a:lnTo>
                    <a:pt x="660" y="822"/>
                  </a:lnTo>
                  <a:lnTo>
                    <a:pt x="654" y="822"/>
                  </a:lnTo>
                  <a:lnTo>
                    <a:pt x="642" y="822"/>
                  </a:lnTo>
                  <a:lnTo>
                    <a:pt x="642" y="810"/>
                  </a:lnTo>
                  <a:lnTo>
                    <a:pt x="642" y="798"/>
                  </a:lnTo>
                  <a:lnTo>
                    <a:pt x="642" y="792"/>
                  </a:lnTo>
                  <a:lnTo>
                    <a:pt x="648" y="780"/>
                  </a:lnTo>
                  <a:lnTo>
                    <a:pt x="654" y="774"/>
                  </a:lnTo>
                  <a:lnTo>
                    <a:pt x="660" y="774"/>
                  </a:lnTo>
                  <a:lnTo>
                    <a:pt x="672" y="762"/>
                  </a:lnTo>
                  <a:lnTo>
                    <a:pt x="672" y="756"/>
                  </a:lnTo>
                  <a:lnTo>
                    <a:pt x="678" y="750"/>
                  </a:lnTo>
                  <a:lnTo>
                    <a:pt x="684" y="750"/>
                  </a:lnTo>
                  <a:lnTo>
                    <a:pt x="690" y="744"/>
                  </a:lnTo>
                  <a:lnTo>
                    <a:pt x="696" y="732"/>
                  </a:lnTo>
                  <a:lnTo>
                    <a:pt x="696" y="726"/>
                  </a:lnTo>
                  <a:lnTo>
                    <a:pt x="702" y="714"/>
                  </a:lnTo>
                  <a:lnTo>
                    <a:pt x="696" y="708"/>
                  </a:lnTo>
                  <a:lnTo>
                    <a:pt x="690" y="690"/>
                  </a:lnTo>
                  <a:lnTo>
                    <a:pt x="696" y="678"/>
                  </a:lnTo>
                  <a:lnTo>
                    <a:pt x="708" y="672"/>
                  </a:lnTo>
                  <a:lnTo>
                    <a:pt x="708" y="660"/>
                  </a:lnTo>
                  <a:lnTo>
                    <a:pt x="702" y="660"/>
                  </a:lnTo>
                  <a:lnTo>
                    <a:pt x="696" y="660"/>
                  </a:lnTo>
                  <a:lnTo>
                    <a:pt x="690" y="654"/>
                  </a:lnTo>
                  <a:lnTo>
                    <a:pt x="684" y="654"/>
                  </a:lnTo>
                  <a:lnTo>
                    <a:pt x="690" y="606"/>
                  </a:lnTo>
                  <a:lnTo>
                    <a:pt x="660" y="606"/>
                  </a:lnTo>
                  <a:lnTo>
                    <a:pt x="660" y="612"/>
                  </a:lnTo>
                  <a:lnTo>
                    <a:pt x="648" y="612"/>
                  </a:lnTo>
                  <a:lnTo>
                    <a:pt x="642" y="636"/>
                  </a:lnTo>
                  <a:lnTo>
                    <a:pt x="636" y="636"/>
                  </a:lnTo>
                  <a:lnTo>
                    <a:pt x="630" y="648"/>
                  </a:lnTo>
                  <a:lnTo>
                    <a:pt x="612" y="648"/>
                  </a:lnTo>
                  <a:lnTo>
                    <a:pt x="606" y="636"/>
                  </a:lnTo>
                  <a:lnTo>
                    <a:pt x="600" y="630"/>
                  </a:lnTo>
                  <a:lnTo>
                    <a:pt x="588" y="606"/>
                  </a:lnTo>
                  <a:lnTo>
                    <a:pt x="552" y="606"/>
                  </a:lnTo>
                  <a:lnTo>
                    <a:pt x="552" y="612"/>
                  </a:lnTo>
                  <a:lnTo>
                    <a:pt x="540" y="612"/>
                  </a:lnTo>
                  <a:lnTo>
                    <a:pt x="540" y="606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16" y="612"/>
                  </a:lnTo>
                  <a:lnTo>
                    <a:pt x="516" y="582"/>
                  </a:lnTo>
                  <a:lnTo>
                    <a:pt x="522" y="576"/>
                  </a:lnTo>
                  <a:lnTo>
                    <a:pt x="528" y="576"/>
                  </a:lnTo>
                  <a:lnTo>
                    <a:pt x="528" y="552"/>
                  </a:lnTo>
                  <a:lnTo>
                    <a:pt x="522" y="540"/>
                  </a:lnTo>
                  <a:lnTo>
                    <a:pt x="510" y="528"/>
                  </a:lnTo>
                  <a:lnTo>
                    <a:pt x="486" y="510"/>
                  </a:lnTo>
                  <a:lnTo>
                    <a:pt x="480" y="498"/>
                  </a:lnTo>
                  <a:lnTo>
                    <a:pt x="480" y="474"/>
                  </a:lnTo>
                  <a:lnTo>
                    <a:pt x="492" y="468"/>
                  </a:lnTo>
                  <a:lnTo>
                    <a:pt x="486" y="450"/>
                  </a:lnTo>
                  <a:lnTo>
                    <a:pt x="474" y="456"/>
                  </a:lnTo>
                  <a:lnTo>
                    <a:pt x="468" y="456"/>
                  </a:lnTo>
                  <a:lnTo>
                    <a:pt x="462" y="456"/>
                  </a:lnTo>
                  <a:lnTo>
                    <a:pt x="456" y="468"/>
                  </a:lnTo>
                  <a:lnTo>
                    <a:pt x="456" y="474"/>
                  </a:lnTo>
                  <a:lnTo>
                    <a:pt x="450" y="480"/>
                  </a:lnTo>
                  <a:lnTo>
                    <a:pt x="444" y="450"/>
                  </a:lnTo>
                  <a:lnTo>
                    <a:pt x="438" y="450"/>
                  </a:lnTo>
                  <a:lnTo>
                    <a:pt x="432" y="450"/>
                  </a:lnTo>
                  <a:lnTo>
                    <a:pt x="420" y="450"/>
                  </a:lnTo>
                  <a:lnTo>
                    <a:pt x="420" y="456"/>
                  </a:lnTo>
                  <a:lnTo>
                    <a:pt x="414" y="456"/>
                  </a:lnTo>
                  <a:lnTo>
                    <a:pt x="408" y="468"/>
                  </a:lnTo>
                  <a:lnTo>
                    <a:pt x="402" y="468"/>
                  </a:lnTo>
                  <a:lnTo>
                    <a:pt x="396" y="474"/>
                  </a:lnTo>
                  <a:lnTo>
                    <a:pt x="390" y="492"/>
                  </a:lnTo>
                  <a:lnTo>
                    <a:pt x="384" y="504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54" y="510"/>
                  </a:lnTo>
                  <a:lnTo>
                    <a:pt x="360" y="480"/>
                  </a:lnTo>
                  <a:lnTo>
                    <a:pt x="360" y="474"/>
                  </a:lnTo>
                  <a:lnTo>
                    <a:pt x="378" y="456"/>
                  </a:lnTo>
                  <a:lnTo>
                    <a:pt x="384" y="450"/>
                  </a:lnTo>
                  <a:lnTo>
                    <a:pt x="396" y="444"/>
                  </a:lnTo>
                  <a:lnTo>
                    <a:pt x="402" y="438"/>
                  </a:lnTo>
                  <a:lnTo>
                    <a:pt x="408" y="438"/>
                  </a:lnTo>
                  <a:lnTo>
                    <a:pt x="408" y="426"/>
                  </a:lnTo>
                  <a:lnTo>
                    <a:pt x="414" y="420"/>
                  </a:lnTo>
                  <a:lnTo>
                    <a:pt x="426" y="420"/>
                  </a:lnTo>
                  <a:lnTo>
                    <a:pt x="426" y="408"/>
                  </a:lnTo>
                  <a:lnTo>
                    <a:pt x="420" y="390"/>
                  </a:lnTo>
                  <a:lnTo>
                    <a:pt x="408" y="384"/>
                  </a:lnTo>
                  <a:lnTo>
                    <a:pt x="378" y="378"/>
                  </a:lnTo>
                  <a:lnTo>
                    <a:pt x="354" y="366"/>
                  </a:lnTo>
                  <a:lnTo>
                    <a:pt x="342" y="360"/>
                  </a:lnTo>
                  <a:lnTo>
                    <a:pt x="342" y="348"/>
                  </a:lnTo>
                  <a:lnTo>
                    <a:pt x="336" y="330"/>
                  </a:lnTo>
                  <a:lnTo>
                    <a:pt x="348" y="306"/>
                  </a:lnTo>
                  <a:lnTo>
                    <a:pt x="360" y="294"/>
                  </a:lnTo>
                  <a:lnTo>
                    <a:pt x="360" y="282"/>
                  </a:lnTo>
                  <a:lnTo>
                    <a:pt x="342" y="270"/>
                  </a:lnTo>
                  <a:lnTo>
                    <a:pt x="342" y="264"/>
                  </a:lnTo>
                  <a:lnTo>
                    <a:pt x="330" y="264"/>
                  </a:lnTo>
                  <a:lnTo>
                    <a:pt x="312" y="270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88" y="270"/>
                  </a:lnTo>
                  <a:lnTo>
                    <a:pt x="282" y="270"/>
                  </a:lnTo>
                  <a:lnTo>
                    <a:pt x="276" y="264"/>
                  </a:lnTo>
                  <a:lnTo>
                    <a:pt x="270" y="264"/>
                  </a:lnTo>
                  <a:lnTo>
                    <a:pt x="252" y="270"/>
                  </a:lnTo>
                  <a:lnTo>
                    <a:pt x="246" y="270"/>
                  </a:lnTo>
                  <a:lnTo>
                    <a:pt x="240" y="270"/>
                  </a:lnTo>
                  <a:lnTo>
                    <a:pt x="228" y="270"/>
                  </a:lnTo>
                  <a:lnTo>
                    <a:pt x="216" y="276"/>
                  </a:lnTo>
                  <a:lnTo>
                    <a:pt x="210" y="270"/>
                  </a:lnTo>
                  <a:lnTo>
                    <a:pt x="204" y="270"/>
                  </a:lnTo>
                  <a:lnTo>
                    <a:pt x="198" y="276"/>
                  </a:lnTo>
                  <a:lnTo>
                    <a:pt x="192" y="276"/>
                  </a:lnTo>
                  <a:lnTo>
                    <a:pt x="186" y="282"/>
                  </a:lnTo>
                  <a:lnTo>
                    <a:pt x="180" y="288"/>
                  </a:lnTo>
                  <a:lnTo>
                    <a:pt x="174" y="300"/>
                  </a:lnTo>
                  <a:lnTo>
                    <a:pt x="168" y="306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8" y="330"/>
                  </a:lnTo>
                  <a:lnTo>
                    <a:pt x="162" y="336"/>
                  </a:lnTo>
                  <a:lnTo>
                    <a:pt x="156" y="342"/>
                  </a:lnTo>
                  <a:lnTo>
                    <a:pt x="156" y="348"/>
                  </a:lnTo>
                  <a:lnTo>
                    <a:pt x="156" y="354"/>
                  </a:lnTo>
                  <a:lnTo>
                    <a:pt x="150" y="366"/>
                  </a:lnTo>
                  <a:lnTo>
                    <a:pt x="150" y="372"/>
                  </a:lnTo>
                  <a:lnTo>
                    <a:pt x="144" y="366"/>
                  </a:lnTo>
                  <a:lnTo>
                    <a:pt x="132" y="366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20" y="348"/>
                  </a:lnTo>
                  <a:lnTo>
                    <a:pt x="102" y="330"/>
                  </a:lnTo>
                  <a:lnTo>
                    <a:pt x="96" y="318"/>
                  </a:lnTo>
                  <a:lnTo>
                    <a:pt x="96" y="282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0" y="258"/>
                  </a:lnTo>
                  <a:lnTo>
                    <a:pt x="84" y="252"/>
                  </a:lnTo>
                  <a:lnTo>
                    <a:pt x="66" y="258"/>
                  </a:lnTo>
                  <a:lnTo>
                    <a:pt x="60" y="246"/>
                  </a:lnTo>
                  <a:lnTo>
                    <a:pt x="30" y="252"/>
                  </a:lnTo>
                  <a:lnTo>
                    <a:pt x="18" y="246"/>
                  </a:lnTo>
                  <a:lnTo>
                    <a:pt x="0" y="240"/>
                  </a:lnTo>
                  <a:lnTo>
                    <a:pt x="0" y="234"/>
                  </a:lnTo>
                  <a:lnTo>
                    <a:pt x="0" y="210"/>
                  </a:lnTo>
                  <a:lnTo>
                    <a:pt x="6" y="204"/>
                  </a:lnTo>
                  <a:lnTo>
                    <a:pt x="18" y="192"/>
                  </a:lnTo>
                  <a:lnTo>
                    <a:pt x="18" y="144"/>
                  </a:lnTo>
                  <a:lnTo>
                    <a:pt x="24" y="126"/>
                  </a:lnTo>
                  <a:lnTo>
                    <a:pt x="36" y="126"/>
                  </a:lnTo>
                  <a:lnTo>
                    <a:pt x="54" y="120"/>
                  </a:lnTo>
                  <a:lnTo>
                    <a:pt x="54" y="126"/>
                  </a:lnTo>
                  <a:lnTo>
                    <a:pt x="132" y="114"/>
                  </a:lnTo>
                  <a:lnTo>
                    <a:pt x="144" y="120"/>
                  </a:lnTo>
                  <a:lnTo>
                    <a:pt x="150" y="132"/>
                  </a:lnTo>
                  <a:lnTo>
                    <a:pt x="180" y="126"/>
                  </a:lnTo>
                  <a:lnTo>
                    <a:pt x="210" y="120"/>
                  </a:lnTo>
                  <a:lnTo>
                    <a:pt x="240" y="120"/>
                  </a:lnTo>
                  <a:lnTo>
                    <a:pt x="258" y="120"/>
                  </a:lnTo>
                  <a:lnTo>
                    <a:pt x="270" y="126"/>
                  </a:lnTo>
                  <a:lnTo>
                    <a:pt x="276" y="132"/>
                  </a:lnTo>
                  <a:lnTo>
                    <a:pt x="282" y="138"/>
                  </a:lnTo>
                  <a:lnTo>
                    <a:pt x="282" y="156"/>
                  </a:lnTo>
                  <a:lnTo>
                    <a:pt x="288" y="186"/>
                  </a:lnTo>
                  <a:lnTo>
                    <a:pt x="312" y="192"/>
                  </a:lnTo>
                  <a:lnTo>
                    <a:pt x="318" y="198"/>
                  </a:lnTo>
                  <a:lnTo>
                    <a:pt x="324" y="204"/>
                  </a:lnTo>
                  <a:lnTo>
                    <a:pt x="330" y="210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66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86" y="210"/>
                  </a:lnTo>
                  <a:lnTo>
                    <a:pt x="498" y="198"/>
                  </a:lnTo>
                  <a:lnTo>
                    <a:pt x="504" y="174"/>
                  </a:lnTo>
                  <a:lnTo>
                    <a:pt x="516" y="162"/>
                  </a:lnTo>
                  <a:lnTo>
                    <a:pt x="516" y="138"/>
                  </a:lnTo>
                  <a:lnTo>
                    <a:pt x="522" y="132"/>
                  </a:lnTo>
                  <a:lnTo>
                    <a:pt x="564" y="132"/>
                  </a:lnTo>
                  <a:lnTo>
                    <a:pt x="564" y="114"/>
                  </a:lnTo>
                  <a:lnTo>
                    <a:pt x="582" y="114"/>
                  </a:lnTo>
                  <a:lnTo>
                    <a:pt x="594" y="114"/>
                  </a:lnTo>
                  <a:lnTo>
                    <a:pt x="606" y="114"/>
                  </a:lnTo>
                  <a:lnTo>
                    <a:pt x="612" y="114"/>
                  </a:lnTo>
                  <a:lnTo>
                    <a:pt x="630" y="114"/>
                  </a:lnTo>
                  <a:lnTo>
                    <a:pt x="636" y="114"/>
                  </a:lnTo>
                  <a:lnTo>
                    <a:pt x="648" y="114"/>
                  </a:lnTo>
                  <a:lnTo>
                    <a:pt x="654" y="114"/>
                  </a:lnTo>
                  <a:lnTo>
                    <a:pt x="660" y="120"/>
                  </a:lnTo>
                  <a:lnTo>
                    <a:pt x="672" y="120"/>
                  </a:lnTo>
                  <a:lnTo>
                    <a:pt x="684" y="120"/>
                  </a:lnTo>
                  <a:lnTo>
                    <a:pt x="690" y="120"/>
                  </a:lnTo>
                  <a:lnTo>
                    <a:pt x="702" y="120"/>
                  </a:lnTo>
                  <a:lnTo>
                    <a:pt x="708" y="120"/>
                  </a:lnTo>
                  <a:lnTo>
                    <a:pt x="726" y="126"/>
                  </a:lnTo>
                  <a:lnTo>
                    <a:pt x="732" y="126"/>
                  </a:lnTo>
                  <a:lnTo>
                    <a:pt x="738" y="126"/>
                  </a:lnTo>
                  <a:lnTo>
                    <a:pt x="750" y="126"/>
                  </a:lnTo>
                  <a:lnTo>
                    <a:pt x="756" y="126"/>
                  </a:lnTo>
                  <a:lnTo>
                    <a:pt x="768" y="126"/>
                  </a:lnTo>
                  <a:lnTo>
                    <a:pt x="780" y="126"/>
                  </a:lnTo>
                  <a:lnTo>
                    <a:pt x="786" y="120"/>
                  </a:lnTo>
                  <a:lnTo>
                    <a:pt x="792" y="120"/>
                  </a:lnTo>
                  <a:lnTo>
                    <a:pt x="810" y="120"/>
                  </a:lnTo>
                  <a:lnTo>
                    <a:pt x="822" y="120"/>
                  </a:lnTo>
                  <a:lnTo>
                    <a:pt x="846" y="126"/>
                  </a:lnTo>
                  <a:lnTo>
                    <a:pt x="858" y="126"/>
                  </a:lnTo>
                  <a:lnTo>
                    <a:pt x="870" y="132"/>
                  </a:lnTo>
                  <a:lnTo>
                    <a:pt x="882" y="132"/>
                  </a:lnTo>
                  <a:lnTo>
                    <a:pt x="894" y="132"/>
                  </a:lnTo>
                  <a:lnTo>
                    <a:pt x="900" y="132"/>
                  </a:lnTo>
                  <a:lnTo>
                    <a:pt x="912" y="132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36" y="132"/>
                  </a:lnTo>
                  <a:lnTo>
                    <a:pt x="960" y="132"/>
                  </a:lnTo>
                  <a:lnTo>
                    <a:pt x="966" y="144"/>
                  </a:lnTo>
                  <a:lnTo>
                    <a:pt x="972" y="144"/>
                  </a:lnTo>
                  <a:lnTo>
                    <a:pt x="1002" y="144"/>
                  </a:lnTo>
                  <a:lnTo>
                    <a:pt x="1020" y="144"/>
                  </a:lnTo>
                  <a:lnTo>
                    <a:pt x="1068" y="138"/>
                  </a:lnTo>
                  <a:lnTo>
                    <a:pt x="1110" y="132"/>
                  </a:lnTo>
                  <a:lnTo>
                    <a:pt x="1110" y="126"/>
                  </a:lnTo>
                  <a:lnTo>
                    <a:pt x="1116" y="120"/>
                  </a:lnTo>
                  <a:lnTo>
                    <a:pt x="1122" y="108"/>
                  </a:lnTo>
                  <a:lnTo>
                    <a:pt x="1134" y="96"/>
                  </a:lnTo>
                  <a:lnTo>
                    <a:pt x="1146" y="60"/>
                  </a:lnTo>
                  <a:lnTo>
                    <a:pt x="1158" y="54"/>
                  </a:lnTo>
                  <a:lnTo>
                    <a:pt x="1170" y="48"/>
                  </a:lnTo>
                  <a:lnTo>
                    <a:pt x="1188" y="42"/>
                  </a:lnTo>
                  <a:lnTo>
                    <a:pt x="1200" y="36"/>
                  </a:lnTo>
                  <a:lnTo>
                    <a:pt x="1212" y="36"/>
                  </a:lnTo>
                  <a:lnTo>
                    <a:pt x="1236" y="30"/>
                  </a:lnTo>
                  <a:lnTo>
                    <a:pt x="1236" y="24"/>
                  </a:lnTo>
                  <a:lnTo>
                    <a:pt x="1278" y="18"/>
                  </a:lnTo>
                  <a:lnTo>
                    <a:pt x="1290" y="18"/>
                  </a:lnTo>
                  <a:lnTo>
                    <a:pt x="1302" y="12"/>
                  </a:lnTo>
                  <a:lnTo>
                    <a:pt x="1314" y="0"/>
                  </a:lnTo>
                  <a:lnTo>
                    <a:pt x="1332" y="0"/>
                  </a:lnTo>
                  <a:lnTo>
                    <a:pt x="1338" y="24"/>
                  </a:lnTo>
                  <a:lnTo>
                    <a:pt x="1344" y="30"/>
                  </a:lnTo>
                  <a:lnTo>
                    <a:pt x="1350" y="42"/>
                  </a:lnTo>
                  <a:lnTo>
                    <a:pt x="1356" y="48"/>
                  </a:lnTo>
                  <a:lnTo>
                    <a:pt x="1356" y="78"/>
                  </a:lnTo>
                  <a:lnTo>
                    <a:pt x="1350" y="96"/>
                  </a:lnTo>
                  <a:lnTo>
                    <a:pt x="1338" y="108"/>
                  </a:lnTo>
                  <a:lnTo>
                    <a:pt x="1338" y="114"/>
                  </a:lnTo>
                  <a:lnTo>
                    <a:pt x="1338" y="120"/>
                  </a:lnTo>
                  <a:lnTo>
                    <a:pt x="1338" y="126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398" y="114"/>
                  </a:lnTo>
                  <a:lnTo>
                    <a:pt x="1416" y="120"/>
                  </a:lnTo>
                  <a:lnTo>
                    <a:pt x="1434" y="126"/>
                  </a:lnTo>
                  <a:lnTo>
                    <a:pt x="1458" y="132"/>
                  </a:lnTo>
                  <a:lnTo>
                    <a:pt x="1458" y="138"/>
                  </a:lnTo>
                  <a:lnTo>
                    <a:pt x="1512" y="138"/>
                  </a:lnTo>
                  <a:lnTo>
                    <a:pt x="1512" y="132"/>
                  </a:lnTo>
                  <a:lnTo>
                    <a:pt x="1524" y="138"/>
                  </a:lnTo>
                  <a:lnTo>
                    <a:pt x="1542" y="138"/>
                  </a:lnTo>
                  <a:lnTo>
                    <a:pt x="1542" y="150"/>
                  </a:lnTo>
                  <a:lnTo>
                    <a:pt x="1542" y="162"/>
                  </a:lnTo>
                  <a:lnTo>
                    <a:pt x="1548" y="174"/>
                  </a:lnTo>
                  <a:lnTo>
                    <a:pt x="1548" y="180"/>
                  </a:lnTo>
                  <a:lnTo>
                    <a:pt x="1554" y="222"/>
                  </a:lnTo>
                  <a:lnTo>
                    <a:pt x="1554" y="258"/>
                  </a:lnTo>
                  <a:lnTo>
                    <a:pt x="1554" y="276"/>
                  </a:lnTo>
                  <a:lnTo>
                    <a:pt x="1554" y="282"/>
                  </a:lnTo>
                  <a:lnTo>
                    <a:pt x="1554" y="294"/>
                  </a:lnTo>
                  <a:lnTo>
                    <a:pt x="1554" y="306"/>
                  </a:lnTo>
                  <a:lnTo>
                    <a:pt x="1554" y="324"/>
                  </a:lnTo>
                  <a:lnTo>
                    <a:pt x="1554" y="330"/>
                  </a:lnTo>
                  <a:lnTo>
                    <a:pt x="1548" y="330"/>
                  </a:lnTo>
                  <a:lnTo>
                    <a:pt x="1548" y="336"/>
                  </a:lnTo>
                  <a:lnTo>
                    <a:pt x="1548" y="342"/>
                  </a:lnTo>
                  <a:lnTo>
                    <a:pt x="1542" y="336"/>
                  </a:lnTo>
                  <a:lnTo>
                    <a:pt x="1542" y="330"/>
                  </a:lnTo>
                  <a:lnTo>
                    <a:pt x="1536" y="330"/>
                  </a:lnTo>
                  <a:lnTo>
                    <a:pt x="1530" y="330"/>
                  </a:lnTo>
                  <a:lnTo>
                    <a:pt x="1530" y="336"/>
                  </a:lnTo>
                  <a:lnTo>
                    <a:pt x="1536" y="342"/>
                  </a:lnTo>
                  <a:lnTo>
                    <a:pt x="1530" y="342"/>
                  </a:lnTo>
                  <a:lnTo>
                    <a:pt x="1518" y="348"/>
                  </a:lnTo>
                  <a:lnTo>
                    <a:pt x="1512" y="354"/>
                  </a:lnTo>
                  <a:lnTo>
                    <a:pt x="1506" y="354"/>
                  </a:lnTo>
                  <a:lnTo>
                    <a:pt x="1500" y="354"/>
                  </a:lnTo>
                  <a:lnTo>
                    <a:pt x="1494" y="354"/>
                  </a:lnTo>
                  <a:lnTo>
                    <a:pt x="1494" y="360"/>
                  </a:lnTo>
                  <a:lnTo>
                    <a:pt x="1488" y="360"/>
                  </a:lnTo>
                  <a:lnTo>
                    <a:pt x="1488" y="366"/>
                  </a:lnTo>
                  <a:lnTo>
                    <a:pt x="1488" y="372"/>
                  </a:lnTo>
                  <a:lnTo>
                    <a:pt x="1482" y="372"/>
                  </a:lnTo>
                  <a:lnTo>
                    <a:pt x="1476" y="372"/>
                  </a:lnTo>
                  <a:lnTo>
                    <a:pt x="1470" y="372"/>
                  </a:lnTo>
                  <a:lnTo>
                    <a:pt x="1470" y="378"/>
                  </a:lnTo>
                  <a:lnTo>
                    <a:pt x="1470" y="384"/>
                  </a:lnTo>
                  <a:lnTo>
                    <a:pt x="1470" y="390"/>
                  </a:lnTo>
                  <a:lnTo>
                    <a:pt x="1464" y="402"/>
                  </a:lnTo>
                  <a:lnTo>
                    <a:pt x="1446" y="402"/>
                  </a:lnTo>
                  <a:lnTo>
                    <a:pt x="1440" y="372"/>
                  </a:lnTo>
                  <a:lnTo>
                    <a:pt x="1410" y="372"/>
                  </a:lnTo>
                  <a:lnTo>
                    <a:pt x="1380" y="372"/>
                  </a:lnTo>
                  <a:lnTo>
                    <a:pt x="1374" y="372"/>
                  </a:lnTo>
                  <a:lnTo>
                    <a:pt x="1368" y="378"/>
                  </a:lnTo>
                  <a:lnTo>
                    <a:pt x="1362" y="378"/>
                  </a:lnTo>
                  <a:lnTo>
                    <a:pt x="1356" y="378"/>
                  </a:lnTo>
                  <a:lnTo>
                    <a:pt x="1350" y="384"/>
                  </a:lnTo>
                  <a:lnTo>
                    <a:pt x="1350" y="390"/>
                  </a:lnTo>
                  <a:lnTo>
                    <a:pt x="1344" y="390"/>
                  </a:lnTo>
                  <a:lnTo>
                    <a:pt x="1338" y="390"/>
                  </a:lnTo>
                  <a:lnTo>
                    <a:pt x="1332" y="390"/>
                  </a:lnTo>
                  <a:lnTo>
                    <a:pt x="1332" y="396"/>
                  </a:lnTo>
                  <a:lnTo>
                    <a:pt x="1332" y="390"/>
                  </a:lnTo>
                  <a:lnTo>
                    <a:pt x="1326" y="402"/>
                  </a:lnTo>
                  <a:lnTo>
                    <a:pt x="1320" y="402"/>
                  </a:lnTo>
                  <a:lnTo>
                    <a:pt x="1302" y="474"/>
                  </a:lnTo>
                  <a:lnTo>
                    <a:pt x="1308" y="480"/>
                  </a:lnTo>
                  <a:lnTo>
                    <a:pt x="1314" y="480"/>
                  </a:lnTo>
                  <a:lnTo>
                    <a:pt x="1308" y="498"/>
                  </a:lnTo>
                  <a:lnTo>
                    <a:pt x="1308" y="504"/>
                  </a:lnTo>
                  <a:lnTo>
                    <a:pt x="1314" y="510"/>
                  </a:lnTo>
                  <a:lnTo>
                    <a:pt x="1308" y="510"/>
                  </a:lnTo>
                  <a:lnTo>
                    <a:pt x="1308" y="516"/>
                  </a:lnTo>
                  <a:lnTo>
                    <a:pt x="1302" y="516"/>
                  </a:lnTo>
                  <a:lnTo>
                    <a:pt x="1296" y="510"/>
                  </a:lnTo>
                  <a:lnTo>
                    <a:pt x="1296" y="516"/>
                  </a:lnTo>
                  <a:lnTo>
                    <a:pt x="1290" y="540"/>
                  </a:lnTo>
                  <a:lnTo>
                    <a:pt x="1290" y="552"/>
                  </a:lnTo>
                  <a:lnTo>
                    <a:pt x="1284" y="558"/>
                  </a:lnTo>
                  <a:lnTo>
                    <a:pt x="1290" y="576"/>
                  </a:lnTo>
                  <a:lnTo>
                    <a:pt x="1290" y="600"/>
                  </a:lnTo>
                  <a:lnTo>
                    <a:pt x="1284" y="618"/>
                  </a:lnTo>
                  <a:lnTo>
                    <a:pt x="1290" y="624"/>
                  </a:lnTo>
                  <a:lnTo>
                    <a:pt x="1284" y="630"/>
                  </a:lnTo>
                  <a:lnTo>
                    <a:pt x="1278" y="630"/>
                  </a:lnTo>
                  <a:lnTo>
                    <a:pt x="1272" y="630"/>
                  </a:lnTo>
                  <a:lnTo>
                    <a:pt x="1266" y="636"/>
                  </a:lnTo>
                  <a:lnTo>
                    <a:pt x="1260" y="642"/>
                  </a:lnTo>
                  <a:lnTo>
                    <a:pt x="1260" y="636"/>
                  </a:lnTo>
                  <a:lnTo>
                    <a:pt x="1254" y="636"/>
                  </a:lnTo>
                  <a:lnTo>
                    <a:pt x="1248" y="636"/>
                  </a:lnTo>
                  <a:lnTo>
                    <a:pt x="1248" y="642"/>
                  </a:lnTo>
                  <a:lnTo>
                    <a:pt x="1242" y="642"/>
                  </a:lnTo>
                  <a:lnTo>
                    <a:pt x="1242" y="648"/>
                  </a:lnTo>
                  <a:lnTo>
                    <a:pt x="1236" y="654"/>
                  </a:lnTo>
                  <a:lnTo>
                    <a:pt x="1230" y="654"/>
                  </a:lnTo>
                  <a:lnTo>
                    <a:pt x="1224" y="654"/>
                  </a:lnTo>
                  <a:lnTo>
                    <a:pt x="1218" y="660"/>
                  </a:lnTo>
                  <a:lnTo>
                    <a:pt x="1212" y="660"/>
                  </a:lnTo>
                  <a:lnTo>
                    <a:pt x="1206" y="660"/>
                  </a:lnTo>
                  <a:lnTo>
                    <a:pt x="1200" y="660"/>
                  </a:lnTo>
                  <a:lnTo>
                    <a:pt x="1200" y="666"/>
                  </a:lnTo>
                  <a:lnTo>
                    <a:pt x="1194" y="666"/>
                  </a:lnTo>
                  <a:lnTo>
                    <a:pt x="1188" y="666"/>
                  </a:lnTo>
                  <a:lnTo>
                    <a:pt x="1182" y="672"/>
                  </a:lnTo>
                  <a:lnTo>
                    <a:pt x="1176" y="672"/>
                  </a:lnTo>
                  <a:lnTo>
                    <a:pt x="1170" y="672"/>
                  </a:lnTo>
                  <a:lnTo>
                    <a:pt x="1164" y="678"/>
                  </a:lnTo>
                  <a:lnTo>
                    <a:pt x="1170" y="678"/>
                  </a:lnTo>
                  <a:lnTo>
                    <a:pt x="1164" y="684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52" y="684"/>
                  </a:lnTo>
                  <a:lnTo>
                    <a:pt x="1152" y="690"/>
                  </a:lnTo>
                  <a:lnTo>
                    <a:pt x="1146" y="690"/>
                  </a:lnTo>
                  <a:lnTo>
                    <a:pt x="1140" y="690"/>
                  </a:lnTo>
                  <a:lnTo>
                    <a:pt x="1134" y="696"/>
                  </a:lnTo>
                  <a:lnTo>
                    <a:pt x="1128" y="696"/>
                  </a:lnTo>
                  <a:lnTo>
                    <a:pt x="1122" y="702"/>
                  </a:lnTo>
                  <a:lnTo>
                    <a:pt x="1116" y="702"/>
                  </a:lnTo>
                  <a:lnTo>
                    <a:pt x="1110" y="708"/>
                  </a:lnTo>
                  <a:lnTo>
                    <a:pt x="1104" y="708"/>
                  </a:lnTo>
                  <a:lnTo>
                    <a:pt x="1098" y="708"/>
                  </a:lnTo>
                  <a:lnTo>
                    <a:pt x="1092" y="708"/>
                  </a:lnTo>
                  <a:lnTo>
                    <a:pt x="1092" y="714"/>
                  </a:lnTo>
                  <a:lnTo>
                    <a:pt x="1086" y="720"/>
                  </a:lnTo>
                  <a:lnTo>
                    <a:pt x="1080" y="720"/>
                  </a:lnTo>
                  <a:lnTo>
                    <a:pt x="1074" y="720"/>
                  </a:lnTo>
                  <a:lnTo>
                    <a:pt x="1068" y="720"/>
                  </a:lnTo>
                  <a:lnTo>
                    <a:pt x="1062" y="720"/>
                  </a:lnTo>
                  <a:lnTo>
                    <a:pt x="1050" y="726"/>
                  </a:lnTo>
                  <a:lnTo>
                    <a:pt x="1044" y="726"/>
                  </a:lnTo>
                  <a:lnTo>
                    <a:pt x="1038" y="732"/>
                  </a:lnTo>
                  <a:lnTo>
                    <a:pt x="1026" y="732"/>
                  </a:lnTo>
                  <a:lnTo>
                    <a:pt x="1020" y="732"/>
                  </a:lnTo>
                  <a:lnTo>
                    <a:pt x="1014" y="738"/>
                  </a:lnTo>
                  <a:lnTo>
                    <a:pt x="1008" y="738"/>
                  </a:lnTo>
                  <a:lnTo>
                    <a:pt x="1002" y="738"/>
                  </a:lnTo>
                  <a:lnTo>
                    <a:pt x="996" y="738"/>
                  </a:lnTo>
                  <a:lnTo>
                    <a:pt x="990" y="738"/>
                  </a:lnTo>
                  <a:lnTo>
                    <a:pt x="990" y="732"/>
                  </a:lnTo>
                  <a:lnTo>
                    <a:pt x="984" y="732"/>
                  </a:lnTo>
                  <a:lnTo>
                    <a:pt x="978" y="738"/>
                  </a:lnTo>
                  <a:lnTo>
                    <a:pt x="978" y="744"/>
                  </a:lnTo>
                  <a:lnTo>
                    <a:pt x="984" y="744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8" y="756"/>
                  </a:lnTo>
                  <a:lnTo>
                    <a:pt x="972" y="756"/>
                  </a:lnTo>
                  <a:lnTo>
                    <a:pt x="972" y="762"/>
                  </a:lnTo>
                  <a:lnTo>
                    <a:pt x="966" y="768"/>
                  </a:lnTo>
                  <a:lnTo>
                    <a:pt x="966" y="762"/>
                  </a:lnTo>
                  <a:lnTo>
                    <a:pt x="960" y="762"/>
                  </a:lnTo>
                  <a:lnTo>
                    <a:pt x="954" y="768"/>
                  </a:lnTo>
                  <a:lnTo>
                    <a:pt x="954" y="774"/>
                  </a:lnTo>
                  <a:lnTo>
                    <a:pt x="948" y="774"/>
                  </a:lnTo>
                  <a:lnTo>
                    <a:pt x="948" y="780"/>
                  </a:lnTo>
                  <a:lnTo>
                    <a:pt x="948" y="786"/>
                  </a:lnTo>
                  <a:lnTo>
                    <a:pt x="942" y="786"/>
                  </a:lnTo>
                  <a:lnTo>
                    <a:pt x="942" y="792"/>
                  </a:lnTo>
                  <a:lnTo>
                    <a:pt x="936" y="792"/>
                  </a:lnTo>
                  <a:lnTo>
                    <a:pt x="942" y="798"/>
                  </a:lnTo>
                  <a:lnTo>
                    <a:pt x="942" y="804"/>
                  </a:lnTo>
                  <a:lnTo>
                    <a:pt x="942" y="810"/>
                  </a:lnTo>
                  <a:lnTo>
                    <a:pt x="948" y="810"/>
                  </a:lnTo>
                  <a:lnTo>
                    <a:pt x="942" y="816"/>
                  </a:lnTo>
                  <a:lnTo>
                    <a:pt x="948" y="816"/>
                  </a:lnTo>
                  <a:lnTo>
                    <a:pt x="948" y="822"/>
                  </a:lnTo>
                  <a:lnTo>
                    <a:pt x="954" y="822"/>
                  </a:lnTo>
                  <a:lnTo>
                    <a:pt x="960" y="828"/>
                  </a:lnTo>
                  <a:lnTo>
                    <a:pt x="960" y="834"/>
                  </a:lnTo>
                  <a:lnTo>
                    <a:pt x="966" y="834"/>
                  </a:lnTo>
                  <a:lnTo>
                    <a:pt x="960" y="840"/>
                  </a:lnTo>
                  <a:lnTo>
                    <a:pt x="966" y="846"/>
                  </a:lnTo>
                  <a:lnTo>
                    <a:pt x="966" y="840"/>
                  </a:lnTo>
                  <a:lnTo>
                    <a:pt x="972" y="840"/>
                  </a:lnTo>
                  <a:lnTo>
                    <a:pt x="990" y="840"/>
                  </a:lnTo>
                  <a:lnTo>
                    <a:pt x="1002" y="834"/>
                  </a:lnTo>
                  <a:lnTo>
                    <a:pt x="1020" y="828"/>
                  </a:lnTo>
                  <a:lnTo>
                    <a:pt x="1032" y="828"/>
                  </a:lnTo>
                  <a:lnTo>
                    <a:pt x="1050" y="828"/>
                  </a:lnTo>
                  <a:lnTo>
                    <a:pt x="1062" y="846"/>
                  </a:lnTo>
                  <a:lnTo>
                    <a:pt x="1074" y="876"/>
                  </a:lnTo>
                  <a:lnTo>
                    <a:pt x="1068" y="900"/>
                  </a:lnTo>
                  <a:lnTo>
                    <a:pt x="1074" y="912"/>
                  </a:lnTo>
                  <a:lnTo>
                    <a:pt x="1074" y="936"/>
                  </a:lnTo>
                  <a:lnTo>
                    <a:pt x="1068" y="942"/>
                  </a:lnTo>
                  <a:lnTo>
                    <a:pt x="1062" y="954"/>
                  </a:lnTo>
                  <a:lnTo>
                    <a:pt x="1056" y="978"/>
                  </a:lnTo>
                  <a:lnTo>
                    <a:pt x="1056" y="996"/>
                  </a:lnTo>
                  <a:lnTo>
                    <a:pt x="1068" y="990"/>
                  </a:lnTo>
                  <a:lnTo>
                    <a:pt x="1074" y="990"/>
                  </a:lnTo>
                  <a:lnTo>
                    <a:pt x="1074" y="1008"/>
                  </a:lnTo>
                  <a:lnTo>
                    <a:pt x="1080" y="1008"/>
                  </a:lnTo>
                  <a:lnTo>
                    <a:pt x="1092" y="1014"/>
                  </a:lnTo>
                  <a:lnTo>
                    <a:pt x="1110" y="1044"/>
                  </a:lnTo>
                  <a:lnTo>
                    <a:pt x="1110" y="1062"/>
                  </a:lnTo>
                  <a:lnTo>
                    <a:pt x="1128" y="1068"/>
                  </a:lnTo>
                  <a:lnTo>
                    <a:pt x="1128" y="1092"/>
                  </a:lnTo>
                  <a:lnTo>
                    <a:pt x="1134" y="1098"/>
                  </a:lnTo>
                  <a:lnTo>
                    <a:pt x="1158" y="1122"/>
                  </a:lnTo>
                  <a:lnTo>
                    <a:pt x="1188" y="1122"/>
                  </a:lnTo>
                  <a:lnTo>
                    <a:pt x="1188" y="1128"/>
                  </a:lnTo>
                  <a:lnTo>
                    <a:pt x="1200" y="1134"/>
                  </a:lnTo>
                  <a:lnTo>
                    <a:pt x="1206" y="1134"/>
                  </a:lnTo>
                  <a:lnTo>
                    <a:pt x="1206" y="1128"/>
                  </a:lnTo>
                  <a:lnTo>
                    <a:pt x="1212" y="1128"/>
                  </a:lnTo>
                  <a:lnTo>
                    <a:pt x="1218" y="1128"/>
                  </a:lnTo>
                  <a:lnTo>
                    <a:pt x="1224" y="1122"/>
                  </a:lnTo>
                  <a:lnTo>
                    <a:pt x="1224" y="1128"/>
                  </a:lnTo>
                  <a:lnTo>
                    <a:pt x="1230" y="1128"/>
                  </a:lnTo>
                  <a:lnTo>
                    <a:pt x="1236" y="1128"/>
                  </a:lnTo>
                  <a:lnTo>
                    <a:pt x="1236" y="1122"/>
                  </a:lnTo>
                  <a:lnTo>
                    <a:pt x="1242" y="1122"/>
                  </a:lnTo>
                  <a:lnTo>
                    <a:pt x="1248" y="1128"/>
                  </a:lnTo>
                  <a:lnTo>
                    <a:pt x="1254" y="1128"/>
                  </a:lnTo>
                  <a:lnTo>
                    <a:pt x="1260" y="1134"/>
                  </a:lnTo>
                  <a:lnTo>
                    <a:pt x="1260" y="1140"/>
                  </a:lnTo>
                  <a:lnTo>
                    <a:pt x="1266" y="1140"/>
                  </a:lnTo>
                  <a:lnTo>
                    <a:pt x="1272" y="1140"/>
                  </a:lnTo>
                  <a:lnTo>
                    <a:pt x="1278" y="1140"/>
                  </a:lnTo>
                  <a:lnTo>
                    <a:pt x="1284" y="1140"/>
                  </a:lnTo>
                  <a:lnTo>
                    <a:pt x="1290" y="1146"/>
                  </a:lnTo>
                  <a:lnTo>
                    <a:pt x="1290" y="1152"/>
                  </a:lnTo>
                  <a:lnTo>
                    <a:pt x="1296" y="1146"/>
                  </a:lnTo>
                  <a:lnTo>
                    <a:pt x="1296" y="1152"/>
                  </a:lnTo>
                  <a:lnTo>
                    <a:pt x="1308" y="1152"/>
                  </a:lnTo>
                  <a:lnTo>
                    <a:pt x="1314" y="1152"/>
                  </a:lnTo>
                  <a:lnTo>
                    <a:pt x="1320" y="1152"/>
                  </a:lnTo>
                  <a:lnTo>
                    <a:pt x="1332" y="1152"/>
                  </a:lnTo>
                  <a:lnTo>
                    <a:pt x="1338" y="1152"/>
                  </a:lnTo>
                  <a:lnTo>
                    <a:pt x="1344" y="1152"/>
                  </a:lnTo>
                  <a:lnTo>
                    <a:pt x="1344" y="1158"/>
                  </a:lnTo>
                  <a:lnTo>
                    <a:pt x="1350" y="1158"/>
                  </a:lnTo>
                  <a:lnTo>
                    <a:pt x="1356" y="1158"/>
                  </a:lnTo>
                  <a:lnTo>
                    <a:pt x="1362" y="1158"/>
                  </a:lnTo>
                  <a:lnTo>
                    <a:pt x="1368" y="1158"/>
                  </a:lnTo>
                  <a:lnTo>
                    <a:pt x="1374" y="1164"/>
                  </a:lnTo>
                  <a:lnTo>
                    <a:pt x="1380" y="1164"/>
                  </a:lnTo>
                  <a:lnTo>
                    <a:pt x="1386" y="1170"/>
                  </a:lnTo>
                  <a:lnTo>
                    <a:pt x="1392" y="1170"/>
                  </a:lnTo>
                  <a:lnTo>
                    <a:pt x="1398" y="1164"/>
                  </a:lnTo>
                  <a:lnTo>
                    <a:pt x="1404" y="1164"/>
                  </a:lnTo>
                  <a:lnTo>
                    <a:pt x="1410" y="1164"/>
                  </a:lnTo>
                  <a:lnTo>
                    <a:pt x="1416" y="1164"/>
                  </a:lnTo>
                  <a:lnTo>
                    <a:pt x="1416" y="1170"/>
                  </a:lnTo>
                  <a:lnTo>
                    <a:pt x="1422" y="1176"/>
                  </a:lnTo>
                  <a:lnTo>
                    <a:pt x="1416" y="1176"/>
                  </a:lnTo>
                  <a:lnTo>
                    <a:pt x="1416" y="1182"/>
                  </a:lnTo>
                  <a:lnTo>
                    <a:pt x="1410" y="1188"/>
                  </a:lnTo>
                  <a:lnTo>
                    <a:pt x="1404" y="1194"/>
                  </a:lnTo>
                  <a:lnTo>
                    <a:pt x="1404" y="1200"/>
                  </a:lnTo>
                  <a:lnTo>
                    <a:pt x="1404" y="1206"/>
                  </a:lnTo>
                  <a:lnTo>
                    <a:pt x="1398" y="1212"/>
                  </a:lnTo>
                  <a:lnTo>
                    <a:pt x="1398" y="1206"/>
                  </a:lnTo>
                  <a:lnTo>
                    <a:pt x="1392" y="1206"/>
                  </a:lnTo>
                  <a:lnTo>
                    <a:pt x="1386" y="1206"/>
                  </a:lnTo>
                  <a:lnTo>
                    <a:pt x="1380" y="1212"/>
                  </a:lnTo>
                  <a:lnTo>
                    <a:pt x="1374" y="1212"/>
                  </a:lnTo>
                  <a:lnTo>
                    <a:pt x="1368" y="1218"/>
                  </a:lnTo>
                  <a:lnTo>
                    <a:pt x="1362" y="1218"/>
                  </a:lnTo>
                  <a:lnTo>
                    <a:pt x="1362" y="1224"/>
                  </a:lnTo>
                  <a:lnTo>
                    <a:pt x="1356" y="1230"/>
                  </a:lnTo>
                  <a:lnTo>
                    <a:pt x="1350" y="1230"/>
                  </a:lnTo>
                  <a:lnTo>
                    <a:pt x="1344" y="1236"/>
                  </a:lnTo>
                  <a:lnTo>
                    <a:pt x="1338" y="1230"/>
                  </a:lnTo>
                  <a:lnTo>
                    <a:pt x="1332" y="1230"/>
                  </a:lnTo>
                  <a:lnTo>
                    <a:pt x="1326" y="1230"/>
                  </a:lnTo>
                  <a:lnTo>
                    <a:pt x="1320" y="1230"/>
                  </a:lnTo>
                  <a:lnTo>
                    <a:pt x="1314" y="1230"/>
                  </a:lnTo>
                  <a:lnTo>
                    <a:pt x="1296" y="1242"/>
                  </a:lnTo>
                  <a:lnTo>
                    <a:pt x="1296" y="1248"/>
                  </a:lnTo>
                  <a:lnTo>
                    <a:pt x="1290" y="1248"/>
                  </a:lnTo>
                  <a:lnTo>
                    <a:pt x="1290" y="1260"/>
                  </a:lnTo>
                  <a:lnTo>
                    <a:pt x="1278" y="1272"/>
                  </a:lnTo>
                  <a:lnTo>
                    <a:pt x="1278" y="1278"/>
                  </a:lnTo>
                  <a:lnTo>
                    <a:pt x="1278" y="1284"/>
                  </a:lnTo>
                  <a:lnTo>
                    <a:pt x="1278" y="1290"/>
                  </a:lnTo>
                  <a:lnTo>
                    <a:pt x="1284" y="1296"/>
                  </a:lnTo>
                  <a:lnTo>
                    <a:pt x="1302" y="1302"/>
                  </a:lnTo>
                  <a:lnTo>
                    <a:pt x="1308" y="1308"/>
                  </a:lnTo>
                  <a:lnTo>
                    <a:pt x="1308" y="1314"/>
                  </a:lnTo>
                  <a:lnTo>
                    <a:pt x="1302" y="1320"/>
                  </a:lnTo>
                  <a:lnTo>
                    <a:pt x="1278" y="1314"/>
                  </a:lnTo>
                  <a:lnTo>
                    <a:pt x="1266" y="1308"/>
                  </a:lnTo>
                  <a:lnTo>
                    <a:pt x="1260" y="1296"/>
                  </a:lnTo>
                  <a:lnTo>
                    <a:pt x="1236" y="1296"/>
                  </a:lnTo>
                  <a:lnTo>
                    <a:pt x="1224" y="1308"/>
                  </a:lnTo>
                  <a:lnTo>
                    <a:pt x="1218" y="1308"/>
                  </a:lnTo>
                  <a:lnTo>
                    <a:pt x="1218" y="1302"/>
                  </a:lnTo>
                  <a:lnTo>
                    <a:pt x="1212" y="1302"/>
                  </a:lnTo>
                  <a:lnTo>
                    <a:pt x="1206" y="1302"/>
                  </a:lnTo>
                  <a:lnTo>
                    <a:pt x="1170" y="1314"/>
                  </a:lnTo>
                  <a:lnTo>
                    <a:pt x="1134" y="1296"/>
                  </a:lnTo>
                  <a:lnTo>
                    <a:pt x="1122" y="1290"/>
                  </a:lnTo>
                  <a:lnTo>
                    <a:pt x="1104" y="1290"/>
                  </a:lnTo>
                  <a:lnTo>
                    <a:pt x="1098" y="1278"/>
                  </a:lnTo>
                  <a:lnTo>
                    <a:pt x="1092" y="1242"/>
                  </a:lnTo>
                  <a:lnTo>
                    <a:pt x="1086" y="1242"/>
                  </a:lnTo>
                  <a:lnTo>
                    <a:pt x="1086" y="1248"/>
                  </a:lnTo>
                  <a:lnTo>
                    <a:pt x="1086" y="1254"/>
                  </a:lnTo>
                  <a:lnTo>
                    <a:pt x="1080" y="1254"/>
                  </a:lnTo>
                  <a:lnTo>
                    <a:pt x="1080" y="1260"/>
                  </a:lnTo>
                  <a:lnTo>
                    <a:pt x="1074" y="1260"/>
                  </a:lnTo>
                  <a:lnTo>
                    <a:pt x="1068" y="1236"/>
                  </a:lnTo>
                  <a:lnTo>
                    <a:pt x="1068" y="1206"/>
                  </a:lnTo>
                  <a:lnTo>
                    <a:pt x="1080" y="1194"/>
                  </a:lnTo>
                  <a:lnTo>
                    <a:pt x="1086" y="1194"/>
                  </a:lnTo>
                  <a:lnTo>
                    <a:pt x="1092" y="1200"/>
                  </a:lnTo>
                  <a:lnTo>
                    <a:pt x="1098" y="1206"/>
                  </a:lnTo>
                  <a:lnTo>
                    <a:pt x="1104" y="1200"/>
                  </a:lnTo>
                  <a:lnTo>
                    <a:pt x="1104" y="1194"/>
                  </a:lnTo>
                  <a:lnTo>
                    <a:pt x="1110" y="1194"/>
                  </a:lnTo>
                  <a:lnTo>
                    <a:pt x="1110" y="1188"/>
                  </a:lnTo>
                  <a:lnTo>
                    <a:pt x="1116" y="1182"/>
                  </a:lnTo>
                  <a:lnTo>
                    <a:pt x="1110" y="1182"/>
                  </a:lnTo>
                  <a:lnTo>
                    <a:pt x="1110" y="1170"/>
                  </a:lnTo>
                  <a:lnTo>
                    <a:pt x="1110" y="1158"/>
                  </a:lnTo>
                  <a:lnTo>
                    <a:pt x="1110" y="1152"/>
                  </a:lnTo>
                  <a:lnTo>
                    <a:pt x="1104" y="1146"/>
                  </a:lnTo>
                  <a:lnTo>
                    <a:pt x="1098" y="1140"/>
                  </a:lnTo>
                  <a:lnTo>
                    <a:pt x="1098" y="1134"/>
                  </a:lnTo>
                  <a:lnTo>
                    <a:pt x="1098" y="1128"/>
                  </a:lnTo>
                  <a:lnTo>
                    <a:pt x="1092" y="1128"/>
                  </a:lnTo>
                  <a:lnTo>
                    <a:pt x="1092" y="1122"/>
                  </a:lnTo>
                  <a:lnTo>
                    <a:pt x="1092" y="1116"/>
                  </a:lnTo>
                  <a:lnTo>
                    <a:pt x="1092" y="1110"/>
                  </a:lnTo>
                  <a:lnTo>
                    <a:pt x="1056" y="1122"/>
                  </a:lnTo>
                  <a:lnTo>
                    <a:pt x="1038" y="1128"/>
                  </a:lnTo>
                  <a:lnTo>
                    <a:pt x="1032" y="1128"/>
                  </a:lnTo>
                  <a:lnTo>
                    <a:pt x="1026" y="1128"/>
                  </a:lnTo>
                  <a:lnTo>
                    <a:pt x="1020" y="1128"/>
                  </a:lnTo>
                  <a:lnTo>
                    <a:pt x="1014" y="1128"/>
                  </a:lnTo>
                  <a:lnTo>
                    <a:pt x="1014" y="1122"/>
                  </a:lnTo>
                  <a:lnTo>
                    <a:pt x="1008" y="1122"/>
                  </a:lnTo>
                  <a:lnTo>
                    <a:pt x="1002" y="1128"/>
                  </a:lnTo>
                  <a:lnTo>
                    <a:pt x="1002" y="1134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84" y="1140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66" y="1140"/>
                  </a:lnTo>
                  <a:lnTo>
                    <a:pt x="954" y="1140"/>
                  </a:lnTo>
                  <a:lnTo>
                    <a:pt x="954" y="1134"/>
                  </a:lnTo>
                  <a:lnTo>
                    <a:pt x="948" y="1134"/>
                  </a:lnTo>
                  <a:lnTo>
                    <a:pt x="942" y="1134"/>
                  </a:lnTo>
                  <a:lnTo>
                    <a:pt x="936" y="1134"/>
                  </a:lnTo>
                  <a:lnTo>
                    <a:pt x="930" y="1134"/>
                  </a:lnTo>
                  <a:lnTo>
                    <a:pt x="924" y="1134"/>
                  </a:lnTo>
                  <a:lnTo>
                    <a:pt x="918" y="1134"/>
                  </a:lnTo>
                  <a:lnTo>
                    <a:pt x="918" y="1128"/>
                  </a:lnTo>
                  <a:lnTo>
                    <a:pt x="918" y="1104"/>
                  </a:lnTo>
                  <a:lnTo>
                    <a:pt x="906" y="1104"/>
                  </a:lnTo>
                  <a:lnTo>
                    <a:pt x="900" y="1098"/>
                  </a:lnTo>
                  <a:lnTo>
                    <a:pt x="900" y="1092"/>
                  </a:lnTo>
                  <a:lnTo>
                    <a:pt x="900" y="1086"/>
                  </a:lnTo>
                  <a:lnTo>
                    <a:pt x="900" y="1080"/>
                  </a:lnTo>
                  <a:lnTo>
                    <a:pt x="894" y="1080"/>
                  </a:lnTo>
                  <a:lnTo>
                    <a:pt x="858" y="1074"/>
                  </a:lnTo>
                  <a:lnTo>
                    <a:pt x="852" y="1080"/>
                  </a:lnTo>
                  <a:lnTo>
                    <a:pt x="846" y="1086"/>
                  </a:lnTo>
                  <a:lnTo>
                    <a:pt x="840" y="1086"/>
                  </a:lnTo>
                  <a:lnTo>
                    <a:pt x="840" y="1092"/>
                  </a:lnTo>
                  <a:lnTo>
                    <a:pt x="834" y="1092"/>
                  </a:lnTo>
                  <a:lnTo>
                    <a:pt x="828" y="1098"/>
                  </a:lnTo>
                  <a:lnTo>
                    <a:pt x="822" y="1098"/>
                  </a:lnTo>
                  <a:lnTo>
                    <a:pt x="762" y="1074"/>
                  </a:lnTo>
                  <a:lnTo>
                    <a:pt x="756" y="1068"/>
                  </a:lnTo>
                  <a:lnTo>
                    <a:pt x="750" y="1068"/>
                  </a:lnTo>
                  <a:lnTo>
                    <a:pt x="744" y="1062"/>
                  </a:lnTo>
                  <a:lnTo>
                    <a:pt x="744" y="1068"/>
                  </a:lnTo>
                  <a:lnTo>
                    <a:pt x="744" y="1074"/>
                  </a:lnTo>
                  <a:lnTo>
                    <a:pt x="738" y="1074"/>
                  </a:lnTo>
                  <a:lnTo>
                    <a:pt x="738" y="1068"/>
                  </a:lnTo>
                  <a:lnTo>
                    <a:pt x="732" y="1068"/>
                  </a:lnTo>
                  <a:lnTo>
                    <a:pt x="726" y="1068"/>
                  </a:lnTo>
                  <a:lnTo>
                    <a:pt x="726" y="1074"/>
                  </a:lnTo>
                  <a:lnTo>
                    <a:pt x="720" y="1074"/>
                  </a:lnTo>
                  <a:lnTo>
                    <a:pt x="684" y="106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5" name="Freeform 40">
              <a:extLst>
                <a:ext uri="{FF2B5EF4-FFF2-40B4-BE49-F238E27FC236}">
                  <a16:creationId xmlns:a16="http://schemas.microsoft.com/office/drawing/2014/main" id="{37EC2F22-BDB9-4162-8FA4-08493F6898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3558" y="1520374"/>
              <a:ext cx="1057717" cy="1252440"/>
            </a:xfrm>
            <a:custGeom>
              <a:avLst/>
              <a:gdLst>
                <a:gd name="T0" fmla="*/ 98 w 1992"/>
                <a:gd name="T1" fmla="*/ 162 h 2358"/>
                <a:gd name="T2" fmla="*/ 93 w 1992"/>
                <a:gd name="T3" fmla="*/ 172 h 2358"/>
                <a:gd name="T4" fmla="*/ 82 w 1992"/>
                <a:gd name="T5" fmla="*/ 179 h 2358"/>
                <a:gd name="T6" fmla="*/ 70 w 1992"/>
                <a:gd name="T7" fmla="*/ 174 h 2358"/>
                <a:gd name="T8" fmla="*/ 62 w 1992"/>
                <a:gd name="T9" fmla="*/ 182 h 2358"/>
                <a:gd name="T10" fmla="*/ 45 w 1992"/>
                <a:gd name="T11" fmla="*/ 189 h 2358"/>
                <a:gd name="T12" fmla="*/ 24 w 1992"/>
                <a:gd name="T13" fmla="*/ 205 h 2358"/>
                <a:gd name="T14" fmla="*/ 17 w 1992"/>
                <a:gd name="T15" fmla="*/ 204 h 2358"/>
                <a:gd name="T16" fmla="*/ 7 w 1992"/>
                <a:gd name="T17" fmla="*/ 197 h 2358"/>
                <a:gd name="T18" fmla="*/ 1 w 1992"/>
                <a:gd name="T19" fmla="*/ 191 h 2358"/>
                <a:gd name="T20" fmla="*/ 4 w 1992"/>
                <a:gd name="T21" fmla="*/ 175 h 2358"/>
                <a:gd name="T22" fmla="*/ 7 w 1992"/>
                <a:gd name="T23" fmla="*/ 172 h 2358"/>
                <a:gd name="T24" fmla="*/ 11 w 1992"/>
                <a:gd name="T25" fmla="*/ 168 h 2358"/>
                <a:gd name="T26" fmla="*/ 5 w 1992"/>
                <a:gd name="T27" fmla="*/ 159 h 2358"/>
                <a:gd name="T28" fmla="*/ 10 w 1992"/>
                <a:gd name="T29" fmla="*/ 156 h 2358"/>
                <a:gd name="T30" fmla="*/ 15 w 1992"/>
                <a:gd name="T31" fmla="*/ 155 h 2358"/>
                <a:gd name="T32" fmla="*/ 24 w 1992"/>
                <a:gd name="T33" fmla="*/ 149 h 2358"/>
                <a:gd name="T34" fmla="*/ 38 w 1992"/>
                <a:gd name="T35" fmla="*/ 127 h 2358"/>
                <a:gd name="T36" fmla="*/ 38 w 1992"/>
                <a:gd name="T37" fmla="*/ 107 h 2358"/>
                <a:gd name="T38" fmla="*/ 45 w 1992"/>
                <a:gd name="T39" fmla="*/ 66 h 2358"/>
                <a:gd name="T40" fmla="*/ 47 w 1992"/>
                <a:gd name="T41" fmla="*/ 36 h 2358"/>
                <a:gd name="T42" fmla="*/ 51 w 1992"/>
                <a:gd name="T43" fmla="*/ 35 h 2358"/>
                <a:gd name="T44" fmla="*/ 55 w 1992"/>
                <a:gd name="T45" fmla="*/ 30 h 2358"/>
                <a:gd name="T46" fmla="*/ 56 w 1992"/>
                <a:gd name="T47" fmla="*/ 27 h 2358"/>
                <a:gd name="T48" fmla="*/ 60 w 1992"/>
                <a:gd name="T49" fmla="*/ 23 h 2358"/>
                <a:gd name="T50" fmla="*/ 63 w 1992"/>
                <a:gd name="T51" fmla="*/ 23 h 2358"/>
                <a:gd name="T52" fmla="*/ 70 w 1992"/>
                <a:gd name="T53" fmla="*/ 18 h 2358"/>
                <a:gd name="T54" fmla="*/ 71 w 1992"/>
                <a:gd name="T55" fmla="*/ 15 h 2358"/>
                <a:gd name="T56" fmla="*/ 72 w 1992"/>
                <a:gd name="T57" fmla="*/ 13 h 2358"/>
                <a:gd name="T58" fmla="*/ 77 w 1992"/>
                <a:gd name="T59" fmla="*/ 12 h 2358"/>
                <a:gd name="T60" fmla="*/ 83 w 1992"/>
                <a:gd name="T61" fmla="*/ 10 h 2358"/>
                <a:gd name="T62" fmla="*/ 87 w 1992"/>
                <a:gd name="T63" fmla="*/ 10 h 2358"/>
                <a:gd name="T64" fmla="*/ 89 w 1992"/>
                <a:gd name="T65" fmla="*/ 10 h 2358"/>
                <a:gd name="T66" fmla="*/ 93 w 1992"/>
                <a:gd name="T67" fmla="*/ 8 h 2358"/>
                <a:gd name="T68" fmla="*/ 95 w 1992"/>
                <a:gd name="T69" fmla="*/ 4 h 2358"/>
                <a:gd name="T70" fmla="*/ 99 w 1992"/>
                <a:gd name="T71" fmla="*/ 0 h 2358"/>
                <a:gd name="T72" fmla="*/ 111 w 1992"/>
                <a:gd name="T73" fmla="*/ 0 h 2358"/>
                <a:gd name="T74" fmla="*/ 121 w 1992"/>
                <a:gd name="T75" fmla="*/ 9 h 2358"/>
                <a:gd name="T76" fmla="*/ 128 w 1992"/>
                <a:gd name="T77" fmla="*/ 19 h 2358"/>
                <a:gd name="T78" fmla="*/ 138 w 1992"/>
                <a:gd name="T79" fmla="*/ 33 h 2358"/>
                <a:gd name="T80" fmla="*/ 142 w 1992"/>
                <a:gd name="T81" fmla="*/ 47 h 2358"/>
                <a:gd name="T82" fmla="*/ 145 w 1992"/>
                <a:gd name="T83" fmla="*/ 62 h 2358"/>
                <a:gd name="T84" fmla="*/ 145 w 1992"/>
                <a:gd name="T85" fmla="*/ 70 h 2358"/>
                <a:gd name="T86" fmla="*/ 147 w 1992"/>
                <a:gd name="T87" fmla="*/ 75 h 2358"/>
                <a:gd name="T88" fmla="*/ 153 w 1992"/>
                <a:gd name="T89" fmla="*/ 75 h 2358"/>
                <a:gd name="T90" fmla="*/ 160 w 1992"/>
                <a:gd name="T91" fmla="*/ 76 h 2358"/>
                <a:gd name="T92" fmla="*/ 164 w 1992"/>
                <a:gd name="T93" fmla="*/ 79 h 2358"/>
                <a:gd name="T94" fmla="*/ 168 w 1992"/>
                <a:gd name="T95" fmla="*/ 83 h 2358"/>
                <a:gd name="T96" fmla="*/ 172 w 1992"/>
                <a:gd name="T97" fmla="*/ 86 h 2358"/>
                <a:gd name="T98" fmla="*/ 170 w 1992"/>
                <a:gd name="T99" fmla="*/ 93 h 2358"/>
                <a:gd name="T100" fmla="*/ 170 w 1992"/>
                <a:gd name="T101" fmla="*/ 99 h 2358"/>
                <a:gd name="T102" fmla="*/ 169 w 1992"/>
                <a:gd name="T103" fmla="*/ 106 h 2358"/>
                <a:gd name="T104" fmla="*/ 166 w 1992"/>
                <a:gd name="T105" fmla="*/ 113 h 2358"/>
                <a:gd name="T106" fmla="*/ 170 w 1992"/>
                <a:gd name="T107" fmla="*/ 122 h 2358"/>
                <a:gd name="T108" fmla="*/ 159 w 1992"/>
                <a:gd name="T109" fmla="*/ 128 h 2358"/>
                <a:gd name="T110" fmla="*/ 148 w 1992"/>
                <a:gd name="T111" fmla="*/ 134 h 2358"/>
                <a:gd name="T112" fmla="*/ 139 w 1992"/>
                <a:gd name="T113" fmla="*/ 136 h 2358"/>
                <a:gd name="T114" fmla="*/ 132 w 1992"/>
                <a:gd name="T115" fmla="*/ 138 h 2358"/>
                <a:gd name="T116" fmla="*/ 128 w 1992"/>
                <a:gd name="T117" fmla="*/ 145 h 2358"/>
                <a:gd name="T118" fmla="*/ 124 w 1992"/>
                <a:gd name="T119" fmla="*/ 150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92"/>
                <a:gd name="T181" fmla="*/ 0 h 2358"/>
                <a:gd name="T182" fmla="*/ 1992 w 1992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92" h="2358">
                  <a:moveTo>
                    <a:pt x="1356" y="1782"/>
                  </a:moveTo>
                  <a:lnTo>
                    <a:pt x="1350" y="1788"/>
                  </a:lnTo>
                  <a:lnTo>
                    <a:pt x="1266" y="1788"/>
                  </a:lnTo>
                  <a:lnTo>
                    <a:pt x="1260" y="1800"/>
                  </a:lnTo>
                  <a:lnTo>
                    <a:pt x="1242" y="1806"/>
                  </a:lnTo>
                  <a:lnTo>
                    <a:pt x="1218" y="1812"/>
                  </a:lnTo>
                  <a:lnTo>
                    <a:pt x="1182" y="1812"/>
                  </a:lnTo>
                  <a:lnTo>
                    <a:pt x="1158" y="1806"/>
                  </a:lnTo>
                  <a:lnTo>
                    <a:pt x="1134" y="1800"/>
                  </a:lnTo>
                  <a:lnTo>
                    <a:pt x="1134" y="1806"/>
                  </a:lnTo>
                  <a:lnTo>
                    <a:pt x="1134" y="1830"/>
                  </a:lnTo>
                  <a:lnTo>
                    <a:pt x="1128" y="1842"/>
                  </a:lnTo>
                  <a:lnTo>
                    <a:pt x="1128" y="1854"/>
                  </a:lnTo>
                  <a:lnTo>
                    <a:pt x="1128" y="1860"/>
                  </a:lnTo>
                  <a:lnTo>
                    <a:pt x="1128" y="1866"/>
                  </a:lnTo>
                  <a:lnTo>
                    <a:pt x="1128" y="1872"/>
                  </a:lnTo>
                  <a:lnTo>
                    <a:pt x="1128" y="1884"/>
                  </a:lnTo>
                  <a:lnTo>
                    <a:pt x="1128" y="1890"/>
                  </a:lnTo>
                  <a:lnTo>
                    <a:pt x="1128" y="1896"/>
                  </a:lnTo>
                  <a:lnTo>
                    <a:pt x="1122" y="1902"/>
                  </a:lnTo>
                  <a:lnTo>
                    <a:pt x="1122" y="1920"/>
                  </a:lnTo>
                  <a:lnTo>
                    <a:pt x="1116" y="1920"/>
                  </a:lnTo>
                  <a:lnTo>
                    <a:pt x="1110" y="1926"/>
                  </a:lnTo>
                  <a:lnTo>
                    <a:pt x="1110" y="1932"/>
                  </a:lnTo>
                  <a:lnTo>
                    <a:pt x="1104" y="1938"/>
                  </a:lnTo>
                  <a:lnTo>
                    <a:pt x="1086" y="1962"/>
                  </a:lnTo>
                  <a:lnTo>
                    <a:pt x="1074" y="1974"/>
                  </a:lnTo>
                  <a:lnTo>
                    <a:pt x="1074" y="1980"/>
                  </a:lnTo>
                  <a:lnTo>
                    <a:pt x="1068" y="1986"/>
                  </a:lnTo>
                  <a:lnTo>
                    <a:pt x="1062" y="1998"/>
                  </a:lnTo>
                  <a:lnTo>
                    <a:pt x="1062" y="2004"/>
                  </a:lnTo>
                  <a:lnTo>
                    <a:pt x="1068" y="2004"/>
                  </a:lnTo>
                  <a:lnTo>
                    <a:pt x="1056" y="2034"/>
                  </a:lnTo>
                  <a:lnTo>
                    <a:pt x="1050" y="2076"/>
                  </a:lnTo>
                  <a:lnTo>
                    <a:pt x="1056" y="2100"/>
                  </a:lnTo>
                  <a:lnTo>
                    <a:pt x="1038" y="2106"/>
                  </a:lnTo>
                  <a:lnTo>
                    <a:pt x="1002" y="2106"/>
                  </a:lnTo>
                  <a:lnTo>
                    <a:pt x="978" y="2094"/>
                  </a:lnTo>
                  <a:lnTo>
                    <a:pt x="972" y="2082"/>
                  </a:lnTo>
                  <a:lnTo>
                    <a:pt x="966" y="2070"/>
                  </a:lnTo>
                  <a:lnTo>
                    <a:pt x="954" y="2064"/>
                  </a:lnTo>
                  <a:lnTo>
                    <a:pt x="942" y="2058"/>
                  </a:lnTo>
                  <a:lnTo>
                    <a:pt x="936" y="2058"/>
                  </a:lnTo>
                  <a:lnTo>
                    <a:pt x="918" y="2046"/>
                  </a:lnTo>
                  <a:lnTo>
                    <a:pt x="906" y="2028"/>
                  </a:lnTo>
                  <a:lnTo>
                    <a:pt x="900" y="2022"/>
                  </a:lnTo>
                  <a:lnTo>
                    <a:pt x="894" y="2022"/>
                  </a:lnTo>
                  <a:lnTo>
                    <a:pt x="882" y="2022"/>
                  </a:lnTo>
                  <a:lnTo>
                    <a:pt x="870" y="2016"/>
                  </a:lnTo>
                  <a:lnTo>
                    <a:pt x="864" y="2016"/>
                  </a:lnTo>
                  <a:lnTo>
                    <a:pt x="852" y="2010"/>
                  </a:lnTo>
                  <a:lnTo>
                    <a:pt x="846" y="2004"/>
                  </a:lnTo>
                  <a:lnTo>
                    <a:pt x="840" y="2004"/>
                  </a:lnTo>
                  <a:lnTo>
                    <a:pt x="828" y="1998"/>
                  </a:lnTo>
                  <a:lnTo>
                    <a:pt x="816" y="1998"/>
                  </a:lnTo>
                  <a:lnTo>
                    <a:pt x="810" y="1998"/>
                  </a:lnTo>
                  <a:lnTo>
                    <a:pt x="804" y="1998"/>
                  </a:lnTo>
                  <a:lnTo>
                    <a:pt x="798" y="1998"/>
                  </a:lnTo>
                  <a:lnTo>
                    <a:pt x="792" y="2004"/>
                  </a:lnTo>
                  <a:lnTo>
                    <a:pt x="786" y="2010"/>
                  </a:lnTo>
                  <a:lnTo>
                    <a:pt x="762" y="2010"/>
                  </a:lnTo>
                  <a:lnTo>
                    <a:pt x="756" y="2010"/>
                  </a:lnTo>
                  <a:lnTo>
                    <a:pt x="744" y="2022"/>
                  </a:lnTo>
                  <a:lnTo>
                    <a:pt x="738" y="2034"/>
                  </a:lnTo>
                  <a:lnTo>
                    <a:pt x="732" y="2040"/>
                  </a:lnTo>
                  <a:lnTo>
                    <a:pt x="732" y="2046"/>
                  </a:lnTo>
                  <a:lnTo>
                    <a:pt x="726" y="2058"/>
                  </a:lnTo>
                  <a:lnTo>
                    <a:pt x="720" y="2064"/>
                  </a:lnTo>
                  <a:lnTo>
                    <a:pt x="714" y="2070"/>
                  </a:lnTo>
                  <a:lnTo>
                    <a:pt x="708" y="2088"/>
                  </a:lnTo>
                  <a:lnTo>
                    <a:pt x="702" y="2100"/>
                  </a:lnTo>
                  <a:lnTo>
                    <a:pt x="690" y="2100"/>
                  </a:lnTo>
                  <a:lnTo>
                    <a:pt x="684" y="2094"/>
                  </a:lnTo>
                  <a:lnTo>
                    <a:pt x="666" y="2100"/>
                  </a:lnTo>
                  <a:lnTo>
                    <a:pt x="636" y="2106"/>
                  </a:lnTo>
                  <a:lnTo>
                    <a:pt x="636" y="2112"/>
                  </a:lnTo>
                  <a:lnTo>
                    <a:pt x="636" y="2118"/>
                  </a:lnTo>
                  <a:lnTo>
                    <a:pt x="636" y="2124"/>
                  </a:lnTo>
                  <a:lnTo>
                    <a:pt x="630" y="2124"/>
                  </a:lnTo>
                  <a:lnTo>
                    <a:pt x="630" y="2148"/>
                  </a:lnTo>
                  <a:lnTo>
                    <a:pt x="612" y="2160"/>
                  </a:lnTo>
                  <a:lnTo>
                    <a:pt x="576" y="2172"/>
                  </a:lnTo>
                  <a:lnTo>
                    <a:pt x="546" y="2172"/>
                  </a:lnTo>
                  <a:lnTo>
                    <a:pt x="516" y="2172"/>
                  </a:lnTo>
                  <a:lnTo>
                    <a:pt x="486" y="2172"/>
                  </a:lnTo>
                  <a:lnTo>
                    <a:pt x="462" y="2172"/>
                  </a:lnTo>
                  <a:lnTo>
                    <a:pt x="444" y="2196"/>
                  </a:lnTo>
                  <a:lnTo>
                    <a:pt x="432" y="2232"/>
                  </a:lnTo>
                  <a:lnTo>
                    <a:pt x="408" y="2238"/>
                  </a:lnTo>
                  <a:lnTo>
                    <a:pt x="390" y="2256"/>
                  </a:lnTo>
                  <a:lnTo>
                    <a:pt x="372" y="2274"/>
                  </a:lnTo>
                  <a:lnTo>
                    <a:pt x="360" y="2274"/>
                  </a:lnTo>
                  <a:lnTo>
                    <a:pt x="336" y="2328"/>
                  </a:lnTo>
                  <a:lnTo>
                    <a:pt x="324" y="2340"/>
                  </a:lnTo>
                  <a:lnTo>
                    <a:pt x="300" y="2346"/>
                  </a:lnTo>
                  <a:lnTo>
                    <a:pt x="294" y="2352"/>
                  </a:lnTo>
                  <a:lnTo>
                    <a:pt x="288" y="2352"/>
                  </a:lnTo>
                  <a:lnTo>
                    <a:pt x="282" y="2352"/>
                  </a:lnTo>
                  <a:lnTo>
                    <a:pt x="276" y="2352"/>
                  </a:lnTo>
                  <a:lnTo>
                    <a:pt x="270" y="2352"/>
                  </a:lnTo>
                  <a:lnTo>
                    <a:pt x="270" y="2346"/>
                  </a:lnTo>
                  <a:lnTo>
                    <a:pt x="264" y="2346"/>
                  </a:lnTo>
                  <a:lnTo>
                    <a:pt x="258" y="2352"/>
                  </a:lnTo>
                  <a:lnTo>
                    <a:pt x="252" y="2352"/>
                  </a:lnTo>
                  <a:lnTo>
                    <a:pt x="240" y="2352"/>
                  </a:lnTo>
                  <a:lnTo>
                    <a:pt x="228" y="2352"/>
                  </a:lnTo>
                  <a:lnTo>
                    <a:pt x="222" y="2352"/>
                  </a:lnTo>
                  <a:lnTo>
                    <a:pt x="216" y="2358"/>
                  </a:lnTo>
                  <a:lnTo>
                    <a:pt x="216" y="2352"/>
                  </a:lnTo>
                  <a:lnTo>
                    <a:pt x="210" y="2346"/>
                  </a:lnTo>
                  <a:lnTo>
                    <a:pt x="204" y="2346"/>
                  </a:lnTo>
                  <a:lnTo>
                    <a:pt x="198" y="2340"/>
                  </a:lnTo>
                  <a:lnTo>
                    <a:pt x="192" y="2340"/>
                  </a:lnTo>
                  <a:lnTo>
                    <a:pt x="186" y="2340"/>
                  </a:lnTo>
                  <a:lnTo>
                    <a:pt x="180" y="2340"/>
                  </a:lnTo>
                  <a:lnTo>
                    <a:pt x="174" y="2340"/>
                  </a:lnTo>
                  <a:lnTo>
                    <a:pt x="162" y="2328"/>
                  </a:lnTo>
                  <a:lnTo>
                    <a:pt x="156" y="2322"/>
                  </a:lnTo>
                  <a:lnTo>
                    <a:pt x="156" y="2316"/>
                  </a:lnTo>
                  <a:lnTo>
                    <a:pt x="156" y="2310"/>
                  </a:lnTo>
                  <a:lnTo>
                    <a:pt x="132" y="2286"/>
                  </a:lnTo>
                  <a:lnTo>
                    <a:pt x="120" y="2280"/>
                  </a:lnTo>
                  <a:lnTo>
                    <a:pt x="96" y="2274"/>
                  </a:lnTo>
                  <a:lnTo>
                    <a:pt x="84" y="2268"/>
                  </a:lnTo>
                  <a:lnTo>
                    <a:pt x="78" y="2268"/>
                  </a:lnTo>
                  <a:lnTo>
                    <a:pt x="78" y="2262"/>
                  </a:lnTo>
                  <a:lnTo>
                    <a:pt x="78" y="2256"/>
                  </a:lnTo>
                  <a:lnTo>
                    <a:pt x="78" y="2250"/>
                  </a:lnTo>
                  <a:lnTo>
                    <a:pt x="72" y="2250"/>
                  </a:lnTo>
                  <a:lnTo>
                    <a:pt x="66" y="2250"/>
                  </a:lnTo>
                  <a:lnTo>
                    <a:pt x="60" y="2250"/>
                  </a:lnTo>
                  <a:lnTo>
                    <a:pt x="48" y="2244"/>
                  </a:lnTo>
                  <a:lnTo>
                    <a:pt x="36" y="2238"/>
                  </a:lnTo>
                  <a:lnTo>
                    <a:pt x="36" y="2226"/>
                  </a:lnTo>
                  <a:lnTo>
                    <a:pt x="30" y="2226"/>
                  </a:lnTo>
                  <a:lnTo>
                    <a:pt x="30" y="2220"/>
                  </a:lnTo>
                  <a:lnTo>
                    <a:pt x="24" y="2208"/>
                  </a:lnTo>
                  <a:lnTo>
                    <a:pt x="18" y="2202"/>
                  </a:lnTo>
                  <a:lnTo>
                    <a:pt x="18" y="2196"/>
                  </a:lnTo>
                  <a:lnTo>
                    <a:pt x="12" y="2190"/>
                  </a:lnTo>
                  <a:lnTo>
                    <a:pt x="0" y="2190"/>
                  </a:lnTo>
                  <a:lnTo>
                    <a:pt x="6" y="2184"/>
                  </a:lnTo>
                  <a:lnTo>
                    <a:pt x="12" y="2178"/>
                  </a:lnTo>
                  <a:lnTo>
                    <a:pt x="18" y="2172"/>
                  </a:lnTo>
                  <a:lnTo>
                    <a:pt x="24" y="2166"/>
                  </a:lnTo>
                  <a:lnTo>
                    <a:pt x="30" y="2166"/>
                  </a:lnTo>
                  <a:lnTo>
                    <a:pt x="24" y="2160"/>
                  </a:lnTo>
                  <a:lnTo>
                    <a:pt x="30" y="2160"/>
                  </a:lnTo>
                  <a:lnTo>
                    <a:pt x="36" y="2154"/>
                  </a:lnTo>
                  <a:lnTo>
                    <a:pt x="36" y="2136"/>
                  </a:lnTo>
                  <a:lnTo>
                    <a:pt x="36" y="2118"/>
                  </a:lnTo>
                  <a:lnTo>
                    <a:pt x="48" y="2058"/>
                  </a:lnTo>
                  <a:lnTo>
                    <a:pt x="48" y="2022"/>
                  </a:lnTo>
                  <a:lnTo>
                    <a:pt x="48" y="2016"/>
                  </a:lnTo>
                  <a:lnTo>
                    <a:pt x="48" y="2010"/>
                  </a:lnTo>
                  <a:lnTo>
                    <a:pt x="48" y="2004"/>
                  </a:lnTo>
                  <a:lnTo>
                    <a:pt x="42" y="2004"/>
                  </a:lnTo>
                  <a:lnTo>
                    <a:pt x="42" y="1998"/>
                  </a:lnTo>
                  <a:lnTo>
                    <a:pt x="36" y="1992"/>
                  </a:lnTo>
                  <a:lnTo>
                    <a:pt x="42" y="1992"/>
                  </a:lnTo>
                  <a:lnTo>
                    <a:pt x="42" y="1986"/>
                  </a:lnTo>
                  <a:lnTo>
                    <a:pt x="48" y="1986"/>
                  </a:lnTo>
                  <a:lnTo>
                    <a:pt x="54" y="1986"/>
                  </a:lnTo>
                  <a:lnTo>
                    <a:pt x="60" y="1986"/>
                  </a:lnTo>
                  <a:lnTo>
                    <a:pt x="66" y="1980"/>
                  </a:lnTo>
                  <a:lnTo>
                    <a:pt x="72" y="1974"/>
                  </a:lnTo>
                  <a:lnTo>
                    <a:pt x="78" y="1974"/>
                  </a:lnTo>
                  <a:lnTo>
                    <a:pt x="84" y="1974"/>
                  </a:lnTo>
                  <a:lnTo>
                    <a:pt x="90" y="1974"/>
                  </a:lnTo>
                  <a:lnTo>
                    <a:pt x="96" y="1974"/>
                  </a:lnTo>
                  <a:lnTo>
                    <a:pt x="96" y="1968"/>
                  </a:lnTo>
                  <a:lnTo>
                    <a:pt x="102" y="1968"/>
                  </a:lnTo>
                  <a:lnTo>
                    <a:pt x="102" y="1962"/>
                  </a:lnTo>
                  <a:lnTo>
                    <a:pt x="108" y="1962"/>
                  </a:lnTo>
                  <a:lnTo>
                    <a:pt x="114" y="1956"/>
                  </a:lnTo>
                  <a:lnTo>
                    <a:pt x="120" y="1956"/>
                  </a:lnTo>
                  <a:lnTo>
                    <a:pt x="126" y="1950"/>
                  </a:lnTo>
                  <a:lnTo>
                    <a:pt x="132" y="1950"/>
                  </a:lnTo>
                  <a:lnTo>
                    <a:pt x="132" y="1944"/>
                  </a:lnTo>
                  <a:lnTo>
                    <a:pt x="126" y="1944"/>
                  </a:lnTo>
                  <a:lnTo>
                    <a:pt x="126" y="1938"/>
                  </a:lnTo>
                  <a:lnTo>
                    <a:pt x="126" y="1932"/>
                  </a:lnTo>
                  <a:lnTo>
                    <a:pt x="126" y="1926"/>
                  </a:lnTo>
                  <a:lnTo>
                    <a:pt x="114" y="1914"/>
                  </a:lnTo>
                  <a:lnTo>
                    <a:pt x="114" y="1896"/>
                  </a:lnTo>
                  <a:lnTo>
                    <a:pt x="108" y="1884"/>
                  </a:lnTo>
                  <a:lnTo>
                    <a:pt x="102" y="1872"/>
                  </a:lnTo>
                  <a:lnTo>
                    <a:pt x="96" y="1866"/>
                  </a:lnTo>
                  <a:lnTo>
                    <a:pt x="96" y="1860"/>
                  </a:lnTo>
                  <a:lnTo>
                    <a:pt x="90" y="1860"/>
                  </a:lnTo>
                  <a:lnTo>
                    <a:pt x="90" y="1854"/>
                  </a:lnTo>
                  <a:lnTo>
                    <a:pt x="84" y="1848"/>
                  </a:lnTo>
                  <a:lnTo>
                    <a:pt x="78" y="1842"/>
                  </a:lnTo>
                  <a:lnTo>
                    <a:pt x="72" y="1836"/>
                  </a:lnTo>
                  <a:lnTo>
                    <a:pt x="66" y="1830"/>
                  </a:lnTo>
                  <a:lnTo>
                    <a:pt x="60" y="1824"/>
                  </a:lnTo>
                  <a:lnTo>
                    <a:pt x="54" y="1824"/>
                  </a:lnTo>
                  <a:lnTo>
                    <a:pt x="48" y="1824"/>
                  </a:lnTo>
                  <a:lnTo>
                    <a:pt x="42" y="1818"/>
                  </a:lnTo>
                  <a:lnTo>
                    <a:pt x="54" y="1818"/>
                  </a:lnTo>
                  <a:lnTo>
                    <a:pt x="60" y="1812"/>
                  </a:lnTo>
                  <a:lnTo>
                    <a:pt x="66" y="1812"/>
                  </a:lnTo>
                  <a:lnTo>
                    <a:pt x="72" y="1812"/>
                  </a:lnTo>
                  <a:lnTo>
                    <a:pt x="78" y="1812"/>
                  </a:lnTo>
                  <a:lnTo>
                    <a:pt x="84" y="1812"/>
                  </a:lnTo>
                  <a:lnTo>
                    <a:pt x="90" y="1806"/>
                  </a:lnTo>
                  <a:lnTo>
                    <a:pt x="96" y="1800"/>
                  </a:lnTo>
                  <a:lnTo>
                    <a:pt x="102" y="1806"/>
                  </a:lnTo>
                  <a:lnTo>
                    <a:pt x="108" y="1800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26" y="1788"/>
                  </a:lnTo>
                  <a:lnTo>
                    <a:pt x="126" y="1794"/>
                  </a:lnTo>
                  <a:lnTo>
                    <a:pt x="132" y="1794"/>
                  </a:lnTo>
                  <a:lnTo>
                    <a:pt x="132" y="1788"/>
                  </a:lnTo>
                  <a:lnTo>
                    <a:pt x="138" y="1788"/>
                  </a:lnTo>
                  <a:lnTo>
                    <a:pt x="138" y="1782"/>
                  </a:lnTo>
                  <a:lnTo>
                    <a:pt x="144" y="1782"/>
                  </a:lnTo>
                  <a:lnTo>
                    <a:pt x="150" y="1776"/>
                  </a:lnTo>
                  <a:lnTo>
                    <a:pt x="156" y="1782"/>
                  </a:lnTo>
                  <a:lnTo>
                    <a:pt x="162" y="1776"/>
                  </a:lnTo>
                  <a:lnTo>
                    <a:pt x="168" y="1776"/>
                  </a:lnTo>
                  <a:lnTo>
                    <a:pt x="180" y="1776"/>
                  </a:lnTo>
                  <a:lnTo>
                    <a:pt x="186" y="1776"/>
                  </a:lnTo>
                  <a:lnTo>
                    <a:pt x="186" y="1782"/>
                  </a:lnTo>
                  <a:lnTo>
                    <a:pt x="192" y="1776"/>
                  </a:lnTo>
                  <a:lnTo>
                    <a:pt x="198" y="1776"/>
                  </a:lnTo>
                  <a:lnTo>
                    <a:pt x="204" y="1770"/>
                  </a:lnTo>
                  <a:lnTo>
                    <a:pt x="204" y="1764"/>
                  </a:lnTo>
                  <a:lnTo>
                    <a:pt x="210" y="1764"/>
                  </a:lnTo>
                  <a:lnTo>
                    <a:pt x="216" y="1764"/>
                  </a:lnTo>
                  <a:lnTo>
                    <a:pt x="216" y="1758"/>
                  </a:lnTo>
                  <a:lnTo>
                    <a:pt x="222" y="1758"/>
                  </a:lnTo>
                  <a:lnTo>
                    <a:pt x="228" y="1758"/>
                  </a:lnTo>
                  <a:lnTo>
                    <a:pt x="258" y="1746"/>
                  </a:lnTo>
                  <a:lnTo>
                    <a:pt x="282" y="1716"/>
                  </a:lnTo>
                  <a:lnTo>
                    <a:pt x="300" y="1698"/>
                  </a:lnTo>
                  <a:lnTo>
                    <a:pt x="312" y="1698"/>
                  </a:lnTo>
                  <a:lnTo>
                    <a:pt x="336" y="1698"/>
                  </a:lnTo>
                  <a:lnTo>
                    <a:pt x="360" y="1698"/>
                  </a:lnTo>
                  <a:lnTo>
                    <a:pt x="372" y="1692"/>
                  </a:lnTo>
                  <a:lnTo>
                    <a:pt x="384" y="1692"/>
                  </a:lnTo>
                  <a:lnTo>
                    <a:pt x="360" y="1668"/>
                  </a:lnTo>
                  <a:lnTo>
                    <a:pt x="348" y="1626"/>
                  </a:lnTo>
                  <a:lnTo>
                    <a:pt x="354" y="1578"/>
                  </a:lnTo>
                  <a:lnTo>
                    <a:pt x="354" y="1572"/>
                  </a:lnTo>
                  <a:lnTo>
                    <a:pt x="360" y="1572"/>
                  </a:lnTo>
                  <a:lnTo>
                    <a:pt x="396" y="1530"/>
                  </a:lnTo>
                  <a:lnTo>
                    <a:pt x="408" y="1482"/>
                  </a:lnTo>
                  <a:lnTo>
                    <a:pt x="438" y="1458"/>
                  </a:lnTo>
                  <a:lnTo>
                    <a:pt x="468" y="1422"/>
                  </a:lnTo>
                  <a:lnTo>
                    <a:pt x="480" y="1410"/>
                  </a:lnTo>
                  <a:lnTo>
                    <a:pt x="474" y="1386"/>
                  </a:lnTo>
                  <a:lnTo>
                    <a:pt x="456" y="1356"/>
                  </a:lnTo>
                  <a:lnTo>
                    <a:pt x="438" y="1350"/>
                  </a:lnTo>
                  <a:lnTo>
                    <a:pt x="420" y="1350"/>
                  </a:lnTo>
                  <a:lnTo>
                    <a:pt x="402" y="1350"/>
                  </a:lnTo>
                  <a:lnTo>
                    <a:pt x="390" y="1344"/>
                  </a:lnTo>
                  <a:lnTo>
                    <a:pt x="390" y="1332"/>
                  </a:lnTo>
                  <a:lnTo>
                    <a:pt x="402" y="1296"/>
                  </a:lnTo>
                  <a:lnTo>
                    <a:pt x="414" y="1260"/>
                  </a:lnTo>
                  <a:lnTo>
                    <a:pt x="426" y="1248"/>
                  </a:lnTo>
                  <a:lnTo>
                    <a:pt x="438" y="1242"/>
                  </a:lnTo>
                  <a:lnTo>
                    <a:pt x="432" y="1230"/>
                  </a:lnTo>
                  <a:lnTo>
                    <a:pt x="432" y="1224"/>
                  </a:lnTo>
                  <a:lnTo>
                    <a:pt x="426" y="1218"/>
                  </a:lnTo>
                  <a:lnTo>
                    <a:pt x="426" y="1206"/>
                  </a:lnTo>
                  <a:lnTo>
                    <a:pt x="426" y="1200"/>
                  </a:lnTo>
                  <a:lnTo>
                    <a:pt x="432" y="1194"/>
                  </a:lnTo>
                  <a:lnTo>
                    <a:pt x="426" y="1188"/>
                  </a:lnTo>
                  <a:lnTo>
                    <a:pt x="432" y="1104"/>
                  </a:lnTo>
                  <a:lnTo>
                    <a:pt x="438" y="1086"/>
                  </a:lnTo>
                  <a:lnTo>
                    <a:pt x="462" y="972"/>
                  </a:lnTo>
                  <a:lnTo>
                    <a:pt x="456" y="900"/>
                  </a:lnTo>
                  <a:lnTo>
                    <a:pt x="444" y="846"/>
                  </a:lnTo>
                  <a:lnTo>
                    <a:pt x="456" y="810"/>
                  </a:lnTo>
                  <a:lnTo>
                    <a:pt x="492" y="786"/>
                  </a:lnTo>
                  <a:lnTo>
                    <a:pt x="522" y="762"/>
                  </a:lnTo>
                  <a:lnTo>
                    <a:pt x="546" y="732"/>
                  </a:lnTo>
                  <a:lnTo>
                    <a:pt x="570" y="696"/>
                  </a:lnTo>
                  <a:lnTo>
                    <a:pt x="582" y="654"/>
                  </a:lnTo>
                  <a:lnTo>
                    <a:pt x="564" y="642"/>
                  </a:lnTo>
                  <a:lnTo>
                    <a:pt x="522" y="588"/>
                  </a:lnTo>
                  <a:lnTo>
                    <a:pt x="516" y="546"/>
                  </a:lnTo>
                  <a:lnTo>
                    <a:pt x="510" y="474"/>
                  </a:lnTo>
                  <a:lnTo>
                    <a:pt x="510" y="450"/>
                  </a:lnTo>
                  <a:lnTo>
                    <a:pt x="510" y="444"/>
                  </a:lnTo>
                  <a:lnTo>
                    <a:pt x="522" y="438"/>
                  </a:lnTo>
                  <a:lnTo>
                    <a:pt x="522" y="432"/>
                  </a:lnTo>
                  <a:lnTo>
                    <a:pt x="528" y="426"/>
                  </a:lnTo>
                  <a:lnTo>
                    <a:pt x="534" y="420"/>
                  </a:lnTo>
                  <a:lnTo>
                    <a:pt x="540" y="414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08"/>
                  </a:lnTo>
                  <a:lnTo>
                    <a:pt x="546" y="408"/>
                  </a:lnTo>
                  <a:lnTo>
                    <a:pt x="558" y="414"/>
                  </a:lnTo>
                  <a:lnTo>
                    <a:pt x="564" y="414"/>
                  </a:lnTo>
                  <a:lnTo>
                    <a:pt x="570" y="414"/>
                  </a:lnTo>
                  <a:lnTo>
                    <a:pt x="582" y="414"/>
                  </a:lnTo>
                  <a:lnTo>
                    <a:pt x="582" y="420"/>
                  </a:lnTo>
                  <a:lnTo>
                    <a:pt x="588" y="414"/>
                  </a:lnTo>
                  <a:lnTo>
                    <a:pt x="582" y="408"/>
                  </a:lnTo>
                  <a:lnTo>
                    <a:pt x="588" y="402"/>
                  </a:lnTo>
                  <a:lnTo>
                    <a:pt x="594" y="402"/>
                  </a:lnTo>
                  <a:lnTo>
                    <a:pt x="594" y="396"/>
                  </a:lnTo>
                  <a:lnTo>
                    <a:pt x="594" y="390"/>
                  </a:lnTo>
                  <a:lnTo>
                    <a:pt x="594" y="384"/>
                  </a:lnTo>
                  <a:lnTo>
                    <a:pt x="594" y="378"/>
                  </a:lnTo>
                  <a:lnTo>
                    <a:pt x="600" y="366"/>
                  </a:lnTo>
                  <a:lnTo>
                    <a:pt x="606" y="366"/>
                  </a:lnTo>
                  <a:lnTo>
                    <a:pt x="612" y="360"/>
                  </a:lnTo>
                  <a:lnTo>
                    <a:pt x="612" y="366"/>
                  </a:lnTo>
                  <a:lnTo>
                    <a:pt x="618" y="366"/>
                  </a:lnTo>
                  <a:lnTo>
                    <a:pt x="624" y="366"/>
                  </a:lnTo>
                  <a:lnTo>
                    <a:pt x="630" y="360"/>
                  </a:lnTo>
                  <a:lnTo>
                    <a:pt x="636" y="354"/>
                  </a:lnTo>
                  <a:lnTo>
                    <a:pt x="630" y="354"/>
                  </a:lnTo>
                  <a:lnTo>
                    <a:pt x="630" y="348"/>
                  </a:lnTo>
                  <a:lnTo>
                    <a:pt x="630" y="342"/>
                  </a:lnTo>
                  <a:lnTo>
                    <a:pt x="636" y="342"/>
                  </a:lnTo>
                  <a:lnTo>
                    <a:pt x="642" y="336"/>
                  </a:lnTo>
                  <a:lnTo>
                    <a:pt x="636" y="330"/>
                  </a:lnTo>
                  <a:lnTo>
                    <a:pt x="630" y="336"/>
                  </a:lnTo>
                  <a:lnTo>
                    <a:pt x="624" y="336"/>
                  </a:lnTo>
                  <a:lnTo>
                    <a:pt x="624" y="330"/>
                  </a:lnTo>
                  <a:lnTo>
                    <a:pt x="624" y="324"/>
                  </a:lnTo>
                  <a:lnTo>
                    <a:pt x="618" y="324"/>
                  </a:lnTo>
                  <a:lnTo>
                    <a:pt x="624" y="324"/>
                  </a:lnTo>
                  <a:lnTo>
                    <a:pt x="630" y="330"/>
                  </a:lnTo>
                  <a:lnTo>
                    <a:pt x="630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2" y="306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8" y="288"/>
                  </a:lnTo>
                  <a:lnTo>
                    <a:pt x="648" y="282"/>
                  </a:lnTo>
                  <a:lnTo>
                    <a:pt x="654" y="288"/>
                  </a:lnTo>
                  <a:lnTo>
                    <a:pt x="654" y="282"/>
                  </a:lnTo>
                  <a:lnTo>
                    <a:pt x="660" y="282"/>
                  </a:lnTo>
                  <a:lnTo>
                    <a:pt x="666" y="282"/>
                  </a:lnTo>
                  <a:lnTo>
                    <a:pt x="672" y="282"/>
                  </a:lnTo>
                  <a:lnTo>
                    <a:pt x="678" y="282"/>
                  </a:lnTo>
                  <a:lnTo>
                    <a:pt x="684" y="276"/>
                  </a:lnTo>
                  <a:lnTo>
                    <a:pt x="690" y="270"/>
                  </a:lnTo>
                  <a:lnTo>
                    <a:pt x="690" y="264"/>
                  </a:lnTo>
                  <a:lnTo>
                    <a:pt x="690" y="270"/>
                  </a:lnTo>
                  <a:lnTo>
                    <a:pt x="690" y="276"/>
                  </a:lnTo>
                  <a:lnTo>
                    <a:pt x="696" y="276"/>
                  </a:lnTo>
                  <a:lnTo>
                    <a:pt x="702" y="276"/>
                  </a:lnTo>
                  <a:lnTo>
                    <a:pt x="702" y="282"/>
                  </a:lnTo>
                  <a:lnTo>
                    <a:pt x="708" y="282"/>
                  </a:lnTo>
                  <a:lnTo>
                    <a:pt x="720" y="270"/>
                  </a:lnTo>
                  <a:lnTo>
                    <a:pt x="720" y="264"/>
                  </a:lnTo>
                  <a:lnTo>
                    <a:pt x="720" y="258"/>
                  </a:lnTo>
                  <a:lnTo>
                    <a:pt x="726" y="258"/>
                  </a:lnTo>
                  <a:lnTo>
                    <a:pt x="732" y="258"/>
                  </a:lnTo>
                  <a:lnTo>
                    <a:pt x="732" y="264"/>
                  </a:lnTo>
                  <a:lnTo>
                    <a:pt x="738" y="264"/>
                  </a:lnTo>
                  <a:lnTo>
                    <a:pt x="738" y="258"/>
                  </a:lnTo>
                  <a:lnTo>
                    <a:pt x="732" y="258"/>
                  </a:lnTo>
                  <a:lnTo>
                    <a:pt x="732" y="252"/>
                  </a:lnTo>
                  <a:lnTo>
                    <a:pt x="744" y="252"/>
                  </a:lnTo>
                  <a:lnTo>
                    <a:pt x="750" y="252"/>
                  </a:lnTo>
                  <a:lnTo>
                    <a:pt x="750" y="246"/>
                  </a:lnTo>
                  <a:lnTo>
                    <a:pt x="750" y="240"/>
                  </a:lnTo>
                  <a:lnTo>
                    <a:pt x="762" y="234"/>
                  </a:lnTo>
                  <a:lnTo>
                    <a:pt x="768" y="234"/>
                  </a:lnTo>
                  <a:lnTo>
                    <a:pt x="774" y="234"/>
                  </a:lnTo>
                  <a:lnTo>
                    <a:pt x="780" y="228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16"/>
                  </a:lnTo>
                  <a:lnTo>
                    <a:pt x="792" y="210"/>
                  </a:lnTo>
                  <a:lnTo>
                    <a:pt x="804" y="204"/>
                  </a:lnTo>
                  <a:lnTo>
                    <a:pt x="804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0" y="192"/>
                  </a:lnTo>
                  <a:lnTo>
                    <a:pt x="798" y="186"/>
                  </a:lnTo>
                  <a:lnTo>
                    <a:pt x="810" y="186"/>
                  </a:lnTo>
                  <a:lnTo>
                    <a:pt x="810" y="180"/>
                  </a:lnTo>
                  <a:lnTo>
                    <a:pt x="810" y="186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0" y="180"/>
                  </a:lnTo>
                  <a:lnTo>
                    <a:pt x="816" y="174"/>
                  </a:lnTo>
                  <a:lnTo>
                    <a:pt x="822" y="174"/>
                  </a:lnTo>
                  <a:lnTo>
                    <a:pt x="822" y="180"/>
                  </a:lnTo>
                  <a:lnTo>
                    <a:pt x="828" y="180"/>
                  </a:lnTo>
                  <a:lnTo>
                    <a:pt x="828" y="174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62"/>
                  </a:lnTo>
                  <a:lnTo>
                    <a:pt x="828" y="156"/>
                  </a:lnTo>
                  <a:lnTo>
                    <a:pt x="822" y="156"/>
                  </a:lnTo>
                  <a:lnTo>
                    <a:pt x="828" y="156"/>
                  </a:lnTo>
                  <a:lnTo>
                    <a:pt x="828" y="150"/>
                  </a:lnTo>
                  <a:lnTo>
                    <a:pt x="834" y="150"/>
                  </a:lnTo>
                  <a:lnTo>
                    <a:pt x="840" y="156"/>
                  </a:lnTo>
                  <a:lnTo>
                    <a:pt x="840" y="150"/>
                  </a:lnTo>
                  <a:lnTo>
                    <a:pt x="834" y="150"/>
                  </a:lnTo>
                  <a:lnTo>
                    <a:pt x="834" y="144"/>
                  </a:lnTo>
                  <a:lnTo>
                    <a:pt x="840" y="138"/>
                  </a:lnTo>
                  <a:lnTo>
                    <a:pt x="846" y="144"/>
                  </a:lnTo>
                  <a:lnTo>
                    <a:pt x="846" y="150"/>
                  </a:lnTo>
                  <a:lnTo>
                    <a:pt x="852" y="150"/>
                  </a:lnTo>
                  <a:lnTo>
                    <a:pt x="858" y="150"/>
                  </a:lnTo>
                  <a:lnTo>
                    <a:pt x="870" y="150"/>
                  </a:lnTo>
                  <a:lnTo>
                    <a:pt x="870" y="144"/>
                  </a:lnTo>
                  <a:lnTo>
                    <a:pt x="876" y="138"/>
                  </a:lnTo>
                  <a:lnTo>
                    <a:pt x="882" y="138"/>
                  </a:lnTo>
                  <a:lnTo>
                    <a:pt x="888" y="132"/>
                  </a:lnTo>
                  <a:lnTo>
                    <a:pt x="888" y="138"/>
                  </a:lnTo>
                  <a:lnTo>
                    <a:pt x="894" y="138"/>
                  </a:lnTo>
                  <a:lnTo>
                    <a:pt x="894" y="132"/>
                  </a:lnTo>
                  <a:lnTo>
                    <a:pt x="900" y="126"/>
                  </a:lnTo>
                  <a:lnTo>
                    <a:pt x="900" y="132"/>
                  </a:lnTo>
                  <a:lnTo>
                    <a:pt x="906" y="132"/>
                  </a:lnTo>
                  <a:lnTo>
                    <a:pt x="912" y="132"/>
                  </a:lnTo>
                  <a:lnTo>
                    <a:pt x="918" y="126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24" y="126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8" y="120"/>
                  </a:lnTo>
                  <a:lnTo>
                    <a:pt x="948" y="114"/>
                  </a:lnTo>
                  <a:lnTo>
                    <a:pt x="948" y="108"/>
                  </a:lnTo>
                  <a:lnTo>
                    <a:pt x="954" y="114"/>
                  </a:lnTo>
                  <a:lnTo>
                    <a:pt x="960" y="108"/>
                  </a:lnTo>
                  <a:lnTo>
                    <a:pt x="966" y="108"/>
                  </a:lnTo>
                  <a:lnTo>
                    <a:pt x="972" y="108"/>
                  </a:lnTo>
                  <a:lnTo>
                    <a:pt x="966" y="114"/>
                  </a:lnTo>
                  <a:lnTo>
                    <a:pt x="960" y="114"/>
                  </a:lnTo>
                  <a:lnTo>
                    <a:pt x="960" y="120"/>
                  </a:lnTo>
                  <a:lnTo>
                    <a:pt x="966" y="126"/>
                  </a:lnTo>
                  <a:lnTo>
                    <a:pt x="972" y="126"/>
                  </a:lnTo>
                  <a:lnTo>
                    <a:pt x="978" y="126"/>
                  </a:lnTo>
                  <a:lnTo>
                    <a:pt x="984" y="120"/>
                  </a:lnTo>
                  <a:lnTo>
                    <a:pt x="984" y="114"/>
                  </a:lnTo>
                  <a:lnTo>
                    <a:pt x="996" y="126"/>
                  </a:lnTo>
                  <a:lnTo>
                    <a:pt x="996" y="120"/>
                  </a:lnTo>
                  <a:lnTo>
                    <a:pt x="1002" y="120"/>
                  </a:lnTo>
                  <a:lnTo>
                    <a:pt x="996" y="114"/>
                  </a:lnTo>
                  <a:lnTo>
                    <a:pt x="1002" y="114"/>
                  </a:lnTo>
                  <a:lnTo>
                    <a:pt x="1008" y="114"/>
                  </a:lnTo>
                  <a:lnTo>
                    <a:pt x="1008" y="108"/>
                  </a:lnTo>
                  <a:lnTo>
                    <a:pt x="1014" y="108"/>
                  </a:lnTo>
                  <a:lnTo>
                    <a:pt x="1008" y="114"/>
                  </a:lnTo>
                  <a:lnTo>
                    <a:pt x="1008" y="120"/>
                  </a:lnTo>
                  <a:lnTo>
                    <a:pt x="1008" y="126"/>
                  </a:lnTo>
                  <a:lnTo>
                    <a:pt x="1014" y="126"/>
                  </a:lnTo>
                  <a:lnTo>
                    <a:pt x="1014" y="132"/>
                  </a:lnTo>
                  <a:lnTo>
                    <a:pt x="1020" y="132"/>
                  </a:lnTo>
                  <a:lnTo>
                    <a:pt x="1020" y="126"/>
                  </a:lnTo>
                  <a:lnTo>
                    <a:pt x="1020" y="120"/>
                  </a:lnTo>
                  <a:lnTo>
                    <a:pt x="1032" y="120"/>
                  </a:lnTo>
                  <a:lnTo>
                    <a:pt x="1038" y="120"/>
                  </a:lnTo>
                  <a:lnTo>
                    <a:pt x="1038" y="126"/>
                  </a:lnTo>
                  <a:lnTo>
                    <a:pt x="1044" y="132"/>
                  </a:lnTo>
                  <a:lnTo>
                    <a:pt x="1044" y="126"/>
                  </a:lnTo>
                  <a:lnTo>
                    <a:pt x="1050" y="120"/>
                  </a:lnTo>
                  <a:lnTo>
                    <a:pt x="1050" y="114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68" y="102"/>
                  </a:lnTo>
                  <a:lnTo>
                    <a:pt x="1074" y="96"/>
                  </a:lnTo>
                  <a:lnTo>
                    <a:pt x="1074" y="90"/>
                  </a:lnTo>
                  <a:lnTo>
                    <a:pt x="1068" y="90"/>
                  </a:lnTo>
                  <a:lnTo>
                    <a:pt x="1068" y="84"/>
                  </a:lnTo>
                  <a:lnTo>
                    <a:pt x="1080" y="84"/>
                  </a:lnTo>
                  <a:lnTo>
                    <a:pt x="1086" y="78"/>
                  </a:lnTo>
                  <a:lnTo>
                    <a:pt x="1086" y="72"/>
                  </a:lnTo>
                  <a:lnTo>
                    <a:pt x="1080" y="78"/>
                  </a:lnTo>
                  <a:lnTo>
                    <a:pt x="1080" y="72"/>
                  </a:lnTo>
                  <a:lnTo>
                    <a:pt x="1080" y="66"/>
                  </a:lnTo>
                  <a:lnTo>
                    <a:pt x="1074" y="66"/>
                  </a:lnTo>
                  <a:lnTo>
                    <a:pt x="1080" y="66"/>
                  </a:lnTo>
                  <a:lnTo>
                    <a:pt x="1080" y="60"/>
                  </a:lnTo>
                  <a:lnTo>
                    <a:pt x="1086" y="60"/>
                  </a:lnTo>
                  <a:lnTo>
                    <a:pt x="1086" y="54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2" y="42"/>
                  </a:lnTo>
                  <a:lnTo>
                    <a:pt x="1098" y="42"/>
                  </a:lnTo>
                  <a:lnTo>
                    <a:pt x="1104" y="36"/>
                  </a:lnTo>
                  <a:lnTo>
                    <a:pt x="1110" y="36"/>
                  </a:lnTo>
                  <a:lnTo>
                    <a:pt x="1110" y="30"/>
                  </a:lnTo>
                  <a:lnTo>
                    <a:pt x="1110" y="24"/>
                  </a:lnTo>
                  <a:lnTo>
                    <a:pt x="1116" y="24"/>
                  </a:lnTo>
                  <a:lnTo>
                    <a:pt x="1116" y="18"/>
                  </a:lnTo>
                  <a:lnTo>
                    <a:pt x="1122" y="18"/>
                  </a:lnTo>
                  <a:lnTo>
                    <a:pt x="1128" y="18"/>
                  </a:lnTo>
                  <a:lnTo>
                    <a:pt x="1134" y="12"/>
                  </a:lnTo>
                  <a:lnTo>
                    <a:pt x="1134" y="6"/>
                  </a:lnTo>
                  <a:lnTo>
                    <a:pt x="1140" y="6"/>
                  </a:lnTo>
                  <a:lnTo>
                    <a:pt x="1146" y="0"/>
                  </a:lnTo>
                  <a:lnTo>
                    <a:pt x="1152" y="0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70" y="0"/>
                  </a:lnTo>
                  <a:lnTo>
                    <a:pt x="1176" y="6"/>
                  </a:lnTo>
                  <a:lnTo>
                    <a:pt x="1182" y="6"/>
                  </a:lnTo>
                  <a:lnTo>
                    <a:pt x="1194" y="6"/>
                  </a:lnTo>
                  <a:lnTo>
                    <a:pt x="1200" y="6"/>
                  </a:lnTo>
                  <a:lnTo>
                    <a:pt x="1212" y="0"/>
                  </a:lnTo>
                  <a:lnTo>
                    <a:pt x="1212" y="6"/>
                  </a:lnTo>
                  <a:lnTo>
                    <a:pt x="1218" y="6"/>
                  </a:lnTo>
                  <a:lnTo>
                    <a:pt x="1266" y="6"/>
                  </a:lnTo>
                  <a:lnTo>
                    <a:pt x="1272" y="0"/>
                  </a:lnTo>
                  <a:lnTo>
                    <a:pt x="1278" y="6"/>
                  </a:lnTo>
                  <a:lnTo>
                    <a:pt x="1290" y="6"/>
                  </a:lnTo>
                  <a:lnTo>
                    <a:pt x="1296" y="6"/>
                  </a:lnTo>
                  <a:lnTo>
                    <a:pt x="1308" y="6"/>
                  </a:lnTo>
                  <a:lnTo>
                    <a:pt x="1314" y="6"/>
                  </a:lnTo>
                  <a:lnTo>
                    <a:pt x="1320" y="6"/>
                  </a:lnTo>
                  <a:lnTo>
                    <a:pt x="1326" y="12"/>
                  </a:lnTo>
                  <a:lnTo>
                    <a:pt x="1338" y="30"/>
                  </a:lnTo>
                  <a:lnTo>
                    <a:pt x="1344" y="36"/>
                  </a:lnTo>
                  <a:lnTo>
                    <a:pt x="1356" y="48"/>
                  </a:lnTo>
                  <a:lnTo>
                    <a:pt x="1362" y="60"/>
                  </a:lnTo>
                  <a:lnTo>
                    <a:pt x="1368" y="66"/>
                  </a:lnTo>
                  <a:lnTo>
                    <a:pt x="1374" y="72"/>
                  </a:lnTo>
                  <a:lnTo>
                    <a:pt x="1374" y="78"/>
                  </a:lnTo>
                  <a:lnTo>
                    <a:pt x="1398" y="108"/>
                  </a:lnTo>
                  <a:lnTo>
                    <a:pt x="1398" y="114"/>
                  </a:lnTo>
                  <a:lnTo>
                    <a:pt x="1404" y="114"/>
                  </a:lnTo>
                  <a:lnTo>
                    <a:pt x="1404" y="120"/>
                  </a:lnTo>
                  <a:lnTo>
                    <a:pt x="1410" y="132"/>
                  </a:lnTo>
                  <a:lnTo>
                    <a:pt x="1416" y="132"/>
                  </a:lnTo>
                  <a:lnTo>
                    <a:pt x="1416" y="138"/>
                  </a:lnTo>
                  <a:lnTo>
                    <a:pt x="1422" y="144"/>
                  </a:lnTo>
                  <a:lnTo>
                    <a:pt x="1428" y="150"/>
                  </a:lnTo>
                  <a:lnTo>
                    <a:pt x="1428" y="156"/>
                  </a:lnTo>
                  <a:lnTo>
                    <a:pt x="1458" y="192"/>
                  </a:lnTo>
                  <a:lnTo>
                    <a:pt x="1458" y="198"/>
                  </a:lnTo>
                  <a:lnTo>
                    <a:pt x="1464" y="204"/>
                  </a:lnTo>
                  <a:lnTo>
                    <a:pt x="1470" y="210"/>
                  </a:lnTo>
                  <a:lnTo>
                    <a:pt x="1476" y="216"/>
                  </a:lnTo>
                  <a:lnTo>
                    <a:pt x="1482" y="228"/>
                  </a:lnTo>
                  <a:lnTo>
                    <a:pt x="1488" y="234"/>
                  </a:lnTo>
                  <a:lnTo>
                    <a:pt x="1512" y="270"/>
                  </a:lnTo>
                  <a:lnTo>
                    <a:pt x="1512" y="276"/>
                  </a:lnTo>
                  <a:lnTo>
                    <a:pt x="1530" y="300"/>
                  </a:lnTo>
                  <a:lnTo>
                    <a:pt x="1536" y="306"/>
                  </a:lnTo>
                  <a:lnTo>
                    <a:pt x="1542" y="312"/>
                  </a:lnTo>
                  <a:lnTo>
                    <a:pt x="1542" y="318"/>
                  </a:lnTo>
                  <a:lnTo>
                    <a:pt x="1560" y="336"/>
                  </a:lnTo>
                  <a:lnTo>
                    <a:pt x="1566" y="348"/>
                  </a:lnTo>
                  <a:lnTo>
                    <a:pt x="1572" y="354"/>
                  </a:lnTo>
                  <a:lnTo>
                    <a:pt x="1578" y="360"/>
                  </a:lnTo>
                  <a:lnTo>
                    <a:pt x="1584" y="378"/>
                  </a:lnTo>
                  <a:lnTo>
                    <a:pt x="1590" y="378"/>
                  </a:lnTo>
                  <a:lnTo>
                    <a:pt x="1596" y="390"/>
                  </a:lnTo>
                  <a:lnTo>
                    <a:pt x="1602" y="396"/>
                  </a:lnTo>
                  <a:lnTo>
                    <a:pt x="1608" y="408"/>
                  </a:lnTo>
                  <a:lnTo>
                    <a:pt x="1614" y="408"/>
                  </a:lnTo>
                  <a:lnTo>
                    <a:pt x="1614" y="432"/>
                  </a:lnTo>
                  <a:lnTo>
                    <a:pt x="1620" y="438"/>
                  </a:lnTo>
                  <a:lnTo>
                    <a:pt x="1620" y="450"/>
                  </a:lnTo>
                  <a:lnTo>
                    <a:pt x="1620" y="462"/>
                  </a:lnTo>
                  <a:lnTo>
                    <a:pt x="1626" y="474"/>
                  </a:lnTo>
                  <a:lnTo>
                    <a:pt x="1626" y="480"/>
                  </a:lnTo>
                  <a:lnTo>
                    <a:pt x="1626" y="486"/>
                  </a:lnTo>
                  <a:lnTo>
                    <a:pt x="1632" y="522"/>
                  </a:lnTo>
                  <a:lnTo>
                    <a:pt x="1632" y="528"/>
                  </a:lnTo>
                  <a:lnTo>
                    <a:pt x="1632" y="534"/>
                  </a:lnTo>
                  <a:lnTo>
                    <a:pt x="1638" y="540"/>
                  </a:lnTo>
                  <a:lnTo>
                    <a:pt x="1638" y="558"/>
                  </a:lnTo>
                  <a:lnTo>
                    <a:pt x="1638" y="570"/>
                  </a:lnTo>
                  <a:lnTo>
                    <a:pt x="1644" y="582"/>
                  </a:lnTo>
                  <a:lnTo>
                    <a:pt x="1650" y="618"/>
                  </a:lnTo>
                  <a:lnTo>
                    <a:pt x="1650" y="624"/>
                  </a:lnTo>
                  <a:lnTo>
                    <a:pt x="1650" y="636"/>
                  </a:lnTo>
                  <a:lnTo>
                    <a:pt x="1656" y="642"/>
                  </a:lnTo>
                  <a:lnTo>
                    <a:pt x="1656" y="648"/>
                  </a:lnTo>
                  <a:lnTo>
                    <a:pt x="1656" y="654"/>
                  </a:lnTo>
                  <a:lnTo>
                    <a:pt x="1656" y="660"/>
                  </a:lnTo>
                  <a:lnTo>
                    <a:pt x="1662" y="696"/>
                  </a:lnTo>
                  <a:lnTo>
                    <a:pt x="1668" y="708"/>
                  </a:lnTo>
                  <a:lnTo>
                    <a:pt x="1668" y="714"/>
                  </a:lnTo>
                  <a:lnTo>
                    <a:pt x="1668" y="732"/>
                  </a:lnTo>
                  <a:lnTo>
                    <a:pt x="1668" y="744"/>
                  </a:lnTo>
                  <a:lnTo>
                    <a:pt x="1674" y="756"/>
                  </a:lnTo>
                  <a:lnTo>
                    <a:pt x="1680" y="762"/>
                  </a:lnTo>
                  <a:lnTo>
                    <a:pt x="1680" y="768"/>
                  </a:lnTo>
                  <a:lnTo>
                    <a:pt x="1680" y="774"/>
                  </a:lnTo>
                  <a:lnTo>
                    <a:pt x="1680" y="780"/>
                  </a:lnTo>
                  <a:lnTo>
                    <a:pt x="1674" y="786"/>
                  </a:lnTo>
                  <a:lnTo>
                    <a:pt x="1668" y="792"/>
                  </a:lnTo>
                  <a:lnTo>
                    <a:pt x="1668" y="798"/>
                  </a:lnTo>
                  <a:lnTo>
                    <a:pt x="1668" y="804"/>
                  </a:lnTo>
                  <a:lnTo>
                    <a:pt x="1674" y="804"/>
                  </a:lnTo>
                  <a:lnTo>
                    <a:pt x="1668" y="810"/>
                  </a:lnTo>
                  <a:lnTo>
                    <a:pt x="1674" y="810"/>
                  </a:lnTo>
                  <a:lnTo>
                    <a:pt x="1680" y="810"/>
                  </a:lnTo>
                  <a:lnTo>
                    <a:pt x="1680" y="816"/>
                  </a:lnTo>
                  <a:lnTo>
                    <a:pt x="1680" y="822"/>
                  </a:lnTo>
                  <a:lnTo>
                    <a:pt x="1674" y="822"/>
                  </a:lnTo>
                  <a:lnTo>
                    <a:pt x="1674" y="828"/>
                  </a:lnTo>
                  <a:lnTo>
                    <a:pt x="1668" y="828"/>
                  </a:lnTo>
                  <a:lnTo>
                    <a:pt x="1674" y="834"/>
                  </a:lnTo>
                  <a:lnTo>
                    <a:pt x="1668" y="834"/>
                  </a:lnTo>
                  <a:lnTo>
                    <a:pt x="1668" y="840"/>
                  </a:lnTo>
                  <a:lnTo>
                    <a:pt x="1674" y="840"/>
                  </a:lnTo>
                  <a:lnTo>
                    <a:pt x="1686" y="852"/>
                  </a:lnTo>
                  <a:lnTo>
                    <a:pt x="1692" y="858"/>
                  </a:lnTo>
                  <a:lnTo>
                    <a:pt x="1698" y="858"/>
                  </a:lnTo>
                  <a:lnTo>
                    <a:pt x="1698" y="864"/>
                  </a:lnTo>
                  <a:lnTo>
                    <a:pt x="1698" y="870"/>
                  </a:lnTo>
                  <a:lnTo>
                    <a:pt x="1704" y="864"/>
                  </a:lnTo>
                  <a:lnTo>
                    <a:pt x="1716" y="864"/>
                  </a:lnTo>
                  <a:lnTo>
                    <a:pt x="1722" y="864"/>
                  </a:lnTo>
                  <a:lnTo>
                    <a:pt x="1728" y="864"/>
                  </a:lnTo>
                  <a:lnTo>
                    <a:pt x="1734" y="864"/>
                  </a:lnTo>
                  <a:lnTo>
                    <a:pt x="1740" y="864"/>
                  </a:lnTo>
                  <a:lnTo>
                    <a:pt x="1746" y="876"/>
                  </a:lnTo>
                  <a:lnTo>
                    <a:pt x="1746" y="870"/>
                  </a:lnTo>
                  <a:lnTo>
                    <a:pt x="1740" y="864"/>
                  </a:lnTo>
                  <a:lnTo>
                    <a:pt x="1746" y="864"/>
                  </a:lnTo>
                  <a:lnTo>
                    <a:pt x="1752" y="870"/>
                  </a:lnTo>
                  <a:lnTo>
                    <a:pt x="1758" y="864"/>
                  </a:lnTo>
                  <a:lnTo>
                    <a:pt x="1764" y="864"/>
                  </a:lnTo>
                  <a:lnTo>
                    <a:pt x="1770" y="858"/>
                  </a:lnTo>
                  <a:lnTo>
                    <a:pt x="1782" y="864"/>
                  </a:lnTo>
                  <a:lnTo>
                    <a:pt x="1782" y="870"/>
                  </a:lnTo>
                  <a:lnTo>
                    <a:pt x="1788" y="864"/>
                  </a:lnTo>
                  <a:lnTo>
                    <a:pt x="1794" y="864"/>
                  </a:lnTo>
                  <a:lnTo>
                    <a:pt x="1800" y="870"/>
                  </a:lnTo>
                  <a:lnTo>
                    <a:pt x="1818" y="864"/>
                  </a:lnTo>
                  <a:lnTo>
                    <a:pt x="1824" y="870"/>
                  </a:lnTo>
                  <a:lnTo>
                    <a:pt x="1830" y="864"/>
                  </a:lnTo>
                  <a:lnTo>
                    <a:pt x="1836" y="864"/>
                  </a:lnTo>
                  <a:lnTo>
                    <a:pt x="1842" y="870"/>
                  </a:lnTo>
                  <a:lnTo>
                    <a:pt x="1842" y="876"/>
                  </a:lnTo>
                  <a:lnTo>
                    <a:pt x="1848" y="876"/>
                  </a:lnTo>
                  <a:lnTo>
                    <a:pt x="1848" y="870"/>
                  </a:lnTo>
                  <a:lnTo>
                    <a:pt x="1854" y="870"/>
                  </a:lnTo>
                  <a:lnTo>
                    <a:pt x="1860" y="870"/>
                  </a:lnTo>
                  <a:lnTo>
                    <a:pt x="1860" y="876"/>
                  </a:lnTo>
                  <a:lnTo>
                    <a:pt x="1866" y="876"/>
                  </a:lnTo>
                  <a:lnTo>
                    <a:pt x="1866" y="882"/>
                  </a:lnTo>
                  <a:lnTo>
                    <a:pt x="1872" y="882"/>
                  </a:lnTo>
                  <a:lnTo>
                    <a:pt x="1878" y="888"/>
                  </a:lnTo>
                  <a:lnTo>
                    <a:pt x="1890" y="888"/>
                  </a:lnTo>
                  <a:lnTo>
                    <a:pt x="1890" y="894"/>
                  </a:lnTo>
                  <a:lnTo>
                    <a:pt x="1890" y="900"/>
                  </a:lnTo>
                  <a:lnTo>
                    <a:pt x="1884" y="900"/>
                  </a:lnTo>
                  <a:lnTo>
                    <a:pt x="1884" y="906"/>
                  </a:lnTo>
                  <a:lnTo>
                    <a:pt x="1884" y="912"/>
                  </a:lnTo>
                  <a:lnTo>
                    <a:pt x="1890" y="912"/>
                  </a:lnTo>
                  <a:lnTo>
                    <a:pt x="1896" y="912"/>
                  </a:lnTo>
                  <a:lnTo>
                    <a:pt x="1902" y="912"/>
                  </a:lnTo>
                  <a:lnTo>
                    <a:pt x="1908" y="918"/>
                  </a:lnTo>
                  <a:lnTo>
                    <a:pt x="1908" y="924"/>
                  </a:lnTo>
                  <a:lnTo>
                    <a:pt x="1908" y="930"/>
                  </a:lnTo>
                  <a:lnTo>
                    <a:pt x="1908" y="936"/>
                  </a:lnTo>
                  <a:lnTo>
                    <a:pt x="1914" y="936"/>
                  </a:lnTo>
                  <a:lnTo>
                    <a:pt x="1914" y="942"/>
                  </a:lnTo>
                  <a:lnTo>
                    <a:pt x="1908" y="948"/>
                  </a:lnTo>
                  <a:lnTo>
                    <a:pt x="1914" y="948"/>
                  </a:lnTo>
                  <a:lnTo>
                    <a:pt x="1920" y="954"/>
                  </a:lnTo>
                  <a:lnTo>
                    <a:pt x="1926" y="954"/>
                  </a:lnTo>
                  <a:lnTo>
                    <a:pt x="1932" y="954"/>
                  </a:lnTo>
                  <a:lnTo>
                    <a:pt x="1938" y="954"/>
                  </a:lnTo>
                  <a:lnTo>
                    <a:pt x="1938" y="960"/>
                  </a:lnTo>
                  <a:lnTo>
                    <a:pt x="1944" y="966"/>
                  </a:lnTo>
                  <a:lnTo>
                    <a:pt x="1944" y="972"/>
                  </a:lnTo>
                  <a:lnTo>
                    <a:pt x="1944" y="978"/>
                  </a:lnTo>
                  <a:lnTo>
                    <a:pt x="1950" y="978"/>
                  </a:lnTo>
                  <a:lnTo>
                    <a:pt x="1950" y="984"/>
                  </a:lnTo>
                  <a:lnTo>
                    <a:pt x="1956" y="984"/>
                  </a:lnTo>
                  <a:lnTo>
                    <a:pt x="1962" y="984"/>
                  </a:lnTo>
                  <a:lnTo>
                    <a:pt x="1962" y="978"/>
                  </a:lnTo>
                  <a:lnTo>
                    <a:pt x="1968" y="978"/>
                  </a:lnTo>
                  <a:lnTo>
                    <a:pt x="1974" y="978"/>
                  </a:lnTo>
                  <a:lnTo>
                    <a:pt x="1980" y="972"/>
                  </a:lnTo>
                  <a:lnTo>
                    <a:pt x="1980" y="978"/>
                  </a:lnTo>
                  <a:lnTo>
                    <a:pt x="1980" y="984"/>
                  </a:lnTo>
                  <a:lnTo>
                    <a:pt x="1986" y="984"/>
                  </a:lnTo>
                  <a:lnTo>
                    <a:pt x="1992" y="990"/>
                  </a:lnTo>
                  <a:lnTo>
                    <a:pt x="1992" y="996"/>
                  </a:lnTo>
                  <a:lnTo>
                    <a:pt x="1992" y="1002"/>
                  </a:lnTo>
                  <a:lnTo>
                    <a:pt x="1974" y="1008"/>
                  </a:lnTo>
                  <a:lnTo>
                    <a:pt x="1974" y="1014"/>
                  </a:lnTo>
                  <a:lnTo>
                    <a:pt x="1974" y="1020"/>
                  </a:lnTo>
                  <a:lnTo>
                    <a:pt x="1974" y="1026"/>
                  </a:lnTo>
                  <a:lnTo>
                    <a:pt x="1968" y="1038"/>
                  </a:lnTo>
                  <a:lnTo>
                    <a:pt x="1968" y="1044"/>
                  </a:lnTo>
                  <a:lnTo>
                    <a:pt x="1974" y="1056"/>
                  </a:lnTo>
                  <a:lnTo>
                    <a:pt x="1968" y="1062"/>
                  </a:lnTo>
                  <a:lnTo>
                    <a:pt x="1962" y="1062"/>
                  </a:lnTo>
                  <a:lnTo>
                    <a:pt x="1956" y="1068"/>
                  </a:lnTo>
                  <a:lnTo>
                    <a:pt x="1956" y="1074"/>
                  </a:lnTo>
                  <a:lnTo>
                    <a:pt x="1956" y="1080"/>
                  </a:lnTo>
                  <a:lnTo>
                    <a:pt x="1956" y="1086"/>
                  </a:lnTo>
                  <a:lnTo>
                    <a:pt x="1956" y="1092"/>
                  </a:lnTo>
                  <a:lnTo>
                    <a:pt x="1962" y="1092"/>
                  </a:lnTo>
                  <a:lnTo>
                    <a:pt x="1962" y="1104"/>
                  </a:lnTo>
                  <a:lnTo>
                    <a:pt x="1968" y="1110"/>
                  </a:lnTo>
                  <a:lnTo>
                    <a:pt x="1968" y="1116"/>
                  </a:lnTo>
                  <a:lnTo>
                    <a:pt x="1974" y="1116"/>
                  </a:lnTo>
                  <a:lnTo>
                    <a:pt x="1974" y="1122"/>
                  </a:lnTo>
                  <a:lnTo>
                    <a:pt x="1980" y="1122"/>
                  </a:lnTo>
                  <a:lnTo>
                    <a:pt x="1974" y="1128"/>
                  </a:lnTo>
                  <a:lnTo>
                    <a:pt x="1968" y="1134"/>
                  </a:lnTo>
                  <a:lnTo>
                    <a:pt x="1962" y="1140"/>
                  </a:lnTo>
                  <a:lnTo>
                    <a:pt x="1962" y="1146"/>
                  </a:lnTo>
                  <a:lnTo>
                    <a:pt x="1968" y="1152"/>
                  </a:lnTo>
                  <a:lnTo>
                    <a:pt x="1968" y="1158"/>
                  </a:lnTo>
                  <a:lnTo>
                    <a:pt x="1962" y="1158"/>
                  </a:lnTo>
                  <a:lnTo>
                    <a:pt x="1962" y="1164"/>
                  </a:lnTo>
                  <a:lnTo>
                    <a:pt x="1956" y="1164"/>
                  </a:lnTo>
                  <a:lnTo>
                    <a:pt x="1956" y="1170"/>
                  </a:lnTo>
                  <a:lnTo>
                    <a:pt x="1944" y="1182"/>
                  </a:lnTo>
                  <a:lnTo>
                    <a:pt x="1944" y="1188"/>
                  </a:lnTo>
                  <a:lnTo>
                    <a:pt x="1950" y="1188"/>
                  </a:lnTo>
                  <a:lnTo>
                    <a:pt x="1944" y="1200"/>
                  </a:lnTo>
                  <a:lnTo>
                    <a:pt x="1944" y="1206"/>
                  </a:lnTo>
                  <a:lnTo>
                    <a:pt x="1944" y="1212"/>
                  </a:lnTo>
                  <a:lnTo>
                    <a:pt x="1944" y="1218"/>
                  </a:lnTo>
                  <a:lnTo>
                    <a:pt x="1944" y="1230"/>
                  </a:lnTo>
                  <a:lnTo>
                    <a:pt x="1944" y="1236"/>
                  </a:lnTo>
                  <a:lnTo>
                    <a:pt x="1944" y="1242"/>
                  </a:lnTo>
                  <a:lnTo>
                    <a:pt x="1938" y="1248"/>
                  </a:lnTo>
                  <a:lnTo>
                    <a:pt x="1938" y="1254"/>
                  </a:lnTo>
                  <a:lnTo>
                    <a:pt x="1932" y="1254"/>
                  </a:lnTo>
                  <a:lnTo>
                    <a:pt x="1926" y="1260"/>
                  </a:lnTo>
                  <a:lnTo>
                    <a:pt x="1920" y="1266"/>
                  </a:lnTo>
                  <a:lnTo>
                    <a:pt x="1914" y="1272"/>
                  </a:lnTo>
                  <a:lnTo>
                    <a:pt x="1908" y="1272"/>
                  </a:lnTo>
                  <a:lnTo>
                    <a:pt x="1908" y="1278"/>
                  </a:lnTo>
                  <a:lnTo>
                    <a:pt x="1914" y="1278"/>
                  </a:lnTo>
                  <a:lnTo>
                    <a:pt x="1914" y="1290"/>
                  </a:lnTo>
                  <a:lnTo>
                    <a:pt x="1920" y="1296"/>
                  </a:lnTo>
                  <a:lnTo>
                    <a:pt x="1938" y="1302"/>
                  </a:lnTo>
                  <a:lnTo>
                    <a:pt x="1944" y="1308"/>
                  </a:lnTo>
                  <a:lnTo>
                    <a:pt x="1950" y="1314"/>
                  </a:lnTo>
                  <a:lnTo>
                    <a:pt x="1956" y="1314"/>
                  </a:lnTo>
                  <a:lnTo>
                    <a:pt x="1962" y="1320"/>
                  </a:lnTo>
                  <a:lnTo>
                    <a:pt x="1962" y="1326"/>
                  </a:lnTo>
                  <a:lnTo>
                    <a:pt x="1968" y="1326"/>
                  </a:lnTo>
                  <a:lnTo>
                    <a:pt x="1968" y="1332"/>
                  </a:lnTo>
                  <a:lnTo>
                    <a:pt x="1968" y="1344"/>
                  </a:lnTo>
                  <a:lnTo>
                    <a:pt x="1968" y="1350"/>
                  </a:lnTo>
                  <a:lnTo>
                    <a:pt x="1968" y="1368"/>
                  </a:lnTo>
                  <a:lnTo>
                    <a:pt x="1962" y="1380"/>
                  </a:lnTo>
                  <a:lnTo>
                    <a:pt x="1968" y="1392"/>
                  </a:lnTo>
                  <a:lnTo>
                    <a:pt x="1962" y="1398"/>
                  </a:lnTo>
                  <a:lnTo>
                    <a:pt x="1956" y="1404"/>
                  </a:lnTo>
                  <a:lnTo>
                    <a:pt x="1950" y="1410"/>
                  </a:lnTo>
                  <a:lnTo>
                    <a:pt x="1944" y="1410"/>
                  </a:lnTo>
                  <a:lnTo>
                    <a:pt x="1932" y="1416"/>
                  </a:lnTo>
                  <a:lnTo>
                    <a:pt x="1926" y="1416"/>
                  </a:lnTo>
                  <a:lnTo>
                    <a:pt x="1896" y="1428"/>
                  </a:lnTo>
                  <a:lnTo>
                    <a:pt x="1884" y="1434"/>
                  </a:lnTo>
                  <a:lnTo>
                    <a:pt x="1878" y="1434"/>
                  </a:lnTo>
                  <a:lnTo>
                    <a:pt x="1866" y="1434"/>
                  </a:lnTo>
                  <a:lnTo>
                    <a:pt x="1854" y="1440"/>
                  </a:lnTo>
                  <a:lnTo>
                    <a:pt x="1848" y="1440"/>
                  </a:lnTo>
                  <a:lnTo>
                    <a:pt x="1842" y="1446"/>
                  </a:lnTo>
                  <a:lnTo>
                    <a:pt x="1842" y="1458"/>
                  </a:lnTo>
                  <a:lnTo>
                    <a:pt x="1836" y="1470"/>
                  </a:lnTo>
                  <a:lnTo>
                    <a:pt x="1830" y="1476"/>
                  </a:lnTo>
                  <a:lnTo>
                    <a:pt x="1824" y="1476"/>
                  </a:lnTo>
                  <a:lnTo>
                    <a:pt x="1806" y="1482"/>
                  </a:lnTo>
                  <a:lnTo>
                    <a:pt x="1800" y="1488"/>
                  </a:lnTo>
                  <a:lnTo>
                    <a:pt x="1794" y="1488"/>
                  </a:lnTo>
                  <a:lnTo>
                    <a:pt x="1788" y="1488"/>
                  </a:lnTo>
                  <a:lnTo>
                    <a:pt x="1776" y="1494"/>
                  </a:lnTo>
                  <a:lnTo>
                    <a:pt x="1764" y="1494"/>
                  </a:lnTo>
                  <a:lnTo>
                    <a:pt x="1758" y="1500"/>
                  </a:lnTo>
                  <a:lnTo>
                    <a:pt x="1746" y="1506"/>
                  </a:lnTo>
                  <a:lnTo>
                    <a:pt x="1728" y="1518"/>
                  </a:lnTo>
                  <a:lnTo>
                    <a:pt x="1716" y="1524"/>
                  </a:lnTo>
                  <a:lnTo>
                    <a:pt x="1710" y="1530"/>
                  </a:lnTo>
                  <a:lnTo>
                    <a:pt x="1704" y="1536"/>
                  </a:lnTo>
                  <a:lnTo>
                    <a:pt x="1698" y="1542"/>
                  </a:lnTo>
                  <a:lnTo>
                    <a:pt x="1692" y="1554"/>
                  </a:lnTo>
                  <a:lnTo>
                    <a:pt x="1686" y="1560"/>
                  </a:lnTo>
                  <a:lnTo>
                    <a:pt x="1680" y="1560"/>
                  </a:lnTo>
                  <a:lnTo>
                    <a:pt x="1674" y="1560"/>
                  </a:lnTo>
                  <a:lnTo>
                    <a:pt x="1656" y="1572"/>
                  </a:lnTo>
                  <a:lnTo>
                    <a:pt x="1650" y="1572"/>
                  </a:lnTo>
                  <a:lnTo>
                    <a:pt x="1644" y="1572"/>
                  </a:lnTo>
                  <a:lnTo>
                    <a:pt x="1638" y="1578"/>
                  </a:lnTo>
                  <a:lnTo>
                    <a:pt x="1632" y="1578"/>
                  </a:lnTo>
                  <a:lnTo>
                    <a:pt x="1626" y="1578"/>
                  </a:lnTo>
                  <a:lnTo>
                    <a:pt x="1620" y="1572"/>
                  </a:lnTo>
                  <a:lnTo>
                    <a:pt x="1614" y="1572"/>
                  </a:lnTo>
                  <a:lnTo>
                    <a:pt x="1608" y="1566"/>
                  </a:lnTo>
                  <a:lnTo>
                    <a:pt x="1602" y="1560"/>
                  </a:lnTo>
                  <a:lnTo>
                    <a:pt x="1596" y="1554"/>
                  </a:lnTo>
                  <a:lnTo>
                    <a:pt x="1590" y="1548"/>
                  </a:lnTo>
                  <a:lnTo>
                    <a:pt x="1578" y="1548"/>
                  </a:lnTo>
                  <a:lnTo>
                    <a:pt x="1572" y="1548"/>
                  </a:lnTo>
                  <a:lnTo>
                    <a:pt x="1566" y="1548"/>
                  </a:lnTo>
                  <a:lnTo>
                    <a:pt x="1554" y="1536"/>
                  </a:lnTo>
                  <a:lnTo>
                    <a:pt x="1548" y="1536"/>
                  </a:lnTo>
                  <a:lnTo>
                    <a:pt x="1542" y="1542"/>
                  </a:lnTo>
                  <a:lnTo>
                    <a:pt x="1536" y="1548"/>
                  </a:lnTo>
                  <a:lnTo>
                    <a:pt x="1536" y="1566"/>
                  </a:lnTo>
                  <a:lnTo>
                    <a:pt x="1530" y="1572"/>
                  </a:lnTo>
                  <a:lnTo>
                    <a:pt x="1524" y="1578"/>
                  </a:lnTo>
                  <a:lnTo>
                    <a:pt x="1518" y="1584"/>
                  </a:lnTo>
                  <a:lnTo>
                    <a:pt x="1512" y="1596"/>
                  </a:lnTo>
                  <a:lnTo>
                    <a:pt x="1506" y="1602"/>
                  </a:lnTo>
                  <a:lnTo>
                    <a:pt x="1506" y="1608"/>
                  </a:lnTo>
                  <a:lnTo>
                    <a:pt x="1506" y="1614"/>
                  </a:lnTo>
                  <a:lnTo>
                    <a:pt x="1500" y="1614"/>
                  </a:lnTo>
                  <a:lnTo>
                    <a:pt x="1500" y="1620"/>
                  </a:lnTo>
                  <a:lnTo>
                    <a:pt x="1500" y="1626"/>
                  </a:lnTo>
                  <a:lnTo>
                    <a:pt x="1494" y="1632"/>
                  </a:lnTo>
                  <a:lnTo>
                    <a:pt x="1488" y="1638"/>
                  </a:lnTo>
                  <a:lnTo>
                    <a:pt x="1482" y="1638"/>
                  </a:lnTo>
                  <a:lnTo>
                    <a:pt x="1482" y="1644"/>
                  </a:lnTo>
                  <a:lnTo>
                    <a:pt x="1482" y="1650"/>
                  </a:lnTo>
                  <a:lnTo>
                    <a:pt x="1482" y="1656"/>
                  </a:lnTo>
                  <a:lnTo>
                    <a:pt x="1476" y="1662"/>
                  </a:lnTo>
                  <a:lnTo>
                    <a:pt x="1470" y="1668"/>
                  </a:lnTo>
                  <a:lnTo>
                    <a:pt x="1464" y="1674"/>
                  </a:lnTo>
                  <a:lnTo>
                    <a:pt x="1464" y="1680"/>
                  </a:lnTo>
                  <a:lnTo>
                    <a:pt x="1458" y="1680"/>
                  </a:lnTo>
                  <a:lnTo>
                    <a:pt x="1452" y="1686"/>
                  </a:lnTo>
                  <a:lnTo>
                    <a:pt x="1446" y="1686"/>
                  </a:lnTo>
                  <a:lnTo>
                    <a:pt x="1440" y="1698"/>
                  </a:lnTo>
                  <a:lnTo>
                    <a:pt x="1440" y="1704"/>
                  </a:lnTo>
                  <a:lnTo>
                    <a:pt x="1434" y="1710"/>
                  </a:lnTo>
                  <a:lnTo>
                    <a:pt x="1434" y="1716"/>
                  </a:lnTo>
                  <a:lnTo>
                    <a:pt x="1428" y="1716"/>
                  </a:lnTo>
                  <a:lnTo>
                    <a:pt x="1428" y="1722"/>
                  </a:lnTo>
                  <a:lnTo>
                    <a:pt x="1428" y="1728"/>
                  </a:lnTo>
                  <a:lnTo>
                    <a:pt x="1422" y="1728"/>
                  </a:lnTo>
                  <a:lnTo>
                    <a:pt x="1422" y="1734"/>
                  </a:lnTo>
                  <a:lnTo>
                    <a:pt x="1416" y="1734"/>
                  </a:lnTo>
                  <a:lnTo>
                    <a:pt x="1410" y="1734"/>
                  </a:lnTo>
                  <a:lnTo>
                    <a:pt x="1392" y="1746"/>
                  </a:lnTo>
                  <a:lnTo>
                    <a:pt x="1386" y="1746"/>
                  </a:lnTo>
                  <a:lnTo>
                    <a:pt x="1368" y="1752"/>
                  </a:lnTo>
                  <a:lnTo>
                    <a:pt x="1362" y="1758"/>
                  </a:lnTo>
                  <a:lnTo>
                    <a:pt x="1362" y="1770"/>
                  </a:lnTo>
                  <a:lnTo>
                    <a:pt x="1356" y="178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graphicFrame>
        <p:nvGraphicFramePr>
          <p:cNvPr id="357" name="Group 76">
            <a:extLst>
              <a:ext uri="{FF2B5EF4-FFF2-40B4-BE49-F238E27FC236}">
                <a16:creationId xmlns:a16="http://schemas.microsoft.com/office/drawing/2014/main" id="{57830D68-CF73-4A3E-9D36-141B03AADBF7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41338" y="3402013"/>
          <a:ext cx="3735387" cy="1827306"/>
        </p:xfrm>
        <a:graphic>
          <a:graphicData uri="http://schemas.openxmlformats.org/drawingml/2006/table">
            <a:tbl>
              <a:tblPr/>
              <a:tblGrid>
                <a:gridCol w="1316931">
                  <a:extLst>
                    <a:ext uri="{9D8B030D-6E8A-4147-A177-3AD203B41FA5}">
                      <a16:colId xmlns:a16="http://schemas.microsoft.com/office/drawing/2014/main" val="2027704273"/>
                    </a:ext>
                  </a:extLst>
                </a:gridCol>
                <a:gridCol w="603796">
                  <a:extLst>
                    <a:ext uri="{9D8B030D-6E8A-4147-A177-3AD203B41FA5}">
                      <a16:colId xmlns:a16="http://schemas.microsoft.com/office/drawing/2014/main" val="3432768286"/>
                    </a:ext>
                  </a:extLst>
                </a:gridCol>
                <a:gridCol w="744015">
                  <a:extLst>
                    <a:ext uri="{9D8B030D-6E8A-4147-A177-3AD203B41FA5}">
                      <a16:colId xmlns:a16="http://schemas.microsoft.com/office/drawing/2014/main" val="3730294207"/>
                    </a:ext>
                  </a:extLst>
                </a:gridCol>
                <a:gridCol w="1070645">
                  <a:extLst>
                    <a:ext uri="{9D8B030D-6E8A-4147-A177-3AD203B41FA5}">
                      <a16:colId xmlns:a16="http://schemas.microsoft.com/office/drawing/2014/main" val="2258321117"/>
                    </a:ext>
                  </a:extLst>
                </a:gridCol>
              </a:tblGrid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apital</a:t>
                      </a:r>
                      <a:endParaRPr kumimoji="0" lang="en-SG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292929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SG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okoja</a:t>
                      </a:r>
                      <a:endParaRPr kumimoji="0" lang="en-SG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703009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nd Are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7,747 km</a:t>
                      </a:r>
                      <a:r>
                        <a:rPr kumimoji="0" lang="en-US" altLang="en-US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14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603614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Population (2017E)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4,453,797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21 of 37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505851"/>
                  </a:ext>
                </a:extLst>
              </a:tr>
              <a:tr h="203024">
                <a:tc row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Dem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0-14: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,025,342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45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130093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5-64: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,315,974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52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387564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65+: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+mn-cs"/>
                        </a:rPr>
                        <a:t>   133,614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[3%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38801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bour force 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,320,203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15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797882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limate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ropical savann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3942226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op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Woodland and forest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32899"/>
                  </a:ext>
                </a:extLst>
              </a:tr>
            </a:tbl>
          </a:graphicData>
        </a:graphic>
      </p:graphicFrame>
      <p:pic>
        <p:nvPicPr>
          <p:cNvPr id="23609" name="Picture 13">
            <a:extLst>
              <a:ext uri="{FF2B5EF4-FFF2-40B4-BE49-F238E27FC236}">
                <a16:creationId xmlns:a16="http://schemas.microsoft.com/office/drawing/2014/main" id="{952964D5-F0ED-4CAE-B71C-DB4A723FA5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0" y="3006725"/>
            <a:ext cx="1116013" cy="155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9" name="TextBox 378">
            <a:extLst>
              <a:ext uri="{FF2B5EF4-FFF2-40B4-BE49-F238E27FC236}">
                <a16:creationId xmlns:a16="http://schemas.microsoft.com/office/drawing/2014/main" id="{1B3FD4BF-4685-4C74-821F-10048D6246BF}"/>
              </a:ext>
            </a:extLst>
          </p:cNvPr>
          <p:cNvSpPr txBox="1"/>
          <p:nvPr/>
        </p:nvSpPr>
        <p:spPr>
          <a:xfrm>
            <a:off x="6124575" y="957263"/>
            <a:ext cx="3475038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Competitive Advantages</a:t>
            </a: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455FE7A1-ADE5-4F7B-A489-00196671A53E}"/>
              </a:ext>
            </a:extLst>
          </p:cNvPr>
          <p:cNvSpPr/>
          <p:nvPr/>
        </p:nvSpPr>
        <p:spPr>
          <a:xfrm>
            <a:off x="4267248" y="1187511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dbl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N</a:t>
            </a:r>
            <a:r>
              <a:rPr kumimoji="0" lang="en-US" sz="1600" b="0" i="0" u="none" strike="no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11.2bn/$36.8m</a:t>
            </a:r>
            <a:endParaRPr kumimoji="0" lang="en-MY" sz="1600" b="0" i="0" u="none" strike="noStrike" kern="1200" cap="none" spc="-15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EBB25788-D073-4A78-9D6C-DF3836CFFFBB}"/>
              </a:ext>
            </a:extLst>
          </p:cNvPr>
          <p:cNvSpPr txBox="1"/>
          <p:nvPr/>
        </p:nvSpPr>
        <p:spPr>
          <a:xfrm>
            <a:off x="4267200" y="955675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IGR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 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(2017)</a:t>
            </a: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6F07DF39-553B-44F0-8864-1F897C2BD79A}"/>
              </a:ext>
            </a:extLst>
          </p:cNvPr>
          <p:cNvSpPr/>
          <p:nvPr/>
        </p:nvSpPr>
        <p:spPr>
          <a:xfrm>
            <a:off x="4267252" y="1809750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dbl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N</a:t>
            </a:r>
            <a:r>
              <a:rPr kumimoji="0" lang="en-US" sz="1600" b="0" i="0" u="none" strike="no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152bn/$</a:t>
            </a:r>
            <a:r>
              <a:rPr lang="en-US" sz="1600" spc="-150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 pitchFamily="34" charset="0"/>
                <a:cs typeface="Arial" charset="0"/>
              </a:rPr>
              <a:t>49.8m</a:t>
            </a:r>
            <a:endParaRPr kumimoji="0" lang="en-MY" sz="1600" b="0" i="0" u="none" strike="noStrike" kern="1200" cap="none" spc="-15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2508695A-2D2C-45A3-80FE-9C2CB18200C2}"/>
              </a:ext>
            </a:extLst>
          </p:cNvPr>
          <p:cNvSpPr txBox="1"/>
          <p:nvPr/>
        </p:nvSpPr>
        <p:spPr>
          <a:xfrm>
            <a:off x="4267200" y="1576388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Budget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 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(2018)</a:t>
            </a: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86A33ABE-3AE3-40A7-A6A6-1B757A6A9B0F}"/>
              </a:ext>
            </a:extLst>
          </p:cNvPr>
          <p:cNvSpPr/>
          <p:nvPr/>
        </p:nvSpPr>
        <p:spPr>
          <a:xfrm>
            <a:off x="4256076" y="2667155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dbl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N</a:t>
            </a:r>
            <a:r>
              <a:rPr kumimoji="0" lang="en-US" sz="1600" b="0" i="0" u="none" strike="no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1.1trn /$3.6bn</a:t>
            </a:r>
            <a:endParaRPr kumimoji="0" lang="en-MY" sz="1600" b="0" i="0" u="none" strike="noStrike" kern="1200" cap="none" spc="-15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1E919764-A18B-4532-A533-A84A31D7FEFE}"/>
              </a:ext>
            </a:extLst>
          </p:cNvPr>
          <p:cNvSpPr txBox="1"/>
          <p:nvPr/>
        </p:nvSpPr>
        <p:spPr>
          <a:xfrm>
            <a:off x="4256088" y="2185988"/>
            <a:ext cx="1811337" cy="50641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Househol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Consumption 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(2017)</a:t>
            </a:r>
          </a:p>
        </p:txBody>
      </p:sp>
      <p:sp>
        <p:nvSpPr>
          <p:cNvPr id="96" name="Plaque 95">
            <a:extLst>
              <a:ext uri="{FF2B5EF4-FFF2-40B4-BE49-F238E27FC236}">
                <a16:creationId xmlns:a16="http://schemas.microsoft.com/office/drawing/2014/main" id="{E3BE1182-17B4-4194-8641-F1EA2CCBB757}"/>
              </a:ext>
            </a:extLst>
          </p:cNvPr>
          <p:cNvSpPr/>
          <p:nvPr/>
        </p:nvSpPr>
        <p:spPr>
          <a:xfrm>
            <a:off x="5583996" y="2807593"/>
            <a:ext cx="483429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4 of 36</a:t>
            </a:r>
          </a:p>
        </p:txBody>
      </p:sp>
      <p:sp>
        <p:nvSpPr>
          <p:cNvPr id="99" name="Plaque 98">
            <a:extLst>
              <a:ext uri="{FF2B5EF4-FFF2-40B4-BE49-F238E27FC236}">
                <a16:creationId xmlns:a16="http://schemas.microsoft.com/office/drawing/2014/main" id="{8620E393-1C52-4CE1-9888-20922FA6DFEA}"/>
              </a:ext>
            </a:extLst>
          </p:cNvPr>
          <p:cNvSpPr/>
          <p:nvPr/>
        </p:nvSpPr>
        <p:spPr>
          <a:xfrm>
            <a:off x="5571332" y="1982093"/>
            <a:ext cx="496094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noProof="0" dirty="0">
                <a:solidFill>
                  <a:prstClr val="white"/>
                </a:solidFill>
                <a:latin typeface="Calibri" panose="020F0502020204030204" pitchFamily="34" charset="0"/>
              </a:rPr>
              <a:t>23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of 36</a:t>
            </a:r>
          </a:p>
        </p:txBody>
      </p:sp>
      <p:sp>
        <p:nvSpPr>
          <p:cNvPr id="100" name="Plaque 99">
            <a:extLst>
              <a:ext uri="{FF2B5EF4-FFF2-40B4-BE49-F238E27FC236}">
                <a16:creationId xmlns:a16="http://schemas.microsoft.com/office/drawing/2014/main" id="{3BFA6D28-9A42-4459-8BF1-090CE1B45216}"/>
              </a:ext>
            </a:extLst>
          </p:cNvPr>
          <p:cNvSpPr/>
          <p:nvPr/>
        </p:nvSpPr>
        <p:spPr>
          <a:xfrm>
            <a:off x="5638800" y="1333500"/>
            <a:ext cx="430213" cy="1539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noProof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7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of 36</a:t>
            </a:r>
          </a:p>
        </p:txBody>
      </p:sp>
      <p:sp>
        <p:nvSpPr>
          <p:cNvPr id="101" name="Pentagon 19">
            <a:extLst>
              <a:ext uri="{FF2B5EF4-FFF2-40B4-BE49-F238E27FC236}">
                <a16:creationId xmlns:a16="http://schemas.microsoft.com/office/drawing/2014/main" id="{CCD74FA4-19D0-4356-90C9-B3B49BCC3F54}"/>
              </a:ext>
            </a:extLst>
          </p:cNvPr>
          <p:cNvSpPr>
            <a:spLocks/>
          </p:cNvSpPr>
          <p:nvPr/>
        </p:nvSpPr>
        <p:spPr bwMode="auto">
          <a:xfrm>
            <a:off x="688340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noProof="0" dirty="0">
                <a:solidFill>
                  <a:prstClr val="white"/>
                </a:solidFill>
                <a:latin typeface="Calibri" panose="020F0502020204030204" pitchFamily="34" charset="0"/>
              </a:rPr>
              <a:t>28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of 37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12EE735-1E43-4799-A46A-5D0787F375CE}"/>
              </a:ext>
            </a:extLst>
          </p:cNvPr>
          <p:cNvSpPr/>
          <p:nvPr/>
        </p:nvSpPr>
        <p:spPr>
          <a:xfrm>
            <a:off x="6880225" y="5726113"/>
            <a:ext cx="642938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rting a Business</a:t>
            </a:r>
          </a:p>
        </p:txBody>
      </p:sp>
      <p:pic>
        <p:nvPicPr>
          <p:cNvPr id="23622" name="Picture 3">
            <a:extLst>
              <a:ext uri="{FF2B5EF4-FFF2-40B4-BE49-F238E27FC236}">
                <a16:creationId xmlns:a16="http://schemas.microsoft.com/office/drawing/2014/main" id="{53FAD0C6-8FFE-437B-B7E4-F2A938D3BE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350" y="5249863"/>
            <a:ext cx="41910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23" name="Freeform 15">
            <a:extLst>
              <a:ext uri="{FF2B5EF4-FFF2-40B4-BE49-F238E27FC236}">
                <a16:creationId xmlns:a16="http://schemas.microsoft.com/office/drawing/2014/main" id="{183A3C8B-011E-4D99-9165-3FF03A2D3207}"/>
              </a:ext>
            </a:extLst>
          </p:cNvPr>
          <p:cNvSpPr>
            <a:spLocks noEditPoints="1"/>
          </p:cNvSpPr>
          <p:nvPr/>
        </p:nvSpPr>
        <p:spPr bwMode="auto">
          <a:xfrm>
            <a:off x="9093200" y="5257800"/>
            <a:ext cx="276225" cy="347663"/>
          </a:xfrm>
          <a:custGeom>
            <a:avLst/>
            <a:gdLst>
              <a:gd name="T0" fmla="*/ 2147483646 w 3556"/>
              <a:gd name="T1" fmla="*/ 2147483646 h 3950"/>
              <a:gd name="T2" fmla="*/ 2147483646 w 3556"/>
              <a:gd name="T3" fmla="*/ 2147483646 h 3950"/>
              <a:gd name="T4" fmla="*/ 2147483646 w 3556"/>
              <a:gd name="T5" fmla="*/ 2147483646 h 3950"/>
              <a:gd name="T6" fmla="*/ 2147483646 w 3556"/>
              <a:gd name="T7" fmla="*/ 2147483646 h 3950"/>
              <a:gd name="T8" fmla="*/ 2147483646 w 3556"/>
              <a:gd name="T9" fmla="*/ 2147483646 h 3950"/>
              <a:gd name="T10" fmla="*/ 2147483646 w 3556"/>
              <a:gd name="T11" fmla="*/ 2147483646 h 3950"/>
              <a:gd name="T12" fmla="*/ 2147483646 w 3556"/>
              <a:gd name="T13" fmla="*/ 2147483646 h 3950"/>
              <a:gd name="T14" fmla="*/ 2147483646 w 3556"/>
              <a:gd name="T15" fmla="*/ 2147483646 h 3950"/>
              <a:gd name="T16" fmla="*/ 2147483646 w 3556"/>
              <a:gd name="T17" fmla="*/ 2147483646 h 3950"/>
              <a:gd name="T18" fmla="*/ 2147483646 w 3556"/>
              <a:gd name="T19" fmla="*/ 2147483646 h 3950"/>
              <a:gd name="T20" fmla="*/ 2147483646 w 3556"/>
              <a:gd name="T21" fmla="*/ 2147483646 h 3950"/>
              <a:gd name="T22" fmla="*/ 0 w 3556"/>
              <a:gd name="T23" fmla="*/ 2147483646 h 3950"/>
              <a:gd name="T24" fmla="*/ 2147483646 w 3556"/>
              <a:gd name="T25" fmla="*/ 2147483646 h 3950"/>
              <a:gd name="T26" fmla="*/ 2147483646 w 3556"/>
              <a:gd name="T27" fmla="*/ 2147483646 h 3950"/>
              <a:gd name="T28" fmla="*/ 2147483646 w 3556"/>
              <a:gd name="T29" fmla="*/ 2147483646 h 3950"/>
              <a:gd name="T30" fmla="*/ 2147483646 w 3556"/>
              <a:gd name="T31" fmla="*/ 2147483646 h 3950"/>
              <a:gd name="T32" fmla="*/ 2147483646 w 3556"/>
              <a:gd name="T33" fmla="*/ 2147483646 h 3950"/>
              <a:gd name="T34" fmla="*/ 2147483646 w 3556"/>
              <a:gd name="T35" fmla="*/ 2147483646 h 3950"/>
              <a:gd name="T36" fmla="*/ 2147483646 w 3556"/>
              <a:gd name="T37" fmla="*/ 2147483646 h 3950"/>
              <a:gd name="T38" fmla="*/ 2147483646 w 3556"/>
              <a:gd name="T39" fmla="*/ 2147483646 h 3950"/>
              <a:gd name="T40" fmla="*/ 2147483646 w 3556"/>
              <a:gd name="T41" fmla="*/ 2147483646 h 3950"/>
              <a:gd name="T42" fmla="*/ 2147483646 w 3556"/>
              <a:gd name="T43" fmla="*/ 2147483646 h 3950"/>
              <a:gd name="T44" fmla="*/ 2147483646 w 3556"/>
              <a:gd name="T45" fmla="*/ 2147483646 h 3950"/>
              <a:gd name="T46" fmla="*/ 2147483646 w 3556"/>
              <a:gd name="T47" fmla="*/ 2147483646 h 3950"/>
              <a:gd name="T48" fmla="*/ 2147483646 w 3556"/>
              <a:gd name="T49" fmla="*/ 2147483646 h 3950"/>
              <a:gd name="T50" fmla="*/ 2147483646 w 3556"/>
              <a:gd name="T51" fmla="*/ 2147483646 h 3950"/>
              <a:gd name="T52" fmla="*/ 2147483646 w 3556"/>
              <a:gd name="T53" fmla="*/ 2147483646 h 3950"/>
              <a:gd name="T54" fmla="*/ 2147483646 w 3556"/>
              <a:gd name="T55" fmla="*/ 2147483646 h 3950"/>
              <a:gd name="T56" fmla="*/ 2147483646 w 3556"/>
              <a:gd name="T57" fmla="*/ 2147483646 h 3950"/>
              <a:gd name="T58" fmla="*/ 2147483646 w 3556"/>
              <a:gd name="T59" fmla="*/ 2147483646 h 3950"/>
              <a:gd name="T60" fmla="*/ 2147483646 w 3556"/>
              <a:gd name="T61" fmla="*/ 2147483646 h 3950"/>
              <a:gd name="T62" fmla="*/ 2147483646 w 3556"/>
              <a:gd name="T63" fmla="*/ 2147483646 h 3950"/>
              <a:gd name="T64" fmla="*/ 2147483646 w 3556"/>
              <a:gd name="T65" fmla="*/ 2147483646 h 3950"/>
              <a:gd name="T66" fmla="*/ 2147483646 w 3556"/>
              <a:gd name="T67" fmla="*/ 2147483646 h 3950"/>
              <a:gd name="T68" fmla="*/ 2147483646 w 3556"/>
              <a:gd name="T69" fmla="*/ 2147483646 h 3950"/>
              <a:gd name="T70" fmla="*/ 2147483646 w 3556"/>
              <a:gd name="T71" fmla="*/ 2147483646 h 3950"/>
              <a:gd name="T72" fmla="*/ 2147483646 w 3556"/>
              <a:gd name="T73" fmla="*/ 2147483646 h 3950"/>
              <a:gd name="T74" fmla="*/ 2147483646 w 3556"/>
              <a:gd name="T75" fmla="*/ 2147483646 h 3950"/>
              <a:gd name="T76" fmla="*/ 2147483646 w 3556"/>
              <a:gd name="T77" fmla="*/ 2147483646 h 3950"/>
              <a:gd name="T78" fmla="*/ 2147483646 w 3556"/>
              <a:gd name="T79" fmla="*/ 2147483646 h 3950"/>
              <a:gd name="T80" fmla="*/ 2147483646 w 3556"/>
              <a:gd name="T81" fmla="*/ 0 h 3950"/>
              <a:gd name="T82" fmla="*/ 2147483646 w 3556"/>
              <a:gd name="T83" fmla="*/ 2147483646 h 3950"/>
              <a:gd name="T84" fmla="*/ 2147483646 w 3556"/>
              <a:gd name="T85" fmla="*/ 2147483646 h 3950"/>
              <a:gd name="T86" fmla="*/ 2147483646 w 3556"/>
              <a:gd name="T87" fmla="*/ 2147483646 h 395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556"/>
              <a:gd name="T133" fmla="*/ 0 h 3950"/>
              <a:gd name="T134" fmla="*/ 3556 w 3556"/>
              <a:gd name="T135" fmla="*/ 3950 h 395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556" h="3950">
                <a:moveTo>
                  <a:pt x="909" y="3917"/>
                </a:moveTo>
                <a:cubicBezTo>
                  <a:pt x="824" y="3832"/>
                  <a:pt x="894" y="3725"/>
                  <a:pt x="1036" y="3725"/>
                </a:cubicBezTo>
                <a:cubicBezTo>
                  <a:pt x="1119" y="3725"/>
                  <a:pt x="1129" y="3717"/>
                  <a:pt x="1129" y="3645"/>
                </a:cubicBezTo>
                <a:cubicBezTo>
                  <a:pt x="1129" y="3472"/>
                  <a:pt x="1135" y="3471"/>
                  <a:pt x="2192" y="3471"/>
                </a:cubicBezTo>
                <a:cubicBezTo>
                  <a:pt x="3086" y="3471"/>
                  <a:pt x="3155" y="3475"/>
                  <a:pt x="3199" y="3523"/>
                </a:cubicBezTo>
                <a:cubicBezTo>
                  <a:pt x="3225" y="3551"/>
                  <a:pt x="3246" y="3608"/>
                  <a:pt x="3246" y="3648"/>
                </a:cubicBezTo>
                <a:cubicBezTo>
                  <a:pt x="3246" y="3712"/>
                  <a:pt x="3259" y="3723"/>
                  <a:pt x="3349" y="3730"/>
                </a:cubicBezTo>
                <a:cubicBezTo>
                  <a:pt x="3470" y="3741"/>
                  <a:pt x="3530" y="3811"/>
                  <a:pt x="3482" y="3887"/>
                </a:cubicBezTo>
                <a:cubicBezTo>
                  <a:pt x="3453" y="3933"/>
                  <a:pt x="3356" y="3937"/>
                  <a:pt x="2197" y="3944"/>
                </a:cubicBezTo>
                <a:cubicBezTo>
                  <a:pt x="1245" y="3950"/>
                  <a:pt x="935" y="3943"/>
                  <a:pt x="909" y="3917"/>
                </a:cubicBezTo>
                <a:close/>
                <a:moveTo>
                  <a:pt x="87" y="3370"/>
                </a:moveTo>
                <a:cubicBezTo>
                  <a:pt x="24" y="3317"/>
                  <a:pt x="0" y="3272"/>
                  <a:pt x="0" y="3209"/>
                </a:cubicBezTo>
                <a:cubicBezTo>
                  <a:pt x="0" y="3132"/>
                  <a:pt x="86" y="3035"/>
                  <a:pt x="705" y="2414"/>
                </a:cubicBezTo>
                <a:lnTo>
                  <a:pt x="1411" y="1706"/>
                </a:lnTo>
                <a:lnTo>
                  <a:pt x="1235" y="1530"/>
                </a:lnTo>
                <a:lnTo>
                  <a:pt x="1059" y="1355"/>
                </a:lnTo>
                <a:lnTo>
                  <a:pt x="1510" y="903"/>
                </a:lnTo>
                <a:lnTo>
                  <a:pt x="1960" y="452"/>
                </a:lnTo>
                <a:lnTo>
                  <a:pt x="2135" y="624"/>
                </a:lnTo>
                <a:cubicBezTo>
                  <a:pt x="2305" y="793"/>
                  <a:pt x="2310" y="796"/>
                  <a:pt x="2374" y="751"/>
                </a:cubicBezTo>
                <a:cubicBezTo>
                  <a:pt x="2469" y="685"/>
                  <a:pt x="2547" y="695"/>
                  <a:pt x="2633" y="785"/>
                </a:cubicBezTo>
                <a:cubicBezTo>
                  <a:pt x="2720" y="875"/>
                  <a:pt x="2731" y="974"/>
                  <a:pt x="2662" y="1050"/>
                </a:cubicBezTo>
                <a:cubicBezTo>
                  <a:pt x="2616" y="1100"/>
                  <a:pt x="2624" y="1112"/>
                  <a:pt x="2823" y="1313"/>
                </a:cubicBezTo>
                <a:lnTo>
                  <a:pt x="3033" y="1524"/>
                </a:lnTo>
                <a:lnTo>
                  <a:pt x="2582" y="1975"/>
                </a:lnTo>
                <a:lnTo>
                  <a:pt x="2132" y="2427"/>
                </a:lnTo>
                <a:lnTo>
                  <a:pt x="1933" y="2229"/>
                </a:lnTo>
                <a:cubicBezTo>
                  <a:pt x="1824" y="2121"/>
                  <a:pt x="1722" y="2032"/>
                  <a:pt x="1707" y="2032"/>
                </a:cubicBezTo>
                <a:cubicBezTo>
                  <a:pt x="1693" y="2032"/>
                  <a:pt x="1362" y="2349"/>
                  <a:pt x="973" y="2737"/>
                </a:cubicBezTo>
                <a:cubicBezTo>
                  <a:pt x="584" y="3125"/>
                  <a:pt x="245" y="3443"/>
                  <a:pt x="220" y="3443"/>
                </a:cubicBezTo>
                <a:cubicBezTo>
                  <a:pt x="194" y="3443"/>
                  <a:pt x="135" y="3410"/>
                  <a:pt x="87" y="3370"/>
                </a:cubicBezTo>
                <a:close/>
                <a:moveTo>
                  <a:pt x="2258" y="2887"/>
                </a:moveTo>
                <a:cubicBezTo>
                  <a:pt x="2196" y="2865"/>
                  <a:pt x="2145" y="2792"/>
                  <a:pt x="2145" y="2725"/>
                </a:cubicBezTo>
                <a:cubicBezTo>
                  <a:pt x="2145" y="2686"/>
                  <a:pt x="2337" y="2474"/>
                  <a:pt x="2703" y="2109"/>
                </a:cubicBezTo>
                <a:cubicBezTo>
                  <a:pt x="3289" y="1523"/>
                  <a:pt x="3346" y="1485"/>
                  <a:pt x="3453" y="1604"/>
                </a:cubicBezTo>
                <a:cubicBezTo>
                  <a:pt x="3556" y="1717"/>
                  <a:pt x="3522" y="1766"/>
                  <a:pt x="2956" y="2331"/>
                </a:cubicBezTo>
                <a:cubicBezTo>
                  <a:pt x="2657" y="2630"/>
                  <a:pt x="2388" y="2880"/>
                  <a:pt x="2357" y="2888"/>
                </a:cubicBezTo>
                <a:cubicBezTo>
                  <a:pt x="2326" y="2895"/>
                  <a:pt x="2281" y="2895"/>
                  <a:pt x="2258" y="2887"/>
                </a:cubicBezTo>
                <a:close/>
                <a:moveTo>
                  <a:pt x="637" y="1282"/>
                </a:moveTo>
                <a:cubicBezTo>
                  <a:pt x="528" y="1172"/>
                  <a:pt x="568" y="1113"/>
                  <a:pt x="1137" y="544"/>
                </a:cubicBezTo>
                <a:cubicBezTo>
                  <a:pt x="1607" y="74"/>
                  <a:pt x="1693" y="0"/>
                  <a:pt x="1767" y="0"/>
                </a:cubicBezTo>
                <a:cubicBezTo>
                  <a:pt x="1862" y="0"/>
                  <a:pt x="1947" y="73"/>
                  <a:pt x="1947" y="156"/>
                </a:cubicBezTo>
                <a:cubicBezTo>
                  <a:pt x="1947" y="186"/>
                  <a:pt x="1715" y="442"/>
                  <a:pt x="1391" y="767"/>
                </a:cubicBezTo>
                <a:cubicBezTo>
                  <a:pt x="808" y="1353"/>
                  <a:pt x="749" y="1393"/>
                  <a:pt x="637" y="12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" name="Group 118">
            <a:extLst>
              <a:ext uri="{FF2B5EF4-FFF2-40B4-BE49-F238E27FC236}">
                <a16:creationId xmlns:a16="http://schemas.microsoft.com/office/drawing/2014/main" id="{FB3D6A90-C4FD-433A-A1C1-A4B3864804A5}"/>
              </a:ext>
            </a:extLst>
          </p:cNvPr>
          <p:cNvGrpSpPr/>
          <p:nvPr/>
        </p:nvGrpSpPr>
        <p:grpSpPr>
          <a:xfrm>
            <a:off x="8409631" y="5248358"/>
            <a:ext cx="346498" cy="347472"/>
            <a:chOff x="1468138" y="5997240"/>
            <a:chExt cx="283642" cy="307072"/>
          </a:xfrm>
          <a:solidFill>
            <a:schemeClr val="bg1"/>
          </a:solidFill>
        </p:grpSpPr>
        <p:sp>
          <p:nvSpPr>
            <p:cNvPr id="120" name="Freeform 16">
              <a:extLst>
                <a:ext uri="{FF2B5EF4-FFF2-40B4-BE49-F238E27FC236}">
                  <a16:creationId xmlns:a16="http://schemas.microsoft.com/office/drawing/2014/main" id="{D6134FC8-4249-4088-8AE8-003C8AAC7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6136" y="6255221"/>
              <a:ext cx="26428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1 w 349"/>
                <a:gd name="T25" fmla="*/ 226 h 350"/>
                <a:gd name="T26" fmla="*/ 225 w 349"/>
                <a:gd name="T27" fmla="*/ 213 h 350"/>
                <a:gd name="T28" fmla="*/ 234 w 349"/>
                <a:gd name="T29" fmla="*/ 194 h 350"/>
                <a:gd name="T30" fmla="*/ 237 w 349"/>
                <a:gd name="T31" fmla="*/ 175 h 350"/>
                <a:gd name="T32" fmla="*/ 235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5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4 w 349"/>
                <a:gd name="T47" fmla="*/ 3 h 350"/>
                <a:gd name="T48" fmla="*/ 234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8 w 349"/>
                <a:gd name="T55" fmla="*/ 63 h 350"/>
                <a:gd name="T56" fmla="*/ 325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5 w 349"/>
                <a:gd name="T65" fmla="*/ 210 h 350"/>
                <a:gd name="T66" fmla="*/ 335 w 349"/>
                <a:gd name="T67" fmla="*/ 243 h 350"/>
                <a:gd name="T68" fmla="*/ 319 w 349"/>
                <a:gd name="T69" fmla="*/ 273 h 350"/>
                <a:gd name="T70" fmla="*/ 297 w 349"/>
                <a:gd name="T71" fmla="*/ 299 h 350"/>
                <a:gd name="T72" fmla="*/ 272 w 349"/>
                <a:gd name="T73" fmla="*/ 319 h 350"/>
                <a:gd name="T74" fmla="*/ 242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39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29 w 349"/>
                <a:gd name="T89" fmla="*/ 273 h 350"/>
                <a:gd name="T90" fmla="*/ 14 w 349"/>
                <a:gd name="T91" fmla="*/ 243 h 350"/>
                <a:gd name="T92" fmla="*/ 3 w 349"/>
                <a:gd name="T93" fmla="*/ 210 h 350"/>
                <a:gd name="T94" fmla="*/ 0 w 349"/>
                <a:gd name="T95" fmla="*/ 175 h 350"/>
                <a:gd name="T96" fmla="*/ 3 w 349"/>
                <a:gd name="T97" fmla="*/ 140 h 350"/>
                <a:gd name="T98" fmla="*/ 14 w 349"/>
                <a:gd name="T99" fmla="*/ 107 h 350"/>
                <a:gd name="T100" fmla="*/ 29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39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1" y="226"/>
                  </a:lnTo>
                  <a:lnTo>
                    <a:pt x="225" y="213"/>
                  </a:lnTo>
                  <a:lnTo>
                    <a:pt x="234" y="194"/>
                  </a:lnTo>
                  <a:lnTo>
                    <a:pt x="237" y="175"/>
                  </a:lnTo>
                  <a:lnTo>
                    <a:pt x="235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5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4" y="3"/>
                  </a:lnTo>
                  <a:lnTo>
                    <a:pt x="234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8" y="63"/>
                  </a:lnTo>
                  <a:lnTo>
                    <a:pt x="325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5" y="210"/>
                  </a:lnTo>
                  <a:lnTo>
                    <a:pt x="335" y="243"/>
                  </a:lnTo>
                  <a:lnTo>
                    <a:pt x="319" y="273"/>
                  </a:lnTo>
                  <a:lnTo>
                    <a:pt x="297" y="299"/>
                  </a:lnTo>
                  <a:lnTo>
                    <a:pt x="272" y="319"/>
                  </a:lnTo>
                  <a:lnTo>
                    <a:pt x="242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39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29" y="273"/>
                  </a:lnTo>
                  <a:lnTo>
                    <a:pt x="14" y="243"/>
                  </a:lnTo>
                  <a:lnTo>
                    <a:pt x="3" y="210"/>
                  </a:lnTo>
                  <a:lnTo>
                    <a:pt x="0" y="175"/>
                  </a:lnTo>
                  <a:lnTo>
                    <a:pt x="3" y="140"/>
                  </a:lnTo>
                  <a:lnTo>
                    <a:pt x="14" y="107"/>
                  </a:lnTo>
                  <a:lnTo>
                    <a:pt x="29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39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1" name="Freeform 17">
              <a:extLst>
                <a:ext uri="{FF2B5EF4-FFF2-40B4-BE49-F238E27FC236}">
                  <a16:creationId xmlns:a16="http://schemas.microsoft.com/office/drawing/2014/main" id="{67A5F0B0-C078-4A85-9E32-409FF0B3D5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2133" y="6255221"/>
              <a:ext cx="26656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2 w 349"/>
                <a:gd name="T25" fmla="*/ 226 h 350"/>
                <a:gd name="T26" fmla="*/ 226 w 349"/>
                <a:gd name="T27" fmla="*/ 213 h 350"/>
                <a:gd name="T28" fmla="*/ 235 w 349"/>
                <a:gd name="T29" fmla="*/ 194 h 350"/>
                <a:gd name="T30" fmla="*/ 237 w 349"/>
                <a:gd name="T31" fmla="*/ 175 h 350"/>
                <a:gd name="T32" fmla="*/ 236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7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5 w 349"/>
                <a:gd name="T47" fmla="*/ 3 h 350"/>
                <a:gd name="T48" fmla="*/ 235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9 w 349"/>
                <a:gd name="T55" fmla="*/ 63 h 350"/>
                <a:gd name="T56" fmla="*/ 326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6 w 349"/>
                <a:gd name="T65" fmla="*/ 210 h 350"/>
                <a:gd name="T66" fmla="*/ 336 w 349"/>
                <a:gd name="T67" fmla="*/ 243 h 350"/>
                <a:gd name="T68" fmla="*/ 319 w 349"/>
                <a:gd name="T69" fmla="*/ 273 h 350"/>
                <a:gd name="T70" fmla="*/ 298 w 349"/>
                <a:gd name="T71" fmla="*/ 299 h 350"/>
                <a:gd name="T72" fmla="*/ 272 w 349"/>
                <a:gd name="T73" fmla="*/ 319 h 350"/>
                <a:gd name="T74" fmla="*/ 243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40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30 w 349"/>
                <a:gd name="T89" fmla="*/ 273 h 350"/>
                <a:gd name="T90" fmla="*/ 14 w 349"/>
                <a:gd name="T91" fmla="*/ 243 h 350"/>
                <a:gd name="T92" fmla="*/ 4 w 349"/>
                <a:gd name="T93" fmla="*/ 210 h 350"/>
                <a:gd name="T94" fmla="*/ 0 w 349"/>
                <a:gd name="T95" fmla="*/ 175 h 350"/>
                <a:gd name="T96" fmla="*/ 4 w 349"/>
                <a:gd name="T97" fmla="*/ 140 h 350"/>
                <a:gd name="T98" fmla="*/ 14 w 349"/>
                <a:gd name="T99" fmla="*/ 107 h 350"/>
                <a:gd name="T100" fmla="*/ 30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40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7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7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5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19" y="273"/>
                  </a:lnTo>
                  <a:lnTo>
                    <a:pt x="298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2" name="Freeform 18">
              <a:extLst>
                <a:ext uri="{FF2B5EF4-FFF2-40B4-BE49-F238E27FC236}">
                  <a16:creationId xmlns:a16="http://schemas.microsoft.com/office/drawing/2014/main" id="{BF1784DA-3E40-44FD-998D-DB1DD379C0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8357" y="6255221"/>
              <a:ext cx="26428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7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1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7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8 w 350"/>
                <a:gd name="T31" fmla="*/ 175 h 350"/>
                <a:gd name="T32" fmla="*/ 236 w 350"/>
                <a:gd name="T33" fmla="*/ 158 h 350"/>
                <a:gd name="T34" fmla="*/ 229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7 w 350"/>
                <a:gd name="T53" fmla="*/ 41 h 350"/>
                <a:gd name="T54" fmla="*/ 309 w 350"/>
                <a:gd name="T55" fmla="*/ 63 h 350"/>
                <a:gd name="T56" fmla="*/ 326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2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7 w 350"/>
                <a:gd name="T85" fmla="*/ 319 h 350"/>
                <a:gd name="T86" fmla="*/ 51 w 350"/>
                <a:gd name="T87" fmla="*/ 299 h 350"/>
                <a:gd name="T88" fmla="*/ 30 w 350"/>
                <a:gd name="T89" fmla="*/ 273 h 350"/>
                <a:gd name="T90" fmla="*/ 14 w 350"/>
                <a:gd name="T91" fmla="*/ 243 h 350"/>
                <a:gd name="T92" fmla="*/ 4 w 350"/>
                <a:gd name="T93" fmla="*/ 210 h 350"/>
                <a:gd name="T94" fmla="*/ 0 w 350"/>
                <a:gd name="T95" fmla="*/ 175 h 350"/>
                <a:gd name="T96" fmla="*/ 4 w 350"/>
                <a:gd name="T97" fmla="*/ 140 h 350"/>
                <a:gd name="T98" fmla="*/ 14 w 350"/>
                <a:gd name="T99" fmla="*/ 107 h 350"/>
                <a:gd name="T100" fmla="*/ 30 w 350"/>
                <a:gd name="T101" fmla="*/ 78 h 350"/>
                <a:gd name="T102" fmla="*/ 51 w 350"/>
                <a:gd name="T103" fmla="*/ 52 h 350"/>
                <a:gd name="T104" fmla="*/ 77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8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3" name="Freeform 19">
              <a:extLst>
                <a:ext uri="{FF2B5EF4-FFF2-40B4-BE49-F238E27FC236}">
                  <a16:creationId xmlns:a16="http://schemas.microsoft.com/office/drawing/2014/main" id="{FF26547B-24B3-4108-8095-A2794E966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4353" y="6255221"/>
              <a:ext cx="26656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8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3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8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9 w 350"/>
                <a:gd name="T31" fmla="*/ 175 h 350"/>
                <a:gd name="T32" fmla="*/ 236 w 350"/>
                <a:gd name="T33" fmla="*/ 158 h 350"/>
                <a:gd name="T34" fmla="*/ 231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8 w 350"/>
                <a:gd name="T53" fmla="*/ 41 h 350"/>
                <a:gd name="T54" fmla="*/ 309 w 350"/>
                <a:gd name="T55" fmla="*/ 63 h 350"/>
                <a:gd name="T56" fmla="*/ 327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3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8 w 350"/>
                <a:gd name="T85" fmla="*/ 319 h 350"/>
                <a:gd name="T86" fmla="*/ 53 w 350"/>
                <a:gd name="T87" fmla="*/ 299 h 350"/>
                <a:gd name="T88" fmla="*/ 31 w 350"/>
                <a:gd name="T89" fmla="*/ 273 h 350"/>
                <a:gd name="T90" fmla="*/ 15 w 350"/>
                <a:gd name="T91" fmla="*/ 243 h 350"/>
                <a:gd name="T92" fmla="*/ 5 w 350"/>
                <a:gd name="T93" fmla="*/ 210 h 350"/>
                <a:gd name="T94" fmla="*/ 0 w 350"/>
                <a:gd name="T95" fmla="*/ 175 h 350"/>
                <a:gd name="T96" fmla="*/ 5 w 350"/>
                <a:gd name="T97" fmla="*/ 140 h 350"/>
                <a:gd name="T98" fmla="*/ 15 w 350"/>
                <a:gd name="T99" fmla="*/ 107 h 350"/>
                <a:gd name="T100" fmla="*/ 31 w 350"/>
                <a:gd name="T101" fmla="*/ 78 h 350"/>
                <a:gd name="T102" fmla="*/ 53 w 350"/>
                <a:gd name="T103" fmla="*/ 52 h 350"/>
                <a:gd name="T104" fmla="*/ 78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8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3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8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9" y="175"/>
                  </a:lnTo>
                  <a:lnTo>
                    <a:pt x="236" y="158"/>
                  </a:lnTo>
                  <a:lnTo>
                    <a:pt x="231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8" y="41"/>
                  </a:lnTo>
                  <a:lnTo>
                    <a:pt x="309" y="63"/>
                  </a:lnTo>
                  <a:lnTo>
                    <a:pt x="327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3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8" y="319"/>
                  </a:lnTo>
                  <a:lnTo>
                    <a:pt x="53" y="299"/>
                  </a:lnTo>
                  <a:lnTo>
                    <a:pt x="31" y="273"/>
                  </a:lnTo>
                  <a:lnTo>
                    <a:pt x="15" y="243"/>
                  </a:lnTo>
                  <a:lnTo>
                    <a:pt x="5" y="210"/>
                  </a:lnTo>
                  <a:lnTo>
                    <a:pt x="0" y="175"/>
                  </a:lnTo>
                  <a:lnTo>
                    <a:pt x="5" y="140"/>
                  </a:lnTo>
                  <a:lnTo>
                    <a:pt x="15" y="107"/>
                  </a:lnTo>
                  <a:lnTo>
                    <a:pt x="31" y="78"/>
                  </a:lnTo>
                  <a:lnTo>
                    <a:pt x="53" y="52"/>
                  </a:lnTo>
                  <a:lnTo>
                    <a:pt x="78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4" name="Freeform 20">
              <a:extLst>
                <a:ext uri="{FF2B5EF4-FFF2-40B4-BE49-F238E27FC236}">
                  <a16:creationId xmlns:a16="http://schemas.microsoft.com/office/drawing/2014/main" id="{6F553FA1-4728-401A-8C20-F18E165CA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80832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2 h 111"/>
                <a:gd name="T10" fmla="*/ 168 w 171"/>
                <a:gd name="T11" fmla="*/ 37 h 111"/>
                <a:gd name="T12" fmla="*/ 171 w 171"/>
                <a:gd name="T13" fmla="*/ 55 h 111"/>
                <a:gd name="T14" fmla="*/ 168 w 171"/>
                <a:gd name="T15" fmla="*/ 72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8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8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2 h 111"/>
                <a:gd name="T34" fmla="*/ 0 w 171"/>
                <a:gd name="T35" fmla="*/ 55 h 111"/>
                <a:gd name="T36" fmla="*/ 2 w 171"/>
                <a:gd name="T37" fmla="*/ 37 h 111"/>
                <a:gd name="T38" fmla="*/ 10 w 171"/>
                <a:gd name="T39" fmla="*/ 22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2"/>
                  </a:lnTo>
                  <a:lnTo>
                    <a:pt x="168" y="37"/>
                  </a:lnTo>
                  <a:lnTo>
                    <a:pt x="171" y="55"/>
                  </a:lnTo>
                  <a:lnTo>
                    <a:pt x="168" y="72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8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8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2"/>
                  </a:lnTo>
                  <a:lnTo>
                    <a:pt x="0" y="55"/>
                  </a:lnTo>
                  <a:lnTo>
                    <a:pt x="2" y="37"/>
                  </a:lnTo>
                  <a:lnTo>
                    <a:pt x="10" y="22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5" name="Freeform 21">
              <a:extLst>
                <a:ext uri="{FF2B5EF4-FFF2-40B4-BE49-F238E27FC236}">
                  <a16:creationId xmlns:a16="http://schemas.microsoft.com/office/drawing/2014/main" id="{2A783787-5E9B-43C9-9BF4-073950C97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95860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3 h 111"/>
                <a:gd name="T10" fmla="*/ 168 w 171"/>
                <a:gd name="T11" fmla="*/ 38 h 111"/>
                <a:gd name="T12" fmla="*/ 171 w 171"/>
                <a:gd name="T13" fmla="*/ 55 h 111"/>
                <a:gd name="T14" fmla="*/ 168 w 171"/>
                <a:gd name="T15" fmla="*/ 74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9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9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4 h 111"/>
                <a:gd name="T34" fmla="*/ 0 w 171"/>
                <a:gd name="T35" fmla="*/ 55 h 111"/>
                <a:gd name="T36" fmla="*/ 2 w 171"/>
                <a:gd name="T37" fmla="*/ 38 h 111"/>
                <a:gd name="T38" fmla="*/ 10 w 171"/>
                <a:gd name="T39" fmla="*/ 23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3"/>
                  </a:lnTo>
                  <a:lnTo>
                    <a:pt x="168" y="38"/>
                  </a:lnTo>
                  <a:lnTo>
                    <a:pt x="171" y="55"/>
                  </a:lnTo>
                  <a:lnTo>
                    <a:pt x="168" y="74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9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9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4"/>
                  </a:lnTo>
                  <a:lnTo>
                    <a:pt x="0" y="55"/>
                  </a:lnTo>
                  <a:lnTo>
                    <a:pt x="2" y="38"/>
                  </a:lnTo>
                  <a:lnTo>
                    <a:pt x="10" y="23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6" name="Freeform 22">
              <a:extLst>
                <a:ext uri="{FF2B5EF4-FFF2-40B4-BE49-F238E27FC236}">
                  <a16:creationId xmlns:a16="http://schemas.microsoft.com/office/drawing/2014/main" id="{6465D05A-ED22-49B3-924E-6DFC4C8C8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8138" y="5997240"/>
              <a:ext cx="283642" cy="307072"/>
            </a:xfrm>
            <a:custGeom>
              <a:avLst/>
              <a:gdLst>
                <a:gd name="T0" fmla="*/ 185 w 3736"/>
                <a:gd name="T1" fmla="*/ 3069 h 3678"/>
                <a:gd name="T2" fmla="*/ 125 w 3736"/>
                <a:gd name="T3" fmla="*/ 3352 h 3678"/>
                <a:gd name="T4" fmla="*/ 325 w 3736"/>
                <a:gd name="T5" fmla="*/ 3554 h 3678"/>
                <a:gd name="T6" fmla="*/ 2002 w 3736"/>
                <a:gd name="T7" fmla="*/ 3518 h 3678"/>
                <a:gd name="T8" fmla="*/ 2140 w 3736"/>
                <a:gd name="T9" fmla="*/ 3266 h 3678"/>
                <a:gd name="T10" fmla="*/ 2002 w 3736"/>
                <a:gd name="T11" fmla="*/ 3013 h 3678"/>
                <a:gd name="T12" fmla="*/ 943 w 3736"/>
                <a:gd name="T13" fmla="*/ 2853 h 3678"/>
                <a:gd name="T14" fmla="*/ 2970 w 3736"/>
                <a:gd name="T15" fmla="*/ 2765 h 3678"/>
                <a:gd name="T16" fmla="*/ 3240 w 3736"/>
                <a:gd name="T17" fmla="*/ 2787 h 3678"/>
                <a:gd name="T18" fmla="*/ 3506 w 3736"/>
                <a:gd name="T19" fmla="*/ 2599 h 3678"/>
                <a:gd name="T20" fmla="*/ 302 w 3736"/>
                <a:gd name="T21" fmla="*/ 2099 h 3678"/>
                <a:gd name="T22" fmla="*/ 333 w 3736"/>
                <a:gd name="T23" fmla="*/ 2613 h 3678"/>
                <a:gd name="T24" fmla="*/ 3524 w 3736"/>
                <a:gd name="T25" fmla="*/ 1966 h 3678"/>
                <a:gd name="T26" fmla="*/ 3542 w 3736"/>
                <a:gd name="T27" fmla="*/ 2077 h 3678"/>
                <a:gd name="T28" fmla="*/ 3622 w 3736"/>
                <a:gd name="T29" fmla="*/ 1998 h 3678"/>
                <a:gd name="T30" fmla="*/ 893 w 3736"/>
                <a:gd name="T31" fmla="*/ 1458 h 3678"/>
                <a:gd name="T32" fmla="*/ 1843 w 3736"/>
                <a:gd name="T33" fmla="*/ 2616 h 3678"/>
                <a:gd name="T34" fmla="*/ 1132 w 3736"/>
                <a:gd name="T35" fmla="*/ 2414 h 3678"/>
                <a:gd name="T36" fmla="*/ 954 w 3736"/>
                <a:gd name="T37" fmla="*/ 2256 h 3678"/>
                <a:gd name="T38" fmla="*/ 1082 w 3736"/>
                <a:gd name="T39" fmla="*/ 2271 h 3678"/>
                <a:gd name="T40" fmla="*/ 1271 w 3736"/>
                <a:gd name="T41" fmla="*/ 1557 h 3678"/>
                <a:gd name="T42" fmla="*/ 1360 w 3736"/>
                <a:gd name="T43" fmla="*/ 1601 h 3678"/>
                <a:gd name="T44" fmla="*/ 1958 w 3736"/>
                <a:gd name="T45" fmla="*/ 2171 h 3678"/>
                <a:gd name="T46" fmla="*/ 1525 w 3736"/>
                <a:gd name="T47" fmla="*/ 1457 h 3678"/>
                <a:gd name="T48" fmla="*/ 2749 w 3736"/>
                <a:gd name="T49" fmla="*/ 361 h 3678"/>
                <a:gd name="T50" fmla="*/ 3541 w 3736"/>
                <a:gd name="T51" fmla="*/ 1844 h 3678"/>
                <a:gd name="T52" fmla="*/ 1658 w 3736"/>
                <a:gd name="T53" fmla="*/ 1439 h 3678"/>
                <a:gd name="T54" fmla="*/ 2419 w 3736"/>
                <a:gd name="T55" fmla="*/ 427 h 3678"/>
                <a:gd name="T56" fmla="*/ 2498 w 3736"/>
                <a:gd name="T57" fmla="*/ 124 h 3678"/>
                <a:gd name="T58" fmla="*/ 2441 w 3736"/>
                <a:gd name="T59" fmla="*/ 287 h 3678"/>
                <a:gd name="T60" fmla="*/ 2599 w 3736"/>
                <a:gd name="T61" fmla="*/ 347 h 3678"/>
                <a:gd name="T62" fmla="*/ 2672 w 3736"/>
                <a:gd name="T63" fmla="*/ 256 h 3678"/>
                <a:gd name="T64" fmla="*/ 2625 w 3736"/>
                <a:gd name="T65" fmla="*/ 136 h 3678"/>
                <a:gd name="T66" fmla="*/ 2665 w 3736"/>
                <a:gd name="T67" fmla="*/ 28 h 3678"/>
                <a:gd name="T68" fmla="*/ 3734 w 3736"/>
                <a:gd name="T69" fmla="*/ 1986 h 3678"/>
                <a:gd name="T70" fmla="*/ 3646 w 3736"/>
                <a:gd name="T71" fmla="*/ 2170 h 3678"/>
                <a:gd name="T72" fmla="*/ 3580 w 3736"/>
                <a:gd name="T73" fmla="*/ 2724 h 3678"/>
                <a:gd name="T74" fmla="*/ 3180 w 3736"/>
                <a:gd name="T75" fmla="*/ 2918 h 3678"/>
                <a:gd name="T76" fmla="*/ 2865 w 3736"/>
                <a:gd name="T77" fmla="*/ 2826 h 3678"/>
                <a:gd name="T78" fmla="*/ 2459 w 3736"/>
                <a:gd name="T79" fmla="*/ 2397 h 3678"/>
                <a:gd name="T80" fmla="*/ 3431 w 3736"/>
                <a:gd name="T81" fmla="*/ 2200 h 3678"/>
                <a:gd name="T82" fmla="*/ 3506 w 3736"/>
                <a:gd name="T83" fmla="*/ 2183 h 3678"/>
                <a:gd name="T84" fmla="*/ 1983 w 3736"/>
                <a:gd name="T85" fmla="*/ 1926 h 3678"/>
                <a:gd name="T86" fmla="*/ 2073 w 3736"/>
                <a:gd name="T87" fmla="*/ 2433 h 3678"/>
                <a:gd name="T88" fmla="*/ 2059 w 3736"/>
                <a:gd name="T89" fmla="*/ 2469 h 3678"/>
                <a:gd name="T90" fmla="*/ 2043 w 3736"/>
                <a:gd name="T91" fmla="*/ 2482 h 3678"/>
                <a:gd name="T92" fmla="*/ 2024 w 3736"/>
                <a:gd name="T93" fmla="*/ 2489 h 3678"/>
                <a:gd name="T94" fmla="*/ 1942 w 3736"/>
                <a:gd name="T95" fmla="*/ 2705 h 3678"/>
                <a:gd name="T96" fmla="*/ 1890 w 3736"/>
                <a:gd name="T97" fmla="*/ 2857 h 3678"/>
                <a:gd name="T98" fmla="*/ 2177 w 3736"/>
                <a:gd name="T99" fmla="*/ 3030 h 3678"/>
                <a:gd name="T100" fmla="*/ 2238 w 3736"/>
                <a:gd name="T101" fmla="*/ 3367 h 3678"/>
                <a:gd name="T102" fmla="*/ 2032 w 3736"/>
                <a:gd name="T103" fmla="*/ 3630 h 3678"/>
                <a:gd name="T104" fmla="*/ 311 w 3736"/>
                <a:gd name="T105" fmla="*/ 3666 h 3678"/>
                <a:gd name="T106" fmla="*/ 49 w 3736"/>
                <a:gd name="T107" fmla="*/ 3460 h 3678"/>
                <a:gd name="T108" fmla="*/ 28 w 3736"/>
                <a:gd name="T109" fmla="*/ 3116 h 3678"/>
                <a:gd name="T110" fmla="*/ 263 w 3736"/>
                <a:gd name="T111" fmla="*/ 2882 h 3678"/>
                <a:gd name="T112" fmla="*/ 317 w 3736"/>
                <a:gd name="T113" fmla="*/ 2724 h 3678"/>
                <a:gd name="T114" fmla="*/ 178 w 3736"/>
                <a:gd name="T115" fmla="*/ 2553 h 3678"/>
                <a:gd name="T116" fmla="*/ 284 w 3736"/>
                <a:gd name="T117" fmla="*/ 1975 h 3678"/>
                <a:gd name="T118" fmla="*/ 740 w 3736"/>
                <a:gd name="T119" fmla="*/ 1477 h 3678"/>
                <a:gd name="T120" fmla="*/ 963 w 3736"/>
                <a:gd name="T121" fmla="*/ 1310 h 3678"/>
                <a:gd name="T122" fmla="*/ 2410 w 3736"/>
                <a:gd name="T123" fmla="*/ 48 h 3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6" h="3678">
                  <a:moveTo>
                    <a:pt x="413" y="2964"/>
                  </a:moveTo>
                  <a:lnTo>
                    <a:pt x="367" y="2968"/>
                  </a:lnTo>
                  <a:lnTo>
                    <a:pt x="325" y="2978"/>
                  </a:lnTo>
                  <a:lnTo>
                    <a:pt x="286" y="2993"/>
                  </a:lnTo>
                  <a:lnTo>
                    <a:pt x="248" y="3013"/>
                  </a:lnTo>
                  <a:lnTo>
                    <a:pt x="215" y="3039"/>
                  </a:lnTo>
                  <a:lnTo>
                    <a:pt x="185" y="3069"/>
                  </a:lnTo>
                  <a:lnTo>
                    <a:pt x="160" y="3102"/>
                  </a:lnTo>
                  <a:lnTo>
                    <a:pt x="139" y="3139"/>
                  </a:lnTo>
                  <a:lnTo>
                    <a:pt x="125" y="3179"/>
                  </a:lnTo>
                  <a:lnTo>
                    <a:pt x="114" y="3222"/>
                  </a:lnTo>
                  <a:lnTo>
                    <a:pt x="111" y="3266"/>
                  </a:lnTo>
                  <a:lnTo>
                    <a:pt x="114" y="3310"/>
                  </a:lnTo>
                  <a:lnTo>
                    <a:pt x="125" y="3352"/>
                  </a:lnTo>
                  <a:lnTo>
                    <a:pt x="139" y="3393"/>
                  </a:lnTo>
                  <a:lnTo>
                    <a:pt x="160" y="3430"/>
                  </a:lnTo>
                  <a:lnTo>
                    <a:pt x="185" y="3464"/>
                  </a:lnTo>
                  <a:lnTo>
                    <a:pt x="215" y="3493"/>
                  </a:lnTo>
                  <a:lnTo>
                    <a:pt x="248" y="3518"/>
                  </a:lnTo>
                  <a:lnTo>
                    <a:pt x="286" y="3538"/>
                  </a:lnTo>
                  <a:lnTo>
                    <a:pt x="325" y="3554"/>
                  </a:lnTo>
                  <a:lnTo>
                    <a:pt x="367" y="3563"/>
                  </a:lnTo>
                  <a:lnTo>
                    <a:pt x="413" y="3567"/>
                  </a:lnTo>
                  <a:lnTo>
                    <a:pt x="1838" y="3567"/>
                  </a:lnTo>
                  <a:lnTo>
                    <a:pt x="1882" y="3563"/>
                  </a:lnTo>
                  <a:lnTo>
                    <a:pt x="1925" y="3554"/>
                  </a:lnTo>
                  <a:lnTo>
                    <a:pt x="1965" y="3538"/>
                  </a:lnTo>
                  <a:lnTo>
                    <a:pt x="2002" y="3518"/>
                  </a:lnTo>
                  <a:lnTo>
                    <a:pt x="2035" y="3493"/>
                  </a:lnTo>
                  <a:lnTo>
                    <a:pt x="2065" y="3464"/>
                  </a:lnTo>
                  <a:lnTo>
                    <a:pt x="2091" y="3430"/>
                  </a:lnTo>
                  <a:lnTo>
                    <a:pt x="2111" y="3393"/>
                  </a:lnTo>
                  <a:lnTo>
                    <a:pt x="2126" y="3352"/>
                  </a:lnTo>
                  <a:lnTo>
                    <a:pt x="2136" y="3310"/>
                  </a:lnTo>
                  <a:lnTo>
                    <a:pt x="2140" y="3266"/>
                  </a:lnTo>
                  <a:lnTo>
                    <a:pt x="2136" y="3222"/>
                  </a:lnTo>
                  <a:lnTo>
                    <a:pt x="2126" y="3179"/>
                  </a:lnTo>
                  <a:lnTo>
                    <a:pt x="2111" y="3139"/>
                  </a:lnTo>
                  <a:lnTo>
                    <a:pt x="2091" y="3102"/>
                  </a:lnTo>
                  <a:lnTo>
                    <a:pt x="2065" y="3069"/>
                  </a:lnTo>
                  <a:lnTo>
                    <a:pt x="2035" y="3039"/>
                  </a:lnTo>
                  <a:lnTo>
                    <a:pt x="2002" y="3013"/>
                  </a:lnTo>
                  <a:lnTo>
                    <a:pt x="1965" y="2993"/>
                  </a:lnTo>
                  <a:lnTo>
                    <a:pt x="1925" y="2978"/>
                  </a:lnTo>
                  <a:lnTo>
                    <a:pt x="1882" y="2968"/>
                  </a:lnTo>
                  <a:lnTo>
                    <a:pt x="1838" y="2964"/>
                  </a:lnTo>
                  <a:lnTo>
                    <a:pt x="413" y="2964"/>
                  </a:lnTo>
                  <a:close/>
                  <a:moveTo>
                    <a:pt x="943" y="2727"/>
                  </a:moveTo>
                  <a:lnTo>
                    <a:pt x="943" y="2853"/>
                  </a:lnTo>
                  <a:lnTo>
                    <a:pt x="1307" y="2853"/>
                  </a:lnTo>
                  <a:lnTo>
                    <a:pt x="1307" y="2727"/>
                  </a:lnTo>
                  <a:lnTo>
                    <a:pt x="943" y="2727"/>
                  </a:lnTo>
                  <a:close/>
                  <a:moveTo>
                    <a:pt x="3407" y="2328"/>
                  </a:moveTo>
                  <a:lnTo>
                    <a:pt x="2754" y="2590"/>
                  </a:lnTo>
                  <a:lnTo>
                    <a:pt x="2936" y="2741"/>
                  </a:lnTo>
                  <a:lnTo>
                    <a:pt x="2970" y="2765"/>
                  </a:lnTo>
                  <a:lnTo>
                    <a:pt x="3005" y="2783"/>
                  </a:lnTo>
                  <a:lnTo>
                    <a:pt x="3042" y="2797"/>
                  </a:lnTo>
                  <a:lnTo>
                    <a:pt x="3081" y="2806"/>
                  </a:lnTo>
                  <a:lnTo>
                    <a:pt x="3121" y="2809"/>
                  </a:lnTo>
                  <a:lnTo>
                    <a:pt x="3161" y="2808"/>
                  </a:lnTo>
                  <a:lnTo>
                    <a:pt x="3201" y="2800"/>
                  </a:lnTo>
                  <a:lnTo>
                    <a:pt x="3240" y="2787"/>
                  </a:lnTo>
                  <a:lnTo>
                    <a:pt x="3429" y="2711"/>
                  </a:lnTo>
                  <a:lnTo>
                    <a:pt x="3452" y="2700"/>
                  </a:lnTo>
                  <a:lnTo>
                    <a:pt x="3470" y="2684"/>
                  </a:lnTo>
                  <a:lnTo>
                    <a:pt x="3485" y="2666"/>
                  </a:lnTo>
                  <a:lnTo>
                    <a:pt x="3496" y="2646"/>
                  </a:lnTo>
                  <a:lnTo>
                    <a:pt x="3504" y="2623"/>
                  </a:lnTo>
                  <a:lnTo>
                    <a:pt x="3506" y="2599"/>
                  </a:lnTo>
                  <a:lnTo>
                    <a:pt x="3504" y="2575"/>
                  </a:lnTo>
                  <a:lnTo>
                    <a:pt x="3497" y="2551"/>
                  </a:lnTo>
                  <a:lnTo>
                    <a:pt x="3407" y="2328"/>
                  </a:lnTo>
                  <a:close/>
                  <a:moveTo>
                    <a:pt x="353" y="2073"/>
                  </a:moveTo>
                  <a:lnTo>
                    <a:pt x="333" y="2076"/>
                  </a:lnTo>
                  <a:lnTo>
                    <a:pt x="315" y="2085"/>
                  </a:lnTo>
                  <a:lnTo>
                    <a:pt x="302" y="2099"/>
                  </a:lnTo>
                  <a:lnTo>
                    <a:pt x="292" y="2116"/>
                  </a:lnTo>
                  <a:lnTo>
                    <a:pt x="289" y="2136"/>
                  </a:lnTo>
                  <a:lnTo>
                    <a:pt x="289" y="2553"/>
                  </a:lnTo>
                  <a:lnTo>
                    <a:pt x="292" y="2572"/>
                  </a:lnTo>
                  <a:lnTo>
                    <a:pt x="302" y="2590"/>
                  </a:lnTo>
                  <a:lnTo>
                    <a:pt x="315" y="2604"/>
                  </a:lnTo>
                  <a:lnTo>
                    <a:pt x="333" y="2613"/>
                  </a:lnTo>
                  <a:lnTo>
                    <a:pt x="353" y="2616"/>
                  </a:lnTo>
                  <a:lnTo>
                    <a:pt x="713" y="2616"/>
                  </a:lnTo>
                  <a:lnTo>
                    <a:pt x="713" y="2073"/>
                  </a:lnTo>
                  <a:lnTo>
                    <a:pt x="353" y="2073"/>
                  </a:lnTo>
                  <a:close/>
                  <a:moveTo>
                    <a:pt x="3562" y="1955"/>
                  </a:moveTo>
                  <a:lnTo>
                    <a:pt x="3542" y="1957"/>
                  </a:lnTo>
                  <a:lnTo>
                    <a:pt x="3524" y="1966"/>
                  </a:lnTo>
                  <a:lnTo>
                    <a:pt x="3511" y="1980"/>
                  </a:lnTo>
                  <a:lnTo>
                    <a:pt x="3502" y="1998"/>
                  </a:lnTo>
                  <a:lnTo>
                    <a:pt x="3498" y="2017"/>
                  </a:lnTo>
                  <a:lnTo>
                    <a:pt x="3502" y="2038"/>
                  </a:lnTo>
                  <a:lnTo>
                    <a:pt x="3511" y="2055"/>
                  </a:lnTo>
                  <a:lnTo>
                    <a:pt x="3524" y="2068"/>
                  </a:lnTo>
                  <a:lnTo>
                    <a:pt x="3542" y="2077"/>
                  </a:lnTo>
                  <a:lnTo>
                    <a:pt x="3562" y="2081"/>
                  </a:lnTo>
                  <a:lnTo>
                    <a:pt x="3582" y="2077"/>
                  </a:lnTo>
                  <a:lnTo>
                    <a:pt x="3599" y="2068"/>
                  </a:lnTo>
                  <a:lnTo>
                    <a:pt x="3613" y="2055"/>
                  </a:lnTo>
                  <a:lnTo>
                    <a:pt x="3622" y="2038"/>
                  </a:lnTo>
                  <a:lnTo>
                    <a:pt x="3625" y="2017"/>
                  </a:lnTo>
                  <a:lnTo>
                    <a:pt x="3622" y="1998"/>
                  </a:lnTo>
                  <a:lnTo>
                    <a:pt x="3613" y="1980"/>
                  </a:lnTo>
                  <a:lnTo>
                    <a:pt x="3599" y="1966"/>
                  </a:lnTo>
                  <a:lnTo>
                    <a:pt x="3582" y="1957"/>
                  </a:lnTo>
                  <a:lnTo>
                    <a:pt x="3562" y="1955"/>
                  </a:lnTo>
                  <a:close/>
                  <a:moveTo>
                    <a:pt x="950" y="1428"/>
                  </a:moveTo>
                  <a:lnTo>
                    <a:pt x="921" y="1441"/>
                  </a:lnTo>
                  <a:lnTo>
                    <a:pt x="893" y="1458"/>
                  </a:lnTo>
                  <a:lnTo>
                    <a:pt x="871" y="1481"/>
                  </a:lnTo>
                  <a:lnTo>
                    <a:pt x="851" y="1507"/>
                  </a:lnTo>
                  <a:lnTo>
                    <a:pt x="837" y="1536"/>
                  </a:lnTo>
                  <a:lnTo>
                    <a:pt x="828" y="1568"/>
                  </a:lnTo>
                  <a:lnTo>
                    <a:pt x="824" y="1601"/>
                  </a:lnTo>
                  <a:lnTo>
                    <a:pt x="824" y="2616"/>
                  </a:lnTo>
                  <a:lnTo>
                    <a:pt x="1843" y="2616"/>
                  </a:lnTo>
                  <a:lnTo>
                    <a:pt x="1843" y="2489"/>
                  </a:lnTo>
                  <a:lnTo>
                    <a:pt x="1556" y="2489"/>
                  </a:lnTo>
                  <a:lnTo>
                    <a:pt x="1468" y="2487"/>
                  </a:lnTo>
                  <a:lnTo>
                    <a:pt x="1382" y="2478"/>
                  </a:lnTo>
                  <a:lnTo>
                    <a:pt x="1297" y="2462"/>
                  </a:lnTo>
                  <a:lnTo>
                    <a:pt x="1213" y="2441"/>
                  </a:lnTo>
                  <a:lnTo>
                    <a:pt x="1132" y="2414"/>
                  </a:lnTo>
                  <a:lnTo>
                    <a:pt x="1050" y="2382"/>
                  </a:lnTo>
                  <a:lnTo>
                    <a:pt x="1026" y="2369"/>
                  </a:lnTo>
                  <a:lnTo>
                    <a:pt x="1005" y="2352"/>
                  </a:lnTo>
                  <a:lnTo>
                    <a:pt x="985" y="2331"/>
                  </a:lnTo>
                  <a:lnTo>
                    <a:pt x="971" y="2309"/>
                  </a:lnTo>
                  <a:lnTo>
                    <a:pt x="960" y="2284"/>
                  </a:lnTo>
                  <a:lnTo>
                    <a:pt x="954" y="2256"/>
                  </a:lnTo>
                  <a:lnTo>
                    <a:pt x="950" y="2228"/>
                  </a:lnTo>
                  <a:lnTo>
                    <a:pt x="950" y="1428"/>
                  </a:lnTo>
                  <a:close/>
                  <a:moveTo>
                    <a:pt x="1062" y="1419"/>
                  </a:moveTo>
                  <a:lnTo>
                    <a:pt x="1062" y="2228"/>
                  </a:lnTo>
                  <a:lnTo>
                    <a:pt x="1065" y="2245"/>
                  </a:lnTo>
                  <a:lnTo>
                    <a:pt x="1071" y="2259"/>
                  </a:lnTo>
                  <a:lnTo>
                    <a:pt x="1082" y="2271"/>
                  </a:lnTo>
                  <a:lnTo>
                    <a:pt x="1095" y="2280"/>
                  </a:lnTo>
                  <a:lnTo>
                    <a:pt x="1171" y="2311"/>
                  </a:lnTo>
                  <a:lnTo>
                    <a:pt x="1248" y="2335"/>
                  </a:lnTo>
                  <a:lnTo>
                    <a:pt x="1248" y="1601"/>
                  </a:lnTo>
                  <a:lnTo>
                    <a:pt x="1251" y="1584"/>
                  </a:lnTo>
                  <a:lnTo>
                    <a:pt x="1259" y="1568"/>
                  </a:lnTo>
                  <a:lnTo>
                    <a:pt x="1271" y="1557"/>
                  </a:lnTo>
                  <a:lnTo>
                    <a:pt x="1286" y="1549"/>
                  </a:lnTo>
                  <a:lnTo>
                    <a:pt x="1304" y="1545"/>
                  </a:lnTo>
                  <a:lnTo>
                    <a:pt x="1321" y="1549"/>
                  </a:lnTo>
                  <a:lnTo>
                    <a:pt x="1337" y="1557"/>
                  </a:lnTo>
                  <a:lnTo>
                    <a:pt x="1348" y="1568"/>
                  </a:lnTo>
                  <a:lnTo>
                    <a:pt x="1356" y="1584"/>
                  </a:lnTo>
                  <a:lnTo>
                    <a:pt x="1360" y="1601"/>
                  </a:lnTo>
                  <a:lnTo>
                    <a:pt x="1360" y="2361"/>
                  </a:lnTo>
                  <a:lnTo>
                    <a:pt x="1424" y="2370"/>
                  </a:lnTo>
                  <a:lnTo>
                    <a:pt x="1490" y="2376"/>
                  </a:lnTo>
                  <a:lnTo>
                    <a:pt x="1556" y="2378"/>
                  </a:lnTo>
                  <a:lnTo>
                    <a:pt x="1961" y="2378"/>
                  </a:lnTo>
                  <a:lnTo>
                    <a:pt x="1961" y="2221"/>
                  </a:lnTo>
                  <a:lnTo>
                    <a:pt x="1958" y="2171"/>
                  </a:lnTo>
                  <a:lnTo>
                    <a:pt x="1949" y="2123"/>
                  </a:lnTo>
                  <a:lnTo>
                    <a:pt x="1936" y="2076"/>
                  </a:lnTo>
                  <a:lnTo>
                    <a:pt x="1915" y="2031"/>
                  </a:lnTo>
                  <a:lnTo>
                    <a:pt x="1890" y="1988"/>
                  </a:lnTo>
                  <a:lnTo>
                    <a:pt x="1566" y="1500"/>
                  </a:lnTo>
                  <a:lnTo>
                    <a:pt x="1547" y="1477"/>
                  </a:lnTo>
                  <a:lnTo>
                    <a:pt x="1525" y="1457"/>
                  </a:lnTo>
                  <a:lnTo>
                    <a:pt x="1500" y="1441"/>
                  </a:lnTo>
                  <a:lnTo>
                    <a:pt x="1473" y="1428"/>
                  </a:lnTo>
                  <a:lnTo>
                    <a:pt x="1445" y="1422"/>
                  </a:lnTo>
                  <a:lnTo>
                    <a:pt x="1414" y="1419"/>
                  </a:lnTo>
                  <a:lnTo>
                    <a:pt x="1062" y="1419"/>
                  </a:lnTo>
                  <a:close/>
                  <a:moveTo>
                    <a:pt x="2753" y="353"/>
                  </a:moveTo>
                  <a:lnTo>
                    <a:pt x="2749" y="361"/>
                  </a:lnTo>
                  <a:lnTo>
                    <a:pt x="2571" y="659"/>
                  </a:lnTo>
                  <a:lnTo>
                    <a:pt x="3419" y="1917"/>
                  </a:lnTo>
                  <a:lnTo>
                    <a:pt x="3437" y="1895"/>
                  </a:lnTo>
                  <a:lnTo>
                    <a:pt x="3460" y="1876"/>
                  </a:lnTo>
                  <a:lnTo>
                    <a:pt x="3485" y="1861"/>
                  </a:lnTo>
                  <a:lnTo>
                    <a:pt x="3512" y="1850"/>
                  </a:lnTo>
                  <a:lnTo>
                    <a:pt x="3541" y="1844"/>
                  </a:lnTo>
                  <a:lnTo>
                    <a:pt x="2753" y="353"/>
                  </a:lnTo>
                  <a:close/>
                  <a:moveTo>
                    <a:pt x="2334" y="320"/>
                  </a:moveTo>
                  <a:lnTo>
                    <a:pt x="1562" y="1348"/>
                  </a:lnTo>
                  <a:lnTo>
                    <a:pt x="1590" y="1366"/>
                  </a:lnTo>
                  <a:lnTo>
                    <a:pt x="1616" y="1387"/>
                  </a:lnTo>
                  <a:lnTo>
                    <a:pt x="1638" y="1411"/>
                  </a:lnTo>
                  <a:lnTo>
                    <a:pt x="1658" y="1439"/>
                  </a:lnTo>
                  <a:lnTo>
                    <a:pt x="1827" y="1690"/>
                  </a:lnTo>
                  <a:lnTo>
                    <a:pt x="2555" y="467"/>
                  </a:lnTo>
                  <a:lnTo>
                    <a:pt x="2551" y="467"/>
                  </a:lnTo>
                  <a:lnTo>
                    <a:pt x="2515" y="465"/>
                  </a:lnTo>
                  <a:lnTo>
                    <a:pt x="2481" y="457"/>
                  </a:lnTo>
                  <a:lnTo>
                    <a:pt x="2448" y="444"/>
                  </a:lnTo>
                  <a:lnTo>
                    <a:pt x="2419" y="427"/>
                  </a:lnTo>
                  <a:lnTo>
                    <a:pt x="2391" y="405"/>
                  </a:lnTo>
                  <a:lnTo>
                    <a:pt x="2369" y="380"/>
                  </a:lnTo>
                  <a:lnTo>
                    <a:pt x="2349" y="351"/>
                  </a:lnTo>
                  <a:lnTo>
                    <a:pt x="2334" y="320"/>
                  </a:lnTo>
                  <a:close/>
                  <a:moveTo>
                    <a:pt x="2551" y="111"/>
                  </a:moveTo>
                  <a:lnTo>
                    <a:pt x="2523" y="115"/>
                  </a:lnTo>
                  <a:lnTo>
                    <a:pt x="2498" y="124"/>
                  </a:lnTo>
                  <a:lnTo>
                    <a:pt x="2475" y="138"/>
                  </a:lnTo>
                  <a:lnTo>
                    <a:pt x="2456" y="157"/>
                  </a:lnTo>
                  <a:lnTo>
                    <a:pt x="2441" y="180"/>
                  </a:lnTo>
                  <a:lnTo>
                    <a:pt x="2432" y="205"/>
                  </a:lnTo>
                  <a:lnTo>
                    <a:pt x="2429" y="234"/>
                  </a:lnTo>
                  <a:lnTo>
                    <a:pt x="2432" y="262"/>
                  </a:lnTo>
                  <a:lnTo>
                    <a:pt x="2441" y="287"/>
                  </a:lnTo>
                  <a:lnTo>
                    <a:pt x="2456" y="311"/>
                  </a:lnTo>
                  <a:lnTo>
                    <a:pt x="2475" y="329"/>
                  </a:lnTo>
                  <a:lnTo>
                    <a:pt x="2498" y="344"/>
                  </a:lnTo>
                  <a:lnTo>
                    <a:pt x="2523" y="353"/>
                  </a:lnTo>
                  <a:lnTo>
                    <a:pt x="2551" y="356"/>
                  </a:lnTo>
                  <a:lnTo>
                    <a:pt x="2576" y="354"/>
                  </a:lnTo>
                  <a:lnTo>
                    <a:pt x="2599" y="347"/>
                  </a:lnTo>
                  <a:lnTo>
                    <a:pt x="2619" y="336"/>
                  </a:lnTo>
                  <a:lnTo>
                    <a:pt x="2638" y="321"/>
                  </a:lnTo>
                  <a:lnTo>
                    <a:pt x="2653" y="303"/>
                  </a:lnTo>
                  <a:lnTo>
                    <a:pt x="2656" y="298"/>
                  </a:lnTo>
                  <a:lnTo>
                    <a:pt x="2657" y="297"/>
                  </a:lnTo>
                  <a:lnTo>
                    <a:pt x="2666" y="278"/>
                  </a:lnTo>
                  <a:lnTo>
                    <a:pt x="2672" y="256"/>
                  </a:lnTo>
                  <a:lnTo>
                    <a:pt x="2674" y="234"/>
                  </a:lnTo>
                  <a:lnTo>
                    <a:pt x="2672" y="210"/>
                  </a:lnTo>
                  <a:lnTo>
                    <a:pt x="2665" y="187"/>
                  </a:lnTo>
                  <a:lnTo>
                    <a:pt x="2661" y="180"/>
                  </a:lnTo>
                  <a:lnTo>
                    <a:pt x="2658" y="174"/>
                  </a:lnTo>
                  <a:lnTo>
                    <a:pt x="2643" y="153"/>
                  </a:lnTo>
                  <a:lnTo>
                    <a:pt x="2625" y="136"/>
                  </a:lnTo>
                  <a:lnTo>
                    <a:pt x="2603" y="123"/>
                  </a:lnTo>
                  <a:lnTo>
                    <a:pt x="2579" y="115"/>
                  </a:lnTo>
                  <a:lnTo>
                    <a:pt x="2551" y="111"/>
                  </a:lnTo>
                  <a:close/>
                  <a:moveTo>
                    <a:pt x="2551" y="0"/>
                  </a:moveTo>
                  <a:lnTo>
                    <a:pt x="2591" y="3"/>
                  </a:lnTo>
                  <a:lnTo>
                    <a:pt x="2630" y="12"/>
                  </a:lnTo>
                  <a:lnTo>
                    <a:pt x="2665" y="28"/>
                  </a:lnTo>
                  <a:lnTo>
                    <a:pt x="2696" y="50"/>
                  </a:lnTo>
                  <a:lnTo>
                    <a:pt x="2724" y="75"/>
                  </a:lnTo>
                  <a:lnTo>
                    <a:pt x="2747" y="106"/>
                  </a:lnTo>
                  <a:lnTo>
                    <a:pt x="2766" y="138"/>
                  </a:lnTo>
                  <a:lnTo>
                    <a:pt x="3713" y="1930"/>
                  </a:lnTo>
                  <a:lnTo>
                    <a:pt x="3726" y="1957"/>
                  </a:lnTo>
                  <a:lnTo>
                    <a:pt x="3734" y="1986"/>
                  </a:lnTo>
                  <a:lnTo>
                    <a:pt x="3736" y="2017"/>
                  </a:lnTo>
                  <a:lnTo>
                    <a:pt x="3733" y="2050"/>
                  </a:lnTo>
                  <a:lnTo>
                    <a:pt x="3725" y="2080"/>
                  </a:lnTo>
                  <a:lnTo>
                    <a:pt x="3711" y="2108"/>
                  </a:lnTo>
                  <a:lnTo>
                    <a:pt x="3693" y="2132"/>
                  </a:lnTo>
                  <a:lnTo>
                    <a:pt x="3672" y="2153"/>
                  </a:lnTo>
                  <a:lnTo>
                    <a:pt x="3646" y="2170"/>
                  </a:lnTo>
                  <a:lnTo>
                    <a:pt x="3617" y="2183"/>
                  </a:lnTo>
                  <a:lnTo>
                    <a:pt x="3617" y="2612"/>
                  </a:lnTo>
                  <a:lnTo>
                    <a:pt x="3617" y="2620"/>
                  </a:lnTo>
                  <a:lnTo>
                    <a:pt x="3616" y="2626"/>
                  </a:lnTo>
                  <a:lnTo>
                    <a:pt x="3609" y="2660"/>
                  </a:lnTo>
                  <a:lnTo>
                    <a:pt x="3597" y="2693"/>
                  </a:lnTo>
                  <a:lnTo>
                    <a:pt x="3580" y="2724"/>
                  </a:lnTo>
                  <a:lnTo>
                    <a:pt x="3559" y="2752"/>
                  </a:lnTo>
                  <a:lnTo>
                    <a:pt x="3533" y="2777"/>
                  </a:lnTo>
                  <a:lnTo>
                    <a:pt x="3504" y="2799"/>
                  </a:lnTo>
                  <a:lnTo>
                    <a:pt x="3471" y="2815"/>
                  </a:lnTo>
                  <a:lnTo>
                    <a:pt x="3282" y="2891"/>
                  </a:lnTo>
                  <a:lnTo>
                    <a:pt x="3231" y="2908"/>
                  </a:lnTo>
                  <a:lnTo>
                    <a:pt x="3180" y="2918"/>
                  </a:lnTo>
                  <a:lnTo>
                    <a:pt x="3127" y="2920"/>
                  </a:lnTo>
                  <a:lnTo>
                    <a:pt x="3081" y="2918"/>
                  </a:lnTo>
                  <a:lnTo>
                    <a:pt x="3034" y="2910"/>
                  </a:lnTo>
                  <a:lnTo>
                    <a:pt x="2989" y="2896"/>
                  </a:lnTo>
                  <a:lnTo>
                    <a:pt x="2946" y="2878"/>
                  </a:lnTo>
                  <a:lnTo>
                    <a:pt x="2904" y="2855"/>
                  </a:lnTo>
                  <a:lnTo>
                    <a:pt x="2865" y="2826"/>
                  </a:lnTo>
                  <a:lnTo>
                    <a:pt x="2454" y="2487"/>
                  </a:lnTo>
                  <a:lnTo>
                    <a:pt x="2442" y="2474"/>
                  </a:lnTo>
                  <a:lnTo>
                    <a:pt x="2436" y="2458"/>
                  </a:lnTo>
                  <a:lnTo>
                    <a:pt x="2433" y="2441"/>
                  </a:lnTo>
                  <a:lnTo>
                    <a:pt x="2438" y="2424"/>
                  </a:lnTo>
                  <a:lnTo>
                    <a:pt x="2447" y="2409"/>
                  </a:lnTo>
                  <a:lnTo>
                    <a:pt x="2459" y="2397"/>
                  </a:lnTo>
                  <a:lnTo>
                    <a:pt x="2475" y="2390"/>
                  </a:lnTo>
                  <a:lnTo>
                    <a:pt x="2492" y="2388"/>
                  </a:lnTo>
                  <a:lnTo>
                    <a:pt x="2509" y="2393"/>
                  </a:lnTo>
                  <a:lnTo>
                    <a:pt x="2525" y="2402"/>
                  </a:lnTo>
                  <a:lnTo>
                    <a:pt x="2656" y="2509"/>
                  </a:lnTo>
                  <a:lnTo>
                    <a:pt x="3418" y="2203"/>
                  </a:lnTo>
                  <a:lnTo>
                    <a:pt x="3431" y="2200"/>
                  </a:lnTo>
                  <a:lnTo>
                    <a:pt x="3446" y="2200"/>
                  </a:lnTo>
                  <a:lnTo>
                    <a:pt x="3460" y="2204"/>
                  </a:lnTo>
                  <a:lnTo>
                    <a:pt x="3472" y="2211"/>
                  </a:lnTo>
                  <a:lnTo>
                    <a:pt x="3482" y="2221"/>
                  </a:lnTo>
                  <a:lnTo>
                    <a:pt x="3490" y="2235"/>
                  </a:lnTo>
                  <a:lnTo>
                    <a:pt x="3506" y="2275"/>
                  </a:lnTo>
                  <a:lnTo>
                    <a:pt x="3506" y="2183"/>
                  </a:lnTo>
                  <a:lnTo>
                    <a:pt x="3478" y="2170"/>
                  </a:lnTo>
                  <a:lnTo>
                    <a:pt x="3452" y="2152"/>
                  </a:lnTo>
                  <a:lnTo>
                    <a:pt x="3429" y="2131"/>
                  </a:lnTo>
                  <a:lnTo>
                    <a:pt x="3411" y="2106"/>
                  </a:lnTo>
                  <a:lnTo>
                    <a:pt x="2507" y="766"/>
                  </a:lnTo>
                  <a:lnTo>
                    <a:pt x="1895" y="1794"/>
                  </a:lnTo>
                  <a:lnTo>
                    <a:pt x="1983" y="1926"/>
                  </a:lnTo>
                  <a:lnTo>
                    <a:pt x="2010" y="1971"/>
                  </a:lnTo>
                  <a:lnTo>
                    <a:pt x="2032" y="2018"/>
                  </a:lnTo>
                  <a:lnTo>
                    <a:pt x="2050" y="2067"/>
                  </a:lnTo>
                  <a:lnTo>
                    <a:pt x="2063" y="2117"/>
                  </a:lnTo>
                  <a:lnTo>
                    <a:pt x="2069" y="2168"/>
                  </a:lnTo>
                  <a:lnTo>
                    <a:pt x="2073" y="2221"/>
                  </a:lnTo>
                  <a:lnTo>
                    <a:pt x="2073" y="2433"/>
                  </a:lnTo>
                  <a:lnTo>
                    <a:pt x="2072" y="2441"/>
                  </a:lnTo>
                  <a:lnTo>
                    <a:pt x="2069" y="2452"/>
                  </a:lnTo>
                  <a:lnTo>
                    <a:pt x="2066" y="2460"/>
                  </a:lnTo>
                  <a:lnTo>
                    <a:pt x="2064" y="2463"/>
                  </a:lnTo>
                  <a:lnTo>
                    <a:pt x="2063" y="2465"/>
                  </a:lnTo>
                  <a:lnTo>
                    <a:pt x="2060" y="2469"/>
                  </a:lnTo>
                  <a:lnTo>
                    <a:pt x="2059" y="2469"/>
                  </a:lnTo>
                  <a:lnTo>
                    <a:pt x="2058" y="2471"/>
                  </a:lnTo>
                  <a:lnTo>
                    <a:pt x="2056" y="2473"/>
                  </a:lnTo>
                  <a:lnTo>
                    <a:pt x="2055" y="2474"/>
                  </a:lnTo>
                  <a:lnTo>
                    <a:pt x="2052" y="2477"/>
                  </a:lnTo>
                  <a:lnTo>
                    <a:pt x="2050" y="2478"/>
                  </a:lnTo>
                  <a:lnTo>
                    <a:pt x="2048" y="2480"/>
                  </a:lnTo>
                  <a:lnTo>
                    <a:pt x="2043" y="2482"/>
                  </a:lnTo>
                  <a:lnTo>
                    <a:pt x="2039" y="2485"/>
                  </a:lnTo>
                  <a:lnTo>
                    <a:pt x="2039" y="2485"/>
                  </a:lnTo>
                  <a:lnTo>
                    <a:pt x="2035" y="2486"/>
                  </a:lnTo>
                  <a:lnTo>
                    <a:pt x="2033" y="2487"/>
                  </a:lnTo>
                  <a:lnTo>
                    <a:pt x="2031" y="2488"/>
                  </a:lnTo>
                  <a:lnTo>
                    <a:pt x="2027" y="2488"/>
                  </a:lnTo>
                  <a:lnTo>
                    <a:pt x="2024" y="2489"/>
                  </a:lnTo>
                  <a:lnTo>
                    <a:pt x="2023" y="2489"/>
                  </a:lnTo>
                  <a:lnTo>
                    <a:pt x="2019" y="2489"/>
                  </a:lnTo>
                  <a:lnTo>
                    <a:pt x="2017" y="2489"/>
                  </a:lnTo>
                  <a:lnTo>
                    <a:pt x="1954" y="2489"/>
                  </a:lnTo>
                  <a:lnTo>
                    <a:pt x="1954" y="2672"/>
                  </a:lnTo>
                  <a:lnTo>
                    <a:pt x="1950" y="2689"/>
                  </a:lnTo>
                  <a:lnTo>
                    <a:pt x="1942" y="2705"/>
                  </a:lnTo>
                  <a:lnTo>
                    <a:pt x="1931" y="2716"/>
                  </a:lnTo>
                  <a:lnTo>
                    <a:pt x="1915" y="2724"/>
                  </a:lnTo>
                  <a:lnTo>
                    <a:pt x="1898" y="2727"/>
                  </a:lnTo>
                  <a:lnTo>
                    <a:pt x="1418" y="2727"/>
                  </a:lnTo>
                  <a:lnTo>
                    <a:pt x="1418" y="2853"/>
                  </a:lnTo>
                  <a:lnTo>
                    <a:pt x="1838" y="2853"/>
                  </a:lnTo>
                  <a:lnTo>
                    <a:pt x="1890" y="2857"/>
                  </a:lnTo>
                  <a:lnTo>
                    <a:pt x="1940" y="2866"/>
                  </a:lnTo>
                  <a:lnTo>
                    <a:pt x="1988" y="2882"/>
                  </a:lnTo>
                  <a:lnTo>
                    <a:pt x="2032" y="2902"/>
                  </a:lnTo>
                  <a:lnTo>
                    <a:pt x="2074" y="2927"/>
                  </a:lnTo>
                  <a:lnTo>
                    <a:pt x="2112" y="2958"/>
                  </a:lnTo>
                  <a:lnTo>
                    <a:pt x="2146" y="2992"/>
                  </a:lnTo>
                  <a:lnTo>
                    <a:pt x="2177" y="3030"/>
                  </a:lnTo>
                  <a:lnTo>
                    <a:pt x="2202" y="3072"/>
                  </a:lnTo>
                  <a:lnTo>
                    <a:pt x="2222" y="3116"/>
                  </a:lnTo>
                  <a:lnTo>
                    <a:pt x="2238" y="3164"/>
                  </a:lnTo>
                  <a:lnTo>
                    <a:pt x="2247" y="3214"/>
                  </a:lnTo>
                  <a:lnTo>
                    <a:pt x="2251" y="3266"/>
                  </a:lnTo>
                  <a:lnTo>
                    <a:pt x="2247" y="3317"/>
                  </a:lnTo>
                  <a:lnTo>
                    <a:pt x="2238" y="3367"/>
                  </a:lnTo>
                  <a:lnTo>
                    <a:pt x="2222" y="3415"/>
                  </a:lnTo>
                  <a:lnTo>
                    <a:pt x="2202" y="3460"/>
                  </a:lnTo>
                  <a:lnTo>
                    <a:pt x="2177" y="3501"/>
                  </a:lnTo>
                  <a:lnTo>
                    <a:pt x="2146" y="3540"/>
                  </a:lnTo>
                  <a:lnTo>
                    <a:pt x="2112" y="3574"/>
                  </a:lnTo>
                  <a:lnTo>
                    <a:pt x="2074" y="3604"/>
                  </a:lnTo>
                  <a:lnTo>
                    <a:pt x="2032" y="3630"/>
                  </a:lnTo>
                  <a:lnTo>
                    <a:pt x="1988" y="3651"/>
                  </a:lnTo>
                  <a:lnTo>
                    <a:pt x="1940" y="3666"/>
                  </a:lnTo>
                  <a:lnTo>
                    <a:pt x="1890" y="3676"/>
                  </a:lnTo>
                  <a:lnTo>
                    <a:pt x="1838" y="3678"/>
                  </a:lnTo>
                  <a:lnTo>
                    <a:pt x="413" y="3678"/>
                  </a:lnTo>
                  <a:lnTo>
                    <a:pt x="360" y="3676"/>
                  </a:lnTo>
                  <a:lnTo>
                    <a:pt x="311" y="3666"/>
                  </a:lnTo>
                  <a:lnTo>
                    <a:pt x="263" y="3651"/>
                  </a:lnTo>
                  <a:lnTo>
                    <a:pt x="219" y="3630"/>
                  </a:lnTo>
                  <a:lnTo>
                    <a:pt x="177" y="3604"/>
                  </a:lnTo>
                  <a:lnTo>
                    <a:pt x="138" y="3574"/>
                  </a:lnTo>
                  <a:lnTo>
                    <a:pt x="104" y="3540"/>
                  </a:lnTo>
                  <a:lnTo>
                    <a:pt x="74" y="3501"/>
                  </a:lnTo>
                  <a:lnTo>
                    <a:pt x="49" y="3460"/>
                  </a:lnTo>
                  <a:lnTo>
                    <a:pt x="28" y="3415"/>
                  </a:lnTo>
                  <a:lnTo>
                    <a:pt x="12" y="3367"/>
                  </a:lnTo>
                  <a:lnTo>
                    <a:pt x="3" y="3317"/>
                  </a:lnTo>
                  <a:lnTo>
                    <a:pt x="0" y="3266"/>
                  </a:lnTo>
                  <a:lnTo>
                    <a:pt x="3" y="3214"/>
                  </a:lnTo>
                  <a:lnTo>
                    <a:pt x="12" y="3164"/>
                  </a:lnTo>
                  <a:lnTo>
                    <a:pt x="28" y="3116"/>
                  </a:lnTo>
                  <a:lnTo>
                    <a:pt x="49" y="3072"/>
                  </a:lnTo>
                  <a:lnTo>
                    <a:pt x="74" y="3030"/>
                  </a:lnTo>
                  <a:lnTo>
                    <a:pt x="104" y="2992"/>
                  </a:lnTo>
                  <a:lnTo>
                    <a:pt x="138" y="2958"/>
                  </a:lnTo>
                  <a:lnTo>
                    <a:pt x="177" y="2927"/>
                  </a:lnTo>
                  <a:lnTo>
                    <a:pt x="219" y="2902"/>
                  </a:lnTo>
                  <a:lnTo>
                    <a:pt x="263" y="2882"/>
                  </a:lnTo>
                  <a:lnTo>
                    <a:pt x="311" y="2866"/>
                  </a:lnTo>
                  <a:lnTo>
                    <a:pt x="360" y="2857"/>
                  </a:lnTo>
                  <a:lnTo>
                    <a:pt x="413" y="2853"/>
                  </a:lnTo>
                  <a:lnTo>
                    <a:pt x="832" y="2853"/>
                  </a:lnTo>
                  <a:lnTo>
                    <a:pt x="832" y="2727"/>
                  </a:lnTo>
                  <a:lnTo>
                    <a:pt x="353" y="2727"/>
                  </a:lnTo>
                  <a:lnTo>
                    <a:pt x="317" y="2724"/>
                  </a:lnTo>
                  <a:lnTo>
                    <a:pt x="284" y="2714"/>
                  </a:lnTo>
                  <a:lnTo>
                    <a:pt x="255" y="2698"/>
                  </a:lnTo>
                  <a:lnTo>
                    <a:pt x="229" y="2676"/>
                  </a:lnTo>
                  <a:lnTo>
                    <a:pt x="209" y="2650"/>
                  </a:lnTo>
                  <a:lnTo>
                    <a:pt x="192" y="2621"/>
                  </a:lnTo>
                  <a:lnTo>
                    <a:pt x="181" y="2588"/>
                  </a:lnTo>
                  <a:lnTo>
                    <a:pt x="178" y="2553"/>
                  </a:lnTo>
                  <a:lnTo>
                    <a:pt x="178" y="2136"/>
                  </a:lnTo>
                  <a:lnTo>
                    <a:pt x="181" y="2101"/>
                  </a:lnTo>
                  <a:lnTo>
                    <a:pt x="192" y="2068"/>
                  </a:lnTo>
                  <a:lnTo>
                    <a:pt x="209" y="2039"/>
                  </a:lnTo>
                  <a:lnTo>
                    <a:pt x="229" y="2013"/>
                  </a:lnTo>
                  <a:lnTo>
                    <a:pt x="255" y="1991"/>
                  </a:lnTo>
                  <a:lnTo>
                    <a:pt x="284" y="1975"/>
                  </a:lnTo>
                  <a:lnTo>
                    <a:pt x="317" y="1965"/>
                  </a:lnTo>
                  <a:lnTo>
                    <a:pt x="353" y="1962"/>
                  </a:lnTo>
                  <a:lnTo>
                    <a:pt x="713" y="1962"/>
                  </a:lnTo>
                  <a:lnTo>
                    <a:pt x="713" y="1601"/>
                  </a:lnTo>
                  <a:lnTo>
                    <a:pt x="717" y="1558"/>
                  </a:lnTo>
                  <a:lnTo>
                    <a:pt x="726" y="1517"/>
                  </a:lnTo>
                  <a:lnTo>
                    <a:pt x="740" y="1477"/>
                  </a:lnTo>
                  <a:lnTo>
                    <a:pt x="761" y="1442"/>
                  </a:lnTo>
                  <a:lnTo>
                    <a:pt x="785" y="1409"/>
                  </a:lnTo>
                  <a:lnTo>
                    <a:pt x="814" y="1380"/>
                  </a:lnTo>
                  <a:lnTo>
                    <a:pt x="847" y="1355"/>
                  </a:lnTo>
                  <a:lnTo>
                    <a:pt x="883" y="1335"/>
                  </a:lnTo>
                  <a:lnTo>
                    <a:pt x="922" y="1321"/>
                  </a:lnTo>
                  <a:lnTo>
                    <a:pt x="963" y="1310"/>
                  </a:lnTo>
                  <a:lnTo>
                    <a:pt x="1007" y="1308"/>
                  </a:lnTo>
                  <a:lnTo>
                    <a:pt x="1414" y="1308"/>
                  </a:lnTo>
                  <a:lnTo>
                    <a:pt x="1452" y="1310"/>
                  </a:lnTo>
                  <a:lnTo>
                    <a:pt x="2359" y="101"/>
                  </a:lnTo>
                  <a:lnTo>
                    <a:pt x="2359" y="101"/>
                  </a:lnTo>
                  <a:lnTo>
                    <a:pt x="2382" y="73"/>
                  </a:lnTo>
                  <a:lnTo>
                    <a:pt x="2410" y="48"/>
                  </a:lnTo>
                  <a:lnTo>
                    <a:pt x="2441" y="27"/>
                  </a:lnTo>
                  <a:lnTo>
                    <a:pt x="2475" y="12"/>
                  </a:lnTo>
                  <a:lnTo>
                    <a:pt x="2513" y="3"/>
                  </a:lnTo>
                  <a:lnTo>
                    <a:pt x="2551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</p:grpSp>
      <p:sp>
        <p:nvSpPr>
          <p:cNvPr id="23625" name="TextBox 158">
            <a:extLst>
              <a:ext uri="{FF2B5EF4-FFF2-40B4-BE49-F238E27FC236}">
                <a16:creationId xmlns:a16="http://schemas.microsoft.com/office/drawing/2014/main" id="{E039C87F-72AD-4054-B63A-554ACFFB9E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4663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26" name="TextBox 159">
            <a:extLst>
              <a:ext uri="{FF2B5EF4-FFF2-40B4-BE49-F238E27FC236}">
                <a16:creationId xmlns:a16="http://schemas.microsoft.com/office/drawing/2014/main" id="{C89D28E8-6E73-4458-A352-42A749EC09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3488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27" name="TextBox 127">
            <a:extLst>
              <a:ext uri="{FF2B5EF4-FFF2-40B4-BE49-F238E27FC236}">
                <a16:creationId xmlns:a16="http://schemas.microsoft.com/office/drawing/2014/main" id="{D2C4F5E9-E854-4896-8355-45DEC69063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7813" y="6378575"/>
            <a:ext cx="426243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Sources: National Bureau of Statistics, World Bank Report on Doing Business in Nigeria 2018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climate-data.org, State Government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Exchange rate= $1/N305 (Central Bank of Nigeria)</a:t>
            </a:r>
          </a:p>
        </p:txBody>
      </p:sp>
      <p:sp>
        <p:nvSpPr>
          <p:cNvPr id="23628" name="TextBox 128">
            <a:extLst>
              <a:ext uri="{FF2B5EF4-FFF2-40B4-BE49-F238E27FC236}">
                <a16:creationId xmlns:a16="http://schemas.microsoft.com/office/drawing/2014/main" id="{409BCC6F-A5F0-4C79-BB4A-38A1ABC14F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43975" y="3640453"/>
            <a:ext cx="56778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Tourism</a:t>
            </a:r>
          </a:p>
        </p:txBody>
      </p:sp>
      <p:sp>
        <p:nvSpPr>
          <p:cNvPr id="23629" name="TextBox 129">
            <a:extLst>
              <a:ext uri="{FF2B5EF4-FFF2-40B4-BE49-F238E27FC236}">
                <a16:creationId xmlns:a16="http://schemas.microsoft.com/office/drawing/2014/main" id="{489E7B41-20C9-4493-8E7D-07238EB8FA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32417" y="3654980"/>
            <a:ext cx="37061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Fish</a:t>
            </a:r>
          </a:p>
        </p:txBody>
      </p:sp>
      <p:sp>
        <p:nvSpPr>
          <p:cNvPr id="23631" name="TextBox 131">
            <a:extLst>
              <a:ext uri="{FF2B5EF4-FFF2-40B4-BE49-F238E27FC236}">
                <a16:creationId xmlns:a16="http://schemas.microsoft.com/office/drawing/2014/main" id="{FF8B6C80-43E2-43AF-A364-A31845F05C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5388" y="3656613"/>
            <a:ext cx="55976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Iron ore</a:t>
            </a:r>
          </a:p>
        </p:txBody>
      </p:sp>
      <p:sp>
        <p:nvSpPr>
          <p:cNvPr id="23632" name="TextBox 132">
            <a:extLst>
              <a:ext uri="{FF2B5EF4-FFF2-40B4-BE49-F238E27FC236}">
                <a16:creationId xmlns:a16="http://schemas.microsoft.com/office/drawing/2014/main" id="{A1C640C1-61D1-4BA5-8A76-E684397E8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82741" y="3637238"/>
            <a:ext cx="52450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Marble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238751" y="3833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38" name="TextBox 141">
            <a:extLst>
              <a:ext uri="{FF2B5EF4-FFF2-40B4-BE49-F238E27FC236}">
                <a16:creationId xmlns:a16="http://schemas.microsoft.com/office/drawing/2014/main" id="{EE481231-8673-4FD7-B5CC-900AEE7A9F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61083" y="3652271"/>
            <a:ext cx="55175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900" dirty="0">
                <a:solidFill>
                  <a:prstClr val="black"/>
                </a:solidFill>
                <a:latin typeface="Calibri" panose="020F0502020204030204" pitchFamily="34" charset="0"/>
              </a:rPr>
              <a:t>Cassava</a:t>
            </a:r>
            <a:endParaRPr kumimoji="0" lang="en-GB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49" name="TextBox 165">
            <a:extLst>
              <a:ext uri="{FF2B5EF4-FFF2-40B4-BE49-F238E27FC236}">
                <a16:creationId xmlns:a16="http://schemas.microsoft.com/office/drawing/2014/main" id="{1242633E-9CB1-48ED-83F4-2223DFC7ED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33611" y="4459560"/>
            <a:ext cx="67358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900" dirty="0">
                <a:solidFill>
                  <a:prstClr val="black"/>
                </a:solidFill>
                <a:latin typeface="Calibri" panose="020F0502020204030204" pitchFamily="34" charset="0"/>
              </a:rPr>
              <a:t>Limestone</a:t>
            </a:r>
            <a:endParaRPr kumimoji="0" lang="en-GB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50" name="TextBox 166">
            <a:extLst>
              <a:ext uri="{FF2B5EF4-FFF2-40B4-BE49-F238E27FC236}">
                <a16:creationId xmlns:a16="http://schemas.microsoft.com/office/drawing/2014/main" id="{6B51369B-8FA6-464A-B908-12B0FFE6B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59229" y="4458812"/>
            <a:ext cx="68320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Mahogany</a:t>
            </a:r>
          </a:p>
        </p:txBody>
      </p:sp>
      <p:sp>
        <p:nvSpPr>
          <p:cNvPr id="23651" name="TextBox 167">
            <a:extLst>
              <a:ext uri="{FF2B5EF4-FFF2-40B4-BE49-F238E27FC236}">
                <a16:creationId xmlns:a16="http://schemas.microsoft.com/office/drawing/2014/main" id="{4F9404E1-8339-401B-8B10-4C7D1A8CEC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68361" y="4457881"/>
            <a:ext cx="54534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Cashew</a:t>
            </a:r>
          </a:p>
        </p:txBody>
      </p:sp>
      <p:sp>
        <p:nvSpPr>
          <p:cNvPr id="23652" name="TextBox 168">
            <a:extLst>
              <a:ext uri="{FF2B5EF4-FFF2-40B4-BE49-F238E27FC236}">
                <a16:creationId xmlns:a16="http://schemas.microsoft.com/office/drawing/2014/main" id="{1C04917D-B2C3-4C21-8CC2-A45C349B4B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36881" y="4457133"/>
            <a:ext cx="38023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Rice</a:t>
            </a:r>
          </a:p>
        </p:txBody>
      </p:sp>
      <p:sp>
        <p:nvSpPr>
          <p:cNvPr id="23653" name="TextBox 169">
            <a:extLst>
              <a:ext uri="{FF2B5EF4-FFF2-40B4-BE49-F238E27FC236}">
                <a16:creationId xmlns:a16="http://schemas.microsoft.com/office/drawing/2014/main" id="{4BADA327-4F2D-4897-B7C0-4647A1484B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55051" y="4457973"/>
            <a:ext cx="67037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Gemstone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8A28B48-1841-45BB-BFBC-EADE77B37C6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779712" y="2589213"/>
          <a:ext cx="1482725" cy="812800"/>
        </p:xfrm>
        <a:graphic>
          <a:graphicData uri="http://schemas.openxmlformats.org/drawingml/2006/table">
            <a:tbl>
              <a:tblPr/>
              <a:tblGrid>
                <a:gridCol w="11367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9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32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GB" sz="1000" b="1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Domestic</a:t>
                      </a:r>
                      <a:r>
                        <a:rPr lang="en-GB" sz="10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US" sz="1000" b="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International 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Railway</a:t>
                      </a:r>
                      <a:r>
                        <a:rPr lang="en-GB" sz="1000" b="1" kern="1200" baseline="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 Station</a:t>
                      </a:r>
                      <a:endParaRPr lang="en-GB" sz="1000" b="1" kern="1200" dirty="0">
                        <a:solidFill>
                          <a:srgbClr val="292929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32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Sea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7" name="TextBox 136">
            <a:extLst>
              <a:ext uri="{FF2B5EF4-FFF2-40B4-BE49-F238E27FC236}">
                <a16:creationId xmlns:a16="http://schemas.microsoft.com/office/drawing/2014/main" id="{2F4C4876-7073-4C13-A183-127A8909BDC0}"/>
              </a:ext>
            </a:extLst>
          </p:cNvPr>
          <p:cNvSpPr txBox="1"/>
          <p:nvPr/>
        </p:nvSpPr>
        <p:spPr>
          <a:xfrm>
            <a:off x="538163" y="5268913"/>
            <a:ext cx="373856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For further details</a:t>
            </a:r>
          </a:p>
        </p:txBody>
      </p:sp>
      <p:sp>
        <p:nvSpPr>
          <p:cNvPr id="23676" name="TextBox 156">
            <a:extLst>
              <a:ext uri="{FF2B5EF4-FFF2-40B4-BE49-F238E27FC236}">
                <a16:creationId xmlns:a16="http://schemas.microsoft.com/office/drawing/2014/main" id="{95D66AAF-6B48-4B9E-9E5B-F1BB063A89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6300" y="6342063"/>
            <a:ext cx="37306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Abbreviations: </a:t>
            </a:r>
            <a:r>
              <a:rPr kumimoji="0" lang="en-GB" alt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	NICPS</a:t>
            </a:r>
            <a: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: Nigerian Investment Certification Programme for States             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	</a:t>
            </a:r>
            <a:r>
              <a:rPr kumimoji="0" lang="en-GB" alt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IGR</a:t>
            </a:r>
            <a: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:     Internal Generated Revenue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D4E23C6-26A0-4545-B8F7-7007C8EEBFE4}"/>
              </a:ext>
            </a:extLst>
          </p:cNvPr>
          <p:cNvSpPr txBox="1"/>
          <p:nvPr/>
        </p:nvSpPr>
        <p:spPr>
          <a:xfrm>
            <a:off x="4338638" y="5265738"/>
            <a:ext cx="247491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Did you know?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sp>
        <p:nvSpPr>
          <p:cNvPr id="132" name="Text Placeholder 42">
            <a:extLst>
              <a:ext uri="{FF2B5EF4-FFF2-40B4-BE49-F238E27FC236}">
                <a16:creationId xmlns:a16="http://schemas.microsoft.com/office/drawing/2014/main" id="{D510D0DC-1548-4249-8DB1-9A1055126D07}"/>
              </a:ext>
            </a:extLst>
          </p:cNvPr>
          <p:cNvSpPr txBox="1">
            <a:spLocks/>
          </p:cNvSpPr>
          <p:nvPr/>
        </p:nvSpPr>
        <p:spPr>
          <a:xfrm>
            <a:off x="522288" y="5511800"/>
            <a:ext cx="3733800" cy="769441"/>
          </a:xfrm>
          <a:prstGeom prst="rect">
            <a:avLst/>
          </a:prstGeom>
        </p:spPr>
        <p:txBody>
          <a:bodyPr lIns="36576" tIns="0" rIns="36576" bIns="0"/>
          <a:lstStyle>
            <a:lvl1pPr marL="0" indent="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/>
              <a:buNone/>
              <a:defRPr sz="800" b="1" baseline="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6575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93763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 charset="0"/>
              <a:buChar char="►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50950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619250" indent="-188913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0764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25336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29908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34480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</a:rPr>
              <a:t>NIGERIAN INVESTMENT PROMOTION COMMISSION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Arial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hlinkClick r:id="rId7"/>
              </a:rPr>
              <a:t>statesco@nipc.gov.ng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Arial"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</a:endParaRPr>
          </a:p>
          <a:p>
            <a:pPr lvl="0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000" kern="0" dirty="0">
                <a:solidFill>
                  <a:prstClr val="black"/>
                </a:solidFill>
              </a:rPr>
              <a:t>KOGI STATE INVESTMENT &amp; PROPERTY DEVELOPMENT COMPANY</a:t>
            </a: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>
                <a:solidFill>
                  <a:prstClr val="black"/>
                </a:solidFill>
                <a:hlinkClick r:id="rId8"/>
              </a:rPr>
              <a:t>jraise42@gmail.com</a:t>
            </a:r>
            <a:r>
              <a:rPr lang="en-US" sz="1000" b="0" kern="0" dirty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FF015425-7997-4612-9D0E-1F6C433DFCC7}"/>
              </a:ext>
            </a:extLst>
          </p:cNvPr>
          <p:cNvSpPr/>
          <p:nvPr/>
        </p:nvSpPr>
        <p:spPr>
          <a:xfrm>
            <a:off x="6080877" y="3040856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4C0B7457-CABD-4AC8-8A1A-1FD468581E4D}"/>
              </a:ext>
            </a:extLst>
          </p:cNvPr>
          <p:cNvSpPr/>
          <p:nvPr/>
        </p:nvSpPr>
        <p:spPr>
          <a:xfrm>
            <a:off x="6784796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2D626A89-F50C-45A3-9271-5D3F2EEA9C83}"/>
              </a:ext>
            </a:extLst>
          </p:cNvPr>
          <p:cNvSpPr/>
          <p:nvPr/>
        </p:nvSpPr>
        <p:spPr>
          <a:xfrm>
            <a:off x="7518399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240713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A62E850A-D87D-46D0-9257-0071E677FCF0}"/>
              </a:ext>
            </a:extLst>
          </p:cNvPr>
          <p:cNvSpPr/>
          <p:nvPr/>
        </p:nvSpPr>
        <p:spPr>
          <a:xfrm>
            <a:off x="8947150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4D1FAA17-3EFF-404B-B4C4-B468BCE2E9A5}"/>
              </a:ext>
            </a:extLst>
          </p:cNvPr>
          <p:cNvSpPr/>
          <p:nvPr/>
        </p:nvSpPr>
        <p:spPr>
          <a:xfrm>
            <a:off x="6078265" y="3836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E861211D-5D09-4577-8A09-FD96D972A5D4}"/>
              </a:ext>
            </a:extLst>
          </p:cNvPr>
          <p:cNvSpPr/>
          <p:nvPr/>
        </p:nvSpPr>
        <p:spPr>
          <a:xfrm>
            <a:off x="6780509" y="3833831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3CBEFD1C-6360-47CD-AEDD-DFB49FC0E0C7}"/>
              </a:ext>
            </a:extLst>
          </p:cNvPr>
          <p:cNvSpPr/>
          <p:nvPr/>
        </p:nvSpPr>
        <p:spPr>
          <a:xfrm>
            <a:off x="7518603" y="3830834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4" name="TextBox 152">
            <a:extLst>
              <a:ext uri="{FF2B5EF4-FFF2-40B4-BE49-F238E27FC236}">
                <a16:creationId xmlns:a16="http://schemas.microsoft.com/office/drawing/2014/main" id="{C53ECC99-201F-4F50-BD09-4044FFD3B8E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4575" y="1191198"/>
            <a:ext cx="3446463" cy="1492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15888" indent="-11588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  <a:cs typeface="Calibri" pitchFamily="34" charset="0"/>
              </a:rPr>
              <a:t>58% of the cashew trees in West Afric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  <a:cs typeface="Calibri" pitchFamily="34" charset="0"/>
              </a:rPr>
              <a:t>Well irrigated for all Year farming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  <a:cs typeface="Calibri" pitchFamily="34" charset="0"/>
              </a:rPr>
              <a:t>Hospitality (tourist attraction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  <a:cs typeface="Calibri" pitchFamily="34" charset="0"/>
              </a:rPr>
              <a:t>Connected to 10 Stat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itchFamily="34" charset="0"/>
                <a:cs typeface="Calibri" pitchFamily="34" charset="0"/>
              </a:rPr>
              <a:t>Confluence of the two greatest rivers that run across Nigeri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itchFamily="34" charset="0"/>
                <a:cs typeface="Calibri" pitchFamily="34" charset="0"/>
              </a:rPr>
              <a:t>Purest deposit of iron ore in Nigeria (</a:t>
            </a:r>
            <a:r>
              <a:rPr lang="en-US" sz="1300" dirty="0" err="1">
                <a:latin typeface="Calibri" pitchFamily="34" charset="0"/>
                <a:cs typeface="Calibri" pitchFamily="34" charset="0"/>
              </a:rPr>
              <a:t>Itakpe</a:t>
            </a:r>
            <a:r>
              <a:rPr lang="en-US" sz="1300" dirty="0">
                <a:latin typeface="Calibri" pitchFamily="34" charset="0"/>
                <a:cs typeface="Calibri" pitchFamily="34" charset="0"/>
              </a:rPr>
              <a:t>)</a:t>
            </a:r>
            <a:endParaRPr lang="en-GB" sz="1300" dirty="0">
              <a:latin typeface="Calibri" panose="020F0502020204030204" pitchFamily="34" charset="0"/>
              <a:cs typeface="Calibri" pitchFamily="34" charset="0"/>
            </a:endParaRPr>
          </a:p>
        </p:txBody>
      </p:sp>
      <p:sp>
        <p:nvSpPr>
          <p:cNvPr id="161" name="Oval 160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953126" y="3843338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34" name="Picture 133">
            <a:extLst>
              <a:ext uri="{FF2B5EF4-FFF2-40B4-BE49-F238E27FC236}">
                <a16:creationId xmlns:a16="http://schemas.microsoft.com/office/drawing/2014/main" id="{4B46F167-F671-4481-8707-DCA507B058A7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16" t="17956" b="25500"/>
          <a:stretch/>
        </p:blipFill>
        <p:spPr>
          <a:xfrm>
            <a:off x="6864553" y="3117508"/>
            <a:ext cx="466102" cy="415939"/>
          </a:xfrm>
          <a:prstGeom prst="rect">
            <a:avLst/>
          </a:prstGeom>
        </p:spPr>
      </p:pic>
      <p:pic>
        <p:nvPicPr>
          <p:cNvPr id="135" name="Picture 134">
            <a:extLst>
              <a:ext uri="{FF2B5EF4-FFF2-40B4-BE49-F238E27FC236}">
                <a16:creationId xmlns:a16="http://schemas.microsoft.com/office/drawing/2014/main" id="{3E58EBF5-1D96-4DFB-B8B7-C5AF2C0C9258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75" t="19262" r="14797" b="32368"/>
          <a:stretch/>
        </p:blipFill>
        <p:spPr>
          <a:xfrm>
            <a:off x="7534804" y="3092215"/>
            <a:ext cx="576748" cy="405617"/>
          </a:xfrm>
          <a:prstGeom prst="rect">
            <a:avLst/>
          </a:prstGeom>
        </p:spPr>
      </p:pic>
      <p:pic>
        <p:nvPicPr>
          <p:cNvPr id="141" name="Picture 140">
            <a:extLst>
              <a:ext uri="{FF2B5EF4-FFF2-40B4-BE49-F238E27FC236}">
                <a16:creationId xmlns:a16="http://schemas.microsoft.com/office/drawing/2014/main" id="{FCC4D711-6154-41EF-8930-14611FF72AFB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4266" y="3913877"/>
            <a:ext cx="416100" cy="416100"/>
          </a:xfrm>
          <a:prstGeom prst="rect">
            <a:avLst/>
          </a:prstGeom>
        </p:spPr>
      </p:pic>
      <p:pic>
        <p:nvPicPr>
          <p:cNvPr id="142" name="Picture 141">
            <a:extLst>
              <a:ext uri="{FF2B5EF4-FFF2-40B4-BE49-F238E27FC236}">
                <a16:creationId xmlns:a16="http://schemas.microsoft.com/office/drawing/2014/main" id="{6BC57FD3-C8BA-4BA8-9BA2-302FF98A1EA7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1771" y="3149604"/>
            <a:ext cx="531336" cy="358205"/>
          </a:xfrm>
          <a:prstGeom prst="rect">
            <a:avLst/>
          </a:prstGeom>
        </p:spPr>
      </p:pic>
      <p:pic>
        <p:nvPicPr>
          <p:cNvPr id="146" name="Picture 145">
            <a:extLst>
              <a:ext uri="{FF2B5EF4-FFF2-40B4-BE49-F238E27FC236}">
                <a16:creationId xmlns:a16="http://schemas.microsoft.com/office/drawing/2014/main" id="{12754787-9BCD-41E7-84B3-B1470924F5E3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78306" t="48885" b="11927"/>
          <a:stretch/>
        </p:blipFill>
        <p:spPr>
          <a:xfrm>
            <a:off x="7669563" y="3899244"/>
            <a:ext cx="326655" cy="421635"/>
          </a:xfrm>
          <a:prstGeom prst="rect">
            <a:avLst/>
          </a:prstGeom>
        </p:spPr>
      </p:pic>
      <p:pic>
        <p:nvPicPr>
          <p:cNvPr id="149" name="Picture 148">
            <a:extLst>
              <a:ext uri="{FF2B5EF4-FFF2-40B4-BE49-F238E27FC236}">
                <a16:creationId xmlns:a16="http://schemas.microsoft.com/office/drawing/2014/main" id="{05B04B66-0AEA-41D6-9D1C-35A0E1F77C7C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30570" r="30237"/>
          <a:stretch/>
        </p:blipFill>
        <p:spPr>
          <a:xfrm>
            <a:off x="8427176" y="3891045"/>
            <a:ext cx="269738" cy="453353"/>
          </a:xfrm>
          <a:prstGeom prst="rect">
            <a:avLst/>
          </a:prstGeom>
        </p:spPr>
      </p:pic>
      <p:pic>
        <p:nvPicPr>
          <p:cNvPr id="150" name="Picture 149">
            <a:extLst>
              <a:ext uri="{FF2B5EF4-FFF2-40B4-BE49-F238E27FC236}">
                <a16:creationId xmlns:a16="http://schemas.microsoft.com/office/drawing/2014/main" id="{B5B12AA2-A4C0-46EA-B4D5-FB8D03673B03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r="10356"/>
          <a:stretch/>
        </p:blipFill>
        <p:spPr>
          <a:xfrm>
            <a:off x="6150366" y="3132055"/>
            <a:ext cx="415785" cy="486522"/>
          </a:xfrm>
          <a:prstGeom prst="rect">
            <a:avLst/>
          </a:prstGeom>
        </p:spPr>
      </p:pic>
      <p:sp>
        <p:nvSpPr>
          <p:cNvPr id="151" name="TextBox 150">
            <a:extLst>
              <a:ext uri="{FF2B5EF4-FFF2-40B4-BE49-F238E27FC236}">
                <a16:creationId xmlns:a16="http://schemas.microsoft.com/office/drawing/2014/main" id="{D0A41506-8873-4C2F-B45B-4459F0229CA3}"/>
              </a:ext>
            </a:extLst>
          </p:cNvPr>
          <p:cNvSpPr txBox="1"/>
          <p:nvPr/>
        </p:nvSpPr>
        <p:spPr>
          <a:xfrm>
            <a:off x="4374578" y="4541674"/>
            <a:ext cx="17988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te Investment Certification Process Not Started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271790" y="5429864"/>
            <a:ext cx="2587275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GB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Lokoja</a:t>
            </a:r>
            <a:r>
              <a:rPr lang="en-GB" sz="1300" dirty="0">
                <a:latin typeface="Calibri" panose="020F0502020204030204" pitchFamily="34" charset="0"/>
                <a:cs typeface="Calibri" panose="020F0502020204030204" pitchFamily="34" charset="0"/>
              </a:rPr>
              <a:t>, the state capital was the first administrative capital of Northern Nigeria which housed Lord </a:t>
            </a:r>
            <a:r>
              <a:rPr lang="en-GB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Lugard’s</a:t>
            </a:r>
            <a:r>
              <a:rPr lang="en-GB" sz="1300" dirty="0">
                <a:latin typeface="Calibri" panose="020F0502020204030204" pitchFamily="34" charset="0"/>
                <a:cs typeface="Calibri" panose="020F0502020204030204" pitchFamily="34" charset="0"/>
              </a:rPr>
              <a:t> residence and office. 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 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1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08" t="16385" r="20696" b="27068"/>
          <a:stretch/>
        </p:blipFill>
        <p:spPr>
          <a:xfrm>
            <a:off x="8282544" y="3078996"/>
            <a:ext cx="506861" cy="487473"/>
          </a:xfrm>
          <a:prstGeom prst="rect">
            <a:avLst/>
          </a:prstGeom>
        </p:spPr>
      </p:pic>
      <p:pic>
        <p:nvPicPr>
          <p:cNvPr id="115" name="Picture 114"/>
          <p:cNvPicPr>
            <a:picLocks noChangeAspect="1"/>
          </p:cNvPicPr>
          <p:nvPr/>
        </p:nvPicPr>
        <p:blipFill rotWithShape="1"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15984" r="16046"/>
          <a:stretch/>
        </p:blipFill>
        <p:spPr>
          <a:xfrm>
            <a:off x="6142572" y="3945956"/>
            <a:ext cx="442925" cy="44619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18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82" t="16546" r="24070" b="30924"/>
          <a:stretch/>
        </p:blipFill>
        <p:spPr>
          <a:xfrm>
            <a:off x="6845460" y="3907154"/>
            <a:ext cx="442459" cy="446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380111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Pentagon 19">
            <a:extLst>
              <a:ext uri="{FF2B5EF4-FFF2-40B4-BE49-F238E27FC236}">
                <a16:creationId xmlns:a16="http://schemas.microsoft.com/office/drawing/2014/main" id="{CAD93C59-72A9-4F6D-A654-02B9F8A5EFF9}"/>
              </a:ext>
            </a:extLst>
          </p:cNvPr>
          <p:cNvSpPr>
            <a:spLocks/>
          </p:cNvSpPr>
          <p:nvPr/>
        </p:nvSpPr>
        <p:spPr bwMode="auto">
          <a:xfrm>
            <a:off x="756602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noProof="0" dirty="0">
                <a:solidFill>
                  <a:prstClr val="white"/>
                </a:solidFill>
                <a:latin typeface="Calibri" panose="020F0502020204030204" pitchFamily="34" charset="0"/>
              </a:rPr>
              <a:t>18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of 37</a:t>
            </a:r>
          </a:p>
        </p:txBody>
      </p:sp>
      <p:sp>
        <p:nvSpPr>
          <p:cNvPr id="376" name="Pentagon 19">
            <a:extLst>
              <a:ext uri="{FF2B5EF4-FFF2-40B4-BE49-F238E27FC236}">
                <a16:creationId xmlns:a16="http://schemas.microsoft.com/office/drawing/2014/main" id="{1BDC5465-6022-4404-B4D8-ED55CF961B8A}"/>
              </a:ext>
            </a:extLst>
          </p:cNvPr>
          <p:cNvSpPr>
            <a:spLocks/>
          </p:cNvSpPr>
          <p:nvPr/>
        </p:nvSpPr>
        <p:spPr bwMode="auto">
          <a:xfrm>
            <a:off x="824865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dirty="0">
                <a:solidFill>
                  <a:prstClr val="white"/>
                </a:solidFill>
                <a:latin typeface="Calibri" panose="020F0502020204030204" pitchFamily="34" charset="0"/>
              </a:rPr>
              <a:t>26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of 3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57F1EBC-D01A-4083-B657-63AFB1490839}"/>
              </a:ext>
            </a:extLst>
          </p:cNvPr>
          <p:cNvSpPr txBox="1"/>
          <p:nvPr/>
        </p:nvSpPr>
        <p:spPr>
          <a:xfrm>
            <a:off x="6122988" y="2749550"/>
            <a:ext cx="3475037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Investment Opportunit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D251BD-538A-4F4F-847E-620EEDA298A0}"/>
              </a:ext>
            </a:extLst>
          </p:cNvPr>
          <p:cNvSpPr txBox="1"/>
          <p:nvPr/>
        </p:nvSpPr>
        <p:spPr>
          <a:xfrm>
            <a:off x="6881813" y="4632911"/>
            <a:ext cx="2697162" cy="33855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Doing Business Ranking(2018)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1B8F13C-F732-4DA1-9250-DB02936E7688}"/>
              </a:ext>
            </a:extLst>
          </p:cNvPr>
          <p:cNvSpPr/>
          <p:nvPr/>
        </p:nvSpPr>
        <p:spPr>
          <a:xfrm>
            <a:off x="756602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egistering Propert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6BA1818-32ED-44D1-975C-958200BDD124}"/>
              </a:ext>
            </a:extLst>
          </p:cNvPr>
          <p:cNvSpPr/>
          <p:nvPr/>
        </p:nvSpPr>
        <p:spPr>
          <a:xfrm>
            <a:off x="8248650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ealing with Construction Permits</a:t>
            </a:r>
          </a:p>
        </p:txBody>
      </p:sp>
      <p:sp>
        <p:nvSpPr>
          <p:cNvPr id="23560" name="TextBox 174">
            <a:extLst>
              <a:ext uri="{FF2B5EF4-FFF2-40B4-BE49-F238E27FC236}">
                <a16:creationId xmlns:a16="http://schemas.microsoft.com/office/drawing/2014/main" id="{1573FD4E-62B9-45E8-8F28-CED990ED2D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0B63A6C-2A5E-4CA3-BC66-4CBC6008BC9A}"/>
              </a:ext>
            </a:extLst>
          </p:cNvPr>
          <p:cNvSpPr/>
          <p:nvPr/>
        </p:nvSpPr>
        <p:spPr>
          <a:xfrm>
            <a:off x="893127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nforcing Contracts</a:t>
            </a:r>
          </a:p>
        </p:txBody>
      </p:sp>
      <p:pic>
        <p:nvPicPr>
          <p:cNvPr id="23562" name="Picture 4">
            <a:extLst>
              <a:ext uri="{FF2B5EF4-FFF2-40B4-BE49-F238E27FC236}">
                <a16:creationId xmlns:a16="http://schemas.microsoft.com/office/drawing/2014/main" id="{7C8EEAB2-0239-4BB5-94B3-23E319AF1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513" y="5249863"/>
            <a:ext cx="439737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6" name="Pentagon 19">
            <a:extLst>
              <a:ext uri="{FF2B5EF4-FFF2-40B4-BE49-F238E27FC236}">
                <a16:creationId xmlns:a16="http://schemas.microsoft.com/office/drawing/2014/main" id="{5F8E9670-D71A-4765-B6B5-D711BC9AD6E1}"/>
              </a:ext>
            </a:extLst>
          </p:cNvPr>
          <p:cNvSpPr>
            <a:spLocks/>
          </p:cNvSpPr>
          <p:nvPr/>
        </p:nvSpPr>
        <p:spPr bwMode="auto">
          <a:xfrm>
            <a:off x="893127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dirty="0">
                <a:solidFill>
                  <a:prstClr val="white"/>
                </a:solidFill>
                <a:latin typeface="Calibri" panose="020F0502020204030204" pitchFamily="34" charset="0"/>
              </a:rPr>
              <a:t>30</a:t>
            </a:r>
            <a:r>
              <a:rPr kumimoji="0" lang="en-GB" sz="10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f 37</a:t>
            </a:r>
          </a:p>
        </p:txBody>
      </p:sp>
      <p:sp>
        <p:nvSpPr>
          <p:cNvPr id="23564" name="Title 3">
            <a:extLst>
              <a:ext uri="{FF2B5EF4-FFF2-40B4-BE49-F238E27FC236}">
                <a16:creationId xmlns:a16="http://schemas.microsoft.com/office/drawing/2014/main" id="{C62A749B-CFC7-4224-A789-D20A772AC33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en-GB" altLang="en-US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wara</a:t>
            </a:r>
            <a:r>
              <a:rPr lang="en-GB" alt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State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6882DF2C-9120-4A66-8487-575D9494F4D6}"/>
              </a:ext>
            </a:extLst>
          </p:cNvPr>
          <p:cNvSpPr txBox="1"/>
          <p:nvPr/>
        </p:nvSpPr>
        <p:spPr>
          <a:xfrm rot="16200000">
            <a:off x="-2284101" y="3478372"/>
            <a:ext cx="5303837" cy="2743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prstClr val="white"/>
                </a:solidFill>
                <a:latin typeface="Calibri" panose="020F0502020204030204" pitchFamily="34" charset="0"/>
                <a:cs typeface="Arial" charset="0"/>
              </a:rPr>
              <a:t>State of Harmony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grpSp>
        <p:nvGrpSpPr>
          <p:cNvPr id="23566" name="Group 9">
            <a:extLst>
              <a:ext uri="{FF2B5EF4-FFF2-40B4-BE49-F238E27FC236}">
                <a16:creationId xmlns:a16="http://schemas.microsoft.com/office/drawing/2014/main" id="{5B6131BD-3CE3-4FC4-B13A-FA9B797C1EF5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41338" y="963613"/>
            <a:ext cx="2897187" cy="2319337"/>
            <a:chOff x="770228" y="1459989"/>
            <a:chExt cx="4081047" cy="3267527"/>
          </a:xfrm>
        </p:grpSpPr>
        <p:sp>
          <p:nvSpPr>
            <p:cNvPr id="299" name="Freeform 4">
              <a:extLst>
                <a:ext uri="{FF2B5EF4-FFF2-40B4-BE49-F238E27FC236}">
                  <a16:creationId xmlns:a16="http://schemas.microsoft.com/office/drawing/2014/main" id="{B6150C82-CBE5-48B4-B60C-C210BB7B26A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91538" y="4349548"/>
              <a:ext cx="418167" cy="377968"/>
            </a:xfrm>
            <a:custGeom>
              <a:avLst/>
              <a:gdLst>
                <a:gd name="T0" fmla="*/ 12 w 786"/>
                <a:gd name="T1" fmla="*/ 19 h 714"/>
                <a:gd name="T2" fmla="*/ 22 w 786"/>
                <a:gd name="T3" fmla="*/ 18 h 714"/>
                <a:gd name="T4" fmla="*/ 27 w 786"/>
                <a:gd name="T5" fmla="*/ 17 h 714"/>
                <a:gd name="T6" fmla="*/ 30 w 786"/>
                <a:gd name="T7" fmla="*/ 14 h 714"/>
                <a:gd name="T8" fmla="*/ 37 w 786"/>
                <a:gd name="T9" fmla="*/ 16 h 714"/>
                <a:gd name="T10" fmla="*/ 43 w 786"/>
                <a:gd name="T11" fmla="*/ 13 h 714"/>
                <a:gd name="T12" fmla="*/ 48 w 786"/>
                <a:gd name="T13" fmla="*/ 8 h 714"/>
                <a:gd name="T14" fmla="*/ 55 w 786"/>
                <a:gd name="T15" fmla="*/ 4 h 714"/>
                <a:gd name="T16" fmla="*/ 66 w 786"/>
                <a:gd name="T17" fmla="*/ 0 h 714"/>
                <a:gd name="T18" fmla="*/ 63 w 786"/>
                <a:gd name="T19" fmla="*/ 12 h 714"/>
                <a:gd name="T20" fmla="*/ 59 w 786"/>
                <a:gd name="T21" fmla="*/ 19 h 714"/>
                <a:gd name="T22" fmla="*/ 57 w 786"/>
                <a:gd name="T23" fmla="*/ 29 h 714"/>
                <a:gd name="T24" fmla="*/ 59 w 786"/>
                <a:gd name="T25" fmla="*/ 36 h 714"/>
                <a:gd name="T26" fmla="*/ 66 w 786"/>
                <a:gd name="T27" fmla="*/ 35 h 714"/>
                <a:gd name="T28" fmla="*/ 64 w 786"/>
                <a:gd name="T29" fmla="*/ 41 h 714"/>
                <a:gd name="T30" fmla="*/ 64 w 786"/>
                <a:gd name="T31" fmla="*/ 48 h 714"/>
                <a:gd name="T32" fmla="*/ 63 w 786"/>
                <a:gd name="T33" fmla="*/ 56 h 714"/>
                <a:gd name="T34" fmla="*/ 60 w 786"/>
                <a:gd name="T35" fmla="*/ 60 h 714"/>
                <a:gd name="T36" fmla="*/ 57 w 786"/>
                <a:gd name="T37" fmla="*/ 58 h 714"/>
                <a:gd name="T38" fmla="*/ 54 w 786"/>
                <a:gd name="T39" fmla="*/ 54 h 714"/>
                <a:gd name="T40" fmla="*/ 53 w 786"/>
                <a:gd name="T41" fmla="*/ 51 h 714"/>
                <a:gd name="T42" fmla="*/ 51 w 786"/>
                <a:gd name="T43" fmla="*/ 53 h 714"/>
                <a:gd name="T44" fmla="*/ 49 w 786"/>
                <a:gd name="T45" fmla="*/ 54 h 714"/>
                <a:gd name="T46" fmla="*/ 47 w 786"/>
                <a:gd name="T47" fmla="*/ 50 h 714"/>
                <a:gd name="T48" fmla="*/ 48 w 786"/>
                <a:gd name="T49" fmla="*/ 54 h 714"/>
                <a:gd name="T50" fmla="*/ 47 w 786"/>
                <a:gd name="T51" fmla="*/ 54 h 714"/>
                <a:gd name="T52" fmla="*/ 46 w 786"/>
                <a:gd name="T53" fmla="*/ 59 h 714"/>
                <a:gd name="T54" fmla="*/ 47 w 786"/>
                <a:gd name="T55" fmla="*/ 62 h 714"/>
                <a:gd name="T56" fmla="*/ 42 w 786"/>
                <a:gd name="T57" fmla="*/ 62 h 714"/>
                <a:gd name="T58" fmla="*/ 39 w 786"/>
                <a:gd name="T59" fmla="*/ 57 h 714"/>
                <a:gd name="T60" fmla="*/ 40 w 786"/>
                <a:gd name="T61" fmla="*/ 54 h 714"/>
                <a:gd name="T62" fmla="*/ 43 w 786"/>
                <a:gd name="T63" fmla="*/ 55 h 714"/>
                <a:gd name="T64" fmla="*/ 40 w 786"/>
                <a:gd name="T65" fmla="*/ 53 h 714"/>
                <a:gd name="T66" fmla="*/ 38 w 786"/>
                <a:gd name="T67" fmla="*/ 57 h 714"/>
                <a:gd name="T68" fmla="*/ 37 w 786"/>
                <a:gd name="T69" fmla="*/ 57 h 714"/>
                <a:gd name="T70" fmla="*/ 37 w 786"/>
                <a:gd name="T71" fmla="*/ 60 h 714"/>
                <a:gd name="T72" fmla="*/ 33 w 786"/>
                <a:gd name="T73" fmla="*/ 56 h 714"/>
                <a:gd name="T74" fmla="*/ 32 w 786"/>
                <a:gd name="T75" fmla="*/ 58 h 714"/>
                <a:gd name="T76" fmla="*/ 26 w 786"/>
                <a:gd name="T77" fmla="*/ 54 h 714"/>
                <a:gd name="T78" fmla="*/ 26 w 786"/>
                <a:gd name="T79" fmla="*/ 54 h 714"/>
                <a:gd name="T80" fmla="*/ 24 w 786"/>
                <a:gd name="T81" fmla="*/ 51 h 714"/>
                <a:gd name="T82" fmla="*/ 22 w 786"/>
                <a:gd name="T83" fmla="*/ 51 h 714"/>
                <a:gd name="T84" fmla="*/ 20 w 786"/>
                <a:gd name="T85" fmla="*/ 50 h 714"/>
                <a:gd name="T86" fmla="*/ 20 w 786"/>
                <a:gd name="T87" fmla="*/ 48 h 714"/>
                <a:gd name="T88" fmla="*/ 18 w 786"/>
                <a:gd name="T89" fmla="*/ 47 h 714"/>
                <a:gd name="T90" fmla="*/ 15 w 786"/>
                <a:gd name="T91" fmla="*/ 45 h 714"/>
                <a:gd name="T92" fmla="*/ 11 w 786"/>
                <a:gd name="T93" fmla="*/ 39 h 714"/>
                <a:gd name="T94" fmla="*/ 12 w 786"/>
                <a:gd name="T95" fmla="*/ 36 h 714"/>
                <a:gd name="T96" fmla="*/ 7 w 786"/>
                <a:gd name="T97" fmla="*/ 33 h 714"/>
                <a:gd name="T98" fmla="*/ 5 w 786"/>
                <a:gd name="T99" fmla="*/ 28 h 714"/>
                <a:gd name="T100" fmla="*/ 7 w 786"/>
                <a:gd name="T101" fmla="*/ 30 h 714"/>
                <a:gd name="T102" fmla="*/ 4 w 786"/>
                <a:gd name="T103" fmla="*/ 24 h 714"/>
                <a:gd name="T104" fmla="*/ 2 w 786"/>
                <a:gd name="T105" fmla="*/ 20 h 714"/>
                <a:gd name="T106" fmla="*/ 0 w 786"/>
                <a:gd name="T107" fmla="*/ 15 h 714"/>
                <a:gd name="T108" fmla="*/ 4 w 786"/>
                <a:gd name="T109" fmla="*/ 16 h 714"/>
                <a:gd name="T110" fmla="*/ 55 w 786"/>
                <a:gd name="T111" fmla="*/ 60 h 714"/>
                <a:gd name="T112" fmla="*/ 47 w 786"/>
                <a:gd name="T113" fmla="*/ 60 h 714"/>
                <a:gd name="T114" fmla="*/ 51 w 786"/>
                <a:gd name="T115" fmla="*/ 54 h 714"/>
                <a:gd name="T116" fmla="*/ 54 w 786"/>
                <a:gd name="T117" fmla="*/ 56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86"/>
                <a:gd name="T178" fmla="*/ 0 h 714"/>
                <a:gd name="T179" fmla="*/ 786 w 786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86" h="714">
                  <a:moveTo>
                    <a:pt x="54" y="186"/>
                  </a:moveTo>
                  <a:lnTo>
                    <a:pt x="54" y="192"/>
                  </a:lnTo>
                  <a:lnTo>
                    <a:pt x="72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204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20" y="210"/>
                  </a:lnTo>
                  <a:lnTo>
                    <a:pt x="126" y="210"/>
                  </a:lnTo>
                  <a:lnTo>
                    <a:pt x="132" y="210"/>
                  </a:lnTo>
                  <a:lnTo>
                    <a:pt x="132" y="216"/>
                  </a:lnTo>
                  <a:lnTo>
                    <a:pt x="138" y="222"/>
                  </a:lnTo>
                  <a:lnTo>
                    <a:pt x="150" y="222"/>
                  </a:lnTo>
                  <a:lnTo>
                    <a:pt x="162" y="234"/>
                  </a:lnTo>
                  <a:lnTo>
                    <a:pt x="168" y="240"/>
                  </a:lnTo>
                  <a:lnTo>
                    <a:pt x="180" y="240"/>
                  </a:lnTo>
                  <a:lnTo>
                    <a:pt x="186" y="228"/>
                  </a:lnTo>
                  <a:lnTo>
                    <a:pt x="210" y="234"/>
                  </a:lnTo>
                  <a:lnTo>
                    <a:pt x="222" y="228"/>
                  </a:lnTo>
                  <a:lnTo>
                    <a:pt x="228" y="216"/>
                  </a:lnTo>
                  <a:lnTo>
                    <a:pt x="234" y="210"/>
                  </a:lnTo>
                  <a:lnTo>
                    <a:pt x="240" y="216"/>
                  </a:lnTo>
                  <a:lnTo>
                    <a:pt x="246" y="210"/>
                  </a:lnTo>
                  <a:lnTo>
                    <a:pt x="252" y="210"/>
                  </a:lnTo>
                  <a:lnTo>
                    <a:pt x="258" y="210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192"/>
                  </a:lnTo>
                  <a:lnTo>
                    <a:pt x="270" y="192"/>
                  </a:lnTo>
                  <a:lnTo>
                    <a:pt x="276" y="192"/>
                  </a:lnTo>
                  <a:lnTo>
                    <a:pt x="282" y="192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192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198"/>
                  </a:lnTo>
                  <a:lnTo>
                    <a:pt x="312" y="198"/>
                  </a:lnTo>
                  <a:lnTo>
                    <a:pt x="312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24" y="186"/>
                  </a:lnTo>
                  <a:lnTo>
                    <a:pt x="318" y="180"/>
                  </a:lnTo>
                  <a:lnTo>
                    <a:pt x="324" y="180"/>
                  </a:lnTo>
                  <a:lnTo>
                    <a:pt x="330" y="186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74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54" y="144"/>
                  </a:lnTo>
                  <a:lnTo>
                    <a:pt x="360" y="144"/>
                  </a:lnTo>
                  <a:lnTo>
                    <a:pt x="372" y="156"/>
                  </a:lnTo>
                  <a:lnTo>
                    <a:pt x="372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96" y="168"/>
                  </a:lnTo>
                  <a:lnTo>
                    <a:pt x="396" y="174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26" y="186"/>
                  </a:lnTo>
                  <a:lnTo>
                    <a:pt x="432" y="186"/>
                  </a:lnTo>
                  <a:lnTo>
                    <a:pt x="438" y="180"/>
                  </a:lnTo>
                  <a:lnTo>
                    <a:pt x="438" y="168"/>
                  </a:lnTo>
                  <a:lnTo>
                    <a:pt x="438" y="162"/>
                  </a:lnTo>
                  <a:lnTo>
                    <a:pt x="444" y="156"/>
                  </a:lnTo>
                  <a:lnTo>
                    <a:pt x="450" y="156"/>
                  </a:lnTo>
                  <a:lnTo>
                    <a:pt x="456" y="150"/>
                  </a:lnTo>
                  <a:lnTo>
                    <a:pt x="462" y="156"/>
                  </a:lnTo>
                  <a:lnTo>
                    <a:pt x="468" y="162"/>
                  </a:lnTo>
                  <a:lnTo>
                    <a:pt x="474" y="162"/>
                  </a:lnTo>
                  <a:lnTo>
                    <a:pt x="486" y="162"/>
                  </a:lnTo>
                  <a:lnTo>
                    <a:pt x="492" y="156"/>
                  </a:lnTo>
                  <a:lnTo>
                    <a:pt x="498" y="150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28" y="126"/>
                  </a:lnTo>
                  <a:lnTo>
                    <a:pt x="522" y="120"/>
                  </a:lnTo>
                  <a:lnTo>
                    <a:pt x="522" y="114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28" y="102"/>
                  </a:lnTo>
                  <a:lnTo>
                    <a:pt x="534" y="96"/>
                  </a:lnTo>
                  <a:lnTo>
                    <a:pt x="552" y="96"/>
                  </a:lnTo>
                  <a:lnTo>
                    <a:pt x="570" y="102"/>
                  </a:lnTo>
                  <a:lnTo>
                    <a:pt x="582" y="96"/>
                  </a:lnTo>
                  <a:lnTo>
                    <a:pt x="582" y="90"/>
                  </a:lnTo>
                  <a:lnTo>
                    <a:pt x="582" y="78"/>
                  </a:lnTo>
                  <a:lnTo>
                    <a:pt x="582" y="72"/>
                  </a:lnTo>
                  <a:lnTo>
                    <a:pt x="582" y="66"/>
                  </a:lnTo>
                  <a:lnTo>
                    <a:pt x="594" y="60"/>
                  </a:lnTo>
                  <a:lnTo>
                    <a:pt x="600" y="60"/>
                  </a:lnTo>
                  <a:lnTo>
                    <a:pt x="606" y="54"/>
                  </a:lnTo>
                  <a:lnTo>
                    <a:pt x="618" y="48"/>
                  </a:lnTo>
                  <a:lnTo>
                    <a:pt x="618" y="42"/>
                  </a:lnTo>
                  <a:lnTo>
                    <a:pt x="624" y="42"/>
                  </a:lnTo>
                  <a:lnTo>
                    <a:pt x="636" y="48"/>
                  </a:lnTo>
                  <a:lnTo>
                    <a:pt x="648" y="54"/>
                  </a:lnTo>
                  <a:lnTo>
                    <a:pt x="660" y="54"/>
                  </a:lnTo>
                  <a:lnTo>
                    <a:pt x="666" y="60"/>
                  </a:lnTo>
                  <a:lnTo>
                    <a:pt x="672" y="54"/>
                  </a:lnTo>
                  <a:lnTo>
                    <a:pt x="684" y="48"/>
                  </a:lnTo>
                  <a:lnTo>
                    <a:pt x="708" y="42"/>
                  </a:lnTo>
                  <a:lnTo>
                    <a:pt x="714" y="42"/>
                  </a:lnTo>
                  <a:lnTo>
                    <a:pt x="720" y="36"/>
                  </a:lnTo>
                  <a:lnTo>
                    <a:pt x="720" y="30"/>
                  </a:lnTo>
                  <a:lnTo>
                    <a:pt x="714" y="12"/>
                  </a:lnTo>
                  <a:lnTo>
                    <a:pt x="708" y="0"/>
                  </a:lnTo>
                  <a:lnTo>
                    <a:pt x="738" y="6"/>
                  </a:lnTo>
                  <a:lnTo>
                    <a:pt x="756" y="6"/>
                  </a:lnTo>
                  <a:lnTo>
                    <a:pt x="762" y="42"/>
                  </a:lnTo>
                  <a:lnTo>
                    <a:pt x="738" y="72"/>
                  </a:lnTo>
                  <a:lnTo>
                    <a:pt x="750" y="90"/>
                  </a:lnTo>
                  <a:lnTo>
                    <a:pt x="762" y="96"/>
                  </a:lnTo>
                  <a:lnTo>
                    <a:pt x="756" y="102"/>
                  </a:lnTo>
                  <a:lnTo>
                    <a:pt x="750" y="108"/>
                  </a:lnTo>
                  <a:lnTo>
                    <a:pt x="750" y="114"/>
                  </a:lnTo>
                  <a:lnTo>
                    <a:pt x="750" y="120"/>
                  </a:lnTo>
                  <a:lnTo>
                    <a:pt x="750" y="126"/>
                  </a:lnTo>
                  <a:lnTo>
                    <a:pt x="750" y="132"/>
                  </a:lnTo>
                  <a:lnTo>
                    <a:pt x="738" y="132"/>
                  </a:lnTo>
                  <a:lnTo>
                    <a:pt x="732" y="138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14" y="144"/>
                  </a:lnTo>
                  <a:lnTo>
                    <a:pt x="714" y="150"/>
                  </a:lnTo>
                  <a:lnTo>
                    <a:pt x="720" y="156"/>
                  </a:lnTo>
                  <a:lnTo>
                    <a:pt x="720" y="162"/>
                  </a:lnTo>
                  <a:lnTo>
                    <a:pt x="714" y="162"/>
                  </a:lnTo>
                  <a:lnTo>
                    <a:pt x="708" y="168"/>
                  </a:lnTo>
                  <a:lnTo>
                    <a:pt x="708" y="180"/>
                  </a:lnTo>
                  <a:lnTo>
                    <a:pt x="708" y="192"/>
                  </a:lnTo>
                  <a:lnTo>
                    <a:pt x="696" y="198"/>
                  </a:lnTo>
                  <a:lnTo>
                    <a:pt x="696" y="204"/>
                  </a:lnTo>
                  <a:lnTo>
                    <a:pt x="684" y="210"/>
                  </a:lnTo>
                  <a:lnTo>
                    <a:pt x="684" y="216"/>
                  </a:lnTo>
                  <a:lnTo>
                    <a:pt x="684" y="222"/>
                  </a:lnTo>
                  <a:lnTo>
                    <a:pt x="678" y="228"/>
                  </a:lnTo>
                  <a:lnTo>
                    <a:pt x="678" y="234"/>
                  </a:lnTo>
                  <a:lnTo>
                    <a:pt x="672" y="240"/>
                  </a:lnTo>
                  <a:lnTo>
                    <a:pt x="672" y="252"/>
                  </a:lnTo>
                  <a:lnTo>
                    <a:pt x="672" y="258"/>
                  </a:lnTo>
                  <a:lnTo>
                    <a:pt x="666" y="264"/>
                  </a:lnTo>
                  <a:lnTo>
                    <a:pt x="678" y="264"/>
                  </a:lnTo>
                  <a:lnTo>
                    <a:pt x="684" y="276"/>
                  </a:lnTo>
                  <a:lnTo>
                    <a:pt x="684" y="288"/>
                  </a:lnTo>
                  <a:lnTo>
                    <a:pt x="672" y="300"/>
                  </a:lnTo>
                  <a:lnTo>
                    <a:pt x="660" y="318"/>
                  </a:lnTo>
                  <a:lnTo>
                    <a:pt x="660" y="336"/>
                  </a:lnTo>
                  <a:lnTo>
                    <a:pt x="654" y="342"/>
                  </a:lnTo>
                  <a:lnTo>
                    <a:pt x="660" y="354"/>
                  </a:lnTo>
                  <a:lnTo>
                    <a:pt x="660" y="366"/>
                  </a:lnTo>
                  <a:lnTo>
                    <a:pt x="666" y="378"/>
                  </a:lnTo>
                  <a:lnTo>
                    <a:pt x="672" y="390"/>
                  </a:lnTo>
                  <a:lnTo>
                    <a:pt x="678" y="396"/>
                  </a:lnTo>
                  <a:lnTo>
                    <a:pt x="684" y="390"/>
                  </a:lnTo>
                  <a:lnTo>
                    <a:pt x="690" y="390"/>
                  </a:lnTo>
                  <a:lnTo>
                    <a:pt x="690" y="396"/>
                  </a:lnTo>
                  <a:lnTo>
                    <a:pt x="684" y="396"/>
                  </a:lnTo>
                  <a:lnTo>
                    <a:pt x="684" y="402"/>
                  </a:lnTo>
                  <a:lnTo>
                    <a:pt x="684" y="408"/>
                  </a:lnTo>
                  <a:lnTo>
                    <a:pt x="678" y="414"/>
                  </a:lnTo>
                  <a:lnTo>
                    <a:pt x="684" y="414"/>
                  </a:lnTo>
                  <a:lnTo>
                    <a:pt x="684" y="420"/>
                  </a:lnTo>
                  <a:lnTo>
                    <a:pt x="684" y="426"/>
                  </a:lnTo>
                  <a:lnTo>
                    <a:pt x="690" y="420"/>
                  </a:lnTo>
                  <a:lnTo>
                    <a:pt x="696" y="420"/>
                  </a:lnTo>
                  <a:lnTo>
                    <a:pt x="696" y="426"/>
                  </a:lnTo>
                  <a:lnTo>
                    <a:pt x="690" y="426"/>
                  </a:lnTo>
                  <a:lnTo>
                    <a:pt x="696" y="426"/>
                  </a:lnTo>
                  <a:lnTo>
                    <a:pt x="708" y="426"/>
                  </a:lnTo>
                  <a:lnTo>
                    <a:pt x="726" y="414"/>
                  </a:lnTo>
                  <a:lnTo>
                    <a:pt x="732" y="408"/>
                  </a:lnTo>
                  <a:lnTo>
                    <a:pt x="744" y="402"/>
                  </a:lnTo>
                  <a:lnTo>
                    <a:pt x="756" y="402"/>
                  </a:lnTo>
                  <a:lnTo>
                    <a:pt x="768" y="402"/>
                  </a:lnTo>
                  <a:lnTo>
                    <a:pt x="786" y="408"/>
                  </a:lnTo>
                  <a:lnTo>
                    <a:pt x="786" y="414"/>
                  </a:lnTo>
                  <a:lnTo>
                    <a:pt x="774" y="420"/>
                  </a:lnTo>
                  <a:lnTo>
                    <a:pt x="774" y="426"/>
                  </a:lnTo>
                  <a:lnTo>
                    <a:pt x="768" y="432"/>
                  </a:lnTo>
                  <a:lnTo>
                    <a:pt x="762" y="438"/>
                  </a:lnTo>
                  <a:lnTo>
                    <a:pt x="756" y="438"/>
                  </a:lnTo>
                  <a:lnTo>
                    <a:pt x="756" y="444"/>
                  </a:lnTo>
                  <a:lnTo>
                    <a:pt x="756" y="450"/>
                  </a:lnTo>
                  <a:lnTo>
                    <a:pt x="762" y="450"/>
                  </a:lnTo>
                  <a:lnTo>
                    <a:pt x="750" y="456"/>
                  </a:lnTo>
                  <a:lnTo>
                    <a:pt x="738" y="468"/>
                  </a:lnTo>
                  <a:lnTo>
                    <a:pt x="726" y="480"/>
                  </a:lnTo>
                  <a:lnTo>
                    <a:pt x="726" y="486"/>
                  </a:lnTo>
                  <a:lnTo>
                    <a:pt x="732" y="486"/>
                  </a:lnTo>
                  <a:lnTo>
                    <a:pt x="732" y="492"/>
                  </a:lnTo>
                  <a:lnTo>
                    <a:pt x="732" y="504"/>
                  </a:lnTo>
                  <a:lnTo>
                    <a:pt x="738" y="504"/>
                  </a:lnTo>
                  <a:lnTo>
                    <a:pt x="744" y="510"/>
                  </a:lnTo>
                  <a:lnTo>
                    <a:pt x="738" y="522"/>
                  </a:lnTo>
                  <a:lnTo>
                    <a:pt x="744" y="528"/>
                  </a:lnTo>
                  <a:lnTo>
                    <a:pt x="756" y="534"/>
                  </a:lnTo>
                  <a:lnTo>
                    <a:pt x="756" y="540"/>
                  </a:lnTo>
                  <a:lnTo>
                    <a:pt x="744" y="552"/>
                  </a:lnTo>
                  <a:lnTo>
                    <a:pt x="738" y="552"/>
                  </a:lnTo>
                  <a:lnTo>
                    <a:pt x="738" y="558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64"/>
                  </a:lnTo>
                  <a:lnTo>
                    <a:pt x="744" y="576"/>
                  </a:lnTo>
                  <a:lnTo>
                    <a:pt x="738" y="588"/>
                  </a:lnTo>
                  <a:lnTo>
                    <a:pt x="738" y="594"/>
                  </a:lnTo>
                  <a:lnTo>
                    <a:pt x="738" y="600"/>
                  </a:lnTo>
                  <a:lnTo>
                    <a:pt x="738" y="606"/>
                  </a:lnTo>
                  <a:lnTo>
                    <a:pt x="732" y="612"/>
                  </a:lnTo>
                  <a:lnTo>
                    <a:pt x="726" y="624"/>
                  </a:lnTo>
                  <a:lnTo>
                    <a:pt x="726" y="636"/>
                  </a:lnTo>
                  <a:lnTo>
                    <a:pt x="726" y="648"/>
                  </a:lnTo>
                  <a:lnTo>
                    <a:pt x="738" y="654"/>
                  </a:lnTo>
                  <a:lnTo>
                    <a:pt x="750" y="660"/>
                  </a:lnTo>
                  <a:lnTo>
                    <a:pt x="750" y="666"/>
                  </a:lnTo>
                  <a:lnTo>
                    <a:pt x="750" y="678"/>
                  </a:lnTo>
                  <a:lnTo>
                    <a:pt x="744" y="678"/>
                  </a:lnTo>
                  <a:lnTo>
                    <a:pt x="738" y="684"/>
                  </a:lnTo>
                  <a:lnTo>
                    <a:pt x="732" y="684"/>
                  </a:lnTo>
                  <a:lnTo>
                    <a:pt x="720" y="678"/>
                  </a:lnTo>
                  <a:lnTo>
                    <a:pt x="714" y="684"/>
                  </a:lnTo>
                  <a:lnTo>
                    <a:pt x="708" y="684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0" y="690"/>
                  </a:lnTo>
                  <a:lnTo>
                    <a:pt x="690" y="684"/>
                  </a:lnTo>
                  <a:lnTo>
                    <a:pt x="690" y="690"/>
                  </a:lnTo>
                  <a:lnTo>
                    <a:pt x="684" y="690"/>
                  </a:lnTo>
                  <a:lnTo>
                    <a:pt x="684" y="684"/>
                  </a:lnTo>
                  <a:lnTo>
                    <a:pt x="678" y="684"/>
                  </a:lnTo>
                  <a:lnTo>
                    <a:pt x="672" y="678"/>
                  </a:lnTo>
                  <a:lnTo>
                    <a:pt x="672" y="672"/>
                  </a:lnTo>
                  <a:lnTo>
                    <a:pt x="678" y="672"/>
                  </a:lnTo>
                  <a:lnTo>
                    <a:pt x="672" y="672"/>
                  </a:lnTo>
                  <a:lnTo>
                    <a:pt x="666" y="672"/>
                  </a:lnTo>
                  <a:lnTo>
                    <a:pt x="660" y="672"/>
                  </a:lnTo>
                  <a:lnTo>
                    <a:pt x="654" y="672"/>
                  </a:lnTo>
                  <a:lnTo>
                    <a:pt x="654" y="666"/>
                  </a:lnTo>
                  <a:lnTo>
                    <a:pt x="648" y="666"/>
                  </a:lnTo>
                  <a:lnTo>
                    <a:pt x="642" y="660"/>
                  </a:lnTo>
                  <a:lnTo>
                    <a:pt x="642" y="654"/>
                  </a:lnTo>
                  <a:lnTo>
                    <a:pt x="642" y="648"/>
                  </a:lnTo>
                  <a:lnTo>
                    <a:pt x="636" y="648"/>
                  </a:lnTo>
                  <a:lnTo>
                    <a:pt x="630" y="648"/>
                  </a:lnTo>
                  <a:lnTo>
                    <a:pt x="624" y="648"/>
                  </a:lnTo>
                  <a:lnTo>
                    <a:pt x="624" y="642"/>
                  </a:lnTo>
                  <a:lnTo>
                    <a:pt x="618" y="636"/>
                  </a:lnTo>
                  <a:lnTo>
                    <a:pt x="624" y="636"/>
                  </a:lnTo>
                  <a:lnTo>
                    <a:pt x="624" y="630"/>
                  </a:lnTo>
                  <a:lnTo>
                    <a:pt x="618" y="630"/>
                  </a:lnTo>
                  <a:lnTo>
                    <a:pt x="618" y="624"/>
                  </a:lnTo>
                  <a:lnTo>
                    <a:pt x="618" y="618"/>
                  </a:lnTo>
                  <a:lnTo>
                    <a:pt x="618" y="612"/>
                  </a:lnTo>
                  <a:lnTo>
                    <a:pt x="618" y="606"/>
                  </a:lnTo>
                  <a:lnTo>
                    <a:pt x="624" y="606"/>
                  </a:lnTo>
                  <a:lnTo>
                    <a:pt x="624" y="600"/>
                  </a:lnTo>
                  <a:lnTo>
                    <a:pt x="618" y="600"/>
                  </a:lnTo>
                  <a:lnTo>
                    <a:pt x="618" y="594"/>
                  </a:lnTo>
                  <a:lnTo>
                    <a:pt x="618" y="588"/>
                  </a:lnTo>
                  <a:lnTo>
                    <a:pt x="618" y="582"/>
                  </a:lnTo>
                  <a:lnTo>
                    <a:pt x="612" y="582"/>
                  </a:lnTo>
                  <a:lnTo>
                    <a:pt x="606" y="582"/>
                  </a:lnTo>
                  <a:lnTo>
                    <a:pt x="612" y="582"/>
                  </a:lnTo>
                  <a:lnTo>
                    <a:pt x="612" y="588"/>
                  </a:lnTo>
                  <a:lnTo>
                    <a:pt x="612" y="594"/>
                  </a:lnTo>
                  <a:lnTo>
                    <a:pt x="618" y="594"/>
                  </a:lnTo>
                  <a:lnTo>
                    <a:pt x="618" y="600"/>
                  </a:lnTo>
                  <a:lnTo>
                    <a:pt x="618" y="606"/>
                  </a:lnTo>
                  <a:lnTo>
                    <a:pt x="618" y="612"/>
                  </a:lnTo>
                  <a:lnTo>
                    <a:pt x="612" y="612"/>
                  </a:lnTo>
                  <a:lnTo>
                    <a:pt x="612" y="618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94" y="612"/>
                  </a:lnTo>
                  <a:lnTo>
                    <a:pt x="588" y="606"/>
                  </a:lnTo>
                  <a:lnTo>
                    <a:pt x="588" y="612"/>
                  </a:lnTo>
                  <a:lnTo>
                    <a:pt x="594" y="612"/>
                  </a:lnTo>
                  <a:lnTo>
                    <a:pt x="594" y="618"/>
                  </a:lnTo>
                  <a:lnTo>
                    <a:pt x="588" y="618"/>
                  </a:lnTo>
                  <a:lnTo>
                    <a:pt x="588" y="624"/>
                  </a:lnTo>
                  <a:lnTo>
                    <a:pt x="582" y="624"/>
                  </a:lnTo>
                  <a:lnTo>
                    <a:pt x="582" y="630"/>
                  </a:lnTo>
                  <a:lnTo>
                    <a:pt x="576" y="630"/>
                  </a:lnTo>
                  <a:lnTo>
                    <a:pt x="576" y="636"/>
                  </a:lnTo>
                  <a:lnTo>
                    <a:pt x="570" y="636"/>
                  </a:lnTo>
                  <a:lnTo>
                    <a:pt x="570" y="642"/>
                  </a:lnTo>
                  <a:lnTo>
                    <a:pt x="564" y="642"/>
                  </a:lnTo>
                  <a:lnTo>
                    <a:pt x="564" y="636"/>
                  </a:lnTo>
                  <a:lnTo>
                    <a:pt x="564" y="630"/>
                  </a:lnTo>
                  <a:lnTo>
                    <a:pt x="564" y="624"/>
                  </a:lnTo>
                  <a:lnTo>
                    <a:pt x="564" y="618"/>
                  </a:lnTo>
                  <a:lnTo>
                    <a:pt x="570" y="612"/>
                  </a:lnTo>
                  <a:lnTo>
                    <a:pt x="564" y="606"/>
                  </a:lnTo>
                  <a:lnTo>
                    <a:pt x="564" y="600"/>
                  </a:lnTo>
                  <a:lnTo>
                    <a:pt x="564" y="594"/>
                  </a:lnTo>
                  <a:lnTo>
                    <a:pt x="558" y="594"/>
                  </a:lnTo>
                  <a:lnTo>
                    <a:pt x="558" y="588"/>
                  </a:lnTo>
                  <a:lnTo>
                    <a:pt x="552" y="582"/>
                  </a:lnTo>
                  <a:lnTo>
                    <a:pt x="552" y="576"/>
                  </a:lnTo>
                  <a:lnTo>
                    <a:pt x="552" y="570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6" y="582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58" y="588"/>
                  </a:lnTo>
                  <a:lnTo>
                    <a:pt x="558" y="594"/>
                  </a:lnTo>
                  <a:lnTo>
                    <a:pt x="558" y="600"/>
                  </a:lnTo>
                  <a:lnTo>
                    <a:pt x="558" y="606"/>
                  </a:lnTo>
                  <a:lnTo>
                    <a:pt x="552" y="612"/>
                  </a:lnTo>
                  <a:lnTo>
                    <a:pt x="558" y="612"/>
                  </a:lnTo>
                  <a:lnTo>
                    <a:pt x="558" y="618"/>
                  </a:lnTo>
                  <a:lnTo>
                    <a:pt x="558" y="624"/>
                  </a:lnTo>
                  <a:lnTo>
                    <a:pt x="558" y="630"/>
                  </a:lnTo>
                  <a:lnTo>
                    <a:pt x="552" y="630"/>
                  </a:lnTo>
                  <a:lnTo>
                    <a:pt x="552" y="624"/>
                  </a:lnTo>
                  <a:lnTo>
                    <a:pt x="546" y="624"/>
                  </a:lnTo>
                  <a:lnTo>
                    <a:pt x="546" y="618"/>
                  </a:lnTo>
                  <a:lnTo>
                    <a:pt x="546" y="612"/>
                  </a:lnTo>
                  <a:lnTo>
                    <a:pt x="540" y="612"/>
                  </a:lnTo>
                  <a:lnTo>
                    <a:pt x="534" y="612"/>
                  </a:lnTo>
                  <a:lnTo>
                    <a:pt x="528" y="612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28" y="618"/>
                  </a:lnTo>
                  <a:lnTo>
                    <a:pt x="534" y="618"/>
                  </a:lnTo>
                  <a:lnTo>
                    <a:pt x="540" y="618"/>
                  </a:lnTo>
                  <a:lnTo>
                    <a:pt x="540" y="624"/>
                  </a:lnTo>
                  <a:lnTo>
                    <a:pt x="546" y="624"/>
                  </a:lnTo>
                  <a:lnTo>
                    <a:pt x="546" y="630"/>
                  </a:lnTo>
                  <a:lnTo>
                    <a:pt x="552" y="630"/>
                  </a:lnTo>
                  <a:lnTo>
                    <a:pt x="552" y="636"/>
                  </a:lnTo>
                  <a:lnTo>
                    <a:pt x="546" y="642"/>
                  </a:lnTo>
                  <a:lnTo>
                    <a:pt x="546" y="648"/>
                  </a:lnTo>
                  <a:lnTo>
                    <a:pt x="540" y="648"/>
                  </a:lnTo>
                  <a:lnTo>
                    <a:pt x="540" y="654"/>
                  </a:lnTo>
                  <a:lnTo>
                    <a:pt x="540" y="660"/>
                  </a:lnTo>
                  <a:lnTo>
                    <a:pt x="534" y="666"/>
                  </a:lnTo>
                  <a:lnTo>
                    <a:pt x="534" y="672"/>
                  </a:lnTo>
                  <a:lnTo>
                    <a:pt x="534" y="678"/>
                  </a:lnTo>
                  <a:lnTo>
                    <a:pt x="534" y="684"/>
                  </a:lnTo>
                  <a:lnTo>
                    <a:pt x="534" y="678"/>
                  </a:lnTo>
                  <a:lnTo>
                    <a:pt x="528" y="678"/>
                  </a:lnTo>
                  <a:lnTo>
                    <a:pt x="528" y="684"/>
                  </a:lnTo>
                  <a:lnTo>
                    <a:pt x="522" y="690"/>
                  </a:lnTo>
                  <a:lnTo>
                    <a:pt x="528" y="690"/>
                  </a:lnTo>
                  <a:lnTo>
                    <a:pt x="528" y="684"/>
                  </a:lnTo>
                  <a:lnTo>
                    <a:pt x="534" y="684"/>
                  </a:lnTo>
                  <a:lnTo>
                    <a:pt x="534" y="690"/>
                  </a:lnTo>
                  <a:lnTo>
                    <a:pt x="534" y="696"/>
                  </a:lnTo>
                  <a:lnTo>
                    <a:pt x="540" y="696"/>
                  </a:lnTo>
                  <a:lnTo>
                    <a:pt x="540" y="702"/>
                  </a:lnTo>
                  <a:lnTo>
                    <a:pt x="540" y="708"/>
                  </a:lnTo>
                  <a:lnTo>
                    <a:pt x="534" y="708"/>
                  </a:lnTo>
                  <a:lnTo>
                    <a:pt x="528" y="708"/>
                  </a:lnTo>
                  <a:lnTo>
                    <a:pt x="522" y="708"/>
                  </a:lnTo>
                  <a:lnTo>
                    <a:pt x="516" y="708"/>
                  </a:lnTo>
                  <a:lnTo>
                    <a:pt x="510" y="708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2" y="708"/>
                  </a:lnTo>
                  <a:lnTo>
                    <a:pt x="486" y="714"/>
                  </a:lnTo>
                  <a:lnTo>
                    <a:pt x="480" y="708"/>
                  </a:lnTo>
                  <a:lnTo>
                    <a:pt x="474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68" y="714"/>
                  </a:lnTo>
                  <a:lnTo>
                    <a:pt x="456" y="714"/>
                  </a:lnTo>
                  <a:lnTo>
                    <a:pt x="450" y="714"/>
                  </a:lnTo>
                  <a:lnTo>
                    <a:pt x="450" y="708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50" y="690"/>
                  </a:lnTo>
                  <a:lnTo>
                    <a:pt x="450" y="684"/>
                  </a:lnTo>
                  <a:lnTo>
                    <a:pt x="450" y="678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56" y="660"/>
                  </a:lnTo>
                  <a:lnTo>
                    <a:pt x="462" y="660"/>
                  </a:lnTo>
                  <a:lnTo>
                    <a:pt x="462" y="654"/>
                  </a:lnTo>
                  <a:lnTo>
                    <a:pt x="456" y="654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48"/>
                  </a:lnTo>
                  <a:lnTo>
                    <a:pt x="444" y="648"/>
                  </a:lnTo>
                  <a:lnTo>
                    <a:pt x="444" y="642"/>
                  </a:lnTo>
                  <a:lnTo>
                    <a:pt x="444" y="636"/>
                  </a:lnTo>
                  <a:lnTo>
                    <a:pt x="450" y="636"/>
                  </a:lnTo>
                  <a:lnTo>
                    <a:pt x="450" y="630"/>
                  </a:lnTo>
                  <a:lnTo>
                    <a:pt x="456" y="630"/>
                  </a:lnTo>
                  <a:lnTo>
                    <a:pt x="462" y="630"/>
                  </a:lnTo>
                  <a:lnTo>
                    <a:pt x="462" y="624"/>
                  </a:lnTo>
                  <a:lnTo>
                    <a:pt x="468" y="624"/>
                  </a:lnTo>
                  <a:lnTo>
                    <a:pt x="474" y="624"/>
                  </a:lnTo>
                  <a:lnTo>
                    <a:pt x="474" y="618"/>
                  </a:lnTo>
                  <a:lnTo>
                    <a:pt x="480" y="618"/>
                  </a:lnTo>
                  <a:lnTo>
                    <a:pt x="486" y="618"/>
                  </a:lnTo>
                  <a:lnTo>
                    <a:pt x="486" y="624"/>
                  </a:lnTo>
                  <a:lnTo>
                    <a:pt x="486" y="636"/>
                  </a:lnTo>
                  <a:lnTo>
                    <a:pt x="486" y="642"/>
                  </a:lnTo>
                  <a:lnTo>
                    <a:pt x="486" y="648"/>
                  </a:lnTo>
                  <a:lnTo>
                    <a:pt x="492" y="648"/>
                  </a:lnTo>
                  <a:lnTo>
                    <a:pt x="492" y="642"/>
                  </a:lnTo>
                  <a:lnTo>
                    <a:pt x="498" y="636"/>
                  </a:lnTo>
                  <a:lnTo>
                    <a:pt x="492" y="636"/>
                  </a:lnTo>
                  <a:lnTo>
                    <a:pt x="492" y="630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6" y="618"/>
                  </a:lnTo>
                  <a:lnTo>
                    <a:pt x="486" y="612"/>
                  </a:lnTo>
                  <a:lnTo>
                    <a:pt x="486" y="606"/>
                  </a:lnTo>
                  <a:lnTo>
                    <a:pt x="480" y="606"/>
                  </a:lnTo>
                  <a:lnTo>
                    <a:pt x="480" y="612"/>
                  </a:lnTo>
                  <a:lnTo>
                    <a:pt x="474" y="618"/>
                  </a:lnTo>
                  <a:lnTo>
                    <a:pt x="468" y="618"/>
                  </a:lnTo>
                  <a:lnTo>
                    <a:pt x="462" y="618"/>
                  </a:lnTo>
                  <a:lnTo>
                    <a:pt x="462" y="612"/>
                  </a:lnTo>
                  <a:lnTo>
                    <a:pt x="456" y="612"/>
                  </a:lnTo>
                  <a:lnTo>
                    <a:pt x="456" y="618"/>
                  </a:lnTo>
                  <a:lnTo>
                    <a:pt x="462" y="618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30"/>
                  </a:lnTo>
                  <a:lnTo>
                    <a:pt x="444" y="630"/>
                  </a:lnTo>
                  <a:lnTo>
                    <a:pt x="444" y="636"/>
                  </a:lnTo>
                  <a:lnTo>
                    <a:pt x="444" y="642"/>
                  </a:lnTo>
                  <a:lnTo>
                    <a:pt x="444" y="654"/>
                  </a:lnTo>
                  <a:lnTo>
                    <a:pt x="444" y="660"/>
                  </a:lnTo>
                  <a:lnTo>
                    <a:pt x="438" y="660"/>
                  </a:lnTo>
                  <a:lnTo>
                    <a:pt x="432" y="660"/>
                  </a:lnTo>
                  <a:lnTo>
                    <a:pt x="432" y="654"/>
                  </a:lnTo>
                  <a:lnTo>
                    <a:pt x="438" y="654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48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26" y="660"/>
                  </a:lnTo>
                  <a:lnTo>
                    <a:pt x="432" y="666"/>
                  </a:lnTo>
                  <a:lnTo>
                    <a:pt x="432" y="672"/>
                  </a:lnTo>
                  <a:lnTo>
                    <a:pt x="438" y="672"/>
                  </a:lnTo>
                  <a:lnTo>
                    <a:pt x="438" y="678"/>
                  </a:lnTo>
                  <a:lnTo>
                    <a:pt x="444" y="678"/>
                  </a:lnTo>
                  <a:lnTo>
                    <a:pt x="444" y="684"/>
                  </a:lnTo>
                  <a:lnTo>
                    <a:pt x="438" y="690"/>
                  </a:lnTo>
                  <a:lnTo>
                    <a:pt x="438" y="696"/>
                  </a:lnTo>
                  <a:lnTo>
                    <a:pt x="438" y="702"/>
                  </a:lnTo>
                  <a:lnTo>
                    <a:pt x="432" y="702"/>
                  </a:lnTo>
                  <a:lnTo>
                    <a:pt x="426" y="702"/>
                  </a:lnTo>
                  <a:lnTo>
                    <a:pt x="426" y="696"/>
                  </a:lnTo>
                  <a:lnTo>
                    <a:pt x="414" y="696"/>
                  </a:lnTo>
                  <a:lnTo>
                    <a:pt x="402" y="696"/>
                  </a:lnTo>
                  <a:lnTo>
                    <a:pt x="402" y="690"/>
                  </a:lnTo>
                  <a:lnTo>
                    <a:pt x="396" y="690"/>
                  </a:lnTo>
                  <a:lnTo>
                    <a:pt x="390" y="690"/>
                  </a:lnTo>
                  <a:lnTo>
                    <a:pt x="384" y="690"/>
                  </a:lnTo>
                  <a:lnTo>
                    <a:pt x="384" y="684"/>
                  </a:lnTo>
                  <a:lnTo>
                    <a:pt x="384" y="678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390" y="660"/>
                  </a:lnTo>
                  <a:lnTo>
                    <a:pt x="390" y="654"/>
                  </a:lnTo>
                  <a:lnTo>
                    <a:pt x="384" y="648"/>
                  </a:lnTo>
                  <a:lnTo>
                    <a:pt x="384" y="642"/>
                  </a:lnTo>
                  <a:lnTo>
                    <a:pt x="378" y="636"/>
                  </a:lnTo>
                  <a:lnTo>
                    <a:pt x="378" y="642"/>
                  </a:lnTo>
                  <a:lnTo>
                    <a:pt x="378" y="648"/>
                  </a:lnTo>
                  <a:lnTo>
                    <a:pt x="372" y="648"/>
                  </a:lnTo>
                  <a:lnTo>
                    <a:pt x="378" y="654"/>
                  </a:lnTo>
                  <a:lnTo>
                    <a:pt x="378" y="660"/>
                  </a:lnTo>
                  <a:lnTo>
                    <a:pt x="378" y="666"/>
                  </a:lnTo>
                  <a:lnTo>
                    <a:pt x="372" y="672"/>
                  </a:lnTo>
                  <a:lnTo>
                    <a:pt x="378" y="672"/>
                  </a:lnTo>
                  <a:lnTo>
                    <a:pt x="378" y="678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54" y="666"/>
                  </a:lnTo>
                  <a:lnTo>
                    <a:pt x="354" y="660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0" y="654"/>
                  </a:lnTo>
                  <a:lnTo>
                    <a:pt x="324" y="648"/>
                  </a:lnTo>
                  <a:lnTo>
                    <a:pt x="318" y="648"/>
                  </a:lnTo>
                  <a:lnTo>
                    <a:pt x="318" y="642"/>
                  </a:lnTo>
                  <a:lnTo>
                    <a:pt x="312" y="642"/>
                  </a:lnTo>
                  <a:lnTo>
                    <a:pt x="306" y="636"/>
                  </a:lnTo>
                  <a:lnTo>
                    <a:pt x="300" y="636"/>
                  </a:lnTo>
                  <a:lnTo>
                    <a:pt x="300" y="630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0" y="618"/>
                  </a:lnTo>
                  <a:lnTo>
                    <a:pt x="306" y="612"/>
                  </a:lnTo>
                  <a:lnTo>
                    <a:pt x="300" y="612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294" y="612"/>
                  </a:lnTo>
                  <a:lnTo>
                    <a:pt x="288" y="618"/>
                  </a:lnTo>
                  <a:lnTo>
                    <a:pt x="288" y="612"/>
                  </a:lnTo>
                  <a:lnTo>
                    <a:pt x="288" y="618"/>
                  </a:lnTo>
                  <a:lnTo>
                    <a:pt x="294" y="618"/>
                  </a:lnTo>
                  <a:lnTo>
                    <a:pt x="300" y="624"/>
                  </a:lnTo>
                  <a:lnTo>
                    <a:pt x="294" y="624"/>
                  </a:lnTo>
                  <a:lnTo>
                    <a:pt x="288" y="624"/>
                  </a:lnTo>
                  <a:lnTo>
                    <a:pt x="282" y="61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70" y="600"/>
                  </a:lnTo>
                  <a:lnTo>
                    <a:pt x="270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82" y="588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594"/>
                  </a:lnTo>
                  <a:lnTo>
                    <a:pt x="264" y="600"/>
                  </a:lnTo>
                  <a:lnTo>
                    <a:pt x="264" y="594"/>
                  </a:lnTo>
                  <a:lnTo>
                    <a:pt x="270" y="594"/>
                  </a:lnTo>
                  <a:lnTo>
                    <a:pt x="270" y="588"/>
                  </a:lnTo>
                  <a:lnTo>
                    <a:pt x="264" y="594"/>
                  </a:lnTo>
                  <a:lnTo>
                    <a:pt x="258" y="594"/>
                  </a:lnTo>
                  <a:lnTo>
                    <a:pt x="258" y="588"/>
                  </a:lnTo>
                  <a:lnTo>
                    <a:pt x="252" y="588"/>
                  </a:lnTo>
                  <a:lnTo>
                    <a:pt x="246" y="588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52" y="588"/>
                  </a:lnTo>
                  <a:lnTo>
                    <a:pt x="252" y="594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46" y="594"/>
                  </a:lnTo>
                  <a:lnTo>
                    <a:pt x="246" y="588"/>
                  </a:lnTo>
                  <a:lnTo>
                    <a:pt x="240" y="588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2" y="570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64"/>
                  </a:lnTo>
                  <a:lnTo>
                    <a:pt x="234" y="564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34" y="558"/>
                  </a:lnTo>
                  <a:lnTo>
                    <a:pt x="228" y="558"/>
                  </a:lnTo>
                  <a:lnTo>
                    <a:pt x="222" y="558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2" y="564"/>
                  </a:lnTo>
                  <a:lnTo>
                    <a:pt x="222" y="558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04" y="546"/>
                  </a:lnTo>
                  <a:lnTo>
                    <a:pt x="204" y="540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10" y="540"/>
                  </a:lnTo>
                  <a:lnTo>
                    <a:pt x="210" y="534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8"/>
                  </a:lnTo>
                  <a:lnTo>
                    <a:pt x="174" y="516"/>
                  </a:lnTo>
                  <a:lnTo>
                    <a:pt x="168" y="510"/>
                  </a:lnTo>
                  <a:lnTo>
                    <a:pt x="162" y="504"/>
                  </a:lnTo>
                  <a:lnTo>
                    <a:pt x="156" y="498"/>
                  </a:lnTo>
                  <a:lnTo>
                    <a:pt x="156" y="492"/>
                  </a:lnTo>
                  <a:lnTo>
                    <a:pt x="150" y="486"/>
                  </a:lnTo>
                  <a:lnTo>
                    <a:pt x="144" y="480"/>
                  </a:lnTo>
                  <a:lnTo>
                    <a:pt x="144" y="474"/>
                  </a:lnTo>
                  <a:lnTo>
                    <a:pt x="138" y="474"/>
                  </a:lnTo>
                  <a:lnTo>
                    <a:pt x="138" y="468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26" y="450"/>
                  </a:lnTo>
                  <a:lnTo>
                    <a:pt x="126" y="444"/>
                  </a:lnTo>
                  <a:lnTo>
                    <a:pt x="114" y="438"/>
                  </a:lnTo>
                  <a:lnTo>
                    <a:pt x="114" y="432"/>
                  </a:lnTo>
                  <a:lnTo>
                    <a:pt x="114" y="426"/>
                  </a:lnTo>
                  <a:lnTo>
                    <a:pt x="114" y="432"/>
                  </a:lnTo>
                  <a:lnTo>
                    <a:pt x="120" y="432"/>
                  </a:lnTo>
                  <a:lnTo>
                    <a:pt x="120" y="438"/>
                  </a:lnTo>
                  <a:lnTo>
                    <a:pt x="120" y="444"/>
                  </a:lnTo>
                  <a:lnTo>
                    <a:pt x="126" y="444"/>
                  </a:lnTo>
                  <a:lnTo>
                    <a:pt x="126" y="438"/>
                  </a:lnTo>
                  <a:lnTo>
                    <a:pt x="120" y="438"/>
                  </a:lnTo>
                  <a:lnTo>
                    <a:pt x="126" y="432"/>
                  </a:lnTo>
                  <a:lnTo>
                    <a:pt x="126" y="426"/>
                  </a:lnTo>
                  <a:lnTo>
                    <a:pt x="132" y="420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08" y="414"/>
                  </a:lnTo>
                  <a:lnTo>
                    <a:pt x="102" y="414"/>
                  </a:lnTo>
                  <a:lnTo>
                    <a:pt x="102" y="408"/>
                  </a:lnTo>
                  <a:lnTo>
                    <a:pt x="96" y="402"/>
                  </a:lnTo>
                  <a:lnTo>
                    <a:pt x="96" y="396"/>
                  </a:lnTo>
                  <a:lnTo>
                    <a:pt x="96" y="390"/>
                  </a:lnTo>
                  <a:lnTo>
                    <a:pt x="90" y="390"/>
                  </a:lnTo>
                  <a:lnTo>
                    <a:pt x="90" y="384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78" y="372"/>
                  </a:lnTo>
                  <a:lnTo>
                    <a:pt x="78" y="366"/>
                  </a:lnTo>
                  <a:lnTo>
                    <a:pt x="78" y="360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6" y="348"/>
                  </a:lnTo>
                  <a:lnTo>
                    <a:pt x="66" y="342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6" y="336"/>
                  </a:lnTo>
                  <a:lnTo>
                    <a:pt x="66" y="342"/>
                  </a:lnTo>
                  <a:lnTo>
                    <a:pt x="72" y="348"/>
                  </a:lnTo>
                  <a:lnTo>
                    <a:pt x="78" y="354"/>
                  </a:lnTo>
                  <a:lnTo>
                    <a:pt x="84" y="360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0" y="360"/>
                  </a:lnTo>
                  <a:lnTo>
                    <a:pt x="84" y="360"/>
                  </a:lnTo>
                  <a:lnTo>
                    <a:pt x="84" y="354"/>
                  </a:lnTo>
                  <a:lnTo>
                    <a:pt x="78" y="348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66" y="330"/>
                  </a:lnTo>
                  <a:lnTo>
                    <a:pt x="66" y="324"/>
                  </a:lnTo>
                  <a:lnTo>
                    <a:pt x="60" y="318"/>
                  </a:lnTo>
                  <a:lnTo>
                    <a:pt x="60" y="312"/>
                  </a:lnTo>
                  <a:lnTo>
                    <a:pt x="54" y="306"/>
                  </a:lnTo>
                  <a:lnTo>
                    <a:pt x="54" y="300"/>
                  </a:lnTo>
                  <a:lnTo>
                    <a:pt x="54" y="294"/>
                  </a:lnTo>
                  <a:lnTo>
                    <a:pt x="48" y="288"/>
                  </a:lnTo>
                  <a:lnTo>
                    <a:pt x="48" y="294"/>
                  </a:lnTo>
                  <a:lnTo>
                    <a:pt x="48" y="288"/>
                  </a:lnTo>
                  <a:lnTo>
                    <a:pt x="48" y="282"/>
                  </a:lnTo>
                  <a:lnTo>
                    <a:pt x="48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18" y="216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62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68"/>
                  </a:lnTo>
                  <a:lnTo>
                    <a:pt x="42" y="168"/>
                  </a:lnTo>
                  <a:lnTo>
                    <a:pt x="42" y="174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86"/>
                  </a:lnTo>
                  <a:close/>
                  <a:moveTo>
                    <a:pt x="642" y="660"/>
                  </a:moveTo>
                  <a:lnTo>
                    <a:pt x="642" y="666"/>
                  </a:lnTo>
                  <a:lnTo>
                    <a:pt x="648" y="666"/>
                  </a:lnTo>
                  <a:lnTo>
                    <a:pt x="648" y="672"/>
                  </a:lnTo>
                  <a:lnTo>
                    <a:pt x="648" y="678"/>
                  </a:lnTo>
                  <a:lnTo>
                    <a:pt x="654" y="678"/>
                  </a:lnTo>
                  <a:lnTo>
                    <a:pt x="654" y="684"/>
                  </a:lnTo>
                  <a:lnTo>
                    <a:pt x="660" y="684"/>
                  </a:lnTo>
                  <a:lnTo>
                    <a:pt x="660" y="690"/>
                  </a:lnTo>
                  <a:lnTo>
                    <a:pt x="654" y="690"/>
                  </a:lnTo>
                  <a:lnTo>
                    <a:pt x="648" y="690"/>
                  </a:lnTo>
                  <a:lnTo>
                    <a:pt x="636" y="696"/>
                  </a:lnTo>
                  <a:lnTo>
                    <a:pt x="630" y="696"/>
                  </a:lnTo>
                  <a:lnTo>
                    <a:pt x="624" y="696"/>
                  </a:lnTo>
                  <a:lnTo>
                    <a:pt x="618" y="696"/>
                  </a:lnTo>
                  <a:lnTo>
                    <a:pt x="612" y="696"/>
                  </a:lnTo>
                  <a:lnTo>
                    <a:pt x="594" y="696"/>
                  </a:lnTo>
                  <a:lnTo>
                    <a:pt x="588" y="696"/>
                  </a:lnTo>
                  <a:lnTo>
                    <a:pt x="582" y="696"/>
                  </a:lnTo>
                  <a:lnTo>
                    <a:pt x="570" y="702"/>
                  </a:lnTo>
                  <a:lnTo>
                    <a:pt x="564" y="702"/>
                  </a:lnTo>
                  <a:lnTo>
                    <a:pt x="558" y="702"/>
                  </a:lnTo>
                  <a:lnTo>
                    <a:pt x="552" y="702"/>
                  </a:lnTo>
                  <a:lnTo>
                    <a:pt x="552" y="696"/>
                  </a:lnTo>
                  <a:lnTo>
                    <a:pt x="546" y="696"/>
                  </a:lnTo>
                  <a:lnTo>
                    <a:pt x="546" y="690"/>
                  </a:lnTo>
                  <a:lnTo>
                    <a:pt x="552" y="684"/>
                  </a:lnTo>
                  <a:lnTo>
                    <a:pt x="552" y="678"/>
                  </a:lnTo>
                  <a:lnTo>
                    <a:pt x="558" y="672"/>
                  </a:lnTo>
                  <a:lnTo>
                    <a:pt x="558" y="666"/>
                  </a:lnTo>
                  <a:lnTo>
                    <a:pt x="564" y="666"/>
                  </a:lnTo>
                  <a:lnTo>
                    <a:pt x="570" y="666"/>
                  </a:lnTo>
                  <a:lnTo>
                    <a:pt x="570" y="654"/>
                  </a:lnTo>
                  <a:lnTo>
                    <a:pt x="570" y="648"/>
                  </a:lnTo>
                  <a:lnTo>
                    <a:pt x="582" y="642"/>
                  </a:lnTo>
                  <a:lnTo>
                    <a:pt x="582" y="636"/>
                  </a:lnTo>
                  <a:lnTo>
                    <a:pt x="588" y="636"/>
                  </a:lnTo>
                  <a:lnTo>
                    <a:pt x="588" y="630"/>
                  </a:lnTo>
                  <a:lnTo>
                    <a:pt x="594" y="624"/>
                  </a:lnTo>
                  <a:lnTo>
                    <a:pt x="594" y="618"/>
                  </a:lnTo>
                  <a:lnTo>
                    <a:pt x="600" y="618"/>
                  </a:lnTo>
                  <a:lnTo>
                    <a:pt x="600" y="612"/>
                  </a:lnTo>
                  <a:lnTo>
                    <a:pt x="606" y="612"/>
                  </a:lnTo>
                  <a:lnTo>
                    <a:pt x="606" y="618"/>
                  </a:lnTo>
                  <a:lnTo>
                    <a:pt x="612" y="618"/>
                  </a:lnTo>
                  <a:lnTo>
                    <a:pt x="618" y="618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18" y="636"/>
                  </a:lnTo>
                  <a:lnTo>
                    <a:pt x="618" y="642"/>
                  </a:lnTo>
                  <a:lnTo>
                    <a:pt x="618" y="648"/>
                  </a:lnTo>
                  <a:lnTo>
                    <a:pt x="624" y="648"/>
                  </a:lnTo>
                  <a:lnTo>
                    <a:pt x="630" y="648"/>
                  </a:lnTo>
                  <a:lnTo>
                    <a:pt x="636" y="654"/>
                  </a:lnTo>
                  <a:lnTo>
                    <a:pt x="642" y="654"/>
                  </a:lnTo>
                  <a:lnTo>
                    <a:pt x="642" y="66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00" name="Freeform 5">
              <a:extLst>
                <a:ext uri="{FF2B5EF4-FFF2-40B4-BE49-F238E27FC236}">
                  <a16:creationId xmlns:a16="http://schemas.microsoft.com/office/drawing/2014/main" id="{5577BDCA-F2C7-42E0-A391-018D79AA29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0384" y="4231013"/>
              <a:ext cx="404750" cy="480848"/>
            </a:xfrm>
            <a:custGeom>
              <a:avLst/>
              <a:gdLst>
                <a:gd name="T0" fmla="*/ 9 w 762"/>
                <a:gd name="T1" fmla="*/ 58 h 900"/>
                <a:gd name="T2" fmla="*/ 4 w 762"/>
                <a:gd name="T3" fmla="*/ 56 h 900"/>
                <a:gd name="T4" fmla="*/ 0 w 762"/>
                <a:gd name="T5" fmla="*/ 49 h 900"/>
                <a:gd name="T6" fmla="*/ 4 w 762"/>
                <a:gd name="T7" fmla="*/ 36 h 900"/>
                <a:gd name="T8" fmla="*/ 8 w 762"/>
                <a:gd name="T9" fmla="*/ 28 h 900"/>
                <a:gd name="T10" fmla="*/ 7 w 762"/>
                <a:gd name="T11" fmla="*/ 13 h 900"/>
                <a:gd name="T12" fmla="*/ 15 w 762"/>
                <a:gd name="T13" fmla="*/ 0 h 900"/>
                <a:gd name="T14" fmla="*/ 16 w 762"/>
                <a:gd name="T15" fmla="*/ 13 h 900"/>
                <a:gd name="T16" fmla="*/ 31 w 762"/>
                <a:gd name="T17" fmla="*/ 28 h 900"/>
                <a:gd name="T18" fmla="*/ 49 w 762"/>
                <a:gd name="T19" fmla="*/ 33 h 900"/>
                <a:gd name="T20" fmla="*/ 42 w 762"/>
                <a:gd name="T21" fmla="*/ 48 h 900"/>
                <a:gd name="T22" fmla="*/ 51 w 762"/>
                <a:gd name="T23" fmla="*/ 48 h 900"/>
                <a:gd name="T24" fmla="*/ 61 w 762"/>
                <a:gd name="T25" fmla="*/ 51 h 900"/>
                <a:gd name="T26" fmla="*/ 63 w 762"/>
                <a:gd name="T27" fmla="*/ 60 h 900"/>
                <a:gd name="T28" fmla="*/ 63 w 762"/>
                <a:gd name="T29" fmla="*/ 66 h 900"/>
                <a:gd name="T30" fmla="*/ 65 w 762"/>
                <a:gd name="T31" fmla="*/ 69 h 900"/>
                <a:gd name="T32" fmla="*/ 66 w 762"/>
                <a:gd name="T33" fmla="*/ 72 h 900"/>
                <a:gd name="T34" fmla="*/ 56 w 762"/>
                <a:gd name="T35" fmla="*/ 73 h 900"/>
                <a:gd name="T36" fmla="*/ 55 w 762"/>
                <a:gd name="T37" fmla="*/ 69 h 900"/>
                <a:gd name="T38" fmla="*/ 57 w 762"/>
                <a:gd name="T39" fmla="*/ 67 h 900"/>
                <a:gd name="T40" fmla="*/ 55 w 762"/>
                <a:gd name="T41" fmla="*/ 65 h 900"/>
                <a:gd name="T42" fmla="*/ 53 w 762"/>
                <a:gd name="T43" fmla="*/ 68 h 900"/>
                <a:gd name="T44" fmla="*/ 49 w 762"/>
                <a:gd name="T45" fmla="*/ 68 h 900"/>
                <a:gd name="T46" fmla="*/ 44 w 762"/>
                <a:gd name="T47" fmla="*/ 63 h 900"/>
                <a:gd name="T48" fmla="*/ 40 w 762"/>
                <a:gd name="T49" fmla="*/ 59 h 900"/>
                <a:gd name="T50" fmla="*/ 38 w 762"/>
                <a:gd name="T51" fmla="*/ 57 h 900"/>
                <a:gd name="T52" fmla="*/ 43 w 762"/>
                <a:gd name="T53" fmla="*/ 62 h 900"/>
                <a:gd name="T54" fmla="*/ 43 w 762"/>
                <a:gd name="T55" fmla="*/ 66 h 900"/>
                <a:gd name="T56" fmla="*/ 41 w 762"/>
                <a:gd name="T57" fmla="*/ 71 h 900"/>
                <a:gd name="T58" fmla="*/ 37 w 762"/>
                <a:gd name="T59" fmla="*/ 69 h 900"/>
                <a:gd name="T60" fmla="*/ 35 w 762"/>
                <a:gd name="T61" fmla="*/ 64 h 900"/>
                <a:gd name="T62" fmla="*/ 31 w 762"/>
                <a:gd name="T63" fmla="*/ 57 h 900"/>
                <a:gd name="T64" fmla="*/ 30 w 762"/>
                <a:gd name="T65" fmla="*/ 62 h 900"/>
                <a:gd name="T66" fmla="*/ 29 w 762"/>
                <a:gd name="T67" fmla="*/ 61 h 900"/>
                <a:gd name="T68" fmla="*/ 31 w 762"/>
                <a:gd name="T69" fmla="*/ 66 h 900"/>
                <a:gd name="T70" fmla="*/ 33 w 762"/>
                <a:gd name="T71" fmla="*/ 72 h 900"/>
                <a:gd name="T72" fmla="*/ 32 w 762"/>
                <a:gd name="T73" fmla="*/ 76 h 900"/>
                <a:gd name="T74" fmla="*/ 28 w 762"/>
                <a:gd name="T75" fmla="*/ 75 h 900"/>
                <a:gd name="T76" fmla="*/ 24 w 762"/>
                <a:gd name="T77" fmla="*/ 69 h 900"/>
                <a:gd name="T78" fmla="*/ 24 w 762"/>
                <a:gd name="T79" fmla="*/ 62 h 900"/>
                <a:gd name="T80" fmla="*/ 23 w 762"/>
                <a:gd name="T81" fmla="*/ 62 h 900"/>
                <a:gd name="T82" fmla="*/ 23 w 762"/>
                <a:gd name="T83" fmla="*/ 68 h 900"/>
                <a:gd name="T84" fmla="*/ 25 w 762"/>
                <a:gd name="T85" fmla="*/ 77 h 900"/>
                <a:gd name="T86" fmla="*/ 17 w 762"/>
                <a:gd name="T87" fmla="*/ 74 h 900"/>
                <a:gd name="T88" fmla="*/ 17 w 762"/>
                <a:gd name="T89" fmla="*/ 67 h 900"/>
                <a:gd name="T90" fmla="*/ 16 w 762"/>
                <a:gd name="T91" fmla="*/ 67 h 900"/>
                <a:gd name="T92" fmla="*/ 15 w 762"/>
                <a:gd name="T93" fmla="*/ 71 h 900"/>
                <a:gd name="T94" fmla="*/ 12 w 762"/>
                <a:gd name="T95" fmla="*/ 68 h 900"/>
                <a:gd name="T96" fmla="*/ 15 w 762"/>
                <a:gd name="T97" fmla="*/ 72 h 900"/>
                <a:gd name="T98" fmla="*/ 17 w 762"/>
                <a:gd name="T99" fmla="*/ 77 h 900"/>
                <a:gd name="T100" fmla="*/ 11 w 762"/>
                <a:gd name="T101" fmla="*/ 77 h 900"/>
                <a:gd name="T102" fmla="*/ 10 w 762"/>
                <a:gd name="T103" fmla="*/ 69 h 900"/>
                <a:gd name="T104" fmla="*/ 11 w 762"/>
                <a:gd name="T105" fmla="*/ 72 h 900"/>
                <a:gd name="T106" fmla="*/ 9 w 762"/>
                <a:gd name="T107" fmla="*/ 78 h 900"/>
                <a:gd name="T108" fmla="*/ 43 w 762"/>
                <a:gd name="T109" fmla="*/ 71 h 900"/>
                <a:gd name="T110" fmla="*/ 51 w 762"/>
                <a:gd name="T111" fmla="*/ 69 h 900"/>
                <a:gd name="T112" fmla="*/ 43 w 762"/>
                <a:gd name="T113" fmla="*/ 76 h 900"/>
                <a:gd name="T114" fmla="*/ 36 w 762"/>
                <a:gd name="T115" fmla="*/ 65 h 900"/>
                <a:gd name="T116" fmla="*/ 38 w 762"/>
                <a:gd name="T117" fmla="*/ 72 h 900"/>
                <a:gd name="T118" fmla="*/ 34 w 762"/>
                <a:gd name="T119" fmla="*/ 69 h 900"/>
                <a:gd name="T120" fmla="*/ 29 w 762"/>
                <a:gd name="T121" fmla="*/ 64 h 900"/>
                <a:gd name="T122" fmla="*/ 32 w 762"/>
                <a:gd name="T123" fmla="*/ 66 h 9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900"/>
                <a:gd name="T188" fmla="*/ 762 w 762"/>
                <a:gd name="T189" fmla="*/ 900 h 90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900">
                  <a:moveTo>
                    <a:pt x="90" y="768"/>
                  </a:moveTo>
                  <a:lnTo>
                    <a:pt x="102" y="756"/>
                  </a:lnTo>
                  <a:lnTo>
                    <a:pt x="102" y="750"/>
                  </a:lnTo>
                  <a:lnTo>
                    <a:pt x="90" y="744"/>
                  </a:lnTo>
                  <a:lnTo>
                    <a:pt x="84" y="738"/>
                  </a:lnTo>
                  <a:lnTo>
                    <a:pt x="90" y="726"/>
                  </a:lnTo>
                  <a:lnTo>
                    <a:pt x="84" y="720"/>
                  </a:lnTo>
                  <a:lnTo>
                    <a:pt x="78" y="720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72" y="702"/>
                  </a:lnTo>
                  <a:lnTo>
                    <a:pt x="72" y="696"/>
                  </a:lnTo>
                  <a:lnTo>
                    <a:pt x="84" y="684"/>
                  </a:lnTo>
                  <a:lnTo>
                    <a:pt x="96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102" y="654"/>
                  </a:lnTo>
                  <a:lnTo>
                    <a:pt x="108" y="654"/>
                  </a:lnTo>
                  <a:lnTo>
                    <a:pt x="114" y="648"/>
                  </a:lnTo>
                  <a:lnTo>
                    <a:pt x="120" y="642"/>
                  </a:lnTo>
                  <a:lnTo>
                    <a:pt x="120" y="636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14" y="618"/>
                  </a:lnTo>
                  <a:lnTo>
                    <a:pt x="102" y="618"/>
                  </a:lnTo>
                  <a:lnTo>
                    <a:pt x="90" y="618"/>
                  </a:lnTo>
                  <a:lnTo>
                    <a:pt x="78" y="624"/>
                  </a:lnTo>
                  <a:lnTo>
                    <a:pt x="72" y="630"/>
                  </a:lnTo>
                  <a:lnTo>
                    <a:pt x="54" y="642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42" y="642"/>
                  </a:lnTo>
                  <a:lnTo>
                    <a:pt x="42" y="636"/>
                  </a:lnTo>
                  <a:lnTo>
                    <a:pt x="36" y="636"/>
                  </a:lnTo>
                  <a:lnTo>
                    <a:pt x="30" y="642"/>
                  </a:lnTo>
                  <a:lnTo>
                    <a:pt x="30" y="636"/>
                  </a:lnTo>
                  <a:lnTo>
                    <a:pt x="30" y="630"/>
                  </a:lnTo>
                  <a:lnTo>
                    <a:pt x="24" y="630"/>
                  </a:lnTo>
                  <a:lnTo>
                    <a:pt x="30" y="624"/>
                  </a:lnTo>
                  <a:lnTo>
                    <a:pt x="30" y="618"/>
                  </a:lnTo>
                  <a:lnTo>
                    <a:pt x="30" y="612"/>
                  </a:lnTo>
                  <a:lnTo>
                    <a:pt x="36" y="612"/>
                  </a:lnTo>
                  <a:lnTo>
                    <a:pt x="36" y="606"/>
                  </a:lnTo>
                  <a:lnTo>
                    <a:pt x="30" y="606"/>
                  </a:lnTo>
                  <a:lnTo>
                    <a:pt x="24" y="612"/>
                  </a:lnTo>
                  <a:lnTo>
                    <a:pt x="18" y="606"/>
                  </a:lnTo>
                  <a:lnTo>
                    <a:pt x="12" y="594"/>
                  </a:lnTo>
                  <a:lnTo>
                    <a:pt x="6" y="582"/>
                  </a:lnTo>
                  <a:lnTo>
                    <a:pt x="6" y="570"/>
                  </a:lnTo>
                  <a:lnTo>
                    <a:pt x="0" y="558"/>
                  </a:lnTo>
                  <a:lnTo>
                    <a:pt x="6" y="552"/>
                  </a:lnTo>
                  <a:lnTo>
                    <a:pt x="6" y="534"/>
                  </a:lnTo>
                  <a:lnTo>
                    <a:pt x="18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12" y="480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54" y="408"/>
                  </a:lnTo>
                  <a:lnTo>
                    <a:pt x="54" y="396"/>
                  </a:lnTo>
                  <a:lnTo>
                    <a:pt x="54" y="384"/>
                  </a:lnTo>
                  <a:lnTo>
                    <a:pt x="60" y="378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66"/>
                  </a:lnTo>
                  <a:lnTo>
                    <a:pt x="60" y="360"/>
                  </a:lnTo>
                  <a:lnTo>
                    <a:pt x="66" y="360"/>
                  </a:lnTo>
                  <a:lnTo>
                    <a:pt x="72" y="354"/>
                  </a:lnTo>
                  <a:lnTo>
                    <a:pt x="78" y="354"/>
                  </a:lnTo>
                  <a:lnTo>
                    <a:pt x="84" y="348"/>
                  </a:lnTo>
                  <a:lnTo>
                    <a:pt x="96" y="348"/>
                  </a:lnTo>
                  <a:lnTo>
                    <a:pt x="96" y="342"/>
                  </a:lnTo>
                  <a:lnTo>
                    <a:pt x="96" y="336"/>
                  </a:lnTo>
                  <a:lnTo>
                    <a:pt x="96" y="330"/>
                  </a:lnTo>
                  <a:lnTo>
                    <a:pt x="96" y="324"/>
                  </a:lnTo>
                  <a:lnTo>
                    <a:pt x="102" y="318"/>
                  </a:lnTo>
                  <a:lnTo>
                    <a:pt x="108" y="312"/>
                  </a:lnTo>
                  <a:lnTo>
                    <a:pt x="96" y="306"/>
                  </a:lnTo>
                  <a:lnTo>
                    <a:pt x="84" y="288"/>
                  </a:lnTo>
                  <a:lnTo>
                    <a:pt x="108" y="258"/>
                  </a:lnTo>
                  <a:lnTo>
                    <a:pt x="102" y="222"/>
                  </a:lnTo>
                  <a:lnTo>
                    <a:pt x="84" y="222"/>
                  </a:lnTo>
                  <a:lnTo>
                    <a:pt x="54" y="216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2"/>
                  </a:lnTo>
                  <a:lnTo>
                    <a:pt x="72" y="192"/>
                  </a:lnTo>
                  <a:lnTo>
                    <a:pt x="84" y="186"/>
                  </a:lnTo>
                  <a:lnTo>
                    <a:pt x="90" y="186"/>
                  </a:lnTo>
                  <a:lnTo>
                    <a:pt x="90" y="174"/>
                  </a:lnTo>
                  <a:lnTo>
                    <a:pt x="84" y="162"/>
                  </a:lnTo>
                  <a:lnTo>
                    <a:pt x="84" y="150"/>
                  </a:lnTo>
                  <a:lnTo>
                    <a:pt x="84" y="126"/>
                  </a:lnTo>
                  <a:lnTo>
                    <a:pt x="84" y="114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8" y="96"/>
                  </a:lnTo>
                  <a:lnTo>
                    <a:pt x="120" y="90"/>
                  </a:lnTo>
                  <a:lnTo>
                    <a:pt x="126" y="78"/>
                  </a:lnTo>
                  <a:lnTo>
                    <a:pt x="138" y="66"/>
                  </a:lnTo>
                  <a:lnTo>
                    <a:pt x="138" y="48"/>
                  </a:lnTo>
                  <a:lnTo>
                    <a:pt x="138" y="42"/>
                  </a:lnTo>
                  <a:lnTo>
                    <a:pt x="126" y="30"/>
                  </a:lnTo>
                  <a:lnTo>
                    <a:pt x="120" y="18"/>
                  </a:lnTo>
                  <a:lnTo>
                    <a:pt x="132" y="12"/>
                  </a:lnTo>
                  <a:lnTo>
                    <a:pt x="144" y="0"/>
                  </a:lnTo>
                  <a:lnTo>
                    <a:pt x="150" y="6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6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74" y="66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68" y="72"/>
                  </a:lnTo>
                  <a:lnTo>
                    <a:pt x="156" y="150"/>
                  </a:lnTo>
                  <a:lnTo>
                    <a:pt x="168" y="144"/>
                  </a:lnTo>
                  <a:lnTo>
                    <a:pt x="180" y="150"/>
                  </a:lnTo>
                  <a:lnTo>
                    <a:pt x="186" y="150"/>
                  </a:lnTo>
                  <a:lnTo>
                    <a:pt x="186" y="144"/>
                  </a:lnTo>
                  <a:lnTo>
                    <a:pt x="192" y="150"/>
                  </a:lnTo>
                  <a:lnTo>
                    <a:pt x="222" y="150"/>
                  </a:lnTo>
                  <a:lnTo>
                    <a:pt x="222" y="168"/>
                  </a:lnTo>
                  <a:lnTo>
                    <a:pt x="222" y="186"/>
                  </a:lnTo>
                  <a:lnTo>
                    <a:pt x="234" y="198"/>
                  </a:lnTo>
                  <a:lnTo>
                    <a:pt x="234" y="234"/>
                  </a:lnTo>
                  <a:lnTo>
                    <a:pt x="228" y="270"/>
                  </a:lnTo>
                  <a:lnTo>
                    <a:pt x="246" y="282"/>
                  </a:lnTo>
                  <a:lnTo>
                    <a:pt x="258" y="294"/>
                  </a:lnTo>
                  <a:lnTo>
                    <a:pt x="270" y="300"/>
                  </a:lnTo>
                  <a:lnTo>
                    <a:pt x="294" y="300"/>
                  </a:lnTo>
                  <a:lnTo>
                    <a:pt x="288" y="306"/>
                  </a:lnTo>
                  <a:lnTo>
                    <a:pt x="300" y="312"/>
                  </a:lnTo>
                  <a:lnTo>
                    <a:pt x="306" y="318"/>
                  </a:lnTo>
                  <a:lnTo>
                    <a:pt x="324" y="324"/>
                  </a:lnTo>
                  <a:lnTo>
                    <a:pt x="354" y="318"/>
                  </a:lnTo>
                  <a:lnTo>
                    <a:pt x="354" y="312"/>
                  </a:lnTo>
                  <a:lnTo>
                    <a:pt x="366" y="312"/>
                  </a:lnTo>
                  <a:lnTo>
                    <a:pt x="384" y="312"/>
                  </a:lnTo>
                  <a:lnTo>
                    <a:pt x="390" y="306"/>
                  </a:lnTo>
                  <a:lnTo>
                    <a:pt x="396" y="306"/>
                  </a:lnTo>
                  <a:lnTo>
                    <a:pt x="408" y="306"/>
                  </a:lnTo>
                  <a:lnTo>
                    <a:pt x="426" y="312"/>
                  </a:lnTo>
                  <a:lnTo>
                    <a:pt x="456" y="324"/>
                  </a:lnTo>
                  <a:lnTo>
                    <a:pt x="504" y="330"/>
                  </a:lnTo>
                  <a:lnTo>
                    <a:pt x="510" y="336"/>
                  </a:lnTo>
                  <a:lnTo>
                    <a:pt x="534" y="336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58" y="330"/>
                  </a:lnTo>
                  <a:lnTo>
                    <a:pt x="564" y="330"/>
                  </a:lnTo>
                  <a:lnTo>
                    <a:pt x="570" y="354"/>
                  </a:lnTo>
                  <a:lnTo>
                    <a:pt x="564" y="378"/>
                  </a:lnTo>
                  <a:lnTo>
                    <a:pt x="558" y="396"/>
                  </a:lnTo>
                  <a:lnTo>
                    <a:pt x="546" y="414"/>
                  </a:lnTo>
                  <a:lnTo>
                    <a:pt x="546" y="438"/>
                  </a:lnTo>
                  <a:lnTo>
                    <a:pt x="540" y="456"/>
                  </a:lnTo>
                  <a:lnTo>
                    <a:pt x="540" y="474"/>
                  </a:lnTo>
                  <a:lnTo>
                    <a:pt x="528" y="480"/>
                  </a:lnTo>
                  <a:lnTo>
                    <a:pt x="522" y="492"/>
                  </a:lnTo>
                  <a:lnTo>
                    <a:pt x="504" y="498"/>
                  </a:lnTo>
                  <a:lnTo>
                    <a:pt x="498" y="498"/>
                  </a:lnTo>
                  <a:lnTo>
                    <a:pt x="492" y="504"/>
                  </a:lnTo>
                  <a:lnTo>
                    <a:pt x="486" y="510"/>
                  </a:lnTo>
                  <a:lnTo>
                    <a:pt x="480" y="510"/>
                  </a:lnTo>
                  <a:lnTo>
                    <a:pt x="480" y="516"/>
                  </a:lnTo>
                  <a:lnTo>
                    <a:pt x="474" y="522"/>
                  </a:lnTo>
                  <a:lnTo>
                    <a:pt x="474" y="528"/>
                  </a:lnTo>
                  <a:lnTo>
                    <a:pt x="474" y="534"/>
                  </a:lnTo>
                  <a:lnTo>
                    <a:pt x="480" y="540"/>
                  </a:lnTo>
                  <a:lnTo>
                    <a:pt x="492" y="540"/>
                  </a:lnTo>
                  <a:lnTo>
                    <a:pt x="498" y="546"/>
                  </a:lnTo>
                  <a:lnTo>
                    <a:pt x="504" y="552"/>
                  </a:lnTo>
                  <a:lnTo>
                    <a:pt x="510" y="552"/>
                  </a:lnTo>
                  <a:lnTo>
                    <a:pt x="516" y="558"/>
                  </a:lnTo>
                  <a:lnTo>
                    <a:pt x="528" y="558"/>
                  </a:lnTo>
                  <a:lnTo>
                    <a:pt x="534" y="552"/>
                  </a:lnTo>
                  <a:lnTo>
                    <a:pt x="540" y="552"/>
                  </a:lnTo>
                  <a:lnTo>
                    <a:pt x="546" y="552"/>
                  </a:lnTo>
                  <a:lnTo>
                    <a:pt x="558" y="546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70" y="546"/>
                  </a:lnTo>
                  <a:lnTo>
                    <a:pt x="570" y="540"/>
                  </a:lnTo>
                  <a:lnTo>
                    <a:pt x="570" y="546"/>
                  </a:lnTo>
                  <a:lnTo>
                    <a:pt x="576" y="546"/>
                  </a:lnTo>
                  <a:lnTo>
                    <a:pt x="582" y="546"/>
                  </a:lnTo>
                  <a:lnTo>
                    <a:pt x="588" y="540"/>
                  </a:lnTo>
                  <a:lnTo>
                    <a:pt x="594" y="546"/>
                  </a:lnTo>
                  <a:lnTo>
                    <a:pt x="606" y="546"/>
                  </a:lnTo>
                  <a:lnTo>
                    <a:pt x="612" y="546"/>
                  </a:lnTo>
                  <a:lnTo>
                    <a:pt x="612" y="552"/>
                  </a:lnTo>
                  <a:lnTo>
                    <a:pt x="618" y="552"/>
                  </a:lnTo>
                  <a:lnTo>
                    <a:pt x="624" y="552"/>
                  </a:lnTo>
                  <a:lnTo>
                    <a:pt x="630" y="552"/>
                  </a:lnTo>
                  <a:lnTo>
                    <a:pt x="648" y="546"/>
                  </a:lnTo>
                  <a:lnTo>
                    <a:pt x="654" y="546"/>
                  </a:lnTo>
                  <a:lnTo>
                    <a:pt x="654" y="552"/>
                  </a:lnTo>
                  <a:lnTo>
                    <a:pt x="660" y="558"/>
                  </a:lnTo>
                  <a:lnTo>
                    <a:pt x="666" y="564"/>
                  </a:lnTo>
                  <a:lnTo>
                    <a:pt x="672" y="564"/>
                  </a:lnTo>
                  <a:lnTo>
                    <a:pt x="678" y="564"/>
                  </a:lnTo>
                  <a:lnTo>
                    <a:pt x="696" y="576"/>
                  </a:lnTo>
                  <a:lnTo>
                    <a:pt x="696" y="582"/>
                  </a:lnTo>
                  <a:lnTo>
                    <a:pt x="708" y="588"/>
                  </a:lnTo>
                  <a:lnTo>
                    <a:pt x="708" y="594"/>
                  </a:lnTo>
                  <a:lnTo>
                    <a:pt x="720" y="606"/>
                  </a:lnTo>
                  <a:lnTo>
                    <a:pt x="720" y="618"/>
                  </a:lnTo>
                  <a:lnTo>
                    <a:pt x="720" y="624"/>
                  </a:lnTo>
                  <a:lnTo>
                    <a:pt x="726" y="630"/>
                  </a:lnTo>
                  <a:lnTo>
                    <a:pt x="732" y="636"/>
                  </a:lnTo>
                  <a:lnTo>
                    <a:pt x="732" y="642"/>
                  </a:lnTo>
                  <a:lnTo>
                    <a:pt x="732" y="648"/>
                  </a:lnTo>
                  <a:lnTo>
                    <a:pt x="726" y="654"/>
                  </a:lnTo>
                  <a:lnTo>
                    <a:pt x="720" y="660"/>
                  </a:lnTo>
                  <a:lnTo>
                    <a:pt x="714" y="666"/>
                  </a:lnTo>
                  <a:lnTo>
                    <a:pt x="714" y="672"/>
                  </a:lnTo>
                  <a:lnTo>
                    <a:pt x="714" y="678"/>
                  </a:lnTo>
                  <a:lnTo>
                    <a:pt x="720" y="678"/>
                  </a:lnTo>
                  <a:lnTo>
                    <a:pt x="720" y="684"/>
                  </a:lnTo>
                  <a:lnTo>
                    <a:pt x="714" y="690"/>
                  </a:lnTo>
                  <a:lnTo>
                    <a:pt x="714" y="696"/>
                  </a:lnTo>
                  <a:lnTo>
                    <a:pt x="714" y="702"/>
                  </a:lnTo>
                  <a:lnTo>
                    <a:pt x="714" y="708"/>
                  </a:lnTo>
                  <a:lnTo>
                    <a:pt x="720" y="708"/>
                  </a:lnTo>
                  <a:lnTo>
                    <a:pt x="720" y="720"/>
                  </a:lnTo>
                  <a:lnTo>
                    <a:pt x="720" y="726"/>
                  </a:lnTo>
                  <a:lnTo>
                    <a:pt x="726" y="726"/>
                  </a:lnTo>
                  <a:lnTo>
                    <a:pt x="726" y="732"/>
                  </a:lnTo>
                  <a:lnTo>
                    <a:pt x="732" y="732"/>
                  </a:lnTo>
                  <a:lnTo>
                    <a:pt x="732" y="738"/>
                  </a:lnTo>
                  <a:lnTo>
                    <a:pt x="726" y="738"/>
                  </a:lnTo>
                  <a:lnTo>
                    <a:pt x="720" y="738"/>
                  </a:lnTo>
                  <a:lnTo>
                    <a:pt x="720" y="744"/>
                  </a:lnTo>
                  <a:lnTo>
                    <a:pt x="720" y="750"/>
                  </a:lnTo>
                  <a:lnTo>
                    <a:pt x="714" y="750"/>
                  </a:lnTo>
                  <a:lnTo>
                    <a:pt x="714" y="756"/>
                  </a:lnTo>
                  <a:lnTo>
                    <a:pt x="720" y="756"/>
                  </a:lnTo>
                  <a:lnTo>
                    <a:pt x="714" y="762"/>
                  </a:lnTo>
                  <a:lnTo>
                    <a:pt x="720" y="762"/>
                  </a:lnTo>
                  <a:lnTo>
                    <a:pt x="726" y="768"/>
                  </a:lnTo>
                  <a:lnTo>
                    <a:pt x="726" y="774"/>
                  </a:lnTo>
                  <a:lnTo>
                    <a:pt x="732" y="774"/>
                  </a:lnTo>
                  <a:lnTo>
                    <a:pt x="732" y="780"/>
                  </a:lnTo>
                  <a:lnTo>
                    <a:pt x="726" y="780"/>
                  </a:lnTo>
                  <a:lnTo>
                    <a:pt x="726" y="786"/>
                  </a:lnTo>
                  <a:lnTo>
                    <a:pt x="720" y="786"/>
                  </a:lnTo>
                  <a:lnTo>
                    <a:pt x="726" y="786"/>
                  </a:lnTo>
                  <a:lnTo>
                    <a:pt x="732" y="780"/>
                  </a:lnTo>
                  <a:lnTo>
                    <a:pt x="738" y="780"/>
                  </a:lnTo>
                  <a:lnTo>
                    <a:pt x="744" y="780"/>
                  </a:lnTo>
                  <a:lnTo>
                    <a:pt x="744" y="786"/>
                  </a:lnTo>
                  <a:lnTo>
                    <a:pt x="750" y="786"/>
                  </a:lnTo>
                  <a:lnTo>
                    <a:pt x="744" y="786"/>
                  </a:lnTo>
                  <a:lnTo>
                    <a:pt x="744" y="792"/>
                  </a:lnTo>
                  <a:lnTo>
                    <a:pt x="744" y="786"/>
                  </a:lnTo>
                  <a:lnTo>
                    <a:pt x="738" y="792"/>
                  </a:lnTo>
                  <a:lnTo>
                    <a:pt x="744" y="792"/>
                  </a:lnTo>
                  <a:lnTo>
                    <a:pt x="750" y="792"/>
                  </a:lnTo>
                  <a:lnTo>
                    <a:pt x="750" y="786"/>
                  </a:lnTo>
                  <a:lnTo>
                    <a:pt x="756" y="786"/>
                  </a:lnTo>
                  <a:lnTo>
                    <a:pt x="756" y="792"/>
                  </a:lnTo>
                  <a:lnTo>
                    <a:pt x="762" y="792"/>
                  </a:lnTo>
                  <a:lnTo>
                    <a:pt x="756" y="798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0" y="810"/>
                  </a:lnTo>
                  <a:lnTo>
                    <a:pt x="756" y="810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6" y="816"/>
                  </a:lnTo>
                  <a:lnTo>
                    <a:pt x="750" y="816"/>
                  </a:lnTo>
                  <a:lnTo>
                    <a:pt x="738" y="810"/>
                  </a:lnTo>
                  <a:lnTo>
                    <a:pt x="732" y="810"/>
                  </a:lnTo>
                  <a:lnTo>
                    <a:pt x="732" y="816"/>
                  </a:lnTo>
                  <a:lnTo>
                    <a:pt x="726" y="810"/>
                  </a:lnTo>
                  <a:lnTo>
                    <a:pt x="714" y="816"/>
                  </a:lnTo>
                  <a:lnTo>
                    <a:pt x="708" y="816"/>
                  </a:lnTo>
                  <a:lnTo>
                    <a:pt x="702" y="816"/>
                  </a:lnTo>
                  <a:lnTo>
                    <a:pt x="696" y="816"/>
                  </a:lnTo>
                  <a:lnTo>
                    <a:pt x="690" y="822"/>
                  </a:lnTo>
                  <a:lnTo>
                    <a:pt x="684" y="822"/>
                  </a:lnTo>
                  <a:lnTo>
                    <a:pt x="678" y="822"/>
                  </a:lnTo>
                  <a:lnTo>
                    <a:pt x="672" y="822"/>
                  </a:lnTo>
                  <a:lnTo>
                    <a:pt x="666" y="822"/>
                  </a:lnTo>
                  <a:lnTo>
                    <a:pt x="666" y="828"/>
                  </a:lnTo>
                  <a:lnTo>
                    <a:pt x="654" y="828"/>
                  </a:lnTo>
                  <a:lnTo>
                    <a:pt x="648" y="828"/>
                  </a:lnTo>
                  <a:lnTo>
                    <a:pt x="642" y="828"/>
                  </a:lnTo>
                  <a:lnTo>
                    <a:pt x="630" y="828"/>
                  </a:lnTo>
                  <a:lnTo>
                    <a:pt x="624" y="822"/>
                  </a:lnTo>
                  <a:lnTo>
                    <a:pt x="618" y="822"/>
                  </a:lnTo>
                  <a:lnTo>
                    <a:pt x="612" y="822"/>
                  </a:lnTo>
                  <a:lnTo>
                    <a:pt x="606" y="822"/>
                  </a:lnTo>
                  <a:lnTo>
                    <a:pt x="600" y="822"/>
                  </a:lnTo>
                  <a:lnTo>
                    <a:pt x="594" y="822"/>
                  </a:lnTo>
                  <a:lnTo>
                    <a:pt x="594" y="816"/>
                  </a:lnTo>
                  <a:lnTo>
                    <a:pt x="594" y="810"/>
                  </a:lnTo>
                  <a:lnTo>
                    <a:pt x="600" y="804"/>
                  </a:lnTo>
                  <a:lnTo>
                    <a:pt x="600" y="798"/>
                  </a:lnTo>
                  <a:lnTo>
                    <a:pt x="600" y="792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2" y="786"/>
                  </a:lnTo>
                  <a:lnTo>
                    <a:pt x="618" y="786"/>
                  </a:lnTo>
                  <a:lnTo>
                    <a:pt x="624" y="786"/>
                  </a:lnTo>
                  <a:lnTo>
                    <a:pt x="624" y="780"/>
                  </a:lnTo>
                  <a:lnTo>
                    <a:pt x="630" y="780"/>
                  </a:lnTo>
                  <a:lnTo>
                    <a:pt x="630" y="774"/>
                  </a:lnTo>
                  <a:lnTo>
                    <a:pt x="636" y="774"/>
                  </a:lnTo>
                  <a:lnTo>
                    <a:pt x="642" y="780"/>
                  </a:lnTo>
                  <a:lnTo>
                    <a:pt x="642" y="786"/>
                  </a:lnTo>
                  <a:lnTo>
                    <a:pt x="642" y="792"/>
                  </a:lnTo>
                  <a:lnTo>
                    <a:pt x="648" y="792"/>
                  </a:lnTo>
                  <a:lnTo>
                    <a:pt x="648" y="786"/>
                  </a:lnTo>
                  <a:lnTo>
                    <a:pt x="642" y="786"/>
                  </a:lnTo>
                  <a:lnTo>
                    <a:pt x="642" y="780"/>
                  </a:lnTo>
                  <a:lnTo>
                    <a:pt x="642" y="774"/>
                  </a:lnTo>
                  <a:lnTo>
                    <a:pt x="648" y="768"/>
                  </a:lnTo>
                  <a:lnTo>
                    <a:pt x="642" y="768"/>
                  </a:lnTo>
                  <a:lnTo>
                    <a:pt x="648" y="768"/>
                  </a:lnTo>
                  <a:lnTo>
                    <a:pt x="648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66" y="762"/>
                  </a:lnTo>
                  <a:lnTo>
                    <a:pt x="672" y="756"/>
                  </a:lnTo>
                  <a:lnTo>
                    <a:pt x="666" y="756"/>
                  </a:lnTo>
                  <a:lnTo>
                    <a:pt x="660" y="756"/>
                  </a:lnTo>
                  <a:lnTo>
                    <a:pt x="660" y="750"/>
                  </a:lnTo>
                  <a:lnTo>
                    <a:pt x="654" y="750"/>
                  </a:lnTo>
                  <a:lnTo>
                    <a:pt x="648" y="750"/>
                  </a:lnTo>
                  <a:lnTo>
                    <a:pt x="648" y="756"/>
                  </a:lnTo>
                  <a:lnTo>
                    <a:pt x="642" y="756"/>
                  </a:lnTo>
                  <a:lnTo>
                    <a:pt x="642" y="750"/>
                  </a:lnTo>
                  <a:lnTo>
                    <a:pt x="642" y="744"/>
                  </a:lnTo>
                  <a:lnTo>
                    <a:pt x="642" y="750"/>
                  </a:lnTo>
                  <a:lnTo>
                    <a:pt x="636" y="750"/>
                  </a:lnTo>
                  <a:lnTo>
                    <a:pt x="636" y="744"/>
                  </a:lnTo>
                  <a:lnTo>
                    <a:pt x="630" y="744"/>
                  </a:lnTo>
                  <a:lnTo>
                    <a:pt x="630" y="738"/>
                  </a:lnTo>
                  <a:lnTo>
                    <a:pt x="630" y="744"/>
                  </a:lnTo>
                  <a:lnTo>
                    <a:pt x="630" y="750"/>
                  </a:lnTo>
                  <a:lnTo>
                    <a:pt x="636" y="750"/>
                  </a:lnTo>
                  <a:lnTo>
                    <a:pt x="636" y="756"/>
                  </a:lnTo>
                  <a:lnTo>
                    <a:pt x="630" y="756"/>
                  </a:lnTo>
                  <a:lnTo>
                    <a:pt x="636" y="762"/>
                  </a:lnTo>
                  <a:lnTo>
                    <a:pt x="630" y="762"/>
                  </a:lnTo>
                  <a:lnTo>
                    <a:pt x="624" y="762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24" y="786"/>
                  </a:lnTo>
                  <a:lnTo>
                    <a:pt x="618" y="786"/>
                  </a:lnTo>
                  <a:lnTo>
                    <a:pt x="618" y="78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12" y="774"/>
                  </a:lnTo>
                  <a:lnTo>
                    <a:pt x="612" y="780"/>
                  </a:lnTo>
                  <a:lnTo>
                    <a:pt x="606" y="780"/>
                  </a:lnTo>
                  <a:lnTo>
                    <a:pt x="600" y="780"/>
                  </a:lnTo>
                  <a:lnTo>
                    <a:pt x="600" y="774"/>
                  </a:lnTo>
                  <a:lnTo>
                    <a:pt x="594" y="768"/>
                  </a:lnTo>
                  <a:lnTo>
                    <a:pt x="594" y="762"/>
                  </a:lnTo>
                  <a:lnTo>
                    <a:pt x="594" y="756"/>
                  </a:lnTo>
                  <a:lnTo>
                    <a:pt x="594" y="762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594" y="780"/>
                  </a:lnTo>
                  <a:lnTo>
                    <a:pt x="588" y="780"/>
                  </a:lnTo>
                  <a:lnTo>
                    <a:pt x="582" y="780"/>
                  </a:lnTo>
                  <a:lnTo>
                    <a:pt x="576" y="780"/>
                  </a:lnTo>
                  <a:lnTo>
                    <a:pt x="570" y="780"/>
                  </a:lnTo>
                  <a:lnTo>
                    <a:pt x="564" y="780"/>
                  </a:lnTo>
                  <a:lnTo>
                    <a:pt x="564" y="786"/>
                  </a:lnTo>
                  <a:lnTo>
                    <a:pt x="558" y="786"/>
                  </a:lnTo>
                  <a:lnTo>
                    <a:pt x="552" y="786"/>
                  </a:lnTo>
                  <a:lnTo>
                    <a:pt x="552" y="780"/>
                  </a:lnTo>
                  <a:lnTo>
                    <a:pt x="552" y="774"/>
                  </a:lnTo>
                  <a:lnTo>
                    <a:pt x="552" y="768"/>
                  </a:lnTo>
                  <a:lnTo>
                    <a:pt x="546" y="768"/>
                  </a:lnTo>
                  <a:lnTo>
                    <a:pt x="540" y="762"/>
                  </a:lnTo>
                  <a:lnTo>
                    <a:pt x="540" y="756"/>
                  </a:lnTo>
                  <a:lnTo>
                    <a:pt x="534" y="756"/>
                  </a:lnTo>
                  <a:lnTo>
                    <a:pt x="534" y="750"/>
                  </a:lnTo>
                  <a:lnTo>
                    <a:pt x="534" y="744"/>
                  </a:lnTo>
                  <a:lnTo>
                    <a:pt x="528" y="738"/>
                  </a:lnTo>
                  <a:lnTo>
                    <a:pt x="522" y="738"/>
                  </a:lnTo>
                  <a:lnTo>
                    <a:pt x="522" y="732"/>
                  </a:lnTo>
                  <a:lnTo>
                    <a:pt x="510" y="726"/>
                  </a:lnTo>
                  <a:lnTo>
                    <a:pt x="510" y="720"/>
                  </a:lnTo>
                  <a:lnTo>
                    <a:pt x="504" y="720"/>
                  </a:lnTo>
                  <a:lnTo>
                    <a:pt x="504" y="714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8" y="702"/>
                  </a:lnTo>
                  <a:lnTo>
                    <a:pt x="498" y="696"/>
                  </a:lnTo>
                  <a:lnTo>
                    <a:pt x="492" y="690"/>
                  </a:lnTo>
                  <a:lnTo>
                    <a:pt x="492" y="684"/>
                  </a:lnTo>
                  <a:lnTo>
                    <a:pt x="486" y="684"/>
                  </a:lnTo>
                  <a:lnTo>
                    <a:pt x="486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74" y="678"/>
                  </a:lnTo>
                  <a:lnTo>
                    <a:pt x="468" y="678"/>
                  </a:lnTo>
                  <a:lnTo>
                    <a:pt x="462" y="678"/>
                  </a:lnTo>
                  <a:lnTo>
                    <a:pt x="462" y="672"/>
                  </a:lnTo>
                  <a:lnTo>
                    <a:pt x="456" y="672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44" y="666"/>
                  </a:lnTo>
                  <a:lnTo>
                    <a:pt x="438" y="660"/>
                  </a:lnTo>
                  <a:lnTo>
                    <a:pt x="438" y="648"/>
                  </a:lnTo>
                  <a:lnTo>
                    <a:pt x="438" y="642"/>
                  </a:lnTo>
                  <a:lnTo>
                    <a:pt x="438" y="636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36"/>
                  </a:lnTo>
                  <a:lnTo>
                    <a:pt x="420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60"/>
                  </a:lnTo>
                  <a:lnTo>
                    <a:pt x="432" y="666"/>
                  </a:lnTo>
                  <a:lnTo>
                    <a:pt x="438" y="666"/>
                  </a:lnTo>
                  <a:lnTo>
                    <a:pt x="438" y="672"/>
                  </a:lnTo>
                  <a:lnTo>
                    <a:pt x="444" y="672"/>
                  </a:lnTo>
                  <a:lnTo>
                    <a:pt x="444" y="678"/>
                  </a:lnTo>
                  <a:lnTo>
                    <a:pt x="450" y="678"/>
                  </a:lnTo>
                  <a:lnTo>
                    <a:pt x="456" y="678"/>
                  </a:lnTo>
                  <a:lnTo>
                    <a:pt x="456" y="684"/>
                  </a:lnTo>
                  <a:lnTo>
                    <a:pt x="462" y="684"/>
                  </a:lnTo>
                  <a:lnTo>
                    <a:pt x="468" y="684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80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86" y="708"/>
                  </a:lnTo>
                  <a:lnTo>
                    <a:pt x="492" y="714"/>
                  </a:lnTo>
                  <a:lnTo>
                    <a:pt x="492" y="720"/>
                  </a:lnTo>
                  <a:lnTo>
                    <a:pt x="492" y="726"/>
                  </a:lnTo>
                  <a:lnTo>
                    <a:pt x="498" y="732"/>
                  </a:lnTo>
                  <a:lnTo>
                    <a:pt x="492" y="738"/>
                  </a:lnTo>
                  <a:lnTo>
                    <a:pt x="492" y="744"/>
                  </a:lnTo>
                  <a:lnTo>
                    <a:pt x="492" y="750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68" y="738"/>
                  </a:lnTo>
                  <a:lnTo>
                    <a:pt x="468" y="744"/>
                  </a:lnTo>
                  <a:lnTo>
                    <a:pt x="474" y="750"/>
                  </a:lnTo>
                  <a:lnTo>
                    <a:pt x="480" y="756"/>
                  </a:lnTo>
                  <a:lnTo>
                    <a:pt x="486" y="756"/>
                  </a:lnTo>
                  <a:lnTo>
                    <a:pt x="492" y="762"/>
                  </a:lnTo>
                  <a:lnTo>
                    <a:pt x="498" y="768"/>
                  </a:lnTo>
                  <a:lnTo>
                    <a:pt x="492" y="774"/>
                  </a:lnTo>
                  <a:lnTo>
                    <a:pt x="492" y="780"/>
                  </a:lnTo>
                  <a:lnTo>
                    <a:pt x="498" y="780"/>
                  </a:lnTo>
                  <a:lnTo>
                    <a:pt x="492" y="786"/>
                  </a:lnTo>
                  <a:lnTo>
                    <a:pt x="492" y="792"/>
                  </a:lnTo>
                  <a:lnTo>
                    <a:pt x="492" y="79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0" y="810"/>
                  </a:lnTo>
                  <a:lnTo>
                    <a:pt x="480" y="804"/>
                  </a:lnTo>
                  <a:lnTo>
                    <a:pt x="474" y="804"/>
                  </a:lnTo>
                  <a:lnTo>
                    <a:pt x="474" y="798"/>
                  </a:lnTo>
                  <a:lnTo>
                    <a:pt x="474" y="804"/>
                  </a:lnTo>
                  <a:lnTo>
                    <a:pt x="468" y="804"/>
                  </a:lnTo>
                  <a:lnTo>
                    <a:pt x="468" y="810"/>
                  </a:lnTo>
                  <a:lnTo>
                    <a:pt x="462" y="810"/>
                  </a:lnTo>
                  <a:lnTo>
                    <a:pt x="456" y="810"/>
                  </a:lnTo>
                  <a:lnTo>
                    <a:pt x="450" y="810"/>
                  </a:lnTo>
                  <a:lnTo>
                    <a:pt x="450" y="816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50" y="822"/>
                  </a:lnTo>
                  <a:lnTo>
                    <a:pt x="450" y="816"/>
                  </a:lnTo>
                  <a:lnTo>
                    <a:pt x="444" y="816"/>
                  </a:lnTo>
                  <a:lnTo>
                    <a:pt x="438" y="810"/>
                  </a:lnTo>
                  <a:lnTo>
                    <a:pt x="432" y="810"/>
                  </a:lnTo>
                  <a:lnTo>
                    <a:pt x="426" y="804"/>
                  </a:lnTo>
                  <a:lnTo>
                    <a:pt x="426" y="798"/>
                  </a:lnTo>
                  <a:lnTo>
                    <a:pt x="420" y="798"/>
                  </a:lnTo>
                  <a:lnTo>
                    <a:pt x="426" y="798"/>
                  </a:lnTo>
                  <a:lnTo>
                    <a:pt x="426" y="792"/>
                  </a:lnTo>
                  <a:lnTo>
                    <a:pt x="426" y="786"/>
                  </a:lnTo>
                  <a:lnTo>
                    <a:pt x="432" y="786"/>
                  </a:lnTo>
                  <a:lnTo>
                    <a:pt x="432" y="780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0" y="756"/>
                  </a:lnTo>
                  <a:lnTo>
                    <a:pt x="420" y="750"/>
                  </a:lnTo>
                  <a:lnTo>
                    <a:pt x="414" y="750"/>
                  </a:lnTo>
                  <a:lnTo>
                    <a:pt x="420" y="750"/>
                  </a:lnTo>
                  <a:lnTo>
                    <a:pt x="420" y="744"/>
                  </a:lnTo>
                  <a:lnTo>
                    <a:pt x="414" y="744"/>
                  </a:lnTo>
                  <a:lnTo>
                    <a:pt x="414" y="738"/>
                  </a:lnTo>
                  <a:lnTo>
                    <a:pt x="414" y="732"/>
                  </a:lnTo>
                  <a:lnTo>
                    <a:pt x="408" y="732"/>
                  </a:lnTo>
                  <a:lnTo>
                    <a:pt x="408" y="726"/>
                  </a:lnTo>
                  <a:lnTo>
                    <a:pt x="402" y="726"/>
                  </a:lnTo>
                  <a:lnTo>
                    <a:pt x="396" y="726"/>
                  </a:lnTo>
                  <a:lnTo>
                    <a:pt x="390" y="726"/>
                  </a:lnTo>
                  <a:lnTo>
                    <a:pt x="390" y="720"/>
                  </a:lnTo>
                  <a:lnTo>
                    <a:pt x="390" y="714"/>
                  </a:lnTo>
                  <a:lnTo>
                    <a:pt x="384" y="708"/>
                  </a:lnTo>
                  <a:lnTo>
                    <a:pt x="384" y="702"/>
                  </a:lnTo>
                  <a:lnTo>
                    <a:pt x="378" y="702"/>
                  </a:lnTo>
                  <a:lnTo>
                    <a:pt x="378" y="696"/>
                  </a:lnTo>
                  <a:lnTo>
                    <a:pt x="378" y="690"/>
                  </a:lnTo>
                  <a:lnTo>
                    <a:pt x="372" y="684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66" y="666"/>
                  </a:lnTo>
                  <a:lnTo>
                    <a:pt x="366" y="660"/>
                  </a:lnTo>
                  <a:lnTo>
                    <a:pt x="366" y="654"/>
                  </a:lnTo>
                  <a:lnTo>
                    <a:pt x="360" y="648"/>
                  </a:lnTo>
                  <a:lnTo>
                    <a:pt x="360" y="654"/>
                  </a:lnTo>
                  <a:lnTo>
                    <a:pt x="360" y="660"/>
                  </a:lnTo>
                  <a:lnTo>
                    <a:pt x="360" y="666"/>
                  </a:lnTo>
                  <a:lnTo>
                    <a:pt x="360" y="672"/>
                  </a:lnTo>
                  <a:lnTo>
                    <a:pt x="360" y="678"/>
                  </a:lnTo>
                  <a:lnTo>
                    <a:pt x="366" y="678"/>
                  </a:lnTo>
                  <a:lnTo>
                    <a:pt x="366" y="684"/>
                  </a:lnTo>
                  <a:lnTo>
                    <a:pt x="366" y="690"/>
                  </a:lnTo>
                  <a:lnTo>
                    <a:pt x="372" y="696"/>
                  </a:lnTo>
                  <a:lnTo>
                    <a:pt x="372" y="702"/>
                  </a:lnTo>
                  <a:lnTo>
                    <a:pt x="372" y="708"/>
                  </a:lnTo>
                  <a:lnTo>
                    <a:pt x="372" y="714"/>
                  </a:lnTo>
                  <a:lnTo>
                    <a:pt x="366" y="714"/>
                  </a:lnTo>
                  <a:lnTo>
                    <a:pt x="360" y="714"/>
                  </a:lnTo>
                  <a:lnTo>
                    <a:pt x="354" y="714"/>
                  </a:lnTo>
                  <a:lnTo>
                    <a:pt x="348" y="714"/>
                  </a:lnTo>
                  <a:lnTo>
                    <a:pt x="348" y="708"/>
                  </a:lnTo>
                  <a:lnTo>
                    <a:pt x="342" y="708"/>
                  </a:lnTo>
                  <a:lnTo>
                    <a:pt x="342" y="702"/>
                  </a:lnTo>
                  <a:lnTo>
                    <a:pt x="342" y="696"/>
                  </a:lnTo>
                  <a:lnTo>
                    <a:pt x="336" y="696"/>
                  </a:lnTo>
                  <a:lnTo>
                    <a:pt x="336" y="690"/>
                  </a:lnTo>
                  <a:lnTo>
                    <a:pt x="336" y="684"/>
                  </a:lnTo>
                  <a:lnTo>
                    <a:pt x="330" y="684"/>
                  </a:lnTo>
                  <a:lnTo>
                    <a:pt x="330" y="678"/>
                  </a:lnTo>
                  <a:lnTo>
                    <a:pt x="324" y="672"/>
                  </a:lnTo>
                  <a:lnTo>
                    <a:pt x="324" y="666"/>
                  </a:lnTo>
                  <a:lnTo>
                    <a:pt x="318" y="666"/>
                  </a:lnTo>
                  <a:lnTo>
                    <a:pt x="318" y="672"/>
                  </a:lnTo>
                  <a:lnTo>
                    <a:pt x="324" y="672"/>
                  </a:lnTo>
                  <a:lnTo>
                    <a:pt x="324" y="678"/>
                  </a:lnTo>
                  <a:lnTo>
                    <a:pt x="324" y="684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30" y="696"/>
                  </a:lnTo>
                  <a:lnTo>
                    <a:pt x="336" y="702"/>
                  </a:lnTo>
                  <a:lnTo>
                    <a:pt x="342" y="708"/>
                  </a:lnTo>
                  <a:lnTo>
                    <a:pt x="342" y="714"/>
                  </a:lnTo>
                  <a:lnTo>
                    <a:pt x="348" y="720"/>
                  </a:lnTo>
                  <a:lnTo>
                    <a:pt x="342" y="720"/>
                  </a:lnTo>
                  <a:lnTo>
                    <a:pt x="336" y="720"/>
                  </a:lnTo>
                  <a:lnTo>
                    <a:pt x="330" y="720"/>
                  </a:lnTo>
                  <a:lnTo>
                    <a:pt x="330" y="726"/>
                  </a:lnTo>
                  <a:lnTo>
                    <a:pt x="336" y="726"/>
                  </a:lnTo>
                  <a:lnTo>
                    <a:pt x="330" y="732"/>
                  </a:lnTo>
                  <a:lnTo>
                    <a:pt x="330" y="738"/>
                  </a:lnTo>
                  <a:lnTo>
                    <a:pt x="330" y="744"/>
                  </a:lnTo>
                  <a:lnTo>
                    <a:pt x="336" y="744"/>
                  </a:lnTo>
                  <a:lnTo>
                    <a:pt x="342" y="744"/>
                  </a:lnTo>
                  <a:lnTo>
                    <a:pt x="348" y="744"/>
                  </a:lnTo>
                  <a:lnTo>
                    <a:pt x="348" y="750"/>
                  </a:lnTo>
                  <a:lnTo>
                    <a:pt x="354" y="750"/>
                  </a:lnTo>
                  <a:lnTo>
                    <a:pt x="360" y="756"/>
                  </a:lnTo>
                  <a:lnTo>
                    <a:pt x="360" y="762"/>
                  </a:lnTo>
                  <a:lnTo>
                    <a:pt x="366" y="762"/>
                  </a:lnTo>
                  <a:lnTo>
                    <a:pt x="366" y="768"/>
                  </a:lnTo>
                  <a:lnTo>
                    <a:pt x="366" y="774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72" y="792"/>
                  </a:lnTo>
                  <a:lnTo>
                    <a:pt x="372" y="798"/>
                  </a:lnTo>
                  <a:lnTo>
                    <a:pt x="372" y="804"/>
                  </a:lnTo>
                  <a:lnTo>
                    <a:pt x="378" y="804"/>
                  </a:lnTo>
                  <a:lnTo>
                    <a:pt x="378" y="810"/>
                  </a:lnTo>
                  <a:lnTo>
                    <a:pt x="378" y="816"/>
                  </a:lnTo>
                  <a:lnTo>
                    <a:pt x="372" y="816"/>
                  </a:lnTo>
                  <a:lnTo>
                    <a:pt x="378" y="816"/>
                  </a:lnTo>
                  <a:lnTo>
                    <a:pt x="378" y="822"/>
                  </a:lnTo>
                  <a:lnTo>
                    <a:pt x="378" y="828"/>
                  </a:lnTo>
                  <a:lnTo>
                    <a:pt x="378" y="834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0" y="864"/>
                  </a:lnTo>
                  <a:lnTo>
                    <a:pt x="384" y="864"/>
                  </a:lnTo>
                  <a:lnTo>
                    <a:pt x="384" y="870"/>
                  </a:lnTo>
                  <a:lnTo>
                    <a:pt x="378" y="864"/>
                  </a:lnTo>
                  <a:lnTo>
                    <a:pt x="372" y="864"/>
                  </a:lnTo>
                  <a:lnTo>
                    <a:pt x="366" y="858"/>
                  </a:lnTo>
                  <a:lnTo>
                    <a:pt x="366" y="852"/>
                  </a:lnTo>
                  <a:lnTo>
                    <a:pt x="360" y="852"/>
                  </a:lnTo>
                  <a:lnTo>
                    <a:pt x="360" y="858"/>
                  </a:lnTo>
                  <a:lnTo>
                    <a:pt x="366" y="858"/>
                  </a:lnTo>
                  <a:lnTo>
                    <a:pt x="366" y="864"/>
                  </a:lnTo>
                  <a:lnTo>
                    <a:pt x="360" y="864"/>
                  </a:lnTo>
                  <a:lnTo>
                    <a:pt x="354" y="864"/>
                  </a:lnTo>
                  <a:lnTo>
                    <a:pt x="354" y="870"/>
                  </a:lnTo>
                  <a:lnTo>
                    <a:pt x="354" y="864"/>
                  </a:lnTo>
                  <a:lnTo>
                    <a:pt x="348" y="864"/>
                  </a:lnTo>
                  <a:lnTo>
                    <a:pt x="342" y="864"/>
                  </a:lnTo>
                  <a:lnTo>
                    <a:pt x="342" y="858"/>
                  </a:lnTo>
                  <a:lnTo>
                    <a:pt x="336" y="858"/>
                  </a:lnTo>
                  <a:lnTo>
                    <a:pt x="330" y="858"/>
                  </a:lnTo>
                  <a:lnTo>
                    <a:pt x="324" y="858"/>
                  </a:lnTo>
                  <a:lnTo>
                    <a:pt x="318" y="858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0" y="852"/>
                  </a:lnTo>
                  <a:lnTo>
                    <a:pt x="294" y="852"/>
                  </a:lnTo>
                  <a:lnTo>
                    <a:pt x="294" y="846"/>
                  </a:lnTo>
                  <a:lnTo>
                    <a:pt x="288" y="840"/>
                  </a:lnTo>
                  <a:lnTo>
                    <a:pt x="288" y="828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2" y="816"/>
                  </a:lnTo>
                  <a:lnTo>
                    <a:pt x="282" y="810"/>
                  </a:lnTo>
                  <a:lnTo>
                    <a:pt x="276" y="810"/>
                  </a:lnTo>
                  <a:lnTo>
                    <a:pt x="276" y="804"/>
                  </a:lnTo>
                  <a:lnTo>
                    <a:pt x="276" y="798"/>
                  </a:lnTo>
                  <a:lnTo>
                    <a:pt x="276" y="792"/>
                  </a:lnTo>
                  <a:lnTo>
                    <a:pt x="270" y="786"/>
                  </a:lnTo>
                  <a:lnTo>
                    <a:pt x="270" y="780"/>
                  </a:lnTo>
                  <a:lnTo>
                    <a:pt x="270" y="774"/>
                  </a:lnTo>
                  <a:lnTo>
                    <a:pt x="264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64" y="750"/>
                  </a:lnTo>
                  <a:lnTo>
                    <a:pt x="264" y="744"/>
                  </a:lnTo>
                  <a:lnTo>
                    <a:pt x="264" y="738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26"/>
                  </a:lnTo>
                  <a:lnTo>
                    <a:pt x="276" y="720"/>
                  </a:lnTo>
                  <a:lnTo>
                    <a:pt x="282" y="720"/>
                  </a:lnTo>
                  <a:lnTo>
                    <a:pt x="282" y="714"/>
                  </a:lnTo>
                  <a:lnTo>
                    <a:pt x="282" y="708"/>
                  </a:lnTo>
                  <a:lnTo>
                    <a:pt x="276" y="708"/>
                  </a:lnTo>
                  <a:lnTo>
                    <a:pt x="276" y="702"/>
                  </a:lnTo>
                  <a:lnTo>
                    <a:pt x="270" y="702"/>
                  </a:lnTo>
                  <a:lnTo>
                    <a:pt x="270" y="696"/>
                  </a:lnTo>
                  <a:lnTo>
                    <a:pt x="264" y="690"/>
                  </a:lnTo>
                  <a:lnTo>
                    <a:pt x="258" y="690"/>
                  </a:lnTo>
                  <a:lnTo>
                    <a:pt x="258" y="684"/>
                  </a:lnTo>
                  <a:lnTo>
                    <a:pt x="252" y="684"/>
                  </a:lnTo>
                  <a:lnTo>
                    <a:pt x="252" y="678"/>
                  </a:lnTo>
                  <a:lnTo>
                    <a:pt x="246" y="678"/>
                  </a:lnTo>
                  <a:lnTo>
                    <a:pt x="240" y="678"/>
                  </a:lnTo>
                  <a:lnTo>
                    <a:pt x="240" y="684"/>
                  </a:lnTo>
                  <a:lnTo>
                    <a:pt x="246" y="684"/>
                  </a:lnTo>
                  <a:lnTo>
                    <a:pt x="252" y="690"/>
                  </a:lnTo>
                  <a:lnTo>
                    <a:pt x="258" y="690"/>
                  </a:lnTo>
                  <a:lnTo>
                    <a:pt x="258" y="696"/>
                  </a:lnTo>
                  <a:lnTo>
                    <a:pt x="258" y="702"/>
                  </a:lnTo>
                  <a:lnTo>
                    <a:pt x="264" y="702"/>
                  </a:lnTo>
                  <a:lnTo>
                    <a:pt x="270" y="708"/>
                  </a:lnTo>
                  <a:lnTo>
                    <a:pt x="270" y="714"/>
                  </a:lnTo>
                  <a:lnTo>
                    <a:pt x="270" y="720"/>
                  </a:lnTo>
                  <a:lnTo>
                    <a:pt x="276" y="720"/>
                  </a:lnTo>
                  <a:lnTo>
                    <a:pt x="270" y="720"/>
                  </a:lnTo>
                  <a:lnTo>
                    <a:pt x="270" y="726"/>
                  </a:lnTo>
                  <a:lnTo>
                    <a:pt x="264" y="726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52" y="738"/>
                  </a:lnTo>
                  <a:lnTo>
                    <a:pt x="252" y="744"/>
                  </a:lnTo>
                  <a:lnTo>
                    <a:pt x="252" y="750"/>
                  </a:lnTo>
                  <a:lnTo>
                    <a:pt x="252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58" y="774"/>
                  </a:lnTo>
                  <a:lnTo>
                    <a:pt x="258" y="780"/>
                  </a:lnTo>
                  <a:lnTo>
                    <a:pt x="264" y="786"/>
                  </a:lnTo>
                  <a:lnTo>
                    <a:pt x="264" y="792"/>
                  </a:lnTo>
                  <a:lnTo>
                    <a:pt x="264" y="798"/>
                  </a:lnTo>
                  <a:lnTo>
                    <a:pt x="270" y="810"/>
                  </a:lnTo>
                  <a:lnTo>
                    <a:pt x="270" y="816"/>
                  </a:lnTo>
                  <a:lnTo>
                    <a:pt x="270" y="822"/>
                  </a:lnTo>
                  <a:lnTo>
                    <a:pt x="276" y="822"/>
                  </a:lnTo>
                  <a:lnTo>
                    <a:pt x="276" y="828"/>
                  </a:lnTo>
                  <a:lnTo>
                    <a:pt x="276" y="834"/>
                  </a:lnTo>
                  <a:lnTo>
                    <a:pt x="276" y="840"/>
                  </a:lnTo>
                  <a:lnTo>
                    <a:pt x="276" y="846"/>
                  </a:lnTo>
                  <a:lnTo>
                    <a:pt x="282" y="852"/>
                  </a:lnTo>
                  <a:lnTo>
                    <a:pt x="282" y="858"/>
                  </a:lnTo>
                  <a:lnTo>
                    <a:pt x="294" y="864"/>
                  </a:lnTo>
                  <a:lnTo>
                    <a:pt x="300" y="870"/>
                  </a:lnTo>
                  <a:lnTo>
                    <a:pt x="300" y="876"/>
                  </a:lnTo>
                  <a:lnTo>
                    <a:pt x="288" y="876"/>
                  </a:lnTo>
                  <a:lnTo>
                    <a:pt x="282" y="876"/>
                  </a:lnTo>
                  <a:lnTo>
                    <a:pt x="276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2" y="882"/>
                  </a:lnTo>
                  <a:lnTo>
                    <a:pt x="246" y="882"/>
                  </a:lnTo>
                  <a:lnTo>
                    <a:pt x="240" y="882"/>
                  </a:lnTo>
                  <a:lnTo>
                    <a:pt x="234" y="882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204" y="876"/>
                  </a:lnTo>
                  <a:lnTo>
                    <a:pt x="198" y="876"/>
                  </a:lnTo>
                  <a:lnTo>
                    <a:pt x="198" y="870"/>
                  </a:lnTo>
                  <a:lnTo>
                    <a:pt x="198" y="852"/>
                  </a:lnTo>
                  <a:lnTo>
                    <a:pt x="198" y="846"/>
                  </a:lnTo>
                  <a:lnTo>
                    <a:pt x="204" y="846"/>
                  </a:lnTo>
                  <a:lnTo>
                    <a:pt x="198" y="840"/>
                  </a:lnTo>
                  <a:lnTo>
                    <a:pt x="198" y="834"/>
                  </a:lnTo>
                  <a:lnTo>
                    <a:pt x="198" y="828"/>
                  </a:lnTo>
                  <a:lnTo>
                    <a:pt x="198" y="822"/>
                  </a:lnTo>
                  <a:lnTo>
                    <a:pt x="198" y="816"/>
                  </a:lnTo>
                  <a:lnTo>
                    <a:pt x="198" y="810"/>
                  </a:lnTo>
                  <a:lnTo>
                    <a:pt x="192" y="810"/>
                  </a:lnTo>
                  <a:lnTo>
                    <a:pt x="192" y="804"/>
                  </a:lnTo>
                  <a:lnTo>
                    <a:pt x="192" y="798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2" y="774"/>
                  </a:lnTo>
                  <a:lnTo>
                    <a:pt x="192" y="768"/>
                  </a:lnTo>
                  <a:lnTo>
                    <a:pt x="198" y="768"/>
                  </a:lnTo>
                  <a:lnTo>
                    <a:pt x="198" y="762"/>
                  </a:lnTo>
                  <a:lnTo>
                    <a:pt x="198" y="756"/>
                  </a:lnTo>
                  <a:lnTo>
                    <a:pt x="204" y="756"/>
                  </a:lnTo>
                  <a:lnTo>
                    <a:pt x="204" y="750"/>
                  </a:lnTo>
                  <a:lnTo>
                    <a:pt x="210" y="744"/>
                  </a:lnTo>
                  <a:lnTo>
                    <a:pt x="210" y="738"/>
                  </a:lnTo>
                  <a:lnTo>
                    <a:pt x="210" y="732"/>
                  </a:lnTo>
                  <a:lnTo>
                    <a:pt x="210" y="726"/>
                  </a:lnTo>
                  <a:lnTo>
                    <a:pt x="210" y="720"/>
                  </a:lnTo>
                  <a:lnTo>
                    <a:pt x="204" y="714"/>
                  </a:lnTo>
                  <a:lnTo>
                    <a:pt x="204" y="720"/>
                  </a:lnTo>
                  <a:lnTo>
                    <a:pt x="204" y="732"/>
                  </a:lnTo>
                  <a:lnTo>
                    <a:pt x="204" y="738"/>
                  </a:lnTo>
                  <a:lnTo>
                    <a:pt x="198" y="738"/>
                  </a:lnTo>
                  <a:lnTo>
                    <a:pt x="198" y="744"/>
                  </a:lnTo>
                  <a:lnTo>
                    <a:pt x="198" y="750"/>
                  </a:lnTo>
                  <a:lnTo>
                    <a:pt x="192" y="756"/>
                  </a:lnTo>
                  <a:lnTo>
                    <a:pt x="186" y="762"/>
                  </a:lnTo>
                  <a:lnTo>
                    <a:pt x="186" y="768"/>
                  </a:lnTo>
                  <a:lnTo>
                    <a:pt x="186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98"/>
                  </a:lnTo>
                  <a:lnTo>
                    <a:pt x="186" y="804"/>
                  </a:lnTo>
                  <a:lnTo>
                    <a:pt x="186" y="810"/>
                  </a:lnTo>
                  <a:lnTo>
                    <a:pt x="192" y="816"/>
                  </a:lnTo>
                  <a:lnTo>
                    <a:pt x="192" y="828"/>
                  </a:lnTo>
                  <a:lnTo>
                    <a:pt x="192" y="834"/>
                  </a:lnTo>
                  <a:lnTo>
                    <a:pt x="186" y="834"/>
                  </a:lnTo>
                  <a:lnTo>
                    <a:pt x="186" y="828"/>
                  </a:lnTo>
                  <a:lnTo>
                    <a:pt x="180" y="822"/>
                  </a:lnTo>
                  <a:lnTo>
                    <a:pt x="180" y="816"/>
                  </a:lnTo>
                  <a:lnTo>
                    <a:pt x="180" y="810"/>
                  </a:lnTo>
                  <a:lnTo>
                    <a:pt x="174" y="810"/>
                  </a:lnTo>
                  <a:lnTo>
                    <a:pt x="174" y="804"/>
                  </a:lnTo>
                  <a:lnTo>
                    <a:pt x="174" y="798"/>
                  </a:lnTo>
                  <a:lnTo>
                    <a:pt x="174" y="792"/>
                  </a:lnTo>
                  <a:lnTo>
                    <a:pt x="168" y="786"/>
                  </a:lnTo>
                  <a:lnTo>
                    <a:pt x="168" y="780"/>
                  </a:lnTo>
                  <a:lnTo>
                    <a:pt x="162" y="780"/>
                  </a:lnTo>
                  <a:lnTo>
                    <a:pt x="168" y="774"/>
                  </a:lnTo>
                  <a:lnTo>
                    <a:pt x="168" y="768"/>
                  </a:lnTo>
                  <a:lnTo>
                    <a:pt x="174" y="768"/>
                  </a:lnTo>
                  <a:lnTo>
                    <a:pt x="168" y="768"/>
                  </a:lnTo>
                  <a:lnTo>
                    <a:pt x="162" y="774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50" y="774"/>
                  </a:lnTo>
                  <a:lnTo>
                    <a:pt x="144" y="774"/>
                  </a:lnTo>
                  <a:lnTo>
                    <a:pt x="144" y="768"/>
                  </a:lnTo>
                  <a:lnTo>
                    <a:pt x="144" y="762"/>
                  </a:lnTo>
                  <a:lnTo>
                    <a:pt x="138" y="756"/>
                  </a:lnTo>
                  <a:lnTo>
                    <a:pt x="132" y="756"/>
                  </a:lnTo>
                  <a:lnTo>
                    <a:pt x="138" y="756"/>
                  </a:lnTo>
                  <a:lnTo>
                    <a:pt x="138" y="762"/>
                  </a:lnTo>
                  <a:lnTo>
                    <a:pt x="138" y="768"/>
                  </a:lnTo>
                  <a:lnTo>
                    <a:pt x="144" y="768"/>
                  </a:lnTo>
                  <a:lnTo>
                    <a:pt x="144" y="774"/>
                  </a:lnTo>
                  <a:lnTo>
                    <a:pt x="150" y="780"/>
                  </a:lnTo>
                  <a:lnTo>
                    <a:pt x="156" y="780"/>
                  </a:lnTo>
                  <a:lnTo>
                    <a:pt x="156" y="786"/>
                  </a:lnTo>
                  <a:lnTo>
                    <a:pt x="162" y="786"/>
                  </a:lnTo>
                  <a:lnTo>
                    <a:pt x="168" y="792"/>
                  </a:lnTo>
                  <a:lnTo>
                    <a:pt x="168" y="798"/>
                  </a:lnTo>
                  <a:lnTo>
                    <a:pt x="168" y="804"/>
                  </a:lnTo>
                  <a:lnTo>
                    <a:pt x="174" y="810"/>
                  </a:lnTo>
                  <a:lnTo>
                    <a:pt x="174" y="816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68" y="828"/>
                  </a:lnTo>
                  <a:lnTo>
                    <a:pt x="168" y="834"/>
                  </a:lnTo>
                  <a:lnTo>
                    <a:pt x="174" y="840"/>
                  </a:lnTo>
                  <a:lnTo>
                    <a:pt x="180" y="840"/>
                  </a:lnTo>
                  <a:lnTo>
                    <a:pt x="180" y="846"/>
                  </a:lnTo>
                  <a:lnTo>
                    <a:pt x="186" y="846"/>
                  </a:lnTo>
                  <a:lnTo>
                    <a:pt x="186" y="852"/>
                  </a:lnTo>
                  <a:lnTo>
                    <a:pt x="186" y="858"/>
                  </a:lnTo>
                  <a:lnTo>
                    <a:pt x="186" y="864"/>
                  </a:lnTo>
                  <a:lnTo>
                    <a:pt x="192" y="864"/>
                  </a:lnTo>
                  <a:lnTo>
                    <a:pt x="192" y="870"/>
                  </a:lnTo>
                  <a:lnTo>
                    <a:pt x="192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6" y="888"/>
                  </a:lnTo>
                  <a:lnTo>
                    <a:pt x="180" y="888"/>
                  </a:lnTo>
                  <a:lnTo>
                    <a:pt x="174" y="888"/>
                  </a:lnTo>
                  <a:lnTo>
                    <a:pt x="168" y="894"/>
                  </a:lnTo>
                  <a:lnTo>
                    <a:pt x="162" y="894"/>
                  </a:lnTo>
                  <a:lnTo>
                    <a:pt x="156" y="894"/>
                  </a:lnTo>
                  <a:lnTo>
                    <a:pt x="150" y="894"/>
                  </a:lnTo>
                  <a:lnTo>
                    <a:pt x="144" y="894"/>
                  </a:lnTo>
                  <a:lnTo>
                    <a:pt x="144" y="900"/>
                  </a:lnTo>
                  <a:lnTo>
                    <a:pt x="138" y="894"/>
                  </a:lnTo>
                  <a:lnTo>
                    <a:pt x="138" y="900"/>
                  </a:lnTo>
                  <a:lnTo>
                    <a:pt x="132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6" y="882"/>
                  </a:lnTo>
                  <a:lnTo>
                    <a:pt x="126" y="876"/>
                  </a:lnTo>
                  <a:lnTo>
                    <a:pt x="120" y="876"/>
                  </a:lnTo>
                  <a:lnTo>
                    <a:pt x="126" y="870"/>
                  </a:lnTo>
                  <a:lnTo>
                    <a:pt x="126" y="864"/>
                  </a:lnTo>
                  <a:lnTo>
                    <a:pt x="126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26" y="828"/>
                  </a:lnTo>
                  <a:lnTo>
                    <a:pt x="126" y="822"/>
                  </a:lnTo>
                  <a:lnTo>
                    <a:pt x="126" y="816"/>
                  </a:lnTo>
                  <a:lnTo>
                    <a:pt x="126" y="810"/>
                  </a:lnTo>
                  <a:lnTo>
                    <a:pt x="126" y="804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20" y="792"/>
                  </a:lnTo>
                  <a:lnTo>
                    <a:pt x="114" y="792"/>
                  </a:lnTo>
                  <a:lnTo>
                    <a:pt x="114" y="786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96" y="780"/>
                  </a:lnTo>
                  <a:lnTo>
                    <a:pt x="96" y="774"/>
                  </a:lnTo>
                  <a:lnTo>
                    <a:pt x="90" y="774"/>
                  </a:lnTo>
                  <a:lnTo>
                    <a:pt x="90" y="768"/>
                  </a:lnTo>
                  <a:close/>
                  <a:moveTo>
                    <a:pt x="96" y="780"/>
                  </a:moveTo>
                  <a:lnTo>
                    <a:pt x="102" y="780"/>
                  </a:lnTo>
                  <a:lnTo>
                    <a:pt x="102" y="786"/>
                  </a:lnTo>
                  <a:lnTo>
                    <a:pt x="108" y="786"/>
                  </a:lnTo>
                  <a:lnTo>
                    <a:pt x="114" y="792"/>
                  </a:lnTo>
                  <a:lnTo>
                    <a:pt x="120" y="798"/>
                  </a:lnTo>
                  <a:lnTo>
                    <a:pt x="120" y="804"/>
                  </a:lnTo>
                  <a:lnTo>
                    <a:pt x="126" y="810"/>
                  </a:lnTo>
                  <a:lnTo>
                    <a:pt x="126" y="816"/>
                  </a:lnTo>
                  <a:lnTo>
                    <a:pt x="126" y="822"/>
                  </a:lnTo>
                  <a:lnTo>
                    <a:pt x="120" y="828"/>
                  </a:lnTo>
                  <a:lnTo>
                    <a:pt x="120" y="840"/>
                  </a:lnTo>
                  <a:lnTo>
                    <a:pt x="120" y="852"/>
                  </a:lnTo>
                  <a:lnTo>
                    <a:pt x="120" y="858"/>
                  </a:lnTo>
                  <a:lnTo>
                    <a:pt x="120" y="864"/>
                  </a:lnTo>
                  <a:lnTo>
                    <a:pt x="120" y="870"/>
                  </a:lnTo>
                  <a:lnTo>
                    <a:pt x="114" y="870"/>
                  </a:lnTo>
                  <a:lnTo>
                    <a:pt x="108" y="870"/>
                  </a:lnTo>
                  <a:lnTo>
                    <a:pt x="108" y="876"/>
                  </a:lnTo>
                  <a:lnTo>
                    <a:pt x="114" y="876"/>
                  </a:lnTo>
                  <a:lnTo>
                    <a:pt x="120" y="876"/>
                  </a:lnTo>
                  <a:lnTo>
                    <a:pt x="120" y="882"/>
                  </a:lnTo>
                  <a:lnTo>
                    <a:pt x="114" y="888"/>
                  </a:lnTo>
                  <a:lnTo>
                    <a:pt x="120" y="888"/>
                  </a:lnTo>
                  <a:lnTo>
                    <a:pt x="120" y="894"/>
                  </a:lnTo>
                  <a:lnTo>
                    <a:pt x="114" y="894"/>
                  </a:lnTo>
                  <a:lnTo>
                    <a:pt x="108" y="894"/>
                  </a:lnTo>
                  <a:lnTo>
                    <a:pt x="96" y="894"/>
                  </a:lnTo>
                  <a:lnTo>
                    <a:pt x="96" y="882"/>
                  </a:lnTo>
                  <a:lnTo>
                    <a:pt x="96" y="876"/>
                  </a:lnTo>
                  <a:lnTo>
                    <a:pt x="84" y="870"/>
                  </a:lnTo>
                  <a:lnTo>
                    <a:pt x="72" y="864"/>
                  </a:lnTo>
                  <a:lnTo>
                    <a:pt x="72" y="852"/>
                  </a:lnTo>
                  <a:lnTo>
                    <a:pt x="72" y="840"/>
                  </a:lnTo>
                  <a:lnTo>
                    <a:pt x="78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90" y="792"/>
                  </a:lnTo>
                  <a:lnTo>
                    <a:pt x="96" y="780"/>
                  </a:lnTo>
                  <a:close/>
                  <a:moveTo>
                    <a:pt x="492" y="810"/>
                  </a:moveTo>
                  <a:lnTo>
                    <a:pt x="498" y="810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510" y="792"/>
                  </a:lnTo>
                  <a:lnTo>
                    <a:pt x="516" y="786"/>
                  </a:lnTo>
                  <a:lnTo>
                    <a:pt x="522" y="780"/>
                  </a:lnTo>
                  <a:lnTo>
                    <a:pt x="522" y="774"/>
                  </a:lnTo>
                  <a:lnTo>
                    <a:pt x="528" y="768"/>
                  </a:lnTo>
                  <a:lnTo>
                    <a:pt x="528" y="762"/>
                  </a:lnTo>
                  <a:lnTo>
                    <a:pt x="534" y="762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46" y="780"/>
                  </a:lnTo>
                  <a:lnTo>
                    <a:pt x="552" y="786"/>
                  </a:lnTo>
                  <a:lnTo>
                    <a:pt x="558" y="786"/>
                  </a:lnTo>
                  <a:lnTo>
                    <a:pt x="564" y="786"/>
                  </a:lnTo>
                  <a:lnTo>
                    <a:pt x="576" y="786"/>
                  </a:lnTo>
                  <a:lnTo>
                    <a:pt x="582" y="786"/>
                  </a:lnTo>
                  <a:lnTo>
                    <a:pt x="588" y="786"/>
                  </a:lnTo>
                  <a:lnTo>
                    <a:pt x="594" y="786"/>
                  </a:lnTo>
                  <a:lnTo>
                    <a:pt x="588" y="792"/>
                  </a:lnTo>
                  <a:lnTo>
                    <a:pt x="588" y="798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82" y="822"/>
                  </a:lnTo>
                  <a:lnTo>
                    <a:pt x="588" y="828"/>
                  </a:lnTo>
                  <a:lnTo>
                    <a:pt x="588" y="834"/>
                  </a:lnTo>
                  <a:lnTo>
                    <a:pt x="582" y="840"/>
                  </a:lnTo>
                  <a:lnTo>
                    <a:pt x="570" y="840"/>
                  </a:lnTo>
                  <a:lnTo>
                    <a:pt x="558" y="846"/>
                  </a:lnTo>
                  <a:lnTo>
                    <a:pt x="552" y="846"/>
                  </a:lnTo>
                  <a:lnTo>
                    <a:pt x="534" y="852"/>
                  </a:lnTo>
                  <a:lnTo>
                    <a:pt x="522" y="858"/>
                  </a:lnTo>
                  <a:lnTo>
                    <a:pt x="510" y="858"/>
                  </a:lnTo>
                  <a:lnTo>
                    <a:pt x="498" y="864"/>
                  </a:lnTo>
                  <a:lnTo>
                    <a:pt x="474" y="864"/>
                  </a:lnTo>
                  <a:lnTo>
                    <a:pt x="468" y="858"/>
                  </a:lnTo>
                  <a:lnTo>
                    <a:pt x="468" y="852"/>
                  </a:lnTo>
                  <a:lnTo>
                    <a:pt x="468" y="846"/>
                  </a:lnTo>
                  <a:lnTo>
                    <a:pt x="474" y="840"/>
                  </a:lnTo>
                  <a:lnTo>
                    <a:pt x="474" y="834"/>
                  </a:lnTo>
                  <a:lnTo>
                    <a:pt x="480" y="828"/>
                  </a:lnTo>
                  <a:lnTo>
                    <a:pt x="492" y="822"/>
                  </a:lnTo>
                  <a:lnTo>
                    <a:pt x="492" y="810"/>
                  </a:lnTo>
                  <a:close/>
                  <a:moveTo>
                    <a:pt x="384" y="720"/>
                  </a:moveTo>
                  <a:lnTo>
                    <a:pt x="384" y="726"/>
                  </a:lnTo>
                  <a:lnTo>
                    <a:pt x="390" y="726"/>
                  </a:lnTo>
                  <a:lnTo>
                    <a:pt x="396" y="726"/>
                  </a:lnTo>
                  <a:lnTo>
                    <a:pt x="402" y="732"/>
                  </a:lnTo>
                  <a:lnTo>
                    <a:pt x="408" y="732"/>
                  </a:lnTo>
                  <a:lnTo>
                    <a:pt x="414" y="732"/>
                  </a:lnTo>
                  <a:lnTo>
                    <a:pt x="414" y="738"/>
                  </a:lnTo>
                  <a:lnTo>
                    <a:pt x="414" y="744"/>
                  </a:lnTo>
                  <a:lnTo>
                    <a:pt x="414" y="750"/>
                  </a:lnTo>
                  <a:lnTo>
                    <a:pt x="414" y="756"/>
                  </a:lnTo>
                  <a:lnTo>
                    <a:pt x="414" y="762"/>
                  </a:lnTo>
                  <a:lnTo>
                    <a:pt x="420" y="768"/>
                  </a:lnTo>
                  <a:lnTo>
                    <a:pt x="420" y="774"/>
                  </a:lnTo>
                  <a:lnTo>
                    <a:pt x="426" y="780"/>
                  </a:lnTo>
                  <a:lnTo>
                    <a:pt x="426" y="786"/>
                  </a:lnTo>
                  <a:lnTo>
                    <a:pt x="420" y="786"/>
                  </a:lnTo>
                  <a:lnTo>
                    <a:pt x="420" y="792"/>
                  </a:lnTo>
                  <a:lnTo>
                    <a:pt x="420" y="798"/>
                  </a:lnTo>
                  <a:lnTo>
                    <a:pt x="420" y="804"/>
                  </a:lnTo>
                  <a:lnTo>
                    <a:pt x="426" y="804"/>
                  </a:lnTo>
                  <a:lnTo>
                    <a:pt x="426" y="810"/>
                  </a:lnTo>
                  <a:lnTo>
                    <a:pt x="426" y="816"/>
                  </a:lnTo>
                  <a:lnTo>
                    <a:pt x="432" y="816"/>
                  </a:lnTo>
                  <a:lnTo>
                    <a:pt x="438" y="816"/>
                  </a:lnTo>
                  <a:lnTo>
                    <a:pt x="438" y="822"/>
                  </a:lnTo>
                  <a:lnTo>
                    <a:pt x="432" y="822"/>
                  </a:lnTo>
                  <a:lnTo>
                    <a:pt x="426" y="828"/>
                  </a:lnTo>
                  <a:lnTo>
                    <a:pt x="420" y="828"/>
                  </a:lnTo>
                  <a:lnTo>
                    <a:pt x="414" y="828"/>
                  </a:lnTo>
                  <a:lnTo>
                    <a:pt x="408" y="828"/>
                  </a:lnTo>
                  <a:lnTo>
                    <a:pt x="402" y="828"/>
                  </a:lnTo>
                  <a:lnTo>
                    <a:pt x="402" y="822"/>
                  </a:lnTo>
                  <a:lnTo>
                    <a:pt x="396" y="822"/>
                  </a:lnTo>
                  <a:lnTo>
                    <a:pt x="402" y="822"/>
                  </a:lnTo>
                  <a:lnTo>
                    <a:pt x="402" y="816"/>
                  </a:lnTo>
                  <a:lnTo>
                    <a:pt x="396" y="816"/>
                  </a:lnTo>
                  <a:lnTo>
                    <a:pt x="396" y="810"/>
                  </a:lnTo>
                  <a:lnTo>
                    <a:pt x="396" y="804"/>
                  </a:lnTo>
                  <a:lnTo>
                    <a:pt x="390" y="798"/>
                  </a:lnTo>
                  <a:lnTo>
                    <a:pt x="390" y="792"/>
                  </a:lnTo>
                  <a:lnTo>
                    <a:pt x="390" y="786"/>
                  </a:lnTo>
                  <a:lnTo>
                    <a:pt x="390" y="780"/>
                  </a:lnTo>
                  <a:lnTo>
                    <a:pt x="390" y="774"/>
                  </a:lnTo>
                  <a:lnTo>
                    <a:pt x="390" y="768"/>
                  </a:lnTo>
                  <a:lnTo>
                    <a:pt x="390" y="762"/>
                  </a:lnTo>
                  <a:lnTo>
                    <a:pt x="384" y="756"/>
                  </a:lnTo>
                  <a:lnTo>
                    <a:pt x="384" y="750"/>
                  </a:lnTo>
                  <a:lnTo>
                    <a:pt x="384" y="744"/>
                  </a:lnTo>
                  <a:lnTo>
                    <a:pt x="378" y="744"/>
                  </a:lnTo>
                  <a:lnTo>
                    <a:pt x="384" y="744"/>
                  </a:lnTo>
                  <a:lnTo>
                    <a:pt x="384" y="738"/>
                  </a:lnTo>
                  <a:lnTo>
                    <a:pt x="378" y="738"/>
                  </a:lnTo>
                  <a:lnTo>
                    <a:pt x="378" y="732"/>
                  </a:lnTo>
                  <a:lnTo>
                    <a:pt x="378" y="726"/>
                  </a:lnTo>
                  <a:lnTo>
                    <a:pt x="378" y="720"/>
                  </a:lnTo>
                  <a:lnTo>
                    <a:pt x="384" y="720"/>
                  </a:lnTo>
                  <a:close/>
                  <a:moveTo>
                    <a:pt x="330" y="738"/>
                  </a:moveTo>
                  <a:lnTo>
                    <a:pt x="336" y="732"/>
                  </a:lnTo>
                  <a:lnTo>
                    <a:pt x="336" y="726"/>
                  </a:lnTo>
                  <a:lnTo>
                    <a:pt x="342" y="720"/>
                  </a:lnTo>
                  <a:lnTo>
                    <a:pt x="348" y="720"/>
                  </a:lnTo>
                  <a:lnTo>
                    <a:pt x="360" y="720"/>
                  </a:lnTo>
                  <a:lnTo>
                    <a:pt x="366" y="726"/>
                  </a:lnTo>
                  <a:lnTo>
                    <a:pt x="372" y="732"/>
                  </a:lnTo>
                  <a:lnTo>
                    <a:pt x="372" y="738"/>
                  </a:lnTo>
                  <a:lnTo>
                    <a:pt x="366" y="750"/>
                  </a:lnTo>
                  <a:lnTo>
                    <a:pt x="372" y="756"/>
                  </a:lnTo>
                  <a:lnTo>
                    <a:pt x="372" y="762"/>
                  </a:lnTo>
                  <a:lnTo>
                    <a:pt x="372" y="768"/>
                  </a:lnTo>
                  <a:lnTo>
                    <a:pt x="372" y="774"/>
                  </a:lnTo>
                  <a:lnTo>
                    <a:pt x="372" y="780"/>
                  </a:lnTo>
                  <a:lnTo>
                    <a:pt x="372" y="774"/>
                  </a:lnTo>
                  <a:lnTo>
                    <a:pt x="366" y="768"/>
                  </a:lnTo>
                  <a:lnTo>
                    <a:pt x="366" y="762"/>
                  </a:lnTo>
                  <a:lnTo>
                    <a:pt x="366" y="756"/>
                  </a:lnTo>
                  <a:lnTo>
                    <a:pt x="360" y="756"/>
                  </a:lnTo>
                  <a:lnTo>
                    <a:pt x="360" y="750"/>
                  </a:lnTo>
                  <a:lnTo>
                    <a:pt x="354" y="750"/>
                  </a:lnTo>
                  <a:lnTo>
                    <a:pt x="348" y="744"/>
                  </a:lnTo>
                  <a:lnTo>
                    <a:pt x="342" y="744"/>
                  </a:lnTo>
                  <a:lnTo>
                    <a:pt x="336" y="744"/>
                  </a:lnTo>
                  <a:lnTo>
                    <a:pt x="330" y="73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01" name="Freeform 6">
              <a:extLst>
                <a:ext uri="{FF2B5EF4-FFF2-40B4-BE49-F238E27FC236}">
                  <a16:creationId xmlns:a16="http://schemas.microsoft.com/office/drawing/2014/main" id="{0656C385-F30A-4AC8-AE9F-B1F66208B38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3123" y="4163918"/>
              <a:ext cx="266107" cy="248252"/>
            </a:xfrm>
            <a:custGeom>
              <a:avLst/>
              <a:gdLst>
                <a:gd name="T0" fmla="*/ 33 w 504"/>
                <a:gd name="T1" fmla="*/ 41 h 468"/>
                <a:gd name="T2" fmla="*/ 26 w 504"/>
                <a:gd name="T3" fmla="*/ 39 h 468"/>
                <a:gd name="T4" fmla="*/ 21 w 504"/>
                <a:gd name="T5" fmla="*/ 38 h 468"/>
                <a:gd name="T6" fmla="*/ 18 w 504"/>
                <a:gd name="T7" fmla="*/ 38 h 468"/>
                <a:gd name="T8" fmla="*/ 15 w 504"/>
                <a:gd name="T9" fmla="*/ 39 h 468"/>
                <a:gd name="T10" fmla="*/ 12 w 504"/>
                <a:gd name="T11" fmla="*/ 38 h 468"/>
                <a:gd name="T12" fmla="*/ 9 w 504"/>
                <a:gd name="T13" fmla="*/ 37 h 468"/>
                <a:gd name="T14" fmla="*/ 7 w 504"/>
                <a:gd name="T15" fmla="*/ 32 h 468"/>
                <a:gd name="T16" fmla="*/ 6 w 504"/>
                <a:gd name="T17" fmla="*/ 26 h 468"/>
                <a:gd name="T18" fmla="*/ 3 w 504"/>
                <a:gd name="T19" fmla="*/ 24 h 468"/>
                <a:gd name="T20" fmla="*/ 1 w 504"/>
                <a:gd name="T21" fmla="*/ 24 h 468"/>
                <a:gd name="T22" fmla="*/ 2 w 504"/>
                <a:gd name="T23" fmla="*/ 18 h 468"/>
                <a:gd name="T24" fmla="*/ 1 w 504"/>
                <a:gd name="T25" fmla="*/ 17 h 468"/>
                <a:gd name="T26" fmla="*/ 0 w 504"/>
                <a:gd name="T27" fmla="*/ 17 h 468"/>
                <a:gd name="T28" fmla="*/ 0 w 504"/>
                <a:gd name="T29" fmla="*/ 15 h 468"/>
                <a:gd name="T30" fmla="*/ 2 w 504"/>
                <a:gd name="T31" fmla="*/ 12 h 468"/>
                <a:gd name="T32" fmla="*/ 4 w 504"/>
                <a:gd name="T33" fmla="*/ 10 h 468"/>
                <a:gd name="T34" fmla="*/ 6 w 504"/>
                <a:gd name="T35" fmla="*/ 8 h 468"/>
                <a:gd name="T36" fmla="*/ 8 w 504"/>
                <a:gd name="T37" fmla="*/ 8 h 468"/>
                <a:gd name="T38" fmla="*/ 10 w 504"/>
                <a:gd name="T39" fmla="*/ 9 h 468"/>
                <a:gd name="T40" fmla="*/ 12 w 504"/>
                <a:gd name="T41" fmla="*/ 10 h 468"/>
                <a:gd name="T42" fmla="*/ 12 w 504"/>
                <a:gd name="T43" fmla="*/ 11 h 468"/>
                <a:gd name="T44" fmla="*/ 14 w 504"/>
                <a:gd name="T45" fmla="*/ 8 h 468"/>
                <a:gd name="T46" fmla="*/ 15 w 504"/>
                <a:gd name="T47" fmla="*/ 7 h 468"/>
                <a:gd name="T48" fmla="*/ 17 w 504"/>
                <a:gd name="T49" fmla="*/ 6 h 468"/>
                <a:gd name="T50" fmla="*/ 19 w 504"/>
                <a:gd name="T51" fmla="*/ 3 h 468"/>
                <a:gd name="T52" fmla="*/ 20 w 504"/>
                <a:gd name="T53" fmla="*/ 2 h 468"/>
                <a:gd name="T54" fmla="*/ 22 w 504"/>
                <a:gd name="T55" fmla="*/ 1 h 468"/>
                <a:gd name="T56" fmla="*/ 27 w 504"/>
                <a:gd name="T57" fmla="*/ 1 h 468"/>
                <a:gd name="T58" fmla="*/ 30 w 504"/>
                <a:gd name="T59" fmla="*/ 2 h 468"/>
                <a:gd name="T60" fmla="*/ 31 w 504"/>
                <a:gd name="T61" fmla="*/ 2 h 468"/>
                <a:gd name="T62" fmla="*/ 34 w 504"/>
                <a:gd name="T63" fmla="*/ 0 h 468"/>
                <a:gd name="T64" fmla="*/ 37 w 504"/>
                <a:gd name="T65" fmla="*/ 1 h 468"/>
                <a:gd name="T66" fmla="*/ 41 w 504"/>
                <a:gd name="T67" fmla="*/ 2 h 468"/>
                <a:gd name="T68" fmla="*/ 42 w 504"/>
                <a:gd name="T69" fmla="*/ 4 h 468"/>
                <a:gd name="T70" fmla="*/ 42 w 504"/>
                <a:gd name="T71" fmla="*/ 10 h 468"/>
                <a:gd name="T72" fmla="*/ 41 w 504"/>
                <a:gd name="T73" fmla="*/ 14 h 468"/>
                <a:gd name="T74" fmla="*/ 42 w 504"/>
                <a:gd name="T75" fmla="*/ 15 h 468"/>
                <a:gd name="T76" fmla="*/ 44 w 504"/>
                <a:gd name="T77" fmla="*/ 18 h 468"/>
                <a:gd name="T78" fmla="*/ 43 w 504"/>
                <a:gd name="T79" fmla="*/ 19 h 468"/>
                <a:gd name="T80" fmla="*/ 42 w 504"/>
                <a:gd name="T81" fmla="*/ 21 h 468"/>
                <a:gd name="T82" fmla="*/ 42 w 504"/>
                <a:gd name="T83" fmla="*/ 23 h 468"/>
                <a:gd name="T84" fmla="*/ 39 w 504"/>
                <a:gd name="T85" fmla="*/ 27 h 468"/>
                <a:gd name="T86" fmla="*/ 38 w 504"/>
                <a:gd name="T87" fmla="*/ 29 h 468"/>
                <a:gd name="T88" fmla="*/ 38 w 504"/>
                <a:gd name="T89" fmla="*/ 31 h 468"/>
                <a:gd name="T90" fmla="*/ 36 w 504"/>
                <a:gd name="T91" fmla="*/ 32 h 468"/>
                <a:gd name="T92" fmla="*/ 35 w 504"/>
                <a:gd name="T93" fmla="*/ 34 h 468"/>
                <a:gd name="T94" fmla="*/ 34 w 504"/>
                <a:gd name="T95" fmla="*/ 38 h 46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04"/>
                <a:gd name="T145" fmla="*/ 0 h 468"/>
                <a:gd name="T146" fmla="*/ 504 w 504"/>
                <a:gd name="T147" fmla="*/ 468 h 46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04" h="468">
                  <a:moveTo>
                    <a:pt x="390" y="456"/>
                  </a:moveTo>
                  <a:lnTo>
                    <a:pt x="384" y="468"/>
                  </a:lnTo>
                  <a:lnTo>
                    <a:pt x="378" y="468"/>
                  </a:lnTo>
                  <a:lnTo>
                    <a:pt x="354" y="468"/>
                  </a:lnTo>
                  <a:lnTo>
                    <a:pt x="348" y="462"/>
                  </a:lnTo>
                  <a:lnTo>
                    <a:pt x="300" y="456"/>
                  </a:lnTo>
                  <a:lnTo>
                    <a:pt x="270" y="444"/>
                  </a:lnTo>
                  <a:lnTo>
                    <a:pt x="252" y="438"/>
                  </a:lnTo>
                  <a:lnTo>
                    <a:pt x="240" y="438"/>
                  </a:lnTo>
                  <a:lnTo>
                    <a:pt x="234" y="438"/>
                  </a:lnTo>
                  <a:lnTo>
                    <a:pt x="228" y="444"/>
                  </a:lnTo>
                  <a:lnTo>
                    <a:pt x="210" y="444"/>
                  </a:lnTo>
                  <a:lnTo>
                    <a:pt x="198" y="444"/>
                  </a:lnTo>
                  <a:lnTo>
                    <a:pt x="198" y="450"/>
                  </a:lnTo>
                  <a:lnTo>
                    <a:pt x="168" y="456"/>
                  </a:lnTo>
                  <a:lnTo>
                    <a:pt x="150" y="450"/>
                  </a:lnTo>
                  <a:lnTo>
                    <a:pt x="144" y="444"/>
                  </a:lnTo>
                  <a:lnTo>
                    <a:pt x="132" y="438"/>
                  </a:lnTo>
                  <a:lnTo>
                    <a:pt x="138" y="432"/>
                  </a:lnTo>
                  <a:lnTo>
                    <a:pt x="114" y="432"/>
                  </a:lnTo>
                  <a:lnTo>
                    <a:pt x="102" y="426"/>
                  </a:lnTo>
                  <a:lnTo>
                    <a:pt x="90" y="414"/>
                  </a:lnTo>
                  <a:lnTo>
                    <a:pt x="72" y="402"/>
                  </a:lnTo>
                  <a:lnTo>
                    <a:pt x="78" y="366"/>
                  </a:lnTo>
                  <a:lnTo>
                    <a:pt x="78" y="330"/>
                  </a:lnTo>
                  <a:lnTo>
                    <a:pt x="66" y="318"/>
                  </a:lnTo>
                  <a:lnTo>
                    <a:pt x="66" y="300"/>
                  </a:lnTo>
                  <a:lnTo>
                    <a:pt x="66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30" y="282"/>
                  </a:lnTo>
                  <a:lnTo>
                    <a:pt x="24" y="282"/>
                  </a:lnTo>
                  <a:lnTo>
                    <a:pt x="12" y="276"/>
                  </a:lnTo>
                  <a:lnTo>
                    <a:pt x="0" y="282"/>
                  </a:lnTo>
                  <a:lnTo>
                    <a:pt x="12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2" y="198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6" y="180"/>
                  </a:lnTo>
                  <a:lnTo>
                    <a:pt x="12" y="186"/>
                  </a:lnTo>
                  <a:lnTo>
                    <a:pt x="18" y="138"/>
                  </a:lnTo>
                  <a:lnTo>
                    <a:pt x="24" y="126"/>
                  </a:lnTo>
                  <a:lnTo>
                    <a:pt x="30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20" y="102"/>
                  </a:lnTo>
                  <a:lnTo>
                    <a:pt x="126" y="108"/>
                  </a:lnTo>
                  <a:lnTo>
                    <a:pt x="126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0"/>
                  </a:lnTo>
                  <a:lnTo>
                    <a:pt x="156" y="96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16" y="42"/>
                  </a:lnTo>
                  <a:lnTo>
                    <a:pt x="222" y="36"/>
                  </a:lnTo>
                  <a:lnTo>
                    <a:pt x="228" y="36"/>
                  </a:lnTo>
                  <a:lnTo>
                    <a:pt x="228" y="30"/>
                  </a:lnTo>
                  <a:lnTo>
                    <a:pt x="228" y="24"/>
                  </a:lnTo>
                  <a:lnTo>
                    <a:pt x="246" y="18"/>
                  </a:lnTo>
                  <a:lnTo>
                    <a:pt x="252" y="18"/>
                  </a:lnTo>
                  <a:lnTo>
                    <a:pt x="258" y="12"/>
                  </a:lnTo>
                  <a:lnTo>
                    <a:pt x="270" y="6"/>
                  </a:lnTo>
                  <a:lnTo>
                    <a:pt x="288" y="6"/>
                  </a:lnTo>
                  <a:lnTo>
                    <a:pt x="312" y="12"/>
                  </a:lnTo>
                  <a:lnTo>
                    <a:pt x="324" y="12"/>
                  </a:lnTo>
                  <a:lnTo>
                    <a:pt x="336" y="18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14" y="12"/>
                  </a:lnTo>
                  <a:lnTo>
                    <a:pt x="426" y="12"/>
                  </a:lnTo>
                  <a:lnTo>
                    <a:pt x="444" y="18"/>
                  </a:lnTo>
                  <a:lnTo>
                    <a:pt x="462" y="18"/>
                  </a:lnTo>
                  <a:lnTo>
                    <a:pt x="474" y="18"/>
                  </a:lnTo>
                  <a:lnTo>
                    <a:pt x="480" y="18"/>
                  </a:lnTo>
                  <a:lnTo>
                    <a:pt x="486" y="36"/>
                  </a:lnTo>
                  <a:lnTo>
                    <a:pt x="480" y="42"/>
                  </a:lnTo>
                  <a:lnTo>
                    <a:pt x="480" y="54"/>
                  </a:lnTo>
                  <a:lnTo>
                    <a:pt x="486" y="78"/>
                  </a:lnTo>
                  <a:lnTo>
                    <a:pt x="486" y="114"/>
                  </a:lnTo>
                  <a:lnTo>
                    <a:pt x="486" y="150"/>
                  </a:lnTo>
                  <a:lnTo>
                    <a:pt x="468" y="150"/>
                  </a:lnTo>
                  <a:lnTo>
                    <a:pt x="474" y="162"/>
                  </a:lnTo>
                  <a:lnTo>
                    <a:pt x="480" y="162"/>
                  </a:lnTo>
                  <a:lnTo>
                    <a:pt x="486" y="174"/>
                  </a:lnTo>
                  <a:lnTo>
                    <a:pt x="492" y="174"/>
                  </a:lnTo>
                  <a:lnTo>
                    <a:pt x="492" y="192"/>
                  </a:lnTo>
                  <a:lnTo>
                    <a:pt x="498" y="198"/>
                  </a:lnTo>
                  <a:lnTo>
                    <a:pt x="504" y="204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8" y="222"/>
                  </a:lnTo>
                  <a:lnTo>
                    <a:pt x="492" y="228"/>
                  </a:lnTo>
                  <a:lnTo>
                    <a:pt x="492" y="234"/>
                  </a:lnTo>
                  <a:lnTo>
                    <a:pt x="492" y="240"/>
                  </a:lnTo>
                  <a:lnTo>
                    <a:pt x="486" y="246"/>
                  </a:lnTo>
                  <a:lnTo>
                    <a:pt x="486" y="258"/>
                  </a:lnTo>
                  <a:lnTo>
                    <a:pt x="480" y="264"/>
                  </a:lnTo>
                  <a:lnTo>
                    <a:pt x="474" y="276"/>
                  </a:lnTo>
                  <a:lnTo>
                    <a:pt x="468" y="288"/>
                  </a:lnTo>
                  <a:lnTo>
                    <a:pt x="456" y="306"/>
                  </a:lnTo>
                  <a:lnTo>
                    <a:pt x="456" y="312"/>
                  </a:lnTo>
                  <a:lnTo>
                    <a:pt x="444" y="318"/>
                  </a:lnTo>
                  <a:lnTo>
                    <a:pt x="432" y="336"/>
                  </a:lnTo>
                  <a:lnTo>
                    <a:pt x="432" y="342"/>
                  </a:lnTo>
                  <a:lnTo>
                    <a:pt x="432" y="348"/>
                  </a:lnTo>
                  <a:lnTo>
                    <a:pt x="432" y="354"/>
                  </a:lnTo>
                  <a:lnTo>
                    <a:pt x="426" y="366"/>
                  </a:lnTo>
                  <a:lnTo>
                    <a:pt x="420" y="366"/>
                  </a:lnTo>
                  <a:lnTo>
                    <a:pt x="420" y="372"/>
                  </a:lnTo>
                  <a:lnTo>
                    <a:pt x="414" y="378"/>
                  </a:lnTo>
                  <a:lnTo>
                    <a:pt x="414" y="390"/>
                  </a:lnTo>
                  <a:lnTo>
                    <a:pt x="408" y="390"/>
                  </a:lnTo>
                  <a:lnTo>
                    <a:pt x="408" y="402"/>
                  </a:lnTo>
                  <a:lnTo>
                    <a:pt x="402" y="414"/>
                  </a:lnTo>
                  <a:lnTo>
                    <a:pt x="396" y="438"/>
                  </a:lnTo>
                  <a:lnTo>
                    <a:pt x="396" y="444"/>
                  </a:lnTo>
                  <a:lnTo>
                    <a:pt x="390" y="45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11" name="Freeform 7">
              <a:extLst>
                <a:ext uri="{FF2B5EF4-FFF2-40B4-BE49-F238E27FC236}">
                  <a16:creationId xmlns:a16="http://schemas.microsoft.com/office/drawing/2014/main" id="{0D8DE62D-4554-4314-9F3A-7208D89B4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90838" y="4128134"/>
              <a:ext cx="283995" cy="411516"/>
            </a:xfrm>
            <a:custGeom>
              <a:avLst/>
              <a:gdLst>
                <a:gd name="T0" fmla="*/ 39 w 534"/>
                <a:gd name="T1" fmla="*/ 35 h 774"/>
                <a:gd name="T2" fmla="*/ 35 w 534"/>
                <a:gd name="T3" fmla="*/ 31 h 774"/>
                <a:gd name="T4" fmla="*/ 32 w 534"/>
                <a:gd name="T5" fmla="*/ 29 h 774"/>
                <a:gd name="T6" fmla="*/ 32 w 534"/>
                <a:gd name="T7" fmla="*/ 31 h 774"/>
                <a:gd name="T8" fmla="*/ 29 w 534"/>
                <a:gd name="T9" fmla="*/ 33 h 774"/>
                <a:gd name="T10" fmla="*/ 27 w 534"/>
                <a:gd name="T11" fmla="*/ 36 h 774"/>
                <a:gd name="T12" fmla="*/ 30 w 534"/>
                <a:gd name="T13" fmla="*/ 38 h 774"/>
                <a:gd name="T14" fmla="*/ 29 w 534"/>
                <a:gd name="T15" fmla="*/ 40 h 774"/>
                <a:gd name="T16" fmla="*/ 25 w 534"/>
                <a:gd name="T17" fmla="*/ 40 h 774"/>
                <a:gd name="T18" fmla="*/ 23 w 534"/>
                <a:gd name="T19" fmla="*/ 42 h 774"/>
                <a:gd name="T20" fmla="*/ 22 w 534"/>
                <a:gd name="T21" fmla="*/ 47 h 774"/>
                <a:gd name="T22" fmla="*/ 22 w 534"/>
                <a:gd name="T23" fmla="*/ 51 h 774"/>
                <a:gd name="T24" fmla="*/ 22 w 534"/>
                <a:gd name="T25" fmla="*/ 54 h 774"/>
                <a:gd name="T26" fmla="*/ 21 w 534"/>
                <a:gd name="T27" fmla="*/ 56 h 774"/>
                <a:gd name="T28" fmla="*/ 19 w 534"/>
                <a:gd name="T29" fmla="*/ 58 h 774"/>
                <a:gd name="T30" fmla="*/ 20 w 534"/>
                <a:gd name="T31" fmla="*/ 59 h 774"/>
                <a:gd name="T32" fmla="*/ 19 w 534"/>
                <a:gd name="T33" fmla="*/ 62 h 774"/>
                <a:gd name="T34" fmla="*/ 19 w 534"/>
                <a:gd name="T35" fmla="*/ 64 h 774"/>
                <a:gd name="T36" fmla="*/ 20 w 534"/>
                <a:gd name="T37" fmla="*/ 66 h 774"/>
                <a:gd name="T38" fmla="*/ 17 w 534"/>
                <a:gd name="T39" fmla="*/ 66 h 774"/>
                <a:gd name="T40" fmla="*/ 16 w 534"/>
                <a:gd name="T41" fmla="*/ 65 h 774"/>
                <a:gd name="T42" fmla="*/ 13 w 534"/>
                <a:gd name="T43" fmla="*/ 65 h 774"/>
                <a:gd name="T44" fmla="*/ 11 w 534"/>
                <a:gd name="T45" fmla="*/ 65 h 774"/>
                <a:gd name="T46" fmla="*/ 8 w 534"/>
                <a:gd name="T47" fmla="*/ 65 h 774"/>
                <a:gd name="T48" fmla="*/ 8 w 534"/>
                <a:gd name="T49" fmla="*/ 64 h 774"/>
                <a:gd name="T50" fmla="*/ 5 w 534"/>
                <a:gd name="T51" fmla="*/ 65 h 774"/>
                <a:gd name="T52" fmla="*/ 3 w 534"/>
                <a:gd name="T53" fmla="*/ 65 h 774"/>
                <a:gd name="T54" fmla="*/ 0 w 534"/>
                <a:gd name="T55" fmla="*/ 64 h 774"/>
                <a:gd name="T56" fmla="*/ 0 w 534"/>
                <a:gd name="T57" fmla="*/ 62 h 774"/>
                <a:gd name="T58" fmla="*/ 3 w 534"/>
                <a:gd name="T59" fmla="*/ 60 h 774"/>
                <a:gd name="T60" fmla="*/ 6 w 534"/>
                <a:gd name="T61" fmla="*/ 57 h 774"/>
                <a:gd name="T62" fmla="*/ 8 w 534"/>
                <a:gd name="T63" fmla="*/ 50 h 774"/>
                <a:gd name="T64" fmla="*/ 6 w 534"/>
                <a:gd name="T65" fmla="*/ 45 h 774"/>
                <a:gd name="T66" fmla="*/ 8 w 534"/>
                <a:gd name="T67" fmla="*/ 41 h 774"/>
                <a:gd name="T68" fmla="*/ 9 w 534"/>
                <a:gd name="T69" fmla="*/ 38 h 774"/>
                <a:gd name="T70" fmla="*/ 10 w 534"/>
                <a:gd name="T71" fmla="*/ 36 h 774"/>
                <a:gd name="T72" fmla="*/ 12 w 534"/>
                <a:gd name="T73" fmla="*/ 33 h 774"/>
                <a:gd name="T74" fmla="*/ 14 w 534"/>
                <a:gd name="T75" fmla="*/ 29 h 774"/>
                <a:gd name="T76" fmla="*/ 16 w 534"/>
                <a:gd name="T77" fmla="*/ 26 h 774"/>
                <a:gd name="T78" fmla="*/ 16 w 534"/>
                <a:gd name="T79" fmla="*/ 24 h 774"/>
                <a:gd name="T80" fmla="*/ 16 w 534"/>
                <a:gd name="T81" fmla="*/ 21 h 774"/>
                <a:gd name="T82" fmla="*/ 13 w 534"/>
                <a:gd name="T83" fmla="*/ 19 h 774"/>
                <a:gd name="T84" fmla="*/ 14 w 534"/>
                <a:gd name="T85" fmla="*/ 10 h 774"/>
                <a:gd name="T86" fmla="*/ 14 w 534"/>
                <a:gd name="T87" fmla="*/ 7 h 774"/>
                <a:gd name="T88" fmla="*/ 8 w 534"/>
                <a:gd name="T89" fmla="*/ 7 h 774"/>
                <a:gd name="T90" fmla="*/ 7 w 534"/>
                <a:gd name="T91" fmla="*/ 3 h 774"/>
                <a:gd name="T92" fmla="*/ 11 w 534"/>
                <a:gd name="T93" fmla="*/ 1 h 774"/>
                <a:gd name="T94" fmla="*/ 12 w 534"/>
                <a:gd name="T95" fmla="*/ 0 h 774"/>
                <a:gd name="T96" fmla="*/ 16 w 534"/>
                <a:gd name="T97" fmla="*/ 2 h 774"/>
                <a:gd name="T98" fmla="*/ 20 w 534"/>
                <a:gd name="T99" fmla="*/ 2 h 774"/>
                <a:gd name="T100" fmla="*/ 23 w 534"/>
                <a:gd name="T101" fmla="*/ 3 h 774"/>
                <a:gd name="T102" fmla="*/ 23 w 534"/>
                <a:gd name="T103" fmla="*/ 10 h 774"/>
                <a:gd name="T104" fmla="*/ 29 w 534"/>
                <a:gd name="T105" fmla="*/ 12 h 774"/>
                <a:gd name="T106" fmla="*/ 35 w 534"/>
                <a:gd name="T107" fmla="*/ 12 h 774"/>
                <a:gd name="T108" fmla="*/ 38 w 534"/>
                <a:gd name="T109" fmla="*/ 17 h 774"/>
                <a:gd name="T110" fmla="*/ 40 w 534"/>
                <a:gd name="T111" fmla="*/ 19 h 774"/>
                <a:gd name="T112" fmla="*/ 44 w 534"/>
                <a:gd name="T113" fmla="*/ 23 h 774"/>
                <a:gd name="T114" fmla="*/ 44 w 534"/>
                <a:gd name="T115" fmla="*/ 30 h 774"/>
                <a:gd name="T116" fmla="*/ 46 w 534"/>
                <a:gd name="T117" fmla="*/ 36 h 774"/>
                <a:gd name="T118" fmla="*/ 41 w 534"/>
                <a:gd name="T119" fmla="*/ 37 h 77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34"/>
                <a:gd name="T181" fmla="*/ 0 h 774"/>
                <a:gd name="T182" fmla="*/ 534 w 534"/>
                <a:gd name="T183" fmla="*/ 774 h 77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34" h="774">
                  <a:moveTo>
                    <a:pt x="462" y="426"/>
                  </a:moveTo>
                  <a:lnTo>
                    <a:pt x="462" y="414"/>
                  </a:lnTo>
                  <a:lnTo>
                    <a:pt x="450" y="402"/>
                  </a:lnTo>
                  <a:lnTo>
                    <a:pt x="444" y="396"/>
                  </a:lnTo>
                  <a:lnTo>
                    <a:pt x="420" y="396"/>
                  </a:lnTo>
                  <a:lnTo>
                    <a:pt x="408" y="390"/>
                  </a:lnTo>
                  <a:lnTo>
                    <a:pt x="402" y="366"/>
                  </a:lnTo>
                  <a:lnTo>
                    <a:pt x="390" y="354"/>
                  </a:lnTo>
                  <a:lnTo>
                    <a:pt x="384" y="336"/>
                  </a:lnTo>
                  <a:lnTo>
                    <a:pt x="378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8" y="348"/>
                  </a:lnTo>
                  <a:lnTo>
                    <a:pt x="360" y="354"/>
                  </a:lnTo>
                  <a:lnTo>
                    <a:pt x="360" y="390"/>
                  </a:lnTo>
                  <a:lnTo>
                    <a:pt x="348" y="390"/>
                  </a:lnTo>
                  <a:lnTo>
                    <a:pt x="342" y="384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90"/>
                  </a:lnTo>
                  <a:lnTo>
                    <a:pt x="312" y="402"/>
                  </a:lnTo>
                  <a:lnTo>
                    <a:pt x="306" y="420"/>
                  </a:lnTo>
                  <a:lnTo>
                    <a:pt x="324" y="414"/>
                  </a:lnTo>
                  <a:lnTo>
                    <a:pt x="330" y="414"/>
                  </a:lnTo>
                  <a:lnTo>
                    <a:pt x="336" y="420"/>
                  </a:lnTo>
                  <a:lnTo>
                    <a:pt x="336" y="432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6"/>
                  </a:lnTo>
                  <a:lnTo>
                    <a:pt x="318" y="456"/>
                  </a:lnTo>
                  <a:lnTo>
                    <a:pt x="300" y="456"/>
                  </a:lnTo>
                  <a:lnTo>
                    <a:pt x="288" y="462"/>
                  </a:lnTo>
                  <a:lnTo>
                    <a:pt x="276" y="462"/>
                  </a:lnTo>
                  <a:lnTo>
                    <a:pt x="270" y="462"/>
                  </a:lnTo>
                  <a:lnTo>
                    <a:pt x="270" y="468"/>
                  </a:lnTo>
                  <a:lnTo>
                    <a:pt x="252" y="468"/>
                  </a:lnTo>
                  <a:lnTo>
                    <a:pt x="258" y="480"/>
                  </a:lnTo>
                  <a:lnTo>
                    <a:pt x="258" y="492"/>
                  </a:lnTo>
                  <a:lnTo>
                    <a:pt x="258" y="498"/>
                  </a:lnTo>
                  <a:lnTo>
                    <a:pt x="258" y="510"/>
                  </a:lnTo>
                  <a:lnTo>
                    <a:pt x="252" y="540"/>
                  </a:lnTo>
                  <a:lnTo>
                    <a:pt x="246" y="564"/>
                  </a:lnTo>
                  <a:lnTo>
                    <a:pt x="246" y="570"/>
                  </a:lnTo>
                  <a:lnTo>
                    <a:pt x="252" y="576"/>
                  </a:lnTo>
                  <a:lnTo>
                    <a:pt x="246" y="582"/>
                  </a:lnTo>
                  <a:lnTo>
                    <a:pt x="252" y="600"/>
                  </a:lnTo>
                  <a:lnTo>
                    <a:pt x="258" y="606"/>
                  </a:lnTo>
                  <a:lnTo>
                    <a:pt x="258" y="612"/>
                  </a:lnTo>
                  <a:lnTo>
                    <a:pt x="252" y="618"/>
                  </a:lnTo>
                  <a:lnTo>
                    <a:pt x="246" y="624"/>
                  </a:lnTo>
                  <a:lnTo>
                    <a:pt x="246" y="630"/>
                  </a:lnTo>
                  <a:lnTo>
                    <a:pt x="246" y="636"/>
                  </a:lnTo>
                  <a:lnTo>
                    <a:pt x="240" y="642"/>
                  </a:lnTo>
                  <a:lnTo>
                    <a:pt x="234" y="654"/>
                  </a:lnTo>
                  <a:lnTo>
                    <a:pt x="228" y="654"/>
                  </a:lnTo>
                  <a:lnTo>
                    <a:pt x="222" y="660"/>
                  </a:lnTo>
                  <a:lnTo>
                    <a:pt x="216" y="666"/>
                  </a:lnTo>
                  <a:lnTo>
                    <a:pt x="210" y="666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22" y="684"/>
                  </a:lnTo>
                  <a:lnTo>
                    <a:pt x="222" y="690"/>
                  </a:lnTo>
                  <a:lnTo>
                    <a:pt x="222" y="696"/>
                  </a:lnTo>
                  <a:lnTo>
                    <a:pt x="222" y="702"/>
                  </a:lnTo>
                  <a:lnTo>
                    <a:pt x="216" y="708"/>
                  </a:lnTo>
                  <a:lnTo>
                    <a:pt x="210" y="720"/>
                  </a:lnTo>
                  <a:lnTo>
                    <a:pt x="216" y="732"/>
                  </a:lnTo>
                  <a:lnTo>
                    <a:pt x="210" y="732"/>
                  </a:lnTo>
                  <a:lnTo>
                    <a:pt x="216" y="738"/>
                  </a:lnTo>
                  <a:lnTo>
                    <a:pt x="216" y="744"/>
                  </a:lnTo>
                  <a:lnTo>
                    <a:pt x="222" y="750"/>
                  </a:lnTo>
                  <a:lnTo>
                    <a:pt x="228" y="756"/>
                  </a:lnTo>
                  <a:lnTo>
                    <a:pt x="222" y="762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04" y="762"/>
                  </a:lnTo>
                  <a:lnTo>
                    <a:pt x="198" y="762"/>
                  </a:lnTo>
                  <a:lnTo>
                    <a:pt x="192" y="762"/>
                  </a:lnTo>
                  <a:lnTo>
                    <a:pt x="186" y="756"/>
                  </a:lnTo>
                  <a:lnTo>
                    <a:pt x="180" y="750"/>
                  </a:lnTo>
                  <a:lnTo>
                    <a:pt x="180" y="744"/>
                  </a:lnTo>
                  <a:lnTo>
                    <a:pt x="174" y="744"/>
                  </a:lnTo>
                  <a:lnTo>
                    <a:pt x="156" y="750"/>
                  </a:lnTo>
                  <a:lnTo>
                    <a:pt x="150" y="750"/>
                  </a:lnTo>
                  <a:lnTo>
                    <a:pt x="144" y="750"/>
                  </a:lnTo>
                  <a:lnTo>
                    <a:pt x="138" y="750"/>
                  </a:lnTo>
                  <a:lnTo>
                    <a:pt x="138" y="744"/>
                  </a:lnTo>
                  <a:lnTo>
                    <a:pt x="132" y="744"/>
                  </a:lnTo>
                  <a:lnTo>
                    <a:pt x="120" y="744"/>
                  </a:lnTo>
                  <a:lnTo>
                    <a:pt x="114" y="738"/>
                  </a:lnTo>
                  <a:lnTo>
                    <a:pt x="108" y="744"/>
                  </a:lnTo>
                  <a:lnTo>
                    <a:pt x="102" y="744"/>
                  </a:lnTo>
                  <a:lnTo>
                    <a:pt x="96" y="744"/>
                  </a:lnTo>
                  <a:lnTo>
                    <a:pt x="96" y="738"/>
                  </a:lnTo>
                  <a:lnTo>
                    <a:pt x="96" y="744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44"/>
                  </a:lnTo>
                  <a:lnTo>
                    <a:pt x="72" y="750"/>
                  </a:lnTo>
                  <a:lnTo>
                    <a:pt x="66" y="750"/>
                  </a:lnTo>
                  <a:lnTo>
                    <a:pt x="60" y="750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0"/>
                  </a:lnTo>
                  <a:lnTo>
                    <a:pt x="30" y="750"/>
                  </a:lnTo>
                  <a:lnTo>
                    <a:pt x="24" y="744"/>
                  </a:lnTo>
                  <a:lnTo>
                    <a:pt x="18" y="738"/>
                  </a:lnTo>
                  <a:lnTo>
                    <a:pt x="6" y="738"/>
                  </a:lnTo>
                  <a:lnTo>
                    <a:pt x="0" y="732"/>
                  </a:lnTo>
                  <a:lnTo>
                    <a:pt x="0" y="726"/>
                  </a:lnTo>
                  <a:lnTo>
                    <a:pt x="0" y="720"/>
                  </a:lnTo>
                  <a:lnTo>
                    <a:pt x="6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8" y="702"/>
                  </a:lnTo>
                  <a:lnTo>
                    <a:pt x="24" y="696"/>
                  </a:lnTo>
                  <a:lnTo>
                    <a:pt x="30" y="696"/>
                  </a:lnTo>
                  <a:lnTo>
                    <a:pt x="48" y="690"/>
                  </a:lnTo>
                  <a:lnTo>
                    <a:pt x="54" y="678"/>
                  </a:lnTo>
                  <a:lnTo>
                    <a:pt x="66" y="672"/>
                  </a:lnTo>
                  <a:lnTo>
                    <a:pt x="66" y="654"/>
                  </a:lnTo>
                  <a:lnTo>
                    <a:pt x="72" y="636"/>
                  </a:lnTo>
                  <a:lnTo>
                    <a:pt x="72" y="612"/>
                  </a:lnTo>
                  <a:lnTo>
                    <a:pt x="84" y="594"/>
                  </a:lnTo>
                  <a:lnTo>
                    <a:pt x="90" y="576"/>
                  </a:lnTo>
                  <a:lnTo>
                    <a:pt x="96" y="552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72" y="522"/>
                  </a:lnTo>
                  <a:lnTo>
                    <a:pt x="78" y="510"/>
                  </a:lnTo>
                  <a:lnTo>
                    <a:pt x="78" y="504"/>
                  </a:lnTo>
                  <a:lnTo>
                    <a:pt x="84" y="480"/>
                  </a:lnTo>
                  <a:lnTo>
                    <a:pt x="90" y="468"/>
                  </a:lnTo>
                  <a:lnTo>
                    <a:pt x="90" y="456"/>
                  </a:lnTo>
                  <a:lnTo>
                    <a:pt x="96" y="456"/>
                  </a:lnTo>
                  <a:lnTo>
                    <a:pt x="96" y="444"/>
                  </a:lnTo>
                  <a:lnTo>
                    <a:pt x="102" y="438"/>
                  </a:lnTo>
                  <a:lnTo>
                    <a:pt x="102" y="432"/>
                  </a:lnTo>
                  <a:lnTo>
                    <a:pt x="108" y="432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14" y="408"/>
                  </a:lnTo>
                  <a:lnTo>
                    <a:pt x="114" y="402"/>
                  </a:lnTo>
                  <a:lnTo>
                    <a:pt x="126" y="384"/>
                  </a:lnTo>
                  <a:lnTo>
                    <a:pt x="138" y="378"/>
                  </a:lnTo>
                  <a:lnTo>
                    <a:pt x="138" y="372"/>
                  </a:lnTo>
                  <a:lnTo>
                    <a:pt x="150" y="354"/>
                  </a:lnTo>
                  <a:lnTo>
                    <a:pt x="156" y="342"/>
                  </a:lnTo>
                  <a:lnTo>
                    <a:pt x="162" y="330"/>
                  </a:lnTo>
                  <a:lnTo>
                    <a:pt x="168" y="324"/>
                  </a:lnTo>
                  <a:lnTo>
                    <a:pt x="168" y="312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74" y="294"/>
                  </a:lnTo>
                  <a:lnTo>
                    <a:pt x="180" y="288"/>
                  </a:lnTo>
                  <a:lnTo>
                    <a:pt x="180" y="276"/>
                  </a:lnTo>
                  <a:lnTo>
                    <a:pt x="186" y="276"/>
                  </a:lnTo>
                  <a:lnTo>
                    <a:pt x="186" y="270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40"/>
                  </a:lnTo>
                  <a:lnTo>
                    <a:pt x="168" y="240"/>
                  </a:lnTo>
                  <a:lnTo>
                    <a:pt x="162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68" y="216"/>
                  </a:lnTo>
                  <a:lnTo>
                    <a:pt x="168" y="180"/>
                  </a:lnTo>
                  <a:lnTo>
                    <a:pt x="168" y="144"/>
                  </a:lnTo>
                  <a:lnTo>
                    <a:pt x="162" y="120"/>
                  </a:lnTo>
                  <a:lnTo>
                    <a:pt x="162" y="108"/>
                  </a:lnTo>
                  <a:lnTo>
                    <a:pt x="168" y="102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44" y="84"/>
                  </a:lnTo>
                  <a:lnTo>
                    <a:pt x="126" y="84"/>
                  </a:lnTo>
                  <a:lnTo>
                    <a:pt x="108" y="78"/>
                  </a:lnTo>
                  <a:lnTo>
                    <a:pt x="96" y="78"/>
                  </a:lnTo>
                  <a:lnTo>
                    <a:pt x="78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8" y="36"/>
                  </a:lnTo>
                  <a:lnTo>
                    <a:pt x="96" y="24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56" y="0"/>
                  </a:lnTo>
                  <a:lnTo>
                    <a:pt x="156" y="6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18"/>
                  </a:lnTo>
                  <a:lnTo>
                    <a:pt x="198" y="18"/>
                  </a:lnTo>
                  <a:lnTo>
                    <a:pt x="210" y="18"/>
                  </a:lnTo>
                  <a:lnTo>
                    <a:pt x="222" y="18"/>
                  </a:lnTo>
                  <a:lnTo>
                    <a:pt x="234" y="12"/>
                  </a:lnTo>
                  <a:lnTo>
                    <a:pt x="252" y="18"/>
                  </a:lnTo>
                  <a:lnTo>
                    <a:pt x="252" y="24"/>
                  </a:lnTo>
                  <a:lnTo>
                    <a:pt x="258" y="36"/>
                  </a:lnTo>
                  <a:lnTo>
                    <a:pt x="258" y="66"/>
                  </a:lnTo>
                  <a:lnTo>
                    <a:pt x="252" y="84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82" y="126"/>
                  </a:lnTo>
                  <a:lnTo>
                    <a:pt x="294" y="132"/>
                  </a:lnTo>
                  <a:lnTo>
                    <a:pt x="306" y="138"/>
                  </a:lnTo>
                  <a:lnTo>
                    <a:pt x="324" y="138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60" y="144"/>
                  </a:lnTo>
                  <a:lnTo>
                    <a:pt x="396" y="144"/>
                  </a:lnTo>
                  <a:lnTo>
                    <a:pt x="408" y="150"/>
                  </a:lnTo>
                  <a:lnTo>
                    <a:pt x="414" y="180"/>
                  </a:lnTo>
                  <a:lnTo>
                    <a:pt x="420" y="186"/>
                  </a:lnTo>
                  <a:lnTo>
                    <a:pt x="426" y="192"/>
                  </a:lnTo>
                  <a:lnTo>
                    <a:pt x="426" y="198"/>
                  </a:lnTo>
                  <a:lnTo>
                    <a:pt x="432" y="198"/>
                  </a:lnTo>
                  <a:lnTo>
                    <a:pt x="438" y="210"/>
                  </a:lnTo>
                  <a:lnTo>
                    <a:pt x="450" y="216"/>
                  </a:lnTo>
                  <a:lnTo>
                    <a:pt x="468" y="228"/>
                  </a:lnTo>
                  <a:lnTo>
                    <a:pt x="492" y="234"/>
                  </a:lnTo>
                  <a:lnTo>
                    <a:pt x="492" y="246"/>
                  </a:lnTo>
                  <a:lnTo>
                    <a:pt x="492" y="270"/>
                  </a:lnTo>
                  <a:lnTo>
                    <a:pt x="486" y="294"/>
                  </a:lnTo>
                  <a:lnTo>
                    <a:pt x="486" y="312"/>
                  </a:lnTo>
                  <a:lnTo>
                    <a:pt x="486" y="330"/>
                  </a:lnTo>
                  <a:lnTo>
                    <a:pt x="492" y="348"/>
                  </a:lnTo>
                  <a:lnTo>
                    <a:pt x="498" y="360"/>
                  </a:lnTo>
                  <a:lnTo>
                    <a:pt x="510" y="366"/>
                  </a:lnTo>
                  <a:lnTo>
                    <a:pt x="516" y="384"/>
                  </a:lnTo>
                  <a:lnTo>
                    <a:pt x="522" y="414"/>
                  </a:lnTo>
                  <a:lnTo>
                    <a:pt x="528" y="414"/>
                  </a:lnTo>
                  <a:lnTo>
                    <a:pt x="534" y="426"/>
                  </a:lnTo>
                  <a:lnTo>
                    <a:pt x="528" y="432"/>
                  </a:lnTo>
                  <a:lnTo>
                    <a:pt x="468" y="426"/>
                  </a:lnTo>
                  <a:lnTo>
                    <a:pt x="462" y="4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3" name="Freeform 8">
              <a:extLst>
                <a:ext uri="{FF2B5EF4-FFF2-40B4-BE49-F238E27FC236}">
                  <a16:creationId xmlns:a16="http://schemas.microsoft.com/office/drawing/2014/main" id="{D473457C-872E-4E31-888A-D60FD52063A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98175" y="4307054"/>
              <a:ext cx="295177" cy="348894"/>
            </a:xfrm>
            <a:custGeom>
              <a:avLst/>
              <a:gdLst>
                <a:gd name="T0" fmla="*/ 3 w 552"/>
                <a:gd name="T1" fmla="*/ 46 h 660"/>
                <a:gd name="T2" fmla="*/ 4 w 552"/>
                <a:gd name="T3" fmla="*/ 42 h 660"/>
                <a:gd name="T4" fmla="*/ 2 w 552"/>
                <a:gd name="T5" fmla="*/ 38 h 660"/>
                <a:gd name="T6" fmla="*/ 0 w 552"/>
                <a:gd name="T7" fmla="*/ 34 h 660"/>
                <a:gd name="T8" fmla="*/ 2 w 552"/>
                <a:gd name="T9" fmla="*/ 30 h 660"/>
                <a:gd name="T10" fmla="*/ 3 w 552"/>
                <a:gd name="T11" fmla="*/ 27 h 660"/>
                <a:gd name="T12" fmla="*/ 5 w 552"/>
                <a:gd name="T13" fmla="*/ 23 h 660"/>
                <a:gd name="T14" fmla="*/ 5 w 552"/>
                <a:gd name="T15" fmla="*/ 15 h 660"/>
                <a:gd name="T16" fmla="*/ 6 w 552"/>
                <a:gd name="T17" fmla="*/ 11 h 660"/>
                <a:gd name="T18" fmla="*/ 11 w 552"/>
                <a:gd name="T19" fmla="*/ 9 h 660"/>
                <a:gd name="T20" fmla="*/ 10 w 552"/>
                <a:gd name="T21" fmla="*/ 5 h 660"/>
                <a:gd name="T22" fmla="*/ 12 w 552"/>
                <a:gd name="T23" fmla="*/ 1 h 660"/>
                <a:gd name="T24" fmla="*/ 16 w 552"/>
                <a:gd name="T25" fmla="*/ 2 h 660"/>
                <a:gd name="T26" fmla="*/ 23 w 552"/>
                <a:gd name="T27" fmla="*/ 8 h 660"/>
                <a:gd name="T28" fmla="*/ 23 w 552"/>
                <a:gd name="T29" fmla="*/ 11 h 660"/>
                <a:gd name="T30" fmla="*/ 27 w 552"/>
                <a:gd name="T31" fmla="*/ 12 h 660"/>
                <a:gd name="T32" fmla="*/ 29 w 552"/>
                <a:gd name="T33" fmla="*/ 17 h 660"/>
                <a:gd name="T34" fmla="*/ 31 w 552"/>
                <a:gd name="T35" fmla="*/ 15 h 660"/>
                <a:gd name="T36" fmla="*/ 33 w 552"/>
                <a:gd name="T37" fmla="*/ 17 h 660"/>
                <a:gd name="T38" fmla="*/ 36 w 552"/>
                <a:gd name="T39" fmla="*/ 23 h 660"/>
                <a:gd name="T40" fmla="*/ 41 w 552"/>
                <a:gd name="T41" fmla="*/ 33 h 660"/>
                <a:gd name="T42" fmla="*/ 43 w 552"/>
                <a:gd name="T43" fmla="*/ 36 h 660"/>
                <a:gd name="T44" fmla="*/ 43 w 552"/>
                <a:gd name="T45" fmla="*/ 37 h 660"/>
                <a:gd name="T46" fmla="*/ 41 w 552"/>
                <a:gd name="T47" fmla="*/ 35 h 660"/>
                <a:gd name="T48" fmla="*/ 43 w 552"/>
                <a:gd name="T49" fmla="*/ 37 h 660"/>
                <a:gd name="T50" fmla="*/ 44 w 552"/>
                <a:gd name="T51" fmla="*/ 39 h 660"/>
                <a:gd name="T52" fmla="*/ 47 w 552"/>
                <a:gd name="T53" fmla="*/ 41 h 660"/>
                <a:gd name="T54" fmla="*/ 47 w 552"/>
                <a:gd name="T55" fmla="*/ 44 h 660"/>
                <a:gd name="T56" fmla="*/ 48 w 552"/>
                <a:gd name="T57" fmla="*/ 46 h 660"/>
                <a:gd name="T58" fmla="*/ 47 w 552"/>
                <a:gd name="T59" fmla="*/ 46 h 660"/>
                <a:gd name="T60" fmla="*/ 44 w 552"/>
                <a:gd name="T61" fmla="*/ 46 h 660"/>
                <a:gd name="T62" fmla="*/ 47 w 552"/>
                <a:gd name="T63" fmla="*/ 47 h 660"/>
                <a:gd name="T64" fmla="*/ 47 w 552"/>
                <a:gd name="T65" fmla="*/ 49 h 660"/>
                <a:gd name="T66" fmla="*/ 47 w 552"/>
                <a:gd name="T67" fmla="*/ 52 h 660"/>
                <a:gd name="T68" fmla="*/ 46 w 552"/>
                <a:gd name="T69" fmla="*/ 53 h 660"/>
                <a:gd name="T70" fmla="*/ 43 w 552"/>
                <a:gd name="T71" fmla="*/ 54 h 660"/>
                <a:gd name="T72" fmla="*/ 37 w 552"/>
                <a:gd name="T73" fmla="*/ 54 h 660"/>
                <a:gd name="T74" fmla="*/ 30 w 552"/>
                <a:gd name="T75" fmla="*/ 54 h 660"/>
                <a:gd name="T76" fmla="*/ 29 w 552"/>
                <a:gd name="T77" fmla="*/ 53 h 660"/>
                <a:gd name="T78" fmla="*/ 27 w 552"/>
                <a:gd name="T79" fmla="*/ 53 h 660"/>
                <a:gd name="T80" fmla="*/ 29 w 552"/>
                <a:gd name="T81" fmla="*/ 53 h 660"/>
                <a:gd name="T82" fmla="*/ 28 w 552"/>
                <a:gd name="T83" fmla="*/ 54 h 660"/>
                <a:gd name="T84" fmla="*/ 24 w 552"/>
                <a:gd name="T85" fmla="*/ 54 h 660"/>
                <a:gd name="T86" fmla="*/ 20 w 552"/>
                <a:gd name="T87" fmla="*/ 55 h 660"/>
                <a:gd name="T88" fmla="*/ 15 w 552"/>
                <a:gd name="T89" fmla="*/ 56 h 660"/>
                <a:gd name="T90" fmla="*/ 12 w 552"/>
                <a:gd name="T91" fmla="*/ 56 h 660"/>
                <a:gd name="T92" fmla="*/ 11 w 552"/>
                <a:gd name="T93" fmla="*/ 57 h 660"/>
                <a:gd name="T94" fmla="*/ 9 w 552"/>
                <a:gd name="T95" fmla="*/ 57 h 660"/>
                <a:gd name="T96" fmla="*/ 7 w 552"/>
                <a:gd name="T97" fmla="*/ 56 h 660"/>
                <a:gd name="T98" fmla="*/ 5 w 552"/>
                <a:gd name="T99" fmla="*/ 55 h 660"/>
                <a:gd name="T100" fmla="*/ 7 w 552"/>
                <a:gd name="T101" fmla="*/ 54 h 660"/>
                <a:gd name="T102" fmla="*/ 5 w 552"/>
                <a:gd name="T103" fmla="*/ 54 h 660"/>
                <a:gd name="T104" fmla="*/ 5 w 552"/>
                <a:gd name="T105" fmla="*/ 53 h 660"/>
                <a:gd name="T106" fmla="*/ 4 w 552"/>
                <a:gd name="T107" fmla="*/ 49 h 660"/>
                <a:gd name="T108" fmla="*/ 45 w 552"/>
                <a:gd name="T109" fmla="*/ 38 h 66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52"/>
                <a:gd name="T166" fmla="*/ 0 h 660"/>
                <a:gd name="T167" fmla="*/ 552 w 552"/>
                <a:gd name="T168" fmla="*/ 660 h 66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52" h="660">
                  <a:moveTo>
                    <a:pt x="36" y="564"/>
                  </a:moveTo>
                  <a:lnTo>
                    <a:pt x="36" y="558"/>
                  </a:lnTo>
                  <a:lnTo>
                    <a:pt x="36" y="552"/>
                  </a:lnTo>
                  <a:lnTo>
                    <a:pt x="42" y="546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34"/>
                  </a:lnTo>
                  <a:lnTo>
                    <a:pt x="36" y="528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54" y="510"/>
                  </a:lnTo>
                  <a:lnTo>
                    <a:pt x="54" y="504"/>
                  </a:lnTo>
                  <a:lnTo>
                    <a:pt x="54" y="498"/>
                  </a:lnTo>
                  <a:lnTo>
                    <a:pt x="48" y="492"/>
                  </a:lnTo>
                  <a:lnTo>
                    <a:pt x="42" y="486"/>
                  </a:lnTo>
                  <a:lnTo>
                    <a:pt x="42" y="480"/>
                  </a:lnTo>
                  <a:lnTo>
                    <a:pt x="42" y="468"/>
                  </a:lnTo>
                  <a:lnTo>
                    <a:pt x="30" y="456"/>
                  </a:lnTo>
                  <a:lnTo>
                    <a:pt x="30" y="450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2"/>
                  </a:lnTo>
                  <a:lnTo>
                    <a:pt x="18" y="426"/>
                  </a:lnTo>
                  <a:lnTo>
                    <a:pt x="24" y="420"/>
                  </a:lnTo>
                  <a:lnTo>
                    <a:pt x="18" y="414"/>
                  </a:lnTo>
                  <a:lnTo>
                    <a:pt x="12" y="408"/>
                  </a:lnTo>
                  <a:lnTo>
                    <a:pt x="12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6" y="384"/>
                  </a:lnTo>
                  <a:lnTo>
                    <a:pt x="12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8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36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54" y="270"/>
                  </a:lnTo>
                  <a:lnTo>
                    <a:pt x="48" y="264"/>
                  </a:lnTo>
                  <a:lnTo>
                    <a:pt x="42" y="246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8" y="204"/>
                  </a:lnTo>
                  <a:lnTo>
                    <a:pt x="54" y="174"/>
                  </a:lnTo>
                  <a:lnTo>
                    <a:pt x="54" y="162"/>
                  </a:lnTo>
                  <a:lnTo>
                    <a:pt x="54" y="156"/>
                  </a:lnTo>
                  <a:lnTo>
                    <a:pt x="54" y="144"/>
                  </a:lnTo>
                  <a:lnTo>
                    <a:pt x="48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72" y="126"/>
                  </a:lnTo>
                  <a:lnTo>
                    <a:pt x="84" y="126"/>
                  </a:lnTo>
                  <a:lnTo>
                    <a:pt x="96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2" y="84"/>
                  </a:lnTo>
                  <a:lnTo>
                    <a:pt x="126" y="78"/>
                  </a:lnTo>
                  <a:lnTo>
                    <a:pt x="120" y="78"/>
                  </a:lnTo>
                  <a:lnTo>
                    <a:pt x="102" y="84"/>
                  </a:lnTo>
                  <a:lnTo>
                    <a:pt x="108" y="66"/>
                  </a:lnTo>
                  <a:lnTo>
                    <a:pt x="114" y="54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8" y="4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6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74" y="0"/>
                  </a:lnTo>
                  <a:lnTo>
                    <a:pt x="180" y="0"/>
                  </a:lnTo>
                  <a:lnTo>
                    <a:pt x="186" y="18"/>
                  </a:lnTo>
                  <a:lnTo>
                    <a:pt x="198" y="30"/>
                  </a:lnTo>
                  <a:lnTo>
                    <a:pt x="204" y="54"/>
                  </a:lnTo>
                  <a:lnTo>
                    <a:pt x="216" y="60"/>
                  </a:lnTo>
                  <a:lnTo>
                    <a:pt x="240" y="60"/>
                  </a:lnTo>
                  <a:lnTo>
                    <a:pt x="246" y="66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2" y="120"/>
                  </a:lnTo>
                  <a:lnTo>
                    <a:pt x="25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6" y="126"/>
                  </a:lnTo>
                  <a:lnTo>
                    <a:pt x="282" y="120"/>
                  </a:lnTo>
                  <a:lnTo>
                    <a:pt x="282" y="126"/>
                  </a:lnTo>
                  <a:lnTo>
                    <a:pt x="294" y="126"/>
                  </a:lnTo>
                  <a:lnTo>
                    <a:pt x="300" y="132"/>
                  </a:lnTo>
                  <a:lnTo>
                    <a:pt x="306" y="144"/>
                  </a:lnTo>
                  <a:lnTo>
                    <a:pt x="312" y="144"/>
                  </a:lnTo>
                  <a:lnTo>
                    <a:pt x="312" y="150"/>
                  </a:lnTo>
                  <a:lnTo>
                    <a:pt x="312" y="162"/>
                  </a:lnTo>
                  <a:lnTo>
                    <a:pt x="312" y="174"/>
                  </a:lnTo>
                  <a:lnTo>
                    <a:pt x="324" y="180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30" y="192"/>
                  </a:lnTo>
                  <a:lnTo>
                    <a:pt x="336" y="198"/>
                  </a:lnTo>
                  <a:lnTo>
                    <a:pt x="342" y="192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54" y="180"/>
                  </a:lnTo>
                  <a:lnTo>
                    <a:pt x="354" y="174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84" y="192"/>
                  </a:lnTo>
                  <a:lnTo>
                    <a:pt x="390" y="204"/>
                  </a:lnTo>
                  <a:lnTo>
                    <a:pt x="390" y="210"/>
                  </a:lnTo>
                  <a:lnTo>
                    <a:pt x="390" y="216"/>
                  </a:lnTo>
                  <a:lnTo>
                    <a:pt x="384" y="234"/>
                  </a:lnTo>
                  <a:lnTo>
                    <a:pt x="390" y="240"/>
                  </a:lnTo>
                  <a:lnTo>
                    <a:pt x="408" y="252"/>
                  </a:lnTo>
                  <a:lnTo>
                    <a:pt x="414" y="264"/>
                  </a:lnTo>
                  <a:lnTo>
                    <a:pt x="408" y="300"/>
                  </a:lnTo>
                  <a:lnTo>
                    <a:pt x="414" y="312"/>
                  </a:lnTo>
                  <a:lnTo>
                    <a:pt x="426" y="336"/>
                  </a:lnTo>
                  <a:lnTo>
                    <a:pt x="438" y="354"/>
                  </a:lnTo>
                  <a:lnTo>
                    <a:pt x="444" y="366"/>
                  </a:lnTo>
                  <a:lnTo>
                    <a:pt x="456" y="366"/>
                  </a:lnTo>
                  <a:lnTo>
                    <a:pt x="474" y="378"/>
                  </a:lnTo>
                  <a:lnTo>
                    <a:pt x="474" y="384"/>
                  </a:lnTo>
                  <a:lnTo>
                    <a:pt x="480" y="390"/>
                  </a:lnTo>
                  <a:lnTo>
                    <a:pt x="486" y="396"/>
                  </a:lnTo>
                  <a:lnTo>
                    <a:pt x="486" y="402"/>
                  </a:lnTo>
                  <a:lnTo>
                    <a:pt x="480" y="408"/>
                  </a:lnTo>
                  <a:lnTo>
                    <a:pt x="486" y="408"/>
                  </a:lnTo>
                  <a:lnTo>
                    <a:pt x="486" y="414"/>
                  </a:lnTo>
                  <a:lnTo>
                    <a:pt x="492" y="414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32"/>
                  </a:lnTo>
                  <a:lnTo>
                    <a:pt x="498" y="438"/>
                  </a:lnTo>
                  <a:lnTo>
                    <a:pt x="492" y="432"/>
                  </a:lnTo>
                  <a:lnTo>
                    <a:pt x="486" y="426"/>
                  </a:lnTo>
                  <a:lnTo>
                    <a:pt x="486" y="420"/>
                  </a:lnTo>
                  <a:lnTo>
                    <a:pt x="486" y="414"/>
                  </a:lnTo>
                  <a:lnTo>
                    <a:pt x="480" y="414"/>
                  </a:lnTo>
                  <a:lnTo>
                    <a:pt x="480" y="408"/>
                  </a:lnTo>
                  <a:lnTo>
                    <a:pt x="474" y="408"/>
                  </a:lnTo>
                  <a:lnTo>
                    <a:pt x="468" y="408"/>
                  </a:lnTo>
                  <a:lnTo>
                    <a:pt x="468" y="402"/>
                  </a:lnTo>
                  <a:lnTo>
                    <a:pt x="462" y="402"/>
                  </a:lnTo>
                  <a:lnTo>
                    <a:pt x="462" y="408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80" y="426"/>
                  </a:lnTo>
                  <a:lnTo>
                    <a:pt x="486" y="426"/>
                  </a:lnTo>
                  <a:lnTo>
                    <a:pt x="486" y="432"/>
                  </a:lnTo>
                  <a:lnTo>
                    <a:pt x="492" y="438"/>
                  </a:lnTo>
                  <a:lnTo>
                    <a:pt x="498" y="438"/>
                  </a:lnTo>
                  <a:lnTo>
                    <a:pt x="504" y="444"/>
                  </a:lnTo>
                  <a:lnTo>
                    <a:pt x="510" y="444"/>
                  </a:lnTo>
                  <a:lnTo>
                    <a:pt x="510" y="450"/>
                  </a:lnTo>
                  <a:lnTo>
                    <a:pt x="510" y="456"/>
                  </a:lnTo>
                  <a:lnTo>
                    <a:pt x="516" y="456"/>
                  </a:lnTo>
                  <a:lnTo>
                    <a:pt x="516" y="462"/>
                  </a:lnTo>
                  <a:lnTo>
                    <a:pt x="522" y="462"/>
                  </a:lnTo>
                  <a:lnTo>
                    <a:pt x="522" y="468"/>
                  </a:lnTo>
                  <a:lnTo>
                    <a:pt x="528" y="468"/>
                  </a:lnTo>
                  <a:lnTo>
                    <a:pt x="534" y="468"/>
                  </a:lnTo>
                  <a:lnTo>
                    <a:pt x="534" y="474"/>
                  </a:lnTo>
                  <a:lnTo>
                    <a:pt x="540" y="474"/>
                  </a:lnTo>
                  <a:lnTo>
                    <a:pt x="540" y="480"/>
                  </a:lnTo>
                  <a:lnTo>
                    <a:pt x="546" y="486"/>
                  </a:lnTo>
                  <a:lnTo>
                    <a:pt x="546" y="492"/>
                  </a:lnTo>
                  <a:lnTo>
                    <a:pt x="546" y="498"/>
                  </a:lnTo>
                  <a:lnTo>
                    <a:pt x="546" y="504"/>
                  </a:lnTo>
                  <a:lnTo>
                    <a:pt x="540" y="504"/>
                  </a:lnTo>
                  <a:lnTo>
                    <a:pt x="546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10"/>
                  </a:lnTo>
                  <a:lnTo>
                    <a:pt x="552" y="516"/>
                  </a:lnTo>
                  <a:lnTo>
                    <a:pt x="552" y="522"/>
                  </a:lnTo>
                  <a:lnTo>
                    <a:pt x="552" y="528"/>
                  </a:lnTo>
                  <a:lnTo>
                    <a:pt x="552" y="534"/>
                  </a:lnTo>
                  <a:lnTo>
                    <a:pt x="552" y="540"/>
                  </a:lnTo>
                  <a:lnTo>
                    <a:pt x="546" y="540"/>
                  </a:lnTo>
                  <a:lnTo>
                    <a:pt x="546" y="546"/>
                  </a:lnTo>
                  <a:lnTo>
                    <a:pt x="546" y="540"/>
                  </a:lnTo>
                  <a:lnTo>
                    <a:pt x="546" y="534"/>
                  </a:lnTo>
                  <a:lnTo>
                    <a:pt x="540" y="534"/>
                  </a:lnTo>
                  <a:lnTo>
                    <a:pt x="540" y="528"/>
                  </a:lnTo>
                  <a:lnTo>
                    <a:pt x="534" y="528"/>
                  </a:lnTo>
                  <a:lnTo>
                    <a:pt x="528" y="528"/>
                  </a:lnTo>
                  <a:lnTo>
                    <a:pt x="522" y="528"/>
                  </a:lnTo>
                  <a:lnTo>
                    <a:pt x="516" y="528"/>
                  </a:lnTo>
                  <a:lnTo>
                    <a:pt x="510" y="528"/>
                  </a:lnTo>
                  <a:lnTo>
                    <a:pt x="510" y="534"/>
                  </a:lnTo>
                  <a:lnTo>
                    <a:pt x="510" y="528"/>
                  </a:lnTo>
                  <a:lnTo>
                    <a:pt x="516" y="528"/>
                  </a:lnTo>
                  <a:lnTo>
                    <a:pt x="522" y="528"/>
                  </a:lnTo>
                  <a:lnTo>
                    <a:pt x="528" y="528"/>
                  </a:lnTo>
                  <a:lnTo>
                    <a:pt x="534" y="534"/>
                  </a:lnTo>
                  <a:lnTo>
                    <a:pt x="540" y="534"/>
                  </a:lnTo>
                  <a:lnTo>
                    <a:pt x="540" y="540"/>
                  </a:lnTo>
                  <a:lnTo>
                    <a:pt x="540" y="546"/>
                  </a:lnTo>
                  <a:lnTo>
                    <a:pt x="546" y="546"/>
                  </a:lnTo>
                  <a:lnTo>
                    <a:pt x="546" y="552"/>
                  </a:lnTo>
                  <a:lnTo>
                    <a:pt x="552" y="552"/>
                  </a:lnTo>
                  <a:lnTo>
                    <a:pt x="552" y="558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0" y="576"/>
                  </a:lnTo>
                  <a:lnTo>
                    <a:pt x="540" y="582"/>
                  </a:lnTo>
                  <a:lnTo>
                    <a:pt x="540" y="588"/>
                  </a:lnTo>
                  <a:lnTo>
                    <a:pt x="534" y="594"/>
                  </a:lnTo>
                  <a:lnTo>
                    <a:pt x="534" y="600"/>
                  </a:lnTo>
                  <a:lnTo>
                    <a:pt x="528" y="600"/>
                  </a:lnTo>
                  <a:lnTo>
                    <a:pt x="522" y="594"/>
                  </a:lnTo>
                  <a:lnTo>
                    <a:pt x="528" y="600"/>
                  </a:lnTo>
                  <a:lnTo>
                    <a:pt x="534" y="600"/>
                  </a:lnTo>
                  <a:lnTo>
                    <a:pt x="534" y="606"/>
                  </a:lnTo>
                  <a:lnTo>
                    <a:pt x="528" y="606"/>
                  </a:lnTo>
                  <a:lnTo>
                    <a:pt x="528" y="612"/>
                  </a:lnTo>
                  <a:lnTo>
                    <a:pt x="522" y="612"/>
                  </a:lnTo>
                  <a:lnTo>
                    <a:pt x="522" y="618"/>
                  </a:lnTo>
                  <a:lnTo>
                    <a:pt x="522" y="624"/>
                  </a:lnTo>
                  <a:lnTo>
                    <a:pt x="510" y="624"/>
                  </a:lnTo>
                  <a:lnTo>
                    <a:pt x="498" y="624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0" y="624"/>
                  </a:lnTo>
                  <a:lnTo>
                    <a:pt x="474" y="624"/>
                  </a:lnTo>
                  <a:lnTo>
                    <a:pt x="468" y="618"/>
                  </a:lnTo>
                  <a:lnTo>
                    <a:pt x="456" y="618"/>
                  </a:lnTo>
                  <a:lnTo>
                    <a:pt x="450" y="618"/>
                  </a:lnTo>
                  <a:lnTo>
                    <a:pt x="426" y="618"/>
                  </a:lnTo>
                  <a:lnTo>
                    <a:pt x="420" y="618"/>
                  </a:lnTo>
                  <a:lnTo>
                    <a:pt x="414" y="618"/>
                  </a:lnTo>
                  <a:lnTo>
                    <a:pt x="408" y="618"/>
                  </a:lnTo>
                  <a:lnTo>
                    <a:pt x="396" y="618"/>
                  </a:lnTo>
                  <a:lnTo>
                    <a:pt x="366" y="618"/>
                  </a:lnTo>
                  <a:lnTo>
                    <a:pt x="348" y="624"/>
                  </a:lnTo>
                  <a:lnTo>
                    <a:pt x="342" y="624"/>
                  </a:lnTo>
                  <a:lnTo>
                    <a:pt x="342" y="618"/>
                  </a:lnTo>
                  <a:lnTo>
                    <a:pt x="336" y="618"/>
                  </a:lnTo>
                  <a:lnTo>
                    <a:pt x="336" y="612"/>
                  </a:lnTo>
                  <a:lnTo>
                    <a:pt x="342" y="612"/>
                  </a:lnTo>
                  <a:lnTo>
                    <a:pt x="348" y="612"/>
                  </a:lnTo>
                  <a:lnTo>
                    <a:pt x="342" y="612"/>
                  </a:lnTo>
                  <a:lnTo>
                    <a:pt x="336" y="612"/>
                  </a:lnTo>
                  <a:lnTo>
                    <a:pt x="336" y="606"/>
                  </a:lnTo>
                  <a:lnTo>
                    <a:pt x="330" y="606"/>
                  </a:lnTo>
                  <a:lnTo>
                    <a:pt x="330" y="600"/>
                  </a:lnTo>
                  <a:lnTo>
                    <a:pt x="324" y="600"/>
                  </a:lnTo>
                  <a:lnTo>
                    <a:pt x="324" y="606"/>
                  </a:lnTo>
                  <a:lnTo>
                    <a:pt x="318" y="606"/>
                  </a:lnTo>
                  <a:lnTo>
                    <a:pt x="318" y="612"/>
                  </a:lnTo>
                  <a:lnTo>
                    <a:pt x="312" y="612"/>
                  </a:lnTo>
                  <a:lnTo>
                    <a:pt x="306" y="606"/>
                  </a:lnTo>
                  <a:lnTo>
                    <a:pt x="306" y="612"/>
                  </a:lnTo>
                  <a:lnTo>
                    <a:pt x="312" y="612"/>
                  </a:lnTo>
                  <a:lnTo>
                    <a:pt x="318" y="612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30" y="606"/>
                  </a:lnTo>
                  <a:lnTo>
                    <a:pt x="336" y="612"/>
                  </a:lnTo>
                  <a:lnTo>
                    <a:pt x="336" y="618"/>
                  </a:lnTo>
                  <a:lnTo>
                    <a:pt x="330" y="618"/>
                  </a:lnTo>
                  <a:lnTo>
                    <a:pt x="336" y="618"/>
                  </a:lnTo>
                  <a:lnTo>
                    <a:pt x="336" y="624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288" y="624"/>
                  </a:lnTo>
                  <a:lnTo>
                    <a:pt x="282" y="624"/>
                  </a:lnTo>
                  <a:lnTo>
                    <a:pt x="270" y="630"/>
                  </a:lnTo>
                  <a:lnTo>
                    <a:pt x="264" y="630"/>
                  </a:lnTo>
                  <a:lnTo>
                    <a:pt x="258" y="630"/>
                  </a:lnTo>
                  <a:lnTo>
                    <a:pt x="252" y="630"/>
                  </a:lnTo>
                  <a:lnTo>
                    <a:pt x="246" y="630"/>
                  </a:lnTo>
                  <a:lnTo>
                    <a:pt x="240" y="630"/>
                  </a:lnTo>
                  <a:lnTo>
                    <a:pt x="228" y="636"/>
                  </a:lnTo>
                  <a:lnTo>
                    <a:pt x="222" y="636"/>
                  </a:lnTo>
                  <a:lnTo>
                    <a:pt x="210" y="636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42"/>
                  </a:lnTo>
                  <a:lnTo>
                    <a:pt x="186" y="642"/>
                  </a:lnTo>
                  <a:lnTo>
                    <a:pt x="180" y="642"/>
                  </a:lnTo>
                  <a:lnTo>
                    <a:pt x="168" y="642"/>
                  </a:lnTo>
                  <a:lnTo>
                    <a:pt x="162" y="642"/>
                  </a:lnTo>
                  <a:lnTo>
                    <a:pt x="162" y="648"/>
                  </a:lnTo>
                  <a:lnTo>
                    <a:pt x="156" y="648"/>
                  </a:lnTo>
                  <a:lnTo>
                    <a:pt x="150" y="648"/>
                  </a:lnTo>
                  <a:lnTo>
                    <a:pt x="144" y="648"/>
                  </a:lnTo>
                  <a:lnTo>
                    <a:pt x="138" y="648"/>
                  </a:lnTo>
                  <a:lnTo>
                    <a:pt x="132" y="648"/>
                  </a:lnTo>
                  <a:lnTo>
                    <a:pt x="126" y="642"/>
                  </a:lnTo>
                  <a:lnTo>
                    <a:pt x="126" y="636"/>
                  </a:lnTo>
                  <a:lnTo>
                    <a:pt x="120" y="636"/>
                  </a:lnTo>
                  <a:lnTo>
                    <a:pt x="126" y="642"/>
                  </a:lnTo>
                  <a:lnTo>
                    <a:pt x="126" y="648"/>
                  </a:lnTo>
                  <a:lnTo>
                    <a:pt x="132" y="648"/>
                  </a:lnTo>
                  <a:lnTo>
                    <a:pt x="126" y="654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54"/>
                  </a:lnTo>
                  <a:lnTo>
                    <a:pt x="108" y="660"/>
                  </a:lnTo>
                  <a:lnTo>
                    <a:pt x="108" y="654"/>
                  </a:lnTo>
                  <a:lnTo>
                    <a:pt x="102" y="654"/>
                  </a:lnTo>
                  <a:lnTo>
                    <a:pt x="102" y="660"/>
                  </a:lnTo>
                  <a:lnTo>
                    <a:pt x="108" y="660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0" y="660"/>
                  </a:lnTo>
                  <a:lnTo>
                    <a:pt x="90" y="654"/>
                  </a:lnTo>
                  <a:lnTo>
                    <a:pt x="84" y="648"/>
                  </a:lnTo>
                  <a:lnTo>
                    <a:pt x="84" y="642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72" y="636"/>
                  </a:lnTo>
                  <a:lnTo>
                    <a:pt x="78" y="636"/>
                  </a:lnTo>
                  <a:lnTo>
                    <a:pt x="72" y="636"/>
                  </a:lnTo>
                  <a:lnTo>
                    <a:pt x="66" y="636"/>
                  </a:lnTo>
                  <a:lnTo>
                    <a:pt x="60" y="636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60" y="618"/>
                  </a:lnTo>
                  <a:lnTo>
                    <a:pt x="66" y="618"/>
                  </a:lnTo>
                  <a:lnTo>
                    <a:pt x="72" y="618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2" y="612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12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54" y="618"/>
                  </a:lnTo>
                  <a:lnTo>
                    <a:pt x="54" y="624"/>
                  </a:lnTo>
                  <a:lnTo>
                    <a:pt x="48" y="618"/>
                  </a:lnTo>
                  <a:lnTo>
                    <a:pt x="42" y="618"/>
                  </a:lnTo>
                  <a:lnTo>
                    <a:pt x="42" y="612"/>
                  </a:lnTo>
                  <a:lnTo>
                    <a:pt x="48" y="606"/>
                  </a:lnTo>
                  <a:lnTo>
                    <a:pt x="54" y="606"/>
                  </a:lnTo>
                  <a:lnTo>
                    <a:pt x="54" y="600"/>
                  </a:lnTo>
                  <a:lnTo>
                    <a:pt x="54" y="594"/>
                  </a:lnTo>
                  <a:lnTo>
                    <a:pt x="54" y="588"/>
                  </a:lnTo>
                  <a:lnTo>
                    <a:pt x="48" y="588"/>
                  </a:lnTo>
                  <a:lnTo>
                    <a:pt x="48" y="582"/>
                  </a:lnTo>
                  <a:lnTo>
                    <a:pt x="42" y="582"/>
                  </a:lnTo>
                  <a:lnTo>
                    <a:pt x="42" y="570"/>
                  </a:lnTo>
                  <a:lnTo>
                    <a:pt x="42" y="564"/>
                  </a:lnTo>
                  <a:lnTo>
                    <a:pt x="36" y="564"/>
                  </a:lnTo>
                  <a:close/>
                  <a:moveTo>
                    <a:pt x="498" y="420"/>
                  </a:moveTo>
                  <a:lnTo>
                    <a:pt x="504" y="426"/>
                  </a:lnTo>
                  <a:lnTo>
                    <a:pt x="510" y="432"/>
                  </a:lnTo>
                  <a:lnTo>
                    <a:pt x="516" y="432"/>
                  </a:lnTo>
                  <a:lnTo>
                    <a:pt x="516" y="438"/>
                  </a:lnTo>
                  <a:lnTo>
                    <a:pt x="510" y="438"/>
                  </a:lnTo>
                  <a:lnTo>
                    <a:pt x="504" y="438"/>
                  </a:lnTo>
                  <a:lnTo>
                    <a:pt x="504" y="432"/>
                  </a:lnTo>
                  <a:lnTo>
                    <a:pt x="498" y="432"/>
                  </a:lnTo>
                  <a:lnTo>
                    <a:pt x="498" y="426"/>
                  </a:lnTo>
                  <a:lnTo>
                    <a:pt x="498" y="4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4" name="Freeform 9">
              <a:extLst>
                <a:ext uri="{FF2B5EF4-FFF2-40B4-BE49-F238E27FC236}">
                  <a16:creationId xmlns:a16="http://schemas.microsoft.com/office/drawing/2014/main" id="{E0116D32-BD2E-45EA-B818-A3082585D5F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3055" y="2468650"/>
              <a:ext cx="800556" cy="1207710"/>
            </a:xfrm>
            <a:custGeom>
              <a:avLst/>
              <a:gdLst>
                <a:gd name="T0" fmla="*/ 24 w 1506"/>
                <a:gd name="T1" fmla="*/ 190 h 2274"/>
                <a:gd name="T2" fmla="*/ 25 w 1506"/>
                <a:gd name="T3" fmla="*/ 180 h 2274"/>
                <a:gd name="T4" fmla="*/ 21 w 1506"/>
                <a:gd name="T5" fmla="*/ 174 h 2274"/>
                <a:gd name="T6" fmla="*/ 17 w 1506"/>
                <a:gd name="T7" fmla="*/ 170 h 2274"/>
                <a:gd name="T8" fmla="*/ 12 w 1506"/>
                <a:gd name="T9" fmla="*/ 168 h 2274"/>
                <a:gd name="T10" fmla="*/ 10 w 1506"/>
                <a:gd name="T11" fmla="*/ 173 h 2274"/>
                <a:gd name="T12" fmla="*/ 7 w 1506"/>
                <a:gd name="T13" fmla="*/ 174 h 2274"/>
                <a:gd name="T14" fmla="*/ 0 w 1506"/>
                <a:gd name="T15" fmla="*/ 163 h 2274"/>
                <a:gd name="T16" fmla="*/ 16 w 1506"/>
                <a:gd name="T17" fmla="*/ 140 h 2274"/>
                <a:gd name="T18" fmla="*/ 19 w 1506"/>
                <a:gd name="T19" fmla="*/ 137 h 2274"/>
                <a:gd name="T20" fmla="*/ 24 w 1506"/>
                <a:gd name="T21" fmla="*/ 126 h 2274"/>
                <a:gd name="T22" fmla="*/ 23 w 1506"/>
                <a:gd name="T23" fmla="*/ 105 h 2274"/>
                <a:gd name="T24" fmla="*/ 14 w 1506"/>
                <a:gd name="T25" fmla="*/ 86 h 2274"/>
                <a:gd name="T26" fmla="*/ 8 w 1506"/>
                <a:gd name="T27" fmla="*/ 84 h 2274"/>
                <a:gd name="T28" fmla="*/ 5 w 1506"/>
                <a:gd name="T29" fmla="*/ 79 h 2274"/>
                <a:gd name="T30" fmla="*/ 16 w 1506"/>
                <a:gd name="T31" fmla="*/ 71 h 2274"/>
                <a:gd name="T32" fmla="*/ 28 w 1506"/>
                <a:gd name="T33" fmla="*/ 55 h 2274"/>
                <a:gd name="T34" fmla="*/ 29 w 1506"/>
                <a:gd name="T35" fmla="*/ 48 h 2274"/>
                <a:gd name="T36" fmla="*/ 35 w 1506"/>
                <a:gd name="T37" fmla="*/ 50 h 2274"/>
                <a:gd name="T38" fmla="*/ 42 w 1506"/>
                <a:gd name="T39" fmla="*/ 47 h 2274"/>
                <a:gd name="T40" fmla="*/ 63 w 1506"/>
                <a:gd name="T41" fmla="*/ 34 h 2274"/>
                <a:gd name="T42" fmla="*/ 74 w 1506"/>
                <a:gd name="T43" fmla="*/ 27 h 2274"/>
                <a:gd name="T44" fmla="*/ 81 w 1506"/>
                <a:gd name="T45" fmla="*/ 20 h 2274"/>
                <a:gd name="T46" fmla="*/ 89 w 1506"/>
                <a:gd name="T47" fmla="*/ 20 h 2274"/>
                <a:gd name="T48" fmla="*/ 98 w 1506"/>
                <a:gd name="T49" fmla="*/ 27 h 2274"/>
                <a:gd name="T50" fmla="*/ 106 w 1506"/>
                <a:gd name="T51" fmla="*/ 17 h 2274"/>
                <a:gd name="T52" fmla="*/ 111 w 1506"/>
                <a:gd name="T53" fmla="*/ 8 h 2274"/>
                <a:gd name="T54" fmla="*/ 121 w 1506"/>
                <a:gd name="T55" fmla="*/ 2 h 2274"/>
                <a:gd name="T56" fmla="*/ 129 w 1506"/>
                <a:gd name="T57" fmla="*/ 5 h 2274"/>
                <a:gd name="T58" fmla="*/ 125 w 1506"/>
                <a:gd name="T59" fmla="*/ 12 h 2274"/>
                <a:gd name="T60" fmla="*/ 122 w 1506"/>
                <a:gd name="T61" fmla="*/ 20 h 2274"/>
                <a:gd name="T62" fmla="*/ 122 w 1506"/>
                <a:gd name="T63" fmla="*/ 27 h 2274"/>
                <a:gd name="T64" fmla="*/ 120 w 1506"/>
                <a:gd name="T65" fmla="*/ 36 h 2274"/>
                <a:gd name="T66" fmla="*/ 116 w 1506"/>
                <a:gd name="T67" fmla="*/ 43 h 2274"/>
                <a:gd name="T68" fmla="*/ 109 w 1506"/>
                <a:gd name="T69" fmla="*/ 47 h 2274"/>
                <a:gd name="T70" fmla="*/ 108 w 1506"/>
                <a:gd name="T71" fmla="*/ 54 h 2274"/>
                <a:gd name="T72" fmla="*/ 106 w 1506"/>
                <a:gd name="T73" fmla="*/ 59 h 2274"/>
                <a:gd name="T74" fmla="*/ 109 w 1506"/>
                <a:gd name="T75" fmla="*/ 64 h 2274"/>
                <a:gd name="T76" fmla="*/ 106 w 1506"/>
                <a:gd name="T77" fmla="*/ 70 h 2274"/>
                <a:gd name="T78" fmla="*/ 105 w 1506"/>
                <a:gd name="T79" fmla="*/ 75 h 2274"/>
                <a:gd name="T80" fmla="*/ 101 w 1506"/>
                <a:gd name="T81" fmla="*/ 78 h 2274"/>
                <a:gd name="T82" fmla="*/ 92 w 1506"/>
                <a:gd name="T83" fmla="*/ 81 h 2274"/>
                <a:gd name="T84" fmla="*/ 85 w 1506"/>
                <a:gd name="T85" fmla="*/ 85 h 2274"/>
                <a:gd name="T86" fmla="*/ 87 w 1506"/>
                <a:gd name="T87" fmla="*/ 91 h 2274"/>
                <a:gd name="T88" fmla="*/ 86 w 1506"/>
                <a:gd name="T89" fmla="*/ 98 h 2274"/>
                <a:gd name="T90" fmla="*/ 86 w 1506"/>
                <a:gd name="T91" fmla="*/ 103 h 2274"/>
                <a:gd name="T92" fmla="*/ 82 w 1506"/>
                <a:gd name="T93" fmla="*/ 111 h 2274"/>
                <a:gd name="T94" fmla="*/ 81 w 1506"/>
                <a:gd name="T95" fmla="*/ 116 h 2274"/>
                <a:gd name="T96" fmla="*/ 78 w 1506"/>
                <a:gd name="T97" fmla="*/ 120 h 2274"/>
                <a:gd name="T98" fmla="*/ 76 w 1506"/>
                <a:gd name="T99" fmla="*/ 126 h 2274"/>
                <a:gd name="T100" fmla="*/ 68 w 1506"/>
                <a:gd name="T101" fmla="*/ 129 h 2274"/>
                <a:gd name="T102" fmla="*/ 62 w 1506"/>
                <a:gd name="T103" fmla="*/ 131 h 2274"/>
                <a:gd name="T104" fmla="*/ 58 w 1506"/>
                <a:gd name="T105" fmla="*/ 136 h 2274"/>
                <a:gd name="T106" fmla="*/ 51 w 1506"/>
                <a:gd name="T107" fmla="*/ 138 h 2274"/>
                <a:gd name="T108" fmla="*/ 51 w 1506"/>
                <a:gd name="T109" fmla="*/ 147 h 2274"/>
                <a:gd name="T110" fmla="*/ 49 w 1506"/>
                <a:gd name="T111" fmla="*/ 159 h 2274"/>
                <a:gd name="T112" fmla="*/ 48 w 1506"/>
                <a:gd name="T113" fmla="*/ 166 h 2274"/>
                <a:gd name="T114" fmla="*/ 41 w 1506"/>
                <a:gd name="T115" fmla="*/ 174 h 2274"/>
                <a:gd name="T116" fmla="*/ 39 w 1506"/>
                <a:gd name="T117" fmla="*/ 181 h 2274"/>
                <a:gd name="T118" fmla="*/ 37 w 1506"/>
                <a:gd name="T119" fmla="*/ 190 h 2274"/>
                <a:gd name="T120" fmla="*/ 29 w 1506"/>
                <a:gd name="T121" fmla="*/ 198 h 22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06"/>
                <a:gd name="T184" fmla="*/ 0 h 2274"/>
                <a:gd name="T185" fmla="*/ 1506 w 1506"/>
                <a:gd name="T186" fmla="*/ 2274 h 227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06" h="2274">
                  <a:moveTo>
                    <a:pt x="330" y="2274"/>
                  </a:moveTo>
                  <a:lnTo>
                    <a:pt x="318" y="2262"/>
                  </a:lnTo>
                  <a:lnTo>
                    <a:pt x="312" y="2238"/>
                  </a:lnTo>
                  <a:lnTo>
                    <a:pt x="312" y="2232"/>
                  </a:lnTo>
                  <a:lnTo>
                    <a:pt x="294" y="2214"/>
                  </a:lnTo>
                  <a:lnTo>
                    <a:pt x="288" y="2208"/>
                  </a:lnTo>
                  <a:lnTo>
                    <a:pt x="288" y="2202"/>
                  </a:lnTo>
                  <a:lnTo>
                    <a:pt x="276" y="2196"/>
                  </a:lnTo>
                  <a:lnTo>
                    <a:pt x="276" y="2190"/>
                  </a:lnTo>
                  <a:lnTo>
                    <a:pt x="282" y="2190"/>
                  </a:lnTo>
                  <a:lnTo>
                    <a:pt x="282" y="2184"/>
                  </a:lnTo>
                  <a:lnTo>
                    <a:pt x="276" y="2172"/>
                  </a:lnTo>
                  <a:lnTo>
                    <a:pt x="276" y="2166"/>
                  </a:lnTo>
                  <a:lnTo>
                    <a:pt x="282" y="2166"/>
                  </a:lnTo>
                  <a:lnTo>
                    <a:pt x="282" y="2154"/>
                  </a:lnTo>
                  <a:lnTo>
                    <a:pt x="276" y="2136"/>
                  </a:lnTo>
                  <a:lnTo>
                    <a:pt x="276" y="2112"/>
                  </a:lnTo>
                  <a:lnTo>
                    <a:pt x="282" y="2088"/>
                  </a:lnTo>
                  <a:lnTo>
                    <a:pt x="282" y="2082"/>
                  </a:lnTo>
                  <a:lnTo>
                    <a:pt x="282" y="2076"/>
                  </a:lnTo>
                  <a:lnTo>
                    <a:pt x="282" y="2070"/>
                  </a:lnTo>
                  <a:lnTo>
                    <a:pt x="288" y="2070"/>
                  </a:lnTo>
                  <a:lnTo>
                    <a:pt x="288" y="2064"/>
                  </a:lnTo>
                  <a:lnTo>
                    <a:pt x="282" y="2052"/>
                  </a:lnTo>
                  <a:lnTo>
                    <a:pt x="282" y="2046"/>
                  </a:lnTo>
                  <a:lnTo>
                    <a:pt x="276" y="2040"/>
                  </a:lnTo>
                  <a:lnTo>
                    <a:pt x="270" y="2034"/>
                  </a:lnTo>
                  <a:lnTo>
                    <a:pt x="264" y="2022"/>
                  </a:lnTo>
                  <a:lnTo>
                    <a:pt x="258" y="2022"/>
                  </a:lnTo>
                  <a:lnTo>
                    <a:pt x="258" y="2016"/>
                  </a:lnTo>
                  <a:lnTo>
                    <a:pt x="252" y="2016"/>
                  </a:lnTo>
                  <a:lnTo>
                    <a:pt x="246" y="2016"/>
                  </a:lnTo>
                  <a:lnTo>
                    <a:pt x="240" y="2010"/>
                  </a:lnTo>
                  <a:lnTo>
                    <a:pt x="234" y="2004"/>
                  </a:lnTo>
                  <a:lnTo>
                    <a:pt x="228" y="2004"/>
                  </a:lnTo>
                  <a:lnTo>
                    <a:pt x="228" y="1998"/>
                  </a:lnTo>
                  <a:lnTo>
                    <a:pt x="228" y="1992"/>
                  </a:lnTo>
                  <a:lnTo>
                    <a:pt x="222" y="1992"/>
                  </a:lnTo>
                  <a:lnTo>
                    <a:pt x="222" y="1986"/>
                  </a:lnTo>
                  <a:lnTo>
                    <a:pt x="216" y="1986"/>
                  </a:lnTo>
                  <a:lnTo>
                    <a:pt x="210" y="1980"/>
                  </a:lnTo>
                  <a:lnTo>
                    <a:pt x="216" y="1974"/>
                  </a:lnTo>
                  <a:lnTo>
                    <a:pt x="210" y="1968"/>
                  </a:lnTo>
                  <a:lnTo>
                    <a:pt x="198" y="1956"/>
                  </a:lnTo>
                  <a:lnTo>
                    <a:pt x="192" y="1956"/>
                  </a:lnTo>
                  <a:lnTo>
                    <a:pt x="186" y="1956"/>
                  </a:lnTo>
                  <a:lnTo>
                    <a:pt x="180" y="1944"/>
                  </a:lnTo>
                  <a:lnTo>
                    <a:pt x="180" y="1938"/>
                  </a:lnTo>
                  <a:lnTo>
                    <a:pt x="174" y="1932"/>
                  </a:lnTo>
                  <a:lnTo>
                    <a:pt x="168" y="1932"/>
                  </a:lnTo>
                  <a:lnTo>
                    <a:pt x="162" y="1932"/>
                  </a:lnTo>
                  <a:lnTo>
                    <a:pt x="150" y="1932"/>
                  </a:lnTo>
                  <a:lnTo>
                    <a:pt x="150" y="1926"/>
                  </a:lnTo>
                  <a:lnTo>
                    <a:pt x="150" y="1932"/>
                  </a:lnTo>
                  <a:lnTo>
                    <a:pt x="144" y="1932"/>
                  </a:lnTo>
                  <a:lnTo>
                    <a:pt x="138" y="1932"/>
                  </a:lnTo>
                  <a:lnTo>
                    <a:pt x="132" y="1932"/>
                  </a:lnTo>
                  <a:lnTo>
                    <a:pt x="132" y="1938"/>
                  </a:lnTo>
                  <a:lnTo>
                    <a:pt x="126" y="1944"/>
                  </a:lnTo>
                  <a:lnTo>
                    <a:pt x="126" y="1956"/>
                  </a:lnTo>
                  <a:lnTo>
                    <a:pt x="120" y="1968"/>
                  </a:lnTo>
                  <a:lnTo>
                    <a:pt x="120" y="1974"/>
                  </a:lnTo>
                  <a:lnTo>
                    <a:pt x="120" y="1980"/>
                  </a:lnTo>
                  <a:lnTo>
                    <a:pt x="126" y="1980"/>
                  </a:lnTo>
                  <a:lnTo>
                    <a:pt x="120" y="1986"/>
                  </a:lnTo>
                  <a:lnTo>
                    <a:pt x="120" y="1992"/>
                  </a:lnTo>
                  <a:lnTo>
                    <a:pt x="114" y="1992"/>
                  </a:lnTo>
                  <a:lnTo>
                    <a:pt x="114" y="1986"/>
                  </a:lnTo>
                  <a:lnTo>
                    <a:pt x="108" y="1992"/>
                  </a:lnTo>
                  <a:lnTo>
                    <a:pt x="108" y="1998"/>
                  </a:lnTo>
                  <a:lnTo>
                    <a:pt x="114" y="2004"/>
                  </a:lnTo>
                  <a:lnTo>
                    <a:pt x="108" y="2004"/>
                  </a:lnTo>
                  <a:lnTo>
                    <a:pt x="102" y="2010"/>
                  </a:lnTo>
                  <a:lnTo>
                    <a:pt x="102" y="2004"/>
                  </a:lnTo>
                  <a:lnTo>
                    <a:pt x="90" y="2004"/>
                  </a:lnTo>
                  <a:lnTo>
                    <a:pt x="84" y="2004"/>
                  </a:lnTo>
                  <a:lnTo>
                    <a:pt x="78" y="1998"/>
                  </a:lnTo>
                  <a:lnTo>
                    <a:pt x="78" y="1992"/>
                  </a:lnTo>
                  <a:lnTo>
                    <a:pt x="78" y="1986"/>
                  </a:lnTo>
                  <a:lnTo>
                    <a:pt x="72" y="1986"/>
                  </a:lnTo>
                  <a:lnTo>
                    <a:pt x="66" y="1980"/>
                  </a:lnTo>
                  <a:lnTo>
                    <a:pt x="66" y="1968"/>
                  </a:lnTo>
                  <a:lnTo>
                    <a:pt x="60" y="1956"/>
                  </a:lnTo>
                  <a:lnTo>
                    <a:pt x="60" y="1950"/>
                  </a:lnTo>
                  <a:lnTo>
                    <a:pt x="48" y="1944"/>
                  </a:lnTo>
                  <a:lnTo>
                    <a:pt x="30" y="1926"/>
                  </a:lnTo>
                  <a:lnTo>
                    <a:pt x="12" y="1890"/>
                  </a:lnTo>
                  <a:lnTo>
                    <a:pt x="6" y="1872"/>
                  </a:lnTo>
                  <a:lnTo>
                    <a:pt x="0" y="1854"/>
                  </a:lnTo>
                  <a:lnTo>
                    <a:pt x="6" y="1824"/>
                  </a:lnTo>
                  <a:lnTo>
                    <a:pt x="30" y="1794"/>
                  </a:lnTo>
                  <a:lnTo>
                    <a:pt x="66" y="1752"/>
                  </a:lnTo>
                  <a:lnTo>
                    <a:pt x="72" y="1752"/>
                  </a:lnTo>
                  <a:lnTo>
                    <a:pt x="78" y="1746"/>
                  </a:lnTo>
                  <a:lnTo>
                    <a:pt x="84" y="1746"/>
                  </a:lnTo>
                  <a:lnTo>
                    <a:pt x="90" y="1746"/>
                  </a:lnTo>
                  <a:lnTo>
                    <a:pt x="138" y="1674"/>
                  </a:lnTo>
                  <a:lnTo>
                    <a:pt x="186" y="1620"/>
                  </a:lnTo>
                  <a:lnTo>
                    <a:pt x="186" y="1614"/>
                  </a:lnTo>
                  <a:lnTo>
                    <a:pt x="186" y="1608"/>
                  </a:lnTo>
                  <a:lnTo>
                    <a:pt x="192" y="1608"/>
                  </a:lnTo>
                  <a:lnTo>
                    <a:pt x="192" y="1614"/>
                  </a:lnTo>
                  <a:lnTo>
                    <a:pt x="198" y="1614"/>
                  </a:lnTo>
                  <a:lnTo>
                    <a:pt x="198" y="1608"/>
                  </a:lnTo>
                  <a:lnTo>
                    <a:pt x="198" y="1602"/>
                  </a:lnTo>
                  <a:lnTo>
                    <a:pt x="204" y="1602"/>
                  </a:lnTo>
                  <a:lnTo>
                    <a:pt x="204" y="1596"/>
                  </a:lnTo>
                  <a:lnTo>
                    <a:pt x="210" y="1590"/>
                  </a:lnTo>
                  <a:lnTo>
                    <a:pt x="216" y="1590"/>
                  </a:lnTo>
                  <a:lnTo>
                    <a:pt x="216" y="1584"/>
                  </a:lnTo>
                  <a:lnTo>
                    <a:pt x="222" y="1584"/>
                  </a:lnTo>
                  <a:lnTo>
                    <a:pt x="228" y="1572"/>
                  </a:lnTo>
                  <a:lnTo>
                    <a:pt x="222" y="1572"/>
                  </a:lnTo>
                  <a:lnTo>
                    <a:pt x="228" y="1566"/>
                  </a:lnTo>
                  <a:lnTo>
                    <a:pt x="228" y="1560"/>
                  </a:lnTo>
                  <a:lnTo>
                    <a:pt x="252" y="1548"/>
                  </a:lnTo>
                  <a:lnTo>
                    <a:pt x="276" y="1530"/>
                  </a:lnTo>
                  <a:lnTo>
                    <a:pt x="282" y="1512"/>
                  </a:lnTo>
                  <a:lnTo>
                    <a:pt x="282" y="1506"/>
                  </a:lnTo>
                  <a:lnTo>
                    <a:pt x="282" y="1494"/>
                  </a:lnTo>
                  <a:lnTo>
                    <a:pt x="282" y="1452"/>
                  </a:lnTo>
                  <a:lnTo>
                    <a:pt x="288" y="1440"/>
                  </a:lnTo>
                  <a:lnTo>
                    <a:pt x="294" y="1440"/>
                  </a:lnTo>
                  <a:lnTo>
                    <a:pt x="294" y="1428"/>
                  </a:lnTo>
                  <a:lnTo>
                    <a:pt x="324" y="1368"/>
                  </a:lnTo>
                  <a:lnTo>
                    <a:pt x="330" y="1362"/>
                  </a:lnTo>
                  <a:lnTo>
                    <a:pt x="330" y="1356"/>
                  </a:lnTo>
                  <a:lnTo>
                    <a:pt x="360" y="1338"/>
                  </a:lnTo>
                  <a:lnTo>
                    <a:pt x="366" y="1296"/>
                  </a:lnTo>
                  <a:lnTo>
                    <a:pt x="354" y="1278"/>
                  </a:lnTo>
                  <a:lnTo>
                    <a:pt x="336" y="1230"/>
                  </a:lnTo>
                  <a:lnTo>
                    <a:pt x="270" y="1212"/>
                  </a:lnTo>
                  <a:lnTo>
                    <a:pt x="264" y="1212"/>
                  </a:lnTo>
                  <a:lnTo>
                    <a:pt x="252" y="1200"/>
                  </a:lnTo>
                  <a:lnTo>
                    <a:pt x="234" y="1188"/>
                  </a:lnTo>
                  <a:lnTo>
                    <a:pt x="222" y="1182"/>
                  </a:lnTo>
                  <a:lnTo>
                    <a:pt x="228" y="1104"/>
                  </a:lnTo>
                  <a:lnTo>
                    <a:pt x="228" y="1098"/>
                  </a:lnTo>
                  <a:lnTo>
                    <a:pt x="198" y="1038"/>
                  </a:lnTo>
                  <a:lnTo>
                    <a:pt x="192" y="1032"/>
                  </a:lnTo>
                  <a:lnTo>
                    <a:pt x="180" y="1020"/>
                  </a:lnTo>
                  <a:lnTo>
                    <a:pt x="168" y="996"/>
                  </a:lnTo>
                  <a:lnTo>
                    <a:pt x="162" y="990"/>
                  </a:lnTo>
                  <a:lnTo>
                    <a:pt x="156" y="990"/>
                  </a:lnTo>
                  <a:lnTo>
                    <a:pt x="150" y="990"/>
                  </a:lnTo>
                  <a:lnTo>
                    <a:pt x="132" y="990"/>
                  </a:lnTo>
                  <a:lnTo>
                    <a:pt x="120" y="984"/>
                  </a:lnTo>
                  <a:lnTo>
                    <a:pt x="120" y="990"/>
                  </a:lnTo>
                  <a:lnTo>
                    <a:pt x="114" y="990"/>
                  </a:lnTo>
                  <a:lnTo>
                    <a:pt x="102" y="984"/>
                  </a:lnTo>
                  <a:lnTo>
                    <a:pt x="96" y="984"/>
                  </a:lnTo>
                  <a:lnTo>
                    <a:pt x="96" y="978"/>
                  </a:lnTo>
                  <a:lnTo>
                    <a:pt x="90" y="978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84" y="960"/>
                  </a:lnTo>
                  <a:lnTo>
                    <a:pt x="84" y="954"/>
                  </a:lnTo>
                  <a:lnTo>
                    <a:pt x="78" y="948"/>
                  </a:lnTo>
                  <a:lnTo>
                    <a:pt x="72" y="948"/>
                  </a:lnTo>
                  <a:lnTo>
                    <a:pt x="72" y="942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06"/>
                  </a:lnTo>
                  <a:lnTo>
                    <a:pt x="60" y="888"/>
                  </a:lnTo>
                  <a:lnTo>
                    <a:pt x="54" y="882"/>
                  </a:lnTo>
                  <a:lnTo>
                    <a:pt x="60" y="882"/>
                  </a:lnTo>
                  <a:lnTo>
                    <a:pt x="72" y="876"/>
                  </a:lnTo>
                  <a:lnTo>
                    <a:pt x="78" y="876"/>
                  </a:lnTo>
                  <a:lnTo>
                    <a:pt x="90" y="870"/>
                  </a:lnTo>
                  <a:lnTo>
                    <a:pt x="90" y="864"/>
                  </a:lnTo>
                  <a:lnTo>
                    <a:pt x="96" y="840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80" y="822"/>
                  </a:lnTo>
                  <a:lnTo>
                    <a:pt x="204" y="798"/>
                  </a:lnTo>
                  <a:lnTo>
                    <a:pt x="222" y="786"/>
                  </a:lnTo>
                  <a:lnTo>
                    <a:pt x="252" y="780"/>
                  </a:lnTo>
                  <a:lnTo>
                    <a:pt x="264" y="762"/>
                  </a:lnTo>
                  <a:lnTo>
                    <a:pt x="276" y="762"/>
                  </a:lnTo>
                  <a:lnTo>
                    <a:pt x="288" y="744"/>
                  </a:lnTo>
                  <a:lnTo>
                    <a:pt x="306" y="738"/>
                  </a:lnTo>
                  <a:lnTo>
                    <a:pt x="318" y="732"/>
                  </a:lnTo>
                  <a:lnTo>
                    <a:pt x="324" y="648"/>
                  </a:lnTo>
                  <a:lnTo>
                    <a:pt x="324" y="636"/>
                  </a:lnTo>
                  <a:lnTo>
                    <a:pt x="324" y="630"/>
                  </a:lnTo>
                  <a:lnTo>
                    <a:pt x="330" y="624"/>
                  </a:lnTo>
                  <a:lnTo>
                    <a:pt x="324" y="618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24" y="588"/>
                  </a:lnTo>
                  <a:lnTo>
                    <a:pt x="318" y="576"/>
                  </a:lnTo>
                  <a:lnTo>
                    <a:pt x="318" y="570"/>
                  </a:lnTo>
                  <a:lnTo>
                    <a:pt x="324" y="570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30" y="558"/>
                  </a:lnTo>
                  <a:lnTo>
                    <a:pt x="336" y="558"/>
                  </a:lnTo>
                  <a:lnTo>
                    <a:pt x="342" y="558"/>
                  </a:lnTo>
                  <a:lnTo>
                    <a:pt x="348" y="558"/>
                  </a:lnTo>
                  <a:lnTo>
                    <a:pt x="354" y="564"/>
                  </a:lnTo>
                  <a:lnTo>
                    <a:pt x="360" y="564"/>
                  </a:lnTo>
                  <a:lnTo>
                    <a:pt x="366" y="570"/>
                  </a:lnTo>
                  <a:lnTo>
                    <a:pt x="366" y="576"/>
                  </a:lnTo>
                  <a:lnTo>
                    <a:pt x="372" y="570"/>
                  </a:lnTo>
                  <a:lnTo>
                    <a:pt x="378" y="570"/>
                  </a:lnTo>
                  <a:lnTo>
                    <a:pt x="390" y="570"/>
                  </a:lnTo>
                  <a:lnTo>
                    <a:pt x="402" y="570"/>
                  </a:lnTo>
                  <a:lnTo>
                    <a:pt x="408" y="570"/>
                  </a:lnTo>
                  <a:lnTo>
                    <a:pt x="414" y="564"/>
                  </a:lnTo>
                  <a:lnTo>
                    <a:pt x="420" y="564"/>
                  </a:lnTo>
                  <a:lnTo>
                    <a:pt x="420" y="570"/>
                  </a:lnTo>
                  <a:lnTo>
                    <a:pt x="426" y="570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44" y="570"/>
                  </a:lnTo>
                  <a:lnTo>
                    <a:pt x="450" y="564"/>
                  </a:lnTo>
                  <a:lnTo>
                    <a:pt x="474" y="558"/>
                  </a:lnTo>
                  <a:lnTo>
                    <a:pt x="486" y="54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40" y="474"/>
                  </a:lnTo>
                  <a:lnTo>
                    <a:pt x="558" y="456"/>
                  </a:lnTo>
                  <a:lnTo>
                    <a:pt x="582" y="450"/>
                  </a:lnTo>
                  <a:lnTo>
                    <a:pt x="594" y="414"/>
                  </a:lnTo>
                  <a:lnTo>
                    <a:pt x="612" y="390"/>
                  </a:lnTo>
                  <a:lnTo>
                    <a:pt x="636" y="390"/>
                  </a:lnTo>
                  <a:lnTo>
                    <a:pt x="666" y="390"/>
                  </a:lnTo>
                  <a:lnTo>
                    <a:pt x="696" y="390"/>
                  </a:lnTo>
                  <a:lnTo>
                    <a:pt x="726" y="390"/>
                  </a:lnTo>
                  <a:lnTo>
                    <a:pt x="762" y="378"/>
                  </a:lnTo>
                  <a:lnTo>
                    <a:pt x="780" y="366"/>
                  </a:lnTo>
                  <a:lnTo>
                    <a:pt x="780" y="342"/>
                  </a:lnTo>
                  <a:lnTo>
                    <a:pt x="786" y="342"/>
                  </a:lnTo>
                  <a:lnTo>
                    <a:pt x="786" y="336"/>
                  </a:lnTo>
                  <a:lnTo>
                    <a:pt x="786" y="330"/>
                  </a:lnTo>
                  <a:lnTo>
                    <a:pt x="786" y="324"/>
                  </a:lnTo>
                  <a:lnTo>
                    <a:pt x="816" y="318"/>
                  </a:lnTo>
                  <a:lnTo>
                    <a:pt x="834" y="312"/>
                  </a:lnTo>
                  <a:lnTo>
                    <a:pt x="840" y="318"/>
                  </a:lnTo>
                  <a:lnTo>
                    <a:pt x="852" y="318"/>
                  </a:lnTo>
                  <a:lnTo>
                    <a:pt x="858" y="306"/>
                  </a:lnTo>
                  <a:lnTo>
                    <a:pt x="864" y="288"/>
                  </a:lnTo>
                  <a:lnTo>
                    <a:pt x="870" y="282"/>
                  </a:lnTo>
                  <a:lnTo>
                    <a:pt x="876" y="276"/>
                  </a:lnTo>
                  <a:lnTo>
                    <a:pt x="882" y="264"/>
                  </a:lnTo>
                  <a:lnTo>
                    <a:pt x="882" y="258"/>
                  </a:lnTo>
                  <a:lnTo>
                    <a:pt x="888" y="252"/>
                  </a:lnTo>
                  <a:lnTo>
                    <a:pt x="894" y="240"/>
                  </a:lnTo>
                  <a:lnTo>
                    <a:pt x="906" y="228"/>
                  </a:lnTo>
                  <a:lnTo>
                    <a:pt x="912" y="228"/>
                  </a:lnTo>
                  <a:lnTo>
                    <a:pt x="936" y="228"/>
                  </a:lnTo>
                  <a:lnTo>
                    <a:pt x="942" y="222"/>
                  </a:lnTo>
                  <a:lnTo>
                    <a:pt x="948" y="216"/>
                  </a:lnTo>
                  <a:lnTo>
                    <a:pt x="954" y="216"/>
                  </a:lnTo>
                  <a:lnTo>
                    <a:pt x="960" y="216"/>
                  </a:lnTo>
                  <a:lnTo>
                    <a:pt x="966" y="216"/>
                  </a:lnTo>
                  <a:lnTo>
                    <a:pt x="978" y="216"/>
                  </a:lnTo>
                  <a:lnTo>
                    <a:pt x="990" y="222"/>
                  </a:lnTo>
                  <a:lnTo>
                    <a:pt x="996" y="222"/>
                  </a:lnTo>
                  <a:lnTo>
                    <a:pt x="1002" y="228"/>
                  </a:lnTo>
                  <a:lnTo>
                    <a:pt x="1014" y="234"/>
                  </a:lnTo>
                  <a:lnTo>
                    <a:pt x="1020" y="234"/>
                  </a:lnTo>
                  <a:lnTo>
                    <a:pt x="1032" y="240"/>
                  </a:lnTo>
                  <a:lnTo>
                    <a:pt x="1044" y="240"/>
                  </a:lnTo>
                  <a:lnTo>
                    <a:pt x="1050" y="240"/>
                  </a:lnTo>
                  <a:lnTo>
                    <a:pt x="1056" y="246"/>
                  </a:lnTo>
                  <a:lnTo>
                    <a:pt x="1068" y="264"/>
                  </a:lnTo>
                  <a:lnTo>
                    <a:pt x="1086" y="276"/>
                  </a:lnTo>
                  <a:lnTo>
                    <a:pt x="1092" y="276"/>
                  </a:lnTo>
                  <a:lnTo>
                    <a:pt x="1104" y="282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8" y="312"/>
                  </a:lnTo>
                  <a:lnTo>
                    <a:pt x="1152" y="324"/>
                  </a:lnTo>
                  <a:lnTo>
                    <a:pt x="1188" y="324"/>
                  </a:lnTo>
                  <a:lnTo>
                    <a:pt x="1206" y="318"/>
                  </a:lnTo>
                  <a:lnTo>
                    <a:pt x="1200" y="294"/>
                  </a:lnTo>
                  <a:lnTo>
                    <a:pt x="1206" y="252"/>
                  </a:lnTo>
                  <a:lnTo>
                    <a:pt x="1218" y="222"/>
                  </a:lnTo>
                  <a:lnTo>
                    <a:pt x="1212" y="222"/>
                  </a:lnTo>
                  <a:lnTo>
                    <a:pt x="1212" y="216"/>
                  </a:lnTo>
                  <a:lnTo>
                    <a:pt x="1218" y="204"/>
                  </a:lnTo>
                  <a:lnTo>
                    <a:pt x="1224" y="198"/>
                  </a:lnTo>
                  <a:lnTo>
                    <a:pt x="1224" y="192"/>
                  </a:lnTo>
                  <a:lnTo>
                    <a:pt x="1236" y="180"/>
                  </a:lnTo>
                  <a:lnTo>
                    <a:pt x="1254" y="156"/>
                  </a:lnTo>
                  <a:lnTo>
                    <a:pt x="1260" y="150"/>
                  </a:lnTo>
                  <a:lnTo>
                    <a:pt x="1260" y="144"/>
                  </a:lnTo>
                  <a:lnTo>
                    <a:pt x="1266" y="138"/>
                  </a:lnTo>
                  <a:lnTo>
                    <a:pt x="1272" y="138"/>
                  </a:lnTo>
                  <a:lnTo>
                    <a:pt x="1272" y="120"/>
                  </a:lnTo>
                  <a:lnTo>
                    <a:pt x="1278" y="114"/>
                  </a:lnTo>
                  <a:lnTo>
                    <a:pt x="1278" y="108"/>
                  </a:lnTo>
                  <a:lnTo>
                    <a:pt x="1278" y="102"/>
                  </a:lnTo>
                  <a:lnTo>
                    <a:pt x="1278" y="90"/>
                  </a:lnTo>
                  <a:lnTo>
                    <a:pt x="1278" y="84"/>
                  </a:lnTo>
                  <a:lnTo>
                    <a:pt x="1278" y="78"/>
                  </a:lnTo>
                  <a:lnTo>
                    <a:pt x="1278" y="72"/>
                  </a:lnTo>
                  <a:lnTo>
                    <a:pt x="1278" y="60"/>
                  </a:lnTo>
                  <a:lnTo>
                    <a:pt x="1284" y="48"/>
                  </a:lnTo>
                  <a:lnTo>
                    <a:pt x="1284" y="24"/>
                  </a:lnTo>
                  <a:lnTo>
                    <a:pt x="1284" y="18"/>
                  </a:lnTo>
                  <a:lnTo>
                    <a:pt x="1308" y="24"/>
                  </a:lnTo>
                  <a:lnTo>
                    <a:pt x="1332" y="30"/>
                  </a:lnTo>
                  <a:lnTo>
                    <a:pt x="1368" y="30"/>
                  </a:lnTo>
                  <a:lnTo>
                    <a:pt x="1392" y="24"/>
                  </a:lnTo>
                  <a:lnTo>
                    <a:pt x="1410" y="18"/>
                  </a:lnTo>
                  <a:lnTo>
                    <a:pt x="1416" y="6"/>
                  </a:lnTo>
                  <a:lnTo>
                    <a:pt x="1500" y="6"/>
                  </a:lnTo>
                  <a:lnTo>
                    <a:pt x="1506" y="0"/>
                  </a:lnTo>
                  <a:lnTo>
                    <a:pt x="1506" y="6"/>
                  </a:lnTo>
                  <a:lnTo>
                    <a:pt x="1506" y="18"/>
                  </a:lnTo>
                  <a:lnTo>
                    <a:pt x="1506" y="24"/>
                  </a:lnTo>
                  <a:lnTo>
                    <a:pt x="1500" y="30"/>
                  </a:lnTo>
                  <a:lnTo>
                    <a:pt x="1500" y="42"/>
                  </a:lnTo>
                  <a:lnTo>
                    <a:pt x="1494" y="54"/>
                  </a:lnTo>
                  <a:lnTo>
                    <a:pt x="1488" y="60"/>
                  </a:lnTo>
                  <a:lnTo>
                    <a:pt x="1482" y="60"/>
                  </a:lnTo>
                  <a:lnTo>
                    <a:pt x="1476" y="66"/>
                  </a:lnTo>
                  <a:lnTo>
                    <a:pt x="1476" y="72"/>
                  </a:lnTo>
                  <a:lnTo>
                    <a:pt x="1476" y="78"/>
                  </a:lnTo>
                  <a:lnTo>
                    <a:pt x="1470" y="78"/>
                  </a:lnTo>
                  <a:lnTo>
                    <a:pt x="1464" y="90"/>
                  </a:lnTo>
                  <a:lnTo>
                    <a:pt x="1458" y="96"/>
                  </a:lnTo>
                  <a:lnTo>
                    <a:pt x="1458" y="102"/>
                  </a:lnTo>
                  <a:lnTo>
                    <a:pt x="1452" y="120"/>
                  </a:lnTo>
                  <a:lnTo>
                    <a:pt x="1452" y="132"/>
                  </a:lnTo>
                  <a:lnTo>
                    <a:pt x="1446" y="144"/>
                  </a:lnTo>
                  <a:lnTo>
                    <a:pt x="1446" y="150"/>
                  </a:lnTo>
                  <a:lnTo>
                    <a:pt x="1440" y="150"/>
                  </a:lnTo>
                  <a:lnTo>
                    <a:pt x="1434" y="156"/>
                  </a:lnTo>
                  <a:lnTo>
                    <a:pt x="1428" y="168"/>
                  </a:lnTo>
                  <a:lnTo>
                    <a:pt x="1422" y="168"/>
                  </a:lnTo>
                  <a:lnTo>
                    <a:pt x="1416" y="174"/>
                  </a:lnTo>
                  <a:lnTo>
                    <a:pt x="1410" y="186"/>
                  </a:lnTo>
                  <a:lnTo>
                    <a:pt x="1410" y="204"/>
                  </a:lnTo>
                  <a:lnTo>
                    <a:pt x="1404" y="210"/>
                  </a:lnTo>
                  <a:lnTo>
                    <a:pt x="1404" y="216"/>
                  </a:lnTo>
                  <a:lnTo>
                    <a:pt x="1410" y="228"/>
                  </a:lnTo>
                  <a:lnTo>
                    <a:pt x="1410" y="234"/>
                  </a:lnTo>
                  <a:lnTo>
                    <a:pt x="1410" y="240"/>
                  </a:lnTo>
                  <a:lnTo>
                    <a:pt x="1416" y="252"/>
                  </a:lnTo>
                  <a:lnTo>
                    <a:pt x="1416" y="258"/>
                  </a:lnTo>
                  <a:lnTo>
                    <a:pt x="1422" y="264"/>
                  </a:lnTo>
                  <a:lnTo>
                    <a:pt x="1422" y="270"/>
                  </a:lnTo>
                  <a:lnTo>
                    <a:pt x="1422" y="282"/>
                  </a:lnTo>
                  <a:lnTo>
                    <a:pt x="1416" y="288"/>
                  </a:lnTo>
                  <a:lnTo>
                    <a:pt x="1410" y="294"/>
                  </a:lnTo>
                  <a:lnTo>
                    <a:pt x="1404" y="300"/>
                  </a:lnTo>
                  <a:lnTo>
                    <a:pt x="1404" y="306"/>
                  </a:lnTo>
                  <a:lnTo>
                    <a:pt x="1398" y="324"/>
                  </a:lnTo>
                  <a:lnTo>
                    <a:pt x="1404" y="330"/>
                  </a:lnTo>
                  <a:lnTo>
                    <a:pt x="1404" y="342"/>
                  </a:lnTo>
                  <a:lnTo>
                    <a:pt x="1392" y="354"/>
                  </a:lnTo>
                  <a:lnTo>
                    <a:pt x="1392" y="360"/>
                  </a:lnTo>
                  <a:lnTo>
                    <a:pt x="1392" y="372"/>
                  </a:lnTo>
                  <a:lnTo>
                    <a:pt x="1392" y="384"/>
                  </a:lnTo>
                  <a:lnTo>
                    <a:pt x="1392" y="396"/>
                  </a:lnTo>
                  <a:lnTo>
                    <a:pt x="1392" y="408"/>
                  </a:lnTo>
                  <a:lnTo>
                    <a:pt x="1386" y="414"/>
                  </a:lnTo>
                  <a:lnTo>
                    <a:pt x="1380" y="420"/>
                  </a:lnTo>
                  <a:lnTo>
                    <a:pt x="1380" y="426"/>
                  </a:lnTo>
                  <a:lnTo>
                    <a:pt x="1368" y="432"/>
                  </a:lnTo>
                  <a:lnTo>
                    <a:pt x="1362" y="444"/>
                  </a:lnTo>
                  <a:lnTo>
                    <a:pt x="1362" y="450"/>
                  </a:lnTo>
                  <a:lnTo>
                    <a:pt x="1362" y="462"/>
                  </a:lnTo>
                  <a:lnTo>
                    <a:pt x="1362" y="468"/>
                  </a:lnTo>
                  <a:lnTo>
                    <a:pt x="1362" y="474"/>
                  </a:lnTo>
                  <a:lnTo>
                    <a:pt x="1356" y="474"/>
                  </a:lnTo>
                  <a:lnTo>
                    <a:pt x="1350" y="480"/>
                  </a:lnTo>
                  <a:lnTo>
                    <a:pt x="1344" y="486"/>
                  </a:lnTo>
                  <a:lnTo>
                    <a:pt x="1338" y="498"/>
                  </a:lnTo>
                  <a:lnTo>
                    <a:pt x="1332" y="510"/>
                  </a:lnTo>
                  <a:lnTo>
                    <a:pt x="1320" y="510"/>
                  </a:lnTo>
                  <a:lnTo>
                    <a:pt x="1314" y="516"/>
                  </a:lnTo>
                  <a:lnTo>
                    <a:pt x="1302" y="522"/>
                  </a:lnTo>
                  <a:lnTo>
                    <a:pt x="1296" y="522"/>
                  </a:lnTo>
                  <a:lnTo>
                    <a:pt x="1284" y="516"/>
                  </a:lnTo>
                  <a:lnTo>
                    <a:pt x="1278" y="516"/>
                  </a:lnTo>
                  <a:lnTo>
                    <a:pt x="1272" y="522"/>
                  </a:lnTo>
                  <a:lnTo>
                    <a:pt x="1266" y="522"/>
                  </a:lnTo>
                  <a:lnTo>
                    <a:pt x="1266" y="528"/>
                  </a:lnTo>
                  <a:lnTo>
                    <a:pt x="1254" y="540"/>
                  </a:lnTo>
                  <a:lnTo>
                    <a:pt x="1248" y="546"/>
                  </a:lnTo>
                  <a:lnTo>
                    <a:pt x="1242" y="558"/>
                  </a:lnTo>
                  <a:lnTo>
                    <a:pt x="1230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30" y="594"/>
                  </a:lnTo>
                  <a:lnTo>
                    <a:pt x="1230" y="600"/>
                  </a:lnTo>
                  <a:lnTo>
                    <a:pt x="1236" y="606"/>
                  </a:lnTo>
                  <a:lnTo>
                    <a:pt x="1242" y="606"/>
                  </a:lnTo>
                  <a:lnTo>
                    <a:pt x="1242" y="612"/>
                  </a:lnTo>
                  <a:lnTo>
                    <a:pt x="1242" y="618"/>
                  </a:lnTo>
                  <a:lnTo>
                    <a:pt x="1242" y="624"/>
                  </a:lnTo>
                  <a:lnTo>
                    <a:pt x="1236" y="630"/>
                  </a:lnTo>
                  <a:lnTo>
                    <a:pt x="1230" y="642"/>
                  </a:lnTo>
                  <a:lnTo>
                    <a:pt x="1230" y="648"/>
                  </a:lnTo>
                  <a:lnTo>
                    <a:pt x="1218" y="654"/>
                  </a:lnTo>
                  <a:lnTo>
                    <a:pt x="1212" y="654"/>
                  </a:lnTo>
                  <a:lnTo>
                    <a:pt x="1212" y="660"/>
                  </a:lnTo>
                  <a:lnTo>
                    <a:pt x="1212" y="666"/>
                  </a:lnTo>
                  <a:lnTo>
                    <a:pt x="1212" y="672"/>
                  </a:lnTo>
                  <a:lnTo>
                    <a:pt x="1212" y="678"/>
                  </a:lnTo>
                  <a:lnTo>
                    <a:pt x="1218" y="684"/>
                  </a:lnTo>
                  <a:lnTo>
                    <a:pt x="1218" y="690"/>
                  </a:lnTo>
                  <a:lnTo>
                    <a:pt x="1224" y="696"/>
                  </a:lnTo>
                  <a:lnTo>
                    <a:pt x="1230" y="702"/>
                  </a:lnTo>
                  <a:lnTo>
                    <a:pt x="1236" y="696"/>
                  </a:lnTo>
                  <a:lnTo>
                    <a:pt x="1242" y="702"/>
                  </a:lnTo>
                  <a:lnTo>
                    <a:pt x="1248" y="708"/>
                  </a:lnTo>
                  <a:lnTo>
                    <a:pt x="1254" y="714"/>
                  </a:lnTo>
                  <a:lnTo>
                    <a:pt x="1254" y="720"/>
                  </a:lnTo>
                  <a:lnTo>
                    <a:pt x="1260" y="720"/>
                  </a:lnTo>
                  <a:lnTo>
                    <a:pt x="1254" y="732"/>
                  </a:lnTo>
                  <a:lnTo>
                    <a:pt x="1248" y="738"/>
                  </a:lnTo>
                  <a:lnTo>
                    <a:pt x="1242" y="744"/>
                  </a:lnTo>
                  <a:lnTo>
                    <a:pt x="1236" y="750"/>
                  </a:lnTo>
                  <a:lnTo>
                    <a:pt x="1236" y="756"/>
                  </a:lnTo>
                  <a:lnTo>
                    <a:pt x="1236" y="762"/>
                  </a:lnTo>
                  <a:lnTo>
                    <a:pt x="1236" y="768"/>
                  </a:lnTo>
                  <a:lnTo>
                    <a:pt x="1236" y="780"/>
                  </a:lnTo>
                  <a:lnTo>
                    <a:pt x="1230" y="780"/>
                  </a:lnTo>
                  <a:lnTo>
                    <a:pt x="1230" y="786"/>
                  </a:lnTo>
                  <a:lnTo>
                    <a:pt x="1230" y="792"/>
                  </a:lnTo>
                  <a:lnTo>
                    <a:pt x="1230" y="804"/>
                  </a:lnTo>
                  <a:lnTo>
                    <a:pt x="1224" y="810"/>
                  </a:lnTo>
                  <a:lnTo>
                    <a:pt x="1218" y="816"/>
                  </a:lnTo>
                  <a:lnTo>
                    <a:pt x="1224" y="822"/>
                  </a:lnTo>
                  <a:lnTo>
                    <a:pt x="1224" y="828"/>
                  </a:lnTo>
                  <a:lnTo>
                    <a:pt x="1218" y="834"/>
                  </a:lnTo>
                  <a:lnTo>
                    <a:pt x="1224" y="834"/>
                  </a:lnTo>
                  <a:lnTo>
                    <a:pt x="1224" y="840"/>
                  </a:lnTo>
                  <a:lnTo>
                    <a:pt x="1224" y="846"/>
                  </a:lnTo>
                  <a:lnTo>
                    <a:pt x="1224" y="852"/>
                  </a:lnTo>
                  <a:lnTo>
                    <a:pt x="1218" y="858"/>
                  </a:lnTo>
                  <a:lnTo>
                    <a:pt x="1218" y="870"/>
                  </a:lnTo>
                  <a:lnTo>
                    <a:pt x="1212" y="870"/>
                  </a:lnTo>
                  <a:lnTo>
                    <a:pt x="1212" y="876"/>
                  </a:lnTo>
                  <a:lnTo>
                    <a:pt x="1206" y="888"/>
                  </a:lnTo>
                  <a:lnTo>
                    <a:pt x="1200" y="882"/>
                  </a:lnTo>
                  <a:lnTo>
                    <a:pt x="1194" y="888"/>
                  </a:lnTo>
                  <a:lnTo>
                    <a:pt x="1188" y="894"/>
                  </a:lnTo>
                  <a:lnTo>
                    <a:pt x="1182" y="894"/>
                  </a:lnTo>
                  <a:lnTo>
                    <a:pt x="1182" y="900"/>
                  </a:lnTo>
                  <a:lnTo>
                    <a:pt x="1176" y="900"/>
                  </a:lnTo>
                  <a:lnTo>
                    <a:pt x="1170" y="894"/>
                  </a:lnTo>
                  <a:lnTo>
                    <a:pt x="1164" y="900"/>
                  </a:lnTo>
                  <a:lnTo>
                    <a:pt x="1158" y="900"/>
                  </a:lnTo>
                  <a:lnTo>
                    <a:pt x="1152" y="900"/>
                  </a:lnTo>
                  <a:lnTo>
                    <a:pt x="1140" y="900"/>
                  </a:lnTo>
                  <a:lnTo>
                    <a:pt x="1134" y="900"/>
                  </a:lnTo>
                  <a:lnTo>
                    <a:pt x="1128" y="906"/>
                  </a:lnTo>
                  <a:lnTo>
                    <a:pt x="1110" y="906"/>
                  </a:lnTo>
                  <a:lnTo>
                    <a:pt x="1104" y="906"/>
                  </a:lnTo>
                  <a:lnTo>
                    <a:pt x="1098" y="906"/>
                  </a:lnTo>
                  <a:lnTo>
                    <a:pt x="1092" y="912"/>
                  </a:lnTo>
                  <a:lnTo>
                    <a:pt x="1080" y="918"/>
                  </a:lnTo>
                  <a:lnTo>
                    <a:pt x="1068" y="930"/>
                  </a:lnTo>
                  <a:lnTo>
                    <a:pt x="1062" y="930"/>
                  </a:lnTo>
                  <a:lnTo>
                    <a:pt x="1056" y="930"/>
                  </a:lnTo>
                  <a:lnTo>
                    <a:pt x="1050" y="930"/>
                  </a:lnTo>
                  <a:lnTo>
                    <a:pt x="1050" y="936"/>
                  </a:lnTo>
                  <a:lnTo>
                    <a:pt x="1038" y="942"/>
                  </a:lnTo>
                  <a:lnTo>
                    <a:pt x="1032" y="948"/>
                  </a:lnTo>
                  <a:lnTo>
                    <a:pt x="1026" y="954"/>
                  </a:lnTo>
                  <a:lnTo>
                    <a:pt x="1020" y="960"/>
                  </a:lnTo>
                  <a:lnTo>
                    <a:pt x="1014" y="966"/>
                  </a:lnTo>
                  <a:lnTo>
                    <a:pt x="1002" y="966"/>
                  </a:lnTo>
                  <a:lnTo>
                    <a:pt x="990" y="978"/>
                  </a:lnTo>
                  <a:lnTo>
                    <a:pt x="984" y="978"/>
                  </a:lnTo>
                  <a:lnTo>
                    <a:pt x="978" y="984"/>
                  </a:lnTo>
                  <a:lnTo>
                    <a:pt x="972" y="984"/>
                  </a:lnTo>
                  <a:lnTo>
                    <a:pt x="978" y="990"/>
                  </a:lnTo>
                  <a:lnTo>
                    <a:pt x="972" y="996"/>
                  </a:lnTo>
                  <a:lnTo>
                    <a:pt x="978" y="1002"/>
                  </a:lnTo>
                  <a:lnTo>
                    <a:pt x="1002" y="1002"/>
                  </a:lnTo>
                  <a:lnTo>
                    <a:pt x="1002" y="1008"/>
                  </a:lnTo>
                  <a:lnTo>
                    <a:pt x="1008" y="1020"/>
                  </a:lnTo>
                  <a:lnTo>
                    <a:pt x="1002" y="1026"/>
                  </a:lnTo>
                  <a:lnTo>
                    <a:pt x="1002" y="1032"/>
                  </a:lnTo>
                  <a:lnTo>
                    <a:pt x="1002" y="1050"/>
                  </a:lnTo>
                  <a:lnTo>
                    <a:pt x="1002" y="1056"/>
                  </a:lnTo>
                  <a:lnTo>
                    <a:pt x="1008" y="1062"/>
                  </a:lnTo>
                  <a:lnTo>
                    <a:pt x="1008" y="1074"/>
                  </a:lnTo>
                  <a:lnTo>
                    <a:pt x="1008" y="1086"/>
                  </a:lnTo>
                  <a:lnTo>
                    <a:pt x="996" y="1092"/>
                  </a:lnTo>
                  <a:lnTo>
                    <a:pt x="996" y="1098"/>
                  </a:lnTo>
                  <a:lnTo>
                    <a:pt x="996" y="1104"/>
                  </a:lnTo>
                  <a:lnTo>
                    <a:pt x="990" y="1110"/>
                  </a:lnTo>
                  <a:lnTo>
                    <a:pt x="990" y="1116"/>
                  </a:lnTo>
                  <a:lnTo>
                    <a:pt x="996" y="1122"/>
                  </a:lnTo>
                  <a:lnTo>
                    <a:pt x="990" y="1128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96" y="1140"/>
                  </a:lnTo>
                  <a:lnTo>
                    <a:pt x="996" y="1146"/>
                  </a:lnTo>
                  <a:lnTo>
                    <a:pt x="996" y="1152"/>
                  </a:lnTo>
                  <a:lnTo>
                    <a:pt x="996" y="1158"/>
                  </a:lnTo>
                  <a:lnTo>
                    <a:pt x="996" y="1164"/>
                  </a:lnTo>
                  <a:lnTo>
                    <a:pt x="996" y="1170"/>
                  </a:lnTo>
                  <a:lnTo>
                    <a:pt x="996" y="1176"/>
                  </a:lnTo>
                  <a:lnTo>
                    <a:pt x="990" y="1182"/>
                  </a:lnTo>
                  <a:lnTo>
                    <a:pt x="990" y="1188"/>
                  </a:lnTo>
                  <a:lnTo>
                    <a:pt x="984" y="1200"/>
                  </a:lnTo>
                  <a:lnTo>
                    <a:pt x="990" y="1206"/>
                  </a:lnTo>
                  <a:lnTo>
                    <a:pt x="990" y="1212"/>
                  </a:lnTo>
                  <a:lnTo>
                    <a:pt x="990" y="1218"/>
                  </a:lnTo>
                  <a:lnTo>
                    <a:pt x="978" y="1230"/>
                  </a:lnTo>
                  <a:lnTo>
                    <a:pt x="972" y="1236"/>
                  </a:lnTo>
                  <a:lnTo>
                    <a:pt x="972" y="1242"/>
                  </a:lnTo>
                  <a:lnTo>
                    <a:pt x="966" y="1248"/>
                  </a:lnTo>
                  <a:lnTo>
                    <a:pt x="960" y="1260"/>
                  </a:lnTo>
                  <a:lnTo>
                    <a:pt x="954" y="1266"/>
                  </a:lnTo>
                  <a:lnTo>
                    <a:pt x="942" y="1278"/>
                  </a:lnTo>
                  <a:lnTo>
                    <a:pt x="936" y="1278"/>
                  </a:lnTo>
                  <a:lnTo>
                    <a:pt x="936" y="1284"/>
                  </a:lnTo>
                  <a:lnTo>
                    <a:pt x="936" y="1296"/>
                  </a:lnTo>
                  <a:lnTo>
                    <a:pt x="936" y="1302"/>
                  </a:lnTo>
                  <a:lnTo>
                    <a:pt x="942" y="1302"/>
                  </a:lnTo>
                  <a:lnTo>
                    <a:pt x="942" y="1308"/>
                  </a:lnTo>
                  <a:lnTo>
                    <a:pt x="936" y="1314"/>
                  </a:lnTo>
                  <a:lnTo>
                    <a:pt x="930" y="1320"/>
                  </a:lnTo>
                  <a:lnTo>
                    <a:pt x="930" y="1326"/>
                  </a:lnTo>
                  <a:lnTo>
                    <a:pt x="930" y="1332"/>
                  </a:lnTo>
                  <a:lnTo>
                    <a:pt x="936" y="1338"/>
                  </a:lnTo>
                  <a:lnTo>
                    <a:pt x="936" y="1344"/>
                  </a:lnTo>
                  <a:lnTo>
                    <a:pt x="942" y="1356"/>
                  </a:lnTo>
                  <a:lnTo>
                    <a:pt x="948" y="1368"/>
                  </a:lnTo>
                  <a:lnTo>
                    <a:pt x="942" y="1380"/>
                  </a:lnTo>
                  <a:lnTo>
                    <a:pt x="936" y="1386"/>
                  </a:lnTo>
                  <a:lnTo>
                    <a:pt x="930" y="1392"/>
                  </a:lnTo>
                  <a:lnTo>
                    <a:pt x="924" y="1392"/>
                  </a:lnTo>
                  <a:lnTo>
                    <a:pt x="918" y="1386"/>
                  </a:lnTo>
                  <a:lnTo>
                    <a:pt x="912" y="1386"/>
                  </a:lnTo>
                  <a:lnTo>
                    <a:pt x="906" y="1386"/>
                  </a:lnTo>
                  <a:lnTo>
                    <a:pt x="900" y="1386"/>
                  </a:lnTo>
                  <a:lnTo>
                    <a:pt x="900" y="1392"/>
                  </a:lnTo>
                  <a:lnTo>
                    <a:pt x="894" y="1392"/>
                  </a:lnTo>
                  <a:lnTo>
                    <a:pt x="888" y="1392"/>
                  </a:lnTo>
                  <a:lnTo>
                    <a:pt x="888" y="1398"/>
                  </a:lnTo>
                  <a:lnTo>
                    <a:pt x="882" y="1404"/>
                  </a:lnTo>
                  <a:lnTo>
                    <a:pt x="882" y="1416"/>
                  </a:lnTo>
                  <a:lnTo>
                    <a:pt x="882" y="1428"/>
                  </a:lnTo>
                  <a:lnTo>
                    <a:pt x="882" y="1434"/>
                  </a:lnTo>
                  <a:lnTo>
                    <a:pt x="870" y="1440"/>
                  </a:lnTo>
                  <a:lnTo>
                    <a:pt x="864" y="1452"/>
                  </a:lnTo>
                  <a:lnTo>
                    <a:pt x="870" y="1452"/>
                  </a:lnTo>
                  <a:lnTo>
                    <a:pt x="864" y="1458"/>
                  </a:lnTo>
                  <a:lnTo>
                    <a:pt x="858" y="1464"/>
                  </a:lnTo>
                  <a:lnTo>
                    <a:pt x="852" y="1464"/>
                  </a:lnTo>
                  <a:lnTo>
                    <a:pt x="846" y="1458"/>
                  </a:lnTo>
                  <a:lnTo>
                    <a:pt x="840" y="1458"/>
                  </a:lnTo>
                  <a:lnTo>
                    <a:pt x="828" y="1470"/>
                  </a:lnTo>
                  <a:lnTo>
                    <a:pt x="810" y="1482"/>
                  </a:lnTo>
                  <a:lnTo>
                    <a:pt x="804" y="1488"/>
                  </a:lnTo>
                  <a:lnTo>
                    <a:pt x="798" y="1488"/>
                  </a:lnTo>
                  <a:lnTo>
                    <a:pt x="792" y="1488"/>
                  </a:lnTo>
                  <a:lnTo>
                    <a:pt x="786" y="1488"/>
                  </a:lnTo>
                  <a:lnTo>
                    <a:pt x="768" y="1482"/>
                  </a:lnTo>
                  <a:lnTo>
                    <a:pt x="762" y="1476"/>
                  </a:lnTo>
                  <a:lnTo>
                    <a:pt x="744" y="1476"/>
                  </a:lnTo>
                  <a:lnTo>
                    <a:pt x="738" y="1476"/>
                  </a:lnTo>
                  <a:lnTo>
                    <a:pt x="732" y="1476"/>
                  </a:lnTo>
                  <a:lnTo>
                    <a:pt x="726" y="1482"/>
                  </a:lnTo>
                  <a:lnTo>
                    <a:pt x="726" y="1488"/>
                  </a:lnTo>
                  <a:lnTo>
                    <a:pt x="726" y="1494"/>
                  </a:lnTo>
                  <a:lnTo>
                    <a:pt x="726" y="1500"/>
                  </a:lnTo>
                  <a:lnTo>
                    <a:pt x="720" y="1500"/>
                  </a:lnTo>
                  <a:lnTo>
                    <a:pt x="720" y="1506"/>
                  </a:lnTo>
                  <a:lnTo>
                    <a:pt x="714" y="1512"/>
                  </a:lnTo>
                  <a:lnTo>
                    <a:pt x="714" y="1518"/>
                  </a:lnTo>
                  <a:lnTo>
                    <a:pt x="708" y="1518"/>
                  </a:lnTo>
                  <a:lnTo>
                    <a:pt x="708" y="1530"/>
                  </a:lnTo>
                  <a:lnTo>
                    <a:pt x="708" y="1536"/>
                  </a:lnTo>
                  <a:lnTo>
                    <a:pt x="708" y="1542"/>
                  </a:lnTo>
                  <a:lnTo>
                    <a:pt x="696" y="1554"/>
                  </a:lnTo>
                  <a:lnTo>
                    <a:pt x="690" y="1560"/>
                  </a:lnTo>
                  <a:lnTo>
                    <a:pt x="684" y="1566"/>
                  </a:lnTo>
                  <a:lnTo>
                    <a:pt x="672" y="1566"/>
                  </a:lnTo>
                  <a:lnTo>
                    <a:pt x="666" y="1566"/>
                  </a:lnTo>
                  <a:lnTo>
                    <a:pt x="660" y="1566"/>
                  </a:lnTo>
                  <a:lnTo>
                    <a:pt x="654" y="1572"/>
                  </a:lnTo>
                  <a:lnTo>
                    <a:pt x="654" y="1578"/>
                  </a:lnTo>
                  <a:lnTo>
                    <a:pt x="642" y="1578"/>
                  </a:lnTo>
                  <a:lnTo>
                    <a:pt x="630" y="1572"/>
                  </a:lnTo>
                  <a:lnTo>
                    <a:pt x="624" y="1572"/>
                  </a:lnTo>
                  <a:lnTo>
                    <a:pt x="618" y="1578"/>
                  </a:lnTo>
                  <a:lnTo>
                    <a:pt x="612" y="1584"/>
                  </a:lnTo>
                  <a:lnTo>
                    <a:pt x="606" y="1584"/>
                  </a:lnTo>
                  <a:lnTo>
                    <a:pt x="600" y="1590"/>
                  </a:lnTo>
                  <a:lnTo>
                    <a:pt x="594" y="1590"/>
                  </a:lnTo>
                  <a:lnTo>
                    <a:pt x="588" y="1590"/>
                  </a:lnTo>
                  <a:lnTo>
                    <a:pt x="582" y="1590"/>
                  </a:lnTo>
                  <a:lnTo>
                    <a:pt x="582" y="1596"/>
                  </a:lnTo>
                  <a:lnTo>
                    <a:pt x="576" y="1614"/>
                  </a:lnTo>
                  <a:lnTo>
                    <a:pt x="570" y="1632"/>
                  </a:lnTo>
                  <a:lnTo>
                    <a:pt x="570" y="1638"/>
                  </a:lnTo>
                  <a:lnTo>
                    <a:pt x="576" y="1644"/>
                  </a:lnTo>
                  <a:lnTo>
                    <a:pt x="576" y="1650"/>
                  </a:lnTo>
                  <a:lnTo>
                    <a:pt x="582" y="1662"/>
                  </a:lnTo>
                  <a:lnTo>
                    <a:pt x="582" y="1668"/>
                  </a:lnTo>
                  <a:lnTo>
                    <a:pt x="588" y="1692"/>
                  </a:lnTo>
                  <a:lnTo>
                    <a:pt x="594" y="1728"/>
                  </a:lnTo>
                  <a:lnTo>
                    <a:pt x="594" y="1752"/>
                  </a:lnTo>
                  <a:lnTo>
                    <a:pt x="594" y="1764"/>
                  </a:lnTo>
                  <a:lnTo>
                    <a:pt x="582" y="1770"/>
                  </a:lnTo>
                  <a:lnTo>
                    <a:pt x="582" y="1782"/>
                  </a:lnTo>
                  <a:lnTo>
                    <a:pt x="576" y="1788"/>
                  </a:lnTo>
                  <a:lnTo>
                    <a:pt x="570" y="1794"/>
                  </a:lnTo>
                  <a:lnTo>
                    <a:pt x="564" y="1806"/>
                  </a:lnTo>
                  <a:lnTo>
                    <a:pt x="564" y="1812"/>
                  </a:lnTo>
                  <a:lnTo>
                    <a:pt x="558" y="1812"/>
                  </a:lnTo>
                  <a:lnTo>
                    <a:pt x="564" y="1824"/>
                  </a:lnTo>
                  <a:lnTo>
                    <a:pt x="564" y="1830"/>
                  </a:lnTo>
                  <a:lnTo>
                    <a:pt x="564" y="1842"/>
                  </a:lnTo>
                  <a:lnTo>
                    <a:pt x="564" y="1848"/>
                  </a:lnTo>
                  <a:lnTo>
                    <a:pt x="564" y="1854"/>
                  </a:lnTo>
                  <a:lnTo>
                    <a:pt x="570" y="1860"/>
                  </a:lnTo>
                  <a:lnTo>
                    <a:pt x="570" y="1866"/>
                  </a:lnTo>
                  <a:lnTo>
                    <a:pt x="570" y="1872"/>
                  </a:lnTo>
                  <a:lnTo>
                    <a:pt x="570" y="1878"/>
                  </a:lnTo>
                  <a:lnTo>
                    <a:pt x="564" y="1890"/>
                  </a:lnTo>
                  <a:lnTo>
                    <a:pt x="558" y="1896"/>
                  </a:lnTo>
                  <a:lnTo>
                    <a:pt x="552" y="1908"/>
                  </a:lnTo>
                  <a:lnTo>
                    <a:pt x="546" y="1914"/>
                  </a:lnTo>
                  <a:lnTo>
                    <a:pt x="540" y="1920"/>
                  </a:lnTo>
                  <a:lnTo>
                    <a:pt x="534" y="1932"/>
                  </a:lnTo>
                  <a:lnTo>
                    <a:pt x="528" y="1944"/>
                  </a:lnTo>
                  <a:lnTo>
                    <a:pt x="516" y="1950"/>
                  </a:lnTo>
                  <a:lnTo>
                    <a:pt x="510" y="1956"/>
                  </a:lnTo>
                  <a:lnTo>
                    <a:pt x="498" y="1962"/>
                  </a:lnTo>
                  <a:lnTo>
                    <a:pt x="492" y="1974"/>
                  </a:lnTo>
                  <a:lnTo>
                    <a:pt x="486" y="1980"/>
                  </a:lnTo>
                  <a:lnTo>
                    <a:pt x="480" y="1998"/>
                  </a:lnTo>
                  <a:lnTo>
                    <a:pt x="474" y="2004"/>
                  </a:lnTo>
                  <a:lnTo>
                    <a:pt x="474" y="2010"/>
                  </a:lnTo>
                  <a:lnTo>
                    <a:pt x="474" y="2016"/>
                  </a:lnTo>
                  <a:lnTo>
                    <a:pt x="468" y="2016"/>
                  </a:lnTo>
                  <a:lnTo>
                    <a:pt x="468" y="2028"/>
                  </a:lnTo>
                  <a:lnTo>
                    <a:pt x="462" y="2034"/>
                  </a:lnTo>
                  <a:lnTo>
                    <a:pt x="456" y="2040"/>
                  </a:lnTo>
                  <a:lnTo>
                    <a:pt x="456" y="2052"/>
                  </a:lnTo>
                  <a:lnTo>
                    <a:pt x="450" y="2058"/>
                  </a:lnTo>
                  <a:lnTo>
                    <a:pt x="450" y="2070"/>
                  </a:lnTo>
                  <a:lnTo>
                    <a:pt x="450" y="2076"/>
                  </a:lnTo>
                  <a:lnTo>
                    <a:pt x="450" y="2082"/>
                  </a:lnTo>
                  <a:lnTo>
                    <a:pt x="444" y="2088"/>
                  </a:lnTo>
                  <a:lnTo>
                    <a:pt x="438" y="2094"/>
                  </a:lnTo>
                  <a:lnTo>
                    <a:pt x="444" y="2100"/>
                  </a:lnTo>
                  <a:lnTo>
                    <a:pt x="444" y="2124"/>
                  </a:lnTo>
                  <a:lnTo>
                    <a:pt x="444" y="2142"/>
                  </a:lnTo>
                  <a:lnTo>
                    <a:pt x="444" y="2160"/>
                  </a:lnTo>
                  <a:lnTo>
                    <a:pt x="450" y="2166"/>
                  </a:lnTo>
                  <a:lnTo>
                    <a:pt x="456" y="2178"/>
                  </a:lnTo>
                  <a:lnTo>
                    <a:pt x="438" y="2184"/>
                  </a:lnTo>
                  <a:lnTo>
                    <a:pt x="432" y="2184"/>
                  </a:lnTo>
                  <a:lnTo>
                    <a:pt x="426" y="2190"/>
                  </a:lnTo>
                  <a:lnTo>
                    <a:pt x="408" y="2190"/>
                  </a:lnTo>
                  <a:lnTo>
                    <a:pt x="402" y="2196"/>
                  </a:lnTo>
                  <a:lnTo>
                    <a:pt x="396" y="2196"/>
                  </a:lnTo>
                  <a:lnTo>
                    <a:pt x="384" y="2208"/>
                  </a:lnTo>
                  <a:lnTo>
                    <a:pt x="378" y="2220"/>
                  </a:lnTo>
                  <a:lnTo>
                    <a:pt x="366" y="2232"/>
                  </a:lnTo>
                  <a:lnTo>
                    <a:pt x="366" y="2238"/>
                  </a:lnTo>
                  <a:lnTo>
                    <a:pt x="360" y="2238"/>
                  </a:lnTo>
                  <a:lnTo>
                    <a:pt x="360" y="2244"/>
                  </a:lnTo>
                  <a:lnTo>
                    <a:pt x="354" y="2244"/>
                  </a:lnTo>
                  <a:lnTo>
                    <a:pt x="330" y="227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5" name="Freeform 10">
              <a:extLst>
                <a:ext uri="{FF2B5EF4-FFF2-40B4-BE49-F238E27FC236}">
                  <a16:creationId xmlns:a16="http://schemas.microsoft.com/office/drawing/2014/main" id="{3AD2FC58-3490-4B7F-A8BE-621F3CDD69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1996" y="1931890"/>
              <a:ext cx="805029" cy="1037736"/>
            </a:xfrm>
            <a:custGeom>
              <a:avLst/>
              <a:gdLst>
                <a:gd name="T0" fmla="*/ 124 w 1512"/>
                <a:gd name="T1" fmla="*/ 76 h 1956"/>
                <a:gd name="T2" fmla="*/ 120 w 1512"/>
                <a:gd name="T3" fmla="*/ 80 h 1956"/>
                <a:gd name="T4" fmla="*/ 106 w 1512"/>
                <a:gd name="T5" fmla="*/ 84 h 1956"/>
                <a:gd name="T6" fmla="*/ 105 w 1512"/>
                <a:gd name="T7" fmla="*/ 91 h 1956"/>
                <a:gd name="T8" fmla="*/ 101 w 1512"/>
                <a:gd name="T9" fmla="*/ 99 h 1956"/>
                <a:gd name="T10" fmla="*/ 105 w 1512"/>
                <a:gd name="T11" fmla="*/ 107 h 1956"/>
                <a:gd name="T12" fmla="*/ 119 w 1512"/>
                <a:gd name="T13" fmla="*/ 116 h 1956"/>
                <a:gd name="T14" fmla="*/ 121 w 1512"/>
                <a:gd name="T15" fmla="*/ 128 h 1956"/>
                <a:gd name="T16" fmla="*/ 112 w 1512"/>
                <a:gd name="T17" fmla="*/ 136 h 1956"/>
                <a:gd name="T18" fmla="*/ 119 w 1512"/>
                <a:gd name="T19" fmla="*/ 143 h 1956"/>
                <a:gd name="T20" fmla="*/ 126 w 1512"/>
                <a:gd name="T21" fmla="*/ 148 h 1956"/>
                <a:gd name="T22" fmla="*/ 126 w 1512"/>
                <a:gd name="T23" fmla="*/ 160 h 1956"/>
                <a:gd name="T24" fmla="*/ 104 w 1512"/>
                <a:gd name="T25" fmla="*/ 170 h 1956"/>
                <a:gd name="T26" fmla="*/ 99 w 1512"/>
                <a:gd name="T27" fmla="*/ 164 h 1956"/>
                <a:gd name="T28" fmla="*/ 73 w 1512"/>
                <a:gd name="T29" fmla="*/ 152 h 1956"/>
                <a:gd name="T30" fmla="*/ 56 w 1512"/>
                <a:gd name="T31" fmla="*/ 165 h 1956"/>
                <a:gd name="T32" fmla="*/ 33 w 1512"/>
                <a:gd name="T33" fmla="*/ 162 h 1956"/>
                <a:gd name="T34" fmla="*/ 25 w 1512"/>
                <a:gd name="T35" fmla="*/ 155 h 1956"/>
                <a:gd name="T36" fmla="*/ 31 w 1512"/>
                <a:gd name="T37" fmla="*/ 142 h 1956"/>
                <a:gd name="T38" fmla="*/ 24 w 1512"/>
                <a:gd name="T39" fmla="*/ 137 h 1956"/>
                <a:gd name="T40" fmla="*/ 14 w 1512"/>
                <a:gd name="T41" fmla="*/ 136 h 1956"/>
                <a:gd name="T42" fmla="*/ 11 w 1512"/>
                <a:gd name="T43" fmla="*/ 125 h 1956"/>
                <a:gd name="T44" fmla="*/ 3 w 1512"/>
                <a:gd name="T45" fmla="*/ 116 h 1956"/>
                <a:gd name="T46" fmla="*/ 2 w 1512"/>
                <a:gd name="T47" fmla="*/ 106 h 1956"/>
                <a:gd name="T48" fmla="*/ 5 w 1512"/>
                <a:gd name="T49" fmla="*/ 101 h 1956"/>
                <a:gd name="T50" fmla="*/ 2 w 1512"/>
                <a:gd name="T51" fmla="*/ 95 h 1956"/>
                <a:gd name="T52" fmla="*/ 1 w 1512"/>
                <a:gd name="T53" fmla="*/ 88 h 1956"/>
                <a:gd name="T54" fmla="*/ 4 w 1512"/>
                <a:gd name="T55" fmla="*/ 80 h 1956"/>
                <a:gd name="T56" fmla="*/ 12 w 1512"/>
                <a:gd name="T57" fmla="*/ 73 h 1956"/>
                <a:gd name="T58" fmla="*/ 16 w 1512"/>
                <a:gd name="T59" fmla="*/ 68 h 1956"/>
                <a:gd name="T60" fmla="*/ 22 w 1512"/>
                <a:gd name="T61" fmla="*/ 66 h 1956"/>
                <a:gd name="T62" fmla="*/ 32 w 1512"/>
                <a:gd name="T63" fmla="*/ 65 h 1956"/>
                <a:gd name="T64" fmla="*/ 45 w 1512"/>
                <a:gd name="T65" fmla="*/ 66 h 1956"/>
                <a:gd name="T66" fmla="*/ 50 w 1512"/>
                <a:gd name="T67" fmla="*/ 70 h 1956"/>
                <a:gd name="T68" fmla="*/ 55 w 1512"/>
                <a:gd name="T69" fmla="*/ 70 h 1956"/>
                <a:gd name="T70" fmla="*/ 63 w 1512"/>
                <a:gd name="T71" fmla="*/ 71 h 1956"/>
                <a:gd name="T72" fmla="*/ 61 w 1512"/>
                <a:gd name="T73" fmla="*/ 75 h 1956"/>
                <a:gd name="T74" fmla="*/ 66 w 1512"/>
                <a:gd name="T75" fmla="*/ 84 h 1956"/>
                <a:gd name="T76" fmla="*/ 81 w 1512"/>
                <a:gd name="T77" fmla="*/ 85 h 1956"/>
                <a:gd name="T78" fmla="*/ 83 w 1512"/>
                <a:gd name="T79" fmla="*/ 79 h 1956"/>
                <a:gd name="T80" fmla="*/ 89 w 1512"/>
                <a:gd name="T81" fmla="*/ 77 h 1956"/>
                <a:gd name="T82" fmla="*/ 89 w 1512"/>
                <a:gd name="T83" fmla="*/ 73 h 1956"/>
                <a:gd name="T84" fmla="*/ 83 w 1512"/>
                <a:gd name="T85" fmla="*/ 72 h 1956"/>
                <a:gd name="T86" fmla="*/ 77 w 1512"/>
                <a:gd name="T87" fmla="*/ 70 h 1956"/>
                <a:gd name="T88" fmla="*/ 71 w 1512"/>
                <a:gd name="T89" fmla="*/ 70 h 1956"/>
                <a:gd name="T90" fmla="*/ 59 w 1512"/>
                <a:gd name="T91" fmla="*/ 58 h 1956"/>
                <a:gd name="T92" fmla="*/ 54 w 1512"/>
                <a:gd name="T93" fmla="*/ 45 h 1956"/>
                <a:gd name="T94" fmla="*/ 49 w 1512"/>
                <a:gd name="T95" fmla="*/ 42 h 1956"/>
                <a:gd name="T96" fmla="*/ 51 w 1512"/>
                <a:gd name="T97" fmla="*/ 39 h 1956"/>
                <a:gd name="T98" fmla="*/ 55 w 1512"/>
                <a:gd name="T99" fmla="*/ 36 h 1956"/>
                <a:gd name="T100" fmla="*/ 63 w 1512"/>
                <a:gd name="T101" fmla="*/ 34 h 1956"/>
                <a:gd name="T102" fmla="*/ 68 w 1512"/>
                <a:gd name="T103" fmla="*/ 32 h 1956"/>
                <a:gd name="T104" fmla="*/ 73 w 1512"/>
                <a:gd name="T105" fmla="*/ 29 h 1956"/>
                <a:gd name="T106" fmla="*/ 78 w 1512"/>
                <a:gd name="T107" fmla="*/ 27 h 1956"/>
                <a:gd name="T108" fmla="*/ 81 w 1512"/>
                <a:gd name="T109" fmla="*/ 17 h 1956"/>
                <a:gd name="T110" fmla="*/ 84 w 1512"/>
                <a:gd name="T111" fmla="*/ 6 h 1956"/>
                <a:gd name="T112" fmla="*/ 95 w 1512"/>
                <a:gd name="T113" fmla="*/ 6 h 1956"/>
                <a:gd name="T114" fmla="*/ 99 w 1512"/>
                <a:gd name="T115" fmla="*/ 3 h 1956"/>
                <a:gd name="T116" fmla="*/ 103 w 1512"/>
                <a:gd name="T117" fmla="*/ 0 h 1956"/>
                <a:gd name="T118" fmla="*/ 110 w 1512"/>
                <a:gd name="T119" fmla="*/ 4 h 1956"/>
                <a:gd name="T120" fmla="*/ 114 w 1512"/>
                <a:gd name="T121" fmla="*/ 33 h 1956"/>
                <a:gd name="T122" fmla="*/ 117 w 1512"/>
                <a:gd name="T123" fmla="*/ 41 h 1956"/>
                <a:gd name="T124" fmla="*/ 119 w 1512"/>
                <a:gd name="T125" fmla="*/ 62 h 195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12"/>
                <a:gd name="T190" fmla="*/ 0 h 1956"/>
                <a:gd name="T191" fmla="*/ 1512 w 1512"/>
                <a:gd name="T192" fmla="*/ 1956 h 195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12" h="1956">
                  <a:moveTo>
                    <a:pt x="1512" y="780"/>
                  </a:moveTo>
                  <a:lnTo>
                    <a:pt x="1482" y="786"/>
                  </a:lnTo>
                  <a:lnTo>
                    <a:pt x="1476" y="792"/>
                  </a:lnTo>
                  <a:lnTo>
                    <a:pt x="1476" y="798"/>
                  </a:lnTo>
                  <a:lnTo>
                    <a:pt x="1476" y="804"/>
                  </a:lnTo>
                  <a:lnTo>
                    <a:pt x="1476" y="816"/>
                  </a:lnTo>
                  <a:lnTo>
                    <a:pt x="1470" y="834"/>
                  </a:lnTo>
                  <a:lnTo>
                    <a:pt x="1464" y="840"/>
                  </a:lnTo>
                  <a:lnTo>
                    <a:pt x="1452" y="852"/>
                  </a:lnTo>
                  <a:lnTo>
                    <a:pt x="1440" y="864"/>
                  </a:lnTo>
                  <a:lnTo>
                    <a:pt x="1434" y="864"/>
                  </a:lnTo>
                  <a:lnTo>
                    <a:pt x="1434" y="870"/>
                  </a:lnTo>
                  <a:lnTo>
                    <a:pt x="1422" y="876"/>
                  </a:lnTo>
                  <a:lnTo>
                    <a:pt x="1410" y="894"/>
                  </a:lnTo>
                  <a:lnTo>
                    <a:pt x="1404" y="894"/>
                  </a:lnTo>
                  <a:lnTo>
                    <a:pt x="1404" y="900"/>
                  </a:lnTo>
                  <a:lnTo>
                    <a:pt x="1404" y="906"/>
                  </a:lnTo>
                  <a:lnTo>
                    <a:pt x="1410" y="918"/>
                  </a:lnTo>
                  <a:lnTo>
                    <a:pt x="1404" y="918"/>
                  </a:lnTo>
                  <a:lnTo>
                    <a:pt x="1392" y="924"/>
                  </a:lnTo>
                  <a:lnTo>
                    <a:pt x="1386" y="924"/>
                  </a:lnTo>
                  <a:lnTo>
                    <a:pt x="1380" y="924"/>
                  </a:lnTo>
                  <a:lnTo>
                    <a:pt x="1380" y="930"/>
                  </a:lnTo>
                  <a:lnTo>
                    <a:pt x="1374" y="930"/>
                  </a:lnTo>
                  <a:lnTo>
                    <a:pt x="1374" y="924"/>
                  </a:lnTo>
                  <a:lnTo>
                    <a:pt x="1374" y="918"/>
                  </a:lnTo>
                  <a:lnTo>
                    <a:pt x="1368" y="912"/>
                  </a:lnTo>
                  <a:lnTo>
                    <a:pt x="1368" y="906"/>
                  </a:lnTo>
                  <a:lnTo>
                    <a:pt x="1368" y="900"/>
                  </a:lnTo>
                  <a:lnTo>
                    <a:pt x="1368" y="894"/>
                  </a:lnTo>
                  <a:lnTo>
                    <a:pt x="1362" y="894"/>
                  </a:lnTo>
                  <a:lnTo>
                    <a:pt x="1326" y="894"/>
                  </a:lnTo>
                  <a:lnTo>
                    <a:pt x="1302" y="906"/>
                  </a:lnTo>
                  <a:lnTo>
                    <a:pt x="1284" y="918"/>
                  </a:lnTo>
                  <a:lnTo>
                    <a:pt x="1284" y="924"/>
                  </a:lnTo>
                  <a:lnTo>
                    <a:pt x="1278" y="930"/>
                  </a:lnTo>
                  <a:lnTo>
                    <a:pt x="1266" y="930"/>
                  </a:lnTo>
                  <a:lnTo>
                    <a:pt x="1236" y="954"/>
                  </a:lnTo>
                  <a:lnTo>
                    <a:pt x="1212" y="972"/>
                  </a:lnTo>
                  <a:lnTo>
                    <a:pt x="1218" y="996"/>
                  </a:lnTo>
                  <a:lnTo>
                    <a:pt x="1224" y="1008"/>
                  </a:lnTo>
                  <a:lnTo>
                    <a:pt x="1236" y="1014"/>
                  </a:lnTo>
                  <a:lnTo>
                    <a:pt x="1242" y="1026"/>
                  </a:lnTo>
                  <a:lnTo>
                    <a:pt x="1248" y="1038"/>
                  </a:lnTo>
                  <a:lnTo>
                    <a:pt x="1260" y="1050"/>
                  </a:lnTo>
                  <a:lnTo>
                    <a:pt x="1260" y="1056"/>
                  </a:lnTo>
                  <a:lnTo>
                    <a:pt x="1260" y="1074"/>
                  </a:lnTo>
                  <a:lnTo>
                    <a:pt x="1254" y="1074"/>
                  </a:lnTo>
                  <a:lnTo>
                    <a:pt x="1236" y="1056"/>
                  </a:lnTo>
                  <a:lnTo>
                    <a:pt x="1224" y="1050"/>
                  </a:lnTo>
                  <a:lnTo>
                    <a:pt x="1212" y="1050"/>
                  </a:lnTo>
                  <a:lnTo>
                    <a:pt x="1206" y="1050"/>
                  </a:lnTo>
                  <a:lnTo>
                    <a:pt x="1200" y="1056"/>
                  </a:lnTo>
                  <a:lnTo>
                    <a:pt x="1194" y="1062"/>
                  </a:lnTo>
                  <a:lnTo>
                    <a:pt x="1188" y="1068"/>
                  </a:lnTo>
                  <a:lnTo>
                    <a:pt x="1188" y="1074"/>
                  </a:lnTo>
                  <a:lnTo>
                    <a:pt x="1176" y="1086"/>
                  </a:lnTo>
                  <a:lnTo>
                    <a:pt x="1170" y="1086"/>
                  </a:lnTo>
                  <a:lnTo>
                    <a:pt x="1170" y="1092"/>
                  </a:lnTo>
                  <a:lnTo>
                    <a:pt x="1164" y="1098"/>
                  </a:lnTo>
                  <a:lnTo>
                    <a:pt x="1158" y="1110"/>
                  </a:lnTo>
                  <a:lnTo>
                    <a:pt x="1152" y="1116"/>
                  </a:lnTo>
                  <a:lnTo>
                    <a:pt x="1152" y="1122"/>
                  </a:lnTo>
                  <a:lnTo>
                    <a:pt x="1146" y="1128"/>
                  </a:lnTo>
                  <a:lnTo>
                    <a:pt x="1152" y="1140"/>
                  </a:lnTo>
                  <a:lnTo>
                    <a:pt x="1158" y="1140"/>
                  </a:lnTo>
                  <a:lnTo>
                    <a:pt x="1164" y="1146"/>
                  </a:lnTo>
                  <a:lnTo>
                    <a:pt x="1164" y="1152"/>
                  </a:lnTo>
                  <a:lnTo>
                    <a:pt x="1170" y="1164"/>
                  </a:lnTo>
                  <a:lnTo>
                    <a:pt x="1164" y="1176"/>
                  </a:lnTo>
                  <a:lnTo>
                    <a:pt x="1170" y="1182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82" y="1218"/>
                  </a:lnTo>
                  <a:lnTo>
                    <a:pt x="1188" y="1218"/>
                  </a:lnTo>
                  <a:lnTo>
                    <a:pt x="1194" y="1218"/>
                  </a:lnTo>
                  <a:lnTo>
                    <a:pt x="1194" y="1224"/>
                  </a:lnTo>
                  <a:lnTo>
                    <a:pt x="1200" y="1230"/>
                  </a:lnTo>
                  <a:lnTo>
                    <a:pt x="1200" y="1248"/>
                  </a:lnTo>
                  <a:lnTo>
                    <a:pt x="1212" y="1266"/>
                  </a:lnTo>
                  <a:lnTo>
                    <a:pt x="1218" y="1278"/>
                  </a:lnTo>
                  <a:lnTo>
                    <a:pt x="1224" y="1284"/>
                  </a:lnTo>
                  <a:lnTo>
                    <a:pt x="1236" y="1296"/>
                  </a:lnTo>
                  <a:lnTo>
                    <a:pt x="1242" y="1302"/>
                  </a:lnTo>
                  <a:lnTo>
                    <a:pt x="1242" y="1308"/>
                  </a:lnTo>
                  <a:lnTo>
                    <a:pt x="1272" y="1308"/>
                  </a:lnTo>
                  <a:lnTo>
                    <a:pt x="1296" y="1314"/>
                  </a:lnTo>
                  <a:lnTo>
                    <a:pt x="1320" y="1320"/>
                  </a:lnTo>
                  <a:lnTo>
                    <a:pt x="1338" y="1320"/>
                  </a:lnTo>
                  <a:lnTo>
                    <a:pt x="1356" y="1332"/>
                  </a:lnTo>
                  <a:lnTo>
                    <a:pt x="1368" y="1344"/>
                  </a:lnTo>
                  <a:lnTo>
                    <a:pt x="1374" y="1362"/>
                  </a:lnTo>
                  <a:lnTo>
                    <a:pt x="1368" y="1362"/>
                  </a:lnTo>
                  <a:lnTo>
                    <a:pt x="1368" y="1398"/>
                  </a:lnTo>
                  <a:lnTo>
                    <a:pt x="1368" y="1410"/>
                  </a:lnTo>
                  <a:lnTo>
                    <a:pt x="1368" y="1428"/>
                  </a:lnTo>
                  <a:lnTo>
                    <a:pt x="1368" y="1434"/>
                  </a:lnTo>
                  <a:lnTo>
                    <a:pt x="1368" y="1440"/>
                  </a:lnTo>
                  <a:lnTo>
                    <a:pt x="1374" y="1446"/>
                  </a:lnTo>
                  <a:lnTo>
                    <a:pt x="1374" y="1452"/>
                  </a:lnTo>
                  <a:lnTo>
                    <a:pt x="1380" y="1458"/>
                  </a:lnTo>
                  <a:lnTo>
                    <a:pt x="1386" y="1464"/>
                  </a:lnTo>
                  <a:lnTo>
                    <a:pt x="1386" y="1470"/>
                  </a:lnTo>
                  <a:lnTo>
                    <a:pt x="1380" y="1476"/>
                  </a:lnTo>
                  <a:lnTo>
                    <a:pt x="1374" y="1482"/>
                  </a:lnTo>
                  <a:lnTo>
                    <a:pt x="1362" y="1500"/>
                  </a:lnTo>
                  <a:lnTo>
                    <a:pt x="1362" y="1506"/>
                  </a:lnTo>
                  <a:lnTo>
                    <a:pt x="1362" y="1512"/>
                  </a:lnTo>
                  <a:lnTo>
                    <a:pt x="1362" y="1518"/>
                  </a:lnTo>
                  <a:lnTo>
                    <a:pt x="1362" y="1524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38" y="1548"/>
                  </a:lnTo>
                  <a:lnTo>
                    <a:pt x="1296" y="1548"/>
                  </a:lnTo>
                  <a:lnTo>
                    <a:pt x="1290" y="1554"/>
                  </a:lnTo>
                  <a:lnTo>
                    <a:pt x="1284" y="1560"/>
                  </a:lnTo>
                  <a:lnTo>
                    <a:pt x="1284" y="1566"/>
                  </a:lnTo>
                  <a:lnTo>
                    <a:pt x="1290" y="1578"/>
                  </a:lnTo>
                  <a:lnTo>
                    <a:pt x="1296" y="1590"/>
                  </a:lnTo>
                  <a:lnTo>
                    <a:pt x="1302" y="1590"/>
                  </a:lnTo>
                  <a:lnTo>
                    <a:pt x="1308" y="1596"/>
                  </a:lnTo>
                  <a:lnTo>
                    <a:pt x="1320" y="1602"/>
                  </a:lnTo>
                  <a:lnTo>
                    <a:pt x="1326" y="1602"/>
                  </a:lnTo>
                  <a:lnTo>
                    <a:pt x="1326" y="1608"/>
                  </a:lnTo>
                  <a:lnTo>
                    <a:pt x="1332" y="1614"/>
                  </a:lnTo>
                  <a:lnTo>
                    <a:pt x="1344" y="1620"/>
                  </a:lnTo>
                  <a:lnTo>
                    <a:pt x="1356" y="1626"/>
                  </a:lnTo>
                  <a:lnTo>
                    <a:pt x="1356" y="1632"/>
                  </a:lnTo>
                  <a:lnTo>
                    <a:pt x="1356" y="1638"/>
                  </a:lnTo>
                  <a:lnTo>
                    <a:pt x="1362" y="1644"/>
                  </a:lnTo>
                  <a:lnTo>
                    <a:pt x="1368" y="1644"/>
                  </a:lnTo>
                  <a:lnTo>
                    <a:pt x="1380" y="1650"/>
                  </a:lnTo>
                  <a:lnTo>
                    <a:pt x="1386" y="1650"/>
                  </a:lnTo>
                  <a:lnTo>
                    <a:pt x="1386" y="1656"/>
                  </a:lnTo>
                  <a:lnTo>
                    <a:pt x="1392" y="1656"/>
                  </a:lnTo>
                  <a:lnTo>
                    <a:pt x="1398" y="1662"/>
                  </a:lnTo>
                  <a:lnTo>
                    <a:pt x="1410" y="1674"/>
                  </a:lnTo>
                  <a:lnTo>
                    <a:pt x="1428" y="1680"/>
                  </a:lnTo>
                  <a:lnTo>
                    <a:pt x="1428" y="1686"/>
                  </a:lnTo>
                  <a:lnTo>
                    <a:pt x="1428" y="1698"/>
                  </a:lnTo>
                  <a:lnTo>
                    <a:pt x="1434" y="1704"/>
                  </a:lnTo>
                  <a:lnTo>
                    <a:pt x="1434" y="1710"/>
                  </a:lnTo>
                  <a:lnTo>
                    <a:pt x="1440" y="1710"/>
                  </a:lnTo>
                  <a:lnTo>
                    <a:pt x="1446" y="1710"/>
                  </a:lnTo>
                  <a:lnTo>
                    <a:pt x="1446" y="1716"/>
                  </a:lnTo>
                  <a:lnTo>
                    <a:pt x="1440" y="1722"/>
                  </a:lnTo>
                  <a:lnTo>
                    <a:pt x="1440" y="1728"/>
                  </a:lnTo>
                  <a:lnTo>
                    <a:pt x="1440" y="1734"/>
                  </a:lnTo>
                  <a:lnTo>
                    <a:pt x="1440" y="1740"/>
                  </a:lnTo>
                  <a:lnTo>
                    <a:pt x="1440" y="1746"/>
                  </a:lnTo>
                  <a:lnTo>
                    <a:pt x="1440" y="1788"/>
                  </a:lnTo>
                  <a:lnTo>
                    <a:pt x="1440" y="1800"/>
                  </a:lnTo>
                  <a:lnTo>
                    <a:pt x="1440" y="1806"/>
                  </a:lnTo>
                  <a:lnTo>
                    <a:pt x="1440" y="1836"/>
                  </a:lnTo>
                  <a:lnTo>
                    <a:pt x="1440" y="1848"/>
                  </a:lnTo>
                  <a:lnTo>
                    <a:pt x="1446" y="1848"/>
                  </a:lnTo>
                  <a:lnTo>
                    <a:pt x="1446" y="1854"/>
                  </a:lnTo>
                  <a:lnTo>
                    <a:pt x="1452" y="1848"/>
                  </a:lnTo>
                  <a:lnTo>
                    <a:pt x="1458" y="1854"/>
                  </a:lnTo>
                  <a:lnTo>
                    <a:pt x="1452" y="1860"/>
                  </a:lnTo>
                  <a:lnTo>
                    <a:pt x="1452" y="1866"/>
                  </a:lnTo>
                  <a:lnTo>
                    <a:pt x="1458" y="1872"/>
                  </a:lnTo>
                  <a:lnTo>
                    <a:pt x="1464" y="1884"/>
                  </a:lnTo>
                  <a:lnTo>
                    <a:pt x="1428" y="1878"/>
                  </a:lnTo>
                  <a:lnTo>
                    <a:pt x="1356" y="1890"/>
                  </a:lnTo>
                  <a:lnTo>
                    <a:pt x="1296" y="1926"/>
                  </a:lnTo>
                  <a:lnTo>
                    <a:pt x="1266" y="1944"/>
                  </a:lnTo>
                  <a:lnTo>
                    <a:pt x="1224" y="1944"/>
                  </a:lnTo>
                  <a:lnTo>
                    <a:pt x="1188" y="1956"/>
                  </a:lnTo>
                  <a:lnTo>
                    <a:pt x="1188" y="1950"/>
                  </a:lnTo>
                  <a:lnTo>
                    <a:pt x="1176" y="1944"/>
                  </a:lnTo>
                  <a:lnTo>
                    <a:pt x="1176" y="1938"/>
                  </a:lnTo>
                  <a:lnTo>
                    <a:pt x="1170" y="1938"/>
                  </a:lnTo>
                  <a:lnTo>
                    <a:pt x="1164" y="1932"/>
                  </a:lnTo>
                  <a:lnTo>
                    <a:pt x="1158" y="1926"/>
                  </a:lnTo>
                  <a:lnTo>
                    <a:pt x="1158" y="1920"/>
                  </a:lnTo>
                  <a:lnTo>
                    <a:pt x="1152" y="1920"/>
                  </a:lnTo>
                  <a:lnTo>
                    <a:pt x="1146" y="1914"/>
                  </a:lnTo>
                  <a:lnTo>
                    <a:pt x="1146" y="1908"/>
                  </a:lnTo>
                  <a:lnTo>
                    <a:pt x="1140" y="1908"/>
                  </a:lnTo>
                  <a:lnTo>
                    <a:pt x="1134" y="1902"/>
                  </a:lnTo>
                  <a:lnTo>
                    <a:pt x="1134" y="1896"/>
                  </a:lnTo>
                  <a:lnTo>
                    <a:pt x="1116" y="1896"/>
                  </a:lnTo>
                  <a:lnTo>
                    <a:pt x="1104" y="1884"/>
                  </a:lnTo>
                  <a:lnTo>
                    <a:pt x="1092" y="1860"/>
                  </a:lnTo>
                  <a:lnTo>
                    <a:pt x="1068" y="1854"/>
                  </a:lnTo>
                  <a:lnTo>
                    <a:pt x="1032" y="1842"/>
                  </a:lnTo>
                  <a:lnTo>
                    <a:pt x="1008" y="1836"/>
                  </a:lnTo>
                  <a:lnTo>
                    <a:pt x="978" y="1824"/>
                  </a:lnTo>
                  <a:lnTo>
                    <a:pt x="942" y="1818"/>
                  </a:lnTo>
                  <a:lnTo>
                    <a:pt x="924" y="1806"/>
                  </a:lnTo>
                  <a:lnTo>
                    <a:pt x="906" y="1788"/>
                  </a:lnTo>
                  <a:lnTo>
                    <a:pt x="894" y="1776"/>
                  </a:lnTo>
                  <a:lnTo>
                    <a:pt x="864" y="1758"/>
                  </a:lnTo>
                  <a:lnTo>
                    <a:pt x="834" y="1752"/>
                  </a:lnTo>
                  <a:lnTo>
                    <a:pt x="798" y="1746"/>
                  </a:lnTo>
                  <a:lnTo>
                    <a:pt x="792" y="1806"/>
                  </a:lnTo>
                  <a:lnTo>
                    <a:pt x="798" y="1812"/>
                  </a:lnTo>
                  <a:lnTo>
                    <a:pt x="810" y="1830"/>
                  </a:lnTo>
                  <a:lnTo>
                    <a:pt x="792" y="1842"/>
                  </a:lnTo>
                  <a:lnTo>
                    <a:pt x="768" y="1842"/>
                  </a:lnTo>
                  <a:lnTo>
                    <a:pt x="708" y="1848"/>
                  </a:lnTo>
                  <a:lnTo>
                    <a:pt x="690" y="1860"/>
                  </a:lnTo>
                  <a:lnTo>
                    <a:pt x="690" y="1866"/>
                  </a:lnTo>
                  <a:lnTo>
                    <a:pt x="678" y="1878"/>
                  </a:lnTo>
                  <a:lnTo>
                    <a:pt x="660" y="1884"/>
                  </a:lnTo>
                  <a:lnTo>
                    <a:pt x="660" y="1902"/>
                  </a:lnTo>
                  <a:lnTo>
                    <a:pt x="642" y="1902"/>
                  </a:lnTo>
                  <a:lnTo>
                    <a:pt x="582" y="1914"/>
                  </a:lnTo>
                  <a:lnTo>
                    <a:pt x="534" y="1908"/>
                  </a:lnTo>
                  <a:lnTo>
                    <a:pt x="510" y="1908"/>
                  </a:lnTo>
                  <a:lnTo>
                    <a:pt x="510" y="1896"/>
                  </a:lnTo>
                  <a:lnTo>
                    <a:pt x="492" y="1896"/>
                  </a:lnTo>
                  <a:lnTo>
                    <a:pt x="486" y="1902"/>
                  </a:lnTo>
                  <a:lnTo>
                    <a:pt x="474" y="1908"/>
                  </a:lnTo>
                  <a:lnTo>
                    <a:pt x="450" y="1908"/>
                  </a:lnTo>
                  <a:lnTo>
                    <a:pt x="432" y="1902"/>
                  </a:lnTo>
                  <a:lnTo>
                    <a:pt x="426" y="1896"/>
                  </a:lnTo>
                  <a:lnTo>
                    <a:pt x="402" y="1884"/>
                  </a:lnTo>
                  <a:lnTo>
                    <a:pt x="390" y="1872"/>
                  </a:lnTo>
                  <a:lnTo>
                    <a:pt x="384" y="1872"/>
                  </a:lnTo>
                  <a:lnTo>
                    <a:pt x="378" y="1872"/>
                  </a:lnTo>
                  <a:lnTo>
                    <a:pt x="378" y="1866"/>
                  </a:lnTo>
                  <a:lnTo>
                    <a:pt x="372" y="1860"/>
                  </a:lnTo>
                  <a:lnTo>
                    <a:pt x="372" y="1854"/>
                  </a:lnTo>
                  <a:lnTo>
                    <a:pt x="366" y="1842"/>
                  </a:lnTo>
                  <a:lnTo>
                    <a:pt x="366" y="1836"/>
                  </a:lnTo>
                  <a:lnTo>
                    <a:pt x="348" y="1830"/>
                  </a:lnTo>
                  <a:lnTo>
                    <a:pt x="348" y="1806"/>
                  </a:lnTo>
                  <a:lnTo>
                    <a:pt x="348" y="1800"/>
                  </a:lnTo>
                  <a:lnTo>
                    <a:pt x="348" y="1782"/>
                  </a:lnTo>
                  <a:lnTo>
                    <a:pt x="336" y="1788"/>
                  </a:lnTo>
                  <a:lnTo>
                    <a:pt x="312" y="1794"/>
                  </a:lnTo>
                  <a:lnTo>
                    <a:pt x="288" y="1788"/>
                  </a:lnTo>
                  <a:lnTo>
                    <a:pt x="264" y="1758"/>
                  </a:lnTo>
                  <a:lnTo>
                    <a:pt x="270" y="1758"/>
                  </a:lnTo>
                  <a:lnTo>
                    <a:pt x="270" y="1752"/>
                  </a:lnTo>
                  <a:lnTo>
                    <a:pt x="276" y="1752"/>
                  </a:lnTo>
                  <a:lnTo>
                    <a:pt x="282" y="1746"/>
                  </a:lnTo>
                  <a:lnTo>
                    <a:pt x="300" y="1746"/>
                  </a:lnTo>
                  <a:lnTo>
                    <a:pt x="312" y="1746"/>
                  </a:lnTo>
                  <a:lnTo>
                    <a:pt x="336" y="1710"/>
                  </a:lnTo>
                  <a:lnTo>
                    <a:pt x="342" y="1692"/>
                  </a:lnTo>
                  <a:lnTo>
                    <a:pt x="348" y="1680"/>
                  </a:lnTo>
                  <a:lnTo>
                    <a:pt x="342" y="1650"/>
                  </a:lnTo>
                  <a:lnTo>
                    <a:pt x="354" y="1644"/>
                  </a:lnTo>
                  <a:lnTo>
                    <a:pt x="354" y="1638"/>
                  </a:lnTo>
                  <a:lnTo>
                    <a:pt x="360" y="1632"/>
                  </a:lnTo>
                  <a:lnTo>
                    <a:pt x="354" y="1626"/>
                  </a:lnTo>
                  <a:lnTo>
                    <a:pt x="348" y="1626"/>
                  </a:lnTo>
                  <a:lnTo>
                    <a:pt x="348" y="1620"/>
                  </a:lnTo>
                  <a:lnTo>
                    <a:pt x="342" y="1620"/>
                  </a:lnTo>
                  <a:lnTo>
                    <a:pt x="348" y="1614"/>
                  </a:lnTo>
                  <a:lnTo>
                    <a:pt x="324" y="1566"/>
                  </a:lnTo>
                  <a:lnTo>
                    <a:pt x="318" y="1566"/>
                  </a:lnTo>
                  <a:lnTo>
                    <a:pt x="306" y="1572"/>
                  </a:lnTo>
                  <a:lnTo>
                    <a:pt x="300" y="1572"/>
                  </a:lnTo>
                  <a:lnTo>
                    <a:pt x="294" y="1578"/>
                  </a:lnTo>
                  <a:lnTo>
                    <a:pt x="288" y="1584"/>
                  </a:lnTo>
                  <a:lnTo>
                    <a:pt x="282" y="1584"/>
                  </a:lnTo>
                  <a:lnTo>
                    <a:pt x="282" y="1578"/>
                  </a:lnTo>
                  <a:lnTo>
                    <a:pt x="276" y="1578"/>
                  </a:lnTo>
                  <a:lnTo>
                    <a:pt x="270" y="1578"/>
                  </a:lnTo>
                  <a:lnTo>
                    <a:pt x="264" y="1578"/>
                  </a:lnTo>
                  <a:lnTo>
                    <a:pt x="258" y="1578"/>
                  </a:lnTo>
                  <a:lnTo>
                    <a:pt x="252" y="1578"/>
                  </a:lnTo>
                  <a:lnTo>
                    <a:pt x="252" y="1584"/>
                  </a:lnTo>
                  <a:lnTo>
                    <a:pt x="246" y="1584"/>
                  </a:lnTo>
                  <a:lnTo>
                    <a:pt x="210" y="1584"/>
                  </a:lnTo>
                  <a:lnTo>
                    <a:pt x="204" y="1584"/>
                  </a:lnTo>
                  <a:lnTo>
                    <a:pt x="192" y="1584"/>
                  </a:lnTo>
                  <a:lnTo>
                    <a:pt x="168" y="1596"/>
                  </a:lnTo>
                  <a:lnTo>
                    <a:pt x="156" y="1572"/>
                  </a:lnTo>
                  <a:lnTo>
                    <a:pt x="156" y="1566"/>
                  </a:lnTo>
                  <a:lnTo>
                    <a:pt x="156" y="1560"/>
                  </a:lnTo>
                  <a:lnTo>
                    <a:pt x="162" y="1548"/>
                  </a:lnTo>
                  <a:lnTo>
                    <a:pt x="162" y="1542"/>
                  </a:lnTo>
                  <a:lnTo>
                    <a:pt x="162" y="1536"/>
                  </a:lnTo>
                  <a:lnTo>
                    <a:pt x="168" y="1530"/>
                  </a:lnTo>
                  <a:lnTo>
                    <a:pt x="168" y="1524"/>
                  </a:lnTo>
                  <a:lnTo>
                    <a:pt x="168" y="1518"/>
                  </a:lnTo>
                  <a:lnTo>
                    <a:pt x="174" y="1518"/>
                  </a:lnTo>
                  <a:lnTo>
                    <a:pt x="174" y="1506"/>
                  </a:lnTo>
                  <a:lnTo>
                    <a:pt x="156" y="1470"/>
                  </a:lnTo>
                  <a:lnTo>
                    <a:pt x="138" y="1464"/>
                  </a:lnTo>
                  <a:lnTo>
                    <a:pt x="126" y="1446"/>
                  </a:lnTo>
                  <a:lnTo>
                    <a:pt x="126" y="1440"/>
                  </a:lnTo>
                  <a:lnTo>
                    <a:pt x="126" y="1434"/>
                  </a:lnTo>
                  <a:lnTo>
                    <a:pt x="120" y="1428"/>
                  </a:lnTo>
                  <a:lnTo>
                    <a:pt x="126" y="1398"/>
                  </a:lnTo>
                  <a:lnTo>
                    <a:pt x="120" y="1374"/>
                  </a:lnTo>
                  <a:lnTo>
                    <a:pt x="60" y="1374"/>
                  </a:lnTo>
                  <a:lnTo>
                    <a:pt x="60" y="1368"/>
                  </a:lnTo>
                  <a:lnTo>
                    <a:pt x="54" y="1362"/>
                  </a:lnTo>
                  <a:lnTo>
                    <a:pt x="48" y="1356"/>
                  </a:lnTo>
                  <a:lnTo>
                    <a:pt x="42" y="1356"/>
                  </a:lnTo>
                  <a:lnTo>
                    <a:pt x="42" y="1350"/>
                  </a:lnTo>
                  <a:lnTo>
                    <a:pt x="36" y="1344"/>
                  </a:lnTo>
                  <a:lnTo>
                    <a:pt x="36" y="1338"/>
                  </a:lnTo>
                  <a:lnTo>
                    <a:pt x="30" y="1332"/>
                  </a:lnTo>
                  <a:lnTo>
                    <a:pt x="30" y="1326"/>
                  </a:lnTo>
                  <a:lnTo>
                    <a:pt x="18" y="1326"/>
                  </a:lnTo>
                  <a:lnTo>
                    <a:pt x="18" y="1320"/>
                  </a:lnTo>
                  <a:lnTo>
                    <a:pt x="18" y="1326"/>
                  </a:lnTo>
                  <a:lnTo>
                    <a:pt x="6" y="1320"/>
                  </a:lnTo>
                  <a:lnTo>
                    <a:pt x="0" y="1314"/>
                  </a:lnTo>
                  <a:lnTo>
                    <a:pt x="12" y="1266"/>
                  </a:lnTo>
                  <a:lnTo>
                    <a:pt x="6" y="1242"/>
                  </a:lnTo>
                  <a:lnTo>
                    <a:pt x="12" y="1236"/>
                  </a:lnTo>
                  <a:lnTo>
                    <a:pt x="12" y="1230"/>
                  </a:lnTo>
                  <a:lnTo>
                    <a:pt x="18" y="1230"/>
                  </a:lnTo>
                  <a:lnTo>
                    <a:pt x="18" y="1224"/>
                  </a:lnTo>
                  <a:lnTo>
                    <a:pt x="24" y="1218"/>
                  </a:lnTo>
                  <a:lnTo>
                    <a:pt x="24" y="1212"/>
                  </a:lnTo>
                  <a:lnTo>
                    <a:pt x="30" y="1212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48" y="1188"/>
                  </a:lnTo>
                  <a:lnTo>
                    <a:pt x="48" y="1182"/>
                  </a:lnTo>
                  <a:lnTo>
                    <a:pt x="48" y="1176"/>
                  </a:lnTo>
                  <a:lnTo>
                    <a:pt x="48" y="1170"/>
                  </a:lnTo>
                  <a:lnTo>
                    <a:pt x="54" y="1170"/>
                  </a:lnTo>
                  <a:lnTo>
                    <a:pt x="60" y="1164"/>
                  </a:lnTo>
                  <a:lnTo>
                    <a:pt x="60" y="1158"/>
                  </a:lnTo>
                  <a:lnTo>
                    <a:pt x="66" y="1152"/>
                  </a:lnTo>
                  <a:lnTo>
                    <a:pt x="60" y="1140"/>
                  </a:lnTo>
                  <a:lnTo>
                    <a:pt x="60" y="1134"/>
                  </a:lnTo>
                  <a:lnTo>
                    <a:pt x="54" y="1134"/>
                  </a:lnTo>
                  <a:lnTo>
                    <a:pt x="54" y="1128"/>
                  </a:lnTo>
                  <a:lnTo>
                    <a:pt x="48" y="1122"/>
                  </a:lnTo>
                  <a:lnTo>
                    <a:pt x="48" y="1116"/>
                  </a:lnTo>
                  <a:lnTo>
                    <a:pt x="48" y="1110"/>
                  </a:lnTo>
                  <a:lnTo>
                    <a:pt x="42" y="1104"/>
                  </a:lnTo>
                  <a:lnTo>
                    <a:pt x="42" y="1098"/>
                  </a:lnTo>
                  <a:lnTo>
                    <a:pt x="36" y="1092"/>
                  </a:lnTo>
                  <a:lnTo>
                    <a:pt x="30" y="1092"/>
                  </a:lnTo>
                  <a:lnTo>
                    <a:pt x="24" y="1092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18" y="1080"/>
                  </a:lnTo>
                  <a:lnTo>
                    <a:pt x="18" y="1074"/>
                  </a:lnTo>
                  <a:lnTo>
                    <a:pt x="12" y="1068"/>
                  </a:lnTo>
                  <a:lnTo>
                    <a:pt x="6" y="1068"/>
                  </a:lnTo>
                  <a:lnTo>
                    <a:pt x="12" y="1056"/>
                  </a:lnTo>
                  <a:lnTo>
                    <a:pt x="6" y="1056"/>
                  </a:lnTo>
                  <a:lnTo>
                    <a:pt x="6" y="1050"/>
                  </a:lnTo>
                  <a:lnTo>
                    <a:pt x="6" y="1044"/>
                  </a:lnTo>
                  <a:lnTo>
                    <a:pt x="6" y="1026"/>
                  </a:lnTo>
                  <a:lnTo>
                    <a:pt x="12" y="1020"/>
                  </a:lnTo>
                  <a:lnTo>
                    <a:pt x="12" y="1014"/>
                  </a:lnTo>
                  <a:lnTo>
                    <a:pt x="18" y="1014"/>
                  </a:lnTo>
                  <a:lnTo>
                    <a:pt x="18" y="1008"/>
                  </a:lnTo>
                  <a:lnTo>
                    <a:pt x="18" y="1002"/>
                  </a:lnTo>
                  <a:lnTo>
                    <a:pt x="18" y="990"/>
                  </a:lnTo>
                  <a:lnTo>
                    <a:pt x="12" y="972"/>
                  </a:lnTo>
                  <a:lnTo>
                    <a:pt x="18" y="954"/>
                  </a:lnTo>
                  <a:lnTo>
                    <a:pt x="18" y="948"/>
                  </a:lnTo>
                  <a:lnTo>
                    <a:pt x="24" y="948"/>
                  </a:lnTo>
                  <a:lnTo>
                    <a:pt x="24" y="930"/>
                  </a:lnTo>
                  <a:lnTo>
                    <a:pt x="30" y="930"/>
                  </a:lnTo>
                  <a:lnTo>
                    <a:pt x="36" y="918"/>
                  </a:lnTo>
                  <a:lnTo>
                    <a:pt x="42" y="918"/>
                  </a:lnTo>
                  <a:lnTo>
                    <a:pt x="48" y="918"/>
                  </a:lnTo>
                  <a:lnTo>
                    <a:pt x="78" y="912"/>
                  </a:lnTo>
                  <a:lnTo>
                    <a:pt x="90" y="894"/>
                  </a:lnTo>
                  <a:lnTo>
                    <a:pt x="96" y="894"/>
                  </a:lnTo>
                  <a:lnTo>
                    <a:pt x="102" y="888"/>
                  </a:lnTo>
                  <a:lnTo>
                    <a:pt x="102" y="882"/>
                  </a:lnTo>
                  <a:lnTo>
                    <a:pt x="114" y="870"/>
                  </a:lnTo>
                  <a:lnTo>
                    <a:pt x="120" y="864"/>
                  </a:lnTo>
                  <a:lnTo>
                    <a:pt x="120" y="852"/>
                  </a:lnTo>
                  <a:lnTo>
                    <a:pt x="120" y="846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32" y="840"/>
                  </a:lnTo>
                  <a:lnTo>
                    <a:pt x="138" y="840"/>
                  </a:lnTo>
                  <a:lnTo>
                    <a:pt x="138" y="834"/>
                  </a:lnTo>
                  <a:lnTo>
                    <a:pt x="144" y="834"/>
                  </a:lnTo>
                  <a:lnTo>
                    <a:pt x="144" y="828"/>
                  </a:lnTo>
                  <a:lnTo>
                    <a:pt x="150" y="828"/>
                  </a:lnTo>
                  <a:lnTo>
                    <a:pt x="156" y="822"/>
                  </a:lnTo>
                  <a:lnTo>
                    <a:pt x="162" y="816"/>
                  </a:lnTo>
                  <a:lnTo>
                    <a:pt x="162" y="822"/>
                  </a:lnTo>
                  <a:lnTo>
                    <a:pt x="162" y="816"/>
                  </a:lnTo>
                  <a:lnTo>
                    <a:pt x="162" y="810"/>
                  </a:lnTo>
                  <a:lnTo>
                    <a:pt x="168" y="810"/>
                  </a:lnTo>
                  <a:lnTo>
                    <a:pt x="174" y="804"/>
                  </a:lnTo>
                  <a:lnTo>
                    <a:pt x="180" y="798"/>
                  </a:lnTo>
                  <a:lnTo>
                    <a:pt x="180" y="786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8" y="780"/>
                  </a:lnTo>
                  <a:lnTo>
                    <a:pt x="204" y="774"/>
                  </a:lnTo>
                  <a:lnTo>
                    <a:pt x="210" y="774"/>
                  </a:lnTo>
                  <a:lnTo>
                    <a:pt x="216" y="768"/>
                  </a:lnTo>
                  <a:lnTo>
                    <a:pt x="222" y="762"/>
                  </a:lnTo>
                  <a:lnTo>
                    <a:pt x="228" y="762"/>
                  </a:lnTo>
                  <a:lnTo>
                    <a:pt x="228" y="768"/>
                  </a:lnTo>
                  <a:lnTo>
                    <a:pt x="234" y="768"/>
                  </a:lnTo>
                  <a:lnTo>
                    <a:pt x="240" y="762"/>
                  </a:lnTo>
                  <a:lnTo>
                    <a:pt x="252" y="762"/>
                  </a:lnTo>
                  <a:lnTo>
                    <a:pt x="264" y="768"/>
                  </a:lnTo>
                  <a:lnTo>
                    <a:pt x="294" y="756"/>
                  </a:lnTo>
                  <a:lnTo>
                    <a:pt x="294" y="750"/>
                  </a:lnTo>
                  <a:lnTo>
                    <a:pt x="300" y="750"/>
                  </a:lnTo>
                  <a:lnTo>
                    <a:pt x="306" y="744"/>
                  </a:lnTo>
                  <a:lnTo>
                    <a:pt x="342" y="750"/>
                  </a:lnTo>
                  <a:lnTo>
                    <a:pt x="348" y="750"/>
                  </a:lnTo>
                  <a:lnTo>
                    <a:pt x="348" y="744"/>
                  </a:lnTo>
                  <a:lnTo>
                    <a:pt x="354" y="744"/>
                  </a:lnTo>
                  <a:lnTo>
                    <a:pt x="360" y="744"/>
                  </a:lnTo>
                  <a:lnTo>
                    <a:pt x="360" y="750"/>
                  </a:lnTo>
                  <a:lnTo>
                    <a:pt x="366" y="750"/>
                  </a:lnTo>
                  <a:lnTo>
                    <a:pt x="366" y="744"/>
                  </a:lnTo>
                  <a:lnTo>
                    <a:pt x="366" y="738"/>
                  </a:lnTo>
                  <a:lnTo>
                    <a:pt x="372" y="744"/>
                  </a:lnTo>
                  <a:lnTo>
                    <a:pt x="378" y="744"/>
                  </a:lnTo>
                  <a:lnTo>
                    <a:pt x="384" y="750"/>
                  </a:lnTo>
                  <a:lnTo>
                    <a:pt x="444" y="774"/>
                  </a:lnTo>
                  <a:lnTo>
                    <a:pt x="450" y="774"/>
                  </a:lnTo>
                  <a:lnTo>
                    <a:pt x="456" y="768"/>
                  </a:lnTo>
                  <a:lnTo>
                    <a:pt x="462" y="768"/>
                  </a:lnTo>
                  <a:lnTo>
                    <a:pt x="462" y="762"/>
                  </a:lnTo>
                  <a:lnTo>
                    <a:pt x="468" y="762"/>
                  </a:lnTo>
                  <a:lnTo>
                    <a:pt x="474" y="756"/>
                  </a:lnTo>
                  <a:lnTo>
                    <a:pt x="480" y="750"/>
                  </a:lnTo>
                  <a:lnTo>
                    <a:pt x="516" y="756"/>
                  </a:lnTo>
                  <a:lnTo>
                    <a:pt x="522" y="756"/>
                  </a:lnTo>
                  <a:lnTo>
                    <a:pt x="522" y="762"/>
                  </a:lnTo>
                  <a:lnTo>
                    <a:pt x="522" y="768"/>
                  </a:lnTo>
                  <a:lnTo>
                    <a:pt x="522" y="774"/>
                  </a:lnTo>
                  <a:lnTo>
                    <a:pt x="528" y="780"/>
                  </a:lnTo>
                  <a:lnTo>
                    <a:pt x="540" y="780"/>
                  </a:lnTo>
                  <a:lnTo>
                    <a:pt x="540" y="804"/>
                  </a:lnTo>
                  <a:lnTo>
                    <a:pt x="540" y="810"/>
                  </a:lnTo>
                  <a:lnTo>
                    <a:pt x="546" y="810"/>
                  </a:lnTo>
                  <a:lnTo>
                    <a:pt x="552" y="810"/>
                  </a:lnTo>
                  <a:lnTo>
                    <a:pt x="558" y="810"/>
                  </a:lnTo>
                  <a:lnTo>
                    <a:pt x="564" y="810"/>
                  </a:lnTo>
                  <a:lnTo>
                    <a:pt x="570" y="810"/>
                  </a:lnTo>
                  <a:lnTo>
                    <a:pt x="576" y="810"/>
                  </a:lnTo>
                  <a:lnTo>
                    <a:pt x="576" y="816"/>
                  </a:lnTo>
                  <a:lnTo>
                    <a:pt x="588" y="816"/>
                  </a:lnTo>
                  <a:lnTo>
                    <a:pt x="594" y="816"/>
                  </a:lnTo>
                  <a:lnTo>
                    <a:pt x="600" y="822"/>
                  </a:lnTo>
                  <a:lnTo>
                    <a:pt x="606" y="816"/>
                  </a:lnTo>
                  <a:lnTo>
                    <a:pt x="612" y="816"/>
                  </a:lnTo>
                  <a:lnTo>
                    <a:pt x="612" y="810"/>
                  </a:lnTo>
                  <a:lnTo>
                    <a:pt x="624" y="810"/>
                  </a:lnTo>
                  <a:lnTo>
                    <a:pt x="624" y="804"/>
                  </a:lnTo>
                  <a:lnTo>
                    <a:pt x="630" y="798"/>
                  </a:lnTo>
                  <a:lnTo>
                    <a:pt x="636" y="798"/>
                  </a:lnTo>
                  <a:lnTo>
                    <a:pt x="636" y="804"/>
                  </a:lnTo>
                  <a:lnTo>
                    <a:pt x="642" y="804"/>
                  </a:lnTo>
                  <a:lnTo>
                    <a:pt x="648" y="804"/>
                  </a:lnTo>
                  <a:lnTo>
                    <a:pt x="654" y="804"/>
                  </a:lnTo>
                  <a:lnTo>
                    <a:pt x="660" y="804"/>
                  </a:lnTo>
                  <a:lnTo>
                    <a:pt x="678" y="798"/>
                  </a:lnTo>
                  <a:lnTo>
                    <a:pt x="714" y="786"/>
                  </a:lnTo>
                  <a:lnTo>
                    <a:pt x="714" y="792"/>
                  </a:lnTo>
                  <a:lnTo>
                    <a:pt x="714" y="798"/>
                  </a:lnTo>
                  <a:lnTo>
                    <a:pt x="714" y="804"/>
                  </a:lnTo>
                  <a:lnTo>
                    <a:pt x="720" y="804"/>
                  </a:lnTo>
                  <a:lnTo>
                    <a:pt x="720" y="810"/>
                  </a:lnTo>
                  <a:lnTo>
                    <a:pt x="720" y="816"/>
                  </a:lnTo>
                  <a:lnTo>
                    <a:pt x="726" y="822"/>
                  </a:lnTo>
                  <a:lnTo>
                    <a:pt x="732" y="828"/>
                  </a:lnTo>
                  <a:lnTo>
                    <a:pt x="732" y="834"/>
                  </a:lnTo>
                  <a:lnTo>
                    <a:pt x="732" y="846"/>
                  </a:lnTo>
                  <a:lnTo>
                    <a:pt x="732" y="858"/>
                  </a:lnTo>
                  <a:lnTo>
                    <a:pt x="738" y="858"/>
                  </a:lnTo>
                  <a:lnTo>
                    <a:pt x="732" y="864"/>
                  </a:lnTo>
                  <a:lnTo>
                    <a:pt x="732" y="870"/>
                  </a:lnTo>
                  <a:lnTo>
                    <a:pt x="726" y="870"/>
                  </a:lnTo>
                  <a:lnTo>
                    <a:pt x="726" y="876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0" y="882"/>
                  </a:lnTo>
                  <a:lnTo>
                    <a:pt x="690" y="912"/>
                  </a:lnTo>
                  <a:lnTo>
                    <a:pt x="696" y="936"/>
                  </a:lnTo>
                  <a:lnTo>
                    <a:pt x="702" y="936"/>
                  </a:lnTo>
                  <a:lnTo>
                    <a:pt x="702" y="930"/>
                  </a:lnTo>
                  <a:lnTo>
                    <a:pt x="708" y="930"/>
                  </a:lnTo>
                  <a:lnTo>
                    <a:pt x="708" y="924"/>
                  </a:lnTo>
                  <a:lnTo>
                    <a:pt x="708" y="918"/>
                  </a:lnTo>
                  <a:lnTo>
                    <a:pt x="714" y="918"/>
                  </a:lnTo>
                  <a:lnTo>
                    <a:pt x="720" y="954"/>
                  </a:lnTo>
                  <a:lnTo>
                    <a:pt x="726" y="966"/>
                  </a:lnTo>
                  <a:lnTo>
                    <a:pt x="744" y="966"/>
                  </a:lnTo>
                  <a:lnTo>
                    <a:pt x="756" y="972"/>
                  </a:lnTo>
                  <a:lnTo>
                    <a:pt x="792" y="990"/>
                  </a:lnTo>
                  <a:lnTo>
                    <a:pt x="828" y="978"/>
                  </a:lnTo>
                  <a:lnTo>
                    <a:pt x="834" y="978"/>
                  </a:lnTo>
                  <a:lnTo>
                    <a:pt x="840" y="978"/>
                  </a:lnTo>
                  <a:lnTo>
                    <a:pt x="840" y="984"/>
                  </a:lnTo>
                  <a:lnTo>
                    <a:pt x="846" y="984"/>
                  </a:lnTo>
                  <a:lnTo>
                    <a:pt x="858" y="972"/>
                  </a:lnTo>
                  <a:lnTo>
                    <a:pt x="882" y="972"/>
                  </a:lnTo>
                  <a:lnTo>
                    <a:pt x="888" y="984"/>
                  </a:lnTo>
                  <a:lnTo>
                    <a:pt x="900" y="990"/>
                  </a:lnTo>
                  <a:lnTo>
                    <a:pt x="924" y="996"/>
                  </a:lnTo>
                  <a:lnTo>
                    <a:pt x="930" y="990"/>
                  </a:lnTo>
                  <a:lnTo>
                    <a:pt x="930" y="984"/>
                  </a:lnTo>
                  <a:lnTo>
                    <a:pt x="924" y="978"/>
                  </a:lnTo>
                  <a:lnTo>
                    <a:pt x="906" y="972"/>
                  </a:lnTo>
                  <a:lnTo>
                    <a:pt x="900" y="966"/>
                  </a:lnTo>
                  <a:lnTo>
                    <a:pt x="900" y="960"/>
                  </a:lnTo>
                  <a:lnTo>
                    <a:pt x="900" y="954"/>
                  </a:lnTo>
                  <a:lnTo>
                    <a:pt x="900" y="948"/>
                  </a:lnTo>
                  <a:lnTo>
                    <a:pt x="912" y="936"/>
                  </a:lnTo>
                  <a:lnTo>
                    <a:pt x="912" y="924"/>
                  </a:lnTo>
                  <a:lnTo>
                    <a:pt x="918" y="924"/>
                  </a:lnTo>
                  <a:lnTo>
                    <a:pt x="918" y="918"/>
                  </a:lnTo>
                  <a:lnTo>
                    <a:pt x="936" y="906"/>
                  </a:lnTo>
                  <a:lnTo>
                    <a:pt x="942" y="906"/>
                  </a:lnTo>
                  <a:lnTo>
                    <a:pt x="948" y="906"/>
                  </a:lnTo>
                  <a:lnTo>
                    <a:pt x="954" y="906"/>
                  </a:lnTo>
                  <a:lnTo>
                    <a:pt x="960" y="906"/>
                  </a:lnTo>
                  <a:lnTo>
                    <a:pt x="966" y="912"/>
                  </a:lnTo>
                  <a:lnTo>
                    <a:pt x="972" y="906"/>
                  </a:lnTo>
                  <a:lnTo>
                    <a:pt x="978" y="906"/>
                  </a:lnTo>
                  <a:lnTo>
                    <a:pt x="984" y="900"/>
                  </a:lnTo>
                  <a:lnTo>
                    <a:pt x="984" y="894"/>
                  </a:lnTo>
                  <a:lnTo>
                    <a:pt x="990" y="894"/>
                  </a:lnTo>
                  <a:lnTo>
                    <a:pt x="996" y="888"/>
                  </a:lnTo>
                  <a:lnTo>
                    <a:pt x="1002" y="888"/>
                  </a:lnTo>
                  <a:lnTo>
                    <a:pt x="1008" y="882"/>
                  </a:lnTo>
                  <a:lnTo>
                    <a:pt x="1014" y="882"/>
                  </a:lnTo>
                  <a:lnTo>
                    <a:pt x="1020" y="882"/>
                  </a:lnTo>
                  <a:lnTo>
                    <a:pt x="1020" y="888"/>
                  </a:lnTo>
                  <a:lnTo>
                    <a:pt x="1026" y="882"/>
                  </a:lnTo>
                  <a:lnTo>
                    <a:pt x="1026" y="876"/>
                  </a:lnTo>
                  <a:lnTo>
                    <a:pt x="1026" y="870"/>
                  </a:lnTo>
                  <a:lnTo>
                    <a:pt x="1032" y="864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44" y="852"/>
                  </a:lnTo>
                  <a:lnTo>
                    <a:pt x="1038" y="846"/>
                  </a:lnTo>
                  <a:lnTo>
                    <a:pt x="1038" y="840"/>
                  </a:lnTo>
                  <a:lnTo>
                    <a:pt x="1032" y="840"/>
                  </a:lnTo>
                  <a:lnTo>
                    <a:pt x="1026" y="840"/>
                  </a:lnTo>
                  <a:lnTo>
                    <a:pt x="1020" y="840"/>
                  </a:lnTo>
                  <a:lnTo>
                    <a:pt x="1014" y="846"/>
                  </a:lnTo>
                  <a:lnTo>
                    <a:pt x="1008" y="846"/>
                  </a:lnTo>
                  <a:lnTo>
                    <a:pt x="1002" y="840"/>
                  </a:lnTo>
                  <a:lnTo>
                    <a:pt x="996" y="840"/>
                  </a:lnTo>
                  <a:lnTo>
                    <a:pt x="990" y="834"/>
                  </a:lnTo>
                  <a:lnTo>
                    <a:pt x="984" y="834"/>
                  </a:lnTo>
                  <a:lnTo>
                    <a:pt x="978" y="834"/>
                  </a:lnTo>
                  <a:lnTo>
                    <a:pt x="972" y="834"/>
                  </a:lnTo>
                  <a:lnTo>
                    <a:pt x="966" y="834"/>
                  </a:lnTo>
                  <a:lnTo>
                    <a:pt x="966" y="828"/>
                  </a:lnTo>
                  <a:lnTo>
                    <a:pt x="960" y="828"/>
                  </a:lnTo>
                  <a:lnTo>
                    <a:pt x="954" y="828"/>
                  </a:lnTo>
                  <a:lnTo>
                    <a:pt x="942" y="828"/>
                  </a:lnTo>
                  <a:lnTo>
                    <a:pt x="936" y="828"/>
                  </a:lnTo>
                  <a:lnTo>
                    <a:pt x="930" y="828"/>
                  </a:lnTo>
                  <a:lnTo>
                    <a:pt x="918" y="828"/>
                  </a:lnTo>
                  <a:lnTo>
                    <a:pt x="918" y="822"/>
                  </a:lnTo>
                  <a:lnTo>
                    <a:pt x="912" y="828"/>
                  </a:lnTo>
                  <a:lnTo>
                    <a:pt x="912" y="822"/>
                  </a:lnTo>
                  <a:lnTo>
                    <a:pt x="906" y="816"/>
                  </a:lnTo>
                  <a:lnTo>
                    <a:pt x="900" y="816"/>
                  </a:lnTo>
                  <a:lnTo>
                    <a:pt x="894" y="816"/>
                  </a:lnTo>
                  <a:lnTo>
                    <a:pt x="888" y="816"/>
                  </a:lnTo>
                  <a:lnTo>
                    <a:pt x="882" y="816"/>
                  </a:lnTo>
                  <a:lnTo>
                    <a:pt x="882" y="810"/>
                  </a:lnTo>
                  <a:lnTo>
                    <a:pt x="876" y="804"/>
                  </a:lnTo>
                  <a:lnTo>
                    <a:pt x="870" y="804"/>
                  </a:lnTo>
                  <a:lnTo>
                    <a:pt x="864" y="798"/>
                  </a:lnTo>
                  <a:lnTo>
                    <a:pt x="858" y="798"/>
                  </a:lnTo>
                  <a:lnTo>
                    <a:pt x="858" y="804"/>
                  </a:lnTo>
                  <a:lnTo>
                    <a:pt x="852" y="804"/>
                  </a:lnTo>
                  <a:lnTo>
                    <a:pt x="846" y="804"/>
                  </a:lnTo>
                  <a:lnTo>
                    <a:pt x="846" y="798"/>
                  </a:lnTo>
                  <a:lnTo>
                    <a:pt x="840" y="804"/>
                  </a:lnTo>
                  <a:lnTo>
                    <a:pt x="834" y="804"/>
                  </a:lnTo>
                  <a:lnTo>
                    <a:pt x="828" y="804"/>
                  </a:lnTo>
                  <a:lnTo>
                    <a:pt x="828" y="810"/>
                  </a:lnTo>
                  <a:lnTo>
                    <a:pt x="822" y="810"/>
                  </a:lnTo>
                  <a:lnTo>
                    <a:pt x="810" y="804"/>
                  </a:lnTo>
                  <a:lnTo>
                    <a:pt x="810" y="798"/>
                  </a:lnTo>
                  <a:lnTo>
                    <a:pt x="780" y="798"/>
                  </a:lnTo>
                  <a:lnTo>
                    <a:pt x="756" y="774"/>
                  </a:lnTo>
                  <a:lnTo>
                    <a:pt x="750" y="768"/>
                  </a:lnTo>
                  <a:lnTo>
                    <a:pt x="750" y="744"/>
                  </a:lnTo>
                  <a:lnTo>
                    <a:pt x="732" y="738"/>
                  </a:lnTo>
                  <a:lnTo>
                    <a:pt x="732" y="720"/>
                  </a:lnTo>
                  <a:lnTo>
                    <a:pt x="714" y="690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6" y="666"/>
                  </a:lnTo>
                  <a:lnTo>
                    <a:pt x="690" y="666"/>
                  </a:lnTo>
                  <a:lnTo>
                    <a:pt x="678" y="672"/>
                  </a:lnTo>
                  <a:lnTo>
                    <a:pt x="678" y="654"/>
                  </a:lnTo>
                  <a:lnTo>
                    <a:pt x="684" y="630"/>
                  </a:lnTo>
                  <a:lnTo>
                    <a:pt x="690" y="618"/>
                  </a:lnTo>
                  <a:lnTo>
                    <a:pt x="696" y="612"/>
                  </a:lnTo>
                  <a:lnTo>
                    <a:pt x="696" y="588"/>
                  </a:lnTo>
                  <a:lnTo>
                    <a:pt x="690" y="576"/>
                  </a:lnTo>
                  <a:lnTo>
                    <a:pt x="696" y="552"/>
                  </a:lnTo>
                  <a:lnTo>
                    <a:pt x="684" y="522"/>
                  </a:lnTo>
                  <a:lnTo>
                    <a:pt x="672" y="504"/>
                  </a:lnTo>
                  <a:lnTo>
                    <a:pt x="654" y="504"/>
                  </a:lnTo>
                  <a:lnTo>
                    <a:pt x="642" y="504"/>
                  </a:lnTo>
                  <a:lnTo>
                    <a:pt x="624" y="510"/>
                  </a:lnTo>
                  <a:lnTo>
                    <a:pt x="612" y="516"/>
                  </a:lnTo>
                  <a:lnTo>
                    <a:pt x="594" y="516"/>
                  </a:lnTo>
                  <a:lnTo>
                    <a:pt x="588" y="516"/>
                  </a:lnTo>
                  <a:lnTo>
                    <a:pt x="588" y="522"/>
                  </a:lnTo>
                  <a:lnTo>
                    <a:pt x="582" y="516"/>
                  </a:lnTo>
                  <a:lnTo>
                    <a:pt x="588" y="510"/>
                  </a:lnTo>
                  <a:lnTo>
                    <a:pt x="582" y="510"/>
                  </a:lnTo>
                  <a:lnTo>
                    <a:pt x="582" y="504"/>
                  </a:lnTo>
                  <a:lnTo>
                    <a:pt x="576" y="498"/>
                  </a:lnTo>
                  <a:lnTo>
                    <a:pt x="570" y="498"/>
                  </a:lnTo>
                  <a:lnTo>
                    <a:pt x="570" y="492"/>
                  </a:lnTo>
                  <a:lnTo>
                    <a:pt x="564" y="492"/>
                  </a:lnTo>
                  <a:lnTo>
                    <a:pt x="570" y="486"/>
                  </a:lnTo>
                  <a:lnTo>
                    <a:pt x="564" y="486"/>
                  </a:lnTo>
                  <a:lnTo>
                    <a:pt x="564" y="480"/>
                  </a:lnTo>
                  <a:lnTo>
                    <a:pt x="564" y="474"/>
                  </a:lnTo>
                  <a:lnTo>
                    <a:pt x="558" y="468"/>
                  </a:lnTo>
                  <a:lnTo>
                    <a:pt x="564" y="468"/>
                  </a:lnTo>
                  <a:lnTo>
                    <a:pt x="564" y="462"/>
                  </a:lnTo>
                  <a:lnTo>
                    <a:pt x="570" y="462"/>
                  </a:lnTo>
                  <a:lnTo>
                    <a:pt x="570" y="456"/>
                  </a:lnTo>
                  <a:lnTo>
                    <a:pt x="570" y="450"/>
                  </a:lnTo>
                  <a:lnTo>
                    <a:pt x="576" y="450"/>
                  </a:lnTo>
                  <a:lnTo>
                    <a:pt x="576" y="444"/>
                  </a:lnTo>
                  <a:lnTo>
                    <a:pt x="582" y="438"/>
                  </a:lnTo>
                  <a:lnTo>
                    <a:pt x="588" y="438"/>
                  </a:lnTo>
                  <a:lnTo>
                    <a:pt x="588" y="444"/>
                  </a:lnTo>
                  <a:lnTo>
                    <a:pt x="594" y="438"/>
                  </a:lnTo>
                  <a:lnTo>
                    <a:pt x="594" y="432"/>
                  </a:lnTo>
                  <a:lnTo>
                    <a:pt x="600" y="432"/>
                  </a:lnTo>
                  <a:lnTo>
                    <a:pt x="600" y="426"/>
                  </a:lnTo>
                  <a:lnTo>
                    <a:pt x="600" y="420"/>
                  </a:lnTo>
                  <a:lnTo>
                    <a:pt x="606" y="420"/>
                  </a:lnTo>
                  <a:lnTo>
                    <a:pt x="600" y="420"/>
                  </a:lnTo>
                  <a:lnTo>
                    <a:pt x="600" y="414"/>
                  </a:lnTo>
                  <a:lnTo>
                    <a:pt x="606" y="408"/>
                  </a:lnTo>
                  <a:lnTo>
                    <a:pt x="612" y="408"/>
                  </a:lnTo>
                  <a:lnTo>
                    <a:pt x="612" y="414"/>
                  </a:lnTo>
                  <a:lnTo>
                    <a:pt x="618" y="414"/>
                  </a:lnTo>
                  <a:lnTo>
                    <a:pt x="624" y="414"/>
                  </a:lnTo>
                  <a:lnTo>
                    <a:pt x="630" y="414"/>
                  </a:lnTo>
                  <a:lnTo>
                    <a:pt x="636" y="414"/>
                  </a:lnTo>
                  <a:lnTo>
                    <a:pt x="642" y="408"/>
                  </a:lnTo>
                  <a:lnTo>
                    <a:pt x="648" y="408"/>
                  </a:lnTo>
                  <a:lnTo>
                    <a:pt x="660" y="408"/>
                  </a:lnTo>
                  <a:lnTo>
                    <a:pt x="666" y="402"/>
                  </a:lnTo>
                  <a:lnTo>
                    <a:pt x="672" y="402"/>
                  </a:lnTo>
                  <a:lnTo>
                    <a:pt x="684" y="396"/>
                  </a:lnTo>
                  <a:lnTo>
                    <a:pt x="690" y="396"/>
                  </a:lnTo>
                  <a:lnTo>
                    <a:pt x="696" y="396"/>
                  </a:lnTo>
                  <a:lnTo>
                    <a:pt x="702" y="396"/>
                  </a:lnTo>
                  <a:lnTo>
                    <a:pt x="708" y="396"/>
                  </a:lnTo>
                  <a:lnTo>
                    <a:pt x="714" y="390"/>
                  </a:lnTo>
                  <a:lnTo>
                    <a:pt x="714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32" y="384"/>
                  </a:lnTo>
                  <a:lnTo>
                    <a:pt x="738" y="378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56" y="372"/>
                  </a:lnTo>
                  <a:lnTo>
                    <a:pt x="762" y="366"/>
                  </a:lnTo>
                  <a:lnTo>
                    <a:pt x="768" y="366"/>
                  </a:lnTo>
                  <a:lnTo>
                    <a:pt x="774" y="366"/>
                  </a:lnTo>
                  <a:lnTo>
                    <a:pt x="774" y="360"/>
                  </a:lnTo>
                  <a:lnTo>
                    <a:pt x="780" y="366"/>
                  </a:lnTo>
                  <a:lnTo>
                    <a:pt x="786" y="366"/>
                  </a:lnTo>
                  <a:lnTo>
                    <a:pt x="786" y="360"/>
                  </a:lnTo>
                  <a:lnTo>
                    <a:pt x="792" y="354"/>
                  </a:lnTo>
                  <a:lnTo>
                    <a:pt x="786" y="354"/>
                  </a:lnTo>
                  <a:lnTo>
                    <a:pt x="792" y="348"/>
                  </a:lnTo>
                  <a:lnTo>
                    <a:pt x="798" y="348"/>
                  </a:lnTo>
                  <a:lnTo>
                    <a:pt x="804" y="348"/>
                  </a:lnTo>
                  <a:lnTo>
                    <a:pt x="810" y="342"/>
                  </a:lnTo>
                  <a:lnTo>
                    <a:pt x="816" y="342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28" y="336"/>
                  </a:lnTo>
                  <a:lnTo>
                    <a:pt x="834" y="336"/>
                  </a:lnTo>
                  <a:lnTo>
                    <a:pt x="840" y="336"/>
                  </a:lnTo>
                  <a:lnTo>
                    <a:pt x="846" y="330"/>
                  </a:lnTo>
                  <a:lnTo>
                    <a:pt x="852" y="330"/>
                  </a:lnTo>
                  <a:lnTo>
                    <a:pt x="858" y="330"/>
                  </a:lnTo>
                  <a:lnTo>
                    <a:pt x="864" y="324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0" y="312"/>
                  </a:lnTo>
                  <a:lnTo>
                    <a:pt x="876" y="312"/>
                  </a:lnTo>
                  <a:lnTo>
                    <a:pt x="882" y="312"/>
                  </a:lnTo>
                  <a:lnTo>
                    <a:pt x="882" y="318"/>
                  </a:lnTo>
                  <a:lnTo>
                    <a:pt x="888" y="312"/>
                  </a:lnTo>
                  <a:lnTo>
                    <a:pt x="894" y="306"/>
                  </a:lnTo>
                  <a:lnTo>
                    <a:pt x="900" y="306"/>
                  </a:lnTo>
                  <a:lnTo>
                    <a:pt x="906" y="306"/>
                  </a:lnTo>
                  <a:lnTo>
                    <a:pt x="912" y="300"/>
                  </a:lnTo>
                  <a:lnTo>
                    <a:pt x="906" y="294"/>
                  </a:lnTo>
                  <a:lnTo>
                    <a:pt x="912" y="276"/>
                  </a:lnTo>
                  <a:lnTo>
                    <a:pt x="912" y="252"/>
                  </a:lnTo>
                  <a:lnTo>
                    <a:pt x="906" y="234"/>
                  </a:lnTo>
                  <a:lnTo>
                    <a:pt x="912" y="228"/>
                  </a:lnTo>
                  <a:lnTo>
                    <a:pt x="912" y="216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24" y="192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36" y="186"/>
                  </a:lnTo>
                  <a:lnTo>
                    <a:pt x="930" y="180"/>
                  </a:lnTo>
                  <a:lnTo>
                    <a:pt x="930" y="174"/>
                  </a:lnTo>
                  <a:lnTo>
                    <a:pt x="936" y="156"/>
                  </a:lnTo>
                  <a:lnTo>
                    <a:pt x="930" y="156"/>
                  </a:lnTo>
                  <a:lnTo>
                    <a:pt x="924" y="150"/>
                  </a:lnTo>
                  <a:lnTo>
                    <a:pt x="942" y="78"/>
                  </a:lnTo>
                  <a:lnTo>
                    <a:pt x="948" y="78"/>
                  </a:lnTo>
                  <a:lnTo>
                    <a:pt x="954" y="66"/>
                  </a:lnTo>
                  <a:lnTo>
                    <a:pt x="954" y="72"/>
                  </a:lnTo>
                  <a:lnTo>
                    <a:pt x="954" y="66"/>
                  </a:lnTo>
                  <a:lnTo>
                    <a:pt x="960" y="66"/>
                  </a:lnTo>
                  <a:lnTo>
                    <a:pt x="966" y="66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54"/>
                  </a:lnTo>
                  <a:lnTo>
                    <a:pt x="990" y="54"/>
                  </a:lnTo>
                  <a:lnTo>
                    <a:pt x="996" y="48"/>
                  </a:lnTo>
                  <a:lnTo>
                    <a:pt x="1002" y="48"/>
                  </a:lnTo>
                  <a:lnTo>
                    <a:pt x="1032" y="48"/>
                  </a:lnTo>
                  <a:lnTo>
                    <a:pt x="1062" y="48"/>
                  </a:lnTo>
                  <a:lnTo>
                    <a:pt x="1068" y="78"/>
                  </a:lnTo>
                  <a:lnTo>
                    <a:pt x="1086" y="78"/>
                  </a:lnTo>
                  <a:lnTo>
                    <a:pt x="1092" y="66"/>
                  </a:lnTo>
                  <a:lnTo>
                    <a:pt x="1092" y="60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8" y="48"/>
                  </a:lnTo>
                  <a:lnTo>
                    <a:pt x="1104" y="48"/>
                  </a:lnTo>
                  <a:lnTo>
                    <a:pt x="1110" y="48"/>
                  </a:lnTo>
                  <a:lnTo>
                    <a:pt x="1110" y="42"/>
                  </a:lnTo>
                  <a:lnTo>
                    <a:pt x="1110" y="36"/>
                  </a:lnTo>
                  <a:lnTo>
                    <a:pt x="1116" y="36"/>
                  </a:lnTo>
                  <a:lnTo>
                    <a:pt x="1116" y="30"/>
                  </a:lnTo>
                  <a:lnTo>
                    <a:pt x="1122" y="30"/>
                  </a:lnTo>
                  <a:lnTo>
                    <a:pt x="1128" y="30"/>
                  </a:lnTo>
                  <a:lnTo>
                    <a:pt x="1134" y="30"/>
                  </a:lnTo>
                  <a:lnTo>
                    <a:pt x="1140" y="24"/>
                  </a:lnTo>
                  <a:lnTo>
                    <a:pt x="1152" y="18"/>
                  </a:lnTo>
                  <a:lnTo>
                    <a:pt x="1158" y="18"/>
                  </a:lnTo>
                  <a:lnTo>
                    <a:pt x="1152" y="12"/>
                  </a:lnTo>
                  <a:lnTo>
                    <a:pt x="1152" y="6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8"/>
                  </a:lnTo>
                  <a:lnTo>
                    <a:pt x="1170" y="12"/>
                  </a:lnTo>
                  <a:lnTo>
                    <a:pt x="1170" y="6"/>
                  </a:lnTo>
                  <a:lnTo>
                    <a:pt x="1176" y="6"/>
                  </a:lnTo>
                  <a:lnTo>
                    <a:pt x="1176" y="0"/>
                  </a:lnTo>
                  <a:lnTo>
                    <a:pt x="1182" y="6"/>
                  </a:lnTo>
                  <a:lnTo>
                    <a:pt x="1188" y="6"/>
                  </a:lnTo>
                  <a:lnTo>
                    <a:pt x="1188" y="0"/>
                  </a:lnTo>
                  <a:lnTo>
                    <a:pt x="1194" y="6"/>
                  </a:lnTo>
                  <a:lnTo>
                    <a:pt x="1200" y="12"/>
                  </a:lnTo>
                  <a:lnTo>
                    <a:pt x="1206" y="18"/>
                  </a:lnTo>
                  <a:lnTo>
                    <a:pt x="1212" y="18"/>
                  </a:lnTo>
                  <a:lnTo>
                    <a:pt x="1218" y="24"/>
                  </a:lnTo>
                  <a:lnTo>
                    <a:pt x="1236" y="36"/>
                  </a:lnTo>
                  <a:lnTo>
                    <a:pt x="1242" y="36"/>
                  </a:lnTo>
                  <a:lnTo>
                    <a:pt x="1248" y="42"/>
                  </a:lnTo>
                  <a:lnTo>
                    <a:pt x="1248" y="48"/>
                  </a:lnTo>
                  <a:lnTo>
                    <a:pt x="1260" y="48"/>
                  </a:lnTo>
                  <a:lnTo>
                    <a:pt x="1260" y="108"/>
                  </a:lnTo>
                  <a:lnTo>
                    <a:pt x="1266" y="168"/>
                  </a:lnTo>
                  <a:lnTo>
                    <a:pt x="1278" y="234"/>
                  </a:lnTo>
                  <a:lnTo>
                    <a:pt x="1284" y="240"/>
                  </a:lnTo>
                  <a:lnTo>
                    <a:pt x="1290" y="264"/>
                  </a:lnTo>
                  <a:lnTo>
                    <a:pt x="1296" y="288"/>
                  </a:lnTo>
                  <a:lnTo>
                    <a:pt x="1296" y="300"/>
                  </a:lnTo>
                  <a:lnTo>
                    <a:pt x="1296" y="312"/>
                  </a:lnTo>
                  <a:lnTo>
                    <a:pt x="1296" y="324"/>
                  </a:lnTo>
                  <a:lnTo>
                    <a:pt x="1296" y="354"/>
                  </a:lnTo>
                  <a:lnTo>
                    <a:pt x="1302" y="366"/>
                  </a:lnTo>
                  <a:lnTo>
                    <a:pt x="1308" y="372"/>
                  </a:lnTo>
                  <a:lnTo>
                    <a:pt x="1308" y="384"/>
                  </a:lnTo>
                  <a:lnTo>
                    <a:pt x="1314" y="390"/>
                  </a:lnTo>
                  <a:lnTo>
                    <a:pt x="1308" y="408"/>
                  </a:lnTo>
                  <a:lnTo>
                    <a:pt x="1314" y="408"/>
                  </a:lnTo>
                  <a:lnTo>
                    <a:pt x="1314" y="414"/>
                  </a:lnTo>
                  <a:lnTo>
                    <a:pt x="1308" y="420"/>
                  </a:lnTo>
                  <a:lnTo>
                    <a:pt x="1308" y="432"/>
                  </a:lnTo>
                  <a:lnTo>
                    <a:pt x="1320" y="432"/>
                  </a:lnTo>
                  <a:lnTo>
                    <a:pt x="1320" y="444"/>
                  </a:lnTo>
                  <a:lnTo>
                    <a:pt x="1332" y="444"/>
                  </a:lnTo>
                  <a:lnTo>
                    <a:pt x="1338" y="450"/>
                  </a:lnTo>
                  <a:lnTo>
                    <a:pt x="1344" y="456"/>
                  </a:lnTo>
                  <a:lnTo>
                    <a:pt x="1344" y="462"/>
                  </a:lnTo>
                  <a:lnTo>
                    <a:pt x="1344" y="474"/>
                  </a:lnTo>
                  <a:lnTo>
                    <a:pt x="1350" y="474"/>
                  </a:lnTo>
                  <a:lnTo>
                    <a:pt x="1368" y="504"/>
                  </a:lnTo>
                  <a:lnTo>
                    <a:pt x="1374" y="534"/>
                  </a:lnTo>
                  <a:lnTo>
                    <a:pt x="1380" y="558"/>
                  </a:lnTo>
                  <a:lnTo>
                    <a:pt x="1386" y="576"/>
                  </a:lnTo>
                  <a:lnTo>
                    <a:pt x="1386" y="600"/>
                  </a:lnTo>
                  <a:lnTo>
                    <a:pt x="1386" y="624"/>
                  </a:lnTo>
                  <a:lnTo>
                    <a:pt x="1386" y="648"/>
                  </a:lnTo>
                  <a:lnTo>
                    <a:pt x="1386" y="684"/>
                  </a:lnTo>
                  <a:lnTo>
                    <a:pt x="1380" y="684"/>
                  </a:lnTo>
                  <a:lnTo>
                    <a:pt x="1374" y="696"/>
                  </a:lnTo>
                  <a:lnTo>
                    <a:pt x="1368" y="702"/>
                  </a:lnTo>
                  <a:lnTo>
                    <a:pt x="1362" y="708"/>
                  </a:lnTo>
                  <a:lnTo>
                    <a:pt x="1356" y="714"/>
                  </a:lnTo>
                  <a:lnTo>
                    <a:pt x="1350" y="720"/>
                  </a:lnTo>
                  <a:lnTo>
                    <a:pt x="1338" y="720"/>
                  </a:lnTo>
                  <a:lnTo>
                    <a:pt x="1338" y="738"/>
                  </a:lnTo>
                  <a:lnTo>
                    <a:pt x="1362" y="750"/>
                  </a:lnTo>
                  <a:lnTo>
                    <a:pt x="1362" y="756"/>
                  </a:lnTo>
                  <a:lnTo>
                    <a:pt x="1374" y="756"/>
                  </a:lnTo>
                  <a:lnTo>
                    <a:pt x="1410" y="774"/>
                  </a:lnTo>
                  <a:lnTo>
                    <a:pt x="1446" y="774"/>
                  </a:lnTo>
                  <a:lnTo>
                    <a:pt x="1482" y="768"/>
                  </a:lnTo>
                  <a:lnTo>
                    <a:pt x="1500" y="774"/>
                  </a:lnTo>
                  <a:lnTo>
                    <a:pt x="1512" y="78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6" name="Freeform 11">
              <a:extLst>
                <a:ext uri="{FF2B5EF4-FFF2-40B4-BE49-F238E27FC236}">
                  <a16:creationId xmlns:a16="http://schemas.microsoft.com/office/drawing/2014/main" id="{1FF8E66F-B850-456A-B132-C45FEEDE95C6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2475" y="2345643"/>
              <a:ext cx="445003" cy="603855"/>
            </a:xfrm>
            <a:custGeom>
              <a:avLst/>
              <a:gdLst>
                <a:gd name="T0" fmla="*/ 47 w 840"/>
                <a:gd name="T1" fmla="*/ 98 h 1134"/>
                <a:gd name="T2" fmla="*/ 41 w 840"/>
                <a:gd name="T3" fmla="*/ 98 h 1134"/>
                <a:gd name="T4" fmla="*/ 37 w 840"/>
                <a:gd name="T5" fmla="*/ 98 h 1134"/>
                <a:gd name="T6" fmla="*/ 29 w 840"/>
                <a:gd name="T7" fmla="*/ 97 h 1134"/>
                <a:gd name="T8" fmla="*/ 27 w 840"/>
                <a:gd name="T9" fmla="*/ 94 h 1134"/>
                <a:gd name="T10" fmla="*/ 26 w 840"/>
                <a:gd name="T11" fmla="*/ 93 h 1134"/>
                <a:gd name="T12" fmla="*/ 26 w 840"/>
                <a:gd name="T13" fmla="*/ 83 h 1134"/>
                <a:gd name="T14" fmla="*/ 26 w 840"/>
                <a:gd name="T15" fmla="*/ 81 h 1134"/>
                <a:gd name="T16" fmla="*/ 23 w 840"/>
                <a:gd name="T17" fmla="*/ 77 h 1134"/>
                <a:gd name="T18" fmla="*/ 19 w 840"/>
                <a:gd name="T19" fmla="*/ 75 h 1134"/>
                <a:gd name="T20" fmla="*/ 16 w 840"/>
                <a:gd name="T21" fmla="*/ 72 h 1134"/>
                <a:gd name="T22" fmla="*/ 13 w 840"/>
                <a:gd name="T23" fmla="*/ 70 h 1134"/>
                <a:gd name="T24" fmla="*/ 17 w 840"/>
                <a:gd name="T25" fmla="*/ 67 h 1134"/>
                <a:gd name="T26" fmla="*/ 19 w 840"/>
                <a:gd name="T27" fmla="*/ 63 h 1134"/>
                <a:gd name="T28" fmla="*/ 20 w 840"/>
                <a:gd name="T29" fmla="*/ 59 h 1134"/>
                <a:gd name="T30" fmla="*/ 19 w 840"/>
                <a:gd name="T31" fmla="*/ 55 h 1134"/>
                <a:gd name="T32" fmla="*/ 17 w 840"/>
                <a:gd name="T33" fmla="*/ 47 h 1134"/>
                <a:gd name="T34" fmla="*/ 8 w 840"/>
                <a:gd name="T35" fmla="*/ 45 h 1134"/>
                <a:gd name="T36" fmla="*/ 4 w 840"/>
                <a:gd name="T37" fmla="*/ 39 h 1134"/>
                <a:gd name="T38" fmla="*/ 2 w 840"/>
                <a:gd name="T39" fmla="*/ 35 h 1134"/>
                <a:gd name="T40" fmla="*/ 0 w 840"/>
                <a:gd name="T41" fmla="*/ 31 h 1134"/>
                <a:gd name="T42" fmla="*/ 2 w 840"/>
                <a:gd name="T43" fmla="*/ 27 h 1134"/>
                <a:gd name="T44" fmla="*/ 5 w 840"/>
                <a:gd name="T45" fmla="*/ 24 h 1134"/>
                <a:gd name="T46" fmla="*/ 10 w 840"/>
                <a:gd name="T47" fmla="*/ 26 h 1134"/>
                <a:gd name="T48" fmla="*/ 7 w 840"/>
                <a:gd name="T49" fmla="*/ 20 h 1134"/>
                <a:gd name="T50" fmla="*/ 12 w 840"/>
                <a:gd name="T51" fmla="*/ 12 h 1134"/>
                <a:gd name="T52" fmla="*/ 19 w 840"/>
                <a:gd name="T53" fmla="*/ 10 h 1134"/>
                <a:gd name="T54" fmla="*/ 20 w 840"/>
                <a:gd name="T55" fmla="*/ 13 h 1134"/>
                <a:gd name="T56" fmla="*/ 22 w 840"/>
                <a:gd name="T57" fmla="*/ 11 h 1134"/>
                <a:gd name="T58" fmla="*/ 25 w 840"/>
                <a:gd name="T59" fmla="*/ 7 h 1134"/>
                <a:gd name="T60" fmla="*/ 29 w 840"/>
                <a:gd name="T61" fmla="*/ 2 h 1134"/>
                <a:gd name="T62" fmla="*/ 33 w 840"/>
                <a:gd name="T63" fmla="*/ 1 h 1134"/>
                <a:gd name="T64" fmla="*/ 37 w 840"/>
                <a:gd name="T65" fmla="*/ 2 h 1134"/>
                <a:gd name="T66" fmla="*/ 39 w 840"/>
                <a:gd name="T67" fmla="*/ 4 h 1134"/>
                <a:gd name="T68" fmla="*/ 43 w 840"/>
                <a:gd name="T69" fmla="*/ 5 h 1134"/>
                <a:gd name="T70" fmla="*/ 46 w 840"/>
                <a:gd name="T71" fmla="*/ 11 h 1134"/>
                <a:gd name="T72" fmla="*/ 49 w 840"/>
                <a:gd name="T73" fmla="*/ 12 h 1134"/>
                <a:gd name="T74" fmla="*/ 52 w 840"/>
                <a:gd name="T75" fmla="*/ 15 h 1134"/>
                <a:gd name="T76" fmla="*/ 54 w 840"/>
                <a:gd name="T77" fmla="*/ 18 h 1134"/>
                <a:gd name="T78" fmla="*/ 55 w 840"/>
                <a:gd name="T79" fmla="*/ 22 h 1134"/>
                <a:gd name="T80" fmla="*/ 56 w 840"/>
                <a:gd name="T81" fmla="*/ 26 h 1134"/>
                <a:gd name="T82" fmla="*/ 55 w 840"/>
                <a:gd name="T83" fmla="*/ 32 h 1134"/>
                <a:gd name="T84" fmla="*/ 55 w 840"/>
                <a:gd name="T85" fmla="*/ 36 h 1134"/>
                <a:gd name="T86" fmla="*/ 54 w 840"/>
                <a:gd name="T87" fmla="*/ 39 h 1134"/>
                <a:gd name="T88" fmla="*/ 56 w 840"/>
                <a:gd name="T89" fmla="*/ 39 h 1134"/>
                <a:gd name="T90" fmla="*/ 58 w 840"/>
                <a:gd name="T91" fmla="*/ 39 h 1134"/>
                <a:gd name="T92" fmla="*/ 61 w 840"/>
                <a:gd name="T93" fmla="*/ 39 h 1134"/>
                <a:gd name="T94" fmla="*/ 60 w 840"/>
                <a:gd name="T95" fmla="*/ 49 h 1134"/>
                <a:gd name="T96" fmla="*/ 59 w 840"/>
                <a:gd name="T97" fmla="*/ 53 h 1134"/>
                <a:gd name="T98" fmla="*/ 59 w 840"/>
                <a:gd name="T99" fmla="*/ 56 h 1134"/>
                <a:gd name="T100" fmla="*/ 60 w 840"/>
                <a:gd name="T101" fmla="*/ 59 h 1134"/>
                <a:gd name="T102" fmla="*/ 64 w 840"/>
                <a:gd name="T103" fmla="*/ 61 h 1134"/>
                <a:gd name="T104" fmla="*/ 69 w 840"/>
                <a:gd name="T105" fmla="*/ 63 h 1134"/>
                <a:gd name="T106" fmla="*/ 72 w 840"/>
                <a:gd name="T107" fmla="*/ 69 h 1134"/>
                <a:gd name="T108" fmla="*/ 72 w 840"/>
                <a:gd name="T109" fmla="*/ 73 h 1134"/>
                <a:gd name="T110" fmla="*/ 72 w 840"/>
                <a:gd name="T111" fmla="*/ 83 h 1134"/>
                <a:gd name="T112" fmla="*/ 63 w 840"/>
                <a:gd name="T113" fmla="*/ 88 h 1134"/>
                <a:gd name="T114" fmla="*/ 52 w 840"/>
                <a:gd name="T115" fmla="*/ 95 h 11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40"/>
                <a:gd name="T175" fmla="*/ 0 h 1134"/>
                <a:gd name="T176" fmla="*/ 840 w 840"/>
                <a:gd name="T177" fmla="*/ 1134 h 11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40" h="1134">
                  <a:moveTo>
                    <a:pt x="564" y="1110"/>
                  </a:moveTo>
                  <a:lnTo>
                    <a:pt x="564" y="1104"/>
                  </a:lnTo>
                  <a:lnTo>
                    <a:pt x="558" y="1104"/>
                  </a:lnTo>
                  <a:lnTo>
                    <a:pt x="552" y="1110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28" y="1128"/>
                  </a:lnTo>
                  <a:lnTo>
                    <a:pt x="498" y="1128"/>
                  </a:lnTo>
                  <a:lnTo>
                    <a:pt x="492" y="1128"/>
                  </a:lnTo>
                  <a:lnTo>
                    <a:pt x="486" y="1128"/>
                  </a:lnTo>
                  <a:lnTo>
                    <a:pt x="480" y="1128"/>
                  </a:lnTo>
                  <a:lnTo>
                    <a:pt x="474" y="1134"/>
                  </a:lnTo>
                  <a:lnTo>
                    <a:pt x="468" y="1134"/>
                  </a:lnTo>
                  <a:lnTo>
                    <a:pt x="462" y="1134"/>
                  </a:lnTo>
                  <a:lnTo>
                    <a:pt x="456" y="1134"/>
                  </a:lnTo>
                  <a:lnTo>
                    <a:pt x="456" y="1128"/>
                  </a:lnTo>
                  <a:lnTo>
                    <a:pt x="450" y="1122"/>
                  </a:lnTo>
                  <a:lnTo>
                    <a:pt x="426" y="1128"/>
                  </a:lnTo>
                  <a:lnTo>
                    <a:pt x="414" y="1128"/>
                  </a:lnTo>
                  <a:lnTo>
                    <a:pt x="348" y="1134"/>
                  </a:lnTo>
                  <a:lnTo>
                    <a:pt x="348" y="1128"/>
                  </a:lnTo>
                  <a:lnTo>
                    <a:pt x="342" y="1128"/>
                  </a:lnTo>
                  <a:lnTo>
                    <a:pt x="336" y="1122"/>
                  </a:lnTo>
                  <a:lnTo>
                    <a:pt x="330" y="1122"/>
                  </a:lnTo>
                  <a:lnTo>
                    <a:pt x="324" y="1116"/>
                  </a:lnTo>
                  <a:lnTo>
                    <a:pt x="324" y="1110"/>
                  </a:lnTo>
                  <a:lnTo>
                    <a:pt x="318" y="1110"/>
                  </a:lnTo>
                  <a:lnTo>
                    <a:pt x="318" y="1104"/>
                  </a:lnTo>
                  <a:lnTo>
                    <a:pt x="312" y="1092"/>
                  </a:lnTo>
                  <a:lnTo>
                    <a:pt x="306" y="1086"/>
                  </a:lnTo>
                  <a:lnTo>
                    <a:pt x="306" y="1080"/>
                  </a:lnTo>
                  <a:lnTo>
                    <a:pt x="312" y="1074"/>
                  </a:lnTo>
                  <a:lnTo>
                    <a:pt x="306" y="1068"/>
                  </a:lnTo>
                  <a:lnTo>
                    <a:pt x="300" y="1074"/>
                  </a:lnTo>
                  <a:lnTo>
                    <a:pt x="300" y="1068"/>
                  </a:lnTo>
                  <a:lnTo>
                    <a:pt x="294" y="1068"/>
                  </a:lnTo>
                  <a:lnTo>
                    <a:pt x="294" y="1056"/>
                  </a:lnTo>
                  <a:lnTo>
                    <a:pt x="294" y="1026"/>
                  </a:lnTo>
                  <a:lnTo>
                    <a:pt x="294" y="1020"/>
                  </a:lnTo>
                  <a:lnTo>
                    <a:pt x="294" y="1008"/>
                  </a:lnTo>
                  <a:lnTo>
                    <a:pt x="294" y="966"/>
                  </a:lnTo>
                  <a:lnTo>
                    <a:pt x="294" y="960"/>
                  </a:lnTo>
                  <a:lnTo>
                    <a:pt x="294" y="954"/>
                  </a:lnTo>
                  <a:lnTo>
                    <a:pt x="294" y="948"/>
                  </a:lnTo>
                  <a:lnTo>
                    <a:pt x="294" y="942"/>
                  </a:lnTo>
                  <a:lnTo>
                    <a:pt x="300" y="936"/>
                  </a:lnTo>
                  <a:lnTo>
                    <a:pt x="300" y="930"/>
                  </a:lnTo>
                  <a:lnTo>
                    <a:pt x="294" y="930"/>
                  </a:lnTo>
                  <a:lnTo>
                    <a:pt x="288" y="930"/>
                  </a:lnTo>
                  <a:lnTo>
                    <a:pt x="288" y="924"/>
                  </a:lnTo>
                  <a:lnTo>
                    <a:pt x="282" y="918"/>
                  </a:lnTo>
                  <a:lnTo>
                    <a:pt x="282" y="906"/>
                  </a:lnTo>
                  <a:lnTo>
                    <a:pt x="282" y="900"/>
                  </a:lnTo>
                  <a:lnTo>
                    <a:pt x="264" y="894"/>
                  </a:lnTo>
                  <a:lnTo>
                    <a:pt x="252" y="882"/>
                  </a:lnTo>
                  <a:lnTo>
                    <a:pt x="246" y="876"/>
                  </a:lnTo>
                  <a:lnTo>
                    <a:pt x="240" y="876"/>
                  </a:lnTo>
                  <a:lnTo>
                    <a:pt x="240" y="870"/>
                  </a:lnTo>
                  <a:lnTo>
                    <a:pt x="234" y="870"/>
                  </a:lnTo>
                  <a:lnTo>
                    <a:pt x="222" y="864"/>
                  </a:lnTo>
                  <a:lnTo>
                    <a:pt x="216" y="864"/>
                  </a:lnTo>
                  <a:lnTo>
                    <a:pt x="210" y="858"/>
                  </a:lnTo>
                  <a:lnTo>
                    <a:pt x="210" y="852"/>
                  </a:lnTo>
                  <a:lnTo>
                    <a:pt x="210" y="846"/>
                  </a:lnTo>
                  <a:lnTo>
                    <a:pt x="198" y="840"/>
                  </a:lnTo>
                  <a:lnTo>
                    <a:pt x="186" y="834"/>
                  </a:lnTo>
                  <a:lnTo>
                    <a:pt x="180" y="828"/>
                  </a:lnTo>
                  <a:lnTo>
                    <a:pt x="180" y="822"/>
                  </a:lnTo>
                  <a:lnTo>
                    <a:pt x="174" y="822"/>
                  </a:lnTo>
                  <a:lnTo>
                    <a:pt x="162" y="816"/>
                  </a:lnTo>
                  <a:lnTo>
                    <a:pt x="156" y="810"/>
                  </a:lnTo>
                  <a:lnTo>
                    <a:pt x="150" y="810"/>
                  </a:lnTo>
                  <a:lnTo>
                    <a:pt x="144" y="798"/>
                  </a:lnTo>
                  <a:lnTo>
                    <a:pt x="138" y="786"/>
                  </a:lnTo>
                  <a:lnTo>
                    <a:pt x="138" y="780"/>
                  </a:lnTo>
                  <a:lnTo>
                    <a:pt x="144" y="774"/>
                  </a:lnTo>
                  <a:lnTo>
                    <a:pt x="150" y="768"/>
                  </a:lnTo>
                  <a:lnTo>
                    <a:pt x="192" y="768"/>
                  </a:lnTo>
                  <a:lnTo>
                    <a:pt x="210" y="762"/>
                  </a:lnTo>
                  <a:lnTo>
                    <a:pt x="216" y="756"/>
                  </a:lnTo>
                  <a:lnTo>
                    <a:pt x="216" y="744"/>
                  </a:lnTo>
                  <a:lnTo>
                    <a:pt x="216" y="738"/>
                  </a:lnTo>
                  <a:lnTo>
                    <a:pt x="216" y="732"/>
                  </a:lnTo>
                  <a:lnTo>
                    <a:pt x="216" y="726"/>
                  </a:lnTo>
                  <a:lnTo>
                    <a:pt x="216" y="720"/>
                  </a:lnTo>
                  <a:lnTo>
                    <a:pt x="228" y="702"/>
                  </a:lnTo>
                  <a:lnTo>
                    <a:pt x="234" y="696"/>
                  </a:lnTo>
                  <a:lnTo>
                    <a:pt x="240" y="690"/>
                  </a:lnTo>
                  <a:lnTo>
                    <a:pt x="240" y="684"/>
                  </a:lnTo>
                  <a:lnTo>
                    <a:pt x="234" y="678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0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22" y="630"/>
                  </a:lnTo>
                  <a:lnTo>
                    <a:pt x="222" y="618"/>
                  </a:lnTo>
                  <a:lnTo>
                    <a:pt x="222" y="582"/>
                  </a:lnTo>
                  <a:lnTo>
                    <a:pt x="228" y="582"/>
                  </a:lnTo>
                  <a:lnTo>
                    <a:pt x="222" y="564"/>
                  </a:lnTo>
                  <a:lnTo>
                    <a:pt x="210" y="552"/>
                  </a:lnTo>
                  <a:lnTo>
                    <a:pt x="192" y="540"/>
                  </a:lnTo>
                  <a:lnTo>
                    <a:pt x="174" y="540"/>
                  </a:lnTo>
                  <a:lnTo>
                    <a:pt x="150" y="534"/>
                  </a:lnTo>
                  <a:lnTo>
                    <a:pt x="126" y="528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90" y="516"/>
                  </a:lnTo>
                  <a:lnTo>
                    <a:pt x="78" y="504"/>
                  </a:lnTo>
                  <a:lnTo>
                    <a:pt x="72" y="498"/>
                  </a:lnTo>
                  <a:lnTo>
                    <a:pt x="66" y="486"/>
                  </a:lnTo>
                  <a:lnTo>
                    <a:pt x="54" y="468"/>
                  </a:lnTo>
                  <a:lnTo>
                    <a:pt x="54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42" y="438"/>
                  </a:lnTo>
                  <a:lnTo>
                    <a:pt x="36" y="438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24" y="384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2" y="360"/>
                  </a:lnTo>
                  <a:lnTo>
                    <a:pt x="6" y="360"/>
                  </a:lnTo>
                  <a:lnTo>
                    <a:pt x="0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0"/>
                  </a:lnTo>
                  <a:lnTo>
                    <a:pt x="18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8" y="270"/>
                  </a:lnTo>
                  <a:lnTo>
                    <a:pt x="90" y="276"/>
                  </a:lnTo>
                  <a:lnTo>
                    <a:pt x="108" y="294"/>
                  </a:lnTo>
                  <a:lnTo>
                    <a:pt x="114" y="294"/>
                  </a:lnTo>
                  <a:lnTo>
                    <a:pt x="114" y="276"/>
                  </a:lnTo>
                  <a:lnTo>
                    <a:pt x="114" y="270"/>
                  </a:lnTo>
                  <a:lnTo>
                    <a:pt x="102" y="258"/>
                  </a:lnTo>
                  <a:lnTo>
                    <a:pt x="96" y="246"/>
                  </a:lnTo>
                  <a:lnTo>
                    <a:pt x="90" y="234"/>
                  </a:lnTo>
                  <a:lnTo>
                    <a:pt x="78" y="228"/>
                  </a:lnTo>
                  <a:lnTo>
                    <a:pt x="72" y="216"/>
                  </a:lnTo>
                  <a:lnTo>
                    <a:pt x="66" y="192"/>
                  </a:lnTo>
                  <a:lnTo>
                    <a:pt x="90" y="174"/>
                  </a:lnTo>
                  <a:lnTo>
                    <a:pt x="120" y="150"/>
                  </a:lnTo>
                  <a:lnTo>
                    <a:pt x="132" y="150"/>
                  </a:lnTo>
                  <a:lnTo>
                    <a:pt x="138" y="144"/>
                  </a:lnTo>
                  <a:lnTo>
                    <a:pt x="138" y="138"/>
                  </a:lnTo>
                  <a:lnTo>
                    <a:pt x="156" y="126"/>
                  </a:lnTo>
                  <a:lnTo>
                    <a:pt x="180" y="114"/>
                  </a:lnTo>
                  <a:lnTo>
                    <a:pt x="216" y="114"/>
                  </a:lnTo>
                  <a:lnTo>
                    <a:pt x="222" y="114"/>
                  </a:lnTo>
                  <a:lnTo>
                    <a:pt x="222" y="120"/>
                  </a:lnTo>
                  <a:lnTo>
                    <a:pt x="222" y="126"/>
                  </a:lnTo>
                  <a:lnTo>
                    <a:pt x="222" y="132"/>
                  </a:lnTo>
                  <a:lnTo>
                    <a:pt x="228" y="138"/>
                  </a:lnTo>
                  <a:lnTo>
                    <a:pt x="228" y="144"/>
                  </a:lnTo>
                  <a:lnTo>
                    <a:pt x="228" y="150"/>
                  </a:lnTo>
                  <a:lnTo>
                    <a:pt x="234" y="150"/>
                  </a:lnTo>
                  <a:lnTo>
                    <a:pt x="234" y="144"/>
                  </a:lnTo>
                  <a:lnTo>
                    <a:pt x="240" y="144"/>
                  </a:lnTo>
                  <a:lnTo>
                    <a:pt x="246" y="144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58" y="126"/>
                  </a:lnTo>
                  <a:lnTo>
                    <a:pt x="258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76" y="96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6" y="72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36"/>
                  </a:lnTo>
                  <a:lnTo>
                    <a:pt x="330" y="24"/>
                  </a:lnTo>
                  <a:lnTo>
                    <a:pt x="330" y="18"/>
                  </a:lnTo>
                  <a:lnTo>
                    <a:pt x="330" y="12"/>
                  </a:lnTo>
                  <a:lnTo>
                    <a:pt x="336" y="6"/>
                  </a:lnTo>
                  <a:lnTo>
                    <a:pt x="366" y="0"/>
                  </a:lnTo>
                  <a:lnTo>
                    <a:pt x="372" y="6"/>
                  </a:lnTo>
                  <a:lnTo>
                    <a:pt x="384" y="12"/>
                  </a:lnTo>
                  <a:lnTo>
                    <a:pt x="402" y="12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18"/>
                  </a:lnTo>
                  <a:lnTo>
                    <a:pt x="420" y="18"/>
                  </a:lnTo>
                  <a:lnTo>
                    <a:pt x="426" y="24"/>
                  </a:lnTo>
                  <a:lnTo>
                    <a:pt x="432" y="30"/>
                  </a:lnTo>
                  <a:lnTo>
                    <a:pt x="438" y="36"/>
                  </a:lnTo>
                  <a:lnTo>
                    <a:pt x="444" y="42"/>
                  </a:lnTo>
                  <a:lnTo>
                    <a:pt x="450" y="42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16" y="78"/>
                  </a:lnTo>
                  <a:lnTo>
                    <a:pt x="522" y="102"/>
                  </a:lnTo>
                  <a:lnTo>
                    <a:pt x="522" y="108"/>
                  </a:lnTo>
                  <a:lnTo>
                    <a:pt x="528" y="126"/>
                  </a:lnTo>
                  <a:lnTo>
                    <a:pt x="534" y="126"/>
                  </a:lnTo>
                  <a:lnTo>
                    <a:pt x="540" y="120"/>
                  </a:lnTo>
                  <a:lnTo>
                    <a:pt x="546" y="126"/>
                  </a:lnTo>
                  <a:lnTo>
                    <a:pt x="552" y="126"/>
                  </a:lnTo>
                  <a:lnTo>
                    <a:pt x="558" y="132"/>
                  </a:lnTo>
                  <a:lnTo>
                    <a:pt x="564" y="138"/>
                  </a:lnTo>
                  <a:lnTo>
                    <a:pt x="570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594" y="168"/>
                  </a:lnTo>
                  <a:lnTo>
                    <a:pt x="600" y="174"/>
                  </a:lnTo>
                  <a:lnTo>
                    <a:pt x="606" y="180"/>
                  </a:lnTo>
                  <a:lnTo>
                    <a:pt x="606" y="186"/>
                  </a:lnTo>
                  <a:lnTo>
                    <a:pt x="612" y="192"/>
                  </a:lnTo>
                  <a:lnTo>
                    <a:pt x="612" y="198"/>
                  </a:lnTo>
                  <a:lnTo>
                    <a:pt x="624" y="204"/>
                  </a:lnTo>
                  <a:lnTo>
                    <a:pt x="624" y="210"/>
                  </a:lnTo>
                  <a:lnTo>
                    <a:pt x="630" y="216"/>
                  </a:lnTo>
                  <a:lnTo>
                    <a:pt x="636" y="222"/>
                  </a:lnTo>
                  <a:lnTo>
                    <a:pt x="636" y="228"/>
                  </a:lnTo>
                  <a:lnTo>
                    <a:pt x="636" y="234"/>
                  </a:lnTo>
                  <a:lnTo>
                    <a:pt x="636" y="252"/>
                  </a:lnTo>
                  <a:lnTo>
                    <a:pt x="636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42" y="276"/>
                  </a:lnTo>
                  <a:lnTo>
                    <a:pt x="642" y="282"/>
                  </a:lnTo>
                  <a:lnTo>
                    <a:pt x="642" y="288"/>
                  </a:lnTo>
                  <a:lnTo>
                    <a:pt x="642" y="300"/>
                  </a:lnTo>
                  <a:lnTo>
                    <a:pt x="642" y="306"/>
                  </a:lnTo>
                  <a:lnTo>
                    <a:pt x="636" y="312"/>
                  </a:lnTo>
                  <a:lnTo>
                    <a:pt x="636" y="324"/>
                  </a:lnTo>
                  <a:lnTo>
                    <a:pt x="636" y="342"/>
                  </a:lnTo>
                  <a:lnTo>
                    <a:pt x="630" y="354"/>
                  </a:lnTo>
                  <a:lnTo>
                    <a:pt x="630" y="366"/>
                  </a:lnTo>
                  <a:lnTo>
                    <a:pt x="624" y="378"/>
                  </a:lnTo>
                  <a:lnTo>
                    <a:pt x="624" y="384"/>
                  </a:lnTo>
                  <a:lnTo>
                    <a:pt x="636" y="396"/>
                  </a:lnTo>
                  <a:lnTo>
                    <a:pt x="636" y="402"/>
                  </a:lnTo>
                  <a:lnTo>
                    <a:pt x="636" y="408"/>
                  </a:lnTo>
                  <a:lnTo>
                    <a:pt x="630" y="414"/>
                  </a:lnTo>
                  <a:lnTo>
                    <a:pt x="630" y="420"/>
                  </a:lnTo>
                  <a:lnTo>
                    <a:pt x="630" y="426"/>
                  </a:lnTo>
                  <a:lnTo>
                    <a:pt x="630" y="432"/>
                  </a:lnTo>
                  <a:lnTo>
                    <a:pt x="624" y="438"/>
                  </a:lnTo>
                  <a:lnTo>
                    <a:pt x="624" y="444"/>
                  </a:lnTo>
                  <a:lnTo>
                    <a:pt x="624" y="450"/>
                  </a:lnTo>
                  <a:lnTo>
                    <a:pt x="630" y="450"/>
                  </a:lnTo>
                  <a:lnTo>
                    <a:pt x="630" y="456"/>
                  </a:lnTo>
                  <a:lnTo>
                    <a:pt x="630" y="462"/>
                  </a:lnTo>
                  <a:lnTo>
                    <a:pt x="636" y="468"/>
                  </a:lnTo>
                  <a:lnTo>
                    <a:pt x="642" y="456"/>
                  </a:lnTo>
                  <a:lnTo>
                    <a:pt x="642" y="450"/>
                  </a:lnTo>
                  <a:lnTo>
                    <a:pt x="648" y="450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60" y="444"/>
                  </a:lnTo>
                  <a:lnTo>
                    <a:pt x="666" y="450"/>
                  </a:lnTo>
                  <a:lnTo>
                    <a:pt x="672" y="444"/>
                  </a:lnTo>
                  <a:lnTo>
                    <a:pt x="678" y="444"/>
                  </a:lnTo>
                  <a:lnTo>
                    <a:pt x="684" y="438"/>
                  </a:lnTo>
                  <a:lnTo>
                    <a:pt x="690" y="438"/>
                  </a:lnTo>
                  <a:lnTo>
                    <a:pt x="696" y="438"/>
                  </a:lnTo>
                  <a:lnTo>
                    <a:pt x="702" y="444"/>
                  </a:lnTo>
                  <a:lnTo>
                    <a:pt x="702" y="450"/>
                  </a:lnTo>
                  <a:lnTo>
                    <a:pt x="708" y="450"/>
                  </a:lnTo>
                  <a:lnTo>
                    <a:pt x="708" y="456"/>
                  </a:lnTo>
                  <a:lnTo>
                    <a:pt x="708" y="462"/>
                  </a:lnTo>
                  <a:lnTo>
                    <a:pt x="708" y="468"/>
                  </a:lnTo>
                  <a:lnTo>
                    <a:pt x="708" y="504"/>
                  </a:lnTo>
                  <a:lnTo>
                    <a:pt x="696" y="564"/>
                  </a:lnTo>
                  <a:lnTo>
                    <a:pt x="696" y="582"/>
                  </a:lnTo>
                  <a:lnTo>
                    <a:pt x="696" y="600"/>
                  </a:lnTo>
                  <a:lnTo>
                    <a:pt x="690" y="606"/>
                  </a:lnTo>
                  <a:lnTo>
                    <a:pt x="684" y="606"/>
                  </a:lnTo>
                  <a:lnTo>
                    <a:pt x="690" y="612"/>
                  </a:lnTo>
                  <a:lnTo>
                    <a:pt x="684" y="612"/>
                  </a:lnTo>
                  <a:lnTo>
                    <a:pt x="678" y="618"/>
                  </a:lnTo>
                  <a:lnTo>
                    <a:pt x="672" y="624"/>
                  </a:lnTo>
                  <a:lnTo>
                    <a:pt x="666" y="630"/>
                  </a:lnTo>
                  <a:lnTo>
                    <a:pt x="660" y="636"/>
                  </a:lnTo>
                  <a:lnTo>
                    <a:pt x="672" y="636"/>
                  </a:lnTo>
                  <a:lnTo>
                    <a:pt x="678" y="642"/>
                  </a:lnTo>
                  <a:lnTo>
                    <a:pt x="678" y="648"/>
                  </a:lnTo>
                  <a:lnTo>
                    <a:pt x="684" y="654"/>
                  </a:lnTo>
                  <a:lnTo>
                    <a:pt x="690" y="666"/>
                  </a:lnTo>
                  <a:lnTo>
                    <a:pt x="690" y="672"/>
                  </a:lnTo>
                  <a:lnTo>
                    <a:pt x="696" y="672"/>
                  </a:lnTo>
                  <a:lnTo>
                    <a:pt x="696" y="684"/>
                  </a:lnTo>
                  <a:lnTo>
                    <a:pt x="708" y="690"/>
                  </a:lnTo>
                  <a:lnTo>
                    <a:pt x="720" y="696"/>
                  </a:lnTo>
                  <a:lnTo>
                    <a:pt x="726" y="696"/>
                  </a:lnTo>
                  <a:lnTo>
                    <a:pt x="732" y="696"/>
                  </a:lnTo>
                  <a:lnTo>
                    <a:pt x="738" y="696"/>
                  </a:lnTo>
                  <a:lnTo>
                    <a:pt x="738" y="702"/>
                  </a:lnTo>
                  <a:lnTo>
                    <a:pt x="738" y="708"/>
                  </a:lnTo>
                  <a:lnTo>
                    <a:pt x="738" y="714"/>
                  </a:lnTo>
                  <a:lnTo>
                    <a:pt x="744" y="714"/>
                  </a:lnTo>
                  <a:lnTo>
                    <a:pt x="756" y="720"/>
                  </a:lnTo>
                  <a:lnTo>
                    <a:pt x="780" y="726"/>
                  </a:lnTo>
                  <a:lnTo>
                    <a:pt x="792" y="732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22" y="774"/>
                  </a:lnTo>
                  <a:lnTo>
                    <a:pt x="834" y="786"/>
                  </a:lnTo>
                  <a:lnTo>
                    <a:pt x="834" y="792"/>
                  </a:lnTo>
                  <a:lnTo>
                    <a:pt x="834" y="798"/>
                  </a:lnTo>
                  <a:lnTo>
                    <a:pt x="828" y="798"/>
                  </a:lnTo>
                  <a:lnTo>
                    <a:pt x="828" y="804"/>
                  </a:lnTo>
                  <a:lnTo>
                    <a:pt x="834" y="816"/>
                  </a:lnTo>
                  <a:lnTo>
                    <a:pt x="834" y="834"/>
                  </a:lnTo>
                  <a:lnTo>
                    <a:pt x="834" y="840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34" y="858"/>
                  </a:lnTo>
                  <a:lnTo>
                    <a:pt x="834" y="864"/>
                  </a:lnTo>
                  <a:lnTo>
                    <a:pt x="834" y="876"/>
                  </a:lnTo>
                  <a:lnTo>
                    <a:pt x="828" y="960"/>
                  </a:lnTo>
                  <a:lnTo>
                    <a:pt x="816" y="966"/>
                  </a:lnTo>
                  <a:lnTo>
                    <a:pt x="798" y="972"/>
                  </a:lnTo>
                  <a:lnTo>
                    <a:pt x="786" y="990"/>
                  </a:lnTo>
                  <a:lnTo>
                    <a:pt x="774" y="990"/>
                  </a:lnTo>
                  <a:lnTo>
                    <a:pt x="762" y="1008"/>
                  </a:lnTo>
                  <a:lnTo>
                    <a:pt x="732" y="1014"/>
                  </a:lnTo>
                  <a:lnTo>
                    <a:pt x="714" y="1026"/>
                  </a:lnTo>
                  <a:lnTo>
                    <a:pt x="690" y="1050"/>
                  </a:lnTo>
                  <a:lnTo>
                    <a:pt x="654" y="1056"/>
                  </a:lnTo>
                  <a:lnTo>
                    <a:pt x="630" y="1056"/>
                  </a:lnTo>
                  <a:lnTo>
                    <a:pt x="606" y="1068"/>
                  </a:lnTo>
                  <a:lnTo>
                    <a:pt x="600" y="1092"/>
                  </a:lnTo>
                  <a:lnTo>
                    <a:pt x="600" y="1098"/>
                  </a:lnTo>
                  <a:lnTo>
                    <a:pt x="588" y="1104"/>
                  </a:lnTo>
                  <a:lnTo>
                    <a:pt x="582" y="1104"/>
                  </a:lnTo>
                  <a:lnTo>
                    <a:pt x="570" y="1110"/>
                  </a:lnTo>
                  <a:lnTo>
                    <a:pt x="564" y="111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7" name="Freeform 12">
              <a:extLst>
                <a:ext uri="{FF2B5EF4-FFF2-40B4-BE49-F238E27FC236}">
                  <a16:creationId xmlns:a16="http://schemas.microsoft.com/office/drawing/2014/main" id="{6C93C114-E5D0-49BB-A44C-A127CE01CFE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810" y="2271838"/>
              <a:ext cx="923547" cy="845397"/>
            </a:xfrm>
            <a:custGeom>
              <a:avLst/>
              <a:gdLst>
                <a:gd name="T0" fmla="*/ 138 w 1740"/>
                <a:gd name="T1" fmla="*/ 134 h 1590"/>
                <a:gd name="T2" fmla="*/ 128 w 1740"/>
                <a:gd name="T3" fmla="*/ 131 h 1590"/>
                <a:gd name="T4" fmla="*/ 121 w 1740"/>
                <a:gd name="T5" fmla="*/ 130 h 1590"/>
                <a:gd name="T6" fmla="*/ 119 w 1740"/>
                <a:gd name="T7" fmla="*/ 134 h 1590"/>
                <a:gd name="T8" fmla="*/ 110 w 1740"/>
                <a:gd name="T9" fmla="*/ 132 h 1590"/>
                <a:gd name="T10" fmla="*/ 111 w 1740"/>
                <a:gd name="T11" fmla="*/ 127 h 1590"/>
                <a:gd name="T12" fmla="*/ 103 w 1740"/>
                <a:gd name="T13" fmla="*/ 117 h 1590"/>
                <a:gd name="T14" fmla="*/ 93 w 1740"/>
                <a:gd name="T15" fmla="*/ 123 h 1590"/>
                <a:gd name="T16" fmla="*/ 80 w 1740"/>
                <a:gd name="T17" fmla="*/ 118 h 1590"/>
                <a:gd name="T18" fmla="*/ 66 w 1740"/>
                <a:gd name="T19" fmla="*/ 117 h 1590"/>
                <a:gd name="T20" fmla="*/ 66 w 1740"/>
                <a:gd name="T21" fmla="*/ 110 h 1590"/>
                <a:gd name="T22" fmla="*/ 69 w 1740"/>
                <a:gd name="T23" fmla="*/ 107 h 1590"/>
                <a:gd name="T24" fmla="*/ 68 w 1740"/>
                <a:gd name="T25" fmla="*/ 102 h 1590"/>
                <a:gd name="T26" fmla="*/ 68 w 1740"/>
                <a:gd name="T27" fmla="*/ 96 h 1590"/>
                <a:gd name="T28" fmla="*/ 67 w 1740"/>
                <a:gd name="T29" fmla="*/ 82 h 1590"/>
                <a:gd name="T30" fmla="*/ 58 w 1740"/>
                <a:gd name="T31" fmla="*/ 82 h 1590"/>
                <a:gd name="T32" fmla="*/ 52 w 1740"/>
                <a:gd name="T33" fmla="*/ 82 h 1590"/>
                <a:gd name="T34" fmla="*/ 46 w 1740"/>
                <a:gd name="T35" fmla="*/ 80 h 1590"/>
                <a:gd name="T36" fmla="*/ 45 w 1740"/>
                <a:gd name="T37" fmla="*/ 74 h 1590"/>
                <a:gd name="T38" fmla="*/ 52 w 1740"/>
                <a:gd name="T39" fmla="*/ 70 h 1590"/>
                <a:gd name="T40" fmla="*/ 52 w 1740"/>
                <a:gd name="T41" fmla="*/ 64 h 1590"/>
                <a:gd name="T42" fmla="*/ 42 w 1740"/>
                <a:gd name="T43" fmla="*/ 53 h 1590"/>
                <a:gd name="T44" fmla="*/ 35 w 1740"/>
                <a:gd name="T45" fmla="*/ 52 h 1590"/>
                <a:gd name="T46" fmla="*/ 20 w 1740"/>
                <a:gd name="T47" fmla="*/ 51 h 1590"/>
                <a:gd name="T48" fmla="*/ 17 w 1740"/>
                <a:gd name="T49" fmla="*/ 56 h 1590"/>
                <a:gd name="T50" fmla="*/ 11 w 1740"/>
                <a:gd name="T51" fmla="*/ 61 h 1590"/>
                <a:gd name="T52" fmla="*/ 7 w 1740"/>
                <a:gd name="T53" fmla="*/ 63 h 1590"/>
                <a:gd name="T54" fmla="*/ 0 w 1740"/>
                <a:gd name="T55" fmla="*/ 55 h 1590"/>
                <a:gd name="T56" fmla="*/ 2 w 1740"/>
                <a:gd name="T57" fmla="*/ 50 h 1590"/>
                <a:gd name="T58" fmla="*/ 0 w 1740"/>
                <a:gd name="T59" fmla="*/ 44 h 1590"/>
                <a:gd name="T60" fmla="*/ 2 w 1740"/>
                <a:gd name="T61" fmla="*/ 38 h 1590"/>
                <a:gd name="T62" fmla="*/ 7 w 1740"/>
                <a:gd name="T63" fmla="*/ 35 h 1590"/>
                <a:gd name="T64" fmla="*/ 11 w 1740"/>
                <a:gd name="T65" fmla="*/ 30 h 1590"/>
                <a:gd name="T66" fmla="*/ 21 w 1740"/>
                <a:gd name="T67" fmla="*/ 26 h 1590"/>
                <a:gd name="T68" fmla="*/ 29 w 1740"/>
                <a:gd name="T69" fmla="*/ 25 h 1590"/>
                <a:gd name="T70" fmla="*/ 35 w 1740"/>
                <a:gd name="T71" fmla="*/ 21 h 1590"/>
                <a:gd name="T72" fmla="*/ 36 w 1740"/>
                <a:gd name="T73" fmla="*/ 16 h 1590"/>
                <a:gd name="T74" fmla="*/ 41 w 1740"/>
                <a:gd name="T75" fmla="*/ 11 h 1590"/>
                <a:gd name="T76" fmla="*/ 51 w 1740"/>
                <a:gd name="T77" fmla="*/ 9 h 1590"/>
                <a:gd name="T78" fmla="*/ 59 w 1740"/>
                <a:gd name="T79" fmla="*/ 21 h 1590"/>
                <a:gd name="T80" fmla="*/ 65 w 1740"/>
                <a:gd name="T81" fmla="*/ 13 h 1590"/>
                <a:gd name="T82" fmla="*/ 73 w 1740"/>
                <a:gd name="T83" fmla="*/ 8 h 1590"/>
                <a:gd name="T84" fmla="*/ 82 w 1740"/>
                <a:gd name="T85" fmla="*/ 12 h 1590"/>
                <a:gd name="T86" fmla="*/ 88 w 1740"/>
                <a:gd name="T87" fmla="*/ 12 h 1590"/>
                <a:gd name="T88" fmla="*/ 99 w 1740"/>
                <a:gd name="T89" fmla="*/ 7 h 1590"/>
                <a:gd name="T90" fmla="*/ 114 w 1740"/>
                <a:gd name="T91" fmla="*/ 0 h 1590"/>
                <a:gd name="T92" fmla="*/ 117 w 1740"/>
                <a:gd name="T93" fmla="*/ 10 h 1590"/>
                <a:gd name="T94" fmla="*/ 132 w 1740"/>
                <a:gd name="T95" fmla="*/ 17 h 1590"/>
                <a:gd name="T96" fmla="*/ 140 w 1740"/>
                <a:gd name="T97" fmla="*/ 25 h 1590"/>
                <a:gd name="T98" fmla="*/ 140 w 1740"/>
                <a:gd name="T99" fmla="*/ 33 h 1590"/>
                <a:gd name="T100" fmla="*/ 140 w 1740"/>
                <a:gd name="T101" fmla="*/ 44 h 1590"/>
                <a:gd name="T102" fmla="*/ 138 w 1740"/>
                <a:gd name="T103" fmla="*/ 48 h 1590"/>
                <a:gd name="T104" fmla="*/ 141 w 1740"/>
                <a:gd name="T105" fmla="*/ 49 h 1590"/>
                <a:gd name="T106" fmla="*/ 146 w 1740"/>
                <a:gd name="T107" fmla="*/ 50 h 1590"/>
                <a:gd name="T108" fmla="*/ 149 w 1740"/>
                <a:gd name="T109" fmla="*/ 59 h 1590"/>
                <a:gd name="T110" fmla="*/ 148 w 1740"/>
                <a:gd name="T111" fmla="*/ 67 h 1590"/>
                <a:gd name="T112" fmla="*/ 141 w 1740"/>
                <a:gd name="T113" fmla="*/ 78 h 1590"/>
                <a:gd name="T114" fmla="*/ 141 w 1740"/>
                <a:gd name="T115" fmla="*/ 91 h 1590"/>
                <a:gd name="T116" fmla="*/ 138 w 1740"/>
                <a:gd name="T117" fmla="*/ 102 h 1590"/>
                <a:gd name="T118" fmla="*/ 138 w 1740"/>
                <a:gd name="T119" fmla="*/ 110 h 1590"/>
                <a:gd name="T120" fmla="*/ 144 w 1740"/>
                <a:gd name="T121" fmla="*/ 118 h 1590"/>
                <a:gd name="T122" fmla="*/ 143 w 1740"/>
                <a:gd name="T123" fmla="*/ 125 h 159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740"/>
                <a:gd name="T187" fmla="*/ 0 h 1590"/>
                <a:gd name="T188" fmla="*/ 1740 w 1740"/>
                <a:gd name="T189" fmla="*/ 1590 h 159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740" h="1590">
                  <a:moveTo>
                    <a:pt x="1638" y="1458"/>
                  </a:moveTo>
                  <a:lnTo>
                    <a:pt x="1638" y="1482"/>
                  </a:lnTo>
                  <a:lnTo>
                    <a:pt x="1638" y="1500"/>
                  </a:lnTo>
                  <a:lnTo>
                    <a:pt x="1626" y="1500"/>
                  </a:lnTo>
                  <a:lnTo>
                    <a:pt x="1620" y="1500"/>
                  </a:lnTo>
                  <a:lnTo>
                    <a:pt x="1614" y="1500"/>
                  </a:lnTo>
                  <a:lnTo>
                    <a:pt x="1614" y="1506"/>
                  </a:lnTo>
                  <a:lnTo>
                    <a:pt x="1614" y="1512"/>
                  </a:lnTo>
                  <a:lnTo>
                    <a:pt x="1620" y="1518"/>
                  </a:lnTo>
                  <a:lnTo>
                    <a:pt x="1614" y="1524"/>
                  </a:lnTo>
                  <a:lnTo>
                    <a:pt x="1590" y="1536"/>
                  </a:lnTo>
                  <a:lnTo>
                    <a:pt x="1584" y="1566"/>
                  </a:lnTo>
                  <a:lnTo>
                    <a:pt x="1578" y="1590"/>
                  </a:lnTo>
                  <a:lnTo>
                    <a:pt x="1548" y="1590"/>
                  </a:lnTo>
                  <a:lnTo>
                    <a:pt x="1542" y="1584"/>
                  </a:lnTo>
                  <a:lnTo>
                    <a:pt x="1542" y="1572"/>
                  </a:lnTo>
                  <a:lnTo>
                    <a:pt x="1536" y="1566"/>
                  </a:lnTo>
                  <a:lnTo>
                    <a:pt x="1536" y="1554"/>
                  </a:lnTo>
                  <a:lnTo>
                    <a:pt x="1536" y="1548"/>
                  </a:lnTo>
                  <a:lnTo>
                    <a:pt x="1506" y="1530"/>
                  </a:lnTo>
                  <a:lnTo>
                    <a:pt x="1488" y="1506"/>
                  </a:lnTo>
                  <a:lnTo>
                    <a:pt x="1464" y="1500"/>
                  </a:lnTo>
                  <a:lnTo>
                    <a:pt x="1470" y="1494"/>
                  </a:lnTo>
                  <a:lnTo>
                    <a:pt x="1470" y="1488"/>
                  </a:lnTo>
                  <a:lnTo>
                    <a:pt x="1470" y="1482"/>
                  </a:lnTo>
                  <a:lnTo>
                    <a:pt x="1428" y="1464"/>
                  </a:lnTo>
                  <a:lnTo>
                    <a:pt x="1404" y="1470"/>
                  </a:lnTo>
                  <a:lnTo>
                    <a:pt x="1398" y="1470"/>
                  </a:lnTo>
                  <a:lnTo>
                    <a:pt x="1392" y="1476"/>
                  </a:lnTo>
                  <a:lnTo>
                    <a:pt x="1386" y="1476"/>
                  </a:lnTo>
                  <a:lnTo>
                    <a:pt x="1386" y="1482"/>
                  </a:lnTo>
                  <a:lnTo>
                    <a:pt x="1392" y="1482"/>
                  </a:lnTo>
                  <a:lnTo>
                    <a:pt x="1386" y="1488"/>
                  </a:lnTo>
                  <a:lnTo>
                    <a:pt x="1386" y="1494"/>
                  </a:lnTo>
                  <a:lnTo>
                    <a:pt x="1380" y="1494"/>
                  </a:lnTo>
                  <a:lnTo>
                    <a:pt x="1380" y="1500"/>
                  </a:lnTo>
                  <a:lnTo>
                    <a:pt x="1380" y="1512"/>
                  </a:lnTo>
                  <a:lnTo>
                    <a:pt x="1380" y="1518"/>
                  </a:lnTo>
                  <a:lnTo>
                    <a:pt x="1380" y="1524"/>
                  </a:lnTo>
                  <a:lnTo>
                    <a:pt x="1380" y="1530"/>
                  </a:lnTo>
                  <a:lnTo>
                    <a:pt x="1374" y="1536"/>
                  </a:lnTo>
                  <a:lnTo>
                    <a:pt x="1374" y="1542"/>
                  </a:lnTo>
                  <a:lnTo>
                    <a:pt x="1368" y="1542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44" y="1554"/>
                  </a:lnTo>
                  <a:lnTo>
                    <a:pt x="1332" y="1560"/>
                  </a:lnTo>
                  <a:lnTo>
                    <a:pt x="1302" y="1554"/>
                  </a:lnTo>
                  <a:lnTo>
                    <a:pt x="1290" y="1554"/>
                  </a:lnTo>
                  <a:lnTo>
                    <a:pt x="1278" y="1542"/>
                  </a:lnTo>
                  <a:lnTo>
                    <a:pt x="1272" y="1530"/>
                  </a:lnTo>
                  <a:lnTo>
                    <a:pt x="1272" y="1524"/>
                  </a:lnTo>
                  <a:lnTo>
                    <a:pt x="1272" y="1518"/>
                  </a:lnTo>
                  <a:lnTo>
                    <a:pt x="1266" y="1518"/>
                  </a:lnTo>
                  <a:lnTo>
                    <a:pt x="1266" y="1512"/>
                  </a:lnTo>
                  <a:lnTo>
                    <a:pt x="1266" y="1506"/>
                  </a:lnTo>
                  <a:lnTo>
                    <a:pt x="1272" y="1506"/>
                  </a:lnTo>
                  <a:lnTo>
                    <a:pt x="1272" y="1500"/>
                  </a:lnTo>
                  <a:lnTo>
                    <a:pt x="1278" y="1500"/>
                  </a:lnTo>
                  <a:lnTo>
                    <a:pt x="1278" y="1494"/>
                  </a:lnTo>
                  <a:lnTo>
                    <a:pt x="1278" y="1488"/>
                  </a:lnTo>
                  <a:lnTo>
                    <a:pt x="1284" y="1488"/>
                  </a:lnTo>
                  <a:lnTo>
                    <a:pt x="1284" y="1482"/>
                  </a:lnTo>
                  <a:lnTo>
                    <a:pt x="1290" y="1476"/>
                  </a:lnTo>
                  <a:lnTo>
                    <a:pt x="1284" y="1470"/>
                  </a:lnTo>
                  <a:lnTo>
                    <a:pt x="1278" y="1458"/>
                  </a:lnTo>
                  <a:lnTo>
                    <a:pt x="1278" y="1452"/>
                  </a:lnTo>
                  <a:lnTo>
                    <a:pt x="1260" y="1428"/>
                  </a:lnTo>
                  <a:lnTo>
                    <a:pt x="1254" y="1416"/>
                  </a:lnTo>
                  <a:lnTo>
                    <a:pt x="1254" y="1410"/>
                  </a:lnTo>
                  <a:lnTo>
                    <a:pt x="1248" y="1398"/>
                  </a:lnTo>
                  <a:lnTo>
                    <a:pt x="1242" y="1398"/>
                  </a:lnTo>
                  <a:lnTo>
                    <a:pt x="1236" y="1398"/>
                  </a:lnTo>
                  <a:lnTo>
                    <a:pt x="1218" y="1386"/>
                  </a:lnTo>
                  <a:lnTo>
                    <a:pt x="1212" y="1362"/>
                  </a:lnTo>
                  <a:lnTo>
                    <a:pt x="1200" y="1344"/>
                  </a:lnTo>
                  <a:lnTo>
                    <a:pt x="1188" y="1338"/>
                  </a:lnTo>
                  <a:lnTo>
                    <a:pt x="1164" y="1338"/>
                  </a:lnTo>
                  <a:lnTo>
                    <a:pt x="1158" y="1344"/>
                  </a:lnTo>
                  <a:lnTo>
                    <a:pt x="1152" y="1350"/>
                  </a:lnTo>
                  <a:lnTo>
                    <a:pt x="1152" y="1356"/>
                  </a:lnTo>
                  <a:lnTo>
                    <a:pt x="1140" y="1362"/>
                  </a:lnTo>
                  <a:lnTo>
                    <a:pt x="1134" y="1380"/>
                  </a:lnTo>
                  <a:lnTo>
                    <a:pt x="1116" y="1398"/>
                  </a:lnTo>
                  <a:lnTo>
                    <a:pt x="1110" y="1416"/>
                  </a:lnTo>
                  <a:lnTo>
                    <a:pt x="1086" y="1416"/>
                  </a:lnTo>
                  <a:lnTo>
                    <a:pt x="1080" y="1410"/>
                  </a:lnTo>
                  <a:lnTo>
                    <a:pt x="1074" y="1410"/>
                  </a:lnTo>
                  <a:lnTo>
                    <a:pt x="1074" y="1404"/>
                  </a:lnTo>
                  <a:lnTo>
                    <a:pt x="1062" y="1404"/>
                  </a:lnTo>
                  <a:lnTo>
                    <a:pt x="1062" y="1380"/>
                  </a:lnTo>
                  <a:lnTo>
                    <a:pt x="1038" y="1380"/>
                  </a:lnTo>
                  <a:lnTo>
                    <a:pt x="1026" y="1350"/>
                  </a:lnTo>
                  <a:lnTo>
                    <a:pt x="996" y="1326"/>
                  </a:lnTo>
                  <a:lnTo>
                    <a:pt x="966" y="1314"/>
                  </a:lnTo>
                  <a:lnTo>
                    <a:pt x="954" y="1320"/>
                  </a:lnTo>
                  <a:lnTo>
                    <a:pt x="942" y="1338"/>
                  </a:lnTo>
                  <a:lnTo>
                    <a:pt x="930" y="1338"/>
                  </a:lnTo>
                  <a:lnTo>
                    <a:pt x="924" y="1350"/>
                  </a:lnTo>
                  <a:lnTo>
                    <a:pt x="906" y="1356"/>
                  </a:lnTo>
                  <a:lnTo>
                    <a:pt x="846" y="1356"/>
                  </a:lnTo>
                  <a:lnTo>
                    <a:pt x="834" y="1368"/>
                  </a:lnTo>
                  <a:lnTo>
                    <a:pt x="810" y="1362"/>
                  </a:lnTo>
                  <a:lnTo>
                    <a:pt x="792" y="1362"/>
                  </a:lnTo>
                  <a:lnTo>
                    <a:pt x="780" y="1368"/>
                  </a:lnTo>
                  <a:lnTo>
                    <a:pt x="762" y="1368"/>
                  </a:lnTo>
                  <a:lnTo>
                    <a:pt x="762" y="1362"/>
                  </a:lnTo>
                  <a:lnTo>
                    <a:pt x="750" y="1362"/>
                  </a:lnTo>
                  <a:lnTo>
                    <a:pt x="750" y="1338"/>
                  </a:lnTo>
                  <a:lnTo>
                    <a:pt x="762" y="1338"/>
                  </a:lnTo>
                  <a:lnTo>
                    <a:pt x="762" y="1326"/>
                  </a:lnTo>
                  <a:lnTo>
                    <a:pt x="762" y="1314"/>
                  </a:lnTo>
                  <a:lnTo>
                    <a:pt x="732" y="1314"/>
                  </a:lnTo>
                  <a:lnTo>
                    <a:pt x="726" y="1308"/>
                  </a:lnTo>
                  <a:lnTo>
                    <a:pt x="732" y="1284"/>
                  </a:lnTo>
                  <a:lnTo>
                    <a:pt x="732" y="1278"/>
                  </a:lnTo>
                  <a:lnTo>
                    <a:pt x="738" y="1272"/>
                  </a:lnTo>
                  <a:lnTo>
                    <a:pt x="738" y="1266"/>
                  </a:lnTo>
                  <a:lnTo>
                    <a:pt x="744" y="1266"/>
                  </a:lnTo>
                  <a:lnTo>
                    <a:pt x="750" y="1272"/>
                  </a:lnTo>
                  <a:lnTo>
                    <a:pt x="756" y="1266"/>
                  </a:lnTo>
                  <a:lnTo>
                    <a:pt x="762" y="1266"/>
                  </a:lnTo>
                  <a:lnTo>
                    <a:pt x="768" y="1260"/>
                  </a:lnTo>
                  <a:lnTo>
                    <a:pt x="774" y="1260"/>
                  </a:lnTo>
                  <a:lnTo>
                    <a:pt x="780" y="1254"/>
                  </a:lnTo>
                  <a:lnTo>
                    <a:pt x="774" y="1254"/>
                  </a:lnTo>
                  <a:lnTo>
                    <a:pt x="768" y="1254"/>
                  </a:lnTo>
                  <a:lnTo>
                    <a:pt x="774" y="1248"/>
                  </a:lnTo>
                  <a:lnTo>
                    <a:pt x="774" y="1242"/>
                  </a:lnTo>
                  <a:lnTo>
                    <a:pt x="780" y="1236"/>
                  </a:lnTo>
                  <a:lnTo>
                    <a:pt x="786" y="1236"/>
                  </a:lnTo>
                  <a:lnTo>
                    <a:pt x="792" y="1230"/>
                  </a:lnTo>
                  <a:lnTo>
                    <a:pt x="792" y="1236"/>
                  </a:lnTo>
                  <a:lnTo>
                    <a:pt x="798" y="1236"/>
                  </a:lnTo>
                  <a:lnTo>
                    <a:pt x="798" y="1230"/>
                  </a:lnTo>
                  <a:lnTo>
                    <a:pt x="804" y="1230"/>
                  </a:lnTo>
                  <a:lnTo>
                    <a:pt x="804" y="1218"/>
                  </a:lnTo>
                  <a:lnTo>
                    <a:pt x="804" y="1206"/>
                  </a:lnTo>
                  <a:lnTo>
                    <a:pt x="792" y="1188"/>
                  </a:lnTo>
                  <a:lnTo>
                    <a:pt x="768" y="1182"/>
                  </a:lnTo>
                  <a:lnTo>
                    <a:pt x="768" y="1170"/>
                  </a:lnTo>
                  <a:lnTo>
                    <a:pt x="774" y="1170"/>
                  </a:lnTo>
                  <a:lnTo>
                    <a:pt x="780" y="1170"/>
                  </a:lnTo>
                  <a:lnTo>
                    <a:pt x="786" y="1170"/>
                  </a:lnTo>
                  <a:lnTo>
                    <a:pt x="780" y="1152"/>
                  </a:lnTo>
                  <a:lnTo>
                    <a:pt x="780" y="1146"/>
                  </a:lnTo>
                  <a:lnTo>
                    <a:pt x="744" y="1140"/>
                  </a:lnTo>
                  <a:lnTo>
                    <a:pt x="732" y="1128"/>
                  </a:lnTo>
                  <a:lnTo>
                    <a:pt x="720" y="1122"/>
                  </a:lnTo>
                  <a:lnTo>
                    <a:pt x="732" y="1116"/>
                  </a:lnTo>
                  <a:lnTo>
                    <a:pt x="750" y="1104"/>
                  </a:lnTo>
                  <a:lnTo>
                    <a:pt x="756" y="1116"/>
                  </a:lnTo>
                  <a:lnTo>
                    <a:pt x="774" y="1116"/>
                  </a:lnTo>
                  <a:lnTo>
                    <a:pt x="780" y="1104"/>
                  </a:lnTo>
                  <a:lnTo>
                    <a:pt x="780" y="1080"/>
                  </a:lnTo>
                  <a:lnTo>
                    <a:pt x="786" y="1080"/>
                  </a:lnTo>
                  <a:lnTo>
                    <a:pt x="786" y="1074"/>
                  </a:lnTo>
                  <a:lnTo>
                    <a:pt x="792" y="1074"/>
                  </a:lnTo>
                  <a:lnTo>
                    <a:pt x="786" y="1068"/>
                  </a:lnTo>
                  <a:lnTo>
                    <a:pt x="786" y="1062"/>
                  </a:lnTo>
                  <a:lnTo>
                    <a:pt x="786" y="1056"/>
                  </a:lnTo>
                  <a:lnTo>
                    <a:pt x="792" y="1050"/>
                  </a:lnTo>
                  <a:lnTo>
                    <a:pt x="786" y="1020"/>
                  </a:lnTo>
                  <a:lnTo>
                    <a:pt x="780" y="960"/>
                  </a:lnTo>
                  <a:lnTo>
                    <a:pt x="768" y="942"/>
                  </a:lnTo>
                  <a:lnTo>
                    <a:pt x="732" y="936"/>
                  </a:lnTo>
                  <a:lnTo>
                    <a:pt x="732" y="942"/>
                  </a:lnTo>
                  <a:lnTo>
                    <a:pt x="726" y="942"/>
                  </a:lnTo>
                  <a:lnTo>
                    <a:pt x="720" y="936"/>
                  </a:lnTo>
                  <a:lnTo>
                    <a:pt x="714" y="942"/>
                  </a:lnTo>
                  <a:lnTo>
                    <a:pt x="708" y="942"/>
                  </a:lnTo>
                  <a:lnTo>
                    <a:pt x="702" y="942"/>
                  </a:lnTo>
                  <a:lnTo>
                    <a:pt x="690" y="936"/>
                  </a:lnTo>
                  <a:lnTo>
                    <a:pt x="684" y="936"/>
                  </a:lnTo>
                  <a:lnTo>
                    <a:pt x="678" y="936"/>
                  </a:lnTo>
                  <a:lnTo>
                    <a:pt x="672" y="936"/>
                  </a:lnTo>
                  <a:lnTo>
                    <a:pt x="666" y="942"/>
                  </a:lnTo>
                  <a:lnTo>
                    <a:pt x="660" y="942"/>
                  </a:lnTo>
                  <a:lnTo>
                    <a:pt x="654" y="942"/>
                  </a:lnTo>
                  <a:lnTo>
                    <a:pt x="648" y="942"/>
                  </a:lnTo>
                  <a:lnTo>
                    <a:pt x="642" y="936"/>
                  </a:lnTo>
                  <a:lnTo>
                    <a:pt x="636" y="936"/>
                  </a:lnTo>
                  <a:lnTo>
                    <a:pt x="630" y="930"/>
                  </a:lnTo>
                  <a:lnTo>
                    <a:pt x="618" y="930"/>
                  </a:lnTo>
                  <a:lnTo>
                    <a:pt x="612" y="930"/>
                  </a:lnTo>
                  <a:lnTo>
                    <a:pt x="606" y="936"/>
                  </a:lnTo>
                  <a:lnTo>
                    <a:pt x="600" y="942"/>
                  </a:lnTo>
                  <a:lnTo>
                    <a:pt x="600" y="936"/>
                  </a:lnTo>
                  <a:lnTo>
                    <a:pt x="594" y="930"/>
                  </a:lnTo>
                  <a:lnTo>
                    <a:pt x="588" y="930"/>
                  </a:lnTo>
                  <a:lnTo>
                    <a:pt x="582" y="930"/>
                  </a:lnTo>
                  <a:lnTo>
                    <a:pt x="576" y="930"/>
                  </a:lnTo>
                  <a:lnTo>
                    <a:pt x="564" y="936"/>
                  </a:lnTo>
                  <a:lnTo>
                    <a:pt x="558" y="936"/>
                  </a:lnTo>
                  <a:lnTo>
                    <a:pt x="546" y="924"/>
                  </a:lnTo>
                  <a:lnTo>
                    <a:pt x="540" y="924"/>
                  </a:lnTo>
                  <a:lnTo>
                    <a:pt x="534" y="918"/>
                  </a:lnTo>
                  <a:lnTo>
                    <a:pt x="528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6" y="918"/>
                  </a:lnTo>
                  <a:lnTo>
                    <a:pt x="516" y="912"/>
                  </a:lnTo>
                  <a:lnTo>
                    <a:pt x="510" y="894"/>
                  </a:lnTo>
                  <a:lnTo>
                    <a:pt x="510" y="882"/>
                  </a:lnTo>
                  <a:lnTo>
                    <a:pt x="510" y="876"/>
                  </a:lnTo>
                  <a:lnTo>
                    <a:pt x="516" y="870"/>
                  </a:lnTo>
                  <a:lnTo>
                    <a:pt x="510" y="864"/>
                  </a:lnTo>
                  <a:lnTo>
                    <a:pt x="516" y="858"/>
                  </a:lnTo>
                  <a:lnTo>
                    <a:pt x="522" y="858"/>
                  </a:lnTo>
                  <a:lnTo>
                    <a:pt x="528" y="858"/>
                  </a:lnTo>
                  <a:lnTo>
                    <a:pt x="522" y="852"/>
                  </a:lnTo>
                  <a:lnTo>
                    <a:pt x="528" y="852"/>
                  </a:lnTo>
                  <a:lnTo>
                    <a:pt x="528" y="846"/>
                  </a:lnTo>
                  <a:lnTo>
                    <a:pt x="552" y="846"/>
                  </a:lnTo>
                  <a:lnTo>
                    <a:pt x="558" y="840"/>
                  </a:lnTo>
                  <a:lnTo>
                    <a:pt x="564" y="828"/>
                  </a:lnTo>
                  <a:lnTo>
                    <a:pt x="570" y="816"/>
                  </a:lnTo>
                  <a:lnTo>
                    <a:pt x="582" y="810"/>
                  </a:lnTo>
                  <a:lnTo>
                    <a:pt x="588" y="804"/>
                  </a:lnTo>
                  <a:lnTo>
                    <a:pt x="594" y="804"/>
                  </a:lnTo>
                  <a:lnTo>
                    <a:pt x="594" y="792"/>
                  </a:lnTo>
                  <a:lnTo>
                    <a:pt x="600" y="786"/>
                  </a:lnTo>
                  <a:lnTo>
                    <a:pt x="606" y="780"/>
                  </a:lnTo>
                  <a:lnTo>
                    <a:pt x="612" y="774"/>
                  </a:lnTo>
                  <a:lnTo>
                    <a:pt x="618" y="774"/>
                  </a:lnTo>
                  <a:lnTo>
                    <a:pt x="618" y="768"/>
                  </a:lnTo>
                  <a:lnTo>
                    <a:pt x="618" y="762"/>
                  </a:lnTo>
                  <a:lnTo>
                    <a:pt x="624" y="756"/>
                  </a:lnTo>
                  <a:lnTo>
                    <a:pt x="618" y="750"/>
                  </a:lnTo>
                  <a:lnTo>
                    <a:pt x="618" y="744"/>
                  </a:lnTo>
                  <a:lnTo>
                    <a:pt x="600" y="738"/>
                  </a:lnTo>
                  <a:lnTo>
                    <a:pt x="558" y="744"/>
                  </a:lnTo>
                  <a:lnTo>
                    <a:pt x="552" y="732"/>
                  </a:lnTo>
                  <a:lnTo>
                    <a:pt x="546" y="720"/>
                  </a:lnTo>
                  <a:lnTo>
                    <a:pt x="564" y="702"/>
                  </a:lnTo>
                  <a:lnTo>
                    <a:pt x="570" y="684"/>
                  </a:lnTo>
                  <a:lnTo>
                    <a:pt x="564" y="648"/>
                  </a:lnTo>
                  <a:lnTo>
                    <a:pt x="534" y="624"/>
                  </a:lnTo>
                  <a:lnTo>
                    <a:pt x="504" y="612"/>
                  </a:lnTo>
                  <a:lnTo>
                    <a:pt x="498" y="606"/>
                  </a:lnTo>
                  <a:lnTo>
                    <a:pt x="492" y="600"/>
                  </a:lnTo>
                  <a:lnTo>
                    <a:pt x="486" y="606"/>
                  </a:lnTo>
                  <a:lnTo>
                    <a:pt x="480" y="558"/>
                  </a:lnTo>
                  <a:lnTo>
                    <a:pt x="462" y="546"/>
                  </a:lnTo>
                  <a:lnTo>
                    <a:pt x="408" y="540"/>
                  </a:lnTo>
                  <a:lnTo>
                    <a:pt x="408" y="546"/>
                  </a:lnTo>
                  <a:lnTo>
                    <a:pt x="408" y="558"/>
                  </a:lnTo>
                  <a:lnTo>
                    <a:pt x="408" y="564"/>
                  </a:lnTo>
                  <a:lnTo>
                    <a:pt x="408" y="570"/>
                  </a:lnTo>
                  <a:lnTo>
                    <a:pt x="414" y="582"/>
                  </a:lnTo>
                  <a:lnTo>
                    <a:pt x="408" y="594"/>
                  </a:lnTo>
                  <a:lnTo>
                    <a:pt x="414" y="594"/>
                  </a:lnTo>
                  <a:lnTo>
                    <a:pt x="408" y="600"/>
                  </a:lnTo>
                  <a:lnTo>
                    <a:pt x="348" y="600"/>
                  </a:lnTo>
                  <a:lnTo>
                    <a:pt x="324" y="600"/>
                  </a:lnTo>
                  <a:lnTo>
                    <a:pt x="324" y="612"/>
                  </a:lnTo>
                  <a:lnTo>
                    <a:pt x="306" y="618"/>
                  </a:lnTo>
                  <a:lnTo>
                    <a:pt x="312" y="618"/>
                  </a:lnTo>
                  <a:lnTo>
                    <a:pt x="294" y="588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76"/>
                  </a:lnTo>
                  <a:lnTo>
                    <a:pt x="240" y="582"/>
                  </a:lnTo>
                  <a:lnTo>
                    <a:pt x="234" y="582"/>
                  </a:lnTo>
                  <a:lnTo>
                    <a:pt x="228" y="588"/>
                  </a:lnTo>
                  <a:lnTo>
                    <a:pt x="222" y="588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8" y="600"/>
                  </a:lnTo>
                  <a:lnTo>
                    <a:pt x="192" y="612"/>
                  </a:lnTo>
                  <a:lnTo>
                    <a:pt x="192" y="618"/>
                  </a:lnTo>
                  <a:lnTo>
                    <a:pt x="198" y="624"/>
                  </a:lnTo>
                  <a:lnTo>
                    <a:pt x="192" y="624"/>
                  </a:lnTo>
                  <a:lnTo>
                    <a:pt x="192" y="630"/>
                  </a:lnTo>
                  <a:lnTo>
                    <a:pt x="192" y="642"/>
                  </a:lnTo>
                  <a:lnTo>
                    <a:pt x="180" y="648"/>
                  </a:lnTo>
                  <a:lnTo>
                    <a:pt x="174" y="654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6"/>
                  </a:lnTo>
                  <a:lnTo>
                    <a:pt x="156" y="672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90"/>
                  </a:lnTo>
                  <a:lnTo>
                    <a:pt x="132" y="690"/>
                  </a:lnTo>
                  <a:lnTo>
                    <a:pt x="126" y="702"/>
                  </a:lnTo>
                  <a:lnTo>
                    <a:pt x="132" y="708"/>
                  </a:lnTo>
                  <a:lnTo>
                    <a:pt x="126" y="708"/>
                  </a:lnTo>
                  <a:lnTo>
                    <a:pt x="120" y="708"/>
                  </a:lnTo>
                  <a:lnTo>
                    <a:pt x="114" y="708"/>
                  </a:lnTo>
                  <a:lnTo>
                    <a:pt x="108" y="708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78" y="720"/>
                  </a:lnTo>
                  <a:lnTo>
                    <a:pt x="72" y="720"/>
                  </a:lnTo>
                  <a:lnTo>
                    <a:pt x="66" y="720"/>
                  </a:lnTo>
                  <a:lnTo>
                    <a:pt x="54" y="732"/>
                  </a:lnTo>
                  <a:lnTo>
                    <a:pt x="48" y="702"/>
                  </a:lnTo>
                  <a:lnTo>
                    <a:pt x="36" y="666"/>
                  </a:lnTo>
                  <a:lnTo>
                    <a:pt x="0" y="660"/>
                  </a:lnTo>
                  <a:lnTo>
                    <a:pt x="6" y="660"/>
                  </a:lnTo>
                  <a:lnTo>
                    <a:pt x="6" y="654"/>
                  </a:lnTo>
                  <a:lnTo>
                    <a:pt x="6" y="648"/>
                  </a:lnTo>
                  <a:lnTo>
                    <a:pt x="6" y="642"/>
                  </a:lnTo>
                  <a:lnTo>
                    <a:pt x="6" y="624"/>
                  </a:lnTo>
                  <a:lnTo>
                    <a:pt x="6" y="612"/>
                  </a:lnTo>
                  <a:lnTo>
                    <a:pt x="6" y="606"/>
                  </a:lnTo>
                  <a:lnTo>
                    <a:pt x="12" y="612"/>
                  </a:lnTo>
                  <a:lnTo>
                    <a:pt x="18" y="606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30" y="594"/>
                  </a:lnTo>
                  <a:lnTo>
                    <a:pt x="30" y="588"/>
                  </a:lnTo>
                  <a:lnTo>
                    <a:pt x="30" y="582"/>
                  </a:lnTo>
                  <a:lnTo>
                    <a:pt x="24" y="576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18" y="558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36" y="528"/>
                  </a:lnTo>
                  <a:lnTo>
                    <a:pt x="30" y="522"/>
                  </a:lnTo>
                  <a:lnTo>
                    <a:pt x="24" y="522"/>
                  </a:lnTo>
                  <a:lnTo>
                    <a:pt x="18" y="510"/>
                  </a:lnTo>
                  <a:lnTo>
                    <a:pt x="12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8" y="474"/>
                  </a:lnTo>
                  <a:lnTo>
                    <a:pt x="12" y="468"/>
                  </a:lnTo>
                  <a:lnTo>
                    <a:pt x="12" y="462"/>
                  </a:lnTo>
                  <a:lnTo>
                    <a:pt x="18" y="456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0" y="420"/>
                  </a:lnTo>
                  <a:lnTo>
                    <a:pt x="30" y="414"/>
                  </a:lnTo>
                  <a:lnTo>
                    <a:pt x="48" y="414"/>
                  </a:lnTo>
                  <a:lnTo>
                    <a:pt x="54" y="408"/>
                  </a:lnTo>
                  <a:lnTo>
                    <a:pt x="60" y="402"/>
                  </a:lnTo>
                  <a:lnTo>
                    <a:pt x="66" y="402"/>
                  </a:lnTo>
                  <a:lnTo>
                    <a:pt x="72" y="402"/>
                  </a:lnTo>
                  <a:lnTo>
                    <a:pt x="78" y="408"/>
                  </a:lnTo>
                  <a:lnTo>
                    <a:pt x="84" y="396"/>
                  </a:lnTo>
                  <a:lnTo>
                    <a:pt x="90" y="390"/>
                  </a:lnTo>
                  <a:lnTo>
                    <a:pt x="90" y="378"/>
                  </a:lnTo>
                  <a:lnTo>
                    <a:pt x="96" y="372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8" y="354"/>
                  </a:lnTo>
                  <a:lnTo>
                    <a:pt x="114" y="348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32" y="336"/>
                  </a:lnTo>
                  <a:lnTo>
                    <a:pt x="132" y="330"/>
                  </a:lnTo>
                  <a:lnTo>
                    <a:pt x="138" y="324"/>
                  </a:lnTo>
                  <a:lnTo>
                    <a:pt x="138" y="318"/>
                  </a:lnTo>
                  <a:lnTo>
                    <a:pt x="144" y="306"/>
                  </a:lnTo>
                  <a:lnTo>
                    <a:pt x="156" y="306"/>
                  </a:lnTo>
                  <a:lnTo>
                    <a:pt x="186" y="300"/>
                  </a:lnTo>
                  <a:lnTo>
                    <a:pt x="198" y="300"/>
                  </a:lnTo>
                  <a:lnTo>
                    <a:pt x="210" y="300"/>
                  </a:lnTo>
                  <a:lnTo>
                    <a:pt x="222" y="300"/>
                  </a:lnTo>
                  <a:lnTo>
                    <a:pt x="246" y="300"/>
                  </a:lnTo>
                  <a:lnTo>
                    <a:pt x="264" y="312"/>
                  </a:lnTo>
                  <a:lnTo>
                    <a:pt x="270" y="312"/>
                  </a:lnTo>
                  <a:lnTo>
                    <a:pt x="282" y="306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300" y="306"/>
                  </a:lnTo>
                  <a:lnTo>
                    <a:pt x="312" y="306"/>
                  </a:lnTo>
                  <a:lnTo>
                    <a:pt x="318" y="300"/>
                  </a:lnTo>
                  <a:lnTo>
                    <a:pt x="324" y="300"/>
                  </a:lnTo>
                  <a:lnTo>
                    <a:pt x="330" y="294"/>
                  </a:lnTo>
                  <a:lnTo>
                    <a:pt x="336" y="288"/>
                  </a:lnTo>
                  <a:lnTo>
                    <a:pt x="354" y="288"/>
                  </a:lnTo>
                  <a:lnTo>
                    <a:pt x="360" y="288"/>
                  </a:lnTo>
                  <a:lnTo>
                    <a:pt x="366" y="282"/>
                  </a:lnTo>
                  <a:lnTo>
                    <a:pt x="372" y="282"/>
                  </a:lnTo>
                  <a:lnTo>
                    <a:pt x="378" y="282"/>
                  </a:lnTo>
                  <a:lnTo>
                    <a:pt x="384" y="276"/>
                  </a:lnTo>
                  <a:lnTo>
                    <a:pt x="384" y="270"/>
                  </a:lnTo>
                  <a:lnTo>
                    <a:pt x="390" y="264"/>
                  </a:lnTo>
                  <a:lnTo>
                    <a:pt x="402" y="258"/>
                  </a:lnTo>
                  <a:lnTo>
                    <a:pt x="402" y="252"/>
                  </a:lnTo>
                  <a:lnTo>
                    <a:pt x="402" y="246"/>
                  </a:lnTo>
                  <a:lnTo>
                    <a:pt x="408" y="234"/>
                  </a:lnTo>
                  <a:lnTo>
                    <a:pt x="414" y="234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14" y="216"/>
                  </a:lnTo>
                  <a:lnTo>
                    <a:pt x="414" y="210"/>
                  </a:lnTo>
                  <a:lnTo>
                    <a:pt x="420" y="210"/>
                  </a:lnTo>
                  <a:lnTo>
                    <a:pt x="414" y="198"/>
                  </a:lnTo>
                  <a:lnTo>
                    <a:pt x="414" y="192"/>
                  </a:lnTo>
                  <a:lnTo>
                    <a:pt x="420" y="192"/>
                  </a:lnTo>
                  <a:lnTo>
                    <a:pt x="420" y="186"/>
                  </a:lnTo>
                  <a:lnTo>
                    <a:pt x="420" y="174"/>
                  </a:lnTo>
                  <a:lnTo>
                    <a:pt x="420" y="168"/>
                  </a:lnTo>
                  <a:lnTo>
                    <a:pt x="426" y="162"/>
                  </a:lnTo>
                  <a:lnTo>
                    <a:pt x="432" y="156"/>
                  </a:lnTo>
                  <a:lnTo>
                    <a:pt x="438" y="144"/>
                  </a:lnTo>
                  <a:lnTo>
                    <a:pt x="444" y="144"/>
                  </a:lnTo>
                  <a:lnTo>
                    <a:pt x="450" y="138"/>
                  </a:lnTo>
                  <a:lnTo>
                    <a:pt x="456" y="138"/>
                  </a:lnTo>
                  <a:lnTo>
                    <a:pt x="462" y="132"/>
                  </a:lnTo>
                  <a:lnTo>
                    <a:pt x="462" y="126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0"/>
                  </a:lnTo>
                  <a:lnTo>
                    <a:pt x="486" y="108"/>
                  </a:lnTo>
                  <a:lnTo>
                    <a:pt x="492" y="108"/>
                  </a:lnTo>
                  <a:lnTo>
                    <a:pt x="498" y="102"/>
                  </a:lnTo>
                  <a:lnTo>
                    <a:pt x="504" y="96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40" y="102"/>
                  </a:lnTo>
                  <a:lnTo>
                    <a:pt x="552" y="108"/>
                  </a:lnTo>
                  <a:lnTo>
                    <a:pt x="582" y="102"/>
                  </a:lnTo>
                  <a:lnTo>
                    <a:pt x="594" y="126"/>
                  </a:lnTo>
                  <a:lnTo>
                    <a:pt x="594" y="144"/>
                  </a:lnTo>
                  <a:lnTo>
                    <a:pt x="588" y="156"/>
                  </a:lnTo>
                  <a:lnTo>
                    <a:pt x="588" y="168"/>
                  </a:lnTo>
                  <a:lnTo>
                    <a:pt x="582" y="180"/>
                  </a:lnTo>
                  <a:lnTo>
                    <a:pt x="570" y="192"/>
                  </a:lnTo>
                  <a:lnTo>
                    <a:pt x="594" y="192"/>
                  </a:lnTo>
                  <a:lnTo>
                    <a:pt x="618" y="198"/>
                  </a:lnTo>
                  <a:lnTo>
                    <a:pt x="642" y="210"/>
                  </a:lnTo>
                  <a:lnTo>
                    <a:pt x="660" y="234"/>
                  </a:lnTo>
                  <a:lnTo>
                    <a:pt x="678" y="246"/>
                  </a:lnTo>
                  <a:lnTo>
                    <a:pt x="684" y="252"/>
                  </a:lnTo>
                  <a:lnTo>
                    <a:pt x="702" y="252"/>
                  </a:lnTo>
                  <a:lnTo>
                    <a:pt x="732" y="234"/>
                  </a:lnTo>
                  <a:lnTo>
                    <a:pt x="732" y="222"/>
                  </a:lnTo>
                  <a:lnTo>
                    <a:pt x="720" y="216"/>
                  </a:lnTo>
                  <a:lnTo>
                    <a:pt x="714" y="198"/>
                  </a:lnTo>
                  <a:lnTo>
                    <a:pt x="714" y="174"/>
                  </a:lnTo>
                  <a:lnTo>
                    <a:pt x="720" y="162"/>
                  </a:lnTo>
                  <a:lnTo>
                    <a:pt x="726" y="162"/>
                  </a:lnTo>
                  <a:lnTo>
                    <a:pt x="732" y="156"/>
                  </a:lnTo>
                  <a:lnTo>
                    <a:pt x="744" y="150"/>
                  </a:lnTo>
                  <a:lnTo>
                    <a:pt x="774" y="162"/>
                  </a:lnTo>
                  <a:lnTo>
                    <a:pt x="786" y="162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16" y="150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2" y="132"/>
                  </a:lnTo>
                  <a:lnTo>
                    <a:pt x="822" y="114"/>
                  </a:lnTo>
                  <a:lnTo>
                    <a:pt x="828" y="108"/>
                  </a:lnTo>
                  <a:lnTo>
                    <a:pt x="834" y="96"/>
                  </a:lnTo>
                  <a:lnTo>
                    <a:pt x="846" y="96"/>
                  </a:lnTo>
                  <a:lnTo>
                    <a:pt x="858" y="90"/>
                  </a:lnTo>
                  <a:lnTo>
                    <a:pt x="870" y="84"/>
                  </a:lnTo>
                  <a:lnTo>
                    <a:pt x="888" y="84"/>
                  </a:lnTo>
                  <a:lnTo>
                    <a:pt x="894" y="90"/>
                  </a:lnTo>
                  <a:lnTo>
                    <a:pt x="894" y="102"/>
                  </a:lnTo>
                  <a:lnTo>
                    <a:pt x="900" y="102"/>
                  </a:lnTo>
                  <a:lnTo>
                    <a:pt x="906" y="114"/>
                  </a:lnTo>
                  <a:lnTo>
                    <a:pt x="930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54" y="138"/>
                  </a:lnTo>
                  <a:lnTo>
                    <a:pt x="966" y="144"/>
                  </a:lnTo>
                  <a:lnTo>
                    <a:pt x="966" y="150"/>
                  </a:lnTo>
                  <a:lnTo>
                    <a:pt x="972" y="150"/>
                  </a:lnTo>
                  <a:lnTo>
                    <a:pt x="978" y="150"/>
                  </a:lnTo>
                  <a:lnTo>
                    <a:pt x="978" y="144"/>
                  </a:lnTo>
                  <a:lnTo>
                    <a:pt x="984" y="144"/>
                  </a:lnTo>
                  <a:lnTo>
                    <a:pt x="990" y="138"/>
                  </a:lnTo>
                  <a:lnTo>
                    <a:pt x="996" y="138"/>
                  </a:lnTo>
                  <a:lnTo>
                    <a:pt x="1002" y="138"/>
                  </a:lnTo>
                  <a:lnTo>
                    <a:pt x="1008" y="138"/>
                  </a:lnTo>
                  <a:lnTo>
                    <a:pt x="1026" y="132"/>
                  </a:lnTo>
                  <a:lnTo>
                    <a:pt x="1044" y="126"/>
                  </a:lnTo>
                  <a:lnTo>
                    <a:pt x="1056" y="120"/>
                  </a:lnTo>
                  <a:lnTo>
                    <a:pt x="1062" y="108"/>
                  </a:lnTo>
                  <a:lnTo>
                    <a:pt x="1056" y="102"/>
                  </a:lnTo>
                  <a:lnTo>
                    <a:pt x="1062" y="96"/>
                  </a:lnTo>
                  <a:lnTo>
                    <a:pt x="1074" y="90"/>
                  </a:lnTo>
                  <a:lnTo>
                    <a:pt x="1080" y="84"/>
                  </a:lnTo>
                  <a:lnTo>
                    <a:pt x="1128" y="84"/>
                  </a:lnTo>
                  <a:lnTo>
                    <a:pt x="1134" y="84"/>
                  </a:lnTo>
                  <a:lnTo>
                    <a:pt x="1140" y="78"/>
                  </a:lnTo>
                  <a:lnTo>
                    <a:pt x="1152" y="72"/>
                  </a:lnTo>
                  <a:lnTo>
                    <a:pt x="1164" y="66"/>
                  </a:lnTo>
                  <a:lnTo>
                    <a:pt x="1170" y="60"/>
                  </a:lnTo>
                  <a:lnTo>
                    <a:pt x="1188" y="48"/>
                  </a:lnTo>
                  <a:lnTo>
                    <a:pt x="1200" y="36"/>
                  </a:lnTo>
                  <a:lnTo>
                    <a:pt x="1218" y="24"/>
                  </a:lnTo>
                  <a:lnTo>
                    <a:pt x="1248" y="24"/>
                  </a:lnTo>
                  <a:lnTo>
                    <a:pt x="1272" y="24"/>
                  </a:lnTo>
                  <a:lnTo>
                    <a:pt x="1284" y="12"/>
                  </a:lnTo>
                  <a:lnTo>
                    <a:pt x="1302" y="0"/>
                  </a:lnTo>
                  <a:lnTo>
                    <a:pt x="1314" y="0"/>
                  </a:lnTo>
                  <a:lnTo>
                    <a:pt x="1326" y="18"/>
                  </a:lnTo>
                  <a:lnTo>
                    <a:pt x="1338" y="30"/>
                  </a:lnTo>
                  <a:lnTo>
                    <a:pt x="1338" y="54"/>
                  </a:lnTo>
                  <a:lnTo>
                    <a:pt x="1332" y="72"/>
                  </a:lnTo>
                  <a:lnTo>
                    <a:pt x="1326" y="72"/>
                  </a:lnTo>
                  <a:lnTo>
                    <a:pt x="1326" y="78"/>
                  </a:lnTo>
                  <a:lnTo>
                    <a:pt x="1326" y="102"/>
                  </a:lnTo>
                  <a:lnTo>
                    <a:pt x="1332" y="102"/>
                  </a:lnTo>
                  <a:lnTo>
                    <a:pt x="1332" y="108"/>
                  </a:lnTo>
                  <a:lnTo>
                    <a:pt x="1344" y="114"/>
                  </a:lnTo>
                  <a:lnTo>
                    <a:pt x="1350" y="114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404" y="132"/>
                  </a:lnTo>
                  <a:lnTo>
                    <a:pt x="1404" y="138"/>
                  </a:lnTo>
                  <a:lnTo>
                    <a:pt x="1410" y="150"/>
                  </a:lnTo>
                  <a:lnTo>
                    <a:pt x="1416" y="162"/>
                  </a:lnTo>
                  <a:lnTo>
                    <a:pt x="1428" y="168"/>
                  </a:lnTo>
                  <a:lnTo>
                    <a:pt x="1440" y="180"/>
                  </a:lnTo>
                  <a:lnTo>
                    <a:pt x="1476" y="174"/>
                  </a:lnTo>
                  <a:lnTo>
                    <a:pt x="1494" y="174"/>
                  </a:lnTo>
                  <a:lnTo>
                    <a:pt x="1512" y="192"/>
                  </a:lnTo>
                  <a:lnTo>
                    <a:pt x="1518" y="204"/>
                  </a:lnTo>
                  <a:lnTo>
                    <a:pt x="1530" y="216"/>
                  </a:lnTo>
                  <a:lnTo>
                    <a:pt x="1548" y="228"/>
                  </a:lnTo>
                  <a:lnTo>
                    <a:pt x="1548" y="234"/>
                  </a:lnTo>
                  <a:lnTo>
                    <a:pt x="1542" y="246"/>
                  </a:lnTo>
                  <a:lnTo>
                    <a:pt x="1560" y="246"/>
                  </a:lnTo>
                  <a:lnTo>
                    <a:pt x="1560" y="252"/>
                  </a:lnTo>
                  <a:lnTo>
                    <a:pt x="1566" y="258"/>
                  </a:lnTo>
                  <a:lnTo>
                    <a:pt x="1578" y="270"/>
                  </a:lnTo>
                  <a:lnTo>
                    <a:pt x="1596" y="270"/>
                  </a:lnTo>
                  <a:lnTo>
                    <a:pt x="1602" y="288"/>
                  </a:lnTo>
                  <a:lnTo>
                    <a:pt x="1608" y="306"/>
                  </a:lnTo>
                  <a:lnTo>
                    <a:pt x="1608" y="318"/>
                  </a:lnTo>
                  <a:lnTo>
                    <a:pt x="1608" y="324"/>
                  </a:lnTo>
                  <a:lnTo>
                    <a:pt x="1614" y="330"/>
                  </a:lnTo>
                  <a:lnTo>
                    <a:pt x="1614" y="336"/>
                  </a:lnTo>
                  <a:lnTo>
                    <a:pt x="1614" y="342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08" y="390"/>
                  </a:lnTo>
                  <a:lnTo>
                    <a:pt x="1602" y="390"/>
                  </a:lnTo>
                  <a:lnTo>
                    <a:pt x="1602" y="396"/>
                  </a:lnTo>
                  <a:lnTo>
                    <a:pt x="1584" y="420"/>
                  </a:lnTo>
                  <a:lnTo>
                    <a:pt x="1584" y="426"/>
                  </a:lnTo>
                  <a:lnTo>
                    <a:pt x="1602" y="474"/>
                  </a:lnTo>
                  <a:lnTo>
                    <a:pt x="1608" y="480"/>
                  </a:lnTo>
                  <a:lnTo>
                    <a:pt x="1608" y="486"/>
                  </a:lnTo>
                  <a:lnTo>
                    <a:pt x="1614" y="486"/>
                  </a:lnTo>
                  <a:lnTo>
                    <a:pt x="1608" y="504"/>
                  </a:lnTo>
                  <a:lnTo>
                    <a:pt x="1572" y="504"/>
                  </a:lnTo>
                  <a:lnTo>
                    <a:pt x="1560" y="510"/>
                  </a:lnTo>
                  <a:lnTo>
                    <a:pt x="1554" y="522"/>
                  </a:lnTo>
                  <a:lnTo>
                    <a:pt x="1560" y="552"/>
                  </a:lnTo>
                  <a:lnTo>
                    <a:pt x="1566" y="552"/>
                  </a:lnTo>
                  <a:lnTo>
                    <a:pt x="1566" y="558"/>
                  </a:lnTo>
                  <a:lnTo>
                    <a:pt x="1572" y="558"/>
                  </a:lnTo>
                  <a:lnTo>
                    <a:pt x="1578" y="558"/>
                  </a:lnTo>
                  <a:lnTo>
                    <a:pt x="1578" y="552"/>
                  </a:lnTo>
                  <a:lnTo>
                    <a:pt x="1584" y="552"/>
                  </a:lnTo>
                  <a:lnTo>
                    <a:pt x="1590" y="552"/>
                  </a:lnTo>
                  <a:lnTo>
                    <a:pt x="1590" y="546"/>
                  </a:lnTo>
                  <a:lnTo>
                    <a:pt x="1596" y="546"/>
                  </a:lnTo>
                  <a:lnTo>
                    <a:pt x="1602" y="552"/>
                  </a:lnTo>
                  <a:lnTo>
                    <a:pt x="1602" y="546"/>
                  </a:lnTo>
                  <a:lnTo>
                    <a:pt x="1608" y="546"/>
                  </a:lnTo>
                  <a:lnTo>
                    <a:pt x="1608" y="552"/>
                  </a:lnTo>
                  <a:lnTo>
                    <a:pt x="1614" y="552"/>
                  </a:lnTo>
                  <a:lnTo>
                    <a:pt x="1614" y="546"/>
                  </a:lnTo>
                  <a:lnTo>
                    <a:pt x="1620" y="552"/>
                  </a:lnTo>
                  <a:lnTo>
                    <a:pt x="1626" y="552"/>
                  </a:lnTo>
                  <a:lnTo>
                    <a:pt x="1626" y="558"/>
                  </a:lnTo>
                  <a:lnTo>
                    <a:pt x="1632" y="558"/>
                  </a:lnTo>
                  <a:lnTo>
                    <a:pt x="1638" y="558"/>
                  </a:lnTo>
                  <a:lnTo>
                    <a:pt x="1644" y="558"/>
                  </a:lnTo>
                  <a:lnTo>
                    <a:pt x="1650" y="558"/>
                  </a:lnTo>
                  <a:lnTo>
                    <a:pt x="1650" y="564"/>
                  </a:lnTo>
                  <a:lnTo>
                    <a:pt x="1656" y="564"/>
                  </a:lnTo>
                  <a:lnTo>
                    <a:pt x="1662" y="564"/>
                  </a:lnTo>
                  <a:lnTo>
                    <a:pt x="1668" y="564"/>
                  </a:lnTo>
                  <a:lnTo>
                    <a:pt x="1668" y="570"/>
                  </a:lnTo>
                  <a:lnTo>
                    <a:pt x="1674" y="570"/>
                  </a:lnTo>
                  <a:lnTo>
                    <a:pt x="1680" y="570"/>
                  </a:lnTo>
                  <a:lnTo>
                    <a:pt x="1686" y="576"/>
                  </a:lnTo>
                  <a:lnTo>
                    <a:pt x="1686" y="582"/>
                  </a:lnTo>
                  <a:lnTo>
                    <a:pt x="1710" y="588"/>
                  </a:lnTo>
                  <a:lnTo>
                    <a:pt x="1710" y="594"/>
                  </a:lnTo>
                  <a:lnTo>
                    <a:pt x="1704" y="600"/>
                  </a:lnTo>
                  <a:lnTo>
                    <a:pt x="1710" y="624"/>
                  </a:lnTo>
                  <a:lnTo>
                    <a:pt x="1698" y="672"/>
                  </a:lnTo>
                  <a:lnTo>
                    <a:pt x="1704" y="678"/>
                  </a:lnTo>
                  <a:lnTo>
                    <a:pt x="1716" y="684"/>
                  </a:lnTo>
                  <a:lnTo>
                    <a:pt x="1716" y="678"/>
                  </a:lnTo>
                  <a:lnTo>
                    <a:pt x="1716" y="684"/>
                  </a:lnTo>
                  <a:lnTo>
                    <a:pt x="1728" y="684"/>
                  </a:lnTo>
                  <a:lnTo>
                    <a:pt x="1728" y="690"/>
                  </a:lnTo>
                  <a:lnTo>
                    <a:pt x="1734" y="696"/>
                  </a:lnTo>
                  <a:lnTo>
                    <a:pt x="1734" y="702"/>
                  </a:lnTo>
                  <a:lnTo>
                    <a:pt x="1740" y="708"/>
                  </a:lnTo>
                  <a:lnTo>
                    <a:pt x="1740" y="714"/>
                  </a:lnTo>
                  <a:lnTo>
                    <a:pt x="1710" y="714"/>
                  </a:lnTo>
                  <a:lnTo>
                    <a:pt x="1710" y="756"/>
                  </a:lnTo>
                  <a:lnTo>
                    <a:pt x="1704" y="762"/>
                  </a:lnTo>
                  <a:lnTo>
                    <a:pt x="1698" y="762"/>
                  </a:lnTo>
                  <a:lnTo>
                    <a:pt x="1698" y="768"/>
                  </a:lnTo>
                  <a:lnTo>
                    <a:pt x="1698" y="774"/>
                  </a:lnTo>
                  <a:lnTo>
                    <a:pt x="1692" y="780"/>
                  </a:lnTo>
                  <a:lnTo>
                    <a:pt x="1692" y="786"/>
                  </a:lnTo>
                  <a:lnTo>
                    <a:pt x="1686" y="786"/>
                  </a:lnTo>
                  <a:lnTo>
                    <a:pt x="1668" y="798"/>
                  </a:lnTo>
                  <a:lnTo>
                    <a:pt x="1662" y="810"/>
                  </a:lnTo>
                  <a:lnTo>
                    <a:pt x="1650" y="810"/>
                  </a:lnTo>
                  <a:lnTo>
                    <a:pt x="1644" y="816"/>
                  </a:lnTo>
                  <a:lnTo>
                    <a:pt x="1638" y="816"/>
                  </a:lnTo>
                  <a:lnTo>
                    <a:pt x="1626" y="852"/>
                  </a:lnTo>
                  <a:lnTo>
                    <a:pt x="1620" y="888"/>
                  </a:lnTo>
                  <a:lnTo>
                    <a:pt x="1626" y="888"/>
                  </a:lnTo>
                  <a:lnTo>
                    <a:pt x="1638" y="912"/>
                  </a:lnTo>
                  <a:lnTo>
                    <a:pt x="1644" y="918"/>
                  </a:lnTo>
                  <a:lnTo>
                    <a:pt x="1650" y="966"/>
                  </a:lnTo>
                  <a:lnTo>
                    <a:pt x="1626" y="972"/>
                  </a:lnTo>
                  <a:lnTo>
                    <a:pt x="1608" y="978"/>
                  </a:lnTo>
                  <a:lnTo>
                    <a:pt x="1614" y="984"/>
                  </a:lnTo>
                  <a:lnTo>
                    <a:pt x="1620" y="984"/>
                  </a:lnTo>
                  <a:lnTo>
                    <a:pt x="1620" y="1020"/>
                  </a:lnTo>
                  <a:lnTo>
                    <a:pt x="1614" y="1038"/>
                  </a:lnTo>
                  <a:lnTo>
                    <a:pt x="1620" y="1044"/>
                  </a:lnTo>
                  <a:lnTo>
                    <a:pt x="1626" y="1056"/>
                  </a:lnTo>
                  <a:lnTo>
                    <a:pt x="1626" y="1074"/>
                  </a:lnTo>
                  <a:lnTo>
                    <a:pt x="1620" y="1080"/>
                  </a:lnTo>
                  <a:lnTo>
                    <a:pt x="1620" y="1104"/>
                  </a:lnTo>
                  <a:lnTo>
                    <a:pt x="1620" y="1110"/>
                  </a:lnTo>
                  <a:lnTo>
                    <a:pt x="1614" y="1116"/>
                  </a:lnTo>
                  <a:lnTo>
                    <a:pt x="1608" y="1140"/>
                  </a:lnTo>
                  <a:lnTo>
                    <a:pt x="1602" y="1146"/>
                  </a:lnTo>
                  <a:lnTo>
                    <a:pt x="1602" y="1164"/>
                  </a:lnTo>
                  <a:lnTo>
                    <a:pt x="1596" y="1170"/>
                  </a:lnTo>
                  <a:lnTo>
                    <a:pt x="1590" y="1164"/>
                  </a:lnTo>
                  <a:lnTo>
                    <a:pt x="1584" y="1164"/>
                  </a:lnTo>
                  <a:lnTo>
                    <a:pt x="1578" y="1164"/>
                  </a:lnTo>
                  <a:lnTo>
                    <a:pt x="1578" y="1188"/>
                  </a:lnTo>
                  <a:lnTo>
                    <a:pt x="1584" y="1194"/>
                  </a:lnTo>
                  <a:lnTo>
                    <a:pt x="1590" y="1194"/>
                  </a:lnTo>
                  <a:lnTo>
                    <a:pt x="1590" y="1212"/>
                  </a:lnTo>
                  <a:lnTo>
                    <a:pt x="1584" y="1212"/>
                  </a:lnTo>
                  <a:lnTo>
                    <a:pt x="1584" y="1224"/>
                  </a:lnTo>
                  <a:lnTo>
                    <a:pt x="1578" y="1224"/>
                  </a:lnTo>
                  <a:lnTo>
                    <a:pt x="1578" y="1236"/>
                  </a:lnTo>
                  <a:lnTo>
                    <a:pt x="1584" y="1254"/>
                  </a:lnTo>
                  <a:lnTo>
                    <a:pt x="1584" y="1260"/>
                  </a:lnTo>
                  <a:lnTo>
                    <a:pt x="1590" y="1260"/>
                  </a:lnTo>
                  <a:lnTo>
                    <a:pt x="1590" y="1266"/>
                  </a:lnTo>
                  <a:lnTo>
                    <a:pt x="1596" y="1284"/>
                  </a:lnTo>
                  <a:lnTo>
                    <a:pt x="1602" y="1278"/>
                  </a:lnTo>
                  <a:lnTo>
                    <a:pt x="1608" y="1284"/>
                  </a:lnTo>
                  <a:lnTo>
                    <a:pt x="1632" y="1350"/>
                  </a:lnTo>
                  <a:lnTo>
                    <a:pt x="1638" y="1356"/>
                  </a:lnTo>
                  <a:lnTo>
                    <a:pt x="1644" y="1356"/>
                  </a:lnTo>
                  <a:lnTo>
                    <a:pt x="1650" y="1356"/>
                  </a:lnTo>
                  <a:lnTo>
                    <a:pt x="1656" y="1356"/>
                  </a:lnTo>
                  <a:lnTo>
                    <a:pt x="1662" y="1362"/>
                  </a:lnTo>
                  <a:lnTo>
                    <a:pt x="1668" y="1356"/>
                  </a:lnTo>
                  <a:lnTo>
                    <a:pt x="1668" y="1380"/>
                  </a:lnTo>
                  <a:lnTo>
                    <a:pt x="1662" y="1392"/>
                  </a:lnTo>
                  <a:lnTo>
                    <a:pt x="1656" y="1404"/>
                  </a:lnTo>
                  <a:lnTo>
                    <a:pt x="1656" y="1410"/>
                  </a:lnTo>
                  <a:lnTo>
                    <a:pt x="1656" y="1416"/>
                  </a:lnTo>
                  <a:lnTo>
                    <a:pt x="1650" y="1422"/>
                  </a:lnTo>
                  <a:lnTo>
                    <a:pt x="1650" y="1428"/>
                  </a:lnTo>
                  <a:lnTo>
                    <a:pt x="1644" y="1428"/>
                  </a:lnTo>
                  <a:lnTo>
                    <a:pt x="1644" y="1434"/>
                  </a:lnTo>
                  <a:lnTo>
                    <a:pt x="1638" y="1434"/>
                  </a:lnTo>
                  <a:lnTo>
                    <a:pt x="1638" y="1440"/>
                  </a:lnTo>
                  <a:lnTo>
                    <a:pt x="1632" y="1440"/>
                  </a:lnTo>
                  <a:lnTo>
                    <a:pt x="1638" y="145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8" name="Freeform 13">
              <a:extLst>
                <a:ext uri="{FF2B5EF4-FFF2-40B4-BE49-F238E27FC236}">
                  <a16:creationId xmlns:a16="http://schemas.microsoft.com/office/drawing/2014/main" id="{66308D9B-1739-4227-AAC3-BB866CD1F5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63374" y="2969626"/>
              <a:ext cx="330956" cy="357840"/>
            </a:xfrm>
            <a:custGeom>
              <a:avLst/>
              <a:gdLst>
                <a:gd name="T0" fmla="*/ 11 w 624"/>
                <a:gd name="T1" fmla="*/ 59 h 672"/>
                <a:gd name="T2" fmla="*/ 4 w 624"/>
                <a:gd name="T3" fmla="*/ 58 h 672"/>
                <a:gd name="T4" fmla="*/ 3 w 624"/>
                <a:gd name="T5" fmla="*/ 58 h 672"/>
                <a:gd name="T6" fmla="*/ 2 w 624"/>
                <a:gd name="T7" fmla="*/ 11 h 672"/>
                <a:gd name="T8" fmla="*/ 13 w 624"/>
                <a:gd name="T9" fmla="*/ 11 h 672"/>
                <a:gd name="T10" fmla="*/ 14 w 624"/>
                <a:gd name="T11" fmla="*/ 11 h 672"/>
                <a:gd name="T12" fmla="*/ 15 w 624"/>
                <a:gd name="T13" fmla="*/ 12 h 672"/>
                <a:gd name="T14" fmla="*/ 18 w 624"/>
                <a:gd name="T15" fmla="*/ 14 h 672"/>
                <a:gd name="T16" fmla="*/ 21 w 624"/>
                <a:gd name="T17" fmla="*/ 16 h 672"/>
                <a:gd name="T18" fmla="*/ 22 w 624"/>
                <a:gd name="T19" fmla="*/ 18 h 672"/>
                <a:gd name="T20" fmla="*/ 23 w 624"/>
                <a:gd name="T21" fmla="*/ 19 h 672"/>
                <a:gd name="T22" fmla="*/ 24 w 624"/>
                <a:gd name="T23" fmla="*/ 19 h 672"/>
                <a:gd name="T24" fmla="*/ 26 w 624"/>
                <a:gd name="T25" fmla="*/ 19 h 672"/>
                <a:gd name="T26" fmla="*/ 27 w 624"/>
                <a:gd name="T27" fmla="*/ 18 h 672"/>
                <a:gd name="T28" fmla="*/ 29 w 624"/>
                <a:gd name="T29" fmla="*/ 15 h 672"/>
                <a:gd name="T30" fmla="*/ 30 w 624"/>
                <a:gd name="T31" fmla="*/ 14 h 672"/>
                <a:gd name="T32" fmla="*/ 31 w 624"/>
                <a:gd name="T33" fmla="*/ 12 h 672"/>
                <a:gd name="T34" fmla="*/ 32 w 624"/>
                <a:gd name="T35" fmla="*/ 12 h 672"/>
                <a:gd name="T36" fmla="*/ 33 w 624"/>
                <a:gd name="T37" fmla="*/ 10 h 672"/>
                <a:gd name="T38" fmla="*/ 34 w 624"/>
                <a:gd name="T39" fmla="*/ 8 h 672"/>
                <a:gd name="T40" fmla="*/ 34 w 624"/>
                <a:gd name="T41" fmla="*/ 6 h 672"/>
                <a:gd name="T42" fmla="*/ 35 w 624"/>
                <a:gd name="T43" fmla="*/ 4 h 672"/>
                <a:gd name="T44" fmla="*/ 42 w 624"/>
                <a:gd name="T45" fmla="*/ 3 h 672"/>
                <a:gd name="T46" fmla="*/ 44 w 624"/>
                <a:gd name="T47" fmla="*/ 2 h 672"/>
                <a:gd name="T48" fmla="*/ 46 w 624"/>
                <a:gd name="T49" fmla="*/ 0 h 672"/>
                <a:gd name="T50" fmla="*/ 51 w 624"/>
                <a:gd name="T51" fmla="*/ 3 h 672"/>
                <a:gd name="T52" fmla="*/ 54 w 624"/>
                <a:gd name="T53" fmla="*/ 6 h 672"/>
                <a:gd name="T54" fmla="*/ 54 w 624"/>
                <a:gd name="T55" fmla="*/ 8 h 672"/>
                <a:gd name="T56" fmla="*/ 52 w 624"/>
                <a:gd name="T57" fmla="*/ 9 h 672"/>
                <a:gd name="T58" fmla="*/ 49 w 624"/>
                <a:gd name="T59" fmla="*/ 11 h 672"/>
                <a:gd name="T60" fmla="*/ 48 w 624"/>
                <a:gd name="T61" fmla="*/ 14 h 672"/>
                <a:gd name="T62" fmla="*/ 46 w 624"/>
                <a:gd name="T63" fmla="*/ 22 h 672"/>
                <a:gd name="T64" fmla="*/ 45 w 624"/>
                <a:gd name="T65" fmla="*/ 39 h 672"/>
                <a:gd name="T66" fmla="*/ 43 w 624"/>
                <a:gd name="T67" fmla="*/ 43 h 672"/>
                <a:gd name="T68" fmla="*/ 39 w 624"/>
                <a:gd name="T69" fmla="*/ 50 h 672"/>
                <a:gd name="T70" fmla="*/ 36 w 624"/>
                <a:gd name="T71" fmla="*/ 53 h 672"/>
                <a:gd name="T72" fmla="*/ 32 w 624"/>
                <a:gd name="T73" fmla="*/ 56 h 672"/>
                <a:gd name="T74" fmla="*/ 30 w 624"/>
                <a:gd name="T75" fmla="*/ 58 h 672"/>
                <a:gd name="T76" fmla="*/ 20 w 624"/>
                <a:gd name="T77" fmla="*/ 59 h 672"/>
                <a:gd name="T78" fmla="*/ 15 w 624"/>
                <a:gd name="T79" fmla="*/ 59 h 67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24"/>
                <a:gd name="T121" fmla="*/ 0 h 672"/>
                <a:gd name="T122" fmla="*/ 624 w 624"/>
                <a:gd name="T123" fmla="*/ 672 h 67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24" h="672">
                  <a:moveTo>
                    <a:pt x="168" y="672"/>
                  </a:moveTo>
                  <a:lnTo>
                    <a:pt x="132" y="672"/>
                  </a:lnTo>
                  <a:lnTo>
                    <a:pt x="72" y="666"/>
                  </a:lnTo>
                  <a:lnTo>
                    <a:pt x="42" y="666"/>
                  </a:lnTo>
                  <a:lnTo>
                    <a:pt x="36" y="666"/>
                  </a:lnTo>
                  <a:lnTo>
                    <a:pt x="30" y="660"/>
                  </a:lnTo>
                  <a:lnTo>
                    <a:pt x="0" y="660"/>
                  </a:lnTo>
                  <a:lnTo>
                    <a:pt x="24" y="120"/>
                  </a:lnTo>
                  <a:lnTo>
                    <a:pt x="60" y="120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62" y="120"/>
                  </a:lnTo>
                  <a:lnTo>
                    <a:pt x="168" y="120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10" y="156"/>
                  </a:lnTo>
                  <a:lnTo>
                    <a:pt x="222" y="174"/>
                  </a:lnTo>
                  <a:lnTo>
                    <a:pt x="240" y="186"/>
                  </a:lnTo>
                  <a:lnTo>
                    <a:pt x="252" y="198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216"/>
                  </a:lnTo>
                  <a:lnTo>
                    <a:pt x="270" y="216"/>
                  </a:lnTo>
                  <a:lnTo>
                    <a:pt x="282" y="222"/>
                  </a:lnTo>
                  <a:lnTo>
                    <a:pt x="288" y="222"/>
                  </a:lnTo>
                  <a:lnTo>
                    <a:pt x="294" y="216"/>
                  </a:lnTo>
                  <a:lnTo>
                    <a:pt x="294" y="210"/>
                  </a:lnTo>
                  <a:lnTo>
                    <a:pt x="312" y="204"/>
                  </a:lnTo>
                  <a:lnTo>
                    <a:pt x="330" y="186"/>
                  </a:lnTo>
                  <a:lnTo>
                    <a:pt x="336" y="174"/>
                  </a:lnTo>
                  <a:lnTo>
                    <a:pt x="342" y="162"/>
                  </a:lnTo>
                  <a:lnTo>
                    <a:pt x="342" y="156"/>
                  </a:lnTo>
                  <a:lnTo>
                    <a:pt x="348" y="150"/>
                  </a:lnTo>
                  <a:lnTo>
                    <a:pt x="354" y="144"/>
                  </a:lnTo>
                  <a:lnTo>
                    <a:pt x="360" y="138"/>
                  </a:lnTo>
                  <a:lnTo>
                    <a:pt x="366" y="132"/>
                  </a:lnTo>
                  <a:lnTo>
                    <a:pt x="372" y="114"/>
                  </a:lnTo>
                  <a:lnTo>
                    <a:pt x="378" y="114"/>
                  </a:lnTo>
                  <a:lnTo>
                    <a:pt x="378" y="96"/>
                  </a:lnTo>
                  <a:lnTo>
                    <a:pt x="390" y="96"/>
                  </a:lnTo>
                  <a:lnTo>
                    <a:pt x="396" y="84"/>
                  </a:lnTo>
                  <a:lnTo>
                    <a:pt x="396" y="72"/>
                  </a:lnTo>
                  <a:lnTo>
                    <a:pt x="396" y="54"/>
                  </a:lnTo>
                  <a:lnTo>
                    <a:pt x="408" y="42"/>
                  </a:lnTo>
                  <a:lnTo>
                    <a:pt x="468" y="42"/>
                  </a:lnTo>
                  <a:lnTo>
                    <a:pt x="486" y="36"/>
                  </a:lnTo>
                  <a:lnTo>
                    <a:pt x="492" y="24"/>
                  </a:lnTo>
                  <a:lnTo>
                    <a:pt x="504" y="24"/>
                  </a:lnTo>
                  <a:lnTo>
                    <a:pt x="516" y="6"/>
                  </a:lnTo>
                  <a:lnTo>
                    <a:pt x="528" y="0"/>
                  </a:lnTo>
                  <a:lnTo>
                    <a:pt x="558" y="12"/>
                  </a:lnTo>
                  <a:lnTo>
                    <a:pt x="588" y="36"/>
                  </a:lnTo>
                  <a:lnTo>
                    <a:pt x="600" y="66"/>
                  </a:lnTo>
                  <a:lnTo>
                    <a:pt x="624" y="66"/>
                  </a:lnTo>
                  <a:lnTo>
                    <a:pt x="624" y="90"/>
                  </a:lnTo>
                  <a:lnTo>
                    <a:pt x="618" y="90"/>
                  </a:lnTo>
                  <a:lnTo>
                    <a:pt x="618" y="96"/>
                  </a:lnTo>
                  <a:lnTo>
                    <a:pt x="600" y="102"/>
                  </a:lnTo>
                  <a:lnTo>
                    <a:pt x="588" y="108"/>
                  </a:lnTo>
                  <a:lnTo>
                    <a:pt x="570" y="120"/>
                  </a:lnTo>
                  <a:lnTo>
                    <a:pt x="564" y="138"/>
                  </a:lnTo>
                  <a:lnTo>
                    <a:pt x="558" y="162"/>
                  </a:lnTo>
                  <a:lnTo>
                    <a:pt x="540" y="210"/>
                  </a:lnTo>
                  <a:lnTo>
                    <a:pt x="528" y="252"/>
                  </a:lnTo>
                  <a:lnTo>
                    <a:pt x="528" y="402"/>
                  </a:lnTo>
                  <a:lnTo>
                    <a:pt x="522" y="444"/>
                  </a:lnTo>
                  <a:lnTo>
                    <a:pt x="510" y="468"/>
                  </a:lnTo>
                  <a:lnTo>
                    <a:pt x="498" y="498"/>
                  </a:lnTo>
                  <a:lnTo>
                    <a:pt x="474" y="534"/>
                  </a:lnTo>
                  <a:lnTo>
                    <a:pt x="456" y="570"/>
                  </a:lnTo>
                  <a:lnTo>
                    <a:pt x="444" y="576"/>
                  </a:lnTo>
                  <a:lnTo>
                    <a:pt x="420" y="606"/>
                  </a:lnTo>
                  <a:lnTo>
                    <a:pt x="390" y="624"/>
                  </a:lnTo>
                  <a:lnTo>
                    <a:pt x="372" y="642"/>
                  </a:lnTo>
                  <a:lnTo>
                    <a:pt x="366" y="654"/>
                  </a:lnTo>
                  <a:lnTo>
                    <a:pt x="342" y="660"/>
                  </a:lnTo>
                  <a:lnTo>
                    <a:pt x="300" y="666"/>
                  </a:lnTo>
                  <a:lnTo>
                    <a:pt x="234" y="672"/>
                  </a:lnTo>
                  <a:lnTo>
                    <a:pt x="192" y="672"/>
                  </a:lnTo>
                  <a:lnTo>
                    <a:pt x="168" y="67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9" name="Freeform 14">
              <a:extLst>
                <a:ext uri="{FF2B5EF4-FFF2-40B4-BE49-F238E27FC236}">
                  <a16:creationId xmlns:a16="http://schemas.microsoft.com/office/drawing/2014/main" id="{2EA1E999-9CDF-4391-8BC9-7DE71AF9C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0460" y="2983045"/>
              <a:ext cx="905658" cy="561362"/>
            </a:xfrm>
            <a:custGeom>
              <a:avLst/>
              <a:gdLst>
                <a:gd name="T0" fmla="*/ 31 w 1704"/>
                <a:gd name="T1" fmla="*/ 78 h 1056"/>
                <a:gd name="T2" fmla="*/ 23 w 1704"/>
                <a:gd name="T3" fmla="*/ 78 h 1056"/>
                <a:gd name="T4" fmla="*/ 11 w 1704"/>
                <a:gd name="T5" fmla="*/ 79 h 1056"/>
                <a:gd name="T6" fmla="*/ 1 w 1704"/>
                <a:gd name="T7" fmla="*/ 81 h 1056"/>
                <a:gd name="T8" fmla="*/ 0 w 1704"/>
                <a:gd name="T9" fmla="*/ 62 h 1056"/>
                <a:gd name="T10" fmla="*/ 9 w 1704"/>
                <a:gd name="T11" fmla="*/ 56 h 1056"/>
                <a:gd name="T12" fmla="*/ 27 w 1704"/>
                <a:gd name="T13" fmla="*/ 48 h 1056"/>
                <a:gd name="T14" fmla="*/ 35 w 1704"/>
                <a:gd name="T15" fmla="*/ 20 h 1056"/>
                <a:gd name="T16" fmla="*/ 43 w 1704"/>
                <a:gd name="T17" fmla="*/ 6 h 1056"/>
                <a:gd name="T18" fmla="*/ 47 w 1704"/>
                <a:gd name="T19" fmla="*/ 7 h 1056"/>
                <a:gd name="T20" fmla="*/ 52 w 1704"/>
                <a:gd name="T21" fmla="*/ 0 h 1056"/>
                <a:gd name="T22" fmla="*/ 59 w 1704"/>
                <a:gd name="T23" fmla="*/ 5 h 1056"/>
                <a:gd name="T24" fmla="*/ 63 w 1704"/>
                <a:gd name="T25" fmla="*/ 12 h 1056"/>
                <a:gd name="T26" fmla="*/ 62 w 1704"/>
                <a:gd name="T27" fmla="*/ 15 h 1056"/>
                <a:gd name="T28" fmla="*/ 62 w 1704"/>
                <a:gd name="T29" fmla="*/ 18 h 1056"/>
                <a:gd name="T30" fmla="*/ 70 w 1704"/>
                <a:gd name="T31" fmla="*/ 18 h 1056"/>
                <a:gd name="T32" fmla="*/ 71 w 1704"/>
                <a:gd name="T33" fmla="*/ 14 h 1056"/>
                <a:gd name="T34" fmla="*/ 72 w 1704"/>
                <a:gd name="T35" fmla="*/ 12 h 1056"/>
                <a:gd name="T36" fmla="*/ 78 w 1704"/>
                <a:gd name="T37" fmla="*/ 14 h 1056"/>
                <a:gd name="T38" fmla="*/ 85 w 1704"/>
                <a:gd name="T39" fmla="*/ 21 h 1056"/>
                <a:gd name="T40" fmla="*/ 91 w 1704"/>
                <a:gd name="T41" fmla="*/ 15 h 1056"/>
                <a:gd name="T42" fmla="*/ 93 w 1704"/>
                <a:gd name="T43" fmla="*/ 10 h 1056"/>
                <a:gd name="T44" fmla="*/ 101 w 1704"/>
                <a:gd name="T45" fmla="*/ 14 h 1056"/>
                <a:gd name="T46" fmla="*/ 103 w 1704"/>
                <a:gd name="T47" fmla="*/ 19 h 1056"/>
                <a:gd name="T48" fmla="*/ 115 w 1704"/>
                <a:gd name="T49" fmla="*/ 20 h 1056"/>
                <a:gd name="T50" fmla="*/ 118 w 1704"/>
                <a:gd name="T51" fmla="*/ 23 h 1056"/>
                <a:gd name="T52" fmla="*/ 117 w 1704"/>
                <a:gd name="T53" fmla="*/ 27 h 1056"/>
                <a:gd name="T54" fmla="*/ 111 w 1704"/>
                <a:gd name="T55" fmla="*/ 33 h 1056"/>
                <a:gd name="T56" fmla="*/ 108 w 1704"/>
                <a:gd name="T57" fmla="*/ 36 h 1056"/>
                <a:gd name="T58" fmla="*/ 109 w 1704"/>
                <a:gd name="T59" fmla="*/ 40 h 1056"/>
                <a:gd name="T60" fmla="*/ 111 w 1704"/>
                <a:gd name="T61" fmla="*/ 43 h 1056"/>
                <a:gd name="T62" fmla="*/ 113 w 1704"/>
                <a:gd name="T63" fmla="*/ 50 h 1056"/>
                <a:gd name="T64" fmla="*/ 121 w 1704"/>
                <a:gd name="T65" fmla="*/ 55 h 1056"/>
                <a:gd name="T66" fmla="*/ 132 w 1704"/>
                <a:gd name="T67" fmla="*/ 52 h 1056"/>
                <a:gd name="T68" fmla="*/ 148 w 1704"/>
                <a:gd name="T69" fmla="*/ 58 h 1056"/>
                <a:gd name="T70" fmla="*/ 148 w 1704"/>
                <a:gd name="T71" fmla="*/ 61 h 1056"/>
                <a:gd name="T72" fmla="*/ 148 w 1704"/>
                <a:gd name="T73" fmla="*/ 64 h 1056"/>
                <a:gd name="T74" fmla="*/ 135 w 1704"/>
                <a:gd name="T75" fmla="*/ 61 h 1056"/>
                <a:gd name="T76" fmla="*/ 135 w 1704"/>
                <a:gd name="T77" fmla="*/ 66 h 1056"/>
                <a:gd name="T78" fmla="*/ 137 w 1704"/>
                <a:gd name="T79" fmla="*/ 71 h 1056"/>
                <a:gd name="T80" fmla="*/ 136 w 1704"/>
                <a:gd name="T81" fmla="*/ 79 h 1056"/>
                <a:gd name="T82" fmla="*/ 126 w 1704"/>
                <a:gd name="T83" fmla="*/ 84 h 1056"/>
                <a:gd name="T84" fmla="*/ 121 w 1704"/>
                <a:gd name="T85" fmla="*/ 79 h 1056"/>
                <a:gd name="T86" fmla="*/ 117 w 1704"/>
                <a:gd name="T87" fmla="*/ 75 h 1056"/>
                <a:gd name="T88" fmla="*/ 98 w 1704"/>
                <a:gd name="T89" fmla="*/ 74 h 1056"/>
                <a:gd name="T90" fmla="*/ 81 w 1704"/>
                <a:gd name="T91" fmla="*/ 75 h 1056"/>
                <a:gd name="T92" fmla="*/ 83 w 1704"/>
                <a:gd name="T93" fmla="*/ 88 h 1056"/>
                <a:gd name="T94" fmla="*/ 82 w 1704"/>
                <a:gd name="T95" fmla="*/ 91 h 1056"/>
                <a:gd name="T96" fmla="*/ 77 w 1704"/>
                <a:gd name="T97" fmla="*/ 90 h 1056"/>
                <a:gd name="T98" fmla="*/ 73 w 1704"/>
                <a:gd name="T99" fmla="*/ 86 h 1056"/>
                <a:gd name="T100" fmla="*/ 68 w 1704"/>
                <a:gd name="T101" fmla="*/ 85 h 1056"/>
                <a:gd name="T102" fmla="*/ 64 w 1704"/>
                <a:gd name="T103" fmla="*/ 83 h 1056"/>
                <a:gd name="T104" fmla="*/ 57 w 1704"/>
                <a:gd name="T105" fmla="*/ 81 h 1056"/>
                <a:gd name="T106" fmla="*/ 52 w 1704"/>
                <a:gd name="T107" fmla="*/ 80 h 1056"/>
                <a:gd name="T108" fmla="*/ 50 w 1704"/>
                <a:gd name="T109" fmla="*/ 80 h 1056"/>
                <a:gd name="T110" fmla="*/ 46 w 1704"/>
                <a:gd name="T111" fmla="*/ 79 h 1056"/>
                <a:gd name="T112" fmla="*/ 41 w 1704"/>
                <a:gd name="T113" fmla="*/ 78 h 10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04"/>
                <a:gd name="T172" fmla="*/ 0 h 1056"/>
                <a:gd name="T173" fmla="*/ 1704 w 1704"/>
                <a:gd name="T174" fmla="*/ 1056 h 10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04" h="1056">
                  <a:moveTo>
                    <a:pt x="450" y="888"/>
                  </a:moveTo>
                  <a:lnTo>
                    <a:pt x="420" y="888"/>
                  </a:lnTo>
                  <a:lnTo>
                    <a:pt x="414" y="888"/>
                  </a:lnTo>
                  <a:lnTo>
                    <a:pt x="396" y="888"/>
                  </a:lnTo>
                  <a:lnTo>
                    <a:pt x="372" y="888"/>
                  </a:lnTo>
                  <a:lnTo>
                    <a:pt x="366" y="888"/>
                  </a:lnTo>
                  <a:lnTo>
                    <a:pt x="360" y="888"/>
                  </a:lnTo>
                  <a:lnTo>
                    <a:pt x="348" y="888"/>
                  </a:lnTo>
                  <a:lnTo>
                    <a:pt x="330" y="894"/>
                  </a:lnTo>
                  <a:lnTo>
                    <a:pt x="324" y="894"/>
                  </a:lnTo>
                  <a:lnTo>
                    <a:pt x="312" y="888"/>
                  </a:lnTo>
                  <a:lnTo>
                    <a:pt x="300" y="888"/>
                  </a:lnTo>
                  <a:lnTo>
                    <a:pt x="282" y="888"/>
                  </a:lnTo>
                  <a:lnTo>
                    <a:pt x="270" y="888"/>
                  </a:lnTo>
                  <a:lnTo>
                    <a:pt x="240" y="882"/>
                  </a:lnTo>
                  <a:lnTo>
                    <a:pt x="222" y="882"/>
                  </a:lnTo>
                  <a:lnTo>
                    <a:pt x="198" y="882"/>
                  </a:lnTo>
                  <a:lnTo>
                    <a:pt x="174" y="894"/>
                  </a:lnTo>
                  <a:lnTo>
                    <a:pt x="162" y="900"/>
                  </a:lnTo>
                  <a:lnTo>
                    <a:pt x="144" y="906"/>
                  </a:lnTo>
                  <a:lnTo>
                    <a:pt x="126" y="912"/>
                  </a:lnTo>
                  <a:lnTo>
                    <a:pt x="102" y="924"/>
                  </a:lnTo>
                  <a:lnTo>
                    <a:pt x="78" y="930"/>
                  </a:lnTo>
                  <a:lnTo>
                    <a:pt x="72" y="936"/>
                  </a:lnTo>
                  <a:lnTo>
                    <a:pt x="30" y="954"/>
                  </a:lnTo>
                  <a:lnTo>
                    <a:pt x="12" y="966"/>
                  </a:lnTo>
                  <a:lnTo>
                    <a:pt x="12" y="954"/>
                  </a:lnTo>
                  <a:lnTo>
                    <a:pt x="12" y="930"/>
                  </a:lnTo>
                  <a:lnTo>
                    <a:pt x="12" y="894"/>
                  </a:lnTo>
                  <a:lnTo>
                    <a:pt x="30" y="828"/>
                  </a:lnTo>
                  <a:lnTo>
                    <a:pt x="36" y="798"/>
                  </a:lnTo>
                  <a:lnTo>
                    <a:pt x="18" y="774"/>
                  </a:lnTo>
                  <a:lnTo>
                    <a:pt x="18" y="756"/>
                  </a:lnTo>
                  <a:lnTo>
                    <a:pt x="6" y="738"/>
                  </a:lnTo>
                  <a:lnTo>
                    <a:pt x="0" y="714"/>
                  </a:lnTo>
                  <a:lnTo>
                    <a:pt x="12" y="678"/>
                  </a:lnTo>
                  <a:lnTo>
                    <a:pt x="18" y="678"/>
                  </a:lnTo>
                  <a:lnTo>
                    <a:pt x="24" y="672"/>
                  </a:lnTo>
                  <a:lnTo>
                    <a:pt x="30" y="666"/>
                  </a:lnTo>
                  <a:lnTo>
                    <a:pt x="42" y="648"/>
                  </a:lnTo>
                  <a:lnTo>
                    <a:pt x="66" y="648"/>
                  </a:lnTo>
                  <a:lnTo>
                    <a:pt x="108" y="648"/>
                  </a:lnTo>
                  <a:lnTo>
                    <a:pt x="174" y="642"/>
                  </a:lnTo>
                  <a:lnTo>
                    <a:pt x="216" y="636"/>
                  </a:lnTo>
                  <a:lnTo>
                    <a:pt x="240" y="630"/>
                  </a:lnTo>
                  <a:lnTo>
                    <a:pt x="246" y="618"/>
                  </a:lnTo>
                  <a:lnTo>
                    <a:pt x="264" y="600"/>
                  </a:lnTo>
                  <a:lnTo>
                    <a:pt x="294" y="582"/>
                  </a:lnTo>
                  <a:lnTo>
                    <a:pt x="318" y="552"/>
                  </a:lnTo>
                  <a:lnTo>
                    <a:pt x="330" y="546"/>
                  </a:lnTo>
                  <a:lnTo>
                    <a:pt x="348" y="510"/>
                  </a:lnTo>
                  <a:lnTo>
                    <a:pt x="372" y="474"/>
                  </a:lnTo>
                  <a:lnTo>
                    <a:pt x="384" y="444"/>
                  </a:lnTo>
                  <a:lnTo>
                    <a:pt x="396" y="420"/>
                  </a:lnTo>
                  <a:lnTo>
                    <a:pt x="402" y="378"/>
                  </a:lnTo>
                  <a:lnTo>
                    <a:pt x="402" y="228"/>
                  </a:lnTo>
                  <a:lnTo>
                    <a:pt x="414" y="186"/>
                  </a:lnTo>
                  <a:lnTo>
                    <a:pt x="432" y="138"/>
                  </a:lnTo>
                  <a:lnTo>
                    <a:pt x="438" y="114"/>
                  </a:lnTo>
                  <a:lnTo>
                    <a:pt x="444" y="96"/>
                  </a:lnTo>
                  <a:lnTo>
                    <a:pt x="462" y="84"/>
                  </a:lnTo>
                  <a:lnTo>
                    <a:pt x="474" y="78"/>
                  </a:lnTo>
                  <a:lnTo>
                    <a:pt x="492" y="72"/>
                  </a:lnTo>
                  <a:lnTo>
                    <a:pt x="492" y="66"/>
                  </a:lnTo>
                  <a:lnTo>
                    <a:pt x="498" y="66"/>
                  </a:lnTo>
                  <a:lnTo>
                    <a:pt x="510" y="66"/>
                  </a:lnTo>
                  <a:lnTo>
                    <a:pt x="510" y="72"/>
                  </a:lnTo>
                  <a:lnTo>
                    <a:pt x="516" y="72"/>
                  </a:lnTo>
                  <a:lnTo>
                    <a:pt x="522" y="78"/>
                  </a:lnTo>
                  <a:lnTo>
                    <a:pt x="546" y="78"/>
                  </a:lnTo>
                  <a:lnTo>
                    <a:pt x="552" y="60"/>
                  </a:lnTo>
                  <a:lnTo>
                    <a:pt x="570" y="42"/>
                  </a:lnTo>
                  <a:lnTo>
                    <a:pt x="576" y="24"/>
                  </a:lnTo>
                  <a:lnTo>
                    <a:pt x="588" y="18"/>
                  </a:lnTo>
                  <a:lnTo>
                    <a:pt x="588" y="12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624" y="0"/>
                  </a:lnTo>
                  <a:lnTo>
                    <a:pt x="636" y="6"/>
                  </a:lnTo>
                  <a:lnTo>
                    <a:pt x="648" y="24"/>
                  </a:lnTo>
                  <a:lnTo>
                    <a:pt x="654" y="48"/>
                  </a:lnTo>
                  <a:lnTo>
                    <a:pt x="672" y="60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0" y="72"/>
                  </a:lnTo>
                  <a:lnTo>
                    <a:pt x="690" y="78"/>
                  </a:lnTo>
                  <a:lnTo>
                    <a:pt x="696" y="90"/>
                  </a:lnTo>
                  <a:lnTo>
                    <a:pt x="714" y="114"/>
                  </a:lnTo>
                  <a:lnTo>
                    <a:pt x="714" y="120"/>
                  </a:lnTo>
                  <a:lnTo>
                    <a:pt x="720" y="132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20" y="150"/>
                  </a:lnTo>
                  <a:lnTo>
                    <a:pt x="714" y="150"/>
                  </a:lnTo>
                  <a:lnTo>
                    <a:pt x="714" y="156"/>
                  </a:lnTo>
                  <a:lnTo>
                    <a:pt x="714" y="162"/>
                  </a:lnTo>
                  <a:lnTo>
                    <a:pt x="708" y="162"/>
                  </a:lnTo>
                  <a:lnTo>
                    <a:pt x="708" y="168"/>
                  </a:lnTo>
                  <a:lnTo>
                    <a:pt x="702" y="168"/>
                  </a:lnTo>
                  <a:lnTo>
                    <a:pt x="702" y="174"/>
                  </a:lnTo>
                  <a:lnTo>
                    <a:pt x="702" y="180"/>
                  </a:lnTo>
                  <a:lnTo>
                    <a:pt x="708" y="180"/>
                  </a:lnTo>
                  <a:lnTo>
                    <a:pt x="708" y="186"/>
                  </a:lnTo>
                  <a:lnTo>
                    <a:pt x="708" y="192"/>
                  </a:lnTo>
                  <a:lnTo>
                    <a:pt x="714" y="204"/>
                  </a:lnTo>
                  <a:lnTo>
                    <a:pt x="726" y="216"/>
                  </a:lnTo>
                  <a:lnTo>
                    <a:pt x="738" y="216"/>
                  </a:lnTo>
                  <a:lnTo>
                    <a:pt x="768" y="222"/>
                  </a:lnTo>
                  <a:lnTo>
                    <a:pt x="780" y="216"/>
                  </a:lnTo>
                  <a:lnTo>
                    <a:pt x="792" y="204"/>
                  </a:lnTo>
                  <a:lnTo>
                    <a:pt x="798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6" y="192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6" y="174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22" y="156"/>
                  </a:lnTo>
                  <a:lnTo>
                    <a:pt x="822" y="150"/>
                  </a:lnTo>
                  <a:lnTo>
                    <a:pt x="828" y="144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8" y="138"/>
                  </a:lnTo>
                  <a:lnTo>
                    <a:pt x="834" y="132"/>
                  </a:lnTo>
                  <a:lnTo>
                    <a:pt x="840" y="132"/>
                  </a:lnTo>
                  <a:lnTo>
                    <a:pt x="864" y="126"/>
                  </a:lnTo>
                  <a:lnTo>
                    <a:pt x="906" y="144"/>
                  </a:lnTo>
                  <a:lnTo>
                    <a:pt x="906" y="150"/>
                  </a:lnTo>
                  <a:lnTo>
                    <a:pt x="906" y="156"/>
                  </a:lnTo>
                  <a:lnTo>
                    <a:pt x="900" y="162"/>
                  </a:lnTo>
                  <a:lnTo>
                    <a:pt x="924" y="168"/>
                  </a:lnTo>
                  <a:lnTo>
                    <a:pt x="942" y="192"/>
                  </a:lnTo>
                  <a:lnTo>
                    <a:pt x="972" y="210"/>
                  </a:lnTo>
                  <a:lnTo>
                    <a:pt x="972" y="216"/>
                  </a:lnTo>
                  <a:lnTo>
                    <a:pt x="972" y="228"/>
                  </a:lnTo>
                  <a:lnTo>
                    <a:pt x="978" y="234"/>
                  </a:lnTo>
                  <a:lnTo>
                    <a:pt x="978" y="246"/>
                  </a:lnTo>
                  <a:lnTo>
                    <a:pt x="984" y="252"/>
                  </a:lnTo>
                  <a:lnTo>
                    <a:pt x="1014" y="252"/>
                  </a:lnTo>
                  <a:lnTo>
                    <a:pt x="1020" y="228"/>
                  </a:lnTo>
                  <a:lnTo>
                    <a:pt x="1026" y="198"/>
                  </a:lnTo>
                  <a:lnTo>
                    <a:pt x="1050" y="186"/>
                  </a:lnTo>
                  <a:lnTo>
                    <a:pt x="1056" y="180"/>
                  </a:lnTo>
                  <a:lnTo>
                    <a:pt x="1050" y="174"/>
                  </a:lnTo>
                  <a:lnTo>
                    <a:pt x="1050" y="168"/>
                  </a:lnTo>
                  <a:lnTo>
                    <a:pt x="1050" y="162"/>
                  </a:lnTo>
                  <a:lnTo>
                    <a:pt x="1056" y="162"/>
                  </a:lnTo>
                  <a:lnTo>
                    <a:pt x="1062" y="162"/>
                  </a:lnTo>
                  <a:lnTo>
                    <a:pt x="1074" y="162"/>
                  </a:lnTo>
                  <a:lnTo>
                    <a:pt x="1074" y="144"/>
                  </a:lnTo>
                  <a:lnTo>
                    <a:pt x="1074" y="120"/>
                  </a:lnTo>
                  <a:lnTo>
                    <a:pt x="1092" y="120"/>
                  </a:lnTo>
                  <a:lnTo>
                    <a:pt x="1098" y="126"/>
                  </a:lnTo>
                  <a:lnTo>
                    <a:pt x="1134" y="132"/>
                  </a:lnTo>
                  <a:lnTo>
                    <a:pt x="1146" y="132"/>
                  </a:lnTo>
                  <a:lnTo>
                    <a:pt x="1158" y="150"/>
                  </a:lnTo>
                  <a:lnTo>
                    <a:pt x="1158" y="156"/>
                  </a:lnTo>
                  <a:lnTo>
                    <a:pt x="1158" y="162"/>
                  </a:lnTo>
                  <a:lnTo>
                    <a:pt x="1158" y="180"/>
                  </a:lnTo>
                  <a:lnTo>
                    <a:pt x="1158" y="186"/>
                  </a:lnTo>
                  <a:lnTo>
                    <a:pt x="1164" y="192"/>
                  </a:lnTo>
                  <a:lnTo>
                    <a:pt x="1176" y="198"/>
                  </a:lnTo>
                  <a:lnTo>
                    <a:pt x="1182" y="198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8"/>
                  </a:lnTo>
                  <a:lnTo>
                    <a:pt x="1188" y="234"/>
                  </a:lnTo>
                  <a:lnTo>
                    <a:pt x="1212" y="234"/>
                  </a:lnTo>
                  <a:lnTo>
                    <a:pt x="1242" y="234"/>
                  </a:lnTo>
                  <a:lnTo>
                    <a:pt x="1248" y="234"/>
                  </a:lnTo>
                  <a:lnTo>
                    <a:pt x="1278" y="240"/>
                  </a:lnTo>
                  <a:lnTo>
                    <a:pt x="1320" y="234"/>
                  </a:lnTo>
                  <a:lnTo>
                    <a:pt x="1332" y="228"/>
                  </a:lnTo>
                  <a:lnTo>
                    <a:pt x="1344" y="228"/>
                  </a:lnTo>
                  <a:lnTo>
                    <a:pt x="1350" y="234"/>
                  </a:lnTo>
                  <a:lnTo>
                    <a:pt x="1350" y="240"/>
                  </a:lnTo>
                  <a:lnTo>
                    <a:pt x="1356" y="246"/>
                  </a:lnTo>
                  <a:lnTo>
                    <a:pt x="1350" y="252"/>
                  </a:lnTo>
                  <a:lnTo>
                    <a:pt x="1356" y="264"/>
                  </a:lnTo>
                  <a:lnTo>
                    <a:pt x="1356" y="270"/>
                  </a:lnTo>
                  <a:lnTo>
                    <a:pt x="1356" y="276"/>
                  </a:lnTo>
                  <a:lnTo>
                    <a:pt x="1356" y="282"/>
                  </a:lnTo>
                  <a:lnTo>
                    <a:pt x="1356" y="288"/>
                  </a:lnTo>
                  <a:lnTo>
                    <a:pt x="1350" y="294"/>
                  </a:lnTo>
                  <a:lnTo>
                    <a:pt x="1344" y="300"/>
                  </a:lnTo>
                  <a:lnTo>
                    <a:pt x="1344" y="306"/>
                  </a:lnTo>
                  <a:lnTo>
                    <a:pt x="1338" y="312"/>
                  </a:lnTo>
                  <a:lnTo>
                    <a:pt x="1326" y="342"/>
                  </a:lnTo>
                  <a:lnTo>
                    <a:pt x="1320" y="348"/>
                  </a:lnTo>
                  <a:lnTo>
                    <a:pt x="1314" y="354"/>
                  </a:lnTo>
                  <a:lnTo>
                    <a:pt x="1290" y="354"/>
                  </a:lnTo>
                  <a:lnTo>
                    <a:pt x="1284" y="360"/>
                  </a:lnTo>
                  <a:lnTo>
                    <a:pt x="1278" y="378"/>
                  </a:lnTo>
                  <a:lnTo>
                    <a:pt x="1278" y="384"/>
                  </a:lnTo>
                  <a:lnTo>
                    <a:pt x="1272" y="390"/>
                  </a:lnTo>
                  <a:lnTo>
                    <a:pt x="1266" y="396"/>
                  </a:lnTo>
                  <a:lnTo>
                    <a:pt x="1260" y="396"/>
                  </a:lnTo>
                  <a:lnTo>
                    <a:pt x="1248" y="402"/>
                  </a:lnTo>
                  <a:lnTo>
                    <a:pt x="1242" y="408"/>
                  </a:lnTo>
                  <a:lnTo>
                    <a:pt x="1242" y="414"/>
                  </a:lnTo>
                  <a:lnTo>
                    <a:pt x="1242" y="420"/>
                  </a:lnTo>
                  <a:lnTo>
                    <a:pt x="1236" y="432"/>
                  </a:lnTo>
                  <a:lnTo>
                    <a:pt x="1242" y="432"/>
                  </a:lnTo>
                  <a:lnTo>
                    <a:pt x="1242" y="444"/>
                  </a:lnTo>
                  <a:lnTo>
                    <a:pt x="1242" y="456"/>
                  </a:lnTo>
                  <a:lnTo>
                    <a:pt x="1248" y="456"/>
                  </a:lnTo>
                  <a:lnTo>
                    <a:pt x="1254" y="462"/>
                  </a:lnTo>
                  <a:lnTo>
                    <a:pt x="1248" y="468"/>
                  </a:lnTo>
                  <a:lnTo>
                    <a:pt x="1254" y="468"/>
                  </a:lnTo>
                  <a:lnTo>
                    <a:pt x="1266" y="474"/>
                  </a:lnTo>
                  <a:lnTo>
                    <a:pt x="1266" y="480"/>
                  </a:lnTo>
                  <a:lnTo>
                    <a:pt x="1266" y="486"/>
                  </a:lnTo>
                  <a:lnTo>
                    <a:pt x="1272" y="486"/>
                  </a:lnTo>
                  <a:lnTo>
                    <a:pt x="1272" y="492"/>
                  </a:lnTo>
                  <a:lnTo>
                    <a:pt x="1290" y="510"/>
                  </a:lnTo>
                  <a:lnTo>
                    <a:pt x="1296" y="516"/>
                  </a:lnTo>
                  <a:lnTo>
                    <a:pt x="1302" y="540"/>
                  </a:lnTo>
                  <a:lnTo>
                    <a:pt x="1302" y="546"/>
                  </a:lnTo>
                  <a:lnTo>
                    <a:pt x="1302" y="558"/>
                  </a:lnTo>
                  <a:lnTo>
                    <a:pt x="1302" y="570"/>
                  </a:lnTo>
                  <a:lnTo>
                    <a:pt x="1302" y="576"/>
                  </a:lnTo>
                  <a:lnTo>
                    <a:pt x="1344" y="570"/>
                  </a:lnTo>
                  <a:lnTo>
                    <a:pt x="1350" y="582"/>
                  </a:lnTo>
                  <a:lnTo>
                    <a:pt x="1368" y="594"/>
                  </a:lnTo>
                  <a:lnTo>
                    <a:pt x="1374" y="600"/>
                  </a:lnTo>
                  <a:lnTo>
                    <a:pt x="1380" y="600"/>
                  </a:lnTo>
                  <a:lnTo>
                    <a:pt x="1380" y="618"/>
                  </a:lnTo>
                  <a:lnTo>
                    <a:pt x="1386" y="624"/>
                  </a:lnTo>
                  <a:lnTo>
                    <a:pt x="1404" y="624"/>
                  </a:lnTo>
                  <a:lnTo>
                    <a:pt x="1410" y="612"/>
                  </a:lnTo>
                  <a:lnTo>
                    <a:pt x="1428" y="606"/>
                  </a:lnTo>
                  <a:lnTo>
                    <a:pt x="1488" y="606"/>
                  </a:lnTo>
                  <a:lnTo>
                    <a:pt x="1506" y="606"/>
                  </a:lnTo>
                  <a:lnTo>
                    <a:pt x="1512" y="600"/>
                  </a:lnTo>
                  <a:lnTo>
                    <a:pt x="1524" y="594"/>
                  </a:lnTo>
                  <a:lnTo>
                    <a:pt x="1554" y="594"/>
                  </a:lnTo>
                  <a:lnTo>
                    <a:pt x="1578" y="606"/>
                  </a:lnTo>
                  <a:lnTo>
                    <a:pt x="1596" y="624"/>
                  </a:lnTo>
                  <a:lnTo>
                    <a:pt x="1650" y="642"/>
                  </a:lnTo>
                  <a:lnTo>
                    <a:pt x="1686" y="648"/>
                  </a:lnTo>
                  <a:lnTo>
                    <a:pt x="1698" y="654"/>
                  </a:lnTo>
                  <a:lnTo>
                    <a:pt x="1698" y="660"/>
                  </a:lnTo>
                  <a:lnTo>
                    <a:pt x="1692" y="666"/>
                  </a:lnTo>
                  <a:lnTo>
                    <a:pt x="1692" y="672"/>
                  </a:lnTo>
                  <a:lnTo>
                    <a:pt x="1698" y="678"/>
                  </a:lnTo>
                  <a:lnTo>
                    <a:pt x="1698" y="684"/>
                  </a:lnTo>
                  <a:lnTo>
                    <a:pt x="1692" y="684"/>
                  </a:lnTo>
                  <a:lnTo>
                    <a:pt x="1692" y="690"/>
                  </a:lnTo>
                  <a:lnTo>
                    <a:pt x="1698" y="696"/>
                  </a:lnTo>
                  <a:lnTo>
                    <a:pt x="1698" y="702"/>
                  </a:lnTo>
                  <a:lnTo>
                    <a:pt x="1698" y="708"/>
                  </a:lnTo>
                  <a:lnTo>
                    <a:pt x="1704" y="714"/>
                  </a:lnTo>
                  <a:lnTo>
                    <a:pt x="1704" y="720"/>
                  </a:lnTo>
                  <a:lnTo>
                    <a:pt x="1704" y="726"/>
                  </a:lnTo>
                  <a:lnTo>
                    <a:pt x="1704" y="732"/>
                  </a:lnTo>
                  <a:lnTo>
                    <a:pt x="1704" y="738"/>
                  </a:lnTo>
                  <a:lnTo>
                    <a:pt x="1698" y="726"/>
                  </a:lnTo>
                  <a:lnTo>
                    <a:pt x="1668" y="720"/>
                  </a:lnTo>
                  <a:lnTo>
                    <a:pt x="1626" y="714"/>
                  </a:lnTo>
                  <a:lnTo>
                    <a:pt x="1614" y="708"/>
                  </a:lnTo>
                  <a:lnTo>
                    <a:pt x="1578" y="696"/>
                  </a:lnTo>
                  <a:lnTo>
                    <a:pt x="1566" y="696"/>
                  </a:lnTo>
                  <a:lnTo>
                    <a:pt x="1548" y="702"/>
                  </a:lnTo>
                  <a:lnTo>
                    <a:pt x="1542" y="714"/>
                  </a:lnTo>
                  <a:lnTo>
                    <a:pt x="1536" y="732"/>
                  </a:lnTo>
                  <a:lnTo>
                    <a:pt x="1530" y="750"/>
                  </a:lnTo>
                  <a:lnTo>
                    <a:pt x="1536" y="750"/>
                  </a:lnTo>
                  <a:lnTo>
                    <a:pt x="1542" y="756"/>
                  </a:lnTo>
                  <a:lnTo>
                    <a:pt x="1542" y="762"/>
                  </a:lnTo>
                  <a:lnTo>
                    <a:pt x="1548" y="762"/>
                  </a:lnTo>
                  <a:lnTo>
                    <a:pt x="1554" y="762"/>
                  </a:lnTo>
                  <a:lnTo>
                    <a:pt x="1554" y="768"/>
                  </a:lnTo>
                  <a:lnTo>
                    <a:pt x="1560" y="774"/>
                  </a:lnTo>
                  <a:lnTo>
                    <a:pt x="1566" y="774"/>
                  </a:lnTo>
                  <a:lnTo>
                    <a:pt x="1584" y="792"/>
                  </a:lnTo>
                  <a:lnTo>
                    <a:pt x="1584" y="810"/>
                  </a:lnTo>
                  <a:lnTo>
                    <a:pt x="1572" y="816"/>
                  </a:lnTo>
                  <a:lnTo>
                    <a:pt x="1578" y="834"/>
                  </a:lnTo>
                  <a:lnTo>
                    <a:pt x="1578" y="846"/>
                  </a:lnTo>
                  <a:lnTo>
                    <a:pt x="1584" y="858"/>
                  </a:lnTo>
                  <a:lnTo>
                    <a:pt x="1590" y="864"/>
                  </a:lnTo>
                  <a:lnTo>
                    <a:pt x="1590" y="876"/>
                  </a:lnTo>
                  <a:lnTo>
                    <a:pt x="1578" y="888"/>
                  </a:lnTo>
                  <a:lnTo>
                    <a:pt x="1560" y="906"/>
                  </a:lnTo>
                  <a:lnTo>
                    <a:pt x="1536" y="930"/>
                  </a:lnTo>
                  <a:lnTo>
                    <a:pt x="1530" y="930"/>
                  </a:lnTo>
                  <a:lnTo>
                    <a:pt x="1506" y="942"/>
                  </a:lnTo>
                  <a:lnTo>
                    <a:pt x="1488" y="948"/>
                  </a:lnTo>
                  <a:lnTo>
                    <a:pt x="1476" y="954"/>
                  </a:lnTo>
                  <a:lnTo>
                    <a:pt x="1458" y="960"/>
                  </a:lnTo>
                  <a:lnTo>
                    <a:pt x="1452" y="966"/>
                  </a:lnTo>
                  <a:lnTo>
                    <a:pt x="1446" y="966"/>
                  </a:lnTo>
                  <a:lnTo>
                    <a:pt x="1434" y="972"/>
                  </a:lnTo>
                  <a:lnTo>
                    <a:pt x="1434" y="954"/>
                  </a:lnTo>
                  <a:lnTo>
                    <a:pt x="1422" y="942"/>
                  </a:lnTo>
                  <a:lnTo>
                    <a:pt x="1398" y="924"/>
                  </a:lnTo>
                  <a:lnTo>
                    <a:pt x="1398" y="912"/>
                  </a:lnTo>
                  <a:lnTo>
                    <a:pt x="1398" y="906"/>
                  </a:lnTo>
                  <a:lnTo>
                    <a:pt x="1398" y="900"/>
                  </a:lnTo>
                  <a:lnTo>
                    <a:pt x="1380" y="900"/>
                  </a:lnTo>
                  <a:lnTo>
                    <a:pt x="1380" y="894"/>
                  </a:lnTo>
                  <a:lnTo>
                    <a:pt x="1368" y="888"/>
                  </a:lnTo>
                  <a:lnTo>
                    <a:pt x="1362" y="882"/>
                  </a:lnTo>
                  <a:lnTo>
                    <a:pt x="1356" y="876"/>
                  </a:lnTo>
                  <a:lnTo>
                    <a:pt x="1350" y="864"/>
                  </a:lnTo>
                  <a:lnTo>
                    <a:pt x="1344" y="858"/>
                  </a:lnTo>
                  <a:lnTo>
                    <a:pt x="1314" y="870"/>
                  </a:lnTo>
                  <a:lnTo>
                    <a:pt x="1272" y="876"/>
                  </a:lnTo>
                  <a:lnTo>
                    <a:pt x="1218" y="870"/>
                  </a:lnTo>
                  <a:lnTo>
                    <a:pt x="1200" y="864"/>
                  </a:lnTo>
                  <a:lnTo>
                    <a:pt x="1182" y="864"/>
                  </a:lnTo>
                  <a:lnTo>
                    <a:pt x="1134" y="858"/>
                  </a:lnTo>
                  <a:lnTo>
                    <a:pt x="1110" y="840"/>
                  </a:lnTo>
                  <a:lnTo>
                    <a:pt x="1086" y="828"/>
                  </a:lnTo>
                  <a:lnTo>
                    <a:pt x="1044" y="816"/>
                  </a:lnTo>
                  <a:lnTo>
                    <a:pt x="1014" y="816"/>
                  </a:lnTo>
                  <a:lnTo>
                    <a:pt x="990" y="822"/>
                  </a:lnTo>
                  <a:lnTo>
                    <a:pt x="948" y="858"/>
                  </a:lnTo>
                  <a:lnTo>
                    <a:pt x="930" y="864"/>
                  </a:lnTo>
                  <a:lnTo>
                    <a:pt x="924" y="876"/>
                  </a:lnTo>
                  <a:lnTo>
                    <a:pt x="918" y="906"/>
                  </a:lnTo>
                  <a:lnTo>
                    <a:pt x="924" y="930"/>
                  </a:lnTo>
                  <a:lnTo>
                    <a:pt x="948" y="984"/>
                  </a:lnTo>
                  <a:lnTo>
                    <a:pt x="954" y="1008"/>
                  </a:lnTo>
                  <a:lnTo>
                    <a:pt x="948" y="1014"/>
                  </a:lnTo>
                  <a:lnTo>
                    <a:pt x="954" y="1014"/>
                  </a:lnTo>
                  <a:lnTo>
                    <a:pt x="954" y="1032"/>
                  </a:lnTo>
                  <a:lnTo>
                    <a:pt x="966" y="1044"/>
                  </a:lnTo>
                  <a:lnTo>
                    <a:pt x="960" y="1056"/>
                  </a:lnTo>
                  <a:lnTo>
                    <a:pt x="954" y="1056"/>
                  </a:lnTo>
                  <a:lnTo>
                    <a:pt x="948" y="1056"/>
                  </a:lnTo>
                  <a:lnTo>
                    <a:pt x="942" y="1056"/>
                  </a:lnTo>
                  <a:lnTo>
                    <a:pt x="936" y="1050"/>
                  </a:lnTo>
                  <a:lnTo>
                    <a:pt x="930" y="1044"/>
                  </a:lnTo>
                  <a:lnTo>
                    <a:pt x="924" y="1044"/>
                  </a:lnTo>
                  <a:lnTo>
                    <a:pt x="918" y="1038"/>
                  </a:lnTo>
                  <a:lnTo>
                    <a:pt x="912" y="1038"/>
                  </a:lnTo>
                  <a:lnTo>
                    <a:pt x="906" y="1032"/>
                  </a:lnTo>
                  <a:lnTo>
                    <a:pt x="900" y="1032"/>
                  </a:lnTo>
                  <a:lnTo>
                    <a:pt x="888" y="1026"/>
                  </a:lnTo>
                  <a:lnTo>
                    <a:pt x="882" y="1026"/>
                  </a:lnTo>
                  <a:lnTo>
                    <a:pt x="876" y="1026"/>
                  </a:lnTo>
                  <a:lnTo>
                    <a:pt x="864" y="1014"/>
                  </a:lnTo>
                  <a:lnTo>
                    <a:pt x="846" y="1008"/>
                  </a:lnTo>
                  <a:lnTo>
                    <a:pt x="840" y="996"/>
                  </a:lnTo>
                  <a:lnTo>
                    <a:pt x="840" y="990"/>
                  </a:lnTo>
                  <a:lnTo>
                    <a:pt x="834" y="990"/>
                  </a:lnTo>
                  <a:lnTo>
                    <a:pt x="828" y="990"/>
                  </a:lnTo>
                  <a:lnTo>
                    <a:pt x="816" y="990"/>
                  </a:lnTo>
                  <a:lnTo>
                    <a:pt x="810" y="990"/>
                  </a:lnTo>
                  <a:lnTo>
                    <a:pt x="804" y="984"/>
                  </a:lnTo>
                  <a:lnTo>
                    <a:pt x="792" y="978"/>
                  </a:lnTo>
                  <a:lnTo>
                    <a:pt x="786" y="972"/>
                  </a:lnTo>
                  <a:lnTo>
                    <a:pt x="780" y="972"/>
                  </a:lnTo>
                  <a:lnTo>
                    <a:pt x="768" y="966"/>
                  </a:lnTo>
                  <a:lnTo>
                    <a:pt x="762" y="966"/>
                  </a:lnTo>
                  <a:lnTo>
                    <a:pt x="756" y="966"/>
                  </a:lnTo>
                  <a:lnTo>
                    <a:pt x="750" y="966"/>
                  </a:lnTo>
                  <a:lnTo>
                    <a:pt x="744" y="966"/>
                  </a:lnTo>
                  <a:lnTo>
                    <a:pt x="738" y="960"/>
                  </a:lnTo>
                  <a:lnTo>
                    <a:pt x="732" y="954"/>
                  </a:lnTo>
                  <a:lnTo>
                    <a:pt x="720" y="954"/>
                  </a:lnTo>
                  <a:lnTo>
                    <a:pt x="714" y="948"/>
                  </a:lnTo>
                  <a:lnTo>
                    <a:pt x="708" y="948"/>
                  </a:lnTo>
                  <a:lnTo>
                    <a:pt x="696" y="948"/>
                  </a:lnTo>
                  <a:lnTo>
                    <a:pt x="684" y="942"/>
                  </a:lnTo>
                  <a:lnTo>
                    <a:pt x="678" y="936"/>
                  </a:lnTo>
                  <a:lnTo>
                    <a:pt x="660" y="930"/>
                  </a:lnTo>
                  <a:lnTo>
                    <a:pt x="642" y="924"/>
                  </a:lnTo>
                  <a:lnTo>
                    <a:pt x="636" y="924"/>
                  </a:lnTo>
                  <a:lnTo>
                    <a:pt x="630" y="924"/>
                  </a:lnTo>
                  <a:lnTo>
                    <a:pt x="618" y="924"/>
                  </a:lnTo>
                  <a:lnTo>
                    <a:pt x="618" y="918"/>
                  </a:lnTo>
                  <a:lnTo>
                    <a:pt x="606" y="918"/>
                  </a:lnTo>
                  <a:lnTo>
                    <a:pt x="600" y="918"/>
                  </a:lnTo>
                  <a:lnTo>
                    <a:pt x="594" y="918"/>
                  </a:lnTo>
                  <a:lnTo>
                    <a:pt x="594" y="912"/>
                  </a:lnTo>
                  <a:lnTo>
                    <a:pt x="588" y="912"/>
                  </a:lnTo>
                  <a:lnTo>
                    <a:pt x="582" y="912"/>
                  </a:lnTo>
                  <a:lnTo>
                    <a:pt x="582" y="918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58" y="918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12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00"/>
                  </a:lnTo>
                  <a:lnTo>
                    <a:pt x="516" y="900"/>
                  </a:lnTo>
                  <a:lnTo>
                    <a:pt x="510" y="900"/>
                  </a:lnTo>
                  <a:lnTo>
                    <a:pt x="486" y="894"/>
                  </a:lnTo>
                  <a:lnTo>
                    <a:pt x="474" y="888"/>
                  </a:lnTo>
                  <a:lnTo>
                    <a:pt x="468" y="888"/>
                  </a:lnTo>
                  <a:lnTo>
                    <a:pt x="450" y="88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0" name="Freeform 15">
              <a:extLst>
                <a:ext uri="{FF2B5EF4-FFF2-40B4-BE49-F238E27FC236}">
                  <a16:creationId xmlns:a16="http://schemas.microsoft.com/office/drawing/2014/main" id="{8B991D7A-45C6-40F6-A035-24DFC733305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382" y="2652043"/>
              <a:ext cx="724526" cy="695552"/>
            </a:xfrm>
            <a:custGeom>
              <a:avLst/>
              <a:gdLst>
                <a:gd name="T0" fmla="*/ 44 w 1362"/>
                <a:gd name="T1" fmla="*/ 106 h 1308"/>
                <a:gd name="T2" fmla="*/ 32 w 1362"/>
                <a:gd name="T3" fmla="*/ 109 h 1308"/>
                <a:gd name="T4" fmla="*/ 25 w 1362"/>
                <a:gd name="T5" fmla="*/ 105 h 1308"/>
                <a:gd name="T6" fmla="*/ 22 w 1362"/>
                <a:gd name="T7" fmla="*/ 97 h 1308"/>
                <a:gd name="T8" fmla="*/ 21 w 1362"/>
                <a:gd name="T9" fmla="*/ 95 h 1308"/>
                <a:gd name="T10" fmla="*/ 20 w 1362"/>
                <a:gd name="T11" fmla="*/ 90 h 1308"/>
                <a:gd name="T12" fmla="*/ 23 w 1362"/>
                <a:gd name="T13" fmla="*/ 87 h 1308"/>
                <a:gd name="T14" fmla="*/ 29 w 1362"/>
                <a:gd name="T15" fmla="*/ 81 h 1308"/>
                <a:gd name="T16" fmla="*/ 30 w 1362"/>
                <a:gd name="T17" fmla="*/ 78 h 1308"/>
                <a:gd name="T18" fmla="*/ 27 w 1362"/>
                <a:gd name="T19" fmla="*/ 75 h 1308"/>
                <a:gd name="T20" fmla="*/ 15 w 1362"/>
                <a:gd name="T21" fmla="*/ 73 h 1308"/>
                <a:gd name="T22" fmla="*/ 12 w 1362"/>
                <a:gd name="T23" fmla="*/ 69 h 1308"/>
                <a:gd name="T24" fmla="*/ 5 w 1362"/>
                <a:gd name="T25" fmla="*/ 65 h 1308"/>
                <a:gd name="T26" fmla="*/ 6 w 1362"/>
                <a:gd name="T27" fmla="*/ 62 h 1308"/>
                <a:gd name="T28" fmla="*/ 7 w 1362"/>
                <a:gd name="T29" fmla="*/ 56 h 1308"/>
                <a:gd name="T30" fmla="*/ 2 w 1362"/>
                <a:gd name="T31" fmla="*/ 49 h 1308"/>
                <a:gd name="T32" fmla="*/ 0 w 1362"/>
                <a:gd name="T33" fmla="*/ 44 h 1308"/>
                <a:gd name="T34" fmla="*/ 0 w 1362"/>
                <a:gd name="T35" fmla="*/ 39 h 1308"/>
                <a:gd name="T36" fmla="*/ 3 w 1362"/>
                <a:gd name="T37" fmla="*/ 35 h 1308"/>
                <a:gd name="T38" fmla="*/ 3 w 1362"/>
                <a:gd name="T39" fmla="*/ 28 h 1308"/>
                <a:gd name="T40" fmla="*/ 6 w 1362"/>
                <a:gd name="T41" fmla="*/ 18 h 1308"/>
                <a:gd name="T42" fmla="*/ 6 w 1362"/>
                <a:gd name="T43" fmla="*/ 8 h 1308"/>
                <a:gd name="T44" fmla="*/ 10 w 1362"/>
                <a:gd name="T45" fmla="*/ 5 h 1308"/>
                <a:gd name="T46" fmla="*/ 15 w 1362"/>
                <a:gd name="T47" fmla="*/ 0 h 1308"/>
                <a:gd name="T48" fmla="*/ 21 w 1362"/>
                <a:gd name="T49" fmla="*/ 7 h 1308"/>
                <a:gd name="T50" fmla="*/ 25 w 1362"/>
                <a:gd name="T51" fmla="*/ 15 h 1308"/>
                <a:gd name="T52" fmla="*/ 24 w 1362"/>
                <a:gd name="T53" fmla="*/ 19 h 1308"/>
                <a:gd name="T54" fmla="*/ 32 w 1362"/>
                <a:gd name="T55" fmla="*/ 19 h 1308"/>
                <a:gd name="T56" fmla="*/ 35 w 1362"/>
                <a:gd name="T57" fmla="*/ 20 h 1308"/>
                <a:gd name="T58" fmla="*/ 40 w 1362"/>
                <a:gd name="T59" fmla="*/ 23 h 1308"/>
                <a:gd name="T60" fmla="*/ 40 w 1362"/>
                <a:gd name="T61" fmla="*/ 26 h 1308"/>
                <a:gd name="T62" fmla="*/ 34 w 1362"/>
                <a:gd name="T63" fmla="*/ 35 h 1308"/>
                <a:gd name="T64" fmla="*/ 41 w 1362"/>
                <a:gd name="T65" fmla="*/ 37 h 1308"/>
                <a:gd name="T66" fmla="*/ 43 w 1362"/>
                <a:gd name="T67" fmla="*/ 44 h 1308"/>
                <a:gd name="T68" fmla="*/ 48 w 1362"/>
                <a:gd name="T69" fmla="*/ 47 h 1308"/>
                <a:gd name="T70" fmla="*/ 57 w 1362"/>
                <a:gd name="T71" fmla="*/ 48 h 1308"/>
                <a:gd name="T72" fmla="*/ 70 w 1362"/>
                <a:gd name="T73" fmla="*/ 44 h 1308"/>
                <a:gd name="T74" fmla="*/ 80 w 1362"/>
                <a:gd name="T75" fmla="*/ 34 h 1308"/>
                <a:gd name="T76" fmla="*/ 95 w 1362"/>
                <a:gd name="T77" fmla="*/ 41 h 1308"/>
                <a:gd name="T78" fmla="*/ 109 w 1362"/>
                <a:gd name="T79" fmla="*/ 47 h 1308"/>
                <a:gd name="T80" fmla="*/ 111 w 1362"/>
                <a:gd name="T81" fmla="*/ 50 h 1308"/>
                <a:gd name="T82" fmla="*/ 113 w 1362"/>
                <a:gd name="T83" fmla="*/ 53 h 1308"/>
                <a:gd name="T84" fmla="*/ 113 w 1362"/>
                <a:gd name="T85" fmla="*/ 55 h 1308"/>
                <a:gd name="T86" fmla="*/ 113 w 1362"/>
                <a:gd name="T87" fmla="*/ 59 h 1308"/>
                <a:gd name="T88" fmla="*/ 113 w 1362"/>
                <a:gd name="T89" fmla="*/ 62 h 1308"/>
                <a:gd name="T90" fmla="*/ 115 w 1362"/>
                <a:gd name="T91" fmla="*/ 65 h 1308"/>
                <a:gd name="T92" fmla="*/ 115 w 1362"/>
                <a:gd name="T93" fmla="*/ 67 h 1308"/>
                <a:gd name="T94" fmla="*/ 116 w 1362"/>
                <a:gd name="T95" fmla="*/ 69 h 1308"/>
                <a:gd name="T96" fmla="*/ 116 w 1362"/>
                <a:gd name="T97" fmla="*/ 71 h 1308"/>
                <a:gd name="T98" fmla="*/ 118 w 1362"/>
                <a:gd name="T99" fmla="*/ 75 h 1308"/>
                <a:gd name="T100" fmla="*/ 116 w 1362"/>
                <a:gd name="T101" fmla="*/ 77 h 1308"/>
                <a:gd name="T102" fmla="*/ 116 w 1362"/>
                <a:gd name="T103" fmla="*/ 79 h 1308"/>
                <a:gd name="T104" fmla="*/ 101 w 1362"/>
                <a:gd name="T105" fmla="*/ 87 h 1308"/>
                <a:gd name="T106" fmla="*/ 85 w 1362"/>
                <a:gd name="T107" fmla="*/ 103 h 1308"/>
                <a:gd name="T108" fmla="*/ 67 w 1362"/>
                <a:gd name="T109" fmla="*/ 114 h 130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62"/>
                <a:gd name="T166" fmla="*/ 0 h 1308"/>
                <a:gd name="T167" fmla="*/ 1362 w 1362"/>
                <a:gd name="T168" fmla="*/ 1308 h 130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62" h="1308">
                  <a:moveTo>
                    <a:pt x="684" y="1278"/>
                  </a:moveTo>
                  <a:lnTo>
                    <a:pt x="672" y="1272"/>
                  </a:lnTo>
                  <a:lnTo>
                    <a:pt x="636" y="1266"/>
                  </a:lnTo>
                  <a:lnTo>
                    <a:pt x="582" y="1248"/>
                  </a:lnTo>
                  <a:lnTo>
                    <a:pt x="564" y="1230"/>
                  </a:lnTo>
                  <a:lnTo>
                    <a:pt x="540" y="1218"/>
                  </a:lnTo>
                  <a:lnTo>
                    <a:pt x="510" y="1218"/>
                  </a:lnTo>
                  <a:lnTo>
                    <a:pt x="498" y="1224"/>
                  </a:lnTo>
                  <a:lnTo>
                    <a:pt x="492" y="1230"/>
                  </a:lnTo>
                  <a:lnTo>
                    <a:pt x="474" y="1230"/>
                  </a:lnTo>
                  <a:lnTo>
                    <a:pt x="414" y="1230"/>
                  </a:lnTo>
                  <a:lnTo>
                    <a:pt x="396" y="1236"/>
                  </a:lnTo>
                  <a:lnTo>
                    <a:pt x="390" y="1248"/>
                  </a:lnTo>
                  <a:lnTo>
                    <a:pt x="372" y="1248"/>
                  </a:lnTo>
                  <a:lnTo>
                    <a:pt x="366" y="1242"/>
                  </a:lnTo>
                  <a:lnTo>
                    <a:pt x="366" y="1224"/>
                  </a:lnTo>
                  <a:lnTo>
                    <a:pt x="360" y="1224"/>
                  </a:lnTo>
                  <a:lnTo>
                    <a:pt x="354" y="1218"/>
                  </a:lnTo>
                  <a:lnTo>
                    <a:pt x="336" y="1206"/>
                  </a:lnTo>
                  <a:lnTo>
                    <a:pt x="330" y="1194"/>
                  </a:lnTo>
                  <a:lnTo>
                    <a:pt x="288" y="1200"/>
                  </a:lnTo>
                  <a:lnTo>
                    <a:pt x="288" y="1194"/>
                  </a:lnTo>
                  <a:lnTo>
                    <a:pt x="288" y="1182"/>
                  </a:lnTo>
                  <a:lnTo>
                    <a:pt x="288" y="1170"/>
                  </a:lnTo>
                  <a:lnTo>
                    <a:pt x="288" y="1164"/>
                  </a:lnTo>
                  <a:lnTo>
                    <a:pt x="282" y="1140"/>
                  </a:lnTo>
                  <a:lnTo>
                    <a:pt x="276" y="1134"/>
                  </a:lnTo>
                  <a:lnTo>
                    <a:pt x="258" y="1116"/>
                  </a:lnTo>
                  <a:lnTo>
                    <a:pt x="258" y="1110"/>
                  </a:lnTo>
                  <a:lnTo>
                    <a:pt x="252" y="1110"/>
                  </a:lnTo>
                  <a:lnTo>
                    <a:pt x="252" y="1104"/>
                  </a:lnTo>
                  <a:lnTo>
                    <a:pt x="252" y="1098"/>
                  </a:lnTo>
                  <a:lnTo>
                    <a:pt x="240" y="1092"/>
                  </a:lnTo>
                  <a:lnTo>
                    <a:pt x="234" y="1092"/>
                  </a:lnTo>
                  <a:lnTo>
                    <a:pt x="240" y="1086"/>
                  </a:lnTo>
                  <a:lnTo>
                    <a:pt x="234" y="1080"/>
                  </a:lnTo>
                  <a:lnTo>
                    <a:pt x="228" y="1080"/>
                  </a:lnTo>
                  <a:lnTo>
                    <a:pt x="228" y="1068"/>
                  </a:lnTo>
                  <a:lnTo>
                    <a:pt x="228" y="1056"/>
                  </a:lnTo>
                  <a:lnTo>
                    <a:pt x="222" y="1056"/>
                  </a:lnTo>
                  <a:lnTo>
                    <a:pt x="228" y="1044"/>
                  </a:lnTo>
                  <a:lnTo>
                    <a:pt x="228" y="1038"/>
                  </a:lnTo>
                  <a:lnTo>
                    <a:pt x="228" y="1032"/>
                  </a:lnTo>
                  <a:lnTo>
                    <a:pt x="234" y="1026"/>
                  </a:lnTo>
                  <a:lnTo>
                    <a:pt x="246" y="1020"/>
                  </a:lnTo>
                  <a:lnTo>
                    <a:pt x="252" y="1020"/>
                  </a:lnTo>
                  <a:lnTo>
                    <a:pt x="258" y="1014"/>
                  </a:lnTo>
                  <a:lnTo>
                    <a:pt x="264" y="1008"/>
                  </a:lnTo>
                  <a:lnTo>
                    <a:pt x="264" y="1002"/>
                  </a:lnTo>
                  <a:lnTo>
                    <a:pt x="270" y="984"/>
                  </a:lnTo>
                  <a:lnTo>
                    <a:pt x="276" y="978"/>
                  </a:lnTo>
                  <a:lnTo>
                    <a:pt x="300" y="978"/>
                  </a:lnTo>
                  <a:lnTo>
                    <a:pt x="306" y="972"/>
                  </a:lnTo>
                  <a:lnTo>
                    <a:pt x="312" y="966"/>
                  </a:lnTo>
                  <a:lnTo>
                    <a:pt x="324" y="936"/>
                  </a:lnTo>
                  <a:lnTo>
                    <a:pt x="330" y="930"/>
                  </a:lnTo>
                  <a:lnTo>
                    <a:pt x="330" y="924"/>
                  </a:lnTo>
                  <a:lnTo>
                    <a:pt x="336" y="918"/>
                  </a:lnTo>
                  <a:lnTo>
                    <a:pt x="342" y="912"/>
                  </a:lnTo>
                  <a:lnTo>
                    <a:pt x="342" y="906"/>
                  </a:lnTo>
                  <a:lnTo>
                    <a:pt x="342" y="900"/>
                  </a:lnTo>
                  <a:lnTo>
                    <a:pt x="342" y="894"/>
                  </a:lnTo>
                  <a:lnTo>
                    <a:pt x="342" y="888"/>
                  </a:lnTo>
                  <a:lnTo>
                    <a:pt x="336" y="876"/>
                  </a:lnTo>
                  <a:lnTo>
                    <a:pt x="342" y="870"/>
                  </a:lnTo>
                  <a:lnTo>
                    <a:pt x="336" y="864"/>
                  </a:lnTo>
                  <a:lnTo>
                    <a:pt x="336" y="858"/>
                  </a:lnTo>
                  <a:lnTo>
                    <a:pt x="330" y="852"/>
                  </a:lnTo>
                  <a:lnTo>
                    <a:pt x="318" y="852"/>
                  </a:lnTo>
                  <a:lnTo>
                    <a:pt x="306" y="858"/>
                  </a:lnTo>
                  <a:lnTo>
                    <a:pt x="264" y="864"/>
                  </a:lnTo>
                  <a:lnTo>
                    <a:pt x="234" y="858"/>
                  </a:lnTo>
                  <a:lnTo>
                    <a:pt x="228" y="858"/>
                  </a:lnTo>
                  <a:lnTo>
                    <a:pt x="198" y="858"/>
                  </a:lnTo>
                  <a:lnTo>
                    <a:pt x="174" y="858"/>
                  </a:lnTo>
                  <a:lnTo>
                    <a:pt x="168" y="852"/>
                  </a:lnTo>
                  <a:lnTo>
                    <a:pt x="168" y="840"/>
                  </a:lnTo>
                  <a:lnTo>
                    <a:pt x="168" y="834"/>
                  </a:lnTo>
                  <a:lnTo>
                    <a:pt x="168" y="822"/>
                  </a:lnTo>
                  <a:lnTo>
                    <a:pt x="162" y="822"/>
                  </a:lnTo>
                  <a:lnTo>
                    <a:pt x="150" y="816"/>
                  </a:lnTo>
                  <a:lnTo>
                    <a:pt x="144" y="810"/>
                  </a:lnTo>
                  <a:lnTo>
                    <a:pt x="144" y="804"/>
                  </a:lnTo>
                  <a:lnTo>
                    <a:pt x="144" y="786"/>
                  </a:lnTo>
                  <a:lnTo>
                    <a:pt x="144" y="780"/>
                  </a:lnTo>
                  <a:lnTo>
                    <a:pt x="144" y="774"/>
                  </a:lnTo>
                  <a:lnTo>
                    <a:pt x="132" y="756"/>
                  </a:lnTo>
                  <a:lnTo>
                    <a:pt x="120" y="756"/>
                  </a:lnTo>
                  <a:lnTo>
                    <a:pt x="84" y="750"/>
                  </a:lnTo>
                  <a:lnTo>
                    <a:pt x="78" y="744"/>
                  </a:lnTo>
                  <a:lnTo>
                    <a:pt x="60" y="744"/>
                  </a:lnTo>
                  <a:lnTo>
                    <a:pt x="54" y="726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66" y="720"/>
                  </a:lnTo>
                  <a:lnTo>
                    <a:pt x="66" y="714"/>
                  </a:lnTo>
                  <a:lnTo>
                    <a:pt x="72" y="714"/>
                  </a:lnTo>
                  <a:lnTo>
                    <a:pt x="72" y="708"/>
                  </a:lnTo>
                  <a:lnTo>
                    <a:pt x="78" y="702"/>
                  </a:lnTo>
                  <a:lnTo>
                    <a:pt x="78" y="696"/>
                  </a:lnTo>
                  <a:lnTo>
                    <a:pt x="78" y="690"/>
                  </a:lnTo>
                  <a:lnTo>
                    <a:pt x="84" y="678"/>
                  </a:lnTo>
                  <a:lnTo>
                    <a:pt x="90" y="666"/>
                  </a:lnTo>
                  <a:lnTo>
                    <a:pt x="90" y="642"/>
                  </a:lnTo>
                  <a:lnTo>
                    <a:pt x="84" y="648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66" y="642"/>
                  </a:lnTo>
                  <a:lnTo>
                    <a:pt x="60" y="642"/>
                  </a:lnTo>
                  <a:lnTo>
                    <a:pt x="54" y="636"/>
                  </a:lnTo>
                  <a:lnTo>
                    <a:pt x="30" y="570"/>
                  </a:lnTo>
                  <a:lnTo>
                    <a:pt x="24" y="564"/>
                  </a:lnTo>
                  <a:lnTo>
                    <a:pt x="18" y="570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6"/>
                  </a:lnTo>
                  <a:lnTo>
                    <a:pt x="6" y="540"/>
                  </a:lnTo>
                  <a:lnTo>
                    <a:pt x="0" y="522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2" y="480"/>
                  </a:lnTo>
                  <a:lnTo>
                    <a:pt x="6" y="480"/>
                  </a:lnTo>
                  <a:lnTo>
                    <a:pt x="0" y="474"/>
                  </a:lnTo>
                  <a:lnTo>
                    <a:pt x="0" y="450"/>
                  </a:lnTo>
                  <a:lnTo>
                    <a:pt x="6" y="450"/>
                  </a:lnTo>
                  <a:lnTo>
                    <a:pt x="12" y="450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32"/>
                  </a:lnTo>
                  <a:lnTo>
                    <a:pt x="30" y="426"/>
                  </a:lnTo>
                  <a:lnTo>
                    <a:pt x="36" y="402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2" y="366"/>
                  </a:lnTo>
                  <a:lnTo>
                    <a:pt x="48" y="360"/>
                  </a:lnTo>
                  <a:lnTo>
                    <a:pt x="48" y="342"/>
                  </a:lnTo>
                  <a:lnTo>
                    <a:pt x="42" y="330"/>
                  </a:lnTo>
                  <a:lnTo>
                    <a:pt x="36" y="324"/>
                  </a:lnTo>
                  <a:lnTo>
                    <a:pt x="42" y="306"/>
                  </a:lnTo>
                  <a:lnTo>
                    <a:pt x="42" y="270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48" y="258"/>
                  </a:lnTo>
                  <a:lnTo>
                    <a:pt x="72" y="252"/>
                  </a:lnTo>
                  <a:lnTo>
                    <a:pt x="66" y="204"/>
                  </a:lnTo>
                  <a:lnTo>
                    <a:pt x="60" y="198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8" y="13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84" y="96"/>
                  </a:lnTo>
                  <a:lnTo>
                    <a:pt x="90" y="84"/>
                  </a:lnTo>
                  <a:lnTo>
                    <a:pt x="108" y="72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20" y="60"/>
                  </a:lnTo>
                  <a:lnTo>
                    <a:pt x="120" y="54"/>
                  </a:lnTo>
                  <a:lnTo>
                    <a:pt x="120" y="48"/>
                  </a:lnTo>
                  <a:lnTo>
                    <a:pt x="126" y="48"/>
                  </a:lnTo>
                  <a:lnTo>
                    <a:pt x="132" y="42"/>
                  </a:lnTo>
                  <a:lnTo>
                    <a:pt x="132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240" y="18"/>
                  </a:lnTo>
                  <a:lnTo>
                    <a:pt x="246" y="42"/>
                  </a:lnTo>
                  <a:lnTo>
                    <a:pt x="240" y="72"/>
                  </a:lnTo>
                  <a:lnTo>
                    <a:pt x="246" y="78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8" y="108"/>
                  </a:lnTo>
                  <a:lnTo>
                    <a:pt x="276" y="114"/>
                  </a:lnTo>
                  <a:lnTo>
                    <a:pt x="294" y="150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82" y="186"/>
                  </a:lnTo>
                  <a:lnTo>
                    <a:pt x="282" y="192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76" y="216"/>
                  </a:lnTo>
                  <a:lnTo>
                    <a:pt x="288" y="240"/>
                  </a:lnTo>
                  <a:lnTo>
                    <a:pt x="312" y="228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66" y="228"/>
                  </a:lnTo>
                  <a:lnTo>
                    <a:pt x="372" y="228"/>
                  </a:lnTo>
                  <a:lnTo>
                    <a:pt x="372" y="222"/>
                  </a:lnTo>
                  <a:lnTo>
                    <a:pt x="378" y="222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6" y="222"/>
                  </a:lnTo>
                  <a:lnTo>
                    <a:pt x="402" y="222"/>
                  </a:lnTo>
                  <a:lnTo>
                    <a:pt x="402" y="228"/>
                  </a:lnTo>
                  <a:lnTo>
                    <a:pt x="408" y="228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26" y="216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68" y="258"/>
                  </a:lnTo>
                  <a:lnTo>
                    <a:pt x="462" y="264"/>
                  </a:lnTo>
                  <a:lnTo>
                    <a:pt x="468" y="264"/>
                  </a:lnTo>
                  <a:lnTo>
                    <a:pt x="468" y="270"/>
                  </a:lnTo>
                  <a:lnTo>
                    <a:pt x="474" y="270"/>
                  </a:lnTo>
                  <a:lnTo>
                    <a:pt x="480" y="276"/>
                  </a:lnTo>
                  <a:lnTo>
                    <a:pt x="474" y="282"/>
                  </a:lnTo>
                  <a:lnTo>
                    <a:pt x="474" y="288"/>
                  </a:lnTo>
                  <a:lnTo>
                    <a:pt x="462" y="294"/>
                  </a:lnTo>
                  <a:lnTo>
                    <a:pt x="468" y="324"/>
                  </a:lnTo>
                  <a:lnTo>
                    <a:pt x="462" y="336"/>
                  </a:lnTo>
                  <a:lnTo>
                    <a:pt x="456" y="354"/>
                  </a:lnTo>
                  <a:lnTo>
                    <a:pt x="432" y="390"/>
                  </a:lnTo>
                  <a:lnTo>
                    <a:pt x="420" y="390"/>
                  </a:lnTo>
                  <a:lnTo>
                    <a:pt x="402" y="390"/>
                  </a:lnTo>
                  <a:lnTo>
                    <a:pt x="396" y="396"/>
                  </a:lnTo>
                  <a:lnTo>
                    <a:pt x="390" y="396"/>
                  </a:lnTo>
                  <a:lnTo>
                    <a:pt x="390" y="402"/>
                  </a:lnTo>
                  <a:lnTo>
                    <a:pt x="384" y="402"/>
                  </a:lnTo>
                  <a:lnTo>
                    <a:pt x="408" y="432"/>
                  </a:lnTo>
                  <a:lnTo>
                    <a:pt x="432" y="438"/>
                  </a:lnTo>
                  <a:lnTo>
                    <a:pt x="456" y="432"/>
                  </a:lnTo>
                  <a:lnTo>
                    <a:pt x="468" y="426"/>
                  </a:lnTo>
                  <a:lnTo>
                    <a:pt x="468" y="444"/>
                  </a:lnTo>
                  <a:lnTo>
                    <a:pt x="468" y="450"/>
                  </a:lnTo>
                  <a:lnTo>
                    <a:pt x="468" y="474"/>
                  </a:lnTo>
                  <a:lnTo>
                    <a:pt x="486" y="480"/>
                  </a:lnTo>
                  <a:lnTo>
                    <a:pt x="486" y="486"/>
                  </a:lnTo>
                  <a:lnTo>
                    <a:pt x="492" y="498"/>
                  </a:lnTo>
                  <a:lnTo>
                    <a:pt x="492" y="504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504" y="516"/>
                  </a:lnTo>
                  <a:lnTo>
                    <a:pt x="510" y="516"/>
                  </a:lnTo>
                  <a:lnTo>
                    <a:pt x="522" y="528"/>
                  </a:lnTo>
                  <a:lnTo>
                    <a:pt x="546" y="540"/>
                  </a:lnTo>
                  <a:lnTo>
                    <a:pt x="552" y="546"/>
                  </a:lnTo>
                  <a:lnTo>
                    <a:pt x="570" y="552"/>
                  </a:lnTo>
                  <a:lnTo>
                    <a:pt x="594" y="552"/>
                  </a:lnTo>
                  <a:lnTo>
                    <a:pt x="606" y="546"/>
                  </a:lnTo>
                  <a:lnTo>
                    <a:pt x="612" y="540"/>
                  </a:lnTo>
                  <a:lnTo>
                    <a:pt x="630" y="540"/>
                  </a:lnTo>
                  <a:lnTo>
                    <a:pt x="630" y="552"/>
                  </a:lnTo>
                  <a:lnTo>
                    <a:pt x="654" y="552"/>
                  </a:lnTo>
                  <a:lnTo>
                    <a:pt x="702" y="558"/>
                  </a:lnTo>
                  <a:lnTo>
                    <a:pt x="762" y="546"/>
                  </a:lnTo>
                  <a:lnTo>
                    <a:pt x="780" y="546"/>
                  </a:lnTo>
                  <a:lnTo>
                    <a:pt x="780" y="528"/>
                  </a:lnTo>
                  <a:lnTo>
                    <a:pt x="798" y="522"/>
                  </a:lnTo>
                  <a:lnTo>
                    <a:pt x="810" y="510"/>
                  </a:lnTo>
                  <a:lnTo>
                    <a:pt x="810" y="504"/>
                  </a:lnTo>
                  <a:lnTo>
                    <a:pt x="828" y="492"/>
                  </a:lnTo>
                  <a:lnTo>
                    <a:pt x="888" y="486"/>
                  </a:lnTo>
                  <a:lnTo>
                    <a:pt x="912" y="486"/>
                  </a:lnTo>
                  <a:lnTo>
                    <a:pt x="930" y="474"/>
                  </a:lnTo>
                  <a:lnTo>
                    <a:pt x="918" y="456"/>
                  </a:lnTo>
                  <a:lnTo>
                    <a:pt x="912" y="450"/>
                  </a:lnTo>
                  <a:lnTo>
                    <a:pt x="918" y="390"/>
                  </a:lnTo>
                  <a:lnTo>
                    <a:pt x="954" y="396"/>
                  </a:lnTo>
                  <a:lnTo>
                    <a:pt x="984" y="402"/>
                  </a:lnTo>
                  <a:lnTo>
                    <a:pt x="1014" y="420"/>
                  </a:lnTo>
                  <a:lnTo>
                    <a:pt x="1026" y="432"/>
                  </a:lnTo>
                  <a:lnTo>
                    <a:pt x="1044" y="450"/>
                  </a:lnTo>
                  <a:lnTo>
                    <a:pt x="1062" y="462"/>
                  </a:lnTo>
                  <a:lnTo>
                    <a:pt x="1098" y="468"/>
                  </a:lnTo>
                  <a:lnTo>
                    <a:pt x="1128" y="480"/>
                  </a:lnTo>
                  <a:lnTo>
                    <a:pt x="1152" y="486"/>
                  </a:lnTo>
                  <a:lnTo>
                    <a:pt x="1188" y="498"/>
                  </a:lnTo>
                  <a:lnTo>
                    <a:pt x="1212" y="504"/>
                  </a:lnTo>
                  <a:lnTo>
                    <a:pt x="1224" y="528"/>
                  </a:lnTo>
                  <a:lnTo>
                    <a:pt x="1236" y="540"/>
                  </a:lnTo>
                  <a:lnTo>
                    <a:pt x="1254" y="540"/>
                  </a:lnTo>
                  <a:lnTo>
                    <a:pt x="1254" y="546"/>
                  </a:lnTo>
                  <a:lnTo>
                    <a:pt x="1260" y="552"/>
                  </a:lnTo>
                  <a:lnTo>
                    <a:pt x="1266" y="552"/>
                  </a:lnTo>
                  <a:lnTo>
                    <a:pt x="1266" y="558"/>
                  </a:lnTo>
                  <a:lnTo>
                    <a:pt x="1272" y="564"/>
                  </a:lnTo>
                  <a:lnTo>
                    <a:pt x="1278" y="564"/>
                  </a:lnTo>
                  <a:lnTo>
                    <a:pt x="1278" y="570"/>
                  </a:lnTo>
                  <a:lnTo>
                    <a:pt x="1284" y="576"/>
                  </a:lnTo>
                  <a:lnTo>
                    <a:pt x="1290" y="582"/>
                  </a:lnTo>
                  <a:lnTo>
                    <a:pt x="1296" y="582"/>
                  </a:lnTo>
                  <a:lnTo>
                    <a:pt x="1296" y="588"/>
                  </a:lnTo>
                  <a:lnTo>
                    <a:pt x="1308" y="594"/>
                  </a:lnTo>
                  <a:lnTo>
                    <a:pt x="1308" y="600"/>
                  </a:lnTo>
                  <a:lnTo>
                    <a:pt x="1308" y="606"/>
                  </a:lnTo>
                  <a:lnTo>
                    <a:pt x="1314" y="612"/>
                  </a:lnTo>
                  <a:lnTo>
                    <a:pt x="1308" y="618"/>
                  </a:lnTo>
                  <a:lnTo>
                    <a:pt x="1314" y="618"/>
                  </a:lnTo>
                  <a:lnTo>
                    <a:pt x="1314" y="624"/>
                  </a:lnTo>
                  <a:lnTo>
                    <a:pt x="1308" y="624"/>
                  </a:lnTo>
                  <a:lnTo>
                    <a:pt x="1302" y="630"/>
                  </a:lnTo>
                  <a:lnTo>
                    <a:pt x="1302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296" y="654"/>
                  </a:lnTo>
                  <a:lnTo>
                    <a:pt x="1302" y="660"/>
                  </a:lnTo>
                  <a:lnTo>
                    <a:pt x="1302" y="666"/>
                  </a:lnTo>
                  <a:lnTo>
                    <a:pt x="1308" y="666"/>
                  </a:lnTo>
                  <a:lnTo>
                    <a:pt x="1308" y="672"/>
                  </a:lnTo>
                  <a:lnTo>
                    <a:pt x="1308" y="678"/>
                  </a:lnTo>
                  <a:lnTo>
                    <a:pt x="1308" y="684"/>
                  </a:lnTo>
                  <a:lnTo>
                    <a:pt x="1308" y="690"/>
                  </a:lnTo>
                  <a:lnTo>
                    <a:pt x="1302" y="696"/>
                  </a:lnTo>
                  <a:lnTo>
                    <a:pt x="1302" y="702"/>
                  </a:lnTo>
                  <a:lnTo>
                    <a:pt x="1308" y="702"/>
                  </a:lnTo>
                  <a:lnTo>
                    <a:pt x="1302" y="708"/>
                  </a:lnTo>
                  <a:lnTo>
                    <a:pt x="1308" y="714"/>
                  </a:lnTo>
                  <a:lnTo>
                    <a:pt x="1308" y="720"/>
                  </a:lnTo>
                  <a:lnTo>
                    <a:pt x="1308" y="726"/>
                  </a:lnTo>
                  <a:lnTo>
                    <a:pt x="1308" y="732"/>
                  </a:lnTo>
                  <a:lnTo>
                    <a:pt x="1314" y="732"/>
                  </a:lnTo>
                  <a:lnTo>
                    <a:pt x="1314" y="738"/>
                  </a:lnTo>
                  <a:lnTo>
                    <a:pt x="1320" y="744"/>
                  </a:lnTo>
                  <a:lnTo>
                    <a:pt x="1326" y="750"/>
                  </a:lnTo>
                  <a:lnTo>
                    <a:pt x="1320" y="750"/>
                  </a:lnTo>
                  <a:lnTo>
                    <a:pt x="1320" y="756"/>
                  </a:lnTo>
                  <a:lnTo>
                    <a:pt x="1314" y="756"/>
                  </a:lnTo>
                  <a:lnTo>
                    <a:pt x="1314" y="762"/>
                  </a:lnTo>
                  <a:lnTo>
                    <a:pt x="1314" y="768"/>
                  </a:lnTo>
                  <a:lnTo>
                    <a:pt x="1320" y="768"/>
                  </a:lnTo>
                  <a:lnTo>
                    <a:pt x="1320" y="762"/>
                  </a:lnTo>
                  <a:lnTo>
                    <a:pt x="1320" y="768"/>
                  </a:lnTo>
                  <a:lnTo>
                    <a:pt x="1326" y="774"/>
                  </a:lnTo>
                  <a:lnTo>
                    <a:pt x="1332" y="774"/>
                  </a:lnTo>
                  <a:lnTo>
                    <a:pt x="1332" y="780"/>
                  </a:lnTo>
                  <a:lnTo>
                    <a:pt x="1332" y="786"/>
                  </a:lnTo>
                  <a:lnTo>
                    <a:pt x="1332" y="792"/>
                  </a:lnTo>
                  <a:lnTo>
                    <a:pt x="1338" y="786"/>
                  </a:lnTo>
                  <a:lnTo>
                    <a:pt x="1338" y="792"/>
                  </a:lnTo>
                  <a:lnTo>
                    <a:pt x="1344" y="798"/>
                  </a:lnTo>
                  <a:lnTo>
                    <a:pt x="1344" y="804"/>
                  </a:lnTo>
                  <a:lnTo>
                    <a:pt x="1344" y="810"/>
                  </a:lnTo>
                  <a:lnTo>
                    <a:pt x="1344" y="816"/>
                  </a:lnTo>
                  <a:lnTo>
                    <a:pt x="1344" y="822"/>
                  </a:lnTo>
                  <a:lnTo>
                    <a:pt x="1338" y="828"/>
                  </a:lnTo>
                  <a:lnTo>
                    <a:pt x="1332" y="828"/>
                  </a:lnTo>
                  <a:lnTo>
                    <a:pt x="1338" y="840"/>
                  </a:lnTo>
                  <a:lnTo>
                    <a:pt x="1344" y="846"/>
                  </a:lnTo>
                  <a:lnTo>
                    <a:pt x="1344" y="852"/>
                  </a:lnTo>
                  <a:lnTo>
                    <a:pt x="1350" y="852"/>
                  </a:lnTo>
                  <a:lnTo>
                    <a:pt x="1356" y="858"/>
                  </a:lnTo>
                  <a:lnTo>
                    <a:pt x="1362" y="858"/>
                  </a:lnTo>
                  <a:lnTo>
                    <a:pt x="1362" y="870"/>
                  </a:lnTo>
                  <a:lnTo>
                    <a:pt x="1356" y="870"/>
                  </a:lnTo>
                  <a:lnTo>
                    <a:pt x="1356" y="876"/>
                  </a:lnTo>
                  <a:lnTo>
                    <a:pt x="1350" y="876"/>
                  </a:lnTo>
                  <a:lnTo>
                    <a:pt x="1344" y="876"/>
                  </a:lnTo>
                  <a:lnTo>
                    <a:pt x="1344" y="882"/>
                  </a:lnTo>
                  <a:lnTo>
                    <a:pt x="1338" y="882"/>
                  </a:lnTo>
                  <a:lnTo>
                    <a:pt x="1338" y="888"/>
                  </a:lnTo>
                  <a:lnTo>
                    <a:pt x="1338" y="894"/>
                  </a:lnTo>
                  <a:lnTo>
                    <a:pt x="1344" y="900"/>
                  </a:lnTo>
                  <a:lnTo>
                    <a:pt x="1344" y="906"/>
                  </a:lnTo>
                  <a:lnTo>
                    <a:pt x="1338" y="906"/>
                  </a:lnTo>
                  <a:lnTo>
                    <a:pt x="1332" y="912"/>
                  </a:lnTo>
                  <a:lnTo>
                    <a:pt x="1332" y="918"/>
                  </a:lnTo>
                  <a:lnTo>
                    <a:pt x="1326" y="918"/>
                  </a:lnTo>
                  <a:lnTo>
                    <a:pt x="1332" y="924"/>
                  </a:lnTo>
                  <a:lnTo>
                    <a:pt x="1284" y="942"/>
                  </a:lnTo>
                  <a:lnTo>
                    <a:pt x="1236" y="948"/>
                  </a:lnTo>
                  <a:lnTo>
                    <a:pt x="1194" y="966"/>
                  </a:lnTo>
                  <a:lnTo>
                    <a:pt x="1170" y="1002"/>
                  </a:lnTo>
                  <a:lnTo>
                    <a:pt x="1134" y="1020"/>
                  </a:lnTo>
                  <a:lnTo>
                    <a:pt x="1116" y="1032"/>
                  </a:lnTo>
                  <a:lnTo>
                    <a:pt x="1098" y="1050"/>
                  </a:lnTo>
                  <a:lnTo>
                    <a:pt x="1074" y="1074"/>
                  </a:lnTo>
                  <a:lnTo>
                    <a:pt x="1008" y="1134"/>
                  </a:lnTo>
                  <a:lnTo>
                    <a:pt x="990" y="1158"/>
                  </a:lnTo>
                  <a:lnTo>
                    <a:pt x="978" y="1182"/>
                  </a:lnTo>
                  <a:lnTo>
                    <a:pt x="960" y="1194"/>
                  </a:lnTo>
                  <a:lnTo>
                    <a:pt x="942" y="1212"/>
                  </a:lnTo>
                  <a:lnTo>
                    <a:pt x="912" y="1242"/>
                  </a:lnTo>
                  <a:lnTo>
                    <a:pt x="888" y="1254"/>
                  </a:lnTo>
                  <a:lnTo>
                    <a:pt x="864" y="1278"/>
                  </a:lnTo>
                  <a:lnTo>
                    <a:pt x="828" y="1296"/>
                  </a:lnTo>
                  <a:lnTo>
                    <a:pt x="774" y="1308"/>
                  </a:lnTo>
                  <a:lnTo>
                    <a:pt x="732" y="1302"/>
                  </a:lnTo>
                  <a:lnTo>
                    <a:pt x="702" y="1284"/>
                  </a:lnTo>
                  <a:lnTo>
                    <a:pt x="684" y="1278"/>
                  </a:lnTo>
                  <a:close/>
                </a:path>
              </a:pathLst>
            </a:custGeom>
            <a:solidFill>
              <a:srgbClr val="BFBFBF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1" name="Freeform 16">
              <a:extLst>
                <a:ext uri="{FF2B5EF4-FFF2-40B4-BE49-F238E27FC236}">
                  <a16:creationId xmlns:a16="http://schemas.microsoft.com/office/drawing/2014/main" id="{D8D8591A-D9DB-4301-BEBD-D8F5A26DA9E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3001" y="2929369"/>
              <a:ext cx="914601" cy="1037736"/>
            </a:xfrm>
            <a:custGeom>
              <a:avLst/>
              <a:gdLst>
                <a:gd name="T0" fmla="*/ 144 w 1722"/>
                <a:gd name="T1" fmla="*/ 131 h 1956"/>
                <a:gd name="T2" fmla="*/ 142 w 1722"/>
                <a:gd name="T3" fmla="*/ 139 h 1956"/>
                <a:gd name="T4" fmla="*/ 137 w 1722"/>
                <a:gd name="T5" fmla="*/ 143 h 1956"/>
                <a:gd name="T6" fmla="*/ 133 w 1722"/>
                <a:gd name="T7" fmla="*/ 147 h 1956"/>
                <a:gd name="T8" fmla="*/ 132 w 1722"/>
                <a:gd name="T9" fmla="*/ 152 h 1956"/>
                <a:gd name="T10" fmla="*/ 130 w 1722"/>
                <a:gd name="T11" fmla="*/ 159 h 1956"/>
                <a:gd name="T12" fmla="*/ 127 w 1722"/>
                <a:gd name="T13" fmla="*/ 164 h 1956"/>
                <a:gd name="T14" fmla="*/ 123 w 1722"/>
                <a:gd name="T15" fmla="*/ 168 h 1956"/>
                <a:gd name="T16" fmla="*/ 117 w 1722"/>
                <a:gd name="T17" fmla="*/ 169 h 1956"/>
                <a:gd name="T18" fmla="*/ 110 w 1722"/>
                <a:gd name="T19" fmla="*/ 168 h 1956"/>
                <a:gd name="T20" fmla="*/ 104 w 1722"/>
                <a:gd name="T21" fmla="*/ 166 h 1956"/>
                <a:gd name="T22" fmla="*/ 101 w 1722"/>
                <a:gd name="T23" fmla="*/ 159 h 1956"/>
                <a:gd name="T24" fmla="*/ 95 w 1722"/>
                <a:gd name="T25" fmla="*/ 156 h 1956"/>
                <a:gd name="T26" fmla="*/ 89 w 1722"/>
                <a:gd name="T27" fmla="*/ 151 h 1956"/>
                <a:gd name="T28" fmla="*/ 87 w 1722"/>
                <a:gd name="T29" fmla="*/ 144 h 1956"/>
                <a:gd name="T30" fmla="*/ 82 w 1722"/>
                <a:gd name="T31" fmla="*/ 141 h 1956"/>
                <a:gd name="T32" fmla="*/ 76 w 1722"/>
                <a:gd name="T33" fmla="*/ 134 h 1956"/>
                <a:gd name="T34" fmla="*/ 74 w 1722"/>
                <a:gd name="T35" fmla="*/ 143 h 1956"/>
                <a:gd name="T36" fmla="*/ 68 w 1722"/>
                <a:gd name="T37" fmla="*/ 147 h 1956"/>
                <a:gd name="T38" fmla="*/ 54 w 1722"/>
                <a:gd name="T39" fmla="*/ 144 h 1956"/>
                <a:gd name="T40" fmla="*/ 51 w 1722"/>
                <a:gd name="T41" fmla="*/ 142 h 1956"/>
                <a:gd name="T42" fmla="*/ 42 w 1722"/>
                <a:gd name="T43" fmla="*/ 151 h 1956"/>
                <a:gd name="T44" fmla="*/ 33 w 1722"/>
                <a:gd name="T45" fmla="*/ 154 h 1956"/>
                <a:gd name="T46" fmla="*/ 31 w 1722"/>
                <a:gd name="T47" fmla="*/ 159 h 1956"/>
                <a:gd name="T48" fmla="*/ 29 w 1722"/>
                <a:gd name="T49" fmla="*/ 166 h 1956"/>
                <a:gd name="T50" fmla="*/ 25 w 1722"/>
                <a:gd name="T51" fmla="*/ 169 h 1956"/>
                <a:gd name="T52" fmla="*/ 27 w 1722"/>
                <a:gd name="T53" fmla="*/ 154 h 1956"/>
                <a:gd name="T54" fmla="*/ 37 w 1722"/>
                <a:gd name="T55" fmla="*/ 133 h 1956"/>
                <a:gd name="T56" fmla="*/ 36 w 1722"/>
                <a:gd name="T57" fmla="*/ 109 h 1956"/>
                <a:gd name="T58" fmla="*/ 27 w 1722"/>
                <a:gd name="T59" fmla="*/ 101 h 1956"/>
                <a:gd name="T60" fmla="*/ 5 w 1722"/>
                <a:gd name="T61" fmla="*/ 98 h 1956"/>
                <a:gd name="T62" fmla="*/ 2 w 1722"/>
                <a:gd name="T63" fmla="*/ 93 h 1956"/>
                <a:gd name="T64" fmla="*/ 12 w 1722"/>
                <a:gd name="T65" fmla="*/ 82 h 1956"/>
                <a:gd name="T66" fmla="*/ 9 w 1722"/>
                <a:gd name="T67" fmla="*/ 74 h 1956"/>
                <a:gd name="T68" fmla="*/ 23 w 1722"/>
                <a:gd name="T69" fmla="*/ 72 h 1956"/>
                <a:gd name="T70" fmla="*/ 22 w 1722"/>
                <a:gd name="T71" fmla="*/ 67 h 1956"/>
                <a:gd name="T72" fmla="*/ 48 w 1722"/>
                <a:gd name="T73" fmla="*/ 57 h 1956"/>
                <a:gd name="T74" fmla="*/ 78 w 1722"/>
                <a:gd name="T75" fmla="*/ 34 h 1956"/>
                <a:gd name="T76" fmla="*/ 81 w 1722"/>
                <a:gd name="T77" fmla="*/ 31 h 1956"/>
                <a:gd name="T78" fmla="*/ 80 w 1722"/>
                <a:gd name="T79" fmla="*/ 26 h 1956"/>
                <a:gd name="T80" fmla="*/ 78 w 1722"/>
                <a:gd name="T81" fmla="*/ 21 h 1956"/>
                <a:gd name="T82" fmla="*/ 77 w 1722"/>
                <a:gd name="T83" fmla="*/ 18 h 1956"/>
                <a:gd name="T84" fmla="*/ 77 w 1722"/>
                <a:gd name="T85" fmla="*/ 12 h 1956"/>
                <a:gd name="T86" fmla="*/ 77 w 1722"/>
                <a:gd name="T87" fmla="*/ 7 h 1956"/>
                <a:gd name="T88" fmla="*/ 102 w 1722"/>
                <a:gd name="T89" fmla="*/ 2 h 1956"/>
                <a:gd name="T90" fmla="*/ 115 w 1722"/>
                <a:gd name="T91" fmla="*/ 3 h 1956"/>
                <a:gd name="T92" fmla="*/ 123 w 1722"/>
                <a:gd name="T93" fmla="*/ 3 h 1956"/>
                <a:gd name="T94" fmla="*/ 125 w 1722"/>
                <a:gd name="T95" fmla="*/ 9 h 1956"/>
                <a:gd name="T96" fmla="*/ 133 w 1722"/>
                <a:gd name="T97" fmla="*/ 13 h 1956"/>
                <a:gd name="T98" fmla="*/ 149 w 1722"/>
                <a:gd name="T99" fmla="*/ 37 h 1956"/>
                <a:gd name="T100" fmla="*/ 141 w 1722"/>
                <a:gd name="T101" fmla="*/ 57 h 1956"/>
                <a:gd name="T102" fmla="*/ 135 w 1722"/>
                <a:gd name="T103" fmla="*/ 63 h 1956"/>
                <a:gd name="T104" fmla="*/ 124 w 1722"/>
                <a:gd name="T105" fmla="*/ 77 h 1956"/>
                <a:gd name="T106" fmla="*/ 123 w 1722"/>
                <a:gd name="T107" fmla="*/ 96 h 1956"/>
                <a:gd name="T108" fmla="*/ 127 w 1722"/>
                <a:gd name="T109" fmla="*/ 97 h 1956"/>
                <a:gd name="T110" fmla="*/ 129 w 1722"/>
                <a:gd name="T111" fmla="*/ 92 h 1956"/>
                <a:gd name="T112" fmla="*/ 134 w 1722"/>
                <a:gd name="T113" fmla="*/ 94 h 1956"/>
                <a:gd name="T114" fmla="*/ 138 w 1722"/>
                <a:gd name="T115" fmla="*/ 99 h 1956"/>
                <a:gd name="T116" fmla="*/ 142 w 1722"/>
                <a:gd name="T117" fmla="*/ 104 h 1956"/>
                <a:gd name="T118" fmla="*/ 141 w 1722"/>
                <a:gd name="T119" fmla="*/ 115 h 19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722"/>
                <a:gd name="T181" fmla="*/ 0 h 1956"/>
                <a:gd name="T182" fmla="*/ 1722 w 1722"/>
                <a:gd name="T183" fmla="*/ 1956 h 19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722" h="1956">
                  <a:moveTo>
                    <a:pt x="1686" y="1404"/>
                  </a:moveTo>
                  <a:lnTo>
                    <a:pt x="1680" y="1416"/>
                  </a:lnTo>
                  <a:lnTo>
                    <a:pt x="1674" y="1422"/>
                  </a:lnTo>
                  <a:lnTo>
                    <a:pt x="1674" y="1428"/>
                  </a:lnTo>
                  <a:lnTo>
                    <a:pt x="1668" y="1428"/>
                  </a:lnTo>
                  <a:lnTo>
                    <a:pt x="1668" y="1434"/>
                  </a:lnTo>
                  <a:lnTo>
                    <a:pt x="1662" y="1446"/>
                  </a:lnTo>
                  <a:lnTo>
                    <a:pt x="1656" y="1464"/>
                  </a:lnTo>
                  <a:lnTo>
                    <a:pt x="1656" y="1476"/>
                  </a:lnTo>
                  <a:lnTo>
                    <a:pt x="1656" y="1488"/>
                  </a:lnTo>
                  <a:lnTo>
                    <a:pt x="1662" y="1500"/>
                  </a:lnTo>
                  <a:lnTo>
                    <a:pt x="1662" y="1506"/>
                  </a:lnTo>
                  <a:lnTo>
                    <a:pt x="1662" y="1524"/>
                  </a:lnTo>
                  <a:lnTo>
                    <a:pt x="1668" y="1542"/>
                  </a:lnTo>
                  <a:lnTo>
                    <a:pt x="1674" y="1560"/>
                  </a:lnTo>
                  <a:lnTo>
                    <a:pt x="1680" y="1578"/>
                  </a:lnTo>
                  <a:lnTo>
                    <a:pt x="1686" y="1578"/>
                  </a:lnTo>
                  <a:lnTo>
                    <a:pt x="1686" y="1584"/>
                  </a:lnTo>
                  <a:lnTo>
                    <a:pt x="1686" y="1590"/>
                  </a:lnTo>
                  <a:lnTo>
                    <a:pt x="1686" y="1596"/>
                  </a:lnTo>
                  <a:lnTo>
                    <a:pt x="1680" y="1596"/>
                  </a:lnTo>
                  <a:lnTo>
                    <a:pt x="1674" y="1602"/>
                  </a:lnTo>
                  <a:lnTo>
                    <a:pt x="1662" y="1602"/>
                  </a:lnTo>
                  <a:lnTo>
                    <a:pt x="1638" y="1596"/>
                  </a:lnTo>
                  <a:lnTo>
                    <a:pt x="1632" y="1596"/>
                  </a:lnTo>
                  <a:lnTo>
                    <a:pt x="1626" y="1602"/>
                  </a:lnTo>
                  <a:lnTo>
                    <a:pt x="1620" y="1602"/>
                  </a:lnTo>
                  <a:lnTo>
                    <a:pt x="1614" y="1602"/>
                  </a:lnTo>
                  <a:lnTo>
                    <a:pt x="1602" y="1602"/>
                  </a:lnTo>
                  <a:lnTo>
                    <a:pt x="1602" y="1608"/>
                  </a:lnTo>
                  <a:lnTo>
                    <a:pt x="1602" y="1620"/>
                  </a:lnTo>
                  <a:lnTo>
                    <a:pt x="1596" y="1620"/>
                  </a:lnTo>
                  <a:lnTo>
                    <a:pt x="1590" y="1620"/>
                  </a:lnTo>
                  <a:lnTo>
                    <a:pt x="1584" y="1626"/>
                  </a:lnTo>
                  <a:lnTo>
                    <a:pt x="1584" y="1632"/>
                  </a:lnTo>
                  <a:lnTo>
                    <a:pt x="1578" y="1644"/>
                  </a:lnTo>
                  <a:lnTo>
                    <a:pt x="1572" y="1644"/>
                  </a:lnTo>
                  <a:lnTo>
                    <a:pt x="1566" y="1644"/>
                  </a:lnTo>
                  <a:lnTo>
                    <a:pt x="1566" y="1650"/>
                  </a:lnTo>
                  <a:lnTo>
                    <a:pt x="1560" y="1650"/>
                  </a:lnTo>
                  <a:lnTo>
                    <a:pt x="1554" y="1650"/>
                  </a:lnTo>
                  <a:lnTo>
                    <a:pt x="1548" y="1650"/>
                  </a:lnTo>
                  <a:lnTo>
                    <a:pt x="1548" y="1656"/>
                  </a:lnTo>
                  <a:lnTo>
                    <a:pt x="1542" y="1668"/>
                  </a:lnTo>
                  <a:lnTo>
                    <a:pt x="1542" y="1674"/>
                  </a:lnTo>
                  <a:lnTo>
                    <a:pt x="1542" y="1692"/>
                  </a:lnTo>
                  <a:lnTo>
                    <a:pt x="1536" y="1698"/>
                  </a:lnTo>
                  <a:lnTo>
                    <a:pt x="1530" y="1698"/>
                  </a:lnTo>
                  <a:lnTo>
                    <a:pt x="1524" y="1698"/>
                  </a:lnTo>
                  <a:lnTo>
                    <a:pt x="1518" y="1704"/>
                  </a:lnTo>
                  <a:lnTo>
                    <a:pt x="1512" y="1710"/>
                  </a:lnTo>
                  <a:lnTo>
                    <a:pt x="1506" y="1722"/>
                  </a:lnTo>
                  <a:lnTo>
                    <a:pt x="1500" y="1728"/>
                  </a:lnTo>
                  <a:lnTo>
                    <a:pt x="1500" y="1734"/>
                  </a:lnTo>
                  <a:lnTo>
                    <a:pt x="1512" y="1734"/>
                  </a:lnTo>
                  <a:lnTo>
                    <a:pt x="1518" y="1740"/>
                  </a:lnTo>
                  <a:lnTo>
                    <a:pt x="1518" y="1746"/>
                  </a:lnTo>
                  <a:lnTo>
                    <a:pt x="1518" y="1752"/>
                  </a:lnTo>
                  <a:lnTo>
                    <a:pt x="1518" y="1758"/>
                  </a:lnTo>
                  <a:lnTo>
                    <a:pt x="1524" y="1758"/>
                  </a:lnTo>
                  <a:lnTo>
                    <a:pt x="1524" y="1764"/>
                  </a:lnTo>
                  <a:lnTo>
                    <a:pt x="1530" y="1770"/>
                  </a:lnTo>
                  <a:lnTo>
                    <a:pt x="1518" y="1770"/>
                  </a:lnTo>
                  <a:lnTo>
                    <a:pt x="1512" y="1782"/>
                  </a:lnTo>
                  <a:lnTo>
                    <a:pt x="1512" y="1788"/>
                  </a:lnTo>
                  <a:lnTo>
                    <a:pt x="1518" y="1788"/>
                  </a:lnTo>
                  <a:lnTo>
                    <a:pt x="1524" y="1800"/>
                  </a:lnTo>
                  <a:lnTo>
                    <a:pt x="1524" y="1806"/>
                  </a:lnTo>
                  <a:lnTo>
                    <a:pt x="1518" y="1812"/>
                  </a:lnTo>
                  <a:lnTo>
                    <a:pt x="1512" y="1818"/>
                  </a:lnTo>
                  <a:lnTo>
                    <a:pt x="1506" y="1818"/>
                  </a:lnTo>
                  <a:lnTo>
                    <a:pt x="1500" y="1824"/>
                  </a:lnTo>
                  <a:lnTo>
                    <a:pt x="1500" y="1836"/>
                  </a:lnTo>
                  <a:lnTo>
                    <a:pt x="1500" y="1842"/>
                  </a:lnTo>
                  <a:lnTo>
                    <a:pt x="1500" y="1848"/>
                  </a:lnTo>
                  <a:lnTo>
                    <a:pt x="1500" y="1854"/>
                  </a:lnTo>
                  <a:lnTo>
                    <a:pt x="1494" y="1860"/>
                  </a:lnTo>
                  <a:lnTo>
                    <a:pt x="1488" y="1860"/>
                  </a:lnTo>
                  <a:lnTo>
                    <a:pt x="1488" y="1866"/>
                  </a:lnTo>
                  <a:lnTo>
                    <a:pt x="1482" y="1872"/>
                  </a:lnTo>
                  <a:lnTo>
                    <a:pt x="1482" y="1878"/>
                  </a:lnTo>
                  <a:lnTo>
                    <a:pt x="1482" y="1884"/>
                  </a:lnTo>
                  <a:lnTo>
                    <a:pt x="1476" y="1890"/>
                  </a:lnTo>
                  <a:lnTo>
                    <a:pt x="1470" y="1890"/>
                  </a:lnTo>
                  <a:lnTo>
                    <a:pt x="1470" y="1896"/>
                  </a:lnTo>
                  <a:lnTo>
                    <a:pt x="1464" y="1896"/>
                  </a:lnTo>
                  <a:lnTo>
                    <a:pt x="1458" y="1896"/>
                  </a:lnTo>
                  <a:lnTo>
                    <a:pt x="1452" y="1896"/>
                  </a:lnTo>
                  <a:lnTo>
                    <a:pt x="1440" y="1890"/>
                  </a:lnTo>
                  <a:lnTo>
                    <a:pt x="1434" y="1896"/>
                  </a:lnTo>
                  <a:lnTo>
                    <a:pt x="1428" y="1896"/>
                  </a:lnTo>
                  <a:lnTo>
                    <a:pt x="1422" y="1896"/>
                  </a:lnTo>
                  <a:lnTo>
                    <a:pt x="1422" y="1902"/>
                  </a:lnTo>
                  <a:lnTo>
                    <a:pt x="1416" y="1902"/>
                  </a:lnTo>
                  <a:lnTo>
                    <a:pt x="1422" y="1914"/>
                  </a:lnTo>
                  <a:lnTo>
                    <a:pt x="1422" y="1932"/>
                  </a:lnTo>
                  <a:lnTo>
                    <a:pt x="1416" y="1938"/>
                  </a:lnTo>
                  <a:lnTo>
                    <a:pt x="1422" y="1938"/>
                  </a:lnTo>
                  <a:lnTo>
                    <a:pt x="1404" y="1938"/>
                  </a:lnTo>
                  <a:lnTo>
                    <a:pt x="1392" y="1944"/>
                  </a:lnTo>
                  <a:lnTo>
                    <a:pt x="1386" y="1944"/>
                  </a:lnTo>
                  <a:lnTo>
                    <a:pt x="1374" y="1944"/>
                  </a:lnTo>
                  <a:lnTo>
                    <a:pt x="1368" y="1950"/>
                  </a:lnTo>
                  <a:lnTo>
                    <a:pt x="1374" y="1956"/>
                  </a:lnTo>
                  <a:lnTo>
                    <a:pt x="1368" y="1956"/>
                  </a:lnTo>
                  <a:lnTo>
                    <a:pt x="1356" y="1956"/>
                  </a:lnTo>
                  <a:lnTo>
                    <a:pt x="1350" y="1956"/>
                  </a:lnTo>
                  <a:lnTo>
                    <a:pt x="1350" y="1950"/>
                  </a:lnTo>
                  <a:lnTo>
                    <a:pt x="1344" y="1944"/>
                  </a:lnTo>
                  <a:lnTo>
                    <a:pt x="1332" y="1938"/>
                  </a:lnTo>
                  <a:lnTo>
                    <a:pt x="1326" y="1938"/>
                  </a:lnTo>
                  <a:lnTo>
                    <a:pt x="1320" y="1938"/>
                  </a:lnTo>
                  <a:lnTo>
                    <a:pt x="1314" y="1944"/>
                  </a:lnTo>
                  <a:lnTo>
                    <a:pt x="1308" y="1944"/>
                  </a:lnTo>
                  <a:lnTo>
                    <a:pt x="1302" y="1944"/>
                  </a:lnTo>
                  <a:lnTo>
                    <a:pt x="1296" y="1938"/>
                  </a:lnTo>
                  <a:lnTo>
                    <a:pt x="1284" y="1938"/>
                  </a:lnTo>
                  <a:lnTo>
                    <a:pt x="1278" y="1938"/>
                  </a:lnTo>
                  <a:lnTo>
                    <a:pt x="1272" y="1938"/>
                  </a:lnTo>
                  <a:lnTo>
                    <a:pt x="1266" y="1932"/>
                  </a:lnTo>
                  <a:lnTo>
                    <a:pt x="1260" y="1932"/>
                  </a:lnTo>
                  <a:lnTo>
                    <a:pt x="1254" y="1920"/>
                  </a:lnTo>
                  <a:lnTo>
                    <a:pt x="1248" y="1920"/>
                  </a:lnTo>
                  <a:lnTo>
                    <a:pt x="1242" y="1920"/>
                  </a:lnTo>
                  <a:lnTo>
                    <a:pt x="1236" y="1926"/>
                  </a:lnTo>
                  <a:lnTo>
                    <a:pt x="1236" y="1932"/>
                  </a:lnTo>
                  <a:lnTo>
                    <a:pt x="1230" y="1932"/>
                  </a:lnTo>
                  <a:lnTo>
                    <a:pt x="1224" y="1932"/>
                  </a:lnTo>
                  <a:lnTo>
                    <a:pt x="1218" y="1938"/>
                  </a:lnTo>
                  <a:lnTo>
                    <a:pt x="1212" y="1932"/>
                  </a:lnTo>
                  <a:lnTo>
                    <a:pt x="1206" y="1926"/>
                  </a:lnTo>
                  <a:lnTo>
                    <a:pt x="1206" y="1908"/>
                  </a:lnTo>
                  <a:lnTo>
                    <a:pt x="1206" y="1884"/>
                  </a:lnTo>
                  <a:lnTo>
                    <a:pt x="1206" y="1866"/>
                  </a:lnTo>
                  <a:lnTo>
                    <a:pt x="1212" y="1848"/>
                  </a:lnTo>
                  <a:lnTo>
                    <a:pt x="1212" y="1842"/>
                  </a:lnTo>
                  <a:lnTo>
                    <a:pt x="1206" y="1836"/>
                  </a:lnTo>
                  <a:lnTo>
                    <a:pt x="1200" y="1830"/>
                  </a:lnTo>
                  <a:lnTo>
                    <a:pt x="1194" y="1824"/>
                  </a:lnTo>
                  <a:lnTo>
                    <a:pt x="1188" y="1824"/>
                  </a:lnTo>
                  <a:lnTo>
                    <a:pt x="1182" y="1824"/>
                  </a:lnTo>
                  <a:lnTo>
                    <a:pt x="1176" y="1824"/>
                  </a:lnTo>
                  <a:lnTo>
                    <a:pt x="1170" y="1818"/>
                  </a:lnTo>
                  <a:lnTo>
                    <a:pt x="1164" y="1830"/>
                  </a:lnTo>
                  <a:lnTo>
                    <a:pt x="1152" y="1836"/>
                  </a:lnTo>
                  <a:lnTo>
                    <a:pt x="1146" y="1842"/>
                  </a:lnTo>
                  <a:lnTo>
                    <a:pt x="1140" y="1842"/>
                  </a:lnTo>
                  <a:lnTo>
                    <a:pt x="1134" y="1842"/>
                  </a:lnTo>
                  <a:lnTo>
                    <a:pt x="1128" y="1842"/>
                  </a:lnTo>
                  <a:lnTo>
                    <a:pt x="1116" y="1836"/>
                  </a:lnTo>
                  <a:lnTo>
                    <a:pt x="1110" y="1842"/>
                  </a:lnTo>
                  <a:lnTo>
                    <a:pt x="1092" y="1830"/>
                  </a:lnTo>
                  <a:lnTo>
                    <a:pt x="1092" y="1824"/>
                  </a:lnTo>
                  <a:lnTo>
                    <a:pt x="1092" y="1806"/>
                  </a:lnTo>
                  <a:lnTo>
                    <a:pt x="1092" y="1800"/>
                  </a:lnTo>
                  <a:lnTo>
                    <a:pt x="1092" y="1794"/>
                  </a:lnTo>
                  <a:lnTo>
                    <a:pt x="1086" y="1788"/>
                  </a:lnTo>
                  <a:lnTo>
                    <a:pt x="1080" y="1794"/>
                  </a:lnTo>
                  <a:lnTo>
                    <a:pt x="1074" y="1788"/>
                  </a:lnTo>
                  <a:lnTo>
                    <a:pt x="1068" y="1770"/>
                  </a:lnTo>
                  <a:lnTo>
                    <a:pt x="1056" y="1764"/>
                  </a:lnTo>
                  <a:lnTo>
                    <a:pt x="1050" y="1764"/>
                  </a:lnTo>
                  <a:lnTo>
                    <a:pt x="1044" y="1764"/>
                  </a:lnTo>
                  <a:lnTo>
                    <a:pt x="1038" y="1758"/>
                  </a:lnTo>
                  <a:lnTo>
                    <a:pt x="1032" y="1752"/>
                  </a:lnTo>
                  <a:lnTo>
                    <a:pt x="1032" y="1746"/>
                  </a:lnTo>
                  <a:lnTo>
                    <a:pt x="1032" y="1740"/>
                  </a:lnTo>
                  <a:lnTo>
                    <a:pt x="1032" y="1734"/>
                  </a:lnTo>
                  <a:lnTo>
                    <a:pt x="1026" y="1734"/>
                  </a:lnTo>
                  <a:lnTo>
                    <a:pt x="1032" y="1728"/>
                  </a:lnTo>
                  <a:lnTo>
                    <a:pt x="1032" y="1722"/>
                  </a:lnTo>
                  <a:lnTo>
                    <a:pt x="1044" y="1686"/>
                  </a:lnTo>
                  <a:lnTo>
                    <a:pt x="1044" y="1680"/>
                  </a:lnTo>
                  <a:lnTo>
                    <a:pt x="1032" y="1674"/>
                  </a:lnTo>
                  <a:lnTo>
                    <a:pt x="1026" y="1674"/>
                  </a:lnTo>
                  <a:lnTo>
                    <a:pt x="1026" y="1668"/>
                  </a:lnTo>
                  <a:lnTo>
                    <a:pt x="1020" y="1662"/>
                  </a:lnTo>
                  <a:lnTo>
                    <a:pt x="1014" y="1668"/>
                  </a:lnTo>
                  <a:lnTo>
                    <a:pt x="1008" y="1662"/>
                  </a:lnTo>
                  <a:lnTo>
                    <a:pt x="1002" y="1662"/>
                  </a:lnTo>
                  <a:lnTo>
                    <a:pt x="1002" y="1668"/>
                  </a:lnTo>
                  <a:lnTo>
                    <a:pt x="996" y="1668"/>
                  </a:lnTo>
                  <a:lnTo>
                    <a:pt x="996" y="1662"/>
                  </a:lnTo>
                  <a:lnTo>
                    <a:pt x="984" y="1662"/>
                  </a:lnTo>
                  <a:lnTo>
                    <a:pt x="984" y="1656"/>
                  </a:lnTo>
                  <a:lnTo>
                    <a:pt x="978" y="1650"/>
                  </a:lnTo>
                  <a:lnTo>
                    <a:pt x="978" y="1644"/>
                  </a:lnTo>
                  <a:lnTo>
                    <a:pt x="966" y="1650"/>
                  </a:lnTo>
                  <a:lnTo>
                    <a:pt x="960" y="1638"/>
                  </a:lnTo>
                  <a:lnTo>
                    <a:pt x="954" y="1632"/>
                  </a:lnTo>
                  <a:lnTo>
                    <a:pt x="948" y="1632"/>
                  </a:lnTo>
                  <a:lnTo>
                    <a:pt x="942" y="1626"/>
                  </a:lnTo>
                  <a:lnTo>
                    <a:pt x="942" y="1614"/>
                  </a:lnTo>
                  <a:lnTo>
                    <a:pt x="930" y="1608"/>
                  </a:lnTo>
                  <a:lnTo>
                    <a:pt x="924" y="1614"/>
                  </a:lnTo>
                  <a:lnTo>
                    <a:pt x="912" y="1608"/>
                  </a:lnTo>
                  <a:lnTo>
                    <a:pt x="888" y="1590"/>
                  </a:lnTo>
                  <a:lnTo>
                    <a:pt x="894" y="1578"/>
                  </a:lnTo>
                  <a:lnTo>
                    <a:pt x="894" y="1572"/>
                  </a:lnTo>
                  <a:lnTo>
                    <a:pt x="894" y="1566"/>
                  </a:lnTo>
                  <a:lnTo>
                    <a:pt x="894" y="1548"/>
                  </a:lnTo>
                  <a:lnTo>
                    <a:pt x="888" y="1548"/>
                  </a:lnTo>
                  <a:lnTo>
                    <a:pt x="882" y="1542"/>
                  </a:lnTo>
                  <a:lnTo>
                    <a:pt x="876" y="1542"/>
                  </a:lnTo>
                  <a:lnTo>
                    <a:pt x="876" y="1536"/>
                  </a:lnTo>
                  <a:lnTo>
                    <a:pt x="870" y="1542"/>
                  </a:lnTo>
                  <a:lnTo>
                    <a:pt x="870" y="1554"/>
                  </a:lnTo>
                  <a:lnTo>
                    <a:pt x="870" y="1566"/>
                  </a:lnTo>
                  <a:lnTo>
                    <a:pt x="870" y="1578"/>
                  </a:lnTo>
                  <a:lnTo>
                    <a:pt x="870" y="1584"/>
                  </a:lnTo>
                  <a:lnTo>
                    <a:pt x="864" y="1584"/>
                  </a:lnTo>
                  <a:lnTo>
                    <a:pt x="870" y="1602"/>
                  </a:lnTo>
                  <a:lnTo>
                    <a:pt x="864" y="1608"/>
                  </a:lnTo>
                  <a:lnTo>
                    <a:pt x="870" y="1614"/>
                  </a:lnTo>
                  <a:lnTo>
                    <a:pt x="864" y="1644"/>
                  </a:lnTo>
                  <a:lnTo>
                    <a:pt x="858" y="1650"/>
                  </a:lnTo>
                  <a:lnTo>
                    <a:pt x="858" y="1656"/>
                  </a:lnTo>
                  <a:lnTo>
                    <a:pt x="852" y="1662"/>
                  </a:lnTo>
                  <a:lnTo>
                    <a:pt x="852" y="1680"/>
                  </a:lnTo>
                  <a:lnTo>
                    <a:pt x="846" y="1686"/>
                  </a:lnTo>
                  <a:lnTo>
                    <a:pt x="834" y="1692"/>
                  </a:lnTo>
                  <a:lnTo>
                    <a:pt x="828" y="1692"/>
                  </a:lnTo>
                  <a:lnTo>
                    <a:pt x="822" y="1698"/>
                  </a:lnTo>
                  <a:lnTo>
                    <a:pt x="822" y="1704"/>
                  </a:lnTo>
                  <a:lnTo>
                    <a:pt x="816" y="1704"/>
                  </a:lnTo>
                  <a:lnTo>
                    <a:pt x="804" y="1692"/>
                  </a:lnTo>
                  <a:lnTo>
                    <a:pt x="786" y="1698"/>
                  </a:lnTo>
                  <a:lnTo>
                    <a:pt x="780" y="1698"/>
                  </a:lnTo>
                  <a:lnTo>
                    <a:pt x="756" y="1698"/>
                  </a:lnTo>
                  <a:lnTo>
                    <a:pt x="744" y="1698"/>
                  </a:lnTo>
                  <a:lnTo>
                    <a:pt x="738" y="1698"/>
                  </a:lnTo>
                  <a:lnTo>
                    <a:pt x="732" y="1704"/>
                  </a:lnTo>
                  <a:lnTo>
                    <a:pt x="726" y="1704"/>
                  </a:lnTo>
                  <a:lnTo>
                    <a:pt x="678" y="1710"/>
                  </a:lnTo>
                  <a:lnTo>
                    <a:pt x="642" y="1710"/>
                  </a:lnTo>
                  <a:lnTo>
                    <a:pt x="618" y="1680"/>
                  </a:lnTo>
                  <a:lnTo>
                    <a:pt x="618" y="1674"/>
                  </a:lnTo>
                  <a:lnTo>
                    <a:pt x="618" y="1668"/>
                  </a:lnTo>
                  <a:lnTo>
                    <a:pt x="624" y="1662"/>
                  </a:lnTo>
                  <a:lnTo>
                    <a:pt x="624" y="1656"/>
                  </a:lnTo>
                  <a:lnTo>
                    <a:pt x="624" y="1650"/>
                  </a:lnTo>
                  <a:lnTo>
                    <a:pt x="618" y="1650"/>
                  </a:lnTo>
                  <a:lnTo>
                    <a:pt x="618" y="1644"/>
                  </a:lnTo>
                  <a:lnTo>
                    <a:pt x="618" y="1638"/>
                  </a:lnTo>
                  <a:lnTo>
                    <a:pt x="618" y="1632"/>
                  </a:lnTo>
                  <a:lnTo>
                    <a:pt x="618" y="1626"/>
                  </a:lnTo>
                  <a:lnTo>
                    <a:pt x="612" y="1626"/>
                  </a:lnTo>
                  <a:lnTo>
                    <a:pt x="612" y="1620"/>
                  </a:lnTo>
                  <a:lnTo>
                    <a:pt x="606" y="1614"/>
                  </a:lnTo>
                  <a:lnTo>
                    <a:pt x="594" y="1626"/>
                  </a:lnTo>
                  <a:lnTo>
                    <a:pt x="594" y="1632"/>
                  </a:lnTo>
                  <a:lnTo>
                    <a:pt x="588" y="1638"/>
                  </a:lnTo>
                  <a:lnTo>
                    <a:pt x="582" y="1638"/>
                  </a:lnTo>
                  <a:lnTo>
                    <a:pt x="564" y="1656"/>
                  </a:lnTo>
                  <a:lnTo>
                    <a:pt x="558" y="1662"/>
                  </a:lnTo>
                  <a:lnTo>
                    <a:pt x="552" y="1662"/>
                  </a:lnTo>
                  <a:lnTo>
                    <a:pt x="540" y="1674"/>
                  </a:lnTo>
                  <a:lnTo>
                    <a:pt x="534" y="1680"/>
                  </a:lnTo>
                  <a:lnTo>
                    <a:pt x="522" y="1692"/>
                  </a:lnTo>
                  <a:lnTo>
                    <a:pt x="516" y="1704"/>
                  </a:lnTo>
                  <a:lnTo>
                    <a:pt x="510" y="1704"/>
                  </a:lnTo>
                  <a:lnTo>
                    <a:pt x="504" y="1704"/>
                  </a:lnTo>
                  <a:lnTo>
                    <a:pt x="486" y="1722"/>
                  </a:lnTo>
                  <a:lnTo>
                    <a:pt x="480" y="1740"/>
                  </a:lnTo>
                  <a:lnTo>
                    <a:pt x="474" y="1740"/>
                  </a:lnTo>
                  <a:lnTo>
                    <a:pt x="468" y="1746"/>
                  </a:lnTo>
                  <a:lnTo>
                    <a:pt x="456" y="1758"/>
                  </a:lnTo>
                  <a:lnTo>
                    <a:pt x="444" y="1770"/>
                  </a:lnTo>
                  <a:lnTo>
                    <a:pt x="438" y="1782"/>
                  </a:lnTo>
                  <a:lnTo>
                    <a:pt x="426" y="1788"/>
                  </a:lnTo>
                  <a:lnTo>
                    <a:pt x="420" y="1788"/>
                  </a:lnTo>
                  <a:lnTo>
                    <a:pt x="420" y="1782"/>
                  </a:lnTo>
                  <a:lnTo>
                    <a:pt x="414" y="1782"/>
                  </a:lnTo>
                  <a:lnTo>
                    <a:pt x="390" y="1782"/>
                  </a:lnTo>
                  <a:lnTo>
                    <a:pt x="390" y="1776"/>
                  </a:lnTo>
                  <a:lnTo>
                    <a:pt x="384" y="1776"/>
                  </a:lnTo>
                  <a:lnTo>
                    <a:pt x="378" y="1776"/>
                  </a:lnTo>
                  <a:lnTo>
                    <a:pt x="372" y="1776"/>
                  </a:lnTo>
                  <a:lnTo>
                    <a:pt x="366" y="1770"/>
                  </a:lnTo>
                  <a:lnTo>
                    <a:pt x="366" y="1776"/>
                  </a:lnTo>
                  <a:lnTo>
                    <a:pt x="360" y="1788"/>
                  </a:lnTo>
                  <a:lnTo>
                    <a:pt x="360" y="1794"/>
                  </a:lnTo>
                  <a:lnTo>
                    <a:pt x="360" y="1800"/>
                  </a:lnTo>
                  <a:lnTo>
                    <a:pt x="354" y="1806"/>
                  </a:lnTo>
                  <a:lnTo>
                    <a:pt x="354" y="1812"/>
                  </a:lnTo>
                  <a:lnTo>
                    <a:pt x="354" y="1824"/>
                  </a:lnTo>
                  <a:lnTo>
                    <a:pt x="348" y="1830"/>
                  </a:lnTo>
                  <a:lnTo>
                    <a:pt x="354" y="1836"/>
                  </a:lnTo>
                  <a:lnTo>
                    <a:pt x="348" y="1842"/>
                  </a:lnTo>
                  <a:lnTo>
                    <a:pt x="354" y="1848"/>
                  </a:lnTo>
                  <a:lnTo>
                    <a:pt x="348" y="1854"/>
                  </a:lnTo>
                  <a:lnTo>
                    <a:pt x="354" y="1854"/>
                  </a:lnTo>
                  <a:lnTo>
                    <a:pt x="348" y="1860"/>
                  </a:lnTo>
                  <a:lnTo>
                    <a:pt x="348" y="1866"/>
                  </a:lnTo>
                  <a:lnTo>
                    <a:pt x="342" y="1866"/>
                  </a:lnTo>
                  <a:lnTo>
                    <a:pt x="342" y="1872"/>
                  </a:lnTo>
                  <a:lnTo>
                    <a:pt x="342" y="1878"/>
                  </a:lnTo>
                  <a:lnTo>
                    <a:pt x="342" y="1884"/>
                  </a:lnTo>
                  <a:lnTo>
                    <a:pt x="336" y="1896"/>
                  </a:lnTo>
                  <a:lnTo>
                    <a:pt x="330" y="1914"/>
                  </a:lnTo>
                  <a:lnTo>
                    <a:pt x="324" y="1920"/>
                  </a:lnTo>
                  <a:lnTo>
                    <a:pt x="324" y="1926"/>
                  </a:lnTo>
                  <a:lnTo>
                    <a:pt x="318" y="1944"/>
                  </a:lnTo>
                  <a:lnTo>
                    <a:pt x="318" y="1950"/>
                  </a:lnTo>
                  <a:lnTo>
                    <a:pt x="312" y="1956"/>
                  </a:lnTo>
                  <a:lnTo>
                    <a:pt x="312" y="1950"/>
                  </a:lnTo>
                  <a:lnTo>
                    <a:pt x="306" y="1950"/>
                  </a:lnTo>
                  <a:lnTo>
                    <a:pt x="306" y="1956"/>
                  </a:lnTo>
                  <a:lnTo>
                    <a:pt x="300" y="1950"/>
                  </a:lnTo>
                  <a:lnTo>
                    <a:pt x="294" y="1956"/>
                  </a:lnTo>
                  <a:lnTo>
                    <a:pt x="288" y="1950"/>
                  </a:lnTo>
                  <a:lnTo>
                    <a:pt x="288" y="1944"/>
                  </a:lnTo>
                  <a:lnTo>
                    <a:pt x="282" y="1938"/>
                  </a:lnTo>
                  <a:lnTo>
                    <a:pt x="282" y="1932"/>
                  </a:lnTo>
                  <a:lnTo>
                    <a:pt x="282" y="1890"/>
                  </a:lnTo>
                  <a:lnTo>
                    <a:pt x="288" y="1860"/>
                  </a:lnTo>
                  <a:lnTo>
                    <a:pt x="294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300" y="1818"/>
                  </a:lnTo>
                  <a:lnTo>
                    <a:pt x="306" y="1794"/>
                  </a:lnTo>
                  <a:lnTo>
                    <a:pt x="306" y="1788"/>
                  </a:lnTo>
                  <a:lnTo>
                    <a:pt x="306" y="1782"/>
                  </a:lnTo>
                  <a:lnTo>
                    <a:pt x="312" y="1776"/>
                  </a:lnTo>
                  <a:lnTo>
                    <a:pt x="306" y="1776"/>
                  </a:lnTo>
                  <a:lnTo>
                    <a:pt x="312" y="1770"/>
                  </a:lnTo>
                  <a:lnTo>
                    <a:pt x="312" y="1740"/>
                  </a:lnTo>
                  <a:lnTo>
                    <a:pt x="318" y="1722"/>
                  </a:lnTo>
                  <a:lnTo>
                    <a:pt x="312" y="1722"/>
                  </a:lnTo>
                  <a:lnTo>
                    <a:pt x="300" y="1716"/>
                  </a:lnTo>
                  <a:lnTo>
                    <a:pt x="306" y="1716"/>
                  </a:lnTo>
                  <a:lnTo>
                    <a:pt x="312" y="1710"/>
                  </a:lnTo>
                  <a:lnTo>
                    <a:pt x="324" y="1674"/>
                  </a:lnTo>
                  <a:lnTo>
                    <a:pt x="366" y="1590"/>
                  </a:lnTo>
                  <a:lnTo>
                    <a:pt x="408" y="1548"/>
                  </a:lnTo>
                  <a:lnTo>
                    <a:pt x="426" y="1530"/>
                  </a:lnTo>
                  <a:lnTo>
                    <a:pt x="432" y="1500"/>
                  </a:lnTo>
                  <a:lnTo>
                    <a:pt x="426" y="1494"/>
                  </a:lnTo>
                  <a:lnTo>
                    <a:pt x="426" y="1482"/>
                  </a:lnTo>
                  <a:lnTo>
                    <a:pt x="432" y="1464"/>
                  </a:lnTo>
                  <a:lnTo>
                    <a:pt x="438" y="1428"/>
                  </a:lnTo>
                  <a:lnTo>
                    <a:pt x="462" y="1398"/>
                  </a:lnTo>
                  <a:lnTo>
                    <a:pt x="468" y="1362"/>
                  </a:lnTo>
                  <a:lnTo>
                    <a:pt x="462" y="1314"/>
                  </a:lnTo>
                  <a:lnTo>
                    <a:pt x="444" y="1284"/>
                  </a:lnTo>
                  <a:lnTo>
                    <a:pt x="432" y="1260"/>
                  </a:lnTo>
                  <a:lnTo>
                    <a:pt x="426" y="1260"/>
                  </a:lnTo>
                  <a:lnTo>
                    <a:pt x="420" y="1254"/>
                  </a:lnTo>
                  <a:lnTo>
                    <a:pt x="408" y="1260"/>
                  </a:lnTo>
                  <a:lnTo>
                    <a:pt x="402" y="1260"/>
                  </a:lnTo>
                  <a:lnTo>
                    <a:pt x="402" y="1254"/>
                  </a:lnTo>
                  <a:lnTo>
                    <a:pt x="396" y="1254"/>
                  </a:lnTo>
                  <a:lnTo>
                    <a:pt x="396" y="1248"/>
                  </a:lnTo>
                  <a:lnTo>
                    <a:pt x="384" y="1248"/>
                  </a:lnTo>
                  <a:lnTo>
                    <a:pt x="372" y="1230"/>
                  </a:lnTo>
                  <a:lnTo>
                    <a:pt x="360" y="1212"/>
                  </a:lnTo>
                  <a:lnTo>
                    <a:pt x="348" y="1188"/>
                  </a:lnTo>
                  <a:lnTo>
                    <a:pt x="324" y="1170"/>
                  </a:lnTo>
                  <a:lnTo>
                    <a:pt x="318" y="1170"/>
                  </a:lnTo>
                  <a:lnTo>
                    <a:pt x="312" y="1158"/>
                  </a:lnTo>
                  <a:lnTo>
                    <a:pt x="312" y="1152"/>
                  </a:lnTo>
                  <a:lnTo>
                    <a:pt x="306" y="1146"/>
                  </a:lnTo>
                  <a:lnTo>
                    <a:pt x="270" y="1122"/>
                  </a:lnTo>
                  <a:lnTo>
                    <a:pt x="240" y="1122"/>
                  </a:lnTo>
                  <a:lnTo>
                    <a:pt x="180" y="1116"/>
                  </a:lnTo>
                  <a:lnTo>
                    <a:pt x="174" y="1122"/>
                  </a:lnTo>
                  <a:lnTo>
                    <a:pt x="174" y="1128"/>
                  </a:lnTo>
                  <a:lnTo>
                    <a:pt x="168" y="1122"/>
                  </a:lnTo>
                  <a:lnTo>
                    <a:pt x="162" y="1116"/>
                  </a:lnTo>
                  <a:lnTo>
                    <a:pt x="144" y="1122"/>
                  </a:lnTo>
                  <a:lnTo>
                    <a:pt x="120" y="1122"/>
                  </a:lnTo>
                  <a:lnTo>
                    <a:pt x="54" y="1134"/>
                  </a:lnTo>
                  <a:lnTo>
                    <a:pt x="24" y="1152"/>
                  </a:lnTo>
                  <a:lnTo>
                    <a:pt x="6" y="1146"/>
                  </a:lnTo>
                  <a:lnTo>
                    <a:pt x="0" y="1134"/>
                  </a:lnTo>
                  <a:lnTo>
                    <a:pt x="0" y="1128"/>
                  </a:lnTo>
                  <a:lnTo>
                    <a:pt x="18" y="1110"/>
                  </a:lnTo>
                  <a:lnTo>
                    <a:pt x="24" y="1104"/>
                  </a:lnTo>
                  <a:lnTo>
                    <a:pt x="24" y="1098"/>
                  </a:lnTo>
                  <a:lnTo>
                    <a:pt x="30" y="1086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24" y="1074"/>
                  </a:lnTo>
                  <a:lnTo>
                    <a:pt x="18" y="1068"/>
                  </a:lnTo>
                  <a:lnTo>
                    <a:pt x="24" y="1062"/>
                  </a:lnTo>
                  <a:lnTo>
                    <a:pt x="42" y="1056"/>
                  </a:lnTo>
                  <a:lnTo>
                    <a:pt x="54" y="1050"/>
                  </a:lnTo>
                  <a:lnTo>
                    <a:pt x="72" y="1044"/>
                  </a:lnTo>
                  <a:lnTo>
                    <a:pt x="96" y="1032"/>
                  </a:lnTo>
                  <a:lnTo>
                    <a:pt x="102" y="1032"/>
                  </a:lnTo>
                  <a:lnTo>
                    <a:pt x="126" y="1008"/>
                  </a:lnTo>
                  <a:lnTo>
                    <a:pt x="144" y="990"/>
                  </a:lnTo>
                  <a:lnTo>
                    <a:pt x="156" y="978"/>
                  </a:lnTo>
                  <a:lnTo>
                    <a:pt x="156" y="966"/>
                  </a:lnTo>
                  <a:lnTo>
                    <a:pt x="150" y="960"/>
                  </a:lnTo>
                  <a:lnTo>
                    <a:pt x="144" y="948"/>
                  </a:lnTo>
                  <a:lnTo>
                    <a:pt x="144" y="936"/>
                  </a:lnTo>
                  <a:lnTo>
                    <a:pt x="138" y="918"/>
                  </a:lnTo>
                  <a:lnTo>
                    <a:pt x="150" y="912"/>
                  </a:lnTo>
                  <a:lnTo>
                    <a:pt x="150" y="894"/>
                  </a:lnTo>
                  <a:lnTo>
                    <a:pt x="132" y="876"/>
                  </a:lnTo>
                  <a:lnTo>
                    <a:pt x="126" y="876"/>
                  </a:lnTo>
                  <a:lnTo>
                    <a:pt x="120" y="870"/>
                  </a:lnTo>
                  <a:lnTo>
                    <a:pt x="120" y="864"/>
                  </a:lnTo>
                  <a:lnTo>
                    <a:pt x="114" y="864"/>
                  </a:lnTo>
                  <a:lnTo>
                    <a:pt x="108" y="864"/>
                  </a:lnTo>
                  <a:lnTo>
                    <a:pt x="108" y="858"/>
                  </a:lnTo>
                  <a:lnTo>
                    <a:pt x="102" y="852"/>
                  </a:lnTo>
                  <a:lnTo>
                    <a:pt x="96" y="852"/>
                  </a:lnTo>
                  <a:lnTo>
                    <a:pt x="102" y="834"/>
                  </a:lnTo>
                  <a:lnTo>
                    <a:pt x="108" y="816"/>
                  </a:lnTo>
                  <a:lnTo>
                    <a:pt x="114" y="804"/>
                  </a:lnTo>
                  <a:lnTo>
                    <a:pt x="132" y="798"/>
                  </a:lnTo>
                  <a:lnTo>
                    <a:pt x="144" y="798"/>
                  </a:lnTo>
                  <a:lnTo>
                    <a:pt x="180" y="810"/>
                  </a:lnTo>
                  <a:lnTo>
                    <a:pt x="192" y="816"/>
                  </a:lnTo>
                  <a:lnTo>
                    <a:pt x="234" y="822"/>
                  </a:lnTo>
                  <a:lnTo>
                    <a:pt x="264" y="828"/>
                  </a:lnTo>
                  <a:lnTo>
                    <a:pt x="270" y="840"/>
                  </a:lnTo>
                  <a:lnTo>
                    <a:pt x="270" y="834"/>
                  </a:lnTo>
                  <a:lnTo>
                    <a:pt x="270" y="828"/>
                  </a:lnTo>
                  <a:lnTo>
                    <a:pt x="270" y="822"/>
                  </a:lnTo>
                  <a:lnTo>
                    <a:pt x="270" y="816"/>
                  </a:lnTo>
                  <a:lnTo>
                    <a:pt x="264" y="810"/>
                  </a:lnTo>
                  <a:lnTo>
                    <a:pt x="264" y="804"/>
                  </a:lnTo>
                  <a:lnTo>
                    <a:pt x="264" y="798"/>
                  </a:lnTo>
                  <a:lnTo>
                    <a:pt x="258" y="792"/>
                  </a:lnTo>
                  <a:lnTo>
                    <a:pt x="258" y="786"/>
                  </a:lnTo>
                  <a:lnTo>
                    <a:pt x="264" y="786"/>
                  </a:lnTo>
                  <a:lnTo>
                    <a:pt x="264" y="780"/>
                  </a:lnTo>
                  <a:lnTo>
                    <a:pt x="258" y="774"/>
                  </a:lnTo>
                  <a:lnTo>
                    <a:pt x="258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82" y="762"/>
                  </a:lnTo>
                  <a:lnTo>
                    <a:pt x="312" y="780"/>
                  </a:lnTo>
                  <a:lnTo>
                    <a:pt x="354" y="786"/>
                  </a:lnTo>
                  <a:lnTo>
                    <a:pt x="408" y="774"/>
                  </a:lnTo>
                  <a:lnTo>
                    <a:pt x="444" y="756"/>
                  </a:lnTo>
                  <a:lnTo>
                    <a:pt x="468" y="732"/>
                  </a:lnTo>
                  <a:lnTo>
                    <a:pt x="492" y="720"/>
                  </a:lnTo>
                  <a:lnTo>
                    <a:pt x="522" y="690"/>
                  </a:lnTo>
                  <a:lnTo>
                    <a:pt x="540" y="672"/>
                  </a:lnTo>
                  <a:lnTo>
                    <a:pt x="558" y="660"/>
                  </a:lnTo>
                  <a:lnTo>
                    <a:pt x="570" y="636"/>
                  </a:lnTo>
                  <a:lnTo>
                    <a:pt x="588" y="612"/>
                  </a:lnTo>
                  <a:lnTo>
                    <a:pt x="654" y="552"/>
                  </a:lnTo>
                  <a:lnTo>
                    <a:pt x="678" y="528"/>
                  </a:lnTo>
                  <a:lnTo>
                    <a:pt x="696" y="510"/>
                  </a:lnTo>
                  <a:lnTo>
                    <a:pt x="714" y="498"/>
                  </a:lnTo>
                  <a:lnTo>
                    <a:pt x="750" y="480"/>
                  </a:lnTo>
                  <a:lnTo>
                    <a:pt x="774" y="444"/>
                  </a:lnTo>
                  <a:lnTo>
                    <a:pt x="816" y="426"/>
                  </a:lnTo>
                  <a:lnTo>
                    <a:pt x="864" y="420"/>
                  </a:lnTo>
                  <a:lnTo>
                    <a:pt x="912" y="402"/>
                  </a:lnTo>
                  <a:lnTo>
                    <a:pt x="906" y="396"/>
                  </a:lnTo>
                  <a:lnTo>
                    <a:pt x="912" y="396"/>
                  </a:lnTo>
                  <a:lnTo>
                    <a:pt x="912" y="390"/>
                  </a:lnTo>
                  <a:lnTo>
                    <a:pt x="918" y="384"/>
                  </a:lnTo>
                  <a:lnTo>
                    <a:pt x="924" y="384"/>
                  </a:lnTo>
                  <a:lnTo>
                    <a:pt x="924" y="378"/>
                  </a:lnTo>
                  <a:lnTo>
                    <a:pt x="918" y="372"/>
                  </a:lnTo>
                  <a:lnTo>
                    <a:pt x="918" y="366"/>
                  </a:lnTo>
                  <a:lnTo>
                    <a:pt x="918" y="360"/>
                  </a:lnTo>
                  <a:lnTo>
                    <a:pt x="924" y="360"/>
                  </a:lnTo>
                  <a:lnTo>
                    <a:pt x="924" y="354"/>
                  </a:lnTo>
                  <a:lnTo>
                    <a:pt x="930" y="354"/>
                  </a:lnTo>
                  <a:lnTo>
                    <a:pt x="936" y="354"/>
                  </a:lnTo>
                  <a:lnTo>
                    <a:pt x="936" y="348"/>
                  </a:lnTo>
                  <a:lnTo>
                    <a:pt x="942" y="348"/>
                  </a:lnTo>
                  <a:lnTo>
                    <a:pt x="942" y="336"/>
                  </a:lnTo>
                  <a:lnTo>
                    <a:pt x="936" y="336"/>
                  </a:lnTo>
                  <a:lnTo>
                    <a:pt x="930" y="330"/>
                  </a:lnTo>
                  <a:lnTo>
                    <a:pt x="924" y="330"/>
                  </a:lnTo>
                  <a:lnTo>
                    <a:pt x="924" y="324"/>
                  </a:lnTo>
                  <a:lnTo>
                    <a:pt x="918" y="318"/>
                  </a:lnTo>
                  <a:lnTo>
                    <a:pt x="912" y="306"/>
                  </a:lnTo>
                  <a:lnTo>
                    <a:pt x="918" y="306"/>
                  </a:lnTo>
                  <a:lnTo>
                    <a:pt x="924" y="300"/>
                  </a:lnTo>
                  <a:lnTo>
                    <a:pt x="924" y="294"/>
                  </a:lnTo>
                  <a:lnTo>
                    <a:pt x="924" y="288"/>
                  </a:lnTo>
                  <a:lnTo>
                    <a:pt x="924" y="282"/>
                  </a:lnTo>
                  <a:lnTo>
                    <a:pt x="924" y="276"/>
                  </a:lnTo>
                  <a:lnTo>
                    <a:pt x="918" y="270"/>
                  </a:lnTo>
                  <a:lnTo>
                    <a:pt x="918" y="264"/>
                  </a:lnTo>
                  <a:lnTo>
                    <a:pt x="912" y="270"/>
                  </a:lnTo>
                  <a:lnTo>
                    <a:pt x="912" y="264"/>
                  </a:lnTo>
                  <a:lnTo>
                    <a:pt x="912" y="258"/>
                  </a:lnTo>
                  <a:lnTo>
                    <a:pt x="912" y="252"/>
                  </a:lnTo>
                  <a:lnTo>
                    <a:pt x="906" y="252"/>
                  </a:lnTo>
                  <a:lnTo>
                    <a:pt x="900" y="246"/>
                  </a:lnTo>
                  <a:lnTo>
                    <a:pt x="900" y="240"/>
                  </a:lnTo>
                  <a:lnTo>
                    <a:pt x="900" y="246"/>
                  </a:lnTo>
                  <a:lnTo>
                    <a:pt x="894" y="246"/>
                  </a:lnTo>
                  <a:lnTo>
                    <a:pt x="894" y="240"/>
                  </a:lnTo>
                  <a:lnTo>
                    <a:pt x="894" y="234"/>
                  </a:lnTo>
                  <a:lnTo>
                    <a:pt x="900" y="234"/>
                  </a:lnTo>
                  <a:lnTo>
                    <a:pt x="900" y="228"/>
                  </a:lnTo>
                  <a:lnTo>
                    <a:pt x="906" y="228"/>
                  </a:lnTo>
                  <a:lnTo>
                    <a:pt x="900" y="222"/>
                  </a:lnTo>
                  <a:lnTo>
                    <a:pt x="894" y="216"/>
                  </a:lnTo>
                  <a:lnTo>
                    <a:pt x="894" y="210"/>
                  </a:lnTo>
                  <a:lnTo>
                    <a:pt x="888" y="210"/>
                  </a:lnTo>
                  <a:lnTo>
                    <a:pt x="888" y="204"/>
                  </a:lnTo>
                  <a:lnTo>
                    <a:pt x="888" y="198"/>
                  </a:lnTo>
                  <a:lnTo>
                    <a:pt x="888" y="192"/>
                  </a:lnTo>
                  <a:lnTo>
                    <a:pt x="882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82" y="174"/>
                  </a:lnTo>
                  <a:lnTo>
                    <a:pt x="888" y="168"/>
                  </a:lnTo>
                  <a:lnTo>
                    <a:pt x="888" y="162"/>
                  </a:lnTo>
                  <a:lnTo>
                    <a:pt x="888" y="156"/>
                  </a:lnTo>
                  <a:lnTo>
                    <a:pt x="888" y="150"/>
                  </a:lnTo>
                  <a:lnTo>
                    <a:pt x="888" y="144"/>
                  </a:lnTo>
                  <a:lnTo>
                    <a:pt x="882" y="144"/>
                  </a:lnTo>
                  <a:lnTo>
                    <a:pt x="882" y="138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76" y="120"/>
                  </a:lnTo>
                  <a:lnTo>
                    <a:pt x="882" y="114"/>
                  </a:lnTo>
                  <a:lnTo>
                    <a:pt x="882" y="108"/>
                  </a:lnTo>
                  <a:lnTo>
                    <a:pt x="888" y="102"/>
                  </a:lnTo>
                  <a:lnTo>
                    <a:pt x="894" y="102"/>
                  </a:lnTo>
                  <a:lnTo>
                    <a:pt x="894" y="96"/>
                  </a:lnTo>
                  <a:lnTo>
                    <a:pt x="888" y="96"/>
                  </a:lnTo>
                  <a:lnTo>
                    <a:pt x="894" y="90"/>
                  </a:lnTo>
                  <a:lnTo>
                    <a:pt x="888" y="84"/>
                  </a:lnTo>
                  <a:lnTo>
                    <a:pt x="888" y="78"/>
                  </a:lnTo>
                  <a:lnTo>
                    <a:pt x="924" y="66"/>
                  </a:lnTo>
                  <a:lnTo>
                    <a:pt x="966" y="66"/>
                  </a:lnTo>
                  <a:lnTo>
                    <a:pt x="996" y="48"/>
                  </a:lnTo>
                  <a:lnTo>
                    <a:pt x="1056" y="12"/>
                  </a:lnTo>
                  <a:lnTo>
                    <a:pt x="1128" y="0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0" y="18"/>
                  </a:lnTo>
                  <a:lnTo>
                    <a:pt x="1176" y="24"/>
                  </a:lnTo>
                  <a:lnTo>
                    <a:pt x="1182" y="24"/>
                  </a:lnTo>
                  <a:lnTo>
                    <a:pt x="1188" y="30"/>
                  </a:lnTo>
                  <a:lnTo>
                    <a:pt x="1194" y="30"/>
                  </a:lnTo>
                  <a:lnTo>
                    <a:pt x="1194" y="36"/>
                  </a:lnTo>
                  <a:lnTo>
                    <a:pt x="1260" y="30"/>
                  </a:lnTo>
                  <a:lnTo>
                    <a:pt x="1272" y="30"/>
                  </a:lnTo>
                  <a:lnTo>
                    <a:pt x="1296" y="24"/>
                  </a:lnTo>
                  <a:lnTo>
                    <a:pt x="1302" y="30"/>
                  </a:lnTo>
                  <a:lnTo>
                    <a:pt x="1302" y="36"/>
                  </a:lnTo>
                  <a:lnTo>
                    <a:pt x="1308" y="36"/>
                  </a:lnTo>
                  <a:lnTo>
                    <a:pt x="1314" y="36"/>
                  </a:lnTo>
                  <a:lnTo>
                    <a:pt x="1320" y="36"/>
                  </a:lnTo>
                  <a:lnTo>
                    <a:pt x="1326" y="30"/>
                  </a:lnTo>
                  <a:lnTo>
                    <a:pt x="1332" y="30"/>
                  </a:lnTo>
                  <a:lnTo>
                    <a:pt x="1338" y="30"/>
                  </a:lnTo>
                  <a:lnTo>
                    <a:pt x="1344" y="30"/>
                  </a:lnTo>
                  <a:lnTo>
                    <a:pt x="1374" y="30"/>
                  </a:lnTo>
                  <a:lnTo>
                    <a:pt x="1386" y="30"/>
                  </a:lnTo>
                  <a:lnTo>
                    <a:pt x="1392" y="24"/>
                  </a:lnTo>
                  <a:lnTo>
                    <a:pt x="1398" y="12"/>
                  </a:lnTo>
                  <a:lnTo>
                    <a:pt x="1404" y="6"/>
                  </a:lnTo>
                  <a:lnTo>
                    <a:pt x="1410" y="6"/>
                  </a:lnTo>
                  <a:lnTo>
                    <a:pt x="1410" y="12"/>
                  </a:lnTo>
                  <a:lnTo>
                    <a:pt x="1416" y="18"/>
                  </a:lnTo>
                  <a:lnTo>
                    <a:pt x="1416" y="36"/>
                  </a:lnTo>
                  <a:lnTo>
                    <a:pt x="1434" y="54"/>
                  </a:lnTo>
                  <a:lnTo>
                    <a:pt x="1434" y="60"/>
                  </a:lnTo>
                  <a:lnTo>
                    <a:pt x="1434" y="66"/>
                  </a:lnTo>
                  <a:lnTo>
                    <a:pt x="1434" y="72"/>
                  </a:lnTo>
                  <a:lnTo>
                    <a:pt x="1428" y="72"/>
                  </a:lnTo>
                  <a:lnTo>
                    <a:pt x="1428" y="78"/>
                  </a:lnTo>
                  <a:lnTo>
                    <a:pt x="1434" y="78"/>
                  </a:lnTo>
                  <a:lnTo>
                    <a:pt x="1440" y="84"/>
                  </a:lnTo>
                  <a:lnTo>
                    <a:pt x="1440" y="90"/>
                  </a:lnTo>
                  <a:lnTo>
                    <a:pt x="1440" y="96"/>
                  </a:lnTo>
                  <a:lnTo>
                    <a:pt x="1446" y="96"/>
                  </a:lnTo>
                  <a:lnTo>
                    <a:pt x="1446" y="108"/>
                  </a:lnTo>
                  <a:lnTo>
                    <a:pt x="1452" y="108"/>
                  </a:lnTo>
                  <a:lnTo>
                    <a:pt x="1452" y="114"/>
                  </a:lnTo>
                  <a:lnTo>
                    <a:pt x="1458" y="114"/>
                  </a:lnTo>
                  <a:lnTo>
                    <a:pt x="1470" y="120"/>
                  </a:lnTo>
                  <a:lnTo>
                    <a:pt x="1476" y="120"/>
                  </a:lnTo>
                  <a:lnTo>
                    <a:pt x="1476" y="114"/>
                  </a:lnTo>
                  <a:lnTo>
                    <a:pt x="1488" y="120"/>
                  </a:lnTo>
                  <a:lnTo>
                    <a:pt x="1506" y="120"/>
                  </a:lnTo>
                  <a:lnTo>
                    <a:pt x="1512" y="120"/>
                  </a:lnTo>
                  <a:lnTo>
                    <a:pt x="1518" y="120"/>
                  </a:lnTo>
                  <a:lnTo>
                    <a:pt x="1524" y="126"/>
                  </a:lnTo>
                  <a:lnTo>
                    <a:pt x="1536" y="150"/>
                  </a:lnTo>
                  <a:lnTo>
                    <a:pt x="1548" y="162"/>
                  </a:lnTo>
                  <a:lnTo>
                    <a:pt x="1554" y="168"/>
                  </a:lnTo>
                  <a:lnTo>
                    <a:pt x="1584" y="228"/>
                  </a:lnTo>
                  <a:lnTo>
                    <a:pt x="1584" y="234"/>
                  </a:lnTo>
                  <a:lnTo>
                    <a:pt x="1578" y="312"/>
                  </a:lnTo>
                  <a:lnTo>
                    <a:pt x="1590" y="318"/>
                  </a:lnTo>
                  <a:lnTo>
                    <a:pt x="1608" y="330"/>
                  </a:lnTo>
                  <a:lnTo>
                    <a:pt x="1620" y="342"/>
                  </a:lnTo>
                  <a:lnTo>
                    <a:pt x="1626" y="342"/>
                  </a:lnTo>
                  <a:lnTo>
                    <a:pt x="1692" y="360"/>
                  </a:lnTo>
                  <a:lnTo>
                    <a:pt x="1710" y="408"/>
                  </a:lnTo>
                  <a:lnTo>
                    <a:pt x="1722" y="426"/>
                  </a:lnTo>
                  <a:lnTo>
                    <a:pt x="1716" y="468"/>
                  </a:lnTo>
                  <a:lnTo>
                    <a:pt x="1686" y="486"/>
                  </a:lnTo>
                  <a:lnTo>
                    <a:pt x="1686" y="492"/>
                  </a:lnTo>
                  <a:lnTo>
                    <a:pt x="1680" y="498"/>
                  </a:lnTo>
                  <a:lnTo>
                    <a:pt x="1650" y="558"/>
                  </a:lnTo>
                  <a:lnTo>
                    <a:pt x="1650" y="570"/>
                  </a:lnTo>
                  <a:lnTo>
                    <a:pt x="1644" y="570"/>
                  </a:lnTo>
                  <a:lnTo>
                    <a:pt x="1638" y="582"/>
                  </a:lnTo>
                  <a:lnTo>
                    <a:pt x="1638" y="624"/>
                  </a:lnTo>
                  <a:lnTo>
                    <a:pt x="1638" y="636"/>
                  </a:lnTo>
                  <a:lnTo>
                    <a:pt x="1638" y="642"/>
                  </a:lnTo>
                  <a:lnTo>
                    <a:pt x="1632" y="660"/>
                  </a:lnTo>
                  <a:lnTo>
                    <a:pt x="1608" y="678"/>
                  </a:lnTo>
                  <a:lnTo>
                    <a:pt x="1584" y="690"/>
                  </a:lnTo>
                  <a:lnTo>
                    <a:pt x="1584" y="696"/>
                  </a:lnTo>
                  <a:lnTo>
                    <a:pt x="1578" y="702"/>
                  </a:lnTo>
                  <a:lnTo>
                    <a:pt x="1584" y="702"/>
                  </a:lnTo>
                  <a:lnTo>
                    <a:pt x="1578" y="714"/>
                  </a:lnTo>
                  <a:lnTo>
                    <a:pt x="1572" y="714"/>
                  </a:lnTo>
                  <a:lnTo>
                    <a:pt x="1572" y="720"/>
                  </a:lnTo>
                  <a:lnTo>
                    <a:pt x="1566" y="720"/>
                  </a:lnTo>
                  <a:lnTo>
                    <a:pt x="1560" y="726"/>
                  </a:lnTo>
                  <a:lnTo>
                    <a:pt x="1560" y="732"/>
                  </a:lnTo>
                  <a:lnTo>
                    <a:pt x="1554" y="732"/>
                  </a:lnTo>
                  <a:lnTo>
                    <a:pt x="1554" y="738"/>
                  </a:lnTo>
                  <a:lnTo>
                    <a:pt x="1554" y="744"/>
                  </a:lnTo>
                  <a:lnTo>
                    <a:pt x="1548" y="744"/>
                  </a:lnTo>
                  <a:lnTo>
                    <a:pt x="1548" y="738"/>
                  </a:lnTo>
                  <a:lnTo>
                    <a:pt x="1542" y="738"/>
                  </a:lnTo>
                  <a:lnTo>
                    <a:pt x="1542" y="744"/>
                  </a:lnTo>
                  <a:lnTo>
                    <a:pt x="1542" y="750"/>
                  </a:lnTo>
                  <a:lnTo>
                    <a:pt x="1494" y="804"/>
                  </a:lnTo>
                  <a:lnTo>
                    <a:pt x="1446" y="876"/>
                  </a:lnTo>
                  <a:lnTo>
                    <a:pt x="1440" y="876"/>
                  </a:lnTo>
                  <a:lnTo>
                    <a:pt x="1434" y="876"/>
                  </a:lnTo>
                  <a:lnTo>
                    <a:pt x="1428" y="882"/>
                  </a:lnTo>
                  <a:lnTo>
                    <a:pt x="1422" y="882"/>
                  </a:lnTo>
                  <a:lnTo>
                    <a:pt x="1386" y="924"/>
                  </a:lnTo>
                  <a:lnTo>
                    <a:pt x="1362" y="954"/>
                  </a:lnTo>
                  <a:lnTo>
                    <a:pt x="1356" y="984"/>
                  </a:lnTo>
                  <a:lnTo>
                    <a:pt x="1362" y="1002"/>
                  </a:lnTo>
                  <a:lnTo>
                    <a:pt x="1368" y="1020"/>
                  </a:lnTo>
                  <a:lnTo>
                    <a:pt x="1386" y="1056"/>
                  </a:lnTo>
                  <a:lnTo>
                    <a:pt x="1404" y="1074"/>
                  </a:lnTo>
                  <a:lnTo>
                    <a:pt x="1416" y="1080"/>
                  </a:lnTo>
                  <a:lnTo>
                    <a:pt x="1416" y="1086"/>
                  </a:lnTo>
                  <a:lnTo>
                    <a:pt x="1422" y="1098"/>
                  </a:lnTo>
                  <a:lnTo>
                    <a:pt x="1422" y="1110"/>
                  </a:lnTo>
                  <a:lnTo>
                    <a:pt x="1428" y="1116"/>
                  </a:lnTo>
                  <a:lnTo>
                    <a:pt x="1434" y="1116"/>
                  </a:lnTo>
                  <a:lnTo>
                    <a:pt x="1434" y="1122"/>
                  </a:lnTo>
                  <a:lnTo>
                    <a:pt x="1434" y="1128"/>
                  </a:lnTo>
                  <a:lnTo>
                    <a:pt x="1440" y="1134"/>
                  </a:lnTo>
                  <a:lnTo>
                    <a:pt x="1446" y="1134"/>
                  </a:lnTo>
                  <a:lnTo>
                    <a:pt x="1458" y="1134"/>
                  </a:lnTo>
                  <a:lnTo>
                    <a:pt x="1458" y="1140"/>
                  </a:lnTo>
                  <a:lnTo>
                    <a:pt x="1464" y="1134"/>
                  </a:lnTo>
                  <a:lnTo>
                    <a:pt x="1470" y="1134"/>
                  </a:lnTo>
                  <a:lnTo>
                    <a:pt x="1464" y="1128"/>
                  </a:lnTo>
                  <a:lnTo>
                    <a:pt x="1464" y="1122"/>
                  </a:lnTo>
                  <a:lnTo>
                    <a:pt x="1470" y="1116"/>
                  </a:lnTo>
                  <a:lnTo>
                    <a:pt x="1470" y="1122"/>
                  </a:lnTo>
                  <a:lnTo>
                    <a:pt x="1476" y="1122"/>
                  </a:lnTo>
                  <a:lnTo>
                    <a:pt x="1476" y="1116"/>
                  </a:lnTo>
                  <a:lnTo>
                    <a:pt x="1482" y="1110"/>
                  </a:lnTo>
                  <a:lnTo>
                    <a:pt x="1476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82" y="1086"/>
                  </a:lnTo>
                  <a:lnTo>
                    <a:pt x="1482" y="1074"/>
                  </a:lnTo>
                  <a:lnTo>
                    <a:pt x="1488" y="1068"/>
                  </a:lnTo>
                  <a:lnTo>
                    <a:pt x="1488" y="1062"/>
                  </a:lnTo>
                  <a:lnTo>
                    <a:pt x="1494" y="1062"/>
                  </a:lnTo>
                  <a:lnTo>
                    <a:pt x="1500" y="1062"/>
                  </a:lnTo>
                  <a:lnTo>
                    <a:pt x="1506" y="1062"/>
                  </a:lnTo>
                  <a:lnTo>
                    <a:pt x="1506" y="1056"/>
                  </a:lnTo>
                  <a:lnTo>
                    <a:pt x="1506" y="1062"/>
                  </a:lnTo>
                  <a:lnTo>
                    <a:pt x="1518" y="1062"/>
                  </a:lnTo>
                  <a:lnTo>
                    <a:pt x="1524" y="1062"/>
                  </a:lnTo>
                  <a:lnTo>
                    <a:pt x="1530" y="1062"/>
                  </a:lnTo>
                  <a:lnTo>
                    <a:pt x="1536" y="1068"/>
                  </a:lnTo>
                  <a:lnTo>
                    <a:pt x="1536" y="1074"/>
                  </a:lnTo>
                  <a:lnTo>
                    <a:pt x="1542" y="1086"/>
                  </a:lnTo>
                  <a:lnTo>
                    <a:pt x="1548" y="1086"/>
                  </a:lnTo>
                  <a:lnTo>
                    <a:pt x="1554" y="1086"/>
                  </a:lnTo>
                  <a:lnTo>
                    <a:pt x="1566" y="1098"/>
                  </a:lnTo>
                  <a:lnTo>
                    <a:pt x="1572" y="1104"/>
                  </a:lnTo>
                  <a:lnTo>
                    <a:pt x="1566" y="1110"/>
                  </a:lnTo>
                  <a:lnTo>
                    <a:pt x="1572" y="1116"/>
                  </a:lnTo>
                  <a:lnTo>
                    <a:pt x="1578" y="1116"/>
                  </a:lnTo>
                  <a:lnTo>
                    <a:pt x="1578" y="1122"/>
                  </a:lnTo>
                  <a:lnTo>
                    <a:pt x="1584" y="1122"/>
                  </a:lnTo>
                  <a:lnTo>
                    <a:pt x="1584" y="1128"/>
                  </a:lnTo>
                  <a:lnTo>
                    <a:pt x="1584" y="1134"/>
                  </a:lnTo>
                  <a:lnTo>
                    <a:pt x="1590" y="1134"/>
                  </a:lnTo>
                  <a:lnTo>
                    <a:pt x="1596" y="1140"/>
                  </a:lnTo>
                  <a:lnTo>
                    <a:pt x="1602" y="1146"/>
                  </a:lnTo>
                  <a:lnTo>
                    <a:pt x="1608" y="1146"/>
                  </a:lnTo>
                  <a:lnTo>
                    <a:pt x="1614" y="1146"/>
                  </a:lnTo>
                  <a:lnTo>
                    <a:pt x="1614" y="1152"/>
                  </a:lnTo>
                  <a:lnTo>
                    <a:pt x="1620" y="1152"/>
                  </a:lnTo>
                  <a:lnTo>
                    <a:pt x="1626" y="1164"/>
                  </a:lnTo>
                  <a:lnTo>
                    <a:pt x="1632" y="1170"/>
                  </a:lnTo>
                  <a:lnTo>
                    <a:pt x="1638" y="1176"/>
                  </a:lnTo>
                  <a:lnTo>
                    <a:pt x="1638" y="1182"/>
                  </a:lnTo>
                  <a:lnTo>
                    <a:pt x="1644" y="1194"/>
                  </a:lnTo>
                  <a:lnTo>
                    <a:pt x="1644" y="1200"/>
                  </a:lnTo>
                  <a:lnTo>
                    <a:pt x="1638" y="1200"/>
                  </a:lnTo>
                  <a:lnTo>
                    <a:pt x="1638" y="1206"/>
                  </a:lnTo>
                  <a:lnTo>
                    <a:pt x="1638" y="1212"/>
                  </a:lnTo>
                  <a:lnTo>
                    <a:pt x="1638" y="1218"/>
                  </a:lnTo>
                  <a:lnTo>
                    <a:pt x="1632" y="1242"/>
                  </a:lnTo>
                  <a:lnTo>
                    <a:pt x="1632" y="1266"/>
                  </a:lnTo>
                  <a:lnTo>
                    <a:pt x="1638" y="1284"/>
                  </a:lnTo>
                  <a:lnTo>
                    <a:pt x="1638" y="1296"/>
                  </a:lnTo>
                  <a:lnTo>
                    <a:pt x="1632" y="1296"/>
                  </a:lnTo>
                  <a:lnTo>
                    <a:pt x="1632" y="1302"/>
                  </a:lnTo>
                  <a:lnTo>
                    <a:pt x="1638" y="1314"/>
                  </a:lnTo>
                  <a:lnTo>
                    <a:pt x="1638" y="1320"/>
                  </a:lnTo>
                  <a:lnTo>
                    <a:pt x="1632" y="1320"/>
                  </a:lnTo>
                  <a:lnTo>
                    <a:pt x="1632" y="1326"/>
                  </a:lnTo>
                  <a:lnTo>
                    <a:pt x="1644" y="1332"/>
                  </a:lnTo>
                  <a:lnTo>
                    <a:pt x="1644" y="1338"/>
                  </a:lnTo>
                  <a:lnTo>
                    <a:pt x="1650" y="1344"/>
                  </a:lnTo>
                  <a:lnTo>
                    <a:pt x="1668" y="1362"/>
                  </a:lnTo>
                  <a:lnTo>
                    <a:pt x="1668" y="1368"/>
                  </a:lnTo>
                  <a:lnTo>
                    <a:pt x="1674" y="1392"/>
                  </a:lnTo>
                  <a:lnTo>
                    <a:pt x="1686" y="140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2" name="Freeform 17">
              <a:extLst>
                <a:ext uri="{FF2B5EF4-FFF2-40B4-BE49-F238E27FC236}">
                  <a16:creationId xmlns:a16="http://schemas.microsoft.com/office/drawing/2014/main" id="{9F9DF7AF-2203-4CCB-AF1B-32CDAF87CC5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416927"/>
              <a:ext cx="816209" cy="574781"/>
            </a:xfrm>
            <a:custGeom>
              <a:avLst/>
              <a:gdLst>
                <a:gd name="T0" fmla="*/ 115 w 1536"/>
                <a:gd name="T1" fmla="*/ 89 h 1080"/>
                <a:gd name="T2" fmla="*/ 113 w 1536"/>
                <a:gd name="T3" fmla="*/ 92 h 1080"/>
                <a:gd name="T4" fmla="*/ 107 w 1536"/>
                <a:gd name="T5" fmla="*/ 93 h 1080"/>
                <a:gd name="T6" fmla="*/ 108 w 1536"/>
                <a:gd name="T7" fmla="*/ 90 h 1080"/>
                <a:gd name="T8" fmla="*/ 105 w 1536"/>
                <a:gd name="T9" fmla="*/ 87 h 1080"/>
                <a:gd name="T10" fmla="*/ 102 w 1536"/>
                <a:gd name="T11" fmla="*/ 85 h 1080"/>
                <a:gd name="T12" fmla="*/ 89 w 1536"/>
                <a:gd name="T13" fmla="*/ 80 h 1080"/>
                <a:gd name="T14" fmla="*/ 85 w 1536"/>
                <a:gd name="T15" fmla="*/ 82 h 1080"/>
                <a:gd name="T16" fmla="*/ 82 w 1536"/>
                <a:gd name="T17" fmla="*/ 80 h 1080"/>
                <a:gd name="T18" fmla="*/ 80 w 1536"/>
                <a:gd name="T19" fmla="*/ 75 h 1080"/>
                <a:gd name="T20" fmla="*/ 75 w 1536"/>
                <a:gd name="T21" fmla="*/ 72 h 1080"/>
                <a:gd name="T22" fmla="*/ 61 w 1536"/>
                <a:gd name="T23" fmla="*/ 70 h 1080"/>
                <a:gd name="T24" fmla="*/ 62 w 1536"/>
                <a:gd name="T25" fmla="*/ 72 h 1080"/>
                <a:gd name="T26" fmla="*/ 58 w 1536"/>
                <a:gd name="T27" fmla="*/ 75 h 1080"/>
                <a:gd name="T28" fmla="*/ 49 w 1536"/>
                <a:gd name="T29" fmla="*/ 76 h 1080"/>
                <a:gd name="T30" fmla="*/ 41 w 1536"/>
                <a:gd name="T31" fmla="*/ 79 h 1080"/>
                <a:gd name="T32" fmla="*/ 41 w 1536"/>
                <a:gd name="T33" fmla="*/ 77 h 1080"/>
                <a:gd name="T34" fmla="*/ 39 w 1536"/>
                <a:gd name="T35" fmla="*/ 74 h 1080"/>
                <a:gd name="T36" fmla="*/ 28 w 1536"/>
                <a:gd name="T37" fmla="*/ 78 h 1080"/>
                <a:gd name="T38" fmla="*/ 18 w 1536"/>
                <a:gd name="T39" fmla="*/ 85 h 1080"/>
                <a:gd name="T40" fmla="*/ 18 w 1536"/>
                <a:gd name="T41" fmla="*/ 77 h 1080"/>
                <a:gd name="T42" fmla="*/ 19 w 1536"/>
                <a:gd name="T43" fmla="*/ 69 h 1080"/>
                <a:gd name="T44" fmla="*/ 16 w 1536"/>
                <a:gd name="T45" fmla="*/ 69 h 1080"/>
                <a:gd name="T46" fmla="*/ 11 w 1536"/>
                <a:gd name="T47" fmla="*/ 69 h 1080"/>
                <a:gd name="T48" fmla="*/ 5 w 1536"/>
                <a:gd name="T49" fmla="*/ 68 h 1080"/>
                <a:gd name="T50" fmla="*/ 1 w 1536"/>
                <a:gd name="T51" fmla="*/ 63 h 1080"/>
                <a:gd name="T52" fmla="*/ 3 w 1536"/>
                <a:gd name="T53" fmla="*/ 59 h 1080"/>
                <a:gd name="T54" fmla="*/ 9 w 1536"/>
                <a:gd name="T55" fmla="*/ 54 h 1080"/>
                <a:gd name="T56" fmla="*/ 15 w 1536"/>
                <a:gd name="T57" fmla="*/ 47 h 1080"/>
                <a:gd name="T58" fmla="*/ 17 w 1536"/>
                <a:gd name="T59" fmla="*/ 40 h 1080"/>
                <a:gd name="T60" fmla="*/ 12 w 1536"/>
                <a:gd name="T61" fmla="*/ 33 h 1080"/>
                <a:gd name="T62" fmla="*/ 10 w 1536"/>
                <a:gd name="T63" fmla="*/ 21 h 1080"/>
                <a:gd name="T64" fmla="*/ 6 w 1536"/>
                <a:gd name="T65" fmla="*/ 14 h 1080"/>
                <a:gd name="T66" fmla="*/ 7 w 1536"/>
                <a:gd name="T67" fmla="*/ 9 h 1080"/>
                <a:gd name="T68" fmla="*/ 12 w 1536"/>
                <a:gd name="T69" fmla="*/ 7 h 1080"/>
                <a:gd name="T70" fmla="*/ 16 w 1536"/>
                <a:gd name="T71" fmla="*/ 8 h 1080"/>
                <a:gd name="T72" fmla="*/ 19 w 1536"/>
                <a:gd name="T73" fmla="*/ 8 h 1080"/>
                <a:gd name="T74" fmla="*/ 22 w 1536"/>
                <a:gd name="T75" fmla="*/ 9 h 1080"/>
                <a:gd name="T76" fmla="*/ 29 w 1536"/>
                <a:gd name="T77" fmla="*/ 12 h 1080"/>
                <a:gd name="T78" fmla="*/ 33 w 1536"/>
                <a:gd name="T79" fmla="*/ 13 h 1080"/>
                <a:gd name="T80" fmla="*/ 38 w 1536"/>
                <a:gd name="T81" fmla="*/ 15 h 1080"/>
                <a:gd name="T82" fmla="*/ 42 w 1536"/>
                <a:gd name="T83" fmla="*/ 17 h 1080"/>
                <a:gd name="T84" fmla="*/ 47 w 1536"/>
                <a:gd name="T85" fmla="*/ 19 h 1080"/>
                <a:gd name="T86" fmla="*/ 51 w 1536"/>
                <a:gd name="T87" fmla="*/ 21 h 1080"/>
                <a:gd name="T88" fmla="*/ 50 w 1536"/>
                <a:gd name="T89" fmla="*/ 15 h 1080"/>
                <a:gd name="T90" fmla="*/ 56 w 1536"/>
                <a:gd name="T91" fmla="*/ 0 h 1080"/>
                <a:gd name="T92" fmla="*/ 74 w 1536"/>
                <a:gd name="T93" fmla="*/ 5 h 1080"/>
                <a:gd name="T94" fmla="*/ 87 w 1536"/>
                <a:gd name="T95" fmla="*/ 6 h 1080"/>
                <a:gd name="T96" fmla="*/ 92 w 1536"/>
                <a:gd name="T97" fmla="*/ 11 h 1080"/>
                <a:gd name="T98" fmla="*/ 95 w 1536"/>
                <a:gd name="T99" fmla="*/ 15 h 1080"/>
                <a:gd name="T100" fmla="*/ 93 w 1536"/>
                <a:gd name="T101" fmla="*/ 20 h 1080"/>
                <a:gd name="T102" fmla="*/ 108 w 1536"/>
                <a:gd name="T103" fmla="*/ 18 h 1080"/>
                <a:gd name="T104" fmla="*/ 120 w 1536"/>
                <a:gd name="T105" fmla="*/ 21 h 1080"/>
                <a:gd name="T106" fmla="*/ 127 w 1536"/>
                <a:gd name="T107" fmla="*/ 29 h 1080"/>
                <a:gd name="T108" fmla="*/ 130 w 1536"/>
                <a:gd name="T109" fmla="*/ 30 h 1080"/>
                <a:gd name="T110" fmla="*/ 130 w 1536"/>
                <a:gd name="T111" fmla="*/ 49 h 1080"/>
                <a:gd name="T112" fmla="*/ 120 w 1536"/>
                <a:gd name="T113" fmla="*/ 69 h 1080"/>
                <a:gd name="T114" fmla="*/ 119 w 1536"/>
                <a:gd name="T115" fmla="*/ 74 h 1080"/>
                <a:gd name="T116" fmla="*/ 118 w 1536"/>
                <a:gd name="T117" fmla="*/ 80 h 108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536"/>
                <a:gd name="T178" fmla="*/ 0 h 1080"/>
                <a:gd name="T179" fmla="*/ 1536 w 1536"/>
                <a:gd name="T180" fmla="*/ 1080 h 108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536" h="1080">
                  <a:moveTo>
                    <a:pt x="1350" y="1020"/>
                  </a:moveTo>
                  <a:lnTo>
                    <a:pt x="1350" y="1026"/>
                  </a:lnTo>
                  <a:lnTo>
                    <a:pt x="1344" y="1026"/>
                  </a:lnTo>
                  <a:lnTo>
                    <a:pt x="1338" y="1032"/>
                  </a:lnTo>
                  <a:lnTo>
                    <a:pt x="1332" y="1026"/>
                  </a:lnTo>
                  <a:lnTo>
                    <a:pt x="1326" y="1026"/>
                  </a:lnTo>
                  <a:lnTo>
                    <a:pt x="1320" y="1020"/>
                  </a:lnTo>
                  <a:lnTo>
                    <a:pt x="1314" y="1026"/>
                  </a:lnTo>
                  <a:lnTo>
                    <a:pt x="1314" y="1032"/>
                  </a:lnTo>
                  <a:lnTo>
                    <a:pt x="1308" y="1038"/>
                  </a:lnTo>
                  <a:lnTo>
                    <a:pt x="1308" y="1044"/>
                  </a:lnTo>
                  <a:lnTo>
                    <a:pt x="1308" y="1050"/>
                  </a:lnTo>
                  <a:lnTo>
                    <a:pt x="1308" y="1056"/>
                  </a:lnTo>
                  <a:lnTo>
                    <a:pt x="1308" y="1062"/>
                  </a:lnTo>
                  <a:lnTo>
                    <a:pt x="1296" y="1068"/>
                  </a:lnTo>
                  <a:lnTo>
                    <a:pt x="1284" y="1074"/>
                  </a:lnTo>
                  <a:lnTo>
                    <a:pt x="1272" y="1080"/>
                  </a:lnTo>
                  <a:lnTo>
                    <a:pt x="1260" y="1080"/>
                  </a:lnTo>
                  <a:lnTo>
                    <a:pt x="1254" y="1074"/>
                  </a:lnTo>
                  <a:lnTo>
                    <a:pt x="1236" y="1074"/>
                  </a:lnTo>
                  <a:lnTo>
                    <a:pt x="1230" y="1074"/>
                  </a:lnTo>
                  <a:lnTo>
                    <a:pt x="1236" y="1074"/>
                  </a:lnTo>
                  <a:lnTo>
                    <a:pt x="1236" y="1068"/>
                  </a:lnTo>
                  <a:lnTo>
                    <a:pt x="1236" y="1062"/>
                  </a:lnTo>
                  <a:lnTo>
                    <a:pt x="1236" y="1056"/>
                  </a:lnTo>
                  <a:lnTo>
                    <a:pt x="1242" y="1050"/>
                  </a:lnTo>
                  <a:lnTo>
                    <a:pt x="1242" y="1044"/>
                  </a:lnTo>
                  <a:lnTo>
                    <a:pt x="1242" y="1038"/>
                  </a:lnTo>
                  <a:lnTo>
                    <a:pt x="1248" y="1032"/>
                  </a:lnTo>
                  <a:lnTo>
                    <a:pt x="1236" y="1026"/>
                  </a:lnTo>
                  <a:lnTo>
                    <a:pt x="1218" y="1020"/>
                  </a:lnTo>
                  <a:lnTo>
                    <a:pt x="1224" y="1014"/>
                  </a:lnTo>
                  <a:lnTo>
                    <a:pt x="1218" y="1008"/>
                  </a:lnTo>
                  <a:lnTo>
                    <a:pt x="1218" y="1002"/>
                  </a:lnTo>
                  <a:lnTo>
                    <a:pt x="1212" y="1008"/>
                  </a:lnTo>
                  <a:lnTo>
                    <a:pt x="1206" y="1002"/>
                  </a:lnTo>
                  <a:lnTo>
                    <a:pt x="1212" y="1002"/>
                  </a:lnTo>
                  <a:lnTo>
                    <a:pt x="1212" y="996"/>
                  </a:lnTo>
                  <a:lnTo>
                    <a:pt x="1200" y="990"/>
                  </a:lnTo>
                  <a:lnTo>
                    <a:pt x="1200" y="984"/>
                  </a:lnTo>
                  <a:lnTo>
                    <a:pt x="1188" y="984"/>
                  </a:lnTo>
                  <a:lnTo>
                    <a:pt x="1176" y="978"/>
                  </a:lnTo>
                  <a:lnTo>
                    <a:pt x="1164" y="960"/>
                  </a:lnTo>
                  <a:lnTo>
                    <a:pt x="1152" y="936"/>
                  </a:lnTo>
                  <a:lnTo>
                    <a:pt x="1146" y="936"/>
                  </a:lnTo>
                  <a:lnTo>
                    <a:pt x="1128" y="900"/>
                  </a:lnTo>
                  <a:lnTo>
                    <a:pt x="1038" y="912"/>
                  </a:lnTo>
                  <a:lnTo>
                    <a:pt x="1038" y="918"/>
                  </a:lnTo>
                  <a:lnTo>
                    <a:pt x="1032" y="924"/>
                  </a:lnTo>
                  <a:lnTo>
                    <a:pt x="1026" y="918"/>
                  </a:lnTo>
                  <a:lnTo>
                    <a:pt x="1020" y="924"/>
                  </a:lnTo>
                  <a:lnTo>
                    <a:pt x="1008" y="936"/>
                  </a:lnTo>
                  <a:lnTo>
                    <a:pt x="990" y="936"/>
                  </a:lnTo>
                  <a:lnTo>
                    <a:pt x="990" y="942"/>
                  </a:lnTo>
                  <a:lnTo>
                    <a:pt x="996" y="942"/>
                  </a:lnTo>
                  <a:lnTo>
                    <a:pt x="984" y="948"/>
                  </a:lnTo>
                  <a:lnTo>
                    <a:pt x="972" y="948"/>
                  </a:lnTo>
                  <a:lnTo>
                    <a:pt x="960" y="948"/>
                  </a:lnTo>
                  <a:lnTo>
                    <a:pt x="948" y="942"/>
                  </a:lnTo>
                  <a:lnTo>
                    <a:pt x="948" y="936"/>
                  </a:lnTo>
                  <a:lnTo>
                    <a:pt x="942" y="936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30" y="924"/>
                  </a:lnTo>
                  <a:lnTo>
                    <a:pt x="936" y="918"/>
                  </a:lnTo>
                  <a:lnTo>
                    <a:pt x="918" y="918"/>
                  </a:lnTo>
                  <a:lnTo>
                    <a:pt x="918" y="900"/>
                  </a:lnTo>
                  <a:lnTo>
                    <a:pt x="924" y="900"/>
                  </a:lnTo>
                  <a:lnTo>
                    <a:pt x="924" y="894"/>
                  </a:lnTo>
                  <a:lnTo>
                    <a:pt x="924" y="870"/>
                  </a:lnTo>
                  <a:lnTo>
                    <a:pt x="924" y="864"/>
                  </a:lnTo>
                  <a:lnTo>
                    <a:pt x="918" y="858"/>
                  </a:lnTo>
                  <a:lnTo>
                    <a:pt x="918" y="852"/>
                  </a:lnTo>
                  <a:lnTo>
                    <a:pt x="906" y="840"/>
                  </a:lnTo>
                  <a:lnTo>
                    <a:pt x="894" y="834"/>
                  </a:lnTo>
                  <a:lnTo>
                    <a:pt x="876" y="822"/>
                  </a:lnTo>
                  <a:lnTo>
                    <a:pt x="870" y="828"/>
                  </a:lnTo>
                  <a:lnTo>
                    <a:pt x="858" y="816"/>
                  </a:lnTo>
                  <a:lnTo>
                    <a:pt x="810" y="798"/>
                  </a:lnTo>
                  <a:lnTo>
                    <a:pt x="774" y="792"/>
                  </a:lnTo>
                  <a:lnTo>
                    <a:pt x="732" y="798"/>
                  </a:lnTo>
                  <a:lnTo>
                    <a:pt x="726" y="804"/>
                  </a:lnTo>
                  <a:lnTo>
                    <a:pt x="714" y="810"/>
                  </a:lnTo>
                  <a:lnTo>
                    <a:pt x="702" y="810"/>
                  </a:lnTo>
                  <a:lnTo>
                    <a:pt x="690" y="810"/>
                  </a:lnTo>
                  <a:lnTo>
                    <a:pt x="696" y="816"/>
                  </a:lnTo>
                  <a:lnTo>
                    <a:pt x="696" y="822"/>
                  </a:lnTo>
                  <a:lnTo>
                    <a:pt x="702" y="822"/>
                  </a:lnTo>
                  <a:lnTo>
                    <a:pt x="708" y="822"/>
                  </a:lnTo>
                  <a:lnTo>
                    <a:pt x="708" y="828"/>
                  </a:lnTo>
                  <a:lnTo>
                    <a:pt x="708" y="834"/>
                  </a:lnTo>
                  <a:lnTo>
                    <a:pt x="714" y="834"/>
                  </a:lnTo>
                  <a:lnTo>
                    <a:pt x="708" y="846"/>
                  </a:lnTo>
                  <a:lnTo>
                    <a:pt x="708" y="852"/>
                  </a:lnTo>
                  <a:lnTo>
                    <a:pt x="702" y="852"/>
                  </a:lnTo>
                  <a:lnTo>
                    <a:pt x="696" y="858"/>
                  </a:lnTo>
                  <a:lnTo>
                    <a:pt x="690" y="864"/>
                  </a:lnTo>
                  <a:lnTo>
                    <a:pt x="666" y="870"/>
                  </a:lnTo>
                  <a:lnTo>
                    <a:pt x="660" y="876"/>
                  </a:lnTo>
                  <a:lnTo>
                    <a:pt x="642" y="876"/>
                  </a:lnTo>
                  <a:lnTo>
                    <a:pt x="606" y="882"/>
                  </a:lnTo>
                  <a:lnTo>
                    <a:pt x="588" y="882"/>
                  </a:lnTo>
                  <a:lnTo>
                    <a:pt x="582" y="876"/>
                  </a:lnTo>
                  <a:lnTo>
                    <a:pt x="576" y="876"/>
                  </a:lnTo>
                  <a:lnTo>
                    <a:pt x="564" y="876"/>
                  </a:lnTo>
                  <a:lnTo>
                    <a:pt x="552" y="882"/>
                  </a:lnTo>
                  <a:lnTo>
                    <a:pt x="540" y="894"/>
                  </a:lnTo>
                  <a:lnTo>
                    <a:pt x="534" y="906"/>
                  </a:lnTo>
                  <a:lnTo>
                    <a:pt x="528" y="912"/>
                  </a:lnTo>
                  <a:lnTo>
                    <a:pt x="516" y="924"/>
                  </a:lnTo>
                  <a:lnTo>
                    <a:pt x="486" y="930"/>
                  </a:lnTo>
                  <a:lnTo>
                    <a:pt x="474" y="912"/>
                  </a:lnTo>
                  <a:lnTo>
                    <a:pt x="474" y="906"/>
                  </a:lnTo>
                  <a:lnTo>
                    <a:pt x="468" y="906"/>
                  </a:lnTo>
                  <a:lnTo>
                    <a:pt x="468" y="900"/>
                  </a:lnTo>
                  <a:lnTo>
                    <a:pt x="462" y="894"/>
                  </a:lnTo>
                  <a:lnTo>
                    <a:pt x="456" y="894"/>
                  </a:lnTo>
                  <a:lnTo>
                    <a:pt x="462" y="888"/>
                  </a:lnTo>
                  <a:lnTo>
                    <a:pt x="468" y="888"/>
                  </a:lnTo>
                  <a:lnTo>
                    <a:pt x="462" y="882"/>
                  </a:lnTo>
                  <a:lnTo>
                    <a:pt x="462" y="876"/>
                  </a:lnTo>
                  <a:lnTo>
                    <a:pt x="456" y="870"/>
                  </a:lnTo>
                  <a:lnTo>
                    <a:pt x="456" y="864"/>
                  </a:lnTo>
                  <a:lnTo>
                    <a:pt x="450" y="858"/>
                  </a:lnTo>
                  <a:lnTo>
                    <a:pt x="444" y="858"/>
                  </a:lnTo>
                  <a:lnTo>
                    <a:pt x="444" y="852"/>
                  </a:lnTo>
                  <a:lnTo>
                    <a:pt x="438" y="852"/>
                  </a:lnTo>
                  <a:lnTo>
                    <a:pt x="438" y="858"/>
                  </a:lnTo>
                  <a:lnTo>
                    <a:pt x="402" y="870"/>
                  </a:lnTo>
                  <a:lnTo>
                    <a:pt x="390" y="882"/>
                  </a:lnTo>
                  <a:lnTo>
                    <a:pt x="384" y="900"/>
                  </a:lnTo>
                  <a:lnTo>
                    <a:pt x="342" y="900"/>
                  </a:lnTo>
                  <a:lnTo>
                    <a:pt x="324" y="900"/>
                  </a:lnTo>
                  <a:lnTo>
                    <a:pt x="294" y="906"/>
                  </a:lnTo>
                  <a:lnTo>
                    <a:pt x="282" y="948"/>
                  </a:lnTo>
                  <a:lnTo>
                    <a:pt x="282" y="978"/>
                  </a:lnTo>
                  <a:lnTo>
                    <a:pt x="270" y="1008"/>
                  </a:lnTo>
                  <a:lnTo>
                    <a:pt x="240" y="1014"/>
                  </a:lnTo>
                  <a:lnTo>
                    <a:pt x="216" y="996"/>
                  </a:lnTo>
                  <a:lnTo>
                    <a:pt x="204" y="984"/>
                  </a:lnTo>
                  <a:lnTo>
                    <a:pt x="192" y="966"/>
                  </a:lnTo>
                  <a:lnTo>
                    <a:pt x="186" y="948"/>
                  </a:lnTo>
                  <a:lnTo>
                    <a:pt x="174" y="948"/>
                  </a:lnTo>
                  <a:lnTo>
                    <a:pt x="174" y="936"/>
                  </a:lnTo>
                  <a:lnTo>
                    <a:pt x="186" y="924"/>
                  </a:lnTo>
                  <a:lnTo>
                    <a:pt x="198" y="906"/>
                  </a:lnTo>
                  <a:lnTo>
                    <a:pt x="204" y="888"/>
                  </a:lnTo>
                  <a:lnTo>
                    <a:pt x="222" y="870"/>
                  </a:lnTo>
                  <a:lnTo>
                    <a:pt x="234" y="858"/>
                  </a:lnTo>
                  <a:lnTo>
                    <a:pt x="234" y="852"/>
                  </a:lnTo>
                  <a:lnTo>
                    <a:pt x="222" y="852"/>
                  </a:lnTo>
                  <a:lnTo>
                    <a:pt x="228" y="810"/>
                  </a:lnTo>
                  <a:lnTo>
                    <a:pt x="222" y="798"/>
                  </a:lnTo>
                  <a:lnTo>
                    <a:pt x="216" y="798"/>
                  </a:lnTo>
                  <a:lnTo>
                    <a:pt x="216" y="792"/>
                  </a:lnTo>
                  <a:lnTo>
                    <a:pt x="210" y="792"/>
                  </a:lnTo>
                  <a:lnTo>
                    <a:pt x="204" y="798"/>
                  </a:lnTo>
                  <a:lnTo>
                    <a:pt x="204" y="792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0" y="786"/>
                  </a:lnTo>
                  <a:lnTo>
                    <a:pt x="174" y="792"/>
                  </a:lnTo>
                  <a:lnTo>
                    <a:pt x="162" y="792"/>
                  </a:lnTo>
                  <a:lnTo>
                    <a:pt x="156" y="792"/>
                  </a:lnTo>
                  <a:lnTo>
                    <a:pt x="156" y="798"/>
                  </a:lnTo>
                  <a:lnTo>
                    <a:pt x="138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6" y="804"/>
                  </a:lnTo>
                  <a:lnTo>
                    <a:pt x="102" y="810"/>
                  </a:lnTo>
                  <a:lnTo>
                    <a:pt x="90" y="810"/>
                  </a:lnTo>
                  <a:lnTo>
                    <a:pt x="72" y="798"/>
                  </a:lnTo>
                  <a:lnTo>
                    <a:pt x="66" y="780"/>
                  </a:lnTo>
                  <a:lnTo>
                    <a:pt x="60" y="780"/>
                  </a:lnTo>
                  <a:lnTo>
                    <a:pt x="60" y="768"/>
                  </a:lnTo>
                  <a:lnTo>
                    <a:pt x="54" y="768"/>
                  </a:lnTo>
                  <a:lnTo>
                    <a:pt x="24" y="756"/>
                  </a:lnTo>
                  <a:lnTo>
                    <a:pt x="18" y="744"/>
                  </a:lnTo>
                  <a:lnTo>
                    <a:pt x="12" y="738"/>
                  </a:lnTo>
                  <a:lnTo>
                    <a:pt x="18" y="732"/>
                  </a:lnTo>
                  <a:lnTo>
                    <a:pt x="12" y="726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8" y="696"/>
                  </a:lnTo>
                  <a:lnTo>
                    <a:pt x="24" y="708"/>
                  </a:lnTo>
                  <a:lnTo>
                    <a:pt x="36" y="702"/>
                  </a:lnTo>
                  <a:lnTo>
                    <a:pt x="36" y="678"/>
                  </a:lnTo>
                  <a:lnTo>
                    <a:pt x="36" y="660"/>
                  </a:lnTo>
                  <a:lnTo>
                    <a:pt x="42" y="654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72" y="624"/>
                  </a:lnTo>
                  <a:lnTo>
                    <a:pt x="90" y="618"/>
                  </a:lnTo>
                  <a:lnTo>
                    <a:pt x="102" y="618"/>
                  </a:lnTo>
                  <a:lnTo>
                    <a:pt x="114" y="612"/>
                  </a:lnTo>
                  <a:lnTo>
                    <a:pt x="138" y="606"/>
                  </a:lnTo>
                  <a:lnTo>
                    <a:pt x="144" y="606"/>
                  </a:lnTo>
                  <a:lnTo>
                    <a:pt x="150" y="594"/>
                  </a:lnTo>
                  <a:lnTo>
                    <a:pt x="156" y="576"/>
                  </a:lnTo>
                  <a:lnTo>
                    <a:pt x="168" y="552"/>
                  </a:lnTo>
                  <a:lnTo>
                    <a:pt x="168" y="540"/>
                  </a:lnTo>
                  <a:lnTo>
                    <a:pt x="180" y="522"/>
                  </a:lnTo>
                  <a:lnTo>
                    <a:pt x="186" y="498"/>
                  </a:lnTo>
                  <a:lnTo>
                    <a:pt x="198" y="480"/>
                  </a:lnTo>
                  <a:lnTo>
                    <a:pt x="204" y="486"/>
                  </a:lnTo>
                  <a:lnTo>
                    <a:pt x="210" y="480"/>
                  </a:lnTo>
                  <a:lnTo>
                    <a:pt x="204" y="474"/>
                  </a:lnTo>
                  <a:lnTo>
                    <a:pt x="198" y="462"/>
                  </a:lnTo>
                  <a:lnTo>
                    <a:pt x="192" y="456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50"/>
                  </a:lnTo>
                  <a:lnTo>
                    <a:pt x="132" y="426"/>
                  </a:lnTo>
                  <a:lnTo>
                    <a:pt x="132" y="396"/>
                  </a:lnTo>
                  <a:lnTo>
                    <a:pt x="132" y="378"/>
                  </a:lnTo>
                  <a:lnTo>
                    <a:pt x="126" y="348"/>
                  </a:lnTo>
                  <a:lnTo>
                    <a:pt x="132" y="312"/>
                  </a:lnTo>
                  <a:lnTo>
                    <a:pt x="126" y="288"/>
                  </a:lnTo>
                  <a:lnTo>
                    <a:pt x="138" y="282"/>
                  </a:lnTo>
                  <a:lnTo>
                    <a:pt x="126" y="264"/>
                  </a:lnTo>
                  <a:lnTo>
                    <a:pt x="126" y="258"/>
                  </a:lnTo>
                  <a:lnTo>
                    <a:pt x="120" y="246"/>
                  </a:lnTo>
                  <a:lnTo>
                    <a:pt x="126" y="234"/>
                  </a:lnTo>
                  <a:lnTo>
                    <a:pt x="114" y="228"/>
                  </a:lnTo>
                  <a:lnTo>
                    <a:pt x="114" y="222"/>
                  </a:lnTo>
                  <a:lnTo>
                    <a:pt x="96" y="204"/>
                  </a:lnTo>
                  <a:lnTo>
                    <a:pt x="84" y="180"/>
                  </a:lnTo>
                  <a:lnTo>
                    <a:pt x="78" y="168"/>
                  </a:lnTo>
                  <a:lnTo>
                    <a:pt x="72" y="162"/>
                  </a:lnTo>
                  <a:lnTo>
                    <a:pt x="66" y="144"/>
                  </a:lnTo>
                  <a:lnTo>
                    <a:pt x="60" y="138"/>
                  </a:lnTo>
                  <a:lnTo>
                    <a:pt x="66" y="126"/>
                  </a:lnTo>
                  <a:lnTo>
                    <a:pt x="66" y="114"/>
                  </a:lnTo>
                  <a:lnTo>
                    <a:pt x="72" y="114"/>
                  </a:lnTo>
                  <a:lnTo>
                    <a:pt x="72" y="108"/>
                  </a:lnTo>
                  <a:lnTo>
                    <a:pt x="78" y="102"/>
                  </a:lnTo>
                  <a:lnTo>
                    <a:pt x="78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120" y="78"/>
                  </a:lnTo>
                  <a:lnTo>
                    <a:pt x="144" y="84"/>
                  </a:lnTo>
                  <a:lnTo>
                    <a:pt x="150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74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92" y="102"/>
                  </a:lnTo>
                  <a:lnTo>
                    <a:pt x="198" y="96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16" y="96"/>
                  </a:lnTo>
                  <a:lnTo>
                    <a:pt x="222" y="96"/>
                  </a:lnTo>
                  <a:lnTo>
                    <a:pt x="228" y="96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94" y="114"/>
                  </a:lnTo>
                  <a:lnTo>
                    <a:pt x="312" y="120"/>
                  </a:lnTo>
                  <a:lnTo>
                    <a:pt x="318" y="126"/>
                  </a:lnTo>
                  <a:lnTo>
                    <a:pt x="330" y="132"/>
                  </a:lnTo>
                  <a:lnTo>
                    <a:pt x="342" y="132"/>
                  </a:lnTo>
                  <a:lnTo>
                    <a:pt x="348" y="132"/>
                  </a:lnTo>
                  <a:lnTo>
                    <a:pt x="354" y="138"/>
                  </a:lnTo>
                  <a:lnTo>
                    <a:pt x="366" y="138"/>
                  </a:lnTo>
                  <a:lnTo>
                    <a:pt x="372" y="144"/>
                  </a:lnTo>
                  <a:lnTo>
                    <a:pt x="378" y="150"/>
                  </a:lnTo>
                  <a:lnTo>
                    <a:pt x="384" y="150"/>
                  </a:lnTo>
                  <a:lnTo>
                    <a:pt x="390" y="150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14" y="156"/>
                  </a:lnTo>
                  <a:lnTo>
                    <a:pt x="420" y="156"/>
                  </a:lnTo>
                  <a:lnTo>
                    <a:pt x="426" y="162"/>
                  </a:lnTo>
                  <a:lnTo>
                    <a:pt x="438" y="168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62" y="174"/>
                  </a:lnTo>
                  <a:lnTo>
                    <a:pt x="468" y="174"/>
                  </a:lnTo>
                  <a:lnTo>
                    <a:pt x="474" y="174"/>
                  </a:lnTo>
                  <a:lnTo>
                    <a:pt x="474" y="180"/>
                  </a:lnTo>
                  <a:lnTo>
                    <a:pt x="480" y="192"/>
                  </a:lnTo>
                  <a:lnTo>
                    <a:pt x="498" y="198"/>
                  </a:lnTo>
                  <a:lnTo>
                    <a:pt x="510" y="210"/>
                  </a:lnTo>
                  <a:lnTo>
                    <a:pt x="516" y="210"/>
                  </a:lnTo>
                  <a:lnTo>
                    <a:pt x="522" y="210"/>
                  </a:lnTo>
                  <a:lnTo>
                    <a:pt x="534" y="216"/>
                  </a:lnTo>
                  <a:lnTo>
                    <a:pt x="540" y="216"/>
                  </a:lnTo>
                  <a:lnTo>
                    <a:pt x="546" y="222"/>
                  </a:lnTo>
                  <a:lnTo>
                    <a:pt x="552" y="222"/>
                  </a:lnTo>
                  <a:lnTo>
                    <a:pt x="558" y="228"/>
                  </a:lnTo>
                  <a:lnTo>
                    <a:pt x="564" y="228"/>
                  </a:lnTo>
                  <a:lnTo>
                    <a:pt x="570" y="234"/>
                  </a:lnTo>
                  <a:lnTo>
                    <a:pt x="576" y="240"/>
                  </a:lnTo>
                  <a:lnTo>
                    <a:pt x="582" y="240"/>
                  </a:lnTo>
                  <a:lnTo>
                    <a:pt x="588" y="240"/>
                  </a:lnTo>
                  <a:lnTo>
                    <a:pt x="594" y="240"/>
                  </a:lnTo>
                  <a:lnTo>
                    <a:pt x="600" y="228"/>
                  </a:lnTo>
                  <a:lnTo>
                    <a:pt x="588" y="216"/>
                  </a:lnTo>
                  <a:lnTo>
                    <a:pt x="588" y="198"/>
                  </a:lnTo>
                  <a:lnTo>
                    <a:pt x="582" y="198"/>
                  </a:lnTo>
                  <a:lnTo>
                    <a:pt x="588" y="192"/>
                  </a:lnTo>
                  <a:lnTo>
                    <a:pt x="582" y="168"/>
                  </a:lnTo>
                  <a:lnTo>
                    <a:pt x="558" y="114"/>
                  </a:lnTo>
                  <a:lnTo>
                    <a:pt x="552" y="90"/>
                  </a:lnTo>
                  <a:lnTo>
                    <a:pt x="558" y="60"/>
                  </a:lnTo>
                  <a:lnTo>
                    <a:pt x="564" y="48"/>
                  </a:lnTo>
                  <a:lnTo>
                    <a:pt x="582" y="42"/>
                  </a:lnTo>
                  <a:lnTo>
                    <a:pt x="624" y="6"/>
                  </a:lnTo>
                  <a:lnTo>
                    <a:pt x="648" y="0"/>
                  </a:lnTo>
                  <a:lnTo>
                    <a:pt x="678" y="0"/>
                  </a:lnTo>
                  <a:lnTo>
                    <a:pt x="720" y="12"/>
                  </a:lnTo>
                  <a:lnTo>
                    <a:pt x="744" y="24"/>
                  </a:lnTo>
                  <a:lnTo>
                    <a:pt x="768" y="42"/>
                  </a:lnTo>
                  <a:lnTo>
                    <a:pt x="816" y="48"/>
                  </a:lnTo>
                  <a:lnTo>
                    <a:pt x="834" y="48"/>
                  </a:lnTo>
                  <a:lnTo>
                    <a:pt x="852" y="54"/>
                  </a:lnTo>
                  <a:lnTo>
                    <a:pt x="906" y="60"/>
                  </a:lnTo>
                  <a:lnTo>
                    <a:pt x="948" y="54"/>
                  </a:lnTo>
                  <a:lnTo>
                    <a:pt x="978" y="42"/>
                  </a:lnTo>
                  <a:lnTo>
                    <a:pt x="984" y="48"/>
                  </a:lnTo>
                  <a:lnTo>
                    <a:pt x="990" y="60"/>
                  </a:lnTo>
                  <a:lnTo>
                    <a:pt x="996" y="66"/>
                  </a:lnTo>
                  <a:lnTo>
                    <a:pt x="1002" y="72"/>
                  </a:lnTo>
                  <a:lnTo>
                    <a:pt x="1014" y="78"/>
                  </a:lnTo>
                  <a:lnTo>
                    <a:pt x="1014" y="84"/>
                  </a:lnTo>
                  <a:lnTo>
                    <a:pt x="1032" y="84"/>
                  </a:lnTo>
                  <a:lnTo>
                    <a:pt x="1032" y="90"/>
                  </a:lnTo>
                  <a:lnTo>
                    <a:pt x="1032" y="96"/>
                  </a:lnTo>
                  <a:lnTo>
                    <a:pt x="1032" y="108"/>
                  </a:lnTo>
                  <a:lnTo>
                    <a:pt x="1056" y="126"/>
                  </a:lnTo>
                  <a:lnTo>
                    <a:pt x="1068" y="138"/>
                  </a:lnTo>
                  <a:lnTo>
                    <a:pt x="1068" y="156"/>
                  </a:lnTo>
                  <a:lnTo>
                    <a:pt x="1080" y="150"/>
                  </a:lnTo>
                  <a:lnTo>
                    <a:pt x="1086" y="150"/>
                  </a:lnTo>
                  <a:lnTo>
                    <a:pt x="1092" y="156"/>
                  </a:lnTo>
                  <a:lnTo>
                    <a:pt x="1092" y="162"/>
                  </a:lnTo>
                  <a:lnTo>
                    <a:pt x="1092" y="168"/>
                  </a:lnTo>
                  <a:lnTo>
                    <a:pt x="1098" y="168"/>
                  </a:lnTo>
                  <a:lnTo>
                    <a:pt x="1092" y="180"/>
                  </a:lnTo>
                  <a:lnTo>
                    <a:pt x="1092" y="186"/>
                  </a:lnTo>
                  <a:lnTo>
                    <a:pt x="1086" y="192"/>
                  </a:lnTo>
                  <a:lnTo>
                    <a:pt x="1068" y="210"/>
                  </a:lnTo>
                  <a:lnTo>
                    <a:pt x="1068" y="216"/>
                  </a:lnTo>
                  <a:lnTo>
                    <a:pt x="1074" y="228"/>
                  </a:lnTo>
                  <a:lnTo>
                    <a:pt x="1092" y="234"/>
                  </a:lnTo>
                  <a:lnTo>
                    <a:pt x="1122" y="216"/>
                  </a:lnTo>
                  <a:lnTo>
                    <a:pt x="1188" y="204"/>
                  </a:lnTo>
                  <a:lnTo>
                    <a:pt x="1212" y="204"/>
                  </a:lnTo>
                  <a:lnTo>
                    <a:pt x="1230" y="198"/>
                  </a:lnTo>
                  <a:lnTo>
                    <a:pt x="1236" y="204"/>
                  </a:lnTo>
                  <a:lnTo>
                    <a:pt x="1242" y="210"/>
                  </a:lnTo>
                  <a:lnTo>
                    <a:pt x="1242" y="204"/>
                  </a:lnTo>
                  <a:lnTo>
                    <a:pt x="1248" y="198"/>
                  </a:lnTo>
                  <a:lnTo>
                    <a:pt x="1308" y="204"/>
                  </a:lnTo>
                  <a:lnTo>
                    <a:pt x="1338" y="204"/>
                  </a:lnTo>
                  <a:lnTo>
                    <a:pt x="1374" y="228"/>
                  </a:lnTo>
                  <a:lnTo>
                    <a:pt x="1380" y="234"/>
                  </a:lnTo>
                  <a:lnTo>
                    <a:pt x="1380" y="240"/>
                  </a:lnTo>
                  <a:lnTo>
                    <a:pt x="1386" y="252"/>
                  </a:lnTo>
                  <a:lnTo>
                    <a:pt x="1392" y="252"/>
                  </a:lnTo>
                  <a:lnTo>
                    <a:pt x="1416" y="270"/>
                  </a:lnTo>
                  <a:lnTo>
                    <a:pt x="1428" y="294"/>
                  </a:lnTo>
                  <a:lnTo>
                    <a:pt x="1440" y="312"/>
                  </a:lnTo>
                  <a:lnTo>
                    <a:pt x="1452" y="330"/>
                  </a:lnTo>
                  <a:lnTo>
                    <a:pt x="1464" y="330"/>
                  </a:lnTo>
                  <a:lnTo>
                    <a:pt x="1464" y="336"/>
                  </a:lnTo>
                  <a:lnTo>
                    <a:pt x="1470" y="336"/>
                  </a:lnTo>
                  <a:lnTo>
                    <a:pt x="1470" y="342"/>
                  </a:lnTo>
                  <a:lnTo>
                    <a:pt x="1476" y="342"/>
                  </a:lnTo>
                  <a:lnTo>
                    <a:pt x="1488" y="336"/>
                  </a:lnTo>
                  <a:lnTo>
                    <a:pt x="1494" y="342"/>
                  </a:lnTo>
                  <a:lnTo>
                    <a:pt x="1500" y="342"/>
                  </a:lnTo>
                  <a:lnTo>
                    <a:pt x="1512" y="366"/>
                  </a:lnTo>
                  <a:lnTo>
                    <a:pt x="1530" y="396"/>
                  </a:lnTo>
                  <a:lnTo>
                    <a:pt x="1536" y="444"/>
                  </a:lnTo>
                  <a:lnTo>
                    <a:pt x="1530" y="480"/>
                  </a:lnTo>
                  <a:lnTo>
                    <a:pt x="1506" y="510"/>
                  </a:lnTo>
                  <a:lnTo>
                    <a:pt x="1500" y="546"/>
                  </a:lnTo>
                  <a:lnTo>
                    <a:pt x="1494" y="564"/>
                  </a:lnTo>
                  <a:lnTo>
                    <a:pt x="1494" y="576"/>
                  </a:lnTo>
                  <a:lnTo>
                    <a:pt x="1500" y="582"/>
                  </a:lnTo>
                  <a:lnTo>
                    <a:pt x="1494" y="612"/>
                  </a:lnTo>
                  <a:lnTo>
                    <a:pt x="1476" y="630"/>
                  </a:lnTo>
                  <a:lnTo>
                    <a:pt x="1434" y="672"/>
                  </a:lnTo>
                  <a:lnTo>
                    <a:pt x="1392" y="756"/>
                  </a:lnTo>
                  <a:lnTo>
                    <a:pt x="1380" y="792"/>
                  </a:lnTo>
                  <a:lnTo>
                    <a:pt x="1374" y="798"/>
                  </a:lnTo>
                  <a:lnTo>
                    <a:pt x="1368" y="798"/>
                  </a:lnTo>
                  <a:lnTo>
                    <a:pt x="1380" y="804"/>
                  </a:lnTo>
                  <a:lnTo>
                    <a:pt x="1386" y="804"/>
                  </a:lnTo>
                  <a:lnTo>
                    <a:pt x="1380" y="822"/>
                  </a:lnTo>
                  <a:lnTo>
                    <a:pt x="1380" y="852"/>
                  </a:lnTo>
                  <a:lnTo>
                    <a:pt x="1374" y="858"/>
                  </a:lnTo>
                  <a:lnTo>
                    <a:pt x="1380" y="858"/>
                  </a:lnTo>
                  <a:lnTo>
                    <a:pt x="1374" y="864"/>
                  </a:lnTo>
                  <a:lnTo>
                    <a:pt x="1374" y="870"/>
                  </a:lnTo>
                  <a:lnTo>
                    <a:pt x="1374" y="876"/>
                  </a:lnTo>
                  <a:lnTo>
                    <a:pt x="1368" y="900"/>
                  </a:lnTo>
                  <a:lnTo>
                    <a:pt x="1362" y="906"/>
                  </a:lnTo>
                  <a:lnTo>
                    <a:pt x="1362" y="918"/>
                  </a:lnTo>
                  <a:lnTo>
                    <a:pt x="1362" y="924"/>
                  </a:lnTo>
                  <a:lnTo>
                    <a:pt x="1356" y="942"/>
                  </a:lnTo>
                  <a:lnTo>
                    <a:pt x="1350" y="972"/>
                  </a:lnTo>
                  <a:lnTo>
                    <a:pt x="1350" y="1014"/>
                  </a:lnTo>
                  <a:lnTo>
                    <a:pt x="1350" y="1020"/>
                  </a:lnTo>
                  <a:close/>
                </a:path>
              </a:pathLst>
            </a:custGeom>
            <a:solidFill>
              <a:srgbClr val="BFBFBF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3" name="Freeform 18">
              <a:extLst>
                <a:ext uri="{FF2B5EF4-FFF2-40B4-BE49-F238E27FC236}">
                  <a16:creationId xmlns:a16="http://schemas.microsoft.com/office/drawing/2014/main" id="{EC11F2E0-3C06-46E2-8AD2-66EBE00FFE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32346" y="3837389"/>
              <a:ext cx="556811" cy="818559"/>
            </a:xfrm>
            <a:custGeom>
              <a:avLst/>
              <a:gdLst>
                <a:gd name="T0" fmla="*/ 12 w 1044"/>
                <a:gd name="T1" fmla="*/ 95 h 1542"/>
                <a:gd name="T2" fmla="*/ 7 w 1044"/>
                <a:gd name="T3" fmla="*/ 93 h 1542"/>
                <a:gd name="T4" fmla="*/ 0 w 1044"/>
                <a:gd name="T5" fmla="*/ 88 h 1542"/>
                <a:gd name="T6" fmla="*/ 3 w 1044"/>
                <a:gd name="T7" fmla="*/ 74 h 1542"/>
                <a:gd name="T8" fmla="*/ 4 w 1044"/>
                <a:gd name="T9" fmla="*/ 59 h 1542"/>
                <a:gd name="T10" fmla="*/ 7 w 1044"/>
                <a:gd name="T11" fmla="*/ 52 h 1542"/>
                <a:gd name="T12" fmla="*/ 20 w 1044"/>
                <a:gd name="T13" fmla="*/ 50 h 1542"/>
                <a:gd name="T14" fmla="*/ 24 w 1044"/>
                <a:gd name="T15" fmla="*/ 46 h 1542"/>
                <a:gd name="T16" fmla="*/ 29 w 1044"/>
                <a:gd name="T17" fmla="*/ 33 h 1542"/>
                <a:gd name="T18" fmla="*/ 32 w 1044"/>
                <a:gd name="T19" fmla="*/ 26 h 1542"/>
                <a:gd name="T20" fmla="*/ 30 w 1044"/>
                <a:gd name="T21" fmla="*/ 20 h 1542"/>
                <a:gd name="T22" fmla="*/ 26 w 1044"/>
                <a:gd name="T23" fmla="*/ 17 h 1542"/>
                <a:gd name="T24" fmla="*/ 28 w 1044"/>
                <a:gd name="T25" fmla="*/ 12 h 1542"/>
                <a:gd name="T26" fmla="*/ 44 w 1044"/>
                <a:gd name="T27" fmla="*/ 5 h 1542"/>
                <a:gd name="T28" fmla="*/ 57 w 1044"/>
                <a:gd name="T29" fmla="*/ 2 h 1542"/>
                <a:gd name="T30" fmla="*/ 65 w 1044"/>
                <a:gd name="T31" fmla="*/ 12 h 1542"/>
                <a:gd name="T32" fmla="*/ 81 w 1044"/>
                <a:gd name="T33" fmla="*/ 9 h 1542"/>
                <a:gd name="T34" fmla="*/ 91 w 1044"/>
                <a:gd name="T35" fmla="*/ 20 h 1542"/>
                <a:gd name="T36" fmla="*/ 89 w 1044"/>
                <a:gd name="T37" fmla="*/ 28 h 1542"/>
                <a:gd name="T38" fmla="*/ 83 w 1044"/>
                <a:gd name="T39" fmla="*/ 33 h 1542"/>
                <a:gd name="T40" fmla="*/ 74 w 1044"/>
                <a:gd name="T41" fmla="*/ 42 h 1542"/>
                <a:gd name="T42" fmla="*/ 58 w 1044"/>
                <a:gd name="T43" fmla="*/ 57 h 1542"/>
                <a:gd name="T44" fmla="*/ 54 w 1044"/>
                <a:gd name="T45" fmla="*/ 65 h 1542"/>
                <a:gd name="T46" fmla="*/ 59 w 1044"/>
                <a:gd name="T47" fmla="*/ 74 h 1542"/>
                <a:gd name="T48" fmla="*/ 55 w 1044"/>
                <a:gd name="T49" fmla="*/ 84 h 1542"/>
                <a:gd name="T50" fmla="*/ 52 w 1044"/>
                <a:gd name="T51" fmla="*/ 98 h 1542"/>
                <a:gd name="T52" fmla="*/ 47 w 1044"/>
                <a:gd name="T53" fmla="*/ 105 h 1542"/>
                <a:gd name="T54" fmla="*/ 42 w 1044"/>
                <a:gd name="T55" fmla="*/ 111 h 1542"/>
                <a:gd name="T56" fmla="*/ 43 w 1044"/>
                <a:gd name="T57" fmla="*/ 120 h 1542"/>
                <a:gd name="T58" fmla="*/ 45 w 1044"/>
                <a:gd name="T59" fmla="*/ 125 h 1542"/>
                <a:gd name="T60" fmla="*/ 44 w 1044"/>
                <a:gd name="T61" fmla="*/ 130 h 1542"/>
                <a:gd name="T62" fmla="*/ 45 w 1044"/>
                <a:gd name="T63" fmla="*/ 131 h 1542"/>
                <a:gd name="T64" fmla="*/ 48 w 1044"/>
                <a:gd name="T65" fmla="*/ 133 h 1542"/>
                <a:gd name="T66" fmla="*/ 39 w 1044"/>
                <a:gd name="T67" fmla="*/ 133 h 1542"/>
                <a:gd name="T68" fmla="*/ 42 w 1044"/>
                <a:gd name="T69" fmla="*/ 132 h 1542"/>
                <a:gd name="T70" fmla="*/ 38 w 1044"/>
                <a:gd name="T71" fmla="*/ 133 h 1542"/>
                <a:gd name="T72" fmla="*/ 37 w 1044"/>
                <a:gd name="T73" fmla="*/ 129 h 1542"/>
                <a:gd name="T74" fmla="*/ 40 w 1044"/>
                <a:gd name="T75" fmla="*/ 125 h 1542"/>
                <a:gd name="T76" fmla="*/ 40 w 1044"/>
                <a:gd name="T77" fmla="*/ 120 h 1542"/>
                <a:gd name="T78" fmla="*/ 40 w 1044"/>
                <a:gd name="T79" fmla="*/ 117 h 1542"/>
                <a:gd name="T80" fmla="*/ 37 w 1044"/>
                <a:gd name="T81" fmla="*/ 120 h 1542"/>
                <a:gd name="T82" fmla="*/ 34 w 1044"/>
                <a:gd name="T83" fmla="*/ 122 h 1542"/>
                <a:gd name="T84" fmla="*/ 36 w 1044"/>
                <a:gd name="T85" fmla="*/ 120 h 1542"/>
                <a:gd name="T86" fmla="*/ 30 w 1044"/>
                <a:gd name="T87" fmla="*/ 120 h 1542"/>
                <a:gd name="T88" fmla="*/ 31 w 1044"/>
                <a:gd name="T89" fmla="*/ 113 h 1542"/>
                <a:gd name="T90" fmla="*/ 29 w 1044"/>
                <a:gd name="T91" fmla="*/ 112 h 1542"/>
                <a:gd name="T92" fmla="*/ 31 w 1044"/>
                <a:gd name="T93" fmla="*/ 117 h 1542"/>
                <a:gd name="T94" fmla="*/ 27 w 1044"/>
                <a:gd name="T95" fmla="*/ 116 h 1542"/>
                <a:gd name="T96" fmla="*/ 25 w 1044"/>
                <a:gd name="T97" fmla="*/ 112 h 1542"/>
                <a:gd name="T98" fmla="*/ 21 w 1044"/>
                <a:gd name="T99" fmla="*/ 109 h 1542"/>
                <a:gd name="T100" fmla="*/ 21 w 1044"/>
                <a:gd name="T101" fmla="*/ 113 h 1542"/>
                <a:gd name="T102" fmla="*/ 40 w 1044"/>
                <a:gd name="T103" fmla="*/ 120 h 1542"/>
                <a:gd name="T104" fmla="*/ 40 w 1044"/>
                <a:gd name="T105" fmla="*/ 121 h 1542"/>
                <a:gd name="T106" fmla="*/ 40 w 1044"/>
                <a:gd name="T107" fmla="*/ 116 h 1542"/>
                <a:gd name="T108" fmla="*/ 38 w 1044"/>
                <a:gd name="T109" fmla="*/ 120 h 1542"/>
                <a:gd name="T110" fmla="*/ 23 w 1044"/>
                <a:gd name="T111" fmla="*/ 110 h 1542"/>
                <a:gd name="T112" fmla="*/ 37 w 1044"/>
                <a:gd name="T113" fmla="*/ 124 h 1542"/>
                <a:gd name="T114" fmla="*/ 40 w 1044"/>
                <a:gd name="T115" fmla="*/ 125 h 1542"/>
                <a:gd name="T116" fmla="*/ 38 w 1044"/>
                <a:gd name="T117" fmla="*/ 128 h 1542"/>
                <a:gd name="T118" fmla="*/ 25 w 1044"/>
                <a:gd name="T119" fmla="*/ 117 h 1542"/>
                <a:gd name="T120" fmla="*/ 27 w 1044"/>
                <a:gd name="T121" fmla="*/ 127 h 1542"/>
                <a:gd name="T122" fmla="*/ 24 w 1044"/>
                <a:gd name="T123" fmla="*/ 113 h 15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4"/>
                <a:gd name="T187" fmla="*/ 0 h 1542"/>
                <a:gd name="T188" fmla="*/ 1044 w 1044"/>
                <a:gd name="T189" fmla="*/ 1542 h 154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4" h="1542">
                  <a:moveTo>
                    <a:pt x="234" y="1278"/>
                  </a:moveTo>
                  <a:lnTo>
                    <a:pt x="228" y="1272"/>
                  </a:lnTo>
                  <a:lnTo>
                    <a:pt x="222" y="1266"/>
                  </a:lnTo>
                  <a:lnTo>
                    <a:pt x="222" y="1260"/>
                  </a:lnTo>
                  <a:lnTo>
                    <a:pt x="204" y="1248"/>
                  </a:lnTo>
                  <a:lnTo>
                    <a:pt x="192" y="1248"/>
                  </a:lnTo>
                  <a:lnTo>
                    <a:pt x="186" y="1236"/>
                  </a:lnTo>
                  <a:lnTo>
                    <a:pt x="174" y="1218"/>
                  </a:lnTo>
                  <a:lnTo>
                    <a:pt x="162" y="1194"/>
                  </a:lnTo>
                  <a:lnTo>
                    <a:pt x="156" y="1182"/>
                  </a:lnTo>
                  <a:lnTo>
                    <a:pt x="162" y="1146"/>
                  </a:lnTo>
                  <a:lnTo>
                    <a:pt x="156" y="1134"/>
                  </a:lnTo>
                  <a:lnTo>
                    <a:pt x="138" y="1122"/>
                  </a:lnTo>
                  <a:lnTo>
                    <a:pt x="132" y="1116"/>
                  </a:lnTo>
                  <a:lnTo>
                    <a:pt x="138" y="1098"/>
                  </a:lnTo>
                  <a:lnTo>
                    <a:pt x="138" y="1092"/>
                  </a:lnTo>
                  <a:lnTo>
                    <a:pt x="138" y="1086"/>
                  </a:lnTo>
                  <a:lnTo>
                    <a:pt x="132" y="1074"/>
                  </a:lnTo>
                  <a:lnTo>
                    <a:pt x="126" y="1074"/>
                  </a:lnTo>
                  <a:lnTo>
                    <a:pt x="126" y="1068"/>
                  </a:lnTo>
                  <a:lnTo>
                    <a:pt x="120" y="1062"/>
                  </a:lnTo>
                  <a:lnTo>
                    <a:pt x="120" y="1056"/>
                  </a:lnTo>
                  <a:lnTo>
                    <a:pt x="114" y="1050"/>
                  </a:lnTo>
                  <a:lnTo>
                    <a:pt x="108" y="1050"/>
                  </a:lnTo>
                  <a:lnTo>
                    <a:pt x="102" y="1056"/>
                  </a:lnTo>
                  <a:lnTo>
                    <a:pt x="102" y="1062"/>
                  </a:lnTo>
                  <a:lnTo>
                    <a:pt x="96" y="1062"/>
                  </a:lnTo>
                  <a:lnTo>
                    <a:pt x="96" y="1068"/>
                  </a:lnTo>
                  <a:lnTo>
                    <a:pt x="96" y="1074"/>
                  </a:lnTo>
                  <a:lnTo>
                    <a:pt x="90" y="1074"/>
                  </a:lnTo>
                  <a:lnTo>
                    <a:pt x="84" y="1080"/>
                  </a:lnTo>
                  <a:lnTo>
                    <a:pt x="78" y="1074"/>
                  </a:lnTo>
                  <a:lnTo>
                    <a:pt x="72" y="1074"/>
                  </a:lnTo>
                  <a:lnTo>
                    <a:pt x="72" y="1068"/>
                  </a:lnTo>
                  <a:lnTo>
                    <a:pt x="72" y="1062"/>
                  </a:lnTo>
                  <a:lnTo>
                    <a:pt x="60" y="1056"/>
                  </a:lnTo>
                  <a:lnTo>
                    <a:pt x="60" y="1044"/>
                  </a:lnTo>
                  <a:lnTo>
                    <a:pt x="60" y="1032"/>
                  </a:lnTo>
                  <a:lnTo>
                    <a:pt x="60" y="1026"/>
                  </a:lnTo>
                  <a:lnTo>
                    <a:pt x="54" y="1026"/>
                  </a:lnTo>
                  <a:lnTo>
                    <a:pt x="48" y="1014"/>
                  </a:lnTo>
                  <a:lnTo>
                    <a:pt x="42" y="1008"/>
                  </a:lnTo>
                  <a:lnTo>
                    <a:pt x="30" y="1008"/>
                  </a:lnTo>
                  <a:lnTo>
                    <a:pt x="30" y="1002"/>
                  </a:lnTo>
                  <a:lnTo>
                    <a:pt x="24" y="1008"/>
                  </a:lnTo>
                  <a:lnTo>
                    <a:pt x="12" y="1008"/>
                  </a:lnTo>
                  <a:lnTo>
                    <a:pt x="6" y="1008"/>
                  </a:lnTo>
                  <a:lnTo>
                    <a:pt x="0" y="1008"/>
                  </a:lnTo>
                  <a:lnTo>
                    <a:pt x="0" y="1002"/>
                  </a:lnTo>
                  <a:lnTo>
                    <a:pt x="6" y="990"/>
                  </a:lnTo>
                  <a:lnTo>
                    <a:pt x="6" y="984"/>
                  </a:lnTo>
                  <a:lnTo>
                    <a:pt x="0" y="978"/>
                  </a:lnTo>
                  <a:lnTo>
                    <a:pt x="6" y="972"/>
                  </a:lnTo>
                  <a:lnTo>
                    <a:pt x="12" y="972"/>
                  </a:lnTo>
                  <a:lnTo>
                    <a:pt x="72" y="978"/>
                  </a:lnTo>
                  <a:lnTo>
                    <a:pt x="78" y="972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30"/>
                  </a:lnTo>
                  <a:lnTo>
                    <a:pt x="54" y="912"/>
                  </a:lnTo>
                  <a:lnTo>
                    <a:pt x="42" y="906"/>
                  </a:lnTo>
                  <a:lnTo>
                    <a:pt x="36" y="894"/>
                  </a:lnTo>
                  <a:lnTo>
                    <a:pt x="30" y="876"/>
                  </a:lnTo>
                  <a:lnTo>
                    <a:pt x="30" y="858"/>
                  </a:lnTo>
                  <a:lnTo>
                    <a:pt x="30" y="840"/>
                  </a:lnTo>
                  <a:lnTo>
                    <a:pt x="36" y="816"/>
                  </a:lnTo>
                  <a:lnTo>
                    <a:pt x="36" y="792"/>
                  </a:lnTo>
                  <a:lnTo>
                    <a:pt x="36" y="780"/>
                  </a:lnTo>
                  <a:lnTo>
                    <a:pt x="12" y="774"/>
                  </a:lnTo>
                  <a:lnTo>
                    <a:pt x="24" y="756"/>
                  </a:lnTo>
                  <a:lnTo>
                    <a:pt x="24" y="744"/>
                  </a:lnTo>
                  <a:lnTo>
                    <a:pt x="30" y="738"/>
                  </a:lnTo>
                  <a:lnTo>
                    <a:pt x="30" y="732"/>
                  </a:lnTo>
                  <a:lnTo>
                    <a:pt x="36" y="720"/>
                  </a:lnTo>
                  <a:lnTo>
                    <a:pt x="42" y="714"/>
                  </a:lnTo>
                  <a:lnTo>
                    <a:pt x="54" y="708"/>
                  </a:lnTo>
                  <a:lnTo>
                    <a:pt x="60" y="702"/>
                  </a:lnTo>
                  <a:lnTo>
                    <a:pt x="48" y="690"/>
                  </a:lnTo>
                  <a:lnTo>
                    <a:pt x="48" y="684"/>
                  </a:lnTo>
                  <a:lnTo>
                    <a:pt x="48" y="678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66"/>
                  </a:lnTo>
                  <a:lnTo>
                    <a:pt x="72" y="654"/>
                  </a:lnTo>
                  <a:lnTo>
                    <a:pt x="72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84" y="630"/>
                  </a:lnTo>
                  <a:lnTo>
                    <a:pt x="90" y="630"/>
                  </a:lnTo>
                  <a:lnTo>
                    <a:pt x="96" y="630"/>
                  </a:lnTo>
                  <a:lnTo>
                    <a:pt x="96" y="624"/>
                  </a:lnTo>
                  <a:lnTo>
                    <a:pt x="90" y="624"/>
                  </a:lnTo>
                  <a:lnTo>
                    <a:pt x="84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90" y="600"/>
                  </a:lnTo>
                  <a:lnTo>
                    <a:pt x="84" y="600"/>
                  </a:lnTo>
                  <a:lnTo>
                    <a:pt x="78" y="594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126" y="564"/>
                  </a:lnTo>
                  <a:lnTo>
                    <a:pt x="144" y="564"/>
                  </a:lnTo>
                  <a:lnTo>
                    <a:pt x="156" y="582"/>
                  </a:lnTo>
                  <a:lnTo>
                    <a:pt x="162" y="600"/>
                  </a:lnTo>
                  <a:lnTo>
                    <a:pt x="180" y="588"/>
                  </a:lnTo>
                  <a:lnTo>
                    <a:pt x="192" y="588"/>
                  </a:lnTo>
                  <a:lnTo>
                    <a:pt x="198" y="588"/>
                  </a:lnTo>
                  <a:lnTo>
                    <a:pt x="210" y="582"/>
                  </a:lnTo>
                  <a:lnTo>
                    <a:pt x="216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58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46" y="558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58" y="570"/>
                  </a:lnTo>
                  <a:lnTo>
                    <a:pt x="264" y="570"/>
                  </a:lnTo>
                  <a:lnTo>
                    <a:pt x="270" y="564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46"/>
                  </a:lnTo>
                  <a:lnTo>
                    <a:pt x="276" y="540"/>
                  </a:lnTo>
                  <a:lnTo>
                    <a:pt x="276" y="534"/>
                  </a:lnTo>
                  <a:lnTo>
                    <a:pt x="276" y="528"/>
                  </a:lnTo>
                  <a:lnTo>
                    <a:pt x="282" y="528"/>
                  </a:lnTo>
                  <a:lnTo>
                    <a:pt x="282" y="522"/>
                  </a:lnTo>
                  <a:lnTo>
                    <a:pt x="282" y="516"/>
                  </a:lnTo>
                  <a:lnTo>
                    <a:pt x="282" y="510"/>
                  </a:lnTo>
                  <a:lnTo>
                    <a:pt x="282" y="504"/>
                  </a:lnTo>
                  <a:lnTo>
                    <a:pt x="282" y="492"/>
                  </a:lnTo>
                  <a:lnTo>
                    <a:pt x="288" y="486"/>
                  </a:lnTo>
                  <a:lnTo>
                    <a:pt x="300" y="480"/>
                  </a:lnTo>
                  <a:lnTo>
                    <a:pt x="306" y="462"/>
                  </a:lnTo>
                  <a:lnTo>
                    <a:pt x="318" y="444"/>
                  </a:lnTo>
                  <a:lnTo>
                    <a:pt x="330" y="444"/>
                  </a:lnTo>
                  <a:lnTo>
                    <a:pt x="330" y="432"/>
                  </a:lnTo>
                  <a:lnTo>
                    <a:pt x="342" y="432"/>
                  </a:lnTo>
                  <a:lnTo>
                    <a:pt x="354" y="402"/>
                  </a:lnTo>
                  <a:lnTo>
                    <a:pt x="348" y="390"/>
                  </a:lnTo>
                  <a:lnTo>
                    <a:pt x="336" y="384"/>
                  </a:lnTo>
                  <a:lnTo>
                    <a:pt x="336" y="360"/>
                  </a:lnTo>
                  <a:lnTo>
                    <a:pt x="336" y="354"/>
                  </a:lnTo>
                  <a:lnTo>
                    <a:pt x="336" y="342"/>
                  </a:lnTo>
                  <a:lnTo>
                    <a:pt x="342" y="336"/>
                  </a:lnTo>
                  <a:lnTo>
                    <a:pt x="342" y="324"/>
                  </a:lnTo>
                  <a:lnTo>
                    <a:pt x="372" y="324"/>
                  </a:lnTo>
                  <a:lnTo>
                    <a:pt x="378" y="324"/>
                  </a:lnTo>
                  <a:lnTo>
                    <a:pt x="378" y="318"/>
                  </a:lnTo>
                  <a:lnTo>
                    <a:pt x="372" y="312"/>
                  </a:lnTo>
                  <a:lnTo>
                    <a:pt x="378" y="312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84" y="300"/>
                  </a:lnTo>
                  <a:lnTo>
                    <a:pt x="384" y="294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66" y="294"/>
                  </a:lnTo>
                  <a:lnTo>
                    <a:pt x="366" y="288"/>
                  </a:lnTo>
                  <a:lnTo>
                    <a:pt x="372" y="288"/>
                  </a:lnTo>
                  <a:lnTo>
                    <a:pt x="372" y="282"/>
                  </a:lnTo>
                  <a:lnTo>
                    <a:pt x="366" y="276"/>
                  </a:lnTo>
                  <a:lnTo>
                    <a:pt x="360" y="270"/>
                  </a:lnTo>
                  <a:lnTo>
                    <a:pt x="360" y="264"/>
                  </a:lnTo>
                  <a:lnTo>
                    <a:pt x="354" y="264"/>
                  </a:lnTo>
                  <a:lnTo>
                    <a:pt x="348" y="258"/>
                  </a:lnTo>
                  <a:lnTo>
                    <a:pt x="354" y="258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40"/>
                  </a:lnTo>
                  <a:lnTo>
                    <a:pt x="354" y="240"/>
                  </a:lnTo>
                  <a:lnTo>
                    <a:pt x="342" y="234"/>
                  </a:lnTo>
                  <a:lnTo>
                    <a:pt x="342" y="228"/>
                  </a:lnTo>
                  <a:lnTo>
                    <a:pt x="348" y="228"/>
                  </a:lnTo>
                  <a:lnTo>
                    <a:pt x="342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6" y="216"/>
                  </a:lnTo>
                  <a:lnTo>
                    <a:pt x="330" y="222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24" y="210"/>
                  </a:lnTo>
                  <a:lnTo>
                    <a:pt x="318" y="210"/>
                  </a:lnTo>
                  <a:lnTo>
                    <a:pt x="318" y="204"/>
                  </a:lnTo>
                  <a:lnTo>
                    <a:pt x="312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294" y="192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300" y="174"/>
                  </a:lnTo>
                  <a:lnTo>
                    <a:pt x="300" y="168"/>
                  </a:lnTo>
                  <a:lnTo>
                    <a:pt x="300" y="162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88" y="150"/>
                  </a:lnTo>
                  <a:lnTo>
                    <a:pt x="288" y="144"/>
                  </a:lnTo>
                  <a:lnTo>
                    <a:pt x="282" y="144"/>
                  </a:lnTo>
                  <a:lnTo>
                    <a:pt x="282" y="138"/>
                  </a:lnTo>
                  <a:lnTo>
                    <a:pt x="312" y="132"/>
                  </a:lnTo>
                  <a:lnTo>
                    <a:pt x="324" y="120"/>
                  </a:lnTo>
                  <a:lnTo>
                    <a:pt x="330" y="114"/>
                  </a:lnTo>
                  <a:lnTo>
                    <a:pt x="336" y="102"/>
                  </a:lnTo>
                  <a:lnTo>
                    <a:pt x="348" y="90"/>
                  </a:lnTo>
                  <a:lnTo>
                    <a:pt x="360" y="84"/>
                  </a:lnTo>
                  <a:lnTo>
                    <a:pt x="372" y="84"/>
                  </a:lnTo>
                  <a:lnTo>
                    <a:pt x="378" y="84"/>
                  </a:lnTo>
                  <a:lnTo>
                    <a:pt x="384" y="90"/>
                  </a:lnTo>
                  <a:lnTo>
                    <a:pt x="402" y="90"/>
                  </a:lnTo>
                  <a:lnTo>
                    <a:pt x="438" y="84"/>
                  </a:lnTo>
                  <a:lnTo>
                    <a:pt x="456" y="84"/>
                  </a:lnTo>
                  <a:lnTo>
                    <a:pt x="462" y="78"/>
                  </a:lnTo>
                  <a:lnTo>
                    <a:pt x="486" y="72"/>
                  </a:lnTo>
                  <a:lnTo>
                    <a:pt x="492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04" y="54"/>
                  </a:lnTo>
                  <a:lnTo>
                    <a:pt x="510" y="42"/>
                  </a:lnTo>
                  <a:lnTo>
                    <a:pt x="504" y="42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498" y="30"/>
                  </a:lnTo>
                  <a:lnTo>
                    <a:pt x="492" y="30"/>
                  </a:lnTo>
                  <a:lnTo>
                    <a:pt x="492" y="24"/>
                  </a:lnTo>
                  <a:lnTo>
                    <a:pt x="486" y="18"/>
                  </a:lnTo>
                  <a:lnTo>
                    <a:pt x="498" y="18"/>
                  </a:lnTo>
                  <a:lnTo>
                    <a:pt x="510" y="18"/>
                  </a:lnTo>
                  <a:lnTo>
                    <a:pt x="522" y="12"/>
                  </a:lnTo>
                  <a:lnTo>
                    <a:pt x="528" y="6"/>
                  </a:lnTo>
                  <a:lnTo>
                    <a:pt x="570" y="0"/>
                  </a:lnTo>
                  <a:lnTo>
                    <a:pt x="606" y="6"/>
                  </a:lnTo>
                  <a:lnTo>
                    <a:pt x="654" y="24"/>
                  </a:lnTo>
                  <a:lnTo>
                    <a:pt x="666" y="36"/>
                  </a:lnTo>
                  <a:lnTo>
                    <a:pt x="672" y="30"/>
                  </a:lnTo>
                  <a:lnTo>
                    <a:pt x="690" y="42"/>
                  </a:lnTo>
                  <a:lnTo>
                    <a:pt x="702" y="48"/>
                  </a:lnTo>
                  <a:lnTo>
                    <a:pt x="714" y="60"/>
                  </a:lnTo>
                  <a:lnTo>
                    <a:pt x="714" y="66"/>
                  </a:lnTo>
                  <a:lnTo>
                    <a:pt x="720" y="72"/>
                  </a:lnTo>
                  <a:lnTo>
                    <a:pt x="720" y="78"/>
                  </a:lnTo>
                  <a:lnTo>
                    <a:pt x="720" y="102"/>
                  </a:lnTo>
                  <a:lnTo>
                    <a:pt x="720" y="108"/>
                  </a:lnTo>
                  <a:lnTo>
                    <a:pt x="714" y="108"/>
                  </a:lnTo>
                  <a:lnTo>
                    <a:pt x="714" y="126"/>
                  </a:lnTo>
                  <a:lnTo>
                    <a:pt x="732" y="126"/>
                  </a:lnTo>
                  <a:lnTo>
                    <a:pt x="726" y="132"/>
                  </a:lnTo>
                  <a:lnTo>
                    <a:pt x="738" y="132"/>
                  </a:lnTo>
                  <a:lnTo>
                    <a:pt x="738" y="138"/>
                  </a:lnTo>
                  <a:lnTo>
                    <a:pt x="738" y="144"/>
                  </a:lnTo>
                  <a:lnTo>
                    <a:pt x="744" y="144"/>
                  </a:lnTo>
                  <a:lnTo>
                    <a:pt x="744" y="150"/>
                  </a:lnTo>
                  <a:lnTo>
                    <a:pt x="756" y="156"/>
                  </a:lnTo>
                  <a:lnTo>
                    <a:pt x="768" y="156"/>
                  </a:lnTo>
                  <a:lnTo>
                    <a:pt x="780" y="156"/>
                  </a:lnTo>
                  <a:lnTo>
                    <a:pt x="792" y="150"/>
                  </a:lnTo>
                  <a:lnTo>
                    <a:pt x="786" y="150"/>
                  </a:lnTo>
                  <a:lnTo>
                    <a:pt x="786" y="144"/>
                  </a:lnTo>
                  <a:lnTo>
                    <a:pt x="804" y="144"/>
                  </a:lnTo>
                  <a:lnTo>
                    <a:pt x="816" y="132"/>
                  </a:lnTo>
                  <a:lnTo>
                    <a:pt x="822" y="126"/>
                  </a:lnTo>
                  <a:lnTo>
                    <a:pt x="828" y="132"/>
                  </a:lnTo>
                  <a:lnTo>
                    <a:pt x="834" y="126"/>
                  </a:lnTo>
                  <a:lnTo>
                    <a:pt x="834" y="120"/>
                  </a:lnTo>
                  <a:lnTo>
                    <a:pt x="924" y="108"/>
                  </a:lnTo>
                  <a:lnTo>
                    <a:pt x="942" y="144"/>
                  </a:lnTo>
                  <a:lnTo>
                    <a:pt x="948" y="144"/>
                  </a:lnTo>
                  <a:lnTo>
                    <a:pt x="960" y="168"/>
                  </a:lnTo>
                  <a:lnTo>
                    <a:pt x="972" y="186"/>
                  </a:lnTo>
                  <a:lnTo>
                    <a:pt x="984" y="192"/>
                  </a:lnTo>
                  <a:lnTo>
                    <a:pt x="996" y="192"/>
                  </a:lnTo>
                  <a:lnTo>
                    <a:pt x="996" y="198"/>
                  </a:lnTo>
                  <a:lnTo>
                    <a:pt x="1008" y="204"/>
                  </a:lnTo>
                  <a:lnTo>
                    <a:pt x="1008" y="210"/>
                  </a:lnTo>
                  <a:lnTo>
                    <a:pt x="1002" y="210"/>
                  </a:lnTo>
                  <a:lnTo>
                    <a:pt x="1008" y="216"/>
                  </a:lnTo>
                  <a:lnTo>
                    <a:pt x="1014" y="210"/>
                  </a:lnTo>
                  <a:lnTo>
                    <a:pt x="1014" y="216"/>
                  </a:lnTo>
                  <a:lnTo>
                    <a:pt x="1020" y="222"/>
                  </a:lnTo>
                  <a:lnTo>
                    <a:pt x="1014" y="228"/>
                  </a:lnTo>
                  <a:lnTo>
                    <a:pt x="1032" y="234"/>
                  </a:lnTo>
                  <a:lnTo>
                    <a:pt x="1044" y="240"/>
                  </a:lnTo>
                  <a:lnTo>
                    <a:pt x="1038" y="246"/>
                  </a:lnTo>
                  <a:lnTo>
                    <a:pt x="1038" y="252"/>
                  </a:lnTo>
                  <a:lnTo>
                    <a:pt x="1038" y="258"/>
                  </a:lnTo>
                  <a:lnTo>
                    <a:pt x="1032" y="264"/>
                  </a:lnTo>
                  <a:lnTo>
                    <a:pt x="1032" y="270"/>
                  </a:lnTo>
                  <a:lnTo>
                    <a:pt x="1032" y="276"/>
                  </a:lnTo>
                  <a:lnTo>
                    <a:pt x="1032" y="282"/>
                  </a:lnTo>
                  <a:lnTo>
                    <a:pt x="1026" y="282"/>
                  </a:lnTo>
                  <a:lnTo>
                    <a:pt x="1026" y="288"/>
                  </a:lnTo>
                  <a:lnTo>
                    <a:pt x="1026" y="294"/>
                  </a:lnTo>
                  <a:lnTo>
                    <a:pt x="1026" y="300"/>
                  </a:lnTo>
                  <a:lnTo>
                    <a:pt x="1026" y="306"/>
                  </a:lnTo>
                  <a:lnTo>
                    <a:pt x="1020" y="318"/>
                  </a:lnTo>
                  <a:lnTo>
                    <a:pt x="1020" y="324"/>
                  </a:lnTo>
                  <a:lnTo>
                    <a:pt x="1014" y="324"/>
                  </a:lnTo>
                  <a:lnTo>
                    <a:pt x="1014" y="330"/>
                  </a:lnTo>
                  <a:lnTo>
                    <a:pt x="1014" y="336"/>
                  </a:lnTo>
                  <a:lnTo>
                    <a:pt x="1008" y="366"/>
                  </a:lnTo>
                  <a:lnTo>
                    <a:pt x="1002" y="366"/>
                  </a:lnTo>
                  <a:lnTo>
                    <a:pt x="984" y="354"/>
                  </a:lnTo>
                  <a:lnTo>
                    <a:pt x="978" y="354"/>
                  </a:lnTo>
                  <a:lnTo>
                    <a:pt x="972" y="354"/>
                  </a:lnTo>
                  <a:lnTo>
                    <a:pt x="966" y="348"/>
                  </a:lnTo>
                  <a:lnTo>
                    <a:pt x="954" y="348"/>
                  </a:lnTo>
                  <a:lnTo>
                    <a:pt x="948" y="348"/>
                  </a:lnTo>
                  <a:lnTo>
                    <a:pt x="948" y="360"/>
                  </a:lnTo>
                  <a:lnTo>
                    <a:pt x="948" y="366"/>
                  </a:lnTo>
                  <a:lnTo>
                    <a:pt x="948" y="372"/>
                  </a:lnTo>
                  <a:lnTo>
                    <a:pt x="948" y="378"/>
                  </a:lnTo>
                  <a:lnTo>
                    <a:pt x="948" y="384"/>
                  </a:lnTo>
                  <a:lnTo>
                    <a:pt x="942" y="384"/>
                  </a:lnTo>
                  <a:lnTo>
                    <a:pt x="942" y="390"/>
                  </a:lnTo>
                  <a:lnTo>
                    <a:pt x="936" y="390"/>
                  </a:lnTo>
                  <a:lnTo>
                    <a:pt x="942" y="390"/>
                  </a:lnTo>
                  <a:lnTo>
                    <a:pt x="936" y="396"/>
                  </a:lnTo>
                  <a:lnTo>
                    <a:pt x="930" y="402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2" y="432"/>
                  </a:lnTo>
                  <a:lnTo>
                    <a:pt x="900" y="450"/>
                  </a:lnTo>
                  <a:lnTo>
                    <a:pt x="894" y="456"/>
                  </a:lnTo>
                  <a:lnTo>
                    <a:pt x="888" y="456"/>
                  </a:lnTo>
                  <a:lnTo>
                    <a:pt x="882" y="456"/>
                  </a:lnTo>
                  <a:lnTo>
                    <a:pt x="876" y="456"/>
                  </a:lnTo>
                  <a:lnTo>
                    <a:pt x="864" y="462"/>
                  </a:lnTo>
                  <a:lnTo>
                    <a:pt x="852" y="474"/>
                  </a:lnTo>
                  <a:lnTo>
                    <a:pt x="846" y="480"/>
                  </a:lnTo>
                  <a:lnTo>
                    <a:pt x="840" y="486"/>
                  </a:lnTo>
                  <a:lnTo>
                    <a:pt x="834" y="498"/>
                  </a:lnTo>
                  <a:lnTo>
                    <a:pt x="828" y="510"/>
                  </a:lnTo>
                  <a:lnTo>
                    <a:pt x="816" y="522"/>
                  </a:lnTo>
                  <a:lnTo>
                    <a:pt x="798" y="540"/>
                  </a:lnTo>
                  <a:lnTo>
                    <a:pt x="780" y="558"/>
                  </a:lnTo>
                  <a:lnTo>
                    <a:pt x="774" y="558"/>
                  </a:lnTo>
                  <a:lnTo>
                    <a:pt x="756" y="576"/>
                  </a:lnTo>
                  <a:lnTo>
                    <a:pt x="732" y="600"/>
                  </a:lnTo>
                  <a:lnTo>
                    <a:pt x="726" y="600"/>
                  </a:lnTo>
                  <a:lnTo>
                    <a:pt x="720" y="606"/>
                  </a:lnTo>
                  <a:lnTo>
                    <a:pt x="714" y="612"/>
                  </a:lnTo>
                  <a:lnTo>
                    <a:pt x="690" y="630"/>
                  </a:lnTo>
                  <a:lnTo>
                    <a:pt x="678" y="636"/>
                  </a:lnTo>
                  <a:lnTo>
                    <a:pt x="672" y="642"/>
                  </a:lnTo>
                  <a:lnTo>
                    <a:pt x="660" y="660"/>
                  </a:lnTo>
                  <a:lnTo>
                    <a:pt x="642" y="666"/>
                  </a:lnTo>
                  <a:lnTo>
                    <a:pt x="636" y="678"/>
                  </a:lnTo>
                  <a:lnTo>
                    <a:pt x="630" y="678"/>
                  </a:lnTo>
                  <a:lnTo>
                    <a:pt x="630" y="684"/>
                  </a:lnTo>
                  <a:lnTo>
                    <a:pt x="630" y="690"/>
                  </a:lnTo>
                  <a:lnTo>
                    <a:pt x="636" y="696"/>
                  </a:lnTo>
                  <a:lnTo>
                    <a:pt x="642" y="696"/>
                  </a:lnTo>
                  <a:lnTo>
                    <a:pt x="648" y="702"/>
                  </a:lnTo>
                  <a:lnTo>
                    <a:pt x="648" y="708"/>
                  </a:lnTo>
                  <a:lnTo>
                    <a:pt x="642" y="708"/>
                  </a:lnTo>
                  <a:lnTo>
                    <a:pt x="636" y="714"/>
                  </a:lnTo>
                  <a:lnTo>
                    <a:pt x="636" y="720"/>
                  </a:lnTo>
                  <a:lnTo>
                    <a:pt x="642" y="726"/>
                  </a:lnTo>
                  <a:lnTo>
                    <a:pt x="636" y="738"/>
                  </a:lnTo>
                  <a:lnTo>
                    <a:pt x="618" y="756"/>
                  </a:lnTo>
                  <a:lnTo>
                    <a:pt x="612" y="750"/>
                  </a:lnTo>
                  <a:lnTo>
                    <a:pt x="612" y="756"/>
                  </a:lnTo>
                  <a:lnTo>
                    <a:pt x="618" y="762"/>
                  </a:lnTo>
                  <a:lnTo>
                    <a:pt x="618" y="768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36" y="786"/>
                  </a:lnTo>
                  <a:lnTo>
                    <a:pt x="642" y="792"/>
                  </a:lnTo>
                  <a:lnTo>
                    <a:pt x="642" y="798"/>
                  </a:lnTo>
                  <a:lnTo>
                    <a:pt x="648" y="804"/>
                  </a:lnTo>
                  <a:lnTo>
                    <a:pt x="654" y="810"/>
                  </a:lnTo>
                  <a:lnTo>
                    <a:pt x="660" y="816"/>
                  </a:lnTo>
                  <a:lnTo>
                    <a:pt x="666" y="816"/>
                  </a:lnTo>
                  <a:lnTo>
                    <a:pt x="666" y="822"/>
                  </a:lnTo>
                  <a:lnTo>
                    <a:pt x="672" y="828"/>
                  </a:lnTo>
                  <a:lnTo>
                    <a:pt x="672" y="840"/>
                  </a:lnTo>
                  <a:lnTo>
                    <a:pt x="672" y="846"/>
                  </a:lnTo>
                  <a:lnTo>
                    <a:pt x="666" y="852"/>
                  </a:lnTo>
                  <a:lnTo>
                    <a:pt x="660" y="864"/>
                  </a:lnTo>
                  <a:lnTo>
                    <a:pt x="654" y="876"/>
                  </a:lnTo>
                  <a:lnTo>
                    <a:pt x="648" y="882"/>
                  </a:lnTo>
                  <a:lnTo>
                    <a:pt x="642" y="888"/>
                  </a:lnTo>
                  <a:lnTo>
                    <a:pt x="642" y="894"/>
                  </a:lnTo>
                  <a:lnTo>
                    <a:pt x="642" y="906"/>
                  </a:lnTo>
                  <a:lnTo>
                    <a:pt x="630" y="918"/>
                  </a:lnTo>
                  <a:lnTo>
                    <a:pt x="630" y="924"/>
                  </a:lnTo>
                  <a:lnTo>
                    <a:pt x="624" y="930"/>
                  </a:lnTo>
                  <a:lnTo>
                    <a:pt x="630" y="936"/>
                  </a:lnTo>
                  <a:lnTo>
                    <a:pt x="630" y="942"/>
                  </a:lnTo>
                  <a:lnTo>
                    <a:pt x="630" y="948"/>
                  </a:lnTo>
                  <a:lnTo>
                    <a:pt x="630" y="954"/>
                  </a:lnTo>
                  <a:lnTo>
                    <a:pt x="630" y="960"/>
                  </a:lnTo>
                  <a:lnTo>
                    <a:pt x="624" y="966"/>
                  </a:lnTo>
                  <a:lnTo>
                    <a:pt x="618" y="990"/>
                  </a:lnTo>
                  <a:lnTo>
                    <a:pt x="618" y="1008"/>
                  </a:lnTo>
                  <a:lnTo>
                    <a:pt x="612" y="1026"/>
                  </a:lnTo>
                  <a:lnTo>
                    <a:pt x="612" y="1038"/>
                  </a:lnTo>
                  <a:lnTo>
                    <a:pt x="612" y="1050"/>
                  </a:lnTo>
                  <a:lnTo>
                    <a:pt x="612" y="1056"/>
                  </a:lnTo>
                  <a:lnTo>
                    <a:pt x="612" y="1062"/>
                  </a:lnTo>
                  <a:lnTo>
                    <a:pt x="612" y="1068"/>
                  </a:lnTo>
                  <a:lnTo>
                    <a:pt x="612" y="1086"/>
                  </a:lnTo>
                  <a:lnTo>
                    <a:pt x="612" y="1092"/>
                  </a:lnTo>
                  <a:lnTo>
                    <a:pt x="606" y="1098"/>
                  </a:lnTo>
                  <a:lnTo>
                    <a:pt x="600" y="1110"/>
                  </a:lnTo>
                  <a:lnTo>
                    <a:pt x="600" y="1116"/>
                  </a:lnTo>
                  <a:lnTo>
                    <a:pt x="594" y="1122"/>
                  </a:lnTo>
                  <a:lnTo>
                    <a:pt x="594" y="1128"/>
                  </a:lnTo>
                  <a:lnTo>
                    <a:pt x="588" y="1134"/>
                  </a:lnTo>
                  <a:lnTo>
                    <a:pt x="582" y="1140"/>
                  </a:lnTo>
                  <a:lnTo>
                    <a:pt x="570" y="1140"/>
                  </a:lnTo>
                  <a:lnTo>
                    <a:pt x="564" y="1146"/>
                  </a:lnTo>
                  <a:lnTo>
                    <a:pt x="570" y="1146"/>
                  </a:lnTo>
                  <a:lnTo>
                    <a:pt x="564" y="1152"/>
                  </a:lnTo>
                  <a:lnTo>
                    <a:pt x="558" y="1158"/>
                  </a:lnTo>
                  <a:lnTo>
                    <a:pt x="552" y="1164"/>
                  </a:lnTo>
                  <a:lnTo>
                    <a:pt x="552" y="1170"/>
                  </a:lnTo>
                  <a:lnTo>
                    <a:pt x="546" y="1176"/>
                  </a:lnTo>
                  <a:lnTo>
                    <a:pt x="546" y="1182"/>
                  </a:lnTo>
                  <a:lnTo>
                    <a:pt x="546" y="1188"/>
                  </a:lnTo>
                  <a:lnTo>
                    <a:pt x="540" y="1188"/>
                  </a:lnTo>
                  <a:lnTo>
                    <a:pt x="540" y="1194"/>
                  </a:lnTo>
                  <a:lnTo>
                    <a:pt x="528" y="1206"/>
                  </a:lnTo>
                  <a:lnTo>
                    <a:pt x="528" y="1212"/>
                  </a:lnTo>
                  <a:lnTo>
                    <a:pt x="534" y="1212"/>
                  </a:lnTo>
                  <a:lnTo>
                    <a:pt x="540" y="1218"/>
                  </a:lnTo>
                  <a:lnTo>
                    <a:pt x="534" y="1218"/>
                  </a:lnTo>
                  <a:lnTo>
                    <a:pt x="528" y="1218"/>
                  </a:lnTo>
                  <a:lnTo>
                    <a:pt x="528" y="1224"/>
                  </a:lnTo>
                  <a:lnTo>
                    <a:pt x="522" y="1230"/>
                  </a:lnTo>
                  <a:lnTo>
                    <a:pt x="516" y="1236"/>
                  </a:lnTo>
                  <a:lnTo>
                    <a:pt x="522" y="1236"/>
                  </a:lnTo>
                  <a:lnTo>
                    <a:pt x="516" y="1242"/>
                  </a:lnTo>
                  <a:lnTo>
                    <a:pt x="510" y="1242"/>
                  </a:lnTo>
                  <a:lnTo>
                    <a:pt x="504" y="1248"/>
                  </a:lnTo>
                  <a:lnTo>
                    <a:pt x="510" y="1260"/>
                  </a:lnTo>
                  <a:lnTo>
                    <a:pt x="504" y="1266"/>
                  </a:lnTo>
                  <a:lnTo>
                    <a:pt x="492" y="1266"/>
                  </a:lnTo>
                  <a:lnTo>
                    <a:pt x="486" y="1272"/>
                  </a:lnTo>
                  <a:lnTo>
                    <a:pt x="486" y="1278"/>
                  </a:lnTo>
                  <a:lnTo>
                    <a:pt x="480" y="1278"/>
                  </a:lnTo>
                  <a:lnTo>
                    <a:pt x="480" y="1284"/>
                  </a:lnTo>
                  <a:lnTo>
                    <a:pt x="480" y="1290"/>
                  </a:lnTo>
                  <a:lnTo>
                    <a:pt x="480" y="1296"/>
                  </a:lnTo>
                  <a:lnTo>
                    <a:pt x="492" y="1302"/>
                  </a:lnTo>
                  <a:lnTo>
                    <a:pt x="492" y="1308"/>
                  </a:lnTo>
                  <a:lnTo>
                    <a:pt x="492" y="1320"/>
                  </a:lnTo>
                  <a:lnTo>
                    <a:pt x="492" y="1332"/>
                  </a:lnTo>
                  <a:lnTo>
                    <a:pt x="498" y="1344"/>
                  </a:lnTo>
                  <a:lnTo>
                    <a:pt x="498" y="1350"/>
                  </a:lnTo>
                  <a:lnTo>
                    <a:pt x="498" y="1356"/>
                  </a:lnTo>
                  <a:lnTo>
                    <a:pt x="504" y="1362"/>
                  </a:lnTo>
                  <a:lnTo>
                    <a:pt x="498" y="1362"/>
                  </a:lnTo>
                  <a:lnTo>
                    <a:pt x="498" y="1368"/>
                  </a:lnTo>
                  <a:lnTo>
                    <a:pt x="492" y="1368"/>
                  </a:lnTo>
                  <a:lnTo>
                    <a:pt x="492" y="1374"/>
                  </a:lnTo>
                  <a:lnTo>
                    <a:pt x="492" y="1380"/>
                  </a:lnTo>
                  <a:lnTo>
                    <a:pt x="498" y="1380"/>
                  </a:lnTo>
                  <a:lnTo>
                    <a:pt x="504" y="1380"/>
                  </a:lnTo>
                  <a:lnTo>
                    <a:pt x="498" y="1386"/>
                  </a:lnTo>
                  <a:lnTo>
                    <a:pt x="498" y="1392"/>
                  </a:lnTo>
                  <a:lnTo>
                    <a:pt x="498" y="1398"/>
                  </a:lnTo>
                  <a:lnTo>
                    <a:pt x="498" y="1404"/>
                  </a:lnTo>
                  <a:lnTo>
                    <a:pt x="498" y="1410"/>
                  </a:lnTo>
                  <a:lnTo>
                    <a:pt x="498" y="1416"/>
                  </a:lnTo>
                  <a:lnTo>
                    <a:pt x="492" y="1416"/>
                  </a:lnTo>
                  <a:lnTo>
                    <a:pt x="498" y="1416"/>
                  </a:lnTo>
                  <a:lnTo>
                    <a:pt x="504" y="1416"/>
                  </a:lnTo>
                  <a:lnTo>
                    <a:pt x="504" y="1422"/>
                  </a:lnTo>
                  <a:lnTo>
                    <a:pt x="510" y="1428"/>
                  </a:lnTo>
                  <a:lnTo>
                    <a:pt x="510" y="1434"/>
                  </a:lnTo>
                  <a:lnTo>
                    <a:pt x="510" y="1440"/>
                  </a:lnTo>
                  <a:lnTo>
                    <a:pt x="516" y="1446"/>
                  </a:lnTo>
                  <a:lnTo>
                    <a:pt x="516" y="1452"/>
                  </a:lnTo>
                  <a:lnTo>
                    <a:pt x="516" y="1458"/>
                  </a:lnTo>
                  <a:lnTo>
                    <a:pt x="516" y="1464"/>
                  </a:lnTo>
                  <a:lnTo>
                    <a:pt x="516" y="1482"/>
                  </a:lnTo>
                  <a:lnTo>
                    <a:pt x="516" y="1488"/>
                  </a:lnTo>
                  <a:lnTo>
                    <a:pt x="522" y="1488"/>
                  </a:lnTo>
                  <a:lnTo>
                    <a:pt x="522" y="1494"/>
                  </a:lnTo>
                  <a:lnTo>
                    <a:pt x="522" y="1500"/>
                  </a:lnTo>
                  <a:lnTo>
                    <a:pt x="516" y="1506"/>
                  </a:lnTo>
                  <a:lnTo>
                    <a:pt x="510" y="1500"/>
                  </a:lnTo>
                  <a:lnTo>
                    <a:pt x="504" y="1500"/>
                  </a:lnTo>
                  <a:lnTo>
                    <a:pt x="504" y="1494"/>
                  </a:lnTo>
                  <a:lnTo>
                    <a:pt x="504" y="1488"/>
                  </a:lnTo>
                  <a:lnTo>
                    <a:pt x="504" y="1482"/>
                  </a:lnTo>
                  <a:lnTo>
                    <a:pt x="504" y="1488"/>
                  </a:lnTo>
                  <a:lnTo>
                    <a:pt x="504" y="1494"/>
                  </a:lnTo>
                  <a:lnTo>
                    <a:pt x="504" y="1500"/>
                  </a:lnTo>
                  <a:lnTo>
                    <a:pt x="498" y="1500"/>
                  </a:lnTo>
                  <a:lnTo>
                    <a:pt x="492" y="1500"/>
                  </a:lnTo>
                  <a:lnTo>
                    <a:pt x="492" y="1494"/>
                  </a:lnTo>
                  <a:lnTo>
                    <a:pt x="492" y="1488"/>
                  </a:lnTo>
                  <a:lnTo>
                    <a:pt x="492" y="1494"/>
                  </a:lnTo>
                  <a:lnTo>
                    <a:pt x="492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00"/>
                  </a:lnTo>
                  <a:lnTo>
                    <a:pt x="510" y="1500"/>
                  </a:lnTo>
                  <a:lnTo>
                    <a:pt x="510" y="1506"/>
                  </a:lnTo>
                  <a:lnTo>
                    <a:pt x="516" y="1506"/>
                  </a:lnTo>
                  <a:lnTo>
                    <a:pt x="510" y="1506"/>
                  </a:lnTo>
                  <a:lnTo>
                    <a:pt x="510" y="1512"/>
                  </a:lnTo>
                  <a:lnTo>
                    <a:pt x="516" y="1506"/>
                  </a:lnTo>
                  <a:lnTo>
                    <a:pt x="522" y="1506"/>
                  </a:lnTo>
                  <a:lnTo>
                    <a:pt x="528" y="1506"/>
                  </a:lnTo>
                  <a:lnTo>
                    <a:pt x="528" y="1500"/>
                  </a:lnTo>
                  <a:lnTo>
                    <a:pt x="534" y="1500"/>
                  </a:lnTo>
                  <a:lnTo>
                    <a:pt x="534" y="1506"/>
                  </a:lnTo>
                  <a:lnTo>
                    <a:pt x="540" y="1512"/>
                  </a:lnTo>
                  <a:lnTo>
                    <a:pt x="540" y="1518"/>
                  </a:lnTo>
                  <a:lnTo>
                    <a:pt x="546" y="1518"/>
                  </a:lnTo>
                  <a:lnTo>
                    <a:pt x="540" y="1518"/>
                  </a:lnTo>
                  <a:lnTo>
                    <a:pt x="540" y="1524"/>
                  </a:lnTo>
                  <a:lnTo>
                    <a:pt x="534" y="1524"/>
                  </a:lnTo>
                  <a:lnTo>
                    <a:pt x="540" y="1524"/>
                  </a:lnTo>
                  <a:lnTo>
                    <a:pt x="546" y="1524"/>
                  </a:lnTo>
                  <a:lnTo>
                    <a:pt x="546" y="1530"/>
                  </a:lnTo>
                  <a:lnTo>
                    <a:pt x="540" y="1530"/>
                  </a:lnTo>
                  <a:lnTo>
                    <a:pt x="540" y="1536"/>
                  </a:lnTo>
                  <a:lnTo>
                    <a:pt x="534" y="1542"/>
                  </a:lnTo>
                  <a:lnTo>
                    <a:pt x="528" y="1542"/>
                  </a:lnTo>
                  <a:lnTo>
                    <a:pt x="522" y="1542"/>
                  </a:lnTo>
                  <a:lnTo>
                    <a:pt x="516" y="1542"/>
                  </a:lnTo>
                  <a:lnTo>
                    <a:pt x="510" y="1542"/>
                  </a:lnTo>
                  <a:lnTo>
                    <a:pt x="504" y="1542"/>
                  </a:lnTo>
                  <a:lnTo>
                    <a:pt x="492" y="1542"/>
                  </a:lnTo>
                  <a:lnTo>
                    <a:pt x="486" y="1536"/>
                  </a:lnTo>
                  <a:lnTo>
                    <a:pt x="480" y="1536"/>
                  </a:lnTo>
                  <a:lnTo>
                    <a:pt x="468" y="1536"/>
                  </a:lnTo>
                  <a:lnTo>
                    <a:pt x="468" y="1542"/>
                  </a:lnTo>
                  <a:lnTo>
                    <a:pt x="462" y="1542"/>
                  </a:lnTo>
                  <a:lnTo>
                    <a:pt x="456" y="1542"/>
                  </a:lnTo>
                  <a:lnTo>
                    <a:pt x="450" y="1542"/>
                  </a:lnTo>
                  <a:lnTo>
                    <a:pt x="444" y="1542"/>
                  </a:lnTo>
                  <a:lnTo>
                    <a:pt x="444" y="1536"/>
                  </a:lnTo>
                  <a:lnTo>
                    <a:pt x="450" y="1536"/>
                  </a:lnTo>
                  <a:lnTo>
                    <a:pt x="456" y="1536"/>
                  </a:lnTo>
                  <a:lnTo>
                    <a:pt x="450" y="1536"/>
                  </a:lnTo>
                  <a:lnTo>
                    <a:pt x="444" y="1536"/>
                  </a:lnTo>
                  <a:lnTo>
                    <a:pt x="444" y="1530"/>
                  </a:lnTo>
                  <a:lnTo>
                    <a:pt x="450" y="1530"/>
                  </a:lnTo>
                  <a:lnTo>
                    <a:pt x="456" y="1524"/>
                  </a:lnTo>
                  <a:lnTo>
                    <a:pt x="456" y="1518"/>
                  </a:lnTo>
                  <a:lnTo>
                    <a:pt x="462" y="1518"/>
                  </a:lnTo>
                  <a:lnTo>
                    <a:pt x="462" y="1524"/>
                  </a:lnTo>
                  <a:lnTo>
                    <a:pt x="468" y="1524"/>
                  </a:lnTo>
                  <a:lnTo>
                    <a:pt x="474" y="1524"/>
                  </a:lnTo>
                  <a:lnTo>
                    <a:pt x="474" y="1518"/>
                  </a:lnTo>
                  <a:lnTo>
                    <a:pt x="480" y="1518"/>
                  </a:lnTo>
                  <a:lnTo>
                    <a:pt x="474" y="1518"/>
                  </a:lnTo>
                  <a:lnTo>
                    <a:pt x="474" y="1524"/>
                  </a:lnTo>
                  <a:lnTo>
                    <a:pt x="468" y="1524"/>
                  </a:lnTo>
                  <a:lnTo>
                    <a:pt x="462" y="1518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62" y="1512"/>
                  </a:lnTo>
                  <a:lnTo>
                    <a:pt x="462" y="1506"/>
                  </a:lnTo>
                  <a:lnTo>
                    <a:pt x="456" y="1506"/>
                  </a:lnTo>
                  <a:lnTo>
                    <a:pt x="456" y="1512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50" y="1518"/>
                  </a:lnTo>
                  <a:lnTo>
                    <a:pt x="444" y="1518"/>
                  </a:lnTo>
                  <a:lnTo>
                    <a:pt x="444" y="1524"/>
                  </a:lnTo>
                  <a:lnTo>
                    <a:pt x="438" y="1524"/>
                  </a:lnTo>
                  <a:lnTo>
                    <a:pt x="438" y="1530"/>
                  </a:lnTo>
                  <a:lnTo>
                    <a:pt x="432" y="1530"/>
                  </a:lnTo>
                  <a:lnTo>
                    <a:pt x="432" y="1536"/>
                  </a:lnTo>
                  <a:lnTo>
                    <a:pt x="426" y="1530"/>
                  </a:lnTo>
                  <a:lnTo>
                    <a:pt x="420" y="1530"/>
                  </a:lnTo>
                  <a:lnTo>
                    <a:pt x="414" y="1530"/>
                  </a:lnTo>
                  <a:lnTo>
                    <a:pt x="414" y="1524"/>
                  </a:lnTo>
                  <a:lnTo>
                    <a:pt x="408" y="1518"/>
                  </a:lnTo>
                  <a:lnTo>
                    <a:pt x="414" y="1512"/>
                  </a:lnTo>
                  <a:lnTo>
                    <a:pt x="408" y="1512"/>
                  </a:lnTo>
                  <a:lnTo>
                    <a:pt x="408" y="1506"/>
                  </a:lnTo>
                  <a:lnTo>
                    <a:pt x="408" y="1500"/>
                  </a:lnTo>
                  <a:lnTo>
                    <a:pt x="408" y="1494"/>
                  </a:lnTo>
                  <a:lnTo>
                    <a:pt x="408" y="1488"/>
                  </a:lnTo>
                  <a:lnTo>
                    <a:pt x="408" y="1494"/>
                  </a:lnTo>
                  <a:lnTo>
                    <a:pt x="414" y="1494"/>
                  </a:lnTo>
                  <a:lnTo>
                    <a:pt x="420" y="1494"/>
                  </a:lnTo>
                  <a:lnTo>
                    <a:pt x="420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82"/>
                  </a:lnTo>
                  <a:lnTo>
                    <a:pt x="426" y="1476"/>
                  </a:lnTo>
                  <a:lnTo>
                    <a:pt x="432" y="1476"/>
                  </a:lnTo>
                  <a:lnTo>
                    <a:pt x="432" y="1470"/>
                  </a:lnTo>
                  <a:lnTo>
                    <a:pt x="438" y="1470"/>
                  </a:lnTo>
                  <a:lnTo>
                    <a:pt x="444" y="1464"/>
                  </a:lnTo>
                  <a:lnTo>
                    <a:pt x="450" y="1458"/>
                  </a:lnTo>
                  <a:lnTo>
                    <a:pt x="456" y="1458"/>
                  </a:lnTo>
                  <a:lnTo>
                    <a:pt x="462" y="1452"/>
                  </a:lnTo>
                  <a:lnTo>
                    <a:pt x="468" y="1452"/>
                  </a:lnTo>
                  <a:lnTo>
                    <a:pt x="468" y="1446"/>
                  </a:lnTo>
                  <a:lnTo>
                    <a:pt x="462" y="1440"/>
                  </a:lnTo>
                  <a:lnTo>
                    <a:pt x="456" y="1434"/>
                  </a:lnTo>
                  <a:lnTo>
                    <a:pt x="456" y="1428"/>
                  </a:lnTo>
                  <a:lnTo>
                    <a:pt x="456" y="1422"/>
                  </a:lnTo>
                  <a:lnTo>
                    <a:pt x="456" y="1416"/>
                  </a:lnTo>
                  <a:lnTo>
                    <a:pt x="450" y="1410"/>
                  </a:lnTo>
                  <a:lnTo>
                    <a:pt x="444" y="1410"/>
                  </a:lnTo>
                  <a:lnTo>
                    <a:pt x="450" y="1410"/>
                  </a:lnTo>
                  <a:lnTo>
                    <a:pt x="450" y="1404"/>
                  </a:lnTo>
                  <a:lnTo>
                    <a:pt x="456" y="1404"/>
                  </a:lnTo>
                  <a:lnTo>
                    <a:pt x="462" y="1404"/>
                  </a:lnTo>
                  <a:lnTo>
                    <a:pt x="468" y="1398"/>
                  </a:lnTo>
                  <a:lnTo>
                    <a:pt x="462" y="1398"/>
                  </a:lnTo>
                  <a:lnTo>
                    <a:pt x="462" y="1392"/>
                  </a:lnTo>
                  <a:lnTo>
                    <a:pt x="456" y="1392"/>
                  </a:lnTo>
                  <a:lnTo>
                    <a:pt x="456" y="1386"/>
                  </a:lnTo>
                  <a:lnTo>
                    <a:pt x="462" y="1386"/>
                  </a:lnTo>
                  <a:lnTo>
                    <a:pt x="468" y="1386"/>
                  </a:lnTo>
                  <a:lnTo>
                    <a:pt x="474" y="1386"/>
                  </a:lnTo>
                  <a:lnTo>
                    <a:pt x="468" y="1386"/>
                  </a:lnTo>
                  <a:lnTo>
                    <a:pt x="462" y="1386"/>
                  </a:lnTo>
                  <a:lnTo>
                    <a:pt x="456" y="1380"/>
                  </a:lnTo>
                  <a:lnTo>
                    <a:pt x="456" y="1374"/>
                  </a:lnTo>
                  <a:lnTo>
                    <a:pt x="462" y="1374"/>
                  </a:lnTo>
                  <a:lnTo>
                    <a:pt x="462" y="1368"/>
                  </a:lnTo>
                  <a:lnTo>
                    <a:pt x="456" y="1374"/>
                  </a:lnTo>
                  <a:lnTo>
                    <a:pt x="456" y="1368"/>
                  </a:lnTo>
                  <a:lnTo>
                    <a:pt x="456" y="1362"/>
                  </a:lnTo>
                  <a:lnTo>
                    <a:pt x="450" y="1362"/>
                  </a:lnTo>
                  <a:lnTo>
                    <a:pt x="450" y="1356"/>
                  </a:lnTo>
                  <a:lnTo>
                    <a:pt x="450" y="1350"/>
                  </a:lnTo>
                  <a:lnTo>
                    <a:pt x="450" y="1344"/>
                  </a:lnTo>
                  <a:lnTo>
                    <a:pt x="456" y="1344"/>
                  </a:lnTo>
                  <a:lnTo>
                    <a:pt x="456" y="1338"/>
                  </a:lnTo>
                  <a:lnTo>
                    <a:pt x="462" y="1338"/>
                  </a:lnTo>
                  <a:lnTo>
                    <a:pt x="462" y="1332"/>
                  </a:lnTo>
                  <a:lnTo>
                    <a:pt x="456" y="1332"/>
                  </a:lnTo>
                  <a:lnTo>
                    <a:pt x="456" y="1326"/>
                  </a:lnTo>
                  <a:lnTo>
                    <a:pt x="450" y="1326"/>
                  </a:lnTo>
                  <a:lnTo>
                    <a:pt x="444" y="1326"/>
                  </a:lnTo>
                  <a:lnTo>
                    <a:pt x="444" y="1332"/>
                  </a:lnTo>
                  <a:lnTo>
                    <a:pt x="438" y="1332"/>
                  </a:lnTo>
                  <a:lnTo>
                    <a:pt x="438" y="1338"/>
                  </a:lnTo>
                  <a:lnTo>
                    <a:pt x="432" y="1338"/>
                  </a:lnTo>
                  <a:lnTo>
                    <a:pt x="432" y="1344"/>
                  </a:lnTo>
                  <a:lnTo>
                    <a:pt x="432" y="1350"/>
                  </a:lnTo>
                  <a:lnTo>
                    <a:pt x="426" y="1356"/>
                  </a:lnTo>
                  <a:lnTo>
                    <a:pt x="426" y="1368"/>
                  </a:lnTo>
                  <a:lnTo>
                    <a:pt x="426" y="1374"/>
                  </a:lnTo>
                  <a:lnTo>
                    <a:pt x="426" y="1380"/>
                  </a:lnTo>
                  <a:lnTo>
                    <a:pt x="432" y="1386"/>
                  </a:lnTo>
                  <a:lnTo>
                    <a:pt x="432" y="1392"/>
                  </a:lnTo>
                  <a:lnTo>
                    <a:pt x="432" y="1398"/>
                  </a:lnTo>
                  <a:lnTo>
                    <a:pt x="426" y="1398"/>
                  </a:lnTo>
                  <a:lnTo>
                    <a:pt x="420" y="1398"/>
                  </a:lnTo>
                  <a:lnTo>
                    <a:pt x="414" y="1398"/>
                  </a:lnTo>
                  <a:lnTo>
                    <a:pt x="420" y="1398"/>
                  </a:lnTo>
                  <a:lnTo>
                    <a:pt x="414" y="1404"/>
                  </a:lnTo>
                  <a:lnTo>
                    <a:pt x="420" y="1404"/>
                  </a:lnTo>
                  <a:lnTo>
                    <a:pt x="414" y="1404"/>
                  </a:lnTo>
                  <a:lnTo>
                    <a:pt x="408" y="1404"/>
                  </a:lnTo>
                  <a:lnTo>
                    <a:pt x="402" y="1410"/>
                  </a:lnTo>
                  <a:lnTo>
                    <a:pt x="402" y="1404"/>
                  </a:lnTo>
                  <a:lnTo>
                    <a:pt x="396" y="1404"/>
                  </a:lnTo>
                  <a:lnTo>
                    <a:pt x="390" y="1404"/>
                  </a:lnTo>
                  <a:lnTo>
                    <a:pt x="384" y="1404"/>
                  </a:lnTo>
                  <a:lnTo>
                    <a:pt x="384" y="1398"/>
                  </a:lnTo>
                  <a:lnTo>
                    <a:pt x="384" y="1392"/>
                  </a:lnTo>
                  <a:lnTo>
                    <a:pt x="390" y="1392"/>
                  </a:lnTo>
                  <a:lnTo>
                    <a:pt x="390" y="1386"/>
                  </a:lnTo>
                  <a:lnTo>
                    <a:pt x="390" y="1380"/>
                  </a:lnTo>
                  <a:lnTo>
                    <a:pt x="396" y="1380"/>
                  </a:lnTo>
                  <a:lnTo>
                    <a:pt x="402" y="1380"/>
                  </a:lnTo>
                  <a:lnTo>
                    <a:pt x="408" y="1380"/>
                  </a:lnTo>
                  <a:lnTo>
                    <a:pt x="408" y="1374"/>
                  </a:lnTo>
                  <a:lnTo>
                    <a:pt x="414" y="1374"/>
                  </a:lnTo>
                  <a:lnTo>
                    <a:pt x="414" y="1368"/>
                  </a:lnTo>
                  <a:lnTo>
                    <a:pt x="414" y="1362"/>
                  </a:lnTo>
                  <a:lnTo>
                    <a:pt x="414" y="1368"/>
                  </a:lnTo>
                  <a:lnTo>
                    <a:pt x="414" y="1374"/>
                  </a:lnTo>
                  <a:lnTo>
                    <a:pt x="408" y="1374"/>
                  </a:lnTo>
                  <a:lnTo>
                    <a:pt x="402" y="1380"/>
                  </a:lnTo>
                  <a:lnTo>
                    <a:pt x="396" y="1380"/>
                  </a:lnTo>
                  <a:lnTo>
                    <a:pt x="396" y="1374"/>
                  </a:lnTo>
                  <a:lnTo>
                    <a:pt x="390" y="1374"/>
                  </a:lnTo>
                  <a:lnTo>
                    <a:pt x="390" y="1368"/>
                  </a:lnTo>
                  <a:lnTo>
                    <a:pt x="384" y="1368"/>
                  </a:lnTo>
                  <a:lnTo>
                    <a:pt x="384" y="1374"/>
                  </a:lnTo>
                  <a:lnTo>
                    <a:pt x="378" y="1374"/>
                  </a:lnTo>
                  <a:lnTo>
                    <a:pt x="378" y="1380"/>
                  </a:lnTo>
                  <a:lnTo>
                    <a:pt x="372" y="1380"/>
                  </a:lnTo>
                  <a:lnTo>
                    <a:pt x="366" y="1386"/>
                  </a:lnTo>
                  <a:lnTo>
                    <a:pt x="360" y="1386"/>
                  </a:lnTo>
                  <a:lnTo>
                    <a:pt x="354" y="1386"/>
                  </a:lnTo>
                  <a:lnTo>
                    <a:pt x="354" y="1380"/>
                  </a:lnTo>
                  <a:lnTo>
                    <a:pt x="348" y="1380"/>
                  </a:lnTo>
                  <a:lnTo>
                    <a:pt x="342" y="1380"/>
                  </a:lnTo>
                  <a:lnTo>
                    <a:pt x="342" y="1374"/>
                  </a:lnTo>
                  <a:lnTo>
                    <a:pt x="336" y="1368"/>
                  </a:lnTo>
                  <a:lnTo>
                    <a:pt x="342" y="1368"/>
                  </a:lnTo>
                  <a:lnTo>
                    <a:pt x="342" y="1362"/>
                  </a:lnTo>
                  <a:lnTo>
                    <a:pt x="348" y="1362"/>
                  </a:lnTo>
                  <a:lnTo>
                    <a:pt x="354" y="1362"/>
                  </a:lnTo>
                  <a:lnTo>
                    <a:pt x="354" y="1356"/>
                  </a:lnTo>
                  <a:lnTo>
                    <a:pt x="348" y="1356"/>
                  </a:lnTo>
                  <a:lnTo>
                    <a:pt x="348" y="1350"/>
                  </a:lnTo>
                  <a:lnTo>
                    <a:pt x="348" y="1344"/>
                  </a:lnTo>
                  <a:lnTo>
                    <a:pt x="354" y="1338"/>
                  </a:lnTo>
                  <a:lnTo>
                    <a:pt x="354" y="1332"/>
                  </a:lnTo>
                  <a:lnTo>
                    <a:pt x="354" y="1326"/>
                  </a:lnTo>
                  <a:lnTo>
                    <a:pt x="354" y="1320"/>
                  </a:lnTo>
                  <a:lnTo>
                    <a:pt x="354" y="1314"/>
                  </a:lnTo>
                  <a:lnTo>
                    <a:pt x="354" y="1308"/>
                  </a:lnTo>
                  <a:lnTo>
                    <a:pt x="348" y="1308"/>
                  </a:lnTo>
                  <a:lnTo>
                    <a:pt x="348" y="1302"/>
                  </a:lnTo>
                  <a:lnTo>
                    <a:pt x="342" y="1296"/>
                  </a:lnTo>
                  <a:lnTo>
                    <a:pt x="336" y="1296"/>
                  </a:lnTo>
                  <a:lnTo>
                    <a:pt x="336" y="1290"/>
                  </a:lnTo>
                  <a:lnTo>
                    <a:pt x="330" y="1290"/>
                  </a:lnTo>
                  <a:lnTo>
                    <a:pt x="324" y="1290"/>
                  </a:lnTo>
                  <a:lnTo>
                    <a:pt x="324" y="1284"/>
                  </a:lnTo>
                  <a:lnTo>
                    <a:pt x="318" y="1284"/>
                  </a:lnTo>
                  <a:lnTo>
                    <a:pt x="318" y="1278"/>
                  </a:lnTo>
                  <a:lnTo>
                    <a:pt x="312" y="1278"/>
                  </a:lnTo>
                  <a:lnTo>
                    <a:pt x="312" y="1272"/>
                  </a:lnTo>
                  <a:lnTo>
                    <a:pt x="312" y="1278"/>
                  </a:lnTo>
                  <a:lnTo>
                    <a:pt x="318" y="1284"/>
                  </a:lnTo>
                  <a:lnTo>
                    <a:pt x="324" y="1290"/>
                  </a:lnTo>
                  <a:lnTo>
                    <a:pt x="330" y="1290"/>
                  </a:lnTo>
                  <a:lnTo>
                    <a:pt x="330" y="1296"/>
                  </a:lnTo>
                  <a:lnTo>
                    <a:pt x="336" y="1296"/>
                  </a:lnTo>
                  <a:lnTo>
                    <a:pt x="336" y="1302"/>
                  </a:lnTo>
                  <a:lnTo>
                    <a:pt x="342" y="1302"/>
                  </a:lnTo>
                  <a:lnTo>
                    <a:pt x="348" y="1302"/>
                  </a:lnTo>
                  <a:lnTo>
                    <a:pt x="348" y="1308"/>
                  </a:lnTo>
                  <a:lnTo>
                    <a:pt x="348" y="1314"/>
                  </a:lnTo>
                  <a:lnTo>
                    <a:pt x="354" y="1314"/>
                  </a:lnTo>
                  <a:lnTo>
                    <a:pt x="354" y="1320"/>
                  </a:lnTo>
                  <a:lnTo>
                    <a:pt x="354" y="1326"/>
                  </a:lnTo>
                  <a:lnTo>
                    <a:pt x="348" y="1326"/>
                  </a:lnTo>
                  <a:lnTo>
                    <a:pt x="348" y="1332"/>
                  </a:lnTo>
                  <a:lnTo>
                    <a:pt x="348" y="1338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2" y="1350"/>
                  </a:lnTo>
                  <a:lnTo>
                    <a:pt x="336" y="1350"/>
                  </a:lnTo>
                  <a:lnTo>
                    <a:pt x="330" y="1350"/>
                  </a:lnTo>
                  <a:lnTo>
                    <a:pt x="330" y="1356"/>
                  </a:lnTo>
                  <a:lnTo>
                    <a:pt x="330" y="1350"/>
                  </a:lnTo>
                  <a:lnTo>
                    <a:pt x="324" y="1350"/>
                  </a:lnTo>
                  <a:lnTo>
                    <a:pt x="318" y="1344"/>
                  </a:lnTo>
                  <a:lnTo>
                    <a:pt x="318" y="1350"/>
                  </a:lnTo>
                  <a:lnTo>
                    <a:pt x="312" y="1344"/>
                  </a:lnTo>
                  <a:lnTo>
                    <a:pt x="312" y="1338"/>
                  </a:lnTo>
                  <a:lnTo>
                    <a:pt x="306" y="1338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6" y="1326"/>
                  </a:lnTo>
                  <a:lnTo>
                    <a:pt x="306" y="1320"/>
                  </a:lnTo>
                  <a:lnTo>
                    <a:pt x="306" y="1326"/>
                  </a:lnTo>
                  <a:lnTo>
                    <a:pt x="312" y="1326"/>
                  </a:lnTo>
                  <a:lnTo>
                    <a:pt x="312" y="1320"/>
                  </a:lnTo>
                  <a:lnTo>
                    <a:pt x="306" y="1320"/>
                  </a:lnTo>
                  <a:lnTo>
                    <a:pt x="300" y="1320"/>
                  </a:lnTo>
                  <a:lnTo>
                    <a:pt x="294" y="1320"/>
                  </a:lnTo>
                  <a:lnTo>
                    <a:pt x="294" y="1314"/>
                  </a:lnTo>
                  <a:lnTo>
                    <a:pt x="288" y="1314"/>
                  </a:lnTo>
                  <a:lnTo>
                    <a:pt x="288" y="1308"/>
                  </a:lnTo>
                  <a:lnTo>
                    <a:pt x="288" y="1302"/>
                  </a:lnTo>
                  <a:lnTo>
                    <a:pt x="294" y="1302"/>
                  </a:lnTo>
                  <a:lnTo>
                    <a:pt x="294" y="1296"/>
                  </a:lnTo>
                  <a:lnTo>
                    <a:pt x="288" y="1296"/>
                  </a:lnTo>
                  <a:lnTo>
                    <a:pt x="288" y="1290"/>
                  </a:lnTo>
                  <a:lnTo>
                    <a:pt x="288" y="1296"/>
                  </a:lnTo>
                  <a:lnTo>
                    <a:pt x="294" y="1302"/>
                  </a:lnTo>
                  <a:lnTo>
                    <a:pt x="288" y="1302"/>
                  </a:lnTo>
                  <a:lnTo>
                    <a:pt x="282" y="1296"/>
                  </a:lnTo>
                  <a:lnTo>
                    <a:pt x="276" y="1296"/>
                  </a:lnTo>
                  <a:lnTo>
                    <a:pt x="276" y="1290"/>
                  </a:lnTo>
                  <a:lnTo>
                    <a:pt x="270" y="1290"/>
                  </a:lnTo>
                  <a:lnTo>
                    <a:pt x="264" y="1284"/>
                  </a:lnTo>
                  <a:lnTo>
                    <a:pt x="264" y="1278"/>
                  </a:lnTo>
                  <a:lnTo>
                    <a:pt x="264" y="1272"/>
                  </a:lnTo>
                  <a:lnTo>
                    <a:pt x="264" y="1266"/>
                  </a:lnTo>
                  <a:lnTo>
                    <a:pt x="258" y="1266"/>
                  </a:lnTo>
                  <a:lnTo>
                    <a:pt x="252" y="1266"/>
                  </a:lnTo>
                  <a:lnTo>
                    <a:pt x="246" y="1260"/>
                  </a:lnTo>
                  <a:lnTo>
                    <a:pt x="240" y="1254"/>
                  </a:lnTo>
                  <a:lnTo>
                    <a:pt x="240" y="1260"/>
                  </a:lnTo>
                  <a:lnTo>
                    <a:pt x="240" y="1266"/>
                  </a:lnTo>
                  <a:lnTo>
                    <a:pt x="240" y="1272"/>
                  </a:lnTo>
                  <a:lnTo>
                    <a:pt x="246" y="1272"/>
                  </a:lnTo>
                  <a:lnTo>
                    <a:pt x="246" y="1278"/>
                  </a:lnTo>
                  <a:lnTo>
                    <a:pt x="246" y="1284"/>
                  </a:lnTo>
                  <a:lnTo>
                    <a:pt x="252" y="1284"/>
                  </a:lnTo>
                  <a:lnTo>
                    <a:pt x="252" y="1290"/>
                  </a:lnTo>
                  <a:lnTo>
                    <a:pt x="258" y="1296"/>
                  </a:lnTo>
                  <a:lnTo>
                    <a:pt x="264" y="1302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58" y="1314"/>
                  </a:lnTo>
                  <a:lnTo>
                    <a:pt x="258" y="1308"/>
                  </a:lnTo>
                  <a:lnTo>
                    <a:pt x="252" y="1308"/>
                  </a:lnTo>
                  <a:lnTo>
                    <a:pt x="252" y="1302"/>
                  </a:lnTo>
                  <a:lnTo>
                    <a:pt x="246" y="1302"/>
                  </a:lnTo>
                  <a:lnTo>
                    <a:pt x="246" y="1296"/>
                  </a:lnTo>
                  <a:lnTo>
                    <a:pt x="240" y="1296"/>
                  </a:lnTo>
                  <a:lnTo>
                    <a:pt x="240" y="1290"/>
                  </a:lnTo>
                  <a:lnTo>
                    <a:pt x="234" y="1284"/>
                  </a:lnTo>
                  <a:lnTo>
                    <a:pt x="234" y="1278"/>
                  </a:lnTo>
                  <a:close/>
                  <a:moveTo>
                    <a:pt x="444" y="1332"/>
                  </a:moveTo>
                  <a:lnTo>
                    <a:pt x="450" y="1326"/>
                  </a:lnTo>
                  <a:lnTo>
                    <a:pt x="456" y="1326"/>
                  </a:lnTo>
                  <a:lnTo>
                    <a:pt x="456" y="1332"/>
                  </a:lnTo>
                  <a:lnTo>
                    <a:pt x="456" y="1338"/>
                  </a:lnTo>
                  <a:lnTo>
                    <a:pt x="450" y="1338"/>
                  </a:lnTo>
                  <a:lnTo>
                    <a:pt x="444" y="1338"/>
                  </a:lnTo>
                  <a:lnTo>
                    <a:pt x="444" y="1332"/>
                  </a:lnTo>
                  <a:close/>
                  <a:moveTo>
                    <a:pt x="444" y="1368"/>
                  </a:moveTo>
                  <a:lnTo>
                    <a:pt x="456" y="1368"/>
                  </a:lnTo>
                  <a:lnTo>
                    <a:pt x="456" y="1374"/>
                  </a:lnTo>
                  <a:lnTo>
                    <a:pt x="444" y="1374"/>
                  </a:lnTo>
                  <a:lnTo>
                    <a:pt x="444" y="1368"/>
                  </a:lnTo>
                  <a:close/>
                  <a:moveTo>
                    <a:pt x="444" y="1386"/>
                  </a:moveTo>
                  <a:lnTo>
                    <a:pt x="444" y="1380"/>
                  </a:lnTo>
                  <a:lnTo>
                    <a:pt x="444" y="1374"/>
                  </a:lnTo>
                  <a:lnTo>
                    <a:pt x="444" y="1380"/>
                  </a:lnTo>
                  <a:lnTo>
                    <a:pt x="450" y="1380"/>
                  </a:lnTo>
                  <a:lnTo>
                    <a:pt x="456" y="1380"/>
                  </a:lnTo>
                  <a:lnTo>
                    <a:pt x="456" y="1386"/>
                  </a:lnTo>
                  <a:lnTo>
                    <a:pt x="456" y="1392"/>
                  </a:lnTo>
                  <a:lnTo>
                    <a:pt x="462" y="1392"/>
                  </a:lnTo>
                  <a:lnTo>
                    <a:pt x="462" y="1398"/>
                  </a:lnTo>
                  <a:lnTo>
                    <a:pt x="462" y="1404"/>
                  </a:lnTo>
                  <a:lnTo>
                    <a:pt x="456" y="1404"/>
                  </a:lnTo>
                  <a:lnTo>
                    <a:pt x="450" y="1404"/>
                  </a:lnTo>
                  <a:lnTo>
                    <a:pt x="450" y="1398"/>
                  </a:lnTo>
                  <a:lnTo>
                    <a:pt x="444" y="1398"/>
                  </a:lnTo>
                  <a:lnTo>
                    <a:pt x="444" y="1392"/>
                  </a:lnTo>
                  <a:lnTo>
                    <a:pt x="444" y="1386"/>
                  </a:lnTo>
                  <a:close/>
                  <a:moveTo>
                    <a:pt x="438" y="1362"/>
                  </a:moveTo>
                  <a:lnTo>
                    <a:pt x="444" y="1356"/>
                  </a:lnTo>
                  <a:lnTo>
                    <a:pt x="450" y="1356"/>
                  </a:lnTo>
                  <a:lnTo>
                    <a:pt x="450" y="1362"/>
                  </a:lnTo>
                  <a:lnTo>
                    <a:pt x="450" y="1368"/>
                  </a:lnTo>
                  <a:lnTo>
                    <a:pt x="444" y="1368"/>
                  </a:lnTo>
                  <a:lnTo>
                    <a:pt x="444" y="1362"/>
                  </a:lnTo>
                  <a:lnTo>
                    <a:pt x="438" y="1362"/>
                  </a:lnTo>
                  <a:close/>
                  <a:moveTo>
                    <a:pt x="438" y="1350"/>
                  </a:moveTo>
                  <a:lnTo>
                    <a:pt x="438" y="1344"/>
                  </a:lnTo>
                  <a:lnTo>
                    <a:pt x="438" y="1338"/>
                  </a:lnTo>
                  <a:lnTo>
                    <a:pt x="444" y="1338"/>
                  </a:lnTo>
                  <a:lnTo>
                    <a:pt x="450" y="1338"/>
                  </a:lnTo>
                  <a:lnTo>
                    <a:pt x="456" y="1338"/>
                  </a:lnTo>
                  <a:lnTo>
                    <a:pt x="450" y="1344"/>
                  </a:lnTo>
                  <a:lnTo>
                    <a:pt x="444" y="1350"/>
                  </a:lnTo>
                  <a:lnTo>
                    <a:pt x="438" y="1350"/>
                  </a:lnTo>
                  <a:close/>
                  <a:moveTo>
                    <a:pt x="432" y="1380"/>
                  </a:moveTo>
                  <a:lnTo>
                    <a:pt x="432" y="1368"/>
                  </a:lnTo>
                  <a:lnTo>
                    <a:pt x="432" y="1362"/>
                  </a:lnTo>
                  <a:lnTo>
                    <a:pt x="432" y="1356"/>
                  </a:lnTo>
                  <a:lnTo>
                    <a:pt x="438" y="1356"/>
                  </a:lnTo>
                  <a:lnTo>
                    <a:pt x="438" y="1362"/>
                  </a:lnTo>
                  <a:lnTo>
                    <a:pt x="438" y="1368"/>
                  </a:lnTo>
                  <a:lnTo>
                    <a:pt x="438" y="1374"/>
                  </a:lnTo>
                  <a:lnTo>
                    <a:pt x="438" y="1380"/>
                  </a:lnTo>
                  <a:lnTo>
                    <a:pt x="438" y="1386"/>
                  </a:lnTo>
                  <a:lnTo>
                    <a:pt x="438" y="1380"/>
                  </a:lnTo>
                  <a:lnTo>
                    <a:pt x="432" y="1380"/>
                  </a:lnTo>
                  <a:close/>
                  <a:moveTo>
                    <a:pt x="246" y="1272"/>
                  </a:moveTo>
                  <a:lnTo>
                    <a:pt x="252" y="1272"/>
                  </a:lnTo>
                  <a:lnTo>
                    <a:pt x="252" y="1278"/>
                  </a:lnTo>
                  <a:lnTo>
                    <a:pt x="246" y="1278"/>
                  </a:lnTo>
                  <a:lnTo>
                    <a:pt x="246" y="1272"/>
                  </a:lnTo>
                  <a:close/>
                  <a:moveTo>
                    <a:pt x="426" y="1416"/>
                  </a:moveTo>
                  <a:lnTo>
                    <a:pt x="432" y="1410"/>
                  </a:lnTo>
                  <a:lnTo>
                    <a:pt x="438" y="1410"/>
                  </a:lnTo>
                  <a:lnTo>
                    <a:pt x="438" y="1416"/>
                  </a:lnTo>
                  <a:lnTo>
                    <a:pt x="438" y="1422"/>
                  </a:lnTo>
                  <a:lnTo>
                    <a:pt x="432" y="1422"/>
                  </a:lnTo>
                  <a:lnTo>
                    <a:pt x="426" y="1422"/>
                  </a:lnTo>
                  <a:lnTo>
                    <a:pt x="426" y="1416"/>
                  </a:lnTo>
                  <a:close/>
                  <a:moveTo>
                    <a:pt x="246" y="1266"/>
                  </a:moveTo>
                  <a:lnTo>
                    <a:pt x="252" y="1266"/>
                  </a:lnTo>
                  <a:lnTo>
                    <a:pt x="258" y="1272"/>
                  </a:lnTo>
                  <a:lnTo>
                    <a:pt x="258" y="1278"/>
                  </a:lnTo>
                  <a:lnTo>
                    <a:pt x="258" y="1284"/>
                  </a:lnTo>
                  <a:lnTo>
                    <a:pt x="252" y="1284"/>
                  </a:lnTo>
                  <a:lnTo>
                    <a:pt x="252" y="1278"/>
                  </a:lnTo>
                  <a:lnTo>
                    <a:pt x="252" y="1272"/>
                  </a:lnTo>
                  <a:lnTo>
                    <a:pt x="252" y="1266"/>
                  </a:lnTo>
                  <a:lnTo>
                    <a:pt x="246" y="1266"/>
                  </a:lnTo>
                  <a:close/>
                  <a:moveTo>
                    <a:pt x="408" y="1458"/>
                  </a:moveTo>
                  <a:lnTo>
                    <a:pt x="408" y="1452"/>
                  </a:lnTo>
                  <a:lnTo>
                    <a:pt x="414" y="1452"/>
                  </a:lnTo>
                  <a:lnTo>
                    <a:pt x="414" y="1446"/>
                  </a:lnTo>
                  <a:lnTo>
                    <a:pt x="414" y="1440"/>
                  </a:lnTo>
                  <a:lnTo>
                    <a:pt x="420" y="1440"/>
                  </a:lnTo>
                  <a:lnTo>
                    <a:pt x="420" y="1434"/>
                  </a:lnTo>
                  <a:lnTo>
                    <a:pt x="420" y="1428"/>
                  </a:lnTo>
                  <a:lnTo>
                    <a:pt x="420" y="1422"/>
                  </a:lnTo>
                  <a:lnTo>
                    <a:pt x="426" y="1422"/>
                  </a:lnTo>
                  <a:lnTo>
                    <a:pt x="432" y="1428"/>
                  </a:lnTo>
                  <a:lnTo>
                    <a:pt x="438" y="1428"/>
                  </a:lnTo>
                  <a:lnTo>
                    <a:pt x="438" y="1434"/>
                  </a:lnTo>
                  <a:lnTo>
                    <a:pt x="438" y="1428"/>
                  </a:lnTo>
                  <a:lnTo>
                    <a:pt x="438" y="1422"/>
                  </a:lnTo>
                  <a:lnTo>
                    <a:pt x="444" y="1416"/>
                  </a:lnTo>
                  <a:lnTo>
                    <a:pt x="444" y="1410"/>
                  </a:lnTo>
                  <a:lnTo>
                    <a:pt x="450" y="1416"/>
                  </a:lnTo>
                  <a:lnTo>
                    <a:pt x="456" y="1416"/>
                  </a:lnTo>
                  <a:lnTo>
                    <a:pt x="456" y="1422"/>
                  </a:lnTo>
                  <a:lnTo>
                    <a:pt x="456" y="1428"/>
                  </a:lnTo>
                  <a:lnTo>
                    <a:pt x="456" y="1434"/>
                  </a:lnTo>
                  <a:lnTo>
                    <a:pt x="456" y="1440"/>
                  </a:lnTo>
                  <a:lnTo>
                    <a:pt x="462" y="1440"/>
                  </a:lnTo>
                  <a:lnTo>
                    <a:pt x="462" y="1446"/>
                  </a:lnTo>
                  <a:lnTo>
                    <a:pt x="462" y="1452"/>
                  </a:lnTo>
                  <a:lnTo>
                    <a:pt x="456" y="1452"/>
                  </a:lnTo>
                  <a:lnTo>
                    <a:pt x="450" y="1452"/>
                  </a:lnTo>
                  <a:lnTo>
                    <a:pt x="444" y="1446"/>
                  </a:lnTo>
                  <a:lnTo>
                    <a:pt x="444" y="1452"/>
                  </a:lnTo>
                  <a:lnTo>
                    <a:pt x="450" y="1452"/>
                  </a:lnTo>
                  <a:lnTo>
                    <a:pt x="450" y="1458"/>
                  </a:lnTo>
                  <a:lnTo>
                    <a:pt x="444" y="1458"/>
                  </a:lnTo>
                  <a:lnTo>
                    <a:pt x="438" y="1464"/>
                  </a:lnTo>
                  <a:lnTo>
                    <a:pt x="438" y="1458"/>
                  </a:lnTo>
                  <a:lnTo>
                    <a:pt x="432" y="1458"/>
                  </a:lnTo>
                  <a:lnTo>
                    <a:pt x="426" y="1458"/>
                  </a:lnTo>
                  <a:lnTo>
                    <a:pt x="432" y="1458"/>
                  </a:lnTo>
                  <a:lnTo>
                    <a:pt x="438" y="1464"/>
                  </a:lnTo>
                  <a:lnTo>
                    <a:pt x="432" y="1464"/>
                  </a:lnTo>
                  <a:lnTo>
                    <a:pt x="432" y="1470"/>
                  </a:lnTo>
                  <a:lnTo>
                    <a:pt x="426" y="1470"/>
                  </a:lnTo>
                  <a:lnTo>
                    <a:pt x="420" y="1476"/>
                  </a:lnTo>
                  <a:lnTo>
                    <a:pt x="420" y="1470"/>
                  </a:lnTo>
                  <a:lnTo>
                    <a:pt x="414" y="1470"/>
                  </a:lnTo>
                  <a:lnTo>
                    <a:pt x="414" y="1464"/>
                  </a:lnTo>
                  <a:lnTo>
                    <a:pt x="414" y="1458"/>
                  </a:lnTo>
                  <a:lnTo>
                    <a:pt x="408" y="1458"/>
                  </a:lnTo>
                  <a:close/>
                  <a:moveTo>
                    <a:pt x="270" y="1326"/>
                  </a:moveTo>
                  <a:lnTo>
                    <a:pt x="270" y="1320"/>
                  </a:lnTo>
                  <a:lnTo>
                    <a:pt x="276" y="1320"/>
                  </a:lnTo>
                  <a:lnTo>
                    <a:pt x="282" y="1326"/>
                  </a:lnTo>
                  <a:lnTo>
                    <a:pt x="288" y="1326"/>
                  </a:lnTo>
                  <a:lnTo>
                    <a:pt x="288" y="1332"/>
                  </a:lnTo>
                  <a:lnTo>
                    <a:pt x="288" y="1338"/>
                  </a:lnTo>
                  <a:lnTo>
                    <a:pt x="288" y="1344"/>
                  </a:lnTo>
                  <a:lnTo>
                    <a:pt x="282" y="1344"/>
                  </a:lnTo>
                  <a:lnTo>
                    <a:pt x="282" y="1338"/>
                  </a:lnTo>
                  <a:lnTo>
                    <a:pt x="276" y="1338"/>
                  </a:lnTo>
                  <a:lnTo>
                    <a:pt x="276" y="1332"/>
                  </a:lnTo>
                  <a:lnTo>
                    <a:pt x="270" y="1332"/>
                  </a:lnTo>
                  <a:lnTo>
                    <a:pt x="270" y="1326"/>
                  </a:lnTo>
                  <a:close/>
                  <a:moveTo>
                    <a:pt x="288" y="1458"/>
                  </a:moveTo>
                  <a:lnTo>
                    <a:pt x="294" y="1458"/>
                  </a:lnTo>
                  <a:lnTo>
                    <a:pt x="294" y="1452"/>
                  </a:lnTo>
                  <a:lnTo>
                    <a:pt x="294" y="1446"/>
                  </a:lnTo>
                  <a:lnTo>
                    <a:pt x="300" y="1446"/>
                  </a:lnTo>
                  <a:lnTo>
                    <a:pt x="300" y="1440"/>
                  </a:lnTo>
                  <a:lnTo>
                    <a:pt x="306" y="1440"/>
                  </a:lnTo>
                  <a:lnTo>
                    <a:pt x="306" y="1446"/>
                  </a:lnTo>
                  <a:lnTo>
                    <a:pt x="312" y="1452"/>
                  </a:lnTo>
                  <a:lnTo>
                    <a:pt x="306" y="1452"/>
                  </a:lnTo>
                  <a:lnTo>
                    <a:pt x="306" y="1458"/>
                  </a:lnTo>
                  <a:lnTo>
                    <a:pt x="312" y="1464"/>
                  </a:lnTo>
                  <a:lnTo>
                    <a:pt x="306" y="1464"/>
                  </a:lnTo>
                  <a:lnTo>
                    <a:pt x="306" y="1470"/>
                  </a:lnTo>
                  <a:lnTo>
                    <a:pt x="300" y="1476"/>
                  </a:lnTo>
                  <a:lnTo>
                    <a:pt x="294" y="1476"/>
                  </a:lnTo>
                  <a:lnTo>
                    <a:pt x="294" y="1470"/>
                  </a:lnTo>
                  <a:lnTo>
                    <a:pt x="288" y="1470"/>
                  </a:lnTo>
                  <a:lnTo>
                    <a:pt x="288" y="1464"/>
                  </a:lnTo>
                  <a:lnTo>
                    <a:pt x="288" y="1458"/>
                  </a:lnTo>
                  <a:close/>
                  <a:moveTo>
                    <a:pt x="270" y="1296"/>
                  </a:moveTo>
                  <a:lnTo>
                    <a:pt x="276" y="1296"/>
                  </a:lnTo>
                  <a:lnTo>
                    <a:pt x="282" y="1296"/>
                  </a:lnTo>
                  <a:lnTo>
                    <a:pt x="288" y="1296"/>
                  </a:lnTo>
                  <a:lnTo>
                    <a:pt x="288" y="1302"/>
                  </a:lnTo>
                  <a:lnTo>
                    <a:pt x="282" y="1308"/>
                  </a:lnTo>
                  <a:lnTo>
                    <a:pt x="276" y="1308"/>
                  </a:lnTo>
                  <a:lnTo>
                    <a:pt x="276" y="1302"/>
                  </a:lnTo>
                  <a:lnTo>
                    <a:pt x="270" y="12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4" name="Freeform 19">
              <a:extLst>
                <a:ext uri="{FF2B5EF4-FFF2-40B4-BE49-F238E27FC236}">
                  <a16:creationId xmlns:a16="http://schemas.microsoft.com/office/drawing/2014/main" id="{5B9020B8-E1C1-4611-A248-9642BBD69C9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7043" y="3765821"/>
              <a:ext cx="333193" cy="398097"/>
            </a:xfrm>
            <a:custGeom>
              <a:avLst/>
              <a:gdLst>
                <a:gd name="T0" fmla="*/ 30 w 624"/>
                <a:gd name="T1" fmla="*/ 61 h 750"/>
                <a:gd name="T2" fmla="*/ 27 w 624"/>
                <a:gd name="T3" fmla="*/ 62 h 750"/>
                <a:gd name="T4" fmla="*/ 23 w 624"/>
                <a:gd name="T5" fmla="*/ 59 h 750"/>
                <a:gd name="T6" fmla="*/ 20 w 624"/>
                <a:gd name="T7" fmla="*/ 58 h 750"/>
                <a:gd name="T8" fmla="*/ 19 w 624"/>
                <a:gd name="T9" fmla="*/ 56 h 750"/>
                <a:gd name="T10" fmla="*/ 17 w 624"/>
                <a:gd name="T11" fmla="*/ 55 h 750"/>
                <a:gd name="T12" fmla="*/ 16 w 624"/>
                <a:gd name="T13" fmla="*/ 51 h 750"/>
                <a:gd name="T14" fmla="*/ 14 w 624"/>
                <a:gd name="T15" fmla="*/ 48 h 750"/>
                <a:gd name="T16" fmla="*/ 12 w 624"/>
                <a:gd name="T17" fmla="*/ 46 h 750"/>
                <a:gd name="T18" fmla="*/ 12 w 624"/>
                <a:gd name="T19" fmla="*/ 44 h 750"/>
                <a:gd name="T20" fmla="*/ 11 w 624"/>
                <a:gd name="T21" fmla="*/ 41 h 750"/>
                <a:gd name="T22" fmla="*/ 8 w 624"/>
                <a:gd name="T23" fmla="*/ 38 h 750"/>
                <a:gd name="T24" fmla="*/ 6 w 624"/>
                <a:gd name="T25" fmla="*/ 38 h 750"/>
                <a:gd name="T26" fmla="*/ 6 w 624"/>
                <a:gd name="T27" fmla="*/ 35 h 750"/>
                <a:gd name="T28" fmla="*/ 7 w 624"/>
                <a:gd name="T29" fmla="*/ 31 h 750"/>
                <a:gd name="T30" fmla="*/ 10 w 624"/>
                <a:gd name="T31" fmla="*/ 27 h 750"/>
                <a:gd name="T32" fmla="*/ 8 w 624"/>
                <a:gd name="T33" fmla="*/ 23 h 750"/>
                <a:gd name="T34" fmla="*/ 6 w 624"/>
                <a:gd name="T35" fmla="*/ 23 h 750"/>
                <a:gd name="T36" fmla="*/ 3 w 624"/>
                <a:gd name="T37" fmla="*/ 22 h 750"/>
                <a:gd name="T38" fmla="*/ 0 w 624"/>
                <a:gd name="T39" fmla="*/ 22 h 750"/>
                <a:gd name="T40" fmla="*/ 0 w 624"/>
                <a:gd name="T41" fmla="*/ 19 h 750"/>
                <a:gd name="T42" fmla="*/ 1 w 624"/>
                <a:gd name="T43" fmla="*/ 18 h 750"/>
                <a:gd name="T44" fmla="*/ 2 w 624"/>
                <a:gd name="T45" fmla="*/ 14 h 750"/>
                <a:gd name="T46" fmla="*/ 4 w 624"/>
                <a:gd name="T47" fmla="*/ 17 h 750"/>
                <a:gd name="T48" fmla="*/ 6 w 624"/>
                <a:gd name="T49" fmla="*/ 17 h 750"/>
                <a:gd name="T50" fmla="*/ 7 w 624"/>
                <a:gd name="T51" fmla="*/ 17 h 750"/>
                <a:gd name="T52" fmla="*/ 9 w 624"/>
                <a:gd name="T53" fmla="*/ 15 h 750"/>
                <a:gd name="T54" fmla="*/ 10 w 624"/>
                <a:gd name="T55" fmla="*/ 14 h 750"/>
                <a:gd name="T56" fmla="*/ 11 w 624"/>
                <a:gd name="T57" fmla="*/ 12 h 750"/>
                <a:gd name="T58" fmla="*/ 13 w 624"/>
                <a:gd name="T59" fmla="*/ 12 h 750"/>
                <a:gd name="T60" fmla="*/ 18 w 624"/>
                <a:gd name="T61" fmla="*/ 10 h 750"/>
                <a:gd name="T62" fmla="*/ 22 w 624"/>
                <a:gd name="T63" fmla="*/ 4 h 750"/>
                <a:gd name="T64" fmla="*/ 24 w 624"/>
                <a:gd name="T65" fmla="*/ 4 h 750"/>
                <a:gd name="T66" fmla="*/ 26 w 624"/>
                <a:gd name="T67" fmla="*/ 2 h 750"/>
                <a:gd name="T68" fmla="*/ 29 w 624"/>
                <a:gd name="T69" fmla="*/ 0 h 750"/>
                <a:gd name="T70" fmla="*/ 32 w 624"/>
                <a:gd name="T71" fmla="*/ 2 h 750"/>
                <a:gd name="T72" fmla="*/ 34 w 624"/>
                <a:gd name="T73" fmla="*/ 5 h 750"/>
                <a:gd name="T74" fmla="*/ 35 w 624"/>
                <a:gd name="T75" fmla="*/ 8 h 750"/>
                <a:gd name="T76" fmla="*/ 39 w 624"/>
                <a:gd name="T77" fmla="*/ 11 h 750"/>
                <a:gd name="T78" fmla="*/ 42 w 624"/>
                <a:gd name="T79" fmla="*/ 14 h 750"/>
                <a:gd name="T80" fmla="*/ 46 w 624"/>
                <a:gd name="T81" fmla="*/ 12 h 750"/>
                <a:gd name="T82" fmla="*/ 49 w 624"/>
                <a:gd name="T83" fmla="*/ 12 h 750"/>
                <a:gd name="T84" fmla="*/ 51 w 624"/>
                <a:gd name="T85" fmla="*/ 12 h 750"/>
                <a:gd name="T86" fmla="*/ 53 w 624"/>
                <a:gd name="T87" fmla="*/ 12 h 750"/>
                <a:gd name="T88" fmla="*/ 53 w 624"/>
                <a:gd name="T89" fmla="*/ 17 h 750"/>
                <a:gd name="T90" fmla="*/ 51 w 624"/>
                <a:gd name="T91" fmla="*/ 20 h 750"/>
                <a:gd name="T92" fmla="*/ 49 w 624"/>
                <a:gd name="T93" fmla="*/ 26 h 750"/>
                <a:gd name="T94" fmla="*/ 47 w 624"/>
                <a:gd name="T95" fmla="*/ 26 h 750"/>
                <a:gd name="T96" fmla="*/ 44 w 624"/>
                <a:gd name="T97" fmla="*/ 26 h 750"/>
                <a:gd name="T98" fmla="*/ 43 w 624"/>
                <a:gd name="T99" fmla="*/ 27 h 750"/>
                <a:gd name="T100" fmla="*/ 45 w 624"/>
                <a:gd name="T101" fmla="*/ 32 h 750"/>
                <a:gd name="T102" fmla="*/ 44 w 624"/>
                <a:gd name="T103" fmla="*/ 43 h 750"/>
                <a:gd name="T104" fmla="*/ 44 w 624"/>
                <a:gd name="T105" fmla="*/ 47 h 750"/>
                <a:gd name="T106" fmla="*/ 44 w 624"/>
                <a:gd name="T107" fmla="*/ 54 h 750"/>
                <a:gd name="T108" fmla="*/ 41 w 624"/>
                <a:gd name="T109" fmla="*/ 60 h 750"/>
                <a:gd name="T110" fmla="*/ 42 w 624"/>
                <a:gd name="T111" fmla="*/ 62 h 750"/>
                <a:gd name="T112" fmla="*/ 43 w 624"/>
                <a:gd name="T113" fmla="*/ 65 h 750"/>
                <a:gd name="T114" fmla="*/ 39 w 624"/>
                <a:gd name="T115" fmla="*/ 63 h 750"/>
                <a:gd name="T116" fmla="*/ 35 w 624"/>
                <a:gd name="T117" fmla="*/ 62 h 75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24"/>
                <a:gd name="T178" fmla="*/ 0 h 750"/>
                <a:gd name="T179" fmla="*/ 624 w 624"/>
                <a:gd name="T180" fmla="*/ 750 h 75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24" h="750">
                  <a:moveTo>
                    <a:pt x="390" y="702"/>
                  </a:moveTo>
                  <a:lnTo>
                    <a:pt x="372" y="696"/>
                  </a:lnTo>
                  <a:lnTo>
                    <a:pt x="360" y="702"/>
                  </a:lnTo>
                  <a:lnTo>
                    <a:pt x="348" y="702"/>
                  </a:lnTo>
                  <a:lnTo>
                    <a:pt x="336" y="702"/>
                  </a:lnTo>
                  <a:lnTo>
                    <a:pt x="330" y="702"/>
                  </a:lnTo>
                  <a:lnTo>
                    <a:pt x="318" y="708"/>
                  </a:lnTo>
                  <a:lnTo>
                    <a:pt x="306" y="708"/>
                  </a:lnTo>
                  <a:lnTo>
                    <a:pt x="294" y="690"/>
                  </a:lnTo>
                  <a:lnTo>
                    <a:pt x="294" y="684"/>
                  </a:lnTo>
                  <a:lnTo>
                    <a:pt x="276" y="684"/>
                  </a:lnTo>
                  <a:lnTo>
                    <a:pt x="270" y="678"/>
                  </a:lnTo>
                  <a:lnTo>
                    <a:pt x="240" y="672"/>
                  </a:lnTo>
                  <a:lnTo>
                    <a:pt x="234" y="672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6"/>
                  </a:lnTo>
                  <a:lnTo>
                    <a:pt x="216" y="660"/>
                  </a:lnTo>
                  <a:lnTo>
                    <a:pt x="216" y="654"/>
                  </a:lnTo>
                  <a:lnTo>
                    <a:pt x="216" y="642"/>
                  </a:lnTo>
                  <a:lnTo>
                    <a:pt x="210" y="642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36"/>
                  </a:lnTo>
                  <a:lnTo>
                    <a:pt x="192" y="624"/>
                  </a:lnTo>
                  <a:lnTo>
                    <a:pt x="186" y="612"/>
                  </a:lnTo>
                  <a:lnTo>
                    <a:pt x="186" y="600"/>
                  </a:lnTo>
                  <a:lnTo>
                    <a:pt x="186" y="588"/>
                  </a:lnTo>
                  <a:lnTo>
                    <a:pt x="180" y="582"/>
                  </a:lnTo>
                  <a:lnTo>
                    <a:pt x="180" y="570"/>
                  </a:lnTo>
                  <a:lnTo>
                    <a:pt x="174" y="558"/>
                  </a:lnTo>
                  <a:lnTo>
                    <a:pt x="162" y="558"/>
                  </a:lnTo>
                  <a:lnTo>
                    <a:pt x="144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38" y="534"/>
                  </a:lnTo>
                  <a:lnTo>
                    <a:pt x="138" y="528"/>
                  </a:lnTo>
                  <a:lnTo>
                    <a:pt x="132" y="522"/>
                  </a:lnTo>
                  <a:lnTo>
                    <a:pt x="144" y="522"/>
                  </a:lnTo>
                  <a:lnTo>
                    <a:pt x="144" y="510"/>
                  </a:lnTo>
                  <a:lnTo>
                    <a:pt x="144" y="504"/>
                  </a:lnTo>
                  <a:lnTo>
                    <a:pt x="138" y="492"/>
                  </a:lnTo>
                  <a:lnTo>
                    <a:pt x="138" y="474"/>
                  </a:lnTo>
                  <a:lnTo>
                    <a:pt x="126" y="468"/>
                  </a:lnTo>
                  <a:lnTo>
                    <a:pt x="120" y="456"/>
                  </a:lnTo>
                  <a:lnTo>
                    <a:pt x="114" y="450"/>
                  </a:lnTo>
                  <a:lnTo>
                    <a:pt x="108" y="438"/>
                  </a:lnTo>
                  <a:lnTo>
                    <a:pt x="96" y="432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60" y="426"/>
                  </a:lnTo>
                  <a:lnTo>
                    <a:pt x="66" y="420"/>
                  </a:lnTo>
                  <a:lnTo>
                    <a:pt x="66" y="408"/>
                  </a:lnTo>
                  <a:lnTo>
                    <a:pt x="72" y="408"/>
                  </a:lnTo>
                  <a:lnTo>
                    <a:pt x="72" y="384"/>
                  </a:lnTo>
                  <a:lnTo>
                    <a:pt x="72" y="366"/>
                  </a:lnTo>
                  <a:lnTo>
                    <a:pt x="78" y="354"/>
                  </a:lnTo>
                  <a:lnTo>
                    <a:pt x="84" y="354"/>
                  </a:lnTo>
                  <a:lnTo>
                    <a:pt x="90" y="348"/>
                  </a:lnTo>
                  <a:lnTo>
                    <a:pt x="102" y="336"/>
                  </a:lnTo>
                  <a:lnTo>
                    <a:pt x="114" y="324"/>
                  </a:lnTo>
                  <a:lnTo>
                    <a:pt x="120" y="312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20" y="276"/>
                  </a:lnTo>
                  <a:lnTo>
                    <a:pt x="96" y="270"/>
                  </a:lnTo>
                  <a:lnTo>
                    <a:pt x="84" y="270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72" y="264"/>
                  </a:lnTo>
                  <a:lnTo>
                    <a:pt x="60" y="252"/>
                  </a:lnTo>
                  <a:lnTo>
                    <a:pt x="42" y="252"/>
                  </a:lnTo>
                  <a:lnTo>
                    <a:pt x="42" y="258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18" y="252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42" y="156"/>
                  </a:lnTo>
                  <a:lnTo>
                    <a:pt x="48" y="198"/>
                  </a:lnTo>
                  <a:lnTo>
                    <a:pt x="48" y="204"/>
                  </a:lnTo>
                  <a:lnTo>
                    <a:pt x="54" y="198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204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192"/>
                  </a:lnTo>
                  <a:lnTo>
                    <a:pt x="96" y="186"/>
                  </a:lnTo>
                  <a:lnTo>
                    <a:pt x="102" y="180"/>
                  </a:lnTo>
                  <a:lnTo>
                    <a:pt x="102" y="174"/>
                  </a:lnTo>
                  <a:lnTo>
                    <a:pt x="108" y="168"/>
                  </a:lnTo>
                  <a:lnTo>
                    <a:pt x="108" y="162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0"/>
                  </a:lnTo>
                  <a:lnTo>
                    <a:pt x="132" y="144"/>
                  </a:lnTo>
                  <a:lnTo>
                    <a:pt x="138" y="138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0" y="132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74" y="126"/>
                  </a:lnTo>
                  <a:lnTo>
                    <a:pt x="204" y="120"/>
                  </a:lnTo>
                  <a:lnTo>
                    <a:pt x="210" y="78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54"/>
                  </a:lnTo>
                  <a:lnTo>
                    <a:pt x="276" y="54"/>
                  </a:lnTo>
                  <a:lnTo>
                    <a:pt x="276" y="48"/>
                  </a:lnTo>
                  <a:lnTo>
                    <a:pt x="282" y="48"/>
                  </a:lnTo>
                  <a:lnTo>
                    <a:pt x="288" y="42"/>
                  </a:lnTo>
                  <a:lnTo>
                    <a:pt x="294" y="42"/>
                  </a:lnTo>
                  <a:lnTo>
                    <a:pt x="294" y="18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0"/>
                  </a:lnTo>
                  <a:lnTo>
                    <a:pt x="336" y="0"/>
                  </a:lnTo>
                  <a:lnTo>
                    <a:pt x="342" y="0"/>
                  </a:lnTo>
                  <a:lnTo>
                    <a:pt x="354" y="6"/>
                  </a:lnTo>
                  <a:lnTo>
                    <a:pt x="366" y="18"/>
                  </a:lnTo>
                  <a:lnTo>
                    <a:pt x="378" y="36"/>
                  </a:lnTo>
                  <a:lnTo>
                    <a:pt x="390" y="42"/>
                  </a:lnTo>
                  <a:lnTo>
                    <a:pt x="390" y="48"/>
                  </a:lnTo>
                  <a:lnTo>
                    <a:pt x="396" y="60"/>
                  </a:lnTo>
                  <a:lnTo>
                    <a:pt x="402" y="72"/>
                  </a:lnTo>
                  <a:lnTo>
                    <a:pt x="408" y="78"/>
                  </a:lnTo>
                  <a:lnTo>
                    <a:pt x="402" y="84"/>
                  </a:lnTo>
                  <a:lnTo>
                    <a:pt x="408" y="90"/>
                  </a:lnTo>
                  <a:lnTo>
                    <a:pt x="414" y="102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50" y="126"/>
                  </a:lnTo>
                  <a:lnTo>
                    <a:pt x="456" y="126"/>
                  </a:lnTo>
                  <a:lnTo>
                    <a:pt x="462" y="144"/>
                  </a:lnTo>
                  <a:lnTo>
                    <a:pt x="480" y="156"/>
                  </a:lnTo>
                  <a:lnTo>
                    <a:pt x="492" y="156"/>
                  </a:lnTo>
                  <a:lnTo>
                    <a:pt x="516" y="150"/>
                  </a:lnTo>
                  <a:lnTo>
                    <a:pt x="516" y="144"/>
                  </a:lnTo>
                  <a:lnTo>
                    <a:pt x="516" y="138"/>
                  </a:lnTo>
                  <a:lnTo>
                    <a:pt x="528" y="138"/>
                  </a:lnTo>
                  <a:lnTo>
                    <a:pt x="546" y="144"/>
                  </a:lnTo>
                  <a:lnTo>
                    <a:pt x="546" y="138"/>
                  </a:lnTo>
                  <a:lnTo>
                    <a:pt x="552" y="138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76" y="138"/>
                  </a:lnTo>
                  <a:lnTo>
                    <a:pt x="582" y="138"/>
                  </a:lnTo>
                  <a:lnTo>
                    <a:pt x="588" y="138"/>
                  </a:lnTo>
                  <a:lnTo>
                    <a:pt x="594" y="138"/>
                  </a:lnTo>
                  <a:lnTo>
                    <a:pt x="594" y="144"/>
                  </a:lnTo>
                  <a:lnTo>
                    <a:pt x="600" y="138"/>
                  </a:lnTo>
                  <a:lnTo>
                    <a:pt x="606" y="138"/>
                  </a:lnTo>
                  <a:lnTo>
                    <a:pt x="606" y="144"/>
                  </a:lnTo>
                  <a:lnTo>
                    <a:pt x="612" y="144"/>
                  </a:lnTo>
                  <a:lnTo>
                    <a:pt x="618" y="156"/>
                  </a:lnTo>
                  <a:lnTo>
                    <a:pt x="612" y="198"/>
                  </a:lnTo>
                  <a:lnTo>
                    <a:pt x="624" y="198"/>
                  </a:lnTo>
                  <a:lnTo>
                    <a:pt x="624" y="204"/>
                  </a:lnTo>
                  <a:lnTo>
                    <a:pt x="612" y="216"/>
                  </a:lnTo>
                  <a:lnTo>
                    <a:pt x="594" y="234"/>
                  </a:lnTo>
                  <a:lnTo>
                    <a:pt x="588" y="252"/>
                  </a:lnTo>
                  <a:lnTo>
                    <a:pt x="576" y="270"/>
                  </a:lnTo>
                  <a:lnTo>
                    <a:pt x="564" y="282"/>
                  </a:lnTo>
                  <a:lnTo>
                    <a:pt x="564" y="294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8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34" y="294"/>
                  </a:lnTo>
                  <a:lnTo>
                    <a:pt x="522" y="300"/>
                  </a:lnTo>
                  <a:lnTo>
                    <a:pt x="510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498" y="324"/>
                  </a:lnTo>
                  <a:lnTo>
                    <a:pt x="504" y="336"/>
                  </a:lnTo>
                  <a:lnTo>
                    <a:pt x="510" y="348"/>
                  </a:lnTo>
                  <a:lnTo>
                    <a:pt x="516" y="366"/>
                  </a:lnTo>
                  <a:lnTo>
                    <a:pt x="522" y="432"/>
                  </a:lnTo>
                  <a:lnTo>
                    <a:pt x="522" y="456"/>
                  </a:lnTo>
                  <a:lnTo>
                    <a:pt x="504" y="492"/>
                  </a:lnTo>
                  <a:lnTo>
                    <a:pt x="504" y="498"/>
                  </a:lnTo>
                  <a:lnTo>
                    <a:pt x="498" y="504"/>
                  </a:lnTo>
                  <a:lnTo>
                    <a:pt x="498" y="522"/>
                  </a:lnTo>
                  <a:lnTo>
                    <a:pt x="504" y="534"/>
                  </a:lnTo>
                  <a:lnTo>
                    <a:pt x="510" y="546"/>
                  </a:lnTo>
                  <a:lnTo>
                    <a:pt x="516" y="558"/>
                  </a:lnTo>
                  <a:lnTo>
                    <a:pt x="516" y="588"/>
                  </a:lnTo>
                  <a:lnTo>
                    <a:pt x="516" y="600"/>
                  </a:lnTo>
                  <a:lnTo>
                    <a:pt x="510" y="618"/>
                  </a:lnTo>
                  <a:lnTo>
                    <a:pt x="504" y="636"/>
                  </a:lnTo>
                  <a:lnTo>
                    <a:pt x="504" y="642"/>
                  </a:lnTo>
                  <a:lnTo>
                    <a:pt x="474" y="654"/>
                  </a:lnTo>
                  <a:lnTo>
                    <a:pt x="474" y="690"/>
                  </a:lnTo>
                  <a:lnTo>
                    <a:pt x="474" y="696"/>
                  </a:lnTo>
                  <a:lnTo>
                    <a:pt x="480" y="702"/>
                  </a:lnTo>
                  <a:lnTo>
                    <a:pt x="486" y="708"/>
                  </a:lnTo>
                  <a:lnTo>
                    <a:pt x="492" y="708"/>
                  </a:lnTo>
                  <a:lnTo>
                    <a:pt x="498" y="726"/>
                  </a:lnTo>
                  <a:lnTo>
                    <a:pt x="504" y="726"/>
                  </a:lnTo>
                  <a:lnTo>
                    <a:pt x="504" y="738"/>
                  </a:lnTo>
                  <a:lnTo>
                    <a:pt x="498" y="744"/>
                  </a:lnTo>
                  <a:lnTo>
                    <a:pt x="486" y="750"/>
                  </a:lnTo>
                  <a:lnTo>
                    <a:pt x="474" y="744"/>
                  </a:lnTo>
                  <a:lnTo>
                    <a:pt x="462" y="744"/>
                  </a:lnTo>
                  <a:lnTo>
                    <a:pt x="456" y="732"/>
                  </a:lnTo>
                  <a:lnTo>
                    <a:pt x="444" y="732"/>
                  </a:lnTo>
                  <a:lnTo>
                    <a:pt x="432" y="726"/>
                  </a:lnTo>
                  <a:lnTo>
                    <a:pt x="420" y="720"/>
                  </a:lnTo>
                  <a:lnTo>
                    <a:pt x="408" y="708"/>
                  </a:lnTo>
                  <a:lnTo>
                    <a:pt x="402" y="708"/>
                  </a:lnTo>
                  <a:lnTo>
                    <a:pt x="390" y="70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5" name="Freeform 20">
              <a:extLst>
                <a:ext uri="{FF2B5EF4-FFF2-40B4-BE49-F238E27FC236}">
                  <a16:creationId xmlns:a16="http://schemas.microsoft.com/office/drawing/2014/main" id="{B8342C3B-ECEC-465F-AAFF-4815B8AC392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870937"/>
              <a:ext cx="313067" cy="377968"/>
            </a:xfrm>
            <a:custGeom>
              <a:avLst/>
              <a:gdLst>
                <a:gd name="T0" fmla="*/ 15 w 588"/>
                <a:gd name="T1" fmla="*/ 59 h 714"/>
                <a:gd name="T2" fmla="*/ 14 w 588"/>
                <a:gd name="T3" fmla="*/ 58 h 714"/>
                <a:gd name="T4" fmla="*/ 9 w 588"/>
                <a:gd name="T5" fmla="*/ 54 h 714"/>
                <a:gd name="T6" fmla="*/ 4 w 588"/>
                <a:gd name="T7" fmla="*/ 54 h 714"/>
                <a:gd name="T8" fmla="*/ 0 w 588"/>
                <a:gd name="T9" fmla="*/ 50 h 714"/>
                <a:gd name="T10" fmla="*/ 0 w 588"/>
                <a:gd name="T11" fmla="*/ 44 h 714"/>
                <a:gd name="T12" fmla="*/ 4 w 588"/>
                <a:gd name="T13" fmla="*/ 46 h 714"/>
                <a:gd name="T14" fmla="*/ 7 w 588"/>
                <a:gd name="T15" fmla="*/ 47 h 714"/>
                <a:gd name="T16" fmla="*/ 10 w 588"/>
                <a:gd name="T17" fmla="*/ 46 h 714"/>
                <a:gd name="T18" fmla="*/ 8 w 588"/>
                <a:gd name="T19" fmla="*/ 44 h 714"/>
                <a:gd name="T20" fmla="*/ 10 w 588"/>
                <a:gd name="T21" fmla="*/ 39 h 714"/>
                <a:gd name="T22" fmla="*/ 11 w 588"/>
                <a:gd name="T23" fmla="*/ 34 h 714"/>
                <a:gd name="T24" fmla="*/ 9 w 588"/>
                <a:gd name="T25" fmla="*/ 28 h 714"/>
                <a:gd name="T26" fmla="*/ 11 w 588"/>
                <a:gd name="T27" fmla="*/ 22 h 714"/>
                <a:gd name="T28" fmla="*/ 10 w 588"/>
                <a:gd name="T29" fmla="*/ 12 h 714"/>
                <a:gd name="T30" fmla="*/ 9 w 588"/>
                <a:gd name="T31" fmla="*/ 9 h 714"/>
                <a:gd name="T32" fmla="*/ 12 w 588"/>
                <a:gd name="T33" fmla="*/ 8 h 714"/>
                <a:gd name="T34" fmla="*/ 14 w 588"/>
                <a:gd name="T35" fmla="*/ 7 h 714"/>
                <a:gd name="T36" fmla="*/ 17 w 588"/>
                <a:gd name="T37" fmla="*/ 10 h 714"/>
                <a:gd name="T38" fmla="*/ 23 w 588"/>
                <a:gd name="T39" fmla="*/ 14 h 714"/>
                <a:gd name="T40" fmla="*/ 28 w 588"/>
                <a:gd name="T41" fmla="*/ 4 h 714"/>
                <a:gd name="T42" fmla="*/ 35 w 588"/>
                <a:gd name="T43" fmla="*/ 2 h 714"/>
                <a:gd name="T44" fmla="*/ 38 w 588"/>
                <a:gd name="T45" fmla="*/ 0 h 714"/>
                <a:gd name="T46" fmla="*/ 40 w 588"/>
                <a:gd name="T47" fmla="*/ 2 h 714"/>
                <a:gd name="T48" fmla="*/ 39 w 588"/>
                <a:gd name="T49" fmla="*/ 4 h 714"/>
                <a:gd name="T50" fmla="*/ 41 w 588"/>
                <a:gd name="T51" fmla="*/ 5 h 714"/>
                <a:gd name="T52" fmla="*/ 42 w 588"/>
                <a:gd name="T53" fmla="*/ 7 h 714"/>
                <a:gd name="T54" fmla="*/ 43 w 588"/>
                <a:gd name="T55" fmla="*/ 9 h 714"/>
                <a:gd name="T56" fmla="*/ 43 w 588"/>
                <a:gd name="T57" fmla="*/ 10 h 714"/>
                <a:gd name="T58" fmla="*/ 43 w 588"/>
                <a:gd name="T59" fmla="*/ 12 h 714"/>
                <a:gd name="T60" fmla="*/ 44 w 588"/>
                <a:gd name="T61" fmla="*/ 12 h 714"/>
                <a:gd name="T62" fmla="*/ 46 w 588"/>
                <a:gd name="T63" fmla="*/ 13 h 714"/>
                <a:gd name="T64" fmla="*/ 47 w 588"/>
                <a:gd name="T65" fmla="*/ 14 h 714"/>
                <a:gd name="T66" fmla="*/ 48 w 588"/>
                <a:gd name="T67" fmla="*/ 15 h 714"/>
                <a:gd name="T68" fmla="*/ 49 w 588"/>
                <a:gd name="T69" fmla="*/ 15 h 714"/>
                <a:gd name="T70" fmla="*/ 48 w 588"/>
                <a:gd name="T71" fmla="*/ 17 h 714"/>
                <a:gd name="T72" fmla="*/ 49 w 588"/>
                <a:gd name="T73" fmla="*/ 19 h 714"/>
                <a:gd name="T74" fmla="*/ 49 w 588"/>
                <a:gd name="T75" fmla="*/ 20 h 714"/>
                <a:gd name="T76" fmla="*/ 51 w 588"/>
                <a:gd name="T77" fmla="*/ 21 h 714"/>
                <a:gd name="T78" fmla="*/ 50 w 588"/>
                <a:gd name="T79" fmla="*/ 22 h 714"/>
                <a:gd name="T80" fmla="*/ 47 w 588"/>
                <a:gd name="T81" fmla="*/ 23 h 714"/>
                <a:gd name="T82" fmla="*/ 47 w 588"/>
                <a:gd name="T83" fmla="*/ 26 h 714"/>
                <a:gd name="T84" fmla="*/ 47 w 588"/>
                <a:gd name="T85" fmla="*/ 32 h 714"/>
                <a:gd name="T86" fmla="*/ 44 w 588"/>
                <a:gd name="T87" fmla="*/ 35 h 714"/>
                <a:gd name="T88" fmla="*/ 42 w 588"/>
                <a:gd name="T89" fmla="*/ 39 h 714"/>
                <a:gd name="T90" fmla="*/ 42 w 588"/>
                <a:gd name="T91" fmla="*/ 41 h 714"/>
                <a:gd name="T92" fmla="*/ 42 w 588"/>
                <a:gd name="T93" fmla="*/ 42 h 714"/>
                <a:gd name="T94" fmla="*/ 41 w 588"/>
                <a:gd name="T95" fmla="*/ 44 h 714"/>
                <a:gd name="T96" fmla="*/ 39 w 588"/>
                <a:gd name="T97" fmla="*/ 43 h 714"/>
                <a:gd name="T98" fmla="*/ 37 w 588"/>
                <a:gd name="T99" fmla="*/ 44 h 714"/>
                <a:gd name="T100" fmla="*/ 35 w 588"/>
                <a:gd name="T101" fmla="*/ 46 h 714"/>
                <a:gd name="T102" fmla="*/ 31 w 588"/>
                <a:gd name="T103" fmla="*/ 45 h 714"/>
                <a:gd name="T104" fmla="*/ 24 w 588"/>
                <a:gd name="T105" fmla="*/ 45 h 714"/>
                <a:gd name="T106" fmla="*/ 25 w 588"/>
                <a:gd name="T107" fmla="*/ 47 h 714"/>
                <a:gd name="T108" fmla="*/ 25 w 588"/>
                <a:gd name="T109" fmla="*/ 49 h 714"/>
                <a:gd name="T110" fmla="*/ 25 w 588"/>
                <a:gd name="T111" fmla="*/ 50 h 714"/>
                <a:gd name="T112" fmla="*/ 24 w 588"/>
                <a:gd name="T113" fmla="*/ 51 h 714"/>
                <a:gd name="T114" fmla="*/ 22 w 588"/>
                <a:gd name="T115" fmla="*/ 53 h 714"/>
                <a:gd name="T116" fmla="*/ 23 w 588"/>
                <a:gd name="T117" fmla="*/ 56 h 714"/>
                <a:gd name="T118" fmla="*/ 20 w 588"/>
                <a:gd name="T119" fmla="*/ 58 h 714"/>
                <a:gd name="T120" fmla="*/ 19 w 588"/>
                <a:gd name="T121" fmla="*/ 62 h 7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8"/>
                <a:gd name="T184" fmla="*/ 0 h 714"/>
                <a:gd name="T185" fmla="*/ 588 w 588"/>
                <a:gd name="T186" fmla="*/ 714 h 7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8" h="714">
                  <a:moveTo>
                    <a:pt x="216" y="714"/>
                  </a:moveTo>
                  <a:lnTo>
                    <a:pt x="198" y="702"/>
                  </a:lnTo>
                  <a:lnTo>
                    <a:pt x="186" y="696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74" y="678"/>
                  </a:lnTo>
                  <a:lnTo>
                    <a:pt x="168" y="672"/>
                  </a:lnTo>
                  <a:lnTo>
                    <a:pt x="162" y="666"/>
                  </a:lnTo>
                  <a:lnTo>
                    <a:pt x="156" y="636"/>
                  </a:lnTo>
                  <a:lnTo>
                    <a:pt x="144" y="630"/>
                  </a:lnTo>
                  <a:lnTo>
                    <a:pt x="108" y="630"/>
                  </a:lnTo>
                  <a:lnTo>
                    <a:pt x="102" y="624"/>
                  </a:lnTo>
                  <a:lnTo>
                    <a:pt x="96" y="624"/>
                  </a:lnTo>
                  <a:lnTo>
                    <a:pt x="72" y="624"/>
                  </a:lnTo>
                  <a:lnTo>
                    <a:pt x="54" y="624"/>
                  </a:lnTo>
                  <a:lnTo>
                    <a:pt x="42" y="618"/>
                  </a:lnTo>
                  <a:lnTo>
                    <a:pt x="30" y="612"/>
                  </a:lnTo>
                  <a:lnTo>
                    <a:pt x="6" y="606"/>
                  </a:lnTo>
                  <a:lnTo>
                    <a:pt x="0" y="606"/>
                  </a:lnTo>
                  <a:lnTo>
                    <a:pt x="0" y="570"/>
                  </a:lnTo>
                  <a:lnTo>
                    <a:pt x="6" y="552"/>
                  </a:lnTo>
                  <a:lnTo>
                    <a:pt x="6" y="522"/>
                  </a:lnTo>
                  <a:lnTo>
                    <a:pt x="0" y="510"/>
                  </a:lnTo>
                  <a:lnTo>
                    <a:pt x="0" y="504"/>
                  </a:lnTo>
                  <a:lnTo>
                    <a:pt x="12" y="510"/>
                  </a:lnTo>
                  <a:lnTo>
                    <a:pt x="18" y="510"/>
                  </a:lnTo>
                  <a:lnTo>
                    <a:pt x="30" y="522"/>
                  </a:lnTo>
                  <a:lnTo>
                    <a:pt x="42" y="528"/>
                  </a:lnTo>
                  <a:lnTo>
                    <a:pt x="54" y="534"/>
                  </a:lnTo>
                  <a:lnTo>
                    <a:pt x="66" y="534"/>
                  </a:lnTo>
                  <a:lnTo>
                    <a:pt x="72" y="546"/>
                  </a:lnTo>
                  <a:lnTo>
                    <a:pt x="84" y="546"/>
                  </a:lnTo>
                  <a:lnTo>
                    <a:pt x="96" y="552"/>
                  </a:lnTo>
                  <a:lnTo>
                    <a:pt x="108" y="546"/>
                  </a:lnTo>
                  <a:lnTo>
                    <a:pt x="114" y="540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90" y="504"/>
                  </a:lnTo>
                  <a:lnTo>
                    <a:pt x="84" y="498"/>
                  </a:lnTo>
                  <a:lnTo>
                    <a:pt x="84" y="492"/>
                  </a:lnTo>
                  <a:lnTo>
                    <a:pt x="84" y="456"/>
                  </a:lnTo>
                  <a:lnTo>
                    <a:pt x="114" y="444"/>
                  </a:lnTo>
                  <a:lnTo>
                    <a:pt x="114" y="438"/>
                  </a:lnTo>
                  <a:lnTo>
                    <a:pt x="120" y="420"/>
                  </a:lnTo>
                  <a:lnTo>
                    <a:pt x="126" y="402"/>
                  </a:lnTo>
                  <a:lnTo>
                    <a:pt x="126" y="390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14" y="336"/>
                  </a:lnTo>
                  <a:lnTo>
                    <a:pt x="108" y="324"/>
                  </a:lnTo>
                  <a:lnTo>
                    <a:pt x="108" y="306"/>
                  </a:lnTo>
                  <a:lnTo>
                    <a:pt x="114" y="300"/>
                  </a:lnTo>
                  <a:lnTo>
                    <a:pt x="114" y="294"/>
                  </a:lnTo>
                  <a:lnTo>
                    <a:pt x="132" y="258"/>
                  </a:lnTo>
                  <a:lnTo>
                    <a:pt x="132" y="234"/>
                  </a:lnTo>
                  <a:lnTo>
                    <a:pt x="126" y="168"/>
                  </a:lnTo>
                  <a:lnTo>
                    <a:pt x="120" y="150"/>
                  </a:lnTo>
                  <a:lnTo>
                    <a:pt x="114" y="138"/>
                  </a:lnTo>
                  <a:lnTo>
                    <a:pt x="108" y="126"/>
                  </a:lnTo>
                  <a:lnTo>
                    <a:pt x="108" y="120"/>
                  </a:lnTo>
                  <a:lnTo>
                    <a:pt x="108" y="114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20" y="96"/>
                  </a:lnTo>
                  <a:lnTo>
                    <a:pt x="132" y="102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56" y="90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96"/>
                  </a:lnTo>
                  <a:lnTo>
                    <a:pt x="186" y="96"/>
                  </a:lnTo>
                  <a:lnTo>
                    <a:pt x="192" y="114"/>
                  </a:lnTo>
                  <a:lnTo>
                    <a:pt x="204" y="132"/>
                  </a:lnTo>
                  <a:lnTo>
                    <a:pt x="216" y="144"/>
                  </a:lnTo>
                  <a:lnTo>
                    <a:pt x="240" y="162"/>
                  </a:lnTo>
                  <a:lnTo>
                    <a:pt x="270" y="156"/>
                  </a:lnTo>
                  <a:lnTo>
                    <a:pt x="282" y="126"/>
                  </a:lnTo>
                  <a:lnTo>
                    <a:pt x="282" y="96"/>
                  </a:lnTo>
                  <a:lnTo>
                    <a:pt x="294" y="54"/>
                  </a:lnTo>
                  <a:lnTo>
                    <a:pt x="324" y="48"/>
                  </a:lnTo>
                  <a:lnTo>
                    <a:pt x="342" y="48"/>
                  </a:lnTo>
                  <a:lnTo>
                    <a:pt x="384" y="48"/>
                  </a:lnTo>
                  <a:lnTo>
                    <a:pt x="390" y="30"/>
                  </a:lnTo>
                  <a:lnTo>
                    <a:pt x="402" y="18"/>
                  </a:lnTo>
                  <a:lnTo>
                    <a:pt x="438" y="6"/>
                  </a:lnTo>
                  <a:lnTo>
                    <a:pt x="438" y="0"/>
                  </a:lnTo>
                  <a:lnTo>
                    <a:pt x="444" y="0"/>
                  </a:lnTo>
                  <a:lnTo>
                    <a:pt x="444" y="6"/>
                  </a:lnTo>
                  <a:lnTo>
                    <a:pt x="450" y="6"/>
                  </a:lnTo>
                  <a:lnTo>
                    <a:pt x="456" y="12"/>
                  </a:lnTo>
                  <a:lnTo>
                    <a:pt x="456" y="18"/>
                  </a:lnTo>
                  <a:lnTo>
                    <a:pt x="462" y="24"/>
                  </a:lnTo>
                  <a:lnTo>
                    <a:pt x="462" y="30"/>
                  </a:lnTo>
                  <a:lnTo>
                    <a:pt x="468" y="36"/>
                  </a:lnTo>
                  <a:lnTo>
                    <a:pt x="462" y="36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74" y="60"/>
                  </a:lnTo>
                  <a:lnTo>
                    <a:pt x="486" y="78"/>
                  </a:lnTo>
                  <a:lnTo>
                    <a:pt x="486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8" y="102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498" y="114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504" y="126"/>
                  </a:lnTo>
                  <a:lnTo>
                    <a:pt x="498" y="132"/>
                  </a:lnTo>
                  <a:lnTo>
                    <a:pt x="504" y="138"/>
                  </a:lnTo>
                  <a:lnTo>
                    <a:pt x="504" y="132"/>
                  </a:lnTo>
                  <a:lnTo>
                    <a:pt x="510" y="132"/>
                  </a:lnTo>
                  <a:lnTo>
                    <a:pt x="510" y="138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56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6" y="168"/>
                  </a:lnTo>
                  <a:lnTo>
                    <a:pt x="552" y="168"/>
                  </a:lnTo>
                  <a:lnTo>
                    <a:pt x="546" y="168"/>
                  </a:lnTo>
                  <a:lnTo>
                    <a:pt x="546" y="174"/>
                  </a:lnTo>
                  <a:lnTo>
                    <a:pt x="558" y="180"/>
                  </a:lnTo>
                  <a:lnTo>
                    <a:pt x="564" y="180"/>
                  </a:lnTo>
                  <a:lnTo>
                    <a:pt x="564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52" y="198"/>
                  </a:lnTo>
                  <a:lnTo>
                    <a:pt x="558" y="204"/>
                  </a:lnTo>
                  <a:lnTo>
                    <a:pt x="564" y="204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22"/>
                  </a:lnTo>
                  <a:lnTo>
                    <a:pt x="576" y="228"/>
                  </a:lnTo>
                  <a:lnTo>
                    <a:pt x="570" y="228"/>
                  </a:lnTo>
                  <a:lnTo>
                    <a:pt x="570" y="234"/>
                  </a:lnTo>
                  <a:lnTo>
                    <a:pt x="576" y="234"/>
                  </a:lnTo>
                  <a:lnTo>
                    <a:pt x="582" y="234"/>
                  </a:lnTo>
                  <a:lnTo>
                    <a:pt x="588" y="234"/>
                  </a:lnTo>
                  <a:lnTo>
                    <a:pt x="588" y="240"/>
                  </a:lnTo>
                  <a:lnTo>
                    <a:pt x="588" y="246"/>
                  </a:lnTo>
                  <a:lnTo>
                    <a:pt x="588" y="252"/>
                  </a:lnTo>
                  <a:lnTo>
                    <a:pt x="582" y="252"/>
                  </a:lnTo>
                  <a:lnTo>
                    <a:pt x="576" y="252"/>
                  </a:lnTo>
                  <a:lnTo>
                    <a:pt x="582" y="258"/>
                  </a:lnTo>
                  <a:lnTo>
                    <a:pt x="582" y="264"/>
                  </a:lnTo>
                  <a:lnTo>
                    <a:pt x="576" y="264"/>
                  </a:lnTo>
                  <a:lnTo>
                    <a:pt x="546" y="264"/>
                  </a:lnTo>
                  <a:lnTo>
                    <a:pt x="546" y="276"/>
                  </a:lnTo>
                  <a:lnTo>
                    <a:pt x="540" y="282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40" y="324"/>
                  </a:lnTo>
                  <a:lnTo>
                    <a:pt x="552" y="330"/>
                  </a:lnTo>
                  <a:lnTo>
                    <a:pt x="558" y="342"/>
                  </a:lnTo>
                  <a:lnTo>
                    <a:pt x="546" y="372"/>
                  </a:lnTo>
                  <a:lnTo>
                    <a:pt x="534" y="372"/>
                  </a:lnTo>
                  <a:lnTo>
                    <a:pt x="534" y="384"/>
                  </a:lnTo>
                  <a:lnTo>
                    <a:pt x="522" y="384"/>
                  </a:lnTo>
                  <a:lnTo>
                    <a:pt x="510" y="402"/>
                  </a:lnTo>
                  <a:lnTo>
                    <a:pt x="504" y="420"/>
                  </a:lnTo>
                  <a:lnTo>
                    <a:pt x="492" y="426"/>
                  </a:lnTo>
                  <a:lnTo>
                    <a:pt x="486" y="432"/>
                  </a:lnTo>
                  <a:lnTo>
                    <a:pt x="486" y="444"/>
                  </a:lnTo>
                  <a:lnTo>
                    <a:pt x="486" y="450"/>
                  </a:lnTo>
                  <a:lnTo>
                    <a:pt x="486" y="456"/>
                  </a:lnTo>
                  <a:lnTo>
                    <a:pt x="486" y="462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80" y="474"/>
                  </a:lnTo>
                  <a:lnTo>
                    <a:pt x="480" y="480"/>
                  </a:lnTo>
                  <a:lnTo>
                    <a:pt x="480" y="486"/>
                  </a:lnTo>
                  <a:lnTo>
                    <a:pt x="480" y="492"/>
                  </a:lnTo>
                  <a:lnTo>
                    <a:pt x="480" y="498"/>
                  </a:lnTo>
                  <a:lnTo>
                    <a:pt x="474" y="504"/>
                  </a:lnTo>
                  <a:lnTo>
                    <a:pt x="468" y="510"/>
                  </a:lnTo>
                  <a:lnTo>
                    <a:pt x="462" y="510"/>
                  </a:lnTo>
                  <a:lnTo>
                    <a:pt x="456" y="504"/>
                  </a:lnTo>
                  <a:lnTo>
                    <a:pt x="456" y="498"/>
                  </a:lnTo>
                  <a:lnTo>
                    <a:pt x="450" y="498"/>
                  </a:lnTo>
                  <a:lnTo>
                    <a:pt x="444" y="498"/>
                  </a:lnTo>
                  <a:lnTo>
                    <a:pt x="438" y="498"/>
                  </a:lnTo>
                  <a:lnTo>
                    <a:pt x="432" y="498"/>
                  </a:lnTo>
                  <a:lnTo>
                    <a:pt x="426" y="504"/>
                  </a:lnTo>
                  <a:lnTo>
                    <a:pt x="426" y="510"/>
                  </a:lnTo>
                  <a:lnTo>
                    <a:pt x="420" y="516"/>
                  </a:lnTo>
                  <a:lnTo>
                    <a:pt x="414" y="522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84" y="528"/>
                  </a:lnTo>
                  <a:lnTo>
                    <a:pt x="366" y="540"/>
                  </a:lnTo>
                  <a:lnTo>
                    <a:pt x="360" y="522"/>
                  </a:lnTo>
                  <a:lnTo>
                    <a:pt x="348" y="504"/>
                  </a:lnTo>
                  <a:lnTo>
                    <a:pt x="330" y="504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34"/>
                  </a:lnTo>
                  <a:lnTo>
                    <a:pt x="288" y="540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2" y="540"/>
                  </a:lnTo>
                  <a:lnTo>
                    <a:pt x="282" y="546"/>
                  </a:lnTo>
                  <a:lnTo>
                    <a:pt x="288" y="552"/>
                  </a:lnTo>
                  <a:lnTo>
                    <a:pt x="294" y="564"/>
                  </a:lnTo>
                  <a:lnTo>
                    <a:pt x="300" y="564"/>
                  </a:lnTo>
                  <a:lnTo>
                    <a:pt x="300" y="570"/>
                  </a:lnTo>
                  <a:lnTo>
                    <a:pt x="294" y="570"/>
                  </a:lnTo>
                  <a:lnTo>
                    <a:pt x="288" y="570"/>
                  </a:lnTo>
                  <a:lnTo>
                    <a:pt x="288" y="576"/>
                  </a:lnTo>
                  <a:lnTo>
                    <a:pt x="288" y="582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606"/>
                  </a:lnTo>
                  <a:lnTo>
                    <a:pt x="264" y="612"/>
                  </a:lnTo>
                  <a:lnTo>
                    <a:pt x="258" y="612"/>
                  </a:lnTo>
                  <a:lnTo>
                    <a:pt x="252" y="612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52" y="630"/>
                  </a:lnTo>
                  <a:lnTo>
                    <a:pt x="264" y="642"/>
                  </a:lnTo>
                  <a:lnTo>
                    <a:pt x="258" y="648"/>
                  </a:lnTo>
                  <a:lnTo>
                    <a:pt x="246" y="654"/>
                  </a:lnTo>
                  <a:lnTo>
                    <a:pt x="240" y="660"/>
                  </a:lnTo>
                  <a:lnTo>
                    <a:pt x="234" y="672"/>
                  </a:lnTo>
                  <a:lnTo>
                    <a:pt x="234" y="678"/>
                  </a:lnTo>
                  <a:lnTo>
                    <a:pt x="228" y="684"/>
                  </a:lnTo>
                  <a:lnTo>
                    <a:pt x="228" y="696"/>
                  </a:lnTo>
                  <a:lnTo>
                    <a:pt x="216" y="71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6" name="Freeform 21">
              <a:extLst>
                <a:ext uri="{FF2B5EF4-FFF2-40B4-BE49-F238E27FC236}">
                  <a16:creationId xmlns:a16="http://schemas.microsoft.com/office/drawing/2014/main" id="{DCB1E808-522D-4C19-B741-CC5DD56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4178" y="3866464"/>
              <a:ext cx="250453" cy="371259"/>
            </a:xfrm>
            <a:custGeom>
              <a:avLst/>
              <a:gdLst>
                <a:gd name="T0" fmla="*/ 0 w 468"/>
                <a:gd name="T1" fmla="*/ 61 h 696"/>
                <a:gd name="T2" fmla="*/ 1 w 468"/>
                <a:gd name="T3" fmla="*/ 58 h 696"/>
                <a:gd name="T4" fmla="*/ 2 w 468"/>
                <a:gd name="T5" fmla="*/ 54 h 696"/>
                <a:gd name="T6" fmla="*/ 3 w 468"/>
                <a:gd name="T7" fmla="*/ 51 h 696"/>
                <a:gd name="T8" fmla="*/ 4 w 468"/>
                <a:gd name="T9" fmla="*/ 48 h 696"/>
                <a:gd name="T10" fmla="*/ 6 w 468"/>
                <a:gd name="T11" fmla="*/ 44 h 696"/>
                <a:gd name="T12" fmla="*/ 5 w 468"/>
                <a:gd name="T13" fmla="*/ 41 h 696"/>
                <a:gd name="T14" fmla="*/ 7 w 468"/>
                <a:gd name="T15" fmla="*/ 38 h 696"/>
                <a:gd name="T16" fmla="*/ 8 w 468"/>
                <a:gd name="T17" fmla="*/ 36 h 696"/>
                <a:gd name="T18" fmla="*/ 7 w 468"/>
                <a:gd name="T19" fmla="*/ 33 h 696"/>
                <a:gd name="T20" fmla="*/ 6 w 468"/>
                <a:gd name="T21" fmla="*/ 29 h 696"/>
                <a:gd name="T22" fmla="*/ 4 w 468"/>
                <a:gd name="T23" fmla="*/ 22 h 696"/>
                <a:gd name="T24" fmla="*/ 2 w 468"/>
                <a:gd name="T25" fmla="*/ 14 h 696"/>
                <a:gd name="T26" fmla="*/ 12 w 468"/>
                <a:gd name="T27" fmla="*/ 11 h 696"/>
                <a:gd name="T28" fmla="*/ 14 w 468"/>
                <a:gd name="T29" fmla="*/ 2 h 696"/>
                <a:gd name="T30" fmla="*/ 16 w 468"/>
                <a:gd name="T31" fmla="*/ 0 h 696"/>
                <a:gd name="T32" fmla="*/ 17 w 468"/>
                <a:gd name="T33" fmla="*/ 0 h 696"/>
                <a:gd name="T34" fmla="*/ 18 w 468"/>
                <a:gd name="T35" fmla="*/ 1 h 696"/>
                <a:gd name="T36" fmla="*/ 17 w 468"/>
                <a:gd name="T37" fmla="*/ 2 h 696"/>
                <a:gd name="T38" fmla="*/ 17 w 468"/>
                <a:gd name="T39" fmla="*/ 4 h 696"/>
                <a:gd name="T40" fmla="*/ 17 w 468"/>
                <a:gd name="T41" fmla="*/ 6 h 696"/>
                <a:gd name="T42" fmla="*/ 20 w 468"/>
                <a:gd name="T43" fmla="*/ 6 h 696"/>
                <a:gd name="T44" fmla="*/ 22 w 468"/>
                <a:gd name="T45" fmla="*/ 5 h 696"/>
                <a:gd name="T46" fmla="*/ 24 w 468"/>
                <a:gd name="T47" fmla="*/ 7 h 696"/>
                <a:gd name="T48" fmla="*/ 28 w 468"/>
                <a:gd name="T49" fmla="*/ 7 h 696"/>
                <a:gd name="T50" fmla="*/ 28 w 468"/>
                <a:gd name="T51" fmla="*/ 11 h 696"/>
                <a:gd name="T52" fmla="*/ 25 w 468"/>
                <a:gd name="T53" fmla="*/ 14 h 696"/>
                <a:gd name="T54" fmla="*/ 23 w 468"/>
                <a:gd name="T55" fmla="*/ 15 h 696"/>
                <a:gd name="T56" fmla="*/ 23 w 468"/>
                <a:gd name="T57" fmla="*/ 19 h 696"/>
                <a:gd name="T58" fmla="*/ 23 w 468"/>
                <a:gd name="T59" fmla="*/ 21 h 696"/>
                <a:gd name="T60" fmla="*/ 24 w 468"/>
                <a:gd name="T61" fmla="*/ 21 h 696"/>
                <a:gd name="T62" fmla="*/ 27 w 468"/>
                <a:gd name="T63" fmla="*/ 23 h 696"/>
                <a:gd name="T64" fmla="*/ 29 w 468"/>
                <a:gd name="T65" fmla="*/ 24 h 696"/>
                <a:gd name="T66" fmla="*/ 29 w 468"/>
                <a:gd name="T67" fmla="*/ 28 h 696"/>
                <a:gd name="T68" fmla="*/ 29 w 468"/>
                <a:gd name="T69" fmla="*/ 29 h 696"/>
                <a:gd name="T70" fmla="*/ 29 w 468"/>
                <a:gd name="T71" fmla="*/ 32 h 696"/>
                <a:gd name="T72" fmla="*/ 32 w 468"/>
                <a:gd name="T73" fmla="*/ 32 h 696"/>
                <a:gd name="T74" fmla="*/ 33 w 468"/>
                <a:gd name="T75" fmla="*/ 35 h 696"/>
                <a:gd name="T76" fmla="*/ 34 w 468"/>
                <a:gd name="T77" fmla="*/ 38 h 696"/>
                <a:gd name="T78" fmla="*/ 35 w 468"/>
                <a:gd name="T79" fmla="*/ 39 h 696"/>
                <a:gd name="T80" fmla="*/ 36 w 468"/>
                <a:gd name="T81" fmla="*/ 40 h 696"/>
                <a:gd name="T82" fmla="*/ 37 w 468"/>
                <a:gd name="T83" fmla="*/ 41 h 696"/>
                <a:gd name="T84" fmla="*/ 38 w 468"/>
                <a:gd name="T85" fmla="*/ 42 h 696"/>
                <a:gd name="T86" fmla="*/ 41 w 468"/>
                <a:gd name="T87" fmla="*/ 44 h 696"/>
                <a:gd name="T88" fmla="*/ 40 w 468"/>
                <a:gd name="T89" fmla="*/ 44 h 696"/>
                <a:gd name="T90" fmla="*/ 37 w 468"/>
                <a:gd name="T91" fmla="*/ 45 h 696"/>
                <a:gd name="T92" fmla="*/ 36 w 468"/>
                <a:gd name="T93" fmla="*/ 48 h 696"/>
                <a:gd name="T94" fmla="*/ 34 w 468"/>
                <a:gd name="T95" fmla="*/ 49 h 696"/>
                <a:gd name="T96" fmla="*/ 32 w 468"/>
                <a:gd name="T97" fmla="*/ 51 h 696"/>
                <a:gd name="T98" fmla="*/ 31 w 468"/>
                <a:gd name="T99" fmla="*/ 51 h 696"/>
                <a:gd name="T100" fmla="*/ 26 w 468"/>
                <a:gd name="T101" fmla="*/ 49 h 696"/>
                <a:gd name="T102" fmla="*/ 23 w 468"/>
                <a:gd name="T103" fmla="*/ 51 h 696"/>
                <a:gd name="T104" fmla="*/ 21 w 468"/>
                <a:gd name="T105" fmla="*/ 51 h 696"/>
                <a:gd name="T106" fmla="*/ 20 w 468"/>
                <a:gd name="T107" fmla="*/ 52 h 696"/>
                <a:gd name="T108" fmla="*/ 17 w 468"/>
                <a:gd name="T109" fmla="*/ 55 h 696"/>
                <a:gd name="T110" fmla="*/ 15 w 468"/>
                <a:gd name="T111" fmla="*/ 56 h 696"/>
                <a:gd name="T112" fmla="*/ 15 w 468"/>
                <a:gd name="T113" fmla="*/ 59 h 696"/>
                <a:gd name="T114" fmla="*/ 14 w 468"/>
                <a:gd name="T115" fmla="*/ 59 h 696"/>
                <a:gd name="T116" fmla="*/ 12 w 468"/>
                <a:gd name="T117" fmla="*/ 59 h 696"/>
                <a:gd name="T118" fmla="*/ 11 w 468"/>
                <a:gd name="T119" fmla="*/ 57 h 696"/>
                <a:gd name="T120" fmla="*/ 9 w 468"/>
                <a:gd name="T121" fmla="*/ 57 h 696"/>
                <a:gd name="T122" fmla="*/ 6 w 468"/>
                <a:gd name="T123" fmla="*/ 58 h 696"/>
                <a:gd name="T124" fmla="*/ 4 w 468"/>
                <a:gd name="T125" fmla="*/ 60 h 69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8"/>
                <a:gd name="T190" fmla="*/ 0 h 696"/>
                <a:gd name="T191" fmla="*/ 468 w 468"/>
                <a:gd name="T192" fmla="*/ 696 h 69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8" h="696">
                  <a:moveTo>
                    <a:pt x="30" y="696"/>
                  </a:moveTo>
                  <a:lnTo>
                    <a:pt x="18" y="696"/>
                  </a:lnTo>
                  <a:lnTo>
                    <a:pt x="6" y="696"/>
                  </a:lnTo>
                  <a:lnTo>
                    <a:pt x="0" y="690"/>
                  </a:lnTo>
                  <a:lnTo>
                    <a:pt x="6" y="678"/>
                  </a:lnTo>
                  <a:lnTo>
                    <a:pt x="12" y="666"/>
                  </a:lnTo>
                  <a:lnTo>
                    <a:pt x="18" y="654"/>
                  </a:lnTo>
                  <a:lnTo>
                    <a:pt x="18" y="642"/>
                  </a:lnTo>
                  <a:lnTo>
                    <a:pt x="18" y="618"/>
                  </a:lnTo>
                  <a:lnTo>
                    <a:pt x="24" y="606"/>
                  </a:lnTo>
                  <a:lnTo>
                    <a:pt x="30" y="594"/>
                  </a:lnTo>
                  <a:lnTo>
                    <a:pt x="30" y="582"/>
                  </a:lnTo>
                  <a:lnTo>
                    <a:pt x="36" y="576"/>
                  </a:lnTo>
                  <a:lnTo>
                    <a:pt x="42" y="564"/>
                  </a:lnTo>
                  <a:lnTo>
                    <a:pt x="48" y="546"/>
                  </a:lnTo>
                  <a:lnTo>
                    <a:pt x="48" y="528"/>
                  </a:lnTo>
                  <a:lnTo>
                    <a:pt x="60" y="516"/>
                  </a:lnTo>
                  <a:lnTo>
                    <a:pt x="66" y="504"/>
                  </a:lnTo>
                  <a:lnTo>
                    <a:pt x="66" y="492"/>
                  </a:lnTo>
                  <a:lnTo>
                    <a:pt x="60" y="480"/>
                  </a:lnTo>
                  <a:lnTo>
                    <a:pt x="54" y="468"/>
                  </a:lnTo>
                  <a:lnTo>
                    <a:pt x="60" y="456"/>
                  </a:lnTo>
                  <a:lnTo>
                    <a:pt x="72" y="450"/>
                  </a:lnTo>
                  <a:lnTo>
                    <a:pt x="84" y="438"/>
                  </a:lnTo>
                  <a:lnTo>
                    <a:pt x="90" y="426"/>
                  </a:lnTo>
                  <a:lnTo>
                    <a:pt x="90" y="420"/>
                  </a:lnTo>
                  <a:lnTo>
                    <a:pt x="90" y="408"/>
                  </a:lnTo>
                  <a:lnTo>
                    <a:pt x="90" y="402"/>
                  </a:lnTo>
                  <a:lnTo>
                    <a:pt x="84" y="396"/>
                  </a:lnTo>
                  <a:lnTo>
                    <a:pt x="78" y="378"/>
                  </a:lnTo>
                  <a:lnTo>
                    <a:pt x="72" y="360"/>
                  </a:lnTo>
                  <a:lnTo>
                    <a:pt x="66" y="348"/>
                  </a:lnTo>
                  <a:lnTo>
                    <a:pt x="72" y="336"/>
                  </a:lnTo>
                  <a:lnTo>
                    <a:pt x="66" y="306"/>
                  </a:lnTo>
                  <a:lnTo>
                    <a:pt x="54" y="276"/>
                  </a:lnTo>
                  <a:lnTo>
                    <a:pt x="42" y="252"/>
                  </a:lnTo>
                  <a:lnTo>
                    <a:pt x="36" y="222"/>
                  </a:lnTo>
                  <a:lnTo>
                    <a:pt x="30" y="192"/>
                  </a:lnTo>
                  <a:lnTo>
                    <a:pt x="24" y="162"/>
                  </a:lnTo>
                  <a:lnTo>
                    <a:pt x="42" y="174"/>
                  </a:lnTo>
                  <a:lnTo>
                    <a:pt x="120" y="138"/>
                  </a:lnTo>
                  <a:lnTo>
                    <a:pt x="132" y="126"/>
                  </a:lnTo>
                  <a:lnTo>
                    <a:pt x="120" y="54"/>
                  </a:lnTo>
                  <a:lnTo>
                    <a:pt x="156" y="30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0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8" y="18"/>
                  </a:lnTo>
                  <a:lnTo>
                    <a:pt x="198" y="24"/>
                  </a:lnTo>
                  <a:lnTo>
                    <a:pt x="198" y="30"/>
                  </a:lnTo>
                  <a:lnTo>
                    <a:pt x="198" y="42"/>
                  </a:lnTo>
                  <a:lnTo>
                    <a:pt x="198" y="48"/>
                  </a:lnTo>
                  <a:lnTo>
                    <a:pt x="192" y="60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28" y="60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34" y="60"/>
                  </a:lnTo>
                  <a:lnTo>
                    <a:pt x="252" y="60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312" y="84"/>
                  </a:lnTo>
                  <a:lnTo>
                    <a:pt x="318" y="96"/>
                  </a:lnTo>
                  <a:lnTo>
                    <a:pt x="318" y="102"/>
                  </a:lnTo>
                  <a:lnTo>
                    <a:pt x="312" y="120"/>
                  </a:lnTo>
                  <a:lnTo>
                    <a:pt x="306" y="132"/>
                  </a:lnTo>
                  <a:lnTo>
                    <a:pt x="294" y="144"/>
                  </a:lnTo>
                  <a:lnTo>
                    <a:pt x="282" y="156"/>
                  </a:lnTo>
                  <a:lnTo>
                    <a:pt x="276" y="162"/>
                  </a:lnTo>
                  <a:lnTo>
                    <a:pt x="270" y="162"/>
                  </a:lnTo>
                  <a:lnTo>
                    <a:pt x="264" y="174"/>
                  </a:lnTo>
                  <a:lnTo>
                    <a:pt x="264" y="192"/>
                  </a:lnTo>
                  <a:lnTo>
                    <a:pt x="264" y="216"/>
                  </a:lnTo>
                  <a:lnTo>
                    <a:pt x="258" y="216"/>
                  </a:lnTo>
                  <a:lnTo>
                    <a:pt x="258" y="228"/>
                  </a:lnTo>
                  <a:lnTo>
                    <a:pt x="252" y="234"/>
                  </a:lnTo>
                  <a:lnTo>
                    <a:pt x="258" y="240"/>
                  </a:lnTo>
                  <a:lnTo>
                    <a:pt x="264" y="240"/>
                  </a:lnTo>
                  <a:lnTo>
                    <a:pt x="270" y="240"/>
                  </a:lnTo>
                  <a:lnTo>
                    <a:pt x="276" y="240"/>
                  </a:lnTo>
                  <a:lnTo>
                    <a:pt x="288" y="240"/>
                  </a:lnTo>
                  <a:lnTo>
                    <a:pt x="300" y="246"/>
                  </a:lnTo>
                  <a:lnTo>
                    <a:pt x="306" y="258"/>
                  </a:lnTo>
                  <a:lnTo>
                    <a:pt x="312" y="264"/>
                  </a:lnTo>
                  <a:lnTo>
                    <a:pt x="318" y="276"/>
                  </a:lnTo>
                  <a:lnTo>
                    <a:pt x="330" y="282"/>
                  </a:lnTo>
                  <a:lnTo>
                    <a:pt x="330" y="300"/>
                  </a:lnTo>
                  <a:lnTo>
                    <a:pt x="336" y="312"/>
                  </a:lnTo>
                  <a:lnTo>
                    <a:pt x="336" y="318"/>
                  </a:lnTo>
                  <a:lnTo>
                    <a:pt x="336" y="330"/>
                  </a:lnTo>
                  <a:lnTo>
                    <a:pt x="324" y="330"/>
                  </a:lnTo>
                  <a:lnTo>
                    <a:pt x="330" y="336"/>
                  </a:lnTo>
                  <a:lnTo>
                    <a:pt x="330" y="342"/>
                  </a:lnTo>
                  <a:lnTo>
                    <a:pt x="336" y="348"/>
                  </a:lnTo>
                  <a:lnTo>
                    <a:pt x="330" y="360"/>
                  </a:lnTo>
                  <a:lnTo>
                    <a:pt x="336" y="372"/>
                  </a:lnTo>
                  <a:lnTo>
                    <a:pt x="354" y="366"/>
                  </a:lnTo>
                  <a:lnTo>
                    <a:pt x="366" y="366"/>
                  </a:lnTo>
                  <a:lnTo>
                    <a:pt x="372" y="378"/>
                  </a:lnTo>
                  <a:lnTo>
                    <a:pt x="372" y="390"/>
                  </a:lnTo>
                  <a:lnTo>
                    <a:pt x="378" y="396"/>
                  </a:lnTo>
                  <a:lnTo>
                    <a:pt x="378" y="408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44"/>
                  </a:lnTo>
                  <a:lnTo>
                    <a:pt x="390" y="444"/>
                  </a:lnTo>
                  <a:lnTo>
                    <a:pt x="396" y="444"/>
                  </a:lnTo>
                  <a:lnTo>
                    <a:pt x="402" y="450"/>
                  </a:lnTo>
                  <a:lnTo>
                    <a:pt x="408" y="450"/>
                  </a:lnTo>
                  <a:lnTo>
                    <a:pt x="408" y="462"/>
                  </a:lnTo>
                  <a:lnTo>
                    <a:pt x="408" y="468"/>
                  </a:lnTo>
                  <a:lnTo>
                    <a:pt x="414" y="474"/>
                  </a:lnTo>
                  <a:lnTo>
                    <a:pt x="420" y="474"/>
                  </a:lnTo>
                  <a:lnTo>
                    <a:pt x="420" y="480"/>
                  </a:lnTo>
                  <a:lnTo>
                    <a:pt x="426" y="480"/>
                  </a:lnTo>
                  <a:lnTo>
                    <a:pt x="432" y="480"/>
                  </a:lnTo>
                  <a:lnTo>
                    <a:pt x="462" y="486"/>
                  </a:lnTo>
                  <a:lnTo>
                    <a:pt x="468" y="492"/>
                  </a:lnTo>
                  <a:lnTo>
                    <a:pt x="468" y="498"/>
                  </a:lnTo>
                  <a:lnTo>
                    <a:pt x="462" y="498"/>
                  </a:lnTo>
                  <a:lnTo>
                    <a:pt x="456" y="498"/>
                  </a:lnTo>
                  <a:lnTo>
                    <a:pt x="456" y="504"/>
                  </a:lnTo>
                  <a:lnTo>
                    <a:pt x="456" y="510"/>
                  </a:lnTo>
                  <a:lnTo>
                    <a:pt x="450" y="516"/>
                  </a:lnTo>
                  <a:lnTo>
                    <a:pt x="426" y="516"/>
                  </a:lnTo>
                  <a:lnTo>
                    <a:pt x="408" y="528"/>
                  </a:lnTo>
                  <a:lnTo>
                    <a:pt x="408" y="546"/>
                  </a:lnTo>
                  <a:lnTo>
                    <a:pt x="414" y="552"/>
                  </a:lnTo>
                  <a:lnTo>
                    <a:pt x="408" y="558"/>
                  </a:lnTo>
                  <a:lnTo>
                    <a:pt x="402" y="564"/>
                  </a:lnTo>
                  <a:lnTo>
                    <a:pt x="384" y="564"/>
                  </a:lnTo>
                  <a:lnTo>
                    <a:pt x="372" y="564"/>
                  </a:lnTo>
                  <a:lnTo>
                    <a:pt x="372" y="576"/>
                  </a:lnTo>
                  <a:lnTo>
                    <a:pt x="366" y="576"/>
                  </a:lnTo>
                  <a:lnTo>
                    <a:pt x="366" y="582"/>
                  </a:lnTo>
                  <a:lnTo>
                    <a:pt x="360" y="582"/>
                  </a:lnTo>
                  <a:lnTo>
                    <a:pt x="348" y="576"/>
                  </a:lnTo>
                  <a:lnTo>
                    <a:pt x="336" y="570"/>
                  </a:lnTo>
                  <a:lnTo>
                    <a:pt x="324" y="570"/>
                  </a:lnTo>
                  <a:lnTo>
                    <a:pt x="300" y="564"/>
                  </a:lnTo>
                  <a:lnTo>
                    <a:pt x="282" y="564"/>
                  </a:lnTo>
                  <a:lnTo>
                    <a:pt x="270" y="570"/>
                  </a:lnTo>
                  <a:lnTo>
                    <a:pt x="264" y="576"/>
                  </a:lnTo>
                  <a:lnTo>
                    <a:pt x="258" y="576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34" y="594"/>
                  </a:lnTo>
                  <a:lnTo>
                    <a:pt x="228" y="600"/>
                  </a:lnTo>
                  <a:lnTo>
                    <a:pt x="210" y="618"/>
                  </a:lnTo>
                  <a:lnTo>
                    <a:pt x="210" y="624"/>
                  </a:lnTo>
                  <a:lnTo>
                    <a:pt x="192" y="630"/>
                  </a:lnTo>
                  <a:lnTo>
                    <a:pt x="186" y="630"/>
                  </a:lnTo>
                  <a:lnTo>
                    <a:pt x="180" y="636"/>
                  </a:lnTo>
                  <a:lnTo>
                    <a:pt x="174" y="642"/>
                  </a:lnTo>
                  <a:lnTo>
                    <a:pt x="168" y="642"/>
                  </a:lnTo>
                  <a:lnTo>
                    <a:pt x="168" y="654"/>
                  </a:lnTo>
                  <a:lnTo>
                    <a:pt x="168" y="678"/>
                  </a:lnTo>
                  <a:lnTo>
                    <a:pt x="162" y="684"/>
                  </a:lnTo>
                  <a:lnTo>
                    <a:pt x="156" y="684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72"/>
                  </a:lnTo>
                  <a:lnTo>
                    <a:pt x="138" y="672"/>
                  </a:lnTo>
                  <a:lnTo>
                    <a:pt x="138" y="666"/>
                  </a:lnTo>
                  <a:lnTo>
                    <a:pt x="132" y="660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48"/>
                  </a:lnTo>
                  <a:lnTo>
                    <a:pt x="102" y="654"/>
                  </a:lnTo>
                  <a:lnTo>
                    <a:pt x="90" y="654"/>
                  </a:lnTo>
                  <a:lnTo>
                    <a:pt x="84" y="654"/>
                  </a:lnTo>
                  <a:lnTo>
                    <a:pt x="72" y="660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36" y="684"/>
                  </a:lnTo>
                  <a:lnTo>
                    <a:pt x="30" y="6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7" name="Freeform 22">
              <a:extLst>
                <a:ext uri="{FF2B5EF4-FFF2-40B4-BE49-F238E27FC236}">
                  <a16:creationId xmlns:a16="http://schemas.microsoft.com/office/drawing/2014/main" id="{2F7A477D-6CF8-44B3-8B32-64EE03DC4D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2895" y="3967106"/>
              <a:ext cx="610479" cy="507686"/>
            </a:xfrm>
            <a:custGeom>
              <a:avLst/>
              <a:gdLst>
                <a:gd name="T0" fmla="*/ 87 w 1146"/>
                <a:gd name="T1" fmla="*/ 56 h 954"/>
                <a:gd name="T2" fmla="*/ 83 w 1146"/>
                <a:gd name="T3" fmla="*/ 66 h 954"/>
                <a:gd name="T4" fmla="*/ 74 w 1146"/>
                <a:gd name="T5" fmla="*/ 69 h 954"/>
                <a:gd name="T6" fmla="*/ 67 w 1146"/>
                <a:gd name="T7" fmla="*/ 75 h 954"/>
                <a:gd name="T8" fmla="*/ 59 w 1146"/>
                <a:gd name="T9" fmla="*/ 78 h 954"/>
                <a:gd name="T10" fmla="*/ 52 w 1146"/>
                <a:gd name="T11" fmla="*/ 77 h 954"/>
                <a:gd name="T12" fmla="*/ 48 w 1146"/>
                <a:gd name="T13" fmla="*/ 79 h 954"/>
                <a:gd name="T14" fmla="*/ 41 w 1146"/>
                <a:gd name="T15" fmla="*/ 82 h 954"/>
                <a:gd name="T16" fmla="*/ 29 w 1146"/>
                <a:gd name="T17" fmla="*/ 78 h 954"/>
                <a:gd name="T18" fmla="*/ 28 w 1146"/>
                <a:gd name="T19" fmla="*/ 76 h 954"/>
                <a:gd name="T20" fmla="*/ 28 w 1146"/>
                <a:gd name="T21" fmla="*/ 72 h 954"/>
                <a:gd name="T22" fmla="*/ 28 w 1146"/>
                <a:gd name="T23" fmla="*/ 74 h 954"/>
                <a:gd name="T24" fmla="*/ 21 w 1146"/>
                <a:gd name="T25" fmla="*/ 74 h 954"/>
                <a:gd name="T26" fmla="*/ 20 w 1146"/>
                <a:gd name="T27" fmla="*/ 67 h 954"/>
                <a:gd name="T28" fmla="*/ 23 w 1146"/>
                <a:gd name="T29" fmla="*/ 64 h 954"/>
                <a:gd name="T30" fmla="*/ 28 w 1146"/>
                <a:gd name="T31" fmla="*/ 65 h 954"/>
                <a:gd name="T32" fmla="*/ 32 w 1146"/>
                <a:gd name="T33" fmla="*/ 62 h 954"/>
                <a:gd name="T34" fmla="*/ 31 w 1146"/>
                <a:gd name="T35" fmla="*/ 56 h 954"/>
                <a:gd name="T36" fmla="*/ 36 w 1146"/>
                <a:gd name="T37" fmla="*/ 54 h 954"/>
                <a:gd name="T38" fmla="*/ 38 w 1146"/>
                <a:gd name="T39" fmla="*/ 54 h 954"/>
                <a:gd name="T40" fmla="*/ 32 w 1146"/>
                <a:gd name="T41" fmla="*/ 54 h 954"/>
                <a:gd name="T42" fmla="*/ 29 w 1146"/>
                <a:gd name="T43" fmla="*/ 59 h 954"/>
                <a:gd name="T44" fmla="*/ 26 w 1146"/>
                <a:gd name="T45" fmla="*/ 59 h 954"/>
                <a:gd name="T46" fmla="*/ 25 w 1146"/>
                <a:gd name="T47" fmla="*/ 61 h 954"/>
                <a:gd name="T48" fmla="*/ 20 w 1146"/>
                <a:gd name="T49" fmla="*/ 61 h 954"/>
                <a:gd name="T50" fmla="*/ 11 w 1146"/>
                <a:gd name="T51" fmla="*/ 54 h 954"/>
                <a:gd name="T52" fmla="*/ 14 w 1146"/>
                <a:gd name="T53" fmla="*/ 50 h 954"/>
                <a:gd name="T54" fmla="*/ 21 w 1146"/>
                <a:gd name="T55" fmla="*/ 51 h 954"/>
                <a:gd name="T56" fmla="*/ 24 w 1146"/>
                <a:gd name="T57" fmla="*/ 50 h 954"/>
                <a:gd name="T58" fmla="*/ 28 w 1146"/>
                <a:gd name="T59" fmla="*/ 48 h 954"/>
                <a:gd name="T60" fmla="*/ 30 w 1146"/>
                <a:gd name="T61" fmla="*/ 49 h 954"/>
                <a:gd name="T62" fmla="*/ 26 w 1146"/>
                <a:gd name="T63" fmla="*/ 47 h 954"/>
                <a:gd name="T64" fmla="*/ 20 w 1146"/>
                <a:gd name="T65" fmla="*/ 50 h 954"/>
                <a:gd name="T66" fmla="*/ 20 w 1146"/>
                <a:gd name="T67" fmla="*/ 44 h 954"/>
                <a:gd name="T68" fmla="*/ 19 w 1146"/>
                <a:gd name="T69" fmla="*/ 46 h 954"/>
                <a:gd name="T70" fmla="*/ 15 w 1146"/>
                <a:gd name="T71" fmla="*/ 49 h 954"/>
                <a:gd name="T72" fmla="*/ 8 w 1146"/>
                <a:gd name="T73" fmla="*/ 48 h 954"/>
                <a:gd name="T74" fmla="*/ 6 w 1146"/>
                <a:gd name="T75" fmla="*/ 41 h 954"/>
                <a:gd name="T76" fmla="*/ 10 w 1146"/>
                <a:gd name="T77" fmla="*/ 41 h 954"/>
                <a:gd name="T78" fmla="*/ 9 w 1146"/>
                <a:gd name="T79" fmla="*/ 39 h 954"/>
                <a:gd name="T80" fmla="*/ 14 w 1146"/>
                <a:gd name="T81" fmla="*/ 35 h 954"/>
                <a:gd name="T82" fmla="*/ 19 w 1146"/>
                <a:gd name="T83" fmla="*/ 32 h 954"/>
                <a:gd name="T84" fmla="*/ 20 w 1146"/>
                <a:gd name="T85" fmla="*/ 29 h 954"/>
                <a:gd name="T86" fmla="*/ 27 w 1146"/>
                <a:gd name="T87" fmla="*/ 27 h 954"/>
                <a:gd name="T88" fmla="*/ 33 w 1146"/>
                <a:gd name="T89" fmla="*/ 28 h 954"/>
                <a:gd name="T90" fmla="*/ 44 w 1146"/>
                <a:gd name="T91" fmla="*/ 27 h 954"/>
                <a:gd name="T92" fmla="*/ 52 w 1146"/>
                <a:gd name="T93" fmla="*/ 41 h 954"/>
                <a:gd name="T94" fmla="*/ 61 w 1146"/>
                <a:gd name="T95" fmla="*/ 40 h 954"/>
                <a:gd name="T96" fmla="*/ 69 w 1146"/>
                <a:gd name="T97" fmla="*/ 34 h 954"/>
                <a:gd name="T98" fmla="*/ 62 w 1146"/>
                <a:gd name="T99" fmla="*/ 12 h 954"/>
                <a:gd name="T100" fmla="*/ 74 w 1146"/>
                <a:gd name="T101" fmla="*/ 8 h 954"/>
                <a:gd name="T102" fmla="*/ 87 w 1146"/>
                <a:gd name="T103" fmla="*/ 1 h 954"/>
                <a:gd name="T104" fmla="*/ 99 w 1146"/>
                <a:gd name="T105" fmla="*/ 12 h 954"/>
                <a:gd name="T106" fmla="*/ 98 w 1146"/>
                <a:gd name="T107" fmla="*/ 27 h 954"/>
                <a:gd name="T108" fmla="*/ 16 w 1146"/>
                <a:gd name="T109" fmla="*/ 33 h 954"/>
                <a:gd name="T110" fmla="*/ 11 w 1146"/>
                <a:gd name="T111" fmla="*/ 36 h 954"/>
                <a:gd name="T112" fmla="*/ 5 w 1146"/>
                <a:gd name="T113" fmla="*/ 41 h 954"/>
                <a:gd name="T114" fmla="*/ 2 w 1146"/>
                <a:gd name="T115" fmla="*/ 36 h 954"/>
                <a:gd name="T116" fmla="*/ 5 w 1146"/>
                <a:gd name="T117" fmla="*/ 26 h 954"/>
                <a:gd name="T118" fmla="*/ 10 w 1146"/>
                <a:gd name="T119" fmla="*/ 20 h 954"/>
                <a:gd name="T120" fmla="*/ 13 w 1146"/>
                <a:gd name="T121" fmla="*/ 20 h 954"/>
                <a:gd name="T122" fmla="*/ 15 w 1146"/>
                <a:gd name="T123" fmla="*/ 27 h 95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46"/>
                <a:gd name="T187" fmla="*/ 0 h 954"/>
                <a:gd name="T188" fmla="*/ 1146 w 1146"/>
                <a:gd name="T189" fmla="*/ 954 h 95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46" h="954">
                  <a:moveTo>
                    <a:pt x="1056" y="498"/>
                  </a:moveTo>
                  <a:lnTo>
                    <a:pt x="1044" y="510"/>
                  </a:lnTo>
                  <a:lnTo>
                    <a:pt x="1032" y="516"/>
                  </a:lnTo>
                  <a:lnTo>
                    <a:pt x="1038" y="528"/>
                  </a:lnTo>
                  <a:lnTo>
                    <a:pt x="1050" y="540"/>
                  </a:lnTo>
                  <a:lnTo>
                    <a:pt x="1050" y="546"/>
                  </a:lnTo>
                  <a:lnTo>
                    <a:pt x="1050" y="564"/>
                  </a:lnTo>
                  <a:lnTo>
                    <a:pt x="1038" y="576"/>
                  </a:lnTo>
                  <a:lnTo>
                    <a:pt x="1032" y="588"/>
                  </a:lnTo>
                  <a:lnTo>
                    <a:pt x="1020" y="594"/>
                  </a:lnTo>
                  <a:lnTo>
                    <a:pt x="1008" y="594"/>
                  </a:lnTo>
                  <a:lnTo>
                    <a:pt x="1002" y="600"/>
                  </a:lnTo>
                  <a:lnTo>
                    <a:pt x="996" y="612"/>
                  </a:lnTo>
                  <a:lnTo>
                    <a:pt x="996" y="624"/>
                  </a:lnTo>
                  <a:lnTo>
                    <a:pt x="996" y="648"/>
                  </a:lnTo>
                  <a:lnTo>
                    <a:pt x="996" y="660"/>
                  </a:lnTo>
                  <a:lnTo>
                    <a:pt x="1002" y="672"/>
                  </a:lnTo>
                  <a:lnTo>
                    <a:pt x="1002" y="684"/>
                  </a:lnTo>
                  <a:lnTo>
                    <a:pt x="996" y="684"/>
                  </a:lnTo>
                  <a:lnTo>
                    <a:pt x="984" y="690"/>
                  </a:lnTo>
                  <a:lnTo>
                    <a:pt x="972" y="690"/>
                  </a:lnTo>
                  <a:lnTo>
                    <a:pt x="966" y="696"/>
                  </a:lnTo>
                  <a:lnTo>
                    <a:pt x="966" y="702"/>
                  </a:lnTo>
                  <a:lnTo>
                    <a:pt x="966" y="714"/>
                  </a:lnTo>
                  <a:lnTo>
                    <a:pt x="972" y="726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2" y="756"/>
                  </a:lnTo>
                  <a:lnTo>
                    <a:pt x="966" y="756"/>
                  </a:lnTo>
                  <a:lnTo>
                    <a:pt x="942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18" y="768"/>
                  </a:lnTo>
                  <a:lnTo>
                    <a:pt x="906" y="768"/>
                  </a:lnTo>
                  <a:lnTo>
                    <a:pt x="894" y="762"/>
                  </a:lnTo>
                  <a:lnTo>
                    <a:pt x="882" y="756"/>
                  </a:lnTo>
                  <a:lnTo>
                    <a:pt x="876" y="756"/>
                  </a:lnTo>
                  <a:lnTo>
                    <a:pt x="876" y="762"/>
                  </a:lnTo>
                  <a:lnTo>
                    <a:pt x="864" y="768"/>
                  </a:lnTo>
                  <a:lnTo>
                    <a:pt x="858" y="774"/>
                  </a:lnTo>
                  <a:lnTo>
                    <a:pt x="852" y="774"/>
                  </a:lnTo>
                  <a:lnTo>
                    <a:pt x="840" y="780"/>
                  </a:lnTo>
                  <a:lnTo>
                    <a:pt x="840" y="786"/>
                  </a:lnTo>
                  <a:lnTo>
                    <a:pt x="840" y="792"/>
                  </a:lnTo>
                  <a:lnTo>
                    <a:pt x="840" y="804"/>
                  </a:lnTo>
                  <a:lnTo>
                    <a:pt x="840" y="810"/>
                  </a:lnTo>
                  <a:lnTo>
                    <a:pt x="828" y="816"/>
                  </a:lnTo>
                  <a:lnTo>
                    <a:pt x="810" y="810"/>
                  </a:lnTo>
                  <a:lnTo>
                    <a:pt x="792" y="810"/>
                  </a:lnTo>
                  <a:lnTo>
                    <a:pt x="786" y="816"/>
                  </a:lnTo>
                  <a:lnTo>
                    <a:pt x="780" y="816"/>
                  </a:lnTo>
                  <a:lnTo>
                    <a:pt x="780" y="822"/>
                  </a:lnTo>
                  <a:lnTo>
                    <a:pt x="780" y="828"/>
                  </a:lnTo>
                  <a:lnTo>
                    <a:pt x="780" y="834"/>
                  </a:lnTo>
                  <a:lnTo>
                    <a:pt x="786" y="840"/>
                  </a:lnTo>
                  <a:lnTo>
                    <a:pt x="786" y="846"/>
                  </a:lnTo>
                  <a:lnTo>
                    <a:pt x="786" y="852"/>
                  </a:lnTo>
                  <a:lnTo>
                    <a:pt x="780" y="858"/>
                  </a:lnTo>
                  <a:lnTo>
                    <a:pt x="768" y="858"/>
                  </a:lnTo>
                  <a:lnTo>
                    <a:pt x="762" y="864"/>
                  </a:lnTo>
                  <a:lnTo>
                    <a:pt x="756" y="864"/>
                  </a:lnTo>
                  <a:lnTo>
                    <a:pt x="750" y="870"/>
                  </a:lnTo>
                  <a:lnTo>
                    <a:pt x="744" y="876"/>
                  </a:lnTo>
                  <a:lnTo>
                    <a:pt x="732" y="876"/>
                  </a:lnTo>
                  <a:lnTo>
                    <a:pt x="726" y="876"/>
                  </a:lnTo>
                  <a:lnTo>
                    <a:pt x="720" y="870"/>
                  </a:lnTo>
                  <a:lnTo>
                    <a:pt x="714" y="864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6" y="876"/>
                  </a:lnTo>
                  <a:lnTo>
                    <a:pt x="696" y="882"/>
                  </a:lnTo>
                  <a:lnTo>
                    <a:pt x="696" y="894"/>
                  </a:lnTo>
                  <a:lnTo>
                    <a:pt x="690" y="900"/>
                  </a:lnTo>
                  <a:lnTo>
                    <a:pt x="684" y="900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54" y="888"/>
                  </a:lnTo>
                  <a:lnTo>
                    <a:pt x="654" y="882"/>
                  </a:lnTo>
                  <a:lnTo>
                    <a:pt x="642" y="876"/>
                  </a:lnTo>
                  <a:lnTo>
                    <a:pt x="636" y="876"/>
                  </a:lnTo>
                  <a:lnTo>
                    <a:pt x="630" y="876"/>
                  </a:lnTo>
                  <a:lnTo>
                    <a:pt x="630" y="870"/>
                  </a:lnTo>
                  <a:lnTo>
                    <a:pt x="618" y="858"/>
                  </a:lnTo>
                  <a:lnTo>
                    <a:pt x="612" y="858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06" y="876"/>
                  </a:lnTo>
                  <a:lnTo>
                    <a:pt x="606" y="882"/>
                  </a:lnTo>
                  <a:lnTo>
                    <a:pt x="606" y="888"/>
                  </a:lnTo>
                  <a:lnTo>
                    <a:pt x="600" y="894"/>
                  </a:lnTo>
                  <a:lnTo>
                    <a:pt x="594" y="894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76" y="894"/>
                  </a:lnTo>
                  <a:lnTo>
                    <a:pt x="582" y="900"/>
                  </a:lnTo>
                  <a:lnTo>
                    <a:pt x="576" y="906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64" y="918"/>
                  </a:lnTo>
                  <a:lnTo>
                    <a:pt x="558" y="918"/>
                  </a:lnTo>
                  <a:lnTo>
                    <a:pt x="558" y="912"/>
                  </a:lnTo>
                  <a:lnTo>
                    <a:pt x="552" y="906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06"/>
                  </a:lnTo>
                  <a:lnTo>
                    <a:pt x="534" y="906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0" y="924"/>
                  </a:lnTo>
                  <a:lnTo>
                    <a:pt x="504" y="924"/>
                  </a:lnTo>
                  <a:lnTo>
                    <a:pt x="498" y="930"/>
                  </a:lnTo>
                  <a:lnTo>
                    <a:pt x="492" y="924"/>
                  </a:lnTo>
                  <a:lnTo>
                    <a:pt x="486" y="930"/>
                  </a:lnTo>
                  <a:lnTo>
                    <a:pt x="480" y="942"/>
                  </a:lnTo>
                  <a:lnTo>
                    <a:pt x="468" y="948"/>
                  </a:lnTo>
                  <a:lnTo>
                    <a:pt x="444" y="942"/>
                  </a:lnTo>
                  <a:lnTo>
                    <a:pt x="438" y="954"/>
                  </a:lnTo>
                  <a:lnTo>
                    <a:pt x="426" y="954"/>
                  </a:lnTo>
                  <a:lnTo>
                    <a:pt x="420" y="948"/>
                  </a:lnTo>
                  <a:lnTo>
                    <a:pt x="408" y="936"/>
                  </a:lnTo>
                  <a:lnTo>
                    <a:pt x="396" y="936"/>
                  </a:lnTo>
                  <a:lnTo>
                    <a:pt x="390" y="930"/>
                  </a:lnTo>
                  <a:lnTo>
                    <a:pt x="390" y="924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66" y="924"/>
                  </a:lnTo>
                  <a:lnTo>
                    <a:pt x="360" y="924"/>
                  </a:lnTo>
                  <a:lnTo>
                    <a:pt x="348" y="918"/>
                  </a:lnTo>
                  <a:lnTo>
                    <a:pt x="342" y="906"/>
                  </a:lnTo>
                  <a:lnTo>
                    <a:pt x="336" y="906"/>
                  </a:lnTo>
                  <a:lnTo>
                    <a:pt x="330" y="906"/>
                  </a:lnTo>
                  <a:lnTo>
                    <a:pt x="312" y="906"/>
                  </a:lnTo>
                  <a:lnTo>
                    <a:pt x="312" y="900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888"/>
                  </a:lnTo>
                  <a:lnTo>
                    <a:pt x="312" y="882"/>
                  </a:lnTo>
                  <a:lnTo>
                    <a:pt x="306" y="876"/>
                  </a:lnTo>
                  <a:lnTo>
                    <a:pt x="312" y="876"/>
                  </a:lnTo>
                  <a:lnTo>
                    <a:pt x="312" y="870"/>
                  </a:lnTo>
                  <a:lnTo>
                    <a:pt x="318" y="876"/>
                  </a:lnTo>
                  <a:lnTo>
                    <a:pt x="318" y="870"/>
                  </a:lnTo>
                  <a:lnTo>
                    <a:pt x="324" y="876"/>
                  </a:lnTo>
                  <a:lnTo>
                    <a:pt x="330" y="876"/>
                  </a:lnTo>
                  <a:lnTo>
                    <a:pt x="336" y="876"/>
                  </a:lnTo>
                  <a:lnTo>
                    <a:pt x="342" y="876"/>
                  </a:lnTo>
                  <a:lnTo>
                    <a:pt x="336" y="876"/>
                  </a:lnTo>
                  <a:lnTo>
                    <a:pt x="330" y="870"/>
                  </a:lnTo>
                  <a:lnTo>
                    <a:pt x="324" y="870"/>
                  </a:lnTo>
                  <a:lnTo>
                    <a:pt x="318" y="870"/>
                  </a:lnTo>
                  <a:lnTo>
                    <a:pt x="312" y="870"/>
                  </a:lnTo>
                  <a:lnTo>
                    <a:pt x="318" y="864"/>
                  </a:lnTo>
                  <a:lnTo>
                    <a:pt x="318" y="858"/>
                  </a:lnTo>
                  <a:lnTo>
                    <a:pt x="318" y="852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6" y="846"/>
                  </a:lnTo>
                  <a:lnTo>
                    <a:pt x="312" y="828"/>
                  </a:lnTo>
                  <a:lnTo>
                    <a:pt x="312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06" y="816"/>
                  </a:lnTo>
                  <a:lnTo>
                    <a:pt x="306" y="810"/>
                  </a:lnTo>
                  <a:lnTo>
                    <a:pt x="306" y="816"/>
                  </a:lnTo>
                  <a:lnTo>
                    <a:pt x="312" y="822"/>
                  </a:lnTo>
                  <a:lnTo>
                    <a:pt x="306" y="822"/>
                  </a:lnTo>
                  <a:lnTo>
                    <a:pt x="306" y="828"/>
                  </a:lnTo>
                  <a:lnTo>
                    <a:pt x="306" y="834"/>
                  </a:lnTo>
                  <a:lnTo>
                    <a:pt x="300" y="840"/>
                  </a:lnTo>
                  <a:lnTo>
                    <a:pt x="300" y="846"/>
                  </a:lnTo>
                  <a:lnTo>
                    <a:pt x="306" y="852"/>
                  </a:lnTo>
                  <a:lnTo>
                    <a:pt x="306" y="858"/>
                  </a:lnTo>
                  <a:lnTo>
                    <a:pt x="312" y="858"/>
                  </a:lnTo>
                  <a:lnTo>
                    <a:pt x="312" y="864"/>
                  </a:lnTo>
                  <a:lnTo>
                    <a:pt x="306" y="864"/>
                  </a:lnTo>
                  <a:lnTo>
                    <a:pt x="300" y="864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82" y="870"/>
                  </a:lnTo>
                  <a:lnTo>
                    <a:pt x="276" y="870"/>
                  </a:lnTo>
                  <a:lnTo>
                    <a:pt x="270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8" y="870"/>
                  </a:lnTo>
                  <a:lnTo>
                    <a:pt x="252" y="870"/>
                  </a:lnTo>
                  <a:lnTo>
                    <a:pt x="252" y="864"/>
                  </a:lnTo>
                  <a:lnTo>
                    <a:pt x="246" y="858"/>
                  </a:lnTo>
                  <a:lnTo>
                    <a:pt x="246" y="852"/>
                  </a:lnTo>
                  <a:lnTo>
                    <a:pt x="246" y="846"/>
                  </a:lnTo>
                  <a:lnTo>
                    <a:pt x="246" y="840"/>
                  </a:lnTo>
                  <a:lnTo>
                    <a:pt x="246" y="834"/>
                  </a:lnTo>
                  <a:lnTo>
                    <a:pt x="246" y="828"/>
                  </a:lnTo>
                  <a:lnTo>
                    <a:pt x="246" y="822"/>
                  </a:lnTo>
                  <a:lnTo>
                    <a:pt x="240" y="816"/>
                  </a:lnTo>
                  <a:lnTo>
                    <a:pt x="240" y="810"/>
                  </a:lnTo>
                  <a:lnTo>
                    <a:pt x="240" y="804"/>
                  </a:lnTo>
                  <a:lnTo>
                    <a:pt x="240" y="798"/>
                  </a:lnTo>
                  <a:lnTo>
                    <a:pt x="234" y="798"/>
                  </a:lnTo>
                  <a:lnTo>
                    <a:pt x="234" y="792"/>
                  </a:lnTo>
                  <a:lnTo>
                    <a:pt x="234" y="786"/>
                  </a:lnTo>
                  <a:lnTo>
                    <a:pt x="234" y="780"/>
                  </a:lnTo>
                  <a:lnTo>
                    <a:pt x="228" y="780"/>
                  </a:lnTo>
                  <a:lnTo>
                    <a:pt x="228" y="774"/>
                  </a:lnTo>
                  <a:lnTo>
                    <a:pt x="228" y="768"/>
                  </a:lnTo>
                  <a:lnTo>
                    <a:pt x="222" y="762"/>
                  </a:lnTo>
                  <a:lnTo>
                    <a:pt x="222" y="756"/>
                  </a:lnTo>
                  <a:lnTo>
                    <a:pt x="222" y="750"/>
                  </a:lnTo>
                  <a:lnTo>
                    <a:pt x="222" y="744"/>
                  </a:lnTo>
                  <a:lnTo>
                    <a:pt x="222" y="738"/>
                  </a:lnTo>
                  <a:lnTo>
                    <a:pt x="216" y="732"/>
                  </a:lnTo>
                  <a:lnTo>
                    <a:pt x="222" y="732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32"/>
                  </a:lnTo>
                  <a:lnTo>
                    <a:pt x="246" y="732"/>
                  </a:lnTo>
                  <a:lnTo>
                    <a:pt x="246" y="738"/>
                  </a:lnTo>
                  <a:lnTo>
                    <a:pt x="252" y="738"/>
                  </a:lnTo>
                  <a:lnTo>
                    <a:pt x="258" y="738"/>
                  </a:lnTo>
                  <a:lnTo>
                    <a:pt x="258" y="732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8" y="732"/>
                  </a:lnTo>
                  <a:lnTo>
                    <a:pt x="294" y="732"/>
                  </a:lnTo>
                  <a:lnTo>
                    <a:pt x="300" y="732"/>
                  </a:lnTo>
                  <a:lnTo>
                    <a:pt x="300" y="738"/>
                  </a:lnTo>
                  <a:lnTo>
                    <a:pt x="306" y="738"/>
                  </a:lnTo>
                  <a:lnTo>
                    <a:pt x="306" y="744"/>
                  </a:lnTo>
                  <a:lnTo>
                    <a:pt x="306" y="750"/>
                  </a:lnTo>
                  <a:lnTo>
                    <a:pt x="312" y="750"/>
                  </a:lnTo>
                  <a:lnTo>
                    <a:pt x="312" y="756"/>
                  </a:lnTo>
                  <a:lnTo>
                    <a:pt x="318" y="756"/>
                  </a:lnTo>
                  <a:lnTo>
                    <a:pt x="318" y="750"/>
                  </a:lnTo>
                  <a:lnTo>
                    <a:pt x="312" y="750"/>
                  </a:lnTo>
                  <a:lnTo>
                    <a:pt x="312" y="744"/>
                  </a:lnTo>
                  <a:lnTo>
                    <a:pt x="318" y="738"/>
                  </a:lnTo>
                  <a:lnTo>
                    <a:pt x="324" y="738"/>
                  </a:lnTo>
                  <a:lnTo>
                    <a:pt x="330" y="738"/>
                  </a:lnTo>
                  <a:lnTo>
                    <a:pt x="336" y="738"/>
                  </a:lnTo>
                  <a:lnTo>
                    <a:pt x="342" y="738"/>
                  </a:lnTo>
                  <a:lnTo>
                    <a:pt x="348" y="732"/>
                  </a:lnTo>
                  <a:lnTo>
                    <a:pt x="354" y="732"/>
                  </a:lnTo>
                  <a:lnTo>
                    <a:pt x="360" y="732"/>
                  </a:lnTo>
                  <a:lnTo>
                    <a:pt x="360" y="726"/>
                  </a:lnTo>
                  <a:lnTo>
                    <a:pt x="366" y="726"/>
                  </a:lnTo>
                  <a:lnTo>
                    <a:pt x="366" y="720"/>
                  </a:lnTo>
                  <a:lnTo>
                    <a:pt x="366" y="714"/>
                  </a:lnTo>
                  <a:lnTo>
                    <a:pt x="360" y="708"/>
                  </a:lnTo>
                  <a:lnTo>
                    <a:pt x="354" y="708"/>
                  </a:lnTo>
                  <a:lnTo>
                    <a:pt x="348" y="702"/>
                  </a:lnTo>
                  <a:lnTo>
                    <a:pt x="354" y="702"/>
                  </a:lnTo>
                  <a:lnTo>
                    <a:pt x="354" y="696"/>
                  </a:lnTo>
                  <a:lnTo>
                    <a:pt x="348" y="696"/>
                  </a:lnTo>
                  <a:lnTo>
                    <a:pt x="348" y="690"/>
                  </a:lnTo>
                  <a:lnTo>
                    <a:pt x="342" y="690"/>
                  </a:lnTo>
                  <a:lnTo>
                    <a:pt x="342" y="684"/>
                  </a:lnTo>
                  <a:lnTo>
                    <a:pt x="342" y="678"/>
                  </a:lnTo>
                  <a:lnTo>
                    <a:pt x="342" y="666"/>
                  </a:lnTo>
                  <a:lnTo>
                    <a:pt x="342" y="660"/>
                  </a:lnTo>
                  <a:lnTo>
                    <a:pt x="348" y="654"/>
                  </a:lnTo>
                  <a:lnTo>
                    <a:pt x="348" y="642"/>
                  </a:lnTo>
                  <a:lnTo>
                    <a:pt x="354" y="642"/>
                  </a:lnTo>
                  <a:lnTo>
                    <a:pt x="360" y="642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66" y="642"/>
                  </a:lnTo>
                  <a:lnTo>
                    <a:pt x="372" y="642"/>
                  </a:lnTo>
                  <a:lnTo>
                    <a:pt x="378" y="642"/>
                  </a:lnTo>
                  <a:lnTo>
                    <a:pt x="384" y="642"/>
                  </a:lnTo>
                  <a:lnTo>
                    <a:pt x="390" y="642"/>
                  </a:lnTo>
                  <a:lnTo>
                    <a:pt x="396" y="642"/>
                  </a:lnTo>
                  <a:lnTo>
                    <a:pt x="396" y="636"/>
                  </a:lnTo>
                  <a:lnTo>
                    <a:pt x="402" y="636"/>
                  </a:lnTo>
                  <a:lnTo>
                    <a:pt x="408" y="636"/>
                  </a:lnTo>
                  <a:lnTo>
                    <a:pt x="402" y="636"/>
                  </a:lnTo>
                  <a:lnTo>
                    <a:pt x="402" y="630"/>
                  </a:lnTo>
                  <a:lnTo>
                    <a:pt x="408" y="630"/>
                  </a:lnTo>
                  <a:lnTo>
                    <a:pt x="408" y="624"/>
                  </a:lnTo>
                  <a:lnTo>
                    <a:pt x="408" y="618"/>
                  </a:lnTo>
                  <a:lnTo>
                    <a:pt x="414" y="618"/>
                  </a:lnTo>
                  <a:lnTo>
                    <a:pt x="420" y="618"/>
                  </a:lnTo>
                  <a:lnTo>
                    <a:pt x="426" y="624"/>
                  </a:lnTo>
                  <a:lnTo>
                    <a:pt x="432" y="624"/>
                  </a:lnTo>
                  <a:lnTo>
                    <a:pt x="438" y="624"/>
                  </a:lnTo>
                  <a:lnTo>
                    <a:pt x="438" y="618"/>
                  </a:lnTo>
                  <a:lnTo>
                    <a:pt x="444" y="618"/>
                  </a:lnTo>
                  <a:lnTo>
                    <a:pt x="450" y="618"/>
                  </a:lnTo>
                  <a:lnTo>
                    <a:pt x="444" y="618"/>
                  </a:lnTo>
                  <a:lnTo>
                    <a:pt x="438" y="618"/>
                  </a:lnTo>
                  <a:lnTo>
                    <a:pt x="438" y="612"/>
                  </a:lnTo>
                  <a:lnTo>
                    <a:pt x="438" y="618"/>
                  </a:lnTo>
                  <a:lnTo>
                    <a:pt x="432" y="624"/>
                  </a:lnTo>
                  <a:lnTo>
                    <a:pt x="426" y="618"/>
                  </a:lnTo>
                  <a:lnTo>
                    <a:pt x="420" y="612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402" y="624"/>
                  </a:lnTo>
                  <a:lnTo>
                    <a:pt x="396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78" y="630"/>
                  </a:lnTo>
                  <a:lnTo>
                    <a:pt x="378" y="636"/>
                  </a:lnTo>
                  <a:lnTo>
                    <a:pt x="372" y="630"/>
                  </a:lnTo>
                  <a:lnTo>
                    <a:pt x="366" y="630"/>
                  </a:lnTo>
                  <a:lnTo>
                    <a:pt x="360" y="630"/>
                  </a:lnTo>
                  <a:lnTo>
                    <a:pt x="354" y="630"/>
                  </a:lnTo>
                  <a:lnTo>
                    <a:pt x="354" y="636"/>
                  </a:lnTo>
                  <a:lnTo>
                    <a:pt x="348" y="636"/>
                  </a:lnTo>
                  <a:lnTo>
                    <a:pt x="348" y="642"/>
                  </a:lnTo>
                  <a:lnTo>
                    <a:pt x="342" y="642"/>
                  </a:lnTo>
                  <a:lnTo>
                    <a:pt x="342" y="648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6" y="660"/>
                  </a:lnTo>
                  <a:lnTo>
                    <a:pt x="336" y="666"/>
                  </a:lnTo>
                  <a:lnTo>
                    <a:pt x="330" y="672"/>
                  </a:lnTo>
                  <a:lnTo>
                    <a:pt x="330" y="678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24" y="696"/>
                  </a:lnTo>
                  <a:lnTo>
                    <a:pt x="324" y="702"/>
                  </a:lnTo>
                  <a:lnTo>
                    <a:pt x="318" y="702"/>
                  </a:lnTo>
                  <a:lnTo>
                    <a:pt x="318" y="708"/>
                  </a:lnTo>
                  <a:lnTo>
                    <a:pt x="312" y="708"/>
                  </a:lnTo>
                  <a:lnTo>
                    <a:pt x="312" y="702"/>
                  </a:lnTo>
                  <a:lnTo>
                    <a:pt x="306" y="702"/>
                  </a:lnTo>
                  <a:lnTo>
                    <a:pt x="300" y="702"/>
                  </a:lnTo>
                  <a:lnTo>
                    <a:pt x="294" y="696"/>
                  </a:lnTo>
                  <a:lnTo>
                    <a:pt x="288" y="696"/>
                  </a:lnTo>
                  <a:lnTo>
                    <a:pt x="282" y="690"/>
                  </a:lnTo>
                  <a:lnTo>
                    <a:pt x="288" y="684"/>
                  </a:lnTo>
                  <a:lnTo>
                    <a:pt x="294" y="684"/>
                  </a:lnTo>
                  <a:lnTo>
                    <a:pt x="294" y="678"/>
                  </a:lnTo>
                  <a:lnTo>
                    <a:pt x="300" y="678"/>
                  </a:lnTo>
                  <a:lnTo>
                    <a:pt x="294" y="678"/>
                  </a:lnTo>
                  <a:lnTo>
                    <a:pt x="294" y="672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94" y="672"/>
                  </a:lnTo>
                  <a:lnTo>
                    <a:pt x="288" y="678"/>
                  </a:lnTo>
                  <a:lnTo>
                    <a:pt x="282" y="684"/>
                  </a:lnTo>
                  <a:lnTo>
                    <a:pt x="282" y="678"/>
                  </a:lnTo>
                  <a:lnTo>
                    <a:pt x="276" y="678"/>
                  </a:lnTo>
                  <a:lnTo>
                    <a:pt x="282" y="684"/>
                  </a:lnTo>
                  <a:lnTo>
                    <a:pt x="282" y="690"/>
                  </a:lnTo>
                  <a:lnTo>
                    <a:pt x="282" y="696"/>
                  </a:lnTo>
                  <a:lnTo>
                    <a:pt x="288" y="702"/>
                  </a:lnTo>
                  <a:lnTo>
                    <a:pt x="294" y="708"/>
                  </a:lnTo>
                  <a:lnTo>
                    <a:pt x="294" y="714"/>
                  </a:lnTo>
                  <a:lnTo>
                    <a:pt x="288" y="714"/>
                  </a:lnTo>
                  <a:lnTo>
                    <a:pt x="282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64" y="714"/>
                  </a:lnTo>
                  <a:lnTo>
                    <a:pt x="258" y="714"/>
                  </a:lnTo>
                  <a:lnTo>
                    <a:pt x="252" y="714"/>
                  </a:lnTo>
                  <a:lnTo>
                    <a:pt x="246" y="714"/>
                  </a:lnTo>
                  <a:lnTo>
                    <a:pt x="240" y="714"/>
                  </a:lnTo>
                  <a:lnTo>
                    <a:pt x="240" y="708"/>
                  </a:lnTo>
                  <a:lnTo>
                    <a:pt x="234" y="708"/>
                  </a:lnTo>
                  <a:lnTo>
                    <a:pt x="228" y="708"/>
                  </a:lnTo>
                  <a:lnTo>
                    <a:pt x="222" y="702"/>
                  </a:lnTo>
                  <a:lnTo>
                    <a:pt x="216" y="702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2" y="690"/>
                  </a:lnTo>
                  <a:lnTo>
                    <a:pt x="186" y="690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68" y="684"/>
                  </a:lnTo>
                  <a:lnTo>
                    <a:pt x="168" y="678"/>
                  </a:lnTo>
                  <a:lnTo>
                    <a:pt x="156" y="672"/>
                  </a:lnTo>
                  <a:lnTo>
                    <a:pt x="150" y="660"/>
                  </a:lnTo>
                  <a:lnTo>
                    <a:pt x="126" y="630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12"/>
                  </a:lnTo>
                  <a:lnTo>
                    <a:pt x="126" y="606"/>
                  </a:lnTo>
                  <a:lnTo>
                    <a:pt x="126" y="600"/>
                  </a:lnTo>
                  <a:lnTo>
                    <a:pt x="132" y="594"/>
                  </a:lnTo>
                  <a:lnTo>
                    <a:pt x="138" y="594"/>
                  </a:lnTo>
                  <a:lnTo>
                    <a:pt x="144" y="588"/>
                  </a:lnTo>
                  <a:lnTo>
                    <a:pt x="144" y="582"/>
                  </a:lnTo>
                  <a:lnTo>
                    <a:pt x="150" y="582"/>
                  </a:lnTo>
                  <a:lnTo>
                    <a:pt x="150" y="576"/>
                  </a:lnTo>
                  <a:lnTo>
                    <a:pt x="156" y="576"/>
                  </a:lnTo>
                  <a:lnTo>
                    <a:pt x="156" y="582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8" y="576"/>
                  </a:lnTo>
                  <a:lnTo>
                    <a:pt x="174" y="576"/>
                  </a:lnTo>
                  <a:lnTo>
                    <a:pt x="180" y="582"/>
                  </a:lnTo>
                  <a:lnTo>
                    <a:pt x="192" y="582"/>
                  </a:lnTo>
                  <a:lnTo>
                    <a:pt x="198" y="582"/>
                  </a:lnTo>
                  <a:lnTo>
                    <a:pt x="204" y="582"/>
                  </a:lnTo>
                  <a:lnTo>
                    <a:pt x="210" y="582"/>
                  </a:lnTo>
                  <a:lnTo>
                    <a:pt x="216" y="588"/>
                  </a:lnTo>
                  <a:lnTo>
                    <a:pt x="222" y="588"/>
                  </a:lnTo>
                  <a:lnTo>
                    <a:pt x="234" y="588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46" y="594"/>
                  </a:lnTo>
                  <a:lnTo>
                    <a:pt x="252" y="588"/>
                  </a:lnTo>
                  <a:lnTo>
                    <a:pt x="258" y="588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52" y="600"/>
                  </a:lnTo>
                  <a:lnTo>
                    <a:pt x="246" y="600"/>
                  </a:lnTo>
                  <a:lnTo>
                    <a:pt x="246" y="606"/>
                  </a:lnTo>
                  <a:lnTo>
                    <a:pt x="246" y="600"/>
                  </a:lnTo>
                  <a:lnTo>
                    <a:pt x="252" y="600"/>
                  </a:lnTo>
                  <a:lnTo>
                    <a:pt x="258" y="594"/>
                  </a:lnTo>
                  <a:lnTo>
                    <a:pt x="264" y="594"/>
                  </a:lnTo>
                  <a:lnTo>
                    <a:pt x="264" y="588"/>
                  </a:lnTo>
                  <a:lnTo>
                    <a:pt x="270" y="588"/>
                  </a:lnTo>
                  <a:lnTo>
                    <a:pt x="270" y="582"/>
                  </a:lnTo>
                  <a:lnTo>
                    <a:pt x="270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76" y="564"/>
                  </a:lnTo>
                  <a:lnTo>
                    <a:pt x="270" y="558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58"/>
                  </a:lnTo>
                  <a:lnTo>
                    <a:pt x="282" y="558"/>
                  </a:lnTo>
                  <a:lnTo>
                    <a:pt x="288" y="558"/>
                  </a:lnTo>
                  <a:lnTo>
                    <a:pt x="294" y="558"/>
                  </a:lnTo>
                  <a:lnTo>
                    <a:pt x="300" y="558"/>
                  </a:lnTo>
                  <a:lnTo>
                    <a:pt x="306" y="558"/>
                  </a:lnTo>
                  <a:lnTo>
                    <a:pt x="312" y="558"/>
                  </a:lnTo>
                  <a:lnTo>
                    <a:pt x="318" y="558"/>
                  </a:lnTo>
                  <a:lnTo>
                    <a:pt x="318" y="564"/>
                  </a:lnTo>
                  <a:lnTo>
                    <a:pt x="324" y="564"/>
                  </a:lnTo>
                  <a:lnTo>
                    <a:pt x="324" y="570"/>
                  </a:lnTo>
                  <a:lnTo>
                    <a:pt x="330" y="570"/>
                  </a:lnTo>
                  <a:lnTo>
                    <a:pt x="336" y="570"/>
                  </a:lnTo>
                  <a:lnTo>
                    <a:pt x="342" y="570"/>
                  </a:lnTo>
                  <a:lnTo>
                    <a:pt x="348" y="570"/>
                  </a:lnTo>
                  <a:lnTo>
                    <a:pt x="354" y="570"/>
                  </a:lnTo>
                  <a:lnTo>
                    <a:pt x="360" y="570"/>
                  </a:lnTo>
                  <a:lnTo>
                    <a:pt x="366" y="570"/>
                  </a:lnTo>
                  <a:lnTo>
                    <a:pt x="360" y="570"/>
                  </a:lnTo>
                  <a:lnTo>
                    <a:pt x="360" y="564"/>
                  </a:lnTo>
                  <a:lnTo>
                    <a:pt x="354" y="564"/>
                  </a:lnTo>
                  <a:lnTo>
                    <a:pt x="348" y="564"/>
                  </a:lnTo>
                  <a:lnTo>
                    <a:pt x="342" y="564"/>
                  </a:lnTo>
                  <a:lnTo>
                    <a:pt x="342" y="570"/>
                  </a:lnTo>
                  <a:lnTo>
                    <a:pt x="336" y="564"/>
                  </a:lnTo>
                  <a:lnTo>
                    <a:pt x="336" y="570"/>
                  </a:lnTo>
                  <a:lnTo>
                    <a:pt x="336" y="564"/>
                  </a:lnTo>
                  <a:lnTo>
                    <a:pt x="330" y="564"/>
                  </a:lnTo>
                  <a:lnTo>
                    <a:pt x="324" y="558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18" y="558"/>
                  </a:lnTo>
                  <a:lnTo>
                    <a:pt x="312" y="552"/>
                  </a:lnTo>
                  <a:lnTo>
                    <a:pt x="312" y="558"/>
                  </a:lnTo>
                  <a:lnTo>
                    <a:pt x="312" y="552"/>
                  </a:lnTo>
                  <a:lnTo>
                    <a:pt x="306" y="552"/>
                  </a:lnTo>
                  <a:lnTo>
                    <a:pt x="300" y="546"/>
                  </a:lnTo>
                  <a:lnTo>
                    <a:pt x="294" y="546"/>
                  </a:lnTo>
                  <a:lnTo>
                    <a:pt x="288" y="546"/>
                  </a:lnTo>
                  <a:lnTo>
                    <a:pt x="282" y="546"/>
                  </a:lnTo>
                  <a:lnTo>
                    <a:pt x="276" y="546"/>
                  </a:lnTo>
                  <a:lnTo>
                    <a:pt x="276" y="552"/>
                  </a:lnTo>
                  <a:lnTo>
                    <a:pt x="270" y="552"/>
                  </a:lnTo>
                  <a:lnTo>
                    <a:pt x="270" y="558"/>
                  </a:lnTo>
                  <a:lnTo>
                    <a:pt x="270" y="564"/>
                  </a:lnTo>
                  <a:lnTo>
                    <a:pt x="264" y="570"/>
                  </a:lnTo>
                  <a:lnTo>
                    <a:pt x="258" y="576"/>
                  </a:lnTo>
                  <a:lnTo>
                    <a:pt x="258" y="582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34" y="576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16" y="552"/>
                  </a:lnTo>
                  <a:lnTo>
                    <a:pt x="216" y="546"/>
                  </a:lnTo>
                  <a:lnTo>
                    <a:pt x="216" y="540"/>
                  </a:lnTo>
                  <a:lnTo>
                    <a:pt x="222" y="534"/>
                  </a:lnTo>
                  <a:lnTo>
                    <a:pt x="222" y="528"/>
                  </a:lnTo>
                  <a:lnTo>
                    <a:pt x="228" y="522"/>
                  </a:lnTo>
                  <a:lnTo>
                    <a:pt x="228" y="516"/>
                  </a:lnTo>
                  <a:lnTo>
                    <a:pt x="228" y="510"/>
                  </a:lnTo>
                  <a:lnTo>
                    <a:pt x="234" y="510"/>
                  </a:lnTo>
                  <a:lnTo>
                    <a:pt x="240" y="516"/>
                  </a:lnTo>
                  <a:lnTo>
                    <a:pt x="246" y="522"/>
                  </a:lnTo>
                  <a:lnTo>
                    <a:pt x="246" y="516"/>
                  </a:lnTo>
                  <a:lnTo>
                    <a:pt x="240" y="516"/>
                  </a:lnTo>
                  <a:lnTo>
                    <a:pt x="240" y="510"/>
                  </a:lnTo>
                  <a:lnTo>
                    <a:pt x="234" y="510"/>
                  </a:lnTo>
                  <a:lnTo>
                    <a:pt x="234" y="504"/>
                  </a:lnTo>
                  <a:lnTo>
                    <a:pt x="228" y="504"/>
                  </a:lnTo>
                  <a:lnTo>
                    <a:pt x="222" y="504"/>
                  </a:lnTo>
                  <a:lnTo>
                    <a:pt x="222" y="498"/>
                  </a:lnTo>
                  <a:lnTo>
                    <a:pt x="222" y="504"/>
                  </a:lnTo>
                  <a:lnTo>
                    <a:pt x="222" y="510"/>
                  </a:lnTo>
                  <a:lnTo>
                    <a:pt x="222" y="516"/>
                  </a:lnTo>
                  <a:lnTo>
                    <a:pt x="216" y="522"/>
                  </a:lnTo>
                  <a:lnTo>
                    <a:pt x="216" y="528"/>
                  </a:lnTo>
                  <a:lnTo>
                    <a:pt x="210" y="528"/>
                  </a:lnTo>
                  <a:lnTo>
                    <a:pt x="216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04" y="546"/>
                  </a:lnTo>
                  <a:lnTo>
                    <a:pt x="204" y="552"/>
                  </a:lnTo>
                  <a:lnTo>
                    <a:pt x="204" y="558"/>
                  </a:lnTo>
                  <a:lnTo>
                    <a:pt x="204" y="564"/>
                  </a:lnTo>
                  <a:lnTo>
                    <a:pt x="198" y="570"/>
                  </a:lnTo>
                  <a:lnTo>
                    <a:pt x="192" y="564"/>
                  </a:lnTo>
                  <a:lnTo>
                    <a:pt x="186" y="564"/>
                  </a:lnTo>
                  <a:lnTo>
                    <a:pt x="180" y="564"/>
                  </a:lnTo>
                  <a:lnTo>
                    <a:pt x="174" y="564"/>
                  </a:lnTo>
                  <a:lnTo>
                    <a:pt x="168" y="564"/>
                  </a:lnTo>
                  <a:lnTo>
                    <a:pt x="162" y="564"/>
                  </a:lnTo>
                  <a:lnTo>
                    <a:pt x="156" y="570"/>
                  </a:lnTo>
                  <a:lnTo>
                    <a:pt x="150" y="570"/>
                  </a:lnTo>
                  <a:lnTo>
                    <a:pt x="150" y="564"/>
                  </a:lnTo>
                  <a:lnTo>
                    <a:pt x="150" y="570"/>
                  </a:lnTo>
                  <a:lnTo>
                    <a:pt x="150" y="576"/>
                  </a:lnTo>
                  <a:lnTo>
                    <a:pt x="144" y="576"/>
                  </a:lnTo>
                  <a:lnTo>
                    <a:pt x="138" y="576"/>
                  </a:lnTo>
                  <a:lnTo>
                    <a:pt x="132" y="582"/>
                  </a:lnTo>
                  <a:lnTo>
                    <a:pt x="126" y="582"/>
                  </a:lnTo>
                  <a:lnTo>
                    <a:pt x="120" y="582"/>
                  </a:lnTo>
                  <a:lnTo>
                    <a:pt x="114" y="576"/>
                  </a:lnTo>
                  <a:lnTo>
                    <a:pt x="108" y="564"/>
                  </a:lnTo>
                  <a:lnTo>
                    <a:pt x="102" y="558"/>
                  </a:lnTo>
                  <a:lnTo>
                    <a:pt x="96" y="552"/>
                  </a:lnTo>
                  <a:lnTo>
                    <a:pt x="90" y="546"/>
                  </a:lnTo>
                  <a:lnTo>
                    <a:pt x="90" y="540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2"/>
                  </a:lnTo>
                  <a:lnTo>
                    <a:pt x="78" y="516"/>
                  </a:lnTo>
                  <a:lnTo>
                    <a:pt x="72" y="510"/>
                  </a:lnTo>
                  <a:lnTo>
                    <a:pt x="66" y="504"/>
                  </a:lnTo>
                  <a:lnTo>
                    <a:pt x="66" y="498"/>
                  </a:lnTo>
                  <a:lnTo>
                    <a:pt x="66" y="492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6" y="474"/>
                  </a:lnTo>
                  <a:lnTo>
                    <a:pt x="72" y="474"/>
                  </a:lnTo>
                  <a:lnTo>
                    <a:pt x="72" y="468"/>
                  </a:lnTo>
                  <a:lnTo>
                    <a:pt x="78" y="462"/>
                  </a:lnTo>
                  <a:lnTo>
                    <a:pt x="78" y="456"/>
                  </a:lnTo>
                  <a:lnTo>
                    <a:pt x="84" y="456"/>
                  </a:lnTo>
                  <a:lnTo>
                    <a:pt x="84" y="450"/>
                  </a:lnTo>
                  <a:lnTo>
                    <a:pt x="84" y="444"/>
                  </a:lnTo>
                  <a:lnTo>
                    <a:pt x="90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02" y="450"/>
                  </a:lnTo>
                  <a:lnTo>
                    <a:pt x="108" y="450"/>
                  </a:lnTo>
                  <a:lnTo>
                    <a:pt x="108" y="456"/>
                  </a:lnTo>
                  <a:lnTo>
                    <a:pt x="108" y="462"/>
                  </a:lnTo>
                  <a:lnTo>
                    <a:pt x="114" y="462"/>
                  </a:lnTo>
                  <a:lnTo>
                    <a:pt x="114" y="468"/>
                  </a:lnTo>
                  <a:lnTo>
                    <a:pt x="114" y="474"/>
                  </a:lnTo>
                  <a:lnTo>
                    <a:pt x="114" y="480"/>
                  </a:lnTo>
                  <a:lnTo>
                    <a:pt x="114" y="486"/>
                  </a:lnTo>
                  <a:lnTo>
                    <a:pt x="120" y="486"/>
                  </a:lnTo>
                  <a:lnTo>
                    <a:pt x="126" y="486"/>
                  </a:lnTo>
                  <a:lnTo>
                    <a:pt x="132" y="486"/>
                  </a:lnTo>
                  <a:lnTo>
                    <a:pt x="126" y="480"/>
                  </a:lnTo>
                  <a:lnTo>
                    <a:pt x="120" y="480"/>
                  </a:lnTo>
                  <a:lnTo>
                    <a:pt x="114" y="480"/>
                  </a:lnTo>
                  <a:lnTo>
                    <a:pt x="120" y="480"/>
                  </a:lnTo>
                  <a:lnTo>
                    <a:pt x="120" y="474"/>
                  </a:lnTo>
                  <a:lnTo>
                    <a:pt x="120" y="468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108" y="450"/>
                  </a:lnTo>
                  <a:lnTo>
                    <a:pt x="108" y="444"/>
                  </a:lnTo>
                  <a:lnTo>
                    <a:pt x="114" y="438"/>
                  </a:lnTo>
                  <a:lnTo>
                    <a:pt x="120" y="438"/>
                  </a:lnTo>
                  <a:lnTo>
                    <a:pt x="120" y="432"/>
                  </a:lnTo>
                  <a:lnTo>
                    <a:pt x="132" y="426"/>
                  </a:lnTo>
                  <a:lnTo>
                    <a:pt x="138" y="420"/>
                  </a:lnTo>
                  <a:lnTo>
                    <a:pt x="144" y="420"/>
                  </a:lnTo>
                  <a:lnTo>
                    <a:pt x="144" y="414"/>
                  </a:lnTo>
                  <a:lnTo>
                    <a:pt x="144" y="420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6" y="414"/>
                  </a:lnTo>
                  <a:lnTo>
                    <a:pt x="162" y="414"/>
                  </a:lnTo>
                  <a:lnTo>
                    <a:pt x="162" y="408"/>
                  </a:lnTo>
                  <a:lnTo>
                    <a:pt x="168" y="408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86" y="396"/>
                  </a:lnTo>
                  <a:lnTo>
                    <a:pt x="186" y="390"/>
                  </a:lnTo>
                  <a:lnTo>
                    <a:pt x="192" y="390"/>
                  </a:lnTo>
                  <a:lnTo>
                    <a:pt x="198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210" y="378"/>
                  </a:lnTo>
                  <a:lnTo>
                    <a:pt x="210" y="372"/>
                  </a:lnTo>
                  <a:lnTo>
                    <a:pt x="216" y="372"/>
                  </a:lnTo>
                  <a:lnTo>
                    <a:pt x="222" y="366"/>
                  </a:lnTo>
                  <a:lnTo>
                    <a:pt x="228" y="360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6" y="348"/>
                  </a:lnTo>
                  <a:lnTo>
                    <a:pt x="252" y="348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0" y="342"/>
                  </a:lnTo>
                  <a:lnTo>
                    <a:pt x="234" y="342"/>
                  </a:lnTo>
                  <a:lnTo>
                    <a:pt x="228" y="336"/>
                  </a:lnTo>
                  <a:lnTo>
                    <a:pt x="222" y="336"/>
                  </a:lnTo>
                  <a:lnTo>
                    <a:pt x="216" y="336"/>
                  </a:lnTo>
                  <a:lnTo>
                    <a:pt x="222" y="324"/>
                  </a:lnTo>
                  <a:lnTo>
                    <a:pt x="222" y="318"/>
                  </a:lnTo>
                  <a:lnTo>
                    <a:pt x="222" y="312"/>
                  </a:lnTo>
                  <a:lnTo>
                    <a:pt x="234" y="318"/>
                  </a:lnTo>
                  <a:lnTo>
                    <a:pt x="246" y="318"/>
                  </a:lnTo>
                  <a:lnTo>
                    <a:pt x="258" y="318"/>
                  </a:lnTo>
                  <a:lnTo>
                    <a:pt x="270" y="312"/>
                  </a:lnTo>
                  <a:lnTo>
                    <a:pt x="276" y="312"/>
                  </a:lnTo>
                  <a:lnTo>
                    <a:pt x="288" y="324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94" y="306"/>
                  </a:lnTo>
                  <a:lnTo>
                    <a:pt x="300" y="300"/>
                  </a:lnTo>
                  <a:lnTo>
                    <a:pt x="306" y="306"/>
                  </a:lnTo>
                  <a:lnTo>
                    <a:pt x="312" y="318"/>
                  </a:lnTo>
                  <a:lnTo>
                    <a:pt x="318" y="312"/>
                  </a:lnTo>
                  <a:lnTo>
                    <a:pt x="324" y="312"/>
                  </a:lnTo>
                  <a:lnTo>
                    <a:pt x="330" y="312"/>
                  </a:lnTo>
                  <a:lnTo>
                    <a:pt x="342" y="306"/>
                  </a:lnTo>
                  <a:lnTo>
                    <a:pt x="348" y="306"/>
                  </a:lnTo>
                  <a:lnTo>
                    <a:pt x="348" y="312"/>
                  </a:lnTo>
                  <a:lnTo>
                    <a:pt x="348" y="318"/>
                  </a:lnTo>
                  <a:lnTo>
                    <a:pt x="354" y="318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60" y="336"/>
                  </a:lnTo>
                  <a:lnTo>
                    <a:pt x="366" y="330"/>
                  </a:lnTo>
                  <a:lnTo>
                    <a:pt x="378" y="324"/>
                  </a:lnTo>
                  <a:lnTo>
                    <a:pt x="384" y="324"/>
                  </a:lnTo>
                  <a:lnTo>
                    <a:pt x="384" y="318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6"/>
                  </a:lnTo>
                  <a:lnTo>
                    <a:pt x="402" y="306"/>
                  </a:lnTo>
                  <a:lnTo>
                    <a:pt x="408" y="306"/>
                  </a:lnTo>
                  <a:lnTo>
                    <a:pt x="414" y="300"/>
                  </a:lnTo>
                  <a:lnTo>
                    <a:pt x="420" y="300"/>
                  </a:lnTo>
                  <a:lnTo>
                    <a:pt x="426" y="300"/>
                  </a:lnTo>
                  <a:lnTo>
                    <a:pt x="432" y="300"/>
                  </a:lnTo>
                  <a:lnTo>
                    <a:pt x="444" y="288"/>
                  </a:lnTo>
                  <a:lnTo>
                    <a:pt x="450" y="294"/>
                  </a:lnTo>
                  <a:lnTo>
                    <a:pt x="468" y="300"/>
                  </a:lnTo>
                  <a:lnTo>
                    <a:pt x="498" y="312"/>
                  </a:lnTo>
                  <a:lnTo>
                    <a:pt x="504" y="324"/>
                  </a:lnTo>
                  <a:lnTo>
                    <a:pt x="516" y="330"/>
                  </a:lnTo>
                  <a:lnTo>
                    <a:pt x="516" y="336"/>
                  </a:lnTo>
                  <a:lnTo>
                    <a:pt x="540" y="342"/>
                  </a:lnTo>
                  <a:lnTo>
                    <a:pt x="558" y="372"/>
                  </a:lnTo>
                  <a:lnTo>
                    <a:pt x="594" y="384"/>
                  </a:lnTo>
                  <a:lnTo>
                    <a:pt x="606" y="402"/>
                  </a:lnTo>
                  <a:lnTo>
                    <a:pt x="600" y="420"/>
                  </a:lnTo>
                  <a:lnTo>
                    <a:pt x="588" y="444"/>
                  </a:lnTo>
                  <a:lnTo>
                    <a:pt x="588" y="450"/>
                  </a:lnTo>
                  <a:lnTo>
                    <a:pt x="588" y="456"/>
                  </a:lnTo>
                  <a:lnTo>
                    <a:pt x="594" y="456"/>
                  </a:lnTo>
                  <a:lnTo>
                    <a:pt x="594" y="462"/>
                  </a:lnTo>
                  <a:lnTo>
                    <a:pt x="594" y="468"/>
                  </a:lnTo>
                  <a:lnTo>
                    <a:pt x="594" y="474"/>
                  </a:lnTo>
                  <a:lnTo>
                    <a:pt x="600" y="474"/>
                  </a:lnTo>
                  <a:lnTo>
                    <a:pt x="606" y="480"/>
                  </a:lnTo>
                  <a:lnTo>
                    <a:pt x="606" y="486"/>
                  </a:lnTo>
                  <a:lnTo>
                    <a:pt x="612" y="486"/>
                  </a:lnTo>
                  <a:lnTo>
                    <a:pt x="618" y="486"/>
                  </a:lnTo>
                  <a:lnTo>
                    <a:pt x="624" y="486"/>
                  </a:lnTo>
                  <a:lnTo>
                    <a:pt x="636" y="486"/>
                  </a:lnTo>
                  <a:lnTo>
                    <a:pt x="642" y="486"/>
                  </a:lnTo>
                  <a:lnTo>
                    <a:pt x="648" y="480"/>
                  </a:lnTo>
                  <a:lnTo>
                    <a:pt x="654" y="474"/>
                  </a:lnTo>
                  <a:lnTo>
                    <a:pt x="660" y="468"/>
                  </a:lnTo>
                  <a:lnTo>
                    <a:pt x="666" y="468"/>
                  </a:lnTo>
                  <a:lnTo>
                    <a:pt x="684" y="468"/>
                  </a:lnTo>
                  <a:lnTo>
                    <a:pt x="696" y="468"/>
                  </a:lnTo>
                  <a:lnTo>
                    <a:pt x="696" y="462"/>
                  </a:lnTo>
                  <a:lnTo>
                    <a:pt x="702" y="456"/>
                  </a:lnTo>
                  <a:lnTo>
                    <a:pt x="708" y="450"/>
                  </a:lnTo>
                  <a:lnTo>
                    <a:pt x="714" y="450"/>
                  </a:lnTo>
                  <a:lnTo>
                    <a:pt x="720" y="450"/>
                  </a:lnTo>
                  <a:lnTo>
                    <a:pt x="720" y="438"/>
                  </a:lnTo>
                  <a:lnTo>
                    <a:pt x="726" y="432"/>
                  </a:lnTo>
                  <a:lnTo>
                    <a:pt x="738" y="420"/>
                  </a:lnTo>
                  <a:lnTo>
                    <a:pt x="744" y="420"/>
                  </a:lnTo>
                  <a:lnTo>
                    <a:pt x="750" y="414"/>
                  </a:lnTo>
                  <a:lnTo>
                    <a:pt x="762" y="408"/>
                  </a:lnTo>
                  <a:lnTo>
                    <a:pt x="768" y="408"/>
                  </a:lnTo>
                  <a:lnTo>
                    <a:pt x="768" y="402"/>
                  </a:lnTo>
                  <a:lnTo>
                    <a:pt x="780" y="396"/>
                  </a:lnTo>
                  <a:lnTo>
                    <a:pt x="786" y="396"/>
                  </a:lnTo>
                  <a:lnTo>
                    <a:pt x="786" y="390"/>
                  </a:lnTo>
                  <a:lnTo>
                    <a:pt x="792" y="384"/>
                  </a:lnTo>
                  <a:lnTo>
                    <a:pt x="792" y="378"/>
                  </a:lnTo>
                  <a:lnTo>
                    <a:pt x="798" y="366"/>
                  </a:lnTo>
                  <a:lnTo>
                    <a:pt x="804" y="360"/>
                  </a:lnTo>
                  <a:lnTo>
                    <a:pt x="816" y="342"/>
                  </a:lnTo>
                  <a:lnTo>
                    <a:pt x="816" y="312"/>
                  </a:lnTo>
                  <a:lnTo>
                    <a:pt x="804" y="300"/>
                  </a:lnTo>
                  <a:lnTo>
                    <a:pt x="798" y="288"/>
                  </a:lnTo>
                  <a:lnTo>
                    <a:pt x="762" y="264"/>
                  </a:lnTo>
                  <a:lnTo>
                    <a:pt x="738" y="234"/>
                  </a:lnTo>
                  <a:lnTo>
                    <a:pt x="738" y="222"/>
                  </a:lnTo>
                  <a:lnTo>
                    <a:pt x="744" y="210"/>
                  </a:lnTo>
                  <a:lnTo>
                    <a:pt x="732" y="174"/>
                  </a:lnTo>
                  <a:lnTo>
                    <a:pt x="714" y="156"/>
                  </a:lnTo>
                  <a:lnTo>
                    <a:pt x="708" y="144"/>
                  </a:lnTo>
                  <a:lnTo>
                    <a:pt x="714" y="126"/>
                  </a:lnTo>
                  <a:lnTo>
                    <a:pt x="720" y="114"/>
                  </a:lnTo>
                  <a:lnTo>
                    <a:pt x="732" y="102"/>
                  </a:lnTo>
                  <a:lnTo>
                    <a:pt x="744" y="102"/>
                  </a:lnTo>
                  <a:lnTo>
                    <a:pt x="762" y="108"/>
                  </a:lnTo>
                  <a:lnTo>
                    <a:pt x="774" y="114"/>
                  </a:lnTo>
                  <a:lnTo>
                    <a:pt x="780" y="138"/>
                  </a:lnTo>
                  <a:lnTo>
                    <a:pt x="786" y="144"/>
                  </a:lnTo>
                  <a:lnTo>
                    <a:pt x="798" y="138"/>
                  </a:lnTo>
                  <a:lnTo>
                    <a:pt x="804" y="132"/>
                  </a:lnTo>
                  <a:lnTo>
                    <a:pt x="816" y="120"/>
                  </a:lnTo>
                  <a:lnTo>
                    <a:pt x="816" y="108"/>
                  </a:lnTo>
                  <a:lnTo>
                    <a:pt x="828" y="102"/>
                  </a:lnTo>
                  <a:lnTo>
                    <a:pt x="828" y="96"/>
                  </a:lnTo>
                  <a:lnTo>
                    <a:pt x="840" y="96"/>
                  </a:lnTo>
                  <a:lnTo>
                    <a:pt x="840" y="84"/>
                  </a:lnTo>
                  <a:lnTo>
                    <a:pt x="852" y="90"/>
                  </a:lnTo>
                  <a:lnTo>
                    <a:pt x="852" y="96"/>
                  </a:lnTo>
                  <a:lnTo>
                    <a:pt x="870" y="90"/>
                  </a:lnTo>
                  <a:lnTo>
                    <a:pt x="894" y="78"/>
                  </a:lnTo>
                  <a:lnTo>
                    <a:pt x="912" y="78"/>
                  </a:lnTo>
                  <a:lnTo>
                    <a:pt x="942" y="66"/>
                  </a:lnTo>
                  <a:lnTo>
                    <a:pt x="942" y="60"/>
                  </a:lnTo>
                  <a:lnTo>
                    <a:pt x="954" y="48"/>
                  </a:lnTo>
                  <a:lnTo>
                    <a:pt x="966" y="30"/>
                  </a:lnTo>
                  <a:lnTo>
                    <a:pt x="978" y="30"/>
                  </a:lnTo>
                  <a:lnTo>
                    <a:pt x="978" y="24"/>
                  </a:lnTo>
                  <a:lnTo>
                    <a:pt x="984" y="12"/>
                  </a:lnTo>
                  <a:lnTo>
                    <a:pt x="990" y="12"/>
                  </a:lnTo>
                  <a:lnTo>
                    <a:pt x="996" y="12"/>
                  </a:lnTo>
                  <a:lnTo>
                    <a:pt x="1014" y="6"/>
                  </a:lnTo>
                  <a:lnTo>
                    <a:pt x="1026" y="6"/>
                  </a:lnTo>
                  <a:lnTo>
                    <a:pt x="1044" y="6"/>
                  </a:lnTo>
                  <a:lnTo>
                    <a:pt x="1050" y="6"/>
                  </a:lnTo>
                  <a:lnTo>
                    <a:pt x="1056" y="6"/>
                  </a:lnTo>
                  <a:lnTo>
                    <a:pt x="1062" y="6"/>
                  </a:lnTo>
                  <a:lnTo>
                    <a:pt x="1068" y="6"/>
                  </a:lnTo>
                  <a:lnTo>
                    <a:pt x="1074" y="6"/>
                  </a:lnTo>
                  <a:lnTo>
                    <a:pt x="1080" y="6"/>
                  </a:lnTo>
                  <a:lnTo>
                    <a:pt x="1086" y="0"/>
                  </a:lnTo>
                  <a:lnTo>
                    <a:pt x="1092" y="30"/>
                  </a:lnTo>
                  <a:lnTo>
                    <a:pt x="1098" y="60"/>
                  </a:lnTo>
                  <a:lnTo>
                    <a:pt x="1110" y="84"/>
                  </a:lnTo>
                  <a:lnTo>
                    <a:pt x="1122" y="114"/>
                  </a:lnTo>
                  <a:lnTo>
                    <a:pt x="1128" y="144"/>
                  </a:lnTo>
                  <a:lnTo>
                    <a:pt x="1122" y="156"/>
                  </a:lnTo>
                  <a:lnTo>
                    <a:pt x="1128" y="168"/>
                  </a:lnTo>
                  <a:lnTo>
                    <a:pt x="1134" y="186"/>
                  </a:lnTo>
                  <a:lnTo>
                    <a:pt x="1140" y="204"/>
                  </a:lnTo>
                  <a:lnTo>
                    <a:pt x="1146" y="210"/>
                  </a:lnTo>
                  <a:lnTo>
                    <a:pt x="1146" y="216"/>
                  </a:lnTo>
                  <a:lnTo>
                    <a:pt x="1146" y="228"/>
                  </a:lnTo>
                  <a:lnTo>
                    <a:pt x="1146" y="234"/>
                  </a:lnTo>
                  <a:lnTo>
                    <a:pt x="1140" y="246"/>
                  </a:lnTo>
                  <a:lnTo>
                    <a:pt x="1128" y="258"/>
                  </a:lnTo>
                  <a:lnTo>
                    <a:pt x="1116" y="264"/>
                  </a:lnTo>
                  <a:lnTo>
                    <a:pt x="1110" y="276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2" y="312"/>
                  </a:lnTo>
                  <a:lnTo>
                    <a:pt x="1116" y="324"/>
                  </a:lnTo>
                  <a:lnTo>
                    <a:pt x="1104" y="336"/>
                  </a:lnTo>
                  <a:lnTo>
                    <a:pt x="1104" y="354"/>
                  </a:lnTo>
                  <a:lnTo>
                    <a:pt x="1098" y="372"/>
                  </a:lnTo>
                  <a:lnTo>
                    <a:pt x="1092" y="384"/>
                  </a:lnTo>
                  <a:lnTo>
                    <a:pt x="1086" y="390"/>
                  </a:lnTo>
                  <a:lnTo>
                    <a:pt x="1086" y="402"/>
                  </a:lnTo>
                  <a:lnTo>
                    <a:pt x="1080" y="414"/>
                  </a:lnTo>
                  <a:lnTo>
                    <a:pt x="1074" y="426"/>
                  </a:lnTo>
                  <a:lnTo>
                    <a:pt x="1074" y="450"/>
                  </a:lnTo>
                  <a:lnTo>
                    <a:pt x="1074" y="462"/>
                  </a:lnTo>
                  <a:lnTo>
                    <a:pt x="1068" y="474"/>
                  </a:lnTo>
                  <a:lnTo>
                    <a:pt x="1062" y="486"/>
                  </a:lnTo>
                  <a:lnTo>
                    <a:pt x="1056" y="498"/>
                  </a:lnTo>
                  <a:close/>
                  <a:moveTo>
                    <a:pt x="186" y="378"/>
                  </a:moveTo>
                  <a:lnTo>
                    <a:pt x="186" y="384"/>
                  </a:lnTo>
                  <a:lnTo>
                    <a:pt x="180" y="390"/>
                  </a:lnTo>
                  <a:lnTo>
                    <a:pt x="174" y="396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14"/>
                  </a:lnTo>
                  <a:lnTo>
                    <a:pt x="126" y="414"/>
                  </a:lnTo>
                  <a:lnTo>
                    <a:pt x="120" y="414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2" y="426"/>
                  </a:lnTo>
                  <a:lnTo>
                    <a:pt x="102" y="432"/>
                  </a:lnTo>
                  <a:lnTo>
                    <a:pt x="96" y="432"/>
                  </a:lnTo>
                  <a:lnTo>
                    <a:pt x="90" y="432"/>
                  </a:lnTo>
                  <a:lnTo>
                    <a:pt x="84" y="438"/>
                  </a:lnTo>
                  <a:lnTo>
                    <a:pt x="78" y="438"/>
                  </a:lnTo>
                  <a:lnTo>
                    <a:pt x="78" y="444"/>
                  </a:lnTo>
                  <a:lnTo>
                    <a:pt x="72" y="444"/>
                  </a:lnTo>
                  <a:lnTo>
                    <a:pt x="72" y="450"/>
                  </a:lnTo>
                  <a:lnTo>
                    <a:pt x="66" y="456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48" y="468"/>
                  </a:lnTo>
                  <a:lnTo>
                    <a:pt x="42" y="468"/>
                  </a:lnTo>
                  <a:lnTo>
                    <a:pt x="42" y="462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8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0" y="396"/>
                  </a:lnTo>
                  <a:lnTo>
                    <a:pt x="6" y="384"/>
                  </a:lnTo>
                  <a:lnTo>
                    <a:pt x="18" y="372"/>
                  </a:lnTo>
                  <a:lnTo>
                    <a:pt x="30" y="348"/>
                  </a:lnTo>
                  <a:lnTo>
                    <a:pt x="30" y="342"/>
                  </a:lnTo>
                  <a:lnTo>
                    <a:pt x="42" y="330"/>
                  </a:lnTo>
                  <a:lnTo>
                    <a:pt x="42" y="324"/>
                  </a:lnTo>
                  <a:lnTo>
                    <a:pt x="48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60" y="282"/>
                  </a:lnTo>
                  <a:lnTo>
                    <a:pt x="60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2" y="258"/>
                  </a:lnTo>
                  <a:lnTo>
                    <a:pt x="84" y="246"/>
                  </a:lnTo>
                  <a:lnTo>
                    <a:pt x="90" y="234"/>
                  </a:lnTo>
                  <a:lnTo>
                    <a:pt x="96" y="234"/>
                  </a:lnTo>
                  <a:lnTo>
                    <a:pt x="96" y="228"/>
                  </a:lnTo>
                  <a:lnTo>
                    <a:pt x="102" y="222"/>
                  </a:lnTo>
                  <a:lnTo>
                    <a:pt x="102" y="228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14" y="228"/>
                  </a:lnTo>
                  <a:lnTo>
                    <a:pt x="114" y="234"/>
                  </a:lnTo>
                  <a:lnTo>
                    <a:pt x="120" y="228"/>
                  </a:lnTo>
                  <a:lnTo>
                    <a:pt x="120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26" y="228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8" y="234"/>
                  </a:lnTo>
                  <a:lnTo>
                    <a:pt x="144" y="234"/>
                  </a:lnTo>
                  <a:lnTo>
                    <a:pt x="144" y="228"/>
                  </a:lnTo>
                  <a:lnTo>
                    <a:pt x="150" y="228"/>
                  </a:lnTo>
                  <a:lnTo>
                    <a:pt x="156" y="228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46"/>
                  </a:lnTo>
                  <a:lnTo>
                    <a:pt x="162" y="240"/>
                  </a:lnTo>
                  <a:lnTo>
                    <a:pt x="162" y="246"/>
                  </a:lnTo>
                  <a:lnTo>
                    <a:pt x="162" y="258"/>
                  </a:lnTo>
                  <a:lnTo>
                    <a:pt x="162" y="264"/>
                  </a:lnTo>
                  <a:lnTo>
                    <a:pt x="156" y="270"/>
                  </a:lnTo>
                  <a:lnTo>
                    <a:pt x="162" y="270"/>
                  </a:lnTo>
                  <a:lnTo>
                    <a:pt x="162" y="282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86" y="288"/>
                  </a:lnTo>
                  <a:lnTo>
                    <a:pt x="186" y="294"/>
                  </a:lnTo>
                  <a:lnTo>
                    <a:pt x="180" y="300"/>
                  </a:lnTo>
                  <a:lnTo>
                    <a:pt x="174" y="318"/>
                  </a:lnTo>
                  <a:lnTo>
                    <a:pt x="174" y="324"/>
                  </a:lnTo>
                  <a:lnTo>
                    <a:pt x="168" y="330"/>
                  </a:lnTo>
                  <a:lnTo>
                    <a:pt x="168" y="342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74" y="360"/>
                  </a:lnTo>
                  <a:lnTo>
                    <a:pt x="180" y="366"/>
                  </a:lnTo>
                  <a:lnTo>
                    <a:pt x="186" y="3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8" name="Freeform 23">
              <a:extLst>
                <a:ext uri="{FF2B5EF4-FFF2-40B4-BE49-F238E27FC236}">
                  <a16:creationId xmlns:a16="http://schemas.microsoft.com/office/drawing/2014/main" id="{A539A33E-3F6E-4AF7-BD88-1853165307F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6312" y="3604793"/>
              <a:ext cx="581410" cy="621747"/>
            </a:xfrm>
            <a:custGeom>
              <a:avLst/>
              <a:gdLst>
                <a:gd name="T0" fmla="*/ 90 w 1092"/>
                <a:gd name="T1" fmla="*/ 60 h 1170"/>
                <a:gd name="T2" fmla="*/ 83 w 1092"/>
                <a:gd name="T3" fmla="*/ 62 h 1170"/>
                <a:gd name="T4" fmla="*/ 72 w 1092"/>
                <a:gd name="T5" fmla="*/ 68 h 1170"/>
                <a:gd name="T6" fmla="*/ 68 w 1092"/>
                <a:gd name="T7" fmla="*/ 71 h 1170"/>
                <a:gd name="T8" fmla="*/ 61 w 1092"/>
                <a:gd name="T9" fmla="*/ 69 h 1170"/>
                <a:gd name="T10" fmla="*/ 64 w 1092"/>
                <a:gd name="T11" fmla="*/ 82 h 1170"/>
                <a:gd name="T12" fmla="*/ 67 w 1092"/>
                <a:gd name="T13" fmla="*/ 93 h 1170"/>
                <a:gd name="T14" fmla="*/ 62 w 1092"/>
                <a:gd name="T15" fmla="*/ 96 h 1170"/>
                <a:gd name="T16" fmla="*/ 59 w 1092"/>
                <a:gd name="T17" fmla="*/ 99 h 1170"/>
                <a:gd name="T18" fmla="*/ 53 w 1092"/>
                <a:gd name="T19" fmla="*/ 101 h 1170"/>
                <a:gd name="T20" fmla="*/ 50 w 1092"/>
                <a:gd name="T21" fmla="*/ 100 h 1170"/>
                <a:gd name="T22" fmla="*/ 50 w 1092"/>
                <a:gd name="T23" fmla="*/ 93 h 1170"/>
                <a:gd name="T24" fmla="*/ 37 w 1092"/>
                <a:gd name="T25" fmla="*/ 85 h 1170"/>
                <a:gd name="T26" fmla="*/ 32 w 1092"/>
                <a:gd name="T27" fmla="*/ 86 h 1170"/>
                <a:gd name="T28" fmla="*/ 29 w 1092"/>
                <a:gd name="T29" fmla="*/ 88 h 1170"/>
                <a:gd name="T30" fmla="*/ 27 w 1092"/>
                <a:gd name="T31" fmla="*/ 86 h 1170"/>
                <a:gd name="T32" fmla="*/ 23 w 1092"/>
                <a:gd name="T33" fmla="*/ 87 h 1170"/>
                <a:gd name="T34" fmla="*/ 17 w 1092"/>
                <a:gd name="T35" fmla="*/ 87 h 1170"/>
                <a:gd name="T36" fmla="*/ 18 w 1092"/>
                <a:gd name="T37" fmla="*/ 89 h 1170"/>
                <a:gd name="T38" fmla="*/ 16 w 1092"/>
                <a:gd name="T39" fmla="*/ 92 h 1170"/>
                <a:gd name="T40" fmla="*/ 12 w 1092"/>
                <a:gd name="T41" fmla="*/ 89 h 1170"/>
                <a:gd name="T42" fmla="*/ 13 w 1092"/>
                <a:gd name="T43" fmla="*/ 84 h 1170"/>
                <a:gd name="T44" fmla="*/ 12 w 1092"/>
                <a:gd name="T45" fmla="*/ 80 h 1170"/>
                <a:gd name="T46" fmla="*/ 10 w 1092"/>
                <a:gd name="T47" fmla="*/ 80 h 1170"/>
                <a:gd name="T48" fmla="*/ 8 w 1092"/>
                <a:gd name="T49" fmla="*/ 79 h 1170"/>
                <a:gd name="T50" fmla="*/ 6 w 1092"/>
                <a:gd name="T51" fmla="*/ 78 h 1170"/>
                <a:gd name="T52" fmla="*/ 6 w 1092"/>
                <a:gd name="T53" fmla="*/ 77 h 1170"/>
                <a:gd name="T54" fmla="*/ 4 w 1092"/>
                <a:gd name="T55" fmla="*/ 75 h 1170"/>
                <a:gd name="T56" fmla="*/ 0 w 1092"/>
                <a:gd name="T57" fmla="*/ 72 h 1170"/>
                <a:gd name="T58" fmla="*/ 0 w 1092"/>
                <a:gd name="T59" fmla="*/ 69 h 1170"/>
                <a:gd name="T60" fmla="*/ 3 w 1092"/>
                <a:gd name="T61" fmla="*/ 67 h 1170"/>
                <a:gd name="T62" fmla="*/ 6 w 1092"/>
                <a:gd name="T63" fmla="*/ 62 h 1170"/>
                <a:gd name="T64" fmla="*/ 8 w 1092"/>
                <a:gd name="T65" fmla="*/ 58 h 1170"/>
                <a:gd name="T66" fmla="*/ 5 w 1092"/>
                <a:gd name="T67" fmla="*/ 54 h 1170"/>
                <a:gd name="T68" fmla="*/ 6 w 1092"/>
                <a:gd name="T69" fmla="*/ 50 h 1170"/>
                <a:gd name="T70" fmla="*/ 8 w 1092"/>
                <a:gd name="T71" fmla="*/ 46 h 1170"/>
                <a:gd name="T72" fmla="*/ 10 w 1092"/>
                <a:gd name="T73" fmla="*/ 43 h 1170"/>
                <a:gd name="T74" fmla="*/ 14 w 1092"/>
                <a:gd name="T75" fmla="*/ 38 h 1170"/>
                <a:gd name="T76" fmla="*/ 31 w 1092"/>
                <a:gd name="T77" fmla="*/ 40 h 1170"/>
                <a:gd name="T78" fmla="*/ 30 w 1092"/>
                <a:gd name="T79" fmla="*/ 46 h 1170"/>
                <a:gd name="T80" fmla="*/ 36 w 1092"/>
                <a:gd name="T81" fmla="*/ 47 h 1170"/>
                <a:gd name="T82" fmla="*/ 41 w 1092"/>
                <a:gd name="T83" fmla="*/ 44 h 1170"/>
                <a:gd name="T84" fmla="*/ 43 w 1092"/>
                <a:gd name="T85" fmla="*/ 39 h 1170"/>
                <a:gd name="T86" fmla="*/ 44 w 1092"/>
                <a:gd name="T87" fmla="*/ 35 h 1170"/>
                <a:gd name="T88" fmla="*/ 44 w 1092"/>
                <a:gd name="T89" fmla="*/ 29 h 1170"/>
                <a:gd name="T90" fmla="*/ 48 w 1092"/>
                <a:gd name="T91" fmla="*/ 24 h 1170"/>
                <a:gd name="T92" fmla="*/ 49 w 1092"/>
                <a:gd name="T93" fmla="*/ 19 h 1170"/>
                <a:gd name="T94" fmla="*/ 51 w 1092"/>
                <a:gd name="T95" fmla="*/ 14 h 1170"/>
                <a:gd name="T96" fmla="*/ 54 w 1092"/>
                <a:gd name="T97" fmla="*/ 10 h 1170"/>
                <a:gd name="T98" fmla="*/ 53 w 1092"/>
                <a:gd name="T99" fmla="*/ 7 h 1170"/>
                <a:gd name="T100" fmla="*/ 55 w 1092"/>
                <a:gd name="T101" fmla="*/ 3 h 1170"/>
                <a:gd name="T102" fmla="*/ 58 w 1092"/>
                <a:gd name="T103" fmla="*/ 0 h 1170"/>
                <a:gd name="T104" fmla="*/ 65 w 1092"/>
                <a:gd name="T105" fmla="*/ 2 h 1170"/>
                <a:gd name="T106" fmla="*/ 61 w 1092"/>
                <a:gd name="T107" fmla="*/ 6 h 1170"/>
                <a:gd name="T108" fmla="*/ 67 w 1092"/>
                <a:gd name="T109" fmla="*/ 7 h 1170"/>
                <a:gd name="T110" fmla="*/ 71 w 1092"/>
                <a:gd name="T111" fmla="*/ 6 h 1170"/>
                <a:gd name="T112" fmla="*/ 75 w 1092"/>
                <a:gd name="T113" fmla="*/ 9 h 1170"/>
                <a:gd name="T114" fmla="*/ 82 w 1092"/>
                <a:gd name="T115" fmla="*/ 12 h 1170"/>
                <a:gd name="T116" fmla="*/ 84 w 1092"/>
                <a:gd name="T117" fmla="*/ 17 h 1170"/>
                <a:gd name="T118" fmla="*/ 94 w 1092"/>
                <a:gd name="T119" fmla="*/ 23 h 1170"/>
                <a:gd name="T120" fmla="*/ 94 w 1092"/>
                <a:gd name="T121" fmla="*/ 34 h 1170"/>
                <a:gd name="T122" fmla="*/ 90 w 1092"/>
                <a:gd name="T123" fmla="*/ 41 h 1170"/>
                <a:gd name="T124" fmla="*/ 91 w 1092"/>
                <a:gd name="T125" fmla="*/ 51 h 11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92"/>
                <a:gd name="T190" fmla="*/ 0 h 1170"/>
                <a:gd name="T191" fmla="*/ 1092 w 1092"/>
                <a:gd name="T192" fmla="*/ 1170 h 117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92" h="1170">
                  <a:moveTo>
                    <a:pt x="1056" y="654"/>
                  </a:moveTo>
                  <a:lnTo>
                    <a:pt x="1062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0"/>
                  </a:lnTo>
                  <a:lnTo>
                    <a:pt x="1038" y="690"/>
                  </a:lnTo>
                  <a:lnTo>
                    <a:pt x="1032" y="690"/>
                  </a:lnTo>
                  <a:lnTo>
                    <a:pt x="1026" y="690"/>
                  </a:lnTo>
                  <a:lnTo>
                    <a:pt x="1020" y="690"/>
                  </a:lnTo>
                  <a:lnTo>
                    <a:pt x="1002" y="690"/>
                  </a:lnTo>
                  <a:lnTo>
                    <a:pt x="990" y="690"/>
                  </a:lnTo>
                  <a:lnTo>
                    <a:pt x="972" y="696"/>
                  </a:lnTo>
                  <a:lnTo>
                    <a:pt x="966" y="696"/>
                  </a:lnTo>
                  <a:lnTo>
                    <a:pt x="960" y="696"/>
                  </a:lnTo>
                  <a:lnTo>
                    <a:pt x="954" y="708"/>
                  </a:lnTo>
                  <a:lnTo>
                    <a:pt x="954" y="714"/>
                  </a:lnTo>
                  <a:lnTo>
                    <a:pt x="942" y="714"/>
                  </a:lnTo>
                  <a:lnTo>
                    <a:pt x="930" y="732"/>
                  </a:lnTo>
                  <a:lnTo>
                    <a:pt x="918" y="744"/>
                  </a:lnTo>
                  <a:lnTo>
                    <a:pt x="918" y="750"/>
                  </a:lnTo>
                  <a:lnTo>
                    <a:pt x="888" y="762"/>
                  </a:lnTo>
                  <a:lnTo>
                    <a:pt x="870" y="762"/>
                  </a:lnTo>
                  <a:lnTo>
                    <a:pt x="846" y="774"/>
                  </a:lnTo>
                  <a:lnTo>
                    <a:pt x="828" y="780"/>
                  </a:lnTo>
                  <a:lnTo>
                    <a:pt x="828" y="774"/>
                  </a:lnTo>
                  <a:lnTo>
                    <a:pt x="816" y="768"/>
                  </a:lnTo>
                  <a:lnTo>
                    <a:pt x="816" y="780"/>
                  </a:lnTo>
                  <a:lnTo>
                    <a:pt x="804" y="780"/>
                  </a:lnTo>
                  <a:lnTo>
                    <a:pt x="804" y="786"/>
                  </a:lnTo>
                  <a:lnTo>
                    <a:pt x="792" y="792"/>
                  </a:lnTo>
                  <a:lnTo>
                    <a:pt x="792" y="804"/>
                  </a:lnTo>
                  <a:lnTo>
                    <a:pt x="780" y="816"/>
                  </a:lnTo>
                  <a:lnTo>
                    <a:pt x="774" y="822"/>
                  </a:lnTo>
                  <a:lnTo>
                    <a:pt x="762" y="828"/>
                  </a:lnTo>
                  <a:lnTo>
                    <a:pt x="756" y="822"/>
                  </a:lnTo>
                  <a:lnTo>
                    <a:pt x="750" y="798"/>
                  </a:lnTo>
                  <a:lnTo>
                    <a:pt x="738" y="792"/>
                  </a:lnTo>
                  <a:lnTo>
                    <a:pt x="720" y="786"/>
                  </a:lnTo>
                  <a:lnTo>
                    <a:pt x="708" y="786"/>
                  </a:lnTo>
                  <a:lnTo>
                    <a:pt x="696" y="798"/>
                  </a:lnTo>
                  <a:lnTo>
                    <a:pt x="690" y="810"/>
                  </a:lnTo>
                  <a:lnTo>
                    <a:pt x="684" y="828"/>
                  </a:lnTo>
                  <a:lnTo>
                    <a:pt x="690" y="840"/>
                  </a:lnTo>
                  <a:lnTo>
                    <a:pt x="708" y="858"/>
                  </a:lnTo>
                  <a:lnTo>
                    <a:pt x="720" y="894"/>
                  </a:lnTo>
                  <a:lnTo>
                    <a:pt x="714" y="906"/>
                  </a:lnTo>
                  <a:lnTo>
                    <a:pt x="714" y="918"/>
                  </a:lnTo>
                  <a:lnTo>
                    <a:pt x="738" y="948"/>
                  </a:lnTo>
                  <a:lnTo>
                    <a:pt x="774" y="972"/>
                  </a:lnTo>
                  <a:lnTo>
                    <a:pt x="780" y="984"/>
                  </a:lnTo>
                  <a:lnTo>
                    <a:pt x="792" y="996"/>
                  </a:lnTo>
                  <a:lnTo>
                    <a:pt x="792" y="1026"/>
                  </a:lnTo>
                  <a:lnTo>
                    <a:pt x="780" y="1044"/>
                  </a:lnTo>
                  <a:lnTo>
                    <a:pt x="774" y="1050"/>
                  </a:lnTo>
                  <a:lnTo>
                    <a:pt x="768" y="1062"/>
                  </a:lnTo>
                  <a:lnTo>
                    <a:pt x="768" y="1068"/>
                  </a:lnTo>
                  <a:lnTo>
                    <a:pt x="762" y="1074"/>
                  </a:lnTo>
                  <a:lnTo>
                    <a:pt x="762" y="1080"/>
                  </a:lnTo>
                  <a:lnTo>
                    <a:pt x="756" y="1080"/>
                  </a:lnTo>
                  <a:lnTo>
                    <a:pt x="744" y="1086"/>
                  </a:lnTo>
                  <a:lnTo>
                    <a:pt x="744" y="1092"/>
                  </a:lnTo>
                  <a:lnTo>
                    <a:pt x="738" y="1092"/>
                  </a:lnTo>
                  <a:lnTo>
                    <a:pt x="726" y="1098"/>
                  </a:lnTo>
                  <a:lnTo>
                    <a:pt x="720" y="1104"/>
                  </a:lnTo>
                  <a:lnTo>
                    <a:pt x="714" y="1104"/>
                  </a:lnTo>
                  <a:lnTo>
                    <a:pt x="702" y="1116"/>
                  </a:lnTo>
                  <a:lnTo>
                    <a:pt x="696" y="1122"/>
                  </a:lnTo>
                  <a:lnTo>
                    <a:pt x="696" y="1134"/>
                  </a:lnTo>
                  <a:lnTo>
                    <a:pt x="690" y="1134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72" y="1146"/>
                  </a:lnTo>
                  <a:lnTo>
                    <a:pt x="672" y="1152"/>
                  </a:lnTo>
                  <a:lnTo>
                    <a:pt x="660" y="1152"/>
                  </a:lnTo>
                  <a:lnTo>
                    <a:pt x="642" y="1152"/>
                  </a:lnTo>
                  <a:lnTo>
                    <a:pt x="636" y="1152"/>
                  </a:lnTo>
                  <a:lnTo>
                    <a:pt x="630" y="1158"/>
                  </a:lnTo>
                  <a:lnTo>
                    <a:pt x="624" y="1164"/>
                  </a:lnTo>
                  <a:lnTo>
                    <a:pt x="618" y="1170"/>
                  </a:lnTo>
                  <a:lnTo>
                    <a:pt x="612" y="1170"/>
                  </a:lnTo>
                  <a:lnTo>
                    <a:pt x="600" y="1170"/>
                  </a:lnTo>
                  <a:lnTo>
                    <a:pt x="594" y="1170"/>
                  </a:lnTo>
                  <a:lnTo>
                    <a:pt x="588" y="1170"/>
                  </a:lnTo>
                  <a:lnTo>
                    <a:pt x="582" y="1170"/>
                  </a:lnTo>
                  <a:lnTo>
                    <a:pt x="582" y="1164"/>
                  </a:lnTo>
                  <a:lnTo>
                    <a:pt x="576" y="1158"/>
                  </a:lnTo>
                  <a:lnTo>
                    <a:pt x="570" y="1158"/>
                  </a:lnTo>
                  <a:lnTo>
                    <a:pt x="570" y="1152"/>
                  </a:lnTo>
                  <a:lnTo>
                    <a:pt x="570" y="1146"/>
                  </a:lnTo>
                  <a:lnTo>
                    <a:pt x="570" y="1140"/>
                  </a:lnTo>
                  <a:lnTo>
                    <a:pt x="564" y="1140"/>
                  </a:lnTo>
                  <a:lnTo>
                    <a:pt x="564" y="1134"/>
                  </a:lnTo>
                  <a:lnTo>
                    <a:pt x="564" y="1128"/>
                  </a:lnTo>
                  <a:lnTo>
                    <a:pt x="576" y="1104"/>
                  </a:lnTo>
                  <a:lnTo>
                    <a:pt x="582" y="1086"/>
                  </a:lnTo>
                  <a:lnTo>
                    <a:pt x="570" y="1068"/>
                  </a:lnTo>
                  <a:lnTo>
                    <a:pt x="534" y="1056"/>
                  </a:lnTo>
                  <a:lnTo>
                    <a:pt x="516" y="1026"/>
                  </a:lnTo>
                  <a:lnTo>
                    <a:pt x="492" y="1020"/>
                  </a:lnTo>
                  <a:lnTo>
                    <a:pt x="492" y="1014"/>
                  </a:lnTo>
                  <a:lnTo>
                    <a:pt x="480" y="1008"/>
                  </a:lnTo>
                  <a:lnTo>
                    <a:pt x="474" y="996"/>
                  </a:lnTo>
                  <a:lnTo>
                    <a:pt x="444" y="984"/>
                  </a:lnTo>
                  <a:lnTo>
                    <a:pt x="426" y="978"/>
                  </a:lnTo>
                  <a:lnTo>
                    <a:pt x="420" y="972"/>
                  </a:lnTo>
                  <a:lnTo>
                    <a:pt x="408" y="984"/>
                  </a:lnTo>
                  <a:lnTo>
                    <a:pt x="402" y="984"/>
                  </a:lnTo>
                  <a:lnTo>
                    <a:pt x="396" y="984"/>
                  </a:lnTo>
                  <a:lnTo>
                    <a:pt x="390" y="984"/>
                  </a:lnTo>
                  <a:lnTo>
                    <a:pt x="384" y="990"/>
                  </a:lnTo>
                  <a:lnTo>
                    <a:pt x="378" y="990"/>
                  </a:lnTo>
                  <a:lnTo>
                    <a:pt x="372" y="990"/>
                  </a:lnTo>
                  <a:lnTo>
                    <a:pt x="372" y="996"/>
                  </a:lnTo>
                  <a:lnTo>
                    <a:pt x="366" y="996"/>
                  </a:lnTo>
                  <a:lnTo>
                    <a:pt x="360" y="1002"/>
                  </a:lnTo>
                  <a:lnTo>
                    <a:pt x="360" y="1008"/>
                  </a:lnTo>
                  <a:lnTo>
                    <a:pt x="354" y="1008"/>
                  </a:lnTo>
                  <a:lnTo>
                    <a:pt x="342" y="1014"/>
                  </a:lnTo>
                  <a:lnTo>
                    <a:pt x="336" y="1020"/>
                  </a:lnTo>
                  <a:lnTo>
                    <a:pt x="336" y="1014"/>
                  </a:lnTo>
                  <a:lnTo>
                    <a:pt x="330" y="1014"/>
                  </a:lnTo>
                  <a:lnTo>
                    <a:pt x="330" y="1008"/>
                  </a:lnTo>
                  <a:lnTo>
                    <a:pt x="330" y="1002"/>
                  </a:lnTo>
                  <a:lnTo>
                    <a:pt x="324" y="1002"/>
                  </a:lnTo>
                  <a:lnTo>
                    <a:pt x="324" y="996"/>
                  </a:lnTo>
                  <a:lnTo>
                    <a:pt x="324" y="990"/>
                  </a:lnTo>
                  <a:lnTo>
                    <a:pt x="318" y="990"/>
                  </a:lnTo>
                  <a:lnTo>
                    <a:pt x="306" y="996"/>
                  </a:lnTo>
                  <a:lnTo>
                    <a:pt x="300" y="996"/>
                  </a:lnTo>
                  <a:lnTo>
                    <a:pt x="294" y="996"/>
                  </a:lnTo>
                  <a:lnTo>
                    <a:pt x="288" y="1002"/>
                  </a:lnTo>
                  <a:lnTo>
                    <a:pt x="282" y="990"/>
                  </a:lnTo>
                  <a:lnTo>
                    <a:pt x="276" y="984"/>
                  </a:lnTo>
                  <a:lnTo>
                    <a:pt x="270" y="990"/>
                  </a:lnTo>
                  <a:lnTo>
                    <a:pt x="270" y="996"/>
                  </a:lnTo>
                  <a:lnTo>
                    <a:pt x="270" y="1002"/>
                  </a:lnTo>
                  <a:lnTo>
                    <a:pt x="264" y="1008"/>
                  </a:lnTo>
                  <a:lnTo>
                    <a:pt x="252" y="996"/>
                  </a:lnTo>
                  <a:lnTo>
                    <a:pt x="246" y="996"/>
                  </a:lnTo>
                  <a:lnTo>
                    <a:pt x="234" y="1002"/>
                  </a:lnTo>
                  <a:lnTo>
                    <a:pt x="222" y="1002"/>
                  </a:lnTo>
                  <a:lnTo>
                    <a:pt x="210" y="1002"/>
                  </a:lnTo>
                  <a:lnTo>
                    <a:pt x="198" y="996"/>
                  </a:lnTo>
                  <a:lnTo>
                    <a:pt x="198" y="1002"/>
                  </a:lnTo>
                  <a:lnTo>
                    <a:pt x="198" y="1008"/>
                  </a:lnTo>
                  <a:lnTo>
                    <a:pt x="192" y="1020"/>
                  </a:lnTo>
                  <a:lnTo>
                    <a:pt x="198" y="1020"/>
                  </a:lnTo>
                  <a:lnTo>
                    <a:pt x="204" y="1020"/>
                  </a:lnTo>
                  <a:lnTo>
                    <a:pt x="210" y="1026"/>
                  </a:lnTo>
                  <a:lnTo>
                    <a:pt x="216" y="1026"/>
                  </a:lnTo>
                  <a:lnTo>
                    <a:pt x="216" y="1032"/>
                  </a:lnTo>
                  <a:lnTo>
                    <a:pt x="210" y="1032"/>
                  </a:lnTo>
                  <a:lnTo>
                    <a:pt x="210" y="1038"/>
                  </a:lnTo>
                  <a:lnTo>
                    <a:pt x="204" y="1038"/>
                  </a:lnTo>
                  <a:lnTo>
                    <a:pt x="204" y="1044"/>
                  </a:lnTo>
                  <a:lnTo>
                    <a:pt x="198" y="1044"/>
                  </a:lnTo>
                  <a:lnTo>
                    <a:pt x="192" y="1044"/>
                  </a:lnTo>
                  <a:lnTo>
                    <a:pt x="186" y="1050"/>
                  </a:lnTo>
                  <a:lnTo>
                    <a:pt x="186" y="1056"/>
                  </a:lnTo>
                  <a:lnTo>
                    <a:pt x="180" y="1056"/>
                  </a:lnTo>
                  <a:lnTo>
                    <a:pt x="180" y="1062"/>
                  </a:lnTo>
                  <a:lnTo>
                    <a:pt x="174" y="1062"/>
                  </a:lnTo>
                  <a:lnTo>
                    <a:pt x="168" y="1062"/>
                  </a:lnTo>
                  <a:lnTo>
                    <a:pt x="162" y="1062"/>
                  </a:lnTo>
                  <a:lnTo>
                    <a:pt x="156" y="1050"/>
                  </a:lnTo>
                  <a:lnTo>
                    <a:pt x="150" y="1044"/>
                  </a:lnTo>
                  <a:lnTo>
                    <a:pt x="150" y="1038"/>
                  </a:lnTo>
                  <a:lnTo>
                    <a:pt x="144" y="1032"/>
                  </a:lnTo>
                  <a:lnTo>
                    <a:pt x="144" y="1026"/>
                  </a:lnTo>
                  <a:lnTo>
                    <a:pt x="144" y="1014"/>
                  </a:lnTo>
                  <a:lnTo>
                    <a:pt x="150" y="1008"/>
                  </a:lnTo>
                  <a:lnTo>
                    <a:pt x="150" y="1002"/>
                  </a:lnTo>
                  <a:lnTo>
                    <a:pt x="156" y="984"/>
                  </a:lnTo>
                  <a:lnTo>
                    <a:pt x="162" y="978"/>
                  </a:lnTo>
                  <a:lnTo>
                    <a:pt x="162" y="972"/>
                  </a:lnTo>
                  <a:lnTo>
                    <a:pt x="150" y="966"/>
                  </a:lnTo>
                  <a:lnTo>
                    <a:pt x="144" y="966"/>
                  </a:lnTo>
                  <a:lnTo>
                    <a:pt x="138" y="966"/>
                  </a:lnTo>
                  <a:lnTo>
                    <a:pt x="138" y="954"/>
                  </a:lnTo>
                  <a:lnTo>
                    <a:pt x="132" y="954"/>
                  </a:lnTo>
                  <a:lnTo>
                    <a:pt x="138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8" y="924"/>
                  </a:lnTo>
                  <a:lnTo>
                    <a:pt x="132" y="930"/>
                  </a:lnTo>
                  <a:lnTo>
                    <a:pt x="132" y="924"/>
                  </a:lnTo>
                  <a:lnTo>
                    <a:pt x="126" y="918"/>
                  </a:lnTo>
                  <a:lnTo>
                    <a:pt x="132" y="918"/>
                  </a:lnTo>
                  <a:lnTo>
                    <a:pt x="132" y="912"/>
                  </a:lnTo>
                  <a:lnTo>
                    <a:pt x="126" y="912"/>
                  </a:lnTo>
                  <a:lnTo>
                    <a:pt x="120" y="912"/>
                  </a:lnTo>
                  <a:lnTo>
                    <a:pt x="120" y="918"/>
                  </a:lnTo>
                  <a:lnTo>
                    <a:pt x="114" y="918"/>
                  </a:lnTo>
                  <a:lnTo>
                    <a:pt x="114" y="912"/>
                  </a:lnTo>
                  <a:lnTo>
                    <a:pt x="108" y="912"/>
                  </a:lnTo>
                  <a:lnTo>
                    <a:pt x="102" y="912"/>
                  </a:lnTo>
                  <a:lnTo>
                    <a:pt x="108" y="906"/>
                  </a:lnTo>
                  <a:lnTo>
                    <a:pt x="102" y="906"/>
                  </a:lnTo>
                  <a:lnTo>
                    <a:pt x="96" y="906"/>
                  </a:lnTo>
                  <a:lnTo>
                    <a:pt x="96" y="912"/>
                  </a:lnTo>
                  <a:lnTo>
                    <a:pt x="90" y="918"/>
                  </a:lnTo>
                  <a:lnTo>
                    <a:pt x="90" y="912"/>
                  </a:lnTo>
                  <a:lnTo>
                    <a:pt x="84" y="912"/>
                  </a:lnTo>
                  <a:lnTo>
                    <a:pt x="84" y="918"/>
                  </a:lnTo>
                  <a:lnTo>
                    <a:pt x="78" y="918"/>
                  </a:lnTo>
                  <a:lnTo>
                    <a:pt x="78" y="912"/>
                  </a:lnTo>
                  <a:lnTo>
                    <a:pt x="78" y="906"/>
                  </a:lnTo>
                  <a:lnTo>
                    <a:pt x="72" y="900"/>
                  </a:lnTo>
                  <a:lnTo>
                    <a:pt x="78" y="900"/>
                  </a:lnTo>
                  <a:lnTo>
                    <a:pt x="72" y="900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8" y="888"/>
                  </a:lnTo>
                  <a:lnTo>
                    <a:pt x="72" y="888"/>
                  </a:lnTo>
                  <a:lnTo>
                    <a:pt x="72" y="882"/>
                  </a:lnTo>
                  <a:lnTo>
                    <a:pt x="66" y="876"/>
                  </a:lnTo>
                  <a:lnTo>
                    <a:pt x="60" y="882"/>
                  </a:lnTo>
                  <a:lnTo>
                    <a:pt x="54" y="876"/>
                  </a:lnTo>
                  <a:lnTo>
                    <a:pt x="54" y="882"/>
                  </a:lnTo>
                  <a:lnTo>
                    <a:pt x="48" y="882"/>
                  </a:lnTo>
                  <a:lnTo>
                    <a:pt x="42" y="870"/>
                  </a:lnTo>
                  <a:lnTo>
                    <a:pt x="42" y="864"/>
                  </a:lnTo>
                  <a:lnTo>
                    <a:pt x="36" y="858"/>
                  </a:lnTo>
                  <a:lnTo>
                    <a:pt x="36" y="852"/>
                  </a:lnTo>
                  <a:lnTo>
                    <a:pt x="30" y="852"/>
                  </a:lnTo>
                  <a:lnTo>
                    <a:pt x="30" y="846"/>
                  </a:lnTo>
                  <a:lnTo>
                    <a:pt x="24" y="846"/>
                  </a:lnTo>
                  <a:lnTo>
                    <a:pt x="18" y="840"/>
                  </a:lnTo>
                  <a:lnTo>
                    <a:pt x="12" y="834"/>
                  </a:lnTo>
                  <a:lnTo>
                    <a:pt x="0" y="828"/>
                  </a:lnTo>
                  <a:lnTo>
                    <a:pt x="0" y="822"/>
                  </a:lnTo>
                  <a:lnTo>
                    <a:pt x="0" y="816"/>
                  </a:lnTo>
                  <a:lnTo>
                    <a:pt x="0" y="810"/>
                  </a:lnTo>
                  <a:lnTo>
                    <a:pt x="6" y="804"/>
                  </a:lnTo>
                  <a:lnTo>
                    <a:pt x="12" y="804"/>
                  </a:lnTo>
                  <a:lnTo>
                    <a:pt x="12" y="798"/>
                  </a:lnTo>
                  <a:lnTo>
                    <a:pt x="12" y="792"/>
                  </a:lnTo>
                  <a:lnTo>
                    <a:pt x="6" y="792"/>
                  </a:lnTo>
                  <a:lnTo>
                    <a:pt x="6" y="786"/>
                  </a:lnTo>
                  <a:lnTo>
                    <a:pt x="6" y="780"/>
                  </a:lnTo>
                  <a:lnTo>
                    <a:pt x="18" y="780"/>
                  </a:lnTo>
                  <a:lnTo>
                    <a:pt x="18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0" y="774"/>
                  </a:lnTo>
                  <a:lnTo>
                    <a:pt x="36" y="768"/>
                  </a:lnTo>
                  <a:lnTo>
                    <a:pt x="42" y="768"/>
                  </a:lnTo>
                  <a:lnTo>
                    <a:pt x="60" y="750"/>
                  </a:lnTo>
                  <a:lnTo>
                    <a:pt x="60" y="744"/>
                  </a:lnTo>
                  <a:lnTo>
                    <a:pt x="54" y="738"/>
                  </a:lnTo>
                  <a:lnTo>
                    <a:pt x="60" y="732"/>
                  </a:lnTo>
                  <a:lnTo>
                    <a:pt x="54" y="732"/>
                  </a:lnTo>
                  <a:lnTo>
                    <a:pt x="60" y="726"/>
                  </a:lnTo>
                  <a:lnTo>
                    <a:pt x="66" y="720"/>
                  </a:lnTo>
                  <a:lnTo>
                    <a:pt x="72" y="714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84" y="696"/>
                  </a:lnTo>
                  <a:lnTo>
                    <a:pt x="90" y="684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66"/>
                  </a:lnTo>
                  <a:lnTo>
                    <a:pt x="90" y="660"/>
                  </a:lnTo>
                  <a:lnTo>
                    <a:pt x="84" y="654"/>
                  </a:lnTo>
                  <a:lnTo>
                    <a:pt x="84" y="648"/>
                  </a:lnTo>
                  <a:lnTo>
                    <a:pt x="78" y="636"/>
                  </a:lnTo>
                  <a:lnTo>
                    <a:pt x="66" y="630"/>
                  </a:lnTo>
                  <a:lnTo>
                    <a:pt x="66" y="624"/>
                  </a:lnTo>
                  <a:lnTo>
                    <a:pt x="60" y="624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60" y="600"/>
                  </a:lnTo>
                  <a:lnTo>
                    <a:pt x="66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6" y="588"/>
                  </a:lnTo>
                  <a:lnTo>
                    <a:pt x="66" y="582"/>
                  </a:lnTo>
                  <a:lnTo>
                    <a:pt x="72" y="582"/>
                  </a:lnTo>
                  <a:lnTo>
                    <a:pt x="78" y="576"/>
                  </a:lnTo>
                  <a:lnTo>
                    <a:pt x="72" y="576"/>
                  </a:lnTo>
                  <a:lnTo>
                    <a:pt x="66" y="570"/>
                  </a:lnTo>
                  <a:lnTo>
                    <a:pt x="72" y="564"/>
                  </a:lnTo>
                  <a:lnTo>
                    <a:pt x="78" y="558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90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102" y="516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0" y="504"/>
                  </a:lnTo>
                  <a:lnTo>
                    <a:pt x="120" y="498"/>
                  </a:lnTo>
                  <a:lnTo>
                    <a:pt x="120" y="492"/>
                  </a:lnTo>
                  <a:lnTo>
                    <a:pt x="126" y="480"/>
                  </a:lnTo>
                  <a:lnTo>
                    <a:pt x="132" y="474"/>
                  </a:lnTo>
                  <a:lnTo>
                    <a:pt x="132" y="468"/>
                  </a:lnTo>
                  <a:lnTo>
                    <a:pt x="138" y="462"/>
                  </a:lnTo>
                  <a:lnTo>
                    <a:pt x="138" y="456"/>
                  </a:lnTo>
                  <a:lnTo>
                    <a:pt x="138" y="450"/>
                  </a:lnTo>
                  <a:lnTo>
                    <a:pt x="144" y="444"/>
                  </a:lnTo>
                  <a:lnTo>
                    <a:pt x="162" y="438"/>
                  </a:lnTo>
                  <a:lnTo>
                    <a:pt x="186" y="438"/>
                  </a:lnTo>
                  <a:lnTo>
                    <a:pt x="210" y="444"/>
                  </a:lnTo>
                  <a:lnTo>
                    <a:pt x="276" y="450"/>
                  </a:lnTo>
                  <a:lnTo>
                    <a:pt x="342" y="450"/>
                  </a:lnTo>
                  <a:lnTo>
                    <a:pt x="348" y="450"/>
                  </a:lnTo>
                  <a:lnTo>
                    <a:pt x="354" y="450"/>
                  </a:lnTo>
                  <a:lnTo>
                    <a:pt x="360" y="456"/>
                  </a:lnTo>
                  <a:lnTo>
                    <a:pt x="354" y="462"/>
                  </a:lnTo>
                  <a:lnTo>
                    <a:pt x="354" y="468"/>
                  </a:lnTo>
                  <a:lnTo>
                    <a:pt x="354" y="474"/>
                  </a:lnTo>
                  <a:lnTo>
                    <a:pt x="348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48" y="498"/>
                  </a:lnTo>
                  <a:lnTo>
                    <a:pt x="342" y="510"/>
                  </a:lnTo>
                  <a:lnTo>
                    <a:pt x="348" y="528"/>
                  </a:lnTo>
                  <a:lnTo>
                    <a:pt x="348" y="534"/>
                  </a:lnTo>
                  <a:lnTo>
                    <a:pt x="354" y="552"/>
                  </a:lnTo>
                  <a:lnTo>
                    <a:pt x="366" y="546"/>
                  </a:lnTo>
                  <a:lnTo>
                    <a:pt x="372" y="540"/>
                  </a:lnTo>
                  <a:lnTo>
                    <a:pt x="384" y="540"/>
                  </a:lnTo>
                  <a:lnTo>
                    <a:pt x="396" y="534"/>
                  </a:lnTo>
                  <a:lnTo>
                    <a:pt x="402" y="534"/>
                  </a:lnTo>
                  <a:lnTo>
                    <a:pt x="414" y="546"/>
                  </a:lnTo>
                  <a:lnTo>
                    <a:pt x="432" y="540"/>
                  </a:lnTo>
                  <a:lnTo>
                    <a:pt x="450" y="534"/>
                  </a:lnTo>
                  <a:lnTo>
                    <a:pt x="450" y="528"/>
                  </a:lnTo>
                  <a:lnTo>
                    <a:pt x="456" y="528"/>
                  </a:lnTo>
                  <a:lnTo>
                    <a:pt x="456" y="522"/>
                  </a:lnTo>
                  <a:lnTo>
                    <a:pt x="456" y="516"/>
                  </a:lnTo>
                  <a:lnTo>
                    <a:pt x="462" y="516"/>
                  </a:lnTo>
                  <a:lnTo>
                    <a:pt x="468" y="510"/>
                  </a:lnTo>
                  <a:lnTo>
                    <a:pt x="468" y="504"/>
                  </a:lnTo>
                  <a:lnTo>
                    <a:pt x="474" y="504"/>
                  </a:lnTo>
                  <a:lnTo>
                    <a:pt x="480" y="504"/>
                  </a:lnTo>
                  <a:lnTo>
                    <a:pt x="486" y="498"/>
                  </a:lnTo>
                  <a:lnTo>
                    <a:pt x="492" y="498"/>
                  </a:lnTo>
                  <a:lnTo>
                    <a:pt x="486" y="480"/>
                  </a:lnTo>
                  <a:lnTo>
                    <a:pt x="492" y="462"/>
                  </a:lnTo>
                  <a:lnTo>
                    <a:pt x="498" y="444"/>
                  </a:lnTo>
                  <a:lnTo>
                    <a:pt x="498" y="426"/>
                  </a:lnTo>
                  <a:lnTo>
                    <a:pt x="498" y="420"/>
                  </a:lnTo>
                  <a:lnTo>
                    <a:pt x="504" y="426"/>
                  </a:lnTo>
                  <a:lnTo>
                    <a:pt x="504" y="420"/>
                  </a:lnTo>
                  <a:lnTo>
                    <a:pt x="510" y="420"/>
                  </a:lnTo>
                  <a:lnTo>
                    <a:pt x="510" y="414"/>
                  </a:lnTo>
                  <a:lnTo>
                    <a:pt x="510" y="408"/>
                  </a:lnTo>
                  <a:lnTo>
                    <a:pt x="504" y="402"/>
                  </a:lnTo>
                  <a:lnTo>
                    <a:pt x="504" y="396"/>
                  </a:lnTo>
                  <a:lnTo>
                    <a:pt x="504" y="384"/>
                  </a:lnTo>
                  <a:lnTo>
                    <a:pt x="504" y="378"/>
                  </a:lnTo>
                  <a:lnTo>
                    <a:pt x="504" y="360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510" y="348"/>
                  </a:lnTo>
                  <a:lnTo>
                    <a:pt x="510" y="336"/>
                  </a:lnTo>
                  <a:lnTo>
                    <a:pt x="516" y="330"/>
                  </a:lnTo>
                  <a:lnTo>
                    <a:pt x="522" y="324"/>
                  </a:lnTo>
                  <a:lnTo>
                    <a:pt x="528" y="318"/>
                  </a:lnTo>
                  <a:lnTo>
                    <a:pt x="534" y="312"/>
                  </a:lnTo>
                  <a:lnTo>
                    <a:pt x="534" y="300"/>
                  </a:lnTo>
                  <a:lnTo>
                    <a:pt x="540" y="294"/>
                  </a:lnTo>
                  <a:lnTo>
                    <a:pt x="546" y="288"/>
                  </a:lnTo>
                  <a:lnTo>
                    <a:pt x="552" y="276"/>
                  </a:lnTo>
                  <a:lnTo>
                    <a:pt x="558" y="264"/>
                  </a:lnTo>
                  <a:lnTo>
                    <a:pt x="558" y="258"/>
                  </a:lnTo>
                  <a:lnTo>
                    <a:pt x="558" y="252"/>
                  </a:lnTo>
                  <a:lnTo>
                    <a:pt x="558" y="246"/>
                  </a:lnTo>
                  <a:lnTo>
                    <a:pt x="564" y="246"/>
                  </a:lnTo>
                  <a:lnTo>
                    <a:pt x="564" y="240"/>
                  </a:lnTo>
                  <a:lnTo>
                    <a:pt x="570" y="234"/>
                  </a:lnTo>
                  <a:lnTo>
                    <a:pt x="564" y="216"/>
                  </a:lnTo>
                  <a:lnTo>
                    <a:pt x="564" y="210"/>
                  </a:lnTo>
                  <a:lnTo>
                    <a:pt x="570" y="210"/>
                  </a:lnTo>
                  <a:lnTo>
                    <a:pt x="570" y="204"/>
                  </a:lnTo>
                  <a:lnTo>
                    <a:pt x="570" y="198"/>
                  </a:lnTo>
                  <a:lnTo>
                    <a:pt x="582" y="180"/>
                  </a:lnTo>
                  <a:lnTo>
                    <a:pt x="582" y="174"/>
                  </a:lnTo>
                  <a:lnTo>
                    <a:pt x="582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606" y="150"/>
                  </a:lnTo>
                  <a:lnTo>
                    <a:pt x="612" y="150"/>
                  </a:lnTo>
                  <a:lnTo>
                    <a:pt x="618" y="150"/>
                  </a:lnTo>
                  <a:lnTo>
                    <a:pt x="624" y="138"/>
                  </a:lnTo>
                  <a:lnTo>
                    <a:pt x="618" y="132"/>
                  </a:lnTo>
                  <a:lnTo>
                    <a:pt x="618" y="126"/>
                  </a:lnTo>
                  <a:lnTo>
                    <a:pt x="618" y="120"/>
                  </a:lnTo>
                  <a:lnTo>
                    <a:pt x="618" y="114"/>
                  </a:lnTo>
                  <a:lnTo>
                    <a:pt x="612" y="108"/>
                  </a:lnTo>
                  <a:lnTo>
                    <a:pt x="612" y="102"/>
                  </a:lnTo>
                  <a:lnTo>
                    <a:pt x="618" y="90"/>
                  </a:lnTo>
                  <a:lnTo>
                    <a:pt x="624" y="84"/>
                  </a:lnTo>
                  <a:lnTo>
                    <a:pt x="618" y="84"/>
                  </a:lnTo>
                  <a:lnTo>
                    <a:pt x="618" y="78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0" y="72"/>
                  </a:lnTo>
                  <a:lnTo>
                    <a:pt x="600" y="66"/>
                  </a:lnTo>
                  <a:lnTo>
                    <a:pt x="600" y="60"/>
                  </a:lnTo>
                  <a:lnTo>
                    <a:pt x="600" y="48"/>
                  </a:lnTo>
                  <a:lnTo>
                    <a:pt x="612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36"/>
                  </a:lnTo>
                  <a:lnTo>
                    <a:pt x="630" y="30"/>
                  </a:lnTo>
                  <a:lnTo>
                    <a:pt x="636" y="24"/>
                  </a:lnTo>
                  <a:lnTo>
                    <a:pt x="642" y="24"/>
                  </a:lnTo>
                  <a:lnTo>
                    <a:pt x="648" y="24"/>
                  </a:lnTo>
                  <a:lnTo>
                    <a:pt x="648" y="18"/>
                  </a:lnTo>
                  <a:lnTo>
                    <a:pt x="654" y="12"/>
                  </a:lnTo>
                  <a:lnTo>
                    <a:pt x="660" y="0"/>
                  </a:lnTo>
                  <a:lnTo>
                    <a:pt x="678" y="0"/>
                  </a:lnTo>
                  <a:lnTo>
                    <a:pt x="696" y="0"/>
                  </a:lnTo>
                  <a:lnTo>
                    <a:pt x="702" y="0"/>
                  </a:lnTo>
                  <a:lnTo>
                    <a:pt x="714" y="0"/>
                  </a:lnTo>
                  <a:lnTo>
                    <a:pt x="720" y="6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44" y="24"/>
                  </a:lnTo>
                  <a:lnTo>
                    <a:pt x="744" y="30"/>
                  </a:lnTo>
                  <a:lnTo>
                    <a:pt x="732" y="42"/>
                  </a:lnTo>
                  <a:lnTo>
                    <a:pt x="726" y="42"/>
                  </a:lnTo>
                  <a:lnTo>
                    <a:pt x="720" y="42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54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90"/>
                  </a:lnTo>
                  <a:lnTo>
                    <a:pt x="726" y="84"/>
                  </a:lnTo>
                  <a:lnTo>
                    <a:pt x="738" y="84"/>
                  </a:lnTo>
                  <a:lnTo>
                    <a:pt x="750" y="96"/>
                  </a:lnTo>
                  <a:lnTo>
                    <a:pt x="768" y="96"/>
                  </a:lnTo>
                  <a:lnTo>
                    <a:pt x="768" y="90"/>
                  </a:lnTo>
                  <a:lnTo>
                    <a:pt x="774" y="84"/>
                  </a:lnTo>
                  <a:lnTo>
                    <a:pt x="780" y="78"/>
                  </a:lnTo>
                  <a:lnTo>
                    <a:pt x="786" y="78"/>
                  </a:lnTo>
                  <a:lnTo>
                    <a:pt x="792" y="72"/>
                  </a:lnTo>
                  <a:lnTo>
                    <a:pt x="804" y="72"/>
                  </a:lnTo>
                  <a:lnTo>
                    <a:pt x="804" y="66"/>
                  </a:lnTo>
                  <a:lnTo>
                    <a:pt x="810" y="66"/>
                  </a:lnTo>
                  <a:lnTo>
                    <a:pt x="810" y="72"/>
                  </a:lnTo>
                  <a:lnTo>
                    <a:pt x="816" y="66"/>
                  </a:lnTo>
                  <a:lnTo>
                    <a:pt x="828" y="66"/>
                  </a:lnTo>
                  <a:lnTo>
                    <a:pt x="834" y="72"/>
                  </a:lnTo>
                  <a:lnTo>
                    <a:pt x="840" y="72"/>
                  </a:lnTo>
                  <a:lnTo>
                    <a:pt x="840" y="78"/>
                  </a:lnTo>
                  <a:lnTo>
                    <a:pt x="840" y="84"/>
                  </a:lnTo>
                  <a:lnTo>
                    <a:pt x="852" y="84"/>
                  </a:lnTo>
                  <a:lnTo>
                    <a:pt x="858" y="96"/>
                  </a:lnTo>
                  <a:lnTo>
                    <a:pt x="864" y="108"/>
                  </a:lnTo>
                  <a:lnTo>
                    <a:pt x="876" y="114"/>
                  </a:lnTo>
                  <a:lnTo>
                    <a:pt x="894" y="114"/>
                  </a:lnTo>
                  <a:lnTo>
                    <a:pt x="906" y="114"/>
                  </a:lnTo>
                  <a:lnTo>
                    <a:pt x="906" y="126"/>
                  </a:lnTo>
                  <a:lnTo>
                    <a:pt x="912" y="144"/>
                  </a:lnTo>
                  <a:lnTo>
                    <a:pt x="930" y="138"/>
                  </a:lnTo>
                  <a:lnTo>
                    <a:pt x="936" y="138"/>
                  </a:lnTo>
                  <a:lnTo>
                    <a:pt x="942" y="144"/>
                  </a:lnTo>
                  <a:lnTo>
                    <a:pt x="948" y="150"/>
                  </a:lnTo>
                  <a:lnTo>
                    <a:pt x="954" y="156"/>
                  </a:lnTo>
                  <a:lnTo>
                    <a:pt x="954" y="168"/>
                  </a:lnTo>
                  <a:lnTo>
                    <a:pt x="954" y="174"/>
                  </a:lnTo>
                  <a:lnTo>
                    <a:pt x="960" y="180"/>
                  </a:lnTo>
                  <a:lnTo>
                    <a:pt x="966" y="186"/>
                  </a:lnTo>
                  <a:lnTo>
                    <a:pt x="960" y="186"/>
                  </a:lnTo>
                  <a:lnTo>
                    <a:pt x="966" y="192"/>
                  </a:lnTo>
                  <a:lnTo>
                    <a:pt x="966" y="198"/>
                  </a:lnTo>
                  <a:lnTo>
                    <a:pt x="978" y="204"/>
                  </a:lnTo>
                  <a:lnTo>
                    <a:pt x="1050" y="186"/>
                  </a:lnTo>
                  <a:lnTo>
                    <a:pt x="1056" y="198"/>
                  </a:lnTo>
                  <a:lnTo>
                    <a:pt x="1068" y="210"/>
                  </a:lnTo>
                  <a:lnTo>
                    <a:pt x="1074" y="216"/>
                  </a:lnTo>
                  <a:lnTo>
                    <a:pt x="1080" y="252"/>
                  </a:lnTo>
                  <a:lnTo>
                    <a:pt x="1086" y="270"/>
                  </a:lnTo>
                  <a:lnTo>
                    <a:pt x="1092" y="282"/>
                  </a:lnTo>
                  <a:lnTo>
                    <a:pt x="1086" y="300"/>
                  </a:lnTo>
                  <a:lnTo>
                    <a:pt x="1074" y="330"/>
                  </a:lnTo>
                  <a:lnTo>
                    <a:pt x="1068" y="336"/>
                  </a:lnTo>
                  <a:lnTo>
                    <a:pt x="1062" y="348"/>
                  </a:lnTo>
                  <a:lnTo>
                    <a:pt x="1062" y="360"/>
                  </a:lnTo>
                  <a:lnTo>
                    <a:pt x="1068" y="378"/>
                  </a:lnTo>
                  <a:lnTo>
                    <a:pt x="1074" y="390"/>
                  </a:lnTo>
                  <a:lnTo>
                    <a:pt x="1068" y="396"/>
                  </a:lnTo>
                  <a:lnTo>
                    <a:pt x="1068" y="408"/>
                  </a:lnTo>
                  <a:lnTo>
                    <a:pt x="1062" y="414"/>
                  </a:lnTo>
                  <a:lnTo>
                    <a:pt x="1050" y="432"/>
                  </a:lnTo>
                  <a:lnTo>
                    <a:pt x="1044" y="450"/>
                  </a:lnTo>
                  <a:lnTo>
                    <a:pt x="1038" y="456"/>
                  </a:lnTo>
                  <a:lnTo>
                    <a:pt x="1026" y="468"/>
                  </a:lnTo>
                  <a:lnTo>
                    <a:pt x="1026" y="474"/>
                  </a:lnTo>
                  <a:lnTo>
                    <a:pt x="1026" y="480"/>
                  </a:lnTo>
                  <a:lnTo>
                    <a:pt x="1032" y="492"/>
                  </a:lnTo>
                  <a:lnTo>
                    <a:pt x="1044" y="504"/>
                  </a:lnTo>
                  <a:lnTo>
                    <a:pt x="1044" y="516"/>
                  </a:lnTo>
                  <a:lnTo>
                    <a:pt x="1038" y="528"/>
                  </a:lnTo>
                  <a:lnTo>
                    <a:pt x="1032" y="546"/>
                  </a:lnTo>
                  <a:lnTo>
                    <a:pt x="1032" y="570"/>
                  </a:lnTo>
                  <a:lnTo>
                    <a:pt x="1050" y="594"/>
                  </a:lnTo>
                  <a:lnTo>
                    <a:pt x="1056" y="624"/>
                  </a:lnTo>
                  <a:lnTo>
                    <a:pt x="1056" y="65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9" name="Freeform 24">
              <a:extLst>
                <a:ext uri="{FF2B5EF4-FFF2-40B4-BE49-F238E27FC236}">
                  <a16:creationId xmlns:a16="http://schemas.microsoft.com/office/drawing/2014/main" id="{CAE689DA-332A-4F73-BDE6-8865C9170AA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84829" y="3213406"/>
              <a:ext cx="851989" cy="744754"/>
            </a:xfrm>
            <a:custGeom>
              <a:avLst/>
              <a:gdLst>
                <a:gd name="T0" fmla="*/ 116 w 1602"/>
                <a:gd name="T1" fmla="*/ 91 h 1404"/>
                <a:gd name="T2" fmla="*/ 111 w 1602"/>
                <a:gd name="T3" fmla="*/ 95 h 1404"/>
                <a:gd name="T4" fmla="*/ 102 w 1602"/>
                <a:gd name="T5" fmla="*/ 101 h 1404"/>
                <a:gd name="T6" fmla="*/ 99 w 1602"/>
                <a:gd name="T7" fmla="*/ 103 h 1404"/>
                <a:gd name="T8" fmla="*/ 96 w 1602"/>
                <a:gd name="T9" fmla="*/ 106 h 1404"/>
                <a:gd name="T10" fmla="*/ 93 w 1602"/>
                <a:gd name="T11" fmla="*/ 108 h 1404"/>
                <a:gd name="T12" fmla="*/ 88 w 1602"/>
                <a:gd name="T13" fmla="*/ 106 h 1404"/>
                <a:gd name="T14" fmla="*/ 86 w 1602"/>
                <a:gd name="T15" fmla="*/ 108 h 1404"/>
                <a:gd name="T16" fmla="*/ 81 w 1602"/>
                <a:gd name="T17" fmla="*/ 119 h 1404"/>
                <a:gd name="T18" fmla="*/ 71 w 1602"/>
                <a:gd name="T19" fmla="*/ 109 h 1404"/>
                <a:gd name="T20" fmla="*/ 72 w 1602"/>
                <a:gd name="T21" fmla="*/ 101 h 1404"/>
                <a:gd name="T22" fmla="*/ 74 w 1602"/>
                <a:gd name="T23" fmla="*/ 93 h 1404"/>
                <a:gd name="T24" fmla="*/ 73 w 1602"/>
                <a:gd name="T25" fmla="*/ 82 h 1404"/>
                <a:gd name="T26" fmla="*/ 64 w 1602"/>
                <a:gd name="T27" fmla="*/ 79 h 1404"/>
                <a:gd name="T28" fmla="*/ 59 w 1602"/>
                <a:gd name="T29" fmla="*/ 75 h 1404"/>
                <a:gd name="T30" fmla="*/ 54 w 1602"/>
                <a:gd name="T31" fmla="*/ 71 h 1404"/>
                <a:gd name="T32" fmla="*/ 51 w 1602"/>
                <a:gd name="T33" fmla="*/ 70 h 1404"/>
                <a:gd name="T34" fmla="*/ 45 w 1602"/>
                <a:gd name="T35" fmla="*/ 71 h 1404"/>
                <a:gd name="T36" fmla="*/ 43 w 1602"/>
                <a:gd name="T37" fmla="*/ 68 h 1404"/>
                <a:gd name="T38" fmla="*/ 43 w 1602"/>
                <a:gd name="T39" fmla="*/ 64 h 1404"/>
                <a:gd name="T40" fmla="*/ 36 w 1602"/>
                <a:gd name="T41" fmla="*/ 66 h 1404"/>
                <a:gd name="T42" fmla="*/ 31 w 1602"/>
                <a:gd name="T43" fmla="*/ 55 h 1404"/>
                <a:gd name="T44" fmla="*/ 25 w 1602"/>
                <a:gd name="T45" fmla="*/ 53 h 1404"/>
                <a:gd name="T46" fmla="*/ 19 w 1602"/>
                <a:gd name="T47" fmla="*/ 51 h 1404"/>
                <a:gd name="T48" fmla="*/ 17 w 1602"/>
                <a:gd name="T49" fmla="*/ 43 h 1404"/>
                <a:gd name="T50" fmla="*/ 17 w 1602"/>
                <a:gd name="T51" fmla="*/ 39 h 1404"/>
                <a:gd name="T52" fmla="*/ 12 w 1602"/>
                <a:gd name="T53" fmla="*/ 39 h 1404"/>
                <a:gd name="T54" fmla="*/ 10 w 1602"/>
                <a:gd name="T55" fmla="*/ 35 h 1404"/>
                <a:gd name="T56" fmla="*/ 5 w 1602"/>
                <a:gd name="T57" fmla="*/ 30 h 1404"/>
                <a:gd name="T58" fmla="*/ 3 w 1602"/>
                <a:gd name="T59" fmla="*/ 27 h 1404"/>
                <a:gd name="T60" fmla="*/ 2 w 1602"/>
                <a:gd name="T61" fmla="*/ 25 h 1404"/>
                <a:gd name="T62" fmla="*/ 0 w 1602"/>
                <a:gd name="T63" fmla="*/ 22 h 1404"/>
                <a:gd name="T64" fmla="*/ 8 w 1602"/>
                <a:gd name="T65" fmla="*/ 14 h 1404"/>
                <a:gd name="T66" fmla="*/ 16 w 1602"/>
                <a:gd name="T67" fmla="*/ 16 h 1404"/>
                <a:gd name="T68" fmla="*/ 31 w 1602"/>
                <a:gd name="T69" fmla="*/ 18 h 1404"/>
                <a:gd name="T70" fmla="*/ 43 w 1602"/>
                <a:gd name="T71" fmla="*/ 17 h 1404"/>
                <a:gd name="T72" fmla="*/ 47 w 1602"/>
                <a:gd name="T73" fmla="*/ 6 h 1404"/>
                <a:gd name="T74" fmla="*/ 52 w 1602"/>
                <a:gd name="T75" fmla="*/ 0 h 1404"/>
                <a:gd name="T76" fmla="*/ 55 w 1602"/>
                <a:gd name="T77" fmla="*/ 3 h 1404"/>
                <a:gd name="T78" fmla="*/ 59 w 1602"/>
                <a:gd name="T79" fmla="*/ 9 h 1404"/>
                <a:gd name="T80" fmla="*/ 62 w 1602"/>
                <a:gd name="T81" fmla="*/ 16 h 1404"/>
                <a:gd name="T82" fmla="*/ 66 w 1602"/>
                <a:gd name="T83" fmla="*/ 20 h 1404"/>
                <a:gd name="T84" fmla="*/ 70 w 1602"/>
                <a:gd name="T85" fmla="*/ 25 h 1404"/>
                <a:gd name="T86" fmla="*/ 74 w 1602"/>
                <a:gd name="T87" fmla="*/ 30 h 1404"/>
                <a:gd name="T88" fmla="*/ 76 w 1602"/>
                <a:gd name="T89" fmla="*/ 27 h 1404"/>
                <a:gd name="T90" fmla="*/ 78 w 1602"/>
                <a:gd name="T91" fmla="*/ 27 h 1404"/>
                <a:gd name="T92" fmla="*/ 78 w 1602"/>
                <a:gd name="T93" fmla="*/ 23 h 1404"/>
                <a:gd name="T94" fmla="*/ 82 w 1602"/>
                <a:gd name="T95" fmla="*/ 20 h 1404"/>
                <a:gd name="T96" fmla="*/ 82 w 1602"/>
                <a:gd name="T97" fmla="*/ 18 h 1404"/>
                <a:gd name="T98" fmla="*/ 90 w 1602"/>
                <a:gd name="T99" fmla="*/ 24 h 1404"/>
                <a:gd name="T100" fmla="*/ 90 w 1602"/>
                <a:gd name="T101" fmla="*/ 45 h 1404"/>
                <a:gd name="T102" fmla="*/ 104 w 1602"/>
                <a:gd name="T103" fmla="*/ 41 h 1404"/>
                <a:gd name="T104" fmla="*/ 117 w 1602"/>
                <a:gd name="T105" fmla="*/ 39 h 1404"/>
                <a:gd name="T106" fmla="*/ 125 w 1602"/>
                <a:gd name="T107" fmla="*/ 39 h 1404"/>
                <a:gd name="T108" fmla="*/ 127 w 1602"/>
                <a:gd name="T109" fmla="*/ 43 h 1404"/>
                <a:gd name="T110" fmla="*/ 131 w 1602"/>
                <a:gd name="T111" fmla="*/ 53 h 1404"/>
                <a:gd name="T112" fmla="*/ 133 w 1602"/>
                <a:gd name="T113" fmla="*/ 60 h 1404"/>
                <a:gd name="T114" fmla="*/ 138 w 1602"/>
                <a:gd name="T115" fmla="*/ 73 h 1404"/>
                <a:gd name="T116" fmla="*/ 136 w 1602"/>
                <a:gd name="T117" fmla="*/ 80 h 1404"/>
                <a:gd name="T118" fmla="*/ 129 w 1602"/>
                <a:gd name="T119" fmla="*/ 87 h 1404"/>
                <a:gd name="T120" fmla="*/ 123 w 1602"/>
                <a:gd name="T121" fmla="*/ 95 h 14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02"/>
                <a:gd name="T184" fmla="*/ 0 h 1404"/>
                <a:gd name="T185" fmla="*/ 1602 w 1602"/>
                <a:gd name="T186" fmla="*/ 1404 h 14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02" h="1404">
                  <a:moveTo>
                    <a:pt x="1392" y="1080"/>
                  </a:moveTo>
                  <a:lnTo>
                    <a:pt x="1380" y="1074"/>
                  </a:lnTo>
                  <a:lnTo>
                    <a:pt x="1368" y="1056"/>
                  </a:lnTo>
                  <a:lnTo>
                    <a:pt x="1356" y="1044"/>
                  </a:lnTo>
                  <a:lnTo>
                    <a:pt x="1344" y="1038"/>
                  </a:lnTo>
                  <a:lnTo>
                    <a:pt x="1338" y="1038"/>
                  </a:lnTo>
                  <a:lnTo>
                    <a:pt x="1332" y="1038"/>
                  </a:lnTo>
                  <a:lnTo>
                    <a:pt x="1326" y="1044"/>
                  </a:lnTo>
                  <a:lnTo>
                    <a:pt x="1320" y="1044"/>
                  </a:lnTo>
                  <a:lnTo>
                    <a:pt x="1314" y="1044"/>
                  </a:lnTo>
                  <a:lnTo>
                    <a:pt x="1296" y="1056"/>
                  </a:lnTo>
                  <a:lnTo>
                    <a:pt x="1296" y="1080"/>
                  </a:lnTo>
                  <a:lnTo>
                    <a:pt x="1290" y="1080"/>
                  </a:lnTo>
                  <a:lnTo>
                    <a:pt x="1284" y="1086"/>
                  </a:lnTo>
                  <a:lnTo>
                    <a:pt x="1278" y="1086"/>
                  </a:lnTo>
                  <a:lnTo>
                    <a:pt x="1278" y="1092"/>
                  </a:lnTo>
                  <a:lnTo>
                    <a:pt x="1272" y="1092"/>
                  </a:lnTo>
                  <a:lnTo>
                    <a:pt x="1266" y="1086"/>
                  </a:lnTo>
                  <a:lnTo>
                    <a:pt x="1260" y="1086"/>
                  </a:lnTo>
                  <a:lnTo>
                    <a:pt x="1260" y="1098"/>
                  </a:lnTo>
                  <a:lnTo>
                    <a:pt x="1248" y="1098"/>
                  </a:lnTo>
                  <a:lnTo>
                    <a:pt x="1212" y="1116"/>
                  </a:lnTo>
                  <a:lnTo>
                    <a:pt x="1206" y="1158"/>
                  </a:lnTo>
                  <a:lnTo>
                    <a:pt x="1176" y="1164"/>
                  </a:lnTo>
                  <a:lnTo>
                    <a:pt x="1158" y="1164"/>
                  </a:lnTo>
                  <a:lnTo>
                    <a:pt x="1152" y="1164"/>
                  </a:lnTo>
                  <a:lnTo>
                    <a:pt x="1152" y="1170"/>
                  </a:lnTo>
                  <a:lnTo>
                    <a:pt x="1152" y="1176"/>
                  </a:lnTo>
                  <a:lnTo>
                    <a:pt x="1146" y="1176"/>
                  </a:lnTo>
                  <a:lnTo>
                    <a:pt x="1140" y="1176"/>
                  </a:lnTo>
                  <a:lnTo>
                    <a:pt x="1134" y="1182"/>
                  </a:lnTo>
                  <a:lnTo>
                    <a:pt x="1134" y="1188"/>
                  </a:lnTo>
                  <a:lnTo>
                    <a:pt x="1128" y="1194"/>
                  </a:lnTo>
                  <a:lnTo>
                    <a:pt x="1122" y="1194"/>
                  </a:lnTo>
                  <a:lnTo>
                    <a:pt x="1116" y="1194"/>
                  </a:lnTo>
                  <a:lnTo>
                    <a:pt x="1110" y="1200"/>
                  </a:lnTo>
                  <a:lnTo>
                    <a:pt x="1110" y="1206"/>
                  </a:lnTo>
                  <a:lnTo>
                    <a:pt x="1104" y="1212"/>
                  </a:lnTo>
                  <a:lnTo>
                    <a:pt x="1104" y="1218"/>
                  </a:lnTo>
                  <a:lnTo>
                    <a:pt x="1098" y="1224"/>
                  </a:lnTo>
                  <a:lnTo>
                    <a:pt x="1092" y="1230"/>
                  </a:lnTo>
                  <a:lnTo>
                    <a:pt x="1086" y="1230"/>
                  </a:lnTo>
                  <a:lnTo>
                    <a:pt x="1080" y="1230"/>
                  </a:lnTo>
                  <a:lnTo>
                    <a:pt x="1080" y="1242"/>
                  </a:lnTo>
                  <a:lnTo>
                    <a:pt x="1074" y="1242"/>
                  </a:lnTo>
                  <a:lnTo>
                    <a:pt x="1068" y="1242"/>
                  </a:lnTo>
                  <a:lnTo>
                    <a:pt x="1068" y="1236"/>
                  </a:lnTo>
                  <a:lnTo>
                    <a:pt x="1062" y="1242"/>
                  </a:lnTo>
                  <a:lnTo>
                    <a:pt x="1056" y="1236"/>
                  </a:lnTo>
                  <a:lnTo>
                    <a:pt x="1050" y="1242"/>
                  </a:lnTo>
                  <a:lnTo>
                    <a:pt x="1050" y="1236"/>
                  </a:lnTo>
                  <a:lnTo>
                    <a:pt x="1044" y="1194"/>
                  </a:lnTo>
                  <a:lnTo>
                    <a:pt x="1032" y="1194"/>
                  </a:lnTo>
                  <a:lnTo>
                    <a:pt x="1032" y="1200"/>
                  </a:lnTo>
                  <a:lnTo>
                    <a:pt x="1026" y="1200"/>
                  </a:lnTo>
                  <a:lnTo>
                    <a:pt x="1014" y="1218"/>
                  </a:lnTo>
                  <a:lnTo>
                    <a:pt x="1014" y="1224"/>
                  </a:lnTo>
                  <a:lnTo>
                    <a:pt x="1014" y="1236"/>
                  </a:lnTo>
                  <a:lnTo>
                    <a:pt x="1014" y="1242"/>
                  </a:lnTo>
                  <a:lnTo>
                    <a:pt x="1008" y="1242"/>
                  </a:lnTo>
                  <a:lnTo>
                    <a:pt x="1002" y="1236"/>
                  </a:lnTo>
                  <a:lnTo>
                    <a:pt x="1002" y="1230"/>
                  </a:lnTo>
                  <a:lnTo>
                    <a:pt x="996" y="1236"/>
                  </a:lnTo>
                  <a:lnTo>
                    <a:pt x="990" y="1236"/>
                  </a:lnTo>
                  <a:lnTo>
                    <a:pt x="990" y="1230"/>
                  </a:lnTo>
                  <a:lnTo>
                    <a:pt x="984" y="1236"/>
                  </a:lnTo>
                  <a:lnTo>
                    <a:pt x="978" y="1248"/>
                  </a:lnTo>
                  <a:lnTo>
                    <a:pt x="972" y="1254"/>
                  </a:lnTo>
                  <a:lnTo>
                    <a:pt x="966" y="1260"/>
                  </a:lnTo>
                  <a:lnTo>
                    <a:pt x="930" y="1284"/>
                  </a:lnTo>
                  <a:lnTo>
                    <a:pt x="942" y="1356"/>
                  </a:lnTo>
                  <a:lnTo>
                    <a:pt x="930" y="1368"/>
                  </a:lnTo>
                  <a:lnTo>
                    <a:pt x="852" y="1404"/>
                  </a:lnTo>
                  <a:lnTo>
                    <a:pt x="834" y="1392"/>
                  </a:lnTo>
                  <a:lnTo>
                    <a:pt x="834" y="1362"/>
                  </a:lnTo>
                  <a:lnTo>
                    <a:pt x="828" y="1332"/>
                  </a:lnTo>
                  <a:lnTo>
                    <a:pt x="810" y="1308"/>
                  </a:lnTo>
                  <a:lnTo>
                    <a:pt x="810" y="1284"/>
                  </a:lnTo>
                  <a:lnTo>
                    <a:pt x="816" y="1266"/>
                  </a:lnTo>
                  <a:lnTo>
                    <a:pt x="822" y="1254"/>
                  </a:lnTo>
                  <a:lnTo>
                    <a:pt x="822" y="1242"/>
                  </a:lnTo>
                  <a:lnTo>
                    <a:pt x="810" y="1230"/>
                  </a:lnTo>
                  <a:lnTo>
                    <a:pt x="804" y="1218"/>
                  </a:lnTo>
                  <a:lnTo>
                    <a:pt x="804" y="1212"/>
                  </a:lnTo>
                  <a:lnTo>
                    <a:pt x="804" y="1206"/>
                  </a:lnTo>
                  <a:lnTo>
                    <a:pt x="816" y="1194"/>
                  </a:lnTo>
                  <a:lnTo>
                    <a:pt x="822" y="1188"/>
                  </a:lnTo>
                  <a:lnTo>
                    <a:pt x="828" y="1170"/>
                  </a:lnTo>
                  <a:lnTo>
                    <a:pt x="840" y="1152"/>
                  </a:lnTo>
                  <a:lnTo>
                    <a:pt x="846" y="1146"/>
                  </a:lnTo>
                  <a:lnTo>
                    <a:pt x="846" y="1134"/>
                  </a:lnTo>
                  <a:lnTo>
                    <a:pt x="852" y="1128"/>
                  </a:lnTo>
                  <a:lnTo>
                    <a:pt x="846" y="1116"/>
                  </a:lnTo>
                  <a:lnTo>
                    <a:pt x="840" y="1098"/>
                  </a:lnTo>
                  <a:lnTo>
                    <a:pt x="840" y="1086"/>
                  </a:lnTo>
                  <a:lnTo>
                    <a:pt x="846" y="1074"/>
                  </a:lnTo>
                  <a:lnTo>
                    <a:pt x="852" y="1068"/>
                  </a:lnTo>
                  <a:lnTo>
                    <a:pt x="864" y="1038"/>
                  </a:lnTo>
                  <a:lnTo>
                    <a:pt x="870" y="1020"/>
                  </a:lnTo>
                  <a:lnTo>
                    <a:pt x="864" y="1008"/>
                  </a:lnTo>
                  <a:lnTo>
                    <a:pt x="858" y="990"/>
                  </a:lnTo>
                  <a:lnTo>
                    <a:pt x="852" y="954"/>
                  </a:lnTo>
                  <a:lnTo>
                    <a:pt x="846" y="948"/>
                  </a:lnTo>
                  <a:lnTo>
                    <a:pt x="834" y="936"/>
                  </a:lnTo>
                  <a:lnTo>
                    <a:pt x="828" y="924"/>
                  </a:lnTo>
                  <a:lnTo>
                    <a:pt x="756" y="942"/>
                  </a:lnTo>
                  <a:lnTo>
                    <a:pt x="744" y="936"/>
                  </a:lnTo>
                  <a:lnTo>
                    <a:pt x="744" y="930"/>
                  </a:lnTo>
                  <a:lnTo>
                    <a:pt x="738" y="924"/>
                  </a:lnTo>
                  <a:lnTo>
                    <a:pt x="744" y="924"/>
                  </a:lnTo>
                  <a:lnTo>
                    <a:pt x="738" y="918"/>
                  </a:lnTo>
                  <a:lnTo>
                    <a:pt x="732" y="912"/>
                  </a:lnTo>
                  <a:lnTo>
                    <a:pt x="732" y="906"/>
                  </a:lnTo>
                  <a:lnTo>
                    <a:pt x="732" y="894"/>
                  </a:lnTo>
                  <a:lnTo>
                    <a:pt x="726" y="888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6"/>
                  </a:lnTo>
                  <a:lnTo>
                    <a:pt x="690" y="882"/>
                  </a:lnTo>
                  <a:lnTo>
                    <a:pt x="684" y="864"/>
                  </a:lnTo>
                  <a:lnTo>
                    <a:pt x="684" y="852"/>
                  </a:lnTo>
                  <a:lnTo>
                    <a:pt x="672" y="852"/>
                  </a:lnTo>
                  <a:lnTo>
                    <a:pt x="654" y="852"/>
                  </a:lnTo>
                  <a:lnTo>
                    <a:pt x="642" y="846"/>
                  </a:lnTo>
                  <a:lnTo>
                    <a:pt x="636" y="834"/>
                  </a:lnTo>
                  <a:lnTo>
                    <a:pt x="630" y="822"/>
                  </a:lnTo>
                  <a:lnTo>
                    <a:pt x="618" y="822"/>
                  </a:lnTo>
                  <a:lnTo>
                    <a:pt x="618" y="816"/>
                  </a:lnTo>
                  <a:lnTo>
                    <a:pt x="618" y="810"/>
                  </a:lnTo>
                  <a:lnTo>
                    <a:pt x="612" y="810"/>
                  </a:lnTo>
                  <a:lnTo>
                    <a:pt x="606" y="804"/>
                  </a:lnTo>
                  <a:lnTo>
                    <a:pt x="594" y="804"/>
                  </a:lnTo>
                  <a:lnTo>
                    <a:pt x="588" y="810"/>
                  </a:lnTo>
                  <a:lnTo>
                    <a:pt x="588" y="804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70" y="810"/>
                  </a:lnTo>
                  <a:lnTo>
                    <a:pt x="564" y="816"/>
                  </a:lnTo>
                  <a:lnTo>
                    <a:pt x="558" y="816"/>
                  </a:lnTo>
                  <a:lnTo>
                    <a:pt x="552" y="822"/>
                  </a:lnTo>
                  <a:lnTo>
                    <a:pt x="546" y="828"/>
                  </a:lnTo>
                  <a:lnTo>
                    <a:pt x="546" y="834"/>
                  </a:lnTo>
                  <a:lnTo>
                    <a:pt x="528" y="834"/>
                  </a:lnTo>
                  <a:lnTo>
                    <a:pt x="516" y="822"/>
                  </a:lnTo>
                  <a:lnTo>
                    <a:pt x="504" y="822"/>
                  </a:lnTo>
                  <a:lnTo>
                    <a:pt x="492" y="82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6" y="792"/>
                  </a:lnTo>
                  <a:lnTo>
                    <a:pt x="492" y="786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504" y="780"/>
                  </a:lnTo>
                  <a:lnTo>
                    <a:pt x="510" y="780"/>
                  </a:lnTo>
                  <a:lnTo>
                    <a:pt x="522" y="768"/>
                  </a:lnTo>
                  <a:lnTo>
                    <a:pt x="522" y="762"/>
                  </a:lnTo>
                  <a:lnTo>
                    <a:pt x="504" y="756"/>
                  </a:lnTo>
                  <a:lnTo>
                    <a:pt x="498" y="756"/>
                  </a:lnTo>
                  <a:lnTo>
                    <a:pt x="498" y="744"/>
                  </a:lnTo>
                  <a:lnTo>
                    <a:pt x="492" y="738"/>
                  </a:lnTo>
                  <a:lnTo>
                    <a:pt x="480" y="738"/>
                  </a:lnTo>
                  <a:lnTo>
                    <a:pt x="474" y="738"/>
                  </a:lnTo>
                  <a:lnTo>
                    <a:pt x="456" y="738"/>
                  </a:lnTo>
                  <a:lnTo>
                    <a:pt x="438" y="738"/>
                  </a:lnTo>
                  <a:lnTo>
                    <a:pt x="432" y="750"/>
                  </a:lnTo>
                  <a:lnTo>
                    <a:pt x="426" y="756"/>
                  </a:lnTo>
                  <a:lnTo>
                    <a:pt x="426" y="762"/>
                  </a:lnTo>
                  <a:lnTo>
                    <a:pt x="420" y="762"/>
                  </a:lnTo>
                  <a:lnTo>
                    <a:pt x="408" y="744"/>
                  </a:lnTo>
                  <a:lnTo>
                    <a:pt x="408" y="732"/>
                  </a:lnTo>
                  <a:lnTo>
                    <a:pt x="390" y="714"/>
                  </a:lnTo>
                  <a:lnTo>
                    <a:pt x="384" y="702"/>
                  </a:lnTo>
                  <a:lnTo>
                    <a:pt x="384" y="690"/>
                  </a:lnTo>
                  <a:lnTo>
                    <a:pt x="372" y="690"/>
                  </a:lnTo>
                  <a:lnTo>
                    <a:pt x="366" y="660"/>
                  </a:lnTo>
                  <a:lnTo>
                    <a:pt x="354" y="630"/>
                  </a:lnTo>
                  <a:lnTo>
                    <a:pt x="348" y="630"/>
                  </a:lnTo>
                  <a:lnTo>
                    <a:pt x="336" y="630"/>
                  </a:lnTo>
                  <a:lnTo>
                    <a:pt x="330" y="630"/>
                  </a:lnTo>
                  <a:lnTo>
                    <a:pt x="318" y="630"/>
                  </a:lnTo>
                  <a:lnTo>
                    <a:pt x="312" y="624"/>
                  </a:lnTo>
                  <a:lnTo>
                    <a:pt x="306" y="624"/>
                  </a:lnTo>
                  <a:lnTo>
                    <a:pt x="294" y="618"/>
                  </a:lnTo>
                  <a:lnTo>
                    <a:pt x="288" y="612"/>
                  </a:lnTo>
                  <a:lnTo>
                    <a:pt x="276" y="600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58" y="588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8"/>
                  </a:lnTo>
                  <a:lnTo>
                    <a:pt x="216" y="582"/>
                  </a:lnTo>
                  <a:lnTo>
                    <a:pt x="210" y="588"/>
                  </a:lnTo>
                  <a:lnTo>
                    <a:pt x="198" y="582"/>
                  </a:lnTo>
                  <a:lnTo>
                    <a:pt x="180" y="582"/>
                  </a:lnTo>
                  <a:lnTo>
                    <a:pt x="174" y="552"/>
                  </a:lnTo>
                  <a:lnTo>
                    <a:pt x="168" y="504"/>
                  </a:lnTo>
                  <a:lnTo>
                    <a:pt x="186" y="504"/>
                  </a:lnTo>
                  <a:lnTo>
                    <a:pt x="192" y="504"/>
                  </a:lnTo>
                  <a:lnTo>
                    <a:pt x="192" y="498"/>
                  </a:lnTo>
                  <a:lnTo>
                    <a:pt x="192" y="492"/>
                  </a:lnTo>
                  <a:lnTo>
                    <a:pt x="192" y="486"/>
                  </a:lnTo>
                  <a:lnTo>
                    <a:pt x="198" y="486"/>
                  </a:lnTo>
                  <a:lnTo>
                    <a:pt x="198" y="480"/>
                  </a:lnTo>
                  <a:lnTo>
                    <a:pt x="204" y="474"/>
                  </a:lnTo>
                  <a:lnTo>
                    <a:pt x="210" y="468"/>
                  </a:lnTo>
                  <a:lnTo>
                    <a:pt x="198" y="462"/>
                  </a:lnTo>
                  <a:lnTo>
                    <a:pt x="192" y="444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32"/>
                  </a:lnTo>
                  <a:lnTo>
                    <a:pt x="168" y="438"/>
                  </a:lnTo>
                  <a:lnTo>
                    <a:pt x="150" y="450"/>
                  </a:lnTo>
                  <a:lnTo>
                    <a:pt x="144" y="456"/>
                  </a:lnTo>
                  <a:lnTo>
                    <a:pt x="132" y="456"/>
                  </a:lnTo>
                  <a:lnTo>
                    <a:pt x="126" y="468"/>
                  </a:lnTo>
                  <a:lnTo>
                    <a:pt x="114" y="468"/>
                  </a:lnTo>
                  <a:lnTo>
                    <a:pt x="108" y="468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14"/>
                  </a:lnTo>
                  <a:lnTo>
                    <a:pt x="108" y="396"/>
                  </a:lnTo>
                  <a:lnTo>
                    <a:pt x="120" y="396"/>
                  </a:lnTo>
                  <a:lnTo>
                    <a:pt x="126" y="384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84" y="354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0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60" y="318"/>
                  </a:lnTo>
                  <a:lnTo>
                    <a:pt x="42" y="324"/>
                  </a:lnTo>
                  <a:lnTo>
                    <a:pt x="36" y="318"/>
                  </a:lnTo>
                  <a:lnTo>
                    <a:pt x="36" y="312"/>
                  </a:lnTo>
                  <a:lnTo>
                    <a:pt x="36" y="306"/>
                  </a:lnTo>
                  <a:lnTo>
                    <a:pt x="36" y="300"/>
                  </a:lnTo>
                  <a:lnTo>
                    <a:pt x="30" y="300"/>
                  </a:lnTo>
                  <a:lnTo>
                    <a:pt x="30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24" y="276"/>
                  </a:lnTo>
                  <a:lnTo>
                    <a:pt x="18" y="276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18" y="234"/>
                  </a:lnTo>
                  <a:lnTo>
                    <a:pt x="30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42" y="192"/>
                  </a:lnTo>
                  <a:lnTo>
                    <a:pt x="66" y="186"/>
                  </a:lnTo>
                  <a:lnTo>
                    <a:pt x="90" y="156"/>
                  </a:lnTo>
                  <a:lnTo>
                    <a:pt x="102" y="144"/>
                  </a:lnTo>
                  <a:lnTo>
                    <a:pt x="138" y="150"/>
                  </a:lnTo>
                  <a:lnTo>
                    <a:pt x="162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0" y="180"/>
                  </a:lnTo>
                  <a:lnTo>
                    <a:pt x="174" y="180"/>
                  </a:lnTo>
                  <a:lnTo>
                    <a:pt x="180" y="186"/>
                  </a:lnTo>
                  <a:lnTo>
                    <a:pt x="186" y="186"/>
                  </a:lnTo>
                  <a:lnTo>
                    <a:pt x="198" y="192"/>
                  </a:lnTo>
                  <a:lnTo>
                    <a:pt x="216" y="198"/>
                  </a:lnTo>
                  <a:lnTo>
                    <a:pt x="252" y="204"/>
                  </a:lnTo>
                  <a:lnTo>
                    <a:pt x="258" y="210"/>
                  </a:lnTo>
                  <a:lnTo>
                    <a:pt x="306" y="216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84" y="210"/>
                  </a:lnTo>
                  <a:lnTo>
                    <a:pt x="408" y="222"/>
                  </a:lnTo>
                  <a:lnTo>
                    <a:pt x="438" y="228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86" y="222"/>
                  </a:lnTo>
                  <a:lnTo>
                    <a:pt x="492" y="210"/>
                  </a:lnTo>
                  <a:lnTo>
                    <a:pt x="492" y="198"/>
                  </a:lnTo>
                  <a:lnTo>
                    <a:pt x="486" y="180"/>
                  </a:lnTo>
                  <a:lnTo>
                    <a:pt x="492" y="162"/>
                  </a:lnTo>
                  <a:lnTo>
                    <a:pt x="510" y="96"/>
                  </a:lnTo>
                  <a:lnTo>
                    <a:pt x="516" y="84"/>
                  </a:lnTo>
                  <a:lnTo>
                    <a:pt x="522" y="84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34" y="72"/>
                  </a:lnTo>
                  <a:lnTo>
                    <a:pt x="534" y="60"/>
                  </a:lnTo>
                  <a:lnTo>
                    <a:pt x="540" y="36"/>
                  </a:lnTo>
                  <a:lnTo>
                    <a:pt x="546" y="6"/>
                  </a:lnTo>
                  <a:lnTo>
                    <a:pt x="558" y="6"/>
                  </a:lnTo>
                  <a:lnTo>
                    <a:pt x="564" y="0"/>
                  </a:lnTo>
                  <a:lnTo>
                    <a:pt x="582" y="0"/>
                  </a:lnTo>
                  <a:lnTo>
                    <a:pt x="588" y="0"/>
                  </a:lnTo>
                  <a:lnTo>
                    <a:pt x="594" y="6"/>
                  </a:lnTo>
                  <a:lnTo>
                    <a:pt x="600" y="12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24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36" y="36"/>
                  </a:lnTo>
                  <a:lnTo>
                    <a:pt x="642" y="36"/>
                  </a:lnTo>
                  <a:lnTo>
                    <a:pt x="642" y="42"/>
                  </a:lnTo>
                  <a:lnTo>
                    <a:pt x="648" y="54"/>
                  </a:lnTo>
                  <a:lnTo>
                    <a:pt x="660" y="72"/>
                  </a:lnTo>
                  <a:lnTo>
                    <a:pt x="666" y="78"/>
                  </a:lnTo>
                  <a:lnTo>
                    <a:pt x="672" y="90"/>
                  </a:lnTo>
                  <a:lnTo>
                    <a:pt x="678" y="102"/>
                  </a:lnTo>
                  <a:lnTo>
                    <a:pt x="678" y="114"/>
                  </a:lnTo>
                  <a:lnTo>
                    <a:pt x="684" y="132"/>
                  </a:lnTo>
                  <a:lnTo>
                    <a:pt x="684" y="144"/>
                  </a:lnTo>
                  <a:lnTo>
                    <a:pt x="690" y="162"/>
                  </a:lnTo>
                  <a:lnTo>
                    <a:pt x="696" y="168"/>
                  </a:lnTo>
                  <a:lnTo>
                    <a:pt x="696" y="180"/>
                  </a:lnTo>
                  <a:lnTo>
                    <a:pt x="702" y="186"/>
                  </a:lnTo>
                  <a:lnTo>
                    <a:pt x="708" y="186"/>
                  </a:lnTo>
                  <a:lnTo>
                    <a:pt x="714" y="198"/>
                  </a:lnTo>
                  <a:lnTo>
                    <a:pt x="720" y="198"/>
                  </a:lnTo>
                  <a:lnTo>
                    <a:pt x="732" y="204"/>
                  </a:lnTo>
                  <a:lnTo>
                    <a:pt x="738" y="210"/>
                  </a:lnTo>
                  <a:lnTo>
                    <a:pt x="738" y="216"/>
                  </a:lnTo>
                  <a:lnTo>
                    <a:pt x="744" y="222"/>
                  </a:lnTo>
                  <a:lnTo>
                    <a:pt x="750" y="228"/>
                  </a:lnTo>
                  <a:lnTo>
                    <a:pt x="756" y="228"/>
                  </a:lnTo>
                  <a:lnTo>
                    <a:pt x="768" y="240"/>
                  </a:lnTo>
                  <a:lnTo>
                    <a:pt x="774" y="252"/>
                  </a:lnTo>
                  <a:lnTo>
                    <a:pt x="780" y="258"/>
                  </a:lnTo>
                  <a:lnTo>
                    <a:pt x="786" y="258"/>
                  </a:lnTo>
                  <a:lnTo>
                    <a:pt x="798" y="264"/>
                  </a:lnTo>
                  <a:lnTo>
                    <a:pt x="798" y="270"/>
                  </a:lnTo>
                  <a:lnTo>
                    <a:pt x="798" y="276"/>
                  </a:lnTo>
                  <a:lnTo>
                    <a:pt x="810" y="288"/>
                  </a:lnTo>
                  <a:lnTo>
                    <a:pt x="816" y="288"/>
                  </a:lnTo>
                  <a:lnTo>
                    <a:pt x="816" y="300"/>
                  </a:lnTo>
                  <a:lnTo>
                    <a:pt x="816" y="306"/>
                  </a:lnTo>
                  <a:lnTo>
                    <a:pt x="822" y="318"/>
                  </a:lnTo>
                  <a:lnTo>
                    <a:pt x="828" y="324"/>
                  </a:lnTo>
                  <a:lnTo>
                    <a:pt x="834" y="330"/>
                  </a:lnTo>
                  <a:lnTo>
                    <a:pt x="846" y="336"/>
                  </a:lnTo>
                  <a:lnTo>
                    <a:pt x="846" y="342"/>
                  </a:lnTo>
                  <a:lnTo>
                    <a:pt x="852" y="348"/>
                  </a:lnTo>
                  <a:lnTo>
                    <a:pt x="852" y="354"/>
                  </a:lnTo>
                  <a:lnTo>
                    <a:pt x="858" y="354"/>
                  </a:lnTo>
                  <a:lnTo>
                    <a:pt x="858" y="348"/>
                  </a:lnTo>
                  <a:lnTo>
                    <a:pt x="864" y="342"/>
                  </a:lnTo>
                  <a:lnTo>
                    <a:pt x="864" y="336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76" y="306"/>
                  </a:lnTo>
                  <a:lnTo>
                    <a:pt x="870" y="300"/>
                  </a:lnTo>
                  <a:lnTo>
                    <a:pt x="870" y="294"/>
                  </a:lnTo>
                  <a:lnTo>
                    <a:pt x="876" y="294"/>
                  </a:lnTo>
                  <a:lnTo>
                    <a:pt x="882" y="300"/>
                  </a:lnTo>
                  <a:lnTo>
                    <a:pt x="888" y="300"/>
                  </a:lnTo>
                  <a:lnTo>
                    <a:pt x="888" y="306"/>
                  </a:lnTo>
                  <a:lnTo>
                    <a:pt x="894" y="300"/>
                  </a:lnTo>
                  <a:lnTo>
                    <a:pt x="900" y="294"/>
                  </a:lnTo>
                  <a:lnTo>
                    <a:pt x="894" y="288"/>
                  </a:lnTo>
                  <a:lnTo>
                    <a:pt x="888" y="282"/>
                  </a:lnTo>
                  <a:lnTo>
                    <a:pt x="888" y="276"/>
                  </a:lnTo>
                  <a:lnTo>
                    <a:pt x="894" y="276"/>
                  </a:lnTo>
                  <a:lnTo>
                    <a:pt x="900" y="276"/>
                  </a:lnTo>
                  <a:lnTo>
                    <a:pt x="900" y="270"/>
                  </a:lnTo>
                  <a:lnTo>
                    <a:pt x="906" y="264"/>
                  </a:lnTo>
                  <a:lnTo>
                    <a:pt x="906" y="258"/>
                  </a:lnTo>
                  <a:lnTo>
                    <a:pt x="918" y="264"/>
                  </a:lnTo>
                  <a:lnTo>
                    <a:pt x="918" y="258"/>
                  </a:lnTo>
                  <a:lnTo>
                    <a:pt x="924" y="252"/>
                  </a:lnTo>
                  <a:lnTo>
                    <a:pt x="930" y="252"/>
                  </a:lnTo>
                  <a:lnTo>
                    <a:pt x="930" y="246"/>
                  </a:lnTo>
                  <a:lnTo>
                    <a:pt x="936" y="234"/>
                  </a:lnTo>
                  <a:lnTo>
                    <a:pt x="942" y="228"/>
                  </a:lnTo>
                  <a:lnTo>
                    <a:pt x="942" y="222"/>
                  </a:lnTo>
                  <a:lnTo>
                    <a:pt x="948" y="222"/>
                  </a:lnTo>
                  <a:lnTo>
                    <a:pt x="948" y="216"/>
                  </a:lnTo>
                  <a:lnTo>
                    <a:pt x="942" y="216"/>
                  </a:lnTo>
                  <a:lnTo>
                    <a:pt x="936" y="216"/>
                  </a:lnTo>
                  <a:lnTo>
                    <a:pt x="936" y="210"/>
                  </a:lnTo>
                  <a:lnTo>
                    <a:pt x="942" y="210"/>
                  </a:lnTo>
                  <a:lnTo>
                    <a:pt x="972" y="210"/>
                  </a:lnTo>
                  <a:lnTo>
                    <a:pt x="1032" y="216"/>
                  </a:lnTo>
                  <a:lnTo>
                    <a:pt x="1068" y="216"/>
                  </a:lnTo>
                  <a:lnTo>
                    <a:pt x="1056" y="234"/>
                  </a:lnTo>
                  <a:lnTo>
                    <a:pt x="1050" y="240"/>
                  </a:lnTo>
                  <a:lnTo>
                    <a:pt x="1044" y="246"/>
                  </a:lnTo>
                  <a:lnTo>
                    <a:pt x="1038" y="246"/>
                  </a:lnTo>
                  <a:lnTo>
                    <a:pt x="1026" y="282"/>
                  </a:lnTo>
                  <a:lnTo>
                    <a:pt x="1032" y="306"/>
                  </a:lnTo>
                  <a:lnTo>
                    <a:pt x="1044" y="324"/>
                  </a:lnTo>
                  <a:lnTo>
                    <a:pt x="1044" y="342"/>
                  </a:lnTo>
                  <a:lnTo>
                    <a:pt x="1062" y="366"/>
                  </a:lnTo>
                  <a:lnTo>
                    <a:pt x="1056" y="396"/>
                  </a:lnTo>
                  <a:lnTo>
                    <a:pt x="1038" y="462"/>
                  </a:lnTo>
                  <a:lnTo>
                    <a:pt x="1038" y="498"/>
                  </a:lnTo>
                  <a:lnTo>
                    <a:pt x="1038" y="522"/>
                  </a:lnTo>
                  <a:lnTo>
                    <a:pt x="1038" y="534"/>
                  </a:lnTo>
                  <a:lnTo>
                    <a:pt x="1056" y="522"/>
                  </a:lnTo>
                  <a:lnTo>
                    <a:pt x="1098" y="504"/>
                  </a:lnTo>
                  <a:lnTo>
                    <a:pt x="1104" y="498"/>
                  </a:lnTo>
                  <a:lnTo>
                    <a:pt x="1128" y="492"/>
                  </a:lnTo>
                  <a:lnTo>
                    <a:pt x="1152" y="480"/>
                  </a:lnTo>
                  <a:lnTo>
                    <a:pt x="1170" y="474"/>
                  </a:lnTo>
                  <a:lnTo>
                    <a:pt x="1188" y="468"/>
                  </a:lnTo>
                  <a:lnTo>
                    <a:pt x="1200" y="462"/>
                  </a:lnTo>
                  <a:lnTo>
                    <a:pt x="1224" y="450"/>
                  </a:lnTo>
                  <a:lnTo>
                    <a:pt x="1248" y="450"/>
                  </a:lnTo>
                  <a:lnTo>
                    <a:pt x="1266" y="450"/>
                  </a:lnTo>
                  <a:lnTo>
                    <a:pt x="1296" y="456"/>
                  </a:lnTo>
                  <a:lnTo>
                    <a:pt x="1308" y="456"/>
                  </a:lnTo>
                  <a:lnTo>
                    <a:pt x="1326" y="456"/>
                  </a:lnTo>
                  <a:lnTo>
                    <a:pt x="1338" y="456"/>
                  </a:lnTo>
                  <a:lnTo>
                    <a:pt x="1350" y="462"/>
                  </a:lnTo>
                  <a:lnTo>
                    <a:pt x="1356" y="462"/>
                  </a:lnTo>
                  <a:lnTo>
                    <a:pt x="1374" y="456"/>
                  </a:lnTo>
                  <a:lnTo>
                    <a:pt x="1386" y="456"/>
                  </a:lnTo>
                  <a:lnTo>
                    <a:pt x="1392" y="456"/>
                  </a:lnTo>
                  <a:lnTo>
                    <a:pt x="1398" y="456"/>
                  </a:lnTo>
                  <a:lnTo>
                    <a:pt x="1422" y="456"/>
                  </a:lnTo>
                  <a:lnTo>
                    <a:pt x="1440" y="456"/>
                  </a:lnTo>
                  <a:lnTo>
                    <a:pt x="1446" y="456"/>
                  </a:lnTo>
                  <a:lnTo>
                    <a:pt x="1476" y="456"/>
                  </a:lnTo>
                  <a:lnTo>
                    <a:pt x="1470" y="468"/>
                  </a:lnTo>
                  <a:lnTo>
                    <a:pt x="1470" y="474"/>
                  </a:lnTo>
                  <a:lnTo>
                    <a:pt x="1470" y="486"/>
                  </a:lnTo>
                  <a:lnTo>
                    <a:pt x="1464" y="492"/>
                  </a:lnTo>
                  <a:lnTo>
                    <a:pt x="1464" y="498"/>
                  </a:lnTo>
                  <a:lnTo>
                    <a:pt x="1458" y="498"/>
                  </a:lnTo>
                  <a:lnTo>
                    <a:pt x="1458" y="510"/>
                  </a:lnTo>
                  <a:lnTo>
                    <a:pt x="1452" y="522"/>
                  </a:lnTo>
                  <a:lnTo>
                    <a:pt x="1458" y="528"/>
                  </a:lnTo>
                  <a:lnTo>
                    <a:pt x="1464" y="546"/>
                  </a:lnTo>
                  <a:lnTo>
                    <a:pt x="1470" y="552"/>
                  </a:lnTo>
                  <a:lnTo>
                    <a:pt x="1476" y="564"/>
                  </a:lnTo>
                  <a:lnTo>
                    <a:pt x="1488" y="588"/>
                  </a:lnTo>
                  <a:lnTo>
                    <a:pt x="1506" y="606"/>
                  </a:lnTo>
                  <a:lnTo>
                    <a:pt x="1506" y="612"/>
                  </a:lnTo>
                  <a:lnTo>
                    <a:pt x="1518" y="618"/>
                  </a:lnTo>
                  <a:lnTo>
                    <a:pt x="1512" y="630"/>
                  </a:lnTo>
                  <a:lnTo>
                    <a:pt x="1518" y="642"/>
                  </a:lnTo>
                  <a:lnTo>
                    <a:pt x="1518" y="648"/>
                  </a:lnTo>
                  <a:lnTo>
                    <a:pt x="1530" y="666"/>
                  </a:lnTo>
                  <a:lnTo>
                    <a:pt x="1518" y="672"/>
                  </a:lnTo>
                  <a:lnTo>
                    <a:pt x="1524" y="696"/>
                  </a:lnTo>
                  <a:lnTo>
                    <a:pt x="1518" y="732"/>
                  </a:lnTo>
                  <a:lnTo>
                    <a:pt x="1524" y="762"/>
                  </a:lnTo>
                  <a:lnTo>
                    <a:pt x="1524" y="780"/>
                  </a:lnTo>
                  <a:lnTo>
                    <a:pt x="1524" y="810"/>
                  </a:lnTo>
                  <a:lnTo>
                    <a:pt x="1530" y="834"/>
                  </a:lnTo>
                  <a:lnTo>
                    <a:pt x="1536" y="846"/>
                  </a:lnTo>
                  <a:lnTo>
                    <a:pt x="1542" y="846"/>
                  </a:lnTo>
                  <a:lnTo>
                    <a:pt x="1584" y="840"/>
                  </a:lnTo>
                  <a:lnTo>
                    <a:pt x="1590" y="846"/>
                  </a:lnTo>
                  <a:lnTo>
                    <a:pt x="1596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90" y="864"/>
                  </a:lnTo>
                  <a:lnTo>
                    <a:pt x="1578" y="882"/>
                  </a:lnTo>
                  <a:lnTo>
                    <a:pt x="1572" y="906"/>
                  </a:lnTo>
                  <a:lnTo>
                    <a:pt x="1560" y="924"/>
                  </a:lnTo>
                  <a:lnTo>
                    <a:pt x="1560" y="936"/>
                  </a:lnTo>
                  <a:lnTo>
                    <a:pt x="1548" y="960"/>
                  </a:lnTo>
                  <a:lnTo>
                    <a:pt x="1542" y="978"/>
                  </a:lnTo>
                  <a:lnTo>
                    <a:pt x="1536" y="990"/>
                  </a:lnTo>
                  <a:lnTo>
                    <a:pt x="1530" y="990"/>
                  </a:lnTo>
                  <a:lnTo>
                    <a:pt x="1506" y="996"/>
                  </a:lnTo>
                  <a:lnTo>
                    <a:pt x="1494" y="1002"/>
                  </a:lnTo>
                  <a:lnTo>
                    <a:pt x="1482" y="1002"/>
                  </a:lnTo>
                  <a:lnTo>
                    <a:pt x="1464" y="1008"/>
                  </a:lnTo>
                  <a:lnTo>
                    <a:pt x="1446" y="1026"/>
                  </a:lnTo>
                  <a:lnTo>
                    <a:pt x="1440" y="1026"/>
                  </a:lnTo>
                  <a:lnTo>
                    <a:pt x="1434" y="1038"/>
                  </a:lnTo>
                  <a:lnTo>
                    <a:pt x="1428" y="1044"/>
                  </a:lnTo>
                  <a:lnTo>
                    <a:pt x="1428" y="1062"/>
                  </a:lnTo>
                  <a:lnTo>
                    <a:pt x="1428" y="1086"/>
                  </a:lnTo>
                  <a:lnTo>
                    <a:pt x="1416" y="1092"/>
                  </a:lnTo>
                  <a:lnTo>
                    <a:pt x="1410" y="1080"/>
                  </a:lnTo>
                  <a:lnTo>
                    <a:pt x="1392" y="1080"/>
                  </a:lnTo>
                  <a:close/>
                </a:path>
              </a:pathLst>
            </a:custGeom>
            <a:solidFill>
              <a:srgbClr val="BFBFBF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0" name="Freeform 25">
              <a:extLst>
                <a:ext uri="{FF2B5EF4-FFF2-40B4-BE49-F238E27FC236}">
                  <a16:creationId xmlns:a16="http://schemas.microsoft.com/office/drawing/2014/main" id="{39FDFF90-5ACF-4D65-81AD-C44D2CBE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70228" y="3063559"/>
              <a:ext cx="644023" cy="704498"/>
            </a:xfrm>
            <a:custGeom>
              <a:avLst/>
              <a:gdLst>
                <a:gd name="T0" fmla="*/ 74 w 1212"/>
                <a:gd name="T1" fmla="*/ 113 h 1326"/>
                <a:gd name="T2" fmla="*/ 60 w 1212"/>
                <a:gd name="T3" fmla="*/ 116 h 1326"/>
                <a:gd name="T4" fmla="*/ 62 w 1212"/>
                <a:gd name="T5" fmla="*/ 110 h 1326"/>
                <a:gd name="T6" fmla="*/ 60 w 1212"/>
                <a:gd name="T7" fmla="*/ 105 h 1326"/>
                <a:gd name="T8" fmla="*/ 52 w 1212"/>
                <a:gd name="T9" fmla="*/ 96 h 1326"/>
                <a:gd name="T10" fmla="*/ 47 w 1212"/>
                <a:gd name="T11" fmla="*/ 98 h 1326"/>
                <a:gd name="T12" fmla="*/ 44 w 1212"/>
                <a:gd name="T13" fmla="*/ 93 h 1326"/>
                <a:gd name="T14" fmla="*/ 40 w 1212"/>
                <a:gd name="T15" fmla="*/ 96 h 1326"/>
                <a:gd name="T16" fmla="*/ 35 w 1212"/>
                <a:gd name="T17" fmla="*/ 102 h 1326"/>
                <a:gd name="T18" fmla="*/ 27 w 1212"/>
                <a:gd name="T19" fmla="*/ 100 h 1326"/>
                <a:gd name="T20" fmla="*/ 23 w 1212"/>
                <a:gd name="T21" fmla="*/ 96 h 1326"/>
                <a:gd name="T22" fmla="*/ 20 w 1212"/>
                <a:gd name="T23" fmla="*/ 90 h 1326"/>
                <a:gd name="T24" fmla="*/ 18 w 1212"/>
                <a:gd name="T25" fmla="*/ 89 h 1326"/>
                <a:gd name="T26" fmla="*/ 18 w 1212"/>
                <a:gd name="T27" fmla="*/ 85 h 1326"/>
                <a:gd name="T28" fmla="*/ 19 w 1212"/>
                <a:gd name="T29" fmla="*/ 83 h 1326"/>
                <a:gd name="T30" fmla="*/ 19 w 1212"/>
                <a:gd name="T31" fmla="*/ 82 h 1326"/>
                <a:gd name="T32" fmla="*/ 20 w 1212"/>
                <a:gd name="T33" fmla="*/ 79 h 1326"/>
                <a:gd name="T34" fmla="*/ 19 w 1212"/>
                <a:gd name="T35" fmla="*/ 75 h 1326"/>
                <a:gd name="T36" fmla="*/ 17 w 1212"/>
                <a:gd name="T37" fmla="*/ 77 h 1326"/>
                <a:gd name="T38" fmla="*/ 14 w 1212"/>
                <a:gd name="T39" fmla="*/ 76 h 1326"/>
                <a:gd name="T40" fmla="*/ 12 w 1212"/>
                <a:gd name="T41" fmla="*/ 71 h 1326"/>
                <a:gd name="T42" fmla="*/ 8 w 1212"/>
                <a:gd name="T43" fmla="*/ 69 h 1326"/>
                <a:gd name="T44" fmla="*/ 0 w 1212"/>
                <a:gd name="T45" fmla="*/ 72 h 1326"/>
                <a:gd name="T46" fmla="*/ 2 w 1212"/>
                <a:gd name="T47" fmla="*/ 67 h 1326"/>
                <a:gd name="T48" fmla="*/ 3 w 1212"/>
                <a:gd name="T49" fmla="*/ 61 h 1326"/>
                <a:gd name="T50" fmla="*/ 4 w 1212"/>
                <a:gd name="T51" fmla="*/ 56 h 1326"/>
                <a:gd name="T52" fmla="*/ 4 w 1212"/>
                <a:gd name="T53" fmla="*/ 52 h 1326"/>
                <a:gd name="T54" fmla="*/ 2 w 1212"/>
                <a:gd name="T55" fmla="*/ 47 h 1326"/>
                <a:gd name="T56" fmla="*/ 2 w 1212"/>
                <a:gd name="T57" fmla="*/ 42 h 1326"/>
                <a:gd name="T58" fmla="*/ 5 w 1212"/>
                <a:gd name="T59" fmla="*/ 39 h 1326"/>
                <a:gd name="T60" fmla="*/ 5 w 1212"/>
                <a:gd name="T61" fmla="*/ 35 h 1326"/>
                <a:gd name="T62" fmla="*/ 7 w 1212"/>
                <a:gd name="T63" fmla="*/ 31 h 1326"/>
                <a:gd name="T64" fmla="*/ 14 w 1212"/>
                <a:gd name="T65" fmla="*/ 31 h 1326"/>
                <a:gd name="T66" fmla="*/ 18 w 1212"/>
                <a:gd name="T67" fmla="*/ 27 h 1326"/>
                <a:gd name="T68" fmla="*/ 22 w 1212"/>
                <a:gd name="T69" fmla="*/ 24 h 1326"/>
                <a:gd name="T70" fmla="*/ 27 w 1212"/>
                <a:gd name="T71" fmla="*/ 20 h 1326"/>
                <a:gd name="T72" fmla="*/ 35 w 1212"/>
                <a:gd name="T73" fmla="*/ 21 h 1326"/>
                <a:gd name="T74" fmla="*/ 61 w 1212"/>
                <a:gd name="T75" fmla="*/ 8 h 1326"/>
                <a:gd name="T76" fmla="*/ 73 w 1212"/>
                <a:gd name="T77" fmla="*/ 4 h 1326"/>
                <a:gd name="T78" fmla="*/ 86 w 1212"/>
                <a:gd name="T79" fmla="*/ 12 h 1326"/>
                <a:gd name="T80" fmla="*/ 92 w 1212"/>
                <a:gd name="T81" fmla="*/ 13 h 1326"/>
                <a:gd name="T82" fmla="*/ 86 w 1212"/>
                <a:gd name="T83" fmla="*/ 18 h 1326"/>
                <a:gd name="T84" fmla="*/ 88 w 1212"/>
                <a:gd name="T85" fmla="*/ 33 h 1326"/>
                <a:gd name="T86" fmla="*/ 97 w 1212"/>
                <a:gd name="T87" fmla="*/ 49 h 1326"/>
                <a:gd name="T88" fmla="*/ 102 w 1212"/>
                <a:gd name="T89" fmla="*/ 57 h 1326"/>
                <a:gd name="T90" fmla="*/ 104 w 1212"/>
                <a:gd name="T91" fmla="*/ 67 h 1326"/>
                <a:gd name="T92" fmla="*/ 101 w 1212"/>
                <a:gd name="T93" fmla="*/ 69 h 1326"/>
                <a:gd name="T94" fmla="*/ 97 w 1212"/>
                <a:gd name="T95" fmla="*/ 69 h 1326"/>
                <a:gd name="T96" fmla="*/ 96 w 1212"/>
                <a:gd name="T97" fmla="*/ 71 h 1326"/>
                <a:gd name="T98" fmla="*/ 93 w 1212"/>
                <a:gd name="T99" fmla="*/ 70 h 1326"/>
                <a:gd name="T100" fmla="*/ 86 w 1212"/>
                <a:gd name="T101" fmla="*/ 69 h 1326"/>
                <a:gd name="T102" fmla="*/ 82 w 1212"/>
                <a:gd name="T103" fmla="*/ 73 h 1326"/>
                <a:gd name="T104" fmla="*/ 79 w 1212"/>
                <a:gd name="T105" fmla="*/ 74 h 1326"/>
                <a:gd name="T106" fmla="*/ 78 w 1212"/>
                <a:gd name="T107" fmla="*/ 79 h 1326"/>
                <a:gd name="T108" fmla="*/ 78 w 1212"/>
                <a:gd name="T109" fmla="*/ 83 h 1326"/>
                <a:gd name="T110" fmla="*/ 82 w 1212"/>
                <a:gd name="T111" fmla="*/ 87 h 1326"/>
                <a:gd name="T112" fmla="*/ 83 w 1212"/>
                <a:gd name="T113" fmla="*/ 90 h 1326"/>
                <a:gd name="T114" fmla="*/ 82 w 1212"/>
                <a:gd name="T115" fmla="*/ 94 h 1326"/>
                <a:gd name="T116" fmla="*/ 82 w 1212"/>
                <a:gd name="T117" fmla="*/ 98 h 1326"/>
                <a:gd name="T118" fmla="*/ 82 w 1212"/>
                <a:gd name="T119" fmla="*/ 104 h 1326"/>
                <a:gd name="T120" fmla="*/ 78 w 1212"/>
                <a:gd name="T121" fmla="*/ 110 h 132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12"/>
                <a:gd name="T184" fmla="*/ 0 h 1326"/>
                <a:gd name="T185" fmla="*/ 1212 w 1212"/>
                <a:gd name="T186" fmla="*/ 1326 h 132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12" h="1326">
                  <a:moveTo>
                    <a:pt x="906" y="1290"/>
                  </a:moveTo>
                  <a:lnTo>
                    <a:pt x="906" y="1296"/>
                  </a:lnTo>
                  <a:lnTo>
                    <a:pt x="900" y="1296"/>
                  </a:lnTo>
                  <a:lnTo>
                    <a:pt x="876" y="1290"/>
                  </a:lnTo>
                  <a:lnTo>
                    <a:pt x="870" y="1290"/>
                  </a:lnTo>
                  <a:lnTo>
                    <a:pt x="864" y="1296"/>
                  </a:lnTo>
                  <a:lnTo>
                    <a:pt x="852" y="1296"/>
                  </a:lnTo>
                  <a:lnTo>
                    <a:pt x="840" y="1302"/>
                  </a:lnTo>
                  <a:lnTo>
                    <a:pt x="834" y="1308"/>
                  </a:lnTo>
                  <a:lnTo>
                    <a:pt x="822" y="1320"/>
                  </a:lnTo>
                  <a:lnTo>
                    <a:pt x="816" y="1320"/>
                  </a:lnTo>
                  <a:lnTo>
                    <a:pt x="732" y="1320"/>
                  </a:lnTo>
                  <a:lnTo>
                    <a:pt x="696" y="1320"/>
                  </a:lnTo>
                  <a:lnTo>
                    <a:pt x="690" y="1326"/>
                  </a:lnTo>
                  <a:lnTo>
                    <a:pt x="678" y="1326"/>
                  </a:lnTo>
                  <a:lnTo>
                    <a:pt x="672" y="1308"/>
                  </a:lnTo>
                  <a:lnTo>
                    <a:pt x="696" y="1302"/>
                  </a:lnTo>
                  <a:lnTo>
                    <a:pt x="708" y="1296"/>
                  </a:lnTo>
                  <a:lnTo>
                    <a:pt x="720" y="1284"/>
                  </a:lnTo>
                  <a:lnTo>
                    <a:pt x="714" y="1278"/>
                  </a:lnTo>
                  <a:lnTo>
                    <a:pt x="714" y="1266"/>
                  </a:lnTo>
                  <a:lnTo>
                    <a:pt x="708" y="1260"/>
                  </a:lnTo>
                  <a:lnTo>
                    <a:pt x="708" y="1254"/>
                  </a:lnTo>
                  <a:lnTo>
                    <a:pt x="708" y="1248"/>
                  </a:lnTo>
                  <a:lnTo>
                    <a:pt x="702" y="1236"/>
                  </a:lnTo>
                  <a:lnTo>
                    <a:pt x="702" y="1230"/>
                  </a:lnTo>
                  <a:lnTo>
                    <a:pt x="702" y="1218"/>
                  </a:lnTo>
                  <a:lnTo>
                    <a:pt x="696" y="1200"/>
                  </a:lnTo>
                  <a:lnTo>
                    <a:pt x="696" y="1182"/>
                  </a:lnTo>
                  <a:lnTo>
                    <a:pt x="666" y="1182"/>
                  </a:lnTo>
                  <a:lnTo>
                    <a:pt x="672" y="1134"/>
                  </a:lnTo>
                  <a:lnTo>
                    <a:pt x="666" y="1128"/>
                  </a:lnTo>
                  <a:lnTo>
                    <a:pt x="660" y="1092"/>
                  </a:lnTo>
                  <a:lnTo>
                    <a:pt x="654" y="1098"/>
                  </a:lnTo>
                  <a:lnTo>
                    <a:pt x="594" y="1098"/>
                  </a:lnTo>
                  <a:lnTo>
                    <a:pt x="576" y="1098"/>
                  </a:lnTo>
                  <a:lnTo>
                    <a:pt x="570" y="1104"/>
                  </a:lnTo>
                  <a:lnTo>
                    <a:pt x="564" y="1110"/>
                  </a:lnTo>
                  <a:lnTo>
                    <a:pt x="558" y="1110"/>
                  </a:lnTo>
                  <a:lnTo>
                    <a:pt x="552" y="1110"/>
                  </a:lnTo>
                  <a:lnTo>
                    <a:pt x="546" y="1110"/>
                  </a:lnTo>
                  <a:lnTo>
                    <a:pt x="546" y="1116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10" y="1128"/>
                  </a:lnTo>
                  <a:lnTo>
                    <a:pt x="522" y="1104"/>
                  </a:lnTo>
                  <a:lnTo>
                    <a:pt x="510" y="1098"/>
                  </a:lnTo>
                  <a:lnTo>
                    <a:pt x="510" y="1074"/>
                  </a:lnTo>
                  <a:lnTo>
                    <a:pt x="504" y="1068"/>
                  </a:lnTo>
                  <a:lnTo>
                    <a:pt x="498" y="1068"/>
                  </a:lnTo>
                  <a:lnTo>
                    <a:pt x="492" y="1068"/>
                  </a:lnTo>
                  <a:lnTo>
                    <a:pt x="474" y="1080"/>
                  </a:lnTo>
                  <a:lnTo>
                    <a:pt x="474" y="1086"/>
                  </a:lnTo>
                  <a:lnTo>
                    <a:pt x="474" y="1092"/>
                  </a:lnTo>
                  <a:lnTo>
                    <a:pt x="468" y="1098"/>
                  </a:lnTo>
                  <a:lnTo>
                    <a:pt x="462" y="1104"/>
                  </a:lnTo>
                  <a:lnTo>
                    <a:pt x="456" y="1110"/>
                  </a:lnTo>
                  <a:lnTo>
                    <a:pt x="456" y="1122"/>
                  </a:lnTo>
                  <a:lnTo>
                    <a:pt x="456" y="1128"/>
                  </a:lnTo>
                  <a:lnTo>
                    <a:pt x="450" y="1140"/>
                  </a:lnTo>
                  <a:lnTo>
                    <a:pt x="444" y="1146"/>
                  </a:lnTo>
                  <a:lnTo>
                    <a:pt x="426" y="1170"/>
                  </a:lnTo>
                  <a:lnTo>
                    <a:pt x="408" y="1176"/>
                  </a:lnTo>
                  <a:lnTo>
                    <a:pt x="402" y="1170"/>
                  </a:lnTo>
                  <a:lnTo>
                    <a:pt x="396" y="1170"/>
                  </a:lnTo>
                  <a:lnTo>
                    <a:pt x="396" y="1158"/>
                  </a:lnTo>
                  <a:lnTo>
                    <a:pt x="384" y="1152"/>
                  </a:lnTo>
                  <a:lnTo>
                    <a:pt x="372" y="1140"/>
                  </a:lnTo>
                  <a:lnTo>
                    <a:pt x="354" y="1140"/>
                  </a:lnTo>
                  <a:lnTo>
                    <a:pt x="306" y="1146"/>
                  </a:lnTo>
                  <a:lnTo>
                    <a:pt x="294" y="1134"/>
                  </a:lnTo>
                  <a:lnTo>
                    <a:pt x="294" y="1128"/>
                  </a:lnTo>
                  <a:lnTo>
                    <a:pt x="288" y="1122"/>
                  </a:lnTo>
                  <a:lnTo>
                    <a:pt x="276" y="1122"/>
                  </a:lnTo>
                  <a:lnTo>
                    <a:pt x="276" y="1110"/>
                  </a:lnTo>
                  <a:lnTo>
                    <a:pt x="276" y="1104"/>
                  </a:lnTo>
                  <a:lnTo>
                    <a:pt x="270" y="1098"/>
                  </a:lnTo>
                  <a:lnTo>
                    <a:pt x="264" y="1086"/>
                  </a:lnTo>
                  <a:lnTo>
                    <a:pt x="264" y="1074"/>
                  </a:lnTo>
                  <a:lnTo>
                    <a:pt x="258" y="1068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34" y="1038"/>
                  </a:lnTo>
                  <a:lnTo>
                    <a:pt x="228" y="1038"/>
                  </a:lnTo>
                  <a:lnTo>
                    <a:pt x="222" y="1038"/>
                  </a:lnTo>
                  <a:lnTo>
                    <a:pt x="216" y="1038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0"/>
                  </a:lnTo>
                  <a:lnTo>
                    <a:pt x="204" y="1014"/>
                  </a:lnTo>
                  <a:lnTo>
                    <a:pt x="204" y="1008"/>
                  </a:lnTo>
                  <a:lnTo>
                    <a:pt x="198" y="1002"/>
                  </a:lnTo>
                  <a:lnTo>
                    <a:pt x="198" y="996"/>
                  </a:lnTo>
                  <a:lnTo>
                    <a:pt x="198" y="990"/>
                  </a:lnTo>
                  <a:lnTo>
                    <a:pt x="204" y="990"/>
                  </a:lnTo>
                  <a:lnTo>
                    <a:pt x="204" y="984"/>
                  </a:lnTo>
                  <a:lnTo>
                    <a:pt x="210" y="978"/>
                  </a:lnTo>
                  <a:lnTo>
                    <a:pt x="210" y="972"/>
                  </a:lnTo>
                  <a:lnTo>
                    <a:pt x="210" y="966"/>
                  </a:lnTo>
                  <a:lnTo>
                    <a:pt x="216" y="960"/>
                  </a:lnTo>
                  <a:lnTo>
                    <a:pt x="216" y="954"/>
                  </a:lnTo>
                  <a:lnTo>
                    <a:pt x="210" y="954"/>
                  </a:lnTo>
                  <a:lnTo>
                    <a:pt x="204" y="954"/>
                  </a:lnTo>
                  <a:lnTo>
                    <a:pt x="216" y="954"/>
                  </a:lnTo>
                  <a:lnTo>
                    <a:pt x="216" y="948"/>
                  </a:lnTo>
                  <a:lnTo>
                    <a:pt x="210" y="948"/>
                  </a:lnTo>
                  <a:lnTo>
                    <a:pt x="210" y="942"/>
                  </a:lnTo>
                  <a:lnTo>
                    <a:pt x="216" y="942"/>
                  </a:lnTo>
                  <a:lnTo>
                    <a:pt x="222" y="942"/>
                  </a:lnTo>
                  <a:lnTo>
                    <a:pt x="222" y="936"/>
                  </a:lnTo>
                  <a:lnTo>
                    <a:pt x="216" y="936"/>
                  </a:lnTo>
                  <a:lnTo>
                    <a:pt x="210" y="936"/>
                  </a:lnTo>
                  <a:lnTo>
                    <a:pt x="210" y="930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22" y="918"/>
                  </a:lnTo>
                  <a:lnTo>
                    <a:pt x="228" y="912"/>
                  </a:lnTo>
                  <a:lnTo>
                    <a:pt x="228" y="906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2" y="888"/>
                  </a:lnTo>
                  <a:lnTo>
                    <a:pt x="222" y="882"/>
                  </a:lnTo>
                  <a:lnTo>
                    <a:pt x="222" y="876"/>
                  </a:lnTo>
                  <a:lnTo>
                    <a:pt x="222" y="858"/>
                  </a:lnTo>
                  <a:lnTo>
                    <a:pt x="216" y="858"/>
                  </a:lnTo>
                  <a:lnTo>
                    <a:pt x="216" y="852"/>
                  </a:lnTo>
                  <a:lnTo>
                    <a:pt x="210" y="852"/>
                  </a:lnTo>
                  <a:lnTo>
                    <a:pt x="210" y="840"/>
                  </a:lnTo>
                  <a:lnTo>
                    <a:pt x="198" y="840"/>
                  </a:lnTo>
                  <a:lnTo>
                    <a:pt x="198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0" y="894"/>
                  </a:lnTo>
                  <a:lnTo>
                    <a:pt x="180" y="906"/>
                  </a:lnTo>
                  <a:lnTo>
                    <a:pt x="156" y="912"/>
                  </a:lnTo>
                  <a:lnTo>
                    <a:pt x="156" y="894"/>
                  </a:lnTo>
                  <a:lnTo>
                    <a:pt x="156" y="882"/>
                  </a:lnTo>
                  <a:lnTo>
                    <a:pt x="156" y="876"/>
                  </a:lnTo>
                  <a:lnTo>
                    <a:pt x="150" y="876"/>
                  </a:lnTo>
                  <a:lnTo>
                    <a:pt x="144" y="876"/>
                  </a:lnTo>
                  <a:lnTo>
                    <a:pt x="138" y="870"/>
                  </a:lnTo>
                  <a:lnTo>
                    <a:pt x="132" y="864"/>
                  </a:lnTo>
                  <a:lnTo>
                    <a:pt x="138" y="840"/>
                  </a:lnTo>
                  <a:lnTo>
                    <a:pt x="132" y="840"/>
                  </a:lnTo>
                  <a:lnTo>
                    <a:pt x="138" y="810"/>
                  </a:lnTo>
                  <a:lnTo>
                    <a:pt x="144" y="804"/>
                  </a:lnTo>
                  <a:lnTo>
                    <a:pt x="144" y="798"/>
                  </a:lnTo>
                  <a:lnTo>
                    <a:pt x="156" y="798"/>
                  </a:lnTo>
                  <a:lnTo>
                    <a:pt x="156" y="792"/>
                  </a:lnTo>
                  <a:lnTo>
                    <a:pt x="120" y="792"/>
                  </a:lnTo>
                  <a:lnTo>
                    <a:pt x="108" y="786"/>
                  </a:lnTo>
                  <a:lnTo>
                    <a:pt x="96" y="786"/>
                  </a:lnTo>
                  <a:lnTo>
                    <a:pt x="96" y="780"/>
                  </a:lnTo>
                  <a:lnTo>
                    <a:pt x="78" y="780"/>
                  </a:lnTo>
                  <a:lnTo>
                    <a:pt x="72" y="804"/>
                  </a:lnTo>
                  <a:lnTo>
                    <a:pt x="60" y="816"/>
                  </a:lnTo>
                  <a:lnTo>
                    <a:pt x="36" y="828"/>
                  </a:lnTo>
                  <a:lnTo>
                    <a:pt x="18" y="840"/>
                  </a:lnTo>
                  <a:lnTo>
                    <a:pt x="0" y="822"/>
                  </a:lnTo>
                  <a:lnTo>
                    <a:pt x="6" y="816"/>
                  </a:lnTo>
                  <a:lnTo>
                    <a:pt x="12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18" y="786"/>
                  </a:lnTo>
                  <a:lnTo>
                    <a:pt x="24" y="780"/>
                  </a:lnTo>
                  <a:lnTo>
                    <a:pt x="24" y="768"/>
                  </a:lnTo>
                  <a:lnTo>
                    <a:pt x="24" y="762"/>
                  </a:lnTo>
                  <a:lnTo>
                    <a:pt x="24" y="750"/>
                  </a:lnTo>
                  <a:lnTo>
                    <a:pt x="36" y="714"/>
                  </a:lnTo>
                  <a:lnTo>
                    <a:pt x="36" y="708"/>
                  </a:lnTo>
                  <a:lnTo>
                    <a:pt x="42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6" y="690"/>
                  </a:lnTo>
                  <a:lnTo>
                    <a:pt x="42" y="684"/>
                  </a:lnTo>
                  <a:lnTo>
                    <a:pt x="42" y="672"/>
                  </a:lnTo>
                  <a:lnTo>
                    <a:pt x="42" y="666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48" y="648"/>
                  </a:lnTo>
                  <a:lnTo>
                    <a:pt x="54" y="642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54" y="612"/>
                  </a:lnTo>
                  <a:lnTo>
                    <a:pt x="48" y="606"/>
                  </a:lnTo>
                  <a:lnTo>
                    <a:pt x="48" y="600"/>
                  </a:lnTo>
                  <a:lnTo>
                    <a:pt x="42" y="600"/>
                  </a:lnTo>
                  <a:lnTo>
                    <a:pt x="36" y="594"/>
                  </a:lnTo>
                  <a:lnTo>
                    <a:pt x="36" y="588"/>
                  </a:lnTo>
                  <a:lnTo>
                    <a:pt x="30" y="582"/>
                  </a:lnTo>
                  <a:lnTo>
                    <a:pt x="30" y="570"/>
                  </a:lnTo>
                  <a:lnTo>
                    <a:pt x="18" y="552"/>
                  </a:lnTo>
                  <a:lnTo>
                    <a:pt x="18" y="546"/>
                  </a:lnTo>
                  <a:lnTo>
                    <a:pt x="18" y="540"/>
                  </a:lnTo>
                  <a:lnTo>
                    <a:pt x="18" y="528"/>
                  </a:lnTo>
                  <a:lnTo>
                    <a:pt x="18" y="522"/>
                  </a:lnTo>
                  <a:lnTo>
                    <a:pt x="24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30" y="474"/>
                  </a:lnTo>
                  <a:lnTo>
                    <a:pt x="36" y="474"/>
                  </a:lnTo>
                  <a:lnTo>
                    <a:pt x="42" y="468"/>
                  </a:lnTo>
                  <a:lnTo>
                    <a:pt x="48" y="468"/>
                  </a:lnTo>
                  <a:lnTo>
                    <a:pt x="48" y="462"/>
                  </a:lnTo>
                  <a:lnTo>
                    <a:pt x="48" y="456"/>
                  </a:lnTo>
                  <a:lnTo>
                    <a:pt x="54" y="450"/>
                  </a:lnTo>
                  <a:lnTo>
                    <a:pt x="60" y="438"/>
                  </a:lnTo>
                  <a:lnTo>
                    <a:pt x="54" y="438"/>
                  </a:lnTo>
                  <a:lnTo>
                    <a:pt x="54" y="432"/>
                  </a:ln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54" y="402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6" y="384"/>
                  </a:lnTo>
                  <a:lnTo>
                    <a:pt x="72" y="372"/>
                  </a:lnTo>
                  <a:lnTo>
                    <a:pt x="78" y="366"/>
                  </a:lnTo>
                  <a:lnTo>
                    <a:pt x="84" y="360"/>
                  </a:lnTo>
                  <a:lnTo>
                    <a:pt x="102" y="360"/>
                  </a:lnTo>
                  <a:lnTo>
                    <a:pt x="114" y="36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8" y="360"/>
                  </a:lnTo>
                  <a:lnTo>
                    <a:pt x="156" y="360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74" y="342"/>
                  </a:lnTo>
                  <a:lnTo>
                    <a:pt x="180" y="342"/>
                  </a:lnTo>
                  <a:lnTo>
                    <a:pt x="186" y="336"/>
                  </a:lnTo>
                  <a:lnTo>
                    <a:pt x="192" y="330"/>
                  </a:lnTo>
                  <a:lnTo>
                    <a:pt x="204" y="312"/>
                  </a:lnTo>
                  <a:lnTo>
                    <a:pt x="210" y="312"/>
                  </a:lnTo>
                  <a:lnTo>
                    <a:pt x="216" y="306"/>
                  </a:lnTo>
                  <a:lnTo>
                    <a:pt x="216" y="300"/>
                  </a:lnTo>
                  <a:lnTo>
                    <a:pt x="222" y="288"/>
                  </a:lnTo>
                  <a:lnTo>
                    <a:pt x="234" y="288"/>
                  </a:lnTo>
                  <a:lnTo>
                    <a:pt x="240" y="282"/>
                  </a:lnTo>
                  <a:lnTo>
                    <a:pt x="246" y="282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70" y="270"/>
                  </a:lnTo>
                  <a:lnTo>
                    <a:pt x="276" y="264"/>
                  </a:lnTo>
                  <a:lnTo>
                    <a:pt x="282" y="26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8" y="234"/>
                  </a:lnTo>
                  <a:lnTo>
                    <a:pt x="330" y="234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72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14" y="240"/>
                  </a:lnTo>
                  <a:lnTo>
                    <a:pt x="444" y="216"/>
                  </a:lnTo>
                  <a:lnTo>
                    <a:pt x="480" y="204"/>
                  </a:lnTo>
                  <a:lnTo>
                    <a:pt x="600" y="150"/>
                  </a:lnTo>
                  <a:lnTo>
                    <a:pt x="648" y="126"/>
                  </a:lnTo>
                  <a:lnTo>
                    <a:pt x="702" y="96"/>
                  </a:lnTo>
                  <a:lnTo>
                    <a:pt x="708" y="54"/>
                  </a:lnTo>
                  <a:lnTo>
                    <a:pt x="720" y="24"/>
                  </a:lnTo>
                  <a:lnTo>
                    <a:pt x="738" y="12"/>
                  </a:lnTo>
                  <a:lnTo>
                    <a:pt x="768" y="0"/>
                  </a:lnTo>
                  <a:lnTo>
                    <a:pt x="792" y="6"/>
                  </a:lnTo>
                  <a:lnTo>
                    <a:pt x="804" y="12"/>
                  </a:lnTo>
                  <a:lnTo>
                    <a:pt x="834" y="48"/>
                  </a:lnTo>
                  <a:lnTo>
                    <a:pt x="834" y="60"/>
                  </a:lnTo>
                  <a:lnTo>
                    <a:pt x="852" y="84"/>
                  </a:lnTo>
                  <a:lnTo>
                    <a:pt x="864" y="96"/>
                  </a:lnTo>
                  <a:lnTo>
                    <a:pt x="888" y="102"/>
                  </a:lnTo>
                  <a:lnTo>
                    <a:pt x="978" y="120"/>
                  </a:lnTo>
                  <a:lnTo>
                    <a:pt x="984" y="126"/>
                  </a:lnTo>
                  <a:lnTo>
                    <a:pt x="984" y="132"/>
                  </a:lnTo>
                  <a:lnTo>
                    <a:pt x="996" y="138"/>
                  </a:lnTo>
                  <a:lnTo>
                    <a:pt x="1038" y="126"/>
                  </a:lnTo>
                  <a:lnTo>
                    <a:pt x="1056" y="114"/>
                  </a:lnTo>
                  <a:lnTo>
                    <a:pt x="1068" y="126"/>
                  </a:lnTo>
                  <a:lnTo>
                    <a:pt x="1074" y="132"/>
                  </a:lnTo>
                  <a:lnTo>
                    <a:pt x="1068" y="138"/>
                  </a:lnTo>
                  <a:lnTo>
                    <a:pt x="1056" y="150"/>
                  </a:lnTo>
                  <a:lnTo>
                    <a:pt x="1038" y="162"/>
                  </a:lnTo>
                  <a:lnTo>
                    <a:pt x="1038" y="168"/>
                  </a:lnTo>
                  <a:lnTo>
                    <a:pt x="1020" y="174"/>
                  </a:lnTo>
                  <a:lnTo>
                    <a:pt x="1014" y="180"/>
                  </a:lnTo>
                  <a:lnTo>
                    <a:pt x="1008" y="186"/>
                  </a:lnTo>
                  <a:lnTo>
                    <a:pt x="1002" y="198"/>
                  </a:lnTo>
                  <a:lnTo>
                    <a:pt x="984" y="204"/>
                  </a:lnTo>
                  <a:lnTo>
                    <a:pt x="984" y="246"/>
                  </a:lnTo>
                  <a:lnTo>
                    <a:pt x="978" y="270"/>
                  </a:lnTo>
                  <a:lnTo>
                    <a:pt x="990" y="306"/>
                  </a:lnTo>
                  <a:lnTo>
                    <a:pt x="990" y="324"/>
                  </a:lnTo>
                  <a:lnTo>
                    <a:pt x="1002" y="336"/>
                  </a:lnTo>
                  <a:lnTo>
                    <a:pt x="1020" y="372"/>
                  </a:lnTo>
                  <a:lnTo>
                    <a:pt x="1014" y="378"/>
                  </a:lnTo>
                  <a:lnTo>
                    <a:pt x="1014" y="384"/>
                  </a:lnTo>
                  <a:lnTo>
                    <a:pt x="1020" y="384"/>
                  </a:lnTo>
                  <a:lnTo>
                    <a:pt x="1020" y="396"/>
                  </a:lnTo>
                  <a:lnTo>
                    <a:pt x="1062" y="468"/>
                  </a:lnTo>
                  <a:lnTo>
                    <a:pt x="1092" y="522"/>
                  </a:lnTo>
                  <a:lnTo>
                    <a:pt x="1110" y="546"/>
                  </a:lnTo>
                  <a:lnTo>
                    <a:pt x="1122" y="564"/>
                  </a:lnTo>
                  <a:lnTo>
                    <a:pt x="1134" y="576"/>
                  </a:lnTo>
                  <a:lnTo>
                    <a:pt x="1146" y="582"/>
                  </a:lnTo>
                  <a:lnTo>
                    <a:pt x="1146" y="588"/>
                  </a:lnTo>
                  <a:lnTo>
                    <a:pt x="1164" y="600"/>
                  </a:lnTo>
                  <a:lnTo>
                    <a:pt x="1170" y="612"/>
                  </a:lnTo>
                  <a:lnTo>
                    <a:pt x="1170" y="624"/>
                  </a:lnTo>
                  <a:lnTo>
                    <a:pt x="1176" y="654"/>
                  </a:lnTo>
                  <a:lnTo>
                    <a:pt x="1176" y="666"/>
                  </a:lnTo>
                  <a:lnTo>
                    <a:pt x="1182" y="684"/>
                  </a:lnTo>
                  <a:lnTo>
                    <a:pt x="1194" y="696"/>
                  </a:lnTo>
                  <a:lnTo>
                    <a:pt x="1212" y="696"/>
                  </a:lnTo>
                  <a:lnTo>
                    <a:pt x="1206" y="762"/>
                  </a:lnTo>
                  <a:lnTo>
                    <a:pt x="1200" y="768"/>
                  </a:lnTo>
                  <a:lnTo>
                    <a:pt x="1194" y="768"/>
                  </a:lnTo>
                  <a:lnTo>
                    <a:pt x="1194" y="774"/>
                  </a:lnTo>
                  <a:lnTo>
                    <a:pt x="1188" y="774"/>
                  </a:lnTo>
                  <a:lnTo>
                    <a:pt x="1182" y="780"/>
                  </a:lnTo>
                  <a:lnTo>
                    <a:pt x="1176" y="780"/>
                  </a:lnTo>
                  <a:lnTo>
                    <a:pt x="1170" y="780"/>
                  </a:lnTo>
                  <a:lnTo>
                    <a:pt x="1164" y="786"/>
                  </a:lnTo>
                  <a:lnTo>
                    <a:pt x="1158" y="786"/>
                  </a:lnTo>
                  <a:lnTo>
                    <a:pt x="1152" y="786"/>
                  </a:lnTo>
                  <a:lnTo>
                    <a:pt x="1140" y="786"/>
                  </a:lnTo>
                  <a:lnTo>
                    <a:pt x="1134" y="786"/>
                  </a:lnTo>
                  <a:lnTo>
                    <a:pt x="1134" y="780"/>
                  </a:lnTo>
                  <a:lnTo>
                    <a:pt x="1122" y="780"/>
                  </a:lnTo>
                  <a:lnTo>
                    <a:pt x="1116" y="786"/>
                  </a:lnTo>
                  <a:lnTo>
                    <a:pt x="1116" y="792"/>
                  </a:lnTo>
                  <a:lnTo>
                    <a:pt x="1122" y="804"/>
                  </a:lnTo>
                  <a:lnTo>
                    <a:pt x="1128" y="804"/>
                  </a:lnTo>
                  <a:lnTo>
                    <a:pt x="1128" y="816"/>
                  </a:lnTo>
                  <a:lnTo>
                    <a:pt x="1122" y="822"/>
                  </a:lnTo>
                  <a:lnTo>
                    <a:pt x="1116" y="816"/>
                  </a:lnTo>
                  <a:lnTo>
                    <a:pt x="1110" y="816"/>
                  </a:lnTo>
                  <a:lnTo>
                    <a:pt x="1104" y="816"/>
                  </a:lnTo>
                  <a:lnTo>
                    <a:pt x="1098" y="816"/>
                  </a:lnTo>
                  <a:lnTo>
                    <a:pt x="1098" y="822"/>
                  </a:lnTo>
                  <a:lnTo>
                    <a:pt x="1092" y="834"/>
                  </a:lnTo>
                  <a:lnTo>
                    <a:pt x="1092" y="840"/>
                  </a:lnTo>
                  <a:lnTo>
                    <a:pt x="1074" y="840"/>
                  </a:lnTo>
                  <a:lnTo>
                    <a:pt x="1074" y="828"/>
                  </a:lnTo>
                  <a:lnTo>
                    <a:pt x="1062" y="804"/>
                  </a:lnTo>
                  <a:lnTo>
                    <a:pt x="1056" y="792"/>
                  </a:lnTo>
                  <a:lnTo>
                    <a:pt x="1056" y="786"/>
                  </a:lnTo>
                  <a:lnTo>
                    <a:pt x="1026" y="780"/>
                  </a:lnTo>
                  <a:lnTo>
                    <a:pt x="1026" y="768"/>
                  </a:lnTo>
                  <a:lnTo>
                    <a:pt x="1008" y="768"/>
                  </a:lnTo>
                  <a:lnTo>
                    <a:pt x="1002" y="780"/>
                  </a:lnTo>
                  <a:lnTo>
                    <a:pt x="996" y="792"/>
                  </a:lnTo>
                  <a:lnTo>
                    <a:pt x="978" y="798"/>
                  </a:lnTo>
                  <a:lnTo>
                    <a:pt x="972" y="810"/>
                  </a:lnTo>
                  <a:lnTo>
                    <a:pt x="972" y="822"/>
                  </a:lnTo>
                  <a:lnTo>
                    <a:pt x="978" y="828"/>
                  </a:lnTo>
                  <a:lnTo>
                    <a:pt x="978" y="834"/>
                  </a:lnTo>
                  <a:lnTo>
                    <a:pt x="960" y="840"/>
                  </a:lnTo>
                  <a:lnTo>
                    <a:pt x="936" y="840"/>
                  </a:lnTo>
                  <a:lnTo>
                    <a:pt x="918" y="846"/>
                  </a:lnTo>
                  <a:lnTo>
                    <a:pt x="912" y="840"/>
                  </a:lnTo>
                  <a:lnTo>
                    <a:pt x="912" y="834"/>
                  </a:lnTo>
                  <a:lnTo>
                    <a:pt x="906" y="834"/>
                  </a:lnTo>
                  <a:lnTo>
                    <a:pt x="906" y="840"/>
                  </a:lnTo>
                  <a:lnTo>
                    <a:pt x="900" y="846"/>
                  </a:lnTo>
                  <a:lnTo>
                    <a:pt x="906" y="852"/>
                  </a:lnTo>
                  <a:lnTo>
                    <a:pt x="900" y="864"/>
                  </a:lnTo>
                  <a:lnTo>
                    <a:pt x="900" y="876"/>
                  </a:lnTo>
                  <a:lnTo>
                    <a:pt x="900" y="882"/>
                  </a:lnTo>
                  <a:lnTo>
                    <a:pt x="894" y="888"/>
                  </a:lnTo>
                  <a:lnTo>
                    <a:pt x="900" y="900"/>
                  </a:lnTo>
                  <a:lnTo>
                    <a:pt x="900" y="906"/>
                  </a:lnTo>
                  <a:lnTo>
                    <a:pt x="894" y="906"/>
                  </a:lnTo>
                  <a:lnTo>
                    <a:pt x="894" y="912"/>
                  </a:lnTo>
                  <a:lnTo>
                    <a:pt x="900" y="918"/>
                  </a:lnTo>
                  <a:lnTo>
                    <a:pt x="900" y="924"/>
                  </a:lnTo>
                  <a:lnTo>
                    <a:pt x="900" y="948"/>
                  </a:lnTo>
                  <a:lnTo>
                    <a:pt x="888" y="948"/>
                  </a:lnTo>
                  <a:lnTo>
                    <a:pt x="888" y="954"/>
                  </a:lnTo>
                  <a:lnTo>
                    <a:pt x="894" y="954"/>
                  </a:lnTo>
                  <a:lnTo>
                    <a:pt x="900" y="960"/>
                  </a:lnTo>
                  <a:lnTo>
                    <a:pt x="900" y="972"/>
                  </a:lnTo>
                  <a:lnTo>
                    <a:pt x="906" y="984"/>
                  </a:lnTo>
                  <a:lnTo>
                    <a:pt x="912" y="984"/>
                  </a:lnTo>
                  <a:lnTo>
                    <a:pt x="918" y="990"/>
                  </a:lnTo>
                  <a:lnTo>
                    <a:pt x="936" y="990"/>
                  </a:lnTo>
                  <a:lnTo>
                    <a:pt x="936" y="996"/>
                  </a:lnTo>
                  <a:lnTo>
                    <a:pt x="942" y="996"/>
                  </a:lnTo>
                  <a:lnTo>
                    <a:pt x="942" y="1002"/>
                  </a:lnTo>
                  <a:lnTo>
                    <a:pt x="942" y="1008"/>
                  </a:lnTo>
                  <a:lnTo>
                    <a:pt x="948" y="1008"/>
                  </a:lnTo>
                  <a:lnTo>
                    <a:pt x="948" y="1014"/>
                  </a:lnTo>
                  <a:lnTo>
                    <a:pt x="948" y="1020"/>
                  </a:lnTo>
                  <a:lnTo>
                    <a:pt x="954" y="1032"/>
                  </a:lnTo>
                  <a:lnTo>
                    <a:pt x="948" y="1038"/>
                  </a:lnTo>
                  <a:lnTo>
                    <a:pt x="954" y="1044"/>
                  </a:lnTo>
                  <a:lnTo>
                    <a:pt x="954" y="1056"/>
                  </a:lnTo>
                  <a:lnTo>
                    <a:pt x="960" y="1056"/>
                  </a:lnTo>
                  <a:lnTo>
                    <a:pt x="960" y="1062"/>
                  </a:lnTo>
                  <a:lnTo>
                    <a:pt x="954" y="1068"/>
                  </a:lnTo>
                  <a:lnTo>
                    <a:pt x="948" y="1074"/>
                  </a:lnTo>
                  <a:lnTo>
                    <a:pt x="948" y="1080"/>
                  </a:lnTo>
                  <a:lnTo>
                    <a:pt x="948" y="1086"/>
                  </a:lnTo>
                  <a:lnTo>
                    <a:pt x="942" y="1092"/>
                  </a:lnTo>
                  <a:lnTo>
                    <a:pt x="942" y="1098"/>
                  </a:lnTo>
                  <a:lnTo>
                    <a:pt x="942" y="1104"/>
                  </a:lnTo>
                  <a:lnTo>
                    <a:pt x="942" y="1110"/>
                  </a:lnTo>
                  <a:lnTo>
                    <a:pt x="936" y="1116"/>
                  </a:lnTo>
                  <a:lnTo>
                    <a:pt x="936" y="1122"/>
                  </a:lnTo>
                  <a:lnTo>
                    <a:pt x="936" y="1128"/>
                  </a:lnTo>
                  <a:lnTo>
                    <a:pt x="936" y="1134"/>
                  </a:lnTo>
                  <a:lnTo>
                    <a:pt x="942" y="1146"/>
                  </a:lnTo>
                  <a:lnTo>
                    <a:pt x="936" y="1158"/>
                  </a:lnTo>
                  <a:lnTo>
                    <a:pt x="936" y="1170"/>
                  </a:lnTo>
                  <a:lnTo>
                    <a:pt x="936" y="1194"/>
                  </a:lnTo>
                  <a:lnTo>
                    <a:pt x="930" y="1200"/>
                  </a:lnTo>
                  <a:lnTo>
                    <a:pt x="930" y="1212"/>
                  </a:lnTo>
                  <a:lnTo>
                    <a:pt x="918" y="1218"/>
                  </a:lnTo>
                  <a:lnTo>
                    <a:pt x="918" y="1230"/>
                  </a:lnTo>
                  <a:lnTo>
                    <a:pt x="906" y="1230"/>
                  </a:lnTo>
                  <a:lnTo>
                    <a:pt x="900" y="1254"/>
                  </a:lnTo>
                  <a:lnTo>
                    <a:pt x="900" y="1260"/>
                  </a:lnTo>
                  <a:lnTo>
                    <a:pt x="900" y="1266"/>
                  </a:lnTo>
                  <a:lnTo>
                    <a:pt x="900" y="1272"/>
                  </a:lnTo>
                  <a:lnTo>
                    <a:pt x="900" y="1278"/>
                  </a:lnTo>
                  <a:lnTo>
                    <a:pt x="900" y="1284"/>
                  </a:lnTo>
                  <a:lnTo>
                    <a:pt x="906" y="129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1" name="Freeform 26">
              <a:extLst>
                <a:ext uri="{FF2B5EF4-FFF2-40B4-BE49-F238E27FC236}">
                  <a16:creationId xmlns:a16="http://schemas.microsoft.com/office/drawing/2014/main" id="{25725EFE-FE00-49A8-A87A-6752B785C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79173" y="3477313"/>
              <a:ext cx="650731" cy="559125"/>
            </a:xfrm>
            <a:custGeom>
              <a:avLst/>
              <a:gdLst>
                <a:gd name="T0" fmla="*/ 95 w 1224"/>
                <a:gd name="T1" fmla="*/ 89 h 1050"/>
                <a:gd name="T2" fmla="*/ 90 w 1224"/>
                <a:gd name="T3" fmla="*/ 84 h 1050"/>
                <a:gd name="T4" fmla="*/ 84 w 1224"/>
                <a:gd name="T5" fmla="*/ 83 h 1050"/>
                <a:gd name="T6" fmla="*/ 82 w 1224"/>
                <a:gd name="T7" fmla="*/ 80 h 1050"/>
                <a:gd name="T8" fmla="*/ 85 w 1224"/>
                <a:gd name="T9" fmla="*/ 77 h 1050"/>
                <a:gd name="T10" fmla="*/ 81 w 1224"/>
                <a:gd name="T11" fmla="*/ 76 h 1050"/>
                <a:gd name="T12" fmla="*/ 77 w 1224"/>
                <a:gd name="T13" fmla="*/ 77 h 1050"/>
                <a:gd name="T14" fmla="*/ 78 w 1224"/>
                <a:gd name="T15" fmla="*/ 73 h 1050"/>
                <a:gd name="T16" fmla="*/ 59 w 1224"/>
                <a:gd name="T17" fmla="*/ 71 h 1050"/>
                <a:gd name="T18" fmla="*/ 41 w 1224"/>
                <a:gd name="T19" fmla="*/ 73 h 1050"/>
                <a:gd name="T20" fmla="*/ 33 w 1224"/>
                <a:gd name="T21" fmla="*/ 71 h 1050"/>
                <a:gd name="T22" fmla="*/ 30 w 1224"/>
                <a:gd name="T23" fmla="*/ 75 h 1050"/>
                <a:gd name="T24" fmla="*/ 27 w 1224"/>
                <a:gd name="T25" fmla="*/ 80 h 1050"/>
                <a:gd name="T26" fmla="*/ 12 w 1224"/>
                <a:gd name="T27" fmla="*/ 81 h 1050"/>
                <a:gd name="T28" fmla="*/ 9 w 1224"/>
                <a:gd name="T29" fmla="*/ 84 h 1050"/>
                <a:gd name="T30" fmla="*/ 6 w 1224"/>
                <a:gd name="T31" fmla="*/ 83 h 1050"/>
                <a:gd name="T32" fmla="*/ 1 w 1224"/>
                <a:gd name="T33" fmla="*/ 83 h 1050"/>
                <a:gd name="T34" fmla="*/ 3 w 1224"/>
                <a:gd name="T35" fmla="*/ 77 h 1050"/>
                <a:gd name="T36" fmla="*/ 5 w 1224"/>
                <a:gd name="T37" fmla="*/ 70 h 1050"/>
                <a:gd name="T38" fmla="*/ 2 w 1224"/>
                <a:gd name="T39" fmla="*/ 65 h 1050"/>
                <a:gd name="T40" fmla="*/ 3 w 1224"/>
                <a:gd name="T41" fmla="*/ 58 h 1050"/>
                <a:gd name="T42" fmla="*/ 4 w 1224"/>
                <a:gd name="T43" fmla="*/ 51 h 1050"/>
                <a:gd name="T44" fmla="*/ 3 w 1224"/>
                <a:gd name="T45" fmla="*/ 47 h 1050"/>
                <a:gd name="T46" fmla="*/ 4 w 1224"/>
                <a:gd name="T47" fmla="*/ 39 h 1050"/>
                <a:gd name="T48" fmla="*/ 6 w 1224"/>
                <a:gd name="T49" fmla="*/ 29 h 1050"/>
                <a:gd name="T50" fmla="*/ 3 w 1224"/>
                <a:gd name="T51" fmla="*/ 22 h 1050"/>
                <a:gd name="T52" fmla="*/ 2 w 1224"/>
                <a:gd name="T53" fmla="*/ 14 h 1050"/>
                <a:gd name="T54" fmla="*/ 0 w 1224"/>
                <a:gd name="T55" fmla="*/ 6 h 1050"/>
                <a:gd name="T56" fmla="*/ 9 w 1224"/>
                <a:gd name="T57" fmla="*/ 1 h 1050"/>
                <a:gd name="T58" fmla="*/ 11 w 1224"/>
                <a:gd name="T59" fmla="*/ 8 h 1050"/>
                <a:gd name="T60" fmla="*/ 15 w 1224"/>
                <a:gd name="T61" fmla="*/ 9 h 1050"/>
                <a:gd name="T62" fmla="*/ 18 w 1224"/>
                <a:gd name="T63" fmla="*/ 8 h 1050"/>
                <a:gd name="T64" fmla="*/ 18 w 1224"/>
                <a:gd name="T65" fmla="*/ 13 h 1050"/>
                <a:gd name="T66" fmla="*/ 17 w 1224"/>
                <a:gd name="T67" fmla="*/ 15 h 1050"/>
                <a:gd name="T68" fmla="*/ 17 w 1224"/>
                <a:gd name="T69" fmla="*/ 17 h 1050"/>
                <a:gd name="T70" fmla="*/ 17 w 1224"/>
                <a:gd name="T71" fmla="*/ 21 h 1050"/>
                <a:gd name="T72" fmla="*/ 21 w 1224"/>
                <a:gd name="T73" fmla="*/ 25 h 1050"/>
                <a:gd name="T74" fmla="*/ 24 w 1224"/>
                <a:gd name="T75" fmla="*/ 31 h 1050"/>
                <a:gd name="T76" fmla="*/ 35 w 1224"/>
                <a:gd name="T77" fmla="*/ 34 h 1050"/>
                <a:gd name="T78" fmla="*/ 40 w 1224"/>
                <a:gd name="T79" fmla="*/ 27 h 1050"/>
                <a:gd name="T80" fmla="*/ 46 w 1224"/>
                <a:gd name="T81" fmla="*/ 30 h 1050"/>
                <a:gd name="T82" fmla="*/ 51 w 1224"/>
                <a:gd name="T83" fmla="*/ 27 h 1050"/>
                <a:gd name="T84" fmla="*/ 59 w 1224"/>
                <a:gd name="T85" fmla="*/ 39 h 1050"/>
                <a:gd name="T86" fmla="*/ 59 w 1224"/>
                <a:gd name="T87" fmla="*/ 45 h 1050"/>
                <a:gd name="T88" fmla="*/ 72 w 1224"/>
                <a:gd name="T89" fmla="*/ 45 h 1050"/>
                <a:gd name="T90" fmla="*/ 79 w 1224"/>
                <a:gd name="T91" fmla="*/ 44 h 1050"/>
                <a:gd name="T92" fmla="*/ 87 w 1224"/>
                <a:gd name="T93" fmla="*/ 48 h 1050"/>
                <a:gd name="T94" fmla="*/ 93 w 1224"/>
                <a:gd name="T95" fmla="*/ 50 h 1050"/>
                <a:gd name="T96" fmla="*/ 98 w 1224"/>
                <a:gd name="T97" fmla="*/ 51 h 1050"/>
                <a:gd name="T98" fmla="*/ 106 w 1224"/>
                <a:gd name="T99" fmla="*/ 50 h 1050"/>
                <a:gd name="T100" fmla="*/ 104 w 1224"/>
                <a:gd name="T101" fmla="*/ 54 h 1050"/>
                <a:gd name="T102" fmla="*/ 104 w 1224"/>
                <a:gd name="T103" fmla="*/ 60 h 1050"/>
                <a:gd name="T104" fmla="*/ 101 w 1224"/>
                <a:gd name="T105" fmla="*/ 63 h 1050"/>
                <a:gd name="T106" fmla="*/ 98 w 1224"/>
                <a:gd name="T107" fmla="*/ 66 h 1050"/>
                <a:gd name="T108" fmla="*/ 95 w 1224"/>
                <a:gd name="T109" fmla="*/ 68 h 1050"/>
                <a:gd name="T110" fmla="*/ 93 w 1224"/>
                <a:gd name="T111" fmla="*/ 72 h 1050"/>
                <a:gd name="T112" fmla="*/ 98 w 1224"/>
                <a:gd name="T113" fmla="*/ 75 h 1050"/>
                <a:gd name="T114" fmla="*/ 102 w 1224"/>
                <a:gd name="T115" fmla="*/ 77 h 1050"/>
                <a:gd name="T116" fmla="*/ 107 w 1224"/>
                <a:gd name="T117" fmla="*/ 76 h 1050"/>
                <a:gd name="T118" fmla="*/ 104 w 1224"/>
                <a:gd name="T119" fmla="*/ 84 h 1050"/>
                <a:gd name="T120" fmla="*/ 103 w 1224"/>
                <a:gd name="T121" fmla="*/ 87 h 1050"/>
                <a:gd name="T122" fmla="*/ 104 w 1224"/>
                <a:gd name="T123" fmla="*/ 91 h 105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24"/>
                <a:gd name="T187" fmla="*/ 0 h 1050"/>
                <a:gd name="T188" fmla="*/ 1224 w 1224"/>
                <a:gd name="T189" fmla="*/ 1050 h 105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24" h="1050">
                  <a:moveTo>
                    <a:pt x="1128" y="1032"/>
                  </a:moveTo>
                  <a:lnTo>
                    <a:pt x="1122" y="1026"/>
                  </a:lnTo>
                  <a:lnTo>
                    <a:pt x="1116" y="1026"/>
                  </a:lnTo>
                  <a:lnTo>
                    <a:pt x="1110" y="1026"/>
                  </a:lnTo>
                  <a:lnTo>
                    <a:pt x="1104" y="1026"/>
                  </a:lnTo>
                  <a:lnTo>
                    <a:pt x="1104" y="1020"/>
                  </a:lnTo>
                  <a:lnTo>
                    <a:pt x="1098" y="1020"/>
                  </a:lnTo>
                  <a:lnTo>
                    <a:pt x="1092" y="1020"/>
                  </a:lnTo>
                  <a:lnTo>
                    <a:pt x="1086" y="1020"/>
                  </a:lnTo>
                  <a:lnTo>
                    <a:pt x="1080" y="1014"/>
                  </a:lnTo>
                  <a:lnTo>
                    <a:pt x="1068" y="1014"/>
                  </a:lnTo>
                  <a:lnTo>
                    <a:pt x="1062" y="1014"/>
                  </a:lnTo>
                  <a:lnTo>
                    <a:pt x="1062" y="1008"/>
                  </a:lnTo>
                  <a:lnTo>
                    <a:pt x="1062" y="990"/>
                  </a:lnTo>
                  <a:lnTo>
                    <a:pt x="1062" y="984"/>
                  </a:lnTo>
                  <a:lnTo>
                    <a:pt x="1062" y="972"/>
                  </a:lnTo>
                  <a:lnTo>
                    <a:pt x="1044" y="966"/>
                  </a:lnTo>
                  <a:lnTo>
                    <a:pt x="1026" y="966"/>
                  </a:lnTo>
                  <a:lnTo>
                    <a:pt x="1014" y="966"/>
                  </a:lnTo>
                  <a:lnTo>
                    <a:pt x="996" y="966"/>
                  </a:lnTo>
                  <a:lnTo>
                    <a:pt x="996" y="972"/>
                  </a:lnTo>
                  <a:lnTo>
                    <a:pt x="990" y="972"/>
                  </a:lnTo>
                  <a:lnTo>
                    <a:pt x="984" y="966"/>
                  </a:lnTo>
                  <a:lnTo>
                    <a:pt x="978" y="966"/>
                  </a:lnTo>
                  <a:lnTo>
                    <a:pt x="978" y="960"/>
                  </a:lnTo>
                  <a:lnTo>
                    <a:pt x="972" y="954"/>
                  </a:lnTo>
                  <a:lnTo>
                    <a:pt x="966" y="954"/>
                  </a:lnTo>
                  <a:lnTo>
                    <a:pt x="960" y="954"/>
                  </a:lnTo>
                  <a:lnTo>
                    <a:pt x="954" y="954"/>
                  </a:lnTo>
                  <a:lnTo>
                    <a:pt x="954" y="948"/>
                  </a:lnTo>
                  <a:lnTo>
                    <a:pt x="942" y="942"/>
                  </a:lnTo>
                  <a:lnTo>
                    <a:pt x="936" y="942"/>
                  </a:lnTo>
                  <a:lnTo>
                    <a:pt x="936" y="936"/>
                  </a:lnTo>
                  <a:lnTo>
                    <a:pt x="936" y="930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42" y="918"/>
                  </a:lnTo>
                  <a:lnTo>
                    <a:pt x="948" y="918"/>
                  </a:lnTo>
                  <a:lnTo>
                    <a:pt x="960" y="918"/>
                  </a:lnTo>
                  <a:lnTo>
                    <a:pt x="966" y="912"/>
                  </a:lnTo>
                  <a:lnTo>
                    <a:pt x="978" y="906"/>
                  </a:lnTo>
                  <a:lnTo>
                    <a:pt x="978" y="900"/>
                  </a:lnTo>
                  <a:lnTo>
                    <a:pt x="978" y="894"/>
                  </a:lnTo>
                  <a:lnTo>
                    <a:pt x="978" y="888"/>
                  </a:lnTo>
                  <a:lnTo>
                    <a:pt x="972" y="888"/>
                  </a:lnTo>
                  <a:lnTo>
                    <a:pt x="978" y="888"/>
                  </a:lnTo>
                  <a:lnTo>
                    <a:pt x="978" y="882"/>
                  </a:lnTo>
                  <a:lnTo>
                    <a:pt x="972" y="876"/>
                  </a:lnTo>
                  <a:lnTo>
                    <a:pt x="966" y="870"/>
                  </a:lnTo>
                  <a:lnTo>
                    <a:pt x="954" y="876"/>
                  </a:lnTo>
                  <a:lnTo>
                    <a:pt x="948" y="876"/>
                  </a:lnTo>
                  <a:lnTo>
                    <a:pt x="942" y="870"/>
                  </a:lnTo>
                  <a:lnTo>
                    <a:pt x="936" y="876"/>
                  </a:lnTo>
                  <a:lnTo>
                    <a:pt x="930" y="876"/>
                  </a:lnTo>
                  <a:lnTo>
                    <a:pt x="924" y="882"/>
                  </a:lnTo>
                  <a:lnTo>
                    <a:pt x="912" y="888"/>
                  </a:lnTo>
                  <a:lnTo>
                    <a:pt x="906" y="894"/>
                  </a:lnTo>
                  <a:lnTo>
                    <a:pt x="900" y="900"/>
                  </a:lnTo>
                  <a:lnTo>
                    <a:pt x="894" y="888"/>
                  </a:lnTo>
                  <a:lnTo>
                    <a:pt x="888" y="894"/>
                  </a:lnTo>
                  <a:lnTo>
                    <a:pt x="882" y="888"/>
                  </a:lnTo>
                  <a:lnTo>
                    <a:pt x="876" y="894"/>
                  </a:lnTo>
                  <a:lnTo>
                    <a:pt x="876" y="888"/>
                  </a:lnTo>
                  <a:lnTo>
                    <a:pt x="876" y="882"/>
                  </a:lnTo>
                  <a:lnTo>
                    <a:pt x="876" y="876"/>
                  </a:lnTo>
                  <a:lnTo>
                    <a:pt x="870" y="858"/>
                  </a:lnTo>
                  <a:lnTo>
                    <a:pt x="864" y="858"/>
                  </a:lnTo>
                  <a:lnTo>
                    <a:pt x="870" y="852"/>
                  </a:lnTo>
                  <a:lnTo>
                    <a:pt x="870" y="846"/>
                  </a:lnTo>
                  <a:lnTo>
                    <a:pt x="876" y="846"/>
                  </a:lnTo>
                  <a:lnTo>
                    <a:pt x="882" y="846"/>
                  </a:lnTo>
                  <a:lnTo>
                    <a:pt x="888" y="840"/>
                  </a:lnTo>
                  <a:lnTo>
                    <a:pt x="894" y="834"/>
                  </a:lnTo>
                  <a:lnTo>
                    <a:pt x="894" y="828"/>
                  </a:lnTo>
                  <a:lnTo>
                    <a:pt x="894" y="816"/>
                  </a:lnTo>
                  <a:lnTo>
                    <a:pt x="858" y="810"/>
                  </a:lnTo>
                  <a:lnTo>
                    <a:pt x="858" y="816"/>
                  </a:lnTo>
                  <a:lnTo>
                    <a:pt x="852" y="816"/>
                  </a:lnTo>
                  <a:lnTo>
                    <a:pt x="780" y="816"/>
                  </a:lnTo>
                  <a:lnTo>
                    <a:pt x="750" y="816"/>
                  </a:lnTo>
                  <a:lnTo>
                    <a:pt x="684" y="816"/>
                  </a:lnTo>
                  <a:lnTo>
                    <a:pt x="636" y="816"/>
                  </a:lnTo>
                  <a:lnTo>
                    <a:pt x="612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0" y="816"/>
                  </a:lnTo>
                  <a:lnTo>
                    <a:pt x="480" y="822"/>
                  </a:lnTo>
                  <a:lnTo>
                    <a:pt x="480" y="834"/>
                  </a:lnTo>
                  <a:lnTo>
                    <a:pt x="474" y="840"/>
                  </a:lnTo>
                  <a:lnTo>
                    <a:pt x="468" y="840"/>
                  </a:lnTo>
                  <a:lnTo>
                    <a:pt x="432" y="840"/>
                  </a:lnTo>
                  <a:lnTo>
                    <a:pt x="426" y="834"/>
                  </a:lnTo>
                  <a:lnTo>
                    <a:pt x="420" y="834"/>
                  </a:lnTo>
                  <a:lnTo>
                    <a:pt x="420" y="828"/>
                  </a:lnTo>
                  <a:lnTo>
                    <a:pt x="414" y="822"/>
                  </a:lnTo>
                  <a:lnTo>
                    <a:pt x="408" y="822"/>
                  </a:lnTo>
                  <a:lnTo>
                    <a:pt x="396" y="822"/>
                  </a:lnTo>
                  <a:lnTo>
                    <a:pt x="396" y="816"/>
                  </a:lnTo>
                  <a:lnTo>
                    <a:pt x="384" y="816"/>
                  </a:lnTo>
                  <a:lnTo>
                    <a:pt x="372" y="810"/>
                  </a:lnTo>
                  <a:lnTo>
                    <a:pt x="372" y="804"/>
                  </a:lnTo>
                  <a:lnTo>
                    <a:pt x="366" y="804"/>
                  </a:lnTo>
                  <a:lnTo>
                    <a:pt x="360" y="804"/>
                  </a:lnTo>
                  <a:lnTo>
                    <a:pt x="348" y="828"/>
                  </a:lnTo>
                  <a:lnTo>
                    <a:pt x="348" y="834"/>
                  </a:lnTo>
                  <a:lnTo>
                    <a:pt x="348" y="852"/>
                  </a:lnTo>
                  <a:lnTo>
                    <a:pt x="348" y="858"/>
                  </a:lnTo>
                  <a:lnTo>
                    <a:pt x="342" y="864"/>
                  </a:lnTo>
                  <a:lnTo>
                    <a:pt x="342" y="870"/>
                  </a:lnTo>
                  <a:lnTo>
                    <a:pt x="330" y="876"/>
                  </a:lnTo>
                  <a:lnTo>
                    <a:pt x="324" y="888"/>
                  </a:lnTo>
                  <a:lnTo>
                    <a:pt x="324" y="894"/>
                  </a:lnTo>
                  <a:lnTo>
                    <a:pt x="330" y="900"/>
                  </a:lnTo>
                  <a:lnTo>
                    <a:pt x="330" y="906"/>
                  </a:lnTo>
                  <a:lnTo>
                    <a:pt x="324" y="906"/>
                  </a:lnTo>
                  <a:lnTo>
                    <a:pt x="318" y="912"/>
                  </a:lnTo>
                  <a:lnTo>
                    <a:pt x="312" y="918"/>
                  </a:lnTo>
                  <a:lnTo>
                    <a:pt x="306" y="924"/>
                  </a:lnTo>
                  <a:lnTo>
                    <a:pt x="288" y="924"/>
                  </a:lnTo>
                  <a:lnTo>
                    <a:pt x="282" y="924"/>
                  </a:lnTo>
                  <a:lnTo>
                    <a:pt x="276" y="930"/>
                  </a:lnTo>
                  <a:lnTo>
                    <a:pt x="270" y="930"/>
                  </a:lnTo>
                  <a:lnTo>
                    <a:pt x="264" y="930"/>
                  </a:lnTo>
                  <a:lnTo>
                    <a:pt x="198" y="930"/>
                  </a:lnTo>
                  <a:lnTo>
                    <a:pt x="132" y="930"/>
                  </a:lnTo>
                  <a:lnTo>
                    <a:pt x="132" y="936"/>
                  </a:lnTo>
                  <a:lnTo>
                    <a:pt x="132" y="942"/>
                  </a:lnTo>
                  <a:lnTo>
                    <a:pt x="132" y="948"/>
                  </a:lnTo>
                  <a:lnTo>
                    <a:pt x="126" y="948"/>
                  </a:lnTo>
                  <a:lnTo>
                    <a:pt x="120" y="948"/>
                  </a:lnTo>
                  <a:lnTo>
                    <a:pt x="120" y="954"/>
                  </a:lnTo>
                  <a:lnTo>
                    <a:pt x="114" y="954"/>
                  </a:lnTo>
                  <a:lnTo>
                    <a:pt x="114" y="960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02" y="966"/>
                  </a:lnTo>
                  <a:lnTo>
                    <a:pt x="102" y="972"/>
                  </a:lnTo>
                  <a:lnTo>
                    <a:pt x="96" y="972"/>
                  </a:lnTo>
                  <a:lnTo>
                    <a:pt x="96" y="966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78" y="960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60"/>
                  </a:lnTo>
                  <a:lnTo>
                    <a:pt x="54" y="966"/>
                  </a:lnTo>
                  <a:lnTo>
                    <a:pt x="48" y="966"/>
                  </a:lnTo>
                  <a:lnTo>
                    <a:pt x="42" y="966"/>
                  </a:lnTo>
                  <a:lnTo>
                    <a:pt x="36" y="966"/>
                  </a:lnTo>
                  <a:lnTo>
                    <a:pt x="30" y="966"/>
                  </a:lnTo>
                  <a:lnTo>
                    <a:pt x="24" y="960"/>
                  </a:lnTo>
                  <a:lnTo>
                    <a:pt x="18" y="960"/>
                  </a:lnTo>
                  <a:lnTo>
                    <a:pt x="12" y="960"/>
                  </a:lnTo>
                  <a:lnTo>
                    <a:pt x="12" y="948"/>
                  </a:lnTo>
                  <a:lnTo>
                    <a:pt x="18" y="942"/>
                  </a:lnTo>
                  <a:lnTo>
                    <a:pt x="18" y="936"/>
                  </a:lnTo>
                  <a:lnTo>
                    <a:pt x="18" y="930"/>
                  </a:lnTo>
                  <a:lnTo>
                    <a:pt x="18" y="924"/>
                  </a:lnTo>
                  <a:lnTo>
                    <a:pt x="18" y="912"/>
                  </a:lnTo>
                  <a:lnTo>
                    <a:pt x="24" y="906"/>
                  </a:lnTo>
                  <a:lnTo>
                    <a:pt x="30" y="900"/>
                  </a:lnTo>
                  <a:lnTo>
                    <a:pt x="36" y="894"/>
                  </a:lnTo>
                  <a:lnTo>
                    <a:pt x="36" y="882"/>
                  </a:lnTo>
                  <a:lnTo>
                    <a:pt x="30" y="876"/>
                  </a:lnTo>
                  <a:lnTo>
                    <a:pt x="30" y="870"/>
                  </a:lnTo>
                  <a:lnTo>
                    <a:pt x="24" y="858"/>
                  </a:lnTo>
                  <a:lnTo>
                    <a:pt x="24" y="846"/>
                  </a:lnTo>
                  <a:lnTo>
                    <a:pt x="36" y="822"/>
                  </a:lnTo>
                  <a:lnTo>
                    <a:pt x="42" y="816"/>
                  </a:lnTo>
                  <a:lnTo>
                    <a:pt x="48" y="816"/>
                  </a:lnTo>
                  <a:lnTo>
                    <a:pt x="60" y="804"/>
                  </a:lnTo>
                  <a:lnTo>
                    <a:pt x="60" y="786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54" y="762"/>
                  </a:lnTo>
                  <a:lnTo>
                    <a:pt x="42" y="762"/>
                  </a:lnTo>
                  <a:lnTo>
                    <a:pt x="36" y="762"/>
                  </a:lnTo>
                  <a:lnTo>
                    <a:pt x="30" y="762"/>
                  </a:lnTo>
                  <a:lnTo>
                    <a:pt x="30" y="756"/>
                  </a:lnTo>
                  <a:lnTo>
                    <a:pt x="24" y="750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702"/>
                  </a:lnTo>
                  <a:lnTo>
                    <a:pt x="36" y="684"/>
                  </a:lnTo>
                  <a:lnTo>
                    <a:pt x="36" y="678"/>
                  </a:lnTo>
                  <a:lnTo>
                    <a:pt x="36" y="666"/>
                  </a:lnTo>
                  <a:lnTo>
                    <a:pt x="36" y="654"/>
                  </a:lnTo>
                  <a:lnTo>
                    <a:pt x="18" y="654"/>
                  </a:lnTo>
                  <a:lnTo>
                    <a:pt x="18" y="648"/>
                  </a:lnTo>
                  <a:lnTo>
                    <a:pt x="18" y="618"/>
                  </a:lnTo>
                  <a:lnTo>
                    <a:pt x="18" y="612"/>
                  </a:lnTo>
                  <a:lnTo>
                    <a:pt x="24" y="612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54" y="588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76"/>
                  </a:lnTo>
                  <a:lnTo>
                    <a:pt x="48" y="564"/>
                  </a:lnTo>
                  <a:lnTo>
                    <a:pt x="42" y="564"/>
                  </a:lnTo>
                  <a:lnTo>
                    <a:pt x="36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6" y="540"/>
                  </a:lnTo>
                  <a:lnTo>
                    <a:pt x="48" y="534"/>
                  </a:lnTo>
                  <a:lnTo>
                    <a:pt x="54" y="528"/>
                  </a:lnTo>
                  <a:lnTo>
                    <a:pt x="60" y="504"/>
                  </a:lnTo>
                  <a:lnTo>
                    <a:pt x="60" y="492"/>
                  </a:lnTo>
                  <a:lnTo>
                    <a:pt x="54" y="492"/>
                  </a:lnTo>
                  <a:lnTo>
                    <a:pt x="54" y="480"/>
                  </a:lnTo>
                  <a:lnTo>
                    <a:pt x="48" y="456"/>
                  </a:lnTo>
                  <a:lnTo>
                    <a:pt x="42" y="450"/>
                  </a:lnTo>
                  <a:lnTo>
                    <a:pt x="36" y="444"/>
                  </a:lnTo>
                  <a:lnTo>
                    <a:pt x="36" y="420"/>
                  </a:lnTo>
                  <a:lnTo>
                    <a:pt x="36" y="408"/>
                  </a:lnTo>
                  <a:lnTo>
                    <a:pt x="36" y="37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60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6" y="300"/>
                  </a:lnTo>
                  <a:lnTo>
                    <a:pt x="60" y="294"/>
                  </a:lnTo>
                  <a:lnTo>
                    <a:pt x="60" y="288"/>
                  </a:lnTo>
                  <a:lnTo>
                    <a:pt x="54" y="282"/>
                  </a:lnTo>
                  <a:lnTo>
                    <a:pt x="42" y="276"/>
                  </a:lnTo>
                  <a:lnTo>
                    <a:pt x="36" y="276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0" y="252"/>
                  </a:lnTo>
                  <a:lnTo>
                    <a:pt x="24" y="246"/>
                  </a:lnTo>
                  <a:lnTo>
                    <a:pt x="24" y="240"/>
                  </a:lnTo>
                  <a:lnTo>
                    <a:pt x="24" y="228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62"/>
                  </a:lnTo>
                  <a:lnTo>
                    <a:pt x="24" y="144"/>
                  </a:lnTo>
                  <a:lnTo>
                    <a:pt x="24" y="132"/>
                  </a:lnTo>
                  <a:lnTo>
                    <a:pt x="24" y="114"/>
                  </a:lnTo>
                  <a:lnTo>
                    <a:pt x="24" y="102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18" y="48"/>
                  </a:lnTo>
                  <a:lnTo>
                    <a:pt x="42" y="36"/>
                  </a:lnTo>
                  <a:lnTo>
                    <a:pt x="54" y="24"/>
                  </a:lnTo>
                  <a:lnTo>
                    <a:pt x="60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10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14" y="60"/>
                  </a:lnTo>
                  <a:lnTo>
                    <a:pt x="120" y="60"/>
                  </a:lnTo>
                  <a:lnTo>
                    <a:pt x="114" y="84"/>
                  </a:lnTo>
                  <a:lnTo>
                    <a:pt x="120" y="90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38" y="114"/>
                  </a:lnTo>
                  <a:lnTo>
                    <a:pt x="138" y="132"/>
                  </a:lnTo>
                  <a:lnTo>
                    <a:pt x="162" y="126"/>
                  </a:lnTo>
                  <a:lnTo>
                    <a:pt x="162" y="114"/>
                  </a:lnTo>
                  <a:lnTo>
                    <a:pt x="174" y="108"/>
                  </a:lnTo>
                  <a:lnTo>
                    <a:pt x="174" y="102"/>
                  </a:lnTo>
                  <a:lnTo>
                    <a:pt x="180" y="96"/>
                  </a:lnTo>
                  <a:lnTo>
                    <a:pt x="180" y="60"/>
                  </a:lnTo>
                  <a:lnTo>
                    <a:pt x="192" y="60"/>
                  </a:lnTo>
                  <a:lnTo>
                    <a:pt x="192" y="72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04" y="108"/>
                  </a:lnTo>
                  <a:lnTo>
                    <a:pt x="204" y="114"/>
                  </a:lnTo>
                  <a:lnTo>
                    <a:pt x="204" y="120"/>
                  </a:lnTo>
                  <a:lnTo>
                    <a:pt x="204" y="126"/>
                  </a:lnTo>
                  <a:lnTo>
                    <a:pt x="210" y="126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8" y="174"/>
                  </a:lnTo>
                  <a:lnTo>
                    <a:pt x="198" y="180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86" y="204"/>
                  </a:lnTo>
                  <a:lnTo>
                    <a:pt x="186" y="210"/>
                  </a:lnTo>
                  <a:lnTo>
                    <a:pt x="180" y="210"/>
                  </a:lnTo>
                  <a:lnTo>
                    <a:pt x="180" y="216"/>
                  </a:lnTo>
                  <a:lnTo>
                    <a:pt x="180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92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8" y="258"/>
                  </a:lnTo>
                  <a:lnTo>
                    <a:pt x="204" y="258"/>
                  </a:lnTo>
                  <a:lnTo>
                    <a:pt x="210" y="258"/>
                  </a:lnTo>
                  <a:lnTo>
                    <a:pt x="216" y="258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34" y="276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46" y="306"/>
                  </a:lnTo>
                  <a:lnTo>
                    <a:pt x="252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42"/>
                  </a:lnTo>
                  <a:lnTo>
                    <a:pt x="270" y="342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88" y="366"/>
                  </a:lnTo>
                  <a:lnTo>
                    <a:pt x="336" y="360"/>
                  </a:lnTo>
                  <a:lnTo>
                    <a:pt x="354" y="360"/>
                  </a:lnTo>
                  <a:lnTo>
                    <a:pt x="366" y="372"/>
                  </a:lnTo>
                  <a:lnTo>
                    <a:pt x="378" y="378"/>
                  </a:lnTo>
                  <a:lnTo>
                    <a:pt x="378" y="390"/>
                  </a:lnTo>
                  <a:lnTo>
                    <a:pt x="384" y="390"/>
                  </a:lnTo>
                  <a:lnTo>
                    <a:pt x="390" y="396"/>
                  </a:lnTo>
                  <a:lnTo>
                    <a:pt x="408" y="390"/>
                  </a:lnTo>
                  <a:lnTo>
                    <a:pt x="426" y="366"/>
                  </a:lnTo>
                  <a:lnTo>
                    <a:pt x="432" y="360"/>
                  </a:lnTo>
                  <a:lnTo>
                    <a:pt x="438" y="348"/>
                  </a:lnTo>
                  <a:lnTo>
                    <a:pt x="438" y="342"/>
                  </a:lnTo>
                  <a:lnTo>
                    <a:pt x="438" y="330"/>
                  </a:lnTo>
                  <a:lnTo>
                    <a:pt x="444" y="324"/>
                  </a:lnTo>
                  <a:lnTo>
                    <a:pt x="450" y="318"/>
                  </a:lnTo>
                  <a:lnTo>
                    <a:pt x="456" y="312"/>
                  </a:lnTo>
                  <a:lnTo>
                    <a:pt x="456" y="306"/>
                  </a:lnTo>
                  <a:lnTo>
                    <a:pt x="456" y="300"/>
                  </a:lnTo>
                  <a:lnTo>
                    <a:pt x="474" y="288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92" y="294"/>
                  </a:lnTo>
                  <a:lnTo>
                    <a:pt x="492" y="318"/>
                  </a:lnTo>
                  <a:lnTo>
                    <a:pt x="504" y="324"/>
                  </a:lnTo>
                  <a:lnTo>
                    <a:pt x="492" y="348"/>
                  </a:lnTo>
                  <a:lnTo>
                    <a:pt x="522" y="348"/>
                  </a:lnTo>
                  <a:lnTo>
                    <a:pt x="528" y="342"/>
                  </a:lnTo>
                  <a:lnTo>
                    <a:pt x="528" y="336"/>
                  </a:lnTo>
                  <a:lnTo>
                    <a:pt x="528" y="330"/>
                  </a:lnTo>
                  <a:lnTo>
                    <a:pt x="534" y="330"/>
                  </a:lnTo>
                  <a:lnTo>
                    <a:pt x="540" y="330"/>
                  </a:lnTo>
                  <a:lnTo>
                    <a:pt x="546" y="330"/>
                  </a:lnTo>
                  <a:lnTo>
                    <a:pt x="552" y="324"/>
                  </a:lnTo>
                  <a:lnTo>
                    <a:pt x="558" y="318"/>
                  </a:lnTo>
                  <a:lnTo>
                    <a:pt x="576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8" y="348"/>
                  </a:lnTo>
                  <a:lnTo>
                    <a:pt x="654" y="354"/>
                  </a:lnTo>
                  <a:lnTo>
                    <a:pt x="648" y="402"/>
                  </a:lnTo>
                  <a:lnTo>
                    <a:pt x="678" y="402"/>
                  </a:lnTo>
                  <a:lnTo>
                    <a:pt x="678" y="420"/>
                  </a:lnTo>
                  <a:lnTo>
                    <a:pt x="684" y="438"/>
                  </a:lnTo>
                  <a:lnTo>
                    <a:pt x="684" y="450"/>
                  </a:lnTo>
                  <a:lnTo>
                    <a:pt x="684" y="456"/>
                  </a:lnTo>
                  <a:lnTo>
                    <a:pt x="690" y="468"/>
                  </a:lnTo>
                  <a:lnTo>
                    <a:pt x="690" y="474"/>
                  </a:lnTo>
                  <a:lnTo>
                    <a:pt x="690" y="480"/>
                  </a:lnTo>
                  <a:lnTo>
                    <a:pt x="696" y="486"/>
                  </a:lnTo>
                  <a:lnTo>
                    <a:pt x="696" y="498"/>
                  </a:lnTo>
                  <a:lnTo>
                    <a:pt x="702" y="504"/>
                  </a:lnTo>
                  <a:lnTo>
                    <a:pt x="690" y="516"/>
                  </a:lnTo>
                  <a:lnTo>
                    <a:pt x="678" y="522"/>
                  </a:lnTo>
                  <a:lnTo>
                    <a:pt x="654" y="528"/>
                  </a:lnTo>
                  <a:lnTo>
                    <a:pt x="660" y="546"/>
                  </a:lnTo>
                  <a:lnTo>
                    <a:pt x="672" y="546"/>
                  </a:lnTo>
                  <a:lnTo>
                    <a:pt x="678" y="540"/>
                  </a:lnTo>
                  <a:lnTo>
                    <a:pt x="714" y="540"/>
                  </a:lnTo>
                  <a:lnTo>
                    <a:pt x="798" y="540"/>
                  </a:lnTo>
                  <a:lnTo>
                    <a:pt x="804" y="540"/>
                  </a:lnTo>
                  <a:lnTo>
                    <a:pt x="816" y="528"/>
                  </a:lnTo>
                  <a:lnTo>
                    <a:pt x="822" y="522"/>
                  </a:lnTo>
                  <a:lnTo>
                    <a:pt x="834" y="516"/>
                  </a:lnTo>
                  <a:lnTo>
                    <a:pt x="846" y="516"/>
                  </a:lnTo>
                  <a:lnTo>
                    <a:pt x="852" y="510"/>
                  </a:lnTo>
                  <a:lnTo>
                    <a:pt x="858" y="510"/>
                  </a:lnTo>
                  <a:lnTo>
                    <a:pt x="882" y="516"/>
                  </a:lnTo>
                  <a:lnTo>
                    <a:pt x="888" y="516"/>
                  </a:lnTo>
                  <a:lnTo>
                    <a:pt x="888" y="510"/>
                  </a:lnTo>
                  <a:lnTo>
                    <a:pt x="894" y="510"/>
                  </a:lnTo>
                  <a:lnTo>
                    <a:pt x="906" y="504"/>
                  </a:lnTo>
                  <a:lnTo>
                    <a:pt x="918" y="498"/>
                  </a:lnTo>
                  <a:lnTo>
                    <a:pt x="930" y="492"/>
                  </a:lnTo>
                  <a:lnTo>
                    <a:pt x="936" y="492"/>
                  </a:lnTo>
                  <a:lnTo>
                    <a:pt x="948" y="492"/>
                  </a:lnTo>
                  <a:lnTo>
                    <a:pt x="954" y="528"/>
                  </a:lnTo>
                  <a:lnTo>
                    <a:pt x="954" y="564"/>
                  </a:lnTo>
                  <a:lnTo>
                    <a:pt x="972" y="564"/>
                  </a:lnTo>
                  <a:lnTo>
                    <a:pt x="978" y="558"/>
                  </a:lnTo>
                  <a:lnTo>
                    <a:pt x="990" y="552"/>
                  </a:lnTo>
                  <a:lnTo>
                    <a:pt x="1002" y="540"/>
                  </a:lnTo>
                  <a:lnTo>
                    <a:pt x="1026" y="534"/>
                  </a:lnTo>
                  <a:lnTo>
                    <a:pt x="1032" y="540"/>
                  </a:lnTo>
                  <a:lnTo>
                    <a:pt x="1044" y="546"/>
                  </a:lnTo>
                  <a:lnTo>
                    <a:pt x="1062" y="552"/>
                  </a:lnTo>
                  <a:lnTo>
                    <a:pt x="1068" y="552"/>
                  </a:lnTo>
                  <a:lnTo>
                    <a:pt x="1068" y="570"/>
                  </a:lnTo>
                  <a:lnTo>
                    <a:pt x="1068" y="576"/>
                  </a:lnTo>
                  <a:lnTo>
                    <a:pt x="1068" y="582"/>
                  </a:lnTo>
                  <a:lnTo>
                    <a:pt x="1068" y="588"/>
                  </a:lnTo>
                  <a:lnTo>
                    <a:pt x="1068" y="594"/>
                  </a:lnTo>
                  <a:lnTo>
                    <a:pt x="1080" y="600"/>
                  </a:lnTo>
                  <a:lnTo>
                    <a:pt x="1086" y="606"/>
                  </a:lnTo>
                  <a:lnTo>
                    <a:pt x="1092" y="594"/>
                  </a:lnTo>
                  <a:lnTo>
                    <a:pt x="1104" y="588"/>
                  </a:lnTo>
                  <a:lnTo>
                    <a:pt x="1116" y="588"/>
                  </a:lnTo>
                  <a:lnTo>
                    <a:pt x="1122" y="588"/>
                  </a:lnTo>
                  <a:lnTo>
                    <a:pt x="1122" y="594"/>
                  </a:lnTo>
                  <a:lnTo>
                    <a:pt x="1128" y="594"/>
                  </a:lnTo>
                  <a:lnTo>
                    <a:pt x="1134" y="594"/>
                  </a:lnTo>
                  <a:lnTo>
                    <a:pt x="1140" y="594"/>
                  </a:lnTo>
                  <a:lnTo>
                    <a:pt x="1146" y="588"/>
                  </a:lnTo>
                  <a:lnTo>
                    <a:pt x="1158" y="582"/>
                  </a:lnTo>
                  <a:lnTo>
                    <a:pt x="1164" y="576"/>
                  </a:lnTo>
                  <a:lnTo>
                    <a:pt x="1176" y="576"/>
                  </a:lnTo>
                  <a:lnTo>
                    <a:pt x="1194" y="576"/>
                  </a:lnTo>
                  <a:lnTo>
                    <a:pt x="1218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24" y="594"/>
                  </a:lnTo>
                  <a:lnTo>
                    <a:pt x="1212" y="600"/>
                  </a:lnTo>
                  <a:lnTo>
                    <a:pt x="1206" y="606"/>
                  </a:lnTo>
                  <a:lnTo>
                    <a:pt x="1200" y="606"/>
                  </a:lnTo>
                  <a:lnTo>
                    <a:pt x="1200" y="612"/>
                  </a:lnTo>
                  <a:lnTo>
                    <a:pt x="1194" y="612"/>
                  </a:lnTo>
                  <a:lnTo>
                    <a:pt x="1194" y="618"/>
                  </a:lnTo>
                  <a:lnTo>
                    <a:pt x="1194" y="624"/>
                  </a:lnTo>
                  <a:lnTo>
                    <a:pt x="1194" y="630"/>
                  </a:lnTo>
                  <a:lnTo>
                    <a:pt x="1194" y="648"/>
                  </a:lnTo>
                  <a:lnTo>
                    <a:pt x="1194" y="660"/>
                  </a:lnTo>
                  <a:lnTo>
                    <a:pt x="1194" y="666"/>
                  </a:lnTo>
                  <a:lnTo>
                    <a:pt x="1194" y="672"/>
                  </a:lnTo>
                  <a:lnTo>
                    <a:pt x="1194" y="678"/>
                  </a:lnTo>
                  <a:lnTo>
                    <a:pt x="1188" y="684"/>
                  </a:lnTo>
                  <a:lnTo>
                    <a:pt x="1188" y="690"/>
                  </a:lnTo>
                  <a:lnTo>
                    <a:pt x="1188" y="696"/>
                  </a:lnTo>
                  <a:lnTo>
                    <a:pt x="1188" y="702"/>
                  </a:lnTo>
                  <a:lnTo>
                    <a:pt x="1188" y="708"/>
                  </a:lnTo>
                  <a:lnTo>
                    <a:pt x="1188" y="714"/>
                  </a:lnTo>
                  <a:lnTo>
                    <a:pt x="1182" y="720"/>
                  </a:lnTo>
                  <a:lnTo>
                    <a:pt x="1170" y="720"/>
                  </a:lnTo>
                  <a:lnTo>
                    <a:pt x="1158" y="726"/>
                  </a:lnTo>
                  <a:lnTo>
                    <a:pt x="1152" y="726"/>
                  </a:lnTo>
                  <a:lnTo>
                    <a:pt x="1152" y="732"/>
                  </a:lnTo>
                  <a:lnTo>
                    <a:pt x="1146" y="738"/>
                  </a:lnTo>
                  <a:lnTo>
                    <a:pt x="1140" y="738"/>
                  </a:lnTo>
                  <a:lnTo>
                    <a:pt x="1140" y="744"/>
                  </a:lnTo>
                  <a:lnTo>
                    <a:pt x="1134" y="744"/>
                  </a:lnTo>
                  <a:lnTo>
                    <a:pt x="1128" y="744"/>
                  </a:lnTo>
                  <a:lnTo>
                    <a:pt x="1122" y="750"/>
                  </a:lnTo>
                  <a:lnTo>
                    <a:pt x="1128" y="750"/>
                  </a:lnTo>
                  <a:lnTo>
                    <a:pt x="1122" y="756"/>
                  </a:lnTo>
                  <a:lnTo>
                    <a:pt x="1116" y="756"/>
                  </a:lnTo>
                  <a:lnTo>
                    <a:pt x="1110" y="762"/>
                  </a:lnTo>
                  <a:lnTo>
                    <a:pt x="1104" y="762"/>
                  </a:lnTo>
                  <a:lnTo>
                    <a:pt x="1104" y="768"/>
                  </a:lnTo>
                  <a:lnTo>
                    <a:pt x="1098" y="768"/>
                  </a:lnTo>
                  <a:lnTo>
                    <a:pt x="1098" y="774"/>
                  </a:lnTo>
                  <a:lnTo>
                    <a:pt x="1092" y="774"/>
                  </a:lnTo>
                  <a:lnTo>
                    <a:pt x="1092" y="780"/>
                  </a:lnTo>
                  <a:lnTo>
                    <a:pt x="1086" y="780"/>
                  </a:lnTo>
                  <a:lnTo>
                    <a:pt x="1086" y="786"/>
                  </a:lnTo>
                  <a:lnTo>
                    <a:pt x="1080" y="786"/>
                  </a:lnTo>
                  <a:lnTo>
                    <a:pt x="1080" y="792"/>
                  </a:lnTo>
                  <a:lnTo>
                    <a:pt x="1080" y="798"/>
                  </a:lnTo>
                  <a:lnTo>
                    <a:pt x="1080" y="804"/>
                  </a:lnTo>
                  <a:lnTo>
                    <a:pt x="1086" y="810"/>
                  </a:lnTo>
                  <a:lnTo>
                    <a:pt x="1080" y="816"/>
                  </a:lnTo>
                  <a:lnTo>
                    <a:pt x="1080" y="822"/>
                  </a:lnTo>
                  <a:lnTo>
                    <a:pt x="1074" y="822"/>
                  </a:lnTo>
                  <a:lnTo>
                    <a:pt x="1068" y="828"/>
                  </a:lnTo>
                  <a:lnTo>
                    <a:pt x="1074" y="828"/>
                  </a:lnTo>
                  <a:lnTo>
                    <a:pt x="1074" y="834"/>
                  </a:lnTo>
                  <a:lnTo>
                    <a:pt x="1080" y="846"/>
                  </a:lnTo>
                  <a:lnTo>
                    <a:pt x="1086" y="846"/>
                  </a:lnTo>
                  <a:lnTo>
                    <a:pt x="1092" y="852"/>
                  </a:lnTo>
                  <a:lnTo>
                    <a:pt x="1092" y="858"/>
                  </a:lnTo>
                  <a:lnTo>
                    <a:pt x="1098" y="858"/>
                  </a:lnTo>
                  <a:lnTo>
                    <a:pt x="1110" y="864"/>
                  </a:lnTo>
                  <a:lnTo>
                    <a:pt x="1116" y="864"/>
                  </a:lnTo>
                  <a:lnTo>
                    <a:pt x="1122" y="864"/>
                  </a:lnTo>
                  <a:lnTo>
                    <a:pt x="1128" y="864"/>
                  </a:lnTo>
                  <a:lnTo>
                    <a:pt x="1134" y="876"/>
                  </a:lnTo>
                  <a:lnTo>
                    <a:pt x="1140" y="882"/>
                  </a:lnTo>
                  <a:lnTo>
                    <a:pt x="1140" y="888"/>
                  </a:lnTo>
                  <a:lnTo>
                    <a:pt x="1152" y="918"/>
                  </a:lnTo>
                  <a:lnTo>
                    <a:pt x="1158" y="894"/>
                  </a:lnTo>
                  <a:lnTo>
                    <a:pt x="1164" y="888"/>
                  </a:lnTo>
                  <a:lnTo>
                    <a:pt x="1164" y="882"/>
                  </a:lnTo>
                  <a:lnTo>
                    <a:pt x="1176" y="864"/>
                  </a:lnTo>
                  <a:lnTo>
                    <a:pt x="1182" y="858"/>
                  </a:lnTo>
                  <a:lnTo>
                    <a:pt x="1188" y="846"/>
                  </a:lnTo>
                  <a:lnTo>
                    <a:pt x="1200" y="840"/>
                  </a:lnTo>
                  <a:lnTo>
                    <a:pt x="1212" y="840"/>
                  </a:lnTo>
                  <a:lnTo>
                    <a:pt x="1218" y="846"/>
                  </a:lnTo>
                  <a:lnTo>
                    <a:pt x="1224" y="858"/>
                  </a:lnTo>
                  <a:lnTo>
                    <a:pt x="1224" y="864"/>
                  </a:lnTo>
                  <a:lnTo>
                    <a:pt x="1224" y="876"/>
                  </a:lnTo>
                  <a:lnTo>
                    <a:pt x="1212" y="912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00" y="930"/>
                  </a:lnTo>
                  <a:lnTo>
                    <a:pt x="1200" y="942"/>
                  </a:lnTo>
                  <a:lnTo>
                    <a:pt x="1194" y="948"/>
                  </a:lnTo>
                  <a:lnTo>
                    <a:pt x="1194" y="960"/>
                  </a:lnTo>
                  <a:lnTo>
                    <a:pt x="1194" y="966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70" y="984"/>
                  </a:lnTo>
                  <a:lnTo>
                    <a:pt x="1164" y="984"/>
                  </a:lnTo>
                  <a:lnTo>
                    <a:pt x="1158" y="984"/>
                  </a:lnTo>
                  <a:lnTo>
                    <a:pt x="1146" y="984"/>
                  </a:lnTo>
                  <a:lnTo>
                    <a:pt x="1140" y="990"/>
                  </a:lnTo>
                  <a:lnTo>
                    <a:pt x="1140" y="996"/>
                  </a:lnTo>
                  <a:lnTo>
                    <a:pt x="1152" y="996"/>
                  </a:lnTo>
                  <a:lnTo>
                    <a:pt x="1176" y="1002"/>
                  </a:lnTo>
                  <a:lnTo>
                    <a:pt x="1194" y="1008"/>
                  </a:lnTo>
                  <a:lnTo>
                    <a:pt x="1206" y="1008"/>
                  </a:lnTo>
                  <a:lnTo>
                    <a:pt x="1218" y="1014"/>
                  </a:lnTo>
                  <a:lnTo>
                    <a:pt x="1212" y="1038"/>
                  </a:lnTo>
                  <a:lnTo>
                    <a:pt x="1212" y="1044"/>
                  </a:lnTo>
                  <a:lnTo>
                    <a:pt x="1206" y="1044"/>
                  </a:lnTo>
                  <a:lnTo>
                    <a:pt x="1206" y="1050"/>
                  </a:lnTo>
                  <a:lnTo>
                    <a:pt x="1194" y="1050"/>
                  </a:lnTo>
                  <a:lnTo>
                    <a:pt x="1188" y="1044"/>
                  </a:lnTo>
                  <a:lnTo>
                    <a:pt x="1158" y="1020"/>
                  </a:lnTo>
                  <a:lnTo>
                    <a:pt x="1152" y="1020"/>
                  </a:lnTo>
                  <a:lnTo>
                    <a:pt x="1140" y="1020"/>
                  </a:lnTo>
                  <a:lnTo>
                    <a:pt x="1134" y="1020"/>
                  </a:lnTo>
                  <a:lnTo>
                    <a:pt x="1134" y="1026"/>
                  </a:lnTo>
                  <a:lnTo>
                    <a:pt x="1134" y="1032"/>
                  </a:lnTo>
                  <a:lnTo>
                    <a:pt x="1128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2" name="Freeform 27">
              <a:extLst>
                <a:ext uri="{FF2B5EF4-FFF2-40B4-BE49-F238E27FC236}">
                  <a16:creationId xmlns:a16="http://schemas.microsoft.com/office/drawing/2014/main" id="{CE95C9DF-B651-4085-946F-65424BC51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2063" y="3421400"/>
              <a:ext cx="342138" cy="377969"/>
            </a:xfrm>
            <a:custGeom>
              <a:avLst/>
              <a:gdLst>
                <a:gd name="T0" fmla="*/ 43 w 642"/>
                <a:gd name="T1" fmla="*/ 41 h 708"/>
                <a:gd name="T2" fmla="*/ 39 w 642"/>
                <a:gd name="T3" fmla="*/ 41 h 708"/>
                <a:gd name="T4" fmla="*/ 38 w 642"/>
                <a:gd name="T5" fmla="*/ 47 h 708"/>
                <a:gd name="T6" fmla="*/ 38 w 642"/>
                <a:gd name="T7" fmla="*/ 49 h 708"/>
                <a:gd name="T8" fmla="*/ 38 w 642"/>
                <a:gd name="T9" fmla="*/ 50 h 708"/>
                <a:gd name="T10" fmla="*/ 36 w 642"/>
                <a:gd name="T11" fmla="*/ 52 h 708"/>
                <a:gd name="T12" fmla="*/ 35 w 642"/>
                <a:gd name="T13" fmla="*/ 53 h 708"/>
                <a:gd name="T14" fmla="*/ 33 w 642"/>
                <a:gd name="T15" fmla="*/ 55 h 708"/>
                <a:gd name="T16" fmla="*/ 32 w 642"/>
                <a:gd name="T17" fmla="*/ 56 h 708"/>
                <a:gd name="T18" fmla="*/ 31 w 642"/>
                <a:gd name="T19" fmla="*/ 59 h 708"/>
                <a:gd name="T20" fmla="*/ 26 w 642"/>
                <a:gd name="T21" fmla="*/ 59 h 708"/>
                <a:gd name="T22" fmla="*/ 23 w 642"/>
                <a:gd name="T23" fmla="*/ 61 h 708"/>
                <a:gd name="T24" fmla="*/ 20 w 642"/>
                <a:gd name="T25" fmla="*/ 61 h 708"/>
                <a:gd name="T26" fmla="*/ 17 w 642"/>
                <a:gd name="T27" fmla="*/ 59 h 708"/>
                <a:gd name="T28" fmla="*/ 15 w 642"/>
                <a:gd name="T29" fmla="*/ 56 h 708"/>
                <a:gd name="T30" fmla="*/ 9 w 642"/>
                <a:gd name="T31" fmla="*/ 58 h 708"/>
                <a:gd name="T32" fmla="*/ 6 w 642"/>
                <a:gd name="T33" fmla="*/ 52 h 708"/>
                <a:gd name="T34" fmla="*/ 2 w 642"/>
                <a:gd name="T35" fmla="*/ 53 h 708"/>
                <a:gd name="T36" fmla="*/ 1 w 642"/>
                <a:gd name="T37" fmla="*/ 51 h 708"/>
                <a:gd name="T38" fmla="*/ 4 w 642"/>
                <a:gd name="T39" fmla="*/ 47 h 708"/>
                <a:gd name="T40" fmla="*/ 5 w 642"/>
                <a:gd name="T41" fmla="*/ 41 h 708"/>
                <a:gd name="T42" fmla="*/ 5 w 642"/>
                <a:gd name="T43" fmla="*/ 38 h 708"/>
                <a:gd name="T44" fmla="*/ 5 w 642"/>
                <a:gd name="T45" fmla="*/ 35 h 708"/>
                <a:gd name="T46" fmla="*/ 6 w 642"/>
                <a:gd name="T47" fmla="*/ 33 h 708"/>
                <a:gd name="T48" fmla="*/ 5 w 642"/>
                <a:gd name="T49" fmla="*/ 29 h 708"/>
                <a:gd name="T50" fmla="*/ 4 w 642"/>
                <a:gd name="T51" fmla="*/ 28 h 708"/>
                <a:gd name="T52" fmla="*/ 1 w 642"/>
                <a:gd name="T53" fmla="*/ 26 h 708"/>
                <a:gd name="T54" fmla="*/ 1 w 642"/>
                <a:gd name="T55" fmla="*/ 24 h 708"/>
                <a:gd name="T56" fmla="*/ 1 w 642"/>
                <a:gd name="T57" fmla="*/ 20 h 708"/>
                <a:gd name="T58" fmla="*/ 1 w 642"/>
                <a:gd name="T59" fmla="*/ 16 h 708"/>
                <a:gd name="T60" fmla="*/ 2 w 642"/>
                <a:gd name="T61" fmla="*/ 14 h 708"/>
                <a:gd name="T62" fmla="*/ 8 w 642"/>
                <a:gd name="T63" fmla="*/ 14 h 708"/>
                <a:gd name="T64" fmla="*/ 9 w 642"/>
                <a:gd name="T65" fmla="*/ 10 h 708"/>
                <a:gd name="T66" fmla="*/ 15 w 642"/>
                <a:gd name="T67" fmla="*/ 9 h 708"/>
                <a:gd name="T68" fmla="*/ 18 w 642"/>
                <a:gd name="T69" fmla="*/ 14 h 708"/>
                <a:gd name="T70" fmla="*/ 20 w 642"/>
                <a:gd name="T71" fmla="*/ 12 h 708"/>
                <a:gd name="T72" fmla="*/ 20 w 642"/>
                <a:gd name="T73" fmla="*/ 11 h 708"/>
                <a:gd name="T74" fmla="*/ 21 w 642"/>
                <a:gd name="T75" fmla="*/ 9 h 708"/>
                <a:gd name="T76" fmla="*/ 24 w 642"/>
                <a:gd name="T77" fmla="*/ 9 h 708"/>
                <a:gd name="T78" fmla="*/ 27 w 642"/>
                <a:gd name="T79" fmla="*/ 8 h 708"/>
                <a:gd name="T80" fmla="*/ 33 w 642"/>
                <a:gd name="T81" fmla="*/ 2 h 708"/>
                <a:gd name="T82" fmla="*/ 42 w 642"/>
                <a:gd name="T83" fmla="*/ 2 h 708"/>
                <a:gd name="T84" fmla="*/ 49 w 642"/>
                <a:gd name="T85" fmla="*/ 1 h 708"/>
                <a:gd name="T86" fmla="*/ 53 w 642"/>
                <a:gd name="T87" fmla="*/ 4 h 708"/>
                <a:gd name="T88" fmla="*/ 55 w 642"/>
                <a:gd name="T89" fmla="*/ 4 h 708"/>
                <a:gd name="T90" fmla="*/ 55 w 642"/>
                <a:gd name="T91" fmla="*/ 7 h 708"/>
                <a:gd name="T92" fmla="*/ 52 w 642"/>
                <a:gd name="T93" fmla="*/ 9 h 708"/>
                <a:gd name="T94" fmla="*/ 49 w 642"/>
                <a:gd name="T95" fmla="*/ 12 h 708"/>
                <a:gd name="T96" fmla="*/ 47 w 642"/>
                <a:gd name="T97" fmla="*/ 14 h 708"/>
                <a:gd name="T98" fmla="*/ 47 w 642"/>
                <a:gd name="T99" fmla="*/ 17 h 708"/>
                <a:gd name="T100" fmla="*/ 45 w 642"/>
                <a:gd name="T101" fmla="*/ 26 h 708"/>
                <a:gd name="T102" fmla="*/ 50 w 642"/>
                <a:gd name="T103" fmla="*/ 37 h 70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42"/>
                <a:gd name="T157" fmla="*/ 0 h 708"/>
                <a:gd name="T158" fmla="*/ 642 w 642"/>
                <a:gd name="T159" fmla="*/ 708 h 70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42" h="708">
                  <a:moveTo>
                    <a:pt x="576" y="468"/>
                  </a:moveTo>
                  <a:lnTo>
                    <a:pt x="564" y="468"/>
                  </a:lnTo>
                  <a:lnTo>
                    <a:pt x="516" y="468"/>
                  </a:lnTo>
                  <a:lnTo>
                    <a:pt x="498" y="474"/>
                  </a:lnTo>
                  <a:lnTo>
                    <a:pt x="492" y="468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68" y="474"/>
                  </a:lnTo>
                  <a:lnTo>
                    <a:pt x="456" y="468"/>
                  </a:lnTo>
                  <a:lnTo>
                    <a:pt x="444" y="474"/>
                  </a:lnTo>
                  <a:lnTo>
                    <a:pt x="438" y="492"/>
                  </a:lnTo>
                  <a:lnTo>
                    <a:pt x="438" y="504"/>
                  </a:lnTo>
                  <a:lnTo>
                    <a:pt x="432" y="516"/>
                  </a:lnTo>
                  <a:lnTo>
                    <a:pt x="432" y="528"/>
                  </a:lnTo>
                  <a:lnTo>
                    <a:pt x="432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52"/>
                  </a:lnTo>
                  <a:lnTo>
                    <a:pt x="432" y="558"/>
                  </a:lnTo>
                  <a:lnTo>
                    <a:pt x="438" y="564"/>
                  </a:lnTo>
                  <a:lnTo>
                    <a:pt x="444" y="564"/>
                  </a:lnTo>
                  <a:lnTo>
                    <a:pt x="438" y="564"/>
                  </a:lnTo>
                  <a:lnTo>
                    <a:pt x="438" y="570"/>
                  </a:lnTo>
                  <a:lnTo>
                    <a:pt x="432" y="570"/>
                  </a:lnTo>
                  <a:lnTo>
                    <a:pt x="432" y="576"/>
                  </a:lnTo>
                  <a:lnTo>
                    <a:pt x="426" y="588"/>
                  </a:lnTo>
                  <a:lnTo>
                    <a:pt x="420" y="594"/>
                  </a:lnTo>
                  <a:lnTo>
                    <a:pt x="420" y="600"/>
                  </a:lnTo>
                  <a:lnTo>
                    <a:pt x="414" y="600"/>
                  </a:lnTo>
                  <a:lnTo>
                    <a:pt x="414" y="606"/>
                  </a:lnTo>
                  <a:lnTo>
                    <a:pt x="408" y="606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396" y="612"/>
                  </a:lnTo>
                  <a:lnTo>
                    <a:pt x="390" y="612"/>
                  </a:lnTo>
                  <a:lnTo>
                    <a:pt x="390" y="618"/>
                  </a:lnTo>
                  <a:lnTo>
                    <a:pt x="384" y="618"/>
                  </a:lnTo>
                  <a:lnTo>
                    <a:pt x="378" y="618"/>
                  </a:lnTo>
                  <a:lnTo>
                    <a:pt x="378" y="624"/>
                  </a:lnTo>
                  <a:lnTo>
                    <a:pt x="384" y="630"/>
                  </a:lnTo>
                  <a:lnTo>
                    <a:pt x="384" y="636"/>
                  </a:lnTo>
                  <a:lnTo>
                    <a:pt x="378" y="630"/>
                  </a:lnTo>
                  <a:lnTo>
                    <a:pt x="372" y="636"/>
                  </a:lnTo>
                  <a:lnTo>
                    <a:pt x="372" y="642"/>
                  </a:lnTo>
                  <a:lnTo>
                    <a:pt x="366" y="642"/>
                  </a:lnTo>
                  <a:lnTo>
                    <a:pt x="360" y="654"/>
                  </a:lnTo>
                  <a:lnTo>
                    <a:pt x="354" y="666"/>
                  </a:lnTo>
                  <a:lnTo>
                    <a:pt x="354" y="672"/>
                  </a:lnTo>
                  <a:lnTo>
                    <a:pt x="354" y="678"/>
                  </a:lnTo>
                  <a:lnTo>
                    <a:pt x="354" y="684"/>
                  </a:lnTo>
                  <a:lnTo>
                    <a:pt x="348" y="678"/>
                  </a:lnTo>
                  <a:lnTo>
                    <a:pt x="324" y="678"/>
                  </a:lnTo>
                  <a:lnTo>
                    <a:pt x="306" y="678"/>
                  </a:lnTo>
                  <a:lnTo>
                    <a:pt x="294" y="678"/>
                  </a:lnTo>
                  <a:lnTo>
                    <a:pt x="288" y="684"/>
                  </a:lnTo>
                  <a:lnTo>
                    <a:pt x="276" y="690"/>
                  </a:lnTo>
                  <a:lnTo>
                    <a:pt x="270" y="696"/>
                  </a:lnTo>
                  <a:lnTo>
                    <a:pt x="264" y="696"/>
                  </a:lnTo>
                  <a:lnTo>
                    <a:pt x="258" y="696"/>
                  </a:lnTo>
                  <a:lnTo>
                    <a:pt x="252" y="696"/>
                  </a:lnTo>
                  <a:lnTo>
                    <a:pt x="252" y="690"/>
                  </a:lnTo>
                  <a:lnTo>
                    <a:pt x="246" y="690"/>
                  </a:lnTo>
                  <a:lnTo>
                    <a:pt x="234" y="690"/>
                  </a:lnTo>
                  <a:lnTo>
                    <a:pt x="222" y="696"/>
                  </a:lnTo>
                  <a:lnTo>
                    <a:pt x="216" y="708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8" y="690"/>
                  </a:lnTo>
                  <a:lnTo>
                    <a:pt x="198" y="684"/>
                  </a:lnTo>
                  <a:lnTo>
                    <a:pt x="198" y="678"/>
                  </a:lnTo>
                  <a:lnTo>
                    <a:pt x="198" y="672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74" y="648"/>
                  </a:lnTo>
                  <a:lnTo>
                    <a:pt x="162" y="642"/>
                  </a:lnTo>
                  <a:lnTo>
                    <a:pt x="156" y="636"/>
                  </a:lnTo>
                  <a:lnTo>
                    <a:pt x="132" y="642"/>
                  </a:lnTo>
                  <a:lnTo>
                    <a:pt x="120" y="654"/>
                  </a:lnTo>
                  <a:lnTo>
                    <a:pt x="108" y="660"/>
                  </a:lnTo>
                  <a:lnTo>
                    <a:pt x="102" y="666"/>
                  </a:lnTo>
                  <a:lnTo>
                    <a:pt x="84" y="666"/>
                  </a:lnTo>
                  <a:lnTo>
                    <a:pt x="84" y="630"/>
                  </a:lnTo>
                  <a:lnTo>
                    <a:pt x="78" y="594"/>
                  </a:lnTo>
                  <a:lnTo>
                    <a:pt x="66" y="594"/>
                  </a:lnTo>
                  <a:lnTo>
                    <a:pt x="60" y="594"/>
                  </a:lnTo>
                  <a:lnTo>
                    <a:pt x="48" y="600"/>
                  </a:lnTo>
                  <a:lnTo>
                    <a:pt x="36" y="606"/>
                  </a:lnTo>
                  <a:lnTo>
                    <a:pt x="24" y="612"/>
                  </a:lnTo>
                  <a:lnTo>
                    <a:pt x="18" y="612"/>
                  </a:lnTo>
                  <a:lnTo>
                    <a:pt x="12" y="606"/>
                  </a:lnTo>
                  <a:lnTo>
                    <a:pt x="12" y="600"/>
                  </a:lnTo>
                  <a:lnTo>
                    <a:pt x="12" y="594"/>
                  </a:lnTo>
                  <a:lnTo>
                    <a:pt x="12" y="588"/>
                  </a:lnTo>
                  <a:lnTo>
                    <a:pt x="12" y="582"/>
                  </a:lnTo>
                  <a:lnTo>
                    <a:pt x="12" y="576"/>
                  </a:lnTo>
                  <a:lnTo>
                    <a:pt x="18" y="552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42" y="534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48" y="492"/>
                  </a:lnTo>
                  <a:lnTo>
                    <a:pt x="48" y="480"/>
                  </a:lnTo>
                  <a:lnTo>
                    <a:pt x="54" y="468"/>
                  </a:lnTo>
                  <a:lnTo>
                    <a:pt x="48" y="456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66" y="390"/>
                  </a:lnTo>
                  <a:lnTo>
                    <a:pt x="72" y="384"/>
                  </a:lnTo>
                  <a:lnTo>
                    <a:pt x="72" y="378"/>
                  </a:lnTo>
                  <a:lnTo>
                    <a:pt x="66" y="378"/>
                  </a:lnTo>
                  <a:lnTo>
                    <a:pt x="66" y="366"/>
                  </a:lnTo>
                  <a:lnTo>
                    <a:pt x="60" y="360"/>
                  </a:lnTo>
                  <a:lnTo>
                    <a:pt x="66" y="354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48" y="312"/>
                  </a:lnTo>
                  <a:lnTo>
                    <a:pt x="30" y="312"/>
                  </a:lnTo>
                  <a:lnTo>
                    <a:pt x="24" y="306"/>
                  </a:lnTo>
                  <a:lnTo>
                    <a:pt x="18" y="306"/>
                  </a:lnTo>
                  <a:lnTo>
                    <a:pt x="12" y="294"/>
                  </a:lnTo>
                  <a:lnTo>
                    <a:pt x="12" y="282"/>
                  </a:lnTo>
                  <a:lnTo>
                    <a:pt x="6" y="276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12" y="270"/>
                  </a:lnTo>
                  <a:lnTo>
                    <a:pt x="12" y="246"/>
                  </a:lnTo>
                  <a:lnTo>
                    <a:pt x="12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8" y="174"/>
                  </a:lnTo>
                  <a:lnTo>
                    <a:pt x="12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48" y="162"/>
                  </a:lnTo>
                  <a:lnTo>
                    <a:pt x="72" y="162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84" y="132"/>
                  </a:lnTo>
                  <a:lnTo>
                    <a:pt x="90" y="120"/>
                  </a:lnTo>
                  <a:lnTo>
                    <a:pt x="108" y="114"/>
                  </a:lnTo>
                  <a:lnTo>
                    <a:pt x="114" y="102"/>
                  </a:lnTo>
                  <a:lnTo>
                    <a:pt x="120" y="90"/>
                  </a:lnTo>
                  <a:lnTo>
                    <a:pt x="138" y="90"/>
                  </a:lnTo>
                  <a:lnTo>
                    <a:pt x="138" y="102"/>
                  </a:lnTo>
                  <a:lnTo>
                    <a:pt x="168" y="108"/>
                  </a:lnTo>
                  <a:lnTo>
                    <a:pt x="168" y="114"/>
                  </a:lnTo>
                  <a:lnTo>
                    <a:pt x="174" y="126"/>
                  </a:lnTo>
                  <a:lnTo>
                    <a:pt x="186" y="150"/>
                  </a:lnTo>
                  <a:lnTo>
                    <a:pt x="186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34" y="144"/>
                  </a:lnTo>
                  <a:lnTo>
                    <a:pt x="240" y="138"/>
                  </a:lnTo>
                  <a:lnTo>
                    <a:pt x="240" y="126"/>
                  </a:lnTo>
                  <a:lnTo>
                    <a:pt x="234" y="126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34" y="102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82" y="102"/>
                  </a:lnTo>
                  <a:lnTo>
                    <a:pt x="288" y="102"/>
                  </a:lnTo>
                  <a:lnTo>
                    <a:pt x="294" y="102"/>
                  </a:lnTo>
                  <a:lnTo>
                    <a:pt x="300" y="96"/>
                  </a:lnTo>
                  <a:lnTo>
                    <a:pt x="306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84"/>
                  </a:lnTo>
                  <a:lnTo>
                    <a:pt x="324" y="18"/>
                  </a:lnTo>
                  <a:lnTo>
                    <a:pt x="360" y="18"/>
                  </a:lnTo>
                  <a:lnTo>
                    <a:pt x="378" y="18"/>
                  </a:lnTo>
                  <a:lnTo>
                    <a:pt x="378" y="30"/>
                  </a:lnTo>
                  <a:lnTo>
                    <a:pt x="390" y="30"/>
                  </a:lnTo>
                  <a:lnTo>
                    <a:pt x="432" y="30"/>
                  </a:lnTo>
                  <a:lnTo>
                    <a:pt x="456" y="24"/>
                  </a:lnTo>
                  <a:lnTo>
                    <a:pt x="480" y="24"/>
                  </a:lnTo>
                  <a:lnTo>
                    <a:pt x="498" y="30"/>
                  </a:lnTo>
                  <a:lnTo>
                    <a:pt x="522" y="18"/>
                  </a:lnTo>
                  <a:lnTo>
                    <a:pt x="528" y="0"/>
                  </a:lnTo>
                  <a:lnTo>
                    <a:pt x="558" y="6"/>
                  </a:lnTo>
                  <a:lnTo>
                    <a:pt x="558" y="12"/>
                  </a:lnTo>
                  <a:lnTo>
                    <a:pt x="570" y="18"/>
                  </a:lnTo>
                  <a:lnTo>
                    <a:pt x="576" y="24"/>
                  </a:lnTo>
                  <a:lnTo>
                    <a:pt x="588" y="36"/>
                  </a:lnTo>
                  <a:lnTo>
                    <a:pt x="594" y="48"/>
                  </a:lnTo>
                  <a:lnTo>
                    <a:pt x="606" y="48"/>
                  </a:lnTo>
                  <a:lnTo>
                    <a:pt x="606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42"/>
                  </a:lnTo>
                  <a:lnTo>
                    <a:pt x="636" y="42"/>
                  </a:lnTo>
                  <a:lnTo>
                    <a:pt x="636" y="48"/>
                  </a:lnTo>
                  <a:lnTo>
                    <a:pt x="642" y="54"/>
                  </a:lnTo>
                  <a:lnTo>
                    <a:pt x="636" y="60"/>
                  </a:lnTo>
                  <a:lnTo>
                    <a:pt x="636" y="66"/>
                  </a:lnTo>
                  <a:lnTo>
                    <a:pt x="636" y="78"/>
                  </a:lnTo>
                  <a:lnTo>
                    <a:pt x="624" y="84"/>
                  </a:lnTo>
                  <a:lnTo>
                    <a:pt x="618" y="90"/>
                  </a:lnTo>
                  <a:lnTo>
                    <a:pt x="612" y="90"/>
                  </a:lnTo>
                  <a:lnTo>
                    <a:pt x="600" y="102"/>
                  </a:lnTo>
                  <a:lnTo>
                    <a:pt x="594" y="108"/>
                  </a:lnTo>
                  <a:lnTo>
                    <a:pt x="582" y="114"/>
                  </a:lnTo>
                  <a:lnTo>
                    <a:pt x="570" y="132"/>
                  </a:lnTo>
                  <a:lnTo>
                    <a:pt x="564" y="132"/>
                  </a:lnTo>
                  <a:lnTo>
                    <a:pt x="564" y="138"/>
                  </a:lnTo>
                  <a:lnTo>
                    <a:pt x="558" y="144"/>
                  </a:lnTo>
                  <a:lnTo>
                    <a:pt x="558" y="150"/>
                  </a:lnTo>
                  <a:lnTo>
                    <a:pt x="552" y="150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0" y="162"/>
                  </a:lnTo>
                  <a:lnTo>
                    <a:pt x="534" y="168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6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28" y="234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16" y="294"/>
                  </a:lnTo>
                  <a:lnTo>
                    <a:pt x="516" y="312"/>
                  </a:lnTo>
                  <a:lnTo>
                    <a:pt x="528" y="318"/>
                  </a:lnTo>
                  <a:lnTo>
                    <a:pt x="540" y="360"/>
                  </a:lnTo>
                  <a:lnTo>
                    <a:pt x="558" y="408"/>
                  </a:lnTo>
                  <a:lnTo>
                    <a:pt x="570" y="426"/>
                  </a:lnTo>
                  <a:lnTo>
                    <a:pt x="576" y="432"/>
                  </a:lnTo>
                  <a:lnTo>
                    <a:pt x="576" y="438"/>
                  </a:lnTo>
                  <a:lnTo>
                    <a:pt x="576" y="444"/>
                  </a:lnTo>
                  <a:lnTo>
                    <a:pt x="576" y="46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3" name="Freeform 28">
              <a:extLst>
                <a:ext uri="{FF2B5EF4-FFF2-40B4-BE49-F238E27FC236}">
                  <a16:creationId xmlns:a16="http://schemas.microsoft.com/office/drawing/2014/main" id="{CF9B4F31-BF73-448E-83AA-188F6CF1BDC5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4879" y="3432583"/>
              <a:ext cx="324248" cy="270616"/>
            </a:xfrm>
            <a:custGeom>
              <a:avLst/>
              <a:gdLst>
                <a:gd name="T0" fmla="*/ 5 w 606"/>
                <a:gd name="T1" fmla="*/ 36 h 510"/>
                <a:gd name="T2" fmla="*/ 4 w 606"/>
                <a:gd name="T3" fmla="*/ 34 h 510"/>
                <a:gd name="T4" fmla="*/ 0 w 606"/>
                <a:gd name="T5" fmla="*/ 25 h 510"/>
                <a:gd name="T6" fmla="*/ 1 w 606"/>
                <a:gd name="T7" fmla="*/ 20 h 510"/>
                <a:gd name="T8" fmla="*/ 2 w 606"/>
                <a:gd name="T9" fmla="*/ 15 h 510"/>
                <a:gd name="T10" fmla="*/ 2 w 606"/>
                <a:gd name="T11" fmla="*/ 13 h 510"/>
                <a:gd name="T12" fmla="*/ 3 w 606"/>
                <a:gd name="T13" fmla="*/ 12 h 510"/>
                <a:gd name="T14" fmla="*/ 4 w 606"/>
                <a:gd name="T15" fmla="*/ 11 h 510"/>
                <a:gd name="T16" fmla="*/ 4 w 606"/>
                <a:gd name="T17" fmla="*/ 10 h 510"/>
                <a:gd name="T18" fmla="*/ 7 w 606"/>
                <a:gd name="T19" fmla="*/ 8 h 510"/>
                <a:gd name="T20" fmla="*/ 9 w 606"/>
                <a:gd name="T21" fmla="*/ 6 h 510"/>
                <a:gd name="T22" fmla="*/ 11 w 606"/>
                <a:gd name="T23" fmla="*/ 4 h 510"/>
                <a:gd name="T24" fmla="*/ 12 w 606"/>
                <a:gd name="T25" fmla="*/ 3 h 510"/>
                <a:gd name="T26" fmla="*/ 13 w 606"/>
                <a:gd name="T27" fmla="*/ 4 h 510"/>
                <a:gd name="T28" fmla="*/ 15 w 606"/>
                <a:gd name="T29" fmla="*/ 2 h 510"/>
                <a:gd name="T30" fmla="*/ 17 w 606"/>
                <a:gd name="T31" fmla="*/ 2 h 510"/>
                <a:gd name="T32" fmla="*/ 19 w 606"/>
                <a:gd name="T33" fmla="*/ 5 h 510"/>
                <a:gd name="T34" fmla="*/ 22 w 606"/>
                <a:gd name="T35" fmla="*/ 5 h 510"/>
                <a:gd name="T36" fmla="*/ 25 w 606"/>
                <a:gd name="T37" fmla="*/ 6 h 510"/>
                <a:gd name="T38" fmla="*/ 29 w 606"/>
                <a:gd name="T39" fmla="*/ 1 h 510"/>
                <a:gd name="T40" fmla="*/ 38 w 606"/>
                <a:gd name="T41" fmla="*/ 0 h 510"/>
                <a:gd name="T42" fmla="*/ 38 w 606"/>
                <a:gd name="T43" fmla="*/ 5 h 510"/>
                <a:gd name="T44" fmla="*/ 41 w 606"/>
                <a:gd name="T45" fmla="*/ 4 h 510"/>
                <a:gd name="T46" fmla="*/ 45 w 606"/>
                <a:gd name="T47" fmla="*/ 2 h 510"/>
                <a:gd name="T48" fmla="*/ 46 w 606"/>
                <a:gd name="T49" fmla="*/ 2 h 510"/>
                <a:gd name="T50" fmla="*/ 47 w 606"/>
                <a:gd name="T51" fmla="*/ 5 h 510"/>
                <a:gd name="T52" fmla="*/ 45 w 606"/>
                <a:gd name="T53" fmla="*/ 6 h 510"/>
                <a:gd name="T54" fmla="*/ 45 w 606"/>
                <a:gd name="T55" fmla="*/ 7 h 510"/>
                <a:gd name="T56" fmla="*/ 43 w 606"/>
                <a:gd name="T57" fmla="*/ 8 h 510"/>
                <a:gd name="T58" fmla="*/ 45 w 606"/>
                <a:gd name="T59" fmla="*/ 15 h 510"/>
                <a:gd name="T60" fmla="*/ 49 w 606"/>
                <a:gd name="T61" fmla="*/ 15 h 510"/>
                <a:gd name="T62" fmla="*/ 51 w 606"/>
                <a:gd name="T63" fmla="*/ 15 h 510"/>
                <a:gd name="T64" fmla="*/ 53 w 606"/>
                <a:gd name="T65" fmla="*/ 16 h 510"/>
                <a:gd name="T66" fmla="*/ 52 w 606"/>
                <a:gd name="T67" fmla="*/ 20 h 510"/>
                <a:gd name="T68" fmla="*/ 48 w 606"/>
                <a:gd name="T69" fmla="*/ 23 h 510"/>
                <a:gd name="T70" fmla="*/ 45 w 606"/>
                <a:gd name="T71" fmla="*/ 25 h 510"/>
                <a:gd name="T72" fmla="*/ 44 w 606"/>
                <a:gd name="T73" fmla="*/ 28 h 510"/>
                <a:gd name="T74" fmla="*/ 43 w 606"/>
                <a:gd name="T75" fmla="*/ 33 h 510"/>
                <a:gd name="T76" fmla="*/ 39 w 606"/>
                <a:gd name="T77" fmla="*/ 38 h 510"/>
                <a:gd name="T78" fmla="*/ 37 w 606"/>
                <a:gd name="T79" fmla="*/ 41 h 510"/>
                <a:gd name="T80" fmla="*/ 31 w 606"/>
                <a:gd name="T81" fmla="*/ 44 h 510"/>
                <a:gd name="T82" fmla="*/ 28 w 606"/>
                <a:gd name="T83" fmla="*/ 43 h 510"/>
                <a:gd name="T84" fmla="*/ 28 w 606"/>
                <a:gd name="T85" fmla="*/ 41 h 510"/>
                <a:gd name="T86" fmla="*/ 28 w 606"/>
                <a:gd name="T87" fmla="*/ 40 h 510"/>
                <a:gd name="T88" fmla="*/ 27 w 606"/>
                <a:gd name="T89" fmla="*/ 38 h 510"/>
                <a:gd name="T90" fmla="*/ 27 w 606"/>
                <a:gd name="T91" fmla="*/ 36 h 510"/>
                <a:gd name="T92" fmla="*/ 24 w 606"/>
                <a:gd name="T93" fmla="*/ 35 h 510"/>
                <a:gd name="T94" fmla="*/ 16 w 606"/>
                <a:gd name="T95" fmla="*/ 34 h 510"/>
                <a:gd name="T96" fmla="*/ 13 w 606"/>
                <a:gd name="T97" fmla="*/ 34 h 510"/>
                <a:gd name="T98" fmla="*/ 9 w 606"/>
                <a:gd name="T99" fmla="*/ 36 h 510"/>
                <a:gd name="T100" fmla="*/ 8 w 606"/>
                <a:gd name="T101" fmla="*/ 38 h 510"/>
                <a:gd name="T102" fmla="*/ 7 w 606"/>
                <a:gd name="T103" fmla="*/ 39 h 51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06"/>
                <a:gd name="T157" fmla="*/ 0 h 510"/>
                <a:gd name="T158" fmla="*/ 606 w 606"/>
                <a:gd name="T159" fmla="*/ 510 h 51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06" h="510">
                  <a:moveTo>
                    <a:pt x="60" y="450"/>
                  </a:move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42" y="390"/>
                  </a:lnTo>
                  <a:lnTo>
                    <a:pt x="24" y="342"/>
                  </a:lnTo>
                  <a:lnTo>
                    <a:pt x="12" y="300"/>
                  </a:lnTo>
                  <a:lnTo>
                    <a:pt x="0" y="294"/>
                  </a:lnTo>
                  <a:lnTo>
                    <a:pt x="0" y="276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24" y="192"/>
                  </a:lnTo>
                  <a:lnTo>
                    <a:pt x="24" y="180"/>
                  </a:lnTo>
                  <a:lnTo>
                    <a:pt x="24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6" y="96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108" y="66"/>
                  </a:lnTo>
                  <a:lnTo>
                    <a:pt x="120" y="60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36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62" y="36"/>
                  </a:lnTo>
                  <a:lnTo>
                    <a:pt x="162" y="30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0" y="54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46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76" y="66"/>
                  </a:lnTo>
                  <a:lnTo>
                    <a:pt x="312" y="66"/>
                  </a:lnTo>
                  <a:lnTo>
                    <a:pt x="318" y="60"/>
                  </a:lnTo>
                  <a:lnTo>
                    <a:pt x="330" y="12"/>
                  </a:lnTo>
                  <a:lnTo>
                    <a:pt x="414" y="6"/>
                  </a:lnTo>
                  <a:lnTo>
                    <a:pt x="420" y="0"/>
                  </a:lnTo>
                  <a:lnTo>
                    <a:pt x="426" y="6"/>
                  </a:lnTo>
                  <a:lnTo>
                    <a:pt x="426" y="12"/>
                  </a:lnTo>
                  <a:lnTo>
                    <a:pt x="426" y="54"/>
                  </a:lnTo>
                  <a:lnTo>
                    <a:pt x="432" y="54"/>
                  </a:lnTo>
                  <a:lnTo>
                    <a:pt x="444" y="54"/>
                  </a:lnTo>
                  <a:lnTo>
                    <a:pt x="450" y="42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86" y="24"/>
                  </a:lnTo>
                  <a:lnTo>
                    <a:pt x="504" y="18"/>
                  </a:lnTo>
                  <a:lnTo>
                    <a:pt x="510" y="12"/>
                  </a:lnTo>
                  <a:lnTo>
                    <a:pt x="516" y="18"/>
                  </a:lnTo>
                  <a:lnTo>
                    <a:pt x="522" y="24"/>
                  </a:lnTo>
                  <a:lnTo>
                    <a:pt x="510" y="30"/>
                  </a:lnTo>
                  <a:lnTo>
                    <a:pt x="516" y="48"/>
                  </a:lnTo>
                  <a:lnTo>
                    <a:pt x="528" y="54"/>
                  </a:lnTo>
                  <a:lnTo>
                    <a:pt x="522" y="60"/>
                  </a:lnTo>
                  <a:lnTo>
                    <a:pt x="516" y="66"/>
                  </a:lnTo>
                  <a:lnTo>
                    <a:pt x="516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0" y="84"/>
                  </a:lnTo>
                  <a:lnTo>
                    <a:pt x="510" y="90"/>
                  </a:lnTo>
                  <a:lnTo>
                    <a:pt x="504" y="90"/>
                  </a:lnTo>
                  <a:lnTo>
                    <a:pt x="486" y="90"/>
                  </a:lnTo>
                  <a:lnTo>
                    <a:pt x="492" y="138"/>
                  </a:lnTo>
                  <a:lnTo>
                    <a:pt x="498" y="168"/>
                  </a:lnTo>
                  <a:lnTo>
                    <a:pt x="516" y="168"/>
                  </a:lnTo>
                  <a:lnTo>
                    <a:pt x="528" y="174"/>
                  </a:lnTo>
                  <a:lnTo>
                    <a:pt x="534" y="168"/>
                  </a:lnTo>
                  <a:lnTo>
                    <a:pt x="558" y="174"/>
                  </a:lnTo>
                  <a:lnTo>
                    <a:pt x="564" y="168"/>
                  </a:lnTo>
                  <a:lnTo>
                    <a:pt x="570" y="168"/>
                  </a:lnTo>
                  <a:lnTo>
                    <a:pt x="576" y="174"/>
                  </a:lnTo>
                  <a:lnTo>
                    <a:pt x="588" y="168"/>
                  </a:lnTo>
                  <a:lnTo>
                    <a:pt x="594" y="168"/>
                  </a:lnTo>
                  <a:lnTo>
                    <a:pt x="594" y="186"/>
                  </a:lnTo>
                  <a:lnTo>
                    <a:pt x="606" y="198"/>
                  </a:lnTo>
                  <a:lnTo>
                    <a:pt x="600" y="210"/>
                  </a:lnTo>
                  <a:lnTo>
                    <a:pt x="588" y="234"/>
                  </a:lnTo>
                  <a:lnTo>
                    <a:pt x="564" y="246"/>
                  </a:lnTo>
                  <a:lnTo>
                    <a:pt x="546" y="258"/>
                  </a:lnTo>
                  <a:lnTo>
                    <a:pt x="540" y="270"/>
                  </a:lnTo>
                  <a:lnTo>
                    <a:pt x="534" y="294"/>
                  </a:lnTo>
                  <a:lnTo>
                    <a:pt x="528" y="300"/>
                  </a:lnTo>
                  <a:lnTo>
                    <a:pt x="516" y="294"/>
                  </a:lnTo>
                  <a:lnTo>
                    <a:pt x="510" y="300"/>
                  </a:lnTo>
                  <a:lnTo>
                    <a:pt x="498" y="318"/>
                  </a:lnTo>
                  <a:lnTo>
                    <a:pt x="492" y="324"/>
                  </a:lnTo>
                  <a:lnTo>
                    <a:pt x="486" y="336"/>
                  </a:lnTo>
                  <a:lnTo>
                    <a:pt x="486" y="354"/>
                  </a:lnTo>
                  <a:lnTo>
                    <a:pt x="486" y="384"/>
                  </a:lnTo>
                  <a:lnTo>
                    <a:pt x="474" y="408"/>
                  </a:lnTo>
                  <a:lnTo>
                    <a:pt x="450" y="426"/>
                  </a:lnTo>
                  <a:lnTo>
                    <a:pt x="444" y="444"/>
                  </a:lnTo>
                  <a:lnTo>
                    <a:pt x="426" y="474"/>
                  </a:lnTo>
                  <a:lnTo>
                    <a:pt x="420" y="486"/>
                  </a:lnTo>
                  <a:lnTo>
                    <a:pt x="414" y="486"/>
                  </a:lnTo>
                  <a:lnTo>
                    <a:pt x="414" y="498"/>
                  </a:lnTo>
                  <a:lnTo>
                    <a:pt x="378" y="504"/>
                  </a:lnTo>
                  <a:lnTo>
                    <a:pt x="348" y="510"/>
                  </a:lnTo>
                  <a:lnTo>
                    <a:pt x="330" y="510"/>
                  </a:lnTo>
                  <a:lnTo>
                    <a:pt x="324" y="504"/>
                  </a:lnTo>
                  <a:lnTo>
                    <a:pt x="318" y="504"/>
                  </a:lnTo>
                  <a:lnTo>
                    <a:pt x="312" y="504"/>
                  </a:lnTo>
                  <a:lnTo>
                    <a:pt x="312" y="498"/>
                  </a:lnTo>
                  <a:lnTo>
                    <a:pt x="312" y="486"/>
                  </a:lnTo>
                  <a:lnTo>
                    <a:pt x="312" y="480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56"/>
                  </a:lnTo>
                  <a:lnTo>
                    <a:pt x="312" y="450"/>
                  </a:lnTo>
                  <a:lnTo>
                    <a:pt x="306" y="444"/>
                  </a:lnTo>
                  <a:lnTo>
                    <a:pt x="306" y="438"/>
                  </a:lnTo>
                  <a:lnTo>
                    <a:pt x="300" y="426"/>
                  </a:lnTo>
                  <a:lnTo>
                    <a:pt x="300" y="420"/>
                  </a:lnTo>
                  <a:lnTo>
                    <a:pt x="294" y="414"/>
                  </a:lnTo>
                  <a:lnTo>
                    <a:pt x="294" y="408"/>
                  </a:lnTo>
                  <a:lnTo>
                    <a:pt x="270" y="408"/>
                  </a:lnTo>
                  <a:lnTo>
                    <a:pt x="246" y="408"/>
                  </a:lnTo>
                  <a:lnTo>
                    <a:pt x="222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56" y="402"/>
                  </a:lnTo>
                  <a:lnTo>
                    <a:pt x="144" y="396"/>
                  </a:lnTo>
                  <a:lnTo>
                    <a:pt x="126" y="396"/>
                  </a:lnTo>
                  <a:lnTo>
                    <a:pt x="108" y="408"/>
                  </a:lnTo>
                  <a:lnTo>
                    <a:pt x="102" y="414"/>
                  </a:lnTo>
                  <a:lnTo>
                    <a:pt x="102" y="420"/>
                  </a:lnTo>
                  <a:lnTo>
                    <a:pt x="96" y="426"/>
                  </a:lnTo>
                  <a:lnTo>
                    <a:pt x="96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78" y="450"/>
                  </a:lnTo>
                  <a:lnTo>
                    <a:pt x="60" y="45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4" name="Freeform 29">
              <a:extLst>
                <a:ext uri="{FF2B5EF4-FFF2-40B4-BE49-F238E27FC236}">
                  <a16:creationId xmlns:a16="http://schemas.microsoft.com/office/drawing/2014/main" id="{B6AC2B96-1504-4082-8778-17130FDA021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401" y="3537698"/>
              <a:ext cx="559048" cy="641876"/>
            </a:xfrm>
            <a:custGeom>
              <a:avLst/>
              <a:gdLst>
                <a:gd name="T0" fmla="*/ 39 w 1056"/>
                <a:gd name="T1" fmla="*/ 94 h 1206"/>
                <a:gd name="T2" fmla="*/ 35 w 1056"/>
                <a:gd name="T3" fmla="*/ 103 h 1206"/>
                <a:gd name="T4" fmla="*/ 29 w 1056"/>
                <a:gd name="T5" fmla="*/ 99 h 1206"/>
                <a:gd name="T6" fmla="*/ 23 w 1056"/>
                <a:gd name="T7" fmla="*/ 94 h 1206"/>
                <a:gd name="T8" fmla="*/ 21 w 1056"/>
                <a:gd name="T9" fmla="*/ 91 h 1206"/>
                <a:gd name="T10" fmla="*/ 18 w 1056"/>
                <a:gd name="T11" fmla="*/ 89 h 1206"/>
                <a:gd name="T12" fmla="*/ 15 w 1056"/>
                <a:gd name="T13" fmla="*/ 86 h 1206"/>
                <a:gd name="T14" fmla="*/ 11 w 1056"/>
                <a:gd name="T15" fmla="*/ 83 h 1206"/>
                <a:gd name="T16" fmla="*/ 8 w 1056"/>
                <a:gd name="T17" fmla="*/ 81 h 1206"/>
                <a:gd name="T18" fmla="*/ 6 w 1056"/>
                <a:gd name="T19" fmla="*/ 79 h 1206"/>
                <a:gd name="T20" fmla="*/ 13 w 1056"/>
                <a:gd name="T21" fmla="*/ 78 h 1206"/>
                <a:gd name="T22" fmla="*/ 8 w 1056"/>
                <a:gd name="T23" fmla="*/ 75 h 1206"/>
                <a:gd name="T24" fmla="*/ 13 w 1056"/>
                <a:gd name="T25" fmla="*/ 71 h 1206"/>
                <a:gd name="T26" fmla="*/ 10 w 1056"/>
                <a:gd name="T27" fmla="*/ 63 h 1206"/>
                <a:gd name="T28" fmla="*/ 6 w 1056"/>
                <a:gd name="T29" fmla="*/ 66 h 1206"/>
                <a:gd name="T30" fmla="*/ 1 w 1056"/>
                <a:gd name="T31" fmla="*/ 63 h 1206"/>
                <a:gd name="T32" fmla="*/ 1 w 1056"/>
                <a:gd name="T33" fmla="*/ 59 h 1206"/>
                <a:gd name="T34" fmla="*/ 3 w 1056"/>
                <a:gd name="T35" fmla="*/ 57 h 1206"/>
                <a:gd name="T36" fmla="*/ 6 w 1056"/>
                <a:gd name="T37" fmla="*/ 55 h 1206"/>
                <a:gd name="T38" fmla="*/ 10 w 1056"/>
                <a:gd name="T39" fmla="*/ 51 h 1206"/>
                <a:gd name="T40" fmla="*/ 11 w 1056"/>
                <a:gd name="T41" fmla="*/ 46 h 1206"/>
                <a:gd name="T42" fmla="*/ 14 w 1056"/>
                <a:gd name="T43" fmla="*/ 42 h 1206"/>
                <a:gd name="T44" fmla="*/ 15 w 1056"/>
                <a:gd name="T45" fmla="*/ 36 h 1206"/>
                <a:gd name="T46" fmla="*/ 17 w 1056"/>
                <a:gd name="T47" fmla="*/ 34 h 1206"/>
                <a:gd name="T48" fmla="*/ 20 w 1056"/>
                <a:gd name="T49" fmla="*/ 31 h 1206"/>
                <a:gd name="T50" fmla="*/ 21 w 1056"/>
                <a:gd name="T51" fmla="*/ 29 h 1206"/>
                <a:gd name="T52" fmla="*/ 23 w 1056"/>
                <a:gd name="T53" fmla="*/ 22 h 1206"/>
                <a:gd name="T54" fmla="*/ 35 w 1056"/>
                <a:gd name="T55" fmla="*/ 22 h 1206"/>
                <a:gd name="T56" fmla="*/ 41 w 1056"/>
                <a:gd name="T57" fmla="*/ 18 h 1206"/>
                <a:gd name="T58" fmla="*/ 54 w 1056"/>
                <a:gd name="T59" fmla="*/ 20 h 1206"/>
                <a:gd name="T60" fmla="*/ 54 w 1056"/>
                <a:gd name="T61" fmla="*/ 26 h 1206"/>
                <a:gd name="T62" fmla="*/ 64 w 1056"/>
                <a:gd name="T63" fmla="*/ 25 h 1206"/>
                <a:gd name="T64" fmla="*/ 71 w 1056"/>
                <a:gd name="T65" fmla="*/ 10 h 1206"/>
                <a:gd name="T66" fmla="*/ 80 w 1056"/>
                <a:gd name="T67" fmla="*/ 1 h 1206"/>
                <a:gd name="T68" fmla="*/ 86 w 1056"/>
                <a:gd name="T69" fmla="*/ 2 h 1206"/>
                <a:gd name="T70" fmla="*/ 91 w 1056"/>
                <a:gd name="T71" fmla="*/ 13 h 1206"/>
                <a:gd name="T72" fmla="*/ 88 w 1056"/>
                <a:gd name="T73" fmla="*/ 17 h 1206"/>
                <a:gd name="T74" fmla="*/ 89 w 1056"/>
                <a:gd name="T75" fmla="*/ 21 h 1206"/>
                <a:gd name="T76" fmla="*/ 86 w 1056"/>
                <a:gd name="T77" fmla="*/ 25 h 1206"/>
                <a:gd name="T78" fmla="*/ 85 w 1056"/>
                <a:gd name="T79" fmla="*/ 31 h 1206"/>
                <a:gd name="T80" fmla="*/ 83 w 1056"/>
                <a:gd name="T81" fmla="*/ 36 h 1206"/>
                <a:gd name="T82" fmla="*/ 80 w 1056"/>
                <a:gd name="T83" fmla="*/ 42 h 1206"/>
                <a:gd name="T84" fmla="*/ 80 w 1056"/>
                <a:gd name="T85" fmla="*/ 47 h 1206"/>
                <a:gd name="T86" fmla="*/ 77 w 1056"/>
                <a:gd name="T87" fmla="*/ 55 h 1206"/>
                <a:gd name="T88" fmla="*/ 75 w 1056"/>
                <a:gd name="T89" fmla="*/ 57 h 1206"/>
                <a:gd name="T90" fmla="*/ 66 w 1056"/>
                <a:gd name="T91" fmla="*/ 57 h 1206"/>
                <a:gd name="T92" fmla="*/ 66 w 1056"/>
                <a:gd name="T93" fmla="*/ 51 h 1206"/>
                <a:gd name="T94" fmla="*/ 48 w 1056"/>
                <a:gd name="T95" fmla="*/ 50 h 1206"/>
                <a:gd name="T96" fmla="*/ 46 w 1056"/>
                <a:gd name="T97" fmla="*/ 55 h 1206"/>
                <a:gd name="T98" fmla="*/ 42 w 1056"/>
                <a:gd name="T99" fmla="*/ 59 h 1206"/>
                <a:gd name="T100" fmla="*/ 41 w 1056"/>
                <a:gd name="T101" fmla="*/ 62 h 1206"/>
                <a:gd name="T102" fmla="*/ 43 w 1056"/>
                <a:gd name="T103" fmla="*/ 67 h 1206"/>
                <a:gd name="T104" fmla="*/ 42 w 1056"/>
                <a:gd name="T105" fmla="*/ 72 h 1206"/>
                <a:gd name="T106" fmla="*/ 39 w 1056"/>
                <a:gd name="T107" fmla="*/ 77 h 1206"/>
                <a:gd name="T108" fmla="*/ 36 w 1056"/>
                <a:gd name="T109" fmla="*/ 80 h 1206"/>
                <a:gd name="T110" fmla="*/ 37 w 1056"/>
                <a:gd name="T111" fmla="*/ 83 h 1206"/>
                <a:gd name="T112" fmla="*/ 40 w 1056"/>
                <a:gd name="T113" fmla="*/ 87 h 1206"/>
                <a:gd name="T114" fmla="*/ 42 w 1056"/>
                <a:gd name="T115" fmla="*/ 89 h 12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56"/>
                <a:gd name="T175" fmla="*/ 0 h 1206"/>
                <a:gd name="T176" fmla="*/ 1056 w 1056"/>
                <a:gd name="T177" fmla="*/ 1206 h 12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56" h="1206">
                  <a:moveTo>
                    <a:pt x="492" y="1032"/>
                  </a:moveTo>
                  <a:lnTo>
                    <a:pt x="486" y="1038"/>
                  </a:lnTo>
                  <a:lnTo>
                    <a:pt x="486" y="1044"/>
                  </a:lnTo>
                  <a:lnTo>
                    <a:pt x="480" y="1044"/>
                  </a:lnTo>
                  <a:lnTo>
                    <a:pt x="474" y="1056"/>
                  </a:lnTo>
                  <a:lnTo>
                    <a:pt x="462" y="1068"/>
                  </a:lnTo>
                  <a:lnTo>
                    <a:pt x="456" y="1080"/>
                  </a:lnTo>
                  <a:lnTo>
                    <a:pt x="450" y="1080"/>
                  </a:lnTo>
                  <a:lnTo>
                    <a:pt x="450" y="1086"/>
                  </a:lnTo>
                  <a:lnTo>
                    <a:pt x="450" y="1092"/>
                  </a:lnTo>
                  <a:lnTo>
                    <a:pt x="444" y="1104"/>
                  </a:lnTo>
                  <a:lnTo>
                    <a:pt x="444" y="1116"/>
                  </a:lnTo>
                  <a:lnTo>
                    <a:pt x="438" y="1128"/>
                  </a:lnTo>
                  <a:lnTo>
                    <a:pt x="432" y="1134"/>
                  </a:lnTo>
                  <a:lnTo>
                    <a:pt x="432" y="1140"/>
                  </a:lnTo>
                  <a:lnTo>
                    <a:pt x="420" y="1152"/>
                  </a:lnTo>
                  <a:lnTo>
                    <a:pt x="420" y="1158"/>
                  </a:lnTo>
                  <a:lnTo>
                    <a:pt x="408" y="1182"/>
                  </a:lnTo>
                  <a:lnTo>
                    <a:pt x="396" y="1194"/>
                  </a:lnTo>
                  <a:lnTo>
                    <a:pt x="390" y="1206"/>
                  </a:lnTo>
                  <a:lnTo>
                    <a:pt x="390" y="1200"/>
                  </a:lnTo>
                  <a:lnTo>
                    <a:pt x="384" y="1194"/>
                  </a:lnTo>
                  <a:lnTo>
                    <a:pt x="378" y="1188"/>
                  </a:lnTo>
                  <a:lnTo>
                    <a:pt x="366" y="1176"/>
                  </a:lnTo>
                  <a:lnTo>
                    <a:pt x="366" y="1170"/>
                  </a:lnTo>
                  <a:lnTo>
                    <a:pt x="348" y="1152"/>
                  </a:lnTo>
                  <a:lnTo>
                    <a:pt x="336" y="1140"/>
                  </a:lnTo>
                  <a:lnTo>
                    <a:pt x="330" y="1134"/>
                  </a:lnTo>
                  <a:lnTo>
                    <a:pt x="324" y="1128"/>
                  </a:lnTo>
                  <a:lnTo>
                    <a:pt x="318" y="1122"/>
                  </a:lnTo>
                  <a:lnTo>
                    <a:pt x="312" y="1116"/>
                  </a:lnTo>
                  <a:lnTo>
                    <a:pt x="306" y="1110"/>
                  </a:lnTo>
                  <a:lnTo>
                    <a:pt x="300" y="1104"/>
                  </a:lnTo>
                  <a:lnTo>
                    <a:pt x="294" y="1098"/>
                  </a:lnTo>
                  <a:lnTo>
                    <a:pt x="276" y="1080"/>
                  </a:lnTo>
                  <a:lnTo>
                    <a:pt x="270" y="1080"/>
                  </a:lnTo>
                  <a:lnTo>
                    <a:pt x="270" y="1074"/>
                  </a:lnTo>
                  <a:lnTo>
                    <a:pt x="264" y="1068"/>
                  </a:lnTo>
                  <a:lnTo>
                    <a:pt x="258" y="1062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40" y="1050"/>
                  </a:lnTo>
                  <a:lnTo>
                    <a:pt x="234" y="1044"/>
                  </a:lnTo>
                  <a:lnTo>
                    <a:pt x="228" y="1044"/>
                  </a:lnTo>
                  <a:lnTo>
                    <a:pt x="222" y="1038"/>
                  </a:lnTo>
                  <a:lnTo>
                    <a:pt x="222" y="1032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6"/>
                  </a:lnTo>
                  <a:lnTo>
                    <a:pt x="204" y="1020"/>
                  </a:lnTo>
                  <a:lnTo>
                    <a:pt x="204" y="1014"/>
                  </a:lnTo>
                  <a:lnTo>
                    <a:pt x="198" y="1014"/>
                  </a:lnTo>
                  <a:lnTo>
                    <a:pt x="192" y="1014"/>
                  </a:lnTo>
                  <a:lnTo>
                    <a:pt x="192" y="1008"/>
                  </a:lnTo>
                  <a:lnTo>
                    <a:pt x="186" y="1008"/>
                  </a:lnTo>
                  <a:lnTo>
                    <a:pt x="186" y="1002"/>
                  </a:lnTo>
                  <a:lnTo>
                    <a:pt x="180" y="1002"/>
                  </a:lnTo>
                  <a:lnTo>
                    <a:pt x="174" y="996"/>
                  </a:lnTo>
                  <a:lnTo>
                    <a:pt x="168" y="996"/>
                  </a:lnTo>
                  <a:lnTo>
                    <a:pt x="168" y="990"/>
                  </a:lnTo>
                  <a:lnTo>
                    <a:pt x="162" y="990"/>
                  </a:lnTo>
                  <a:lnTo>
                    <a:pt x="162" y="984"/>
                  </a:lnTo>
                  <a:lnTo>
                    <a:pt x="150" y="978"/>
                  </a:lnTo>
                  <a:lnTo>
                    <a:pt x="144" y="972"/>
                  </a:lnTo>
                  <a:lnTo>
                    <a:pt x="138" y="972"/>
                  </a:lnTo>
                  <a:lnTo>
                    <a:pt x="138" y="966"/>
                  </a:lnTo>
                  <a:lnTo>
                    <a:pt x="132" y="966"/>
                  </a:lnTo>
                  <a:lnTo>
                    <a:pt x="126" y="960"/>
                  </a:lnTo>
                  <a:lnTo>
                    <a:pt x="126" y="954"/>
                  </a:lnTo>
                  <a:lnTo>
                    <a:pt x="120" y="954"/>
                  </a:lnTo>
                  <a:lnTo>
                    <a:pt x="114" y="948"/>
                  </a:lnTo>
                  <a:lnTo>
                    <a:pt x="108" y="948"/>
                  </a:lnTo>
                  <a:lnTo>
                    <a:pt x="108" y="942"/>
                  </a:lnTo>
                  <a:lnTo>
                    <a:pt x="102" y="942"/>
                  </a:lnTo>
                  <a:lnTo>
                    <a:pt x="96" y="942"/>
                  </a:lnTo>
                  <a:lnTo>
                    <a:pt x="96" y="936"/>
                  </a:lnTo>
                  <a:lnTo>
                    <a:pt x="90" y="936"/>
                  </a:lnTo>
                  <a:lnTo>
                    <a:pt x="90" y="930"/>
                  </a:lnTo>
                  <a:lnTo>
                    <a:pt x="84" y="930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18"/>
                  </a:lnTo>
                  <a:lnTo>
                    <a:pt x="66" y="918"/>
                  </a:lnTo>
                  <a:lnTo>
                    <a:pt x="66" y="912"/>
                  </a:lnTo>
                  <a:lnTo>
                    <a:pt x="66" y="906"/>
                  </a:lnTo>
                  <a:lnTo>
                    <a:pt x="72" y="906"/>
                  </a:lnTo>
                  <a:lnTo>
                    <a:pt x="84" y="906"/>
                  </a:lnTo>
                  <a:lnTo>
                    <a:pt x="90" y="906"/>
                  </a:lnTo>
                  <a:lnTo>
                    <a:pt x="120" y="930"/>
                  </a:lnTo>
                  <a:lnTo>
                    <a:pt x="126" y="936"/>
                  </a:lnTo>
                  <a:lnTo>
                    <a:pt x="138" y="936"/>
                  </a:lnTo>
                  <a:lnTo>
                    <a:pt x="138" y="930"/>
                  </a:lnTo>
                  <a:lnTo>
                    <a:pt x="144" y="930"/>
                  </a:lnTo>
                  <a:lnTo>
                    <a:pt x="144" y="924"/>
                  </a:lnTo>
                  <a:lnTo>
                    <a:pt x="150" y="900"/>
                  </a:lnTo>
                  <a:lnTo>
                    <a:pt x="138" y="894"/>
                  </a:lnTo>
                  <a:lnTo>
                    <a:pt x="126" y="894"/>
                  </a:lnTo>
                  <a:lnTo>
                    <a:pt x="108" y="888"/>
                  </a:lnTo>
                  <a:lnTo>
                    <a:pt x="84" y="882"/>
                  </a:lnTo>
                  <a:lnTo>
                    <a:pt x="72" y="882"/>
                  </a:lnTo>
                  <a:lnTo>
                    <a:pt x="72" y="876"/>
                  </a:lnTo>
                  <a:lnTo>
                    <a:pt x="78" y="870"/>
                  </a:lnTo>
                  <a:lnTo>
                    <a:pt x="90" y="870"/>
                  </a:lnTo>
                  <a:lnTo>
                    <a:pt x="96" y="870"/>
                  </a:lnTo>
                  <a:lnTo>
                    <a:pt x="102" y="870"/>
                  </a:lnTo>
                  <a:lnTo>
                    <a:pt x="114" y="870"/>
                  </a:lnTo>
                  <a:lnTo>
                    <a:pt x="120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34"/>
                  </a:lnTo>
                  <a:lnTo>
                    <a:pt x="132" y="828"/>
                  </a:lnTo>
                  <a:lnTo>
                    <a:pt x="132" y="816"/>
                  </a:lnTo>
                  <a:lnTo>
                    <a:pt x="150" y="816"/>
                  </a:lnTo>
                  <a:lnTo>
                    <a:pt x="150" y="804"/>
                  </a:lnTo>
                  <a:lnTo>
                    <a:pt x="144" y="798"/>
                  </a:lnTo>
                  <a:lnTo>
                    <a:pt x="156" y="762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32"/>
                  </a:lnTo>
                  <a:lnTo>
                    <a:pt x="144" y="726"/>
                  </a:lnTo>
                  <a:lnTo>
                    <a:pt x="132" y="726"/>
                  </a:lnTo>
                  <a:lnTo>
                    <a:pt x="120" y="732"/>
                  </a:lnTo>
                  <a:lnTo>
                    <a:pt x="114" y="744"/>
                  </a:lnTo>
                  <a:lnTo>
                    <a:pt x="108" y="750"/>
                  </a:lnTo>
                  <a:lnTo>
                    <a:pt x="96" y="768"/>
                  </a:lnTo>
                  <a:lnTo>
                    <a:pt x="96" y="774"/>
                  </a:lnTo>
                  <a:lnTo>
                    <a:pt x="90" y="780"/>
                  </a:lnTo>
                  <a:lnTo>
                    <a:pt x="84" y="804"/>
                  </a:lnTo>
                  <a:lnTo>
                    <a:pt x="72" y="774"/>
                  </a:lnTo>
                  <a:lnTo>
                    <a:pt x="72" y="768"/>
                  </a:lnTo>
                  <a:lnTo>
                    <a:pt x="66" y="762"/>
                  </a:lnTo>
                  <a:lnTo>
                    <a:pt x="60" y="750"/>
                  </a:lnTo>
                  <a:lnTo>
                    <a:pt x="54" y="750"/>
                  </a:lnTo>
                  <a:lnTo>
                    <a:pt x="48" y="750"/>
                  </a:lnTo>
                  <a:lnTo>
                    <a:pt x="42" y="750"/>
                  </a:lnTo>
                  <a:lnTo>
                    <a:pt x="30" y="744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12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2" y="702"/>
                  </a:lnTo>
                  <a:lnTo>
                    <a:pt x="18" y="696"/>
                  </a:lnTo>
                  <a:lnTo>
                    <a:pt x="12" y="690"/>
                  </a:lnTo>
                  <a:lnTo>
                    <a:pt x="12" y="684"/>
                  </a:lnTo>
                  <a:lnTo>
                    <a:pt x="12" y="678"/>
                  </a:lnTo>
                  <a:lnTo>
                    <a:pt x="12" y="672"/>
                  </a:lnTo>
                  <a:lnTo>
                    <a:pt x="18" y="672"/>
                  </a:lnTo>
                  <a:lnTo>
                    <a:pt x="18" y="666"/>
                  </a:lnTo>
                  <a:lnTo>
                    <a:pt x="24" y="666"/>
                  </a:lnTo>
                  <a:lnTo>
                    <a:pt x="24" y="660"/>
                  </a:lnTo>
                  <a:lnTo>
                    <a:pt x="30" y="660"/>
                  </a:lnTo>
                  <a:lnTo>
                    <a:pt x="30" y="654"/>
                  </a:lnTo>
                  <a:lnTo>
                    <a:pt x="36" y="654"/>
                  </a:lnTo>
                  <a:lnTo>
                    <a:pt x="36" y="648"/>
                  </a:lnTo>
                  <a:lnTo>
                    <a:pt x="42" y="648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60" y="630"/>
                  </a:lnTo>
                  <a:lnTo>
                    <a:pt x="66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78" y="624"/>
                  </a:lnTo>
                  <a:lnTo>
                    <a:pt x="84" y="618"/>
                  </a:lnTo>
                  <a:lnTo>
                    <a:pt x="84" y="612"/>
                  </a:lnTo>
                  <a:lnTo>
                    <a:pt x="90" y="612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20" y="588"/>
                  </a:lnTo>
                  <a:lnTo>
                    <a:pt x="120" y="582"/>
                  </a:lnTo>
                  <a:lnTo>
                    <a:pt x="120" y="576"/>
                  </a:lnTo>
                  <a:lnTo>
                    <a:pt x="120" y="570"/>
                  </a:lnTo>
                  <a:lnTo>
                    <a:pt x="126" y="564"/>
                  </a:lnTo>
                  <a:lnTo>
                    <a:pt x="126" y="558"/>
                  </a:lnTo>
                  <a:lnTo>
                    <a:pt x="126" y="552"/>
                  </a:lnTo>
                  <a:lnTo>
                    <a:pt x="126" y="546"/>
                  </a:lnTo>
                  <a:lnTo>
                    <a:pt x="126" y="534"/>
                  </a:lnTo>
                  <a:lnTo>
                    <a:pt x="126" y="516"/>
                  </a:lnTo>
                  <a:lnTo>
                    <a:pt x="126" y="510"/>
                  </a:lnTo>
                  <a:lnTo>
                    <a:pt x="126" y="504"/>
                  </a:lnTo>
                  <a:lnTo>
                    <a:pt x="126" y="498"/>
                  </a:lnTo>
                  <a:lnTo>
                    <a:pt x="132" y="498"/>
                  </a:lnTo>
                  <a:lnTo>
                    <a:pt x="132" y="492"/>
                  </a:lnTo>
                  <a:lnTo>
                    <a:pt x="138" y="492"/>
                  </a:lnTo>
                  <a:lnTo>
                    <a:pt x="144" y="486"/>
                  </a:lnTo>
                  <a:lnTo>
                    <a:pt x="156" y="480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6" y="462"/>
                  </a:lnTo>
                  <a:lnTo>
                    <a:pt x="156" y="456"/>
                  </a:lnTo>
                  <a:lnTo>
                    <a:pt x="156" y="450"/>
                  </a:lnTo>
                  <a:lnTo>
                    <a:pt x="162" y="438"/>
                  </a:lnTo>
                  <a:lnTo>
                    <a:pt x="168" y="426"/>
                  </a:lnTo>
                  <a:lnTo>
                    <a:pt x="174" y="426"/>
                  </a:lnTo>
                  <a:lnTo>
                    <a:pt x="174" y="420"/>
                  </a:lnTo>
                  <a:lnTo>
                    <a:pt x="180" y="414"/>
                  </a:lnTo>
                  <a:lnTo>
                    <a:pt x="186" y="420"/>
                  </a:lnTo>
                  <a:lnTo>
                    <a:pt x="186" y="414"/>
                  </a:lnTo>
                  <a:lnTo>
                    <a:pt x="180" y="408"/>
                  </a:lnTo>
                  <a:lnTo>
                    <a:pt x="180" y="402"/>
                  </a:lnTo>
                  <a:lnTo>
                    <a:pt x="186" y="402"/>
                  </a:lnTo>
                  <a:lnTo>
                    <a:pt x="192" y="402"/>
                  </a:lnTo>
                  <a:lnTo>
                    <a:pt x="192" y="396"/>
                  </a:lnTo>
                  <a:lnTo>
                    <a:pt x="198" y="396"/>
                  </a:lnTo>
                  <a:lnTo>
                    <a:pt x="204" y="396"/>
                  </a:lnTo>
                  <a:lnTo>
                    <a:pt x="210" y="396"/>
                  </a:lnTo>
                  <a:lnTo>
                    <a:pt x="210" y="390"/>
                  </a:lnTo>
                  <a:lnTo>
                    <a:pt x="216" y="390"/>
                  </a:lnTo>
                  <a:lnTo>
                    <a:pt x="216" y="384"/>
                  </a:lnTo>
                  <a:lnTo>
                    <a:pt x="222" y="384"/>
                  </a:lnTo>
                  <a:lnTo>
                    <a:pt x="222" y="378"/>
                  </a:lnTo>
                  <a:lnTo>
                    <a:pt x="228" y="372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0" y="348"/>
                  </a:lnTo>
                  <a:lnTo>
                    <a:pt x="234" y="342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46" y="330"/>
                  </a:lnTo>
                  <a:lnTo>
                    <a:pt x="246" y="324"/>
                  </a:lnTo>
                  <a:lnTo>
                    <a:pt x="234" y="318"/>
                  </a:lnTo>
                  <a:lnTo>
                    <a:pt x="234" y="312"/>
                  </a:lnTo>
                  <a:lnTo>
                    <a:pt x="234" y="300"/>
                  </a:lnTo>
                  <a:lnTo>
                    <a:pt x="240" y="288"/>
                  </a:lnTo>
                  <a:lnTo>
                    <a:pt x="240" y="276"/>
                  </a:lnTo>
                  <a:lnTo>
                    <a:pt x="246" y="258"/>
                  </a:lnTo>
                  <a:lnTo>
                    <a:pt x="258" y="252"/>
                  </a:lnTo>
                  <a:lnTo>
                    <a:pt x="270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294" y="252"/>
                  </a:lnTo>
                  <a:lnTo>
                    <a:pt x="300" y="258"/>
                  </a:lnTo>
                  <a:lnTo>
                    <a:pt x="318" y="252"/>
                  </a:lnTo>
                  <a:lnTo>
                    <a:pt x="366" y="252"/>
                  </a:lnTo>
                  <a:lnTo>
                    <a:pt x="378" y="252"/>
                  </a:lnTo>
                  <a:lnTo>
                    <a:pt x="396" y="252"/>
                  </a:lnTo>
                  <a:lnTo>
                    <a:pt x="408" y="252"/>
                  </a:lnTo>
                  <a:lnTo>
                    <a:pt x="408" y="246"/>
                  </a:lnTo>
                  <a:lnTo>
                    <a:pt x="414" y="240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20" y="216"/>
                  </a:lnTo>
                  <a:lnTo>
                    <a:pt x="426" y="210"/>
                  </a:lnTo>
                  <a:lnTo>
                    <a:pt x="444" y="198"/>
                  </a:lnTo>
                  <a:lnTo>
                    <a:pt x="462" y="198"/>
                  </a:lnTo>
                  <a:lnTo>
                    <a:pt x="474" y="204"/>
                  </a:lnTo>
                  <a:lnTo>
                    <a:pt x="498" y="198"/>
                  </a:lnTo>
                  <a:lnTo>
                    <a:pt x="498" y="204"/>
                  </a:lnTo>
                  <a:lnTo>
                    <a:pt x="540" y="210"/>
                  </a:lnTo>
                  <a:lnTo>
                    <a:pt x="564" y="210"/>
                  </a:lnTo>
                  <a:lnTo>
                    <a:pt x="588" y="210"/>
                  </a:lnTo>
                  <a:lnTo>
                    <a:pt x="612" y="210"/>
                  </a:lnTo>
                  <a:lnTo>
                    <a:pt x="612" y="216"/>
                  </a:lnTo>
                  <a:lnTo>
                    <a:pt x="618" y="222"/>
                  </a:lnTo>
                  <a:lnTo>
                    <a:pt x="618" y="228"/>
                  </a:lnTo>
                  <a:lnTo>
                    <a:pt x="624" y="240"/>
                  </a:lnTo>
                  <a:lnTo>
                    <a:pt x="624" y="246"/>
                  </a:lnTo>
                  <a:lnTo>
                    <a:pt x="630" y="252"/>
                  </a:lnTo>
                  <a:lnTo>
                    <a:pt x="630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0" y="282"/>
                  </a:lnTo>
                  <a:lnTo>
                    <a:pt x="630" y="288"/>
                  </a:lnTo>
                  <a:lnTo>
                    <a:pt x="630" y="300"/>
                  </a:lnTo>
                  <a:lnTo>
                    <a:pt x="630" y="306"/>
                  </a:lnTo>
                  <a:lnTo>
                    <a:pt x="636" y="306"/>
                  </a:lnTo>
                  <a:lnTo>
                    <a:pt x="642" y="306"/>
                  </a:lnTo>
                  <a:lnTo>
                    <a:pt x="648" y="312"/>
                  </a:lnTo>
                  <a:lnTo>
                    <a:pt x="666" y="312"/>
                  </a:lnTo>
                  <a:lnTo>
                    <a:pt x="696" y="306"/>
                  </a:lnTo>
                  <a:lnTo>
                    <a:pt x="732" y="300"/>
                  </a:lnTo>
                  <a:lnTo>
                    <a:pt x="732" y="288"/>
                  </a:lnTo>
                  <a:lnTo>
                    <a:pt x="738" y="288"/>
                  </a:lnTo>
                  <a:lnTo>
                    <a:pt x="744" y="276"/>
                  </a:lnTo>
                  <a:lnTo>
                    <a:pt x="762" y="246"/>
                  </a:lnTo>
                  <a:lnTo>
                    <a:pt x="768" y="228"/>
                  </a:lnTo>
                  <a:lnTo>
                    <a:pt x="792" y="210"/>
                  </a:lnTo>
                  <a:lnTo>
                    <a:pt x="804" y="186"/>
                  </a:lnTo>
                  <a:lnTo>
                    <a:pt x="804" y="156"/>
                  </a:lnTo>
                  <a:lnTo>
                    <a:pt x="804" y="138"/>
                  </a:lnTo>
                  <a:lnTo>
                    <a:pt x="810" y="126"/>
                  </a:lnTo>
                  <a:lnTo>
                    <a:pt x="816" y="120"/>
                  </a:lnTo>
                  <a:lnTo>
                    <a:pt x="828" y="102"/>
                  </a:lnTo>
                  <a:lnTo>
                    <a:pt x="834" y="96"/>
                  </a:lnTo>
                  <a:lnTo>
                    <a:pt x="846" y="102"/>
                  </a:lnTo>
                  <a:lnTo>
                    <a:pt x="852" y="96"/>
                  </a:lnTo>
                  <a:lnTo>
                    <a:pt x="858" y="72"/>
                  </a:lnTo>
                  <a:lnTo>
                    <a:pt x="864" y="60"/>
                  </a:lnTo>
                  <a:lnTo>
                    <a:pt x="882" y="48"/>
                  </a:lnTo>
                  <a:lnTo>
                    <a:pt x="906" y="36"/>
                  </a:lnTo>
                  <a:lnTo>
                    <a:pt x="918" y="12"/>
                  </a:lnTo>
                  <a:lnTo>
                    <a:pt x="924" y="0"/>
                  </a:lnTo>
                  <a:lnTo>
                    <a:pt x="930" y="6"/>
                  </a:lnTo>
                  <a:lnTo>
                    <a:pt x="942" y="12"/>
                  </a:lnTo>
                  <a:lnTo>
                    <a:pt x="948" y="12"/>
                  </a:lnTo>
                  <a:lnTo>
                    <a:pt x="954" y="18"/>
                  </a:lnTo>
                  <a:lnTo>
                    <a:pt x="966" y="18"/>
                  </a:lnTo>
                  <a:lnTo>
                    <a:pt x="972" y="18"/>
                  </a:lnTo>
                  <a:lnTo>
                    <a:pt x="984" y="18"/>
                  </a:lnTo>
                  <a:lnTo>
                    <a:pt x="990" y="18"/>
                  </a:lnTo>
                  <a:lnTo>
                    <a:pt x="1002" y="48"/>
                  </a:lnTo>
                  <a:lnTo>
                    <a:pt x="1008" y="78"/>
                  </a:lnTo>
                  <a:lnTo>
                    <a:pt x="1020" y="78"/>
                  </a:lnTo>
                  <a:lnTo>
                    <a:pt x="1020" y="90"/>
                  </a:lnTo>
                  <a:lnTo>
                    <a:pt x="1026" y="102"/>
                  </a:lnTo>
                  <a:lnTo>
                    <a:pt x="1044" y="120"/>
                  </a:lnTo>
                  <a:lnTo>
                    <a:pt x="1044" y="132"/>
                  </a:lnTo>
                  <a:lnTo>
                    <a:pt x="1056" y="150"/>
                  </a:lnTo>
                  <a:lnTo>
                    <a:pt x="1050" y="150"/>
                  </a:lnTo>
                  <a:lnTo>
                    <a:pt x="1044" y="156"/>
                  </a:lnTo>
                  <a:lnTo>
                    <a:pt x="1044" y="162"/>
                  </a:lnTo>
                  <a:lnTo>
                    <a:pt x="1038" y="162"/>
                  </a:lnTo>
                  <a:lnTo>
                    <a:pt x="1032" y="162"/>
                  </a:lnTo>
                  <a:lnTo>
                    <a:pt x="1026" y="168"/>
                  </a:lnTo>
                  <a:lnTo>
                    <a:pt x="1014" y="174"/>
                  </a:lnTo>
                  <a:lnTo>
                    <a:pt x="1014" y="186"/>
                  </a:lnTo>
                  <a:lnTo>
                    <a:pt x="1014" y="192"/>
                  </a:lnTo>
                  <a:lnTo>
                    <a:pt x="1014" y="198"/>
                  </a:lnTo>
                  <a:lnTo>
                    <a:pt x="1020" y="204"/>
                  </a:lnTo>
                  <a:lnTo>
                    <a:pt x="1026" y="204"/>
                  </a:lnTo>
                  <a:lnTo>
                    <a:pt x="1032" y="204"/>
                  </a:lnTo>
                  <a:lnTo>
                    <a:pt x="1032" y="210"/>
                  </a:lnTo>
                  <a:lnTo>
                    <a:pt x="1038" y="210"/>
                  </a:lnTo>
                  <a:lnTo>
                    <a:pt x="1032" y="216"/>
                  </a:lnTo>
                  <a:lnTo>
                    <a:pt x="1026" y="228"/>
                  </a:lnTo>
                  <a:lnTo>
                    <a:pt x="1026" y="234"/>
                  </a:lnTo>
                  <a:lnTo>
                    <a:pt x="1032" y="240"/>
                  </a:lnTo>
                  <a:lnTo>
                    <a:pt x="1032" y="246"/>
                  </a:lnTo>
                  <a:lnTo>
                    <a:pt x="1032" y="252"/>
                  </a:lnTo>
                  <a:lnTo>
                    <a:pt x="1032" y="258"/>
                  </a:lnTo>
                  <a:lnTo>
                    <a:pt x="1038" y="264"/>
                  </a:lnTo>
                  <a:lnTo>
                    <a:pt x="1032" y="276"/>
                  </a:lnTo>
                  <a:lnTo>
                    <a:pt x="1026" y="276"/>
                  </a:lnTo>
                  <a:lnTo>
                    <a:pt x="1020" y="276"/>
                  </a:lnTo>
                  <a:lnTo>
                    <a:pt x="996" y="282"/>
                  </a:lnTo>
                  <a:lnTo>
                    <a:pt x="996" y="288"/>
                  </a:lnTo>
                  <a:lnTo>
                    <a:pt x="996" y="294"/>
                  </a:lnTo>
                  <a:lnTo>
                    <a:pt x="996" y="300"/>
                  </a:lnTo>
                  <a:lnTo>
                    <a:pt x="996" y="306"/>
                  </a:lnTo>
                  <a:lnTo>
                    <a:pt x="984" y="324"/>
                  </a:lnTo>
                  <a:lnTo>
                    <a:pt x="984" y="330"/>
                  </a:lnTo>
                  <a:lnTo>
                    <a:pt x="984" y="336"/>
                  </a:lnTo>
                  <a:lnTo>
                    <a:pt x="978" y="336"/>
                  </a:lnTo>
                  <a:lnTo>
                    <a:pt x="978" y="342"/>
                  </a:lnTo>
                  <a:lnTo>
                    <a:pt x="984" y="360"/>
                  </a:lnTo>
                  <a:lnTo>
                    <a:pt x="978" y="366"/>
                  </a:lnTo>
                  <a:lnTo>
                    <a:pt x="978" y="372"/>
                  </a:lnTo>
                  <a:lnTo>
                    <a:pt x="972" y="372"/>
                  </a:lnTo>
                  <a:lnTo>
                    <a:pt x="972" y="378"/>
                  </a:lnTo>
                  <a:lnTo>
                    <a:pt x="972" y="384"/>
                  </a:lnTo>
                  <a:lnTo>
                    <a:pt x="972" y="390"/>
                  </a:lnTo>
                  <a:lnTo>
                    <a:pt x="966" y="402"/>
                  </a:lnTo>
                  <a:lnTo>
                    <a:pt x="960" y="414"/>
                  </a:lnTo>
                  <a:lnTo>
                    <a:pt x="954" y="420"/>
                  </a:lnTo>
                  <a:lnTo>
                    <a:pt x="948" y="426"/>
                  </a:lnTo>
                  <a:lnTo>
                    <a:pt x="948" y="438"/>
                  </a:lnTo>
                  <a:lnTo>
                    <a:pt x="942" y="444"/>
                  </a:lnTo>
                  <a:lnTo>
                    <a:pt x="936" y="450"/>
                  </a:lnTo>
                  <a:lnTo>
                    <a:pt x="930" y="456"/>
                  </a:lnTo>
                  <a:lnTo>
                    <a:pt x="924" y="462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18" y="522"/>
                  </a:lnTo>
                  <a:lnTo>
                    <a:pt x="918" y="528"/>
                  </a:lnTo>
                  <a:lnTo>
                    <a:pt x="924" y="534"/>
                  </a:lnTo>
                  <a:lnTo>
                    <a:pt x="924" y="540"/>
                  </a:lnTo>
                  <a:lnTo>
                    <a:pt x="924" y="546"/>
                  </a:lnTo>
                  <a:lnTo>
                    <a:pt x="918" y="546"/>
                  </a:lnTo>
                  <a:lnTo>
                    <a:pt x="918" y="552"/>
                  </a:lnTo>
                  <a:lnTo>
                    <a:pt x="912" y="546"/>
                  </a:lnTo>
                  <a:lnTo>
                    <a:pt x="912" y="552"/>
                  </a:lnTo>
                  <a:lnTo>
                    <a:pt x="912" y="570"/>
                  </a:lnTo>
                  <a:lnTo>
                    <a:pt x="906" y="588"/>
                  </a:lnTo>
                  <a:lnTo>
                    <a:pt x="900" y="606"/>
                  </a:lnTo>
                  <a:lnTo>
                    <a:pt x="906" y="624"/>
                  </a:lnTo>
                  <a:lnTo>
                    <a:pt x="900" y="624"/>
                  </a:lnTo>
                  <a:lnTo>
                    <a:pt x="894" y="630"/>
                  </a:lnTo>
                  <a:lnTo>
                    <a:pt x="888" y="630"/>
                  </a:lnTo>
                  <a:lnTo>
                    <a:pt x="882" y="630"/>
                  </a:lnTo>
                  <a:lnTo>
                    <a:pt x="882" y="636"/>
                  </a:lnTo>
                  <a:lnTo>
                    <a:pt x="876" y="642"/>
                  </a:lnTo>
                  <a:lnTo>
                    <a:pt x="870" y="642"/>
                  </a:lnTo>
                  <a:lnTo>
                    <a:pt x="870" y="648"/>
                  </a:lnTo>
                  <a:lnTo>
                    <a:pt x="870" y="654"/>
                  </a:lnTo>
                  <a:lnTo>
                    <a:pt x="864" y="654"/>
                  </a:lnTo>
                  <a:lnTo>
                    <a:pt x="864" y="660"/>
                  </a:lnTo>
                  <a:lnTo>
                    <a:pt x="846" y="666"/>
                  </a:lnTo>
                  <a:lnTo>
                    <a:pt x="828" y="672"/>
                  </a:lnTo>
                  <a:lnTo>
                    <a:pt x="816" y="660"/>
                  </a:lnTo>
                  <a:lnTo>
                    <a:pt x="810" y="660"/>
                  </a:lnTo>
                  <a:lnTo>
                    <a:pt x="798" y="666"/>
                  </a:lnTo>
                  <a:lnTo>
                    <a:pt x="786" y="666"/>
                  </a:lnTo>
                  <a:lnTo>
                    <a:pt x="780" y="672"/>
                  </a:lnTo>
                  <a:lnTo>
                    <a:pt x="768" y="678"/>
                  </a:lnTo>
                  <a:lnTo>
                    <a:pt x="762" y="660"/>
                  </a:lnTo>
                  <a:lnTo>
                    <a:pt x="762" y="654"/>
                  </a:lnTo>
                  <a:lnTo>
                    <a:pt x="756" y="636"/>
                  </a:lnTo>
                  <a:lnTo>
                    <a:pt x="762" y="624"/>
                  </a:lnTo>
                  <a:lnTo>
                    <a:pt x="756" y="606"/>
                  </a:lnTo>
                  <a:lnTo>
                    <a:pt x="756" y="600"/>
                  </a:lnTo>
                  <a:lnTo>
                    <a:pt x="762" y="594"/>
                  </a:lnTo>
                  <a:lnTo>
                    <a:pt x="768" y="600"/>
                  </a:lnTo>
                  <a:lnTo>
                    <a:pt x="768" y="594"/>
                  </a:lnTo>
                  <a:lnTo>
                    <a:pt x="768" y="588"/>
                  </a:lnTo>
                  <a:lnTo>
                    <a:pt x="774" y="582"/>
                  </a:lnTo>
                  <a:lnTo>
                    <a:pt x="768" y="576"/>
                  </a:lnTo>
                  <a:lnTo>
                    <a:pt x="762" y="576"/>
                  </a:lnTo>
                  <a:lnTo>
                    <a:pt x="756" y="576"/>
                  </a:lnTo>
                  <a:lnTo>
                    <a:pt x="690" y="576"/>
                  </a:lnTo>
                  <a:lnTo>
                    <a:pt x="624" y="570"/>
                  </a:lnTo>
                  <a:lnTo>
                    <a:pt x="600" y="564"/>
                  </a:lnTo>
                  <a:lnTo>
                    <a:pt x="576" y="564"/>
                  </a:lnTo>
                  <a:lnTo>
                    <a:pt x="558" y="570"/>
                  </a:lnTo>
                  <a:lnTo>
                    <a:pt x="552" y="576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46" y="594"/>
                  </a:lnTo>
                  <a:lnTo>
                    <a:pt x="546" y="600"/>
                  </a:lnTo>
                  <a:lnTo>
                    <a:pt x="540" y="606"/>
                  </a:lnTo>
                  <a:lnTo>
                    <a:pt x="534" y="618"/>
                  </a:lnTo>
                  <a:lnTo>
                    <a:pt x="534" y="624"/>
                  </a:lnTo>
                  <a:lnTo>
                    <a:pt x="534" y="630"/>
                  </a:lnTo>
                  <a:lnTo>
                    <a:pt x="534" y="636"/>
                  </a:lnTo>
                  <a:lnTo>
                    <a:pt x="528" y="636"/>
                  </a:lnTo>
                  <a:lnTo>
                    <a:pt x="516" y="642"/>
                  </a:lnTo>
                  <a:lnTo>
                    <a:pt x="516" y="648"/>
                  </a:lnTo>
                  <a:lnTo>
                    <a:pt x="510" y="648"/>
                  </a:lnTo>
                  <a:lnTo>
                    <a:pt x="504" y="654"/>
                  </a:lnTo>
                  <a:lnTo>
                    <a:pt x="492" y="666"/>
                  </a:lnTo>
                  <a:lnTo>
                    <a:pt x="492" y="672"/>
                  </a:lnTo>
                  <a:lnTo>
                    <a:pt x="492" y="684"/>
                  </a:lnTo>
                  <a:lnTo>
                    <a:pt x="486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92" y="702"/>
                  </a:lnTo>
                  <a:lnTo>
                    <a:pt x="486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74" y="720"/>
                  </a:lnTo>
                  <a:lnTo>
                    <a:pt x="480" y="726"/>
                  </a:lnTo>
                  <a:lnTo>
                    <a:pt x="474" y="726"/>
                  </a:lnTo>
                  <a:lnTo>
                    <a:pt x="474" y="738"/>
                  </a:lnTo>
                  <a:lnTo>
                    <a:pt x="474" y="744"/>
                  </a:lnTo>
                  <a:lnTo>
                    <a:pt x="474" y="750"/>
                  </a:lnTo>
                  <a:lnTo>
                    <a:pt x="480" y="750"/>
                  </a:lnTo>
                  <a:lnTo>
                    <a:pt x="480" y="756"/>
                  </a:lnTo>
                  <a:lnTo>
                    <a:pt x="492" y="762"/>
                  </a:lnTo>
                  <a:lnTo>
                    <a:pt x="498" y="774"/>
                  </a:lnTo>
                  <a:lnTo>
                    <a:pt x="498" y="780"/>
                  </a:lnTo>
                  <a:lnTo>
                    <a:pt x="504" y="786"/>
                  </a:lnTo>
                  <a:lnTo>
                    <a:pt x="510" y="792"/>
                  </a:lnTo>
                  <a:lnTo>
                    <a:pt x="504" y="798"/>
                  </a:lnTo>
                  <a:lnTo>
                    <a:pt x="504" y="804"/>
                  </a:lnTo>
                  <a:lnTo>
                    <a:pt x="504" y="810"/>
                  </a:lnTo>
                  <a:lnTo>
                    <a:pt x="498" y="822"/>
                  </a:lnTo>
                  <a:lnTo>
                    <a:pt x="492" y="828"/>
                  </a:lnTo>
                  <a:lnTo>
                    <a:pt x="492" y="834"/>
                  </a:lnTo>
                  <a:lnTo>
                    <a:pt x="486" y="840"/>
                  </a:lnTo>
                  <a:lnTo>
                    <a:pt x="480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74" y="858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876"/>
                  </a:lnTo>
                  <a:lnTo>
                    <a:pt x="456" y="894"/>
                  </a:lnTo>
                  <a:lnTo>
                    <a:pt x="450" y="894"/>
                  </a:lnTo>
                  <a:lnTo>
                    <a:pt x="444" y="900"/>
                  </a:lnTo>
                  <a:lnTo>
                    <a:pt x="444" y="894"/>
                  </a:lnTo>
                  <a:lnTo>
                    <a:pt x="438" y="894"/>
                  </a:lnTo>
                  <a:lnTo>
                    <a:pt x="432" y="900"/>
                  </a:lnTo>
                  <a:lnTo>
                    <a:pt x="432" y="906"/>
                  </a:lnTo>
                  <a:lnTo>
                    <a:pt x="420" y="906"/>
                  </a:lnTo>
                  <a:lnTo>
                    <a:pt x="420" y="912"/>
                  </a:lnTo>
                  <a:lnTo>
                    <a:pt x="420" y="918"/>
                  </a:lnTo>
                  <a:lnTo>
                    <a:pt x="426" y="918"/>
                  </a:lnTo>
                  <a:lnTo>
                    <a:pt x="426" y="924"/>
                  </a:lnTo>
                  <a:lnTo>
                    <a:pt x="426" y="930"/>
                  </a:lnTo>
                  <a:lnTo>
                    <a:pt x="420" y="930"/>
                  </a:lnTo>
                  <a:lnTo>
                    <a:pt x="414" y="936"/>
                  </a:lnTo>
                  <a:lnTo>
                    <a:pt x="414" y="942"/>
                  </a:lnTo>
                  <a:lnTo>
                    <a:pt x="414" y="948"/>
                  </a:lnTo>
                  <a:lnTo>
                    <a:pt x="414" y="954"/>
                  </a:lnTo>
                  <a:lnTo>
                    <a:pt x="426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44" y="972"/>
                  </a:lnTo>
                  <a:lnTo>
                    <a:pt x="444" y="978"/>
                  </a:lnTo>
                  <a:lnTo>
                    <a:pt x="450" y="978"/>
                  </a:lnTo>
                  <a:lnTo>
                    <a:pt x="450" y="984"/>
                  </a:lnTo>
                  <a:lnTo>
                    <a:pt x="456" y="990"/>
                  </a:lnTo>
                  <a:lnTo>
                    <a:pt x="456" y="996"/>
                  </a:lnTo>
                  <a:lnTo>
                    <a:pt x="462" y="1008"/>
                  </a:lnTo>
                  <a:lnTo>
                    <a:pt x="468" y="1008"/>
                  </a:lnTo>
                  <a:lnTo>
                    <a:pt x="468" y="1002"/>
                  </a:lnTo>
                  <a:lnTo>
                    <a:pt x="474" y="1008"/>
                  </a:lnTo>
                  <a:lnTo>
                    <a:pt x="480" y="1002"/>
                  </a:lnTo>
                  <a:lnTo>
                    <a:pt x="486" y="1008"/>
                  </a:lnTo>
                  <a:lnTo>
                    <a:pt x="486" y="1014"/>
                  </a:lnTo>
                  <a:lnTo>
                    <a:pt x="492" y="1014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86" y="1026"/>
                  </a:lnTo>
                  <a:lnTo>
                    <a:pt x="492" y="1026"/>
                  </a:lnTo>
                  <a:lnTo>
                    <a:pt x="486" y="1026"/>
                  </a:lnTo>
                  <a:lnTo>
                    <a:pt x="492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5" name="Freeform 30">
              <a:extLst>
                <a:ext uri="{FF2B5EF4-FFF2-40B4-BE49-F238E27FC236}">
                  <a16:creationId xmlns:a16="http://schemas.microsoft.com/office/drawing/2014/main" id="{85C7B827-0C1A-4D72-AEBD-F01CFE7EC12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3645" y="3904484"/>
              <a:ext cx="559048" cy="111825"/>
            </a:xfrm>
            <a:custGeom>
              <a:avLst/>
              <a:gdLst>
                <a:gd name="T0" fmla="*/ 69 w 1056"/>
                <a:gd name="T1" fmla="*/ 7 h 210"/>
                <a:gd name="T2" fmla="*/ 63 w 1056"/>
                <a:gd name="T3" fmla="*/ 5 h 210"/>
                <a:gd name="T4" fmla="*/ 57 w 1056"/>
                <a:gd name="T5" fmla="*/ 5 h 210"/>
                <a:gd name="T6" fmla="*/ 54 w 1056"/>
                <a:gd name="T7" fmla="*/ 6 h 210"/>
                <a:gd name="T8" fmla="*/ 51 w 1056"/>
                <a:gd name="T9" fmla="*/ 7 h 210"/>
                <a:gd name="T10" fmla="*/ 46 w 1056"/>
                <a:gd name="T11" fmla="*/ 9 h 210"/>
                <a:gd name="T12" fmla="*/ 42 w 1056"/>
                <a:gd name="T13" fmla="*/ 8 h 210"/>
                <a:gd name="T14" fmla="*/ 42 w 1056"/>
                <a:gd name="T15" fmla="*/ 5 h 210"/>
                <a:gd name="T16" fmla="*/ 41 w 1056"/>
                <a:gd name="T17" fmla="*/ 7 h 210"/>
                <a:gd name="T18" fmla="*/ 38 w 1056"/>
                <a:gd name="T19" fmla="*/ 10 h 210"/>
                <a:gd name="T20" fmla="*/ 37 w 1056"/>
                <a:gd name="T21" fmla="*/ 12 h 210"/>
                <a:gd name="T22" fmla="*/ 37 w 1056"/>
                <a:gd name="T23" fmla="*/ 15 h 210"/>
                <a:gd name="T24" fmla="*/ 37 w 1056"/>
                <a:gd name="T25" fmla="*/ 16 h 210"/>
                <a:gd name="T26" fmla="*/ 38 w 1056"/>
                <a:gd name="T27" fmla="*/ 16 h 210"/>
                <a:gd name="T28" fmla="*/ 34 w 1056"/>
                <a:gd name="T29" fmla="*/ 16 h 210"/>
                <a:gd name="T30" fmla="*/ 26 w 1056"/>
                <a:gd name="T31" fmla="*/ 16 h 210"/>
                <a:gd name="T32" fmla="*/ 20 w 1056"/>
                <a:gd name="T33" fmla="*/ 17 h 210"/>
                <a:gd name="T34" fmla="*/ 13 w 1056"/>
                <a:gd name="T35" fmla="*/ 17 h 210"/>
                <a:gd name="T36" fmla="*/ 6 w 1056"/>
                <a:gd name="T37" fmla="*/ 17 h 210"/>
                <a:gd name="T38" fmla="*/ 1 w 1056"/>
                <a:gd name="T39" fmla="*/ 18 h 210"/>
                <a:gd name="T40" fmla="*/ 3 w 1056"/>
                <a:gd name="T41" fmla="*/ 14 h 210"/>
                <a:gd name="T42" fmla="*/ 8 w 1056"/>
                <a:gd name="T43" fmla="*/ 15 h 210"/>
                <a:gd name="T44" fmla="*/ 11 w 1056"/>
                <a:gd name="T45" fmla="*/ 12 h 210"/>
                <a:gd name="T46" fmla="*/ 26 w 1056"/>
                <a:gd name="T47" fmla="*/ 10 h 210"/>
                <a:gd name="T48" fmla="*/ 29 w 1056"/>
                <a:gd name="T49" fmla="*/ 5 h 210"/>
                <a:gd name="T50" fmla="*/ 34 w 1056"/>
                <a:gd name="T51" fmla="*/ 1 h 210"/>
                <a:gd name="T52" fmla="*/ 41 w 1056"/>
                <a:gd name="T53" fmla="*/ 3 h 210"/>
                <a:gd name="T54" fmla="*/ 73 w 1056"/>
                <a:gd name="T55" fmla="*/ 1 h 210"/>
                <a:gd name="T56" fmla="*/ 75 w 1056"/>
                <a:gd name="T57" fmla="*/ 4 h 210"/>
                <a:gd name="T58" fmla="*/ 85 w 1056"/>
                <a:gd name="T59" fmla="*/ 15 h 210"/>
                <a:gd name="T60" fmla="*/ 91 w 1056"/>
                <a:gd name="T61" fmla="*/ 18 h 210"/>
                <a:gd name="T62" fmla="*/ 85 w 1056"/>
                <a:gd name="T63" fmla="*/ 18 h 210"/>
                <a:gd name="T64" fmla="*/ 79 w 1056"/>
                <a:gd name="T65" fmla="*/ 16 h 210"/>
                <a:gd name="T66" fmla="*/ 74 w 1056"/>
                <a:gd name="T67" fmla="*/ 16 h 210"/>
                <a:gd name="T68" fmla="*/ 69 w 1056"/>
                <a:gd name="T69" fmla="*/ 15 h 210"/>
                <a:gd name="T70" fmla="*/ 65 w 1056"/>
                <a:gd name="T71" fmla="*/ 14 h 210"/>
                <a:gd name="T72" fmla="*/ 59 w 1056"/>
                <a:gd name="T73" fmla="*/ 15 h 210"/>
                <a:gd name="T74" fmla="*/ 54 w 1056"/>
                <a:gd name="T75" fmla="*/ 15 h 210"/>
                <a:gd name="T76" fmla="*/ 49 w 1056"/>
                <a:gd name="T77" fmla="*/ 15 h 210"/>
                <a:gd name="T78" fmla="*/ 42 w 1056"/>
                <a:gd name="T79" fmla="*/ 15 h 210"/>
                <a:gd name="T80" fmla="*/ 38 w 1056"/>
                <a:gd name="T81" fmla="*/ 16 h 210"/>
                <a:gd name="T82" fmla="*/ 41 w 1056"/>
                <a:gd name="T83" fmla="*/ 14 h 210"/>
                <a:gd name="T84" fmla="*/ 42 w 1056"/>
                <a:gd name="T85" fmla="*/ 13 h 210"/>
                <a:gd name="T86" fmla="*/ 45 w 1056"/>
                <a:gd name="T87" fmla="*/ 13 h 210"/>
                <a:gd name="T88" fmla="*/ 48 w 1056"/>
                <a:gd name="T89" fmla="*/ 12 h 210"/>
                <a:gd name="T90" fmla="*/ 51 w 1056"/>
                <a:gd name="T91" fmla="*/ 11 h 210"/>
                <a:gd name="T92" fmla="*/ 54 w 1056"/>
                <a:gd name="T93" fmla="*/ 9 h 210"/>
                <a:gd name="T94" fmla="*/ 57 w 1056"/>
                <a:gd name="T95" fmla="*/ 8 h 210"/>
                <a:gd name="T96" fmla="*/ 60 w 1056"/>
                <a:gd name="T97" fmla="*/ 5 h 210"/>
                <a:gd name="T98" fmla="*/ 65 w 1056"/>
                <a:gd name="T99" fmla="*/ 5 h 210"/>
                <a:gd name="T100" fmla="*/ 72 w 1056"/>
                <a:gd name="T101" fmla="*/ 7 h 210"/>
                <a:gd name="T102" fmla="*/ 77 w 1056"/>
                <a:gd name="T103" fmla="*/ 11 h 210"/>
                <a:gd name="T104" fmla="*/ 69 w 1056"/>
                <a:gd name="T105" fmla="*/ 10 h 210"/>
                <a:gd name="T106" fmla="*/ 72 w 1056"/>
                <a:gd name="T107" fmla="*/ 12 h 210"/>
                <a:gd name="T108" fmla="*/ 78 w 1056"/>
                <a:gd name="T109" fmla="*/ 15 h 210"/>
                <a:gd name="T110" fmla="*/ 84 w 1056"/>
                <a:gd name="T111" fmla="*/ 14 h 210"/>
                <a:gd name="T112" fmla="*/ 84 w 1056"/>
                <a:gd name="T113" fmla="*/ 14 h 210"/>
                <a:gd name="T114" fmla="*/ 78 w 1056"/>
                <a:gd name="T115" fmla="*/ 13 h 210"/>
                <a:gd name="T116" fmla="*/ 76 w 1056"/>
                <a:gd name="T117" fmla="*/ 14 h 210"/>
                <a:gd name="T118" fmla="*/ 38 w 1056"/>
                <a:gd name="T119" fmla="*/ 12 h 210"/>
                <a:gd name="T120" fmla="*/ 41 w 1056"/>
                <a:gd name="T121" fmla="*/ 12 h 210"/>
                <a:gd name="T122" fmla="*/ 40 w 1056"/>
                <a:gd name="T123" fmla="*/ 14 h 2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6"/>
                <a:gd name="T187" fmla="*/ 0 h 210"/>
                <a:gd name="T188" fmla="*/ 1056 w 1056"/>
                <a:gd name="T189" fmla="*/ 210 h 21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6" h="210">
                  <a:moveTo>
                    <a:pt x="870" y="90"/>
                  </a:moveTo>
                  <a:lnTo>
                    <a:pt x="864" y="90"/>
                  </a:lnTo>
                  <a:lnTo>
                    <a:pt x="852" y="84"/>
                  </a:lnTo>
                  <a:lnTo>
                    <a:pt x="846" y="84"/>
                  </a:lnTo>
                  <a:lnTo>
                    <a:pt x="846" y="78"/>
                  </a:lnTo>
                  <a:lnTo>
                    <a:pt x="840" y="78"/>
                  </a:lnTo>
                  <a:lnTo>
                    <a:pt x="834" y="78"/>
                  </a:lnTo>
                  <a:lnTo>
                    <a:pt x="834" y="72"/>
                  </a:lnTo>
                  <a:lnTo>
                    <a:pt x="804" y="78"/>
                  </a:lnTo>
                  <a:lnTo>
                    <a:pt x="798" y="78"/>
                  </a:lnTo>
                  <a:lnTo>
                    <a:pt x="792" y="72"/>
                  </a:lnTo>
                  <a:lnTo>
                    <a:pt x="780" y="60"/>
                  </a:lnTo>
                  <a:lnTo>
                    <a:pt x="768" y="54"/>
                  </a:lnTo>
                  <a:lnTo>
                    <a:pt x="756" y="54"/>
                  </a:lnTo>
                  <a:lnTo>
                    <a:pt x="750" y="54"/>
                  </a:lnTo>
                  <a:lnTo>
                    <a:pt x="750" y="48"/>
                  </a:lnTo>
                  <a:lnTo>
                    <a:pt x="744" y="48"/>
                  </a:lnTo>
                  <a:lnTo>
                    <a:pt x="738" y="48"/>
                  </a:lnTo>
                  <a:lnTo>
                    <a:pt x="732" y="48"/>
                  </a:lnTo>
                  <a:lnTo>
                    <a:pt x="732" y="54"/>
                  </a:lnTo>
                  <a:lnTo>
                    <a:pt x="726" y="48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48"/>
                  </a:lnTo>
                  <a:lnTo>
                    <a:pt x="702" y="48"/>
                  </a:lnTo>
                  <a:lnTo>
                    <a:pt x="696" y="48"/>
                  </a:lnTo>
                  <a:lnTo>
                    <a:pt x="684" y="48"/>
                  </a:lnTo>
                  <a:lnTo>
                    <a:pt x="678" y="48"/>
                  </a:lnTo>
                  <a:lnTo>
                    <a:pt x="672" y="48"/>
                  </a:lnTo>
                  <a:lnTo>
                    <a:pt x="666" y="54"/>
                  </a:lnTo>
                  <a:lnTo>
                    <a:pt x="660" y="54"/>
                  </a:lnTo>
                  <a:lnTo>
                    <a:pt x="660" y="48"/>
                  </a:lnTo>
                  <a:lnTo>
                    <a:pt x="654" y="48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42" y="54"/>
                  </a:lnTo>
                  <a:lnTo>
                    <a:pt x="63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30" y="66"/>
                  </a:lnTo>
                  <a:lnTo>
                    <a:pt x="624" y="66"/>
                  </a:lnTo>
                  <a:lnTo>
                    <a:pt x="618" y="66"/>
                  </a:lnTo>
                  <a:lnTo>
                    <a:pt x="618" y="72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6" y="84"/>
                  </a:lnTo>
                  <a:lnTo>
                    <a:pt x="600" y="84"/>
                  </a:lnTo>
                  <a:lnTo>
                    <a:pt x="594" y="90"/>
                  </a:lnTo>
                  <a:lnTo>
                    <a:pt x="588" y="90"/>
                  </a:lnTo>
                  <a:lnTo>
                    <a:pt x="588" y="84"/>
                  </a:lnTo>
                  <a:lnTo>
                    <a:pt x="582" y="84"/>
                  </a:lnTo>
                  <a:lnTo>
                    <a:pt x="576" y="84"/>
                  </a:lnTo>
                  <a:lnTo>
                    <a:pt x="570" y="84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58" y="96"/>
                  </a:lnTo>
                  <a:lnTo>
                    <a:pt x="552" y="96"/>
                  </a:lnTo>
                  <a:lnTo>
                    <a:pt x="546" y="102"/>
                  </a:lnTo>
                  <a:lnTo>
                    <a:pt x="540" y="102"/>
                  </a:lnTo>
                  <a:lnTo>
                    <a:pt x="534" y="102"/>
                  </a:lnTo>
                  <a:lnTo>
                    <a:pt x="528" y="102"/>
                  </a:lnTo>
                  <a:lnTo>
                    <a:pt x="528" y="108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16" y="102"/>
                  </a:lnTo>
                  <a:lnTo>
                    <a:pt x="510" y="102"/>
                  </a:lnTo>
                  <a:lnTo>
                    <a:pt x="504" y="102"/>
                  </a:lnTo>
                  <a:lnTo>
                    <a:pt x="498" y="102"/>
                  </a:lnTo>
                  <a:lnTo>
                    <a:pt x="498" y="96"/>
                  </a:lnTo>
                  <a:lnTo>
                    <a:pt x="492" y="96"/>
                  </a:lnTo>
                  <a:lnTo>
                    <a:pt x="492" y="90"/>
                  </a:lnTo>
                  <a:lnTo>
                    <a:pt x="492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498" y="66"/>
                  </a:lnTo>
                  <a:lnTo>
                    <a:pt x="504" y="60"/>
                  </a:lnTo>
                  <a:lnTo>
                    <a:pt x="498" y="60"/>
                  </a:lnTo>
                  <a:lnTo>
                    <a:pt x="498" y="54"/>
                  </a:lnTo>
                  <a:lnTo>
                    <a:pt x="492" y="54"/>
                  </a:lnTo>
                  <a:lnTo>
                    <a:pt x="492" y="60"/>
                  </a:lnTo>
                  <a:lnTo>
                    <a:pt x="486" y="60"/>
                  </a:lnTo>
                  <a:lnTo>
                    <a:pt x="486" y="66"/>
                  </a:lnTo>
                  <a:lnTo>
                    <a:pt x="480" y="66"/>
                  </a:lnTo>
                  <a:lnTo>
                    <a:pt x="474" y="72"/>
                  </a:lnTo>
                  <a:lnTo>
                    <a:pt x="474" y="66"/>
                  </a:lnTo>
                  <a:lnTo>
                    <a:pt x="474" y="72"/>
                  </a:lnTo>
                  <a:lnTo>
                    <a:pt x="468" y="72"/>
                  </a:lnTo>
                  <a:lnTo>
                    <a:pt x="468" y="78"/>
                  </a:lnTo>
                  <a:lnTo>
                    <a:pt x="468" y="84"/>
                  </a:lnTo>
                  <a:lnTo>
                    <a:pt x="462" y="90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0" y="84"/>
                  </a:lnTo>
                  <a:lnTo>
                    <a:pt x="450" y="90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44" y="102"/>
                  </a:lnTo>
                  <a:lnTo>
                    <a:pt x="444" y="108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38" y="126"/>
                  </a:lnTo>
                  <a:lnTo>
                    <a:pt x="438" y="132"/>
                  </a:lnTo>
                  <a:lnTo>
                    <a:pt x="438" y="138"/>
                  </a:lnTo>
                  <a:lnTo>
                    <a:pt x="438" y="144"/>
                  </a:lnTo>
                  <a:lnTo>
                    <a:pt x="432" y="144"/>
                  </a:lnTo>
                  <a:lnTo>
                    <a:pt x="432" y="150"/>
                  </a:lnTo>
                  <a:lnTo>
                    <a:pt x="432" y="144"/>
                  </a:lnTo>
                  <a:lnTo>
                    <a:pt x="426" y="144"/>
                  </a:lnTo>
                  <a:lnTo>
                    <a:pt x="426" y="150"/>
                  </a:lnTo>
                  <a:lnTo>
                    <a:pt x="426" y="156"/>
                  </a:lnTo>
                  <a:lnTo>
                    <a:pt x="432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2"/>
                  </a:lnTo>
                  <a:lnTo>
                    <a:pt x="432" y="168"/>
                  </a:lnTo>
                  <a:lnTo>
                    <a:pt x="426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44" y="168"/>
                  </a:lnTo>
                  <a:lnTo>
                    <a:pt x="444" y="174"/>
                  </a:lnTo>
                  <a:lnTo>
                    <a:pt x="444" y="180"/>
                  </a:lnTo>
                  <a:lnTo>
                    <a:pt x="444" y="186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2" y="192"/>
                  </a:lnTo>
                  <a:lnTo>
                    <a:pt x="426" y="192"/>
                  </a:lnTo>
                  <a:lnTo>
                    <a:pt x="420" y="186"/>
                  </a:lnTo>
                  <a:lnTo>
                    <a:pt x="414" y="186"/>
                  </a:lnTo>
                  <a:lnTo>
                    <a:pt x="408" y="186"/>
                  </a:lnTo>
                  <a:lnTo>
                    <a:pt x="402" y="186"/>
                  </a:lnTo>
                  <a:lnTo>
                    <a:pt x="396" y="186"/>
                  </a:lnTo>
                  <a:lnTo>
                    <a:pt x="390" y="186"/>
                  </a:lnTo>
                  <a:lnTo>
                    <a:pt x="384" y="186"/>
                  </a:lnTo>
                  <a:lnTo>
                    <a:pt x="378" y="186"/>
                  </a:lnTo>
                  <a:lnTo>
                    <a:pt x="372" y="186"/>
                  </a:lnTo>
                  <a:lnTo>
                    <a:pt x="354" y="186"/>
                  </a:lnTo>
                  <a:lnTo>
                    <a:pt x="342" y="186"/>
                  </a:lnTo>
                  <a:lnTo>
                    <a:pt x="324" y="186"/>
                  </a:lnTo>
                  <a:lnTo>
                    <a:pt x="312" y="186"/>
                  </a:lnTo>
                  <a:lnTo>
                    <a:pt x="306" y="186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82" y="186"/>
                  </a:lnTo>
                  <a:lnTo>
                    <a:pt x="270" y="186"/>
                  </a:lnTo>
                  <a:lnTo>
                    <a:pt x="264" y="186"/>
                  </a:lnTo>
                  <a:lnTo>
                    <a:pt x="258" y="192"/>
                  </a:lnTo>
                  <a:lnTo>
                    <a:pt x="258" y="186"/>
                  </a:lnTo>
                  <a:lnTo>
                    <a:pt x="246" y="186"/>
                  </a:lnTo>
                  <a:lnTo>
                    <a:pt x="240" y="186"/>
                  </a:lnTo>
                  <a:lnTo>
                    <a:pt x="234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2"/>
                  </a:lnTo>
                  <a:lnTo>
                    <a:pt x="204" y="192"/>
                  </a:lnTo>
                  <a:lnTo>
                    <a:pt x="198" y="192"/>
                  </a:lnTo>
                  <a:lnTo>
                    <a:pt x="192" y="192"/>
                  </a:lnTo>
                  <a:lnTo>
                    <a:pt x="180" y="192"/>
                  </a:lnTo>
                  <a:lnTo>
                    <a:pt x="168" y="192"/>
                  </a:lnTo>
                  <a:lnTo>
                    <a:pt x="162" y="192"/>
                  </a:lnTo>
                  <a:lnTo>
                    <a:pt x="150" y="192"/>
                  </a:lnTo>
                  <a:lnTo>
                    <a:pt x="138" y="192"/>
                  </a:lnTo>
                  <a:lnTo>
                    <a:pt x="132" y="192"/>
                  </a:lnTo>
                  <a:lnTo>
                    <a:pt x="120" y="192"/>
                  </a:lnTo>
                  <a:lnTo>
                    <a:pt x="114" y="192"/>
                  </a:lnTo>
                  <a:lnTo>
                    <a:pt x="108" y="192"/>
                  </a:lnTo>
                  <a:lnTo>
                    <a:pt x="102" y="192"/>
                  </a:lnTo>
                  <a:lnTo>
                    <a:pt x="90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2" y="198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36" y="198"/>
                  </a:lnTo>
                  <a:lnTo>
                    <a:pt x="30" y="204"/>
                  </a:lnTo>
                  <a:lnTo>
                    <a:pt x="24" y="204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6" y="210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54" y="156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56"/>
                  </a:lnTo>
                  <a:lnTo>
                    <a:pt x="78" y="162"/>
                  </a:lnTo>
                  <a:lnTo>
                    <a:pt x="84" y="162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9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0" y="126"/>
                  </a:lnTo>
                  <a:lnTo>
                    <a:pt x="276" y="120"/>
                  </a:lnTo>
                  <a:lnTo>
                    <a:pt x="282" y="120"/>
                  </a:lnTo>
                  <a:lnTo>
                    <a:pt x="300" y="120"/>
                  </a:lnTo>
                  <a:lnTo>
                    <a:pt x="306" y="114"/>
                  </a:lnTo>
                  <a:lnTo>
                    <a:pt x="312" y="108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8"/>
                  </a:lnTo>
                  <a:lnTo>
                    <a:pt x="342" y="30"/>
                  </a:lnTo>
                  <a:lnTo>
                    <a:pt x="342" y="24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8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24"/>
                  </a:lnTo>
                  <a:lnTo>
                    <a:pt x="414" y="30"/>
                  </a:lnTo>
                  <a:lnTo>
                    <a:pt x="420" y="30"/>
                  </a:lnTo>
                  <a:lnTo>
                    <a:pt x="42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74" y="30"/>
                  </a:lnTo>
                  <a:lnTo>
                    <a:pt x="474" y="18"/>
                  </a:lnTo>
                  <a:lnTo>
                    <a:pt x="474" y="12"/>
                  </a:lnTo>
                  <a:lnTo>
                    <a:pt x="480" y="12"/>
                  </a:lnTo>
                  <a:lnTo>
                    <a:pt x="486" y="12"/>
                  </a:lnTo>
                  <a:lnTo>
                    <a:pt x="606" y="12"/>
                  </a:lnTo>
                  <a:lnTo>
                    <a:pt x="630" y="12"/>
                  </a:lnTo>
                  <a:lnTo>
                    <a:pt x="678" y="12"/>
                  </a:lnTo>
                  <a:lnTo>
                    <a:pt x="744" y="12"/>
                  </a:lnTo>
                  <a:lnTo>
                    <a:pt x="774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2" y="6"/>
                  </a:lnTo>
                  <a:lnTo>
                    <a:pt x="888" y="12"/>
                  </a:lnTo>
                  <a:lnTo>
                    <a:pt x="888" y="24"/>
                  </a:lnTo>
                  <a:lnTo>
                    <a:pt x="888" y="30"/>
                  </a:lnTo>
                  <a:lnTo>
                    <a:pt x="882" y="36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64" y="42"/>
                  </a:lnTo>
                  <a:lnTo>
                    <a:pt x="864" y="48"/>
                  </a:lnTo>
                  <a:lnTo>
                    <a:pt x="858" y="54"/>
                  </a:lnTo>
                  <a:lnTo>
                    <a:pt x="864" y="54"/>
                  </a:lnTo>
                  <a:lnTo>
                    <a:pt x="870" y="72"/>
                  </a:lnTo>
                  <a:lnTo>
                    <a:pt x="870" y="78"/>
                  </a:lnTo>
                  <a:lnTo>
                    <a:pt x="870" y="84"/>
                  </a:lnTo>
                  <a:lnTo>
                    <a:pt x="870" y="90"/>
                  </a:lnTo>
                  <a:close/>
                  <a:moveTo>
                    <a:pt x="972" y="156"/>
                  </a:moveTo>
                  <a:lnTo>
                    <a:pt x="972" y="162"/>
                  </a:lnTo>
                  <a:lnTo>
                    <a:pt x="978" y="162"/>
                  </a:lnTo>
                  <a:lnTo>
                    <a:pt x="984" y="168"/>
                  </a:lnTo>
                  <a:lnTo>
                    <a:pt x="990" y="168"/>
                  </a:lnTo>
                  <a:lnTo>
                    <a:pt x="990" y="162"/>
                  </a:lnTo>
                  <a:lnTo>
                    <a:pt x="1008" y="162"/>
                  </a:lnTo>
                  <a:lnTo>
                    <a:pt x="1020" y="162"/>
                  </a:lnTo>
                  <a:lnTo>
                    <a:pt x="1038" y="162"/>
                  </a:lnTo>
                  <a:lnTo>
                    <a:pt x="1056" y="168"/>
                  </a:lnTo>
                  <a:lnTo>
                    <a:pt x="1056" y="180"/>
                  </a:lnTo>
                  <a:lnTo>
                    <a:pt x="1056" y="186"/>
                  </a:lnTo>
                  <a:lnTo>
                    <a:pt x="1056" y="204"/>
                  </a:lnTo>
                  <a:lnTo>
                    <a:pt x="1050" y="204"/>
                  </a:lnTo>
                  <a:lnTo>
                    <a:pt x="1044" y="204"/>
                  </a:lnTo>
                  <a:lnTo>
                    <a:pt x="1038" y="204"/>
                  </a:lnTo>
                  <a:lnTo>
                    <a:pt x="1032" y="204"/>
                  </a:lnTo>
                  <a:lnTo>
                    <a:pt x="1026" y="204"/>
                  </a:lnTo>
                  <a:lnTo>
                    <a:pt x="1020" y="204"/>
                  </a:lnTo>
                  <a:lnTo>
                    <a:pt x="1014" y="204"/>
                  </a:lnTo>
                  <a:lnTo>
                    <a:pt x="1008" y="204"/>
                  </a:lnTo>
                  <a:lnTo>
                    <a:pt x="1002" y="204"/>
                  </a:lnTo>
                  <a:lnTo>
                    <a:pt x="996" y="204"/>
                  </a:lnTo>
                  <a:lnTo>
                    <a:pt x="984" y="204"/>
                  </a:lnTo>
                  <a:lnTo>
                    <a:pt x="984" y="198"/>
                  </a:lnTo>
                  <a:lnTo>
                    <a:pt x="978" y="198"/>
                  </a:lnTo>
                  <a:lnTo>
                    <a:pt x="966" y="198"/>
                  </a:lnTo>
                  <a:lnTo>
                    <a:pt x="948" y="192"/>
                  </a:lnTo>
                  <a:lnTo>
                    <a:pt x="942" y="192"/>
                  </a:lnTo>
                  <a:lnTo>
                    <a:pt x="936" y="192"/>
                  </a:lnTo>
                  <a:lnTo>
                    <a:pt x="924" y="192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12" y="186"/>
                  </a:lnTo>
                  <a:lnTo>
                    <a:pt x="906" y="186"/>
                  </a:lnTo>
                  <a:lnTo>
                    <a:pt x="900" y="186"/>
                  </a:lnTo>
                  <a:lnTo>
                    <a:pt x="894" y="186"/>
                  </a:lnTo>
                  <a:lnTo>
                    <a:pt x="888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76" y="180"/>
                  </a:lnTo>
                  <a:lnTo>
                    <a:pt x="870" y="180"/>
                  </a:lnTo>
                  <a:lnTo>
                    <a:pt x="864" y="180"/>
                  </a:lnTo>
                  <a:lnTo>
                    <a:pt x="858" y="180"/>
                  </a:lnTo>
                  <a:lnTo>
                    <a:pt x="852" y="180"/>
                  </a:lnTo>
                  <a:lnTo>
                    <a:pt x="852" y="174"/>
                  </a:lnTo>
                  <a:lnTo>
                    <a:pt x="846" y="174"/>
                  </a:lnTo>
                  <a:lnTo>
                    <a:pt x="840" y="174"/>
                  </a:lnTo>
                  <a:lnTo>
                    <a:pt x="834" y="174"/>
                  </a:lnTo>
                  <a:lnTo>
                    <a:pt x="828" y="174"/>
                  </a:lnTo>
                  <a:lnTo>
                    <a:pt x="822" y="174"/>
                  </a:lnTo>
                  <a:lnTo>
                    <a:pt x="816" y="174"/>
                  </a:lnTo>
                  <a:lnTo>
                    <a:pt x="810" y="168"/>
                  </a:lnTo>
                  <a:lnTo>
                    <a:pt x="804" y="168"/>
                  </a:lnTo>
                  <a:lnTo>
                    <a:pt x="798" y="168"/>
                  </a:lnTo>
                  <a:lnTo>
                    <a:pt x="792" y="168"/>
                  </a:lnTo>
                  <a:lnTo>
                    <a:pt x="786" y="168"/>
                  </a:lnTo>
                  <a:lnTo>
                    <a:pt x="780" y="168"/>
                  </a:lnTo>
                  <a:lnTo>
                    <a:pt x="774" y="168"/>
                  </a:lnTo>
                  <a:lnTo>
                    <a:pt x="768" y="168"/>
                  </a:lnTo>
                  <a:lnTo>
                    <a:pt x="762" y="168"/>
                  </a:lnTo>
                  <a:lnTo>
                    <a:pt x="756" y="168"/>
                  </a:lnTo>
                  <a:lnTo>
                    <a:pt x="750" y="168"/>
                  </a:lnTo>
                  <a:lnTo>
                    <a:pt x="750" y="162"/>
                  </a:lnTo>
                  <a:lnTo>
                    <a:pt x="744" y="168"/>
                  </a:lnTo>
                  <a:lnTo>
                    <a:pt x="738" y="162"/>
                  </a:lnTo>
                  <a:lnTo>
                    <a:pt x="732" y="162"/>
                  </a:lnTo>
                  <a:lnTo>
                    <a:pt x="726" y="162"/>
                  </a:lnTo>
                  <a:lnTo>
                    <a:pt x="714" y="162"/>
                  </a:lnTo>
                  <a:lnTo>
                    <a:pt x="702" y="162"/>
                  </a:lnTo>
                  <a:lnTo>
                    <a:pt x="696" y="168"/>
                  </a:lnTo>
                  <a:lnTo>
                    <a:pt x="690" y="168"/>
                  </a:lnTo>
                  <a:lnTo>
                    <a:pt x="684" y="168"/>
                  </a:lnTo>
                  <a:lnTo>
                    <a:pt x="678" y="168"/>
                  </a:lnTo>
                  <a:lnTo>
                    <a:pt x="672" y="168"/>
                  </a:lnTo>
                  <a:lnTo>
                    <a:pt x="666" y="168"/>
                  </a:lnTo>
                  <a:lnTo>
                    <a:pt x="660" y="168"/>
                  </a:lnTo>
                  <a:lnTo>
                    <a:pt x="654" y="168"/>
                  </a:lnTo>
                  <a:lnTo>
                    <a:pt x="648" y="174"/>
                  </a:lnTo>
                  <a:lnTo>
                    <a:pt x="648" y="168"/>
                  </a:lnTo>
                  <a:lnTo>
                    <a:pt x="642" y="174"/>
                  </a:lnTo>
                  <a:lnTo>
                    <a:pt x="636" y="174"/>
                  </a:lnTo>
                  <a:lnTo>
                    <a:pt x="630" y="174"/>
                  </a:lnTo>
                  <a:lnTo>
                    <a:pt x="624" y="174"/>
                  </a:lnTo>
                  <a:lnTo>
                    <a:pt x="618" y="174"/>
                  </a:lnTo>
                  <a:lnTo>
                    <a:pt x="612" y="174"/>
                  </a:lnTo>
                  <a:lnTo>
                    <a:pt x="606" y="174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74"/>
                  </a:lnTo>
                  <a:lnTo>
                    <a:pt x="582" y="174"/>
                  </a:lnTo>
                  <a:lnTo>
                    <a:pt x="576" y="174"/>
                  </a:lnTo>
                  <a:lnTo>
                    <a:pt x="570" y="174"/>
                  </a:lnTo>
                  <a:lnTo>
                    <a:pt x="564" y="174"/>
                  </a:lnTo>
                  <a:lnTo>
                    <a:pt x="558" y="174"/>
                  </a:lnTo>
                  <a:lnTo>
                    <a:pt x="552" y="174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0" y="174"/>
                  </a:lnTo>
                  <a:lnTo>
                    <a:pt x="504" y="174"/>
                  </a:lnTo>
                  <a:lnTo>
                    <a:pt x="498" y="174"/>
                  </a:lnTo>
                  <a:lnTo>
                    <a:pt x="492" y="174"/>
                  </a:lnTo>
                  <a:lnTo>
                    <a:pt x="486" y="174"/>
                  </a:lnTo>
                  <a:lnTo>
                    <a:pt x="480" y="174"/>
                  </a:lnTo>
                  <a:lnTo>
                    <a:pt x="474" y="174"/>
                  </a:lnTo>
                  <a:lnTo>
                    <a:pt x="468" y="174"/>
                  </a:lnTo>
                  <a:lnTo>
                    <a:pt x="462" y="174"/>
                  </a:lnTo>
                  <a:lnTo>
                    <a:pt x="456" y="174"/>
                  </a:lnTo>
                  <a:lnTo>
                    <a:pt x="450" y="180"/>
                  </a:lnTo>
                  <a:lnTo>
                    <a:pt x="450" y="186"/>
                  </a:lnTo>
                  <a:lnTo>
                    <a:pt x="450" y="192"/>
                  </a:lnTo>
                  <a:lnTo>
                    <a:pt x="444" y="192"/>
                  </a:lnTo>
                  <a:lnTo>
                    <a:pt x="444" y="186"/>
                  </a:lnTo>
                  <a:lnTo>
                    <a:pt x="444" y="180"/>
                  </a:lnTo>
                  <a:lnTo>
                    <a:pt x="450" y="180"/>
                  </a:lnTo>
                  <a:lnTo>
                    <a:pt x="450" y="174"/>
                  </a:lnTo>
                  <a:lnTo>
                    <a:pt x="450" y="168"/>
                  </a:lnTo>
                  <a:lnTo>
                    <a:pt x="450" y="162"/>
                  </a:lnTo>
                  <a:lnTo>
                    <a:pt x="456" y="162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62" y="162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74" y="168"/>
                  </a:lnTo>
                  <a:lnTo>
                    <a:pt x="480" y="168"/>
                  </a:lnTo>
                  <a:lnTo>
                    <a:pt x="480" y="162"/>
                  </a:lnTo>
                  <a:lnTo>
                    <a:pt x="480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56"/>
                  </a:lnTo>
                  <a:lnTo>
                    <a:pt x="492" y="156"/>
                  </a:lnTo>
                  <a:lnTo>
                    <a:pt x="486" y="150"/>
                  </a:lnTo>
                  <a:lnTo>
                    <a:pt x="492" y="150"/>
                  </a:lnTo>
                  <a:lnTo>
                    <a:pt x="498" y="150"/>
                  </a:lnTo>
                  <a:lnTo>
                    <a:pt x="498" y="156"/>
                  </a:lnTo>
                  <a:lnTo>
                    <a:pt x="504" y="156"/>
                  </a:lnTo>
                  <a:lnTo>
                    <a:pt x="504" y="162"/>
                  </a:lnTo>
                  <a:lnTo>
                    <a:pt x="504" y="156"/>
                  </a:lnTo>
                  <a:lnTo>
                    <a:pt x="510" y="156"/>
                  </a:lnTo>
                  <a:lnTo>
                    <a:pt x="510" y="150"/>
                  </a:lnTo>
                  <a:lnTo>
                    <a:pt x="516" y="150"/>
                  </a:lnTo>
                  <a:lnTo>
                    <a:pt x="522" y="150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28" y="150"/>
                  </a:lnTo>
                  <a:lnTo>
                    <a:pt x="528" y="144"/>
                  </a:lnTo>
                  <a:lnTo>
                    <a:pt x="540" y="144"/>
                  </a:lnTo>
                  <a:lnTo>
                    <a:pt x="546" y="144"/>
                  </a:lnTo>
                  <a:lnTo>
                    <a:pt x="552" y="138"/>
                  </a:lnTo>
                  <a:lnTo>
                    <a:pt x="552" y="132"/>
                  </a:lnTo>
                  <a:lnTo>
                    <a:pt x="558" y="132"/>
                  </a:lnTo>
                  <a:lnTo>
                    <a:pt x="558" y="126"/>
                  </a:lnTo>
                  <a:lnTo>
                    <a:pt x="558" y="120"/>
                  </a:lnTo>
                  <a:lnTo>
                    <a:pt x="558" y="114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6" y="114"/>
                  </a:lnTo>
                  <a:lnTo>
                    <a:pt x="582" y="120"/>
                  </a:lnTo>
                  <a:lnTo>
                    <a:pt x="588" y="120"/>
                  </a:lnTo>
                  <a:lnTo>
                    <a:pt x="588" y="126"/>
                  </a:lnTo>
                  <a:lnTo>
                    <a:pt x="588" y="120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600" y="114"/>
                  </a:lnTo>
                  <a:lnTo>
                    <a:pt x="606" y="114"/>
                  </a:lnTo>
                  <a:lnTo>
                    <a:pt x="618" y="114"/>
                  </a:lnTo>
                  <a:lnTo>
                    <a:pt x="618" y="108"/>
                  </a:lnTo>
                  <a:lnTo>
                    <a:pt x="624" y="108"/>
                  </a:lnTo>
                  <a:lnTo>
                    <a:pt x="624" y="102"/>
                  </a:lnTo>
                  <a:lnTo>
                    <a:pt x="630" y="102"/>
                  </a:lnTo>
                  <a:lnTo>
                    <a:pt x="636" y="102"/>
                  </a:lnTo>
                  <a:lnTo>
                    <a:pt x="636" y="108"/>
                  </a:lnTo>
                  <a:lnTo>
                    <a:pt x="642" y="108"/>
                  </a:lnTo>
                  <a:lnTo>
                    <a:pt x="648" y="108"/>
                  </a:lnTo>
                  <a:lnTo>
                    <a:pt x="648" y="102"/>
                  </a:lnTo>
                  <a:lnTo>
                    <a:pt x="654" y="102"/>
                  </a:lnTo>
                  <a:lnTo>
                    <a:pt x="660" y="102"/>
                  </a:lnTo>
                  <a:lnTo>
                    <a:pt x="660" y="96"/>
                  </a:lnTo>
                  <a:lnTo>
                    <a:pt x="660" y="90"/>
                  </a:lnTo>
                  <a:lnTo>
                    <a:pt x="666" y="90"/>
                  </a:lnTo>
                  <a:lnTo>
                    <a:pt x="666" y="84"/>
                  </a:lnTo>
                  <a:lnTo>
                    <a:pt x="672" y="78"/>
                  </a:lnTo>
                  <a:lnTo>
                    <a:pt x="672" y="72"/>
                  </a:lnTo>
                  <a:lnTo>
                    <a:pt x="678" y="66"/>
                  </a:lnTo>
                  <a:lnTo>
                    <a:pt x="684" y="66"/>
                  </a:lnTo>
                  <a:lnTo>
                    <a:pt x="684" y="60"/>
                  </a:lnTo>
                  <a:lnTo>
                    <a:pt x="690" y="60"/>
                  </a:lnTo>
                  <a:lnTo>
                    <a:pt x="696" y="60"/>
                  </a:lnTo>
                  <a:lnTo>
                    <a:pt x="702" y="60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66"/>
                  </a:lnTo>
                  <a:lnTo>
                    <a:pt x="720" y="66"/>
                  </a:lnTo>
                  <a:lnTo>
                    <a:pt x="720" y="60"/>
                  </a:lnTo>
                  <a:lnTo>
                    <a:pt x="726" y="60"/>
                  </a:lnTo>
                  <a:lnTo>
                    <a:pt x="732" y="60"/>
                  </a:lnTo>
                  <a:lnTo>
                    <a:pt x="744" y="60"/>
                  </a:lnTo>
                  <a:lnTo>
                    <a:pt x="750" y="54"/>
                  </a:lnTo>
                  <a:lnTo>
                    <a:pt x="762" y="60"/>
                  </a:lnTo>
                  <a:lnTo>
                    <a:pt x="774" y="60"/>
                  </a:lnTo>
                  <a:lnTo>
                    <a:pt x="774" y="66"/>
                  </a:lnTo>
                  <a:lnTo>
                    <a:pt x="780" y="72"/>
                  </a:lnTo>
                  <a:lnTo>
                    <a:pt x="786" y="78"/>
                  </a:lnTo>
                  <a:lnTo>
                    <a:pt x="792" y="78"/>
                  </a:lnTo>
                  <a:lnTo>
                    <a:pt x="810" y="84"/>
                  </a:lnTo>
                  <a:lnTo>
                    <a:pt x="822" y="84"/>
                  </a:lnTo>
                  <a:lnTo>
                    <a:pt x="828" y="84"/>
                  </a:lnTo>
                  <a:lnTo>
                    <a:pt x="834" y="84"/>
                  </a:lnTo>
                  <a:lnTo>
                    <a:pt x="840" y="96"/>
                  </a:lnTo>
                  <a:lnTo>
                    <a:pt x="846" y="102"/>
                  </a:lnTo>
                  <a:lnTo>
                    <a:pt x="858" y="102"/>
                  </a:lnTo>
                  <a:lnTo>
                    <a:pt x="864" y="102"/>
                  </a:lnTo>
                  <a:lnTo>
                    <a:pt x="876" y="96"/>
                  </a:lnTo>
                  <a:lnTo>
                    <a:pt x="882" y="102"/>
                  </a:lnTo>
                  <a:lnTo>
                    <a:pt x="888" y="108"/>
                  </a:lnTo>
                  <a:lnTo>
                    <a:pt x="888" y="114"/>
                  </a:lnTo>
                  <a:lnTo>
                    <a:pt x="888" y="120"/>
                  </a:lnTo>
                  <a:lnTo>
                    <a:pt x="888" y="126"/>
                  </a:lnTo>
                  <a:lnTo>
                    <a:pt x="888" y="132"/>
                  </a:lnTo>
                  <a:lnTo>
                    <a:pt x="882" y="132"/>
                  </a:lnTo>
                  <a:lnTo>
                    <a:pt x="864" y="126"/>
                  </a:lnTo>
                  <a:lnTo>
                    <a:pt x="852" y="120"/>
                  </a:lnTo>
                  <a:lnTo>
                    <a:pt x="840" y="126"/>
                  </a:lnTo>
                  <a:lnTo>
                    <a:pt x="834" y="120"/>
                  </a:lnTo>
                  <a:lnTo>
                    <a:pt x="828" y="120"/>
                  </a:lnTo>
                  <a:lnTo>
                    <a:pt x="822" y="120"/>
                  </a:lnTo>
                  <a:lnTo>
                    <a:pt x="810" y="114"/>
                  </a:lnTo>
                  <a:lnTo>
                    <a:pt x="804" y="114"/>
                  </a:lnTo>
                  <a:lnTo>
                    <a:pt x="798" y="114"/>
                  </a:lnTo>
                  <a:lnTo>
                    <a:pt x="792" y="114"/>
                  </a:lnTo>
                  <a:lnTo>
                    <a:pt x="786" y="114"/>
                  </a:lnTo>
                  <a:lnTo>
                    <a:pt x="780" y="114"/>
                  </a:lnTo>
                  <a:lnTo>
                    <a:pt x="780" y="126"/>
                  </a:lnTo>
                  <a:lnTo>
                    <a:pt x="786" y="126"/>
                  </a:lnTo>
                  <a:lnTo>
                    <a:pt x="798" y="126"/>
                  </a:lnTo>
                  <a:lnTo>
                    <a:pt x="804" y="126"/>
                  </a:lnTo>
                  <a:lnTo>
                    <a:pt x="822" y="132"/>
                  </a:lnTo>
                  <a:lnTo>
                    <a:pt x="828" y="132"/>
                  </a:lnTo>
                  <a:lnTo>
                    <a:pt x="834" y="132"/>
                  </a:lnTo>
                  <a:lnTo>
                    <a:pt x="840" y="144"/>
                  </a:lnTo>
                  <a:lnTo>
                    <a:pt x="846" y="150"/>
                  </a:lnTo>
                  <a:lnTo>
                    <a:pt x="858" y="150"/>
                  </a:lnTo>
                  <a:lnTo>
                    <a:pt x="864" y="162"/>
                  </a:lnTo>
                  <a:lnTo>
                    <a:pt x="870" y="162"/>
                  </a:lnTo>
                  <a:lnTo>
                    <a:pt x="876" y="168"/>
                  </a:lnTo>
                  <a:lnTo>
                    <a:pt x="888" y="168"/>
                  </a:lnTo>
                  <a:lnTo>
                    <a:pt x="894" y="174"/>
                  </a:lnTo>
                  <a:lnTo>
                    <a:pt x="900" y="174"/>
                  </a:lnTo>
                  <a:lnTo>
                    <a:pt x="918" y="174"/>
                  </a:lnTo>
                  <a:lnTo>
                    <a:pt x="924" y="174"/>
                  </a:lnTo>
                  <a:lnTo>
                    <a:pt x="930" y="174"/>
                  </a:lnTo>
                  <a:lnTo>
                    <a:pt x="942" y="174"/>
                  </a:lnTo>
                  <a:lnTo>
                    <a:pt x="954" y="174"/>
                  </a:lnTo>
                  <a:lnTo>
                    <a:pt x="960" y="174"/>
                  </a:lnTo>
                  <a:lnTo>
                    <a:pt x="966" y="174"/>
                  </a:lnTo>
                  <a:lnTo>
                    <a:pt x="966" y="168"/>
                  </a:lnTo>
                  <a:lnTo>
                    <a:pt x="972" y="162"/>
                  </a:lnTo>
                  <a:lnTo>
                    <a:pt x="972" y="156"/>
                  </a:lnTo>
                  <a:close/>
                  <a:moveTo>
                    <a:pt x="942" y="174"/>
                  </a:moveTo>
                  <a:lnTo>
                    <a:pt x="936" y="174"/>
                  </a:lnTo>
                  <a:lnTo>
                    <a:pt x="936" y="168"/>
                  </a:lnTo>
                  <a:lnTo>
                    <a:pt x="936" y="162"/>
                  </a:lnTo>
                  <a:lnTo>
                    <a:pt x="948" y="162"/>
                  </a:lnTo>
                  <a:lnTo>
                    <a:pt x="948" y="156"/>
                  </a:lnTo>
                  <a:lnTo>
                    <a:pt x="954" y="156"/>
                  </a:lnTo>
                  <a:lnTo>
                    <a:pt x="960" y="156"/>
                  </a:lnTo>
                  <a:lnTo>
                    <a:pt x="966" y="156"/>
                  </a:lnTo>
                  <a:lnTo>
                    <a:pt x="966" y="162"/>
                  </a:lnTo>
                  <a:lnTo>
                    <a:pt x="960" y="168"/>
                  </a:lnTo>
                  <a:lnTo>
                    <a:pt x="942" y="174"/>
                  </a:lnTo>
                  <a:close/>
                  <a:moveTo>
                    <a:pt x="900" y="168"/>
                  </a:moveTo>
                  <a:lnTo>
                    <a:pt x="894" y="168"/>
                  </a:lnTo>
                  <a:lnTo>
                    <a:pt x="882" y="156"/>
                  </a:lnTo>
                  <a:lnTo>
                    <a:pt x="882" y="150"/>
                  </a:lnTo>
                  <a:lnTo>
                    <a:pt x="888" y="156"/>
                  </a:lnTo>
                  <a:lnTo>
                    <a:pt x="894" y="150"/>
                  </a:lnTo>
                  <a:lnTo>
                    <a:pt x="900" y="150"/>
                  </a:lnTo>
                  <a:lnTo>
                    <a:pt x="906" y="150"/>
                  </a:lnTo>
                  <a:lnTo>
                    <a:pt x="912" y="150"/>
                  </a:lnTo>
                  <a:lnTo>
                    <a:pt x="924" y="150"/>
                  </a:lnTo>
                  <a:lnTo>
                    <a:pt x="924" y="156"/>
                  </a:lnTo>
                  <a:lnTo>
                    <a:pt x="924" y="162"/>
                  </a:lnTo>
                  <a:lnTo>
                    <a:pt x="924" y="168"/>
                  </a:lnTo>
                  <a:lnTo>
                    <a:pt x="918" y="168"/>
                  </a:lnTo>
                  <a:lnTo>
                    <a:pt x="906" y="168"/>
                  </a:lnTo>
                  <a:lnTo>
                    <a:pt x="900" y="168"/>
                  </a:lnTo>
                  <a:close/>
                  <a:moveTo>
                    <a:pt x="870" y="162"/>
                  </a:moveTo>
                  <a:lnTo>
                    <a:pt x="876" y="162"/>
                  </a:lnTo>
                  <a:lnTo>
                    <a:pt x="876" y="168"/>
                  </a:lnTo>
                  <a:lnTo>
                    <a:pt x="870" y="168"/>
                  </a:lnTo>
                  <a:lnTo>
                    <a:pt x="870" y="162"/>
                  </a:lnTo>
                  <a:close/>
                  <a:moveTo>
                    <a:pt x="450" y="162"/>
                  </a:moveTo>
                  <a:lnTo>
                    <a:pt x="444" y="162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2" y="150"/>
                  </a:lnTo>
                  <a:lnTo>
                    <a:pt x="438" y="150"/>
                  </a:lnTo>
                  <a:lnTo>
                    <a:pt x="438" y="144"/>
                  </a:lnTo>
                  <a:lnTo>
                    <a:pt x="438" y="150"/>
                  </a:lnTo>
                  <a:lnTo>
                    <a:pt x="444" y="150"/>
                  </a:lnTo>
                  <a:lnTo>
                    <a:pt x="450" y="150"/>
                  </a:lnTo>
                  <a:lnTo>
                    <a:pt x="450" y="156"/>
                  </a:lnTo>
                  <a:lnTo>
                    <a:pt x="456" y="156"/>
                  </a:lnTo>
                  <a:lnTo>
                    <a:pt x="456" y="150"/>
                  </a:lnTo>
                  <a:lnTo>
                    <a:pt x="456" y="156"/>
                  </a:lnTo>
                  <a:lnTo>
                    <a:pt x="462" y="150"/>
                  </a:lnTo>
                  <a:lnTo>
                    <a:pt x="462" y="144"/>
                  </a:lnTo>
                  <a:lnTo>
                    <a:pt x="468" y="144"/>
                  </a:lnTo>
                  <a:lnTo>
                    <a:pt x="468" y="150"/>
                  </a:lnTo>
                  <a:lnTo>
                    <a:pt x="474" y="150"/>
                  </a:lnTo>
                  <a:lnTo>
                    <a:pt x="480" y="150"/>
                  </a:lnTo>
                  <a:lnTo>
                    <a:pt x="480" y="156"/>
                  </a:lnTo>
                  <a:lnTo>
                    <a:pt x="480" y="162"/>
                  </a:lnTo>
                  <a:lnTo>
                    <a:pt x="474" y="162"/>
                  </a:lnTo>
                  <a:lnTo>
                    <a:pt x="474" y="168"/>
                  </a:lnTo>
                  <a:lnTo>
                    <a:pt x="474" y="162"/>
                  </a:lnTo>
                  <a:lnTo>
                    <a:pt x="468" y="162"/>
                  </a:lnTo>
                  <a:lnTo>
                    <a:pt x="462" y="162"/>
                  </a:lnTo>
                  <a:lnTo>
                    <a:pt x="456" y="162"/>
                  </a:lnTo>
                  <a:lnTo>
                    <a:pt x="450" y="16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6" name="Freeform 31">
              <a:extLst>
                <a:ext uri="{FF2B5EF4-FFF2-40B4-BE49-F238E27FC236}">
                  <a16:creationId xmlns:a16="http://schemas.microsoft.com/office/drawing/2014/main" id="{0989F057-38E8-4AA5-8B73-27F6355E235C}"/>
                </a:ext>
              </a:extLst>
            </p:cNvPr>
            <p:cNvSpPr>
              <a:spLocks/>
            </p:cNvSpPr>
            <p:nvPr/>
          </p:nvSpPr>
          <p:spPr bwMode="gray">
            <a:xfrm>
              <a:off x="792590" y="2728084"/>
              <a:ext cx="1182944" cy="740282"/>
            </a:xfrm>
            <a:custGeom>
              <a:avLst/>
              <a:gdLst>
                <a:gd name="T0" fmla="*/ 138 w 2226"/>
                <a:gd name="T1" fmla="*/ 121 h 1392"/>
                <a:gd name="T2" fmla="*/ 133 w 2226"/>
                <a:gd name="T3" fmla="*/ 119 h 1392"/>
                <a:gd name="T4" fmla="*/ 128 w 2226"/>
                <a:gd name="T5" fmla="*/ 117 h 1392"/>
                <a:gd name="T6" fmla="*/ 119 w 2226"/>
                <a:gd name="T7" fmla="*/ 116 h 1392"/>
                <a:gd name="T8" fmla="*/ 101 w 2226"/>
                <a:gd name="T9" fmla="*/ 116 h 1392"/>
                <a:gd name="T10" fmla="*/ 94 w 2226"/>
                <a:gd name="T11" fmla="*/ 104 h 1392"/>
                <a:gd name="T12" fmla="*/ 82 w 2226"/>
                <a:gd name="T13" fmla="*/ 83 h 1392"/>
                <a:gd name="T14" fmla="*/ 87 w 2226"/>
                <a:gd name="T15" fmla="*/ 69 h 1392"/>
                <a:gd name="T16" fmla="*/ 82 w 2226"/>
                <a:gd name="T17" fmla="*/ 65 h 1392"/>
                <a:gd name="T18" fmla="*/ 59 w 2226"/>
                <a:gd name="T19" fmla="*/ 57 h 1392"/>
                <a:gd name="T20" fmla="*/ 29 w 2226"/>
                <a:gd name="T21" fmla="*/ 77 h 1392"/>
                <a:gd name="T22" fmla="*/ 20 w 2226"/>
                <a:gd name="T23" fmla="*/ 78 h 1392"/>
                <a:gd name="T24" fmla="*/ 15 w 2226"/>
                <a:gd name="T25" fmla="*/ 82 h 1392"/>
                <a:gd name="T26" fmla="*/ 8 w 2226"/>
                <a:gd name="T27" fmla="*/ 86 h 1392"/>
                <a:gd name="T28" fmla="*/ 1 w 2226"/>
                <a:gd name="T29" fmla="*/ 88 h 1392"/>
                <a:gd name="T30" fmla="*/ 0 w 2226"/>
                <a:gd name="T31" fmla="*/ 82 h 1392"/>
                <a:gd name="T32" fmla="*/ 0 w 2226"/>
                <a:gd name="T33" fmla="*/ 76 h 1392"/>
                <a:gd name="T34" fmla="*/ 2 w 2226"/>
                <a:gd name="T35" fmla="*/ 70 h 1392"/>
                <a:gd name="T36" fmla="*/ 3 w 2226"/>
                <a:gd name="T37" fmla="*/ 65 h 1392"/>
                <a:gd name="T38" fmla="*/ 2 w 2226"/>
                <a:gd name="T39" fmla="*/ 63 h 1392"/>
                <a:gd name="T40" fmla="*/ 9 w 2226"/>
                <a:gd name="T41" fmla="*/ 60 h 1392"/>
                <a:gd name="T42" fmla="*/ 17 w 2226"/>
                <a:gd name="T43" fmla="*/ 59 h 1392"/>
                <a:gd name="T44" fmla="*/ 22 w 2226"/>
                <a:gd name="T45" fmla="*/ 51 h 1392"/>
                <a:gd name="T46" fmla="*/ 23 w 2226"/>
                <a:gd name="T47" fmla="*/ 43 h 1392"/>
                <a:gd name="T48" fmla="*/ 27 w 2226"/>
                <a:gd name="T49" fmla="*/ 34 h 1392"/>
                <a:gd name="T50" fmla="*/ 30 w 2226"/>
                <a:gd name="T51" fmla="*/ 27 h 1392"/>
                <a:gd name="T52" fmla="*/ 33 w 2226"/>
                <a:gd name="T53" fmla="*/ 22 h 1392"/>
                <a:gd name="T54" fmla="*/ 42 w 2226"/>
                <a:gd name="T55" fmla="*/ 17 h 1392"/>
                <a:gd name="T56" fmla="*/ 47 w 2226"/>
                <a:gd name="T57" fmla="*/ 14 h 1392"/>
                <a:gd name="T58" fmla="*/ 49 w 2226"/>
                <a:gd name="T59" fmla="*/ 5 h 1392"/>
                <a:gd name="T60" fmla="*/ 53 w 2226"/>
                <a:gd name="T61" fmla="*/ 0 h 1392"/>
                <a:gd name="T62" fmla="*/ 55 w 2226"/>
                <a:gd name="T63" fmla="*/ 4 h 1392"/>
                <a:gd name="T64" fmla="*/ 59 w 2226"/>
                <a:gd name="T65" fmla="*/ 7 h 1392"/>
                <a:gd name="T66" fmla="*/ 63 w 2226"/>
                <a:gd name="T67" fmla="*/ 7 h 1392"/>
                <a:gd name="T68" fmla="*/ 66 w 2226"/>
                <a:gd name="T69" fmla="*/ 9 h 1392"/>
                <a:gd name="T70" fmla="*/ 67 w 2226"/>
                <a:gd name="T71" fmla="*/ 12 h 1392"/>
                <a:gd name="T72" fmla="*/ 67 w 2226"/>
                <a:gd name="T73" fmla="*/ 13 h 1392"/>
                <a:gd name="T74" fmla="*/ 70 w 2226"/>
                <a:gd name="T75" fmla="*/ 15 h 1392"/>
                <a:gd name="T76" fmla="*/ 74 w 2226"/>
                <a:gd name="T77" fmla="*/ 17 h 1392"/>
                <a:gd name="T78" fmla="*/ 78 w 2226"/>
                <a:gd name="T79" fmla="*/ 18 h 1392"/>
                <a:gd name="T80" fmla="*/ 97 w 2226"/>
                <a:gd name="T81" fmla="*/ 40 h 1392"/>
                <a:gd name="T82" fmla="*/ 102 w 2226"/>
                <a:gd name="T83" fmla="*/ 44 h 1392"/>
                <a:gd name="T84" fmla="*/ 110 w 2226"/>
                <a:gd name="T85" fmla="*/ 49 h 1392"/>
                <a:gd name="T86" fmla="*/ 113 w 2226"/>
                <a:gd name="T87" fmla="*/ 53 h 1392"/>
                <a:gd name="T88" fmla="*/ 118 w 2226"/>
                <a:gd name="T89" fmla="*/ 57 h 1392"/>
                <a:gd name="T90" fmla="*/ 124 w 2226"/>
                <a:gd name="T91" fmla="*/ 54 h 1392"/>
                <a:gd name="T92" fmla="*/ 133 w 2226"/>
                <a:gd name="T93" fmla="*/ 58 h 1392"/>
                <a:gd name="T94" fmla="*/ 137 w 2226"/>
                <a:gd name="T95" fmla="*/ 64 h 1392"/>
                <a:gd name="T96" fmla="*/ 145 w 2226"/>
                <a:gd name="T97" fmla="*/ 65 h 1392"/>
                <a:gd name="T98" fmla="*/ 152 w 2226"/>
                <a:gd name="T99" fmla="*/ 67 h 1392"/>
                <a:gd name="T100" fmla="*/ 161 w 2226"/>
                <a:gd name="T101" fmla="*/ 72 h 1392"/>
                <a:gd name="T102" fmla="*/ 168 w 2226"/>
                <a:gd name="T103" fmla="*/ 76 h 1392"/>
                <a:gd name="T104" fmla="*/ 177 w 2226"/>
                <a:gd name="T105" fmla="*/ 78 h 1392"/>
                <a:gd name="T106" fmla="*/ 184 w 2226"/>
                <a:gd name="T107" fmla="*/ 78 h 1392"/>
                <a:gd name="T108" fmla="*/ 190 w 2226"/>
                <a:gd name="T109" fmla="*/ 81 h 1392"/>
                <a:gd name="T110" fmla="*/ 192 w 2226"/>
                <a:gd name="T111" fmla="*/ 86 h 1392"/>
                <a:gd name="T112" fmla="*/ 187 w 2226"/>
                <a:gd name="T113" fmla="*/ 99 h 1392"/>
                <a:gd name="T114" fmla="*/ 165 w 2226"/>
                <a:gd name="T115" fmla="*/ 97 h 1392"/>
                <a:gd name="T116" fmla="*/ 155 w 2226"/>
                <a:gd name="T117" fmla="*/ 92 h 1392"/>
                <a:gd name="T118" fmla="*/ 146 w 2226"/>
                <a:gd name="T119" fmla="*/ 102 h 1392"/>
                <a:gd name="T120" fmla="*/ 149 w 2226"/>
                <a:gd name="T121" fmla="*/ 106 h 1392"/>
                <a:gd name="T122" fmla="*/ 151 w 2226"/>
                <a:gd name="T123" fmla="*/ 108 h 1392"/>
                <a:gd name="T124" fmla="*/ 157 w 2226"/>
                <a:gd name="T125" fmla="*/ 113 h 13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1392"/>
                <a:gd name="T191" fmla="*/ 2226 w 2226"/>
                <a:gd name="T192" fmla="*/ 1392 h 13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1392">
                  <a:moveTo>
                    <a:pt x="1782" y="1326"/>
                  </a:moveTo>
                  <a:lnTo>
                    <a:pt x="1776" y="1332"/>
                  </a:lnTo>
                  <a:lnTo>
                    <a:pt x="1692" y="1338"/>
                  </a:lnTo>
                  <a:lnTo>
                    <a:pt x="1680" y="1386"/>
                  </a:lnTo>
                  <a:lnTo>
                    <a:pt x="1674" y="1392"/>
                  </a:lnTo>
                  <a:lnTo>
                    <a:pt x="1638" y="1392"/>
                  </a:lnTo>
                  <a:lnTo>
                    <a:pt x="1620" y="1392"/>
                  </a:lnTo>
                  <a:lnTo>
                    <a:pt x="1614" y="1392"/>
                  </a:lnTo>
                  <a:lnTo>
                    <a:pt x="1608" y="1386"/>
                  </a:lnTo>
                  <a:lnTo>
                    <a:pt x="1584" y="1386"/>
                  </a:lnTo>
                  <a:lnTo>
                    <a:pt x="1578" y="1386"/>
                  </a:lnTo>
                  <a:lnTo>
                    <a:pt x="1572" y="1380"/>
                  </a:lnTo>
                  <a:lnTo>
                    <a:pt x="1578" y="1356"/>
                  </a:lnTo>
                  <a:lnTo>
                    <a:pt x="1572" y="1356"/>
                  </a:lnTo>
                  <a:lnTo>
                    <a:pt x="1560" y="1350"/>
                  </a:lnTo>
                  <a:lnTo>
                    <a:pt x="1554" y="1350"/>
                  </a:lnTo>
                  <a:lnTo>
                    <a:pt x="1542" y="1350"/>
                  </a:lnTo>
                  <a:lnTo>
                    <a:pt x="1530" y="1350"/>
                  </a:lnTo>
                  <a:lnTo>
                    <a:pt x="1524" y="1356"/>
                  </a:lnTo>
                  <a:lnTo>
                    <a:pt x="1524" y="1362"/>
                  </a:lnTo>
                  <a:lnTo>
                    <a:pt x="1512" y="1374"/>
                  </a:lnTo>
                  <a:lnTo>
                    <a:pt x="1506" y="1374"/>
                  </a:lnTo>
                  <a:lnTo>
                    <a:pt x="1500" y="1368"/>
                  </a:lnTo>
                  <a:lnTo>
                    <a:pt x="1500" y="1362"/>
                  </a:lnTo>
                  <a:lnTo>
                    <a:pt x="1488" y="1362"/>
                  </a:lnTo>
                  <a:lnTo>
                    <a:pt x="1482" y="1356"/>
                  </a:lnTo>
                  <a:lnTo>
                    <a:pt x="1482" y="1350"/>
                  </a:lnTo>
                  <a:lnTo>
                    <a:pt x="1476" y="1350"/>
                  </a:lnTo>
                  <a:lnTo>
                    <a:pt x="1470" y="1344"/>
                  </a:lnTo>
                  <a:lnTo>
                    <a:pt x="1464" y="1344"/>
                  </a:lnTo>
                  <a:lnTo>
                    <a:pt x="1452" y="1350"/>
                  </a:lnTo>
                  <a:lnTo>
                    <a:pt x="1452" y="1356"/>
                  </a:lnTo>
                  <a:lnTo>
                    <a:pt x="1440" y="1356"/>
                  </a:lnTo>
                  <a:lnTo>
                    <a:pt x="1434" y="1344"/>
                  </a:lnTo>
                  <a:lnTo>
                    <a:pt x="1422" y="1332"/>
                  </a:lnTo>
                  <a:lnTo>
                    <a:pt x="1416" y="1326"/>
                  </a:lnTo>
                  <a:lnTo>
                    <a:pt x="1404" y="1320"/>
                  </a:lnTo>
                  <a:lnTo>
                    <a:pt x="1404" y="1314"/>
                  </a:lnTo>
                  <a:lnTo>
                    <a:pt x="1374" y="1308"/>
                  </a:lnTo>
                  <a:lnTo>
                    <a:pt x="1368" y="1326"/>
                  </a:lnTo>
                  <a:lnTo>
                    <a:pt x="1344" y="1338"/>
                  </a:lnTo>
                  <a:lnTo>
                    <a:pt x="1326" y="1332"/>
                  </a:lnTo>
                  <a:lnTo>
                    <a:pt x="1302" y="1332"/>
                  </a:lnTo>
                  <a:lnTo>
                    <a:pt x="1278" y="1338"/>
                  </a:lnTo>
                  <a:lnTo>
                    <a:pt x="1236" y="1338"/>
                  </a:lnTo>
                  <a:lnTo>
                    <a:pt x="1224" y="1338"/>
                  </a:lnTo>
                  <a:lnTo>
                    <a:pt x="1224" y="1326"/>
                  </a:lnTo>
                  <a:lnTo>
                    <a:pt x="1206" y="1326"/>
                  </a:lnTo>
                  <a:lnTo>
                    <a:pt x="1170" y="1326"/>
                  </a:lnTo>
                  <a:lnTo>
                    <a:pt x="1152" y="1326"/>
                  </a:lnTo>
                  <a:lnTo>
                    <a:pt x="1140" y="1314"/>
                  </a:lnTo>
                  <a:lnTo>
                    <a:pt x="1134" y="1296"/>
                  </a:lnTo>
                  <a:lnTo>
                    <a:pt x="1134" y="1284"/>
                  </a:lnTo>
                  <a:lnTo>
                    <a:pt x="1128" y="1254"/>
                  </a:lnTo>
                  <a:lnTo>
                    <a:pt x="1128" y="1242"/>
                  </a:lnTo>
                  <a:lnTo>
                    <a:pt x="1122" y="1230"/>
                  </a:lnTo>
                  <a:lnTo>
                    <a:pt x="1104" y="1218"/>
                  </a:lnTo>
                  <a:lnTo>
                    <a:pt x="1104" y="1212"/>
                  </a:lnTo>
                  <a:lnTo>
                    <a:pt x="1092" y="1206"/>
                  </a:lnTo>
                  <a:lnTo>
                    <a:pt x="1080" y="1194"/>
                  </a:lnTo>
                  <a:lnTo>
                    <a:pt x="1068" y="1176"/>
                  </a:lnTo>
                  <a:lnTo>
                    <a:pt x="1050" y="1152"/>
                  </a:lnTo>
                  <a:lnTo>
                    <a:pt x="1020" y="1098"/>
                  </a:lnTo>
                  <a:lnTo>
                    <a:pt x="978" y="1026"/>
                  </a:lnTo>
                  <a:lnTo>
                    <a:pt x="978" y="1014"/>
                  </a:lnTo>
                  <a:lnTo>
                    <a:pt x="972" y="1014"/>
                  </a:lnTo>
                  <a:lnTo>
                    <a:pt x="972" y="1008"/>
                  </a:lnTo>
                  <a:lnTo>
                    <a:pt x="978" y="1002"/>
                  </a:lnTo>
                  <a:lnTo>
                    <a:pt x="960" y="966"/>
                  </a:lnTo>
                  <a:lnTo>
                    <a:pt x="948" y="954"/>
                  </a:lnTo>
                  <a:lnTo>
                    <a:pt x="948" y="936"/>
                  </a:lnTo>
                  <a:lnTo>
                    <a:pt x="936" y="900"/>
                  </a:lnTo>
                  <a:lnTo>
                    <a:pt x="942" y="876"/>
                  </a:lnTo>
                  <a:lnTo>
                    <a:pt x="942" y="834"/>
                  </a:lnTo>
                  <a:lnTo>
                    <a:pt x="960" y="828"/>
                  </a:lnTo>
                  <a:lnTo>
                    <a:pt x="966" y="816"/>
                  </a:lnTo>
                  <a:lnTo>
                    <a:pt x="972" y="810"/>
                  </a:lnTo>
                  <a:lnTo>
                    <a:pt x="978" y="804"/>
                  </a:lnTo>
                  <a:lnTo>
                    <a:pt x="996" y="798"/>
                  </a:lnTo>
                  <a:lnTo>
                    <a:pt x="996" y="792"/>
                  </a:lnTo>
                  <a:lnTo>
                    <a:pt x="1014" y="780"/>
                  </a:lnTo>
                  <a:lnTo>
                    <a:pt x="1026" y="768"/>
                  </a:lnTo>
                  <a:lnTo>
                    <a:pt x="1032" y="762"/>
                  </a:lnTo>
                  <a:lnTo>
                    <a:pt x="1026" y="756"/>
                  </a:lnTo>
                  <a:lnTo>
                    <a:pt x="1014" y="744"/>
                  </a:lnTo>
                  <a:lnTo>
                    <a:pt x="996" y="756"/>
                  </a:lnTo>
                  <a:lnTo>
                    <a:pt x="954" y="768"/>
                  </a:lnTo>
                  <a:lnTo>
                    <a:pt x="942" y="762"/>
                  </a:lnTo>
                  <a:lnTo>
                    <a:pt x="942" y="756"/>
                  </a:lnTo>
                  <a:lnTo>
                    <a:pt x="936" y="750"/>
                  </a:lnTo>
                  <a:lnTo>
                    <a:pt x="846" y="732"/>
                  </a:lnTo>
                  <a:lnTo>
                    <a:pt x="822" y="726"/>
                  </a:lnTo>
                  <a:lnTo>
                    <a:pt x="810" y="714"/>
                  </a:lnTo>
                  <a:lnTo>
                    <a:pt x="792" y="690"/>
                  </a:lnTo>
                  <a:lnTo>
                    <a:pt x="792" y="678"/>
                  </a:lnTo>
                  <a:lnTo>
                    <a:pt x="762" y="642"/>
                  </a:lnTo>
                  <a:lnTo>
                    <a:pt x="750" y="636"/>
                  </a:lnTo>
                  <a:lnTo>
                    <a:pt x="726" y="630"/>
                  </a:lnTo>
                  <a:lnTo>
                    <a:pt x="696" y="642"/>
                  </a:lnTo>
                  <a:lnTo>
                    <a:pt x="678" y="654"/>
                  </a:lnTo>
                  <a:lnTo>
                    <a:pt x="666" y="684"/>
                  </a:lnTo>
                  <a:lnTo>
                    <a:pt x="660" y="726"/>
                  </a:lnTo>
                  <a:lnTo>
                    <a:pt x="606" y="756"/>
                  </a:lnTo>
                  <a:lnTo>
                    <a:pt x="558" y="780"/>
                  </a:lnTo>
                  <a:lnTo>
                    <a:pt x="438" y="834"/>
                  </a:lnTo>
                  <a:lnTo>
                    <a:pt x="402" y="846"/>
                  </a:lnTo>
                  <a:lnTo>
                    <a:pt x="372" y="870"/>
                  </a:lnTo>
                  <a:lnTo>
                    <a:pt x="360" y="876"/>
                  </a:lnTo>
                  <a:lnTo>
                    <a:pt x="354" y="876"/>
                  </a:lnTo>
                  <a:lnTo>
                    <a:pt x="330" y="882"/>
                  </a:lnTo>
                  <a:lnTo>
                    <a:pt x="306" y="882"/>
                  </a:lnTo>
                  <a:lnTo>
                    <a:pt x="300" y="876"/>
                  </a:lnTo>
                  <a:lnTo>
                    <a:pt x="294" y="876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76" y="864"/>
                  </a:lnTo>
                  <a:lnTo>
                    <a:pt x="270" y="870"/>
                  </a:lnTo>
                  <a:lnTo>
                    <a:pt x="264" y="870"/>
                  </a:lnTo>
                  <a:lnTo>
                    <a:pt x="240" y="894"/>
                  </a:lnTo>
                  <a:lnTo>
                    <a:pt x="234" y="894"/>
                  </a:lnTo>
                  <a:lnTo>
                    <a:pt x="228" y="900"/>
                  </a:lnTo>
                  <a:lnTo>
                    <a:pt x="222" y="906"/>
                  </a:lnTo>
                  <a:lnTo>
                    <a:pt x="210" y="912"/>
                  </a:lnTo>
                  <a:lnTo>
                    <a:pt x="204" y="912"/>
                  </a:lnTo>
                  <a:lnTo>
                    <a:pt x="198" y="912"/>
                  </a:lnTo>
                  <a:lnTo>
                    <a:pt x="192" y="918"/>
                  </a:lnTo>
                  <a:lnTo>
                    <a:pt x="180" y="918"/>
                  </a:lnTo>
                  <a:lnTo>
                    <a:pt x="174" y="930"/>
                  </a:lnTo>
                  <a:lnTo>
                    <a:pt x="174" y="936"/>
                  </a:lnTo>
                  <a:lnTo>
                    <a:pt x="168" y="942"/>
                  </a:lnTo>
                  <a:lnTo>
                    <a:pt x="162" y="942"/>
                  </a:lnTo>
                  <a:lnTo>
                    <a:pt x="150" y="960"/>
                  </a:lnTo>
                  <a:lnTo>
                    <a:pt x="144" y="966"/>
                  </a:lnTo>
                  <a:lnTo>
                    <a:pt x="138" y="972"/>
                  </a:lnTo>
                  <a:lnTo>
                    <a:pt x="132" y="972"/>
                  </a:lnTo>
                  <a:lnTo>
                    <a:pt x="126" y="984"/>
                  </a:lnTo>
                  <a:lnTo>
                    <a:pt x="120" y="984"/>
                  </a:lnTo>
                  <a:lnTo>
                    <a:pt x="114" y="990"/>
                  </a:lnTo>
                  <a:lnTo>
                    <a:pt x="96" y="990"/>
                  </a:lnTo>
                  <a:lnTo>
                    <a:pt x="90" y="990"/>
                  </a:lnTo>
                  <a:lnTo>
                    <a:pt x="78" y="990"/>
                  </a:lnTo>
                  <a:lnTo>
                    <a:pt x="72" y="990"/>
                  </a:lnTo>
                  <a:lnTo>
                    <a:pt x="60" y="990"/>
                  </a:lnTo>
                  <a:lnTo>
                    <a:pt x="42" y="990"/>
                  </a:lnTo>
                  <a:lnTo>
                    <a:pt x="36" y="996"/>
                  </a:lnTo>
                  <a:lnTo>
                    <a:pt x="30" y="1002"/>
                  </a:lnTo>
                  <a:lnTo>
                    <a:pt x="24" y="1014"/>
                  </a:lnTo>
                  <a:lnTo>
                    <a:pt x="24" y="1020"/>
                  </a:lnTo>
                  <a:lnTo>
                    <a:pt x="18" y="1020"/>
                  </a:lnTo>
                  <a:lnTo>
                    <a:pt x="12" y="1014"/>
                  </a:lnTo>
                  <a:lnTo>
                    <a:pt x="12" y="1008"/>
                  </a:lnTo>
                  <a:lnTo>
                    <a:pt x="12" y="990"/>
                  </a:lnTo>
                  <a:lnTo>
                    <a:pt x="12" y="984"/>
                  </a:lnTo>
                  <a:lnTo>
                    <a:pt x="12" y="972"/>
                  </a:lnTo>
                  <a:lnTo>
                    <a:pt x="12" y="966"/>
                  </a:lnTo>
                  <a:lnTo>
                    <a:pt x="6" y="966"/>
                  </a:lnTo>
                  <a:lnTo>
                    <a:pt x="6" y="960"/>
                  </a:lnTo>
                  <a:lnTo>
                    <a:pt x="6" y="954"/>
                  </a:lnTo>
                  <a:lnTo>
                    <a:pt x="6" y="948"/>
                  </a:lnTo>
                  <a:lnTo>
                    <a:pt x="6" y="942"/>
                  </a:lnTo>
                  <a:lnTo>
                    <a:pt x="12" y="930"/>
                  </a:lnTo>
                  <a:lnTo>
                    <a:pt x="6" y="924"/>
                  </a:lnTo>
                  <a:lnTo>
                    <a:pt x="6" y="918"/>
                  </a:lnTo>
                  <a:lnTo>
                    <a:pt x="6" y="912"/>
                  </a:lnTo>
                  <a:lnTo>
                    <a:pt x="6" y="906"/>
                  </a:lnTo>
                  <a:lnTo>
                    <a:pt x="6" y="900"/>
                  </a:lnTo>
                  <a:lnTo>
                    <a:pt x="0" y="894"/>
                  </a:lnTo>
                  <a:lnTo>
                    <a:pt x="0" y="888"/>
                  </a:lnTo>
                  <a:lnTo>
                    <a:pt x="0" y="882"/>
                  </a:lnTo>
                  <a:lnTo>
                    <a:pt x="6" y="876"/>
                  </a:lnTo>
                  <a:lnTo>
                    <a:pt x="6" y="870"/>
                  </a:lnTo>
                  <a:lnTo>
                    <a:pt x="18" y="864"/>
                  </a:lnTo>
                  <a:lnTo>
                    <a:pt x="18" y="858"/>
                  </a:lnTo>
                  <a:lnTo>
                    <a:pt x="18" y="846"/>
                  </a:lnTo>
                  <a:lnTo>
                    <a:pt x="18" y="834"/>
                  </a:lnTo>
                  <a:lnTo>
                    <a:pt x="18" y="828"/>
                  </a:lnTo>
                  <a:lnTo>
                    <a:pt x="24" y="828"/>
                  </a:lnTo>
                  <a:lnTo>
                    <a:pt x="24" y="810"/>
                  </a:lnTo>
                  <a:lnTo>
                    <a:pt x="24" y="804"/>
                  </a:lnTo>
                  <a:lnTo>
                    <a:pt x="18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24" y="792"/>
                  </a:lnTo>
                  <a:lnTo>
                    <a:pt x="30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6" y="762"/>
                  </a:lnTo>
                  <a:lnTo>
                    <a:pt x="36" y="756"/>
                  </a:lnTo>
                  <a:lnTo>
                    <a:pt x="30" y="756"/>
                  </a:lnTo>
                  <a:lnTo>
                    <a:pt x="30" y="750"/>
                  </a:lnTo>
                  <a:lnTo>
                    <a:pt x="36" y="750"/>
                  </a:lnTo>
                  <a:lnTo>
                    <a:pt x="36" y="744"/>
                  </a:lnTo>
                  <a:lnTo>
                    <a:pt x="30" y="744"/>
                  </a:lnTo>
                  <a:lnTo>
                    <a:pt x="30" y="738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0" y="732"/>
                  </a:lnTo>
                  <a:lnTo>
                    <a:pt x="36" y="726"/>
                  </a:lnTo>
                  <a:lnTo>
                    <a:pt x="30" y="726"/>
                  </a:lnTo>
                  <a:lnTo>
                    <a:pt x="24" y="726"/>
                  </a:lnTo>
                  <a:lnTo>
                    <a:pt x="30" y="720"/>
                  </a:lnTo>
                  <a:lnTo>
                    <a:pt x="30" y="714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696"/>
                  </a:lnTo>
                  <a:lnTo>
                    <a:pt x="66" y="702"/>
                  </a:lnTo>
                  <a:lnTo>
                    <a:pt x="78" y="702"/>
                  </a:lnTo>
                  <a:lnTo>
                    <a:pt x="84" y="702"/>
                  </a:lnTo>
                  <a:lnTo>
                    <a:pt x="96" y="696"/>
                  </a:lnTo>
                  <a:lnTo>
                    <a:pt x="102" y="690"/>
                  </a:lnTo>
                  <a:lnTo>
                    <a:pt x="102" y="684"/>
                  </a:lnTo>
                  <a:lnTo>
                    <a:pt x="114" y="684"/>
                  </a:lnTo>
                  <a:lnTo>
                    <a:pt x="144" y="684"/>
                  </a:lnTo>
                  <a:lnTo>
                    <a:pt x="150" y="690"/>
                  </a:lnTo>
                  <a:lnTo>
                    <a:pt x="162" y="696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6" y="690"/>
                  </a:lnTo>
                  <a:lnTo>
                    <a:pt x="192" y="690"/>
                  </a:lnTo>
                  <a:lnTo>
                    <a:pt x="198" y="684"/>
                  </a:lnTo>
                  <a:lnTo>
                    <a:pt x="204" y="684"/>
                  </a:lnTo>
                  <a:lnTo>
                    <a:pt x="210" y="684"/>
                  </a:lnTo>
                  <a:lnTo>
                    <a:pt x="222" y="678"/>
                  </a:lnTo>
                  <a:lnTo>
                    <a:pt x="228" y="678"/>
                  </a:lnTo>
                  <a:lnTo>
                    <a:pt x="228" y="660"/>
                  </a:lnTo>
                  <a:lnTo>
                    <a:pt x="234" y="642"/>
                  </a:lnTo>
                  <a:lnTo>
                    <a:pt x="246" y="618"/>
                  </a:lnTo>
                  <a:lnTo>
                    <a:pt x="252" y="618"/>
                  </a:lnTo>
                  <a:lnTo>
                    <a:pt x="252" y="600"/>
                  </a:lnTo>
                  <a:lnTo>
                    <a:pt x="252" y="588"/>
                  </a:lnTo>
                  <a:lnTo>
                    <a:pt x="252" y="582"/>
                  </a:lnTo>
                  <a:lnTo>
                    <a:pt x="258" y="576"/>
                  </a:lnTo>
                  <a:lnTo>
                    <a:pt x="270" y="564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70" y="522"/>
                  </a:lnTo>
                  <a:lnTo>
                    <a:pt x="270" y="510"/>
                  </a:lnTo>
                  <a:lnTo>
                    <a:pt x="270" y="498"/>
                  </a:lnTo>
                  <a:lnTo>
                    <a:pt x="258" y="468"/>
                  </a:lnTo>
                  <a:lnTo>
                    <a:pt x="252" y="456"/>
                  </a:lnTo>
                  <a:lnTo>
                    <a:pt x="258" y="444"/>
                  </a:lnTo>
                  <a:lnTo>
                    <a:pt x="264" y="432"/>
                  </a:lnTo>
                  <a:lnTo>
                    <a:pt x="270" y="426"/>
                  </a:lnTo>
                  <a:lnTo>
                    <a:pt x="276" y="420"/>
                  </a:lnTo>
                  <a:lnTo>
                    <a:pt x="288" y="420"/>
                  </a:lnTo>
                  <a:lnTo>
                    <a:pt x="288" y="414"/>
                  </a:lnTo>
                  <a:lnTo>
                    <a:pt x="294" y="414"/>
                  </a:lnTo>
                  <a:lnTo>
                    <a:pt x="306" y="390"/>
                  </a:lnTo>
                  <a:lnTo>
                    <a:pt x="312" y="384"/>
                  </a:lnTo>
                  <a:lnTo>
                    <a:pt x="318" y="378"/>
                  </a:lnTo>
                  <a:lnTo>
                    <a:pt x="318" y="372"/>
                  </a:lnTo>
                  <a:lnTo>
                    <a:pt x="324" y="366"/>
                  </a:lnTo>
                  <a:lnTo>
                    <a:pt x="330" y="354"/>
                  </a:lnTo>
                  <a:lnTo>
                    <a:pt x="336" y="348"/>
                  </a:lnTo>
                  <a:lnTo>
                    <a:pt x="336" y="330"/>
                  </a:lnTo>
                  <a:lnTo>
                    <a:pt x="342" y="324"/>
                  </a:lnTo>
                  <a:lnTo>
                    <a:pt x="342" y="318"/>
                  </a:lnTo>
                  <a:lnTo>
                    <a:pt x="348" y="318"/>
                  </a:lnTo>
                  <a:lnTo>
                    <a:pt x="360" y="318"/>
                  </a:lnTo>
                  <a:lnTo>
                    <a:pt x="372" y="318"/>
                  </a:lnTo>
                  <a:lnTo>
                    <a:pt x="384" y="306"/>
                  </a:lnTo>
                  <a:lnTo>
                    <a:pt x="396" y="300"/>
                  </a:lnTo>
                  <a:lnTo>
                    <a:pt x="396" y="294"/>
                  </a:lnTo>
                  <a:lnTo>
                    <a:pt x="396" y="288"/>
                  </a:lnTo>
                  <a:lnTo>
                    <a:pt x="390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2"/>
                  </a:lnTo>
                  <a:lnTo>
                    <a:pt x="378" y="246"/>
                  </a:lnTo>
                  <a:lnTo>
                    <a:pt x="384" y="228"/>
                  </a:lnTo>
                  <a:lnTo>
                    <a:pt x="390" y="216"/>
                  </a:lnTo>
                  <a:lnTo>
                    <a:pt x="402" y="210"/>
                  </a:lnTo>
                  <a:lnTo>
                    <a:pt x="408" y="210"/>
                  </a:lnTo>
                  <a:lnTo>
                    <a:pt x="420" y="204"/>
                  </a:lnTo>
                  <a:lnTo>
                    <a:pt x="444" y="198"/>
                  </a:lnTo>
                  <a:lnTo>
                    <a:pt x="462" y="192"/>
                  </a:lnTo>
                  <a:lnTo>
                    <a:pt x="474" y="186"/>
                  </a:lnTo>
                  <a:lnTo>
                    <a:pt x="480" y="192"/>
                  </a:lnTo>
                  <a:lnTo>
                    <a:pt x="492" y="192"/>
                  </a:lnTo>
                  <a:lnTo>
                    <a:pt x="498" y="192"/>
                  </a:lnTo>
                  <a:lnTo>
                    <a:pt x="504" y="192"/>
                  </a:lnTo>
                  <a:lnTo>
                    <a:pt x="510" y="192"/>
                  </a:lnTo>
                  <a:lnTo>
                    <a:pt x="516" y="186"/>
                  </a:lnTo>
                  <a:lnTo>
                    <a:pt x="522" y="180"/>
                  </a:lnTo>
                  <a:lnTo>
                    <a:pt x="522" y="174"/>
                  </a:lnTo>
                  <a:lnTo>
                    <a:pt x="528" y="168"/>
                  </a:lnTo>
                  <a:lnTo>
                    <a:pt x="534" y="168"/>
                  </a:lnTo>
                  <a:lnTo>
                    <a:pt x="534" y="156"/>
                  </a:lnTo>
                  <a:lnTo>
                    <a:pt x="534" y="150"/>
                  </a:lnTo>
                  <a:lnTo>
                    <a:pt x="552" y="138"/>
                  </a:lnTo>
                  <a:lnTo>
                    <a:pt x="558" y="126"/>
                  </a:lnTo>
                  <a:lnTo>
                    <a:pt x="558" y="114"/>
                  </a:lnTo>
                  <a:lnTo>
                    <a:pt x="564" y="102"/>
                  </a:lnTo>
                  <a:lnTo>
                    <a:pt x="564" y="96"/>
                  </a:lnTo>
                  <a:lnTo>
                    <a:pt x="564" y="90"/>
                  </a:lnTo>
                  <a:lnTo>
                    <a:pt x="564" y="72"/>
                  </a:lnTo>
                  <a:lnTo>
                    <a:pt x="564" y="60"/>
                  </a:lnTo>
                  <a:lnTo>
                    <a:pt x="564" y="54"/>
                  </a:lnTo>
                  <a:lnTo>
                    <a:pt x="570" y="42"/>
                  </a:lnTo>
                  <a:lnTo>
                    <a:pt x="576" y="42"/>
                  </a:lnTo>
                  <a:lnTo>
                    <a:pt x="582" y="36"/>
                  </a:lnTo>
                  <a:lnTo>
                    <a:pt x="594" y="36"/>
                  </a:lnTo>
                  <a:lnTo>
                    <a:pt x="594" y="30"/>
                  </a:lnTo>
                  <a:lnTo>
                    <a:pt x="600" y="24"/>
                  </a:lnTo>
                  <a:lnTo>
                    <a:pt x="600" y="12"/>
                  </a:lnTo>
                  <a:lnTo>
                    <a:pt x="606" y="6"/>
                  </a:lnTo>
                  <a:lnTo>
                    <a:pt x="606" y="0"/>
                  </a:lnTo>
                  <a:lnTo>
                    <a:pt x="612" y="0"/>
                  </a:lnTo>
                  <a:lnTo>
                    <a:pt x="618" y="0"/>
                  </a:lnTo>
                  <a:lnTo>
                    <a:pt x="624" y="6"/>
                  </a:lnTo>
                  <a:lnTo>
                    <a:pt x="624" y="12"/>
                  </a:lnTo>
                  <a:lnTo>
                    <a:pt x="624" y="18"/>
                  </a:lnTo>
                  <a:lnTo>
                    <a:pt x="624" y="24"/>
                  </a:lnTo>
                  <a:lnTo>
                    <a:pt x="624" y="30"/>
                  </a:lnTo>
                  <a:lnTo>
                    <a:pt x="630" y="30"/>
                  </a:lnTo>
                  <a:lnTo>
                    <a:pt x="630" y="36"/>
                  </a:lnTo>
                  <a:lnTo>
                    <a:pt x="630" y="42"/>
                  </a:lnTo>
                  <a:lnTo>
                    <a:pt x="630" y="48"/>
                  </a:lnTo>
                  <a:lnTo>
                    <a:pt x="636" y="54"/>
                  </a:lnTo>
                  <a:lnTo>
                    <a:pt x="642" y="48"/>
                  </a:lnTo>
                  <a:lnTo>
                    <a:pt x="648" y="48"/>
                  </a:lnTo>
                  <a:lnTo>
                    <a:pt x="648" y="60"/>
                  </a:lnTo>
                  <a:lnTo>
                    <a:pt x="654" y="66"/>
                  </a:lnTo>
                  <a:lnTo>
                    <a:pt x="660" y="72"/>
                  </a:lnTo>
                  <a:lnTo>
                    <a:pt x="666" y="72"/>
                  </a:lnTo>
                  <a:lnTo>
                    <a:pt x="666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72" y="66"/>
                  </a:lnTo>
                  <a:lnTo>
                    <a:pt x="678" y="66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6" y="66"/>
                  </a:lnTo>
                  <a:lnTo>
                    <a:pt x="696" y="72"/>
                  </a:lnTo>
                  <a:lnTo>
                    <a:pt x="702" y="72"/>
                  </a:lnTo>
                  <a:lnTo>
                    <a:pt x="708" y="72"/>
                  </a:lnTo>
                  <a:lnTo>
                    <a:pt x="720" y="66"/>
                  </a:lnTo>
                  <a:lnTo>
                    <a:pt x="726" y="78"/>
                  </a:lnTo>
                  <a:lnTo>
                    <a:pt x="744" y="84"/>
                  </a:lnTo>
                  <a:lnTo>
                    <a:pt x="744" y="90"/>
                  </a:lnTo>
                  <a:lnTo>
                    <a:pt x="744" y="96"/>
                  </a:lnTo>
                  <a:lnTo>
                    <a:pt x="738" y="96"/>
                  </a:lnTo>
                  <a:lnTo>
                    <a:pt x="738" y="102"/>
                  </a:lnTo>
                  <a:lnTo>
                    <a:pt x="732" y="102"/>
                  </a:lnTo>
                  <a:lnTo>
                    <a:pt x="732" y="108"/>
                  </a:lnTo>
                  <a:lnTo>
                    <a:pt x="738" y="108"/>
                  </a:lnTo>
                  <a:lnTo>
                    <a:pt x="744" y="114"/>
                  </a:lnTo>
                  <a:lnTo>
                    <a:pt x="750" y="108"/>
                  </a:lnTo>
                  <a:lnTo>
                    <a:pt x="756" y="108"/>
                  </a:lnTo>
                  <a:lnTo>
                    <a:pt x="762" y="108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80" y="120"/>
                  </a:lnTo>
                  <a:lnTo>
                    <a:pt x="774" y="120"/>
                  </a:lnTo>
                  <a:lnTo>
                    <a:pt x="768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74" y="138"/>
                  </a:lnTo>
                  <a:lnTo>
                    <a:pt x="774" y="132"/>
                  </a:lnTo>
                  <a:lnTo>
                    <a:pt x="780" y="132"/>
                  </a:lnTo>
                  <a:lnTo>
                    <a:pt x="786" y="132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44"/>
                  </a:lnTo>
                  <a:lnTo>
                    <a:pt x="786" y="150"/>
                  </a:lnTo>
                  <a:lnTo>
                    <a:pt x="780" y="150"/>
                  </a:lnTo>
                  <a:lnTo>
                    <a:pt x="774" y="150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74" y="162"/>
                  </a:lnTo>
                  <a:lnTo>
                    <a:pt x="780" y="162"/>
                  </a:lnTo>
                  <a:lnTo>
                    <a:pt x="786" y="168"/>
                  </a:lnTo>
                  <a:lnTo>
                    <a:pt x="792" y="162"/>
                  </a:lnTo>
                  <a:lnTo>
                    <a:pt x="798" y="168"/>
                  </a:lnTo>
                  <a:lnTo>
                    <a:pt x="798" y="174"/>
                  </a:lnTo>
                  <a:lnTo>
                    <a:pt x="804" y="168"/>
                  </a:lnTo>
                  <a:lnTo>
                    <a:pt x="810" y="168"/>
                  </a:lnTo>
                  <a:lnTo>
                    <a:pt x="810" y="174"/>
                  </a:lnTo>
                  <a:lnTo>
                    <a:pt x="816" y="168"/>
                  </a:lnTo>
                  <a:lnTo>
                    <a:pt x="822" y="162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74"/>
                  </a:lnTo>
                  <a:lnTo>
                    <a:pt x="834" y="192"/>
                  </a:lnTo>
                  <a:lnTo>
                    <a:pt x="834" y="198"/>
                  </a:lnTo>
                  <a:lnTo>
                    <a:pt x="840" y="192"/>
                  </a:lnTo>
                  <a:lnTo>
                    <a:pt x="846" y="192"/>
                  </a:lnTo>
                  <a:lnTo>
                    <a:pt x="852" y="186"/>
                  </a:lnTo>
                  <a:lnTo>
                    <a:pt x="858" y="192"/>
                  </a:lnTo>
                  <a:lnTo>
                    <a:pt x="864" y="192"/>
                  </a:lnTo>
                  <a:lnTo>
                    <a:pt x="870" y="198"/>
                  </a:lnTo>
                  <a:lnTo>
                    <a:pt x="876" y="180"/>
                  </a:lnTo>
                  <a:lnTo>
                    <a:pt x="882" y="180"/>
                  </a:lnTo>
                  <a:lnTo>
                    <a:pt x="888" y="180"/>
                  </a:lnTo>
                  <a:lnTo>
                    <a:pt x="894" y="186"/>
                  </a:lnTo>
                  <a:lnTo>
                    <a:pt x="888" y="198"/>
                  </a:lnTo>
                  <a:lnTo>
                    <a:pt x="894" y="204"/>
                  </a:lnTo>
                  <a:lnTo>
                    <a:pt x="906" y="210"/>
                  </a:lnTo>
                  <a:lnTo>
                    <a:pt x="918" y="246"/>
                  </a:lnTo>
                  <a:lnTo>
                    <a:pt x="930" y="258"/>
                  </a:lnTo>
                  <a:lnTo>
                    <a:pt x="942" y="282"/>
                  </a:lnTo>
                  <a:lnTo>
                    <a:pt x="966" y="288"/>
                  </a:lnTo>
                  <a:lnTo>
                    <a:pt x="972" y="300"/>
                  </a:lnTo>
                  <a:lnTo>
                    <a:pt x="972" y="318"/>
                  </a:lnTo>
                  <a:lnTo>
                    <a:pt x="996" y="336"/>
                  </a:lnTo>
                  <a:lnTo>
                    <a:pt x="1050" y="390"/>
                  </a:lnTo>
                  <a:lnTo>
                    <a:pt x="1116" y="462"/>
                  </a:lnTo>
                  <a:lnTo>
                    <a:pt x="1122" y="468"/>
                  </a:lnTo>
                  <a:lnTo>
                    <a:pt x="1128" y="474"/>
                  </a:lnTo>
                  <a:lnTo>
                    <a:pt x="1140" y="474"/>
                  </a:lnTo>
                  <a:lnTo>
                    <a:pt x="1152" y="486"/>
                  </a:lnTo>
                  <a:lnTo>
                    <a:pt x="1152" y="492"/>
                  </a:lnTo>
                  <a:lnTo>
                    <a:pt x="1158" y="492"/>
                  </a:lnTo>
                  <a:lnTo>
                    <a:pt x="1164" y="492"/>
                  </a:lnTo>
                  <a:lnTo>
                    <a:pt x="1170" y="504"/>
                  </a:lnTo>
                  <a:lnTo>
                    <a:pt x="1176" y="504"/>
                  </a:lnTo>
                  <a:lnTo>
                    <a:pt x="1176" y="510"/>
                  </a:lnTo>
                  <a:lnTo>
                    <a:pt x="1200" y="516"/>
                  </a:lnTo>
                  <a:lnTo>
                    <a:pt x="1200" y="522"/>
                  </a:lnTo>
                  <a:lnTo>
                    <a:pt x="1212" y="534"/>
                  </a:lnTo>
                  <a:lnTo>
                    <a:pt x="1218" y="540"/>
                  </a:lnTo>
                  <a:lnTo>
                    <a:pt x="1224" y="552"/>
                  </a:lnTo>
                  <a:lnTo>
                    <a:pt x="1230" y="552"/>
                  </a:lnTo>
                  <a:lnTo>
                    <a:pt x="1242" y="552"/>
                  </a:lnTo>
                  <a:lnTo>
                    <a:pt x="1248" y="558"/>
                  </a:lnTo>
                  <a:lnTo>
                    <a:pt x="1254" y="558"/>
                  </a:lnTo>
                  <a:lnTo>
                    <a:pt x="1260" y="564"/>
                  </a:lnTo>
                  <a:lnTo>
                    <a:pt x="1266" y="564"/>
                  </a:lnTo>
                  <a:lnTo>
                    <a:pt x="1272" y="564"/>
                  </a:lnTo>
                  <a:lnTo>
                    <a:pt x="1284" y="564"/>
                  </a:lnTo>
                  <a:lnTo>
                    <a:pt x="1290" y="570"/>
                  </a:lnTo>
                  <a:lnTo>
                    <a:pt x="1296" y="576"/>
                  </a:lnTo>
                  <a:lnTo>
                    <a:pt x="1302" y="588"/>
                  </a:lnTo>
                  <a:lnTo>
                    <a:pt x="1296" y="594"/>
                  </a:lnTo>
                  <a:lnTo>
                    <a:pt x="1296" y="600"/>
                  </a:lnTo>
                  <a:lnTo>
                    <a:pt x="1296" y="606"/>
                  </a:lnTo>
                  <a:lnTo>
                    <a:pt x="1290" y="612"/>
                  </a:lnTo>
                  <a:lnTo>
                    <a:pt x="1290" y="624"/>
                  </a:lnTo>
                  <a:lnTo>
                    <a:pt x="1290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308" y="654"/>
                  </a:lnTo>
                  <a:lnTo>
                    <a:pt x="1320" y="654"/>
                  </a:lnTo>
                  <a:lnTo>
                    <a:pt x="1326" y="660"/>
                  </a:lnTo>
                  <a:lnTo>
                    <a:pt x="1338" y="654"/>
                  </a:lnTo>
                  <a:lnTo>
                    <a:pt x="1344" y="654"/>
                  </a:lnTo>
                  <a:lnTo>
                    <a:pt x="1356" y="654"/>
                  </a:lnTo>
                  <a:lnTo>
                    <a:pt x="1362" y="648"/>
                  </a:lnTo>
                  <a:lnTo>
                    <a:pt x="1368" y="642"/>
                  </a:lnTo>
                  <a:lnTo>
                    <a:pt x="1374" y="636"/>
                  </a:lnTo>
                  <a:lnTo>
                    <a:pt x="1380" y="636"/>
                  </a:lnTo>
                  <a:lnTo>
                    <a:pt x="1392" y="636"/>
                  </a:lnTo>
                  <a:lnTo>
                    <a:pt x="1398" y="636"/>
                  </a:lnTo>
                  <a:lnTo>
                    <a:pt x="1404" y="636"/>
                  </a:lnTo>
                  <a:lnTo>
                    <a:pt x="1410" y="630"/>
                  </a:lnTo>
                  <a:lnTo>
                    <a:pt x="1410" y="624"/>
                  </a:lnTo>
                  <a:lnTo>
                    <a:pt x="1422" y="618"/>
                  </a:lnTo>
                  <a:lnTo>
                    <a:pt x="1428" y="618"/>
                  </a:lnTo>
                  <a:lnTo>
                    <a:pt x="1440" y="612"/>
                  </a:lnTo>
                  <a:lnTo>
                    <a:pt x="1446" y="612"/>
                  </a:lnTo>
                  <a:lnTo>
                    <a:pt x="1458" y="612"/>
                  </a:lnTo>
                  <a:lnTo>
                    <a:pt x="1470" y="624"/>
                  </a:lnTo>
                  <a:lnTo>
                    <a:pt x="1488" y="642"/>
                  </a:lnTo>
                  <a:lnTo>
                    <a:pt x="1500" y="648"/>
                  </a:lnTo>
                  <a:lnTo>
                    <a:pt x="1512" y="654"/>
                  </a:lnTo>
                  <a:lnTo>
                    <a:pt x="1518" y="660"/>
                  </a:lnTo>
                  <a:lnTo>
                    <a:pt x="1524" y="660"/>
                  </a:lnTo>
                  <a:lnTo>
                    <a:pt x="1530" y="660"/>
                  </a:lnTo>
                  <a:lnTo>
                    <a:pt x="1536" y="666"/>
                  </a:lnTo>
                  <a:lnTo>
                    <a:pt x="1542" y="672"/>
                  </a:lnTo>
                  <a:lnTo>
                    <a:pt x="1548" y="672"/>
                  </a:lnTo>
                  <a:lnTo>
                    <a:pt x="1554" y="684"/>
                  </a:lnTo>
                  <a:lnTo>
                    <a:pt x="1554" y="690"/>
                  </a:lnTo>
                  <a:lnTo>
                    <a:pt x="1566" y="702"/>
                  </a:lnTo>
                  <a:lnTo>
                    <a:pt x="1572" y="720"/>
                  </a:lnTo>
                  <a:lnTo>
                    <a:pt x="1572" y="726"/>
                  </a:lnTo>
                  <a:lnTo>
                    <a:pt x="1578" y="732"/>
                  </a:lnTo>
                  <a:lnTo>
                    <a:pt x="1584" y="738"/>
                  </a:lnTo>
                  <a:lnTo>
                    <a:pt x="1590" y="738"/>
                  </a:lnTo>
                  <a:lnTo>
                    <a:pt x="1596" y="738"/>
                  </a:lnTo>
                  <a:lnTo>
                    <a:pt x="1602" y="744"/>
                  </a:lnTo>
                  <a:lnTo>
                    <a:pt x="1608" y="744"/>
                  </a:lnTo>
                  <a:lnTo>
                    <a:pt x="1614" y="744"/>
                  </a:lnTo>
                  <a:lnTo>
                    <a:pt x="1626" y="744"/>
                  </a:lnTo>
                  <a:lnTo>
                    <a:pt x="1638" y="744"/>
                  </a:lnTo>
                  <a:lnTo>
                    <a:pt x="1650" y="744"/>
                  </a:lnTo>
                  <a:lnTo>
                    <a:pt x="1662" y="744"/>
                  </a:lnTo>
                  <a:lnTo>
                    <a:pt x="1668" y="744"/>
                  </a:lnTo>
                  <a:lnTo>
                    <a:pt x="1674" y="744"/>
                  </a:lnTo>
                  <a:lnTo>
                    <a:pt x="1686" y="744"/>
                  </a:lnTo>
                  <a:lnTo>
                    <a:pt x="1698" y="750"/>
                  </a:lnTo>
                  <a:lnTo>
                    <a:pt x="1704" y="750"/>
                  </a:lnTo>
                  <a:lnTo>
                    <a:pt x="1716" y="756"/>
                  </a:lnTo>
                  <a:lnTo>
                    <a:pt x="1722" y="756"/>
                  </a:lnTo>
                  <a:lnTo>
                    <a:pt x="1728" y="756"/>
                  </a:lnTo>
                  <a:lnTo>
                    <a:pt x="1734" y="762"/>
                  </a:lnTo>
                  <a:lnTo>
                    <a:pt x="1740" y="768"/>
                  </a:lnTo>
                  <a:lnTo>
                    <a:pt x="1758" y="780"/>
                  </a:lnTo>
                  <a:lnTo>
                    <a:pt x="1770" y="780"/>
                  </a:lnTo>
                  <a:lnTo>
                    <a:pt x="1776" y="780"/>
                  </a:lnTo>
                  <a:lnTo>
                    <a:pt x="1782" y="780"/>
                  </a:lnTo>
                  <a:lnTo>
                    <a:pt x="1800" y="798"/>
                  </a:lnTo>
                  <a:lnTo>
                    <a:pt x="1818" y="810"/>
                  </a:lnTo>
                  <a:lnTo>
                    <a:pt x="1830" y="816"/>
                  </a:lnTo>
                  <a:lnTo>
                    <a:pt x="1836" y="822"/>
                  </a:lnTo>
                  <a:lnTo>
                    <a:pt x="1836" y="828"/>
                  </a:lnTo>
                  <a:lnTo>
                    <a:pt x="1842" y="828"/>
                  </a:lnTo>
                  <a:lnTo>
                    <a:pt x="1848" y="834"/>
                  </a:lnTo>
                  <a:lnTo>
                    <a:pt x="1854" y="840"/>
                  </a:lnTo>
                  <a:lnTo>
                    <a:pt x="1860" y="846"/>
                  </a:lnTo>
                  <a:lnTo>
                    <a:pt x="1872" y="852"/>
                  </a:lnTo>
                  <a:lnTo>
                    <a:pt x="1884" y="852"/>
                  </a:lnTo>
                  <a:lnTo>
                    <a:pt x="1896" y="852"/>
                  </a:lnTo>
                  <a:lnTo>
                    <a:pt x="1902" y="846"/>
                  </a:lnTo>
                  <a:lnTo>
                    <a:pt x="1908" y="852"/>
                  </a:lnTo>
                  <a:lnTo>
                    <a:pt x="1920" y="858"/>
                  </a:lnTo>
                  <a:lnTo>
                    <a:pt x="1926" y="870"/>
                  </a:lnTo>
                  <a:lnTo>
                    <a:pt x="1938" y="888"/>
                  </a:lnTo>
                  <a:lnTo>
                    <a:pt x="1944" y="900"/>
                  </a:lnTo>
                  <a:lnTo>
                    <a:pt x="1950" y="900"/>
                  </a:lnTo>
                  <a:lnTo>
                    <a:pt x="1962" y="906"/>
                  </a:lnTo>
                  <a:lnTo>
                    <a:pt x="1968" y="906"/>
                  </a:lnTo>
                  <a:lnTo>
                    <a:pt x="1980" y="906"/>
                  </a:lnTo>
                  <a:lnTo>
                    <a:pt x="1998" y="906"/>
                  </a:lnTo>
                  <a:lnTo>
                    <a:pt x="2010" y="900"/>
                  </a:lnTo>
                  <a:lnTo>
                    <a:pt x="2022" y="900"/>
                  </a:lnTo>
                  <a:lnTo>
                    <a:pt x="2028" y="900"/>
                  </a:lnTo>
                  <a:lnTo>
                    <a:pt x="2034" y="906"/>
                  </a:lnTo>
                  <a:lnTo>
                    <a:pt x="2046" y="906"/>
                  </a:lnTo>
                  <a:lnTo>
                    <a:pt x="2052" y="900"/>
                  </a:lnTo>
                  <a:lnTo>
                    <a:pt x="2058" y="900"/>
                  </a:lnTo>
                  <a:lnTo>
                    <a:pt x="2064" y="900"/>
                  </a:lnTo>
                  <a:lnTo>
                    <a:pt x="2070" y="900"/>
                  </a:lnTo>
                  <a:lnTo>
                    <a:pt x="2076" y="900"/>
                  </a:lnTo>
                  <a:lnTo>
                    <a:pt x="2076" y="906"/>
                  </a:lnTo>
                  <a:lnTo>
                    <a:pt x="2088" y="906"/>
                  </a:lnTo>
                  <a:lnTo>
                    <a:pt x="2106" y="900"/>
                  </a:lnTo>
                  <a:lnTo>
                    <a:pt x="2118" y="900"/>
                  </a:lnTo>
                  <a:lnTo>
                    <a:pt x="2130" y="900"/>
                  </a:lnTo>
                  <a:lnTo>
                    <a:pt x="2142" y="900"/>
                  </a:lnTo>
                  <a:lnTo>
                    <a:pt x="2148" y="906"/>
                  </a:lnTo>
                  <a:lnTo>
                    <a:pt x="2154" y="906"/>
                  </a:lnTo>
                  <a:lnTo>
                    <a:pt x="2160" y="906"/>
                  </a:lnTo>
                  <a:lnTo>
                    <a:pt x="2166" y="906"/>
                  </a:lnTo>
                  <a:lnTo>
                    <a:pt x="2178" y="918"/>
                  </a:lnTo>
                  <a:lnTo>
                    <a:pt x="2178" y="924"/>
                  </a:lnTo>
                  <a:lnTo>
                    <a:pt x="2184" y="924"/>
                  </a:lnTo>
                  <a:lnTo>
                    <a:pt x="2190" y="924"/>
                  </a:lnTo>
                  <a:lnTo>
                    <a:pt x="2196" y="924"/>
                  </a:lnTo>
                  <a:lnTo>
                    <a:pt x="2202" y="918"/>
                  </a:lnTo>
                  <a:lnTo>
                    <a:pt x="2208" y="918"/>
                  </a:lnTo>
                  <a:lnTo>
                    <a:pt x="2214" y="918"/>
                  </a:lnTo>
                  <a:lnTo>
                    <a:pt x="2226" y="918"/>
                  </a:lnTo>
                  <a:lnTo>
                    <a:pt x="2220" y="948"/>
                  </a:lnTo>
                  <a:lnTo>
                    <a:pt x="2214" y="972"/>
                  </a:lnTo>
                  <a:lnTo>
                    <a:pt x="2214" y="984"/>
                  </a:lnTo>
                  <a:lnTo>
                    <a:pt x="2208" y="990"/>
                  </a:lnTo>
                  <a:lnTo>
                    <a:pt x="2208" y="996"/>
                  </a:lnTo>
                  <a:lnTo>
                    <a:pt x="2202" y="996"/>
                  </a:lnTo>
                  <a:lnTo>
                    <a:pt x="2196" y="996"/>
                  </a:lnTo>
                  <a:lnTo>
                    <a:pt x="2190" y="1008"/>
                  </a:lnTo>
                  <a:lnTo>
                    <a:pt x="2172" y="1074"/>
                  </a:lnTo>
                  <a:lnTo>
                    <a:pt x="2166" y="1092"/>
                  </a:lnTo>
                  <a:lnTo>
                    <a:pt x="2172" y="1110"/>
                  </a:lnTo>
                  <a:lnTo>
                    <a:pt x="2172" y="1122"/>
                  </a:lnTo>
                  <a:lnTo>
                    <a:pt x="2166" y="1134"/>
                  </a:lnTo>
                  <a:lnTo>
                    <a:pt x="2148" y="1140"/>
                  </a:lnTo>
                  <a:lnTo>
                    <a:pt x="2148" y="1134"/>
                  </a:lnTo>
                  <a:lnTo>
                    <a:pt x="2118" y="1140"/>
                  </a:lnTo>
                  <a:lnTo>
                    <a:pt x="2088" y="1134"/>
                  </a:lnTo>
                  <a:lnTo>
                    <a:pt x="2064" y="1122"/>
                  </a:lnTo>
                  <a:lnTo>
                    <a:pt x="2034" y="1122"/>
                  </a:lnTo>
                  <a:lnTo>
                    <a:pt x="2022" y="1128"/>
                  </a:lnTo>
                  <a:lnTo>
                    <a:pt x="1986" y="1128"/>
                  </a:lnTo>
                  <a:lnTo>
                    <a:pt x="1938" y="1122"/>
                  </a:lnTo>
                  <a:lnTo>
                    <a:pt x="1932" y="1116"/>
                  </a:lnTo>
                  <a:lnTo>
                    <a:pt x="1896" y="1110"/>
                  </a:lnTo>
                  <a:lnTo>
                    <a:pt x="1878" y="1104"/>
                  </a:lnTo>
                  <a:lnTo>
                    <a:pt x="1866" y="1098"/>
                  </a:lnTo>
                  <a:lnTo>
                    <a:pt x="1860" y="1098"/>
                  </a:lnTo>
                  <a:lnTo>
                    <a:pt x="1854" y="1092"/>
                  </a:lnTo>
                  <a:lnTo>
                    <a:pt x="1860" y="1092"/>
                  </a:lnTo>
                  <a:lnTo>
                    <a:pt x="1860" y="1086"/>
                  </a:lnTo>
                  <a:lnTo>
                    <a:pt x="1854" y="1086"/>
                  </a:lnTo>
                  <a:lnTo>
                    <a:pt x="1842" y="1080"/>
                  </a:lnTo>
                  <a:lnTo>
                    <a:pt x="1818" y="1062"/>
                  </a:lnTo>
                  <a:lnTo>
                    <a:pt x="1782" y="1056"/>
                  </a:lnTo>
                  <a:lnTo>
                    <a:pt x="1770" y="1068"/>
                  </a:lnTo>
                  <a:lnTo>
                    <a:pt x="1746" y="1098"/>
                  </a:lnTo>
                  <a:lnTo>
                    <a:pt x="1722" y="1104"/>
                  </a:lnTo>
                  <a:lnTo>
                    <a:pt x="1710" y="1122"/>
                  </a:lnTo>
                  <a:lnTo>
                    <a:pt x="1710" y="1128"/>
                  </a:lnTo>
                  <a:lnTo>
                    <a:pt x="1710" y="1140"/>
                  </a:lnTo>
                  <a:lnTo>
                    <a:pt x="1698" y="1146"/>
                  </a:lnTo>
                  <a:lnTo>
                    <a:pt x="1686" y="1152"/>
                  </a:lnTo>
                  <a:lnTo>
                    <a:pt x="1680" y="1164"/>
                  </a:lnTo>
                  <a:lnTo>
                    <a:pt x="1680" y="1170"/>
                  </a:lnTo>
                  <a:lnTo>
                    <a:pt x="1686" y="1170"/>
                  </a:lnTo>
                  <a:lnTo>
                    <a:pt x="1686" y="1176"/>
                  </a:lnTo>
                  <a:lnTo>
                    <a:pt x="1698" y="1188"/>
                  </a:lnTo>
                  <a:lnTo>
                    <a:pt x="1704" y="1188"/>
                  </a:lnTo>
                  <a:lnTo>
                    <a:pt x="1698" y="1194"/>
                  </a:lnTo>
                  <a:lnTo>
                    <a:pt x="1704" y="1194"/>
                  </a:lnTo>
                  <a:lnTo>
                    <a:pt x="1704" y="1200"/>
                  </a:lnTo>
                  <a:lnTo>
                    <a:pt x="1704" y="1206"/>
                  </a:lnTo>
                  <a:lnTo>
                    <a:pt x="1704" y="1212"/>
                  </a:lnTo>
                  <a:lnTo>
                    <a:pt x="1704" y="1218"/>
                  </a:lnTo>
                  <a:lnTo>
                    <a:pt x="1710" y="1218"/>
                  </a:lnTo>
                  <a:lnTo>
                    <a:pt x="1710" y="1212"/>
                  </a:lnTo>
                  <a:lnTo>
                    <a:pt x="1716" y="1212"/>
                  </a:lnTo>
                  <a:lnTo>
                    <a:pt x="1716" y="1218"/>
                  </a:lnTo>
                  <a:lnTo>
                    <a:pt x="1716" y="1224"/>
                  </a:lnTo>
                  <a:lnTo>
                    <a:pt x="1716" y="1230"/>
                  </a:lnTo>
                  <a:lnTo>
                    <a:pt x="1722" y="1236"/>
                  </a:lnTo>
                  <a:lnTo>
                    <a:pt x="1740" y="1230"/>
                  </a:lnTo>
                  <a:lnTo>
                    <a:pt x="1734" y="1236"/>
                  </a:lnTo>
                  <a:lnTo>
                    <a:pt x="1734" y="1242"/>
                  </a:lnTo>
                  <a:lnTo>
                    <a:pt x="1734" y="1248"/>
                  </a:lnTo>
                  <a:lnTo>
                    <a:pt x="1734" y="1254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52" y="1266"/>
                  </a:lnTo>
                  <a:lnTo>
                    <a:pt x="1764" y="1266"/>
                  </a:lnTo>
                  <a:lnTo>
                    <a:pt x="1788" y="1260"/>
                  </a:lnTo>
                  <a:lnTo>
                    <a:pt x="1800" y="1260"/>
                  </a:lnTo>
                  <a:lnTo>
                    <a:pt x="1806" y="1272"/>
                  </a:lnTo>
                  <a:lnTo>
                    <a:pt x="1806" y="1296"/>
                  </a:lnTo>
                  <a:lnTo>
                    <a:pt x="1800" y="1308"/>
                  </a:lnTo>
                  <a:lnTo>
                    <a:pt x="1788" y="1308"/>
                  </a:lnTo>
                  <a:lnTo>
                    <a:pt x="1782" y="1326"/>
                  </a:lnTo>
                  <a:close/>
                </a:path>
              </a:pathLst>
            </a:custGeom>
            <a:solidFill>
              <a:srgbClr val="2A4F1D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7" name="Freeform 32">
              <a:extLst>
                <a:ext uri="{FF2B5EF4-FFF2-40B4-BE49-F238E27FC236}">
                  <a16:creationId xmlns:a16="http://schemas.microsoft.com/office/drawing/2014/main" id="{1EF84438-BF7A-47D2-9156-E231EA2A279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3295" y="2316568"/>
              <a:ext cx="1290281" cy="1084704"/>
            </a:xfrm>
            <a:custGeom>
              <a:avLst/>
              <a:gdLst>
                <a:gd name="T0" fmla="*/ 177 w 2430"/>
                <a:gd name="T1" fmla="*/ 169 h 2040"/>
                <a:gd name="T2" fmla="*/ 174 w 2430"/>
                <a:gd name="T3" fmla="*/ 173 h 2040"/>
                <a:gd name="T4" fmla="*/ 169 w 2430"/>
                <a:gd name="T5" fmla="*/ 171 h 2040"/>
                <a:gd name="T6" fmla="*/ 160 w 2430"/>
                <a:gd name="T7" fmla="*/ 163 h 2040"/>
                <a:gd name="T8" fmla="*/ 154 w 2430"/>
                <a:gd name="T9" fmla="*/ 149 h 2040"/>
                <a:gd name="T10" fmla="*/ 144 w 2430"/>
                <a:gd name="T11" fmla="*/ 147 h 2040"/>
                <a:gd name="T12" fmla="*/ 133 w 2430"/>
                <a:gd name="T13" fmla="*/ 146 h 2040"/>
                <a:gd name="T14" fmla="*/ 121 w 2430"/>
                <a:gd name="T15" fmla="*/ 145 h 2040"/>
                <a:gd name="T16" fmla="*/ 110 w 2430"/>
                <a:gd name="T17" fmla="*/ 137 h 2040"/>
                <a:gd name="T18" fmla="*/ 97 w 2430"/>
                <a:gd name="T19" fmla="*/ 131 h 2040"/>
                <a:gd name="T20" fmla="*/ 87 w 2430"/>
                <a:gd name="T21" fmla="*/ 125 h 2040"/>
                <a:gd name="T22" fmla="*/ 75 w 2430"/>
                <a:gd name="T23" fmla="*/ 122 h 2040"/>
                <a:gd name="T24" fmla="*/ 65 w 2430"/>
                <a:gd name="T25" fmla="*/ 122 h 2040"/>
                <a:gd name="T26" fmla="*/ 59 w 2430"/>
                <a:gd name="T27" fmla="*/ 115 h 2040"/>
                <a:gd name="T28" fmla="*/ 50 w 2430"/>
                <a:gd name="T29" fmla="*/ 107 h 2040"/>
                <a:gd name="T30" fmla="*/ 28 w 2430"/>
                <a:gd name="T31" fmla="*/ 84 h 2040"/>
                <a:gd name="T32" fmla="*/ 22 w 2430"/>
                <a:gd name="T33" fmla="*/ 82 h 2040"/>
                <a:gd name="T34" fmla="*/ 20 w 2430"/>
                <a:gd name="T35" fmla="*/ 79 h 2040"/>
                <a:gd name="T36" fmla="*/ 16 w 2430"/>
                <a:gd name="T37" fmla="*/ 76 h 2040"/>
                <a:gd name="T38" fmla="*/ 11 w 2430"/>
                <a:gd name="T39" fmla="*/ 74 h 2040"/>
                <a:gd name="T40" fmla="*/ 7 w 2430"/>
                <a:gd name="T41" fmla="*/ 69 h 2040"/>
                <a:gd name="T42" fmla="*/ 0 w 2430"/>
                <a:gd name="T43" fmla="*/ 60 h 2040"/>
                <a:gd name="T44" fmla="*/ 10 w 2430"/>
                <a:gd name="T45" fmla="*/ 53 h 2040"/>
                <a:gd name="T46" fmla="*/ 15 w 2430"/>
                <a:gd name="T47" fmla="*/ 40 h 2040"/>
                <a:gd name="T48" fmla="*/ 9 w 2430"/>
                <a:gd name="T49" fmla="*/ 29 h 2040"/>
                <a:gd name="T50" fmla="*/ 7 w 2430"/>
                <a:gd name="T51" fmla="*/ 16 h 2040"/>
                <a:gd name="T52" fmla="*/ 18 w 2430"/>
                <a:gd name="T53" fmla="*/ 21 h 2040"/>
                <a:gd name="T54" fmla="*/ 48 w 2430"/>
                <a:gd name="T55" fmla="*/ 27 h 2040"/>
                <a:gd name="T56" fmla="*/ 62 w 2430"/>
                <a:gd name="T57" fmla="*/ 25 h 2040"/>
                <a:gd name="T58" fmla="*/ 59 w 2430"/>
                <a:gd name="T59" fmla="*/ 42 h 2040"/>
                <a:gd name="T60" fmla="*/ 54 w 2430"/>
                <a:gd name="T61" fmla="*/ 65 h 2040"/>
                <a:gd name="T62" fmla="*/ 65 w 2430"/>
                <a:gd name="T63" fmla="*/ 60 h 2040"/>
                <a:gd name="T64" fmla="*/ 68 w 2430"/>
                <a:gd name="T65" fmla="*/ 40 h 2040"/>
                <a:gd name="T66" fmla="*/ 75 w 2430"/>
                <a:gd name="T67" fmla="*/ 36 h 2040"/>
                <a:gd name="T68" fmla="*/ 83 w 2430"/>
                <a:gd name="T69" fmla="*/ 29 h 2040"/>
                <a:gd name="T70" fmla="*/ 81 w 2430"/>
                <a:gd name="T71" fmla="*/ 17 h 2040"/>
                <a:gd name="T72" fmla="*/ 66 w 2430"/>
                <a:gd name="T73" fmla="*/ 7 h 2040"/>
                <a:gd name="T74" fmla="*/ 80 w 2430"/>
                <a:gd name="T75" fmla="*/ 5 h 2040"/>
                <a:gd name="T76" fmla="*/ 89 w 2430"/>
                <a:gd name="T77" fmla="*/ 1 h 2040"/>
                <a:gd name="T78" fmla="*/ 101 w 2430"/>
                <a:gd name="T79" fmla="*/ 10 h 2040"/>
                <a:gd name="T80" fmla="*/ 103 w 2430"/>
                <a:gd name="T81" fmla="*/ 18 h 2040"/>
                <a:gd name="T82" fmla="*/ 110 w 2430"/>
                <a:gd name="T83" fmla="*/ 23 h 2040"/>
                <a:gd name="T84" fmla="*/ 121 w 2430"/>
                <a:gd name="T85" fmla="*/ 20 h 2040"/>
                <a:gd name="T86" fmla="*/ 129 w 2430"/>
                <a:gd name="T87" fmla="*/ 15 h 2040"/>
                <a:gd name="T88" fmla="*/ 142 w 2430"/>
                <a:gd name="T89" fmla="*/ 23 h 2040"/>
                <a:gd name="T90" fmla="*/ 141 w 2430"/>
                <a:gd name="T91" fmla="*/ 30 h 2040"/>
                <a:gd name="T92" fmla="*/ 140 w 2430"/>
                <a:gd name="T93" fmla="*/ 38 h 2040"/>
                <a:gd name="T94" fmla="*/ 139 w 2430"/>
                <a:gd name="T95" fmla="*/ 46 h 2040"/>
                <a:gd name="T96" fmla="*/ 147 w 2430"/>
                <a:gd name="T97" fmla="*/ 54 h 2040"/>
                <a:gd name="T98" fmla="*/ 152 w 2430"/>
                <a:gd name="T99" fmla="*/ 50 h 2040"/>
                <a:gd name="T100" fmla="*/ 159 w 2430"/>
                <a:gd name="T101" fmla="*/ 43 h 2040"/>
                <a:gd name="T102" fmla="*/ 174 w 2430"/>
                <a:gd name="T103" fmla="*/ 41 h 2040"/>
                <a:gd name="T104" fmla="*/ 190 w 2430"/>
                <a:gd name="T105" fmla="*/ 57 h 2040"/>
                <a:gd name="T106" fmla="*/ 187 w 2430"/>
                <a:gd name="T107" fmla="*/ 66 h 2040"/>
                <a:gd name="T108" fmla="*/ 183 w 2430"/>
                <a:gd name="T109" fmla="*/ 72 h 2040"/>
                <a:gd name="T110" fmla="*/ 194 w 2430"/>
                <a:gd name="T111" fmla="*/ 73 h 2040"/>
                <a:gd name="T112" fmla="*/ 202 w 2430"/>
                <a:gd name="T113" fmla="*/ 74 h 2040"/>
                <a:gd name="T114" fmla="*/ 204 w 2430"/>
                <a:gd name="T115" fmla="*/ 89 h 2040"/>
                <a:gd name="T116" fmla="*/ 208 w 2430"/>
                <a:gd name="T117" fmla="*/ 99 h 2040"/>
                <a:gd name="T118" fmla="*/ 203 w 2430"/>
                <a:gd name="T119" fmla="*/ 103 h 2040"/>
                <a:gd name="T120" fmla="*/ 209 w 2430"/>
                <a:gd name="T121" fmla="*/ 111 h 2040"/>
                <a:gd name="T122" fmla="*/ 204 w 2430"/>
                <a:gd name="T123" fmla="*/ 124 h 2040"/>
                <a:gd name="T124" fmla="*/ 190 w 2430"/>
                <a:gd name="T125" fmla="*/ 117 h 20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30"/>
                <a:gd name="T190" fmla="*/ 0 h 2040"/>
                <a:gd name="T191" fmla="*/ 2430 w 2430"/>
                <a:gd name="T192" fmla="*/ 2040 h 20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30" h="2040">
                  <a:moveTo>
                    <a:pt x="2076" y="1896"/>
                  </a:moveTo>
                  <a:lnTo>
                    <a:pt x="2070" y="1896"/>
                  </a:lnTo>
                  <a:lnTo>
                    <a:pt x="2070" y="1902"/>
                  </a:lnTo>
                  <a:lnTo>
                    <a:pt x="2076" y="1902"/>
                  </a:lnTo>
                  <a:lnTo>
                    <a:pt x="2082" y="1902"/>
                  </a:lnTo>
                  <a:lnTo>
                    <a:pt x="2082" y="1908"/>
                  </a:lnTo>
                  <a:lnTo>
                    <a:pt x="2076" y="1908"/>
                  </a:lnTo>
                  <a:lnTo>
                    <a:pt x="2076" y="1914"/>
                  </a:lnTo>
                  <a:lnTo>
                    <a:pt x="2070" y="1920"/>
                  </a:lnTo>
                  <a:lnTo>
                    <a:pt x="2064" y="1932"/>
                  </a:lnTo>
                  <a:lnTo>
                    <a:pt x="2064" y="1938"/>
                  </a:lnTo>
                  <a:lnTo>
                    <a:pt x="2058" y="1938"/>
                  </a:lnTo>
                  <a:lnTo>
                    <a:pt x="2052" y="1944"/>
                  </a:lnTo>
                  <a:lnTo>
                    <a:pt x="2052" y="1950"/>
                  </a:lnTo>
                  <a:lnTo>
                    <a:pt x="2040" y="1944"/>
                  </a:lnTo>
                  <a:lnTo>
                    <a:pt x="2040" y="1950"/>
                  </a:lnTo>
                  <a:lnTo>
                    <a:pt x="2034" y="1956"/>
                  </a:lnTo>
                  <a:lnTo>
                    <a:pt x="2034" y="1962"/>
                  </a:lnTo>
                  <a:lnTo>
                    <a:pt x="2028" y="1962"/>
                  </a:lnTo>
                  <a:lnTo>
                    <a:pt x="2022" y="1962"/>
                  </a:lnTo>
                  <a:lnTo>
                    <a:pt x="2022" y="1968"/>
                  </a:lnTo>
                  <a:lnTo>
                    <a:pt x="2028" y="1974"/>
                  </a:lnTo>
                  <a:lnTo>
                    <a:pt x="2034" y="1980"/>
                  </a:lnTo>
                  <a:lnTo>
                    <a:pt x="2028" y="1986"/>
                  </a:lnTo>
                  <a:lnTo>
                    <a:pt x="2022" y="1992"/>
                  </a:lnTo>
                  <a:lnTo>
                    <a:pt x="2022" y="1986"/>
                  </a:lnTo>
                  <a:lnTo>
                    <a:pt x="2016" y="1986"/>
                  </a:lnTo>
                  <a:lnTo>
                    <a:pt x="2010" y="1980"/>
                  </a:lnTo>
                  <a:lnTo>
                    <a:pt x="2004" y="1980"/>
                  </a:lnTo>
                  <a:lnTo>
                    <a:pt x="2004" y="1986"/>
                  </a:lnTo>
                  <a:lnTo>
                    <a:pt x="2010" y="1992"/>
                  </a:lnTo>
                  <a:lnTo>
                    <a:pt x="2010" y="1998"/>
                  </a:lnTo>
                  <a:lnTo>
                    <a:pt x="2004" y="2004"/>
                  </a:lnTo>
                  <a:lnTo>
                    <a:pt x="1998" y="2004"/>
                  </a:lnTo>
                  <a:lnTo>
                    <a:pt x="1998" y="2022"/>
                  </a:lnTo>
                  <a:lnTo>
                    <a:pt x="1998" y="2028"/>
                  </a:lnTo>
                  <a:lnTo>
                    <a:pt x="1992" y="2034"/>
                  </a:lnTo>
                  <a:lnTo>
                    <a:pt x="1992" y="2040"/>
                  </a:lnTo>
                  <a:lnTo>
                    <a:pt x="1986" y="2040"/>
                  </a:lnTo>
                  <a:lnTo>
                    <a:pt x="1986" y="2034"/>
                  </a:lnTo>
                  <a:lnTo>
                    <a:pt x="1980" y="2028"/>
                  </a:lnTo>
                  <a:lnTo>
                    <a:pt x="1980" y="2022"/>
                  </a:lnTo>
                  <a:lnTo>
                    <a:pt x="1968" y="2016"/>
                  </a:lnTo>
                  <a:lnTo>
                    <a:pt x="1962" y="2010"/>
                  </a:lnTo>
                  <a:lnTo>
                    <a:pt x="1956" y="2004"/>
                  </a:lnTo>
                  <a:lnTo>
                    <a:pt x="1950" y="1992"/>
                  </a:lnTo>
                  <a:lnTo>
                    <a:pt x="1950" y="1986"/>
                  </a:lnTo>
                  <a:lnTo>
                    <a:pt x="1950" y="1974"/>
                  </a:lnTo>
                  <a:lnTo>
                    <a:pt x="1944" y="1974"/>
                  </a:lnTo>
                  <a:lnTo>
                    <a:pt x="1932" y="1962"/>
                  </a:lnTo>
                  <a:lnTo>
                    <a:pt x="1932" y="1956"/>
                  </a:lnTo>
                  <a:lnTo>
                    <a:pt x="1932" y="1950"/>
                  </a:lnTo>
                  <a:lnTo>
                    <a:pt x="1920" y="1944"/>
                  </a:lnTo>
                  <a:lnTo>
                    <a:pt x="1914" y="1944"/>
                  </a:lnTo>
                  <a:lnTo>
                    <a:pt x="1908" y="1938"/>
                  </a:lnTo>
                  <a:lnTo>
                    <a:pt x="1902" y="1926"/>
                  </a:lnTo>
                  <a:lnTo>
                    <a:pt x="1890" y="1914"/>
                  </a:lnTo>
                  <a:lnTo>
                    <a:pt x="1884" y="1914"/>
                  </a:lnTo>
                  <a:lnTo>
                    <a:pt x="1878" y="1908"/>
                  </a:lnTo>
                  <a:lnTo>
                    <a:pt x="1872" y="1902"/>
                  </a:lnTo>
                  <a:lnTo>
                    <a:pt x="1872" y="1896"/>
                  </a:lnTo>
                  <a:lnTo>
                    <a:pt x="1866" y="1890"/>
                  </a:lnTo>
                  <a:lnTo>
                    <a:pt x="1854" y="1884"/>
                  </a:lnTo>
                  <a:lnTo>
                    <a:pt x="1848" y="1884"/>
                  </a:lnTo>
                  <a:lnTo>
                    <a:pt x="1842" y="1872"/>
                  </a:lnTo>
                  <a:lnTo>
                    <a:pt x="1836" y="1872"/>
                  </a:lnTo>
                  <a:lnTo>
                    <a:pt x="1830" y="1866"/>
                  </a:lnTo>
                  <a:lnTo>
                    <a:pt x="1830" y="1854"/>
                  </a:lnTo>
                  <a:lnTo>
                    <a:pt x="1824" y="1848"/>
                  </a:lnTo>
                  <a:lnTo>
                    <a:pt x="1818" y="1830"/>
                  </a:lnTo>
                  <a:lnTo>
                    <a:pt x="1818" y="1818"/>
                  </a:lnTo>
                  <a:lnTo>
                    <a:pt x="1812" y="1800"/>
                  </a:lnTo>
                  <a:lnTo>
                    <a:pt x="1812" y="1788"/>
                  </a:lnTo>
                  <a:lnTo>
                    <a:pt x="1806" y="1776"/>
                  </a:lnTo>
                  <a:lnTo>
                    <a:pt x="1800" y="1764"/>
                  </a:lnTo>
                  <a:lnTo>
                    <a:pt x="1794" y="1758"/>
                  </a:lnTo>
                  <a:lnTo>
                    <a:pt x="1782" y="1740"/>
                  </a:lnTo>
                  <a:lnTo>
                    <a:pt x="1776" y="1728"/>
                  </a:lnTo>
                  <a:lnTo>
                    <a:pt x="1776" y="1722"/>
                  </a:lnTo>
                  <a:lnTo>
                    <a:pt x="1770" y="1722"/>
                  </a:lnTo>
                  <a:lnTo>
                    <a:pt x="1770" y="1716"/>
                  </a:lnTo>
                  <a:lnTo>
                    <a:pt x="1764" y="1716"/>
                  </a:lnTo>
                  <a:lnTo>
                    <a:pt x="1758" y="1710"/>
                  </a:lnTo>
                  <a:lnTo>
                    <a:pt x="1752" y="1704"/>
                  </a:lnTo>
                  <a:lnTo>
                    <a:pt x="1746" y="1704"/>
                  </a:lnTo>
                  <a:lnTo>
                    <a:pt x="1740" y="1704"/>
                  </a:lnTo>
                  <a:lnTo>
                    <a:pt x="1734" y="1704"/>
                  </a:lnTo>
                  <a:lnTo>
                    <a:pt x="1734" y="1698"/>
                  </a:lnTo>
                  <a:lnTo>
                    <a:pt x="1728" y="1692"/>
                  </a:lnTo>
                  <a:lnTo>
                    <a:pt x="1722" y="1686"/>
                  </a:lnTo>
                  <a:lnTo>
                    <a:pt x="1716" y="1686"/>
                  </a:lnTo>
                  <a:lnTo>
                    <a:pt x="1698" y="1686"/>
                  </a:lnTo>
                  <a:lnTo>
                    <a:pt x="1692" y="1692"/>
                  </a:lnTo>
                  <a:lnTo>
                    <a:pt x="1680" y="1692"/>
                  </a:lnTo>
                  <a:lnTo>
                    <a:pt x="1668" y="1692"/>
                  </a:lnTo>
                  <a:lnTo>
                    <a:pt x="1662" y="1692"/>
                  </a:lnTo>
                  <a:lnTo>
                    <a:pt x="1656" y="1692"/>
                  </a:lnTo>
                  <a:lnTo>
                    <a:pt x="1650" y="1698"/>
                  </a:lnTo>
                  <a:lnTo>
                    <a:pt x="1644" y="1698"/>
                  </a:lnTo>
                  <a:lnTo>
                    <a:pt x="1638" y="1698"/>
                  </a:lnTo>
                  <a:lnTo>
                    <a:pt x="1632" y="1698"/>
                  </a:lnTo>
                  <a:lnTo>
                    <a:pt x="1632" y="1692"/>
                  </a:lnTo>
                  <a:lnTo>
                    <a:pt x="1620" y="1680"/>
                  </a:lnTo>
                  <a:lnTo>
                    <a:pt x="1614" y="1680"/>
                  </a:lnTo>
                  <a:lnTo>
                    <a:pt x="1608" y="1680"/>
                  </a:lnTo>
                  <a:lnTo>
                    <a:pt x="1602" y="1680"/>
                  </a:lnTo>
                  <a:lnTo>
                    <a:pt x="1596" y="1674"/>
                  </a:lnTo>
                  <a:lnTo>
                    <a:pt x="1584" y="1674"/>
                  </a:lnTo>
                  <a:lnTo>
                    <a:pt x="1572" y="1674"/>
                  </a:lnTo>
                  <a:lnTo>
                    <a:pt x="1560" y="1674"/>
                  </a:lnTo>
                  <a:lnTo>
                    <a:pt x="1542" y="1680"/>
                  </a:lnTo>
                  <a:lnTo>
                    <a:pt x="1530" y="1680"/>
                  </a:lnTo>
                  <a:lnTo>
                    <a:pt x="1530" y="1674"/>
                  </a:lnTo>
                  <a:lnTo>
                    <a:pt x="1524" y="1674"/>
                  </a:lnTo>
                  <a:lnTo>
                    <a:pt x="1518" y="1674"/>
                  </a:lnTo>
                  <a:lnTo>
                    <a:pt x="1512" y="1674"/>
                  </a:lnTo>
                  <a:lnTo>
                    <a:pt x="1506" y="1674"/>
                  </a:lnTo>
                  <a:lnTo>
                    <a:pt x="1500" y="1680"/>
                  </a:lnTo>
                  <a:lnTo>
                    <a:pt x="1488" y="1680"/>
                  </a:lnTo>
                  <a:lnTo>
                    <a:pt x="1482" y="1674"/>
                  </a:lnTo>
                  <a:lnTo>
                    <a:pt x="1476" y="1674"/>
                  </a:lnTo>
                  <a:lnTo>
                    <a:pt x="1464" y="1674"/>
                  </a:lnTo>
                  <a:lnTo>
                    <a:pt x="1452" y="1680"/>
                  </a:lnTo>
                  <a:lnTo>
                    <a:pt x="1434" y="1680"/>
                  </a:lnTo>
                  <a:lnTo>
                    <a:pt x="1422" y="1680"/>
                  </a:lnTo>
                  <a:lnTo>
                    <a:pt x="1416" y="1680"/>
                  </a:lnTo>
                  <a:lnTo>
                    <a:pt x="1404" y="1674"/>
                  </a:lnTo>
                  <a:lnTo>
                    <a:pt x="1398" y="1674"/>
                  </a:lnTo>
                  <a:lnTo>
                    <a:pt x="1392" y="1662"/>
                  </a:lnTo>
                  <a:lnTo>
                    <a:pt x="1380" y="1644"/>
                  </a:lnTo>
                  <a:lnTo>
                    <a:pt x="1374" y="1632"/>
                  </a:lnTo>
                  <a:lnTo>
                    <a:pt x="1362" y="1626"/>
                  </a:lnTo>
                  <a:lnTo>
                    <a:pt x="1356" y="1620"/>
                  </a:lnTo>
                  <a:lnTo>
                    <a:pt x="1350" y="1626"/>
                  </a:lnTo>
                  <a:lnTo>
                    <a:pt x="1338" y="1626"/>
                  </a:lnTo>
                  <a:lnTo>
                    <a:pt x="1326" y="1626"/>
                  </a:lnTo>
                  <a:lnTo>
                    <a:pt x="1314" y="1620"/>
                  </a:lnTo>
                  <a:lnTo>
                    <a:pt x="1308" y="1614"/>
                  </a:lnTo>
                  <a:lnTo>
                    <a:pt x="1302" y="1608"/>
                  </a:lnTo>
                  <a:lnTo>
                    <a:pt x="1296" y="1602"/>
                  </a:lnTo>
                  <a:lnTo>
                    <a:pt x="1290" y="1602"/>
                  </a:lnTo>
                  <a:lnTo>
                    <a:pt x="1290" y="1596"/>
                  </a:lnTo>
                  <a:lnTo>
                    <a:pt x="1284" y="1590"/>
                  </a:lnTo>
                  <a:lnTo>
                    <a:pt x="1272" y="1584"/>
                  </a:lnTo>
                  <a:lnTo>
                    <a:pt x="1254" y="1572"/>
                  </a:lnTo>
                  <a:lnTo>
                    <a:pt x="1236" y="1554"/>
                  </a:lnTo>
                  <a:lnTo>
                    <a:pt x="1230" y="1554"/>
                  </a:lnTo>
                  <a:lnTo>
                    <a:pt x="1224" y="1554"/>
                  </a:lnTo>
                  <a:lnTo>
                    <a:pt x="1212" y="1554"/>
                  </a:lnTo>
                  <a:lnTo>
                    <a:pt x="1194" y="1542"/>
                  </a:lnTo>
                  <a:lnTo>
                    <a:pt x="1188" y="1536"/>
                  </a:lnTo>
                  <a:lnTo>
                    <a:pt x="1182" y="1530"/>
                  </a:lnTo>
                  <a:lnTo>
                    <a:pt x="1176" y="1530"/>
                  </a:lnTo>
                  <a:lnTo>
                    <a:pt x="1170" y="1530"/>
                  </a:lnTo>
                  <a:lnTo>
                    <a:pt x="1158" y="1524"/>
                  </a:lnTo>
                  <a:lnTo>
                    <a:pt x="1152" y="1524"/>
                  </a:lnTo>
                  <a:lnTo>
                    <a:pt x="1140" y="1518"/>
                  </a:lnTo>
                  <a:lnTo>
                    <a:pt x="1128" y="1518"/>
                  </a:lnTo>
                  <a:lnTo>
                    <a:pt x="1122" y="1518"/>
                  </a:lnTo>
                  <a:lnTo>
                    <a:pt x="1116" y="1518"/>
                  </a:lnTo>
                  <a:lnTo>
                    <a:pt x="1104" y="1518"/>
                  </a:lnTo>
                  <a:lnTo>
                    <a:pt x="1092" y="1518"/>
                  </a:lnTo>
                  <a:lnTo>
                    <a:pt x="1080" y="1518"/>
                  </a:lnTo>
                  <a:lnTo>
                    <a:pt x="1068" y="1518"/>
                  </a:lnTo>
                  <a:lnTo>
                    <a:pt x="1062" y="1518"/>
                  </a:lnTo>
                  <a:lnTo>
                    <a:pt x="1056" y="1518"/>
                  </a:lnTo>
                  <a:lnTo>
                    <a:pt x="1050" y="1512"/>
                  </a:lnTo>
                  <a:lnTo>
                    <a:pt x="1044" y="1512"/>
                  </a:lnTo>
                  <a:lnTo>
                    <a:pt x="1038" y="1512"/>
                  </a:lnTo>
                  <a:lnTo>
                    <a:pt x="1032" y="1506"/>
                  </a:lnTo>
                  <a:lnTo>
                    <a:pt x="1026" y="1500"/>
                  </a:lnTo>
                  <a:lnTo>
                    <a:pt x="1026" y="1494"/>
                  </a:lnTo>
                  <a:lnTo>
                    <a:pt x="1020" y="1476"/>
                  </a:lnTo>
                  <a:lnTo>
                    <a:pt x="1008" y="1464"/>
                  </a:lnTo>
                  <a:lnTo>
                    <a:pt x="1008" y="1458"/>
                  </a:lnTo>
                  <a:lnTo>
                    <a:pt x="1002" y="1446"/>
                  </a:lnTo>
                  <a:lnTo>
                    <a:pt x="996" y="1446"/>
                  </a:lnTo>
                  <a:lnTo>
                    <a:pt x="990" y="1440"/>
                  </a:lnTo>
                  <a:lnTo>
                    <a:pt x="984" y="1434"/>
                  </a:lnTo>
                  <a:lnTo>
                    <a:pt x="978" y="1434"/>
                  </a:lnTo>
                  <a:lnTo>
                    <a:pt x="972" y="1434"/>
                  </a:lnTo>
                  <a:lnTo>
                    <a:pt x="966" y="1428"/>
                  </a:lnTo>
                  <a:lnTo>
                    <a:pt x="954" y="1422"/>
                  </a:lnTo>
                  <a:lnTo>
                    <a:pt x="942" y="1416"/>
                  </a:lnTo>
                  <a:lnTo>
                    <a:pt x="924" y="1398"/>
                  </a:lnTo>
                  <a:lnTo>
                    <a:pt x="912" y="1386"/>
                  </a:lnTo>
                  <a:lnTo>
                    <a:pt x="900" y="1386"/>
                  </a:lnTo>
                  <a:lnTo>
                    <a:pt x="894" y="1386"/>
                  </a:lnTo>
                  <a:lnTo>
                    <a:pt x="882" y="1392"/>
                  </a:lnTo>
                  <a:lnTo>
                    <a:pt x="876" y="1392"/>
                  </a:lnTo>
                  <a:lnTo>
                    <a:pt x="864" y="1398"/>
                  </a:lnTo>
                  <a:lnTo>
                    <a:pt x="864" y="1404"/>
                  </a:lnTo>
                  <a:lnTo>
                    <a:pt x="858" y="1410"/>
                  </a:lnTo>
                  <a:lnTo>
                    <a:pt x="852" y="1410"/>
                  </a:lnTo>
                  <a:lnTo>
                    <a:pt x="846" y="1410"/>
                  </a:lnTo>
                  <a:lnTo>
                    <a:pt x="834" y="1410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10" y="1428"/>
                  </a:lnTo>
                  <a:lnTo>
                    <a:pt x="798" y="1428"/>
                  </a:lnTo>
                  <a:lnTo>
                    <a:pt x="792" y="1428"/>
                  </a:lnTo>
                  <a:lnTo>
                    <a:pt x="780" y="1434"/>
                  </a:lnTo>
                  <a:lnTo>
                    <a:pt x="774" y="1428"/>
                  </a:lnTo>
                  <a:lnTo>
                    <a:pt x="762" y="1428"/>
                  </a:lnTo>
                  <a:lnTo>
                    <a:pt x="756" y="1422"/>
                  </a:lnTo>
                  <a:lnTo>
                    <a:pt x="750" y="1416"/>
                  </a:lnTo>
                  <a:lnTo>
                    <a:pt x="744" y="1410"/>
                  </a:lnTo>
                  <a:lnTo>
                    <a:pt x="744" y="1398"/>
                  </a:lnTo>
                  <a:lnTo>
                    <a:pt x="744" y="1386"/>
                  </a:lnTo>
                  <a:lnTo>
                    <a:pt x="750" y="1380"/>
                  </a:lnTo>
                  <a:lnTo>
                    <a:pt x="750" y="1374"/>
                  </a:lnTo>
                  <a:lnTo>
                    <a:pt x="750" y="1368"/>
                  </a:lnTo>
                  <a:lnTo>
                    <a:pt x="756" y="1362"/>
                  </a:lnTo>
                  <a:lnTo>
                    <a:pt x="750" y="1350"/>
                  </a:lnTo>
                  <a:lnTo>
                    <a:pt x="744" y="1344"/>
                  </a:lnTo>
                  <a:lnTo>
                    <a:pt x="738" y="1338"/>
                  </a:lnTo>
                  <a:lnTo>
                    <a:pt x="726" y="1338"/>
                  </a:lnTo>
                  <a:lnTo>
                    <a:pt x="720" y="1338"/>
                  </a:lnTo>
                  <a:lnTo>
                    <a:pt x="714" y="1338"/>
                  </a:lnTo>
                  <a:lnTo>
                    <a:pt x="708" y="1332"/>
                  </a:lnTo>
                  <a:lnTo>
                    <a:pt x="702" y="1332"/>
                  </a:lnTo>
                  <a:lnTo>
                    <a:pt x="696" y="1326"/>
                  </a:lnTo>
                  <a:lnTo>
                    <a:pt x="684" y="1326"/>
                  </a:lnTo>
                  <a:lnTo>
                    <a:pt x="678" y="1326"/>
                  </a:lnTo>
                  <a:lnTo>
                    <a:pt x="672" y="1314"/>
                  </a:lnTo>
                  <a:lnTo>
                    <a:pt x="666" y="1308"/>
                  </a:lnTo>
                  <a:lnTo>
                    <a:pt x="654" y="1296"/>
                  </a:lnTo>
                  <a:lnTo>
                    <a:pt x="654" y="1290"/>
                  </a:lnTo>
                  <a:lnTo>
                    <a:pt x="630" y="1284"/>
                  </a:lnTo>
                  <a:lnTo>
                    <a:pt x="630" y="1278"/>
                  </a:lnTo>
                  <a:lnTo>
                    <a:pt x="624" y="1278"/>
                  </a:lnTo>
                  <a:lnTo>
                    <a:pt x="618" y="1266"/>
                  </a:lnTo>
                  <a:lnTo>
                    <a:pt x="612" y="1266"/>
                  </a:lnTo>
                  <a:lnTo>
                    <a:pt x="606" y="1266"/>
                  </a:lnTo>
                  <a:lnTo>
                    <a:pt x="606" y="1260"/>
                  </a:lnTo>
                  <a:lnTo>
                    <a:pt x="594" y="1248"/>
                  </a:lnTo>
                  <a:lnTo>
                    <a:pt x="582" y="1248"/>
                  </a:lnTo>
                  <a:lnTo>
                    <a:pt x="576" y="1242"/>
                  </a:lnTo>
                  <a:lnTo>
                    <a:pt x="570" y="1236"/>
                  </a:lnTo>
                  <a:lnTo>
                    <a:pt x="504" y="1164"/>
                  </a:lnTo>
                  <a:lnTo>
                    <a:pt x="450" y="1110"/>
                  </a:lnTo>
                  <a:lnTo>
                    <a:pt x="426" y="1092"/>
                  </a:lnTo>
                  <a:lnTo>
                    <a:pt x="426" y="1074"/>
                  </a:lnTo>
                  <a:lnTo>
                    <a:pt x="420" y="1062"/>
                  </a:lnTo>
                  <a:lnTo>
                    <a:pt x="396" y="1056"/>
                  </a:lnTo>
                  <a:lnTo>
                    <a:pt x="384" y="1032"/>
                  </a:lnTo>
                  <a:lnTo>
                    <a:pt x="372" y="1020"/>
                  </a:lnTo>
                  <a:lnTo>
                    <a:pt x="360" y="984"/>
                  </a:lnTo>
                  <a:lnTo>
                    <a:pt x="348" y="978"/>
                  </a:lnTo>
                  <a:lnTo>
                    <a:pt x="342" y="972"/>
                  </a:lnTo>
                  <a:lnTo>
                    <a:pt x="348" y="960"/>
                  </a:lnTo>
                  <a:lnTo>
                    <a:pt x="342" y="954"/>
                  </a:lnTo>
                  <a:lnTo>
                    <a:pt x="336" y="954"/>
                  </a:lnTo>
                  <a:lnTo>
                    <a:pt x="330" y="954"/>
                  </a:lnTo>
                  <a:lnTo>
                    <a:pt x="324" y="972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0" y="966"/>
                  </a:lnTo>
                  <a:lnTo>
                    <a:pt x="294" y="966"/>
                  </a:lnTo>
                  <a:lnTo>
                    <a:pt x="288" y="972"/>
                  </a:lnTo>
                  <a:lnTo>
                    <a:pt x="288" y="966"/>
                  </a:lnTo>
                  <a:lnTo>
                    <a:pt x="282" y="948"/>
                  </a:lnTo>
                  <a:lnTo>
                    <a:pt x="282" y="942"/>
                  </a:lnTo>
                  <a:lnTo>
                    <a:pt x="276" y="942"/>
                  </a:lnTo>
                  <a:lnTo>
                    <a:pt x="276" y="936"/>
                  </a:lnTo>
                  <a:lnTo>
                    <a:pt x="270" y="942"/>
                  </a:lnTo>
                  <a:lnTo>
                    <a:pt x="264" y="948"/>
                  </a:lnTo>
                  <a:lnTo>
                    <a:pt x="264" y="942"/>
                  </a:lnTo>
                  <a:lnTo>
                    <a:pt x="258" y="942"/>
                  </a:lnTo>
                  <a:lnTo>
                    <a:pt x="252" y="948"/>
                  </a:lnTo>
                  <a:lnTo>
                    <a:pt x="252" y="942"/>
                  </a:lnTo>
                  <a:lnTo>
                    <a:pt x="246" y="936"/>
                  </a:lnTo>
                  <a:lnTo>
                    <a:pt x="240" y="942"/>
                  </a:lnTo>
                  <a:lnTo>
                    <a:pt x="234" y="936"/>
                  </a:lnTo>
                  <a:lnTo>
                    <a:pt x="228" y="936"/>
                  </a:lnTo>
                  <a:lnTo>
                    <a:pt x="222" y="936"/>
                  </a:lnTo>
                  <a:lnTo>
                    <a:pt x="222" y="930"/>
                  </a:lnTo>
                  <a:lnTo>
                    <a:pt x="222" y="924"/>
                  </a:lnTo>
                  <a:lnTo>
                    <a:pt x="228" y="924"/>
                  </a:lnTo>
                  <a:lnTo>
                    <a:pt x="234" y="924"/>
                  </a:lnTo>
                  <a:lnTo>
                    <a:pt x="240" y="924"/>
                  </a:lnTo>
                  <a:lnTo>
                    <a:pt x="240" y="918"/>
                  </a:lnTo>
                  <a:lnTo>
                    <a:pt x="246" y="918"/>
                  </a:lnTo>
                  <a:lnTo>
                    <a:pt x="246" y="912"/>
                  </a:lnTo>
                  <a:lnTo>
                    <a:pt x="240" y="906"/>
                  </a:lnTo>
                  <a:lnTo>
                    <a:pt x="234" y="906"/>
                  </a:lnTo>
                  <a:lnTo>
                    <a:pt x="228" y="906"/>
                  </a:lnTo>
                  <a:lnTo>
                    <a:pt x="228" y="912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8" y="894"/>
                  </a:lnTo>
                  <a:lnTo>
                    <a:pt x="234" y="894"/>
                  </a:lnTo>
                  <a:lnTo>
                    <a:pt x="228" y="888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198" y="888"/>
                  </a:lnTo>
                  <a:lnTo>
                    <a:pt x="192" y="882"/>
                  </a:lnTo>
                  <a:lnTo>
                    <a:pt x="186" y="882"/>
                  </a:lnTo>
                  <a:lnTo>
                    <a:pt x="186" y="876"/>
                  </a:lnTo>
                  <a:lnTo>
                    <a:pt x="192" y="876"/>
                  </a:lnTo>
                  <a:lnTo>
                    <a:pt x="192" y="870"/>
                  </a:lnTo>
                  <a:lnTo>
                    <a:pt x="198" y="870"/>
                  </a:lnTo>
                  <a:lnTo>
                    <a:pt x="198" y="864"/>
                  </a:lnTo>
                  <a:lnTo>
                    <a:pt x="198" y="858"/>
                  </a:lnTo>
                  <a:lnTo>
                    <a:pt x="180" y="852"/>
                  </a:lnTo>
                  <a:lnTo>
                    <a:pt x="174" y="840"/>
                  </a:lnTo>
                  <a:lnTo>
                    <a:pt x="162" y="846"/>
                  </a:lnTo>
                  <a:lnTo>
                    <a:pt x="156" y="846"/>
                  </a:lnTo>
                  <a:lnTo>
                    <a:pt x="150" y="846"/>
                  </a:lnTo>
                  <a:lnTo>
                    <a:pt x="150" y="840"/>
                  </a:lnTo>
                  <a:lnTo>
                    <a:pt x="138" y="834"/>
                  </a:lnTo>
                  <a:lnTo>
                    <a:pt x="132" y="834"/>
                  </a:lnTo>
                  <a:lnTo>
                    <a:pt x="132" y="840"/>
                  </a:lnTo>
                  <a:lnTo>
                    <a:pt x="126" y="840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58"/>
                  </a:lnTo>
                  <a:lnTo>
                    <a:pt x="120" y="846"/>
                  </a:lnTo>
                  <a:lnTo>
                    <a:pt x="114" y="846"/>
                  </a:lnTo>
                  <a:lnTo>
                    <a:pt x="108" y="840"/>
                  </a:lnTo>
                  <a:lnTo>
                    <a:pt x="102" y="834"/>
                  </a:lnTo>
                  <a:lnTo>
                    <a:pt x="102" y="822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78" y="804"/>
                  </a:lnTo>
                  <a:lnTo>
                    <a:pt x="78" y="798"/>
                  </a:lnTo>
                  <a:lnTo>
                    <a:pt x="78" y="792"/>
                  </a:lnTo>
                  <a:lnTo>
                    <a:pt x="78" y="786"/>
                  </a:lnTo>
                  <a:lnTo>
                    <a:pt x="78" y="780"/>
                  </a:lnTo>
                  <a:lnTo>
                    <a:pt x="72" y="774"/>
                  </a:lnTo>
                  <a:lnTo>
                    <a:pt x="66" y="774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60" y="762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6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2" y="666"/>
                  </a:lnTo>
                  <a:lnTo>
                    <a:pt x="18" y="648"/>
                  </a:lnTo>
                  <a:lnTo>
                    <a:pt x="24" y="636"/>
                  </a:lnTo>
                  <a:lnTo>
                    <a:pt x="30" y="630"/>
                  </a:lnTo>
                  <a:lnTo>
                    <a:pt x="30" y="624"/>
                  </a:lnTo>
                  <a:lnTo>
                    <a:pt x="30" y="612"/>
                  </a:lnTo>
                  <a:lnTo>
                    <a:pt x="30" y="606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66" y="582"/>
                  </a:lnTo>
                  <a:lnTo>
                    <a:pt x="72" y="588"/>
                  </a:lnTo>
                  <a:lnTo>
                    <a:pt x="84" y="594"/>
                  </a:lnTo>
                  <a:lnTo>
                    <a:pt x="90" y="600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14" y="612"/>
                  </a:lnTo>
                  <a:lnTo>
                    <a:pt x="120" y="612"/>
                  </a:lnTo>
                  <a:lnTo>
                    <a:pt x="126" y="618"/>
                  </a:lnTo>
                  <a:lnTo>
                    <a:pt x="138" y="594"/>
                  </a:lnTo>
                  <a:lnTo>
                    <a:pt x="138" y="582"/>
                  </a:lnTo>
                  <a:lnTo>
                    <a:pt x="138" y="570"/>
                  </a:lnTo>
                  <a:lnTo>
                    <a:pt x="138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50" y="528"/>
                  </a:lnTo>
                  <a:lnTo>
                    <a:pt x="156" y="510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62"/>
                  </a:lnTo>
                  <a:lnTo>
                    <a:pt x="168" y="450"/>
                  </a:lnTo>
                  <a:lnTo>
                    <a:pt x="168" y="444"/>
                  </a:lnTo>
                  <a:lnTo>
                    <a:pt x="162" y="432"/>
                  </a:lnTo>
                  <a:lnTo>
                    <a:pt x="162" y="426"/>
                  </a:lnTo>
                  <a:lnTo>
                    <a:pt x="156" y="420"/>
                  </a:lnTo>
                  <a:lnTo>
                    <a:pt x="144" y="414"/>
                  </a:lnTo>
                  <a:lnTo>
                    <a:pt x="132" y="402"/>
                  </a:lnTo>
                  <a:lnTo>
                    <a:pt x="126" y="390"/>
                  </a:lnTo>
                  <a:lnTo>
                    <a:pt x="120" y="384"/>
                  </a:lnTo>
                  <a:lnTo>
                    <a:pt x="120" y="372"/>
                  </a:lnTo>
                  <a:lnTo>
                    <a:pt x="114" y="360"/>
                  </a:lnTo>
                  <a:lnTo>
                    <a:pt x="108" y="360"/>
                  </a:lnTo>
                  <a:lnTo>
                    <a:pt x="108" y="354"/>
                  </a:lnTo>
                  <a:lnTo>
                    <a:pt x="102" y="348"/>
                  </a:lnTo>
                  <a:lnTo>
                    <a:pt x="102" y="342"/>
                  </a:lnTo>
                  <a:lnTo>
                    <a:pt x="108" y="330"/>
                  </a:lnTo>
                  <a:lnTo>
                    <a:pt x="114" y="312"/>
                  </a:lnTo>
                  <a:lnTo>
                    <a:pt x="114" y="300"/>
                  </a:lnTo>
                  <a:lnTo>
                    <a:pt x="120" y="288"/>
                  </a:lnTo>
                  <a:lnTo>
                    <a:pt x="120" y="282"/>
                  </a:lnTo>
                  <a:lnTo>
                    <a:pt x="114" y="270"/>
                  </a:lnTo>
                  <a:lnTo>
                    <a:pt x="114" y="258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84" y="222"/>
                  </a:lnTo>
                  <a:lnTo>
                    <a:pt x="84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84" y="186"/>
                  </a:lnTo>
                  <a:lnTo>
                    <a:pt x="84" y="180"/>
                  </a:lnTo>
                  <a:lnTo>
                    <a:pt x="108" y="174"/>
                  </a:lnTo>
                  <a:lnTo>
                    <a:pt x="132" y="186"/>
                  </a:lnTo>
                  <a:lnTo>
                    <a:pt x="138" y="192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56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74" y="204"/>
                  </a:lnTo>
                  <a:lnTo>
                    <a:pt x="180" y="216"/>
                  </a:lnTo>
                  <a:lnTo>
                    <a:pt x="186" y="228"/>
                  </a:lnTo>
                  <a:lnTo>
                    <a:pt x="192" y="234"/>
                  </a:lnTo>
                  <a:lnTo>
                    <a:pt x="198" y="234"/>
                  </a:lnTo>
                  <a:lnTo>
                    <a:pt x="204" y="240"/>
                  </a:lnTo>
                  <a:lnTo>
                    <a:pt x="210" y="240"/>
                  </a:lnTo>
                  <a:lnTo>
                    <a:pt x="216" y="240"/>
                  </a:lnTo>
                  <a:lnTo>
                    <a:pt x="222" y="240"/>
                  </a:lnTo>
                  <a:lnTo>
                    <a:pt x="228" y="246"/>
                  </a:lnTo>
                  <a:lnTo>
                    <a:pt x="234" y="246"/>
                  </a:lnTo>
                  <a:lnTo>
                    <a:pt x="240" y="246"/>
                  </a:lnTo>
                  <a:lnTo>
                    <a:pt x="252" y="252"/>
                  </a:lnTo>
                  <a:lnTo>
                    <a:pt x="330" y="246"/>
                  </a:lnTo>
                  <a:lnTo>
                    <a:pt x="360" y="228"/>
                  </a:lnTo>
                  <a:lnTo>
                    <a:pt x="396" y="228"/>
                  </a:lnTo>
                  <a:lnTo>
                    <a:pt x="402" y="240"/>
                  </a:lnTo>
                  <a:lnTo>
                    <a:pt x="432" y="240"/>
                  </a:lnTo>
                  <a:lnTo>
                    <a:pt x="450" y="258"/>
                  </a:lnTo>
                  <a:lnTo>
                    <a:pt x="468" y="258"/>
                  </a:lnTo>
                  <a:lnTo>
                    <a:pt x="474" y="294"/>
                  </a:lnTo>
                  <a:lnTo>
                    <a:pt x="558" y="318"/>
                  </a:lnTo>
                  <a:lnTo>
                    <a:pt x="588" y="318"/>
                  </a:lnTo>
                  <a:lnTo>
                    <a:pt x="588" y="312"/>
                  </a:lnTo>
                  <a:lnTo>
                    <a:pt x="594" y="306"/>
                  </a:lnTo>
                  <a:lnTo>
                    <a:pt x="600" y="306"/>
                  </a:lnTo>
                  <a:lnTo>
                    <a:pt x="612" y="300"/>
                  </a:lnTo>
                  <a:lnTo>
                    <a:pt x="618" y="300"/>
                  </a:lnTo>
                  <a:lnTo>
                    <a:pt x="630" y="300"/>
                  </a:lnTo>
                  <a:lnTo>
                    <a:pt x="642" y="306"/>
                  </a:lnTo>
                  <a:lnTo>
                    <a:pt x="660" y="306"/>
                  </a:lnTo>
                  <a:lnTo>
                    <a:pt x="666" y="306"/>
                  </a:lnTo>
                  <a:lnTo>
                    <a:pt x="672" y="306"/>
                  </a:lnTo>
                  <a:lnTo>
                    <a:pt x="684" y="300"/>
                  </a:lnTo>
                  <a:lnTo>
                    <a:pt x="696" y="294"/>
                  </a:lnTo>
                  <a:lnTo>
                    <a:pt x="702" y="288"/>
                  </a:lnTo>
                  <a:lnTo>
                    <a:pt x="714" y="282"/>
                  </a:lnTo>
                  <a:lnTo>
                    <a:pt x="714" y="288"/>
                  </a:lnTo>
                  <a:lnTo>
                    <a:pt x="726" y="300"/>
                  </a:lnTo>
                  <a:lnTo>
                    <a:pt x="732" y="306"/>
                  </a:lnTo>
                  <a:lnTo>
                    <a:pt x="732" y="318"/>
                  </a:lnTo>
                  <a:lnTo>
                    <a:pt x="732" y="330"/>
                  </a:lnTo>
                  <a:lnTo>
                    <a:pt x="726" y="342"/>
                  </a:lnTo>
                  <a:lnTo>
                    <a:pt x="720" y="354"/>
                  </a:lnTo>
                  <a:lnTo>
                    <a:pt x="720" y="360"/>
                  </a:lnTo>
                  <a:lnTo>
                    <a:pt x="714" y="372"/>
                  </a:lnTo>
                  <a:lnTo>
                    <a:pt x="714" y="378"/>
                  </a:lnTo>
                  <a:lnTo>
                    <a:pt x="714" y="408"/>
                  </a:lnTo>
                  <a:lnTo>
                    <a:pt x="708" y="420"/>
                  </a:lnTo>
                  <a:lnTo>
                    <a:pt x="714" y="432"/>
                  </a:lnTo>
                  <a:lnTo>
                    <a:pt x="708" y="450"/>
                  </a:lnTo>
                  <a:lnTo>
                    <a:pt x="708" y="468"/>
                  </a:lnTo>
                  <a:lnTo>
                    <a:pt x="696" y="480"/>
                  </a:lnTo>
                  <a:lnTo>
                    <a:pt x="684" y="486"/>
                  </a:lnTo>
                  <a:lnTo>
                    <a:pt x="672" y="492"/>
                  </a:lnTo>
                  <a:lnTo>
                    <a:pt x="660" y="498"/>
                  </a:lnTo>
                  <a:lnTo>
                    <a:pt x="654" y="510"/>
                  </a:lnTo>
                  <a:lnTo>
                    <a:pt x="648" y="516"/>
                  </a:lnTo>
                  <a:lnTo>
                    <a:pt x="642" y="522"/>
                  </a:lnTo>
                  <a:lnTo>
                    <a:pt x="630" y="522"/>
                  </a:lnTo>
                  <a:lnTo>
                    <a:pt x="624" y="528"/>
                  </a:lnTo>
                  <a:lnTo>
                    <a:pt x="618" y="540"/>
                  </a:lnTo>
                  <a:lnTo>
                    <a:pt x="618" y="558"/>
                  </a:lnTo>
                  <a:lnTo>
                    <a:pt x="612" y="576"/>
                  </a:lnTo>
                  <a:lnTo>
                    <a:pt x="612" y="684"/>
                  </a:lnTo>
                  <a:lnTo>
                    <a:pt x="618" y="696"/>
                  </a:lnTo>
                  <a:lnTo>
                    <a:pt x="636" y="696"/>
                  </a:lnTo>
                  <a:lnTo>
                    <a:pt x="636" y="720"/>
                  </a:lnTo>
                  <a:lnTo>
                    <a:pt x="636" y="732"/>
                  </a:lnTo>
                  <a:lnTo>
                    <a:pt x="618" y="750"/>
                  </a:lnTo>
                  <a:lnTo>
                    <a:pt x="606" y="762"/>
                  </a:lnTo>
                  <a:lnTo>
                    <a:pt x="600" y="774"/>
                  </a:lnTo>
                  <a:lnTo>
                    <a:pt x="594" y="798"/>
                  </a:lnTo>
                  <a:lnTo>
                    <a:pt x="606" y="798"/>
                  </a:lnTo>
                  <a:lnTo>
                    <a:pt x="660" y="792"/>
                  </a:lnTo>
                  <a:lnTo>
                    <a:pt x="696" y="798"/>
                  </a:lnTo>
                  <a:lnTo>
                    <a:pt x="720" y="798"/>
                  </a:lnTo>
                  <a:lnTo>
                    <a:pt x="720" y="786"/>
                  </a:lnTo>
                  <a:lnTo>
                    <a:pt x="720" y="774"/>
                  </a:lnTo>
                  <a:lnTo>
                    <a:pt x="702" y="762"/>
                  </a:lnTo>
                  <a:lnTo>
                    <a:pt x="702" y="750"/>
                  </a:lnTo>
                  <a:lnTo>
                    <a:pt x="702" y="726"/>
                  </a:lnTo>
                  <a:lnTo>
                    <a:pt x="714" y="714"/>
                  </a:lnTo>
                  <a:lnTo>
                    <a:pt x="720" y="702"/>
                  </a:lnTo>
                  <a:lnTo>
                    <a:pt x="720" y="696"/>
                  </a:lnTo>
                  <a:lnTo>
                    <a:pt x="744" y="690"/>
                  </a:lnTo>
                  <a:lnTo>
                    <a:pt x="744" y="696"/>
                  </a:lnTo>
                  <a:lnTo>
                    <a:pt x="756" y="696"/>
                  </a:lnTo>
                  <a:lnTo>
                    <a:pt x="762" y="690"/>
                  </a:lnTo>
                  <a:lnTo>
                    <a:pt x="768" y="690"/>
                  </a:lnTo>
                  <a:lnTo>
                    <a:pt x="774" y="696"/>
                  </a:lnTo>
                  <a:lnTo>
                    <a:pt x="780" y="696"/>
                  </a:lnTo>
                  <a:lnTo>
                    <a:pt x="786" y="696"/>
                  </a:lnTo>
                  <a:lnTo>
                    <a:pt x="804" y="684"/>
                  </a:lnTo>
                  <a:lnTo>
                    <a:pt x="810" y="684"/>
                  </a:lnTo>
                  <a:lnTo>
                    <a:pt x="810" y="654"/>
                  </a:lnTo>
                  <a:lnTo>
                    <a:pt x="816" y="588"/>
                  </a:lnTo>
                  <a:lnTo>
                    <a:pt x="804" y="582"/>
                  </a:lnTo>
                  <a:lnTo>
                    <a:pt x="798" y="552"/>
                  </a:lnTo>
                  <a:lnTo>
                    <a:pt x="798" y="480"/>
                  </a:lnTo>
                  <a:lnTo>
                    <a:pt x="780" y="468"/>
                  </a:lnTo>
                  <a:lnTo>
                    <a:pt x="780" y="462"/>
                  </a:lnTo>
                  <a:lnTo>
                    <a:pt x="774" y="450"/>
                  </a:lnTo>
                  <a:lnTo>
                    <a:pt x="762" y="444"/>
                  </a:lnTo>
                  <a:lnTo>
                    <a:pt x="762" y="438"/>
                  </a:lnTo>
                  <a:lnTo>
                    <a:pt x="768" y="432"/>
                  </a:lnTo>
                  <a:lnTo>
                    <a:pt x="774" y="426"/>
                  </a:lnTo>
                  <a:lnTo>
                    <a:pt x="780" y="426"/>
                  </a:lnTo>
                  <a:lnTo>
                    <a:pt x="780" y="414"/>
                  </a:lnTo>
                  <a:lnTo>
                    <a:pt x="834" y="414"/>
                  </a:lnTo>
                  <a:lnTo>
                    <a:pt x="834" y="426"/>
                  </a:lnTo>
                  <a:lnTo>
                    <a:pt x="840" y="432"/>
                  </a:lnTo>
                  <a:lnTo>
                    <a:pt x="846" y="432"/>
                  </a:lnTo>
                  <a:lnTo>
                    <a:pt x="852" y="432"/>
                  </a:lnTo>
                  <a:lnTo>
                    <a:pt x="858" y="432"/>
                  </a:lnTo>
                  <a:lnTo>
                    <a:pt x="870" y="432"/>
                  </a:lnTo>
                  <a:lnTo>
                    <a:pt x="870" y="426"/>
                  </a:lnTo>
                  <a:lnTo>
                    <a:pt x="870" y="420"/>
                  </a:lnTo>
                  <a:lnTo>
                    <a:pt x="876" y="420"/>
                  </a:lnTo>
                  <a:lnTo>
                    <a:pt x="882" y="420"/>
                  </a:lnTo>
                  <a:lnTo>
                    <a:pt x="894" y="414"/>
                  </a:lnTo>
                  <a:lnTo>
                    <a:pt x="900" y="414"/>
                  </a:lnTo>
                  <a:lnTo>
                    <a:pt x="906" y="408"/>
                  </a:lnTo>
                  <a:lnTo>
                    <a:pt x="918" y="408"/>
                  </a:lnTo>
                  <a:lnTo>
                    <a:pt x="924" y="402"/>
                  </a:lnTo>
                  <a:lnTo>
                    <a:pt x="930" y="384"/>
                  </a:lnTo>
                  <a:lnTo>
                    <a:pt x="948" y="396"/>
                  </a:lnTo>
                  <a:lnTo>
                    <a:pt x="954" y="384"/>
                  </a:lnTo>
                  <a:lnTo>
                    <a:pt x="960" y="384"/>
                  </a:lnTo>
                  <a:lnTo>
                    <a:pt x="972" y="384"/>
                  </a:lnTo>
                  <a:lnTo>
                    <a:pt x="978" y="378"/>
                  </a:lnTo>
                  <a:lnTo>
                    <a:pt x="972" y="366"/>
                  </a:lnTo>
                  <a:lnTo>
                    <a:pt x="966" y="342"/>
                  </a:lnTo>
                  <a:lnTo>
                    <a:pt x="960" y="330"/>
                  </a:lnTo>
                  <a:lnTo>
                    <a:pt x="942" y="324"/>
                  </a:lnTo>
                  <a:lnTo>
                    <a:pt x="936" y="318"/>
                  </a:lnTo>
                  <a:lnTo>
                    <a:pt x="936" y="294"/>
                  </a:lnTo>
                  <a:lnTo>
                    <a:pt x="942" y="294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282"/>
                  </a:lnTo>
                  <a:lnTo>
                    <a:pt x="954" y="276"/>
                  </a:lnTo>
                  <a:lnTo>
                    <a:pt x="960" y="276"/>
                  </a:lnTo>
                  <a:lnTo>
                    <a:pt x="966" y="276"/>
                  </a:lnTo>
                  <a:lnTo>
                    <a:pt x="960" y="258"/>
                  </a:lnTo>
                  <a:lnTo>
                    <a:pt x="954" y="240"/>
                  </a:lnTo>
                  <a:lnTo>
                    <a:pt x="948" y="204"/>
                  </a:lnTo>
                  <a:lnTo>
                    <a:pt x="954" y="204"/>
                  </a:lnTo>
                  <a:lnTo>
                    <a:pt x="960" y="198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00" y="186"/>
                  </a:lnTo>
                  <a:lnTo>
                    <a:pt x="876" y="180"/>
                  </a:lnTo>
                  <a:lnTo>
                    <a:pt x="858" y="180"/>
                  </a:lnTo>
                  <a:lnTo>
                    <a:pt x="852" y="168"/>
                  </a:lnTo>
                  <a:lnTo>
                    <a:pt x="834" y="156"/>
                  </a:lnTo>
                  <a:lnTo>
                    <a:pt x="822" y="156"/>
                  </a:lnTo>
                  <a:lnTo>
                    <a:pt x="804" y="156"/>
                  </a:lnTo>
                  <a:lnTo>
                    <a:pt x="804" y="150"/>
                  </a:lnTo>
                  <a:lnTo>
                    <a:pt x="792" y="144"/>
                  </a:lnTo>
                  <a:lnTo>
                    <a:pt x="762" y="138"/>
                  </a:lnTo>
                  <a:lnTo>
                    <a:pt x="768" y="120"/>
                  </a:lnTo>
                  <a:lnTo>
                    <a:pt x="756" y="120"/>
                  </a:lnTo>
                  <a:lnTo>
                    <a:pt x="744" y="108"/>
                  </a:lnTo>
                  <a:lnTo>
                    <a:pt x="744" y="96"/>
                  </a:lnTo>
                  <a:lnTo>
                    <a:pt x="762" y="84"/>
                  </a:lnTo>
                  <a:lnTo>
                    <a:pt x="768" y="84"/>
                  </a:lnTo>
                  <a:lnTo>
                    <a:pt x="768" y="72"/>
                  </a:lnTo>
                  <a:lnTo>
                    <a:pt x="780" y="66"/>
                  </a:lnTo>
                  <a:lnTo>
                    <a:pt x="798" y="54"/>
                  </a:lnTo>
                  <a:lnTo>
                    <a:pt x="792" y="54"/>
                  </a:lnTo>
                  <a:lnTo>
                    <a:pt x="798" y="36"/>
                  </a:lnTo>
                  <a:lnTo>
                    <a:pt x="804" y="36"/>
                  </a:lnTo>
                  <a:lnTo>
                    <a:pt x="816" y="30"/>
                  </a:lnTo>
                  <a:lnTo>
                    <a:pt x="828" y="30"/>
                  </a:lnTo>
                  <a:lnTo>
                    <a:pt x="846" y="12"/>
                  </a:lnTo>
                  <a:lnTo>
                    <a:pt x="876" y="0"/>
                  </a:lnTo>
                  <a:lnTo>
                    <a:pt x="882" y="6"/>
                  </a:lnTo>
                  <a:lnTo>
                    <a:pt x="900" y="6"/>
                  </a:lnTo>
                  <a:lnTo>
                    <a:pt x="912" y="36"/>
                  </a:lnTo>
                  <a:lnTo>
                    <a:pt x="918" y="42"/>
                  </a:lnTo>
                  <a:lnTo>
                    <a:pt x="924" y="54"/>
                  </a:lnTo>
                  <a:lnTo>
                    <a:pt x="930" y="54"/>
                  </a:lnTo>
                  <a:lnTo>
                    <a:pt x="930" y="78"/>
                  </a:lnTo>
                  <a:lnTo>
                    <a:pt x="954" y="72"/>
                  </a:lnTo>
                  <a:lnTo>
                    <a:pt x="954" y="60"/>
                  </a:lnTo>
                  <a:lnTo>
                    <a:pt x="966" y="66"/>
                  </a:lnTo>
                  <a:lnTo>
                    <a:pt x="966" y="78"/>
                  </a:lnTo>
                  <a:lnTo>
                    <a:pt x="960" y="84"/>
                  </a:lnTo>
                  <a:lnTo>
                    <a:pt x="954" y="102"/>
                  </a:lnTo>
                  <a:lnTo>
                    <a:pt x="972" y="102"/>
                  </a:lnTo>
                  <a:lnTo>
                    <a:pt x="978" y="84"/>
                  </a:lnTo>
                  <a:lnTo>
                    <a:pt x="984" y="72"/>
                  </a:lnTo>
                  <a:lnTo>
                    <a:pt x="990" y="72"/>
                  </a:lnTo>
                  <a:lnTo>
                    <a:pt x="996" y="18"/>
                  </a:lnTo>
                  <a:lnTo>
                    <a:pt x="990" y="12"/>
                  </a:lnTo>
                  <a:lnTo>
                    <a:pt x="1014" y="12"/>
                  </a:lnTo>
                  <a:lnTo>
                    <a:pt x="1026" y="12"/>
                  </a:lnTo>
                  <a:lnTo>
                    <a:pt x="1026" y="24"/>
                  </a:lnTo>
                  <a:lnTo>
                    <a:pt x="1050" y="24"/>
                  </a:lnTo>
                  <a:lnTo>
                    <a:pt x="1050" y="36"/>
                  </a:lnTo>
                  <a:lnTo>
                    <a:pt x="1062" y="66"/>
                  </a:lnTo>
                  <a:lnTo>
                    <a:pt x="1074" y="66"/>
                  </a:lnTo>
                  <a:lnTo>
                    <a:pt x="1080" y="60"/>
                  </a:lnTo>
                  <a:lnTo>
                    <a:pt x="1074" y="24"/>
                  </a:lnTo>
                  <a:lnTo>
                    <a:pt x="1086" y="18"/>
                  </a:lnTo>
                  <a:lnTo>
                    <a:pt x="1086" y="12"/>
                  </a:lnTo>
                  <a:lnTo>
                    <a:pt x="1104" y="6"/>
                  </a:lnTo>
                  <a:lnTo>
                    <a:pt x="1122" y="0"/>
                  </a:lnTo>
                  <a:lnTo>
                    <a:pt x="1134" y="6"/>
                  </a:lnTo>
                  <a:lnTo>
                    <a:pt x="1134" y="42"/>
                  </a:lnTo>
                  <a:lnTo>
                    <a:pt x="1140" y="72"/>
                  </a:lnTo>
                  <a:lnTo>
                    <a:pt x="1158" y="114"/>
                  </a:lnTo>
                  <a:lnTo>
                    <a:pt x="1170" y="114"/>
                  </a:lnTo>
                  <a:lnTo>
                    <a:pt x="1170" y="126"/>
                  </a:lnTo>
                  <a:lnTo>
                    <a:pt x="1182" y="126"/>
                  </a:lnTo>
                  <a:lnTo>
                    <a:pt x="1182" y="138"/>
                  </a:lnTo>
                  <a:lnTo>
                    <a:pt x="1194" y="144"/>
                  </a:lnTo>
                  <a:lnTo>
                    <a:pt x="1194" y="156"/>
                  </a:lnTo>
                  <a:lnTo>
                    <a:pt x="1188" y="156"/>
                  </a:lnTo>
                  <a:lnTo>
                    <a:pt x="1194" y="162"/>
                  </a:lnTo>
                  <a:lnTo>
                    <a:pt x="1194" y="168"/>
                  </a:lnTo>
                  <a:lnTo>
                    <a:pt x="1188" y="168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82" y="180"/>
                  </a:lnTo>
                  <a:lnTo>
                    <a:pt x="1188" y="186"/>
                  </a:lnTo>
                  <a:lnTo>
                    <a:pt x="1188" y="192"/>
                  </a:lnTo>
                  <a:lnTo>
                    <a:pt x="1182" y="198"/>
                  </a:lnTo>
                  <a:lnTo>
                    <a:pt x="1182" y="204"/>
                  </a:lnTo>
                  <a:lnTo>
                    <a:pt x="1182" y="210"/>
                  </a:lnTo>
                  <a:lnTo>
                    <a:pt x="1188" y="210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2"/>
                  </a:lnTo>
                  <a:lnTo>
                    <a:pt x="1194" y="264"/>
                  </a:lnTo>
                  <a:lnTo>
                    <a:pt x="1200" y="264"/>
                  </a:lnTo>
                  <a:lnTo>
                    <a:pt x="1212" y="264"/>
                  </a:lnTo>
                  <a:lnTo>
                    <a:pt x="1212" y="258"/>
                  </a:lnTo>
                  <a:lnTo>
                    <a:pt x="1224" y="258"/>
                  </a:lnTo>
                  <a:lnTo>
                    <a:pt x="1248" y="252"/>
                  </a:lnTo>
                  <a:lnTo>
                    <a:pt x="1248" y="264"/>
                  </a:lnTo>
                  <a:lnTo>
                    <a:pt x="1254" y="264"/>
                  </a:lnTo>
                  <a:lnTo>
                    <a:pt x="1254" y="270"/>
                  </a:lnTo>
                  <a:lnTo>
                    <a:pt x="1260" y="270"/>
                  </a:lnTo>
                  <a:lnTo>
                    <a:pt x="1266" y="270"/>
                  </a:lnTo>
                  <a:lnTo>
                    <a:pt x="1272" y="270"/>
                  </a:lnTo>
                  <a:lnTo>
                    <a:pt x="1272" y="264"/>
                  </a:lnTo>
                  <a:lnTo>
                    <a:pt x="1272" y="258"/>
                  </a:lnTo>
                  <a:lnTo>
                    <a:pt x="1278" y="258"/>
                  </a:lnTo>
                  <a:lnTo>
                    <a:pt x="1278" y="252"/>
                  </a:lnTo>
                  <a:lnTo>
                    <a:pt x="1290" y="252"/>
                  </a:lnTo>
                  <a:lnTo>
                    <a:pt x="1296" y="246"/>
                  </a:lnTo>
                  <a:lnTo>
                    <a:pt x="1308" y="246"/>
                  </a:lnTo>
                  <a:lnTo>
                    <a:pt x="1308" y="240"/>
                  </a:lnTo>
                  <a:lnTo>
                    <a:pt x="1320" y="240"/>
                  </a:lnTo>
                  <a:lnTo>
                    <a:pt x="1326" y="246"/>
                  </a:lnTo>
                  <a:lnTo>
                    <a:pt x="1338" y="246"/>
                  </a:lnTo>
                  <a:lnTo>
                    <a:pt x="1338" y="240"/>
                  </a:lnTo>
                  <a:lnTo>
                    <a:pt x="1350" y="240"/>
                  </a:lnTo>
                  <a:lnTo>
                    <a:pt x="1386" y="234"/>
                  </a:lnTo>
                  <a:lnTo>
                    <a:pt x="1398" y="228"/>
                  </a:lnTo>
                  <a:lnTo>
                    <a:pt x="1404" y="216"/>
                  </a:lnTo>
                  <a:lnTo>
                    <a:pt x="1416" y="204"/>
                  </a:lnTo>
                  <a:lnTo>
                    <a:pt x="1434" y="192"/>
                  </a:lnTo>
                  <a:lnTo>
                    <a:pt x="1446" y="198"/>
                  </a:lnTo>
                  <a:lnTo>
                    <a:pt x="1446" y="204"/>
                  </a:lnTo>
                  <a:lnTo>
                    <a:pt x="1452" y="210"/>
                  </a:lnTo>
                  <a:lnTo>
                    <a:pt x="1464" y="222"/>
                  </a:lnTo>
                  <a:lnTo>
                    <a:pt x="1464" y="228"/>
                  </a:lnTo>
                  <a:lnTo>
                    <a:pt x="1464" y="234"/>
                  </a:lnTo>
                  <a:lnTo>
                    <a:pt x="1470" y="240"/>
                  </a:lnTo>
                  <a:lnTo>
                    <a:pt x="1476" y="228"/>
                  </a:lnTo>
                  <a:lnTo>
                    <a:pt x="1476" y="222"/>
                  </a:lnTo>
                  <a:lnTo>
                    <a:pt x="1482" y="210"/>
                  </a:lnTo>
                  <a:lnTo>
                    <a:pt x="1488" y="192"/>
                  </a:lnTo>
                  <a:lnTo>
                    <a:pt x="1488" y="186"/>
                  </a:lnTo>
                  <a:lnTo>
                    <a:pt x="1488" y="180"/>
                  </a:lnTo>
                  <a:lnTo>
                    <a:pt x="1500" y="180"/>
                  </a:lnTo>
                  <a:lnTo>
                    <a:pt x="1500" y="174"/>
                  </a:lnTo>
                  <a:lnTo>
                    <a:pt x="1518" y="162"/>
                  </a:lnTo>
                  <a:lnTo>
                    <a:pt x="1536" y="150"/>
                  </a:lnTo>
                  <a:lnTo>
                    <a:pt x="1554" y="168"/>
                  </a:lnTo>
                  <a:lnTo>
                    <a:pt x="1572" y="180"/>
                  </a:lnTo>
                  <a:lnTo>
                    <a:pt x="1596" y="216"/>
                  </a:lnTo>
                  <a:lnTo>
                    <a:pt x="1602" y="216"/>
                  </a:lnTo>
                  <a:lnTo>
                    <a:pt x="1614" y="228"/>
                  </a:lnTo>
                  <a:lnTo>
                    <a:pt x="1614" y="234"/>
                  </a:lnTo>
                  <a:lnTo>
                    <a:pt x="1620" y="240"/>
                  </a:lnTo>
                  <a:lnTo>
                    <a:pt x="1620" y="246"/>
                  </a:lnTo>
                  <a:lnTo>
                    <a:pt x="1626" y="252"/>
                  </a:lnTo>
                  <a:lnTo>
                    <a:pt x="1632" y="258"/>
                  </a:lnTo>
                  <a:lnTo>
                    <a:pt x="1632" y="264"/>
                  </a:lnTo>
                  <a:lnTo>
                    <a:pt x="1638" y="264"/>
                  </a:lnTo>
                  <a:lnTo>
                    <a:pt x="1638" y="270"/>
                  </a:lnTo>
                  <a:lnTo>
                    <a:pt x="1638" y="276"/>
                  </a:lnTo>
                  <a:lnTo>
                    <a:pt x="1638" y="282"/>
                  </a:lnTo>
                  <a:lnTo>
                    <a:pt x="1644" y="288"/>
                  </a:lnTo>
                  <a:lnTo>
                    <a:pt x="1644" y="294"/>
                  </a:lnTo>
                  <a:lnTo>
                    <a:pt x="1644" y="300"/>
                  </a:lnTo>
                  <a:lnTo>
                    <a:pt x="1644" y="306"/>
                  </a:lnTo>
                  <a:lnTo>
                    <a:pt x="1650" y="306"/>
                  </a:lnTo>
                  <a:lnTo>
                    <a:pt x="1650" y="312"/>
                  </a:lnTo>
                  <a:lnTo>
                    <a:pt x="1650" y="318"/>
                  </a:lnTo>
                  <a:lnTo>
                    <a:pt x="1650" y="324"/>
                  </a:lnTo>
                  <a:lnTo>
                    <a:pt x="1644" y="330"/>
                  </a:lnTo>
                  <a:lnTo>
                    <a:pt x="1626" y="330"/>
                  </a:lnTo>
                  <a:lnTo>
                    <a:pt x="1626" y="336"/>
                  </a:lnTo>
                  <a:lnTo>
                    <a:pt x="1626" y="342"/>
                  </a:lnTo>
                  <a:lnTo>
                    <a:pt x="1626" y="348"/>
                  </a:lnTo>
                  <a:lnTo>
                    <a:pt x="1620" y="354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14" y="390"/>
                  </a:lnTo>
                  <a:lnTo>
                    <a:pt x="1614" y="396"/>
                  </a:lnTo>
                  <a:lnTo>
                    <a:pt x="1614" y="402"/>
                  </a:lnTo>
                  <a:lnTo>
                    <a:pt x="1614" y="408"/>
                  </a:lnTo>
                  <a:lnTo>
                    <a:pt x="1614" y="414"/>
                  </a:lnTo>
                  <a:lnTo>
                    <a:pt x="1602" y="420"/>
                  </a:lnTo>
                  <a:lnTo>
                    <a:pt x="1602" y="426"/>
                  </a:lnTo>
                  <a:lnTo>
                    <a:pt x="1608" y="432"/>
                  </a:lnTo>
                  <a:lnTo>
                    <a:pt x="1614" y="426"/>
                  </a:lnTo>
                  <a:lnTo>
                    <a:pt x="1620" y="438"/>
                  </a:lnTo>
                  <a:lnTo>
                    <a:pt x="1626" y="438"/>
                  </a:lnTo>
                  <a:lnTo>
                    <a:pt x="1632" y="444"/>
                  </a:lnTo>
                  <a:lnTo>
                    <a:pt x="1626" y="456"/>
                  </a:lnTo>
                  <a:lnTo>
                    <a:pt x="1626" y="468"/>
                  </a:lnTo>
                  <a:lnTo>
                    <a:pt x="1620" y="474"/>
                  </a:lnTo>
                  <a:lnTo>
                    <a:pt x="1614" y="474"/>
                  </a:lnTo>
                  <a:lnTo>
                    <a:pt x="1614" y="486"/>
                  </a:lnTo>
                  <a:lnTo>
                    <a:pt x="1614" y="492"/>
                  </a:lnTo>
                  <a:lnTo>
                    <a:pt x="1620" y="492"/>
                  </a:lnTo>
                  <a:lnTo>
                    <a:pt x="1626" y="498"/>
                  </a:lnTo>
                  <a:lnTo>
                    <a:pt x="1626" y="504"/>
                  </a:lnTo>
                  <a:lnTo>
                    <a:pt x="1626" y="510"/>
                  </a:lnTo>
                  <a:lnTo>
                    <a:pt x="1620" y="516"/>
                  </a:lnTo>
                  <a:lnTo>
                    <a:pt x="1620" y="522"/>
                  </a:lnTo>
                  <a:lnTo>
                    <a:pt x="1614" y="522"/>
                  </a:lnTo>
                  <a:lnTo>
                    <a:pt x="1608" y="528"/>
                  </a:lnTo>
                  <a:lnTo>
                    <a:pt x="1602" y="522"/>
                  </a:lnTo>
                  <a:lnTo>
                    <a:pt x="1602" y="528"/>
                  </a:lnTo>
                  <a:lnTo>
                    <a:pt x="1602" y="540"/>
                  </a:lnTo>
                  <a:lnTo>
                    <a:pt x="1602" y="558"/>
                  </a:lnTo>
                  <a:lnTo>
                    <a:pt x="1602" y="564"/>
                  </a:lnTo>
                  <a:lnTo>
                    <a:pt x="1602" y="570"/>
                  </a:lnTo>
                  <a:lnTo>
                    <a:pt x="1602" y="576"/>
                  </a:lnTo>
                  <a:lnTo>
                    <a:pt x="1596" y="576"/>
                  </a:lnTo>
                  <a:lnTo>
                    <a:pt x="1632" y="582"/>
                  </a:lnTo>
                  <a:lnTo>
                    <a:pt x="1644" y="618"/>
                  </a:lnTo>
                  <a:lnTo>
                    <a:pt x="1650" y="648"/>
                  </a:lnTo>
                  <a:lnTo>
                    <a:pt x="1662" y="636"/>
                  </a:lnTo>
                  <a:lnTo>
                    <a:pt x="1668" y="636"/>
                  </a:lnTo>
                  <a:lnTo>
                    <a:pt x="1674" y="636"/>
                  </a:lnTo>
                  <a:lnTo>
                    <a:pt x="1680" y="630"/>
                  </a:lnTo>
                  <a:lnTo>
                    <a:pt x="1686" y="630"/>
                  </a:lnTo>
                  <a:lnTo>
                    <a:pt x="1692" y="630"/>
                  </a:lnTo>
                  <a:lnTo>
                    <a:pt x="1698" y="630"/>
                  </a:lnTo>
                  <a:lnTo>
                    <a:pt x="1704" y="630"/>
                  </a:lnTo>
                  <a:lnTo>
                    <a:pt x="1704" y="624"/>
                  </a:lnTo>
                  <a:lnTo>
                    <a:pt x="1710" y="624"/>
                  </a:lnTo>
                  <a:lnTo>
                    <a:pt x="1716" y="624"/>
                  </a:lnTo>
                  <a:lnTo>
                    <a:pt x="1722" y="624"/>
                  </a:lnTo>
                  <a:lnTo>
                    <a:pt x="1728" y="624"/>
                  </a:lnTo>
                  <a:lnTo>
                    <a:pt x="1722" y="618"/>
                  </a:lnTo>
                  <a:lnTo>
                    <a:pt x="1728" y="606"/>
                  </a:lnTo>
                  <a:lnTo>
                    <a:pt x="1734" y="606"/>
                  </a:lnTo>
                  <a:lnTo>
                    <a:pt x="1740" y="600"/>
                  </a:lnTo>
                  <a:lnTo>
                    <a:pt x="1746" y="594"/>
                  </a:lnTo>
                  <a:lnTo>
                    <a:pt x="1752" y="588"/>
                  </a:lnTo>
                  <a:lnTo>
                    <a:pt x="1752" y="582"/>
                  </a:lnTo>
                  <a:lnTo>
                    <a:pt x="1758" y="576"/>
                  </a:lnTo>
                  <a:lnTo>
                    <a:pt x="1764" y="576"/>
                  </a:lnTo>
                  <a:lnTo>
                    <a:pt x="1770" y="570"/>
                  </a:lnTo>
                  <a:lnTo>
                    <a:pt x="1776" y="564"/>
                  </a:lnTo>
                  <a:lnTo>
                    <a:pt x="1788" y="558"/>
                  </a:lnTo>
                  <a:lnTo>
                    <a:pt x="1788" y="546"/>
                  </a:lnTo>
                  <a:lnTo>
                    <a:pt x="1788" y="540"/>
                  </a:lnTo>
                  <a:lnTo>
                    <a:pt x="1794" y="540"/>
                  </a:lnTo>
                  <a:lnTo>
                    <a:pt x="1788" y="534"/>
                  </a:lnTo>
                  <a:lnTo>
                    <a:pt x="1788" y="528"/>
                  </a:lnTo>
                  <a:lnTo>
                    <a:pt x="1794" y="516"/>
                  </a:lnTo>
                  <a:lnTo>
                    <a:pt x="1800" y="510"/>
                  </a:lnTo>
                  <a:lnTo>
                    <a:pt x="1812" y="510"/>
                  </a:lnTo>
                  <a:lnTo>
                    <a:pt x="1818" y="504"/>
                  </a:lnTo>
                  <a:lnTo>
                    <a:pt x="1824" y="504"/>
                  </a:lnTo>
                  <a:lnTo>
                    <a:pt x="1830" y="498"/>
                  </a:lnTo>
                  <a:lnTo>
                    <a:pt x="1836" y="498"/>
                  </a:lnTo>
                  <a:lnTo>
                    <a:pt x="1848" y="492"/>
                  </a:lnTo>
                  <a:lnTo>
                    <a:pt x="1848" y="480"/>
                  </a:lnTo>
                  <a:lnTo>
                    <a:pt x="1854" y="480"/>
                  </a:lnTo>
                  <a:lnTo>
                    <a:pt x="1890" y="504"/>
                  </a:lnTo>
                  <a:lnTo>
                    <a:pt x="1908" y="534"/>
                  </a:lnTo>
                  <a:lnTo>
                    <a:pt x="1902" y="534"/>
                  </a:lnTo>
                  <a:lnTo>
                    <a:pt x="1920" y="528"/>
                  </a:lnTo>
                  <a:lnTo>
                    <a:pt x="1920" y="516"/>
                  </a:lnTo>
                  <a:lnTo>
                    <a:pt x="1944" y="516"/>
                  </a:lnTo>
                  <a:lnTo>
                    <a:pt x="2004" y="516"/>
                  </a:lnTo>
                  <a:lnTo>
                    <a:pt x="2010" y="510"/>
                  </a:lnTo>
                  <a:lnTo>
                    <a:pt x="2004" y="510"/>
                  </a:lnTo>
                  <a:lnTo>
                    <a:pt x="2010" y="498"/>
                  </a:lnTo>
                  <a:lnTo>
                    <a:pt x="2004" y="486"/>
                  </a:lnTo>
                  <a:lnTo>
                    <a:pt x="2004" y="480"/>
                  </a:lnTo>
                  <a:lnTo>
                    <a:pt x="2004" y="474"/>
                  </a:lnTo>
                  <a:lnTo>
                    <a:pt x="2004" y="462"/>
                  </a:lnTo>
                  <a:lnTo>
                    <a:pt x="2004" y="456"/>
                  </a:lnTo>
                  <a:lnTo>
                    <a:pt x="2058" y="462"/>
                  </a:lnTo>
                  <a:lnTo>
                    <a:pt x="2076" y="474"/>
                  </a:lnTo>
                  <a:lnTo>
                    <a:pt x="2082" y="522"/>
                  </a:lnTo>
                  <a:lnTo>
                    <a:pt x="2088" y="516"/>
                  </a:lnTo>
                  <a:lnTo>
                    <a:pt x="2094" y="522"/>
                  </a:lnTo>
                  <a:lnTo>
                    <a:pt x="2100" y="528"/>
                  </a:lnTo>
                  <a:lnTo>
                    <a:pt x="2130" y="540"/>
                  </a:lnTo>
                  <a:lnTo>
                    <a:pt x="2160" y="564"/>
                  </a:lnTo>
                  <a:lnTo>
                    <a:pt x="2166" y="600"/>
                  </a:lnTo>
                  <a:lnTo>
                    <a:pt x="2160" y="618"/>
                  </a:lnTo>
                  <a:lnTo>
                    <a:pt x="2142" y="636"/>
                  </a:lnTo>
                  <a:lnTo>
                    <a:pt x="2148" y="648"/>
                  </a:lnTo>
                  <a:lnTo>
                    <a:pt x="2154" y="660"/>
                  </a:lnTo>
                  <a:lnTo>
                    <a:pt x="2196" y="654"/>
                  </a:lnTo>
                  <a:lnTo>
                    <a:pt x="2214" y="660"/>
                  </a:lnTo>
                  <a:lnTo>
                    <a:pt x="2214" y="666"/>
                  </a:lnTo>
                  <a:lnTo>
                    <a:pt x="2220" y="672"/>
                  </a:lnTo>
                  <a:lnTo>
                    <a:pt x="2214" y="678"/>
                  </a:lnTo>
                  <a:lnTo>
                    <a:pt x="2214" y="684"/>
                  </a:lnTo>
                  <a:lnTo>
                    <a:pt x="2214" y="690"/>
                  </a:lnTo>
                  <a:lnTo>
                    <a:pt x="2208" y="690"/>
                  </a:lnTo>
                  <a:lnTo>
                    <a:pt x="2202" y="696"/>
                  </a:lnTo>
                  <a:lnTo>
                    <a:pt x="2196" y="702"/>
                  </a:lnTo>
                  <a:lnTo>
                    <a:pt x="2190" y="708"/>
                  </a:lnTo>
                  <a:lnTo>
                    <a:pt x="2190" y="720"/>
                  </a:lnTo>
                  <a:lnTo>
                    <a:pt x="2184" y="720"/>
                  </a:lnTo>
                  <a:lnTo>
                    <a:pt x="2178" y="726"/>
                  </a:lnTo>
                  <a:lnTo>
                    <a:pt x="2166" y="732"/>
                  </a:lnTo>
                  <a:lnTo>
                    <a:pt x="2160" y="744"/>
                  </a:lnTo>
                  <a:lnTo>
                    <a:pt x="2154" y="756"/>
                  </a:lnTo>
                  <a:lnTo>
                    <a:pt x="2148" y="762"/>
                  </a:lnTo>
                  <a:lnTo>
                    <a:pt x="2124" y="762"/>
                  </a:lnTo>
                  <a:lnTo>
                    <a:pt x="2124" y="768"/>
                  </a:lnTo>
                  <a:lnTo>
                    <a:pt x="2118" y="768"/>
                  </a:lnTo>
                  <a:lnTo>
                    <a:pt x="2124" y="774"/>
                  </a:lnTo>
                  <a:lnTo>
                    <a:pt x="2118" y="774"/>
                  </a:lnTo>
                  <a:lnTo>
                    <a:pt x="2112" y="774"/>
                  </a:lnTo>
                  <a:lnTo>
                    <a:pt x="2106" y="780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06" y="798"/>
                  </a:lnTo>
                  <a:lnTo>
                    <a:pt x="2106" y="810"/>
                  </a:lnTo>
                  <a:lnTo>
                    <a:pt x="2112" y="828"/>
                  </a:lnTo>
                  <a:lnTo>
                    <a:pt x="2112" y="834"/>
                  </a:lnTo>
                  <a:lnTo>
                    <a:pt x="2112" y="840"/>
                  </a:lnTo>
                  <a:lnTo>
                    <a:pt x="2112" y="834"/>
                  </a:lnTo>
                  <a:lnTo>
                    <a:pt x="2124" y="834"/>
                  </a:lnTo>
                  <a:lnTo>
                    <a:pt x="2130" y="834"/>
                  </a:lnTo>
                  <a:lnTo>
                    <a:pt x="2136" y="840"/>
                  </a:lnTo>
                  <a:lnTo>
                    <a:pt x="2142" y="840"/>
                  </a:lnTo>
                  <a:lnTo>
                    <a:pt x="2154" y="852"/>
                  </a:lnTo>
                  <a:lnTo>
                    <a:pt x="2160" y="852"/>
                  </a:lnTo>
                  <a:lnTo>
                    <a:pt x="2172" y="846"/>
                  </a:lnTo>
                  <a:lnTo>
                    <a:pt x="2178" y="846"/>
                  </a:lnTo>
                  <a:lnTo>
                    <a:pt x="2184" y="846"/>
                  </a:lnTo>
                  <a:lnTo>
                    <a:pt x="2190" y="846"/>
                  </a:lnTo>
                  <a:lnTo>
                    <a:pt x="2196" y="852"/>
                  </a:lnTo>
                  <a:lnTo>
                    <a:pt x="2196" y="858"/>
                  </a:lnTo>
                  <a:lnTo>
                    <a:pt x="2202" y="852"/>
                  </a:lnTo>
                  <a:lnTo>
                    <a:pt x="2208" y="846"/>
                  </a:lnTo>
                  <a:lnTo>
                    <a:pt x="2214" y="846"/>
                  </a:lnTo>
                  <a:lnTo>
                    <a:pt x="2226" y="846"/>
                  </a:lnTo>
                  <a:lnTo>
                    <a:pt x="2232" y="852"/>
                  </a:lnTo>
                  <a:lnTo>
                    <a:pt x="2238" y="852"/>
                  </a:lnTo>
                  <a:lnTo>
                    <a:pt x="2244" y="858"/>
                  </a:lnTo>
                  <a:lnTo>
                    <a:pt x="2250" y="858"/>
                  </a:lnTo>
                  <a:lnTo>
                    <a:pt x="2256" y="858"/>
                  </a:lnTo>
                  <a:lnTo>
                    <a:pt x="2262" y="858"/>
                  </a:lnTo>
                  <a:lnTo>
                    <a:pt x="2268" y="852"/>
                  </a:lnTo>
                  <a:lnTo>
                    <a:pt x="2274" y="852"/>
                  </a:lnTo>
                  <a:lnTo>
                    <a:pt x="2280" y="852"/>
                  </a:lnTo>
                  <a:lnTo>
                    <a:pt x="2286" y="852"/>
                  </a:lnTo>
                  <a:lnTo>
                    <a:pt x="2298" y="858"/>
                  </a:lnTo>
                  <a:lnTo>
                    <a:pt x="2304" y="858"/>
                  </a:lnTo>
                  <a:lnTo>
                    <a:pt x="2310" y="858"/>
                  </a:lnTo>
                  <a:lnTo>
                    <a:pt x="2316" y="852"/>
                  </a:lnTo>
                  <a:lnTo>
                    <a:pt x="2322" y="858"/>
                  </a:lnTo>
                  <a:lnTo>
                    <a:pt x="2328" y="858"/>
                  </a:lnTo>
                  <a:lnTo>
                    <a:pt x="2328" y="852"/>
                  </a:lnTo>
                  <a:lnTo>
                    <a:pt x="2364" y="858"/>
                  </a:lnTo>
                  <a:lnTo>
                    <a:pt x="2376" y="876"/>
                  </a:lnTo>
                  <a:lnTo>
                    <a:pt x="2382" y="936"/>
                  </a:lnTo>
                  <a:lnTo>
                    <a:pt x="2388" y="966"/>
                  </a:lnTo>
                  <a:lnTo>
                    <a:pt x="2382" y="972"/>
                  </a:lnTo>
                  <a:lnTo>
                    <a:pt x="2382" y="978"/>
                  </a:lnTo>
                  <a:lnTo>
                    <a:pt x="2382" y="984"/>
                  </a:lnTo>
                  <a:lnTo>
                    <a:pt x="2388" y="990"/>
                  </a:lnTo>
                  <a:lnTo>
                    <a:pt x="2382" y="990"/>
                  </a:lnTo>
                  <a:lnTo>
                    <a:pt x="2382" y="996"/>
                  </a:lnTo>
                  <a:lnTo>
                    <a:pt x="2376" y="996"/>
                  </a:lnTo>
                  <a:lnTo>
                    <a:pt x="2376" y="1020"/>
                  </a:lnTo>
                  <a:lnTo>
                    <a:pt x="2370" y="1032"/>
                  </a:lnTo>
                  <a:lnTo>
                    <a:pt x="2352" y="1032"/>
                  </a:lnTo>
                  <a:lnTo>
                    <a:pt x="2346" y="1020"/>
                  </a:lnTo>
                  <a:lnTo>
                    <a:pt x="2328" y="1032"/>
                  </a:lnTo>
                  <a:lnTo>
                    <a:pt x="2316" y="1038"/>
                  </a:lnTo>
                  <a:lnTo>
                    <a:pt x="2328" y="1044"/>
                  </a:lnTo>
                  <a:lnTo>
                    <a:pt x="2340" y="1056"/>
                  </a:lnTo>
                  <a:lnTo>
                    <a:pt x="2376" y="1062"/>
                  </a:lnTo>
                  <a:lnTo>
                    <a:pt x="2376" y="1068"/>
                  </a:lnTo>
                  <a:lnTo>
                    <a:pt x="2382" y="1086"/>
                  </a:lnTo>
                  <a:lnTo>
                    <a:pt x="2376" y="1086"/>
                  </a:lnTo>
                  <a:lnTo>
                    <a:pt x="2370" y="1086"/>
                  </a:lnTo>
                  <a:lnTo>
                    <a:pt x="2364" y="1086"/>
                  </a:lnTo>
                  <a:lnTo>
                    <a:pt x="2364" y="1098"/>
                  </a:lnTo>
                  <a:lnTo>
                    <a:pt x="2388" y="1104"/>
                  </a:lnTo>
                  <a:lnTo>
                    <a:pt x="2400" y="1122"/>
                  </a:lnTo>
                  <a:lnTo>
                    <a:pt x="2400" y="1134"/>
                  </a:lnTo>
                  <a:lnTo>
                    <a:pt x="2400" y="1146"/>
                  </a:lnTo>
                  <a:lnTo>
                    <a:pt x="2394" y="1146"/>
                  </a:lnTo>
                  <a:lnTo>
                    <a:pt x="2394" y="1152"/>
                  </a:lnTo>
                  <a:lnTo>
                    <a:pt x="2388" y="1152"/>
                  </a:lnTo>
                  <a:lnTo>
                    <a:pt x="2388" y="1146"/>
                  </a:lnTo>
                  <a:lnTo>
                    <a:pt x="2382" y="1152"/>
                  </a:lnTo>
                  <a:lnTo>
                    <a:pt x="2376" y="1152"/>
                  </a:lnTo>
                  <a:lnTo>
                    <a:pt x="2370" y="1158"/>
                  </a:lnTo>
                  <a:lnTo>
                    <a:pt x="2370" y="1164"/>
                  </a:lnTo>
                  <a:lnTo>
                    <a:pt x="2364" y="1170"/>
                  </a:lnTo>
                  <a:lnTo>
                    <a:pt x="2370" y="1170"/>
                  </a:lnTo>
                  <a:lnTo>
                    <a:pt x="2376" y="1170"/>
                  </a:lnTo>
                  <a:lnTo>
                    <a:pt x="2370" y="1176"/>
                  </a:lnTo>
                  <a:lnTo>
                    <a:pt x="2364" y="1176"/>
                  </a:lnTo>
                  <a:lnTo>
                    <a:pt x="2358" y="1182"/>
                  </a:lnTo>
                  <a:lnTo>
                    <a:pt x="2352" y="1182"/>
                  </a:lnTo>
                  <a:lnTo>
                    <a:pt x="2346" y="1188"/>
                  </a:lnTo>
                  <a:lnTo>
                    <a:pt x="2340" y="1182"/>
                  </a:lnTo>
                  <a:lnTo>
                    <a:pt x="2334" y="1182"/>
                  </a:lnTo>
                  <a:lnTo>
                    <a:pt x="2334" y="1188"/>
                  </a:lnTo>
                  <a:lnTo>
                    <a:pt x="2328" y="1194"/>
                  </a:lnTo>
                  <a:lnTo>
                    <a:pt x="2328" y="1200"/>
                  </a:lnTo>
                  <a:lnTo>
                    <a:pt x="2322" y="1224"/>
                  </a:lnTo>
                  <a:lnTo>
                    <a:pt x="2328" y="1230"/>
                  </a:lnTo>
                  <a:lnTo>
                    <a:pt x="2358" y="1230"/>
                  </a:lnTo>
                  <a:lnTo>
                    <a:pt x="2358" y="1242"/>
                  </a:lnTo>
                  <a:lnTo>
                    <a:pt x="2358" y="1254"/>
                  </a:lnTo>
                  <a:lnTo>
                    <a:pt x="2346" y="1254"/>
                  </a:lnTo>
                  <a:lnTo>
                    <a:pt x="2346" y="1278"/>
                  </a:lnTo>
                  <a:lnTo>
                    <a:pt x="2358" y="1278"/>
                  </a:lnTo>
                  <a:lnTo>
                    <a:pt x="2358" y="1284"/>
                  </a:lnTo>
                  <a:lnTo>
                    <a:pt x="2376" y="1284"/>
                  </a:lnTo>
                  <a:lnTo>
                    <a:pt x="2388" y="1278"/>
                  </a:lnTo>
                  <a:lnTo>
                    <a:pt x="2406" y="1278"/>
                  </a:lnTo>
                  <a:lnTo>
                    <a:pt x="2430" y="1284"/>
                  </a:lnTo>
                  <a:lnTo>
                    <a:pt x="2430" y="1302"/>
                  </a:lnTo>
                  <a:lnTo>
                    <a:pt x="2430" y="1314"/>
                  </a:lnTo>
                  <a:lnTo>
                    <a:pt x="2424" y="1326"/>
                  </a:lnTo>
                  <a:lnTo>
                    <a:pt x="2412" y="1326"/>
                  </a:lnTo>
                  <a:lnTo>
                    <a:pt x="2412" y="1344"/>
                  </a:lnTo>
                  <a:lnTo>
                    <a:pt x="2406" y="1344"/>
                  </a:lnTo>
                  <a:lnTo>
                    <a:pt x="2400" y="1362"/>
                  </a:lnTo>
                  <a:lnTo>
                    <a:pt x="2394" y="1368"/>
                  </a:lnTo>
                  <a:lnTo>
                    <a:pt x="2388" y="1374"/>
                  </a:lnTo>
                  <a:lnTo>
                    <a:pt x="2382" y="1380"/>
                  </a:lnTo>
                  <a:lnTo>
                    <a:pt x="2376" y="1386"/>
                  </a:lnTo>
                  <a:lnTo>
                    <a:pt x="2376" y="1392"/>
                  </a:lnTo>
                  <a:lnTo>
                    <a:pt x="2370" y="1404"/>
                  </a:lnTo>
                  <a:lnTo>
                    <a:pt x="2364" y="1416"/>
                  </a:lnTo>
                  <a:lnTo>
                    <a:pt x="2346" y="1434"/>
                  </a:lnTo>
                  <a:lnTo>
                    <a:pt x="2328" y="1440"/>
                  </a:lnTo>
                  <a:lnTo>
                    <a:pt x="2328" y="1446"/>
                  </a:lnTo>
                  <a:lnTo>
                    <a:pt x="2322" y="1452"/>
                  </a:lnTo>
                  <a:lnTo>
                    <a:pt x="2316" y="1452"/>
                  </a:lnTo>
                  <a:lnTo>
                    <a:pt x="2304" y="1446"/>
                  </a:lnTo>
                  <a:lnTo>
                    <a:pt x="2298" y="1446"/>
                  </a:lnTo>
                  <a:lnTo>
                    <a:pt x="2298" y="1434"/>
                  </a:lnTo>
                  <a:lnTo>
                    <a:pt x="2292" y="1434"/>
                  </a:lnTo>
                  <a:lnTo>
                    <a:pt x="2286" y="1428"/>
                  </a:lnTo>
                  <a:lnTo>
                    <a:pt x="2274" y="1416"/>
                  </a:lnTo>
                  <a:lnTo>
                    <a:pt x="2256" y="1404"/>
                  </a:lnTo>
                  <a:lnTo>
                    <a:pt x="2244" y="1386"/>
                  </a:lnTo>
                  <a:lnTo>
                    <a:pt x="2220" y="1368"/>
                  </a:lnTo>
                  <a:lnTo>
                    <a:pt x="2208" y="1362"/>
                  </a:lnTo>
                  <a:lnTo>
                    <a:pt x="2202" y="1350"/>
                  </a:lnTo>
                  <a:lnTo>
                    <a:pt x="2196" y="1350"/>
                  </a:lnTo>
                  <a:lnTo>
                    <a:pt x="2190" y="1356"/>
                  </a:lnTo>
                  <a:lnTo>
                    <a:pt x="2184" y="1356"/>
                  </a:lnTo>
                  <a:lnTo>
                    <a:pt x="2094" y="1350"/>
                  </a:lnTo>
                  <a:lnTo>
                    <a:pt x="2058" y="1350"/>
                  </a:lnTo>
                  <a:lnTo>
                    <a:pt x="2034" y="1890"/>
                  </a:lnTo>
                  <a:lnTo>
                    <a:pt x="2064" y="1890"/>
                  </a:lnTo>
                  <a:lnTo>
                    <a:pt x="2070" y="1896"/>
                  </a:lnTo>
                  <a:lnTo>
                    <a:pt x="2076" y="189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8" name="Freeform 33">
              <a:extLst>
                <a:ext uri="{FF2B5EF4-FFF2-40B4-BE49-F238E27FC236}">
                  <a16:creationId xmlns:a16="http://schemas.microsoft.com/office/drawing/2014/main" id="{0E96F118-1F4D-4E52-AF27-149259451CD6}"/>
                </a:ext>
              </a:extLst>
            </p:cNvPr>
            <p:cNvSpPr>
              <a:spLocks/>
            </p:cNvSpPr>
            <p:nvPr/>
          </p:nvSpPr>
          <p:spPr bwMode="gray">
            <a:xfrm>
              <a:off x="1266662" y="1459989"/>
              <a:ext cx="903421" cy="778302"/>
            </a:xfrm>
            <a:custGeom>
              <a:avLst/>
              <a:gdLst>
                <a:gd name="T0" fmla="*/ 143 w 1698"/>
                <a:gd name="T1" fmla="*/ 43 h 1464"/>
                <a:gd name="T2" fmla="*/ 131 w 1698"/>
                <a:gd name="T3" fmla="*/ 44 h 1464"/>
                <a:gd name="T4" fmla="*/ 126 w 1698"/>
                <a:gd name="T5" fmla="*/ 41 h 1464"/>
                <a:gd name="T6" fmla="*/ 119 w 1698"/>
                <a:gd name="T7" fmla="*/ 45 h 1464"/>
                <a:gd name="T8" fmla="*/ 111 w 1698"/>
                <a:gd name="T9" fmla="*/ 46 h 1464"/>
                <a:gd name="T10" fmla="*/ 107 w 1698"/>
                <a:gd name="T11" fmla="*/ 50 h 1464"/>
                <a:gd name="T12" fmla="*/ 107 w 1698"/>
                <a:gd name="T13" fmla="*/ 60 h 1464"/>
                <a:gd name="T14" fmla="*/ 104 w 1698"/>
                <a:gd name="T15" fmla="*/ 62 h 1464"/>
                <a:gd name="T16" fmla="*/ 97 w 1698"/>
                <a:gd name="T17" fmla="*/ 59 h 1464"/>
                <a:gd name="T18" fmla="*/ 92 w 1698"/>
                <a:gd name="T19" fmla="*/ 59 h 1464"/>
                <a:gd name="T20" fmla="*/ 90 w 1698"/>
                <a:gd name="T21" fmla="*/ 62 h 1464"/>
                <a:gd name="T22" fmla="*/ 93 w 1698"/>
                <a:gd name="T23" fmla="*/ 77 h 1464"/>
                <a:gd name="T24" fmla="*/ 85 w 1698"/>
                <a:gd name="T25" fmla="*/ 88 h 1464"/>
                <a:gd name="T26" fmla="*/ 70 w 1698"/>
                <a:gd name="T27" fmla="*/ 89 h 1464"/>
                <a:gd name="T28" fmla="*/ 65 w 1698"/>
                <a:gd name="T29" fmla="*/ 88 h 1464"/>
                <a:gd name="T30" fmla="*/ 50 w 1698"/>
                <a:gd name="T31" fmla="*/ 88 h 1464"/>
                <a:gd name="T32" fmla="*/ 48 w 1698"/>
                <a:gd name="T33" fmla="*/ 107 h 1464"/>
                <a:gd name="T34" fmla="*/ 47 w 1698"/>
                <a:gd name="T35" fmla="*/ 120 h 1464"/>
                <a:gd name="T36" fmla="*/ 43 w 1698"/>
                <a:gd name="T37" fmla="*/ 121 h 1464"/>
                <a:gd name="T38" fmla="*/ 40 w 1698"/>
                <a:gd name="T39" fmla="*/ 120 h 1464"/>
                <a:gd name="T40" fmla="*/ 35 w 1698"/>
                <a:gd name="T41" fmla="*/ 122 h 1464"/>
                <a:gd name="T42" fmla="*/ 29 w 1698"/>
                <a:gd name="T43" fmla="*/ 123 h 1464"/>
                <a:gd name="T44" fmla="*/ 24 w 1698"/>
                <a:gd name="T45" fmla="*/ 125 h 1464"/>
                <a:gd name="T46" fmla="*/ 20 w 1698"/>
                <a:gd name="T47" fmla="*/ 125 h 1464"/>
                <a:gd name="T48" fmla="*/ 18 w 1698"/>
                <a:gd name="T49" fmla="*/ 122 h 1464"/>
                <a:gd name="T50" fmla="*/ 26 w 1698"/>
                <a:gd name="T51" fmla="*/ 108 h 1464"/>
                <a:gd name="T52" fmla="*/ 24 w 1698"/>
                <a:gd name="T53" fmla="*/ 89 h 1464"/>
                <a:gd name="T54" fmla="*/ 28 w 1698"/>
                <a:gd name="T55" fmla="*/ 85 h 1464"/>
                <a:gd name="T56" fmla="*/ 32 w 1698"/>
                <a:gd name="T57" fmla="*/ 80 h 1464"/>
                <a:gd name="T58" fmla="*/ 36 w 1698"/>
                <a:gd name="T59" fmla="*/ 86 h 1464"/>
                <a:gd name="T60" fmla="*/ 39 w 1698"/>
                <a:gd name="T61" fmla="*/ 80 h 1464"/>
                <a:gd name="T62" fmla="*/ 41 w 1698"/>
                <a:gd name="T63" fmla="*/ 73 h 1464"/>
                <a:gd name="T64" fmla="*/ 38 w 1698"/>
                <a:gd name="T65" fmla="*/ 64 h 1464"/>
                <a:gd name="T66" fmla="*/ 39 w 1698"/>
                <a:gd name="T67" fmla="*/ 59 h 1464"/>
                <a:gd name="T68" fmla="*/ 32 w 1698"/>
                <a:gd name="T69" fmla="*/ 54 h 1464"/>
                <a:gd name="T70" fmla="*/ 32 w 1698"/>
                <a:gd name="T71" fmla="*/ 45 h 1464"/>
                <a:gd name="T72" fmla="*/ 31 w 1698"/>
                <a:gd name="T73" fmla="*/ 41 h 1464"/>
                <a:gd name="T74" fmla="*/ 24 w 1698"/>
                <a:gd name="T75" fmla="*/ 43 h 1464"/>
                <a:gd name="T76" fmla="*/ 17 w 1698"/>
                <a:gd name="T77" fmla="*/ 40 h 1464"/>
                <a:gd name="T78" fmla="*/ 11 w 1698"/>
                <a:gd name="T79" fmla="*/ 38 h 1464"/>
                <a:gd name="T80" fmla="*/ 2 w 1698"/>
                <a:gd name="T81" fmla="*/ 36 h 1464"/>
                <a:gd name="T82" fmla="*/ 0 w 1698"/>
                <a:gd name="T83" fmla="*/ 24 h 1464"/>
                <a:gd name="T84" fmla="*/ 11 w 1698"/>
                <a:gd name="T85" fmla="*/ 18 h 1464"/>
                <a:gd name="T86" fmla="*/ 19 w 1698"/>
                <a:gd name="T87" fmla="*/ 10 h 1464"/>
                <a:gd name="T88" fmla="*/ 28 w 1698"/>
                <a:gd name="T89" fmla="*/ 9 h 1464"/>
                <a:gd name="T90" fmla="*/ 40 w 1698"/>
                <a:gd name="T91" fmla="*/ 6 h 1464"/>
                <a:gd name="T92" fmla="*/ 49 w 1698"/>
                <a:gd name="T93" fmla="*/ 8 h 1464"/>
                <a:gd name="T94" fmla="*/ 56 w 1698"/>
                <a:gd name="T95" fmla="*/ 8 h 1464"/>
                <a:gd name="T96" fmla="*/ 64 w 1698"/>
                <a:gd name="T97" fmla="*/ 7 h 1464"/>
                <a:gd name="T98" fmla="*/ 74 w 1698"/>
                <a:gd name="T99" fmla="*/ 1 h 1464"/>
                <a:gd name="T100" fmla="*/ 83 w 1698"/>
                <a:gd name="T101" fmla="*/ 3 h 1464"/>
                <a:gd name="T102" fmla="*/ 99 w 1698"/>
                <a:gd name="T103" fmla="*/ 9 h 1464"/>
                <a:gd name="T104" fmla="*/ 112 w 1698"/>
                <a:gd name="T105" fmla="*/ 14 h 1464"/>
                <a:gd name="T106" fmla="*/ 119 w 1698"/>
                <a:gd name="T107" fmla="*/ 12 h 1464"/>
                <a:gd name="T108" fmla="*/ 128 w 1698"/>
                <a:gd name="T109" fmla="*/ 17 h 1464"/>
                <a:gd name="T110" fmla="*/ 141 w 1698"/>
                <a:gd name="T111" fmla="*/ 29 h 1464"/>
                <a:gd name="T112" fmla="*/ 145 w 1698"/>
                <a:gd name="T113" fmla="*/ 35 h 14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98"/>
                <a:gd name="T172" fmla="*/ 0 h 1464"/>
                <a:gd name="T173" fmla="*/ 1698 w 1698"/>
                <a:gd name="T174" fmla="*/ 1464 h 14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98" h="1464">
                  <a:moveTo>
                    <a:pt x="1698" y="462"/>
                  </a:moveTo>
                  <a:lnTo>
                    <a:pt x="1686" y="468"/>
                  </a:lnTo>
                  <a:lnTo>
                    <a:pt x="1680" y="474"/>
                  </a:lnTo>
                  <a:lnTo>
                    <a:pt x="1674" y="480"/>
                  </a:lnTo>
                  <a:lnTo>
                    <a:pt x="1668" y="480"/>
                  </a:lnTo>
                  <a:lnTo>
                    <a:pt x="1662" y="486"/>
                  </a:lnTo>
                  <a:lnTo>
                    <a:pt x="1656" y="492"/>
                  </a:lnTo>
                  <a:lnTo>
                    <a:pt x="1644" y="498"/>
                  </a:lnTo>
                  <a:lnTo>
                    <a:pt x="1626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0" y="516"/>
                  </a:lnTo>
                  <a:lnTo>
                    <a:pt x="1590" y="522"/>
                  </a:lnTo>
                  <a:lnTo>
                    <a:pt x="1566" y="522"/>
                  </a:lnTo>
                  <a:lnTo>
                    <a:pt x="1506" y="510"/>
                  </a:lnTo>
                  <a:lnTo>
                    <a:pt x="1500" y="510"/>
                  </a:lnTo>
                  <a:lnTo>
                    <a:pt x="1488" y="504"/>
                  </a:lnTo>
                  <a:lnTo>
                    <a:pt x="1482" y="498"/>
                  </a:lnTo>
                  <a:lnTo>
                    <a:pt x="1476" y="498"/>
                  </a:lnTo>
                  <a:lnTo>
                    <a:pt x="1476" y="492"/>
                  </a:lnTo>
                  <a:lnTo>
                    <a:pt x="1470" y="492"/>
                  </a:lnTo>
                  <a:lnTo>
                    <a:pt x="1464" y="486"/>
                  </a:lnTo>
                  <a:lnTo>
                    <a:pt x="1452" y="486"/>
                  </a:lnTo>
                  <a:lnTo>
                    <a:pt x="1446" y="474"/>
                  </a:lnTo>
                  <a:lnTo>
                    <a:pt x="1434" y="468"/>
                  </a:lnTo>
                  <a:lnTo>
                    <a:pt x="1416" y="468"/>
                  </a:lnTo>
                  <a:lnTo>
                    <a:pt x="1392" y="468"/>
                  </a:lnTo>
                  <a:lnTo>
                    <a:pt x="1374" y="474"/>
                  </a:lnTo>
                  <a:lnTo>
                    <a:pt x="1368" y="474"/>
                  </a:lnTo>
                  <a:lnTo>
                    <a:pt x="1368" y="486"/>
                  </a:lnTo>
                  <a:lnTo>
                    <a:pt x="1368" y="498"/>
                  </a:lnTo>
                  <a:lnTo>
                    <a:pt x="1368" y="522"/>
                  </a:lnTo>
                  <a:lnTo>
                    <a:pt x="1368" y="534"/>
                  </a:lnTo>
                  <a:lnTo>
                    <a:pt x="1362" y="546"/>
                  </a:lnTo>
                  <a:lnTo>
                    <a:pt x="1356" y="546"/>
                  </a:lnTo>
                  <a:lnTo>
                    <a:pt x="1344" y="540"/>
                  </a:lnTo>
                  <a:lnTo>
                    <a:pt x="1338" y="534"/>
                  </a:lnTo>
                  <a:lnTo>
                    <a:pt x="1308" y="522"/>
                  </a:lnTo>
                  <a:lnTo>
                    <a:pt x="1296" y="522"/>
                  </a:lnTo>
                  <a:lnTo>
                    <a:pt x="1278" y="528"/>
                  </a:lnTo>
                  <a:lnTo>
                    <a:pt x="1260" y="534"/>
                  </a:lnTo>
                  <a:lnTo>
                    <a:pt x="1242" y="546"/>
                  </a:lnTo>
                  <a:lnTo>
                    <a:pt x="1236" y="552"/>
                  </a:lnTo>
                  <a:lnTo>
                    <a:pt x="1224" y="558"/>
                  </a:lnTo>
                  <a:lnTo>
                    <a:pt x="1218" y="558"/>
                  </a:lnTo>
                  <a:lnTo>
                    <a:pt x="1218" y="564"/>
                  </a:lnTo>
                  <a:lnTo>
                    <a:pt x="1224" y="570"/>
                  </a:lnTo>
                  <a:lnTo>
                    <a:pt x="1224" y="582"/>
                  </a:lnTo>
                  <a:lnTo>
                    <a:pt x="1224" y="594"/>
                  </a:lnTo>
                  <a:lnTo>
                    <a:pt x="1212" y="618"/>
                  </a:lnTo>
                  <a:lnTo>
                    <a:pt x="1212" y="624"/>
                  </a:lnTo>
                  <a:lnTo>
                    <a:pt x="1212" y="630"/>
                  </a:lnTo>
                  <a:lnTo>
                    <a:pt x="1212" y="636"/>
                  </a:lnTo>
                  <a:lnTo>
                    <a:pt x="1218" y="654"/>
                  </a:lnTo>
                  <a:lnTo>
                    <a:pt x="1224" y="672"/>
                  </a:lnTo>
                  <a:lnTo>
                    <a:pt x="1230" y="696"/>
                  </a:lnTo>
                  <a:lnTo>
                    <a:pt x="1236" y="708"/>
                  </a:lnTo>
                  <a:lnTo>
                    <a:pt x="1236" y="714"/>
                  </a:lnTo>
                  <a:lnTo>
                    <a:pt x="1236" y="720"/>
                  </a:lnTo>
                  <a:lnTo>
                    <a:pt x="1218" y="726"/>
                  </a:lnTo>
                  <a:lnTo>
                    <a:pt x="1212" y="726"/>
                  </a:lnTo>
                  <a:lnTo>
                    <a:pt x="1206" y="726"/>
                  </a:lnTo>
                  <a:lnTo>
                    <a:pt x="1194" y="720"/>
                  </a:lnTo>
                  <a:lnTo>
                    <a:pt x="1194" y="714"/>
                  </a:lnTo>
                  <a:lnTo>
                    <a:pt x="1176" y="714"/>
                  </a:lnTo>
                  <a:lnTo>
                    <a:pt x="1164" y="708"/>
                  </a:lnTo>
                  <a:lnTo>
                    <a:pt x="1158" y="708"/>
                  </a:lnTo>
                  <a:lnTo>
                    <a:pt x="1140" y="702"/>
                  </a:lnTo>
                  <a:lnTo>
                    <a:pt x="1134" y="696"/>
                  </a:lnTo>
                  <a:lnTo>
                    <a:pt x="1128" y="690"/>
                  </a:lnTo>
                  <a:lnTo>
                    <a:pt x="1116" y="678"/>
                  </a:lnTo>
                  <a:lnTo>
                    <a:pt x="1110" y="678"/>
                  </a:lnTo>
                  <a:lnTo>
                    <a:pt x="1104" y="672"/>
                  </a:lnTo>
                  <a:lnTo>
                    <a:pt x="1092" y="672"/>
                  </a:lnTo>
                  <a:lnTo>
                    <a:pt x="1086" y="672"/>
                  </a:lnTo>
                  <a:lnTo>
                    <a:pt x="1080" y="672"/>
                  </a:lnTo>
                  <a:lnTo>
                    <a:pt x="1074" y="672"/>
                  </a:lnTo>
                  <a:lnTo>
                    <a:pt x="1068" y="672"/>
                  </a:lnTo>
                  <a:lnTo>
                    <a:pt x="1062" y="678"/>
                  </a:lnTo>
                  <a:lnTo>
                    <a:pt x="1056" y="678"/>
                  </a:lnTo>
                  <a:lnTo>
                    <a:pt x="1056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6"/>
                  </a:lnTo>
                  <a:lnTo>
                    <a:pt x="1032" y="708"/>
                  </a:lnTo>
                  <a:lnTo>
                    <a:pt x="1026" y="708"/>
                  </a:lnTo>
                  <a:lnTo>
                    <a:pt x="1032" y="714"/>
                  </a:lnTo>
                  <a:lnTo>
                    <a:pt x="1026" y="720"/>
                  </a:lnTo>
                  <a:lnTo>
                    <a:pt x="1020" y="720"/>
                  </a:lnTo>
                  <a:lnTo>
                    <a:pt x="1014" y="732"/>
                  </a:lnTo>
                  <a:lnTo>
                    <a:pt x="1014" y="744"/>
                  </a:lnTo>
                  <a:lnTo>
                    <a:pt x="1038" y="810"/>
                  </a:lnTo>
                  <a:lnTo>
                    <a:pt x="1050" y="834"/>
                  </a:lnTo>
                  <a:lnTo>
                    <a:pt x="1056" y="858"/>
                  </a:lnTo>
                  <a:lnTo>
                    <a:pt x="1062" y="876"/>
                  </a:lnTo>
                  <a:lnTo>
                    <a:pt x="1068" y="882"/>
                  </a:lnTo>
                  <a:lnTo>
                    <a:pt x="1062" y="972"/>
                  </a:lnTo>
                  <a:lnTo>
                    <a:pt x="1056" y="972"/>
                  </a:lnTo>
                  <a:lnTo>
                    <a:pt x="1050" y="996"/>
                  </a:lnTo>
                  <a:lnTo>
                    <a:pt x="1044" y="1014"/>
                  </a:lnTo>
                  <a:lnTo>
                    <a:pt x="1008" y="1014"/>
                  </a:lnTo>
                  <a:lnTo>
                    <a:pt x="1008" y="1008"/>
                  </a:lnTo>
                  <a:lnTo>
                    <a:pt x="990" y="1008"/>
                  </a:lnTo>
                  <a:lnTo>
                    <a:pt x="972" y="1014"/>
                  </a:lnTo>
                  <a:lnTo>
                    <a:pt x="948" y="1020"/>
                  </a:lnTo>
                  <a:lnTo>
                    <a:pt x="918" y="1026"/>
                  </a:lnTo>
                  <a:lnTo>
                    <a:pt x="840" y="1032"/>
                  </a:lnTo>
                  <a:lnTo>
                    <a:pt x="834" y="1032"/>
                  </a:lnTo>
                  <a:lnTo>
                    <a:pt x="834" y="1026"/>
                  </a:lnTo>
                  <a:lnTo>
                    <a:pt x="822" y="1026"/>
                  </a:lnTo>
                  <a:lnTo>
                    <a:pt x="816" y="1032"/>
                  </a:lnTo>
                  <a:lnTo>
                    <a:pt x="804" y="1032"/>
                  </a:lnTo>
                  <a:lnTo>
                    <a:pt x="798" y="1026"/>
                  </a:lnTo>
                  <a:lnTo>
                    <a:pt x="780" y="1026"/>
                  </a:lnTo>
                  <a:lnTo>
                    <a:pt x="762" y="1026"/>
                  </a:lnTo>
                  <a:lnTo>
                    <a:pt x="756" y="1026"/>
                  </a:lnTo>
                  <a:lnTo>
                    <a:pt x="750" y="1026"/>
                  </a:lnTo>
                  <a:lnTo>
                    <a:pt x="756" y="1020"/>
                  </a:lnTo>
                  <a:lnTo>
                    <a:pt x="750" y="1020"/>
                  </a:lnTo>
                  <a:lnTo>
                    <a:pt x="744" y="1014"/>
                  </a:lnTo>
                  <a:lnTo>
                    <a:pt x="684" y="1020"/>
                  </a:lnTo>
                  <a:lnTo>
                    <a:pt x="648" y="1020"/>
                  </a:lnTo>
                  <a:lnTo>
                    <a:pt x="630" y="1020"/>
                  </a:lnTo>
                  <a:lnTo>
                    <a:pt x="618" y="1020"/>
                  </a:lnTo>
                  <a:lnTo>
                    <a:pt x="606" y="1014"/>
                  </a:lnTo>
                  <a:lnTo>
                    <a:pt x="582" y="1014"/>
                  </a:lnTo>
                  <a:lnTo>
                    <a:pt x="576" y="1014"/>
                  </a:lnTo>
                  <a:lnTo>
                    <a:pt x="570" y="1014"/>
                  </a:lnTo>
                  <a:lnTo>
                    <a:pt x="564" y="1020"/>
                  </a:lnTo>
                  <a:lnTo>
                    <a:pt x="558" y="1026"/>
                  </a:lnTo>
                  <a:lnTo>
                    <a:pt x="552" y="1032"/>
                  </a:lnTo>
                  <a:lnTo>
                    <a:pt x="552" y="1038"/>
                  </a:lnTo>
                  <a:lnTo>
                    <a:pt x="558" y="1194"/>
                  </a:lnTo>
                  <a:lnTo>
                    <a:pt x="558" y="1206"/>
                  </a:lnTo>
                  <a:lnTo>
                    <a:pt x="552" y="1218"/>
                  </a:lnTo>
                  <a:lnTo>
                    <a:pt x="552" y="1236"/>
                  </a:lnTo>
                  <a:lnTo>
                    <a:pt x="546" y="1272"/>
                  </a:lnTo>
                  <a:lnTo>
                    <a:pt x="546" y="1308"/>
                  </a:lnTo>
                  <a:lnTo>
                    <a:pt x="540" y="1332"/>
                  </a:lnTo>
                  <a:lnTo>
                    <a:pt x="546" y="1356"/>
                  </a:lnTo>
                  <a:lnTo>
                    <a:pt x="546" y="1362"/>
                  </a:lnTo>
                  <a:lnTo>
                    <a:pt x="546" y="1374"/>
                  </a:lnTo>
                  <a:lnTo>
                    <a:pt x="546" y="1380"/>
                  </a:lnTo>
                  <a:lnTo>
                    <a:pt x="540" y="1380"/>
                  </a:lnTo>
                  <a:lnTo>
                    <a:pt x="522" y="1380"/>
                  </a:lnTo>
                  <a:lnTo>
                    <a:pt x="516" y="1380"/>
                  </a:lnTo>
                  <a:lnTo>
                    <a:pt x="516" y="1386"/>
                  </a:lnTo>
                  <a:lnTo>
                    <a:pt x="516" y="1392"/>
                  </a:lnTo>
                  <a:lnTo>
                    <a:pt x="510" y="1392"/>
                  </a:lnTo>
                  <a:lnTo>
                    <a:pt x="504" y="1386"/>
                  </a:lnTo>
                  <a:lnTo>
                    <a:pt x="498" y="1392"/>
                  </a:lnTo>
                  <a:lnTo>
                    <a:pt x="492" y="1398"/>
                  </a:lnTo>
                  <a:lnTo>
                    <a:pt x="486" y="1398"/>
                  </a:lnTo>
                  <a:lnTo>
                    <a:pt x="486" y="1392"/>
                  </a:lnTo>
                  <a:lnTo>
                    <a:pt x="486" y="1380"/>
                  </a:lnTo>
                  <a:lnTo>
                    <a:pt x="486" y="1374"/>
                  </a:lnTo>
                  <a:lnTo>
                    <a:pt x="480" y="1374"/>
                  </a:lnTo>
                  <a:lnTo>
                    <a:pt x="474" y="1374"/>
                  </a:lnTo>
                  <a:lnTo>
                    <a:pt x="468" y="1380"/>
                  </a:lnTo>
                  <a:lnTo>
                    <a:pt x="462" y="1380"/>
                  </a:lnTo>
                  <a:lnTo>
                    <a:pt x="456" y="1380"/>
                  </a:lnTo>
                  <a:lnTo>
                    <a:pt x="450" y="1386"/>
                  </a:lnTo>
                  <a:lnTo>
                    <a:pt x="444" y="1386"/>
                  </a:lnTo>
                  <a:lnTo>
                    <a:pt x="444" y="1392"/>
                  </a:lnTo>
                  <a:lnTo>
                    <a:pt x="432" y="1398"/>
                  </a:lnTo>
                  <a:lnTo>
                    <a:pt x="426" y="1404"/>
                  </a:lnTo>
                  <a:lnTo>
                    <a:pt x="420" y="1404"/>
                  </a:lnTo>
                  <a:lnTo>
                    <a:pt x="408" y="1404"/>
                  </a:lnTo>
                  <a:lnTo>
                    <a:pt x="378" y="1410"/>
                  </a:lnTo>
                  <a:lnTo>
                    <a:pt x="372" y="1410"/>
                  </a:lnTo>
                  <a:lnTo>
                    <a:pt x="360" y="1410"/>
                  </a:lnTo>
                  <a:lnTo>
                    <a:pt x="354" y="1416"/>
                  </a:lnTo>
                  <a:lnTo>
                    <a:pt x="348" y="1416"/>
                  </a:lnTo>
                  <a:lnTo>
                    <a:pt x="342" y="1410"/>
                  </a:lnTo>
                  <a:lnTo>
                    <a:pt x="336" y="1410"/>
                  </a:lnTo>
                  <a:lnTo>
                    <a:pt x="336" y="1416"/>
                  </a:lnTo>
                  <a:lnTo>
                    <a:pt x="330" y="1422"/>
                  </a:lnTo>
                  <a:lnTo>
                    <a:pt x="324" y="1422"/>
                  </a:lnTo>
                  <a:lnTo>
                    <a:pt x="318" y="1422"/>
                  </a:lnTo>
                  <a:lnTo>
                    <a:pt x="312" y="1428"/>
                  </a:lnTo>
                  <a:lnTo>
                    <a:pt x="312" y="1434"/>
                  </a:lnTo>
                  <a:lnTo>
                    <a:pt x="300" y="1428"/>
                  </a:lnTo>
                  <a:lnTo>
                    <a:pt x="288" y="1434"/>
                  </a:lnTo>
                  <a:lnTo>
                    <a:pt x="282" y="1440"/>
                  </a:lnTo>
                  <a:lnTo>
                    <a:pt x="282" y="1446"/>
                  </a:lnTo>
                  <a:lnTo>
                    <a:pt x="276" y="1446"/>
                  </a:lnTo>
                  <a:lnTo>
                    <a:pt x="276" y="1452"/>
                  </a:lnTo>
                  <a:lnTo>
                    <a:pt x="270" y="1452"/>
                  </a:lnTo>
                  <a:lnTo>
                    <a:pt x="258" y="1464"/>
                  </a:lnTo>
                  <a:lnTo>
                    <a:pt x="240" y="1458"/>
                  </a:lnTo>
                  <a:lnTo>
                    <a:pt x="234" y="1452"/>
                  </a:lnTo>
                  <a:lnTo>
                    <a:pt x="234" y="1446"/>
                  </a:lnTo>
                  <a:lnTo>
                    <a:pt x="228" y="1446"/>
                  </a:lnTo>
                  <a:lnTo>
                    <a:pt x="222" y="1440"/>
                  </a:lnTo>
                  <a:lnTo>
                    <a:pt x="216" y="1440"/>
                  </a:lnTo>
                  <a:lnTo>
                    <a:pt x="210" y="1428"/>
                  </a:lnTo>
                  <a:lnTo>
                    <a:pt x="210" y="1422"/>
                  </a:lnTo>
                  <a:lnTo>
                    <a:pt x="198" y="1416"/>
                  </a:lnTo>
                  <a:lnTo>
                    <a:pt x="204" y="1410"/>
                  </a:lnTo>
                  <a:lnTo>
                    <a:pt x="210" y="1404"/>
                  </a:lnTo>
                  <a:lnTo>
                    <a:pt x="210" y="1398"/>
                  </a:lnTo>
                  <a:lnTo>
                    <a:pt x="252" y="1368"/>
                  </a:lnTo>
                  <a:lnTo>
                    <a:pt x="276" y="1350"/>
                  </a:lnTo>
                  <a:lnTo>
                    <a:pt x="300" y="1338"/>
                  </a:lnTo>
                  <a:lnTo>
                    <a:pt x="294" y="1314"/>
                  </a:lnTo>
                  <a:lnTo>
                    <a:pt x="288" y="1308"/>
                  </a:lnTo>
                  <a:lnTo>
                    <a:pt x="300" y="1266"/>
                  </a:lnTo>
                  <a:lnTo>
                    <a:pt x="300" y="1242"/>
                  </a:lnTo>
                  <a:lnTo>
                    <a:pt x="300" y="1206"/>
                  </a:lnTo>
                  <a:lnTo>
                    <a:pt x="300" y="1164"/>
                  </a:lnTo>
                  <a:lnTo>
                    <a:pt x="294" y="1134"/>
                  </a:lnTo>
                  <a:lnTo>
                    <a:pt x="282" y="1086"/>
                  </a:lnTo>
                  <a:lnTo>
                    <a:pt x="276" y="1074"/>
                  </a:lnTo>
                  <a:lnTo>
                    <a:pt x="276" y="1056"/>
                  </a:lnTo>
                  <a:lnTo>
                    <a:pt x="270" y="1038"/>
                  </a:lnTo>
                  <a:lnTo>
                    <a:pt x="270" y="1020"/>
                  </a:lnTo>
                  <a:lnTo>
                    <a:pt x="282" y="1020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94" y="1002"/>
                  </a:lnTo>
                  <a:lnTo>
                    <a:pt x="306" y="996"/>
                  </a:lnTo>
                  <a:lnTo>
                    <a:pt x="312" y="990"/>
                  </a:lnTo>
                  <a:lnTo>
                    <a:pt x="318" y="990"/>
                  </a:lnTo>
                  <a:lnTo>
                    <a:pt x="324" y="984"/>
                  </a:lnTo>
                  <a:lnTo>
                    <a:pt x="324" y="978"/>
                  </a:lnTo>
                  <a:lnTo>
                    <a:pt x="324" y="972"/>
                  </a:lnTo>
                  <a:lnTo>
                    <a:pt x="324" y="954"/>
                  </a:lnTo>
                  <a:lnTo>
                    <a:pt x="336" y="948"/>
                  </a:lnTo>
                  <a:lnTo>
                    <a:pt x="342" y="936"/>
                  </a:lnTo>
                  <a:lnTo>
                    <a:pt x="348" y="924"/>
                  </a:lnTo>
                  <a:lnTo>
                    <a:pt x="354" y="924"/>
                  </a:lnTo>
                  <a:lnTo>
                    <a:pt x="372" y="924"/>
                  </a:lnTo>
                  <a:lnTo>
                    <a:pt x="372" y="930"/>
                  </a:lnTo>
                  <a:lnTo>
                    <a:pt x="378" y="930"/>
                  </a:lnTo>
                  <a:lnTo>
                    <a:pt x="378" y="936"/>
                  </a:lnTo>
                  <a:lnTo>
                    <a:pt x="384" y="936"/>
                  </a:lnTo>
                  <a:lnTo>
                    <a:pt x="384" y="942"/>
                  </a:lnTo>
                  <a:lnTo>
                    <a:pt x="402" y="942"/>
                  </a:lnTo>
                  <a:lnTo>
                    <a:pt x="402" y="996"/>
                  </a:lnTo>
                  <a:lnTo>
                    <a:pt x="414" y="996"/>
                  </a:lnTo>
                  <a:lnTo>
                    <a:pt x="420" y="996"/>
                  </a:lnTo>
                  <a:lnTo>
                    <a:pt x="426" y="996"/>
                  </a:lnTo>
                  <a:lnTo>
                    <a:pt x="432" y="996"/>
                  </a:lnTo>
                  <a:lnTo>
                    <a:pt x="438" y="996"/>
                  </a:lnTo>
                  <a:lnTo>
                    <a:pt x="438" y="942"/>
                  </a:lnTo>
                  <a:lnTo>
                    <a:pt x="444" y="930"/>
                  </a:lnTo>
                  <a:lnTo>
                    <a:pt x="444" y="924"/>
                  </a:lnTo>
                  <a:lnTo>
                    <a:pt x="444" y="918"/>
                  </a:lnTo>
                  <a:lnTo>
                    <a:pt x="462" y="918"/>
                  </a:lnTo>
                  <a:lnTo>
                    <a:pt x="474" y="906"/>
                  </a:lnTo>
                  <a:lnTo>
                    <a:pt x="480" y="900"/>
                  </a:lnTo>
                  <a:lnTo>
                    <a:pt x="486" y="888"/>
                  </a:lnTo>
                  <a:lnTo>
                    <a:pt x="492" y="876"/>
                  </a:lnTo>
                  <a:lnTo>
                    <a:pt x="492" y="858"/>
                  </a:lnTo>
                  <a:lnTo>
                    <a:pt x="480" y="858"/>
                  </a:lnTo>
                  <a:lnTo>
                    <a:pt x="474" y="840"/>
                  </a:lnTo>
                  <a:lnTo>
                    <a:pt x="450" y="834"/>
                  </a:lnTo>
                  <a:lnTo>
                    <a:pt x="438" y="816"/>
                  </a:lnTo>
                  <a:lnTo>
                    <a:pt x="432" y="792"/>
                  </a:lnTo>
                  <a:lnTo>
                    <a:pt x="432" y="786"/>
                  </a:lnTo>
                  <a:lnTo>
                    <a:pt x="432" y="774"/>
                  </a:lnTo>
                  <a:lnTo>
                    <a:pt x="432" y="762"/>
                  </a:lnTo>
                  <a:lnTo>
                    <a:pt x="438" y="750"/>
                  </a:lnTo>
                  <a:lnTo>
                    <a:pt x="438" y="738"/>
                  </a:lnTo>
                  <a:lnTo>
                    <a:pt x="444" y="732"/>
                  </a:lnTo>
                  <a:lnTo>
                    <a:pt x="450" y="732"/>
                  </a:lnTo>
                  <a:lnTo>
                    <a:pt x="456" y="732"/>
                  </a:lnTo>
                  <a:lnTo>
                    <a:pt x="456" y="726"/>
                  </a:lnTo>
                  <a:lnTo>
                    <a:pt x="456" y="714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44" y="684"/>
                  </a:lnTo>
                  <a:lnTo>
                    <a:pt x="438" y="666"/>
                  </a:lnTo>
                  <a:lnTo>
                    <a:pt x="426" y="666"/>
                  </a:lnTo>
                  <a:lnTo>
                    <a:pt x="432" y="666"/>
                  </a:lnTo>
                  <a:lnTo>
                    <a:pt x="420" y="666"/>
                  </a:lnTo>
                  <a:lnTo>
                    <a:pt x="414" y="660"/>
                  </a:lnTo>
                  <a:lnTo>
                    <a:pt x="396" y="654"/>
                  </a:lnTo>
                  <a:lnTo>
                    <a:pt x="384" y="642"/>
                  </a:lnTo>
                  <a:lnTo>
                    <a:pt x="366" y="624"/>
                  </a:lnTo>
                  <a:lnTo>
                    <a:pt x="354" y="606"/>
                  </a:lnTo>
                  <a:lnTo>
                    <a:pt x="342" y="588"/>
                  </a:lnTo>
                  <a:lnTo>
                    <a:pt x="342" y="582"/>
                  </a:lnTo>
                  <a:lnTo>
                    <a:pt x="360" y="564"/>
                  </a:lnTo>
                  <a:lnTo>
                    <a:pt x="372" y="540"/>
                  </a:lnTo>
                  <a:lnTo>
                    <a:pt x="366" y="528"/>
                  </a:lnTo>
                  <a:lnTo>
                    <a:pt x="366" y="522"/>
                  </a:lnTo>
                  <a:lnTo>
                    <a:pt x="372" y="516"/>
                  </a:lnTo>
                  <a:lnTo>
                    <a:pt x="384" y="504"/>
                  </a:lnTo>
                  <a:lnTo>
                    <a:pt x="378" y="492"/>
                  </a:lnTo>
                  <a:lnTo>
                    <a:pt x="378" y="486"/>
                  </a:lnTo>
                  <a:lnTo>
                    <a:pt x="378" y="480"/>
                  </a:lnTo>
                  <a:lnTo>
                    <a:pt x="378" y="474"/>
                  </a:lnTo>
                  <a:lnTo>
                    <a:pt x="378" y="468"/>
                  </a:lnTo>
                  <a:lnTo>
                    <a:pt x="366" y="468"/>
                  </a:lnTo>
                  <a:lnTo>
                    <a:pt x="360" y="474"/>
                  </a:lnTo>
                  <a:lnTo>
                    <a:pt x="354" y="480"/>
                  </a:lnTo>
                  <a:lnTo>
                    <a:pt x="348" y="486"/>
                  </a:lnTo>
                  <a:lnTo>
                    <a:pt x="348" y="492"/>
                  </a:lnTo>
                  <a:lnTo>
                    <a:pt x="336" y="510"/>
                  </a:lnTo>
                  <a:lnTo>
                    <a:pt x="300" y="516"/>
                  </a:lnTo>
                  <a:lnTo>
                    <a:pt x="300" y="510"/>
                  </a:lnTo>
                  <a:lnTo>
                    <a:pt x="282" y="504"/>
                  </a:lnTo>
                  <a:lnTo>
                    <a:pt x="282" y="498"/>
                  </a:lnTo>
                  <a:lnTo>
                    <a:pt x="264" y="486"/>
                  </a:lnTo>
                  <a:lnTo>
                    <a:pt x="258" y="492"/>
                  </a:lnTo>
                  <a:lnTo>
                    <a:pt x="234" y="492"/>
                  </a:lnTo>
                  <a:lnTo>
                    <a:pt x="222" y="486"/>
                  </a:lnTo>
                  <a:lnTo>
                    <a:pt x="204" y="480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92" y="462"/>
                  </a:lnTo>
                  <a:lnTo>
                    <a:pt x="186" y="462"/>
                  </a:lnTo>
                  <a:lnTo>
                    <a:pt x="180" y="468"/>
                  </a:lnTo>
                  <a:lnTo>
                    <a:pt x="150" y="450"/>
                  </a:lnTo>
                  <a:lnTo>
                    <a:pt x="144" y="438"/>
                  </a:lnTo>
                  <a:lnTo>
                    <a:pt x="138" y="438"/>
                  </a:lnTo>
                  <a:lnTo>
                    <a:pt x="132" y="432"/>
                  </a:lnTo>
                  <a:lnTo>
                    <a:pt x="126" y="432"/>
                  </a:lnTo>
                  <a:lnTo>
                    <a:pt x="120" y="432"/>
                  </a:lnTo>
                  <a:lnTo>
                    <a:pt x="102" y="426"/>
                  </a:lnTo>
                  <a:lnTo>
                    <a:pt x="96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2" y="414"/>
                  </a:lnTo>
                  <a:lnTo>
                    <a:pt x="60" y="414"/>
                  </a:lnTo>
                  <a:lnTo>
                    <a:pt x="30" y="414"/>
                  </a:lnTo>
                  <a:lnTo>
                    <a:pt x="24" y="414"/>
                  </a:lnTo>
                  <a:lnTo>
                    <a:pt x="12" y="414"/>
                  </a:lnTo>
                  <a:lnTo>
                    <a:pt x="0" y="420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0" y="336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30" y="270"/>
                  </a:lnTo>
                  <a:lnTo>
                    <a:pt x="42" y="270"/>
                  </a:lnTo>
                  <a:lnTo>
                    <a:pt x="54" y="264"/>
                  </a:lnTo>
                  <a:lnTo>
                    <a:pt x="78" y="240"/>
                  </a:lnTo>
                  <a:lnTo>
                    <a:pt x="102" y="216"/>
                  </a:lnTo>
                  <a:lnTo>
                    <a:pt x="114" y="210"/>
                  </a:lnTo>
                  <a:lnTo>
                    <a:pt x="120" y="204"/>
                  </a:lnTo>
                  <a:lnTo>
                    <a:pt x="126" y="198"/>
                  </a:lnTo>
                  <a:lnTo>
                    <a:pt x="138" y="18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38"/>
                  </a:lnTo>
                  <a:lnTo>
                    <a:pt x="210" y="126"/>
                  </a:lnTo>
                  <a:lnTo>
                    <a:pt x="216" y="120"/>
                  </a:lnTo>
                  <a:lnTo>
                    <a:pt x="222" y="120"/>
                  </a:lnTo>
                  <a:lnTo>
                    <a:pt x="258" y="114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300" y="102"/>
                  </a:lnTo>
                  <a:lnTo>
                    <a:pt x="312" y="102"/>
                  </a:lnTo>
                  <a:lnTo>
                    <a:pt x="318" y="102"/>
                  </a:lnTo>
                  <a:lnTo>
                    <a:pt x="348" y="96"/>
                  </a:lnTo>
                  <a:lnTo>
                    <a:pt x="366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408" y="84"/>
                  </a:lnTo>
                  <a:lnTo>
                    <a:pt x="420" y="84"/>
                  </a:lnTo>
                  <a:lnTo>
                    <a:pt x="462" y="72"/>
                  </a:lnTo>
                  <a:lnTo>
                    <a:pt x="474" y="72"/>
                  </a:lnTo>
                  <a:lnTo>
                    <a:pt x="474" y="78"/>
                  </a:lnTo>
                  <a:lnTo>
                    <a:pt x="492" y="90"/>
                  </a:lnTo>
                  <a:lnTo>
                    <a:pt x="498" y="90"/>
                  </a:lnTo>
                  <a:lnTo>
                    <a:pt x="522" y="96"/>
                  </a:lnTo>
                  <a:lnTo>
                    <a:pt x="540" y="96"/>
                  </a:lnTo>
                  <a:lnTo>
                    <a:pt x="546" y="96"/>
                  </a:lnTo>
                  <a:lnTo>
                    <a:pt x="558" y="96"/>
                  </a:lnTo>
                  <a:lnTo>
                    <a:pt x="564" y="96"/>
                  </a:lnTo>
                  <a:lnTo>
                    <a:pt x="576" y="96"/>
                  </a:lnTo>
                  <a:lnTo>
                    <a:pt x="588" y="96"/>
                  </a:lnTo>
                  <a:lnTo>
                    <a:pt x="612" y="90"/>
                  </a:lnTo>
                  <a:lnTo>
                    <a:pt x="624" y="90"/>
                  </a:lnTo>
                  <a:lnTo>
                    <a:pt x="636" y="90"/>
                  </a:lnTo>
                  <a:lnTo>
                    <a:pt x="642" y="90"/>
                  </a:lnTo>
                  <a:lnTo>
                    <a:pt x="648" y="96"/>
                  </a:lnTo>
                  <a:lnTo>
                    <a:pt x="660" y="96"/>
                  </a:lnTo>
                  <a:lnTo>
                    <a:pt x="666" y="96"/>
                  </a:lnTo>
                  <a:lnTo>
                    <a:pt x="672" y="96"/>
                  </a:lnTo>
                  <a:lnTo>
                    <a:pt x="684" y="96"/>
                  </a:lnTo>
                  <a:lnTo>
                    <a:pt x="708" y="96"/>
                  </a:lnTo>
                  <a:lnTo>
                    <a:pt x="714" y="96"/>
                  </a:lnTo>
                  <a:lnTo>
                    <a:pt x="726" y="96"/>
                  </a:lnTo>
                  <a:lnTo>
                    <a:pt x="738" y="84"/>
                  </a:lnTo>
                  <a:lnTo>
                    <a:pt x="744" y="78"/>
                  </a:lnTo>
                  <a:lnTo>
                    <a:pt x="756" y="66"/>
                  </a:lnTo>
                  <a:lnTo>
                    <a:pt x="774" y="42"/>
                  </a:lnTo>
                  <a:lnTo>
                    <a:pt x="780" y="30"/>
                  </a:lnTo>
                  <a:lnTo>
                    <a:pt x="816" y="24"/>
                  </a:lnTo>
                  <a:lnTo>
                    <a:pt x="840" y="18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64" y="6"/>
                  </a:lnTo>
                  <a:lnTo>
                    <a:pt x="870" y="6"/>
                  </a:lnTo>
                  <a:lnTo>
                    <a:pt x="894" y="0"/>
                  </a:lnTo>
                  <a:lnTo>
                    <a:pt x="900" y="6"/>
                  </a:lnTo>
                  <a:lnTo>
                    <a:pt x="930" y="18"/>
                  </a:lnTo>
                  <a:lnTo>
                    <a:pt x="942" y="24"/>
                  </a:lnTo>
                  <a:lnTo>
                    <a:pt x="954" y="30"/>
                  </a:lnTo>
                  <a:lnTo>
                    <a:pt x="1026" y="60"/>
                  </a:lnTo>
                  <a:lnTo>
                    <a:pt x="1032" y="60"/>
                  </a:lnTo>
                  <a:lnTo>
                    <a:pt x="1038" y="66"/>
                  </a:lnTo>
                  <a:lnTo>
                    <a:pt x="1068" y="72"/>
                  </a:lnTo>
                  <a:lnTo>
                    <a:pt x="1098" y="84"/>
                  </a:lnTo>
                  <a:lnTo>
                    <a:pt x="1122" y="90"/>
                  </a:lnTo>
                  <a:lnTo>
                    <a:pt x="1122" y="96"/>
                  </a:lnTo>
                  <a:lnTo>
                    <a:pt x="1140" y="102"/>
                  </a:lnTo>
                  <a:lnTo>
                    <a:pt x="1182" y="114"/>
                  </a:lnTo>
                  <a:lnTo>
                    <a:pt x="1188" y="114"/>
                  </a:lnTo>
                  <a:lnTo>
                    <a:pt x="1200" y="120"/>
                  </a:lnTo>
                  <a:lnTo>
                    <a:pt x="1212" y="126"/>
                  </a:lnTo>
                  <a:lnTo>
                    <a:pt x="1224" y="126"/>
                  </a:lnTo>
                  <a:lnTo>
                    <a:pt x="1248" y="138"/>
                  </a:lnTo>
                  <a:lnTo>
                    <a:pt x="1272" y="150"/>
                  </a:lnTo>
                  <a:lnTo>
                    <a:pt x="1284" y="156"/>
                  </a:lnTo>
                  <a:lnTo>
                    <a:pt x="1290" y="162"/>
                  </a:lnTo>
                  <a:lnTo>
                    <a:pt x="1296" y="162"/>
                  </a:lnTo>
                  <a:lnTo>
                    <a:pt x="1308" y="156"/>
                  </a:lnTo>
                  <a:lnTo>
                    <a:pt x="1320" y="150"/>
                  </a:lnTo>
                  <a:lnTo>
                    <a:pt x="1326" y="150"/>
                  </a:lnTo>
                  <a:lnTo>
                    <a:pt x="1338" y="144"/>
                  </a:lnTo>
                  <a:lnTo>
                    <a:pt x="1362" y="144"/>
                  </a:lnTo>
                  <a:lnTo>
                    <a:pt x="1368" y="144"/>
                  </a:lnTo>
                  <a:lnTo>
                    <a:pt x="1374" y="144"/>
                  </a:lnTo>
                  <a:lnTo>
                    <a:pt x="1386" y="150"/>
                  </a:lnTo>
                  <a:lnTo>
                    <a:pt x="1392" y="150"/>
                  </a:lnTo>
                  <a:lnTo>
                    <a:pt x="1398" y="150"/>
                  </a:lnTo>
                  <a:lnTo>
                    <a:pt x="1416" y="162"/>
                  </a:lnTo>
                  <a:lnTo>
                    <a:pt x="1458" y="186"/>
                  </a:lnTo>
                  <a:lnTo>
                    <a:pt x="1464" y="186"/>
                  </a:lnTo>
                  <a:lnTo>
                    <a:pt x="1470" y="192"/>
                  </a:lnTo>
                  <a:lnTo>
                    <a:pt x="1482" y="204"/>
                  </a:lnTo>
                  <a:lnTo>
                    <a:pt x="1512" y="234"/>
                  </a:lnTo>
                  <a:lnTo>
                    <a:pt x="1554" y="276"/>
                  </a:lnTo>
                  <a:lnTo>
                    <a:pt x="1560" y="276"/>
                  </a:lnTo>
                  <a:lnTo>
                    <a:pt x="1566" y="282"/>
                  </a:lnTo>
                  <a:lnTo>
                    <a:pt x="1578" y="294"/>
                  </a:lnTo>
                  <a:lnTo>
                    <a:pt x="1602" y="318"/>
                  </a:lnTo>
                  <a:lnTo>
                    <a:pt x="1614" y="330"/>
                  </a:lnTo>
                  <a:lnTo>
                    <a:pt x="1620" y="336"/>
                  </a:lnTo>
                  <a:lnTo>
                    <a:pt x="1626" y="342"/>
                  </a:lnTo>
                  <a:lnTo>
                    <a:pt x="1632" y="354"/>
                  </a:lnTo>
                  <a:lnTo>
                    <a:pt x="1644" y="366"/>
                  </a:lnTo>
                  <a:lnTo>
                    <a:pt x="1650" y="378"/>
                  </a:lnTo>
                  <a:lnTo>
                    <a:pt x="1650" y="384"/>
                  </a:lnTo>
                  <a:lnTo>
                    <a:pt x="1656" y="384"/>
                  </a:lnTo>
                  <a:lnTo>
                    <a:pt x="1662" y="402"/>
                  </a:lnTo>
                  <a:lnTo>
                    <a:pt x="1668" y="408"/>
                  </a:lnTo>
                  <a:lnTo>
                    <a:pt x="1674" y="426"/>
                  </a:lnTo>
                  <a:lnTo>
                    <a:pt x="1686" y="438"/>
                  </a:lnTo>
                  <a:lnTo>
                    <a:pt x="1698" y="46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9" name="Freeform 34">
              <a:extLst>
                <a:ext uri="{FF2B5EF4-FFF2-40B4-BE49-F238E27FC236}">
                  <a16:creationId xmlns:a16="http://schemas.microsoft.com/office/drawing/2014/main" id="{94603F24-8CF7-4226-A433-00D18CA7D9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1988" y="1681402"/>
              <a:ext cx="869877" cy="1060101"/>
            </a:xfrm>
            <a:custGeom>
              <a:avLst/>
              <a:gdLst>
                <a:gd name="T0" fmla="*/ 4 w 1638"/>
                <a:gd name="T1" fmla="*/ 111 h 1998"/>
                <a:gd name="T2" fmla="*/ 6 w 1638"/>
                <a:gd name="T3" fmla="*/ 87 h 1998"/>
                <a:gd name="T4" fmla="*/ 10 w 1638"/>
                <a:gd name="T5" fmla="*/ 80 h 1998"/>
                <a:gd name="T6" fmla="*/ 10 w 1638"/>
                <a:gd name="T7" fmla="*/ 71 h 1998"/>
                <a:gd name="T8" fmla="*/ 9 w 1638"/>
                <a:gd name="T9" fmla="*/ 56 h 1998"/>
                <a:gd name="T10" fmla="*/ 8 w 1638"/>
                <a:gd name="T11" fmla="*/ 40 h 1998"/>
                <a:gd name="T12" fmla="*/ 20 w 1638"/>
                <a:gd name="T13" fmla="*/ 30 h 1998"/>
                <a:gd name="T14" fmla="*/ 30 w 1638"/>
                <a:gd name="T15" fmla="*/ 19 h 1998"/>
                <a:gd name="T16" fmla="*/ 35 w 1638"/>
                <a:gd name="T17" fmla="*/ 2 h 1998"/>
                <a:gd name="T18" fmla="*/ 47 w 1638"/>
                <a:gd name="T19" fmla="*/ 2 h 1998"/>
                <a:gd name="T20" fmla="*/ 56 w 1638"/>
                <a:gd name="T21" fmla="*/ 7 h 1998"/>
                <a:gd name="T22" fmla="*/ 67 w 1638"/>
                <a:gd name="T23" fmla="*/ 5 h 1998"/>
                <a:gd name="T24" fmla="*/ 65 w 1638"/>
                <a:gd name="T25" fmla="*/ 15 h 1998"/>
                <a:gd name="T26" fmla="*/ 74 w 1638"/>
                <a:gd name="T27" fmla="*/ 24 h 1998"/>
                <a:gd name="T28" fmla="*/ 73 w 1638"/>
                <a:gd name="T29" fmla="*/ 33 h 1998"/>
                <a:gd name="T30" fmla="*/ 74 w 1638"/>
                <a:gd name="T31" fmla="*/ 44 h 1998"/>
                <a:gd name="T32" fmla="*/ 68 w 1638"/>
                <a:gd name="T33" fmla="*/ 45 h 1998"/>
                <a:gd name="T34" fmla="*/ 63 w 1638"/>
                <a:gd name="T35" fmla="*/ 50 h 1998"/>
                <a:gd name="T36" fmla="*/ 61 w 1638"/>
                <a:gd name="T37" fmla="*/ 62 h 1998"/>
                <a:gd name="T38" fmla="*/ 53 w 1638"/>
                <a:gd name="T39" fmla="*/ 86 h 1998"/>
                <a:gd name="T40" fmla="*/ 59 w 1638"/>
                <a:gd name="T41" fmla="*/ 90 h 1998"/>
                <a:gd name="T42" fmla="*/ 65 w 1638"/>
                <a:gd name="T43" fmla="*/ 86 h 1998"/>
                <a:gd name="T44" fmla="*/ 74 w 1638"/>
                <a:gd name="T45" fmla="*/ 84 h 1998"/>
                <a:gd name="T46" fmla="*/ 79 w 1638"/>
                <a:gd name="T47" fmla="*/ 85 h 1998"/>
                <a:gd name="T48" fmla="*/ 84 w 1638"/>
                <a:gd name="T49" fmla="*/ 84 h 1998"/>
                <a:gd name="T50" fmla="*/ 91 w 1638"/>
                <a:gd name="T51" fmla="*/ 84 h 1998"/>
                <a:gd name="T52" fmla="*/ 94 w 1638"/>
                <a:gd name="T53" fmla="*/ 81 h 1998"/>
                <a:gd name="T54" fmla="*/ 100 w 1638"/>
                <a:gd name="T55" fmla="*/ 81 h 1998"/>
                <a:gd name="T56" fmla="*/ 102 w 1638"/>
                <a:gd name="T57" fmla="*/ 84 h 1998"/>
                <a:gd name="T58" fmla="*/ 108 w 1638"/>
                <a:gd name="T59" fmla="*/ 85 h 1998"/>
                <a:gd name="T60" fmla="*/ 113 w 1638"/>
                <a:gd name="T61" fmla="*/ 88 h 1998"/>
                <a:gd name="T62" fmla="*/ 116 w 1638"/>
                <a:gd name="T63" fmla="*/ 88 h 1998"/>
                <a:gd name="T64" fmla="*/ 123 w 1638"/>
                <a:gd name="T65" fmla="*/ 87 h 1998"/>
                <a:gd name="T66" fmla="*/ 128 w 1638"/>
                <a:gd name="T67" fmla="*/ 86 h 1998"/>
                <a:gd name="T68" fmla="*/ 132 w 1638"/>
                <a:gd name="T69" fmla="*/ 90 h 1998"/>
                <a:gd name="T70" fmla="*/ 138 w 1638"/>
                <a:gd name="T71" fmla="*/ 96 h 1998"/>
                <a:gd name="T72" fmla="*/ 138 w 1638"/>
                <a:gd name="T73" fmla="*/ 110 h 1998"/>
                <a:gd name="T74" fmla="*/ 137 w 1638"/>
                <a:gd name="T75" fmla="*/ 118 h 1998"/>
                <a:gd name="T76" fmla="*/ 133 w 1638"/>
                <a:gd name="T77" fmla="*/ 124 h 1998"/>
                <a:gd name="T78" fmla="*/ 122 w 1638"/>
                <a:gd name="T79" fmla="*/ 125 h 1998"/>
                <a:gd name="T80" fmla="*/ 116 w 1638"/>
                <a:gd name="T81" fmla="*/ 127 h 1998"/>
                <a:gd name="T82" fmla="*/ 108 w 1638"/>
                <a:gd name="T83" fmla="*/ 123 h 1998"/>
                <a:gd name="T84" fmla="*/ 109 w 1638"/>
                <a:gd name="T85" fmla="*/ 119 h 1998"/>
                <a:gd name="T86" fmla="*/ 104 w 1638"/>
                <a:gd name="T87" fmla="*/ 104 h 1998"/>
                <a:gd name="T88" fmla="*/ 94 w 1638"/>
                <a:gd name="T89" fmla="*/ 105 h 1998"/>
                <a:gd name="T90" fmla="*/ 88 w 1638"/>
                <a:gd name="T91" fmla="*/ 109 h 1998"/>
                <a:gd name="T92" fmla="*/ 76 w 1638"/>
                <a:gd name="T93" fmla="*/ 107 h 1998"/>
                <a:gd name="T94" fmla="*/ 72 w 1638"/>
                <a:gd name="T95" fmla="*/ 114 h 1998"/>
                <a:gd name="T96" fmla="*/ 86 w 1638"/>
                <a:gd name="T97" fmla="*/ 121 h 1998"/>
                <a:gd name="T98" fmla="*/ 87 w 1638"/>
                <a:gd name="T99" fmla="*/ 129 h 1998"/>
                <a:gd name="T100" fmla="*/ 86 w 1638"/>
                <a:gd name="T101" fmla="*/ 137 h 1998"/>
                <a:gd name="T102" fmla="*/ 79 w 1638"/>
                <a:gd name="T103" fmla="*/ 141 h 1998"/>
                <a:gd name="T104" fmla="*/ 73 w 1638"/>
                <a:gd name="T105" fmla="*/ 144 h 1998"/>
                <a:gd name="T106" fmla="*/ 72 w 1638"/>
                <a:gd name="T107" fmla="*/ 164 h 1998"/>
                <a:gd name="T108" fmla="*/ 68 w 1638"/>
                <a:gd name="T109" fmla="*/ 172 h 1998"/>
                <a:gd name="T110" fmla="*/ 59 w 1638"/>
                <a:gd name="T111" fmla="*/ 164 h 1998"/>
                <a:gd name="T112" fmla="*/ 65 w 1638"/>
                <a:gd name="T113" fmla="*/ 146 h 1998"/>
                <a:gd name="T114" fmla="*/ 69 w 1638"/>
                <a:gd name="T115" fmla="*/ 133 h 1998"/>
                <a:gd name="T116" fmla="*/ 61 w 1638"/>
                <a:gd name="T117" fmla="*/ 131 h 1998"/>
                <a:gd name="T118" fmla="*/ 43 w 1638"/>
                <a:gd name="T119" fmla="*/ 125 h 1998"/>
                <a:gd name="T120" fmla="*/ 23 w 1638"/>
                <a:gd name="T121" fmla="*/ 125 h 1998"/>
                <a:gd name="T122" fmla="*/ 17 w 1638"/>
                <a:gd name="T123" fmla="*/ 121 h 19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638"/>
                <a:gd name="T187" fmla="*/ 0 h 1998"/>
                <a:gd name="T188" fmla="*/ 1638 w 1638"/>
                <a:gd name="T189" fmla="*/ 1998 h 19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638" h="1998">
                  <a:moveTo>
                    <a:pt x="144" y="1380"/>
                  </a:moveTo>
                  <a:lnTo>
                    <a:pt x="150" y="1368"/>
                  </a:lnTo>
                  <a:lnTo>
                    <a:pt x="150" y="1362"/>
                  </a:lnTo>
                  <a:lnTo>
                    <a:pt x="150" y="1356"/>
                  </a:lnTo>
                  <a:lnTo>
                    <a:pt x="144" y="1356"/>
                  </a:lnTo>
                  <a:lnTo>
                    <a:pt x="138" y="1356"/>
                  </a:lnTo>
                  <a:lnTo>
                    <a:pt x="126" y="1356"/>
                  </a:lnTo>
                  <a:lnTo>
                    <a:pt x="114" y="1344"/>
                  </a:lnTo>
                  <a:lnTo>
                    <a:pt x="84" y="1320"/>
                  </a:lnTo>
                  <a:lnTo>
                    <a:pt x="54" y="1296"/>
                  </a:lnTo>
                  <a:lnTo>
                    <a:pt x="48" y="1290"/>
                  </a:lnTo>
                  <a:lnTo>
                    <a:pt x="42" y="1278"/>
                  </a:lnTo>
                  <a:lnTo>
                    <a:pt x="30" y="1272"/>
                  </a:lnTo>
                  <a:lnTo>
                    <a:pt x="0" y="1248"/>
                  </a:lnTo>
                  <a:lnTo>
                    <a:pt x="6" y="1230"/>
                  </a:lnTo>
                  <a:lnTo>
                    <a:pt x="12" y="1194"/>
                  </a:lnTo>
                  <a:lnTo>
                    <a:pt x="18" y="1170"/>
                  </a:lnTo>
                  <a:lnTo>
                    <a:pt x="30" y="1134"/>
                  </a:lnTo>
                  <a:lnTo>
                    <a:pt x="36" y="1086"/>
                  </a:lnTo>
                  <a:lnTo>
                    <a:pt x="42" y="1050"/>
                  </a:lnTo>
                  <a:lnTo>
                    <a:pt x="48" y="1044"/>
                  </a:lnTo>
                  <a:lnTo>
                    <a:pt x="54" y="1026"/>
                  </a:lnTo>
                  <a:lnTo>
                    <a:pt x="60" y="1014"/>
                  </a:lnTo>
                  <a:lnTo>
                    <a:pt x="66" y="1002"/>
                  </a:lnTo>
                  <a:lnTo>
                    <a:pt x="66" y="996"/>
                  </a:lnTo>
                  <a:lnTo>
                    <a:pt x="72" y="996"/>
                  </a:lnTo>
                  <a:lnTo>
                    <a:pt x="72" y="990"/>
                  </a:lnTo>
                  <a:lnTo>
                    <a:pt x="78" y="990"/>
                  </a:lnTo>
                  <a:lnTo>
                    <a:pt x="90" y="978"/>
                  </a:lnTo>
                  <a:lnTo>
                    <a:pt x="96" y="966"/>
                  </a:lnTo>
                  <a:lnTo>
                    <a:pt x="102" y="966"/>
                  </a:lnTo>
                  <a:lnTo>
                    <a:pt x="114" y="954"/>
                  </a:lnTo>
                  <a:lnTo>
                    <a:pt x="120" y="954"/>
                  </a:lnTo>
                  <a:lnTo>
                    <a:pt x="120" y="948"/>
                  </a:lnTo>
                  <a:lnTo>
                    <a:pt x="114" y="930"/>
                  </a:lnTo>
                  <a:lnTo>
                    <a:pt x="114" y="924"/>
                  </a:lnTo>
                  <a:lnTo>
                    <a:pt x="108" y="918"/>
                  </a:lnTo>
                  <a:lnTo>
                    <a:pt x="102" y="912"/>
                  </a:lnTo>
                  <a:lnTo>
                    <a:pt x="90" y="906"/>
                  </a:lnTo>
                  <a:lnTo>
                    <a:pt x="84" y="900"/>
                  </a:lnTo>
                  <a:lnTo>
                    <a:pt x="84" y="888"/>
                  </a:lnTo>
                  <a:lnTo>
                    <a:pt x="84" y="882"/>
                  </a:lnTo>
                  <a:lnTo>
                    <a:pt x="78" y="858"/>
                  </a:lnTo>
                  <a:lnTo>
                    <a:pt x="78" y="852"/>
                  </a:lnTo>
                  <a:lnTo>
                    <a:pt x="84" y="846"/>
                  </a:lnTo>
                  <a:lnTo>
                    <a:pt x="84" y="840"/>
                  </a:lnTo>
                  <a:lnTo>
                    <a:pt x="96" y="828"/>
                  </a:lnTo>
                  <a:lnTo>
                    <a:pt x="114" y="816"/>
                  </a:lnTo>
                  <a:lnTo>
                    <a:pt x="114" y="810"/>
                  </a:lnTo>
                  <a:lnTo>
                    <a:pt x="114" y="804"/>
                  </a:lnTo>
                  <a:lnTo>
                    <a:pt x="108" y="780"/>
                  </a:lnTo>
                  <a:lnTo>
                    <a:pt x="96" y="756"/>
                  </a:lnTo>
                  <a:lnTo>
                    <a:pt x="96" y="750"/>
                  </a:lnTo>
                  <a:lnTo>
                    <a:pt x="90" y="720"/>
                  </a:lnTo>
                  <a:lnTo>
                    <a:pt x="90" y="708"/>
                  </a:lnTo>
                  <a:lnTo>
                    <a:pt x="90" y="690"/>
                  </a:lnTo>
                  <a:lnTo>
                    <a:pt x="96" y="672"/>
                  </a:lnTo>
                  <a:lnTo>
                    <a:pt x="90" y="666"/>
                  </a:lnTo>
                  <a:lnTo>
                    <a:pt x="96" y="666"/>
                  </a:lnTo>
                  <a:lnTo>
                    <a:pt x="102" y="642"/>
                  </a:lnTo>
                  <a:lnTo>
                    <a:pt x="108" y="624"/>
                  </a:lnTo>
                  <a:lnTo>
                    <a:pt x="102" y="618"/>
                  </a:lnTo>
                  <a:lnTo>
                    <a:pt x="102" y="588"/>
                  </a:lnTo>
                  <a:lnTo>
                    <a:pt x="102" y="564"/>
                  </a:lnTo>
                  <a:lnTo>
                    <a:pt x="102" y="546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0"/>
                  </a:lnTo>
                  <a:lnTo>
                    <a:pt x="96" y="498"/>
                  </a:lnTo>
                  <a:lnTo>
                    <a:pt x="96" y="486"/>
                  </a:lnTo>
                  <a:lnTo>
                    <a:pt x="96" y="474"/>
                  </a:lnTo>
                  <a:lnTo>
                    <a:pt x="96" y="462"/>
                  </a:lnTo>
                  <a:lnTo>
                    <a:pt x="114" y="450"/>
                  </a:lnTo>
                  <a:lnTo>
                    <a:pt x="126" y="438"/>
                  </a:lnTo>
                  <a:lnTo>
                    <a:pt x="132" y="432"/>
                  </a:lnTo>
                  <a:lnTo>
                    <a:pt x="144" y="426"/>
                  </a:lnTo>
                  <a:lnTo>
                    <a:pt x="144" y="420"/>
                  </a:lnTo>
                  <a:lnTo>
                    <a:pt x="156" y="414"/>
                  </a:lnTo>
                  <a:lnTo>
                    <a:pt x="162" y="408"/>
                  </a:lnTo>
                  <a:lnTo>
                    <a:pt x="180" y="396"/>
                  </a:lnTo>
                  <a:lnTo>
                    <a:pt x="210" y="372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34" y="348"/>
                  </a:lnTo>
                  <a:lnTo>
                    <a:pt x="240" y="348"/>
                  </a:lnTo>
                  <a:lnTo>
                    <a:pt x="246" y="342"/>
                  </a:lnTo>
                  <a:lnTo>
                    <a:pt x="276" y="318"/>
                  </a:lnTo>
                  <a:lnTo>
                    <a:pt x="282" y="312"/>
                  </a:lnTo>
                  <a:lnTo>
                    <a:pt x="288" y="306"/>
                  </a:lnTo>
                  <a:lnTo>
                    <a:pt x="300" y="288"/>
                  </a:lnTo>
                  <a:lnTo>
                    <a:pt x="306" y="276"/>
                  </a:lnTo>
                  <a:lnTo>
                    <a:pt x="324" y="246"/>
                  </a:lnTo>
                  <a:lnTo>
                    <a:pt x="330" y="240"/>
                  </a:lnTo>
                  <a:lnTo>
                    <a:pt x="336" y="234"/>
                  </a:lnTo>
                  <a:lnTo>
                    <a:pt x="342" y="228"/>
                  </a:lnTo>
                  <a:lnTo>
                    <a:pt x="342" y="216"/>
                  </a:lnTo>
                  <a:lnTo>
                    <a:pt x="354" y="204"/>
                  </a:lnTo>
                  <a:lnTo>
                    <a:pt x="360" y="204"/>
                  </a:lnTo>
                  <a:lnTo>
                    <a:pt x="366" y="186"/>
                  </a:lnTo>
                  <a:lnTo>
                    <a:pt x="384" y="162"/>
                  </a:lnTo>
                  <a:lnTo>
                    <a:pt x="390" y="144"/>
                  </a:lnTo>
                  <a:lnTo>
                    <a:pt x="396" y="114"/>
                  </a:lnTo>
                  <a:lnTo>
                    <a:pt x="396" y="102"/>
                  </a:lnTo>
                  <a:lnTo>
                    <a:pt x="402" y="90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08" y="36"/>
                  </a:lnTo>
                  <a:lnTo>
                    <a:pt x="408" y="24"/>
                  </a:lnTo>
                  <a:lnTo>
                    <a:pt x="408" y="6"/>
                  </a:lnTo>
                  <a:lnTo>
                    <a:pt x="420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68" y="0"/>
                  </a:lnTo>
                  <a:lnTo>
                    <a:pt x="480" y="0"/>
                  </a:lnTo>
                  <a:lnTo>
                    <a:pt x="492" y="0"/>
                  </a:lnTo>
                  <a:lnTo>
                    <a:pt x="498" y="0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8" y="18"/>
                  </a:lnTo>
                  <a:lnTo>
                    <a:pt x="534" y="18"/>
                  </a:lnTo>
                  <a:lnTo>
                    <a:pt x="540" y="18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8" y="36"/>
                  </a:lnTo>
                  <a:lnTo>
                    <a:pt x="588" y="54"/>
                  </a:lnTo>
                  <a:lnTo>
                    <a:pt x="594" y="48"/>
                  </a:lnTo>
                  <a:lnTo>
                    <a:pt x="600" y="48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12" y="66"/>
                  </a:lnTo>
                  <a:lnTo>
                    <a:pt x="630" y="72"/>
                  </a:lnTo>
                  <a:lnTo>
                    <a:pt x="642" y="78"/>
                  </a:lnTo>
                  <a:lnTo>
                    <a:pt x="666" y="78"/>
                  </a:lnTo>
                  <a:lnTo>
                    <a:pt x="672" y="72"/>
                  </a:lnTo>
                  <a:lnTo>
                    <a:pt x="690" y="84"/>
                  </a:lnTo>
                  <a:lnTo>
                    <a:pt x="690" y="90"/>
                  </a:lnTo>
                  <a:lnTo>
                    <a:pt x="708" y="96"/>
                  </a:lnTo>
                  <a:lnTo>
                    <a:pt x="708" y="102"/>
                  </a:lnTo>
                  <a:lnTo>
                    <a:pt x="744" y="96"/>
                  </a:lnTo>
                  <a:lnTo>
                    <a:pt x="756" y="78"/>
                  </a:lnTo>
                  <a:lnTo>
                    <a:pt x="756" y="72"/>
                  </a:lnTo>
                  <a:lnTo>
                    <a:pt x="762" y="66"/>
                  </a:lnTo>
                  <a:lnTo>
                    <a:pt x="768" y="60"/>
                  </a:lnTo>
                  <a:lnTo>
                    <a:pt x="774" y="54"/>
                  </a:lnTo>
                  <a:lnTo>
                    <a:pt x="786" y="54"/>
                  </a:lnTo>
                  <a:lnTo>
                    <a:pt x="786" y="60"/>
                  </a:lnTo>
                  <a:lnTo>
                    <a:pt x="786" y="66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92" y="90"/>
                  </a:lnTo>
                  <a:lnTo>
                    <a:pt x="780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26"/>
                  </a:lnTo>
                  <a:lnTo>
                    <a:pt x="768" y="150"/>
                  </a:lnTo>
                  <a:lnTo>
                    <a:pt x="750" y="168"/>
                  </a:lnTo>
                  <a:lnTo>
                    <a:pt x="750" y="174"/>
                  </a:lnTo>
                  <a:lnTo>
                    <a:pt x="762" y="192"/>
                  </a:lnTo>
                  <a:lnTo>
                    <a:pt x="774" y="210"/>
                  </a:lnTo>
                  <a:lnTo>
                    <a:pt x="792" y="228"/>
                  </a:lnTo>
                  <a:lnTo>
                    <a:pt x="804" y="240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40" y="252"/>
                  </a:lnTo>
                  <a:lnTo>
                    <a:pt x="834" y="252"/>
                  </a:lnTo>
                  <a:lnTo>
                    <a:pt x="846" y="252"/>
                  </a:lnTo>
                  <a:lnTo>
                    <a:pt x="852" y="270"/>
                  </a:lnTo>
                  <a:lnTo>
                    <a:pt x="858" y="282"/>
                  </a:lnTo>
                  <a:lnTo>
                    <a:pt x="858" y="288"/>
                  </a:lnTo>
                  <a:lnTo>
                    <a:pt x="864" y="300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58" y="318"/>
                  </a:lnTo>
                  <a:lnTo>
                    <a:pt x="852" y="318"/>
                  </a:lnTo>
                  <a:lnTo>
                    <a:pt x="846" y="324"/>
                  </a:lnTo>
                  <a:lnTo>
                    <a:pt x="846" y="336"/>
                  </a:lnTo>
                  <a:lnTo>
                    <a:pt x="840" y="348"/>
                  </a:lnTo>
                  <a:lnTo>
                    <a:pt x="840" y="360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46" y="402"/>
                  </a:lnTo>
                  <a:lnTo>
                    <a:pt x="858" y="420"/>
                  </a:lnTo>
                  <a:lnTo>
                    <a:pt x="882" y="426"/>
                  </a:lnTo>
                  <a:lnTo>
                    <a:pt x="888" y="444"/>
                  </a:lnTo>
                  <a:lnTo>
                    <a:pt x="900" y="444"/>
                  </a:lnTo>
                  <a:lnTo>
                    <a:pt x="900" y="462"/>
                  </a:lnTo>
                  <a:lnTo>
                    <a:pt x="894" y="474"/>
                  </a:lnTo>
                  <a:lnTo>
                    <a:pt x="888" y="486"/>
                  </a:lnTo>
                  <a:lnTo>
                    <a:pt x="882" y="492"/>
                  </a:lnTo>
                  <a:lnTo>
                    <a:pt x="870" y="504"/>
                  </a:lnTo>
                  <a:lnTo>
                    <a:pt x="852" y="504"/>
                  </a:lnTo>
                  <a:lnTo>
                    <a:pt x="852" y="510"/>
                  </a:lnTo>
                  <a:lnTo>
                    <a:pt x="852" y="516"/>
                  </a:lnTo>
                  <a:lnTo>
                    <a:pt x="846" y="528"/>
                  </a:lnTo>
                  <a:lnTo>
                    <a:pt x="846" y="582"/>
                  </a:lnTo>
                  <a:lnTo>
                    <a:pt x="840" y="582"/>
                  </a:lnTo>
                  <a:lnTo>
                    <a:pt x="834" y="582"/>
                  </a:lnTo>
                  <a:lnTo>
                    <a:pt x="828" y="582"/>
                  </a:lnTo>
                  <a:lnTo>
                    <a:pt x="822" y="582"/>
                  </a:lnTo>
                  <a:lnTo>
                    <a:pt x="810" y="582"/>
                  </a:lnTo>
                  <a:lnTo>
                    <a:pt x="810" y="528"/>
                  </a:lnTo>
                  <a:lnTo>
                    <a:pt x="792" y="528"/>
                  </a:lnTo>
                  <a:lnTo>
                    <a:pt x="792" y="522"/>
                  </a:lnTo>
                  <a:lnTo>
                    <a:pt x="786" y="522"/>
                  </a:lnTo>
                  <a:lnTo>
                    <a:pt x="786" y="516"/>
                  </a:lnTo>
                  <a:lnTo>
                    <a:pt x="780" y="516"/>
                  </a:lnTo>
                  <a:lnTo>
                    <a:pt x="780" y="510"/>
                  </a:lnTo>
                  <a:lnTo>
                    <a:pt x="762" y="510"/>
                  </a:lnTo>
                  <a:lnTo>
                    <a:pt x="756" y="510"/>
                  </a:lnTo>
                  <a:lnTo>
                    <a:pt x="750" y="522"/>
                  </a:lnTo>
                  <a:lnTo>
                    <a:pt x="744" y="534"/>
                  </a:lnTo>
                  <a:lnTo>
                    <a:pt x="732" y="540"/>
                  </a:lnTo>
                  <a:lnTo>
                    <a:pt x="732" y="558"/>
                  </a:lnTo>
                  <a:lnTo>
                    <a:pt x="732" y="564"/>
                  </a:lnTo>
                  <a:lnTo>
                    <a:pt x="732" y="570"/>
                  </a:lnTo>
                  <a:lnTo>
                    <a:pt x="726" y="576"/>
                  </a:lnTo>
                  <a:lnTo>
                    <a:pt x="720" y="576"/>
                  </a:lnTo>
                  <a:lnTo>
                    <a:pt x="714" y="582"/>
                  </a:lnTo>
                  <a:lnTo>
                    <a:pt x="702" y="588"/>
                  </a:lnTo>
                  <a:lnTo>
                    <a:pt x="696" y="594"/>
                  </a:lnTo>
                  <a:lnTo>
                    <a:pt x="690" y="600"/>
                  </a:lnTo>
                  <a:lnTo>
                    <a:pt x="690" y="606"/>
                  </a:lnTo>
                  <a:lnTo>
                    <a:pt x="678" y="606"/>
                  </a:lnTo>
                  <a:lnTo>
                    <a:pt x="678" y="624"/>
                  </a:lnTo>
                  <a:lnTo>
                    <a:pt x="684" y="642"/>
                  </a:lnTo>
                  <a:lnTo>
                    <a:pt x="684" y="660"/>
                  </a:lnTo>
                  <a:lnTo>
                    <a:pt x="690" y="672"/>
                  </a:lnTo>
                  <a:lnTo>
                    <a:pt x="702" y="720"/>
                  </a:lnTo>
                  <a:lnTo>
                    <a:pt x="708" y="750"/>
                  </a:lnTo>
                  <a:lnTo>
                    <a:pt x="708" y="792"/>
                  </a:lnTo>
                  <a:lnTo>
                    <a:pt x="708" y="828"/>
                  </a:lnTo>
                  <a:lnTo>
                    <a:pt x="708" y="852"/>
                  </a:lnTo>
                  <a:lnTo>
                    <a:pt x="696" y="894"/>
                  </a:lnTo>
                  <a:lnTo>
                    <a:pt x="702" y="900"/>
                  </a:lnTo>
                  <a:lnTo>
                    <a:pt x="708" y="924"/>
                  </a:lnTo>
                  <a:lnTo>
                    <a:pt x="684" y="936"/>
                  </a:lnTo>
                  <a:lnTo>
                    <a:pt x="660" y="954"/>
                  </a:lnTo>
                  <a:lnTo>
                    <a:pt x="618" y="984"/>
                  </a:lnTo>
                  <a:lnTo>
                    <a:pt x="618" y="990"/>
                  </a:lnTo>
                  <a:lnTo>
                    <a:pt x="612" y="996"/>
                  </a:lnTo>
                  <a:lnTo>
                    <a:pt x="606" y="1002"/>
                  </a:lnTo>
                  <a:lnTo>
                    <a:pt x="618" y="1008"/>
                  </a:lnTo>
                  <a:lnTo>
                    <a:pt x="618" y="1014"/>
                  </a:lnTo>
                  <a:lnTo>
                    <a:pt x="624" y="1026"/>
                  </a:lnTo>
                  <a:lnTo>
                    <a:pt x="630" y="1026"/>
                  </a:lnTo>
                  <a:lnTo>
                    <a:pt x="636" y="1032"/>
                  </a:lnTo>
                  <a:lnTo>
                    <a:pt x="642" y="1032"/>
                  </a:lnTo>
                  <a:lnTo>
                    <a:pt x="642" y="1038"/>
                  </a:lnTo>
                  <a:lnTo>
                    <a:pt x="648" y="1044"/>
                  </a:lnTo>
                  <a:lnTo>
                    <a:pt x="666" y="1050"/>
                  </a:lnTo>
                  <a:lnTo>
                    <a:pt x="678" y="1038"/>
                  </a:lnTo>
                  <a:lnTo>
                    <a:pt x="684" y="1038"/>
                  </a:lnTo>
                  <a:lnTo>
                    <a:pt x="684" y="1032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20"/>
                  </a:lnTo>
                  <a:lnTo>
                    <a:pt x="708" y="1014"/>
                  </a:lnTo>
                  <a:lnTo>
                    <a:pt x="720" y="1020"/>
                  </a:lnTo>
                  <a:lnTo>
                    <a:pt x="720" y="1014"/>
                  </a:lnTo>
                  <a:lnTo>
                    <a:pt x="726" y="1008"/>
                  </a:lnTo>
                  <a:lnTo>
                    <a:pt x="732" y="1008"/>
                  </a:lnTo>
                  <a:lnTo>
                    <a:pt x="738" y="1008"/>
                  </a:lnTo>
                  <a:lnTo>
                    <a:pt x="744" y="1002"/>
                  </a:lnTo>
                  <a:lnTo>
                    <a:pt x="744" y="996"/>
                  </a:lnTo>
                  <a:lnTo>
                    <a:pt x="750" y="996"/>
                  </a:lnTo>
                  <a:lnTo>
                    <a:pt x="756" y="1002"/>
                  </a:lnTo>
                  <a:lnTo>
                    <a:pt x="762" y="1002"/>
                  </a:lnTo>
                  <a:lnTo>
                    <a:pt x="768" y="996"/>
                  </a:lnTo>
                  <a:lnTo>
                    <a:pt x="780" y="996"/>
                  </a:lnTo>
                  <a:lnTo>
                    <a:pt x="786" y="996"/>
                  </a:lnTo>
                  <a:lnTo>
                    <a:pt x="816" y="990"/>
                  </a:lnTo>
                  <a:lnTo>
                    <a:pt x="828" y="990"/>
                  </a:lnTo>
                  <a:lnTo>
                    <a:pt x="834" y="990"/>
                  </a:lnTo>
                  <a:lnTo>
                    <a:pt x="840" y="984"/>
                  </a:lnTo>
                  <a:lnTo>
                    <a:pt x="852" y="978"/>
                  </a:lnTo>
                  <a:lnTo>
                    <a:pt x="852" y="972"/>
                  </a:lnTo>
                  <a:lnTo>
                    <a:pt x="858" y="972"/>
                  </a:lnTo>
                  <a:lnTo>
                    <a:pt x="864" y="966"/>
                  </a:lnTo>
                  <a:lnTo>
                    <a:pt x="870" y="966"/>
                  </a:lnTo>
                  <a:lnTo>
                    <a:pt x="876" y="966"/>
                  </a:lnTo>
                  <a:lnTo>
                    <a:pt x="882" y="960"/>
                  </a:lnTo>
                  <a:lnTo>
                    <a:pt x="888" y="960"/>
                  </a:lnTo>
                  <a:lnTo>
                    <a:pt x="894" y="960"/>
                  </a:lnTo>
                  <a:lnTo>
                    <a:pt x="894" y="966"/>
                  </a:lnTo>
                  <a:lnTo>
                    <a:pt x="894" y="978"/>
                  </a:lnTo>
                  <a:lnTo>
                    <a:pt x="894" y="984"/>
                  </a:lnTo>
                  <a:lnTo>
                    <a:pt x="900" y="984"/>
                  </a:lnTo>
                  <a:lnTo>
                    <a:pt x="906" y="978"/>
                  </a:lnTo>
                  <a:lnTo>
                    <a:pt x="912" y="972"/>
                  </a:lnTo>
                  <a:lnTo>
                    <a:pt x="918" y="978"/>
                  </a:lnTo>
                  <a:lnTo>
                    <a:pt x="924" y="978"/>
                  </a:lnTo>
                  <a:lnTo>
                    <a:pt x="924" y="972"/>
                  </a:lnTo>
                  <a:lnTo>
                    <a:pt x="924" y="966"/>
                  </a:lnTo>
                  <a:lnTo>
                    <a:pt x="930" y="966"/>
                  </a:lnTo>
                  <a:lnTo>
                    <a:pt x="948" y="966"/>
                  </a:lnTo>
                  <a:lnTo>
                    <a:pt x="954" y="966"/>
                  </a:lnTo>
                  <a:lnTo>
                    <a:pt x="954" y="960"/>
                  </a:lnTo>
                  <a:lnTo>
                    <a:pt x="960" y="960"/>
                  </a:lnTo>
                  <a:lnTo>
                    <a:pt x="966" y="960"/>
                  </a:lnTo>
                  <a:lnTo>
                    <a:pt x="966" y="966"/>
                  </a:lnTo>
                  <a:lnTo>
                    <a:pt x="978" y="972"/>
                  </a:lnTo>
                  <a:lnTo>
                    <a:pt x="978" y="978"/>
                  </a:lnTo>
                  <a:lnTo>
                    <a:pt x="978" y="984"/>
                  </a:lnTo>
                  <a:lnTo>
                    <a:pt x="984" y="978"/>
                  </a:lnTo>
                  <a:lnTo>
                    <a:pt x="990" y="978"/>
                  </a:lnTo>
                  <a:lnTo>
                    <a:pt x="996" y="984"/>
                  </a:lnTo>
                  <a:lnTo>
                    <a:pt x="1002" y="990"/>
                  </a:lnTo>
                  <a:lnTo>
                    <a:pt x="1008" y="972"/>
                  </a:lnTo>
                  <a:lnTo>
                    <a:pt x="1026" y="972"/>
                  </a:lnTo>
                  <a:lnTo>
                    <a:pt x="1032" y="972"/>
                  </a:lnTo>
                  <a:lnTo>
                    <a:pt x="1038" y="972"/>
                  </a:lnTo>
                  <a:lnTo>
                    <a:pt x="1050" y="972"/>
                  </a:lnTo>
                  <a:lnTo>
                    <a:pt x="1056" y="972"/>
                  </a:lnTo>
                  <a:lnTo>
                    <a:pt x="1062" y="966"/>
                  </a:lnTo>
                  <a:lnTo>
                    <a:pt x="1074" y="966"/>
                  </a:lnTo>
                  <a:lnTo>
                    <a:pt x="1074" y="960"/>
                  </a:lnTo>
                  <a:lnTo>
                    <a:pt x="1080" y="954"/>
                  </a:lnTo>
                  <a:lnTo>
                    <a:pt x="1080" y="948"/>
                  </a:lnTo>
                  <a:lnTo>
                    <a:pt x="1074" y="948"/>
                  </a:lnTo>
                  <a:lnTo>
                    <a:pt x="1068" y="948"/>
                  </a:lnTo>
                  <a:lnTo>
                    <a:pt x="1062" y="942"/>
                  </a:lnTo>
                  <a:lnTo>
                    <a:pt x="1068" y="936"/>
                  </a:lnTo>
                  <a:lnTo>
                    <a:pt x="1074" y="936"/>
                  </a:lnTo>
                  <a:lnTo>
                    <a:pt x="1080" y="936"/>
                  </a:lnTo>
                  <a:lnTo>
                    <a:pt x="1086" y="942"/>
                  </a:lnTo>
                  <a:lnTo>
                    <a:pt x="1092" y="942"/>
                  </a:lnTo>
                  <a:lnTo>
                    <a:pt x="1098" y="948"/>
                  </a:lnTo>
                  <a:lnTo>
                    <a:pt x="1104" y="954"/>
                  </a:lnTo>
                  <a:lnTo>
                    <a:pt x="1110" y="954"/>
                  </a:lnTo>
                  <a:lnTo>
                    <a:pt x="1116" y="948"/>
                  </a:lnTo>
                  <a:lnTo>
                    <a:pt x="1122" y="942"/>
                  </a:lnTo>
                  <a:lnTo>
                    <a:pt x="1128" y="942"/>
                  </a:lnTo>
                  <a:lnTo>
                    <a:pt x="1134" y="942"/>
                  </a:lnTo>
                  <a:lnTo>
                    <a:pt x="1140" y="948"/>
                  </a:lnTo>
                  <a:lnTo>
                    <a:pt x="1146" y="942"/>
                  </a:lnTo>
                  <a:lnTo>
                    <a:pt x="1152" y="942"/>
                  </a:lnTo>
                  <a:lnTo>
                    <a:pt x="1152" y="930"/>
                  </a:lnTo>
                  <a:lnTo>
                    <a:pt x="1164" y="936"/>
                  </a:lnTo>
                  <a:lnTo>
                    <a:pt x="1158" y="942"/>
                  </a:lnTo>
                  <a:lnTo>
                    <a:pt x="1158" y="948"/>
                  </a:lnTo>
                  <a:lnTo>
                    <a:pt x="1146" y="954"/>
                  </a:lnTo>
                  <a:lnTo>
                    <a:pt x="1152" y="954"/>
                  </a:lnTo>
                  <a:lnTo>
                    <a:pt x="1158" y="954"/>
                  </a:lnTo>
                  <a:lnTo>
                    <a:pt x="1158" y="948"/>
                  </a:lnTo>
                  <a:lnTo>
                    <a:pt x="1164" y="948"/>
                  </a:lnTo>
                  <a:lnTo>
                    <a:pt x="1170" y="948"/>
                  </a:lnTo>
                  <a:lnTo>
                    <a:pt x="1176" y="954"/>
                  </a:lnTo>
                  <a:lnTo>
                    <a:pt x="1176" y="966"/>
                  </a:lnTo>
                  <a:lnTo>
                    <a:pt x="1182" y="972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88" y="984"/>
                  </a:lnTo>
                  <a:lnTo>
                    <a:pt x="1194" y="984"/>
                  </a:lnTo>
                  <a:lnTo>
                    <a:pt x="1200" y="984"/>
                  </a:lnTo>
                  <a:lnTo>
                    <a:pt x="1212" y="984"/>
                  </a:lnTo>
                  <a:lnTo>
                    <a:pt x="1218" y="990"/>
                  </a:lnTo>
                  <a:lnTo>
                    <a:pt x="1224" y="990"/>
                  </a:lnTo>
                  <a:lnTo>
                    <a:pt x="1224" y="984"/>
                  </a:lnTo>
                  <a:lnTo>
                    <a:pt x="1230" y="990"/>
                  </a:lnTo>
                  <a:lnTo>
                    <a:pt x="1236" y="984"/>
                  </a:lnTo>
                  <a:lnTo>
                    <a:pt x="1242" y="984"/>
                  </a:lnTo>
                  <a:lnTo>
                    <a:pt x="1248" y="990"/>
                  </a:lnTo>
                  <a:lnTo>
                    <a:pt x="1254" y="990"/>
                  </a:lnTo>
                  <a:lnTo>
                    <a:pt x="1254" y="996"/>
                  </a:lnTo>
                  <a:lnTo>
                    <a:pt x="1254" y="1002"/>
                  </a:lnTo>
                  <a:lnTo>
                    <a:pt x="1254" y="1008"/>
                  </a:lnTo>
                  <a:lnTo>
                    <a:pt x="1260" y="1014"/>
                  </a:lnTo>
                  <a:lnTo>
                    <a:pt x="1266" y="1014"/>
                  </a:lnTo>
                  <a:lnTo>
                    <a:pt x="1272" y="1014"/>
                  </a:lnTo>
                  <a:lnTo>
                    <a:pt x="1278" y="1020"/>
                  </a:lnTo>
                  <a:lnTo>
                    <a:pt x="1284" y="1020"/>
                  </a:lnTo>
                  <a:lnTo>
                    <a:pt x="1290" y="1014"/>
                  </a:lnTo>
                  <a:lnTo>
                    <a:pt x="1290" y="1008"/>
                  </a:lnTo>
                  <a:lnTo>
                    <a:pt x="1296" y="1008"/>
                  </a:lnTo>
                  <a:lnTo>
                    <a:pt x="1302" y="1014"/>
                  </a:lnTo>
                  <a:lnTo>
                    <a:pt x="1308" y="1014"/>
                  </a:lnTo>
                  <a:lnTo>
                    <a:pt x="1314" y="1008"/>
                  </a:lnTo>
                  <a:lnTo>
                    <a:pt x="1320" y="1008"/>
                  </a:lnTo>
                  <a:lnTo>
                    <a:pt x="1320" y="1002"/>
                  </a:lnTo>
                  <a:lnTo>
                    <a:pt x="1320" y="996"/>
                  </a:lnTo>
                  <a:lnTo>
                    <a:pt x="1332" y="1002"/>
                  </a:lnTo>
                  <a:lnTo>
                    <a:pt x="1332" y="1008"/>
                  </a:lnTo>
                  <a:lnTo>
                    <a:pt x="1326" y="1014"/>
                  </a:lnTo>
                  <a:lnTo>
                    <a:pt x="1332" y="1014"/>
                  </a:lnTo>
                  <a:lnTo>
                    <a:pt x="1338" y="1014"/>
                  </a:lnTo>
                  <a:lnTo>
                    <a:pt x="1338" y="1008"/>
                  </a:lnTo>
                  <a:lnTo>
                    <a:pt x="1344" y="1008"/>
                  </a:lnTo>
                  <a:lnTo>
                    <a:pt x="1350" y="1008"/>
                  </a:lnTo>
                  <a:lnTo>
                    <a:pt x="1356" y="1014"/>
                  </a:lnTo>
                  <a:lnTo>
                    <a:pt x="1356" y="1008"/>
                  </a:lnTo>
                  <a:lnTo>
                    <a:pt x="1362" y="1014"/>
                  </a:lnTo>
                  <a:lnTo>
                    <a:pt x="1392" y="1014"/>
                  </a:lnTo>
                  <a:lnTo>
                    <a:pt x="1398" y="1014"/>
                  </a:lnTo>
                  <a:lnTo>
                    <a:pt x="1404" y="1008"/>
                  </a:lnTo>
                  <a:lnTo>
                    <a:pt x="1404" y="1014"/>
                  </a:lnTo>
                  <a:lnTo>
                    <a:pt x="1410" y="1008"/>
                  </a:lnTo>
                  <a:lnTo>
                    <a:pt x="1416" y="1008"/>
                  </a:lnTo>
                  <a:lnTo>
                    <a:pt x="1422" y="1002"/>
                  </a:lnTo>
                  <a:lnTo>
                    <a:pt x="1428" y="1002"/>
                  </a:lnTo>
                  <a:lnTo>
                    <a:pt x="1428" y="996"/>
                  </a:lnTo>
                  <a:lnTo>
                    <a:pt x="1428" y="990"/>
                  </a:lnTo>
                  <a:lnTo>
                    <a:pt x="1440" y="1002"/>
                  </a:lnTo>
                  <a:lnTo>
                    <a:pt x="1446" y="1002"/>
                  </a:lnTo>
                  <a:lnTo>
                    <a:pt x="1452" y="1002"/>
                  </a:lnTo>
                  <a:lnTo>
                    <a:pt x="1446" y="996"/>
                  </a:lnTo>
                  <a:lnTo>
                    <a:pt x="1452" y="996"/>
                  </a:lnTo>
                  <a:lnTo>
                    <a:pt x="1458" y="996"/>
                  </a:lnTo>
                  <a:lnTo>
                    <a:pt x="1464" y="996"/>
                  </a:lnTo>
                  <a:lnTo>
                    <a:pt x="1464" y="1002"/>
                  </a:lnTo>
                  <a:lnTo>
                    <a:pt x="1476" y="1014"/>
                  </a:lnTo>
                  <a:lnTo>
                    <a:pt x="1476" y="1008"/>
                  </a:lnTo>
                  <a:lnTo>
                    <a:pt x="1482" y="1008"/>
                  </a:lnTo>
                  <a:lnTo>
                    <a:pt x="1488" y="1020"/>
                  </a:lnTo>
                  <a:lnTo>
                    <a:pt x="1494" y="1020"/>
                  </a:lnTo>
                  <a:lnTo>
                    <a:pt x="1500" y="1014"/>
                  </a:lnTo>
                  <a:lnTo>
                    <a:pt x="1500" y="1020"/>
                  </a:lnTo>
                  <a:lnTo>
                    <a:pt x="1506" y="1026"/>
                  </a:lnTo>
                  <a:lnTo>
                    <a:pt x="1512" y="1032"/>
                  </a:lnTo>
                  <a:lnTo>
                    <a:pt x="1518" y="1032"/>
                  </a:lnTo>
                  <a:lnTo>
                    <a:pt x="1518" y="1038"/>
                  </a:lnTo>
                  <a:lnTo>
                    <a:pt x="1518" y="1044"/>
                  </a:lnTo>
                  <a:lnTo>
                    <a:pt x="1524" y="1044"/>
                  </a:lnTo>
                  <a:lnTo>
                    <a:pt x="1524" y="1050"/>
                  </a:lnTo>
                  <a:lnTo>
                    <a:pt x="1530" y="1056"/>
                  </a:lnTo>
                  <a:lnTo>
                    <a:pt x="1548" y="1062"/>
                  </a:lnTo>
                  <a:lnTo>
                    <a:pt x="1560" y="1074"/>
                  </a:lnTo>
                  <a:lnTo>
                    <a:pt x="1560" y="1080"/>
                  </a:lnTo>
                  <a:lnTo>
                    <a:pt x="1560" y="1086"/>
                  </a:lnTo>
                  <a:lnTo>
                    <a:pt x="1566" y="1086"/>
                  </a:lnTo>
                  <a:lnTo>
                    <a:pt x="1572" y="1098"/>
                  </a:lnTo>
                  <a:lnTo>
                    <a:pt x="1572" y="1104"/>
                  </a:lnTo>
                  <a:lnTo>
                    <a:pt x="1584" y="1110"/>
                  </a:lnTo>
                  <a:lnTo>
                    <a:pt x="1590" y="1116"/>
                  </a:lnTo>
                  <a:lnTo>
                    <a:pt x="1596" y="1116"/>
                  </a:lnTo>
                  <a:lnTo>
                    <a:pt x="1608" y="1122"/>
                  </a:lnTo>
                  <a:lnTo>
                    <a:pt x="1620" y="1140"/>
                  </a:lnTo>
                  <a:lnTo>
                    <a:pt x="1626" y="1158"/>
                  </a:lnTo>
                  <a:lnTo>
                    <a:pt x="1638" y="1200"/>
                  </a:lnTo>
                  <a:lnTo>
                    <a:pt x="1638" y="1218"/>
                  </a:lnTo>
                  <a:lnTo>
                    <a:pt x="1620" y="1230"/>
                  </a:lnTo>
                  <a:lnTo>
                    <a:pt x="1554" y="1230"/>
                  </a:lnTo>
                  <a:lnTo>
                    <a:pt x="1560" y="1248"/>
                  </a:lnTo>
                  <a:lnTo>
                    <a:pt x="1584" y="1260"/>
                  </a:lnTo>
                  <a:lnTo>
                    <a:pt x="1584" y="1266"/>
                  </a:lnTo>
                  <a:lnTo>
                    <a:pt x="1578" y="1272"/>
                  </a:lnTo>
                  <a:lnTo>
                    <a:pt x="1572" y="1272"/>
                  </a:lnTo>
                  <a:lnTo>
                    <a:pt x="1566" y="1278"/>
                  </a:lnTo>
                  <a:lnTo>
                    <a:pt x="1566" y="1284"/>
                  </a:lnTo>
                  <a:lnTo>
                    <a:pt x="1560" y="1290"/>
                  </a:lnTo>
                  <a:lnTo>
                    <a:pt x="1554" y="1290"/>
                  </a:lnTo>
                  <a:lnTo>
                    <a:pt x="1554" y="1296"/>
                  </a:lnTo>
                  <a:lnTo>
                    <a:pt x="1554" y="1302"/>
                  </a:lnTo>
                  <a:lnTo>
                    <a:pt x="1560" y="1332"/>
                  </a:lnTo>
                  <a:lnTo>
                    <a:pt x="1566" y="1356"/>
                  </a:lnTo>
                  <a:lnTo>
                    <a:pt x="1572" y="1356"/>
                  </a:lnTo>
                  <a:lnTo>
                    <a:pt x="1572" y="1362"/>
                  </a:lnTo>
                  <a:lnTo>
                    <a:pt x="1578" y="1362"/>
                  </a:lnTo>
                  <a:lnTo>
                    <a:pt x="1560" y="1374"/>
                  </a:lnTo>
                  <a:lnTo>
                    <a:pt x="1560" y="1380"/>
                  </a:lnTo>
                  <a:lnTo>
                    <a:pt x="1548" y="1380"/>
                  </a:lnTo>
                  <a:lnTo>
                    <a:pt x="1548" y="1386"/>
                  </a:lnTo>
                  <a:lnTo>
                    <a:pt x="1548" y="1392"/>
                  </a:lnTo>
                  <a:lnTo>
                    <a:pt x="1542" y="1410"/>
                  </a:lnTo>
                  <a:lnTo>
                    <a:pt x="1536" y="1422"/>
                  </a:lnTo>
                  <a:lnTo>
                    <a:pt x="1536" y="1428"/>
                  </a:lnTo>
                  <a:lnTo>
                    <a:pt x="1530" y="1440"/>
                  </a:lnTo>
                  <a:lnTo>
                    <a:pt x="1524" y="1434"/>
                  </a:lnTo>
                  <a:lnTo>
                    <a:pt x="1524" y="1428"/>
                  </a:lnTo>
                  <a:lnTo>
                    <a:pt x="1524" y="1422"/>
                  </a:lnTo>
                  <a:lnTo>
                    <a:pt x="1512" y="1410"/>
                  </a:lnTo>
                  <a:lnTo>
                    <a:pt x="1506" y="1404"/>
                  </a:lnTo>
                  <a:lnTo>
                    <a:pt x="1506" y="1398"/>
                  </a:lnTo>
                  <a:lnTo>
                    <a:pt x="1494" y="1392"/>
                  </a:lnTo>
                  <a:lnTo>
                    <a:pt x="1476" y="1404"/>
                  </a:lnTo>
                  <a:lnTo>
                    <a:pt x="1464" y="1416"/>
                  </a:lnTo>
                  <a:lnTo>
                    <a:pt x="1458" y="1428"/>
                  </a:lnTo>
                  <a:lnTo>
                    <a:pt x="1446" y="1434"/>
                  </a:lnTo>
                  <a:lnTo>
                    <a:pt x="1410" y="1440"/>
                  </a:lnTo>
                  <a:lnTo>
                    <a:pt x="1398" y="1440"/>
                  </a:lnTo>
                  <a:lnTo>
                    <a:pt x="1398" y="1446"/>
                  </a:lnTo>
                  <a:lnTo>
                    <a:pt x="1386" y="1446"/>
                  </a:lnTo>
                  <a:lnTo>
                    <a:pt x="1380" y="1440"/>
                  </a:lnTo>
                  <a:lnTo>
                    <a:pt x="1368" y="1440"/>
                  </a:lnTo>
                  <a:lnTo>
                    <a:pt x="1368" y="1446"/>
                  </a:lnTo>
                  <a:lnTo>
                    <a:pt x="1356" y="1446"/>
                  </a:lnTo>
                  <a:lnTo>
                    <a:pt x="1350" y="1452"/>
                  </a:lnTo>
                  <a:lnTo>
                    <a:pt x="1338" y="1452"/>
                  </a:lnTo>
                  <a:lnTo>
                    <a:pt x="1338" y="1458"/>
                  </a:lnTo>
                  <a:lnTo>
                    <a:pt x="1332" y="1458"/>
                  </a:lnTo>
                  <a:lnTo>
                    <a:pt x="1332" y="1464"/>
                  </a:lnTo>
                  <a:lnTo>
                    <a:pt x="1332" y="1470"/>
                  </a:lnTo>
                  <a:lnTo>
                    <a:pt x="1326" y="1470"/>
                  </a:lnTo>
                  <a:lnTo>
                    <a:pt x="1320" y="1470"/>
                  </a:lnTo>
                  <a:lnTo>
                    <a:pt x="1314" y="1470"/>
                  </a:lnTo>
                  <a:lnTo>
                    <a:pt x="1314" y="1464"/>
                  </a:lnTo>
                  <a:lnTo>
                    <a:pt x="1308" y="1464"/>
                  </a:lnTo>
                  <a:lnTo>
                    <a:pt x="1308" y="1452"/>
                  </a:lnTo>
                  <a:lnTo>
                    <a:pt x="1284" y="1458"/>
                  </a:lnTo>
                  <a:lnTo>
                    <a:pt x="1272" y="1458"/>
                  </a:lnTo>
                  <a:lnTo>
                    <a:pt x="1272" y="1464"/>
                  </a:lnTo>
                  <a:lnTo>
                    <a:pt x="1260" y="1464"/>
                  </a:lnTo>
                  <a:lnTo>
                    <a:pt x="1254" y="1464"/>
                  </a:lnTo>
                  <a:lnTo>
                    <a:pt x="1242" y="1422"/>
                  </a:lnTo>
                  <a:lnTo>
                    <a:pt x="1242" y="1416"/>
                  </a:lnTo>
                  <a:lnTo>
                    <a:pt x="1242" y="1410"/>
                  </a:lnTo>
                  <a:lnTo>
                    <a:pt x="1248" y="1410"/>
                  </a:lnTo>
                  <a:lnTo>
                    <a:pt x="1242" y="1410"/>
                  </a:lnTo>
                  <a:lnTo>
                    <a:pt x="1242" y="1404"/>
                  </a:lnTo>
                  <a:lnTo>
                    <a:pt x="1242" y="1398"/>
                  </a:lnTo>
                  <a:lnTo>
                    <a:pt x="1248" y="1392"/>
                  </a:lnTo>
                  <a:lnTo>
                    <a:pt x="1248" y="1386"/>
                  </a:lnTo>
                  <a:lnTo>
                    <a:pt x="1242" y="1380"/>
                  </a:lnTo>
                  <a:lnTo>
                    <a:pt x="1248" y="1380"/>
                  </a:lnTo>
                  <a:lnTo>
                    <a:pt x="1248" y="1374"/>
                  </a:lnTo>
                  <a:lnTo>
                    <a:pt x="1248" y="1368"/>
                  </a:lnTo>
                  <a:lnTo>
                    <a:pt x="1254" y="1368"/>
                  </a:lnTo>
                  <a:lnTo>
                    <a:pt x="1254" y="1362"/>
                  </a:lnTo>
                  <a:lnTo>
                    <a:pt x="1248" y="1356"/>
                  </a:lnTo>
                  <a:lnTo>
                    <a:pt x="1254" y="1356"/>
                  </a:lnTo>
                  <a:lnTo>
                    <a:pt x="1254" y="1344"/>
                  </a:lnTo>
                  <a:lnTo>
                    <a:pt x="1242" y="1338"/>
                  </a:lnTo>
                  <a:lnTo>
                    <a:pt x="1242" y="1326"/>
                  </a:lnTo>
                  <a:lnTo>
                    <a:pt x="1230" y="1326"/>
                  </a:lnTo>
                  <a:lnTo>
                    <a:pt x="1230" y="1314"/>
                  </a:lnTo>
                  <a:lnTo>
                    <a:pt x="1218" y="1314"/>
                  </a:lnTo>
                  <a:lnTo>
                    <a:pt x="1200" y="1272"/>
                  </a:lnTo>
                  <a:lnTo>
                    <a:pt x="1194" y="1242"/>
                  </a:lnTo>
                  <a:lnTo>
                    <a:pt x="1194" y="1206"/>
                  </a:lnTo>
                  <a:lnTo>
                    <a:pt x="1182" y="1200"/>
                  </a:lnTo>
                  <a:lnTo>
                    <a:pt x="1164" y="1206"/>
                  </a:lnTo>
                  <a:lnTo>
                    <a:pt x="1146" y="1212"/>
                  </a:lnTo>
                  <a:lnTo>
                    <a:pt x="1146" y="1218"/>
                  </a:lnTo>
                  <a:lnTo>
                    <a:pt x="1134" y="1224"/>
                  </a:lnTo>
                  <a:lnTo>
                    <a:pt x="1140" y="1260"/>
                  </a:lnTo>
                  <a:lnTo>
                    <a:pt x="1134" y="1266"/>
                  </a:lnTo>
                  <a:lnTo>
                    <a:pt x="1122" y="1266"/>
                  </a:lnTo>
                  <a:lnTo>
                    <a:pt x="1110" y="1236"/>
                  </a:lnTo>
                  <a:lnTo>
                    <a:pt x="1110" y="1224"/>
                  </a:lnTo>
                  <a:lnTo>
                    <a:pt x="1086" y="1224"/>
                  </a:lnTo>
                  <a:lnTo>
                    <a:pt x="1086" y="1212"/>
                  </a:lnTo>
                  <a:lnTo>
                    <a:pt x="1074" y="1212"/>
                  </a:lnTo>
                  <a:lnTo>
                    <a:pt x="1050" y="1212"/>
                  </a:lnTo>
                  <a:lnTo>
                    <a:pt x="1056" y="1218"/>
                  </a:lnTo>
                  <a:lnTo>
                    <a:pt x="1050" y="1272"/>
                  </a:lnTo>
                  <a:lnTo>
                    <a:pt x="1044" y="1272"/>
                  </a:lnTo>
                  <a:lnTo>
                    <a:pt x="1038" y="1284"/>
                  </a:lnTo>
                  <a:lnTo>
                    <a:pt x="1032" y="1302"/>
                  </a:lnTo>
                  <a:lnTo>
                    <a:pt x="1014" y="1302"/>
                  </a:lnTo>
                  <a:lnTo>
                    <a:pt x="1020" y="1284"/>
                  </a:lnTo>
                  <a:lnTo>
                    <a:pt x="1026" y="1278"/>
                  </a:lnTo>
                  <a:lnTo>
                    <a:pt x="1026" y="1266"/>
                  </a:lnTo>
                  <a:lnTo>
                    <a:pt x="1014" y="1260"/>
                  </a:lnTo>
                  <a:lnTo>
                    <a:pt x="1014" y="1272"/>
                  </a:lnTo>
                  <a:lnTo>
                    <a:pt x="990" y="1278"/>
                  </a:lnTo>
                  <a:lnTo>
                    <a:pt x="990" y="1254"/>
                  </a:lnTo>
                  <a:lnTo>
                    <a:pt x="984" y="1254"/>
                  </a:lnTo>
                  <a:lnTo>
                    <a:pt x="978" y="1242"/>
                  </a:lnTo>
                  <a:lnTo>
                    <a:pt x="972" y="1236"/>
                  </a:lnTo>
                  <a:lnTo>
                    <a:pt x="960" y="1206"/>
                  </a:lnTo>
                  <a:lnTo>
                    <a:pt x="942" y="1206"/>
                  </a:lnTo>
                  <a:lnTo>
                    <a:pt x="936" y="1200"/>
                  </a:lnTo>
                  <a:lnTo>
                    <a:pt x="906" y="1212"/>
                  </a:lnTo>
                  <a:lnTo>
                    <a:pt x="888" y="1230"/>
                  </a:lnTo>
                  <a:lnTo>
                    <a:pt x="876" y="1230"/>
                  </a:lnTo>
                  <a:lnTo>
                    <a:pt x="864" y="1236"/>
                  </a:lnTo>
                  <a:lnTo>
                    <a:pt x="858" y="1236"/>
                  </a:lnTo>
                  <a:lnTo>
                    <a:pt x="852" y="1254"/>
                  </a:lnTo>
                  <a:lnTo>
                    <a:pt x="858" y="1254"/>
                  </a:lnTo>
                  <a:lnTo>
                    <a:pt x="840" y="1266"/>
                  </a:lnTo>
                  <a:lnTo>
                    <a:pt x="828" y="1272"/>
                  </a:lnTo>
                  <a:lnTo>
                    <a:pt x="828" y="1284"/>
                  </a:lnTo>
                  <a:lnTo>
                    <a:pt x="822" y="1284"/>
                  </a:lnTo>
                  <a:lnTo>
                    <a:pt x="804" y="1296"/>
                  </a:lnTo>
                  <a:lnTo>
                    <a:pt x="804" y="1308"/>
                  </a:lnTo>
                  <a:lnTo>
                    <a:pt x="816" y="1320"/>
                  </a:lnTo>
                  <a:lnTo>
                    <a:pt x="828" y="1320"/>
                  </a:lnTo>
                  <a:lnTo>
                    <a:pt x="822" y="1338"/>
                  </a:lnTo>
                  <a:lnTo>
                    <a:pt x="852" y="1344"/>
                  </a:lnTo>
                  <a:lnTo>
                    <a:pt x="864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94" y="1356"/>
                  </a:lnTo>
                  <a:lnTo>
                    <a:pt x="912" y="1368"/>
                  </a:lnTo>
                  <a:lnTo>
                    <a:pt x="918" y="1380"/>
                  </a:lnTo>
                  <a:lnTo>
                    <a:pt x="936" y="1380"/>
                  </a:lnTo>
                  <a:lnTo>
                    <a:pt x="960" y="1386"/>
                  </a:lnTo>
                  <a:lnTo>
                    <a:pt x="990" y="1386"/>
                  </a:lnTo>
                  <a:lnTo>
                    <a:pt x="990" y="1392"/>
                  </a:lnTo>
                  <a:lnTo>
                    <a:pt x="1020" y="1398"/>
                  </a:lnTo>
                  <a:lnTo>
                    <a:pt x="1014" y="1404"/>
                  </a:lnTo>
                  <a:lnTo>
                    <a:pt x="1008" y="1404"/>
                  </a:lnTo>
                  <a:lnTo>
                    <a:pt x="1014" y="1440"/>
                  </a:lnTo>
                  <a:lnTo>
                    <a:pt x="1020" y="1458"/>
                  </a:lnTo>
                  <a:lnTo>
                    <a:pt x="1026" y="1476"/>
                  </a:lnTo>
                  <a:lnTo>
                    <a:pt x="1020" y="1476"/>
                  </a:lnTo>
                  <a:lnTo>
                    <a:pt x="1014" y="1476"/>
                  </a:lnTo>
                  <a:lnTo>
                    <a:pt x="1014" y="1482"/>
                  </a:lnTo>
                  <a:lnTo>
                    <a:pt x="1014" y="1488"/>
                  </a:lnTo>
                  <a:lnTo>
                    <a:pt x="1002" y="1488"/>
                  </a:lnTo>
                  <a:lnTo>
                    <a:pt x="1002" y="1494"/>
                  </a:lnTo>
                  <a:lnTo>
                    <a:pt x="996" y="1494"/>
                  </a:lnTo>
                  <a:lnTo>
                    <a:pt x="996" y="1518"/>
                  </a:lnTo>
                  <a:lnTo>
                    <a:pt x="1002" y="1524"/>
                  </a:lnTo>
                  <a:lnTo>
                    <a:pt x="1020" y="1530"/>
                  </a:lnTo>
                  <a:lnTo>
                    <a:pt x="1026" y="1542"/>
                  </a:lnTo>
                  <a:lnTo>
                    <a:pt x="1032" y="1566"/>
                  </a:lnTo>
                  <a:lnTo>
                    <a:pt x="1038" y="1578"/>
                  </a:lnTo>
                  <a:lnTo>
                    <a:pt x="1032" y="1584"/>
                  </a:lnTo>
                  <a:lnTo>
                    <a:pt x="1020" y="1584"/>
                  </a:lnTo>
                  <a:lnTo>
                    <a:pt x="1014" y="1584"/>
                  </a:lnTo>
                  <a:lnTo>
                    <a:pt x="1008" y="1596"/>
                  </a:lnTo>
                  <a:lnTo>
                    <a:pt x="990" y="1584"/>
                  </a:lnTo>
                  <a:lnTo>
                    <a:pt x="984" y="1602"/>
                  </a:lnTo>
                  <a:lnTo>
                    <a:pt x="978" y="1608"/>
                  </a:lnTo>
                  <a:lnTo>
                    <a:pt x="966" y="1608"/>
                  </a:lnTo>
                  <a:lnTo>
                    <a:pt x="960" y="1614"/>
                  </a:lnTo>
                  <a:lnTo>
                    <a:pt x="954" y="1614"/>
                  </a:lnTo>
                  <a:lnTo>
                    <a:pt x="942" y="1620"/>
                  </a:lnTo>
                  <a:lnTo>
                    <a:pt x="936" y="1620"/>
                  </a:lnTo>
                  <a:lnTo>
                    <a:pt x="930" y="1620"/>
                  </a:lnTo>
                  <a:lnTo>
                    <a:pt x="930" y="1626"/>
                  </a:lnTo>
                  <a:lnTo>
                    <a:pt x="930" y="1632"/>
                  </a:lnTo>
                  <a:lnTo>
                    <a:pt x="918" y="1632"/>
                  </a:lnTo>
                  <a:lnTo>
                    <a:pt x="912" y="1632"/>
                  </a:lnTo>
                  <a:lnTo>
                    <a:pt x="906" y="1632"/>
                  </a:lnTo>
                  <a:lnTo>
                    <a:pt x="900" y="1632"/>
                  </a:lnTo>
                  <a:lnTo>
                    <a:pt x="894" y="1626"/>
                  </a:lnTo>
                  <a:lnTo>
                    <a:pt x="894" y="1614"/>
                  </a:lnTo>
                  <a:lnTo>
                    <a:pt x="840" y="1614"/>
                  </a:lnTo>
                  <a:lnTo>
                    <a:pt x="840" y="1626"/>
                  </a:lnTo>
                  <a:lnTo>
                    <a:pt x="834" y="1626"/>
                  </a:lnTo>
                  <a:lnTo>
                    <a:pt x="828" y="1632"/>
                  </a:lnTo>
                  <a:lnTo>
                    <a:pt x="822" y="1638"/>
                  </a:lnTo>
                  <a:lnTo>
                    <a:pt x="822" y="1644"/>
                  </a:lnTo>
                  <a:lnTo>
                    <a:pt x="834" y="1650"/>
                  </a:lnTo>
                  <a:lnTo>
                    <a:pt x="840" y="1662"/>
                  </a:lnTo>
                  <a:lnTo>
                    <a:pt x="840" y="1668"/>
                  </a:lnTo>
                  <a:lnTo>
                    <a:pt x="858" y="1680"/>
                  </a:lnTo>
                  <a:lnTo>
                    <a:pt x="858" y="1752"/>
                  </a:lnTo>
                  <a:lnTo>
                    <a:pt x="864" y="1782"/>
                  </a:lnTo>
                  <a:lnTo>
                    <a:pt x="876" y="1788"/>
                  </a:lnTo>
                  <a:lnTo>
                    <a:pt x="870" y="1854"/>
                  </a:lnTo>
                  <a:lnTo>
                    <a:pt x="870" y="1884"/>
                  </a:lnTo>
                  <a:lnTo>
                    <a:pt x="864" y="1884"/>
                  </a:lnTo>
                  <a:lnTo>
                    <a:pt x="846" y="1896"/>
                  </a:lnTo>
                  <a:lnTo>
                    <a:pt x="840" y="1896"/>
                  </a:lnTo>
                  <a:lnTo>
                    <a:pt x="834" y="1896"/>
                  </a:lnTo>
                  <a:lnTo>
                    <a:pt x="828" y="1890"/>
                  </a:lnTo>
                  <a:lnTo>
                    <a:pt x="822" y="1890"/>
                  </a:lnTo>
                  <a:lnTo>
                    <a:pt x="816" y="1896"/>
                  </a:lnTo>
                  <a:lnTo>
                    <a:pt x="804" y="1896"/>
                  </a:lnTo>
                  <a:lnTo>
                    <a:pt x="804" y="1890"/>
                  </a:lnTo>
                  <a:lnTo>
                    <a:pt x="780" y="1896"/>
                  </a:lnTo>
                  <a:lnTo>
                    <a:pt x="780" y="1902"/>
                  </a:lnTo>
                  <a:lnTo>
                    <a:pt x="774" y="1914"/>
                  </a:lnTo>
                  <a:lnTo>
                    <a:pt x="762" y="1926"/>
                  </a:lnTo>
                  <a:lnTo>
                    <a:pt x="762" y="1950"/>
                  </a:lnTo>
                  <a:lnTo>
                    <a:pt x="762" y="1962"/>
                  </a:lnTo>
                  <a:lnTo>
                    <a:pt x="780" y="1974"/>
                  </a:lnTo>
                  <a:lnTo>
                    <a:pt x="780" y="1986"/>
                  </a:lnTo>
                  <a:lnTo>
                    <a:pt x="780" y="1998"/>
                  </a:lnTo>
                  <a:lnTo>
                    <a:pt x="756" y="1998"/>
                  </a:lnTo>
                  <a:lnTo>
                    <a:pt x="720" y="1992"/>
                  </a:lnTo>
                  <a:lnTo>
                    <a:pt x="666" y="1998"/>
                  </a:lnTo>
                  <a:lnTo>
                    <a:pt x="654" y="1998"/>
                  </a:lnTo>
                  <a:lnTo>
                    <a:pt x="660" y="1974"/>
                  </a:lnTo>
                  <a:lnTo>
                    <a:pt x="666" y="1962"/>
                  </a:lnTo>
                  <a:lnTo>
                    <a:pt x="678" y="1950"/>
                  </a:lnTo>
                  <a:lnTo>
                    <a:pt x="696" y="1932"/>
                  </a:lnTo>
                  <a:lnTo>
                    <a:pt x="696" y="1920"/>
                  </a:lnTo>
                  <a:lnTo>
                    <a:pt x="696" y="1896"/>
                  </a:lnTo>
                  <a:lnTo>
                    <a:pt x="678" y="1896"/>
                  </a:lnTo>
                  <a:lnTo>
                    <a:pt x="672" y="1884"/>
                  </a:lnTo>
                  <a:lnTo>
                    <a:pt x="672" y="1776"/>
                  </a:lnTo>
                  <a:lnTo>
                    <a:pt x="678" y="1758"/>
                  </a:lnTo>
                  <a:lnTo>
                    <a:pt x="678" y="1740"/>
                  </a:lnTo>
                  <a:lnTo>
                    <a:pt x="684" y="1728"/>
                  </a:lnTo>
                  <a:lnTo>
                    <a:pt x="690" y="1722"/>
                  </a:lnTo>
                  <a:lnTo>
                    <a:pt x="702" y="1722"/>
                  </a:lnTo>
                  <a:lnTo>
                    <a:pt x="708" y="1716"/>
                  </a:lnTo>
                  <a:lnTo>
                    <a:pt x="714" y="1710"/>
                  </a:lnTo>
                  <a:lnTo>
                    <a:pt x="720" y="1698"/>
                  </a:lnTo>
                  <a:lnTo>
                    <a:pt x="732" y="1692"/>
                  </a:lnTo>
                  <a:lnTo>
                    <a:pt x="744" y="1686"/>
                  </a:lnTo>
                  <a:lnTo>
                    <a:pt x="756" y="1680"/>
                  </a:lnTo>
                  <a:lnTo>
                    <a:pt x="768" y="1668"/>
                  </a:lnTo>
                  <a:lnTo>
                    <a:pt x="768" y="1650"/>
                  </a:lnTo>
                  <a:lnTo>
                    <a:pt x="774" y="1632"/>
                  </a:lnTo>
                  <a:lnTo>
                    <a:pt x="768" y="1620"/>
                  </a:lnTo>
                  <a:lnTo>
                    <a:pt x="774" y="1608"/>
                  </a:lnTo>
                  <a:lnTo>
                    <a:pt x="774" y="1578"/>
                  </a:lnTo>
                  <a:lnTo>
                    <a:pt x="774" y="1572"/>
                  </a:lnTo>
                  <a:lnTo>
                    <a:pt x="780" y="1560"/>
                  </a:lnTo>
                  <a:lnTo>
                    <a:pt x="780" y="1554"/>
                  </a:lnTo>
                  <a:lnTo>
                    <a:pt x="786" y="1542"/>
                  </a:lnTo>
                  <a:lnTo>
                    <a:pt x="792" y="1530"/>
                  </a:lnTo>
                  <a:lnTo>
                    <a:pt x="792" y="1518"/>
                  </a:lnTo>
                  <a:lnTo>
                    <a:pt x="792" y="1506"/>
                  </a:lnTo>
                  <a:lnTo>
                    <a:pt x="786" y="1500"/>
                  </a:lnTo>
                  <a:lnTo>
                    <a:pt x="774" y="1488"/>
                  </a:lnTo>
                  <a:lnTo>
                    <a:pt x="774" y="1482"/>
                  </a:lnTo>
                  <a:lnTo>
                    <a:pt x="762" y="1488"/>
                  </a:lnTo>
                  <a:lnTo>
                    <a:pt x="756" y="1494"/>
                  </a:lnTo>
                  <a:lnTo>
                    <a:pt x="744" y="1500"/>
                  </a:lnTo>
                  <a:lnTo>
                    <a:pt x="732" y="1506"/>
                  </a:lnTo>
                  <a:lnTo>
                    <a:pt x="726" y="1506"/>
                  </a:lnTo>
                  <a:lnTo>
                    <a:pt x="720" y="1506"/>
                  </a:lnTo>
                  <a:lnTo>
                    <a:pt x="702" y="1506"/>
                  </a:lnTo>
                  <a:lnTo>
                    <a:pt x="690" y="1500"/>
                  </a:lnTo>
                  <a:lnTo>
                    <a:pt x="678" y="1500"/>
                  </a:lnTo>
                  <a:lnTo>
                    <a:pt x="672" y="1500"/>
                  </a:lnTo>
                  <a:lnTo>
                    <a:pt x="660" y="1506"/>
                  </a:lnTo>
                  <a:lnTo>
                    <a:pt x="654" y="1506"/>
                  </a:lnTo>
                  <a:lnTo>
                    <a:pt x="648" y="1512"/>
                  </a:lnTo>
                  <a:lnTo>
                    <a:pt x="648" y="1518"/>
                  </a:lnTo>
                  <a:lnTo>
                    <a:pt x="618" y="1518"/>
                  </a:lnTo>
                  <a:lnTo>
                    <a:pt x="534" y="1494"/>
                  </a:lnTo>
                  <a:lnTo>
                    <a:pt x="528" y="1458"/>
                  </a:lnTo>
                  <a:lnTo>
                    <a:pt x="510" y="1458"/>
                  </a:lnTo>
                  <a:lnTo>
                    <a:pt x="492" y="1440"/>
                  </a:lnTo>
                  <a:lnTo>
                    <a:pt x="462" y="1440"/>
                  </a:lnTo>
                  <a:lnTo>
                    <a:pt x="456" y="1428"/>
                  </a:lnTo>
                  <a:lnTo>
                    <a:pt x="420" y="1428"/>
                  </a:lnTo>
                  <a:lnTo>
                    <a:pt x="390" y="1446"/>
                  </a:lnTo>
                  <a:lnTo>
                    <a:pt x="312" y="1452"/>
                  </a:lnTo>
                  <a:lnTo>
                    <a:pt x="300" y="1446"/>
                  </a:lnTo>
                  <a:lnTo>
                    <a:pt x="294" y="1446"/>
                  </a:lnTo>
                  <a:lnTo>
                    <a:pt x="288" y="1446"/>
                  </a:lnTo>
                  <a:lnTo>
                    <a:pt x="282" y="1440"/>
                  </a:lnTo>
                  <a:lnTo>
                    <a:pt x="276" y="1440"/>
                  </a:lnTo>
                  <a:lnTo>
                    <a:pt x="270" y="1440"/>
                  </a:lnTo>
                  <a:lnTo>
                    <a:pt x="264" y="1440"/>
                  </a:lnTo>
                  <a:lnTo>
                    <a:pt x="258" y="1434"/>
                  </a:lnTo>
                  <a:lnTo>
                    <a:pt x="252" y="1434"/>
                  </a:lnTo>
                  <a:lnTo>
                    <a:pt x="246" y="1428"/>
                  </a:lnTo>
                  <a:lnTo>
                    <a:pt x="240" y="1416"/>
                  </a:lnTo>
                  <a:lnTo>
                    <a:pt x="234" y="1404"/>
                  </a:lnTo>
                  <a:lnTo>
                    <a:pt x="228" y="1398"/>
                  </a:lnTo>
                  <a:lnTo>
                    <a:pt x="222" y="1398"/>
                  </a:lnTo>
                  <a:lnTo>
                    <a:pt x="216" y="1404"/>
                  </a:lnTo>
                  <a:lnTo>
                    <a:pt x="210" y="1404"/>
                  </a:lnTo>
                  <a:lnTo>
                    <a:pt x="204" y="1404"/>
                  </a:lnTo>
                  <a:lnTo>
                    <a:pt x="204" y="1398"/>
                  </a:lnTo>
                  <a:lnTo>
                    <a:pt x="198" y="1392"/>
                  </a:lnTo>
                  <a:lnTo>
                    <a:pt x="192" y="1386"/>
                  </a:lnTo>
                  <a:lnTo>
                    <a:pt x="168" y="1374"/>
                  </a:lnTo>
                  <a:lnTo>
                    <a:pt x="144" y="138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0" name="Freeform 35">
              <a:extLst>
                <a:ext uri="{FF2B5EF4-FFF2-40B4-BE49-F238E27FC236}">
                  <a16:creationId xmlns:a16="http://schemas.microsoft.com/office/drawing/2014/main" id="{F64BF16E-9D62-438E-A1CC-CD4088AC7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2895" y="1706004"/>
              <a:ext cx="767013" cy="785011"/>
            </a:xfrm>
            <a:custGeom>
              <a:avLst/>
              <a:gdLst>
                <a:gd name="T0" fmla="*/ 102 w 1440"/>
                <a:gd name="T1" fmla="*/ 104 h 1476"/>
                <a:gd name="T2" fmla="*/ 99 w 1440"/>
                <a:gd name="T3" fmla="*/ 108 h 1476"/>
                <a:gd name="T4" fmla="*/ 98 w 1440"/>
                <a:gd name="T5" fmla="*/ 112 h 1476"/>
                <a:gd name="T6" fmla="*/ 96 w 1440"/>
                <a:gd name="T7" fmla="*/ 116 h 1476"/>
                <a:gd name="T8" fmla="*/ 91 w 1440"/>
                <a:gd name="T9" fmla="*/ 118 h 1476"/>
                <a:gd name="T10" fmla="*/ 87 w 1440"/>
                <a:gd name="T11" fmla="*/ 120 h 1476"/>
                <a:gd name="T12" fmla="*/ 75 w 1440"/>
                <a:gd name="T13" fmla="*/ 120 h 1476"/>
                <a:gd name="T14" fmla="*/ 72 w 1440"/>
                <a:gd name="T15" fmla="*/ 123 h 1476"/>
                <a:gd name="T16" fmla="*/ 69 w 1440"/>
                <a:gd name="T17" fmla="*/ 128 h 1476"/>
                <a:gd name="T18" fmla="*/ 67 w 1440"/>
                <a:gd name="T19" fmla="*/ 127 h 1476"/>
                <a:gd name="T20" fmla="*/ 66 w 1440"/>
                <a:gd name="T21" fmla="*/ 123 h 1476"/>
                <a:gd name="T22" fmla="*/ 63 w 1440"/>
                <a:gd name="T23" fmla="*/ 119 h 1476"/>
                <a:gd name="T24" fmla="*/ 54 w 1440"/>
                <a:gd name="T25" fmla="*/ 114 h 1476"/>
                <a:gd name="T26" fmla="*/ 55 w 1440"/>
                <a:gd name="T27" fmla="*/ 106 h 1476"/>
                <a:gd name="T28" fmla="*/ 60 w 1440"/>
                <a:gd name="T29" fmla="*/ 100 h 1476"/>
                <a:gd name="T30" fmla="*/ 55 w 1440"/>
                <a:gd name="T31" fmla="*/ 91 h 1476"/>
                <a:gd name="T32" fmla="*/ 51 w 1440"/>
                <a:gd name="T33" fmla="*/ 86 h 1476"/>
                <a:gd name="T34" fmla="*/ 47 w 1440"/>
                <a:gd name="T35" fmla="*/ 85 h 1476"/>
                <a:gd name="T36" fmla="*/ 44 w 1440"/>
                <a:gd name="T37" fmla="*/ 82 h 1476"/>
                <a:gd name="T38" fmla="*/ 41 w 1440"/>
                <a:gd name="T39" fmla="*/ 83 h 1476"/>
                <a:gd name="T40" fmla="*/ 36 w 1440"/>
                <a:gd name="T41" fmla="*/ 83 h 1476"/>
                <a:gd name="T42" fmla="*/ 33 w 1440"/>
                <a:gd name="T43" fmla="*/ 83 h 1476"/>
                <a:gd name="T44" fmla="*/ 30 w 1440"/>
                <a:gd name="T45" fmla="*/ 83 h 1476"/>
                <a:gd name="T46" fmla="*/ 27 w 1440"/>
                <a:gd name="T47" fmla="*/ 83 h 1476"/>
                <a:gd name="T48" fmla="*/ 24 w 1440"/>
                <a:gd name="T49" fmla="*/ 82 h 1476"/>
                <a:gd name="T50" fmla="*/ 21 w 1440"/>
                <a:gd name="T51" fmla="*/ 80 h 1476"/>
                <a:gd name="T52" fmla="*/ 18 w 1440"/>
                <a:gd name="T53" fmla="*/ 79 h 1476"/>
                <a:gd name="T54" fmla="*/ 17 w 1440"/>
                <a:gd name="T55" fmla="*/ 78 h 1476"/>
                <a:gd name="T56" fmla="*/ 12 w 1440"/>
                <a:gd name="T57" fmla="*/ 78 h 1476"/>
                <a:gd name="T58" fmla="*/ 12 w 1440"/>
                <a:gd name="T59" fmla="*/ 78 h 1476"/>
                <a:gd name="T60" fmla="*/ 7 w 1440"/>
                <a:gd name="T61" fmla="*/ 80 h 1476"/>
                <a:gd name="T62" fmla="*/ 3 w 1440"/>
                <a:gd name="T63" fmla="*/ 81 h 1476"/>
                <a:gd name="T64" fmla="*/ 0 w 1440"/>
                <a:gd name="T65" fmla="*/ 76 h 1476"/>
                <a:gd name="T66" fmla="*/ 1 w 1440"/>
                <a:gd name="T67" fmla="*/ 50 h 1476"/>
                <a:gd name="T68" fmla="*/ 8 w 1440"/>
                <a:gd name="T69" fmla="*/ 48 h 1476"/>
                <a:gd name="T70" fmla="*/ 20 w 1440"/>
                <a:gd name="T71" fmla="*/ 49 h 1476"/>
                <a:gd name="T72" fmla="*/ 26 w 1440"/>
                <a:gd name="T73" fmla="*/ 50 h 1476"/>
                <a:gd name="T74" fmla="*/ 44 w 1440"/>
                <a:gd name="T75" fmla="*/ 47 h 1476"/>
                <a:gd name="T76" fmla="*/ 41 w 1440"/>
                <a:gd name="T77" fmla="*/ 24 h 1476"/>
                <a:gd name="T78" fmla="*/ 44 w 1440"/>
                <a:gd name="T79" fmla="*/ 20 h 1476"/>
                <a:gd name="T80" fmla="*/ 47 w 1440"/>
                <a:gd name="T81" fmla="*/ 18 h 1476"/>
                <a:gd name="T82" fmla="*/ 54 w 1440"/>
                <a:gd name="T83" fmla="*/ 21 h 1476"/>
                <a:gd name="T84" fmla="*/ 61 w 1440"/>
                <a:gd name="T85" fmla="*/ 23 h 1476"/>
                <a:gd name="T86" fmla="*/ 59 w 1440"/>
                <a:gd name="T87" fmla="*/ 14 h 1476"/>
                <a:gd name="T88" fmla="*/ 61 w 1440"/>
                <a:gd name="T89" fmla="*/ 8 h 1476"/>
                <a:gd name="T90" fmla="*/ 71 w 1440"/>
                <a:gd name="T91" fmla="*/ 7 h 1476"/>
                <a:gd name="T92" fmla="*/ 75 w 1440"/>
                <a:gd name="T93" fmla="*/ 0 h 1476"/>
                <a:gd name="T94" fmla="*/ 82 w 1440"/>
                <a:gd name="T95" fmla="*/ 3 h 1476"/>
                <a:gd name="T96" fmla="*/ 93 w 1440"/>
                <a:gd name="T97" fmla="*/ 5 h 1476"/>
                <a:gd name="T98" fmla="*/ 100 w 1440"/>
                <a:gd name="T99" fmla="*/ 1 h 1476"/>
                <a:gd name="T100" fmla="*/ 104 w 1440"/>
                <a:gd name="T101" fmla="*/ 4 h 1476"/>
                <a:gd name="T102" fmla="*/ 110 w 1440"/>
                <a:gd name="T103" fmla="*/ 10 h 1476"/>
                <a:gd name="T104" fmla="*/ 115 w 1440"/>
                <a:gd name="T105" fmla="*/ 23 h 1476"/>
                <a:gd name="T106" fmla="*/ 117 w 1440"/>
                <a:gd name="T107" fmla="*/ 42 h 1476"/>
                <a:gd name="T108" fmla="*/ 121 w 1440"/>
                <a:gd name="T109" fmla="*/ 52 h 1476"/>
                <a:gd name="T110" fmla="*/ 118 w 1440"/>
                <a:gd name="T111" fmla="*/ 62 h 1476"/>
                <a:gd name="T112" fmla="*/ 124 w 1440"/>
                <a:gd name="T113" fmla="*/ 66 h 1476"/>
                <a:gd name="T114" fmla="*/ 121 w 1440"/>
                <a:gd name="T115" fmla="*/ 71 h 1476"/>
                <a:gd name="T116" fmla="*/ 115 w 1440"/>
                <a:gd name="T117" fmla="*/ 76 h 1476"/>
                <a:gd name="T118" fmla="*/ 109 w 1440"/>
                <a:gd name="T119" fmla="*/ 76 h 1476"/>
                <a:gd name="T120" fmla="*/ 105 w 1440"/>
                <a:gd name="T121" fmla="*/ 86 h 1476"/>
                <a:gd name="T122" fmla="*/ 107 w 1440"/>
                <a:gd name="T123" fmla="*/ 97 h 147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40"/>
                <a:gd name="T187" fmla="*/ 0 h 1476"/>
                <a:gd name="T188" fmla="*/ 1440 w 1440"/>
                <a:gd name="T189" fmla="*/ 1476 h 147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40" h="1476">
                  <a:moveTo>
                    <a:pt x="1212" y="1164"/>
                  </a:moveTo>
                  <a:lnTo>
                    <a:pt x="1206" y="1170"/>
                  </a:lnTo>
                  <a:lnTo>
                    <a:pt x="1200" y="1176"/>
                  </a:lnTo>
                  <a:lnTo>
                    <a:pt x="1194" y="1176"/>
                  </a:lnTo>
                  <a:lnTo>
                    <a:pt x="1188" y="1188"/>
                  </a:lnTo>
                  <a:lnTo>
                    <a:pt x="1182" y="1194"/>
                  </a:lnTo>
                  <a:lnTo>
                    <a:pt x="1176" y="1194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64" y="1206"/>
                  </a:lnTo>
                  <a:lnTo>
                    <a:pt x="1158" y="1206"/>
                  </a:lnTo>
                  <a:lnTo>
                    <a:pt x="1152" y="1212"/>
                  </a:lnTo>
                  <a:lnTo>
                    <a:pt x="1146" y="1212"/>
                  </a:lnTo>
                  <a:lnTo>
                    <a:pt x="1140" y="1224"/>
                  </a:lnTo>
                  <a:lnTo>
                    <a:pt x="1134" y="1230"/>
                  </a:lnTo>
                  <a:lnTo>
                    <a:pt x="1128" y="1236"/>
                  </a:lnTo>
                  <a:lnTo>
                    <a:pt x="1128" y="1242"/>
                  </a:lnTo>
                  <a:lnTo>
                    <a:pt x="1128" y="1254"/>
                  </a:lnTo>
                  <a:lnTo>
                    <a:pt x="1128" y="1260"/>
                  </a:lnTo>
                  <a:lnTo>
                    <a:pt x="1122" y="1260"/>
                  </a:lnTo>
                  <a:lnTo>
                    <a:pt x="1122" y="1266"/>
                  </a:lnTo>
                  <a:lnTo>
                    <a:pt x="1128" y="1278"/>
                  </a:lnTo>
                  <a:lnTo>
                    <a:pt x="1122" y="1278"/>
                  </a:lnTo>
                  <a:lnTo>
                    <a:pt x="1122" y="1284"/>
                  </a:lnTo>
                  <a:lnTo>
                    <a:pt x="1128" y="1290"/>
                  </a:lnTo>
                  <a:lnTo>
                    <a:pt x="1122" y="1296"/>
                  </a:lnTo>
                  <a:lnTo>
                    <a:pt x="1122" y="1302"/>
                  </a:lnTo>
                  <a:lnTo>
                    <a:pt x="1116" y="1302"/>
                  </a:lnTo>
                  <a:lnTo>
                    <a:pt x="1110" y="1314"/>
                  </a:lnTo>
                  <a:lnTo>
                    <a:pt x="1110" y="1320"/>
                  </a:lnTo>
                  <a:lnTo>
                    <a:pt x="1110" y="1326"/>
                  </a:lnTo>
                  <a:lnTo>
                    <a:pt x="1098" y="1332"/>
                  </a:lnTo>
                  <a:lnTo>
                    <a:pt x="1092" y="1338"/>
                  </a:lnTo>
                  <a:lnTo>
                    <a:pt x="1092" y="1344"/>
                  </a:lnTo>
                  <a:lnTo>
                    <a:pt x="1086" y="1350"/>
                  </a:lnTo>
                  <a:lnTo>
                    <a:pt x="1080" y="1350"/>
                  </a:lnTo>
                  <a:lnTo>
                    <a:pt x="1074" y="1350"/>
                  </a:lnTo>
                  <a:lnTo>
                    <a:pt x="1068" y="1356"/>
                  </a:lnTo>
                  <a:lnTo>
                    <a:pt x="1062" y="1356"/>
                  </a:lnTo>
                  <a:lnTo>
                    <a:pt x="1044" y="1356"/>
                  </a:lnTo>
                  <a:lnTo>
                    <a:pt x="1038" y="1362"/>
                  </a:lnTo>
                  <a:lnTo>
                    <a:pt x="1032" y="1368"/>
                  </a:lnTo>
                  <a:lnTo>
                    <a:pt x="1026" y="1368"/>
                  </a:lnTo>
                  <a:lnTo>
                    <a:pt x="1020" y="1374"/>
                  </a:lnTo>
                  <a:lnTo>
                    <a:pt x="1008" y="1374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74"/>
                  </a:lnTo>
                  <a:lnTo>
                    <a:pt x="978" y="1380"/>
                  </a:lnTo>
                  <a:lnTo>
                    <a:pt x="972" y="1380"/>
                  </a:lnTo>
                  <a:lnTo>
                    <a:pt x="954" y="1368"/>
                  </a:lnTo>
                  <a:lnTo>
                    <a:pt x="930" y="1368"/>
                  </a:lnTo>
                  <a:lnTo>
                    <a:pt x="918" y="1368"/>
                  </a:lnTo>
                  <a:lnTo>
                    <a:pt x="906" y="1368"/>
                  </a:lnTo>
                  <a:lnTo>
                    <a:pt x="894" y="1368"/>
                  </a:lnTo>
                  <a:lnTo>
                    <a:pt x="864" y="1374"/>
                  </a:lnTo>
                  <a:lnTo>
                    <a:pt x="852" y="1374"/>
                  </a:lnTo>
                  <a:lnTo>
                    <a:pt x="846" y="1386"/>
                  </a:lnTo>
                  <a:lnTo>
                    <a:pt x="846" y="1392"/>
                  </a:lnTo>
                  <a:lnTo>
                    <a:pt x="840" y="1398"/>
                  </a:lnTo>
                  <a:lnTo>
                    <a:pt x="840" y="1404"/>
                  </a:lnTo>
                  <a:lnTo>
                    <a:pt x="834" y="1416"/>
                  </a:lnTo>
                  <a:lnTo>
                    <a:pt x="828" y="1416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04" y="1428"/>
                  </a:lnTo>
                  <a:lnTo>
                    <a:pt x="804" y="1434"/>
                  </a:lnTo>
                  <a:lnTo>
                    <a:pt x="804" y="1440"/>
                  </a:lnTo>
                  <a:lnTo>
                    <a:pt x="798" y="1446"/>
                  </a:lnTo>
                  <a:lnTo>
                    <a:pt x="798" y="1458"/>
                  </a:lnTo>
                  <a:lnTo>
                    <a:pt x="792" y="1464"/>
                  </a:lnTo>
                  <a:lnTo>
                    <a:pt x="786" y="1476"/>
                  </a:lnTo>
                  <a:lnTo>
                    <a:pt x="780" y="1470"/>
                  </a:lnTo>
                  <a:lnTo>
                    <a:pt x="774" y="1470"/>
                  </a:lnTo>
                  <a:lnTo>
                    <a:pt x="768" y="1470"/>
                  </a:lnTo>
                  <a:lnTo>
                    <a:pt x="762" y="1476"/>
                  </a:lnTo>
                  <a:lnTo>
                    <a:pt x="762" y="1470"/>
                  </a:lnTo>
                  <a:lnTo>
                    <a:pt x="762" y="1464"/>
                  </a:lnTo>
                  <a:lnTo>
                    <a:pt x="762" y="1458"/>
                  </a:lnTo>
                  <a:lnTo>
                    <a:pt x="756" y="1458"/>
                  </a:lnTo>
                  <a:lnTo>
                    <a:pt x="756" y="1452"/>
                  </a:lnTo>
                  <a:lnTo>
                    <a:pt x="756" y="1446"/>
                  </a:lnTo>
                  <a:lnTo>
                    <a:pt x="756" y="1440"/>
                  </a:lnTo>
                  <a:lnTo>
                    <a:pt x="750" y="1434"/>
                  </a:lnTo>
                  <a:lnTo>
                    <a:pt x="750" y="1428"/>
                  </a:lnTo>
                  <a:lnTo>
                    <a:pt x="750" y="1422"/>
                  </a:lnTo>
                  <a:lnTo>
                    <a:pt x="750" y="1416"/>
                  </a:lnTo>
                  <a:lnTo>
                    <a:pt x="744" y="1416"/>
                  </a:lnTo>
                  <a:lnTo>
                    <a:pt x="744" y="1410"/>
                  </a:lnTo>
                  <a:lnTo>
                    <a:pt x="738" y="1404"/>
                  </a:lnTo>
                  <a:lnTo>
                    <a:pt x="732" y="1398"/>
                  </a:lnTo>
                  <a:lnTo>
                    <a:pt x="732" y="1392"/>
                  </a:lnTo>
                  <a:lnTo>
                    <a:pt x="726" y="1386"/>
                  </a:lnTo>
                  <a:lnTo>
                    <a:pt x="726" y="1380"/>
                  </a:lnTo>
                  <a:lnTo>
                    <a:pt x="714" y="1368"/>
                  </a:lnTo>
                  <a:lnTo>
                    <a:pt x="708" y="1368"/>
                  </a:lnTo>
                  <a:lnTo>
                    <a:pt x="684" y="1332"/>
                  </a:lnTo>
                  <a:lnTo>
                    <a:pt x="666" y="1320"/>
                  </a:lnTo>
                  <a:lnTo>
                    <a:pt x="648" y="1302"/>
                  </a:lnTo>
                  <a:lnTo>
                    <a:pt x="630" y="1314"/>
                  </a:lnTo>
                  <a:lnTo>
                    <a:pt x="624" y="1314"/>
                  </a:lnTo>
                  <a:lnTo>
                    <a:pt x="624" y="1308"/>
                  </a:lnTo>
                  <a:lnTo>
                    <a:pt x="618" y="1308"/>
                  </a:lnTo>
                  <a:lnTo>
                    <a:pt x="612" y="1284"/>
                  </a:lnTo>
                  <a:lnTo>
                    <a:pt x="606" y="1254"/>
                  </a:lnTo>
                  <a:lnTo>
                    <a:pt x="606" y="1248"/>
                  </a:lnTo>
                  <a:lnTo>
                    <a:pt x="606" y="1242"/>
                  </a:lnTo>
                  <a:lnTo>
                    <a:pt x="612" y="1242"/>
                  </a:lnTo>
                  <a:lnTo>
                    <a:pt x="618" y="1236"/>
                  </a:lnTo>
                  <a:lnTo>
                    <a:pt x="618" y="1230"/>
                  </a:lnTo>
                  <a:lnTo>
                    <a:pt x="624" y="1224"/>
                  </a:lnTo>
                  <a:lnTo>
                    <a:pt x="630" y="1224"/>
                  </a:lnTo>
                  <a:lnTo>
                    <a:pt x="636" y="1218"/>
                  </a:lnTo>
                  <a:lnTo>
                    <a:pt x="636" y="1212"/>
                  </a:lnTo>
                  <a:lnTo>
                    <a:pt x="612" y="1200"/>
                  </a:lnTo>
                  <a:lnTo>
                    <a:pt x="606" y="1182"/>
                  </a:lnTo>
                  <a:lnTo>
                    <a:pt x="672" y="1182"/>
                  </a:lnTo>
                  <a:lnTo>
                    <a:pt x="690" y="1170"/>
                  </a:lnTo>
                  <a:lnTo>
                    <a:pt x="690" y="1152"/>
                  </a:lnTo>
                  <a:lnTo>
                    <a:pt x="678" y="1110"/>
                  </a:lnTo>
                  <a:lnTo>
                    <a:pt x="672" y="1092"/>
                  </a:lnTo>
                  <a:lnTo>
                    <a:pt x="660" y="1074"/>
                  </a:lnTo>
                  <a:lnTo>
                    <a:pt x="648" y="1068"/>
                  </a:lnTo>
                  <a:lnTo>
                    <a:pt x="642" y="1068"/>
                  </a:lnTo>
                  <a:lnTo>
                    <a:pt x="636" y="1062"/>
                  </a:lnTo>
                  <a:lnTo>
                    <a:pt x="624" y="1056"/>
                  </a:lnTo>
                  <a:lnTo>
                    <a:pt x="624" y="1050"/>
                  </a:lnTo>
                  <a:lnTo>
                    <a:pt x="618" y="1038"/>
                  </a:lnTo>
                  <a:lnTo>
                    <a:pt x="612" y="1038"/>
                  </a:lnTo>
                  <a:lnTo>
                    <a:pt x="612" y="1032"/>
                  </a:lnTo>
                  <a:lnTo>
                    <a:pt x="612" y="1026"/>
                  </a:lnTo>
                  <a:lnTo>
                    <a:pt x="600" y="1014"/>
                  </a:lnTo>
                  <a:lnTo>
                    <a:pt x="582" y="1008"/>
                  </a:lnTo>
                  <a:lnTo>
                    <a:pt x="576" y="1002"/>
                  </a:lnTo>
                  <a:lnTo>
                    <a:pt x="576" y="996"/>
                  </a:lnTo>
                  <a:lnTo>
                    <a:pt x="570" y="996"/>
                  </a:lnTo>
                  <a:lnTo>
                    <a:pt x="570" y="990"/>
                  </a:lnTo>
                  <a:lnTo>
                    <a:pt x="570" y="984"/>
                  </a:lnTo>
                  <a:lnTo>
                    <a:pt x="564" y="984"/>
                  </a:lnTo>
                  <a:lnTo>
                    <a:pt x="558" y="978"/>
                  </a:lnTo>
                  <a:lnTo>
                    <a:pt x="552" y="972"/>
                  </a:lnTo>
                  <a:lnTo>
                    <a:pt x="552" y="966"/>
                  </a:lnTo>
                  <a:lnTo>
                    <a:pt x="546" y="972"/>
                  </a:lnTo>
                  <a:lnTo>
                    <a:pt x="540" y="972"/>
                  </a:lnTo>
                  <a:lnTo>
                    <a:pt x="534" y="960"/>
                  </a:lnTo>
                  <a:lnTo>
                    <a:pt x="528" y="960"/>
                  </a:lnTo>
                  <a:lnTo>
                    <a:pt x="528" y="966"/>
                  </a:lnTo>
                  <a:lnTo>
                    <a:pt x="516" y="954"/>
                  </a:lnTo>
                  <a:lnTo>
                    <a:pt x="516" y="948"/>
                  </a:lnTo>
                  <a:lnTo>
                    <a:pt x="510" y="948"/>
                  </a:lnTo>
                  <a:lnTo>
                    <a:pt x="504" y="948"/>
                  </a:lnTo>
                  <a:lnTo>
                    <a:pt x="498" y="948"/>
                  </a:lnTo>
                  <a:lnTo>
                    <a:pt x="504" y="954"/>
                  </a:lnTo>
                  <a:lnTo>
                    <a:pt x="498" y="954"/>
                  </a:lnTo>
                  <a:lnTo>
                    <a:pt x="492" y="954"/>
                  </a:lnTo>
                  <a:lnTo>
                    <a:pt x="480" y="942"/>
                  </a:lnTo>
                  <a:lnTo>
                    <a:pt x="480" y="948"/>
                  </a:lnTo>
                  <a:lnTo>
                    <a:pt x="480" y="954"/>
                  </a:lnTo>
                  <a:lnTo>
                    <a:pt x="474" y="954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56" y="966"/>
                  </a:lnTo>
                  <a:lnTo>
                    <a:pt x="456" y="960"/>
                  </a:lnTo>
                  <a:lnTo>
                    <a:pt x="450" y="966"/>
                  </a:lnTo>
                  <a:lnTo>
                    <a:pt x="444" y="966"/>
                  </a:lnTo>
                  <a:lnTo>
                    <a:pt x="414" y="966"/>
                  </a:lnTo>
                  <a:lnTo>
                    <a:pt x="408" y="960"/>
                  </a:lnTo>
                  <a:lnTo>
                    <a:pt x="408" y="966"/>
                  </a:lnTo>
                  <a:lnTo>
                    <a:pt x="402" y="960"/>
                  </a:lnTo>
                  <a:lnTo>
                    <a:pt x="396" y="960"/>
                  </a:lnTo>
                  <a:lnTo>
                    <a:pt x="390" y="960"/>
                  </a:lnTo>
                  <a:lnTo>
                    <a:pt x="390" y="966"/>
                  </a:lnTo>
                  <a:lnTo>
                    <a:pt x="384" y="966"/>
                  </a:lnTo>
                  <a:lnTo>
                    <a:pt x="378" y="966"/>
                  </a:lnTo>
                  <a:lnTo>
                    <a:pt x="384" y="960"/>
                  </a:lnTo>
                  <a:lnTo>
                    <a:pt x="384" y="954"/>
                  </a:lnTo>
                  <a:lnTo>
                    <a:pt x="372" y="948"/>
                  </a:lnTo>
                  <a:lnTo>
                    <a:pt x="372" y="954"/>
                  </a:lnTo>
                  <a:lnTo>
                    <a:pt x="372" y="960"/>
                  </a:lnTo>
                  <a:lnTo>
                    <a:pt x="366" y="960"/>
                  </a:lnTo>
                  <a:lnTo>
                    <a:pt x="360" y="966"/>
                  </a:lnTo>
                  <a:lnTo>
                    <a:pt x="354" y="966"/>
                  </a:lnTo>
                  <a:lnTo>
                    <a:pt x="348" y="960"/>
                  </a:lnTo>
                  <a:lnTo>
                    <a:pt x="342" y="960"/>
                  </a:lnTo>
                  <a:lnTo>
                    <a:pt x="342" y="966"/>
                  </a:lnTo>
                  <a:lnTo>
                    <a:pt x="336" y="972"/>
                  </a:lnTo>
                  <a:lnTo>
                    <a:pt x="330" y="972"/>
                  </a:lnTo>
                  <a:lnTo>
                    <a:pt x="324" y="966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6" y="954"/>
                  </a:lnTo>
                  <a:lnTo>
                    <a:pt x="306" y="948"/>
                  </a:lnTo>
                  <a:lnTo>
                    <a:pt x="306" y="942"/>
                  </a:lnTo>
                  <a:lnTo>
                    <a:pt x="300" y="942"/>
                  </a:lnTo>
                  <a:lnTo>
                    <a:pt x="294" y="936"/>
                  </a:lnTo>
                  <a:lnTo>
                    <a:pt x="288" y="936"/>
                  </a:lnTo>
                  <a:lnTo>
                    <a:pt x="282" y="942"/>
                  </a:lnTo>
                  <a:lnTo>
                    <a:pt x="276" y="936"/>
                  </a:lnTo>
                  <a:lnTo>
                    <a:pt x="276" y="942"/>
                  </a:lnTo>
                  <a:lnTo>
                    <a:pt x="270" y="942"/>
                  </a:lnTo>
                  <a:lnTo>
                    <a:pt x="264" y="936"/>
                  </a:lnTo>
                  <a:lnTo>
                    <a:pt x="252" y="936"/>
                  </a:lnTo>
                  <a:lnTo>
                    <a:pt x="246" y="936"/>
                  </a:lnTo>
                  <a:lnTo>
                    <a:pt x="240" y="936"/>
                  </a:lnTo>
                  <a:lnTo>
                    <a:pt x="234" y="936"/>
                  </a:lnTo>
                  <a:lnTo>
                    <a:pt x="240" y="924"/>
                  </a:lnTo>
                  <a:lnTo>
                    <a:pt x="234" y="924"/>
                  </a:lnTo>
                  <a:lnTo>
                    <a:pt x="228" y="918"/>
                  </a:lnTo>
                  <a:lnTo>
                    <a:pt x="228" y="906"/>
                  </a:lnTo>
                  <a:lnTo>
                    <a:pt x="222" y="900"/>
                  </a:lnTo>
                  <a:lnTo>
                    <a:pt x="216" y="900"/>
                  </a:lnTo>
                  <a:lnTo>
                    <a:pt x="210" y="900"/>
                  </a:lnTo>
                  <a:lnTo>
                    <a:pt x="210" y="906"/>
                  </a:lnTo>
                  <a:lnTo>
                    <a:pt x="204" y="906"/>
                  </a:lnTo>
                  <a:lnTo>
                    <a:pt x="198" y="906"/>
                  </a:lnTo>
                  <a:lnTo>
                    <a:pt x="210" y="900"/>
                  </a:lnTo>
                  <a:lnTo>
                    <a:pt x="210" y="894"/>
                  </a:lnTo>
                  <a:lnTo>
                    <a:pt x="216" y="888"/>
                  </a:lnTo>
                  <a:lnTo>
                    <a:pt x="204" y="882"/>
                  </a:lnTo>
                  <a:lnTo>
                    <a:pt x="204" y="894"/>
                  </a:lnTo>
                  <a:lnTo>
                    <a:pt x="198" y="894"/>
                  </a:lnTo>
                  <a:lnTo>
                    <a:pt x="192" y="900"/>
                  </a:lnTo>
                  <a:lnTo>
                    <a:pt x="186" y="894"/>
                  </a:lnTo>
                  <a:lnTo>
                    <a:pt x="180" y="894"/>
                  </a:lnTo>
                  <a:lnTo>
                    <a:pt x="174" y="894"/>
                  </a:lnTo>
                  <a:lnTo>
                    <a:pt x="168" y="900"/>
                  </a:lnTo>
                  <a:lnTo>
                    <a:pt x="162" y="906"/>
                  </a:lnTo>
                  <a:lnTo>
                    <a:pt x="156" y="906"/>
                  </a:lnTo>
                  <a:lnTo>
                    <a:pt x="150" y="900"/>
                  </a:lnTo>
                  <a:lnTo>
                    <a:pt x="144" y="894"/>
                  </a:lnTo>
                  <a:lnTo>
                    <a:pt x="138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0" y="888"/>
                  </a:lnTo>
                  <a:lnTo>
                    <a:pt x="114" y="894"/>
                  </a:lnTo>
                  <a:lnTo>
                    <a:pt x="120" y="900"/>
                  </a:lnTo>
                  <a:lnTo>
                    <a:pt x="126" y="900"/>
                  </a:lnTo>
                  <a:lnTo>
                    <a:pt x="132" y="900"/>
                  </a:lnTo>
                  <a:lnTo>
                    <a:pt x="132" y="906"/>
                  </a:lnTo>
                  <a:lnTo>
                    <a:pt x="126" y="912"/>
                  </a:lnTo>
                  <a:lnTo>
                    <a:pt x="126" y="918"/>
                  </a:lnTo>
                  <a:lnTo>
                    <a:pt x="114" y="918"/>
                  </a:lnTo>
                  <a:lnTo>
                    <a:pt x="108" y="924"/>
                  </a:lnTo>
                  <a:lnTo>
                    <a:pt x="102" y="924"/>
                  </a:lnTo>
                  <a:lnTo>
                    <a:pt x="90" y="924"/>
                  </a:lnTo>
                  <a:lnTo>
                    <a:pt x="84" y="924"/>
                  </a:lnTo>
                  <a:lnTo>
                    <a:pt x="78" y="924"/>
                  </a:lnTo>
                  <a:lnTo>
                    <a:pt x="60" y="924"/>
                  </a:lnTo>
                  <a:lnTo>
                    <a:pt x="54" y="942"/>
                  </a:lnTo>
                  <a:lnTo>
                    <a:pt x="48" y="936"/>
                  </a:lnTo>
                  <a:lnTo>
                    <a:pt x="42" y="930"/>
                  </a:lnTo>
                  <a:lnTo>
                    <a:pt x="36" y="930"/>
                  </a:lnTo>
                  <a:lnTo>
                    <a:pt x="30" y="936"/>
                  </a:lnTo>
                  <a:lnTo>
                    <a:pt x="30" y="930"/>
                  </a:lnTo>
                  <a:lnTo>
                    <a:pt x="30" y="924"/>
                  </a:lnTo>
                  <a:lnTo>
                    <a:pt x="18" y="918"/>
                  </a:lnTo>
                  <a:lnTo>
                    <a:pt x="18" y="912"/>
                  </a:lnTo>
                  <a:lnTo>
                    <a:pt x="12" y="912"/>
                  </a:lnTo>
                  <a:lnTo>
                    <a:pt x="6" y="912"/>
                  </a:lnTo>
                  <a:lnTo>
                    <a:pt x="6" y="900"/>
                  </a:lnTo>
                  <a:lnTo>
                    <a:pt x="6" y="894"/>
                  </a:lnTo>
                  <a:lnTo>
                    <a:pt x="0" y="870"/>
                  </a:lnTo>
                  <a:lnTo>
                    <a:pt x="6" y="846"/>
                  </a:lnTo>
                  <a:lnTo>
                    <a:pt x="6" y="810"/>
                  </a:lnTo>
                  <a:lnTo>
                    <a:pt x="12" y="774"/>
                  </a:lnTo>
                  <a:lnTo>
                    <a:pt x="12" y="756"/>
                  </a:lnTo>
                  <a:lnTo>
                    <a:pt x="18" y="744"/>
                  </a:lnTo>
                  <a:lnTo>
                    <a:pt x="18" y="732"/>
                  </a:lnTo>
                  <a:lnTo>
                    <a:pt x="12" y="576"/>
                  </a:lnTo>
                  <a:lnTo>
                    <a:pt x="12" y="570"/>
                  </a:lnTo>
                  <a:lnTo>
                    <a:pt x="18" y="564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42" y="552"/>
                  </a:lnTo>
                  <a:lnTo>
                    <a:pt x="66" y="552"/>
                  </a:lnTo>
                  <a:lnTo>
                    <a:pt x="78" y="558"/>
                  </a:lnTo>
                  <a:lnTo>
                    <a:pt x="90" y="558"/>
                  </a:lnTo>
                  <a:lnTo>
                    <a:pt x="108" y="558"/>
                  </a:lnTo>
                  <a:lnTo>
                    <a:pt x="144" y="558"/>
                  </a:lnTo>
                  <a:lnTo>
                    <a:pt x="204" y="552"/>
                  </a:lnTo>
                  <a:lnTo>
                    <a:pt x="210" y="558"/>
                  </a:lnTo>
                  <a:lnTo>
                    <a:pt x="216" y="558"/>
                  </a:lnTo>
                  <a:lnTo>
                    <a:pt x="210" y="564"/>
                  </a:lnTo>
                  <a:lnTo>
                    <a:pt x="216" y="564"/>
                  </a:lnTo>
                  <a:lnTo>
                    <a:pt x="222" y="564"/>
                  </a:lnTo>
                  <a:lnTo>
                    <a:pt x="240" y="564"/>
                  </a:lnTo>
                  <a:lnTo>
                    <a:pt x="258" y="564"/>
                  </a:lnTo>
                  <a:lnTo>
                    <a:pt x="264" y="570"/>
                  </a:lnTo>
                  <a:lnTo>
                    <a:pt x="276" y="570"/>
                  </a:lnTo>
                  <a:lnTo>
                    <a:pt x="282" y="564"/>
                  </a:lnTo>
                  <a:lnTo>
                    <a:pt x="294" y="564"/>
                  </a:lnTo>
                  <a:lnTo>
                    <a:pt x="294" y="570"/>
                  </a:lnTo>
                  <a:lnTo>
                    <a:pt x="300" y="570"/>
                  </a:lnTo>
                  <a:lnTo>
                    <a:pt x="378" y="564"/>
                  </a:lnTo>
                  <a:lnTo>
                    <a:pt x="408" y="558"/>
                  </a:lnTo>
                  <a:lnTo>
                    <a:pt x="432" y="552"/>
                  </a:lnTo>
                  <a:lnTo>
                    <a:pt x="450" y="546"/>
                  </a:lnTo>
                  <a:lnTo>
                    <a:pt x="468" y="546"/>
                  </a:lnTo>
                  <a:lnTo>
                    <a:pt x="468" y="552"/>
                  </a:lnTo>
                  <a:lnTo>
                    <a:pt x="504" y="552"/>
                  </a:lnTo>
                  <a:lnTo>
                    <a:pt x="510" y="534"/>
                  </a:lnTo>
                  <a:lnTo>
                    <a:pt x="516" y="510"/>
                  </a:lnTo>
                  <a:lnTo>
                    <a:pt x="522" y="510"/>
                  </a:lnTo>
                  <a:lnTo>
                    <a:pt x="528" y="420"/>
                  </a:lnTo>
                  <a:lnTo>
                    <a:pt x="522" y="414"/>
                  </a:lnTo>
                  <a:lnTo>
                    <a:pt x="516" y="396"/>
                  </a:lnTo>
                  <a:lnTo>
                    <a:pt x="510" y="372"/>
                  </a:lnTo>
                  <a:lnTo>
                    <a:pt x="498" y="348"/>
                  </a:lnTo>
                  <a:lnTo>
                    <a:pt x="474" y="282"/>
                  </a:lnTo>
                  <a:lnTo>
                    <a:pt x="474" y="270"/>
                  </a:lnTo>
                  <a:lnTo>
                    <a:pt x="480" y="258"/>
                  </a:lnTo>
                  <a:lnTo>
                    <a:pt x="486" y="258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92" y="246"/>
                  </a:lnTo>
                  <a:lnTo>
                    <a:pt x="504" y="234"/>
                  </a:lnTo>
                  <a:lnTo>
                    <a:pt x="510" y="228"/>
                  </a:lnTo>
                  <a:lnTo>
                    <a:pt x="516" y="228"/>
                  </a:lnTo>
                  <a:lnTo>
                    <a:pt x="516" y="222"/>
                  </a:lnTo>
                  <a:lnTo>
                    <a:pt x="516" y="216"/>
                  </a:lnTo>
                  <a:lnTo>
                    <a:pt x="522" y="216"/>
                  </a:lnTo>
                  <a:lnTo>
                    <a:pt x="528" y="210"/>
                  </a:lnTo>
                  <a:lnTo>
                    <a:pt x="534" y="210"/>
                  </a:lnTo>
                  <a:lnTo>
                    <a:pt x="540" y="210"/>
                  </a:lnTo>
                  <a:lnTo>
                    <a:pt x="546" y="210"/>
                  </a:lnTo>
                  <a:lnTo>
                    <a:pt x="552" y="210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16"/>
                  </a:lnTo>
                  <a:lnTo>
                    <a:pt x="588" y="228"/>
                  </a:lnTo>
                  <a:lnTo>
                    <a:pt x="594" y="234"/>
                  </a:lnTo>
                  <a:lnTo>
                    <a:pt x="600" y="240"/>
                  </a:lnTo>
                  <a:lnTo>
                    <a:pt x="618" y="246"/>
                  </a:lnTo>
                  <a:lnTo>
                    <a:pt x="624" y="246"/>
                  </a:lnTo>
                  <a:lnTo>
                    <a:pt x="636" y="252"/>
                  </a:lnTo>
                  <a:lnTo>
                    <a:pt x="654" y="252"/>
                  </a:lnTo>
                  <a:lnTo>
                    <a:pt x="654" y="258"/>
                  </a:lnTo>
                  <a:lnTo>
                    <a:pt x="666" y="264"/>
                  </a:lnTo>
                  <a:lnTo>
                    <a:pt x="672" y="264"/>
                  </a:lnTo>
                  <a:lnTo>
                    <a:pt x="678" y="264"/>
                  </a:lnTo>
                  <a:lnTo>
                    <a:pt x="696" y="258"/>
                  </a:lnTo>
                  <a:lnTo>
                    <a:pt x="696" y="252"/>
                  </a:lnTo>
                  <a:lnTo>
                    <a:pt x="696" y="246"/>
                  </a:lnTo>
                  <a:lnTo>
                    <a:pt x="690" y="234"/>
                  </a:lnTo>
                  <a:lnTo>
                    <a:pt x="684" y="210"/>
                  </a:lnTo>
                  <a:lnTo>
                    <a:pt x="678" y="192"/>
                  </a:lnTo>
                  <a:lnTo>
                    <a:pt x="672" y="174"/>
                  </a:lnTo>
                  <a:lnTo>
                    <a:pt x="672" y="168"/>
                  </a:lnTo>
                  <a:lnTo>
                    <a:pt x="672" y="162"/>
                  </a:lnTo>
                  <a:lnTo>
                    <a:pt x="672" y="156"/>
                  </a:lnTo>
                  <a:lnTo>
                    <a:pt x="684" y="132"/>
                  </a:lnTo>
                  <a:lnTo>
                    <a:pt x="684" y="120"/>
                  </a:lnTo>
                  <a:lnTo>
                    <a:pt x="684" y="108"/>
                  </a:lnTo>
                  <a:lnTo>
                    <a:pt x="678" y="102"/>
                  </a:lnTo>
                  <a:lnTo>
                    <a:pt x="678" y="96"/>
                  </a:lnTo>
                  <a:lnTo>
                    <a:pt x="684" y="96"/>
                  </a:lnTo>
                  <a:lnTo>
                    <a:pt x="696" y="90"/>
                  </a:lnTo>
                  <a:lnTo>
                    <a:pt x="702" y="84"/>
                  </a:lnTo>
                  <a:lnTo>
                    <a:pt x="720" y="72"/>
                  </a:lnTo>
                  <a:lnTo>
                    <a:pt x="738" y="66"/>
                  </a:lnTo>
                  <a:lnTo>
                    <a:pt x="756" y="60"/>
                  </a:lnTo>
                  <a:lnTo>
                    <a:pt x="768" y="60"/>
                  </a:lnTo>
                  <a:lnTo>
                    <a:pt x="798" y="72"/>
                  </a:lnTo>
                  <a:lnTo>
                    <a:pt x="804" y="78"/>
                  </a:lnTo>
                  <a:lnTo>
                    <a:pt x="816" y="84"/>
                  </a:lnTo>
                  <a:lnTo>
                    <a:pt x="822" y="84"/>
                  </a:lnTo>
                  <a:lnTo>
                    <a:pt x="828" y="72"/>
                  </a:lnTo>
                  <a:lnTo>
                    <a:pt x="828" y="60"/>
                  </a:lnTo>
                  <a:lnTo>
                    <a:pt x="828" y="36"/>
                  </a:lnTo>
                  <a:lnTo>
                    <a:pt x="828" y="24"/>
                  </a:lnTo>
                  <a:lnTo>
                    <a:pt x="828" y="12"/>
                  </a:lnTo>
                  <a:lnTo>
                    <a:pt x="834" y="12"/>
                  </a:lnTo>
                  <a:lnTo>
                    <a:pt x="852" y="6"/>
                  </a:lnTo>
                  <a:lnTo>
                    <a:pt x="876" y="6"/>
                  </a:lnTo>
                  <a:lnTo>
                    <a:pt x="894" y="6"/>
                  </a:lnTo>
                  <a:lnTo>
                    <a:pt x="906" y="12"/>
                  </a:lnTo>
                  <a:lnTo>
                    <a:pt x="912" y="24"/>
                  </a:lnTo>
                  <a:lnTo>
                    <a:pt x="924" y="24"/>
                  </a:lnTo>
                  <a:lnTo>
                    <a:pt x="930" y="30"/>
                  </a:lnTo>
                  <a:lnTo>
                    <a:pt x="936" y="30"/>
                  </a:lnTo>
                  <a:lnTo>
                    <a:pt x="936" y="36"/>
                  </a:lnTo>
                  <a:lnTo>
                    <a:pt x="942" y="36"/>
                  </a:lnTo>
                  <a:lnTo>
                    <a:pt x="948" y="42"/>
                  </a:lnTo>
                  <a:lnTo>
                    <a:pt x="960" y="48"/>
                  </a:lnTo>
                  <a:lnTo>
                    <a:pt x="966" y="48"/>
                  </a:lnTo>
                  <a:lnTo>
                    <a:pt x="1026" y="60"/>
                  </a:lnTo>
                  <a:lnTo>
                    <a:pt x="1050" y="60"/>
                  </a:lnTo>
                  <a:lnTo>
                    <a:pt x="1050" y="54"/>
                  </a:lnTo>
                  <a:lnTo>
                    <a:pt x="1062" y="54"/>
                  </a:lnTo>
                  <a:lnTo>
                    <a:pt x="1074" y="48"/>
                  </a:lnTo>
                  <a:lnTo>
                    <a:pt x="1086" y="42"/>
                  </a:lnTo>
                  <a:lnTo>
                    <a:pt x="1104" y="36"/>
                  </a:lnTo>
                  <a:lnTo>
                    <a:pt x="1116" y="30"/>
                  </a:lnTo>
                  <a:lnTo>
                    <a:pt x="1122" y="24"/>
                  </a:lnTo>
                  <a:lnTo>
                    <a:pt x="1128" y="18"/>
                  </a:lnTo>
                  <a:lnTo>
                    <a:pt x="1134" y="18"/>
                  </a:lnTo>
                  <a:lnTo>
                    <a:pt x="1140" y="12"/>
                  </a:lnTo>
                  <a:lnTo>
                    <a:pt x="1146" y="6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24"/>
                  </a:lnTo>
                  <a:lnTo>
                    <a:pt x="1176" y="36"/>
                  </a:lnTo>
                  <a:lnTo>
                    <a:pt x="1188" y="42"/>
                  </a:lnTo>
                  <a:lnTo>
                    <a:pt x="1200" y="54"/>
                  </a:lnTo>
                  <a:lnTo>
                    <a:pt x="1224" y="84"/>
                  </a:lnTo>
                  <a:lnTo>
                    <a:pt x="1224" y="90"/>
                  </a:lnTo>
                  <a:lnTo>
                    <a:pt x="1236" y="96"/>
                  </a:lnTo>
                  <a:lnTo>
                    <a:pt x="1236" y="108"/>
                  </a:lnTo>
                  <a:lnTo>
                    <a:pt x="1248" y="114"/>
                  </a:lnTo>
                  <a:lnTo>
                    <a:pt x="1254" y="114"/>
                  </a:lnTo>
                  <a:lnTo>
                    <a:pt x="1260" y="114"/>
                  </a:lnTo>
                  <a:lnTo>
                    <a:pt x="1296" y="114"/>
                  </a:lnTo>
                  <a:lnTo>
                    <a:pt x="1302" y="114"/>
                  </a:lnTo>
                  <a:lnTo>
                    <a:pt x="1320" y="108"/>
                  </a:lnTo>
                  <a:lnTo>
                    <a:pt x="1326" y="108"/>
                  </a:lnTo>
                  <a:lnTo>
                    <a:pt x="1326" y="138"/>
                  </a:lnTo>
                  <a:lnTo>
                    <a:pt x="1326" y="210"/>
                  </a:lnTo>
                  <a:lnTo>
                    <a:pt x="1320" y="252"/>
                  </a:lnTo>
                  <a:lnTo>
                    <a:pt x="1320" y="270"/>
                  </a:lnTo>
                  <a:lnTo>
                    <a:pt x="1320" y="288"/>
                  </a:lnTo>
                  <a:lnTo>
                    <a:pt x="1320" y="318"/>
                  </a:lnTo>
                  <a:lnTo>
                    <a:pt x="1326" y="354"/>
                  </a:lnTo>
                  <a:lnTo>
                    <a:pt x="1326" y="372"/>
                  </a:lnTo>
                  <a:lnTo>
                    <a:pt x="1332" y="420"/>
                  </a:lnTo>
                  <a:lnTo>
                    <a:pt x="1332" y="450"/>
                  </a:lnTo>
                  <a:lnTo>
                    <a:pt x="1338" y="480"/>
                  </a:lnTo>
                  <a:lnTo>
                    <a:pt x="1344" y="486"/>
                  </a:lnTo>
                  <a:lnTo>
                    <a:pt x="1338" y="492"/>
                  </a:lnTo>
                  <a:lnTo>
                    <a:pt x="1344" y="492"/>
                  </a:lnTo>
                  <a:lnTo>
                    <a:pt x="1344" y="498"/>
                  </a:lnTo>
                  <a:lnTo>
                    <a:pt x="1350" y="498"/>
                  </a:lnTo>
                  <a:lnTo>
                    <a:pt x="1350" y="522"/>
                  </a:lnTo>
                  <a:lnTo>
                    <a:pt x="1362" y="564"/>
                  </a:lnTo>
                  <a:lnTo>
                    <a:pt x="1368" y="582"/>
                  </a:lnTo>
                  <a:lnTo>
                    <a:pt x="1380" y="600"/>
                  </a:lnTo>
                  <a:lnTo>
                    <a:pt x="1386" y="636"/>
                  </a:lnTo>
                  <a:lnTo>
                    <a:pt x="1380" y="660"/>
                  </a:lnTo>
                  <a:lnTo>
                    <a:pt x="1380" y="678"/>
                  </a:lnTo>
                  <a:lnTo>
                    <a:pt x="1380" y="684"/>
                  </a:lnTo>
                  <a:lnTo>
                    <a:pt x="1374" y="684"/>
                  </a:lnTo>
                  <a:lnTo>
                    <a:pt x="1368" y="690"/>
                  </a:lnTo>
                  <a:lnTo>
                    <a:pt x="1356" y="702"/>
                  </a:lnTo>
                  <a:lnTo>
                    <a:pt x="1350" y="708"/>
                  </a:lnTo>
                  <a:lnTo>
                    <a:pt x="1356" y="714"/>
                  </a:lnTo>
                  <a:lnTo>
                    <a:pt x="1368" y="726"/>
                  </a:lnTo>
                  <a:lnTo>
                    <a:pt x="1380" y="738"/>
                  </a:lnTo>
                  <a:lnTo>
                    <a:pt x="1386" y="744"/>
                  </a:lnTo>
                  <a:lnTo>
                    <a:pt x="1392" y="744"/>
                  </a:lnTo>
                  <a:lnTo>
                    <a:pt x="1410" y="750"/>
                  </a:lnTo>
                  <a:lnTo>
                    <a:pt x="1416" y="756"/>
                  </a:lnTo>
                  <a:lnTo>
                    <a:pt x="1422" y="756"/>
                  </a:lnTo>
                  <a:lnTo>
                    <a:pt x="1422" y="762"/>
                  </a:lnTo>
                  <a:lnTo>
                    <a:pt x="1428" y="774"/>
                  </a:lnTo>
                  <a:lnTo>
                    <a:pt x="1428" y="780"/>
                  </a:lnTo>
                  <a:lnTo>
                    <a:pt x="1434" y="780"/>
                  </a:lnTo>
                  <a:lnTo>
                    <a:pt x="1440" y="798"/>
                  </a:lnTo>
                  <a:lnTo>
                    <a:pt x="1422" y="816"/>
                  </a:lnTo>
                  <a:lnTo>
                    <a:pt x="1386" y="810"/>
                  </a:lnTo>
                  <a:lnTo>
                    <a:pt x="1380" y="816"/>
                  </a:lnTo>
                  <a:lnTo>
                    <a:pt x="1374" y="840"/>
                  </a:lnTo>
                  <a:lnTo>
                    <a:pt x="1350" y="852"/>
                  </a:lnTo>
                  <a:lnTo>
                    <a:pt x="1350" y="858"/>
                  </a:lnTo>
                  <a:lnTo>
                    <a:pt x="1350" y="864"/>
                  </a:lnTo>
                  <a:lnTo>
                    <a:pt x="1344" y="864"/>
                  </a:lnTo>
                  <a:lnTo>
                    <a:pt x="1338" y="870"/>
                  </a:lnTo>
                  <a:lnTo>
                    <a:pt x="1332" y="876"/>
                  </a:lnTo>
                  <a:lnTo>
                    <a:pt x="1314" y="876"/>
                  </a:lnTo>
                  <a:lnTo>
                    <a:pt x="1314" y="870"/>
                  </a:lnTo>
                  <a:lnTo>
                    <a:pt x="1308" y="870"/>
                  </a:lnTo>
                  <a:lnTo>
                    <a:pt x="1302" y="864"/>
                  </a:lnTo>
                  <a:lnTo>
                    <a:pt x="1296" y="864"/>
                  </a:lnTo>
                  <a:lnTo>
                    <a:pt x="1284" y="870"/>
                  </a:lnTo>
                  <a:lnTo>
                    <a:pt x="1266" y="870"/>
                  </a:lnTo>
                  <a:lnTo>
                    <a:pt x="1260" y="870"/>
                  </a:lnTo>
                  <a:lnTo>
                    <a:pt x="1248" y="876"/>
                  </a:lnTo>
                  <a:lnTo>
                    <a:pt x="1236" y="876"/>
                  </a:lnTo>
                  <a:lnTo>
                    <a:pt x="1230" y="882"/>
                  </a:lnTo>
                  <a:lnTo>
                    <a:pt x="1224" y="894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18" y="942"/>
                  </a:lnTo>
                  <a:lnTo>
                    <a:pt x="1212" y="948"/>
                  </a:lnTo>
                  <a:lnTo>
                    <a:pt x="1200" y="984"/>
                  </a:lnTo>
                  <a:lnTo>
                    <a:pt x="1194" y="1008"/>
                  </a:lnTo>
                  <a:lnTo>
                    <a:pt x="1218" y="1038"/>
                  </a:lnTo>
                  <a:lnTo>
                    <a:pt x="1224" y="1044"/>
                  </a:lnTo>
                  <a:lnTo>
                    <a:pt x="1224" y="1062"/>
                  </a:lnTo>
                  <a:lnTo>
                    <a:pt x="1236" y="1080"/>
                  </a:lnTo>
                  <a:lnTo>
                    <a:pt x="1236" y="1086"/>
                  </a:lnTo>
                  <a:lnTo>
                    <a:pt x="1230" y="1092"/>
                  </a:lnTo>
                  <a:lnTo>
                    <a:pt x="1224" y="1110"/>
                  </a:lnTo>
                  <a:lnTo>
                    <a:pt x="1218" y="1122"/>
                  </a:lnTo>
                  <a:lnTo>
                    <a:pt x="1224" y="1140"/>
                  </a:lnTo>
                  <a:lnTo>
                    <a:pt x="1218" y="1146"/>
                  </a:lnTo>
                  <a:lnTo>
                    <a:pt x="1218" y="1152"/>
                  </a:lnTo>
                  <a:lnTo>
                    <a:pt x="1212" y="116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1" name="Freeform 36">
              <a:extLst>
                <a:ext uri="{FF2B5EF4-FFF2-40B4-BE49-F238E27FC236}">
                  <a16:creationId xmlns:a16="http://schemas.microsoft.com/office/drawing/2014/main" id="{B9C0D6BE-CB1C-4E69-B224-1ABF097AA8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90208" y="1647855"/>
              <a:ext cx="742415" cy="758173"/>
            </a:xfrm>
            <a:custGeom>
              <a:avLst/>
              <a:gdLst>
                <a:gd name="T0" fmla="*/ 75 w 1398"/>
                <a:gd name="T1" fmla="*/ 48 h 1428"/>
                <a:gd name="T2" fmla="*/ 68 w 1398"/>
                <a:gd name="T3" fmla="*/ 54 h 1428"/>
                <a:gd name="T4" fmla="*/ 57 w 1398"/>
                <a:gd name="T5" fmla="*/ 59 h 1428"/>
                <a:gd name="T6" fmla="*/ 55 w 1398"/>
                <a:gd name="T7" fmla="*/ 68 h 1428"/>
                <a:gd name="T8" fmla="*/ 55 w 1398"/>
                <a:gd name="T9" fmla="*/ 77 h 1428"/>
                <a:gd name="T10" fmla="*/ 57 w 1398"/>
                <a:gd name="T11" fmla="*/ 81 h 1428"/>
                <a:gd name="T12" fmla="*/ 56 w 1398"/>
                <a:gd name="T13" fmla="*/ 86 h 1428"/>
                <a:gd name="T14" fmla="*/ 57 w 1398"/>
                <a:gd name="T15" fmla="*/ 89 h 1428"/>
                <a:gd name="T16" fmla="*/ 58 w 1398"/>
                <a:gd name="T17" fmla="*/ 92 h 1428"/>
                <a:gd name="T18" fmla="*/ 58 w 1398"/>
                <a:gd name="T19" fmla="*/ 96 h 1428"/>
                <a:gd name="T20" fmla="*/ 49 w 1398"/>
                <a:gd name="T21" fmla="*/ 100 h 1428"/>
                <a:gd name="T22" fmla="*/ 47 w 1398"/>
                <a:gd name="T23" fmla="*/ 108 h 1428"/>
                <a:gd name="T24" fmla="*/ 48 w 1398"/>
                <a:gd name="T25" fmla="*/ 113 h 1428"/>
                <a:gd name="T26" fmla="*/ 43 w 1398"/>
                <a:gd name="T27" fmla="*/ 114 h 1428"/>
                <a:gd name="T28" fmla="*/ 39 w 1398"/>
                <a:gd name="T29" fmla="*/ 113 h 1428"/>
                <a:gd name="T30" fmla="*/ 33 w 1398"/>
                <a:gd name="T31" fmla="*/ 109 h 1428"/>
                <a:gd name="T32" fmla="*/ 29 w 1398"/>
                <a:gd name="T33" fmla="*/ 114 h 1428"/>
                <a:gd name="T34" fmla="*/ 22 w 1398"/>
                <a:gd name="T35" fmla="*/ 115 h 1428"/>
                <a:gd name="T36" fmla="*/ 21 w 1398"/>
                <a:gd name="T37" fmla="*/ 121 h 1428"/>
                <a:gd name="T38" fmla="*/ 12 w 1398"/>
                <a:gd name="T39" fmla="*/ 119 h 1428"/>
                <a:gd name="T40" fmla="*/ 9 w 1398"/>
                <a:gd name="T41" fmla="*/ 113 h 1428"/>
                <a:gd name="T42" fmla="*/ 2 w 1398"/>
                <a:gd name="T43" fmla="*/ 109 h 1428"/>
                <a:gd name="T44" fmla="*/ 4 w 1398"/>
                <a:gd name="T45" fmla="*/ 103 h 1428"/>
                <a:gd name="T46" fmla="*/ 2 w 1398"/>
                <a:gd name="T47" fmla="*/ 91 h 1428"/>
                <a:gd name="T48" fmla="*/ 6 w 1398"/>
                <a:gd name="T49" fmla="*/ 85 h 1428"/>
                <a:gd name="T50" fmla="*/ 10 w 1398"/>
                <a:gd name="T51" fmla="*/ 85 h 1428"/>
                <a:gd name="T52" fmla="*/ 15 w 1398"/>
                <a:gd name="T53" fmla="*/ 82 h 1428"/>
                <a:gd name="T54" fmla="*/ 20 w 1398"/>
                <a:gd name="T55" fmla="*/ 77 h 1428"/>
                <a:gd name="T56" fmla="*/ 16 w 1398"/>
                <a:gd name="T57" fmla="*/ 73 h 1428"/>
                <a:gd name="T58" fmla="*/ 16 w 1398"/>
                <a:gd name="T59" fmla="*/ 69 h 1428"/>
                <a:gd name="T60" fmla="*/ 14 w 1398"/>
                <a:gd name="T61" fmla="*/ 54 h 1428"/>
                <a:gd name="T62" fmla="*/ 12 w 1398"/>
                <a:gd name="T63" fmla="*/ 48 h 1428"/>
                <a:gd name="T64" fmla="*/ 11 w 1398"/>
                <a:gd name="T65" fmla="*/ 31 h 1428"/>
                <a:gd name="T66" fmla="*/ 14 w 1398"/>
                <a:gd name="T67" fmla="*/ 18 h 1428"/>
                <a:gd name="T68" fmla="*/ 19 w 1398"/>
                <a:gd name="T69" fmla="*/ 15 h 1428"/>
                <a:gd name="T70" fmla="*/ 26 w 1398"/>
                <a:gd name="T71" fmla="*/ 13 h 1428"/>
                <a:gd name="T72" fmla="*/ 34 w 1398"/>
                <a:gd name="T73" fmla="*/ 12 h 1428"/>
                <a:gd name="T74" fmla="*/ 39 w 1398"/>
                <a:gd name="T75" fmla="*/ 9 h 1428"/>
                <a:gd name="T76" fmla="*/ 43 w 1398"/>
                <a:gd name="T77" fmla="*/ 7 h 1428"/>
                <a:gd name="T78" fmla="*/ 48 w 1398"/>
                <a:gd name="T79" fmla="*/ 3 h 1428"/>
                <a:gd name="T80" fmla="*/ 54 w 1398"/>
                <a:gd name="T81" fmla="*/ 0 h 1428"/>
                <a:gd name="T82" fmla="*/ 58 w 1398"/>
                <a:gd name="T83" fmla="*/ 0 h 1428"/>
                <a:gd name="T84" fmla="*/ 66 w 1398"/>
                <a:gd name="T85" fmla="*/ 2 h 1428"/>
                <a:gd name="T86" fmla="*/ 70 w 1398"/>
                <a:gd name="T87" fmla="*/ 3 h 1428"/>
                <a:gd name="T88" fmla="*/ 75 w 1398"/>
                <a:gd name="T89" fmla="*/ 6 h 1428"/>
                <a:gd name="T90" fmla="*/ 80 w 1398"/>
                <a:gd name="T91" fmla="*/ 9 h 1428"/>
                <a:gd name="T92" fmla="*/ 83 w 1398"/>
                <a:gd name="T93" fmla="*/ 12 h 1428"/>
                <a:gd name="T94" fmla="*/ 87 w 1398"/>
                <a:gd name="T95" fmla="*/ 15 h 1428"/>
                <a:gd name="T96" fmla="*/ 94 w 1398"/>
                <a:gd name="T97" fmla="*/ 15 h 1428"/>
                <a:gd name="T98" fmla="*/ 99 w 1398"/>
                <a:gd name="T99" fmla="*/ 21 h 1428"/>
                <a:gd name="T100" fmla="*/ 103 w 1398"/>
                <a:gd name="T101" fmla="*/ 23 h 1428"/>
                <a:gd name="T102" fmla="*/ 110 w 1398"/>
                <a:gd name="T103" fmla="*/ 26 h 1428"/>
                <a:gd name="T104" fmla="*/ 116 w 1398"/>
                <a:gd name="T105" fmla="*/ 27 h 1428"/>
                <a:gd name="T106" fmla="*/ 120 w 1398"/>
                <a:gd name="T107" fmla="*/ 27 h 1428"/>
                <a:gd name="T108" fmla="*/ 116 w 1398"/>
                <a:gd name="T109" fmla="*/ 35 h 1428"/>
                <a:gd name="T110" fmla="*/ 104 w 1398"/>
                <a:gd name="T111" fmla="*/ 37 h 1428"/>
                <a:gd name="T112" fmla="*/ 97 w 1398"/>
                <a:gd name="T113" fmla="*/ 34 h 1428"/>
                <a:gd name="T114" fmla="*/ 91 w 1398"/>
                <a:gd name="T115" fmla="*/ 29 h 1428"/>
                <a:gd name="T116" fmla="*/ 75 w 1398"/>
                <a:gd name="T117" fmla="*/ 29 h 1428"/>
                <a:gd name="T118" fmla="*/ 72 w 1398"/>
                <a:gd name="T119" fmla="*/ 39 h 1428"/>
                <a:gd name="T120" fmla="*/ 80 w 1398"/>
                <a:gd name="T121" fmla="*/ 41 h 142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98"/>
                <a:gd name="T184" fmla="*/ 0 h 1428"/>
                <a:gd name="T185" fmla="*/ 1398 w 1398"/>
                <a:gd name="T186" fmla="*/ 1428 h 142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98" h="1428">
                  <a:moveTo>
                    <a:pt x="924" y="474"/>
                  </a:moveTo>
                  <a:lnTo>
                    <a:pt x="900" y="480"/>
                  </a:lnTo>
                  <a:lnTo>
                    <a:pt x="864" y="486"/>
                  </a:lnTo>
                  <a:lnTo>
                    <a:pt x="864" y="504"/>
                  </a:lnTo>
                  <a:lnTo>
                    <a:pt x="858" y="522"/>
                  </a:lnTo>
                  <a:lnTo>
                    <a:pt x="864" y="528"/>
                  </a:lnTo>
                  <a:lnTo>
                    <a:pt x="864" y="552"/>
                  </a:lnTo>
                  <a:lnTo>
                    <a:pt x="852" y="552"/>
                  </a:lnTo>
                  <a:lnTo>
                    <a:pt x="846" y="564"/>
                  </a:lnTo>
                  <a:lnTo>
                    <a:pt x="840" y="582"/>
                  </a:lnTo>
                  <a:lnTo>
                    <a:pt x="834" y="594"/>
                  </a:lnTo>
                  <a:lnTo>
                    <a:pt x="828" y="606"/>
                  </a:lnTo>
                  <a:lnTo>
                    <a:pt x="828" y="618"/>
                  </a:lnTo>
                  <a:lnTo>
                    <a:pt x="786" y="630"/>
                  </a:lnTo>
                  <a:lnTo>
                    <a:pt x="774" y="636"/>
                  </a:lnTo>
                  <a:lnTo>
                    <a:pt x="762" y="642"/>
                  </a:lnTo>
                  <a:lnTo>
                    <a:pt x="744" y="648"/>
                  </a:lnTo>
                  <a:lnTo>
                    <a:pt x="714" y="660"/>
                  </a:lnTo>
                  <a:lnTo>
                    <a:pt x="696" y="666"/>
                  </a:lnTo>
                  <a:lnTo>
                    <a:pt x="666" y="672"/>
                  </a:lnTo>
                  <a:lnTo>
                    <a:pt x="654" y="684"/>
                  </a:lnTo>
                  <a:lnTo>
                    <a:pt x="648" y="684"/>
                  </a:lnTo>
                  <a:lnTo>
                    <a:pt x="642" y="696"/>
                  </a:lnTo>
                  <a:lnTo>
                    <a:pt x="636" y="696"/>
                  </a:lnTo>
                  <a:lnTo>
                    <a:pt x="630" y="714"/>
                  </a:lnTo>
                  <a:lnTo>
                    <a:pt x="624" y="738"/>
                  </a:lnTo>
                  <a:lnTo>
                    <a:pt x="624" y="762"/>
                  </a:lnTo>
                  <a:lnTo>
                    <a:pt x="630" y="780"/>
                  </a:lnTo>
                  <a:lnTo>
                    <a:pt x="636" y="804"/>
                  </a:lnTo>
                  <a:lnTo>
                    <a:pt x="642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6" y="834"/>
                  </a:lnTo>
                  <a:lnTo>
                    <a:pt x="636" y="870"/>
                  </a:lnTo>
                  <a:lnTo>
                    <a:pt x="636" y="882"/>
                  </a:lnTo>
                  <a:lnTo>
                    <a:pt x="636" y="906"/>
                  </a:lnTo>
                  <a:lnTo>
                    <a:pt x="630" y="906"/>
                  </a:lnTo>
                  <a:lnTo>
                    <a:pt x="636" y="918"/>
                  </a:lnTo>
                  <a:lnTo>
                    <a:pt x="642" y="918"/>
                  </a:lnTo>
                  <a:lnTo>
                    <a:pt x="642" y="930"/>
                  </a:lnTo>
                  <a:lnTo>
                    <a:pt x="648" y="936"/>
                  </a:lnTo>
                  <a:lnTo>
                    <a:pt x="654" y="936"/>
                  </a:lnTo>
                  <a:lnTo>
                    <a:pt x="654" y="942"/>
                  </a:lnTo>
                  <a:lnTo>
                    <a:pt x="654" y="948"/>
                  </a:lnTo>
                  <a:lnTo>
                    <a:pt x="648" y="954"/>
                  </a:lnTo>
                  <a:lnTo>
                    <a:pt x="648" y="960"/>
                  </a:lnTo>
                  <a:lnTo>
                    <a:pt x="648" y="966"/>
                  </a:lnTo>
                  <a:lnTo>
                    <a:pt x="648" y="972"/>
                  </a:lnTo>
                  <a:lnTo>
                    <a:pt x="648" y="990"/>
                  </a:lnTo>
                  <a:lnTo>
                    <a:pt x="654" y="996"/>
                  </a:lnTo>
                  <a:lnTo>
                    <a:pt x="648" y="1002"/>
                  </a:lnTo>
                  <a:lnTo>
                    <a:pt x="648" y="1008"/>
                  </a:lnTo>
                  <a:lnTo>
                    <a:pt x="654" y="1014"/>
                  </a:lnTo>
                  <a:lnTo>
                    <a:pt x="654" y="1020"/>
                  </a:lnTo>
                  <a:lnTo>
                    <a:pt x="654" y="1026"/>
                  </a:lnTo>
                  <a:lnTo>
                    <a:pt x="660" y="1026"/>
                  </a:lnTo>
                  <a:lnTo>
                    <a:pt x="660" y="1032"/>
                  </a:lnTo>
                  <a:lnTo>
                    <a:pt x="660" y="1038"/>
                  </a:lnTo>
                  <a:lnTo>
                    <a:pt x="666" y="1044"/>
                  </a:lnTo>
                  <a:lnTo>
                    <a:pt x="672" y="1050"/>
                  </a:lnTo>
                  <a:lnTo>
                    <a:pt x="672" y="1056"/>
                  </a:lnTo>
                  <a:lnTo>
                    <a:pt x="672" y="1062"/>
                  </a:lnTo>
                  <a:lnTo>
                    <a:pt x="672" y="1068"/>
                  </a:lnTo>
                  <a:lnTo>
                    <a:pt x="672" y="1074"/>
                  </a:lnTo>
                  <a:lnTo>
                    <a:pt x="678" y="1074"/>
                  </a:lnTo>
                  <a:lnTo>
                    <a:pt x="678" y="1080"/>
                  </a:lnTo>
                  <a:lnTo>
                    <a:pt x="678" y="1086"/>
                  </a:lnTo>
                  <a:lnTo>
                    <a:pt x="672" y="1092"/>
                  </a:lnTo>
                  <a:lnTo>
                    <a:pt x="672" y="1098"/>
                  </a:lnTo>
                  <a:lnTo>
                    <a:pt x="672" y="1104"/>
                  </a:lnTo>
                  <a:lnTo>
                    <a:pt x="666" y="1116"/>
                  </a:lnTo>
                  <a:lnTo>
                    <a:pt x="624" y="1122"/>
                  </a:lnTo>
                  <a:lnTo>
                    <a:pt x="576" y="1134"/>
                  </a:lnTo>
                  <a:lnTo>
                    <a:pt x="570" y="1140"/>
                  </a:lnTo>
                  <a:lnTo>
                    <a:pt x="570" y="1146"/>
                  </a:lnTo>
                  <a:lnTo>
                    <a:pt x="564" y="1146"/>
                  </a:lnTo>
                  <a:lnTo>
                    <a:pt x="564" y="1152"/>
                  </a:lnTo>
                  <a:lnTo>
                    <a:pt x="564" y="1164"/>
                  </a:lnTo>
                  <a:lnTo>
                    <a:pt x="564" y="1170"/>
                  </a:lnTo>
                  <a:lnTo>
                    <a:pt x="564" y="1176"/>
                  </a:lnTo>
                  <a:lnTo>
                    <a:pt x="546" y="1176"/>
                  </a:lnTo>
                  <a:lnTo>
                    <a:pt x="540" y="1212"/>
                  </a:lnTo>
                  <a:lnTo>
                    <a:pt x="540" y="1230"/>
                  </a:lnTo>
                  <a:lnTo>
                    <a:pt x="546" y="1242"/>
                  </a:lnTo>
                  <a:lnTo>
                    <a:pt x="546" y="1254"/>
                  </a:lnTo>
                  <a:lnTo>
                    <a:pt x="558" y="1266"/>
                  </a:lnTo>
                  <a:lnTo>
                    <a:pt x="576" y="1272"/>
                  </a:lnTo>
                  <a:lnTo>
                    <a:pt x="570" y="1278"/>
                  </a:lnTo>
                  <a:lnTo>
                    <a:pt x="576" y="1284"/>
                  </a:lnTo>
                  <a:lnTo>
                    <a:pt x="570" y="1296"/>
                  </a:lnTo>
                  <a:lnTo>
                    <a:pt x="558" y="1302"/>
                  </a:lnTo>
                  <a:lnTo>
                    <a:pt x="540" y="1308"/>
                  </a:lnTo>
                  <a:lnTo>
                    <a:pt x="522" y="1314"/>
                  </a:lnTo>
                  <a:lnTo>
                    <a:pt x="516" y="1314"/>
                  </a:lnTo>
                  <a:lnTo>
                    <a:pt x="510" y="1314"/>
                  </a:lnTo>
                  <a:lnTo>
                    <a:pt x="504" y="1314"/>
                  </a:lnTo>
                  <a:lnTo>
                    <a:pt x="498" y="1320"/>
                  </a:lnTo>
                  <a:lnTo>
                    <a:pt x="492" y="1320"/>
                  </a:lnTo>
                  <a:lnTo>
                    <a:pt x="492" y="1326"/>
                  </a:lnTo>
                  <a:lnTo>
                    <a:pt x="486" y="1326"/>
                  </a:lnTo>
                  <a:lnTo>
                    <a:pt x="480" y="1326"/>
                  </a:lnTo>
                  <a:lnTo>
                    <a:pt x="480" y="1320"/>
                  </a:lnTo>
                  <a:lnTo>
                    <a:pt x="468" y="1314"/>
                  </a:lnTo>
                  <a:lnTo>
                    <a:pt x="462" y="1308"/>
                  </a:lnTo>
                  <a:lnTo>
                    <a:pt x="456" y="1302"/>
                  </a:lnTo>
                  <a:lnTo>
                    <a:pt x="444" y="1296"/>
                  </a:lnTo>
                  <a:lnTo>
                    <a:pt x="420" y="1290"/>
                  </a:lnTo>
                  <a:lnTo>
                    <a:pt x="414" y="1278"/>
                  </a:lnTo>
                  <a:lnTo>
                    <a:pt x="408" y="1278"/>
                  </a:lnTo>
                  <a:lnTo>
                    <a:pt x="408" y="1266"/>
                  </a:lnTo>
                  <a:lnTo>
                    <a:pt x="402" y="1260"/>
                  </a:lnTo>
                  <a:lnTo>
                    <a:pt x="384" y="1260"/>
                  </a:lnTo>
                  <a:lnTo>
                    <a:pt x="372" y="1266"/>
                  </a:lnTo>
                  <a:lnTo>
                    <a:pt x="360" y="1272"/>
                  </a:lnTo>
                  <a:lnTo>
                    <a:pt x="348" y="1272"/>
                  </a:lnTo>
                  <a:lnTo>
                    <a:pt x="342" y="1284"/>
                  </a:lnTo>
                  <a:lnTo>
                    <a:pt x="336" y="1290"/>
                  </a:lnTo>
                  <a:lnTo>
                    <a:pt x="336" y="1308"/>
                  </a:lnTo>
                  <a:lnTo>
                    <a:pt x="336" y="1314"/>
                  </a:lnTo>
                  <a:lnTo>
                    <a:pt x="336" y="1320"/>
                  </a:lnTo>
                  <a:lnTo>
                    <a:pt x="330" y="1326"/>
                  </a:lnTo>
                  <a:lnTo>
                    <a:pt x="330" y="1332"/>
                  </a:lnTo>
                  <a:lnTo>
                    <a:pt x="330" y="1338"/>
                  </a:lnTo>
                  <a:lnTo>
                    <a:pt x="300" y="1338"/>
                  </a:lnTo>
                  <a:lnTo>
                    <a:pt x="288" y="1338"/>
                  </a:lnTo>
                  <a:lnTo>
                    <a:pt x="258" y="1326"/>
                  </a:lnTo>
                  <a:lnTo>
                    <a:pt x="246" y="1332"/>
                  </a:lnTo>
                  <a:lnTo>
                    <a:pt x="240" y="1338"/>
                  </a:lnTo>
                  <a:lnTo>
                    <a:pt x="234" y="1338"/>
                  </a:lnTo>
                  <a:lnTo>
                    <a:pt x="228" y="1350"/>
                  </a:lnTo>
                  <a:lnTo>
                    <a:pt x="228" y="1374"/>
                  </a:lnTo>
                  <a:lnTo>
                    <a:pt x="234" y="1392"/>
                  </a:lnTo>
                  <a:lnTo>
                    <a:pt x="246" y="1398"/>
                  </a:lnTo>
                  <a:lnTo>
                    <a:pt x="246" y="1410"/>
                  </a:lnTo>
                  <a:lnTo>
                    <a:pt x="216" y="1428"/>
                  </a:lnTo>
                  <a:lnTo>
                    <a:pt x="198" y="1428"/>
                  </a:lnTo>
                  <a:lnTo>
                    <a:pt x="192" y="1422"/>
                  </a:lnTo>
                  <a:lnTo>
                    <a:pt x="174" y="1410"/>
                  </a:lnTo>
                  <a:lnTo>
                    <a:pt x="156" y="1386"/>
                  </a:lnTo>
                  <a:lnTo>
                    <a:pt x="132" y="1374"/>
                  </a:lnTo>
                  <a:lnTo>
                    <a:pt x="108" y="1368"/>
                  </a:lnTo>
                  <a:lnTo>
                    <a:pt x="84" y="1368"/>
                  </a:lnTo>
                  <a:lnTo>
                    <a:pt x="96" y="1356"/>
                  </a:lnTo>
                  <a:lnTo>
                    <a:pt x="102" y="1344"/>
                  </a:lnTo>
                  <a:lnTo>
                    <a:pt x="102" y="1332"/>
                  </a:lnTo>
                  <a:lnTo>
                    <a:pt x="108" y="1320"/>
                  </a:lnTo>
                  <a:lnTo>
                    <a:pt x="108" y="1302"/>
                  </a:lnTo>
                  <a:lnTo>
                    <a:pt x="96" y="1278"/>
                  </a:lnTo>
                  <a:lnTo>
                    <a:pt x="66" y="1284"/>
                  </a:lnTo>
                  <a:lnTo>
                    <a:pt x="54" y="1278"/>
                  </a:lnTo>
                  <a:lnTo>
                    <a:pt x="36" y="1278"/>
                  </a:lnTo>
                  <a:lnTo>
                    <a:pt x="18" y="1284"/>
                  </a:lnTo>
                  <a:lnTo>
                    <a:pt x="18" y="1272"/>
                  </a:lnTo>
                  <a:lnTo>
                    <a:pt x="24" y="1260"/>
                  </a:lnTo>
                  <a:lnTo>
                    <a:pt x="24" y="1254"/>
                  </a:lnTo>
                  <a:lnTo>
                    <a:pt x="30" y="1248"/>
                  </a:lnTo>
                  <a:lnTo>
                    <a:pt x="24" y="1230"/>
                  </a:lnTo>
                  <a:lnTo>
                    <a:pt x="30" y="1218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30" y="1170"/>
                  </a:lnTo>
                  <a:lnTo>
                    <a:pt x="30" y="1152"/>
                  </a:lnTo>
                  <a:lnTo>
                    <a:pt x="24" y="1146"/>
                  </a:lnTo>
                  <a:lnTo>
                    <a:pt x="0" y="1116"/>
                  </a:lnTo>
                  <a:lnTo>
                    <a:pt x="6" y="1092"/>
                  </a:lnTo>
                  <a:lnTo>
                    <a:pt x="18" y="1056"/>
                  </a:lnTo>
                  <a:lnTo>
                    <a:pt x="24" y="1050"/>
                  </a:lnTo>
                  <a:lnTo>
                    <a:pt x="24" y="1038"/>
                  </a:lnTo>
                  <a:lnTo>
                    <a:pt x="24" y="1026"/>
                  </a:lnTo>
                  <a:lnTo>
                    <a:pt x="30" y="1002"/>
                  </a:lnTo>
                  <a:lnTo>
                    <a:pt x="36" y="990"/>
                  </a:lnTo>
                  <a:lnTo>
                    <a:pt x="42" y="984"/>
                  </a:lnTo>
                  <a:lnTo>
                    <a:pt x="54" y="984"/>
                  </a:lnTo>
                  <a:lnTo>
                    <a:pt x="66" y="978"/>
                  </a:lnTo>
                  <a:lnTo>
                    <a:pt x="72" y="978"/>
                  </a:lnTo>
                  <a:lnTo>
                    <a:pt x="90" y="978"/>
                  </a:lnTo>
                  <a:lnTo>
                    <a:pt x="102" y="972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78"/>
                  </a:lnTo>
                  <a:lnTo>
                    <a:pt x="120" y="984"/>
                  </a:lnTo>
                  <a:lnTo>
                    <a:pt x="138" y="984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6" y="972"/>
                  </a:lnTo>
                  <a:lnTo>
                    <a:pt x="156" y="966"/>
                  </a:lnTo>
                  <a:lnTo>
                    <a:pt x="156" y="960"/>
                  </a:lnTo>
                  <a:lnTo>
                    <a:pt x="180" y="948"/>
                  </a:lnTo>
                  <a:lnTo>
                    <a:pt x="186" y="924"/>
                  </a:lnTo>
                  <a:lnTo>
                    <a:pt x="192" y="918"/>
                  </a:lnTo>
                  <a:lnTo>
                    <a:pt x="228" y="924"/>
                  </a:lnTo>
                  <a:lnTo>
                    <a:pt x="246" y="906"/>
                  </a:lnTo>
                  <a:lnTo>
                    <a:pt x="240" y="888"/>
                  </a:lnTo>
                  <a:lnTo>
                    <a:pt x="234" y="888"/>
                  </a:lnTo>
                  <a:lnTo>
                    <a:pt x="234" y="882"/>
                  </a:lnTo>
                  <a:lnTo>
                    <a:pt x="228" y="870"/>
                  </a:lnTo>
                  <a:lnTo>
                    <a:pt x="228" y="864"/>
                  </a:lnTo>
                  <a:lnTo>
                    <a:pt x="222" y="864"/>
                  </a:lnTo>
                  <a:lnTo>
                    <a:pt x="216" y="858"/>
                  </a:lnTo>
                  <a:lnTo>
                    <a:pt x="198" y="852"/>
                  </a:lnTo>
                  <a:lnTo>
                    <a:pt x="192" y="852"/>
                  </a:lnTo>
                  <a:lnTo>
                    <a:pt x="186" y="846"/>
                  </a:lnTo>
                  <a:lnTo>
                    <a:pt x="174" y="834"/>
                  </a:lnTo>
                  <a:lnTo>
                    <a:pt x="162" y="822"/>
                  </a:lnTo>
                  <a:lnTo>
                    <a:pt x="156" y="816"/>
                  </a:lnTo>
                  <a:lnTo>
                    <a:pt x="162" y="810"/>
                  </a:lnTo>
                  <a:lnTo>
                    <a:pt x="174" y="798"/>
                  </a:lnTo>
                  <a:lnTo>
                    <a:pt x="180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68"/>
                  </a:lnTo>
                  <a:lnTo>
                    <a:pt x="192" y="744"/>
                  </a:lnTo>
                  <a:lnTo>
                    <a:pt x="186" y="708"/>
                  </a:lnTo>
                  <a:lnTo>
                    <a:pt x="174" y="690"/>
                  </a:lnTo>
                  <a:lnTo>
                    <a:pt x="168" y="672"/>
                  </a:lnTo>
                  <a:lnTo>
                    <a:pt x="156" y="630"/>
                  </a:lnTo>
                  <a:lnTo>
                    <a:pt x="156" y="606"/>
                  </a:lnTo>
                  <a:lnTo>
                    <a:pt x="150" y="606"/>
                  </a:lnTo>
                  <a:lnTo>
                    <a:pt x="150" y="600"/>
                  </a:lnTo>
                  <a:lnTo>
                    <a:pt x="144" y="600"/>
                  </a:lnTo>
                  <a:lnTo>
                    <a:pt x="150" y="594"/>
                  </a:lnTo>
                  <a:lnTo>
                    <a:pt x="144" y="588"/>
                  </a:lnTo>
                  <a:lnTo>
                    <a:pt x="138" y="558"/>
                  </a:lnTo>
                  <a:lnTo>
                    <a:pt x="138" y="528"/>
                  </a:lnTo>
                  <a:lnTo>
                    <a:pt x="132" y="480"/>
                  </a:lnTo>
                  <a:lnTo>
                    <a:pt x="132" y="462"/>
                  </a:lnTo>
                  <a:lnTo>
                    <a:pt x="126" y="426"/>
                  </a:lnTo>
                  <a:lnTo>
                    <a:pt x="126" y="396"/>
                  </a:lnTo>
                  <a:lnTo>
                    <a:pt x="126" y="378"/>
                  </a:lnTo>
                  <a:lnTo>
                    <a:pt x="126" y="360"/>
                  </a:lnTo>
                  <a:lnTo>
                    <a:pt x="132" y="318"/>
                  </a:lnTo>
                  <a:lnTo>
                    <a:pt x="132" y="24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2" y="210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92" y="198"/>
                  </a:lnTo>
                  <a:lnTo>
                    <a:pt x="198" y="198"/>
                  </a:lnTo>
                  <a:lnTo>
                    <a:pt x="216" y="180"/>
                  </a:lnTo>
                  <a:lnTo>
                    <a:pt x="222" y="174"/>
                  </a:lnTo>
                  <a:lnTo>
                    <a:pt x="222" y="168"/>
                  </a:lnTo>
                  <a:lnTo>
                    <a:pt x="228" y="168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44"/>
                  </a:lnTo>
                  <a:lnTo>
                    <a:pt x="258" y="144"/>
                  </a:lnTo>
                  <a:lnTo>
                    <a:pt x="276" y="150"/>
                  </a:lnTo>
                  <a:lnTo>
                    <a:pt x="300" y="150"/>
                  </a:lnTo>
                  <a:lnTo>
                    <a:pt x="312" y="150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8" y="156"/>
                  </a:lnTo>
                  <a:lnTo>
                    <a:pt x="354" y="150"/>
                  </a:lnTo>
                  <a:lnTo>
                    <a:pt x="372" y="144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08" y="126"/>
                  </a:lnTo>
                  <a:lnTo>
                    <a:pt x="414" y="120"/>
                  </a:lnTo>
                  <a:lnTo>
                    <a:pt x="420" y="120"/>
                  </a:lnTo>
                  <a:lnTo>
                    <a:pt x="426" y="120"/>
                  </a:lnTo>
                  <a:lnTo>
                    <a:pt x="432" y="114"/>
                  </a:lnTo>
                  <a:lnTo>
                    <a:pt x="450" y="102"/>
                  </a:lnTo>
                  <a:lnTo>
                    <a:pt x="456" y="96"/>
                  </a:lnTo>
                  <a:lnTo>
                    <a:pt x="468" y="90"/>
                  </a:lnTo>
                  <a:lnTo>
                    <a:pt x="474" y="90"/>
                  </a:lnTo>
                  <a:lnTo>
                    <a:pt x="480" y="84"/>
                  </a:lnTo>
                  <a:lnTo>
                    <a:pt x="486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504" y="72"/>
                  </a:lnTo>
                  <a:lnTo>
                    <a:pt x="510" y="66"/>
                  </a:lnTo>
                  <a:lnTo>
                    <a:pt x="516" y="66"/>
                  </a:lnTo>
                  <a:lnTo>
                    <a:pt x="522" y="60"/>
                  </a:lnTo>
                  <a:lnTo>
                    <a:pt x="552" y="42"/>
                  </a:lnTo>
                  <a:lnTo>
                    <a:pt x="558" y="36"/>
                  </a:lnTo>
                  <a:lnTo>
                    <a:pt x="576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94" y="18"/>
                  </a:lnTo>
                  <a:lnTo>
                    <a:pt x="600" y="12"/>
                  </a:lnTo>
                  <a:lnTo>
                    <a:pt x="612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6"/>
                  </a:lnTo>
                  <a:lnTo>
                    <a:pt x="648" y="6"/>
                  </a:lnTo>
                  <a:lnTo>
                    <a:pt x="660" y="6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38" y="18"/>
                  </a:lnTo>
                  <a:lnTo>
                    <a:pt x="744" y="18"/>
                  </a:lnTo>
                  <a:lnTo>
                    <a:pt x="756" y="18"/>
                  </a:lnTo>
                  <a:lnTo>
                    <a:pt x="762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80" y="24"/>
                  </a:lnTo>
                  <a:lnTo>
                    <a:pt x="792" y="24"/>
                  </a:lnTo>
                  <a:lnTo>
                    <a:pt x="792" y="30"/>
                  </a:lnTo>
                  <a:lnTo>
                    <a:pt x="810" y="30"/>
                  </a:lnTo>
                  <a:lnTo>
                    <a:pt x="822" y="36"/>
                  </a:lnTo>
                  <a:lnTo>
                    <a:pt x="834" y="42"/>
                  </a:lnTo>
                  <a:lnTo>
                    <a:pt x="840" y="48"/>
                  </a:lnTo>
                  <a:lnTo>
                    <a:pt x="846" y="54"/>
                  </a:lnTo>
                  <a:lnTo>
                    <a:pt x="852" y="60"/>
                  </a:lnTo>
                  <a:lnTo>
                    <a:pt x="858" y="66"/>
                  </a:lnTo>
                  <a:lnTo>
                    <a:pt x="864" y="66"/>
                  </a:lnTo>
                  <a:lnTo>
                    <a:pt x="864" y="72"/>
                  </a:lnTo>
                  <a:lnTo>
                    <a:pt x="876" y="78"/>
                  </a:lnTo>
                  <a:lnTo>
                    <a:pt x="900" y="84"/>
                  </a:lnTo>
                  <a:lnTo>
                    <a:pt x="906" y="90"/>
                  </a:lnTo>
                  <a:lnTo>
                    <a:pt x="912" y="90"/>
                  </a:lnTo>
                  <a:lnTo>
                    <a:pt x="912" y="96"/>
                  </a:lnTo>
                  <a:lnTo>
                    <a:pt x="924" y="108"/>
                  </a:lnTo>
                  <a:lnTo>
                    <a:pt x="930" y="108"/>
                  </a:lnTo>
                  <a:lnTo>
                    <a:pt x="936" y="114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60" y="138"/>
                  </a:lnTo>
                  <a:lnTo>
                    <a:pt x="966" y="144"/>
                  </a:lnTo>
                  <a:lnTo>
                    <a:pt x="972" y="156"/>
                  </a:lnTo>
                  <a:lnTo>
                    <a:pt x="978" y="162"/>
                  </a:lnTo>
                  <a:lnTo>
                    <a:pt x="984" y="162"/>
                  </a:lnTo>
                  <a:lnTo>
                    <a:pt x="990" y="168"/>
                  </a:lnTo>
                  <a:lnTo>
                    <a:pt x="996" y="174"/>
                  </a:lnTo>
                  <a:lnTo>
                    <a:pt x="1002" y="180"/>
                  </a:lnTo>
                  <a:lnTo>
                    <a:pt x="1008" y="180"/>
                  </a:lnTo>
                  <a:lnTo>
                    <a:pt x="1020" y="180"/>
                  </a:lnTo>
                  <a:lnTo>
                    <a:pt x="1038" y="174"/>
                  </a:lnTo>
                  <a:lnTo>
                    <a:pt x="1050" y="174"/>
                  </a:lnTo>
                  <a:lnTo>
                    <a:pt x="1056" y="174"/>
                  </a:lnTo>
                  <a:lnTo>
                    <a:pt x="1068" y="180"/>
                  </a:lnTo>
                  <a:lnTo>
                    <a:pt x="1080" y="180"/>
                  </a:lnTo>
                  <a:lnTo>
                    <a:pt x="1086" y="186"/>
                  </a:lnTo>
                  <a:lnTo>
                    <a:pt x="1098" y="192"/>
                  </a:lnTo>
                  <a:lnTo>
                    <a:pt x="1116" y="204"/>
                  </a:lnTo>
                  <a:lnTo>
                    <a:pt x="1122" y="210"/>
                  </a:lnTo>
                  <a:lnTo>
                    <a:pt x="1134" y="222"/>
                  </a:lnTo>
                  <a:lnTo>
                    <a:pt x="1146" y="234"/>
                  </a:lnTo>
                  <a:lnTo>
                    <a:pt x="1146" y="240"/>
                  </a:lnTo>
                  <a:lnTo>
                    <a:pt x="1152" y="246"/>
                  </a:lnTo>
                  <a:lnTo>
                    <a:pt x="1152" y="252"/>
                  </a:lnTo>
                  <a:lnTo>
                    <a:pt x="1152" y="258"/>
                  </a:lnTo>
                  <a:lnTo>
                    <a:pt x="1164" y="258"/>
                  </a:lnTo>
                  <a:lnTo>
                    <a:pt x="1170" y="264"/>
                  </a:lnTo>
                  <a:lnTo>
                    <a:pt x="1182" y="270"/>
                  </a:lnTo>
                  <a:lnTo>
                    <a:pt x="1188" y="270"/>
                  </a:lnTo>
                  <a:lnTo>
                    <a:pt x="1194" y="270"/>
                  </a:lnTo>
                  <a:lnTo>
                    <a:pt x="1206" y="276"/>
                  </a:lnTo>
                  <a:lnTo>
                    <a:pt x="1224" y="282"/>
                  </a:lnTo>
                  <a:lnTo>
                    <a:pt x="1236" y="282"/>
                  </a:lnTo>
                  <a:lnTo>
                    <a:pt x="1242" y="288"/>
                  </a:lnTo>
                  <a:lnTo>
                    <a:pt x="1254" y="288"/>
                  </a:lnTo>
                  <a:lnTo>
                    <a:pt x="1266" y="294"/>
                  </a:lnTo>
                  <a:lnTo>
                    <a:pt x="1272" y="294"/>
                  </a:lnTo>
                  <a:lnTo>
                    <a:pt x="1284" y="300"/>
                  </a:lnTo>
                  <a:lnTo>
                    <a:pt x="1290" y="300"/>
                  </a:lnTo>
                  <a:lnTo>
                    <a:pt x="1296" y="300"/>
                  </a:lnTo>
                  <a:lnTo>
                    <a:pt x="1302" y="306"/>
                  </a:lnTo>
                  <a:lnTo>
                    <a:pt x="1326" y="312"/>
                  </a:lnTo>
                  <a:lnTo>
                    <a:pt x="1338" y="312"/>
                  </a:lnTo>
                  <a:lnTo>
                    <a:pt x="1338" y="318"/>
                  </a:lnTo>
                  <a:lnTo>
                    <a:pt x="1344" y="318"/>
                  </a:lnTo>
                  <a:lnTo>
                    <a:pt x="1350" y="318"/>
                  </a:lnTo>
                  <a:lnTo>
                    <a:pt x="1362" y="324"/>
                  </a:lnTo>
                  <a:lnTo>
                    <a:pt x="1368" y="318"/>
                  </a:lnTo>
                  <a:lnTo>
                    <a:pt x="1374" y="318"/>
                  </a:lnTo>
                  <a:lnTo>
                    <a:pt x="1386" y="318"/>
                  </a:lnTo>
                  <a:lnTo>
                    <a:pt x="1398" y="324"/>
                  </a:lnTo>
                  <a:lnTo>
                    <a:pt x="1398" y="342"/>
                  </a:lnTo>
                  <a:lnTo>
                    <a:pt x="1356" y="342"/>
                  </a:lnTo>
                  <a:lnTo>
                    <a:pt x="1350" y="348"/>
                  </a:lnTo>
                  <a:lnTo>
                    <a:pt x="1350" y="372"/>
                  </a:lnTo>
                  <a:lnTo>
                    <a:pt x="1338" y="384"/>
                  </a:lnTo>
                  <a:lnTo>
                    <a:pt x="1332" y="408"/>
                  </a:lnTo>
                  <a:lnTo>
                    <a:pt x="1320" y="420"/>
                  </a:lnTo>
                  <a:lnTo>
                    <a:pt x="1254" y="426"/>
                  </a:lnTo>
                  <a:lnTo>
                    <a:pt x="1248" y="432"/>
                  </a:lnTo>
                  <a:lnTo>
                    <a:pt x="1230" y="432"/>
                  </a:lnTo>
                  <a:lnTo>
                    <a:pt x="1212" y="432"/>
                  </a:lnTo>
                  <a:lnTo>
                    <a:pt x="1212" y="426"/>
                  </a:lnTo>
                  <a:lnTo>
                    <a:pt x="1200" y="426"/>
                  </a:lnTo>
                  <a:lnTo>
                    <a:pt x="1182" y="414"/>
                  </a:lnTo>
                  <a:lnTo>
                    <a:pt x="1182" y="420"/>
                  </a:lnTo>
                  <a:lnTo>
                    <a:pt x="1164" y="420"/>
                  </a:lnTo>
                  <a:lnTo>
                    <a:pt x="1158" y="414"/>
                  </a:lnTo>
                  <a:lnTo>
                    <a:pt x="1152" y="408"/>
                  </a:lnTo>
                  <a:lnTo>
                    <a:pt x="1146" y="402"/>
                  </a:lnTo>
                  <a:lnTo>
                    <a:pt x="1122" y="396"/>
                  </a:lnTo>
                  <a:lnTo>
                    <a:pt x="1116" y="366"/>
                  </a:lnTo>
                  <a:lnTo>
                    <a:pt x="1116" y="348"/>
                  </a:lnTo>
                  <a:lnTo>
                    <a:pt x="1110" y="342"/>
                  </a:lnTo>
                  <a:lnTo>
                    <a:pt x="1104" y="336"/>
                  </a:lnTo>
                  <a:lnTo>
                    <a:pt x="1092" y="330"/>
                  </a:lnTo>
                  <a:lnTo>
                    <a:pt x="1074" y="330"/>
                  </a:lnTo>
                  <a:lnTo>
                    <a:pt x="1044" y="330"/>
                  </a:lnTo>
                  <a:lnTo>
                    <a:pt x="1014" y="336"/>
                  </a:lnTo>
                  <a:lnTo>
                    <a:pt x="984" y="342"/>
                  </a:lnTo>
                  <a:lnTo>
                    <a:pt x="978" y="330"/>
                  </a:lnTo>
                  <a:lnTo>
                    <a:pt x="966" y="324"/>
                  </a:lnTo>
                  <a:lnTo>
                    <a:pt x="888" y="336"/>
                  </a:lnTo>
                  <a:lnTo>
                    <a:pt x="888" y="330"/>
                  </a:lnTo>
                  <a:lnTo>
                    <a:pt x="870" y="336"/>
                  </a:lnTo>
                  <a:lnTo>
                    <a:pt x="858" y="336"/>
                  </a:lnTo>
                  <a:lnTo>
                    <a:pt x="852" y="354"/>
                  </a:lnTo>
                  <a:lnTo>
                    <a:pt x="852" y="402"/>
                  </a:lnTo>
                  <a:lnTo>
                    <a:pt x="840" y="414"/>
                  </a:lnTo>
                  <a:lnTo>
                    <a:pt x="834" y="420"/>
                  </a:lnTo>
                  <a:lnTo>
                    <a:pt x="834" y="444"/>
                  </a:lnTo>
                  <a:lnTo>
                    <a:pt x="834" y="450"/>
                  </a:lnTo>
                  <a:lnTo>
                    <a:pt x="852" y="456"/>
                  </a:lnTo>
                  <a:lnTo>
                    <a:pt x="864" y="462"/>
                  </a:lnTo>
                  <a:lnTo>
                    <a:pt x="894" y="456"/>
                  </a:lnTo>
                  <a:lnTo>
                    <a:pt x="900" y="468"/>
                  </a:lnTo>
                  <a:lnTo>
                    <a:pt x="918" y="462"/>
                  </a:lnTo>
                  <a:lnTo>
                    <a:pt x="924" y="468"/>
                  </a:lnTo>
                  <a:lnTo>
                    <a:pt x="924" y="47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2" name="Freeform 37">
              <a:extLst>
                <a:ext uri="{FF2B5EF4-FFF2-40B4-BE49-F238E27FC236}">
                  <a16:creationId xmlns:a16="http://schemas.microsoft.com/office/drawing/2014/main" id="{DED8A1FF-B656-4D37-BD26-5B0A7B1A4A6D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441" y="1898343"/>
              <a:ext cx="567992" cy="686605"/>
            </a:xfrm>
            <a:custGeom>
              <a:avLst/>
              <a:gdLst>
                <a:gd name="T0" fmla="*/ 79 w 1068"/>
                <a:gd name="T1" fmla="*/ 72 h 1290"/>
                <a:gd name="T2" fmla="*/ 75 w 1068"/>
                <a:gd name="T3" fmla="*/ 73 h 1290"/>
                <a:gd name="T4" fmla="*/ 72 w 1068"/>
                <a:gd name="T5" fmla="*/ 76 h 1290"/>
                <a:gd name="T6" fmla="*/ 70 w 1068"/>
                <a:gd name="T7" fmla="*/ 78 h 1290"/>
                <a:gd name="T8" fmla="*/ 67 w 1068"/>
                <a:gd name="T9" fmla="*/ 82 h 1290"/>
                <a:gd name="T10" fmla="*/ 61 w 1068"/>
                <a:gd name="T11" fmla="*/ 86 h 1290"/>
                <a:gd name="T12" fmla="*/ 60 w 1068"/>
                <a:gd name="T13" fmla="*/ 93 h 1290"/>
                <a:gd name="T14" fmla="*/ 59 w 1068"/>
                <a:gd name="T15" fmla="*/ 97 h 1290"/>
                <a:gd name="T16" fmla="*/ 61 w 1068"/>
                <a:gd name="T17" fmla="*/ 101 h 1290"/>
                <a:gd name="T18" fmla="*/ 63 w 1068"/>
                <a:gd name="T19" fmla="*/ 104 h 1290"/>
                <a:gd name="T20" fmla="*/ 62 w 1068"/>
                <a:gd name="T21" fmla="*/ 108 h 1290"/>
                <a:gd name="T22" fmla="*/ 60 w 1068"/>
                <a:gd name="T23" fmla="*/ 111 h 1290"/>
                <a:gd name="T24" fmla="*/ 56 w 1068"/>
                <a:gd name="T25" fmla="*/ 111 h 1290"/>
                <a:gd name="T26" fmla="*/ 53 w 1068"/>
                <a:gd name="T27" fmla="*/ 110 h 1290"/>
                <a:gd name="T28" fmla="*/ 50 w 1068"/>
                <a:gd name="T29" fmla="*/ 109 h 1290"/>
                <a:gd name="T30" fmla="*/ 47 w 1068"/>
                <a:gd name="T31" fmla="*/ 110 h 1290"/>
                <a:gd name="T32" fmla="*/ 51 w 1068"/>
                <a:gd name="T33" fmla="*/ 104 h 1290"/>
                <a:gd name="T34" fmla="*/ 50 w 1068"/>
                <a:gd name="T35" fmla="*/ 95 h 1290"/>
                <a:gd name="T36" fmla="*/ 51 w 1068"/>
                <a:gd name="T37" fmla="*/ 90 h 1290"/>
                <a:gd name="T38" fmla="*/ 47 w 1068"/>
                <a:gd name="T39" fmla="*/ 84 h 1290"/>
                <a:gd name="T40" fmla="*/ 42 w 1068"/>
                <a:gd name="T41" fmla="*/ 78 h 1290"/>
                <a:gd name="T42" fmla="*/ 33 w 1068"/>
                <a:gd name="T43" fmla="*/ 73 h 1290"/>
                <a:gd name="T44" fmla="*/ 26 w 1068"/>
                <a:gd name="T45" fmla="*/ 68 h 1290"/>
                <a:gd name="T46" fmla="*/ 22 w 1068"/>
                <a:gd name="T47" fmla="*/ 63 h 1290"/>
                <a:gd name="T48" fmla="*/ 11 w 1068"/>
                <a:gd name="T49" fmla="*/ 67 h 1290"/>
                <a:gd name="T50" fmla="*/ 0 w 1068"/>
                <a:gd name="T51" fmla="*/ 68 h 1290"/>
                <a:gd name="T52" fmla="*/ 2 w 1068"/>
                <a:gd name="T53" fmla="*/ 59 h 1290"/>
                <a:gd name="T54" fmla="*/ 12 w 1068"/>
                <a:gd name="T55" fmla="*/ 55 h 1290"/>
                <a:gd name="T56" fmla="*/ 12 w 1068"/>
                <a:gd name="T57" fmla="*/ 51 h 1290"/>
                <a:gd name="T58" fmla="*/ 10 w 1068"/>
                <a:gd name="T59" fmla="*/ 47 h 1290"/>
                <a:gd name="T60" fmla="*/ 9 w 1068"/>
                <a:gd name="T61" fmla="*/ 42 h 1290"/>
                <a:gd name="T62" fmla="*/ 8 w 1068"/>
                <a:gd name="T63" fmla="*/ 38 h 1290"/>
                <a:gd name="T64" fmla="*/ 8 w 1068"/>
                <a:gd name="T65" fmla="*/ 29 h 1290"/>
                <a:gd name="T66" fmla="*/ 10 w 1068"/>
                <a:gd name="T67" fmla="*/ 18 h 1290"/>
                <a:gd name="T68" fmla="*/ 25 w 1068"/>
                <a:gd name="T69" fmla="*/ 12 h 1290"/>
                <a:gd name="T70" fmla="*/ 27 w 1068"/>
                <a:gd name="T71" fmla="*/ 4 h 1290"/>
                <a:gd name="T72" fmla="*/ 35 w 1068"/>
                <a:gd name="T73" fmla="*/ 6 h 1290"/>
                <a:gd name="T74" fmla="*/ 39 w 1068"/>
                <a:gd name="T75" fmla="*/ 8 h 1290"/>
                <a:gd name="T76" fmla="*/ 41 w 1068"/>
                <a:gd name="T77" fmla="*/ 3 h 1290"/>
                <a:gd name="T78" fmla="*/ 45 w 1068"/>
                <a:gd name="T79" fmla="*/ 0 h 1290"/>
                <a:gd name="T80" fmla="*/ 51 w 1068"/>
                <a:gd name="T81" fmla="*/ 0 h 1290"/>
                <a:gd name="T82" fmla="*/ 56 w 1068"/>
                <a:gd name="T83" fmla="*/ 4 h 1290"/>
                <a:gd name="T84" fmla="*/ 62 w 1068"/>
                <a:gd name="T85" fmla="*/ 12 h 1290"/>
                <a:gd name="T86" fmla="*/ 58 w 1068"/>
                <a:gd name="T87" fmla="*/ 17 h 1290"/>
                <a:gd name="T88" fmla="*/ 60 w 1068"/>
                <a:gd name="T89" fmla="*/ 18 h 1290"/>
                <a:gd name="T90" fmla="*/ 64 w 1068"/>
                <a:gd name="T91" fmla="*/ 16 h 1290"/>
                <a:gd name="T92" fmla="*/ 68 w 1068"/>
                <a:gd name="T93" fmla="*/ 18 h 1290"/>
                <a:gd name="T94" fmla="*/ 71 w 1068"/>
                <a:gd name="T95" fmla="*/ 27 h 1290"/>
                <a:gd name="T96" fmla="*/ 74 w 1068"/>
                <a:gd name="T97" fmla="*/ 30 h 1290"/>
                <a:gd name="T98" fmla="*/ 82 w 1068"/>
                <a:gd name="T99" fmla="*/ 30 h 1290"/>
                <a:gd name="T100" fmla="*/ 87 w 1068"/>
                <a:gd name="T101" fmla="*/ 35 h 1290"/>
                <a:gd name="T102" fmla="*/ 85 w 1068"/>
                <a:gd name="T103" fmla="*/ 42 h 1290"/>
                <a:gd name="T104" fmla="*/ 81 w 1068"/>
                <a:gd name="T105" fmla="*/ 46 h 1290"/>
                <a:gd name="T106" fmla="*/ 86 w 1068"/>
                <a:gd name="T107" fmla="*/ 50 h 1290"/>
                <a:gd name="T108" fmla="*/ 89 w 1068"/>
                <a:gd name="T109" fmla="*/ 58 h 1290"/>
                <a:gd name="T110" fmla="*/ 92 w 1068"/>
                <a:gd name="T111" fmla="*/ 61 h 1290"/>
                <a:gd name="T112" fmla="*/ 86 w 1068"/>
                <a:gd name="T113" fmla="*/ 66 h 1290"/>
                <a:gd name="T114" fmla="*/ 85 w 1068"/>
                <a:gd name="T115" fmla="*/ 70 h 129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68"/>
                <a:gd name="T175" fmla="*/ 0 h 1290"/>
                <a:gd name="T176" fmla="*/ 1068 w 1068"/>
                <a:gd name="T177" fmla="*/ 1290 h 129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68" h="1290">
                  <a:moveTo>
                    <a:pt x="978" y="804"/>
                  </a:moveTo>
                  <a:lnTo>
                    <a:pt x="972" y="810"/>
                  </a:lnTo>
                  <a:lnTo>
                    <a:pt x="966" y="810"/>
                  </a:lnTo>
                  <a:lnTo>
                    <a:pt x="966" y="816"/>
                  </a:lnTo>
                  <a:lnTo>
                    <a:pt x="936" y="828"/>
                  </a:lnTo>
                  <a:lnTo>
                    <a:pt x="924" y="822"/>
                  </a:lnTo>
                  <a:lnTo>
                    <a:pt x="912" y="822"/>
                  </a:lnTo>
                  <a:lnTo>
                    <a:pt x="906" y="828"/>
                  </a:lnTo>
                  <a:lnTo>
                    <a:pt x="900" y="828"/>
                  </a:lnTo>
                  <a:lnTo>
                    <a:pt x="900" y="822"/>
                  </a:lnTo>
                  <a:lnTo>
                    <a:pt x="894" y="822"/>
                  </a:lnTo>
                  <a:lnTo>
                    <a:pt x="888" y="828"/>
                  </a:lnTo>
                  <a:lnTo>
                    <a:pt x="882" y="834"/>
                  </a:lnTo>
                  <a:lnTo>
                    <a:pt x="876" y="834"/>
                  </a:lnTo>
                  <a:lnTo>
                    <a:pt x="870" y="840"/>
                  </a:lnTo>
                  <a:lnTo>
                    <a:pt x="864" y="840"/>
                  </a:lnTo>
                  <a:lnTo>
                    <a:pt x="864" y="846"/>
                  </a:lnTo>
                  <a:lnTo>
                    <a:pt x="858" y="846"/>
                  </a:lnTo>
                  <a:lnTo>
                    <a:pt x="852" y="846"/>
                  </a:lnTo>
                  <a:lnTo>
                    <a:pt x="852" y="858"/>
                  </a:lnTo>
                  <a:lnTo>
                    <a:pt x="846" y="864"/>
                  </a:lnTo>
                  <a:lnTo>
                    <a:pt x="840" y="870"/>
                  </a:lnTo>
                  <a:lnTo>
                    <a:pt x="834" y="870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34" y="876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10" y="894"/>
                  </a:lnTo>
                  <a:lnTo>
                    <a:pt x="810" y="900"/>
                  </a:lnTo>
                  <a:lnTo>
                    <a:pt x="804" y="900"/>
                  </a:lnTo>
                  <a:lnTo>
                    <a:pt x="798" y="900"/>
                  </a:lnTo>
                  <a:lnTo>
                    <a:pt x="798" y="906"/>
                  </a:lnTo>
                  <a:lnTo>
                    <a:pt x="792" y="906"/>
                  </a:lnTo>
                  <a:lnTo>
                    <a:pt x="792" y="912"/>
                  </a:lnTo>
                  <a:lnTo>
                    <a:pt x="792" y="924"/>
                  </a:lnTo>
                  <a:lnTo>
                    <a:pt x="786" y="930"/>
                  </a:lnTo>
                  <a:lnTo>
                    <a:pt x="774" y="942"/>
                  </a:lnTo>
                  <a:lnTo>
                    <a:pt x="774" y="948"/>
                  </a:lnTo>
                  <a:lnTo>
                    <a:pt x="768" y="954"/>
                  </a:lnTo>
                  <a:lnTo>
                    <a:pt x="762" y="954"/>
                  </a:lnTo>
                  <a:lnTo>
                    <a:pt x="750" y="972"/>
                  </a:lnTo>
                  <a:lnTo>
                    <a:pt x="720" y="978"/>
                  </a:lnTo>
                  <a:lnTo>
                    <a:pt x="714" y="978"/>
                  </a:lnTo>
                  <a:lnTo>
                    <a:pt x="708" y="978"/>
                  </a:lnTo>
                  <a:lnTo>
                    <a:pt x="702" y="990"/>
                  </a:lnTo>
                  <a:lnTo>
                    <a:pt x="696" y="990"/>
                  </a:lnTo>
                  <a:lnTo>
                    <a:pt x="696" y="1008"/>
                  </a:lnTo>
                  <a:lnTo>
                    <a:pt x="690" y="1008"/>
                  </a:lnTo>
                  <a:lnTo>
                    <a:pt x="690" y="1014"/>
                  </a:lnTo>
                  <a:lnTo>
                    <a:pt x="684" y="1032"/>
                  </a:lnTo>
                  <a:lnTo>
                    <a:pt x="690" y="1050"/>
                  </a:lnTo>
                  <a:lnTo>
                    <a:pt x="690" y="1062"/>
                  </a:lnTo>
                  <a:lnTo>
                    <a:pt x="690" y="1068"/>
                  </a:lnTo>
                  <a:lnTo>
                    <a:pt x="690" y="1074"/>
                  </a:lnTo>
                  <a:lnTo>
                    <a:pt x="684" y="1074"/>
                  </a:lnTo>
                  <a:lnTo>
                    <a:pt x="684" y="1080"/>
                  </a:lnTo>
                  <a:lnTo>
                    <a:pt x="678" y="1086"/>
                  </a:lnTo>
                  <a:lnTo>
                    <a:pt x="678" y="1104"/>
                  </a:lnTo>
                  <a:lnTo>
                    <a:pt x="678" y="1110"/>
                  </a:lnTo>
                  <a:lnTo>
                    <a:pt x="678" y="1116"/>
                  </a:lnTo>
                  <a:lnTo>
                    <a:pt x="684" y="1116"/>
                  </a:lnTo>
                  <a:lnTo>
                    <a:pt x="678" y="1128"/>
                  </a:lnTo>
                  <a:lnTo>
                    <a:pt x="684" y="1128"/>
                  </a:lnTo>
                  <a:lnTo>
                    <a:pt x="690" y="1134"/>
                  </a:lnTo>
                  <a:lnTo>
                    <a:pt x="690" y="1140"/>
                  </a:lnTo>
                  <a:lnTo>
                    <a:pt x="696" y="1140"/>
                  </a:lnTo>
                  <a:lnTo>
                    <a:pt x="696" y="1146"/>
                  </a:lnTo>
                  <a:lnTo>
                    <a:pt x="696" y="1152"/>
                  </a:lnTo>
                  <a:lnTo>
                    <a:pt x="702" y="1152"/>
                  </a:lnTo>
                  <a:lnTo>
                    <a:pt x="708" y="1152"/>
                  </a:lnTo>
                  <a:lnTo>
                    <a:pt x="714" y="1158"/>
                  </a:lnTo>
                  <a:lnTo>
                    <a:pt x="714" y="1164"/>
                  </a:lnTo>
                  <a:lnTo>
                    <a:pt x="720" y="1170"/>
                  </a:lnTo>
                  <a:lnTo>
                    <a:pt x="720" y="1176"/>
                  </a:lnTo>
                  <a:lnTo>
                    <a:pt x="720" y="1182"/>
                  </a:lnTo>
                  <a:lnTo>
                    <a:pt x="726" y="1188"/>
                  </a:lnTo>
                  <a:lnTo>
                    <a:pt x="726" y="1194"/>
                  </a:lnTo>
                  <a:lnTo>
                    <a:pt x="732" y="1194"/>
                  </a:lnTo>
                  <a:lnTo>
                    <a:pt x="732" y="1200"/>
                  </a:lnTo>
                  <a:lnTo>
                    <a:pt x="738" y="1212"/>
                  </a:lnTo>
                  <a:lnTo>
                    <a:pt x="732" y="1218"/>
                  </a:lnTo>
                  <a:lnTo>
                    <a:pt x="732" y="1224"/>
                  </a:lnTo>
                  <a:lnTo>
                    <a:pt x="726" y="1230"/>
                  </a:lnTo>
                  <a:lnTo>
                    <a:pt x="720" y="1230"/>
                  </a:lnTo>
                  <a:lnTo>
                    <a:pt x="720" y="1236"/>
                  </a:lnTo>
                  <a:lnTo>
                    <a:pt x="720" y="1242"/>
                  </a:lnTo>
                  <a:lnTo>
                    <a:pt x="720" y="1248"/>
                  </a:lnTo>
                  <a:lnTo>
                    <a:pt x="714" y="1248"/>
                  </a:lnTo>
                  <a:lnTo>
                    <a:pt x="714" y="1254"/>
                  </a:lnTo>
                  <a:lnTo>
                    <a:pt x="708" y="1260"/>
                  </a:lnTo>
                  <a:lnTo>
                    <a:pt x="702" y="1272"/>
                  </a:lnTo>
                  <a:lnTo>
                    <a:pt x="696" y="1272"/>
                  </a:lnTo>
                  <a:lnTo>
                    <a:pt x="696" y="1278"/>
                  </a:lnTo>
                  <a:lnTo>
                    <a:pt x="690" y="1284"/>
                  </a:lnTo>
                  <a:lnTo>
                    <a:pt x="690" y="1290"/>
                  </a:lnTo>
                  <a:lnTo>
                    <a:pt x="684" y="1290"/>
                  </a:lnTo>
                  <a:lnTo>
                    <a:pt x="660" y="1284"/>
                  </a:lnTo>
                  <a:lnTo>
                    <a:pt x="660" y="1278"/>
                  </a:lnTo>
                  <a:lnTo>
                    <a:pt x="654" y="1272"/>
                  </a:lnTo>
                  <a:lnTo>
                    <a:pt x="648" y="1272"/>
                  </a:lnTo>
                  <a:lnTo>
                    <a:pt x="642" y="1272"/>
                  </a:lnTo>
                  <a:lnTo>
                    <a:pt x="642" y="1266"/>
                  </a:lnTo>
                  <a:lnTo>
                    <a:pt x="636" y="1266"/>
                  </a:lnTo>
                  <a:lnTo>
                    <a:pt x="630" y="1266"/>
                  </a:lnTo>
                  <a:lnTo>
                    <a:pt x="624" y="1266"/>
                  </a:lnTo>
                  <a:lnTo>
                    <a:pt x="624" y="1260"/>
                  </a:lnTo>
                  <a:lnTo>
                    <a:pt x="618" y="1260"/>
                  </a:lnTo>
                  <a:lnTo>
                    <a:pt x="612" y="1260"/>
                  </a:lnTo>
                  <a:lnTo>
                    <a:pt x="606" y="1260"/>
                  </a:lnTo>
                  <a:lnTo>
                    <a:pt x="600" y="1260"/>
                  </a:lnTo>
                  <a:lnTo>
                    <a:pt x="600" y="1254"/>
                  </a:lnTo>
                  <a:lnTo>
                    <a:pt x="594" y="1254"/>
                  </a:lnTo>
                  <a:lnTo>
                    <a:pt x="588" y="1248"/>
                  </a:lnTo>
                  <a:lnTo>
                    <a:pt x="588" y="1254"/>
                  </a:lnTo>
                  <a:lnTo>
                    <a:pt x="582" y="1254"/>
                  </a:lnTo>
                  <a:lnTo>
                    <a:pt x="582" y="1248"/>
                  </a:lnTo>
                  <a:lnTo>
                    <a:pt x="576" y="1248"/>
                  </a:lnTo>
                  <a:lnTo>
                    <a:pt x="576" y="1254"/>
                  </a:lnTo>
                  <a:lnTo>
                    <a:pt x="570" y="1248"/>
                  </a:lnTo>
                  <a:lnTo>
                    <a:pt x="564" y="1248"/>
                  </a:lnTo>
                  <a:lnTo>
                    <a:pt x="564" y="1254"/>
                  </a:lnTo>
                  <a:lnTo>
                    <a:pt x="558" y="1254"/>
                  </a:lnTo>
                  <a:lnTo>
                    <a:pt x="552" y="1254"/>
                  </a:lnTo>
                  <a:lnTo>
                    <a:pt x="552" y="1260"/>
                  </a:lnTo>
                  <a:lnTo>
                    <a:pt x="546" y="1260"/>
                  </a:lnTo>
                  <a:lnTo>
                    <a:pt x="540" y="1260"/>
                  </a:lnTo>
                  <a:lnTo>
                    <a:pt x="540" y="1254"/>
                  </a:lnTo>
                  <a:lnTo>
                    <a:pt x="534" y="1254"/>
                  </a:lnTo>
                  <a:lnTo>
                    <a:pt x="528" y="1224"/>
                  </a:lnTo>
                  <a:lnTo>
                    <a:pt x="534" y="1212"/>
                  </a:lnTo>
                  <a:lnTo>
                    <a:pt x="546" y="1206"/>
                  </a:lnTo>
                  <a:lnTo>
                    <a:pt x="582" y="1206"/>
                  </a:lnTo>
                  <a:lnTo>
                    <a:pt x="588" y="1188"/>
                  </a:lnTo>
                  <a:lnTo>
                    <a:pt x="582" y="1188"/>
                  </a:lnTo>
                  <a:lnTo>
                    <a:pt x="582" y="1182"/>
                  </a:lnTo>
                  <a:lnTo>
                    <a:pt x="576" y="1176"/>
                  </a:lnTo>
                  <a:lnTo>
                    <a:pt x="558" y="1128"/>
                  </a:lnTo>
                  <a:lnTo>
                    <a:pt x="558" y="1122"/>
                  </a:lnTo>
                  <a:lnTo>
                    <a:pt x="576" y="1098"/>
                  </a:lnTo>
                  <a:lnTo>
                    <a:pt x="576" y="1092"/>
                  </a:lnTo>
                  <a:lnTo>
                    <a:pt x="582" y="1092"/>
                  </a:lnTo>
                  <a:lnTo>
                    <a:pt x="582" y="1086"/>
                  </a:lnTo>
                  <a:lnTo>
                    <a:pt x="582" y="1080"/>
                  </a:lnTo>
                  <a:lnTo>
                    <a:pt x="582" y="1074"/>
                  </a:lnTo>
                  <a:lnTo>
                    <a:pt x="588" y="1074"/>
                  </a:lnTo>
                  <a:lnTo>
                    <a:pt x="588" y="1062"/>
                  </a:lnTo>
                  <a:lnTo>
                    <a:pt x="588" y="1056"/>
                  </a:lnTo>
                  <a:lnTo>
                    <a:pt x="588" y="1044"/>
                  </a:lnTo>
                  <a:lnTo>
                    <a:pt x="588" y="1038"/>
                  </a:lnTo>
                  <a:lnTo>
                    <a:pt x="588" y="1032"/>
                  </a:lnTo>
                  <a:lnTo>
                    <a:pt x="582" y="1026"/>
                  </a:lnTo>
                  <a:lnTo>
                    <a:pt x="582" y="1020"/>
                  </a:lnTo>
                  <a:lnTo>
                    <a:pt x="582" y="1008"/>
                  </a:lnTo>
                  <a:lnTo>
                    <a:pt x="576" y="990"/>
                  </a:lnTo>
                  <a:lnTo>
                    <a:pt x="570" y="972"/>
                  </a:lnTo>
                  <a:lnTo>
                    <a:pt x="552" y="972"/>
                  </a:lnTo>
                  <a:lnTo>
                    <a:pt x="540" y="960"/>
                  </a:lnTo>
                  <a:lnTo>
                    <a:pt x="534" y="954"/>
                  </a:lnTo>
                  <a:lnTo>
                    <a:pt x="534" y="948"/>
                  </a:lnTo>
                  <a:lnTo>
                    <a:pt x="516" y="948"/>
                  </a:lnTo>
                  <a:lnTo>
                    <a:pt x="522" y="936"/>
                  </a:lnTo>
                  <a:lnTo>
                    <a:pt x="522" y="930"/>
                  </a:lnTo>
                  <a:lnTo>
                    <a:pt x="504" y="918"/>
                  </a:lnTo>
                  <a:lnTo>
                    <a:pt x="492" y="906"/>
                  </a:lnTo>
                  <a:lnTo>
                    <a:pt x="486" y="894"/>
                  </a:lnTo>
                  <a:lnTo>
                    <a:pt x="468" y="876"/>
                  </a:lnTo>
                  <a:lnTo>
                    <a:pt x="450" y="876"/>
                  </a:lnTo>
                  <a:lnTo>
                    <a:pt x="414" y="882"/>
                  </a:lnTo>
                  <a:lnTo>
                    <a:pt x="402" y="870"/>
                  </a:lnTo>
                  <a:lnTo>
                    <a:pt x="390" y="864"/>
                  </a:lnTo>
                  <a:lnTo>
                    <a:pt x="384" y="852"/>
                  </a:lnTo>
                  <a:lnTo>
                    <a:pt x="378" y="840"/>
                  </a:lnTo>
                  <a:lnTo>
                    <a:pt x="378" y="834"/>
                  </a:lnTo>
                  <a:lnTo>
                    <a:pt x="360" y="822"/>
                  </a:lnTo>
                  <a:lnTo>
                    <a:pt x="342" y="828"/>
                  </a:lnTo>
                  <a:lnTo>
                    <a:pt x="324" y="816"/>
                  </a:lnTo>
                  <a:lnTo>
                    <a:pt x="318" y="816"/>
                  </a:lnTo>
                  <a:lnTo>
                    <a:pt x="306" y="810"/>
                  </a:lnTo>
                  <a:lnTo>
                    <a:pt x="306" y="804"/>
                  </a:lnTo>
                  <a:lnTo>
                    <a:pt x="300" y="804"/>
                  </a:lnTo>
                  <a:lnTo>
                    <a:pt x="300" y="780"/>
                  </a:lnTo>
                  <a:lnTo>
                    <a:pt x="300" y="774"/>
                  </a:lnTo>
                  <a:lnTo>
                    <a:pt x="306" y="774"/>
                  </a:lnTo>
                  <a:lnTo>
                    <a:pt x="312" y="756"/>
                  </a:lnTo>
                  <a:lnTo>
                    <a:pt x="312" y="732"/>
                  </a:lnTo>
                  <a:lnTo>
                    <a:pt x="300" y="720"/>
                  </a:lnTo>
                  <a:lnTo>
                    <a:pt x="288" y="702"/>
                  </a:lnTo>
                  <a:lnTo>
                    <a:pt x="276" y="702"/>
                  </a:lnTo>
                  <a:lnTo>
                    <a:pt x="258" y="714"/>
                  </a:lnTo>
                  <a:lnTo>
                    <a:pt x="246" y="726"/>
                  </a:lnTo>
                  <a:lnTo>
                    <a:pt x="222" y="726"/>
                  </a:lnTo>
                  <a:lnTo>
                    <a:pt x="192" y="726"/>
                  </a:lnTo>
                  <a:lnTo>
                    <a:pt x="174" y="738"/>
                  </a:lnTo>
                  <a:lnTo>
                    <a:pt x="162" y="750"/>
                  </a:lnTo>
                  <a:lnTo>
                    <a:pt x="144" y="762"/>
                  </a:lnTo>
                  <a:lnTo>
                    <a:pt x="138" y="768"/>
                  </a:lnTo>
                  <a:lnTo>
                    <a:pt x="126" y="774"/>
                  </a:lnTo>
                  <a:lnTo>
                    <a:pt x="114" y="780"/>
                  </a:lnTo>
                  <a:lnTo>
                    <a:pt x="108" y="786"/>
                  </a:lnTo>
                  <a:lnTo>
                    <a:pt x="102" y="786"/>
                  </a:lnTo>
                  <a:lnTo>
                    <a:pt x="54" y="786"/>
                  </a:lnTo>
                  <a:lnTo>
                    <a:pt x="48" y="792"/>
                  </a:lnTo>
                  <a:lnTo>
                    <a:pt x="36" y="798"/>
                  </a:lnTo>
                  <a:lnTo>
                    <a:pt x="18" y="792"/>
                  </a:lnTo>
                  <a:lnTo>
                    <a:pt x="6" y="780"/>
                  </a:lnTo>
                  <a:lnTo>
                    <a:pt x="6" y="768"/>
                  </a:lnTo>
                  <a:lnTo>
                    <a:pt x="0" y="756"/>
                  </a:lnTo>
                  <a:lnTo>
                    <a:pt x="0" y="738"/>
                  </a:lnTo>
                  <a:lnTo>
                    <a:pt x="6" y="702"/>
                  </a:lnTo>
                  <a:lnTo>
                    <a:pt x="24" y="702"/>
                  </a:lnTo>
                  <a:lnTo>
                    <a:pt x="24" y="696"/>
                  </a:lnTo>
                  <a:lnTo>
                    <a:pt x="24" y="690"/>
                  </a:lnTo>
                  <a:lnTo>
                    <a:pt x="24" y="678"/>
                  </a:lnTo>
                  <a:lnTo>
                    <a:pt x="24" y="672"/>
                  </a:lnTo>
                  <a:lnTo>
                    <a:pt x="30" y="672"/>
                  </a:lnTo>
                  <a:lnTo>
                    <a:pt x="30" y="666"/>
                  </a:lnTo>
                  <a:lnTo>
                    <a:pt x="36" y="660"/>
                  </a:lnTo>
                  <a:lnTo>
                    <a:pt x="84" y="648"/>
                  </a:lnTo>
                  <a:lnTo>
                    <a:pt x="126" y="642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32" y="618"/>
                  </a:lnTo>
                  <a:lnTo>
                    <a:pt x="138" y="612"/>
                  </a:lnTo>
                  <a:lnTo>
                    <a:pt x="138" y="606"/>
                  </a:lnTo>
                  <a:lnTo>
                    <a:pt x="138" y="600"/>
                  </a:lnTo>
                  <a:lnTo>
                    <a:pt x="132" y="600"/>
                  </a:lnTo>
                  <a:lnTo>
                    <a:pt x="132" y="594"/>
                  </a:lnTo>
                  <a:lnTo>
                    <a:pt x="132" y="588"/>
                  </a:lnTo>
                  <a:lnTo>
                    <a:pt x="132" y="582"/>
                  </a:lnTo>
                  <a:lnTo>
                    <a:pt x="132" y="576"/>
                  </a:lnTo>
                  <a:lnTo>
                    <a:pt x="126" y="570"/>
                  </a:lnTo>
                  <a:lnTo>
                    <a:pt x="120" y="564"/>
                  </a:lnTo>
                  <a:lnTo>
                    <a:pt x="120" y="558"/>
                  </a:lnTo>
                  <a:lnTo>
                    <a:pt x="120" y="552"/>
                  </a:lnTo>
                  <a:lnTo>
                    <a:pt x="114" y="552"/>
                  </a:lnTo>
                  <a:lnTo>
                    <a:pt x="114" y="546"/>
                  </a:lnTo>
                  <a:lnTo>
                    <a:pt x="114" y="540"/>
                  </a:lnTo>
                  <a:lnTo>
                    <a:pt x="108" y="534"/>
                  </a:lnTo>
                  <a:lnTo>
                    <a:pt x="108" y="528"/>
                  </a:lnTo>
                  <a:lnTo>
                    <a:pt x="114" y="522"/>
                  </a:lnTo>
                  <a:lnTo>
                    <a:pt x="108" y="516"/>
                  </a:lnTo>
                  <a:lnTo>
                    <a:pt x="108" y="498"/>
                  </a:lnTo>
                  <a:lnTo>
                    <a:pt x="108" y="492"/>
                  </a:lnTo>
                  <a:lnTo>
                    <a:pt x="108" y="486"/>
                  </a:lnTo>
                  <a:lnTo>
                    <a:pt x="108" y="480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08" y="462"/>
                  </a:lnTo>
                  <a:lnTo>
                    <a:pt x="102" y="456"/>
                  </a:lnTo>
                  <a:lnTo>
                    <a:pt x="102" y="444"/>
                  </a:lnTo>
                  <a:lnTo>
                    <a:pt x="96" y="444"/>
                  </a:lnTo>
                  <a:lnTo>
                    <a:pt x="90" y="432"/>
                  </a:lnTo>
                  <a:lnTo>
                    <a:pt x="96" y="432"/>
                  </a:lnTo>
                  <a:lnTo>
                    <a:pt x="96" y="408"/>
                  </a:lnTo>
                  <a:lnTo>
                    <a:pt x="96" y="396"/>
                  </a:lnTo>
                  <a:lnTo>
                    <a:pt x="96" y="360"/>
                  </a:lnTo>
                  <a:lnTo>
                    <a:pt x="96" y="354"/>
                  </a:lnTo>
                  <a:lnTo>
                    <a:pt x="102" y="354"/>
                  </a:lnTo>
                  <a:lnTo>
                    <a:pt x="102" y="348"/>
                  </a:lnTo>
                  <a:lnTo>
                    <a:pt x="96" y="330"/>
                  </a:lnTo>
                  <a:lnTo>
                    <a:pt x="90" y="306"/>
                  </a:lnTo>
                  <a:lnTo>
                    <a:pt x="84" y="288"/>
                  </a:lnTo>
                  <a:lnTo>
                    <a:pt x="84" y="264"/>
                  </a:lnTo>
                  <a:lnTo>
                    <a:pt x="90" y="240"/>
                  </a:lnTo>
                  <a:lnTo>
                    <a:pt x="96" y="222"/>
                  </a:lnTo>
                  <a:lnTo>
                    <a:pt x="102" y="222"/>
                  </a:lnTo>
                  <a:lnTo>
                    <a:pt x="108" y="210"/>
                  </a:lnTo>
                  <a:lnTo>
                    <a:pt x="114" y="210"/>
                  </a:lnTo>
                  <a:lnTo>
                    <a:pt x="126" y="198"/>
                  </a:lnTo>
                  <a:lnTo>
                    <a:pt x="156" y="192"/>
                  </a:lnTo>
                  <a:lnTo>
                    <a:pt x="174" y="186"/>
                  </a:lnTo>
                  <a:lnTo>
                    <a:pt x="204" y="174"/>
                  </a:lnTo>
                  <a:lnTo>
                    <a:pt x="222" y="168"/>
                  </a:lnTo>
                  <a:lnTo>
                    <a:pt x="234" y="162"/>
                  </a:lnTo>
                  <a:lnTo>
                    <a:pt x="246" y="156"/>
                  </a:lnTo>
                  <a:lnTo>
                    <a:pt x="288" y="144"/>
                  </a:lnTo>
                  <a:lnTo>
                    <a:pt x="288" y="132"/>
                  </a:lnTo>
                  <a:lnTo>
                    <a:pt x="294" y="120"/>
                  </a:lnTo>
                  <a:lnTo>
                    <a:pt x="300" y="108"/>
                  </a:lnTo>
                  <a:lnTo>
                    <a:pt x="306" y="90"/>
                  </a:lnTo>
                  <a:lnTo>
                    <a:pt x="312" y="78"/>
                  </a:lnTo>
                  <a:lnTo>
                    <a:pt x="324" y="78"/>
                  </a:lnTo>
                  <a:lnTo>
                    <a:pt x="324" y="54"/>
                  </a:lnTo>
                  <a:lnTo>
                    <a:pt x="318" y="48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60" y="6"/>
                  </a:lnTo>
                  <a:lnTo>
                    <a:pt x="384" y="0"/>
                  </a:lnTo>
                  <a:lnTo>
                    <a:pt x="390" y="6"/>
                  </a:lnTo>
                  <a:lnTo>
                    <a:pt x="390" y="18"/>
                  </a:lnTo>
                  <a:lnTo>
                    <a:pt x="390" y="54"/>
                  </a:lnTo>
                  <a:lnTo>
                    <a:pt x="396" y="66"/>
                  </a:lnTo>
                  <a:lnTo>
                    <a:pt x="414" y="84"/>
                  </a:lnTo>
                  <a:lnTo>
                    <a:pt x="426" y="90"/>
                  </a:lnTo>
                  <a:lnTo>
                    <a:pt x="432" y="96"/>
                  </a:lnTo>
                  <a:lnTo>
                    <a:pt x="426" y="102"/>
                  </a:lnTo>
                  <a:lnTo>
                    <a:pt x="438" y="102"/>
                  </a:lnTo>
                  <a:lnTo>
                    <a:pt x="444" y="108"/>
                  </a:lnTo>
                  <a:lnTo>
                    <a:pt x="444" y="102"/>
                  </a:lnTo>
                  <a:lnTo>
                    <a:pt x="450" y="90"/>
                  </a:lnTo>
                  <a:lnTo>
                    <a:pt x="450" y="84"/>
                  </a:lnTo>
                  <a:lnTo>
                    <a:pt x="450" y="78"/>
                  </a:lnTo>
                  <a:lnTo>
                    <a:pt x="456" y="72"/>
                  </a:lnTo>
                  <a:lnTo>
                    <a:pt x="462" y="66"/>
                  </a:lnTo>
                  <a:lnTo>
                    <a:pt x="462" y="60"/>
                  </a:lnTo>
                  <a:lnTo>
                    <a:pt x="462" y="54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74" y="24"/>
                  </a:lnTo>
                  <a:lnTo>
                    <a:pt x="480" y="18"/>
                  </a:lnTo>
                  <a:lnTo>
                    <a:pt x="486" y="12"/>
                  </a:lnTo>
                  <a:lnTo>
                    <a:pt x="492" y="12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2" y="6"/>
                  </a:lnTo>
                  <a:lnTo>
                    <a:pt x="534" y="6"/>
                  </a:lnTo>
                  <a:lnTo>
                    <a:pt x="540" y="6"/>
                  </a:lnTo>
                  <a:lnTo>
                    <a:pt x="546" y="6"/>
                  </a:lnTo>
                  <a:lnTo>
                    <a:pt x="564" y="0"/>
                  </a:lnTo>
                  <a:lnTo>
                    <a:pt x="570" y="0"/>
                  </a:lnTo>
                  <a:lnTo>
                    <a:pt x="576" y="6"/>
                  </a:lnTo>
                  <a:lnTo>
                    <a:pt x="582" y="6"/>
                  </a:lnTo>
                  <a:lnTo>
                    <a:pt x="594" y="6"/>
                  </a:lnTo>
                  <a:lnTo>
                    <a:pt x="600" y="6"/>
                  </a:lnTo>
                  <a:lnTo>
                    <a:pt x="606" y="6"/>
                  </a:lnTo>
                  <a:lnTo>
                    <a:pt x="624" y="0"/>
                  </a:lnTo>
                  <a:lnTo>
                    <a:pt x="636" y="0"/>
                  </a:lnTo>
                  <a:lnTo>
                    <a:pt x="636" y="6"/>
                  </a:lnTo>
                  <a:lnTo>
                    <a:pt x="654" y="18"/>
                  </a:lnTo>
                  <a:lnTo>
                    <a:pt x="654" y="30"/>
                  </a:lnTo>
                  <a:lnTo>
                    <a:pt x="642" y="42"/>
                  </a:lnTo>
                  <a:lnTo>
                    <a:pt x="630" y="66"/>
                  </a:lnTo>
                  <a:lnTo>
                    <a:pt x="636" y="84"/>
                  </a:lnTo>
                  <a:lnTo>
                    <a:pt x="636" y="96"/>
                  </a:lnTo>
                  <a:lnTo>
                    <a:pt x="648" y="102"/>
                  </a:lnTo>
                  <a:lnTo>
                    <a:pt x="672" y="114"/>
                  </a:lnTo>
                  <a:lnTo>
                    <a:pt x="702" y="120"/>
                  </a:lnTo>
                  <a:lnTo>
                    <a:pt x="714" y="126"/>
                  </a:lnTo>
                  <a:lnTo>
                    <a:pt x="720" y="144"/>
                  </a:lnTo>
                  <a:lnTo>
                    <a:pt x="720" y="156"/>
                  </a:lnTo>
                  <a:lnTo>
                    <a:pt x="708" y="156"/>
                  </a:lnTo>
                  <a:lnTo>
                    <a:pt x="702" y="162"/>
                  </a:lnTo>
                  <a:lnTo>
                    <a:pt x="702" y="174"/>
                  </a:lnTo>
                  <a:lnTo>
                    <a:pt x="696" y="174"/>
                  </a:lnTo>
                  <a:lnTo>
                    <a:pt x="690" y="180"/>
                  </a:lnTo>
                  <a:lnTo>
                    <a:pt x="678" y="186"/>
                  </a:lnTo>
                  <a:lnTo>
                    <a:pt x="672" y="192"/>
                  </a:lnTo>
                  <a:lnTo>
                    <a:pt x="654" y="210"/>
                  </a:lnTo>
                  <a:lnTo>
                    <a:pt x="654" y="216"/>
                  </a:lnTo>
                  <a:lnTo>
                    <a:pt x="648" y="246"/>
                  </a:lnTo>
                  <a:lnTo>
                    <a:pt x="660" y="246"/>
                  </a:lnTo>
                  <a:lnTo>
                    <a:pt x="666" y="234"/>
                  </a:lnTo>
                  <a:lnTo>
                    <a:pt x="678" y="240"/>
                  </a:lnTo>
                  <a:lnTo>
                    <a:pt x="684" y="228"/>
                  </a:lnTo>
                  <a:lnTo>
                    <a:pt x="690" y="210"/>
                  </a:lnTo>
                  <a:lnTo>
                    <a:pt x="696" y="204"/>
                  </a:lnTo>
                  <a:lnTo>
                    <a:pt x="702" y="204"/>
                  </a:lnTo>
                  <a:lnTo>
                    <a:pt x="708" y="192"/>
                  </a:lnTo>
                  <a:lnTo>
                    <a:pt x="714" y="192"/>
                  </a:lnTo>
                  <a:lnTo>
                    <a:pt x="714" y="186"/>
                  </a:lnTo>
                  <a:lnTo>
                    <a:pt x="726" y="186"/>
                  </a:lnTo>
                  <a:lnTo>
                    <a:pt x="732" y="186"/>
                  </a:lnTo>
                  <a:lnTo>
                    <a:pt x="738" y="186"/>
                  </a:lnTo>
                  <a:lnTo>
                    <a:pt x="744" y="216"/>
                  </a:lnTo>
                  <a:lnTo>
                    <a:pt x="750" y="210"/>
                  </a:lnTo>
                  <a:lnTo>
                    <a:pt x="750" y="204"/>
                  </a:lnTo>
                  <a:lnTo>
                    <a:pt x="756" y="192"/>
                  </a:lnTo>
                  <a:lnTo>
                    <a:pt x="762" y="192"/>
                  </a:lnTo>
                  <a:lnTo>
                    <a:pt x="768" y="192"/>
                  </a:lnTo>
                  <a:lnTo>
                    <a:pt x="780" y="186"/>
                  </a:lnTo>
                  <a:lnTo>
                    <a:pt x="786" y="204"/>
                  </a:lnTo>
                  <a:lnTo>
                    <a:pt x="774" y="210"/>
                  </a:lnTo>
                  <a:lnTo>
                    <a:pt x="774" y="234"/>
                  </a:lnTo>
                  <a:lnTo>
                    <a:pt x="780" y="246"/>
                  </a:lnTo>
                  <a:lnTo>
                    <a:pt x="804" y="264"/>
                  </a:lnTo>
                  <a:lnTo>
                    <a:pt x="816" y="276"/>
                  </a:lnTo>
                  <a:lnTo>
                    <a:pt x="822" y="288"/>
                  </a:lnTo>
                  <a:lnTo>
                    <a:pt x="822" y="312"/>
                  </a:lnTo>
                  <a:lnTo>
                    <a:pt x="816" y="312"/>
                  </a:lnTo>
                  <a:lnTo>
                    <a:pt x="810" y="318"/>
                  </a:lnTo>
                  <a:lnTo>
                    <a:pt x="810" y="348"/>
                  </a:lnTo>
                  <a:lnTo>
                    <a:pt x="816" y="348"/>
                  </a:lnTo>
                  <a:lnTo>
                    <a:pt x="816" y="342"/>
                  </a:lnTo>
                  <a:lnTo>
                    <a:pt x="834" y="342"/>
                  </a:lnTo>
                  <a:lnTo>
                    <a:pt x="834" y="348"/>
                  </a:lnTo>
                  <a:lnTo>
                    <a:pt x="846" y="348"/>
                  </a:lnTo>
                  <a:lnTo>
                    <a:pt x="846" y="342"/>
                  </a:lnTo>
                  <a:lnTo>
                    <a:pt x="882" y="342"/>
                  </a:lnTo>
                  <a:lnTo>
                    <a:pt x="894" y="366"/>
                  </a:lnTo>
                  <a:lnTo>
                    <a:pt x="900" y="372"/>
                  </a:lnTo>
                  <a:lnTo>
                    <a:pt x="906" y="384"/>
                  </a:lnTo>
                  <a:lnTo>
                    <a:pt x="924" y="384"/>
                  </a:lnTo>
                  <a:lnTo>
                    <a:pt x="930" y="372"/>
                  </a:lnTo>
                  <a:lnTo>
                    <a:pt x="936" y="372"/>
                  </a:lnTo>
                  <a:lnTo>
                    <a:pt x="942" y="348"/>
                  </a:lnTo>
                  <a:lnTo>
                    <a:pt x="954" y="348"/>
                  </a:lnTo>
                  <a:lnTo>
                    <a:pt x="954" y="342"/>
                  </a:lnTo>
                  <a:lnTo>
                    <a:pt x="984" y="342"/>
                  </a:lnTo>
                  <a:lnTo>
                    <a:pt x="978" y="390"/>
                  </a:lnTo>
                  <a:lnTo>
                    <a:pt x="984" y="390"/>
                  </a:lnTo>
                  <a:lnTo>
                    <a:pt x="990" y="396"/>
                  </a:lnTo>
                  <a:lnTo>
                    <a:pt x="996" y="396"/>
                  </a:lnTo>
                  <a:lnTo>
                    <a:pt x="1002" y="396"/>
                  </a:lnTo>
                  <a:lnTo>
                    <a:pt x="1002" y="408"/>
                  </a:lnTo>
                  <a:lnTo>
                    <a:pt x="990" y="414"/>
                  </a:lnTo>
                  <a:lnTo>
                    <a:pt x="984" y="426"/>
                  </a:lnTo>
                  <a:lnTo>
                    <a:pt x="990" y="444"/>
                  </a:lnTo>
                  <a:lnTo>
                    <a:pt x="996" y="450"/>
                  </a:lnTo>
                  <a:lnTo>
                    <a:pt x="990" y="462"/>
                  </a:lnTo>
                  <a:lnTo>
                    <a:pt x="990" y="468"/>
                  </a:lnTo>
                  <a:lnTo>
                    <a:pt x="984" y="480"/>
                  </a:lnTo>
                  <a:lnTo>
                    <a:pt x="978" y="486"/>
                  </a:lnTo>
                  <a:lnTo>
                    <a:pt x="972" y="486"/>
                  </a:lnTo>
                  <a:lnTo>
                    <a:pt x="966" y="492"/>
                  </a:lnTo>
                  <a:lnTo>
                    <a:pt x="966" y="498"/>
                  </a:lnTo>
                  <a:lnTo>
                    <a:pt x="954" y="510"/>
                  </a:lnTo>
                  <a:lnTo>
                    <a:pt x="948" y="510"/>
                  </a:lnTo>
                  <a:lnTo>
                    <a:pt x="942" y="516"/>
                  </a:lnTo>
                  <a:lnTo>
                    <a:pt x="936" y="528"/>
                  </a:lnTo>
                  <a:lnTo>
                    <a:pt x="936" y="534"/>
                  </a:lnTo>
                  <a:lnTo>
                    <a:pt x="936" y="546"/>
                  </a:lnTo>
                  <a:lnTo>
                    <a:pt x="936" y="558"/>
                  </a:lnTo>
                  <a:lnTo>
                    <a:pt x="948" y="558"/>
                  </a:lnTo>
                  <a:lnTo>
                    <a:pt x="954" y="558"/>
                  </a:lnTo>
                  <a:lnTo>
                    <a:pt x="996" y="558"/>
                  </a:lnTo>
                  <a:lnTo>
                    <a:pt x="1002" y="570"/>
                  </a:lnTo>
                  <a:lnTo>
                    <a:pt x="996" y="576"/>
                  </a:lnTo>
                  <a:lnTo>
                    <a:pt x="996" y="588"/>
                  </a:lnTo>
                  <a:lnTo>
                    <a:pt x="984" y="588"/>
                  </a:lnTo>
                  <a:lnTo>
                    <a:pt x="990" y="612"/>
                  </a:lnTo>
                  <a:lnTo>
                    <a:pt x="1014" y="606"/>
                  </a:lnTo>
                  <a:lnTo>
                    <a:pt x="1014" y="636"/>
                  </a:lnTo>
                  <a:lnTo>
                    <a:pt x="1014" y="648"/>
                  </a:lnTo>
                  <a:lnTo>
                    <a:pt x="1020" y="648"/>
                  </a:lnTo>
                  <a:lnTo>
                    <a:pt x="1026" y="660"/>
                  </a:lnTo>
                  <a:lnTo>
                    <a:pt x="1038" y="654"/>
                  </a:lnTo>
                  <a:lnTo>
                    <a:pt x="1050" y="654"/>
                  </a:lnTo>
                  <a:lnTo>
                    <a:pt x="1062" y="654"/>
                  </a:lnTo>
                  <a:lnTo>
                    <a:pt x="1068" y="660"/>
                  </a:lnTo>
                  <a:lnTo>
                    <a:pt x="1068" y="678"/>
                  </a:lnTo>
                  <a:lnTo>
                    <a:pt x="1068" y="684"/>
                  </a:lnTo>
                  <a:lnTo>
                    <a:pt x="1062" y="690"/>
                  </a:lnTo>
                  <a:lnTo>
                    <a:pt x="1056" y="696"/>
                  </a:lnTo>
                  <a:lnTo>
                    <a:pt x="1056" y="702"/>
                  </a:lnTo>
                  <a:lnTo>
                    <a:pt x="1038" y="714"/>
                  </a:lnTo>
                  <a:lnTo>
                    <a:pt x="1026" y="720"/>
                  </a:lnTo>
                  <a:lnTo>
                    <a:pt x="1008" y="726"/>
                  </a:lnTo>
                  <a:lnTo>
                    <a:pt x="1008" y="732"/>
                  </a:lnTo>
                  <a:lnTo>
                    <a:pt x="990" y="732"/>
                  </a:lnTo>
                  <a:lnTo>
                    <a:pt x="984" y="744"/>
                  </a:lnTo>
                  <a:lnTo>
                    <a:pt x="990" y="750"/>
                  </a:lnTo>
                  <a:lnTo>
                    <a:pt x="984" y="762"/>
                  </a:lnTo>
                  <a:lnTo>
                    <a:pt x="984" y="768"/>
                  </a:lnTo>
                  <a:lnTo>
                    <a:pt x="984" y="774"/>
                  </a:lnTo>
                  <a:lnTo>
                    <a:pt x="984" y="780"/>
                  </a:lnTo>
                  <a:lnTo>
                    <a:pt x="984" y="786"/>
                  </a:lnTo>
                  <a:lnTo>
                    <a:pt x="984" y="792"/>
                  </a:lnTo>
                  <a:lnTo>
                    <a:pt x="978" y="798"/>
                  </a:lnTo>
                  <a:lnTo>
                    <a:pt x="978" y="80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3" name="Freeform 38">
              <a:extLst>
                <a:ext uri="{FF2B5EF4-FFF2-40B4-BE49-F238E27FC236}">
                  <a16:creationId xmlns:a16="http://schemas.microsoft.com/office/drawing/2014/main" id="{819B99CE-D972-4530-8964-A992C1EC87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2825" y="1634436"/>
              <a:ext cx="959326" cy="959458"/>
            </a:xfrm>
            <a:custGeom>
              <a:avLst/>
              <a:gdLst>
                <a:gd name="T0" fmla="*/ 105 w 1806"/>
                <a:gd name="T1" fmla="*/ 155 h 1806"/>
                <a:gd name="T2" fmla="*/ 103 w 1806"/>
                <a:gd name="T3" fmla="*/ 155 h 1806"/>
                <a:gd name="T4" fmla="*/ 103 w 1806"/>
                <a:gd name="T5" fmla="*/ 150 h 1806"/>
                <a:gd name="T6" fmla="*/ 104 w 1806"/>
                <a:gd name="T7" fmla="*/ 141 h 1806"/>
                <a:gd name="T8" fmla="*/ 104 w 1806"/>
                <a:gd name="T9" fmla="*/ 136 h 1806"/>
                <a:gd name="T10" fmla="*/ 100 w 1806"/>
                <a:gd name="T11" fmla="*/ 131 h 1806"/>
                <a:gd name="T12" fmla="*/ 96 w 1806"/>
                <a:gd name="T13" fmla="*/ 127 h 1806"/>
                <a:gd name="T14" fmla="*/ 91 w 1806"/>
                <a:gd name="T15" fmla="*/ 121 h 1806"/>
                <a:gd name="T16" fmla="*/ 87 w 1806"/>
                <a:gd name="T17" fmla="*/ 120 h 1806"/>
                <a:gd name="T18" fmla="*/ 81 w 1806"/>
                <a:gd name="T19" fmla="*/ 117 h 1806"/>
                <a:gd name="T20" fmla="*/ 65 w 1806"/>
                <a:gd name="T21" fmla="*/ 113 h 1806"/>
                <a:gd name="T22" fmla="*/ 69 w 1806"/>
                <a:gd name="T23" fmla="*/ 105 h 1806"/>
                <a:gd name="T24" fmla="*/ 66 w 1806"/>
                <a:gd name="T25" fmla="*/ 89 h 1806"/>
                <a:gd name="T26" fmla="*/ 63 w 1806"/>
                <a:gd name="T27" fmla="*/ 84 h 1806"/>
                <a:gd name="T28" fmla="*/ 62 w 1806"/>
                <a:gd name="T29" fmla="*/ 74 h 1806"/>
                <a:gd name="T30" fmla="*/ 58 w 1806"/>
                <a:gd name="T31" fmla="*/ 52 h 1806"/>
                <a:gd name="T32" fmla="*/ 53 w 1806"/>
                <a:gd name="T33" fmla="*/ 49 h 1806"/>
                <a:gd name="T34" fmla="*/ 51 w 1806"/>
                <a:gd name="T35" fmla="*/ 36 h 1806"/>
                <a:gd name="T36" fmla="*/ 43 w 1806"/>
                <a:gd name="T37" fmla="*/ 32 h 1806"/>
                <a:gd name="T38" fmla="*/ 33 w 1806"/>
                <a:gd name="T39" fmla="*/ 30 h 1806"/>
                <a:gd name="T40" fmla="*/ 30 w 1806"/>
                <a:gd name="T41" fmla="*/ 21 h 1806"/>
                <a:gd name="T42" fmla="*/ 17 w 1806"/>
                <a:gd name="T43" fmla="*/ 25 h 1806"/>
                <a:gd name="T44" fmla="*/ 4 w 1806"/>
                <a:gd name="T45" fmla="*/ 33 h 1806"/>
                <a:gd name="T46" fmla="*/ 7 w 1806"/>
                <a:gd name="T47" fmla="*/ 26 h 1806"/>
                <a:gd name="T48" fmla="*/ 11 w 1806"/>
                <a:gd name="T49" fmla="*/ 20 h 1806"/>
                <a:gd name="T50" fmla="*/ 18 w 1806"/>
                <a:gd name="T51" fmla="*/ 12 h 1806"/>
                <a:gd name="T52" fmla="*/ 26 w 1806"/>
                <a:gd name="T53" fmla="*/ 8 h 1806"/>
                <a:gd name="T54" fmla="*/ 35 w 1806"/>
                <a:gd name="T55" fmla="*/ 6 h 1806"/>
                <a:gd name="T56" fmla="*/ 44 w 1806"/>
                <a:gd name="T57" fmla="*/ 5 h 1806"/>
                <a:gd name="T58" fmla="*/ 54 w 1806"/>
                <a:gd name="T59" fmla="*/ 2 h 1806"/>
                <a:gd name="T60" fmla="*/ 65 w 1806"/>
                <a:gd name="T61" fmla="*/ 0 h 1806"/>
                <a:gd name="T62" fmla="*/ 76 w 1806"/>
                <a:gd name="T63" fmla="*/ 0 h 1806"/>
                <a:gd name="T64" fmla="*/ 85 w 1806"/>
                <a:gd name="T65" fmla="*/ 0 h 1806"/>
                <a:gd name="T66" fmla="*/ 97 w 1806"/>
                <a:gd name="T67" fmla="*/ 0 h 1806"/>
                <a:gd name="T68" fmla="*/ 108 w 1806"/>
                <a:gd name="T69" fmla="*/ 3 h 1806"/>
                <a:gd name="T70" fmla="*/ 115 w 1806"/>
                <a:gd name="T71" fmla="*/ 5 h 1806"/>
                <a:gd name="T72" fmla="*/ 123 w 1806"/>
                <a:gd name="T73" fmla="*/ 7 h 1806"/>
                <a:gd name="T74" fmla="*/ 133 w 1806"/>
                <a:gd name="T75" fmla="*/ 14 h 1806"/>
                <a:gd name="T76" fmla="*/ 138 w 1806"/>
                <a:gd name="T77" fmla="*/ 16 h 1806"/>
                <a:gd name="T78" fmla="*/ 140 w 1806"/>
                <a:gd name="T79" fmla="*/ 14 h 1806"/>
                <a:gd name="T80" fmla="*/ 145 w 1806"/>
                <a:gd name="T81" fmla="*/ 16 h 1806"/>
                <a:gd name="T82" fmla="*/ 147 w 1806"/>
                <a:gd name="T83" fmla="*/ 16 h 1806"/>
                <a:gd name="T84" fmla="*/ 150 w 1806"/>
                <a:gd name="T85" fmla="*/ 17 h 1806"/>
                <a:gd name="T86" fmla="*/ 152 w 1806"/>
                <a:gd name="T87" fmla="*/ 18 h 1806"/>
                <a:gd name="T88" fmla="*/ 155 w 1806"/>
                <a:gd name="T89" fmla="*/ 37 h 1806"/>
                <a:gd name="T90" fmla="*/ 146 w 1806"/>
                <a:gd name="T91" fmla="*/ 66 h 1806"/>
                <a:gd name="T92" fmla="*/ 143 w 1806"/>
                <a:gd name="T93" fmla="*/ 88 h 1806"/>
                <a:gd name="T94" fmla="*/ 144 w 1806"/>
                <a:gd name="T95" fmla="*/ 98 h 1806"/>
                <a:gd name="T96" fmla="*/ 137 w 1806"/>
                <a:gd name="T97" fmla="*/ 118 h 1806"/>
                <a:gd name="T98" fmla="*/ 132 w 1806"/>
                <a:gd name="T99" fmla="*/ 129 h 1806"/>
                <a:gd name="T100" fmla="*/ 124 w 1806"/>
                <a:gd name="T101" fmla="*/ 135 h 1806"/>
                <a:gd name="T102" fmla="*/ 119 w 1806"/>
                <a:gd name="T103" fmla="*/ 136 h 1806"/>
                <a:gd name="T104" fmla="*/ 116 w 1806"/>
                <a:gd name="T105" fmla="*/ 137 h 1806"/>
                <a:gd name="T106" fmla="*/ 112 w 1806"/>
                <a:gd name="T107" fmla="*/ 139 h 1806"/>
                <a:gd name="T108" fmla="*/ 112 w 1806"/>
                <a:gd name="T109" fmla="*/ 141 h 1806"/>
                <a:gd name="T110" fmla="*/ 116 w 1806"/>
                <a:gd name="T111" fmla="*/ 146 h 1806"/>
                <a:gd name="T112" fmla="*/ 116 w 1806"/>
                <a:gd name="T113" fmla="*/ 151 h 1806"/>
                <a:gd name="T114" fmla="*/ 113 w 1806"/>
                <a:gd name="T115" fmla="*/ 153 h 18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6"/>
                <a:gd name="T175" fmla="*/ 0 h 1806"/>
                <a:gd name="T176" fmla="*/ 1806 w 1806"/>
                <a:gd name="T177" fmla="*/ 1806 h 18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6" h="1806">
                  <a:moveTo>
                    <a:pt x="1260" y="1776"/>
                  </a:moveTo>
                  <a:lnTo>
                    <a:pt x="1254" y="1776"/>
                  </a:lnTo>
                  <a:lnTo>
                    <a:pt x="1248" y="1776"/>
                  </a:lnTo>
                  <a:lnTo>
                    <a:pt x="1242" y="1782"/>
                  </a:lnTo>
                  <a:lnTo>
                    <a:pt x="1236" y="1782"/>
                  </a:lnTo>
                  <a:lnTo>
                    <a:pt x="1230" y="1788"/>
                  </a:lnTo>
                  <a:lnTo>
                    <a:pt x="1224" y="1782"/>
                  </a:lnTo>
                  <a:lnTo>
                    <a:pt x="1218" y="1782"/>
                  </a:lnTo>
                  <a:lnTo>
                    <a:pt x="1218" y="1788"/>
                  </a:lnTo>
                  <a:lnTo>
                    <a:pt x="1212" y="1788"/>
                  </a:lnTo>
                  <a:lnTo>
                    <a:pt x="1206" y="1788"/>
                  </a:lnTo>
                  <a:lnTo>
                    <a:pt x="1206" y="1794"/>
                  </a:lnTo>
                  <a:lnTo>
                    <a:pt x="1200" y="1806"/>
                  </a:lnTo>
                  <a:lnTo>
                    <a:pt x="1194" y="1800"/>
                  </a:lnTo>
                  <a:lnTo>
                    <a:pt x="1194" y="1794"/>
                  </a:lnTo>
                  <a:lnTo>
                    <a:pt x="1194" y="1788"/>
                  </a:lnTo>
                  <a:lnTo>
                    <a:pt x="1188" y="1788"/>
                  </a:lnTo>
                  <a:lnTo>
                    <a:pt x="1188" y="1782"/>
                  </a:lnTo>
                  <a:lnTo>
                    <a:pt x="1188" y="1776"/>
                  </a:lnTo>
                  <a:lnTo>
                    <a:pt x="1194" y="1770"/>
                  </a:lnTo>
                  <a:lnTo>
                    <a:pt x="1194" y="1764"/>
                  </a:lnTo>
                  <a:lnTo>
                    <a:pt x="1194" y="1758"/>
                  </a:lnTo>
                  <a:lnTo>
                    <a:pt x="1194" y="1752"/>
                  </a:lnTo>
                  <a:lnTo>
                    <a:pt x="1200" y="1746"/>
                  </a:lnTo>
                  <a:lnTo>
                    <a:pt x="1200" y="1740"/>
                  </a:lnTo>
                  <a:lnTo>
                    <a:pt x="1200" y="1734"/>
                  </a:lnTo>
                  <a:lnTo>
                    <a:pt x="1188" y="1722"/>
                  </a:lnTo>
                  <a:lnTo>
                    <a:pt x="1188" y="1716"/>
                  </a:lnTo>
                  <a:lnTo>
                    <a:pt x="1194" y="1704"/>
                  </a:lnTo>
                  <a:lnTo>
                    <a:pt x="1194" y="1692"/>
                  </a:lnTo>
                  <a:lnTo>
                    <a:pt x="1200" y="1680"/>
                  </a:lnTo>
                  <a:lnTo>
                    <a:pt x="1200" y="1662"/>
                  </a:lnTo>
                  <a:lnTo>
                    <a:pt x="1200" y="1650"/>
                  </a:lnTo>
                  <a:lnTo>
                    <a:pt x="1206" y="1644"/>
                  </a:lnTo>
                  <a:lnTo>
                    <a:pt x="1206" y="1638"/>
                  </a:lnTo>
                  <a:lnTo>
                    <a:pt x="1206" y="1626"/>
                  </a:lnTo>
                  <a:lnTo>
                    <a:pt x="1206" y="1620"/>
                  </a:lnTo>
                  <a:lnTo>
                    <a:pt x="1206" y="1614"/>
                  </a:lnTo>
                  <a:lnTo>
                    <a:pt x="1200" y="1608"/>
                  </a:lnTo>
                  <a:lnTo>
                    <a:pt x="1200" y="1602"/>
                  </a:lnTo>
                  <a:lnTo>
                    <a:pt x="1200" y="1596"/>
                  </a:lnTo>
                  <a:lnTo>
                    <a:pt x="1200" y="1590"/>
                  </a:lnTo>
                  <a:lnTo>
                    <a:pt x="1200" y="1572"/>
                  </a:lnTo>
                  <a:lnTo>
                    <a:pt x="1200" y="1566"/>
                  </a:lnTo>
                  <a:lnTo>
                    <a:pt x="1200" y="1560"/>
                  </a:lnTo>
                  <a:lnTo>
                    <a:pt x="1194" y="1554"/>
                  </a:lnTo>
                  <a:lnTo>
                    <a:pt x="1188" y="1548"/>
                  </a:lnTo>
                  <a:lnTo>
                    <a:pt x="1188" y="1542"/>
                  </a:lnTo>
                  <a:lnTo>
                    <a:pt x="1176" y="1536"/>
                  </a:lnTo>
                  <a:lnTo>
                    <a:pt x="1176" y="1530"/>
                  </a:lnTo>
                  <a:lnTo>
                    <a:pt x="1170" y="1524"/>
                  </a:lnTo>
                  <a:lnTo>
                    <a:pt x="1170" y="1518"/>
                  </a:lnTo>
                  <a:lnTo>
                    <a:pt x="1164" y="1512"/>
                  </a:lnTo>
                  <a:lnTo>
                    <a:pt x="1158" y="1506"/>
                  </a:lnTo>
                  <a:lnTo>
                    <a:pt x="1152" y="1500"/>
                  </a:lnTo>
                  <a:lnTo>
                    <a:pt x="1146" y="1494"/>
                  </a:lnTo>
                  <a:lnTo>
                    <a:pt x="1140" y="1488"/>
                  </a:lnTo>
                  <a:lnTo>
                    <a:pt x="1134" y="1482"/>
                  </a:lnTo>
                  <a:lnTo>
                    <a:pt x="1128" y="1476"/>
                  </a:lnTo>
                  <a:lnTo>
                    <a:pt x="1122" y="1470"/>
                  </a:lnTo>
                  <a:lnTo>
                    <a:pt x="1116" y="1464"/>
                  </a:lnTo>
                  <a:lnTo>
                    <a:pt x="1110" y="1464"/>
                  </a:lnTo>
                  <a:lnTo>
                    <a:pt x="1104" y="1458"/>
                  </a:lnTo>
                  <a:lnTo>
                    <a:pt x="1098" y="1464"/>
                  </a:lnTo>
                  <a:lnTo>
                    <a:pt x="1092" y="1464"/>
                  </a:lnTo>
                  <a:lnTo>
                    <a:pt x="1086" y="1446"/>
                  </a:lnTo>
                  <a:lnTo>
                    <a:pt x="1086" y="1440"/>
                  </a:lnTo>
                  <a:lnTo>
                    <a:pt x="1080" y="1416"/>
                  </a:lnTo>
                  <a:lnTo>
                    <a:pt x="1068" y="1404"/>
                  </a:lnTo>
                  <a:lnTo>
                    <a:pt x="1062" y="1398"/>
                  </a:lnTo>
                  <a:lnTo>
                    <a:pt x="1056" y="1398"/>
                  </a:lnTo>
                  <a:lnTo>
                    <a:pt x="1050" y="1398"/>
                  </a:lnTo>
                  <a:lnTo>
                    <a:pt x="1044" y="1398"/>
                  </a:lnTo>
                  <a:lnTo>
                    <a:pt x="1044" y="1392"/>
                  </a:lnTo>
                  <a:lnTo>
                    <a:pt x="1038" y="1392"/>
                  </a:lnTo>
                  <a:lnTo>
                    <a:pt x="1032" y="1392"/>
                  </a:lnTo>
                  <a:lnTo>
                    <a:pt x="1020" y="1386"/>
                  </a:lnTo>
                  <a:lnTo>
                    <a:pt x="1014" y="1386"/>
                  </a:lnTo>
                  <a:lnTo>
                    <a:pt x="1014" y="1380"/>
                  </a:lnTo>
                  <a:lnTo>
                    <a:pt x="1008" y="1380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62"/>
                  </a:lnTo>
                  <a:lnTo>
                    <a:pt x="984" y="1356"/>
                  </a:lnTo>
                  <a:lnTo>
                    <a:pt x="978" y="1356"/>
                  </a:lnTo>
                  <a:lnTo>
                    <a:pt x="972" y="1356"/>
                  </a:lnTo>
                  <a:lnTo>
                    <a:pt x="966" y="1356"/>
                  </a:lnTo>
                  <a:lnTo>
                    <a:pt x="966" y="1350"/>
                  </a:lnTo>
                  <a:lnTo>
                    <a:pt x="948" y="1350"/>
                  </a:lnTo>
                  <a:lnTo>
                    <a:pt x="936" y="1344"/>
                  </a:lnTo>
                  <a:lnTo>
                    <a:pt x="930" y="1338"/>
                  </a:lnTo>
                  <a:lnTo>
                    <a:pt x="918" y="1332"/>
                  </a:lnTo>
                  <a:lnTo>
                    <a:pt x="900" y="1326"/>
                  </a:lnTo>
                  <a:lnTo>
                    <a:pt x="864" y="1332"/>
                  </a:lnTo>
                  <a:lnTo>
                    <a:pt x="828" y="1332"/>
                  </a:lnTo>
                  <a:lnTo>
                    <a:pt x="792" y="1314"/>
                  </a:lnTo>
                  <a:lnTo>
                    <a:pt x="780" y="1314"/>
                  </a:lnTo>
                  <a:lnTo>
                    <a:pt x="780" y="1308"/>
                  </a:lnTo>
                  <a:lnTo>
                    <a:pt x="756" y="1296"/>
                  </a:lnTo>
                  <a:lnTo>
                    <a:pt x="756" y="1278"/>
                  </a:lnTo>
                  <a:lnTo>
                    <a:pt x="768" y="1278"/>
                  </a:lnTo>
                  <a:lnTo>
                    <a:pt x="774" y="1272"/>
                  </a:lnTo>
                  <a:lnTo>
                    <a:pt x="780" y="1266"/>
                  </a:lnTo>
                  <a:lnTo>
                    <a:pt x="786" y="1260"/>
                  </a:lnTo>
                  <a:lnTo>
                    <a:pt x="792" y="1254"/>
                  </a:lnTo>
                  <a:lnTo>
                    <a:pt x="798" y="1242"/>
                  </a:lnTo>
                  <a:lnTo>
                    <a:pt x="804" y="1242"/>
                  </a:lnTo>
                  <a:lnTo>
                    <a:pt x="804" y="1206"/>
                  </a:lnTo>
                  <a:lnTo>
                    <a:pt x="804" y="1182"/>
                  </a:lnTo>
                  <a:lnTo>
                    <a:pt x="804" y="1158"/>
                  </a:lnTo>
                  <a:lnTo>
                    <a:pt x="804" y="1134"/>
                  </a:lnTo>
                  <a:lnTo>
                    <a:pt x="798" y="1116"/>
                  </a:lnTo>
                  <a:lnTo>
                    <a:pt x="792" y="1092"/>
                  </a:lnTo>
                  <a:lnTo>
                    <a:pt x="786" y="1062"/>
                  </a:lnTo>
                  <a:lnTo>
                    <a:pt x="768" y="1032"/>
                  </a:lnTo>
                  <a:lnTo>
                    <a:pt x="762" y="1032"/>
                  </a:lnTo>
                  <a:lnTo>
                    <a:pt x="762" y="1020"/>
                  </a:lnTo>
                  <a:lnTo>
                    <a:pt x="762" y="1014"/>
                  </a:lnTo>
                  <a:lnTo>
                    <a:pt x="756" y="1008"/>
                  </a:lnTo>
                  <a:lnTo>
                    <a:pt x="750" y="1002"/>
                  </a:lnTo>
                  <a:lnTo>
                    <a:pt x="738" y="1002"/>
                  </a:lnTo>
                  <a:lnTo>
                    <a:pt x="738" y="990"/>
                  </a:lnTo>
                  <a:lnTo>
                    <a:pt x="726" y="990"/>
                  </a:lnTo>
                  <a:lnTo>
                    <a:pt x="726" y="978"/>
                  </a:lnTo>
                  <a:lnTo>
                    <a:pt x="732" y="972"/>
                  </a:lnTo>
                  <a:lnTo>
                    <a:pt x="732" y="966"/>
                  </a:lnTo>
                  <a:lnTo>
                    <a:pt x="726" y="966"/>
                  </a:lnTo>
                  <a:lnTo>
                    <a:pt x="732" y="948"/>
                  </a:lnTo>
                  <a:lnTo>
                    <a:pt x="726" y="942"/>
                  </a:lnTo>
                  <a:lnTo>
                    <a:pt x="726" y="930"/>
                  </a:lnTo>
                  <a:lnTo>
                    <a:pt x="720" y="924"/>
                  </a:lnTo>
                  <a:lnTo>
                    <a:pt x="714" y="912"/>
                  </a:lnTo>
                  <a:lnTo>
                    <a:pt x="714" y="882"/>
                  </a:lnTo>
                  <a:lnTo>
                    <a:pt x="714" y="870"/>
                  </a:lnTo>
                  <a:lnTo>
                    <a:pt x="714" y="858"/>
                  </a:lnTo>
                  <a:lnTo>
                    <a:pt x="714" y="846"/>
                  </a:lnTo>
                  <a:lnTo>
                    <a:pt x="708" y="822"/>
                  </a:lnTo>
                  <a:lnTo>
                    <a:pt x="702" y="798"/>
                  </a:lnTo>
                  <a:lnTo>
                    <a:pt x="696" y="792"/>
                  </a:lnTo>
                  <a:lnTo>
                    <a:pt x="684" y="726"/>
                  </a:lnTo>
                  <a:lnTo>
                    <a:pt x="678" y="666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66" y="600"/>
                  </a:lnTo>
                  <a:lnTo>
                    <a:pt x="660" y="594"/>
                  </a:lnTo>
                  <a:lnTo>
                    <a:pt x="654" y="594"/>
                  </a:lnTo>
                  <a:lnTo>
                    <a:pt x="636" y="582"/>
                  </a:lnTo>
                  <a:lnTo>
                    <a:pt x="630" y="576"/>
                  </a:lnTo>
                  <a:lnTo>
                    <a:pt x="624" y="576"/>
                  </a:lnTo>
                  <a:lnTo>
                    <a:pt x="618" y="570"/>
                  </a:lnTo>
                  <a:lnTo>
                    <a:pt x="612" y="564"/>
                  </a:lnTo>
                  <a:lnTo>
                    <a:pt x="606" y="558"/>
                  </a:lnTo>
                  <a:lnTo>
                    <a:pt x="606" y="564"/>
                  </a:lnTo>
                  <a:lnTo>
                    <a:pt x="600" y="564"/>
                  </a:lnTo>
                  <a:lnTo>
                    <a:pt x="594" y="558"/>
                  </a:lnTo>
                  <a:lnTo>
                    <a:pt x="594" y="540"/>
                  </a:lnTo>
                  <a:lnTo>
                    <a:pt x="594" y="528"/>
                  </a:lnTo>
                  <a:lnTo>
                    <a:pt x="594" y="516"/>
                  </a:lnTo>
                  <a:lnTo>
                    <a:pt x="594" y="510"/>
                  </a:lnTo>
                  <a:lnTo>
                    <a:pt x="594" y="492"/>
                  </a:lnTo>
                  <a:lnTo>
                    <a:pt x="594" y="456"/>
                  </a:lnTo>
                  <a:lnTo>
                    <a:pt x="588" y="414"/>
                  </a:lnTo>
                  <a:lnTo>
                    <a:pt x="588" y="408"/>
                  </a:lnTo>
                  <a:lnTo>
                    <a:pt x="582" y="396"/>
                  </a:lnTo>
                  <a:lnTo>
                    <a:pt x="582" y="384"/>
                  </a:lnTo>
                  <a:lnTo>
                    <a:pt x="582" y="372"/>
                  </a:lnTo>
                  <a:lnTo>
                    <a:pt x="564" y="372"/>
                  </a:lnTo>
                  <a:lnTo>
                    <a:pt x="552" y="366"/>
                  </a:lnTo>
                  <a:lnTo>
                    <a:pt x="552" y="372"/>
                  </a:lnTo>
                  <a:lnTo>
                    <a:pt x="498" y="372"/>
                  </a:lnTo>
                  <a:lnTo>
                    <a:pt x="498" y="366"/>
                  </a:lnTo>
                  <a:lnTo>
                    <a:pt x="474" y="360"/>
                  </a:lnTo>
                  <a:lnTo>
                    <a:pt x="456" y="354"/>
                  </a:lnTo>
                  <a:lnTo>
                    <a:pt x="438" y="348"/>
                  </a:lnTo>
                  <a:lnTo>
                    <a:pt x="426" y="354"/>
                  </a:lnTo>
                  <a:lnTo>
                    <a:pt x="408" y="360"/>
                  </a:lnTo>
                  <a:lnTo>
                    <a:pt x="378" y="360"/>
                  </a:lnTo>
                  <a:lnTo>
                    <a:pt x="378" y="354"/>
                  </a:lnTo>
                  <a:lnTo>
                    <a:pt x="378" y="348"/>
                  </a:lnTo>
                  <a:lnTo>
                    <a:pt x="378" y="342"/>
                  </a:lnTo>
                  <a:lnTo>
                    <a:pt x="390" y="330"/>
                  </a:lnTo>
                  <a:lnTo>
                    <a:pt x="396" y="312"/>
                  </a:lnTo>
                  <a:lnTo>
                    <a:pt x="396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8"/>
                  </a:lnTo>
                  <a:lnTo>
                    <a:pt x="372" y="234"/>
                  </a:lnTo>
                  <a:lnTo>
                    <a:pt x="354" y="234"/>
                  </a:lnTo>
                  <a:lnTo>
                    <a:pt x="342" y="246"/>
                  </a:lnTo>
                  <a:lnTo>
                    <a:pt x="330" y="252"/>
                  </a:lnTo>
                  <a:lnTo>
                    <a:pt x="318" y="252"/>
                  </a:lnTo>
                  <a:lnTo>
                    <a:pt x="276" y="258"/>
                  </a:lnTo>
                  <a:lnTo>
                    <a:pt x="276" y="264"/>
                  </a:lnTo>
                  <a:lnTo>
                    <a:pt x="252" y="270"/>
                  </a:lnTo>
                  <a:lnTo>
                    <a:pt x="240" y="270"/>
                  </a:lnTo>
                  <a:lnTo>
                    <a:pt x="228" y="276"/>
                  </a:lnTo>
                  <a:lnTo>
                    <a:pt x="210" y="282"/>
                  </a:lnTo>
                  <a:lnTo>
                    <a:pt x="198" y="288"/>
                  </a:lnTo>
                  <a:lnTo>
                    <a:pt x="186" y="294"/>
                  </a:lnTo>
                  <a:lnTo>
                    <a:pt x="174" y="330"/>
                  </a:lnTo>
                  <a:lnTo>
                    <a:pt x="162" y="342"/>
                  </a:lnTo>
                  <a:lnTo>
                    <a:pt x="156" y="354"/>
                  </a:lnTo>
                  <a:lnTo>
                    <a:pt x="150" y="360"/>
                  </a:lnTo>
                  <a:lnTo>
                    <a:pt x="150" y="366"/>
                  </a:lnTo>
                  <a:lnTo>
                    <a:pt x="108" y="372"/>
                  </a:lnTo>
                  <a:lnTo>
                    <a:pt x="60" y="378"/>
                  </a:lnTo>
                  <a:lnTo>
                    <a:pt x="42" y="378"/>
                  </a:lnTo>
                  <a:lnTo>
                    <a:pt x="12" y="378"/>
                  </a:lnTo>
                  <a:lnTo>
                    <a:pt x="6" y="378"/>
                  </a:lnTo>
                  <a:lnTo>
                    <a:pt x="0" y="366"/>
                  </a:lnTo>
                  <a:lnTo>
                    <a:pt x="12" y="360"/>
                  </a:lnTo>
                  <a:lnTo>
                    <a:pt x="24" y="348"/>
                  </a:lnTo>
                  <a:lnTo>
                    <a:pt x="30" y="342"/>
                  </a:lnTo>
                  <a:lnTo>
                    <a:pt x="36" y="330"/>
                  </a:lnTo>
                  <a:lnTo>
                    <a:pt x="72" y="300"/>
                  </a:lnTo>
                  <a:lnTo>
                    <a:pt x="78" y="294"/>
                  </a:lnTo>
                  <a:lnTo>
                    <a:pt x="78" y="288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96" y="270"/>
                  </a:lnTo>
                  <a:lnTo>
                    <a:pt x="102" y="264"/>
                  </a:lnTo>
                  <a:lnTo>
                    <a:pt x="108" y="258"/>
                  </a:lnTo>
                  <a:lnTo>
                    <a:pt x="114" y="246"/>
                  </a:lnTo>
                  <a:lnTo>
                    <a:pt x="120" y="240"/>
                  </a:lnTo>
                  <a:lnTo>
                    <a:pt x="126" y="234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0" y="210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86" y="174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22" y="138"/>
                  </a:lnTo>
                  <a:lnTo>
                    <a:pt x="234" y="132"/>
                  </a:lnTo>
                  <a:lnTo>
                    <a:pt x="246" y="126"/>
                  </a:lnTo>
                  <a:lnTo>
                    <a:pt x="246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88" y="102"/>
                  </a:lnTo>
                  <a:lnTo>
                    <a:pt x="300" y="96"/>
                  </a:lnTo>
                  <a:lnTo>
                    <a:pt x="306" y="90"/>
                  </a:lnTo>
                  <a:lnTo>
                    <a:pt x="318" y="90"/>
                  </a:lnTo>
                  <a:lnTo>
                    <a:pt x="324" y="84"/>
                  </a:lnTo>
                  <a:lnTo>
                    <a:pt x="348" y="72"/>
                  </a:lnTo>
                  <a:lnTo>
                    <a:pt x="354" y="72"/>
                  </a:lnTo>
                  <a:lnTo>
                    <a:pt x="384" y="66"/>
                  </a:lnTo>
                  <a:lnTo>
                    <a:pt x="390" y="66"/>
                  </a:lnTo>
                  <a:lnTo>
                    <a:pt x="396" y="66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66"/>
                  </a:lnTo>
                  <a:lnTo>
                    <a:pt x="438" y="66"/>
                  </a:lnTo>
                  <a:lnTo>
                    <a:pt x="468" y="66"/>
                  </a:lnTo>
                  <a:lnTo>
                    <a:pt x="480" y="66"/>
                  </a:lnTo>
                  <a:lnTo>
                    <a:pt x="486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22" y="60"/>
                  </a:lnTo>
                  <a:lnTo>
                    <a:pt x="534" y="54"/>
                  </a:lnTo>
                  <a:lnTo>
                    <a:pt x="564" y="42"/>
                  </a:lnTo>
                  <a:lnTo>
                    <a:pt x="570" y="42"/>
                  </a:lnTo>
                  <a:lnTo>
                    <a:pt x="582" y="36"/>
                  </a:lnTo>
                  <a:lnTo>
                    <a:pt x="588" y="36"/>
                  </a:lnTo>
                  <a:lnTo>
                    <a:pt x="600" y="30"/>
                  </a:lnTo>
                  <a:lnTo>
                    <a:pt x="606" y="30"/>
                  </a:lnTo>
                  <a:lnTo>
                    <a:pt x="618" y="24"/>
                  </a:lnTo>
                  <a:lnTo>
                    <a:pt x="642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72" y="12"/>
                  </a:lnTo>
                  <a:lnTo>
                    <a:pt x="696" y="12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50" y="6"/>
                  </a:lnTo>
                  <a:lnTo>
                    <a:pt x="768" y="6"/>
                  </a:lnTo>
                  <a:lnTo>
                    <a:pt x="774" y="6"/>
                  </a:lnTo>
                  <a:lnTo>
                    <a:pt x="786" y="6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6" y="6"/>
                  </a:lnTo>
                  <a:lnTo>
                    <a:pt x="846" y="6"/>
                  </a:lnTo>
                  <a:lnTo>
                    <a:pt x="852" y="0"/>
                  </a:lnTo>
                  <a:lnTo>
                    <a:pt x="876" y="0"/>
                  </a:lnTo>
                  <a:lnTo>
                    <a:pt x="876" y="6"/>
                  </a:lnTo>
                  <a:lnTo>
                    <a:pt x="888" y="0"/>
                  </a:lnTo>
                  <a:lnTo>
                    <a:pt x="900" y="0"/>
                  </a:lnTo>
                  <a:lnTo>
                    <a:pt x="906" y="0"/>
                  </a:lnTo>
                  <a:lnTo>
                    <a:pt x="912" y="0"/>
                  </a:lnTo>
                  <a:lnTo>
                    <a:pt x="948" y="0"/>
                  </a:lnTo>
                  <a:lnTo>
                    <a:pt x="954" y="0"/>
                  </a:lnTo>
                  <a:lnTo>
                    <a:pt x="972" y="0"/>
                  </a:lnTo>
                  <a:lnTo>
                    <a:pt x="978" y="0"/>
                  </a:lnTo>
                  <a:lnTo>
                    <a:pt x="996" y="0"/>
                  </a:lnTo>
                  <a:lnTo>
                    <a:pt x="1032" y="0"/>
                  </a:lnTo>
                  <a:lnTo>
                    <a:pt x="1044" y="0"/>
                  </a:lnTo>
                  <a:lnTo>
                    <a:pt x="1050" y="0"/>
                  </a:lnTo>
                  <a:lnTo>
                    <a:pt x="1056" y="6"/>
                  </a:lnTo>
                  <a:lnTo>
                    <a:pt x="1056" y="0"/>
                  </a:lnTo>
                  <a:lnTo>
                    <a:pt x="1074" y="0"/>
                  </a:lnTo>
                  <a:lnTo>
                    <a:pt x="1098" y="6"/>
                  </a:lnTo>
                  <a:lnTo>
                    <a:pt x="1116" y="6"/>
                  </a:lnTo>
                  <a:lnTo>
                    <a:pt x="1140" y="12"/>
                  </a:lnTo>
                  <a:lnTo>
                    <a:pt x="1152" y="12"/>
                  </a:lnTo>
                  <a:lnTo>
                    <a:pt x="1158" y="12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6" y="12"/>
                  </a:lnTo>
                  <a:lnTo>
                    <a:pt x="1194" y="18"/>
                  </a:lnTo>
                  <a:lnTo>
                    <a:pt x="1206" y="18"/>
                  </a:lnTo>
                  <a:lnTo>
                    <a:pt x="1242" y="36"/>
                  </a:lnTo>
                  <a:lnTo>
                    <a:pt x="1248" y="36"/>
                  </a:lnTo>
                  <a:lnTo>
                    <a:pt x="1254" y="36"/>
                  </a:lnTo>
                  <a:lnTo>
                    <a:pt x="1260" y="42"/>
                  </a:lnTo>
                  <a:lnTo>
                    <a:pt x="1272" y="48"/>
                  </a:lnTo>
                  <a:lnTo>
                    <a:pt x="1278" y="48"/>
                  </a:lnTo>
                  <a:lnTo>
                    <a:pt x="1284" y="48"/>
                  </a:lnTo>
                  <a:lnTo>
                    <a:pt x="1290" y="54"/>
                  </a:lnTo>
                  <a:lnTo>
                    <a:pt x="1308" y="60"/>
                  </a:lnTo>
                  <a:lnTo>
                    <a:pt x="1326" y="60"/>
                  </a:lnTo>
                  <a:lnTo>
                    <a:pt x="1338" y="66"/>
                  </a:lnTo>
                  <a:lnTo>
                    <a:pt x="1344" y="66"/>
                  </a:lnTo>
                  <a:lnTo>
                    <a:pt x="1350" y="66"/>
                  </a:lnTo>
                  <a:lnTo>
                    <a:pt x="1356" y="66"/>
                  </a:lnTo>
                  <a:lnTo>
                    <a:pt x="1362" y="72"/>
                  </a:lnTo>
                  <a:lnTo>
                    <a:pt x="1368" y="72"/>
                  </a:lnTo>
                  <a:lnTo>
                    <a:pt x="1380" y="72"/>
                  </a:lnTo>
                  <a:lnTo>
                    <a:pt x="1386" y="72"/>
                  </a:lnTo>
                  <a:lnTo>
                    <a:pt x="1422" y="84"/>
                  </a:lnTo>
                  <a:lnTo>
                    <a:pt x="1428" y="84"/>
                  </a:lnTo>
                  <a:lnTo>
                    <a:pt x="1446" y="90"/>
                  </a:lnTo>
                  <a:lnTo>
                    <a:pt x="1458" y="102"/>
                  </a:lnTo>
                  <a:lnTo>
                    <a:pt x="1494" y="126"/>
                  </a:lnTo>
                  <a:lnTo>
                    <a:pt x="1500" y="132"/>
                  </a:lnTo>
                  <a:lnTo>
                    <a:pt x="1512" y="138"/>
                  </a:lnTo>
                  <a:lnTo>
                    <a:pt x="1512" y="144"/>
                  </a:lnTo>
                  <a:lnTo>
                    <a:pt x="1518" y="150"/>
                  </a:lnTo>
                  <a:lnTo>
                    <a:pt x="1530" y="156"/>
                  </a:lnTo>
                  <a:lnTo>
                    <a:pt x="1530" y="162"/>
                  </a:lnTo>
                  <a:lnTo>
                    <a:pt x="1548" y="168"/>
                  </a:lnTo>
                  <a:lnTo>
                    <a:pt x="1566" y="180"/>
                  </a:lnTo>
                  <a:lnTo>
                    <a:pt x="1578" y="186"/>
                  </a:lnTo>
                  <a:lnTo>
                    <a:pt x="1578" y="180"/>
                  </a:lnTo>
                  <a:lnTo>
                    <a:pt x="1584" y="186"/>
                  </a:lnTo>
                  <a:lnTo>
                    <a:pt x="1584" y="174"/>
                  </a:lnTo>
                  <a:lnTo>
                    <a:pt x="1590" y="174"/>
                  </a:lnTo>
                  <a:lnTo>
                    <a:pt x="1590" y="180"/>
                  </a:lnTo>
                  <a:lnTo>
                    <a:pt x="1596" y="180"/>
                  </a:lnTo>
                  <a:lnTo>
                    <a:pt x="1596" y="174"/>
                  </a:lnTo>
                  <a:lnTo>
                    <a:pt x="1602" y="174"/>
                  </a:lnTo>
                  <a:lnTo>
                    <a:pt x="1608" y="174"/>
                  </a:lnTo>
                  <a:lnTo>
                    <a:pt x="1614" y="180"/>
                  </a:lnTo>
                  <a:lnTo>
                    <a:pt x="1620" y="174"/>
                  </a:lnTo>
                  <a:lnTo>
                    <a:pt x="1614" y="168"/>
                  </a:lnTo>
                  <a:lnTo>
                    <a:pt x="1614" y="162"/>
                  </a:lnTo>
                  <a:lnTo>
                    <a:pt x="1620" y="162"/>
                  </a:lnTo>
                  <a:lnTo>
                    <a:pt x="1626" y="162"/>
                  </a:lnTo>
                  <a:lnTo>
                    <a:pt x="1632" y="162"/>
                  </a:lnTo>
                  <a:lnTo>
                    <a:pt x="1638" y="168"/>
                  </a:lnTo>
                  <a:lnTo>
                    <a:pt x="1644" y="168"/>
                  </a:lnTo>
                  <a:lnTo>
                    <a:pt x="1650" y="174"/>
                  </a:lnTo>
                  <a:lnTo>
                    <a:pt x="1656" y="168"/>
                  </a:lnTo>
                  <a:lnTo>
                    <a:pt x="1668" y="168"/>
                  </a:lnTo>
                  <a:lnTo>
                    <a:pt x="1674" y="174"/>
                  </a:lnTo>
                  <a:lnTo>
                    <a:pt x="1674" y="180"/>
                  </a:lnTo>
                  <a:lnTo>
                    <a:pt x="1674" y="186"/>
                  </a:lnTo>
                  <a:lnTo>
                    <a:pt x="1680" y="186"/>
                  </a:lnTo>
                  <a:lnTo>
                    <a:pt x="1680" y="192"/>
                  </a:lnTo>
                  <a:lnTo>
                    <a:pt x="1686" y="192"/>
                  </a:lnTo>
                  <a:lnTo>
                    <a:pt x="1686" y="186"/>
                  </a:lnTo>
                  <a:lnTo>
                    <a:pt x="1680" y="186"/>
                  </a:lnTo>
                  <a:lnTo>
                    <a:pt x="1686" y="180"/>
                  </a:lnTo>
                  <a:lnTo>
                    <a:pt x="1692" y="180"/>
                  </a:lnTo>
                  <a:lnTo>
                    <a:pt x="1698" y="180"/>
                  </a:lnTo>
                  <a:lnTo>
                    <a:pt x="1704" y="180"/>
                  </a:lnTo>
                  <a:lnTo>
                    <a:pt x="1704" y="186"/>
                  </a:lnTo>
                  <a:lnTo>
                    <a:pt x="1710" y="186"/>
                  </a:lnTo>
                  <a:lnTo>
                    <a:pt x="1716" y="186"/>
                  </a:lnTo>
                  <a:lnTo>
                    <a:pt x="1716" y="192"/>
                  </a:lnTo>
                  <a:lnTo>
                    <a:pt x="1716" y="198"/>
                  </a:lnTo>
                  <a:lnTo>
                    <a:pt x="1722" y="192"/>
                  </a:lnTo>
                  <a:lnTo>
                    <a:pt x="1722" y="186"/>
                  </a:lnTo>
                  <a:lnTo>
                    <a:pt x="1728" y="192"/>
                  </a:lnTo>
                  <a:lnTo>
                    <a:pt x="1734" y="192"/>
                  </a:lnTo>
                  <a:lnTo>
                    <a:pt x="1734" y="186"/>
                  </a:lnTo>
                  <a:lnTo>
                    <a:pt x="1740" y="186"/>
                  </a:lnTo>
                  <a:lnTo>
                    <a:pt x="1740" y="192"/>
                  </a:lnTo>
                  <a:lnTo>
                    <a:pt x="1746" y="192"/>
                  </a:lnTo>
                  <a:lnTo>
                    <a:pt x="1758" y="192"/>
                  </a:lnTo>
                  <a:lnTo>
                    <a:pt x="1764" y="192"/>
                  </a:lnTo>
                  <a:lnTo>
                    <a:pt x="1764" y="198"/>
                  </a:lnTo>
                  <a:lnTo>
                    <a:pt x="1758" y="204"/>
                  </a:lnTo>
                  <a:lnTo>
                    <a:pt x="1752" y="210"/>
                  </a:lnTo>
                  <a:lnTo>
                    <a:pt x="1746" y="216"/>
                  </a:lnTo>
                  <a:lnTo>
                    <a:pt x="1746" y="222"/>
                  </a:lnTo>
                  <a:lnTo>
                    <a:pt x="1734" y="228"/>
                  </a:lnTo>
                  <a:lnTo>
                    <a:pt x="1734" y="234"/>
                  </a:lnTo>
                  <a:lnTo>
                    <a:pt x="1734" y="258"/>
                  </a:lnTo>
                  <a:lnTo>
                    <a:pt x="1740" y="330"/>
                  </a:lnTo>
                  <a:lnTo>
                    <a:pt x="1746" y="372"/>
                  </a:lnTo>
                  <a:lnTo>
                    <a:pt x="1788" y="426"/>
                  </a:lnTo>
                  <a:lnTo>
                    <a:pt x="1806" y="438"/>
                  </a:lnTo>
                  <a:lnTo>
                    <a:pt x="1794" y="480"/>
                  </a:lnTo>
                  <a:lnTo>
                    <a:pt x="1770" y="516"/>
                  </a:lnTo>
                  <a:lnTo>
                    <a:pt x="1746" y="546"/>
                  </a:lnTo>
                  <a:lnTo>
                    <a:pt x="1716" y="570"/>
                  </a:lnTo>
                  <a:lnTo>
                    <a:pt x="1680" y="594"/>
                  </a:lnTo>
                  <a:lnTo>
                    <a:pt x="1668" y="630"/>
                  </a:lnTo>
                  <a:lnTo>
                    <a:pt x="1680" y="684"/>
                  </a:lnTo>
                  <a:lnTo>
                    <a:pt x="1686" y="756"/>
                  </a:lnTo>
                  <a:lnTo>
                    <a:pt x="1662" y="870"/>
                  </a:lnTo>
                  <a:lnTo>
                    <a:pt x="1656" y="888"/>
                  </a:lnTo>
                  <a:lnTo>
                    <a:pt x="1650" y="972"/>
                  </a:lnTo>
                  <a:lnTo>
                    <a:pt x="1656" y="978"/>
                  </a:lnTo>
                  <a:lnTo>
                    <a:pt x="1650" y="984"/>
                  </a:lnTo>
                  <a:lnTo>
                    <a:pt x="1650" y="990"/>
                  </a:lnTo>
                  <a:lnTo>
                    <a:pt x="1650" y="1002"/>
                  </a:lnTo>
                  <a:lnTo>
                    <a:pt x="1656" y="1008"/>
                  </a:lnTo>
                  <a:lnTo>
                    <a:pt x="1656" y="1014"/>
                  </a:lnTo>
                  <a:lnTo>
                    <a:pt x="1662" y="1026"/>
                  </a:lnTo>
                  <a:lnTo>
                    <a:pt x="1650" y="1032"/>
                  </a:lnTo>
                  <a:lnTo>
                    <a:pt x="1638" y="1044"/>
                  </a:lnTo>
                  <a:lnTo>
                    <a:pt x="1626" y="1080"/>
                  </a:lnTo>
                  <a:lnTo>
                    <a:pt x="1614" y="1116"/>
                  </a:lnTo>
                  <a:lnTo>
                    <a:pt x="1614" y="1128"/>
                  </a:lnTo>
                  <a:lnTo>
                    <a:pt x="1626" y="1134"/>
                  </a:lnTo>
                  <a:lnTo>
                    <a:pt x="1644" y="1134"/>
                  </a:lnTo>
                  <a:lnTo>
                    <a:pt x="1662" y="1134"/>
                  </a:lnTo>
                  <a:lnTo>
                    <a:pt x="1680" y="1140"/>
                  </a:lnTo>
                  <a:lnTo>
                    <a:pt x="1698" y="1170"/>
                  </a:lnTo>
                  <a:lnTo>
                    <a:pt x="1704" y="1194"/>
                  </a:lnTo>
                  <a:lnTo>
                    <a:pt x="1692" y="1206"/>
                  </a:lnTo>
                  <a:lnTo>
                    <a:pt x="1662" y="1242"/>
                  </a:lnTo>
                  <a:lnTo>
                    <a:pt x="1632" y="1266"/>
                  </a:lnTo>
                  <a:lnTo>
                    <a:pt x="1620" y="1314"/>
                  </a:lnTo>
                  <a:lnTo>
                    <a:pt x="1584" y="1356"/>
                  </a:lnTo>
                  <a:lnTo>
                    <a:pt x="1578" y="1356"/>
                  </a:lnTo>
                  <a:lnTo>
                    <a:pt x="1578" y="1362"/>
                  </a:lnTo>
                  <a:lnTo>
                    <a:pt x="1572" y="1410"/>
                  </a:lnTo>
                  <a:lnTo>
                    <a:pt x="1584" y="1452"/>
                  </a:lnTo>
                  <a:lnTo>
                    <a:pt x="1608" y="1476"/>
                  </a:lnTo>
                  <a:lnTo>
                    <a:pt x="1596" y="1476"/>
                  </a:lnTo>
                  <a:lnTo>
                    <a:pt x="1584" y="1482"/>
                  </a:lnTo>
                  <a:lnTo>
                    <a:pt x="1560" y="1482"/>
                  </a:lnTo>
                  <a:lnTo>
                    <a:pt x="1536" y="1482"/>
                  </a:lnTo>
                  <a:lnTo>
                    <a:pt x="1524" y="1482"/>
                  </a:lnTo>
                  <a:lnTo>
                    <a:pt x="1506" y="1500"/>
                  </a:lnTo>
                  <a:lnTo>
                    <a:pt x="1482" y="1530"/>
                  </a:lnTo>
                  <a:lnTo>
                    <a:pt x="1452" y="1542"/>
                  </a:lnTo>
                  <a:lnTo>
                    <a:pt x="1446" y="1542"/>
                  </a:lnTo>
                  <a:lnTo>
                    <a:pt x="1440" y="1542"/>
                  </a:lnTo>
                  <a:lnTo>
                    <a:pt x="1440" y="1548"/>
                  </a:lnTo>
                  <a:lnTo>
                    <a:pt x="1434" y="1548"/>
                  </a:lnTo>
                  <a:lnTo>
                    <a:pt x="1428" y="1548"/>
                  </a:lnTo>
                  <a:lnTo>
                    <a:pt x="1428" y="1554"/>
                  </a:lnTo>
                  <a:lnTo>
                    <a:pt x="1422" y="1560"/>
                  </a:lnTo>
                  <a:lnTo>
                    <a:pt x="1416" y="1560"/>
                  </a:lnTo>
                  <a:lnTo>
                    <a:pt x="1410" y="1566"/>
                  </a:lnTo>
                  <a:lnTo>
                    <a:pt x="1410" y="1560"/>
                  </a:lnTo>
                  <a:lnTo>
                    <a:pt x="1404" y="1560"/>
                  </a:lnTo>
                  <a:lnTo>
                    <a:pt x="1392" y="1560"/>
                  </a:lnTo>
                  <a:lnTo>
                    <a:pt x="1386" y="1560"/>
                  </a:lnTo>
                  <a:lnTo>
                    <a:pt x="1380" y="1566"/>
                  </a:lnTo>
                  <a:lnTo>
                    <a:pt x="1374" y="1560"/>
                  </a:lnTo>
                  <a:lnTo>
                    <a:pt x="1368" y="1566"/>
                  </a:lnTo>
                  <a:lnTo>
                    <a:pt x="1362" y="1566"/>
                  </a:lnTo>
                  <a:lnTo>
                    <a:pt x="1362" y="1572"/>
                  </a:lnTo>
                  <a:lnTo>
                    <a:pt x="1356" y="1572"/>
                  </a:lnTo>
                  <a:lnTo>
                    <a:pt x="1356" y="1578"/>
                  </a:lnTo>
                  <a:lnTo>
                    <a:pt x="1350" y="1578"/>
                  </a:lnTo>
                  <a:lnTo>
                    <a:pt x="1350" y="1572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32" y="1584"/>
                  </a:lnTo>
                  <a:lnTo>
                    <a:pt x="1326" y="1590"/>
                  </a:lnTo>
                  <a:lnTo>
                    <a:pt x="1320" y="1584"/>
                  </a:lnTo>
                  <a:lnTo>
                    <a:pt x="1314" y="1590"/>
                  </a:lnTo>
                  <a:lnTo>
                    <a:pt x="1308" y="1596"/>
                  </a:lnTo>
                  <a:lnTo>
                    <a:pt x="1302" y="1596"/>
                  </a:lnTo>
                  <a:lnTo>
                    <a:pt x="1296" y="1596"/>
                  </a:lnTo>
                  <a:lnTo>
                    <a:pt x="1290" y="1596"/>
                  </a:lnTo>
                  <a:lnTo>
                    <a:pt x="1284" y="1596"/>
                  </a:lnTo>
                  <a:lnTo>
                    <a:pt x="1278" y="1602"/>
                  </a:lnTo>
                  <a:lnTo>
                    <a:pt x="1266" y="1602"/>
                  </a:lnTo>
                  <a:lnTo>
                    <a:pt x="1272" y="1608"/>
                  </a:lnTo>
                  <a:lnTo>
                    <a:pt x="1278" y="1608"/>
                  </a:lnTo>
                  <a:lnTo>
                    <a:pt x="1284" y="1608"/>
                  </a:lnTo>
                  <a:lnTo>
                    <a:pt x="1290" y="1614"/>
                  </a:lnTo>
                  <a:lnTo>
                    <a:pt x="1296" y="1620"/>
                  </a:lnTo>
                  <a:lnTo>
                    <a:pt x="1302" y="1626"/>
                  </a:lnTo>
                  <a:lnTo>
                    <a:pt x="1308" y="1632"/>
                  </a:lnTo>
                  <a:lnTo>
                    <a:pt x="1314" y="1638"/>
                  </a:lnTo>
                  <a:lnTo>
                    <a:pt x="1314" y="1644"/>
                  </a:lnTo>
                  <a:lnTo>
                    <a:pt x="1320" y="1644"/>
                  </a:lnTo>
                  <a:lnTo>
                    <a:pt x="1320" y="1650"/>
                  </a:lnTo>
                  <a:lnTo>
                    <a:pt x="1326" y="1656"/>
                  </a:lnTo>
                  <a:lnTo>
                    <a:pt x="1332" y="1668"/>
                  </a:lnTo>
                  <a:lnTo>
                    <a:pt x="1338" y="1680"/>
                  </a:lnTo>
                  <a:lnTo>
                    <a:pt x="1338" y="1698"/>
                  </a:lnTo>
                  <a:lnTo>
                    <a:pt x="1350" y="1710"/>
                  </a:lnTo>
                  <a:lnTo>
                    <a:pt x="1350" y="1716"/>
                  </a:lnTo>
                  <a:lnTo>
                    <a:pt x="1350" y="1722"/>
                  </a:lnTo>
                  <a:lnTo>
                    <a:pt x="1350" y="1728"/>
                  </a:lnTo>
                  <a:lnTo>
                    <a:pt x="1356" y="1728"/>
                  </a:lnTo>
                  <a:lnTo>
                    <a:pt x="1356" y="1734"/>
                  </a:lnTo>
                  <a:lnTo>
                    <a:pt x="1350" y="1734"/>
                  </a:lnTo>
                  <a:lnTo>
                    <a:pt x="1344" y="1740"/>
                  </a:lnTo>
                  <a:lnTo>
                    <a:pt x="1338" y="1740"/>
                  </a:lnTo>
                  <a:lnTo>
                    <a:pt x="1332" y="1746"/>
                  </a:lnTo>
                  <a:lnTo>
                    <a:pt x="1326" y="1746"/>
                  </a:lnTo>
                  <a:lnTo>
                    <a:pt x="1326" y="1752"/>
                  </a:lnTo>
                  <a:lnTo>
                    <a:pt x="1320" y="1752"/>
                  </a:lnTo>
                  <a:lnTo>
                    <a:pt x="1320" y="1758"/>
                  </a:lnTo>
                  <a:lnTo>
                    <a:pt x="1314" y="1758"/>
                  </a:lnTo>
                  <a:lnTo>
                    <a:pt x="1308" y="1758"/>
                  </a:lnTo>
                  <a:lnTo>
                    <a:pt x="1302" y="1758"/>
                  </a:lnTo>
                  <a:lnTo>
                    <a:pt x="1296" y="1758"/>
                  </a:lnTo>
                  <a:lnTo>
                    <a:pt x="1290" y="1764"/>
                  </a:lnTo>
                  <a:lnTo>
                    <a:pt x="1284" y="1770"/>
                  </a:lnTo>
                  <a:lnTo>
                    <a:pt x="1278" y="1770"/>
                  </a:lnTo>
                  <a:lnTo>
                    <a:pt x="1272" y="1770"/>
                  </a:lnTo>
                  <a:lnTo>
                    <a:pt x="1266" y="1770"/>
                  </a:lnTo>
                  <a:lnTo>
                    <a:pt x="1266" y="1776"/>
                  </a:lnTo>
                  <a:lnTo>
                    <a:pt x="1260" y="1776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4" name="Freeform 39">
              <a:extLst>
                <a:ext uri="{FF2B5EF4-FFF2-40B4-BE49-F238E27FC236}">
                  <a16:creationId xmlns:a16="http://schemas.microsoft.com/office/drawing/2014/main" id="{E01CDA8B-32C7-421A-B23E-968CAC7F78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2974" y="1759680"/>
              <a:ext cx="825155" cy="700024"/>
            </a:xfrm>
            <a:custGeom>
              <a:avLst/>
              <a:gdLst>
                <a:gd name="T0" fmla="*/ 60 w 1554"/>
                <a:gd name="T1" fmla="*/ 86 h 1320"/>
                <a:gd name="T2" fmla="*/ 66 w 1554"/>
                <a:gd name="T3" fmla="*/ 80 h 1320"/>
                <a:gd name="T4" fmla="*/ 61 w 1554"/>
                <a:gd name="T5" fmla="*/ 73 h 1320"/>
                <a:gd name="T6" fmla="*/ 57 w 1554"/>
                <a:gd name="T7" fmla="*/ 67 h 1320"/>
                <a:gd name="T8" fmla="*/ 60 w 1554"/>
                <a:gd name="T9" fmla="*/ 59 h 1320"/>
                <a:gd name="T10" fmla="*/ 56 w 1554"/>
                <a:gd name="T11" fmla="*/ 55 h 1320"/>
                <a:gd name="T12" fmla="*/ 45 w 1554"/>
                <a:gd name="T13" fmla="*/ 53 h 1320"/>
                <a:gd name="T14" fmla="*/ 42 w 1554"/>
                <a:gd name="T15" fmla="*/ 41 h 1320"/>
                <a:gd name="T16" fmla="*/ 37 w 1554"/>
                <a:gd name="T17" fmla="*/ 39 h 1320"/>
                <a:gd name="T18" fmla="*/ 31 w 1554"/>
                <a:gd name="T19" fmla="*/ 44 h 1320"/>
                <a:gd name="T20" fmla="*/ 37 w 1554"/>
                <a:gd name="T21" fmla="*/ 35 h 1320"/>
                <a:gd name="T22" fmla="*/ 30 w 1554"/>
                <a:gd name="T23" fmla="*/ 23 h 1320"/>
                <a:gd name="T24" fmla="*/ 21 w 1554"/>
                <a:gd name="T25" fmla="*/ 23 h 1320"/>
                <a:gd name="T26" fmla="*/ 15 w 1554"/>
                <a:gd name="T27" fmla="*/ 27 h 1320"/>
                <a:gd name="T28" fmla="*/ 11 w 1554"/>
                <a:gd name="T29" fmla="*/ 32 h 1320"/>
                <a:gd name="T30" fmla="*/ 6 w 1554"/>
                <a:gd name="T31" fmla="*/ 22 h 1320"/>
                <a:gd name="T32" fmla="*/ 3 w 1554"/>
                <a:gd name="T33" fmla="*/ 11 h 1320"/>
                <a:gd name="T34" fmla="*/ 24 w 1554"/>
                <a:gd name="T35" fmla="*/ 12 h 1320"/>
                <a:gd name="T36" fmla="*/ 33 w 1554"/>
                <a:gd name="T37" fmla="*/ 19 h 1320"/>
                <a:gd name="T38" fmla="*/ 49 w 1554"/>
                <a:gd name="T39" fmla="*/ 12 h 1320"/>
                <a:gd name="T40" fmla="*/ 58 w 1554"/>
                <a:gd name="T41" fmla="*/ 10 h 1320"/>
                <a:gd name="T42" fmla="*/ 68 w 1554"/>
                <a:gd name="T43" fmla="*/ 11 h 1320"/>
                <a:gd name="T44" fmla="*/ 79 w 1554"/>
                <a:gd name="T45" fmla="*/ 12 h 1320"/>
                <a:gd name="T46" fmla="*/ 96 w 1554"/>
                <a:gd name="T47" fmla="*/ 11 h 1320"/>
                <a:gd name="T48" fmla="*/ 107 w 1554"/>
                <a:gd name="T49" fmla="*/ 2 h 1320"/>
                <a:gd name="T50" fmla="*/ 117 w 1554"/>
                <a:gd name="T51" fmla="*/ 8 h 1320"/>
                <a:gd name="T52" fmla="*/ 126 w 1554"/>
                <a:gd name="T53" fmla="*/ 12 h 1320"/>
                <a:gd name="T54" fmla="*/ 134 w 1554"/>
                <a:gd name="T55" fmla="*/ 24 h 1320"/>
                <a:gd name="T56" fmla="*/ 133 w 1554"/>
                <a:gd name="T57" fmla="*/ 29 h 1320"/>
                <a:gd name="T58" fmla="*/ 129 w 1554"/>
                <a:gd name="T59" fmla="*/ 31 h 1320"/>
                <a:gd name="T60" fmla="*/ 125 w 1554"/>
                <a:gd name="T61" fmla="*/ 32 h 1320"/>
                <a:gd name="T62" fmla="*/ 115 w 1554"/>
                <a:gd name="T63" fmla="*/ 34 h 1320"/>
                <a:gd name="T64" fmla="*/ 113 w 1554"/>
                <a:gd name="T65" fmla="*/ 44 h 1320"/>
                <a:gd name="T66" fmla="*/ 111 w 1554"/>
                <a:gd name="T67" fmla="*/ 54 h 1320"/>
                <a:gd name="T68" fmla="*/ 107 w 1554"/>
                <a:gd name="T69" fmla="*/ 56 h 1320"/>
                <a:gd name="T70" fmla="*/ 102 w 1554"/>
                <a:gd name="T71" fmla="*/ 58 h 1320"/>
                <a:gd name="T72" fmla="*/ 99 w 1554"/>
                <a:gd name="T73" fmla="*/ 60 h 1320"/>
                <a:gd name="T74" fmla="*/ 93 w 1554"/>
                <a:gd name="T75" fmla="*/ 62 h 1320"/>
                <a:gd name="T76" fmla="*/ 87 w 1554"/>
                <a:gd name="T77" fmla="*/ 64 h 1320"/>
                <a:gd name="T78" fmla="*/ 84 w 1554"/>
                <a:gd name="T79" fmla="*/ 65 h 1320"/>
                <a:gd name="T80" fmla="*/ 81 w 1554"/>
                <a:gd name="T81" fmla="*/ 69 h 1320"/>
                <a:gd name="T82" fmla="*/ 83 w 1554"/>
                <a:gd name="T83" fmla="*/ 72 h 1320"/>
                <a:gd name="T84" fmla="*/ 92 w 1554"/>
                <a:gd name="T85" fmla="*/ 73 h 1320"/>
                <a:gd name="T86" fmla="*/ 93 w 1554"/>
                <a:gd name="T87" fmla="*/ 87 h 1320"/>
                <a:gd name="T88" fmla="*/ 104 w 1554"/>
                <a:gd name="T89" fmla="*/ 98 h 1320"/>
                <a:gd name="T90" fmla="*/ 108 w 1554"/>
                <a:gd name="T91" fmla="*/ 98 h 1320"/>
                <a:gd name="T92" fmla="*/ 112 w 1554"/>
                <a:gd name="T93" fmla="*/ 100 h 1320"/>
                <a:gd name="T94" fmla="*/ 118 w 1554"/>
                <a:gd name="T95" fmla="*/ 100 h 1320"/>
                <a:gd name="T96" fmla="*/ 122 w 1554"/>
                <a:gd name="T97" fmla="*/ 102 h 1320"/>
                <a:gd name="T98" fmla="*/ 118 w 1554"/>
                <a:gd name="T99" fmla="*/ 105 h 1320"/>
                <a:gd name="T100" fmla="*/ 114 w 1554"/>
                <a:gd name="T101" fmla="*/ 107 h 1320"/>
                <a:gd name="T102" fmla="*/ 113 w 1554"/>
                <a:gd name="T103" fmla="*/ 113 h 1320"/>
                <a:gd name="T104" fmla="*/ 104 w 1554"/>
                <a:gd name="T105" fmla="*/ 113 h 1320"/>
                <a:gd name="T106" fmla="*/ 93 w 1554"/>
                <a:gd name="T107" fmla="*/ 109 h 1320"/>
                <a:gd name="T108" fmla="*/ 96 w 1554"/>
                <a:gd name="T109" fmla="*/ 103 h 1320"/>
                <a:gd name="T110" fmla="*/ 95 w 1554"/>
                <a:gd name="T111" fmla="*/ 97 h 1320"/>
                <a:gd name="T112" fmla="*/ 87 w 1554"/>
                <a:gd name="T113" fmla="*/ 98 h 1320"/>
                <a:gd name="T114" fmla="*/ 81 w 1554"/>
                <a:gd name="T115" fmla="*/ 98 h 1320"/>
                <a:gd name="T116" fmla="*/ 78 w 1554"/>
                <a:gd name="T117" fmla="*/ 93 h 1320"/>
                <a:gd name="T118" fmla="*/ 65 w 1554"/>
                <a:gd name="T119" fmla="*/ 92 h 1320"/>
                <a:gd name="T120" fmla="*/ 59 w 1554"/>
                <a:gd name="T121" fmla="*/ 92 h 13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54"/>
                <a:gd name="T184" fmla="*/ 0 h 1320"/>
                <a:gd name="T185" fmla="*/ 1554 w 1554"/>
                <a:gd name="T186" fmla="*/ 1320 h 132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54" h="1320">
                  <a:moveTo>
                    <a:pt x="684" y="1068"/>
                  </a:moveTo>
                  <a:lnTo>
                    <a:pt x="684" y="1062"/>
                  </a:lnTo>
                  <a:lnTo>
                    <a:pt x="690" y="1056"/>
                  </a:lnTo>
                  <a:lnTo>
                    <a:pt x="690" y="1050"/>
                  </a:lnTo>
                  <a:lnTo>
                    <a:pt x="690" y="1044"/>
                  </a:lnTo>
                  <a:lnTo>
                    <a:pt x="690" y="1038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14"/>
                  </a:lnTo>
                  <a:lnTo>
                    <a:pt x="690" y="1008"/>
                  </a:lnTo>
                  <a:lnTo>
                    <a:pt x="696" y="996"/>
                  </a:lnTo>
                  <a:lnTo>
                    <a:pt x="714" y="996"/>
                  </a:lnTo>
                  <a:lnTo>
                    <a:pt x="714" y="990"/>
                  </a:lnTo>
                  <a:lnTo>
                    <a:pt x="732" y="984"/>
                  </a:lnTo>
                  <a:lnTo>
                    <a:pt x="744" y="978"/>
                  </a:lnTo>
                  <a:lnTo>
                    <a:pt x="762" y="966"/>
                  </a:lnTo>
                  <a:lnTo>
                    <a:pt x="762" y="960"/>
                  </a:lnTo>
                  <a:lnTo>
                    <a:pt x="768" y="954"/>
                  </a:lnTo>
                  <a:lnTo>
                    <a:pt x="774" y="948"/>
                  </a:lnTo>
                  <a:lnTo>
                    <a:pt x="774" y="942"/>
                  </a:lnTo>
                  <a:lnTo>
                    <a:pt x="774" y="924"/>
                  </a:lnTo>
                  <a:lnTo>
                    <a:pt x="768" y="918"/>
                  </a:lnTo>
                  <a:lnTo>
                    <a:pt x="756" y="918"/>
                  </a:lnTo>
                  <a:lnTo>
                    <a:pt x="744" y="918"/>
                  </a:lnTo>
                  <a:lnTo>
                    <a:pt x="732" y="924"/>
                  </a:lnTo>
                  <a:lnTo>
                    <a:pt x="726" y="912"/>
                  </a:lnTo>
                  <a:lnTo>
                    <a:pt x="720" y="912"/>
                  </a:lnTo>
                  <a:lnTo>
                    <a:pt x="720" y="900"/>
                  </a:lnTo>
                  <a:lnTo>
                    <a:pt x="720" y="870"/>
                  </a:lnTo>
                  <a:lnTo>
                    <a:pt x="696" y="876"/>
                  </a:lnTo>
                  <a:lnTo>
                    <a:pt x="690" y="852"/>
                  </a:lnTo>
                  <a:lnTo>
                    <a:pt x="702" y="852"/>
                  </a:lnTo>
                  <a:lnTo>
                    <a:pt x="702" y="840"/>
                  </a:lnTo>
                  <a:lnTo>
                    <a:pt x="708" y="834"/>
                  </a:lnTo>
                  <a:lnTo>
                    <a:pt x="702" y="822"/>
                  </a:lnTo>
                  <a:lnTo>
                    <a:pt x="660" y="822"/>
                  </a:lnTo>
                  <a:lnTo>
                    <a:pt x="654" y="822"/>
                  </a:lnTo>
                  <a:lnTo>
                    <a:pt x="642" y="822"/>
                  </a:lnTo>
                  <a:lnTo>
                    <a:pt x="642" y="810"/>
                  </a:lnTo>
                  <a:lnTo>
                    <a:pt x="642" y="798"/>
                  </a:lnTo>
                  <a:lnTo>
                    <a:pt x="642" y="792"/>
                  </a:lnTo>
                  <a:lnTo>
                    <a:pt x="648" y="780"/>
                  </a:lnTo>
                  <a:lnTo>
                    <a:pt x="654" y="774"/>
                  </a:lnTo>
                  <a:lnTo>
                    <a:pt x="660" y="774"/>
                  </a:lnTo>
                  <a:lnTo>
                    <a:pt x="672" y="762"/>
                  </a:lnTo>
                  <a:lnTo>
                    <a:pt x="672" y="756"/>
                  </a:lnTo>
                  <a:lnTo>
                    <a:pt x="678" y="750"/>
                  </a:lnTo>
                  <a:lnTo>
                    <a:pt x="684" y="750"/>
                  </a:lnTo>
                  <a:lnTo>
                    <a:pt x="690" y="744"/>
                  </a:lnTo>
                  <a:lnTo>
                    <a:pt x="696" y="732"/>
                  </a:lnTo>
                  <a:lnTo>
                    <a:pt x="696" y="726"/>
                  </a:lnTo>
                  <a:lnTo>
                    <a:pt x="702" y="714"/>
                  </a:lnTo>
                  <a:lnTo>
                    <a:pt x="696" y="708"/>
                  </a:lnTo>
                  <a:lnTo>
                    <a:pt x="690" y="690"/>
                  </a:lnTo>
                  <a:lnTo>
                    <a:pt x="696" y="678"/>
                  </a:lnTo>
                  <a:lnTo>
                    <a:pt x="708" y="672"/>
                  </a:lnTo>
                  <a:lnTo>
                    <a:pt x="708" y="660"/>
                  </a:lnTo>
                  <a:lnTo>
                    <a:pt x="702" y="660"/>
                  </a:lnTo>
                  <a:lnTo>
                    <a:pt x="696" y="660"/>
                  </a:lnTo>
                  <a:lnTo>
                    <a:pt x="690" y="654"/>
                  </a:lnTo>
                  <a:lnTo>
                    <a:pt x="684" y="654"/>
                  </a:lnTo>
                  <a:lnTo>
                    <a:pt x="690" y="606"/>
                  </a:lnTo>
                  <a:lnTo>
                    <a:pt x="660" y="606"/>
                  </a:lnTo>
                  <a:lnTo>
                    <a:pt x="660" y="612"/>
                  </a:lnTo>
                  <a:lnTo>
                    <a:pt x="648" y="612"/>
                  </a:lnTo>
                  <a:lnTo>
                    <a:pt x="642" y="636"/>
                  </a:lnTo>
                  <a:lnTo>
                    <a:pt x="636" y="636"/>
                  </a:lnTo>
                  <a:lnTo>
                    <a:pt x="630" y="648"/>
                  </a:lnTo>
                  <a:lnTo>
                    <a:pt x="612" y="648"/>
                  </a:lnTo>
                  <a:lnTo>
                    <a:pt x="606" y="636"/>
                  </a:lnTo>
                  <a:lnTo>
                    <a:pt x="600" y="630"/>
                  </a:lnTo>
                  <a:lnTo>
                    <a:pt x="588" y="606"/>
                  </a:lnTo>
                  <a:lnTo>
                    <a:pt x="552" y="606"/>
                  </a:lnTo>
                  <a:lnTo>
                    <a:pt x="552" y="612"/>
                  </a:lnTo>
                  <a:lnTo>
                    <a:pt x="540" y="612"/>
                  </a:lnTo>
                  <a:lnTo>
                    <a:pt x="540" y="606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16" y="612"/>
                  </a:lnTo>
                  <a:lnTo>
                    <a:pt x="516" y="582"/>
                  </a:lnTo>
                  <a:lnTo>
                    <a:pt x="522" y="576"/>
                  </a:lnTo>
                  <a:lnTo>
                    <a:pt x="528" y="576"/>
                  </a:lnTo>
                  <a:lnTo>
                    <a:pt x="528" y="552"/>
                  </a:lnTo>
                  <a:lnTo>
                    <a:pt x="522" y="540"/>
                  </a:lnTo>
                  <a:lnTo>
                    <a:pt x="510" y="528"/>
                  </a:lnTo>
                  <a:lnTo>
                    <a:pt x="486" y="510"/>
                  </a:lnTo>
                  <a:lnTo>
                    <a:pt x="480" y="498"/>
                  </a:lnTo>
                  <a:lnTo>
                    <a:pt x="480" y="474"/>
                  </a:lnTo>
                  <a:lnTo>
                    <a:pt x="492" y="468"/>
                  </a:lnTo>
                  <a:lnTo>
                    <a:pt x="486" y="450"/>
                  </a:lnTo>
                  <a:lnTo>
                    <a:pt x="474" y="456"/>
                  </a:lnTo>
                  <a:lnTo>
                    <a:pt x="468" y="456"/>
                  </a:lnTo>
                  <a:lnTo>
                    <a:pt x="462" y="456"/>
                  </a:lnTo>
                  <a:lnTo>
                    <a:pt x="456" y="468"/>
                  </a:lnTo>
                  <a:lnTo>
                    <a:pt x="456" y="474"/>
                  </a:lnTo>
                  <a:lnTo>
                    <a:pt x="450" y="480"/>
                  </a:lnTo>
                  <a:lnTo>
                    <a:pt x="444" y="450"/>
                  </a:lnTo>
                  <a:lnTo>
                    <a:pt x="438" y="450"/>
                  </a:lnTo>
                  <a:lnTo>
                    <a:pt x="432" y="450"/>
                  </a:lnTo>
                  <a:lnTo>
                    <a:pt x="420" y="450"/>
                  </a:lnTo>
                  <a:lnTo>
                    <a:pt x="420" y="456"/>
                  </a:lnTo>
                  <a:lnTo>
                    <a:pt x="414" y="456"/>
                  </a:lnTo>
                  <a:lnTo>
                    <a:pt x="408" y="468"/>
                  </a:lnTo>
                  <a:lnTo>
                    <a:pt x="402" y="468"/>
                  </a:lnTo>
                  <a:lnTo>
                    <a:pt x="396" y="474"/>
                  </a:lnTo>
                  <a:lnTo>
                    <a:pt x="390" y="492"/>
                  </a:lnTo>
                  <a:lnTo>
                    <a:pt x="384" y="504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54" y="510"/>
                  </a:lnTo>
                  <a:lnTo>
                    <a:pt x="360" y="480"/>
                  </a:lnTo>
                  <a:lnTo>
                    <a:pt x="360" y="474"/>
                  </a:lnTo>
                  <a:lnTo>
                    <a:pt x="378" y="456"/>
                  </a:lnTo>
                  <a:lnTo>
                    <a:pt x="384" y="450"/>
                  </a:lnTo>
                  <a:lnTo>
                    <a:pt x="396" y="444"/>
                  </a:lnTo>
                  <a:lnTo>
                    <a:pt x="402" y="438"/>
                  </a:lnTo>
                  <a:lnTo>
                    <a:pt x="408" y="438"/>
                  </a:lnTo>
                  <a:lnTo>
                    <a:pt x="408" y="426"/>
                  </a:lnTo>
                  <a:lnTo>
                    <a:pt x="414" y="420"/>
                  </a:lnTo>
                  <a:lnTo>
                    <a:pt x="426" y="420"/>
                  </a:lnTo>
                  <a:lnTo>
                    <a:pt x="426" y="408"/>
                  </a:lnTo>
                  <a:lnTo>
                    <a:pt x="420" y="390"/>
                  </a:lnTo>
                  <a:lnTo>
                    <a:pt x="408" y="384"/>
                  </a:lnTo>
                  <a:lnTo>
                    <a:pt x="378" y="378"/>
                  </a:lnTo>
                  <a:lnTo>
                    <a:pt x="354" y="366"/>
                  </a:lnTo>
                  <a:lnTo>
                    <a:pt x="342" y="360"/>
                  </a:lnTo>
                  <a:lnTo>
                    <a:pt x="342" y="348"/>
                  </a:lnTo>
                  <a:lnTo>
                    <a:pt x="336" y="330"/>
                  </a:lnTo>
                  <a:lnTo>
                    <a:pt x="348" y="306"/>
                  </a:lnTo>
                  <a:lnTo>
                    <a:pt x="360" y="294"/>
                  </a:lnTo>
                  <a:lnTo>
                    <a:pt x="360" y="282"/>
                  </a:lnTo>
                  <a:lnTo>
                    <a:pt x="342" y="270"/>
                  </a:lnTo>
                  <a:lnTo>
                    <a:pt x="342" y="264"/>
                  </a:lnTo>
                  <a:lnTo>
                    <a:pt x="330" y="264"/>
                  </a:lnTo>
                  <a:lnTo>
                    <a:pt x="312" y="270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88" y="270"/>
                  </a:lnTo>
                  <a:lnTo>
                    <a:pt x="282" y="270"/>
                  </a:lnTo>
                  <a:lnTo>
                    <a:pt x="276" y="264"/>
                  </a:lnTo>
                  <a:lnTo>
                    <a:pt x="270" y="264"/>
                  </a:lnTo>
                  <a:lnTo>
                    <a:pt x="252" y="270"/>
                  </a:lnTo>
                  <a:lnTo>
                    <a:pt x="246" y="270"/>
                  </a:lnTo>
                  <a:lnTo>
                    <a:pt x="240" y="270"/>
                  </a:lnTo>
                  <a:lnTo>
                    <a:pt x="228" y="270"/>
                  </a:lnTo>
                  <a:lnTo>
                    <a:pt x="216" y="276"/>
                  </a:lnTo>
                  <a:lnTo>
                    <a:pt x="210" y="270"/>
                  </a:lnTo>
                  <a:lnTo>
                    <a:pt x="204" y="270"/>
                  </a:lnTo>
                  <a:lnTo>
                    <a:pt x="198" y="276"/>
                  </a:lnTo>
                  <a:lnTo>
                    <a:pt x="192" y="276"/>
                  </a:lnTo>
                  <a:lnTo>
                    <a:pt x="186" y="282"/>
                  </a:lnTo>
                  <a:lnTo>
                    <a:pt x="180" y="288"/>
                  </a:lnTo>
                  <a:lnTo>
                    <a:pt x="174" y="300"/>
                  </a:lnTo>
                  <a:lnTo>
                    <a:pt x="168" y="306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8" y="330"/>
                  </a:lnTo>
                  <a:lnTo>
                    <a:pt x="162" y="336"/>
                  </a:lnTo>
                  <a:lnTo>
                    <a:pt x="156" y="342"/>
                  </a:lnTo>
                  <a:lnTo>
                    <a:pt x="156" y="348"/>
                  </a:lnTo>
                  <a:lnTo>
                    <a:pt x="156" y="354"/>
                  </a:lnTo>
                  <a:lnTo>
                    <a:pt x="150" y="366"/>
                  </a:lnTo>
                  <a:lnTo>
                    <a:pt x="150" y="372"/>
                  </a:lnTo>
                  <a:lnTo>
                    <a:pt x="144" y="366"/>
                  </a:lnTo>
                  <a:lnTo>
                    <a:pt x="132" y="366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20" y="348"/>
                  </a:lnTo>
                  <a:lnTo>
                    <a:pt x="102" y="330"/>
                  </a:lnTo>
                  <a:lnTo>
                    <a:pt x="96" y="318"/>
                  </a:lnTo>
                  <a:lnTo>
                    <a:pt x="96" y="282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0" y="258"/>
                  </a:lnTo>
                  <a:lnTo>
                    <a:pt x="84" y="252"/>
                  </a:lnTo>
                  <a:lnTo>
                    <a:pt x="66" y="258"/>
                  </a:lnTo>
                  <a:lnTo>
                    <a:pt x="60" y="246"/>
                  </a:lnTo>
                  <a:lnTo>
                    <a:pt x="30" y="252"/>
                  </a:lnTo>
                  <a:lnTo>
                    <a:pt x="18" y="246"/>
                  </a:lnTo>
                  <a:lnTo>
                    <a:pt x="0" y="240"/>
                  </a:lnTo>
                  <a:lnTo>
                    <a:pt x="0" y="234"/>
                  </a:lnTo>
                  <a:lnTo>
                    <a:pt x="0" y="210"/>
                  </a:lnTo>
                  <a:lnTo>
                    <a:pt x="6" y="204"/>
                  </a:lnTo>
                  <a:lnTo>
                    <a:pt x="18" y="192"/>
                  </a:lnTo>
                  <a:lnTo>
                    <a:pt x="18" y="144"/>
                  </a:lnTo>
                  <a:lnTo>
                    <a:pt x="24" y="126"/>
                  </a:lnTo>
                  <a:lnTo>
                    <a:pt x="36" y="126"/>
                  </a:lnTo>
                  <a:lnTo>
                    <a:pt x="54" y="120"/>
                  </a:lnTo>
                  <a:lnTo>
                    <a:pt x="54" y="126"/>
                  </a:lnTo>
                  <a:lnTo>
                    <a:pt x="132" y="114"/>
                  </a:lnTo>
                  <a:lnTo>
                    <a:pt x="144" y="120"/>
                  </a:lnTo>
                  <a:lnTo>
                    <a:pt x="150" y="132"/>
                  </a:lnTo>
                  <a:lnTo>
                    <a:pt x="180" y="126"/>
                  </a:lnTo>
                  <a:lnTo>
                    <a:pt x="210" y="120"/>
                  </a:lnTo>
                  <a:lnTo>
                    <a:pt x="240" y="120"/>
                  </a:lnTo>
                  <a:lnTo>
                    <a:pt x="258" y="120"/>
                  </a:lnTo>
                  <a:lnTo>
                    <a:pt x="270" y="126"/>
                  </a:lnTo>
                  <a:lnTo>
                    <a:pt x="276" y="132"/>
                  </a:lnTo>
                  <a:lnTo>
                    <a:pt x="282" y="138"/>
                  </a:lnTo>
                  <a:lnTo>
                    <a:pt x="282" y="156"/>
                  </a:lnTo>
                  <a:lnTo>
                    <a:pt x="288" y="186"/>
                  </a:lnTo>
                  <a:lnTo>
                    <a:pt x="312" y="192"/>
                  </a:lnTo>
                  <a:lnTo>
                    <a:pt x="318" y="198"/>
                  </a:lnTo>
                  <a:lnTo>
                    <a:pt x="324" y="204"/>
                  </a:lnTo>
                  <a:lnTo>
                    <a:pt x="330" y="210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66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86" y="210"/>
                  </a:lnTo>
                  <a:lnTo>
                    <a:pt x="498" y="198"/>
                  </a:lnTo>
                  <a:lnTo>
                    <a:pt x="504" y="174"/>
                  </a:lnTo>
                  <a:lnTo>
                    <a:pt x="516" y="162"/>
                  </a:lnTo>
                  <a:lnTo>
                    <a:pt x="516" y="138"/>
                  </a:lnTo>
                  <a:lnTo>
                    <a:pt x="522" y="132"/>
                  </a:lnTo>
                  <a:lnTo>
                    <a:pt x="564" y="132"/>
                  </a:lnTo>
                  <a:lnTo>
                    <a:pt x="564" y="114"/>
                  </a:lnTo>
                  <a:lnTo>
                    <a:pt x="582" y="114"/>
                  </a:lnTo>
                  <a:lnTo>
                    <a:pt x="594" y="114"/>
                  </a:lnTo>
                  <a:lnTo>
                    <a:pt x="606" y="114"/>
                  </a:lnTo>
                  <a:lnTo>
                    <a:pt x="612" y="114"/>
                  </a:lnTo>
                  <a:lnTo>
                    <a:pt x="630" y="114"/>
                  </a:lnTo>
                  <a:lnTo>
                    <a:pt x="636" y="114"/>
                  </a:lnTo>
                  <a:lnTo>
                    <a:pt x="648" y="114"/>
                  </a:lnTo>
                  <a:lnTo>
                    <a:pt x="654" y="114"/>
                  </a:lnTo>
                  <a:lnTo>
                    <a:pt x="660" y="120"/>
                  </a:lnTo>
                  <a:lnTo>
                    <a:pt x="672" y="120"/>
                  </a:lnTo>
                  <a:lnTo>
                    <a:pt x="684" y="120"/>
                  </a:lnTo>
                  <a:lnTo>
                    <a:pt x="690" y="120"/>
                  </a:lnTo>
                  <a:lnTo>
                    <a:pt x="702" y="120"/>
                  </a:lnTo>
                  <a:lnTo>
                    <a:pt x="708" y="120"/>
                  </a:lnTo>
                  <a:lnTo>
                    <a:pt x="726" y="126"/>
                  </a:lnTo>
                  <a:lnTo>
                    <a:pt x="732" y="126"/>
                  </a:lnTo>
                  <a:lnTo>
                    <a:pt x="738" y="126"/>
                  </a:lnTo>
                  <a:lnTo>
                    <a:pt x="750" y="126"/>
                  </a:lnTo>
                  <a:lnTo>
                    <a:pt x="756" y="126"/>
                  </a:lnTo>
                  <a:lnTo>
                    <a:pt x="768" y="126"/>
                  </a:lnTo>
                  <a:lnTo>
                    <a:pt x="780" y="126"/>
                  </a:lnTo>
                  <a:lnTo>
                    <a:pt x="786" y="120"/>
                  </a:lnTo>
                  <a:lnTo>
                    <a:pt x="792" y="120"/>
                  </a:lnTo>
                  <a:lnTo>
                    <a:pt x="810" y="120"/>
                  </a:lnTo>
                  <a:lnTo>
                    <a:pt x="822" y="120"/>
                  </a:lnTo>
                  <a:lnTo>
                    <a:pt x="846" y="126"/>
                  </a:lnTo>
                  <a:lnTo>
                    <a:pt x="858" y="126"/>
                  </a:lnTo>
                  <a:lnTo>
                    <a:pt x="870" y="132"/>
                  </a:lnTo>
                  <a:lnTo>
                    <a:pt x="882" y="132"/>
                  </a:lnTo>
                  <a:lnTo>
                    <a:pt x="894" y="132"/>
                  </a:lnTo>
                  <a:lnTo>
                    <a:pt x="900" y="132"/>
                  </a:lnTo>
                  <a:lnTo>
                    <a:pt x="912" y="132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36" y="132"/>
                  </a:lnTo>
                  <a:lnTo>
                    <a:pt x="960" y="132"/>
                  </a:lnTo>
                  <a:lnTo>
                    <a:pt x="966" y="144"/>
                  </a:lnTo>
                  <a:lnTo>
                    <a:pt x="972" y="144"/>
                  </a:lnTo>
                  <a:lnTo>
                    <a:pt x="1002" y="144"/>
                  </a:lnTo>
                  <a:lnTo>
                    <a:pt x="1020" y="144"/>
                  </a:lnTo>
                  <a:lnTo>
                    <a:pt x="1068" y="138"/>
                  </a:lnTo>
                  <a:lnTo>
                    <a:pt x="1110" y="132"/>
                  </a:lnTo>
                  <a:lnTo>
                    <a:pt x="1110" y="126"/>
                  </a:lnTo>
                  <a:lnTo>
                    <a:pt x="1116" y="120"/>
                  </a:lnTo>
                  <a:lnTo>
                    <a:pt x="1122" y="108"/>
                  </a:lnTo>
                  <a:lnTo>
                    <a:pt x="1134" y="96"/>
                  </a:lnTo>
                  <a:lnTo>
                    <a:pt x="1146" y="60"/>
                  </a:lnTo>
                  <a:lnTo>
                    <a:pt x="1158" y="54"/>
                  </a:lnTo>
                  <a:lnTo>
                    <a:pt x="1170" y="48"/>
                  </a:lnTo>
                  <a:lnTo>
                    <a:pt x="1188" y="42"/>
                  </a:lnTo>
                  <a:lnTo>
                    <a:pt x="1200" y="36"/>
                  </a:lnTo>
                  <a:lnTo>
                    <a:pt x="1212" y="36"/>
                  </a:lnTo>
                  <a:lnTo>
                    <a:pt x="1236" y="30"/>
                  </a:lnTo>
                  <a:lnTo>
                    <a:pt x="1236" y="24"/>
                  </a:lnTo>
                  <a:lnTo>
                    <a:pt x="1278" y="18"/>
                  </a:lnTo>
                  <a:lnTo>
                    <a:pt x="1290" y="18"/>
                  </a:lnTo>
                  <a:lnTo>
                    <a:pt x="1302" y="12"/>
                  </a:lnTo>
                  <a:lnTo>
                    <a:pt x="1314" y="0"/>
                  </a:lnTo>
                  <a:lnTo>
                    <a:pt x="1332" y="0"/>
                  </a:lnTo>
                  <a:lnTo>
                    <a:pt x="1338" y="24"/>
                  </a:lnTo>
                  <a:lnTo>
                    <a:pt x="1344" y="30"/>
                  </a:lnTo>
                  <a:lnTo>
                    <a:pt x="1350" y="42"/>
                  </a:lnTo>
                  <a:lnTo>
                    <a:pt x="1356" y="48"/>
                  </a:lnTo>
                  <a:lnTo>
                    <a:pt x="1356" y="78"/>
                  </a:lnTo>
                  <a:lnTo>
                    <a:pt x="1350" y="96"/>
                  </a:lnTo>
                  <a:lnTo>
                    <a:pt x="1338" y="108"/>
                  </a:lnTo>
                  <a:lnTo>
                    <a:pt x="1338" y="114"/>
                  </a:lnTo>
                  <a:lnTo>
                    <a:pt x="1338" y="120"/>
                  </a:lnTo>
                  <a:lnTo>
                    <a:pt x="1338" y="126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398" y="114"/>
                  </a:lnTo>
                  <a:lnTo>
                    <a:pt x="1416" y="120"/>
                  </a:lnTo>
                  <a:lnTo>
                    <a:pt x="1434" y="126"/>
                  </a:lnTo>
                  <a:lnTo>
                    <a:pt x="1458" y="132"/>
                  </a:lnTo>
                  <a:lnTo>
                    <a:pt x="1458" y="138"/>
                  </a:lnTo>
                  <a:lnTo>
                    <a:pt x="1512" y="138"/>
                  </a:lnTo>
                  <a:lnTo>
                    <a:pt x="1512" y="132"/>
                  </a:lnTo>
                  <a:lnTo>
                    <a:pt x="1524" y="138"/>
                  </a:lnTo>
                  <a:lnTo>
                    <a:pt x="1542" y="138"/>
                  </a:lnTo>
                  <a:lnTo>
                    <a:pt x="1542" y="150"/>
                  </a:lnTo>
                  <a:lnTo>
                    <a:pt x="1542" y="162"/>
                  </a:lnTo>
                  <a:lnTo>
                    <a:pt x="1548" y="174"/>
                  </a:lnTo>
                  <a:lnTo>
                    <a:pt x="1548" y="180"/>
                  </a:lnTo>
                  <a:lnTo>
                    <a:pt x="1554" y="222"/>
                  </a:lnTo>
                  <a:lnTo>
                    <a:pt x="1554" y="258"/>
                  </a:lnTo>
                  <a:lnTo>
                    <a:pt x="1554" y="276"/>
                  </a:lnTo>
                  <a:lnTo>
                    <a:pt x="1554" y="282"/>
                  </a:lnTo>
                  <a:lnTo>
                    <a:pt x="1554" y="294"/>
                  </a:lnTo>
                  <a:lnTo>
                    <a:pt x="1554" y="306"/>
                  </a:lnTo>
                  <a:lnTo>
                    <a:pt x="1554" y="324"/>
                  </a:lnTo>
                  <a:lnTo>
                    <a:pt x="1554" y="330"/>
                  </a:lnTo>
                  <a:lnTo>
                    <a:pt x="1548" y="330"/>
                  </a:lnTo>
                  <a:lnTo>
                    <a:pt x="1548" y="336"/>
                  </a:lnTo>
                  <a:lnTo>
                    <a:pt x="1548" y="342"/>
                  </a:lnTo>
                  <a:lnTo>
                    <a:pt x="1542" y="336"/>
                  </a:lnTo>
                  <a:lnTo>
                    <a:pt x="1542" y="330"/>
                  </a:lnTo>
                  <a:lnTo>
                    <a:pt x="1536" y="330"/>
                  </a:lnTo>
                  <a:lnTo>
                    <a:pt x="1530" y="330"/>
                  </a:lnTo>
                  <a:lnTo>
                    <a:pt x="1530" y="336"/>
                  </a:lnTo>
                  <a:lnTo>
                    <a:pt x="1536" y="342"/>
                  </a:lnTo>
                  <a:lnTo>
                    <a:pt x="1530" y="342"/>
                  </a:lnTo>
                  <a:lnTo>
                    <a:pt x="1518" y="348"/>
                  </a:lnTo>
                  <a:lnTo>
                    <a:pt x="1512" y="354"/>
                  </a:lnTo>
                  <a:lnTo>
                    <a:pt x="1506" y="354"/>
                  </a:lnTo>
                  <a:lnTo>
                    <a:pt x="1500" y="354"/>
                  </a:lnTo>
                  <a:lnTo>
                    <a:pt x="1494" y="354"/>
                  </a:lnTo>
                  <a:lnTo>
                    <a:pt x="1494" y="360"/>
                  </a:lnTo>
                  <a:lnTo>
                    <a:pt x="1488" y="360"/>
                  </a:lnTo>
                  <a:lnTo>
                    <a:pt x="1488" y="366"/>
                  </a:lnTo>
                  <a:lnTo>
                    <a:pt x="1488" y="372"/>
                  </a:lnTo>
                  <a:lnTo>
                    <a:pt x="1482" y="372"/>
                  </a:lnTo>
                  <a:lnTo>
                    <a:pt x="1476" y="372"/>
                  </a:lnTo>
                  <a:lnTo>
                    <a:pt x="1470" y="372"/>
                  </a:lnTo>
                  <a:lnTo>
                    <a:pt x="1470" y="378"/>
                  </a:lnTo>
                  <a:lnTo>
                    <a:pt x="1470" y="384"/>
                  </a:lnTo>
                  <a:lnTo>
                    <a:pt x="1470" y="390"/>
                  </a:lnTo>
                  <a:lnTo>
                    <a:pt x="1464" y="402"/>
                  </a:lnTo>
                  <a:lnTo>
                    <a:pt x="1446" y="402"/>
                  </a:lnTo>
                  <a:lnTo>
                    <a:pt x="1440" y="372"/>
                  </a:lnTo>
                  <a:lnTo>
                    <a:pt x="1410" y="372"/>
                  </a:lnTo>
                  <a:lnTo>
                    <a:pt x="1380" y="372"/>
                  </a:lnTo>
                  <a:lnTo>
                    <a:pt x="1374" y="372"/>
                  </a:lnTo>
                  <a:lnTo>
                    <a:pt x="1368" y="378"/>
                  </a:lnTo>
                  <a:lnTo>
                    <a:pt x="1362" y="378"/>
                  </a:lnTo>
                  <a:lnTo>
                    <a:pt x="1356" y="378"/>
                  </a:lnTo>
                  <a:lnTo>
                    <a:pt x="1350" y="384"/>
                  </a:lnTo>
                  <a:lnTo>
                    <a:pt x="1350" y="390"/>
                  </a:lnTo>
                  <a:lnTo>
                    <a:pt x="1344" y="390"/>
                  </a:lnTo>
                  <a:lnTo>
                    <a:pt x="1338" y="390"/>
                  </a:lnTo>
                  <a:lnTo>
                    <a:pt x="1332" y="390"/>
                  </a:lnTo>
                  <a:lnTo>
                    <a:pt x="1332" y="396"/>
                  </a:lnTo>
                  <a:lnTo>
                    <a:pt x="1332" y="390"/>
                  </a:lnTo>
                  <a:lnTo>
                    <a:pt x="1326" y="402"/>
                  </a:lnTo>
                  <a:lnTo>
                    <a:pt x="1320" y="402"/>
                  </a:lnTo>
                  <a:lnTo>
                    <a:pt x="1302" y="474"/>
                  </a:lnTo>
                  <a:lnTo>
                    <a:pt x="1308" y="480"/>
                  </a:lnTo>
                  <a:lnTo>
                    <a:pt x="1314" y="480"/>
                  </a:lnTo>
                  <a:lnTo>
                    <a:pt x="1308" y="498"/>
                  </a:lnTo>
                  <a:lnTo>
                    <a:pt x="1308" y="504"/>
                  </a:lnTo>
                  <a:lnTo>
                    <a:pt x="1314" y="510"/>
                  </a:lnTo>
                  <a:lnTo>
                    <a:pt x="1308" y="510"/>
                  </a:lnTo>
                  <a:lnTo>
                    <a:pt x="1308" y="516"/>
                  </a:lnTo>
                  <a:lnTo>
                    <a:pt x="1302" y="516"/>
                  </a:lnTo>
                  <a:lnTo>
                    <a:pt x="1296" y="510"/>
                  </a:lnTo>
                  <a:lnTo>
                    <a:pt x="1296" y="516"/>
                  </a:lnTo>
                  <a:lnTo>
                    <a:pt x="1290" y="540"/>
                  </a:lnTo>
                  <a:lnTo>
                    <a:pt x="1290" y="552"/>
                  </a:lnTo>
                  <a:lnTo>
                    <a:pt x="1284" y="558"/>
                  </a:lnTo>
                  <a:lnTo>
                    <a:pt x="1290" y="576"/>
                  </a:lnTo>
                  <a:lnTo>
                    <a:pt x="1290" y="600"/>
                  </a:lnTo>
                  <a:lnTo>
                    <a:pt x="1284" y="618"/>
                  </a:lnTo>
                  <a:lnTo>
                    <a:pt x="1290" y="624"/>
                  </a:lnTo>
                  <a:lnTo>
                    <a:pt x="1284" y="630"/>
                  </a:lnTo>
                  <a:lnTo>
                    <a:pt x="1278" y="630"/>
                  </a:lnTo>
                  <a:lnTo>
                    <a:pt x="1272" y="630"/>
                  </a:lnTo>
                  <a:lnTo>
                    <a:pt x="1266" y="636"/>
                  </a:lnTo>
                  <a:lnTo>
                    <a:pt x="1260" y="642"/>
                  </a:lnTo>
                  <a:lnTo>
                    <a:pt x="1260" y="636"/>
                  </a:lnTo>
                  <a:lnTo>
                    <a:pt x="1254" y="636"/>
                  </a:lnTo>
                  <a:lnTo>
                    <a:pt x="1248" y="636"/>
                  </a:lnTo>
                  <a:lnTo>
                    <a:pt x="1248" y="642"/>
                  </a:lnTo>
                  <a:lnTo>
                    <a:pt x="1242" y="642"/>
                  </a:lnTo>
                  <a:lnTo>
                    <a:pt x="1242" y="648"/>
                  </a:lnTo>
                  <a:lnTo>
                    <a:pt x="1236" y="654"/>
                  </a:lnTo>
                  <a:lnTo>
                    <a:pt x="1230" y="654"/>
                  </a:lnTo>
                  <a:lnTo>
                    <a:pt x="1224" y="654"/>
                  </a:lnTo>
                  <a:lnTo>
                    <a:pt x="1218" y="660"/>
                  </a:lnTo>
                  <a:lnTo>
                    <a:pt x="1212" y="660"/>
                  </a:lnTo>
                  <a:lnTo>
                    <a:pt x="1206" y="660"/>
                  </a:lnTo>
                  <a:lnTo>
                    <a:pt x="1200" y="660"/>
                  </a:lnTo>
                  <a:lnTo>
                    <a:pt x="1200" y="666"/>
                  </a:lnTo>
                  <a:lnTo>
                    <a:pt x="1194" y="666"/>
                  </a:lnTo>
                  <a:lnTo>
                    <a:pt x="1188" y="666"/>
                  </a:lnTo>
                  <a:lnTo>
                    <a:pt x="1182" y="672"/>
                  </a:lnTo>
                  <a:lnTo>
                    <a:pt x="1176" y="672"/>
                  </a:lnTo>
                  <a:lnTo>
                    <a:pt x="1170" y="672"/>
                  </a:lnTo>
                  <a:lnTo>
                    <a:pt x="1164" y="678"/>
                  </a:lnTo>
                  <a:lnTo>
                    <a:pt x="1170" y="678"/>
                  </a:lnTo>
                  <a:lnTo>
                    <a:pt x="1164" y="684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52" y="684"/>
                  </a:lnTo>
                  <a:lnTo>
                    <a:pt x="1152" y="690"/>
                  </a:lnTo>
                  <a:lnTo>
                    <a:pt x="1146" y="690"/>
                  </a:lnTo>
                  <a:lnTo>
                    <a:pt x="1140" y="690"/>
                  </a:lnTo>
                  <a:lnTo>
                    <a:pt x="1134" y="696"/>
                  </a:lnTo>
                  <a:lnTo>
                    <a:pt x="1128" y="696"/>
                  </a:lnTo>
                  <a:lnTo>
                    <a:pt x="1122" y="702"/>
                  </a:lnTo>
                  <a:lnTo>
                    <a:pt x="1116" y="702"/>
                  </a:lnTo>
                  <a:lnTo>
                    <a:pt x="1110" y="708"/>
                  </a:lnTo>
                  <a:lnTo>
                    <a:pt x="1104" y="708"/>
                  </a:lnTo>
                  <a:lnTo>
                    <a:pt x="1098" y="708"/>
                  </a:lnTo>
                  <a:lnTo>
                    <a:pt x="1092" y="708"/>
                  </a:lnTo>
                  <a:lnTo>
                    <a:pt x="1092" y="714"/>
                  </a:lnTo>
                  <a:lnTo>
                    <a:pt x="1086" y="720"/>
                  </a:lnTo>
                  <a:lnTo>
                    <a:pt x="1080" y="720"/>
                  </a:lnTo>
                  <a:lnTo>
                    <a:pt x="1074" y="720"/>
                  </a:lnTo>
                  <a:lnTo>
                    <a:pt x="1068" y="720"/>
                  </a:lnTo>
                  <a:lnTo>
                    <a:pt x="1062" y="720"/>
                  </a:lnTo>
                  <a:lnTo>
                    <a:pt x="1050" y="726"/>
                  </a:lnTo>
                  <a:lnTo>
                    <a:pt x="1044" y="726"/>
                  </a:lnTo>
                  <a:lnTo>
                    <a:pt x="1038" y="732"/>
                  </a:lnTo>
                  <a:lnTo>
                    <a:pt x="1026" y="732"/>
                  </a:lnTo>
                  <a:lnTo>
                    <a:pt x="1020" y="732"/>
                  </a:lnTo>
                  <a:lnTo>
                    <a:pt x="1014" y="738"/>
                  </a:lnTo>
                  <a:lnTo>
                    <a:pt x="1008" y="738"/>
                  </a:lnTo>
                  <a:lnTo>
                    <a:pt x="1002" y="738"/>
                  </a:lnTo>
                  <a:lnTo>
                    <a:pt x="996" y="738"/>
                  </a:lnTo>
                  <a:lnTo>
                    <a:pt x="990" y="738"/>
                  </a:lnTo>
                  <a:lnTo>
                    <a:pt x="990" y="732"/>
                  </a:lnTo>
                  <a:lnTo>
                    <a:pt x="984" y="732"/>
                  </a:lnTo>
                  <a:lnTo>
                    <a:pt x="978" y="738"/>
                  </a:lnTo>
                  <a:lnTo>
                    <a:pt x="978" y="744"/>
                  </a:lnTo>
                  <a:lnTo>
                    <a:pt x="984" y="744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8" y="756"/>
                  </a:lnTo>
                  <a:lnTo>
                    <a:pt x="972" y="756"/>
                  </a:lnTo>
                  <a:lnTo>
                    <a:pt x="972" y="762"/>
                  </a:lnTo>
                  <a:lnTo>
                    <a:pt x="966" y="768"/>
                  </a:lnTo>
                  <a:lnTo>
                    <a:pt x="966" y="762"/>
                  </a:lnTo>
                  <a:lnTo>
                    <a:pt x="960" y="762"/>
                  </a:lnTo>
                  <a:lnTo>
                    <a:pt x="954" y="768"/>
                  </a:lnTo>
                  <a:lnTo>
                    <a:pt x="954" y="774"/>
                  </a:lnTo>
                  <a:lnTo>
                    <a:pt x="948" y="774"/>
                  </a:lnTo>
                  <a:lnTo>
                    <a:pt x="948" y="780"/>
                  </a:lnTo>
                  <a:lnTo>
                    <a:pt x="948" y="786"/>
                  </a:lnTo>
                  <a:lnTo>
                    <a:pt x="942" y="786"/>
                  </a:lnTo>
                  <a:lnTo>
                    <a:pt x="942" y="792"/>
                  </a:lnTo>
                  <a:lnTo>
                    <a:pt x="936" y="792"/>
                  </a:lnTo>
                  <a:lnTo>
                    <a:pt x="942" y="798"/>
                  </a:lnTo>
                  <a:lnTo>
                    <a:pt x="942" y="804"/>
                  </a:lnTo>
                  <a:lnTo>
                    <a:pt x="942" y="810"/>
                  </a:lnTo>
                  <a:lnTo>
                    <a:pt x="948" y="810"/>
                  </a:lnTo>
                  <a:lnTo>
                    <a:pt x="942" y="816"/>
                  </a:lnTo>
                  <a:lnTo>
                    <a:pt x="948" y="816"/>
                  </a:lnTo>
                  <a:lnTo>
                    <a:pt x="948" y="822"/>
                  </a:lnTo>
                  <a:lnTo>
                    <a:pt x="954" y="822"/>
                  </a:lnTo>
                  <a:lnTo>
                    <a:pt x="960" y="828"/>
                  </a:lnTo>
                  <a:lnTo>
                    <a:pt x="960" y="834"/>
                  </a:lnTo>
                  <a:lnTo>
                    <a:pt x="966" y="834"/>
                  </a:lnTo>
                  <a:lnTo>
                    <a:pt x="960" y="840"/>
                  </a:lnTo>
                  <a:lnTo>
                    <a:pt x="966" y="846"/>
                  </a:lnTo>
                  <a:lnTo>
                    <a:pt x="966" y="840"/>
                  </a:lnTo>
                  <a:lnTo>
                    <a:pt x="972" y="840"/>
                  </a:lnTo>
                  <a:lnTo>
                    <a:pt x="990" y="840"/>
                  </a:lnTo>
                  <a:lnTo>
                    <a:pt x="1002" y="834"/>
                  </a:lnTo>
                  <a:lnTo>
                    <a:pt x="1020" y="828"/>
                  </a:lnTo>
                  <a:lnTo>
                    <a:pt x="1032" y="828"/>
                  </a:lnTo>
                  <a:lnTo>
                    <a:pt x="1050" y="828"/>
                  </a:lnTo>
                  <a:lnTo>
                    <a:pt x="1062" y="846"/>
                  </a:lnTo>
                  <a:lnTo>
                    <a:pt x="1074" y="876"/>
                  </a:lnTo>
                  <a:lnTo>
                    <a:pt x="1068" y="900"/>
                  </a:lnTo>
                  <a:lnTo>
                    <a:pt x="1074" y="912"/>
                  </a:lnTo>
                  <a:lnTo>
                    <a:pt x="1074" y="936"/>
                  </a:lnTo>
                  <a:lnTo>
                    <a:pt x="1068" y="942"/>
                  </a:lnTo>
                  <a:lnTo>
                    <a:pt x="1062" y="954"/>
                  </a:lnTo>
                  <a:lnTo>
                    <a:pt x="1056" y="978"/>
                  </a:lnTo>
                  <a:lnTo>
                    <a:pt x="1056" y="996"/>
                  </a:lnTo>
                  <a:lnTo>
                    <a:pt x="1068" y="990"/>
                  </a:lnTo>
                  <a:lnTo>
                    <a:pt x="1074" y="990"/>
                  </a:lnTo>
                  <a:lnTo>
                    <a:pt x="1074" y="1008"/>
                  </a:lnTo>
                  <a:lnTo>
                    <a:pt x="1080" y="1008"/>
                  </a:lnTo>
                  <a:lnTo>
                    <a:pt x="1092" y="1014"/>
                  </a:lnTo>
                  <a:lnTo>
                    <a:pt x="1110" y="1044"/>
                  </a:lnTo>
                  <a:lnTo>
                    <a:pt x="1110" y="1062"/>
                  </a:lnTo>
                  <a:lnTo>
                    <a:pt x="1128" y="1068"/>
                  </a:lnTo>
                  <a:lnTo>
                    <a:pt x="1128" y="1092"/>
                  </a:lnTo>
                  <a:lnTo>
                    <a:pt x="1134" y="1098"/>
                  </a:lnTo>
                  <a:lnTo>
                    <a:pt x="1158" y="1122"/>
                  </a:lnTo>
                  <a:lnTo>
                    <a:pt x="1188" y="1122"/>
                  </a:lnTo>
                  <a:lnTo>
                    <a:pt x="1188" y="1128"/>
                  </a:lnTo>
                  <a:lnTo>
                    <a:pt x="1200" y="1134"/>
                  </a:lnTo>
                  <a:lnTo>
                    <a:pt x="1206" y="1134"/>
                  </a:lnTo>
                  <a:lnTo>
                    <a:pt x="1206" y="1128"/>
                  </a:lnTo>
                  <a:lnTo>
                    <a:pt x="1212" y="1128"/>
                  </a:lnTo>
                  <a:lnTo>
                    <a:pt x="1218" y="1128"/>
                  </a:lnTo>
                  <a:lnTo>
                    <a:pt x="1224" y="1122"/>
                  </a:lnTo>
                  <a:lnTo>
                    <a:pt x="1224" y="1128"/>
                  </a:lnTo>
                  <a:lnTo>
                    <a:pt x="1230" y="1128"/>
                  </a:lnTo>
                  <a:lnTo>
                    <a:pt x="1236" y="1128"/>
                  </a:lnTo>
                  <a:lnTo>
                    <a:pt x="1236" y="1122"/>
                  </a:lnTo>
                  <a:lnTo>
                    <a:pt x="1242" y="1122"/>
                  </a:lnTo>
                  <a:lnTo>
                    <a:pt x="1248" y="1128"/>
                  </a:lnTo>
                  <a:lnTo>
                    <a:pt x="1254" y="1128"/>
                  </a:lnTo>
                  <a:lnTo>
                    <a:pt x="1260" y="1134"/>
                  </a:lnTo>
                  <a:lnTo>
                    <a:pt x="1260" y="1140"/>
                  </a:lnTo>
                  <a:lnTo>
                    <a:pt x="1266" y="1140"/>
                  </a:lnTo>
                  <a:lnTo>
                    <a:pt x="1272" y="1140"/>
                  </a:lnTo>
                  <a:lnTo>
                    <a:pt x="1278" y="1140"/>
                  </a:lnTo>
                  <a:lnTo>
                    <a:pt x="1284" y="1140"/>
                  </a:lnTo>
                  <a:lnTo>
                    <a:pt x="1290" y="1146"/>
                  </a:lnTo>
                  <a:lnTo>
                    <a:pt x="1290" y="1152"/>
                  </a:lnTo>
                  <a:lnTo>
                    <a:pt x="1296" y="1146"/>
                  </a:lnTo>
                  <a:lnTo>
                    <a:pt x="1296" y="1152"/>
                  </a:lnTo>
                  <a:lnTo>
                    <a:pt x="1308" y="1152"/>
                  </a:lnTo>
                  <a:lnTo>
                    <a:pt x="1314" y="1152"/>
                  </a:lnTo>
                  <a:lnTo>
                    <a:pt x="1320" y="1152"/>
                  </a:lnTo>
                  <a:lnTo>
                    <a:pt x="1332" y="1152"/>
                  </a:lnTo>
                  <a:lnTo>
                    <a:pt x="1338" y="1152"/>
                  </a:lnTo>
                  <a:lnTo>
                    <a:pt x="1344" y="1152"/>
                  </a:lnTo>
                  <a:lnTo>
                    <a:pt x="1344" y="1158"/>
                  </a:lnTo>
                  <a:lnTo>
                    <a:pt x="1350" y="1158"/>
                  </a:lnTo>
                  <a:lnTo>
                    <a:pt x="1356" y="1158"/>
                  </a:lnTo>
                  <a:lnTo>
                    <a:pt x="1362" y="1158"/>
                  </a:lnTo>
                  <a:lnTo>
                    <a:pt x="1368" y="1158"/>
                  </a:lnTo>
                  <a:lnTo>
                    <a:pt x="1374" y="1164"/>
                  </a:lnTo>
                  <a:lnTo>
                    <a:pt x="1380" y="1164"/>
                  </a:lnTo>
                  <a:lnTo>
                    <a:pt x="1386" y="1170"/>
                  </a:lnTo>
                  <a:lnTo>
                    <a:pt x="1392" y="1170"/>
                  </a:lnTo>
                  <a:lnTo>
                    <a:pt x="1398" y="1164"/>
                  </a:lnTo>
                  <a:lnTo>
                    <a:pt x="1404" y="1164"/>
                  </a:lnTo>
                  <a:lnTo>
                    <a:pt x="1410" y="1164"/>
                  </a:lnTo>
                  <a:lnTo>
                    <a:pt x="1416" y="1164"/>
                  </a:lnTo>
                  <a:lnTo>
                    <a:pt x="1416" y="1170"/>
                  </a:lnTo>
                  <a:lnTo>
                    <a:pt x="1422" y="1176"/>
                  </a:lnTo>
                  <a:lnTo>
                    <a:pt x="1416" y="1176"/>
                  </a:lnTo>
                  <a:lnTo>
                    <a:pt x="1416" y="1182"/>
                  </a:lnTo>
                  <a:lnTo>
                    <a:pt x="1410" y="1188"/>
                  </a:lnTo>
                  <a:lnTo>
                    <a:pt x="1404" y="1194"/>
                  </a:lnTo>
                  <a:lnTo>
                    <a:pt x="1404" y="1200"/>
                  </a:lnTo>
                  <a:lnTo>
                    <a:pt x="1404" y="1206"/>
                  </a:lnTo>
                  <a:lnTo>
                    <a:pt x="1398" y="1212"/>
                  </a:lnTo>
                  <a:lnTo>
                    <a:pt x="1398" y="1206"/>
                  </a:lnTo>
                  <a:lnTo>
                    <a:pt x="1392" y="1206"/>
                  </a:lnTo>
                  <a:lnTo>
                    <a:pt x="1386" y="1206"/>
                  </a:lnTo>
                  <a:lnTo>
                    <a:pt x="1380" y="1212"/>
                  </a:lnTo>
                  <a:lnTo>
                    <a:pt x="1374" y="1212"/>
                  </a:lnTo>
                  <a:lnTo>
                    <a:pt x="1368" y="1218"/>
                  </a:lnTo>
                  <a:lnTo>
                    <a:pt x="1362" y="1218"/>
                  </a:lnTo>
                  <a:lnTo>
                    <a:pt x="1362" y="1224"/>
                  </a:lnTo>
                  <a:lnTo>
                    <a:pt x="1356" y="1230"/>
                  </a:lnTo>
                  <a:lnTo>
                    <a:pt x="1350" y="1230"/>
                  </a:lnTo>
                  <a:lnTo>
                    <a:pt x="1344" y="1236"/>
                  </a:lnTo>
                  <a:lnTo>
                    <a:pt x="1338" y="1230"/>
                  </a:lnTo>
                  <a:lnTo>
                    <a:pt x="1332" y="1230"/>
                  </a:lnTo>
                  <a:lnTo>
                    <a:pt x="1326" y="1230"/>
                  </a:lnTo>
                  <a:lnTo>
                    <a:pt x="1320" y="1230"/>
                  </a:lnTo>
                  <a:lnTo>
                    <a:pt x="1314" y="1230"/>
                  </a:lnTo>
                  <a:lnTo>
                    <a:pt x="1296" y="1242"/>
                  </a:lnTo>
                  <a:lnTo>
                    <a:pt x="1296" y="1248"/>
                  </a:lnTo>
                  <a:lnTo>
                    <a:pt x="1290" y="1248"/>
                  </a:lnTo>
                  <a:lnTo>
                    <a:pt x="1290" y="1260"/>
                  </a:lnTo>
                  <a:lnTo>
                    <a:pt x="1278" y="1272"/>
                  </a:lnTo>
                  <a:lnTo>
                    <a:pt x="1278" y="1278"/>
                  </a:lnTo>
                  <a:lnTo>
                    <a:pt x="1278" y="1284"/>
                  </a:lnTo>
                  <a:lnTo>
                    <a:pt x="1278" y="1290"/>
                  </a:lnTo>
                  <a:lnTo>
                    <a:pt x="1284" y="1296"/>
                  </a:lnTo>
                  <a:lnTo>
                    <a:pt x="1302" y="1302"/>
                  </a:lnTo>
                  <a:lnTo>
                    <a:pt x="1308" y="1308"/>
                  </a:lnTo>
                  <a:lnTo>
                    <a:pt x="1308" y="1314"/>
                  </a:lnTo>
                  <a:lnTo>
                    <a:pt x="1302" y="1320"/>
                  </a:lnTo>
                  <a:lnTo>
                    <a:pt x="1278" y="1314"/>
                  </a:lnTo>
                  <a:lnTo>
                    <a:pt x="1266" y="1308"/>
                  </a:lnTo>
                  <a:lnTo>
                    <a:pt x="1260" y="1296"/>
                  </a:lnTo>
                  <a:lnTo>
                    <a:pt x="1236" y="1296"/>
                  </a:lnTo>
                  <a:lnTo>
                    <a:pt x="1224" y="1308"/>
                  </a:lnTo>
                  <a:lnTo>
                    <a:pt x="1218" y="1308"/>
                  </a:lnTo>
                  <a:lnTo>
                    <a:pt x="1218" y="1302"/>
                  </a:lnTo>
                  <a:lnTo>
                    <a:pt x="1212" y="1302"/>
                  </a:lnTo>
                  <a:lnTo>
                    <a:pt x="1206" y="1302"/>
                  </a:lnTo>
                  <a:lnTo>
                    <a:pt x="1170" y="1314"/>
                  </a:lnTo>
                  <a:lnTo>
                    <a:pt x="1134" y="1296"/>
                  </a:lnTo>
                  <a:lnTo>
                    <a:pt x="1122" y="1290"/>
                  </a:lnTo>
                  <a:lnTo>
                    <a:pt x="1104" y="1290"/>
                  </a:lnTo>
                  <a:lnTo>
                    <a:pt x="1098" y="1278"/>
                  </a:lnTo>
                  <a:lnTo>
                    <a:pt x="1092" y="1242"/>
                  </a:lnTo>
                  <a:lnTo>
                    <a:pt x="1086" y="1242"/>
                  </a:lnTo>
                  <a:lnTo>
                    <a:pt x="1086" y="1248"/>
                  </a:lnTo>
                  <a:lnTo>
                    <a:pt x="1086" y="1254"/>
                  </a:lnTo>
                  <a:lnTo>
                    <a:pt x="1080" y="1254"/>
                  </a:lnTo>
                  <a:lnTo>
                    <a:pt x="1080" y="1260"/>
                  </a:lnTo>
                  <a:lnTo>
                    <a:pt x="1074" y="1260"/>
                  </a:lnTo>
                  <a:lnTo>
                    <a:pt x="1068" y="1236"/>
                  </a:lnTo>
                  <a:lnTo>
                    <a:pt x="1068" y="1206"/>
                  </a:lnTo>
                  <a:lnTo>
                    <a:pt x="1080" y="1194"/>
                  </a:lnTo>
                  <a:lnTo>
                    <a:pt x="1086" y="1194"/>
                  </a:lnTo>
                  <a:lnTo>
                    <a:pt x="1092" y="1200"/>
                  </a:lnTo>
                  <a:lnTo>
                    <a:pt x="1098" y="1206"/>
                  </a:lnTo>
                  <a:lnTo>
                    <a:pt x="1104" y="1200"/>
                  </a:lnTo>
                  <a:lnTo>
                    <a:pt x="1104" y="1194"/>
                  </a:lnTo>
                  <a:lnTo>
                    <a:pt x="1110" y="1194"/>
                  </a:lnTo>
                  <a:lnTo>
                    <a:pt x="1110" y="1188"/>
                  </a:lnTo>
                  <a:lnTo>
                    <a:pt x="1116" y="1182"/>
                  </a:lnTo>
                  <a:lnTo>
                    <a:pt x="1110" y="1182"/>
                  </a:lnTo>
                  <a:lnTo>
                    <a:pt x="1110" y="1170"/>
                  </a:lnTo>
                  <a:lnTo>
                    <a:pt x="1110" y="1158"/>
                  </a:lnTo>
                  <a:lnTo>
                    <a:pt x="1110" y="1152"/>
                  </a:lnTo>
                  <a:lnTo>
                    <a:pt x="1104" y="1146"/>
                  </a:lnTo>
                  <a:lnTo>
                    <a:pt x="1098" y="1140"/>
                  </a:lnTo>
                  <a:lnTo>
                    <a:pt x="1098" y="1134"/>
                  </a:lnTo>
                  <a:lnTo>
                    <a:pt x="1098" y="1128"/>
                  </a:lnTo>
                  <a:lnTo>
                    <a:pt x="1092" y="1128"/>
                  </a:lnTo>
                  <a:lnTo>
                    <a:pt x="1092" y="1122"/>
                  </a:lnTo>
                  <a:lnTo>
                    <a:pt x="1092" y="1116"/>
                  </a:lnTo>
                  <a:lnTo>
                    <a:pt x="1092" y="1110"/>
                  </a:lnTo>
                  <a:lnTo>
                    <a:pt x="1056" y="1122"/>
                  </a:lnTo>
                  <a:lnTo>
                    <a:pt x="1038" y="1128"/>
                  </a:lnTo>
                  <a:lnTo>
                    <a:pt x="1032" y="1128"/>
                  </a:lnTo>
                  <a:lnTo>
                    <a:pt x="1026" y="1128"/>
                  </a:lnTo>
                  <a:lnTo>
                    <a:pt x="1020" y="1128"/>
                  </a:lnTo>
                  <a:lnTo>
                    <a:pt x="1014" y="1128"/>
                  </a:lnTo>
                  <a:lnTo>
                    <a:pt x="1014" y="1122"/>
                  </a:lnTo>
                  <a:lnTo>
                    <a:pt x="1008" y="1122"/>
                  </a:lnTo>
                  <a:lnTo>
                    <a:pt x="1002" y="1128"/>
                  </a:lnTo>
                  <a:lnTo>
                    <a:pt x="1002" y="1134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84" y="1140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66" y="1140"/>
                  </a:lnTo>
                  <a:lnTo>
                    <a:pt x="954" y="1140"/>
                  </a:lnTo>
                  <a:lnTo>
                    <a:pt x="954" y="1134"/>
                  </a:lnTo>
                  <a:lnTo>
                    <a:pt x="948" y="1134"/>
                  </a:lnTo>
                  <a:lnTo>
                    <a:pt x="942" y="1134"/>
                  </a:lnTo>
                  <a:lnTo>
                    <a:pt x="936" y="1134"/>
                  </a:lnTo>
                  <a:lnTo>
                    <a:pt x="930" y="1134"/>
                  </a:lnTo>
                  <a:lnTo>
                    <a:pt x="924" y="1134"/>
                  </a:lnTo>
                  <a:lnTo>
                    <a:pt x="918" y="1134"/>
                  </a:lnTo>
                  <a:lnTo>
                    <a:pt x="918" y="1128"/>
                  </a:lnTo>
                  <a:lnTo>
                    <a:pt x="918" y="1104"/>
                  </a:lnTo>
                  <a:lnTo>
                    <a:pt x="906" y="1104"/>
                  </a:lnTo>
                  <a:lnTo>
                    <a:pt x="900" y="1098"/>
                  </a:lnTo>
                  <a:lnTo>
                    <a:pt x="900" y="1092"/>
                  </a:lnTo>
                  <a:lnTo>
                    <a:pt x="900" y="1086"/>
                  </a:lnTo>
                  <a:lnTo>
                    <a:pt x="900" y="1080"/>
                  </a:lnTo>
                  <a:lnTo>
                    <a:pt x="894" y="1080"/>
                  </a:lnTo>
                  <a:lnTo>
                    <a:pt x="858" y="1074"/>
                  </a:lnTo>
                  <a:lnTo>
                    <a:pt x="852" y="1080"/>
                  </a:lnTo>
                  <a:lnTo>
                    <a:pt x="846" y="1086"/>
                  </a:lnTo>
                  <a:lnTo>
                    <a:pt x="840" y="1086"/>
                  </a:lnTo>
                  <a:lnTo>
                    <a:pt x="840" y="1092"/>
                  </a:lnTo>
                  <a:lnTo>
                    <a:pt x="834" y="1092"/>
                  </a:lnTo>
                  <a:lnTo>
                    <a:pt x="828" y="1098"/>
                  </a:lnTo>
                  <a:lnTo>
                    <a:pt x="822" y="1098"/>
                  </a:lnTo>
                  <a:lnTo>
                    <a:pt x="762" y="1074"/>
                  </a:lnTo>
                  <a:lnTo>
                    <a:pt x="756" y="1068"/>
                  </a:lnTo>
                  <a:lnTo>
                    <a:pt x="750" y="1068"/>
                  </a:lnTo>
                  <a:lnTo>
                    <a:pt x="744" y="1062"/>
                  </a:lnTo>
                  <a:lnTo>
                    <a:pt x="744" y="1068"/>
                  </a:lnTo>
                  <a:lnTo>
                    <a:pt x="744" y="1074"/>
                  </a:lnTo>
                  <a:lnTo>
                    <a:pt x="738" y="1074"/>
                  </a:lnTo>
                  <a:lnTo>
                    <a:pt x="738" y="1068"/>
                  </a:lnTo>
                  <a:lnTo>
                    <a:pt x="732" y="1068"/>
                  </a:lnTo>
                  <a:lnTo>
                    <a:pt x="726" y="1068"/>
                  </a:lnTo>
                  <a:lnTo>
                    <a:pt x="726" y="1074"/>
                  </a:lnTo>
                  <a:lnTo>
                    <a:pt x="720" y="1074"/>
                  </a:lnTo>
                  <a:lnTo>
                    <a:pt x="684" y="106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5" name="Freeform 40">
              <a:extLst>
                <a:ext uri="{FF2B5EF4-FFF2-40B4-BE49-F238E27FC236}">
                  <a16:creationId xmlns:a16="http://schemas.microsoft.com/office/drawing/2014/main" id="{37EC2F22-BDB9-4162-8FA4-08493F6898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3558" y="1520374"/>
              <a:ext cx="1057717" cy="1252440"/>
            </a:xfrm>
            <a:custGeom>
              <a:avLst/>
              <a:gdLst>
                <a:gd name="T0" fmla="*/ 98 w 1992"/>
                <a:gd name="T1" fmla="*/ 162 h 2358"/>
                <a:gd name="T2" fmla="*/ 93 w 1992"/>
                <a:gd name="T3" fmla="*/ 172 h 2358"/>
                <a:gd name="T4" fmla="*/ 82 w 1992"/>
                <a:gd name="T5" fmla="*/ 179 h 2358"/>
                <a:gd name="T6" fmla="*/ 70 w 1992"/>
                <a:gd name="T7" fmla="*/ 174 h 2358"/>
                <a:gd name="T8" fmla="*/ 62 w 1992"/>
                <a:gd name="T9" fmla="*/ 182 h 2358"/>
                <a:gd name="T10" fmla="*/ 45 w 1992"/>
                <a:gd name="T11" fmla="*/ 189 h 2358"/>
                <a:gd name="T12" fmla="*/ 24 w 1992"/>
                <a:gd name="T13" fmla="*/ 205 h 2358"/>
                <a:gd name="T14" fmla="*/ 17 w 1992"/>
                <a:gd name="T15" fmla="*/ 204 h 2358"/>
                <a:gd name="T16" fmla="*/ 7 w 1992"/>
                <a:gd name="T17" fmla="*/ 197 h 2358"/>
                <a:gd name="T18" fmla="*/ 1 w 1992"/>
                <a:gd name="T19" fmla="*/ 191 h 2358"/>
                <a:gd name="T20" fmla="*/ 4 w 1992"/>
                <a:gd name="T21" fmla="*/ 175 h 2358"/>
                <a:gd name="T22" fmla="*/ 7 w 1992"/>
                <a:gd name="T23" fmla="*/ 172 h 2358"/>
                <a:gd name="T24" fmla="*/ 11 w 1992"/>
                <a:gd name="T25" fmla="*/ 168 h 2358"/>
                <a:gd name="T26" fmla="*/ 5 w 1992"/>
                <a:gd name="T27" fmla="*/ 159 h 2358"/>
                <a:gd name="T28" fmla="*/ 10 w 1992"/>
                <a:gd name="T29" fmla="*/ 156 h 2358"/>
                <a:gd name="T30" fmla="*/ 15 w 1992"/>
                <a:gd name="T31" fmla="*/ 155 h 2358"/>
                <a:gd name="T32" fmla="*/ 24 w 1992"/>
                <a:gd name="T33" fmla="*/ 149 h 2358"/>
                <a:gd name="T34" fmla="*/ 38 w 1992"/>
                <a:gd name="T35" fmla="*/ 127 h 2358"/>
                <a:gd name="T36" fmla="*/ 38 w 1992"/>
                <a:gd name="T37" fmla="*/ 107 h 2358"/>
                <a:gd name="T38" fmla="*/ 45 w 1992"/>
                <a:gd name="T39" fmla="*/ 66 h 2358"/>
                <a:gd name="T40" fmla="*/ 47 w 1992"/>
                <a:gd name="T41" fmla="*/ 36 h 2358"/>
                <a:gd name="T42" fmla="*/ 51 w 1992"/>
                <a:gd name="T43" fmla="*/ 35 h 2358"/>
                <a:gd name="T44" fmla="*/ 55 w 1992"/>
                <a:gd name="T45" fmla="*/ 30 h 2358"/>
                <a:gd name="T46" fmla="*/ 56 w 1992"/>
                <a:gd name="T47" fmla="*/ 27 h 2358"/>
                <a:gd name="T48" fmla="*/ 60 w 1992"/>
                <a:gd name="T49" fmla="*/ 23 h 2358"/>
                <a:gd name="T50" fmla="*/ 63 w 1992"/>
                <a:gd name="T51" fmla="*/ 23 h 2358"/>
                <a:gd name="T52" fmla="*/ 70 w 1992"/>
                <a:gd name="T53" fmla="*/ 18 h 2358"/>
                <a:gd name="T54" fmla="*/ 71 w 1992"/>
                <a:gd name="T55" fmla="*/ 15 h 2358"/>
                <a:gd name="T56" fmla="*/ 72 w 1992"/>
                <a:gd name="T57" fmla="*/ 13 h 2358"/>
                <a:gd name="T58" fmla="*/ 77 w 1992"/>
                <a:gd name="T59" fmla="*/ 12 h 2358"/>
                <a:gd name="T60" fmla="*/ 83 w 1992"/>
                <a:gd name="T61" fmla="*/ 10 h 2358"/>
                <a:gd name="T62" fmla="*/ 87 w 1992"/>
                <a:gd name="T63" fmla="*/ 10 h 2358"/>
                <a:gd name="T64" fmla="*/ 89 w 1992"/>
                <a:gd name="T65" fmla="*/ 10 h 2358"/>
                <a:gd name="T66" fmla="*/ 93 w 1992"/>
                <a:gd name="T67" fmla="*/ 8 h 2358"/>
                <a:gd name="T68" fmla="*/ 95 w 1992"/>
                <a:gd name="T69" fmla="*/ 4 h 2358"/>
                <a:gd name="T70" fmla="*/ 99 w 1992"/>
                <a:gd name="T71" fmla="*/ 0 h 2358"/>
                <a:gd name="T72" fmla="*/ 111 w 1992"/>
                <a:gd name="T73" fmla="*/ 0 h 2358"/>
                <a:gd name="T74" fmla="*/ 121 w 1992"/>
                <a:gd name="T75" fmla="*/ 9 h 2358"/>
                <a:gd name="T76" fmla="*/ 128 w 1992"/>
                <a:gd name="T77" fmla="*/ 19 h 2358"/>
                <a:gd name="T78" fmla="*/ 138 w 1992"/>
                <a:gd name="T79" fmla="*/ 33 h 2358"/>
                <a:gd name="T80" fmla="*/ 142 w 1992"/>
                <a:gd name="T81" fmla="*/ 47 h 2358"/>
                <a:gd name="T82" fmla="*/ 145 w 1992"/>
                <a:gd name="T83" fmla="*/ 62 h 2358"/>
                <a:gd name="T84" fmla="*/ 145 w 1992"/>
                <a:gd name="T85" fmla="*/ 70 h 2358"/>
                <a:gd name="T86" fmla="*/ 147 w 1992"/>
                <a:gd name="T87" fmla="*/ 75 h 2358"/>
                <a:gd name="T88" fmla="*/ 153 w 1992"/>
                <a:gd name="T89" fmla="*/ 75 h 2358"/>
                <a:gd name="T90" fmla="*/ 160 w 1992"/>
                <a:gd name="T91" fmla="*/ 76 h 2358"/>
                <a:gd name="T92" fmla="*/ 164 w 1992"/>
                <a:gd name="T93" fmla="*/ 79 h 2358"/>
                <a:gd name="T94" fmla="*/ 168 w 1992"/>
                <a:gd name="T95" fmla="*/ 83 h 2358"/>
                <a:gd name="T96" fmla="*/ 172 w 1992"/>
                <a:gd name="T97" fmla="*/ 86 h 2358"/>
                <a:gd name="T98" fmla="*/ 170 w 1992"/>
                <a:gd name="T99" fmla="*/ 93 h 2358"/>
                <a:gd name="T100" fmla="*/ 170 w 1992"/>
                <a:gd name="T101" fmla="*/ 99 h 2358"/>
                <a:gd name="T102" fmla="*/ 169 w 1992"/>
                <a:gd name="T103" fmla="*/ 106 h 2358"/>
                <a:gd name="T104" fmla="*/ 166 w 1992"/>
                <a:gd name="T105" fmla="*/ 113 h 2358"/>
                <a:gd name="T106" fmla="*/ 170 w 1992"/>
                <a:gd name="T107" fmla="*/ 122 h 2358"/>
                <a:gd name="T108" fmla="*/ 159 w 1992"/>
                <a:gd name="T109" fmla="*/ 128 h 2358"/>
                <a:gd name="T110" fmla="*/ 148 w 1992"/>
                <a:gd name="T111" fmla="*/ 134 h 2358"/>
                <a:gd name="T112" fmla="*/ 139 w 1992"/>
                <a:gd name="T113" fmla="*/ 136 h 2358"/>
                <a:gd name="T114" fmla="*/ 132 w 1992"/>
                <a:gd name="T115" fmla="*/ 138 h 2358"/>
                <a:gd name="T116" fmla="*/ 128 w 1992"/>
                <a:gd name="T117" fmla="*/ 145 h 2358"/>
                <a:gd name="T118" fmla="*/ 124 w 1992"/>
                <a:gd name="T119" fmla="*/ 150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92"/>
                <a:gd name="T181" fmla="*/ 0 h 2358"/>
                <a:gd name="T182" fmla="*/ 1992 w 1992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92" h="2358">
                  <a:moveTo>
                    <a:pt x="1356" y="1782"/>
                  </a:moveTo>
                  <a:lnTo>
                    <a:pt x="1350" y="1788"/>
                  </a:lnTo>
                  <a:lnTo>
                    <a:pt x="1266" y="1788"/>
                  </a:lnTo>
                  <a:lnTo>
                    <a:pt x="1260" y="1800"/>
                  </a:lnTo>
                  <a:lnTo>
                    <a:pt x="1242" y="1806"/>
                  </a:lnTo>
                  <a:lnTo>
                    <a:pt x="1218" y="1812"/>
                  </a:lnTo>
                  <a:lnTo>
                    <a:pt x="1182" y="1812"/>
                  </a:lnTo>
                  <a:lnTo>
                    <a:pt x="1158" y="1806"/>
                  </a:lnTo>
                  <a:lnTo>
                    <a:pt x="1134" y="1800"/>
                  </a:lnTo>
                  <a:lnTo>
                    <a:pt x="1134" y="1806"/>
                  </a:lnTo>
                  <a:lnTo>
                    <a:pt x="1134" y="1830"/>
                  </a:lnTo>
                  <a:lnTo>
                    <a:pt x="1128" y="1842"/>
                  </a:lnTo>
                  <a:lnTo>
                    <a:pt x="1128" y="1854"/>
                  </a:lnTo>
                  <a:lnTo>
                    <a:pt x="1128" y="1860"/>
                  </a:lnTo>
                  <a:lnTo>
                    <a:pt x="1128" y="1866"/>
                  </a:lnTo>
                  <a:lnTo>
                    <a:pt x="1128" y="1872"/>
                  </a:lnTo>
                  <a:lnTo>
                    <a:pt x="1128" y="1884"/>
                  </a:lnTo>
                  <a:lnTo>
                    <a:pt x="1128" y="1890"/>
                  </a:lnTo>
                  <a:lnTo>
                    <a:pt x="1128" y="1896"/>
                  </a:lnTo>
                  <a:lnTo>
                    <a:pt x="1122" y="1902"/>
                  </a:lnTo>
                  <a:lnTo>
                    <a:pt x="1122" y="1920"/>
                  </a:lnTo>
                  <a:lnTo>
                    <a:pt x="1116" y="1920"/>
                  </a:lnTo>
                  <a:lnTo>
                    <a:pt x="1110" y="1926"/>
                  </a:lnTo>
                  <a:lnTo>
                    <a:pt x="1110" y="1932"/>
                  </a:lnTo>
                  <a:lnTo>
                    <a:pt x="1104" y="1938"/>
                  </a:lnTo>
                  <a:lnTo>
                    <a:pt x="1086" y="1962"/>
                  </a:lnTo>
                  <a:lnTo>
                    <a:pt x="1074" y="1974"/>
                  </a:lnTo>
                  <a:lnTo>
                    <a:pt x="1074" y="1980"/>
                  </a:lnTo>
                  <a:lnTo>
                    <a:pt x="1068" y="1986"/>
                  </a:lnTo>
                  <a:lnTo>
                    <a:pt x="1062" y="1998"/>
                  </a:lnTo>
                  <a:lnTo>
                    <a:pt x="1062" y="2004"/>
                  </a:lnTo>
                  <a:lnTo>
                    <a:pt x="1068" y="2004"/>
                  </a:lnTo>
                  <a:lnTo>
                    <a:pt x="1056" y="2034"/>
                  </a:lnTo>
                  <a:lnTo>
                    <a:pt x="1050" y="2076"/>
                  </a:lnTo>
                  <a:lnTo>
                    <a:pt x="1056" y="2100"/>
                  </a:lnTo>
                  <a:lnTo>
                    <a:pt x="1038" y="2106"/>
                  </a:lnTo>
                  <a:lnTo>
                    <a:pt x="1002" y="2106"/>
                  </a:lnTo>
                  <a:lnTo>
                    <a:pt x="978" y="2094"/>
                  </a:lnTo>
                  <a:lnTo>
                    <a:pt x="972" y="2082"/>
                  </a:lnTo>
                  <a:lnTo>
                    <a:pt x="966" y="2070"/>
                  </a:lnTo>
                  <a:lnTo>
                    <a:pt x="954" y="2064"/>
                  </a:lnTo>
                  <a:lnTo>
                    <a:pt x="942" y="2058"/>
                  </a:lnTo>
                  <a:lnTo>
                    <a:pt x="936" y="2058"/>
                  </a:lnTo>
                  <a:lnTo>
                    <a:pt x="918" y="2046"/>
                  </a:lnTo>
                  <a:lnTo>
                    <a:pt x="906" y="2028"/>
                  </a:lnTo>
                  <a:lnTo>
                    <a:pt x="900" y="2022"/>
                  </a:lnTo>
                  <a:lnTo>
                    <a:pt x="894" y="2022"/>
                  </a:lnTo>
                  <a:lnTo>
                    <a:pt x="882" y="2022"/>
                  </a:lnTo>
                  <a:lnTo>
                    <a:pt x="870" y="2016"/>
                  </a:lnTo>
                  <a:lnTo>
                    <a:pt x="864" y="2016"/>
                  </a:lnTo>
                  <a:lnTo>
                    <a:pt x="852" y="2010"/>
                  </a:lnTo>
                  <a:lnTo>
                    <a:pt x="846" y="2004"/>
                  </a:lnTo>
                  <a:lnTo>
                    <a:pt x="840" y="2004"/>
                  </a:lnTo>
                  <a:lnTo>
                    <a:pt x="828" y="1998"/>
                  </a:lnTo>
                  <a:lnTo>
                    <a:pt x="816" y="1998"/>
                  </a:lnTo>
                  <a:lnTo>
                    <a:pt x="810" y="1998"/>
                  </a:lnTo>
                  <a:lnTo>
                    <a:pt x="804" y="1998"/>
                  </a:lnTo>
                  <a:lnTo>
                    <a:pt x="798" y="1998"/>
                  </a:lnTo>
                  <a:lnTo>
                    <a:pt x="792" y="2004"/>
                  </a:lnTo>
                  <a:lnTo>
                    <a:pt x="786" y="2010"/>
                  </a:lnTo>
                  <a:lnTo>
                    <a:pt x="762" y="2010"/>
                  </a:lnTo>
                  <a:lnTo>
                    <a:pt x="756" y="2010"/>
                  </a:lnTo>
                  <a:lnTo>
                    <a:pt x="744" y="2022"/>
                  </a:lnTo>
                  <a:lnTo>
                    <a:pt x="738" y="2034"/>
                  </a:lnTo>
                  <a:lnTo>
                    <a:pt x="732" y="2040"/>
                  </a:lnTo>
                  <a:lnTo>
                    <a:pt x="732" y="2046"/>
                  </a:lnTo>
                  <a:lnTo>
                    <a:pt x="726" y="2058"/>
                  </a:lnTo>
                  <a:lnTo>
                    <a:pt x="720" y="2064"/>
                  </a:lnTo>
                  <a:lnTo>
                    <a:pt x="714" y="2070"/>
                  </a:lnTo>
                  <a:lnTo>
                    <a:pt x="708" y="2088"/>
                  </a:lnTo>
                  <a:lnTo>
                    <a:pt x="702" y="2100"/>
                  </a:lnTo>
                  <a:lnTo>
                    <a:pt x="690" y="2100"/>
                  </a:lnTo>
                  <a:lnTo>
                    <a:pt x="684" y="2094"/>
                  </a:lnTo>
                  <a:lnTo>
                    <a:pt x="666" y="2100"/>
                  </a:lnTo>
                  <a:lnTo>
                    <a:pt x="636" y="2106"/>
                  </a:lnTo>
                  <a:lnTo>
                    <a:pt x="636" y="2112"/>
                  </a:lnTo>
                  <a:lnTo>
                    <a:pt x="636" y="2118"/>
                  </a:lnTo>
                  <a:lnTo>
                    <a:pt x="636" y="2124"/>
                  </a:lnTo>
                  <a:lnTo>
                    <a:pt x="630" y="2124"/>
                  </a:lnTo>
                  <a:lnTo>
                    <a:pt x="630" y="2148"/>
                  </a:lnTo>
                  <a:lnTo>
                    <a:pt x="612" y="2160"/>
                  </a:lnTo>
                  <a:lnTo>
                    <a:pt x="576" y="2172"/>
                  </a:lnTo>
                  <a:lnTo>
                    <a:pt x="546" y="2172"/>
                  </a:lnTo>
                  <a:lnTo>
                    <a:pt x="516" y="2172"/>
                  </a:lnTo>
                  <a:lnTo>
                    <a:pt x="486" y="2172"/>
                  </a:lnTo>
                  <a:lnTo>
                    <a:pt x="462" y="2172"/>
                  </a:lnTo>
                  <a:lnTo>
                    <a:pt x="444" y="2196"/>
                  </a:lnTo>
                  <a:lnTo>
                    <a:pt x="432" y="2232"/>
                  </a:lnTo>
                  <a:lnTo>
                    <a:pt x="408" y="2238"/>
                  </a:lnTo>
                  <a:lnTo>
                    <a:pt x="390" y="2256"/>
                  </a:lnTo>
                  <a:lnTo>
                    <a:pt x="372" y="2274"/>
                  </a:lnTo>
                  <a:lnTo>
                    <a:pt x="360" y="2274"/>
                  </a:lnTo>
                  <a:lnTo>
                    <a:pt x="336" y="2328"/>
                  </a:lnTo>
                  <a:lnTo>
                    <a:pt x="324" y="2340"/>
                  </a:lnTo>
                  <a:lnTo>
                    <a:pt x="300" y="2346"/>
                  </a:lnTo>
                  <a:lnTo>
                    <a:pt x="294" y="2352"/>
                  </a:lnTo>
                  <a:lnTo>
                    <a:pt x="288" y="2352"/>
                  </a:lnTo>
                  <a:lnTo>
                    <a:pt x="282" y="2352"/>
                  </a:lnTo>
                  <a:lnTo>
                    <a:pt x="276" y="2352"/>
                  </a:lnTo>
                  <a:lnTo>
                    <a:pt x="270" y="2352"/>
                  </a:lnTo>
                  <a:lnTo>
                    <a:pt x="270" y="2346"/>
                  </a:lnTo>
                  <a:lnTo>
                    <a:pt x="264" y="2346"/>
                  </a:lnTo>
                  <a:lnTo>
                    <a:pt x="258" y="2352"/>
                  </a:lnTo>
                  <a:lnTo>
                    <a:pt x="252" y="2352"/>
                  </a:lnTo>
                  <a:lnTo>
                    <a:pt x="240" y="2352"/>
                  </a:lnTo>
                  <a:lnTo>
                    <a:pt x="228" y="2352"/>
                  </a:lnTo>
                  <a:lnTo>
                    <a:pt x="222" y="2352"/>
                  </a:lnTo>
                  <a:lnTo>
                    <a:pt x="216" y="2358"/>
                  </a:lnTo>
                  <a:lnTo>
                    <a:pt x="216" y="2352"/>
                  </a:lnTo>
                  <a:lnTo>
                    <a:pt x="210" y="2346"/>
                  </a:lnTo>
                  <a:lnTo>
                    <a:pt x="204" y="2346"/>
                  </a:lnTo>
                  <a:lnTo>
                    <a:pt x="198" y="2340"/>
                  </a:lnTo>
                  <a:lnTo>
                    <a:pt x="192" y="2340"/>
                  </a:lnTo>
                  <a:lnTo>
                    <a:pt x="186" y="2340"/>
                  </a:lnTo>
                  <a:lnTo>
                    <a:pt x="180" y="2340"/>
                  </a:lnTo>
                  <a:lnTo>
                    <a:pt x="174" y="2340"/>
                  </a:lnTo>
                  <a:lnTo>
                    <a:pt x="162" y="2328"/>
                  </a:lnTo>
                  <a:lnTo>
                    <a:pt x="156" y="2322"/>
                  </a:lnTo>
                  <a:lnTo>
                    <a:pt x="156" y="2316"/>
                  </a:lnTo>
                  <a:lnTo>
                    <a:pt x="156" y="2310"/>
                  </a:lnTo>
                  <a:lnTo>
                    <a:pt x="132" y="2286"/>
                  </a:lnTo>
                  <a:lnTo>
                    <a:pt x="120" y="2280"/>
                  </a:lnTo>
                  <a:lnTo>
                    <a:pt x="96" y="2274"/>
                  </a:lnTo>
                  <a:lnTo>
                    <a:pt x="84" y="2268"/>
                  </a:lnTo>
                  <a:lnTo>
                    <a:pt x="78" y="2268"/>
                  </a:lnTo>
                  <a:lnTo>
                    <a:pt x="78" y="2262"/>
                  </a:lnTo>
                  <a:lnTo>
                    <a:pt x="78" y="2256"/>
                  </a:lnTo>
                  <a:lnTo>
                    <a:pt x="78" y="2250"/>
                  </a:lnTo>
                  <a:lnTo>
                    <a:pt x="72" y="2250"/>
                  </a:lnTo>
                  <a:lnTo>
                    <a:pt x="66" y="2250"/>
                  </a:lnTo>
                  <a:lnTo>
                    <a:pt x="60" y="2250"/>
                  </a:lnTo>
                  <a:lnTo>
                    <a:pt x="48" y="2244"/>
                  </a:lnTo>
                  <a:lnTo>
                    <a:pt x="36" y="2238"/>
                  </a:lnTo>
                  <a:lnTo>
                    <a:pt x="36" y="2226"/>
                  </a:lnTo>
                  <a:lnTo>
                    <a:pt x="30" y="2226"/>
                  </a:lnTo>
                  <a:lnTo>
                    <a:pt x="30" y="2220"/>
                  </a:lnTo>
                  <a:lnTo>
                    <a:pt x="24" y="2208"/>
                  </a:lnTo>
                  <a:lnTo>
                    <a:pt x="18" y="2202"/>
                  </a:lnTo>
                  <a:lnTo>
                    <a:pt x="18" y="2196"/>
                  </a:lnTo>
                  <a:lnTo>
                    <a:pt x="12" y="2190"/>
                  </a:lnTo>
                  <a:lnTo>
                    <a:pt x="0" y="2190"/>
                  </a:lnTo>
                  <a:lnTo>
                    <a:pt x="6" y="2184"/>
                  </a:lnTo>
                  <a:lnTo>
                    <a:pt x="12" y="2178"/>
                  </a:lnTo>
                  <a:lnTo>
                    <a:pt x="18" y="2172"/>
                  </a:lnTo>
                  <a:lnTo>
                    <a:pt x="24" y="2166"/>
                  </a:lnTo>
                  <a:lnTo>
                    <a:pt x="30" y="2166"/>
                  </a:lnTo>
                  <a:lnTo>
                    <a:pt x="24" y="2160"/>
                  </a:lnTo>
                  <a:lnTo>
                    <a:pt x="30" y="2160"/>
                  </a:lnTo>
                  <a:lnTo>
                    <a:pt x="36" y="2154"/>
                  </a:lnTo>
                  <a:lnTo>
                    <a:pt x="36" y="2136"/>
                  </a:lnTo>
                  <a:lnTo>
                    <a:pt x="36" y="2118"/>
                  </a:lnTo>
                  <a:lnTo>
                    <a:pt x="48" y="2058"/>
                  </a:lnTo>
                  <a:lnTo>
                    <a:pt x="48" y="2022"/>
                  </a:lnTo>
                  <a:lnTo>
                    <a:pt x="48" y="2016"/>
                  </a:lnTo>
                  <a:lnTo>
                    <a:pt x="48" y="2010"/>
                  </a:lnTo>
                  <a:lnTo>
                    <a:pt x="48" y="2004"/>
                  </a:lnTo>
                  <a:lnTo>
                    <a:pt x="42" y="2004"/>
                  </a:lnTo>
                  <a:lnTo>
                    <a:pt x="42" y="1998"/>
                  </a:lnTo>
                  <a:lnTo>
                    <a:pt x="36" y="1992"/>
                  </a:lnTo>
                  <a:lnTo>
                    <a:pt x="42" y="1992"/>
                  </a:lnTo>
                  <a:lnTo>
                    <a:pt x="42" y="1986"/>
                  </a:lnTo>
                  <a:lnTo>
                    <a:pt x="48" y="1986"/>
                  </a:lnTo>
                  <a:lnTo>
                    <a:pt x="54" y="1986"/>
                  </a:lnTo>
                  <a:lnTo>
                    <a:pt x="60" y="1986"/>
                  </a:lnTo>
                  <a:lnTo>
                    <a:pt x="66" y="1980"/>
                  </a:lnTo>
                  <a:lnTo>
                    <a:pt x="72" y="1974"/>
                  </a:lnTo>
                  <a:lnTo>
                    <a:pt x="78" y="1974"/>
                  </a:lnTo>
                  <a:lnTo>
                    <a:pt x="84" y="1974"/>
                  </a:lnTo>
                  <a:lnTo>
                    <a:pt x="90" y="1974"/>
                  </a:lnTo>
                  <a:lnTo>
                    <a:pt x="96" y="1974"/>
                  </a:lnTo>
                  <a:lnTo>
                    <a:pt x="96" y="1968"/>
                  </a:lnTo>
                  <a:lnTo>
                    <a:pt x="102" y="1968"/>
                  </a:lnTo>
                  <a:lnTo>
                    <a:pt x="102" y="1962"/>
                  </a:lnTo>
                  <a:lnTo>
                    <a:pt x="108" y="1962"/>
                  </a:lnTo>
                  <a:lnTo>
                    <a:pt x="114" y="1956"/>
                  </a:lnTo>
                  <a:lnTo>
                    <a:pt x="120" y="1956"/>
                  </a:lnTo>
                  <a:lnTo>
                    <a:pt x="126" y="1950"/>
                  </a:lnTo>
                  <a:lnTo>
                    <a:pt x="132" y="1950"/>
                  </a:lnTo>
                  <a:lnTo>
                    <a:pt x="132" y="1944"/>
                  </a:lnTo>
                  <a:lnTo>
                    <a:pt x="126" y="1944"/>
                  </a:lnTo>
                  <a:lnTo>
                    <a:pt x="126" y="1938"/>
                  </a:lnTo>
                  <a:lnTo>
                    <a:pt x="126" y="1932"/>
                  </a:lnTo>
                  <a:lnTo>
                    <a:pt x="126" y="1926"/>
                  </a:lnTo>
                  <a:lnTo>
                    <a:pt x="114" y="1914"/>
                  </a:lnTo>
                  <a:lnTo>
                    <a:pt x="114" y="1896"/>
                  </a:lnTo>
                  <a:lnTo>
                    <a:pt x="108" y="1884"/>
                  </a:lnTo>
                  <a:lnTo>
                    <a:pt x="102" y="1872"/>
                  </a:lnTo>
                  <a:lnTo>
                    <a:pt x="96" y="1866"/>
                  </a:lnTo>
                  <a:lnTo>
                    <a:pt x="96" y="1860"/>
                  </a:lnTo>
                  <a:lnTo>
                    <a:pt x="90" y="1860"/>
                  </a:lnTo>
                  <a:lnTo>
                    <a:pt x="90" y="1854"/>
                  </a:lnTo>
                  <a:lnTo>
                    <a:pt x="84" y="1848"/>
                  </a:lnTo>
                  <a:lnTo>
                    <a:pt x="78" y="1842"/>
                  </a:lnTo>
                  <a:lnTo>
                    <a:pt x="72" y="1836"/>
                  </a:lnTo>
                  <a:lnTo>
                    <a:pt x="66" y="1830"/>
                  </a:lnTo>
                  <a:lnTo>
                    <a:pt x="60" y="1824"/>
                  </a:lnTo>
                  <a:lnTo>
                    <a:pt x="54" y="1824"/>
                  </a:lnTo>
                  <a:lnTo>
                    <a:pt x="48" y="1824"/>
                  </a:lnTo>
                  <a:lnTo>
                    <a:pt x="42" y="1818"/>
                  </a:lnTo>
                  <a:lnTo>
                    <a:pt x="54" y="1818"/>
                  </a:lnTo>
                  <a:lnTo>
                    <a:pt x="60" y="1812"/>
                  </a:lnTo>
                  <a:lnTo>
                    <a:pt x="66" y="1812"/>
                  </a:lnTo>
                  <a:lnTo>
                    <a:pt x="72" y="1812"/>
                  </a:lnTo>
                  <a:lnTo>
                    <a:pt x="78" y="1812"/>
                  </a:lnTo>
                  <a:lnTo>
                    <a:pt x="84" y="1812"/>
                  </a:lnTo>
                  <a:lnTo>
                    <a:pt x="90" y="1806"/>
                  </a:lnTo>
                  <a:lnTo>
                    <a:pt x="96" y="1800"/>
                  </a:lnTo>
                  <a:lnTo>
                    <a:pt x="102" y="1806"/>
                  </a:lnTo>
                  <a:lnTo>
                    <a:pt x="108" y="1800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26" y="1788"/>
                  </a:lnTo>
                  <a:lnTo>
                    <a:pt x="126" y="1794"/>
                  </a:lnTo>
                  <a:lnTo>
                    <a:pt x="132" y="1794"/>
                  </a:lnTo>
                  <a:lnTo>
                    <a:pt x="132" y="1788"/>
                  </a:lnTo>
                  <a:lnTo>
                    <a:pt x="138" y="1788"/>
                  </a:lnTo>
                  <a:lnTo>
                    <a:pt x="138" y="1782"/>
                  </a:lnTo>
                  <a:lnTo>
                    <a:pt x="144" y="1782"/>
                  </a:lnTo>
                  <a:lnTo>
                    <a:pt x="150" y="1776"/>
                  </a:lnTo>
                  <a:lnTo>
                    <a:pt x="156" y="1782"/>
                  </a:lnTo>
                  <a:lnTo>
                    <a:pt x="162" y="1776"/>
                  </a:lnTo>
                  <a:lnTo>
                    <a:pt x="168" y="1776"/>
                  </a:lnTo>
                  <a:lnTo>
                    <a:pt x="180" y="1776"/>
                  </a:lnTo>
                  <a:lnTo>
                    <a:pt x="186" y="1776"/>
                  </a:lnTo>
                  <a:lnTo>
                    <a:pt x="186" y="1782"/>
                  </a:lnTo>
                  <a:lnTo>
                    <a:pt x="192" y="1776"/>
                  </a:lnTo>
                  <a:lnTo>
                    <a:pt x="198" y="1776"/>
                  </a:lnTo>
                  <a:lnTo>
                    <a:pt x="204" y="1770"/>
                  </a:lnTo>
                  <a:lnTo>
                    <a:pt x="204" y="1764"/>
                  </a:lnTo>
                  <a:lnTo>
                    <a:pt x="210" y="1764"/>
                  </a:lnTo>
                  <a:lnTo>
                    <a:pt x="216" y="1764"/>
                  </a:lnTo>
                  <a:lnTo>
                    <a:pt x="216" y="1758"/>
                  </a:lnTo>
                  <a:lnTo>
                    <a:pt x="222" y="1758"/>
                  </a:lnTo>
                  <a:lnTo>
                    <a:pt x="228" y="1758"/>
                  </a:lnTo>
                  <a:lnTo>
                    <a:pt x="258" y="1746"/>
                  </a:lnTo>
                  <a:lnTo>
                    <a:pt x="282" y="1716"/>
                  </a:lnTo>
                  <a:lnTo>
                    <a:pt x="300" y="1698"/>
                  </a:lnTo>
                  <a:lnTo>
                    <a:pt x="312" y="1698"/>
                  </a:lnTo>
                  <a:lnTo>
                    <a:pt x="336" y="1698"/>
                  </a:lnTo>
                  <a:lnTo>
                    <a:pt x="360" y="1698"/>
                  </a:lnTo>
                  <a:lnTo>
                    <a:pt x="372" y="1692"/>
                  </a:lnTo>
                  <a:lnTo>
                    <a:pt x="384" y="1692"/>
                  </a:lnTo>
                  <a:lnTo>
                    <a:pt x="360" y="1668"/>
                  </a:lnTo>
                  <a:lnTo>
                    <a:pt x="348" y="1626"/>
                  </a:lnTo>
                  <a:lnTo>
                    <a:pt x="354" y="1578"/>
                  </a:lnTo>
                  <a:lnTo>
                    <a:pt x="354" y="1572"/>
                  </a:lnTo>
                  <a:lnTo>
                    <a:pt x="360" y="1572"/>
                  </a:lnTo>
                  <a:lnTo>
                    <a:pt x="396" y="1530"/>
                  </a:lnTo>
                  <a:lnTo>
                    <a:pt x="408" y="1482"/>
                  </a:lnTo>
                  <a:lnTo>
                    <a:pt x="438" y="1458"/>
                  </a:lnTo>
                  <a:lnTo>
                    <a:pt x="468" y="1422"/>
                  </a:lnTo>
                  <a:lnTo>
                    <a:pt x="480" y="1410"/>
                  </a:lnTo>
                  <a:lnTo>
                    <a:pt x="474" y="1386"/>
                  </a:lnTo>
                  <a:lnTo>
                    <a:pt x="456" y="1356"/>
                  </a:lnTo>
                  <a:lnTo>
                    <a:pt x="438" y="1350"/>
                  </a:lnTo>
                  <a:lnTo>
                    <a:pt x="420" y="1350"/>
                  </a:lnTo>
                  <a:lnTo>
                    <a:pt x="402" y="1350"/>
                  </a:lnTo>
                  <a:lnTo>
                    <a:pt x="390" y="1344"/>
                  </a:lnTo>
                  <a:lnTo>
                    <a:pt x="390" y="1332"/>
                  </a:lnTo>
                  <a:lnTo>
                    <a:pt x="402" y="1296"/>
                  </a:lnTo>
                  <a:lnTo>
                    <a:pt x="414" y="1260"/>
                  </a:lnTo>
                  <a:lnTo>
                    <a:pt x="426" y="1248"/>
                  </a:lnTo>
                  <a:lnTo>
                    <a:pt x="438" y="1242"/>
                  </a:lnTo>
                  <a:lnTo>
                    <a:pt x="432" y="1230"/>
                  </a:lnTo>
                  <a:lnTo>
                    <a:pt x="432" y="1224"/>
                  </a:lnTo>
                  <a:lnTo>
                    <a:pt x="426" y="1218"/>
                  </a:lnTo>
                  <a:lnTo>
                    <a:pt x="426" y="1206"/>
                  </a:lnTo>
                  <a:lnTo>
                    <a:pt x="426" y="1200"/>
                  </a:lnTo>
                  <a:lnTo>
                    <a:pt x="432" y="1194"/>
                  </a:lnTo>
                  <a:lnTo>
                    <a:pt x="426" y="1188"/>
                  </a:lnTo>
                  <a:lnTo>
                    <a:pt x="432" y="1104"/>
                  </a:lnTo>
                  <a:lnTo>
                    <a:pt x="438" y="1086"/>
                  </a:lnTo>
                  <a:lnTo>
                    <a:pt x="462" y="972"/>
                  </a:lnTo>
                  <a:lnTo>
                    <a:pt x="456" y="900"/>
                  </a:lnTo>
                  <a:lnTo>
                    <a:pt x="444" y="846"/>
                  </a:lnTo>
                  <a:lnTo>
                    <a:pt x="456" y="810"/>
                  </a:lnTo>
                  <a:lnTo>
                    <a:pt x="492" y="786"/>
                  </a:lnTo>
                  <a:lnTo>
                    <a:pt x="522" y="762"/>
                  </a:lnTo>
                  <a:lnTo>
                    <a:pt x="546" y="732"/>
                  </a:lnTo>
                  <a:lnTo>
                    <a:pt x="570" y="696"/>
                  </a:lnTo>
                  <a:lnTo>
                    <a:pt x="582" y="654"/>
                  </a:lnTo>
                  <a:lnTo>
                    <a:pt x="564" y="642"/>
                  </a:lnTo>
                  <a:lnTo>
                    <a:pt x="522" y="588"/>
                  </a:lnTo>
                  <a:lnTo>
                    <a:pt x="516" y="546"/>
                  </a:lnTo>
                  <a:lnTo>
                    <a:pt x="510" y="474"/>
                  </a:lnTo>
                  <a:lnTo>
                    <a:pt x="510" y="450"/>
                  </a:lnTo>
                  <a:lnTo>
                    <a:pt x="510" y="444"/>
                  </a:lnTo>
                  <a:lnTo>
                    <a:pt x="522" y="438"/>
                  </a:lnTo>
                  <a:lnTo>
                    <a:pt x="522" y="432"/>
                  </a:lnTo>
                  <a:lnTo>
                    <a:pt x="528" y="426"/>
                  </a:lnTo>
                  <a:lnTo>
                    <a:pt x="534" y="420"/>
                  </a:lnTo>
                  <a:lnTo>
                    <a:pt x="540" y="414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08"/>
                  </a:lnTo>
                  <a:lnTo>
                    <a:pt x="546" y="408"/>
                  </a:lnTo>
                  <a:lnTo>
                    <a:pt x="558" y="414"/>
                  </a:lnTo>
                  <a:lnTo>
                    <a:pt x="564" y="414"/>
                  </a:lnTo>
                  <a:lnTo>
                    <a:pt x="570" y="414"/>
                  </a:lnTo>
                  <a:lnTo>
                    <a:pt x="582" y="414"/>
                  </a:lnTo>
                  <a:lnTo>
                    <a:pt x="582" y="420"/>
                  </a:lnTo>
                  <a:lnTo>
                    <a:pt x="588" y="414"/>
                  </a:lnTo>
                  <a:lnTo>
                    <a:pt x="582" y="408"/>
                  </a:lnTo>
                  <a:lnTo>
                    <a:pt x="588" y="402"/>
                  </a:lnTo>
                  <a:lnTo>
                    <a:pt x="594" y="402"/>
                  </a:lnTo>
                  <a:lnTo>
                    <a:pt x="594" y="396"/>
                  </a:lnTo>
                  <a:lnTo>
                    <a:pt x="594" y="390"/>
                  </a:lnTo>
                  <a:lnTo>
                    <a:pt x="594" y="384"/>
                  </a:lnTo>
                  <a:lnTo>
                    <a:pt x="594" y="378"/>
                  </a:lnTo>
                  <a:lnTo>
                    <a:pt x="600" y="366"/>
                  </a:lnTo>
                  <a:lnTo>
                    <a:pt x="606" y="366"/>
                  </a:lnTo>
                  <a:lnTo>
                    <a:pt x="612" y="360"/>
                  </a:lnTo>
                  <a:lnTo>
                    <a:pt x="612" y="366"/>
                  </a:lnTo>
                  <a:lnTo>
                    <a:pt x="618" y="366"/>
                  </a:lnTo>
                  <a:lnTo>
                    <a:pt x="624" y="366"/>
                  </a:lnTo>
                  <a:lnTo>
                    <a:pt x="630" y="360"/>
                  </a:lnTo>
                  <a:lnTo>
                    <a:pt x="636" y="354"/>
                  </a:lnTo>
                  <a:lnTo>
                    <a:pt x="630" y="354"/>
                  </a:lnTo>
                  <a:lnTo>
                    <a:pt x="630" y="348"/>
                  </a:lnTo>
                  <a:lnTo>
                    <a:pt x="630" y="342"/>
                  </a:lnTo>
                  <a:lnTo>
                    <a:pt x="636" y="342"/>
                  </a:lnTo>
                  <a:lnTo>
                    <a:pt x="642" y="336"/>
                  </a:lnTo>
                  <a:lnTo>
                    <a:pt x="636" y="330"/>
                  </a:lnTo>
                  <a:lnTo>
                    <a:pt x="630" y="336"/>
                  </a:lnTo>
                  <a:lnTo>
                    <a:pt x="624" y="336"/>
                  </a:lnTo>
                  <a:lnTo>
                    <a:pt x="624" y="330"/>
                  </a:lnTo>
                  <a:lnTo>
                    <a:pt x="624" y="324"/>
                  </a:lnTo>
                  <a:lnTo>
                    <a:pt x="618" y="324"/>
                  </a:lnTo>
                  <a:lnTo>
                    <a:pt x="624" y="324"/>
                  </a:lnTo>
                  <a:lnTo>
                    <a:pt x="630" y="330"/>
                  </a:lnTo>
                  <a:lnTo>
                    <a:pt x="630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2" y="306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8" y="288"/>
                  </a:lnTo>
                  <a:lnTo>
                    <a:pt x="648" y="282"/>
                  </a:lnTo>
                  <a:lnTo>
                    <a:pt x="654" y="288"/>
                  </a:lnTo>
                  <a:lnTo>
                    <a:pt x="654" y="282"/>
                  </a:lnTo>
                  <a:lnTo>
                    <a:pt x="660" y="282"/>
                  </a:lnTo>
                  <a:lnTo>
                    <a:pt x="666" y="282"/>
                  </a:lnTo>
                  <a:lnTo>
                    <a:pt x="672" y="282"/>
                  </a:lnTo>
                  <a:lnTo>
                    <a:pt x="678" y="282"/>
                  </a:lnTo>
                  <a:lnTo>
                    <a:pt x="684" y="276"/>
                  </a:lnTo>
                  <a:lnTo>
                    <a:pt x="690" y="270"/>
                  </a:lnTo>
                  <a:lnTo>
                    <a:pt x="690" y="264"/>
                  </a:lnTo>
                  <a:lnTo>
                    <a:pt x="690" y="270"/>
                  </a:lnTo>
                  <a:lnTo>
                    <a:pt x="690" y="276"/>
                  </a:lnTo>
                  <a:lnTo>
                    <a:pt x="696" y="276"/>
                  </a:lnTo>
                  <a:lnTo>
                    <a:pt x="702" y="276"/>
                  </a:lnTo>
                  <a:lnTo>
                    <a:pt x="702" y="282"/>
                  </a:lnTo>
                  <a:lnTo>
                    <a:pt x="708" y="282"/>
                  </a:lnTo>
                  <a:lnTo>
                    <a:pt x="720" y="270"/>
                  </a:lnTo>
                  <a:lnTo>
                    <a:pt x="720" y="264"/>
                  </a:lnTo>
                  <a:lnTo>
                    <a:pt x="720" y="258"/>
                  </a:lnTo>
                  <a:lnTo>
                    <a:pt x="726" y="258"/>
                  </a:lnTo>
                  <a:lnTo>
                    <a:pt x="732" y="258"/>
                  </a:lnTo>
                  <a:lnTo>
                    <a:pt x="732" y="264"/>
                  </a:lnTo>
                  <a:lnTo>
                    <a:pt x="738" y="264"/>
                  </a:lnTo>
                  <a:lnTo>
                    <a:pt x="738" y="258"/>
                  </a:lnTo>
                  <a:lnTo>
                    <a:pt x="732" y="258"/>
                  </a:lnTo>
                  <a:lnTo>
                    <a:pt x="732" y="252"/>
                  </a:lnTo>
                  <a:lnTo>
                    <a:pt x="744" y="252"/>
                  </a:lnTo>
                  <a:lnTo>
                    <a:pt x="750" y="252"/>
                  </a:lnTo>
                  <a:lnTo>
                    <a:pt x="750" y="246"/>
                  </a:lnTo>
                  <a:lnTo>
                    <a:pt x="750" y="240"/>
                  </a:lnTo>
                  <a:lnTo>
                    <a:pt x="762" y="234"/>
                  </a:lnTo>
                  <a:lnTo>
                    <a:pt x="768" y="234"/>
                  </a:lnTo>
                  <a:lnTo>
                    <a:pt x="774" y="234"/>
                  </a:lnTo>
                  <a:lnTo>
                    <a:pt x="780" y="228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16"/>
                  </a:lnTo>
                  <a:lnTo>
                    <a:pt x="792" y="210"/>
                  </a:lnTo>
                  <a:lnTo>
                    <a:pt x="804" y="204"/>
                  </a:lnTo>
                  <a:lnTo>
                    <a:pt x="804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0" y="192"/>
                  </a:lnTo>
                  <a:lnTo>
                    <a:pt x="798" y="186"/>
                  </a:lnTo>
                  <a:lnTo>
                    <a:pt x="810" y="186"/>
                  </a:lnTo>
                  <a:lnTo>
                    <a:pt x="810" y="180"/>
                  </a:lnTo>
                  <a:lnTo>
                    <a:pt x="810" y="186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0" y="180"/>
                  </a:lnTo>
                  <a:lnTo>
                    <a:pt x="816" y="174"/>
                  </a:lnTo>
                  <a:lnTo>
                    <a:pt x="822" y="174"/>
                  </a:lnTo>
                  <a:lnTo>
                    <a:pt x="822" y="180"/>
                  </a:lnTo>
                  <a:lnTo>
                    <a:pt x="828" y="180"/>
                  </a:lnTo>
                  <a:lnTo>
                    <a:pt x="828" y="174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62"/>
                  </a:lnTo>
                  <a:lnTo>
                    <a:pt x="828" y="156"/>
                  </a:lnTo>
                  <a:lnTo>
                    <a:pt x="822" y="156"/>
                  </a:lnTo>
                  <a:lnTo>
                    <a:pt x="828" y="156"/>
                  </a:lnTo>
                  <a:lnTo>
                    <a:pt x="828" y="150"/>
                  </a:lnTo>
                  <a:lnTo>
                    <a:pt x="834" y="150"/>
                  </a:lnTo>
                  <a:lnTo>
                    <a:pt x="840" y="156"/>
                  </a:lnTo>
                  <a:lnTo>
                    <a:pt x="840" y="150"/>
                  </a:lnTo>
                  <a:lnTo>
                    <a:pt x="834" y="150"/>
                  </a:lnTo>
                  <a:lnTo>
                    <a:pt x="834" y="144"/>
                  </a:lnTo>
                  <a:lnTo>
                    <a:pt x="840" y="138"/>
                  </a:lnTo>
                  <a:lnTo>
                    <a:pt x="846" y="144"/>
                  </a:lnTo>
                  <a:lnTo>
                    <a:pt x="846" y="150"/>
                  </a:lnTo>
                  <a:lnTo>
                    <a:pt x="852" y="150"/>
                  </a:lnTo>
                  <a:lnTo>
                    <a:pt x="858" y="150"/>
                  </a:lnTo>
                  <a:lnTo>
                    <a:pt x="870" y="150"/>
                  </a:lnTo>
                  <a:lnTo>
                    <a:pt x="870" y="144"/>
                  </a:lnTo>
                  <a:lnTo>
                    <a:pt x="876" y="138"/>
                  </a:lnTo>
                  <a:lnTo>
                    <a:pt x="882" y="138"/>
                  </a:lnTo>
                  <a:lnTo>
                    <a:pt x="888" y="132"/>
                  </a:lnTo>
                  <a:lnTo>
                    <a:pt x="888" y="138"/>
                  </a:lnTo>
                  <a:lnTo>
                    <a:pt x="894" y="138"/>
                  </a:lnTo>
                  <a:lnTo>
                    <a:pt x="894" y="132"/>
                  </a:lnTo>
                  <a:lnTo>
                    <a:pt x="900" y="126"/>
                  </a:lnTo>
                  <a:lnTo>
                    <a:pt x="900" y="132"/>
                  </a:lnTo>
                  <a:lnTo>
                    <a:pt x="906" y="132"/>
                  </a:lnTo>
                  <a:lnTo>
                    <a:pt x="912" y="132"/>
                  </a:lnTo>
                  <a:lnTo>
                    <a:pt x="918" y="126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24" y="126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8" y="120"/>
                  </a:lnTo>
                  <a:lnTo>
                    <a:pt x="948" y="114"/>
                  </a:lnTo>
                  <a:lnTo>
                    <a:pt x="948" y="108"/>
                  </a:lnTo>
                  <a:lnTo>
                    <a:pt x="954" y="114"/>
                  </a:lnTo>
                  <a:lnTo>
                    <a:pt x="960" y="108"/>
                  </a:lnTo>
                  <a:lnTo>
                    <a:pt x="966" y="108"/>
                  </a:lnTo>
                  <a:lnTo>
                    <a:pt x="972" y="108"/>
                  </a:lnTo>
                  <a:lnTo>
                    <a:pt x="966" y="114"/>
                  </a:lnTo>
                  <a:lnTo>
                    <a:pt x="960" y="114"/>
                  </a:lnTo>
                  <a:lnTo>
                    <a:pt x="960" y="120"/>
                  </a:lnTo>
                  <a:lnTo>
                    <a:pt x="966" y="126"/>
                  </a:lnTo>
                  <a:lnTo>
                    <a:pt x="972" y="126"/>
                  </a:lnTo>
                  <a:lnTo>
                    <a:pt x="978" y="126"/>
                  </a:lnTo>
                  <a:lnTo>
                    <a:pt x="984" y="120"/>
                  </a:lnTo>
                  <a:lnTo>
                    <a:pt x="984" y="114"/>
                  </a:lnTo>
                  <a:lnTo>
                    <a:pt x="996" y="126"/>
                  </a:lnTo>
                  <a:lnTo>
                    <a:pt x="996" y="120"/>
                  </a:lnTo>
                  <a:lnTo>
                    <a:pt x="1002" y="120"/>
                  </a:lnTo>
                  <a:lnTo>
                    <a:pt x="996" y="114"/>
                  </a:lnTo>
                  <a:lnTo>
                    <a:pt x="1002" y="114"/>
                  </a:lnTo>
                  <a:lnTo>
                    <a:pt x="1008" y="114"/>
                  </a:lnTo>
                  <a:lnTo>
                    <a:pt x="1008" y="108"/>
                  </a:lnTo>
                  <a:lnTo>
                    <a:pt x="1014" y="108"/>
                  </a:lnTo>
                  <a:lnTo>
                    <a:pt x="1008" y="114"/>
                  </a:lnTo>
                  <a:lnTo>
                    <a:pt x="1008" y="120"/>
                  </a:lnTo>
                  <a:lnTo>
                    <a:pt x="1008" y="126"/>
                  </a:lnTo>
                  <a:lnTo>
                    <a:pt x="1014" y="126"/>
                  </a:lnTo>
                  <a:lnTo>
                    <a:pt x="1014" y="132"/>
                  </a:lnTo>
                  <a:lnTo>
                    <a:pt x="1020" y="132"/>
                  </a:lnTo>
                  <a:lnTo>
                    <a:pt x="1020" y="126"/>
                  </a:lnTo>
                  <a:lnTo>
                    <a:pt x="1020" y="120"/>
                  </a:lnTo>
                  <a:lnTo>
                    <a:pt x="1032" y="120"/>
                  </a:lnTo>
                  <a:lnTo>
                    <a:pt x="1038" y="120"/>
                  </a:lnTo>
                  <a:lnTo>
                    <a:pt x="1038" y="126"/>
                  </a:lnTo>
                  <a:lnTo>
                    <a:pt x="1044" y="132"/>
                  </a:lnTo>
                  <a:lnTo>
                    <a:pt x="1044" y="126"/>
                  </a:lnTo>
                  <a:lnTo>
                    <a:pt x="1050" y="120"/>
                  </a:lnTo>
                  <a:lnTo>
                    <a:pt x="1050" y="114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68" y="102"/>
                  </a:lnTo>
                  <a:lnTo>
                    <a:pt x="1074" y="96"/>
                  </a:lnTo>
                  <a:lnTo>
                    <a:pt x="1074" y="90"/>
                  </a:lnTo>
                  <a:lnTo>
                    <a:pt x="1068" y="90"/>
                  </a:lnTo>
                  <a:lnTo>
                    <a:pt x="1068" y="84"/>
                  </a:lnTo>
                  <a:lnTo>
                    <a:pt x="1080" y="84"/>
                  </a:lnTo>
                  <a:lnTo>
                    <a:pt x="1086" y="78"/>
                  </a:lnTo>
                  <a:lnTo>
                    <a:pt x="1086" y="72"/>
                  </a:lnTo>
                  <a:lnTo>
                    <a:pt x="1080" y="78"/>
                  </a:lnTo>
                  <a:lnTo>
                    <a:pt x="1080" y="72"/>
                  </a:lnTo>
                  <a:lnTo>
                    <a:pt x="1080" y="66"/>
                  </a:lnTo>
                  <a:lnTo>
                    <a:pt x="1074" y="66"/>
                  </a:lnTo>
                  <a:lnTo>
                    <a:pt x="1080" y="66"/>
                  </a:lnTo>
                  <a:lnTo>
                    <a:pt x="1080" y="60"/>
                  </a:lnTo>
                  <a:lnTo>
                    <a:pt x="1086" y="60"/>
                  </a:lnTo>
                  <a:lnTo>
                    <a:pt x="1086" y="54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2" y="42"/>
                  </a:lnTo>
                  <a:lnTo>
                    <a:pt x="1098" y="42"/>
                  </a:lnTo>
                  <a:lnTo>
                    <a:pt x="1104" y="36"/>
                  </a:lnTo>
                  <a:lnTo>
                    <a:pt x="1110" y="36"/>
                  </a:lnTo>
                  <a:lnTo>
                    <a:pt x="1110" y="30"/>
                  </a:lnTo>
                  <a:lnTo>
                    <a:pt x="1110" y="24"/>
                  </a:lnTo>
                  <a:lnTo>
                    <a:pt x="1116" y="24"/>
                  </a:lnTo>
                  <a:lnTo>
                    <a:pt x="1116" y="18"/>
                  </a:lnTo>
                  <a:lnTo>
                    <a:pt x="1122" y="18"/>
                  </a:lnTo>
                  <a:lnTo>
                    <a:pt x="1128" y="18"/>
                  </a:lnTo>
                  <a:lnTo>
                    <a:pt x="1134" y="12"/>
                  </a:lnTo>
                  <a:lnTo>
                    <a:pt x="1134" y="6"/>
                  </a:lnTo>
                  <a:lnTo>
                    <a:pt x="1140" y="6"/>
                  </a:lnTo>
                  <a:lnTo>
                    <a:pt x="1146" y="0"/>
                  </a:lnTo>
                  <a:lnTo>
                    <a:pt x="1152" y="0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70" y="0"/>
                  </a:lnTo>
                  <a:lnTo>
                    <a:pt x="1176" y="6"/>
                  </a:lnTo>
                  <a:lnTo>
                    <a:pt x="1182" y="6"/>
                  </a:lnTo>
                  <a:lnTo>
                    <a:pt x="1194" y="6"/>
                  </a:lnTo>
                  <a:lnTo>
                    <a:pt x="1200" y="6"/>
                  </a:lnTo>
                  <a:lnTo>
                    <a:pt x="1212" y="0"/>
                  </a:lnTo>
                  <a:lnTo>
                    <a:pt x="1212" y="6"/>
                  </a:lnTo>
                  <a:lnTo>
                    <a:pt x="1218" y="6"/>
                  </a:lnTo>
                  <a:lnTo>
                    <a:pt x="1266" y="6"/>
                  </a:lnTo>
                  <a:lnTo>
                    <a:pt x="1272" y="0"/>
                  </a:lnTo>
                  <a:lnTo>
                    <a:pt x="1278" y="6"/>
                  </a:lnTo>
                  <a:lnTo>
                    <a:pt x="1290" y="6"/>
                  </a:lnTo>
                  <a:lnTo>
                    <a:pt x="1296" y="6"/>
                  </a:lnTo>
                  <a:lnTo>
                    <a:pt x="1308" y="6"/>
                  </a:lnTo>
                  <a:lnTo>
                    <a:pt x="1314" y="6"/>
                  </a:lnTo>
                  <a:lnTo>
                    <a:pt x="1320" y="6"/>
                  </a:lnTo>
                  <a:lnTo>
                    <a:pt x="1326" y="12"/>
                  </a:lnTo>
                  <a:lnTo>
                    <a:pt x="1338" y="30"/>
                  </a:lnTo>
                  <a:lnTo>
                    <a:pt x="1344" y="36"/>
                  </a:lnTo>
                  <a:lnTo>
                    <a:pt x="1356" y="48"/>
                  </a:lnTo>
                  <a:lnTo>
                    <a:pt x="1362" y="60"/>
                  </a:lnTo>
                  <a:lnTo>
                    <a:pt x="1368" y="66"/>
                  </a:lnTo>
                  <a:lnTo>
                    <a:pt x="1374" y="72"/>
                  </a:lnTo>
                  <a:lnTo>
                    <a:pt x="1374" y="78"/>
                  </a:lnTo>
                  <a:lnTo>
                    <a:pt x="1398" y="108"/>
                  </a:lnTo>
                  <a:lnTo>
                    <a:pt x="1398" y="114"/>
                  </a:lnTo>
                  <a:lnTo>
                    <a:pt x="1404" y="114"/>
                  </a:lnTo>
                  <a:lnTo>
                    <a:pt x="1404" y="120"/>
                  </a:lnTo>
                  <a:lnTo>
                    <a:pt x="1410" y="132"/>
                  </a:lnTo>
                  <a:lnTo>
                    <a:pt x="1416" y="132"/>
                  </a:lnTo>
                  <a:lnTo>
                    <a:pt x="1416" y="138"/>
                  </a:lnTo>
                  <a:lnTo>
                    <a:pt x="1422" y="144"/>
                  </a:lnTo>
                  <a:lnTo>
                    <a:pt x="1428" y="150"/>
                  </a:lnTo>
                  <a:lnTo>
                    <a:pt x="1428" y="156"/>
                  </a:lnTo>
                  <a:lnTo>
                    <a:pt x="1458" y="192"/>
                  </a:lnTo>
                  <a:lnTo>
                    <a:pt x="1458" y="198"/>
                  </a:lnTo>
                  <a:lnTo>
                    <a:pt x="1464" y="204"/>
                  </a:lnTo>
                  <a:lnTo>
                    <a:pt x="1470" y="210"/>
                  </a:lnTo>
                  <a:lnTo>
                    <a:pt x="1476" y="216"/>
                  </a:lnTo>
                  <a:lnTo>
                    <a:pt x="1482" y="228"/>
                  </a:lnTo>
                  <a:lnTo>
                    <a:pt x="1488" y="234"/>
                  </a:lnTo>
                  <a:lnTo>
                    <a:pt x="1512" y="270"/>
                  </a:lnTo>
                  <a:lnTo>
                    <a:pt x="1512" y="276"/>
                  </a:lnTo>
                  <a:lnTo>
                    <a:pt x="1530" y="300"/>
                  </a:lnTo>
                  <a:lnTo>
                    <a:pt x="1536" y="306"/>
                  </a:lnTo>
                  <a:lnTo>
                    <a:pt x="1542" y="312"/>
                  </a:lnTo>
                  <a:lnTo>
                    <a:pt x="1542" y="318"/>
                  </a:lnTo>
                  <a:lnTo>
                    <a:pt x="1560" y="336"/>
                  </a:lnTo>
                  <a:lnTo>
                    <a:pt x="1566" y="348"/>
                  </a:lnTo>
                  <a:lnTo>
                    <a:pt x="1572" y="354"/>
                  </a:lnTo>
                  <a:lnTo>
                    <a:pt x="1578" y="360"/>
                  </a:lnTo>
                  <a:lnTo>
                    <a:pt x="1584" y="378"/>
                  </a:lnTo>
                  <a:lnTo>
                    <a:pt x="1590" y="378"/>
                  </a:lnTo>
                  <a:lnTo>
                    <a:pt x="1596" y="390"/>
                  </a:lnTo>
                  <a:lnTo>
                    <a:pt x="1602" y="396"/>
                  </a:lnTo>
                  <a:lnTo>
                    <a:pt x="1608" y="408"/>
                  </a:lnTo>
                  <a:lnTo>
                    <a:pt x="1614" y="408"/>
                  </a:lnTo>
                  <a:lnTo>
                    <a:pt x="1614" y="432"/>
                  </a:lnTo>
                  <a:lnTo>
                    <a:pt x="1620" y="438"/>
                  </a:lnTo>
                  <a:lnTo>
                    <a:pt x="1620" y="450"/>
                  </a:lnTo>
                  <a:lnTo>
                    <a:pt x="1620" y="462"/>
                  </a:lnTo>
                  <a:lnTo>
                    <a:pt x="1626" y="474"/>
                  </a:lnTo>
                  <a:lnTo>
                    <a:pt x="1626" y="480"/>
                  </a:lnTo>
                  <a:lnTo>
                    <a:pt x="1626" y="486"/>
                  </a:lnTo>
                  <a:lnTo>
                    <a:pt x="1632" y="522"/>
                  </a:lnTo>
                  <a:lnTo>
                    <a:pt x="1632" y="528"/>
                  </a:lnTo>
                  <a:lnTo>
                    <a:pt x="1632" y="534"/>
                  </a:lnTo>
                  <a:lnTo>
                    <a:pt x="1638" y="540"/>
                  </a:lnTo>
                  <a:lnTo>
                    <a:pt x="1638" y="558"/>
                  </a:lnTo>
                  <a:lnTo>
                    <a:pt x="1638" y="570"/>
                  </a:lnTo>
                  <a:lnTo>
                    <a:pt x="1644" y="582"/>
                  </a:lnTo>
                  <a:lnTo>
                    <a:pt x="1650" y="618"/>
                  </a:lnTo>
                  <a:lnTo>
                    <a:pt x="1650" y="624"/>
                  </a:lnTo>
                  <a:lnTo>
                    <a:pt x="1650" y="636"/>
                  </a:lnTo>
                  <a:lnTo>
                    <a:pt x="1656" y="642"/>
                  </a:lnTo>
                  <a:lnTo>
                    <a:pt x="1656" y="648"/>
                  </a:lnTo>
                  <a:lnTo>
                    <a:pt x="1656" y="654"/>
                  </a:lnTo>
                  <a:lnTo>
                    <a:pt x="1656" y="660"/>
                  </a:lnTo>
                  <a:lnTo>
                    <a:pt x="1662" y="696"/>
                  </a:lnTo>
                  <a:lnTo>
                    <a:pt x="1668" y="708"/>
                  </a:lnTo>
                  <a:lnTo>
                    <a:pt x="1668" y="714"/>
                  </a:lnTo>
                  <a:lnTo>
                    <a:pt x="1668" y="732"/>
                  </a:lnTo>
                  <a:lnTo>
                    <a:pt x="1668" y="744"/>
                  </a:lnTo>
                  <a:lnTo>
                    <a:pt x="1674" y="756"/>
                  </a:lnTo>
                  <a:lnTo>
                    <a:pt x="1680" y="762"/>
                  </a:lnTo>
                  <a:lnTo>
                    <a:pt x="1680" y="768"/>
                  </a:lnTo>
                  <a:lnTo>
                    <a:pt x="1680" y="774"/>
                  </a:lnTo>
                  <a:lnTo>
                    <a:pt x="1680" y="780"/>
                  </a:lnTo>
                  <a:lnTo>
                    <a:pt x="1674" y="786"/>
                  </a:lnTo>
                  <a:lnTo>
                    <a:pt x="1668" y="792"/>
                  </a:lnTo>
                  <a:lnTo>
                    <a:pt x="1668" y="798"/>
                  </a:lnTo>
                  <a:lnTo>
                    <a:pt x="1668" y="804"/>
                  </a:lnTo>
                  <a:lnTo>
                    <a:pt x="1674" y="804"/>
                  </a:lnTo>
                  <a:lnTo>
                    <a:pt x="1668" y="810"/>
                  </a:lnTo>
                  <a:lnTo>
                    <a:pt x="1674" y="810"/>
                  </a:lnTo>
                  <a:lnTo>
                    <a:pt x="1680" y="810"/>
                  </a:lnTo>
                  <a:lnTo>
                    <a:pt x="1680" y="816"/>
                  </a:lnTo>
                  <a:lnTo>
                    <a:pt x="1680" y="822"/>
                  </a:lnTo>
                  <a:lnTo>
                    <a:pt x="1674" y="822"/>
                  </a:lnTo>
                  <a:lnTo>
                    <a:pt x="1674" y="828"/>
                  </a:lnTo>
                  <a:lnTo>
                    <a:pt x="1668" y="828"/>
                  </a:lnTo>
                  <a:lnTo>
                    <a:pt x="1674" y="834"/>
                  </a:lnTo>
                  <a:lnTo>
                    <a:pt x="1668" y="834"/>
                  </a:lnTo>
                  <a:lnTo>
                    <a:pt x="1668" y="840"/>
                  </a:lnTo>
                  <a:lnTo>
                    <a:pt x="1674" y="840"/>
                  </a:lnTo>
                  <a:lnTo>
                    <a:pt x="1686" y="852"/>
                  </a:lnTo>
                  <a:lnTo>
                    <a:pt x="1692" y="858"/>
                  </a:lnTo>
                  <a:lnTo>
                    <a:pt x="1698" y="858"/>
                  </a:lnTo>
                  <a:lnTo>
                    <a:pt x="1698" y="864"/>
                  </a:lnTo>
                  <a:lnTo>
                    <a:pt x="1698" y="870"/>
                  </a:lnTo>
                  <a:lnTo>
                    <a:pt x="1704" y="864"/>
                  </a:lnTo>
                  <a:lnTo>
                    <a:pt x="1716" y="864"/>
                  </a:lnTo>
                  <a:lnTo>
                    <a:pt x="1722" y="864"/>
                  </a:lnTo>
                  <a:lnTo>
                    <a:pt x="1728" y="864"/>
                  </a:lnTo>
                  <a:lnTo>
                    <a:pt x="1734" y="864"/>
                  </a:lnTo>
                  <a:lnTo>
                    <a:pt x="1740" y="864"/>
                  </a:lnTo>
                  <a:lnTo>
                    <a:pt x="1746" y="876"/>
                  </a:lnTo>
                  <a:lnTo>
                    <a:pt x="1746" y="870"/>
                  </a:lnTo>
                  <a:lnTo>
                    <a:pt x="1740" y="864"/>
                  </a:lnTo>
                  <a:lnTo>
                    <a:pt x="1746" y="864"/>
                  </a:lnTo>
                  <a:lnTo>
                    <a:pt x="1752" y="870"/>
                  </a:lnTo>
                  <a:lnTo>
                    <a:pt x="1758" y="864"/>
                  </a:lnTo>
                  <a:lnTo>
                    <a:pt x="1764" y="864"/>
                  </a:lnTo>
                  <a:lnTo>
                    <a:pt x="1770" y="858"/>
                  </a:lnTo>
                  <a:lnTo>
                    <a:pt x="1782" y="864"/>
                  </a:lnTo>
                  <a:lnTo>
                    <a:pt x="1782" y="870"/>
                  </a:lnTo>
                  <a:lnTo>
                    <a:pt x="1788" y="864"/>
                  </a:lnTo>
                  <a:lnTo>
                    <a:pt x="1794" y="864"/>
                  </a:lnTo>
                  <a:lnTo>
                    <a:pt x="1800" y="870"/>
                  </a:lnTo>
                  <a:lnTo>
                    <a:pt x="1818" y="864"/>
                  </a:lnTo>
                  <a:lnTo>
                    <a:pt x="1824" y="870"/>
                  </a:lnTo>
                  <a:lnTo>
                    <a:pt x="1830" y="864"/>
                  </a:lnTo>
                  <a:lnTo>
                    <a:pt x="1836" y="864"/>
                  </a:lnTo>
                  <a:lnTo>
                    <a:pt x="1842" y="870"/>
                  </a:lnTo>
                  <a:lnTo>
                    <a:pt x="1842" y="876"/>
                  </a:lnTo>
                  <a:lnTo>
                    <a:pt x="1848" y="876"/>
                  </a:lnTo>
                  <a:lnTo>
                    <a:pt x="1848" y="870"/>
                  </a:lnTo>
                  <a:lnTo>
                    <a:pt x="1854" y="870"/>
                  </a:lnTo>
                  <a:lnTo>
                    <a:pt x="1860" y="870"/>
                  </a:lnTo>
                  <a:lnTo>
                    <a:pt x="1860" y="876"/>
                  </a:lnTo>
                  <a:lnTo>
                    <a:pt x="1866" y="876"/>
                  </a:lnTo>
                  <a:lnTo>
                    <a:pt x="1866" y="882"/>
                  </a:lnTo>
                  <a:lnTo>
                    <a:pt x="1872" y="882"/>
                  </a:lnTo>
                  <a:lnTo>
                    <a:pt x="1878" y="888"/>
                  </a:lnTo>
                  <a:lnTo>
                    <a:pt x="1890" y="888"/>
                  </a:lnTo>
                  <a:lnTo>
                    <a:pt x="1890" y="894"/>
                  </a:lnTo>
                  <a:lnTo>
                    <a:pt x="1890" y="900"/>
                  </a:lnTo>
                  <a:lnTo>
                    <a:pt x="1884" y="900"/>
                  </a:lnTo>
                  <a:lnTo>
                    <a:pt x="1884" y="906"/>
                  </a:lnTo>
                  <a:lnTo>
                    <a:pt x="1884" y="912"/>
                  </a:lnTo>
                  <a:lnTo>
                    <a:pt x="1890" y="912"/>
                  </a:lnTo>
                  <a:lnTo>
                    <a:pt x="1896" y="912"/>
                  </a:lnTo>
                  <a:lnTo>
                    <a:pt x="1902" y="912"/>
                  </a:lnTo>
                  <a:lnTo>
                    <a:pt x="1908" y="918"/>
                  </a:lnTo>
                  <a:lnTo>
                    <a:pt x="1908" y="924"/>
                  </a:lnTo>
                  <a:lnTo>
                    <a:pt x="1908" y="930"/>
                  </a:lnTo>
                  <a:lnTo>
                    <a:pt x="1908" y="936"/>
                  </a:lnTo>
                  <a:lnTo>
                    <a:pt x="1914" y="936"/>
                  </a:lnTo>
                  <a:lnTo>
                    <a:pt x="1914" y="942"/>
                  </a:lnTo>
                  <a:lnTo>
                    <a:pt x="1908" y="948"/>
                  </a:lnTo>
                  <a:lnTo>
                    <a:pt x="1914" y="948"/>
                  </a:lnTo>
                  <a:lnTo>
                    <a:pt x="1920" y="954"/>
                  </a:lnTo>
                  <a:lnTo>
                    <a:pt x="1926" y="954"/>
                  </a:lnTo>
                  <a:lnTo>
                    <a:pt x="1932" y="954"/>
                  </a:lnTo>
                  <a:lnTo>
                    <a:pt x="1938" y="954"/>
                  </a:lnTo>
                  <a:lnTo>
                    <a:pt x="1938" y="960"/>
                  </a:lnTo>
                  <a:lnTo>
                    <a:pt x="1944" y="966"/>
                  </a:lnTo>
                  <a:lnTo>
                    <a:pt x="1944" y="972"/>
                  </a:lnTo>
                  <a:lnTo>
                    <a:pt x="1944" y="978"/>
                  </a:lnTo>
                  <a:lnTo>
                    <a:pt x="1950" y="978"/>
                  </a:lnTo>
                  <a:lnTo>
                    <a:pt x="1950" y="984"/>
                  </a:lnTo>
                  <a:lnTo>
                    <a:pt x="1956" y="984"/>
                  </a:lnTo>
                  <a:lnTo>
                    <a:pt x="1962" y="984"/>
                  </a:lnTo>
                  <a:lnTo>
                    <a:pt x="1962" y="978"/>
                  </a:lnTo>
                  <a:lnTo>
                    <a:pt x="1968" y="978"/>
                  </a:lnTo>
                  <a:lnTo>
                    <a:pt x="1974" y="978"/>
                  </a:lnTo>
                  <a:lnTo>
                    <a:pt x="1980" y="972"/>
                  </a:lnTo>
                  <a:lnTo>
                    <a:pt x="1980" y="978"/>
                  </a:lnTo>
                  <a:lnTo>
                    <a:pt x="1980" y="984"/>
                  </a:lnTo>
                  <a:lnTo>
                    <a:pt x="1986" y="984"/>
                  </a:lnTo>
                  <a:lnTo>
                    <a:pt x="1992" y="990"/>
                  </a:lnTo>
                  <a:lnTo>
                    <a:pt x="1992" y="996"/>
                  </a:lnTo>
                  <a:lnTo>
                    <a:pt x="1992" y="1002"/>
                  </a:lnTo>
                  <a:lnTo>
                    <a:pt x="1974" y="1008"/>
                  </a:lnTo>
                  <a:lnTo>
                    <a:pt x="1974" y="1014"/>
                  </a:lnTo>
                  <a:lnTo>
                    <a:pt x="1974" y="1020"/>
                  </a:lnTo>
                  <a:lnTo>
                    <a:pt x="1974" y="1026"/>
                  </a:lnTo>
                  <a:lnTo>
                    <a:pt x="1968" y="1038"/>
                  </a:lnTo>
                  <a:lnTo>
                    <a:pt x="1968" y="1044"/>
                  </a:lnTo>
                  <a:lnTo>
                    <a:pt x="1974" y="1056"/>
                  </a:lnTo>
                  <a:lnTo>
                    <a:pt x="1968" y="1062"/>
                  </a:lnTo>
                  <a:lnTo>
                    <a:pt x="1962" y="1062"/>
                  </a:lnTo>
                  <a:lnTo>
                    <a:pt x="1956" y="1068"/>
                  </a:lnTo>
                  <a:lnTo>
                    <a:pt x="1956" y="1074"/>
                  </a:lnTo>
                  <a:lnTo>
                    <a:pt x="1956" y="1080"/>
                  </a:lnTo>
                  <a:lnTo>
                    <a:pt x="1956" y="1086"/>
                  </a:lnTo>
                  <a:lnTo>
                    <a:pt x="1956" y="1092"/>
                  </a:lnTo>
                  <a:lnTo>
                    <a:pt x="1962" y="1092"/>
                  </a:lnTo>
                  <a:lnTo>
                    <a:pt x="1962" y="1104"/>
                  </a:lnTo>
                  <a:lnTo>
                    <a:pt x="1968" y="1110"/>
                  </a:lnTo>
                  <a:lnTo>
                    <a:pt x="1968" y="1116"/>
                  </a:lnTo>
                  <a:lnTo>
                    <a:pt x="1974" y="1116"/>
                  </a:lnTo>
                  <a:lnTo>
                    <a:pt x="1974" y="1122"/>
                  </a:lnTo>
                  <a:lnTo>
                    <a:pt x="1980" y="1122"/>
                  </a:lnTo>
                  <a:lnTo>
                    <a:pt x="1974" y="1128"/>
                  </a:lnTo>
                  <a:lnTo>
                    <a:pt x="1968" y="1134"/>
                  </a:lnTo>
                  <a:lnTo>
                    <a:pt x="1962" y="1140"/>
                  </a:lnTo>
                  <a:lnTo>
                    <a:pt x="1962" y="1146"/>
                  </a:lnTo>
                  <a:lnTo>
                    <a:pt x="1968" y="1152"/>
                  </a:lnTo>
                  <a:lnTo>
                    <a:pt x="1968" y="1158"/>
                  </a:lnTo>
                  <a:lnTo>
                    <a:pt x="1962" y="1158"/>
                  </a:lnTo>
                  <a:lnTo>
                    <a:pt x="1962" y="1164"/>
                  </a:lnTo>
                  <a:lnTo>
                    <a:pt x="1956" y="1164"/>
                  </a:lnTo>
                  <a:lnTo>
                    <a:pt x="1956" y="1170"/>
                  </a:lnTo>
                  <a:lnTo>
                    <a:pt x="1944" y="1182"/>
                  </a:lnTo>
                  <a:lnTo>
                    <a:pt x="1944" y="1188"/>
                  </a:lnTo>
                  <a:lnTo>
                    <a:pt x="1950" y="1188"/>
                  </a:lnTo>
                  <a:lnTo>
                    <a:pt x="1944" y="1200"/>
                  </a:lnTo>
                  <a:lnTo>
                    <a:pt x="1944" y="1206"/>
                  </a:lnTo>
                  <a:lnTo>
                    <a:pt x="1944" y="1212"/>
                  </a:lnTo>
                  <a:lnTo>
                    <a:pt x="1944" y="1218"/>
                  </a:lnTo>
                  <a:lnTo>
                    <a:pt x="1944" y="1230"/>
                  </a:lnTo>
                  <a:lnTo>
                    <a:pt x="1944" y="1236"/>
                  </a:lnTo>
                  <a:lnTo>
                    <a:pt x="1944" y="1242"/>
                  </a:lnTo>
                  <a:lnTo>
                    <a:pt x="1938" y="1248"/>
                  </a:lnTo>
                  <a:lnTo>
                    <a:pt x="1938" y="1254"/>
                  </a:lnTo>
                  <a:lnTo>
                    <a:pt x="1932" y="1254"/>
                  </a:lnTo>
                  <a:lnTo>
                    <a:pt x="1926" y="1260"/>
                  </a:lnTo>
                  <a:lnTo>
                    <a:pt x="1920" y="1266"/>
                  </a:lnTo>
                  <a:lnTo>
                    <a:pt x="1914" y="1272"/>
                  </a:lnTo>
                  <a:lnTo>
                    <a:pt x="1908" y="1272"/>
                  </a:lnTo>
                  <a:lnTo>
                    <a:pt x="1908" y="1278"/>
                  </a:lnTo>
                  <a:lnTo>
                    <a:pt x="1914" y="1278"/>
                  </a:lnTo>
                  <a:lnTo>
                    <a:pt x="1914" y="1290"/>
                  </a:lnTo>
                  <a:lnTo>
                    <a:pt x="1920" y="1296"/>
                  </a:lnTo>
                  <a:lnTo>
                    <a:pt x="1938" y="1302"/>
                  </a:lnTo>
                  <a:lnTo>
                    <a:pt x="1944" y="1308"/>
                  </a:lnTo>
                  <a:lnTo>
                    <a:pt x="1950" y="1314"/>
                  </a:lnTo>
                  <a:lnTo>
                    <a:pt x="1956" y="1314"/>
                  </a:lnTo>
                  <a:lnTo>
                    <a:pt x="1962" y="1320"/>
                  </a:lnTo>
                  <a:lnTo>
                    <a:pt x="1962" y="1326"/>
                  </a:lnTo>
                  <a:lnTo>
                    <a:pt x="1968" y="1326"/>
                  </a:lnTo>
                  <a:lnTo>
                    <a:pt x="1968" y="1332"/>
                  </a:lnTo>
                  <a:lnTo>
                    <a:pt x="1968" y="1344"/>
                  </a:lnTo>
                  <a:lnTo>
                    <a:pt x="1968" y="1350"/>
                  </a:lnTo>
                  <a:lnTo>
                    <a:pt x="1968" y="1368"/>
                  </a:lnTo>
                  <a:lnTo>
                    <a:pt x="1962" y="1380"/>
                  </a:lnTo>
                  <a:lnTo>
                    <a:pt x="1968" y="1392"/>
                  </a:lnTo>
                  <a:lnTo>
                    <a:pt x="1962" y="1398"/>
                  </a:lnTo>
                  <a:lnTo>
                    <a:pt x="1956" y="1404"/>
                  </a:lnTo>
                  <a:lnTo>
                    <a:pt x="1950" y="1410"/>
                  </a:lnTo>
                  <a:lnTo>
                    <a:pt x="1944" y="1410"/>
                  </a:lnTo>
                  <a:lnTo>
                    <a:pt x="1932" y="1416"/>
                  </a:lnTo>
                  <a:lnTo>
                    <a:pt x="1926" y="1416"/>
                  </a:lnTo>
                  <a:lnTo>
                    <a:pt x="1896" y="1428"/>
                  </a:lnTo>
                  <a:lnTo>
                    <a:pt x="1884" y="1434"/>
                  </a:lnTo>
                  <a:lnTo>
                    <a:pt x="1878" y="1434"/>
                  </a:lnTo>
                  <a:lnTo>
                    <a:pt x="1866" y="1434"/>
                  </a:lnTo>
                  <a:lnTo>
                    <a:pt x="1854" y="1440"/>
                  </a:lnTo>
                  <a:lnTo>
                    <a:pt x="1848" y="1440"/>
                  </a:lnTo>
                  <a:lnTo>
                    <a:pt x="1842" y="1446"/>
                  </a:lnTo>
                  <a:lnTo>
                    <a:pt x="1842" y="1458"/>
                  </a:lnTo>
                  <a:lnTo>
                    <a:pt x="1836" y="1470"/>
                  </a:lnTo>
                  <a:lnTo>
                    <a:pt x="1830" y="1476"/>
                  </a:lnTo>
                  <a:lnTo>
                    <a:pt x="1824" y="1476"/>
                  </a:lnTo>
                  <a:lnTo>
                    <a:pt x="1806" y="1482"/>
                  </a:lnTo>
                  <a:lnTo>
                    <a:pt x="1800" y="1488"/>
                  </a:lnTo>
                  <a:lnTo>
                    <a:pt x="1794" y="1488"/>
                  </a:lnTo>
                  <a:lnTo>
                    <a:pt x="1788" y="1488"/>
                  </a:lnTo>
                  <a:lnTo>
                    <a:pt x="1776" y="1494"/>
                  </a:lnTo>
                  <a:lnTo>
                    <a:pt x="1764" y="1494"/>
                  </a:lnTo>
                  <a:lnTo>
                    <a:pt x="1758" y="1500"/>
                  </a:lnTo>
                  <a:lnTo>
                    <a:pt x="1746" y="1506"/>
                  </a:lnTo>
                  <a:lnTo>
                    <a:pt x="1728" y="1518"/>
                  </a:lnTo>
                  <a:lnTo>
                    <a:pt x="1716" y="1524"/>
                  </a:lnTo>
                  <a:lnTo>
                    <a:pt x="1710" y="1530"/>
                  </a:lnTo>
                  <a:lnTo>
                    <a:pt x="1704" y="1536"/>
                  </a:lnTo>
                  <a:lnTo>
                    <a:pt x="1698" y="1542"/>
                  </a:lnTo>
                  <a:lnTo>
                    <a:pt x="1692" y="1554"/>
                  </a:lnTo>
                  <a:lnTo>
                    <a:pt x="1686" y="1560"/>
                  </a:lnTo>
                  <a:lnTo>
                    <a:pt x="1680" y="1560"/>
                  </a:lnTo>
                  <a:lnTo>
                    <a:pt x="1674" y="1560"/>
                  </a:lnTo>
                  <a:lnTo>
                    <a:pt x="1656" y="1572"/>
                  </a:lnTo>
                  <a:lnTo>
                    <a:pt x="1650" y="1572"/>
                  </a:lnTo>
                  <a:lnTo>
                    <a:pt x="1644" y="1572"/>
                  </a:lnTo>
                  <a:lnTo>
                    <a:pt x="1638" y="1578"/>
                  </a:lnTo>
                  <a:lnTo>
                    <a:pt x="1632" y="1578"/>
                  </a:lnTo>
                  <a:lnTo>
                    <a:pt x="1626" y="1578"/>
                  </a:lnTo>
                  <a:lnTo>
                    <a:pt x="1620" y="1572"/>
                  </a:lnTo>
                  <a:lnTo>
                    <a:pt x="1614" y="1572"/>
                  </a:lnTo>
                  <a:lnTo>
                    <a:pt x="1608" y="1566"/>
                  </a:lnTo>
                  <a:lnTo>
                    <a:pt x="1602" y="1560"/>
                  </a:lnTo>
                  <a:lnTo>
                    <a:pt x="1596" y="1554"/>
                  </a:lnTo>
                  <a:lnTo>
                    <a:pt x="1590" y="1548"/>
                  </a:lnTo>
                  <a:lnTo>
                    <a:pt x="1578" y="1548"/>
                  </a:lnTo>
                  <a:lnTo>
                    <a:pt x="1572" y="1548"/>
                  </a:lnTo>
                  <a:lnTo>
                    <a:pt x="1566" y="1548"/>
                  </a:lnTo>
                  <a:lnTo>
                    <a:pt x="1554" y="1536"/>
                  </a:lnTo>
                  <a:lnTo>
                    <a:pt x="1548" y="1536"/>
                  </a:lnTo>
                  <a:lnTo>
                    <a:pt x="1542" y="1542"/>
                  </a:lnTo>
                  <a:lnTo>
                    <a:pt x="1536" y="1548"/>
                  </a:lnTo>
                  <a:lnTo>
                    <a:pt x="1536" y="1566"/>
                  </a:lnTo>
                  <a:lnTo>
                    <a:pt x="1530" y="1572"/>
                  </a:lnTo>
                  <a:lnTo>
                    <a:pt x="1524" y="1578"/>
                  </a:lnTo>
                  <a:lnTo>
                    <a:pt x="1518" y="1584"/>
                  </a:lnTo>
                  <a:lnTo>
                    <a:pt x="1512" y="1596"/>
                  </a:lnTo>
                  <a:lnTo>
                    <a:pt x="1506" y="1602"/>
                  </a:lnTo>
                  <a:lnTo>
                    <a:pt x="1506" y="1608"/>
                  </a:lnTo>
                  <a:lnTo>
                    <a:pt x="1506" y="1614"/>
                  </a:lnTo>
                  <a:lnTo>
                    <a:pt x="1500" y="1614"/>
                  </a:lnTo>
                  <a:lnTo>
                    <a:pt x="1500" y="1620"/>
                  </a:lnTo>
                  <a:lnTo>
                    <a:pt x="1500" y="1626"/>
                  </a:lnTo>
                  <a:lnTo>
                    <a:pt x="1494" y="1632"/>
                  </a:lnTo>
                  <a:lnTo>
                    <a:pt x="1488" y="1638"/>
                  </a:lnTo>
                  <a:lnTo>
                    <a:pt x="1482" y="1638"/>
                  </a:lnTo>
                  <a:lnTo>
                    <a:pt x="1482" y="1644"/>
                  </a:lnTo>
                  <a:lnTo>
                    <a:pt x="1482" y="1650"/>
                  </a:lnTo>
                  <a:lnTo>
                    <a:pt x="1482" y="1656"/>
                  </a:lnTo>
                  <a:lnTo>
                    <a:pt x="1476" y="1662"/>
                  </a:lnTo>
                  <a:lnTo>
                    <a:pt x="1470" y="1668"/>
                  </a:lnTo>
                  <a:lnTo>
                    <a:pt x="1464" y="1674"/>
                  </a:lnTo>
                  <a:lnTo>
                    <a:pt x="1464" y="1680"/>
                  </a:lnTo>
                  <a:lnTo>
                    <a:pt x="1458" y="1680"/>
                  </a:lnTo>
                  <a:lnTo>
                    <a:pt x="1452" y="1686"/>
                  </a:lnTo>
                  <a:lnTo>
                    <a:pt x="1446" y="1686"/>
                  </a:lnTo>
                  <a:lnTo>
                    <a:pt x="1440" y="1698"/>
                  </a:lnTo>
                  <a:lnTo>
                    <a:pt x="1440" y="1704"/>
                  </a:lnTo>
                  <a:lnTo>
                    <a:pt x="1434" y="1710"/>
                  </a:lnTo>
                  <a:lnTo>
                    <a:pt x="1434" y="1716"/>
                  </a:lnTo>
                  <a:lnTo>
                    <a:pt x="1428" y="1716"/>
                  </a:lnTo>
                  <a:lnTo>
                    <a:pt x="1428" y="1722"/>
                  </a:lnTo>
                  <a:lnTo>
                    <a:pt x="1428" y="1728"/>
                  </a:lnTo>
                  <a:lnTo>
                    <a:pt x="1422" y="1728"/>
                  </a:lnTo>
                  <a:lnTo>
                    <a:pt x="1422" y="1734"/>
                  </a:lnTo>
                  <a:lnTo>
                    <a:pt x="1416" y="1734"/>
                  </a:lnTo>
                  <a:lnTo>
                    <a:pt x="1410" y="1734"/>
                  </a:lnTo>
                  <a:lnTo>
                    <a:pt x="1392" y="1746"/>
                  </a:lnTo>
                  <a:lnTo>
                    <a:pt x="1386" y="1746"/>
                  </a:lnTo>
                  <a:lnTo>
                    <a:pt x="1368" y="1752"/>
                  </a:lnTo>
                  <a:lnTo>
                    <a:pt x="1362" y="1758"/>
                  </a:lnTo>
                  <a:lnTo>
                    <a:pt x="1362" y="1770"/>
                  </a:lnTo>
                  <a:lnTo>
                    <a:pt x="1356" y="178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graphicFrame>
        <p:nvGraphicFramePr>
          <p:cNvPr id="357" name="Group 76">
            <a:extLst>
              <a:ext uri="{FF2B5EF4-FFF2-40B4-BE49-F238E27FC236}">
                <a16:creationId xmlns:a16="http://schemas.microsoft.com/office/drawing/2014/main" id="{57830D68-CF73-4A3E-9D36-141B03AADBF7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41338" y="3402013"/>
          <a:ext cx="3735387" cy="1827306"/>
        </p:xfrm>
        <a:graphic>
          <a:graphicData uri="http://schemas.openxmlformats.org/drawingml/2006/table">
            <a:tbl>
              <a:tblPr/>
              <a:tblGrid>
                <a:gridCol w="1316931">
                  <a:extLst>
                    <a:ext uri="{9D8B030D-6E8A-4147-A177-3AD203B41FA5}">
                      <a16:colId xmlns:a16="http://schemas.microsoft.com/office/drawing/2014/main" val="2027704273"/>
                    </a:ext>
                  </a:extLst>
                </a:gridCol>
                <a:gridCol w="603796">
                  <a:extLst>
                    <a:ext uri="{9D8B030D-6E8A-4147-A177-3AD203B41FA5}">
                      <a16:colId xmlns:a16="http://schemas.microsoft.com/office/drawing/2014/main" val="3432768286"/>
                    </a:ext>
                  </a:extLst>
                </a:gridCol>
                <a:gridCol w="744015">
                  <a:extLst>
                    <a:ext uri="{9D8B030D-6E8A-4147-A177-3AD203B41FA5}">
                      <a16:colId xmlns:a16="http://schemas.microsoft.com/office/drawing/2014/main" val="3730294207"/>
                    </a:ext>
                  </a:extLst>
                </a:gridCol>
                <a:gridCol w="1070645">
                  <a:extLst>
                    <a:ext uri="{9D8B030D-6E8A-4147-A177-3AD203B41FA5}">
                      <a16:colId xmlns:a16="http://schemas.microsoft.com/office/drawing/2014/main" val="2258321117"/>
                    </a:ext>
                  </a:extLst>
                </a:gridCol>
              </a:tblGrid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apital</a:t>
                      </a:r>
                      <a:endParaRPr kumimoji="0" lang="en-SG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292929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SG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Illorin</a:t>
                      </a:r>
                      <a:endParaRPr kumimoji="0" lang="en-SG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703009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nd Are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35,705 km</a:t>
                      </a:r>
                      <a:r>
                        <a:rPr kumimoji="0" lang="en-US" altLang="en-US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10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603614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Population (2017E)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3,178,837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3 of 37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505851"/>
                  </a:ext>
                </a:extLst>
              </a:tr>
              <a:tr h="203024">
                <a:tc row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Dem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0-14: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3,178,837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44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130093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5-64: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,692,821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53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387564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65+: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+mn-cs"/>
                        </a:rPr>
                        <a:t>   100,938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[3%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38801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bour force 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,511,812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28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797882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limate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ropical savann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3942226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op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Rock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32899"/>
                  </a:ext>
                </a:extLst>
              </a:tr>
            </a:tbl>
          </a:graphicData>
        </a:graphic>
      </p:graphicFrame>
      <p:pic>
        <p:nvPicPr>
          <p:cNvPr id="23609" name="Picture 13">
            <a:extLst>
              <a:ext uri="{FF2B5EF4-FFF2-40B4-BE49-F238E27FC236}">
                <a16:creationId xmlns:a16="http://schemas.microsoft.com/office/drawing/2014/main" id="{952964D5-F0ED-4CAE-B71C-DB4A723FA5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0" y="3006725"/>
            <a:ext cx="1116013" cy="155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9" name="TextBox 378">
            <a:extLst>
              <a:ext uri="{FF2B5EF4-FFF2-40B4-BE49-F238E27FC236}">
                <a16:creationId xmlns:a16="http://schemas.microsoft.com/office/drawing/2014/main" id="{1B3FD4BF-4685-4C74-821F-10048D6246BF}"/>
              </a:ext>
            </a:extLst>
          </p:cNvPr>
          <p:cNvSpPr txBox="1"/>
          <p:nvPr/>
        </p:nvSpPr>
        <p:spPr>
          <a:xfrm>
            <a:off x="6124575" y="957263"/>
            <a:ext cx="3475038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Competitive Advantages</a:t>
            </a: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455FE7A1-ADE5-4F7B-A489-00196671A53E}"/>
              </a:ext>
            </a:extLst>
          </p:cNvPr>
          <p:cNvSpPr/>
          <p:nvPr/>
        </p:nvSpPr>
        <p:spPr>
          <a:xfrm>
            <a:off x="4267248" y="1187511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dbl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N</a:t>
            </a:r>
            <a:r>
              <a:rPr kumimoji="0" lang="en-US" sz="1600" b="0" i="0" u="none" strike="no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19.6bn/$64.4m</a:t>
            </a:r>
            <a:endParaRPr kumimoji="0" lang="en-MY" sz="1600" b="0" i="0" u="none" strike="noStrike" kern="1200" cap="none" spc="-15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EBB25788-D073-4A78-9D6C-DF3836CFFFBB}"/>
              </a:ext>
            </a:extLst>
          </p:cNvPr>
          <p:cNvSpPr txBox="1"/>
          <p:nvPr/>
        </p:nvSpPr>
        <p:spPr>
          <a:xfrm>
            <a:off x="4267200" y="955675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IGR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 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(2017)</a:t>
            </a: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6F07DF39-553B-44F0-8864-1F897C2BD79A}"/>
              </a:ext>
            </a:extLst>
          </p:cNvPr>
          <p:cNvSpPr/>
          <p:nvPr/>
        </p:nvSpPr>
        <p:spPr>
          <a:xfrm>
            <a:off x="4267252" y="1809750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dbl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N</a:t>
            </a:r>
            <a:r>
              <a:rPr kumimoji="0" lang="en-US" sz="1600" b="0" i="0" u="none" strike="no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190.9bn/$</a:t>
            </a:r>
            <a:r>
              <a:rPr lang="en-US" sz="1600" spc="-150" noProof="0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 pitchFamily="34" charset="0"/>
                <a:cs typeface="Arial" charset="0"/>
              </a:rPr>
              <a:t>625.9</a:t>
            </a:r>
            <a:r>
              <a:rPr kumimoji="0" lang="en-US" sz="1600" b="0" i="0" u="none" strike="no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bn</a:t>
            </a:r>
            <a:endParaRPr kumimoji="0" lang="en-MY" sz="1600" b="0" i="0" u="none" strike="noStrike" kern="1200" cap="none" spc="-15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2508695A-2D2C-45A3-80FE-9C2CB18200C2}"/>
              </a:ext>
            </a:extLst>
          </p:cNvPr>
          <p:cNvSpPr txBox="1"/>
          <p:nvPr/>
        </p:nvSpPr>
        <p:spPr>
          <a:xfrm>
            <a:off x="4267200" y="1576388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Budget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 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(2018)</a:t>
            </a: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86A33ABE-3AE3-40A7-A6A6-1B757A6A9B0F}"/>
              </a:ext>
            </a:extLst>
          </p:cNvPr>
          <p:cNvSpPr/>
          <p:nvPr/>
        </p:nvSpPr>
        <p:spPr>
          <a:xfrm>
            <a:off x="4256076" y="2667155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dbl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N</a:t>
            </a:r>
            <a:r>
              <a:rPr kumimoji="0" lang="en-US" sz="1600" b="0" i="0" u="none" strike="no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982.6trn /$3.2bn</a:t>
            </a:r>
            <a:endParaRPr kumimoji="0" lang="en-MY" sz="1600" b="0" i="0" u="none" strike="noStrike" kern="1200" cap="none" spc="-15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1E919764-A18B-4532-A533-A84A31D7FEFE}"/>
              </a:ext>
            </a:extLst>
          </p:cNvPr>
          <p:cNvSpPr txBox="1"/>
          <p:nvPr/>
        </p:nvSpPr>
        <p:spPr>
          <a:xfrm>
            <a:off x="4256088" y="2185988"/>
            <a:ext cx="1811337" cy="50641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Househol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Consumption 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(2017)</a:t>
            </a:r>
          </a:p>
        </p:txBody>
      </p:sp>
      <p:sp>
        <p:nvSpPr>
          <p:cNvPr id="96" name="Plaque 95">
            <a:extLst>
              <a:ext uri="{FF2B5EF4-FFF2-40B4-BE49-F238E27FC236}">
                <a16:creationId xmlns:a16="http://schemas.microsoft.com/office/drawing/2014/main" id="{E3BE1182-17B4-4194-8641-F1EA2CCBB757}"/>
              </a:ext>
            </a:extLst>
          </p:cNvPr>
          <p:cNvSpPr/>
          <p:nvPr/>
        </p:nvSpPr>
        <p:spPr>
          <a:xfrm>
            <a:off x="5583996" y="2807593"/>
            <a:ext cx="483429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7 of 36</a:t>
            </a:r>
          </a:p>
        </p:txBody>
      </p:sp>
      <p:sp>
        <p:nvSpPr>
          <p:cNvPr id="99" name="Plaque 98">
            <a:extLst>
              <a:ext uri="{FF2B5EF4-FFF2-40B4-BE49-F238E27FC236}">
                <a16:creationId xmlns:a16="http://schemas.microsoft.com/office/drawing/2014/main" id="{8620E393-1C52-4CE1-9888-20922FA6DFEA}"/>
              </a:ext>
            </a:extLst>
          </p:cNvPr>
          <p:cNvSpPr/>
          <p:nvPr/>
        </p:nvSpPr>
        <p:spPr>
          <a:xfrm>
            <a:off x="5571332" y="1982093"/>
            <a:ext cx="496094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noProof="0" dirty="0">
                <a:solidFill>
                  <a:prstClr val="white"/>
                </a:solidFill>
                <a:latin typeface="Calibri" panose="020F0502020204030204" pitchFamily="34" charset="0"/>
              </a:rPr>
              <a:t>14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of 36</a:t>
            </a:r>
          </a:p>
        </p:txBody>
      </p:sp>
      <p:sp>
        <p:nvSpPr>
          <p:cNvPr id="100" name="Plaque 99">
            <a:extLst>
              <a:ext uri="{FF2B5EF4-FFF2-40B4-BE49-F238E27FC236}">
                <a16:creationId xmlns:a16="http://schemas.microsoft.com/office/drawing/2014/main" id="{3BFA6D28-9A42-4459-8BF1-090CE1B45216}"/>
              </a:ext>
            </a:extLst>
          </p:cNvPr>
          <p:cNvSpPr/>
          <p:nvPr/>
        </p:nvSpPr>
        <p:spPr>
          <a:xfrm>
            <a:off x="5638800" y="1333500"/>
            <a:ext cx="430213" cy="1539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noProof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0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of 36</a:t>
            </a:r>
          </a:p>
        </p:txBody>
      </p:sp>
      <p:sp>
        <p:nvSpPr>
          <p:cNvPr id="101" name="Pentagon 19">
            <a:extLst>
              <a:ext uri="{FF2B5EF4-FFF2-40B4-BE49-F238E27FC236}">
                <a16:creationId xmlns:a16="http://schemas.microsoft.com/office/drawing/2014/main" id="{CCD74FA4-19D0-4356-90C9-B3B49BCC3F54}"/>
              </a:ext>
            </a:extLst>
          </p:cNvPr>
          <p:cNvSpPr>
            <a:spLocks/>
          </p:cNvSpPr>
          <p:nvPr/>
        </p:nvSpPr>
        <p:spPr bwMode="auto">
          <a:xfrm>
            <a:off x="688340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noProof="0" dirty="0">
                <a:solidFill>
                  <a:prstClr val="white"/>
                </a:solidFill>
                <a:latin typeface="Calibri" panose="020F0502020204030204" pitchFamily="34" charset="0"/>
              </a:rPr>
              <a:t>29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of 37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12EE735-1E43-4799-A46A-5D0787F375CE}"/>
              </a:ext>
            </a:extLst>
          </p:cNvPr>
          <p:cNvSpPr/>
          <p:nvPr/>
        </p:nvSpPr>
        <p:spPr>
          <a:xfrm>
            <a:off x="6880225" y="5726113"/>
            <a:ext cx="642938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rting a Business</a:t>
            </a:r>
          </a:p>
        </p:txBody>
      </p:sp>
      <p:pic>
        <p:nvPicPr>
          <p:cNvPr id="23622" name="Picture 3">
            <a:extLst>
              <a:ext uri="{FF2B5EF4-FFF2-40B4-BE49-F238E27FC236}">
                <a16:creationId xmlns:a16="http://schemas.microsoft.com/office/drawing/2014/main" id="{53FAD0C6-8FFE-437B-B7E4-F2A938D3BE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350" y="5249863"/>
            <a:ext cx="41910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23" name="Freeform 15">
            <a:extLst>
              <a:ext uri="{FF2B5EF4-FFF2-40B4-BE49-F238E27FC236}">
                <a16:creationId xmlns:a16="http://schemas.microsoft.com/office/drawing/2014/main" id="{183A3C8B-011E-4D99-9165-3FF03A2D3207}"/>
              </a:ext>
            </a:extLst>
          </p:cNvPr>
          <p:cNvSpPr>
            <a:spLocks noEditPoints="1"/>
          </p:cNvSpPr>
          <p:nvPr/>
        </p:nvSpPr>
        <p:spPr bwMode="auto">
          <a:xfrm>
            <a:off x="9093200" y="5257800"/>
            <a:ext cx="276225" cy="347663"/>
          </a:xfrm>
          <a:custGeom>
            <a:avLst/>
            <a:gdLst>
              <a:gd name="T0" fmla="*/ 2147483646 w 3556"/>
              <a:gd name="T1" fmla="*/ 2147483646 h 3950"/>
              <a:gd name="T2" fmla="*/ 2147483646 w 3556"/>
              <a:gd name="T3" fmla="*/ 2147483646 h 3950"/>
              <a:gd name="T4" fmla="*/ 2147483646 w 3556"/>
              <a:gd name="T5" fmla="*/ 2147483646 h 3950"/>
              <a:gd name="T6" fmla="*/ 2147483646 w 3556"/>
              <a:gd name="T7" fmla="*/ 2147483646 h 3950"/>
              <a:gd name="T8" fmla="*/ 2147483646 w 3556"/>
              <a:gd name="T9" fmla="*/ 2147483646 h 3950"/>
              <a:gd name="T10" fmla="*/ 2147483646 w 3556"/>
              <a:gd name="T11" fmla="*/ 2147483646 h 3950"/>
              <a:gd name="T12" fmla="*/ 2147483646 w 3556"/>
              <a:gd name="T13" fmla="*/ 2147483646 h 3950"/>
              <a:gd name="T14" fmla="*/ 2147483646 w 3556"/>
              <a:gd name="T15" fmla="*/ 2147483646 h 3950"/>
              <a:gd name="T16" fmla="*/ 2147483646 w 3556"/>
              <a:gd name="T17" fmla="*/ 2147483646 h 3950"/>
              <a:gd name="T18" fmla="*/ 2147483646 w 3556"/>
              <a:gd name="T19" fmla="*/ 2147483646 h 3950"/>
              <a:gd name="T20" fmla="*/ 2147483646 w 3556"/>
              <a:gd name="T21" fmla="*/ 2147483646 h 3950"/>
              <a:gd name="T22" fmla="*/ 0 w 3556"/>
              <a:gd name="T23" fmla="*/ 2147483646 h 3950"/>
              <a:gd name="T24" fmla="*/ 2147483646 w 3556"/>
              <a:gd name="T25" fmla="*/ 2147483646 h 3950"/>
              <a:gd name="T26" fmla="*/ 2147483646 w 3556"/>
              <a:gd name="T27" fmla="*/ 2147483646 h 3950"/>
              <a:gd name="T28" fmla="*/ 2147483646 w 3556"/>
              <a:gd name="T29" fmla="*/ 2147483646 h 3950"/>
              <a:gd name="T30" fmla="*/ 2147483646 w 3556"/>
              <a:gd name="T31" fmla="*/ 2147483646 h 3950"/>
              <a:gd name="T32" fmla="*/ 2147483646 w 3556"/>
              <a:gd name="T33" fmla="*/ 2147483646 h 3950"/>
              <a:gd name="T34" fmla="*/ 2147483646 w 3556"/>
              <a:gd name="T35" fmla="*/ 2147483646 h 3950"/>
              <a:gd name="T36" fmla="*/ 2147483646 w 3556"/>
              <a:gd name="T37" fmla="*/ 2147483646 h 3950"/>
              <a:gd name="T38" fmla="*/ 2147483646 w 3556"/>
              <a:gd name="T39" fmla="*/ 2147483646 h 3950"/>
              <a:gd name="T40" fmla="*/ 2147483646 w 3556"/>
              <a:gd name="T41" fmla="*/ 2147483646 h 3950"/>
              <a:gd name="T42" fmla="*/ 2147483646 w 3556"/>
              <a:gd name="T43" fmla="*/ 2147483646 h 3950"/>
              <a:gd name="T44" fmla="*/ 2147483646 w 3556"/>
              <a:gd name="T45" fmla="*/ 2147483646 h 3950"/>
              <a:gd name="T46" fmla="*/ 2147483646 w 3556"/>
              <a:gd name="T47" fmla="*/ 2147483646 h 3950"/>
              <a:gd name="T48" fmla="*/ 2147483646 w 3556"/>
              <a:gd name="T49" fmla="*/ 2147483646 h 3950"/>
              <a:gd name="T50" fmla="*/ 2147483646 w 3556"/>
              <a:gd name="T51" fmla="*/ 2147483646 h 3950"/>
              <a:gd name="T52" fmla="*/ 2147483646 w 3556"/>
              <a:gd name="T53" fmla="*/ 2147483646 h 3950"/>
              <a:gd name="T54" fmla="*/ 2147483646 w 3556"/>
              <a:gd name="T55" fmla="*/ 2147483646 h 3950"/>
              <a:gd name="T56" fmla="*/ 2147483646 w 3556"/>
              <a:gd name="T57" fmla="*/ 2147483646 h 3950"/>
              <a:gd name="T58" fmla="*/ 2147483646 w 3556"/>
              <a:gd name="T59" fmla="*/ 2147483646 h 3950"/>
              <a:gd name="T60" fmla="*/ 2147483646 w 3556"/>
              <a:gd name="T61" fmla="*/ 2147483646 h 3950"/>
              <a:gd name="T62" fmla="*/ 2147483646 w 3556"/>
              <a:gd name="T63" fmla="*/ 2147483646 h 3950"/>
              <a:gd name="T64" fmla="*/ 2147483646 w 3556"/>
              <a:gd name="T65" fmla="*/ 2147483646 h 3950"/>
              <a:gd name="T66" fmla="*/ 2147483646 w 3556"/>
              <a:gd name="T67" fmla="*/ 2147483646 h 3950"/>
              <a:gd name="T68" fmla="*/ 2147483646 w 3556"/>
              <a:gd name="T69" fmla="*/ 2147483646 h 3950"/>
              <a:gd name="T70" fmla="*/ 2147483646 w 3556"/>
              <a:gd name="T71" fmla="*/ 2147483646 h 3950"/>
              <a:gd name="T72" fmla="*/ 2147483646 w 3556"/>
              <a:gd name="T73" fmla="*/ 2147483646 h 3950"/>
              <a:gd name="T74" fmla="*/ 2147483646 w 3556"/>
              <a:gd name="T75" fmla="*/ 2147483646 h 3950"/>
              <a:gd name="T76" fmla="*/ 2147483646 w 3556"/>
              <a:gd name="T77" fmla="*/ 2147483646 h 3950"/>
              <a:gd name="T78" fmla="*/ 2147483646 w 3556"/>
              <a:gd name="T79" fmla="*/ 2147483646 h 3950"/>
              <a:gd name="T80" fmla="*/ 2147483646 w 3556"/>
              <a:gd name="T81" fmla="*/ 0 h 3950"/>
              <a:gd name="T82" fmla="*/ 2147483646 w 3556"/>
              <a:gd name="T83" fmla="*/ 2147483646 h 3950"/>
              <a:gd name="T84" fmla="*/ 2147483646 w 3556"/>
              <a:gd name="T85" fmla="*/ 2147483646 h 3950"/>
              <a:gd name="T86" fmla="*/ 2147483646 w 3556"/>
              <a:gd name="T87" fmla="*/ 2147483646 h 395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556"/>
              <a:gd name="T133" fmla="*/ 0 h 3950"/>
              <a:gd name="T134" fmla="*/ 3556 w 3556"/>
              <a:gd name="T135" fmla="*/ 3950 h 395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556" h="3950">
                <a:moveTo>
                  <a:pt x="909" y="3917"/>
                </a:moveTo>
                <a:cubicBezTo>
                  <a:pt x="824" y="3832"/>
                  <a:pt x="894" y="3725"/>
                  <a:pt x="1036" y="3725"/>
                </a:cubicBezTo>
                <a:cubicBezTo>
                  <a:pt x="1119" y="3725"/>
                  <a:pt x="1129" y="3717"/>
                  <a:pt x="1129" y="3645"/>
                </a:cubicBezTo>
                <a:cubicBezTo>
                  <a:pt x="1129" y="3472"/>
                  <a:pt x="1135" y="3471"/>
                  <a:pt x="2192" y="3471"/>
                </a:cubicBezTo>
                <a:cubicBezTo>
                  <a:pt x="3086" y="3471"/>
                  <a:pt x="3155" y="3475"/>
                  <a:pt x="3199" y="3523"/>
                </a:cubicBezTo>
                <a:cubicBezTo>
                  <a:pt x="3225" y="3551"/>
                  <a:pt x="3246" y="3608"/>
                  <a:pt x="3246" y="3648"/>
                </a:cubicBezTo>
                <a:cubicBezTo>
                  <a:pt x="3246" y="3712"/>
                  <a:pt x="3259" y="3723"/>
                  <a:pt x="3349" y="3730"/>
                </a:cubicBezTo>
                <a:cubicBezTo>
                  <a:pt x="3470" y="3741"/>
                  <a:pt x="3530" y="3811"/>
                  <a:pt x="3482" y="3887"/>
                </a:cubicBezTo>
                <a:cubicBezTo>
                  <a:pt x="3453" y="3933"/>
                  <a:pt x="3356" y="3937"/>
                  <a:pt x="2197" y="3944"/>
                </a:cubicBezTo>
                <a:cubicBezTo>
                  <a:pt x="1245" y="3950"/>
                  <a:pt x="935" y="3943"/>
                  <a:pt x="909" y="3917"/>
                </a:cubicBezTo>
                <a:close/>
                <a:moveTo>
                  <a:pt x="87" y="3370"/>
                </a:moveTo>
                <a:cubicBezTo>
                  <a:pt x="24" y="3317"/>
                  <a:pt x="0" y="3272"/>
                  <a:pt x="0" y="3209"/>
                </a:cubicBezTo>
                <a:cubicBezTo>
                  <a:pt x="0" y="3132"/>
                  <a:pt x="86" y="3035"/>
                  <a:pt x="705" y="2414"/>
                </a:cubicBezTo>
                <a:lnTo>
                  <a:pt x="1411" y="1706"/>
                </a:lnTo>
                <a:lnTo>
                  <a:pt x="1235" y="1530"/>
                </a:lnTo>
                <a:lnTo>
                  <a:pt x="1059" y="1355"/>
                </a:lnTo>
                <a:lnTo>
                  <a:pt x="1510" y="903"/>
                </a:lnTo>
                <a:lnTo>
                  <a:pt x="1960" y="452"/>
                </a:lnTo>
                <a:lnTo>
                  <a:pt x="2135" y="624"/>
                </a:lnTo>
                <a:cubicBezTo>
                  <a:pt x="2305" y="793"/>
                  <a:pt x="2310" y="796"/>
                  <a:pt x="2374" y="751"/>
                </a:cubicBezTo>
                <a:cubicBezTo>
                  <a:pt x="2469" y="685"/>
                  <a:pt x="2547" y="695"/>
                  <a:pt x="2633" y="785"/>
                </a:cubicBezTo>
                <a:cubicBezTo>
                  <a:pt x="2720" y="875"/>
                  <a:pt x="2731" y="974"/>
                  <a:pt x="2662" y="1050"/>
                </a:cubicBezTo>
                <a:cubicBezTo>
                  <a:pt x="2616" y="1100"/>
                  <a:pt x="2624" y="1112"/>
                  <a:pt x="2823" y="1313"/>
                </a:cubicBezTo>
                <a:lnTo>
                  <a:pt x="3033" y="1524"/>
                </a:lnTo>
                <a:lnTo>
                  <a:pt x="2582" y="1975"/>
                </a:lnTo>
                <a:lnTo>
                  <a:pt x="2132" y="2427"/>
                </a:lnTo>
                <a:lnTo>
                  <a:pt x="1933" y="2229"/>
                </a:lnTo>
                <a:cubicBezTo>
                  <a:pt x="1824" y="2121"/>
                  <a:pt x="1722" y="2032"/>
                  <a:pt x="1707" y="2032"/>
                </a:cubicBezTo>
                <a:cubicBezTo>
                  <a:pt x="1693" y="2032"/>
                  <a:pt x="1362" y="2349"/>
                  <a:pt x="973" y="2737"/>
                </a:cubicBezTo>
                <a:cubicBezTo>
                  <a:pt x="584" y="3125"/>
                  <a:pt x="245" y="3443"/>
                  <a:pt x="220" y="3443"/>
                </a:cubicBezTo>
                <a:cubicBezTo>
                  <a:pt x="194" y="3443"/>
                  <a:pt x="135" y="3410"/>
                  <a:pt x="87" y="3370"/>
                </a:cubicBezTo>
                <a:close/>
                <a:moveTo>
                  <a:pt x="2258" y="2887"/>
                </a:moveTo>
                <a:cubicBezTo>
                  <a:pt x="2196" y="2865"/>
                  <a:pt x="2145" y="2792"/>
                  <a:pt x="2145" y="2725"/>
                </a:cubicBezTo>
                <a:cubicBezTo>
                  <a:pt x="2145" y="2686"/>
                  <a:pt x="2337" y="2474"/>
                  <a:pt x="2703" y="2109"/>
                </a:cubicBezTo>
                <a:cubicBezTo>
                  <a:pt x="3289" y="1523"/>
                  <a:pt x="3346" y="1485"/>
                  <a:pt x="3453" y="1604"/>
                </a:cubicBezTo>
                <a:cubicBezTo>
                  <a:pt x="3556" y="1717"/>
                  <a:pt x="3522" y="1766"/>
                  <a:pt x="2956" y="2331"/>
                </a:cubicBezTo>
                <a:cubicBezTo>
                  <a:pt x="2657" y="2630"/>
                  <a:pt x="2388" y="2880"/>
                  <a:pt x="2357" y="2888"/>
                </a:cubicBezTo>
                <a:cubicBezTo>
                  <a:pt x="2326" y="2895"/>
                  <a:pt x="2281" y="2895"/>
                  <a:pt x="2258" y="2887"/>
                </a:cubicBezTo>
                <a:close/>
                <a:moveTo>
                  <a:pt x="637" y="1282"/>
                </a:moveTo>
                <a:cubicBezTo>
                  <a:pt x="528" y="1172"/>
                  <a:pt x="568" y="1113"/>
                  <a:pt x="1137" y="544"/>
                </a:cubicBezTo>
                <a:cubicBezTo>
                  <a:pt x="1607" y="74"/>
                  <a:pt x="1693" y="0"/>
                  <a:pt x="1767" y="0"/>
                </a:cubicBezTo>
                <a:cubicBezTo>
                  <a:pt x="1862" y="0"/>
                  <a:pt x="1947" y="73"/>
                  <a:pt x="1947" y="156"/>
                </a:cubicBezTo>
                <a:cubicBezTo>
                  <a:pt x="1947" y="186"/>
                  <a:pt x="1715" y="442"/>
                  <a:pt x="1391" y="767"/>
                </a:cubicBezTo>
                <a:cubicBezTo>
                  <a:pt x="808" y="1353"/>
                  <a:pt x="749" y="1393"/>
                  <a:pt x="637" y="12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" name="Group 118">
            <a:extLst>
              <a:ext uri="{FF2B5EF4-FFF2-40B4-BE49-F238E27FC236}">
                <a16:creationId xmlns:a16="http://schemas.microsoft.com/office/drawing/2014/main" id="{FB3D6A90-C4FD-433A-A1C1-A4B3864804A5}"/>
              </a:ext>
            </a:extLst>
          </p:cNvPr>
          <p:cNvGrpSpPr/>
          <p:nvPr/>
        </p:nvGrpSpPr>
        <p:grpSpPr>
          <a:xfrm>
            <a:off x="8409631" y="5248358"/>
            <a:ext cx="346498" cy="347472"/>
            <a:chOff x="1468138" y="5997240"/>
            <a:chExt cx="283642" cy="307072"/>
          </a:xfrm>
          <a:solidFill>
            <a:schemeClr val="bg1"/>
          </a:solidFill>
        </p:grpSpPr>
        <p:sp>
          <p:nvSpPr>
            <p:cNvPr id="120" name="Freeform 16">
              <a:extLst>
                <a:ext uri="{FF2B5EF4-FFF2-40B4-BE49-F238E27FC236}">
                  <a16:creationId xmlns:a16="http://schemas.microsoft.com/office/drawing/2014/main" id="{D6134FC8-4249-4088-8AE8-003C8AAC7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6136" y="6255221"/>
              <a:ext cx="26428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1 w 349"/>
                <a:gd name="T25" fmla="*/ 226 h 350"/>
                <a:gd name="T26" fmla="*/ 225 w 349"/>
                <a:gd name="T27" fmla="*/ 213 h 350"/>
                <a:gd name="T28" fmla="*/ 234 w 349"/>
                <a:gd name="T29" fmla="*/ 194 h 350"/>
                <a:gd name="T30" fmla="*/ 237 w 349"/>
                <a:gd name="T31" fmla="*/ 175 h 350"/>
                <a:gd name="T32" fmla="*/ 235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5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4 w 349"/>
                <a:gd name="T47" fmla="*/ 3 h 350"/>
                <a:gd name="T48" fmla="*/ 234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8 w 349"/>
                <a:gd name="T55" fmla="*/ 63 h 350"/>
                <a:gd name="T56" fmla="*/ 325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5 w 349"/>
                <a:gd name="T65" fmla="*/ 210 h 350"/>
                <a:gd name="T66" fmla="*/ 335 w 349"/>
                <a:gd name="T67" fmla="*/ 243 h 350"/>
                <a:gd name="T68" fmla="*/ 319 w 349"/>
                <a:gd name="T69" fmla="*/ 273 h 350"/>
                <a:gd name="T70" fmla="*/ 297 w 349"/>
                <a:gd name="T71" fmla="*/ 299 h 350"/>
                <a:gd name="T72" fmla="*/ 272 w 349"/>
                <a:gd name="T73" fmla="*/ 319 h 350"/>
                <a:gd name="T74" fmla="*/ 242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39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29 w 349"/>
                <a:gd name="T89" fmla="*/ 273 h 350"/>
                <a:gd name="T90" fmla="*/ 14 w 349"/>
                <a:gd name="T91" fmla="*/ 243 h 350"/>
                <a:gd name="T92" fmla="*/ 3 w 349"/>
                <a:gd name="T93" fmla="*/ 210 h 350"/>
                <a:gd name="T94" fmla="*/ 0 w 349"/>
                <a:gd name="T95" fmla="*/ 175 h 350"/>
                <a:gd name="T96" fmla="*/ 3 w 349"/>
                <a:gd name="T97" fmla="*/ 140 h 350"/>
                <a:gd name="T98" fmla="*/ 14 w 349"/>
                <a:gd name="T99" fmla="*/ 107 h 350"/>
                <a:gd name="T100" fmla="*/ 29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39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1" y="226"/>
                  </a:lnTo>
                  <a:lnTo>
                    <a:pt x="225" y="213"/>
                  </a:lnTo>
                  <a:lnTo>
                    <a:pt x="234" y="194"/>
                  </a:lnTo>
                  <a:lnTo>
                    <a:pt x="237" y="175"/>
                  </a:lnTo>
                  <a:lnTo>
                    <a:pt x="235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5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4" y="3"/>
                  </a:lnTo>
                  <a:lnTo>
                    <a:pt x="234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8" y="63"/>
                  </a:lnTo>
                  <a:lnTo>
                    <a:pt x="325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5" y="210"/>
                  </a:lnTo>
                  <a:lnTo>
                    <a:pt x="335" y="243"/>
                  </a:lnTo>
                  <a:lnTo>
                    <a:pt x="319" y="273"/>
                  </a:lnTo>
                  <a:lnTo>
                    <a:pt x="297" y="299"/>
                  </a:lnTo>
                  <a:lnTo>
                    <a:pt x="272" y="319"/>
                  </a:lnTo>
                  <a:lnTo>
                    <a:pt x="242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39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29" y="273"/>
                  </a:lnTo>
                  <a:lnTo>
                    <a:pt x="14" y="243"/>
                  </a:lnTo>
                  <a:lnTo>
                    <a:pt x="3" y="210"/>
                  </a:lnTo>
                  <a:lnTo>
                    <a:pt x="0" y="175"/>
                  </a:lnTo>
                  <a:lnTo>
                    <a:pt x="3" y="140"/>
                  </a:lnTo>
                  <a:lnTo>
                    <a:pt x="14" y="107"/>
                  </a:lnTo>
                  <a:lnTo>
                    <a:pt x="29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39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1" name="Freeform 17">
              <a:extLst>
                <a:ext uri="{FF2B5EF4-FFF2-40B4-BE49-F238E27FC236}">
                  <a16:creationId xmlns:a16="http://schemas.microsoft.com/office/drawing/2014/main" id="{67A5F0B0-C078-4A85-9E32-409FF0B3D5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2133" y="6255221"/>
              <a:ext cx="26656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2 w 349"/>
                <a:gd name="T25" fmla="*/ 226 h 350"/>
                <a:gd name="T26" fmla="*/ 226 w 349"/>
                <a:gd name="T27" fmla="*/ 213 h 350"/>
                <a:gd name="T28" fmla="*/ 235 w 349"/>
                <a:gd name="T29" fmla="*/ 194 h 350"/>
                <a:gd name="T30" fmla="*/ 237 w 349"/>
                <a:gd name="T31" fmla="*/ 175 h 350"/>
                <a:gd name="T32" fmla="*/ 236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7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5 w 349"/>
                <a:gd name="T47" fmla="*/ 3 h 350"/>
                <a:gd name="T48" fmla="*/ 235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9 w 349"/>
                <a:gd name="T55" fmla="*/ 63 h 350"/>
                <a:gd name="T56" fmla="*/ 326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6 w 349"/>
                <a:gd name="T65" fmla="*/ 210 h 350"/>
                <a:gd name="T66" fmla="*/ 336 w 349"/>
                <a:gd name="T67" fmla="*/ 243 h 350"/>
                <a:gd name="T68" fmla="*/ 319 w 349"/>
                <a:gd name="T69" fmla="*/ 273 h 350"/>
                <a:gd name="T70" fmla="*/ 298 w 349"/>
                <a:gd name="T71" fmla="*/ 299 h 350"/>
                <a:gd name="T72" fmla="*/ 272 w 349"/>
                <a:gd name="T73" fmla="*/ 319 h 350"/>
                <a:gd name="T74" fmla="*/ 243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40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30 w 349"/>
                <a:gd name="T89" fmla="*/ 273 h 350"/>
                <a:gd name="T90" fmla="*/ 14 w 349"/>
                <a:gd name="T91" fmla="*/ 243 h 350"/>
                <a:gd name="T92" fmla="*/ 4 w 349"/>
                <a:gd name="T93" fmla="*/ 210 h 350"/>
                <a:gd name="T94" fmla="*/ 0 w 349"/>
                <a:gd name="T95" fmla="*/ 175 h 350"/>
                <a:gd name="T96" fmla="*/ 4 w 349"/>
                <a:gd name="T97" fmla="*/ 140 h 350"/>
                <a:gd name="T98" fmla="*/ 14 w 349"/>
                <a:gd name="T99" fmla="*/ 107 h 350"/>
                <a:gd name="T100" fmla="*/ 30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40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7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7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5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19" y="273"/>
                  </a:lnTo>
                  <a:lnTo>
                    <a:pt x="298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2" name="Freeform 18">
              <a:extLst>
                <a:ext uri="{FF2B5EF4-FFF2-40B4-BE49-F238E27FC236}">
                  <a16:creationId xmlns:a16="http://schemas.microsoft.com/office/drawing/2014/main" id="{BF1784DA-3E40-44FD-998D-DB1DD379C0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8357" y="6255221"/>
              <a:ext cx="26428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7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1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7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8 w 350"/>
                <a:gd name="T31" fmla="*/ 175 h 350"/>
                <a:gd name="T32" fmla="*/ 236 w 350"/>
                <a:gd name="T33" fmla="*/ 158 h 350"/>
                <a:gd name="T34" fmla="*/ 229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7 w 350"/>
                <a:gd name="T53" fmla="*/ 41 h 350"/>
                <a:gd name="T54" fmla="*/ 309 w 350"/>
                <a:gd name="T55" fmla="*/ 63 h 350"/>
                <a:gd name="T56" fmla="*/ 326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2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7 w 350"/>
                <a:gd name="T85" fmla="*/ 319 h 350"/>
                <a:gd name="T86" fmla="*/ 51 w 350"/>
                <a:gd name="T87" fmla="*/ 299 h 350"/>
                <a:gd name="T88" fmla="*/ 30 w 350"/>
                <a:gd name="T89" fmla="*/ 273 h 350"/>
                <a:gd name="T90" fmla="*/ 14 w 350"/>
                <a:gd name="T91" fmla="*/ 243 h 350"/>
                <a:gd name="T92" fmla="*/ 4 w 350"/>
                <a:gd name="T93" fmla="*/ 210 h 350"/>
                <a:gd name="T94" fmla="*/ 0 w 350"/>
                <a:gd name="T95" fmla="*/ 175 h 350"/>
                <a:gd name="T96" fmla="*/ 4 w 350"/>
                <a:gd name="T97" fmla="*/ 140 h 350"/>
                <a:gd name="T98" fmla="*/ 14 w 350"/>
                <a:gd name="T99" fmla="*/ 107 h 350"/>
                <a:gd name="T100" fmla="*/ 30 w 350"/>
                <a:gd name="T101" fmla="*/ 78 h 350"/>
                <a:gd name="T102" fmla="*/ 51 w 350"/>
                <a:gd name="T103" fmla="*/ 52 h 350"/>
                <a:gd name="T104" fmla="*/ 77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8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3" name="Freeform 19">
              <a:extLst>
                <a:ext uri="{FF2B5EF4-FFF2-40B4-BE49-F238E27FC236}">
                  <a16:creationId xmlns:a16="http://schemas.microsoft.com/office/drawing/2014/main" id="{FF26547B-24B3-4108-8095-A2794E966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4353" y="6255221"/>
              <a:ext cx="26656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8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3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8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9 w 350"/>
                <a:gd name="T31" fmla="*/ 175 h 350"/>
                <a:gd name="T32" fmla="*/ 236 w 350"/>
                <a:gd name="T33" fmla="*/ 158 h 350"/>
                <a:gd name="T34" fmla="*/ 231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8 w 350"/>
                <a:gd name="T53" fmla="*/ 41 h 350"/>
                <a:gd name="T54" fmla="*/ 309 w 350"/>
                <a:gd name="T55" fmla="*/ 63 h 350"/>
                <a:gd name="T56" fmla="*/ 327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3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8 w 350"/>
                <a:gd name="T85" fmla="*/ 319 h 350"/>
                <a:gd name="T86" fmla="*/ 53 w 350"/>
                <a:gd name="T87" fmla="*/ 299 h 350"/>
                <a:gd name="T88" fmla="*/ 31 w 350"/>
                <a:gd name="T89" fmla="*/ 273 h 350"/>
                <a:gd name="T90" fmla="*/ 15 w 350"/>
                <a:gd name="T91" fmla="*/ 243 h 350"/>
                <a:gd name="T92" fmla="*/ 5 w 350"/>
                <a:gd name="T93" fmla="*/ 210 h 350"/>
                <a:gd name="T94" fmla="*/ 0 w 350"/>
                <a:gd name="T95" fmla="*/ 175 h 350"/>
                <a:gd name="T96" fmla="*/ 5 w 350"/>
                <a:gd name="T97" fmla="*/ 140 h 350"/>
                <a:gd name="T98" fmla="*/ 15 w 350"/>
                <a:gd name="T99" fmla="*/ 107 h 350"/>
                <a:gd name="T100" fmla="*/ 31 w 350"/>
                <a:gd name="T101" fmla="*/ 78 h 350"/>
                <a:gd name="T102" fmla="*/ 53 w 350"/>
                <a:gd name="T103" fmla="*/ 52 h 350"/>
                <a:gd name="T104" fmla="*/ 78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8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3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8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9" y="175"/>
                  </a:lnTo>
                  <a:lnTo>
                    <a:pt x="236" y="158"/>
                  </a:lnTo>
                  <a:lnTo>
                    <a:pt x="231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8" y="41"/>
                  </a:lnTo>
                  <a:lnTo>
                    <a:pt x="309" y="63"/>
                  </a:lnTo>
                  <a:lnTo>
                    <a:pt x="327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3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8" y="319"/>
                  </a:lnTo>
                  <a:lnTo>
                    <a:pt x="53" y="299"/>
                  </a:lnTo>
                  <a:lnTo>
                    <a:pt x="31" y="273"/>
                  </a:lnTo>
                  <a:lnTo>
                    <a:pt x="15" y="243"/>
                  </a:lnTo>
                  <a:lnTo>
                    <a:pt x="5" y="210"/>
                  </a:lnTo>
                  <a:lnTo>
                    <a:pt x="0" y="175"/>
                  </a:lnTo>
                  <a:lnTo>
                    <a:pt x="5" y="140"/>
                  </a:lnTo>
                  <a:lnTo>
                    <a:pt x="15" y="107"/>
                  </a:lnTo>
                  <a:lnTo>
                    <a:pt x="31" y="78"/>
                  </a:lnTo>
                  <a:lnTo>
                    <a:pt x="53" y="52"/>
                  </a:lnTo>
                  <a:lnTo>
                    <a:pt x="78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4" name="Freeform 20">
              <a:extLst>
                <a:ext uri="{FF2B5EF4-FFF2-40B4-BE49-F238E27FC236}">
                  <a16:creationId xmlns:a16="http://schemas.microsoft.com/office/drawing/2014/main" id="{6F553FA1-4728-401A-8C20-F18E165CA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80832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2 h 111"/>
                <a:gd name="T10" fmla="*/ 168 w 171"/>
                <a:gd name="T11" fmla="*/ 37 h 111"/>
                <a:gd name="T12" fmla="*/ 171 w 171"/>
                <a:gd name="T13" fmla="*/ 55 h 111"/>
                <a:gd name="T14" fmla="*/ 168 w 171"/>
                <a:gd name="T15" fmla="*/ 72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8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8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2 h 111"/>
                <a:gd name="T34" fmla="*/ 0 w 171"/>
                <a:gd name="T35" fmla="*/ 55 h 111"/>
                <a:gd name="T36" fmla="*/ 2 w 171"/>
                <a:gd name="T37" fmla="*/ 37 h 111"/>
                <a:gd name="T38" fmla="*/ 10 w 171"/>
                <a:gd name="T39" fmla="*/ 22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2"/>
                  </a:lnTo>
                  <a:lnTo>
                    <a:pt x="168" y="37"/>
                  </a:lnTo>
                  <a:lnTo>
                    <a:pt x="171" y="55"/>
                  </a:lnTo>
                  <a:lnTo>
                    <a:pt x="168" y="72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8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8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2"/>
                  </a:lnTo>
                  <a:lnTo>
                    <a:pt x="0" y="55"/>
                  </a:lnTo>
                  <a:lnTo>
                    <a:pt x="2" y="37"/>
                  </a:lnTo>
                  <a:lnTo>
                    <a:pt x="10" y="22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5" name="Freeform 21">
              <a:extLst>
                <a:ext uri="{FF2B5EF4-FFF2-40B4-BE49-F238E27FC236}">
                  <a16:creationId xmlns:a16="http://schemas.microsoft.com/office/drawing/2014/main" id="{2A783787-5E9B-43C9-9BF4-073950C97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95860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3 h 111"/>
                <a:gd name="T10" fmla="*/ 168 w 171"/>
                <a:gd name="T11" fmla="*/ 38 h 111"/>
                <a:gd name="T12" fmla="*/ 171 w 171"/>
                <a:gd name="T13" fmla="*/ 55 h 111"/>
                <a:gd name="T14" fmla="*/ 168 w 171"/>
                <a:gd name="T15" fmla="*/ 74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9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9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4 h 111"/>
                <a:gd name="T34" fmla="*/ 0 w 171"/>
                <a:gd name="T35" fmla="*/ 55 h 111"/>
                <a:gd name="T36" fmla="*/ 2 w 171"/>
                <a:gd name="T37" fmla="*/ 38 h 111"/>
                <a:gd name="T38" fmla="*/ 10 w 171"/>
                <a:gd name="T39" fmla="*/ 23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3"/>
                  </a:lnTo>
                  <a:lnTo>
                    <a:pt x="168" y="38"/>
                  </a:lnTo>
                  <a:lnTo>
                    <a:pt x="171" y="55"/>
                  </a:lnTo>
                  <a:lnTo>
                    <a:pt x="168" y="74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9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9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4"/>
                  </a:lnTo>
                  <a:lnTo>
                    <a:pt x="0" y="55"/>
                  </a:lnTo>
                  <a:lnTo>
                    <a:pt x="2" y="38"/>
                  </a:lnTo>
                  <a:lnTo>
                    <a:pt x="10" y="23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6" name="Freeform 22">
              <a:extLst>
                <a:ext uri="{FF2B5EF4-FFF2-40B4-BE49-F238E27FC236}">
                  <a16:creationId xmlns:a16="http://schemas.microsoft.com/office/drawing/2014/main" id="{6465D05A-ED22-49B3-924E-6DFC4C8C8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8138" y="5997240"/>
              <a:ext cx="283642" cy="307072"/>
            </a:xfrm>
            <a:custGeom>
              <a:avLst/>
              <a:gdLst>
                <a:gd name="T0" fmla="*/ 185 w 3736"/>
                <a:gd name="T1" fmla="*/ 3069 h 3678"/>
                <a:gd name="T2" fmla="*/ 125 w 3736"/>
                <a:gd name="T3" fmla="*/ 3352 h 3678"/>
                <a:gd name="T4" fmla="*/ 325 w 3736"/>
                <a:gd name="T5" fmla="*/ 3554 h 3678"/>
                <a:gd name="T6" fmla="*/ 2002 w 3736"/>
                <a:gd name="T7" fmla="*/ 3518 h 3678"/>
                <a:gd name="T8" fmla="*/ 2140 w 3736"/>
                <a:gd name="T9" fmla="*/ 3266 h 3678"/>
                <a:gd name="T10" fmla="*/ 2002 w 3736"/>
                <a:gd name="T11" fmla="*/ 3013 h 3678"/>
                <a:gd name="T12" fmla="*/ 943 w 3736"/>
                <a:gd name="T13" fmla="*/ 2853 h 3678"/>
                <a:gd name="T14" fmla="*/ 2970 w 3736"/>
                <a:gd name="T15" fmla="*/ 2765 h 3678"/>
                <a:gd name="T16" fmla="*/ 3240 w 3736"/>
                <a:gd name="T17" fmla="*/ 2787 h 3678"/>
                <a:gd name="T18" fmla="*/ 3506 w 3736"/>
                <a:gd name="T19" fmla="*/ 2599 h 3678"/>
                <a:gd name="T20" fmla="*/ 302 w 3736"/>
                <a:gd name="T21" fmla="*/ 2099 h 3678"/>
                <a:gd name="T22" fmla="*/ 333 w 3736"/>
                <a:gd name="T23" fmla="*/ 2613 h 3678"/>
                <a:gd name="T24" fmla="*/ 3524 w 3736"/>
                <a:gd name="T25" fmla="*/ 1966 h 3678"/>
                <a:gd name="T26" fmla="*/ 3542 w 3736"/>
                <a:gd name="T27" fmla="*/ 2077 h 3678"/>
                <a:gd name="T28" fmla="*/ 3622 w 3736"/>
                <a:gd name="T29" fmla="*/ 1998 h 3678"/>
                <a:gd name="T30" fmla="*/ 893 w 3736"/>
                <a:gd name="T31" fmla="*/ 1458 h 3678"/>
                <a:gd name="T32" fmla="*/ 1843 w 3736"/>
                <a:gd name="T33" fmla="*/ 2616 h 3678"/>
                <a:gd name="T34" fmla="*/ 1132 w 3736"/>
                <a:gd name="T35" fmla="*/ 2414 h 3678"/>
                <a:gd name="T36" fmla="*/ 954 w 3736"/>
                <a:gd name="T37" fmla="*/ 2256 h 3678"/>
                <a:gd name="T38" fmla="*/ 1082 w 3736"/>
                <a:gd name="T39" fmla="*/ 2271 h 3678"/>
                <a:gd name="T40" fmla="*/ 1271 w 3736"/>
                <a:gd name="T41" fmla="*/ 1557 h 3678"/>
                <a:gd name="T42" fmla="*/ 1360 w 3736"/>
                <a:gd name="T43" fmla="*/ 1601 h 3678"/>
                <a:gd name="T44" fmla="*/ 1958 w 3736"/>
                <a:gd name="T45" fmla="*/ 2171 h 3678"/>
                <a:gd name="T46" fmla="*/ 1525 w 3736"/>
                <a:gd name="T47" fmla="*/ 1457 h 3678"/>
                <a:gd name="T48" fmla="*/ 2749 w 3736"/>
                <a:gd name="T49" fmla="*/ 361 h 3678"/>
                <a:gd name="T50" fmla="*/ 3541 w 3736"/>
                <a:gd name="T51" fmla="*/ 1844 h 3678"/>
                <a:gd name="T52" fmla="*/ 1658 w 3736"/>
                <a:gd name="T53" fmla="*/ 1439 h 3678"/>
                <a:gd name="T54" fmla="*/ 2419 w 3736"/>
                <a:gd name="T55" fmla="*/ 427 h 3678"/>
                <a:gd name="T56" fmla="*/ 2498 w 3736"/>
                <a:gd name="T57" fmla="*/ 124 h 3678"/>
                <a:gd name="T58" fmla="*/ 2441 w 3736"/>
                <a:gd name="T59" fmla="*/ 287 h 3678"/>
                <a:gd name="T60" fmla="*/ 2599 w 3736"/>
                <a:gd name="T61" fmla="*/ 347 h 3678"/>
                <a:gd name="T62" fmla="*/ 2672 w 3736"/>
                <a:gd name="T63" fmla="*/ 256 h 3678"/>
                <a:gd name="T64" fmla="*/ 2625 w 3736"/>
                <a:gd name="T65" fmla="*/ 136 h 3678"/>
                <a:gd name="T66" fmla="*/ 2665 w 3736"/>
                <a:gd name="T67" fmla="*/ 28 h 3678"/>
                <a:gd name="T68" fmla="*/ 3734 w 3736"/>
                <a:gd name="T69" fmla="*/ 1986 h 3678"/>
                <a:gd name="T70" fmla="*/ 3646 w 3736"/>
                <a:gd name="T71" fmla="*/ 2170 h 3678"/>
                <a:gd name="T72" fmla="*/ 3580 w 3736"/>
                <a:gd name="T73" fmla="*/ 2724 h 3678"/>
                <a:gd name="T74" fmla="*/ 3180 w 3736"/>
                <a:gd name="T75" fmla="*/ 2918 h 3678"/>
                <a:gd name="T76" fmla="*/ 2865 w 3736"/>
                <a:gd name="T77" fmla="*/ 2826 h 3678"/>
                <a:gd name="T78" fmla="*/ 2459 w 3736"/>
                <a:gd name="T79" fmla="*/ 2397 h 3678"/>
                <a:gd name="T80" fmla="*/ 3431 w 3736"/>
                <a:gd name="T81" fmla="*/ 2200 h 3678"/>
                <a:gd name="T82" fmla="*/ 3506 w 3736"/>
                <a:gd name="T83" fmla="*/ 2183 h 3678"/>
                <a:gd name="T84" fmla="*/ 1983 w 3736"/>
                <a:gd name="T85" fmla="*/ 1926 h 3678"/>
                <a:gd name="T86" fmla="*/ 2073 w 3736"/>
                <a:gd name="T87" fmla="*/ 2433 h 3678"/>
                <a:gd name="T88" fmla="*/ 2059 w 3736"/>
                <a:gd name="T89" fmla="*/ 2469 h 3678"/>
                <a:gd name="T90" fmla="*/ 2043 w 3736"/>
                <a:gd name="T91" fmla="*/ 2482 h 3678"/>
                <a:gd name="T92" fmla="*/ 2024 w 3736"/>
                <a:gd name="T93" fmla="*/ 2489 h 3678"/>
                <a:gd name="T94" fmla="*/ 1942 w 3736"/>
                <a:gd name="T95" fmla="*/ 2705 h 3678"/>
                <a:gd name="T96" fmla="*/ 1890 w 3736"/>
                <a:gd name="T97" fmla="*/ 2857 h 3678"/>
                <a:gd name="T98" fmla="*/ 2177 w 3736"/>
                <a:gd name="T99" fmla="*/ 3030 h 3678"/>
                <a:gd name="T100" fmla="*/ 2238 w 3736"/>
                <a:gd name="T101" fmla="*/ 3367 h 3678"/>
                <a:gd name="T102" fmla="*/ 2032 w 3736"/>
                <a:gd name="T103" fmla="*/ 3630 h 3678"/>
                <a:gd name="T104" fmla="*/ 311 w 3736"/>
                <a:gd name="T105" fmla="*/ 3666 h 3678"/>
                <a:gd name="T106" fmla="*/ 49 w 3736"/>
                <a:gd name="T107" fmla="*/ 3460 h 3678"/>
                <a:gd name="T108" fmla="*/ 28 w 3736"/>
                <a:gd name="T109" fmla="*/ 3116 h 3678"/>
                <a:gd name="T110" fmla="*/ 263 w 3736"/>
                <a:gd name="T111" fmla="*/ 2882 h 3678"/>
                <a:gd name="T112" fmla="*/ 317 w 3736"/>
                <a:gd name="T113" fmla="*/ 2724 h 3678"/>
                <a:gd name="T114" fmla="*/ 178 w 3736"/>
                <a:gd name="T115" fmla="*/ 2553 h 3678"/>
                <a:gd name="T116" fmla="*/ 284 w 3736"/>
                <a:gd name="T117" fmla="*/ 1975 h 3678"/>
                <a:gd name="T118" fmla="*/ 740 w 3736"/>
                <a:gd name="T119" fmla="*/ 1477 h 3678"/>
                <a:gd name="T120" fmla="*/ 963 w 3736"/>
                <a:gd name="T121" fmla="*/ 1310 h 3678"/>
                <a:gd name="T122" fmla="*/ 2410 w 3736"/>
                <a:gd name="T123" fmla="*/ 48 h 3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6" h="3678">
                  <a:moveTo>
                    <a:pt x="413" y="2964"/>
                  </a:moveTo>
                  <a:lnTo>
                    <a:pt x="367" y="2968"/>
                  </a:lnTo>
                  <a:lnTo>
                    <a:pt x="325" y="2978"/>
                  </a:lnTo>
                  <a:lnTo>
                    <a:pt x="286" y="2993"/>
                  </a:lnTo>
                  <a:lnTo>
                    <a:pt x="248" y="3013"/>
                  </a:lnTo>
                  <a:lnTo>
                    <a:pt x="215" y="3039"/>
                  </a:lnTo>
                  <a:lnTo>
                    <a:pt x="185" y="3069"/>
                  </a:lnTo>
                  <a:lnTo>
                    <a:pt x="160" y="3102"/>
                  </a:lnTo>
                  <a:lnTo>
                    <a:pt x="139" y="3139"/>
                  </a:lnTo>
                  <a:lnTo>
                    <a:pt x="125" y="3179"/>
                  </a:lnTo>
                  <a:lnTo>
                    <a:pt x="114" y="3222"/>
                  </a:lnTo>
                  <a:lnTo>
                    <a:pt x="111" y="3266"/>
                  </a:lnTo>
                  <a:lnTo>
                    <a:pt x="114" y="3310"/>
                  </a:lnTo>
                  <a:lnTo>
                    <a:pt x="125" y="3352"/>
                  </a:lnTo>
                  <a:lnTo>
                    <a:pt x="139" y="3393"/>
                  </a:lnTo>
                  <a:lnTo>
                    <a:pt x="160" y="3430"/>
                  </a:lnTo>
                  <a:lnTo>
                    <a:pt x="185" y="3464"/>
                  </a:lnTo>
                  <a:lnTo>
                    <a:pt x="215" y="3493"/>
                  </a:lnTo>
                  <a:lnTo>
                    <a:pt x="248" y="3518"/>
                  </a:lnTo>
                  <a:lnTo>
                    <a:pt x="286" y="3538"/>
                  </a:lnTo>
                  <a:lnTo>
                    <a:pt x="325" y="3554"/>
                  </a:lnTo>
                  <a:lnTo>
                    <a:pt x="367" y="3563"/>
                  </a:lnTo>
                  <a:lnTo>
                    <a:pt x="413" y="3567"/>
                  </a:lnTo>
                  <a:lnTo>
                    <a:pt x="1838" y="3567"/>
                  </a:lnTo>
                  <a:lnTo>
                    <a:pt x="1882" y="3563"/>
                  </a:lnTo>
                  <a:lnTo>
                    <a:pt x="1925" y="3554"/>
                  </a:lnTo>
                  <a:lnTo>
                    <a:pt x="1965" y="3538"/>
                  </a:lnTo>
                  <a:lnTo>
                    <a:pt x="2002" y="3518"/>
                  </a:lnTo>
                  <a:lnTo>
                    <a:pt x="2035" y="3493"/>
                  </a:lnTo>
                  <a:lnTo>
                    <a:pt x="2065" y="3464"/>
                  </a:lnTo>
                  <a:lnTo>
                    <a:pt x="2091" y="3430"/>
                  </a:lnTo>
                  <a:lnTo>
                    <a:pt x="2111" y="3393"/>
                  </a:lnTo>
                  <a:lnTo>
                    <a:pt x="2126" y="3352"/>
                  </a:lnTo>
                  <a:lnTo>
                    <a:pt x="2136" y="3310"/>
                  </a:lnTo>
                  <a:lnTo>
                    <a:pt x="2140" y="3266"/>
                  </a:lnTo>
                  <a:lnTo>
                    <a:pt x="2136" y="3222"/>
                  </a:lnTo>
                  <a:lnTo>
                    <a:pt x="2126" y="3179"/>
                  </a:lnTo>
                  <a:lnTo>
                    <a:pt x="2111" y="3139"/>
                  </a:lnTo>
                  <a:lnTo>
                    <a:pt x="2091" y="3102"/>
                  </a:lnTo>
                  <a:lnTo>
                    <a:pt x="2065" y="3069"/>
                  </a:lnTo>
                  <a:lnTo>
                    <a:pt x="2035" y="3039"/>
                  </a:lnTo>
                  <a:lnTo>
                    <a:pt x="2002" y="3013"/>
                  </a:lnTo>
                  <a:lnTo>
                    <a:pt x="1965" y="2993"/>
                  </a:lnTo>
                  <a:lnTo>
                    <a:pt x="1925" y="2978"/>
                  </a:lnTo>
                  <a:lnTo>
                    <a:pt x="1882" y="2968"/>
                  </a:lnTo>
                  <a:lnTo>
                    <a:pt x="1838" y="2964"/>
                  </a:lnTo>
                  <a:lnTo>
                    <a:pt x="413" y="2964"/>
                  </a:lnTo>
                  <a:close/>
                  <a:moveTo>
                    <a:pt x="943" y="2727"/>
                  </a:moveTo>
                  <a:lnTo>
                    <a:pt x="943" y="2853"/>
                  </a:lnTo>
                  <a:lnTo>
                    <a:pt x="1307" y="2853"/>
                  </a:lnTo>
                  <a:lnTo>
                    <a:pt x="1307" y="2727"/>
                  </a:lnTo>
                  <a:lnTo>
                    <a:pt x="943" y="2727"/>
                  </a:lnTo>
                  <a:close/>
                  <a:moveTo>
                    <a:pt x="3407" y="2328"/>
                  </a:moveTo>
                  <a:lnTo>
                    <a:pt x="2754" y="2590"/>
                  </a:lnTo>
                  <a:lnTo>
                    <a:pt x="2936" y="2741"/>
                  </a:lnTo>
                  <a:lnTo>
                    <a:pt x="2970" y="2765"/>
                  </a:lnTo>
                  <a:lnTo>
                    <a:pt x="3005" y="2783"/>
                  </a:lnTo>
                  <a:lnTo>
                    <a:pt x="3042" y="2797"/>
                  </a:lnTo>
                  <a:lnTo>
                    <a:pt x="3081" y="2806"/>
                  </a:lnTo>
                  <a:lnTo>
                    <a:pt x="3121" y="2809"/>
                  </a:lnTo>
                  <a:lnTo>
                    <a:pt x="3161" y="2808"/>
                  </a:lnTo>
                  <a:lnTo>
                    <a:pt x="3201" y="2800"/>
                  </a:lnTo>
                  <a:lnTo>
                    <a:pt x="3240" y="2787"/>
                  </a:lnTo>
                  <a:lnTo>
                    <a:pt x="3429" y="2711"/>
                  </a:lnTo>
                  <a:lnTo>
                    <a:pt x="3452" y="2700"/>
                  </a:lnTo>
                  <a:lnTo>
                    <a:pt x="3470" y="2684"/>
                  </a:lnTo>
                  <a:lnTo>
                    <a:pt x="3485" y="2666"/>
                  </a:lnTo>
                  <a:lnTo>
                    <a:pt x="3496" y="2646"/>
                  </a:lnTo>
                  <a:lnTo>
                    <a:pt x="3504" y="2623"/>
                  </a:lnTo>
                  <a:lnTo>
                    <a:pt x="3506" y="2599"/>
                  </a:lnTo>
                  <a:lnTo>
                    <a:pt x="3504" y="2575"/>
                  </a:lnTo>
                  <a:lnTo>
                    <a:pt x="3497" y="2551"/>
                  </a:lnTo>
                  <a:lnTo>
                    <a:pt x="3407" y="2328"/>
                  </a:lnTo>
                  <a:close/>
                  <a:moveTo>
                    <a:pt x="353" y="2073"/>
                  </a:moveTo>
                  <a:lnTo>
                    <a:pt x="333" y="2076"/>
                  </a:lnTo>
                  <a:lnTo>
                    <a:pt x="315" y="2085"/>
                  </a:lnTo>
                  <a:lnTo>
                    <a:pt x="302" y="2099"/>
                  </a:lnTo>
                  <a:lnTo>
                    <a:pt x="292" y="2116"/>
                  </a:lnTo>
                  <a:lnTo>
                    <a:pt x="289" y="2136"/>
                  </a:lnTo>
                  <a:lnTo>
                    <a:pt x="289" y="2553"/>
                  </a:lnTo>
                  <a:lnTo>
                    <a:pt x="292" y="2572"/>
                  </a:lnTo>
                  <a:lnTo>
                    <a:pt x="302" y="2590"/>
                  </a:lnTo>
                  <a:lnTo>
                    <a:pt x="315" y="2604"/>
                  </a:lnTo>
                  <a:lnTo>
                    <a:pt x="333" y="2613"/>
                  </a:lnTo>
                  <a:lnTo>
                    <a:pt x="353" y="2616"/>
                  </a:lnTo>
                  <a:lnTo>
                    <a:pt x="713" y="2616"/>
                  </a:lnTo>
                  <a:lnTo>
                    <a:pt x="713" y="2073"/>
                  </a:lnTo>
                  <a:lnTo>
                    <a:pt x="353" y="2073"/>
                  </a:lnTo>
                  <a:close/>
                  <a:moveTo>
                    <a:pt x="3562" y="1955"/>
                  </a:moveTo>
                  <a:lnTo>
                    <a:pt x="3542" y="1957"/>
                  </a:lnTo>
                  <a:lnTo>
                    <a:pt x="3524" y="1966"/>
                  </a:lnTo>
                  <a:lnTo>
                    <a:pt x="3511" y="1980"/>
                  </a:lnTo>
                  <a:lnTo>
                    <a:pt x="3502" y="1998"/>
                  </a:lnTo>
                  <a:lnTo>
                    <a:pt x="3498" y="2017"/>
                  </a:lnTo>
                  <a:lnTo>
                    <a:pt x="3502" y="2038"/>
                  </a:lnTo>
                  <a:lnTo>
                    <a:pt x="3511" y="2055"/>
                  </a:lnTo>
                  <a:lnTo>
                    <a:pt x="3524" y="2068"/>
                  </a:lnTo>
                  <a:lnTo>
                    <a:pt x="3542" y="2077"/>
                  </a:lnTo>
                  <a:lnTo>
                    <a:pt x="3562" y="2081"/>
                  </a:lnTo>
                  <a:lnTo>
                    <a:pt x="3582" y="2077"/>
                  </a:lnTo>
                  <a:lnTo>
                    <a:pt x="3599" y="2068"/>
                  </a:lnTo>
                  <a:lnTo>
                    <a:pt x="3613" y="2055"/>
                  </a:lnTo>
                  <a:lnTo>
                    <a:pt x="3622" y="2038"/>
                  </a:lnTo>
                  <a:lnTo>
                    <a:pt x="3625" y="2017"/>
                  </a:lnTo>
                  <a:lnTo>
                    <a:pt x="3622" y="1998"/>
                  </a:lnTo>
                  <a:lnTo>
                    <a:pt x="3613" y="1980"/>
                  </a:lnTo>
                  <a:lnTo>
                    <a:pt x="3599" y="1966"/>
                  </a:lnTo>
                  <a:lnTo>
                    <a:pt x="3582" y="1957"/>
                  </a:lnTo>
                  <a:lnTo>
                    <a:pt x="3562" y="1955"/>
                  </a:lnTo>
                  <a:close/>
                  <a:moveTo>
                    <a:pt x="950" y="1428"/>
                  </a:moveTo>
                  <a:lnTo>
                    <a:pt x="921" y="1441"/>
                  </a:lnTo>
                  <a:lnTo>
                    <a:pt x="893" y="1458"/>
                  </a:lnTo>
                  <a:lnTo>
                    <a:pt x="871" y="1481"/>
                  </a:lnTo>
                  <a:lnTo>
                    <a:pt x="851" y="1507"/>
                  </a:lnTo>
                  <a:lnTo>
                    <a:pt x="837" y="1536"/>
                  </a:lnTo>
                  <a:lnTo>
                    <a:pt x="828" y="1568"/>
                  </a:lnTo>
                  <a:lnTo>
                    <a:pt x="824" y="1601"/>
                  </a:lnTo>
                  <a:lnTo>
                    <a:pt x="824" y="2616"/>
                  </a:lnTo>
                  <a:lnTo>
                    <a:pt x="1843" y="2616"/>
                  </a:lnTo>
                  <a:lnTo>
                    <a:pt x="1843" y="2489"/>
                  </a:lnTo>
                  <a:lnTo>
                    <a:pt x="1556" y="2489"/>
                  </a:lnTo>
                  <a:lnTo>
                    <a:pt x="1468" y="2487"/>
                  </a:lnTo>
                  <a:lnTo>
                    <a:pt x="1382" y="2478"/>
                  </a:lnTo>
                  <a:lnTo>
                    <a:pt x="1297" y="2462"/>
                  </a:lnTo>
                  <a:lnTo>
                    <a:pt x="1213" y="2441"/>
                  </a:lnTo>
                  <a:lnTo>
                    <a:pt x="1132" y="2414"/>
                  </a:lnTo>
                  <a:lnTo>
                    <a:pt x="1050" y="2382"/>
                  </a:lnTo>
                  <a:lnTo>
                    <a:pt x="1026" y="2369"/>
                  </a:lnTo>
                  <a:lnTo>
                    <a:pt x="1005" y="2352"/>
                  </a:lnTo>
                  <a:lnTo>
                    <a:pt x="985" y="2331"/>
                  </a:lnTo>
                  <a:lnTo>
                    <a:pt x="971" y="2309"/>
                  </a:lnTo>
                  <a:lnTo>
                    <a:pt x="960" y="2284"/>
                  </a:lnTo>
                  <a:lnTo>
                    <a:pt x="954" y="2256"/>
                  </a:lnTo>
                  <a:lnTo>
                    <a:pt x="950" y="2228"/>
                  </a:lnTo>
                  <a:lnTo>
                    <a:pt x="950" y="1428"/>
                  </a:lnTo>
                  <a:close/>
                  <a:moveTo>
                    <a:pt x="1062" y="1419"/>
                  </a:moveTo>
                  <a:lnTo>
                    <a:pt x="1062" y="2228"/>
                  </a:lnTo>
                  <a:lnTo>
                    <a:pt x="1065" y="2245"/>
                  </a:lnTo>
                  <a:lnTo>
                    <a:pt x="1071" y="2259"/>
                  </a:lnTo>
                  <a:lnTo>
                    <a:pt x="1082" y="2271"/>
                  </a:lnTo>
                  <a:lnTo>
                    <a:pt x="1095" y="2280"/>
                  </a:lnTo>
                  <a:lnTo>
                    <a:pt x="1171" y="2311"/>
                  </a:lnTo>
                  <a:lnTo>
                    <a:pt x="1248" y="2335"/>
                  </a:lnTo>
                  <a:lnTo>
                    <a:pt x="1248" y="1601"/>
                  </a:lnTo>
                  <a:lnTo>
                    <a:pt x="1251" y="1584"/>
                  </a:lnTo>
                  <a:lnTo>
                    <a:pt x="1259" y="1568"/>
                  </a:lnTo>
                  <a:lnTo>
                    <a:pt x="1271" y="1557"/>
                  </a:lnTo>
                  <a:lnTo>
                    <a:pt x="1286" y="1549"/>
                  </a:lnTo>
                  <a:lnTo>
                    <a:pt x="1304" y="1545"/>
                  </a:lnTo>
                  <a:lnTo>
                    <a:pt x="1321" y="1549"/>
                  </a:lnTo>
                  <a:lnTo>
                    <a:pt x="1337" y="1557"/>
                  </a:lnTo>
                  <a:lnTo>
                    <a:pt x="1348" y="1568"/>
                  </a:lnTo>
                  <a:lnTo>
                    <a:pt x="1356" y="1584"/>
                  </a:lnTo>
                  <a:lnTo>
                    <a:pt x="1360" y="1601"/>
                  </a:lnTo>
                  <a:lnTo>
                    <a:pt x="1360" y="2361"/>
                  </a:lnTo>
                  <a:lnTo>
                    <a:pt x="1424" y="2370"/>
                  </a:lnTo>
                  <a:lnTo>
                    <a:pt x="1490" y="2376"/>
                  </a:lnTo>
                  <a:lnTo>
                    <a:pt x="1556" y="2378"/>
                  </a:lnTo>
                  <a:lnTo>
                    <a:pt x="1961" y="2378"/>
                  </a:lnTo>
                  <a:lnTo>
                    <a:pt x="1961" y="2221"/>
                  </a:lnTo>
                  <a:lnTo>
                    <a:pt x="1958" y="2171"/>
                  </a:lnTo>
                  <a:lnTo>
                    <a:pt x="1949" y="2123"/>
                  </a:lnTo>
                  <a:lnTo>
                    <a:pt x="1936" y="2076"/>
                  </a:lnTo>
                  <a:lnTo>
                    <a:pt x="1915" y="2031"/>
                  </a:lnTo>
                  <a:lnTo>
                    <a:pt x="1890" y="1988"/>
                  </a:lnTo>
                  <a:lnTo>
                    <a:pt x="1566" y="1500"/>
                  </a:lnTo>
                  <a:lnTo>
                    <a:pt x="1547" y="1477"/>
                  </a:lnTo>
                  <a:lnTo>
                    <a:pt x="1525" y="1457"/>
                  </a:lnTo>
                  <a:lnTo>
                    <a:pt x="1500" y="1441"/>
                  </a:lnTo>
                  <a:lnTo>
                    <a:pt x="1473" y="1428"/>
                  </a:lnTo>
                  <a:lnTo>
                    <a:pt x="1445" y="1422"/>
                  </a:lnTo>
                  <a:lnTo>
                    <a:pt x="1414" y="1419"/>
                  </a:lnTo>
                  <a:lnTo>
                    <a:pt x="1062" y="1419"/>
                  </a:lnTo>
                  <a:close/>
                  <a:moveTo>
                    <a:pt x="2753" y="353"/>
                  </a:moveTo>
                  <a:lnTo>
                    <a:pt x="2749" y="361"/>
                  </a:lnTo>
                  <a:lnTo>
                    <a:pt x="2571" y="659"/>
                  </a:lnTo>
                  <a:lnTo>
                    <a:pt x="3419" y="1917"/>
                  </a:lnTo>
                  <a:lnTo>
                    <a:pt x="3437" y="1895"/>
                  </a:lnTo>
                  <a:lnTo>
                    <a:pt x="3460" y="1876"/>
                  </a:lnTo>
                  <a:lnTo>
                    <a:pt x="3485" y="1861"/>
                  </a:lnTo>
                  <a:lnTo>
                    <a:pt x="3512" y="1850"/>
                  </a:lnTo>
                  <a:lnTo>
                    <a:pt x="3541" y="1844"/>
                  </a:lnTo>
                  <a:lnTo>
                    <a:pt x="2753" y="353"/>
                  </a:lnTo>
                  <a:close/>
                  <a:moveTo>
                    <a:pt x="2334" y="320"/>
                  </a:moveTo>
                  <a:lnTo>
                    <a:pt x="1562" y="1348"/>
                  </a:lnTo>
                  <a:lnTo>
                    <a:pt x="1590" y="1366"/>
                  </a:lnTo>
                  <a:lnTo>
                    <a:pt x="1616" y="1387"/>
                  </a:lnTo>
                  <a:lnTo>
                    <a:pt x="1638" y="1411"/>
                  </a:lnTo>
                  <a:lnTo>
                    <a:pt x="1658" y="1439"/>
                  </a:lnTo>
                  <a:lnTo>
                    <a:pt x="1827" y="1690"/>
                  </a:lnTo>
                  <a:lnTo>
                    <a:pt x="2555" y="467"/>
                  </a:lnTo>
                  <a:lnTo>
                    <a:pt x="2551" y="467"/>
                  </a:lnTo>
                  <a:lnTo>
                    <a:pt x="2515" y="465"/>
                  </a:lnTo>
                  <a:lnTo>
                    <a:pt x="2481" y="457"/>
                  </a:lnTo>
                  <a:lnTo>
                    <a:pt x="2448" y="444"/>
                  </a:lnTo>
                  <a:lnTo>
                    <a:pt x="2419" y="427"/>
                  </a:lnTo>
                  <a:lnTo>
                    <a:pt x="2391" y="405"/>
                  </a:lnTo>
                  <a:lnTo>
                    <a:pt x="2369" y="380"/>
                  </a:lnTo>
                  <a:lnTo>
                    <a:pt x="2349" y="351"/>
                  </a:lnTo>
                  <a:lnTo>
                    <a:pt x="2334" y="320"/>
                  </a:lnTo>
                  <a:close/>
                  <a:moveTo>
                    <a:pt x="2551" y="111"/>
                  </a:moveTo>
                  <a:lnTo>
                    <a:pt x="2523" y="115"/>
                  </a:lnTo>
                  <a:lnTo>
                    <a:pt x="2498" y="124"/>
                  </a:lnTo>
                  <a:lnTo>
                    <a:pt x="2475" y="138"/>
                  </a:lnTo>
                  <a:lnTo>
                    <a:pt x="2456" y="157"/>
                  </a:lnTo>
                  <a:lnTo>
                    <a:pt x="2441" y="180"/>
                  </a:lnTo>
                  <a:lnTo>
                    <a:pt x="2432" y="205"/>
                  </a:lnTo>
                  <a:lnTo>
                    <a:pt x="2429" y="234"/>
                  </a:lnTo>
                  <a:lnTo>
                    <a:pt x="2432" y="262"/>
                  </a:lnTo>
                  <a:lnTo>
                    <a:pt x="2441" y="287"/>
                  </a:lnTo>
                  <a:lnTo>
                    <a:pt x="2456" y="311"/>
                  </a:lnTo>
                  <a:lnTo>
                    <a:pt x="2475" y="329"/>
                  </a:lnTo>
                  <a:lnTo>
                    <a:pt x="2498" y="344"/>
                  </a:lnTo>
                  <a:lnTo>
                    <a:pt x="2523" y="353"/>
                  </a:lnTo>
                  <a:lnTo>
                    <a:pt x="2551" y="356"/>
                  </a:lnTo>
                  <a:lnTo>
                    <a:pt x="2576" y="354"/>
                  </a:lnTo>
                  <a:lnTo>
                    <a:pt x="2599" y="347"/>
                  </a:lnTo>
                  <a:lnTo>
                    <a:pt x="2619" y="336"/>
                  </a:lnTo>
                  <a:lnTo>
                    <a:pt x="2638" y="321"/>
                  </a:lnTo>
                  <a:lnTo>
                    <a:pt x="2653" y="303"/>
                  </a:lnTo>
                  <a:lnTo>
                    <a:pt x="2656" y="298"/>
                  </a:lnTo>
                  <a:lnTo>
                    <a:pt x="2657" y="297"/>
                  </a:lnTo>
                  <a:lnTo>
                    <a:pt x="2666" y="278"/>
                  </a:lnTo>
                  <a:lnTo>
                    <a:pt x="2672" y="256"/>
                  </a:lnTo>
                  <a:lnTo>
                    <a:pt x="2674" y="234"/>
                  </a:lnTo>
                  <a:lnTo>
                    <a:pt x="2672" y="210"/>
                  </a:lnTo>
                  <a:lnTo>
                    <a:pt x="2665" y="187"/>
                  </a:lnTo>
                  <a:lnTo>
                    <a:pt x="2661" y="180"/>
                  </a:lnTo>
                  <a:lnTo>
                    <a:pt x="2658" y="174"/>
                  </a:lnTo>
                  <a:lnTo>
                    <a:pt x="2643" y="153"/>
                  </a:lnTo>
                  <a:lnTo>
                    <a:pt x="2625" y="136"/>
                  </a:lnTo>
                  <a:lnTo>
                    <a:pt x="2603" y="123"/>
                  </a:lnTo>
                  <a:lnTo>
                    <a:pt x="2579" y="115"/>
                  </a:lnTo>
                  <a:lnTo>
                    <a:pt x="2551" y="111"/>
                  </a:lnTo>
                  <a:close/>
                  <a:moveTo>
                    <a:pt x="2551" y="0"/>
                  </a:moveTo>
                  <a:lnTo>
                    <a:pt x="2591" y="3"/>
                  </a:lnTo>
                  <a:lnTo>
                    <a:pt x="2630" y="12"/>
                  </a:lnTo>
                  <a:lnTo>
                    <a:pt x="2665" y="28"/>
                  </a:lnTo>
                  <a:lnTo>
                    <a:pt x="2696" y="50"/>
                  </a:lnTo>
                  <a:lnTo>
                    <a:pt x="2724" y="75"/>
                  </a:lnTo>
                  <a:lnTo>
                    <a:pt x="2747" y="106"/>
                  </a:lnTo>
                  <a:lnTo>
                    <a:pt x="2766" y="138"/>
                  </a:lnTo>
                  <a:lnTo>
                    <a:pt x="3713" y="1930"/>
                  </a:lnTo>
                  <a:lnTo>
                    <a:pt x="3726" y="1957"/>
                  </a:lnTo>
                  <a:lnTo>
                    <a:pt x="3734" y="1986"/>
                  </a:lnTo>
                  <a:lnTo>
                    <a:pt x="3736" y="2017"/>
                  </a:lnTo>
                  <a:lnTo>
                    <a:pt x="3733" y="2050"/>
                  </a:lnTo>
                  <a:lnTo>
                    <a:pt x="3725" y="2080"/>
                  </a:lnTo>
                  <a:lnTo>
                    <a:pt x="3711" y="2108"/>
                  </a:lnTo>
                  <a:lnTo>
                    <a:pt x="3693" y="2132"/>
                  </a:lnTo>
                  <a:lnTo>
                    <a:pt x="3672" y="2153"/>
                  </a:lnTo>
                  <a:lnTo>
                    <a:pt x="3646" y="2170"/>
                  </a:lnTo>
                  <a:lnTo>
                    <a:pt x="3617" y="2183"/>
                  </a:lnTo>
                  <a:lnTo>
                    <a:pt x="3617" y="2612"/>
                  </a:lnTo>
                  <a:lnTo>
                    <a:pt x="3617" y="2620"/>
                  </a:lnTo>
                  <a:lnTo>
                    <a:pt x="3616" y="2626"/>
                  </a:lnTo>
                  <a:lnTo>
                    <a:pt x="3609" y="2660"/>
                  </a:lnTo>
                  <a:lnTo>
                    <a:pt x="3597" y="2693"/>
                  </a:lnTo>
                  <a:lnTo>
                    <a:pt x="3580" y="2724"/>
                  </a:lnTo>
                  <a:lnTo>
                    <a:pt x="3559" y="2752"/>
                  </a:lnTo>
                  <a:lnTo>
                    <a:pt x="3533" y="2777"/>
                  </a:lnTo>
                  <a:lnTo>
                    <a:pt x="3504" y="2799"/>
                  </a:lnTo>
                  <a:lnTo>
                    <a:pt x="3471" y="2815"/>
                  </a:lnTo>
                  <a:lnTo>
                    <a:pt x="3282" y="2891"/>
                  </a:lnTo>
                  <a:lnTo>
                    <a:pt x="3231" y="2908"/>
                  </a:lnTo>
                  <a:lnTo>
                    <a:pt x="3180" y="2918"/>
                  </a:lnTo>
                  <a:lnTo>
                    <a:pt x="3127" y="2920"/>
                  </a:lnTo>
                  <a:lnTo>
                    <a:pt x="3081" y="2918"/>
                  </a:lnTo>
                  <a:lnTo>
                    <a:pt x="3034" y="2910"/>
                  </a:lnTo>
                  <a:lnTo>
                    <a:pt x="2989" y="2896"/>
                  </a:lnTo>
                  <a:lnTo>
                    <a:pt x="2946" y="2878"/>
                  </a:lnTo>
                  <a:lnTo>
                    <a:pt x="2904" y="2855"/>
                  </a:lnTo>
                  <a:lnTo>
                    <a:pt x="2865" y="2826"/>
                  </a:lnTo>
                  <a:lnTo>
                    <a:pt x="2454" y="2487"/>
                  </a:lnTo>
                  <a:lnTo>
                    <a:pt x="2442" y="2474"/>
                  </a:lnTo>
                  <a:lnTo>
                    <a:pt x="2436" y="2458"/>
                  </a:lnTo>
                  <a:lnTo>
                    <a:pt x="2433" y="2441"/>
                  </a:lnTo>
                  <a:lnTo>
                    <a:pt x="2438" y="2424"/>
                  </a:lnTo>
                  <a:lnTo>
                    <a:pt x="2447" y="2409"/>
                  </a:lnTo>
                  <a:lnTo>
                    <a:pt x="2459" y="2397"/>
                  </a:lnTo>
                  <a:lnTo>
                    <a:pt x="2475" y="2390"/>
                  </a:lnTo>
                  <a:lnTo>
                    <a:pt x="2492" y="2388"/>
                  </a:lnTo>
                  <a:lnTo>
                    <a:pt x="2509" y="2393"/>
                  </a:lnTo>
                  <a:lnTo>
                    <a:pt x="2525" y="2402"/>
                  </a:lnTo>
                  <a:lnTo>
                    <a:pt x="2656" y="2509"/>
                  </a:lnTo>
                  <a:lnTo>
                    <a:pt x="3418" y="2203"/>
                  </a:lnTo>
                  <a:lnTo>
                    <a:pt x="3431" y="2200"/>
                  </a:lnTo>
                  <a:lnTo>
                    <a:pt x="3446" y="2200"/>
                  </a:lnTo>
                  <a:lnTo>
                    <a:pt x="3460" y="2204"/>
                  </a:lnTo>
                  <a:lnTo>
                    <a:pt x="3472" y="2211"/>
                  </a:lnTo>
                  <a:lnTo>
                    <a:pt x="3482" y="2221"/>
                  </a:lnTo>
                  <a:lnTo>
                    <a:pt x="3490" y="2235"/>
                  </a:lnTo>
                  <a:lnTo>
                    <a:pt x="3506" y="2275"/>
                  </a:lnTo>
                  <a:lnTo>
                    <a:pt x="3506" y="2183"/>
                  </a:lnTo>
                  <a:lnTo>
                    <a:pt x="3478" y="2170"/>
                  </a:lnTo>
                  <a:lnTo>
                    <a:pt x="3452" y="2152"/>
                  </a:lnTo>
                  <a:lnTo>
                    <a:pt x="3429" y="2131"/>
                  </a:lnTo>
                  <a:lnTo>
                    <a:pt x="3411" y="2106"/>
                  </a:lnTo>
                  <a:lnTo>
                    <a:pt x="2507" y="766"/>
                  </a:lnTo>
                  <a:lnTo>
                    <a:pt x="1895" y="1794"/>
                  </a:lnTo>
                  <a:lnTo>
                    <a:pt x="1983" y="1926"/>
                  </a:lnTo>
                  <a:lnTo>
                    <a:pt x="2010" y="1971"/>
                  </a:lnTo>
                  <a:lnTo>
                    <a:pt x="2032" y="2018"/>
                  </a:lnTo>
                  <a:lnTo>
                    <a:pt x="2050" y="2067"/>
                  </a:lnTo>
                  <a:lnTo>
                    <a:pt x="2063" y="2117"/>
                  </a:lnTo>
                  <a:lnTo>
                    <a:pt x="2069" y="2168"/>
                  </a:lnTo>
                  <a:lnTo>
                    <a:pt x="2073" y="2221"/>
                  </a:lnTo>
                  <a:lnTo>
                    <a:pt x="2073" y="2433"/>
                  </a:lnTo>
                  <a:lnTo>
                    <a:pt x="2072" y="2441"/>
                  </a:lnTo>
                  <a:lnTo>
                    <a:pt x="2069" y="2452"/>
                  </a:lnTo>
                  <a:lnTo>
                    <a:pt x="2066" y="2460"/>
                  </a:lnTo>
                  <a:lnTo>
                    <a:pt x="2064" y="2463"/>
                  </a:lnTo>
                  <a:lnTo>
                    <a:pt x="2063" y="2465"/>
                  </a:lnTo>
                  <a:lnTo>
                    <a:pt x="2060" y="2469"/>
                  </a:lnTo>
                  <a:lnTo>
                    <a:pt x="2059" y="2469"/>
                  </a:lnTo>
                  <a:lnTo>
                    <a:pt x="2058" y="2471"/>
                  </a:lnTo>
                  <a:lnTo>
                    <a:pt x="2056" y="2473"/>
                  </a:lnTo>
                  <a:lnTo>
                    <a:pt x="2055" y="2474"/>
                  </a:lnTo>
                  <a:lnTo>
                    <a:pt x="2052" y="2477"/>
                  </a:lnTo>
                  <a:lnTo>
                    <a:pt x="2050" y="2478"/>
                  </a:lnTo>
                  <a:lnTo>
                    <a:pt x="2048" y="2480"/>
                  </a:lnTo>
                  <a:lnTo>
                    <a:pt x="2043" y="2482"/>
                  </a:lnTo>
                  <a:lnTo>
                    <a:pt x="2039" y="2485"/>
                  </a:lnTo>
                  <a:lnTo>
                    <a:pt x="2039" y="2485"/>
                  </a:lnTo>
                  <a:lnTo>
                    <a:pt x="2035" y="2486"/>
                  </a:lnTo>
                  <a:lnTo>
                    <a:pt x="2033" y="2487"/>
                  </a:lnTo>
                  <a:lnTo>
                    <a:pt x="2031" y="2488"/>
                  </a:lnTo>
                  <a:lnTo>
                    <a:pt x="2027" y="2488"/>
                  </a:lnTo>
                  <a:lnTo>
                    <a:pt x="2024" y="2489"/>
                  </a:lnTo>
                  <a:lnTo>
                    <a:pt x="2023" y="2489"/>
                  </a:lnTo>
                  <a:lnTo>
                    <a:pt x="2019" y="2489"/>
                  </a:lnTo>
                  <a:lnTo>
                    <a:pt x="2017" y="2489"/>
                  </a:lnTo>
                  <a:lnTo>
                    <a:pt x="1954" y="2489"/>
                  </a:lnTo>
                  <a:lnTo>
                    <a:pt x="1954" y="2672"/>
                  </a:lnTo>
                  <a:lnTo>
                    <a:pt x="1950" y="2689"/>
                  </a:lnTo>
                  <a:lnTo>
                    <a:pt x="1942" y="2705"/>
                  </a:lnTo>
                  <a:lnTo>
                    <a:pt x="1931" y="2716"/>
                  </a:lnTo>
                  <a:lnTo>
                    <a:pt x="1915" y="2724"/>
                  </a:lnTo>
                  <a:lnTo>
                    <a:pt x="1898" y="2727"/>
                  </a:lnTo>
                  <a:lnTo>
                    <a:pt x="1418" y="2727"/>
                  </a:lnTo>
                  <a:lnTo>
                    <a:pt x="1418" y="2853"/>
                  </a:lnTo>
                  <a:lnTo>
                    <a:pt x="1838" y="2853"/>
                  </a:lnTo>
                  <a:lnTo>
                    <a:pt x="1890" y="2857"/>
                  </a:lnTo>
                  <a:lnTo>
                    <a:pt x="1940" y="2866"/>
                  </a:lnTo>
                  <a:lnTo>
                    <a:pt x="1988" y="2882"/>
                  </a:lnTo>
                  <a:lnTo>
                    <a:pt x="2032" y="2902"/>
                  </a:lnTo>
                  <a:lnTo>
                    <a:pt x="2074" y="2927"/>
                  </a:lnTo>
                  <a:lnTo>
                    <a:pt x="2112" y="2958"/>
                  </a:lnTo>
                  <a:lnTo>
                    <a:pt x="2146" y="2992"/>
                  </a:lnTo>
                  <a:lnTo>
                    <a:pt x="2177" y="3030"/>
                  </a:lnTo>
                  <a:lnTo>
                    <a:pt x="2202" y="3072"/>
                  </a:lnTo>
                  <a:lnTo>
                    <a:pt x="2222" y="3116"/>
                  </a:lnTo>
                  <a:lnTo>
                    <a:pt x="2238" y="3164"/>
                  </a:lnTo>
                  <a:lnTo>
                    <a:pt x="2247" y="3214"/>
                  </a:lnTo>
                  <a:lnTo>
                    <a:pt x="2251" y="3266"/>
                  </a:lnTo>
                  <a:lnTo>
                    <a:pt x="2247" y="3317"/>
                  </a:lnTo>
                  <a:lnTo>
                    <a:pt x="2238" y="3367"/>
                  </a:lnTo>
                  <a:lnTo>
                    <a:pt x="2222" y="3415"/>
                  </a:lnTo>
                  <a:lnTo>
                    <a:pt x="2202" y="3460"/>
                  </a:lnTo>
                  <a:lnTo>
                    <a:pt x="2177" y="3501"/>
                  </a:lnTo>
                  <a:lnTo>
                    <a:pt x="2146" y="3540"/>
                  </a:lnTo>
                  <a:lnTo>
                    <a:pt x="2112" y="3574"/>
                  </a:lnTo>
                  <a:lnTo>
                    <a:pt x="2074" y="3604"/>
                  </a:lnTo>
                  <a:lnTo>
                    <a:pt x="2032" y="3630"/>
                  </a:lnTo>
                  <a:lnTo>
                    <a:pt x="1988" y="3651"/>
                  </a:lnTo>
                  <a:lnTo>
                    <a:pt x="1940" y="3666"/>
                  </a:lnTo>
                  <a:lnTo>
                    <a:pt x="1890" y="3676"/>
                  </a:lnTo>
                  <a:lnTo>
                    <a:pt x="1838" y="3678"/>
                  </a:lnTo>
                  <a:lnTo>
                    <a:pt x="413" y="3678"/>
                  </a:lnTo>
                  <a:lnTo>
                    <a:pt x="360" y="3676"/>
                  </a:lnTo>
                  <a:lnTo>
                    <a:pt x="311" y="3666"/>
                  </a:lnTo>
                  <a:lnTo>
                    <a:pt x="263" y="3651"/>
                  </a:lnTo>
                  <a:lnTo>
                    <a:pt x="219" y="3630"/>
                  </a:lnTo>
                  <a:lnTo>
                    <a:pt x="177" y="3604"/>
                  </a:lnTo>
                  <a:lnTo>
                    <a:pt x="138" y="3574"/>
                  </a:lnTo>
                  <a:lnTo>
                    <a:pt x="104" y="3540"/>
                  </a:lnTo>
                  <a:lnTo>
                    <a:pt x="74" y="3501"/>
                  </a:lnTo>
                  <a:lnTo>
                    <a:pt x="49" y="3460"/>
                  </a:lnTo>
                  <a:lnTo>
                    <a:pt x="28" y="3415"/>
                  </a:lnTo>
                  <a:lnTo>
                    <a:pt x="12" y="3367"/>
                  </a:lnTo>
                  <a:lnTo>
                    <a:pt x="3" y="3317"/>
                  </a:lnTo>
                  <a:lnTo>
                    <a:pt x="0" y="3266"/>
                  </a:lnTo>
                  <a:lnTo>
                    <a:pt x="3" y="3214"/>
                  </a:lnTo>
                  <a:lnTo>
                    <a:pt x="12" y="3164"/>
                  </a:lnTo>
                  <a:lnTo>
                    <a:pt x="28" y="3116"/>
                  </a:lnTo>
                  <a:lnTo>
                    <a:pt x="49" y="3072"/>
                  </a:lnTo>
                  <a:lnTo>
                    <a:pt x="74" y="3030"/>
                  </a:lnTo>
                  <a:lnTo>
                    <a:pt x="104" y="2992"/>
                  </a:lnTo>
                  <a:lnTo>
                    <a:pt x="138" y="2958"/>
                  </a:lnTo>
                  <a:lnTo>
                    <a:pt x="177" y="2927"/>
                  </a:lnTo>
                  <a:lnTo>
                    <a:pt x="219" y="2902"/>
                  </a:lnTo>
                  <a:lnTo>
                    <a:pt x="263" y="2882"/>
                  </a:lnTo>
                  <a:lnTo>
                    <a:pt x="311" y="2866"/>
                  </a:lnTo>
                  <a:lnTo>
                    <a:pt x="360" y="2857"/>
                  </a:lnTo>
                  <a:lnTo>
                    <a:pt x="413" y="2853"/>
                  </a:lnTo>
                  <a:lnTo>
                    <a:pt x="832" y="2853"/>
                  </a:lnTo>
                  <a:lnTo>
                    <a:pt x="832" y="2727"/>
                  </a:lnTo>
                  <a:lnTo>
                    <a:pt x="353" y="2727"/>
                  </a:lnTo>
                  <a:lnTo>
                    <a:pt x="317" y="2724"/>
                  </a:lnTo>
                  <a:lnTo>
                    <a:pt x="284" y="2714"/>
                  </a:lnTo>
                  <a:lnTo>
                    <a:pt x="255" y="2698"/>
                  </a:lnTo>
                  <a:lnTo>
                    <a:pt x="229" y="2676"/>
                  </a:lnTo>
                  <a:lnTo>
                    <a:pt x="209" y="2650"/>
                  </a:lnTo>
                  <a:lnTo>
                    <a:pt x="192" y="2621"/>
                  </a:lnTo>
                  <a:lnTo>
                    <a:pt x="181" y="2588"/>
                  </a:lnTo>
                  <a:lnTo>
                    <a:pt x="178" y="2553"/>
                  </a:lnTo>
                  <a:lnTo>
                    <a:pt x="178" y="2136"/>
                  </a:lnTo>
                  <a:lnTo>
                    <a:pt x="181" y="2101"/>
                  </a:lnTo>
                  <a:lnTo>
                    <a:pt x="192" y="2068"/>
                  </a:lnTo>
                  <a:lnTo>
                    <a:pt x="209" y="2039"/>
                  </a:lnTo>
                  <a:lnTo>
                    <a:pt x="229" y="2013"/>
                  </a:lnTo>
                  <a:lnTo>
                    <a:pt x="255" y="1991"/>
                  </a:lnTo>
                  <a:lnTo>
                    <a:pt x="284" y="1975"/>
                  </a:lnTo>
                  <a:lnTo>
                    <a:pt x="317" y="1965"/>
                  </a:lnTo>
                  <a:lnTo>
                    <a:pt x="353" y="1962"/>
                  </a:lnTo>
                  <a:lnTo>
                    <a:pt x="713" y="1962"/>
                  </a:lnTo>
                  <a:lnTo>
                    <a:pt x="713" y="1601"/>
                  </a:lnTo>
                  <a:lnTo>
                    <a:pt x="717" y="1558"/>
                  </a:lnTo>
                  <a:lnTo>
                    <a:pt x="726" y="1517"/>
                  </a:lnTo>
                  <a:lnTo>
                    <a:pt x="740" y="1477"/>
                  </a:lnTo>
                  <a:lnTo>
                    <a:pt x="761" y="1442"/>
                  </a:lnTo>
                  <a:lnTo>
                    <a:pt x="785" y="1409"/>
                  </a:lnTo>
                  <a:lnTo>
                    <a:pt x="814" y="1380"/>
                  </a:lnTo>
                  <a:lnTo>
                    <a:pt x="847" y="1355"/>
                  </a:lnTo>
                  <a:lnTo>
                    <a:pt x="883" y="1335"/>
                  </a:lnTo>
                  <a:lnTo>
                    <a:pt x="922" y="1321"/>
                  </a:lnTo>
                  <a:lnTo>
                    <a:pt x="963" y="1310"/>
                  </a:lnTo>
                  <a:lnTo>
                    <a:pt x="1007" y="1308"/>
                  </a:lnTo>
                  <a:lnTo>
                    <a:pt x="1414" y="1308"/>
                  </a:lnTo>
                  <a:lnTo>
                    <a:pt x="1452" y="1310"/>
                  </a:lnTo>
                  <a:lnTo>
                    <a:pt x="2359" y="101"/>
                  </a:lnTo>
                  <a:lnTo>
                    <a:pt x="2359" y="101"/>
                  </a:lnTo>
                  <a:lnTo>
                    <a:pt x="2382" y="73"/>
                  </a:lnTo>
                  <a:lnTo>
                    <a:pt x="2410" y="48"/>
                  </a:lnTo>
                  <a:lnTo>
                    <a:pt x="2441" y="27"/>
                  </a:lnTo>
                  <a:lnTo>
                    <a:pt x="2475" y="12"/>
                  </a:lnTo>
                  <a:lnTo>
                    <a:pt x="2513" y="3"/>
                  </a:lnTo>
                  <a:lnTo>
                    <a:pt x="2551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</p:grpSp>
      <p:sp>
        <p:nvSpPr>
          <p:cNvPr id="23625" name="TextBox 158">
            <a:extLst>
              <a:ext uri="{FF2B5EF4-FFF2-40B4-BE49-F238E27FC236}">
                <a16:creationId xmlns:a16="http://schemas.microsoft.com/office/drawing/2014/main" id="{E039C87F-72AD-4054-B63A-554ACFFB9E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4663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26" name="TextBox 159">
            <a:extLst>
              <a:ext uri="{FF2B5EF4-FFF2-40B4-BE49-F238E27FC236}">
                <a16:creationId xmlns:a16="http://schemas.microsoft.com/office/drawing/2014/main" id="{C89D28E8-6E73-4458-A352-42A749EC09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3488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27" name="TextBox 127">
            <a:extLst>
              <a:ext uri="{FF2B5EF4-FFF2-40B4-BE49-F238E27FC236}">
                <a16:creationId xmlns:a16="http://schemas.microsoft.com/office/drawing/2014/main" id="{D2C4F5E9-E854-4896-8355-45DEC69063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7813" y="6378575"/>
            <a:ext cx="426243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Sources: National Bureau of Statistics, World Bank Report on Doing Business in Nigeria 2018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climate-data.org, State Government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Exchange rate= $1/N305 (Central Bank of Nigeria)</a:t>
            </a:r>
          </a:p>
        </p:txBody>
      </p:sp>
      <p:sp>
        <p:nvSpPr>
          <p:cNvPr id="23628" name="TextBox 128">
            <a:extLst>
              <a:ext uri="{FF2B5EF4-FFF2-40B4-BE49-F238E27FC236}">
                <a16:creationId xmlns:a16="http://schemas.microsoft.com/office/drawing/2014/main" id="{409BCC6F-A5F0-4C79-BB4A-38A1ABC14F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91600" y="3640453"/>
            <a:ext cx="62068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Feed Mill</a:t>
            </a:r>
          </a:p>
        </p:txBody>
      </p:sp>
      <p:sp>
        <p:nvSpPr>
          <p:cNvPr id="23629" name="TextBox 129">
            <a:extLst>
              <a:ext uri="{FF2B5EF4-FFF2-40B4-BE49-F238E27FC236}">
                <a16:creationId xmlns:a16="http://schemas.microsoft.com/office/drawing/2014/main" id="{489E7B41-20C9-4493-8E7D-07238EB8FA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32417" y="3654980"/>
            <a:ext cx="55335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Cement</a:t>
            </a:r>
          </a:p>
        </p:txBody>
      </p:sp>
      <p:sp>
        <p:nvSpPr>
          <p:cNvPr id="23631" name="TextBox 131">
            <a:extLst>
              <a:ext uri="{FF2B5EF4-FFF2-40B4-BE49-F238E27FC236}">
                <a16:creationId xmlns:a16="http://schemas.microsoft.com/office/drawing/2014/main" id="{FF8B6C80-43E2-43AF-A364-A31845F05C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5388" y="3656613"/>
            <a:ext cx="47000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900" dirty="0">
                <a:solidFill>
                  <a:prstClr val="black"/>
                </a:solidFill>
                <a:latin typeface="Calibri" panose="020F0502020204030204" pitchFamily="34" charset="0"/>
              </a:rPr>
              <a:t>Cocoa</a:t>
            </a:r>
            <a:endParaRPr kumimoji="0" lang="en-GB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32" name="TextBox 132">
            <a:extLst>
              <a:ext uri="{FF2B5EF4-FFF2-40B4-BE49-F238E27FC236}">
                <a16:creationId xmlns:a16="http://schemas.microsoft.com/office/drawing/2014/main" id="{A1C640C1-61D1-4BA5-8A76-E684397E8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16796" y="3637238"/>
            <a:ext cx="52450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Poultry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238751" y="3833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38" name="TextBox 141">
            <a:extLst>
              <a:ext uri="{FF2B5EF4-FFF2-40B4-BE49-F238E27FC236}">
                <a16:creationId xmlns:a16="http://schemas.microsoft.com/office/drawing/2014/main" id="{EE481231-8673-4FD7-B5CC-900AEE7A9F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61083" y="3652271"/>
            <a:ext cx="500458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900" noProof="0" dirty="0">
                <a:solidFill>
                  <a:prstClr val="black"/>
                </a:solidFill>
                <a:latin typeface="Calibri" panose="020F0502020204030204" pitchFamily="34" charset="0"/>
              </a:rPr>
              <a:t>Quartz</a:t>
            </a:r>
            <a:endParaRPr kumimoji="0" lang="en-GB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49" name="TextBox 165">
            <a:extLst>
              <a:ext uri="{FF2B5EF4-FFF2-40B4-BE49-F238E27FC236}">
                <a16:creationId xmlns:a16="http://schemas.microsoft.com/office/drawing/2014/main" id="{1242633E-9CB1-48ED-83F4-2223DFC7ED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47911" y="4459560"/>
            <a:ext cx="46198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900" dirty="0">
                <a:solidFill>
                  <a:prstClr val="black"/>
                </a:solidFill>
                <a:latin typeface="Calibri" panose="020F0502020204030204" pitchFamily="34" charset="0"/>
              </a:rPr>
              <a:t>Millet</a:t>
            </a:r>
            <a:endParaRPr kumimoji="0" lang="en-GB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50" name="TextBox 166">
            <a:extLst>
              <a:ext uri="{FF2B5EF4-FFF2-40B4-BE49-F238E27FC236}">
                <a16:creationId xmlns:a16="http://schemas.microsoft.com/office/drawing/2014/main" id="{6B51369B-8FA6-464A-B908-12B0FFE6B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94691" y="4458812"/>
            <a:ext cx="548548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Tomato</a:t>
            </a:r>
          </a:p>
        </p:txBody>
      </p:sp>
      <p:sp>
        <p:nvSpPr>
          <p:cNvPr id="23651" name="TextBox 167">
            <a:extLst>
              <a:ext uri="{FF2B5EF4-FFF2-40B4-BE49-F238E27FC236}">
                <a16:creationId xmlns:a16="http://schemas.microsoft.com/office/drawing/2014/main" id="{4F9404E1-8339-401B-8B10-4C7D1A8CEC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82636" y="4457881"/>
            <a:ext cx="66877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Sugarcane</a:t>
            </a:r>
          </a:p>
        </p:txBody>
      </p:sp>
      <p:sp>
        <p:nvSpPr>
          <p:cNvPr id="23652" name="TextBox 168">
            <a:extLst>
              <a:ext uri="{FF2B5EF4-FFF2-40B4-BE49-F238E27FC236}">
                <a16:creationId xmlns:a16="http://schemas.microsoft.com/office/drawing/2014/main" id="{1C04917D-B2C3-4C21-8CC2-A45C349B4B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36881" y="4457133"/>
            <a:ext cx="50526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Cotton</a:t>
            </a:r>
          </a:p>
        </p:txBody>
      </p:sp>
      <p:sp>
        <p:nvSpPr>
          <p:cNvPr id="23653" name="TextBox 169">
            <a:extLst>
              <a:ext uri="{FF2B5EF4-FFF2-40B4-BE49-F238E27FC236}">
                <a16:creationId xmlns:a16="http://schemas.microsoft.com/office/drawing/2014/main" id="{4BADA327-4F2D-4897-B7C0-4647A1484B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76301" y="4457973"/>
            <a:ext cx="38023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Rice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8A28B48-1841-45BB-BFBC-EADE77B37C6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779712" y="2589213"/>
          <a:ext cx="1482725" cy="812800"/>
        </p:xfrm>
        <a:graphic>
          <a:graphicData uri="http://schemas.openxmlformats.org/drawingml/2006/table">
            <a:tbl>
              <a:tblPr/>
              <a:tblGrid>
                <a:gridCol w="11367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9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32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GB" sz="1000" b="1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Domestic</a:t>
                      </a:r>
                      <a:r>
                        <a:rPr lang="en-GB" sz="10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US" sz="1000" b="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International 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Railway</a:t>
                      </a:r>
                      <a:r>
                        <a:rPr lang="en-GB" sz="1000" b="1" kern="1200" baseline="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 Station</a:t>
                      </a:r>
                      <a:endParaRPr lang="en-GB" sz="1000" b="1" kern="1200" dirty="0">
                        <a:solidFill>
                          <a:srgbClr val="292929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32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Sea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7" name="TextBox 136">
            <a:extLst>
              <a:ext uri="{FF2B5EF4-FFF2-40B4-BE49-F238E27FC236}">
                <a16:creationId xmlns:a16="http://schemas.microsoft.com/office/drawing/2014/main" id="{2F4C4876-7073-4C13-A183-127A8909BDC0}"/>
              </a:ext>
            </a:extLst>
          </p:cNvPr>
          <p:cNvSpPr txBox="1"/>
          <p:nvPr/>
        </p:nvSpPr>
        <p:spPr>
          <a:xfrm>
            <a:off x="538163" y="5268913"/>
            <a:ext cx="373856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For further details</a:t>
            </a:r>
          </a:p>
        </p:txBody>
      </p:sp>
      <p:sp>
        <p:nvSpPr>
          <p:cNvPr id="23676" name="TextBox 156">
            <a:extLst>
              <a:ext uri="{FF2B5EF4-FFF2-40B4-BE49-F238E27FC236}">
                <a16:creationId xmlns:a16="http://schemas.microsoft.com/office/drawing/2014/main" id="{95D66AAF-6B48-4B9E-9E5B-F1BB063A89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6300" y="6342063"/>
            <a:ext cx="37306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Abbreviations: </a:t>
            </a:r>
            <a:r>
              <a:rPr kumimoji="0" lang="en-GB" alt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	NICPS</a:t>
            </a:r>
            <a: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: Nigerian Investment Certification Programme for States             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	</a:t>
            </a:r>
            <a:r>
              <a:rPr kumimoji="0" lang="en-GB" alt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IGR</a:t>
            </a:r>
            <a: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:     Internal Generated Revenue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D4E23C6-26A0-4545-B8F7-7007C8EEBFE4}"/>
              </a:ext>
            </a:extLst>
          </p:cNvPr>
          <p:cNvSpPr txBox="1"/>
          <p:nvPr/>
        </p:nvSpPr>
        <p:spPr>
          <a:xfrm>
            <a:off x="4338638" y="5265738"/>
            <a:ext cx="247491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Did you know?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sp>
        <p:nvSpPr>
          <p:cNvPr id="132" name="Text Placeholder 42">
            <a:extLst>
              <a:ext uri="{FF2B5EF4-FFF2-40B4-BE49-F238E27FC236}">
                <a16:creationId xmlns:a16="http://schemas.microsoft.com/office/drawing/2014/main" id="{D510D0DC-1548-4249-8DB1-9A1055126D07}"/>
              </a:ext>
            </a:extLst>
          </p:cNvPr>
          <p:cNvSpPr txBox="1">
            <a:spLocks/>
          </p:cNvSpPr>
          <p:nvPr/>
        </p:nvSpPr>
        <p:spPr>
          <a:xfrm>
            <a:off x="522288" y="5511800"/>
            <a:ext cx="3733800" cy="820737"/>
          </a:xfrm>
          <a:prstGeom prst="rect">
            <a:avLst/>
          </a:prstGeom>
        </p:spPr>
        <p:txBody>
          <a:bodyPr lIns="36576" tIns="0" rIns="36576" bIns="0"/>
          <a:lstStyle>
            <a:lvl1pPr marL="0" indent="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/>
              <a:buNone/>
              <a:defRPr sz="800" b="1" baseline="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6575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93763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 charset="0"/>
              <a:buChar char="►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50950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619250" indent="-188913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0764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25336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29908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34480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</a:rPr>
              <a:t>NIGERIAN INVESTMENT PROMOTION COMMISSION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Arial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hlinkClick r:id="rId7"/>
              </a:rPr>
              <a:t>statesco@nipc.gov.ng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Arial"/>
              <a:buNone/>
              <a:tabLst/>
              <a:defRPr/>
            </a:pPr>
            <a:endParaRPr lang="en-US" sz="1000" b="0" kern="0" dirty="0">
              <a:solidFill>
                <a:prstClr val="black"/>
              </a:solidFill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Arial"/>
              <a:buNone/>
              <a:tabLst/>
              <a:defRPr/>
            </a:pPr>
            <a:r>
              <a:rPr lang="en-US" sz="1000" kern="0" dirty="0">
                <a:solidFill>
                  <a:prstClr val="black"/>
                </a:solidFill>
              </a:rPr>
              <a:t>MINISTRY OF COMMERCE AND COOPERATIVES</a:t>
            </a:r>
            <a:endParaRPr lang="en-US" sz="1000" b="0" kern="0" dirty="0">
              <a:solidFill>
                <a:prstClr val="black"/>
              </a:solidFill>
            </a:endParaRPr>
          </a:p>
          <a:p>
            <a:pPr lvl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>
                <a:solidFill>
                  <a:prstClr val="black"/>
                </a:solidFill>
                <a:hlinkClick r:id="rId8"/>
              </a:rPr>
              <a:t>nimabi1961@gmail.com</a:t>
            </a:r>
            <a:endParaRPr lang="en-US" sz="1000" b="0" kern="0" dirty="0">
              <a:solidFill>
                <a:prstClr val="black"/>
              </a:solidFill>
            </a:endParaRPr>
          </a:p>
          <a:p>
            <a:pPr lvl="0">
              <a:spcBef>
                <a:spcPts val="0"/>
              </a:spcBef>
              <a:spcAft>
                <a:spcPts val="0"/>
              </a:spcAft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</a:endParaRPr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FF015425-7997-4612-9D0E-1F6C433DFCC7}"/>
              </a:ext>
            </a:extLst>
          </p:cNvPr>
          <p:cNvSpPr/>
          <p:nvPr/>
        </p:nvSpPr>
        <p:spPr>
          <a:xfrm>
            <a:off x="6080877" y="3040856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4C0B7457-CABD-4AC8-8A1A-1FD468581E4D}"/>
              </a:ext>
            </a:extLst>
          </p:cNvPr>
          <p:cNvSpPr/>
          <p:nvPr/>
        </p:nvSpPr>
        <p:spPr>
          <a:xfrm>
            <a:off x="6784796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2D626A89-F50C-45A3-9271-5D3F2EEA9C83}"/>
              </a:ext>
            </a:extLst>
          </p:cNvPr>
          <p:cNvSpPr/>
          <p:nvPr/>
        </p:nvSpPr>
        <p:spPr>
          <a:xfrm>
            <a:off x="7518399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240713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A62E850A-D87D-46D0-9257-0071E677FCF0}"/>
              </a:ext>
            </a:extLst>
          </p:cNvPr>
          <p:cNvSpPr/>
          <p:nvPr/>
        </p:nvSpPr>
        <p:spPr>
          <a:xfrm>
            <a:off x="8947150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4D1FAA17-3EFF-404B-B4C4-B468BCE2E9A5}"/>
              </a:ext>
            </a:extLst>
          </p:cNvPr>
          <p:cNvSpPr/>
          <p:nvPr/>
        </p:nvSpPr>
        <p:spPr>
          <a:xfrm>
            <a:off x="6078265" y="3836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E861211D-5D09-4577-8A09-FD96D972A5D4}"/>
              </a:ext>
            </a:extLst>
          </p:cNvPr>
          <p:cNvSpPr/>
          <p:nvPr/>
        </p:nvSpPr>
        <p:spPr>
          <a:xfrm>
            <a:off x="6780509" y="3833831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3CBEFD1C-6360-47CD-AEDD-DFB49FC0E0C7}"/>
              </a:ext>
            </a:extLst>
          </p:cNvPr>
          <p:cNvSpPr/>
          <p:nvPr/>
        </p:nvSpPr>
        <p:spPr>
          <a:xfrm>
            <a:off x="7518603" y="3830834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4" name="TextBox 152">
            <a:extLst>
              <a:ext uri="{FF2B5EF4-FFF2-40B4-BE49-F238E27FC236}">
                <a16:creationId xmlns:a16="http://schemas.microsoft.com/office/drawing/2014/main" id="{C53ECC99-201F-4F50-BD09-4044FFD3B8E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53150" y="922439"/>
            <a:ext cx="3446463" cy="18928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15888" indent="-11588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indent="0"/>
            <a:endParaRPr lang="en-MY" sz="1300" dirty="0">
              <a:latin typeface="Calibri" panose="020F050202020403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MY" sz="1300" dirty="0">
                <a:latin typeface="Calibri" panose="020F0502020204030204" pitchFamily="34" charset="0"/>
              </a:rPr>
              <a:t>New hub for </a:t>
            </a:r>
            <a:r>
              <a:rPr lang="en-MY" sz="1300" dirty="0" err="1">
                <a:latin typeface="Calibri" panose="020F0502020204030204" pitchFamily="34" charset="0"/>
              </a:rPr>
              <a:t>agro</a:t>
            </a:r>
            <a:r>
              <a:rPr lang="en-MY" sz="1300" dirty="0">
                <a:latin typeface="Calibri" panose="020F0502020204030204" pitchFamily="34" charset="0"/>
              </a:rPr>
              <a:t>-based commodities 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MY" sz="1300" dirty="0">
                <a:latin typeface="Calibri" panose="020F0502020204030204" pitchFamily="34" charset="0"/>
              </a:rPr>
              <a:t>Connectivity: Location, Routes and Asse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MY" sz="1300" dirty="0">
                <a:latin typeface="Calibri" panose="020F0502020204030204" pitchFamily="34" charset="0"/>
              </a:rPr>
              <a:t>High deposits of mineral resourc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MY" sz="1300" dirty="0" err="1">
                <a:latin typeface="Calibri" panose="020F0502020204030204" pitchFamily="34" charset="0"/>
              </a:rPr>
              <a:t>Owu</a:t>
            </a:r>
            <a:r>
              <a:rPr lang="en-MY" sz="1300" dirty="0">
                <a:latin typeface="Calibri" panose="020F0502020204030204" pitchFamily="34" charset="0"/>
              </a:rPr>
              <a:t> water falls  (one of the highest in west Africa) - 350f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MY" sz="1300" dirty="0">
                <a:latin typeface="Calibri" panose="020F0502020204030204" pitchFamily="34" charset="0"/>
              </a:rPr>
              <a:t>Houses about 25 Historical relics for tourist attracti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MY" sz="1300" dirty="0">
                <a:latin typeface="Calibri" panose="020F0502020204030204" pitchFamily="34" charset="0"/>
              </a:rPr>
              <a:t>Dada Pottery (largest in Nigeria)</a:t>
            </a:r>
          </a:p>
        </p:txBody>
      </p:sp>
      <p:sp>
        <p:nvSpPr>
          <p:cNvPr id="161" name="Oval 160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953126" y="3843338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27" name="Picture 126" descr="rice.png"/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15867" r="20664"/>
          <a:stretch>
            <a:fillRect/>
          </a:stretch>
        </p:blipFill>
        <p:spPr>
          <a:xfrm>
            <a:off x="6136742" y="3888900"/>
            <a:ext cx="524341" cy="512146"/>
          </a:xfrm>
          <a:prstGeom prst="rect">
            <a:avLst/>
          </a:prstGeom>
        </p:spPr>
      </p:pic>
      <p:pic>
        <p:nvPicPr>
          <p:cNvPr id="134" name="Picture 133"/>
          <p:cNvPicPr>
            <a:picLocks noChangeAspect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4776" y="3908634"/>
            <a:ext cx="402263" cy="437029"/>
          </a:xfrm>
          <a:prstGeom prst="rect">
            <a:avLst/>
          </a:prstGeom>
        </p:spPr>
      </p:pic>
      <p:pic>
        <p:nvPicPr>
          <p:cNvPr id="135" name="Picture 134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7520" y="3823431"/>
            <a:ext cx="590031" cy="587408"/>
          </a:xfrm>
          <a:prstGeom prst="rect">
            <a:avLst/>
          </a:prstGeom>
        </p:spPr>
      </p:pic>
      <p:pic>
        <p:nvPicPr>
          <p:cNvPr id="136" name="Picture 135">
            <a:extLst>
              <a:ext uri="{FF2B5EF4-FFF2-40B4-BE49-F238E27FC236}">
                <a16:creationId xmlns:a16="http://schemas.microsoft.com/office/drawing/2014/main" id="{A6EFC002-AEBB-41D1-81A7-9C787109DE27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575029" y="3062812"/>
            <a:ext cx="477794" cy="477794"/>
          </a:xfrm>
          <a:prstGeom prst="rect">
            <a:avLst/>
          </a:prstGeom>
        </p:spPr>
      </p:pic>
      <p:pic>
        <p:nvPicPr>
          <p:cNvPr id="139" name="Picture 138">
            <a:extLst>
              <a:ext uri="{FF2B5EF4-FFF2-40B4-BE49-F238E27FC236}">
                <a16:creationId xmlns:a16="http://schemas.microsoft.com/office/drawing/2014/main" id="{0C61AC27-2E88-4F24-92EB-18780E80BE07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164577" y="3075167"/>
            <a:ext cx="443332" cy="449295"/>
          </a:xfrm>
          <a:prstGeom prst="rect">
            <a:avLst/>
          </a:prstGeom>
        </p:spPr>
      </p:pic>
      <p:pic>
        <p:nvPicPr>
          <p:cNvPr id="141" name="Picture 140">
            <a:extLst>
              <a:ext uri="{FF2B5EF4-FFF2-40B4-BE49-F238E27FC236}">
                <a16:creationId xmlns:a16="http://schemas.microsoft.com/office/drawing/2014/main" id="{001AB404-5ADA-4809-8B75-ED696C258FE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314923" y="3859231"/>
            <a:ext cx="482180" cy="509892"/>
          </a:xfrm>
          <a:prstGeom prst="rect">
            <a:avLst/>
          </a:prstGeom>
        </p:spPr>
      </p:pic>
      <p:pic>
        <p:nvPicPr>
          <p:cNvPr id="142" name="Picture 141">
            <a:extLst>
              <a:ext uri="{FF2B5EF4-FFF2-40B4-BE49-F238E27FC236}">
                <a16:creationId xmlns:a16="http://schemas.microsoft.com/office/drawing/2014/main" id="{C1134F2A-ED09-4132-BE33-F250B2BE5D81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25586" t="10367" r="5780"/>
          <a:stretch/>
        </p:blipFill>
        <p:spPr>
          <a:xfrm>
            <a:off x="8340522" y="3115609"/>
            <a:ext cx="415136" cy="498648"/>
          </a:xfrm>
          <a:prstGeom prst="rect">
            <a:avLst/>
          </a:prstGeom>
        </p:spPr>
      </p:pic>
      <p:pic>
        <p:nvPicPr>
          <p:cNvPr id="146" name="Picture 145" descr="Maize.jpg">
            <a:extLst>
              <a:ext uri="{FF2B5EF4-FFF2-40B4-BE49-F238E27FC236}">
                <a16:creationId xmlns:a16="http://schemas.microsoft.com/office/drawing/2014/main" id="{92200621-6845-4DA6-A986-03D369513347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980866" y="3909233"/>
            <a:ext cx="549919" cy="537807"/>
          </a:xfrm>
          <a:prstGeom prst="rect">
            <a:avLst/>
          </a:prstGeom>
        </p:spPr>
      </p:pic>
      <p:pic>
        <p:nvPicPr>
          <p:cNvPr id="149" name="Picture 148">
            <a:extLst>
              <a:ext uri="{FF2B5EF4-FFF2-40B4-BE49-F238E27FC236}">
                <a16:creationId xmlns:a16="http://schemas.microsoft.com/office/drawing/2014/main" id="{5316B6D9-1EDC-4CCA-A1ED-83E8E2AED19B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1049" y="3100653"/>
            <a:ext cx="423344" cy="411997"/>
          </a:xfrm>
          <a:prstGeom prst="rect">
            <a:avLst/>
          </a:prstGeom>
        </p:spPr>
      </p:pic>
      <p:pic>
        <p:nvPicPr>
          <p:cNvPr id="150" name="Picture 149">
            <a:extLst>
              <a:ext uri="{FF2B5EF4-FFF2-40B4-BE49-F238E27FC236}">
                <a16:creationId xmlns:a16="http://schemas.microsoft.com/office/drawing/2014/main" id="{C022CE8D-9CF7-430B-ACC1-CE3C10317FBE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692" y="3047686"/>
            <a:ext cx="534996" cy="561868"/>
          </a:xfrm>
          <a:prstGeom prst="rect">
            <a:avLst/>
          </a:prstGeom>
        </p:spPr>
      </p:pic>
      <p:sp>
        <p:nvSpPr>
          <p:cNvPr id="151" name="TextBox 150">
            <a:extLst>
              <a:ext uri="{FF2B5EF4-FFF2-40B4-BE49-F238E27FC236}">
                <a16:creationId xmlns:a16="http://schemas.microsoft.com/office/drawing/2014/main" id="{D0A41506-8873-4C2F-B45B-4459F0229CA3}"/>
              </a:ext>
            </a:extLst>
          </p:cNvPr>
          <p:cNvSpPr txBox="1"/>
          <p:nvPr/>
        </p:nvSpPr>
        <p:spPr>
          <a:xfrm>
            <a:off x="4374578" y="4541674"/>
            <a:ext cx="17988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te Investment Certification Process Not Started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305867" y="5447138"/>
            <a:ext cx="2435543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The rivalry between the Fulani and </a:t>
            </a:r>
            <a:r>
              <a:rPr lang="en-US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Afonja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 descendants over the throne of Ilorin is rooted in history since 1831.</a:t>
            </a:r>
          </a:p>
        </p:txBody>
      </p:sp>
    </p:spTree>
    <p:extLst>
      <p:ext uri="{BB962C8B-B14F-4D97-AF65-F5344CB8AC3E}">
        <p14:creationId xmlns:p14="http://schemas.microsoft.com/office/powerpoint/2010/main" val="284052974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Pentagon 19">
            <a:extLst>
              <a:ext uri="{FF2B5EF4-FFF2-40B4-BE49-F238E27FC236}">
                <a16:creationId xmlns:a16="http://schemas.microsoft.com/office/drawing/2014/main" id="{CAD93C59-72A9-4F6D-A654-02B9F8A5EFF9}"/>
              </a:ext>
            </a:extLst>
          </p:cNvPr>
          <p:cNvSpPr>
            <a:spLocks/>
          </p:cNvSpPr>
          <p:nvPr/>
        </p:nvSpPr>
        <p:spPr bwMode="auto">
          <a:xfrm>
            <a:off x="756602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dirty="0">
                <a:solidFill>
                  <a:prstClr val="white"/>
                </a:solidFill>
                <a:latin typeface="Calibri" panose="020F0502020204030204" pitchFamily="34" charset="0"/>
              </a:rPr>
              <a:t>16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of 37</a:t>
            </a:r>
          </a:p>
        </p:txBody>
      </p:sp>
      <p:sp>
        <p:nvSpPr>
          <p:cNvPr id="376" name="Pentagon 19">
            <a:extLst>
              <a:ext uri="{FF2B5EF4-FFF2-40B4-BE49-F238E27FC236}">
                <a16:creationId xmlns:a16="http://schemas.microsoft.com/office/drawing/2014/main" id="{1BDC5465-6022-4404-B4D8-ED55CF961B8A}"/>
              </a:ext>
            </a:extLst>
          </p:cNvPr>
          <p:cNvSpPr>
            <a:spLocks/>
          </p:cNvSpPr>
          <p:nvPr/>
        </p:nvSpPr>
        <p:spPr bwMode="auto">
          <a:xfrm>
            <a:off x="824865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noProof="0" dirty="0">
                <a:solidFill>
                  <a:prstClr val="white"/>
                </a:solidFill>
                <a:latin typeface="Calibri" panose="020F0502020204030204" pitchFamily="34" charset="0"/>
              </a:rPr>
              <a:t>37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of 3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57F1EBC-D01A-4083-B657-63AFB1490839}"/>
              </a:ext>
            </a:extLst>
          </p:cNvPr>
          <p:cNvSpPr txBox="1"/>
          <p:nvPr/>
        </p:nvSpPr>
        <p:spPr>
          <a:xfrm>
            <a:off x="6122988" y="2749550"/>
            <a:ext cx="3475037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Investment Opportunit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D251BD-538A-4F4F-847E-620EEDA298A0}"/>
              </a:ext>
            </a:extLst>
          </p:cNvPr>
          <p:cNvSpPr txBox="1"/>
          <p:nvPr/>
        </p:nvSpPr>
        <p:spPr>
          <a:xfrm>
            <a:off x="6881813" y="4632911"/>
            <a:ext cx="2697162" cy="33855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Doing Business Ranking(2018)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1B8F13C-F732-4DA1-9250-DB02936E7688}"/>
              </a:ext>
            </a:extLst>
          </p:cNvPr>
          <p:cNvSpPr/>
          <p:nvPr/>
        </p:nvSpPr>
        <p:spPr>
          <a:xfrm>
            <a:off x="756602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egistering Propert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6BA1818-32ED-44D1-975C-958200BDD124}"/>
              </a:ext>
            </a:extLst>
          </p:cNvPr>
          <p:cNvSpPr/>
          <p:nvPr/>
        </p:nvSpPr>
        <p:spPr>
          <a:xfrm>
            <a:off x="8248650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ealing with Construction Permits</a:t>
            </a:r>
          </a:p>
        </p:txBody>
      </p:sp>
      <p:sp>
        <p:nvSpPr>
          <p:cNvPr id="23560" name="TextBox 174">
            <a:extLst>
              <a:ext uri="{FF2B5EF4-FFF2-40B4-BE49-F238E27FC236}">
                <a16:creationId xmlns:a16="http://schemas.microsoft.com/office/drawing/2014/main" id="{1573FD4E-62B9-45E8-8F28-CED990ED2D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0B63A6C-2A5E-4CA3-BC66-4CBC6008BC9A}"/>
              </a:ext>
            </a:extLst>
          </p:cNvPr>
          <p:cNvSpPr/>
          <p:nvPr/>
        </p:nvSpPr>
        <p:spPr>
          <a:xfrm>
            <a:off x="893127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nforcing Contracts</a:t>
            </a:r>
          </a:p>
        </p:txBody>
      </p:sp>
      <p:pic>
        <p:nvPicPr>
          <p:cNvPr id="23562" name="Picture 4">
            <a:extLst>
              <a:ext uri="{FF2B5EF4-FFF2-40B4-BE49-F238E27FC236}">
                <a16:creationId xmlns:a16="http://schemas.microsoft.com/office/drawing/2014/main" id="{7C8EEAB2-0239-4BB5-94B3-23E319AF1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513" y="5249863"/>
            <a:ext cx="439737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6" name="Pentagon 19">
            <a:extLst>
              <a:ext uri="{FF2B5EF4-FFF2-40B4-BE49-F238E27FC236}">
                <a16:creationId xmlns:a16="http://schemas.microsoft.com/office/drawing/2014/main" id="{5F8E9670-D71A-4765-B6B5-D711BC9AD6E1}"/>
              </a:ext>
            </a:extLst>
          </p:cNvPr>
          <p:cNvSpPr>
            <a:spLocks/>
          </p:cNvSpPr>
          <p:nvPr/>
        </p:nvSpPr>
        <p:spPr bwMode="auto">
          <a:xfrm>
            <a:off x="893127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dirty="0">
                <a:solidFill>
                  <a:prstClr val="white"/>
                </a:solidFill>
                <a:latin typeface="Calibri" panose="020F0502020204030204" pitchFamily="34" charset="0"/>
              </a:rPr>
              <a:t>16</a:t>
            </a:r>
            <a:r>
              <a:rPr kumimoji="0" lang="en-GB" sz="10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f 37</a:t>
            </a:r>
          </a:p>
        </p:txBody>
      </p:sp>
      <p:sp>
        <p:nvSpPr>
          <p:cNvPr id="23564" name="Title 3">
            <a:extLst>
              <a:ext uri="{FF2B5EF4-FFF2-40B4-BE49-F238E27FC236}">
                <a16:creationId xmlns:a16="http://schemas.microsoft.com/office/drawing/2014/main" id="{C62A749B-CFC7-4224-A789-D20A772AC33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en-GB" alt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agos State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6882DF2C-9120-4A66-8487-575D9494F4D6}"/>
              </a:ext>
            </a:extLst>
          </p:cNvPr>
          <p:cNvSpPr txBox="1"/>
          <p:nvPr/>
        </p:nvSpPr>
        <p:spPr>
          <a:xfrm rot="16200000">
            <a:off x="-2286274" y="3478372"/>
            <a:ext cx="5303837" cy="2743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prstClr val="white"/>
                </a:solidFill>
                <a:latin typeface="Calibri" panose="020F0502020204030204" pitchFamily="34" charset="0"/>
                <a:cs typeface="Arial" charset="0"/>
              </a:rPr>
              <a:t>Centre of Excellence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grpSp>
        <p:nvGrpSpPr>
          <p:cNvPr id="23566" name="Group 9">
            <a:extLst>
              <a:ext uri="{FF2B5EF4-FFF2-40B4-BE49-F238E27FC236}">
                <a16:creationId xmlns:a16="http://schemas.microsoft.com/office/drawing/2014/main" id="{5B6131BD-3CE3-4FC4-B13A-FA9B797C1EF5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41338" y="963613"/>
            <a:ext cx="2897187" cy="2319337"/>
            <a:chOff x="770228" y="1459989"/>
            <a:chExt cx="4081047" cy="3267527"/>
          </a:xfrm>
        </p:grpSpPr>
        <p:sp>
          <p:nvSpPr>
            <p:cNvPr id="299" name="Freeform 4">
              <a:extLst>
                <a:ext uri="{FF2B5EF4-FFF2-40B4-BE49-F238E27FC236}">
                  <a16:creationId xmlns:a16="http://schemas.microsoft.com/office/drawing/2014/main" id="{B6150C82-CBE5-48B4-B60C-C210BB7B26A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91538" y="4349548"/>
              <a:ext cx="418167" cy="377968"/>
            </a:xfrm>
            <a:custGeom>
              <a:avLst/>
              <a:gdLst>
                <a:gd name="T0" fmla="*/ 12 w 786"/>
                <a:gd name="T1" fmla="*/ 19 h 714"/>
                <a:gd name="T2" fmla="*/ 22 w 786"/>
                <a:gd name="T3" fmla="*/ 18 h 714"/>
                <a:gd name="T4" fmla="*/ 27 w 786"/>
                <a:gd name="T5" fmla="*/ 17 h 714"/>
                <a:gd name="T6" fmla="*/ 30 w 786"/>
                <a:gd name="T7" fmla="*/ 14 h 714"/>
                <a:gd name="T8" fmla="*/ 37 w 786"/>
                <a:gd name="T9" fmla="*/ 16 h 714"/>
                <a:gd name="T10" fmla="*/ 43 w 786"/>
                <a:gd name="T11" fmla="*/ 13 h 714"/>
                <a:gd name="T12" fmla="*/ 48 w 786"/>
                <a:gd name="T13" fmla="*/ 8 h 714"/>
                <a:gd name="T14" fmla="*/ 55 w 786"/>
                <a:gd name="T15" fmla="*/ 4 h 714"/>
                <a:gd name="T16" fmla="*/ 66 w 786"/>
                <a:gd name="T17" fmla="*/ 0 h 714"/>
                <a:gd name="T18" fmla="*/ 63 w 786"/>
                <a:gd name="T19" fmla="*/ 12 h 714"/>
                <a:gd name="T20" fmla="*/ 59 w 786"/>
                <a:gd name="T21" fmla="*/ 19 h 714"/>
                <a:gd name="T22" fmla="*/ 57 w 786"/>
                <a:gd name="T23" fmla="*/ 29 h 714"/>
                <a:gd name="T24" fmla="*/ 59 w 786"/>
                <a:gd name="T25" fmla="*/ 36 h 714"/>
                <a:gd name="T26" fmla="*/ 66 w 786"/>
                <a:gd name="T27" fmla="*/ 35 h 714"/>
                <a:gd name="T28" fmla="*/ 64 w 786"/>
                <a:gd name="T29" fmla="*/ 41 h 714"/>
                <a:gd name="T30" fmla="*/ 64 w 786"/>
                <a:gd name="T31" fmla="*/ 48 h 714"/>
                <a:gd name="T32" fmla="*/ 63 w 786"/>
                <a:gd name="T33" fmla="*/ 56 h 714"/>
                <a:gd name="T34" fmla="*/ 60 w 786"/>
                <a:gd name="T35" fmla="*/ 60 h 714"/>
                <a:gd name="T36" fmla="*/ 57 w 786"/>
                <a:gd name="T37" fmla="*/ 58 h 714"/>
                <a:gd name="T38" fmla="*/ 54 w 786"/>
                <a:gd name="T39" fmla="*/ 54 h 714"/>
                <a:gd name="T40" fmla="*/ 53 w 786"/>
                <a:gd name="T41" fmla="*/ 51 h 714"/>
                <a:gd name="T42" fmla="*/ 51 w 786"/>
                <a:gd name="T43" fmla="*/ 53 h 714"/>
                <a:gd name="T44" fmla="*/ 49 w 786"/>
                <a:gd name="T45" fmla="*/ 54 h 714"/>
                <a:gd name="T46" fmla="*/ 47 w 786"/>
                <a:gd name="T47" fmla="*/ 50 h 714"/>
                <a:gd name="T48" fmla="*/ 48 w 786"/>
                <a:gd name="T49" fmla="*/ 54 h 714"/>
                <a:gd name="T50" fmla="*/ 47 w 786"/>
                <a:gd name="T51" fmla="*/ 54 h 714"/>
                <a:gd name="T52" fmla="*/ 46 w 786"/>
                <a:gd name="T53" fmla="*/ 59 h 714"/>
                <a:gd name="T54" fmla="*/ 47 w 786"/>
                <a:gd name="T55" fmla="*/ 62 h 714"/>
                <a:gd name="T56" fmla="*/ 42 w 786"/>
                <a:gd name="T57" fmla="*/ 62 h 714"/>
                <a:gd name="T58" fmla="*/ 39 w 786"/>
                <a:gd name="T59" fmla="*/ 57 h 714"/>
                <a:gd name="T60" fmla="*/ 40 w 786"/>
                <a:gd name="T61" fmla="*/ 54 h 714"/>
                <a:gd name="T62" fmla="*/ 43 w 786"/>
                <a:gd name="T63" fmla="*/ 55 h 714"/>
                <a:gd name="T64" fmla="*/ 40 w 786"/>
                <a:gd name="T65" fmla="*/ 53 h 714"/>
                <a:gd name="T66" fmla="*/ 38 w 786"/>
                <a:gd name="T67" fmla="*/ 57 h 714"/>
                <a:gd name="T68" fmla="*/ 37 w 786"/>
                <a:gd name="T69" fmla="*/ 57 h 714"/>
                <a:gd name="T70" fmla="*/ 37 w 786"/>
                <a:gd name="T71" fmla="*/ 60 h 714"/>
                <a:gd name="T72" fmla="*/ 33 w 786"/>
                <a:gd name="T73" fmla="*/ 56 h 714"/>
                <a:gd name="T74" fmla="*/ 32 w 786"/>
                <a:gd name="T75" fmla="*/ 58 h 714"/>
                <a:gd name="T76" fmla="*/ 26 w 786"/>
                <a:gd name="T77" fmla="*/ 54 h 714"/>
                <a:gd name="T78" fmla="*/ 26 w 786"/>
                <a:gd name="T79" fmla="*/ 54 h 714"/>
                <a:gd name="T80" fmla="*/ 24 w 786"/>
                <a:gd name="T81" fmla="*/ 51 h 714"/>
                <a:gd name="T82" fmla="*/ 22 w 786"/>
                <a:gd name="T83" fmla="*/ 51 h 714"/>
                <a:gd name="T84" fmla="*/ 20 w 786"/>
                <a:gd name="T85" fmla="*/ 50 h 714"/>
                <a:gd name="T86" fmla="*/ 20 w 786"/>
                <a:gd name="T87" fmla="*/ 48 h 714"/>
                <a:gd name="T88" fmla="*/ 18 w 786"/>
                <a:gd name="T89" fmla="*/ 47 h 714"/>
                <a:gd name="T90" fmla="*/ 15 w 786"/>
                <a:gd name="T91" fmla="*/ 45 h 714"/>
                <a:gd name="T92" fmla="*/ 11 w 786"/>
                <a:gd name="T93" fmla="*/ 39 h 714"/>
                <a:gd name="T94" fmla="*/ 12 w 786"/>
                <a:gd name="T95" fmla="*/ 36 h 714"/>
                <a:gd name="T96" fmla="*/ 7 w 786"/>
                <a:gd name="T97" fmla="*/ 33 h 714"/>
                <a:gd name="T98" fmla="*/ 5 w 786"/>
                <a:gd name="T99" fmla="*/ 28 h 714"/>
                <a:gd name="T100" fmla="*/ 7 w 786"/>
                <a:gd name="T101" fmla="*/ 30 h 714"/>
                <a:gd name="T102" fmla="*/ 4 w 786"/>
                <a:gd name="T103" fmla="*/ 24 h 714"/>
                <a:gd name="T104" fmla="*/ 2 w 786"/>
                <a:gd name="T105" fmla="*/ 20 h 714"/>
                <a:gd name="T106" fmla="*/ 0 w 786"/>
                <a:gd name="T107" fmla="*/ 15 h 714"/>
                <a:gd name="T108" fmla="*/ 4 w 786"/>
                <a:gd name="T109" fmla="*/ 16 h 714"/>
                <a:gd name="T110" fmla="*/ 55 w 786"/>
                <a:gd name="T111" fmla="*/ 60 h 714"/>
                <a:gd name="T112" fmla="*/ 47 w 786"/>
                <a:gd name="T113" fmla="*/ 60 h 714"/>
                <a:gd name="T114" fmla="*/ 51 w 786"/>
                <a:gd name="T115" fmla="*/ 54 h 714"/>
                <a:gd name="T116" fmla="*/ 54 w 786"/>
                <a:gd name="T117" fmla="*/ 56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86"/>
                <a:gd name="T178" fmla="*/ 0 h 714"/>
                <a:gd name="T179" fmla="*/ 786 w 786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86" h="714">
                  <a:moveTo>
                    <a:pt x="54" y="186"/>
                  </a:moveTo>
                  <a:lnTo>
                    <a:pt x="54" y="192"/>
                  </a:lnTo>
                  <a:lnTo>
                    <a:pt x="72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204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20" y="210"/>
                  </a:lnTo>
                  <a:lnTo>
                    <a:pt x="126" y="210"/>
                  </a:lnTo>
                  <a:lnTo>
                    <a:pt x="132" y="210"/>
                  </a:lnTo>
                  <a:lnTo>
                    <a:pt x="132" y="216"/>
                  </a:lnTo>
                  <a:lnTo>
                    <a:pt x="138" y="222"/>
                  </a:lnTo>
                  <a:lnTo>
                    <a:pt x="150" y="222"/>
                  </a:lnTo>
                  <a:lnTo>
                    <a:pt x="162" y="234"/>
                  </a:lnTo>
                  <a:lnTo>
                    <a:pt x="168" y="240"/>
                  </a:lnTo>
                  <a:lnTo>
                    <a:pt x="180" y="240"/>
                  </a:lnTo>
                  <a:lnTo>
                    <a:pt x="186" y="228"/>
                  </a:lnTo>
                  <a:lnTo>
                    <a:pt x="210" y="234"/>
                  </a:lnTo>
                  <a:lnTo>
                    <a:pt x="222" y="228"/>
                  </a:lnTo>
                  <a:lnTo>
                    <a:pt x="228" y="216"/>
                  </a:lnTo>
                  <a:lnTo>
                    <a:pt x="234" y="210"/>
                  </a:lnTo>
                  <a:lnTo>
                    <a:pt x="240" y="216"/>
                  </a:lnTo>
                  <a:lnTo>
                    <a:pt x="246" y="210"/>
                  </a:lnTo>
                  <a:lnTo>
                    <a:pt x="252" y="210"/>
                  </a:lnTo>
                  <a:lnTo>
                    <a:pt x="258" y="210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192"/>
                  </a:lnTo>
                  <a:lnTo>
                    <a:pt x="270" y="192"/>
                  </a:lnTo>
                  <a:lnTo>
                    <a:pt x="276" y="192"/>
                  </a:lnTo>
                  <a:lnTo>
                    <a:pt x="282" y="192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192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198"/>
                  </a:lnTo>
                  <a:lnTo>
                    <a:pt x="312" y="198"/>
                  </a:lnTo>
                  <a:lnTo>
                    <a:pt x="312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24" y="186"/>
                  </a:lnTo>
                  <a:lnTo>
                    <a:pt x="318" y="180"/>
                  </a:lnTo>
                  <a:lnTo>
                    <a:pt x="324" y="180"/>
                  </a:lnTo>
                  <a:lnTo>
                    <a:pt x="330" y="186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74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54" y="144"/>
                  </a:lnTo>
                  <a:lnTo>
                    <a:pt x="360" y="144"/>
                  </a:lnTo>
                  <a:lnTo>
                    <a:pt x="372" y="156"/>
                  </a:lnTo>
                  <a:lnTo>
                    <a:pt x="372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96" y="168"/>
                  </a:lnTo>
                  <a:lnTo>
                    <a:pt x="396" y="174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26" y="186"/>
                  </a:lnTo>
                  <a:lnTo>
                    <a:pt x="432" y="186"/>
                  </a:lnTo>
                  <a:lnTo>
                    <a:pt x="438" y="180"/>
                  </a:lnTo>
                  <a:lnTo>
                    <a:pt x="438" y="168"/>
                  </a:lnTo>
                  <a:lnTo>
                    <a:pt x="438" y="162"/>
                  </a:lnTo>
                  <a:lnTo>
                    <a:pt x="444" y="156"/>
                  </a:lnTo>
                  <a:lnTo>
                    <a:pt x="450" y="156"/>
                  </a:lnTo>
                  <a:lnTo>
                    <a:pt x="456" y="150"/>
                  </a:lnTo>
                  <a:lnTo>
                    <a:pt x="462" y="156"/>
                  </a:lnTo>
                  <a:lnTo>
                    <a:pt x="468" y="162"/>
                  </a:lnTo>
                  <a:lnTo>
                    <a:pt x="474" y="162"/>
                  </a:lnTo>
                  <a:lnTo>
                    <a:pt x="486" y="162"/>
                  </a:lnTo>
                  <a:lnTo>
                    <a:pt x="492" y="156"/>
                  </a:lnTo>
                  <a:lnTo>
                    <a:pt x="498" y="150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28" y="126"/>
                  </a:lnTo>
                  <a:lnTo>
                    <a:pt x="522" y="120"/>
                  </a:lnTo>
                  <a:lnTo>
                    <a:pt x="522" y="114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28" y="102"/>
                  </a:lnTo>
                  <a:lnTo>
                    <a:pt x="534" y="96"/>
                  </a:lnTo>
                  <a:lnTo>
                    <a:pt x="552" y="96"/>
                  </a:lnTo>
                  <a:lnTo>
                    <a:pt x="570" y="102"/>
                  </a:lnTo>
                  <a:lnTo>
                    <a:pt x="582" y="96"/>
                  </a:lnTo>
                  <a:lnTo>
                    <a:pt x="582" y="90"/>
                  </a:lnTo>
                  <a:lnTo>
                    <a:pt x="582" y="78"/>
                  </a:lnTo>
                  <a:lnTo>
                    <a:pt x="582" y="72"/>
                  </a:lnTo>
                  <a:lnTo>
                    <a:pt x="582" y="66"/>
                  </a:lnTo>
                  <a:lnTo>
                    <a:pt x="594" y="60"/>
                  </a:lnTo>
                  <a:lnTo>
                    <a:pt x="600" y="60"/>
                  </a:lnTo>
                  <a:lnTo>
                    <a:pt x="606" y="54"/>
                  </a:lnTo>
                  <a:lnTo>
                    <a:pt x="618" y="48"/>
                  </a:lnTo>
                  <a:lnTo>
                    <a:pt x="618" y="42"/>
                  </a:lnTo>
                  <a:lnTo>
                    <a:pt x="624" y="42"/>
                  </a:lnTo>
                  <a:lnTo>
                    <a:pt x="636" y="48"/>
                  </a:lnTo>
                  <a:lnTo>
                    <a:pt x="648" y="54"/>
                  </a:lnTo>
                  <a:lnTo>
                    <a:pt x="660" y="54"/>
                  </a:lnTo>
                  <a:lnTo>
                    <a:pt x="666" y="60"/>
                  </a:lnTo>
                  <a:lnTo>
                    <a:pt x="672" y="54"/>
                  </a:lnTo>
                  <a:lnTo>
                    <a:pt x="684" y="48"/>
                  </a:lnTo>
                  <a:lnTo>
                    <a:pt x="708" y="42"/>
                  </a:lnTo>
                  <a:lnTo>
                    <a:pt x="714" y="42"/>
                  </a:lnTo>
                  <a:lnTo>
                    <a:pt x="720" y="36"/>
                  </a:lnTo>
                  <a:lnTo>
                    <a:pt x="720" y="30"/>
                  </a:lnTo>
                  <a:lnTo>
                    <a:pt x="714" y="12"/>
                  </a:lnTo>
                  <a:lnTo>
                    <a:pt x="708" y="0"/>
                  </a:lnTo>
                  <a:lnTo>
                    <a:pt x="738" y="6"/>
                  </a:lnTo>
                  <a:lnTo>
                    <a:pt x="756" y="6"/>
                  </a:lnTo>
                  <a:lnTo>
                    <a:pt x="762" y="42"/>
                  </a:lnTo>
                  <a:lnTo>
                    <a:pt x="738" y="72"/>
                  </a:lnTo>
                  <a:lnTo>
                    <a:pt x="750" y="90"/>
                  </a:lnTo>
                  <a:lnTo>
                    <a:pt x="762" y="96"/>
                  </a:lnTo>
                  <a:lnTo>
                    <a:pt x="756" y="102"/>
                  </a:lnTo>
                  <a:lnTo>
                    <a:pt x="750" y="108"/>
                  </a:lnTo>
                  <a:lnTo>
                    <a:pt x="750" y="114"/>
                  </a:lnTo>
                  <a:lnTo>
                    <a:pt x="750" y="120"/>
                  </a:lnTo>
                  <a:lnTo>
                    <a:pt x="750" y="126"/>
                  </a:lnTo>
                  <a:lnTo>
                    <a:pt x="750" y="132"/>
                  </a:lnTo>
                  <a:lnTo>
                    <a:pt x="738" y="132"/>
                  </a:lnTo>
                  <a:lnTo>
                    <a:pt x="732" y="138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14" y="144"/>
                  </a:lnTo>
                  <a:lnTo>
                    <a:pt x="714" y="150"/>
                  </a:lnTo>
                  <a:lnTo>
                    <a:pt x="720" y="156"/>
                  </a:lnTo>
                  <a:lnTo>
                    <a:pt x="720" y="162"/>
                  </a:lnTo>
                  <a:lnTo>
                    <a:pt x="714" y="162"/>
                  </a:lnTo>
                  <a:lnTo>
                    <a:pt x="708" y="168"/>
                  </a:lnTo>
                  <a:lnTo>
                    <a:pt x="708" y="180"/>
                  </a:lnTo>
                  <a:lnTo>
                    <a:pt x="708" y="192"/>
                  </a:lnTo>
                  <a:lnTo>
                    <a:pt x="696" y="198"/>
                  </a:lnTo>
                  <a:lnTo>
                    <a:pt x="696" y="204"/>
                  </a:lnTo>
                  <a:lnTo>
                    <a:pt x="684" y="210"/>
                  </a:lnTo>
                  <a:lnTo>
                    <a:pt x="684" y="216"/>
                  </a:lnTo>
                  <a:lnTo>
                    <a:pt x="684" y="222"/>
                  </a:lnTo>
                  <a:lnTo>
                    <a:pt x="678" y="228"/>
                  </a:lnTo>
                  <a:lnTo>
                    <a:pt x="678" y="234"/>
                  </a:lnTo>
                  <a:lnTo>
                    <a:pt x="672" y="240"/>
                  </a:lnTo>
                  <a:lnTo>
                    <a:pt x="672" y="252"/>
                  </a:lnTo>
                  <a:lnTo>
                    <a:pt x="672" y="258"/>
                  </a:lnTo>
                  <a:lnTo>
                    <a:pt x="666" y="264"/>
                  </a:lnTo>
                  <a:lnTo>
                    <a:pt x="678" y="264"/>
                  </a:lnTo>
                  <a:lnTo>
                    <a:pt x="684" y="276"/>
                  </a:lnTo>
                  <a:lnTo>
                    <a:pt x="684" y="288"/>
                  </a:lnTo>
                  <a:lnTo>
                    <a:pt x="672" y="300"/>
                  </a:lnTo>
                  <a:lnTo>
                    <a:pt x="660" y="318"/>
                  </a:lnTo>
                  <a:lnTo>
                    <a:pt x="660" y="336"/>
                  </a:lnTo>
                  <a:lnTo>
                    <a:pt x="654" y="342"/>
                  </a:lnTo>
                  <a:lnTo>
                    <a:pt x="660" y="354"/>
                  </a:lnTo>
                  <a:lnTo>
                    <a:pt x="660" y="366"/>
                  </a:lnTo>
                  <a:lnTo>
                    <a:pt x="666" y="378"/>
                  </a:lnTo>
                  <a:lnTo>
                    <a:pt x="672" y="390"/>
                  </a:lnTo>
                  <a:lnTo>
                    <a:pt x="678" y="396"/>
                  </a:lnTo>
                  <a:lnTo>
                    <a:pt x="684" y="390"/>
                  </a:lnTo>
                  <a:lnTo>
                    <a:pt x="690" y="390"/>
                  </a:lnTo>
                  <a:lnTo>
                    <a:pt x="690" y="396"/>
                  </a:lnTo>
                  <a:lnTo>
                    <a:pt x="684" y="396"/>
                  </a:lnTo>
                  <a:lnTo>
                    <a:pt x="684" y="402"/>
                  </a:lnTo>
                  <a:lnTo>
                    <a:pt x="684" y="408"/>
                  </a:lnTo>
                  <a:lnTo>
                    <a:pt x="678" y="414"/>
                  </a:lnTo>
                  <a:lnTo>
                    <a:pt x="684" y="414"/>
                  </a:lnTo>
                  <a:lnTo>
                    <a:pt x="684" y="420"/>
                  </a:lnTo>
                  <a:lnTo>
                    <a:pt x="684" y="426"/>
                  </a:lnTo>
                  <a:lnTo>
                    <a:pt x="690" y="420"/>
                  </a:lnTo>
                  <a:lnTo>
                    <a:pt x="696" y="420"/>
                  </a:lnTo>
                  <a:lnTo>
                    <a:pt x="696" y="426"/>
                  </a:lnTo>
                  <a:lnTo>
                    <a:pt x="690" y="426"/>
                  </a:lnTo>
                  <a:lnTo>
                    <a:pt x="696" y="426"/>
                  </a:lnTo>
                  <a:lnTo>
                    <a:pt x="708" y="426"/>
                  </a:lnTo>
                  <a:lnTo>
                    <a:pt x="726" y="414"/>
                  </a:lnTo>
                  <a:lnTo>
                    <a:pt x="732" y="408"/>
                  </a:lnTo>
                  <a:lnTo>
                    <a:pt x="744" y="402"/>
                  </a:lnTo>
                  <a:lnTo>
                    <a:pt x="756" y="402"/>
                  </a:lnTo>
                  <a:lnTo>
                    <a:pt x="768" y="402"/>
                  </a:lnTo>
                  <a:lnTo>
                    <a:pt x="786" y="408"/>
                  </a:lnTo>
                  <a:lnTo>
                    <a:pt x="786" y="414"/>
                  </a:lnTo>
                  <a:lnTo>
                    <a:pt x="774" y="420"/>
                  </a:lnTo>
                  <a:lnTo>
                    <a:pt x="774" y="426"/>
                  </a:lnTo>
                  <a:lnTo>
                    <a:pt x="768" y="432"/>
                  </a:lnTo>
                  <a:lnTo>
                    <a:pt x="762" y="438"/>
                  </a:lnTo>
                  <a:lnTo>
                    <a:pt x="756" y="438"/>
                  </a:lnTo>
                  <a:lnTo>
                    <a:pt x="756" y="444"/>
                  </a:lnTo>
                  <a:lnTo>
                    <a:pt x="756" y="450"/>
                  </a:lnTo>
                  <a:lnTo>
                    <a:pt x="762" y="450"/>
                  </a:lnTo>
                  <a:lnTo>
                    <a:pt x="750" y="456"/>
                  </a:lnTo>
                  <a:lnTo>
                    <a:pt x="738" y="468"/>
                  </a:lnTo>
                  <a:lnTo>
                    <a:pt x="726" y="480"/>
                  </a:lnTo>
                  <a:lnTo>
                    <a:pt x="726" y="486"/>
                  </a:lnTo>
                  <a:lnTo>
                    <a:pt x="732" y="486"/>
                  </a:lnTo>
                  <a:lnTo>
                    <a:pt x="732" y="492"/>
                  </a:lnTo>
                  <a:lnTo>
                    <a:pt x="732" y="504"/>
                  </a:lnTo>
                  <a:lnTo>
                    <a:pt x="738" y="504"/>
                  </a:lnTo>
                  <a:lnTo>
                    <a:pt x="744" y="510"/>
                  </a:lnTo>
                  <a:lnTo>
                    <a:pt x="738" y="522"/>
                  </a:lnTo>
                  <a:lnTo>
                    <a:pt x="744" y="528"/>
                  </a:lnTo>
                  <a:lnTo>
                    <a:pt x="756" y="534"/>
                  </a:lnTo>
                  <a:lnTo>
                    <a:pt x="756" y="540"/>
                  </a:lnTo>
                  <a:lnTo>
                    <a:pt x="744" y="552"/>
                  </a:lnTo>
                  <a:lnTo>
                    <a:pt x="738" y="552"/>
                  </a:lnTo>
                  <a:lnTo>
                    <a:pt x="738" y="558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64"/>
                  </a:lnTo>
                  <a:lnTo>
                    <a:pt x="744" y="576"/>
                  </a:lnTo>
                  <a:lnTo>
                    <a:pt x="738" y="588"/>
                  </a:lnTo>
                  <a:lnTo>
                    <a:pt x="738" y="594"/>
                  </a:lnTo>
                  <a:lnTo>
                    <a:pt x="738" y="600"/>
                  </a:lnTo>
                  <a:lnTo>
                    <a:pt x="738" y="606"/>
                  </a:lnTo>
                  <a:lnTo>
                    <a:pt x="732" y="612"/>
                  </a:lnTo>
                  <a:lnTo>
                    <a:pt x="726" y="624"/>
                  </a:lnTo>
                  <a:lnTo>
                    <a:pt x="726" y="636"/>
                  </a:lnTo>
                  <a:lnTo>
                    <a:pt x="726" y="648"/>
                  </a:lnTo>
                  <a:lnTo>
                    <a:pt x="738" y="654"/>
                  </a:lnTo>
                  <a:lnTo>
                    <a:pt x="750" y="660"/>
                  </a:lnTo>
                  <a:lnTo>
                    <a:pt x="750" y="666"/>
                  </a:lnTo>
                  <a:lnTo>
                    <a:pt x="750" y="678"/>
                  </a:lnTo>
                  <a:lnTo>
                    <a:pt x="744" y="678"/>
                  </a:lnTo>
                  <a:lnTo>
                    <a:pt x="738" y="684"/>
                  </a:lnTo>
                  <a:lnTo>
                    <a:pt x="732" y="684"/>
                  </a:lnTo>
                  <a:lnTo>
                    <a:pt x="720" y="678"/>
                  </a:lnTo>
                  <a:lnTo>
                    <a:pt x="714" y="684"/>
                  </a:lnTo>
                  <a:lnTo>
                    <a:pt x="708" y="684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0" y="690"/>
                  </a:lnTo>
                  <a:lnTo>
                    <a:pt x="690" y="684"/>
                  </a:lnTo>
                  <a:lnTo>
                    <a:pt x="690" y="690"/>
                  </a:lnTo>
                  <a:lnTo>
                    <a:pt x="684" y="690"/>
                  </a:lnTo>
                  <a:lnTo>
                    <a:pt x="684" y="684"/>
                  </a:lnTo>
                  <a:lnTo>
                    <a:pt x="678" y="684"/>
                  </a:lnTo>
                  <a:lnTo>
                    <a:pt x="672" y="678"/>
                  </a:lnTo>
                  <a:lnTo>
                    <a:pt x="672" y="672"/>
                  </a:lnTo>
                  <a:lnTo>
                    <a:pt x="678" y="672"/>
                  </a:lnTo>
                  <a:lnTo>
                    <a:pt x="672" y="672"/>
                  </a:lnTo>
                  <a:lnTo>
                    <a:pt x="666" y="672"/>
                  </a:lnTo>
                  <a:lnTo>
                    <a:pt x="660" y="672"/>
                  </a:lnTo>
                  <a:lnTo>
                    <a:pt x="654" y="672"/>
                  </a:lnTo>
                  <a:lnTo>
                    <a:pt x="654" y="666"/>
                  </a:lnTo>
                  <a:lnTo>
                    <a:pt x="648" y="666"/>
                  </a:lnTo>
                  <a:lnTo>
                    <a:pt x="642" y="660"/>
                  </a:lnTo>
                  <a:lnTo>
                    <a:pt x="642" y="654"/>
                  </a:lnTo>
                  <a:lnTo>
                    <a:pt x="642" y="648"/>
                  </a:lnTo>
                  <a:lnTo>
                    <a:pt x="636" y="648"/>
                  </a:lnTo>
                  <a:lnTo>
                    <a:pt x="630" y="648"/>
                  </a:lnTo>
                  <a:lnTo>
                    <a:pt x="624" y="648"/>
                  </a:lnTo>
                  <a:lnTo>
                    <a:pt x="624" y="642"/>
                  </a:lnTo>
                  <a:lnTo>
                    <a:pt x="618" y="636"/>
                  </a:lnTo>
                  <a:lnTo>
                    <a:pt x="624" y="636"/>
                  </a:lnTo>
                  <a:lnTo>
                    <a:pt x="624" y="630"/>
                  </a:lnTo>
                  <a:lnTo>
                    <a:pt x="618" y="630"/>
                  </a:lnTo>
                  <a:lnTo>
                    <a:pt x="618" y="624"/>
                  </a:lnTo>
                  <a:lnTo>
                    <a:pt x="618" y="618"/>
                  </a:lnTo>
                  <a:lnTo>
                    <a:pt x="618" y="612"/>
                  </a:lnTo>
                  <a:lnTo>
                    <a:pt x="618" y="606"/>
                  </a:lnTo>
                  <a:lnTo>
                    <a:pt x="624" y="606"/>
                  </a:lnTo>
                  <a:lnTo>
                    <a:pt x="624" y="600"/>
                  </a:lnTo>
                  <a:lnTo>
                    <a:pt x="618" y="600"/>
                  </a:lnTo>
                  <a:lnTo>
                    <a:pt x="618" y="594"/>
                  </a:lnTo>
                  <a:lnTo>
                    <a:pt x="618" y="588"/>
                  </a:lnTo>
                  <a:lnTo>
                    <a:pt x="618" y="582"/>
                  </a:lnTo>
                  <a:lnTo>
                    <a:pt x="612" y="582"/>
                  </a:lnTo>
                  <a:lnTo>
                    <a:pt x="606" y="582"/>
                  </a:lnTo>
                  <a:lnTo>
                    <a:pt x="612" y="582"/>
                  </a:lnTo>
                  <a:lnTo>
                    <a:pt x="612" y="588"/>
                  </a:lnTo>
                  <a:lnTo>
                    <a:pt x="612" y="594"/>
                  </a:lnTo>
                  <a:lnTo>
                    <a:pt x="618" y="594"/>
                  </a:lnTo>
                  <a:lnTo>
                    <a:pt x="618" y="600"/>
                  </a:lnTo>
                  <a:lnTo>
                    <a:pt x="618" y="606"/>
                  </a:lnTo>
                  <a:lnTo>
                    <a:pt x="618" y="612"/>
                  </a:lnTo>
                  <a:lnTo>
                    <a:pt x="612" y="612"/>
                  </a:lnTo>
                  <a:lnTo>
                    <a:pt x="612" y="618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94" y="612"/>
                  </a:lnTo>
                  <a:lnTo>
                    <a:pt x="588" y="606"/>
                  </a:lnTo>
                  <a:lnTo>
                    <a:pt x="588" y="612"/>
                  </a:lnTo>
                  <a:lnTo>
                    <a:pt x="594" y="612"/>
                  </a:lnTo>
                  <a:lnTo>
                    <a:pt x="594" y="618"/>
                  </a:lnTo>
                  <a:lnTo>
                    <a:pt x="588" y="618"/>
                  </a:lnTo>
                  <a:lnTo>
                    <a:pt x="588" y="624"/>
                  </a:lnTo>
                  <a:lnTo>
                    <a:pt x="582" y="624"/>
                  </a:lnTo>
                  <a:lnTo>
                    <a:pt x="582" y="630"/>
                  </a:lnTo>
                  <a:lnTo>
                    <a:pt x="576" y="630"/>
                  </a:lnTo>
                  <a:lnTo>
                    <a:pt x="576" y="636"/>
                  </a:lnTo>
                  <a:lnTo>
                    <a:pt x="570" y="636"/>
                  </a:lnTo>
                  <a:lnTo>
                    <a:pt x="570" y="642"/>
                  </a:lnTo>
                  <a:lnTo>
                    <a:pt x="564" y="642"/>
                  </a:lnTo>
                  <a:lnTo>
                    <a:pt x="564" y="636"/>
                  </a:lnTo>
                  <a:lnTo>
                    <a:pt x="564" y="630"/>
                  </a:lnTo>
                  <a:lnTo>
                    <a:pt x="564" y="624"/>
                  </a:lnTo>
                  <a:lnTo>
                    <a:pt x="564" y="618"/>
                  </a:lnTo>
                  <a:lnTo>
                    <a:pt x="570" y="612"/>
                  </a:lnTo>
                  <a:lnTo>
                    <a:pt x="564" y="606"/>
                  </a:lnTo>
                  <a:lnTo>
                    <a:pt x="564" y="600"/>
                  </a:lnTo>
                  <a:lnTo>
                    <a:pt x="564" y="594"/>
                  </a:lnTo>
                  <a:lnTo>
                    <a:pt x="558" y="594"/>
                  </a:lnTo>
                  <a:lnTo>
                    <a:pt x="558" y="588"/>
                  </a:lnTo>
                  <a:lnTo>
                    <a:pt x="552" y="582"/>
                  </a:lnTo>
                  <a:lnTo>
                    <a:pt x="552" y="576"/>
                  </a:lnTo>
                  <a:lnTo>
                    <a:pt x="552" y="570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6" y="582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58" y="588"/>
                  </a:lnTo>
                  <a:lnTo>
                    <a:pt x="558" y="594"/>
                  </a:lnTo>
                  <a:lnTo>
                    <a:pt x="558" y="600"/>
                  </a:lnTo>
                  <a:lnTo>
                    <a:pt x="558" y="606"/>
                  </a:lnTo>
                  <a:lnTo>
                    <a:pt x="552" y="612"/>
                  </a:lnTo>
                  <a:lnTo>
                    <a:pt x="558" y="612"/>
                  </a:lnTo>
                  <a:lnTo>
                    <a:pt x="558" y="618"/>
                  </a:lnTo>
                  <a:lnTo>
                    <a:pt x="558" y="624"/>
                  </a:lnTo>
                  <a:lnTo>
                    <a:pt x="558" y="630"/>
                  </a:lnTo>
                  <a:lnTo>
                    <a:pt x="552" y="630"/>
                  </a:lnTo>
                  <a:lnTo>
                    <a:pt x="552" y="624"/>
                  </a:lnTo>
                  <a:lnTo>
                    <a:pt x="546" y="624"/>
                  </a:lnTo>
                  <a:lnTo>
                    <a:pt x="546" y="618"/>
                  </a:lnTo>
                  <a:lnTo>
                    <a:pt x="546" y="612"/>
                  </a:lnTo>
                  <a:lnTo>
                    <a:pt x="540" y="612"/>
                  </a:lnTo>
                  <a:lnTo>
                    <a:pt x="534" y="612"/>
                  </a:lnTo>
                  <a:lnTo>
                    <a:pt x="528" y="612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28" y="618"/>
                  </a:lnTo>
                  <a:lnTo>
                    <a:pt x="534" y="618"/>
                  </a:lnTo>
                  <a:lnTo>
                    <a:pt x="540" y="618"/>
                  </a:lnTo>
                  <a:lnTo>
                    <a:pt x="540" y="624"/>
                  </a:lnTo>
                  <a:lnTo>
                    <a:pt x="546" y="624"/>
                  </a:lnTo>
                  <a:lnTo>
                    <a:pt x="546" y="630"/>
                  </a:lnTo>
                  <a:lnTo>
                    <a:pt x="552" y="630"/>
                  </a:lnTo>
                  <a:lnTo>
                    <a:pt x="552" y="636"/>
                  </a:lnTo>
                  <a:lnTo>
                    <a:pt x="546" y="642"/>
                  </a:lnTo>
                  <a:lnTo>
                    <a:pt x="546" y="648"/>
                  </a:lnTo>
                  <a:lnTo>
                    <a:pt x="540" y="648"/>
                  </a:lnTo>
                  <a:lnTo>
                    <a:pt x="540" y="654"/>
                  </a:lnTo>
                  <a:lnTo>
                    <a:pt x="540" y="660"/>
                  </a:lnTo>
                  <a:lnTo>
                    <a:pt x="534" y="666"/>
                  </a:lnTo>
                  <a:lnTo>
                    <a:pt x="534" y="672"/>
                  </a:lnTo>
                  <a:lnTo>
                    <a:pt x="534" y="678"/>
                  </a:lnTo>
                  <a:lnTo>
                    <a:pt x="534" y="684"/>
                  </a:lnTo>
                  <a:lnTo>
                    <a:pt x="534" y="678"/>
                  </a:lnTo>
                  <a:lnTo>
                    <a:pt x="528" y="678"/>
                  </a:lnTo>
                  <a:lnTo>
                    <a:pt x="528" y="684"/>
                  </a:lnTo>
                  <a:lnTo>
                    <a:pt x="522" y="690"/>
                  </a:lnTo>
                  <a:lnTo>
                    <a:pt x="528" y="690"/>
                  </a:lnTo>
                  <a:lnTo>
                    <a:pt x="528" y="684"/>
                  </a:lnTo>
                  <a:lnTo>
                    <a:pt x="534" y="684"/>
                  </a:lnTo>
                  <a:lnTo>
                    <a:pt x="534" y="690"/>
                  </a:lnTo>
                  <a:lnTo>
                    <a:pt x="534" y="696"/>
                  </a:lnTo>
                  <a:lnTo>
                    <a:pt x="540" y="696"/>
                  </a:lnTo>
                  <a:lnTo>
                    <a:pt x="540" y="702"/>
                  </a:lnTo>
                  <a:lnTo>
                    <a:pt x="540" y="708"/>
                  </a:lnTo>
                  <a:lnTo>
                    <a:pt x="534" y="708"/>
                  </a:lnTo>
                  <a:lnTo>
                    <a:pt x="528" y="708"/>
                  </a:lnTo>
                  <a:lnTo>
                    <a:pt x="522" y="708"/>
                  </a:lnTo>
                  <a:lnTo>
                    <a:pt x="516" y="708"/>
                  </a:lnTo>
                  <a:lnTo>
                    <a:pt x="510" y="708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2" y="708"/>
                  </a:lnTo>
                  <a:lnTo>
                    <a:pt x="486" y="714"/>
                  </a:lnTo>
                  <a:lnTo>
                    <a:pt x="480" y="708"/>
                  </a:lnTo>
                  <a:lnTo>
                    <a:pt x="474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68" y="714"/>
                  </a:lnTo>
                  <a:lnTo>
                    <a:pt x="456" y="714"/>
                  </a:lnTo>
                  <a:lnTo>
                    <a:pt x="450" y="714"/>
                  </a:lnTo>
                  <a:lnTo>
                    <a:pt x="450" y="708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50" y="690"/>
                  </a:lnTo>
                  <a:lnTo>
                    <a:pt x="450" y="684"/>
                  </a:lnTo>
                  <a:lnTo>
                    <a:pt x="450" y="678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56" y="660"/>
                  </a:lnTo>
                  <a:lnTo>
                    <a:pt x="462" y="660"/>
                  </a:lnTo>
                  <a:lnTo>
                    <a:pt x="462" y="654"/>
                  </a:lnTo>
                  <a:lnTo>
                    <a:pt x="456" y="654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48"/>
                  </a:lnTo>
                  <a:lnTo>
                    <a:pt x="444" y="648"/>
                  </a:lnTo>
                  <a:lnTo>
                    <a:pt x="444" y="642"/>
                  </a:lnTo>
                  <a:lnTo>
                    <a:pt x="444" y="636"/>
                  </a:lnTo>
                  <a:lnTo>
                    <a:pt x="450" y="636"/>
                  </a:lnTo>
                  <a:lnTo>
                    <a:pt x="450" y="630"/>
                  </a:lnTo>
                  <a:lnTo>
                    <a:pt x="456" y="630"/>
                  </a:lnTo>
                  <a:lnTo>
                    <a:pt x="462" y="630"/>
                  </a:lnTo>
                  <a:lnTo>
                    <a:pt x="462" y="624"/>
                  </a:lnTo>
                  <a:lnTo>
                    <a:pt x="468" y="624"/>
                  </a:lnTo>
                  <a:lnTo>
                    <a:pt x="474" y="624"/>
                  </a:lnTo>
                  <a:lnTo>
                    <a:pt x="474" y="618"/>
                  </a:lnTo>
                  <a:lnTo>
                    <a:pt x="480" y="618"/>
                  </a:lnTo>
                  <a:lnTo>
                    <a:pt x="486" y="618"/>
                  </a:lnTo>
                  <a:lnTo>
                    <a:pt x="486" y="624"/>
                  </a:lnTo>
                  <a:lnTo>
                    <a:pt x="486" y="636"/>
                  </a:lnTo>
                  <a:lnTo>
                    <a:pt x="486" y="642"/>
                  </a:lnTo>
                  <a:lnTo>
                    <a:pt x="486" y="648"/>
                  </a:lnTo>
                  <a:lnTo>
                    <a:pt x="492" y="648"/>
                  </a:lnTo>
                  <a:lnTo>
                    <a:pt x="492" y="642"/>
                  </a:lnTo>
                  <a:lnTo>
                    <a:pt x="498" y="636"/>
                  </a:lnTo>
                  <a:lnTo>
                    <a:pt x="492" y="636"/>
                  </a:lnTo>
                  <a:lnTo>
                    <a:pt x="492" y="630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6" y="618"/>
                  </a:lnTo>
                  <a:lnTo>
                    <a:pt x="486" y="612"/>
                  </a:lnTo>
                  <a:lnTo>
                    <a:pt x="486" y="606"/>
                  </a:lnTo>
                  <a:lnTo>
                    <a:pt x="480" y="606"/>
                  </a:lnTo>
                  <a:lnTo>
                    <a:pt x="480" y="612"/>
                  </a:lnTo>
                  <a:lnTo>
                    <a:pt x="474" y="618"/>
                  </a:lnTo>
                  <a:lnTo>
                    <a:pt x="468" y="618"/>
                  </a:lnTo>
                  <a:lnTo>
                    <a:pt x="462" y="618"/>
                  </a:lnTo>
                  <a:lnTo>
                    <a:pt x="462" y="612"/>
                  </a:lnTo>
                  <a:lnTo>
                    <a:pt x="456" y="612"/>
                  </a:lnTo>
                  <a:lnTo>
                    <a:pt x="456" y="618"/>
                  </a:lnTo>
                  <a:lnTo>
                    <a:pt x="462" y="618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30"/>
                  </a:lnTo>
                  <a:lnTo>
                    <a:pt x="444" y="630"/>
                  </a:lnTo>
                  <a:lnTo>
                    <a:pt x="444" y="636"/>
                  </a:lnTo>
                  <a:lnTo>
                    <a:pt x="444" y="642"/>
                  </a:lnTo>
                  <a:lnTo>
                    <a:pt x="444" y="654"/>
                  </a:lnTo>
                  <a:lnTo>
                    <a:pt x="444" y="660"/>
                  </a:lnTo>
                  <a:lnTo>
                    <a:pt x="438" y="660"/>
                  </a:lnTo>
                  <a:lnTo>
                    <a:pt x="432" y="660"/>
                  </a:lnTo>
                  <a:lnTo>
                    <a:pt x="432" y="654"/>
                  </a:lnTo>
                  <a:lnTo>
                    <a:pt x="438" y="654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48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26" y="660"/>
                  </a:lnTo>
                  <a:lnTo>
                    <a:pt x="432" y="666"/>
                  </a:lnTo>
                  <a:lnTo>
                    <a:pt x="432" y="672"/>
                  </a:lnTo>
                  <a:lnTo>
                    <a:pt x="438" y="672"/>
                  </a:lnTo>
                  <a:lnTo>
                    <a:pt x="438" y="678"/>
                  </a:lnTo>
                  <a:lnTo>
                    <a:pt x="444" y="678"/>
                  </a:lnTo>
                  <a:lnTo>
                    <a:pt x="444" y="684"/>
                  </a:lnTo>
                  <a:lnTo>
                    <a:pt x="438" y="690"/>
                  </a:lnTo>
                  <a:lnTo>
                    <a:pt x="438" y="696"/>
                  </a:lnTo>
                  <a:lnTo>
                    <a:pt x="438" y="702"/>
                  </a:lnTo>
                  <a:lnTo>
                    <a:pt x="432" y="702"/>
                  </a:lnTo>
                  <a:lnTo>
                    <a:pt x="426" y="702"/>
                  </a:lnTo>
                  <a:lnTo>
                    <a:pt x="426" y="696"/>
                  </a:lnTo>
                  <a:lnTo>
                    <a:pt x="414" y="696"/>
                  </a:lnTo>
                  <a:lnTo>
                    <a:pt x="402" y="696"/>
                  </a:lnTo>
                  <a:lnTo>
                    <a:pt x="402" y="690"/>
                  </a:lnTo>
                  <a:lnTo>
                    <a:pt x="396" y="690"/>
                  </a:lnTo>
                  <a:lnTo>
                    <a:pt x="390" y="690"/>
                  </a:lnTo>
                  <a:lnTo>
                    <a:pt x="384" y="690"/>
                  </a:lnTo>
                  <a:lnTo>
                    <a:pt x="384" y="684"/>
                  </a:lnTo>
                  <a:lnTo>
                    <a:pt x="384" y="678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390" y="660"/>
                  </a:lnTo>
                  <a:lnTo>
                    <a:pt x="390" y="654"/>
                  </a:lnTo>
                  <a:lnTo>
                    <a:pt x="384" y="648"/>
                  </a:lnTo>
                  <a:lnTo>
                    <a:pt x="384" y="642"/>
                  </a:lnTo>
                  <a:lnTo>
                    <a:pt x="378" y="636"/>
                  </a:lnTo>
                  <a:lnTo>
                    <a:pt x="378" y="642"/>
                  </a:lnTo>
                  <a:lnTo>
                    <a:pt x="378" y="648"/>
                  </a:lnTo>
                  <a:lnTo>
                    <a:pt x="372" y="648"/>
                  </a:lnTo>
                  <a:lnTo>
                    <a:pt x="378" y="654"/>
                  </a:lnTo>
                  <a:lnTo>
                    <a:pt x="378" y="660"/>
                  </a:lnTo>
                  <a:lnTo>
                    <a:pt x="378" y="666"/>
                  </a:lnTo>
                  <a:lnTo>
                    <a:pt x="372" y="672"/>
                  </a:lnTo>
                  <a:lnTo>
                    <a:pt x="378" y="672"/>
                  </a:lnTo>
                  <a:lnTo>
                    <a:pt x="378" y="678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54" y="666"/>
                  </a:lnTo>
                  <a:lnTo>
                    <a:pt x="354" y="660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0" y="654"/>
                  </a:lnTo>
                  <a:lnTo>
                    <a:pt x="324" y="648"/>
                  </a:lnTo>
                  <a:lnTo>
                    <a:pt x="318" y="648"/>
                  </a:lnTo>
                  <a:lnTo>
                    <a:pt x="318" y="642"/>
                  </a:lnTo>
                  <a:lnTo>
                    <a:pt x="312" y="642"/>
                  </a:lnTo>
                  <a:lnTo>
                    <a:pt x="306" y="636"/>
                  </a:lnTo>
                  <a:lnTo>
                    <a:pt x="300" y="636"/>
                  </a:lnTo>
                  <a:lnTo>
                    <a:pt x="300" y="630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0" y="618"/>
                  </a:lnTo>
                  <a:lnTo>
                    <a:pt x="306" y="612"/>
                  </a:lnTo>
                  <a:lnTo>
                    <a:pt x="300" y="612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294" y="612"/>
                  </a:lnTo>
                  <a:lnTo>
                    <a:pt x="288" y="618"/>
                  </a:lnTo>
                  <a:lnTo>
                    <a:pt x="288" y="612"/>
                  </a:lnTo>
                  <a:lnTo>
                    <a:pt x="288" y="618"/>
                  </a:lnTo>
                  <a:lnTo>
                    <a:pt x="294" y="618"/>
                  </a:lnTo>
                  <a:lnTo>
                    <a:pt x="300" y="624"/>
                  </a:lnTo>
                  <a:lnTo>
                    <a:pt x="294" y="624"/>
                  </a:lnTo>
                  <a:lnTo>
                    <a:pt x="288" y="624"/>
                  </a:lnTo>
                  <a:lnTo>
                    <a:pt x="282" y="61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70" y="600"/>
                  </a:lnTo>
                  <a:lnTo>
                    <a:pt x="270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82" y="588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594"/>
                  </a:lnTo>
                  <a:lnTo>
                    <a:pt x="264" y="600"/>
                  </a:lnTo>
                  <a:lnTo>
                    <a:pt x="264" y="594"/>
                  </a:lnTo>
                  <a:lnTo>
                    <a:pt x="270" y="594"/>
                  </a:lnTo>
                  <a:lnTo>
                    <a:pt x="270" y="588"/>
                  </a:lnTo>
                  <a:lnTo>
                    <a:pt x="264" y="594"/>
                  </a:lnTo>
                  <a:lnTo>
                    <a:pt x="258" y="594"/>
                  </a:lnTo>
                  <a:lnTo>
                    <a:pt x="258" y="588"/>
                  </a:lnTo>
                  <a:lnTo>
                    <a:pt x="252" y="588"/>
                  </a:lnTo>
                  <a:lnTo>
                    <a:pt x="246" y="588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52" y="588"/>
                  </a:lnTo>
                  <a:lnTo>
                    <a:pt x="252" y="594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46" y="594"/>
                  </a:lnTo>
                  <a:lnTo>
                    <a:pt x="246" y="588"/>
                  </a:lnTo>
                  <a:lnTo>
                    <a:pt x="240" y="588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2" y="570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64"/>
                  </a:lnTo>
                  <a:lnTo>
                    <a:pt x="234" y="564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34" y="558"/>
                  </a:lnTo>
                  <a:lnTo>
                    <a:pt x="228" y="558"/>
                  </a:lnTo>
                  <a:lnTo>
                    <a:pt x="222" y="558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2" y="564"/>
                  </a:lnTo>
                  <a:lnTo>
                    <a:pt x="222" y="558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04" y="546"/>
                  </a:lnTo>
                  <a:lnTo>
                    <a:pt x="204" y="540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10" y="540"/>
                  </a:lnTo>
                  <a:lnTo>
                    <a:pt x="210" y="534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8"/>
                  </a:lnTo>
                  <a:lnTo>
                    <a:pt x="174" y="516"/>
                  </a:lnTo>
                  <a:lnTo>
                    <a:pt x="168" y="510"/>
                  </a:lnTo>
                  <a:lnTo>
                    <a:pt x="162" y="504"/>
                  </a:lnTo>
                  <a:lnTo>
                    <a:pt x="156" y="498"/>
                  </a:lnTo>
                  <a:lnTo>
                    <a:pt x="156" y="492"/>
                  </a:lnTo>
                  <a:lnTo>
                    <a:pt x="150" y="486"/>
                  </a:lnTo>
                  <a:lnTo>
                    <a:pt x="144" y="480"/>
                  </a:lnTo>
                  <a:lnTo>
                    <a:pt x="144" y="474"/>
                  </a:lnTo>
                  <a:lnTo>
                    <a:pt x="138" y="474"/>
                  </a:lnTo>
                  <a:lnTo>
                    <a:pt x="138" y="468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26" y="450"/>
                  </a:lnTo>
                  <a:lnTo>
                    <a:pt x="126" y="444"/>
                  </a:lnTo>
                  <a:lnTo>
                    <a:pt x="114" y="438"/>
                  </a:lnTo>
                  <a:lnTo>
                    <a:pt x="114" y="432"/>
                  </a:lnTo>
                  <a:lnTo>
                    <a:pt x="114" y="426"/>
                  </a:lnTo>
                  <a:lnTo>
                    <a:pt x="114" y="432"/>
                  </a:lnTo>
                  <a:lnTo>
                    <a:pt x="120" y="432"/>
                  </a:lnTo>
                  <a:lnTo>
                    <a:pt x="120" y="438"/>
                  </a:lnTo>
                  <a:lnTo>
                    <a:pt x="120" y="444"/>
                  </a:lnTo>
                  <a:lnTo>
                    <a:pt x="126" y="444"/>
                  </a:lnTo>
                  <a:lnTo>
                    <a:pt x="126" y="438"/>
                  </a:lnTo>
                  <a:lnTo>
                    <a:pt x="120" y="438"/>
                  </a:lnTo>
                  <a:lnTo>
                    <a:pt x="126" y="432"/>
                  </a:lnTo>
                  <a:lnTo>
                    <a:pt x="126" y="426"/>
                  </a:lnTo>
                  <a:lnTo>
                    <a:pt x="132" y="420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08" y="414"/>
                  </a:lnTo>
                  <a:lnTo>
                    <a:pt x="102" y="414"/>
                  </a:lnTo>
                  <a:lnTo>
                    <a:pt x="102" y="408"/>
                  </a:lnTo>
                  <a:lnTo>
                    <a:pt x="96" y="402"/>
                  </a:lnTo>
                  <a:lnTo>
                    <a:pt x="96" y="396"/>
                  </a:lnTo>
                  <a:lnTo>
                    <a:pt x="96" y="390"/>
                  </a:lnTo>
                  <a:lnTo>
                    <a:pt x="90" y="390"/>
                  </a:lnTo>
                  <a:lnTo>
                    <a:pt x="90" y="384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78" y="372"/>
                  </a:lnTo>
                  <a:lnTo>
                    <a:pt x="78" y="366"/>
                  </a:lnTo>
                  <a:lnTo>
                    <a:pt x="78" y="360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6" y="348"/>
                  </a:lnTo>
                  <a:lnTo>
                    <a:pt x="66" y="342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6" y="336"/>
                  </a:lnTo>
                  <a:lnTo>
                    <a:pt x="66" y="342"/>
                  </a:lnTo>
                  <a:lnTo>
                    <a:pt x="72" y="348"/>
                  </a:lnTo>
                  <a:lnTo>
                    <a:pt x="78" y="354"/>
                  </a:lnTo>
                  <a:lnTo>
                    <a:pt x="84" y="360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0" y="360"/>
                  </a:lnTo>
                  <a:lnTo>
                    <a:pt x="84" y="360"/>
                  </a:lnTo>
                  <a:lnTo>
                    <a:pt x="84" y="354"/>
                  </a:lnTo>
                  <a:lnTo>
                    <a:pt x="78" y="348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66" y="330"/>
                  </a:lnTo>
                  <a:lnTo>
                    <a:pt x="66" y="324"/>
                  </a:lnTo>
                  <a:lnTo>
                    <a:pt x="60" y="318"/>
                  </a:lnTo>
                  <a:lnTo>
                    <a:pt x="60" y="312"/>
                  </a:lnTo>
                  <a:lnTo>
                    <a:pt x="54" y="306"/>
                  </a:lnTo>
                  <a:lnTo>
                    <a:pt x="54" y="300"/>
                  </a:lnTo>
                  <a:lnTo>
                    <a:pt x="54" y="294"/>
                  </a:lnTo>
                  <a:lnTo>
                    <a:pt x="48" y="288"/>
                  </a:lnTo>
                  <a:lnTo>
                    <a:pt x="48" y="294"/>
                  </a:lnTo>
                  <a:lnTo>
                    <a:pt x="48" y="288"/>
                  </a:lnTo>
                  <a:lnTo>
                    <a:pt x="48" y="282"/>
                  </a:lnTo>
                  <a:lnTo>
                    <a:pt x="48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18" y="216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62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68"/>
                  </a:lnTo>
                  <a:lnTo>
                    <a:pt x="42" y="168"/>
                  </a:lnTo>
                  <a:lnTo>
                    <a:pt x="42" y="174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86"/>
                  </a:lnTo>
                  <a:close/>
                  <a:moveTo>
                    <a:pt x="642" y="660"/>
                  </a:moveTo>
                  <a:lnTo>
                    <a:pt x="642" y="666"/>
                  </a:lnTo>
                  <a:lnTo>
                    <a:pt x="648" y="666"/>
                  </a:lnTo>
                  <a:lnTo>
                    <a:pt x="648" y="672"/>
                  </a:lnTo>
                  <a:lnTo>
                    <a:pt x="648" y="678"/>
                  </a:lnTo>
                  <a:lnTo>
                    <a:pt x="654" y="678"/>
                  </a:lnTo>
                  <a:lnTo>
                    <a:pt x="654" y="684"/>
                  </a:lnTo>
                  <a:lnTo>
                    <a:pt x="660" y="684"/>
                  </a:lnTo>
                  <a:lnTo>
                    <a:pt x="660" y="690"/>
                  </a:lnTo>
                  <a:lnTo>
                    <a:pt x="654" y="690"/>
                  </a:lnTo>
                  <a:lnTo>
                    <a:pt x="648" y="690"/>
                  </a:lnTo>
                  <a:lnTo>
                    <a:pt x="636" y="696"/>
                  </a:lnTo>
                  <a:lnTo>
                    <a:pt x="630" y="696"/>
                  </a:lnTo>
                  <a:lnTo>
                    <a:pt x="624" y="696"/>
                  </a:lnTo>
                  <a:lnTo>
                    <a:pt x="618" y="696"/>
                  </a:lnTo>
                  <a:lnTo>
                    <a:pt x="612" y="696"/>
                  </a:lnTo>
                  <a:lnTo>
                    <a:pt x="594" y="696"/>
                  </a:lnTo>
                  <a:lnTo>
                    <a:pt x="588" y="696"/>
                  </a:lnTo>
                  <a:lnTo>
                    <a:pt x="582" y="696"/>
                  </a:lnTo>
                  <a:lnTo>
                    <a:pt x="570" y="702"/>
                  </a:lnTo>
                  <a:lnTo>
                    <a:pt x="564" y="702"/>
                  </a:lnTo>
                  <a:lnTo>
                    <a:pt x="558" y="702"/>
                  </a:lnTo>
                  <a:lnTo>
                    <a:pt x="552" y="702"/>
                  </a:lnTo>
                  <a:lnTo>
                    <a:pt x="552" y="696"/>
                  </a:lnTo>
                  <a:lnTo>
                    <a:pt x="546" y="696"/>
                  </a:lnTo>
                  <a:lnTo>
                    <a:pt x="546" y="690"/>
                  </a:lnTo>
                  <a:lnTo>
                    <a:pt x="552" y="684"/>
                  </a:lnTo>
                  <a:lnTo>
                    <a:pt x="552" y="678"/>
                  </a:lnTo>
                  <a:lnTo>
                    <a:pt x="558" y="672"/>
                  </a:lnTo>
                  <a:lnTo>
                    <a:pt x="558" y="666"/>
                  </a:lnTo>
                  <a:lnTo>
                    <a:pt x="564" y="666"/>
                  </a:lnTo>
                  <a:lnTo>
                    <a:pt x="570" y="666"/>
                  </a:lnTo>
                  <a:lnTo>
                    <a:pt x="570" y="654"/>
                  </a:lnTo>
                  <a:lnTo>
                    <a:pt x="570" y="648"/>
                  </a:lnTo>
                  <a:lnTo>
                    <a:pt x="582" y="642"/>
                  </a:lnTo>
                  <a:lnTo>
                    <a:pt x="582" y="636"/>
                  </a:lnTo>
                  <a:lnTo>
                    <a:pt x="588" y="636"/>
                  </a:lnTo>
                  <a:lnTo>
                    <a:pt x="588" y="630"/>
                  </a:lnTo>
                  <a:lnTo>
                    <a:pt x="594" y="624"/>
                  </a:lnTo>
                  <a:lnTo>
                    <a:pt x="594" y="618"/>
                  </a:lnTo>
                  <a:lnTo>
                    <a:pt x="600" y="618"/>
                  </a:lnTo>
                  <a:lnTo>
                    <a:pt x="600" y="612"/>
                  </a:lnTo>
                  <a:lnTo>
                    <a:pt x="606" y="612"/>
                  </a:lnTo>
                  <a:lnTo>
                    <a:pt x="606" y="618"/>
                  </a:lnTo>
                  <a:lnTo>
                    <a:pt x="612" y="618"/>
                  </a:lnTo>
                  <a:lnTo>
                    <a:pt x="618" y="618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18" y="636"/>
                  </a:lnTo>
                  <a:lnTo>
                    <a:pt x="618" y="642"/>
                  </a:lnTo>
                  <a:lnTo>
                    <a:pt x="618" y="648"/>
                  </a:lnTo>
                  <a:lnTo>
                    <a:pt x="624" y="648"/>
                  </a:lnTo>
                  <a:lnTo>
                    <a:pt x="630" y="648"/>
                  </a:lnTo>
                  <a:lnTo>
                    <a:pt x="636" y="654"/>
                  </a:lnTo>
                  <a:lnTo>
                    <a:pt x="642" y="654"/>
                  </a:lnTo>
                  <a:lnTo>
                    <a:pt x="642" y="66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00" name="Freeform 5">
              <a:extLst>
                <a:ext uri="{FF2B5EF4-FFF2-40B4-BE49-F238E27FC236}">
                  <a16:creationId xmlns:a16="http://schemas.microsoft.com/office/drawing/2014/main" id="{5577BDCA-F2C7-42E0-A391-018D79AA29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0384" y="4231013"/>
              <a:ext cx="404750" cy="480848"/>
            </a:xfrm>
            <a:custGeom>
              <a:avLst/>
              <a:gdLst>
                <a:gd name="T0" fmla="*/ 9 w 762"/>
                <a:gd name="T1" fmla="*/ 58 h 900"/>
                <a:gd name="T2" fmla="*/ 4 w 762"/>
                <a:gd name="T3" fmla="*/ 56 h 900"/>
                <a:gd name="T4" fmla="*/ 0 w 762"/>
                <a:gd name="T5" fmla="*/ 49 h 900"/>
                <a:gd name="T6" fmla="*/ 4 w 762"/>
                <a:gd name="T7" fmla="*/ 36 h 900"/>
                <a:gd name="T8" fmla="*/ 8 w 762"/>
                <a:gd name="T9" fmla="*/ 28 h 900"/>
                <a:gd name="T10" fmla="*/ 7 w 762"/>
                <a:gd name="T11" fmla="*/ 13 h 900"/>
                <a:gd name="T12" fmla="*/ 15 w 762"/>
                <a:gd name="T13" fmla="*/ 0 h 900"/>
                <a:gd name="T14" fmla="*/ 16 w 762"/>
                <a:gd name="T15" fmla="*/ 13 h 900"/>
                <a:gd name="T16" fmla="*/ 31 w 762"/>
                <a:gd name="T17" fmla="*/ 28 h 900"/>
                <a:gd name="T18" fmla="*/ 49 w 762"/>
                <a:gd name="T19" fmla="*/ 33 h 900"/>
                <a:gd name="T20" fmla="*/ 42 w 762"/>
                <a:gd name="T21" fmla="*/ 48 h 900"/>
                <a:gd name="T22" fmla="*/ 51 w 762"/>
                <a:gd name="T23" fmla="*/ 48 h 900"/>
                <a:gd name="T24" fmla="*/ 61 w 762"/>
                <a:gd name="T25" fmla="*/ 51 h 900"/>
                <a:gd name="T26" fmla="*/ 63 w 762"/>
                <a:gd name="T27" fmla="*/ 60 h 900"/>
                <a:gd name="T28" fmla="*/ 63 w 762"/>
                <a:gd name="T29" fmla="*/ 66 h 900"/>
                <a:gd name="T30" fmla="*/ 65 w 762"/>
                <a:gd name="T31" fmla="*/ 69 h 900"/>
                <a:gd name="T32" fmla="*/ 66 w 762"/>
                <a:gd name="T33" fmla="*/ 72 h 900"/>
                <a:gd name="T34" fmla="*/ 56 w 762"/>
                <a:gd name="T35" fmla="*/ 73 h 900"/>
                <a:gd name="T36" fmla="*/ 55 w 762"/>
                <a:gd name="T37" fmla="*/ 69 h 900"/>
                <a:gd name="T38" fmla="*/ 57 w 762"/>
                <a:gd name="T39" fmla="*/ 67 h 900"/>
                <a:gd name="T40" fmla="*/ 55 w 762"/>
                <a:gd name="T41" fmla="*/ 65 h 900"/>
                <a:gd name="T42" fmla="*/ 53 w 762"/>
                <a:gd name="T43" fmla="*/ 68 h 900"/>
                <a:gd name="T44" fmla="*/ 49 w 762"/>
                <a:gd name="T45" fmla="*/ 68 h 900"/>
                <a:gd name="T46" fmla="*/ 44 w 762"/>
                <a:gd name="T47" fmla="*/ 63 h 900"/>
                <a:gd name="T48" fmla="*/ 40 w 762"/>
                <a:gd name="T49" fmla="*/ 59 h 900"/>
                <a:gd name="T50" fmla="*/ 38 w 762"/>
                <a:gd name="T51" fmla="*/ 57 h 900"/>
                <a:gd name="T52" fmla="*/ 43 w 762"/>
                <a:gd name="T53" fmla="*/ 62 h 900"/>
                <a:gd name="T54" fmla="*/ 43 w 762"/>
                <a:gd name="T55" fmla="*/ 66 h 900"/>
                <a:gd name="T56" fmla="*/ 41 w 762"/>
                <a:gd name="T57" fmla="*/ 71 h 900"/>
                <a:gd name="T58" fmla="*/ 37 w 762"/>
                <a:gd name="T59" fmla="*/ 69 h 900"/>
                <a:gd name="T60" fmla="*/ 35 w 762"/>
                <a:gd name="T61" fmla="*/ 64 h 900"/>
                <a:gd name="T62" fmla="*/ 31 w 762"/>
                <a:gd name="T63" fmla="*/ 57 h 900"/>
                <a:gd name="T64" fmla="*/ 30 w 762"/>
                <a:gd name="T65" fmla="*/ 62 h 900"/>
                <a:gd name="T66" fmla="*/ 29 w 762"/>
                <a:gd name="T67" fmla="*/ 61 h 900"/>
                <a:gd name="T68" fmla="*/ 31 w 762"/>
                <a:gd name="T69" fmla="*/ 66 h 900"/>
                <a:gd name="T70" fmla="*/ 33 w 762"/>
                <a:gd name="T71" fmla="*/ 72 h 900"/>
                <a:gd name="T72" fmla="*/ 32 w 762"/>
                <a:gd name="T73" fmla="*/ 76 h 900"/>
                <a:gd name="T74" fmla="*/ 28 w 762"/>
                <a:gd name="T75" fmla="*/ 75 h 900"/>
                <a:gd name="T76" fmla="*/ 24 w 762"/>
                <a:gd name="T77" fmla="*/ 69 h 900"/>
                <a:gd name="T78" fmla="*/ 24 w 762"/>
                <a:gd name="T79" fmla="*/ 62 h 900"/>
                <a:gd name="T80" fmla="*/ 23 w 762"/>
                <a:gd name="T81" fmla="*/ 62 h 900"/>
                <a:gd name="T82" fmla="*/ 23 w 762"/>
                <a:gd name="T83" fmla="*/ 68 h 900"/>
                <a:gd name="T84" fmla="*/ 25 w 762"/>
                <a:gd name="T85" fmla="*/ 77 h 900"/>
                <a:gd name="T86" fmla="*/ 17 w 762"/>
                <a:gd name="T87" fmla="*/ 74 h 900"/>
                <a:gd name="T88" fmla="*/ 17 w 762"/>
                <a:gd name="T89" fmla="*/ 67 h 900"/>
                <a:gd name="T90" fmla="*/ 16 w 762"/>
                <a:gd name="T91" fmla="*/ 67 h 900"/>
                <a:gd name="T92" fmla="*/ 15 w 762"/>
                <a:gd name="T93" fmla="*/ 71 h 900"/>
                <a:gd name="T94" fmla="*/ 12 w 762"/>
                <a:gd name="T95" fmla="*/ 68 h 900"/>
                <a:gd name="T96" fmla="*/ 15 w 762"/>
                <a:gd name="T97" fmla="*/ 72 h 900"/>
                <a:gd name="T98" fmla="*/ 17 w 762"/>
                <a:gd name="T99" fmla="*/ 77 h 900"/>
                <a:gd name="T100" fmla="*/ 11 w 762"/>
                <a:gd name="T101" fmla="*/ 77 h 900"/>
                <a:gd name="T102" fmla="*/ 10 w 762"/>
                <a:gd name="T103" fmla="*/ 69 h 900"/>
                <a:gd name="T104" fmla="*/ 11 w 762"/>
                <a:gd name="T105" fmla="*/ 72 h 900"/>
                <a:gd name="T106" fmla="*/ 9 w 762"/>
                <a:gd name="T107" fmla="*/ 78 h 900"/>
                <a:gd name="T108" fmla="*/ 43 w 762"/>
                <a:gd name="T109" fmla="*/ 71 h 900"/>
                <a:gd name="T110" fmla="*/ 51 w 762"/>
                <a:gd name="T111" fmla="*/ 69 h 900"/>
                <a:gd name="T112" fmla="*/ 43 w 762"/>
                <a:gd name="T113" fmla="*/ 76 h 900"/>
                <a:gd name="T114" fmla="*/ 36 w 762"/>
                <a:gd name="T115" fmla="*/ 65 h 900"/>
                <a:gd name="T116" fmla="*/ 38 w 762"/>
                <a:gd name="T117" fmla="*/ 72 h 900"/>
                <a:gd name="T118" fmla="*/ 34 w 762"/>
                <a:gd name="T119" fmla="*/ 69 h 900"/>
                <a:gd name="T120" fmla="*/ 29 w 762"/>
                <a:gd name="T121" fmla="*/ 64 h 900"/>
                <a:gd name="T122" fmla="*/ 32 w 762"/>
                <a:gd name="T123" fmla="*/ 66 h 9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900"/>
                <a:gd name="T188" fmla="*/ 762 w 762"/>
                <a:gd name="T189" fmla="*/ 900 h 90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900">
                  <a:moveTo>
                    <a:pt x="90" y="768"/>
                  </a:moveTo>
                  <a:lnTo>
                    <a:pt x="102" y="756"/>
                  </a:lnTo>
                  <a:lnTo>
                    <a:pt x="102" y="750"/>
                  </a:lnTo>
                  <a:lnTo>
                    <a:pt x="90" y="744"/>
                  </a:lnTo>
                  <a:lnTo>
                    <a:pt x="84" y="738"/>
                  </a:lnTo>
                  <a:lnTo>
                    <a:pt x="90" y="726"/>
                  </a:lnTo>
                  <a:lnTo>
                    <a:pt x="84" y="720"/>
                  </a:lnTo>
                  <a:lnTo>
                    <a:pt x="78" y="720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72" y="702"/>
                  </a:lnTo>
                  <a:lnTo>
                    <a:pt x="72" y="696"/>
                  </a:lnTo>
                  <a:lnTo>
                    <a:pt x="84" y="684"/>
                  </a:lnTo>
                  <a:lnTo>
                    <a:pt x="96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102" y="654"/>
                  </a:lnTo>
                  <a:lnTo>
                    <a:pt x="108" y="654"/>
                  </a:lnTo>
                  <a:lnTo>
                    <a:pt x="114" y="648"/>
                  </a:lnTo>
                  <a:lnTo>
                    <a:pt x="120" y="642"/>
                  </a:lnTo>
                  <a:lnTo>
                    <a:pt x="120" y="636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14" y="618"/>
                  </a:lnTo>
                  <a:lnTo>
                    <a:pt x="102" y="618"/>
                  </a:lnTo>
                  <a:lnTo>
                    <a:pt x="90" y="618"/>
                  </a:lnTo>
                  <a:lnTo>
                    <a:pt x="78" y="624"/>
                  </a:lnTo>
                  <a:lnTo>
                    <a:pt x="72" y="630"/>
                  </a:lnTo>
                  <a:lnTo>
                    <a:pt x="54" y="642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42" y="642"/>
                  </a:lnTo>
                  <a:lnTo>
                    <a:pt x="42" y="636"/>
                  </a:lnTo>
                  <a:lnTo>
                    <a:pt x="36" y="636"/>
                  </a:lnTo>
                  <a:lnTo>
                    <a:pt x="30" y="642"/>
                  </a:lnTo>
                  <a:lnTo>
                    <a:pt x="30" y="636"/>
                  </a:lnTo>
                  <a:lnTo>
                    <a:pt x="30" y="630"/>
                  </a:lnTo>
                  <a:lnTo>
                    <a:pt x="24" y="630"/>
                  </a:lnTo>
                  <a:lnTo>
                    <a:pt x="30" y="624"/>
                  </a:lnTo>
                  <a:lnTo>
                    <a:pt x="30" y="618"/>
                  </a:lnTo>
                  <a:lnTo>
                    <a:pt x="30" y="612"/>
                  </a:lnTo>
                  <a:lnTo>
                    <a:pt x="36" y="612"/>
                  </a:lnTo>
                  <a:lnTo>
                    <a:pt x="36" y="606"/>
                  </a:lnTo>
                  <a:lnTo>
                    <a:pt x="30" y="606"/>
                  </a:lnTo>
                  <a:lnTo>
                    <a:pt x="24" y="612"/>
                  </a:lnTo>
                  <a:lnTo>
                    <a:pt x="18" y="606"/>
                  </a:lnTo>
                  <a:lnTo>
                    <a:pt x="12" y="594"/>
                  </a:lnTo>
                  <a:lnTo>
                    <a:pt x="6" y="582"/>
                  </a:lnTo>
                  <a:lnTo>
                    <a:pt x="6" y="570"/>
                  </a:lnTo>
                  <a:lnTo>
                    <a:pt x="0" y="558"/>
                  </a:lnTo>
                  <a:lnTo>
                    <a:pt x="6" y="552"/>
                  </a:lnTo>
                  <a:lnTo>
                    <a:pt x="6" y="534"/>
                  </a:lnTo>
                  <a:lnTo>
                    <a:pt x="18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12" y="480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54" y="408"/>
                  </a:lnTo>
                  <a:lnTo>
                    <a:pt x="54" y="396"/>
                  </a:lnTo>
                  <a:lnTo>
                    <a:pt x="54" y="384"/>
                  </a:lnTo>
                  <a:lnTo>
                    <a:pt x="60" y="378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66"/>
                  </a:lnTo>
                  <a:lnTo>
                    <a:pt x="60" y="360"/>
                  </a:lnTo>
                  <a:lnTo>
                    <a:pt x="66" y="360"/>
                  </a:lnTo>
                  <a:lnTo>
                    <a:pt x="72" y="354"/>
                  </a:lnTo>
                  <a:lnTo>
                    <a:pt x="78" y="354"/>
                  </a:lnTo>
                  <a:lnTo>
                    <a:pt x="84" y="348"/>
                  </a:lnTo>
                  <a:lnTo>
                    <a:pt x="96" y="348"/>
                  </a:lnTo>
                  <a:lnTo>
                    <a:pt x="96" y="342"/>
                  </a:lnTo>
                  <a:lnTo>
                    <a:pt x="96" y="336"/>
                  </a:lnTo>
                  <a:lnTo>
                    <a:pt x="96" y="330"/>
                  </a:lnTo>
                  <a:lnTo>
                    <a:pt x="96" y="324"/>
                  </a:lnTo>
                  <a:lnTo>
                    <a:pt x="102" y="318"/>
                  </a:lnTo>
                  <a:lnTo>
                    <a:pt x="108" y="312"/>
                  </a:lnTo>
                  <a:lnTo>
                    <a:pt x="96" y="306"/>
                  </a:lnTo>
                  <a:lnTo>
                    <a:pt x="84" y="288"/>
                  </a:lnTo>
                  <a:lnTo>
                    <a:pt x="108" y="258"/>
                  </a:lnTo>
                  <a:lnTo>
                    <a:pt x="102" y="222"/>
                  </a:lnTo>
                  <a:lnTo>
                    <a:pt x="84" y="222"/>
                  </a:lnTo>
                  <a:lnTo>
                    <a:pt x="54" y="216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2"/>
                  </a:lnTo>
                  <a:lnTo>
                    <a:pt x="72" y="192"/>
                  </a:lnTo>
                  <a:lnTo>
                    <a:pt x="84" y="186"/>
                  </a:lnTo>
                  <a:lnTo>
                    <a:pt x="90" y="186"/>
                  </a:lnTo>
                  <a:lnTo>
                    <a:pt x="90" y="174"/>
                  </a:lnTo>
                  <a:lnTo>
                    <a:pt x="84" y="162"/>
                  </a:lnTo>
                  <a:lnTo>
                    <a:pt x="84" y="150"/>
                  </a:lnTo>
                  <a:lnTo>
                    <a:pt x="84" y="126"/>
                  </a:lnTo>
                  <a:lnTo>
                    <a:pt x="84" y="114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8" y="96"/>
                  </a:lnTo>
                  <a:lnTo>
                    <a:pt x="120" y="90"/>
                  </a:lnTo>
                  <a:lnTo>
                    <a:pt x="126" y="78"/>
                  </a:lnTo>
                  <a:lnTo>
                    <a:pt x="138" y="66"/>
                  </a:lnTo>
                  <a:lnTo>
                    <a:pt x="138" y="48"/>
                  </a:lnTo>
                  <a:lnTo>
                    <a:pt x="138" y="42"/>
                  </a:lnTo>
                  <a:lnTo>
                    <a:pt x="126" y="30"/>
                  </a:lnTo>
                  <a:lnTo>
                    <a:pt x="120" y="18"/>
                  </a:lnTo>
                  <a:lnTo>
                    <a:pt x="132" y="12"/>
                  </a:lnTo>
                  <a:lnTo>
                    <a:pt x="144" y="0"/>
                  </a:lnTo>
                  <a:lnTo>
                    <a:pt x="150" y="6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6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74" y="66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68" y="72"/>
                  </a:lnTo>
                  <a:lnTo>
                    <a:pt x="156" y="150"/>
                  </a:lnTo>
                  <a:lnTo>
                    <a:pt x="168" y="144"/>
                  </a:lnTo>
                  <a:lnTo>
                    <a:pt x="180" y="150"/>
                  </a:lnTo>
                  <a:lnTo>
                    <a:pt x="186" y="150"/>
                  </a:lnTo>
                  <a:lnTo>
                    <a:pt x="186" y="144"/>
                  </a:lnTo>
                  <a:lnTo>
                    <a:pt x="192" y="150"/>
                  </a:lnTo>
                  <a:lnTo>
                    <a:pt x="222" y="150"/>
                  </a:lnTo>
                  <a:lnTo>
                    <a:pt x="222" y="168"/>
                  </a:lnTo>
                  <a:lnTo>
                    <a:pt x="222" y="186"/>
                  </a:lnTo>
                  <a:lnTo>
                    <a:pt x="234" y="198"/>
                  </a:lnTo>
                  <a:lnTo>
                    <a:pt x="234" y="234"/>
                  </a:lnTo>
                  <a:lnTo>
                    <a:pt x="228" y="270"/>
                  </a:lnTo>
                  <a:lnTo>
                    <a:pt x="246" y="282"/>
                  </a:lnTo>
                  <a:lnTo>
                    <a:pt x="258" y="294"/>
                  </a:lnTo>
                  <a:lnTo>
                    <a:pt x="270" y="300"/>
                  </a:lnTo>
                  <a:lnTo>
                    <a:pt x="294" y="300"/>
                  </a:lnTo>
                  <a:lnTo>
                    <a:pt x="288" y="306"/>
                  </a:lnTo>
                  <a:lnTo>
                    <a:pt x="300" y="312"/>
                  </a:lnTo>
                  <a:lnTo>
                    <a:pt x="306" y="318"/>
                  </a:lnTo>
                  <a:lnTo>
                    <a:pt x="324" y="324"/>
                  </a:lnTo>
                  <a:lnTo>
                    <a:pt x="354" y="318"/>
                  </a:lnTo>
                  <a:lnTo>
                    <a:pt x="354" y="312"/>
                  </a:lnTo>
                  <a:lnTo>
                    <a:pt x="366" y="312"/>
                  </a:lnTo>
                  <a:lnTo>
                    <a:pt x="384" y="312"/>
                  </a:lnTo>
                  <a:lnTo>
                    <a:pt x="390" y="306"/>
                  </a:lnTo>
                  <a:lnTo>
                    <a:pt x="396" y="306"/>
                  </a:lnTo>
                  <a:lnTo>
                    <a:pt x="408" y="306"/>
                  </a:lnTo>
                  <a:lnTo>
                    <a:pt x="426" y="312"/>
                  </a:lnTo>
                  <a:lnTo>
                    <a:pt x="456" y="324"/>
                  </a:lnTo>
                  <a:lnTo>
                    <a:pt x="504" y="330"/>
                  </a:lnTo>
                  <a:lnTo>
                    <a:pt x="510" y="336"/>
                  </a:lnTo>
                  <a:lnTo>
                    <a:pt x="534" y="336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58" y="330"/>
                  </a:lnTo>
                  <a:lnTo>
                    <a:pt x="564" y="330"/>
                  </a:lnTo>
                  <a:lnTo>
                    <a:pt x="570" y="354"/>
                  </a:lnTo>
                  <a:lnTo>
                    <a:pt x="564" y="378"/>
                  </a:lnTo>
                  <a:lnTo>
                    <a:pt x="558" y="396"/>
                  </a:lnTo>
                  <a:lnTo>
                    <a:pt x="546" y="414"/>
                  </a:lnTo>
                  <a:lnTo>
                    <a:pt x="546" y="438"/>
                  </a:lnTo>
                  <a:lnTo>
                    <a:pt x="540" y="456"/>
                  </a:lnTo>
                  <a:lnTo>
                    <a:pt x="540" y="474"/>
                  </a:lnTo>
                  <a:lnTo>
                    <a:pt x="528" y="480"/>
                  </a:lnTo>
                  <a:lnTo>
                    <a:pt x="522" y="492"/>
                  </a:lnTo>
                  <a:lnTo>
                    <a:pt x="504" y="498"/>
                  </a:lnTo>
                  <a:lnTo>
                    <a:pt x="498" y="498"/>
                  </a:lnTo>
                  <a:lnTo>
                    <a:pt x="492" y="504"/>
                  </a:lnTo>
                  <a:lnTo>
                    <a:pt x="486" y="510"/>
                  </a:lnTo>
                  <a:lnTo>
                    <a:pt x="480" y="510"/>
                  </a:lnTo>
                  <a:lnTo>
                    <a:pt x="480" y="516"/>
                  </a:lnTo>
                  <a:lnTo>
                    <a:pt x="474" y="522"/>
                  </a:lnTo>
                  <a:lnTo>
                    <a:pt x="474" y="528"/>
                  </a:lnTo>
                  <a:lnTo>
                    <a:pt x="474" y="534"/>
                  </a:lnTo>
                  <a:lnTo>
                    <a:pt x="480" y="540"/>
                  </a:lnTo>
                  <a:lnTo>
                    <a:pt x="492" y="540"/>
                  </a:lnTo>
                  <a:lnTo>
                    <a:pt x="498" y="546"/>
                  </a:lnTo>
                  <a:lnTo>
                    <a:pt x="504" y="552"/>
                  </a:lnTo>
                  <a:lnTo>
                    <a:pt x="510" y="552"/>
                  </a:lnTo>
                  <a:lnTo>
                    <a:pt x="516" y="558"/>
                  </a:lnTo>
                  <a:lnTo>
                    <a:pt x="528" y="558"/>
                  </a:lnTo>
                  <a:lnTo>
                    <a:pt x="534" y="552"/>
                  </a:lnTo>
                  <a:lnTo>
                    <a:pt x="540" y="552"/>
                  </a:lnTo>
                  <a:lnTo>
                    <a:pt x="546" y="552"/>
                  </a:lnTo>
                  <a:lnTo>
                    <a:pt x="558" y="546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70" y="546"/>
                  </a:lnTo>
                  <a:lnTo>
                    <a:pt x="570" y="540"/>
                  </a:lnTo>
                  <a:lnTo>
                    <a:pt x="570" y="546"/>
                  </a:lnTo>
                  <a:lnTo>
                    <a:pt x="576" y="546"/>
                  </a:lnTo>
                  <a:lnTo>
                    <a:pt x="582" y="546"/>
                  </a:lnTo>
                  <a:lnTo>
                    <a:pt x="588" y="540"/>
                  </a:lnTo>
                  <a:lnTo>
                    <a:pt x="594" y="546"/>
                  </a:lnTo>
                  <a:lnTo>
                    <a:pt x="606" y="546"/>
                  </a:lnTo>
                  <a:lnTo>
                    <a:pt x="612" y="546"/>
                  </a:lnTo>
                  <a:lnTo>
                    <a:pt x="612" y="552"/>
                  </a:lnTo>
                  <a:lnTo>
                    <a:pt x="618" y="552"/>
                  </a:lnTo>
                  <a:lnTo>
                    <a:pt x="624" y="552"/>
                  </a:lnTo>
                  <a:lnTo>
                    <a:pt x="630" y="552"/>
                  </a:lnTo>
                  <a:lnTo>
                    <a:pt x="648" y="546"/>
                  </a:lnTo>
                  <a:lnTo>
                    <a:pt x="654" y="546"/>
                  </a:lnTo>
                  <a:lnTo>
                    <a:pt x="654" y="552"/>
                  </a:lnTo>
                  <a:lnTo>
                    <a:pt x="660" y="558"/>
                  </a:lnTo>
                  <a:lnTo>
                    <a:pt x="666" y="564"/>
                  </a:lnTo>
                  <a:lnTo>
                    <a:pt x="672" y="564"/>
                  </a:lnTo>
                  <a:lnTo>
                    <a:pt x="678" y="564"/>
                  </a:lnTo>
                  <a:lnTo>
                    <a:pt x="696" y="576"/>
                  </a:lnTo>
                  <a:lnTo>
                    <a:pt x="696" y="582"/>
                  </a:lnTo>
                  <a:lnTo>
                    <a:pt x="708" y="588"/>
                  </a:lnTo>
                  <a:lnTo>
                    <a:pt x="708" y="594"/>
                  </a:lnTo>
                  <a:lnTo>
                    <a:pt x="720" y="606"/>
                  </a:lnTo>
                  <a:lnTo>
                    <a:pt x="720" y="618"/>
                  </a:lnTo>
                  <a:lnTo>
                    <a:pt x="720" y="624"/>
                  </a:lnTo>
                  <a:lnTo>
                    <a:pt x="726" y="630"/>
                  </a:lnTo>
                  <a:lnTo>
                    <a:pt x="732" y="636"/>
                  </a:lnTo>
                  <a:lnTo>
                    <a:pt x="732" y="642"/>
                  </a:lnTo>
                  <a:lnTo>
                    <a:pt x="732" y="648"/>
                  </a:lnTo>
                  <a:lnTo>
                    <a:pt x="726" y="654"/>
                  </a:lnTo>
                  <a:lnTo>
                    <a:pt x="720" y="660"/>
                  </a:lnTo>
                  <a:lnTo>
                    <a:pt x="714" y="666"/>
                  </a:lnTo>
                  <a:lnTo>
                    <a:pt x="714" y="672"/>
                  </a:lnTo>
                  <a:lnTo>
                    <a:pt x="714" y="678"/>
                  </a:lnTo>
                  <a:lnTo>
                    <a:pt x="720" y="678"/>
                  </a:lnTo>
                  <a:lnTo>
                    <a:pt x="720" y="684"/>
                  </a:lnTo>
                  <a:lnTo>
                    <a:pt x="714" y="690"/>
                  </a:lnTo>
                  <a:lnTo>
                    <a:pt x="714" y="696"/>
                  </a:lnTo>
                  <a:lnTo>
                    <a:pt x="714" y="702"/>
                  </a:lnTo>
                  <a:lnTo>
                    <a:pt x="714" y="708"/>
                  </a:lnTo>
                  <a:lnTo>
                    <a:pt x="720" y="708"/>
                  </a:lnTo>
                  <a:lnTo>
                    <a:pt x="720" y="720"/>
                  </a:lnTo>
                  <a:lnTo>
                    <a:pt x="720" y="726"/>
                  </a:lnTo>
                  <a:lnTo>
                    <a:pt x="726" y="726"/>
                  </a:lnTo>
                  <a:lnTo>
                    <a:pt x="726" y="732"/>
                  </a:lnTo>
                  <a:lnTo>
                    <a:pt x="732" y="732"/>
                  </a:lnTo>
                  <a:lnTo>
                    <a:pt x="732" y="738"/>
                  </a:lnTo>
                  <a:lnTo>
                    <a:pt x="726" y="738"/>
                  </a:lnTo>
                  <a:lnTo>
                    <a:pt x="720" y="738"/>
                  </a:lnTo>
                  <a:lnTo>
                    <a:pt x="720" y="744"/>
                  </a:lnTo>
                  <a:lnTo>
                    <a:pt x="720" y="750"/>
                  </a:lnTo>
                  <a:lnTo>
                    <a:pt x="714" y="750"/>
                  </a:lnTo>
                  <a:lnTo>
                    <a:pt x="714" y="756"/>
                  </a:lnTo>
                  <a:lnTo>
                    <a:pt x="720" y="756"/>
                  </a:lnTo>
                  <a:lnTo>
                    <a:pt x="714" y="762"/>
                  </a:lnTo>
                  <a:lnTo>
                    <a:pt x="720" y="762"/>
                  </a:lnTo>
                  <a:lnTo>
                    <a:pt x="726" y="768"/>
                  </a:lnTo>
                  <a:lnTo>
                    <a:pt x="726" y="774"/>
                  </a:lnTo>
                  <a:lnTo>
                    <a:pt x="732" y="774"/>
                  </a:lnTo>
                  <a:lnTo>
                    <a:pt x="732" y="780"/>
                  </a:lnTo>
                  <a:lnTo>
                    <a:pt x="726" y="780"/>
                  </a:lnTo>
                  <a:lnTo>
                    <a:pt x="726" y="786"/>
                  </a:lnTo>
                  <a:lnTo>
                    <a:pt x="720" y="786"/>
                  </a:lnTo>
                  <a:lnTo>
                    <a:pt x="726" y="786"/>
                  </a:lnTo>
                  <a:lnTo>
                    <a:pt x="732" y="780"/>
                  </a:lnTo>
                  <a:lnTo>
                    <a:pt x="738" y="780"/>
                  </a:lnTo>
                  <a:lnTo>
                    <a:pt x="744" y="780"/>
                  </a:lnTo>
                  <a:lnTo>
                    <a:pt x="744" y="786"/>
                  </a:lnTo>
                  <a:lnTo>
                    <a:pt x="750" y="786"/>
                  </a:lnTo>
                  <a:lnTo>
                    <a:pt x="744" y="786"/>
                  </a:lnTo>
                  <a:lnTo>
                    <a:pt x="744" y="792"/>
                  </a:lnTo>
                  <a:lnTo>
                    <a:pt x="744" y="786"/>
                  </a:lnTo>
                  <a:lnTo>
                    <a:pt x="738" y="792"/>
                  </a:lnTo>
                  <a:lnTo>
                    <a:pt x="744" y="792"/>
                  </a:lnTo>
                  <a:lnTo>
                    <a:pt x="750" y="792"/>
                  </a:lnTo>
                  <a:lnTo>
                    <a:pt x="750" y="786"/>
                  </a:lnTo>
                  <a:lnTo>
                    <a:pt x="756" y="786"/>
                  </a:lnTo>
                  <a:lnTo>
                    <a:pt x="756" y="792"/>
                  </a:lnTo>
                  <a:lnTo>
                    <a:pt x="762" y="792"/>
                  </a:lnTo>
                  <a:lnTo>
                    <a:pt x="756" y="798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0" y="810"/>
                  </a:lnTo>
                  <a:lnTo>
                    <a:pt x="756" y="810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6" y="816"/>
                  </a:lnTo>
                  <a:lnTo>
                    <a:pt x="750" y="816"/>
                  </a:lnTo>
                  <a:lnTo>
                    <a:pt x="738" y="810"/>
                  </a:lnTo>
                  <a:lnTo>
                    <a:pt x="732" y="810"/>
                  </a:lnTo>
                  <a:lnTo>
                    <a:pt x="732" y="816"/>
                  </a:lnTo>
                  <a:lnTo>
                    <a:pt x="726" y="810"/>
                  </a:lnTo>
                  <a:lnTo>
                    <a:pt x="714" y="816"/>
                  </a:lnTo>
                  <a:lnTo>
                    <a:pt x="708" y="816"/>
                  </a:lnTo>
                  <a:lnTo>
                    <a:pt x="702" y="816"/>
                  </a:lnTo>
                  <a:lnTo>
                    <a:pt x="696" y="816"/>
                  </a:lnTo>
                  <a:lnTo>
                    <a:pt x="690" y="822"/>
                  </a:lnTo>
                  <a:lnTo>
                    <a:pt x="684" y="822"/>
                  </a:lnTo>
                  <a:lnTo>
                    <a:pt x="678" y="822"/>
                  </a:lnTo>
                  <a:lnTo>
                    <a:pt x="672" y="822"/>
                  </a:lnTo>
                  <a:lnTo>
                    <a:pt x="666" y="822"/>
                  </a:lnTo>
                  <a:lnTo>
                    <a:pt x="666" y="828"/>
                  </a:lnTo>
                  <a:lnTo>
                    <a:pt x="654" y="828"/>
                  </a:lnTo>
                  <a:lnTo>
                    <a:pt x="648" y="828"/>
                  </a:lnTo>
                  <a:lnTo>
                    <a:pt x="642" y="828"/>
                  </a:lnTo>
                  <a:lnTo>
                    <a:pt x="630" y="828"/>
                  </a:lnTo>
                  <a:lnTo>
                    <a:pt x="624" y="822"/>
                  </a:lnTo>
                  <a:lnTo>
                    <a:pt x="618" y="822"/>
                  </a:lnTo>
                  <a:lnTo>
                    <a:pt x="612" y="822"/>
                  </a:lnTo>
                  <a:lnTo>
                    <a:pt x="606" y="822"/>
                  </a:lnTo>
                  <a:lnTo>
                    <a:pt x="600" y="822"/>
                  </a:lnTo>
                  <a:lnTo>
                    <a:pt x="594" y="822"/>
                  </a:lnTo>
                  <a:lnTo>
                    <a:pt x="594" y="816"/>
                  </a:lnTo>
                  <a:lnTo>
                    <a:pt x="594" y="810"/>
                  </a:lnTo>
                  <a:lnTo>
                    <a:pt x="600" y="804"/>
                  </a:lnTo>
                  <a:lnTo>
                    <a:pt x="600" y="798"/>
                  </a:lnTo>
                  <a:lnTo>
                    <a:pt x="600" y="792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2" y="786"/>
                  </a:lnTo>
                  <a:lnTo>
                    <a:pt x="618" y="786"/>
                  </a:lnTo>
                  <a:lnTo>
                    <a:pt x="624" y="786"/>
                  </a:lnTo>
                  <a:lnTo>
                    <a:pt x="624" y="780"/>
                  </a:lnTo>
                  <a:lnTo>
                    <a:pt x="630" y="780"/>
                  </a:lnTo>
                  <a:lnTo>
                    <a:pt x="630" y="774"/>
                  </a:lnTo>
                  <a:lnTo>
                    <a:pt x="636" y="774"/>
                  </a:lnTo>
                  <a:lnTo>
                    <a:pt x="642" y="780"/>
                  </a:lnTo>
                  <a:lnTo>
                    <a:pt x="642" y="786"/>
                  </a:lnTo>
                  <a:lnTo>
                    <a:pt x="642" y="792"/>
                  </a:lnTo>
                  <a:lnTo>
                    <a:pt x="648" y="792"/>
                  </a:lnTo>
                  <a:lnTo>
                    <a:pt x="648" y="786"/>
                  </a:lnTo>
                  <a:lnTo>
                    <a:pt x="642" y="786"/>
                  </a:lnTo>
                  <a:lnTo>
                    <a:pt x="642" y="780"/>
                  </a:lnTo>
                  <a:lnTo>
                    <a:pt x="642" y="774"/>
                  </a:lnTo>
                  <a:lnTo>
                    <a:pt x="648" y="768"/>
                  </a:lnTo>
                  <a:lnTo>
                    <a:pt x="642" y="768"/>
                  </a:lnTo>
                  <a:lnTo>
                    <a:pt x="648" y="768"/>
                  </a:lnTo>
                  <a:lnTo>
                    <a:pt x="648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66" y="762"/>
                  </a:lnTo>
                  <a:lnTo>
                    <a:pt x="672" y="756"/>
                  </a:lnTo>
                  <a:lnTo>
                    <a:pt x="666" y="756"/>
                  </a:lnTo>
                  <a:lnTo>
                    <a:pt x="660" y="756"/>
                  </a:lnTo>
                  <a:lnTo>
                    <a:pt x="660" y="750"/>
                  </a:lnTo>
                  <a:lnTo>
                    <a:pt x="654" y="750"/>
                  </a:lnTo>
                  <a:lnTo>
                    <a:pt x="648" y="750"/>
                  </a:lnTo>
                  <a:lnTo>
                    <a:pt x="648" y="756"/>
                  </a:lnTo>
                  <a:lnTo>
                    <a:pt x="642" y="756"/>
                  </a:lnTo>
                  <a:lnTo>
                    <a:pt x="642" y="750"/>
                  </a:lnTo>
                  <a:lnTo>
                    <a:pt x="642" y="744"/>
                  </a:lnTo>
                  <a:lnTo>
                    <a:pt x="642" y="750"/>
                  </a:lnTo>
                  <a:lnTo>
                    <a:pt x="636" y="750"/>
                  </a:lnTo>
                  <a:lnTo>
                    <a:pt x="636" y="744"/>
                  </a:lnTo>
                  <a:lnTo>
                    <a:pt x="630" y="744"/>
                  </a:lnTo>
                  <a:lnTo>
                    <a:pt x="630" y="738"/>
                  </a:lnTo>
                  <a:lnTo>
                    <a:pt x="630" y="744"/>
                  </a:lnTo>
                  <a:lnTo>
                    <a:pt x="630" y="750"/>
                  </a:lnTo>
                  <a:lnTo>
                    <a:pt x="636" y="750"/>
                  </a:lnTo>
                  <a:lnTo>
                    <a:pt x="636" y="756"/>
                  </a:lnTo>
                  <a:lnTo>
                    <a:pt x="630" y="756"/>
                  </a:lnTo>
                  <a:lnTo>
                    <a:pt x="636" y="762"/>
                  </a:lnTo>
                  <a:lnTo>
                    <a:pt x="630" y="762"/>
                  </a:lnTo>
                  <a:lnTo>
                    <a:pt x="624" y="762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24" y="786"/>
                  </a:lnTo>
                  <a:lnTo>
                    <a:pt x="618" y="786"/>
                  </a:lnTo>
                  <a:lnTo>
                    <a:pt x="618" y="78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12" y="774"/>
                  </a:lnTo>
                  <a:lnTo>
                    <a:pt x="612" y="780"/>
                  </a:lnTo>
                  <a:lnTo>
                    <a:pt x="606" y="780"/>
                  </a:lnTo>
                  <a:lnTo>
                    <a:pt x="600" y="780"/>
                  </a:lnTo>
                  <a:lnTo>
                    <a:pt x="600" y="774"/>
                  </a:lnTo>
                  <a:lnTo>
                    <a:pt x="594" y="768"/>
                  </a:lnTo>
                  <a:lnTo>
                    <a:pt x="594" y="762"/>
                  </a:lnTo>
                  <a:lnTo>
                    <a:pt x="594" y="756"/>
                  </a:lnTo>
                  <a:lnTo>
                    <a:pt x="594" y="762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594" y="780"/>
                  </a:lnTo>
                  <a:lnTo>
                    <a:pt x="588" y="780"/>
                  </a:lnTo>
                  <a:lnTo>
                    <a:pt x="582" y="780"/>
                  </a:lnTo>
                  <a:lnTo>
                    <a:pt x="576" y="780"/>
                  </a:lnTo>
                  <a:lnTo>
                    <a:pt x="570" y="780"/>
                  </a:lnTo>
                  <a:lnTo>
                    <a:pt x="564" y="780"/>
                  </a:lnTo>
                  <a:lnTo>
                    <a:pt x="564" y="786"/>
                  </a:lnTo>
                  <a:lnTo>
                    <a:pt x="558" y="786"/>
                  </a:lnTo>
                  <a:lnTo>
                    <a:pt x="552" y="786"/>
                  </a:lnTo>
                  <a:lnTo>
                    <a:pt x="552" y="780"/>
                  </a:lnTo>
                  <a:lnTo>
                    <a:pt x="552" y="774"/>
                  </a:lnTo>
                  <a:lnTo>
                    <a:pt x="552" y="768"/>
                  </a:lnTo>
                  <a:lnTo>
                    <a:pt x="546" y="768"/>
                  </a:lnTo>
                  <a:lnTo>
                    <a:pt x="540" y="762"/>
                  </a:lnTo>
                  <a:lnTo>
                    <a:pt x="540" y="756"/>
                  </a:lnTo>
                  <a:lnTo>
                    <a:pt x="534" y="756"/>
                  </a:lnTo>
                  <a:lnTo>
                    <a:pt x="534" y="750"/>
                  </a:lnTo>
                  <a:lnTo>
                    <a:pt x="534" y="744"/>
                  </a:lnTo>
                  <a:lnTo>
                    <a:pt x="528" y="738"/>
                  </a:lnTo>
                  <a:lnTo>
                    <a:pt x="522" y="738"/>
                  </a:lnTo>
                  <a:lnTo>
                    <a:pt x="522" y="732"/>
                  </a:lnTo>
                  <a:lnTo>
                    <a:pt x="510" y="726"/>
                  </a:lnTo>
                  <a:lnTo>
                    <a:pt x="510" y="720"/>
                  </a:lnTo>
                  <a:lnTo>
                    <a:pt x="504" y="720"/>
                  </a:lnTo>
                  <a:lnTo>
                    <a:pt x="504" y="714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8" y="702"/>
                  </a:lnTo>
                  <a:lnTo>
                    <a:pt x="498" y="696"/>
                  </a:lnTo>
                  <a:lnTo>
                    <a:pt x="492" y="690"/>
                  </a:lnTo>
                  <a:lnTo>
                    <a:pt x="492" y="684"/>
                  </a:lnTo>
                  <a:lnTo>
                    <a:pt x="486" y="684"/>
                  </a:lnTo>
                  <a:lnTo>
                    <a:pt x="486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74" y="678"/>
                  </a:lnTo>
                  <a:lnTo>
                    <a:pt x="468" y="678"/>
                  </a:lnTo>
                  <a:lnTo>
                    <a:pt x="462" y="678"/>
                  </a:lnTo>
                  <a:lnTo>
                    <a:pt x="462" y="672"/>
                  </a:lnTo>
                  <a:lnTo>
                    <a:pt x="456" y="672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44" y="666"/>
                  </a:lnTo>
                  <a:lnTo>
                    <a:pt x="438" y="660"/>
                  </a:lnTo>
                  <a:lnTo>
                    <a:pt x="438" y="648"/>
                  </a:lnTo>
                  <a:lnTo>
                    <a:pt x="438" y="642"/>
                  </a:lnTo>
                  <a:lnTo>
                    <a:pt x="438" y="636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36"/>
                  </a:lnTo>
                  <a:lnTo>
                    <a:pt x="420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60"/>
                  </a:lnTo>
                  <a:lnTo>
                    <a:pt x="432" y="666"/>
                  </a:lnTo>
                  <a:lnTo>
                    <a:pt x="438" y="666"/>
                  </a:lnTo>
                  <a:lnTo>
                    <a:pt x="438" y="672"/>
                  </a:lnTo>
                  <a:lnTo>
                    <a:pt x="444" y="672"/>
                  </a:lnTo>
                  <a:lnTo>
                    <a:pt x="444" y="678"/>
                  </a:lnTo>
                  <a:lnTo>
                    <a:pt x="450" y="678"/>
                  </a:lnTo>
                  <a:lnTo>
                    <a:pt x="456" y="678"/>
                  </a:lnTo>
                  <a:lnTo>
                    <a:pt x="456" y="684"/>
                  </a:lnTo>
                  <a:lnTo>
                    <a:pt x="462" y="684"/>
                  </a:lnTo>
                  <a:lnTo>
                    <a:pt x="468" y="684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80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86" y="708"/>
                  </a:lnTo>
                  <a:lnTo>
                    <a:pt x="492" y="714"/>
                  </a:lnTo>
                  <a:lnTo>
                    <a:pt x="492" y="720"/>
                  </a:lnTo>
                  <a:lnTo>
                    <a:pt x="492" y="726"/>
                  </a:lnTo>
                  <a:lnTo>
                    <a:pt x="498" y="732"/>
                  </a:lnTo>
                  <a:lnTo>
                    <a:pt x="492" y="738"/>
                  </a:lnTo>
                  <a:lnTo>
                    <a:pt x="492" y="744"/>
                  </a:lnTo>
                  <a:lnTo>
                    <a:pt x="492" y="750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68" y="738"/>
                  </a:lnTo>
                  <a:lnTo>
                    <a:pt x="468" y="744"/>
                  </a:lnTo>
                  <a:lnTo>
                    <a:pt x="474" y="750"/>
                  </a:lnTo>
                  <a:lnTo>
                    <a:pt x="480" y="756"/>
                  </a:lnTo>
                  <a:lnTo>
                    <a:pt x="486" y="756"/>
                  </a:lnTo>
                  <a:lnTo>
                    <a:pt x="492" y="762"/>
                  </a:lnTo>
                  <a:lnTo>
                    <a:pt x="498" y="768"/>
                  </a:lnTo>
                  <a:lnTo>
                    <a:pt x="492" y="774"/>
                  </a:lnTo>
                  <a:lnTo>
                    <a:pt x="492" y="780"/>
                  </a:lnTo>
                  <a:lnTo>
                    <a:pt x="498" y="780"/>
                  </a:lnTo>
                  <a:lnTo>
                    <a:pt x="492" y="786"/>
                  </a:lnTo>
                  <a:lnTo>
                    <a:pt x="492" y="792"/>
                  </a:lnTo>
                  <a:lnTo>
                    <a:pt x="492" y="79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0" y="810"/>
                  </a:lnTo>
                  <a:lnTo>
                    <a:pt x="480" y="804"/>
                  </a:lnTo>
                  <a:lnTo>
                    <a:pt x="474" y="804"/>
                  </a:lnTo>
                  <a:lnTo>
                    <a:pt x="474" y="798"/>
                  </a:lnTo>
                  <a:lnTo>
                    <a:pt x="474" y="804"/>
                  </a:lnTo>
                  <a:lnTo>
                    <a:pt x="468" y="804"/>
                  </a:lnTo>
                  <a:lnTo>
                    <a:pt x="468" y="810"/>
                  </a:lnTo>
                  <a:lnTo>
                    <a:pt x="462" y="810"/>
                  </a:lnTo>
                  <a:lnTo>
                    <a:pt x="456" y="810"/>
                  </a:lnTo>
                  <a:lnTo>
                    <a:pt x="450" y="810"/>
                  </a:lnTo>
                  <a:lnTo>
                    <a:pt x="450" y="816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50" y="822"/>
                  </a:lnTo>
                  <a:lnTo>
                    <a:pt x="450" y="816"/>
                  </a:lnTo>
                  <a:lnTo>
                    <a:pt x="444" y="816"/>
                  </a:lnTo>
                  <a:lnTo>
                    <a:pt x="438" y="810"/>
                  </a:lnTo>
                  <a:lnTo>
                    <a:pt x="432" y="810"/>
                  </a:lnTo>
                  <a:lnTo>
                    <a:pt x="426" y="804"/>
                  </a:lnTo>
                  <a:lnTo>
                    <a:pt x="426" y="798"/>
                  </a:lnTo>
                  <a:lnTo>
                    <a:pt x="420" y="798"/>
                  </a:lnTo>
                  <a:lnTo>
                    <a:pt x="426" y="798"/>
                  </a:lnTo>
                  <a:lnTo>
                    <a:pt x="426" y="792"/>
                  </a:lnTo>
                  <a:lnTo>
                    <a:pt x="426" y="786"/>
                  </a:lnTo>
                  <a:lnTo>
                    <a:pt x="432" y="786"/>
                  </a:lnTo>
                  <a:lnTo>
                    <a:pt x="432" y="780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0" y="756"/>
                  </a:lnTo>
                  <a:lnTo>
                    <a:pt x="420" y="750"/>
                  </a:lnTo>
                  <a:lnTo>
                    <a:pt x="414" y="750"/>
                  </a:lnTo>
                  <a:lnTo>
                    <a:pt x="420" y="750"/>
                  </a:lnTo>
                  <a:lnTo>
                    <a:pt x="420" y="744"/>
                  </a:lnTo>
                  <a:lnTo>
                    <a:pt x="414" y="744"/>
                  </a:lnTo>
                  <a:lnTo>
                    <a:pt x="414" y="738"/>
                  </a:lnTo>
                  <a:lnTo>
                    <a:pt x="414" y="732"/>
                  </a:lnTo>
                  <a:lnTo>
                    <a:pt x="408" y="732"/>
                  </a:lnTo>
                  <a:lnTo>
                    <a:pt x="408" y="726"/>
                  </a:lnTo>
                  <a:lnTo>
                    <a:pt x="402" y="726"/>
                  </a:lnTo>
                  <a:lnTo>
                    <a:pt x="396" y="726"/>
                  </a:lnTo>
                  <a:lnTo>
                    <a:pt x="390" y="726"/>
                  </a:lnTo>
                  <a:lnTo>
                    <a:pt x="390" y="720"/>
                  </a:lnTo>
                  <a:lnTo>
                    <a:pt x="390" y="714"/>
                  </a:lnTo>
                  <a:lnTo>
                    <a:pt x="384" y="708"/>
                  </a:lnTo>
                  <a:lnTo>
                    <a:pt x="384" y="702"/>
                  </a:lnTo>
                  <a:lnTo>
                    <a:pt x="378" y="702"/>
                  </a:lnTo>
                  <a:lnTo>
                    <a:pt x="378" y="696"/>
                  </a:lnTo>
                  <a:lnTo>
                    <a:pt x="378" y="690"/>
                  </a:lnTo>
                  <a:lnTo>
                    <a:pt x="372" y="684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66" y="666"/>
                  </a:lnTo>
                  <a:lnTo>
                    <a:pt x="366" y="660"/>
                  </a:lnTo>
                  <a:lnTo>
                    <a:pt x="366" y="654"/>
                  </a:lnTo>
                  <a:lnTo>
                    <a:pt x="360" y="648"/>
                  </a:lnTo>
                  <a:lnTo>
                    <a:pt x="360" y="654"/>
                  </a:lnTo>
                  <a:lnTo>
                    <a:pt x="360" y="660"/>
                  </a:lnTo>
                  <a:lnTo>
                    <a:pt x="360" y="666"/>
                  </a:lnTo>
                  <a:lnTo>
                    <a:pt x="360" y="672"/>
                  </a:lnTo>
                  <a:lnTo>
                    <a:pt x="360" y="678"/>
                  </a:lnTo>
                  <a:lnTo>
                    <a:pt x="366" y="678"/>
                  </a:lnTo>
                  <a:lnTo>
                    <a:pt x="366" y="684"/>
                  </a:lnTo>
                  <a:lnTo>
                    <a:pt x="366" y="690"/>
                  </a:lnTo>
                  <a:lnTo>
                    <a:pt x="372" y="696"/>
                  </a:lnTo>
                  <a:lnTo>
                    <a:pt x="372" y="702"/>
                  </a:lnTo>
                  <a:lnTo>
                    <a:pt x="372" y="708"/>
                  </a:lnTo>
                  <a:lnTo>
                    <a:pt x="372" y="714"/>
                  </a:lnTo>
                  <a:lnTo>
                    <a:pt x="366" y="714"/>
                  </a:lnTo>
                  <a:lnTo>
                    <a:pt x="360" y="714"/>
                  </a:lnTo>
                  <a:lnTo>
                    <a:pt x="354" y="714"/>
                  </a:lnTo>
                  <a:lnTo>
                    <a:pt x="348" y="714"/>
                  </a:lnTo>
                  <a:lnTo>
                    <a:pt x="348" y="708"/>
                  </a:lnTo>
                  <a:lnTo>
                    <a:pt x="342" y="708"/>
                  </a:lnTo>
                  <a:lnTo>
                    <a:pt x="342" y="702"/>
                  </a:lnTo>
                  <a:lnTo>
                    <a:pt x="342" y="696"/>
                  </a:lnTo>
                  <a:lnTo>
                    <a:pt x="336" y="696"/>
                  </a:lnTo>
                  <a:lnTo>
                    <a:pt x="336" y="690"/>
                  </a:lnTo>
                  <a:lnTo>
                    <a:pt x="336" y="684"/>
                  </a:lnTo>
                  <a:lnTo>
                    <a:pt x="330" y="684"/>
                  </a:lnTo>
                  <a:lnTo>
                    <a:pt x="330" y="678"/>
                  </a:lnTo>
                  <a:lnTo>
                    <a:pt x="324" y="672"/>
                  </a:lnTo>
                  <a:lnTo>
                    <a:pt x="324" y="666"/>
                  </a:lnTo>
                  <a:lnTo>
                    <a:pt x="318" y="666"/>
                  </a:lnTo>
                  <a:lnTo>
                    <a:pt x="318" y="672"/>
                  </a:lnTo>
                  <a:lnTo>
                    <a:pt x="324" y="672"/>
                  </a:lnTo>
                  <a:lnTo>
                    <a:pt x="324" y="678"/>
                  </a:lnTo>
                  <a:lnTo>
                    <a:pt x="324" y="684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30" y="696"/>
                  </a:lnTo>
                  <a:lnTo>
                    <a:pt x="336" y="702"/>
                  </a:lnTo>
                  <a:lnTo>
                    <a:pt x="342" y="708"/>
                  </a:lnTo>
                  <a:lnTo>
                    <a:pt x="342" y="714"/>
                  </a:lnTo>
                  <a:lnTo>
                    <a:pt x="348" y="720"/>
                  </a:lnTo>
                  <a:lnTo>
                    <a:pt x="342" y="720"/>
                  </a:lnTo>
                  <a:lnTo>
                    <a:pt x="336" y="720"/>
                  </a:lnTo>
                  <a:lnTo>
                    <a:pt x="330" y="720"/>
                  </a:lnTo>
                  <a:lnTo>
                    <a:pt x="330" y="726"/>
                  </a:lnTo>
                  <a:lnTo>
                    <a:pt x="336" y="726"/>
                  </a:lnTo>
                  <a:lnTo>
                    <a:pt x="330" y="732"/>
                  </a:lnTo>
                  <a:lnTo>
                    <a:pt x="330" y="738"/>
                  </a:lnTo>
                  <a:lnTo>
                    <a:pt x="330" y="744"/>
                  </a:lnTo>
                  <a:lnTo>
                    <a:pt x="336" y="744"/>
                  </a:lnTo>
                  <a:lnTo>
                    <a:pt x="342" y="744"/>
                  </a:lnTo>
                  <a:lnTo>
                    <a:pt x="348" y="744"/>
                  </a:lnTo>
                  <a:lnTo>
                    <a:pt x="348" y="750"/>
                  </a:lnTo>
                  <a:lnTo>
                    <a:pt x="354" y="750"/>
                  </a:lnTo>
                  <a:lnTo>
                    <a:pt x="360" y="756"/>
                  </a:lnTo>
                  <a:lnTo>
                    <a:pt x="360" y="762"/>
                  </a:lnTo>
                  <a:lnTo>
                    <a:pt x="366" y="762"/>
                  </a:lnTo>
                  <a:lnTo>
                    <a:pt x="366" y="768"/>
                  </a:lnTo>
                  <a:lnTo>
                    <a:pt x="366" y="774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72" y="792"/>
                  </a:lnTo>
                  <a:lnTo>
                    <a:pt x="372" y="798"/>
                  </a:lnTo>
                  <a:lnTo>
                    <a:pt x="372" y="804"/>
                  </a:lnTo>
                  <a:lnTo>
                    <a:pt x="378" y="804"/>
                  </a:lnTo>
                  <a:lnTo>
                    <a:pt x="378" y="810"/>
                  </a:lnTo>
                  <a:lnTo>
                    <a:pt x="378" y="816"/>
                  </a:lnTo>
                  <a:lnTo>
                    <a:pt x="372" y="816"/>
                  </a:lnTo>
                  <a:lnTo>
                    <a:pt x="378" y="816"/>
                  </a:lnTo>
                  <a:lnTo>
                    <a:pt x="378" y="822"/>
                  </a:lnTo>
                  <a:lnTo>
                    <a:pt x="378" y="828"/>
                  </a:lnTo>
                  <a:lnTo>
                    <a:pt x="378" y="834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0" y="864"/>
                  </a:lnTo>
                  <a:lnTo>
                    <a:pt x="384" y="864"/>
                  </a:lnTo>
                  <a:lnTo>
                    <a:pt x="384" y="870"/>
                  </a:lnTo>
                  <a:lnTo>
                    <a:pt x="378" y="864"/>
                  </a:lnTo>
                  <a:lnTo>
                    <a:pt x="372" y="864"/>
                  </a:lnTo>
                  <a:lnTo>
                    <a:pt x="366" y="858"/>
                  </a:lnTo>
                  <a:lnTo>
                    <a:pt x="366" y="852"/>
                  </a:lnTo>
                  <a:lnTo>
                    <a:pt x="360" y="852"/>
                  </a:lnTo>
                  <a:lnTo>
                    <a:pt x="360" y="858"/>
                  </a:lnTo>
                  <a:lnTo>
                    <a:pt x="366" y="858"/>
                  </a:lnTo>
                  <a:lnTo>
                    <a:pt x="366" y="864"/>
                  </a:lnTo>
                  <a:lnTo>
                    <a:pt x="360" y="864"/>
                  </a:lnTo>
                  <a:lnTo>
                    <a:pt x="354" y="864"/>
                  </a:lnTo>
                  <a:lnTo>
                    <a:pt x="354" y="870"/>
                  </a:lnTo>
                  <a:lnTo>
                    <a:pt x="354" y="864"/>
                  </a:lnTo>
                  <a:lnTo>
                    <a:pt x="348" y="864"/>
                  </a:lnTo>
                  <a:lnTo>
                    <a:pt x="342" y="864"/>
                  </a:lnTo>
                  <a:lnTo>
                    <a:pt x="342" y="858"/>
                  </a:lnTo>
                  <a:lnTo>
                    <a:pt x="336" y="858"/>
                  </a:lnTo>
                  <a:lnTo>
                    <a:pt x="330" y="858"/>
                  </a:lnTo>
                  <a:lnTo>
                    <a:pt x="324" y="858"/>
                  </a:lnTo>
                  <a:lnTo>
                    <a:pt x="318" y="858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0" y="852"/>
                  </a:lnTo>
                  <a:lnTo>
                    <a:pt x="294" y="852"/>
                  </a:lnTo>
                  <a:lnTo>
                    <a:pt x="294" y="846"/>
                  </a:lnTo>
                  <a:lnTo>
                    <a:pt x="288" y="840"/>
                  </a:lnTo>
                  <a:lnTo>
                    <a:pt x="288" y="828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2" y="816"/>
                  </a:lnTo>
                  <a:lnTo>
                    <a:pt x="282" y="810"/>
                  </a:lnTo>
                  <a:lnTo>
                    <a:pt x="276" y="810"/>
                  </a:lnTo>
                  <a:lnTo>
                    <a:pt x="276" y="804"/>
                  </a:lnTo>
                  <a:lnTo>
                    <a:pt x="276" y="798"/>
                  </a:lnTo>
                  <a:lnTo>
                    <a:pt x="276" y="792"/>
                  </a:lnTo>
                  <a:lnTo>
                    <a:pt x="270" y="786"/>
                  </a:lnTo>
                  <a:lnTo>
                    <a:pt x="270" y="780"/>
                  </a:lnTo>
                  <a:lnTo>
                    <a:pt x="270" y="774"/>
                  </a:lnTo>
                  <a:lnTo>
                    <a:pt x="264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64" y="750"/>
                  </a:lnTo>
                  <a:lnTo>
                    <a:pt x="264" y="744"/>
                  </a:lnTo>
                  <a:lnTo>
                    <a:pt x="264" y="738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26"/>
                  </a:lnTo>
                  <a:lnTo>
                    <a:pt x="276" y="720"/>
                  </a:lnTo>
                  <a:lnTo>
                    <a:pt x="282" y="720"/>
                  </a:lnTo>
                  <a:lnTo>
                    <a:pt x="282" y="714"/>
                  </a:lnTo>
                  <a:lnTo>
                    <a:pt x="282" y="708"/>
                  </a:lnTo>
                  <a:lnTo>
                    <a:pt x="276" y="708"/>
                  </a:lnTo>
                  <a:lnTo>
                    <a:pt x="276" y="702"/>
                  </a:lnTo>
                  <a:lnTo>
                    <a:pt x="270" y="702"/>
                  </a:lnTo>
                  <a:lnTo>
                    <a:pt x="270" y="696"/>
                  </a:lnTo>
                  <a:lnTo>
                    <a:pt x="264" y="690"/>
                  </a:lnTo>
                  <a:lnTo>
                    <a:pt x="258" y="690"/>
                  </a:lnTo>
                  <a:lnTo>
                    <a:pt x="258" y="684"/>
                  </a:lnTo>
                  <a:lnTo>
                    <a:pt x="252" y="684"/>
                  </a:lnTo>
                  <a:lnTo>
                    <a:pt x="252" y="678"/>
                  </a:lnTo>
                  <a:lnTo>
                    <a:pt x="246" y="678"/>
                  </a:lnTo>
                  <a:lnTo>
                    <a:pt x="240" y="678"/>
                  </a:lnTo>
                  <a:lnTo>
                    <a:pt x="240" y="684"/>
                  </a:lnTo>
                  <a:lnTo>
                    <a:pt x="246" y="684"/>
                  </a:lnTo>
                  <a:lnTo>
                    <a:pt x="252" y="690"/>
                  </a:lnTo>
                  <a:lnTo>
                    <a:pt x="258" y="690"/>
                  </a:lnTo>
                  <a:lnTo>
                    <a:pt x="258" y="696"/>
                  </a:lnTo>
                  <a:lnTo>
                    <a:pt x="258" y="702"/>
                  </a:lnTo>
                  <a:lnTo>
                    <a:pt x="264" y="702"/>
                  </a:lnTo>
                  <a:lnTo>
                    <a:pt x="270" y="708"/>
                  </a:lnTo>
                  <a:lnTo>
                    <a:pt x="270" y="714"/>
                  </a:lnTo>
                  <a:lnTo>
                    <a:pt x="270" y="720"/>
                  </a:lnTo>
                  <a:lnTo>
                    <a:pt x="276" y="720"/>
                  </a:lnTo>
                  <a:lnTo>
                    <a:pt x="270" y="720"/>
                  </a:lnTo>
                  <a:lnTo>
                    <a:pt x="270" y="726"/>
                  </a:lnTo>
                  <a:lnTo>
                    <a:pt x="264" y="726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52" y="738"/>
                  </a:lnTo>
                  <a:lnTo>
                    <a:pt x="252" y="744"/>
                  </a:lnTo>
                  <a:lnTo>
                    <a:pt x="252" y="750"/>
                  </a:lnTo>
                  <a:lnTo>
                    <a:pt x="252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58" y="774"/>
                  </a:lnTo>
                  <a:lnTo>
                    <a:pt x="258" y="780"/>
                  </a:lnTo>
                  <a:lnTo>
                    <a:pt x="264" y="786"/>
                  </a:lnTo>
                  <a:lnTo>
                    <a:pt x="264" y="792"/>
                  </a:lnTo>
                  <a:lnTo>
                    <a:pt x="264" y="798"/>
                  </a:lnTo>
                  <a:lnTo>
                    <a:pt x="270" y="810"/>
                  </a:lnTo>
                  <a:lnTo>
                    <a:pt x="270" y="816"/>
                  </a:lnTo>
                  <a:lnTo>
                    <a:pt x="270" y="822"/>
                  </a:lnTo>
                  <a:lnTo>
                    <a:pt x="276" y="822"/>
                  </a:lnTo>
                  <a:lnTo>
                    <a:pt x="276" y="828"/>
                  </a:lnTo>
                  <a:lnTo>
                    <a:pt x="276" y="834"/>
                  </a:lnTo>
                  <a:lnTo>
                    <a:pt x="276" y="840"/>
                  </a:lnTo>
                  <a:lnTo>
                    <a:pt x="276" y="846"/>
                  </a:lnTo>
                  <a:lnTo>
                    <a:pt x="282" y="852"/>
                  </a:lnTo>
                  <a:lnTo>
                    <a:pt x="282" y="858"/>
                  </a:lnTo>
                  <a:lnTo>
                    <a:pt x="294" y="864"/>
                  </a:lnTo>
                  <a:lnTo>
                    <a:pt x="300" y="870"/>
                  </a:lnTo>
                  <a:lnTo>
                    <a:pt x="300" y="876"/>
                  </a:lnTo>
                  <a:lnTo>
                    <a:pt x="288" y="876"/>
                  </a:lnTo>
                  <a:lnTo>
                    <a:pt x="282" y="876"/>
                  </a:lnTo>
                  <a:lnTo>
                    <a:pt x="276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2" y="882"/>
                  </a:lnTo>
                  <a:lnTo>
                    <a:pt x="246" y="882"/>
                  </a:lnTo>
                  <a:lnTo>
                    <a:pt x="240" y="882"/>
                  </a:lnTo>
                  <a:lnTo>
                    <a:pt x="234" y="882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204" y="876"/>
                  </a:lnTo>
                  <a:lnTo>
                    <a:pt x="198" y="876"/>
                  </a:lnTo>
                  <a:lnTo>
                    <a:pt x="198" y="870"/>
                  </a:lnTo>
                  <a:lnTo>
                    <a:pt x="198" y="852"/>
                  </a:lnTo>
                  <a:lnTo>
                    <a:pt x="198" y="846"/>
                  </a:lnTo>
                  <a:lnTo>
                    <a:pt x="204" y="846"/>
                  </a:lnTo>
                  <a:lnTo>
                    <a:pt x="198" y="840"/>
                  </a:lnTo>
                  <a:lnTo>
                    <a:pt x="198" y="834"/>
                  </a:lnTo>
                  <a:lnTo>
                    <a:pt x="198" y="828"/>
                  </a:lnTo>
                  <a:lnTo>
                    <a:pt x="198" y="822"/>
                  </a:lnTo>
                  <a:lnTo>
                    <a:pt x="198" y="816"/>
                  </a:lnTo>
                  <a:lnTo>
                    <a:pt x="198" y="810"/>
                  </a:lnTo>
                  <a:lnTo>
                    <a:pt x="192" y="810"/>
                  </a:lnTo>
                  <a:lnTo>
                    <a:pt x="192" y="804"/>
                  </a:lnTo>
                  <a:lnTo>
                    <a:pt x="192" y="798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2" y="774"/>
                  </a:lnTo>
                  <a:lnTo>
                    <a:pt x="192" y="768"/>
                  </a:lnTo>
                  <a:lnTo>
                    <a:pt x="198" y="768"/>
                  </a:lnTo>
                  <a:lnTo>
                    <a:pt x="198" y="762"/>
                  </a:lnTo>
                  <a:lnTo>
                    <a:pt x="198" y="756"/>
                  </a:lnTo>
                  <a:lnTo>
                    <a:pt x="204" y="756"/>
                  </a:lnTo>
                  <a:lnTo>
                    <a:pt x="204" y="750"/>
                  </a:lnTo>
                  <a:lnTo>
                    <a:pt x="210" y="744"/>
                  </a:lnTo>
                  <a:lnTo>
                    <a:pt x="210" y="738"/>
                  </a:lnTo>
                  <a:lnTo>
                    <a:pt x="210" y="732"/>
                  </a:lnTo>
                  <a:lnTo>
                    <a:pt x="210" y="726"/>
                  </a:lnTo>
                  <a:lnTo>
                    <a:pt x="210" y="720"/>
                  </a:lnTo>
                  <a:lnTo>
                    <a:pt x="204" y="714"/>
                  </a:lnTo>
                  <a:lnTo>
                    <a:pt x="204" y="720"/>
                  </a:lnTo>
                  <a:lnTo>
                    <a:pt x="204" y="732"/>
                  </a:lnTo>
                  <a:lnTo>
                    <a:pt x="204" y="738"/>
                  </a:lnTo>
                  <a:lnTo>
                    <a:pt x="198" y="738"/>
                  </a:lnTo>
                  <a:lnTo>
                    <a:pt x="198" y="744"/>
                  </a:lnTo>
                  <a:lnTo>
                    <a:pt x="198" y="750"/>
                  </a:lnTo>
                  <a:lnTo>
                    <a:pt x="192" y="756"/>
                  </a:lnTo>
                  <a:lnTo>
                    <a:pt x="186" y="762"/>
                  </a:lnTo>
                  <a:lnTo>
                    <a:pt x="186" y="768"/>
                  </a:lnTo>
                  <a:lnTo>
                    <a:pt x="186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98"/>
                  </a:lnTo>
                  <a:lnTo>
                    <a:pt x="186" y="804"/>
                  </a:lnTo>
                  <a:lnTo>
                    <a:pt x="186" y="810"/>
                  </a:lnTo>
                  <a:lnTo>
                    <a:pt x="192" y="816"/>
                  </a:lnTo>
                  <a:lnTo>
                    <a:pt x="192" y="828"/>
                  </a:lnTo>
                  <a:lnTo>
                    <a:pt x="192" y="834"/>
                  </a:lnTo>
                  <a:lnTo>
                    <a:pt x="186" y="834"/>
                  </a:lnTo>
                  <a:lnTo>
                    <a:pt x="186" y="828"/>
                  </a:lnTo>
                  <a:lnTo>
                    <a:pt x="180" y="822"/>
                  </a:lnTo>
                  <a:lnTo>
                    <a:pt x="180" y="816"/>
                  </a:lnTo>
                  <a:lnTo>
                    <a:pt x="180" y="810"/>
                  </a:lnTo>
                  <a:lnTo>
                    <a:pt x="174" y="810"/>
                  </a:lnTo>
                  <a:lnTo>
                    <a:pt x="174" y="804"/>
                  </a:lnTo>
                  <a:lnTo>
                    <a:pt x="174" y="798"/>
                  </a:lnTo>
                  <a:lnTo>
                    <a:pt x="174" y="792"/>
                  </a:lnTo>
                  <a:lnTo>
                    <a:pt x="168" y="786"/>
                  </a:lnTo>
                  <a:lnTo>
                    <a:pt x="168" y="780"/>
                  </a:lnTo>
                  <a:lnTo>
                    <a:pt x="162" y="780"/>
                  </a:lnTo>
                  <a:lnTo>
                    <a:pt x="168" y="774"/>
                  </a:lnTo>
                  <a:lnTo>
                    <a:pt x="168" y="768"/>
                  </a:lnTo>
                  <a:lnTo>
                    <a:pt x="174" y="768"/>
                  </a:lnTo>
                  <a:lnTo>
                    <a:pt x="168" y="768"/>
                  </a:lnTo>
                  <a:lnTo>
                    <a:pt x="162" y="774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50" y="774"/>
                  </a:lnTo>
                  <a:lnTo>
                    <a:pt x="144" y="774"/>
                  </a:lnTo>
                  <a:lnTo>
                    <a:pt x="144" y="768"/>
                  </a:lnTo>
                  <a:lnTo>
                    <a:pt x="144" y="762"/>
                  </a:lnTo>
                  <a:lnTo>
                    <a:pt x="138" y="756"/>
                  </a:lnTo>
                  <a:lnTo>
                    <a:pt x="132" y="756"/>
                  </a:lnTo>
                  <a:lnTo>
                    <a:pt x="138" y="756"/>
                  </a:lnTo>
                  <a:lnTo>
                    <a:pt x="138" y="762"/>
                  </a:lnTo>
                  <a:lnTo>
                    <a:pt x="138" y="768"/>
                  </a:lnTo>
                  <a:lnTo>
                    <a:pt x="144" y="768"/>
                  </a:lnTo>
                  <a:lnTo>
                    <a:pt x="144" y="774"/>
                  </a:lnTo>
                  <a:lnTo>
                    <a:pt x="150" y="780"/>
                  </a:lnTo>
                  <a:lnTo>
                    <a:pt x="156" y="780"/>
                  </a:lnTo>
                  <a:lnTo>
                    <a:pt x="156" y="786"/>
                  </a:lnTo>
                  <a:lnTo>
                    <a:pt x="162" y="786"/>
                  </a:lnTo>
                  <a:lnTo>
                    <a:pt x="168" y="792"/>
                  </a:lnTo>
                  <a:lnTo>
                    <a:pt x="168" y="798"/>
                  </a:lnTo>
                  <a:lnTo>
                    <a:pt x="168" y="804"/>
                  </a:lnTo>
                  <a:lnTo>
                    <a:pt x="174" y="810"/>
                  </a:lnTo>
                  <a:lnTo>
                    <a:pt x="174" y="816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68" y="828"/>
                  </a:lnTo>
                  <a:lnTo>
                    <a:pt x="168" y="834"/>
                  </a:lnTo>
                  <a:lnTo>
                    <a:pt x="174" y="840"/>
                  </a:lnTo>
                  <a:lnTo>
                    <a:pt x="180" y="840"/>
                  </a:lnTo>
                  <a:lnTo>
                    <a:pt x="180" y="846"/>
                  </a:lnTo>
                  <a:lnTo>
                    <a:pt x="186" y="846"/>
                  </a:lnTo>
                  <a:lnTo>
                    <a:pt x="186" y="852"/>
                  </a:lnTo>
                  <a:lnTo>
                    <a:pt x="186" y="858"/>
                  </a:lnTo>
                  <a:lnTo>
                    <a:pt x="186" y="864"/>
                  </a:lnTo>
                  <a:lnTo>
                    <a:pt x="192" y="864"/>
                  </a:lnTo>
                  <a:lnTo>
                    <a:pt x="192" y="870"/>
                  </a:lnTo>
                  <a:lnTo>
                    <a:pt x="192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6" y="888"/>
                  </a:lnTo>
                  <a:lnTo>
                    <a:pt x="180" y="888"/>
                  </a:lnTo>
                  <a:lnTo>
                    <a:pt x="174" y="888"/>
                  </a:lnTo>
                  <a:lnTo>
                    <a:pt x="168" y="894"/>
                  </a:lnTo>
                  <a:lnTo>
                    <a:pt x="162" y="894"/>
                  </a:lnTo>
                  <a:lnTo>
                    <a:pt x="156" y="894"/>
                  </a:lnTo>
                  <a:lnTo>
                    <a:pt x="150" y="894"/>
                  </a:lnTo>
                  <a:lnTo>
                    <a:pt x="144" y="894"/>
                  </a:lnTo>
                  <a:lnTo>
                    <a:pt x="144" y="900"/>
                  </a:lnTo>
                  <a:lnTo>
                    <a:pt x="138" y="894"/>
                  </a:lnTo>
                  <a:lnTo>
                    <a:pt x="138" y="900"/>
                  </a:lnTo>
                  <a:lnTo>
                    <a:pt x="132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6" y="882"/>
                  </a:lnTo>
                  <a:lnTo>
                    <a:pt x="126" y="876"/>
                  </a:lnTo>
                  <a:lnTo>
                    <a:pt x="120" y="876"/>
                  </a:lnTo>
                  <a:lnTo>
                    <a:pt x="126" y="870"/>
                  </a:lnTo>
                  <a:lnTo>
                    <a:pt x="126" y="864"/>
                  </a:lnTo>
                  <a:lnTo>
                    <a:pt x="126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26" y="828"/>
                  </a:lnTo>
                  <a:lnTo>
                    <a:pt x="126" y="822"/>
                  </a:lnTo>
                  <a:lnTo>
                    <a:pt x="126" y="816"/>
                  </a:lnTo>
                  <a:lnTo>
                    <a:pt x="126" y="810"/>
                  </a:lnTo>
                  <a:lnTo>
                    <a:pt x="126" y="804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20" y="792"/>
                  </a:lnTo>
                  <a:lnTo>
                    <a:pt x="114" y="792"/>
                  </a:lnTo>
                  <a:lnTo>
                    <a:pt x="114" y="786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96" y="780"/>
                  </a:lnTo>
                  <a:lnTo>
                    <a:pt x="96" y="774"/>
                  </a:lnTo>
                  <a:lnTo>
                    <a:pt x="90" y="774"/>
                  </a:lnTo>
                  <a:lnTo>
                    <a:pt x="90" y="768"/>
                  </a:lnTo>
                  <a:close/>
                  <a:moveTo>
                    <a:pt x="96" y="780"/>
                  </a:moveTo>
                  <a:lnTo>
                    <a:pt x="102" y="780"/>
                  </a:lnTo>
                  <a:lnTo>
                    <a:pt x="102" y="786"/>
                  </a:lnTo>
                  <a:lnTo>
                    <a:pt x="108" y="786"/>
                  </a:lnTo>
                  <a:lnTo>
                    <a:pt x="114" y="792"/>
                  </a:lnTo>
                  <a:lnTo>
                    <a:pt x="120" y="798"/>
                  </a:lnTo>
                  <a:lnTo>
                    <a:pt x="120" y="804"/>
                  </a:lnTo>
                  <a:lnTo>
                    <a:pt x="126" y="810"/>
                  </a:lnTo>
                  <a:lnTo>
                    <a:pt x="126" y="816"/>
                  </a:lnTo>
                  <a:lnTo>
                    <a:pt x="126" y="822"/>
                  </a:lnTo>
                  <a:lnTo>
                    <a:pt x="120" y="828"/>
                  </a:lnTo>
                  <a:lnTo>
                    <a:pt x="120" y="840"/>
                  </a:lnTo>
                  <a:lnTo>
                    <a:pt x="120" y="852"/>
                  </a:lnTo>
                  <a:lnTo>
                    <a:pt x="120" y="858"/>
                  </a:lnTo>
                  <a:lnTo>
                    <a:pt x="120" y="864"/>
                  </a:lnTo>
                  <a:lnTo>
                    <a:pt x="120" y="870"/>
                  </a:lnTo>
                  <a:lnTo>
                    <a:pt x="114" y="870"/>
                  </a:lnTo>
                  <a:lnTo>
                    <a:pt x="108" y="870"/>
                  </a:lnTo>
                  <a:lnTo>
                    <a:pt x="108" y="876"/>
                  </a:lnTo>
                  <a:lnTo>
                    <a:pt x="114" y="876"/>
                  </a:lnTo>
                  <a:lnTo>
                    <a:pt x="120" y="876"/>
                  </a:lnTo>
                  <a:lnTo>
                    <a:pt x="120" y="882"/>
                  </a:lnTo>
                  <a:lnTo>
                    <a:pt x="114" y="888"/>
                  </a:lnTo>
                  <a:lnTo>
                    <a:pt x="120" y="888"/>
                  </a:lnTo>
                  <a:lnTo>
                    <a:pt x="120" y="894"/>
                  </a:lnTo>
                  <a:lnTo>
                    <a:pt x="114" y="894"/>
                  </a:lnTo>
                  <a:lnTo>
                    <a:pt x="108" y="894"/>
                  </a:lnTo>
                  <a:lnTo>
                    <a:pt x="96" y="894"/>
                  </a:lnTo>
                  <a:lnTo>
                    <a:pt x="96" y="882"/>
                  </a:lnTo>
                  <a:lnTo>
                    <a:pt x="96" y="876"/>
                  </a:lnTo>
                  <a:lnTo>
                    <a:pt x="84" y="870"/>
                  </a:lnTo>
                  <a:lnTo>
                    <a:pt x="72" y="864"/>
                  </a:lnTo>
                  <a:lnTo>
                    <a:pt x="72" y="852"/>
                  </a:lnTo>
                  <a:lnTo>
                    <a:pt x="72" y="840"/>
                  </a:lnTo>
                  <a:lnTo>
                    <a:pt x="78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90" y="792"/>
                  </a:lnTo>
                  <a:lnTo>
                    <a:pt x="96" y="780"/>
                  </a:lnTo>
                  <a:close/>
                  <a:moveTo>
                    <a:pt x="492" y="810"/>
                  </a:moveTo>
                  <a:lnTo>
                    <a:pt x="498" y="810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510" y="792"/>
                  </a:lnTo>
                  <a:lnTo>
                    <a:pt x="516" y="786"/>
                  </a:lnTo>
                  <a:lnTo>
                    <a:pt x="522" y="780"/>
                  </a:lnTo>
                  <a:lnTo>
                    <a:pt x="522" y="774"/>
                  </a:lnTo>
                  <a:lnTo>
                    <a:pt x="528" y="768"/>
                  </a:lnTo>
                  <a:lnTo>
                    <a:pt x="528" y="762"/>
                  </a:lnTo>
                  <a:lnTo>
                    <a:pt x="534" y="762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46" y="780"/>
                  </a:lnTo>
                  <a:lnTo>
                    <a:pt x="552" y="786"/>
                  </a:lnTo>
                  <a:lnTo>
                    <a:pt x="558" y="786"/>
                  </a:lnTo>
                  <a:lnTo>
                    <a:pt x="564" y="786"/>
                  </a:lnTo>
                  <a:lnTo>
                    <a:pt x="576" y="786"/>
                  </a:lnTo>
                  <a:lnTo>
                    <a:pt x="582" y="786"/>
                  </a:lnTo>
                  <a:lnTo>
                    <a:pt x="588" y="786"/>
                  </a:lnTo>
                  <a:lnTo>
                    <a:pt x="594" y="786"/>
                  </a:lnTo>
                  <a:lnTo>
                    <a:pt x="588" y="792"/>
                  </a:lnTo>
                  <a:lnTo>
                    <a:pt x="588" y="798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82" y="822"/>
                  </a:lnTo>
                  <a:lnTo>
                    <a:pt x="588" y="828"/>
                  </a:lnTo>
                  <a:lnTo>
                    <a:pt x="588" y="834"/>
                  </a:lnTo>
                  <a:lnTo>
                    <a:pt x="582" y="840"/>
                  </a:lnTo>
                  <a:lnTo>
                    <a:pt x="570" y="840"/>
                  </a:lnTo>
                  <a:lnTo>
                    <a:pt x="558" y="846"/>
                  </a:lnTo>
                  <a:lnTo>
                    <a:pt x="552" y="846"/>
                  </a:lnTo>
                  <a:lnTo>
                    <a:pt x="534" y="852"/>
                  </a:lnTo>
                  <a:lnTo>
                    <a:pt x="522" y="858"/>
                  </a:lnTo>
                  <a:lnTo>
                    <a:pt x="510" y="858"/>
                  </a:lnTo>
                  <a:lnTo>
                    <a:pt x="498" y="864"/>
                  </a:lnTo>
                  <a:lnTo>
                    <a:pt x="474" y="864"/>
                  </a:lnTo>
                  <a:lnTo>
                    <a:pt x="468" y="858"/>
                  </a:lnTo>
                  <a:lnTo>
                    <a:pt x="468" y="852"/>
                  </a:lnTo>
                  <a:lnTo>
                    <a:pt x="468" y="846"/>
                  </a:lnTo>
                  <a:lnTo>
                    <a:pt x="474" y="840"/>
                  </a:lnTo>
                  <a:lnTo>
                    <a:pt x="474" y="834"/>
                  </a:lnTo>
                  <a:lnTo>
                    <a:pt x="480" y="828"/>
                  </a:lnTo>
                  <a:lnTo>
                    <a:pt x="492" y="822"/>
                  </a:lnTo>
                  <a:lnTo>
                    <a:pt x="492" y="810"/>
                  </a:lnTo>
                  <a:close/>
                  <a:moveTo>
                    <a:pt x="384" y="720"/>
                  </a:moveTo>
                  <a:lnTo>
                    <a:pt x="384" y="726"/>
                  </a:lnTo>
                  <a:lnTo>
                    <a:pt x="390" y="726"/>
                  </a:lnTo>
                  <a:lnTo>
                    <a:pt x="396" y="726"/>
                  </a:lnTo>
                  <a:lnTo>
                    <a:pt x="402" y="732"/>
                  </a:lnTo>
                  <a:lnTo>
                    <a:pt x="408" y="732"/>
                  </a:lnTo>
                  <a:lnTo>
                    <a:pt x="414" y="732"/>
                  </a:lnTo>
                  <a:lnTo>
                    <a:pt x="414" y="738"/>
                  </a:lnTo>
                  <a:lnTo>
                    <a:pt x="414" y="744"/>
                  </a:lnTo>
                  <a:lnTo>
                    <a:pt x="414" y="750"/>
                  </a:lnTo>
                  <a:lnTo>
                    <a:pt x="414" y="756"/>
                  </a:lnTo>
                  <a:lnTo>
                    <a:pt x="414" y="762"/>
                  </a:lnTo>
                  <a:lnTo>
                    <a:pt x="420" y="768"/>
                  </a:lnTo>
                  <a:lnTo>
                    <a:pt x="420" y="774"/>
                  </a:lnTo>
                  <a:lnTo>
                    <a:pt x="426" y="780"/>
                  </a:lnTo>
                  <a:lnTo>
                    <a:pt x="426" y="786"/>
                  </a:lnTo>
                  <a:lnTo>
                    <a:pt x="420" y="786"/>
                  </a:lnTo>
                  <a:lnTo>
                    <a:pt x="420" y="792"/>
                  </a:lnTo>
                  <a:lnTo>
                    <a:pt x="420" y="798"/>
                  </a:lnTo>
                  <a:lnTo>
                    <a:pt x="420" y="804"/>
                  </a:lnTo>
                  <a:lnTo>
                    <a:pt x="426" y="804"/>
                  </a:lnTo>
                  <a:lnTo>
                    <a:pt x="426" y="810"/>
                  </a:lnTo>
                  <a:lnTo>
                    <a:pt x="426" y="816"/>
                  </a:lnTo>
                  <a:lnTo>
                    <a:pt x="432" y="816"/>
                  </a:lnTo>
                  <a:lnTo>
                    <a:pt x="438" y="816"/>
                  </a:lnTo>
                  <a:lnTo>
                    <a:pt x="438" y="822"/>
                  </a:lnTo>
                  <a:lnTo>
                    <a:pt x="432" y="822"/>
                  </a:lnTo>
                  <a:lnTo>
                    <a:pt x="426" y="828"/>
                  </a:lnTo>
                  <a:lnTo>
                    <a:pt x="420" y="828"/>
                  </a:lnTo>
                  <a:lnTo>
                    <a:pt x="414" y="828"/>
                  </a:lnTo>
                  <a:lnTo>
                    <a:pt x="408" y="828"/>
                  </a:lnTo>
                  <a:lnTo>
                    <a:pt x="402" y="828"/>
                  </a:lnTo>
                  <a:lnTo>
                    <a:pt x="402" y="822"/>
                  </a:lnTo>
                  <a:lnTo>
                    <a:pt x="396" y="822"/>
                  </a:lnTo>
                  <a:lnTo>
                    <a:pt x="402" y="822"/>
                  </a:lnTo>
                  <a:lnTo>
                    <a:pt x="402" y="816"/>
                  </a:lnTo>
                  <a:lnTo>
                    <a:pt x="396" y="816"/>
                  </a:lnTo>
                  <a:lnTo>
                    <a:pt x="396" y="810"/>
                  </a:lnTo>
                  <a:lnTo>
                    <a:pt x="396" y="804"/>
                  </a:lnTo>
                  <a:lnTo>
                    <a:pt x="390" y="798"/>
                  </a:lnTo>
                  <a:lnTo>
                    <a:pt x="390" y="792"/>
                  </a:lnTo>
                  <a:lnTo>
                    <a:pt x="390" y="786"/>
                  </a:lnTo>
                  <a:lnTo>
                    <a:pt x="390" y="780"/>
                  </a:lnTo>
                  <a:lnTo>
                    <a:pt x="390" y="774"/>
                  </a:lnTo>
                  <a:lnTo>
                    <a:pt x="390" y="768"/>
                  </a:lnTo>
                  <a:lnTo>
                    <a:pt x="390" y="762"/>
                  </a:lnTo>
                  <a:lnTo>
                    <a:pt x="384" y="756"/>
                  </a:lnTo>
                  <a:lnTo>
                    <a:pt x="384" y="750"/>
                  </a:lnTo>
                  <a:lnTo>
                    <a:pt x="384" y="744"/>
                  </a:lnTo>
                  <a:lnTo>
                    <a:pt x="378" y="744"/>
                  </a:lnTo>
                  <a:lnTo>
                    <a:pt x="384" y="744"/>
                  </a:lnTo>
                  <a:lnTo>
                    <a:pt x="384" y="738"/>
                  </a:lnTo>
                  <a:lnTo>
                    <a:pt x="378" y="738"/>
                  </a:lnTo>
                  <a:lnTo>
                    <a:pt x="378" y="732"/>
                  </a:lnTo>
                  <a:lnTo>
                    <a:pt x="378" y="726"/>
                  </a:lnTo>
                  <a:lnTo>
                    <a:pt x="378" y="720"/>
                  </a:lnTo>
                  <a:lnTo>
                    <a:pt x="384" y="720"/>
                  </a:lnTo>
                  <a:close/>
                  <a:moveTo>
                    <a:pt x="330" y="738"/>
                  </a:moveTo>
                  <a:lnTo>
                    <a:pt x="336" y="732"/>
                  </a:lnTo>
                  <a:lnTo>
                    <a:pt x="336" y="726"/>
                  </a:lnTo>
                  <a:lnTo>
                    <a:pt x="342" y="720"/>
                  </a:lnTo>
                  <a:lnTo>
                    <a:pt x="348" y="720"/>
                  </a:lnTo>
                  <a:lnTo>
                    <a:pt x="360" y="720"/>
                  </a:lnTo>
                  <a:lnTo>
                    <a:pt x="366" y="726"/>
                  </a:lnTo>
                  <a:lnTo>
                    <a:pt x="372" y="732"/>
                  </a:lnTo>
                  <a:lnTo>
                    <a:pt x="372" y="738"/>
                  </a:lnTo>
                  <a:lnTo>
                    <a:pt x="366" y="750"/>
                  </a:lnTo>
                  <a:lnTo>
                    <a:pt x="372" y="756"/>
                  </a:lnTo>
                  <a:lnTo>
                    <a:pt x="372" y="762"/>
                  </a:lnTo>
                  <a:lnTo>
                    <a:pt x="372" y="768"/>
                  </a:lnTo>
                  <a:lnTo>
                    <a:pt x="372" y="774"/>
                  </a:lnTo>
                  <a:lnTo>
                    <a:pt x="372" y="780"/>
                  </a:lnTo>
                  <a:lnTo>
                    <a:pt x="372" y="774"/>
                  </a:lnTo>
                  <a:lnTo>
                    <a:pt x="366" y="768"/>
                  </a:lnTo>
                  <a:lnTo>
                    <a:pt x="366" y="762"/>
                  </a:lnTo>
                  <a:lnTo>
                    <a:pt x="366" y="756"/>
                  </a:lnTo>
                  <a:lnTo>
                    <a:pt x="360" y="756"/>
                  </a:lnTo>
                  <a:lnTo>
                    <a:pt x="360" y="750"/>
                  </a:lnTo>
                  <a:lnTo>
                    <a:pt x="354" y="750"/>
                  </a:lnTo>
                  <a:lnTo>
                    <a:pt x="348" y="744"/>
                  </a:lnTo>
                  <a:lnTo>
                    <a:pt x="342" y="744"/>
                  </a:lnTo>
                  <a:lnTo>
                    <a:pt x="336" y="744"/>
                  </a:lnTo>
                  <a:lnTo>
                    <a:pt x="330" y="73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01" name="Freeform 6">
              <a:extLst>
                <a:ext uri="{FF2B5EF4-FFF2-40B4-BE49-F238E27FC236}">
                  <a16:creationId xmlns:a16="http://schemas.microsoft.com/office/drawing/2014/main" id="{0656C385-F30A-4AC8-AE9F-B1F66208B38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3123" y="4163918"/>
              <a:ext cx="266107" cy="248252"/>
            </a:xfrm>
            <a:custGeom>
              <a:avLst/>
              <a:gdLst>
                <a:gd name="T0" fmla="*/ 33 w 504"/>
                <a:gd name="T1" fmla="*/ 41 h 468"/>
                <a:gd name="T2" fmla="*/ 26 w 504"/>
                <a:gd name="T3" fmla="*/ 39 h 468"/>
                <a:gd name="T4" fmla="*/ 21 w 504"/>
                <a:gd name="T5" fmla="*/ 38 h 468"/>
                <a:gd name="T6" fmla="*/ 18 w 504"/>
                <a:gd name="T7" fmla="*/ 38 h 468"/>
                <a:gd name="T8" fmla="*/ 15 w 504"/>
                <a:gd name="T9" fmla="*/ 39 h 468"/>
                <a:gd name="T10" fmla="*/ 12 w 504"/>
                <a:gd name="T11" fmla="*/ 38 h 468"/>
                <a:gd name="T12" fmla="*/ 9 w 504"/>
                <a:gd name="T13" fmla="*/ 37 h 468"/>
                <a:gd name="T14" fmla="*/ 7 w 504"/>
                <a:gd name="T15" fmla="*/ 32 h 468"/>
                <a:gd name="T16" fmla="*/ 6 w 504"/>
                <a:gd name="T17" fmla="*/ 26 h 468"/>
                <a:gd name="T18" fmla="*/ 3 w 504"/>
                <a:gd name="T19" fmla="*/ 24 h 468"/>
                <a:gd name="T20" fmla="*/ 1 w 504"/>
                <a:gd name="T21" fmla="*/ 24 h 468"/>
                <a:gd name="T22" fmla="*/ 2 w 504"/>
                <a:gd name="T23" fmla="*/ 18 h 468"/>
                <a:gd name="T24" fmla="*/ 1 w 504"/>
                <a:gd name="T25" fmla="*/ 17 h 468"/>
                <a:gd name="T26" fmla="*/ 0 w 504"/>
                <a:gd name="T27" fmla="*/ 17 h 468"/>
                <a:gd name="T28" fmla="*/ 0 w 504"/>
                <a:gd name="T29" fmla="*/ 15 h 468"/>
                <a:gd name="T30" fmla="*/ 2 w 504"/>
                <a:gd name="T31" fmla="*/ 12 h 468"/>
                <a:gd name="T32" fmla="*/ 4 w 504"/>
                <a:gd name="T33" fmla="*/ 10 h 468"/>
                <a:gd name="T34" fmla="*/ 6 w 504"/>
                <a:gd name="T35" fmla="*/ 8 h 468"/>
                <a:gd name="T36" fmla="*/ 8 w 504"/>
                <a:gd name="T37" fmla="*/ 8 h 468"/>
                <a:gd name="T38" fmla="*/ 10 w 504"/>
                <a:gd name="T39" fmla="*/ 9 h 468"/>
                <a:gd name="T40" fmla="*/ 12 w 504"/>
                <a:gd name="T41" fmla="*/ 10 h 468"/>
                <a:gd name="T42" fmla="*/ 12 w 504"/>
                <a:gd name="T43" fmla="*/ 11 h 468"/>
                <a:gd name="T44" fmla="*/ 14 w 504"/>
                <a:gd name="T45" fmla="*/ 8 h 468"/>
                <a:gd name="T46" fmla="*/ 15 w 504"/>
                <a:gd name="T47" fmla="*/ 7 h 468"/>
                <a:gd name="T48" fmla="*/ 17 w 504"/>
                <a:gd name="T49" fmla="*/ 6 h 468"/>
                <a:gd name="T50" fmla="*/ 19 w 504"/>
                <a:gd name="T51" fmla="*/ 3 h 468"/>
                <a:gd name="T52" fmla="*/ 20 w 504"/>
                <a:gd name="T53" fmla="*/ 2 h 468"/>
                <a:gd name="T54" fmla="*/ 22 w 504"/>
                <a:gd name="T55" fmla="*/ 1 h 468"/>
                <a:gd name="T56" fmla="*/ 27 w 504"/>
                <a:gd name="T57" fmla="*/ 1 h 468"/>
                <a:gd name="T58" fmla="*/ 30 w 504"/>
                <a:gd name="T59" fmla="*/ 2 h 468"/>
                <a:gd name="T60" fmla="*/ 31 w 504"/>
                <a:gd name="T61" fmla="*/ 2 h 468"/>
                <a:gd name="T62" fmla="*/ 34 w 504"/>
                <a:gd name="T63" fmla="*/ 0 h 468"/>
                <a:gd name="T64" fmla="*/ 37 w 504"/>
                <a:gd name="T65" fmla="*/ 1 h 468"/>
                <a:gd name="T66" fmla="*/ 41 w 504"/>
                <a:gd name="T67" fmla="*/ 2 h 468"/>
                <a:gd name="T68" fmla="*/ 42 w 504"/>
                <a:gd name="T69" fmla="*/ 4 h 468"/>
                <a:gd name="T70" fmla="*/ 42 w 504"/>
                <a:gd name="T71" fmla="*/ 10 h 468"/>
                <a:gd name="T72" fmla="*/ 41 w 504"/>
                <a:gd name="T73" fmla="*/ 14 h 468"/>
                <a:gd name="T74" fmla="*/ 42 w 504"/>
                <a:gd name="T75" fmla="*/ 15 h 468"/>
                <a:gd name="T76" fmla="*/ 44 w 504"/>
                <a:gd name="T77" fmla="*/ 18 h 468"/>
                <a:gd name="T78" fmla="*/ 43 w 504"/>
                <a:gd name="T79" fmla="*/ 19 h 468"/>
                <a:gd name="T80" fmla="*/ 42 w 504"/>
                <a:gd name="T81" fmla="*/ 21 h 468"/>
                <a:gd name="T82" fmla="*/ 42 w 504"/>
                <a:gd name="T83" fmla="*/ 23 h 468"/>
                <a:gd name="T84" fmla="*/ 39 w 504"/>
                <a:gd name="T85" fmla="*/ 27 h 468"/>
                <a:gd name="T86" fmla="*/ 38 w 504"/>
                <a:gd name="T87" fmla="*/ 29 h 468"/>
                <a:gd name="T88" fmla="*/ 38 w 504"/>
                <a:gd name="T89" fmla="*/ 31 h 468"/>
                <a:gd name="T90" fmla="*/ 36 w 504"/>
                <a:gd name="T91" fmla="*/ 32 h 468"/>
                <a:gd name="T92" fmla="*/ 35 w 504"/>
                <a:gd name="T93" fmla="*/ 34 h 468"/>
                <a:gd name="T94" fmla="*/ 34 w 504"/>
                <a:gd name="T95" fmla="*/ 38 h 46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04"/>
                <a:gd name="T145" fmla="*/ 0 h 468"/>
                <a:gd name="T146" fmla="*/ 504 w 504"/>
                <a:gd name="T147" fmla="*/ 468 h 46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04" h="468">
                  <a:moveTo>
                    <a:pt x="390" y="456"/>
                  </a:moveTo>
                  <a:lnTo>
                    <a:pt x="384" y="468"/>
                  </a:lnTo>
                  <a:lnTo>
                    <a:pt x="378" y="468"/>
                  </a:lnTo>
                  <a:lnTo>
                    <a:pt x="354" y="468"/>
                  </a:lnTo>
                  <a:lnTo>
                    <a:pt x="348" y="462"/>
                  </a:lnTo>
                  <a:lnTo>
                    <a:pt x="300" y="456"/>
                  </a:lnTo>
                  <a:lnTo>
                    <a:pt x="270" y="444"/>
                  </a:lnTo>
                  <a:lnTo>
                    <a:pt x="252" y="438"/>
                  </a:lnTo>
                  <a:lnTo>
                    <a:pt x="240" y="438"/>
                  </a:lnTo>
                  <a:lnTo>
                    <a:pt x="234" y="438"/>
                  </a:lnTo>
                  <a:lnTo>
                    <a:pt x="228" y="444"/>
                  </a:lnTo>
                  <a:lnTo>
                    <a:pt x="210" y="444"/>
                  </a:lnTo>
                  <a:lnTo>
                    <a:pt x="198" y="444"/>
                  </a:lnTo>
                  <a:lnTo>
                    <a:pt x="198" y="450"/>
                  </a:lnTo>
                  <a:lnTo>
                    <a:pt x="168" y="456"/>
                  </a:lnTo>
                  <a:lnTo>
                    <a:pt x="150" y="450"/>
                  </a:lnTo>
                  <a:lnTo>
                    <a:pt x="144" y="444"/>
                  </a:lnTo>
                  <a:lnTo>
                    <a:pt x="132" y="438"/>
                  </a:lnTo>
                  <a:lnTo>
                    <a:pt x="138" y="432"/>
                  </a:lnTo>
                  <a:lnTo>
                    <a:pt x="114" y="432"/>
                  </a:lnTo>
                  <a:lnTo>
                    <a:pt x="102" y="426"/>
                  </a:lnTo>
                  <a:lnTo>
                    <a:pt x="90" y="414"/>
                  </a:lnTo>
                  <a:lnTo>
                    <a:pt x="72" y="402"/>
                  </a:lnTo>
                  <a:lnTo>
                    <a:pt x="78" y="366"/>
                  </a:lnTo>
                  <a:lnTo>
                    <a:pt x="78" y="330"/>
                  </a:lnTo>
                  <a:lnTo>
                    <a:pt x="66" y="318"/>
                  </a:lnTo>
                  <a:lnTo>
                    <a:pt x="66" y="300"/>
                  </a:lnTo>
                  <a:lnTo>
                    <a:pt x="66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30" y="282"/>
                  </a:lnTo>
                  <a:lnTo>
                    <a:pt x="24" y="282"/>
                  </a:lnTo>
                  <a:lnTo>
                    <a:pt x="12" y="276"/>
                  </a:lnTo>
                  <a:lnTo>
                    <a:pt x="0" y="282"/>
                  </a:lnTo>
                  <a:lnTo>
                    <a:pt x="12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2" y="198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6" y="180"/>
                  </a:lnTo>
                  <a:lnTo>
                    <a:pt x="12" y="186"/>
                  </a:lnTo>
                  <a:lnTo>
                    <a:pt x="18" y="138"/>
                  </a:lnTo>
                  <a:lnTo>
                    <a:pt x="24" y="126"/>
                  </a:lnTo>
                  <a:lnTo>
                    <a:pt x="30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20" y="102"/>
                  </a:lnTo>
                  <a:lnTo>
                    <a:pt x="126" y="108"/>
                  </a:lnTo>
                  <a:lnTo>
                    <a:pt x="126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0"/>
                  </a:lnTo>
                  <a:lnTo>
                    <a:pt x="156" y="96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16" y="42"/>
                  </a:lnTo>
                  <a:lnTo>
                    <a:pt x="222" y="36"/>
                  </a:lnTo>
                  <a:lnTo>
                    <a:pt x="228" y="36"/>
                  </a:lnTo>
                  <a:lnTo>
                    <a:pt x="228" y="30"/>
                  </a:lnTo>
                  <a:lnTo>
                    <a:pt x="228" y="24"/>
                  </a:lnTo>
                  <a:lnTo>
                    <a:pt x="246" y="18"/>
                  </a:lnTo>
                  <a:lnTo>
                    <a:pt x="252" y="18"/>
                  </a:lnTo>
                  <a:lnTo>
                    <a:pt x="258" y="12"/>
                  </a:lnTo>
                  <a:lnTo>
                    <a:pt x="270" y="6"/>
                  </a:lnTo>
                  <a:lnTo>
                    <a:pt x="288" y="6"/>
                  </a:lnTo>
                  <a:lnTo>
                    <a:pt x="312" y="12"/>
                  </a:lnTo>
                  <a:lnTo>
                    <a:pt x="324" y="12"/>
                  </a:lnTo>
                  <a:lnTo>
                    <a:pt x="336" y="18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14" y="12"/>
                  </a:lnTo>
                  <a:lnTo>
                    <a:pt x="426" y="12"/>
                  </a:lnTo>
                  <a:lnTo>
                    <a:pt x="444" y="18"/>
                  </a:lnTo>
                  <a:lnTo>
                    <a:pt x="462" y="18"/>
                  </a:lnTo>
                  <a:lnTo>
                    <a:pt x="474" y="18"/>
                  </a:lnTo>
                  <a:lnTo>
                    <a:pt x="480" y="18"/>
                  </a:lnTo>
                  <a:lnTo>
                    <a:pt x="486" y="36"/>
                  </a:lnTo>
                  <a:lnTo>
                    <a:pt x="480" y="42"/>
                  </a:lnTo>
                  <a:lnTo>
                    <a:pt x="480" y="54"/>
                  </a:lnTo>
                  <a:lnTo>
                    <a:pt x="486" y="78"/>
                  </a:lnTo>
                  <a:lnTo>
                    <a:pt x="486" y="114"/>
                  </a:lnTo>
                  <a:lnTo>
                    <a:pt x="486" y="150"/>
                  </a:lnTo>
                  <a:lnTo>
                    <a:pt x="468" y="150"/>
                  </a:lnTo>
                  <a:lnTo>
                    <a:pt x="474" y="162"/>
                  </a:lnTo>
                  <a:lnTo>
                    <a:pt x="480" y="162"/>
                  </a:lnTo>
                  <a:lnTo>
                    <a:pt x="486" y="174"/>
                  </a:lnTo>
                  <a:lnTo>
                    <a:pt x="492" y="174"/>
                  </a:lnTo>
                  <a:lnTo>
                    <a:pt x="492" y="192"/>
                  </a:lnTo>
                  <a:lnTo>
                    <a:pt x="498" y="198"/>
                  </a:lnTo>
                  <a:lnTo>
                    <a:pt x="504" y="204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8" y="222"/>
                  </a:lnTo>
                  <a:lnTo>
                    <a:pt x="492" y="228"/>
                  </a:lnTo>
                  <a:lnTo>
                    <a:pt x="492" y="234"/>
                  </a:lnTo>
                  <a:lnTo>
                    <a:pt x="492" y="240"/>
                  </a:lnTo>
                  <a:lnTo>
                    <a:pt x="486" y="246"/>
                  </a:lnTo>
                  <a:lnTo>
                    <a:pt x="486" y="258"/>
                  </a:lnTo>
                  <a:lnTo>
                    <a:pt x="480" y="264"/>
                  </a:lnTo>
                  <a:lnTo>
                    <a:pt x="474" y="276"/>
                  </a:lnTo>
                  <a:lnTo>
                    <a:pt x="468" y="288"/>
                  </a:lnTo>
                  <a:lnTo>
                    <a:pt x="456" y="306"/>
                  </a:lnTo>
                  <a:lnTo>
                    <a:pt x="456" y="312"/>
                  </a:lnTo>
                  <a:lnTo>
                    <a:pt x="444" y="318"/>
                  </a:lnTo>
                  <a:lnTo>
                    <a:pt x="432" y="336"/>
                  </a:lnTo>
                  <a:lnTo>
                    <a:pt x="432" y="342"/>
                  </a:lnTo>
                  <a:lnTo>
                    <a:pt x="432" y="348"/>
                  </a:lnTo>
                  <a:lnTo>
                    <a:pt x="432" y="354"/>
                  </a:lnTo>
                  <a:lnTo>
                    <a:pt x="426" y="366"/>
                  </a:lnTo>
                  <a:lnTo>
                    <a:pt x="420" y="366"/>
                  </a:lnTo>
                  <a:lnTo>
                    <a:pt x="420" y="372"/>
                  </a:lnTo>
                  <a:lnTo>
                    <a:pt x="414" y="378"/>
                  </a:lnTo>
                  <a:lnTo>
                    <a:pt x="414" y="390"/>
                  </a:lnTo>
                  <a:lnTo>
                    <a:pt x="408" y="390"/>
                  </a:lnTo>
                  <a:lnTo>
                    <a:pt x="408" y="402"/>
                  </a:lnTo>
                  <a:lnTo>
                    <a:pt x="402" y="414"/>
                  </a:lnTo>
                  <a:lnTo>
                    <a:pt x="396" y="438"/>
                  </a:lnTo>
                  <a:lnTo>
                    <a:pt x="396" y="444"/>
                  </a:lnTo>
                  <a:lnTo>
                    <a:pt x="390" y="45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11" name="Freeform 7">
              <a:extLst>
                <a:ext uri="{FF2B5EF4-FFF2-40B4-BE49-F238E27FC236}">
                  <a16:creationId xmlns:a16="http://schemas.microsoft.com/office/drawing/2014/main" id="{0D8DE62D-4554-4314-9F3A-7208D89B4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90838" y="4128134"/>
              <a:ext cx="283995" cy="411516"/>
            </a:xfrm>
            <a:custGeom>
              <a:avLst/>
              <a:gdLst>
                <a:gd name="T0" fmla="*/ 39 w 534"/>
                <a:gd name="T1" fmla="*/ 35 h 774"/>
                <a:gd name="T2" fmla="*/ 35 w 534"/>
                <a:gd name="T3" fmla="*/ 31 h 774"/>
                <a:gd name="T4" fmla="*/ 32 w 534"/>
                <a:gd name="T5" fmla="*/ 29 h 774"/>
                <a:gd name="T6" fmla="*/ 32 w 534"/>
                <a:gd name="T7" fmla="*/ 31 h 774"/>
                <a:gd name="T8" fmla="*/ 29 w 534"/>
                <a:gd name="T9" fmla="*/ 33 h 774"/>
                <a:gd name="T10" fmla="*/ 27 w 534"/>
                <a:gd name="T11" fmla="*/ 36 h 774"/>
                <a:gd name="T12" fmla="*/ 30 w 534"/>
                <a:gd name="T13" fmla="*/ 38 h 774"/>
                <a:gd name="T14" fmla="*/ 29 w 534"/>
                <a:gd name="T15" fmla="*/ 40 h 774"/>
                <a:gd name="T16" fmla="*/ 25 w 534"/>
                <a:gd name="T17" fmla="*/ 40 h 774"/>
                <a:gd name="T18" fmla="*/ 23 w 534"/>
                <a:gd name="T19" fmla="*/ 42 h 774"/>
                <a:gd name="T20" fmla="*/ 22 w 534"/>
                <a:gd name="T21" fmla="*/ 47 h 774"/>
                <a:gd name="T22" fmla="*/ 22 w 534"/>
                <a:gd name="T23" fmla="*/ 51 h 774"/>
                <a:gd name="T24" fmla="*/ 22 w 534"/>
                <a:gd name="T25" fmla="*/ 54 h 774"/>
                <a:gd name="T26" fmla="*/ 21 w 534"/>
                <a:gd name="T27" fmla="*/ 56 h 774"/>
                <a:gd name="T28" fmla="*/ 19 w 534"/>
                <a:gd name="T29" fmla="*/ 58 h 774"/>
                <a:gd name="T30" fmla="*/ 20 w 534"/>
                <a:gd name="T31" fmla="*/ 59 h 774"/>
                <a:gd name="T32" fmla="*/ 19 w 534"/>
                <a:gd name="T33" fmla="*/ 62 h 774"/>
                <a:gd name="T34" fmla="*/ 19 w 534"/>
                <a:gd name="T35" fmla="*/ 64 h 774"/>
                <a:gd name="T36" fmla="*/ 20 w 534"/>
                <a:gd name="T37" fmla="*/ 66 h 774"/>
                <a:gd name="T38" fmla="*/ 17 w 534"/>
                <a:gd name="T39" fmla="*/ 66 h 774"/>
                <a:gd name="T40" fmla="*/ 16 w 534"/>
                <a:gd name="T41" fmla="*/ 65 h 774"/>
                <a:gd name="T42" fmla="*/ 13 w 534"/>
                <a:gd name="T43" fmla="*/ 65 h 774"/>
                <a:gd name="T44" fmla="*/ 11 w 534"/>
                <a:gd name="T45" fmla="*/ 65 h 774"/>
                <a:gd name="T46" fmla="*/ 8 w 534"/>
                <a:gd name="T47" fmla="*/ 65 h 774"/>
                <a:gd name="T48" fmla="*/ 8 w 534"/>
                <a:gd name="T49" fmla="*/ 64 h 774"/>
                <a:gd name="T50" fmla="*/ 5 w 534"/>
                <a:gd name="T51" fmla="*/ 65 h 774"/>
                <a:gd name="T52" fmla="*/ 3 w 534"/>
                <a:gd name="T53" fmla="*/ 65 h 774"/>
                <a:gd name="T54" fmla="*/ 0 w 534"/>
                <a:gd name="T55" fmla="*/ 64 h 774"/>
                <a:gd name="T56" fmla="*/ 0 w 534"/>
                <a:gd name="T57" fmla="*/ 62 h 774"/>
                <a:gd name="T58" fmla="*/ 3 w 534"/>
                <a:gd name="T59" fmla="*/ 60 h 774"/>
                <a:gd name="T60" fmla="*/ 6 w 534"/>
                <a:gd name="T61" fmla="*/ 57 h 774"/>
                <a:gd name="T62" fmla="*/ 8 w 534"/>
                <a:gd name="T63" fmla="*/ 50 h 774"/>
                <a:gd name="T64" fmla="*/ 6 w 534"/>
                <a:gd name="T65" fmla="*/ 45 h 774"/>
                <a:gd name="T66" fmla="*/ 8 w 534"/>
                <a:gd name="T67" fmla="*/ 41 h 774"/>
                <a:gd name="T68" fmla="*/ 9 w 534"/>
                <a:gd name="T69" fmla="*/ 38 h 774"/>
                <a:gd name="T70" fmla="*/ 10 w 534"/>
                <a:gd name="T71" fmla="*/ 36 h 774"/>
                <a:gd name="T72" fmla="*/ 12 w 534"/>
                <a:gd name="T73" fmla="*/ 33 h 774"/>
                <a:gd name="T74" fmla="*/ 14 w 534"/>
                <a:gd name="T75" fmla="*/ 29 h 774"/>
                <a:gd name="T76" fmla="*/ 16 w 534"/>
                <a:gd name="T77" fmla="*/ 26 h 774"/>
                <a:gd name="T78" fmla="*/ 16 w 534"/>
                <a:gd name="T79" fmla="*/ 24 h 774"/>
                <a:gd name="T80" fmla="*/ 16 w 534"/>
                <a:gd name="T81" fmla="*/ 21 h 774"/>
                <a:gd name="T82" fmla="*/ 13 w 534"/>
                <a:gd name="T83" fmla="*/ 19 h 774"/>
                <a:gd name="T84" fmla="*/ 14 w 534"/>
                <a:gd name="T85" fmla="*/ 10 h 774"/>
                <a:gd name="T86" fmla="*/ 14 w 534"/>
                <a:gd name="T87" fmla="*/ 7 h 774"/>
                <a:gd name="T88" fmla="*/ 8 w 534"/>
                <a:gd name="T89" fmla="*/ 7 h 774"/>
                <a:gd name="T90" fmla="*/ 7 w 534"/>
                <a:gd name="T91" fmla="*/ 3 h 774"/>
                <a:gd name="T92" fmla="*/ 11 w 534"/>
                <a:gd name="T93" fmla="*/ 1 h 774"/>
                <a:gd name="T94" fmla="*/ 12 w 534"/>
                <a:gd name="T95" fmla="*/ 0 h 774"/>
                <a:gd name="T96" fmla="*/ 16 w 534"/>
                <a:gd name="T97" fmla="*/ 2 h 774"/>
                <a:gd name="T98" fmla="*/ 20 w 534"/>
                <a:gd name="T99" fmla="*/ 2 h 774"/>
                <a:gd name="T100" fmla="*/ 23 w 534"/>
                <a:gd name="T101" fmla="*/ 3 h 774"/>
                <a:gd name="T102" fmla="*/ 23 w 534"/>
                <a:gd name="T103" fmla="*/ 10 h 774"/>
                <a:gd name="T104" fmla="*/ 29 w 534"/>
                <a:gd name="T105" fmla="*/ 12 h 774"/>
                <a:gd name="T106" fmla="*/ 35 w 534"/>
                <a:gd name="T107" fmla="*/ 12 h 774"/>
                <a:gd name="T108" fmla="*/ 38 w 534"/>
                <a:gd name="T109" fmla="*/ 17 h 774"/>
                <a:gd name="T110" fmla="*/ 40 w 534"/>
                <a:gd name="T111" fmla="*/ 19 h 774"/>
                <a:gd name="T112" fmla="*/ 44 w 534"/>
                <a:gd name="T113" fmla="*/ 23 h 774"/>
                <a:gd name="T114" fmla="*/ 44 w 534"/>
                <a:gd name="T115" fmla="*/ 30 h 774"/>
                <a:gd name="T116" fmla="*/ 46 w 534"/>
                <a:gd name="T117" fmla="*/ 36 h 774"/>
                <a:gd name="T118" fmla="*/ 41 w 534"/>
                <a:gd name="T119" fmla="*/ 37 h 77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34"/>
                <a:gd name="T181" fmla="*/ 0 h 774"/>
                <a:gd name="T182" fmla="*/ 534 w 534"/>
                <a:gd name="T183" fmla="*/ 774 h 77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34" h="774">
                  <a:moveTo>
                    <a:pt x="462" y="426"/>
                  </a:moveTo>
                  <a:lnTo>
                    <a:pt x="462" y="414"/>
                  </a:lnTo>
                  <a:lnTo>
                    <a:pt x="450" y="402"/>
                  </a:lnTo>
                  <a:lnTo>
                    <a:pt x="444" y="396"/>
                  </a:lnTo>
                  <a:lnTo>
                    <a:pt x="420" y="396"/>
                  </a:lnTo>
                  <a:lnTo>
                    <a:pt x="408" y="390"/>
                  </a:lnTo>
                  <a:lnTo>
                    <a:pt x="402" y="366"/>
                  </a:lnTo>
                  <a:lnTo>
                    <a:pt x="390" y="354"/>
                  </a:lnTo>
                  <a:lnTo>
                    <a:pt x="384" y="336"/>
                  </a:lnTo>
                  <a:lnTo>
                    <a:pt x="378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8" y="348"/>
                  </a:lnTo>
                  <a:lnTo>
                    <a:pt x="360" y="354"/>
                  </a:lnTo>
                  <a:lnTo>
                    <a:pt x="360" y="390"/>
                  </a:lnTo>
                  <a:lnTo>
                    <a:pt x="348" y="390"/>
                  </a:lnTo>
                  <a:lnTo>
                    <a:pt x="342" y="384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90"/>
                  </a:lnTo>
                  <a:lnTo>
                    <a:pt x="312" y="402"/>
                  </a:lnTo>
                  <a:lnTo>
                    <a:pt x="306" y="420"/>
                  </a:lnTo>
                  <a:lnTo>
                    <a:pt x="324" y="414"/>
                  </a:lnTo>
                  <a:lnTo>
                    <a:pt x="330" y="414"/>
                  </a:lnTo>
                  <a:lnTo>
                    <a:pt x="336" y="420"/>
                  </a:lnTo>
                  <a:lnTo>
                    <a:pt x="336" y="432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6"/>
                  </a:lnTo>
                  <a:lnTo>
                    <a:pt x="318" y="456"/>
                  </a:lnTo>
                  <a:lnTo>
                    <a:pt x="300" y="456"/>
                  </a:lnTo>
                  <a:lnTo>
                    <a:pt x="288" y="462"/>
                  </a:lnTo>
                  <a:lnTo>
                    <a:pt x="276" y="462"/>
                  </a:lnTo>
                  <a:lnTo>
                    <a:pt x="270" y="462"/>
                  </a:lnTo>
                  <a:lnTo>
                    <a:pt x="270" y="468"/>
                  </a:lnTo>
                  <a:lnTo>
                    <a:pt x="252" y="468"/>
                  </a:lnTo>
                  <a:lnTo>
                    <a:pt x="258" y="480"/>
                  </a:lnTo>
                  <a:lnTo>
                    <a:pt x="258" y="492"/>
                  </a:lnTo>
                  <a:lnTo>
                    <a:pt x="258" y="498"/>
                  </a:lnTo>
                  <a:lnTo>
                    <a:pt x="258" y="510"/>
                  </a:lnTo>
                  <a:lnTo>
                    <a:pt x="252" y="540"/>
                  </a:lnTo>
                  <a:lnTo>
                    <a:pt x="246" y="564"/>
                  </a:lnTo>
                  <a:lnTo>
                    <a:pt x="246" y="570"/>
                  </a:lnTo>
                  <a:lnTo>
                    <a:pt x="252" y="576"/>
                  </a:lnTo>
                  <a:lnTo>
                    <a:pt x="246" y="582"/>
                  </a:lnTo>
                  <a:lnTo>
                    <a:pt x="252" y="600"/>
                  </a:lnTo>
                  <a:lnTo>
                    <a:pt x="258" y="606"/>
                  </a:lnTo>
                  <a:lnTo>
                    <a:pt x="258" y="612"/>
                  </a:lnTo>
                  <a:lnTo>
                    <a:pt x="252" y="618"/>
                  </a:lnTo>
                  <a:lnTo>
                    <a:pt x="246" y="624"/>
                  </a:lnTo>
                  <a:lnTo>
                    <a:pt x="246" y="630"/>
                  </a:lnTo>
                  <a:lnTo>
                    <a:pt x="246" y="636"/>
                  </a:lnTo>
                  <a:lnTo>
                    <a:pt x="240" y="642"/>
                  </a:lnTo>
                  <a:lnTo>
                    <a:pt x="234" y="654"/>
                  </a:lnTo>
                  <a:lnTo>
                    <a:pt x="228" y="654"/>
                  </a:lnTo>
                  <a:lnTo>
                    <a:pt x="222" y="660"/>
                  </a:lnTo>
                  <a:lnTo>
                    <a:pt x="216" y="666"/>
                  </a:lnTo>
                  <a:lnTo>
                    <a:pt x="210" y="666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22" y="684"/>
                  </a:lnTo>
                  <a:lnTo>
                    <a:pt x="222" y="690"/>
                  </a:lnTo>
                  <a:lnTo>
                    <a:pt x="222" y="696"/>
                  </a:lnTo>
                  <a:lnTo>
                    <a:pt x="222" y="702"/>
                  </a:lnTo>
                  <a:lnTo>
                    <a:pt x="216" y="708"/>
                  </a:lnTo>
                  <a:lnTo>
                    <a:pt x="210" y="720"/>
                  </a:lnTo>
                  <a:lnTo>
                    <a:pt x="216" y="732"/>
                  </a:lnTo>
                  <a:lnTo>
                    <a:pt x="210" y="732"/>
                  </a:lnTo>
                  <a:lnTo>
                    <a:pt x="216" y="738"/>
                  </a:lnTo>
                  <a:lnTo>
                    <a:pt x="216" y="744"/>
                  </a:lnTo>
                  <a:lnTo>
                    <a:pt x="222" y="750"/>
                  </a:lnTo>
                  <a:lnTo>
                    <a:pt x="228" y="756"/>
                  </a:lnTo>
                  <a:lnTo>
                    <a:pt x="222" y="762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04" y="762"/>
                  </a:lnTo>
                  <a:lnTo>
                    <a:pt x="198" y="762"/>
                  </a:lnTo>
                  <a:lnTo>
                    <a:pt x="192" y="762"/>
                  </a:lnTo>
                  <a:lnTo>
                    <a:pt x="186" y="756"/>
                  </a:lnTo>
                  <a:lnTo>
                    <a:pt x="180" y="750"/>
                  </a:lnTo>
                  <a:lnTo>
                    <a:pt x="180" y="744"/>
                  </a:lnTo>
                  <a:lnTo>
                    <a:pt x="174" y="744"/>
                  </a:lnTo>
                  <a:lnTo>
                    <a:pt x="156" y="750"/>
                  </a:lnTo>
                  <a:lnTo>
                    <a:pt x="150" y="750"/>
                  </a:lnTo>
                  <a:lnTo>
                    <a:pt x="144" y="750"/>
                  </a:lnTo>
                  <a:lnTo>
                    <a:pt x="138" y="750"/>
                  </a:lnTo>
                  <a:lnTo>
                    <a:pt x="138" y="744"/>
                  </a:lnTo>
                  <a:lnTo>
                    <a:pt x="132" y="744"/>
                  </a:lnTo>
                  <a:lnTo>
                    <a:pt x="120" y="744"/>
                  </a:lnTo>
                  <a:lnTo>
                    <a:pt x="114" y="738"/>
                  </a:lnTo>
                  <a:lnTo>
                    <a:pt x="108" y="744"/>
                  </a:lnTo>
                  <a:lnTo>
                    <a:pt x="102" y="744"/>
                  </a:lnTo>
                  <a:lnTo>
                    <a:pt x="96" y="744"/>
                  </a:lnTo>
                  <a:lnTo>
                    <a:pt x="96" y="738"/>
                  </a:lnTo>
                  <a:lnTo>
                    <a:pt x="96" y="744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44"/>
                  </a:lnTo>
                  <a:lnTo>
                    <a:pt x="72" y="750"/>
                  </a:lnTo>
                  <a:lnTo>
                    <a:pt x="66" y="750"/>
                  </a:lnTo>
                  <a:lnTo>
                    <a:pt x="60" y="750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0"/>
                  </a:lnTo>
                  <a:lnTo>
                    <a:pt x="30" y="750"/>
                  </a:lnTo>
                  <a:lnTo>
                    <a:pt x="24" y="744"/>
                  </a:lnTo>
                  <a:lnTo>
                    <a:pt x="18" y="738"/>
                  </a:lnTo>
                  <a:lnTo>
                    <a:pt x="6" y="738"/>
                  </a:lnTo>
                  <a:lnTo>
                    <a:pt x="0" y="732"/>
                  </a:lnTo>
                  <a:lnTo>
                    <a:pt x="0" y="726"/>
                  </a:lnTo>
                  <a:lnTo>
                    <a:pt x="0" y="720"/>
                  </a:lnTo>
                  <a:lnTo>
                    <a:pt x="6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8" y="702"/>
                  </a:lnTo>
                  <a:lnTo>
                    <a:pt x="24" y="696"/>
                  </a:lnTo>
                  <a:lnTo>
                    <a:pt x="30" y="696"/>
                  </a:lnTo>
                  <a:lnTo>
                    <a:pt x="48" y="690"/>
                  </a:lnTo>
                  <a:lnTo>
                    <a:pt x="54" y="678"/>
                  </a:lnTo>
                  <a:lnTo>
                    <a:pt x="66" y="672"/>
                  </a:lnTo>
                  <a:lnTo>
                    <a:pt x="66" y="654"/>
                  </a:lnTo>
                  <a:lnTo>
                    <a:pt x="72" y="636"/>
                  </a:lnTo>
                  <a:lnTo>
                    <a:pt x="72" y="612"/>
                  </a:lnTo>
                  <a:lnTo>
                    <a:pt x="84" y="594"/>
                  </a:lnTo>
                  <a:lnTo>
                    <a:pt x="90" y="576"/>
                  </a:lnTo>
                  <a:lnTo>
                    <a:pt x="96" y="552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72" y="522"/>
                  </a:lnTo>
                  <a:lnTo>
                    <a:pt x="78" y="510"/>
                  </a:lnTo>
                  <a:lnTo>
                    <a:pt x="78" y="504"/>
                  </a:lnTo>
                  <a:lnTo>
                    <a:pt x="84" y="480"/>
                  </a:lnTo>
                  <a:lnTo>
                    <a:pt x="90" y="468"/>
                  </a:lnTo>
                  <a:lnTo>
                    <a:pt x="90" y="456"/>
                  </a:lnTo>
                  <a:lnTo>
                    <a:pt x="96" y="456"/>
                  </a:lnTo>
                  <a:lnTo>
                    <a:pt x="96" y="444"/>
                  </a:lnTo>
                  <a:lnTo>
                    <a:pt x="102" y="438"/>
                  </a:lnTo>
                  <a:lnTo>
                    <a:pt x="102" y="432"/>
                  </a:lnTo>
                  <a:lnTo>
                    <a:pt x="108" y="432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14" y="408"/>
                  </a:lnTo>
                  <a:lnTo>
                    <a:pt x="114" y="402"/>
                  </a:lnTo>
                  <a:lnTo>
                    <a:pt x="126" y="384"/>
                  </a:lnTo>
                  <a:lnTo>
                    <a:pt x="138" y="378"/>
                  </a:lnTo>
                  <a:lnTo>
                    <a:pt x="138" y="372"/>
                  </a:lnTo>
                  <a:lnTo>
                    <a:pt x="150" y="354"/>
                  </a:lnTo>
                  <a:lnTo>
                    <a:pt x="156" y="342"/>
                  </a:lnTo>
                  <a:lnTo>
                    <a:pt x="162" y="330"/>
                  </a:lnTo>
                  <a:lnTo>
                    <a:pt x="168" y="324"/>
                  </a:lnTo>
                  <a:lnTo>
                    <a:pt x="168" y="312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74" y="294"/>
                  </a:lnTo>
                  <a:lnTo>
                    <a:pt x="180" y="288"/>
                  </a:lnTo>
                  <a:lnTo>
                    <a:pt x="180" y="276"/>
                  </a:lnTo>
                  <a:lnTo>
                    <a:pt x="186" y="276"/>
                  </a:lnTo>
                  <a:lnTo>
                    <a:pt x="186" y="270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40"/>
                  </a:lnTo>
                  <a:lnTo>
                    <a:pt x="168" y="240"/>
                  </a:lnTo>
                  <a:lnTo>
                    <a:pt x="162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68" y="216"/>
                  </a:lnTo>
                  <a:lnTo>
                    <a:pt x="168" y="180"/>
                  </a:lnTo>
                  <a:lnTo>
                    <a:pt x="168" y="144"/>
                  </a:lnTo>
                  <a:lnTo>
                    <a:pt x="162" y="120"/>
                  </a:lnTo>
                  <a:lnTo>
                    <a:pt x="162" y="108"/>
                  </a:lnTo>
                  <a:lnTo>
                    <a:pt x="168" y="102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44" y="84"/>
                  </a:lnTo>
                  <a:lnTo>
                    <a:pt x="126" y="84"/>
                  </a:lnTo>
                  <a:lnTo>
                    <a:pt x="108" y="78"/>
                  </a:lnTo>
                  <a:lnTo>
                    <a:pt x="96" y="78"/>
                  </a:lnTo>
                  <a:lnTo>
                    <a:pt x="78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8" y="36"/>
                  </a:lnTo>
                  <a:lnTo>
                    <a:pt x="96" y="24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56" y="0"/>
                  </a:lnTo>
                  <a:lnTo>
                    <a:pt x="156" y="6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18"/>
                  </a:lnTo>
                  <a:lnTo>
                    <a:pt x="198" y="18"/>
                  </a:lnTo>
                  <a:lnTo>
                    <a:pt x="210" y="18"/>
                  </a:lnTo>
                  <a:lnTo>
                    <a:pt x="222" y="18"/>
                  </a:lnTo>
                  <a:lnTo>
                    <a:pt x="234" y="12"/>
                  </a:lnTo>
                  <a:lnTo>
                    <a:pt x="252" y="18"/>
                  </a:lnTo>
                  <a:lnTo>
                    <a:pt x="252" y="24"/>
                  </a:lnTo>
                  <a:lnTo>
                    <a:pt x="258" y="36"/>
                  </a:lnTo>
                  <a:lnTo>
                    <a:pt x="258" y="66"/>
                  </a:lnTo>
                  <a:lnTo>
                    <a:pt x="252" y="84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82" y="126"/>
                  </a:lnTo>
                  <a:lnTo>
                    <a:pt x="294" y="132"/>
                  </a:lnTo>
                  <a:lnTo>
                    <a:pt x="306" y="138"/>
                  </a:lnTo>
                  <a:lnTo>
                    <a:pt x="324" y="138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60" y="144"/>
                  </a:lnTo>
                  <a:lnTo>
                    <a:pt x="396" y="144"/>
                  </a:lnTo>
                  <a:lnTo>
                    <a:pt x="408" y="150"/>
                  </a:lnTo>
                  <a:lnTo>
                    <a:pt x="414" y="180"/>
                  </a:lnTo>
                  <a:lnTo>
                    <a:pt x="420" y="186"/>
                  </a:lnTo>
                  <a:lnTo>
                    <a:pt x="426" y="192"/>
                  </a:lnTo>
                  <a:lnTo>
                    <a:pt x="426" y="198"/>
                  </a:lnTo>
                  <a:lnTo>
                    <a:pt x="432" y="198"/>
                  </a:lnTo>
                  <a:lnTo>
                    <a:pt x="438" y="210"/>
                  </a:lnTo>
                  <a:lnTo>
                    <a:pt x="450" y="216"/>
                  </a:lnTo>
                  <a:lnTo>
                    <a:pt x="468" y="228"/>
                  </a:lnTo>
                  <a:lnTo>
                    <a:pt x="492" y="234"/>
                  </a:lnTo>
                  <a:lnTo>
                    <a:pt x="492" y="246"/>
                  </a:lnTo>
                  <a:lnTo>
                    <a:pt x="492" y="270"/>
                  </a:lnTo>
                  <a:lnTo>
                    <a:pt x="486" y="294"/>
                  </a:lnTo>
                  <a:lnTo>
                    <a:pt x="486" y="312"/>
                  </a:lnTo>
                  <a:lnTo>
                    <a:pt x="486" y="330"/>
                  </a:lnTo>
                  <a:lnTo>
                    <a:pt x="492" y="348"/>
                  </a:lnTo>
                  <a:lnTo>
                    <a:pt x="498" y="360"/>
                  </a:lnTo>
                  <a:lnTo>
                    <a:pt x="510" y="366"/>
                  </a:lnTo>
                  <a:lnTo>
                    <a:pt x="516" y="384"/>
                  </a:lnTo>
                  <a:lnTo>
                    <a:pt x="522" y="414"/>
                  </a:lnTo>
                  <a:lnTo>
                    <a:pt x="528" y="414"/>
                  </a:lnTo>
                  <a:lnTo>
                    <a:pt x="534" y="426"/>
                  </a:lnTo>
                  <a:lnTo>
                    <a:pt x="528" y="432"/>
                  </a:lnTo>
                  <a:lnTo>
                    <a:pt x="468" y="426"/>
                  </a:lnTo>
                  <a:lnTo>
                    <a:pt x="462" y="4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3" name="Freeform 8">
              <a:extLst>
                <a:ext uri="{FF2B5EF4-FFF2-40B4-BE49-F238E27FC236}">
                  <a16:creationId xmlns:a16="http://schemas.microsoft.com/office/drawing/2014/main" id="{D473457C-872E-4E31-888A-D60FD52063A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98175" y="4307054"/>
              <a:ext cx="295177" cy="348894"/>
            </a:xfrm>
            <a:custGeom>
              <a:avLst/>
              <a:gdLst>
                <a:gd name="T0" fmla="*/ 3 w 552"/>
                <a:gd name="T1" fmla="*/ 46 h 660"/>
                <a:gd name="T2" fmla="*/ 4 w 552"/>
                <a:gd name="T3" fmla="*/ 42 h 660"/>
                <a:gd name="T4" fmla="*/ 2 w 552"/>
                <a:gd name="T5" fmla="*/ 38 h 660"/>
                <a:gd name="T6" fmla="*/ 0 w 552"/>
                <a:gd name="T7" fmla="*/ 34 h 660"/>
                <a:gd name="T8" fmla="*/ 2 w 552"/>
                <a:gd name="T9" fmla="*/ 30 h 660"/>
                <a:gd name="T10" fmla="*/ 3 w 552"/>
                <a:gd name="T11" fmla="*/ 27 h 660"/>
                <a:gd name="T12" fmla="*/ 5 w 552"/>
                <a:gd name="T13" fmla="*/ 23 h 660"/>
                <a:gd name="T14" fmla="*/ 5 w 552"/>
                <a:gd name="T15" fmla="*/ 15 h 660"/>
                <a:gd name="T16" fmla="*/ 6 w 552"/>
                <a:gd name="T17" fmla="*/ 11 h 660"/>
                <a:gd name="T18" fmla="*/ 11 w 552"/>
                <a:gd name="T19" fmla="*/ 9 h 660"/>
                <a:gd name="T20" fmla="*/ 10 w 552"/>
                <a:gd name="T21" fmla="*/ 5 h 660"/>
                <a:gd name="T22" fmla="*/ 12 w 552"/>
                <a:gd name="T23" fmla="*/ 1 h 660"/>
                <a:gd name="T24" fmla="*/ 16 w 552"/>
                <a:gd name="T25" fmla="*/ 2 h 660"/>
                <a:gd name="T26" fmla="*/ 23 w 552"/>
                <a:gd name="T27" fmla="*/ 8 h 660"/>
                <a:gd name="T28" fmla="*/ 23 w 552"/>
                <a:gd name="T29" fmla="*/ 11 h 660"/>
                <a:gd name="T30" fmla="*/ 27 w 552"/>
                <a:gd name="T31" fmla="*/ 12 h 660"/>
                <a:gd name="T32" fmla="*/ 29 w 552"/>
                <a:gd name="T33" fmla="*/ 17 h 660"/>
                <a:gd name="T34" fmla="*/ 31 w 552"/>
                <a:gd name="T35" fmla="*/ 15 h 660"/>
                <a:gd name="T36" fmla="*/ 33 w 552"/>
                <a:gd name="T37" fmla="*/ 17 h 660"/>
                <a:gd name="T38" fmla="*/ 36 w 552"/>
                <a:gd name="T39" fmla="*/ 23 h 660"/>
                <a:gd name="T40" fmla="*/ 41 w 552"/>
                <a:gd name="T41" fmla="*/ 33 h 660"/>
                <a:gd name="T42" fmla="*/ 43 w 552"/>
                <a:gd name="T43" fmla="*/ 36 h 660"/>
                <a:gd name="T44" fmla="*/ 43 w 552"/>
                <a:gd name="T45" fmla="*/ 37 h 660"/>
                <a:gd name="T46" fmla="*/ 41 w 552"/>
                <a:gd name="T47" fmla="*/ 35 h 660"/>
                <a:gd name="T48" fmla="*/ 43 w 552"/>
                <a:gd name="T49" fmla="*/ 37 h 660"/>
                <a:gd name="T50" fmla="*/ 44 w 552"/>
                <a:gd name="T51" fmla="*/ 39 h 660"/>
                <a:gd name="T52" fmla="*/ 47 w 552"/>
                <a:gd name="T53" fmla="*/ 41 h 660"/>
                <a:gd name="T54" fmla="*/ 47 w 552"/>
                <a:gd name="T55" fmla="*/ 44 h 660"/>
                <a:gd name="T56" fmla="*/ 48 w 552"/>
                <a:gd name="T57" fmla="*/ 46 h 660"/>
                <a:gd name="T58" fmla="*/ 47 w 552"/>
                <a:gd name="T59" fmla="*/ 46 h 660"/>
                <a:gd name="T60" fmla="*/ 44 w 552"/>
                <a:gd name="T61" fmla="*/ 46 h 660"/>
                <a:gd name="T62" fmla="*/ 47 w 552"/>
                <a:gd name="T63" fmla="*/ 47 h 660"/>
                <a:gd name="T64" fmla="*/ 47 w 552"/>
                <a:gd name="T65" fmla="*/ 49 h 660"/>
                <a:gd name="T66" fmla="*/ 47 w 552"/>
                <a:gd name="T67" fmla="*/ 52 h 660"/>
                <a:gd name="T68" fmla="*/ 46 w 552"/>
                <a:gd name="T69" fmla="*/ 53 h 660"/>
                <a:gd name="T70" fmla="*/ 43 w 552"/>
                <a:gd name="T71" fmla="*/ 54 h 660"/>
                <a:gd name="T72" fmla="*/ 37 w 552"/>
                <a:gd name="T73" fmla="*/ 54 h 660"/>
                <a:gd name="T74" fmla="*/ 30 w 552"/>
                <a:gd name="T75" fmla="*/ 54 h 660"/>
                <a:gd name="T76" fmla="*/ 29 w 552"/>
                <a:gd name="T77" fmla="*/ 53 h 660"/>
                <a:gd name="T78" fmla="*/ 27 w 552"/>
                <a:gd name="T79" fmla="*/ 53 h 660"/>
                <a:gd name="T80" fmla="*/ 29 w 552"/>
                <a:gd name="T81" fmla="*/ 53 h 660"/>
                <a:gd name="T82" fmla="*/ 28 w 552"/>
                <a:gd name="T83" fmla="*/ 54 h 660"/>
                <a:gd name="T84" fmla="*/ 24 w 552"/>
                <a:gd name="T85" fmla="*/ 54 h 660"/>
                <a:gd name="T86" fmla="*/ 20 w 552"/>
                <a:gd name="T87" fmla="*/ 55 h 660"/>
                <a:gd name="T88" fmla="*/ 15 w 552"/>
                <a:gd name="T89" fmla="*/ 56 h 660"/>
                <a:gd name="T90" fmla="*/ 12 w 552"/>
                <a:gd name="T91" fmla="*/ 56 h 660"/>
                <a:gd name="T92" fmla="*/ 11 w 552"/>
                <a:gd name="T93" fmla="*/ 57 h 660"/>
                <a:gd name="T94" fmla="*/ 9 w 552"/>
                <a:gd name="T95" fmla="*/ 57 h 660"/>
                <a:gd name="T96" fmla="*/ 7 w 552"/>
                <a:gd name="T97" fmla="*/ 56 h 660"/>
                <a:gd name="T98" fmla="*/ 5 w 552"/>
                <a:gd name="T99" fmla="*/ 55 h 660"/>
                <a:gd name="T100" fmla="*/ 7 w 552"/>
                <a:gd name="T101" fmla="*/ 54 h 660"/>
                <a:gd name="T102" fmla="*/ 5 w 552"/>
                <a:gd name="T103" fmla="*/ 54 h 660"/>
                <a:gd name="T104" fmla="*/ 5 w 552"/>
                <a:gd name="T105" fmla="*/ 53 h 660"/>
                <a:gd name="T106" fmla="*/ 4 w 552"/>
                <a:gd name="T107" fmla="*/ 49 h 660"/>
                <a:gd name="T108" fmla="*/ 45 w 552"/>
                <a:gd name="T109" fmla="*/ 38 h 66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52"/>
                <a:gd name="T166" fmla="*/ 0 h 660"/>
                <a:gd name="T167" fmla="*/ 552 w 552"/>
                <a:gd name="T168" fmla="*/ 660 h 66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52" h="660">
                  <a:moveTo>
                    <a:pt x="36" y="564"/>
                  </a:moveTo>
                  <a:lnTo>
                    <a:pt x="36" y="558"/>
                  </a:lnTo>
                  <a:lnTo>
                    <a:pt x="36" y="552"/>
                  </a:lnTo>
                  <a:lnTo>
                    <a:pt x="42" y="546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34"/>
                  </a:lnTo>
                  <a:lnTo>
                    <a:pt x="36" y="528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54" y="510"/>
                  </a:lnTo>
                  <a:lnTo>
                    <a:pt x="54" y="504"/>
                  </a:lnTo>
                  <a:lnTo>
                    <a:pt x="54" y="498"/>
                  </a:lnTo>
                  <a:lnTo>
                    <a:pt x="48" y="492"/>
                  </a:lnTo>
                  <a:lnTo>
                    <a:pt x="42" y="486"/>
                  </a:lnTo>
                  <a:lnTo>
                    <a:pt x="42" y="480"/>
                  </a:lnTo>
                  <a:lnTo>
                    <a:pt x="42" y="468"/>
                  </a:lnTo>
                  <a:lnTo>
                    <a:pt x="30" y="456"/>
                  </a:lnTo>
                  <a:lnTo>
                    <a:pt x="30" y="450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2"/>
                  </a:lnTo>
                  <a:lnTo>
                    <a:pt x="18" y="426"/>
                  </a:lnTo>
                  <a:lnTo>
                    <a:pt x="24" y="420"/>
                  </a:lnTo>
                  <a:lnTo>
                    <a:pt x="18" y="414"/>
                  </a:lnTo>
                  <a:lnTo>
                    <a:pt x="12" y="408"/>
                  </a:lnTo>
                  <a:lnTo>
                    <a:pt x="12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6" y="384"/>
                  </a:lnTo>
                  <a:lnTo>
                    <a:pt x="12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8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36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54" y="270"/>
                  </a:lnTo>
                  <a:lnTo>
                    <a:pt x="48" y="264"/>
                  </a:lnTo>
                  <a:lnTo>
                    <a:pt x="42" y="246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8" y="204"/>
                  </a:lnTo>
                  <a:lnTo>
                    <a:pt x="54" y="174"/>
                  </a:lnTo>
                  <a:lnTo>
                    <a:pt x="54" y="162"/>
                  </a:lnTo>
                  <a:lnTo>
                    <a:pt x="54" y="156"/>
                  </a:lnTo>
                  <a:lnTo>
                    <a:pt x="54" y="144"/>
                  </a:lnTo>
                  <a:lnTo>
                    <a:pt x="48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72" y="126"/>
                  </a:lnTo>
                  <a:lnTo>
                    <a:pt x="84" y="126"/>
                  </a:lnTo>
                  <a:lnTo>
                    <a:pt x="96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2" y="84"/>
                  </a:lnTo>
                  <a:lnTo>
                    <a:pt x="126" y="78"/>
                  </a:lnTo>
                  <a:lnTo>
                    <a:pt x="120" y="78"/>
                  </a:lnTo>
                  <a:lnTo>
                    <a:pt x="102" y="84"/>
                  </a:lnTo>
                  <a:lnTo>
                    <a:pt x="108" y="66"/>
                  </a:lnTo>
                  <a:lnTo>
                    <a:pt x="114" y="54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8" y="4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6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74" y="0"/>
                  </a:lnTo>
                  <a:lnTo>
                    <a:pt x="180" y="0"/>
                  </a:lnTo>
                  <a:lnTo>
                    <a:pt x="186" y="18"/>
                  </a:lnTo>
                  <a:lnTo>
                    <a:pt x="198" y="30"/>
                  </a:lnTo>
                  <a:lnTo>
                    <a:pt x="204" y="54"/>
                  </a:lnTo>
                  <a:lnTo>
                    <a:pt x="216" y="60"/>
                  </a:lnTo>
                  <a:lnTo>
                    <a:pt x="240" y="60"/>
                  </a:lnTo>
                  <a:lnTo>
                    <a:pt x="246" y="66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2" y="120"/>
                  </a:lnTo>
                  <a:lnTo>
                    <a:pt x="25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6" y="126"/>
                  </a:lnTo>
                  <a:lnTo>
                    <a:pt x="282" y="120"/>
                  </a:lnTo>
                  <a:lnTo>
                    <a:pt x="282" y="126"/>
                  </a:lnTo>
                  <a:lnTo>
                    <a:pt x="294" y="126"/>
                  </a:lnTo>
                  <a:lnTo>
                    <a:pt x="300" y="132"/>
                  </a:lnTo>
                  <a:lnTo>
                    <a:pt x="306" y="144"/>
                  </a:lnTo>
                  <a:lnTo>
                    <a:pt x="312" y="144"/>
                  </a:lnTo>
                  <a:lnTo>
                    <a:pt x="312" y="150"/>
                  </a:lnTo>
                  <a:lnTo>
                    <a:pt x="312" y="162"/>
                  </a:lnTo>
                  <a:lnTo>
                    <a:pt x="312" y="174"/>
                  </a:lnTo>
                  <a:lnTo>
                    <a:pt x="324" y="180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30" y="192"/>
                  </a:lnTo>
                  <a:lnTo>
                    <a:pt x="336" y="198"/>
                  </a:lnTo>
                  <a:lnTo>
                    <a:pt x="342" y="192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54" y="180"/>
                  </a:lnTo>
                  <a:lnTo>
                    <a:pt x="354" y="174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84" y="192"/>
                  </a:lnTo>
                  <a:lnTo>
                    <a:pt x="390" y="204"/>
                  </a:lnTo>
                  <a:lnTo>
                    <a:pt x="390" y="210"/>
                  </a:lnTo>
                  <a:lnTo>
                    <a:pt x="390" y="216"/>
                  </a:lnTo>
                  <a:lnTo>
                    <a:pt x="384" y="234"/>
                  </a:lnTo>
                  <a:lnTo>
                    <a:pt x="390" y="240"/>
                  </a:lnTo>
                  <a:lnTo>
                    <a:pt x="408" y="252"/>
                  </a:lnTo>
                  <a:lnTo>
                    <a:pt x="414" y="264"/>
                  </a:lnTo>
                  <a:lnTo>
                    <a:pt x="408" y="300"/>
                  </a:lnTo>
                  <a:lnTo>
                    <a:pt x="414" y="312"/>
                  </a:lnTo>
                  <a:lnTo>
                    <a:pt x="426" y="336"/>
                  </a:lnTo>
                  <a:lnTo>
                    <a:pt x="438" y="354"/>
                  </a:lnTo>
                  <a:lnTo>
                    <a:pt x="444" y="366"/>
                  </a:lnTo>
                  <a:lnTo>
                    <a:pt x="456" y="366"/>
                  </a:lnTo>
                  <a:lnTo>
                    <a:pt x="474" y="378"/>
                  </a:lnTo>
                  <a:lnTo>
                    <a:pt x="474" y="384"/>
                  </a:lnTo>
                  <a:lnTo>
                    <a:pt x="480" y="390"/>
                  </a:lnTo>
                  <a:lnTo>
                    <a:pt x="486" y="396"/>
                  </a:lnTo>
                  <a:lnTo>
                    <a:pt x="486" y="402"/>
                  </a:lnTo>
                  <a:lnTo>
                    <a:pt x="480" y="408"/>
                  </a:lnTo>
                  <a:lnTo>
                    <a:pt x="486" y="408"/>
                  </a:lnTo>
                  <a:lnTo>
                    <a:pt x="486" y="414"/>
                  </a:lnTo>
                  <a:lnTo>
                    <a:pt x="492" y="414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32"/>
                  </a:lnTo>
                  <a:lnTo>
                    <a:pt x="498" y="438"/>
                  </a:lnTo>
                  <a:lnTo>
                    <a:pt x="492" y="432"/>
                  </a:lnTo>
                  <a:lnTo>
                    <a:pt x="486" y="426"/>
                  </a:lnTo>
                  <a:lnTo>
                    <a:pt x="486" y="420"/>
                  </a:lnTo>
                  <a:lnTo>
                    <a:pt x="486" y="414"/>
                  </a:lnTo>
                  <a:lnTo>
                    <a:pt x="480" y="414"/>
                  </a:lnTo>
                  <a:lnTo>
                    <a:pt x="480" y="408"/>
                  </a:lnTo>
                  <a:lnTo>
                    <a:pt x="474" y="408"/>
                  </a:lnTo>
                  <a:lnTo>
                    <a:pt x="468" y="408"/>
                  </a:lnTo>
                  <a:lnTo>
                    <a:pt x="468" y="402"/>
                  </a:lnTo>
                  <a:lnTo>
                    <a:pt x="462" y="402"/>
                  </a:lnTo>
                  <a:lnTo>
                    <a:pt x="462" y="408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80" y="426"/>
                  </a:lnTo>
                  <a:lnTo>
                    <a:pt x="486" y="426"/>
                  </a:lnTo>
                  <a:lnTo>
                    <a:pt x="486" y="432"/>
                  </a:lnTo>
                  <a:lnTo>
                    <a:pt x="492" y="438"/>
                  </a:lnTo>
                  <a:lnTo>
                    <a:pt x="498" y="438"/>
                  </a:lnTo>
                  <a:lnTo>
                    <a:pt x="504" y="444"/>
                  </a:lnTo>
                  <a:lnTo>
                    <a:pt x="510" y="444"/>
                  </a:lnTo>
                  <a:lnTo>
                    <a:pt x="510" y="450"/>
                  </a:lnTo>
                  <a:lnTo>
                    <a:pt x="510" y="456"/>
                  </a:lnTo>
                  <a:lnTo>
                    <a:pt x="516" y="456"/>
                  </a:lnTo>
                  <a:lnTo>
                    <a:pt x="516" y="462"/>
                  </a:lnTo>
                  <a:lnTo>
                    <a:pt x="522" y="462"/>
                  </a:lnTo>
                  <a:lnTo>
                    <a:pt x="522" y="468"/>
                  </a:lnTo>
                  <a:lnTo>
                    <a:pt x="528" y="468"/>
                  </a:lnTo>
                  <a:lnTo>
                    <a:pt x="534" y="468"/>
                  </a:lnTo>
                  <a:lnTo>
                    <a:pt x="534" y="474"/>
                  </a:lnTo>
                  <a:lnTo>
                    <a:pt x="540" y="474"/>
                  </a:lnTo>
                  <a:lnTo>
                    <a:pt x="540" y="480"/>
                  </a:lnTo>
                  <a:lnTo>
                    <a:pt x="546" y="486"/>
                  </a:lnTo>
                  <a:lnTo>
                    <a:pt x="546" y="492"/>
                  </a:lnTo>
                  <a:lnTo>
                    <a:pt x="546" y="498"/>
                  </a:lnTo>
                  <a:lnTo>
                    <a:pt x="546" y="504"/>
                  </a:lnTo>
                  <a:lnTo>
                    <a:pt x="540" y="504"/>
                  </a:lnTo>
                  <a:lnTo>
                    <a:pt x="546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10"/>
                  </a:lnTo>
                  <a:lnTo>
                    <a:pt x="552" y="516"/>
                  </a:lnTo>
                  <a:lnTo>
                    <a:pt x="552" y="522"/>
                  </a:lnTo>
                  <a:lnTo>
                    <a:pt x="552" y="528"/>
                  </a:lnTo>
                  <a:lnTo>
                    <a:pt x="552" y="534"/>
                  </a:lnTo>
                  <a:lnTo>
                    <a:pt x="552" y="540"/>
                  </a:lnTo>
                  <a:lnTo>
                    <a:pt x="546" y="540"/>
                  </a:lnTo>
                  <a:lnTo>
                    <a:pt x="546" y="546"/>
                  </a:lnTo>
                  <a:lnTo>
                    <a:pt x="546" y="540"/>
                  </a:lnTo>
                  <a:lnTo>
                    <a:pt x="546" y="534"/>
                  </a:lnTo>
                  <a:lnTo>
                    <a:pt x="540" y="534"/>
                  </a:lnTo>
                  <a:lnTo>
                    <a:pt x="540" y="528"/>
                  </a:lnTo>
                  <a:lnTo>
                    <a:pt x="534" y="528"/>
                  </a:lnTo>
                  <a:lnTo>
                    <a:pt x="528" y="528"/>
                  </a:lnTo>
                  <a:lnTo>
                    <a:pt x="522" y="528"/>
                  </a:lnTo>
                  <a:lnTo>
                    <a:pt x="516" y="528"/>
                  </a:lnTo>
                  <a:lnTo>
                    <a:pt x="510" y="528"/>
                  </a:lnTo>
                  <a:lnTo>
                    <a:pt x="510" y="534"/>
                  </a:lnTo>
                  <a:lnTo>
                    <a:pt x="510" y="528"/>
                  </a:lnTo>
                  <a:lnTo>
                    <a:pt x="516" y="528"/>
                  </a:lnTo>
                  <a:lnTo>
                    <a:pt x="522" y="528"/>
                  </a:lnTo>
                  <a:lnTo>
                    <a:pt x="528" y="528"/>
                  </a:lnTo>
                  <a:lnTo>
                    <a:pt x="534" y="534"/>
                  </a:lnTo>
                  <a:lnTo>
                    <a:pt x="540" y="534"/>
                  </a:lnTo>
                  <a:lnTo>
                    <a:pt x="540" y="540"/>
                  </a:lnTo>
                  <a:lnTo>
                    <a:pt x="540" y="546"/>
                  </a:lnTo>
                  <a:lnTo>
                    <a:pt x="546" y="546"/>
                  </a:lnTo>
                  <a:lnTo>
                    <a:pt x="546" y="552"/>
                  </a:lnTo>
                  <a:lnTo>
                    <a:pt x="552" y="552"/>
                  </a:lnTo>
                  <a:lnTo>
                    <a:pt x="552" y="558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0" y="576"/>
                  </a:lnTo>
                  <a:lnTo>
                    <a:pt x="540" y="582"/>
                  </a:lnTo>
                  <a:lnTo>
                    <a:pt x="540" y="588"/>
                  </a:lnTo>
                  <a:lnTo>
                    <a:pt x="534" y="594"/>
                  </a:lnTo>
                  <a:lnTo>
                    <a:pt x="534" y="600"/>
                  </a:lnTo>
                  <a:lnTo>
                    <a:pt x="528" y="600"/>
                  </a:lnTo>
                  <a:lnTo>
                    <a:pt x="522" y="594"/>
                  </a:lnTo>
                  <a:lnTo>
                    <a:pt x="528" y="600"/>
                  </a:lnTo>
                  <a:lnTo>
                    <a:pt x="534" y="600"/>
                  </a:lnTo>
                  <a:lnTo>
                    <a:pt x="534" y="606"/>
                  </a:lnTo>
                  <a:lnTo>
                    <a:pt x="528" y="606"/>
                  </a:lnTo>
                  <a:lnTo>
                    <a:pt x="528" y="612"/>
                  </a:lnTo>
                  <a:lnTo>
                    <a:pt x="522" y="612"/>
                  </a:lnTo>
                  <a:lnTo>
                    <a:pt x="522" y="618"/>
                  </a:lnTo>
                  <a:lnTo>
                    <a:pt x="522" y="624"/>
                  </a:lnTo>
                  <a:lnTo>
                    <a:pt x="510" y="624"/>
                  </a:lnTo>
                  <a:lnTo>
                    <a:pt x="498" y="624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0" y="624"/>
                  </a:lnTo>
                  <a:lnTo>
                    <a:pt x="474" y="624"/>
                  </a:lnTo>
                  <a:lnTo>
                    <a:pt x="468" y="618"/>
                  </a:lnTo>
                  <a:lnTo>
                    <a:pt x="456" y="618"/>
                  </a:lnTo>
                  <a:lnTo>
                    <a:pt x="450" y="618"/>
                  </a:lnTo>
                  <a:lnTo>
                    <a:pt x="426" y="618"/>
                  </a:lnTo>
                  <a:lnTo>
                    <a:pt x="420" y="618"/>
                  </a:lnTo>
                  <a:lnTo>
                    <a:pt x="414" y="618"/>
                  </a:lnTo>
                  <a:lnTo>
                    <a:pt x="408" y="618"/>
                  </a:lnTo>
                  <a:lnTo>
                    <a:pt x="396" y="618"/>
                  </a:lnTo>
                  <a:lnTo>
                    <a:pt x="366" y="618"/>
                  </a:lnTo>
                  <a:lnTo>
                    <a:pt x="348" y="624"/>
                  </a:lnTo>
                  <a:lnTo>
                    <a:pt x="342" y="624"/>
                  </a:lnTo>
                  <a:lnTo>
                    <a:pt x="342" y="618"/>
                  </a:lnTo>
                  <a:lnTo>
                    <a:pt x="336" y="618"/>
                  </a:lnTo>
                  <a:lnTo>
                    <a:pt x="336" y="612"/>
                  </a:lnTo>
                  <a:lnTo>
                    <a:pt x="342" y="612"/>
                  </a:lnTo>
                  <a:lnTo>
                    <a:pt x="348" y="612"/>
                  </a:lnTo>
                  <a:lnTo>
                    <a:pt x="342" y="612"/>
                  </a:lnTo>
                  <a:lnTo>
                    <a:pt x="336" y="612"/>
                  </a:lnTo>
                  <a:lnTo>
                    <a:pt x="336" y="606"/>
                  </a:lnTo>
                  <a:lnTo>
                    <a:pt x="330" y="606"/>
                  </a:lnTo>
                  <a:lnTo>
                    <a:pt x="330" y="600"/>
                  </a:lnTo>
                  <a:lnTo>
                    <a:pt x="324" y="600"/>
                  </a:lnTo>
                  <a:lnTo>
                    <a:pt x="324" y="606"/>
                  </a:lnTo>
                  <a:lnTo>
                    <a:pt x="318" y="606"/>
                  </a:lnTo>
                  <a:lnTo>
                    <a:pt x="318" y="612"/>
                  </a:lnTo>
                  <a:lnTo>
                    <a:pt x="312" y="612"/>
                  </a:lnTo>
                  <a:lnTo>
                    <a:pt x="306" y="606"/>
                  </a:lnTo>
                  <a:lnTo>
                    <a:pt x="306" y="612"/>
                  </a:lnTo>
                  <a:lnTo>
                    <a:pt x="312" y="612"/>
                  </a:lnTo>
                  <a:lnTo>
                    <a:pt x="318" y="612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30" y="606"/>
                  </a:lnTo>
                  <a:lnTo>
                    <a:pt x="336" y="612"/>
                  </a:lnTo>
                  <a:lnTo>
                    <a:pt x="336" y="618"/>
                  </a:lnTo>
                  <a:lnTo>
                    <a:pt x="330" y="618"/>
                  </a:lnTo>
                  <a:lnTo>
                    <a:pt x="336" y="618"/>
                  </a:lnTo>
                  <a:lnTo>
                    <a:pt x="336" y="624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288" y="624"/>
                  </a:lnTo>
                  <a:lnTo>
                    <a:pt x="282" y="624"/>
                  </a:lnTo>
                  <a:lnTo>
                    <a:pt x="270" y="630"/>
                  </a:lnTo>
                  <a:lnTo>
                    <a:pt x="264" y="630"/>
                  </a:lnTo>
                  <a:lnTo>
                    <a:pt x="258" y="630"/>
                  </a:lnTo>
                  <a:lnTo>
                    <a:pt x="252" y="630"/>
                  </a:lnTo>
                  <a:lnTo>
                    <a:pt x="246" y="630"/>
                  </a:lnTo>
                  <a:lnTo>
                    <a:pt x="240" y="630"/>
                  </a:lnTo>
                  <a:lnTo>
                    <a:pt x="228" y="636"/>
                  </a:lnTo>
                  <a:lnTo>
                    <a:pt x="222" y="636"/>
                  </a:lnTo>
                  <a:lnTo>
                    <a:pt x="210" y="636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42"/>
                  </a:lnTo>
                  <a:lnTo>
                    <a:pt x="186" y="642"/>
                  </a:lnTo>
                  <a:lnTo>
                    <a:pt x="180" y="642"/>
                  </a:lnTo>
                  <a:lnTo>
                    <a:pt x="168" y="642"/>
                  </a:lnTo>
                  <a:lnTo>
                    <a:pt x="162" y="642"/>
                  </a:lnTo>
                  <a:lnTo>
                    <a:pt x="162" y="648"/>
                  </a:lnTo>
                  <a:lnTo>
                    <a:pt x="156" y="648"/>
                  </a:lnTo>
                  <a:lnTo>
                    <a:pt x="150" y="648"/>
                  </a:lnTo>
                  <a:lnTo>
                    <a:pt x="144" y="648"/>
                  </a:lnTo>
                  <a:lnTo>
                    <a:pt x="138" y="648"/>
                  </a:lnTo>
                  <a:lnTo>
                    <a:pt x="132" y="648"/>
                  </a:lnTo>
                  <a:lnTo>
                    <a:pt x="126" y="642"/>
                  </a:lnTo>
                  <a:lnTo>
                    <a:pt x="126" y="636"/>
                  </a:lnTo>
                  <a:lnTo>
                    <a:pt x="120" y="636"/>
                  </a:lnTo>
                  <a:lnTo>
                    <a:pt x="126" y="642"/>
                  </a:lnTo>
                  <a:lnTo>
                    <a:pt x="126" y="648"/>
                  </a:lnTo>
                  <a:lnTo>
                    <a:pt x="132" y="648"/>
                  </a:lnTo>
                  <a:lnTo>
                    <a:pt x="126" y="654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54"/>
                  </a:lnTo>
                  <a:lnTo>
                    <a:pt x="108" y="660"/>
                  </a:lnTo>
                  <a:lnTo>
                    <a:pt x="108" y="654"/>
                  </a:lnTo>
                  <a:lnTo>
                    <a:pt x="102" y="654"/>
                  </a:lnTo>
                  <a:lnTo>
                    <a:pt x="102" y="660"/>
                  </a:lnTo>
                  <a:lnTo>
                    <a:pt x="108" y="660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0" y="660"/>
                  </a:lnTo>
                  <a:lnTo>
                    <a:pt x="90" y="654"/>
                  </a:lnTo>
                  <a:lnTo>
                    <a:pt x="84" y="648"/>
                  </a:lnTo>
                  <a:lnTo>
                    <a:pt x="84" y="642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72" y="636"/>
                  </a:lnTo>
                  <a:lnTo>
                    <a:pt x="78" y="636"/>
                  </a:lnTo>
                  <a:lnTo>
                    <a:pt x="72" y="636"/>
                  </a:lnTo>
                  <a:lnTo>
                    <a:pt x="66" y="636"/>
                  </a:lnTo>
                  <a:lnTo>
                    <a:pt x="60" y="636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60" y="618"/>
                  </a:lnTo>
                  <a:lnTo>
                    <a:pt x="66" y="618"/>
                  </a:lnTo>
                  <a:lnTo>
                    <a:pt x="72" y="618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2" y="612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12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54" y="618"/>
                  </a:lnTo>
                  <a:lnTo>
                    <a:pt x="54" y="624"/>
                  </a:lnTo>
                  <a:lnTo>
                    <a:pt x="48" y="618"/>
                  </a:lnTo>
                  <a:lnTo>
                    <a:pt x="42" y="618"/>
                  </a:lnTo>
                  <a:lnTo>
                    <a:pt x="42" y="612"/>
                  </a:lnTo>
                  <a:lnTo>
                    <a:pt x="48" y="606"/>
                  </a:lnTo>
                  <a:lnTo>
                    <a:pt x="54" y="606"/>
                  </a:lnTo>
                  <a:lnTo>
                    <a:pt x="54" y="600"/>
                  </a:lnTo>
                  <a:lnTo>
                    <a:pt x="54" y="594"/>
                  </a:lnTo>
                  <a:lnTo>
                    <a:pt x="54" y="588"/>
                  </a:lnTo>
                  <a:lnTo>
                    <a:pt x="48" y="588"/>
                  </a:lnTo>
                  <a:lnTo>
                    <a:pt x="48" y="582"/>
                  </a:lnTo>
                  <a:lnTo>
                    <a:pt x="42" y="582"/>
                  </a:lnTo>
                  <a:lnTo>
                    <a:pt x="42" y="570"/>
                  </a:lnTo>
                  <a:lnTo>
                    <a:pt x="42" y="564"/>
                  </a:lnTo>
                  <a:lnTo>
                    <a:pt x="36" y="564"/>
                  </a:lnTo>
                  <a:close/>
                  <a:moveTo>
                    <a:pt x="498" y="420"/>
                  </a:moveTo>
                  <a:lnTo>
                    <a:pt x="504" y="426"/>
                  </a:lnTo>
                  <a:lnTo>
                    <a:pt x="510" y="432"/>
                  </a:lnTo>
                  <a:lnTo>
                    <a:pt x="516" y="432"/>
                  </a:lnTo>
                  <a:lnTo>
                    <a:pt x="516" y="438"/>
                  </a:lnTo>
                  <a:lnTo>
                    <a:pt x="510" y="438"/>
                  </a:lnTo>
                  <a:lnTo>
                    <a:pt x="504" y="438"/>
                  </a:lnTo>
                  <a:lnTo>
                    <a:pt x="504" y="432"/>
                  </a:lnTo>
                  <a:lnTo>
                    <a:pt x="498" y="432"/>
                  </a:lnTo>
                  <a:lnTo>
                    <a:pt x="498" y="426"/>
                  </a:lnTo>
                  <a:lnTo>
                    <a:pt x="498" y="4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4" name="Freeform 9">
              <a:extLst>
                <a:ext uri="{FF2B5EF4-FFF2-40B4-BE49-F238E27FC236}">
                  <a16:creationId xmlns:a16="http://schemas.microsoft.com/office/drawing/2014/main" id="{E0116D32-BD2E-45EA-B818-A3082585D5F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3055" y="2468650"/>
              <a:ext cx="800556" cy="1207710"/>
            </a:xfrm>
            <a:custGeom>
              <a:avLst/>
              <a:gdLst>
                <a:gd name="T0" fmla="*/ 24 w 1506"/>
                <a:gd name="T1" fmla="*/ 190 h 2274"/>
                <a:gd name="T2" fmla="*/ 25 w 1506"/>
                <a:gd name="T3" fmla="*/ 180 h 2274"/>
                <a:gd name="T4" fmla="*/ 21 w 1506"/>
                <a:gd name="T5" fmla="*/ 174 h 2274"/>
                <a:gd name="T6" fmla="*/ 17 w 1506"/>
                <a:gd name="T7" fmla="*/ 170 h 2274"/>
                <a:gd name="T8" fmla="*/ 12 w 1506"/>
                <a:gd name="T9" fmla="*/ 168 h 2274"/>
                <a:gd name="T10" fmla="*/ 10 w 1506"/>
                <a:gd name="T11" fmla="*/ 173 h 2274"/>
                <a:gd name="T12" fmla="*/ 7 w 1506"/>
                <a:gd name="T13" fmla="*/ 174 h 2274"/>
                <a:gd name="T14" fmla="*/ 0 w 1506"/>
                <a:gd name="T15" fmla="*/ 163 h 2274"/>
                <a:gd name="T16" fmla="*/ 16 w 1506"/>
                <a:gd name="T17" fmla="*/ 140 h 2274"/>
                <a:gd name="T18" fmla="*/ 19 w 1506"/>
                <a:gd name="T19" fmla="*/ 137 h 2274"/>
                <a:gd name="T20" fmla="*/ 24 w 1506"/>
                <a:gd name="T21" fmla="*/ 126 h 2274"/>
                <a:gd name="T22" fmla="*/ 23 w 1506"/>
                <a:gd name="T23" fmla="*/ 105 h 2274"/>
                <a:gd name="T24" fmla="*/ 14 w 1506"/>
                <a:gd name="T25" fmla="*/ 86 h 2274"/>
                <a:gd name="T26" fmla="*/ 8 w 1506"/>
                <a:gd name="T27" fmla="*/ 84 h 2274"/>
                <a:gd name="T28" fmla="*/ 5 w 1506"/>
                <a:gd name="T29" fmla="*/ 79 h 2274"/>
                <a:gd name="T30" fmla="*/ 16 w 1506"/>
                <a:gd name="T31" fmla="*/ 71 h 2274"/>
                <a:gd name="T32" fmla="*/ 28 w 1506"/>
                <a:gd name="T33" fmla="*/ 55 h 2274"/>
                <a:gd name="T34" fmla="*/ 29 w 1506"/>
                <a:gd name="T35" fmla="*/ 48 h 2274"/>
                <a:gd name="T36" fmla="*/ 35 w 1506"/>
                <a:gd name="T37" fmla="*/ 50 h 2274"/>
                <a:gd name="T38" fmla="*/ 42 w 1506"/>
                <a:gd name="T39" fmla="*/ 47 h 2274"/>
                <a:gd name="T40" fmla="*/ 63 w 1506"/>
                <a:gd name="T41" fmla="*/ 34 h 2274"/>
                <a:gd name="T42" fmla="*/ 74 w 1506"/>
                <a:gd name="T43" fmla="*/ 27 h 2274"/>
                <a:gd name="T44" fmla="*/ 81 w 1506"/>
                <a:gd name="T45" fmla="*/ 20 h 2274"/>
                <a:gd name="T46" fmla="*/ 89 w 1506"/>
                <a:gd name="T47" fmla="*/ 20 h 2274"/>
                <a:gd name="T48" fmla="*/ 98 w 1506"/>
                <a:gd name="T49" fmla="*/ 27 h 2274"/>
                <a:gd name="T50" fmla="*/ 106 w 1506"/>
                <a:gd name="T51" fmla="*/ 17 h 2274"/>
                <a:gd name="T52" fmla="*/ 111 w 1506"/>
                <a:gd name="T53" fmla="*/ 8 h 2274"/>
                <a:gd name="T54" fmla="*/ 121 w 1506"/>
                <a:gd name="T55" fmla="*/ 2 h 2274"/>
                <a:gd name="T56" fmla="*/ 129 w 1506"/>
                <a:gd name="T57" fmla="*/ 5 h 2274"/>
                <a:gd name="T58" fmla="*/ 125 w 1506"/>
                <a:gd name="T59" fmla="*/ 12 h 2274"/>
                <a:gd name="T60" fmla="*/ 122 w 1506"/>
                <a:gd name="T61" fmla="*/ 20 h 2274"/>
                <a:gd name="T62" fmla="*/ 122 w 1506"/>
                <a:gd name="T63" fmla="*/ 27 h 2274"/>
                <a:gd name="T64" fmla="*/ 120 w 1506"/>
                <a:gd name="T65" fmla="*/ 36 h 2274"/>
                <a:gd name="T66" fmla="*/ 116 w 1506"/>
                <a:gd name="T67" fmla="*/ 43 h 2274"/>
                <a:gd name="T68" fmla="*/ 109 w 1506"/>
                <a:gd name="T69" fmla="*/ 47 h 2274"/>
                <a:gd name="T70" fmla="*/ 108 w 1506"/>
                <a:gd name="T71" fmla="*/ 54 h 2274"/>
                <a:gd name="T72" fmla="*/ 106 w 1506"/>
                <a:gd name="T73" fmla="*/ 59 h 2274"/>
                <a:gd name="T74" fmla="*/ 109 w 1506"/>
                <a:gd name="T75" fmla="*/ 64 h 2274"/>
                <a:gd name="T76" fmla="*/ 106 w 1506"/>
                <a:gd name="T77" fmla="*/ 70 h 2274"/>
                <a:gd name="T78" fmla="*/ 105 w 1506"/>
                <a:gd name="T79" fmla="*/ 75 h 2274"/>
                <a:gd name="T80" fmla="*/ 101 w 1506"/>
                <a:gd name="T81" fmla="*/ 78 h 2274"/>
                <a:gd name="T82" fmla="*/ 92 w 1506"/>
                <a:gd name="T83" fmla="*/ 81 h 2274"/>
                <a:gd name="T84" fmla="*/ 85 w 1506"/>
                <a:gd name="T85" fmla="*/ 85 h 2274"/>
                <a:gd name="T86" fmla="*/ 87 w 1506"/>
                <a:gd name="T87" fmla="*/ 91 h 2274"/>
                <a:gd name="T88" fmla="*/ 86 w 1506"/>
                <a:gd name="T89" fmla="*/ 98 h 2274"/>
                <a:gd name="T90" fmla="*/ 86 w 1506"/>
                <a:gd name="T91" fmla="*/ 103 h 2274"/>
                <a:gd name="T92" fmla="*/ 82 w 1506"/>
                <a:gd name="T93" fmla="*/ 111 h 2274"/>
                <a:gd name="T94" fmla="*/ 81 w 1506"/>
                <a:gd name="T95" fmla="*/ 116 h 2274"/>
                <a:gd name="T96" fmla="*/ 78 w 1506"/>
                <a:gd name="T97" fmla="*/ 120 h 2274"/>
                <a:gd name="T98" fmla="*/ 76 w 1506"/>
                <a:gd name="T99" fmla="*/ 126 h 2274"/>
                <a:gd name="T100" fmla="*/ 68 w 1506"/>
                <a:gd name="T101" fmla="*/ 129 h 2274"/>
                <a:gd name="T102" fmla="*/ 62 w 1506"/>
                <a:gd name="T103" fmla="*/ 131 h 2274"/>
                <a:gd name="T104" fmla="*/ 58 w 1506"/>
                <a:gd name="T105" fmla="*/ 136 h 2274"/>
                <a:gd name="T106" fmla="*/ 51 w 1506"/>
                <a:gd name="T107" fmla="*/ 138 h 2274"/>
                <a:gd name="T108" fmla="*/ 51 w 1506"/>
                <a:gd name="T109" fmla="*/ 147 h 2274"/>
                <a:gd name="T110" fmla="*/ 49 w 1506"/>
                <a:gd name="T111" fmla="*/ 159 h 2274"/>
                <a:gd name="T112" fmla="*/ 48 w 1506"/>
                <a:gd name="T113" fmla="*/ 166 h 2274"/>
                <a:gd name="T114" fmla="*/ 41 w 1506"/>
                <a:gd name="T115" fmla="*/ 174 h 2274"/>
                <a:gd name="T116" fmla="*/ 39 w 1506"/>
                <a:gd name="T117" fmla="*/ 181 h 2274"/>
                <a:gd name="T118" fmla="*/ 37 w 1506"/>
                <a:gd name="T119" fmla="*/ 190 h 2274"/>
                <a:gd name="T120" fmla="*/ 29 w 1506"/>
                <a:gd name="T121" fmla="*/ 198 h 22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06"/>
                <a:gd name="T184" fmla="*/ 0 h 2274"/>
                <a:gd name="T185" fmla="*/ 1506 w 1506"/>
                <a:gd name="T186" fmla="*/ 2274 h 227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06" h="2274">
                  <a:moveTo>
                    <a:pt x="330" y="2274"/>
                  </a:moveTo>
                  <a:lnTo>
                    <a:pt x="318" y="2262"/>
                  </a:lnTo>
                  <a:lnTo>
                    <a:pt x="312" y="2238"/>
                  </a:lnTo>
                  <a:lnTo>
                    <a:pt x="312" y="2232"/>
                  </a:lnTo>
                  <a:lnTo>
                    <a:pt x="294" y="2214"/>
                  </a:lnTo>
                  <a:lnTo>
                    <a:pt x="288" y="2208"/>
                  </a:lnTo>
                  <a:lnTo>
                    <a:pt x="288" y="2202"/>
                  </a:lnTo>
                  <a:lnTo>
                    <a:pt x="276" y="2196"/>
                  </a:lnTo>
                  <a:lnTo>
                    <a:pt x="276" y="2190"/>
                  </a:lnTo>
                  <a:lnTo>
                    <a:pt x="282" y="2190"/>
                  </a:lnTo>
                  <a:lnTo>
                    <a:pt x="282" y="2184"/>
                  </a:lnTo>
                  <a:lnTo>
                    <a:pt x="276" y="2172"/>
                  </a:lnTo>
                  <a:lnTo>
                    <a:pt x="276" y="2166"/>
                  </a:lnTo>
                  <a:lnTo>
                    <a:pt x="282" y="2166"/>
                  </a:lnTo>
                  <a:lnTo>
                    <a:pt x="282" y="2154"/>
                  </a:lnTo>
                  <a:lnTo>
                    <a:pt x="276" y="2136"/>
                  </a:lnTo>
                  <a:lnTo>
                    <a:pt x="276" y="2112"/>
                  </a:lnTo>
                  <a:lnTo>
                    <a:pt x="282" y="2088"/>
                  </a:lnTo>
                  <a:lnTo>
                    <a:pt x="282" y="2082"/>
                  </a:lnTo>
                  <a:lnTo>
                    <a:pt x="282" y="2076"/>
                  </a:lnTo>
                  <a:lnTo>
                    <a:pt x="282" y="2070"/>
                  </a:lnTo>
                  <a:lnTo>
                    <a:pt x="288" y="2070"/>
                  </a:lnTo>
                  <a:lnTo>
                    <a:pt x="288" y="2064"/>
                  </a:lnTo>
                  <a:lnTo>
                    <a:pt x="282" y="2052"/>
                  </a:lnTo>
                  <a:lnTo>
                    <a:pt x="282" y="2046"/>
                  </a:lnTo>
                  <a:lnTo>
                    <a:pt x="276" y="2040"/>
                  </a:lnTo>
                  <a:lnTo>
                    <a:pt x="270" y="2034"/>
                  </a:lnTo>
                  <a:lnTo>
                    <a:pt x="264" y="2022"/>
                  </a:lnTo>
                  <a:lnTo>
                    <a:pt x="258" y="2022"/>
                  </a:lnTo>
                  <a:lnTo>
                    <a:pt x="258" y="2016"/>
                  </a:lnTo>
                  <a:lnTo>
                    <a:pt x="252" y="2016"/>
                  </a:lnTo>
                  <a:lnTo>
                    <a:pt x="246" y="2016"/>
                  </a:lnTo>
                  <a:lnTo>
                    <a:pt x="240" y="2010"/>
                  </a:lnTo>
                  <a:lnTo>
                    <a:pt x="234" y="2004"/>
                  </a:lnTo>
                  <a:lnTo>
                    <a:pt x="228" y="2004"/>
                  </a:lnTo>
                  <a:lnTo>
                    <a:pt x="228" y="1998"/>
                  </a:lnTo>
                  <a:lnTo>
                    <a:pt x="228" y="1992"/>
                  </a:lnTo>
                  <a:lnTo>
                    <a:pt x="222" y="1992"/>
                  </a:lnTo>
                  <a:lnTo>
                    <a:pt x="222" y="1986"/>
                  </a:lnTo>
                  <a:lnTo>
                    <a:pt x="216" y="1986"/>
                  </a:lnTo>
                  <a:lnTo>
                    <a:pt x="210" y="1980"/>
                  </a:lnTo>
                  <a:lnTo>
                    <a:pt x="216" y="1974"/>
                  </a:lnTo>
                  <a:lnTo>
                    <a:pt x="210" y="1968"/>
                  </a:lnTo>
                  <a:lnTo>
                    <a:pt x="198" y="1956"/>
                  </a:lnTo>
                  <a:lnTo>
                    <a:pt x="192" y="1956"/>
                  </a:lnTo>
                  <a:lnTo>
                    <a:pt x="186" y="1956"/>
                  </a:lnTo>
                  <a:lnTo>
                    <a:pt x="180" y="1944"/>
                  </a:lnTo>
                  <a:lnTo>
                    <a:pt x="180" y="1938"/>
                  </a:lnTo>
                  <a:lnTo>
                    <a:pt x="174" y="1932"/>
                  </a:lnTo>
                  <a:lnTo>
                    <a:pt x="168" y="1932"/>
                  </a:lnTo>
                  <a:lnTo>
                    <a:pt x="162" y="1932"/>
                  </a:lnTo>
                  <a:lnTo>
                    <a:pt x="150" y="1932"/>
                  </a:lnTo>
                  <a:lnTo>
                    <a:pt x="150" y="1926"/>
                  </a:lnTo>
                  <a:lnTo>
                    <a:pt x="150" y="1932"/>
                  </a:lnTo>
                  <a:lnTo>
                    <a:pt x="144" y="1932"/>
                  </a:lnTo>
                  <a:lnTo>
                    <a:pt x="138" y="1932"/>
                  </a:lnTo>
                  <a:lnTo>
                    <a:pt x="132" y="1932"/>
                  </a:lnTo>
                  <a:lnTo>
                    <a:pt x="132" y="1938"/>
                  </a:lnTo>
                  <a:lnTo>
                    <a:pt x="126" y="1944"/>
                  </a:lnTo>
                  <a:lnTo>
                    <a:pt x="126" y="1956"/>
                  </a:lnTo>
                  <a:lnTo>
                    <a:pt x="120" y="1968"/>
                  </a:lnTo>
                  <a:lnTo>
                    <a:pt x="120" y="1974"/>
                  </a:lnTo>
                  <a:lnTo>
                    <a:pt x="120" y="1980"/>
                  </a:lnTo>
                  <a:lnTo>
                    <a:pt x="126" y="1980"/>
                  </a:lnTo>
                  <a:lnTo>
                    <a:pt x="120" y="1986"/>
                  </a:lnTo>
                  <a:lnTo>
                    <a:pt x="120" y="1992"/>
                  </a:lnTo>
                  <a:lnTo>
                    <a:pt x="114" y="1992"/>
                  </a:lnTo>
                  <a:lnTo>
                    <a:pt x="114" y="1986"/>
                  </a:lnTo>
                  <a:lnTo>
                    <a:pt x="108" y="1992"/>
                  </a:lnTo>
                  <a:lnTo>
                    <a:pt x="108" y="1998"/>
                  </a:lnTo>
                  <a:lnTo>
                    <a:pt x="114" y="2004"/>
                  </a:lnTo>
                  <a:lnTo>
                    <a:pt x="108" y="2004"/>
                  </a:lnTo>
                  <a:lnTo>
                    <a:pt x="102" y="2010"/>
                  </a:lnTo>
                  <a:lnTo>
                    <a:pt x="102" y="2004"/>
                  </a:lnTo>
                  <a:lnTo>
                    <a:pt x="90" y="2004"/>
                  </a:lnTo>
                  <a:lnTo>
                    <a:pt x="84" y="2004"/>
                  </a:lnTo>
                  <a:lnTo>
                    <a:pt x="78" y="1998"/>
                  </a:lnTo>
                  <a:lnTo>
                    <a:pt x="78" y="1992"/>
                  </a:lnTo>
                  <a:lnTo>
                    <a:pt x="78" y="1986"/>
                  </a:lnTo>
                  <a:lnTo>
                    <a:pt x="72" y="1986"/>
                  </a:lnTo>
                  <a:lnTo>
                    <a:pt x="66" y="1980"/>
                  </a:lnTo>
                  <a:lnTo>
                    <a:pt x="66" y="1968"/>
                  </a:lnTo>
                  <a:lnTo>
                    <a:pt x="60" y="1956"/>
                  </a:lnTo>
                  <a:lnTo>
                    <a:pt x="60" y="1950"/>
                  </a:lnTo>
                  <a:lnTo>
                    <a:pt x="48" y="1944"/>
                  </a:lnTo>
                  <a:lnTo>
                    <a:pt x="30" y="1926"/>
                  </a:lnTo>
                  <a:lnTo>
                    <a:pt x="12" y="1890"/>
                  </a:lnTo>
                  <a:lnTo>
                    <a:pt x="6" y="1872"/>
                  </a:lnTo>
                  <a:lnTo>
                    <a:pt x="0" y="1854"/>
                  </a:lnTo>
                  <a:lnTo>
                    <a:pt x="6" y="1824"/>
                  </a:lnTo>
                  <a:lnTo>
                    <a:pt x="30" y="1794"/>
                  </a:lnTo>
                  <a:lnTo>
                    <a:pt x="66" y="1752"/>
                  </a:lnTo>
                  <a:lnTo>
                    <a:pt x="72" y="1752"/>
                  </a:lnTo>
                  <a:lnTo>
                    <a:pt x="78" y="1746"/>
                  </a:lnTo>
                  <a:lnTo>
                    <a:pt x="84" y="1746"/>
                  </a:lnTo>
                  <a:lnTo>
                    <a:pt x="90" y="1746"/>
                  </a:lnTo>
                  <a:lnTo>
                    <a:pt x="138" y="1674"/>
                  </a:lnTo>
                  <a:lnTo>
                    <a:pt x="186" y="1620"/>
                  </a:lnTo>
                  <a:lnTo>
                    <a:pt x="186" y="1614"/>
                  </a:lnTo>
                  <a:lnTo>
                    <a:pt x="186" y="1608"/>
                  </a:lnTo>
                  <a:lnTo>
                    <a:pt x="192" y="1608"/>
                  </a:lnTo>
                  <a:lnTo>
                    <a:pt x="192" y="1614"/>
                  </a:lnTo>
                  <a:lnTo>
                    <a:pt x="198" y="1614"/>
                  </a:lnTo>
                  <a:lnTo>
                    <a:pt x="198" y="1608"/>
                  </a:lnTo>
                  <a:lnTo>
                    <a:pt x="198" y="1602"/>
                  </a:lnTo>
                  <a:lnTo>
                    <a:pt x="204" y="1602"/>
                  </a:lnTo>
                  <a:lnTo>
                    <a:pt x="204" y="1596"/>
                  </a:lnTo>
                  <a:lnTo>
                    <a:pt x="210" y="1590"/>
                  </a:lnTo>
                  <a:lnTo>
                    <a:pt x="216" y="1590"/>
                  </a:lnTo>
                  <a:lnTo>
                    <a:pt x="216" y="1584"/>
                  </a:lnTo>
                  <a:lnTo>
                    <a:pt x="222" y="1584"/>
                  </a:lnTo>
                  <a:lnTo>
                    <a:pt x="228" y="1572"/>
                  </a:lnTo>
                  <a:lnTo>
                    <a:pt x="222" y="1572"/>
                  </a:lnTo>
                  <a:lnTo>
                    <a:pt x="228" y="1566"/>
                  </a:lnTo>
                  <a:lnTo>
                    <a:pt x="228" y="1560"/>
                  </a:lnTo>
                  <a:lnTo>
                    <a:pt x="252" y="1548"/>
                  </a:lnTo>
                  <a:lnTo>
                    <a:pt x="276" y="1530"/>
                  </a:lnTo>
                  <a:lnTo>
                    <a:pt x="282" y="1512"/>
                  </a:lnTo>
                  <a:lnTo>
                    <a:pt x="282" y="1506"/>
                  </a:lnTo>
                  <a:lnTo>
                    <a:pt x="282" y="1494"/>
                  </a:lnTo>
                  <a:lnTo>
                    <a:pt x="282" y="1452"/>
                  </a:lnTo>
                  <a:lnTo>
                    <a:pt x="288" y="1440"/>
                  </a:lnTo>
                  <a:lnTo>
                    <a:pt x="294" y="1440"/>
                  </a:lnTo>
                  <a:lnTo>
                    <a:pt x="294" y="1428"/>
                  </a:lnTo>
                  <a:lnTo>
                    <a:pt x="324" y="1368"/>
                  </a:lnTo>
                  <a:lnTo>
                    <a:pt x="330" y="1362"/>
                  </a:lnTo>
                  <a:lnTo>
                    <a:pt x="330" y="1356"/>
                  </a:lnTo>
                  <a:lnTo>
                    <a:pt x="360" y="1338"/>
                  </a:lnTo>
                  <a:lnTo>
                    <a:pt x="366" y="1296"/>
                  </a:lnTo>
                  <a:lnTo>
                    <a:pt x="354" y="1278"/>
                  </a:lnTo>
                  <a:lnTo>
                    <a:pt x="336" y="1230"/>
                  </a:lnTo>
                  <a:lnTo>
                    <a:pt x="270" y="1212"/>
                  </a:lnTo>
                  <a:lnTo>
                    <a:pt x="264" y="1212"/>
                  </a:lnTo>
                  <a:lnTo>
                    <a:pt x="252" y="1200"/>
                  </a:lnTo>
                  <a:lnTo>
                    <a:pt x="234" y="1188"/>
                  </a:lnTo>
                  <a:lnTo>
                    <a:pt x="222" y="1182"/>
                  </a:lnTo>
                  <a:lnTo>
                    <a:pt x="228" y="1104"/>
                  </a:lnTo>
                  <a:lnTo>
                    <a:pt x="228" y="1098"/>
                  </a:lnTo>
                  <a:lnTo>
                    <a:pt x="198" y="1038"/>
                  </a:lnTo>
                  <a:lnTo>
                    <a:pt x="192" y="1032"/>
                  </a:lnTo>
                  <a:lnTo>
                    <a:pt x="180" y="1020"/>
                  </a:lnTo>
                  <a:lnTo>
                    <a:pt x="168" y="996"/>
                  </a:lnTo>
                  <a:lnTo>
                    <a:pt x="162" y="990"/>
                  </a:lnTo>
                  <a:lnTo>
                    <a:pt x="156" y="990"/>
                  </a:lnTo>
                  <a:lnTo>
                    <a:pt x="150" y="990"/>
                  </a:lnTo>
                  <a:lnTo>
                    <a:pt x="132" y="990"/>
                  </a:lnTo>
                  <a:lnTo>
                    <a:pt x="120" y="984"/>
                  </a:lnTo>
                  <a:lnTo>
                    <a:pt x="120" y="990"/>
                  </a:lnTo>
                  <a:lnTo>
                    <a:pt x="114" y="990"/>
                  </a:lnTo>
                  <a:lnTo>
                    <a:pt x="102" y="984"/>
                  </a:lnTo>
                  <a:lnTo>
                    <a:pt x="96" y="984"/>
                  </a:lnTo>
                  <a:lnTo>
                    <a:pt x="96" y="978"/>
                  </a:lnTo>
                  <a:lnTo>
                    <a:pt x="90" y="978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84" y="960"/>
                  </a:lnTo>
                  <a:lnTo>
                    <a:pt x="84" y="954"/>
                  </a:lnTo>
                  <a:lnTo>
                    <a:pt x="78" y="948"/>
                  </a:lnTo>
                  <a:lnTo>
                    <a:pt x="72" y="948"/>
                  </a:lnTo>
                  <a:lnTo>
                    <a:pt x="72" y="942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06"/>
                  </a:lnTo>
                  <a:lnTo>
                    <a:pt x="60" y="888"/>
                  </a:lnTo>
                  <a:lnTo>
                    <a:pt x="54" y="882"/>
                  </a:lnTo>
                  <a:lnTo>
                    <a:pt x="60" y="882"/>
                  </a:lnTo>
                  <a:lnTo>
                    <a:pt x="72" y="876"/>
                  </a:lnTo>
                  <a:lnTo>
                    <a:pt x="78" y="876"/>
                  </a:lnTo>
                  <a:lnTo>
                    <a:pt x="90" y="870"/>
                  </a:lnTo>
                  <a:lnTo>
                    <a:pt x="90" y="864"/>
                  </a:lnTo>
                  <a:lnTo>
                    <a:pt x="96" y="840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80" y="822"/>
                  </a:lnTo>
                  <a:lnTo>
                    <a:pt x="204" y="798"/>
                  </a:lnTo>
                  <a:lnTo>
                    <a:pt x="222" y="786"/>
                  </a:lnTo>
                  <a:lnTo>
                    <a:pt x="252" y="780"/>
                  </a:lnTo>
                  <a:lnTo>
                    <a:pt x="264" y="762"/>
                  </a:lnTo>
                  <a:lnTo>
                    <a:pt x="276" y="762"/>
                  </a:lnTo>
                  <a:lnTo>
                    <a:pt x="288" y="744"/>
                  </a:lnTo>
                  <a:lnTo>
                    <a:pt x="306" y="738"/>
                  </a:lnTo>
                  <a:lnTo>
                    <a:pt x="318" y="732"/>
                  </a:lnTo>
                  <a:lnTo>
                    <a:pt x="324" y="648"/>
                  </a:lnTo>
                  <a:lnTo>
                    <a:pt x="324" y="636"/>
                  </a:lnTo>
                  <a:lnTo>
                    <a:pt x="324" y="630"/>
                  </a:lnTo>
                  <a:lnTo>
                    <a:pt x="330" y="624"/>
                  </a:lnTo>
                  <a:lnTo>
                    <a:pt x="324" y="618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24" y="588"/>
                  </a:lnTo>
                  <a:lnTo>
                    <a:pt x="318" y="576"/>
                  </a:lnTo>
                  <a:lnTo>
                    <a:pt x="318" y="570"/>
                  </a:lnTo>
                  <a:lnTo>
                    <a:pt x="324" y="570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30" y="558"/>
                  </a:lnTo>
                  <a:lnTo>
                    <a:pt x="336" y="558"/>
                  </a:lnTo>
                  <a:lnTo>
                    <a:pt x="342" y="558"/>
                  </a:lnTo>
                  <a:lnTo>
                    <a:pt x="348" y="558"/>
                  </a:lnTo>
                  <a:lnTo>
                    <a:pt x="354" y="564"/>
                  </a:lnTo>
                  <a:lnTo>
                    <a:pt x="360" y="564"/>
                  </a:lnTo>
                  <a:lnTo>
                    <a:pt x="366" y="570"/>
                  </a:lnTo>
                  <a:lnTo>
                    <a:pt x="366" y="576"/>
                  </a:lnTo>
                  <a:lnTo>
                    <a:pt x="372" y="570"/>
                  </a:lnTo>
                  <a:lnTo>
                    <a:pt x="378" y="570"/>
                  </a:lnTo>
                  <a:lnTo>
                    <a:pt x="390" y="570"/>
                  </a:lnTo>
                  <a:lnTo>
                    <a:pt x="402" y="570"/>
                  </a:lnTo>
                  <a:lnTo>
                    <a:pt x="408" y="570"/>
                  </a:lnTo>
                  <a:lnTo>
                    <a:pt x="414" y="564"/>
                  </a:lnTo>
                  <a:lnTo>
                    <a:pt x="420" y="564"/>
                  </a:lnTo>
                  <a:lnTo>
                    <a:pt x="420" y="570"/>
                  </a:lnTo>
                  <a:lnTo>
                    <a:pt x="426" y="570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44" y="570"/>
                  </a:lnTo>
                  <a:lnTo>
                    <a:pt x="450" y="564"/>
                  </a:lnTo>
                  <a:lnTo>
                    <a:pt x="474" y="558"/>
                  </a:lnTo>
                  <a:lnTo>
                    <a:pt x="486" y="54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40" y="474"/>
                  </a:lnTo>
                  <a:lnTo>
                    <a:pt x="558" y="456"/>
                  </a:lnTo>
                  <a:lnTo>
                    <a:pt x="582" y="450"/>
                  </a:lnTo>
                  <a:lnTo>
                    <a:pt x="594" y="414"/>
                  </a:lnTo>
                  <a:lnTo>
                    <a:pt x="612" y="390"/>
                  </a:lnTo>
                  <a:lnTo>
                    <a:pt x="636" y="390"/>
                  </a:lnTo>
                  <a:lnTo>
                    <a:pt x="666" y="390"/>
                  </a:lnTo>
                  <a:lnTo>
                    <a:pt x="696" y="390"/>
                  </a:lnTo>
                  <a:lnTo>
                    <a:pt x="726" y="390"/>
                  </a:lnTo>
                  <a:lnTo>
                    <a:pt x="762" y="378"/>
                  </a:lnTo>
                  <a:lnTo>
                    <a:pt x="780" y="366"/>
                  </a:lnTo>
                  <a:lnTo>
                    <a:pt x="780" y="342"/>
                  </a:lnTo>
                  <a:lnTo>
                    <a:pt x="786" y="342"/>
                  </a:lnTo>
                  <a:lnTo>
                    <a:pt x="786" y="336"/>
                  </a:lnTo>
                  <a:lnTo>
                    <a:pt x="786" y="330"/>
                  </a:lnTo>
                  <a:lnTo>
                    <a:pt x="786" y="324"/>
                  </a:lnTo>
                  <a:lnTo>
                    <a:pt x="816" y="318"/>
                  </a:lnTo>
                  <a:lnTo>
                    <a:pt x="834" y="312"/>
                  </a:lnTo>
                  <a:lnTo>
                    <a:pt x="840" y="318"/>
                  </a:lnTo>
                  <a:lnTo>
                    <a:pt x="852" y="318"/>
                  </a:lnTo>
                  <a:lnTo>
                    <a:pt x="858" y="306"/>
                  </a:lnTo>
                  <a:lnTo>
                    <a:pt x="864" y="288"/>
                  </a:lnTo>
                  <a:lnTo>
                    <a:pt x="870" y="282"/>
                  </a:lnTo>
                  <a:lnTo>
                    <a:pt x="876" y="276"/>
                  </a:lnTo>
                  <a:lnTo>
                    <a:pt x="882" y="264"/>
                  </a:lnTo>
                  <a:lnTo>
                    <a:pt x="882" y="258"/>
                  </a:lnTo>
                  <a:lnTo>
                    <a:pt x="888" y="252"/>
                  </a:lnTo>
                  <a:lnTo>
                    <a:pt x="894" y="240"/>
                  </a:lnTo>
                  <a:lnTo>
                    <a:pt x="906" y="228"/>
                  </a:lnTo>
                  <a:lnTo>
                    <a:pt x="912" y="228"/>
                  </a:lnTo>
                  <a:lnTo>
                    <a:pt x="936" y="228"/>
                  </a:lnTo>
                  <a:lnTo>
                    <a:pt x="942" y="222"/>
                  </a:lnTo>
                  <a:lnTo>
                    <a:pt x="948" y="216"/>
                  </a:lnTo>
                  <a:lnTo>
                    <a:pt x="954" y="216"/>
                  </a:lnTo>
                  <a:lnTo>
                    <a:pt x="960" y="216"/>
                  </a:lnTo>
                  <a:lnTo>
                    <a:pt x="966" y="216"/>
                  </a:lnTo>
                  <a:lnTo>
                    <a:pt x="978" y="216"/>
                  </a:lnTo>
                  <a:lnTo>
                    <a:pt x="990" y="222"/>
                  </a:lnTo>
                  <a:lnTo>
                    <a:pt x="996" y="222"/>
                  </a:lnTo>
                  <a:lnTo>
                    <a:pt x="1002" y="228"/>
                  </a:lnTo>
                  <a:lnTo>
                    <a:pt x="1014" y="234"/>
                  </a:lnTo>
                  <a:lnTo>
                    <a:pt x="1020" y="234"/>
                  </a:lnTo>
                  <a:lnTo>
                    <a:pt x="1032" y="240"/>
                  </a:lnTo>
                  <a:lnTo>
                    <a:pt x="1044" y="240"/>
                  </a:lnTo>
                  <a:lnTo>
                    <a:pt x="1050" y="240"/>
                  </a:lnTo>
                  <a:lnTo>
                    <a:pt x="1056" y="246"/>
                  </a:lnTo>
                  <a:lnTo>
                    <a:pt x="1068" y="264"/>
                  </a:lnTo>
                  <a:lnTo>
                    <a:pt x="1086" y="276"/>
                  </a:lnTo>
                  <a:lnTo>
                    <a:pt x="1092" y="276"/>
                  </a:lnTo>
                  <a:lnTo>
                    <a:pt x="1104" y="282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8" y="312"/>
                  </a:lnTo>
                  <a:lnTo>
                    <a:pt x="1152" y="324"/>
                  </a:lnTo>
                  <a:lnTo>
                    <a:pt x="1188" y="324"/>
                  </a:lnTo>
                  <a:lnTo>
                    <a:pt x="1206" y="318"/>
                  </a:lnTo>
                  <a:lnTo>
                    <a:pt x="1200" y="294"/>
                  </a:lnTo>
                  <a:lnTo>
                    <a:pt x="1206" y="252"/>
                  </a:lnTo>
                  <a:lnTo>
                    <a:pt x="1218" y="222"/>
                  </a:lnTo>
                  <a:lnTo>
                    <a:pt x="1212" y="222"/>
                  </a:lnTo>
                  <a:lnTo>
                    <a:pt x="1212" y="216"/>
                  </a:lnTo>
                  <a:lnTo>
                    <a:pt x="1218" y="204"/>
                  </a:lnTo>
                  <a:lnTo>
                    <a:pt x="1224" y="198"/>
                  </a:lnTo>
                  <a:lnTo>
                    <a:pt x="1224" y="192"/>
                  </a:lnTo>
                  <a:lnTo>
                    <a:pt x="1236" y="180"/>
                  </a:lnTo>
                  <a:lnTo>
                    <a:pt x="1254" y="156"/>
                  </a:lnTo>
                  <a:lnTo>
                    <a:pt x="1260" y="150"/>
                  </a:lnTo>
                  <a:lnTo>
                    <a:pt x="1260" y="144"/>
                  </a:lnTo>
                  <a:lnTo>
                    <a:pt x="1266" y="138"/>
                  </a:lnTo>
                  <a:lnTo>
                    <a:pt x="1272" y="138"/>
                  </a:lnTo>
                  <a:lnTo>
                    <a:pt x="1272" y="120"/>
                  </a:lnTo>
                  <a:lnTo>
                    <a:pt x="1278" y="114"/>
                  </a:lnTo>
                  <a:lnTo>
                    <a:pt x="1278" y="108"/>
                  </a:lnTo>
                  <a:lnTo>
                    <a:pt x="1278" y="102"/>
                  </a:lnTo>
                  <a:lnTo>
                    <a:pt x="1278" y="90"/>
                  </a:lnTo>
                  <a:lnTo>
                    <a:pt x="1278" y="84"/>
                  </a:lnTo>
                  <a:lnTo>
                    <a:pt x="1278" y="78"/>
                  </a:lnTo>
                  <a:lnTo>
                    <a:pt x="1278" y="72"/>
                  </a:lnTo>
                  <a:lnTo>
                    <a:pt x="1278" y="60"/>
                  </a:lnTo>
                  <a:lnTo>
                    <a:pt x="1284" y="48"/>
                  </a:lnTo>
                  <a:lnTo>
                    <a:pt x="1284" y="24"/>
                  </a:lnTo>
                  <a:lnTo>
                    <a:pt x="1284" y="18"/>
                  </a:lnTo>
                  <a:lnTo>
                    <a:pt x="1308" y="24"/>
                  </a:lnTo>
                  <a:lnTo>
                    <a:pt x="1332" y="30"/>
                  </a:lnTo>
                  <a:lnTo>
                    <a:pt x="1368" y="30"/>
                  </a:lnTo>
                  <a:lnTo>
                    <a:pt x="1392" y="24"/>
                  </a:lnTo>
                  <a:lnTo>
                    <a:pt x="1410" y="18"/>
                  </a:lnTo>
                  <a:lnTo>
                    <a:pt x="1416" y="6"/>
                  </a:lnTo>
                  <a:lnTo>
                    <a:pt x="1500" y="6"/>
                  </a:lnTo>
                  <a:lnTo>
                    <a:pt x="1506" y="0"/>
                  </a:lnTo>
                  <a:lnTo>
                    <a:pt x="1506" y="6"/>
                  </a:lnTo>
                  <a:lnTo>
                    <a:pt x="1506" y="18"/>
                  </a:lnTo>
                  <a:lnTo>
                    <a:pt x="1506" y="24"/>
                  </a:lnTo>
                  <a:lnTo>
                    <a:pt x="1500" y="30"/>
                  </a:lnTo>
                  <a:lnTo>
                    <a:pt x="1500" y="42"/>
                  </a:lnTo>
                  <a:lnTo>
                    <a:pt x="1494" y="54"/>
                  </a:lnTo>
                  <a:lnTo>
                    <a:pt x="1488" y="60"/>
                  </a:lnTo>
                  <a:lnTo>
                    <a:pt x="1482" y="60"/>
                  </a:lnTo>
                  <a:lnTo>
                    <a:pt x="1476" y="66"/>
                  </a:lnTo>
                  <a:lnTo>
                    <a:pt x="1476" y="72"/>
                  </a:lnTo>
                  <a:lnTo>
                    <a:pt x="1476" y="78"/>
                  </a:lnTo>
                  <a:lnTo>
                    <a:pt x="1470" y="78"/>
                  </a:lnTo>
                  <a:lnTo>
                    <a:pt x="1464" y="90"/>
                  </a:lnTo>
                  <a:lnTo>
                    <a:pt x="1458" y="96"/>
                  </a:lnTo>
                  <a:lnTo>
                    <a:pt x="1458" y="102"/>
                  </a:lnTo>
                  <a:lnTo>
                    <a:pt x="1452" y="120"/>
                  </a:lnTo>
                  <a:lnTo>
                    <a:pt x="1452" y="132"/>
                  </a:lnTo>
                  <a:lnTo>
                    <a:pt x="1446" y="144"/>
                  </a:lnTo>
                  <a:lnTo>
                    <a:pt x="1446" y="150"/>
                  </a:lnTo>
                  <a:lnTo>
                    <a:pt x="1440" y="150"/>
                  </a:lnTo>
                  <a:lnTo>
                    <a:pt x="1434" y="156"/>
                  </a:lnTo>
                  <a:lnTo>
                    <a:pt x="1428" y="168"/>
                  </a:lnTo>
                  <a:lnTo>
                    <a:pt x="1422" y="168"/>
                  </a:lnTo>
                  <a:lnTo>
                    <a:pt x="1416" y="174"/>
                  </a:lnTo>
                  <a:lnTo>
                    <a:pt x="1410" y="186"/>
                  </a:lnTo>
                  <a:lnTo>
                    <a:pt x="1410" y="204"/>
                  </a:lnTo>
                  <a:lnTo>
                    <a:pt x="1404" y="210"/>
                  </a:lnTo>
                  <a:lnTo>
                    <a:pt x="1404" y="216"/>
                  </a:lnTo>
                  <a:lnTo>
                    <a:pt x="1410" y="228"/>
                  </a:lnTo>
                  <a:lnTo>
                    <a:pt x="1410" y="234"/>
                  </a:lnTo>
                  <a:lnTo>
                    <a:pt x="1410" y="240"/>
                  </a:lnTo>
                  <a:lnTo>
                    <a:pt x="1416" y="252"/>
                  </a:lnTo>
                  <a:lnTo>
                    <a:pt x="1416" y="258"/>
                  </a:lnTo>
                  <a:lnTo>
                    <a:pt x="1422" y="264"/>
                  </a:lnTo>
                  <a:lnTo>
                    <a:pt x="1422" y="270"/>
                  </a:lnTo>
                  <a:lnTo>
                    <a:pt x="1422" y="282"/>
                  </a:lnTo>
                  <a:lnTo>
                    <a:pt x="1416" y="288"/>
                  </a:lnTo>
                  <a:lnTo>
                    <a:pt x="1410" y="294"/>
                  </a:lnTo>
                  <a:lnTo>
                    <a:pt x="1404" y="300"/>
                  </a:lnTo>
                  <a:lnTo>
                    <a:pt x="1404" y="306"/>
                  </a:lnTo>
                  <a:lnTo>
                    <a:pt x="1398" y="324"/>
                  </a:lnTo>
                  <a:lnTo>
                    <a:pt x="1404" y="330"/>
                  </a:lnTo>
                  <a:lnTo>
                    <a:pt x="1404" y="342"/>
                  </a:lnTo>
                  <a:lnTo>
                    <a:pt x="1392" y="354"/>
                  </a:lnTo>
                  <a:lnTo>
                    <a:pt x="1392" y="360"/>
                  </a:lnTo>
                  <a:lnTo>
                    <a:pt x="1392" y="372"/>
                  </a:lnTo>
                  <a:lnTo>
                    <a:pt x="1392" y="384"/>
                  </a:lnTo>
                  <a:lnTo>
                    <a:pt x="1392" y="396"/>
                  </a:lnTo>
                  <a:lnTo>
                    <a:pt x="1392" y="408"/>
                  </a:lnTo>
                  <a:lnTo>
                    <a:pt x="1386" y="414"/>
                  </a:lnTo>
                  <a:lnTo>
                    <a:pt x="1380" y="420"/>
                  </a:lnTo>
                  <a:lnTo>
                    <a:pt x="1380" y="426"/>
                  </a:lnTo>
                  <a:lnTo>
                    <a:pt x="1368" y="432"/>
                  </a:lnTo>
                  <a:lnTo>
                    <a:pt x="1362" y="444"/>
                  </a:lnTo>
                  <a:lnTo>
                    <a:pt x="1362" y="450"/>
                  </a:lnTo>
                  <a:lnTo>
                    <a:pt x="1362" y="462"/>
                  </a:lnTo>
                  <a:lnTo>
                    <a:pt x="1362" y="468"/>
                  </a:lnTo>
                  <a:lnTo>
                    <a:pt x="1362" y="474"/>
                  </a:lnTo>
                  <a:lnTo>
                    <a:pt x="1356" y="474"/>
                  </a:lnTo>
                  <a:lnTo>
                    <a:pt x="1350" y="480"/>
                  </a:lnTo>
                  <a:lnTo>
                    <a:pt x="1344" y="486"/>
                  </a:lnTo>
                  <a:lnTo>
                    <a:pt x="1338" y="498"/>
                  </a:lnTo>
                  <a:lnTo>
                    <a:pt x="1332" y="510"/>
                  </a:lnTo>
                  <a:lnTo>
                    <a:pt x="1320" y="510"/>
                  </a:lnTo>
                  <a:lnTo>
                    <a:pt x="1314" y="516"/>
                  </a:lnTo>
                  <a:lnTo>
                    <a:pt x="1302" y="522"/>
                  </a:lnTo>
                  <a:lnTo>
                    <a:pt x="1296" y="522"/>
                  </a:lnTo>
                  <a:lnTo>
                    <a:pt x="1284" y="516"/>
                  </a:lnTo>
                  <a:lnTo>
                    <a:pt x="1278" y="516"/>
                  </a:lnTo>
                  <a:lnTo>
                    <a:pt x="1272" y="522"/>
                  </a:lnTo>
                  <a:lnTo>
                    <a:pt x="1266" y="522"/>
                  </a:lnTo>
                  <a:lnTo>
                    <a:pt x="1266" y="528"/>
                  </a:lnTo>
                  <a:lnTo>
                    <a:pt x="1254" y="540"/>
                  </a:lnTo>
                  <a:lnTo>
                    <a:pt x="1248" y="546"/>
                  </a:lnTo>
                  <a:lnTo>
                    <a:pt x="1242" y="558"/>
                  </a:lnTo>
                  <a:lnTo>
                    <a:pt x="1230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30" y="594"/>
                  </a:lnTo>
                  <a:lnTo>
                    <a:pt x="1230" y="600"/>
                  </a:lnTo>
                  <a:lnTo>
                    <a:pt x="1236" y="606"/>
                  </a:lnTo>
                  <a:lnTo>
                    <a:pt x="1242" y="606"/>
                  </a:lnTo>
                  <a:lnTo>
                    <a:pt x="1242" y="612"/>
                  </a:lnTo>
                  <a:lnTo>
                    <a:pt x="1242" y="618"/>
                  </a:lnTo>
                  <a:lnTo>
                    <a:pt x="1242" y="624"/>
                  </a:lnTo>
                  <a:lnTo>
                    <a:pt x="1236" y="630"/>
                  </a:lnTo>
                  <a:lnTo>
                    <a:pt x="1230" y="642"/>
                  </a:lnTo>
                  <a:lnTo>
                    <a:pt x="1230" y="648"/>
                  </a:lnTo>
                  <a:lnTo>
                    <a:pt x="1218" y="654"/>
                  </a:lnTo>
                  <a:lnTo>
                    <a:pt x="1212" y="654"/>
                  </a:lnTo>
                  <a:lnTo>
                    <a:pt x="1212" y="660"/>
                  </a:lnTo>
                  <a:lnTo>
                    <a:pt x="1212" y="666"/>
                  </a:lnTo>
                  <a:lnTo>
                    <a:pt x="1212" y="672"/>
                  </a:lnTo>
                  <a:lnTo>
                    <a:pt x="1212" y="678"/>
                  </a:lnTo>
                  <a:lnTo>
                    <a:pt x="1218" y="684"/>
                  </a:lnTo>
                  <a:lnTo>
                    <a:pt x="1218" y="690"/>
                  </a:lnTo>
                  <a:lnTo>
                    <a:pt x="1224" y="696"/>
                  </a:lnTo>
                  <a:lnTo>
                    <a:pt x="1230" y="702"/>
                  </a:lnTo>
                  <a:lnTo>
                    <a:pt x="1236" y="696"/>
                  </a:lnTo>
                  <a:lnTo>
                    <a:pt x="1242" y="702"/>
                  </a:lnTo>
                  <a:lnTo>
                    <a:pt x="1248" y="708"/>
                  </a:lnTo>
                  <a:lnTo>
                    <a:pt x="1254" y="714"/>
                  </a:lnTo>
                  <a:lnTo>
                    <a:pt x="1254" y="720"/>
                  </a:lnTo>
                  <a:lnTo>
                    <a:pt x="1260" y="720"/>
                  </a:lnTo>
                  <a:lnTo>
                    <a:pt x="1254" y="732"/>
                  </a:lnTo>
                  <a:lnTo>
                    <a:pt x="1248" y="738"/>
                  </a:lnTo>
                  <a:lnTo>
                    <a:pt x="1242" y="744"/>
                  </a:lnTo>
                  <a:lnTo>
                    <a:pt x="1236" y="750"/>
                  </a:lnTo>
                  <a:lnTo>
                    <a:pt x="1236" y="756"/>
                  </a:lnTo>
                  <a:lnTo>
                    <a:pt x="1236" y="762"/>
                  </a:lnTo>
                  <a:lnTo>
                    <a:pt x="1236" y="768"/>
                  </a:lnTo>
                  <a:lnTo>
                    <a:pt x="1236" y="780"/>
                  </a:lnTo>
                  <a:lnTo>
                    <a:pt x="1230" y="780"/>
                  </a:lnTo>
                  <a:lnTo>
                    <a:pt x="1230" y="786"/>
                  </a:lnTo>
                  <a:lnTo>
                    <a:pt x="1230" y="792"/>
                  </a:lnTo>
                  <a:lnTo>
                    <a:pt x="1230" y="804"/>
                  </a:lnTo>
                  <a:lnTo>
                    <a:pt x="1224" y="810"/>
                  </a:lnTo>
                  <a:lnTo>
                    <a:pt x="1218" y="816"/>
                  </a:lnTo>
                  <a:lnTo>
                    <a:pt x="1224" y="822"/>
                  </a:lnTo>
                  <a:lnTo>
                    <a:pt x="1224" y="828"/>
                  </a:lnTo>
                  <a:lnTo>
                    <a:pt x="1218" y="834"/>
                  </a:lnTo>
                  <a:lnTo>
                    <a:pt x="1224" y="834"/>
                  </a:lnTo>
                  <a:lnTo>
                    <a:pt x="1224" y="840"/>
                  </a:lnTo>
                  <a:lnTo>
                    <a:pt x="1224" y="846"/>
                  </a:lnTo>
                  <a:lnTo>
                    <a:pt x="1224" y="852"/>
                  </a:lnTo>
                  <a:lnTo>
                    <a:pt x="1218" y="858"/>
                  </a:lnTo>
                  <a:lnTo>
                    <a:pt x="1218" y="870"/>
                  </a:lnTo>
                  <a:lnTo>
                    <a:pt x="1212" y="870"/>
                  </a:lnTo>
                  <a:lnTo>
                    <a:pt x="1212" y="876"/>
                  </a:lnTo>
                  <a:lnTo>
                    <a:pt x="1206" y="888"/>
                  </a:lnTo>
                  <a:lnTo>
                    <a:pt x="1200" y="882"/>
                  </a:lnTo>
                  <a:lnTo>
                    <a:pt x="1194" y="888"/>
                  </a:lnTo>
                  <a:lnTo>
                    <a:pt x="1188" y="894"/>
                  </a:lnTo>
                  <a:lnTo>
                    <a:pt x="1182" y="894"/>
                  </a:lnTo>
                  <a:lnTo>
                    <a:pt x="1182" y="900"/>
                  </a:lnTo>
                  <a:lnTo>
                    <a:pt x="1176" y="900"/>
                  </a:lnTo>
                  <a:lnTo>
                    <a:pt x="1170" y="894"/>
                  </a:lnTo>
                  <a:lnTo>
                    <a:pt x="1164" y="900"/>
                  </a:lnTo>
                  <a:lnTo>
                    <a:pt x="1158" y="900"/>
                  </a:lnTo>
                  <a:lnTo>
                    <a:pt x="1152" y="900"/>
                  </a:lnTo>
                  <a:lnTo>
                    <a:pt x="1140" y="900"/>
                  </a:lnTo>
                  <a:lnTo>
                    <a:pt x="1134" y="900"/>
                  </a:lnTo>
                  <a:lnTo>
                    <a:pt x="1128" y="906"/>
                  </a:lnTo>
                  <a:lnTo>
                    <a:pt x="1110" y="906"/>
                  </a:lnTo>
                  <a:lnTo>
                    <a:pt x="1104" y="906"/>
                  </a:lnTo>
                  <a:lnTo>
                    <a:pt x="1098" y="906"/>
                  </a:lnTo>
                  <a:lnTo>
                    <a:pt x="1092" y="912"/>
                  </a:lnTo>
                  <a:lnTo>
                    <a:pt x="1080" y="918"/>
                  </a:lnTo>
                  <a:lnTo>
                    <a:pt x="1068" y="930"/>
                  </a:lnTo>
                  <a:lnTo>
                    <a:pt x="1062" y="930"/>
                  </a:lnTo>
                  <a:lnTo>
                    <a:pt x="1056" y="930"/>
                  </a:lnTo>
                  <a:lnTo>
                    <a:pt x="1050" y="930"/>
                  </a:lnTo>
                  <a:lnTo>
                    <a:pt x="1050" y="936"/>
                  </a:lnTo>
                  <a:lnTo>
                    <a:pt x="1038" y="942"/>
                  </a:lnTo>
                  <a:lnTo>
                    <a:pt x="1032" y="948"/>
                  </a:lnTo>
                  <a:lnTo>
                    <a:pt x="1026" y="954"/>
                  </a:lnTo>
                  <a:lnTo>
                    <a:pt x="1020" y="960"/>
                  </a:lnTo>
                  <a:lnTo>
                    <a:pt x="1014" y="966"/>
                  </a:lnTo>
                  <a:lnTo>
                    <a:pt x="1002" y="966"/>
                  </a:lnTo>
                  <a:lnTo>
                    <a:pt x="990" y="978"/>
                  </a:lnTo>
                  <a:lnTo>
                    <a:pt x="984" y="978"/>
                  </a:lnTo>
                  <a:lnTo>
                    <a:pt x="978" y="984"/>
                  </a:lnTo>
                  <a:lnTo>
                    <a:pt x="972" y="984"/>
                  </a:lnTo>
                  <a:lnTo>
                    <a:pt x="978" y="990"/>
                  </a:lnTo>
                  <a:lnTo>
                    <a:pt x="972" y="996"/>
                  </a:lnTo>
                  <a:lnTo>
                    <a:pt x="978" y="1002"/>
                  </a:lnTo>
                  <a:lnTo>
                    <a:pt x="1002" y="1002"/>
                  </a:lnTo>
                  <a:lnTo>
                    <a:pt x="1002" y="1008"/>
                  </a:lnTo>
                  <a:lnTo>
                    <a:pt x="1008" y="1020"/>
                  </a:lnTo>
                  <a:lnTo>
                    <a:pt x="1002" y="1026"/>
                  </a:lnTo>
                  <a:lnTo>
                    <a:pt x="1002" y="1032"/>
                  </a:lnTo>
                  <a:lnTo>
                    <a:pt x="1002" y="1050"/>
                  </a:lnTo>
                  <a:lnTo>
                    <a:pt x="1002" y="1056"/>
                  </a:lnTo>
                  <a:lnTo>
                    <a:pt x="1008" y="1062"/>
                  </a:lnTo>
                  <a:lnTo>
                    <a:pt x="1008" y="1074"/>
                  </a:lnTo>
                  <a:lnTo>
                    <a:pt x="1008" y="1086"/>
                  </a:lnTo>
                  <a:lnTo>
                    <a:pt x="996" y="1092"/>
                  </a:lnTo>
                  <a:lnTo>
                    <a:pt x="996" y="1098"/>
                  </a:lnTo>
                  <a:lnTo>
                    <a:pt x="996" y="1104"/>
                  </a:lnTo>
                  <a:lnTo>
                    <a:pt x="990" y="1110"/>
                  </a:lnTo>
                  <a:lnTo>
                    <a:pt x="990" y="1116"/>
                  </a:lnTo>
                  <a:lnTo>
                    <a:pt x="996" y="1122"/>
                  </a:lnTo>
                  <a:lnTo>
                    <a:pt x="990" y="1128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96" y="1140"/>
                  </a:lnTo>
                  <a:lnTo>
                    <a:pt x="996" y="1146"/>
                  </a:lnTo>
                  <a:lnTo>
                    <a:pt x="996" y="1152"/>
                  </a:lnTo>
                  <a:lnTo>
                    <a:pt x="996" y="1158"/>
                  </a:lnTo>
                  <a:lnTo>
                    <a:pt x="996" y="1164"/>
                  </a:lnTo>
                  <a:lnTo>
                    <a:pt x="996" y="1170"/>
                  </a:lnTo>
                  <a:lnTo>
                    <a:pt x="996" y="1176"/>
                  </a:lnTo>
                  <a:lnTo>
                    <a:pt x="990" y="1182"/>
                  </a:lnTo>
                  <a:lnTo>
                    <a:pt x="990" y="1188"/>
                  </a:lnTo>
                  <a:lnTo>
                    <a:pt x="984" y="1200"/>
                  </a:lnTo>
                  <a:lnTo>
                    <a:pt x="990" y="1206"/>
                  </a:lnTo>
                  <a:lnTo>
                    <a:pt x="990" y="1212"/>
                  </a:lnTo>
                  <a:lnTo>
                    <a:pt x="990" y="1218"/>
                  </a:lnTo>
                  <a:lnTo>
                    <a:pt x="978" y="1230"/>
                  </a:lnTo>
                  <a:lnTo>
                    <a:pt x="972" y="1236"/>
                  </a:lnTo>
                  <a:lnTo>
                    <a:pt x="972" y="1242"/>
                  </a:lnTo>
                  <a:lnTo>
                    <a:pt x="966" y="1248"/>
                  </a:lnTo>
                  <a:lnTo>
                    <a:pt x="960" y="1260"/>
                  </a:lnTo>
                  <a:lnTo>
                    <a:pt x="954" y="1266"/>
                  </a:lnTo>
                  <a:lnTo>
                    <a:pt x="942" y="1278"/>
                  </a:lnTo>
                  <a:lnTo>
                    <a:pt x="936" y="1278"/>
                  </a:lnTo>
                  <a:lnTo>
                    <a:pt x="936" y="1284"/>
                  </a:lnTo>
                  <a:lnTo>
                    <a:pt x="936" y="1296"/>
                  </a:lnTo>
                  <a:lnTo>
                    <a:pt x="936" y="1302"/>
                  </a:lnTo>
                  <a:lnTo>
                    <a:pt x="942" y="1302"/>
                  </a:lnTo>
                  <a:lnTo>
                    <a:pt x="942" y="1308"/>
                  </a:lnTo>
                  <a:lnTo>
                    <a:pt x="936" y="1314"/>
                  </a:lnTo>
                  <a:lnTo>
                    <a:pt x="930" y="1320"/>
                  </a:lnTo>
                  <a:lnTo>
                    <a:pt x="930" y="1326"/>
                  </a:lnTo>
                  <a:lnTo>
                    <a:pt x="930" y="1332"/>
                  </a:lnTo>
                  <a:lnTo>
                    <a:pt x="936" y="1338"/>
                  </a:lnTo>
                  <a:lnTo>
                    <a:pt x="936" y="1344"/>
                  </a:lnTo>
                  <a:lnTo>
                    <a:pt x="942" y="1356"/>
                  </a:lnTo>
                  <a:lnTo>
                    <a:pt x="948" y="1368"/>
                  </a:lnTo>
                  <a:lnTo>
                    <a:pt x="942" y="1380"/>
                  </a:lnTo>
                  <a:lnTo>
                    <a:pt x="936" y="1386"/>
                  </a:lnTo>
                  <a:lnTo>
                    <a:pt x="930" y="1392"/>
                  </a:lnTo>
                  <a:lnTo>
                    <a:pt x="924" y="1392"/>
                  </a:lnTo>
                  <a:lnTo>
                    <a:pt x="918" y="1386"/>
                  </a:lnTo>
                  <a:lnTo>
                    <a:pt x="912" y="1386"/>
                  </a:lnTo>
                  <a:lnTo>
                    <a:pt x="906" y="1386"/>
                  </a:lnTo>
                  <a:lnTo>
                    <a:pt x="900" y="1386"/>
                  </a:lnTo>
                  <a:lnTo>
                    <a:pt x="900" y="1392"/>
                  </a:lnTo>
                  <a:lnTo>
                    <a:pt x="894" y="1392"/>
                  </a:lnTo>
                  <a:lnTo>
                    <a:pt x="888" y="1392"/>
                  </a:lnTo>
                  <a:lnTo>
                    <a:pt x="888" y="1398"/>
                  </a:lnTo>
                  <a:lnTo>
                    <a:pt x="882" y="1404"/>
                  </a:lnTo>
                  <a:lnTo>
                    <a:pt x="882" y="1416"/>
                  </a:lnTo>
                  <a:lnTo>
                    <a:pt x="882" y="1428"/>
                  </a:lnTo>
                  <a:lnTo>
                    <a:pt x="882" y="1434"/>
                  </a:lnTo>
                  <a:lnTo>
                    <a:pt x="870" y="1440"/>
                  </a:lnTo>
                  <a:lnTo>
                    <a:pt x="864" y="1452"/>
                  </a:lnTo>
                  <a:lnTo>
                    <a:pt x="870" y="1452"/>
                  </a:lnTo>
                  <a:lnTo>
                    <a:pt x="864" y="1458"/>
                  </a:lnTo>
                  <a:lnTo>
                    <a:pt x="858" y="1464"/>
                  </a:lnTo>
                  <a:lnTo>
                    <a:pt x="852" y="1464"/>
                  </a:lnTo>
                  <a:lnTo>
                    <a:pt x="846" y="1458"/>
                  </a:lnTo>
                  <a:lnTo>
                    <a:pt x="840" y="1458"/>
                  </a:lnTo>
                  <a:lnTo>
                    <a:pt x="828" y="1470"/>
                  </a:lnTo>
                  <a:lnTo>
                    <a:pt x="810" y="1482"/>
                  </a:lnTo>
                  <a:lnTo>
                    <a:pt x="804" y="1488"/>
                  </a:lnTo>
                  <a:lnTo>
                    <a:pt x="798" y="1488"/>
                  </a:lnTo>
                  <a:lnTo>
                    <a:pt x="792" y="1488"/>
                  </a:lnTo>
                  <a:lnTo>
                    <a:pt x="786" y="1488"/>
                  </a:lnTo>
                  <a:lnTo>
                    <a:pt x="768" y="1482"/>
                  </a:lnTo>
                  <a:lnTo>
                    <a:pt x="762" y="1476"/>
                  </a:lnTo>
                  <a:lnTo>
                    <a:pt x="744" y="1476"/>
                  </a:lnTo>
                  <a:lnTo>
                    <a:pt x="738" y="1476"/>
                  </a:lnTo>
                  <a:lnTo>
                    <a:pt x="732" y="1476"/>
                  </a:lnTo>
                  <a:lnTo>
                    <a:pt x="726" y="1482"/>
                  </a:lnTo>
                  <a:lnTo>
                    <a:pt x="726" y="1488"/>
                  </a:lnTo>
                  <a:lnTo>
                    <a:pt x="726" y="1494"/>
                  </a:lnTo>
                  <a:lnTo>
                    <a:pt x="726" y="1500"/>
                  </a:lnTo>
                  <a:lnTo>
                    <a:pt x="720" y="1500"/>
                  </a:lnTo>
                  <a:lnTo>
                    <a:pt x="720" y="1506"/>
                  </a:lnTo>
                  <a:lnTo>
                    <a:pt x="714" y="1512"/>
                  </a:lnTo>
                  <a:lnTo>
                    <a:pt x="714" y="1518"/>
                  </a:lnTo>
                  <a:lnTo>
                    <a:pt x="708" y="1518"/>
                  </a:lnTo>
                  <a:lnTo>
                    <a:pt x="708" y="1530"/>
                  </a:lnTo>
                  <a:lnTo>
                    <a:pt x="708" y="1536"/>
                  </a:lnTo>
                  <a:lnTo>
                    <a:pt x="708" y="1542"/>
                  </a:lnTo>
                  <a:lnTo>
                    <a:pt x="696" y="1554"/>
                  </a:lnTo>
                  <a:lnTo>
                    <a:pt x="690" y="1560"/>
                  </a:lnTo>
                  <a:lnTo>
                    <a:pt x="684" y="1566"/>
                  </a:lnTo>
                  <a:lnTo>
                    <a:pt x="672" y="1566"/>
                  </a:lnTo>
                  <a:lnTo>
                    <a:pt x="666" y="1566"/>
                  </a:lnTo>
                  <a:lnTo>
                    <a:pt x="660" y="1566"/>
                  </a:lnTo>
                  <a:lnTo>
                    <a:pt x="654" y="1572"/>
                  </a:lnTo>
                  <a:lnTo>
                    <a:pt x="654" y="1578"/>
                  </a:lnTo>
                  <a:lnTo>
                    <a:pt x="642" y="1578"/>
                  </a:lnTo>
                  <a:lnTo>
                    <a:pt x="630" y="1572"/>
                  </a:lnTo>
                  <a:lnTo>
                    <a:pt x="624" y="1572"/>
                  </a:lnTo>
                  <a:lnTo>
                    <a:pt x="618" y="1578"/>
                  </a:lnTo>
                  <a:lnTo>
                    <a:pt x="612" y="1584"/>
                  </a:lnTo>
                  <a:lnTo>
                    <a:pt x="606" y="1584"/>
                  </a:lnTo>
                  <a:lnTo>
                    <a:pt x="600" y="1590"/>
                  </a:lnTo>
                  <a:lnTo>
                    <a:pt x="594" y="1590"/>
                  </a:lnTo>
                  <a:lnTo>
                    <a:pt x="588" y="1590"/>
                  </a:lnTo>
                  <a:lnTo>
                    <a:pt x="582" y="1590"/>
                  </a:lnTo>
                  <a:lnTo>
                    <a:pt x="582" y="1596"/>
                  </a:lnTo>
                  <a:lnTo>
                    <a:pt x="576" y="1614"/>
                  </a:lnTo>
                  <a:lnTo>
                    <a:pt x="570" y="1632"/>
                  </a:lnTo>
                  <a:lnTo>
                    <a:pt x="570" y="1638"/>
                  </a:lnTo>
                  <a:lnTo>
                    <a:pt x="576" y="1644"/>
                  </a:lnTo>
                  <a:lnTo>
                    <a:pt x="576" y="1650"/>
                  </a:lnTo>
                  <a:lnTo>
                    <a:pt x="582" y="1662"/>
                  </a:lnTo>
                  <a:lnTo>
                    <a:pt x="582" y="1668"/>
                  </a:lnTo>
                  <a:lnTo>
                    <a:pt x="588" y="1692"/>
                  </a:lnTo>
                  <a:lnTo>
                    <a:pt x="594" y="1728"/>
                  </a:lnTo>
                  <a:lnTo>
                    <a:pt x="594" y="1752"/>
                  </a:lnTo>
                  <a:lnTo>
                    <a:pt x="594" y="1764"/>
                  </a:lnTo>
                  <a:lnTo>
                    <a:pt x="582" y="1770"/>
                  </a:lnTo>
                  <a:lnTo>
                    <a:pt x="582" y="1782"/>
                  </a:lnTo>
                  <a:lnTo>
                    <a:pt x="576" y="1788"/>
                  </a:lnTo>
                  <a:lnTo>
                    <a:pt x="570" y="1794"/>
                  </a:lnTo>
                  <a:lnTo>
                    <a:pt x="564" y="1806"/>
                  </a:lnTo>
                  <a:lnTo>
                    <a:pt x="564" y="1812"/>
                  </a:lnTo>
                  <a:lnTo>
                    <a:pt x="558" y="1812"/>
                  </a:lnTo>
                  <a:lnTo>
                    <a:pt x="564" y="1824"/>
                  </a:lnTo>
                  <a:lnTo>
                    <a:pt x="564" y="1830"/>
                  </a:lnTo>
                  <a:lnTo>
                    <a:pt x="564" y="1842"/>
                  </a:lnTo>
                  <a:lnTo>
                    <a:pt x="564" y="1848"/>
                  </a:lnTo>
                  <a:lnTo>
                    <a:pt x="564" y="1854"/>
                  </a:lnTo>
                  <a:lnTo>
                    <a:pt x="570" y="1860"/>
                  </a:lnTo>
                  <a:lnTo>
                    <a:pt x="570" y="1866"/>
                  </a:lnTo>
                  <a:lnTo>
                    <a:pt x="570" y="1872"/>
                  </a:lnTo>
                  <a:lnTo>
                    <a:pt x="570" y="1878"/>
                  </a:lnTo>
                  <a:lnTo>
                    <a:pt x="564" y="1890"/>
                  </a:lnTo>
                  <a:lnTo>
                    <a:pt x="558" y="1896"/>
                  </a:lnTo>
                  <a:lnTo>
                    <a:pt x="552" y="1908"/>
                  </a:lnTo>
                  <a:lnTo>
                    <a:pt x="546" y="1914"/>
                  </a:lnTo>
                  <a:lnTo>
                    <a:pt x="540" y="1920"/>
                  </a:lnTo>
                  <a:lnTo>
                    <a:pt x="534" y="1932"/>
                  </a:lnTo>
                  <a:lnTo>
                    <a:pt x="528" y="1944"/>
                  </a:lnTo>
                  <a:lnTo>
                    <a:pt x="516" y="1950"/>
                  </a:lnTo>
                  <a:lnTo>
                    <a:pt x="510" y="1956"/>
                  </a:lnTo>
                  <a:lnTo>
                    <a:pt x="498" y="1962"/>
                  </a:lnTo>
                  <a:lnTo>
                    <a:pt x="492" y="1974"/>
                  </a:lnTo>
                  <a:lnTo>
                    <a:pt x="486" y="1980"/>
                  </a:lnTo>
                  <a:lnTo>
                    <a:pt x="480" y="1998"/>
                  </a:lnTo>
                  <a:lnTo>
                    <a:pt x="474" y="2004"/>
                  </a:lnTo>
                  <a:lnTo>
                    <a:pt x="474" y="2010"/>
                  </a:lnTo>
                  <a:lnTo>
                    <a:pt x="474" y="2016"/>
                  </a:lnTo>
                  <a:lnTo>
                    <a:pt x="468" y="2016"/>
                  </a:lnTo>
                  <a:lnTo>
                    <a:pt x="468" y="2028"/>
                  </a:lnTo>
                  <a:lnTo>
                    <a:pt x="462" y="2034"/>
                  </a:lnTo>
                  <a:lnTo>
                    <a:pt x="456" y="2040"/>
                  </a:lnTo>
                  <a:lnTo>
                    <a:pt x="456" y="2052"/>
                  </a:lnTo>
                  <a:lnTo>
                    <a:pt x="450" y="2058"/>
                  </a:lnTo>
                  <a:lnTo>
                    <a:pt x="450" y="2070"/>
                  </a:lnTo>
                  <a:lnTo>
                    <a:pt x="450" y="2076"/>
                  </a:lnTo>
                  <a:lnTo>
                    <a:pt x="450" y="2082"/>
                  </a:lnTo>
                  <a:lnTo>
                    <a:pt x="444" y="2088"/>
                  </a:lnTo>
                  <a:lnTo>
                    <a:pt x="438" y="2094"/>
                  </a:lnTo>
                  <a:lnTo>
                    <a:pt x="444" y="2100"/>
                  </a:lnTo>
                  <a:lnTo>
                    <a:pt x="444" y="2124"/>
                  </a:lnTo>
                  <a:lnTo>
                    <a:pt x="444" y="2142"/>
                  </a:lnTo>
                  <a:lnTo>
                    <a:pt x="444" y="2160"/>
                  </a:lnTo>
                  <a:lnTo>
                    <a:pt x="450" y="2166"/>
                  </a:lnTo>
                  <a:lnTo>
                    <a:pt x="456" y="2178"/>
                  </a:lnTo>
                  <a:lnTo>
                    <a:pt x="438" y="2184"/>
                  </a:lnTo>
                  <a:lnTo>
                    <a:pt x="432" y="2184"/>
                  </a:lnTo>
                  <a:lnTo>
                    <a:pt x="426" y="2190"/>
                  </a:lnTo>
                  <a:lnTo>
                    <a:pt x="408" y="2190"/>
                  </a:lnTo>
                  <a:lnTo>
                    <a:pt x="402" y="2196"/>
                  </a:lnTo>
                  <a:lnTo>
                    <a:pt x="396" y="2196"/>
                  </a:lnTo>
                  <a:lnTo>
                    <a:pt x="384" y="2208"/>
                  </a:lnTo>
                  <a:lnTo>
                    <a:pt x="378" y="2220"/>
                  </a:lnTo>
                  <a:lnTo>
                    <a:pt x="366" y="2232"/>
                  </a:lnTo>
                  <a:lnTo>
                    <a:pt x="366" y="2238"/>
                  </a:lnTo>
                  <a:lnTo>
                    <a:pt x="360" y="2238"/>
                  </a:lnTo>
                  <a:lnTo>
                    <a:pt x="360" y="2244"/>
                  </a:lnTo>
                  <a:lnTo>
                    <a:pt x="354" y="2244"/>
                  </a:lnTo>
                  <a:lnTo>
                    <a:pt x="330" y="227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5" name="Freeform 10">
              <a:extLst>
                <a:ext uri="{FF2B5EF4-FFF2-40B4-BE49-F238E27FC236}">
                  <a16:creationId xmlns:a16="http://schemas.microsoft.com/office/drawing/2014/main" id="{3AD2FC58-3490-4B7F-A8BE-621F3CDD69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1996" y="1931890"/>
              <a:ext cx="805029" cy="1037736"/>
            </a:xfrm>
            <a:custGeom>
              <a:avLst/>
              <a:gdLst>
                <a:gd name="T0" fmla="*/ 124 w 1512"/>
                <a:gd name="T1" fmla="*/ 76 h 1956"/>
                <a:gd name="T2" fmla="*/ 120 w 1512"/>
                <a:gd name="T3" fmla="*/ 80 h 1956"/>
                <a:gd name="T4" fmla="*/ 106 w 1512"/>
                <a:gd name="T5" fmla="*/ 84 h 1956"/>
                <a:gd name="T6" fmla="*/ 105 w 1512"/>
                <a:gd name="T7" fmla="*/ 91 h 1956"/>
                <a:gd name="T8" fmla="*/ 101 w 1512"/>
                <a:gd name="T9" fmla="*/ 99 h 1956"/>
                <a:gd name="T10" fmla="*/ 105 w 1512"/>
                <a:gd name="T11" fmla="*/ 107 h 1956"/>
                <a:gd name="T12" fmla="*/ 119 w 1512"/>
                <a:gd name="T13" fmla="*/ 116 h 1956"/>
                <a:gd name="T14" fmla="*/ 121 w 1512"/>
                <a:gd name="T15" fmla="*/ 128 h 1956"/>
                <a:gd name="T16" fmla="*/ 112 w 1512"/>
                <a:gd name="T17" fmla="*/ 136 h 1956"/>
                <a:gd name="T18" fmla="*/ 119 w 1512"/>
                <a:gd name="T19" fmla="*/ 143 h 1956"/>
                <a:gd name="T20" fmla="*/ 126 w 1512"/>
                <a:gd name="T21" fmla="*/ 148 h 1956"/>
                <a:gd name="T22" fmla="*/ 126 w 1512"/>
                <a:gd name="T23" fmla="*/ 160 h 1956"/>
                <a:gd name="T24" fmla="*/ 104 w 1512"/>
                <a:gd name="T25" fmla="*/ 170 h 1956"/>
                <a:gd name="T26" fmla="*/ 99 w 1512"/>
                <a:gd name="T27" fmla="*/ 164 h 1956"/>
                <a:gd name="T28" fmla="*/ 73 w 1512"/>
                <a:gd name="T29" fmla="*/ 152 h 1956"/>
                <a:gd name="T30" fmla="*/ 56 w 1512"/>
                <a:gd name="T31" fmla="*/ 165 h 1956"/>
                <a:gd name="T32" fmla="*/ 33 w 1512"/>
                <a:gd name="T33" fmla="*/ 162 h 1956"/>
                <a:gd name="T34" fmla="*/ 25 w 1512"/>
                <a:gd name="T35" fmla="*/ 155 h 1956"/>
                <a:gd name="T36" fmla="*/ 31 w 1512"/>
                <a:gd name="T37" fmla="*/ 142 h 1956"/>
                <a:gd name="T38" fmla="*/ 24 w 1512"/>
                <a:gd name="T39" fmla="*/ 137 h 1956"/>
                <a:gd name="T40" fmla="*/ 14 w 1512"/>
                <a:gd name="T41" fmla="*/ 136 h 1956"/>
                <a:gd name="T42" fmla="*/ 11 w 1512"/>
                <a:gd name="T43" fmla="*/ 125 h 1956"/>
                <a:gd name="T44" fmla="*/ 3 w 1512"/>
                <a:gd name="T45" fmla="*/ 116 h 1956"/>
                <a:gd name="T46" fmla="*/ 2 w 1512"/>
                <a:gd name="T47" fmla="*/ 106 h 1956"/>
                <a:gd name="T48" fmla="*/ 5 w 1512"/>
                <a:gd name="T49" fmla="*/ 101 h 1956"/>
                <a:gd name="T50" fmla="*/ 2 w 1512"/>
                <a:gd name="T51" fmla="*/ 95 h 1956"/>
                <a:gd name="T52" fmla="*/ 1 w 1512"/>
                <a:gd name="T53" fmla="*/ 88 h 1956"/>
                <a:gd name="T54" fmla="*/ 4 w 1512"/>
                <a:gd name="T55" fmla="*/ 80 h 1956"/>
                <a:gd name="T56" fmla="*/ 12 w 1512"/>
                <a:gd name="T57" fmla="*/ 73 h 1956"/>
                <a:gd name="T58" fmla="*/ 16 w 1512"/>
                <a:gd name="T59" fmla="*/ 68 h 1956"/>
                <a:gd name="T60" fmla="*/ 22 w 1512"/>
                <a:gd name="T61" fmla="*/ 66 h 1956"/>
                <a:gd name="T62" fmla="*/ 32 w 1512"/>
                <a:gd name="T63" fmla="*/ 65 h 1956"/>
                <a:gd name="T64" fmla="*/ 45 w 1512"/>
                <a:gd name="T65" fmla="*/ 66 h 1956"/>
                <a:gd name="T66" fmla="*/ 50 w 1512"/>
                <a:gd name="T67" fmla="*/ 70 h 1956"/>
                <a:gd name="T68" fmla="*/ 55 w 1512"/>
                <a:gd name="T69" fmla="*/ 70 h 1956"/>
                <a:gd name="T70" fmla="*/ 63 w 1512"/>
                <a:gd name="T71" fmla="*/ 71 h 1956"/>
                <a:gd name="T72" fmla="*/ 61 w 1512"/>
                <a:gd name="T73" fmla="*/ 75 h 1956"/>
                <a:gd name="T74" fmla="*/ 66 w 1512"/>
                <a:gd name="T75" fmla="*/ 84 h 1956"/>
                <a:gd name="T76" fmla="*/ 81 w 1512"/>
                <a:gd name="T77" fmla="*/ 85 h 1956"/>
                <a:gd name="T78" fmla="*/ 83 w 1512"/>
                <a:gd name="T79" fmla="*/ 79 h 1956"/>
                <a:gd name="T80" fmla="*/ 89 w 1512"/>
                <a:gd name="T81" fmla="*/ 77 h 1956"/>
                <a:gd name="T82" fmla="*/ 89 w 1512"/>
                <a:gd name="T83" fmla="*/ 73 h 1956"/>
                <a:gd name="T84" fmla="*/ 83 w 1512"/>
                <a:gd name="T85" fmla="*/ 72 h 1956"/>
                <a:gd name="T86" fmla="*/ 77 w 1512"/>
                <a:gd name="T87" fmla="*/ 70 h 1956"/>
                <a:gd name="T88" fmla="*/ 71 w 1512"/>
                <a:gd name="T89" fmla="*/ 70 h 1956"/>
                <a:gd name="T90" fmla="*/ 59 w 1512"/>
                <a:gd name="T91" fmla="*/ 58 h 1956"/>
                <a:gd name="T92" fmla="*/ 54 w 1512"/>
                <a:gd name="T93" fmla="*/ 45 h 1956"/>
                <a:gd name="T94" fmla="*/ 49 w 1512"/>
                <a:gd name="T95" fmla="*/ 42 h 1956"/>
                <a:gd name="T96" fmla="*/ 51 w 1512"/>
                <a:gd name="T97" fmla="*/ 39 h 1956"/>
                <a:gd name="T98" fmla="*/ 55 w 1512"/>
                <a:gd name="T99" fmla="*/ 36 h 1956"/>
                <a:gd name="T100" fmla="*/ 63 w 1512"/>
                <a:gd name="T101" fmla="*/ 34 h 1956"/>
                <a:gd name="T102" fmla="*/ 68 w 1512"/>
                <a:gd name="T103" fmla="*/ 32 h 1956"/>
                <a:gd name="T104" fmla="*/ 73 w 1512"/>
                <a:gd name="T105" fmla="*/ 29 h 1956"/>
                <a:gd name="T106" fmla="*/ 78 w 1512"/>
                <a:gd name="T107" fmla="*/ 27 h 1956"/>
                <a:gd name="T108" fmla="*/ 81 w 1512"/>
                <a:gd name="T109" fmla="*/ 17 h 1956"/>
                <a:gd name="T110" fmla="*/ 84 w 1512"/>
                <a:gd name="T111" fmla="*/ 6 h 1956"/>
                <a:gd name="T112" fmla="*/ 95 w 1512"/>
                <a:gd name="T113" fmla="*/ 6 h 1956"/>
                <a:gd name="T114" fmla="*/ 99 w 1512"/>
                <a:gd name="T115" fmla="*/ 3 h 1956"/>
                <a:gd name="T116" fmla="*/ 103 w 1512"/>
                <a:gd name="T117" fmla="*/ 0 h 1956"/>
                <a:gd name="T118" fmla="*/ 110 w 1512"/>
                <a:gd name="T119" fmla="*/ 4 h 1956"/>
                <a:gd name="T120" fmla="*/ 114 w 1512"/>
                <a:gd name="T121" fmla="*/ 33 h 1956"/>
                <a:gd name="T122" fmla="*/ 117 w 1512"/>
                <a:gd name="T123" fmla="*/ 41 h 1956"/>
                <a:gd name="T124" fmla="*/ 119 w 1512"/>
                <a:gd name="T125" fmla="*/ 62 h 195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12"/>
                <a:gd name="T190" fmla="*/ 0 h 1956"/>
                <a:gd name="T191" fmla="*/ 1512 w 1512"/>
                <a:gd name="T192" fmla="*/ 1956 h 195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12" h="1956">
                  <a:moveTo>
                    <a:pt x="1512" y="780"/>
                  </a:moveTo>
                  <a:lnTo>
                    <a:pt x="1482" y="786"/>
                  </a:lnTo>
                  <a:lnTo>
                    <a:pt x="1476" y="792"/>
                  </a:lnTo>
                  <a:lnTo>
                    <a:pt x="1476" y="798"/>
                  </a:lnTo>
                  <a:lnTo>
                    <a:pt x="1476" y="804"/>
                  </a:lnTo>
                  <a:lnTo>
                    <a:pt x="1476" y="816"/>
                  </a:lnTo>
                  <a:lnTo>
                    <a:pt x="1470" y="834"/>
                  </a:lnTo>
                  <a:lnTo>
                    <a:pt x="1464" y="840"/>
                  </a:lnTo>
                  <a:lnTo>
                    <a:pt x="1452" y="852"/>
                  </a:lnTo>
                  <a:lnTo>
                    <a:pt x="1440" y="864"/>
                  </a:lnTo>
                  <a:lnTo>
                    <a:pt x="1434" y="864"/>
                  </a:lnTo>
                  <a:lnTo>
                    <a:pt x="1434" y="870"/>
                  </a:lnTo>
                  <a:lnTo>
                    <a:pt x="1422" y="876"/>
                  </a:lnTo>
                  <a:lnTo>
                    <a:pt x="1410" y="894"/>
                  </a:lnTo>
                  <a:lnTo>
                    <a:pt x="1404" y="894"/>
                  </a:lnTo>
                  <a:lnTo>
                    <a:pt x="1404" y="900"/>
                  </a:lnTo>
                  <a:lnTo>
                    <a:pt x="1404" y="906"/>
                  </a:lnTo>
                  <a:lnTo>
                    <a:pt x="1410" y="918"/>
                  </a:lnTo>
                  <a:lnTo>
                    <a:pt x="1404" y="918"/>
                  </a:lnTo>
                  <a:lnTo>
                    <a:pt x="1392" y="924"/>
                  </a:lnTo>
                  <a:lnTo>
                    <a:pt x="1386" y="924"/>
                  </a:lnTo>
                  <a:lnTo>
                    <a:pt x="1380" y="924"/>
                  </a:lnTo>
                  <a:lnTo>
                    <a:pt x="1380" y="930"/>
                  </a:lnTo>
                  <a:lnTo>
                    <a:pt x="1374" y="930"/>
                  </a:lnTo>
                  <a:lnTo>
                    <a:pt x="1374" y="924"/>
                  </a:lnTo>
                  <a:lnTo>
                    <a:pt x="1374" y="918"/>
                  </a:lnTo>
                  <a:lnTo>
                    <a:pt x="1368" y="912"/>
                  </a:lnTo>
                  <a:lnTo>
                    <a:pt x="1368" y="906"/>
                  </a:lnTo>
                  <a:lnTo>
                    <a:pt x="1368" y="900"/>
                  </a:lnTo>
                  <a:lnTo>
                    <a:pt x="1368" y="894"/>
                  </a:lnTo>
                  <a:lnTo>
                    <a:pt x="1362" y="894"/>
                  </a:lnTo>
                  <a:lnTo>
                    <a:pt x="1326" y="894"/>
                  </a:lnTo>
                  <a:lnTo>
                    <a:pt x="1302" y="906"/>
                  </a:lnTo>
                  <a:lnTo>
                    <a:pt x="1284" y="918"/>
                  </a:lnTo>
                  <a:lnTo>
                    <a:pt x="1284" y="924"/>
                  </a:lnTo>
                  <a:lnTo>
                    <a:pt x="1278" y="930"/>
                  </a:lnTo>
                  <a:lnTo>
                    <a:pt x="1266" y="930"/>
                  </a:lnTo>
                  <a:lnTo>
                    <a:pt x="1236" y="954"/>
                  </a:lnTo>
                  <a:lnTo>
                    <a:pt x="1212" y="972"/>
                  </a:lnTo>
                  <a:lnTo>
                    <a:pt x="1218" y="996"/>
                  </a:lnTo>
                  <a:lnTo>
                    <a:pt x="1224" y="1008"/>
                  </a:lnTo>
                  <a:lnTo>
                    <a:pt x="1236" y="1014"/>
                  </a:lnTo>
                  <a:lnTo>
                    <a:pt x="1242" y="1026"/>
                  </a:lnTo>
                  <a:lnTo>
                    <a:pt x="1248" y="1038"/>
                  </a:lnTo>
                  <a:lnTo>
                    <a:pt x="1260" y="1050"/>
                  </a:lnTo>
                  <a:lnTo>
                    <a:pt x="1260" y="1056"/>
                  </a:lnTo>
                  <a:lnTo>
                    <a:pt x="1260" y="1074"/>
                  </a:lnTo>
                  <a:lnTo>
                    <a:pt x="1254" y="1074"/>
                  </a:lnTo>
                  <a:lnTo>
                    <a:pt x="1236" y="1056"/>
                  </a:lnTo>
                  <a:lnTo>
                    <a:pt x="1224" y="1050"/>
                  </a:lnTo>
                  <a:lnTo>
                    <a:pt x="1212" y="1050"/>
                  </a:lnTo>
                  <a:lnTo>
                    <a:pt x="1206" y="1050"/>
                  </a:lnTo>
                  <a:lnTo>
                    <a:pt x="1200" y="1056"/>
                  </a:lnTo>
                  <a:lnTo>
                    <a:pt x="1194" y="1062"/>
                  </a:lnTo>
                  <a:lnTo>
                    <a:pt x="1188" y="1068"/>
                  </a:lnTo>
                  <a:lnTo>
                    <a:pt x="1188" y="1074"/>
                  </a:lnTo>
                  <a:lnTo>
                    <a:pt x="1176" y="1086"/>
                  </a:lnTo>
                  <a:lnTo>
                    <a:pt x="1170" y="1086"/>
                  </a:lnTo>
                  <a:lnTo>
                    <a:pt x="1170" y="1092"/>
                  </a:lnTo>
                  <a:lnTo>
                    <a:pt x="1164" y="1098"/>
                  </a:lnTo>
                  <a:lnTo>
                    <a:pt x="1158" y="1110"/>
                  </a:lnTo>
                  <a:lnTo>
                    <a:pt x="1152" y="1116"/>
                  </a:lnTo>
                  <a:lnTo>
                    <a:pt x="1152" y="1122"/>
                  </a:lnTo>
                  <a:lnTo>
                    <a:pt x="1146" y="1128"/>
                  </a:lnTo>
                  <a:lnTo>
                    <a:pt x="1152" y="1140"/>
                  </a:lnTo>
                  <a:lnTo>
                    <a:pt x="1158" y="1140"/>
                  </a:lnTo>
                  <a:lnTo>
                    <a:pt x="1164" y="1146"/>
                  </a:lnTo>
                  <a:lnTo>
                    <a:pt x="1164" y="1152"/>
                  </a:lnTo>
                  <a:lnTo>
                    <a:pt x="1170" y="1164"/>
                  </a:lnTo>
                  <a:lnTo>
                    <a:pt x="1164" y="1176"/>
                  </a:lnTo>
                  <a:lnTo>
                    <a:pt x="1170" y="1182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82" y="1218"/>
                  </a:lnTo>
                  <a:lnTo>
                    <a:pt x="1188" y="1218"/>
                  </a:lnTo>
                  <a:lnTo>
                    <a:pt x="1194" y="1218"/>
                  </a:lnTo>
                  <a:lnTo>
                    <a:pt x="1194" y="1224"/>
                  </a:lnTo>
                  <a:lnTo>
                    <a:pt x="1200" y="1230"/>
                  </a:lnTo>
                  <a:lnTo>
                    <a:pt x="1200" y="1248"/>
                  </a:lnTo>
                  <a:lnTo>
                    <a:pt x="1212" y="1266"/>
                  </a:lnTo>
                  <a:lnTo>
                    <a:pt x="1218" y="1278"/>
                  </a:lnTo>
                  <a:lnTo>
                    <a:pt x="1224" y="1284"/>
                  </a:lnTo>
                  <a:lnTo>
                    <a:pt x="1236" y="1296"/>
                  </a:lnTo>
                  <a:lnTo>
                    <a:pt x="1242" y="1302"/>
                  </a:lnTo>
                  <a:lnTo>
                    <a:pt x="1242" y="1308"/>
                  </a:lnTo>
                  <a:lnTo>
                    <a:pt x="1272" y="1308"/>
                  </a:lnTo>
                  <a:lnTo>
                    <a:pt x="1296" y="1314"/>
                  </a:lnTo>
                  <a:lnTo>
                    <a:pt x="1320" y="1320"/>
                  </a:lnTo>
                  <a:lnTo>
                    <a:pt x="1338" y="1320"/>
                  </a:lnTo>
                  <a:lnTo>
                    <a:pt x="1356" y="1332"/>
                  </a:lnTo>
                  <a:lnTo>
                    <a:pt x="1368" y="1344"/>
                  </a:lnTo>
                  <a:lnTo>
                    <a:pt x="1374" y="1362"/>
                  </a:lnTo>
                  <a:lnTo>
                    <a:pt x="1368" y="1362"/>
                  </a:lnTo>
                  <a:lnTo>
                    <a:pt x="1368" y="1398"/>
                  </a:lnTo>
                  <a:lnTo>
                    <a:pt x="1368" y="1410"/>
                  </a:lnTo>
                  <a:lnTo>
                    <a:pt x="1368" y="1428"/>
                  </a:lnTo>
                  <a:lnTo>
                    <a:pt x="1368" y="1434"/>
                  </a:lnTo>
                  <a:lnTo>
                    <a:pt x="1368" y="1440"/>
                  </a:lnTo>
                  <a:lnTo>
                    <a:pt x="1374" y="1446"/>
                  </a:lnTo>
                  <a:lnTo>
                    <a:pt x="1374" y="1452"/>
                  </a:lnTo>
                  <a:lnTo>
                    <a:pt x="1380" y="1458"/>
                  </a:lnTo>
                  <a:lnTo>
                    <a:pt x="1386" y="1464"/>
                  </a:lnTo>
                  <a:lnTo>
                    <a:pt x="1386" y="1470"/>
                  </a:lnTo>
                  <a:lnTo>
                    <a:pt x="1380" y="1476"/>
                  </a:lnTo>
                  <a:lnTo>
                    <a:pt x="1374" y="1482"/>
                  </a:lnTo>
                  <a:lnTo>
                    <a:pt x="1362" y="1500"/>
                  </a:lnTo>
                  <a:lnTo>
                    <a:pt x="1362" y="1506"/>
                  </a:lnTo>
                  <a:lnTo>
                    <a:pt x="1362" y="1512"/>
                  </a:lnTo>
                  <a:lnTo>
                    <a:pt x="1362" y="1518"/>
                  </a:lnTo>
                  <a:lnTo>
                    <a:pt x="1362" y="1524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38" y="1548"/>
                  </a:lnTo>
                  <a:lnTo>
                    <a:pt x="1296" y="1548"/>
                  </a:lnTo>
                  <a:lnTo>
                    <a:pt x="1290" y="1554"/>
                  </a:lnTo>
                  <a:lnTo>
                    <a:pt x="1284" y="1560"/>
                  </a:lnTo>
                  <a:lnTo>
                    <a:pt x="1284" y="1566"/>
                  </a:lnTo>
                  <a:lnTo>
                    <a:pt x="1290" y="1578"/>
                  </a:lnTo>
                  <a:lnTo>
                    <a:pt x="1296" y="1590"/>
                  </a:lnTo>
                  <a:lnTo>
                    <a:pt x="1302" y="1590"/>
                  </a:lnTo>
                  <a:lnTo>
                    <a:pt x="1308" y="1596"/>
                  </a:lnTo>
                  <a:lnTo>
                    <a:pt x="1320" y="1602"/>
                  </a:lnTo>
                  <a:lnTo>
                    <a:pt x="1326" y="1602"/>
                  </a:lnTo>
                  <a:lnTo>
                    <a:pt x="1326" y="1608"/>
                  </a:lnTo>
                  <a:lnTo>
                    <a:pt x="1332" y="1614"/>
                  </a:lnTo>
                  <a:lnTo>
                    <a:pt x="1344" y="1620"/>
                  </a:lnTo>
                  <a:lnTo>
                    <a:pt x="1356" y="1626"/>
                  </a:lnTo>
                  <a:lnTo>
                    <a:pt x="1356" y="1632"/>
                  </a:lnTo>
                  <a:lnTo>
                    <a:pt x="1356" y="1638"/>
                  </a:lnTo>
                  <a:lnTo>
                    <a:pt x="1362" y="1644"/>
                  </a:lnTo>
                  <a:lnTo>
                    <a:pt x="1368" y="1644"/>
                  </a:lnTo>
                  <a:lnTo>
                    <a:pt x="1380" y="1650"/>
                  </a:lnTo>
                  <a:lnTo>
                    <a:pt x="1386" y="1650"/>
                  </a:lnTo>
                  <a:lnTo>
                    <a:pt x="1386" y="1656"/>
                  </a:lnTo>
                  <a:lnTo>
                    <a:pt x="1392" y="1656"/>
                  </a:lnTo>
                  <a:lnTo>
                    <a:pt x="1398" y="1662"/>
                  </a:lnTo>
                  <a:lnTo>
                    <a:pt x="1410" y="1674"/>
                  </a:lnTo>
                  <a:lnTo>
                    <a:pt x="1428" y="1680"/>
                  </a:lnTo>
                  <a:lnTo>
                    <a:pt x="1428" y="1686"/>
                  </a:lnTo>
                  <a:lnTo>
                    <a:pt x="1428" y="1698"/>
                  </a:lnTo>
                  <a:lnTo>
                    <a:pt x="1434" y="1704"/>
                  </a:lnTo>
                  <a:lnTo>
                    <a:pt x="1434" y="1710"/>
                  </a:lnTo>
                  <a:lnTo>
                    <a:pt x="1440" y="1710"/>
                  </a:lnTo>
                  <a:lnTo>
                    <a:pt x="1446" y="1710"/>
                  </a:lnTo>
                  <a:lnTo>
                    <a:pt x="1446" y="1716"/>
                  </a:lnTo>
                  <a:lnTo>
                    <a:pt x="1440" y="1722"/>
                  </a:lnTo>
                  <a:lnTo>
                    <a:pt x="1440" y="1728"/>
                  </a:lnTo>
                  <a:lnTo>
                    <a:pt x="1440" y="1734"/>
                  </a:lnTo>
                  <a:lnTo>
                    <a:pt x="1440" y="1740"/>
                  </a:lnTo>
                  <a:lnTo>
                    <a:pt x="1440" y="1746"/>
                  </a:lnTo>
                  <a:lnTo>
                    <a:pt x="1440" y="1788"/>
                  </a:lnTo>
                  <a:lnTo>
                    <a:pt x="1440" y="1800"/>
                  </a:lnTo>
                  <a:lnTo>
                    <a:pt x="1440" y="1806"/>
                  </a:lnTo>
                  <a:lnTo>
                    <a:pt x="1440" y="1836"/>
                  </a:lnTo>
                  <a:lnTo>
                    <a:pt x="1440" y="1848"/>
                  </a:lnTo>
                  <a:lnTo>
                    <a:pt x="1446" y="1848"/>
                  </a:lnTo>
                  <a:lnTo>
                    <a:pt x="1446" y="1854"/>
                  </a:lnTo>
                  <a:lnTo>
                    <a:pt x="1452" y="1848"/>
                  </a:lnTo>
                  <a:lnTo>
                    <a:pt x="1458" y="1854"/>
                  </a:lnTo>
                  <a:lnTo>
                    <a:pt x="1452" y="1860"/>
                  </a:lnTo>
                  <a:lnTo>
                    <a:pt x="1452" y="1866"/>
                  </a:lnTo>
                  <a:lnTo>
                    <a:pt x="1458" y="1872"/>
                  </a:lnTo>
                  <a:lnTo>
                    <a:pt x="1464" y="1884"/>
                  </a:lnTo>
                  <a:lnTo>
                    <a:pt x="1428" y="1878"/>
                  </a:lnTo>
                  <a:lnTo>
                    <a:pt x="1356" y="1890"/>
                  </a:lnTo>
                  <a:lnTo>
                    <a:pt x="1296" y="1926"/>
                  </a:lnTo>
                  <a:lnTo>
                    <a:pt x="1266" y="1944"/>
                  </a:lnTo>
                  <a:lnTo>
                    <a:pt x="1224" y="1944"/>
                  </a:lnTo>
                  <a:lnTo>
                    <a:pt x="1188" y="1956"/>
                  </a:lnTo>
                  <a:lnTo>
                    <a:pt x="1188" y="1950"/>
                  </a:lnTo>
                  <a:lnTo>
                    <a:pt x="1176" y="1944"/>
                  </a:lnTo>
                  <a:lnTo>
                    <a:pt x="1176" y="1938"/>
                  </a:lnTo>
                  <a:lnTo>
                    <a:pt x="1170" y="1938"/>
                  </a:lnTo>
                  <a:lnTo>
                    <a:pt x="1164" y="1932"/>
                  </a:lnTo>
                  <a:lnTo>
                    <a:pt x="1158" y="1926"/>
                  </a:lnTo>
                  <a:lnTo>
                    <a:pt x="1158" y="1920"/>
                  </a:lnTo>
                  <a:lnTo>
                    <a:pt x="1152" y="1920"/>
                  </a:lnTo>
                  <a:lnTo>
                    <a:pt x="1146" y="1914"/>
                  </a:lnTo>
                  <a:lnTo>
                    <a:pt x="1146" y="1908"/>
                  </a:lnTo>
                  <a:lnTo>
                    <a:pt x="1140" y="1908"/>
                  </a:lnTo>
                  <a:lnTo>
                    <a:pt x="1134" y="1902"/>
                  </a:lnTo>
                  <a:lnTo>
                    <a:pt x="1134" y="1896"/>
                  </a:lnTo>
                  <a:lnTo>
                    <a:pt x="1116" y="1896"/>
                  </a:lnTo>
                  <a:lnTo>
                    <a:pt x="1104" y="1884"/>
                  </a:lnTo>
                  <a:lnTo>
                    <a:pt x="1092" y="1860"/>
                  </a:lnTo>
                  <a:lnTo>
                    <a:pt x="1068" y="1854"/>
                  </a:lnTo>
                  <a:lnTo>
                    <a:pt x="1032" y="1842"/>
                  </a:lnTo>
                  <a:lnTo>
                    <a:pt x="1008" y="1836"/>
                  </a:lnTo>
                  <a:lnTo>
                    <a:pt x="978" y="1824"/>
                  </a:lnTo>
                  <a:lnTo>
                    <a:pt x="942" y="1818"/>
                  </a:lnTo>
                  <a:lnTo>
                    <a:pt x="924" y="1806"/>
                  </a:lnTo>
                  <a:lnTo>
                    <a:pt x="906" y="1788"/>
                  </a:lnTo>
                  <a:lnTo>
                    <a:pt x="894" y="1776"/>
                  </a:lnTo>
                  <a:lnTo>
                    <a:pt x="864" y="1758"/>
                  </a:lnTo>
                  <a:lnTo>
                    <a:pt x="834" y="1752"/>
                  </a:lnTo>
                  <a:lnTo>
                    <a:pt x="798" y="1746"/>
                  </a:lnTo>
                  <a:lnTo>
                    <a:pt x="792" y="1806"/>
                  </a:lnTo>
                  <a:lnTo>
                    <a:pt x="798" y="1812"/>
                  </a:lnTo>
                  <a:lnTo>
                    <a:pt x="810" y="1830"/>
                  </a:lnTo>
                  <a:lnTo>
                    <a:pt x="792" y="1842"/>
                  </a:lnTo>
                  <a:lnTo>
                    <a:pt x="768" y="1842"/>
                  </a:lnTo>
                  <a:lnTo>
                    <a:pt x="708" y="1848"/>
                  </a:lnTo>
                  <a:lnTo>
                    <a:pt x="690" y="1860"/>
                  </a:lnTo>
                  <a:lnTo>
                    <a:pt x="690" y="1866"/>
                  </a:lnTo>
                  <a:lnTo>
                    <a:pt x="678" y="1878"/>
                  </a:lnTo>
                  <a:lnTo>
                    <a:pt x="660" y="1884"/>
                  </a:lnTo>
                  <a:lnTo>
                    <a:pt x="660" y="1902"/>
                  </a:lnTo>
                  <a:lnTo>
                    <a:pt x="642" y="1902"/>
                  </a:lnTo>
                  <a:lnTo>
                    <a:pt x="582" y="1914"/>
                  </a:lnTo>
                  <a:lnTo>
                    <a:pt x="534" y="1908"/>
                  </a:lnTo>
                  <a:lnTo>
                    <a:pt x="510" y="1908"/>
                  </a:lnTo>
                  <a:lnTo>
                    <a:pt x="510" y="1896"/>
                  </a:lnTo>
                  <a:lnTo>
                    <a:pt x="492" y="1896"/>
                  </a:lnTo>
                  <a:lnTo>
                    <a:pt x="486" y="1902"/>
                  </a:lnTo>
                  <a:lnTo>
                    <a:pt x="474" y="1908"/>
                  </a:lnTo>
                  <a:lnTo>
                    <a:pt x="450" y="1908"/>
                  </a:lnTo>
                  <a:lnTo>
                    <a:pt x="432" y="1902"/>
                  </a:lnTo>
                  <a:lnTo>
                    <a:pt x="426" y="1896"/>
                  </a:lnTo>
                  <a:lnTo>
                    <a:pt x="402" y="1884"/>
                  </a:lnTo>
                  <a:lnTo>
                    <a:pt x="390" y="1872"/>
                  </a:lnTo>
                  <a:lnTo>
                    <a:pt x="384" y="1872"/>
                  </a:lnTo>
                  <a:lnTo>
                    <a:pt x="378" y="1872"/>
                  </a:lnTo>
                  <a:lnTo>
                    <a:pt x="378" y="1866"/>
                  </a:lnTo>
                  <a:lnTo>
                    <a:pt x="372" y="1860"/>
                  </a:lnTo>
                  <a:lnTo>
                    <a:pt x="372" y="1854"/>
                  </a:lnTo>
                  <a:lnTo>
                    <a:pt x="366" y="1842"/>
                  </a:lnTo>
                  <a:lnTo>
                    <a:pt x="366" y="1836"/>
                  </a:lnTo>
                  <a:lnTo>
                    <a:pt x="348" y="1830"/>
                  </a:lnTo>
                  <a:lnTo>
                    <a:pt x="348" y="1806"/>
                  </a:lnTo>
                  <a:lnTo>
                    <a:pt x="348" y="1800"/>
                  </a:lnTo>
                  <a:lnTo>
                    <a:pt x="348" y="1782"/>
                  </a:lnTo>
                  <a:lnTo>
                    <a:pt x="336" y="1788"/>
                  </a:lnTo>
                  <a:lnTo>
                    <a:pt x="312" y="1794"/>
                  </a:lnTo>
                  <a:lnTo>
                    <a:pt x="288" y="1788"/>
                  </a:lnTo>
                  <a:lnTo>
                    <a:pt x="264" y="1758"/>
                  </a:lnTo>
                  <a:lnTo>
                    <a:pt x="270" y="1758"/>
                  </a:lnTo>
                  <a:lnTo>
                    <a:pt x="270" y="1752"/>
                  </a:lnTo>
                  <a:lnTo>
                    <a:pt x="276" y="1752"/>
                  </a:lnTo>
                  <a:lnTo>
                    <a:pt x="282" y="1746"/>
                  </a:lnTo>
                  <a:lnTo>
                    <a:pt x="300" y="1746"/>
                  </a:lnTo>
                  <a:lnTo>
                    <a:pt x="312" y="1746"/>
                  </a:lnTo>
                  <a:lnTo>
                    <a:pt x="336" y="1710"/>
                  </a:lnTo>
                  <a:lnTo>
                    <a:pt x="342" y="1692"/>
                  </a:lnTo>
                  <a:lnTo>
                    <a:pt x="348" y="1680"/>
                  </a:lnTo>
                  <a:lnTo>
                    <a:pt x="342" y="1650"/>
                  </a:lnTo>
                  <a:lnTo>
                    <a:pt x="354" y="1644"/>
                  </a:lnTo>
                  <a:lnTo>
                    <a:pt x="354" y="1638"/>
                  </a:lnTo>
                  <a:lnTo>
                    <a:pt x="360" y="1632"/>
                  </a:lnTo>
                  <a:lnTo>
                    <a:pt x="354" y="1626"/>
                  </a:lnTo>
                  <a:lnTo>
                    <a:pt x="348" y="1626"/>
                  </a:lnTo>
                  <a:lnTo>
                    <a:pt x="348" y="1620"/>
                  </a:lnTo>
                  <a:lnTo>
                    <a:pt x="342" y="1620"/>
                  </a:lnTo>
                  <a:lnTo>
                    <a:pt x="348" y="1614"/>
                  </a:lnTo>
                  <a:lnTo>
                    <a:pt x="324" y="1566"/>
                  </a:lnTo>
                  <a:lnTo>
                    <a:pt x="318" y="1566"/>
                  </a:lnTo>
                  <a:lnTo>
                    <a:pt x="306" y="1572"/>
                  </a:lnTo>
                  <a:lnTo>
                    <a:pt x="300" y="1572"/>
                  </a:lnTo>
                  <a:lnTo>
                    <a:pt x="294" y="1578"/>
                  </a:lnTo>
                  <a:lnTo>
                    <a:pt x="288" y="1584"/>
                  </a:lnTo>
                  <a:lnTo>
                    <a:pt x="282" y="1584"/>
                  </a:lnTo>
                  <a:lnTo>
                    <a:pt x="282" y="1578"/>
                  </a:lnTo>
                  <a:lnTo>
                    <a:pt x="276" y="1578"/>
                  </a:lnTo>
                  <a:lnTo>
                    <a:pt x="270" y="1578"/>
                  </a:lnTo>
                  <a:lnTo>
                    <a:pt x="264" y="1578"/>
                  </a:lnTo>
                  <a:lnTo>
                    <a:pt x="258" y="1578"/>
                  </a:lnTo>
                  <a:lnTo>
                    <a:pt x="252" y="1578"/>
                  </a:lnTo>
                  <a:lnTo>
                    <a:pt x="252" y="1584"/>
                  </a:lnTo>
                  <a:lnTo>
                    <a:pt x="246" y="1584"/>
                  </a:lnTo>
                  <a:lnTo>
                    <a:pt x="210" y="1584"/>
                  </a:lnTo>
                  <a:lnTo>
                    <a:pt x="204" y="1584"/>
                  </a:lnTo>
                  <a:lnTo>
                    <a:pt x="192" y="1584"/>
                  </a:lnTo>
                  <a:lnTo>
                    <a:pt x="168" y="1596"/>
                  </a:lnTo>
                  <a:lnTo>
                    <a:pt x="156" y="1572"/>
                  </a:lnTo>
                  <a:lnTo>
                    <a:pt x="156" y="1566"/>
                  </a:lnTo>
                  <a:lnTo>
                    <a:pt x="156" y="1560"/>
                  </a:lnTo>
                  <a:lnTo>
                    <a:pt x="162" y="1548"/>
                  </a:lnTo>
                  <a:lnTo>
                    <a:pt x="162" y="1542"/>
                  </a:lnTo>
                  <a:lnTo>
                    <a:pt x="162" y="1536"/>
                  </a:lnTo>
                  <a:lnTo>
                    <a:pt x="168" y="1530"/>
                  </a:lnTo>
                  <a:lnTo>
                    <a:pt x="168" y="1524"/>
                  </a:lnTo>
                  <a:lnTo>
                    <a:pt x="168" y="1518"/>
                  </a:lnTo>
                  <a:lnTo>
                    <a:pt x="174" y="1518"/>
                  </a:lnTo>
                  <a:lnTo>
                    <a:pt x="174" y="1506"/>
                  </a:lnTo>
                  <a:lnTo>
                    <a:pt x="156" y="1470"/>
                  </a:lnTo>
                  <a:lnTo>
                    <a:pt x="138" y="1464"/>
                  </a:lnTo>
                  <a:lnTo>
                    <a:pt x="126" y="1446"/>
                  </a:lnTo>
                  <a:lnTo>
                    <a:pt x="126" y="1440"/>
                  </a:lnTo>
                  <a:lnTo>
                    <a:pt x="126" y="1434"/>
                  </a:lnTo>
                  <a:lnTo>
                    <a:pt x="120" y="1428"/>
                  </a:lnTo>
                  <a:lnTo>
                    <a:pt x="126" y="1398"/>
                  </a:lnTo>
                  <a:lnTo>
                    <a:pt x="120" y="1374"/>
                  </a:lnTo>
                  <a:lnTo>
                    <a:pt x="60" y="1374"/>
                  </a:lnTo>
                  <a:lnTo>
                    <a:pt x="60" y="1368"/>
                  </a:lnTo>
                  <a:lnTo>
                    <a:pt x="54" y="1362"/>
                  </a:lnTo>
                  <a:lnTo>
                    <a:pt x="48" y="1356"/>
                  </a:lnTo>
                  <a:lnTo>
                    <a:pt x="42" y="1356"/>
                  </a:lnTo>
                  <a:lnTo>
                    <a:pt x="42" y="1350"/>
                  </a:lnTo>
                  <a:lnTo>
                    <a:pt x="36" y="1344"/>
                  </a:lnTo>
                  <a:lnTo>
                    <a:pt x="36" y="1338"/>
                  </a:lnTo>
                  <a:lnTo>
                    <a:pt x="30" y="1332"/>
                  </a:lnTo>
                  <a:lnTo>
                    <a:pt x="30" y="1326"/>
                  </a:lnTo>
                  <a:lnTo>
                    <a:pt x="18" y="1326"/>
                  </a:lnTo>
                  <a:lnTo>
                    <a:pt x="18" y="1320"/>
                  </a:lnTo>
                  <a:lnTo>
                    <a:pt x="18" y="1326"/>
                  </a:lnTo>
                  <a:lnTo>
                    <a:pt x="6" y="1320"/>
                  </a:lnTo>
                  <a:lnTo>
                    <a:pt x="0" y="1314"/>
                  </a:lnTo>
                  <a:lnTo>
                    <a:pt x="12" y="1266"/>
                  </a:lnTo>
                  <a:lnTo>
                    <a:pt x="6" y="1242"/>
                  </a:lnTo>
                  <a:lnTo>
                    <a:pt x="12" y="1236"/>
                  </a:lnTo>
                  <a:lnTo>
                    <a:pt x="12" y="1230"/>
                  </a:lnTo>
                  <a:lnTo>
                    <a:pt x="18" y="1230"/>
                  </a:lnTo>
                  <a:lnTo>
                    <a:pt x="18" y="1224"/>
                  </a:lnTo>
                  <a:lnTo>
                    <a:pt x="24" y="1218"/>
                  </a:lnTo>
                  <a:lnTo>
                    <a:pt x="24" y="1212"/>
                  </a:lnTo>
                  <a:lnTo>
                    <a:pt x="30" y="1212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48" y="1188"/>
                  </a:lnTo>
                  <a:lnTo>
                    <a:pt x="48" y="1182"/>
                  </a:lnTo>
                  <a:lnTo>
                    <a:pt x="48" y="1176"/>
                  </a:lnTo>
                  <a:lnTo>
                    <a:pt x="48" y="1170"/>
                  </a:lnTo>
                  <a:lnTo>
                    <a:pt x="54" y="1170"/>
                  </a:lnTo>
                  <a:lnTo>
                    <a:pt x="60" y="1164"/>
                  </a:lnTo>
                  <a:lnTo>
                    <a:pt x="60" y="1158"/>
                  </a:lnTo>
                  <a:lnTo>
                    <a:pt x="66" y="1152"/>
                  </a:lnTo>
                  <a:lnTo>
                    <a:pt x="60" y="1140"/>
                  </a:lnTo>
                  <a:lnTo>
                    <a:pt x="60" y="1134"/>
                  </a:lnTo>
                  <a:lnTo>
                    <a:pt x="54" y="1134"/>
                  </a:lnTo>
                  <a:lnTo>
                    <a:pt x="54" y="1128"/>
                  </a:lnTo>
                  <a:lnTo>
                    <a:pt x="48" y="1122"/>
                  </a:lnTo>
                  <a:lnTo>
                    <a:pt x="48" y="1116"/>
                  </a:lnTo>
                  <a:lnTo>
                    <a:pt x="48" y="1110"/>
                  </a:lnTo>
                  <a:lnTo>
                    <a:pt x="42" y="1104"/>
                  </a:lnTo>
                  <a:lnTo>
                    <a:pt x="42" y="1098"/>
                  </a:lnTo>
                  <a:lnTo>
                    <a:pt x="36" y="1092"/>
                  </a:lnTo>
                  <a:lnTo>
                    <a:pt x="30" y="1092"/>
                  </a:lnTo>
                  <a:lnTo>
                    <a:pt x="24" y="1092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18" y="1080"/>
                  </a:lnTo>
                  <a:lnTo>
                    <a:pt x="18" y="1074"/>
                  </a:lnTo>
                  <a:lnTo>
                    <a:pt x="12" y="1068"/>
                  </a:lnTo>
                  <a:lnTo>
                    <a:pt x="6" y="1068"/>
                  </a:lnTo>
                  <a:lnTo>
                    <a:pt x="12" y="1056"/>
                  </a:lnTo>
                  <a:lnTo>
                    <a:pt x="6" y="1056"/>
                  </a:lnTo>
                  <a:lnTo>
                    <a:pt x="6" y="1050"/>
                  </a:lnTo>
                  <a:lnTo>
                    <a:pt x="6" y="1044"/>
                  </a:lnTo>
                  <a:lnTo>
                    <a:pt x="6" y="1026"/>
                  </a:lnTo>
                  <a:lnTo>
                    <a:pt x="12" y="1020"/>
                  </a:lnTo>
                  <a:lnTo>
                    <a:pt x="12" y="1014"/>
                  </a:lnTo>
                  <a:lnTo>
                    <a:pt x="18" y="1014"/>
                  </a:lnTo>
                  <a:lnTo>
                    <a:pt x="18" y="1008"/>
                  </a:lnTo>
                  <a:lnTo>
                    <a:pt x="18" y="1002"/>
                  </a:lnTo>
                  <a:lnTo>
                    <a:pt x="18" y="990"/>
                  </a:lnTo>
                  <a:lnTo>
                    <a:pt x="12" y="972"/>
                  </a:lnTo>
                  <a:lnTo>
                    <a:pt x="18" y="954"/>
                  </a:lnTo>
                  <a:lnTo>
                    <a:pt x="18" y="948"/>
                  </a:lnTo>
                  <a:lnTo>
                    <a:pt x="24" y="948"/>
                  </a:lnTo>
                  <a:lnTo>
                    <a:pt x="24" y="930"/>
                  </a:lnTo>
                  <a:lnTo>
                    <a:pt x="30" y="930"/>
                  </a:lnTo>
                  <a:lnTo>
                    <a:pt x="36" y="918"/>
                  </a:lnTo>
                  <a:lnTo>
                    <a:pt x="42" y="918"/>
                  </a:lnTo>
                  <a:lnTo>
                    <a:pt x="48" y="918"/>
                  </a:lnTo>
                  <a:lnTo>
                    <a:pt x="78" y="912"/>
                  </a:lnTo>
                  <a:lnTo>
                    <a:pt x="90" y="894"/>
                  </a:lnTo>
                  <a:lnTo>
                    <a:pt x="96" y="894"/>
                  </a:lnTo>
                  <a:lnTo>
                    <a:pt x="102" y="888"/>
                  </a:lnTo>
                  <a:lnTo>
                    <a:pt x="102" y="882"/>
                  </a:lnTo>
                  <a:lnTo>
                    <a:pt x="114" y="870"/>
                  </a:lnTo>
                  <a:lnTo>
                    <a:pt x="120" y="864"/>
                  </a:lnTo>
                  <a:lnTo>
                    <a:pt x="120" y="852"/>
                  </a:lnTo>
                  <a:lnTo>
                    <a:pt x="120" y="846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32" y="840"/>
                  </a:lnTo>
                  <a:lnTo>
                    <a:pt x="138" y="840"/>
                  </a:lnTo>
                  <a:lnTo>
                    <a:pt x="138" y="834"/>
                  </a:lnTo>
                  <a:lnTo>
                    <a:pt x="144" y="834"/>
                  </a:lnTo>
                  <a:lnTo>
                    <a:pt x="144" y="828"/>
                  </a:lnTo>
                  <a:lnTo>
                    <a:pt x="150" y="828"/>
                  </a:lnTo>
                  <a:lnTo>
                    <a:pt x="156" y="822"/>
                  </a:lnTo>
                  <a:lnTo>
                    <a:pt x="162" y="816"/>
                  </a:lnTo>
                  <a:lnTo>
                    <a:pt x="162" y="822"/>
                  </a:lnTo>
                  <a:lnTo>
                    <a:pt x="162" y="816"/>
                  </a:lnTo>
                  <a:lnTo>
                    <a:pt x="162" y="810"/>
                  </a:lnTo>
                  <a:lnTo>
                    <a:pt x="168" y="810"/>
                  </a:lnTo>
                  <a:lnTo>
                    <a:pt x="174" y="804"/>
                  </a:lnTo>
                  <a:lnTo>
                    <a:pt x="180" y="798"/>
                  </a:lnTo>
                  <a:lnTo>
                    <a:pt x="180" y="786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8" y="780"/>
                  </a:lnTo>
                  <a:lnTo>
                    <a:pt x="204" y="774"/>
                  </a:lnTo>
                  <a:lnTo>
                    <a:pt x="210" y="774"/>
                  </a:lnTo>
                  <a:lnTo>
                    <a:pt x="216" y="768"/>
                  </a:lnTo>
                  <a:lnTo>
                    <a:pt x="222" y="762"/>
                  </a:lnTo>
                  <a:lnTo>
                    <a:pt x="228" y="762"/>
                  </a:lnTo>
                  <a:lnTo>
                    <a:pt x="228" y="768"/>
                  </a:lnTo>
                  <a:lnTo>
                    <a:pt x="234" y="768"/>
                  </a:lnTo>
                  <a:lnTo>
                    <a:pt x="240" y="762"/>
                  </a:lnTo>
                  <a:lnTo>
                    <a:pt x="252" y="762"/>
                  </a:lnTo>
                  <a:lnTo>
                    <a:pt x="264" y="768"/>
                  </a:lnTo>
                  <a:lnTo>
                    <a:pt x="294" y="756"/>
                  </a:lnTo>
                  <a:lnTo>
                    <a:pt x="294" y="750"/>
                  </a:lnTo>
                  <a:lnTo>
                    <a:pt x="300" y="750"/>
                  </a:lnTo>
                  <a:lnTo>
                    <a:pt x="306" y="744"/>
                  </a:lnTo>
                  <a:lnTo>
                    <a:pt x="342" y="750"/>
                  </a:lnTo>
                  <a:lnTo>
                    <a:pt x="348" y="750"/>
                  </a:lnTo>
                  <a:lnTo>
                    <a:pt x="348" y="744"/>
                  </a:lnTo>
                  <a:lnTo>
                    <a:pt x="354" y="744"/>
                  </a:lnTo>
                  <a:lnTo>
                    <a:pt x="360" y="744"/>
                  </a:lnTo>
                  <a:lnTo>
                    <a:pt x="360" y="750"/>
                  </a:lnTo>
                  <a:lnTo>
                    <a:pt x="366" y="750"/>
                  </a:lnTo>
                  <a:lnTo>
                    <a:pt x="366" y="744"/>
                  </a:lnTo>
                  <a:lnTo>
                    <a:pt x="366" y="738"/>
                  </a:lnTo>
                  <a:lnTo>
                    <a:pt x="372" y="744"/>
                  </a:lnTo>
                  <a:lnTo>
                    <a:pt x="378" y="744"/>
                  </a:lnTo>
                  <a:lnTo>
                    <a:pt x="384" y="750"/>
                  </a:lnTo>
                  <a:lnTo>
                    <a:pt x="444" y="774"/>
                  </a:lnTo>
                  <a:lnTo>
                    <a:pt x="450" y="774"/>
                  </a:lnTo>
                  <a:lnTo>
                    <a:pt x="456" y="768"/>
                  </a:lnTo>
                  <a:lnTo>
                    <a:pt x="462" y="768"/>
                  </a:lnTo>
                  <a:lnTo>
                    <a:pt x="462" y="762"/>
                  </a:lnTo>
                  <a:lnTo>
                    <a:pt x="468" y="762"/>
                  </a:lnTo>
                  <a:lnTo>
                    <a:pt x="474" y="756"/>
                  </a:lnTo>
                  <a:lnTo>
                    <a:pt x="480" y="750"/>
                  </a:lnTo>
                  <a:lnTo>
                    <a:pt x="516" y="756"/>
                  </a:lnTo>
                  <a:lnTo>
                    <a:pt x="522" y="756"/>
                  </a:lnTo>
                  <a:lnTo>
                    <a:pt x="522" y="762"/>
                  </a:lnTo>
                  <a:lnTo>
                    <a:pt x="522" y="768"/>
                  </a:lnTo>
                  <a:lnTo>
                    <a:pt x="522" y="774"/>
                  </a:lnTo>
                  <a:lnTo>
                    <a:pt x="528" y="780"/>
                  </a:lnTo>
                  <a:lnTo>
                    <a:pt x="540" y="780"/>
                  </a:lnTo>
                  <a:lnTo>
                    <a:pt x="540" y="804"/>
                  </a:lnTo>
                  <a:lnTo>
                    <a:pt x="540" y="810"/>
                  </a:lnTo>
                  <a:lnTo>
                    <a:pt x="546" y="810"/>
                  </a:lnTo>
                  <a:lnTo>
                    <a:pt x="552" y="810"/>
                  </a:lnTo>
                  <a:lnTo>
                    <a:pt x="558" y="810"/>
                  </a:lnTo>
                  <a:lnTo>
                    <a:pt x="564" y="810"/>
                  </a:lnTo>
                  <a:lnTo>
                    <a:pt x="570" y="810"/>
                  </a:lnTo>
                  <a:lnTo>
                    <a:pt x="576" y="810"/>
                  </a:lnTo>
                  <a:lnTo>
                    <a:pt x="576" y="816"/>
                  </a:lnTo>
                  <a:lnTo>
                    <a:pt x="588" y="816"/>
                  </a:lnTo>
                  <a:lnTo>
                    <a:pt x="594" y="816"/>
                  </a:lnTo>
                  <a:lnTo>
                    <a:pt x="600" y="822"/>
                  </a:lnTo>
                  <a:lnTo>
                    <a:pt x="606" y="816"/>
                  </a:lnTo>
                  <a:lnTo>
                    <a:pt x="612" y="816"/>
                  </a:lnTo>
                  <a:lnTo>
                    <a:pt x="612" y="810"/>
                  </a:lnTo>
                  <a:lnTo>
                    <a:pt x="624" y="810"/>
                  </a:lnTo>
                  <a:lnTo>
                    <a:pt x="624" y="804"/>
                  </a:lnTo>
                  <a:lnTo>
                    <a:pt x="630" y="798"/>
                  </a:lnTo>
                  <a:lnTo>
                    <a:pt x="636" y="798"/>
                  </a:lnTo>
                  <a:lnTo>
                    <a:pt x="636" y="804"/>
                  </a:lnTo>
                  <a:lnTo>
                    <a:pt x="642" y="804"/>
                  </a:lnTo>
                  <a:lnTo>
                    <a:pt x="648" y="804"/>
                  </a:lnTo>
                  <a:lnTo>
                    <a:pt x="654" y="804"/>
                  </a:lnTo>
                  <a:lnTo>
                    <a:pt x="660" y="804"/>
                  </a:lnTo>
                  <a:lnTo>
                    <a:pt x="678" y="798"/>
                  </a:lnTo>
                  <a:lnTo>
                    <a:pt x="714" y="786"/>
                  </a:lnTo>
                  <a:lnTo>
                    <a:pt x="714" y="792"/>
                  </a:lnTo>
                  <a:lnTo>
                    <a:pt x="714" y="798"/>
                  </a:lnTo>
                  <a:lnTo>
                    <a:pt x="714" y="804"/>
                  </a:lnTo>
                  <a:lnTo>
                    <a:pt x="720" y="804"/>
                  </a:lnTo>
                  <a:lnTo>
                    <a:pt x="720" y="810"/>
                  </a:lnTo>
                  <a:lnTo>
                    <a:pt x="720" y="816"/>
                  </a:lnTo>
                  <a:lnTo>
                    <a:pt x="726" y="822"/>
                  </a:lnTo>
                  <a:lnTo>
                    <a:pt x="732" y="828"/>
                  </a:lnTo>
                  <a:lnTo>
                    <a:pt x="732" y="834"/>
                  </a:lnTo>
                  <a:lnTo>
                    <a:pt x="732" y="846"/>
                  </a:lnTo>
                  <a:lnTo>
                    <a:pt x="732" y="858"/>
                  </a:lnTo>
                  <a:lnTo>
                    <a:pt x="738" y="858"/>
                  </a:lnTo>
                  <a:lnTo>
                    <a:pt x="732" y="864"/>
                  </a:lnTo>
                  <a:lnTo>
                    <a:pt x="732" y="870"/>
                  </a:lnTo>
                  <a:lnTo>
                    <a:pt x="726" y="870"/>
                  </a:lnTo>
                  <a:lnTo>
                    <a:pt x="726" y="876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0" y="882"/>
                  </a:lnTo>
                  <a:lnTo>
                    <a:pt x="690" y="912"/>
                  </a:lnTo>
                  <a:lnTo>
                    <a:pt x="696" y="936"/>
                  </a:lnTo>
                  <a:lnTo>
                    <a:pt x="702" y="936"/>
                  </a:lnTo>
                  <a:lnTo>
                    <a:pt x="702" y="930"/>
                  </a:lnTo>
                  <a:lnTo>
                    <a:pt x="708" y="930"/>
                  </a:lnTo>
                  <a:lnTo>
                    <a:pt x="708" y="924"/>
                  </a:lnTo>
                  <a:lnTo>
                    <a:pt x="708" y="918"/>
                  </a:lnTo>
                  <a:lnTo>
                    <a:pt x="714" y="918"/>
                  </a:lnTo>
                  <a:lnTo>
                    <a:pt x="720" y="954"/>
                  </a:lnTo>
                  <a:lnTo>
                    <a:pt x="726" y="966"/>
                  </a:lnTo>
                  <a:lnTo>
                    <a:pt x="744" y="966"/>
                  </a:lnTo>
                  <a:lnTo>
                    <a:pt x="756" y="972"/>
                  </a:lnTo>
                  <a:lnTo>
                    <a:pt x="792" y="990"/>
                  </a:lnTo>
                  <a:lnTo>
                    <a:pt x="828" y="978"/>
                  </a:lnTo>
                  <a:lnTo>
                    <a:pt x="834" y="978"/>
                  </a:lnTo>
                  <a:lnTo>
                    <a:pt x="840" y="978"/>
                  </a:lnTo>
                  <a:lnTo>
                    <a:pt x="840" y="984"/>
                  </a:lnTo>
                  <a:lnTo>
                    <a:pt x="846" y="984"/>
                  </a:lnTo>
                  <a:lnTo>
                    <a:pt x="858" y="972"/>
                  </a:lnTo>
                  <a:lnTo>
                    <a:pt x="882" y="972"/>
                  </a:lnTo>
                  <a:lnTo>
                    <a:pt x="888" y="984"/>
                  </a:lnTo>
                  <a:lnTo>
                    <a:pt x="900" y="990"/>
                  </a:lnTo>
                  <a:lnTo>
                    <a:pt x="924" y="996"/>
                  </a:lnTo>
                  <a:lnTo>
                    <a:pt x="930" y="990"/>
                  </a:lnTo>
                  <a:lnTo>
                    <a:pt x="930" y="984"/>
                  </a:lnTo>
                  <a:lnTo>
                    <a:pt x="924" y="978"/>
                  </a:lnTo>
                  <a:lnTo>
                    <a:pt x="906" y="972"/>
                  </a:lnTo>
                  <a:lnTo>
                    <a:pt x="900" y="966"/>
                  </a:lnTo>
                  <a:lnTo>
                    <a:pt x="900" y="960"/>
                  </a:lnTo>
                  <a:lnTo>
                    <a:pt x="900" y="954"/>
                  </a:lnTo>
                  <a:lnTo>
                    <a:pt x="900" y="948"/>
                  </a:lnTo>
                  <a:lnTo>
                    <a:pt x="912" y="936"/>
                  </a:lnTo>
                  <a:lnTo>
                    <a:pt x="912" y="924"/>
                  </a:lnTo>
                  <a:lnTo>
                    <a:pt x="918" y="924"/>
                  </a:lnTo>
                  <a:lnTo>
                    <a:pt x="918" y="918"/>
                  </a:lnTo>
                  <a:lnTo>
                    <a:pt x="936" y="906"/>
                  </a:lnTo>
                  <a:lnTo>
                    <a:pt x="942" y="906"/>
                  </a:lnTo>
                  <a:lnTo>
                    <a:pt x="948" y="906"/>
                  </a:lnTo>
                  <a:lnTo>
                    <a:pt x="954" y="906"/>
                  </a:lnTo>
                  <a:lnTo>
                    <a:pt x="960" y="906"/>
                  </a:lnTo>
                  <a:lnTo>
                    <a:pt x="966" y="912"/>
                  </a:lnTo>
                  <a:lnTo>
                    <a:pt x="972" y="906"/>
                  </a:lnTo>
                  <a:lnTo>
                    <a:pt x="978" y="906"/>
                  </a:lnTo>
                  <a:lnTo>
                    <a:pt x="984" y="900"/>
                  </a:lnTo>
                  <a:lnTo>
                    <a:pt x="984" y="894"/>
                  </a:lnTo>
                  <a:lnTo>
                    <a:pt x="990" y="894"/>
                  </a:lnTo>
                  <a:lnTo>
                    <a:pt x="996" y="888"/>
                  </a:lnTo>
                  <a:lnTo>
                    <a:pt x="1002" y="888"/>
                  </a:lnTo>
                  <a:lnTo>
                    <a:pt x="1008" y="882"/>
                  </a:lnTo>
                  <a:lnTo>
                    <a:pt x="1014" y="882"/>
                  </a:lnTo>
                  <a:lnTo>
                    <a:pt x="1020" y="882"/>
                  </a:lnTo>
                  <a:lnTo>
                    <a:pt x="1020" y="888"/>
                  </a:lnTo>
                  <a:lnTo>
                    <a:pt x="1026" y="882"/>
                  </a:lnTo>
                  <a:lnTo>
                    <a:pt x="1026" y="876"/>
                  </a:lnTo>
                  <a:lnTo>
                    <a:pt x="1026" y="870"/>
                  </a:lnTo>
                  <a:lnTo>
                    <a:pt x="1032" y="864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44" y="852"/>
                  </a:lnTo>
                  <a:lnTo>
                    <a:pt x="1038" y="846"/>
                  </a:lnTo>
                  <a:lnTo>
                    <a:pt x="1038" y="840"/>
                  </a:lnTo>
                  <a:lnTo>
                    <a:pt x="1032" y="840"/>
                  </a:lnTo>
                  <a:lnTo>
                    <a:pt x="1026" y="840"/>
                  </a:lnTo>
                  <a:lnTo>
                    <a:pt x="1020" y="840"/>
                  </a:lnTo>
                  <a:lnTo>
                    <a:pt x="1014" y="846"/>
                  </a:lnTo>
                  <a:lnTo>
                    <a:pt x="1008" y="846"/>
                  </a:lnTo>
                  <a:lnTo>
                    <a:pt x="1002" y="840"/>
                  </a:lnTo>
                  <a:lnTo>
                    <a:pt x="996" y="840"/>
                  </a:lnTo>
                  <a:lnTo>
                    <a:pt x="990" y="834"/>
                  </a:lnTo>
                  <a:lnTo>
                    <a:pt x="984" y="834"/>
                  </a:lnTo>
                  <a:lnTo>
                    <a:pt x="978" y="834"/>
                  </a:lnTo>
                  <a:lnTo>
                    <a:pt x="972" y="834"/>
                  </a:lnTo>
                  <a:lnTo>
                    <a:pt x="966" y="834"/>
                  </a:lnTo>
                  <a:lnTo>
                    <a:pt x="966" y="828"/>
                  </a:lnTo>
                  <a:lnTo>
                    <a:pt x="960" y="828"/>
                  </a:lnTo>
                  <a:lnTo>
                    <a:pt x="954" y="828"/>
                  </a:lnTo>
                  <a:lnTo>
                    <a:pt x="942" y="828"/>
                  </a:lnTo>
                  <a:lnTo>
                    <a:pt x="936" y="828"/>
                  </a:lnTo>
                  <a:lnTo>
                    <a:pt x="930" y="828"/>
                  </a:lnTo>
                  <a:lnTo>
                    <a:pt x="918" y="828"/>
                  </a:lnTo>
                  <a:lnTo>
                    <a:pt x="918" y="822"/>
                  </a:lnTo>
                  <a:lnTo>
                    <a:pt x="912" y="828"/>
                  </a:lnTo>
                  <a:lnTo>
                    <a:pt x="912" y="822"/>
                  </a:lnTo>
                  <a:lnTo>
                    <a:pt x="906" y="816"/>
                  </a:lnTo>
                  <a:lnTo>
                    <a:pt x="900" y="816"/>
                  </a:lnTo>
                  <a:lnTo>
                    <a:pt x="894" y="816"/>
                  </a:lnTo>
                  <a:lnTo>
                    <a:pt x="888" y="816"/>
                  </a:lnTo>
                  <a:lnTo>
                    <a:pt x="882" y="816"/>
                  </a:lnTo>
                  <a:lnTo>
                    <a:pt x="882" y="810"/>
                  </a:lnTo>
                  <a:lnTo>
                    <a:pt x="876" y="804"/>
                  </a:lnTo>
                  <a:lnTo>
                    <a:pt x="870" y="804"/>
                  </a:lnTo>
                  <a:lnTo>
                    <a:pt x="864" y="798"/>
                  </a:lnTo>
                  <a:lnTo>
                    <a:pt x="858" y="798"/>
                  </a:lnTo>
                  <a:lnTo>
                    <a:pt x="858" y="804"/>
                  </a:lnTo>
                  <a:lnTo>
                    <a:pt x="852" y="804"/>
                  </a:lnTo>
                  <a:lnTo>
                    <a:pt x="846" y="804"/>
                  </a:lnTo>
                  <a:lnTo>
                    <a:pt x="846" y="798"/>
                  </a:lnTo>
                  <a:lnTo>
                    <a:pt x="840" y="804"/>
                  </a:lnTo>
                  <a:lnTo>
                    <a:pt x="834" y="804"/>
                  </a:lnTo>
                  <a:lnTo>
                    <a:pt x="828" y="804"/>
                  </a:lnTo>
                  <a:lnTo>
                    <a:pt x="828" y="810"/>
                  </a:lnTo>
                  <a:lnTo>
                    <a:pt x="822" y="810"/>
                  </a:lnTo>
                  <a:lnTo>
                    <a:pt x="810" y="804"/>
                  </a:lnTo>
                  <a:lnTo>
                    <a:pt x="810" y="798"/>
                  </a:lnTo>
                  <a:lnTo>
                    <a:pt x="780" y="798"/>
                  </a:lnTo>
                  <a:lnTo>
                    <a:pt x="756" y="774"/>
                  </a:lnTo>
                  <a:lnTo>
                    <a:pt x="750" y="768"/>
                  </a:lnTo>
                  <a:lnTo>
                    <a:pt x="750" y="744"/>
                  </a:lnTo>
                  <a:lnTo>
                    <a:pt x="732" y="738"/>
                  </a:lnTo>
                  <a:lnTo>
                    <a:pt x="732" y="720"/>
                  </a:lnTo>
                  <a:lnTo>
                    <a:pt x="714" y="690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6" y="666"/>
                  </a:lnTo>
                  <a:lnTo>
                    <a:pt x="690" y="666"/>
                  </a:lnTo>
                  <a:lnTo>
                    <a:pt x="678" y="672"/>
                  </a:lnTo>
                  <a:lnTo>
                    <a:pt x="678" y="654"/>
                  </a:lnTo>
                  <a:lnTo>
                    <a:pt x="684" y="630"/>
                  </a:lnTo>
                  <a:lnTo>
                    <a:pt x="690" y="618"/>
                  </a:lnTo>
                  <a:lnTo>
                    <a:pt x="696" y="612"/>
                  </a:lnTo>
                  <a:lnTo>
                    <a:pt x="696" y="588"/>
                  </a:lnTo>
                  <a:lnTo>
                    <a:pt x="690" y="576"/>
                  </a:lnTo>
                  <a:lnTo>
                    <a:pt x="696" y="552"/>
                  </a:lnTo>
                  <a:lnTo>
                    <a:pt x="684" y="522"/>
                  </a:lnTo>
                  <a:lnTo>
                    <a:pt x="672" y="504"/>
                  </a:lnTo>
                  <a:lnTo>
                    <a:pt x="654" y="504"/>
                  </a:lnTo>
                  <a:lnTo>
                    <a:pt x="642" y="504"/>
                  </a:lnTo>
                  <a:lnTo>
                    <a:pt x="624" y="510"/>
                  </a:lnTo>
                  <a:lnTo>
                    <a:pt x="612" y="516"/>
                  </a:lnTo>
                  <a:lnTo>
                    <a:pt x="594" y="516"/>
                  </a:lnTo>
                  <a:lnTo>
                    <a:pt x="588" y="516"/>
                  </a:lnTo>
                  <a:lnTo>
                    <a:pt x="588" y="522"/>
                  </a:lnTo>
                  <a:lnTo>
                    <a:pt x="582" y="516"/>
                  </a:lnTo>
                  <a:lnTo>
                    <a:pt x="588" y="510"/>
                  </a:lnTo>
                  <a:lnTo>
                    <a:pt x="582" y="510"/>
                  </a:lnTo>
                  <a:lnTo>
                    <a:pt x="582" y="504"/>
                  </a:lnTo>
                  <a:lnTo>
                    <a:pt x="576" y="498"/>
                  </a:lnTo>
                  <a:lnTo>
                    <a:pt x="570" y="498"/>
                  </a:lnTo>
                  <a:lnTo>
                    <a:pt x="570" y="492"/>
                  </a:lnTo>
                  <a:lnTo>
                    <a:pt x="564" y="492"/>
                  </a:lnTo>
                  <a:lnTo>
                    <a:pt x="570" y="486"/>
                  </a:lnTo>
                  <a:lnTo>
                    <a:pt x="564" y="486"/>
                  </a:lnTo>
                  <a:lnTo>
                    <a:pt x="564" y="480"/>
                  </a:lnTo>
                  <a:lnTo>
                    <a:pt x="564" y="474"/>
                  </a:lnTo>
                  <a:lnTo>
                    <a:pt x="558" y="468"/>
                  </a:lnTo>
                  <a:lnTo>
                    <a:pt x="564" y="468"/>
                  </a:lnTo>
                  <a:lnTo>
                    <a:pt x="564" y="462"/>
                  </a:lnTo>
                  <a:lnTo>
                    <a:pt x="570" y="462"/>
                  </a:lnTo>
                  <a:lnTo>
                    <a:pt x="570" y="456"/>
                  </a:lnTo>
                  <a:lnTo>
                    <a:pt x="570" y="450"/>
                  </a:lnTo>
                  <a:lnTo>
                    <a:pt x="576" y="450"/>
                  </a:lnTo>
                  <a:lnTo>
                    <a:pt x="576" y="444"/>
                  </a:lnTo>
                  <a:lnTo>
                    <a:pt x="582" y="438"/>
                  </a:lnTo>
                  <a:lnTo>
                    <a:pt x="588" y="438"/>
                  </a:lnTo>
                  <a:lnTo>
                    <a:pt x="588" y="444"/>
                  </a:lnTo>
                  <a:lnTo>
                    <a:pt x="594" y="438"/>
                  </a:lnTo>
                  <a:lnTo>
                    <a:pt x="594" y="432"/>
                  </a:lnTo>
                  <a:lnTo>
                    <a:pt x="600" y="432"/>
                  </a:lnTo>
                  <a:lnTo>
                    <a:pt x="600" y="426"/>
                  </a:lnTo>
                  <a:lnTo>
                    <a:pt x="600" y="420"/>
                  </a:lnTo>
                  <a:lnTo>
                    <a:pt x="606" y="420"/>
                  </a:lnTo>
                  <a:lnTo>
                    <a:pt x="600" y="420"/>
                  </a:lnTo>
                  <a:lnTo>
                    <a:pt x="600" y="414"/>
                  </a:lnTo>
                  <a:lnTo>
                    <a:pt x="606" y="408"/>
                  </a:lnTo>
                  <a:lnTo>
                    <a:pt x="612" y="408"/>
                  </a:lnTo>
                  <a:lnTo>
                    <a:pt x="612" y="414"/>
                  </a:lnTo>
                  <a:lnTo>
                    <a:pt x="618" y="414"/>
                  </a:lnTo>
                  <a:lnTo>
                    <a:pt x="624" y="414"/>
                  </a:lnTo>
                  <a:lnTo>
                    <a:pt x="630" y="414"/>
                  </a:lnTo>
                  <a:lnTo>
                    <a:pt x="636" y="414"/>
                  </a:lnTo>
                  <a:lnTo>
                    <a:pt x="642" y="408"/>
                  </a:lnTo>
                  <a:lnTo>
                    <a:pt x="648" y="408"/>
                  </a:lnTo>
                  <a:lnTo>
                    <a:pt x="660" y="408"/>
                  </a:lnTo>
                  <a:lnTo>
                    <a:pt x="666" y="402"/>
                  </a:lnTo>
                  <a:lnTo>
                    <a:pt x="672" y="402"/>
                  </a:lnTo>
                  <a:lnTo>
                    <a:pt x="684" y="396"/>
                  </a:lnTo>
                  <a:lnTo>
                    <a:pt x="690" y="396"/>
                  </a:lnTo>
                  <a:lnTo>
                    <a:pt x="696" y="396"/>
                  </a:lnTo>
                  <a:lnTo>
                    <a:pt x="702" y="396"/>
                  </a:lnTo>
                  <a:lnTo>
                    <a:pt x="708" y="396"/>
                  </a:lnTo>
                  <a:lnTo>
                    <a:pt x="714" y="390"/>
                  </a:lnTo>
                  <a:lnTo>
                    <a:pt x="714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32" y="384"/>
                  </a:lnTo>
                  <a:lnTo>
                    <a:pt x="738" y="378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56" y="372"/>
                  </a:lnTo>
                  <a:lnTo>
                    <a:pt x="762" y="366"/>
                  </a:lnTo>
                  <a:lnTo>
                    <a:pt x="768" y="366"/>
                  </a:lnTo>
                  <a:lnTo>
                    <a:pt x="774" y="366"/>
                  </a:lnTo>
                  <a:lnTo>
                    <a:pt x="774" y="360"/>
                  </a:lnTo>
                  <a:lnTo>
                    <a:pt x="780" y="366"/>
                  </a:lnTo>
                  <a:lnTo>
                    <a:pt x="786" y="366"/>
                  </a:lnTo>
                  <a:lnTo>
                    <a:pt x="786" y="360"/>
                  </a:lnTo>
                  <a:lnTo>
                    <a:pt x="792" y="354"/>
                  </a:lnTo>
                  <a:lnTo>
                    <a:pt x="786" y="354"/>
                  </a:lnTo>
                  <a:lnTo>
                    <a:pt x="792" y="348"/>
                  </a:lnTo>
                  <a:lnTo>
                    <a:pt x="798" y="348"/>
                  </a:lnTo>
                  <a:lnTo>
                    <a:pt x="804" y="348"/>
                  </a:lnTo>
                  <a:lnTo>
                    <a:pt x="810" y="342"/>
                  </a:lnTo>
                  <a:lnTo>
                    <a:pt x="816" y="342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28" y="336"/>
                  </a:lnTo>
                  <a:lnTo>
                    <a:pt x="834" y="336"/>
                  </a:lnTo>
                  <a:lnTo>
                    <a:pt x="840" y="336"/>
                  </a:lnTo>
                  <a:lnTo>
                    <a:pt x="846" y="330"/>
                  </a:lnTo>
                  <a:lnTo>
                    <a:pt x="852" y="330"/>
                  </a:lnTo>
                  <a:lnTo>
                    <a:pt x="858" y="330"/>
                  </a:lnTo>
                  <a:lnTo>
                    <a:pt x="864" y="324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0" y="312"/>
                  </a:lnTo>
                  <a:lnTo>
                    <a:pt x="876" y="312"/>
                  </a:lnTo>
                  <a:lnTo>
                    <a:pt x="882" y="312"/>
                  </a:lnTo>
                  <a:lnTo>
                    <a:pt x="882" y="318"/>
                  </a:lnTo>
                  <a:lnTo>
                    <a:pt x="888" y="312"/>
                  </a:lnTo>
                  <a:lnTo>
                    <a:pt x="894" y="306"/>
                  </a:lnTo>
                  <a:lnTo>
                    <a:pt x="900" y="306"/>
                  </a:lnTo>
                  <a:lnTo>
                    <a:pt x="906" y="306"/>
                  </a:lnTo>
                  <a:lnTo>
                    <a:pt x="912" y="300"/>
                  </a:lnTo>
                  <a:lnTo>
                    <a:pt x="906" y="294"/>
                  </a:lnTo>
                  <a:lnTo>
                    <a:pt x="912" y="276"/>
                  </a:lnTo>
                  <a:lnTo>
                    <a:pt x="912" y="252"/>
                  </a:lnTo>
                  <a:lnTo>
                    <a:pt x="906" y="234"/>
                  </a:lnTo>
                  <a:lnTo>
                    <a:pt x="912" y="228"/>
                  </a:lnTo>
                  <a:lnTo>
                    <a:pt x="912" y="216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24" y="192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36" y="186"/>
                  </a:lnTo>
                  <a:lnTo>
                    <a:pt x="930" y="180"/>
                  </a:lnTo>
                  <a:lnTo>
                    <a:pt x="930" y="174"/>
                  </a:lnTo>
                  <a:lnTo>
                    <a:pt x="936" y="156"/>
                  </a:lnTo>
                  <a:lnTo>
                    <a:pt x="930" y="156"/>
                  </a:lnTo>
                  <a:lnTo>
                    <a:pt x="924" y="150"/>
                  </a:lnTo>
                  <a:lnTo>
                    <a:pt x="942" y="78"/>
                  </a:lnTo>
                  <a:lnTo>
                    <a:pt x="948" y="78"/>
                  </a:lnTo>
                  <a:lnTo>
                    <a:pt x="954" y="66"/>
                  </a:lnTo>
                  <a:lnTo>
                    <a:pt x="954" y="72"/>
                  </a:lnTo>
                  <a:lnTo>
                    <a:pt x="954" y="66"/>
                  </a:lnTo>
                  <a:lnTo>
                    <a:pt x="960" y="66"/>
                  </a:lnTo>
                  <a:lnTo>
                    <a:pt x="966" y="66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54"/>
                  </a:lnTo>
                  <a:lnTo>
                    <a:pt x="990" y="54"/>
                  </a:lnTo>
                  <a:lnTo>
                    <a:pt x="996" y="48"/>
                  </a:lnTo>
                  <a:lnTo>
                    <a:pt x="1002" y="48"/>
                  </a:lnTo>
                  <a:lnTo>
                    <a:pt x="1032" y="48"/>
                  </a:lnTo>
                  <a:lnTo>
                    <a:pt x="1062" y="48"/>
                  </a:lnTo>
                  <a:lnTo>
                    <a:pt x="1068" y="78"/>
                  </a:lnTo>
                  <a:lnTo>
                    <a:pt x="1086" y="78"/>
                  </a:lnTo>
                  <a:lnTo>
                    <a:pt x="1092" y="66"/>
                  </a:lnTo>
                  <a:lnTo>
                    <a:pt x="1092" y="60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8" y="48"/>
                  </a:lnTo>
                  <a:lnTo>
                    <a:pt x="1104" y="48"/>
                  </a:lnTo>
                  <a:lnTo>
                    <a:pt x="1110" y="48"/>
                  </a:lnTo>
                  <a:lnTo>
                    <a:pt x="1110" y="42"/>
                  </a:lnTo>
                  <a:lnTo>
                    <a:pt x="1110" y="36"/>
                  </a:lnTo>
                  <a:lnTo>
                    <a:pt x="1116" y="36"/>
                  </a:lnTo>
                  <a:lnTo>
                    <a:pt x="1116" y="30"/>
                  </a:lnTo>
                  <a:lnTo>
                    <a:pt x="1122" y="30"/>
                  </a:lnTo>
                  <a:lnTo>
                    <a:pt x="1128" y="30"/>
                  </a:lnTo>
                  <a:lnTo>
                    <a:pt x="1134" y="30"/>
                  </a:lnTo>
                  <a:lnTo>
                    <a:pt x="1140" y="24"/>
                  </a:lnTo>
                  <a:lnTo>
                    <a:pt x="1152" y="18"/>
                  </a:lnTo>
                  <a:lnTo>
                    <a:pt x="1158" y="18"/>
                  </a:lnTo>
                  <a:lnTo>
                    <a:pt x="1152" y="12"/>
                  </a:lnTo>
                  <a:lnTo>
                    <a:pt x="1152" y="6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8"/>
                  </a:lnTo>
                  <a:lnTo>
                    <a:pt x="1170" y="12"/>
                  </a:lnTo>
                  <a:lnTo>
                    <a:pt x="1170" y="6"/>
                  </a:lnTo>
                  <a:lnTo>
                    <a:pt x="1176" y="6"/>
                  </a:lnTo>
                  <a:lnTo>
                    <a:pt x="1176" y="0"/>
                  </a:lnTo>
                  <a:lnTo>
                    <a:pt x="1182" y="6"/>
                  </a:lnTo>
                  <a:lnTo>
                    <a:pt x="1188" y="6"/>
                  </a:lnTo>
                  <a:lnTo>
                    <a:pt x="1188" y="0"/>
                  </a:lnTo>
                  <a:lnTo>
                    <a:pt x="1194" y="6"/>
                  </a:lnTo>
                  <a:lnTo>
                    <a:pt x="1200" y="12"/>
                  </a:lnTo>
                  <a:lnTo>
                    <a:pt x="1206" y="18"/>
                  </a:lnTo>
                  <a:lnTo>
                    <a:pt x="1212" y="18"/>
                  </a:lnTo>
                  <a:lnTo>
                    <a:pt x="1218" y="24"/>
                  </a:lnTo>
                  <a:lnTo>
                    <a:pt x="1236" y="36"/>
                  </a:lnTo>
                  <a:lnTo>
                    <a:pt x="1242" y="36"/>
                  </a:lnTo>
                  <a:lnTo>
                    <a:pt x="1248" y="42"/>
                  </a:lnTo>
                  <a:lnTo>
                    <a:pt x="1248" y="48"/>
                  </a:lnTo>
                  <a:lnTo>
                    <a:pt x="1260" y="48"/>
                  </a:lnTo>
                  <a:lnTo>
                    <a:pt x="1260" y="108"/>
                  </a:lnTo>
                  <a:lnTo>
                    <a:pt x="1266" y="168"/>
                  </a:lnTo>
                  <a:lnTo>
                    <a:pt x="1278" y="234"/>
                  </a:lnTo>
                  <a:lnTo>
                    <a:pt x="1284" y="240"/>
                  </a:lnTo>
                  <a:lnTo>
                    <a:pt x="1290" y="264"/>
                  </a:lnTo>
                  <a:lnTo>
                    <a:pt x="1296" y="288"/>
                  </a:lnTo>
                  <a:lnTo>
                    <a:pt x="1296" y="300"/>
                  </a:lnTo>
                  <a:lnTo>
                    <a:pt x="1296" y="312"/>
                  </a:lnTo>
                  <a:lnTo>
                    <a:pt x="1296" y="324"/>
                  </a:lnTo>
                  <a:lnTo>
                    <a:pt x="1296" y="354"/>
                  </a:lnTo>
                  <a:lnTo>
                    <a:pt x="1302" y="366"/>
                  </a:lnTo>
                  <a:lnTo>
                    <a:pt x="1308" y="372"/>
                  </a:lnTo>
                  <a:lnTo>
                    <a:pt x="1308" y="384"/>
                  </a:lnTo>
                  <a:lnTo>
                    <a:pt x="1314" y="390"/>
                  </a:lnTo>
                  <a:lnTo>
                    <a:pt x="1308" y="408"/>
                  </a:lnTo>
                  <a:lnTo>
                    <a:pt x="1314" y="408"/>
                  </a:lnTo>
                  <a:lnTo>
                    <a:pt x="1314" y="414"/>
                  </a:lnTo>
                  <a:lnTo>
                    <a:pt x="1308" y="420"/>
                  </a:lnTo>
                  <a:lnTo>
                    <a:pt x="1308" y="432"/>
                  </a:lnTo>
                  <a:lnTo>
                    <a:pt x="1320" y="432"/>
                  </a:lnTo>
                  <a:lnTo>
                    <a:pt x="1320" y="444"/>
                  </a:lnTo>
                  <a:lnTo>
                    <a:pt x="1332" y="444"/>
                  </a:lnTo>
                  <a:lnTo>
                    <a:pt x="1338" y="450"/>
                  </a:lnTo>
                  <a:lnTo>
                    <a:pt x="1344" y="456"/>
                  </a:lnTo>
                  <a:lnTo>
                    <a:pt x="1344" y="462"/>
                  </a:lnTo>
                  <a:lnTo>
                    <a:pt x="1344" y="474"/>
                  </a:lnTo>
                  <a:lnTo>
                    <a:pt x="1350" y="474"/>
                  </a:lnTo>
                  <a:lnTo>
                    <a:pt x="1368" y="504"/>
                  </a:lnTo>
                  <a:lnTo>
                    <a:pt x="1374" y="534"/>
                  </a:lnTo>
                  <a:lnTo>
                    <a:pt x="1380" y="558"/>
                  </a:lnTo>
                  <a:lnTo>
                    <a:pt x="1386" y="576"/>
                  </a:lnTo>
                  <a:lnTo>
                    <a:pt x="1386" y="600"/>
                  </a:lnTo>
                  <a:lnTo>
                    <a:pt x="1386" y="624"/>
                  </a:lnTo>
                  <a:lnTo>
                    <a:pt x="1386" y="648"/>
                  </a:lnTo>
                  <a:lnTo>
                    <a:pt x="1386" y="684"/>
                  </a:lnTo>
                  <a:lnTo>
                    <a:pt x="1380" y="684"/>
                  </a:lnTo>
                  <a:lnTo>
                    <a:pt x="1374" y="696"/>
                  </a:lnTo>
                  <a:lnTo>
                    <a:pt x="1368" y="702"/>
                  </a:lnTo>
                  <a:lnTo>
                    <a:pt x="1362" y="708"/>
                  </a:lnTo>
                  <a:lnTo>
                    <a:pt x="1356" y="714"/>
                  </a:lnTo>
                  <a:lnTo>
                    <a:pt x="1350" y="720"/>
                  </a:lnTo>
                  <a:lnTo>
                    <a:pt x="1338" y="720"/>
                  </a:lnTo>
                  <a:lnTo>
                    <a:pt x="1338" y="738"/>
                  </a:lnTo>
                  <a:lnTo>
                    <a:pt x="1362" y="750"/>
                  </a:lnTo>
                  <a:lnTo>
                    <a:pt x="1362" y="756"/>
                  </a:lnTo>
                  <a:lnTo>
                    <a:pt x="1374" y="756"/>
                  </a:lnTo>
                  <a:lnTo>
                    <a:pt x="1410" y="774"/>
                  </a:lnTo>
                  <a:lnTo>
                    <a:pt x="1446" y="774"/>
                  </a:lnTo>
                  <a:lnTo>
                    <a:pt x="1482" y="768"/>
                  </a:lnTo>
                  <a:lnTo>
                    <a:pt x="1500" y="774"/>
                  </a:lnTo>
                  <a:lnTo>
                    <a:pt x="1512" y="78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6" name="Freeform 11">
              <a:extLst>
                <a:ext uri="{FF2B5EF4-FFF2-40B4-BE49-F238E27FC236}">
                  <a16:creationId xmlns:a16="http://schemas.microsoft.com/office/drawing/2014/main" id="{1FF8E66F-B850-456A-B132-C45FEEDE95C6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2475" y="2345643"/>
              <a:ext cx="445003" cy="603855"/>
            </a:xfrm>
            <a:custGeom>
              <a:avLst/>
              <a:gdLst>
                <a:gd name="T0" fmla="*/ 47 w 840"/>
                <a:gd name="T1" fmla="*/ 98 h 1134"/>
                <a:gd name="T2" fmla="*/ 41 w 840"/>
                <a:gd name="T3" fmla="*/ 98 h 1134"/>
                <a:gd name="T4" fmla="*/ 37 w 840"/>
                <a:gd name="T5" fmla="*/ 98 h 1134"/>
                <a:gd name="T6" fmla="*/ 29 w 840"/>
                <a:gd name="T7" fmla="*/ 97 h 1134"/>
                <a:gd name="T8" fmla="*/ 27 w 840"/>
                <a:gd name="T9" fmla="*/ 94 h 1134"/>
                <a:gd name="T10" fmla="*/ 26 w 840"/>
                <a:gd name="T11" fmla="*/ 93 h 1134"/>
                <a:gd name="T12" fmla="*/ 26 w 840"/>
                <a:gd name="T13" fmla="*/ 83 h 1134"/>
                <a:gd name="T14" fmla="*/ 26 w 840"/>
                <a:gd name="T15" fmla="*/ 81 h 1134"/>
                <a:gd name="T16" fmla="*/ 23 w 840"/>
                <a:gd name="T17" fmla="*/ 77 h 1134"/>
                <a:gd name="T18" fmla="*/ 19 w 840"/>
                <a:gd name="T19" fmla="*/ 75 h 1134"/>
                <a:gd name="T20" fmla="*/ 16 w 840"/>
                <a:gd name="T21" fmla="*/ 72 h 1134"/>
                <a:gd name="T22" fmla="*/ 13 w 840"/>
                <a:gd name="T23" fmla="*/ 70 h 1134"/>
                <a:gd name="T24" fmla="*/ 17 w 840"/>
                <a:gd name="T25" fmla="*/ 67 h 1134"/>
                <a:gd name="T26" fmla="*/ 19 w 840"/>
                <a:gd name="T27" fmla="*/ 63 h 1134"/>
                <a:gd name="T28" fmla="*/ 20 w 840"/>
                <a:gd name="T29" fmla="*/ 59 h 1134"/>
                <a:gd name="T30" fmla="*/ 19 w 840"/>
                <a:gd name="T31" fmla="*/ 55 h 1134"/>
                <a:gd name="T32" fmla="*/ 17 w 840"/>
                <a:gd name="T33" fmla="*/ 47 h 1134"/>
                <a:gd name="T34" fmla="*/ 8 w 840"/>
                <a:gd name="T35" fmla="*/ 45 h 1134"/>
                <a:gd name="T36" fmla="*/ 4 w 840"/>
                <a:gd name="T37" fmla="*/ 39 h 1134"/>
                <a:gd name="T38" fmla="*/ 2 w 840"/>
                <a:gd name="T39" fmla="*/ 35 h 1134"/>
                <a:gd name="T40" fmla="*/ 0 w 840"/>
                <a:gd name="T41" fmla="*/ 31 h 1134"/>
                <a:gd name="T42" fmla="*/ 2 w 840"/>
                <a:gd name="T43" fmla="*/ 27 h 1134"/>
                <a:gd name="T44" fmla="*/ 5 w 840"/>
                <a:gd name="T45" fmla="*/ 24 h 1134"/>
                <a:gd name="T46" fmla="*/ 10 w 840"/>
                <a:gd name="T47" fmla="*/ 26 h 1134"/>
                <a:gd name="T48" fmla="*/ 7 w 840"/>
                <a:gd name="T49" fmla="*/ 20 h 1134"/>
                <a:gd name="T50" fmla="*/ 12 w 840"/>
                <a:gd name="T51" fmla="*/ 12 h 1134"/>
                <a:gd name="T52" fmla="*/ 19 w 840"/>
                <a:gd name="T53" fmla="*/ 10 h 1134"/>
                <a:gd name="T54" fmla="*/ 20 w 840"/>
                <a:gd name="T55" fmla="*/ 13 h 1134"/>
                <a:gd name="T56" fmla="*/ 22 w 840"/>
                <a:gd name="T57" fmla="*/ 11 h 1134"/>
                <a:gd name="T58" fmla="*/ 25 w 840"/>
                <a:gd name="T59" fmla="*/ 7 h 1134"/>
                <a:gd name="T60" fmla="*/ 29 w 840"/>
                <a:gd name="T61" fmla="*/ 2 h 1134"/>
                <a:gd name="T62" fmla="*/ 33 w 840"/>
                <a:gd name="T63" fmla="*/ 1 h 1134"/>
                <a:gd name="T64" fmla="*/ 37 w 840"/>
                <a:gd name="T65" fmla="*/ 2 h 1134"/>
                <a:gd name="T66" fmla="*/ 39 w 840"/>
                <a:gd name="T67" fmla="*/ 4 h 1134"/>
                <a:gd name="T68" fmla="*/ 43 w 840"/>
                <a:gd name="T69" fmla="*/ 5 h 1134"/>
                <a:gd name="T70" fmla="*/ 46 w 840"/>
                <a:gd name="T71" fmla="*/ 11 h 1134"/>
                <a:gd name="T72" fmla="*/ 49 w 840"/>
                <a:gd name="T73" fmla="*/ 12 h 1134"/>
                <a:gd name="T74" fmla="*/ 52 w 840"/>
                <a:gd name="T75" fmla="*/ 15 h 1134"/>
                <a:gd name="T76" fmla="*/ 54 w 840"/>
                <a:gd name="T77" fmla="*/ 18 h 1134"/>
                <a:gd name="T78" fmla="*/ 55 w 840"/>
                <a:gd name="T79" fmla="*/ 22 h 1134"/>
                <a:gd name="T80" fmla="*/ 56 w 840"/>
                <a:gd name="T81" fmla="*/ 26 h 1134"/>
                <a:gd name="T82" fmla="*/ 55 w 840"/>
                <a:gd name="T83" fmla="*/ 32 h 1134"/>
                <a:gd name="T84" fmla="*/ 55 w 840"/>
                <a:gd name="T85" fmla="*/ 36 h 1134"/>
                <a:gd name="T86" fmla="*/ 54 w 840"/>
                <a:gd name="T87" fmla="*/ 39 h 1134"/>
                <a:gd name="T88" fmla="*/ 56 w 840"/>
                <a:gd name="T89" fmla="*/ 39 h 1134"/>
                <a:gd name="T90" fmla="*/ 58 w 840"/>
                <a:gd name="T91" fmla="*/ 39 h 1134"/>
                <a:gd name="T92" fmla="*/ 61 w 840"/>
                <a:gd name="T93" fmla="*/ 39 h 1134"/>
                <a:gd name="T94" fmla="*/ 60 w 840"/>
                <a:gd name="T95" fmla="*/ 49 h 1134"/>
                <a:gd name="T96" fmla="*/ 59 w 840"/>
                <a:gd name="T97" fmla="*/ 53 h 1134"/>
                <a:gd name="T98" fmla="*/ 59 w 840"/>
                <a:gd name="T99" fmla="*/ 56 h 1134"/>
                <a:gd name="T100" fmla="*/ 60 w 840"/>
                <a:gd name="T101" fmla="*/ 59 h 1134"/>
                <a:gd name="T102" fmla="*/ 64 w 840"/>
                <a:gd name="T103" fmla="*/ 61 h 1134"/>
                <a:gd name="T104" fmla="*/ 69 w 840"/>
                <a:gd name="T105" fmla="*/ 63 h 1134"/>
                <a:gd name="T106" fmla="*/ 72 w 840"/>
                <a:gd name="T107" fmla="*/ 69 h 1134"/>
                <a:gd name="T108" fmla="*/ 72 w 840"/>
                <a:gd name="T109" fmla="*/ 73 h 1134"/>
                <a:gd name="T110" fmla="*/ 72 w 840"/>
                <a:gd name="T111" fmla="*/ 83 h 1134"/>
                <a:gd name="T112" fmla="*/ 63 w 840"/>
                <a:gd name="T113" fmla="*/ 88 h 1134"/>
                <a:gd name="T114" fmla="*/ 52 w 840"/>
                <a:gd name="T115" fmla="*/ 95 h 11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40"/>
                <a:gd name="T175" fmla="*/ 0 h 1134"/>
                <a:gd name="T176" fmla="*/ 840 w 840"/>
                <a:gd name="T177" fmla="*/ 1134 h 11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40" h="1134">
                  <a:moveTo>
                    <a:pt x="564" y="1110"/>
                  </a:moveTo>
                  <a:lnTo>
                    <a:pt x="564" y="1104"/>
                  </a:lnTo>
                  <a:lnTo>
                    <a:pt x="558" y="1104"/>
                  </a:lnTo>
                  <a:lnTo>
                    <a:pt x="552" y="1110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28" y="1128"/>
                  </a:lnTo>
                  <a:lnTo>
                    <a:pt x="498" y="1128"/>
                  </a:lnTo>
                  <a:lnTo>
                    <a:pt x="492" y="1128"/>
                  </a:lnTo>
                  <a:lnTo>
                    <a:pt x="486" y="1128"/>
                  </a:lnTo>
                  <a:lnTo>
                    <a:pt x="480" y="1128"/>
                  </a:lnTo>
                  <a:lnTo>
                    <a:pt x="474" y="1134"/>
                  </a:lnTo>
                  <a:lnTo>
                    <a:pt x="468" y="1134"/>
                  </a:lnTo>
                  <a:lnTo>
                    <a:pt x="462" y="1134"/>
                  </a:lnTo>
                  <a:lnTo>
                    <a:pt x="456" y="1134"/>
                  </a:lnTo>
                  <a:lnTo>
                    <a:pt x="456" y="1128"/>
                  </a:lnTo>
                  <a:lnTo>
                    <a:pt x="450" y="1122"/>
                  </a:lnTo>
                  <a:lnTo>
                    <a:pt x="426" y="1128"/>
                  </a:lnTo>
                  <a:lnTo>
                    <a:pt x="414" y="1128"/>
                  </a:lnTo>
                  <a:lnTo>
                    <a:pt x="348" y="1134"/>
                  </a:lnTo>
                  <a:lnTo>
                    <a:pt x="348" y="1128"/>
                  </a:lnTo>
                  <a:lnTo>
                    <a:pt x="342" y="1128"/>
                  </a:lnTo>
                  <a:lnTo>
                    <a:pt x="336" y="1122"/>
                  </a:lnTo>
                  <a:lnTo>
                    <a:pt x="330" y="1122"/>
                  </a:lnTo>
                  <a:lnTo>
                    <a:pt x="324" y="1116"/>
                  </a:lnTo>
                  <a:lnTo>
                    <a:pt x="324" y="1110"/>
                  </a:lnTo>
                  <a:lnTo>
                    <a:pt x="318" y="1110"/>
                  </a:lnTo>
                  <a:lnTo>
                    <a:pt x="318" y="1104"/>
                  </a:lnTo>
                  <a:lnTo>
                    <a:pt x="312" y="1092"/>
                  </a:lnTo>
                  <a:lnTo>
                    <a:pt x="306" y="1086"/>
                  </a:lnTo>
                  <a:lnTo>
                    <a:pt x="306" y="1080"/>
                  </a:lnTo>
                  <a:lnTo>
                    <a:pt x="312" y="1074"/>
                  </a:lnTo>
                  <a:lnTo>
                    <a:pt x="306" y="1068"/>
                  </a:lnTo>
                  <a:lnTo>
                    <a:pt x="300" y="1074"/>
                  </a:lnTo>
                  <a:lnTo>
                    <a:pt x="300" y="1068"/>
                  </a:lnTo>
                  <a:lnTo>
                    <a:pt x="294" y="1068"/>
                  </a:lnTo>
                  <a:lnTo>
                    <a:pt x="294" y="1056"/>
                  </a:lnTo>
                  <a:lnTo>
                    <a:pt x="294" y="1026"/>
                  </a:lnTo>
                  <a:lnTo>
                    <a:pt x="294" y="1020"/>
                  </a:lnTo>
                  <a:lnTo>
                    <a:pt x="294" y="1008"/>
                  </a:lnTo>
                  <a:lnTo>
                    <a:pt x="294" y="966"/>
                  </a:lnTo>
                  <a:lnTo>
                    <a:pt x="294" y="960"/>
                  </a:lnTo>
                  <a:lnTo>
                    <a:pt x="294" y="954"/>
                  </a:lnTo>
                  <a:lnTo>
                    <a:pt x="294" y="948"/>
                  </a:lnTo>
                  <a:lnTo>
                    <a:pt x="294" y="942"/>
                  </a:lnTo>
                  <a:lnTo>
                    <a:pt x="300" y="936"/>
                  </a:lnTo>
                  <a:lnTo>
                    <a:pt x="300" y="930"/>
                  </a:lnTo>
                  <a:lnTo>
                    <a:pt x="294" y="930"/>
                  </a:lnTo>
                  <a:lnTo>
                    <a:pt x="288" y="930"/>
                  </a:lnTo>
                  <a:lnTo>
                    <a:pt x="288" y="924"/>
                  </a:lnTo>
                  <a:lnTo>
                    <a:pt x="282" y="918"/>
                  </a:lnTo>
                  <a:lnTo>
                    <a:pt x="282" y="906"/>
                  </a:lnTo>
                  <a:lnTo>
                    <a:pt x="282" y="900"/>
                  </a:lnTo>
                  <a:lnTo>
                    <a:pt x="264" y="894"/>
                  </a:lnTo>
                  <a:lnTo>
                    <a:pt x="252" y="882"/>
                  </a:lnTo>
                  <a:lnTo>
                    <a:pt x="246" y="876"/>
                  </a:lnTo>
                  <a:lnTo>
                    <a:pt x="240" y="876"/>
                  </a:lnTo>
                  <a:lnTo>
                    <a:pt x="240" y="870"/>
                  </a:lnTo>
                  <a:lnTo>
                    <a:pt x="234" y="870"/>
                  </a:lnTo>
                  <a:lnTo>
                    <a:pt x="222" y="864"/>
                  </a:lnTo>
                  <a:lnTo>
                    <a:pt x="216" y="864"/>
                  </a:lnTo>
                  <a:lnTo>
                    <a:pt x="210" y="858"/>
                  </a:lnTo>
                  <a:lnTo>
                    <a:pt x="210" y="852"/>
                  </a:lnTo>
                  <a:lnTo>
                    <a:pt x="210" y="846"/>
                  </a:lnTo>
                  <a:lnTo>
                    <a:pt x="198" y="840"/>
                  </a:lnTo>
                  <a:lnTo>
                    <a:pt x="186" y="834"/>
                  </a:lnTo>
                  <a:lnTo>
                    <a:pt x="180" y="828"/>
                  </a:lnTo>
                  <a:lnTo>
                    <a:pt x="180" y="822"/>
                  </a:lnTo>
                  <a:lnTo>
                    <a:pt x="174" y="822"/>
                  </a:lnTo>
                  <a:lnTo>
                    <a:pt x="162" y="816"/>
                  </a:lnTo>
                  <a:lnTo>
                    <a:pt x="156" y="810"/>
                  </a:lnTo>
                  <a:lnTo>
                    <a:pt x="150" y="810"/>
                  </a:lnTo>
                  <a:lnTo>
                    <a:pt x="144" y="798"/>
                  </a:lnTo>
                  <a:lnTo>
                    <a:pt x="138" y="786"/>
                  </a:lnTo>
                  <a:lnTo>
                    <a:pt x="138" y="780"/>
                  </a:lnTo>
                  <a:lnTo>
                    <a:pt x="144" y="774"/>
                  </a:lnTo>
                  <a:lnTo>
                    <a:pt x="150" y="768"/>
                  </a:lnTo>
                  <a:lnTo>
                    <a:pt x="192" y="768"/>
                  </a:lnTo>
                  <a:lnTo>
                    <a:pt x="210" y="762"/>
                  </a:lnTo>
                  <a:lnTo>
                    <a:pt x="216" y="756"/>
                  </a:lnTo>
                  <a:lnTo>
                    <a:pt x="216" y="744"/>
                  </a:lnTo>
                  <a:lnTo>
                    <a:pt x="216" y="738"/>
                  </a:lnTo>
                  <a:lnTo>
                    <a:pt x="216" y="732"/>
                  </a:lnTo>
                  <a:lnTo>
                    <a:pt x="216" y="726"/>
                  </a:lnTo>
                  <a:lnTo>
                    <a:pt x="216" y="720"/>
                  </a:lnTo>
                  <a:lnTo>
                    <a:pt x="228" y="702"/>
                  </a:lnTo>
                  <a:lnTo>
                    <a:pt x="234" y="696"/>
                  </a:lnTo>
                  <a:lnTo>
                    <a:pt x="240" y="690"/>
                  </a:lnTo>
                  <a:lnTo>
                    <a:pt x="240" y="684"/>
                  </a:lnTo>
                  <a:lnTo>
                    <a:pt x="234" y="678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0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22" y="630"/>
                  </a:lnTo>
                  <a:lnTo>
                    <a:pt x="222" y="618"/>
                  </a:lnTo>
                  <a:lnTo>
                    <a:pt x="222" y="582"/>
                  </a:lnTo>
                  <a:lnTo>
                    <a:pt x="228" y="582"/>
                  </a:lnTo>
                  <a:lnTo>
                    <a:pt x="222" y="564"/>
                  </a:lnTo>
                  <a:lnTo>
                    <a:pt x="210" y="552"/>
                  </a:lnTo>
                  <a:lnTo>
                    <a:pt x="192" y="540"/>
                  </a:lnTo>
                  <a:lnTo>
                    <a:pt x="174" y="540"/>
                  </a:lnTo>
                  <a:lnTo>
                    <a:pt x="150" y="534"/>
                  </a:lnTo>
                  <a:lnTo>
                    <a:pt x="126" y="528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90" y="516"/>
                  </a:lnTo>
                  <a:lnTo>
                    <a:pt x="78" y="504"/>
                  </a:lnTo>
                  <a:lnTo>
                    <a:pt x="72" y="498"/>
                  </a:lnTo>
                  <a:lnTo>
                    <a:pt x="66" y="486"/>
                  </a:lnTo>
                  <a:lnTo>
                    <a:pt x="54" y="468"/>
                  </a:lnTo>
                  <a:lnTo>
                    <a:pt x="54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42" y="438"/>
                  </a:lnTo>
                  <a:lnTo>
                    <a:pt x="36" y="438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24" y="384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2" y="360"/>
                  </a:lnTo>
                  <a:lnTo>
                    <a:pt x="6" y="360"/>
                  </a:lnTo>
                  <a:lnTo>
                    <a:pt x="0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0"/>
                  </a:lnTo>
                  <a:lnTo>
                    <a:pt x="18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8" y="270"/>
                  </a:lnTo>
                  <a:lnTo>
                    <a:pt x="90" y="276"/>
                  </a:lnTo>
                  <a:lnTo>
                    <a:pt x="108" y="294"/>
                  </a:lnTo>
                  <a:lnTo>
                    <a:pt x="114" y="294"/>
                  </a:lnTo>
                  <a:lnTo>
                    <a:pt x="114" y="276"/>
                  </a:lnTo>
                  <a:lnTo>
                    <a:pt x="114" y="270"/>
                  </a:lnTo>
                  <a:lnTo>
                    <a:pt x="102" y="258"/>
                  </a:lnTo>
                  <a:lnTo>
                    <a:pt x="96" y="246"/>
                  </a:lnTo>
                  <a:lnTo>
                    <a:pt x="90" y="234"/>
                  </a:lnTo>
                  <a:lnTo>
                    <a:pt x="78" y="228"/>
                  </a:lnTo>
                  <a:lnTo>
                    <a:pt x="72" y="216"/>
                  </a:lnTo>
                  <a:lnTo>
                    <a:pt x="66" y="192"/>
                  </a:lnTo>
                  <a:lnTo>
                    <a:pt x="90" y="174"/>
                  </a:lnTo>
                  <a:lnTo>
                    <a:pt x="120" y="150"/>
                  </a:lnTo>
                  <a:lnTo>
                    <a:pt x="132" y="150"/>
                  </a:lnTo>
                  <a:lnTo>
                    <a:pt x="138" y="144"/>
                  </a:lnTo>
                  <a:lnTo>
                    <a:pt x="138" y="138"/>
                  </a:lnTo>
                  <a:lnTo>
                    <a:pt x="156" y="126"/>
                  </a:lnTo>
                  <a:lnTo>
                    <a:pt x="180" y="114"/>
                  </a:lnTo>
                  <a:lnTo>
                    <a:pt x="216" y="114"/>
                  </a:lnTo>
                  <a:lnTo>
                    <a:pt x="222" y="114"/>
                  </a:lnTo>
                  <a:lnTo>
                    <a:pt x="222" y="120"/>
                  </a:lnTo>
                  <a:lnTo>
                    <a:pt x="222" y="126"/>
                  </a:lnTo>
                  <a:lnTo>
                    <a:pt x="222" y="132"/>
                  </a:lnTo>
                  <a:lnTo>
                    <a:pt x="228" y="138"/>
                  </a:lnTo>
                  <a:lnTo>
                    <a:pt x="228" y="144"/>
                  </a:lnTo>
                  <a:lnTo>
                    <a:pt x="228" y="150"/>
                  </a:lnTo>
                  <a:lnTo>
                    <a:pt x="234" y="150"/>
                  </a:lnTo>
                  <a:lnTo>
                    <a:pt x="234" y="144"/>
                  </a:lnTo>
                  <a:lnTo>
                    <a:pt x="240" y="144"/>
                  </a:lnTo>
                  <a:lnTo>
                    <a:pt x="246" y="144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58" y="126"/>
                  </a:lnTo>
                  <a:lnTo>
                    <a:pt x="258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76" y="96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6" y="72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36"/>
                  </a:lnTo>
                  <a:lnTo>
                    <a:pt x="330" y="24"/>
                  </a:lnTo>
                  <a:lnTo>
                    <a:pt x="330" y="18"/>
                  </a:lnTo>
                  <a:lnTo>
                    <a:pt x="330" y="12"/>
                  </a:lnTo>
                  <a:lnTo>
                    <a:pt x="336" y="6"/>
                  </a:lnTo>
                  <a:lnTo>
                    <a:pt x="366" y="0"/>
                  </a:lnTo>
                  <a:lnTo>
                    <a:pt x="372" y="6"/>
                  </a:lnTo>
                  <a:lnTo>
                    <a:pt x="384" y="12"/>
                  </a:lnTo>
                  <a:lnTo>
                    <a:pt x="402" y="12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18"/>
                  </a:lnTo>
                  <a:lnTo>
                    <a:pt x="420" y="18"/>
                  </a:lnTo>
                  <a:lnTo>
                    <a:pt x="426" y="24"/>
                  </a:lnTo>
                  <a:lnTo>
                    <a:pt x="432" y="30"/>
                  </a:lnTo>
                  <a:lnTo>
                    <a:pt x="438" y="36"/>
                  </a:lnTo>
                  <a:lnTo>
                    <a:pt x="444" y="42"/>
                  </a:lnTo>
                  <a:lnTo>
                    <a:pt x="450" y="42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16" y="78"/>
                  </a:lnTo>
                  <a:lnTo>
                    <a:pt x="522" y="102"/>
                  </a:lnTo>
                  <a:lnTo>
                    <a:pt x="522" y="108"/>
                  </a:lnTo>
                  <a:lnTo>
                    <a:pt x="528" y="126"/>
                  </a:lnTo>
                  <a:lnTo>
                    <a:pt x="534" y="126"/>
                  </a:lnTo>
                  <a:lnTo>
                    <a:pt x="540" y="120"/>
                  </a:lnTo>
                  <a:lnTo>
                    <a:pt x="546" y="126"/>
                  </a:lnTo>
                  <a:lnTo>
                    <a:pt x="552" y="126"/>
                  </a:lnTo>
                  <a:lnTo>
                    <a:pt x="558" y="132"/>
                  </a:lnTo>
                  <a:lnTo>
                    <a:pt x="564" y="138"/>
                  </a:lnTo>
                  <a:lnTo>
                    <a:pt x="570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594" y="168"/>
                  </a:lnTo>
                  <a:lnTo>
                    <a:pt x="600" y="174"/>
                  </a:lnTo>
                  <a:lnTo>
                    <a:pt x="606" y="180"/>
                  </a:lnTo>
                  <a:lnTo>
                    <a:pt x="606" y="186"/>
                  </a:lnTo>
                  <a:lnTo>
                    <a:pt x="612" y="192"/>
                  </a:lnTo>
                  <a:lnTo>
                    <a:pt x="612" y="198"/>
                  </a:lnTo>
                  <a:lnTo>
                    <a:pt x="624" y="204"/>
                  </a:lnTo>
                  <a:lnTo>
                    <a:pt x="624" y="210"/>
                  </a:lnTo>
                  <a:lnTo>
                    <a:pt x="630" y="216"/>
                  </a:lnTo>
                  <a:lnTo>
                    <a:pt x="636" y="222"/>
                  </a:lnTo>
                  <a:lnTo>
                    <a:pt x="636" y="228"/>
                  </a:lnTo>
                  <a:lnTo>
                    <a:pt x="636" y="234"/>
                  </a:lnTo>
                  <a:lnTo>
                    <a:pt x="636" y="252"/>
                  </a:lnTo>
                  <a:lnTo>
                    <a:pt x="636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42" y="276"/>
                  </a:lnTo>
                  <a:lnTo>
                    <a:pt x="642" y="282"/>
                  </a:lnTo>
                  <a:lnTo>
                    <a:pt x="642" y="288"/>
                  </a:lnTo>
                  <a:lnTo>
                    <a:pt x="642" y="300"/>
                  </a:lnTo>
                  <a:lnTo>
                    <a:pt x="642" y="306"/>
                  </a:lnTo>
                  <a:lnTo>
                    <a:pt x="636" y="312"/>
                  </a:lnTo>
                  <a:lnTo>
                    <a:pt x="636" y="324"/>
                  </a:lnTo>
                  <a:lnTo>
                    <a:pt x="636" y="342"/>
                  </a:lnTo>
                  <a:lnTo>
                    <a:pt x="630" y="354"/>
                  </a:lnTo>
                  <a:lnTo>
                    <a:pt x="630" y="366"/>
                  </a:lnTo>
                  <a:lnTo>
                    <a:pt x="624" y="378"/>
                  </a:lnTo>
                  <a:lnTo>
                    <a:pt x="624" y="384"/>
                  </a:lnTo>
                  <a:lnTo>
                    <a:pt x="636" y="396"/>
                  </a:lnTo>
                  <a:lnTo>
                    <a:pt x="636" y="402"/>
                  </a:lnTo>
                  <a:lnTo>
                    <a:pt x="636" y="408"/>
                  </a:lnTo>
                  <a:lnTo>
                    <a:pt x="630" y="414"/>
                  </a:lnTo>
                  <a:lnTo>
                    <a:pt x="630" y="420"/>
                  </a:lnTo>
                  <a:lnTo>
                    <a:pt x="630" y="426"/>
                  </a:lnTo>
                  <a:lnTo>
                    <a:pt x="630" y="432"/>
                  </a:lnTo>
                  <a:lnTo>
                    <a:pt x="624" y="438"/>
                  </a:lnTo>
                  <a:lnTo>
                    <a:pt x="624" y="444"/>
                  </a:lnTo>
                  <a:lnTo>
                    <a:pt x="624" y="450"/>
                  </a:lnTo>
                  <a:lnTo>
                    <a:pt x="630" y="450"/>
                  </a:lnTo>
                  <a:lnTo>
                    <a:pt x="630" y="456"/>
                  </a:lnTo>
                  <a:lnTo>
                    <a:pt x="630" y="462"/>
                  </a:lnTo>
                  <a:lnTo>
                    <a:pt x="636" y="468"/>
                  </a:lnTo>
                  <a:lnTo>
                    <a:pt x="642" y="456"/>
                  </a:lnTo>
                  <a:lnTo>
                    <a:pt x="642" y="450"/>
                  </a:lnTo>
                  <a:lnTo>
                    <a:pt x="648" y="450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60" y="444"/>
                  </a:lnTo>
                  <a:lnTo>
                    <a:pt x="666" y="450"/>
                  </a:lnTo>
                  <a:lnTo>
                    <a:pt x="672" y="444"/>
                  </a:lnTo>
                  <a:lnTo>
                    <a:pt x="678" y="444"/>
                  </a:lnTo>
                  <a:lnTo>
                    <a:pt x="684" y="438"/>
                  </a:lnTo>
                  <a:lnTo>
                    <a:pt x="690" y="438"/>
                  </a:lnTo>
                  <a:lnTo>
                    <a:pt x="696" y="438"/>
                  </a:lnTo>
                  <a:lnTo>
                    <a:pt x="702" y="444"/>
                  </a:lnTo>
                  <a:lnTo>
                    <a:pt x="702" y="450"/>
                  </a:lnTo>
                  <a:lnTo>
                    <a:pt x="708" y="450"/>
                  </a:lnTo>
                  <a:lnTo>
                    <a:pt x="708" y="456"/>
                  </a:lnTo>
                  <a:lnTo>
                    <a:pt x="708" y="462"/>
                  </a:lnTo>
                  <a:lnTo>
                    <a:pt x="708" y="468"/>
                  </a:lnTo>
                  <a:lnTo>
                    <a:pt x="708" y="504"/>
                  </a:lnTo>
                  <a:lnTo>
                    <a:pt x="696" y="564"/>
                  </a:lnTo>
                  <a:lnTo>
                    <a:pt x="696" y="582"/>
                  </a:lnTo>
                  <a:lnTo>
                    <a:pt x="696" y="600"/>
                  </a:lnTo>
                  <a:lnTo>
                    <a:pt x="690" y="606"/>
                  </a:lnTo>
                  <a:lnTo>
                    <a:pt x="684" y="606"/>
                  </a:lnTo>
                  <a:lnTo>
                    <a:pt x="690" y="612"/>
                  </a:lnTo>
                  <a:lnTo>
                    <a:pt x="684" y="612"/>
                  </a:lnTo>
                  <a:lnTo>
                    <a:pt x="678" y="618"/>
                  </a:lnTo>
                  <a:lnTo>
                    <a:pt x="672" y="624"/>
                  </a:lnTo>
                  <a:lnTo>
                    <a:pt x="666" y="630"/>
                  </a:lnTo>
                  <a:lnTo>
                    <a:pt x="660" y="636"/>
                  </a:lnTo>
                  <a:lnTo>
                    <a:pt x="672" y="636"/>
                  </a:lnTo>
                  <a:lnTo>
                    <a:pt x="678" y="642"/>
                  </a:lnTo>
                  <a:lnTo>
                    <a:pt x="678" y="648"/>
                  </a:lnTo>
                  <a:lnTo>
                    <a:pt x="684" y="654"/>
                  </a:lnTo>
                  <a:lnTo>
                    <a:pt x="690" y="666"/>
                  </a:lnTo>
                  <a:lnTo>
                    <a:pt x="690" y="672"/>
                  </a:lnTo>
                  <a:lnTo>
                    <a:pt x="696" y="672"/>
                  </a:lnTo>
                  <a:lnTo>
                    <a:pt x="696" y="684"/>
                  </a:lnTo>
                  <a:lnTo>
                    <a:pt x="708" y="690"/>
                  </a:lnTo>
                  <a:lnTo>
                    <a:pt x="720" y="696"/>
                  </a:lnTo>
                  <a:lnTo>
                    <a:pt x="726" y="696"/>
                  </a:lnTo>
                  <a:lnTo>
                    <a:pt x="732" y="696"/>
                  </a:lnTo>
                  <a:lnTo>
                    <a:pt x="738" y="696"/>
                  </a:lnTo>
                  <a:lnTo>
                    <a:pt x="738" y="702"/>
                  </a:lnTo>
                  <a:lnTo>
                    <a:pt x="738" y="708"/>
                  </a:lnTo>
                  <a:lnTo>
                    <a:pt x="738" y="714"/>
                  </a:lnTo>
                  <a:lnTo>
                    <a:pt x="744" y="714"/>
                  </a:lnTo>
                  <a:lnTo>
                    <a:pt x="756" y="720"/>
                  </a:lnTo>
                  <a:lnTo>
                    <a:pt x="780" y="726"/>
                  </a:lnTo>
                  <a:lnTo>
                    <a:pt x="792" y="732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22" y="774"/>
                  </a:lnTo>
                  <a:lnTo>
                    <a:pt x="834" y="786"/>
                  </a:lnTo>
                  <a:lnTo>
                    <a:pt x="834" y="792"/>
                  </a:lnTo>
                  <a:lnTo>
                    <a:pt x="834" y="798"/>
                  </a:lnTo>
                  <a:lnTo>
                    <a:pt x="828" y="798"/>
                  </a:lnTo>
                  <a:lnTo>
                    <a:pt x="828" y="804"/>
                  </a:lnTo>
                  <a:lnTo>
                    <a:pt x="834" y="816"/>
                  </a:lnTo>
                  <a:lnTo>
                    <a:pt x="834" y="834"/>
                  </a:lnTo>
                  <a:lnTo>
                    <a:pt x="834" y="840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34" y="858"/>
                  </a:lnTo>
                  <a:lnTo>
                    <a:pt x="834" y="864"/>
                  </a:lnTo>
                  <a:lnTo>
                    <a:pt x="834" y="876"/>
                  </a:lnTo>
                  <a:lnTo>
                    <a:pt x="828" y="960"/>
                  </a:lnTo>
                  <a:lnTo>
                    <a:pt x="816" y="966"/>
                  </a:lnTo>
                  <a:lnTo>
                    <a:pt x="798" y="972"/>
                  </a:lnTo>
                  <a:lnTo>
                    <a:pt x="786" y="990"/>
                  </a:lnTo>
                  <a:lnTo>
                    <a:pt x="774" y="990"/>
                  </a:lnTo>
                  <a:lnTo>
                    <a:pt x="762" y="1008"/>
                  </a:lnTo>
                  <a:lnTo>
                    <a:pt x="732" y="1014"/>
                  </a:lnTo>
                  <a:lnTo>
                    <a:pt x="714" y="1026"/>
                  </a:lnTo>
                  <a:lnTo>
                    <a:pt x="690" y="1050"/>
                  </a:lnTo>
                  <a:lnTo>
                    <a:pt x="654" y="1056"/>
                  </a:lnTo>
                  <a:lnTo>
                    <a:pt x="630" y="1056"/>
                  </a:lnTo>
                  <a:lnTo>
                    <a:pt x="606" y="1068"/>
                  </a:lnTo>
                  <a:lnTo>
                    <a:pt x="600" y="1092"/>
                  </a:lnTo>
                  <a:lnTo>
                    <a:pt x="600" y="1098"/>
                  </a:lnTo>
                  <a:lnTo>
                    <a:pt x="588" y="1104"/>
                  </a:lnTo>
                  <a:lnTo>
                    <a:pt x="582" y="1104"/>
                  </a:lnTo>
                  <a:lnTo>
                    <a:pt x="570" y="1110"/>
                  </a:lnTo>
                  <a:lnTo>
                    <a:pt x="564" y="111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7" name="Freeform 12">
              <a:extLst>
                <a:ext uri="{FF2B5EF4-FFF2-40B4-BE49-F238E27FC236}">
                  <a16:creationId xmlns:a16="http://schemas.microsoft.com/office/drawing/2014/main" id="{6C93C114-E5D0-49BB-A44C-A127CE01CFE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810" y="2271838"/>
              <a:ext cx="923547" cy="845397"/>
            </a:xfrm>
            <a:custGeom>
              <a:avLst/>
              <a:gdLst>
                <a:gd name="T0" fmla="*/ 138 w 1740"/>
                <a:gd name="T1" fmla="*/ 134 h 1590"/>
                <a:gd name="T2" fmla="*/ 128 w 1740"/>
                <a:gd name="T3" fmla="*/ 131 h 1590"/>
                <a:gd name="T4" fmla="*/ 121 w 1740"/>
                <a:gd name="T5" fmla="*/ 130 h 1590"/>
                <a:gd name="T6" fmla="*/ 119 w 1740"/>
                <a:gd name="T7" fmla="*/ 134 h 1590"/>
                <a:gd name="T8" fmla="*/ 110 w 1740"/>
                <a:gd name="T9" fmla="*/ 132 h 1590"/>
                <a:gd name="T10" fmla="*/ 111 w 1740"/>
                <a:gd name="T11" fmla="*/ 127 h 1590"/>
                <a:gd name="T12" fmla="*/ 103 w 1740"/>
                <a:gd name="T13" fmla="*/ 117 h 1590"/>
                <a:gd name="T14" fmla="*/ 93 w 1740"/>
                <a:gd name="T15" fmla="*/ 123 h 1590"/>
                <a:gd name="T16" fmla="*/ 80 w 1740"/>
                <a:gd name="T17" fmla="*/ 118 h 1590"/>
                <a:gd name="T18" fmla="*/ 66 w 1740"/>
                <a:gd name="T19" fmla="*/ 117 h 1590"/>
                <a:gd name="T20" fmla="*/ 66 w 1740"/>
                <a:gd name="T21" fmla="*/ 110 h 1590"/>
                <a:gd name="T22" fmla="*/ 69 w 1740"/>
                <a:gd name="T23" fmla="*/ 107 h 1590"/>
                <a:gd name="T24" fmla="*/ 68 w 1740"/>
                <a:gd name="T25" fmla="*/ 102 h 1590"/>
                <a:gd name="T26" fmla="*/ 68 w 1740"/>
                <a:gd name="T27" fmla="*/ 96 h 1590"/>
                <a:gd name="T28" fmla="*/ 67 w 1740"/>
                <a:gd name="T29" fmla="*/ 82 h 1590"/>
                <a:gd name="T30" fmla="*/ 58 w 1740"/>
                <a:gd name="T31" fmla="*/ 82 h 1590"/>
                <a:gd name="T32" fmla="*/ 52 w 1740"/>
                <a:gd name="T33" fmla="*/ 82 h 1590"/>
                <a:gd name="T34" fmla="*/ 46 w 1740"/>
                <a:gd name="T35" fmla="*/ 80 h 1590"/>
                <a:gd name="T36" fmla="*/ 45 w 1740"/>
                <a:gd name="T37" fmla="*/ 74 h 1590"/>
                <a:gd name="T38" fmla="*/ 52 w 1740"/>
                <a:gd name="T39" fmla="*/ 70 h 1590"/>
                <a:gd name="T40" fmla="*/ 52 w 1740"/>
                <a:gd name="T41" fmla="*/ 64 h 1590"/>
                <a:gd name="T42" fmla="*/ 42 w 1740"/>
                <a:gd name="T43" fmla="*/ 53 h 1590"/>
                <a:gd name="T44" fmla="*/ 35 w 1740"/>
                <a:gd name="T45" fmla="*/ 52 h 1590"/>
                <a:gd name="T46" fmla="*/ 20 w 1740"/>
                <a:gd name="T47" fmla="*/ 51 h 1590"/>
                <a:gd name="T48" fmla="*/ 17 w 1740"/>
                <a:gd name="T49" fmla="*/ 56 h 1590"/>
                <a:gd name="T50" fmla="*/ 11 w 1740"/>
                <a:gd name="T51" fmla="*/ 61 h 1590"/>
                <a:gd name="T52" fmla="*/ 7 w 1740"/>
                <a:gd name="T53" fmla="*/ 63 h 1590"/>
                <a:gd name="T54" fmla="*/ 0 w 1740"/>
                <a:gd name="T55" fmla="*/ 55 h 1590"/>
                <a:gd name="T56" fmla="*/ 2 w 1740"/>
                <a:gd name="T57" fmla="*/ 50 h 1590"/>
                <a:gd name="T58" fmla="*/ 0 w 1740"/>
                <a:gd name="T59" fmla="*/ 44 h 1590"/>
                <a:gd name="T60" fmla="*/ 2 w 1740"/>
                <a:gd name="T61" fmla="*/ 38 h 1590"/>
                <a:gd name="T62" fmla="*/ 7 w 1740"/>
                <a:gd name="T63" fmla="*/ 35 h 1590"/>
                <a:gd name="T64" fmla="*/ 11 w 1740"/>
                <a:gd name="T65" fmla="*/ 30 h 1590"/>
                <a:gd name="T66" fmla="*/ 21 w 1740"/>
                <a:gd name="T67" fmla="*/ 26 h 1590"/>
                <a:gd name="T68" fmla="*/ 29 w 1740"/>
                <a:gd name="T69" fmla="*/ 25 h 1590"/>
                <a:gd name="T70" fmla="*/ 35 w 1740"/>
                <a:gd name="T71" fmla="*/ 21 h 1590"/>
                <a:gd name="T72" fmla="*/ 36 w 1740"/>
                <a:gd name="T73" fmla="*/ 16 h 1590"/>
                <a:gd name="T74" fmla="*/ 41 w 1740"/>
                <a:gd name="T75" fmla="*/ 11 h 1590"/>
                <a:gd name="T76" fmla="*/ 51 w 1740"/>
                <a:gd name="T77" fmla="*/ 9 h 1590"/>
                <a:gd name="T78" fmla="*/ 59 w 1740"/>
                <a:gd name="T79" fmla="*/ 21 h 1590"/>
                <a:gd name="T80" fmla="*/ 65 w 1740"/>
                <a:gd name="T81" fmla="*/ 13 h 1590"/>
                <a:gd name="T82" fmla="*/ 73 w 1740"/>
                <a:gd name="T83" fmla="*/ 8 h 1590"/>
                <a:gd name="T84" fmla="*/ 82 w 1740"/>
                <a:gd name="T85" fmla="*/ 12 h 1590"/>
                <a:gd name="T86" fmla="*/ 88 w 1740"/>
                <a:gd name="T87" fmla="*/ 12 h 1590"/>
                <a:gd name="T88" fmla="*/ 99 w 1740"/>
                <a:gd name="T89" fmla="*/ 7 h 1590"/>
                <a:gd name="T90" fmla="*/ 114 w 1740"/>
                <a:gd name="T91" fmla="*/ 0 h 1590"/>
                <a:gd name="T92" fmla="*/ 117 w 1740"/>
                <a:gd name="T93" fmla="*/ 10 h 1590"/>
                <a:gd name="T94" fmla="*/ 132 w 1740"/>
                <a:gd name="T95" fmla="*/ 17 h 1590"/>
                <a:gd name="T96" fmla="*/ 140 w 1740"/>
                <a:gd name="T97" fmla="*/ 25 h 1590"/>
                <a:gd name="T98" fmla="*/ 140 w 1740"/>
                <a:gd name="T99" fmla="*/ 33 h 1590"/>
                <a:gd name="T100" fmla="*/ 140 w 1740"/>
                <a:gd name="T101" fmla="*/ 44 h 1590"/>
                <a:gd name="T102" fmla="*/ 138 w 1740"/>
                <a:gd name="T103" fmla="*/ 48 h 1590"/>
                <a:gd name="T104" fmla="*/ 141 w 1740"/>
                <a:gd name="T105" fmla="*/ 49 h 1590"/>
                <a:gd name="T106" fmla="*/ 146 w 1740"/>
                <a:gd name="T107" fmla="*/ 50 h 1590"/>
                <a:gd name="T108" fmla="*/ 149 w 1740"/>
                <a:gd name="T109" fmla="*/ 59 h 1590"/>
                <a:gd name="T110" fmla="*/ 148 w 1740"/>
                <a:gd name="T111" fmla="*/ 67 h 1590"/>
                <a:gd name="T112" fmla="*/ 141 w 1740"/>
                <a:gd name="T113" fmla="*/ 78 h 1590"/>
                <a:gd name="T114" fmla="*/ 141 w 1740"/>
                <a:gd name="T115" fmla="*/ 91 h 1590"/>
                <a:gd name="T116" fmla="*/ 138 w 1740"/>
                <a:gd name="T117" fmla="*/ 102 h 1590"/>
                <a:gd name="T118" fmla="*/ 138 w 1740"/>
                <a:gd name="T119" fmla="*/ 110 h 1590"/>
                <a:gd name="T120" fmla="*/ 144 w 1740"/>
                <a:gd name="T121" fmla="*/ 118 h 1590"/>
                <a:gd name="T122" fmla="*/ 143 w 1740"/>
                <a:gd name="T123" fmla="*/ 125 h 159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740"/>
                <a:gd name="T187" fmla="*/ 0 h 1590"/>
                <a:gd name="T188" fmla="*/ 1740 w 1740"/>
                <a:gd name="T189" fmla="*/ 1590 h 159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740" h="1590">
                  <a:moveTo>
                    <a:pt x="1638" y="1458"/>
                  </a:moveTo>
                  <a:lnTo>
                    <a:pt x="1638" y="1482"/>
                  </a:lnTo>
                  <a:lnTo>
                    <a:pt x="1638" y="1500"/>
                  </a:lnTo>
                  <a:lnTo>
                    <a:pt x="1626" y="1500"/>
                  </a:lnTo>
                  <a:lnTo>
                    <a:pt x="1620" y="1500"/>
                  </a:lnTo>
                  <a:lnTo>
                    <a:pt x="1614" y="1500"/>
                  </a:lnTo>
                  <a:lnTo>
                    <a:pt x="1614" y="1506"/>
                  </a:lnTo>
                  <a:lnTo>
                    <a:pt x="1614" y="1512"/>
                  </a:lnTo>
                  <a:lnTo>
                    <a:pt x="1620" y="1518"/>
                  </a:lnTo>
                  <a:lnTo>
                    <a:pt x="1614" y="1524"/>
                  </a:lnTo>
                  <a:lnTo>
                    <a:pt x="1590" y="1536"/>
                  </a:lnTo>
                  <a:lnTo>
                    <a:pt x="1584" y="1566"/>
                  </a:lnTo>
                  <a:lnTo>
                    <a:pt x="1578" y="1590"/>
                  </a:lnTo>
                  <a:lnTo>
                    <a:pt x="1548" y="1590"/>
                  </a:lnTo>
                  <a:lnTo>
                    <a:pt x="1542" y="1584"/>
                  </a:lnTo>
                  <a:lnTo>
                    <a:pt x="1542" y="1572"/>
                  </a:lnTo>
                  <a:lnTo>
                    <a:pt x="1536" y="1566"/>
                  </a:lnTo>
                  <a:lnTo>
                    <a:pt x="1536" y="1554"/>
                  </a:lnTo>
                  <a:lnTo>
                    <a:pt x="1536" y="1548"/>
                  </a:lnTo>
                  <a:lnTo>
                    <a:pt x="1506" y="1530"/>
                  </a:lnTo>
                  <a:lnTo>
                    <a:pt x="1488" y="1506"/>
                  </a:lnTo>
                  <a:lnTo>
                    <a:pt x="1464" y="1500"/>
                  </a:lnTo>
                  <a:lnTo>
                    <a:pt x="1470" y="1494"/>
                  </a:lnTo>
                  <a:lnTo>
                    <a:pt x="1470" y="1488"/>
                  </a:lnTo>
                  <a:lnTo>
                    <a:pt x="1470" y="1482"/>
                  </a:lnTo>
                  <a:lnTo>
                    <a:pt x="1428" y="1464"/>
                  </a:lnTo>
                  <a:lnTo>
                    <a:pt x="1404" y="1470"/>
                  </a:lnTo>
                  <a:lnTo>
                    <a:pt x="1398" y="1470"/>
                  </a:lnTo>
                  <a:lnTo>
                    <a:pt x="1392" y="1476"/>
                  </a:lnTo>
                  <a:lnTo>
                    <a:pt x="1386" y="1476"/>
                  </a:lnTo>
                  <a:lnTo>
                    <a:pt x="1386" y="1482"/>
                  </a:lnTo>
                  <a:lnTo>
                    <a:pt x="1392" y="1482"/>
                  </a:lnTo>
                  <a:lnTo>
                    <a:pt x="1386" y="1488"/>
                  </a:lnTo>
                  <a:lnTo>
                    <a:pt x="1386" y="1494"/>
                  </a:lnTo>
                  <a:lnTo>
                    <a:pt x="1380" y="1494"/>
                  </a:lnTo>
                  <a:lnTo>
                    <a:pt x="1380" y="1500"/>
                  </a:lnTo>
                  <a:lnTo>
                    <a:pt x="1380" y="1512"/>
                  </a:lnTo>
                  <a:lnTo>
                    <a:pt x="1380" y="1518"/>
                  </a:lnTo>
                  <a:lnTo>
                    <a:pt x="1380" y="1524"/>
                  </a:lnTo>
                  <a:lnTo>
                    <a:pt x="1380" y="1530"/>
                  </a:lnTo>
                  <a:lnTo>
                    <a:pt x="1374" y="1536"/>
                  </a:lnTo>
                  <a:lnTo>
                    <a:pt x="1374" y="1542"/>
                  </a:lnTo>
                  <a:lnTo>
                    <a:pt x="1368" y="1542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44" y="1554"/>
                  </a:lnTo>
                  <a:lnTo>
                    <a:pt x="1332" y="1560"/>
                  </a:lnTo>
                  <a:lnTo>
                    <a:pt x="1302" y="1554"/>
                  </a:lnTo>
                  <a:lnTo>
                    <a:pt x="1290" y="1554"/>
                  </a:lnTo>
                  <a:lnTo>
                    <a:pt x="1278" y="1542"/>
                  </a:lnTo>
                  <a:lnTo>
                    <a:pt x="1272" y="1530"/>
                  </a:lnTo>
                  <a:lnTo>
                    <a:pt x="1272" y="1524"/>
                  </a:lnTo>
                  <a:lnTo>
                    <a:pt x="1272" y="1518"/>
                  </a:lnTo>
                  <a:lnTo>
                    <a:pt x="1266" y="1518"/>
                  </a:lnTo>
                  <a:lnTo>
                    <a:pt x="1266" y="1512"/>
                  </a:lnTo>
                  <a:lnTo>
                    <a:pt x="1266" y="1506"/>
                  </a:lnTo>
                  <a:lnTo>
                    <a:pt x="1272" y="1506"/>
                  </a:lnTo>
                  <a:lnTo>
                    <a:pt x="1272" y="1500"/>
                  </a:lnTo>
                  <a:lnTo>
                    <a:pt x="1278" y="1500"/>
                  </a:lnTo>
                  <a:lnTo>
                    <a:pt x="1278" y="1494"/>
                  </a:lnTo>
                  <a:lnTo>
                    <a:pt x="1278" y="1488"/>
                  </a:lnTo>
                  <a:lnTo>
                    <a:pt x="1284" y="1488"/>
                  </a:lnTo>
                  <a:lnTo>
                    <a:pt x="1284" y="1482"/>
                  </a:lnTo>
                  <a:lnTo>
                    <a:pt x="1290" y="1476"/>
                  </a:lnTo>
                  <a:lnTo>
                    <a:pt x="1284" y="1470"/>
                  </a:lnTo>
                  <a:lnTo>
                    <a:pt x="1278" y="1458"/>
                  </a:lnTo>
                  <a:lnTo>
                    <a:pt x="1278" y="1452"/>
                  </a:lnTo>
                  <a:lnTo>
                    <a:pt x="1260" y="1428"/>
                  </a:lnTo>
                  <a:lnTo>
                    <a:pt x="1254" y="1416"/>
                  </a:lnTo>
                  <a:lnTo>
                    <a:pt x="1254" y="1410"/>
                  </a:lnTo>
                  <a:lnTo>
                    <a:pt x="1248" y="1398"/>
                  </a:lnTo>
                  <a:lnTo>
                    <a:pt x="1242" y="1398"/>
                  </a:lnTo>
                  <a:lnTo>
                    <a:pt x="1236" y="1398"/>
                  </a:lnTo>
                  <a:lnTo>
                    <a:pt x="1218" y="1386"/>
                  </a:lnTo>
                  <a:lnTo>
                    <a:pt x="1212" y="1362"/>
                  </a:lnTo>
                  <a:lnTo>
                    <a:pt x="1200" y="1344"/>
                  </a:lnTo>
                  <a:lnTo>
                    <a:pt x="1188" y="1338"/>
                  </a:lnTo>
                  <a:lnTo>
                    <a:pt x="1164" y="1338"/>
                  </a:lnTo>
                  <a:lnTo>
                    <a:pt x="1158" y="1344"/>
                  </a:lnTo>
                  <a:lnTo>
                    <a:pt x="1152" y="1350"/>
                  </a:lnTo>
                  <a:lnTo>
                    <a:pt x="1152" y="1356"/>
                  </a:lnTo>
                  <a:lnTo>
                    <a:pt x="1140" y="1362"/>
                  </a:lnTo>
                  <a:lnTo>
                    <a:pt x="1134" y="1380"/>
                  </a:lnTo>
                  <a:lnTo>
                    <a:pt x="1116" y="1398"/>
                  </a:lnTo>
                  <a:lnTo>
                    <a:pt x="1110" y="1416"/>
                  </a:lnTo>
                  <a:lnTo>
                    <a:pt x="1086" y="1416"/>
                  </a:lnTo>
                  <a:lnTo>
                    <a:pt x="1080" y="1410"/>
                  </a:lnTo>
                  <a:lnTo>
                    <a:pt x="1074" y="1410"/>
                  </a:lnTo>
                  <a:lnTo>
                    <a:pt x="1074" y="1404"/>
                  </a:lnTo>
                  <a:lnTo>
                    <a:pt x="1062" y="1404"/>
                  </a:lnTo>
                  <a:lnTo>
                    <a:pt x="1062" y="1380"/>
                  </a:lnTo>
                  <a:lnTo>
                    <a:pt x="1038" y="1380"/>
                  </a:lnTo>
                  <a:lnTo>
                    <a:pt x="1026" y="1350"/>
                  </a:lnTo>
                  <a:lnTo>
                    <a:pt x="996" y="1326"/>
                  </a:lnTo>
                  <a:lnTo>
                    <a:pt x="966" y="1314"/>
                  </a:lnTo>
                  <a:lnTo>
                    <a:pt x="954" y="1320"/>
                  </a:lnTo>
                  <a:lnTo>
                    <a:pt x="942" y="1338"/>
                  </a:lnTo>
                  <a:lnTo>
                    <a:pt x="930" y="1338"/>
                  </a:lnTo>
                  <a:lnTo>
                    <a:pt x="924" y="1350"/>
                  </a:lnTo>
                  <a:lnTo>
                    <a:pt x="906" y="1356"/>
                  </a:lnTo>
                  <a:lnTo>
                    <a:pt x="846" y="1356"/>
                  </a:lnTo>
                  <a:lnTo>
                    <a:pt x="834" y="1368"/>
                  </a:lnTo>
                  <a:lnTo>
                    <a:pt x="810" y="1362"/>
                  </a:lnTo>
                  <a:lnTo>
                    <a:pt x="792" y="1362"/>
                  </a:lnTo>
                  <a:lnTo>
                    <a:pt x="780" y="1368"/>
                  </a:lnTo>
                  <a:lnTo>
                    <a:pt x="762" y="1368"/>
                  </a:lnTo>
                  <a:lnTo>
                    <a:pt x="762" y="1362"/>
                  </a:lnTo>
                  <a:lnTo>
                    <a:pt x="750" y="1362"/>
                  </a:lnTo>
                  <a:lnTo>
                    <a:pt x="750" y="1338"/>
                  </a:lnTo>
                  <a:lnTo>
                    <a:pt x="762" y="1338"/>
                  </a:lnTo>
                  <a:lnTo>
                    <a:pt x="762" y="1326"/>
                  </a:lnTo>
                  <a:lnTo>
                    <a:pt x="762" y="1314"/>
                  </a:lnTo>
                  <a:lnTo>
                    <a:pt x="732" y="1314"/>
                  </a:lnTo>
                  <a:lnTo>
                    <a:pt x="726" y="1308"/>
                  </a:lnTo>
                  <a:lnTo>
                    <a:pt x="732" y="1284"/>
                  </a:lnTo>
                  <a:lnTo>
                    <a:pt x="732" y="1278"/>
                  </a:lnTo>
                  <a:lnTo>
                    <a:pt x="738" y="1272"/>
                  </a:lnTo>
                  <a:lnTo>
                    <a:pt x="738" y="1266"/>
                  </a:lnTo>
                  <a:lnTo>
                    <a:pt x="744" y="1266"/>
                  </a:lnTo>
                  <a:lnTo>
                    <a:pt x="750" y="1272"/>
                  </a:lnTo>
                  <a:lnTo>
                    <a:pt x="756" y="1266"/>
                  </a:lnTo>
                  <a:lnTo>
                    <a:pt x="762" y="1266"/>
                  </a:lnTo>
                  <a:lnTo>
                    <a:pt x="768" y="1260"/>
                  </a:lnTo>
                  <a:lnTo>
                    <a:pt x="774" y="1260"/>
                  </a:lnTo>
                  <a:lnTo>
                    <a:pt x="780" y="1254"/>
                  </a:lnTo>
                  <a:lnTo>
                    <a:pt x="774" y="1254"/>
                  </a:lnTo>
                  <a:lnTo>
                    <a:pt x="768" y="1254"/>
                  </a:lnTo>
                  <a:lnTo>
                    <a:pt x="774" y="1248"/>
                  </a:lnTo>
                  <a:lnTo>
                    <a:pt x="774" y="1242"/>
                  </a:lnTo>
                  <a:lnTo>
                    <a:pt x="780" y="1236"/>
                  </a:lnTo>
                  <a:lnTo>
                    <a:pt x="786" y="1236"/>
                  </a:lnTo>
                  <a:lnTo>
                    <a:pt x="792" y="1230"/>
                  </a:lnTo>
                  <a:lnTo>
                    <a:pt x="792" y="1236"/>
                  </a:lnTo>
                  <a:lnTo>
                    <a:pt x="798" y="1236"/>
                  </a:lnTo>
                  <a:lnTo>
                    <a:pt x="798" y="1230"/>
                  </a:lnTo>
                  <a:lnTo>
                    <a:pt x="804" y="1230"/>
                  </a:lnTo>
                  <a:lnTo>
                    <a:pt x="804" y="1218"/>
                  </a:lnTo>
                  <a:lnTo>
                    <a:pt x="804" y="1206"/>
                  </a:lnTo>
                  <a:lnTo>
                    <a:pt x="792" y="1188"/>
                  </a:lnTo>
                  <a:lnTo>
                    <a:pt x="768" y="1182"/>
                  </a:lnTo>
                  <a:lnTo>
                    <a:pt x="768" y="1170"/>
                  </a:lnTo>
                  <a:lnTo>
                    <a:pt x="774" y="1170"/>
                  </a:lnTo>
                  <a:lnTo>
                    <a:pt x="780" y="1170"/>
                  </a:lnTo>
                  <a:lnTo>
                    <a:pt x="786" y="1170"/>
                  </a:lnTo>
                  <a:lnTo>
                    <a:pt x="780" y="1152"/>
                  </a:lnTo>
                  <a:lnTo>
                    <a:pt x="780" y="1146"/>
                  </a:lnTo>
                  <a:lnTo>
                    <a:pt x="744" y="1140"/>
                  </a:lnTo>
                  <a:lnTo>
                    <a:pt x="732" y="1128"/>
                  </a:lnTo>
                  <a:lnTo>
                    <a:pt x="720" y="1122"/>
                  </a:lnTo>
                  <a:lnTo>
                    <a:pt x="732" y="1116"/>
                  </a:lnTo>
                  <a:lnTo>
                    <a:pt x="750" y="1104"/>
                  </a:lnTo>
                  <a:lnTo>
                    <a:pt x="756" y="1116"/>
                  </a:lnTo>
                  <a:lnTo>
                    <a:pt x="774" y="1116"/>
                  </a:lnTo>
                  <a:lnTo>
                    <a:pt x="780" y="1104"/>
                  </a:lnTo>
                  <a:lnTo>
                    <a:pt x="780" y="1080"/>
                  </a:lnTo>
                  <a:lnTo>
                    <a:pt x="786" y="1080"/>
                  </a:lnTo>
                  <a:lnTo>
                    <a:pt x="786" y="1074"/>
                  </a:lnTo>
                  <a:lnTo>
                    <a:pt x="792" y="1074"/>
                  </a:lnTo>
                  <a:lnTo>
                    <a:pt x="786" y="1068"/>
                  </a:lnTo>
                  <a:lnTo>
                    <a:pt x="786" y="1062"/>
                  </a:lnTo>
                  <a:lnTo>
                    <a:pt x="786" y="1056"/>
                  </a:lnTo>
                  <a:lnTo>
                    <a:pt x="792" y="1050"/>
                  </a:lnTo>
                  <a:lnTo>
                    <a:pt x="786" y="1020"/>
                  </a:lnTo>
                  <a:lnTo>
                    <a:pt x="780" y="960"/>
                  </a:lnTo>
                  <a:lnTo>
                    <a:pt x="768" y="942"/>
                  </a:lnTo>
                  <a:lnTo>
                    <a:pt x="732" y="936"/>
                  </a:lnTo>
                  <a:lnTo>
                    <a:pt x="732" y="942"/>
                  </a:lnTo>
                  <a:lnTo>
                    <a:pt x="726" y="942"/>
                  </a:lnTo>
                  <a:lnTo>
                    <a:pt x="720" y="936"/>
                  </a:lnTo>
                  <a:lnTo>
                    <a:pt x="714" y="942"/>
                  </a:lnTo>
                  <a:lnTo>
                    <a:pt x="708" y="942"/>
                  </a:lnTo>
                  <a:lnTo>
                    <a:pt x="702" y="942"/>
                  </a:lnTo>
                  <a:lnTo>
                    <a:pt x="690" y="936"/>
                  </a:lnTo>
                  <a:lnTo>
                    <a:pt x="684" y="936"/>
                  </a:lnTo>
                  <a:lnTo>
                    <a:pt x="678" y="936"/>
                  </a:lnTo>
                  <a:lnTo>
                    <a:pt x="672" y="936"/>
                  </a:lnTo>
                  <a:lnTo>
                    <a:pt x="666" y="942"/>
                  </a:lnTo>
                  <a:lnTo>
                    <a:pt x="660" y="942"/>
                  </a:lnTo>
                  <a:lnTo>
                    <a:pt x="654" y="942"/>
                  </a:lnTo>
                  <a:lnTo>
                    <a:pt x="648" y="942"/>
                  </a:lnTo>
                  <a:lnTo>
                    <a:pt x="642" y="936"/>
                  </a:lnTo>
                  <a:lnTo>
                    <a:pt x="636" y="936"/>
                  </a:lnTo>
                  <a:lnTo>
                    <a:pt x="630" y="930"/>
                  </a:lnTo>
                  <a:lnTo>
                    <a:pt x="618" y="930"/>
                  </a:lnTo>
                  <a:lnTo>
                    <a:pt x="612" y="930"/>
                  </a:lnTo>
                  <a:lnTo>
                    <a:pt x="606" y="936"/>
                  </a:lnTo>
                  <a:lnTo>
                    <a:pt x="600" y="942"/>
                  </a:lnTo>
                  <a:lnTo>
                    <a:pt x="600" y="936"/>
                  </a:lnTo>
                  <a:lnTo>
                    <a:pt x="594" y="930"/>
                  </a:lnTo>
                  <a:lnTo>
                    <a:pt x="588" y="930"/>
                  </a:lnTo>
                  <a:lnTo>
                    <a:pt x="582" y="930"/>
                  </a:lnTo>
                  <a:lnTo>
                    <a:pt x="576" y="930"/>
                  </a:lnTo>
                  <a:lnTo>
                    <a:pt x="564" y="936"/>
                  </a:lnTo>
                  <a:lnTo>
                    <a:pt x="558" y="936"/>
                  </a:lnTo>
                  <a:lnTo>
                    <a:pt x="546" y="924"/>
                  </a:lnTo>
                  <a:lnTo>
                    <a:pt x="540" y="924"/>
                  </a:lnTo>
                  <a:lnTo>
                    <a:pt x="534" y="918"/>
                  </a:lnTo>
                  <a:lnTo>
                    <a:pt x="528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6" y="918"/>
                  </a:lnTo>
                  <a:lnTo>
                    <a:pt x="516" y="912"/>
                  </a:lnTo>
                  <a:lnTo>
                    <a:pt x="510" y="894"/>
                  </a:lnTo>
                  <a:lnTo>
                    <a:pt x="510" y="882"/>
                  </a:lnTo>
                  <a:lnTo>
                    <a:pt x="510" y="876"/>
                  </a:lnTo>
                  <a:lnTo>
                    <a:pt x="516" y="870"/>
                  </a:lnTo>
                  <a:lnTo>
                    <a:pt x="510" y="864"/>
                  </a:lnTo>
                  <a:lnTo>
                    <a:pt x="516" y="858"/>
                  </a:lnTo>
                  <a:lnTo>
                    <a:pt x="522" y="858"/>
                  </a:lnTo>
                  <a:lnTo>
                    <a:pt x="528" y="858"/>
                  </a:lnTo>
                  <a:lnTo>
                    <a:pt x="522" y="852"/>
                  </a:lnTo>
                  <a:lnTo>
                    <a:pt x="528" y="852"/>
                  </a:lnTo>
                  <a:lnTo>
                    <a:pt x="528" y="846"/>
                  </a:lnTo>
                  <a:lnTo>
                    <a:pt x="552" y="846"/>
                  </a:lnTo>
                  <a:lnTo>
                    <a:pt x="558" y="840"/>
                  </a:lnTo>
                  <a:lnTo>
                    <a:pt x="564" y="828"/>
                  </a:lnTo>
                  <a:lnTo>
                    <a:pt x="570" y="816"/>
                  </a:lnTo>
                  <a:lnTo>
                    <a:pt x="582" y="810"/>
                  </a:lnTo>
                  <a:lnTo>
                    <a:pt x="588" y="804"/>
                  </a:lnTo>
                  <a:lnTo>
                    <a:pt x="594" y="804"/>
                  </a:lnTo>
                  <a:lnTo>
                    <a:pt x="594" y="792"/>
                  </a:lnTo>
                  <a:lnTo>
                    <a:pt x="600" y="786"/>
                  </a:lnTo>
                  <a:lnTo>
                    <a:pt x="606" y="780"/>
                  </a:lnTo>
                  <a:lnTo>
                    <a:pt x="612" y="774"/>
                  </a:lnTo>
                  <a:lnTo>
                    <a:pt x="618" y="774"/>
                  </a:lnTo>
                  <a:lnTo>
                    <a:pt x="618" y="768"/>
                  </a:lnTo>
                  <a:lnTo>
                    <a:pt x="618" y="762"/>
                  </a:lnTo>
                  <a:lnTo>
                    <a:pt x="624" y="756"/>
                  </a:lnTo>
                  <a:lnTo>
                    <a:pt x="618" y="750"/>
                  </a:lnTo>
                  <a:lnTo>
                    <a:pt x="618" y="744"/>
                  </a:lnTo>
                  <a:lnTo>
                    <a:pt x="600" y="738"/>
                  </a:lnTo>
                  <a:lnTo>
                    <a:pt x="558" y="744"/>
                  </a:lnTo>
                  <a:lnTo>
                    <a:pt x="552" y="732"/>
                  </a:lnTo>
                  <a:lnTo>
                    <a:pt x="546" y="720"/>
                  </a:lnTo>
                  <a:lnTo>
                    <a:pt x="564" y="702"/>
                  </a:lnTo>
                  <a:lnTo>
                    <a:pt x="570" y="684"/>
                  </a:lnTo>
                  <a:lnTo>
                    <a:pt x="564" y="648"/>
                  </a:lnTo>
                  <a:lnTo>
                    <a:pt x="534" y="624"/>
                  </a:lnTo>
                  <a:lnTo>
                    <a:pt x="504" y="612"/>
                  </a:lnTo>
                  <a:lnTo>
                    <a:pt x="498" y="606"/>
                  </a:lnTo>
                  <a:lnTo>
                    <a:pt x="492" y="600"/>
                  </a:lnTo>
                  <a:lnTo>
                    <a:pt x="486" y="606"/>
                  </a:lnTo>
                  <a:lnTo>
                    <a:pt x="480" y="558"/>
                  </a:lnTo>
                  <a:lnTo>
                    <a:pt x="462" y="546"/>
                  </a:lnTo>
                  <a:lnTo>
                    <a:pt x="408" y="540"/>
                  </a:lnTo>
                  <a:lnTo>
                    <a:pt x="408" y="546"/>
                  </a:lnTo>
                  <a:lnTo>
                    <a:pt x="408" y="558"/>
                  </a:lnTo>
                  <a:lnTo>
                    <a:pt x="408" y="564"/>
                  </a:lnTo>
                  <a:lnTo>
                    <a:pt x="408" y="570"/>
                  </a:lnTo>
                  <a:lnTo>
                    <a:pt x="414" y="582"/>
                  </a:lnTo>
                  <a:lnTo>
                    <a:pt x="408" y="594"/>
                  </a:lnTo>
                  <a:lnTo>
                    <a:pt x="414" y="594"/>
                  </a:lnTo>
                  <a:lnTo>
                    <a:pt x="408" y="600"/>
                  </a:lnTo>
                  <a:lnTo>
                    <a:pt x="348" y="600"/>
                  </a:lnTo>
                  <a:lnTo>
                    <a:pt x="324" y="600"/>
                  </a:lnTo>
                  <a:lnTo>
                    <a:pt x="324" y="612"/>
                  </a:lnTo>
                  <a:lnTo>
                    <a:pt x="306" y="618"/>
                  </a:lnTo>
                  <a:lnTo>
                    <a:pt x="312" y="618"/>
                  </a:lnTo>
                  <a:lnTo>
                    <a:pt x="294" y="588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76"/>
                  </a:lnTo>
                  <a:lnTo>
                    <a:pt x="240" y="582"/>
                  </a:lnTo>
                  <a:lnTo>
                    <a:pt x="234" y="582"/>
                  </a:lnTo>
                  <a:lnTo>
                    <a:pt x="228" y="588"/>
                  </a:lnTo>
                  <a:lnTo>
                    <a:pt x="222" y="588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8" y="600"/>
                  </a:lnTo>
                  <a:lnTo>
                    <a:pt x="192" y="612"/>
                  </a:lnTo>
                  <a:lnTo>
                    <a:pt x="192" y="618"/>
                  </a:lnTo>
                  <a:lnTo>
                    <a:pt x="198" y="624"/>
                  </a:lnTo>
                  <a:lnTo>
                    <a:pt x="192" y="624"/>
                  </a:lnTo>
                  <a:lnTo>
                    <a:pt x="192" y="630"/>
                  </a:lnTo>
                  <a:lnTo>
                    <a:pt x="192" y="642"/>
                  </a:lnTo>
                  <a:lnTo>
                    <a:pt x="180" y="648"/>
                  </a:lnTo>
                  <a:lnTo>
                    <a:pt x="174" y="654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6"/>
                  </a:lnTo>
                  <a:lnTo>
                    <a:pt x="156" y="672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90"/>
                  </a:lnTo>
                  <a:lnTo>
                    <a:pt x="132" y="690"/>
                  </a:lnTo>
                  <a:lnTo>
                    <a:pt x="126" y="702"/>
                  </a:lnTo>
                  <a:lnTo>
                    <a:pt x="132" y="708"/>
                  </a:lnTo>
                  <a:lnTo>
                    <a:pt x="126" y="708"/>
                  </a:lnTo>
                  <a:lnTo>
                    <a:pt x="120" y="708"/>
                  </a:lnTo>
                  <a:lnTo>
                    <a:pt x="114" y="708"/>
                  </a:lnTo>
                  <a:lnTo>
                    <a:pt x="108" y="708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78" y="720"/>
                  </a:lnTo>
                  <a:lnTo>
                    <a:pt x="72" y="720"/>
                  </a:lnTo>
                  <a:lnTo>
                    <a:pt x="66" y="720"/>
                  </a:lnTo>
                  <a:lnTo>
                    <a:pt x="54" y="732"/>
                  </a:lnTo>
                  <a:lnTo>
                    <a:pt x="48" y="702"/>
                  </a:lnTo>
                  <a:lnTo>
                    <a:pt x="36" y="666"/>
                  </a:lnTo>
                  <a:lnTo>
                    <a:pt x="0" y="660"/>
                  </a:lnTo>
                  <a:lnTo>
                    <a:pt x="6" y="660"/>
                  </a:lnTo>
                  <a:lnTo>
                    <a:pt x="6" y="654"/>
                  </a:lnTo>
                  <a:lnTo>
                    <a:pt x="6" y="648"/>
                  </a:lnTo>
                  <a:lnTo>
                    <a:pt x="6" y="642"/>
                  </a:lnTo>
                  <a:lnTo>
                    <a:pt x="6" y="624"/>
                  </a:lnTo>
                  <a:lnTo>
                    <a:pt x="6" y="612"/>
                  </a:lnTo>
                  <a:lnTo>
                    <a:pt x="6" y="606"/>
                  </a:lnTo>
                  <a:lnTo>
                    <a:pt x="12" y="612"/>
                  </a:lnTo>
                  <a:lnTo>
                    <a:pt x="18" y="606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30" y="594"/>
                  </a:lnTo>
                  <a:lnTo>
                    <a:pt x="30" y="588"/>
                  </a:lnTo>
                  <a:lnTo>
                    <a:pt x="30" y="582"/>
                  </a:lnTo>
                  <a:lnTo>
                    <a:pt x="24" y="576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18" y="558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36" y="528"/>
                  </a:lnTo>
                  <a:lnTo>
                    <a:pt x="30" y="522"/>
                  </a:lnTo>
                  <a:lnTo>
                    <a:pt x="24" y="522"/>
                  </a:lnTo>
                  <a:lnTo>
                    <a:pt x="18" y="510"/>
                  </a:lnTo>
                  <a:lnTo>
                    <a:pt x="12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8" y="474"/>
                  </a:lnTo>
                  <a:lnTo>
                    <a:pt x="12" y="468"/>
                  </a:lnTo>
                  <a:lnTo>
                    <a:pt x="12" y="462"/>
                  </a:lnTo>
                  <a:lnTo>
                    <a:pt x="18" y="456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0" y="420"/>
                  </a:lnTo>
                  <a:lnTo>
                    <a:pt x="30" y="414"/>
                  </a:lnTo>
                  <a:lnTo>
                    <a:pt x="48" y="414"/>
                  </a:lnTo>
                  <a:lnTo>
                    <a:pt x="54" y="408"/>
                  </a:lnTo>
                  <a:lnTo>
                    <a:pt x="60" y="402"/>
                  </a:lnTo>
                  <a:lnTo>
                    <a:pt x="66" y="402"/>
                  </a:lnTo>
                  <a:lnTo>
                    <a:pt x="72" y="402"/>
                  </a:lnTo>
                  <a:lnTo>
                    <a:pt x="78" y="408"/>
                  </a:lnTo>
                  <a:lnTo>
                    <a:pt x="84" y="396"/>
                  </a:lnTo>
                  <a:lnTo>
                    <a:pt x="90" y="390"/>
                  </a:lnTo>
                  <a:lnTo>
                    <a:pt x="90" y="378"/>
                  </a:lnTo>
                  <a:lnTo>
                    <a:pt x="96" y="372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8" y="354"/>
                  </a:lnTo>
                  <a:lnTo>
                    <a:pt x="114" y="348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32" y="336"/>
                  </a:lnTo>
                  <a:lnTo>
                    <a:pt x="132" y="330"/>
                  </a:lnTo>
                  <a:lnTo>
                    <a:pt x="138" y="324"/>
                  </a:lnTo>
                  <a:lnTo>
                    <a:pt x="138" y="318"/>
                  </a:lnTo>
                  <a:lnTo>
                    <a:pt x="144" y="306"/>
                  </a:lnTo>
                  <a:lnTo>
                    <a:pt x="156" y="306"/>
                  </a:lnTo>
                  <a:lnTo>
                    <a:pt x="186" y="300"/>
                  </a:lnTo>
                  <a:lnTo>
                    <a:pt x="198" y="300"/>
                  </a:lnTo>
                  <a:lnTo>
                    <a:pt x="210" y="300"/>
                  </a:lnTo>
                  <a:lnTo>
                    <a:pt x="222" y="300"/>
                  </a:lnTo>
                  <a:lnTo>
                    <a:pt x="246" y="300"/>
                  </a:lnTo>
                  <a:lnTo>
                    <a:pt x="264" y="312"/>
                  </a:lnTo>
                  <a:lnTo>
                    <a:pt x="270" y="312"/>
                  </a:lnTo>
                  <a:lnTo>
                    <a:pt x="282" y="306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300" y="306"/>
                  </a:lnTo>
                  <a:lnTo>
                    <a:pt x="312" y="306"/>
                  </a:lnTo>
                  <a:lnTo>
                    <a:pt x="318" y="300"/>
                  </a:lnTo>
                  <a:lnTo>
                    <a:pt x="324" y="300"/>
                  </a:lnTo>
                  <a:lnTo>
                    <a:pt x="330" y="294"/>
                  </a:lnTo>
                  <a:lnTo>
                    <a:pt x="336" y="288"/>
                  </a:lnTo>
                  <a:lnTo>
                    <a:pt x="354" y="288"/>
                  </a:lnTo>
                  <a:lnTo>
                    <a:pt x="360" y="288"/>
                  </a:lnTo>
                  <a:lnTo>
                    <a:pt x="366" y="282"/>
                  </a:lnTo>
                  <a:lnTo>
                    <a:pt x="372" y="282"/>
                  </a:lnTo>
                  <a:lnTo>
                    <a:pt x="378" y="282"/>
                  </a:lnTo>
                  <a:lnTo>
                    <a:pt x="384" y="276"/>
                  </a:lnTo>
                  <a:lnTo>
                    <a:pt x="384" y="270"/>
                  </a:lnTo>
                  <a:lnTo>
                    <a:pt x="390" y="264"/>
                  </a:lnTo>
                  <a:lnTo>
                    <a:pt x="402" y="258"/>
                  </a:lnTo>
                  <a:lnTo>
                    <a:pt x="402" y="252"/>
                  </a:lnTo>
                  <a:lnTo>
                    <a:pt x="402" y="246"/>
                  </a:lnTo>
                  <a:lnTo>
                    <a:pt x="408" y="234"/>
                  </a:lnTo>
                  <a:lnTo>
                    <a:pt x="414" y="234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14" y="216"/>
                  </a:lnTo>
                  <a:lnTo>
                    <a:pt x="414" y="210"/>
                  </a:lnTo>
                  <a:lnTo>
                    <a:pt x="420" y="210"/>
                  </a:lnTo>
                  <a:lnTo>
                    <a:pt x="414" y="198"/>
                  </a:lnTo>
                  <a:lnTo>
                    <a:pt x="414" y="192"/>
                  </a:lnTo>
                  <a:lnTo>
                    <a:pt x="420" y="192"/>
                  </a:lnTo>
                  <a:lnTo>
                    <a:pt x="420" y="186"/>
                  </a:lnTo>
                  <a:lnTo>
                    <a:pt x="420" y="174"/>
                  </a:lnTo>
                  <a:lnTo>
                    <a:pt x="420" y="168"/>
                  </a:lnTo>
                  <a:lnTo>
                    <a:pt x="426" y="162"/>
                  </a:lnTo>
                  <a:lnTo>
                    <a:pt x="432" y="156"/>
                  </a:lnTo>
                  <a:lnTo>
                    <a:pt x="438" y="144"/>
                  </a:lnTo>
                  <a:lnTo>
                    <a:pt x="444" y="144"/>
                  </a:lnTo>
                  <a:lnTo>
                    <a:pt x="450" y="138"/>
                  </a:lnTo>
                  <a:lnTo>
                    <a:pt x="456" y="138"/>
                  </a:lnTo>
                  <a:lnTo>
                    <a:pt x="462" y="132"/>
                  </a:lnTo>
                  <a:lnTo>
                    <a:pt x="462" y="126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0"/>
                  </a:lnTo>
                  <a:lnTo>
                    <a:pt x="486" y="108"/>
                  </a:lnTo>
                  <a:lnTo>
                    <a:pt x="492" y="108"/>
                  </a:lnTo>
                  <a:lnTo>
                    <a:pt x="498" y="102"/>
                  </a:lnTo>
                  <a:lnTo>
                    <a:pt x="504" y="96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40" y="102"/>
                  </a:lnTo>
                  <a:lnTo>
                    <a:pt x="552" y="108"/>
                  </a:lnTo>
                  <a:lnTo>
                    <a:pt x="582" y="102"/>
                  </a:lnTo>
                  <a:lnTo>
                    <a:pt x="594" y="126"/>
                  </a:lnTo>
                  <a:lnTo>
                    <a:pt x="594" y="144"/>
                  </a:lnTo>
                  <a:lnTo>
                    <a:pt x="588" y="156"/>
                  </a:lnTo>
                  <a:lnTo>
                    <a:pt x="588" y="168"/>
                  </a:lnTo>
                  <a:lnTo>
                    <a:pt x="582" y="180"/>
                  </a:lnTo>
                  <a:lnTo>
                    <a:pt x="570" y="192"/>
                  </a:lnTo>
                  <a:lnTo>
                    <a:pt x="594" y="192"/>
                  </a:lnTo>
                  <a:lnTo>
                    <a:pt x="618" y="198"/>
                  </a:lnTo>
                  <a:lnTo>
                    <a:pt x="642" y="210"/>
                  </a:lnTo>
                  <a:lnTo>
                    <a:pt x="660" y="234"/>
                  </a:lnTo>
                  <a:lnTo>
                    <a:pt x="678" y="246"/>
                  </a:lnTo>
                  <a:lnTo>
                    <a:pt x="684" y="252"/>
                  </a:lnTo>
                  <a:lnTo>
                    <a:pt x="702" y="252"/>
                  </a:lnTo>
                  <a:lnTo>
                    <a:pt x="732" y="234"/>
                  </a:lnTo>
                  <a:lnTo>
                    <a:pt x="732" y="222"/>
                  </a:lnTo>
                  <a:lnTo>
                    <a:pt x="720" y="216"/>
                  </a:lnTo>
                  <a:lnTo>
                    <a:pt x="714" y="198"/>
                  </a:lnTo>
                  <a:lnTo>
                    <a:pt x="714" y="174"/>
                  </a:lnTo>
                  <a:lnTo>
                    <a:pt x="720" y="162"/>
                  </a:lnTo>
                  <a:lnTo>
                    <a:pt x="726" y="162"/>
                  </a:lnTo>
                  <a:lnTo>
                    <a:pt x="732" y="156"/>
                  </a:lnTo>
                  <a:lnTo>
                    <a:pt x="744" y="150"/>
                  </a:lnTo>
                  <a:lnTo>
                    <a:pt x="774" y="162"/>
                  </a:lnTo>
                  <a:lnTo>
                    <a:pt x="786" y="162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16" y="150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2" y="132"/>
                  </a:lnTo>
                  <a:lnTo>
                    <a:pt x="822" y="114"/>
                  </a:lnTo>
                  <a:lnTo>
                    <a:pt x="828" y="108"/>
                  </a:lnTo>
                  <a:lnTo>
                    <a:pt x="834" y="96"/>
                  </a:lnTo>
                  <a:lnTo>
                    <a:pt x="846" y="96"/>
                  </a:lnTo>
                  <a:lnTo>
                    <a:pt x="858" y="90"/>
                  </a:lnTo>
                  <a:lnTo>
                    <a:pt x="870" y="84"/>
                  </a:lnTo>
                  <a:lnTo>
                    <a:pt x="888" y="84"/>
                  </a:lnTo>
                  <a:lnTo>
                    <a:pt x="894" y="90"/>
                  </a:lnTo>
                  <a:lnTo>
                    <a:pt x="894" y="102"/>
                  </a:lnTo>
                  <a:lnTo>
                    <a:pt x="900" y="102"/>
                  </a:lnTo>
                  <a:lnTo>
                    <a:pt x="906" y="114"/>
                  </a:lnTo>
                  <a:lnTo>
                    <a:pt x="930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54" y="138"/>
                  </a:lnTo>
                  <a:lnTo>
                    <a:pt x="966" y="144"/>
                  </a:lnTo>
                  <a:lnTo>
                    <a:pt x="966" y="150"/>
                  </a:lnTo>
                  <a:lnTo>
                    <a:pt x="972" y="150"/>
                  </a:lnTo>
                  <a:lnTo>
                    <a:pt x="978" y="150"/>
                  </a:lnTo>
                  <a:lnTo>
                    <a:pt x="978" y="144"/>
                  </a:lnTo>
                  <a:lnTo>
                    <a:pt x="984" y="144"/>
                  </a:lnTo>
                  <a:lnTo>
                    <a:pt x="990" y="138"/>
                  </a:lnTo>
                  <a:lnTo>
                    <a:pt x="996" y="138"/>
                  </a:lnTo>
                  <a:lnTo>
                    <a:pt x="1002" y="138"/>
                  </a:lnTo>
                  <a:lnTo>
                    <a:pt x="1008" y="138"/>
                  </a:lnTo>
                  <a:lnTo>
                    <a:pt x="1026" y="132"/>
                  </a:lnTo>
                  <a:lnTo>
                    <a:pt x="1044" y="126"/>
                  </a:lnTo>
                  <a:lnTo>
                    <a:pt x="1056" y="120"/>
                  </a:lnTo>
                  <a:lnTo>
                    <a:pt x="1062" y="108"/>
                  </a:lnTo>
                  <a:lnTo>
                    <a:pt x="1056" y="102"/>
                  </a:lnTo>
                  <a:lnTo>
                    <a:pt x="1062" y="96"/>
                  </a:lnTo>
                  <a:lnTo>
                    <a:pt x="1074" y="90"/>
                  </a:lnTo>
                  <a:lnTo>
                    <a:pt x="1080" y="84"/>
                  </a:lnTo>
                  <a:lnTo>
                    <a:pt x="1128" y="84"/>
                  </a:lnTo>
                  <a:lnTo>
                    <a:pt x="1134" y="84"/>
                  </a:lnTo>
                  <a:lnTo>
                    <a:pt x="1140" y="78"/>
                  </a:lnTo>
                  <a:lnTo>
                    <a:pt x="1152" y="72"/>
                  </a:lnTo>
                  <a:lnTo>
                    <a:pt x="1164" y="66"/>
                  </a:lnTo>
                  <a:lnTo>
                    <a:pt x="1170" y="60"/>
                  </a:lnTo>
                  <a:lnTo>
                    <a:pt x="1188" y="48"/>
                  </a:lnTo>
                  <a:lnTo>
                    <a:pt x="1200" y="36"/>
                  </a:lnTo>
                  <a:lnTo>
                    <a:pt x="1218" y="24"/>
                  </a:lnTo>
                  <a:lnTo>
                    <a:pt x="1248" y="24"/>
                  </a:lnTo>
                  <a:lnTo>
                    <a:pt x="1272" y="24"/>
                  </a:lnTo>
                  <a:lnTo>
                    <a:pt x="1284" y="12"/>
                  </a:lnTo>
                  <a:lnTo>
                    <a:pt x="1302" y="0"/>
                  </a:lnTo>
                  <a:lnTo>
                    <a:pt x="1314" y="0"/>
                  </a:lnTo>
                  <a:lnTo>
                    <a:pt x="1326" y="18"/>
                  </a:lnTo>
                  <a:lnTo>
                    <a:pt x="1338" y="30"/>
                  </a:lnTo>
                  <a:lnTo>
                    <a:pt x="1338" y="54"/>
                  </a:lnTo>
                  <a:lnTo>
                    <a:pt x="1332" y="72"/>
                  </a:lnTo>
                  <a:lnTo>
                    <a:pt x="1326" y="72"/>
                  </a:lnTo>
                  <a:lnTo>
                    <a:pt x="1326" y="78"/>
                  </a:lnTo>
                  <a:lnTo>
                    <a:pt x="1326" y="102"/>
                  </a:lnTo>
                  <a:lnTo>
                    <a:pt x="1332" y="102"/>
                  </a:lnTo>
                  <a:lnTo>
                    <a:pt x="1332" y="108"/>
                  </a:lnTo>
                  <a:lnTo>
                    <a:pt x="1344" y="114"/>
                  </a:lnTo>
                  <a:lnTo>
                    <a:pt x="1350" y="114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404" y="132"/>
                  </a:lnTo>
                  <a:lnTo>
                    <a:pt x="1404" y="138"/>
                  </a:lnTo>
                  <a:lnTo>
                    <a:pt x="1410" y="150"/>
                  </a:lnTo>
                  <a:lnTo>
                    <a:pt x="1416" y="162"/>
                  </a:lnTo>
                  <a:lnTo>
                    <a:pt x="1428" y="168"/>
                  </a:lnTo>
                  <a:lnTo>
                    <a:pt x="1440" y="180"/>
                  </a:lnTo>
                  <a:lnTo>
                    <a:pt x="1476" y="174"/>
                  </a:lnTo>
                  <a:lnTo>
                    <a:pt x="1494" y="174"/>
                  </a:lnTo>
                  <a:lnTo>
                    <a:pt x="1512" y="192"/>
                  </a:lnTo>
                  <a:lnTo>
                    <a:pt x="1518" y="204"/>
                  </a:lnTo>
                  <a:lnTo>
                    <a:pt x="1530" y="216"/>
                  </a:lnTo>
                  <a:lnTo>
                    <a:pt x="1548" y="228"/>
                  </a:lnTo>
                  <a:lnTo>
                    <a:pt x="1548" y="234"/>
                  </a:lnTo>
                  <a:lnTo>
                    <a:pt x="1542" y="246"/>
                  </a:lnTo>
                  <a:lnTo>
                    <a:pt x="1560" y="246"/>
                  </a:lnTo>
                  <a:lnTo>
                    <a:pt x="1560" y="252"/>
                  </a:lnTo>
                  <a:lnTo>
                    <a:pt x="1566" y="258"/>
                  </a:lnTo>
                  <a:lnTo>
                    <a:pt x="1578" y="270"/>
                  </a:lnTo>
                  <a:lnTo>
                    <a:pt x="1596" y="270"/>
                  </a:lnTo>
                  <a:lnTo>
                    <a:pt x="1602" y="288"/>
                  </a:lnTo>
                  <a:lnTo>
                    <a:pt x="1608" y="306"/>
                  </a:lnTo>
                  <a:lnTo>
                    <a:pt x="1608" y="318"/>
                  </a:lnTo>
                  <a:lnTo>
                    <a:pt x="1608" y="324"/>
                  </a:lnTo>
                  <a:lnTo>
                    <a:pt x="1614" y="330"/>
                  </a:lnTo>
                  <a:lnTo>
                    <a:pt x="1614" y="336"/>
                  </a:lnTo>
                  <a:lnTo>
                    <a:pt x="1614" y="342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08" y="390"/>
                  </a:lnTo>
                  <a:lnTo>
                    <a:pt x="1602" y="390"/>
                  </a:lnTo>
                  <a:lnTo>
                    <a:pt x="1602" y="396"/>
                  </a:lnTo>
                  <a:lnTo>
                    <a:pt x="1584" y="420"/>
                  </a:lnTo>
                  <a:lnTo>
                    <a:pt x="1584" y="426"/>
                  </a:lnTo>
                  <a:lnTo>
                    <a:pt x="1602" y="474"/>
                  </a:lnTo>
                  <a:lnTo>
                    <a:pt x="1608" y="480"/>
                  </a:lnTo>
                  <a:lnTo>
                    <a:pt x="1608" y="486"/>
                  </a:lnTo>
                  <a:lnTo>
                    <a:pt x="1614" y="486"/>
                  </a:lnTo>
                  <a:lnTo>
                    <a:pt x="1608" y="504"/>
                  </a:lnTo>
                  <a:lnTo>
                    <a:pt x="1572" y="504"/>
                  </a:lnTo>
                  <a:lnTo>
                    <a:pt x="1560" y="510"/>
                  </a:lnTo>
                  <a:lnTo>
                    <a:pt x="1554" y="522"/>
                  </a:lnTo>
                  <a:lnTo>
                    <a:pt x="1560" y="552"/>
                  </a:lnTo>
                  <a:lnTo>
                    <a:pt x="1566" y="552"/>
                  </a:lnTo>
                  <a:lnTo>
                    <a:pt x="1566" y="558"/>
                  </a:lnTo>
                  <a:lnTo>
                    <a:pt x="1572" y="558"/>
                  </a:lnTo>
                  <a:lnTo>
                    <a:pt x="1578" y="558"/>
                  </a:lnTo>
                  <a:lnTo>
                    <a:pt x="1578" y="552"/>
                  </a:lnTo>
                  <a:lnTo>
                    <a:pt x="1584" y="552"/>
                  </a:lnTo>
                  <a:lnTo>
                    <a:pt x="1590" y="552"/>
                  </a:lnTo>
                  <a:lnTo>
                    <a:pt x="1590" y="546"/>
                  </a:lnTo>
                  <a:lnTo>
                    <a:pt x="1596" y="546"/>
                  </a:lnTo>
                  <a:lnTo>
                    <a:pt x="1602" y="552"/>
                  </a:lnTo>
                  <a:lnTo>
                    <a:pt x="1602" y="546"/>
                  </a:lnTo>
                  <a:lnTo>
                    <a:pt x="1608" y="546"/>
                  </a:lnTo>
                  <a:lnTo>
                    <a:pt x="1608" y="552"/>
                  </a:lnTo>
                  <a:lnTo>
                    <a:pt x="1614" y="552"/>
                  </a:lnTo>
                  <a:lnTo>
                    <a:pt x="1614" y="546"/>
                  </a:lnTo>
                  <a:lnTo>
                    <a:pt x="1620" y="552"/>
                  </a:lnTo>
                  <a:lnTo>
                    <a:pt x="1626" y="552"/>
                  </a:lnTo>
                  <a:lnTo>
                    <a:pt x="1626" y="558"/>
                  </a:lnTo>
                  <a:lnTo>
                    <a:pt x="1632" y="558"/>
                  </a:lnTo>
                  <a:lnTo>
                    <a:pt x="1638" y="558"/>
                  </a:lnTo>
                  <a:lnTo>
                    <a:pt x="1644" y="558"/>
                  </a:lnTo>
                  <a:lnTo>
                    <a:pt x="1650" y="558"/>
                  </a:lnTo>
                  <a:lnTo>
                    <a:pt x="1650" y="564"/>
                  </a:lnTo>
                  <a:lnTo>
                    <a:pt x="1656" y="564"/>
                  </a:lnTo>
                  <a:lnTo>
                    <a:pt x="1662" y="564"/>
                  </a:lnTo>
                  <a:lnTo>
                    <a:pt x="1668" y="564"/>
                  </a:lnTo>
                  <a:lnTo>
                    <a:pt x="1668" y="570"/>
                  </a:lnTo>
                  <a:lnTo>
                    <a:pt x="1674" y="570"/>
                  </a:lnTo>
                  <a:lnTo>
                    <a:pt x="1680" y="570"/>
                  </a:lnTo>
                  <a:lnTo>
                    <a:pt x="1686" y="576"/>
                  </a:lnTo>
                  <a:lnTo>
                    <a:pt x="1686" y="582"/>
                  </a:lnTo>
                  <a:lnTo>
                    <a:pt x="1710" y="588"/>
                  </a:lnTo>
                  <a:lnTo>
                    <a:pt x="1710" y="594"/>
                  </a:lnTo>
                  <a:lnTo>
                    <a:pt x="1704" y="600"/>
                  </a:lnTo>
                  <a:lnTo>
                    <a:pt x="1710" y="624"/>
                  </a:lnTo>
                  <a:lnTo>
                    <a:pt x="1698" y="672"/>
                  </a:lnTo>
                  <a:lnTo>
                    <a:pt x="1704" y="678"/>
                  </a:lnTo>
                  <a:lnTo>
                    <a:pt x="1716" y="684"/>
                  </a:lnTo>
                  <a:lnTo>
                    <a:pt x="1716" y="678"/>
                  </a:lnTo>
                  <a:lnTo>
                    <a:pt x="1716" y="684"/>
                  </a:lnTo>
                  <a:lnTo>
                    <a:pt x="1728" y="684"/>
                  </a:lnTo>
                  <a:lnTo>
                    <a:pt x="1728" y="690"/>
                  </a:lnTo>
                  <a:lnTo>
                    <a:pt x="1734" y="696"/>
                  </a:lnTo>
                  <a:lnTo>
                    <a:pt x="1734" y="702"/>
                  </a:lnTo>
                  <a:lnTo>
                    <a:pt x="1740" y="708"/>
                  </a:lnTo>
                  <a:lnTo>
                    <a:pt x="1740" y="714"/>
                  </a:lnTo>
                  <a:lnTo>
                    <a:pt x="1710" y="714"/>
                  </a:lnTo>
                  <a:lnTo>
                    <a:pt x="1710" y="756"/>
                  </a:lnTo>
                  <a:lnTo>
                    <a:pt x="1704" y="762"/>
                  </a:lnTo>
                  <a:lnTo>
                    <a:pt x="1698" y="762"/>
                  </a:lnTo>
                  <a:lnTo>
                    <a:pt x="1698" y="768"/>
                  </a:lnTo>
                  <a:lnTo>
                    <a:pt x="1698" y="774"/>
                  </a:lnTo>
                  <a:lnTo>
                    <a:pt x="1692" y="780"/>
                  </a:lnTo>
                  <a:lnTo>
                    <a:pt x="1692" y="786"/>
                  </a:lnTo>
                  <a:lnTo>
                    <a:pt x="1686" y="786"/>
                  </a:lnTo>
                  <a:lnTo>
                    <a:pt x="1668" y="798"/>
                  </a:lnTo>
                  <a:lnTo>
                    <a:pt x="1662" y="810"/>
                  </a:lnTo>
                  <a:lnTo>
                    <a:pt x="1650" y="810"/>
                  </a:lnTo>
                  <a:lnTo>
                    <a:pt x="1644" y="816"/>
                  </a:lnTo>
                  <a:lnTo>
                    <a:pt x="1638" y="816"/>
                  </a:lnTo>
                  <a:lnTo>
                    <a:pt x="1626" y="852"/>
                  </a:lnTo>
                  <a:lnTo>
                    <a:pt x="1620" y="888"/>
                  </a:lnTo>
                  <a:lnTo>
                    <a:pt x="1626" y="888"/>
                  </a:lnTo>
                  <a:lnTo>
                    <a:pt x="1638" y="912"/>
                  </a:lnTo>
                  <a:lnTo>
                    <a:pt x="1644" y="918"/>
                  </a:lnTo>
                  <a:lnTo>
                    <a:pt x="1650" y="966"/>
                  </a:lnTo>
                  <a:lnTo>
                    <a:pt x="1626" y="972"/>
                  </a:lnTo>
                  <a:lnTo>
                    <a:pt x="1608" y="978"/>
                  </a:lnTo>
                  <a:lnTo>
                    <a:pt x="1614" y="984"/>
                  </a:lnTo>
                  <a:lnTo>
                    <a:pt x="1620" y="984"/>
                  </a:lnTo>
                  <a:lnTo>
                    <a:pt x="1620" y="1020"/>
                  </a:lnTo>
                  <a:lnTo>
                    <a:pt x="1614" y="1038"/>
                  </a:lnTo>
                  <a:lnTo>
                    <a:pt x="1620" y="1044"/>
                  </a:lnTo>
                  <a:lnTo>
                    <a:pt x="1626" y="1056"/>
                  </a:lnTo>
                  <a:lnTo>
                    <a:pt x="1626" y="1074"/>
                  </a:lnTo>
                  <a:lnTo>
                    <a:pt x="1620" y="1080"/>
                  </a:lnTo>
                  <a:lnTo>
                    <a:pt x="1620" y="1104"/>
                  </a:lnTo>
                  <a:lnTo>
                    <a:pt x="1620" y="1110"/>
                  </a:lnTo>
                  <a:lnTo>
                    <a:pt x="1614" y="1116"/>
                  </a:lnTo>
                  <a:lnTo>
                    <a:pt x="1608" y="1140"/>
                  </a:lnTo>
                  <a:lnTo>
                    <a:pt x="1602" y="1146"/>
                  </a:lnTo>
                  <a:lnTo>
                    <a:pt x="1602" y="1164"/>
                  </a:lnTo>
                  <a:lnTo>
                    <a:pt x="1596" y="1170"/>
                  </a:lnTo>
                  <a:lnTo>
                    <a:pt x="1590" y="1164"/>
                  </a:lnTo>
                  <a:lnTo>
                    <a:pt x="1584" y="1164"/>
                  </a:lnTo>
                  <a:lnTo>
                    <a:pt x="1578" y="1164"/>
                  </a:lnTo>
                  <a:lnTo>
                    <a:pt x="1578" y="1188"/>
                  </a:lnTo>
                  <a:lnTo>
                    <a:pt x="1584" y="1194"/>
                  </a:lnTo>
                  <a:lnTo>
                    <a:pt x="1590" y="1194"/>
                  </a:lnTo>
                  <a:lnTo>
                    <a:pt x="1590" y="1212"/>
                  </a:lnTo>
                  <a:lnTo>
                    <a:pt x="1584" y="1212"/>
                  </a:lnTo>
                  <a:lnTo>
                    <a:pt x="1584" y="1224"/>
                  </a:lnTo>
                  <a:lnTo>
                    <a:pt x="1578" y="1224"/>
                  </a:lnTo>
                  <a:lnTo>
                    <a:pt x="1578" y="1236"/>
                  </a:lnTo>
                  <a:lnTo>
                    <a:pt x="1584" y="1254"/>
                  </a:lnTo>
                  <a:lnTo>
                    <a:pt x="1584" y="1260"/>
                  </a:lnTo>
                  <a:lnTo>
                    <a:pt x="1590" y="1260"/>
                  </a:lnTo>
                  <a:lnTo>
                    <a:pt x="1590" y="1266"/>
                  </a:lnTo>
                  <a:lnTo>
                    <a:pt x="1596" y="1284"/>
                  </a:lnTo>
                  <a:lnTo>
                    <a:pt x="1602" y="1278"/>
                  </a:lnTo>
                  <a:lnTo>
                    <a:pt x="1608" y="1284"/>
                  </a:lnTo>
                  <a:lnTo>
                    <a:pt x="1632" y="1350"/>
                  </a:lnTo>
                  <a:lnTo>
                    <a:pt x="1638" y="1356"/>
                  </a:lnTo>
                  <a:lnTo>
                    <a:pt x="1644" y="1356"/>
                  </a:lnTo>
                  <a:lnTo>
                    <a:pt x="1650" y="1356"/>
                  </a:lnTo>
                  <a:lnTo>
                    <a:pt x="1656" y="1356"/>
                  </a:lnTo>
                  <a:lnTo>
                    <a:pt x="1662" y="1362"/>
                  </a:lnTo>
                  <a:lnTo>
                    <a:pt x="1668" y="1356"/>
                  </a:lnTo>
                  <a:lnTo>
                    <a:pt x="1668" y="1380"/>
                  </a:lnTo>
                  <a:lnTo>
                    <a:pt x="1662" y="1392"/>
                  </a:lnTo>
                  <a:lnTo>
                    <a:pt x="1656" y="1404"/>
                  </a:lnTo>
                  <a:lnTo>
                    <a:pt x="1656" y="1410"/>
                  </a:lnTo>
                  <a:lnTo>
                    <a:pt x="1656" y="1416"/>
                  </a:lnTo>
                  <a:lnTo>
                    <a:pt x="1650" y="1422"/>
                  </a:lnTo>
                  <a:lnTo>
                    <a:pt x="1650" y="1428"/>
                  </a:lnTo>
                  <a:lnTo>
                    <a:pt x="1644" y="1428"/>
                  </a:lnTo>
                  <a:lnTo>
                    <a:pt x="1644" y="1434"/>
                  </a:lnTo>
                  <a:lnTo>
                    <a:pt x="1638" y="1434"/>
                  </a:lnTo>
                  <a:lnTo>
                    <a:pt x="1638" y="1440"/>
                  </a:lnTo>
                  <a:lnTo>
                    <a:pt x="1632" y="1440"/>
                  </a:lnTo>
                  <a:lnTo>
                    <a:pt x="1638" y="145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8" name="Freeform 13">
              <a:extLst>
                <a:ext uri="{FF2B5EF4-FFF2-40B4-BE49-F238E27FC236}">
                  <a16:creationId xmlns:a16="http://schemas.microsoft.com/office/drawing/2014/main" id="{66308D9B-1739-4227-AAC3-BB866CD1F5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63374" y="2969626"/>
              <a:ext cx="330956" cy="357840"/>
            </a:xfrm>
            <a:custGeom>
              <a:avLst/>
              <a:gdLst>
                <a:gd name="T0" fmla="*/ 11 w 624"/>
                <a:gd name="T1" fmla="*/ 59 h 672"/>
                <a:gd name="T2" fmla="*/ 4 w 624"/>
                <a:gd name="T3" fmla="*/ 58 h 672"/>
                <a:gd name="T4" fmla="*/ 3 w 624"/>
                <a:gd name="T5" fmla="*/ 58 h 672"/>
                <a:gd name="T6" fmla="*/ 2 w 624"/>
                <a:gd name="T7" fmla="*/ 11 h 672"/>
                <a:gd name="T8" fmla="*/ 13 w 624"/>
                <a:gd name="T9" fmla="*/ 11 h 672"/>
                <a:gd name="T10" fmla="*/ 14 w 624"/>
                <a:gd name="T11" fmla="*/ 11 h 672"/>
                <a:gd name="T12" fmla="*/ 15 w 624"/>
                <a:gd name="T13" fmla="*/ 12 h 672"/>
                <a:gd name="T14" fmla="*/ 18 w 624"/>
                <a:gd name="T15" fmla="*/ 14 h 672"/>
                <a:gd name="T16" fmla="*/ 21 w 624"/>
                <a:gd name="T17" fmla="*/ 16 h 672"/>
                <a:gd name="T18" fmla="*/ 22 w 624"/>
                <a:gd name="T19" fmla="*/ 18 h 672"/>
                <a:gd name="T20" fmla="*/ 23 w 624"/>
                <a:gd name="T21" fmla="*/ 19 h 672"/>
                <a:gd name="T22" fmla="*/ 24 w 624"/>
                <a:gd name="T23" fmla="*/ 19 h 672"/>
                <a:gd name="T24" fmla="*/ 26 w 624"/>
                <a:gd name="T25" fmla="*/ 19 h 672"/>
                <a:gd name="T26" fmla="*/ 27 w 624"/>
                <a:gd name="T27" fmla="*/ 18 h 672"/>
                <a:gd name="T28" fmla="*/ 29 w 624"/>
                <a:gd name="T29" fmla="*/ 15 h 672"/>
                <a:gd name="T30" fmla="*/ 30 w 624"/>
                <a:gd name="T31" fmla="*/ 14 h 672"/>
                <a:gd name="T32" fmla="*/ 31 w 624"/>
                <a:gd name="T33" fmla="*/ 12 h 672"/>
                <a:gd name="T34" fmla="*/ 32 w 624"/>
                <a:gd name="T35" fmla="*/ 12 h 672"/>
                <a:gd name="T36" fmla="*/ 33 w 624"/>
                <a:gd name="T37" fmla="*/ 10 h 672"/>
                <a:gd name="T38" fmla="*/ 34 w 624"/>
                <a:gd name="T39" fmla="*/ 8 h 672"/>
                <a:gd name="T40" fmla="*/ 34 w 624"/>
                <a:gd name="T41" fmla="*/ 6 h 672"/>
                <a:gd name="T42" fmla="*/ 35 w 624"/>
                <a:gd name="T43" fmla="*/ 4 h 672"/>
                <a:gd name="T44" fmla="*/ 42 w 624"/>
                <a:gd name="T45" fmla="*/ 3 h 672"/>
                <a:gd name="T46" fmla="*/ 44 w 624"/>
                <a:gd name="T47" fmla="*/ 2 h 672"/>
                <a:gd name="T48" fmla="*/ 46 w 624"/>
                <a:gd name="T49" fmla="*/ 0 h 672"/>
                <a:gd name="T50" fmla="*/ 51 w 624"/>
                <a:gd name="T51" fmla="*/ 3 h 672"/>
                <a:gd name="T52" fmla="*/ 54 w 624"/>
                <a:gd name="T53" fmla="*/ 6 h 672"/>
                <a:gd name="T54" fmla="*/ 54 w 624"/>
                <a:gd name="T55" fmla="*/ 8 h 672"/>
                <a:gd name="T56" fmla="*/ 52 w 624"/>
                <a:gd name="T57" fmla="*/ 9 h 672"/>
                <a:gd name="T58" fmla="*/ 49 w 624"/>
                <a:gd name="T59" fmla="*/ 11 h 672"/>
                <a:gd name="T60" fmla="*/ 48 w 624"/>
                <a:gd name="T61" fmla="*/ 14 h 672"/>
                <a:gd name="T62" fmla="*/ 46 w 624"/>
                <a:gd name="T63" fmla="*/ 22 h 672"/>
                <a:gd name="T64" fmla="*/ 45 w 624"/>
                <a:gd name="T65" fmla="*/ 39 h 672"/>
                <a:gd name="T66" fmla="*/ 43 w 624"/>
                <a:gd name="T67" fmla="*/ 43 h 672"/>
                <a:gd name="T68" fmla="*/ 39 w 624"/>
                <a:gd name="T69" fmla="*/ 50 h 672"/>
                <a:gd name="T70" fmla="*/ 36 w 624"/>
                <a:gd name="T71" fmla="*/ 53 h 672"/>
                <a:gd name="T72" fmla="*/ 32 w 624"/>
                <a:gd name="T73" fmla="*/ 56 h 672"/>
                <a:gd name="T74" fmla="*/ 30 w 624"/>
                <a:gd name="T75" fmla="*/ 58 h 672"/>
                <a:gd name="T76" fmla="*/ 20 w 624"/>
                <a:gd name="T77" fmla="*/ 59 h 672"/>
                <a:gd name="T78" fmla="*/ 15 w 624"/>
                <a:gd name="T79" fmla="*/ 59 h 67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24"/>
                <a:gd name="T121" fmla="*/ 0 h 672"/>
                <a:gd name="T122" fmla="*/ 624 w 624"/>
                <a:gd name="T123" fmla="*/ 672 h 67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24" h="672">
                  <a:moveTo>
                    <a:pt x="168" y="672"/>
                  </a:moveTo>
                  <a:lnTo>
                    <a:pt x="132" y="672"/>
                  </a:lnTo>
                  <a:lnTo>
                    <a:pt x="72" y="666"/>
                  </a:lnTo>
                  <a:lnTo>
                    <a:pt x="42" y="666"/>
                  </a:lnTo>
                  <a:lnTo>
                    <a:pt x="36" y="666"/>
                  </a:lnTo>
                  <a:lnTo>
                    <a:pt x="30" y="660"/>
                  </a:lnTo>
                  <a:lnTo>
                    <a:pt x="0" y="660"/>
                  </a:lnTo>
                  <a:lnTo>
                    <a:pt x="24" y="120"/>
                  </a:lnTo>
                  <a:lnTo>
                    <a:pt x="60" y="120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62" y="120"/>
                  </a:lnTo>
                  <a:lnTo>
                    <a:pt x="168" y="120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10" y="156"/>
                  </a:lnTo>
                  <a:lnTo>
                    <a:pt x="222" y="174"/>
                  </a:lnTo>
                  <a:lnTo>
                    <a:pt x="240" y="186"/>
                  </a:lnTo>
                  <a:lnTo>
                    <a:pt x="252" y="198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216"/>
                  </a:lnTo>
                  <a:lnTo>
                    <a:pt x="270" y="216"/>
                  </a:lnTo>
                  <a:lnTo>
                    <a:pt x="282" y="222"/>
                  </a:lnTo>
                  <a:lnTo>
                    <a:pt x="288" y="222"/>
                  </a:lnTo>
                  <a:lnTo>
                    <a:pt x="294" y="216"/>
                  </a:lnTo>
                  <a:lnTo>
                    <a:pt x="294" y="210"/>
                  </a:lnTo>
                  <a:lnTo>
                    <a:pt x="312" y="204"/>
                  </a:lnTo>
                  <a:lnTo>
                    <a:pt x="330" y="186"/>
                  </a:lnTo>
                  <a:lnTo>
                    <a:pt x="336" y="174"/>
                  </a:lnTo>
                  <a:lnTo>
                    <a:pt x="342" y="162"/>
                  </a:lnTo>
                  <a:lnTo>
                    <a:pt x="342" y="156"/>
                  </a:lnTo>
                  <a:lnTo>
                    <a:pt x="348" y="150"/>
                  </a:lnTo>
                  <a:lnTo>
                    <a:pt x="354" y="144"/>
                  </a:lnTo>
                  <a:lnTo>
                    <a:pt x="360" y="138"/>
                  </a:lnTo>
                  <a:lnTo>
                    <a:pt x="366" y="132"/>
                  </a:lnTo>
                  <a:lnTo>
                    <a:pt x="372" y="114"/>
                  </a:lnTo>
                  <a:lnTo>
                    <a:pt x="378" y="114"/>
                  </a:lnTo>
                  <a:lnTo>
                    <a:pt x="378" y="96"/>
                  </a:lnTo>
                  <a:lnTo>
                    <a:pt x="390" y="96"/>
                  </a:lnTo>
                  <a:lnTo>
                    <a:pt x="396" y="84"/>
                  </a:lnTo>
                  <a:lnTo>
                    <a:pt x="396" y="72"/>
                  </a:lnTo>
                  <a:lnTo>
                    <a:pt x="396" y="54"/>
                  </a:lnTo>
                  <a:lnTo>
                    <a:pt x="408" y="42"/>
                  </a:lnTo>
                  <a:lnTo>
                    <a:pt x="468" y="42"/>
                  </a:lnTo>
                  <a:lnTo>
                    <a:pt x="486" y="36"/>
                  </a:lnTo>
                  <a:lnTo>
                    <a:pt x="492" y="24"/>
                  </a:lnTo>
                  <a:lnTo>
                    <a:pt x="504" y="24"/>
                  </a:lnTo>
                  <a:lnTo>
                    <a:pt x="516" y="6"/>
                  </a:lnTo>
                  <a:lnTo>
                    <a:pt x="528" y="0"/>
                  </a:lnTo>
                  <a:lnTo>
                    <a:pt x="558" y="12"/>
                  </a:lnTo>
                  <a:lnTo>
                    <a:pt x="588" y="36"/>
                  </a:lnTo>
                  <a:lnTo>
                    <a:pt x="600" y="66"/>
                  </a:lnTo>
                  <a:lnTo>
                    <a:pt x="624" y="66"/>
                  </a:lnTo>
                  <a:lnTo>
                    <a:pt x="624" y="90"/>
                  </a:lnTo>
                  <a:lnTo>
                    <a:pt x="618" y="90"/>
                  </a:lnTo>
                  <a:lnTo>
                    <a:pt x="618" y="96"/>
                  </a:lnTo>
                  <a:lnTo>
                    <a:pt x="600" y="102"/>
                  </a:lnTo>
                  <a:lnTo>
                    <a:pt x="588" y="108"/>
                  </a:lnTo>
                  <a:lnTo>
                    <a:pt x="570" y="120"/>
                  </a:lnTo>
                  <a:lnTo>
                    <a:pt x="564" y="138"/>
                  </a:lnTo>
                  <a:lnTo>
                    <a:pt x="558" y="162"/>
                  </a:lnTo>
                  <a:lnTo>
                    <a:pt x="540" y="210"/>
                  </a:lnTo>
                  <a:lnTo>
                    <a:pt x="528" y="252"/>
                  </a:lnTo>
                  <a:lnTo>
                    <a:pt x="528" y="402"/>
                  </a:lnTo>
                  <a:lnTo>
                    <a:pt x="522" y="444"/>
                  </a:lnTo>
                  <a:lnTo>
                    <a:pt x="510" y="468"/>
                  </a:lnTo>
                  <a:lnTo>
                    <a:pt x="498" y="498"/>
                  </a:lnTo>
                  <a:lnTo>
                    <a:pt x="474" y="534"/>
                  </a:lnTo>
                  <a:lnTo>
                    <a:pt x="456" y="570"/>
                  </a:lnTo>
                  <a:lnTo>
                    <a:pt x="444" y="576"/>
                  </a:lnTo>
                  <a:lnTo>
                    <a:pt x="420" y="606"/>
                  </a:lnTo>
                  <a:lnTo>
                    <a:pt x="390" y="624"/>
                  </a:lnTo>
                  <a:lnTo>
                    <a:pt x="372" y="642"/>
                  </a:lnTo>
                  <a:lnTo>
                    <a:pt x="366" y="654"/>
                  </a:lnTo>
                  <a:lnTo>
                    <a:pt x="342" y="660"/>
                  </a:lnTo>
                  <a:lnTo>
                    <a:pt x="300" y="666"/>
                  </a:lnTo>
                  <a:lnTo>
                    <a:pt x="234" y="672"/>
                  </a:lnTo>
                  <a:lnTo>
                    <a:pt x="192" y="672"/>
                  </a:lnTo>
                  <a:lnTo>
                    <a:pt x="168" y="67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9" name="Freeform 14">
              <a:extLst>
                <a:ext uri="{FF2B5EF4-FFF2-40B4-BE49-F238E27FC236}">
                  <a16:creationId xmlns:a16="http://schemas.microsoft.com/office/drawing/2014/main" id="{2EA1E999-9CDF-4391-8BC9-7DE71AF9C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0460" y="2983045"/>
              <a:ext cx="905658" cy="561362"/>
            </a:xfrm>
            <a:custGeom>
              <a:avLst/>
              <a:gdLst>
                <a:gd name="T0" fmla="*/ 31 w 1704"/>
                <a:gd name="T1" fmla="*/ 78 h 1056"/>
                <a:gd name="T2" fmla="*/ 23 w 1704"/>
                <a:gd name="T3" fmla="*/ 78 h 1056"/>
                <a:gd name="T4" fmla="*/ 11 w 1704"/>
                <a:gd name="T5" fmla="*/ 79 h 1056"/>
                <a:gd name="T6" fmla="*/ 1 w 1704"/>
                <a:gd name="T7" fmla="*/ 81 h 1056"/>
                <a:gd name="T8" fmla="*/ 0 w 1704"/>
                <a:gd name="T9" fmla="*/ 62 h 1056"/>
                <a:gd name="T10" fmla="*/ 9 w 1704"/>
                <a:gd name="T11" fmla="*/ 56 h 1056"/>
                <a:gd name="T12" fmla="*/ 27 w 1704"/>
                <a:gd name="T13" fmla="*/ 48 h 1056"/>
                <a:gd name="T14" fmla="*/ 35 w 1704"/>
                <a:gd name="T15" fmla="*/ 20 h 1056"/>
                <a:gd name="T16" fmla="*/ 43 w 1704"/>
                <a:gd name="T17" fmla="*/ 6 h 1056"/>
                <a:gd name="T18" fmla="*/ 47 w 1704"/>
                <a:gd name="T19" fmla="*/ 7 h 1056"/>
                <a:gd name="T20" fmla="*/ 52 w 1704"/>
                <a:gd name="T21" fmla="*/ 0 h 1056"/>
                <a:gd name="T22" fmla="*/ 59 w 1704"/>
                <a:gd name="T23" fmla="*/ 5 h 1056"/>
                <a:gd name="T24" fmla="*/ 63 w 1704"/>
                <a:gd name="T25" fmla="*/ 12 h 1056"/>
                <a:gd name="T26" fmla="*/ 62 w 1704"/>
                <a:gd name="T27" fmla="*/ 15 h 1056"/>
                <a:gd name="T28" fmla="*/ 62 w 1704"/>
                <a:gd name="T29" fmla="*/ 18 h 1056"/>
                <a:gd name="T30" fmla="*/ 70 w 1704"/>
                <a:gd name="T31" fmla="*/ 18 h 1056"/>
                <a:gd name="T32" fmla="*/ 71 w 1704"/>
                <a:gd name="T33" fmla="*/ 14 h 1056"/>
                <a:gd name="T34" fmla="*/ 72 w 1704"/>
                <a:gd name="T35" fmla="*/ 12 h 1056"/>
                <a:gd name="T36" fmla="*/ 78 w 1704"/>
                <a:gd name="T37" fmla="*/ 14 h 1056"/>
                <a:gd name="T38" fmla="*/ 85 w 1704"/>
                <a:gd name="T39" fmla="*/ 21 h 1056"/>
                <a:gd name="T40" fmla="*/ 91 w 1704"/>
                <a:gd name="T41" fmla="*/ 15 h 1056"/>
                <a:gd name="T42" fmla="*/ 93 w 1704"/>
                <a:gd name="T43" fmla="*/ 10 h 1056"/>
                <a:gd name="T44" fmla="*/ 101 w 1704"/>
                <a:gd name="T45" fmla="*/ 14 h 1056"/>
                <a:gd name="T46" fmla="*/ 103 w 1704"/>
                <a:gd name="T47" fmla="*/ 19 h 1056"/>
                <a:gd name="T48" fmla="*/ 115 w 1704"/>
                <a:gd name="T49" fmla="*/ 20 h 1056"/>
                <a:gd name="T50" fmla="*/ 118 w 1704"/>
                <a:gd name="T51" fmla="*/ 23 h 1056"/>
                <a:gd name="T52" fmla="*/ 117 w 1704"/>
                <a:gd name="T53" fmla="*/ 27 h 1056"/>
                <a:gd name="T54" fmla="*/ 111 w 1704"/>
                <a:gd name="T55" fmla="*/ 33 h 1056"/>
                <a:gd name="T56" fmla="*/ 108 w 1704"/>
                <a:gd name="T57" fmla="*/ 36 h 1056"/>
                <a:gd name="T58" fmla="*/ 109 w 1704"/>
                <a:gd name="T59" fmla="*/ 40 h 1056"/>
                <a:gd name="T60" fmla="*/ 111 w 1704"/>
                <a:gd name="T61" fmla="*/ 43 h 1056"/>
                <a:gd name="T62" fmla="*/ 113 w 1704"/>
                <a:gd name="T63" fmla="*/ 50 h 1056"/>
                <a:gd name="T64" fmla="*/ 121 w 1704"/>
                <a:gd name="T65" fmla="*/ 55 h 1056"/>
                <a:gd name="T66" fmla="*/ 132 w 1704"/>
                <a:gd name="T67" fmla="*/ 52 h 1056"/>
                <a:gd name="T68" fmla="*/ 148 w 1704"/>
                <a:gd name="T69" fmla="*/ 58 h 1056"/>
                <a:gd name="T70" fmla="*/ 148 w 1704"/>
                <a:gd name="T71" fmla="*/ 61 h 1056"/>
                <a:gd name="T72" fmla="*/ 148 w 1704"/>
                <a:gd name="T73" fmla="*/ 64 h 1056"/>
                <a:gd name="T74" fmla="*/ 135 w 1704"/>
                <a:gd name="T75" fmla="*/ 61 h 1056"/>
                <a:gd name="T76" fmla="*/ 135 w 1704"/>
                <a:gd name="T77" fmla="*/ 66 h 1056"/>
                <a:gd name="T78" fmla="*/ 137 w 1704"/>
                <a:gd name="T79" fmla="*/ 71 h 1056"/>
                <a:gd name="T80" fmla="*/ 136 w 1704"/>
                <a:gd name="T81" fmla="*/ 79 h 1056"/>
                <a:gd name="T82" fmla="*/ 126 w 1704"/>
                <a:gd name="T83" fmla="*/ 84 h 1056"/>
                <a:gd name="T84" fmla="*/ 121 w 1704"/>
                <a:gd name="T85" fmla="*/ 79 h 1056"/>
                <a:gd name="T86" fmla="*/ 117 w 1704"/>
                <a:gd name="T87" fmla="*/ 75 h 1056"/>
                <a:gd name="T88" fmla="*/ 98 w 1704"/>
                <a:gd name="T89" fmla="*/ 74 h 1056"/>
                <a:gd name="T90" fmla="*/ 81 w 1704"/>
                <a:gd name="T91" fmla="*/ 75 h 1056"/>
                <a:gd name="T92" fmla="*/ 83 w 1704"/>
                <a:gd name="T93" fmla="*/ 88 h 1056"/>
                <a:gd name="T94" fmla="*/ 82 w 1704"/>
                <a:gd name="T95" fmla="*/ 91 h 1056"/>
                <a:gd name="T96" fmla="*/ 77 w 1704"/>
                <a:gd name="T97" fmla="*/ 90 h 1056"/>
                <a:gd name="T98" fmla="*/ 73 w 1704"/>
                <a:gd name="T99" fmla="*/ 86 h 1056"/>
                <a:gd name="T100" fmla="*/ 68 w 1704"/>
                <a:gd name="T101" fmla="*/ 85 h 1056"/>
                <a:gd name="T102" fmla="*/ 64 w 1704"/>
                <a:gd name="T103" fmla="*/ 83 h 1056"/>
                <a:gd name="T104" fmla="*/ 57 w 1704"/>
                <a:gd name="T105" fmla="*/ 81 h 1056"/>
                <a:gd name="T106" fmla="*/ 52 w 1704"/>
                <a:gd name="T107" fmla="*/ 80 h 1056"/>
                <a:gd name="T108" fmla="*/ 50 w 1704"/>
                <a:gd name="T109" fmla="*/ 80 h 1056"/>
                <a:gd name="T110" fmla="*/ 46 w 1704"/>
                <a:gd name="T111" fmla="*/ 79 h 1056"/>
                <a:gd name="T112" fmla="*/ 41 w 1704"/>
                <a:gd name="T113" fmla="*/ 78 h 10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04"/>
                <a:gd name="T172" fmla="*/ 0 h 1056"/>
                <a:gd name="T173" fmla="*/ 1704 w 1704"/>
                <a:gd name="T174" fmla="*/ 1056 h 10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04" h="1056">
                  <a:moveTo>
                    <a:pt x="450" y="888"/>
                  </a:moveTo>
                  <a:lnTo>
                    <a:pt x="420" y="888"/>
                  </a:lnTo>
                  <a:lnTo>
                    <a:pt x="414" y="888"/>
                  </a:lnTo>
                  <a:lnTo>
                    <a:pt x="396" y="888"/>
                  </a:lnTo>
                  <a:lnTo>
                    <a:pt x="372" y="888"/>
                  </a:lnTo>
                  <a:lnTo>
                    <a:pt x="366" y="888"/>
                  </a:lnTo>
                  <a:lnTo>
                    <a:pt x="360" y="888"/>
                  </a:lnTo>
                  <a:lnTo>
                    <a:pt x="348" y="888"/>
                  </a:lnTo>
                  <a:lnTo>
                    <a:pt x="330" y="894"/>
                  </a:lnTo>
                  <a:lnTo>
                    <a:pt x="324" y="894"/>
                  </a:lnTo>
                  <a:lnTo>
                    <a:pt x="312" y="888"/>
                  </a:lnTo>
                  <a:lnTo>
                    <a:pt x="300" y="888"/>
                  </a:lnTo>
                  <a:lnTo>
                    <a:pt x="282" y="888"/>
                  </a:lnTo>
                  <a:lnTo>
                    <a:pt x="270" y="888"/>
                  </a:lnTo>
                  <a:lnTo>
                    <a:pt x="240" y="882"/>
                  </a:lnTo>
                  <a:lnTo>
                    <a:pt x="222" y="882"/>
                  </a:lnTo>
                  <a:lnTo>
                    <a:pt x="198" y="882"/>
                  </a:lnTo>
                  <a:lnTo>
                    <a:pt x="174" y="894"/>
                  </a:lnTo>
                  <a:lnTo>
                    <a:pt x="162" y="900"/>
                  </a:lnTo>
                  <a:lnTo>
                    <a:pt x="144" y="906"/>
                  </a:lnTo>
                  <a:lnTo>
                    <a:pt x="126" y="912"/>
                  </a:lnTo>
                  <a:lnTo>
                    <a:pt x="102" y="924"/>
                  </a:lnTo>
                  <a:lnTo>
                    <a:pt x="78" y="930"/>
                  </a:lnTo>
                  <a:lnTo>
                    <a:pt x="72" y="936"/>
                  </a:lnTo>
                  <a:lnTo>
                    <a:pt x="30" y="954"/>
                  </a:lnTo>
                  <a:lnTo>
                    <a:pt x="12" y="966"/>
                  </a:lnTo>
                  <a:lnTo>
                    <a:pt x="12" y="954"/>
                  </a:lnTo>
                  <a:lnTo>
                    <a:pt x="12" y="930"/>
                  </a:lnTo>
                  <a:lnTo>
                    <a:pt x="12" y="894"/>
                  </a:lnTo>
                  <a:lnTo>
                    <a:pt x="30" y="828"/>
                  </a:lnTo>
                  <a:lnTo>
                    <a:pt x="36" y="798"/>
                  </a:lnTo>
                  <a:lnTo>
                    <a:pt x="18" y="774"/>
                  </a:lnTo>
                  <a:lnTo>
                    <a:pt x="18" y="756"/>
                  </a:lnTo>
                  <a:lnTo>
                    <a:pt x="6" y="738"/>
                  </a:lnTo>
                  <a:lnTo>
                    <a:pt x="0" y="714"/>
                  </a:lnTo>
                  <a:lnTo>
                    <a:pt x="12" y="678"/>
                  </a:lnTo>
                  <a:lnTo>
                    <a:pt x="18" y="678"/>
                  </a:lnTo>
                  <a:lnTo>
                    <a:pt x="24" y="672"/>
                  </a:lnTo>
                  <a:lnTo>
                    <a:pt x="30" y="666"/>
                  </a:lnTo>
                  <a:lnTo>
                    <a:pt x="42" y="648"/>
                  </a:lnTo>
                  <a:lnTo>
                    <a:pt x="66" y="648"/>
                  </a:lnTo>
                  <a:lnTo>
                    <a:pt x="108" y="648"/>
                  </a:lnTo>
                  <a:lnTo>
                    <a:pt x="174" y="642"/>
                  </a:lnTo>
                  <a:lnTo>
                    <a:pt x="216" y="636"/>
                  </a:lnTo>
                  <a:lnTo>
                    <a:pt x="240" y="630"/>
                  </a:lnTo>
                  <a:lnTo>
                    <a:pt x="246" y="618"/>
                  </a:lnTo>
                  <a:lnTo>
                    <a:pt x="264" y="600"/>
                  </a:lnTo>
                  <a:lnTo>
                    <a:pt x="294" y="582"/>
                  </a:lnTo>
                  <a:lnTo>
                    <a:pt x="318" y="552"/>
                  </a:lnTo>
                  <a:lnTo>
                    <a:pt x="330" y="546"/>
                  </a:lnTo>
                  <a:lnTo>
                    <a:pt x="348" y="510"/>
                  </a:lnTo>
                  <a:lnTo>
                    <a:pt x="372" y="474"/>
                  </a:lnTo>
                  <a:lnTo>
                    <a:pt x="384" y="444"/>
                  </a:lnTo>
                  <a:lnTo>
                    <a:pt x="396" y="420"/>
                  </a:lnTo>
                  <a:lnTo>
                    <a:pt x="402" y="378"/>
                  </a:lnTo>
                  <a:lnTo>
                    <a:pt x="402" y="228"/>
                  </a:lnTo>
                  <a:lnTo>
                    <a:pt x="414" y="186"/>
                  </a:lnTo>
                  <a:lnTo>
                    <a:pt x="432" y="138"/>
                  </a:lnTo>
                  <a:lnTo>
                    <a:pt x="438" y="114"/>
                  </a:lnTo>
                  <a:lnTo>
                    <a:pt x="444" y="96"/>
                  </a:lnTo>
                  <a:lnTo>
                    <a:pt x="462" y="84"/>
                  </a:lnTo>
                  <a:lnTo>
                    <a:pt x="474" y="78"/>
                  </a:lnTo>
                  <a:lnTo>
                    <a:pt x="492" y="72"/>
                  </a:lnTo>
                  <a:lnTo>
                    <a:pt x="492" y="66"/>
                  </a:lnTo>
                  <a:lnTo>
                    <a:pt x="498" y="66"/>
                  </a:lnTo>
                  <a:lnTo>
                    <a:pt x="510" y="66"/>
                  </a:lnTo>
                  <a:lnTo>
                    <a:pt x="510" y="72"/>
                  </a:lnTo>
                  <a:lnTo>
                    <a:pt x="516" y="72"/>
                  </a:lnTo>
                  <a:lnTo>
                    <a:pt x="522" y="78"/>
                  </a:lnTo>
                  <a:lnTo>
                    <a:pt x="546" y="78"/>
                  </a:lnTo>
                  <a:lnTo>
                    <a:pt x="552" y="60"/>
                  </a:lnTo>
                  <a:lnTo>
                    <a:pt x="570" y="42"/>
                  </a:lnTo>
                  <a:lnTo>
                    <a:pt x="576" y="24"/>
                  </a:lnTo>
                  <a:lnTo>
                    <a:pt x="588" y="18"/>
                  </a:lnTo>
                  <a:lnTo>
                    <a:pt x="588" y="12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624" y="0"/>
                  </a:lnTo>
                  <a:lnTo>
                    <a:pt x="636" y="6"/>
                  </a:lnTo>
                  <a:lnTo>
                    <a:pt x="648" y="24"/>
                  </a:lnTo>
                  <a:lnTo>
                    <a:pt x="654" y="48"/>
                  </a:lnTo>
                  <a:lnTo>
                    <a:pt x="672" y="60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0" y="72"/>
                  </a:lnTo>
                  <a:lnTo>
                    <a:pt x="690" y="78"/>
                  </a:lnTo>
                  <a:lnTo>
                    <a:pt x="696" y="90"/>
                  </a:lnTo>
                  <a:lnTo>
                    <a:pt x="714" y="114"/>
                  </a:lnTo>
                  <a:lnTo>
                    <a:pt x="714" y="120"/>
                  </a:lnTo>
                  <a:lnTo>
                    <a:pt x="720" y="132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20" y="150"/>
                  </a:lnTo>
                  <a:lnTo>
                    <a:pt x="714" y="150"/>
                  </a:lnTo>
                  <a:lnTo>
                    <a:pt x="714" y="156"/>
                  </a:lnTo>
                  <a:lnTo>
                    <a:pt x="714" y="162"/>
                  </a:lnTo>
                  <a:lnTo>
                    <a:pt x="708" y="162"/>
                  </a:lnTo>
                  <a:lnTo>
                    <a:pt x="708" y="168"/>
                  </a:lnTo>
                  <a:lnTo>
                    <a:pt x="702" y="168"/>
                  </a:lnTo>
                  <a:lnTo>
                    <a:pt x="702" y="174"/>
                  </a:lnTo>
                  <a:lnTo>
                    <a:pt x="702" y="180"/>
                  </a:lnTo>
                  <a:lnTo>
                    <a:pt x="708" y="180"/>
                  </a:lnTo>
                  <a:lnTo>
                    <a:pt x="708" y="186"/>
                  </a:lnTo>
                  <a:lnTo>
                    <a:pt x="708" y="192"/>
                  </a:lnTo>
                  <a:lnTo>
                    <a:pt x="714" y="204"/>
                  </a:lnTo>
                  <a:lnTo>
                    <a:pt x="726" y="216"/>
                  </a:lnTo>
                  <a:lnTo>
                    <a:pt x="738" y="216"/>
                  </a:lnTo>
                  <a:lnTo>
                    <a:pt x="768" y="222"/>
                  </a:lnTo>
                  <a:lnTo>
                    <a:pt x="780" y="216"/>
                  </a:lnTo>
                  <a:lnTo>
                    <a:pt x="792" y="204"/>
                  </a:lnTo>
                  <a:lnTo>
                    <a:pt x="798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6" y="192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6" y="174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22" y="156"/>
                  </a:lnTo>
                  <a:lnTo>
                    <a:pt x="822" y="150"/>
                  </a:lnTo>
                  <a:lnTo>
                    <a:pt x="828" y="144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8" y="138"/>
                  </a:lnTo>
                  <a:lnTo>
                    <a:pt x="834" y="132"/>
                  </a:lnTo>
                  <a:lnTo>
                    <a:pt x="840" y="132"/>
                  </a:lnTo>
                  <a:lnTo>
                    <a:pt x="864" y="126"/>
                  </a:lnTo>
                  <a:lnTo>
                    <a:pt x="906" y="144"/>
                  </a:lnTo>
                  <a:lnTo>
                    <a:pt x="906" y="150"/>
                  </a:lnTo>
                  <a:lnTo>
                    <a:pt x="906" y="156"/>
                  </a:lnTo>
                  <a:lnTo>
                    <a:pt x="900" y="162"/>
                  </a:lnTo>
                  <a:lnTo>
                    <a:pt x="924" y="168"/>
                  </a:lnTo>
                  <a:lnTo>
                    <a:pt x="942" y="192"/>
                  </a:lnTo>
                  <a:lnTo>
                    <a:pt x="972" y="210"/>
                  </a:lnTo>
                  <a:lnTo>
                    <a:pt x="972" y="216"/>
                  </a:lnTo>
                  <a:lnTo>
                    <a:pt x="972" y="228"/>
                  </a:lnTo>
                  <a:lnTo>
                    <a:pt x="978" y="234"/>
                  </a:lnTo>
                  <a:lnTo>
                    <a:pt x="978" y="246"/>
                  </a:lnTo>
                  <a:lnTo>
                    <a:pt x="984" y="252"/>
                  </a:lnTo>
                  <a:lnTo>
                    <a:pt x="1014" y="252"/>
                  </a:lnTo>
                  <a:lnTo>
                    <a:pt x="1020" y="228"/>
                  </a:lnTo>
                  <a:lnTo>
                    <a:pt x="1026" y="198"/>
                  </a:lnTo>
                  <a:lnTo>
                    <a:pt x="1050" y="186"/>
                  </a:lnTo>
                  <a:lnTo>
                    <a:pt x="1056" y="180"/>
                  </a:lnTo>
                  <a:lnTo>
                    <a:pt x="1050" y="174"/>
                  </a:lnTo>
                  <a:lnTo>
                    <a:pt x="1050" y="168"/>
                  </a:lnTo>
                  <a:lnTo>
                    <a:pt x="1050" y="162"/>
                  </a:lnTo>
                  <a:lnTo>
                    <a:pt x="1056" y="162"/>
                  </a:lnTo>
                  <a:lnTo>
                    <a:pt x="1062" y="162"/>
                  </a:lnTo>
                  <a:lnTo>
                    <a:pt x="1074" y="162"/>
                  </a:lnTo>
                  <a:lnTo>
                    <a:pt x="1074" y="144"/>
                  </a:lnTo>
                  <a:lnTo>
                    <a:pt x="1074" y="120"/>
                  </a:lnTo>
                  <a:lnTo>
                    <a:pt x="1092" y="120"/>
                  </a:lnTo>
                  <a:lnTo>
                    <a:pt x="1098" y="126"/>
                  </a:lnTo>
                  <a:lnTo>
                    <a:pt x="1134" y="132"/>
                  </a:lnTo>
                  <a:lnTo>
                    <a:pt x="1146" y="132"/>
                  </a:lnTo>
                  <a:lnTo>
                    <a:pt x="1158" y="150"/>
                  </a:lnTo>
                  <a:lnTo>
                    <a:pt x="1158" y="156"/>
                  </a:lnTo>
                  <a:lnTo>
                    <a:pt x="1158" y="162"/>
                  </a:lnTo>
                  <a:lnTo>
                    <a:pt x="1158" y="180"/>
                  </a:lnTo>
                  <a:lnTo>
                    <a:pt x="1158" y="186"/>
                  </a:lnTo>
                  <a:lnTo>
                    <a:pt x="1164" y="192"/>
                  </a:lnTo>
                  <a:lnTo>
                    <a:pt x="1176" y="198"/>
                  </a:lnTo>
                  <a:lnTo>
                    <a:pt x="1182" y="198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8"/>
                  </a:lnTo>
                  <a:lnTo>
                    <a:pt x="1188" y="234"/>
                  </a:lnTo>
                  <a:lnTo>
                    <a:pt x="1212" y="234"/>
                  </a:lnTo>
                  <a:lnTo>
                    <a:pt x="1242" y="234"/>
                  </a:lnTo>
                  <a:lnTo>
                    <a:pt x="1248" y="234"/>
                  </a:lnTo>
                  <a:lnTo>
                    <a:pt x="1278" y="240"/>
                  </a:lnTo>
                  <a:lnTo>
                    <a:pt x="1320" y="234"/>
                  </a:lnTo>
                  <a:lnTo>
                    <a:pt x="1332" y="228"/>
                  </a:lnTo>
                  <a:lnTo>
                    <a:pt x="1344" y="228"/>
                  </a:lnTo>
                  <a:lnTo>
                    <a:pt x="1350" y="234"/>
                  </a:lnTo>
                  <a:lnTo>
                    <a:pt x="1350" y="240"/>
                  </a:lnTo>
                  <a:lnTo>
                    <a:pt x="1356" y="246"/>
                  </a:lnTo>
                  <a:lnTo>
                    <a:pt x="1350" y="252"/>
                  </a:lnTo>
                  <a:lnTo>
                    <a:pt x="1356" y="264"/>
                  </a:lnTo>
                  <a:lnTo>
                    <a:pt x="1356" y="270"/>
                  </a:lnTo>
                  <a:lnTo>
                    <a:pt x="1356" y="276"/>
                  </a:lnTo>
                  <a:lnTo>
                    <a:pt x="1356" y="282"/>
                  </a:lnTo>
                  <a:lnTo>
                    <a:pt x="1356" y="288"/>
                  </a:lnTo>
                  <a:lnTo>
                    <a:pt x="1350" y="294"/>
                  </a:lnTo>
                  <a:lnTo>
                    <a:pt x="1344" y="300"/>
                  </a:lnTo>
                  <a:lnTo>
                    <a:pt x="1344" y="306"/>
                  </a:lnTo>
                  <a:lnTo>
                    <a:pt x="1338" y="312"/>
                  </a:lnTo>
                  <a:lnTo>
                    <a:pt x="1326" y="342"/>
                  </a:lnTo>
                  <a:lnTo>
                    <a:pt x="1320" y="348"/>
                  </a:lnTo>
                  <a:lnTo>
                    <a:pt x="1314" y="354"/>
                  </a:lnTo>
                  <a:lnTo>
                    <a:pt x="1290" y="354"/>
                  </a:lnTo>
                  <a:lnTo>
                    <a:pt x="1284" y="360"/>
                  </a:lnTo>
                  <a:lnTo>
                    <a:pt x="1278" y="378"/>
                  </a:lnTo>
                  <a:lnTo>
                    <a:pt x="1278" y="384"/>
                  </a:lnTo>
                  <a:lnTo>
                    <a:pt x="1272" y="390"/>
                  </a:lnTo>
                  <a:lnTo>
                    <a:pt x="1266" y="396"/>
                  </a:lnTo>
                  <a:lnTo>
                    <a:pt x="1260" y="396"/>
                  </a:lnTo>
                  <a:lnTo>
                    <a:pt x="1248" y="402"/>
                  </a:lnTo>
                  <a:lnTo>
                    <a:pt x="1242" y="408"/>
                  </a:lnTo>
                  <a:lnTo>
                    <a:pt x="1242" y="414"/>
                  </a:lnTo>
                  <a:lnTo>
                    <a:pt x="1242" y="420"/>
                  </a:lnTo>
                  <a:lnTo>
                    <a:pt x="1236" y="432"/>
                  </a:lnTo>
                  <a:lnTo>
                    <a:pt x="1242" y="432"/>
                  </a:lnTo>
                  <a:lnTo>
                    <a:pt x="1242" y="444"/>
                  </a:lnTo>
                  <a:lnTo>
                    <a:pt x="1242" y="456"/>
                  </a:lnTo>
                  <a:lnTo>
                    <a:pt x="1248" y="456"/>
                  </a:lnTo>
                  <a:lnTo>
                    <a:pt x="1254" y="462"/>
                  </a:lnTo>
                  <a:lnTo>
                    <a:pt x="1248" y="468"/>
                  </a:lnTo>
                  <a:lnTo>
                    <a:pt x="1254" y="468"/>
                  </a:lnTo>
                  <a:lnTo>
                    <a:pt x="1266" y="474"/>
                  </a:lnTo>
                  <a:lnTo>
                    <a:pt x="1266" y="480"/>
                  </a:lnTo>
                  <a:lnTo>
                    <a:pt x="1266" y="486"/>
                  </a:lnTo>
                  <a:lnTo>
                    <a:pt x="1272" y="486"/>
                  </a:lnTo>
                  <a:lnTo>
                    <a:pt x="1272" y="492"/>
                  </a:lnTo>
                  <a:lnTo>
                    <a:pt x="1290" y="510"/>
                  </a:lnTo>
                  <a:lnTo>
                    <a:pt x="1296" y="516"/>
                  </a:lnTo>
                  <a:lnTo>
                    <a:pt x="1302" y="540"/>
                  </a:lnTo>
                  <a:lnTo>
                    <a:pt x="1302" y="546"/>
                  </a:lnTo>
                  <a:lnTo>
                    <a:pt x="1302" y="558"/>
                  </a:lnTo>
                  <a:lnTo>
                    <a:pt x="1302" y="570"/>
                  </a:lnTo>
                  <a:lnTo>
                    <a:pt x="1302" y="576"/>
                  </a:lnTo>
                  <a:lnTo>
                    <a:pt x="1344" y="570"/>
                  </a:lnTo>
                  <a:lnTo>
                    <a:pt x="1350" y="582"/>
                  </a:lnTo>
                  <a:lnTo>
                    <a:pt x="1368" y="594"/>
                  </a:lnTo>
                  <a:lnTo>
                    <a:pt x="1374" y="600"/>
                  </a:lnTo>
                  <a:lnTo>
                    <a:pt x="1380" y="600"/>
                  </a:lnTo>
                  <a:lnTo>
                    <a:pt x="1380" y="618"/>
                  </a:lnTo>
                  <a:lnTo>
                    <a:pt x="1386" y="624"/>
                  </a:lnTo>
                  <a:lnTo>
                    <a:pt x="1404" y="624"/>
                  </a:lnTo>
                  <a:lnTo>
                    <a:pt x="1410" y="612"/>
                  </a:lnTo>
                  <a:lnTo>
                    <a:pt x="1428" y="606"/>
                  </a:lnTo>
                  <a:lnTo>
                    <a:pt x="1488" y="606"/>
                  </a:lnTo>
                  <a:lnTo>
                    <a:pt x="1506" y="606"/>
                  </a:lnTo>
                  <a:lnTo>
                    <a:pt x="1512" y="600"/>
                  </a:lnTo>
                  <a:lnTo>
                    <a:pt x="1524" y="594"/>
                  </a:lnTo>
                  <a:lnTo>
                    <a:pt x="1554" y="594"/>
                  </a:lnTo>
                  <a:lnTo>
                    <a:pt x="1578" y="606"/>
                  </a:lnTo>
                  <a:lnTo>
                    <a:pt x="1596" y="624"/>
                  </a:lnTo>
                  <a:lnTo>
                    <a:pt x="1650" y="642"/>
                  </a:lnTo>
                  <a:lnTo>
                    <a:pt x="1686" y="648"/>
                  </a:lnTo>
                  <a:lnTo>
                    <a:pt x="1698" y="654"/>
                  </a:lnTo>
                  <a:lnTo>
                    <a:pt x="1698" y="660"/>
                  </a:lnTo>
                  <a:lnTo>
                    <a:pt x="1692" y="666"/>
                  </a:lnTo>
                  <a:lnTo>
                    <a:pt x="1692" y="672"/>
                  </a:lnTo>
                  <a:lnTo>
                    <a:pt x="1698" y="678"/>
                  </a:lnTo>
                  <a:lnTo>
                    <a:pt x="1698" y="684"/>
                  </a:lnTo>
                  <a:lnTo>
                    <a:pt x="1692" y="684"/>
                  </a:lnTo>
                  <a:lnTo>
                    <a:pt x="1692" y="690"/>
                  </a:lnTo>
                  <a:lnTo>
                    <a:pt x="1698" y="696"/>
                  </a:lnTo>
                  <a:lnTo>
                    <a:pt x="1698" y="702"/>
                  </a:lnTo>
                  <a:lnTo>
                    <a:pt x="1698" y="708"/>
                  </a:lnTo>
                  <a:lnTo>
                    <a:pt x="1704" y="714"/>
                  </a:lnTo>
                  <a:lnTo>
                    <a:pt x="1704" y="720"/>
                  </a:lnTo>
                  <a:lnTo>
                    <a:pt x="1704" y="726"/>
                  </a:lnTo>
                  <a:lnTo>
                    <a:pt x="1704" y="732"/>
                  </a:lnTo>
                  <a:lnTo>
                    <a:pt x="1704" y="738"/>
                  </a:lnTo>
                  <a:lnTo>
                    <a:pt x="1698" y="726"/>
                  </a:lnTo>
                  <a:lnTo>
                    <a:pt x="1668" y="720"/>
                  </a:lnTo>
                  <a:lnTo>
                    <a:pt x="1626" y="714"/>
                  </a:lnTo>
                  <a:lnTo>
                    <a:pt x="1614" y="708"/>
                  </a:lnTo>
                  <a:lnTo>
                    <a:pt x="1578" y="696"/>
                  </a:lnTo>
                  <a:lnTo>
                    <a:pt x="1566" y="696"/>
                  </a:lnTo>
                  <a:lnTo>
                    <a:pt x="1548" y="702"/>
                  </a:lnTo>
                  <a:lnTo>
                    <a:pt x="1542" y="714"/>
                  </a:lnTo>
                  <a:lnTo>
                    <a:pt x="1536" y="732"/>
                  </a:lnTo>
                  <a:lnTo>
                    <a:pt x="1530" y="750"/>
                  </a:lnTo>
                  <a:lnTo>
                    <a:pt x="1536" y="750"/>
                  </a:lnTo>
                  <a:lnTo>
                    <a:pt x="1542" y="756"/>
                  </a:lnTo>
                  <a:lnTo>
                    <a:pt x="1542" y="762"/>
                  </a:lnTo>
                  <a:lnTo>
                    <a:pt x="1548" y="762"/>
                  </a:lnTo>
                  <a:lnTo>
                    <a:pt x="1554" y="762"/>
                  </a:lnTo>
                  <a:lnTo>
                    <a:pt x="1554" y="768"/>
                  </a:lnTo>
                  <a:lnTo>
                    <a:pt x="1560" y="774"/>
                  </a:lnTo>
                  <a:lnTo>
                    <a:pt x="1566" y="774"/>
                  </a:lnTo>
                  <a:lnTo>
                    <a:pt x="1584" y="792"/>
                  </a:lnTo>
                  <a:lnTo>
                    <a:pt x="1584" y="810"/>
                  </a:lnTo>
                  <a:lnTo>
                    <a:pt x="1572" y="816"/>
                  </a:lnTo>
                  <a:lnTo>
                    <a:pt x="1578" y="834"/>
                  </a:lnTo>
                  <a:lnTo>
                    <a:pt x="1578" y="846"/>
                  </a:lnTo>
                  <a:lnTo>
                    <a:pt x="1584" y="858"/>
                  </a:lnTo>
                  <a:lnTo>
                    <a:pt x="1590" y="864"/>
                  </a:lnTo>
                  <a:lnTo>
                    <a:pt x="1590" y="876"/>
                  </a:lnTo>
                  <a:lnTo>
                    <a:pt x="1578" y="888"/>
                  </a:lnTo>
                  <a:lnTo>
                    <a:pt x="1560" y="906"/>
                  </a:lnTo>
                  <a:lnTo>
                    <a:pt x="1536" y="930"/>
                  </a:lnTo>
                  <a:lnTo>
                    <a:pt x="1530" y="930"/>
                  </a:lnTo>
                  <a:lnTo>
                    <a:pt x="1506" y="942"/>
                  </a:lnTo>
                  <a:lnTo>
                    <a:pt x="1488" y="948"/>
                  </a:lnTo>
                  <a:lnTo>
                    <a:pt x="1476" y="954"/>
                  </a:lnTo>
                  <a:lnTo>
                    <a:pt x="1458" y="960"/>
                  </a:lnTo>
                  <a:lnTo>
                    <a:pt x="1452" y="966"/>
                  </a:lnTo>
                  <a:lnTo>
                    <a:pt x="1446" y="966"/>
                  </a:lnTo>
                  <a:lnTo>
                    <a:pt x="1434" y="972"/>
                  </a:lnTo>
                  <a:lnTo>
                    <a:pt x="1434" y="954"/>
                  </a:lnTo>
                  <a:lnTo>
                    <a:pt x="1422" y="942"/>
                  </a:lnTo>
                  <a:lnTo>
                    <a:pt x="1398" y="924"/>
                  </a:lnTo>
                  <a:lnTo>
                    <a:pt x="1398" y="912"/>
                  </a:lnTo>
                  <a:lnTo>
                    <a:pt x="1398" y="906"/>
                  </a:lnTo>
                  <a:lnTo>
                    <a:pt x="1398" y="900"/>
                  </a:lnTo>
                  <a:lnTo>
                    <a:pt x="1380" y="900"/>
                  </a:lnTo>
                  <a:lnTo>
                    <a:pt x="1380" y="894"/>
                  </a:lnTo>
                  <a:lnTo>
                    <a:pt x="1368" y="888"/>
                  </a:lnTo>
                  <a:lnTo>
                    <a:pt x="1362" y="882"/>
                  </a:lnTo>
                  <a:lnTo>
                    <a:pt x="1356" y="876"/>
                  </a:lnTo>
                  <a:lnTo>
                    <a:pt x="1350" y="864"/>
                  </a:lnTo>
                  <a:lnTo>
                    <a:pt x="1344" y="858"/>
                  </a:lnTo>
                  <a:lnTo>
                    <a:pt x="1314" y="870"/>
                  </a:lnTo>
                  <a:lnTo>
                    <a:pt x="1272" y="876"/>
                  </a:lnTo>
                  <a:lnTo>
                    <a:pt x="1218" y="870"/>
                  </a:lnTo>
                  <a:lnTo>
                    <a:pt x="1200" y="864"/>
                  </a:lnTo>
                  <a:lnTo>
                    <a:pt x="1182" y="864"/>
                  </a:lnTo>
                  <a:lnTo>
                    <a:pt x="1134" y="858"/>
                  </a:lnTo>
                  <a:lnTo>
                    <a:pt x="1110" y="840"/>
                  </a:lnTo>
                  <a:lnTo>
                    <a:pt x="1086" y="828"/>
                  </a:lnTo>
                  <a:lnTo>
                    <a:pt x="1044" y="816"/>
                  </a:lnTo>
                  <a:lnTo>
                    <a:pt x="1014" y="816"/>
                  </a:lnTo>
                  <a:lnTo>
                    <a:pt x="990" y="822"/>
                  </a:lnTo>
                  <a:lnTo>
                    <a:pt x="948" y="858"/>
                  </a:lnTo>
                  <a:lnTo>
                    <a:pt x="930" y="864"/>
                  </a:lnTo>
                  <a:lnTo>
                    <a:pt x="924" y="876"/>
                  </a:lnTo>
                  <a:lnTo>
                    <a:pt x="918" y="906"/>
                  </a:lnTo>
                  <a:lnTo>
                    <a:pt x="924" y="930"/>
                  </a:lnTo>
                  <a:lnTo>
                    <a:pt x="948" y="984"/>
                  </a:lnTo>
                  <a:lnTo>
                    <a:pt x="954" y="1008"/>
                  </a:lnTo>
                  <a:lnTo>
                    <a:pt x="948" y="1014"/>
                  </a:lnTo>
                  <a:lnTo>
                    <a:pt x="954" y="1014"/>
                  </a:lnTo>
                  <a:lnTo>
                    <a:pt x="954" y="1032"/>
                  </a:lnTo>
                  <a:lnTo>
                    <a:pt x="966" y="1044"/>
                  </a:lnTo>
                  <a:lnTo>
                    <a:pt x="960" y="1056"/>
                  </a:lnTo>
                  <a:lnTo>
                    <a:pt x="954" y="1056"/>
                  </a:lnTo>
                  <a:lnTo>
                    <a:pt x="948" y="1056"/>
                  </a:lnTo>
                  <a:lnTo>
                    <a:pt x="942" y="1056"/>
                  </a:lnTo>
                  <a:lnTo>
                    <a:pt x="936" y="1050"/>
                  </a:lnTo>
                  <a:lnTo>
                    <a:pt x="930" y="1044"/>
                  </a:lnTo>
                  <a:lnTo>
                    <a:pt x="924" y="1044"/>
                  </a:lnTo>
                  <a:lnTo>
                    <a:pt x="918" y="1038"/>
                  </a:lnTo>
                  <a:lnTo>
                    <a:pt x="912" y="1038"/>
                  </a:lnTo>
                  <a:lnTo>
                    <a:pt x="906" y="1032"/>
                  </a:lnTo>
                  <a:lnTo>
                    <a:pt x="900" y="1032"/>
                  </a:lnTo>
                  <a:lnTo>
                    <a:pt x="888" y="1026"/>
                  </a:lnTo>
                  <a:lnTo>
                    <a:pt x="882" y="1026"/>
                  </a:lnTo>
                  <a:lnTo>
                    <a:pt x="876" y="1026"/>
                  </a:lnTo>
                  <a:lnTo>
                    <a:pt x="864" y="1014"/>
                  </a:lnTo>
                  <a:lnTo>
                    <a:pt x="846" y="1008"/>
                  </a:lnTo>
                  <a:lnTo>
                    <a:pt x="840" y="996"/>
                  </a:lnTo>
                  <a:lnTo>
                    <a:pt x="840" y="990"/>
                  </a:lnTo>
                  <a:lnTo>
                    <a:pt x="834" y="990"/>
                  </a:lnTo>
                  <a:lnTo>
                    <a:pt x="828" y="990"/>
                  </a:lnTo>
                  <a:lnTo>
                    <a:pt x="816" y="990"/>
                  </a:lnTo>
                  <a:lnTo>
                    <a:pt x="810" y="990"/>
                  </a:lnTo>
                  <a:lnTo>
                    <a:pt x="804" y="984"/>
                  </a:lnTo>
                  <a:lnTo>
                    <a:pt x="792" y="978"/>
                  </a:lnTo>
                  <a:lnTo>
                    <a:pt x="786" y="972"/>
                  </a:lnTo>
                  <a:lnTo>
                    <a:pt x="780" y="972"/>
                  </a:lnTo>
                  <a:lnTo>
                    <a:pt x="768" y="966"/>
                  </a:lnTo>
                  <a:lnTo>
                    <a:pt x="762" y="966"/>
                  </a:lnTo>
                  <a:lnTo>
                    <a:pt x="756" y="966"/>
                  </a:lnTo>
                  <a:lnTo>
                    <a:pt x="750" y="966"/>
                  </a:lnTo>
                  <a:lnTo>
                    <a:pt x="744" y="966"/>
                  </a:lnTo>
                  <a:lnTo>
                    <a:pt x="738" y="960"/>
                  </a:lnTo>
                  <a:lnTo>
                    <a:pt x="732" y="954"/>
                  </a:lnTo>
                  <a:lnTo>
                    <a:pt x="720" y="954"/>
                  </a:lnTo>
                  <a:lnTo>
                    <a:pt x="714" y="948"/>
                  </a:lnTo>
                  <a:lnTo>
                    <a:pt x="708" y="948"/>
                  </a:lnTo>
                  <a:lnTo>
                    <a:pt x="696" y="948"/>
                  </a:lnTo>
                  <a:lnTo>
                    <a:pt x="684" y="942"/>
                  </a:lnTo>
                  <a:lnTo>
                    <a:pt x="678" y="936"/>
                  </a:lnTo>
                  <a:lnTo>
                    <a:pt x="660" y="930"/>
                  </a:lnTo>
                  <a:lnTo>
                    <a:pt x="642" y="924"/>
                  </a:lnTo>
                  <a:lnTo>
                    <a:pt x="636" y="924"/>
                  </a:lnTo>
                  <a:lnTo>
                    <a:pt x="630" y="924"/>
                  </a:lnTo>
                  <a:lnTo>
                    <a:pt x="618" y="924"/>
                  </a:lnTo>
                  <a:lnTo>
                    <a:pt x="618" y="918"/>
                  </a:lnTo>
                  <a:lnTo>
                    <a:pt x="606" y="918"/>
                  </a:lnTo>
                  <a:lnTo>
                    <a:pt x="600" y="918"/>
                  </a:lnTo>
                  <a:lnTo>
                    <a:pt x="594" y="918"/>
                  </a:lnTo>
                  <a:lnTo>
                    <a:pt x="594" y="912"/>
                  </a:lnTo>
                  <a:lnTo>
                    <a:pt x="588" y="912"/>
                  </a:lnTo>
                  <a:lnTo>
                    <a:pt x="582" y="912"/>
                  </a:lnTo>
                  <a:lnTo>
                    <a:pt x="582" y="918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58" y="918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12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00"/>
                  </a:lnTo>
                  <a:lnTo>
                    <a:pt x="516" y="900"/>
                  </a:lnTo>
                  <a:lnTo>
                    <a:pt x="510" y="900"/>
                  </a:lnTo>
                  <a:lnTo>
                    <a:pt x="486" y="894"/>
                  </a:lnTo>
                  <a:lnTo>
                    <a:pt x="474" y="888"/>
                  </a:lnTo>
                  <a:lnTo>
                    <a:pt x="468" y="888"/>
                  </a:lnTo>
                  <a:lnTo>
                    <a:pt x="450" y="88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0" name="Freeform 15">
              <a:extLst>
                <a:ext uri="{FF2B5EF4-FFF2-40B4-BE49-F238E27FC236}">
                  <a16:creationId xmlns:a16="http://schemas.microsoft.com/office/drawing/2014/main" id="{8B991D7A-45C6-40F6-A035-24DFC733305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382" y="2652043"/>
              <a:ext cx="724526" cy="695552"/>
            </a:xfrm>
            <a:custGeom>
              <a:avLst/>
              <a:gdLst>
                <a:gd name="T0" fmla="*/ 44 w 1362"/>
                <a:gd name="T1" fmla="*/ 106 h 1308"/>
                <a:gd name="T2" fmla="*/ 32 w 1362"/>
                <a:gd name="T3" fmla="*/ 109 h 1308"/>
                <a:gd name="T4" fmla="*/ 25 w 1362"/>
                <a:gd name="T5" fmla="*/ 105 h 1308"/>
                <a:gd name="T6" fmla="*/ 22 w 1362"/>
                <a:gd name="T7" fmla="*/ 97 h 1308"/>
                <a:gd name="T8" fmla="*/ 21 w 1362"/>
                <a:gd name="T9" fmla="*/ 95 h 1308"/>
                <a:gd name="T10" fmla="*/ 20 w 1362"/>
                <a:gd name="T11" fmla="*/ 90 h 1308"/>
                <a:gd name="T12" fmla="*/ 23 w 1362"/>
                <a:gd name="T13" fmla="*/ 87 h 1308"/>
                <a:gd name="T14" fmla="*/ 29 w 1362"/>
                <a:gd name="T15" fmla="*/ 81 h 1308"/>
                <a:gd name="T16" fmla="*/ 30 w 1362"/>
                <a:gd name="T17" fmla="*/ 78 h 1308"/>
                <a:gd name="T18" fmla="*/ 27 w 1362"/>
                <a:gd name="T19" fmla="*/ 75 h 1308"/>
                <a:gd name="T20" fmla="*/ 15 w 1362"/>
                <a:gd name="T21" fmla="*/ 73 h 1308"/>
                <a:gd name="T22" fmla="*/ 12 w 1362"/>
                <a:gd name="T23" fmla="*/ 69 h 1308"/>
                <a:gd name="T24" fmla="*/ 5 w 1362"/>
                <a:gd name="T25" fmla="*/ 65 h 1308"/>
                <a:gd name="T26" fmla="*/ 6 w 1362"/>
                <a:gd name="T27" fmla="*/ 62 h 1308"/>
                <a:gd name="T28" fmla="*/ 7 w 1362"/>
                <a:gd name="T29" fmla="*/ 56 h 1308"/>
                <a:gd name="T30" fmla="*/ 2 w 1362"/>
                <a:gd name="T31" fmla="*/ 49 h 1308"/>
                <a:gd name="T32" fmla="*/ 0 w 1362"/>
                <a:gd name="T33" fmla="*/ 44 h 1308"/>
                <a:gd name="T34" fmla="*/ 0 w 1362"/>
                <a:gd name="T35" fmla="*/ 39 h 1308"/>
                <a:gd name="T36" fmla="*/ 3 w 1362"/>
                <a:gd name="T37" fmla="*/ 35 h 1308"/>
                <a:gd name="T38" fmla="*/ 3 w 1362"/>
                <a:gd name="T39" fmla="*/ 28 h 1308"/>
                <a:gd name="T40" fmla="*/ 6 w 1362"/>
                <a:gd name="T41" fmla="*/ 18 h 1308"/>
                <a:gd name="T42" fmla="*/ 6 w 1362"/>
                <a:gd name="T43" fmla="*/ 8 h 1308"/>
                <a:gd name="T44" fmla="*/ 10 w 1362"/>
                <a:gd name="T45" fmla="*/ 5 h 1308"/>
                <a:gd name="T46" fmla="*/ 15 w 1362"/>
                <a:gd name="T47" fmla="*/ 0 h 1308"/>
                <a:gd name="T48" fmla="*/ 21 w 1362"/>
                <a:gd name="T49" fmla="*/ 7 h 1308"/>
                <a:gd name="T50" fmla="*/ 25 w 1362"/>
                <a:gd name="T51" fmla="*/ 15 h 1308"/>
                <a:gd name="T52" fmla="*/ 24 w 1362"/>
                <a:gd name="T53" fmla="*/ 19 h 1308"/>
                <a:gd name="T54" fmla="*/ 32 w 1362"/>
                <a:gd name="T55" fmla="*/ 19 h 1308"/>
                <a:gd name="T56" fmla="*/ 35 w 1362"/>
                <a:gd name="T57" fmla="*/ 20 h 1308"/>
                <a:gd name="T58" fmla="*/ 40 w 1362"/>
                <a:gd name="T59" fmla="*/ 23 h 1308"/>
                <a:gd name="T60" fmla="*/ 40 w 1362"/>
                <a:gd name="T61" fmla="*/ 26 h 1308"/>
                <a:gd name="T62" fmla="*/ 34 w 1362"/>
                <a:gd name="T63" fmla="*/ 35 h 1308"/>
                <a:gd name="T64" fmla="*/ 41 w 1362"/>
                <a:gd name="T65" fmla="*/ 37 h 1308"/>
                <a:gd name="T66" fmla="*/ 43 w 1362"/>
                <a:gd name="T67" fmla="*/ 44 h 1308"/>
                <a:gd name="T68" fmla="*/ 48 w 1362"/>
                <a:gd name="T69" fmla="*/ 47 h 1308"/>
                <a:gd name="T70" fmla="*/ 57 w 1362"/>
                <a:gd name="T71" fmla="*/ 48 h 1308"/>
                <a:gd name="T72" fmla="*/ 70 w 1362"/>
                <a:gd name="T73" fmla="*/ 44 h 1308"/>
                <a:gd name="T74" fmla="*/ 80 w 1362"/>
                <a:gd name="T75" fmla="*/ 34 h 1308"/>
                <a:gd name="T76" fmla="*/ 95 w 1362"/>
                <a:gd name="T77" fmla="*/ 41 h 1308"/>
                <a:gd name="T78" fmla="*/ 109 w 1362"/>
                <a:gd name="T79" fmla="*/ 47 h 1308"/>
                <a:gd name="T80" fmla="*/ 111 w 1362"/>
                <a:gd name="T81" fmla="*/ 50 h 1308"/>
                <a:gd name="T82" fmla="*/ 113 w 1362"/>
                <a:gd name="T83" fmla="*/ 53 h 1308"/>
                <a:gd name="T84" fmla="*/ 113 w 1362"/>
                <a:gd name="T85" fmla="*/ 55 h 1308"/>
                <a:gd name="T86" fmla="*/ 113 w 1362"/>
                <a:gd name="T87" fmla="*/ 59 h 1308"/>
                <a:gd name="T88" fmla="*/ 113 w 1362"/>
                <a:gd name="T89" fmla="*/ 62 h 1308"/>
                <a:gd name="T90" fmla="*/ 115 w 1362"/>
                <a:gd name="T91" fmla="*/ 65 h 1308"/>
                <a:gd name="T92" fmla="*/ 115 w 1362"/>
                <a:gd name="T93" fmla="*/ 67 h 1308"/>
                <a:gd name="T94" fmla="*/ 116 w 1362"/>
                <a:gd name="T95" fmla="*/ 69 h 1308"/>
                <a:gd name="T96" fmla="*/ 116 w 1362"/>
                <a:gd name="T97" fmla="*/ 71 h 1308"/>
                <a:gd name="T98" fmla="*/ 118 w 1362"/>
                <a:gd name="T99" fmla="*/ 75 h 1308"/>
                <a:gd name="T100" fmla="*/ 116 w 1362"/>
                <a:gd name="T101" fmla="*/ 77 h 1308"/>
                <a:gd name="T102" fmla="*/ 116 w 1362"/>
                <a:gd name="T103" fmla="*/ 79 h 1308"/>
                <a:gd name="T104" fmla="*/ 101 w 1362"/>
                <a:gd name="T105" fmla="*/ 87 h 1308"/>
                <a:gd name="T106" fmla="*/ 85 w 1362"/>
                <a:gd name="T107" fmla="*/ 103 h 1308"/>
                <a:gd name="T108" fmla="*/ 67 w 1362"/>
                <a:gd name="T109" fmla="*/ 114 h 130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62"/>
                <a:gd name="T166" fmla="*/ 0 h 1308"/>
                <a:gd name="T167" fmla="*/ 1362 w 1362"/>
                <a:gd name="T168" fmla="*/ 1308 h 130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62" h="1308">
                  <a:moveTo>
                    <a:pt x="684" y="1278"/>
                  </a:moveTo>
                  <a:lnTo>
                    <a:pt x="672" y="1272"/>
                  </a:lnTo>
                  <a:lnTo>
                    <a:pt x="636" y="1266"/>
                  </a:lnTo>
                  <a:lnTo>
                    <a:pt x="582" y="1248"/>
                  </a:lnTo>
                  <a:lnTo>
                    <a:pt x="564" y="1230"/>
                  </a:lnTo>
                  <a:lnTo>
                    <a:pt x="540" y="1218"/>
                  </a:lnTo>
                  <a:lnTo>
                    <a:pt x="510" y="1218"/>
                  </a:lnTo>
                  <a:lnTo>
                    <a:pt x="498" y="1224"/>
                  </a:lnTo>
                  <a:lnTo>
                    <a:pt x="492" y="1230"/>
                  </a:lnTo>
                  <a:lnTo>
                    <a:pt x="474" y="1230"/>
                  </a:lnTo>
                  <a:lnTo>
                    <a:pt x="414" y="1230"/>
                  </a:lnTo>
                  <a:lnTo>
                    <a:pt x="396" y="1236"/>
                  </a:lnTo>
                  <a:lnTo>
                    <a:pt x="390" y="1248"/>
                  </a:lnTo>
                  <a:lnTo>
                    <a:pt x="372" y="1248"/>
                  </a:lnTo>
                  <a:lnTo>
                    <a:pt x="366" y="1242"/>
                  </a:lnTo>
                  <a:lnTo>
                    <a:pt x="366" y="1224"/>
                  </a:lnTo>
                  <a:lnTo>
                    <a:pt x="360" y="1224"/>
                  </a:lnTo>
                  <a:lnTo>
                    <a:pt x="354" y="1218"/>
                  </a:lnTo>
                  <a:lnTo>
                    <a:pt x="336" y="1206"/>
                  </a:lnTo>
                  <a:lnTo>
                    <a:pt x="330" y="1194"/>
                  </a:lnTo>
                  <a:lnTo>
                    <a:pt x="288" y="1200"/>
                  </a:lnTo>
                  <a:lnTo>
                    <a:pt x="288" y="1194"/>
                  </a:lnTo>
                  <a:lnTo>
                    <a:pt x="288" y="1182"/>
                  </a:lnTo>
                  <a:lnTo>
                    <a:pt x="288" y="1170"/>
                  </a:lnTo>
                  <a:lnTo>
                    <a:pt x="288" y="1164"/>
                  </a:lnTo>
                  <a:lnTo>
                    <a:pt x="282" y="1140"/>
                  </a:lnTo>
                  <a:lnTo>
                    <a:pt x="276" y="1134"/>
                  </a:lnTo>
                  <a:lnTo>
                    <a:pt x="258" y="1116"/>
                  </a:lnTo>
                  <a:lnTo>
                    <a:pt x="258" y="1110"/>
                  </a:lnTo>
                  <a:lnTo>
                    <a:pt x="252" y="1110"/>
                  </a:lnTo>
                  <a:lnTo>
                    <a:pt x="252" y="1104"/>
                  </a:lnTo>
                  <a:lnTo>
                    <a:pt x="252" y="1098"/>
                  </a:lnTo>
                  <a:lnTo>
                    <a:pt x="240" y="1092"/>
                  </a:lnTo>
                  <a:lnTo>
                    <a:pt x="234" y="1092"/>
                  </a:lnTo>
                  <a:lnTo>
                    <a:pt x="240" y="1086"/>
                  </a:lnTo>
                  <a:lnTo>
                    <a:pt x="234" y="1080"/>
                  </a:lnTo>
                  <a:lnTo>
                    <a:pt x="228" y="1080"/>
                  </a:lnTo>
                  <a:lnTo>
                    <a:pt x="228" y="1068"/>
                  </a:lnTo>
                  <a:lnTo>
                    <a:pt x="228" y="1056"/>
                  </a:lnTo>
                  <a:lnTo>
                    <a:pt x="222" y="1056"/>
                  </a:lnTo>
                  <a:lnTo>
                    <a:pt x="228" y="1044"/>
                  </a:lnTo>
                  <a:lnTo>
                    <a:pt x="228" y="1038"/>
                  </a:lnTo>
                  <a:lnTo>
                    <a:pt x="228" y="1032"/>
                  </a:lnTo>
                  <a:lnTo>
                    <a:pt x="234" y="1026"/>
                  </a:lnTo>
                  <a:lnTo>
                    <a:pt x="246" y="1020"/>
                  </a:lnTo>
                  <a:lnTo>
                    <a:pt x="252" y="1020"/>
                  </a:lnTo>
                  <a:lnTo>
                    <a:pt x="258" y="1014"/>
                  </a:lnTo>
                  <a:lnTo>
                    <a:pt x="264" y="1008"/>
                  </a:lnTo>
                  <a:lnTo>
                    <a:pt x="264" y="1002"/>
                  </a:lnTo>
                  <a:lnTo>
                    <a:pt x="270" y="984"/>
                  </a:lnTo>
                  <a:lnTo>
                    <a:pt x="276" y="978"/>
                  </a:lnTo>
                  <a:lnTo>
                    <a:pt x="300" y="978"/>
                  </a:lnTo>
                  <a:lnTo>
                    <a:pt x="306" y="972"/>
                  </a:lnTo>
                  <a:lnTo>
                    <a:pt x="312" y="966"/>
                  </a:lnTo>
                  <a:lnTo>
                    <a:pt x="324" y="936"/>
                  </a:lnTo>
                  <a:lnTo>
                    <a:pt x="330" y="930"/>
                  </a:lnTo>
                  <a:lnTo>
                    <a:pt x="330" y="924"/>
                  </a:lnTo>
                  <a:lnTo>
                    <a:pt x="336" y="918"/>
                  </a:lnTo>
                  <a:lnTo>
                    <a:pt x="342" y="912"/>
                  </a:lnTo>
                  <a:lnTo>
                    <a:pt x="342" y="906"/>
                  </a:lnTo>
                  <a:lnTo>
                    <a:pt x="342" y="900"/>
                  </a:lnTo>
                  <a:lnTo>
                    <a:pt x="342" y="894"/>
                  </a:lnTo>
                  <a:lnTo>
                    <a:pt x="342" y="888"/>
                  </a:lnTo>
                  <a:lnTo>
                    <a:pt x="336" y="876"/>
                  </a:lnTo>
                  <a:lnTo>
                    <a:pt x="342" y="870"/>
                  </a:lnTo>
                  <a:lnTo>
                    <a:pt x="336" y="864"/>
                  </a:lnTo>
                  <a:lnTo>
                    <a:pt x="336" y="858"/>
                  </a:lnTo>
                  <a:lnTo>
                    <a:pt x="330" y="852"/>
                  </a:lnTo>
                  <a:lnTo>
                    <a:pt x="318" y="852"/>
                  </a:lnTo>
                  <a:lnTo>
                    <a:pt x="306" y="858"/>
                  </a:lnTo>
                  <a:lnTo>
                    <a:pt x="264" y="864"/>
                  </a:lnTo>
                  <a:lnTo>
                    <a:pt x="234" y="858"/>
                  </a:lnTo>
                  <a:lnTo>
                    <a:pt x="228" y="858"/>
                  </a:lnTo>
                  <a:lnTo>
                    <a:pt x="198" y="858"/>
                  </a:lnTo>
                  <a:lnTo>
                    <a:pt x="174" y="858"/>
                  </a:lnTo>
                  <a:lnTo>
                    <a:pt x="168" y="852"/>
                  </a:lnTo>
                  <a:lnTo>
                    <a:pt x="168" y="840"/>
                  </a:lnTo>
                  <a:lnTo>
                    <a:pt x="168" y="834"/>
                  </a:lnTo>
                  <a:lnTo>
                    <a:pt x="168" y="822"/>
                  </a:lnTo>
                  <a:lnTo>
                    <a:pt x="162" y="822"/>
                  </a:lnTo>
                  <a:lnTo>
                    <a:pt x="150" y="816"/>
                  </a:lnTo>
                  <a:lnTo>
                    <a:pt x="144" y="810"/>
                  </a:lnTo>
                  <a:lnTo>
                    <a:pt x="144" y="804"/>
                  </a:lnTo>
                  <a:lnTo>
                    <a:pt x="144" y="786"/>
                  </a:lnTo>
                  <a:lnTo>
                    <a:pt x="144" y="780"/>
                  </a:lnTo>
                  <a:lnTo>
                    <a:pt x="144" y="774"/>
                  </a:lnTo>
                  <a:lnTo>
                    <a:pt x="132" y="756"/>
                  </a:lnTo>
                  <a:lnTo>
                    <a:pt x="120" y="756"/>
                  </a:lnTo>
                  <a:lnTo>
                    <a:pt x="84" y="750"/>
                  </a:lnTo>
                  <a:lnTo>
                    <a:pt x="78" y="744"/>
                  </a:lnTo>
                  <a:lnTo>
                    <a:pt x="60" y="744"/>
                  </a:lnTo>
                  <a:lnTo>
                    <a:pt x="54" y="726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66" y="720"/>
                  </a:lnTo>
                  <a:lnTo>
                    <a:pt x="66" y="714"/>
                  </a:lnTo>
                  <a:lnTo>
                    <a:pt x="72" y="714"/>
                  </a:lnTo>
                  <a:lnTo>
                    <a:pt x="72" y="708"/>
                  </a:lnTo>
                  <a:lnTo>
                    <a:pt x="78" y="702"/>
                  </a:lnTo>
                  <a:lnTo>
                    <a:pt x="78" y="696"/>
                  </a:lnTo>
                  <a:lnTo>
                    <a:pt x="78" y="690"/>
                  </a:lnTo>
                  <a:lnTo>
                    <a:pt x="84" y="678"/>
                  </a:lnTo>
                  <a:lnTo>
                    <a:pt x="90" y="666"/>
                  </a:lnTo>
                  <a:lnTo>
                    <a:pt x="90" y="642"/>
                  </a:lnTo>
                  <a:lnTo>
                    <a:pt x="84" y="648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66" y="642"/>
                  </a:lnTo>
                  <a:lnTo>
                    <a:pt x="60" y="642"/>
                  </a:lnTo>
                  <a:lnTo>
                    <a:pt x="54" y="636"/>
                  </a:lnTo>
                  <a:lnTo>
                    <a:pt x="30" y="570"/>
                  </a:lnTo>
                  <a:lnTo>
                    <a:pt x="24" y="564"/>
                  </a:lnTo>
                  <a:lnTo>
                    <a:pt x="18" y="570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6"/>
                  </a:lnTo>
                  <a:lnTo>
                    <a:pt x="6" y="540"/>
                  </a:lnTo>
                  <a:lnTo>
                    <a:pt x="0" y="522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2" y="480"/>
                  </a:lnTo>
                  <a:lnTo>
                    <a:pt x="6" y="480"/>
                  </a:lnTo>
                  <a:lnTo>
                    <a:pt x="0" y="474"/>
                  </a:lnTo>
                  <a:lnTo>
                    <a:pt x="0" y="450"/>
                  </a:lnTo>
                  <a:lnTo>
                    <a:pt x="6" y="450"/>
                  </a:lnTo>
                  <a:lnTo>
                    <a:pt x="12" y="450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32"/>
                  </a:lnTo>
                  <a:lnTo>
                    <a:pt x="30" y="426"/>
                  </a:lnTo>
                  <a:lnTo>
                    <a:pt x="36" y="402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2" y="366"/>
                  </a:lnTo>
                  <a:lnTo>
                    <a:pt x="48" y="360"/>
                  </a:lnTo>
                  <a:lnTo>
                    <a:pt x="48" y="342"/>
                  </a:lnTo>
                  <a:lnTo>
                    <a:pt x="42" y="330"/>
                  </a:lnTo>
                  <a:lnTo>
                    <a:pt x="36" y="324"/>
                  </a:lnTo>
                  <a:lnTo>
                    <a:pt x="42" y="306"/>
                  </a:lnTo>
                  <a:lnTo>
                    <a:pt x="42" y="270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48" y="258"/>
                  </a:lnTo>
                  <a:lnTo>
                    <a:pt x="72" y="252"/>
                  </a:lnTo>
                  <a:lnTo>
                    <a:pt x="66" y="204"/>
                  </a:lnTo>
                  <a:lnTo>
                    <a:pt x="60" y="198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8" y="13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84" y="96"/>
                  </a:lnTo>
                  <a:lnTo>
                    <a:pt x="90" y="84"/>
                  </a:lnTo>
                  <a:lnTo>
                    <a:pt x="108" y="72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20" y="60"/>
                  </a:lnTo>
                  <a:lnTo>
                    <a:pt x="120" y="54"/>
                  </a:lnTo>
                  <a:lnTo>
                    <a:pt x="120" y="48"/>
                  </a:lnTo>
                  <a:lnTo>
                    <a:pt x="126" y="48"/>
                  </a:lnTo>
                  <a:lnTo>
                    <a:pt x="132" y="42"/>
                  </a:lnTo>
                  <a:lnTo>
                    <a:pt x="132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240" y="18"/>
                  </a:lnTo>
                  <a:lnTo>
                    <a:pt x="246" y="42"/>
                  </a:lnTo>
                  <a:lnTo>
                    <a:pt x="240" y="72"/>
                  </a:lnTo>
                  <a:lnTo>
                    <a:pt x="246" y="78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8" y="108"/>
                  </a:lnTo>
                  <a:lnTo>
                    <a:pt x="276" y="114"/>
                  </a:lnTo>
                  <a:lnTo>
                    <a:pt x="294" y="150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82" y="186"/>
                  </a:lnTo>
                  <a:lnTo>
                    <a:pt x="282" y="192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76" y="216"/>
                  </a:lnTo>
                  <a:lnTo>
                    <a:pt x="288" y="240"/>
                  </a:lnTo>
                  <a:lnTo>
                    <a:pt x="312" y="228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66" y="228"/>
                  </a:lnTo>
                  <a:lnTo>
                    <a:pt x="372" y="228"/>
                  </a:lnTo>
                  <a:lnTo>
                    <a:pt x="372" y="222"/>
                  </a:lnTo>
                  <a:lnTo>
                    <a:pt x="378" y="222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6" y="222"/>
                  </a:lnTo>
                  <a:lnTo>
                    <a:pt x="402" y="222"/>
                  </a:lnTo>
                  <a:lnTo>
                    <a:pt x="402" y="228"/>
                  </a:lnTo>
                  <a:lnTo>
                    <a:pt x="408" y="228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26" y="216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68" y="258"/>
                  </a:lnTo>
                  <a:lnTo>
                    <a:pt x="462" y="264"/>
                  </a:lnTo>
                  <a:lnTo>
                    <a:pt x="468" y="264"/>
                  </a:lnTo>
                  <a:lnTo>
                    <a:pt x="468" y="270"/>
                  </a:lnTo>
                  <a:lnTo>
                    <a:pt x="474" y="270"/>
                  </a:lnTo>
                  <a:lnTo>
                    <a:pt x="480" y="276"/>
                  </a:lnTo>
                  <a:lnTo>
                    <a:pt x="474" y="282"/>
                  </a:lnTo>
                  <a:lnTo>
                    <a:pt x="474" y="288"/>
                  </a:lnTo>
                  <a:lnTo>
                    <a:pt x="462" y="294"/>
                  </a:lnTo>
                  <a:lnTo>
                    <a:pt x="468" y="324"/>
                  </a:lnTo>
                  <a:lnTo>
                    <a:pt x="462" y="336"/>
                  </a:lnTo>
                  <a:lnTo>
                    <a:pt x="456" y="354"/>
                  </a:lnTo>
                  <a:lnTo>
                    <a:pt x="432" y="390"/>
                  </a:lnTo>
                  <a:lnTo>
                    <a:pt x="420" y="390"/>
                  </a:lnTo>
                  <a:lnTo>
                    <a:pt x="402" y="390"/>
                  </a:lnTo>
                  <a:lnTo>
                    <a:pt x="396" y="396"/>
                  </a:lnTo>
                  <a:lnTo>
                    <a:pt x="390" y="396"/>
                  </a:lnTo>
                  <a:lnTo>
                    <a:pt x="390" y="402"/>
                  </a:lnTo>
                  <a:lnTo>
                    <a:pt x="384" y="402"/>
                  </a:lnTo>
                  <a:lnTo>
                    <a:pt x="408" y="432"/>
                  </a:lnTo>
                  <a:lnTo>
                    <a:pt x="432" y="438"/>
                  </a:lnTo>
                  <a:lnTo>
                    <a:pt x="456" y="432"/>
                  </a:lnTo>
                  <a:lnTo>
                    <a:pt x="468" y="426"/>
                  </a:lnTo>
                  <a:lnTo>
                    <a:pt x="468" y="444"/>
                  </a:lnTo>
                  <a:lnTo>
                    <a:pt x="468" y="450"/>
                  </a:lnTo>
                  <a:lnTo>
                    <a:pt x="468" y="474"/>
                  </a:lnTo>
                  <a:lnTo>
                    <a:pt x="486" y="480"/>
                  </a:lnTo>
                  <a:lnTo>
                    <a:pt x="486" y="486"/>
                  </a:lnTo>
                  <a:lnTo>
                    <a:pt x="492" y="498"/>
                  </a:lnTo>
                  <a:lnTo>
                    <a:pt x="492" y="504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504" y="516"/>
                  </a:lnTo>
                  <a:lnTo>
                    <a:pt x="510" y="516"/>
                  </a:lnTo>
                  <a:lnTo>
                    <a:pt x="522" y="528"/>
                  </a:lnTo>
                  <a:lnTo>
                    <a:pt x="546" y="540"/>
                  </a:lnTo>
                  <a:lnTo>
                    <a:pt x="552" y="546"/>
                  </a:lnTo>
                  <a:lnTo>
                    <a:pt x="570" y="552"/>
                  </a:lnTo>
                  <a:lnTo>
                    <a:pt x="594" y="552"/>
                  </a:lnTo>
                  <a:lnTo>
                    <a:pt x="606" y="546"/>
                  </a:lnTo>
                  <a:lnTo>
                    <a:pt x="612" y="540"/>
                  </a:lnTo>
                  <a:lnTo>
                    <a:pt x="630" y="540"/>
                  </a:lnTo>
                  <a:lnTo>
                    <a:pt x="630" y="552"/>
                  </a:lnTo>
                  <a:lnTo>
                    <a:pt x="654" y="552"/>
                  </a:lnTo>
                  <a:lnTo>
                    <a:pt x="702" y="558"/>
                  </a:lnTo>
                  <a:lnTo>
                    <a:pt x="762" y="546"/>
                  </a:lnTo>
                  <a:lnTo>
                    <a:pt x="780" y="546"/>
                  </a:lnTo>
                  <a:lnTo>
                    <a:pt x="780" y="528"/>
                  </a:lnTo>
                  <a:lnTo>
                    <a:pt x="798" y="522"/>
                  </a:lnTo>
                  <a:lnTo>
                    <a:pt x="810" y="510"/>
                  </a:lnTo>
                  <a:lnTo>
                    <a:pt x="810" y="504"/>
                  </a:lnTo>
                  <a:lnTo>
                    <a:pt x="828" y="492"/>
                  </a:lnTo>
                  <a:lnTo>
                    <a:pt x="888" y="486"/>
                  </a:lnTo>
                  <a:lnTo>
                    <a:pt x="912" y="486"/>
                  </a:lnTo>
                  <a:lnTo>
                    <a:pt x="930" y="474"/>
                  </a:lnTo>
                  <a:lnTo>
                    <a:pt x="918" y="456"/>
                  </a:lnTo>
                  <a:lnTo>
                    <a:pt x="912" y="450"/>
                  </a:lnTo>
                  <a:lnTo>
                    <a:pt x="918" y="390"/>
                  </a:lnTo>
                  <a:lnTo>
                    <a:pt x="954" y="396"/>
                  </a:lnTo>
                  <a:lnTo>
                    <a:pt x="984" y="402"/>
                  </a:lnTo>
                  <a:lnTo>
                    <a:pt x="1014" y="420"/>
                  </a:lnTo>
                  <a:lnTo>
                    <a:pt x="1026" y="432"/>
                  </a:lnTo>
                  <a:lnTo>
                    <a:pt x="1044" y="450"/>
                  </a:lnTo>
                  <a:lnTo>
                    <a:pt x="1062" y="462"/>
                  </a:lnTo>
                  <a:lnTo>
                    <a:pt x="1098" y="468"/>
                  </a:lnTo>
                  <a:lnTo>
                    <a:pt x="1128" y="480"/>
                  </a:lnTo>
                  <a:lnTo>
                    <a:pt x="1152" y="486"/>
                  </a:lnTo>
                  <a:lnTo>
                    <a:pt x="1188" y="498"/>
                  </a:lnTo>
                  <a:lnTo>
                    <a:pt x="1212" y="504"/>
                  </a:lnTo>
                  <a:lnTo>
                    <a:pt x="1224" y="528"/>
                  </a:lnTo>
                  <a:lnTo>
                    <a:pt x="1236" y="540"/>
                  </a:lnTo>
                  <a:lnTo>
                    <a:pt x="1254" y="540"/>
                  </a:lnTo>
                  <a:lnTo>
                    <a:pt x="1254" y="546"/>
                  </a:lnTo>
                  <a:lnTo>
                    <a:pt x="1260" y="552"/>
                  </a:lnTo>
                  <a:lnTo>
                    <a:pt x="1266" y="552"/>
                  </a:lnTo>
                  <a:lnTo>
                    <a:pt x="1266" y="558"/>
                  </a:lnTo>
                  <a:lnTo>
                    <a:pt x="1272" y="564"/>
                  </a:lnTo>
                  <a:lnTo>
                    <a:pt x="1278" y="564"/>
                  </a:lnTo>
                  <a:lnTo>
                    <a:pt x="1278" y="570"/>
                  </a:lnTo>
                  <a:lnTo>
                    <a:pt x="1284" y="576"/>
                  </a:lnTo>
                  <a:lnTo>
                    <a:pt x="1290" y="582"/>
                  </a:lnTo>
                  <a:lnTo>
                    <a:pt x="1296" y="582"/>
                  </a:lnTo>
                  <a:lnTo>
                    <a:pt x="1296" y="588"/>
                  </a:lnTo>
                  <a:lnTo>
                    <a:pt x="1308" y="594"/>
                  </a:lnTo>
                  <a:lnTo>
                    <a:pt x="1308" y="600"/>
                  </a:lnTo>
                  <a:lnTo>
                    <a:pt x="1308" y="606"/>
                  </a:lnTo>
                  <a:lnTo>
                    <a:pt x="1314" y="612"/>
                  </a:lnTo>
                  <a:lnTo>
                    <a:pt x="1308" y="618"/>
                  </a:lnTo>
                  <a:lnTo>
                    <a:pt x="1314" y="618"/>
                  </a:lnTo>
                  <a:lnTo>
                    <a:pt x="1314" y="624"/>
                  </a:lnTo>
                  <a:lnTo>
                    <a:pt x="1308" y="624"/>
                  </a:lnTo>
                  <a:lnTo>
                    <a:pt x="1302" y="630"/>
                  </a:lnTo>
                  <a:lnTo>
                    <a:pt x="1302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296" y="654"/>
                  </a:lnTo>
                  <a:lnTo>
                    <a:pt x="1302" y="660"/>
                  </a:lnTo>
                  <a:lnTo>
                    <a:pt x="1302" y="666"/>
                  </a:lnTo>
                  <a:lnTo>
                    <a:pt x="1308" y="666"/>
                  </a:lnTo>
                  <a:lnTo>
                    <a:pt x="1308" y="672"/>
                  </a:lnTo>
                  <a:lnTo>
                    <a:pt x="1308" y="678"/>
                  </a:lnTo>
                  <a:lnTo>
                    <a:pt x="1308" y="684"/>
                  </a:lnTo>
                  <a:lnTo>
                    <a:pt x="1308" y="690"/>
                  </a:lnTo>
                  <a:lnTo>
                    <a:pt x="1302" y="696"/>
                  </a:lnTo>
                  <a:lnTo>
                    <a:pt x="1302" y="702"/>
                  </a:lnTo>
                  <a:lnTo>
                    <a:pt x="1308" y="702"/>
                  </a:lnTo>
                  <a:lnTo>
                    <a:pt x="1302" y="708"/>
                  </a:lnTo>
                  <a:lnTo>
                    <a:pt x="1308" y="714"/>
                  </a:lnTo>
                  <a:lnTo>
                    <a:pt x="1308" y="720"/>
                  </a:lnTo>
                  <a:lnTo>
                    <a:pt x="1308" y="726"/>
                  </a:lnTo>
                  <a:lnTo>
                    <a:pt x="1308" y="732"/>
                  </a:lnTo>
                  <a:lnTo>
                    <a:pt x="1314" y="732"/>
                  </a:lnTo>
                  <a:lnTo>
                    <a:pt x="1314" y="738"/>
                  </a:lnTo>
                  <a:lnTo>
                    <a:pt x="1320" y="744"/>
                  </a:lnTo>
                  <a:lnTo>
                    <a:pt x="1326" y="750"/>
                  </a:lnTo>
                  <a:lnTo>
                    <a:pt x="1320" y="750"/>
                  </a:lnTo>
                  <a:lnTo>
                    <a:pt x="1320" y="756"/>
                  </a:lnTo>
                  <a:lnTo>
                    <a:pt x="1314" y="756"/>
                  </a:lnTo>
                  <a:lnTo>
                    <a:pt x="1314" y="762"/>
                  </a:lnTo>
                  <a:lnTo>
                    <a:pt x="1314" y="768"/>
                  </a:lnTo>
                  <a:lnTo>
                    <a:pt x="1320" y="768"/>
                  </a:lnTo>
                  <a:lnTo>
                    <a:pt x="1320" y="762"/>
                  </a:lnTo>
                  <a:lnTo>
                    <a:pt x="1320" y="768"/>
                  </a:lnTo>
                  <a:lnTo>
                    <a:pt x="1326" y="774"/>
                  </a:lnTo>
                  <a:lnTo>
                    <a:pt x="1332" y="774"/>
                  </a:lnTo>
                  <a:lnTo>
                    <a:pt x="1332" y="780"/>
                  </a:lnTo>
                  <a:lnTo>
                    <a:pt x="1332" y="786"/>
                  </a:lnTo>
                  <a:lnTo>
                    <a:pt x="1332" y="792"/>
                  </a:lnTo>
                  <a:lnTo>
                    <a:pt x="1338" y="786"/>
                  </a:lnTo>
                  <a:lnTo>
                    <a:pt x="1338" y="792"/>
                  </a:lnTo>
                  <a:lnTo>
                    <a:pt x="1344" y="798"/>
                  </a:lnTo>
                  <a:lnTo>
                    <a:pt x="1344" y="804"/>
                  </a:lnTo>
                  <a:lnTo>
                    <a:pt x="1344" y="810"/>
                  </a:lnTo>
                  <a:lnTo>
                    <a:pt x="1344" y="816"/>
                  </a:lnTo>
                  <a:lnTo>
                    <a:pt x="1344" y="822"/>
                  </a:lnTo>
                  <a:lnTo>
                    <a:pt x="1338" y="828"/>
                  </a:lnTo>
                  <a:lnTo>
                    <a:pt x="1332" y="828"/>
                  </a:lnTo>
                  <a:lnTo>
                    <a:pt x="1338" y="840"/>
                  </a:lnTo>
                  <a:lnTo>
                    <a:pt x="1344" y="846"/>
                  </a:lnTo>
                  <a:lnTo>
                    <a:pt x="1344" y="852"/>
                  </a:lnTo>
                  <a:lnTo>
                    <a:pt x="1350" y="852"/>
                  </a:lnTo>
                  <a:lnTo>
                    <a:pt x="1356" y="858"/>
                  </a:lnTo>
                  <a:lnTo>
                    <a:pt x="1362" y="858"/>
                  </a:lnTo>
                  <a:lnTo>
                    <a:pt x="1362" y="870"/>
                  </a:lnTo>
                  <a:lnTo>
                    <a:pt x="1356" y="870"/>
                  </a:lnTo>
                  <a:lnTo>
                    <a:pt x="1356" y="876"/>
                  </a:lnTo>
                  <a:lnTo>
                    <a:pt x="1350" y="876"/>
                  </a:lnTo>
                  <a:lnTo>
                    <a:pt x="1344" y="876"/>
                  </a:lnTo>
                  <a:lnTo>
                    <a:pt x="1344" y="882"/>
                  </a:lnTo>
                  <a:lnTo>
                    <a:pt x="1338" y="882"/>
                  </a:lnTo>
                  <a:lnTo>
                    <a:pt x="1338" y="888"/>
                  </a:lnTo>
                  <a:lnTo>
                    <a:pt x="1338" y="894"/>
                  </a:lnTo>
                  <a:lnTo>
                    <a:pt x="1344" y="900"/>
                  </a:lnTo>
                  <a:lnTo>
                    <a:pt x="1344" y="906"/>
                  </a:lnTo>
                  <a:lnTo>
                    <a:pt x="1338" y="906"/>
                  </a:lnTo>
                  <a:lnTo>
                    <a:pt x="1332" y="912"/>
                  </a:lnTo>
                  <a:lnTo>
                    <a:pt x="1332" y="918"/>
                  </a:lnTo>
                  <a:lnTo>
                    <a:pt x="1326" y="918"/>
                  </a:lnTo>
                  <a:lnTo>
                    <a:pt x="1332" y="924"/>
                  </a:lnTo>
                  <a:lnTo>
                    <a:pt x="1284" y="942"/>
                  </a:lnTo>
                  <a:lnTo>
                    <a:pt x="1236" y="948"/>
                  </a:lnTo>
                  <a:lnTo>
                    <a:pt x="1194" y="966"/>
                  </a:lnTo>
                  <a:lnTo>
                    <a:pt x="1170" y="1002"/>
                  </a:lnTo>
                  <a:lnTo>
                    <a:pt x="1134" y="1020"/>
                  </a:lnTo>
                  <a:lnTo>
                    <a:pt x="1116" y="1032"/>
                  </a:lnTo>
                  <a:lnTo>
                    <a:pt x="1098" y="1050"/>
                  </a:lnTo>
                  <a:lnTo>
                    <a:pt x="1074" y="1074"/>
                  </a:lnTo>
                  <a:lnTo>
                    <a:pt x="1008" y="1134"/>
                  </a:lnTo>
                  <a:lnTo>
                    <a:pt x="990" y="1158"/>
                  </a:lnTo>
                  <a:lnTo>
                    <a:pt x="978" y="1182"/>
                  </a:lnTo>
                  <a:lnTo>
                    <a:pt x="960" y="1194"/>
                  </a:lnTo>
                  <a:lnTo>
                    <a:pt x="942" y="1212"/>
                  </a:lnTo>
                  <a:lnTo>
                    <a:pt x="912" y="1242"/>
                  </a:lnTo>
                  <a:lnTo>
                    <a:pt x="888" y="1254"/>
                  </a:lnTo>
                  <a:lnTo>
                    <a:pt x="864" y="1278"/>
                  </a:lnTo>
                  <a:lnTo>
                    <a:pt x="828" y="1296"/>
                  </a:lnTo>
                  <a:lnTo>
                    <a:pt x="774" y="1308"/>
                  </a:lnTo>
                  <a:lnTo>
                    <a:pt x="732" y="1302"/>
                  </a:lnTo>
                  <a:lnTo>
                    <a:pt x="702" y="1284"/>
                  </a:lnTo>
                  <a:lnTo>
                    <a:pt x="684" y="127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1" name="Freeform 16">
              <a:extLst>
                <a:ext uri="{FF2B5EF4-FFF2-40B4-BE49-F238E27FC236}">
                  <a16:creationId xmlns:a16="http://schemas.microsoft.com/office/drawing/2014/main" id="{D8D8591A-D9DB-4301-BEBD-D8F5A26DA9E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3001" y="2929369"/>
              <a:ext cx="914601" cy="1037736"/>
            </a:xfrm>
            <a:custGeom>
              <a:avLst/>
              <a:gdLst>
                <a:gd name="T0" fmla="*/ 144 w 1722"/>
                <a:gd name="T1" fmla="*/ 131 h 1956"/>
                <a:gd name="T2" fmla="*/ 142 w 1722"/>
                <a:gd name="T3" fmla="*/ 139 h 1956"/>
                <a:gd name="T4" fmla="*/ 137 w 1722"/>
                <a:gd name="T5" fmla="*/ 143 h 1956"/>
                <a:gd name="T6" fmla="*/ 133 w 1722"/>
                <a:gd name="T7" fmla="*/ 147 h 1956"/>
                <a:gd name="T8" fmla="*/ 132 w 1722"/>
                <a:gd name="T9" fmla="*/ 152 h 1956"/>
                <a:gd name="T10" fmla="*/ 130 w 1722"/>
                <a:gd name="T11" fmla="*/ 159 h 1956"/>
                <a:gd name="T12" fmla="*/ 127 w 1722"/>
                <a:gd name="T13" fmla="*/ 164 h 1956"/>
                <a:gd name="T14" fmla="*/ 123 w 1722"/>
                <a:gd name="T15" fmla="*/ 168 h 1956"/>
                <a:gd name="T16" fmla="*/ 117 w 1722"/>
                <a:gd name="T17" fmla="*/ 169 h 1956"/>
                <a:gd name="T18" fmla="*/ 110 w 1722"/>
                <a:gd name="T19" fmla="*/ 168 h 1956"/>
                <a:gd name="T20" fmla="*/ 104 w 1722"/>
                <a:gd name="T21" fmla="*/ 166 h 1956"/>
                <a:gd name="T22" fmla="*/ 101 w 1722"/>
                <a:gd name="T23" fmla="*/ 159 h 1956"/>
                <a:gd name="T24" fmla="*/ 95 w 1722"/>
                <a:gd name="T25" fmla="*/ 156 h 1956"/>
                <a:gd name="T26" fmla="*/ 89 w 1722"/>
                <a:gd name="T27" fmla="*/ 151 h 1956"/>
                <a:gd name="T28" fmla="*/ 87 w 1722"/>
                <a:gd name="T29" fmla="*/ 144 h 1956"/>
                <a:gd name="T30" fmla="*/ 82 w 1722"/>
                <a:gd name="T31" fmla="*/ 141 h 1956"/>
                <a:gd name="T32" fmla="*/ 76 w 1722"/>
                <a:gd name="T33" fmla="*/ 134 h 1956"/>
                <a:gd name="T34" fmla="*/ 74 w 1722"/>
                <a:gd name="T35" fmla="*/ 143 h 1956"/>
                <a:gd name="T36" fmla="*/ 68 w 1722"/>
                <a:gd name="T37" fmla="*/ 147 h 1956"/>
                <a:gd name="T38" fmla="*/ 54 w 1722"/>
                <a:gd name="T39" fmla="*/ 144 h 1956"/>
                <a:gd name="T40" fmla="*/ 51 w 1722"/>
                <a:gd name="T41" fmla="*/ 142 h 1956"/>
                <a:gd name="T42" fmla="*/ 42 w 1722"/>
                <a:gd name="T43" fmla="*/ 151 h 1956"/>
                <a:gd name="T44" fmla="*/ 33 w 1722"/>
                <a:gd name="T45" fmla="*/ 154 h 1956"/>
                <a:gd name="T46" fmla="*/ 31 w 1722"/>
                <a:gd name="T47" fmla="*/ 159 h 1956"/>
                <a:gd name="T48" fmla="*/ 29 w 1722"/>
                <a:gd name="T49" fmla="*/ 166 h 1956"/>
                <a:gd name="T50" fmla="*/ 25 w 1722"/>
                <a:gd name="T51" fmla="*/ 169 h 1956"/>
                <a:gd name="T52" fmla="*/ 27 w 1722"/>
                <a:gd name="T53" fmla="*/ 154 h 1956"/>
                <a:gd name="T54" fmla="*/ 37 w 1722"/>
                <a:gd name="T55" fmla="*/ 133 h 1956"/>
                <a:gd name="T56" fmla="*/ 36 w 1722"/>
                <a:gd name="T57" fmla="*/ 109 h 1956"/>
                <a:gd name="T58" fmla="*/ 27 w 1722"/>
                <a:gd name="T59" fmla="*/ 101 h 1956"/>
                <a:gd name="T60" fmla="*/ 5 w 1722"/>
                <a:gd name="T61" fmla="*/ 98 h 1956"/>
                <a:gd name="T62" fmla="*/ 2 w 1722"/>
                <a:gd name="T63" fmla="*/ 93 h 1956"/>
                <a:gd name="T64" fmla="*/ 12 w 1722"/>
                <a:gd name="T65" fmla="*/ 82 h 1956"/>
                <a:gd name="T66" fmla="*/ 9 w 1722"/>
                <a:gd name="T67" fmla="*/ 74 h 1956"/>
                <a:gd name="T68" fmla="*/ 23 w 1722"/>
                <a:gd name="T69" fmla="*/ 72 h 1956"/>
                <a:gd name="T70" fmla="*/ 22 w 1722"/>
                <a:gd name="T71" fmla="*/ 67 h 1956"/>
                <a:gd name="T72" fmla="*/ 48 w 1722"/>
                <a:gd name="T73" fmla="*/ 57 h 1956"/>
                <a:gd name="T74" fmla="*/ 78 w 1722"/>
                <a:gd name="T75" fmla="*/ 34 h 1956"/>
                <a:gd name="T76" fmla="*/ 81 w 1722"/>
                <a:gd name="T77" fmla="*/ 31 h 1956"/>
                <a:gd name="T78" fmla="*/ 80 w 1722"/>
                <a:gd name="T79" fmla="*/ 26 h 1956"/>
                <a:gd name="T80" fmla="*/ 78 w 1722"/>
                <a:gd name="T81" fmla="*/ 21 h 1956"/>
                <a:gd name="T82" fmla="*/ 77 w 1722"/>
                <a:gd name="T83" fmla="*/ 18 h 1956"/>
                <a:gd name="T84" fmla="*/ 77 w 1722"/>
                <a:gd name="T85" fmla="*/ 12 h 1956"/>
                <a:gd name="T86" fmla="*/ 77 w 1722"/>
                <a:gd name="T87" fmla="*/ 7 h 1956"/>
                <a:gd name="T88" fmla="*/ 102 w 1722"/>
                <a:gd name="T89" fmla="*/ 2 h 1956"/>
                <a:gd name="T90" fmla="*/ 115 w 1722"/>
                <a:gd name="T91" fmla="*/ 3 h 1956"/>
                <a:gd name="T92" fmla="*/ 123 w 1722"/>
                <a:gd name="T93" fmla="*/ 3 h 1956"/>
                <a:gd name="T94" fmla="*/ 125 w 1722"/>
                <a:gd name="T95" fmla="*/ 9 h 1956"/>
                <a:gd name="T96" fmla="*/ 133 w 1722"/>
                <a:gd name="T97" fmla="*/ 13 h 1956"/>
                <a:gd name="T98" fmla="*/ 149 w 1722"/>
                <a:gd name="T99" fmla="*/ 37 h 1956"/>
                <a:gd name="T100" fmla="*/ 141 w 1722"/>
                <a:gd name="T101" fmla="*/ 57 h 1956"/>
                <a:gd name="T102" fmla="*/ 135 w 1722"/>
                <a:gd name="T103" fmla="*/ 63 h 1956"/>
                <a:gd name="T104" fmla="*/ 124 w 1722"/>
                <a:gd name="T105" fmla="*/ 77 h 1956"/>
                <a:gd name="T106" fmla="*/ 123 w 1722"/>
                <a:gd name="T107" fmla="*/ 96 h 1956"/>
                <a:gd name="T108" fmla="*/ 127 w 1722"/>
                <a:gd name="T109" fmla="*/ 97 h 1956"/>
                <a:gd name="T110" fmla="*/ 129 w 1722"/>
                <a:gd name="T111" fmla="*/ 92 h 1956"/>
                <a:gd name="T112" fmla="*/ 134 w 1722"/>
                <a:gd name="T113" fmla="*/ 94 h 1956"/>
                <a:gd name="T114" fmla="*/ 138 w 1722"/>
                <a:gd name="T115" fmla="*/ 99 h 1956"/>
                <a:gd name="T116" fmla="*/ 142 w 1722"/>
                <a:gd name="T117" fmla="*/ 104 h 1956"/>
                <a:gd name="T118" fmla="*/ 141 w 1722"/>
                <a:gd name="T119" fmla="*/ 115 h 19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722"/>
                <a:gd name="T181" fmla="*/ 0 h 1956"/>
                <a:gd name="T182" fmla="*/ 1722 w 1722"/>
                <a:gd name="T183" fmla="*/ 1956 h 19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722" h="1956">
                  <a:moveTo>
                    <a:pt x="1686" y="1404"/>
                  </a:moveTo>
                  <a:lnTo>
                    <a:pt x="1680" y="1416"/>
                  </a:lnTo>
                  <a:lnTo>
                    <a:pt x="1674" y="1422"/>
                  </a:lnTo>
                  <a:lnTo>
                    <a:pt x="1674" y="1428"/>
                  </a:lnTo>
                  <a:lnTo>
                    <a:pt x="1668" y="1428"/>
                  </a:lnTo>
                  <a:lnTo>
                    <a:pt x="1668" y="1434"/>
                  </a:lnTo>
                  <a:lnTo>
                    <a:pt x="1662" y="1446"/>
                  </a:lnTo>
                  <a:lnTo>
                    <a:pt x="1656" y="1464"/>
                  </a:lnTo>
                  <a:lnTo>
                    <a:pt x="1656" y="1476"/>
                  </a:lnTo>
                  <a:lnTo>
                    <a:pt x="1656" y="1488"/>
                  </a:lnTo>
                  <a:lnTo>
                    <a:pt x="1662" y="1500"/>
                  </a:lnTo>
                  <a:lnTo>
                    <a:pt x="1662" y="1506"/>
                  </a:lnTo>
                  <a:lnTo>
                    <a:pt x="1662" y="1524"/>
                  </a:lnTo>
                  <a:lnTo>
                    <a:pt x="1668" y="1542"/>
                  </a:lnTo>
                  <a:lnTo>
                    <a:pt x="1674" y="1560"/>
                  </a:lnTo>
                  <a:lnTo>
                    <a:pt x="1680" y="1578"/>
                  </a:lnTo>
                  <a:lnTo>
                    <a:pt x="1686" y="1578"/>
                  </a:lnTo>
                  <a:lnTo>
                    <a:pt x="1686" y="1584"/>
                  </a:lnTo>
                  <a:lnTo>
                    <a:pt x="1686" y="1590"/>
                  </a:lnTo>
                  <a:lnTo>
                    <a:pt x="1686" y="1596"/>
                  </a:lnTo>
                  <a:lnTo>
                    <a:pt x="1680" y="1596"/>
                  </a:lnTo>
                  <a:lnTo>
                    <a:pt x="1674" y="1602"/>
                  </a:lnTo>
                  <a:lnTo>
                    <a:pt x="1662" y="1602"/>
                  </a:lnTo>
                  <a:lnTo>
                    <a:pt x="1638" y="1596"/>
                  </a:lnTo>
                  <a:lnTo>
                    <a:pt x="1632" y="1596"/>
                  </a:lnTo>
                  <a:lnTo>
                    <a:pt x="1626" y="1602"/>
                  </a:lnTo>
                  <a:lnTo>
                    <a:pt x="1620" y="1602"/>
                  </a:lnTo>
                  <a:lnTo>
                    <a:pt x="1614" y="1602"/>
                  </a:lnTo>
                  <a:lnTo>
                    <a:pt x="1602" y="1602"/>
                  </a:lnTo>
                  <a:lnTo>
                    <a:pt x="1602" y="1608"/>
                  </a:lnTo>
                  <a:lnTo>
                    <a:pt x="1602" y="1620"/>
                  </a:lnTo>
                  <a:lnTo>
                    <a:pt x="1596" y="1620"/>
                  </a:lnTo>
                  <a:lnTo>
                    <a:pt x="1590" y="1620"/>
                  </a:lnTo>
                  <a:lnTo>
                    <a:pt x="1584" y="1626"/>
                  </a:lnTo>
                  <a:lnTo>
                    <a:pt x="1584" y="1632"/>
                  </a:lnTo>
                  <a:lnTo>
                    <a:pt x="1578" y="1644"/>
                  </a:lnTo>
                  <a:lnTo>
                    <a:pt x="1572" y="1644"/>
                  </a:lnTo>
                  <a:lnTo>
                    <a:pt x="1566" y="1644"/>
                  </a:lnTo>
                  <a:lnTo>
                    <a:pt x="1566" y="1650"/>
                  </a:lnTo>
                  <a:lnTo>
                    <a:pt x="1560" y="1650"/>
                  </a:lnTo>
                  <a:lnTo>
                    <a:pt x="1554" y="1650"/>
                  </a:lnTo>
                  <a:lnTo>
                    <a:pt x="1548" y="1650"/>
                  </a:lnTo>
                  <a:lnTo>
                    <a:pt x="1548" y="1656"/>
                  </a:lnTo>
                  <a:lnTo>
                    <a:pt x="1542" y="1668"/>
                  </a:lnTo>
                  <a:lnTo>
                    <a:pt x="1542" y="1674"/>
                  </a:lnTo>
                  <a:lnTo>
                    <a:pt x="1542" y="1692"/>
                  </a:lnTo>
                  <a:lnTo>
                    <a:pt x="1536" y="1698"/>
                  </a:lnTo>
                  <a:lnTo>
                    <a:pt x="1530" y="1698"/>
                  </a:lnTo>
                  <a:lnTo>
                    <a:pt x="1524" y="1698"/>
                  </a:lnTo>
                  <a:lnTo>
                    <a:pt x="1518" y="1704"/>
                  </a:lnTo>
                  <a:lnTo>
                    <a:pt x="1512" y="1710"/>
                  </a:lnTo>
                  <a:lnTo>
                    <a:pt x="1506" y="1722"/>
                  </a:lnTo>
                  <a:lnTo>
                    <a:pt x="1500" y="1728"/>
                  </a:lnTo>
                  <a:lnTo>
                    <a:pt x="1500" y="1734"/>
                  </a:lnTo>
                  <a:lnTo>
                    <a:pt x="1512" y="1734"/>
                  </a:lnTo>
                  <a:lnTo>
                    <a:pt x="1518" y="1740"/>
                  </a:lnTo>
                  <a:lnTo>
                    <a:pt x="1518" y="1746"/>
                  </a:lnTo>
                  <a:lnTo>
                    <a:pt x="1518" y="1752"/>
                  </a:lnTo>
                  <a:lnTo>
                    <a:pt x="1518" y="1758"/>
                  </a:lnTo>
                  <a:lnTo>
                    <a:pt x="1524" y="1758"/>
                  </a:lnTo>
                  <a:lnTo>
                    <a:pt x="1524" y="1764"/>
                  </a:lnTo>
                  <a:lnTo>
                    <a:pt x="1530" y="1770"/>
                  </a:lnTo>
                  <a:lnTo>
                    <a:pt x="1518" y="1770"/>
                  </a:lnTo>
                  <a:lnTo>
                    <a:pt x="1512" y="1782"/>
                  </a:lnTo>
                  <a:lnTo>
                    <a:pt x="1512" y="1788"/>
                  </a:lnTo>
                  <a:lnTo>
                    <a:pt x="1518" y="1788"/>
                  </a:lnTo>
                  <a:lnTo>
                    <a:pt x="1524" y="1800"/>
                  </a:lnTo>
                  <a:lnTo>
                    <a:pt x="1524" y="1806"/>
                  </a:lnTo>
                  <a:lnTo>
                    <a:pt x="1518" y="1812"/>
                  </a:lnTo>
                  <a:lnTo>
                    <a:pt x="1512" y="1818"/>
                  </a:lnTo>
                  <a:lnTo>
                    <a:pt x="1506" y="1818"/>
                  </a:lnTo>
                  <a:lnTo>
                    <a:pt x="1500" y="1824"/>
                  </a:lnTo>
                  <a:lnTo>
                    <a:pt x="1500" y="1836"/>
                  </a:lnTo>
                  <a:lnTo>
                    <a:pt x="1500" y="1842"/>
                  </a:lnTo>
                  <a:lnTo>
                    <a:pt x="1500" y="1848"/>
                  </a:lnTo>
                  <a:lnTo>
                    <a:pt x="1500" y="1854"/>
                  </a:lnTo>
                  <a:lnTo>
                    <a:pt x="1494" y="1860"/>
                  </a:lnTo>
                  <a:lnTo>
                    <a:pt x="1488" y="1860"/>
                  </a:lnTo>
                  <a:lnTo>
                    <a:pt x="1488" y="1866"/>
                  </a:lnTo>
                  <a:lnTo>
                    <a:pt x="1482" y="1872"/>
                  </a:lnTo>
                  <a:lnTo>
                    <a:pt x="1482" y="1878"/>
                  </a:lnTo>
                  <a:lnTo>
                    <a:pt x="1482" y="1884"/>
                  </a:lnTo>
                  <a:lnTo>
                    <a:pt x="1476" y="1890"/>
                  </a:lnTo>
                  <a:lnTo>
                    <a:pt x="1470" y="1890"/>
                  </a:lnTo>
                  <a:lnTo>
                    <a:pt x="1470" y="1896"/>
                  </a:lnTo>
                  <a:lnTo>
                    <a:pt x="1464" y="1896"/>
                  </a:lnTo>
                  <a:lnTo>
                    <a:pt x="1458" y="1896"/>
                  </a:lnTo>
                  <a:lnTo>
                    <a:pt x="1452" y="1896"/>
                  </a:lnTo>
                  <a:lnTo>
                    <a:pt x="1440" y="1890"/>
                  </a:lnTo>
                  <a:lnTo>
                    <a:pt x="1434" y="1896"/>
                  </a:lnTo>
                  <a:lnTo>
                    <a:pt x="1428" y="1896"/>
                  </a:lnTo>
                  <a:lnTo>
                    <a:pt x="1422" y="1896"/>
                  </a:lnTo>
                  <a:lnTo>
                    <a:pt x="1422" y="1902"/>
                  </a:lnTo>
                  <a:lnTo>
                    <a:pt x="1416" y="1902"/>
                  </a:lnTo>
                  <a:lnTo>
                    <a:pt x="1422" y="1914"/>
                  </a:lnTo>
                  <a:lnTo>
                    <a:pt x="1422" y="1932"/>
                  </a:lnTo>
                  <a:lnTo>
                    <a:pt x="1416" y="1938"/>
                  </a:lnTo>
                  <a:lnTo>
                    <a:pt x="1422" y="1938"/>
                  </a:lnTo>
                  <a:lnTo>
                    <a:pt x="1404" y="1938"/>
                  </a:lnTo>
                  <a:lnTo>
                    <a:pt x="1392" y="1944"/>
                  </a:lnTo>
                  <a:lnTo>
                    <a:pt x="1386" y="1944"/>
                  </a:lnTo>
                  <a:lnTo>
                    <a:pt x="1374" y="1944"/>
                  </a:lnTo>
                  <a:lnTo>
                    <a:pt x="1368" y="1950"/>
                  </a:lnTo>
                  <a:lnTo>
                    <a:pt x="1374" y="1956"/>
                  </a:lnTo>
                  <a:lnTo>
                    <a:pt x="1368" y="1956"/>
                  </a:lnTo>
                  <a:lnTo>
                    <a:pt x="1356" y="1956"/>
                  </a:lnTo>
                  <a:lnTo>
                    <a:pt x="1350" y="1956"/>
                  </a:lnTo>
                  <a:lnTo>
                    <a:pt x="1350" y="1950"/>
                  </a:lnTo>
                  <a:lnTo>
                    <a:pt x="1344" y="1944"/>
                  </a:lnTo>
                  <a:lnTo>
                    <a:pt x="1332" y="1938"/>
                  </a:lnTo>
                  <a:lnTo>
                    <a:pt x="1326" y="1938"/>
                  </a:lnTo>
                  <a:lnTo>
                    <a:pt x="1320" y="1938"/>
                  </a:lnTo>
                  <a:lnTo>
                    <a:pt x="1314" y="1944"/>
                  </a:lnTo>
                  <a:lnTo>
                    <a:pt x="1308" y="1944"/>
                  </a:lnTo>
                  <a:lnTo>
                    <a:pt x="1302" y="1944"/>
                  </a:lnTo>
                  <a:lnTo>
                    <a:pt x="1296" y="1938"/>
                  </a:lnTo>
                  <a:lnTo>
                    <a:pt x="1284" y="1938"/>
                  </a:lnTo>
                  <a:lnTo>
                    <a:pt x="1278" y="1938"/>
                  </a:lnTo>
                  <a:lnTo>
                    <a:pt x="1272" y="1938"/>
                  </a:lnTo>
                  <a:lnTo>
                    <a:pt x="1266" y="1932"/>
                  </a:lnTo>
                  <a:lnTo>
                    <a:pt x="1260" y="1932"/>
                  </a:lnTo>
                  <a:lnTo>
                    <a:pt x="1254" y="1920"/>
                  </a:lnTo>
                  <a:lnTo>
                    <a:pt x="1248" y="1920"/>
                  </a:lnTo>
                  <a:lnTo>
                    <a:pt x="1242" y="1920"/>
                  </a:lnTo>
                  <a:lnTo>
                    <a:pt x="1236" y="1926"/>
                  </a:lnTo>
                  <a:lnTo>
                    <a:pt x="1236" y="1932"/>
                  </a:lnTo>
                  <a:lnTo>
                    <a:pt x="1230" y="1932"/>
                  </a:lnTo>
                  <a:lnTo>
                    <a:pt x="1224" y="1932"/>
                  </a:lnTo>
                  <a:lnTo>
                    <a:pt x="1218" y="1938"/>
                  </a:lnTo>
                  <a:lnTo>
                    <a:pt x="1212" y="1932"/>
                  </a:lnTo>
                  <a:lnTo>
                    <a:pt x="1206" y="1926"/>
                  </a:lnTo>
                  <a:lnTo>
                    <a:pt x="1206" y="1908"/>
                  </a:lnTo>
                  <a:lnTo>
                    <a:pt x="1206" y="1884"/>
                  </a:lnTo>
                  <a:lnTo>
                    <a:pt x="1206" y="1866"/>
                  </a:lnTo>
                  <a:lnTo>
                    <a:pt x="1212" y="1848"/>
                  </a:lnTo>
                  <a:lnTo>
                    <a:pt x="1212" y="1842"/>
                  </a:lnTo>
                  <a:lnTo>
                    <a:pt x="1206" y="1836"/>
                  </a:lnTo>
                  <a:lnTo>
                    <a:pt x="1200" y="1830"/>
                  </a:lnTo>
                  <a:lnTo>
                    <a:pt x="1194" y="1824"/>
                  </a:lnTo>
                  <a:lnTo>
                    <a:pt x="1188" y="1824"/>
                  </a:lnTo>
                  <a:lnTo>
                    <a:pt x="1182" y="1824"/>
                  </a:lnTo>
                  <a:lnTo>
                    <a:pt x="1176" y="1824"/>
                  </a:lnTo>
                  <a:lnTo>
                    <a:pt x="1170" y="1818"/>
                  </a:lnTo>
                  <a:lnTo>
                    <a:pt x="1164" y="1830"/>
                  </a:lnTo>
                  <a:lnTo>
                    <a:pt x="1152" y="1836"/>
                  </a:lnTo>
                  <a:lnTo>
                    <a:pt x="1146" y="1842"/>
                  </a:lnTo>
                  <a:lnTo>
                    <a:pt x="1140" y="1842"/>
                  </a:lnTo>
                  <a:lnTo>
                    <a:pt x="1134" y="1842"/>
                  </a:lnTo>
                  <a:lnTo>
                    <a:pt x="1128" y="1842"/>
                  </a:lnTo>
                  <a:lnTo>
                    <a:pt x="1116" y="1836"/>
                  </a:lnTo>
                  <a:lnTo>
                    <a:pt x="1110" y="1842"/>
                  </a:lnTo>
                  <a:lnTo>
                    <a:pt x="1092" y="1830"/>
                  </a:lnTo>
                  <a:lnTo>
                    <a:pt x="1092" y="1824"/>
                  </a:lnTo>
                  <a:lnTo>
                    <a:pt x="1092" y="1806"/>
                  </a:lnTo>
                  <a:lnTo>
                    <a:pt x="1092" y="1800"/>
                  </a:lnTo>
                  <a:lnTo>
                    <a:pt x="1092" y="1794"/>
                  </a:lnTo>
                  <a:lnTo>
                    <a:pt x="1086" y="1788"/>
                  </a:lnTo>
                  <a:lnTo>
                    <a:pt x="1080" y="1794"/>
                  </a:lnTo>
                  <a:lnTo>
                    <a:pt x="1074" y="1788"/>
                  </a:lnTo>
                  <a:lnTo>
                    <a:pt x="1068" y="1770"/>
                  </a:lnTo>
                  <a:lnTo>
                    <a:pt x="1056" y="1764"/>
                  </a:lnTo>
                  <a:lnTo>
                    <a:pt x="1050" y="1764"/>
                  </a:lnTo>
                  <a:lnTo>
                    <a:pt x="1044" y="1764"/>
                  </a:lnTo>
                  <a:lnTo>
                    <a:pt x="1038" y="1758"/>
                  </a:lnTo>
                  <a:lnTo>
                    <a:pt x="1032" y="1752"/>
                  </a:lnTo>
                  <a:lnTo>
                    <a:pt x="1032" y="1746"/>
                  </a:lnTo>
                  <a:lnTo>
                    <a:pt x="1032" y="1740"/>
                  </a:lnTo>
                  <a:lnTo>
                    <a:pt x="1032" y="1734"/>
                  </a:lnTo>
                  <a:lnTo>
                    <a:pt x="1026" y="1734"/>
                  </a:lnTo>
                  <a:lnTo>
                    <a:pt x="1032" y="1728"/>
                  </a:lnTo>
                  <a:lnTo>
                    <a:pt x="1032" y="1722"/>
                  </a:lnTo>
                  <a:lnTo>
                    <a:pt x="1044" y="1686"/>
                  </a:lnTo>
                  <a:lnTo>
                    <a:pt x="1044" y="1680"/>
                  </a:lnTo>
                  <a:lnTo>
                    <a:pt x="1032" y="1674"/>
                  </a:lnTo>
                  <a:lnTo>
                    <a:pt x="1026" y="1674"/>
                  </a:lnTo>
                  <a:lnTo>
                    <a:pt x="1026" y="1668"/>
                  </a:lnTo>
                  <a:lnTo>
                    <a:pt x="1020" y="1662"/>
                  </a:lnTo>
                  <a:lnTo>
                    <a:pt x="1014" y="1668"/>
                  </a:lnTo>
                  <a:lnTo>
                    <a:pt x="1008" y="1662"/>
                  </a:lnTo>
                  <a:lnTo>
                    <a:pt x="1002" y="1662"/>
                  </a:lnTo>
                  <a:lnTo>
                    <a:pt x="1002" y="1668"/>
                  </a:lnTo>
                  <a:lnTo>
                    <a:pt x="996" y="1668"/>
                  </a:lnTo>
                  <a:lnTo>
                    <a:pt x="996" y="1662"/>
                  </a:lnTo>
                  <a:lnTo>
                    <a:pt x="984" y="1662"/>
                  </a:lnTo>
                  <a:lnTo>
                    <a:pt x="984" y="1656"/>
                  </a:lnTo>
                  <a:lnTo>
                    <a:pt x="978" y="1650"/>
                  </a:lnTo>
                  <a:lnTo>
                    <a:pt x="978" y="1644"/>
                  </a:lnTo>
                  <a:lnTo>
                    <a:pt x="966" y="1650"/>
                  </a:lnTo>
                  <a:lnTo>
                    <a:pt x="960" y="1638"/>
                  </a:lnTo>
                  <a:lnTo>
                    <a:pt x="954" y="1632"/>
                  </a:lnTo>
                  <a:lnTo>
                    <a:pt x="948" y="1632"/>
                  </a:lnTo>
                  <a:lnTo>
                    <a:pt x="942" y="1626"/>
                  </a:lnTo>
                  <a:lnTo>
                    <a:pt x="942" y="1614"/>
                  </a:lnTo>
                  <a:lnTo>
                    <a:pt x="930" y="1608"/>
                  </a:lnTo>
                  <a:lnTo>
                    <a:pt x="924" y="1614"/>
                  </a:lnTo>
                  <a:lnTo>
                    <a:pt x="912" y="1608"/>
                  </a:lnTo>
                  <a:lnTo>
                    <a:pt x="888" y="1590"/>
                  </a:lnTo>
                  <a:lnTo>
                    <a:pt x="894" y="1578"/>
                  </a:lnTo>
                  <a:lnTo>
                    <a:pt x="894" y="1572"/>
                  </a:lnTo>
                  <a:lnTo>
                    <a:pt x="894" y="1566"/>
                  </a:lnTo>
                  <a:lnTo>
                    <a:pt x="894" y="1548"/>
                  </a:lnTo>
                  <a:lnTo>
                    <a:pt x="888" y="1548"/>
                  </a:lnTo>
                  <a:lnTo>
                    <a:pt x="882" y="1542"/>
                  </a:lnTo>
                  <a:lnTo>
                    <a:pt x="876" y="1542"/>
                  </a:lnTo>
                  <a:lnTo>
                    <a:pt x="876" y="1536"/>
                  </a:lnTo>
                  <a:lnTo>
                    <a:pt x="870" y="1542"/>
                  </a:lnTo>
                  <a:lnTo>
                    <a:pt x="870" y="1554"/>
                  </a:lnTo>
                  <a:lnTo>
                    <a:pt x="870" y="1566"/>
                  </a:lnTo>
                  <a:lnTo>
                    <a:pt x="870" y="1578"/>
                  </a:lnTo>
                  <a:lnTo>
                    <a:pt x="870" y="1584"/>
                  </a:lnTo>
                  <a:lnTo>
                    <a:pt x="864" y="1584"/>
                  </a:lnTo>
                  <a:lnTo>
                    <a:pt x="870" y="1602"/>
                  </a:lnTo>
                  <a:lnTo>
                    <a:pt x="864" y="1608"/>
                  </a:lnTo>
                  <a:lnTo>
                    <a:pt x="870" y="1614"/>
                  </a:lnTo>
                  <a:lnTo>
                    <a:pt x="864" y="1644"/>
                  </a:lnTo>
                  <a:lnTo>
                    <a:pt x="858" y="1650"/>
                  </a:lnTo>
                  <a:lnTo>
                    <a:pt x="858" y="1656"/>
                  </a:lnTo>
                  <a:lnTo>
                    <a:pt x="852" y="1662"/>
                  </a:lnTo>
                  <a:lnTo>
                    <a:pt x="852" y="1680"/>
                  </a:lnTo>
                  <a:lnTo>
                    <a:pt x="846" y="1686"/>
                  </a:lnTo>
                  <a:lnTo>
                    <a:pt x="834" y="1692"/>
                  </a:lnTo>
                  <a:lnTo>
                    <a:pt x="828" y="1692"/>
                  </a:lnTo>
                  <a:lnTo>
                    <a:pt x="822" y="1698"/>
                  </a:lnTo>
                  <a:lnTo>
                    <a:pt x="822" y="1704"/>
                  </a:lnTo>
                  <a:lnTo>
                    <a:pt x="816" y="1704"/>
                  </a:lnTo>
                  <a:lnTo>
                    <a:pt x="804" y="1692"/>
                  </a:lnTo>
                  <a:lnTo>
                    <a:pt x="786" y="1698"/>
                  </a:lnTo>
                  <a:lnTo>
                    <a:pt x="780" y="1698"/>
                  </a:lnTo>
                  <a:lnTo>
                    <a:pt x="756" y="1698"/>
                  </a:lnTo>
                  <a:lnTo>
                    <a:pt x="744" y="1698"/>
                  </a:lnTo>
                  <a:lnTo>
                    <a:pt x="738" y="1698"/>
                  </a:lnTo>
                  <a:lnTo>
                    <a:pt x="732" y="1704"/>
                  </a:lnTo>
                  <a:lnTo>
                    <a:pt x="726" y="1704"/>
                  </a:lnTo>
                  <a:lnTo>
                    <a:pt x="678" y="1710"/>
                  </a:lnTo>
                  <a:lnTo>
                    <a:pt x="642" y="1710"/>
                  </a:lnTo>
                  <a:lnTo>
                    <a:pt x="618" y="1680"/>
                  </a:lnTo>
                  <a:lnTo>
                    <a:pt x="618" y="1674"/>
                  </a:lnTo>
                  <a:lnTo>
                    <a:pt x="618" y="1668"/>
                  </a:lnTo>
                  <a:lnTo>
                    <a:pt x="624" y="1662"/>
                  </a:lnTo>
                  <a:lnTo>
                    <a:pt x="624" y="1656"/>
                  </a:lnTo>
                  <a:lnTo>
                    <a:pt x="624" y="1650"/>
                  </a:lnTo>
                  <a:lnTo>
                    <a:pt x="618" y="1650"/>
                  </a:lnTo>
                  <a:lnTo>
                    <a:pt x="618" y="1644"/>
                  </a:lnTo>
                  <a:lnTo>
                    <a:pt x="618" y="1638"/>
                  </a:lnTo>
                  <a:lnTo>
                    <a:pt x="618" y="1632"/>
                  </a:lnTo>
                  <a:lnTo>
                    <a:pt x="618" y="1626"/>
                  </a:lnTo>
                  <a:lnTo>
                    <a:pt x="612" y="1626"/>
                  </a:lnTo>
                  <a:lnTo>
                    <a:pt x="612" y="1620"/>
                  </a:lnTo>
                  <a:lnTo>
                    <a:pt x="606" y="1614"/>
                  </a:lnTo>
                  <a:lnTo>
                    <a:pt x="594" y="1626"/>
                  </a:lnTo>
                  <a:lnTo>
                    <a:pt x="594" y="1632"/>
                  </a:lnTo>
                  <a:lnTo>
                    <a:pt x="588" y="1638"/>
                  </a:lnTo>
                  <a:lnTo>
                    <a:pt x="582" y="1638"/>
                  </a:lnTo>
                  <a:lnTo>
                    <a:pt x="564" y="1656"/>
                  </a:lnTo>
                  <a:lnTo>
                    <a:pt x="558" y="1662"/>
                  </a:lnTo>
                  <a:lnTo>
                    <a:pt x="552" y="1662"/>
                  </a:lnTo>
                  <a:lnTo>
                    <a:pt x="540" y="1674"/>
                  </a:lnTo>
                  <a:lnTo>
                    <a:pt x="534" y="1680"/>
                  </a:lnTo>
                  <a:lnTo>
                    <a:pt x="522" y="1692"/>
                  </a:lnTo>
                  <a:lnTo>
                    <a:pt x="516" y="1704"/>
                  </a:lnTo>
                  <a:lnTo>
                    <a:pt x="510" y="1704"/>
                  </a:lnTo>
                  <a:lnTo>
                    <a:pt x="504" y="1704"/>
                  </a:lnTo>
                  <a:lnTo>
                    <a:pt x="486" y="1722"/>
                  </a:lnTo>
                  <a:lnTo>
                    <a:pt x="480" y="1740"/>
                  </a:lnTo>
                  <a:lnTo>
                    <a:pt x="474" y="1740"/>
                  </a:lnTo>
                  <a:lnTo>
                    <a:pt x="468" y="1746"/>
                  </a:lnTo>
                  <a:lnTo>
                    <a:pt x="456" y="1758"/>
                  </a:lnTo>
                  <a:lnTo>
                    <a:pt x="444" y="1770"/>
                  </a:lnTo>
                  <a:lnTo>
                    <a:pt x="438" y="1782"/>
                  </a:lnTo>
                  <a:lnTo>
                    <a:pt x="426" y="1788"/>
                  </a:lnTo>
                  <a:lnTo>
                    <a:pt x="420" y="1788"/>
                  </a:lnTo>
                  <a:lnTo>
                    <a:pt x="420" y="1782"/>
                  </a:lnTo>
                  <a:lnTo>
                    <a:pt x="414" y="1782"/>
                  </a:lnTo>
                  <a:lnTo>
                    <a:pt x="390" y="1782"/>
                  </a:lnTo>
                  <a:lnTo>
                    <a:pt x="390" y="1776"/>
                  </a:lnTo>
                  <a:lnTo>
                    <a:pt x="384" y="1776"/>
                  </a:lnTo>
                  <a:lnTo>
                    <a:pt x="378" y="1776"/>
                  </a:lnTo>
                  <a:lnTo>
                    <a:pt x="372" y="1776"/>
                  </a:lnTo>
                  <a:lnTo>
                    <a:pt x="366" y="1770"/>
                  </a:lnTo>
                  <a:lnTo>
                    <a:pt x="366" y="1776"/>
                  </a:lnTo>
                  <a:lnTo>
                    <a:pt x="360" y="1788"/>
                  </a:lnTo>
                  <a:lnTo>
                    <a:pt x="360" y="1794"/>
                  </a:lnTo>
                  <a:lnTo>
                    <a:pt x="360" y="1800"/>
                  </a:lnTo>
                  <a:lnTo>
                    <a:pt x="354" y="1806"/>
                  </a:lnTo>
                  <a:lnTo>
                    <a:pt x="354" y="1812"/>
                  </a:lnTo>
                  <a:lnTo>
                    <a:pt x="354" y="1824"/>
                  </a:lnTo>
                  <a:lnTo>
                    <a:pt x="348" y="1830"/>
                  </a:lnTo>
                  <a:lnTo>
                    <a:pt x="354" y="1836"/>
                  </a:lnTo>
                  <a:lnTo>
                    <a:pt x="348" y="1842"/>
                  </a:lnTo>
                  <a:lnTo>
                    <a:pt x="354" y="1848"/>
                  </a:lnTo>
                  <a:lnTo>
                    <a:pt x="348" y="1854"/>
                  </a:lnTo>
                  <a:lnTo>
                    <a:pt x="354" y="1854"/>
                  </a:lnTo>
                  <a:lnTo>
                    <a:pt x="348" y="1860"/>
                  </a:lnTo>
                  <a:lnTo>
                    <a:pt x="348" y="1866"/>
                  </a:lnTo>
                  <a:lnTo>
                    <a:pt x="342" y="1866"/>
                  </a:lnTo>
                  <a:lnTo>
                    <a:pt x="342" y="1872"/>
                  </a:lnTo>
                  <a:lnTo>
                    <a:pt x="342" y="1878"/>
                  </a:lnTo>
                  <a:lnTo>
                    <a:pt x="342" y="1884"/>
                  </a:lnTo>
                  <a:lnTo>
                    <a:pt x="336" y="1896"/>
                  </a:lnTo>
                  <a:lnTo>
                    <a:pt x="330" y="1914"/>
                  </a:lnTo>
                  <a:lnTo>
                    <a:pt x="324" y="1920"/>
                  </a:lnTo>
                  <a:lnTo>
                    <a:pt x="324" y="1926"/>
                  </a:lnTo>
                  <a:lnTo>
                    <a:pt x="318" y="1944"/>
                  </a:lnTo>
                  <a:lnTo>
                    <a:pt x="318" y="1950"/>
                  </a:lnTo>
                  <a:lnTo>
                    <a:pt x="312" y="1956"/>
                  </a:lnTo>
                  <a:lnTo>
                    <a:pt x="312" y="1950"/>
                  </a:lnTo>
                  <a:lnTo>
                    <a:pt x="306" y="1950"/>
                  </a:lnTo>
                  <a:lnTo>
                    <a:pt x="306" y="1956"/>
                  </a:lnTo>
                  <a:lnTo>
                    <a:pt x="300" y="1950"/>
                  </a:lnTo>
                  <a:lnTo>
                    <a:pt x="294" y="1956"/>
                  </a:lnTo>
                  <a:lnTo>
                    <a:pt x="288" y="1950"/>
                  </a:lnTo>
                  <a:lnTo>
                    <a:pt x="288" y="1944"/>
                  </a:lnTo>
                  <a:lnTo>
                    <a:pt x="282" y="1938"/>
                  </a:lnTo>
                  <a:lnTo>
                    <a:pt x="282" y="1932"/>
                  </a:lnTo>
                  <a:lnTo>
                    <a:pt x="282" y="1890"/>
                  </a:lnTo>
                  <a:lnTo>
                    <a:pt x="288" y="1860"/>
                  </a:lnTo>
                  <a:lnTo>
                    <a:pt x="294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300" y="1818"/>
                  </a:lnTo>
                  <a:lnTo>
                    <a:pt x="306" y="1794"/>
                  </a:lnTo>
                  <a:lnTo>
                    <a:pt x="306" y="1788"/>
                  </a:lnTo>
                  <a:lnTo>
                    <a:pt x="306" y="1782"/>
                  </a:lnTo>
                  <a:lnTo>
                    <a:pt x="312" y="1776"/>
                  </a:lnTo>
                  <a:lnTo>
                    <a:pt x="306" y="1776"/>
                  </a:lnTo>
                  <a:lnTo>
                    <a:pt x="312" y="1770"/>
                  </a:lnTo>
                  <a:lnTo>
                    <a:pt x="312" y="1740"/>
                  </a:lnTo>
                  <a:lnTo>
                    <a:pt x="318" y="1722"/>
                  </a:lnTo>
                  <a:lnTo>
                    <a:pt x="312" y="1722"/>
                  </a:lnTo>
                  <a:lnTo>
                    <a:pt x="300" y="1716"/>
                  </a:lnTo>
                  <a:lnTo>
                    <a:pt x="306" y="1716"/>
                  </a:lnTo>
                  <a:lnTo>
                    <a:pt x="312" y="1710"/>
                  </a:lnTo>
                  <a:lnTo>
                    <a:pt x="324" y="1674"/>
                  </a:lnTo>
                  <a:lnTo>
                    <a:pt x="366" y="1590"/>
                  </a:lnTo>
                  <a:lnTo>
                    <a:pt x="408" y="1548"/>
                  </a:lnTo>
                  <a:lnTo>
                    <a:pt x="426" y="1530"/>
                  </a:lnTo>
                  <a:lnTo>
                    <a:pt x="432" y="1500"/>
                  </a:lnTo>
                  <a:lnTo>
                    <a:pt x="426" y="1494"/>
                  </a:lnTo>
                  <a:lnTo>
                    <a:pt x="426" y="1482"/>
                  </a:lnTo>
                  <a:lnTo>
                    <a:pt x="432" y="1464"/>
                  </a:lnTo>
                  <a:lnTo>
                    <a:pt x="438" y="1428"/>
                  </a:lnTo>
                  <a:lnTo>
                    <a:pt x="462" y="1398"/>
                  </a:lnTo>
                  <a:lnTo>
                    <a:pt x="468" y="1362"/>
                  </a:lnTo>
                  <a:lnTo>
                    <a:pt x="462" y="1314"/>
                  </a:lnTo>
                  <a:lnTo>
                    <a:pt x="444" y="1284"/>
                  </a:lnTo>
                  <a:lnTo>
                    <a:pt x="432" y="1260"/>
                  </a:lnTo>
                  <a:lnTo>
                    <a:pt x="426" y="1260"/>
                  </a:lnTo>
                  <a:lnTo>
                    <a:pt x="420" y="1254"/>
                  </a:lnTo>
                  <a:lnTo>
                    <a:pt x="408" y="1260"/>
                  </a:lnTo>
                  <a:lnTo>
                    <a:pt x="402" y="1260"/>
                  </a:lnTo>
                  <a:lnTo>
                    <a:pt x="402" y="1254"/>
                  </a:lnTo>
                  <a:lnTo>
                    <a:pt x="396" y="1254"/>
                  </a:lnTo>
                  <a:lnTo>
                    <a:pt x="396" y="1248"/>
                  </a:lnTo>
                  <a:lnTo>
                    <a:pt x="384" y="1248"/>
                  </a:lnTo>
                  <a:lnTo>
                    <a:pt x="372" y="1230"/>
                  </a:lnTo>
                  <a:lnTo>
                    <a:pt x="360" y="1212"/>
                  </a:lnTo>
                  <a:lnTo>
                    <a:pt x="348" y="1188"/>
                  </a:lnTo>
                  <a:lnTo>
                    <a:pt x="324" y="1170"/>
                  </a:lnTo>
                  <a:lnTo>
                    <a:pt x="318" y="1170"/>
                  </a:lnTo>
                  <a:lnTo>
                    <a:pt x="312" y="1158"/>
                  </a:lnTo>
                  <a:lnTo>
                    <a:pt x="312" y="1152"/>
                  </a:lnTo>
                  <a:lnTo>
                    <a:pt x="306" y="1146"/>
                  </a:lnTo>
                  <a:lnTo>
                    <a:pt x="270" y="1122"/>
                  </a:lnTo>
                  <a:lnTo>
                    <a:pt x="240" y="1122"/>
                  </a:lnTo>
                  <a:lnTo>
                    <a:pt x="180" y="1116"/>
                  </a:lnTo>
                  <a:lnTo>
                    <a:pt x="174" y="1122"/>
                  </a:lnTo>
                  <a:lnTo>
                    <a:pt x="174" y="1128"/>
                  </a:lnTo>
                  <a:lnTo>
                    <a:pt x="168" y="1122"/>
                  </a:lnTo>
                  <a:lnTo>
                    <a:pt x="162" y="1116"/>
                  </a:lnTo>
                  <a:lnTo>
                    <a:pt x="144" y="1122"/>
                  </a:lnTo>
                  <a:lnTo>
                    <a:pt x="120" y="1122"/>
                  </a:lnTo>
                  <a:lnTo>
                    <a:pt x="54" y="1134"/>
                  </a:lnTo>
                  <a:lnTo>
                    <a:pt x="24" y="1152"/>
                  </a:lnTo>
                  <a:lnTo>
                    <a:pt x="6" y="1146"/>
                  </a:lnTo>
                  <a:lnTo>
                    <a:pt x="0" y="1134"/>
                  </a:lnTo>
                  <a:lnTo>
                    <a:pt x="0" y="1128"/>
                  </a:lnTo>
                  <a:lnTo>
                    <a:pt x="18" y="1110"/>
                  </a:lnTo>
                  <a:lnTo>
                    <a:pt x="24" y="1104"/>
                  </a:lnTo>
                  <a:lnTo>
                    <a:pt x="24" y="1098"/>
                  </a:lnTo>
                  <a:lnTo>
                    <a:pt x="30" y="1086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24" y="1074"/>
                  </a:lnTo>
                  <a:lnTo>
                    <a:pt x="18" y="1068"/>
                  </a:lnTo>
                  <a:lnTo>
                    <a:pt x="24" y="1062"/>
                  </a:lnTo>
                  <a:lnTo>
                    <a:pt x="42" y="1056"/>
                  </a:lnTo>
                  <a:lnTo>
                    <a:pt x="54" y="1050"/>
                  </a:lnTo>
                  <a:lnTo>
                    <a:pt x="72" y="1044"/>
                  </a:lnTo>
                  <a:lnTo>
                    <a:pt x="96" y="1032"/>
                  </a:lnTo>
                  <a:lnTo>
                    <a:pt x="102" y="1032"/>
                  </a:lnTo>
                  <a:lnTo>
                    <a:pt x="126" y="1008"/>
                  </a:lnTo>
                  <a:lnTo>
                    <a:pt x="144" y="990"/>
                  </a:lnTo>
                  <a:lnTo>
                    <a:pt x="156" y="978"/>
                  </a:lnTo>
                  <a:lnTo>
                    <a:pt x="156" y="966"/>
                  </a:lnTo>
                  <a:lnTo>
                    <a:pt x="150" y="960"/>
                  </a:lnTo>
                  <a:lnTo>
                    <a:pt x="144" y="948"/>
                  </a:lnTo>
                  <a:lnTo>
                    <a:pt x="144" y="936"/>
                  </a:lnTo>
                  <a:lnTo>
                    <a:pt x="138" y="918"/>
                  </a:lnTo>
                  <a:lnTo>
                    <a:pt x="150" y="912"/>
                  </a:lnTo>
                  <a:lnTo>
                    <a:pt x="150" y="894"/>
                  </a:lnTo>
                  <a:lnTo>
                    <a:pt x="132" y="876"/>
                  </a:lnTo>
                  <a:lnTo>
                    <a:pt x="126" y="876"/>
                  </a:lnTo>
                  <a:lnTo>
                    <a:pt x="120" y="870"/>
                  </a:lnTo>
                  <a:lnTo>
                    <a:pt x="120" y="864"/>
                  </a:lnTo>
                  <a:lnTo>
                    <a:pt x="114" y="864"/>
                  </a:lnTo>
                  <a:lnTo>
                    <a:pt x="108" y="864"/>
                  </a:lnTo>
                  <a:lnTo>
                    <a:pt x="108" y="858"/>
                  </a:lnTo>
                  <a:lnTo>
                    <a:pt x="102" y="852"/>
                  </a:lnTo>
                  <a:lnTo>
                    <a:pt x="96" y="852"/>
                  </a:lnTo>
                  <a:lnTo>
                    <a:pt x="102" y="834"/>
                  </a:lnTo>
                  <a:lnTo>
                    <a:pt x="108" y="816"/>
                  </a:lnTo>
                  <a:lnTo>
                    <a:pt x="114" y="804"/>
                  </a:lnTo>
                  <a:lnTo>
                    <a:pt x="132" y="798"/>
                  </a:lnTo>
                  <a:lnTo>
                    <a:pt x="144" y="798"/>
                  </a:lnTo>
                  <a:lnTo>
                    <a:pt x="180" y="810"/>
                  </a:lnTo>
                  <a:lnTo>
                    <a:pt x="192" y="816"/>
                  </a:lnTo>
                  <a:lnTo>
                    <a:pt x="234" y="822"/>
                  </a:lnTo>
                  <a:lnTo>
                    <a:pt x="264" y="828"/>
                  </a:lnTo>
                  <a:lnTo>
                    <a:pt x="270" y="840"/>
                  </a:lnTo>
                  <a:lnTo>
                    <a:pt x="270" y="834"/>
                  </a:lnTo>
                  <a:lnTo>
                    <a:pt x="270" y="828"/>
                  </a:lnTo>
                  <a:lnTo>
                    <a:pt x="270" y="822"/>
                  </a:lnTo>
                  <a:lnTo>
                    <a:pt x="270" y="816"/>
                  </a:lnTo>
                  <a:lnTo>
                    <a:pt x="264" y="810"/>
                  </a:lnTo>
                  <a:lnTo>
                    <a:pt x="264" y="804"/>
                  </a:lnTo>
                  <a:lnTo>
                    <a:pt x="264" y="798"/>
                  </a:lnTo>
                  <a:lnTo>
                    <a:pt x="258" y="792"/>
                  </a:lnTo>
                  <a:lnTo>
                    <a:pt x="258" y="786"/>
                  </a:lnTo>
                  <a:lnTo>
                    <a:pt x="264" y="786"/>
                  </a:lnTo>
                  <a:lnTo>
                    <a:pt x="264" y="780"/>
                  </a:lnTo>
                  <a:lnTo>
                    <a:pt x="258" y="774"/>
                  </a:lnTo>
                  <a:lnTo>
                    <a:pt x="258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82" y="762"/>
                  </a:lnTo>
                  <a:lnTo>
                    <a:pt x="312" y="780"/>
                  </a:lnTo>
                  <a:lnTo>
                    <a:pt x="354" y="786"/>
                  </a:lnTo>
                  <a:lnTo>
                    <a:pt x="408" y="774"/>
                  </a:lnTo>
                  <a:lnTo>
                    <a:pt x="444" y="756"/>
                  </a:lnTo>
                  <a:lnTo>
                    <a:pt x="468" y="732"/>
                  </a:lnTo>
                  <a:lnTo>
                    <a:pt x="492" y="720"/>
                  </a:lnTo>
                  <a:lnTo>
                    <a:pt x="522" y="690"/>
                  </a:lnTo>
                  <a:lnTo>
                    <a:pt x="540" y="672"/>
                  </a:lnTo>
                  <a:lnTo>
                    <a:pt x="558" y="660"/>
                  </a:lnTo>
                  <a:lnTo>
                    <a:pt x="570" y="636"/>
                  </a:lnTo>
                  <a:lnTo>
                    <a:pt x="588" y="612"/>
                  </a:lnTo>
                  <a:lnTo>
                    <a:pt x="654" y="552"/>
                  </a:lnTo>
                  <a:lnTo>
                    <a:pt x="678" y="528"/>
                  </a:lnTo>
                  <a:lnTo>
                    <a:pt x="696" y="510"/>
                  </a:lnTo>
                  <a:lnTo>
                    <a:pt x="714" y="498"/>
                  </a:lnTo>
                  <a:lnTo>
                    <a:pt x="750" y="480"/>
                  </a:lnTo>
                  <a:lnTo>
                    <a:pt x="774" y="444"/>
                  </a:lnTo>
                  <a:lnTo>
                    <a:pt x="816" y="426"/>
                  </a:lnTo>
                  <a:lnTo>
                    <a:pt x="864" y="420"/>
                  </a:lnTo>
                  <a:lnTo>
                    <a:pt x="912" y="402"/>
                  </a:lnTo>
                  <a:lnTo>
                    <a:pt x="906" y="396"/>
                  </a:lnTo>
                  <a:lnTo>
                    <a:pt x="912" y="396"/>
                  </a:lnTo>
                  <a:lnTo>
                    <a:pt x="912" y="390"/>
                  </a:lnTo>
                  <a:lnTo>
                    <a:pt x="918" y="384"/>
                  </a:lnTo>
                  <a:lnTo>
                    <a:pt x="924" y="384"/>
                  </a:lnTo>
                  <a:lnTo>
                    <a:pt x="924" y="378"/>
                  </a:lnTo>
                  <a:lnTo>
                    <a:pt x="918" y="372"/>
                  </a:lnTo>
                  <a:lnTo>
                    <a:pt x="918" y="366"/>
                  </a:lnTo>
                  <a:lnTo>
                    <a:pt x="918" y="360"/>
                  </a:lnTo>
                  <a:lnTo>
                    <a:pt x="924" y="360"/>
                  </a:lnTo>
                  <a:lnTo>
                    <a:pt x="924" y="354"/>
                  </a:lnTo>
                  <a:lnTo>
                    <a:pt x="930" y="354"/>
                  </a:lnTo>
                  <a:lnTo>
                    <a:pt x="936" y="354"/>
                  </a:lnTo>
                  <a:lnTo>
                    <a:pt x="936" y="348"/>
                  </a:lnTo>
                  <a:lnTo>
                    <a:pt x="942" y="348"/>
                  </a:lnTo>
                  <a:lnTo>
                    <a:pt x="942" y="336"/>
                  </a:lnTo>
                  <a:lnTo>
                    <a:pt x="936" y="336"/>
                  </a:lnTo>
                  <a:lnTo>
                    <a:pt x="930" y="330"/>
                  </a:lnTo>
                  <a:lnTo>
                    <a:pt x="924" y="330"/>
                  </a:lnTo>
                  <a:lnTo>
                    <a:pt x="924" y="324"/>
                  </a:lnTo>
                  <a:lnTo>
                    <a:pt x="918" y="318"/>
                  </a:lnTo>
                  <a:lnTo>
                    <a:pt x="912" y="306"/>
                  </a:lnTo>
                  <a:lnTo>
                    <a:pt x="918" y="306"/>
                  </a:lnTo>
                  <a:lnTo>
                    <a:pt x="924" y="300"/>
                  </a:lnTo>
                  <a:lnTo>
                    <a:pt x="924" y="294"/>
                  </a:lnTo>
                  <a:lnTo>
                    <a:pt x="924" y="288"/>
                  </a:lnTo>
                  <a:lnTo>
                    <a:pt x="924" y="282"/>
                  </a:lnTo>
                  <a:lnTo>
                    <a:pt x="924" y="276"/>
                  </a:lnTo>
                  <a:lnTo>
                    <a:pt x="918" y="270"/>
                  </a:lnTo>
                  <a:lnTo>
                    <a:pt x="918" y="264"/>
                  </a:lnTo>
                  <a:lnTo>
                    <a:pt x="912" y="270"/>
                  </a:lnTo>
                  <a:lnTo>
                    <a:pt x="912" y="264"/>
                  </a:lnTo>
                  <a:lnTo>
                    <a:pt x="912" y="258"/>
                  </a:lnTo>
                  <a:lnTo>
                    <a:pt x="912" y="252"/>
                  </a:lnTo>
                  <a:lnTo>
                    <a:pt x="906" y="252"/>
                  </a:lnTo>
                  <a:lnTo>
                    <a:pt x="900" y="246"/>
                  </a:lnTo>
                  <a:lnTo>
                    <a:pt x="900" y="240"/>
                  </a:lnTo>
                  <a:lnTo>
                    <a:pt x="900" y="246"/>
                  </a:lnTo>
                  <a:lnTo>
                    <a:pt x="894" y="246"/>
                  </a:lnTo>
                  <a:lnTo>
                    <a:pt x="894" y="240"/>
                  </a:lnTo>
                  <a:lnTo>
                    <a:pt x="894" y="234"/>
                  </a:lnTo>
                  <a:lnTo>
                    <a:pt x="900" y="234"/>
                  </a:lnTo>
                  <a:lnTo>
                    <a:pt x="900" y="228"/>
                  </a:lnTo>
                  <a:lnTo>
                    <a:pt x="906" y="228"/>
                  </a:lnTo>
                  <a:lnTo>
                    <a:pt x="900" y="222"/>
                  </a:lnTo>
                  <a:lnTo>
                    <a:pt x="894" y="216"/>
                  </a:lnTo>
                  <a:lnTo>
                    <a:pt x="894" y="210"/>
                  </a:lnTo>
                  <a:lnTo>
                    <a:pt x="888" y="210"/>
                  </a:lnTo>
                  <a:lnTo>
                    <a:pt x="888" y="204"/>
                  </a:lnTo>
                  <a:lnTo>
                    <a:pt x="888" y="198"/>
                  </a:lnTo>
                  <a:lnTo>
                    <a:pt x="888" y="192"/>
                  </a:lnTo>
                  <a:lnTo>
                    <a:pt x="882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82" y="174"/>
                  </a:lnTo>
                  <a:lnTo>
                    <a:pt x="888" y="168"/>
                  </a:lnTo>
                  <a:lnTo>
                    <a:pt x="888" y="162"/>
                  </a:lnTo>
                  <a:lnTo>
                    <a:pt x="888" y="156"/>
                  </a:lnTo>
                  <a:lnTo>
                    <a:pt x="888" y="150"/>
                  </a:lnTo>
                  <a:lnTo>
                    <a:pt x="888" y="144"/>
                  </a:lnTo>
                  <a:lnTo>
                    <a:pt x="882" y="144"/>
                  </a:lnTo>
                  <a:lnTo>
                    <a:pt x="882" y="138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76" y="120"/>
                  </a:lnTo>
                  <a:lnTo>
                    <a:pt x="882" y="114"/>
                  </a:lnTo>
                  <a:lnTo>
                    <a:pt x="882" y="108"/>
                  </a:lnTo>
                  <a:lnTo>
                    <a:pt x="888" y="102"/>
                  </a:lnTo>
                  <a:lnTo>
                    <a:pt x="894" y="102"/>
                  </a:lnTo>
                  <a:lnTo>
                    <a:pt x="894" y="96"/>
                  </a:lnTo>
                  <a:lnTo>
                    <a:pt x="888" y="96"/>
                  </a:lnTo>
                  <a:lnTo>
                    <a:pt x="894" y="90"/>
                  </a:lnTo>
                  <a:lnTo>
                    <a:pt x="888" y="84"/>
                  </a:lnTo>
                  <a:lnTo>
                    <a:pt x="888" y="78"/>
                  </a:lnTo>
                  <a:lnTo>
                    <a:pt x="924" y="66"/>
                  </a:lnTo>
                  <a:lnTo>
                    <a:pt x="966" y="66"/>
                  </a:lnTo>
                  <a:lnTo>
                    <a:pt x="996" y="48"/>
                  </a:lnTo>
                  <a:lnTo>
                    <a:pt x="1056" y="12"/>
                  </a:lnTo>
                  <a:lnTo>
                    <a:pt x="1128" y="0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0" y="18"/>
                  </a:lnTo>
                  <a:lnTo>
                    <a:pt x="1176" y="24"/>
                  </a:lnTo>
                  <a:lnTo>
                    <a:pt x="1182" y="24"/>
                  </a:lnTo>
                  <a:lnTo>
                    <a:pt x="1188" y="30"/>
                  </a:lnTo>
                  <a:lnTo>
                    <a:pt x="1194" y="30"/>
                  </a:lnTo>
                  <a:lnTo>
                    <a:pt x="1194" y="36"/>
                  </a:lnTo>
                  <a:lnTo>
                    <a:pt x="1260" y="30"/>
                  </a:lnTo>
                  <a:lnTo>
                    <a:pt x="1272" y="30"/>
                  </a:lnTo>
                  <a:lnTo>
                    <a:pt x="1296" y="24"/>
                  </a:lnTo>
                  <a:lnTo>
                    <a:pt x="1302" y="30"/>
                  </a:lnTo>
                  <a:lnTo>
                    <a:pt x="1302" y="36"/>
                  </a:lnTo>
                  <a:lnTo>
                    <a:pt x="1308" y="36"/>
                  </a:lnTo>
                  <a:lnTo>
                    <a:pt x="1314" y="36"/>
                  </a:lnTo>
                  <a:lnTo>
                    <a:pt x="1320" y="36"/>
                  </a:lnTo>
                  <a:lnTo>
                    <a:pt x="1326" y="30"/>
                  </a:lnTo>
                  <a:lnTo>
                    <a:pt x="1332" y="30"/>
                  </a:lnTo>
                  <a:lnTo>
                    <a:pt x="1338" y="30"/>
                  </a:lnTo>
                  <a:lnTo>
                    <a:pt x="1344" y="30"/>
                  </a:lnTo>
                  <a:lnTo>
                    <a:pt x="1374" y="30"/>
                  </a:lnTo>
                  <a:lnTo>
                    <a:pt x="1386" y="30"/>
                  </a:lnTo>
                  <a:lnTo>
                    <a:pt x="1392" y="24"/>
                  </a:lnTo>
                  <a:lnTo>
                    <a:pt x="1398" y="12"/>
                  </a:lnTo>
                  <a:lnTo>
                    <a:pt x="1404" y="6"/>
                  </a:lnTo>
                  <a:lnTo>
                    <a:pt x="1410" y="6"/>
                  </a:lnTo>
                  <a:lnTo>
                    <a:pt x="1410" y="12"/>
                  </a:lnTo>
                  <a:lnTo>
                    <a:pt x="1416" y="18"/>
                  </a:lnTo>
                  <a:lnTo>
                    <a:pt x="1416" y="36"/>
                  </a:lnTo>
                  <a:lnTo>
                    <a:pt x="1434" y="54"/>
                  </a:lnTo>
                  <a:lnTo>
                    <a:pt x="1434" y="60"/>
                  </a:lnTo>
                  <a:lnTo>
                    <a:pt x="1434" y="66"/>
                  </a:lnTo>
                  <a:lnTo>
                    <a:pt x="1434" y="72"/>
                  </a:lnTo>
                  <a:lnTo>
                    <a:pt x="1428" y="72"/>
                  </a:lnTo>
                  <a:lnTo>
                    <a:pt x="1428" y="78"/>
                  </a:lnTo>
                  <a:lnTo>
                    <a:pt x="1434" y="78"/>
                  </a:lnTo>
                  <a:lnTo>
                    <a:pt x="1440" y="84"/>
                  </a:lnTo>
                  <a:lnTo>
                    <a:pt x="1440" y="90"/>
                  </a:lnTo>
                  <a:lnTo>
                    <a:pt x="1440" y="96"/>
                  </a:lnTo>
                  <a:lnTo>
                    <a:pt x="1446" y="96"/>
                  </a:lnTo>
                  <a:lnTo>
                    <a:pt x="1446" y="108"/>
                  </a:lnTo>
                  <a:lnTo>
                    <a:pt x="1452" y="108"/>
                  </a:lnTo>
                  <a:lnTo>
                    <a:pt x="1452" y="114"/>
                  </a:lnTo>
                  <a:lnTo>
                    <a:pt x="1458" y="114"/>
                  </a:lnTo>
                  <a:lnTo>
                    <a:pt x="1470" y="120"/>
                  </a:lnTo>
                  <a:lnTo>
                    <a:pt x="1476" y="120"/>
                  </a:lnTo>
                  <a:lnTo>
                    <a:pt x="1476" y="114"/>
                  </a:lnTo>
                  <a:lnTo>
                    <a:pt x="1488" y="120"/>
                  </a:lnTo>
                  <a:lnTo>
                    <a:pt x="1506" y="120"/>
                  </a:lnTo>
                  <a:lnTo>
                    <a:pt x="1512" y="120"/>
                  </a:lnTo>
                  <a:lnTo>
                    <a:pt x="1518" y="120"/>
                  </a:lnTo>
                  <a:lnTo>
                    <a:pt x="1524" y="126"/>
                  </a:lnTo>
                  <a:lnTo>
                    <a:pt x="1536" y="150"/>
                  </a:lnTo>
                  <a:lnTo>
                    <a:pt x="1548" y="162"/>
                  </a:lnTo>
                  <a:lnTo>
                    <a:pt x="1554" y="168"/>
                  </a:lnTo>
                  <a:lnTo>
                    <a:pt x="1584" y="228"/>
                  </a:lnTo>
                  <a:lnTo>
                    <a:pt x="1584" y="234"/>
                  </a:lnTo>
                  <a:lnTo>
                    <a:pt x="1578" y="312"/>
                  </a:lnTo>
                  <a:lnTo>
                    <a:pt x="1590" y="318"/>
                  </a:lnTo>
                  <a:lnTo>
                    <a:pt x="1608" y="330"/>
                  </a:lnTo>
                  <a:lnTo>
                    <a:pt x="1620" y="342"/>
                  </a:lnTo>
                  <a:lnTo>
                    <a:pt x="1626" y="342"/>
                  </a:lnTo>
                  <a:lnTo>
                    <a:pt x="1692" y="360"/>
                  </a:lnTo>
                  <a:lnTo>
                    <a:pt x="1710" y="408"/>
                  </a:lnTo>
                  <a:lnTo>
                    <a:pt x="1722" y="426"/>
                  </a:lnTo>
                  <a:lnTo>
                    <a:pt x="1716" y="468"/>
                  </a:lnTo>
                  <a:lnTo>
                    <a:pt x="1686" y="486"/>
                  </a:lnTo>
                  <a:lnTo>
                    <a:pt x="1686" y="492"/>
                  </a:lnTo>
                  <a:lnTo>
                    <a:pt x="1680" y="498"/>
                  </a:lnTo>
                  <a:lnTo>
                    <a:pt x="1650" y="558"/>
                  </a:lnTo>
                  <a:lnTo>
                    <a:pt x="1650" y="570"/>
                  </a:lnTo>
                  <a:lnTo>
                    <a:pt x="1644" y="570"/>
                  </a:lnTo>
                  <a:lnTo>
                    <a:pt x="1638" y="582"/>
                  </a:lnTo>
                  <a:lnTo>
                    <a:pt x="1638" y="624"/>
                  </a:lnTo>
                  <a:lnTo>
                    <a:pt x="1638" y="636"/>
                  </a:lnTo>
                  <a:lnTo>
                    <a:pt x="1638" y="642"/>
                  </a:lnTo>
                  <a:lnTo>
                    <a:pt x="1632" y="660"/>
                  </a:lnTo>
                  <a:lnTo>
                    <a:pt x="1608" y="678"/>
                  </a:lnTo>
                  <a:lnTo>
                    <a:pt x="1584" y="690"/>
                  </a:lnTo>
                  <a:lnTo>
                    <a:pt x="1584" y="696"/>
                  </a:lnTo>
                  <a:lnTo>
                    <a:pt x="1578" y="702"/>
                  </a:lnTo>
                  <a:lnTo>
                    <a:pt x="1584" y="702"/>
                  </a:lnTo>
                  <a:lnTo>
                    <a:pt x="1578" y="714"/>
                  </a:lnTo>
                  <a:lnTo>
                    <a:pt x="1572" y="714"/>
                  </a:lnTo>
                  <a:lnTo>
                    <a:pt x="1572" y="720"/>
                  </a:lnTo>
                  <a:lnTo>
                    <a:pt x="1566" y="720"/>
                  </a:lnTo>
                  <a:lnTo>
                    <a:pt x="1560" y="726"/>
                  </a:lnTo>
                  <a:lnTo>
                    <a:pt x="1560" y="732"/>
                  </a:lnTo>
                  <a:lnTo>
                    <a:pt x="1554" y="732"/>
                  </a:lnTo>
                  <a:lnTo>
                    <a:pt x="1554" y="738"/>
                  </a:lnTo>
                  <a:lnTo>
                    <a:pt x="1554" y="744"/>
                  </a:lnTo>
                  <a:lnTo>
                    <a:pt x="1548" y="744"/>
                  </a:lnTo>
                  <a:lnTo>
                    <a:pt x="1548" y="738"/>
                  </a:lnTo>
                  <a:lnTo>
                    <a:pt x="1542" y="738"/>
                  </a:lnTo>
                  <a:lnTo>
                    <a:pt x="1542" y="744"/>
                  </a:lnTo>
                  <a:lnTo>
                    <a:pt x="1542" y="750"/>
                  </a:lnTo>
                  <a:lnTo>
                    <a:pt x="1494" y="804"/>
                  </a:lnTo>
                  <a:lnTo>
                    <a:pt x="1446" y="876"/>
                  </a:lnTo>
                  <a:lnTo>
                    <a:pt x="1440" y="876"/>
                  </a:lnTo>
                  <a:lnTo>
                    <a:pt x="1434" y="876"/>
                  </a:lnTo>
                  <a:lnTo>
                    <a:pt x="1428" y="882"/>
                  </a:lnTo>
                  <a:lnTo>
                    <a:pt x="1422" y="882"/>
                  </a:lnTo>
                  <a:lnTo>
                    <a:pt x="1386" y="924"/>
                  </a:lnTo>
                  <a:lnTo>
                    <a:pt x="1362" y="954"/>
                  </a:lnTo>
                  <a:lnTo>
                    <a:pt x="1356" y="984"/>
                  </a:lnTo>
                  <a:lnTo>
                    <a:pt x="1362" y="1002"/>
                  </a:lnTo>
                  <a:lnTo>
                    <a:pt x="1368" y="1020"/>
                  </a:lnTo>
                  <a:lnTo>
                    <a:pt x="1386" y="1056"/>
                  </a:lnTo>
                  <a:lnTo>
                    <a:pt x="1404" y="1074"/>
                  </a:lnTo>
                  <a:lnTo>
                    <a:pt x="1416" y="1080"/>
                  </a:lnTo>
                  <a:lnTo>
                    <a:pt x="1416" y="1086"/>
                  </a:lnTo>
                  <a:lnTo>
                    <a:pt x="1422" y="1098"/>
                  </a:lnTo>
                  <a:lnTo>
                    <a:pt x="1422" y="1110"/>
                  </a:lnTo>
                  <a:lnTo>
                    <a:pt x="1428" y="1116"/>
                  </a:lnTo>
                  <a:lnTo>
                    <a:pt x="1434" y="1116"/>
                  </a:lnTo>
                  <a:lnTo>
                    <a:pt x="1434" y="1122"/>
                  </a:lnTo>
                  <a:lnTo>
                    <a:pt x="1434" y="1128"/>
                  </a:lnTo>
                  <a:lnTo>
                    <a:pt x="1440" y="1134"/>
                  </a:lnTo>
                  <a:lnTo>
                    <a:pt x="1446" y="1134"/>
                  </a:lnTo>
                  <a:lnTo>
                    <a:pt x="1458" y="1134"/>
                  </a:lnTo>
                  <a:lnTo>
                    <a:pt x="1458" y="1140"/>
                  </a:lnTo>
                  <a:lnTo>
                    <a:pt x="1464" y="1134"/>
                  </a:lnTo>
                  <a:lnTo>
                    <a:pt x="1470" y="1134"/>
                  </a:lnTo>
                  <a:lnTo>
                    <a:pt x="1464" y="1128"/>
                  </a:lnTo>
                  <a:lnTo>
                    <a:pt x="1464" y="1122"/>
                  </a:lnTo>
                  <a:lnTo>
                    <a:pt x="1470" y="1116"/>
                  </a:lnTo>
                  <a:lnTo>
                    <a:pt x="1470" y="1122"/>
                  </a:lnTo>
                  <a:lnTo>
                    <a:pt x="1476" y="1122"/>
                  </a:lnTo>
                  <a:lnTo>
                    <a:pt x="1476" y="1116"/>
                  </a:lnTo>
                  <a:lnTo>
                    <a:pt x="1482" y="1110"/>
                  </a:lnTo>
                  <a:lnTo>
                    <a:pt x="1476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82" y="1086"/>
                  </a:lnTo>
                  <a:lnTo>
                    <a:pt x="1482" y="1074"/>
                  </a:lnTo>
                  <a:lnTo>
                    <a:pt x="1488" y="1068"/>
                  </a:lnTo>
                  <a:lnTo>
                    <a:pt x="1488" y="1062"/>
                  </a:lnTo>
                  <a:lnTo>
                    <a:pt x="1494" y="1062"/>
                  </a:lnTo>
                  <a:lnTo>
                    <a:pt x="1500" y="1062"/>
                  </a:lnTo>
                  <a:lnTo>
                    <a:pt x="1506" y="1062"/>
                  </a:lnTo>
                  <a:lnTo>
                    <a:pt x="1506" y="1056"/>
                  </a:lnTo>
                  <a:lnTo>
                    <a:pt x="1506" y="1062"/>
                  </a:lnTo>
                  <a:lnTo>
                    <a:pt x="1518" y="1062"/>
                  </a:lnTo>
                  <a:lnTo>
                    <a:pt x="1524" y="1062"/>
                  </a:lnTo>
                  <a:lnTo>
                    <a:pt x="1530" y="1062"/>
                  </a:lnTo>
                  <a:lnTo>
                    <a:pt x="1536" y="1068"/>
                  </a:lnTo>
                  <a:lnTo>
                    <a:pt x="1536" y="1074"/>
                  </a:lnTo>
                  <a:lnTo>
                    <a:pt x="1542" y="1086"/>
                  </a:lnTo>
                  <a:lnTo>
                    <a:pt x="1548" y="1086"/>
                  </a:lnTo>
                  <a:lnTo>
                    <a:pt x="1554" y="1086"/>
                  </a:lnTo>
                  <a:lnTo>
                    <a:pt x="1566" y="1098"/>
                  </a:lnTo>
                  <a:lnTo>
                    <a:pt x="1572" y="1104"/>
                  </a:lnTo>
                  <a:lnTo>
                    <a:pt x="1566" y="1110"/>
                  </a:lnTo>
                  <a:lnTo>
                    <a:pt x="1572" y="1116"/>
                  </a:lnTo>
                  <a:lnTo>
                    <a:pt x="1578" y="1116"/>
                  </a:lnTo>
                  <a:lnTo>
                    <a:pt x="1578" y="1122"/>
                  </a:lnTo>
                  <a:lnTo>
                    <a:pt x="1584" y="1122"/>
                  </a:lnTo>
                  <a:lnTo>
                    <a:pt x="1584" y="1128"/>
                  </a:lnTo>
                  <a:lnTo>
                    <a:pt x="1584" y="1134"/>
                  </a:lnTo>
                  <a:lnTo>
                    <a:pt x="1590" y="1134"/>
                  </a:lnTo>
                  <a:lnTo>
                    <a:pt x="1596" y="1140"/>
                  </a:lnTo>
                  <a:lnTo>
                    <a:pt x="1602" y="1146"/>
                  </a:lnTo>
                  <a:lnTo>
                    <a:pt x="1608" y="1146"/>
                  </a:lnTo>
                  <a:lnTo>
                    <a:pt x="1614" y="1146"/>
                  </a:lnTo>
                  <a:lnTo>
                    <a:pt x="1614" y="1152"/>
                  </a:lnTo>
                  <a:lnTo>
                    <a:pt x="1620" y="1152"/>
                  </a:lnTo>
                  <a:lnTo>
                    <a:pt x="1626" y="1164"/>
                  </a:lnTo>
                  <a:lnTo>
                    <a:pt x="1632" y="1170"/>
                  </a:lnTo>
                  <a:lnTo>
                    <a:pt x="1638" y="1176"/>
                  </a:lnTo>
                  <a:lnTo>
                    <a:pt x="1638" y="1182"/>
                  </a:lnTo>
                  <a:lnTo>
                    <a:pt x="1644" y="1194"/>
                  </a:lnTo>
                  <a:lnTo>
                    <a:pt x="1644" y="1200"/>
                  </a:lnTo>
                  <a:lnTo>
                    <a:pt x="1638" y="1200"/>
                  </a:lnTo>
                  <a:lnTo>
                    <a:pt x="1638" y="1206"/>
                  </a:lnTo>
                  <a:lnTo>
                    <a:pt x="1638" y="1212"/>
                  </a:lnTo>
                  <a:lnTo>
                    <a:pt x="1638" y="1218"/>
                  </a:lnTo>
                  <a:lnTo>
                    <a:pt x="1632" y="1242"/>
                  </a:lnTo>
                  <a:lnTo>
                    <a:pt x="1632" y="1266"/>
                  </a:lnTo>
                  <a:lnTo>
                    <a:pt x="1638" y="1284"/>
                  </a:lnTo>
                  <a:lnTo>
                    <a:pt x="1638" y="1296"/>
                  </a:lnTo>
                  <a:lnTo>
                    <a:pt x="1632" y="1296"/>
                  </a:lnTo>
                  <a:lnTo>
                    <a:pt x="1632" y="1302"/>
                  </a:lnTo>
                  <a:lnTo>
                    <a:pt x="1638" y="1314"/>
                  </a:lnTo>
                  <a:lnTo>
                    <a:pt x="1638" y="1320"/>
                  </a:lnTo>
                  <a:lnTo>
                    <a:pt x="1632" y="1320"/>
                  </a:lnTo>
                  <a:lnTo>
                    <a:pt x="1632" y="1326"/>
                  </a:lnTo>
                  <a:lnTo>
                    <a:pt x="1644" y="1332"/>
                  </a:lnTo>
                  <a:lnTo>
                    <a:pt x="1644" y="1338"/>
                  </a:lnTo>
                  <a:lnTo>
                    <a:pt x="1650" y="1344"/>
                  </a:lnTo>
                  <a:lnTo>
                    <a:pt x="1668" y="1362"/>
                  </a:lnTo>
                  <a:lnTo>
                    <a:pt x="1668" y="1368"/>
                  </a:lnTo>
                  <a:lnTo>
                    <a:pt x="1674" y="1392"/>
                  </a:lnTo>
                  <a:lnTo>
                    <a:pt x="1686" y="140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2" name="Freeform 17">
              <a:extLst>
                <a:ext uri="{FF2B5EF4-FFF2-40B4-BE49-F238E27FC236}">
                  <a16:creationId xmlns:a16="http://schemas.microsoft.com/office/drawing/2014/main" id="{9F9DF7AF-2203-4CCB-AF1B-32CDAF87CC5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416927"/>
              <a:ext cx="816209" cy="574781"/>
            </a:xfrm>
            <a:custGeom>
              <a:avLst/>
              <a:gdLst>
                <a:gd name="T0" fmla="*/ 115 w 1536"/>
                <a:gd name="T1" fmla="*/ 89 h 1080"/>
                <a:gd name="T2" fmla="*/ 113 w 1536"/>
                <a:gd name="T3" fmla="*/ 92 h 1080"/>
                <a:gd name="T4" fmla="*/ 107 w 1536"/>
                <a:gd name="T5" fmla="*/ 93 h 1080"/>
                <a:gd name="T6" fmla="*/ 108 w 1536"/>
                <a:gd name="T7" fmla="*/ 90 h 1080"/>
                <a:gd name="T8" fmla="*/ 105 w 1536"/>
                <a:gd name="T9" fmla="*/ 87 h 1080"/>
                <a:gd name="T10" fmla="*/ 102 w 1536"/>
                <a:gd name="T11" fmla="*/ 85 h 1080"/>
                <a:gd name="T12" fmla="*/ 89 w 1536"/>
                <a:gd name="T13" fmla="*/ 80 h 1080"/>
                <a:gd name="T14" fmla="*/ 85 w 1536"/>
                <a:gd name="T15" fmla="*/ 82 h 1080"/>
                <a:gd name="T16" fmla="*/ 82 w 1536"/>
                <a:gd name="T17" fmla="*/ 80 h 1080"/>
                <a:gd name="T18" fmla="*/ 80 w 1536"/>
                <a:gd name="T19" fmla="*/ 75 h 1080"/>
                <a:gd name="T20" fmla="*/ 75 w 1536"/>
                <a:gd name="T21" fmla="*/ 72 h 1080"/>
                <a:gd name="T22" fmla="*/ 61 w 1536"/>
                <a:gd name="T23" fmla="*/ 70 h 1080"/>
                <a:gd name="T24" fmla="*/ 62 w 1536"/>
                <a:gd name="T25" fmla="*/ 72 h 1080"/>
                <a:gd name="T26" fmla="*/ 58 w 1536"/>
                <a:gd name="T27" fmla="*/ 75 h 1080"/>
                <a:gd name="T28" fmla="*/ 49 w 1536"/>
                <a:gd name="T29" fmla="*/ 76 h 1080"/>
                <a:gd name="T30" fmla="*/ 41 w 1536"/>
                <a:gd name="T31" fmla="*/ 79 h 1080"/>
                <a:gd name="T32" fmla="*/ 41 w 1536"/>
                <a:gd name="T33" fmla="*/ 77 h 1080"/>
                <a:gd name="T34" fmla="*/ 39 w 1536"/>
                <a:gd name="T35" fmla="*/ 74 h 1080"/>
                <a:gd name="T36" fmla="*/ 28 w 1536"/>
                <a:gd name="T37" fmla="*/ 78 h 1080"/>
                <a:gd name="T38" fmla="*/ 18 w 1536"/>
                <a:gd name="T39" fmla="*/ 85 h 1080"/>
                <a:gd name="T40" fmla="*/ 18 w 1536"/>
                <a:gd name="T41" fmla="*/ 77 h 1080"/>
                <a:gd name="T42" fmla="*/ 19 w 1536"/>
                <a:gd name="T43" fmla="*/ 69 h 1080"/>
                <a:gd name="T44" fmla="*/ 16 w 1536"/>
                <a:gd name="T45" fmla="*/ 69 h 1080"/>
                <a:gd name="T46" fmla="*/ 11 w 1536"/>
                <a:gd name="T47" fmla="*/ 69 h 1080"/>
                <a:gd name="T48" fmla="*/ 5 w 1536"/>
                <a:gd name="T49" fmla="*/ 68 h 1080"/>
                <a:gd name="T50" fmla="*/ 1 w 1536"/>
                <a:gd name="T51" fmla="*/ 63 h 1080"/>
                <a:gd name="T52" fmla="*/ 3 w 1536"/>
                <a:gd name="T53" fmla="*/ 59 h 1080"/>
                <a:gd name="T54" fmla="*/ 9 w 1536"/>
                <a:gd name="T55" fmla="*/ 54 h 1080"/>
                <a:gd name="T56" fmla="*/ 15 w 1536"/>
                <a:gd name="T57" fmla="*/ 47 h 1080"/>
                <a:gd name="T58" fmla="*/ 17 w 1536"/>
                <a:gd name="T59" fmla="*/ 40 h 1080"/>
                <a:gd name="T60" fmla="*/ 12 w 1536"/>
                <a:gd name="T61" fmla="*/ 33 h 1080"/>
                <a:gd name="T62" fmla="*/ 10 w 1536"/>
                <a:gd name="T63" fmla="*/ 21 h 1080"/>
                <a:gd name="T64" fmla="*/ 6 w 1536"/>
                <a:gd name="T65" fmla="*/ 14 h 1080"/>
                <a:gd name="T66" fmla="*/ 7 w 1536"/>
                <a:gd name="T67" fmla="*/ 9 h 1080"/>
                <a:gd name="T68" fmla="*/ 12 w 1536"/>
                <a:gd name="T69" fmla="*/ 7 h 1080"/>
                <a:gd name="T70" fmla="*/ 16 w 1536"/>
                <a:gd name="T71" fmla="*/ 8 h 1080"/>
                <a:gd name="T72" fmla="*/ 19 w 1536"/>
                <a:gd name="T73" fmla="*/ 8 h 1080"/>
                <a:gd name="T74" fmla="*/ 22 w 1536"/>
                <a:gd name="T75" fmla="*/ 9 h 1080"/>
                <a:gd name="T76" fmla="*/ 29 w 1536"/>
                <a:gd name="T77" fmla="*/ 12 h 1080"/>
                <a:gd name="T78" fmla="*/ 33 w 1536"/>
                <a:gd name="T79" fmla="*/ 13 h 1080"/>
                <a:gd name="T80" fmla="*/ 38 w 1536"/>
                <a:gd name="T81" fmla="*/ 15 h 1080"/>
                <a:gd name="T82" fmla="*/ 42 w 1536"/>
                <a:gd name="T83" fmla="*/ 17 h 1080"/>
                <a:gd name="T84" fmla="*/ 47 w 1536"/>
                <a:gd name="T85" fmla="*/ 19 h 1080"/>
                <a:gd name="T86" fmla="*/ 51 w 1536"/>
                <a:gd name="T87" fmla="*/ 21 h 1080"/>
                <a:gd name="T88" fmla="*/ 50 w 1536"/>
                <a:gd name="T89" fmla="*/ 15 h 1080"/>
                <a:gd name="T90" fmla="*/ 56 w 1536"/>
                <a:gd name="T91" fmla="*/ 0 h 1080"/>
                <a:gd name="T92" fmla="*/ 74 w 1536"/>
                <a:gd name="T93" fmla="*/ 5 h 1080"/>
                <a:gd name="T94" fmla="*/ 87 w 1536"/>
                <a:gd name="T95" fmla="*/ 6 h 1080"/>
                <a:gd name="T96" fmla="*/ 92 w 1536"/>
                <a:gd name="T97" fmla="*/ 11 h 1080"/>
                <a:gd name="T98" fmla="*/ 95 w 1536"/>
                <a:gd name="T99" fmla="*/ 15 h 1080"/>
                <a:gd name="T100" fmla="*/ 93 w 1536"/>
                <a:gd name="T101" fmla="*/ 20 h 1080"/>
                <a:gd name="T102" fmla="*/ 108 w 1536"/>
                <a:gd name="T103" fmla="*/ 18 h 1080"/>
                <a:gd name="T104" fmla="*/ 120 w 1536"/>
                <a:gd name="T105" fmla="*/ 21 h 1080"/>
                <a:gd name="T106" fmla="*/ 127 w 1536"/>
                <a:gd name="T107" fmla="*/ 29 h 1080"/>
                <a:gd name="T108" fmla="*/ 130 w 1536"/>
                <a:gd name="T109" fmla="*/ 30 h 1080"/>
                <a:gd name="T110" fmla="*/ 130 w 1536"/>
                <a:gd name="T111" fmla="*/ 49 h 1080"/>
                <a:gd name="T112" fmla="*/ 120 w 1536"/>
                <a:gd name="T113" fmla="*/ 69 h 1080"/>
                <a:gd name="T114" fmla="*/ 119 w 1536"/>
                <a:gd name="T115" fmla="*/ 74 h 1080"/>
                <a:gd name="T116" fmla="*/ 118 w 1536"/>
                <a:gd name="T117" fmla="*/ 80 h 108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536"/>
                <a:gd name="T178" fmla="*/ 0 h 1080"/>
                <a:gd name="T179" fmla="*/ 1536 w 1536"/>
                <a:gd name="T180" fmla="*/ 1080 h 108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536" h="1080">
                  <a:moveTo>
                    <a:pt x="1350" y="1020"/>
                  </a:moveTo>
                  <a:lnTo>
                    <a:pt x="1350" y="1026"/>
                  </a:lnTo>
                  <a:lnTo>
                    <a:pt x="1344" y="1026"/>
                  </a:lnTo>
                  <a:lnTo>
                    <a:pt x="1338" y="1032"/>
                  </a:lnTo>
                  <a:lnTo>
                    <a:pt x="1332" y="1026"/>
                  </a:lnTo>
                  <a:lnTo>
                    <a:pt x="1326" y="1026"/>
                  </a:lnTo>
                  <a:lnTo>
                    <a:pt x="1320" y="1020"/>
                  </a:lnTo>
                  <a:lnTo>
                    <a:pt x="1314" y="1026"/>
                  </a:lnTo>
                  <a:lnTo>
                    <a:pt x="1314" y="1032"/>
                  </a:lnTo>
                  <a:lnTo>
                    <a:pt x="1308" y="1038"/>
                  </a:lnTo>
                  <a:lnTo>
                    <a:pt x="1308" y="1044"/>
                  </a:lnTo>
                  <a:lnTo>
                    <a:pt x="1308" y="1050"/>
                  </a:lnTo>
                  <a:lnTo>
                    <a:pt x="1308" y="1056"/>
                  </a:lnTo>
                  <a:lnTo>
                    <a:pt x="1308" y="1062"/>
                  </a:lnTo>
                  <a:lnTo>
                    <a:pt x="1296" y="1068"/>
                  </a:lnTo>
                  <a:lnTo>
                    <a:pt x="1284" y="1074"/>
                  </a:lnTo>
                  <a:lnTo>
                    <a:pt x="1272" y="1080"/>
                  </a:lnTo>
                  <a:lnTo>
                    <a:pt x="1260" y="1080"/>
                  </a:lnTo>
                  <a:lnTo>
                    <a:pt x="1254" y="1074"/>
                  </a:lnTo>
                  <a:lnTo>
                    <a:pt x="1236" y="1074"/>
                  </a:lnTo>
                  <a:lnTo>
                    <a:pt x="1230" y="1074"/>
                  </a:lnTo>
                  <a:lnTo>
                    <a:pt x="1236" y="1074"/>
                  </a:lnTo>
                  <a:lnTo>
                    <a:pt x="1236" y="1068"/>
                  </a:lnTo>
                  <a:lnTo>
                    <a:pt x="1236" y="1062"/>
                  </a:lnTo>
                  <a:lnTo>
                    <a:pt x="1236" y="1056"/>
                  </a:lnTo>
                  <a:lnTo>
                    <a:pt x="1242" y="1050"/>
                  </a:lnTo>
                  <a:lnTo>
                    <a:pt x="1242" y="1044"/>
                  </a:lnTo>
                  <a:lnTo>
                    <a:pt x="1242" y="1038"/>
                  </a:lnTo>
                  <a:lnTo>
                    <a:pt x="1248" y="1032"/>
                  </a:lnTo>
                  <a:lnTo>
                    <a:pt x="1236" y="1026"/>
                  </a:lnTo>
                  <a:lnTo>
                    <a:pt x="1218" y="1020"/>
                  </a:lnTo>
                  <a:lnTo>
                    <a:pt x="1224" y="1014"/>
                  </a:lnTo>
                  <a:lnTo>
                    <a:pt x="1218" y="1008"/>
                  </a:lnTo>
                  <a:lnTo>
                    <a:pt x="1218" y="1002"/>
                  </a:lnTo>
                  <a:lnTo>
                    <a:pt x="1212" y="1008"/>
                  </a:lnTo>
                  <a:lnTo>
                    <a:pt x="1206" y="1002"/>
                  </a:lnTo>
                  <a:lnTo>
                    <a:pt x="1212" y="1002"/>
                  </a:lnTo>
                  <a:lnTo>
                    <a:pt x="1212" y="996"/>
                  </a:lnTo>
                  <a:lnTo>
                    <a:pt x="1200" y="990"/>
                  </a:lnTo>
                  <a:lnTo>
                    <a:pt x="1200" y="984"/>
                  </a:lnTo>
                  <a:lnTo>
                    <a:pt x="1188" y="984"/>
                  </a:lnTo>
                  <a:lnTo>
                    <a:pt x="1176" y="978"/>
                  </a:lnTo>
                  <a:lnTo>
                    <a:pt x="1164" y="960"/>
                  </a:lnTo>
                  <a:lnTo>
                    <a:pt x="1152" y="936"/>
                  </a:lnTo>
                  <a:lnTo>
                    <a:pt x="1146" y="936"/>
                  </a:lnTo>
                  <a:lnTo>
                    <a:pt x="1128" y="900"/>
                  </a:lnTo>
                  <a:lnTo>
                    <a:pt x="1038" y="912"/>
                  </a:lnTo>
                  <a:lnTo>
                    <a:pt x="1038" y="918"/>
                  </a:lnTo>
                  <a:lnTo>
                    <a:pt x="1032" y="924"/>
                  </a:lnTo>
                  <a:lnTo>
                    <a:pt x="1026" y="918"/>
                  </a:lnTo>
                  <a:lnTo>
                    <a:pt x="1020" y="924"/>
                  </a:lnTo>
                  <a:lnTo>
                    <a:pt x="1008" y="936"/>
                  </a:lnTo>
                  <a:lnTo>
                    <a:pt x="990" y="936"/>
                  </a:lnTo>
                  <a:lnTo>
                    <a:pt x="990" y="942"/>
                  </a:lnTo>
                  <a:lnTo>
                    <a:pt x="996" y="942"/>
                  </a:lnTo>
                  <a:lnTo>
                    <a:pt x="984" y="948"/>
                  </a:lnTo>
                  <a:lnTo>
                    <a:pt x="972" y="948"/>
                  </a:lnTo>
                  <a:lnTo>
                    <a:pt x="960" y="948"/>
                  </a:lnTo>
                  <a:lnTo>
                    <a:pt x="948" y="942"/>
                  </a:lnTo>
                  <a:lnTo>
                    <a:pt x="948" y="936"/>
                  </a:lnTo>
                  <a:lnTo>
                    <a:pt x="942" y="936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30" y="924"/>
                  </a:lnTo>
                  <a:lnTo>
                    <a:pt x="936" y="918"/>
                  </a:lnTo>
                  <a:lnTo>
                    <a:pt x="918" y="918"/>
                  </a:lnTo>
                  <a:lnTo>
                    <a:pt x="918" y="900"/>
                  </a:lnTo>
                  <a:lnTo>
                    <a:pt x="924" y="900"/>
                  </a:lnTo>
                  <a:lnTo>
                    <a:pt x="924" y="894"/>
                  </a:lnTo>
                  <a:lnTo>
                    <a:pt x="924" y="870"/>
                  </a:lnTo>
                  <a:lnTo>
                    <a:pt x="924" y="864"/>
                  </a:lnTo>
                  <a:lnTo>
                    <a:pt x="918" y="858"/>
                  </a:lnTo>
                  <a:lnTo>
                    <a:pt x="918" y="852"/>
                  </a:lnTo>
                  <a:lnTo>
                    <a:pt x="906" y="840"/>
                  </a:lnTo>
                  <a:lnTo>
                    <a:pt x="894" y="834"/>
                  </a:lnTo>
                  <a:lnTo>
                    <a:pt x="876" y="822"/>
                  </a:lnTo>
                  <a:lnTo>
                    <a:pt x="870" y="828"/>
                  </a:lnTo>
                  <a:lnTo>
                    <a:pt x="858" y="816"/>
                  </a:lnTo>
                  <a:lnTo>
                    <a:pt x="810" y="798"/>
                  </a:lnTo>
                  <a:lnTo>
                    <a:pt x="774" y="792"/>
                  </a:lnTo>
                  <a:lnTo>
                    <a:pt x="732" y="798"/>
                  </a:lnTo>
                  <a:lnTo>
                    <a:pt x="726" y="804"/>
                  </a:lnTo>
                  <a:lnTo>
                    <a:pt x="714" y="810"/>
                  </a:lnTo>
                  <a:lnTo>
                    <a:pt x="702" y="810"/>
                  </a:lnTo>
                  <a:lnTo>
                    <a:pt x="690" y="810"/>
                  </a:lnTo>
                  <a:lnTo>
                    <a:pt x="696" y="816"/>
                  </a:lnTo>
                  <a:lnTo>
                    <a:pt x="696" y="822"/>
                  </a:lnTo>
                  <a:lnTo>
                    <a:pt x="702" y="822"/>
                  </a:lnTo>
                  <a:lnTo>
                    <a:pt x="708" y="822"/>
                  </a:lnTo>
                  <a:lnTo>
                    <a:pt x="708" y="828"/>
                  </a:lnTo>
                  <a:lnTo>
                    <a:pt x="708" y="834"/>
                  </a:lnTo>
                  <a:lnTo>
                    <a:pt x="714" y="834"/>
                  </a:lnTo>
                  <a:lnTo>
                    <a:pt x="708" y="846"/>
                  </a:lnTo>
                  <a:lnTo>
                    <a:pt x="708" y="852"/>
                  </a:lnTo>
                  <a:lnTo>
                    <a:pt x="702" y="852"/>
                  </a:lnTo>
                  <a:lnTo>
                    <a:pt x="696" y="858"/>
                  </a:lnTo>
                  <a:lnTo>
                    <a:pt x="690" y="864"/>
                  </a:lnTo>
                  <a:lnTo>
                    <a:pt x="666" y="870"/>
                  </a:lnTo>
                  <a:lnTo>
                    <a:pt x="660" y="876"/>
                  </a:lnTo>
                  <a:lnTo>
                    <a:pt x="642" y="876"/>
                  </a:lnTo>
                  <a:lnTo>
                    <a:pt x="606" y="882"/>
                  </a:lnTo>
                  <a:lnTo>
                    <a:pt x="588" y="882"/>
                  </a:lnTo>
                  <a:lnTo>
                    <a:pt x="582" y="876"/>
                  </a:lnTo>
                  <a:lnTo>
                    <a:pt x="576" y="876"/>
                  </a:lnTo>
                  <a:lnTo>
                    <a:pt x="564" y="876"/>
                  </a:lnTo>
                  <a:lnTo>
                    <a:pt x="552" y="882"/>
                  </a:lnTo>
                  <a:lnTo>
                    <a:pt x="540" y="894"/>
                  </a:lnTo>
                  <a:lnTo>
                    <a:pt x="534" y="906"/>
                  </a:lnTo>
                  <a:lnTo>
                    <a:pt x="528" y="912"/>
                  </a:lnTo>
                  <a:lnTo>
                    <a:pt x="516" y="924"/>
                  </a:lnTo>
                  <a:lnTo>
                    <a:pt x="486" y="930"/>
                  </a:lnTo>
                  <a:lnTo>
                    <a:pt x="474" y="912"/>
                  </a:lnTo>
                  <a:lnTo>
                    <a:pt x="474" y="906"/>
                  </a:lnTo>
                  <a:lnTo>
                    <a:pt x="468" y="906"/>
                  </a:lnTo>
                  <a:lnTo>
                    <a:pt x="468" y="900"/>
                  </a:lnTo>
                  <a:lnTo>
                    <a:pt x="462" y="894"/>
                  </a:lnTo>
                  <a:lnTo>
                    <a:pt x="456" y="894"/>
                  </a:lnTo>
                  <a:lnTo>
                    <a:pt x="462" y="888"/>
                  </a:lnTo>
                  <a:lnTo>
                    <a:pt x="468" y="888"/>
                  </a:lnTo>
                  <a:lnTo>
                    <a:pt x="462" y="882"/>
                  </a:lnTo>
                  <a:lnTo>
                    <a:pt x="462" y="876"/>
                  </a:lnTo>
                  <a:lnTo>
                    <a:pt x="456" y="870"/>
                  </a:lnTo>
                  <a:lnTo>
                    <a:pt x="456" y="864"/>
                  </a:lnTo>
                  <a:lnTo>
                    <a:pt x="450" y="858"/>
                  </a:lnTo>
                  <a:lnTo>
                    <a:pt x="444" y="858"/>
                  </a:lnTo>
                  <a:lnTo>
                    <a:pt x="444" y="852"/>
                  </a:lnTo>
                  <a:lnTo>
                    <a:pt x="438" y="852"/>
                  </a:lnTo>
                  <a:lnTo>
                    <a:pt x="438" y="858"/>
                  </a:lnTo>
                  <a:lnTo>
                    <a:pt x="402" y="870"/>
                  </a:lnTo>
                  <a:lnTo>
                    <a:pt x="390" y="882"/>
                  </a:lnTo>
                  <a:lnTo>
                    <a:pt x="384" y="900"/>
                  </a:lnTo>
                  <a:lnTo>
                    <a:pt x="342" y="900"/>
                  </a:lnTo>
                  <a:lnTo>
                    <a:pt x="324" y="900"/>
                  </a:lnTo>
                  <a:lnTo>
                    <a:pt x="294" y="906"/>
                  </a:lnTo>
                  <a:lnTo>
                    <a:pt x="282" y="948"/>
                  </a:lnTo>
                  <a:lnTo>
                    <a:pt x="282" y="978"/>
                  </a:lnTo>
                  <a:lnTo>
                    <a:pt x="270" y="1008"/>
                  </a:lnTo>
                  <a:lnTo>
                    <a:pt x="240" y="1014"/>
                  </a:lnTo>
                  <a:lnTo>
                    <a:pt x="216" y="996"/>
                  </a:lnTo>
                  <a:lnTo>
                    <a:pt x="204" y="984"/>
                  </a:lnTo>
                  <a:lnTo>
                    <a:pt x="192" y="966"/>
                  </a:lnTo>
                  <a:lnTo>
                    <a:pt x="186" y="948"/>
                  </a:lnTo>
                  <a:lnTo>
                    <a:pt x="174" y="948"/>
                  </a:lnTo>
                  <a:lnTo>
                    <a:pt x="174" y="936"/>
                  </a:lnTo>
                  <a:lnTo>
                    <a:pt x="186" y="924"/>
                  </a:lnTo>
                  <a:lnTo>
                    <a:pt x="198" y="906"/>
                  </a:lnTo>
                  <a:lnTo>
                    <a:pt x="204" y="888"/>
                  </a:lnTo>
                  <a:lnTo>
                    <a:pt x="222" y="870"/>
                  </a:lnTo>
                  <a:lnTo>
                    <a:pt x="234" y="858"/>
                  </a:lnTo>
                  <a:lnTo>
                    <a:pt x="234" y="852"/>
                  </a:lnTo>
                  <a:lnTo>
                    <a:pt x="222" y="852"/>
                  </a:lnTo>
                  <a:lnTo>
                    <a:pt x="228" y="810"/>
                  </a:lnTo>
                  <a:lnTo>
                    <a:pt x="222" y="798"/>
                  </a:lnTo>
                  <a:lnTo>
                    <a:pt x="216" y="798"/>
                  </a:lnTo>
                  <a:lnTo>
                    <a:pt x="216" y="792"/>
                  </a:lnTo>
                  <a:lnTo>
                    <a:pt x="210" y="792"/>
                  </a:lnTo>
                  <a:lnTo>
                    <a:pt x="204" y="798"/>
                  </a:lnTo>
                  <a:lnTo>
                    <a:pt x="204" y="792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0" y="786"/>
                  </a:lnTo>
                  <a:lnTo>
                    <a:pt x="174" y="792"/>
                  </a:lnTo>
                  <a:lnTo>
                    <a:pt x="162" y="792"/>
                  </a:lnTo>
                  <a:lnTo>
                    <a:pt x="156" y="792"/>
                  </a:lnTo>
                  <a:lnTo>
                    <a:pt x="156" y="798"/>
                  </a:lnTo>
                  <a:lnTo>
                    <a:pt x="138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6" y="804"/>
                  </a:lnTo>
                  <a:lnTo>
                    <a:pt x="102" y="810"/>
                  </a:lnTo>
                  <a:lnTo>
                    <a:pt x="90" y="810"/>
                  </a:lnTo>
                  <a:lnTo>
                    <a:pt x="72" y="798"/>
                  </a:lnTo>
                  <a:lnTo>
                    <a:pt x="66" y="780"/>
                  </a:lnTo>
                  <a:lnTo>
                    <a:pt x="60" y="780"/>
                  </a:lnTo>
                  <a:lnTo>
                    <a:pt x="60" y="768"/>
                  </a:lnTo>
                  <a:lnTo>
                    <a:pt x="54" y="768"/>
                  </a:lnTo>
                  <a:lnTo>
                    <a:pt x="24" y="756"/>
                  </a:lnTo>
                  <a:lnTo>
                    <a:pt x="18" y="744"/>
                  </a:lnTo>
                  <a:lnTo>
                    <a:pt x="12" y="738"/>
                  </a:lnTo>
                  <a:lnTo>
                    <a:pt x="18" y="732"/>
                  </a:lnTo>
                  <a:lnTo>
                    <a:pt x="12" y="726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8" y="696"/>
                  </a:lnTo>
                  <a:lnTo>
                    <a:pt x="24" y="708"/>
                  </a:lnTo>
                  <a:lnTo>
                    <a:pt x="36" y="702"/>
                  </a:lnTo>
                  <a:lnTo>
                    <a:pt x="36" y="678"/>
                  </a:lnTo>
                  <a:lnTo>
                    <a:pt x="36" y="660"/>
                  </a:lnTo>
                  <a:lnTo>
                    <a:pt x="42" y="654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72" y="624"/>
                  </a:lnTo>
                  <a:lnTo>
                    <a:pt x="90" y="618"/>
                  </a:lnTo>
                  <a:lnTo>
                    <a:pt x="102" y="618"/>
                  </a:lnTo>
                  <a:lnTo>
                    <a:pt x="114" y="612"/>
                  </a:lnTo>
                  <a:lnTo>
                    <a:pt x="138" y="606"/>
                  </a:lnTo>
                  <a:lnTo>
                    <a:pt x="144" y="606"/>
                  </a:lnTo>
                  <a:lnTo>
                    <a:pt x="150" y="594"/>
                  </a:lnTo>
                  <a:lnTo>
                    <a:pt x="156" y="576"/>
                  </a:lnTo>
                  <a:lnTo>
                    <a:pt x="168" y="552"/>
                  </a:lnTo>
                  <a:lnTo>
                    <a:pt x="168" y="540"/>
                  </a:lnTo>
                  <a:lnTo>
                    <a:pt x="180" y="522"/>
                  </a:lnTo>
                  <a:lnTo>
                    <a:pt x="186" y="498"/>
                  </a:lnTo>
                  <a:lnTo>
                    <a:pt x="198" y="480"/>
                  </a:lnTo>
                  <a:lnTo>
                    <a:pt x="204" y="486"/>
                  </a:lnTo>
                  <a:lnTo>
                    <a:pt x="210" y="480"/>
                  </a:lnTo>
                  <a:lnTo>
                    <a:pt x="204" y="474"/>
                  </a:lnTo>
                  <a:lnTo>
                    <a:pt x="198" y="462"/>
                  </a:lnTo>
                  <a:lnTo>
                    <a:pt x="192" y="456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50"/>
                  </a:lnTo>
                  <a:lnTo>
                    <a:pt x="132" y="426"/>
                  </a:lnTo>
                  <a:lnTo>
                    <a:pt x="132" y="396"/>
                  </a:lnTo>
                  <a:lnTo>
                    <a:pt x="132" y="378"/>
                  </a:lnTo>
                  <a:lnTo>
                    <a:pt x="126" y="348"/>
                  </a:lnTo>
                  <a:lnTo>
                    <a:pt x="132" y="312"/>
                  </a:lnTo>
                  <a:lnTo>
                    <a:pt x="126" y="288"/>
                  </a:lnTo>
                  <a:lnTo>
                    <a:pt x="138" y="282"/>
                  </a:lnTo>
                  <a:lnTo>
                    <a:pt x="126" y="264"/>
                  </a:lnTo>
                  <a:lnTo>
                    <a:pt x="126" y="258"/>
                  </a:lnTo>
                  <a:lnTo>
                    <a:pt x="120" y="246"/>
                  </a:lnTo>
                  <a:lnTo>
                    <a:pt x="126" y="234"/>
                  </a:lnTo>
                  <a:lnTo>
                    <a:pt x="114" y="228"/>
                  </a:lnTo>
                  <a:lnTo>
                    <a:pt x="114" y="222"/>
                  </a:lnTo>
                  <a:lnTo>
                    <a:pt x="96" y="204"/>
                  </a:lnTo>
                  <a:lnTo>
                    <a:pt x="84" y="180"/>
                  </a:lnTo>
                  <a:lnTo>
                    <a:pt x="78" y="168"/>
                  </a:lnTo>
                  <a:lnTo>
                    <a:pt x="72" y="162"/>
                  </a:lnTo>
                  <a:lnTo>
                    <a:pt x="66" y="144"/>
                  </a:lnTo>
                  <a:lnTo>
                    <a:pt x="60" y="138"/>
                  </a:lnTo>
                  <a:lnTo>
                    <a:pt x="66" y="126"/>
                  </a:lnTo>
                  <a:lnTo>
                    <a:pt x="66" y="114"/>
                  </a:lnTo>
                  <a:lnTo>
                    <a:pt x="72" y="114"/>
                  </a:lnTo>
                  <a:lnTo>
                    <a:pt x="72" y="108"/>
                  </a:lnTo>
                  <a:lnTo>
                    <a:pt x="78" y="102"/>
                  </a:lnTo>
                  <a:lnTo>
                    <a:pt x="78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120" y="78"/>
                  </a:lnTo>
                  <a:lnTo>
                    <a:pt x="144" y="84"/>
                  </a:lnTo>
                  <a:lnTo>
                    <a:pt x="150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74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92" y="102"/>
                  </a:lnTo>
                  <a:lnTo>
                    <a:pt x="198" y="96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16" y="96"/>
                  </a:lnTo>
                  <a:lnTo>
                    <a:pt x="222" y="96"/>
                  </a:lnTo>
                  <a:lnTo>
                    <a:pt x="228" y="96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94" y="114"/>
                  </a:lnTo>
                  <a:lnTo>
                    <a:pt x="312" y="120"/>
                  </a:lnTo>
                  <a:lnTo>
                    <a:pt x="318" y="126"/>
                  </a:lnTo>
                  <a:lnTo>
                    <a:pt x="330" y="132"/>
                  </a:lnTo>
                  <a:lnTo>
                    <a:pt x="342" y="132"/>
                  </a:lnTo>
                  <a:lnTo>
                    <a:pt x="348" y="132"/>
                  </a:lnTo>
                  <a:lnTo>
                    <a:pt x="354" y="138"/>
                  </a:lnTo>
                  <a:lnTo>
                    <a:pt x="366" y="138"/>
                  </a:lnTo>
                  <a:lnTo>
                    <a:pt x="372" y="144"/>
                  </a:lnTo>
                  <a:lnTo>
                    <a:pt x="378" y="150"/>
                  </a:lnTo>
                  <a:lnTo>
                    <a:pt x="384" y="150"/>
                  </a:lnTo>
                  <a:lnTo>
                    <a:pt x="390" y="150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14" y="156"/>
                  </a:lnTo>
                  <a:lnTo>
                    <a:pt x="420" y="156"/>
                  </a:lnTo>
                  <a:lnTo>
                    <a:pt x="426" y="162"/>
                  </a:lnTo>
                  <a:lnTo>
                    <a:pt x="438" y="168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62" y="174"/>
                  </a:lnTo>
                  <a:lnTo>
                    <a:pt x="468" y="174"/>
                  </a:lnTo>
                  <a:lnTo>
                    <a:pt x="474" y="174"/>
                  </a:lnTo>
                  <a:lnTo>
                    <a:pt x="474" y="180"/>
                  </a:lnTo>
                  <a:lnTo>
                    <a:pt x="480" y="192"/>
                  </a:lnTo>
                  <a:lnTo>
                    <a:pt x="498" y="198"/>
                  </a:lnTo>
                  <a:lnTo>
                    <a:pt x="510" y="210"/>
                  </a:lnTo>
                  <a:lnTo>
                    <a:pt x="516" y="210"/>
                  </a:lnTo>
                  <a:lnTo>
                    <a:pt x="522" y="210"/>
                  </a:lnTo>
                  <a:lnTo>
                    <a:pt x="534" y="216"/>
                  </a:lnTo>
                  <a:lnTo>
                    <a:pt x="540" y="216"/>
                  </a:lnTo>
                  <a:lnTo>
                    <a:pt x="546" y="222"/>
                  </a:lnTo>
                  <a:lnTo>
                    <a:pt x="552" y="222"/>
                  </a:lnTo>
                  <a:lnTo>
                    <a:pt x="558" y="228"/>
                  </a:lnTo>
                  <a:lnTo>
                    <a:pt x="564" y="228"/>
                  </a:lnTo>
                  <a:lnTo>
                    <a:pt x="570" y="234"/>
                  </a:lnTo>
                  <a:lnTo>
                    <a:pt x="576" y="240"/>
                  </a:lnTo>
                  <a:lnTo>
                    <a:pt x="582" y="240"/>
                  </a:lnTo>
                  <a:lnTo>
                    <a:pt x="588" y="240"/>
                  </a:lnTo>
                  <a:lnTo>
                    <a:pt x="594" y="240"/>
                  </a:lnTo>
                  <a:lnTo>
                    <a:pt x="600" y="228"/>
                  </a:lnTo>
                  <a:lnTo>
                    <a:pt x="588" y="216"/>
                  </a:lnTo>
                  <a:lnTo>
                    <a:pt x="588" y="198"/>
                  </a:lnTo>
                  <a:lnTo>
                    <a:pt x="582" y="198"/>
                  </a:lnTo>
                  <a:lnTo>
                    <a:pt x="588" y="192"/>
                  </a:lnTo>
                  <a:lnTo>
                    <a:pt x="582" y="168"/>
                  </a:lnTo>
                  <a:lnTo>
                    <a:pt x="558" y="114"/>
                  </a:lnTo>
                  <a:lnTo>
                    <a:pt x="552" y="90"/>
                  </a:lnTo>
                  <a:lnTo>
                    <a:pt x="558" y="60"/>
                  </a:lnTo>
                  <a:lnTo>
                    <a:pt x="564" y="48"/>
                  </a:lnTo>
                  <a:lnTo>
                    <a:pt x="582" y="42"/>
                  </a:lnTo>
                  <a:lnTo>
                    <a:pt x="624" y="6"/>
                  </a:lnTo>
                  <a:lnTo>
                    <a:pt x="648" y="0"/>
                  </a:lnTo>
                  <a:lnTo>
                    <a:pt x="678" y="0"/>
                  </a:lnTo>
                  <a:lnTo>
                    <a:pt x="720" y="12"/>
                  </a:lnTo>
                  <a:lnTo>
                    <a:pt x="744" y="24"/>
                  </a:lnTo>
                  <a:lnTo>
                    <a:pt x="768" y="42"/>
                  </a:lnTo>
                  <a:lnTo>
                    <a:pt x="816" y="48"/>
                  </a:lnTo>
                  <a:lnTo>
                    <a:pt x="834" y="48"/>
                  </a:lnTo>
                  <a:lnTo>
                    <a:pt x="852" y="54"/>
                  </a:lnTo>
                  <a:lnTo>
                    <a:pt x="906" y="60"/>
                  </a:lnTo>
                  <a:lnTo>
                    <a:pt x="948" y="54"/>
                  </a:lnTo>
                  <a:lnTo>
                    <a:pt x="978" y="42"/>
                  </a:lnTo>
                  <a:lnTo>
                    <a:pt x="984" y="48"/>
                  </a:lnTo>
                  <a:lnTo>
                    <a:pt x="990" y="60"/>
                  </a:lnTo>
                  <a:lnTo>
                    <a:pt x="996" y="66"/>
                  </a:lnTo>
                  <a:lnTo>
                    <a:pt x="1002" y="72"/>
                  </a:lnTo>
                  <a:lnTo>
                    <a:pt x="1014" y="78"/>
                  </a:lnTo>
                  <a:lnTo>
                    <a:pt x="1014" y="84"/>
                  </a:lnTo>
                  <a:lnTo>
                    <a:pt x="1032" y="84"/>
                  </a:lnTo>
                  <a:lnTo>
                    <a:pt x="1032" y="90"/>
                  </a:lnTo>
                  <a:lnTo>
                    <a:pt x="1032" y="96"/>
                  </a:lnTo>
                  <a:lnTo>
                    <a:pt x="1032" y="108"/>
                  </a:lnTo>
                  <a:lnTo>
                    <a:pt x="1056" y="126"/>
                  </a:lnTo>
                  <a:lnTo>
                    <a:pt x="1068" y="138"/>
                  </a:lnTo>
                  <a:lnTo>
                    <a:pt x="1068" y="156"/>
                  </a:lnTo>
                  <a:lnTo>
                    <a:pt x="1080" y="150"/>
                  </a:lnTo>
                  <a:lnTo>
                    <a:pt x="1086" y="150"/>
                  </a:lnTo>
                  <a:lnTo>
                    <a:pt x="1092" y="156"/>
                  </a:lnTo>
                  <a:lnTo>
                    <a:pt x="1092" y="162"/>
                  </a:lnTo>
                  <a:lnTo>
                    <a:pt x="1092" y="168"/>
                  </a:lnTo>
                  <a:lnTo>
                    <a:pt x="1098" y="168"/>
                  </a:lnTo>
                  <a:lnTo>
                    <a:pt x="1092" y="180"/>
                  </a:lnTo>
                  <a:lnTo>
                    <a:pt x="1092" y="186"/>
                  </a:lnTo>
                  <a:lnTo>
                    <a:pt x="1086" y="192"/>
                  </a:lnTo>
                  <a:lnTo>
                    <a:pt x="1068" y="210"/>
                  </a:lnTo>
                  <a:lnTo>
                    <a:pt x="1068" y="216"/>
                  </a:lnTo>
                  <a:lnTo>
                    <a:pt x="1074" y="228"/>
                  </a:lnTo>
                  <a:lnTo>
                    <a:pt x="1092" y="234"/>
                  </a:lnTo>
                  <a:lnTo>
                    <a:pt x="1122" y="216"/>
                  </a:lnTo>
                  <a:lnTo>
                    <a:pt x="1188" y="204"/>
                  </a:lnTo>
                  <a:lnTo>
                    <a:pt x="1212" y="204"/>
                  </a:lnTo>
                  <a:lnTo>
                    <a:pt x="1230" y="198"/>
                  </a:lnTo>
                  <a:lnTo>
                    <a:pt x="1236" y="204"/>
                  </a:lnTo>
                  <a:lnTo>
                    <a:pt x="1242" y="210"/>
                  </a:lnTo>
                  <a:lnTo>
                    <a:pt x="1242" y="204"/>
                  </a:lnTo>
                  <a:lnTo>
                    <a:pt x="1248" y="198"/>
                  </a:lnTo>
                  <a:lnTo>
                    <a:pt x="1308" y="204"/>
                  </a:lnTo>
                  <a:lnTo>
                    <a:pt x="1338" y="204"/>
                  </a:lnTo>
                  <a:lnTo>
                    <a:pt x="1374" y="228"/>
                  </a:lnTo>
                  <a:lnTo>
                    <a:pt x="1380" y="234"/>
                  </a:lnTo>
                  <a:lnTo>
                    <a:pt x="1380" y="240"/>
                  </a:lnTo>
                  <a:lnTo>
                    <a:pt x="1386" y="252"/>
                  </a:lnTo>
                  <a:lnTo>
                    <a:pt x="1392" y="252"/>
                  </a:lnTo>
                  <a:lnTo>
                    <a:pt x="1416" y="270"/>
                  </a:lnTo>
                  <a:lnTo>
                    <a:pt x="1428" y="294"/>
                  </a:lnTo>
                  <a:lnTo>
                    <a:pt x="1440" y="312"/>
                  </a:lnTo>
                  <a:lnTo>
                    <a:pt x="1452" y="330"/>
                  </a:lnTo>
                  <a:lnTo>
                    <a:pt x="1464" y="330"/>
                  </a:lnTo>
                  <a:lnTo>
                    <a:pt x="1464" y="336"/>
                  </a:lnTo>
                  <a:lnTo>
                    <a:pt x="1470" y="336"/>
                  </a:lnTo>
                  <a:lnTo>
                    <a:pt x="1470" y="342"/>
                  </a:lnTo>
                  <a:lnTo>
                    <a:pt x="1476" y="342"/>
                  </a:lnTo>
                  <a:lnTo>
                    <a:pt x="1488" y="336"/>
                  </a:lnTo>
                  <a:lnTo>
                    <a:pt x="1494" y="342"/>
                  </a:lnTo>
                  <a:lnTo>
                    <a:pt x="1500" y="342"/>
                  </a:lnTo>
                  <a:lnTo>
                    <a:pt x="1512" y="366"/>
                  </a:lnTo>
                  <a:lnTo>
                    <a:pt x="1530" y="396"/>
                  </a:lnTo>
                  <a:lnTo>
                    <a:pt x="1536" y="444"/>
                  </a:lnTo>
                  <a:lnTo>
                    <a:pt x="1530" y="480"/>
                  </a:lnTo>
                  <a:lnTo>
                    <a:pt x="1506" y="510"/>
                  </a:lnTo>
                  <a:lnTo>
                    <a:pt x="1500" y="546"/>
                  </a:lnTo>
                  <a:lnTo>
                    <a:pt x="1494" y="564"/>
                  </a:lnTo>
                  <a:lnTo>
                    <a:pt x="1494" y="576"/>
                  </a:lnTo>
                  <a:lnTo>
                    <a:pt x="1500" y="582"/>
                  </a:lnTo>
                  <a:lnTo>
                    <a:pt x="1494" y="612"/>
                  </a:lnTo>
                  <a:lnTo>
                    <a:pt x="1476" y="630"/>
                  </a:lnTo>
                  <a:lnTo>
                    <a:pt x="1434" y="672"/>
                  </a:lnTo>
                  <a:lnTo>
                    <a:pt x="1392" y="756"/>
                  </a:lnTo>
                  <a:lnTo>
                    <a:pt x="1380" y="792"/>
                  </a:lnTo>
                  <a:lnTo>
                    <a:pt x="1374" y="798"/>
                  </a:lnTo>
                  <a:lnTo>
                    <a:pt x="1368" y="798"/>
                  </a:lnTo>
                  <a:lnTo>
                    <a:pt x="1380" y="804"/>
                  </a:lnTo>
                  <a:lnTo>
                    <a:pt x="1386" y="804"/>
                  </a:lnTo>
                  <a:lnTo>
                    <a:pt x="1380" y="822"/>
                  </a:lnTo>
                  <a:lnTo>
                    <a:pt x="1380" y="852"/>
                  </a:lnTo>
                  <a:lnTo>
                    <a:pt x="1374" y="858"/>
                  </a:lnTo>
                  <a:lnTo>
                    <a:pt x="1380" y="858"/>
                  </a:lnTo>
                  <a:lnTo>
                    <a:pt x="1374" y="864"/>
                  </a:lnTo>
                  <a:lnTo>
                    <a:pt x="1374" y="870"/>
                  </a:lnTo>
                  <a:lnTo>
                    <a:pt x="1374" y="876"/>
                  </a:lnTo>
                  <a:lnTo>
                    <a:pt x="1368" y="900"/>
                  </a:lnTo>
                  <a:lnTo>
                    <a:pt x="1362" y="906"/>
                  </a:lnTo>
                  <a:lnTo>
                    <a:pt x="1362" y="918"/>
                  </a:lnTo>
                  <a:lnTo>
                    <a:pt x="1362" y="924"/>
                  </a:lnTo>
                  <a:lnTo>
                    <a:pt x="1356" y="942"/>
                  </a:lnTo>
                  <a:lnTo>
                    <a:pt x="1350" y="972"/>
                  </a:lnTo>
                  <a:lnTo>
                    <a:pt x="1350" y="1014"/>
                  </a:lnTo>
                  <a:lnTo>
                    <a:pt x="1350" y="102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3" name="Freeform 18">
              <a:extLst>
                <a:ext uri="{FF2B5EF4-FFF2-40B4-BE49-F238E27FC236}">
                  <a16:creationId xmlns:a16="http://schemas.microsoft.com/office/drawing/2014/main" id="{EC11F2E0-3C06-46E2-8AD2-66EBE00FFE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32346" y="3837389"/>
              <a:ext cx="556811" cy="818559"/>
            </a:xfrm>
            <a:custGeom>
              <a:avLst/>
              <a:gdLst>
                <a:gd name="T0" fmla="*/ 12 w 1044"/>
                <a:gd name="T1" fmla="*/ 95 h 1542"/>
                <a:gd name="T2" fmla="*/ 7 w 1044"/>
                <a:gd name="T3" fmla="*/ 93 h 1542"/>
                <a:gd name="T4" fmla="*/ 0 w 1044"/>
                <a:gd name="T5" fmla="*/ 88 h 1542"/>
                <a:gd name="T6" fmla="*/ 3 w 1044"/>
                <a:gd name="T7" fmla="*/ 74 h 1542"/>
                <a:gd name="T8" fmla="*/ 4 w 1044"/>
                <a:gd name="T9" fmla="*/ 59 h 1542"/>
                <a:gd name="T10" fmla="*/ 7 w 1044"/>
                <a:gd name="T11" fmla="*/ 52 h 1542"/>
                <a:gd name="T12" fmla="*/ 20 w 1044"/>
                <a:gd name="T13" fmla="*/ 50 h 1542"/>
                <a:gd name="T14" fmla="*/ 24 w 1044"/>
                <a:gd name="T15" fmla="*/ 46 h 1542"/>
                <a:gd name="T16" fmla="*/ 29 w 1044"/>
                <a:gd name="T17" fmla="*/ 33 h 1542"/>
                <a:gd name="T18" fmla="*/ 32 w 1044"/>
                <a:gd name="T19" fmla="*/ 26 h 1542"/>
                <a:gd name="T20" fmla="*/ 30 w 1044"/>
                <a:gd name="T21" fmla="*/ 20 h 1542"/>
                <a:gd name="T22" fmla="*/ 26 w 1044"/>
                <a:gd name="T23" fmla="*/ 17 h 1542"/>
                <a:gd name="T24" fmla="*/ 28 w 1044"/>
                <a:gd name="T25" fmla="*/ 12 h 1542"/>
                <a:gd name="T26" fmla="*/ 44 w 1044"/>
                <a:gd name="T27" fmla="*/ 5 h 1542"/>
                <a:gd name="T28" fmla="*/ 57 w 1044"/>
                <a:gd name="T29" fmla="*/ 2 h 1542"/>
                <a:gd name="T30" fmla="*/ 65 w 1044"/>
                <a:gd name="T31" fmla="*/ 12 h 1542"/>
                <a:gd name="T32" fmla="*/ 81 w 1044"/>
                <a:gd name="T33" fmla="*/ 9 h 1542"/>
                <a:gd name="T34" fmla="*/ 91 w 1044"/>
                <a:gd name="T35" fmla="*/ 20 h 1542"/>
                <a:gd name="T36" fmla="*/ 89 w 1044"/>
                <a:gd name="T37" fmla="*/ 28 h 1542"/>
                <a:gd name="T38" fmla="*/ 83 w 1044"/>
                <a:gd name="T39" fmla="*/ 33 h 1542"/>
                <a:gd name="T40" fmla="*/ 74 w 1044"/>
                <a:gd name="T41" fmla="*/ 42 h 1542"/>
                <a:gd name="T42" fmla="*/ 58 w 1044"/>
                <a:gd name="T43" fmla="*/ 57 h 1542"/>
                <a:gd name="T44" fmla="*/ 54 w 1044"/>
                <a:gd name="T45" fmla="*/ 65 h 1542"/>
                <a:gd name="T46" fmla="*/ 59 w 1044"/>
                <a:gd name="T47" fmla="*/ 74 h 1542"/>
                <a:gd name="T48" fmla="*/ 55 w 1044"/>
                <a:gd name="T49" fmla="*/ 84 h 1542"/>
                <a:gd name="T50" fmla="*/ 52 w 1044"/>
                <a:gd name="T51" fmla="*/ 98 h 1542"/>
                <a:gd name="T52" fmla="*/ 47 w 1044"/>
                <a:gd name="T53" fmla="*/ 105 h 1542"/>
                <a:gd name="T54" fmla="*/ 42 w 1044"/>
                <a:gd name="T55" fmla="*/ 111 h 1542"/>
                <a:gd name="T56" fmla="*/ 43 w 1044"/>
                <a:gd name="T57" fmla="*/ 120 h 1542"/>
                <a:gd name="T58" fmla="*/ 45 w 1044"/>
                <a:gd name="T59" fmla="*/ 125 h 1542"/>
                <a:gd name="T60" fmla="*/ 44 w 1044"/>
                <a:gd name="T61" fmla="*/ 130 h 1542"/>
                <a:gd name="T62" fmla="*/ 45 w 1044"/>
                <a:gd name="T63" fmla="*/ 131 h 1542"/>
                <a:gd name="T64" fmla="*/ 48 w 1044"/>
                <a:gd name="T65" fmla="*/ 133 h 1542"/>
                <a:gd name="T66" fmla="*/ 39 w 1044"/>
                <a:gd name="T67" fmla="*/ 133 h 1542"/>
                <a:gd name="T68" fmla="*/ 42 w 1044"/>
                <a:gd name="T69" fmla="*/ 132 h 1542"/>
                <a:gd name="T70" fmla="*/ 38 w 1044"/>
                <a:gd name="T71" fmla="*/ 133 h 1542"/>
                <a:gd name="T72" fmla="*/ 37 w 1044"/>
                <a:gd name="T73" fmla="*/ 129 h 1542"/>
                <a:gd name="T74" fmla="*/ 40 w 1044"/>
                <a:gd name="T75" fmla="*/ 125 h 1542"/>
                <a:gd name="T76" fmla="*/ 40 w 1044"/>
                <a:gd name="T77" fmla="*/ 120 h 1542"/>
                <a:gd name="T78" fmla="*/ 40 w 1044"/>
                <a:gd name="T79" fmla="*/ 117 h 1542"/>
                <a:gd name="T80" fmla="*/ 37 w 1044"/>
                <a:gd name="T81" fmla="*/ 120 h 1542"/>
                <a:gd name="T82" fmla="*/ 34 w 1044"/>
                <a:gd name="T83" fmla="*/ 122 h 1542"/>
                <a:gd name="T84" fmla="*/ 36 w 1044"/>
                <a:gd name="T85" fmla="*/ 120 h 1542"/>
                <a:gd name="T86" fmla="*/ 30 w 1044"/>
                <a:gd name="T87" fmla="*/ 120 h 1542"/>
                <a:gd name="T88" fmla="*/ 31 w 1044"/>
                <a:gd name="T89" fmla="*/ 113 h 1542"/>
                <a:gd name="T90" fmla="*/ 29 w 1044"/>
                <a:gd name="T91" fmla="*/ 112 h 1542"/>
                <a:gd name="T92" fmla="*/ 31 w 1044"/>
                <a:gd name="T93" fmla="*/ 117 h 1542"/>
                <a:gd name="T94" fmla="*/ 27 w 1044"/>
                <a:gd name="T95" fmla="*/ 116 h 1542"/>
                <a:gd name="T96" fmla="*/ 25 w 1044"/>
                <a:gd name="T97" fmla="*/ 112 h 1542"/>
                <a:gd name="T98" fmla="*/ 21 w 1044"/>
                <a:gd name="T99" fmla="*/ 109 h 1542"/>
                <a:gd name="T100" fmla="*/ 21 w 1044"/>
                <a:gd name="T101" fmla="*/ 113 h 1542"/>
                <a:gd name="T102" fmla="*/ 40 w 1044"/>
                <a:gd name="T103" fmla="*/ 120 h 1542"/>
                <a:gd name="T104" fmla="*/ 40 w 1044"/>
                <a:gd name="T105" fmla="*/ 121 h 1542"/>
                <a:gd name="T106" fmla="*/ 40 w 1044"/>
                <a:gd name="T107" fmla="*/ 116 h 1542"/>
                <a:gd name="T108" fmla="*/ 38 w 1044"/>
                <a:gd name="T109" fmla="*/ 120 h 1542"/>
                <a:gd name="T110" fmla="*/ 23 w 1044"/>
                <a:gd name="T111" fmla="*/ 110 h 1542"/>
                <a:gd name="T112" fmla="*/ 37 w 1044"/>
                <a:gd name="T113" fmla="*/ 124 h 1542"/>
                <a:gd name="T114" fmla="*/ 40 w 1044"/>
                <a:gd name="T115" fmla="*/ 125 h 1542"/>
                <a:gd name="T116" fmla="*/ 38 w 1044"/>
                <a:gd name="T117" fmla="*/ 128 h 1542"/>
                <a:gd name="T118" fmla="*/ 25 w 1044"/>
                <a:gd name="T119" fmla="*/ 117 h 1542"/>
                <a:gd name="T120" fmla="*/ 27 w 1044"/>
                <a:gd name="T121" fmla="*/ 127 h 1542"/>
                <a:gd name="T122" fmla="*/ 24 w 1044"/>
                <a:gd name="T123" fmla="*/ 113 h 15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4"/>
                <a:gd name="T187" fmla="*/ 0 h 1542"/>
                <a:gd name="T188" fmla="*/ 1044 w 1044"/>
                <a:gd name="T189" fmla="*/ 1542 h 154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4" h="1542">
                  <a:moveTo>
                    <a:pt x="234" y="1278"/>
                  </a:moveTo>
                  <a:lnTo>
                    <a:pt x="228" y="1272"/>
                  </a:lnTo>
                  <a:lnTo>
                    <a:pt x="222" y="1266"/>
                  </a:lnTo>
                  <a:lnTo>
                    <a:pt x="222" y="1260"/>
                  </a:lnTo>
                  <a:lnTo>
                    <a:pt x="204" y="1248"/>
                  </a:lnTo>
                  <a:lnTo>
                    <a:pt x="192" y="1248"/>
                  </a:lnTo>
                  <a:lnTo>
                    <a:pt x="186" y="1236"/>
                  </a:lnTo>
                  <a:lnTo>
                    <a:pt x="174" y="1218"/>
                  </a:lnTo>
                  <a:lnTo>
                    <a:pt x="162" y="1194"/>
                  </a:lnTo>
                  <a:lnTo>
                    <a:pt x="156" y="1182"/>
                  </a:lnTo>
                  <a:lnTo>
                    <a:pt x="162" y="1146"/>
                  </a:lnTo>
                  <a:lnTo>
                    <a:pt x="156" y="1134"/>
                  </a:lnTo>
                  <a:lnTo>
                    <a:pt x="138" y="1122"/>
                  </a:lnTo>
                  <a:lnTo>
                    <a:pt x="132" y="1116"/>
                  </a:lnTo>
                  <a:lnTo>
                    <a:pt x="138" y="1098"/>
                  </a:lnTo>
                  <a:lnTo>
                    <a:pt x="138" y="1092"/>
                  </a:lnTo>
                  <a:lnTo>
                    <a:pt x="138" y="1086"/>
                  </a:lnTo>
                  <a:lnTo>
                    <a:pt x="132" y="1074"/>
                  </a:lnTo>
                  <a:lnTo>
                    <a:pt x="126" y="1074"/>
                  </a:lnTo>
                  <a:lnTo>
                    <a:pt x="126" y="1068"/>
                  </a:lnTo>
                  <a:lnTo>
                    <a:pt x="120" y="1062"/>
                  </a:lnTo>
                  <a:lnTo>
                    <a:pt x="120" y="1056"/>
                  </a:lnTo>
                  <a:lnTo>
                    <a:pt x="114" y="1050"/>
                  </a:lnTo>
                  <a:lnTo>
                    <a:pt x="108" y="1050"/>
                  </a:lnTo>
                  <a:lnTo>
                    <a:pt x="102" y="1056"/>
                  </a:lnTo>
                  <a:lnTo>
                    <a:pt x="102" y="1062"/>
                  </a:lnTo>
                  <a:lnTo>
                    <a:pt x="96" y="1062"/>
                  </a:lnTo>
                  <a:lnTo>
                    <a:pt x="96" y="1068"/>
                  </a:lnTo>
                  <a:lnTo>
                    <a:pt x="96" y="1074"/>
                  </a:lnTo>
                  <a:lnTo>
                    <a:pt x="90" y="1074"/>
                  </a:lnTo>
                  <a:lnTo>
                    <a:pt x="84" y="1080"/>
                  </a:lnTo>
                  <a:lnTo>
                    <a:pt x="78" y="1074"/>
                  </a:lnTo>
                  <a:lnTo>
                    <a:pt x="72" y="1074"/>
                  </a:lnTo>
                  <a:lnTo>
                    <a:pt x="72" y="1068"/>
                  </a:lnTo>
                  <a:lnTo>
                    <a:pt x="72" y="1062"/>
                  </a:lnTo>
                  <a:lnTo>
                    <a:pt x="60" y="1056"/>
                  </a:lnTo>
                  <a:lnTo>
                    <a:pt x="60" y="1044"/>
                  </a:lnTo>
                  <a:lnTo>
                    <a:pt x="60" y="1032"/>
                  </a:lnTo>
                  <a:lnTo>
                    <a:pt x="60" y="1026"/>
                  </a:lnTo>
                  <a:lnTo>
                    <a:pt x="54" y="1026"/>
                  </a:lnTo>
                  <a:lnTo>
                    <a:pt x="48" y="1014"/>
                  </a:lnTo>
                  <a:lnTo>
                    <a:pt x="42" y="1008"/>
                  </a:lnTo>
                  <a:lnTo>
                    <a:pt x="30" y="1008"/>
                  </a:lnTo>
                  <a:lnTo>
                    <a:pt x="30" y="1002"/>
                  </a:lnTo>
                  <a:lnTo>
                    <a:pt x="24" y="1008"/>
                  </a:lnTo>
                  <a:lnTo>
                    <a:pt x="12" y="1008"/>
                  </a:lnTo>
                  <a:lnTo>
                    <a:pt x="6" y="1008"/>
                  </a:lnTo>
                  <a:lnTo>
                    <a:pt x="0" y="1008"/>
                  </a:lnTo>
                  <a:lnTo>
                    <a:pt x="0" y="1002"/>
                  </a:lnTo>
                  <a:lnTo>
                    <a:pt x="6" y="990"/>
                  </a:lnTo>
                  <a:lnTo>
                    <a:pt x="6" y="984"/>
                  </a:lnTo>
                  <a:lnTo>
                    <a:pt x="0" y="978"/>
                  </a:lnTo>
                  <a:lnTo>
                    <a:pt x="6" y="972"/>
                  </a:lnTo>
                  <a:lnTo>
                    <a:pt x="12" y="972"/>
                  </a:lnTo>
                  <a:lnTo>
                    <a:pt x="72" y="978"/>
                  </a:lnTo>
                  <a:lnTo>
                    <a:pt x="78" y="972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30"/>
                  </a:lnTo>
                  <a:lnTo>
                    <a:pt x="54" y="912"/>
                  </a:lnTo>
                  <a:lnTo>
                    <a:pt x="42" y="906"/>
                  </a:lnTo>
                  <a:lnTo>
                    <a:pt x="36" y="894"/>
                  </a:lnTo>
                  <a:lnTo>
                    <a:pt x="30" y="876"/>
                  </a:lnTo>
                  <a:lnTo>
                    <a:pt x="30" y="858"/>
                  </a:lnTo>
                  <a:lnTo>
                    <a:pt x="30" y="840"/>
                  </a:lnTo>
                  <a:lnTo>
                    <a:pt x="36" y="816"/>
                  </a:lnTo>
                  <a:lnTo>
                    <a:pt x="36" y="792"/>
                  </a:lnTo>
                  <a:lnTo>
                    <a:pt x="36" y="780"/>
                  </a:lnTo>
                  <a:lnTo>
                    <a:pt x="12" y="774"/>
                  </a:lnTo>
                  <a:lnTo>
                    <a:pt x="24" y="756"/>
                  </a:lnTo>
                  <a:lnTo>
                    <a:pt x="24" y="744"/>
                  </a:lnTo>
                  <a:lnTo>
                    <a:pt x="30" y="738"/>
                  </a:lnTo>
                  <a:lnTo>
                    <a:pt x="30" y="732"/>
                  </a:lnTo>
                  <a:lnTo>
                    <a:pt x="36" y="720"/>
                  </a:lnTo>
                  <a:lnTo>
                    <a:pt x="42" y="714"/>
                  </a:lnTo>
                  <a:lnTo>
                    <a:pt x="54" y="708"/>
                  </a:lnTo>
                  <a:lnTo>
                    <a:pt x="60" y="702"/>
                  </a:lnTo>
                  <a:lnTo>
                    <a:pt x="48" y="690"/>
                  </a:lnTo>
                  <a:lnTo>
                    <a:pt x="48" y="684"/>
                  </a:lnTo>
                  <a:lnTo>
                    <a:pt x="48" y="678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66"/>
                  </a:lnTo>
                  <a:lnTo>
                    <a:pt x="72" y="654"/>
                  </a:lnTo>
                  <a:lnTo>
                    <a:pt x="72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84" y="630"/>
                  </a:lnTo>
                  <a:lnTo>
                    <a:pt x="90" y="630"/>
                  </a:lnTo>
                  <a:lnTo>
                    <a:pt x="96" y="630"/>
                  </a:lnTo>
                  <a:lnTo>
                    <a:pt x="96" y="624"/>
                  </a:lnTo>
                  <a:lnTo>
                    <a:pt x="90" y="624"/>
                  </a:lnTo>
                  <a:lnTo>
                    <a:pt x="84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90" y="600"/>
                  </a:lnTo>
                  <a:lnTo>
                    <a:pt x="84" y="600"/>
                  </a:lnTo>
                  <a:lnTo>
                    <a:pt x="78" y="594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126" y="564"/>
                  </a:lnTo>
                  <a:lnTo>
                    <a:pt x="144" y="564"/>
                  </a:lnTo>
                  <a:lnTo>
                    <a:pt x="156" y="582"/>
                  </a:lnTo>
                  <a:lnTo>
                    <a:pt x="162" y="600"/>
                  </a:lnTo>
                  <a:lnTo>
                    <a:pt x="180" y="588"/>
                  </a:lnTo>
                  <a:lnTo>
                    <a:pt x="192" y="588"/>
                  </a:lnTo>
                  <a:lnTo>
                    <a:pt x="198" y="588"/>
                  </a:lnTo>
                  <a:lnTo>
                    <a:pt x="210" y="582"/>
                  </a:lnTo>
                  <a:lnTo>
                    <a:pt x="216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58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46" y="558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58" y="570"/>
                  </a:lnTo>
                  <a:lnTo>
                    <a:pt x="264" y="570"/>
                  </a:lnTo>
                  <a:lnTo>
                    <a:pt x="270" y="564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46"/>
                  </a:lnTo>
                  <a:lnTo>
                    <a:pt x="276" y="540"/>
                  </a:lnTo>
                  <a:lnTo>
                    <a:pt x="276" y="534"/>
                  </a:lnTo>
                  <a:lnTo>
                    <a:pt x="276" y="528"/>
                  </a:lnTo>
                  <a:lnTo>
                    <a:pt x="282" y="528"/>
                  </a:lnTo>
                  <a:lnTo>
                    <a:pt x="282" y="522"/>
                  </a:lnTo>
                  <a:lnTo>
                    <a:pt x="282" y="516"/>
                  </a:lnTo>
                  <a:lnTo>
                    <a:pt x="282" y="510"/>
                  </a:lnTo>
                  <a:lnTo>
                    <a:pt x="282" y="504"/>
                  </a:lnTo>
                  <a:lnTo>
                    <a:pt x="282" y="492"/>
                  </a:lnTo>
                  <a:lnTo>
                    <a:pt x="288" y="486"/>
                  </a:lnTo>
                  <a:lnTo>
                    <a:pt x="300" y="480"/>
                  </a:lnTo>
                  <a:lnTo>
                    <a:pt x="306" y="462"/>
                  </a:lnTo>
                  <a:lnTo>
                    <a:pt x="318" y="444"/>
                  </a:lnTo>
                  <a:lnTo>
                    <a:pt x="330" y="444"/>
                  </a:lnTo>
                  <a:lnTo>
                    <a:pt x="330" y="432"/>
                  </a:lnTo>
                  <a:lnTo>
                    <a:pt x="342" y="432"/>
                  </a:lnTo>
                  <a:lnTo>
                    <a:pt x="354" y="402"/>
                  </a:lnTo>
                  <a:lnTo>
                    <a:pt x="348" y="390"/>
                  </a:lnTo>
                  <a:lnTo>
                    <a:pt x="336" y="384"/>
                  </a:lnTo>
                  <a:lnTo>
                    <a:pt x="336" y="360"/>
                  </a:lnTo>
                  <a:lnTo>
                    <a:pt x="336" y="354"/>
                  </a:lnTo>
                  <a:lnTo>
                    <a:pt x="336" y="342"/>
                  </a:lnTo>
                  <a:lnTo>
                    <a:pt x="342" y="336"/>
                  </a:lnTo>
                  <a:lnTo>
                    <a:pt x="342" y="324"/>
                  </a:lnTo>
                  <a:lnTo>
                    <a:pt x="372" y="324"/>
                  </a:lnTo>
                  <a:lnTo>
                    <a:pt x="378" y="324"/>
                  </a:lnTo>
                  <a:lnTo>
                    <a:pt x="378" y="318"/>
                  </a:lnTo>
                  <a:lnTo>
                    <a:pt x="372" y="312"/>
                  </a:lnTo>
                  <a:lnTo>
                    <a:pt x="378" y="312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84" y="300"/>
                  </a:lnTo>
                  <a:lnTo>
                    <a:pt x="384" y="294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66" y="294"/>
                  </a:lnTo>
                  <a:lnTo>
                    <a:pt x="366" y="288"/>
                  </a:lnTo>
                  <a:lnTo>
                    <a:pt x="372" y="288"/>
                  </a:lnTo>
                  <a:lnTo>
                    <a:pt x="372" y="282"/>
                  </a:lnTo>
                  <a:lnTo>
                    <a:pt x="366" y="276"/>
                  </a:lnTo>
                  <a:lnTo>
                    <a:pt x="360" y="270"/>
                  </a:lnTo>
                  <a:lnTo>
                    <a:pt x="360" y="264"/>
                  </a:lnTo>
                  <a:lnTo>
                    <a:pt x="354" y="264"/>
                  </a:lnTo>
                  <a:lnTo>
                    <a:pt x="348" y="258"/>
                  </a:lnTo>
                  <a:lnTo>
                    <a:pt x="354" y="258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40"/>
                  </a:lnTo>
                  <a:lnTo>
                    <a:pt x="354" y="240"/>
                  </a:lnTo>
                  <a:lnTo>
                    <a:pt x="342" y="234"/>
                  </a:lnTo>
                  <a:lnTo>
                    <a:pt x="342" y="228"/>
                  </a:lnTo>
                  <a:lnTo>
                    <a:pt x="348" y="228"/>
                  </a:lnTo>
                  <a:lnTo>
                    <a:pt x="342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6" y="216"/>
                  </a:lnTo>
                  <a:lnTo>
                    <a:pt x="330" y="222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24" y="210"/>
                  </a:lnTo>
                  <a:lnTo>
                    <a:pt x="318" y="210"/>
                  </a:lnTo>
                  <a:lnTo>
                    <a:pt x="318" y="204"/>
                  </a:lnTo>
                  <a:lnTo>
                    <a:pt x="312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294" y="192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300" y="174"/>
                  </a:lnTo>
                  <a:lnTo>
                    <a:pt x="300" y="168"/>
                  </a:lnTo>
                  <a:lnTo>
                    <a:pt x="300" y="162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88" y="150"/>
                  </a:lnTo>
                  <a:lnTo>
                    <a:pt x="288" y="144"/>
                  </a:lnTo>
                  <a:lnTo>
                    <a:pt x="282" y="144"/>
                  </a:lnTo>
                  <a:lnTo>
                    <a:pt x="282" y="138"/>
                  </a:lnTo>
                  <a:lnTo>
                    <a:pt x="312" y="132"/>
                  </a:lnTo>
                  <a:lnTo>
                    <a:pt x="324" y="120"/>
                  </a:lnTo>
                  <a:lnTo>
                    <a:pt x="330" y="114"/>
                  </a:lnTo>
                  <a:lnTo>
                    <a:pt x="336" y="102"/>
                  </a:lnTo>
                  <a:lnTo>
                    <a:pt x="348" y="90"/>
                  </a:lnTo>
                  <a:lnTo>
                    <a:pt x="360" y="84"/>
                  </a:lnTo>
                  <a:lnTo>
                    <a:pt x="372" y="84"/>
                  </a:lnTo>
                  <a:lnTo>
                    <a:pt x="378" y="84"/>
                  </a:lnTo>
                  <a:lnTo>
                    <a:pt x="384" y="90"/>
                  </a:lnTo>
                  <a:lnTo>
                    <a:pt x="402" y="90"/>
                  </a:lnTo>
                  <a:lnTo>
                    <a:pt x="438" y="84"/>
                  </a:lnTo>
                  <a:lnTo>
                    <a:pt x="456" y="84"/>
                  </a:lnTo>
                  <a:lnTo>
                    <a:pt x="462" y="78"/>
                  </a:lnTo>
                  <a:lnTo>
                    <a:pt x="486" y="72"/>
                  </a:lnTo>
                  <a:lnTo>
                    <a:pt x="492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04" y="54"/>
                  </a:lnTo>
                  <a:lnTo>
                    <a:pt x="510" y="42"/>
                  </a:lnTo>
                  <a:lnTo>
                    <a:pt x="504" y="42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498" y="30"/>
                  </a:lnTo>
                  <a:lnTo>
                    <a:pt x="492" y="30"/>
                  </a:lnTo>
                  <a:lnTo>
                    <a:pt x="492" y="24"/>
                  </a:lnTo>
                  <a:lnTo>
                    <a:pt x="486" y="18"/>
                  </a:lnTo>
                  <a:lnTo>
                    <a:pt x="498" y="18"/>
                  </a:lnTo>
                  <a:lnTo>
                    <a:pt x="510" y="18"/>
                  </a:lnTo>
                  <a:lnTo>
                    <a:pt x="522" y="12"/>
                  </a:lnTo>
                  <a:lnTo>
                    <a:pt x="528" y="6"/>
                  </a:lnTo>
                  <a:lnTo>
                    <a:pt x="570" y="0"/>
                  </a:lnTo>
                  <a:lnTo>
                    <a:pt x="606" y="6"/>
                  </a:lnTo>
                  <a:lnTo>
                    <a:pt x="654" y="24"/>
                  </a:lnTo>
                  <a:lnTo>
                    <a:pt x="666" y="36"/>
                  </a:lnTo>
                  <a:lnTo>
                    <a:pt x="672" y="30"/>
                  </a:lnTo>
                  <a:lnTo>
                    <a:pt x="690" y="42"/>
                  </a:lnTo>
                  <a:lnTo>
                    <a:pt x="702" y="48"/>
                  </a:lnTo>
                  <a:lnTo>
                    <a:pt x="714" y="60"/>
                  </a:lnTo>
                  <a:lnTo>
                    <a:pt x="714" y="66"/>
                  </a:lnTo>
                  <a:lnTo>
                    <a:pt x="720" y="72"/>
                  </a:lnTo>
                  <a:lnTo>
                    <a:pt x="720" y="78"/>
                  </a:lnTo>
                  <a:lnTo>
                    <a:pt x="720" y="102"/>
                  </a:lnTo>
                  <a:lnTo>
                    <a:pt x="720" y="108"/>
                  </a:lnTo>
                  <a:lnTo>
                    <a:pt x="714" y="108"/>
                  </a:lnTo>
                  <a:lnTo>
                    <a:pt x="714" y="126"/>
                  </a:lnTo>
                  <a:lnTo>
                    <a:pt x="732" y="126"/>
                  </a:lnTo>
                  <a:lnTo>
                    <a:pt x="726" y="132"/>
                  </a:lnTo>
                  <a:lnTo>
                    <a:pt x="738" y="132"/>
                  </a:lnTo>
                  <a:lnTo>
                    <a:pt x="738" y="138"/>
                  </a:lnTo>
                  <a:lnTo>
                    <a:pt x="738" y="144"/>
                  </a:lnTo>
                  <a:lnTo>
                    <a:pt x="744" y="144"/>
                  </a:lnTo>
                  <a:lnTo>
                    <a:pt x="744" y="150"/>
                  </a:lnTo>
                  <a:lnTo>
                    <a:pt x="756" y="156"/>
                  </a:lnTo>
                  <a:lnTo>
                    <a:pt x="768" y="156"/>
                  </a:lnTo>
                  <a:lnTo>
                    <a:pt x="780" y="156"/>
                  </a:lnTo>
                  <a:lnTo>
                    <a:pt x="792" y="150"/>
                  </a:lnTo>
                  <a:lnTo>
                    <a:pt x="786" y="150"/>
                  </a:lnTo>
                  <a:lnTo>
                    <a:pt x="786" y="144"/>
                  </a:lnTo>
                  <a:lnTo>
                    <a:pt x="804" y="144"/>
                  </a:lnTo>
                  <a:lnTo>
                    <a:pt x="816" y="132"/>
                  </a:lnTo>
                  <a:lnTo>
                    <a:pt x="822" y="126"/>
                  </a:lnTo>
                  <a:lnTo>
                    <a:pt x="828" y="132"/>
                  </a:lnTo>
                  <a:lnTo>
                    <a:pt x="834" y="126"/>
                  </a:lnTo>
                  <a:lnTo>
                    <a:pt x="834" y="120"/>
                  </a:lnTo>
                  <a:lnTo>
                    <a:pt x="924" y="108"/>
                  </a:lnTo>
                  <a:lnTo>
                    <a:pt x="942" y="144"/>
                  </a:lnTo>
                  <a:lnTo>
                    <a:pt x="948" y="144"/>
                  </a:lnTo>
                  <a:lnTo>
                    <a:pt x="960" y="168"/>
                  </a:lnTo>
                  <a:lnTo>
                    <a:pt x="972" y="186"/>
                  </a:lnTo>
                  <a:lnTo>
                    <a:pt x="984" y="192"/>
                  </a:lnTo>
                  <a:lnTo>
                    <a:pt x="996" y="192"/>
                  </a:lnTo>
                  <a:lnTo>
                    <a:pt x="996" y="198"/>
                  </a:lnTo>
                  <a:lnTo>
                    <a:pt x="1008" y="204"/>
                  </a:lnTo>
                  <a:lnTo>
                    <a:pt x="1008" y="210"/>
                  </a:lnTo>
                  <a:lnTo>
                    <a:pt x="1002" y="210"/>
                  </a:lnTo>
                  <a:lnTo>
                    <a:pt x="1008" y="216"/>
                  </a:lnTo>
                  <a:lnTo>
                    <a:pt x="1014" y="210"/>
                  </a:lnTo>
                  <a:lnTo>
                    <a:pt x="1014" y="216"/>
                  </a:lnTo>
                  <a:lnTo>
                    <a:pt x="1020" y="222"/>
                  </a:lnTo>
                  <a:lnTo>
                    <a:pt x="1014" y="228"/>
                  </a:lnTo>
                  <a:lnTo>
                    <a:pt x="1032" y="234"/>
                  </a:lnTo>
                  <a:lnTo>
                    <a:pt x="1044" y="240"/>
                  </a:lnTo>
                  <a:lnTo>
                    <a:pt x="1038" y="246"/>
                  </a:lnTo>
                  <a:lnTo>
                    <a:pt x="1038" y="252"/>
                  </a:lnTo>
                  <a:lnTo>
                    <a:pt x="1038" y="258"/>
                  </a:lnTo>
                  <a:lnTo>
                    <a:pt x="1032" y="264"/>
                  </a:lnTo>
                  <a:lnTo>
                    <a:pt x="1032" y="270"/>
                  </a:lnTo>
                  <a:lnTo>
                    <a:pt x="1032" y="276"/>
                  </a:lnTo>
                  <a:lnTo>
                    <a:pt x="1032" y="282"/>
                  </a:lnTo>
                  <a:lnTo>
                    <a:pt x="1026" y="282"/>
                  </a:lnTo>
                  <a:lnTo>
                    <a:pt x="1026" y="288"/>
                  </a:lnTo>
                  <a:lnTo>
                    <a:pt x="1026" y="294"/>
                  </a:lnTo>
                  <a:lnTo>
                    <a:pt x="1026" y="300"/>
                  </a:lnTo>
                  <a:lnTo>
                    <a:pt x="1026" y="306"/>
                  </a:lnTo>
                  <a:lnTo>
                    <a:pt x="1020" y="318"/>
                  </a:lnTo>
                  <a:lnTo>
                    <a:pt x="1020" y="324"/>
                  </a:lnTo>
                  <a:lnTo>
                    <a:pt x="1014" y="324"/>
                  </a:lnTo>
                  <a:lnTo>
                    <a:pt x="1014" y="330"/>
                  </a:lnTo>
                  <a:lnTo>
                    <a:pt x="1014" y="336"/>
                  </a:lnTo>
                  <a:lnTo>
                    <a:pt x="1008" y="366"/>
                  </a:lnTo>
                  <a:lnTo>
                    <a:pt x="1002" y="366"/>
                  </a:lnTo>
                  <a:lnTo>
                    <a:pt x="984" y="354"/>
                  </a:lnTo>
                  <a:lnTo>
                    <a:pt x="978" y="354"/>
                  </a:lnTo>
                  <a:lnTo>
                    <a:pt x="972" y="354"/>
                  </a:lnTo>
                  <a:lnTo>
                    <a:pt x="966" y="348"/>
                  </a:lnTo>
                  <a:lnTo>
                    <a:pt x="954" y="348"/>
                  </a:lnTo>
                  <a:lnTo>
                    <a:pt x="948" y="348"/>
                  </a:lnTo>
                  <a:lnTo>
                    <a:pt x="948" y="360"/>
                  </a:lnTo>
                  <a:lnTo>
                    <a:pt x="948" y="366"/>
                  </a:lnTo>
                  <a:lnTo>
                    <a:pt x="948" y="372"/>
                  </a:lnTo>
                  <a:lnTo>
                    <a:pt x="948" y="378"/>
                  </a:lnTo>
                  <a:lnTo>
                    <a:pt x="948" y="384"/>
                  </a:lnTo>
                  <a:lnTo>
                    <a:pt x="942" y="384"/>
                  </a:lnTo>
                  <a:lnTo>
                    <a:pt x="942" y="390"/>
                  </a:lnTo>
                  <a:lnTo>
                    <a:pt x="936" y="390"/>
                  </a:lnTo>
                  <a:lnTo>
                    <a:pt x="942" y="390"/>
                  </a:lnTo>
                  <a:lnTo>
                    <a:pt x="936" y="396"/>
                  </a:lnTo>
                  <a:lnTo>
                    <a:pt x="930" y="402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2" y="432"/>
                  </a:lnTo>
                  <a:lnTo>
                    <a:pt x="900" y="450"/>
                  </a:lnTo>
                  <a:lnTo>
                    <a:pt x="894" y="456"/>
                  </a:lnTo>
                  <a:lnTo>
                    <a:pt x="888" y="456"/>
                  </a:lnTo>
                  <a:lnTo>
                    <a:pt x="882" y="456"/>
                  </a:lnTo>
                  <a:lnTo>
                    <a:pt x="876" y="456"/>
                  </a:lnTo>
                  <a:lnTo>
                    <a:pt x="864" y="462"/>
                  </a:lnTo>
                  <a:lnTo>
                    <a:pt x="852" y="474"/>
                  </a:lnTo>
                  <a:lnTo>
                    <a:pt x="846" y="480"/>
                  </a:lnTo>
                  <a:lnTo>
                    <a:pt x="840" y="486"/>
                  </a:lnTo>
                  <a:lnTo>
                    <a:pt x="834" y="498"/>
                  </a:lnTo>
                  <a:lnTo>
                    <a:pt x="828" y="510"/>
                  </a:lnTo>
                  <a:lnTo>
                    <a:pt x="816" y="522"/>
                  </a:lnTo>
                  <a:lnTo>
                    <a:pt x="798" y="540"/>
                  </a:lnTo>
                  <a:lnTo>
                    <a:pt x="780" y="558"/>
                  </a:lnTo>
                  <a:lnTo>
                    <a:pt x="774" y="558"/>
                  </a:lnTo>
                  <a:lnTo>
                    <a:pt x="756" y="576"/>
                  </a:lnTo>
                  <a:lnTo>
                    <a:pt x="732" y="600"/>
                  </a:lnTo>
                  <a:lnTo>
                    <a:pt x="726" y="600"/>
                  </a:lnTo>
                  <a:lnTo>
                    <a:pt x="720" y="606"/>
                  </a:lnTo>
                  <a:lnTo>
                    <a:pt x="714" y="612"/>
                  </a:lnTo>
                  <a:lnTo>
                    <a:pt x="690" y="630"/>
                  </a:lnTo>
                  <a:lnTo>
                    <a:pt x="678" y="636"/>
                  </a:lnTo>
                  <a:lnTo>
                    <a:pt x="672" y="642"/>
                  </a:lnTo>
                  <a:lnTo>
                    <a:pt x="660" y="660"/>
                  </a:lnTo>
                  <a:lnTo>
                    <a:pt x="642" y="666"/>
                  </a:lnTo>
                  <a:lnTo>
                    <a:pt x="636" y="678"/>
                  </a:lnTo>
                  <a:lnTo>
                    <a:pt x="630" y="678"/>
                  </a:lnTo>
                  <a:lnTo>
                    <a:pt x="630" y="684"/>
                  </a:lnTo>
                  <a:lnTo>
                    <a:pt x="630" y="690"/>
                  </a:lnTo>
                  <a:lnTo>
                    <a:pt x="636" y="696"/>
                  </a:lnTo>
                  <a:lnTo>
                    <a:pt x="642" y="696"/>
                  </a:lnTo>
                  <a:lnTo>
                    <a:pt x="648" y="702"/>
                  </a:lnTo>
                  <a:lnTo>
                    <a:pt x="648" y="708"/>
                  </a:lnTo>
                  <a:lnTo>
                    <a:pt x="642" y="708"/>
                  </a:lnTo>
                  <a:lnTo>
                    <a:pt x="636" y="714"/>
                  </a:lnTo>
                  <a:lnTo>
                    <a:pt x="636" y="720"/>
                  </a:lnTo>
                  <a:lnTo>
                    <a:pt x="642" y="726"/>
                  </a:lnTo>
                  <a:lnTo>
                    <a:pt x="636" y="738"/>
                  </a:lnTo>
                  <a:lnTo>
                    <a:pt x="618" y="756"/>
                  </a:lnTo>
                  <a:lnTo>
                    <a:pt x="612" y="750"/>
                  </a:lnTo>
                  <a:lnTo>
                    <a:pt x="612" y="756"/>
                  </a:lnTo>
                  <a:lnTo>
                    <a:pt x="618" y="762"/>
                  </a:lnTo>
                  <a:lnTo>
                    <a:pt x="618" y="768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36" y="786"/>
                  </a:lnTo>
                  <a:lnTo>
                    <a:pt x="642" y="792"/>
                  </a:lnTo>
                  <a:lnTo>
                    <a:pt x="642" y="798"/>
                  </a:lnTo>
                  <a:lnTo>
                    <a:pt x="648" y="804"/>
                  </a:lnTo>
                  <a:lnTo>
                    <a:pt x="654" y="810"/>
                  </a:lnTo>
                  <a:lnTo>
                    <a:pt x="660" y="816"/>
                  </a:lnTo>
                  <a:lnTo>
                    <a:pt x="666" y="816"/>
                  </a:lnTo>
                  <a:lnTo>
                    <a:pt x="666" y="822"/>
                  </a:lnTo>
                  <a:lnTo>
                    <a:pt x="672" y="828"/>
                  </a:lnTo>
                  <a:lnTo>
                    <a:pt x="672" y="840"/>
                  </a:lnTo>
                  <a:lnTo>
                    <a:pt x="672" y="846"/>
                  </a:lnTo>
                  <a:lnTo>
                    <a:pt x="666" y="852"/>
                  </a:lnTo>
                  <a:lnTo>
                    <a:pt x="660" y="864"/>
                  </a:lnTo>
                  <a:lnTo>
                    <a:pt x="654" y="876"/>
                  </a:lnTo>
                  <a:lnTo>
                    <a:pt x="648" y="882"/>
                  </a:lnTo>
                  <a:lnTo>
                    <a:pt x="642" y="888"/>
                  </a:lnTo>
                  <a:lnTo>
                    <a:pt x="642" y="894"/>
                  </a:lnTo>
                  <a:lnTo>
                    <a:pt x="642" y="906"/>
                  </a:lnTo>
                  <a:lnTo>
                    <a:pt x="630" y="918"/>
                  </a:lnTo>
                  <a:lnTo>
                    <a:pt x="630" y="924"/>
                  </a:lnTo>
                  <a:lnTo>
                    <a:pt x="624" y="930"/>
                  </a:lnTo>
                  <a:lnTo>
                    <a:pt x="630" y="936"/>
                  </a:lnTo>
                  <a:lnTo>
                    <a:pt x="630" y="942"/>
                  </a:lnTo>
                  <a:lnTo>
                    <a:pt x="630" y="948"/>
                  </a:lnTo>
                  <a:lnTo>
                    <a:pt x="630" y="954"/>
                  </a:lnTo>
                  <a:lnTo>
                    <a:pt x="630" y="960"/>
                  </a:lnTo>
                  <a:lnTo>
                    <a:pt x="624" y="966"/>
                  </a:lnTo>
                  <a:lnTo>
                    <a:pt x="618" y="990"/>
                  </a:lnTo>
                  <a:lnTo>
                    <a:pt x="618" y="1008"/>
                  </a:lnTo>
                  <a:lnTo>
                    <a:pt x="612" y="1026"/>
                  </a:lnTo>
                  <a:lnTo>
                    <a:pt x="612" y="1038"/>
                  </a:lnTo>
                  <a:lnTo>
                    <a:pt x="612" y="1050"/>
                  </a:lnTo>
                  <a:lnTo>
                    <a:pt x="612" y="1056"/>
                  </a:lnTo>
                  <a:lnTo>
                    <a:pt x="612" y="1062"/>
                  </a:lnTo>
                  <a:lnTo>
                    <a:pt x="612" y="1068"/>
                  </a:lnTo>
                  <a:lnTo>
                    <a:pt x="612" y="1086"/>
                  </a:lnTo>
                  <a:lnTo>
                    <a:pt x="612" y="1092"/>
                  </a:lnTo>
                  <a:lnTo>
                    <a:pt x="606" y="1098"/>
                  </a:lnTo>
                  <a:lnTo>
                    <a:pt x="600" y="1110"/>
                  </a:lnTo>
                  <a:lnTo>
                    <a:pt x="600" y="1116"/>
                  </a:lnTo>
                  <a:lnTo>
                    <a:pt x="594" y="1122"/>
                  </a:lnTo>
                  <a:lnTo>
                    <a:pt x="594" y="1128"/>
                  </a:lnTo>
                  <a:lnTo>
                    <a:pt x="588" y="1134"/>
                  </a:lnTo>
                  <a:lnTo>
                    <a:pt x="582" y="1140"/>
                  </a:lnTo>
                  <a:lnTo>
                    <a:pt x="570" y="1140"/>
                  </a:lnTo>
                  <a:lnTo>
                    <a:pt x="564" y="1146"/>
                  </a:lnTo>
                  <a:lnTo>
                    <a:pt x="570" y="1146"/>
                  </a:lnTo>
                  <a:lnTo>
                    <a:pt x="564" y="1152"/>
                  </a:lnTo>
                  <a:lnTo>
                    <a:pt x="558" y="1158"/>
                  </a:lnTo>
                  <a:lnTo>
                    <a:pt x="552" y="1164"/>
                  </a:lnTo>
                  <a:lnTo>
                    <a:pt x="552" y="1170"/>
                  </a:lnTo>
                  <a:lnTo>
                    <a:pt x="546" y="1176"/>
                  </a:lnTo>
                  <a:lnTo>
                    <a:pt x="546" y="1182"/>
                  </a:lnTo>
                  <a:lnTo>
                    <a:pt x="546" y="1188"/>
                  </a:lnTo>
                  <a:lnTo>
                    <a:pt x="540" y="1188"/>
                  </a:lnTo>
                  <a:lnTo>
                    <a:pt x="540" y="1194"/>
                  </a:lnTo>
                  <a:lnTo>
                    <a:pt x="528" y="1206"/>
                  </a:lnTo>
                  <a:lnTo>
                    <a:pt x="528" y="1212"/>
                  </a:lnTo>
                  <a:lnTo>
                    <a:pt x="534" y="1212"/>
                  </a:lnTo>
                  <a:lnTo>
                    <a:pt x="540" y="1218"/>
                  </a:lnTo>
                  <a:lnTo>
                    <a:pt x="534" y="1218"/>
                  </a:lnTo>
                  <a:lnTo>
                    <a:pt x="528" y="1218"/>
                  </a:lnTo>
                  <a:lnTo>
                    <a:pt x="528" y="1224"/>
                  </a:lnTo>
                  <a:lnTo>
                    <a:pt x="522" y="1230"/>
                  </a:lnTo>
                  <a:lnTo>
                    <a:pt x="516" y="1236"/>
                  </a:lnTo>
                  <a:lnTo>
                    <a:pt x="522" y="1236"/>
                  </a:lnTo>
                  <a:lnTo>
                    <a:pt x="516" y="1242"/>
                  </a:lnTo>
                  <a:lnTo>
                    <a:pt x="510" y="1242"/>
                  </a:lnTo>
                  <a:lnTo>
                    <a:pt x="504" y="1248"/>
                  </a:lnTo>
                  <a:lnTo>
                    <a:pt x="510" y="1260"/>
                  </a:lnTo>
                  <a:lnTo>
                    <a:pt x="504" y="1266"/>
                  </a:lnTo>
                  <a:lnTo>
                    <a:pt x="492" y="1266"/>
                  </a:lnTo>
                  <a:lnTo>
                    <a:pt x="486" y="1272"/>
                  </a:lnTo>
                  <a:lnTo>
                    <a:pt x="486" y="1278"/>
                  </a:lnTo>
                  <a:lnTo>
                    <a:pt x="480" y="1278"/>
                  </a:lnTo>
                  <a:lnTo>
                    <a:pt x="480" y="1284"/>
                  </a:lnTo>
                  <a:lnTo>
                    <a:pt x="480" y="1290"/>
                  </a:lnTo>
                  <a:lnTo>
                    <a:pt x="480" y="1296"/>
                  </a:lnTo>
                  <a:lnTo>
                    <a:pt x="492" y="1302"/>
                  </a:lnTo>
                  <a:lnTo>
                    <a:pt x="492" y="1308"/>
                  </a:lnTo>
                  <a:lnTo>
                    <a:pt x="492" y="1320"/>
                  </a:lnTo>
                  <a:lnTo>
                    <a:pt x="492" y="1332"/>
                  </a:lnTo>
                  <a:lnTo>
                    <a:pt x="498" y="1344"/>
                  </a:lnTo>
                  <a:lnTo>
                    <a:pt x="498" y="1350"/>
                  </a:lnTo>
                  <a:lnTo>
                    <a:pt x="498" y="1356"/>
                  </a:lnTo>
                  <a:lnTo>
                    <a:pt x="504" y="1362"/>
                  </a:lnTo>
                  <a:lnTo>
                    <a:pt x="498" y="1362"/>
                  </a:lnTo>
                  <a:lnTo>
                    <a:pt x="498" y="1368"/>
                  </a:lnTo>
                  <a:lnTo>
                    <a:pt x="492" y="1368"/>
                  </a:lnTo>
                  <a:lnTo>
                    <a:pt x="492" y="1374"/>
                  </a:lnTo>
                  <a:lnTo>
                    <a:pt x="492" y="1380"/>
                  </a:lnTo>
                  <a:lnTo>
                    <a:pt x="498" y="1380"/>
                  </a:lnTo>
                  <a:lnTo>
                    <a:pt x="504" y="1380"/>
                  </a:lnTo>
                  <a:lnTo>
                    <a:pt x="498" y="1386"/>
                  </a:lnTo>
                  <a:lnTo>
                    <a:pt x="498" y="1392"/>
                  </a:lnTo>
                  <a:lnTo>
                    <a:pt x="498" y="1398"/>
                  </a:lnTo>
                  <a:lnTo>
                    <a:pt x="498" y="1404"/>
                  </a:lnTo>
                  <a:lnTo>
                    <a:pt x="498" y="1410"/>
                  </a:lnTo>
                  <a:lnTo>
                    <a:pt x="498" y="1416"/>
                  </a:lnTo>
                  <a:lnTo>
                    <a:pt x="492" y="1416"/>
                  </a:lnTo>
                  <a:lnTo>
                    <a:pt x="498" y="1416"/>
                  </a:lnTo>
                  <a:lnTo>
                    <a:pt x="504" y="1416"/>
                  </a:lnTo>
                  <a:lnTo>
                    <a:pt x="504" y="1422"/>
                  </a:lnTo>
                  <a:lnTo>
                    <a:pt x="510" y="1428"/>
                  </a:lnTo>
                  <a:lnTo>
                    <a:pt x="510" y="1434"/>
                  </a:lnTo>
                  <a:lnTo>
                    <a:pt x="510" y="1440"/>
                  </a:lnTo>
                  <a:lnTo>
                    <a:pt x="516" y="1446"/>
                  </a:lnTo>
                  <a:lnTo>
                    <a:pt x="516" y="1452"/>
                  </a:lnTo>
                  <a:lnTo>
                    <a:pt x="516" y="1458"/>
                  </a:lnTo>
                  <a:lnTo>
                    <a:pt x="516" y="1464"/>
                  </a:lnTo>
                  <a:lnTo>
                    <a:pt x="516" y="1482"/>
                  </a:lnTo>
                  <a:lnTo>
                    <a:pt x="516" y="1488"/>
                  </a:lnTo>
                  <a:lnTo>
                    <a:pt x="522" y="1488"/>
                  </a:lnTo>
                  <a:lnTo>
                    <a:pt x="522" y="1494"/>
                  </a:lnTo>
                  <a:lnTo>
                    <a:pt x="522" y="1500"/>
                  </a:lnTo>
                  <a:lnTo>
                    <a:pt x="516" y="1506"/>
                  </a:lnTo>
                  <a:lnTo>
                    <a:pt x="510" y="1500"/>
                  </a:lnTo>
                  <a:lnTo>
                    <a:pt x="504" y="1500"/>
                  </a:lnTo>
                  <a:lnTo>
                    <a:pt x="504" y="1494"/>
                  </a:lnTo>
                  <a:lnTo>
                    <a:pt x="504" y="1488"/>
                  </a:lnTo>
                  <a:lnTo>
                    <a:pt x="504" y="1482"/>
                  </a:lnTo>
                  <a:lnTo>
                    <a:pt x="504" y="1488"/>
                  </a:lnTo>
                  <a:lnTo>
                    <a:pt x="504" y="1494"/>
                  </a:lnTo>
                  <a:lnTo>
                    <a:pt x="504" y="1500"/>
                  </a:lnTo>
                  <a:lnTo>
                    <a:pt x="498" y="1500"/>
                  </a:lnTo>
                  <a:lnTo>
                    <a:pt x="492" y="1500"/>
                  </a:lnTo>
                  <a:lnTo>
                    <a:pt x="492" y="1494"/>
                  </a:lnTo>
                  <a:lnTo>
                    <a:pt x="492" y="1488"/>
                  </a:lnTo>
                  <a:lnTo>
                    <a:pt x="492" y="1494"/>
                  </a:lnTo>
                  <a:lnTo>
                    <a:pt x="492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00"/>
                  </a:lnTo>
                  <a:lnTo>
                    <a:pt x="510" y="1500"/>
                  </a:lnTo>
                  <a:lnTo>
                    <a:pt x="510" y="1506"/>
                  </a:lnTo>
                  <a:lnTo>
                    <a:pt x="516" y="1506"/>
                  </a:lnTo>
                  <a:lnTo>
                    <a:pt x="510" y="1506"/>
                  </a:lnTo>
                  <a:lnTo>
                    <a:pt x="510" y="1512"/>
                  </a:lnTo>
                  <a:lnTo>
                    <a:pt x="516" y="1506"/>
                  </a:lnTo>
                  <a:lnTo>
                    <a:pt x="522" y="1506"/>
                  </a:lnTo>
                  <a:lnTo>
                    <a:pt x="528" y="1506"/>
                  </a:lnTo>
                  <a:lnTo>
                    <a:pt x="528" y="1500"/>
                  </a:lnTo>
                  <a:lnTo>
                    <a:pt x="534" y="1500"/>
                  </a:lnTo>
                  <a:lnTo>
                    <a:pt x="534" y="1506"/>
                  </a:lnTo>
                  <a:lnTo>
                    <a:pt x="540" y="1512"/>
                  </a:lnTo>
                  <a:lnTo>
                    <a:pt x="540" y="1518"/>
                  </a:lnTo>
                  <a:lnTo>
                    <a:pt x="546" y="1518"/>
                  </a:lnTo>
                  <a:lnTo>
                    <a:pt x="540" y="1518"/>
                  </a:lnTo>
                  <a:lnTo>
                    <a:pt x="540" y="1524"/>
                  </a:lnTo>
                  <a:lnTo>
                    <a:pt x="534" y="1524"/>
                  </a:lnTo>
                  <a:lnTo>
                    <a:pt x="540" y="1524"/>
                  </a:lnTo>
                  <a:lnTo>
                    <a:pt x="546" y="1524"/>
                  </a:lnTo>
                  <a:lnTo>
                    <a:pt x="546" y="1530"/>
                  </a:lnTo>
                  <a:lnTo>
                    <a:pt x="540" y="1530"/>
                  </a:lnTo>
                  <a:lnTo>
                    <a:pt x="540" y="1536"/>
                  </a:lnTo>
                  <a:lnTo>
                    <a:pt x="534" y="1542"/>
                  </a:lnTo>
                  <a:lnTo>
                    <a:pt x="528" y="1542"/>
                  </a:lnTo>
                  <a:lnTo>
                    <a:pt x="522" y="1542"/>
                  </a:lnTo>
                  <a:lnTo>
                    <a:pt x="516" y="1542"/>
                  </a:lnTo>
                  <a:lnTo>
                    <a:pt x="510" y="1542"/>
                  </a:lnTo>
                  <a:lnTo>
                    <a:pt x="504" y="1542"/>
                  </a:lnTo>
                  <a:lnTo>
                    <a:pt x="492" y="1542"/>
                  </a:lnTo>
                  <a:lnTo>
                    <a:pt x="486" y="1536"/>
                  </a:lnTo>
                  <a:lnTo>
                    <a:pt x="480" y="1536"/>
                  </a:lnTo>
                  <a:lnTo>
                    <a:pt x="468" y="1536"/>
                  </a:lnTo>
                  <a:lnTo>
                    <a:pt x="468" y="1542"/>
                  </a:lnTo>
                  <a:lnTo>
                    <a:pt x="462" y="1542"/>
                  </a:lnTo>
                  <a:lnTo>
                    <a:pt x="456" y="1542"/>
                  </a:lnTo>
                  <a:lnTo>
                    <a:pt x="450" y="1542"/>
                  </a:lnTo>
                  <a:lnTo>
                    <a:pt x="444" y="1542"/>
                  </a:lnTo>
                  <a:lnTo>
                    <a:pt x="444" y="1536"/>
                  </a:lnTo>
                  <a:lnTo>
                    <a:pt x="450" y="1536"/>
                  </a:lnTo>
                  <a:lnTo>
                    <a:pt x="456" y="1536"/>
                  </a:lnTo>
                  <a:lnTo>
                    <a:pt x="450" y="1536"/>
                  </a:lnTo>
                  <a:lnTo>
                    <a:pt x="444" y="1536"/>
                  </a:lnTo>
                  <a:lnTo>
                    <a:pt x="444" y="1530"/>
                  </a:lnTo>
                  <a:lnTo>
                    <a:pt x="450" y="1530"/>
                  </a:lnTo>
                  <a:lnTo>
                    <a:pt x="456" y="1524"/>
                  </a:lnTo>
                  <a:lnTo>
                    <a:pt x="456" y="1518"/>
                  </a:lnTo>
                  <a:lnTo>
                    <a:pt x="462" y="1518"/>
                  </a:lnTo>
                  <a:lnTo>
                    <a:pt x="462" y="1524"/>
                  </a:lnTo>
                  <a:lnTo>
                    <a:pt x="468" y="1524"/>
                  </a:lnTo>
                  <a:lnTo>
                    <a:pt x="474" y="1524"/>
                  </a:lnTo>
                  <a:lnTo>
                    <a:pt x="474" y="1518"/>
                  </a:lnTo>
                  <a:lnTo>
                    <a:pt x="480" y="1518"/>
                  </a:lnTo>
                  <a:lnTo>
                    <a:pt x="474" y="1518"/>
                  </a:lnTo>
                  <a:lnTo>
                    <a:pt x="474" y="1524"/>
                  </a:lnTo>
                  <a:lnTo>
                    <a:pt x="468" y="1524"/>
                  </a:lnTo>
                  <a:lnTo>
                    <a:pt x="462" y="1518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62" y="1512"/>
                  </a:lnTo>
                  <a:lnTo>
                    <a:pt x="462" y="1506"/>
                  </a:lnTo>
                  <a:lnTo>
                    <a:pt x="456" y="1506"/>
                  </a:lnTo>
                  <a:lnTo>
                    <a:pt x="456" y="1512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50" y="1518"/>
                  </a:lnTo>
                  <a:lnTo>
                    <a:pt x="444" y="1518"/>
                  </a:lnTo>
                  <a:lnTo>
                    <a:pt x="444" y="1524"/>
                  </a:lnTo>
                  <a:lnTo>
                    <a:pt x="438" y="1524"/>
                  </a:lnTo>
                  <a:lnTo>
                    <a:pt x="438" y="1530"/>
                  </a:lnTo>
                  <a:lnTo>
                    <a:pt x="432" y="1530"/>
                  </a:lnTo>
                  <a:lnTo>
                    <a:pt x="432" y="1536"/>
                  </a:lnTo>
                  <a:lnTo>
                    <a:pt x="426" y="1530"/>
                  </a:lnTo>
                  <a:lnTo>
                    <a:pt x="420" y="1530"/>
                  </a:lnTo>
                  <a:lnTo>
                    <a:pt x="414" y="1530"/>
                  </a:lnTo>
                  <a:lnTo>
                    <a:pt x="414" y="1524"/>
                  </a:lnTo>
                  <a:lnTo>
                    <a:pt x="408" y="1518"/>
                  </a:lnTo>
                  <a:lnTo>
                    <a:pt x="414" y="1512"/>
                  </a:lnTo>
                  <a:lnTo>
                    <a:pt x="408" y="1512"/>
                  </a:lnTo>
                  <a:lnTo>
                    <a:pt x="408" y="1506"/>
                  </a:lnTo>
                  <a:lnTo>
                    <a:pt x="408" y="1500"/>
                  </a:lnTo>
                  <a:lnTo>
                    <a:pt x="408" y="1494"/>
                  </a:lnTo>
                  <a:lnTo>
                    <a:pt x="408" y="1488"/>
                  </a:lnTo>
                  <a:lnTo>
                    <a:pt x="408" y="1494"/>
                  </a:lnTo>
                  <a:lnTo>
                    <a:pt x="414" y="1494"/>
                  </a:lnTo>
                  <a:lnTo>
                    <a:pt x="420" y="1494"/>
                  </a:lnTo>
                  <a:lnTo>
                    <a:pt x="420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82"/>
                  </a:lnTo>
                  <a:lnTo>
                    <a:pt x="426" y="1476"/>
                  </a:lnTo>
                  <a:lnTo>
                    <a:pt x="432" y="1476"/>
                  </a:lnTo>
                  <a:lnTo>
                    <a:pt x="432" y="1470"/>
                  </a:lnTo>
                  <a:lnTo>
                    <a:pt x="438" y="1470"/>
                  </a:lnTo>
                  <a:lnTo>
                    <a:pt x="444" y="1464"/>
                  </a:lnTo>
                  <a:lnTo>
                    <a:pt x="450" y="1458"/>
                  </a:lnTo>
                  <a:lnTo>
                    <a:pt x="456" y="1458"/>
                  </a:lnTo>
                  <a:lnTo>
                    <a:pt x="462" y="1452"/>
                  </a:lnTo>
                  <a:lnTo>
                    <a:pt x="468" y="1452"/>
                  </a:lnTo>
                  <a:lnTo>
                    <a:pt x="468" y="1446"/>
                  </a:lnTo>
                  <a:lnTo>
                    <a:pt x="462" y="1440"/>
                  </a:lnTo>
                  <a:lnTo>
                    <a:pt x="456" y="1434"/>
                  </a:lnTo>
                  <a:lnTo>
                    <a:pt x="456" y="1428"/>
                  </a:lnTo>
                  <a:lnTo>
                    <a:pt x="456" y="1422"/>
                  </a:lnTo>
                  <a:lnTo>
                    <a:pt x="456" y="1416"/>
                  </a:lnTo>
                  <a:lnTo>
                    <a:pt x="450" y="1410"/>
                  </a:lnTo>
                  <a:lnTo>
                    <a:pt x="444" y="1410"/>
                  </a:lnTo>
                  <a:lnTo>
                    <a:pt x="450" y="1410"/>
                  </a:lnTo>
                  <a:lnTo>
                    <a:pt x="450" y="1404"/>
                  </a:lnTo>
                  <a:lnTo>
                    <a:pt x="456" y="1404"/>
                  </a:lnTo>
                  <a:lnTo>
                    <a:pt x="462" y="1404"/>
                  </a:lnTo>
                  <a:lnTo>
                    <a:pt x="468" y="1398"/>
                  </a:lnTo>
                  <a:lnTo>
                    <a:pt x="462" y="1398"/>
                  </a:lnTo>
                  <a:lnTo>
                    <a:pt x="462" y="1392"/>
                  </a:lnTo>
                  <a:lnTo>
                    <a:pt x="456" y="1392"/>
                  </a:lnTo>
                  <a:lnTo>
                    <a:pt x="456" y="1386"/>
                  </a:lnTo>
                  <a:lnTo>
                    <a:pt x="462" y="1386"/>
                  </a:lnTo>
                  <a:lnTo>
                    <a:pt x="468" y="1386"/>
                  </a:lnTo>
                  <a:lnTo>
                    <a:pt x="474" y="1386"/>
                  </a:lnTo>
                  <a:lnTo>
                    <a:pt x="468" y="1386"/>
                  </a:lnTo>
                  <a:lnTo>
                    <a:pt x="462" y="1386"/>
                  </a:lnTo>
                  <a:lnTo>
                    <a:pt x="456" y="1380"/>
                  </a:lnTo>
                  <a:lnTo>
                    <a:pt x="456" y="1374"/>
                  </a:lnTo>
                  <a:lnTo>
                    <a:pt x="462" y="1374"/>
                  </a:lnTo>
                  <a:lnTo>
                    <a:pt x="462" y="1368"/>
                  </a:lnTo>
                  <a:lnTo>
                    <a:pt x="456" y="1374"/>
                  </a:lnTo>
                  <a:lnTo>
                    <a:pt x="456" y="1368"/>
                  </a:lnTo>
                  <a:lnTo>
                    <a:pt x="456" y="1362"/>
                  </a:lnTo>
                  <a:lnTo>
                    <a:pt x="450" y="1362"/>
                  </a:lnTo>
                  <a:lnTo>
                    <a:pt x="450" y="1356"/>
                  </a:lnTo>
                  <a:lnTo>
                    <a:pt x="450" y="1350"/>
                  </a:lnTo>
                  <a:lnTo>
                    <a:pt x="450" y="1344"/>
                  </a:lnTo>
                  <a:lnTo>
                    <a:pt x="456" y="1344"/>
                  </a:lnTo>
                  <a:lnTo>
                    <a:pt x="456" y="1338"/>
                  </a:lnTo>
                  <a:lnTo>
                    <a:pt x="462" y="1338"/>
                  </a:lnTo>
                  <a:lnTo>
                    <a:pt x="462" y="1332"/>
                  </a:lnTo>
                  <a:lnTo>
                    <a:pt x="456" y="1332"/>
                  </a:lnTo>
                  <a:lnTo>
                    <a:pt x="456" y="1326"/>
                  </a:lnTo>
                  <a:lnTo>
                    <a:pt x="450" y="1326"/>
                  </a:lnTo>
                  <a:lnTo>
                    <a:pt x="444" y="1326"/>
                  </a:lnTo>
                  <a:lnTo>
                    <a:pt x="444" y="1332"/>
                  </a:lnTo>
                  <a:lnTo>
                    <a:pt x="438" y="1332"/>
                  </a:lnTo>
                  <a:lnTo>
                    <a:pt x="438" y="1338"/>
                  </a:lnTo>
                  <a:lnTo>
                    <a:pt x="432" y="1338"/>
                  </a:lnTo>
                  <a:lnTo>
                    <a:pt x="432" y="1344"/>
                  </a:lnTo>
                  <a:lnTo>
                    <a:pt x="432" y="1350"/>
                  </a:lnTo>
                  <a:lnTo>
                    <a:pt x="426" y="1356"/>
                  </a:lnTo>
                  <a:lnTo>
                    <a:pt x="426" y="1368"/>
                  </a:lnTo>
                  <a:lnTo>
                    <a:pt x="426" y="1374"/>
                  </a:lnTo>
                  <a:lnTo>
                    <a:pt x="426" y="1380"/>
                  </a:lnTo>
                  <a:lnTo>
                    <a:pt x="432" y="1386"/>
                  </a:lnTo>
                  <a:lnTo>
                    <a:pt x="432" y="1392"/>
                  </a:lnTo>
                  <a:lnTo>
                    <a:pt x="432" y="1398"/>
                  </a:lnTo>
                  <a:lnTo>
                    <a:pt x="426" y="1398"/>
                  </a:lnTo>
                  <a:lnTo>
                    <a:pt x="420" y="1398"/>
                  </a:lnTo>
                  <a:lnTo>
                    <a:pt x="414" y="1398"/>
                  </a:lnTo>
                  <a:lnTo>
                    <a:pt x="420" y="1398"/>
                  </a:lnTo>
                  <a:lnTo>
                    <a:pt x="414" y="1404"/>
                  </a:lnTo>
                  <a:lnTo>
                    <a:pt x="420" y="1404"/>
                  </a:lnTo>
                  <a:lnTo>
                    <a:pt x="414" y="1404"/>
                  </a:lnTo>
                  <a:lnTo>
                    <a:pt x="408" y="1404"/>
                  </a:lnTo>
                  <a:lnTo>
                    <a:pt x="402" y="1410"/>
                  </a:lnTo>
                  <a:lnTo>
                    <a:pt x="402" y="1404"/>
                  </a:lnTo>
                  <a:lnTo>
                    <a:pt x="396" y="1404"/>
                  </a:lnTo>
                  <a:lnTo>
                    <a:pt x="390" y="1404"/>
                  </a:lnTo>
                  <a:lnTo>
                    <a:pt x="384" y="1404"/>
                  </a:lnTo>
                  <a:lnTo>
                    <a:pt x="384" y="1398"/>
                  </a:lnTo>
                  <a:lnTo>
                    <a:pt x="384" y="1392"/>
                  </a:lnTo>
                  <a:lnTo>
                    <a:pt x="390" y="1392"/>
                  </a:lnTo>
                  <a:lnTo>
                    <a:pt x="390" y="1386"/>
                  </a:lnTo>
                  <a:lnTo>
                    <a:pt x="390" y="1380"/>
                  </a:lnTo>
                  <a:lnTo>
                    <a:pt x="396" y="1380"/>
                  </a:lnTo>
                  <a:lnTo>
                    <a:pt x="402" y="1380"/>
                  </a:lnTo>
                  <a:lnTo>
                    <a:pt x="408" y="1380"/>
                  </a:lnTo>
                  <a:lnTo>
                    <a:pt x="408" y="1374"/>
                  </a:lnTo>
                  <a:lnTo>
                    <a:pt x="414" y="1374"/>
                  </a:lnTo>
                  <a:lnTo>
                    <a:pt x="414" y="1368"/>
                  </a:lnTo>
                  <a:lnTo>
                    <a:pt x="414" y="1362"/>
                  </a:lnTo>
                  <a:lnTo>
                    <a:pt x="414" y="1368"/>
                  </a:lnTo>
                  <a:lnTo>
                    <a:pt x="414" y="1374"/>
                  </a:lnTo>
                  <a:lnTo>
                    <a:pt x="408" y="1374"/>
                  </a:lnTo>
                  <a:lnTo>
                    <a:pt x="402" y="1380"/>
                  </a:lnTo>
                  <a:lnTo>
                    <a:pt x="396" y="1380"/>
                  </a:lnTo>
                  <a:lnTo>
                    <a:pt x="396" y="1374"/>
                  </a:lnTo>
                  <a:lnTo>
                    <a:pt x="390" y="1374"/>
                  </a:lnTo>
                  <a:lnTo>
                    <a:pt x="390" y="1368"/>
                  </a:lnTo>
                  <a:lnTo>
                    <a:pt x="384" y="1368"/>
                  </a:lnTo>
                  <a:lnTo>
                    <a:pt x="384" y="1374"/>
                  </a:lnTo>
                  <a:lnTo>
                    <a:pt x="378" y="1374"/>
                  </a:lnTo>
                  <a:lnTo>
                    <a:pt x="378" y="1380"/>
                  </a:lnTo>
                  <a:lnTo>
                    <a:pt x="372" y="1380"/>
                  </a:lnTo>
                  <a:lnTo>
                    <a:pt x="366" y="1386"/>
                  </a:lnTo>
                  <a:lnTo>
                    <a:pt x="360" y="1386"/>
                  </a:lnTo>
                  <a:lnTo>
                    <a:pt x="354" y="1386"/>
                  </a:lnTo>
                  <a:lnTo>
                    <a:pt x="354" y="1380"/>
                  </a:lnTo>
                  <a:lnTo>
                    <a:pt x="348" y="1380"/>
                  </a:lnTo>
                  <a:lnTo>
                    <a:pt x="342" y="1380"/>
                  </a:lnTo>
                  <a:lnTo>
                    <a:pt x="342" y="1374"/>
                  </a:lnTo>
                  <a:lnTo>
                    <a:pt x="336" y="1368"/>
                  </a:lnTo>
                  <a:lnTo>
                    <a:pt x="342" y="1368"/>
                  </a:lnTo>
                  <a:lnTo>
                    <a:pt x="342" y="1362"/>
                  </a:lnTo>
                  <a:lnTo>
                    <a:pt x="348" y="1362"/>
                  </a:lnTo>
                  <a:lnTo>
                    <a:pt x="354" y="1362"/>
                  </a:lnTo>
                  <a:lnTo>
                    <a:pt x="354" y="1356"/>
                  </a:lnTo>
                  <a:lnTo>
                    <a:pt x="348" y="1356"/>
                  </a:lnTo>
                  <a:lnTo>
                    <a:pt x="348" y="1350"/>
                  </a:lnTo>
                  <a:lnTo>
                    <a:pt x="348" y="1344"/>
                  </a:lnTo>
                  <a:lnTo>
                    <a:pt x="354" y="1338"/>
                  </a:lnTo>
                  <a:lnTo>
                    <a:pt x="354" y="1332"/>
                  </a:lnTo>
                  <a:lnTo>
                    <a:pt x="354" y="1326"/>
                  </a:lnTo>
                  <a:lnTo>
                    <a:pt x="354" y="1320"/>
                  </a:lnTo>
                  <a:lnTo>
                    <a:pt x="354" y="1314"/>
                  </a:lnTo>
                  <a:lnTo>
                    <a:pt x="354" y="1308"/>
                  </a:lnTo>
                  <a:lnTo>
                    <a:pt x="348" y="1308"/>
                  </a:lnTo>
                  <a:lnTo>
                    <a:pt x="348" y="1302"/>
                  </a:lnTo>
                  <a:lnTo>
                    <a:pt x="342" y="1296"/>
                  </a:lnTo>
                  <a:lnTo>
                    <a:pt x="336" y="1296"/>
                  </a:lnTo>
                  <a:lnTo>
                    <a:pt x="336" y="1290"/>
                  </a:lnTo>
                  <a:lnTo>
                    <a:pt x="330" y="1290"/>
                  </a:lnTo>
                  <a:lnTo>
                    <a:pt x="324" y="1290"/>
                  </a:lnTo>
                  <a:lnTo>
                    <a:pt x="324" y="1284"/>
                  </a:lnTo>
                  <a:lnTo>
                    <a:pt x="318" y="1284"/>
                  </a:lnTo>
                  <a:lnTo>
                    <a:pt x="318" y="1278"/>
                  </a:lnTo>
                  <a:lnTo>
                    <a:pt x="312" y="1278"/>
                  </a:lnTo>
                  <a:lnTo>
                    <a:pt x="312" y="1272"/>
                  </a:lnTo>
                  <a:lnTo>
                    <a:pt x="312" y="1278"/>
                  </a:lnTo>
                  <a:lnTo>
                    <a:pt x="318" y="1284"/>
                  </a:lnTo>
                  <a:lnTo>
                    <a:pt x="324" y="1290"/>
                  </a:lnTo>
                  <a:lnTo>
                    <a:pt x="330" y="1290"/>
                  </a:lnTo>
                  <a:lnTo>
                    <a:pt x="330" y="1296"/>
                  </a:lnTo>
                  <a:lnTo>
                    <a:pt x="336" y="1296"/>
                  </a:lnTo>
                  <a:lnTo>
                    <a:pt x="336" y="1302"/>
                  </a:lnTo>
                  <a:lnTo>
                    <a:pt x="342" y="1302"/>
                  </a:lnTo>
                  <a:lnTo>
                    <a:pt x="348" y="1302"/>
                  </a:lnTo>
                  <a:lnTo>
                    <a:pt x="348" y="1308"/>
                  </a:lnTo>
                  <a:lnTo>
                    <a:pt x="348" y="1314"/>
                  </a:lnTo>
                  <a:lnTo>
                    <a:pt x="354" y="1314"/>
                  </a:lnTo>
                  <a:lnTo>
                    <a:pt x="354" y="1320"/>
                  </a:lnTo>
                  <a:lnTo>
                    <a:pt x="354" y="1326"/>
                  </a:lnTo>
                  <a:lnTo>
                    <a:pt x="348" y="1326"/>
                  </a:lnTo>
                  <a:lnTo>
                    <a:pt x="348" y="1332"/>
                  </a:lnTo>
                  <a:lnTo>
                    <a:pt x="348" y="1338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2" y="1350"/>
                  </a:lnTo>
                  <a:lnTo>
                    <a:pt x="336" y="1350"/>
                  </a:lnTo>
                  <a:lnTo>
                    <a:pt x="330" y="1350"/>
                  </a:lnTo>
                  <a:lnTo>
                    <a:pt x="330" y="1356"/>
                  </a:lnTo>
                  <a:lnTo>
                    <a:pt x="330" y="1350"/>
                  </a:lnTo>
                  <a:lnTo>
                    <a:pt x="324" y="1350"/>
                  </a:lnTo>
                  <a:lnTo>
                    <a:pt x="318" y="1344"/>
                  </a:lnTo>
                  <a:lnTo>
                    <a:pt x="318" y="1350"/>
                  </a:lnTo>
                  <a:lnTo>
                    <a:pt x="312" y="1344"/>
                  </a:lnTo>
                  <a:lnTo>
                    <a:pt x="312" y="1338"/>
                  </a:lnTo>
                  <a:lnTo>
                    <a:pt x="306" y="1338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6" y="1326"/>
                  </a:lnTo>
                  <a:lnTo>
                    <a:pt x="306" y="1320"/>
                  </a:lnTo>
                  <a:lnTo>
                    <a:pt x="306" y="1326"/>
                  </a:lnTo>
                  <a:lnTo>
                    <a:pt x="312" y="1326"/>
                  </a:lnTo>
                  <a:lnTo>
                    <a:pt x="312" y="1320"/>
                  </a:lnTo>
                  <a:lnTo>
                    <a:pt x="306" y="1320"/>
                  </a:lnTo>
                  <a:lnTo>
                    <a:pt x="300" y="1320"/>
                  </a:lnTo>
                  <a:lnTo>
                    <a:pt x="294" y="1320"/>
                  </a:lnTo>
                  <a:lnTo>
                    <a:pt x="294" y="1314"/>
                  </a:lnTo>
                  <a:lnTo>
                    <a:pt x="288" y="1314"/>
                  </a:lnTo>
                  <a:lnTo>
                    <a:pt x="288" y="1308"/>
                  </a:lnTo>
                  <a:lnTo>
                    <a:pt x="288" y="1302"/>
                  </a:lnTo>
                  <a:lnTo>
                    <a:pt x="294" y="1302"/>
                  </a:lnTo>
                  <a:lnTo>
                    <a:pt x="294" y="1296"/>
                  </a:lnTo>
                  <a:lnTo>
                    <a:pt x="288" y="1296"/>
                  </a:lnTo>
                  <a:lnTo>
                    <a:pt x="288" y="1290"/>
                  </a:lnTo>
                  <a:lnTo>
                    <a:pt x="288" y="1296"/>
                  </a:lnTo>
                  <a:lnTo>
                    <a:pt x="294" y="1302"/>
                  </a:lnTo>
                  <a:lnTo>
                    <a:pt x="288" y="1302"/>
                  </a:lnTo>
                  <a:lnTo>
                    <a:pt x="282" y="1296"/>
                  </a:lnTo>
                  <a:lnTo>
                    <a:pt x="276" y="1296"/>
                  </a:lnTo>
                  <a:lnTo>
                    <a:pt x="276" y="1290"/>
                  </a:lnTo>
                  <a:lnTo>
                    <a:pt x="270" y="1290"/>
                  </a:lnTo>
                  <a:lnTo>
                    <a:pt x="264" y="1284"/>
                  </a:lnTo>
                  <a:lnTo>
                    <a:pt x="264" y="1278"/>
                  </a:lnTo>
                  <a:lnTo>
                    <a:pt x="264" y="1272"/>
                  </a:lnTo>
                  <a:lnTo>
                    <a:pt x="264" y="1266"/>
                  </a:lnTo>
                  <a:lnTo>
                    <a:pt x="258" y="1266"/>
                  </a:lnTo>
                  <a:lnTo>
                    <a:pt x="252" y="1266"/>
                  </a:lnTo>
                  <a:lnTo>
                    <a:pt x="246" y="1260"/>
                  </a:lnTo>
                  <a:lnTo>
                    <a:pt x="240" y="1254"/>
                  </a:lnTo>
                  <a:lnTo>
                    <a:pt x="240" y="1260"/>
                  </a:lnTo>
                  <a:lnTo>
                    <a:pt x="240" y="1266"/>
                  </a:lnTo>
                  <a:lnTo>
                    <a:pt x="240" y="1272"/>
                  </a:lnTo>
                  <a:lnTo>
                    <a:pt x="246" y="1272"/>
                  </a:lnTo>
                  <a:lnTo>
                    <a:pt x="246" y="1278"/>
                  </a:lnTo>
                  <a:lnTo>
                    <a:pt x="246" y="1284"/>
                  </a:lnTo>
                  <a:lnTo>
                    <a:pt x="252" y="1284"/>
                  </a:lnTo>
                  <a:lnTo>
                    <a:pt x="252" y="1290"/>
                  </a:lnTo>
                  <a:lnTo>
                    <a:pt x="258" y="1296"/>
                  </a:lnTo>
                  <a:lnTo>
                    <a:pt x="264" y="1302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58" y="1314"/>
                  </a:lnTo>
                  <a:lnTo>
                    <a:pt x="258" y="1308"/>
                  </a:lnTo>
                  <a:lnTo>
                    <a:pt x="252" y="1308"/>
                  </a:lnTo>
                  <a:lnTo>
                    <a:pt x="252" y="1302"/>
                  </a:lnTo>
                  <a:lnTo>
                    <a:pt x="246" y="1302"/>
                  </a:lnTo>
                  <a:lnTo>
                    <a:pt x="246" y="1296"/>
                  </a:lnTo>
                  <a:lnTo>
                    <a:pt x="240" y="1296"/>
                  </a:lnTo>
                  <a:lnTo>
                    <a:pt x="240" y="1290"/>
                  </a:lnTo>
                  <a:lnTo>
                    <a:pt x="234" y="1284"/>
                  </a:lnTo>
                  <a:lnTo>
                    <a:pt x="234" y="1278"/>
                  </a:lnTo>
                  <a:close/>
                  <a:moveTo>
                    <a:pt x="444" y="1332"/>
                  </a:moveTo>
                  <a:lnTo>
                    <a:pt x="450" y="1326"/>
                  </a:lnTo>
                  <a:lnTo>
                    <a:pt x="456" y="1326"/>
                  </a:lnTo>
                  <a:lnTo>
                    <a:pt x="456" y="1332"/>
                  </a:lnTo>
                  <a:lnTo>
                    <a:pt x="456" y="1338"/>
                  </a:lnTo>
                  <a:lnTo>
                    <a:pt x="450" y="1338"/>
                  </a:lnTo>
                  <a:lnTo>
                    <a:pt x="444" y="1338"/>
                  </a:lnTo>
                  <a:lnTo>
                    <a:pt x="444" y="1332"/>
                  </a:lnTo>
                  <a:close/>
                  <a:moveTo>
                    <a:pt x="444" y="1368"/>
                  </a:moveTo>
                  <a:lnTo>
                    <a:pt x="456" y="1368"/>
                  </a:lnTo>
                  <a:lnTo>
                    <a:pt x="456" y="1374"/>
                  </a:lnTo>
                  <a:lnTo>
                    <a:pt x="444" y="1374"/>
                  </a:lnTo>
                  <a:lnTo>
                    <a:pt x="444" y="1368"/>
                  </a:lnTo>
                  <a:close/>
                  <a:moveTo>
                    <a:pt x="444" y="1386"/>
                  </a:moveTo>
                  <a:lnTo>
                    <a:pt x="444" y="1380"/>
                  </a:lnTo>
                  <a:lnTo>
                    <a:pt x="444" y="1374"/>
                  </a:lnTo>
                  <a:lnTo>
                    <a:pt x="444" y="1380"/>
                  </a:lnTo>
                  <a:lnTo>
                    <a:pt x="450" y="1380"/>
                  </a:lnTo>
                  <a:lnTo>
                    <a:pt x="456" y="1380"/>
                  </a:lnTo>
                  <a:lnTo>
                    <a:pt x="456" y="1386"/>
                  </a:lnTo>
                  <a:lnTo>
                    <a:pt x="456" y="1392"/>
                  </a:lnTo>
                  <a:lnTo>
                    <a:pt x="462" y="1392"/>
                  </a:lnTo>
                  <a:lnTo>
                    <a:pt x="462" y="1398"/>
                  </a:lnTo>
                  <a:lnTo>
                    <a:pt x="462" y="1404"/>
                  </a:lnTo>
                  <a:lnTo>
                    <a:pt x="456" y="1404"/>
                  </a:lnTo>
                  <a:lnTo>
                    <a:pt x="450" y="1404"/>
                  </a:lnTo>
                  <a:lnTo>
                    <a:pt x="450" y="1398"/>
                  </a:lnTo>
                  <a:lnTo>
                    <a:pt x="444" y="1398"/>
                  </a:lnTo>
                  <a:lnTo>
                    <a:pt x="444" y="1392"/>
                  </a:lnTo>
                  <a:lnTo>
                    <a:pt x="444" y="1386"/>
                  </a:lnTo>
                  <a:close/>
                  <a:moveTo>
                    <a:pt x="438" y="1362"/>
                  </a:moveTo>
                  <a:lnTo>
                    <a:pt x="444" y="1356"/>
                  </a:lnTo>
                  <a:lnTo>
                    <a:pt x="450" y="1356"/>
                  </a:lnTo>
                  <a:lnTo>
                    <a:pt x="450" y="1362"/>
                  </a:lnTo>
                  <a:lnTo>
                    <a:pt x="450" y="1368"/>
                  </a:lnTo>
                  <a:lnTo>
                    <a:pt x="444" y="1368"/>
                  </a:lnTo>
                  <a:lnTo>
                    <a:pt x="444" y="1362"/>
                  </a:lnTo>
                  <a:lnTo>
                    <a:pt x="438" y="1362"/>
                  </a:lnTo>
                  <a:close/>
                  <a:moveTo>
                    <a:pt x="438" y="1350"/>
                  </a:moveTo>
                  <a:lnTo>
                    <a:pt x="438" y="1344"/>
                  </a:lnTo>
                  <a:lnTo>
                    <a:pt x="438" y="1338"/>
                  </a:lnTo>
                  <a:lnTo>
                    <a:pt x="444" y="1338"/>
                  </a:lnTo>
                  <a:lnTo>
                    <a:pt x="450" y="1338"/>
                  </a:lnTo>
                  <a:lnTo>
                    <a:pt x="456" y="1338"/>
                  </a:lnTo>
                  <a:lnTo>
                    <a:pt x="450" y="1344"/>
                  </a:lnTo>
                  <a:lnTo>
                    <a:pt x="444" y="1350"/>
                  </a:lnTo>
                  <a:lnTo>
                    <a:pt x="438" y="1350"/>
                  </a:lnTo>
                  <a:close/>
                  <a:moveTo>
                    <a:pt x="432" y="1380"/>
                  </a:moveTo>
                  <a:lnTo>
                    <a:pt x="432" y="1368"/>
                  </a:lnTo>
                  <a:lnTo>
                    <a:pt x="432" y="1362"/>
                  </a:lnTo>
                  <a:lnTo>
                    <a:pt x="432" y="1356"/>
                  </a:lnTo>
                  <a:lnTo>
                    <a:pt x="438" y="1356"/>
                  </a:lnTo>
                  <a:lnTo>
                    <a:pt x="438" y="1362"/>
                  </a:lnTo>
                  <a:lnTo>
                    <a:pt x="438" y="1368"/>
                  </a:lnTo>
                  <a:lnTo>
                    <a:pt x="438" y="1374"/>
                  </a:lnTo>
                  <a:lnTo>
                    <a:pt x="438" y="1380"/>
                  </a:lnTo>
                  <a:lnTo>
                    <a:pt x="438" y="1386"/>
                  </a:lnTo>
                  <a:lnTo>
                    <a:pt x="438" y="1380"/>
                  </a:lnTo>
                  <a:lnTo>
                    <a:pt x="432" y="1380"/>
                  </a:lnTo>
                  <a:close/>
                  <a:moveTo>
                    <a:pt x="246" y="1272"/>
                  </a:moveTo>
                  <a:lnTo>
                    <a:pt x="252" y="1272"/>
                  </a:lnTo>
                  <a:lnTo>
                    <a:pt x="252" y="1278"/>
                  </a:lnTo>
                  <a:lnTo>
                    <a:pt x="246" y="1278"/>
                  </a:lnTo>
                  <a:lnTo>
                    <a:pt x="246" y="1272"/>
                  </a:lnTo>
                  <a:close/>
                  <a:moveTo>
                    <a:pt x="426" y="1416"/>
                  </a:moveTo>
                  <a:lnTo>
                    <a:pt x="432" y="1410"/>
                  </a:lnTo>
                  <a:lnTo>
                    <a:pt x="438" y="1410"/>
                  </a:lnTo>
                  <a:lnTo>
                    <a:pt x="438" y="1416"/>
                  </a:lnTo>
                  <a:lnTo>
                    <a:pt x="438" y="1422"/>
                  </a:lnTo>
                  <a:lnTo>
                    <a:pt x="432" y="1422"/>
                  </a:lnTo>
                  <a:lnTo>
                    <a:pt x="426" y="1422"/>
                  </a:lnTo>
                  <a:lnTo>
                    <a:pt x="426" y="1416"/>
                  </a:lnTo>
                  <a:close/>
                  <a:moveTo>
                    <a:pt x="246" y="1266"/>
                  </a:moveTo>
                  <a:lnTo>
                    <a:pt x="252" y="1266"/>
                  </a:lnTo>
                  <a:lnTo>
                    <a:pt x="258" y="1272"/>
                  </a:lnTo>
                  <a:lnTo>
                    <a:pt x="258" y="1278"/>
                  </a:lnTo>
                  <a:lnTo>
                    <a:pt x="258" y="1284"/>
                  </a:lnTo>
                  <a:lnTo>
                    <a:pt x="252" y="1284"/>
                  </a:lnTo>
                  <a:lnTo>
                    <a:pt x="252" y="1278"/>
                  </a:lnTo>
                  <a:lnTo>
                    <a:pt x="252" y="1272"/>
                  </a:lnTo>
                  <a:lnTo>
                    <a:pt x="252" y="1266"/>
                  </a:lnTo>
                  <a:lnTo>
                    <a:pt x="246" y="1266"/>
                  </a:lnTo>
                  <a:close/>
                  <a:moveTo>
                    <a:pt x="408" y="1458"/>
                  </a:moveTo>
                  <a:lnTo>
                    <a:pt x="408" y="1452"/>
                  </a:lnTo>
                  <a:lnTo>
                    <a:pt x="414" y="1452"/>
                  </a:lnTo>
                  <a:lnTo>
                    <a:pt x="414" y="1446"/>
                  </a:lnTo>
                  <a:lnTo>
                    <a:pt x="414" y="1440"/>
                  </a:lnTo>
                  <a:lnTo>
                    <a:pt x="420" y="1440"/>
                  </a:lnTo>
                  <a:lnTo>
                    <a:pt x="420" y="1434"/>
                  </a:lnTo>
                  <a:lnTo>
                    <a:pt x="420" y="1428"/>
                  </a:lnTo>
                  <a:lnTo>
                    <a:pt x="420" y="1422"/>
                  </a:lnTo>
                  <a:lnTo>
                    <a:pt x="426" y="1422"/>
                  </a:lnTo>
                  <a:lnTo>
                    <a:pt x="432" y="1428"/>
                  </a:lnTo>
                  <a:lnTo>
                    <a:pt x="438" y="1428"/>
                  </a:lnTo>
                  <a:lnTo>
                    <a:pt x="438" y="1434"/>
                  </a:lnTo>
                  <a:lnTo>
                    <a:pt x="438" y="1428"/>
                  </a:lnTo>
                  <a:lnTo>
                    <a:pt x="438" y="1422"/>
                  </a:lnTo>
                  <a:lnTo>
                    <a:pt x="444" y="1416"/>
                  </a:lnTo>
                  <a:lnTo>
                    <a:pt x="444" y="1410"/>
                  </a:lnTo>
                  <a:lnTo>
                    <a:pt x="450" y="1416"/>
                  </a:lnTo>
                  <a:lnTo>
                    <a:pt x="456" y="1416"/>
                  </a:lnTo>
                  <a:lnTo>
                    <a:pt x="456" y="1422"/>
                  </a:lnTo>
                  <a:lnTo>
                    <a:pt x="456" y="1428"/>
                  </a:lnTo>
                  <a:lnTo>
                    <a:pt x="456" y="1434"/>
                  </a:lnTo>
                  <a:lnTo>
                    <a:pt x="456" y="1440"/>
                  </a:lnTo>
                  <a:lnTo>
                    <a:pt x="462" y="1440"/>
                  </a:lnTo>
                  <a:lnTo>
                    <a:pt x="462" y="1446"/>
                  </a:lnTo>
                  <a:lnTo>
                    <a:pt x="462" y="1452"/>
                  </a:lnTo>
                  <a:lnTo>
                    <a:pt x="456" y="1452"/>
                  </a:lnTo>
                  <a:lnTo>
                    <a:pt x="450" y="1452"/>
                  </a:lnTo>
                  <a:lnTo>
                    <a:pt x="444" y="1446"/>
                  </a:lnTo>
                  <a:lnTo>
                    <a:pt x="444" y="1452"/>
                  </a:lnTo>
                  <a:lnTo>
                    <a:pt x="450" y="1452"/>
                  </a:lnTo>
                  <a:lnTo>
                    <a:pt x="450" y="1458"/>
                  </a:lnTo>
                  <a:lnTo>
                    <a:pt x="444" y="1458"/>
                  </a:lnTo>
                  <a:lnTo>
                    <a:pt x="438" y="1464"/>
                  </a:lnTo>
                  <a:lnTo>
                    <a:pt x="438" y="1458"/>
                  </a:lnTo>
                  <a:lnTo>
                    <a:pt x="432" y="1458"/>
                  </a:lnTo>
                  <a:lnTo>
                    <a:pt x="426" y="1458"/>
                  </a:lnTo>
                  <a:lnTo>
                    <a:pt x="432" y="1458"/>
                  </a:lnTo>
                  <a:lnTo>
                    <a:pt x="438" y="1464"/>
                  </a:lnTo>
                  <a:lnTo>
                    <a:pt x="432" y="1464"/>
                  </a:lnTo>
                  <a:lnTo>
                    <a:pt x="432" y="1470"/>
                  </a:lnTo>
                  <a:lnTo>
                    <a:pt x="426" y="1470"/>
                  </a:lnTo>
                  <a:lnTo>
                    <a:pt x="420" y="1476"/>
                  </a:lnTo>
                  <a:lnTo>
                    <a:pt x="420" y="1470"/>
                  </a:lnTo>
                  <a:lnTo>
                    <a:pt x="414" y="1470"/>
                  </a:lnTo>
                  <a:lnTo>
                    <a:pt x="414" y="1464"/>
                  </a:lnTo>
                  <a:lnTo>
                    <a:pt x="414" y="1458"/>
                  </a:lnTo>
                  <a:lnTo>
                    <a:pt x="408" y="1458"/>
                  </a:lnTo>
                  <a:close/>
                  <a:moveTo>
                    <a:pt x="270" y="1326"/>
                  </a:moveTo>
                  <a:lnTo>
                    <a:pt x="270" y="1320"/>
                  </a:lnTo>
                  <a:lnTo>
                    <a:pt x="276" y="1320"/>
                  </a:lnTo>
                  <a:lnTo>
                    <a:pt x="282" y="1326"/>
                  </a:lnTo>
                  <a:lnTo>
                    <a:pt x="288" y="1326"/>
                  </a:lnTo>
                  <a:lnTo>
                    <a:pt x="288" y="1332"/>
                  </a:lnTo>
                  <a:lnTo>
                    <a:pt x="288" y="1338"/>
                  </a:lnTo>
                  <a:lnTo>
                    <a:pt x="288" y="1344"/>
                  </a:lnTo>
                  <a:lnTo>
                    <a:pt x="282" y="1344"/>
                  </a:lnTo>
                  <a:lnTo>
                    <a:pt x="282" y="1338"/>
                  </a:lnTo>
                  <a:lnTo>
                    <a:pt x="276" y="1338"/>
                  </a:lnTo>
                  <a:lnTo>
                    <a:pt x="276" y="1332"/>
                  </a:lnTo>
                  <a:lnTo>
                    <a:pt x="270" y="1332"/>
                  </a:lnTo>
                  <a:lnTo>
                    <a:pt x="270" y="1326"/>
                  </a:lnTo>
                  <a:close/>
                  <a:moveTo>
                    <a:pt x="288" y="1458"/>
                  </a:moveTo>
                  <a:lnTo>
                    <a:pt x="294" y="1458"/>
                  </a:lnTo>
                  <a:lnTo>
                    <a:pt x="294" y="1452"/>
                  </a:lnTo>
                  <a:lnTo>
                    <a:pt x="294" y="1446"/>
                  </a:lnTo>
                  <a:lnTo>
                    <a:pt x="300" y="1446"/>
                  </a:lnTo>
                  <a:lnTo>
                    <a:pt x="300" y="1440"/>
                  </a:lnTo>
                  <a:lnTo>
                    <a:pt x="306" y="1440"/>
                  </a:lnTo>
                  <a:lnTo>
                    <a:pt x="306" y="1446"/>
                  </a:lnTo>
                  <a:lnTo>
                    <a:pt x="312" y="1452"/>
                  </a:lnTo>
                  <a:lnTo>
                    <a:pt x="306" y="1452"/>
                  </a:lnTo>
                  <a:lnTo>
                    <a:pt x="306" y="1458"/>
                  </a:lnTo>
                  <a:lnTo>
                    <a:pt x="312" y="1464"/>
                  </a:lnTo>
                  <a:lnTo>
                    <a:pt x="306" y="1464"/>
                  </a:lnTo>
                  <a:lnTo>
                    <a:pt x="306" y="1470"/>
                  </a:lnTo>
                  <a:lnTo>
                    <a:pt x="300" y="1476"/>
                  </a:lnTo>
                  <a:lnTo>
                    <a:pt x="294" y="1476"/>
                  </a:lnTo>
                  <a:lnTo>
                    <a:pt x="294" y="1470"/>
                  </a:lnTo>
                  <a:lnTo>
                    <a:pt x="288" y="1470"/>
                  </a:lnTo>
                  <a:lnTo>
                    <a:pt x="288" y="1464"/>
                  </a:lnTo>
                  <a:lnTo>
                    <a:pt x="288" y="1458"/>
                  </a:lnTo>
                  <a:close/>
                  <a:moveTo>
                    <a:pt x="270" y="1296"/>
                  </a:moveTo>
                  <a:lnTo>
                    <a:pt x="276" y="1296"/>
                  </a:lnTo>
                  <a:lnTo>
                    <a:pt x="282" y="1296"/>
                  </a:lnTo>
                  <a:lnTo>
                    <a:pt x="288" y="1296"/>
                  </a:lnTo>
                  <a:lnTo>
                    <a:pt x="288" y="1302"/>
                  </a:lnTo>
                  <a:lnTo>
                    <a:pt x="282" y="1308"/>
                  </a:lnTo>
                  <a:lnTo>
                    <a:pt x="276" y="1308"/>
                  </a:lnTo>
                  <a:lnTo>
                    <a:pt x="276" y="1302"/>
                  </a:lnTo>
                  <a:lnTo>
                    <a:pt x="270" y="12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4" name="Freeform 19">
              <a:extLst>
                <a:ext uri="{FF2B5EF4-FFF2-40B4-BE49-F238E27FC236}">
                  <a16:creationId xmlns:a16="http://schemas.microsoft.com/office/drawing/2014/main" id="{5B9020B8-E1C1-4611-A248-9642BBD69C9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7043" y="3765821"/>
              <a:ext cx="333193" cy="398097"/>
            </a:xfrm>
            <a:custGeom>
              <a:avLst/>
              <a:gdLst>
                <a:gd name="T0" fmla="*/ 30 w 624"/>
                <a:gd name="T1" fmla="*/ 61 h 750"/>
                <a:gd name="T2" fmla="*/ 27 w 624"/>
                <a:gd name="T3" fmla="*/ 62 h 750"/>
                <a:gd name="T4" fmla="*/ 23 w 624"/>
                <a:gd name="T5" fmla="*/ 59 h 750"/>
                <a:gd name="T6" fmla="*/ 20 w 624"/>
                <a:gd name="T7" fmla="*/ 58 h 750"/>
                <a:gd name="T8" fmla="*/ 19 w 624"/>
                <a:gd name="T9" fmla="*/ 56 h 750"/>
                <a:gd name="T10" fmla="*/ 17 w 624"/>
                <a:gd name="T11" fmla="*/ 55 h 750"/>
                <a:gd name="T12" fmla="*/ 16 w 624"/>
                <a:gd name="T13" fmla="*/ 51 h 750"/>
                <a:gd name="T14" fmla="*/ 14 w 624"/>
                <a:gd name="T15" fmla="*/ 48 h 750"/>
                <a:gd name="T16" fmla="*/ 12 w 624"/>
                <a:gd name="T17" fmla="*/ 46 h 750"/>
                <a:gd name="T18" fmla="*/ 12 w 624"/>
                <a:gd name="T19" fmla="*/ 44 h 750"/>
                <a:gd name="T20" fmla="*/ 11 w 624"/>
                <a:gd name="T21" fmla="*/ 41 h 750"/>
                <a:gd name="T22" fmla="*/ 8 w 624"/>
                <a:gd name="T23" fmla="*/ 38 h 750"/>
                <a:gd name="T24" fmla="*/ 6 w 624"/>
                <a:gd name="T25" fmla="*/ 38 h 750"/>
                <a:gd name="T26" fmla="*/ 6 w 624"/>
                <a:gd name="T27" fmla="*/ 35 h 750"/>
                <a:gd name="T28" fmla="*/ 7 w 624"/>
                <a:gd name="T29" fmla="*/ 31 h 750"/>
                <a:gd name="T30" fmla="*/ 10 w 624"/>
                <a:gd name="T31" fmla="*/ 27 h 750"/>
                <a:gd name="T32" fmla="*/ 8 w 624"/>
                <a:gd name="T33" fmla="*/ 23 h 750"/>
                <a:gd name="T34" fmla="*/ 6 w 624"/>
                <a:gd name="T35" fmla="*/ 23 h 750"/>
                <a:gd name="T36" fmla="*/ 3 w 624"/>
                <a:gd name="T37" fmla="*/ 22 h 750"/>
                <a:gd name="T38" fmla="*/ 0 w 624"/>
                <a:gd name="T39" fmla="*/ 22 h 750"/>
                <a:gd name="T40" fmla="*/ 0 w 624"/>
                <a:gd name="T41" fmla="*/ 19 h 750"/>
                <a:gd name="T42" fmla="*/ 1 w 624"/>
                <a:gd name="T43" fmla="*/ 18 h 750"/>
                <a:gd name="T44" fmla="*/ 2 w 624"/>
                <a:gd name="T45" fmla="*/ 14 h 750"/>
                <a:gd name="T46" fmla="*/ 4 w 624"/>
                <a:gd name="T47" fmla="*/ 17 h 750"/>
                <a:gd name="T48" fmla="*/ 6 w 624"/>
                <a:gd name="T49" fmla="*/ 17 h 750"/>
                <a:gd name="T50" fmla="*/ 7 w 624"/>
                <a:gd name="T51" fmla="*/ 17 h 750"/>
                <a:gd name="T52" fmla="*/ 9 w 624"/>
                <a:gd name="T53" fmla="*/ 15 h 750"/>
                <a:gd name="T54" fmla="*/ 10 w 624"/>
                <a:gd name="T55" fmla="*/ 14 h 750"/>
                <a:gd name="T56" fmla="*/ 11 w 624"/>
                <a:gd name="T57" fmla="*/ 12 h 750"/>
                <a:gd name="T58" fmla="*/ 13 w 624"/>
                <a:gd name="T59" fmla="*/ 12 h 750"/>
                <a:gd name="T60" fmla="*/ 18 w 624"/>
                <a:gd name="T61" fmla="*/ 10 h 750"/>
                <a:gd name="T62" fmla="*/ 22 w 624"/>
                <a:gd name="T63" fmla="*/ 4 h 750"/>
                <a:gd name="T64" fmla="*/ 24 w 624"/>
                <a:gd name="T65" fmla="*/ 4 h 750"/>
                <a:gd name="T66" fmla="*/ 26 w 624"/>
                <a:gd name="T67" fmla="*/ 2 h 750"/>
                <a:gd name="T68" fmla="*/ 29 w 624"/>
                <a:gd name="T69" fmla="*/ 0 h 750"/>
                <a:gd name="T70" fmla="*/ 32 w 624"/>
                <a:gd name="T71" fmla="*/ 2 h 750"/>
                <a:gd name="T72" fmla="*/ 34 w 624"/>
                <a:gd name="T73" fmla="*/ 5 h 750"/>
                <a:gd name="T74" fmla="*/ 35 w 624"/>
                <a:gd name="T75" fmla="*/ 8 h 750"/>
                <a:gd name="T76" fmla="*/ 39 w 624"/>
                <a:gd name="T77" fmla="*/ 11 h 750"/>
                <a:gd name="T78" fmla="*/ 42 w 624"/>
                <a:gd name="T79" fmla="*/ 14 h 750"/>
                <a:gd name="T80" fmla="*/ 46 w 624"/>
                <a:gd name="T81" fmla="*/ 12 h 750"/>
                <a:gd name="T82" fmla="*/ 49 w 624"/>
                <a:gd name="T83" fmla="*/ 12 h 750"/>
                <a:gd name="T84" fmla="*/ 51 w 624"/>
                <a:gd name="T85" fmla="*/ 12 h 750"/>
                <a:gd name="T86" fmla="*/ 53 w 624"/>
                <a:gd name="T87" fmla="*/ 12 h 750"/>
                <a:gd name="T88" fmla="*/ 53 w 624"/>
                <a:gd name="T89" fmla="*/ 17 h 750"/>
                <a:gd name="T90" fmla="*/ 51 w 624"/>
                <a:gd name="T91" fmla="*/ 20 h 750"/>
                <a:gd name="T92" fmla="*/ 49 w 624"/>
                <a:gd name="T93" fmla="*/ 26 h 750"/>
                <a:gd name="T94" fmla="*/ 47 w 624"/>
                <a:gd name="T95" fmla="*/ 26 h 750"/>
                <a:gd name="T96" fmla="*/ 44 w 624"/>
                <a:gd name="T97" fmla="*/ 26 h 750"/>
                <a:gd name="T98" fmla="*/ 43 w 624"/>
                <a:gd name="T99" fmla="*/ 27 h 750"/>
                <a:gd name="T100" fmla="*/ 45 w 624"/>
                <a:gd name="T101" fmla="*/ 32 h 750"/>
                <a:gd name="T102" fmla="*/ 44 w 624"/>
                <a:gd name="T103" fmla="*/ 43 h 750"/>
                <a:gd name="T104" fmla="*/ 44 w 624"/>
                <a:gd name="T105" fmla="*/ 47 h 750"/>
                <a:gd name="T106" fmla="*/ 44 w 624"/>
                <a:gd name="T107" fmla="*/ 54 h 750"/>
                <a:gd name="T108" fmla="*/ 41 w 624"/>
                <a:gd name="T109" fmla="*/ 60 h 750"/>
                <a:gd name="T110" fmla="*/ 42 w 624"/>
                <a:gd name="T111" fmla="*/ 62 h 750"/>
                <a:gd name="T112" fmla="*/ 43 w 624"/>
                <a:gd name="T113" fmla="*/ 65 h 750"/>
                <a:gd name="T114" fmla="*/ 39 w 624"/>
                <a:gd name="T115" fmla="*/ 63 h 750"/>
                <a:gd name="T116" fmla="*/ 35 w 624"/>
                <a:gd name="T117" fmla="*/ 62 h 75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24"/>
                <a:gd name="T178" fmla="*/ 0 h 750"/>
                <a:gd name="T179" fmla="*/ 624 w 624"/>
                <a:gd name="T180" fmla="*/ 750 h 75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24" h="750">
                  <a:moveTo>
                    <a:pt x="390" y="702"/>
                  </a:moveTo>
                  <a:lnTo>
                    <a:pt x="372" y="696"/>
                  </a:lnTo>
                  <a:lnTo>
                    <a:pt x="360" y="702"/>
                  </a:lnTo>
                  <a:lnTo>
                    <a:pt x="348" y="702"/>
                  </a:lnTo>
                  <a:lnTo>
                    <a:pt x="336" y="702"/>
                  </a:lnTo>
                  <a:lnTo>
                    <a:pt x="330" y="702"/>
                  </a:lnTo>
                  <a:lnTo>
                    <a:pt x="318" y="708"/>
                  </a:lnTo>
                  <a:lnTo>
                    <a:pt x="306" y="708"/>
                  </a:lnTo>
                  <a:lnTo>
                    <a:pt x="294" y="690"/>
                  </a:lnTo>
                  <a:lnTo>
                    <a:pt x="294" y="684"/>
                  </a:lnTo>
                  <a:lnTo>
                    <a:pt x="276" y="684"/>
                  </a:lnTo>
                  <a:lnTo>
                    <a:pt x="270" y="678"/>
                  </a:lnTo>
                  <a:lnTo>
                    <a:pt x="240" y="672"/>
                  </a:lnTo>
                  <a:lnTo>
                    <a:pt x="234" y="672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6"/>
                  </a:lnTo>
                  <a:lnTo>
                    <a:pt x="216" y="660"/>
                  </a:lnTo>
                  <a:lnTo>
                    <a:pt x="216" y="654"/>
                  </a:lnTo>
                  <a:lnTo>
                    <a:pt x="216" y="642"/>
                  </a:lnTo>
                  <a:lnTo>
                    <a:pt x="210" y="642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36"/>
                  </a:lnTo>
                  <a:lnTo>
                    <a:pt x="192" y="624"/>
                  </a:lnTo>
                  <a:lnTo>
                    <a:pt x="186" y="612"/>
                  </a:lnTo>
                  <a:lnTo>
                    <a:pt x="186" y="600"/>
                  </a:lnTo>
                  <a:lnTo>
                    <a:pt x="186" y="588"/>
                  </a:lnTo>
                  <a:lnTo>
                    <a:pt x="180" y="582"/>
                  </a:lnTo>
                  <a:lnTo>
                    <a:pt x="180" y="570"/>
                  </a:lnTo>
                  <a:lnTo>
                    <a:pt x="174" y="558"/>
                  </a:lnTo>
                  <a:lnTo>
                    <a:pt x="162" y="558"/>
                  </a:lnTo>
                  <a:lnTo>
                    <a:pt x="144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38" y="534"/>
                  </a:lnTo>
                  <a:lnTo>
                    <a:pt x="138" y="528"/>
                  </a:lnTo>
                  <a:lnTo>
                    <a:pt x="132" y="522"/>
                  </a:lnTo>
                  <a:lnTo>
                    <a:pt x="144" y="522"/>
                  </a:lnTo>
                  <a:lnTo>
                    <a:pt x="144" y="510"/>
                  </a:lnTo>
                  <a:lnTo>
                    <a:pt x="144" y="504"/>
                  </a:lnTo>
                  <a:lnTo>
                    <a:pt x="138" y="492"/>
                  </a:lnTo>
                  <a:lnTo>
                    <a:pt x="138" y="474"/>
                  </a:lnTo>
                  <a:lnTo>
                    <a:pt x="126" y="468"/>
                  </a:lnTo>
                  <a:lnTo>
                    <a:pt x="120" y="456"/>
                  </a:lnTo>
                  <a:lnTo>
                    <a:pt x="114" y="450"/>
                  </a:lnTo>
                  <a:lnTo>
                    <a:pt x="108" y="438"/>
                  </a:lnTo>
                  <a:lnTo>
                    <a:pt x="96" y="432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60" y="426"/>
                  </a:lnTo>
                  <a:lnTo>
                    <a:pt x="66" y="420"/>
                  </a:lnTo>
                  <a:lnTo>
                    <a:pt x="66" y="408"/>
                  </a:lnTo>
                  <a:lnTo>
                    <a:pt x="72" y="408"/>
                  </a:lnTo>
                  <a:lnTo>
                    <a:pt x="72" y="384"/>
                  </a:lnTo>
                  <a:lnTo>
                    <a:pt x="72" y="366"/>
                  </a:lnTo>
                  <a:lnTo>
                    <a:pt x="78" y="354"/>
                  </a:lnTo>
                  <a:lnTo>
                    <a:pt x="84" y="354"/>
                  </a:lnTo>
                  <a:lnTo>
                    <a:pt x="90" y="348"/>
                  </a:lnTo>
                  <a:lnTo>
                    <a:pt x="102" y="336"/>
                  </a:lnTo>
                  <a:lnTo>
                    <a:pt x="114" y="324"/>
                  </a:lnTo>
                  <a:lnTo>
                    <a:pt x="120" y="312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20" y="276"/>
                  </a:lnTo>
                  <a:lnTo>
                    <a:pt x="96" y="270"/>
                  </a:lnTo>
                  <a:lnTo>
                    <a:pt x="84" y="270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72" y="264"/>
                  </a:lnTo>
                  <a:lnTo>
                    <a:pt x="60" y="252"/>
                  </a:lnTo>
                  <a:lnTo>
                    <a:pt x="42" y="252"/>
                  </a:lnTo>
                  <a:lnTo>
                    <a:pt x="42" y="258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18" y="252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42" y="156"/>
                  </a:lnTo>
                  <a:lnTo>
                    <a:pt x="48" y="198"/>
                  </a:lnTo>
                  <a:lnTo>
                    <a:pt x="48" y="204"/>
                  </a:lnTo>
                  <a:lnTo>
                    <a:pt x="54" y="198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204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192"/>
                  </a:lnTo>
                  <a:lnTo>
                    <a:pt x="96" y="186"/>
                  </a:lnTo>
                  <a:lnTo>
                    <a:pt x="102" y="180"/>
                  </a:lnTo>
                  <a:lnTo>
                    <a:pt x="102" y="174"/>
                  </a:lnTo>
                  <a:lnTo>
                    <a:pt x="108" y="168"/>
                  </a:lnTo>
                  <a:lnTo>
                    <a:pt x="108" y="162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0"/>
                  </a:lnTo>
                  <a:lnTo>
                    <a:pt x="132" y="144"/>
                  </a:lnTo>
                  <a:lnTo>
                    <a:pt x="138" y="138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0" y="132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74" y="126"/>
                  </a:lnTo>
                  <a:lnTo>
                    <a:pt x="204" y="120"/>
                  </a:lnTo>
                  <a:lnTo>
                    <a:pt x="210" y="78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54"/>
                  </a:lnTo>
                  <a:lnTo>
                    <a:pt x="276" y="54"/>
                  </a:lnTo>
                  <a:lnTo>
                    <a:pt x="276" y="48"/>
                  </a:lnTo>
                  <a:lnTo>
                    <a:pt x="282" y="48"/>
                  </a:lnTo>
                  <a:lnTo>
                    <a:pt x="288" y="42"/>
                  </a:lnTo>
                  <a:lnTo>
                    <a:pt x="294" y="42"/>
                  </a:lnTo>
                  <a:lnTo>
                    <a:pt x="294" y="18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0"/>
                  </a:lnTo>
                  <a:lnTo>
                    <a:pt x="336" y="0"/>
                  </a:lnTo>
                  <a:lnTo>
                    <a:pt x="342" y="0"/>
                  </a:lnTo>
                  <a:lnTo>
                    <a:pt x="354" y="6"/>
                  </a:lnTo>
                  <a:lnTo>
                    <a:pt x="366" y="18"/>
                  </a:lnTo>
                  <a:lnTo>
                    <a:pt x="378" y="36"/>
                  </a:lnTo>
                  <a:lnTo>
                    <a:pt x="390" y="42"/>
                  </a:lnTo>
                  <a:lnTo>
                    <a:pt x="390" y="48"/>
                  </a:lnTo>
                  <a:lnTo>
                    <a:pt x="396" y="60"/>
                  </a:lnTo>
                  <a:lnTo>
                    <a:pt x="402" y="72"/>
                  </a:lnTo>
                  <a:lnTo>
                    <a:pt x="408" y="78"/>
                  </a:lnTo>
                  <a:lnTo>
                    <a:pt x="402" y="84"/>
                  </a:lnTo>
                  <a:lnTo>
                    <a:pt x="408" y="90"/>
                  </a:lnTo>
                  <a:lnTo>
                    <a:pt x="414" y="102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50" y="126"/>
                  </a:lnTo>
                  <a:lnTo>
                    <a:pt x="456" y="126"/>
                  </a:lnTo>
                  <a:lnTo>
                    <a:pt x="462" y="144"/>
                  </a:lnTo>
                  <a:lnTo>
                    <a:pt x="480" y="156"/>
                  </a:lnTo>
                  <a:lnTo>
                    <a:pt x="492" y="156"/>
                  </a:lnTo>
                  <a:lnTo>
                    <a:pt x="516" y="150"/>
                  </a:lnTo>
                  <a:lnTo>
                    <a:pt x="516" y="144"/>
                  </a:lnTo>
                  <a:lnTo>
                    <a:pt x="516" y="138"/>
                  </a:lnTo>
                  <a:lnTo>
                    <a:pt x="528" y="138"/>
                  </a:lnTo>
                  <a:lnTo>
                    <a:pt x="546" y="144"/>
                  </a:lnTo>
                  <a:lnTo>
                    <a:pt x="546" y="138"/>
                  </a:lnTo>
                  <a:lnTo>
                    <a:pt x="552" y="138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76" y="138"/>
                  </a:lnTo>
                  <a:lnTo>
                    <a:pt x="582" y="138"/>
                  </a:lnTo>
                  <a:lnTo>
                    <a:pt x="588" y="138"/>
                  </a:lnTo>
                  <a:lnTo>
                    <a:pt x="594" y="138"/>
                  </a:lnTo>
                  <a:lnTo>
                    <a:pt x="594" y="144"/>
                  </a:lnTo>
                  <a:lnTo>
                    <a:pt x="600" y="138"/>
                  </a:lnTo>
                  <a:lnTo>
                    <a:pt x="606" y="138"/>
                  </a:lnTo>
                  <a:lnTo>
                    <a:pt x="606" y="144"/>
                  </a:lnTo>
                  <a:lnTo>
                    <a:pt x="612" y="144"/>
                  </a:lnTo>
                  <a:lnTo>
                    <a:pt x="618" y="156"/>
                  </a:lnTo>
                  <a:lnTo>
                    <a:pt x="612" y="198"/>
                  </a:lnTo>
                  <a:lnTo>
                    <a:pt x="624" y="198"/>
                  </a:lnTo>
                  <a:lnTo>
                    <a:pt x="624" y="204"/>
                  </a:lnTo>
                  <a:lnTo>
                    <a:pt x="612" y="216"/>
                  </a:lnTo>
                  <a:lnTo>
                    <a:pt x="594" y="234"/>
                  </a:lnTo>
                  <a:lnTo>
                    <a:pt x="588" y="252"/>
                  </a:lnTo>
                  <a:lnTo>
                    <a:pt x="576" y="270"/>
                  </a:lnTo>
                  <a:lnTo>
                    <a:pt x="564" y="282"/>
                  </a:lnTo>
                  <a:lnTo>
                    <a:pt x="564" y="294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8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34" y="294"/>
                  </a:lnTo>
                  <a:lnTo>
                    <a:pt x="522" y="300"/>
                  </a:lnTo>
                  <a:lnTo>
                    <a:pt x="510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498" y="324"/>
                  </a:lnTo>
                  <a:lnTo>
                    <a:pt x="504" y="336"/>
                  </a:lnTo>
                  <a:lnTo>
                    <a:pt x="510" y="348"/>
                  </a:lnTo>
                  <a:lnTo>
                    <a:pt x="516" y="366"/>
                  </a:lnTo>
                  <a:lnTo>
                    <a:pt x="522" y="432"/>
                  </a:lnTo>
                  <a:lnTo>
                    <a:pt x="522" y="456"/>
                  </a:lnTo>
                  <a:lnTo>
                    <a:pt x="504" y="492"/>
                  </a:lnTo>
                  <a:lnTo>
                    <a:pt x="504" y="498"/>
                  </a:lnTo>
                  <a:lnTo>
                    <a:pt x="498" y="504"/>
                  </a:lnTo>
                  <a:lnTo>
                    <a:pt x="498" y="522"/>
                  </a:lnTo>
                  <a:lnTo>
                    <a:pt x="504" y="534"/>
                  </a:lnTo>
                  <a:lnTo>
                    <a:pt x="510" y="546"/>
                  </a:lnTo>
                  <a:lnTo>
                    <a:pt x="516" y="558"/>
                  </a:lnTo>
                  <a:lnTo>
                    <a:pt x="516" y="588"/>
                  </a:lnTo>
                  <a:lnTo>
                    <a:pt x="516" y="600"/>
                  </a:lnTo>
                  <a:lnTo>
                    <a:pt x="510" y="618"/>
                  </a:lnTo>
                  <a:lnTo>
                    <a:pt x="504" y="636"/>
                  </a:lnTo>
                  <a:lnTo>
                    <a:pt x="504" y="642"/>
                  </a:lnTo>
                  <a:lnTo>
                    <a:pt x="474" y="654"/>
                  </a:lnTo>
                  <a:lnTo>
                    <a:pt x="474" y="690"/>
                  </a:lnTo>
                  <a:lnTo>
                    <a:pt x="474" y="696"/>
                  </a:lnTo>
                  <a:lnTo>
                    <a:pt x="480" y="702"/>
                  </a:lnTo>
                  <a:lnTo>
                    <a:pt x="486" y="708"/>
                  </a:lnTo>
                  <a:lnTo>
                    <a:pt x="492" y="708"/>
                  </a:lnTo>
                  <a:lnTo>
                    <a:pt x="498" y="726"/>
                  </a:lnTo>
                  <a:lnTo>
                    <a:pt x="504" y="726"/>
                  </a:lnTo>
                  <a:lnTo>
                    <a:pt x="504" y="738"/>
                  </a:lnTo>
                  <a:lnTo>
                    <a:pt x="498" y="744"/>
                  </a:lnTo>
                  <a:lnTo>
                    <a:pt x="486" y="750"/>
                  </a:lnTo>
                  <a:lnTo>
                    <a:pt x="474" y="744"/>
                  </a:lnTo>
                  <a:lnTo>
                    <a:pt x="462" y="744"/>
                  </a:lnTo>
                  <a:lnTo>
                    <a:pt x="456" y="732"/>
                  </a:lnTo>
                  <a:lnTo>
                    <a:pt x="444" y="732"/>
                  </a:lnTo>
                  <a:lnTo>
                    <a:pt x="432" y="726"/>
                  </a:lnTo>
                  <a:lnTo>
                    <a:pt x="420" y="720"/>
                  </a:lnTo>
                  <a:lnTo>
                    <a:pt x="408" y="708"/>
                  </a:lnTo>
                  <a:lnTo>
                    <a:pt x="402" y="708"/>
                  </a:lnTo>
                  <a:lnTo>
                    <a:pt x="390" y="70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5" name="Freeform 20">
              <a:extLst>
                <a:ext uri="{FF2B5EF4-FFF2-40B4-BE49-F238E27FC236}">
                  <a16:creationId xmlns:a16="http://schemas.microsoft.com/office/drawing/2014/main" id="{B8342C3B-ECEC-465F-AAFF-4815B8AC392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870937"/>
              <a:ext cx="313067" cy="377968"/>
            </a:xfrm>
            <a:custGeom>
              <a:avLst/>
              <a:gdLst>
                <a:gd name="T0" fmla="*/ 15 w 588"/>
                <a:gd name="T1" fmla="*/ 59 h 714"/>
                <a:gd name="T2" fmla="*/ 14 w 588"/>
                <a:gd name="T3" fmla="*/ 58 h 714"/>
                <a:gd name="T4" fmla="*/ 9 w 588"/>
                <a:gd name="T5" fmla="*/ 54 h 714"/>
                <a:gd name="T6" fmla="*/ 4 w 588"/>
                <a:gd name="T7" fmla="*/ 54 h 714"/>
                <a:gd name="T8" fmla="*/ 0 w 588"/>
                <a:gd name="T9" fmla="*/ 50 h 714"/>
                <a:gd name="T10" fmla="*/ 0 w 588"/>
                <a:gd name="T11" fmla="*/ 44 h 714"/>
                <a:gd name="T12" fmla="*/ 4 w 588"/>
                <a:gd name="T13" fmla="*/ 46 h 714"/>
                <a:gd name="T14" fmla="*/ 7 w 588"/>
                <a:gd name="T15" fmla="*/ 47 h 714"/>
                <a:gd name="T16" fmla="*/ 10 w 588"/>
                <a:gd name="T17" fmla="*/ 46 h 714"/>
                <a:gd name="T18" fmla="*/ 8 w 588"/>
                <a:gd name="T19" fmla="*/ 44 h 714"/>
                <a:gd name="T20" fmla="*/ 10 w 588"/>
                <a:gd name="T21" fmla="*/ 39 h 714"/>
                <a:gd name="T22" fmla="*/ 11 w 588"/>
                <a:gd name="T23" fmla="*/ 34 h 714"/>
                <a:gd name="T24" fmla="*/ 9 w 588"/>
                <a:gd name="T25" fmla="*/ 28 h 714"/>
                <a:gd name="T26" fmla="*/ 11 w 588"/>
                <a:gd name="T27" fmla="*/ 22 h 714"/>
                <a:gd name="T28" fmla="*/ 10 w 588"/>
                <a:gd name="T29" fmla="*/ 12 h 714"/>
                <a:gd name="T30" fmla="*/ 9 w 588"/>
                <a:gd name="T31" fmla="*/ 9 h 714"/>
                <a:gd name="T32" fmla="*/ 12 w 588"/>
                <a:gd name="T33" fmla="*/ 8 h 714"/>
                <a:gd name="T34" fmla="*/ 14 w 588"/>
                <a:gd name="T35" fmla="*/ 7 h 714"/>
                <a:gd name="T36" fmla="*/ 17 w 588"/>
                <a:gd name="T37" fmla="*/ 10 h 714"/>
                <a:gd name="T38" fmla="*/ 23 w 588"/>
                <a:gd name="T39" fmla="*/ 14 h 714"/>
                <a:gd name="T40" fmla="*/ 28 w 588"/>
                <a:gd name="T41" fmla="*/ 4 h 714"/>
                <a:gd name="T42" fmla="*/ 35 w 588"/>
                <a:gd name="T43" fmla="*/ 2 h 714"/>
                <a:gd name="T44" fmla="*/ 38 w 588"/>
                <a:gd name="T45" fmla="*/ 0 h 714"/>
                <a:gd name="T46" fmla="*/ 40 w 588"/>
                <a:gd name="T47" fmla="*/ 2 h 714"/>
                <a:gd name="T48" fmla="*/ 39 w 588"/>
                <a:gd name="T49" fmla="*/ 4 h 714"/>
                <a:gd name="T50" fmla="*/ 41 w 588"/>
                <a:gd name="T51" fmla="*/ 5 h 714"/>
                <a:gd name="T52" fmla="*/ 42 w 588"/>
                <a:gd name="T53" fmla="*/ 7 h 714"/>
                <a:gd name="T54" fmla="*/ 43 w 588"/>
                <a:gd name="T55" fmla="*/ 9 h 714"/>
                <a:gd name="T56" fmla="*/ 43 w 588"/>
                <a:gd name="T57" fmla="*/ 10 h 714"/>
                <a:gd name="T58" fmla="*/ 43 w 588"/>
                <a:gd name="T59" fmla="*/ 12 h 714"/>
                <a:gd name="T60" fmla="*/ 44 w 588"/>
                <a:gd name="T61" fmla="*/ 12 h 714"/>
                <a:gd name="T62" fmla="*/ 46 w 588"/>
                <a:gd name="T63" fmla="*/ 13 h 714"/>
                <a:gd name="T64" fmla="*/ 47 w 588"/>
                <a:gd name="T65" fmla="*/ 14 h 714"/>
                <a:gd name="T66" fmla="*/ 48 w 588"/>
                <a:gd name="T67" fmla="*/ 15 h 714"/>
                <a:gd name="T68" fmla="*/ 49 w 588"/>
                <a:gd name="T69" fmla="*/ 15 h 714"/>
                <a:gd name="T70" fmla="*/ 48 w 588"/>
                <a:gd name="T71" fmla="*/ 17 h 714"/>
                <a:gd name="T72" fmla="*/ 49 w 588"/>
                <a:gd name="T73" fmla="*/ 19 h 714"/>
                <a:gd name="T74" fmla="*/ 49 w 588"/>
                <a:gd name="T75" fmla="*/ 20 h 714"/>
                <a:gd name="T76" fmla="*/ 51 w 588"/>
                <a:gd name="T77" fmla="*/ 21 h 714"/>
                <a:gd name="T78" fmla="*/ 50 w 588"/>
                <a:gd name="T79" fmla="*/ 22 h 714"/>
                <a:gd name="T80" fmla="*/ 47 w 588"/>
                <a:gd name="T81" fmla="*/ 23 h 714"/>
                <a:gd name="T82" fmla="*/ 47 w 588"/>
                <a:gd name="T83" fmla="*/ 26 h 714"/>
                <a:gd name="T84" fmla="*/ 47 w 588"/>
                <a:gd name="T85" fmla="*/ 32 h 714"/>
                <a:gd name="T86" fmla="*/ 44 w 588"/>
                <a:gd name="T87" fmla="*/ 35 h 714"/>
                <a:gd name="T88" fmla="*/ 42 w 588"/>
                <a:gd name="T89" fmla="*/ 39 h 714"/>
                <a:gd name="T90" fmla="*/ 42 w 588"/>
                <a:gd name="T91" fmla="*/ 41 h 714"/>
                <a:gd name="T92" fmla="*/ 42 w 588"/>
                <a:gd name="T93" fmla="*/ 42 h 714"/>
                <a:gd name="T94" fmla="*/ 41 w 588"/>
                <a:gd name="T95" fmla="*/ 44 h 714"/>
                <a:gd name="T96" fmla="*/ 39 w 588"/>
                <a:gd name="T97" fmla="*/ 43 h 714"/>
                <a:gd name="T98" fmla="*/ 37 w 588"/>
                <a:gd name="T99" fmla="*/ 44 h 714"/>
                <a:gd name="T100" fmla="*/ 35 w 588"/>
                <a:gd name="T101" fmla="*/ 46 h 714"/>
                <a:gd name="T102" fmla="*/ 31 w 588"/>
                <a:gd name="T103" fmla="*/ 45 h 714"/>
                <a:gd name="T104" fmla="*/ 24 w 588"/>
                <a:gd name="T105" fmla="*/ 45 h 714"/>
                <a:gd name="T106" fmla="*/ 25 w 588"/>
                <a:gd name="T107" fmla="*/ 47 h 714"/>
                <a:gd name="T108" fmla="*/ 25 w 588"/>
                <a:gd name="T109" fmla="*/ 49 h 714"/>
                <a:gd name="T110" fmla="*/ 25 w 588"/>
                <a:gd name="T111" fmla="*/ 50 h 714"/>
                <a:gd name="T112" fmla="*/ 24 w 588"/>
                <a:gd name="T113" fmla="*/ 51 h 714"/>
                <a:gd name="T114" fmla="*/ 22 w 588"/>
                <a:gd name="T115" fmla="*/ 53 h 714"/>
                <a:gd name="T116" fmla="*/ 23 w 588"/>
                <a:gd name="T117" fmla="*/ 56 h 714"/>
                <a:gd name="T118" fmla="*/ 20 w 588"/>
                <a:gd name="T119" fmla="*/ 58 h 714"/>
                <a:gd name="T120" fmla="*/ 19 w 588"/>
                <a:gd name="T121" fmla="*/ 62 h 7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8"/>
                <a:gd name="T184" fmla="*/ 0 h 714"/>
                <a:gd name="T185" fmla="*/ 588 w 588"/>
                <a:gd name="T186" fmla="*/ 714 h 7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8" h="714">
                  <a:moveTo>
                    <a:pt x="216" y="714"/>
                  </a:moveTo>
                  <a:lnTo>
                    <a:pt x="198" y="702"/>
                  </a:lnTo>
                  <a:lnTo>
                    <a:pt x="186" y="696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74" y="678"/>
                  </a:lnTo>
                  <a:lnTo>
                    <a:pt x="168" y="672"/>
                  </a:lnTo>
                  <a:lnTo>
                    <a:pt x="162" y="666"/>
                  </a:lnTo>
                  <a:lnTo>
                    <a:pt x="156" y="636"/>
                  </a:lnTo>
                  <a:lnTo>
                    <a:pt x="144" y="630"/>
                  </a:lnTo>
                  <a:lnTo>
                    <a:pt x="108" y="630"/>
                  </a:lnTo>
                  <a:lnTo>
                    <a:pt x="102" y="624"/>
                  </a:lnTo>
                  <a:lnTo>
                    <a:pt x="96" y="624"/>
                  </a:lnTo>
                  <a:lnTo>
                    <a:pt x="72" y="624"/>
                  </a:lnTo>
                  <a:lnTo>
                    <a:pt x="54" y="624"/>
                  </a:lnTo>
                  <a:lnTo>
                    <a:pt x="42" y="618"/>
                  </a:lnTo>
                  <a:lnTo>
                    <a:pt x="30" y="612"/>
                  </a:lnTo>
                  <a:lnTo>
                    <a:pt x="6" y="606"/>
                  </a:lnTo>
                  <a:lnTo>
                    <a:pt x="0" y="606"/>
                  </a:lnTo>
                  <a:lnTo>
                    <a:pt x="0" y="570"/>
                  </a:lnTo>
                  <a:lnTo>
                    <a:pt x="6" y="552"/>
                  </a:lnTo>
                  <a:lnTo>
                    <a:pt x="6" y="522"/>
                  </a:lnTo>
                  <a:lnTo>
                    <a:pt x="0" y="510"/>
                  </a:lnTo>
                  <a:lnTo>
                    <a:pt x="0" y="504"/>
                  </a:lnTo>
                  <a:lnTo>
                    <a:pt x="12" y="510"/>
                  </a:lnTo>
                  <a:lnTo>
                    <a:pt x="18" y="510"/>
                  </a:lnTo>
                  <a:lnTo>
                    <a:pt x="30" y="522"/>
                  </a:lnTo>
                  <a:lnTo>
                    <a:pt x="42" y="528"/>
                  </a:lnTo>
                  <a:lnTo>
                    <a:pt x="54" y="534"/>
                  </a:lnTo>
                  <a:lnTo>
                    <a:pt x="66" y="534"/>
                  </a:lnTo>
                  <a:lnTo>
                    <a:pt x="72" y="546"/>
                  </a:lnTo>
                  <a:lnTo>
                    <a:pt x="84" y="546"/>
                  </a:lnTo>
                  <a:lnTo>
                    <a:pt x="96" y="552"/>
                  </a:lnTo>
                  <a:lnTo>
                    <a:pt x="108" y="546"/>
                  </a:lnTo>
                  <a:lnTo>
                    <a:pt x="114" y="540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90" y="504"/>
                  </a:lnTo>
                  <a:lnTo>
                    <a:pt x="84" y="498"/>
                  </a:lnTo>
                  <a:lnTo>
                    <a:pt x="84" y="492"/>
                  </a:lnTo>
                  <a:lnTo>
                    <a:pt x="84" y="456"/>
                  </a:lnTo>
                  <a:lnTo>
                    <a:pt x="114" y="444"/>
                  </a:lnTo>
                  <a:lnTo>
                    <a:pt x="114" y="438"/>
                  </a:lnTo>
                  <a:lnTo>
                    <a:pt x="120" y="420"/>
                  </a:lnTo>
                  <a:lnTo>
                    <a:pt x="126" y="402"/>
                  </a:lnTo>
                  <a:lnTo>
                    <a:pt x="126" y="390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14" y="336"/>
                  </a:lnTo>
                  <a:lnTo>
                    <a:pt x="108" y="324"/>
                  </a:lnTo>
                  <a:lnTo>
                    <a:pt x="108" y="306"/>
                  </a:lnTo>
                  <a:lnTo>
                    <a:pt x="114" y="300"/>
                  </a:lnTo>
                  <a:lnTo>
                    <a:pt x="114" y="294"/>
                  </a:lnTo>
                  <a:lnTo>
                    <a:pt x="132" y="258"/>
                  </a:lnTo>
                  <a:lnTo>
                    <a:pt x="132" y="234"/>
                  </a:lnTo>
                  <a:lnTo>
                    <a:pt x="126" y="168"/>
                  </a:lnTo>
                  <a:lnTo>
                    <a:pt x="120" y="150"/>
                  </a:lnTo>
                  <a:lnTo>
                    <a:pt x="114" y="138"/>
                  </a:lnTo>
                  <a:lnTo>
                    <a:pt x="108" y="126"/>
                  </a:lnTo>
                  <a:lnTo>
                    <a:pt x="108" y="120"/>
                  </a:lnTo>
                  <a:lnTo>
                    <a:pt x="108" y="114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20" y="96"/>
                  </a:lnTo>
                  <a:lnTo>
                    <a:pt x="132" y="102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56" y="90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96"/>
                  </a:lnTo>
                  <a:lnTo>
                    <a:pt x="186" y="96"/>
                  </a:lnTo>
                  <a:lnTo>
                    <a:pt x="192" y="114"/>
                  </a:lnTo>
                  <a:lnTo>
                    <a:pt x="204" y="132"/>
                  </a:lnTo>
                  <a:lnTo>
                    <a:pt x="216" y="144"/>
                  </a:lnTo>
                  <a:lnTo>
                    <a:pt x="240" y="162"/>
                  </a:lnTo>
                  <a:lnTo>
                    <a:pt x="270" y="156"/>
                  </a:lnTo>
                  <a:lnTo>
                    <a:pt x="282" y="126"/>
                  </a:lnTo>
                  <a:lnTo>
                    <a:pt x="282" y="96"/>
                  </a:lnTo>
                  <a:lnTo>
                    <a:pt x="294" y="54"/>
                  </a:lnTo>
                  <a:lnTo>
                    <a:pt x="324" y="48"/>
                  </a:lnTo>
                  <a:lnTo>
                    <a:pt x="342" y="48"/>
                  </a:lnTo>
                  <a:lnTo>
                    <a:pt x="384" y="48"/>
                  </a:lnTo>
                  <a:lnTo>
                    <a:pt x="390" y="30"/>
                  </a:lnTo>
                  <a:lnTo>
                    <a:pt x="402" y="18"/>
                  </a:lnTo>
                  <a:lnTo>
                    <a:pt x="438" y="6"/>
                  </a:lnTo>
                  <a:lnTo>
                    <a:pt x="438" y="0"/>
                  </a:lnTo>
                  <a:lnTo>
                    <a:pt x="444" y="0"/>
                  </a:lnTo>
                  <a:lnTo>
                    <a:pt x="444" y="6"/>
                  </a:lnTo>
                  <a:lnTo>
                    <a:pt x="450" y="6"/>
                  </a:lnTo>
                  <a:lnTo>
                    <a:pt x="456" y="12"/>
                  </a:lnTo>
                  <a:lnTo>
                    <a:pt x="456" y="18"/>
                  </a:lnTo>
                  <a:lnTo>
                    <a:pt x="462" y="24"/>
                  </a:lnTo>
                  <a:lnTo>
                    <a:pt x="462" y="30"/>
                  </a:lnTo>
                  <a:lnTo>
                    <a:pt x="468" y="36"/>
                  </a:lnTo>
                  <a:lnTo>
                    <a:pt x="462" y="36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74" y="60"/>
                  </a:lnTo>
                  <a:lnTo>
                    <a:pt x="486" y="78"/>
                  </a:lnTo>
                  <a:lnTo>
                    <a:pt x="486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8" y="102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498" y="114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504" y="126"/>
                  </a:lnTo>
                  <a:lnTo>
                    <a:pt x="498" y="132"/>
                  </a:lnTo>
                  <a:lnTo>
                    <a:pt x="504" y="138"/>
                  </a:lnTo>
                  <a:lnTo>
                    <a:pt x="504" y="132"/>
                  </a:lnTo>
                  <a:lnTo>
                    <a:pt x="510" y="132"/>
                  </a:lnTo>
                  <a:lnTo>
                    <a:pt x="510" y="138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56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6" y="168"/>
                  </a:lnTo>
                  <a:lnTo>
                    <a:pt x="552" y="168"/>
                  </a:lnTo>
                  <a:lnTo>
                    <a:pt x="546" y="168"/>
                  </a:lnTo>
                  <a:lnTo>
                    <a:pt x="546" y="174"/>
                  </a:lnTo>
                  <a:lnTo>
                    <a:pt x="558" y="180"/>
                  </a:lnTo>
                  <a:lnTo>
                    <a:pt x="564" y="180"/>
                  </a:lnTo>
                  <a:lnTo>
                    <a:pt x="564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52" y="198"/>
                  </a:lnTo>
                  <a:lnTo>
                    <a:pt x="558" y="204"/>
                  </a:lnTo>
                  <a:lnTo>
                    <a:pt x="564" y="204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22"/>
                  </a:lnTo>
                  <a:lnTo>
                    <a:pt x="576" y="228"/>
                  </a:lnTo>
                  <a:lnTo>
                    <a:pt x="570" y="228"/>
                  </a:lnTo>
                  <a:lnTo>
                    <a:pt x="570" y="234"/>
                  </a:lnTo>
                  <a:lnTo>
                    <a:pt x="576" y="234"/>
                  </a:lnTo>
                  <a:lnTo>
                    <a:pt x="582" y="234"/>
                  </a:lnTo>
                  <a:lnTo>
                    <a:pt x="588" y="234"/>
                  </a:lnTo>
                  <a:lnTo>
                    <a:pt x="588" y="240"/>
                  </a:lnTo>
                  <a:lnTo>
                    <a:pt x="588" y="246"/>
                  </a:lnTo>
                  <a:lnTo>
                    <a:pt x="588" y="252"/>
                  </a:lnTo>
                  <a:lnTo>
                    <a:pt x="582" y="252"/>
                  </a:lnTo>
                  <a:lnTo>
                    <a:pt x="576" y="252"/>
                  </a:lnTo>
                  <a:lnTo>
                    <a:pt x="582" y="258"/>
                  </a:lnTo>
                  <a:lnTo>
                    <a:pt x="582" y="264"/>
                  </a:lnTo>
                  <a:lnTo>
                    <a:pt x="576" y="264"/>
                  </a:lnTo>
                  <a:lnTo>
                    <a:pt x="546" y="264"/>
                  </a:lnTo>
                  <a:lnTo>
                    <a:pt x="546" y="276"/>
                  </a:lnTo>
                  <a:lnTo>
                    <a:pt x="540" y="282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40" y="324"/>
                  </a:lnTo>
                  <a:lnTo>
                    <a:pt x="552" y="330"/>
                  </a:lnTo>
                  <a:lnTo>
                    <a:pt x="558" y="342"/>
                  </a:lnTo>
                  <a:lnTo>
                    <a:pt x="546" y="372"/>
                  </a:lnTo>
                  <a:lnTo>
                    <a:pt x="534" y="372"/>
                  </a:lnTo>
                  <a:lnTo>
                    <a:pt x="534" y="384"/>
                  </a:lnTo>
                  <a:lnTo>
                    <a:pt x="522" y="384"/>
                  </a:lnTo>
                  <a:lnTo>
                    <a:pt x="510" y="402"/>
                  </a:lnTo>
                  <a:lnTo>
                    <a:pt x="504" y="420"/>
                  </a:lnTo>
                  <a:lnTo>
                    <a:pt x="492" y="426"/>
                  </a:lnTo>
                  <a:lnTo>
                    <a:pt x="486" y="432"/>
                  </a:lnTo>
                  <a:lnTo>
                    <a:pt x="486" y="444"/>
                  </a:lnTo>
                  <a:lnTo>
                    <a:pt x="486" y="450"/>
                  </a:lnTo>
                  <a:lnTo>
                    <a:pt x="486" y="456"/>
                  </a:lnTo>
                  <a:lnTo>
                    <a:pt x="486" y="462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80" y="474"/>
                  </a:lnTo>
                  <a:lnTo>
                    <a:pt x="480" y="480"/>
                  </a:lnTo>
                  <a:lnTo>
                    <a:pt x="480" y="486"/>
                  </a:lnTo>
                  <a:lnTo>
                    <a:pt x="480" y="492"/>
                  </a:lnTo>
                  <a:lnTo>
                    <a:pt x="480" y="498"/>
                  </a:lnTo>
                  <a:lnTo>
                    <a:pt x="474" y="504"/>
                  </a:lnTo>
                  <a:lnTo>
                    <a:pt x="468" y="510"/>
                  </a:lnTo>
                  <a:lnTo>
                    <a:pt x="462" y="510"/>
                  </a:lnTo>
                  <a:lnTo>
                    <a:pt x="456" y="504"/>
                  </a:lnTo>
                  <a:lnTo>
                    <a:pt x="456" y="498"/>
                  </a:lnTo>
                  <a:lnTo>
                    <a:pt x="450" y="498"/>
                  </a:lnTo>
                  <a:lnTo>
                    <a:pt x="444" y="498"/>
                  </a:lnTo>
                  <a:lnTo>
                    <a:pt x="438" y="498"/>
                  </a:lnTo>
                  <a:lnTo>
                    <a:pt x="432" y="498"/>
                  </a:lnTo>
                  <a:lnTo>
                    <a:pt x="426" y="504"/>
                  </a:lnTo>
                  <a:lnTo>
                    <a:pt x="426" y="510"/>
                  </a:lnTo>
                  <a:lnTo>
                    <a:pt x="420" y="516"/>
                  </a:lnTo>
                  <a:lnTo>
                    <a:pt x="414" y="522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84" y="528"/>
                  </a:lnTo>
                  <a:lnTo>
                    <a:pt x="366" y="540"/>
                  </a:lnTo>
                  <a:lnTo>
                    <a:pt x="360" y="522"/>
                  </a:lnTo>
                  <a:lnTo>
                    <a:pt x="348" y="504"/>
                  </a:lnTo>
                  <a:lnTo>
                    <a:pt x="330" y="504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34"/>
                  </a:lnTo>
                  <a:lnTo>
                    <a:pt x="288" y="540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2" y="540"/>
                  </a:lnTo>
                  <a:lnTo>
                    <a:pt x="282" y="546"/>
                  </a:lnTo>
                  <a:lnTo>
                    <a:pt x="288" y="552"/>
                  </a:lnTo>
                  <a:lnTo>
                    <a:pt x="294" y="564"/>
                  </a:lnTo>
                  <a:lnTo>
                    <a:pt x="300" y="564"/>
                  </a:lnTo>
                  <a:lnTo>
                    <a:pt x="300" y="570"/>
                  </a:lnTo>
                  <a:lnTo>
                    <a:pt x="294" y="570"/>
                  </a:lnTo>
                  <a:lnTo>
                    <a:pt x="288" y="570"/>
                  </a:lnTo>
                  <a:lnTo>
                    <a:pt x="288" y="576"/>
                  </a:lnTo>
                  <a:lnTo>
                    <a:pt x="288" y="582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606"/>
                  </a:lnTo>
                  <a:lnTo>
                    <a:pt x="264" y="612"/>
                  </a:lnTo>
                  <a:lnTo>
                    <a:pt x="258" y="612"/>
                  </a:lnTo>
                  <a:lnTo>
                    <a:pt x="252" y="612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52" y="630"/>
                  </a:lnTo>
                  <a:lnTo>
                    <a:pt x="264" y="642"/>
                  </a:lnTo>
                  <a:lnTo>
                    <a:pt x="258" y="648"/>
                  </a:lnTo>
                  <a:lnTo>
                    <a:pt x="246" y="654"/>
                  </a:lnTo>
                  <a:lnTo>
                    <a:pt x="240" y="660"/>
                  </a:lnTo>
                  <a:lnTo>
                    <a:pt x="234" y="672"/>
                  </a:lnTo>
                  <a:lnTo>
                    <a:pt x="234" y="678"/>
                  </a:lnTo>
                  <a:lnTo>
                    <a:pt x="228" y="684"/>
                  </a:lnTo>
                  <a:lnTo>
                    <a:pt x="228" y="696"/>
                  </a:lnTo>
                  <a:lnTo>
                    <a:pt x="216" y="71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6" name="Freeform 21">
              <a:extLst>
                <a:ext uri="{FF2B5EF4-FFF2-40B4-BE49-F238E27FC236}">
                  <a16:creationId xmlns:a16="http://schemas.microsoft.com/office/drawing/2014/main" id="{DCB1E808-522D-4C19-B741-CC5DD56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4178" y="3866464"/>
              <a:ext cx="250453" cy="371259"/>
            </a:xfrm>
            <a:custGeom>
              <a:avLst/>
              <a:gdLst>
                <a:gd name="T0" fmla="*/ 0 w 468"/>
                <a:gd name="T1" fmla="*/ 61 h 696"/>
                <a:gd name="T2" fmla="*/ 1 w 468"/>
                <a:gd name="T3" fmla="*/ 58 h 696"/>
                <a:gd name="T4" fmla="*/ 2 w 468"/>
                <a:gd name="T5" fmla="*/ 54 h 696"/>
                <a:gd name="T6" fmla="*/ 3 w 468"/>
                <a:gd name="T7" fmla="*/ 51 h 696"/>
                <a:gd name="T8" fmla="*/ 4 w 468"/>
                <a:gd name="T9" fmla="*/ 48 h 696"/>
                <a:gd name="T10" fmla="*/ 6 w 468"/>
                <a:gd name="T11" fmla="*/ 44 h 696"/>
                <a:gd name="T12" fmla="*/ 5 w 468"/>
                <a:gd name="T13" fmla="*/ 41 h 696"/>
                <a:gd name="T14" fmla="*/ 7 w 468"/>
                <a:gd name="T15" fmla="*/ 38 h 696"/>
                <a:gd name="T16" fmla="*/ 8 w 468"/>
                <a:gd name="T17" fmla="*/ 36 h 696"/>
                <a:gd name="T18" fmla="*/ 7 w 468"/>
                <a:gd name="T19" fmla="*/ 33 h 696"/>
                <a:gd name="T20" fmla="*/ 6 w 468"/>
                <a:gd name="T21" fmla="*/ 29 h 696"/>
                <a:gd name="T22" fmla="*/ 4 w 468"/>
                <a:gd name="T23" fmla="*/ 22 h 696"/>
                <a:gd name="T24" fmla="*/ 2 w 468"/>
                <a:gd name="T25" fmla="*/ 14 h 696"/>
                <a:gd name="T26" fmla="*/ 12 w 468"/>
                <a:gd name="T27" fmla="*/ 11 h 696"/>
                <a:gd name="T28" fmla="*/ 14 w 468"/>
                <a:gd name="T29" fmla="*/ 2 h 696"/>
                <a:gd name="T30" fmla="*/ 16 w 468"/>
                <a:gd name="T31" fmla="*/ 0 h 696"/>
                <a:gd name="T32" fmla="*/ 17 w 468"/>
                <a:gd name="T33" fmla="*/ 0 h 696"/>
                <a:gd name="T34" fmla="*/ 18 w 468"/>
                <a:gd name="T35" fmla="*/ 1 h 696"/>
                <a:gd name="T36" fmla="*/ 17 w 468"/>
                <a:gd name="T37" fmla="*/ 2 h 696"/>
                <a:gd name="T38" fmla="*/ 17 w 468"/>
                <a:gd name="T39" fmla="*/ 4 h 696"/>
                <a:gd name="T40" fmla="*/ 17 w 468"/>
                <a:gd name="T41" fmla="*/ 6 h 696"/>
                <a:gd name="T42" fmla="*/ 20 w 468"/>
                <a:gd name="T43" fmla="*/ 6 h 696"/>
                <a:gd name="T44" fmla="*/ 22 w 468"/>
                <a:gd name="T45" fmla="*/ 5 h 696"/>
                <a:gd name="T46" fmla="*/ 24 w 468"/>
                <a:gd name="T47" fmla="*/ 7 h 696"/>
                <a:gd name="T48" fmla="*/ 28 w 468"/>
                <a:gd name="T49" fmla="*/ 7 h 696"/>
                <a:gd name="T50" fmla="*/ 28 w 468"/>
                <a:gd name="T51" fmla="*/ 11 h 696"/>
                <a:gd name="T52" fmla="*/ 25 w 468"/>
                <a:gd name="T53" fmla="*/ 14 h 696"/>
                <a:gd name="T54" fmla="*/ 23 w 468"/>
                <a:gd name="T55" fmla="*/ 15 h 696"/>
                <a:gd name="T56" fmla="*/ 23 w 468"/>
                <a:gd name="T57" fmla="*/ 19 h 696"/>
                <a:gd name="T58" fmla="*/ 23 w 468"/>
                <a:gd name="T59" fmla="*/ 21 h 696"/>
                <a:gd name="T60" fmla="*/ 24 w 468"/>
                <a:gd name="T61" fmla="*/ 21 h 696"/>
                <a:gd name="T62" fmla="*/ 27 w 468"/>
                <a:gd name="T63" fmla="*/ 23 h 696"/>
                <a:gd name="T64" fmla="*/ 29 w 468"/>
                <a:gd name="T65" fmla="*/ 24 h 696"/>
                <a:gd name="T66" fmla="*/ 29 w 468"/>
                <a:gd name="T67" fmla="*/ 28 h 696"/>
                <a:gd name="T68" fmla="*/ 29 w 468"/>
                <a:gd name="T69" fmla="*/ 29 h 696"/>
                <a:gd name="T70" fmla="*/ 29 w 468"/>
                <a:gd name="T71" fmla="*/ 32 h 696"/>
                <a:gd name="T72" fmla="*/ 32 w 468"/>
                <a:gd name="T73" fmla="*/ 32 h 696"/>
                <a:gd name="T74" fmla="*/ 33 w 468"/>
                <a:gd name="T75" fmla="*/ 35 h 696"/>
                <a:gd name="T76" fmla="*/ 34 w 468"/>
                <a:gd name="T77" fmla="*/ 38 h 696"/>
                <a:gd name="T78" fmla="*/ 35 w 468"/>
                <a:gd name="T79" fmla="*/ 39 h 696"/>
                <a:gd name="T80" fmla="*/ 36 w 468"/>
                <a:gd name="T81" fmla="*/ 40 h 696"/>
                <a:gd name="T82" fmla="*/ 37 w 468"/>
                <a:gd name="T83" fmla="*/ 41 h 696"/>
                <a:gd name="T84" fmla="*/ 38 w 468"/>
                <a:gd name="T85" fmla="*/ 42 h 696"/>
                <a:gd name="T86" fmla="*/ 41 w 468"/>
                <a:gd name="T87" fmla="*/ 44 h 696"/>
                <a:gd name="T88" fmla="*/ 40 w 468"/>
                <a:gd name="T89" fmla="*/ 44 h 696"/>
                <a:gd name="T90" fmla="*/ 37 w 468"/>
                <a:gd name="T91" fmla="*/ 45 h 696"/>
                <a:gd name="T92" fmla="*/ 36 w 468"/>
                <a:gd name="T93" fmla="*/ 48 h 696"/>
                <a:gd name="T94" fmla="*/ 34 w 468"/>
                <a:gd name="T95" fmla="*/ 49 h 696"/>
                <a:gd name="T96" fmla="*/ 32 w 468"/>
                <a:gd name="T97" fmla="*/ 51 h 696"/>
                <a:gd name="T98" fmla="*/ 31 w 468"/>
                <a:gd name="T99" fmla="*/ 51 h 696"/>
                <a:gd name="T100" fmla="*/ 26 w 468"/>
                <a:gd name="T101" fmla="*/ 49 h 696"/>
                <a:gd name="T102" fmla="*/ 23 w 468"/>
                <a:gd name="T103" fmla="*/ 51 h 696"/>
                <a:gd name="T104" fmla="*/ 21 w 468"/>
                <a:gd name="T105" fmla="*/ 51 h 696"/>
                <a:gd name="T106" fmla="*/ 20 w 468"/>
                <a:gd name="T107" fmla="*/ 52 h 696"/>
                <a:gd name="T108" fmla="*/ 17 w 468"/>
                <a:gd name="T109" fmla="*/ 55 h 696"/>
                <a:gd name="T110" fmla="*/ 15 w 468"/>
                <a:gd name="T111" fmla="*/ 56 h 696"/>
                <a:gd name="T112" fmla="*/ 15 w 468"/>
                <a:gd name="T113" fmla="*/ 59 h 696"/>
                <a:gd name="T114" fmla="*/ 14 w 468"/>
                <a:gd name="T115" fmla="*/ 59 h 696"/>
                <a:gd name="T116" fmla="*/ 12 w 468"/>
                <a:gd name="T117" fmla="*/ 59 h 696"/>
                <a:gd name="T118" fmla="*/ 11 w 468"/>
                <a:gd name="T119" fmla="*/ 57 h 696"/>
                <a:gd name="T120" fmla="*/ 9 w 468"/>
                <a:gd name="T121" fmla="*/ 57 h 696"/>
                <a:gd name="T122" fmla="*/ 6 w 468"/>
                <a:gd name="T123" fmla="*/ 58 h 696"/>
                <a:gd name="T124" fmla="*/ 4 w 468"/>
                <a:gd name="T125" fmla="*/ 60 h 69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8"/>
                <a:gd name="T190" fmla="*/ 0 h 696"/>
                <a:gd name="T191" fmla="*/ 468 w 468"/>
                <a:gd name="T192" fmla="*/ 696 h 69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8" h="696">
                  <a:moveTo>
                    <a:pt x="30" y="696"/>
                  </a:moveTo>
                  <a:lnTo>
                    <a:pt x="18" y="696"/>
                  </a:lnTo>
                  <a:lnTo>
                    <a:pt x="6" y="696"/>
                  </a:lnTo>
                  <a:lnTo>
                    <a:pt x="0" y="690"/>
                  </a:lnTo>
                  <a:lnTo>
                    <a:pt x="6" y="678"/>
                  </a:lnTo>
                  <a:lnTo>
                    <a:pt x="12" y="666"/>
                  </a:lnTo>
                  <a:lnTo>
                    <a:pt x="18" y="654"/>
                  </a:lnTo>
                  <a:lnTo>
                    <a:pt x="18" y="642"/>
                  </a:lnTo>
                  <a:lnTo>
                    <a:pt x="18" y="618"/>
                  </a:lnTo>
                  <a:lnTo>
                    <a:pt x="24" y="606"/>
                  </a:lnTo>
                  <a:lnTo>
                    <a:pt x="30" y="594"/>
                  </a:lnTo>
                  <a:lnTo>
                    <a:pt x="30" y="582"/>
                  </a:lnTo>
                  <a:lnTo>
                    <a:pt x="36" y="576"/>
                  </a:lnTo>
                  <a:lnTo>
                    <a:pt x="42" y="564"/>
                  </a:lnTo>
                  <a:lnTo>
                    <a:pt x="48" y="546"/>
                  </a:lnTo>
                  <a:lnTo>
                    <a:pt x="48" y="528"/>
                  </a:lnTo>
                  <a:lnTo>
                    <a:pt x="60" y="516"/>
                  </a:lnTo>
                  <a:lnTo>
                    <a:pt x="66" y="504"/>
                  </a:lnTo>
                  <a:lnTo>
                    <a:pt x="66" y="492"/>
                  </a:lnTo>
                  <a:lnTo>
                    <a:pt x="60" y="480"/>
                  </a:lnTo>
                  <a:lnTo>
                    <a:pt x="54" y="468"/>
                  </a:lnTo>
                  <a:lnTo>
                    <a:pt x="60" y="456"/>
                  </a:lnTo>
                  <a:lnTo>
                    <a:pt x="72" y="450"/>
                  </a:lnTo>
                  <a:lnTo>
                    <a:pt x="84" y="438"/>
                  </a:lnTo>
                  <a:lnTo>
                    <a:pt x="90" y="426"/>
                  </a:lnTo>
                  <a:lnTo>
                    <a:pt x="90" y="420"/>
                  </a:lnTo>
                  <a:lnTo>
                    <a:pt x="90" y="408"/>
                  </a:lnTo>
                  <a:lnTo>
                    <a:pt x="90" y="402"/>
                  </a:lnTo>
                  <a:lnTo>
                    <a:pt x="84" y="396"/>
                  </a:lnTo>
                  <a:lnTo>
                    <a:pt x="78" y="378"/>
                  </a:lnTo>
                  <a:lnTo>
                    <a:pt x="72" y="360"/>
                  </a:lnTo>
                  <a:lnTo>
                    <a:pt x="66" y="348"/>
                  </a:lnTo>
                  <a:lnTo>
                    <a:pt x="72" y="336"/>
                  </a:lnTo>
                  <a:lnTo>
                    <a:pt x="66" y="306"/>
                  </a:lnTo>
                  <a:lnTo>
                    <a:pt x="54" y="276"/>
                  </a:lnTo>
                  <a:lnTo>
                    <a:pt x="42" y="252"/>
                  </a:lnTo>
                  <a:lnTo>
                    <a:pt x="36" y="222"/>
                  </a:lnTo>
                  <a:lnTo>
                    <a:pt x="30" y="192"/>
                  </a:lnTo>
                  <a:lnTo>
                    <a:pt x="24" y="162"/>
                  </a:lnTo>
                  <a:lnTo>
                    <a:pt x="42" y="174"/>
                  </a:lnTo>
                  <a:lnTo>
                    <a:pt x="120" y="138"/>
                  </a:lnTo>
                  <a:lnTo>
                    <a:pt x="132" y="126"/>
                  </a:lnTo>
                  <a:lnTo>
                    <a:pt x="120" y="54"/>
                  </a:lnTo>
                  <a:lnTo>
                    <a:pt x="156" y="30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0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8" y="18"/>
                  </a:lnTo>
                  <a:lnTo>
                    <a:pt x="198" y="24"/>
                  </a:lnTo>
                  <a:lnTo>
                    <a:pt x="198" y="30"/>
                  </a:lnTo>
                  <a:lnTo>
                    <a:pt x="198" y="42"/>
                  </a:lnTo>
                  <a:lnTo>
                    <a:pt x="198" y="48"/>
                  </a:lnTo>
                  <a:lnTo>
                    <a:pt x="192" y="60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28" y="60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34" y="60"/>
                  </a:lnTo>
                  <a:lnTo>
                    <a:pt x="252" y="60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312" y="84"/>
                  </a:lnTo>
                  <a:lnTo>
                    <a:pt x="318" y="96"/>
                  </a:lnTo>
                  <a:lnTo>
                    <a:pt x="318" y="102"/>
                  </a:lnTo>
                  <a:lnTo>
                    <a:pt x="312" y="120"/>
                  </a:lnTo>
                  <a:lnTo>
                    <a:pt x="306" y="132"/>
                  </a:lnTo>
                  <a:lnTo>
                    <a:pt x="294" y="144"/>
                  </a:lnTo>
                  <a:lnTo>
                    <a:pt x="282" y="156"/>
                  </a:lnTo>
                  <a:lnTo>
                    <a:pt x="276" y="162"/>
                  </a:lnTo>
                  <a:lnTo>
                    <a:pt x="270" y="162"/>
                  </a:lnTo>
                  <a:lnTo>
                    <a:pt x="264" y="174"/>
                  </a:lnTo>
                  <a:lnTo>
                    <a:pt x="264" y="192"/>
                  </a:lnTo>
                  <a:lnTo>
                    <a:pt x="264" y="216"/>
                  </a:lnTo>
                  <a:lnTo>
                    <a:pt x="258" y="216"/>
                  </a:lnTo>
                  <a:lnTo>
                    <a:pt x="258" y="228"/>
                  </a:lnTo>
                  <a:lnTo>
                    <a:pt x="252" y="234"/>
                  </a:lnTo>
                  <a:lnTo>
                    <a:pt x="258" y="240"/>
                  </a:lnTo>
                  <a:lnTo>
                    <a:pt x="264" y="240"/>
                  </a:lnTo>
                  <a:lnTo>
                    <a:pt x="270" y="240"/>
                  </a:lnTo>
                  <a:lnTo>
                    <a:pt x="276" y="240"/>
                  </a:lnTo>
                  <a:lnTo>
                    <a:pt x="288" y="240"/>
                  </a:lnTo>
                  <a:lnTo>
                    <a:pt x="300" y="246"/>
                  </a:lnTo>
                  <a:lnTo>
                    <a:pt x="306" y="258"/>
                  </a:lnTo>
                  <a:lnTo>
                    <a:pt x="312" y="264"/>
                  </a:lnTo>
                  <a:lnTo>
                    <a:pt x="318" y="276"/>
                  </a:lnTo>
                  <a:lnTo>
                    <a:pt x="330" y="282"/>
                  </a:lnTo>
                  <a:lnTo>
                    <a:pt x="330" y="300"/>
                  </a:lnTo>
                  <a:lnTo>
                    <a:pt x="336" y="312"/>
                  </a:lnTo>
                  <a:lnTo>
                    <a:pt x="336" y="318"/>
                  </a:lnTo>
                  <a:lnTo>
                    <a:pt x="336" y="330"/>
                  </a:lnTo>
                  <a:lnTo>
                    <a:pt x="324" y="330"/>
                  </a:lnTo>
                  <a:lnTo>
                    <a:pt x="330" y="336"/>
                  </a:lnTo>
                  <a:lnTo>
                    <a:pt x="330" y="342"/>
                  </a:lnTo>
                  <a:lnTo>
                    <a:pt x="336" y="348"/>
                  </a:lnTo>
                  <a:lnTo>
                    <a:pt x="330" y="360"/>
                  </a:lnTo>
                  <a:lnTo>
                    <a:pt x="336" y="372"/>
                  </a:lnTo>
                  <a:lnTo>
                    <a:pt x="354" y="366"/>
                  </a:lnTo>
                  <a:lnTo>
                    <a:pt x="366" y="366"/>
                  </a:lnTo>
                  <a:lnTo>
                    <a:pt x="372" y="378"/>
                  </a:lnTo>
                  <a:lnTo>
                    <a:pt x="372" y="390"/>
                  </a:lnTo>
                  <a:lnTo>
                    <a:pt x="378" y="396"/>
                  </a:lnTo>
                  <a:lnTo>
                    <a:pt x="378" y="408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44"/>
                  </a:lnTo>
                  <a:lnTo>
                    <a:pt x="390" y="444"/>
                  </a:lnTo>
                  <a:lnTo>
                    <a:pt x="396" y="444"/>
                  </a:lnTo>
                  <a:lnTo>
                    <a:pt x="402" y="450"/>
                  </a:lnTo>
                  <a:lnTo>
                    <a:pt x="408" y="450"/>
                  </a:lnTo>
                  <a:lnTo>
                    <a:pt x="408" y="462"/>
                  </a:lnTo>
                  <a:lnTo>
                    <a:pt x="408" y="468"/>
                  </a:lnTo>
                  <a:lnTo>
                    <a:pt x="414" y="474"/>
                  </a:lnTo>
                  <a:lnTo>
                    <a:pt x="420" y="474"/>
                  </a:lnTo>
                  <a:lnTo>
                    <a:pt x="420" y="480"/>
                  </a:lnTo>
                  <a:lnTo>
                    <a:pt x="426" y="480"/>
                  </a:lnTo>
                  <a:lnTo>
                    <a:pt x="432" y="480"/>
                  </a:lnTo>
                  <a:lnTo>
                    <a:pt x="462" y="486"/>
                  </a:lnTo>
                  <a:lnTo>
                    <a:pt x="468" y="492"/>
                  </a:lnTo>
                  <a:lnTo>
                    <a:pt x="468" y="498"/>
                  </a:lnTo>
                  <a:lnTo>
                    <a:pt x="462" y="498"/>
                  </a:lnTo>
                  <a:lnTo>
                    <a:pt x="456" y="498"/>
                  </a:lnTo>
                  <a:lnTo>
                    <a:pt x="456" y="504"/>
                  </a:lnTo>
                  <a:lnTo>
                    <a:pt x="456" y="510"/>
                  </a:lnTo>
                  <a:lnTo>
                    <a:pt x="450" y="516"/>
                  </a:lnTo>
                  <a:lnTo>
                    <a:pt x="426" y="516"/>
                  </a:lnTo>
                  <a:lnTo>
                    <a:pt x="408" y="528"/>
                  </a:lnTo>
                  <a:lnTo>
                    <a:pt x="408" y="546"/>
                  </a:lnTo>
                  <a:lnTo>
                    <a:pt x="414" y="552"/>
                  </a:lnTo>
                  <a:lnTo>
                    <a:pt x="408" y="558"/>
                  </a:lnTo>
                  <a:lnTo>
                    <a:pt x="402" y="564"/>
                  </a:lnTo>
                  <a:lnTo>
                    <a:pt x="384" y="564"/>
                  </a:lnTo>
                  <a:lnTo>
                    <a:pt x="372" y="564"/>
                  </a:lnTo>
                  <a:lnTo>
                    <a:pt x="372" y="576"/>
                  </a:lnTo>
                  <a:lnTo>
                    <a:pt x="366" y="576"/>
                  </a:lnTo>
                  <a:lnTo>
                    <a:pt x="366" y="582"/>
                  </a:lnTo>
                  <a:lnTo>
                    <a:pt x="360" y="582"/>
                  </a:lnTo>
                  <a:lnTo>
                    <a:pt x="348" y="576"/>
                  </a:lnTo>
                  <a:lnTo>
                    <a:pt x="336" y="570"/>
                  </a:lnTo>
                  <a:lnTo>
                    <a:pt x="324" y="570"/>
                  </a:lnTo>
                  <a:lnTo>
                    <a:pt x="300" y="564"/>
                  </a:lnTo>
                  <a:lnTo>
                    <a:pt x="282" y="564"/>
                  </a:lnTo>
                  <a:lnTo>
                    <a:pt x="270" y="570"/>
                  </a:lnTo>
                  <a:lnTo>
                    <a:pt x="264" y="576"/>
                  </a:lnTo>
                  <a:lnTo>
                    <a:pt x="258" y="576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34" y="594"/>
                  </a:lnTo>
                  <a:lnTo>
                    <a:pt x="228" y="600"/>
                  </a:lnTo>
                  <a:lnTo>
                    <a:pt x="210" y="618"/>
                  </a:lnTo>
                  <a:lnTo>
                    <a:pt x="210" y="624"/>
                  </a:lnTo>
                  <a:lnTo>
                    <a:pt x="192" y="630"/>
                  </a:lnTo>
                  <a:lnTo>
                    <a:pt x="186" y="630"/>
                  </a:lnTo>
                  <a:lnTo>
                    <a:pt x="180" y="636"/>
                  </a:lnTo>
                  <a:lnTo>
                    <a:pt x="174" y="642"/>
                  </a:lnTo>
                  <a:lnTo>
                    <a:pt x="168" y="642"/>
                  </a:lnTo>
                  <a:lnTo>
                    <a:pt x="168" y="654"/>
                  </a:lnTo>
                  <a:lnTo>
                    <a:pt x="168" y="678"/>
                  </a:lnTo>
                  <a:lnTo>
                    <a:pt x="162" y="684"/>
                  </a:lnTo>
                  <a:lnTo>
                    <a:pt x="156" y="684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72"/>
                  </a:lnTo>
                  <a:lnTo>
                    <a:pt x="138" y="672"/>
                  </a:lnTo>
                  <a:lnTo>
                    <a:pt x="138" y="666"/>
                  </a:lnTo>
                  <a:lnTo>
                    <a:pt x="132" y="660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48"/>
                  </a:lnTo>
                  <a:lnTo>
                    <a:pt x="102" y="654"/>
                  </a:lnTo>
                  <a:lnTo>
                    <a:pt x="90" y="654"/>
                  </a:lnTo>
                  <a:lnTo>
                    <a:pt x="84" y="654"/>
                  </a:lnTo>
                  <a:lnTo>
                    <a:pt x="72" y="660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36" y="684"/>
                  </a:lnTo>
                  <a:lnTo>
                    <a:pt x="30" y="6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7" name="Freeform 22">
              <a:extLst>
                <a:ext uri="{FF2B5EF4-FFF2-40B4-BE49-F238E27FC236}">
                  <a16:creationId xmlns:a16="http://schemas.microsoft.com/office/drawing/2014/main" id="{2F7A477D-6CF8-44B3-8B32-64EE03DC4D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2895" y="3967106"/>
              <a:ext cx="610479" cy="507686"/>
            </a:xfrm>
            <a:custGeom>
              <a:avLst/>
              <a:gdLst>
                <a:gd name="T0" fmla="*/ 87 w 1146"/>
                <a:gd name="T1" fmla="*/ 56 h 954"/>
                <a:gd name="T2" fmla="*/ 83 w 1146"/>
                <a:gd name="T3" fmla="*/ 66 h 954"/>
                <a:gd name="T4" fmla="*/ 74 w 1146"/>
                <a:gd name="T5" fmla="*/ 69 h 954"/>
                <a:gd name="T6" fmla="*/ 67 w 1146"/>
                <a:gd name="T7" fmla="*/ 75 h 954"/>
                <a:gd name="T8" fmla="*/ 59 w 1146"/>
                <a:gd name="T9" fmla="*/ 78 h 954"/>
                <a:gd name="T10" fmla="*/ 52 w 1146"/>
                <a:gd name="T11" fmla="*/ 77 h 954"/>
                <a:gd name="T12" fmla="*/ 48 w 1146"/>
                <a:gd name="T13" fmla="*/ 79 h 954"/>
                <a:gd name="T14" fmla="*/ 41 w 1146"/>
                <a:gd name="T15" fmla="*/ 82 h 954"/>
                <a:gd name="T16" fmla="*/ 29 w 1146"/>
                <a:gd name="T17" fmla="*/ 78 h 954"/>
                <a:gd name="T18" fmla="*/ 28 w 1146"/>
                <a:gd name="T19" fmla="*/ 76 h 954"/>
                <a:gd name="T20" fmla="*/ 28 w 1146"/>
                <a:gd name="T21" fmla="*/ 72 h 954"/>
                <a:gd name="T22" fmla="*/ 28 w 1146"/>
                <a:gd name="T23" fmla="*/ 74 h 954"/>
                <a:gd name="T24" fmla="*/ 21 w 1146"/>
                <a:gd name="T25" fmla="*/ 74 h 954"/>
                <a:gd name="T26" fmla="*/ 20 w 1146"/>
                <a:gd name="T27" fmla="*/ 67 h 954"/>
                <a:gd name="T28" fmla="*/ 23 w 1146"/>
                <a:gd name="T29" fmla="*/ 64 h 954"/>
                <a:gd name="T30" fmla="*/ 28 w 1146"/>
                <a:gd name="T31" fmla="*/ 65 h 954"/>
                <a:gd name="T32" fmla="*/ 32 w 1146"/>
                <a:gd name="T33" fmla="*/ 62 h 954"/>
                <a:gd name="T34" fmla="*/ 31 w 1146"/>
                <a:gd name="T35" fmla="*/ 56 h 954"/>
                <a:gd name="T36" fmla="*/ 36 w 1146"/>
                <a:gd name="T37" fmla="*/ 54 h 954"/>
                <a:gd name="T38" fmla="*/ 38 w 1146"/>
                <a:gd name="T39" fmla="*/ 54 h 954"/>
                <a:gd name="T40" fmla="*/ 32 w 1146"/>
                <a:gd name="T41" fmla="*/ 54 h 954"/>
                <a:gd name="T42" fmla="*/ 29 w 1146"/>
                <a:gd name="T43" fmla="*/ 59 h 954"/>
                <a:gd name="T44" fmla="*/ 26 w 1146"/>
                <a:gd name="T45" fmla="*/ 59 h 954"/>
                <a:gd name="T46" fmla="*/ 25 w 1146"/>
                <a:gd name="T47" fmla="*/ 61 h 954"/>
                <a:gd name="T48" fmla="*/ 20 w 1146"/>
                <a:gd name="T49" fmla="*/ 61 h 954"/>
                <a:gd name="T50" fmla="*/ 11 w 1146"/>
                <a:gd name="T51" fmla="*/ 54 h 954"/>
                <a:gd name="T52" fmla="*/ 14 w 1146"/>
                <a:gd name="T53" fmla="*/ 50 h 954"/>
                <a:gd name="T54" fmla="*/ 21 w 1146"/>
                <a:gd name="T55" fmla="*/ 51 h 954"/>
                <a:gd name="T56" fmla="*/ 24 w 1146"/>
                <a:gd name="T57" fmla="*/ 50 h 954"/>
                <a:gd name="T58" fmla="*/ 28 w 1146"/>
                <a:gd name="T59" fmla="*/ 48 h 954"/>
                <a:gd name="T60" fmla="*/ 30 w 1146"/>
                <a:gd name="T61" fmla="*/ 49 h 954"/>
                <a:gd name="T62" fmla="*/ 26 w 1146"/>
                <a:gd name="T63" fmla="*/ 47 h 954"/>
                <a:gd name="T64" fmla="*/ 20 w 1146"/>
                <a:gd name="T65" fmla="*/ 50 h 954"/>
                <a:gd name="T66" fmla="*/ 20 w 1146"/>
                <a:gd name="T67" fmla="*/ 44 h 954"/>
                <a:gd name="T68" fmla="*/ 19 w 1146"/>
                <a:gd name="T69" fmla="*/ 46 h 954"/>
                <a:gd name="T70" fmla="*/ 15 w 1146"/>
                <a:gd name="T71" fmla="*/ 49 h 954"/>
                <a:gd name="T72" fmla="*/ 8 w 1146"/>
                <a:gd name="T73" fmla="*/ 48 h 954"/>
                <a:gd name="T74" fmla="*/ 6 w 1146"/>
                <a:gd name="T75" fmla="*/ 41 h 954"/>
                <a:gd name="T76" fmla="*/ 10 w 1146"/>
                <a:gd name="T77" fmla="*/ 41 h 954"/>
                <a:gd name="T78" fmla="*/ 9 w 1146"/>
                <a:gd name="T79" fmla="*/ 39 h 954"/>
                <a:gd name="T80" fmla="*/ 14 w 1146"/>
                <a:gd name="T81" fmla="*/ 35 h 954"/>
                <a:gd name="T82" fmla="*/ 19 w 1146"/>
                <a:gd name="T83" fmla="*/ 32 h 954"/>
                <a:gd name="T84" fmla="*/ 20 w 1146"/>
                <a:gd name="T85" fmla="*/ 29 h 954"/>
                <a:gd name="T86" fmla="*/ 27 w 1146"/>
                <a:gd name="T87" fmla="*/ 27 h 954"/>
                <a:gd name="T88" fmla="*/ 33 w 1146"/>
                <a:gd name="T89" fmla="*/ 28 h 954"/>
                <a:gd name="T90" fmla="*/ 44 w 1146"/>
                <a:gd name="T91" fmla="*/ 27 h 954"/>
                <a:gd name="T92" fmla="*/ 52 w 1146"/>
                <a:gd name="T93" fmla="*/ 41 h 954"/>
                <a:gd name="T94" fmla="*/ 61 w 1146"/>
                <a:gd name="T95" fmla="*/ 40 h 954"/>
                <a:gd name="T96" fmla="*/ 69 w 1146"/>
                <a:gd name="T97" fmla="*/ 34 h 954"/>
                <a:gd name="T98" fmla="*/ 62 w 1146"/>
                <a:gd name="T99" fmla="*/ 12 h 954"/>
                <a:gd name="T100" fmla="*/ 74 w 1146"/>
                <a:gd name="T101" fmla="*/ 8 h 954"/>
                <a:gd name="T102" fmla="*/ 87 w 1146"/>
                <a:gd name="T103" fmla="*/ 1 h 954"/>
                <a:gd name="T104" fmla="*/ 99 w 1146"/>
                <a:gd name="T105" fmla="*/ 12 h 954"/>
                <a:gd name="T106" fmla="*/ 98 w 1146"/>
                <a:gd name="T107" fmla="*/ 27 h 954"/>
                <a:gd name="T108" fmla="*/ 16 w 1146"/>
                <a:gd name="T109" fmla="*/ 33 h 954"/>
                <a:gd name="T110" fmla="*/ 11 w 1146"/>
                <a:gd name="T111" fmla="*/ 36 h 954"/>
                <a:gd name="T112" fmla="*/ 5 w 1146"/>
                <a:gd name="T113" fmla="*/ 41 h 954"/>
                <a:gd name="T114" fmla="*/ 2 w 1146"/>
                <a:gd name="T115" fmla="*/ 36 h 954"/>
                <a:gd name="T116" fmla="*/ 5 w 1146"/>
                <a:gd name="T117" fmla="*/ 26 h 954"/>
                <a:gd name="T118" fmla="*/ 10 w 1146"/>
                <a:gd name="T119" fmla="*/ 20 h 954"/>
                <a:gd name="T120" fmla="*/ 13 w 1146"/>
                <a:gd name="T121" fmla="*/ 20 h 954"/>
                <a:gd name="T122" fmla="*/ 15 w 1146"/>
                <a:gd name="T123" fmla="*/ 27 h 95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46"/>
                <a:gd name="T187" fmla="*/ 0 h 954"/>
                <a:gd name="T188" fmla="*/ 1146 w 1146"/>
                <a:gd name="T189" fmla="*/ 954 h 95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46" h="954">
                  <a:moveTo>
                    <a:pt x="1056" y="498"/>
                  </a:moveTo>
                  <a:lnTo>
                    <a:pt x="1044" y="510"/>
                  </a:lnTo>
                  <a:lnTo>
                    <a:pt x="1032" y="516"/>
                  </a:lnTo>
                  <a:lnTo>
                    <a:pt x="1038" y="528"/>
                  </a:lnTo>
                  <a:lnTo>
                    <a:pt x="1050" y="540"/>
                  </a:lnTo>
                  <a:lnTo>
                    <a:pt x="1050" y="546"/>
                  </a:lnTo>
                  <a:lnTo>
                    <a:pt x="1050" y="564"/>
                  </a:lnTo>
                  <a:lnTo>
                    <a:pt x="1038" y="576"/>
                  </a:lnTo>
                  <a:lnTo>
                    <a:pt x="1032" y="588"/>
                  </a:lnTo>
                  <a:lnTo>
                    <a:pt x="1020" y="594"/>
                  </a:lnTo>
                  <a:lnTo>
                    <a:pt x="1008" y="594"/>
                  </a:lnTo>
                  <a:lnTo>
                    <a:pt x="1002" y="600"/>
                  </a:lnTo>
                  <a:lnTo>
                    <a:pt x="996" y="612"/>
                  </a:lnTo>
                  <a:lnTo>
                    <a:pt x="996" y="624"/>
                  </a:lnTo>
                  <a:lnTo>
                    <a:pt x="996" y="648"/>
                  </a:lnTo>
                  <a:lnTo>
                    <a:pt x="996" y="660"/>
                  </a:lnTo>
                  <a:lnTo>
                    <a:pt x="1002" y="672"/>
                  </a:lnTo>
                  <a:lnTo>
                    <a:pt x="1002" y="684"/>
                  </a:lnTo>
                  <a:lnTo>
                    <a:pt x="996" y="684"/>
                  </a:lnTo>
                  <a:lnTo>
                    <a:pt x="984" y="690"/>
                  </a:lnTo>
                  <a:lnTo>
                    <a:pt x="972" y="690"/>
                  </a:lnTo>
                  <a:lnTo>
                    <a:pt x="966" y="696"/>
                  </a:lnTo>
                  <a:lnTo>
                    <a:pt x="966" y="702"/>
                  </a:lnTo>
                  <a:lnTo>
                    <a:pt x="966" y="714"/>
                  </a:lnTo>
                  <a:lnTo>
                    <a:pt x="972" y="726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2" y="756"/>
                  </a:lnTo>
                  <a:lnTo>
                    <a:pt x="966" y="756"/>
                  </a:lnTo>
                  <a:lnTo>
                    <a:pt x="942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18" y="768"/>
                  </a:lnTo>
                  <a:lnTo>
                    <a:pt x="906" y="768"/>
                  </a:lnTo>
                  <a:lnTo>
                    <a:pt x="894" y="762"/>
                  </a:lnTo>
                  <a:lnTo>
                    <a:pt x="882" y="756"/>
                  </a:lnTo>
                  <a:lnTo>
                    <a:pt x="876" y="756"/>
                  </a:lnTo>
                  <a:lnTo>
                    <a:pt x="876" y="762"/>
                  </a:lnTo>
                  <a:lnTo>
                    <a:pt x="864" y="768"/>
                  </a:lnTo>
                  <a:lnTo>
                    <a:pt x="858" y="774"/>
                  </a:lnTo>
                  <a:lnTo>
                    <a:pt x="852" y="774"/>
                  </a:lnTo>
                  <a:lnTo>
                    <a:pt x="840" y="780"/>
                  </a:lnTo>
                  <a:lnTo>
                    <a:pt x="840" y="786"/>
                  </a:lnTo>
                  <a:lnTo>
                    <a:pt x="840" y="792"/>
                  </a:lnTo>
                  <a:lnTo>
                    <a:pt x="840" y="804"/>
                  </a:lnTo>
                  <a:lnTo>
                    <a:pt x="840" y="810"/>
                  </a:lnTo>
                  <a:lnTo>
                    <a:pt x="828" y="816"/>
                  </a:lnTo>
                  <a:lnTo>
                    <a:pt x="810" y="810"/>
                  </a:lnTo>
                  <a:lnTo>
                    <a:pt x="792" y="810"/>
                  </a:lnTo>
                  <a:lnTo>
                    <a:pt x="786" y="816"/>
                  </a:lnTo>
                  <a:lnTo>
                    <a:pt x="780" y="816"/>
                  </a:lnTo>
                  <a:lnTo>
                    <a:pt x="780" y="822"/>
                  </a:lnTo>
                  <a:lnTo>
                    <a:pt x="780" y="828"/>
                  </a:lnTo>
                  <a:lnTo>
                    <a:pt x="780" y="834"/>
                  </a:lnTo>
                  <a:lnTo>
                    <a:pt x="786" y="840"/>
                  </a:lnTo>
                  <a:lnTo>
                    <a:pt x="786" y="846"/>
                  </a:lnTo>
                  <a:lnTo>
                    <a:pt x="786" y="852"/>
                  </a:lnTo>
                  <a:lnTo>
                    <a:pt x="780" y="858"/>
                  </a:lnTo>
                  <a:lnTo>
                    <a:pt x="768" y="858"/>
                  </a:lnTo>
                  <a:lnTo>
                    <a:pt x="762" y="864"/>
                  </a:lnTo>
                  <a:lnTo>
                    <a:pt x="756" y="864"/>
                  </a:lnTo>
                  <a:lnTo>
                    <a:pt x="750" y="870"/>
                  </a:lnTo>
                  <a:lnTo>
                    <a:pt x="744" y="876"/>
                  </a:lnTo>
                  <a:lnTo>
                    <a:pt x="732" y="876"/>
                  </a:lnTo>
                  <a:lnTo>
                    <a:pt x="726" y="876"/>
                  </a:lnTo>
                  <a:lnTo>
                    <a:pt x="720" y="870"/>
                  </a:lnTo>
                  <a:lnTo>
                    <a:pt x="714" y="864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6" y="876"/>
                  </a:lnTo>
                  <a:lnTo>
                    <a:pt x="696" y="882"/>
                  </a:lnTo>
                  <a:lnTo>
                    <a:pt x="696" y="894"/>
                  </a:lnTo>
                  <a:lnTo>
                    <a:pt x="690" y="900"/>
                  </a:lnTo>
                  <a:lnTo>
                    <a:pt x="684" y="900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54" y="888"/>
                  </a:lnTo>
                  <a:lnTo>
                    <a:pt x="654" y="882"/>
                  </a:lnTo>
                  <a:lnTo>
                    <a:pt x="642" y="876"/>
                  </a:lnTo>
                  <a:lnTo>
                    <a:pt x="636" y="876"/>
                  </a:lnTo>
                  <a:lnTo>
                    <a:pt x="630" y="876"/>
                  </a:lnTo>
                  <a:lnTo>
                    <a:pt x="630" y="870"/>
                  </a:lnTo>
                  <a:lnTo>
                    <a:pt x="618" y="858"/>
                  </a:lnTo>
                  <a:lnTo>
                    <a:pt x="612" y="858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06" y="876"/>
                  </a:lnTo>
                  <a:lnTo>
                    <a:pt x="606" y="882"/>
                  </a:lnTo>
                  <a:lnTo>
                    <a:pt x="606" y="888"/>
                  </a:lnTo>
                  <a:lnTo>
                    <a:pt x="600" y="894"/>
                  </a:lnTo>
                  <a:lnTo>
                    <a:pt x="594" y="894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76" y="894"/>
                  </a:lnTo>
                  <a:lnTo>
                    <a:pt x="582" y="900"/>
                  </a:lnTo>
                  <a:lnTo>
                    <a:pt x="576" y="906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64" y="918"/>
                  </a:lnTo>
                  <a:lnTo>
                    <a:pt x="558" y="918"/>
                  </a:lnTo>
                  <a:lnTo>
                    <a:pt x="558" y="912"/>
                  </a:lnTo>
                  <a:lnTo>
                    <a:pt x="552" y="906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06"/>
                  </a:lnTo>
                  <a:lnTo>
                    <a:pt x="534" y="906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0" y="924"/>
                  </a:lnTo>
                  <a:lnTo>
                    <a:pt x="504" y="924"/>
                  </a:lnTo>
                  <a:lnTo>
                    <a:pt x="498" y="930"/>
                  </a:lnTo>
                  <a:lnTo>
                    <a:pt x="492" y="924"/>
                  </a:lnTo>
                  <a:lnTo>
                    <a:pt x="486" y="930"/>
                  </a:lnTo>
                  <a:lnTo>
                    <a:pt x="480" y="942"/>
                  </a:lnTo>
                  <a:lnTo>
                    <a:pt x="468" y="948"/>
                  </a:lnTo>
                  <a:lnTo>
                    <a:pt x="444" y="942"/>
                  </a:lnTo>
                  <a:lnTo>
                    <a:pt x="438" y="954"/>
                  </a:lnTo>
                  <a:lnTo>
                    <a:pt x="426" y="954"/>
                  </a:lnTo>
                  <a:lnTo>
                    <a:pt x="420" y="948"/>
                  </a:lnTo>
                  <a:lnTo>
                    <a:pt x="408" y="936"/>
                  </a:lnTo>
                  <a:lnTo>
                    <a:pt x="396" y="936"/>
                  </a:lnTo>
                  <a:lnTo>
                    <a:pt x="390" y="930"/>
                  </a:lnTo>
                  <a:lnTo>
                    <a:pt x="390" y="924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66" y="924"/>
                  </a:lnTo>
                  <a:lnTo>
                    <a:pt x="360" y="924"/>
                  </a:lnTo>
                  <a:lnTo>
                    <a:pt x="348" y="918"/>
                  </a:lnTo>
                  <a:lnTo>
                    <a:pt x="342" y="906"/>
                  </a:lnTo>
                  <a:lnTo>
                    <a:pt x="336" y="906"/>
                  </a:lnTo>
                  <a:lnTo>
                    <a:pt x="330" y="906"/>
                  </a:lnTo>
                  <a:lnTo>
                    <a:pt x="312" y="906"/>
                  </a:lnTo>
                  <a:lnTo>
                    <a:pt x="312" y="900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888"/>
                  </a:lnTo>
                  <a:lnTo>
                    <a:pt x="312" y="882"/>
                  </a:lnTo>
                  <a:lnTo>
                    <a:pt x="306" y="876"/>
                  </a:lnTo>
                  <a:lnTo>
                    <a:pt x="312" y="876"/>
                  </a:lnTo>
                  <a:lnTo>
                    <a:pt x="312" y="870"/>
                  </a:lnTo>
                  <a:lnTo>
                    <a:pt x="318" y="876"/>
                  </a:lnTo>
                  <a:lnTo>
                    <a:pt x="318" y="870"/>
                  </a:lnTo>
                  <a:lnTo>
                    <a:pt x="324" y="876"/>
                  </a:lnTo>
                  <a:lnTo>
                    <a:pt x="330" y="876"/>
                  </a:lnTo>
                  <a:lnTo>
                    <a:pt x="336" y="876"/>
                  </a:lnTo>
                  <a:lnTo>
                    <a:pt x="342" y="876"/>
                  </a:lnTo>
                  <a:lnTo>
                    <a:pt x="336" y="876"/>
                  </a:lnTo>
                  <a:lnTo>
                    <a:pt x="330" y="870"/>
                  </a:lnTo>
                  <a:lnTo>
                    <a:pt x="324" y="870"/>
                  </a:lnTo>
                  <a:lnTo>
                    <a:pt x="318" y="870"/>
                  </a:lnTo>
                  <a:lnTo>
                    <a:pt x="312" y="870"/>
                  </a:lnTo>
                  <a:lnTo>
                    <a:pt x="318" y="864"/>
                  </a:lnTo>
                  <a:lnTo>
                    <a:pt x="318" y="858"/>
                  </a:lnTo>
                  <a:lnTo>
                    <a:pt x="318" y="852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6" y="846"/>
                  </a:lnTo>
                  <a:lnTo>
                    <a:pt x="312" y="828"/>
                  </a:lnTo>
                  <a:lnTo>
                    <a:pt x="312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06" y="816"/>
                  </a:lnTo>
                  <a:lnTo>
                    <a:pt x="306" y="810"/>
                  </a:lnTo>
                  <a:lnTo>
                    <a:pt x="306" y="816"/>
                  </a:lnTo>
                  <a:lnTo>
                    <a:pt x="312" y="822"/>
                  </a:lnTo>
                  <a:lnTo>
                    <a:pt x="306" y="822"/>
                  </a:lnTo>
                  <a:lnTo>
                    <a:pt x="306" y="828"/>
                  </a:lnTo>
                  <a:lnTo>
                    <a:pt x="306" y="834"/>
                  </a:lnTo>
                  <a:lnTo>
                    <a:pt x="300" y="840"/>
                  </a:lnTo>
                  <a:lnTo>
                    <a:pt x="300" y="846"/>
                  </a:lnTo>
                  <a:lnTo>
                    <a:pt x="306" y="852"/>
                  </a:lnTo>
                  <a:lnTo>
                    <a:pt x="306" y="858"/>
                  </a:lnTo>
                  <a:lnTo>
                    <a:pt x="312" y="858"/>
                  </a:lnTo>
                  <a:lnTo>
                    <a:pt x="312" y="864"/>
                  </a:lnTo>
                  <a:lnTo>
                    <a:pt x="306" y="864"/>
                  </a:lnTo>
                  <a:lnTo>
                    <a:pt x="300" y="864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82" y="870"/>
                  </a:lnTo>
                  <a:lnTo>
                    <a:pt x="276" y="870"/>
                  </a:lnTo>
                  <a:lnTo>
                    <a:pt x="270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8" y="870"/>
                  </a:lnTo>
                  <a:lnTo>
                    <a:pt x="252" y="870"/>
                  </a:lnTo>
                  <a:lnTo>
                    <a:pt x="252" y="864"/>
                  </a:lnTo>
                  <a:lnTo>
                    <a:pt x="246" y="858"/>
                  </a:lnTo>
                  <a:lnTo>
                    <a:pt x="246" y="852"/>
                  </a:lnTo>
                  <a:lnTo>
                    <a:pt x="246" y="846"/>
                  </a:lnTo>
                  <a:lnTo>
                    <a:pt x="246" y="840"/>
                  </a:lnTo>
                  <a:lnTo>
                    <a:pt x="246" y="834"/>
                  </a:lnTo>
                  <a:lnTo>
                    <a:pt x="246" y="828"/>
                  </a:lnTo>
                  <a:lnTo>
                    <a:pt x="246" y="822"/>
                  </a:lnTo>
                  <a:lnTo>
                    <a:pt x="240" y="816"/>
                  </a:lnTo>
                  <a:lnTo>
                    <a:pt x="240" y="810"/>
                  </a:lnTo>
                  <a:lnTo>
                    <a:pt x="240" y="804"/>
                  </a:lnTo>
                  <a:lnTo>
                    <a:pt x="240" y="798"/>
                  </a:lnTo>
                  <a:lnTo>
                    <a:pt x="234" y="798"/>
                  </a:lnTo>
                  <a:lnTo>
                    <a:pt x="234" y="792"/>
                  </a:lnTo>
                  <a:lnTo>
                    <a:pt x="234" y="786"/>
                  </a:lnTo>
                  <a:lnTo>
                    <a:pt x="234" y="780"/>
                  </a:lnTo>
                  <a:lnTo>
                    <a:pt x="228" y="780"/>
                  </a:lnTo>
                  <a:lnTo>
                    <a:pt x="228" y="774"/>
                  </a:lnTo>
                  <a:lnTo>
                    <a:pt x="228" y="768"/>
                  </a:lnTo>
                  <a:lnTo>
                    <a:pt x="222" y="762"/>
                  </a:lnTo>
                  <a:lnTo>
                    <a:pt x="222" y="756"/>
                  </a:lnTo>
                  <a:lnTo>
                    <a:pt x="222" y="750"/>
                  </a:lnTo>
                  <a:lnTo>
                    <a:pt x="222" y="744"/>
                  </a:lnTo>
                  <a:lnTo>
                    <a:pt x="222" y="738"/>
                  </a:lnTo>
                  <a:lnTo>
                    <a:pt x="216" y="732"/>
                  </a:lnTo>
                  <a:lnTo>
                    <a:pt x="222" y="732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32"/>
                  </a:lnTo>
                  <a:lnTo>
                    <a:pt x="246" y="732"/>
                  </a:lnTo>
                  <a:lnTo>
                    <a:pt x="246" y="738"/>
                  </a:lnTo>
                  <a:lnTo>
                    <a:pt x="252" y="738"/>
                  </a:lnTo>
                  <a:lnTo>
                    <a:pt x="258" y="738"/>
                  </a:lnTo>
                  <a:lnTo>
                    <a:pt x="258" y="732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8" y="732"/>
                  </a:lnTo>
                  <a:lnTo>
                    <a:pt x="294" y="732"/>
                  </a:lnTo>
                  <a:lnTo>
                    <a:pt x="300" y="732"/>
                  </a:lnTo>
                  <a:lnTo>
                    <a:pt x="300" y="738"/>
                  </a:lnTo>
                  <a:lnTo>
                    <a:pt x="306" y="738"/>
                  </a:lnTo>
                  <a:lnTo>
                    <a:pt x="306" y="744"/>
                  </a:lnTo>
                  <a:lnTo>
                    <a:pt x="306" y="750"/>
                  </a:lnTo>
                  <a:lnTo>
                    <a:pt x="312" y="750"/>
                  </a:lnTo>
                  <a:lnTo>
                    <a:pt x="312" y="756"/>
                  </a:lnTo>
                  <a:lnTo>
                    <a:pt x="318" y="756"/>
                  </a:lnTo>
                  <a:lnTo>
                    <a:pt x="318" y="750"/>
                  </a:lnTo>
                  <a:lnTo>
                    <a:pt x="312" y="750"/>
                  </a:lnTo>
                  <a:lnTo>
                    <a:pt x="312" y="744"/>
                  </a:lnTo>
                  <a:lnTo>
                    <a:pt x="318" y="738"/>
                  </a:lnTo>
                  <a:lnTo>
                    <a:pt x="324" y="738"/>
                  </a:lnTo>
                  <a:lnTo>
                    <a:pt x="330" y="738"/>
                  </a:lnTo>
                  <a:lnTo>
                    <a:pt x="336" y="738"/>
                  </a:lnTo>
                  <a:lnTo>
                    <a:pt x="342" y="738"/>
                  </a:lnTo>
                  <a:lnTo>
                    <a:pt x="348" y="732"/>
                  </a:lnTo>
                  <a:lnTo>
                    <a:pt x="354" y="732"/>
                  </a:lnTo>
                  <a:lnTo>
                    <a:pt x="360" y="732"/>
                  </a:lnTo>
                  <a:lnTo>
                    <a:pt x="360" y="726"/>
                  </a:lnTo>
                  <a:lnTo>
                    <a:pt x="366" y="726"/>
                  </a:lnTo>
                  <a:lnTo>
                    <a:pt x="366" y="720"/>
                  </a:lnTo>
                  <a:lnTo>
                    <a:pt x="366" y="714"/>
                  </a:lnTo>
                  <a:lnTo>
                    <a:pt x="360" y="708"/>
                  </a:lnTo>
                  <a:lnTo>
                    <a:pt x="354" y="708"/>
                  </a:lnTo>
                  <a:lnTo>
                    <a:pt x="348" y="702"/>
                  </a:lnTo>
                  <a:lnTo>
                    <a:pt x="354" y="702"/>
                  </a:lnTo>
                  <a:lnTo>
                    <a:pt x="354" y="696"/>
                  </a:lnTo>
                  <a:lnTo>
                    <a:pt x="348" y="696"/>
                  </a:lnTo>
                  <a:lnTo>
                    <a:pt x="348" y="690"/>
                  </a:lnTo>
                  <a:lnTo>
                    <a:pt x="342" y="690"/>
                  </a:lnTo>
                  <a:lnTo>
                    <a:pt x="342" y="684"/>
                  </a:lnTo>
                  <a:lnTo>
                    <a:pt x="342" y="678"/>
                  </a:lnTo>
                  <a:lnTo>
                    <a:pt x="342" y="666"/>
                  </a:lnTo>
                  <a:lnTo>
                    <a:pt x="342" y="660"/>
                  </a:lnTo>
                  <a:lnTo>
                    <a:pt x="348" y="654"/>
                  </a:lnTo>
                  <a:lnTo>
                    <a:pt x="348" y="642"/>
                  </a:lnTo>
                  <a:lnTo>
                    <a:pt x="354" y="642"/>
                  </a:lnTo>
                  <a:lnTo>
                    <a:pt x="360" y="642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66" y="642"/>
                  </a:lnTo>
                  <a:lnTo>
                    <a:pt x="372" y="642"/>
                  </a:lnTo>
                  <a:lnTo>
                    <a:pt x="378" y="642"/>
                  </a:lnTo>
                  <a:lnTo>
                    <a:pt x="384" y="642"/>
                  </a:lnTo>
                  <a:lnTo>
                    <a:pt x="390" y="642"/>
                  </a:lnTo>
                  <a:lnTo>
                    <a:pt x="396" y="642"/>
                  </a:lnTo>
                  <a:lnTo>
                    <a:pt x="396" y="636"/>
                  </a:lnTo>
                  <a:lnTo>
                    <a:pt x="402" y="636"/>
                  </a:lnTo>
                  <a:lnTo>
                    <a:pt x="408" y="636"/>
                  </a:lnTo>
                  <a:lnTo>
                    <a:pt x="402" y="636"/>
                  </a:lnTo>
                  <a:lnTo>
                    <a:pt x="402" y="630"/>
                  </a:lnTo>
                  <a:lnTo>
                    <a:pt x="408" y="630"/>
                  </a:lnTo>
                  <a:lnTo>
                    <a:pt x="408" y="624"/>
                  </a:lnTo>
                  <a:lnTo>
                    <a:pt x="408" y="618"/>
                  </a:lnTo>
                  <a:lnTo>
                    <a:pt x="414" y="618"/>
                  </a:lnTo>
                  <a:lnTo>
                    <a:pt x="420" y="618"/>
                  </a:lnTo>
                  <a:lnTo>
                    <a:pt x="426" y="624"/>
                  </a:lnTo>
                  <a:lnTo>
                    <a:pt x="432" y="624"/>
                  </a:lnTo>
                  <a:lnTo>
                    <a:pt x="438" y="624"/>
                  </a:lnTo>
                  <a:lnTo>
                    <a:pt x="438" y="618"/>
                  </a:lnTo>
                  <a:lnTo>
                    <a:pt x="444" y="618"/>
                  </a:lnTo>
                  <a:lnTo>
                    <a:pt x="450" y="618"/>
                  </a:lnTo>
                  <a:lnTo>
                    <a:pt x="444" y="618"/>
                  </a:lnTo>
                  <a:lnTo>
                    <a:pt x="438" y="618"/>
                  </a:lnTo>
                  <a:lnTo>
                    <a:pt x="438" y="612"/>
                  </a:lnTo>
                  <a:lnTo>
                    <a:pt x="438" y="618"/>
                  </a:lnTo>
                  <a:lnTo>
                    <a:pt x="432" y="624"/>
                  </a:lnTo>
                  <a:lnTo>
                    <a:pt x="426" y="618"/>
                  </a:lnTo>
                  <a:lnTo>
                    <a:pt x="420" y="612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402" y="624"/>
                  </a:lnTo>
                  <a:lnTo>
                    <a:pt x="396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78" y="630"/>
                  </a:lnTo>
                  <a:lnTo>
                    <a:pt x="378" y="636"/>
                  </a:lnTo>
                  <a:lnTo>
                    <a:pt x="372" y="630"/>
                  </a:lnTo>
                  <a:lnTo>
                    <a:pt x="366" y="630"/>
                  </a:lnTo>
                  <a:lnTo>
                    <a:pt x="360" y="630"/>
                  </a:lnTo>
                  <a:lnTo>
                    <a:pt x="354" y="630"/>
                  </a:lnTo>
                  <a:lnTo>
                    <a:pt x="354" y="636"/>
                  </a:lnTo>
                  <a:lnTo>
                    <a:pt x="348" y="636"/>
                  </a:lnTo>
                  <a:lnTo>
                    <a:pt x="348" y="642"/>
                  </a:lnTo>
                  <a:lnTo>
                    <a:pt x="342" y="642"/>
                  </a:lnTo>
                  <a:lnTo>
                    <a:pt x="342" y="648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6" y="660"/>
                  </a:lnTo>
                  <a:lnTo>
                    <a:pt x="336" y="666"/>
                  </a:lnTo>
                  <a:lnTo>
                    <a:pt x="330" y="672"/>
                  </a:lnTo>
                  <a:lnTo>
                    <a:pt x="330" y="678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24" y="696"/>
                  </a:lnTo>
                  <a:lnTo>
                    <a:pt x="324" y="702"/>
                  </a:lnTo>
                  <a:lnTo>
                    <a:pt x="318" y="702"/>
                  </a:lnTo>
                  <a:lnTo>
                    <a:pt x="318" y="708"/>
                  </a:lnTo>
                  <a:lnTo>
                    <a:pt x="312" y="708"/>
                  </a:lnTo>
                  <a:lnTo>
                    <a:pt x="312" y="702"/>
                  </a:lnTo>
                  <a:lnTo>
                    <a:pt x="306" y="702"/>
                  </a:lnTo>
                  <a:lnTo>
                    <a:pt x="300" y="702"/>
                  </a:lnTo>
                  <a:lnTo>
                    <a:pt x="294" y="696"/>
                  </a:lnTo>
                  <a:lnTo>
                    <a:pt x="288" y="696"/>
                  </a:lnTo>
                  <a:lnTo>
                    <a:pt x="282" y="690"/>
                  </a:lnTo>
                  <a:lnTo>
                    <a:pt x="288" y="684"/>
                  </a:lnTo>
                  <a:lnTo>
                    <a:pt x="294" y="684"/>
                  </a:lnTo>
                  <a:lnTo>
                    <a:pt x="294" y="678"/>
                  </a:lnTo>
                  <a:lnTo>
                    <a:pt x="300" y="678"/>
                  </a:lnTo>
                  <a:lnTo>
                    <a:pt x="294" y="678"/>
                  </a:lnTo>
                  <a:lnTo>
                    <a:pt x="294" y="672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94" y="672"/>
                  </a:lnTo>
                  <a:lnTo>
                    <a:pt x="288" y="678"/>
                  </a:lnTo>
                  <a:lnTo>
                    <a:pt x="282" y="684"/>
                  </a:lnTo>
                  <a:lnTo>
                    <a:pt x="282" y="678"/>
                  </a:lnTo>
                  <a:lnTo>
                    <a:pt x="276" y="678"/>
                  </a:lnTo>
                  <a:lnTo>
                    <a:pt x="282" y="684"/>
                  </a:lnTo>
                  <a:lnTo>
                    <a:pt x="282" y="690"/>
                  </a:lnTo>
                  <a:lnTo>
                    <a:pt x="282" y="696"/>
                  </a:lnTo>
                  <a:lnTo>
                    <a:pt x="288" y="702"/>
                  </a:lnTo>
                  <a:lnTo>
                    <a:pt x="294" y="708"/>
                  </a:lnTo>
                  <a:lnTo>
                    <a:pt x="294" y="714"/>
                  </a:lnTo>
                  <a:lnTo>
                    <a:pt x="288" y="714"/>
                  </a:lnTo>
                  <a:lnTo>
                    <a:pt x="282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64" y="714"/>
                  </a:lnTo>
                  <a:lnTo>
                    <a:pt x="258" y="714"/>
                  </a:lnTo>
                  <a:lnTo>
                    <a:pt x="252" y="714"/>
                  </a:lnTo>
                  <a:lnTo>
                    <a:pt x="246" y="714"/>
                  </a:lnTo>
                  <a:lnTo>
                    <a:pt x="240" y="714"/>
                  </a:lnTo>
                  <a:lnTo>
                    <a:pt x="240" y="708"/>
                  </a:lnTo>
                  <a:lnTo>
                    <a:pt x="234" y="708"/>
                  </a:lnTo>
                  <a:lnTo>
                    <a:pt x="228" y="708"/>
                  </a:lnTo>
                  <a:lnTo>
                    <a:pt x="222" y="702"/>
                  </a:lnTo>
                  <a:lnTo>
                    <a:pt x="216" y="702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2" y="690"/>
                  </a:lnTo>
                  <a:lnTo>
                    <a:pt x="186" y="690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68" y="684"/>
                  </a:lnTo>
                  <a:lnTo>
                    <a:pt x="168" y="678"/>
                  </a:lnTo>
                  <a:lnTo>
                    <a:pt x="156" y="672"/>
                  </a:lnTo>
                  <a:lnTo>
                    <a:pt x="150" y="660"/>
                  </a:lnTo>
                  <a:lnTo>
                    <a:pt x="126" y="630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12"/>
                  </a:lnTo>
                  <a:lnTo>
                    <a:pt x="126" y="606"/>
                  </a:lnTo>
                  <a:lnTo>
                    <a:pt x="126" y="600"/>
                  </a:lnTo>
                  <a:lnTo>
                    <a:pt x="132" y="594"/>
                  </a:lnTo>
                  <a:lnTo>
                    <a:pt x="138" y="594"/>
                  </a:lnTo>
                  <a:lnTo>
                    <a:pt x="144" y="588"/>
                  </a:lnTo>
                  <a:lnTo>
                    <a:pt x="144" y="582"/>
                  </a:lnTo>
                  <a:lnTo>
                    <a:pt x="150" y="582"/>
                  </a:lnTo>
                  <a:lnTo>
                    <a:pt x="150" y="576"/>
                  </a:lnTo>
                  <a:lnTo>
                    <a:pt x="156" y="576"/>
                  </a:lnTo>
                  <a:lnTo>
                    <a:pt x="156" y="582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8" y="576"/>
                  </a:lnTo>
                  <a:lnTo>
                    <a:pt x="174" y="576"/>
                  </a:lnTo>
                  <a:lnTo>
                    <a:pt x="180" y="582"/>
                  </a:lnTo>
                  <a:lnTo>
                    <a:pt x="192" y="582"/>
                  </a:lnTo>
                  <a:lnTo>
                    <a:pt x="198" y="582"/>
                  </a:lnTo>
                  <a:lnTo>
                    <a:pt x="204" y="582"/>
                  </a:lnTo>
                  <a:lnTo>
                    <a:pt x="210" y="582"/>
                  </a:lnTo>
                  <a:lnTo>
                    <a:pt x="216" y="588"/>
                  </a:lnTo>
                  <a:lnTo>
                    <a:pt x="222" y="588"/>
                  </a:lnTo>
                  <a:lnTo>
                    <a:pt x="234" y="588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46" y="594"/>
                  </a:lnTo>
                  <a:lnTo>
                    <a:pt x="252" y="588"/>
                  </a:lnTo>
                  <a:lnTo>
                    <a:pt x="258" y="588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52" y="600"/>
                  </a:lnTo>
                  <a:lnTo>
                    <a:pt x="246" y="600"/>
                  </a:lnTo>
                  <a:lnTo>
                    <a:pt x="246" y="606"/>
                  </a:lnTo>
                  <a:lnTo>
                    <a:pt x="246" y="600"/>
                  </a:lnTo>
                  <a:lnTo>
                    <a:pt x="252" y="600"/>
                  </a:lnTo>
                  <a:lnTo>
                    <a:pt x="258" y="594"/>
                  </a:lnTo>
                  <a:lnTo>
                    <a:pt x="264" y="594"/>
                  </a:lnTo>
                  <a:lnTo>
                    <a:pt x="264" y="588"/>
                  </a:lnTo>
                  <a:lnTo>
                    <a:pt x="270" y="588"/>
                  </a:lnTo>
                  <a:lnTo>
                    <a:pt x="270" y="582"/>
                  </a:lnTo>
                  <a:lnTo>
                    <a:pt x="270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76" y="564"/>
                  </a:lnTo>
                  <a:lnTo>
                    <a:pt x="270" y="558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58"/>
                  </a:lnTo>
                  <a:lnTo>
                    <a:pt x="282" y="558"/>
                  </a:lnTo>
                  <a:lnTo>
                    <a:pt x="288" y="558"/>
                  </a:lnTo>
                  <a:lnTo>
                    <a:pt x="294" y="558"/>
                  </a:lnTo>
                  <a:lnTo>
                    <a:pt x="300" y="558"/>
                  </a:lnTo>
                  <a:lnTo>
                    <a:pt x="306" y="558"/>
                  </a:lnTo>
                  <a:lnTo>
                    <a:pt x="312" y="558"/>
                  </a:lnTo>
                  <a:lnTo>
                    <a:pt x="318" y="558"/>
                  </a:lnTo>
                  <a:lnTo>
                    <a:pt x="318" y="564"/>
                  </a:lnTo>
                  <a:lnTo>
                    <a:pt x="324" y="564"/>
                  </a:lnTo>
                  <a:lnTo>
                    <a:pt x="324" y="570"/>
                  </a:lnTo>
                  <a:lnTo>
                    <a:pt x="330" y="570"/>
                  </a:lnTo>
                  <a:lnTo>
                    <a:pt x="336" y="570"/>
                  </a:lnTo>
                  <a:lnTo>
                    <a:pt x="342" y="570"/>
                  </a:lnTo>
                  <a:lnTo>
                    <a:pt x="348" y="570"/>
                  </a:lnTo>
                  <a:lnTo>
                    <a:pt x="354" y="570"/>
                  </a:lnTo>
                  <a:lnTo>
                    <a:pt x="360" y="570"/>
                  </a:lnTo>
                  <a:lnTo>
                    <a:pt x="366" y="570"/>
                  </a:lnTo>
                  <a:lnTo>
                    <a:pt x="360" y="570"/>
                  </a:lnTo>
                  <a:lnTo>
                    <a:pt x="360" y="564"/>
                  </a:lnTo>
                  <a:lnTo>
                    <a:pt x="354" y="564"/>
                  </a:lnTo>
                  <a:lnTo>
                    <a:pt x="348" y="564"/>
                  </a:lnTo>
                  <a:lnTo>
                    <a:pt x="342" y="564"/>
                  </a:lnTo>
                  <a:lnTo>
                    <a:pt x="342" y="570"/>
                  </a:lnTo>
                  <a:lnTo>
                    <a:pt x="336" y="564"/>
                  </a:lnTo>
                  <a:lnTo>
                    <a:pt x="336" y="570"/>
                  </a:lnTo>
                  <a:lnTo>
                    <a:pt x="336" y="564"/>
                  </a:lnTo>
                  <a:lnTo>
                    <a:pt x="330" y="564"/>
                  </a:lnTo>
                  <a:lnTo>
                    <a:pt x="324" y="558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18" y="558"/>
                  </a:lnTo>
                  <a:lnTo>
                    <a:pt x="312" y="552"/>
                  </a:lnTo>
                  <a:lnTo>
                    <a:pt x="312" y="558"/>
                  </a:lnTo>
                  <a:lnTo>
                    <a:pt x="312" y="552"/>
                  </a:lnTo>
                  <a:lnTo>
                    <a:pt x="306" y="552"/>
                  </a:lnTo>
                  <a:lnTo>
                    <a:pt x="300" y="546"/>
                  </a:lnTo>
                  <a:lnTo>
                    <a:pt x="294" y="546"/>
                  </a:lnTo>
                  <a:lnTo>
                    <a:pt x="288" y="546"/>
                  </a:lnTo>
                  <a:lnTo>
                    <a:pt x="282" y="546"/>
                  </a:lnTo>
                  <a:lnTo>
                    <a:pt x="276" y="546"/>
                  </a:lnTo>
                  <a:lnTo>
                    <a:pt x="276" y="552"/>
                  </a:lnTo>
                  <a:lnTo>
                    <a:pt x="270" y="552"/>
                  </a:lnTo>
                  <a:lnTo>
                    <a:pt x="270" y="558"/>
                  </a:lnTo>
                  <a:lnTo>
                    <a:pt x="270" y="564"/>
                  </a:lnTo>
                  <a:lnTo>
                    <a:pt x="264" y="570"/>
                  </a:lnTo>
                  <a:lnTo>
                    <a:pt x="258" y="576"/>
                  </a:lnTo>
                  <a:lnTo>
                    <a:pt x="258" y="582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34" y="576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16" y="552"/>
                  </a:lnTo>
                  <a:lnTo>
                    <a:pt x="216" y="546"/>
                  </a:lnTo>
                  <a:lnTo>
                    <a:pt x="216" y="540"/>
                  </a:lnTo>
                  <a:lnTo>
                    <a:pt x="222" y="534"/>
                  </a:lnTo>
                  <a:lnTo>
                    <a:pt x="222" y="528"/>
                  </a:lnTo>
                  <a:lnTo>
                    <a:pt x="228" y="522"/>
                  </a:lnTo>
                  <a:lnTo>
                    <a:pt x="228" y="516"/>
                  </a:lnTo>
                  <a:lnTo>
                    <a:pt x="228" y="510"/>
                  </a:lnTo>
                  <a:lnTo>
                    <a:pt x="234" y="510"/>
                  </a:lnTo>
                  <a:lnTo>
                    <a:pt x="240" y="516"/>
                  </a:lnTo>
                  <a:lnTo>
                    <a:pt x="246" y="522"/>
                  </a:lnTo>
                  <a:lnTo>
                    <a:pt x="246" y="516"/>
                  </a:lnTo>
                  <a:lnTo>
                    <a:pt x="240" y="516"/>
                  </a:lnTo>
                  <a:lnTo>
                    <a:pt x="240" y="510"/>
                  </a:lnTo>
                  <a:lnTo>
                    <a:pt x="234" y="510"/>
                  </a:lnTo>
                  <a:lnTo>
                    <a:pt x="234" y="504"/>
                  </a:lnTo>
                  <a:lnTo>
                    <a:pt x="228" y="504"/>
                  </a:lnTo>
                  <a:lnTo>
                    <a:pt x="222" y="504"/>
                  </a:lnTo>
                  <a:lnTo>
                    <a:pt x="222" y="498"/>
                  </a:lnTo>
                  <a:lnTo>
                    <a:pt x="222" y="504"/>
                  </a:lnTo>
                  <a:lnTo>
                    <a:pt x="222" y="510"/>
                  </a:lnTo>
                  <a:lnTo>
                    <a:pt x="222" y="516"/>
                  </a:lnTo>
                  <a:lnTo>
                    <a:pt x="216" y="522"/>
                  </a:lnTo>
                  <a:lnTo>
                    <a:pt x="216" y="528"/>
                  </a:lnTo>
                  <a:lnTo>
                    <a:pt x="210" y="528"/>
                  </a:lnTo>
                  <a:lnTo>
                    <a:pt x="216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04" y="546"/>
                  </a:lnTo>
                  <a:lnTo>
                    <a:pt x="204" y="552"/>
                  </a:lnTo>
                  <a:lnTo>
                    <a:pt x="204" y="558"/>
                  </a:lnTo>
                  <a:lnTo>
                    <a:pt x="204" y="564"/>
                  </a:lnTo>
                  <a:lnTo>
                    <a:pt x="198" y="570"/>
                  </a:lnTo>
                  <a:lnTo>
                    <a:pt x="192" y="564"/>
                  </a:lnTo>
                  <a:lnTo>
                    <a:pt x="186" y="564"/>
                  </a:lnTo>
                  <a:lnTo>
                    <a:pt x="180" y="564"/>
                  </a:lnTo>
                  <a:lnTo>
                    <a:pt x="174" y="564"/>
                  </a:lnTo>
                  <a:lnTo>
                    <a:pt x="168" y="564"/>
                  </a:lnTo>
                  <a:lnTo>
                    <a:pt x="162" y="564"/>
                  </a:lnTo>
                  <a:lnTo>
                    <a:pt x="156" y="570"/>
                  </a:lnTo>
                  <a:lnTo>
                    <a:pt x="150" y="570"/>
                  </a:lnTo>
                  <a:lnTo>
                    <a:pt x="150" y="564"/>
                  </a:lnTo>
                  <a:lnTo>
                    <a:pt x="150" y="570"/>
                  </a:lnTo>
                  <a:lnTo>
                    <a:pt x="150" y="576"/>
                  </a:lnTo>
                  <a:lnTo>
                    <a:pt x="144" y="576"/>
                  </a:lnTo>
                  <a:lnTo>
                    <a:pt x="138" y="576"/>
                  </a:lnTo>
                  <a:lnTo>
                    <a:pt x="132" y="582"/>
                  </a:lnTo>
                  <a:lnTo>
                    <a:pt x="126" y="582"/>
                  </a:lnTo>
                  <a:lnTo>
                    <a:pt x="120" y="582"/>
                  </a:lnTo>
                  <a:lnTo>
                    <a:pt x="114" y="576"/>
                  </a:lnTo>
                  <a:lnTo>
                    <a:pt x="108" y="564"/>
                  </a:lnTo>
                  <a:lnTo>
                    <a:pt x="102" y="558"/>
                  </a:lnTo>
                  <a:lnTo>
                    <a:pt x="96" y="552"/>
                  </a:lnTo>
                  <a:lnTo>
                    <a:pt x="90" y="546"/>
                  </a:lnTo>
                  <a:lnTo>
                    <a:pt x="90" y="540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2"/>
                  </a:lnTo>
                  <a:lnTo>
                    <a:pt x="78" y="516"/>
                  </a:lnTo>
                  <a:lnTo>
                    <a:pt x="72" y="510"/>
                  </a:lnTo>
                  <a:lnTo>
                    <a:pt x="66" y="504"/>
                  </a:lnTo>
                  <a:lnTo>
                    <a:pt x="66" y="498"/>
                  </a:lnTo>
                  <a:lnTo>
                    <a:pt x="66" y="492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6" y="474"/>
                  </a:lnTo>
                  <a:lnTo>
                    <a:pt x="72" y="474"/>
                  </a:lnTo>
                  <a:lnTo>
                    <a:pt x="72" y="468"/>
                  </a:lnTo>
                  <a:lnTo>
                    <a:pt x="78" y="462"/>
                  </a:lnTo>
                  <a:lnTo>
                    <a:pt x="78" y="456"/>
                  </a:lnTo>
                  <a:lnTo>
                    <a:pt x="84" y="456"/>
                  </a:lnTo>
                  <a:lnTo>
                    <a:pt x="84" y="450"/>
                  </a:lnTo>
                  <a:lnTo>
                    <a:pt x="84" y="444"/>
                  </a:lnTo>
                  <a:lnTo>
                    <a:pt x="90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02" y="450"/>
                  </a:lnTo>
                  <a:lnTo>
                    <a:pt x="108" y="450"/>
                  </a:lnTo>
                  <a:lnTo>
                    <a:pt x="108" y="456"/>
                  </a:lnTo>
                  <a:lnTo>
                    <a:pt x="108" y="462"/>
                  </a:lnTo>
                  <a:lnTo>
                    <a:pt x="114" y="462"/>
                  </a:lnTo>
                  <a:lnTo>
                    <a:pt x="114" y="468"/>
                  </a:lnTo>
                  <a:lnTo>
                    <a:pt x="114" y="474"/>
                  </a:lnTo>
                  <a:lnTo>
                    <a:pt x="114" y="480"/>
                  </a:lnTo>
                  <a:lnTo>
                    <a:pt x="114" y="486"/>
                  </a:lnTo>
                  <a:lnTo>
                    <a:pt x="120" y="486"/>
                  </a:lnTo>
                  <a:lnTo>
                    <a:pt x="126" y="486"/>
                  </a:lnTo>
                  <a:lnTo>
                    <a:pt x="132" y="486"/>
                  </a:lnTo>
                  <a:lnTo>
                    <a:pt x="126" y="480"/>
                  </a:lnTo>
                  <a:lnTo>
                    <a:pt x="120" y="480"/>
                  </a:lnTo>
                  <a:lnTo>
                    <a:pt x="114" y="480"/>
                  </a:lnTo>
                  <a:lnTo>
                    <a:pt x="120" y="480"/>
                  </a:lnTo>
                  <a:lnTo>
                    <a:pt x="120" y="474"/>
                  </a:lnTo>
                  <a:lnTo>
                    <a:pt x="120" y="468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108" y="450"/>
                  </a:lnTo>
                  <a:lnTo>
                    <a:pt x="108" y="444"/>
                  </a:lnTo>
                  <a:lnTo>
                    <a:pt x="114" y="438"/>
                  </a:lnTo>
                  <a:lnTo>
                    <a:pt x="120" y="438"/>
                  </a:lnTo>
                  <a:lnTo>
                    <a:pt x="120" y="432"/>
                  </a:lnTo>
                  <a:lnTo>
                    <a:pt x="132" y="426"/>
                  </a:lnTo>
                  <a:lnTo>
                    <a:pt x="138" y="420"/>
                  </a:lnTo>
                  <a:lnTo>
                    <a:pt x="144" y="420"/>
                  </a:lnTo>
                  <a:lnTo>
                    <a:pt x="144" y="414"/>
                  </a:lnTo>
                  <a:lnTo>
                    <a:pt x="144" y="420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6" y="414"/>
                  </a:lnTo>
                  <a:lnTo>
                    <a:pt x="162" y="414"/>
                  </a:lnTo>
                  <a:lnTo>
                    <a:pt x="162" y="408"/>
                  </a:lnTo>
                  <a:lnTo>
                    <a:pt x="168" y="408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86" y="396"/>
                  </a:lnTo>
                  <a:lnTo>
                    <a:pt x="186" y="390"/>
                  </a:lnTo>
                  <a:lnTo>
                    <a:pt x="192" y="390"/>
                  </a:lnTo>
                  <a:lnTo>
                    <a:pt x="198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210" y="378"/>
                  </a:lnTo>
                  <a:lnTo>
                    <a:pt x="210" y="372"/>
                  </a:lnTo>
                  <a:lnTo>
                    <a:pt x="216" y="372"/>
                  </a:lnTo>
                  <a:lnTo>
                    <a:pt x="222" y="366"/>
                  </a:lnTo>
                  <a:lnTo>
                    <a:pt x="228" y="360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6" y="348"/>
                  </a:lnTo>
                  <a:lnTo>
                    <a:pt x="252" y="348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0" y="342"/>
                  </a:lnTo>
                  <a:lnTo>
                    <a:pt x="234" y="342"/>
                  </a:lnTo>
                  <a:lnTo>
                    <a:pt x="228" y="336"/>
                  </a:lnTo>
                  <a:lnTo>
                    <a:pt x="222" y="336"/>
                  </a:lnTo>
                  <a:lnTo>
                    <a:pt x="216" y="336"/>
                  </a:lnTo>
                  <a:lnTo>
                    <a:pt x="222" y="324"/>
                  </a:lnTo>
                  <a:lnTo>
                    <a:pt x="222" y="318"/>
                  </a:lnTo>
                  <a:lnTo>
                    <a:pt x="222" y="312"/>
                  </a:lnTo>
                  <a:lnTo>
                    <a:pt x="234" y="318"/>
                  </a:lnTo>
                  <a:lnTo>
                    <a:pt x="246" y="318"/>
                  </a:lnTo>
                  <a:lnTo>
                    <a:pt x="258" y="318"/>
                  </a:lnTo>
                  <a:lnTo>
                    <a:pt x="270" y="312"/>
                  </a:lnTo>
                  <a:lnTo>
                    <a:pt x="276" y="312"/>
                  </a:lnTo>
                  <a:lnTo>
                    <a:pt x="288" y="324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94" y="306"/>
                  </a:lnTo>
                  <a:lnTo>
                    <a:pt x="300" y="300"/>
                  </a:lnTo>
                  <a:lnTo>
                    <a:pt x="306" y="306"/>
                  </a:lnTo>
                  <a:lnTo>
                    <a:pt x="312" y="318"/>
                  </a:lnTo>
                  <a:lnTo>
                    <a:pt x="318" y="312"/>
                  </a:lnTo>
                  <a:lnTo>
                    <a:pt x="324" y="312"/>
                  </a:lnTo>
                  <a:lnTo>
                    <a:pt x="330" y="312"/>
                  </a:lnTo>
                  <a:lnTo>
                    <a:pt x="342" y="306"/>
                  </a:lnTo>
                  <a:lnTo>
                    <a:pt x="348" y="306"/>
                  </a:lnTo>
                  <a:lnTo>
                    <a:pt x="348" y="312"/>
                  </a:lnTo>
                  <a:lnTo>
                    <a:pt x="348" y="318"/>
                  </a:lnTo>
                  <a:lnTo>
                    <a:pt x="354" y="318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60" y="336"/>
                  </a:lnTo>
                  <a:lnTo>
                    <a:pt x="366" y="330"/>
                  </a:lnTo>
                  <a:lnTo>
                    <a:pt x="378" y="324"/>
                  </a:lnTo>
                  <a:lnTo>
                    <a:pt x="384" y="324"/>
                  </a:lnTo>
                  <a:lnTo>
                    <a:pt x="384" y="318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6"/>
                  </a:lnTo>
                  <a:lnTo>
                    <a:pt x="402" y="306"/>
                  </a:lnTo>
                  <a:lnTo>
                    <a:pt x="408" y="306"/>
                  </a:lnTo>
                  <a:lnTo>
                    <a:pt x="414" y="300"/>
                  </a:lnTo>
                  <a:lnTo>
                    <a:pt x="420" y="300"/>
                  </a:lnTo>
                  <a:lnTo>
                    <a:pt x="426" y="300"/>
                  </a:lnTo>
                  <a:lnTo>
                    <a:pt x="432" y="300"/>
                  </a:lnTo>
                  <a:lnTo>
                    <a:pt x="444" y="288"/>
                  </a:lnTo>
                  <a:lnTo>
                    <a:pt x="450" y="294"/>
                  </a:lnTo>
                  <a:lnTo>
                    <a:pt x="468" y="300"/>
                  </a:lnTo>
                  <a:lnTo>
                    <a:pt x="498" y="312"/>
                  </a:lnTo>
                  <a:lnTo>
                    <a:pt x="504" y="324"/>
                  </a:lnTo>
                  <a:lnTo>
                    <a:pt x="516" y="330"/>
                  </a:lnTo>
                  <a:lnTo>
                    <a:pt x="516" y="336"/>
                  </a:lnTo>
                  <a:lnTo>
                    <a:pt x="540" y="342"/>
                  </a:lnTo>
                  <a:lnTo>
                    <a:pt x="558" y="372"/>
                  </a:lnTo>
                  <a:lnTo>
                    <a:pt x="594" y="384"/>
                  </a:lnTo>
                  <a:lnTo>
                    <a:pt x="606" y="402"/>
                  </a:lnTo>
                  <a:lnTo>
                    <a:pt x="600" y="420"/>
                  </a:lnTo>
                  <a:lnTo>
                    <a:pt x="588" y="444"/>
                  </a:lnTo>
                  <a:lnTo>
                    <a:pt x="588" y="450"/>
                  </a:lnTo>
                  <a:lnTo>
                    <a:pt x="588" y="456"/>
                  </a:lnTo>
                  <a:lnTo>
                    <a:pt x="594" y="456"/>
                  </a:lnTo>
                  <a:lnTo>
                    <a:pt x="594" y="462"/>
                  </a:lnTo>
                  <a:lnTo>
                    <a:pt x="594" y="468"/>
                  </a:lnTo>
                  <a:lnTo>
                    <a:pt x="594" y="474"/>
                  </a:lnTo>
                  <a:lnTo>
                    <a:pt x="600" y="474"/>
                  </a:lnTo>
                  <a:lnTo>
                    <a:pt x="606" y="480"/>
                  </a:lnTo>
                  <a:lnTo>
                    <a:pt x="606" y="486"/>
                  </a:lnTo>
                  <a:lnTo>
                    <a:pt x="612" y="486"/>
                  </a:lnTo>
                  <a:lnTo>
                    <a:pt x="618" y="486"/>
                  </a:lnTo>
                  <a:lnTo>
                    <a:pt x="624" y="486"/>
                  </a:lnTo>
                  <a:lnTo>
                    <a:pt x="636" y="486"/>
                  </a:lnTo>
                  <a:lnTo>
                    <a:pt x="642" y="486"/>
                  </a:lnTo>
                  <a:lnTo>
                    <a:pt x="648" y="480"/>
                  </a:lnTo>
                  <a:lnTo>
                    <a:pt x="654" y="474"/>
                  </a:lnTo>
                  <a:lnTo>
                    <a:pt x="660" y="468"/>
                  </a:lnTo>
                  <a:lnTo>
                    <a:pt x="666" y="468"/>
                  </a:lnTo>
                  <a:lnTo>
                    <a:pt x="684" y="468"/>
                  </a:lnTo>
                  <a:lnTo>
                    <a:pt x="696" y="468"/>
                  </a:lnTo>
                  <a:lnTo>
                    <a:pt x="696" y="462"/>
                  </a:lnTo>
                  <a:lnTo>
                    <a:pt x="702" y="456"/>
                  </a:lnTo>
                  <a:lnTo>
                    <a:pt x="708" y="450"/>
                  </a:lnTo>
                  <a:lnTo>
                    <a:pt x="714" y="450"/>
                  </a:lnTo>
                  <a:lnTo>
                    <a:pt x="720" y="450"/>
                  </a:lnTo>
                  <a:lnTo>
                    <a:pt x="720" y="438"/>
                  </a:lnTo>
                  <a:lnTo>
                    <a:pt x="726" y="432"/>
                  </a:lnTo>
                  <a:lnTo>
                    <a:pt x="738" y="420"/>
                  </a:lnTo>
                  <a:lnTo>
                    <a:pt x="744" y="420"/>
                  </a:lnTo>
                  <a:lnTo>
                    <a:pt x="750" y="414"/>
                  </a:lnTo>
                  <a:lnTo>
                    <a:pt x="762" y="408"/>
                  </a:lnTo>
                  <a:lnTo>
                    <a:pt x="768" y="408"/>
                  </a:lnTo>
                  <a:lnTo>
                    <a:pt x="768" y="402"/>
                  </a:lnTo>
                  <a:lnTo>
                    <a:pt x="780" y="396"/>
                  </a:lnTo>
                  <a:lnTo>
                    <a:pt x="786" y="396"/>
                  </a:lnTo>
                  <a:lnTo>
                    <a:pt x="786" y="390"/>
                  </a:lnTo>
                  <a:lnTo>
                    <a:pt x="792" y="384"/>
                  </a:lnTo>
                  <a:lnTo>
                    <a:pt x="792" y="378"/>
                  </a:lnTo>
                  <a:lnTo>
                    <a:pt x="798" y="366"/>
                  </a:lnTo>
                  <a:lnTo>
                    <a:pt x="804" y="360"/>
                  </a:lnTo>
                  <a:lnTo>
                    <a:pt x="816" y="342"/>
                  </a:lnTo>
                  <a:lnTo>
                    <a:pt x="816" y="312"/>
                  </a:lnTo>
                  <a:lnTo>
                    <a:pt x="804" y="300"/>
                  </a:lnTo>
                  <a:lnTo>
                    <a:pt x="798" y="288"/>
                  </a:lnTo>
                  <a:lnTo>
                    <a:pt x="762" y="264"/>
                  </a:lnTo>
                  <a:lnTo>
                    <a:pt x="738" y="234"/>
                  </a:lnTo>
                  <a:lnTo>
                    <a:pt x="738" y="222"/>
                  </a:lnTo>
                  <a:lnTo>
                    <a:pt x="744" y="210"/>
                  </a:lnTo>
                  <a:lnTo>
                    <a:pt x="732" y="174"/>
                  </a:lnTo>
                  <a:lnTo>
                    <a:pt x="714" y="156"/>
                  </a:lnTo>
                  <a:lnTo>
                    <a:pt x="708" y="144"/>
                  </a:lnTo>
                  <a:lnTo>
                    <a:pt x="714" y="126"/>
                  </a:lnTo>
                  <a:lnTo>
                    <a:pt x="720" y="114"/>
                  </a:lnTo>
                  <a:lnTo>
                    <a:pt x="732" y="102"/>
                  </a:lnTo>
                  <a:lnTo>
                    <a:pt x="744" y="102"/>
                  </a:lnTo>
                  <a:lnTo>
                    <a:pt x="762" y="108"/>
                  </a:lnTo>
                  <a:lnTo>
                    <a:pt x="774" y="114"/>
                  </a:lnTo>
                  <a:lnTo>
                    <a:pt x="780" y="138"/>
                  </a:lnTo>
                  <a:lnTo>
                    <a:pt x="786" y="144"/>
                  </a:lnTo>
                  <a:lnTo>
                    <a:pt x="798" y="138"/>
                  </a:lnTo>
                  <a:lnTo>
                    <a:pt x="804" y="132"/>
                  </a:lnTo>
                  <a:lnTo>
                    <a:pt x="816" y="120"/>
                  </a:lnTo>
                  <a:lnTo>
                    <a:pt x="816" y="108"/>
                  </a:lnTo>
                  <a:lnTo>
                    <a:pt x="828" y="102"/>
                  </a:lnTo>
                  <a:lnTo>
                    <a:pt x="828" y="96"/>
                  </a:lnTo>
                  <a:lnTo>
                    <a:pt x="840" y="96"/>
                  </a:lnTo>
                  <a:lnTo>
                    <a:pt x="840" y="84"/>
                  </a:lnTo>
                  <a:lnTo>
                    <a:pt x="852" y="90"/>
                  </a:lnTo>
                  <a:lnTo>
                    <a:pt x="852" y="96"/>
                  </a:lnTo>
                  <a:lnTo>
                    <a:pt x="870" y="90"/>
                  </a:lnTo>
                  <a:lnTo>
                    <a:pt x="894" y="78"/>
                  </a:lnTo>
                  <a:lnTo>
                    <a:pt x="912" y="78"/>
                  </a:lnTo>
                  <a:lnTo>
                    <a:pt x="942" y="66"/>
                  </a:lnTo>
                  <a:lnTo>
                    <a:pt x="942" y="60"/>
                  </a:lnTo>
                  <a:lnTo>
                    <a:pt x="954" y="48"/>
                  </a:lnTo>
                  <a:lnTo>
                    <a:pt x="966" y="30"/>
                  </a:lnTo>
                  <a:lnTo>
                    <a:pt x="978" y="30"/>
                  </a:lnTo>
                  <a:lnTo>
                    <a:pt x="978" y="24"/>
                  </a:lnTo>
                  <a:lnTo>
                    <a:pt x="984" y="12"/>
                  </a:lnTo>
                  <a:lnTo>
                    <a:pt x="990" y="12"/>
                  </a:lnTo>
                  <a:lnTo>
                    <a:pt x="996" y="12"/>
                  </a:lnTo>
                  <a:lnTo>
                    <a:pt x="1014" y="6"/>
                  </a:lnTo>
                  <a:lnTo>
                    <a:pt x="1026" y="6"/>
                  </a:lnTo>
                  <a:lnTo>
                    <a:pt x="1044" y="6"/>
                  </a:lnTo>
                  <a:lnTo>
                    <a:pt x="1050" y="6"/>
                  </a:lnTo>
                  <a:lnTo>
                    <a:pt x="1056" y="6"/>
                  </a:lnTo>
                  <a:lnTo>
                    <a:pt x="1062" y="6"/>
                  </a:lnTo>
                  <a:lnTo>
                    <a:pt x="1068" y="6"/>
                  </a:lnTo>
                  <a:lnTo>
                    <a:pt x="1074" y="6"/>
                  </a:lnTo>
                  <a:lnTo>
                    <a:pt x="1080" y="6"/>
                  </a:lnTo>
                  <a:lnTo>
                    <a:pt x="1086" y="0"/>
                  </a:lnTo>
                  <a:lnTo>
                    <a:pt x="1092" y="30"/>
                  </a:lnTo>
                  <a:lnTo>
                    <a:pt x="1098" y="60"/>
                  </a:lnTo>
                  <a:lnTo>
                    <a:pt x="1110" y="84"/>
                  </a:lnTo>
                  <a:lnTo>
                    <a:pt x="1122" y="114"/>
                  </a:lnTo>
                  <a:lnTo>
                    <a:pt x="1128" y="144"/>
                  </a:lnTo>
                  <a:lnTo>
                    <a:pt x="1122" y="156"/>
                  </a:lnTo>
                  <a:lnTo>
                    <a:pt x="1128" y="168"/>
                  </a:lnTo>
                  <a:lnTo>
                    <a:pt x="1134" y="186"/>
                  </a:lnTo>
                  <a:lnTo>
                    <a:pt x="1140" y="204"/>
                  </a:lnTo>
                  <a:lnTo>
                    <a:pt x="1146" y="210"/>
                  </a:lnTo>
                  <a:lnTo>
                    <a:pt x="1146" y="216"/>
                  </a:lnTo>
                  <a:lnTo>
                    <a:pt x="1146" y="228"/>
                  </a:lnTo>
                  <a:lnTo>
                    <a:pt x="1146" y="234"/>
                  </a:lnTo>
                  <a:lnTo>
                    <a:pt x="1140" y="246"/>
                  </a:lnTo>
                  <a:lnTo>
                    <a:pt x="1128" y="258"/>
                  </a:lnTo>
                  <a:lnTo>
                    <a:pt x="1116" y="264"/>
                  </a:lnTo>
                  <a:lnTo>
                    <a:pt x="1110" y="276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2" y="312"/>
                  </a:lnTo>
                  <a:lnTo>
                    <a:pt x="1116" y="324"/>
                  </a:lnTo>
                  <a:lnTo>
                    <a:pt x="1104" y="336"/>
                  </a:lnTo>
                  <a:lnTo>
                    <a:pt x="1104" y="354"/>
                  </a:lnTo>
                  <a:lnTo>
                    <a:pt x="1098" y="372"/>
                  </a:lnTo>
                  <a:lnTo>
                    <a:pt x="1092" y="384"/>
                  </a:lnTo>
                  <a:lnTo>
                    <a:pt x="1086" y="390"/>
                  </a:lnTo>
                  <a:lnTo>
                    <a:pt x="1086" y="402"/>
                  </a:lnTo>
                  <a:lnTo>
                    <a:pt x="1080" y="414"/>
                  </a:lnTo>
                  <a:lnTo>
                    <a:pt x="1074" y="426"/>
                  </a:lnTo>
                  <a:lnTo>
                    <a:pt x="1074" y="450"/>
                  </a:lnTo>
                  <a:lnTo>
                    <a:pt x="1074" y="462"/>
                  </a:lnTo>
                  <a:lnTo>
                    <a:pt x="1068" y="474"/>
                  </a:lnTo>
                  <a:lnTo>
                    <a:pt x="1062" y="486"/>
                  </a:lnTo>
                  <a:lnTo>
                    <a:pt x="1056" y="498"/>
                  </a:lnTo>
                  <a:close/>
                  <a:moveTo>
                    <a:pt x="186" y="378"/>
                  </a:moveTo>
                  <a:lnTo>
                    <a:pt x="186" y="384"/>
                  </a:lnTo>
                  <a:lnTo>
                    <a:pt x="180" y="390"/>
                  </a:lnTo>
                  <a:lnTo>
                    <a:pt x="174" y="396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14"/>
                  </a:lnTo>
                  <a:lnTo>
                    <a:pt x="126" y="414"/>
                  </a:lnTo>
                  <a:lnTo>
                    <a:pt x="120" y="414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2" y="426"/>
                  </a:lnTo>
                  <a:lnTo>
                    <a:pt x="102" y="432"/>
                  </a:lnTo>
                  <a:lnTo>
                    <a:pt x="96" y="432"/>
                  </a:lnTo>
                  <a:lnTo>
                    <a:pt x="90" y="432"/>
                  </a:lnTo>
                  <a:lnTo>
                    <a:pt x="84" y="438"/>
                  </a:lnTo>
                  <a:lnTo>
                    <a:pt x="78" y="438"/>
                  </a:lnTo>
                  <a:lnTo>
                    <a:pt x="78" y="444"/>
                  </a:lnTo>
                  <a:lnTo>
                    <a:pt x="72" y="444"/>
                  </a:lnTo>
                  <a:lnTo>
                    <a:pt x="72" y="450"/>
                  </a:lnTo>
                  <a:lnTo>
                    <a:pt x="66" y="456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48" y="468"/>
                  </a:lnTo>
                  <a:lnTo>
                    <a:pt x="42" y="468"/>
                  </a:lnTo>
                  <a:lnTo>
                    <a:pt x="42" y="462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8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0" y="396"/>
                  </a:lnTo>
                  <a:lnTo>
                    <a:pt x="6" y="384"/>
                  </a:lnTo>
                  <a:lnTo>
                    <a:pt x="18" y="372"/>
                  </a:lnTo>
                  <a:lnTo>
                    <a:pt x="30" y="348"/>
                  </a:lnTo>
                  <a:lnTo>
                    <a:pt x="30" y="342"/>
                  </a:lnTo>
                  <a:lnTo>
                    <a:pt x="42" y="330"/>
                  </a:lnTo>
                  <a:lnTo>
                    <a:pt x="42" y="324"/>
                  </a:lnTo>
                  <a:lnTo>
                    <a:pt x="48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60" y="282"/>
                  </a:lnTo>
                  <a:lnTo>
                    <a:pt x="60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2" y="258"/>
                  </a:lnTo>
                  <a:lnTo>
                    <a:pt x="84" y="246"/>
                  </a:lnTo>
                  <a:lnTo>
                    <a:pt x="90" y="234"/>
                  </a:lnTo>
                  <a:lnTo>
                    <a:pt x="96" y="234"/>
                  </a:lnTo>
                  <a:lnTo>
                    <a:pt x="96" y="228"/>
                  </a:lnTo>
                  <a:lnTo>
                    <a:pt x="102" y="222"/>
                  </a:lnTo>
                  <a:lnTo>
                    <a:pt x="102" y="228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14" y="228"/>
                  </a:lnTo>
                  <a:lnTo>
                    <a:pt x="114" y="234"/>
                  </a:lnTo>
                  <a:lnTo>
                    <a:pt x="120" y="228"/>
                  </a:lnTo>
                  <a:lnTo>
                    <a:pt x="120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26" y="228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8" y="234"/>
                  </a:lnTo>
                  <a:lnTo>
                    <a:pt x="144" y="234"/>
                  </a:lnTo>
                  <a:lnTo>
                    <a:pt x="144" y="228"/>
                  </a:lnTo>
                  <a:lnTo>
                    <a:pt x="150" y="228"/>
                  </a:lnTo>
                  <a:lnTo>
                    <a:pt x="156" y="228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46"/>
                  </a:lnTo>
                  <a:lnTo>
                    <a:pt x="162" y="240"/>
                  </a:lnTo>
                  <a:lnTo>
                    <a:pt x="162" y="246"/>
                  </a:lnTo>
                  <a:lnTo>
                    <a:pt x="162" y="258"/>
                  </a:lnTo>
                  <a:lnTo>
                    <a:pt x="162" y="264"/>
                  </a:lnTo>
                  <a:lnTo>
                    <a:pt x="156" y="270"/>
                  </a:lnTo>
                  <a:lnTo>
                    <a:pt x="162" y="270"/>
                  </a:lnTo>
                  <a:lnTo>
                    <a:pt x="162" y="282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86" y="288"/>
                  </a:lnTo>
                  <a:lnTo>
                    <a:pt x="186" y="294"/>
                  </a:lnTo>
                  <a:lnTo>
                    <a:pt x="180" y="300"/>
                  </a:lnTo>
                  <a:lnTo>
                    <a:pt x="174" y="318"/>
                  </a:lnTo>
                  <a:lnTo>
                    <a:pt x="174" y="324"/>
                  </a:lnTo>
                  <a:lnTo>
                    <a:pt x="168" y="330"/>
                  </a:lnTo>
                  <a:lnTo>
                    <a:pt x="168" y="342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74" y="360"/>
                  </a:lnTo>
                  <a:lnTo>
                    <a:pt x="180" y="366"/>
                  </a:lnTo>
                  <a:lnTo>
                    <a:pt x="186" y="3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8" name="Freeform 23">
              <a:extLst>
                <a:ext uri="{FF2B5EF4-FFF2-40B4-BE49-F238E27FC236}">
                  <a16:creationId xmlns:a16="http://schemas.microsoft.com/office/drawing/2014/main" id="{A539A33E-3F6E-4AF7-BD88-1853165307F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6312" y="3604793"/>
              <a:ext cx="581410" cy="621747"/>
            </a:xfrm>
            <a:custGeom>
              <a:avLst/>
              <a:gdLst>
                <a:gd name="T0" fmla="*/ 90 w 1092"/>
                <a:gd name="T1" fmla="*/ 60 h 1170"/>
                <a:gd name="T2" fmla="*/ 83 w 1092"/>
                <a:gd name="T3" fmla="*/ 62 h 1170"/>
                <a:gd name="T4" fmla="*/ 72 w 1092"/>
                <a:gd name="T5" fmla="*/ 68 h 1170"/>
                <a:gd name="T6" fmla="*/ 68 w 1092"/>
                <a:gd name="T7" fmla="*/ 71 h 1170"/>
                <a:gd name="T8" fmla="*/ 61 w 1092"/>
                <a:gd name="T9" fmla="*/ 69 h 1170"/>
                <a:gd name="T10" fmla="*/ 64 w 1092"/>
                <a:gd name="T11" fmla="*/ 82 h 1170"/>
                <a:gd name="T12" fmla="*/ 67 w 1092"/>
                <a:gd name="T13" fmla="*/ 93 h 1170"/>
                <a:gd name="T14" fmla="*/ 62 w 1092"/>
                <a:gd name="T15" fmla="*/ 96 h 1170"/>
                <a:gd name="T16" fmla="*/ 59 w 1092"/>
                <a:gd name="T17" fmla="*/ 99 h 1170"/>
                <a:gd name="T18" fmla="*/ 53 w 1092"/>
                <a:gd name="T19" fmla="*/ 101 h 1170"/>
                <a:gd name="T20" fmla="*/ 50 w 1092"/>
                <a:gd name="T21" fmla="*/ 100 h 1170"/>
                <a:gd name="T22" fmla="*/ 50 w 1092"/>
                <a:gd name="T23" fmla="*/ 93 h 1170"/>
                <a:gd name="T24" fmla="*/ 37 w 1092"/>
                <a:gd name="T25" fmla="*/ 85 h 1170"/>
                <a:gd name="T26" fmla="*/ 32 w 1092"/>
                <a:gd name="T27" fmla="*/ 86 h 1170"/>
                <a:gd name="T28" fmla="*/ 29 w 1092"/>
                <a:gd name="T29" fmla="*/ 88 h 1170"/>
                <a:gd name="T30" fmla="*/ 27 w 1092"/>
                <a:gd name="T31" fmla="*/ 86 h 1170"/>
                <a:gd name="T32" fmla="*/ 23 w 1092"/>
                <a:gd name="T33" fmla="*/ 87 h 1170"/>
                <a:gd name="T34" fmla="*/ 17 w 1092"/>
                <a:gd name="T35" fmla="*/ 87 h 1170"/>
                <a:gd name="T36" fmla="*/ 18 w 1092"/>
                <a:gd name="T37" fmla="*/ 89 h 1170"/>
                <a:gd name="T38" fmla="*/ 16 w 1092"/>
                <a:gd name="T39" fmla="*/ 92 h 1170"/>
                <a:gd name="T40" fmla="*/ 12 w 1092"/>
                <a:gd name="T41" fmla="*/ 89 h 1170"/>
                <a:gd name="T42" fmla="*/ 13 w 1092"/>
                <a:gd name="T43" fmla="*/ 84 h 1170"/>
                <a:gd name="T44" fmla="*/ 12 w 1092"/>
                <a:gd name="T45" fmla="*/ 80 h 1170"/>
                <a:gd name="T46" fmla="*/ 10 w 1092"/>
                <a:gd name="T47" fmla="*/ 80 h 1170"/>
                <a:gd name="T48" fmla="*/ 8 w 1092"/>
                <a:gd name="T49" fmla="*/ 79 h 1170"/>
                <a:gd name="T50" fmla="*/ 6 w 1092"/>
                <a:gd name="T51" fmla="*/ 78 h 1170"/>
                <a:gd name="T52" fmla="*/ 6 w 1092"/>
                <a:gd name="T53" fmla="*/ 77 h 1170"/>
                <a:gd name="T54" fmla="*/ 4 w 1092"/>
                <a:gd name="T55" fmla="*/ 75 h 1170"/>
                <a:gd name="T56" fmla="*/ 0 w 1092"/>
                <a:gd name="T57" fmla="*/ 72 h 1170"/>
                <a:gd name="T58" fmla="*/ 0 w 1092"/>
                <a:gd name="T59" fmla="*/ 69 h 1170"/>
                <a:gd name="T60" fmla="*/ 3 w 1092"/>
                <a:gd name="T61" fmla="*/ 67 h 1170"/>
                <a:gd name="T62" fmla="*/ 6 w 1092"/>
                <a:gd name="T63" fmla="*/ 62 h 1170"/>
                <a:gd name="T64" fmla="*/ 8 w 1092"/>
                <a:gd name="T65" fmla="*/ 58 h 1170"/>
                <a:gd name="T66" fmla="*/ 5 w 1092"/>
                <a:gd name="T67" fmla="*/ 54 h 1170"/>
                <a:gd name="T68" fmla="*/ 6 w 1092"/>
                <a:gd name="T69" fmla="*/ 50 h 1170"/>
                <a:gd name="T70" fmla="*/ 8 w 1092"/>
                <a:gd name="T71" fmla="*/ 46 h 1170"/>
                <a:gd name="T72" fmla="*/ 10 w 1092"/>
                <a:gd name="T73" fmla="*/ 43 h 1170"/>
                <a:gd name="T74" fmla="*/ 14 w 1092"/>
                <a:gd name="T75" fmla="*/ 38 h 1170"/>
                <a:gd name="T76" fmla="*/ 31 w 1092"/>
                <a:gd name="T77" fmla="*/ 40 h 1170"/>
                <a:gd name="T78" fmla="*/ 30 w 1092"/>
                <a:gd name="T79" fmla="*/ 46 h 1170"/>
                <a:gd name="T80" fmla="*/ 36 w 1092"/>
                <a:gd name="T81" fmla="*/ 47 h 1170"/>
                <a:gd name="T82" fmla="*/ 41 w 1092"/>
                <a:gd name="T83" fmla="*/ 44 h 1170"/>
                <a:gd name="T84" fmla="*/ 43 w 1092"/>
                <a:gd name="T85" fmla="*/ 39 h 1170"/>
                <a:gd name="T86" fmla="*/ 44 w 1092"/>
                <a:gd name="T87" fmla="*/ 35 h 1170"/>
                <a:gd name="T88" fmla="*/ 44 w 1092"/>
                <a:gd name="T89" fmla="*/ 29 h 1170"/>
                <a:gd name="T90" fmla="*/ 48 w 1092"/>
                <a:gd name="T91" fmla="*/ 24 h 1170"/>
                <a:gd name="T92" fmla="*/ 49 w 1092"/>
                <a:gd name="T93" fmla="*/ 19 h 1170"/>
                <a:gd name="T94" fmla="*/ 51 w 1092"/>
                <a:gd name="T95" fmla="*/ 14 h 1170"/>
                <a:gd name="T96" fmla="*/ 54 w 1092"/>
                <a:gd name="T97" fmla="*/ 10 h 1170"/>
                <a:gd name="T98" fmla="*/ 53 w 1092"/>
                <a:gd name="T99" fmla="*/ 7 h 1170"/>
                <a:gd name="T100" fmla="*/ 55 w 1092"/>
                <a:gd name="T101" fmla="*/ 3 h 1170"/>
                <a:gd name="T102" fmla="*/ 58 w 1092"/>
                <a:gd name="T103" fmla="*/ 0 h 1170"/>
                <a:gd name="T104" fmla="*/ 65 w 1092"/>
                <a:gd name="T105" fmla="*/ 2 h 1170"/>
                <a:gd name="T106" fmla="*/ 61 w 1092"/>
                <a:gd name="T107" fmla="*/ 6 h 1170"/>
                <a:gd name="T108" fmla="*/ 67 w 1092"/>
                <a:gd name="T109" fmla="*/ 7 h 1170"/>
                <a:gd name="T110" fmla="*/ 71 w 1092"/>
                <a:gd name="T111" fmla="*/ 6 h 1170"/>
                <a:gd name="T112" fmla="*/ 75 w 1092"/>
                <a:gd name="T113" fmla="*/ 9 h 1170"/>
                <a:gd name="T114" fmla="*/ 82 w 1092"/>
                <a:gd name="T115" fmla="*/ 12 h 1170"/>
                <a:gd name="T116" fmla="*/ 84 w 1092"/>
                <a:gd name="T117" fmla="*/ 17 h 1170"/>
                <a:gd name="T118" fmla="*/ 94 w 1092"/>
                <a:gd name="T119" fmla="*/ 23 h 1170"/>
                <a:gd name="T120" fmla="*/ 94 w 1092"/>
                <a:gd name="T121" fmla="*/ 34 h 1170"/>
                <a:gd name="T122" fmla="*/ 90 w 1092"/>
                <a:gd name="T123" fmla="*/ 41 h 1170"/>
                <a:gd name="T124" fmla="*/ 91 w 1092"/>
                <a:gd name="T125" fmla="*/ 51 h 11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92"/>
                <a:gd name="T190" fmla="*/ 0 h 1170"/>
                <a:gd name="T191" fmla="*/ 1092 w 1092"/>
                <a:gd name="T192" fmla="*/ 1170 h 117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92" h="1170">
                  <a:moveTo>
                    <a:pt x="1056" y="654"/>
                  </a:moveTo>
                  <a:lnTo>
                    <a:pt x="1062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0"/>
                  </a:lnTo>
                  <a:lnTo>
                    <a:pt x="1038" y="690"/>
                  </a:lnTo>
                  <a:lnTo>
                    <a:pt x="1032" y="690"/>
                  </a:lnTo>
                  <a:lnTo>
                    <a:pt x="1026" y="690"/>
                  </a:lnTo>
                  <a:lnTo>
                    <a:pt x="1020" y="690"/>
                  </a:lnTo>
                  <a:lnTo>
                    <a:pt x="1002" y="690"/>
                  </a:lnTo>
                  <a:lnTo>
                    <a:pt x="990" y="690"/>
                  </a:lnTo>
                  <a:lnTo>
                    <a:pt x="972" y="696"/>
                  </a:lnTo>
                  <a:lnTo>
                    <a:pt x="966" y="696"/>
                  </a:lnTo>
                  <a:lnTo>
                    <a:pt x="960" y="696"/>
                  </a:lnTo>
                  <a:lnTo>
                    <a:pt x="954" y="708"/>
                  </a:lnTo>
                  <a:lnTo>
                    <a:pt x="954" y="714"/>
                  </a:lnTo>
                  <a:lnTo>
                    <a:pt x="942" y="714"/>
                  </a:lnTo>
                  <a:lnTo>
                    <a:pt x="930" y="732"/>
                  </a:lnTo>
                  <a:lnTo>
                    <a:pt x="918" y="744"/>
                  </a:lnTo>
                  <a:lnTo>
                    <a:pt x="918" y="750"/>
                  </a:lnTo>
                  <a:lnTo>
                    <a:pt x="888" y="762"/>
                  </a:lnTo>
                  <a:lnTo>
                    <a:pt x="870" y="762"/>
                  </a:lnTo>
                  <a:lnTo>
                    <a:pt x="846" y="774"/>
                  </a:lnTo>
                  <a:lnTo>
                    <a:pt x="828" y="780"/>
                  </a:lnTo>
                  <a:lnTo>
                    <a:pt x="828" y="774"/>
                  </a:lnTo>
                  <a:lnTo>
                    <a:pt x="816" y="768"/>
                  </a:lnTo>
                  <a:lnTo>
                    <a:pt x="816" y="780"/>
                  </a:lnTo>
                  <a:lnTo>
                    <a:pt x="804" y="780"/>
                  </a:lnTo>
                  <a:lnTo>
                    <a:pt x="804" y="786"/>
                  </a:lnTo>
                  <a:lnTo>
                    <a:pt x="792" y="792"/>
                  </a:lnTo>
                  <a:lnTo>
                    <a:pt x="792" y="804"/>
                  </a:lnTo>
                  <a:lnTo>
                    <a:pt x="780" y="816"/>
                  </a:lnTo>
                  <a:lnTo>
                    <a:pt x="774" y="822"/>
                  </a:lnTo>
                  <a:lnTo>
                    <a:pt x="762" y="828"/>
                  </a:lnTo>
                  <a:lnTo>
                    <a:pt x="756" y="822"/>
                  </a:lnTo>
                  <a:lnTo>
                    <a:pt x="750" y="798"/>
                  </a:lnTo>
                  <a:lnTo>
                    <a:pt x="738" y="792"/>
                  </a:lnTo>
                  <a:lnTo>
                    <a:pt x="720" y="786"/>
                  </a:lnTo>
                  <a:lnTo>
                    <a:pt x="708" y="786"/>
                  </a:lnTo>
                  <a:lnTo>
                    <a:pt x="696" y="798"/>
                  </a:lnTo>
                  <a:lnTo>
                    <a:pt x="690" y="810"/>
                  </a:lnTo>
                  <a:lnTo>
                    <a:pt x="684" y="828"/>
                  </a:lnTo>
                  <a:lnTo>
                    <a:pt x="690" y="840"/>
                  </a:lnTo>
                  <a:lnTo>
                    <a:pt x="708" y="858"/>
                  </a:lnTo>
                  <a:lnTo>
                    <a:pt x="720" y="894"/>
                  </a:lnTo>
                  <a:lnTo>
                    <a:pt x="714" y="906"/>
                  </a:lnTo>
                  <a:lnTo>
                    <a:pt x="714" y="918"/>
                  </a:lnTo>
                  <a:lnTo>
                    <a:pt x="738" y="948"/>
                  </a:lnTo>
                  <a:lnTo>
                    <a:pt x="774" y="972"/>
                  </a:lnTo>
                  <a:lnTo>
                    <a:pt x="780" y="984"/>
                  </a:lnTo>
                  <a:lnTo>
                    <a:pt x="792" y="996"/>
                  </a:lnTo>
                  <a:lnTo>
                    <a:pt x="792" y="1026"/>
                  </a:lnTo>
                  <a:lnTo>
                    <a:pt x="780" y="1044"/>
                  </a:lnTo>
                  <a:lnTo>
                    <a:pt x="774" y="1050"/>
                  </a:lnTo>
                  <a:lnTo>
                    <a:pt x="768" y="1062"/>
                  </a:lnTo>
                  <a:lnTo>
                    <a:pt x="768" y="1068"/>
                  </a:lnTo>
                  <a:lnTo>
                    <a:pt x="762" y="1074"/>
                  </a:lnTo>
                  <a:lnTo>
                    <a:pt x="762" y="1080"/>
                  </a:lnTo>
                  <a:lnTo>
                    <a:pt x="756" y="1080"/>
                  </a:lnTo>
                  <a:lnTo>
                    <a:pt x="744" y="1086"/>
                  </a:lnTo>
                  <a:lnTo>
                    <a:pt x="744" y="1092"/>
                  </a:lnTo>
                  <a:lnTo>
                    <a:pt x="738" y="1092"/>
                  </a:lnTo>
                  <a:lnTo>
                    <a:pt x="726" y="1098"/>
                  </a:lnTo>
                  <a:lnTo>
                    <a:pt x="720" y="1104"/>
                  </a:lnTo>
                  <a:lnTo>
                    <a:pt x="714" y="1104"/>
                  </a:lnTo>
                  <a:lnTo>
                    <a:pt x="702" y="1116"/>
                  </a:lnTo>
                  <a:lnTo>
                    <a:pt x="696" y="1122"/>
                  </a:lnTo>
                  <a:lnTo>
                    <a:pt x="696" y="1134"/>
                  </a:lnTo>
                  <a:lnTo>
                    <a:pt x="690" y="1134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72" y="1146"/>
                  </a:lnTo>
                  <a:lnTo>
                    <a:pt x="672" y="1152"/>
                  </a:lnTo>
                  <a:lnTo>
                    <a:pt x="660" y="1152"/>
                  </a:lnTo>
                  <a:lnTo>
                    <a:pt x="642" y="1152"/>
                  </a:lnTo>
                  <a:lnTo>
                    <a:pt x="636" y="1152"/>
                  </a:lnTo>
                  <a:lnTo>
                    <a:pt x="630" y="1158"/>
                  </a:lnTo>
                  <a:lnTo>
                    <a:pt x="624" y="1164"/>
                  </a:lnTo>
                  <a:lnTo>
                    <a:pt x="618" y="1170"/>
                  </a:lnTo>
                  <a:lnTo>
                    <a:pt x="612" y="1170"/>
                  </a:lnTo>
                  <a:lnTo>
                    <a:pt x="600" y="1170"/>
                  </a:lnTo>
                  <a:lnTo>
                    <a:pt x="594" y="1170"/>
                  </a:lnTo>
                  <a:lnTo>
                    <a:pt x="588" y="1170"/>
                  </a:lnTo>
                  <a:lnTo>
                    <a:pt x="582" y="1170"/>
                  </a:lnTo>
                  <a:lnTo>
                    <a:pt x="582" y="1164"/>
                  </a:lnTo>
                  <a:lnTo>
                    <a:pt x="576" y="1158"/>
                  </a:lnTo>
                  <a:lnTo>
                    <a:pt x="570" y="1158"/>
                  </a:lnTo>
                  <a:lnTo>
                    <a:pt x="570" y="1152"/>
                  </a:lnTo>
                  <a:lnTo>
                    <a:pt x="570" y="1146"/>
                  </a:lnTo>
                  <a:lnTo>
                    <a:pt x="570" y="1140"/>
                  </a:lnTo>
                  <a:lnTo>
                    <a:pt x="564" y="1140"/>
                  </a:lnTo>
                  <a:lnTo>
                    <a:pt x="564" y="1134"/>
                  </a:lnTo>
                  <a:lnTo>
                    <a:pt x="564" y="1128"/>
                  </a:lnTo>
                  <a:lnTo>
                    <a:pt x="576" y="1104"/>
                  </a:lnTo>
                  <a:lnTo>
                    <a:pt x="582" y="1086"/>
                  </a:lnTo>
                  <a:lnTo>
                    <a:pt x="570" y="1068"/>
                  </a:lnTo>
                  <a:lnTo>
                    <a:pt x="534" y="1056"/>
                  </a:lnTo>
                  <a:lnTo>
                    <a:pt x="516" y="1026"/>
                  </a:lnTo>
                  <a:lnTo>
                    <a:pt x="492" y="1020"/>
                  </a:lnTo>
                  <a:lnTo>
                    <a:pt x="492" y="1014"/>
                  </a:lnTo>
                  <a:lnTo>
                    <a:pt x="480" y="1008"/>
                  </a:lnTo>
                  <a:lnTo>
                    <a:pt x="474" y="996"/>
                  </a:lnTo>
                  <a:lnTo>
                    <a:pt x="444" y="984"/>
                  </a:lnTo>
                  <a:lnTo>
                    <a:pt x="426" y="978"/>
                  </a:lnTo>
                  <a:lnTo>
                    <a:pt x="420" y="972"/>
                  </a:lnTo>
                  <a:lnTo>
                    <a:pt x="408" y="984"/>
                  </a:lnTo>
                  <a:lnTo>
                    <a:pt x="402" y="984"/>
                  </a:lnTo>
                  <a:lnTo>
                    <a:pt x="396" y="984"/>
                  </a:lnTo>
                  <a:lnTo>
                    <a:pt x="390" y="984"/>
                  </a:lnTo>
                  <a:lnTo>
                    <a:pt x="384" y="990"/>
                  </a:lnTo>
                  <a:lnTo>
                    <a:pt x="378" y="990"/>
                  </a:lnTo>
                  <a:lnTo>
                    <a:pt x="372" y="990"/>
                  </a:lnTo>
                  <a:lnTo>
                    <a:pt x="372" y="996"/>
                  </a:lnTo>
                  <a:lnTo>
                    <a:pt x="366" y="996"/>
                  </a:lnTo>
                  <a:lnTo>
                    <a:pt x="360" y="1002"/>
                  </a:lnTo>
                  <a:lnTo>
                    <a:pt x="360" y="1008"/>
                  </a:lnTo>
                  <a:lnTo>
                    <a:pt x="354" y="1008"/>
                  </a:lnTo>
                  <a:lnTo>
                    <a:pt x="342" y="1014"/>
                  </a:lnTo>
                  <a:lnTo>
                    <a:pt x="336" y="1020"/>
                  </a:lnTo>
                  <a:lnTo>
                    <a:pt x="336" y="1014"/>
                  </a:lnTo>
                  <a:lnTo>
                    <a:pt x="330" y="1014"/>
                  </a:lnTo>
                  <a:lnTo>
                    <a:pt x="330" y="1008"/>
                  </a:lnTo>
                  <a:lnTo>
                    <a:pt x="330" y="1002"/>
                  </a:lnTo>
                  <a:lnTo>
                    <a:pt x="324" y="1002"/>
                  </a:lnTo>
                  <a:lnTo>
                    <a:pt x="324" y="996"/>
                  </a:lnTo>
                  <a:lnTo>
                    <a:pt x="324" y="990"/>
                  </a:lnTo>
                  <a:lnTo>
                    <a:pt x="318" y="990"/>
                  </a:lnTo>
                  <a:lnTo>
                    <a:pt x="306" y="996"/>
                  </a:lnTo>
                  <a:lnTo>
                    <a:pt x="300" y="996"/>
                  </a:lnTo>
                  <a:lnTo>
                    <a:pt x="294" y="996"/>
                  </a:lnTo>
                  <a:lnTo>
                    <a:pt x="288" y="1002"/>
                  </a:lnTo>
                  <a:lnTo>
                    <a:pt x="282" y="990"/>
                  </a:lnTo>
                  <a:lnTo>
                    <a:pt x="276" y="984"/>
                  </a:lnTo>
                  <a:lnTo>
                    <a:pt x="270" y="990"/>
                  </a:lnTo>
                  <a:lnTo>
                    <a:pt x="270" y="996"/>
                  </a:lnTo>
                  <a:lnTo>
                    <a:pt x="270" y="1002"/>
                  </a:lnTo>
                  <a:lnTo>
                    <a:pt x="264" y="1008"/>
                  </a:lnTo>
                  <a:lnTo>
                    <a:pt x="252" y="996"/>
                  </a:lnTo>
                  <a:lnTo>
                    <a:pt x="246" y="996"/>
                  </a:lnTo>
                  <a:lnTo>
                    <a:pt x="234" y="1002"/>
                  </a:lnTo>
                  <a:lnTo>
                    <a:pt x="222" y="1002"/>
                  </a:lnTo>
                  <a:lnTo>
                    <a:pt x="210" y="1002"/>
                  </a:lnTo>
                  <a:lnTo>
                    <a:pt x="198" y="996"/>
                  </a:lnTo>
                  <a:lnTo>
                    <a:pt x="198" y="1002"/>
                  </a:lnTo>
                  <a:lnTo>
                    <a:pt x="198" y="1008"/>
                  </a:lnTo>
                  <a:lnTo>
                    <a:pt x="192" y="1020"/>
                  </a:lnTo>
                  <a:lnTo>
                    <a:pt x="198" y="1020"/>
                  </a:lnTo>
                  <a:lnTo>
                    <a:pt x="204" y="1020"/>
                  </a:lnTo>
                  <a:lnTo>
                    <a:pt x="210" y="1026"/>
                  </a:lnTo>
                  <a:lnTo>
                    <a:pt x="216" y="1026"/>
                  </a:lnTo>
                  <a:lnTo>
                    <a:pt x="216" y="1032"/>
                  </a:lnTo>
                  <a:lnTo>
                    <a:pt x="210" y="1032"/>
                  </a:lnTo>
                  <a:lnTo>
                    <a:pt x="210" y="1038"/>
                  </a:lnTo>
                  <a:lnTo>
                    <a:pt x="204" y="1038"/>
                  </a:lnTo>
                  <a:lnTo>
                    <a:pt x="204" y="1044"/>
                  </a:lnTo>
                  <a:lnTo>
                    <a:pt x="198" y="1044"/>
                  </a:lnTo>
                  <a:lnTo>
                    <a:pt x="192" y="1044"/>
                  </a:lnTo>
                  <a:lnTo>
                    <a:pt x="186" y="1050"/>
                  </a:lnTo>
                  <a:lnTo>
                    <a:pt x="186" y="1056"/>
                  </a:lnTo>
                  <a:lnTo>
                    <a:pt x="180" y="1056"/>
                  </a:lnTo>
                  <a:lnTo>
                    <a:pt x="180" y="1062"/>
                  </a:lnTo>
                  <a:lnTo>
                    <a:pt x="174" y="1062"/>
                  </a:lnTo>
                  <a:lnTo>
                    <a:pt x="168" y="1062"/>
                  </a:lnTo>
                  <a:lnTo>
                    <a:pt x="162" y="1062"/>
                  </a:lnTo>
                  <a:lnTo>
                    <a:pt x="156" y="1050"/>
                  </a:lnTo>
                  <a:lnTo>
                    <a:pt x="150" y="1044"/>
                  </a:lnTo>
                  <a:lnTo>
                    <a:pt x="150" y="1038"/>
                  </a:lnTo>
                  <a:lnTo>
                    <a:pt x="144" y="1032"/>
                  </a:lnTo>
                  <a:lnTo>
                    <a:pt x="144" y="1026"/>
                  </a:lnTo>
                  <a:lnTo>
                    <a:pt x="144" y="1014"/>
                  </a:lnTo>
                  <a:lnTo>
                    <a:pt x="150" y="1008"/>
                  </a:lnTo>
                  <a:lnTo>
                    <a:pt x="150" y="1002"/>
                  </a:lnTo>
                  <a:lnTo>
                    <a:pt x="156" y="984"/>
                  </a:lnTo>
                  <a:lnTo>
                    <a:pt x="162" y="978"/>
                  </a:lnTo>
                  <a:lnTo>
                    <a:pt x="162" y="972"/>
                  </a:lnTo>
                  <a:lnTo>
                    <a:pt x="150" y="966"/>
                  </a:lnTo>
                  <a:lnTo>
                    <a:pt x="144" y="966"/>
                  </a:lnTo>
                  <a:lnTo>
                    <a:pt x="138" y="966"/>
                  </a:lnTo>
                  <a:lnTo>
                    <a:pt x="138" y="954"/>
                  </a:lnTo>
                  <a:lnTo>
                    <a:pt x="132" y="954"/>
                  </a:lnTo>
                  <a:lnTo>
                    <a:pt x="138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8" y="924"/>
                  </a:lnTo>
                  <a:lnTo>
                    <a:pt x="132" y="930"/>
                  </a:lnTo>
                  <a:lnTo>
                    <a:pt x="132" y="924"/>
                  </a:lnTo>
                  <a:lnTo>
                    <a:pt x="126" y="918"/>
                  </a:lnTo>
                  <a:lnTo>
                    <a:pt x="132" y="918"/>
                  </a:lnTo>
                  <a:lnTo>
                    <a:pt x="132" y="912"/>
                  </a:lnTo>
                  <a:lnTo>
                    <a:pt x="126" y="912"/>
                  </a:lnTo>
                  <a:lnTo>
                    <a:pt x="120" y="912"/>
                  </a:lnTo>
                  <a:lnTo>
                    <a:pt x="120" y="918"/>
                  </a:lnTo>
                  <a:lnTo>
                    <a:pt x="114" y="918"/>
                  </a:lnTo>
                  <a:lnTo>
                    <a:pt x="114" y="912"/>
                  </a:lnTo>
                  <a:lnTo>
                    <a:pt x="108" y="912"/>
                  </a:lnTo>
                  <a:lnTo>
                    <a:pt x="102" y="912"/>
                  </a:lnTo>
                  <a:lnTo>
                    <a:pt x="108" y="906"/>
                  </a:lnTo>
                  <a:lnTo>
                    <a:pt x="102" y="906"/>
                  </a:lnTo>
                  <a:lnTo>
                    <a:pt x="96" y="906"/>
                  </a:lnTo>
                  <a:lnTo>
                    <a:pt x="96" y="912"/>
                  </a:lnTo>
                  <a:lnTo>
                    <a:pt x="90" y="918"/>
                  </a:lnTo>
                  <a:lnTo>
                    <a:pt x="90" y="912"/>
                  </a:lnTo>
                  <a:lnTo>
                    <a:pt x="84" y="912"/>
                  </a:lnTo>
                  <a:lnTo>
                    <a:pt x="84" y="918"/>
                  </a:lnTo>
                  <a:lnTo>
                    <a:pt x="78" y="918"/>
                  </a:lnTo>
                  <a:lnTo>
                    <a:pt x="78" y="912"/>
                  </a:lnTo>
                  <a:lnTo>
                    <a:pt x="78" y="906"/>
                  </a:lnTo>
                  <a:lnTo>
                    <a:pt x="72" y="900"/>
                  </a:lnTo>
                  <a:lnTo>
                    <a:pt x="78" y="900"/>
                  </a:lnTo>
                  <a:lnTo>
                    <a:pt x="72" y="900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8" y="888"/>
                  </a:lnTo>
                  <a:lnTo>
                    <a:pt x="72" y="888"/>
                  </a:lnTo>
                  <a:lnTo>
                    <a:pt x="72" y="882"/>
                  </a:lnTo>
                  <a:lnTo>
                    <a:pt x="66" y="876"/>
                  </a:lnTo>
                  <a:lnTo>
                    <a:pt x="60" y="882"/>
                  </a:lnTo>
                  <a:lnTo>
                    <a:pt x="54" y="876"/>
                  </a:lnTo>
                  <a:lnTo>
                    <a:pt x="54" y="882"/>
                  </a:lnTo>
                  <a:lnTo>
                    <a:pt x="48" y="882"/>
                  </a:lnTo>
                  <a:lnTo>
                    <a:pt x="42" y="870"/>
                  </a:lnTo>
                  <a:lnTo>
                    <a:pt x="42" y="864"/>
                  </a:lnTo>
                  <a:lnTo>
                    <a:pt x="36" y="858"/>
                  </a:lnTo>
                  <a:lnTo>
                    <a:pt x="36" y="852"/>
                  </a:lnTo>
                  <a:lnTo>
                    <a:pt x="30" y="852"/>
                  </a:lnTo>
                  <a:lnTo>
                    <a:pt x="30" y="846"/>
                  </a:lnTo>
                  <a:lnTo>
                    <a:pt x="24" y="846"/>
                  </a:lnTo>
                  <a:lnTo>
                    <a:pt x="18" y="840"/>
                  </a:lnTo>
                  <a:lnTo>
                    <a:pt x="12" y="834"/>
                  </a:lnTo>
                  <a:lnTo>
                    <a:pt x="0" y="828"/>
                  </a:lnTo>
                  <a:lnTo>
                    <a:pt x="0" y="822"/>
                  </a:lnTo>
                  <a:lnTo>
                    <a:pt x="0" y="816"/>
                  </a:lnTo>
                  <a:lnTo>
                    <a:pt x="0" y="810"/>
                  </a:lnTo>
                  <a:lnTo>
                    <a:pt x="6" y="804"/>
                  </a:lnTo>
                  <a:lnTo>
                    <a:pt x="12" y="804"/>
                  </a:lnTo>
                  <a:lnTo>
                    <a:pt x="12" y="798"/>
                  </a:lnTo>
                  <a:lnTo>
                    <a:pt x="12" y="792"/>
                  </a:lnTo>
                  <a:lnTo>
                    <a:pt x="6" y="792"/>
                  </a:lnTo>
                  <a:lnTo>
                    <a:pt x="6" y="786"/>
                  </a:lnTo>
                  <a:lnTo>
                    <a:pt x="6" y="780"/>
                  </a:lnTo>
                  <a:lnTo>
                    <a:pt x="18" y="780"/>
                  </a:lnTo>
                  <a:lnTo>
                    <a:pt x="18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0" y="774"/>
                  </a:lnTo>
                  <a:lnTo>
                    <a:pt x="36" y="768"/>
                  </a:lnTo>
                  <a:lnTo>
                    <a:pt x="42" y="768"/>
                  </a:lnTo>
                  <a:lnTo>
                    <a:pt x="60" y="750"/>
                  </a:lnTo>
                  <a:lnTo>
                    <a:pt x="60" y="744"/>
                  </a:lnTo>
                  <a:lnTo>
                    <a:pt x="54" y="738"/>
                  </a:lnTo>
                  <a:lnTo>
                    <a:pt x="60" y="732"/>
                  </a:lnTo>
                  <a:lnTo>
                    <a:pt x="54" y="732"/>
                  </a:lnTo>
                  <a:lnTo>
                    <a:pt x="60" y="726"/>
                  </a:lnTo>
                  <a:lnTo>
                    <a:pt x="66" y="720"/>
                  </a:lnTo>
                  <a:lnTo>
                    <a:pt x="72" y="714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84" y="696"/>
                  </a:lnTo>
                  <a:lnTo>
                    <a:pt x="90" y="684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66"/>
                  </a:lnTo>
                  <a:lnTo>
                    <a:pt x="90" y="660"/>
                  </a:lnTo>
                  <a:lnTo>
                    <a:pt x="84" y="654"/>
                  </a:lnTo>
                  <a:lnTo>
                    <a:pt x="84" y="648"/>
                  </a:lnTo>
                  <a:lnTo>
                    <a:pt x="78" y="636"/>
                  </a:lnTo>
                  <a:lnTo>
                    <a:pt x="66" y="630"/>
                  </a:lnTo>
                  <a:lnTo>
                    <a:pt x="66" y="624"/>
                  </a:lnTo>
                  <a:lnTo>
                    <a:pt x="60" y="624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60" y="600"/>
                  </a:lnTo>
                  <a:lnTo>
                    <a:pt x="66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6" y="588"/>
                  </a:lnTo>
                  <a:lnTo>
                    <a:pt x="66" y="582"/>
                  </a:lnTo>
                  <a:lnTo>
                    <a:pt x="72" y="582"/>
                  </a:lnTo>
                  <a:lnTo>
                    <a:pt x="78" y="576"/>
                  </a:lnTo>
                  <a:lnTo>
                    <a:pt x="72" y="576"/>
                  </a:lnTo>
                  <a:lnTo>
                    <a:pt x="66" y="570"/>
                  </a:lnTo>
                  <a:lnTo>
                    <a:pt x="72" y="564"/>
                  </a:lnTo>
                  <a:lnTo>
                    <a:pt x="78" y="558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90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102" y="516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0" y="504"/>
                  </a:lnTo>
                  <a:lnTo>
                    <a:pt x="120" y="498"/>
                  </a:lnTo>
                  <a:lnTo>
                    <a:pt x="120" y="492"/>
                  </a:lnTo>
                  <a:lnTo>
                    <a:pt x="126" y="480"/>
                  </a:lnTo>
                  <a:lnTo>
                    <a:pt x="132" y="474"/>
                  </a:lnTo>
                  <a:lnTo>
                    <a:pt x="132" y="468"/>
                  </a:lnTo>
                  <a:lnTo>
                    <a:pt x="138" y="462"/>
                  </a:lnTo>
                  <a:lnTo>
                    <a:pt x="138" y="456"/>
                  </a:lnTo>
                  <a:lnTo>
                    <a:pt x="138" y="450"/>
                  </a:lnTo>
                  <a:lnTo>
                    <a:pt x="144" y="444"/>
                  </a:lnTo>
                  <a:lnTo>
                    <a:pt x="162" y="438"/>
                  </a:lnTo>
                  <a:lnTo>
                    <a:pt x="186" y="438"/>
                  </a:lnTo>
                  <a:lnTo>
                    <a:pt x="210" y="444"/>
                  </a:lnTo>
                  <a:lnTo>
                    <a:pt x="276" y="450"/>
                  </a:lnTo>
                  <a:lnTo>
                    <a:pt x="342" y="450"/>
                  </a:lnTo>
                  <a:lnTo>
                    <a:pt x="348" y="450"/>
                  </a:lnTo>
                  <a:lnTo>
                    <a:pt x="354" y="450"/>
                  </a:lnTo>
                  <a:lnTo>
                    <a:pt x="360" y="456"/>
                  </a:lnTo>
                  <a:lnTo>
                    <a:pt x="354" y="462"/>
                  </a:lnTo>
                  <a:lnTo>
                    <a:pt x="354" y="468"/>
                  </a:lnTo>
                  <a:lnTo>
                    <a:pt x="354" y="474"/>
                  </a:lnTo>
                  <a:lnTo>
                    <a:pt x="348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48" y="498"/>
                  </a:lnTo>
                  <a:lnTo>
                    <a:pt x="342" y="510"/>
                  </a:lnTo>
                  <a:lnTo>
                    <a:pt x="348" y="528"/>
                  </a:lnTo>
                  <a:lnTo>
                    <a:pt x="348" y="534"/>
                  </a:lnTo>
                  <a:lnTo>
                    <a:pt x="354" y="552"/>
                  </a:lnTo>
                  <a:lnTo>
                    <a:pt x="366" y="546"/>
                  </a:lnTo>
                  <a:lnTo>
                    <a:pt x="372" y="540"/>
                  </a:lnTo>
                  <a:lnTo>
                    <a:pt x="384" y="540"/>
                  </a:lnTo>
                  <a:lnTo>
                    <a:pt x="396" y="534"/>
                  </a:lnTo>
                  <a:lnTo>
                    <a:pt x="402" y="534"/>
                  </a:lnTo>
                  <a:lnTo>
                    <a:pt x="414" y="546"/>
                  </a:lnTo>
                  <a:lnTo>
                    <a:pt x="432" y="540"/>
                  </a:lnTo>
                  <a:lnTo>
                    <a:pt x="450" y="534"/>
                  </a:lnTo>
                  <a:lnTo>
                    <a:pt x="450" y="528"/>
                  </a:lnTo>
                  <a:lnTo>
                    <a:pt x="456" y="528"/>
                  </a:lnTo>
                  <a:lnTo>
                    <a:pt x="456" y="522"/>
                  </a:lnTo>
                  <a:lnTo>
                    <a:pt x="456" y="516"/>
                  </a:lnTo>
                  <a:lnTo>
                    <a:pt x="462" y="516"/>
                  </a:lnTo>
                  <a:lnTo>
                    <a:pt x="468" y="510"/>
                  </a:lnTo>
                  <a:lnTo>
                    <a:pt x="468" y="504"/>
                  </a:lnTo>
                  <a:lnTo>
                    <a:pt x="474" y="504"/>
                  </a:lnTo>
                  <a:lnTo>
                    <a:pt x="480" y="504"/>
                  </a:lnTo>
                  <a:lnTo>
                    <a:pt x="486" y="498"/>
                  </a:lnTo>
                  <a:lnTo>
                    <a:pt x="492" y="498"/>
                  </a:lnTo>
                  <a:lnTo>
                    <a:pt x="486" y="480"/>
                  </a:lnTo>
                  <a:lnTo>
                    <a:pt x="492" y="462"/>
                  </a:lnTo>
                  <a:lnTo>
                    <a:pt x="498" y="444"/>
                  </a:lnTo>
                  <a:lnTo>
                    <a:pt x="498" y="426"/>
                  </a:lnTo>
                  <a:lnTo>
                    <a:pt x="498" y="420"/>
                  </a:lnTo>
                  <a:lnTo>
                    <a:pt x="504" y="426"/>
                  </a:lnTo>
                  <a:lnTo>
                    <a:pt x="504" y="420"/>
                  </a:lnTo>
                  <a:lnTo>
                    <a:pt x="510" y="420"/>
                  </a:lnTo>
                  <a:lnTo>
                    <a:pt x="510" y="414"/>
                  </a:lnTo>
                  <a:lnTo>
                    <a:pt x="510" y="408"/>
                  </a:lnTo>
                  <a:lnTo>
                    <a:pt x="504" y="402"/>
                  </a:lnTo>
                  <a:lnTo>
                    <a:pt x="504" y="396"/>
                  </a:lnTo>
                  <a:lnTo>
                    <a:pt x="504" y="384"/>
                  </a:lnTo>
                  <a:lnTo>
                    <a:pt x="504" y="378"/>
                  </a:lnTo>
                  <a:lnTo>
                    <a:pt x="504" y="360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510" y="348"/>
                  </a:lnTo>
                  <a:lnTo>
                    <a:pt x="510" y="336"/>
                  </a:lnTo>
                  <a:lnTo>
                    <a:pt x="516" y="330"/>
                  </a:lnTo>
                  <a:lnTo>
                    <a:pt x="522" y="324"/>
                  </a:lnTo>
                  <a:lnTo>
                    <a:pt x="528" y="318"/>
                  </a:lnTo>
                  <a:lnTo>
                    <a:pt x="534" y="312"/>
                  </a:lnTo>
                  <a:lnTo>
                    <a:pt x="534" y="300"/>
                  </a:lnTo>
                  <a:lnTo>
                    <a:pt x="540" y="294"/>
                  </a:lnTo>
                  <a:lnTo>
                    <a:pt x="546" y="288"/>
                  </a:lnTo>
                  <a:lnTo>
                    <a:pt x="552" y="276"/>
                  </a:lnTo>
                  <a:lnTo>
                    <a:pt x="558" y="264"/>
                  </a:lnTo>
                  <a:lnTo>
                    <a:pt x="558" y="258"/>
                  </a:lnTo>
                  <a:lnTo>
                    <a:pt x="558" y="252"/>
                  </a:lnTo>
                  <a:lnTo>
                    <a:pt x="558" y="246"/>
                  </a:lnTo>
                  <a:lnTo>
                    <a:pt x="564" y="246"/>
                  </a:lnTo>
                  <a:lnTo>
                    <a:pt x="564" y="240"/>
                  </a:lnTo>
                  <a:lnTo>
                    <a:pt x="570" y="234"/>
                  </a:lnTo>
                  <a:lnTo>
                    <a:pt x="564" y="216"/>
                  </a:lnTo>
                  <a:lnTo>
                    <a:pt x="564" y="210"/>
                  </a:lnTo>
                  <a:lnTo>
                    <a:pt x="570" y="210"/>
                  </a:lnTo>
                  <a:lnTo>
                    <a:pt x="570" y="204"/>
                  </a:lnTo>
                  <a:lnTo>
                    <a:pt x="570" y="198"/>
                  </a:lnTo>
                  <a:lnTo>
                    <a:pt x="582" y="180"/>
                  </a:lnTo>
                  <a:lnTo>
                    <a:pt x="582" y="174"/>
                  </a:lnTo>
                  <a:lnTo>
                    <a:pt x="582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606" y="150"/>
                  </a:lnTo>
                  <a:lnTo>
                    <a:pt x="612" y="150"/>
                  </a:lnTo>
                  <a:lnTo>
                    <a:pt x="618" y="150"/>
                  </a:lnTo>
                  <a:lnTo>
                    <a:pt x="624" y="138"/>
                  </a:lnTo>
                  <a:lnTo>
                    <a:pt x="618" y="132"/>
                  </a:lnTo>
                  <a:lnTo>
                    <a:pt x="618" y="126"/>
                  </a:lnTo>
                  <a:lnTo>
                    <a:pt x="618" y="120"/>
                  </a:lnTo>
                  <a:lnTo>
                    <a:pt x="618" y="114"/>
                  </a:lnTo>
                  <a:lnTo>
                    <a:pt x="612" y="108"/>
                  </a:lnTo>
                  <a:lnTo>
                    <a:pt x="612" y="102"/>
                  </a:lnTo>
                  <a:lnTo>
                    <a:pt x="618" y="90"/>
                  </a:lnTo>
                  <a:lnTo>
                    <a:pt x="624" y="84"/>
                  </a:lnTo>
                  <a:lnTo>
                    <a:pt x="618" y="84"/>
                  </a:lnTo>
                  <a:lnTo>
                    <a:pt x="618" y="78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0" y="72"/>
                  </a:lnTo>
                  <a:lnTo>
                    <a:pt x="600" y="66"/>
                  </a:lnTo>
                  <a:lnTo>
                    <a:pt x="600" y="60"/>
                  </a:lnTo>
                  <a:lnTo>
                    <a:pt x="600" y="48"/>
                  </a:lnTo>
                  <a:lnTo>
                    <a:pt x="612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36"/>
                  </a:lnTo>
                  <a:lnTo>
                    <a:pt x="630" y="30"/>
                  </a:lnTo>
                  <a:lnTo>
                    <a:pt x="636" y="24"/>
                  </a:lnTo>
                  <a:lnTo>
                    <a:pt x="642" y="24"/>
                  </a:lnTo>
                  <a:lnTo>
                    <a:pt x="648" y="24"/>
                  </a:lnTo>
                  <a:lnTo>
                    <a:pt x="648" y="18"/>
                  </a:lnTo>
                  <a:lnTo>
                    <a:pt x="654" y="12"/>
                  </a:lnTo>
                  <a:lnTo>
                    <a:pt x="660" y="0"/>
                  </a:lnTo>
                  <a:lnTo>
                    <a:pt x="678" y="0"/>
                  </a:lnTo>
                  <a:lnTo>
                    <a:pt x="696" y="0"/>
                  </a:lnTo>
                  <a:lnTo>
                    <a:pt x="702" y="0"/>
                  </a:lnTo>
                  <a:lnTo>
                    <a:pt x="714" y="0"/>
                  </a:lnTo>
                  <a:lnTo>
                    <a:pt x="720" y="6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44" y="24"/>
                  </a:lnTo>
                  <a:lnTo>
                    <a:pt x="744" y="30"/>
                  </a:lnTo>
                  <a:lnTo>
                    <a:pt x="732" y="42"/>
                  </a:lnTo>
                  <a:lnTo>
                    <a:pt x="726" y="42"/>
                  </a:lnTo>
                  <a:lnTo>
                    <a:pt x="720" y="42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54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90"/>
                  </a:lnTo>
                  <a:lnTo>
                    <a:pt x="726" y="84"/>
                  </a:lnTo>
                  <a:lnTo>
                    <a:pt x="738" y="84"/>
                  </a:lnTo>
                  <a:lnTo>
                    <a:pt x="750" y="96"/>
                  </a:lnTo>
                  <a:lnTo>
                    <a:pt x="768" y="96"/>
                  </a:lnTo>
                  <a:lnTo>
                    <a:pt x="768" y="90"/>
                  </a:lnTo>
                  <a:lnTo>
                    <a:pt x="774" y="84"/>
                  </a:lnTo>
                  <a:lnTo>
                    <a:pt x="780" y="78"/>
                  </a:lnTo>
                  <a:lnTo>
                    <a:pt x="786" y="78"/>
                  </a:lnTo>
                  <a:lnTo>
                    <a:pt x="792" y="72"/>
                  </a:lnTo>
                  <a:lnTo>
                    <a:pt x="804" y="72"/>
                  </a:lnTo>
                  <a:lnTo>
                    <a:pt x="804" y="66"/>
                  </a:lnTo>
                  <a:lnTo>
                    <a:pt x="810" y="66"/>
                  </a:lnTo>
                  <a:lnTo>
                    <a:pt x="810" y="72"/>
                  </a:lnTo>
                  <a:lnTo>
                    <a:pt x="816" y="66"/>
                  </a:lnTo>
                  <a:lnTo>
                    <a:pt x="828" y="66"/>
                  </a:lnTo>
                  <a:lnTo>
                    <a:pt x="834" y="72"/>
                  </a:lnTo>
                  <a:lnTo>
                    <a:pt x="840" y="72"/>
                  </a:lnTo>
                  <a:lnTo>
                    <a:pt x="840" y="78"/>
                  </a:lnTo>
                  <a:lnTo>
                    <a:pt x="840" y="84"/>
                  </a:lnTo>
                  <a:lnTo>
                    <a:pt x="852" y="84"/>
                  </a:lnTo>
                  <a:lnTo>
                    <a:pt x="858" y="96"/>
                  </a:lnTo>
                  <a:lnTo>
                    <a:pt x="864" y="108"/>
                  </a:lnTo>
                  <a:lnTo>
                    <a:pt x="876" y="114"/>
                  </a:lnTo>
                  <a:lnTo>
                    <a:pt x="894" y="114"/>
                  </a:lnTo>
                  <a:lnTo>
                    <a:pt x="906" y="114"/>
                  </a:lnTo>
                  <a:lnTo>
                    <a:pt x="906" y="126"/>
                  </a:lnTo>
                  <a:lnTo>
                    <a:pt x="912" y="144"/>
                  </a:lnTo>
                  <a:lnTo>
                    <a:pt x="930" y="138"/>
                  </a:lnTo>
                  <a:lnTo>
                    <a:pt x="936" y="138"/>
                  </a:lnTo>
                  <a:lnTo>
                    <a:pt x="942" y="144"/>
                  </a:lnTo>
                  <a:lnTo>
                    <a:pt x="948" y="150"/>
                  </a:lnTo>
                  <a:lnTo>
                    <a:pt x="954" y="156"/>
                  </a:lnTo>
                  <a:lnTo>
                    <a:pt x="954" y="168"/>
                  </a:lnTo>
                  <a:lnTo>
                    <a:pt x="954" y="174"/>
                  </a:lnTo>
                  <a:lnTo>
                    <a:pt x="960" y="180"/>
                  </a:lnTo>
                  <a:lnTo>
                    <a:pt x="966" y="186"/>
                  </a:lnTo>
                  <a:lnTo>
                    <a:pt x="960" y="186"/>
                  </a:lnTo>
                  <a:lnTo>
                    <a:pt x="966" y="192"/>
                  </a:lnTo>
                  <a:lnTo>
                    <a:pt x="966" y="198"/>
                  </a:lnTo>
                  <a:lnTo>
                    <a:pt x="978" y="204"/>
                  </a:lnTo>
                  <a:lnTo>
                    <a:pt x="1050" y="186"/>
                  </a:lnTo>
                  <a:lnTo>
                    <a:pt x="1056" y="198"/>
                  </a:lnTo>
                  <a:lnTo>
                    <a:pt x="1068" y="210"/>
                  </a:lnTo>
                  <a:lnTo>
                    <a:pt x="1074" y="216"/>
                  </a:lnTo>
                  <a:lnTo>
                    <a:pt x="1080" y="252"/>
                  </a:lnTo>
                  <a:lnTo>
                    <a:pt x="1086" y="270"/>
                  </a:lnTo>
                  <a:lnTo>
                    <a:pt x="1092" y="282"/>
                  </a:lnTo>
                  <a:lnTo>
                    <a:pt x="1086" y="300"/>
                  </a:lnTo>
                  <a:lnTo>
                    <a:pt x="1074" y="330"/>
                  </a:lnTo>
                  <a:lnTo>
                    <a:pt x="1068" y="336"/>
                  </a:lnTo>
                  <a:lnTo>
                    <a:pt x="1062" y="348"/>
                  </a:lnTo>
                  <a:lnTo>
                    <a:pt x="1062" y="360"/>
                  </a:lnTo>
                  <a:lnTo>
                    <a:pt x="1068" y="378"/>
                  </a:lnTo>
                  <a:lnTo>
                    <a:pt x="1074" y="390"/>
                  </a:lnTo>
                  <a:lnTo>
                    <a:pt x="1068" y="396"/>
                  </a:lnTo>
                  <a:lnTo>
                    <a:pt x="1068" y="408"/>
                  </a:lnTo>
                  <a:lnTo>
                    <a:pt x="1062" y="414"/>
                  </a:lnTo>
                  <a:lnTo>
                    <a:pt x="1050" y="432"/>
                  </a:lnTo>
                  <a:lnTo>
                    <a:pt x="1044" y="450"/>
                  </a:lnTo>
                  <a:lnTo>
                    <a:pt x="1038" y="456"/>
                  </a:lnTo>
                  <a:lnTo>
                    <a:pt x="1026" y="468"/>
                  </a:lnTo>
                  <a:lnTo>
                    <a:pt x="1026" y="474"/>
                  </a:lnTo>
                  <a:lnTo>
                    <a:pt x="1026" y="480"/>
                  </a:lnTo>
                  <a:lnTo>
                    <a:pt x="1032" y="492"/>
                  </a:lnTo>
                  <a:lnTo>
                    <a:pt x="1044" y="504"/>
                  </a:lnTo>
                  <a:lnTo>
                    <a:pt x="1044" y="516"/>
                  </a:lnTo>
                  <a:lnTo>
                    <a:pt x="1038" y="528"/>
                  </a:lnTo>
                  <a:lnTo>
                    <a:pt x="1032" y="546"/>
                  </a:lnTo>
                  <a:lnTo>
                    <a:pt x="1032" y="570"/>
                  </a:lnTo>
                  <a:lnTo>
                    <a:pt x="1050" y="594"/>
                  </a:lnTo>
                  <a:lnTo>
                    <a:pt x="1056" y="624"/>
                  </a:lnTo>
                  <a:lnTo>
                    <a:pt x="1056" y="65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9" name="Freeform 24">
              <a:extLst>
                <a:ext uri="{FF2B5EF4-FFF2-40B4-BE49-F238E27FC236}">
                  <a16:creationId xmlns:a16="http://schemas.microsoft.com/office/drawing/2014/main" id="{CAE689DA-332A-4F73-BDE6-8865C9170AA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84829" y="3213406"/>
              <a:ext cx="851989" cy="744754"/>
            </a:xfrm>
            <a:custGeom>
              <a:avLst/>
              <a:gdLst>
                <a:gd name="T0" fmla="*/ 116 w 1602"/>
                <a:gd name="T1" fmla="*/ 91 h 1404"/>
                <a:gd name="T2" fmla="*/ 111 w 1602"/>
                <a:gd name="T3" fmla="*/ 95 h 1404"/>
                <a:gd name="T4" fmla="*/ 102 w 1602"/>
                <a:gd name="T5" fmla="*/ 101 h 1404"/>
                <a:gd name="T6" fmla="*/ 99 w 1602"/>
                <a:gd name="T7" fmla="*/ 103 h 1404"/>
                <a:gd name="T8" fmla="*/ 96 w 1602"/>
                <a:gd name="T9" fmla="*/ 106 h 1404"/>
                <a:gd name="T10" fmla="*/ 93 w 1602"/>
                <a:gd name="T11" fmla="*/ 108 h 1404"/>
                <a:gd name="T12" fmla="*/ 88 w 1602"/>
                <a:gd name="T13" fmla="*/ 106 h 1404"/>
                <a:gd name="T14" fmla="*/ 86 w 1602"/>
                <a:gd name="T15" fmla="*/ 108 h 1404"/>
                <a:gd name="T16" fmla="*/ 81 w 1602"/>
                <a:gd name="T17" fmla="*/ 119 h 1404"/>
                <a:gd name="T18" fmla="*/ 71 w 1602"/>
                <a:gd name="T19" fmla="*/ 109 h 1404"/>
                <a:gd name="T20" fmla="*/ 72 w 1602"/>
                <a:gd name="T21" fmla="*/ 101 h 1404"/>
                <a:gd name="T22" fmla="*/ 74 w 1602"/>
                <a:gd name="T23" fmla="*/ 93 h 1404"/>
                <a:gd name="T24" fmla="*/ 73 w 1602"/>
                <a:gd name="T25" fmla="*/ 82 h 1404"/>
                <a:gd name="T26" fmla="*/ 64 w 1602"/>
                <a:gd name="T27" fmla="*/ 79 h 1404"/>
                <a:gd name="T28" fmla="*/ 59 w 1602"/>
                <a:gd name="T29" fmla="*/ 75 h 1404"/>
                <a:gd name="T30" fmla="*/ 54 w 1602"/>
                <a:gd name="T31" fmla="*/ 71 h 1404"/>
                <a:gd name="T32" fmla="*/ 51 w 1602"/>
                <a:gd name="T33" fmla="*/ 70 h 1404"/>
                <a:gd name="T34" fmla="*/ 45 w 1602"/>
                <a:gd name="T35" fmla="*/ 71 h 1404"/>
                <a:gd name="T36" fmla="*/ 43 w 1602"/>
                <a:gd name="T37" fmla="*/ 68 h 1404"/>
                <a:gd name="T38" fmla="*/ 43 w 1602"/>
                <a:gd name="T39" fmla="*/ 64 h 1404"/>
                <a:gd name="T40" fmla="*/ 36 w 1602"/>
                <a:gd name="T41" fmla="*/ 66 h 1404"/>
                <a:gd name="T42" fmla="*/ 31 w 1602"/>
                <a:gd name="T43" fmla="*/ 55 h 1404"/>
                <a:gd name="T44" fmla="*/ 25 w 1602"/>
                <a:gd name="T45" fmla="*/ 53 h 1404"/>
                <a:gd name="T46" fmla="*/ 19 w 1602"/>
                <a:gd name="T47" fmla="*/ 51 h 1404"/>
                <a:gd name="T48" fmla="*/ 17 w 1602"/>
                <a:gd name="T49" fmla="*/ 43 h 1404"/>
                <a:gd name="T50" fmla="*/ 17 w 1602"/>
                <a:gd name="T51" fmla="*/ 39 h 1404"/>
                <a:gd name="T52" fmla="*/ 12 w 1602"/>
                <a:gd name="T53" fmla="*/ 39 h 1404"/>
                <a:gd name="T54" fmla="*/ 10 w 1602"/>
                <a:gd name="T55" fmla="*/ 35 h 1404"/>
                <a:gd name="T56" fmla="*/ 5 w 1602"/>
                <a:gd name="T57" fmla="*/ 30 h 1404"/>
                <a:gd name="T58" fmla="*/ 3 w 1602"/>
                <a:gd name="T59" fmla="*/ 27 h 1404"/>
                <a:gd name="T60" fmla="*/ 2 w 1602"/>
                <a:gd name="T61" fmla="*/ 25 h 1404"/>
                <a:gd name="T62" fmla="*/ 0 w 1602"/>
                <a:gd name="T63" fmla="*/ 22 h 1404"/>
                <a:gd name="T64" fmla="*/ 8 w 1602"/>
                <a:gd name="T65" fmla="*/ 14 h 1404"/>
                <a:gd name="T66" fmla="*/ 16 w 1602"/>
                <a:gd name="T67" fmla="*/ 16 h 1404"/>
                <a:gd name="T68" fmla="*/ 31 w 1602"/>
                <a:gd name="T69" fmla="*/ 18 h 1404"/>
                <a:gd name="T70" fmla="*/ 43 w 1602"/>
                <a:gd name="T71" fmla="*/ 17 h 1404"/>
                <a:gd name="T72" fmla="*/ 47 w 1602"/>
                <a:gd name="T73" fmla="*/ 6 h 1404"/>
                <a:gd name="T74" fmla="*/ 52 w 1602"/>
                <a:gd name="T75" fmla="*/ 0 h 1404"/>
                <a:gd name="T76" fmla="*/ 55 w 1602"/>
                <a:gd name="T77" fmla="*/ 3 h 1404"/>
                <a:gd name="T78" fmla="*/ 59 w 1602"/>
                <a:gd name="T79" fmla="*/ 9 h 1404"/>
                <a:gd name="T80" fmla="*/ 62 w 1602"/>
                <a:gd name="T81" fmla="*/ 16 h 1404"/>
                <a:gd name="T82" fmla="*/ 66 w 1602"/>
                <a:gd name="T83" fmla="*/ 20 h 1404"/>
                <a:gd name="T84" fmla="*/ 70 w 1602"/>
                <a:gd name="T85" fmla="*/ 25 h 1404"/>
                <a:gd name="T86" fmla="*/ 74 w 1602"/>
                <a:gd name="T87" fmla="*/ 30 h 1404"/>
                <a:gd name="T88" fmla="*/ 76 w 1602"/>
                <a:gd name="T89" fmla="*/ 27 h 1404"/>
                <a:gd name="T90" fmla="*/ 78 w 1602"/>
                <a:gd name="T91" fmla="*/ 27 h 1404"/>
                <a:gd name="T92" fmla="*/ 78 w 1602"/>
                <a:gd name="T93" fmla="*/ 23 h 1404"/>
                <a:gd name="T94" fmla="*/ 82 w 1602"/>
                <a:gd name="T95" fmla="*/ 20 h 1404"/>
                <a:gd name="T96" fmla="*/ 82 w 1602"/>
                <a:gd name="T97" fmla="*/ 18 h 1404"/>
                <a:gd name="T98" fmla="*/ 90 w 1602"/>
                <a:gd name="T99" fmla="*/ 24 h 1404"/>
                <a:gd name="T100" fmla="*/ 90 w 1602"/>
                <a:gd name="T101" fmla="*/ 45 h 1404"/>
                <a:gd name="T102" fmla="*/ 104 w 1602"/>
                <a:gd name="T103" fmla="*/ 41 h 1404"/>
                <a:gd name="T104" fmla="*/ 117 w 1602"/>
                <a:gd name="T105" fmla="*/ 39 h 1404"/>
                <a:gd name="T106" fmla="*/ 125 w 1602"/>
                <a:gd name="T107" fmla="*/ 39 h 1404"/>
                <a:gd name="T108" fmla="*/ 127 w 1602"/>
                <a:gd name="T109" fmla="*/ 43 h 1404"/>
                <a:gd name="T110" fmla="*/ 131 w 1602"/>
                <a:gd name="T111" fmla="*/ 53 h 1404"/>
                <a:gd name="T112" fmla="*/ 133 w 1602"/>
                <a:gd name="T113" fmla="*/ 60 h 1404"/>
                <a:gd name="T114" fmla="*/ 138 w 1602"/>
                <a:gd name="T115" fmla="*/ 73 h 1404"/>
                <a:gd name="T116" fmla="*/ 136 w 1602"/>
                <a:gd name="T117" fmla="*/ 80 h 1404"/>
                <a:gd name="T118" fmla="*/ 129 w 1602"/>
                <a:gd name="T119" fmla="*/ 87 h 1404"/>
                <a:gd name="T120" fmla="*/ 123 w 1602"/>
                <a:gd name="T121" fmla="*/ 95 h 14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02"/>
                <a:gd name="T184" fmla="*/ 0 h 1404"/>
                <a:gd name="T185" fmla="*/ 1602 w 1602"/>
                <a:gd name="T186" fmla="*/ 1404 h 14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02" h="1404">
                  <a:moveTo>
                    <a:pt x="1392" y="1080"/>
                  </a:moveTo>
                  <a:lnTo>
                    <a:pt x="1380" y="1074"/>
                  </a:lnTo>
                  <a:lnTo>
                    <a:pt x="1368" y="1056"/>
                  </a:lnTo>
                  <a:lnTo>
                    <a:pt x="1356" y="1044"/>
                  </a:lnTo>
                  <a:lnTo>
                    <a:pt x="1344" y="1038"/>
                  </a:lnTo>
                  <a:lnTo>
                    <a:pt x="1338" y="1038"/>
                  </a:lnTo>
                  <a:lnTo>
                    <a:pt x="1332" y="1038"/>
                  </a:lnTo>
                  <a:lnTo>
                    <a:pt x="1326" y="1044"/>
                  </a:lnTo>
                  <a:lnTo>
                    <a:pt x="1320" y="1044"/>
                  </a:lnTo>
                  <a:lnTo>
                    <a:pt x="1314" y="1044"/>
                  </a:lnTo>
                  <a:lnTo>
                    <a:pt x="1296" y="1056"/>
                  </a:lnTo>
                  <a:lnTo>
                    <a:pt x="1296" y="1080"/>
                  </a:lnTo>
                  <a:lnTo>
                    <a:pt x="1290" y="1080"/>
                  </a:lnTo>
                  <a:lnTo>
                    <a:pt x="1284" y="1086"/>
                  </a:lnTo>
                  <a:lnTo>
                    <a:pt x="1278" y="1086"/>
                  </a:lnTo>
                  <a:lnTo>
                    <a:pt x="1278" y="1092"/>
                  </a:lnTo>
                  <a:lnTo>
                    <a:pt x="1272" y="1092"/>
                  </a:lnTo>
                  <a:lnTo>
                    <a:pt x="1266" y="1086"/>
                  </a:lnTo>
                  <a:lnTo>
                    <a:pt x="1260" y="1086"/>
                  </a:lnTo>
                  <a:lnTo>
                    <a:pt x="1260" y="1098"/>
                  </a:lnTo>
                  <a:lnTo>
                    <a:pt x="1248" y="1098"/>
                  </a:lnTo>
                  <a:lnTo>
                    <a:pt x="1212" y="1116"/>
                  </a:lnTo>
                  <a:lnTo>
                    <a:pt x="1206" y="1158"/>
                  </a:lnTo>
                  <a:lnTo>
                    <a:pt x="1176" y="1164"/>
                  </a:lnTo>
                  <a:lnTo>
                    <a:pt x="1158" y="1164"/>
                  </a:lnTo>
                  <a:lnTo>
                    <a:pt x="1152" y="1164"/>
                  </a:lnTo>
                  <a:lnTo>
                    <a:pt x="1152" y="1170"/>
                  </a:lnTo>
                  <a:lnTo>
                    <a:pt x="1152" y="1176"/>
                  </a:lnTo>
                  <a:lnTo>
                    <a:pt x="1146" y="1176"/>
                  </a:lnTo>
                  <a:lnTo>
                    <a:pt x="1140" y="1176"/>
                  </a:lnTo>
                  <a:lnTo>
                    <a:pt x="1134" y="1182"/>
                  </a:lnTo>
                  <a:lnTo>
                    <a:pt x="1134" y="1188"/>
                  </a:lnTo>
                  <a:lnTo>
                    <a:pt x="1128" y="1194"/>
                  </a:lnTo>
                  <a:lnTo>
                    <a:pt x="1122" y="1194"/>
                  </a:lnTo>
                  <a:lnTo>
                    <a:pt x="1116" y="1194"/>
                  </a:lnTo>
                  <a:lnTo>
                    <a:pt x="1110" y="1200"/>
                  </a:lnTo>
                  <a:lnTo>
                    <a:pt x="1110" y="1206"/>
                  </a:lnTo>
                  <a:lnTo>
                    <a:pt x="1104" y="1212"/>
                  </a:lnTo>
                  <a:lnTo>
                    <a:pt x="1104" y="1218"/>
                  </a:lnTo>
                  <a:lnTo>
                    <a:pt x="1098" y="1224"/>
                  </a:lnTo>
                  <a:lnTo>
                    <a:pt x="1092" y="1230"/>
                  </a:lnTo>
                  <a:lnTo>
                    <a:pt x="1086" y="1230"/>
                  </a:lnTo>
                  <a:lnTo>
                    <a:pt x="1080" y="1230"/>
                  </a:lnTo>
                  <a:lnTo>
                    <a:pt x="1080" y="1242"/>
                  </a:lnTo>
                  <a:lnTo>
                    <a:pt x="1074" y="1242"/>
                  </a:lnTo>
                  <a:lnTo>
                    <a:pt x="1068" y="1242"/>
                  </a:lnTo>
                  <a:lnTo>
                    <a:pt x="1068" y="1236"/>
                  </a:lnTo>
                  <a:lnTo>
                    <a:pt x="1062" y="1242"/>
                  </a:lnTo>
                  <a:lnTo>
                    <a:pt x="1056" y="1236"/>
                  </a:lnTo>
                  <a:lnTo>
                    <a:pt x="1050" y="1242"/>
                  </a:lnTo>
                  <a:lnTo>
                    <a:pt x="1050" y="1236"/>
                  </a:lnTo>
                  <a:lnTo>
                    <a:pt x="1044" y="1194"/>
                  </a:lnTo>
                  <a:lnTo>
                    <a:pt x="1032" y="1194"/>
                  </a:lnTo>
                  <a:lnTo>
                    <a:pt x="1032" y="1200"/>
                  </a:lnTo>
                  <a:lnTo>
                    <a:pt x="1026" y="1200"/>
                  </a:lnTo>
                  <a:lnTo>
                    <a:pt x="1014" y="1218"/>
                  </a:lnTo>
                  <a:lnTo>
                    <a:pt x="1014" y="1224"/>
                  </a:lnTo>
                  <a:lnTo>
                    <a:pt x="1014" y="1236"/>
                  </a:lnTo>
                  <a:lnTo>
                    <a:pt x="1014" y="1242"/>
                  </a:lnTo>
                  <a:lnTo>
                    <a:pt x="1008" y="1242"/>
                  </a:lnTo>
                  <a:lnTo>
                    <a:pt x="1002" y="1236"/>
                  </a:lnTo>
                  <a:lnTo>
                    <a:pt x="1002" y="1230"/>
                  </a:lnTo>
                  <a:lnTo>
                    <a:pt x="996" y="1236"/>
                  </a:lnTo>
                  <a:lnTo>
                    <a:pt x="990" y="1236"/>
                  </a:lnTo>
                  <a:lnTo>
                    <a:pt x="990" y="1230"/>
                  </a:lnTo>
                  <a:lnTo>
                    <a:pt x="984" y="1236"/>
                  </a:lnTo>
                  <a:lnTo>
                    <a:pt x="978" y="1248"/>
                  </a:lnTo>
                  <a:lnTo>
                    <a:pt x="972" y="1254"/>
                  </a:lnTo>
                  <a:lnTo>
                    <a:pt x="966" y="1260"/>
                  </a:lnTo>
                  <a:lnTo>
                    <a:pt x="930" y="1284"/>
                  </a:lnTo>
                  <a:lnTo>
                    <a:pt x="942" y="1356"/>
                  </a:lnTo>
                  <a:lnTo>
                    <a:pt x="930" y="1368"/>
                  </a:lnTo>
                  <a:lnTo>
                    <a:pt x="852" y="1404"/>
                  </a:lnTo>
                  <a:lnTo>
                    <a:pt x="834" y="1392"/>
                  </a:lnTo>
                  <a:lnTo>
                    <a:pt x="834" y="1362"/>
                  </a:lnTo>
                  <a:lnTo>
                    <a:pt x="828" y="1332"/>
                  </a:lnTo>
                  <a:lnTo>
                    <a:pt x="810" y="1308"/>
                  </a:lnTo>
                  <a:lnTo>
                    <a:pt x="810" y="1284"/>
                  </a:lnTo>
                  <a:lnTo>
                    <a:pt x="816" y="1266"/>
                  </a:lnTo>
                  <a:lnTo>
                    <a:pt x="822" y="1254"/>
                  </a:lnTo>
                  <a:lnTo>
                    <a:pt x="822" y="1242"/>
                  </a:lnTo>
                  <a:lnTo>
                    <a:pt x="810" y="1230"/>
                  </a:lnTo>
                  <a:lnTo>
                    <a:pt x="804" y="1218"/>
                  </a:lnTo>
                  <a:lnTo>
                    <a:pt x="804" y="1212"/>
                  </a:lnTo>
                  <a:lnTo>
                    <a:pt x="804" y="1206"/>
                  </a:lnTo>
                  <a:lnTo>
                    <a:pt x="816" y="1194"/>
                  </a:lnTo>
                  <a:lnTo>
                    <a:pt x="822" y="1188"/>
                  </a:lnTo>
                  <a:lnTo>
                    <a:pt x="828" y="1170"/>
                  </a:lnTo>
                  <a:lnTo>
                    <a:pt x="840" y="1152"/>
                  </a:lnTo>
                  <a:lnTo>
                    <a:pt x="846" y="1146"/>
                  </a:lnTo>
                  <a:lnTo>
                    <a:pt x="846" y="1134"/>
                  </a:lnTo>
                  <a:lnTo>
                    <a:pt x="852" y="1128"/>
                  </a:lnTo>
                  <a:lnTo>
                    <a:pt x="846" y="1116"/>
                  </a:lnTo>
                  <a:lnTo>
                    <a:pt x="840" y="1098"/>
                  </a:lnTo>
                  <a:lnTo>
                    <a:pt x="840" y="1086"/>
                  </a:lnTo>
                  <a:lnTo>
                    <a:pt x="846" y="1074"/>
                  </a:lnTo>
                  <a:lnTo>
                    <a:pt x="852" y="1068"/>
                  </a:lnTo>
                  <a:lnTo>
                    <a:pt x="864" y="1038"/>
                  </a:lnTo>
                  <a:lnTo>
                    <a:pt x="870" y="1020"/>
                  </a:lnTo>
                  <a:lnTo>
                    <a:pt x="864" y="1008"/>
                  </a:lnTo>
                  <a:lnTo>
                    <a:pt x="858" y="990"/>
                  </a:lnTo>
                  <a:lnTo>
                    <a:pt x="852" y="954"/>
                  </a:lnTo>
                  <a:lnTo>
                    <a:pt x="846" y="948"/>
                  </a:lnTo>
                  <a:lnTo>
                    <a:pt x="834" y="936"/>
                  </a:lnTo>
                  <a:lnTo>
                    <a:pt x="828" y="924"/>
                  </a:lnTo>
                  <a:lnTo>
                    <a:pt x="756" y="942"/>
                  </a:lnTo>
                  <a:lnTo>
                    <a:pt x="744" y="936"/>
                  </a:lnTo>
                  <a:lnTo>
                    <a:pt x="744" y="930"/>
                  </a:lnTo>
                  <a:lnTo>
                    <a:pt x="738" y="924"/>
                  </a:lnTo>
                  <a:lnTo>
                    <a:pt x="744" y="924"/>
                  </a:lnTo>
                  <a:lnTo>
                    <a:pt x="738" y="918"/>
                  </a:lnTo>
                  <a:lnTo>
                    <a:pt x="732" y="912"/>
                  </a:lnTo>
                  <a:lnTo>
                    <a:pt x="732" y="906"/>
                  </a:lnTo>
                  <a:lnTo>
                    <a:pt x="732" y="894"/>
                  </a:lnTo>
                  <a:lnTo>
                    <a:pt x="726" y="888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6"/>
                  </a:lnTo>
                  <a:lnTo>
                    <a:pt x="690" y="882"/>
                  </a:lnTo>
                  <a:lnTo>
                    <a:pt x="684" y="864"/>
                  </a:lnTo>
                  <a:lnTo>
                    <a:pt x="684" y="852"/>
                  </a:lnTo>
                  <a:lnTo>
                    <a:pt x="672" y="852"/>
                  </a:lnTo>
                  <a:lnTo>
                    <a:pt x="654" y="852"/>
                  </a:lnTo>
                  <a:lnTo>
                    <a:pt x="642" y="846"/>
                  </a:lnTo>
                  <a:lnTo>
                    <a:pt x="636" y="834"/>
                  </a:lnTo>
                  <a:lnTo>
                    <a:pt x="630" y="822"/>
                  </a:lnTo>
                  <a:lnTo>
                    <a:pt x="618" y="822"/>
                  </a:lnTo>
                  <a:lnTo>
                    <a:pt x="618" y="816"/>
                  </a:lnTo>
                  <a:lnTo>
                    <a:pt x="618" y="810"/>
                  </a:lnTo>
                  <a:lnTo>
                    <a:pt x="612" y="810"/>
                  </a:lnTo>
                  <a:lnTo>
                    <a:pt x="606" y="804"/>
                  </a:lnTo>
                  <a:lnTo>
                    <a:pt x="594" y="804"/>
                  </a:lnTo>
                  <a:lnTo>
                    <a:pt x="588" y="810"/>
                  </a:lnTo>
                  <a:lnTo>
                    <a:pt x="588" y="804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70" y="810"/>
                  </a:lnTo>
                  <a:lnTo>
                    <a:pt x="564" y="816"/>
                  </a:lnTo>
                  <a:lnTo>
                    <a:pt x="558" y="816"/>
                  </a:lnTo>
                  <a:lnTo>
                    <a:pt x="552" y="822"/>
                  </a:lnTo>
                  <a:lnTo>
                    <a:pt x="546" y="828"/>
                  </a:lnTo>
                  <a:lnTo>
                    <a:pt x="546" y="834"/>
                  </a:lnTo>
                  <a:lnTo>
                    <a:pt x="528" y="834"/>
                  </a:lnTo>
                  <a:lnTo>
                    <a:pt x="516" y="822"/>
                  </a:lnTo>
                  <a:lnTo>
                    <a:pt x="504" y="822"/>
                  </a:lnTo>
                  <a:lnTo>
                    <a:pt x="492" y="82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6" y="792"/>
                  </a:lnTo>
                  <a:lnTo>
                    <a:pt x="492" y="786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504" y="780"/>
                  </a:lnTo>
                  <a:lnTo>
                    <a:pt x="510" y="780"/>
                  </a:lnTo>
                  <a:lnTo>
                    <a:pt x="522" y="768"/>
                  </a:lnTo>
                  <a:lnTo>
                    <a:pt x="522" y="762"/>
                  </a:lnTo>
                  <a:lnTo>
                    <a:pt x="504" y="756"/>
                  </a:lnTo>
                  <a:lnTo>
                    <a:pt x="498" y="756"/>
                  </a:lnTo>
                  <a:lnTo>
                    <a:pt x="498" y="744"/>
                  </a:lnTo>
                  <a:lnTo>
                    <a:pt x="492" y="738"/>
                  </a:lnTo>
                  <a:lnTo>
                    <a:pt x="480" y="738"/>
                  </a:lnTo>
                  <a:lnTo>
                    <a:pt x="474" y="738"/>
                  </a:lnTo>
                  <a:lnTo>
                    <a:pt x="456" y="738"/>
                  </a:lnTo>
                  <a:lnTo>
                    <a:pt x="438" y="738"/>
                  </a:lnTo>
                  <a:lnTo>
                    <a:pt x="432" y="750"/>
                  </a:lnTo>
                  <a:lnTo>
                    <a:pt x="426" y="756"/>
                  </a:lnTo>
                  <a:lnTo>
                    <a:pt x="426" y="762"/>
                  </a:lnTo>
                  <a:lnTo>
                    <a:pt x="420" y="762"/>
                  </a:lnTo>
                  <a:lnTo>
                    <a:pt x="408" y="744"/>
                  </a:lnTo>
                  <a:lnTo>
                    <a:pt x="408" y="732"/>
                  </a:lnTo>
                  <a:lnTo>
                    <a:pt x="390" y="714"/>
                  </a:lnTo>
                  <a:lnTo>
                    <a:pt x="384" y="702"/>
                  </a:lnTo>
                  <a:lnTo>
                    <a:pt x="384" y="690"/>
                  </a:lnTo>
                  <a:lnTo>
                    <a:pt x="372" y="690"/>
                  </a:lnTo>
                  <a:lnTo>
                    <a:pt x="366" y="660"/>
                  </a:lnTo>
                  <a:lnTo>
                    <a:pt x="354" y="630"/>
                  </a:lnTo>
                  <a:lnTo>
                    <a:pt x="348" y="630"/>
                  </a:lnTo>
                  <a:lnTo>
                    <a:pt x="336" y="630"/>
                  </a:lnTo>
                  <a:lnTo>
                    <a:pt x="330" y="630"/>
                  </a:lnTo>
                  <a:lnTo>
                    <a:pt x="318" y="630"/>
                  </a:lnTo>
                  <a:lnTo>
                    <a:pt x="312" y="624"/>
                  </a:lnTo>
                  <a:lnTo>
                    <a:pt x="306" y="624"/>
                  </a:lnTo>
                  <a:lnTo>
                    <a:pt x="294" y="618"/>
                  </a:lnTo>
                  <a:lnTo>
                    <a:pt x="288" y="612"/>
                  </a:lnTo>
                  <a:lnTo>
                    <a:pt x="276" y="600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58" y="588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8"/>
                  </a:lnTo>
                  <a:lnTo>
                    <a:pt x="216" y="582"/>
                  </a:lnTo>
                  <a:lnTo>
                    <a:pt x="210" y="588"/>
                  </a:lnTo>
                  <a:lnTo>
                    <a:pt x="198" y="582"/>
                  </a:lnTo>
                  <a:lnTo>
                    <a:pt x="180" y="582"/>
                  </a:lnTo>
                  <a:lnTo>
                    <a:pt x="174" y="552"/>
                  </a:lnTo>
                  <a:lnTo>
                    <a:pt x="168" y="504"/>
                  </a:lnTo>
                  <a:lnTo>
                    <a:pt x="186" y="504"/>
                  </a:lnTo>
                  <a:lnTo>
                    <a:pt x="192" y="504"/>
                  </a:lnTo>
                  <a:lnTo>
                    <a:pt x="192" y="498"/>
                  </a:lnTo>
                  <a:lnTo>
                    <a:pt x="192" y="492"/>
                  </a:lnTo>
                  <a:lnTo>
                    <a:pt x="192" y="486"/>
                  </a:lnTo>
                  <a:lnTo>
                    <a:pt x="198" y="486"/>
                  </a:lnTo>
                  <a:lnTo>
                    <a:pt x="198" y="480"/>
                  </a:lnTo>
                  <a:lnTo>
                    <a:pt x="204" y="474"/>
                  </a:lnTo>
                  <a:lnTo>
                    <a:pt x="210" y="468"/>
                  </a:lnTo>
                  <a:lnTo>
                    <a:pt x="198" y="462"/>
                  </a:lnTo>
                  <a:lnTo>
                    <a:pt x="192" y="444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32"/>
                  </a:lnTo>
                  <a:lnTo>
                    <a:pt x="168" y="438"/>
                  </a:lnTo>
                  <a:lnTo>
                    <a:pt x="150" y="450"/>
                  </a:lnTo>
                  <a:lnTo>
                    <a:pt x="144" y="456"/>
                  </a:lnTo>
                  <a:lnTo>
                    <a:pt x="132" y="456"/>
                  </a:lnTo>
                  <a:lnTo>
                    <a:pt x="126" y="468"/>
                  </a:lnTo>
                  <a:lnTo>
                    <a:pt x="114" y="468"/>
                  </a:lnTo>
                  <a:lnTo>
                    <a:pt x="108" y="468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14"/>
                  </a:lnTo>
                  <a:lnTo>
                    <a:pt x="108" y="396"/>
                  </a:lnTo>
                  <a:lnTo>
                    <a:pt x="120" y="396"/>
                  </a:lnTo>
                  <a:lnTo>
                    <a:pt x="126" y="384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84" y="354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0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60" y="318"/>
                  </a:lnTo>
                  <a:lnTo>
                    <a:pt x="42" y="324"/>
                  </a:lnTo>
                  <a:lnTo>
                    <a:pt x="36" y="318"/>
                  </a:lnTo>
                  <a:lnTo>
                    <a:pt x="36" y="312"/>
                  </a:lnTo>
                  <a:lnTo>
                    <a:pt x="36" y="306"/>
                  </a:lnTo>
                  <a:lnTo>
                    <a:pt x="36" y="300"/>
                  </a:lnTo>
                  <a:lnTo>
                    <a:pt x="30" y="300"/>
                  </a:lnTo>
                  <a:lnTo>
                    <a:pt x="30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24" y="276"/>
                  </a:lnTo>
                  <a:lnTo>
                    <a:pt x="18" y="276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18" y="234"/>
                  </a:lnTo>
                  <a:lnTo>
                    <a:pt x="30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42" y="192"/>
                  </a:lnTo>
                  <a:lnTo>
                    <a:pt x="66" y="186"/>
                  </a:lnTo>
                  <a:lnTo>
                    <a:pt x="90" y="156"/>
                  </a:lnTo>
                  <a:lnTo>
                    <a:pt x="102" y="144"/>
                  </a:lnTo>
                  <a:lnTo>
                    <a:pt x="138" y="150"/>
                  </a:lnTo>
                  <a:lnTo>
                    <a:pt x="162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0" y="180"/>
                  </a:lnTo>
                  <a:lnTo>
                    <a:pt x="174" y="180"/>
                  </a:lnTo>
                  <a:lnTo>
                    <a:pt x="180" y="186"/>
                  </a:lnTo>
                  <a:lnTo>
                    <a:pt x="186" y="186"/>
                  </a:lnTo>
                  <a:lnTo>
                    <a:pt x="198" y="192"/>
                  </a:lnTo>
                  <a:lnTo>
                    <a:pt x="216" y="198"/>
                  </a:lnTo>
                  <a:lnTo>
                    <a:pt x="252" y="204"/>
                  </a:lnTo>
                  <a:lnTo>
                    <a:pt x="258" y="210"/>
                  </a:lnTo>
                  <a:lnTo>
                    <a:pt x="306" y="216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84" y="210"/>
                  </a:lnTo>
                  <a:lnTo>
                    <a:pt x="408" y="222"/>
                  </a:lnTo>
                  <a:lnTo>
                    <a:pt x="438" y="228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86" y="222"/>
                  </a:lnTo>
                  <a:lnTo>
                    <a:pt x="492" y="210"/>
                  </a:lnTo>
                  <a:lnTo>
                    <a:pt x="492" y="198"/>
                  </a:lnTo>
                  <a:lnTo>
                    <a:pt x="486" y="180"/>
                  </a:lnTo>
                  <a:lnTo>
                    <a:pt x="492" y="162"/>
                  </a:lnTo>
                  <a:lnTo>
                    <a:pt x="510" y="96"/>
                  </a:lnTo>
                  <a:lnTo>
                    <a:pt x="516" y="84"/>
                  </a:lnTo>
                  <a:lnTo>
                    <a:pt x="522" y="84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34" y="72"/>
                  </a:lnTo>
                  <a:lnTo>
                    <a:pt x="534" y="60"/>
                  </a:lnTo>
                  <a:lnTo>
                    <a:pt x="540" y="36"/>
                  </a:lnTo>
                  <a:lnTo>
                    <a:pt x="546" y="6"/>
                  </a:lnTo>
                  <a:lnTo>
                    <a:pt x="558" y="6"/>
                  </a:lnTo>
                  <a:lnTo>
                    <a:pt x="564" y="0"/>
                  </a:lnTo>
                  <a:lnTo>
                    <a:pt x="582" y="0"/>
                  </a:lnTo>
                  <a:lnTo>
                    <a:pt x="588" y="0"/>
                  </a:lnTo>
                  <a:lnTo>
                    <a:pt x="594" y="6"/>
                  </a:lnTo>
                  <a:lnTo>
                    <a:pt x="600" y="12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24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36" y="36"/>
                  </a:lnTo>
                  <a:lnTo>
                    <a:pt x="642" y="36"/>
                  </a:lnTo>
                  <a:lnTo>
                    <a:pt x="642" y="42"/>
                  </a:lnTo>
                  <a:lnTo>
                    <a:pt x="648" y="54"/>
                  </a:lnTo>
                  <a:lnTo>
                    <a:pt x="660" y="72"/>
                  </a:lnTo>
                  <a:lnTo>
                    <a:pt x="666" y="78"/>
                  </a:lnTo>
                  <a:lnTo>
                    <a:pt x="672" y="90"/>
                  </a:lnTo>
                  <a:lnTo>
                    <a:pt x="678" y="102"/>
                  </a:lnTo>
                  <a:lnTo>
                    <a:pt x="678" y="114"/>
                  </a:lnTo>
                  <a:lnTo>
                    <a:pt x="684" y="132"/>
                  </a:lnTo>
                  <a:lnTo>
                    <a:pt x="684" y="144"/>
                  </a:lnTo>
                  <a:lnTo>
                    <a:pt x="690" y="162"/>
                  </a:lnTo>
                  <a:lnTo>
                    <a:pt x="696" y="168"/>
                  </a:lnTo>
                  <a:lnTo>
                    <a:pt x="696" y="180"/>
                  </a:lnTo>
                  <a:lnTo>
                    <a:pt x="702" y="186"/>
                  </a:lnTo>
                  <a:lnTo>
                    <a:pt x="708" y="186"/>
                  </a:lnTo>
                  <a:lnTo>
                    <a:pt x="714" y="198"/>
                  </a:lnTo>
                  <a:lnTo>
                    <a:pt x="720" y="198"/>
                  </a:lnTo>
                  <a:lnTo>
                    <a:pt x="732" y="204"/>
                  </a:lnTo>
                  <a:lnTo>
                    <a:pt x="738" y="210"/>
                  </a:lnTo>
                  <a:lnTo>
                    <a:pt x="738" y="216"/>
                  </a:lnTo>
                  <a:lnTo>
                    <a:pt x="744" y="222"/>
                  </a:lnTo>
                  <a:lnTo>
                    <a:pt x="750" y="228"/>
                  </a:lnTo>
                  <a:lnTo>
                    <a:pt x="756" y="228"/>
                  </a:lnTo>
                  <a:lnTo>
                    <a:pt x="768" y="240"/>
                  </a:lnTo>
                  <a:lnTo>
                    <a:pt x="774" y="252"/>
                  </a:lnTo>
                  <a:lnTo>
                    <a:pt x="780" y="258"/>
                  </a:lnTo>
                  <a:lnTo>
                    <a:pt x="786" y="258"/>
                  </a:lnTo>
                  <a:lnTo>
                    <a:pt x="798" y="264"/>
                  </a:lnTo>
                  <a:lnTo>
                    <a:pt x="798" y="270"/>
                  </a:lnTo>
                  <a:lnTo>
                    <a:pt x="798" y="276"/>
                  </a:lnTo>
                  <a:lnTo>
                    <a:pt x="810" y="288"/>
                  </a:lnTo>
                  <a:lnTo>
                    <a:pt x="816" y="288"/>
                  </a:lnTo>
                  <a:lnTo>
                    <a:pt x="816" y="300"/>
                  </a:lnTo>
                  <a:lnTo>
                    <a:pt x="816" y="306"/>
                  </a:lnTo>
                  <a:lnTo>
                    <a:pt x="822" y="318"/>
                  </a:lnTo>
                  <a:lnTo>
                    <a:pt x="828" y="324"/>
                  </a:lnTo>
                  <a:lnTo>
                    <a:pt x="834" y="330"/>
                  </a:lnTo>
                  <a:lnTo>
                    <a:pt x="846" y="336"/>
                  </a:lnTo>
                  <a:lnTo>
                    <a:pt x="846" y="342"/>
                  </a:lnTo>
                  <a:lnTo>
                    <a:pt x="852" y="348"/>
                  </a:lnTo>
                  <a:lnTo>
                    <a:pt x="852" y="354"/>
                  </a:lnTo>
                  <a:lnTo>
                    <a:pt x="858" y="354"/>
                  </a:lnTo>
                  <a:lnTo>
                    <a:pt x="858" y="348"/>
                  </a:lnTo>
                  <a:lnTo>
                    <a:pt x="864" y="342"/>
                  </a:lnTo>
                  <a:lnTo>
                    <a:pt x="864" y="336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76" y="306"/>
                  </a:lnTo>
                  <a:lnTo>
                    <a:pt x="870" y="300"/>
                  </a:lnTo>
                  <a:lnTo>
                    <a:pt x="870" y="294"/>
                  </a:lnTo>
                  <a:lnTo>
                    <a:pt x="876" y="294"/>
                  </a:lnTo>
                  <a:lnTo>
                    <a:pt x="882" y="300"/>
                  </a:lnTo>
                  <a:lnTo>
                    <a:pt x="888" y="300"/>
                  </a:lnTo>
                  <a:lnTo>
                    <a:pt x="888" y="306"/>
                  </a:lnTo>
                  <a:lnTo>
                    <a:pt x="894" y="300"/>
                  </a:lnTo>
                  <a:lnTo>
                    <a:pt x="900" y="294"/>
                  </a:lnTo>
                  <a:lnTo>
                    <a:pt x="894" y="288"/>
                  </a:lnTo>
                  <a:lnTo>
                    <a:pt x="888" y="282"/>
                  </a:lnTo>
                  <a:lnTo>
                    <a:pt x="888" y="276"/>
                  </a:lnTo>
                  <a:lnTo>
                    <a:pt x="894" y="276"/>
                  </a:lnTo>
                  <a:lnTo>
                    <a:pt x="900" y="276"/>
                  </a:lnTo>
                  <a:lnTo>
                    <a:pt x="900" y="270"/>
                  </a:lnTo>
                  <a:lnTo>
                    <a:pt x="906" y="264"/>
                  </a:lnTo>
                  <a:lnTo>
                    <a:pt x="906" y="258"/>
                  </a:lnTo>
                  <a:lnTo>
                    <a:pt x="918" y="264"/>
                  </a:lnTo>
                  <a:lnTo>
                    <a:pt x="918" y="258"/>
                  </a:lnTo>
                  <a:lnTo>
                    <a:pt x="924" y="252"/>
                  </a:lnTo>
                  <a:lnTo>
                    <a:pt x="930" y="252"/>
                  </a:lnTo>
                  <a:lnTo>
                    <a:pt x="930" y="246"/>
                  </a:lnTo>
                  <a:lnTo>
                    <a:pt x="936" y="234"/>
                  </a:lnTo>
                  <a:lnTo>
                    <a:pt x="942" y="228"/>
                  </a:lnTo>
                  <a:lnTo>
                    <a:pt x="942" y="222"/>
                  </a:lnTo>
                  <a:lnTo>
                    <a:pt x="948" y="222"/>
                  </a:lnTo>
                  <a:lnTo>
                    <a:pt x="948" y="216"/>
                  </a:lnTo>
                  <a:lnTo>
                    <a:pt x="942" y="216"/>
                  </a:lnTo>
                  <a:lnTo>
                    <a:pt x="936" y="216"/>
                  </a:lnTo>
                  <a:lnTo>
                    <a:pt x="936" y="210"/>
                  </a:lnTo>
                  <a:lnTo>
                    <a:pt x="942" y="210"/>
                  </a:lnTo>
                  <a:lnTo>
                    <a:pt x="972" y="210"/>
                  </a:lnTo>
                  <a:lnTo>
                    <a:pt x="1032" y="216"/>
                  </a:lnTo>
                  <a:lnTo>
                    <a:pt x="1068" y="216"/>
                  </a:lnTo>
                  <a:lnTo>
                    <a:pt x="1056" y="234"/>
                  </a:lnTo>
                  <a:lnTo>
                    <a:pt x="1050" y="240"/>
                  </a:lnTo>
                  <a:lnTo>
                    <a:pt x="1044" y="246"/>
                  </a:lnTo>
                  <a:lnTo>
                    <a:pt x="1038" y="246"/>
                  </a:lnTo>
                  <a:lnTo>
                    <a:pt x="1026" y="282"/>
                  </a:lnTo>
                  <a:lnTo>
                    <a:pt x="1032" y="306"/>
                  </a:lnTo>
                  <a:lnTo>
                    <a:pt x="1044" y="324"/>
                  </a:lnTo>
                  <a:lnTo>
                    <a:pt x="1044" y="342"/>
                  </a:lnTo>
                  <a:lnTo>
                    <a:pt x="1062" y="366"/>
                  </a:lnTo>
                  <a:lnTo>
                    <a:pt x="1056" y="396"/>
                  </a:lnTo>
                  <a:lnTo>
                    <a:pt x="1038" y="462"/>
                  </a:lnTo>
                  <a:lnTo>
                    <a:pt x="1038" y="498"/>
                  </a:lnTo>
                  <a:lnTo>
                    <a:pt x="1038" y="522"/>
                  </a:lnTo>
                  <a:lnTo>
                    <a:pt x="1038" y="534"/>
                  </a:lnTo>
                  <a:lnTo>
                    <a:pt x="1056" y="522"/>
                  </a:lnTo>
                  <a:lnTo>
                    <a:pt x="1098" y="504"/>
                  </a:lnTo>
                  <a:lnTo>
                    <a:pt x="1104" y="498"/>
                  </a:lnTo>
                  <a:lnTo>
                    <a:pt x="1128" y="492"/>
                  </a:lnTo>
                  <a:lnTo>
                    <a:pt x="1152" y="480"/>
                  </a:lnTo>
                  <a:lnTo>
                    <a:pt x="1170" y="474"/>
                  </a:lnTo>
                  <a:lnTo>
                    <a:pt x="1188" y="468"/>
                  </a:lnTo>
                  <a:lnTo>
                    <a:pt x="1200" y="462"/>
                  </a:lnTo>
                  <a:lnTo>
                    <a:pt x="1224" y="450"/>
                  </a:lnTo>
                  <a:lnTo>
                    <a:pt x="1248" y="450"/>
                  </a:lnTo>
                  <a:lnTo>
                    <a:pt x="1266" y="450"/>
                  </a:lnTo>
                  <a:lnTo>
                    <a:pt x="1296" y="456"/>
                  </a:lnTo>
                  <a:lnTo>
                    <a:pt x="1308" y="456"/>
                  </a:lnTo>
                  <a:lnTo>
                    <a:pt x="1326" y="456"/>
                  </a:lnTo>
                  <a:lnTo>
                    <a:pt x="1338" y="456"/>
                  </a:lnTo>
                  <a:lnTo>
                    <a:pt x="1350" y="462"/>
                  </a:lnTo>
                  <a:lnTo>
                    <a:pt x="1356" y="462"/>
                  </a:lnTo>
                  <a:lnTo>
                    <a:pt x="1374" y="456"/>
                  </a:lnTo>
                  <a:lnTo>
                    <a:pt x="1386" y="456"/>
                  </a:lnTo>
                  <a:lnTo>
                    <a:pt x="1392" y="456"/>
                  </a:lnTo>
                  <a:lnTo>
                    <a:pt x="1398" y="456"/>
                  </a:lnTo>
                  <a:lnTo>
                    <a:pt x="1422" y="456"/>
                  </a:lnTo>
                  <a:lnTo>
                    <a:pt x="1440" y="456"/>
                  </a:lnTo>
                  <a:lnTo>
                    <a:pt x="1446" y="456"/>
                  </a:lnTo>
                  <a:lnTo>
                    <a:pt x="1476" y="456"/>
                  </a:lnTo>
                  <a:lnTo>
                    <a:pt x="1470" y="468"/>
                  </a:lnTo>
                  <a:lnTo>
                    <a:pt x="1470" y="474"/>
                  </a:lnTo>
                  <a:lnTo>
                    <a:pt x="1470" y="486"/>
                  </a:lnTo>
                  <a:lnTo>
                    <a:pt x="1464" y="492"/>
                  </a:lnTo>
                  <a:lnTo>
                    <a:pt x="1464" y="498"/>
                  </a:lnTo>
                  <a:lnTo>
                    <a:pt x="1458" y="498"/>
                  </a:lnTo>
                  <a:lnTo>
                    <a:pt x="1458" y="510"/>
                  </a:lnTo>
                  <a:lnTo>
                    <a:pt x="1452" y="522"/>
                  </a:lnTo>
                  <a:lnTo>
                    <a:pt x="1458" y="528"/>
                  </a:lnTo>
                  <a:lnTo>
                    <a:pt x="1464" y="546"/>
                  </a:lnTo>
                  <a:lnTo>
                    <a:pt x="1470" y="552"/>
                  </a:lnTo>
                  <a:lnTo>
                    <a:pt x="1476" y="564"/>
                  </a:lnTo>
                  <a:lnTo>
                    <a:pt x="1488" y="588"/>
                  </a:lnTo>
                  <a:lnTo>
                    <a:pt x="1506" y="606"/>
                  </a:lnTo>
                  <a:lnTo>
                    <a:pt x="1506" y="612"/>
                  </a:lnTo>
                  <a:lnTo>
                    <a:pt x="1518" y="618"/>
                  </a:lnTo>
                  <a:lnTo>
                    <a:pt x="1512" y="630"/>
                  </a:lnTo>
                  <a:lnTo>
                    <a:pt x="1518" y="642"/>
                  </a:lnTo>
                  <a:lnTo>
                    <a:pt x="1518" y="648"/>
                  </a:lnTo>
                  <a:lnTo>
                    <a:pt x="1530" y="666"/>
                  </a:lnTo>
                  <a:lnTo>
                    <a:pt x="1518" y="672"/>
                  </a:lnTo>
                  <a:lnTo>
                    <a:pt x="1524" y="696"/>
                  </a:lnTo>
                  <a:lnTo>
                    <a:pt x="1518" y="732"/>
                  </a:lnTo>
                  <a:lnTo>
                    <a:pt x="1524" y="762"/>
                  </a:lnTo>
                  <a:lnTo>
                    <a:pt x="1524" y="780"/>
                  </a:lnTo>
                  <a:lnTo>
                    <a:pt x="1524" y="810"/>
                  </a:lnTo>
                  <a:lnTo>
                    <a:pt x="1530" y="834"/>
                  </a:lnTo>
                  <a:lnTo>
                    <a:pt x="1536" y="846"/>
                  </a:lnTo>
                  <a:lnTo>
                    <a:pt x="1542" y="846"/>
                  </a:lnTo>
                  <a:lnTo>
                    <a:pt x="1584" y="840"/>
                  </a:lnTo>
                  <a:lnTo>
                    <a:pt x="1590" y="846"/>
                  </a:lnTo>
                  <a:lnTo>
                    <a:pt x="1596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90" y="864"/>
                  </a:lnTo>
                  <a:lnTo>
                    <a:pt x="1578" y="882"/>
                  </a:lnTo>
                  <a:lnTo>
                    <a:pt x="1572" y="906"/>
                  </a:lnTo>
                  <a:lnTo>
                    <a:pt x="1560" y="924"/>
                  </a:lnTo>
                  <a:lnTo>
                    <a:pt x="1560" y="936"/>
                  </a:lnTo>
                  <a:lnTo>
                    <a:pt x="1548" y="960"/>
                  </a:lnTo>
                  <a:lnTo>
                    <a:pt x="1542" y="978"/>
                  </a:lnTo>
                  <a:lnTo>
                    <a:pt x="1536" y="990"/>
                  </a:lnTo>
                  <a:lnTo>
                    <a:pt x="1530" y="990"/>
                  </a:lnTo>
                  <a:lnTo>
                    <a:pt x="1506" y="996"/>
                  </a:lnTo>
                  <a:lnTo>
                    <a:pt x="1494" y="1002"/>
                  </a:lnTo>
                  <a:lnTo>
                    <a:pt x="1482" y="1002"/>
                  </a:lnTo>
                  <a:lnTo>
                    <a:pt x="1464" y="1008"/>
                  </a:lnTo>
                  <a:lnTo>
                    <a:pt x="1446" y="1026"/>
                  </a:lnTo>
                  <a:lnTo>
                    <a:pt x="1440" y="1026"/>
                  </a:lnTo>
                  <a:lnTo>
                    <a:pt x="1434" y="1038"/>
                  </a:lnTo>
                  <a:lnTo>
                    <a:pt x="1428" y="1044"/>
                  </a:lnTo>
                  <a:lnTo>
                    <a:pt x="1428" y="1062"/>
                  </a:lnTo>
                  <a:lnTo>
                    <a:pt x="1428" y="1086"/>
                  </a:lnTo>
                  <a:lnTo>
                    <a:pt x="1416" y="1092"/>
                  </a:lnTo>
                  <a:lnTo>
                    <a:pt x="1410" y="1080"/>
                  </a:lnTo>
                  <a:lnTo>
                    <a:pt x="1392" y="108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0" name="Freeform 25">
              <a:extLst>
                <a:ext uri="{FF2B5EF4-FFF2-40B4-BE49-F238E27FC236}">
                  <a16:creationId xmlns:a16="http://schemas.microsoft.com/office/drawing/2014/main" id="{39FDFF90-5ACF-4D65-81AD-C44D2CBE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70228" y="3063559"/>
              <a:ext cx="644023" cy="704498"/>
            </a:xfrm>
            <a:custGeom>
              <a:avLst/>
              <a:gdLst>
                <a:gd name="T0" fmla="*/ 74 w 1212"/>
                <a:gd name="T1" fmla="*/ 113 h 1326"/>
                <a:gd name="T2" fmla="*/ 60 w 1212"/>
                <a:gd name="T3" fmla="*/ 116 h 1326"/>
                <a:gd name="T4" fmla="*/ 62 w 1212"/>
                <a:gd name="T5" fmla="*/ 110 h 1326"/>
                <a:gd name="T6" fmla="*/ 60 w 1212"/>
                <a:gd name="T7" fmla="*/ 105 h 1326"/>
                <a:gd name="T8" fmla="*/ 52 w 1212"/>
                <a:gd name="T9" fmla="*/ 96 h 1326"/>
                <a:gd name="T10" fmla="*/ 47 w 1212"/>
                <a:gd name="T11" fmla="*/ 98 h 1326"/>
                <a:gd name="T12" fmla="*/ 44 w 1212"/>
                <a:gd name="T13" fmla="*/ 93 h 1326"/>
                <a:gd name="T14" fmla="*/ 40 w 1212"/>
                <a:gd name="T15" fmla="*/ 96 h 1326"/>
                <a:gd name="T16" fmla="*/ 35 w 1212"/>
                <a:gd name="T17" fmla="*/ 102 h 1326"/>
                <a:gd name="T18" fmla="*/ 27 w 1212"/>
                <a:gd name="T19" fmla="*/ 100 h 1326"/>
                <a:gd name="T20" fmla="*/ 23 w 1212"/>
                <a:gd name="T21" fmla="*/ 96 h 1326"/>
                <a:gd name="T22" fmla="*/ 20 w 1212"/>
                <a:gd name="T23" fmla="*/ 90 h 1326"/>
                <a:gd name="T24" fmla="*/ 18 w 1212"/>
                <a:gd name="T25" fmla="*/ 89 h 1326"/>
                <a:gd name="T26" fmla="*/ 18 w 1212"/>
                <a:gd name="T27" fmla="*/ 85 h 1326"/>
                <a:gd name="T28" fmla="*/ 19 w 1212"/>
                <a:gd name="T29" fmla="*/ 83 h 1326"/>
                <a:gd name="T30" fmla="*/ 19 w 1212"/>
                <a:gd name="T31" fmla="*/ 82 h 1326"/>
                <a:gd name="T32" fmla="*/ 20 w 1212"/>
                <a:gd name="T33" fmla="*/ 79 h 1326"/>
                <a:gd name="T34" fmla="*/ 19 w 1212"/>
                <a:gd name="T35" fmla="*/ 75 h 1326"/>
                <a:gd name="T36" fmla="*/ 17 w 1212"/>
                <a:gd name="T37" fmla="*/ 77 h 1326"/>
                <a:gd name="T38" fmla="*/ 14 w 1212"/>
                <a:gd name="T39" fmla="*/ 76 h 1326"/>
                <a:gd name="T40" fmla="*/ 12 w 1212"/>
                <a:gd name="T41" fmla="*/ 71 h 1326"/>
                <a:gd name="T42" fmla="*/ 8 w 1212"/>
                <a:gd name="T43" fmla="*/ 69 h 1326"/>
                <a:gd name="T44" fmla="*/ 0 w 1212"/>
                <a:gd name="T45" fmla="*/ 72 h 1326"/>
                <a:gd name="T46" fmla="*/ 2 w 1212"/>
                <a:gd name="T47" fmla="*/ 67 h 1326"/>
                <a:gd name="T48" fmla="*/ 3 w 1212"/>
                <a:gd name="T49" fmla="*/ 61 h 1326"/>
                <a:gd name="T50" fmla="*/ 4 w 1212"/>
                <a:gd name="T51" fmla="*/ 56 h 1326"/>
                <a:gd name="T52" fmla="*/ 4 w 1212"/>
                <a:gd name="T53" fmla="*/ 52 h 1326"/>
                <a:gd name="T54" fmla="*/ 2 w 1212"/>
                <a:gd name="T55" fmla="*/ 47 h 1326"/>
                <a:gd name="T56" fmla="*/ 2 w 1212"/>
                <a:gd name="T57" fmla="*/ 42 h 1326"/>
                <a:gd name="T58" fmla="*/ 5 w 1212"/>
                <a:gd name="T59" fmla="*/ 39 h 1326"/>
                <a:gd name="T60" fmla="*/ 5 w 1212"/>
                <a:gd name="T61" fmla="*/ 35 h 1326"/>
                <a:gd name="T62" fmla="*/ 7 w 1212"/>
                <a:gd name="T63" fmla="*/ 31 h 1326"/>
                <a:gd name="T64" fmla="*/ 14 w 1212"/>
                <a:gd name="T65" fmla="*/ 31 h 1326"/>
                <a:gd name="T66" fmla="*/ 18 w 1212"/>
                <a:gd name="T67" fmla="*/ 27 h 1326"/>
                <a:gd name="T68" fmla="*/ 22 w 1212"/>
                <a:gd name="T69" fmla="*/ 24 h 1326"/>
                <a:gd name="T70" fmla="*/ 27 w 1212"/>
                <a:gd name="T71" fmla="*/ 20 h 1326"/>
                <a:gd name="T72" fmla="*/ 35 w 1212"/>
                <a:gd name="T73" fmla="*/ 21 h 1326"/>
                <a:gd name="T74" fmla="*/ 61 w 1212"/>
                <a:gd name="T75" fmla="*/ 8 h 1326"/>
                <a:gd name="T76" fmla="*/ 73 w 1212"/>
                <a:gd name="T77" fmla="*/ 4 h 1326"/>
                <a:gd name="T78" fmla="*/ 86 w 1212"/>
                <a:gd name="T79" fmla="*/ 12 h 1326"/>
                <a:gd name="T80" fmla="*/ 92 w 1212"/>
                <a:gd name="T81" fmla="*/ 13 h 1326"/>
                <a:gd name="T82" fmla="*/ 86 w 1212"/>
                <a:gd name="T83" fmla="*/ 18 h 1326"/>
                <a:gd name="T84" fmla="*/ 88 w 1212"/>
                <a:gd name="T85" fmla="*/ 33 h 1326"/>
                <a:gd name="T86" fmla="*/ 97 w 1212"/>
                <a:gd name="T87" fmla="*/ 49 h 1326"/>
                <a:gd name="T88" fmla="*/ 102 w 1212"/>
                <a:gd name="T89" fmla="*/ 57 h 1326"/>
                <a:gd name="T90" fmla="*/ 104 w 1212"/>
                <a:gd name="T91" fmla="*/ 67 h 1326"/>
                <a:gd name="T92" fmla="*/ 101 w 1212"/>
                <a:gd name="T93" fmla="*/ 69 h 1326"/>
                <a:gd name="T94" fmla="*/ 97 w 1212"/>
                <a:gd name="T95" fmla="*/ 69 h 1326"/>
                <a:gd name="T96" fmla="*/ 96 w 1212"/>
                <a:gd name="T97" fmla="*/ 71 h 1326"/>
                <a:gd name="T98" fmla="*/ 93 w 1212"/>
                <a:gd name="T99" fmla="*/ 70 h 1326"/>
                <a:gd name="T100" fmla="*/ 86 w 1212"/>
                <a:gd name="T101" fmla="*/ 69 h 1326"/>
                <a:gd name="T102" fmla="*/ 82 w 1212"/>
                <a:gd name="T103" fmla="*/ 73 h 1326"/>
                <a:gd name="T104" fmla="*/ 79 w 1212"/>
                <a:gd name="T105" fmla="*/ 74 h 1326"/>
                <a:gd name="T106" fmla="*/ 78 w 1212"/>
                <a:gd name="T107" fmla="*/ 79 h 1326"/>
                <a:gd name="T108" fmla="*/ 78 w 1212"/>
                <a:gd name="T109" fmla="*/ 83 h 1326"/>
                <a:gd name="T110" fmla="*/ 82 w 1212"/>
                <a:gd name="T111" fmla="*/ 87 h 1326"/>
                <a:gd name="T112" fmla="*/ 83 w 1212"/>
                <a:gd name="T113" fmla="*/ 90 h 1326"/>
                <a:gd name="T114" fmla="*/ 82 w 1212"/>
                <a:gd name="T115" fmla="*/ 94 h 1326"/>
                <a:gd name="T116" fmla="*/ 82 w 1212"/>
                <a:gd name="T117" fmla="*/ 98 h 1326"/>
                <a:gd name="T118" fmla="*/ 82 w 1212"/>
                <a:gd name="T119" fmla="*/ 104 h 1326"/>
                <a:gd name="T120" fmla="*/ 78 w 1212"/>
                <a:gd name="T121" fmla="*/ 110 h 132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12"/>
                <a:gd name="T184" fmla="*/ 0 h 1326"/>
                <a:gd name="T185" fmla="*/ 1212 w 1212"/>
                <a:gd name="T186" fmla="*/ 1326 h 132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12" h="1326">
                  <a:moveTo>
                    <a:pt x="906" y="1290"/>
                  </a:moveTo>
                  <a:lnTo>
                    <a:pt x="906" y="1296"/>
                  </a:lnTo>
                  <a:lnTo>
                    <a:pt x="900" y="1296"/>
                  </a:lnTo>
                  <a:lnTo>
                    <a:pt x="876" y="1290"/>
                  </a:lnTo>
                  <a:lnTo>
                    <a:pt x="870" y="1290"/>
                  </a:lnTo>
                  <a:lnTo>
                    <a:pt x="864" y="1296"/>
                  </a:lnTo>
                  <a:lnTo>
                    <a:pt x="852" y="1296"/>
                  </a:lnTo>
                  <a:lnTo>
                    <a:pt x="840" y="1302"/>
                  </a:lnTo>
                  <a:lnTo>
                    <a:pt x="834" y="1308"/>
                  </a:lnTo>
                  <a:lnTo>
                    <a:pt x="822" y="1320"/>
                  </a:lnTo>
                  <a:lnTo>
                    <a:pt x="816" y="1320"/>
                  </a:lnTo>
                  <a:lnTo>
                    <a:pt x="732" y="1320"/>
                  </a:lnTo>
                  <a:lnTo>
                    <a:pt x="696" y="1320"/>
                  </a:lnTo>
                  <a:lnTo>
                    <a:pt x="690" y="1326"/>
                  </a:lnTo>
                  <a:lnTo>
                    <a:pt x="678" y="1326"/>
                  </a:lnTo>
                  <a:lnTo>
                    <a:pt x="672" y="1308"/>
                  </a:lnTo>
                  <a:lnTo>
                    <a:pt x="696" y="1302"/>
                  </a:lnTo>
                  <a:lnTo>
                    <a:pt x="708" y="1296"/>
                  </a:lnTo>
                  <a:lnTo>
                    <a:pt x="720" y="1284"/>
                  </a:lnTo>
                  <a:lnTo>
                    <a:pt x="714" y="1278"/>
                  </a:lnTo>
                  <a:lnTo>
                    <a:pt x="714" y="1266"/>
                  </a:lnTo>
                  <a:lnTo>
                    <a:pt x="708" y="1260"/>
                  </a:lnTo>
                  <a:lnTo>
                    <a:pt x="708" y="1254"/>
                  </a:lnTo>
                  <a:lnTo>
                    <a:pt x="708" y="1248"/>
                  </a:lnTo>
                  <a:lnTo>
                    <a:pt x="702" y="1236"/>
                  </a:lnTo>
                  <a:lnTo>
                    <a:pt x="702" y="1230"/>
                  </a:lnTo>
                  <a:lnTo>
                    <a:pt x="702" y="1218"/>
                  </a:lnTo>
                  <a:lnTo>
                    <a:pt x="696" y="1200"/>
                  </a:lnTo>
                  <a:lnTo>
                    <a:pt x="696" y="1182"/>
                  </a:lnTo>
                  <a:lnTo>
                    <a:pt x="666" y="1182"/>
                  </a:lnTo>
                  <a:lnTo>
                    <a:pt x="672" y="1134"/>
                  </a:lnTo>
                  <a:lnTo>
                    <a:pt x="666" y="1128"/>
                  </a:lnTo>
                  <a:lnTo>
                    <a:pt x="660" y="1092"/>
                  </a:lnTo>
                  <a:lnTo>
                    <a:pt x="654" y="1098"/>
                  </a:lnTo>
                  <a:lnTo>
                    <a:pt x="594" y="1098"/>
                  </a:lnTo>
                  <a:lnTo>
                    <a:pt x="576" y="1098"/>
                  </a:lnTo>
                  <a:lnTo>
                    <a:pt x="570" y="1104"/>
                  </a:lnTo>
                  <a:lnTo>
                    <a:pt x="564" y="1110"/>
                  </a:lnTo>
                  <a:lnTo>
                    <a:pt x="558" y="1110"/>
                  </a:lnTo>
                  <a:lnTo>
                    <a:pt x="552" y="1110"/>
                  </a:lnTo>
                  <a:lnTo>
                    <a:pt x="546" y="1110"/>
                  </a:lnTo>
                  <a:lnTo>
                    <a:pt x="546" y="1116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10" y="1128"/>
                  </a:lnTo>
                  <a:lnTo>
                    <a:pt x="522" y="1104"/>
                  </a:lnTo>
                  <a:lnTo>
                    <a:pt x="510" y="1098"/>
                  </a:lnTo>
                  <a:lnTo>
                    <a:pt x="510" y="1074"/>
                  </a:lnTo>
                  <a:lnTo>
                    <a:pt x="504" y="1068"/>
                  </a:lnTo>
                  <a:lnTo>
                    <a:pt x="498" y="1068"/>
                  </a:lnTo>
                  <a:lnTo>
                    <a:pt x="492" y="1068"/>
                  </a:lnTo>
                  <a:lnTo>
                    <a:pt x="474" y="1080"/>
                  </a:lnTo>
                  <a:lnTo>
                    <a:pt x="474" y="1086"/>
                  </a:lnTo>
                  <a:lnTo>
                    <a:pt x="474" y="1092"/>
                  </a:lnTo>
                  <a:lnTo>
                    <a:pt x="468" y="1098"/>
                  </a:lnTo>
                  <a:lnTo>
                    <a:pt x="462" y="1104"/>
                  </a:lnTo>
                  <a:lnTo>
                    <a:pt x="456" y="1110"/>
                  </a:lnTo>
                  <a:lnTo>
                    <a:pt x="456" y="1122"/>
                  </a:lnTo>
                  <a:lnTo>
                    <a:pt x="456" y="1128"/>
                  </a:lnTo>
                  <a:lnTo>
                    <a:pt x="450" y="1140"/>
                  </a:lnTo>
                  <a:lnTo>
                    <a:pt x="444" y="1146"/>
                  </a:lnTo>
                  <a:lnTo>
                    <a:pt x="426" y="1170"/>
                  </a:lnTo>
                  <a:lnTo>
                    <a:pt x="408" y="1176"/>
                  </a:lnTo>
                  <a:lnTo>
                    <a:pt x="402" y="1170"/>
                  </a:lnTo>
                  <a:lnTo>
                    <a:pt x="396" y="1170"/>
                  </a:lnTo>
                  <a:lnTo>
                    <a:pt x="396" y="1158"/>
                  </a:lnTo>
                  <a:lnTo>
                    <a:pt x="384" y="1152"/>
                  </a:lnTo>
                  <a:lnTo>
                    <a:pt x="372" y="1140"/>
                  </a:lnTo>
                  <a:lnTo>
                    <a:pt x="354" y="1140"/>
                  </a:lnTo>
                  <a:lnTo>
                    <a:pt x="306" y="1146"/>
                  </a:lnTo>
                  <a:lnTo>
                    <a:pt x="294" y="1134"/>
                  </a:lnTo>
                  <a:lnTo>
                    <a:pt x="294" y="1128"/>
                  </a:lnTo>
                  <a:lnTo>
                    <a:pt x="288" y="1122"/>
                  </a:lnTo>
                  <a:lnTo>
                    <a:pt x="276" y="1122"/>
                  </a:lnTo>
                  <a:lnTo>
                    <a:pt x="276" y="1110"/>
                  </a:lnTo>
                  <a:lnTo>
                    <a:pt x="276" y="1104"/>
                  </a:lnTo>
                  <a:lnTo>
                    <a:pt x="270" y="1098"/>
                  </a:lnTo>
                  <a:lnTo>
                    <a:pt x="264" y="1086"/>
                  </a:lnTo>
                  <a:lnTo>
                    <a:pt x="264" y="1074"/>
                  </a:lnTo>
                  <a:lnTo>
                    <a:pt x="258" y="1068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34" y="1038"/>
                  </a:lnTo>
                  <a:lnTo>
                    <a:pt x="228" y="1038"/>
                  </a:lnTo>
                  <a:lnTo>
                    <a:pt x="222" y="1038"/>
                  </a:lnTo>
                  <a:lnTo>
                    <a:pt x="216" y="1038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0"/>
                  </a:lnTo>
                  <a:lnTo>
                    <a:pt x="204" y="1014"/>
                  </a:lnTo>
                  <a:lnTo>
                    <a:pt x="204" y="1008"/>
                  </a:lnTo>
                  <a:lnTo>
                    <a:pt x="198" y="1002"/>
                  </a:lnTo>
                  <a:lnTo>
                    <a:pt x="198" y="996"/>
                  </a:lnTo>
                  <a:lnTo>
                    <a:pt x="198" y="990"/>
                  </a:lnTo>
                  <a:lnTo>
                    <a:pt x="204" y="990"/>
                  </a:lnTo>
                  <a:lnTo>
                    <a:pt x="204" y="984"/>
                  </a:lnTo>
                  <a:lnTo>
                    <a:pt x="210" y="978"/>
                  </a:lnTo>
                  <a:lnTo>
                    <a:pt x="210" y="972"/>
                  </a:lnTo>
                  <a:lnTo>
                    <a:pt x="210" y="966"/>
                  </a:lnTo>
                  <a:lnTo>
                    <a:pt x="216" y="960"/>
                  </a:lnTo>
                  <a:lnTo>
                    <a:pt x="216" y="954"/>
                  </a:lnTo>
                  <a:lnTo>
                    <a:pt x="210" y="954"/>
                  </a:lnTo>
                  <a:lnTo>
                    <a:pt x="204" y="954"/>
                  </a:lnTo>
                  <a:lnTo>
                    <a:pt x="216" y="954"/>
                  </a:lnTo>
                  <a:lnTo>
                    <a:pt x="216" y="948"/>
                  </a:lnTo>
                  <a:lnTo>
                    <a:pt x="210" y="948"/>
                  </a:lnTo>
                  <a:lnTo>
                    <a:pt x="210" y="942"/>
                  </a:lnTo>
                  <a:lnTo>
                    <a:pt x="216" y="942"/>
                  </a:lnTo>
                  <a:lnTo>
                    <a:pt x="222" y="942"/>
                  </a:lnTo>
                  <a:lnTo>
                    <a:pt x="222" y="936"/>
                  </a:lnTo>
                  <a:lnTo>
                    <a:pt x="216" y="936"/>
                  </a:lnTo>
                  <a:lnTo>
                    <a:pt x="210" y="936"/>
                  </a:lnTo>
                  <a:lnTo>
                    <a:pt x="210" y="930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22" y="918"/>
                  </a:lnTo>
                  <a:lnTo>
                    <a:pt x="228" y="912"/>
                  </a:lnTo>
                  <a:lnTo>
                    <a:pt x="228" y="906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2" y="888"/>
                  </a:lnTo>
                  <a:lnTo>
                    <a:pt x="222" y="882"/>
                  </a:lnTo>
                  <a:lnTo>
                    <a:pt x="222" y="876"/>
                  </a:lnTo>
                  <a:lnTo>
                    <a:pt x="222" y="858"/>
                  </a:lnTo>
                  <a:lnTo>
                    <a:pt x="216" y="858"/>
                  </a:lnTo>
                  <a:lnTo>
                    <a:pt x="216" y="852"/>
                  </a:lnTo>
                  <a:lnTo>
                    <a:pt x="210" y="852"/>
                  </a:lnTo>
                  <a:lnTo>
                    <a:pt x="210" y="840"/>
                  </a:lnTo>
                  <a:lnTo>
                    <a:pt x="198" y="840"/>
                  </a:lnTo>
                  <a:lnTo>
                    <a:pt x="198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0" y="894"/>
                  </a:lnTo>
                  <a:lnTo>
                    <a:pt x="180" y="906"/>
                  </a:lnTo>
                  <a:lnTo>
                    <a:pt x="156" y="912"/>
                  </a:lnTo>
                  <a:lnTo>
                    <a:pt x="156" y="894"/>
                  </a:lnTo>
                  <a:lnTo>
                    <a:pt x="156" y="882"/>
                  </a:lnTo>
                  <a:lnTo>
                    <a:pt x="156" y="876"/>
                  </a:lnTo>
                  <a:lnTo>
                    <a:pt x="150" y="876"/>
                  </a:lnTo>
                  <a:lnTo>
                    <a:pt x="144" y="876"/>
                  </a:lnTo>
                  <a:lnTo>
                    <a:pt x="138" y="870"/>
                  </a:lnTo>
                  <a:lnTo>
                    <a:pt x="132" y="864"/>
                  </a:lnTo>
                  <a:lnTo>
                    <a:pt x="138" y="840"/>
                  </a:lnTo>
                  <a:lnTo>
                    <a:pt x="132" y="840"/>
                  </a:lnTo>
                  <a:lnTo>
                    <a:pt x="138" y="810"/>
                  </a:lnTo>
                  <a:lnTo>
                    <a:pt x="144" y="804"/>
                  </a:lnTo>
                  <a:lnTo>
                    <a:pt x="144" y="798"/>
                  </a:lnTo>
                  <a:lnTo>
                    <a:pt x="156" y="798"/>
                  </a:lnTo>
                  <a:lnTo>
                    <a:pt x="156" y="792"/>
                  </a:lnTo>
                  <a:lnTo>
                    <a:pt x="120" y="792"/>
                  </a:lnTo>
                  <a:lnTo>
                    <a:pt x="108" y="786"/>
                  </a:lnTo>
                  <a:lnTo>
                    <a:pt x="96" y="786"/>
                  </a:lnTo>
                  <a:lnTo>
                    <a:pt x="96" y="780"/>
                  </a:lnTo>
                  <a:lnTo>
                    <a:pt x="78" y="780"/>
                  </a:lnTo>
                  <a:lnTo>
                    <a:pt x="72" y="804"/>
                  </a:lnTo>
                  <a:lnTo>
                    <a:pt x="60" y="816"/>
                  </a:lnTo>
                  <a:lnTo>
                    <a:pt x="36" y="828"/>
                  </a:lnTo>
                  <a:lnTo>
                    <a:pt x="18" y="840"/>
                  </a:lnTo>
                  <a:lnTo>
                    <a:pt x="0" y="822"/>
                  </a:lnTo>
                  <a:lnTo>
                    <a:pt x="6" y="816"/>
                  </a:lnTo>
                  <a:lnTo>
                    <a:pt x="12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18" y="786"/>
                  </a:lnTo>
                  <a:lnTo>
                    <a:pt x="24" y="780"/>
                  </a:lnTo>
                  <a:lnTo>
                    <a:pt x="24" y="768"/>
                  </a:lnTo>
                  <a:lnTo>
                    <a:pt x="24" y="762"/>
                  </a:lnTo>
                  <a:lnTo>
                    <a:pt x="24" y="750"/>
                  </a:lnTo>
                  <a:lnTo>
                    <a:pt x="36" y="714"/>
                  </a:lnTo>
                  <a:lnTo>
                    <a:pt x="36" y="708"/>
                  </a:lnTo>
                  <a:lnTo>
                    <a:pt x="42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6" y="690"/>
                  </a:lnTo>
                  <a:lnTo>
                    <a:pt x="42" y="684"/>
                  </a:lnTo>
                  <a:lnTo>
                    <a:pt x="42" y="672"/>
                  </a:lnTo>
                  <a:lnTo>
                    <a:pt x="42" y="666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48" y="648"/>
                  </a:lnTo>
                  <a:lnTo>
                    <a:pt x="54" y="642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54" y="612"/>
                  </a:lnTo>
                  <a:lnTo>
                    <a:pt x="48" y="606"/>
                  </a:lnTo>
                  <a:lnTo>
                    <a:pt x="48" y="600"/>
                  </a:lnTo>
                  <a:lnTo>
                    <a:pt x="42" y="600"/>
                  </a:lnTo>
                  <a:lnTo>
                    <a:pt x="36" y="594"/>
                  </a:lnTo>
                  <a:lnTo>
                    <a:pt x="36" y="588"/>
                  </a:lnTo>
                  <a:lnTo>
                    <a:pt x="30" y="582"/>
                  </a:lnTo>
                  <a:lnTo>
                    <a:pt x="30" y="570"/>
                  </a:lnTo>
                  <a:lnTo>
                    <a:pt x="18" y="552"/>
                  </a:lnTo>
                  <a:lnTo>
                    <a:pt x="18" y="546"/>
                  </a:lnTo>
                  <a:lnTo>
                    <a:pt x="18" y="540"/>
                  </a:lnTo>
                  <a:lnTo>
                    <a:pt x="18" y="528"/>
                  </a:lnTo>
                  <a:lnTo>
                    <a:pt x="18" y="522"/>
                  </a:lnTo>
                  <a:lnTo>
                    <a:pt x="24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30" y="474"/>
                  </a:lnTo>
                  <a:lnTo>
                    <a:pt x="36" y="474"/>
                  </a:lnTo>
                  <a:lnTo>
                    <a:pt x="42" y="468"/>
                  </a:lnTo>
                  <a:lnTo>
                    <a:pt x="48" y="468"/>
                  </a:lnTo>
                  <a:lnTo>
                    <a:pt x="48" y="462"/>
                  </a:lnTo>
                  <a:lnTo>
                    <a:pt x="48" y="456"/>
                  </a:lnTo>
                  <a:lnTo>
                    <a:pt x="54" y="450"/>
                  </a:lnTo>
                  <a:lnTo>
                    <a:pt x="60" y="438"/>
                  </a:lnTo>
                  <a:lnTo>
                    <a:pt x="54" y="438"/>
                  </a:lnTo>
                  <a:lnTo>
                    <a:pt x="54" y="432"/>
                  </a:ln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54" y="402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6" y="384"/>
                  </a:lnTo>
                  <a:lnTo>
                    <a:pt x="72" y="372"/>
                  </a:lnTo>
                  <a:lnTo>
                    <a:pt x="78" y="366"/>
                  </a:lnTo>
                  <a:lnTo>
                    <a:pt x="84" y="360"/>
                  </a:lnTo>
                  <a:lnTo>
                    <a:pt x="102" y="360"/>
                  </a:lnTo>
                  <a:lnTo>
                    <a:pt x="114" y="36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8" y="360"/>
                  </a:lnTo>
                  <a:lnTo>
                    <a:pt x="156" y="360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74" y="342"/>
                  </a:lnTo>
                  <a:lnTo>
                    <a:pt x="180" y="342"/>
                  </a:lnTo>
                  <a:lnTo>
                    <a:pt x="186" y="336"/>
                  </a:lnTo>
                  <a:lnTo>
                    <a:pt x="192" y="330"/>
                  </a:lnTo>
                  <a:lnTo>
                    <a:pt x="204" y="312"/>
                  </a:lnTo>
                  <a:lnTo>
                    <a:pt x="210" y="312"/>
                  </a:lnTo>
                  <a:lnTo>
                    <a:pt x="216" y="306"/>
                  </a:lnTo>
                  <a:lnTo>
                    <a:pt x="216" y="300"/>
                  </a:lnTo>
                  <a:lnTo>
                    <a:pt x="222" y="288"/>
                  </a:lnTo>
                  <a:lnTo>
                    <a:pt x="234" y="288"/>
                  </a:lnTo>
                  <a:lnTo>
                    <a:pt x="240" y="282"/>
                  </a:lnTo>
                  <a:lnTo>
                    <a:pt x="246" y="282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70" y="270"/>
                  </a:lnTo>
                  <a:lnTo>
                    <a:pt x="276" y="264"/>
                  </a:lnTo>
                  <a:lnTo>
                    <a:pt x="282" y="26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8" y="234"/>
                  </a:lnTo>
                  <a:lnTo>
                    <a:pt x="330" y="234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72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14" y="240"/>
                  </a:lnTo>
                  <a:lnTo>
                    <a:pt x="444" y="216"/>
                  </a:lnTo>
                  <a:lnTo>
                    <a:pt x="480" y="204"/>
                  </a:lnTo>
                  <a:lnTo>
                    <a:pt x="600" y="150"/>
                  </a:lnTo>
                  <a:lnTo>
                    <a:pt x="648" y="126"/>
                  </a:lnTo>
                  <a:lnTo>
                    <a:pt x="702" y="96"/>
                  </a:lnTo>
                  <a:lnTo>
                    <a:pt x="708" y="54"/>
                  </a:lnTo>
                  <a:lnTo>
                    <a:pt x="720" y="24"/>
                  </a:lnTo>
                  <a:lnTo>
                    <a:pt x="738" y="12"/>
                  </a:lnTo>
                  <a:lnTo>
                    <a:pt x="768" y="0"/>
                  </a:lnTo>
                  <a:lnTo>
                    <a:pt x="792" y="6"/>
                  </a:lnTo>
                  <a:lnTo>
                    <a:pt x="804" y="12"/>
                  </a:lnTo>
                  <a:lnTo>
                    <a:pt x="834" y="48"/>
                  </a:lnTo>
                  <a:lnTo>
                    <a:pt x="834" y="60"/>
                  </a:lnTo>
                  <a:lnTo>
                    <a:pt x="852" y="84"/>
                  </a:lnTo>
                  <a:lnTo>
                    <a:pt x="864" y="96"/>
                  </a:lnTo>
                  <a:lnTo>
                    <a:pt x="888" y="102"/>
                  </a:lnTo>
                  <a:lnTo>
                    <a:pt x="978" y="120"/>
                  </a:lnTo>
                  <a:lnTo>
                    <a:pt x="984" y="126"/>
                  </a:lnTo>
                  <a:lnTo>
                    <a:pt x="984" y="132"/>
                  </a:lnTo>
                  <a:lnTo>
                    <a:pt x="996" y="138"/>
                  </a:lnTo>
                  <a:lnTo>
                    <a:pt x="1038" y="126"/>
                  </a:lnTo>
                  <a:lnTo>
                    <a:pt x="1056" y="114"/>
                  </a:lnTo>
                  <a:lnTo>
                    <a:pt x="1068" y="126"/>
                  </a:lnTo>
                  <a:lnTo>
                    <a:pt x="1074" y="132"/>
                  </a:lnTo>
                  <a:lnTo>
                    <a:pt x="1068" y="138"/>
                  </a:lnTo>
                  <a:lnTo>
                    <a:pt x="1056" y="150"/>
                  </a:lnTo>
                  <a:lnTo>
                    <a:pt x="1038" y="162"/>
                  </a:lnTo>
                  <a:lnTo>
                    <a:pt x="1038" y="168"/>
                  </a:lnTo>
                  <a:lnTo>
                    <a:pt x="1020" y="174"/>
                  </a:lnTo>
                  <a:lnTo>
                    <a:pt x="1014" y="180"/>
                  </a:lnTo>
                  <a:lnTo>
                    <a:pt x="1008" y="186"/>
                  </a:lnTo>
                  <a:lnTo>
                    <a:pt x="1002" y="198"/>
                  </a:lnTo>
                  <a:lnTo>
                    <a:pt x="984" y="204"/>
                  </a:lnTo>
                  <a:lnTo>
                    <a:pt x="984" y="246"/>
                  </a:lnTo>
                  <a:lnTo>
                    <a:pt x="978" y="270"/>
                  </a:lnTo>
                  <a:lnTo>
                    <a:pt x="990" y="306"/>
                  </a:lnTo>
                  <a:lnTo>
                    <a:pt x="990" y="324"/>
                  </a:lnTo>
                  <a:lnTo>
                    <a:pt x="1002" y="336"/>
                  </a:lnTo>
                  <a:lnTo>
                    <a:pt x="1020" y="372"/>
                  </a:lnTo>
                  <a:lnTo>
                    <a:pt x="1014" y="378"/>
                  </a:lnTo>
                  <a:lnTo>
                    <a:pt x="1014" y="384"/>
                  </a:lnTo>
                  <a:lnTo>
                    <a:pt x="1020" y="384"/>
                  </a:lnTo>
                  <a:lnTo>
                    <a:pt x="1020" y="396"/>
                  </a:lnTo>
                  <a:lnTo>
                    <a:pt x="1062" y="468"/>
                  </a:lnTo>
                  <a:lnTo>
                    <a:pt x="1092" y="522"/>
                  </a:lnTo>
                  <a:lnTo>
                    <a:pt x="1110" y="546"/>
                  </a:lnTo>
                  <a:lnTo>
                    <a:pt x="1122" y="564"/>
                  </a:lnTo>
                  <a:lnTo>
                    <a:pt x="1134" y="576"/>
                  </a:lnTo>
                  <a:lnTo>
                    <a:pt x="1146" y="582"/>
                  </a:lnTo>
                  <a:lnTo>
                    <a:pt x="1146" y="588"/>
                  </a:lnTo>
                  <a:lnTo>
                    <a:pt x="1164" y="600"/>
                  </a:lnTo>
                  <a:lnTo>
                    <a:pt x="1170" y="612"/>
                  </a:lnTo>
                  <a:lnTo>
                    <a:pt x="1170" y="624"/>
                  </a:lnTo>
                  <a:lnTo>
                    <a:pt x="1176" y="654"/>
                  </a:lnTo>
                  <a:lnTo>
                    <a:pt x="1176" y="666"/>
                  </a:lnTo>
                  <a:lnTo>
                    <a:pt x="1182" y="684"/>
                  </a:lnTo>
                  <a:lnTo>
                    <a:pt x="1194" y="696"/>
                  </a:lnTo>
                  <a:lnTo>
                    <a:pt x="1212" y="696"/>
                  </a:lnTo>
                  <a:lnTo>
                    <a:pt x="1206" y="762"/>
                  </a:lnTo>
                  <a:lnTo>
                    <a:pt x="1200" y="768"/>
                  </a:lnTo>
                  <a:lnTo>
                    <a:pt x="1194" y="768"/>
                  </a:lnTo>
                  <a:lnTo>
                    <a:pt x="1194" y="774"/>
                  </a:lnTo>
                  <a:lnTo>
                    <a:pt x="1188" y="774"/>
                  </a:lnTo>
                  <a:lnTo>
                    <a:pt x="1182" y="780"/>
                  </a:lnTo>
                  <a:lnTo>
                    <a:pt x="1176" y="780"/>
                  </a:lnTo>
                  <a:lnTo>
                    <a:pt x="1170" y="780"/>
                  </a:lnTo>
                  <a:lnTo>
                    <a:pt x="1164" y="786"/>
                  </a:lnTo>
                  <a:lnTo>
                    <a:pt x="1158" y="786"/>
                  </a:lnTo>
                  <a:lnTo>
                    <a:pt x="1152" y="786"/>
                  </a:lnTo>
                  <a:lnTo>
                    <a:pt x="1140" y="786"/>
                  </a:lnTo>
                  <a:lnTo>
                    <a:pt x="1134" y="786"/>
                  </a:lnTo>
                  <a:lnTo>
                    <a:pt x="1134" y="780"/>
                  </a:lnTo>
                  <a:lnTo>
                    <a:pt x="1122" y="780"/>
                  </a:lnTo>
                  <a:lnTo>
                    <a:pt x="1116" y="786"/>
                  </a:lnTo>
                  <a:lnTo>
                    <a:pt x="1116" y="792"/>
                  </a:lnTo>
                  <a:lnTo>
                    <a:pt x="1122" y="804"/>
                  </a:lnTo>
                  <a:lnTo>
                    <a:pt x="1128" y="804"/>
                  </a:lnTo>
                  <a:lnTo>
                    <a:pt x="1128" y="816"/>
                  </a:lnTo>
                  <a:lnTo>
                    <a:pt x="1122" y="822"/>
                  </a:lnTo>
                  <a:lnTo>
                    <a:pt x="1116" y="816"/>
                  </a:lnTo>
                  <a:lnTo>
                    <a:pt x="1110" y="816"/>
                  </a:lnTo>
                  <a:lnTo>
                    <a:pt x="1104" y="816"/>
                  </a:lnTo>
                  <a:lnTo>
                    <a:pt x="1098" y="816"/>
                  </a:lnTo>
                  <a:lnTo>
                    <a:pt x="1098" y="822"/>
                  </a:lnTo>
                  <a:lnTo>
                    <a:pt x="1092" y="834"/>
                  </a:lnTo>
                  <a:lnTo>
                    <a:pt x="1092" y="840"/>
                  </a:lnTo>
                  <a:lnTo>
                    <a:pt x="1074" y="840"/>
                  </a:lnTo>
                  <a:lnTo>
                    <a:pt x="1074" y="828"/>
                  </a:lnTo>
                  <a:lnTo>
                    <a:pt x="1062" y="804"/>
                  </a:lnTo>
                  <a:lnTo>
                    <a:pt x="1056" y="792"/>
                  </a:lnTo>
                  <a:lnTo>
                    <a:pt x="1056" y="786"/>
                  </a:lnTo>
                  <a:lnTo>
                    <a:pt x="1026" y="780"/>
                  </a:lnTo>
                  <a:lnTo>
                    <a:pt x="1026" y="768"/>
                  </a:lnTo>
                  <a:lnTo>
                    <a:pt x="1008" y="768"/>
                  </a:lnTo>
                  <a:lnTo>
                    <a:pt x="1002" y="780"/>
                  </a:lnTo>
                  <a:lnTo>
                    <a:pt x="996" y="792"/>
                  </a:lnTo>
                  <a:lnTo>
                    <a:pt x="978" y="798"/>
                  </a:lnTo>
                  <a:lnTo>
                    <a:pt x="972" y="810"/>
                  </a:lnTo>
                  <a:lnTo>
                    <a:pt x="972" y="822"/>
                  </a:lnTo>
                  <a:lnTo>
                    <a:pt x="978" y="828"/>
                  </a:lnTo>
                  <a:lnTo>
                    <a:pt x="978" y="834"/>
                  </a:lnTo>
                  <a:lnTo>
                    <a:pt x="960" y="840"/>
                  </a:lnTo>
                  <a:lnTo>
                    <a:pt x="936" y="840"/>
                  </a:lnTo>
                  <a:lnTo>
                    <a:pt x="918" y="846"/>
                  </a:lnTo>
                  <a:lnTo>
                    <a:pt x="912" y="840"/>
                  </a:lnTo>
                  <a:lnTo>
                    <a:pt x="912" y="834"/>
                  </a:lnTo>
                  <a:lnTo>
                    <a:pt x="906" y="834"/>
                  </a:lnTo>
                  <a:lnTo>
                    <a:pt x="906" y="840"/>
                  </a:lnTo>
                  <a:lnTo>
                    <a:pt x="900" y="846"/>
                  </a:lnTo>
                  <a:lnTo>
                    <a:pt x="906" y="852"/>
                  </a:lnTo>
                  <a:lnTo>
                    <a:pt x="900" y="864"/>
                  </a:lnTo>
                  <a:lnTo>
                    <a:pt x="900" y="876"/>
                  </a:lnTo>
                  <a:lnTo>
                    <a:pt x="900" y="882"/>
                  </a:lnTo>
                  <a:lnTo>
                    <a:pt x="894" y="888"/>
                  </a:lnTo>
                  <a:lnTo>
                    <a:pt x="900" y="900"/>
                  </a:lnTo>
                  <a:lnTo>
                    <a:pt x="900" y="906"/>
                  </a:lnTo>
                  <a:lnTo>
                    <a:pt x="894" y="906"/>
                  </a:lnTo>
                  <a:lnTo>
                    <a:pt x="894" y="912"/>
                  </a:lnTo>
                  <a:lnTo>
                    <a:pt x="900" y="918"/>
                  </a:lnTo>
                  <a:lnTo>
                    <a:pt x="900" y="924"/>
                  </a:lnTo>
                  <a:lnTo>
                    <a:pt x="900" y="948"/>
                  </a:lnTo>
                  <a:lnTo>
                    <a:pt x="888" y="948"/>
                  </a:lnTo>
                  <a:lnTo>
                    <a:pt x="888" y="954"/>
                  </a:lnTo>
                  <a:lnTo>
                    <a:pt x="894" y="954"/>
                  </a:lnTo>
                  <a:lnTo>
                    <a:pt x="900" y="960"/>
                  </a:lnTo>
                  <a:lnTo>
                    <a:pt x="900" y="972"/>
                  </a:lnTo>
                  <a:lnTo>
                    <a:pt x="906" y="984"/>
                  </a:lnTo>
                  <a:lnTo>
                    <a:pt x="912" y="984"/>
                  </a:lnTo>
                  <a:lnTo>
                    <a:pt x="918" y="990"/>
                  </a:lnTo>
                  <a:lnTo>
                    <a:pt x="936" y="990"/>
                  </a:lnTo>
                  <a:lnTo>
                    <a:pt x="936" y="996"/>
                  </a:lnTo>
                  <a:lnTo>
                    <a:pt x="942" y="996"/>
                  </a:lnTo>
                  <a:lnTo>
                    <a:pt x="942" y="1002"/>
                  </a:lnTo>
                  <a:lnTo>
                    <a:pt x="942" y="1008"/>
                  </a:lnTo>
                  <a:lnTo>
                    <a:pt x="948" y="1008"/>
                  </a:lnTo>
                  <a:lnTo>
                    <a:pt x="948" y="1014"/>
                  </a:lnTo>
                  <a:lnTo>
                    <a:pt x="948" y="1020"/>
                  </a:lnTo>
                  <a:lnTo>
                    <a:pt x="954" y="1032"/>
                  </a:lnTo>
                  <a:lnTo>
                    <a:pt x="948" y="1038"/>
                  </a:lnTo>
                  <a:lnTo>
                    <a:pt x="954" y="1044"/>
                  </a:lnTo>
                  <a:lnTo>
                    <a:pt x="954" y="1056"/>
                  </a:lnTo>
                  <a:lnTo>
                    <a:pt x="960" y="1056"/>
                  </a:lnTo>
                  <a:lnTo>
                    <a:pt x="960" y="1062"/>
                  </a:lnTo>
                  <a:lnTo>
                    <a:pt x="954" y="1068"/>
                  </a:lnTo>
                  <a:lnTo>
                    <a:pt x="948" y="1074"/>
                  </a:lnTo>
                  <a:lnTo>
                    <a:pt x="948" y="1080"/>
                  </a:lnTo>
                  <a:lnTo>
                    <a:pt x="948" y="1086"/>
                  </a:lnTo>
                  <a:lnTo>
                    <a:pt x="942" y="1092"/>
                  </a:lnTo>
                  <a:lnTo>
                    <a:pt x="942" y="1098"/>
                  </a:lnTo>
                  <a:lnTo>
                    <a:pt x="942" y="1104"/>
                  </a:lnTo>
                  <a:lnTo>
                    <a:pt x="942" y="1110"/>
                  </a:lnTo>
                  <a:lnTo>
                    <a:pt x="936" y="1116"/>
                  </a:lnTo>
                  <a:lnTo>
                    <a:pt x="936" y="1122"/>
                  </a:lnTo>
                  <a:lnTo>
                    <a:pt x="936" y="1128"/>
                  </a:lnTo>
                  <a:lnTo>
                    <a:pt x="936" y="1134"/>
                  </a:lnTo>
                  <a:lnTo>
                    <a:pt x="942" y="1146"/>
                  </a:lnTo>
                  <a:lnTo>
                    <a:pt x="936" y="1158"/>
                  </a:lnTo>
                  <a:lnTo>
                    <a:pt x="936" y="1170"/>
                  </a:lnTo>
                  <a:lnTo>
                    <a:pt x="936" y="1194"/>
                  </a:lnTo>
                  <a:lnTo>
                    <a:pt x="930" y="1200"/>
                  </a:lnTo>
                  <a:lnTo>
                    <a:pt x="930" y="1212"/>
                  </a:lnTo>
                  <a:lnTo>
                    <a:pt x="918" y="1218"/>
                  </a:lnTo>
                  <a:lnTo>
                    <a:pt x="918" y="1230"/>
                  </a:lnTo>
                  <a:lnTo>
                    <a:pt x="906" y="1230"/>
                  </a:lnTo>
                  <a:lnTo>
                    <a:pt x="900" y="1254"/>
                  </a:lnTo>
                  <a:lnTo>
                    <a:pt x="900" y="1260"/>
                  </a:lnTo>
                  <a:lnTo>
                    <a:pt x="900" y="1266"/>
                  </a:lnTo>
                  <a:lnTo>
                    <a:pt x="900" y="1272"/>
                  </a:lnTo>
                  <a:lnTo>
                    <a:pt x="900" y="1278"/>
                  </a:lnTo>
                  <a:lnTo>
                    <a:pt x="900" y="1284"/>
                  </a:lnTo>
                  <a:lnTo>
                    <a:pt x="906" y="129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1" name="Freeform 26">
              <a:extLst>
                <a:ext uri="{FF2B5EF4-FFF2-40B4-BE49-F238E27FC236}">
                  <a16:creationId xmlns:a16="http://schemas.microsoft.com/office/drawing/2014/main" id="{25725EFE-FE00-49A8-A87A-6752B785C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79173" y="3477313"/>
              <a:ext cx="650731" cy="559125"/>
            </a:xfrm>
            <a:custGeom>
              <a:avLst/>
              <a:gdLst>
                <a:gd name="T0" fmla="*/ 95 w 1224"/>
                <a:gd name="T1" fmla="*/ 89 h 1050"/>
                <a:gd name="T2" fmla="*/ 90 w 1224"/>
                <a:gd name="T3" fmla="*/ 84 h 1050"/>
                <a:gd name="T4" fmla="*/ 84 w 1224"/>
                <a:gd name="T5" fmla="*/ 83 h 1050"/>
                <a:gd name="T6" fmla="*/ 82 w 1224"/>
                <a:gd name="T7" fmla="*/ 80 h 1050"/>
                <a:gd name="T8" fmla="*/ 85 w 1224"/>
                <a:gd name="T9" fmla="*/ 77 h 1050"/>
                <a:gd name="T10" fmla="*/ 81 w 1224"/>
                <a:gd name="T11" fmla="*/ 76 h 1050"/>
                <a:gd name="T12" fmla="*/ 77 w 1224"/>
                <a:gd name="T13" fmla="*/ 77 h 1050"/>
                <a:gd name="T14" fmla="*/ 78 w 1224"/>
                <a:gd name="T15" fmla="*/ 73 h 1050"/>
                <a:gd name="T16" fmla="*/ 59 w 1224"/>
                <a:gd name="T17" fmla="*/ 71 h 1050"/>
                <a:gd name="T18" fmla="*/ 41 w 1224"/>
                <a:gd name="T19" fmla="*/ 73 h 1050"/>
                <a:gd name="T20" fmla="*/ 33 w 1224"/>
                <a:gd name="T21" fmla="*/ 71 h 1050"/>
                <a:gd name="T22" fmla="*/ 30 w 1224"/>
                <a:gd name="T23" fmla="*/ 75 h 1050"/>
                <a:gd name="T24" fmla="*/ 27 w 1224"/>
                <a:gd name="T25" fmla="*/ 80 h 1050"/>
                <a:gd name="T26" fmla="*/ 12 w 1224"/>
                <a:gd name="T27" fmla="*/ 81 h 1050"/>
                <a:gd name="T28" fmla="*/ 9 w 1224"/>
                <a:gd name="T29" fmla="*/ 84 h 1050"/>
                <a:gd name="T30" fmla="*/ 6 w 1224"/>
                <a:gd name="T31" fmla="*/ 83 h 1050"/>
                <a:gd name="T32" fmla="*/ 1 w 1224"/>
                <a:gd name="T33" fmla="*/ 83 h 1050"/>
                <a:gd name="T34" fmla="*/ 3 w 1224"/>
                <a:gd name="T35" fmla="*/ 77 h 1050"/>
                <a:gd name="T36" fmla="*/ 5 w 1224"/>
                <a:gd name="T37" fmla="*/ 70 h 1050"/>
                <a:gd name="T38" fmla="*/ 2 w 1224"/>
                <a:gd name="T39" fmla="*/ 65 h 1050"/>
                <a:gd name="T40" fmla="*/ 3 w 1224"/>
                <a:gd name="T41" fmla="*/ 58 h 1050"/>
                <a:gd name="T42" fmla="*/ 4 w 1224"/>
                <a:gd name="T43" fmla="*/ 51 h 1050"/>
                <a:gd name="T44" fmla="*/ 3 w 1224"/>
                <a:gd name="T45" fmla="*/ 47 h 1050"/>
                <a:gd name="T46" fmla="*/ 4 w 1224"/>
                <a:gd name="T47" fmla="*/ 39 h 1050"/>
                <a:gd name="T48" fmla="*/ 6 w 1224"/>
                <a:gd name="T49" fmla="*/ 29 h 1050"/>
                <a:gd name="T50" fmla="*/ 3 w 1224"/>
                <a:gd name="T51" fmla="*/ 22 h 1050"/>
                <a:gd name="T52" fmla="*/ 2 w 1224"/>
                <a:gd name="T53" fmla="*/ 14 h 1050"/>
                <a:gd name="T54" fmla="*/ 0 w 1224"/>
                <a:gd name="T55" fmla="*/ 6 h 1050"/>
                <a:gd name="T56" fmla="*/ 9 w 1224"/>
                <a:gd name="T57" fmla="*/ 1 h 1050"/>
                <a:gd name="T58" fmla="*/ 11 w 1224"/>
                <a:gd name="T59" fmla="*/ 8 h 1050"/>
                <a:gd name="T60" fmla="*/ 15 w 1224"/>
                <a:gd name="T61" fmla="*/ 9 h 1050"/>
                <a:gd name="T62" fmla="*/ 18 w 1224"/>
                <a:gd name="T63" fmla="*/ 8 h 1050"/>
                <a:gd name="T64" fmla="*/ 18 w 1224"/>
                <a:gd name="T65" fmla="*/ 13 h 1050"/>
                <a:gd name="T66" fmla="*/ 17 w 1224"/>
                <a:gd name="T67" fmla="*/ 15 h 1050"/>
                <a:gd name="T68" fmla="*/ 17 w 1224"/>
                <a:gd name="T69" fmla="*/ 17 h 1050"/>
                <a:gd name="T70" fmla="*/ 17 w 1224"/>
                <a:gd name="T71" fmla="*/ 21 h 1050"/>
                <a:gd name="T72" fmla="*/ 21 w 1224"/>
                <a:gd name="T73" fmla="*/ 25 h 1050"/>
                <a:gd name="T74" fmla="*/ 24 w 1224"/>
                <a:gd name="T75" fmla="*/ 31 h 1050"/>
                <a:gd name="T76" fmla="*/ 35 w 1224"/>
                <a:gd name="T77" fmla="*/ 34 h 1050"/>
                <a:gd name="T78" fmla="*/ 40 w 1224"/>
                <a:gd name="T79" fmla="*/ 27 h 1050"/>
                <a:gd name="T80" fmla="*/ 46 w 1224"/>
                <a:gd name="T81" fmla="*/ 30 h 1050"/>
                <a:gd name="T82" fmla="*/ 51 w 1224"/>
                <a:gd name="T83" fmla="*/ 27 h 1050"/>
                <a:gd name="T84" fmla="*/ 59 w 1224"/>
                <a:gd name="T85" fmla="*/ 39 h 1050"/>
                <a:gd name="T86" fmla="*/ 59 w 1224"/>
                <a:gd name="T87" fmla="*/ 45 h 1050"/>
                <a:gd name="T88" fmla="*/ 72 w 1224"/>
                <a:gd name="T89" fmla="*/ 45 h 1050"/>
                <a:gd name="T90" fmla="*/ 79 w 1224"/>
                <a:gd name="T91" fmla="*/ 44 h 1050"/>
                <a:gd name="T92" fmla="*/ 87 w 1224"/>
                <a:gd name="T93" fmla="*/ 48 h 1050"/>
                <a:gd name="T94" fmla="*/ 93 w 1224"/>
                <a:gd name="T95" fmla="*/ 50 h 1050"/>
                <a:gd name="T96" fmla="*/ 98 w 1224"/>
                <a:gd name="T97" fmla="*/ 51 h 1050"/>
                <a:gd name="T98" fmla="*/ 106 w 1224"/>
                <a:gd name="T99" fmla="*/ 50 h 1050"/>
                <a:gd name="T100" fmla="*/ 104 w 1224"/>
                <a:gd name="T101" fmla="*/ 54 h 1050"/>
                <a:gd name="T102" fmla="*/ 104 w 1224"/>
                <a:gd name="T103" fmla="*/ 60 h 1050"/>
                <a:gd name="T104" fmla="*/ 101 w 1224"/>
                <a:gd name="T105" fmla="*/ 63 h 1050"/>
                <a:gd name="T106" fmla="*/ 98 w 1224"/>
                <a:gd name="T107" fmla="*/ 66 h 1050"/>
                <a:gd name="T108" fmla="*/ 95 w 1224"/>
                <a:gd name="T109" fmla="*/ 68 h 1050"/>
                <a:gd name="T110" fmla="*/ 93 w 1224"/>
                <a:gd name="T111" fmla="*/ 72 h 1050"/>
                <a:gd name="T112" fmla="*/ 98 w 1224"/>
                <a:gd name="T113" fmla="*/ 75 h 1050"/>
                <a:gd name="T114" fmla="*/ 102 w 1224"/>
                <a:gd name="T115" fmla="*/ 77 h 1050"/>
                <a:gd name="T116" fmla="*/ 107 w 1224"/>
                <a:gd name="T117" fmla="*/ 76 h 1050"/>
                <a:gd name="T118" fmla="*/ 104 w 1224"/>
                <a:gd name="T119" fmla="*/ 84 h 1050"/>
                <a:gd name="T120" fmla="*/ 103 w 1224"/>
                <a:gd name="T121" fmla="*/ 87 h 1050"/>
                <a:gd name="T122" fmla="*/ 104 w 1224"/>
                <a:gd name="T123" fmla="*/ 91 h 105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24"/>
                <a:gd name="T187" fmla="*/ 0 h 1050"/>
                <a:gd name="T188" fmla="*/ 1224 w 1224"/>
                <a:gd name="T189" fmla="*/ 1050 h 105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24" h="1050">
                  <a:moveTo>
                    <a:pt x="1128" y="1032"/>
                  </a:moveTo>
                  <a:lnTo>
                    <a:pt x="1122" y="1026"/>
                  </a:lnTo>
                  <a:lnTo>
                    <a:pt x="1116" y="1026"/>
                  </a:lnTo>
                  <a:lnTo>
                    <a:pt x="1110" y="1026"/>
                  </a:lnTo>
                  <a:lnTo>
                    <a:pt x="1104" y="1026"/>
                  </a:lnTo>
                  <a:lnTo>
                    <a:pt x="1104" y="1020"/>
                  </a:lnTo>
                  <a:lnTo>
                    <a:pt x="1098" y="1020"/>
                  </a:lnTo>
                  <a:lnTo>
                    <a:pt x="1092" y="1020"/>
                  </a:lnTo>
                  <a:lnTo>
                    <a:pt x="1086" y="1020"/>
                  </a:lnTo>
                  <a:lnTo>
                    <a:pt x="1080" y="1014"/>
                  </a:lnTo>
                  <a:lnTo>
                    <a:pt x="1068" y="1014"/>
                  </a:lnTo>
                  <a:lnTo>
                    <a:pt x="1062" y="1014"/>
                  </a:lnTo>
                  <a:lnTo>
                    <a:pt x="1062" y="1008"/>
                  </a:lnTo>
                  <a:lnTo>
                    <a:pt x="1062" y="990"/>
                  </a:lnTo>
                  <a:lnTo>
                    <a:pt x="1062" y="984"/>
                  </a:lnTo>
                  <a:lnTo>
                    <a:pt x="1062" y="972"/>
                  </a:lnTo>
                  <a:lnTo>
                    <a:pt x="1044" y="966"/>
                  </a:lnTo>
                  <a:lnTo>
                    <a:pt x="1026" y="966"/>
                  </a:lnTo>
                  <a:lnTo>
                    <a:pt x="1014" y="966"/>
                  </a:lnTo>
                  <a:lnTo>
                    <a:pt x="996" y="966"/>
                  </a:lnTo>
                  <a:lnTo>
                    <a:pt x="996" y="972"/>
                  </a:lnTo>
                  <a:lnTo>
                    <a:pt x="990" y="972"/>
                  </a:lnTo>
                  <a:lnTo>
                    <a:pt x="984" y="966"/>
                  </a:lnTo>
                  <a:lnTo>
                    <a:pt x="978" y="966"/>
                  </a:lnTo>
                  <a:lnTo>
                    <a:pt x="978" y="960"/>
                  </a:lnTo>
                  <a:lnTo>
                    <a:pt x="972" y="954"/>
                  </a:lnTo>
                  <a:lnTo>
                    <a:pt x="966" y="954"/>
                  </a:lnTo>
                  <a:lnTo>
                    <a:pt x="960" y="954"/>
                  </a:lnTo>
                  <a:lnTo>
                    <a:pt x="954" y="954"/>
                  </a:lnTo>
                  <a:lnTo>
                    <a:pt x="954" y="948"/>
                  </a:lnTo>
                  <a:lnTo>
                    <a:pt x="942" y="942"/>
                  </a:lnTo>
                  <a:lnTo>
                    <a:pt x="936" y="942"/>
                  </a:lnTo>
                  <a:lnTo>
                    <a:pt x="936" y="936"/>
                  </a:lnTo>
                  <a:lnTo>
                    <a:pt x="936" y="930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42" y="918"/>
                  </a:lnTo>
                  <a:lnTo>
                    <a:pt x="948" y="918"/>
                  </a:lnTo>
                  <a:lnTo>
                    <a:pt x="960" y="918"/>
                  </a:lnTo>
                  <a:lnTo>
                    <a:pt x="966" y="912"/>
                  </a:lnTo>
                  <a:lnTo>
                    <a:pt x="978" y="906"/>
                  </a:lnTo>
                  <a:lnTo>
                    <a:pt x="978" y="900"/>
                  </a:lnTo>
                  <a:lnTo>
                    <a:pt x="978" y="894"/>
                  </a:lnTo>
                  <a:lnTo>
                    <a:pt x="978" y="888"/>
                  </a:lnTo>
                  <a:lnTo>
                    <a:pt x="972" y="888"/>
                  </a:lnTo>
                  <a:lnTo>
                    <a:pt x="978" y="888"/>
                  </a:lnTo>
                  <a:lnTo>
                    <a:pt x="978" y="882"/>
                  </a:lnTo>
                  <a:lnTo>
                    <a:pt x="972" y="876"/>
                  </a:lnTo>
                  <a:lnTo>
                    <a:pt x="966" y="870"/>
                  </a:lnTo>
                  <a:lnTo>
                    <a:pt x="954" y="876"/>
                  </a:lnTo>
                  <a:lnTo>
                    <a:pt x="948" y="876"/>
                  </a:lnTo>
                  <a:lnTo>
                    <a:pt x="942" y="870"/>
                  </a:lnTo>
                  <a:lnTo>
                    <a:pt x="936" y="876"/>
                  </a:lnTo>
                  <a:lnTo>
                    <a:pt x="930" y="876"/>
                  </a:lnTo>
                  <a:lnTo>
                    <a:pt x="924" y="882"/>
                  </a:lnTo>
                  <a:lnTo>
                    <a:pt x="912" y="888"/>
                  </a:lnTo>
                  <a:lnTo>
                    <a:pt x="906" y="894"/>
                  </a:lnTo>
                  <a:lnTo>
                    <a:pt x="900" y="900"/>
                  </a:lnTo>
                  <a:lnTo>
                    <a:pt x="894" y="888"/>
                  </a:lnTo>
                  <a:lnTo>
                    <a:pt x="888" y="894"/>
                  </a:lnTo>
                  <a:lnTo>
                    <a:pt x="882" y="888"/>
                  </a:lnTo>
                  <a:lnTo>
                    <a:pt x="876" y="894"/>
                  </a:lnTo>
                  <a:lnTo>
                    <a:pt x="876" y="888"/>
                  </a:lnTo>
                  <a:lnTo>
                    <a:pt x="876" y="882"/>
                  </a:lnTo>
                  <a:lnTo>
                    <a:pt x="876" y="876"/>
                  </a:lnTo>
                  <a:lnTo>
                    <a:pt x="870" y="858"/>
                  </a:lnTo>
                  <a:lnTo>
                    <a:pt x="864" y="858"/>
                  </a:lnTo>
                  <a:lnTo>
                    <a:pt x="870" y="852"/>
                  </a:lnTo>
                  <a:lnTo>
                    <a:pt x="870" y="846"/>
                  </a:lnTo>
                  <a:lnTo>
                    <a:pt x="876" y="846"/>
                  </a:lnTo>
                  <a:lnTo>
                    <a:pt x="882" y="846"/>
                  </a:lnTo>
                  <a:lnTo>
                    <a:pt x="888" y="840"/>
                  </a:lnTo>
                  <a:lnTo>
                    <a:pt x="894" y="834"/>
                  </a:lnTo>
                  <a:lnTo>
                    <a:pt x="894" y="828"/>
                  </a:lnTo>
                  <a:lnTo>
                    <a:pt x="894" y="816"/>
                  </a:lnTo>
                  <a:lnTo>
                    <a:pt x="858" y="810"/>
                  </a:lnTo>
                  <a:lnTo>
                    <a:pt x="858" y="816"/>
                  </a:lnTo>
                  <a:lnTo>
                    <a:pt x="852" y="816"/>
                  </a:lnTo>
                  <a:lnTo>
                    <a:pt x="780" y="816"/>
                  </a:lnTo>
                  <a:lnTo>
                    <a:pt x="750" y="816"/>
                  </a:lnTo>
                  <a:lnTo>
                    <a:pt x="684" y="816"/>
                  </a:lnTo>
                  <a:lnTo>
                    <a:pt x="636" y="816"/>
                  </a:lnTo>
                  <a:lnTo>
                    <a:pt x="612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0" y="816"/>
                  </a:lnTo>
                  <a:lnTo>
                    <a:pt x="480" y="822"/>
                  </a:lnTo>
                  <a:lnTo>
                    <a:pt x="480" y="834"/>
                  </a:lnTo>
                  <a:lnTo>
                    <a:pt x="474" y="840"/>
                  </a:lnTo>
                  <a:lnTo>
                    <a:pt x="468" y="840"/>
                  </a:lnTo>
                  <a:lnTo>
                    <a:pt x="432" y="840"/>
                  </a:lnTo>
                  <a:lnTo>
                    <a:pt x="426" y="834"/>
                  </a:lnTo>
                  <a:lnTo>
                    <a:pt x="420" y="834"/>
                  </a:lnTo>
                  <a:lnTo>
                    <a:pt x="420" y="828"/>
                  </a:lnTo>
                  <a:lnTo>
                    <a:pt x="414" y="822"/>
                  </a:lnTo>
                  <a:lnTo>
                    <a:pt x="408" y="822"/>
                  </a:lnTo>
                  <a:lnTo>
                    <a:pt x="396" y="822"/>
                  </a:lnTo>
                  <a:lnTo>
                    <a:pt x="396" y="816"/>
                  </a:lnTo>
                  <a:lnTo>
                    <a:pt x="384" y="816"/>
                  </a:lnTo>
                  <a:lnTo>
                    <a:pt x="372" y="810"/>
                  </a:lnTo>
                  <a:lnTo>
                    <a:pt x="372" y="804"/>
                  </a:lnTo>
                  <a:lnTo>
                    <a:pt x="366" y="804"/>
                  </a:lnTo>
                  <a:lnTo>
                    <a:pt x="360" y="804"/>
                  </a:lnTo>
                  <a:lnTo>
                    <a:pt x="348" y="828"/>
                  </a:lnTo>
                  <a:lnTo>
                    <a:pt x="348" y="834"/>
                  </a:lnTo>
                  <a:lnTo>
                    <a:pt x="348" y="852"/>
                  </a:lnTo>
                  <a:lnTo>
                    <a:pt x="348" y="858"/>
                  </a:lnTo>
                  <a:lnTo>
                    <a:pt x="342" y="864"/>
                  </a:lnTo>
                  <a:lnTo>
                    <a:pt x="342" y="870"/>
                  </a:lnTo>
                  <a:lnTo>
                    <a:pt x="330" y="876"/>
                  </a:lnTo>
                  <a:lnTo>
                    <a:pt x="324" y="888"/>
                  </a:lnTo>
                  <a:lnTo>
                    <a:pt x="324" y="894"/>
                  </a:lnTo>
                  <a:lnTo>
                    <a:pt x="330" y="900"/>
                  </a:lnTo>
                  <a:lnTo>
                    <a:pt x="330" y="906"/>
                  </a:lnTo>
                  <a:lnTo>
                    <a:pt x="324" y="906"/>
                  </a:lnTo>
                  <a:lnTo>
                    <a:pt x="318" y="912"/>
                  </a:lnTo>
                  <a:lnTo>
                    <a:pt x="312" y="918"/>
                  </a:lnTo>
                  <a:lnTo>
                    <a:pt x="306" y="924"/>
                  </a:lnTo>
                  <a:lnTo>
                    <a:pt x="288" y="924"/>
                  </a:lnTo>
                  <a:lnTo>
                    <a:pt x="282" y="924"/>
                  </a:lnTo>
                  <a:lnTo>
                    <a:pt x="276" y="930"/>
                  </a:lnTo>
                  <a:lnTo>
                    <a:pt x="270" y="930"/>
                  </a:lnTo>
                  <a:lnTo>
                    <a:pt x="264" y="930"/>
                  </a:lnTo>
                  <a:lnTo>
                    <a:pt x="198" y="930"/>
                  </a:lnTo>
                  <a:lnTo>
                    <a:pt x="132" y="930"/>
                  </a:lnTo>
                  <a:lnTo>
                    <a:pt x="132" y="936"/>
                  </a:lnTo>
                  <a:lnTo>
                    <a:pt x="132" y="942"/>
                  </a:lnTo>
                  <a:lnTo>
                    <a:pt x="132" y="948"/>
                  </a:lnTo>
                  <a:lnTo>
                    <a:pt x="126" y="948"/>
                  </a:lnTo>
                  <a:lnTo>
                    <a:pt x="120" y="948"/>
                  </a:lnTo>
                  <a:lnTo>
                    <a:pt x="120" y="954"/>
                  </a:lnTo>
                  <a:lnTo>
                    <a:pt x="114" y="954"/>
                  </a:lnTo>
                  <a:lnTo>
                    <a:pt x="114" y="960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02" y="966"/>
                  </a:lnTo>
                  <a:lnTo>
                    <a:pt x="102" y="972"/>
                  </a:lnTo>
                  <a:lnTo>
                    <a:pt x="96" y="972"/>
                  </a:lnTo>
                  <a:lnTo>
                    <a:pt x="96" y="966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78" y="960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60"/>
                  </a:lnTo>
                  <a:lnTo>
                    <a:pt x="54" y="966"/>
                  </a:lnTo>
                  <a:lnTo>
                    <a:pt x="48" y="966"/>
                  </a:lnTo>
                  <a:lnTo>
                    <a:pt x="42" y="966"/>
                  </a:lnTo>
                  <a:lnTo>
                    <a:pt x="36" y="966"/>
                  </a:lnTo>
                  <a:lnTo>
                    <a:pt x="30" y="966"/>
                  </a:lnTo>
                  <a:lnTo>
                    <a:pt x="24" y="960"/>
                  </a:lnTo>
                  <a:lnTo>
                    <a:pt x="18" y="960"/>
                  </a:lnTo>
                  <a:lnTo>
                    <a:pt x="12" y="960"/>
                  </a:lnTo>
                  <a:lnTo>
                    <a:pt x="12" y="948"/>
                  </a:lnTo>
                  <a:lnTo>
                    <a:pt x="18" y="942"/>
                  </a:lnTo>
                  <a:lnTo>
                    <a:pt x="18" y="936"/>
                  </a:lnTo>
                  <a:lnTo>
                    <a:pt x="18" y="930"/>
                  </a:lnTo>
                  <a:lnTo>
                    <a:pt x="18" y="924"/>
                  </a:lnTo>
                  <a:lnTo>
                    <a:pt x="18" y="912"/>
                  </a:lnTo>
                  <a:lnTo>
                    <a:pt x="24" y="906"/>
                  </a:lnTo>
                  <a:lnTo>
                    <a:pt x="30" y="900"/>
                  </a:lnTo>
                  <a:lnTo>
                    <a:pt x="36" y="894"/>
                  </a:lnTo>
                  <a:lnTo>
                    <a:pt x="36" y="882"/>
                  </a:lnTo>
                  <a:lnTo>
                    <a:pt x="30" y="876"/>
                  </a:lnTo>
                  <a:lnTo>
                    <a:pt x="30" y="870"/>
                  </a:lnTo>
                  <a:lnTo>
                    <a:pt x="24" y="858"/>
                  </a:lnTo>
                  <a:lnTo>
                    <a:pt x="24" y="846"/>
                  </a:lnTo>
                  <a:lnTo>
                    <a:pt x="36" y="822"/>
                  </a:lnTo>
                  <a:lnTo>
                    <a:pt x="42" y="816"/>
                  </a:lnTo>
                  <a:lnTo>
                    <a:pt x="48" y="816"/>
                  </a:lnTo>
                  <a:lnTo>
                    <a:pt x="60" y="804"/>
                  </a:lnTo>
                  <a:lnTo>
                    <a:pt x="60" y="786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54" y="762"/>
                  </a:lnTo>
                  <a:lnTo>
                    <a:pt x="42" y="762"/>
                  </a:lnTo>
                  <a:lnTo>
                    <a:pt x="36" y="762"/>
                  </a:lnTo>
                  <a:lnTo>
                    <a:pt x="30" y="762"/>
                  </a:lnTo>
                  <a:lnTo>
                    <a:pt x="30" y="756"/>
                  </a:lnTo>
                  <a:lnTo>
                    <a:pt x="24" y="750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702"/>
                  </a:lnTo>
                  <a:lnTo>
                    <a:pt x="36" y="684"/>
                  </a:lnTo>
                  <a:lnTo>
                    <a:pt x="36" y="678"/>
                  </a:lnTo>
                  <a:lnTo>
                    <a:pt x="36" y="666"/>
                  </a:lnTo>
                  <a:lnTo>
                    <a:pt x="36" y="654"/>
                  </a:lnTo>
                  <a:lnTo>
                    <a:pt x="18" y="654"/>
                  </a:lnTo>
                  <a:lnTo>
                    <a:pt x="18" y="648"/>
                  </a:lnTo>
                  <a:lnTo>
                    <a:pt x="18" y="618"/>
                  </a:lnTo>
                  <a:lnTo>
                    <a:pt x="18" y="612"/>
                  </a:lnTo>
                  <a:lnTo>
                    <a:pt x="24" y="612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54" y="588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76"/>
                  </a:lnTo>
                  <a:lnTo>
                    <a:pt x="48" y="564"/>
                  </a:lnTo>
                  <a:lnTo>
                    <a:pt x="42" y="564"/>
                  </a:lnTo>
                  <a:lnTo>
                    <a:pt x="36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6" y="540"/>
                  </a:lnTo>
                  <a:lnTo>
                    <a:pt x="48" y="534"/>
                  </a:lnTo>
                  <a:lnTo>
                    <a:pt x="54" y="528"/>
                  </a:lnTo>
                  <a:lnTo>
                    <a:pt x="60" y="504"/>
                  </a:lnTo>
                  <a:lnTo>
                    <a:pt x="60" y="492"/>
                  </a:lnTo>
                  <a:lnTo>
                    <a:pt x="54" y="492"/>
                  </a:lnTo>
                  <a:lnTo>
                    <a:pt x="54" y="480"/>
                  </a:lnTo>
                  <a:lnTo>
                    <a:pt x="48" y="456"/>
                  </a:lnTo>
                  <a:lnTo>
                    <a:pt x="42" y="450"/>
                  </a:lnTo>
                  <a:lnTo>
                    <a:pt x="36" y="444"/>
                  </a:lnTo>
                  <a:lnTo>
                    <a:pt x="36" y="420"/>
                  </a:lnTo>
                  <a:lnTo>
                    <a:pt x="36" y="408"/>
                  </a:lnTo>
                  <a:lnTo>
                    <a:pt x="36" y="37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60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6" y="300"/>
                  </a:lnTo>
                  <a:lnTo>
                    <a:pt x="60" y="294"/>
                  </a:lnTo>
                  <a:lnTo>
                    <a:pt x="60" y="288"/>
                  </a:lnTo>
                  <a:lnTo>
                    <a:pt x="54" y="282"/>
                  </a:lnTo>
                  <a:lnTo>
                    <a:pt x="42" y="276"/>
                  </a:lnTo>
                  <a:lnTo>
                    <a:pt x="36" y="276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0" y="252"/>
                  </a:lnTo>
                  <a:lnTo>
                    <a:pt x="24" y="246"/>
                  </a:lnTo>
                  <a:lnTo>
                    <a:pt x="24" y="240"/>
                  </a:lnTo>
                  <a:lnTo>
                    <a:pt x="24" y="228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62"/>
                  </a:lnTo>
                  <a:lnTo>
                    <a:pt x="24" y="144"/>
                  </a:lnTo>
                  <a:lnTo>
                    <a:pt x="24" y="132"/>
                  </a:lnTo>
                  <a:lnTo>
                    <a:pt x="24" y="114"/>
                  </a:lnTo>
                  <a:lnTo>
                    <a:pt x="24" y="102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18" y="48"/>
                  </a:lnTo>
                  <a:lnTo>
                    <a:pt x="42" y="36"/>
                  </a:lnTo>
                  <a:lnTo>
                    <a:pt x="54" y="24"/>
                  </a:lnTo>
                  <a:lnTo>
                    <a:pt x="60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10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14" y="60"/>
                  </a:lnTo>
                  <a:lnTo>
                    <a:pt x="120" y="60"/>
                  </a:lnTo>
                  <a:lnTo>
                    <a:pt x="114" y="84"/>
                  </a:lnTo>
                  <a:lnTo>
                    <a:pt x="120" y="90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38" y="114"/>
                  </a:lnTo>
                  <a:lnTo>
                    <a:pt x="138" y="132"/>
                  </a:lnTo>
                  <a:lnTo>
                    <a:pt x="162" y="126"/>
                  </a:lnTo>
                  <a:lnTo>
                    <a:pt x="162" y="114"/>
                  </a:lnTo>
                  <a:lnTo>
                    <a:pt x="174" y="108"/>
                  </a:lnTo>
                  <a:lnTo>
                    <a:pt x="174" y="102"/>
                  </a:lnTo>
                  <a:lnTo>
                    <a:pt x="180" y="96"/>
                  </a:lnTo>
                  <a:lnTo>
                    <a:pt x="180" y="60"/>
                  </a:lnTo>
                  <a:lnTo>
                    <a:pt x="192" y="60"/>
                  </a:lnTo>
                  <a:lnTo>
                    <a:pt x="192" y="72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04" y="108"/>
                  </a:lnTo>
                  <a:lnTo>
                    <a:pt x="204" y="114"/>
                  </a:lnTo>
                  <a:lnTo>
                    <a:pt x="204" y="120"/>
                  </a:lnTo>
                  <a:lnTo>
                    <a:pt x="204" y="126"/>
                  </a:lnTo>
                  <a:lnTo>
                    <a:pt x="210" y="126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8" y="174"/>
                  </a:lnTo>
                  <a:lnTo>
                    <a:pt x="198" y="180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86" y="204"/>
                  </a:lnTo>
                  <a:lnTo>
                    <a:pt x="186" y="210"/>
                  </a:lnTo>
                  <a:lnTo>
                    <a:pt x="180" y="210"/>
                  </a:lnTo>
                  <a:lnTo>
                    <a:pt x="180" y="216"/>
                  </a:lnTo>
                  <a:lnTo>
                    <a:pt x="180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92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8" y="258"/>
                  </a:lnTo>
                  <a:lnTo>
                    <a:pt x="204" y="258"/>
                  </a:lnTo>
                  <a:lnTo>
                    <a:pt x="210" y="258"/>
                  </a:lnTo>
                  <a:lnTo>
                    <a:pt x="216" y="258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34" y="276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46" y="306"/>
                  </a:lnTo>
                  <a:lnTo>
                    <a:pt x="252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42"/>
                  </a:lnTo>
                  <a:lnTo>
                    <a:pt x="270" y="342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88" y="366"/>
                  </a:lnTo>
                  <a:lnTo>
                    <a:pt x="336" y="360"/>
                  </a:lnTo>
                  <a:lnTo>
                    <a:pt x="354" y="360"/>
                  </a:lnTo>
                  <a:lnTo>
                    <a:pt x="366" y="372"/>
                  </a:lnTo>
                  <a:lnTo>
                    <a:pt x="378" y="378"/>
                  </a:lnTo>
                  <a:lnTo>
                    <a:pt x="378" y="390"/>
                  </a:lnTo>
                  <a:lnTo>
                    <a:pt x="384" y="390"/>
                  </a:lnTo>
                  <a:lnTo>
                    <a:pt x="390" y="396"/>
                  </a:lnTo>
                  <a:lnTo>
                    <a:pt x="408" y="390"/>
                  </a:lnTo>
                  <a:lnTo>
                    <a:pt x="426" y="366"/>
                  </a:lnTo>
                  <a:lnTo>
                    <a:pt x="432" y="360"/>
                  </a:lnTo>
                  <a:lnTo>
                    <a:pt x="438" y="348"/>
                  </a:lnTo>
                  <a:lnTo>
                    <a:pt x="438" y="342"/>
                  </a:lnTo>
                  <a:lnTo>
                    <a:pt x="438" y="330"/>
                  </a:lnTo>
                  <a:lnTo>
                    <a:pt x="444" y="324"/>
                  </a:lnTo>
                  <a:lnTo>
                    <a:pt x="450" y="318"/>
                  </a:lnTo>
                  <a:lnTo>
                    <a:pt x="456" y="312"/>
                  </a:lnTo>
                  <a:lnTo>
                    <a:pt x="456" y="306"/>
                  </a:lnTo>
                  <a:lnTo>
                    <a:pt x="456" y="300"/>
                  </a:lnTo>
                  <a:lnTo>
                    <a:pt x="474" y="288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92" y="294"/>
                  </a:lnTo>
                  <a:lnTo>
                    <a:pt x="492" y="318"/>
                  </a:lnTo>
                  <a:lnTo>
                    <a:pt x="504" y="324"/>
                  </a:lnTo>
                  <a:lnTo>
                    <a:pt x="492" y="348"/>
                  </a:lnTo>
                  <a:lnTo>
                    <a:pt x="522" y="348"/>
                  </a:lnTo>
                  <a:lnTo>
                    <a:pt x="528" y="342"/>
                  </a:lnTo>
                  <a:lnTo>
                    <a:pt x="528" y="336"/>
                  </a:lnTo>
                  <a:lnTo>
                    <a:pt x="528" y="330"/>
                  </a:lnTo>
                  <a:lnTo>
                    <a:pt x="534" y="330"/>
                  </a:lnTo>
                  <a:lnTo>
                    <a:pt x="540" y="330"/>
                  </a:lnTo>
                  <a:lnTo>
                    <a:pt x="546" y="330"/>
                  </a:lnTo>
                  <a:lnTo>
                    <a:pt x="552" y="324"/>
                  </a:lnTo>
                  <a:lnTo>
                    <a:pt x="558" y="318"/>
                  </a:lnTo>
                  <a:lnTo>
                    <a:pt x="576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8" y="348"/>
                  </a:lnTo>
                  <a:lnTo>
                    <a:pt x="654" y="354"/>
                  </a:lnTo>
                  <a:lnTo>
                    <a:pt x="648" y="402"/>
                  </a:lnTo>
                  <a:lnTo>
                    <a:pt x="678" y="402"/>
                  </a:lnTo>
                  <a:lnTo>
                    <a:pt x="678" y="420"/>
                  </a:lnTo>
                  <a:lnTo>
                    <a:pt x="684" y="438"/>
                  </a:lnTo>
                  <a:lnTo>
                    <a:pt x="684" y="450"/>
                  </a:lnTo>
                  <a:lnTo>
                    <a:pt x="684" y="456"/>
                  </a:lnTo>
                  <a:lnTo>
                    <a:pt x="690" y="468"/>
                  </a:lnTo>
                  <a:lnTo>
                    <a:pt x="690" y="474"/>
                  </a:lnTo>
                  <a:lnTo>
                    <a:pt x="690" y="480"/>
                  </a:lnTo>
                  <a:lnTo>
                    <a:pt x="696" y="486"/>
                  </a:lnTo>
                  <a:lnTo>
                    <a:pt x="696" y="498"/>
                  </a:lnTo>
                  <a:lnTo>
                    <a:pt x="702" y="504"/>
                  </a:lnTo>
                  <a:lnTo>
                    <a:pt x="690" y="516"/>
                  </a:lnTo>
                  <a:lnTo>
                    <a:pt x="678" y="522"/>
                  </a:lnTo>
                  <a:lnTo>
                    <a:pt x="654" y="528"/>
                  </a:lnTo>
                  <a:lnTo>
                    <a:pt x="660" y="546"/>
                  </a:lnTo>
                  <a:lnTo>
                    <a:pt x="672" y="546"/>
                  </a:lnTo>
                  <a:lnTo>
                    <a:pt x="678" y="540"/>
                  </a:lnTo>
                  <a:lnTo>
                    <a:pt x="714" y="540"/>
                  </a:lnTo>
                  <a:lnTo>
                    <a:pt x="798" y="540"/>
                  </a:lnTo>
                  <a:lnTo>
                    <a:pt x="804" y="540"/>
                  </a:lnTo>
                  <a:lnTo>
                    <a:pt x="816" y="528"/>
                  </a:lnTo>
                  <a:lnTo>
                    <a:pt x="822" y="522"/>
                  </a:lnTo>
                  <a:lnTo>
                    <a:pt x="834" y="516"/>
                  </a:lnTo>
                  <a:lnTo>
                    <a:pt x="846" y="516"/>
                  </a:lnTo>
                  <a:lnTo>
                    <a:pt x="852" y="510"/>
                  </a:lnTo>
                  <a:lnTo>
                    <a:pt x="858" y="510"/>
                  </a:lnTo>
                  <a:lnTo>
                    <a:pt x="882" y="516"/>
                  </a:lnTo>
                  <a:lnTo>
                    <a:pt x="888" y="516"/>
                  </a:lnTo>
                  <a:lnTo>
                    <a:pt x="888" y="510"/>
                  </a:lnTo>
                  <a:lnTo>
                    <a:pt x="894" y="510"/>
                  </a:lnTo>
                  <a:lnTo>
                    <a:pt x="906" y="504"/>
                  </a:lnTo>
                  <a:lnTo>
                    <a:pt x="918" y="498"/>
                  </a:lnTo>
                  <a:lnTo>
                    <a:pt x="930" y="492"/>
                  </a:lnTo>
                  <a:lnTo>
                    <a:pt x="936" y="492"/>
                  </a:lnTo>
                  <a:lnTo>
                    <a:pt x="948" y="492"/>
                  </a:lnTo>
                  <a:lnTo>
                    <a:pt x="954" y="528"/>
                  </a:lnTo>
                  <a:lnTo>
                    <a:pt x="954" y="564"/>
                  </a:lnTo>
                  <a:lnTo>
                    <a:pt x="972" y="564"/>
                  </a:lnTo>
                  <a:lnTo>
                    <a:pt x="978" y="558"/>
                  </a:lnTo>
                  <a:lnTo>
                    <a:pt x="990" y="552"/>
                  </a:lnTo>
                  <a:lnTo>
                    <a:pt x="1002" y="540"/>
                  </a:lnTo>
                  <a:lnTo>
                    <a:pt x="1026" y="534"/>
                  </a:lnTo>
                  <a:lnTo>
                    <a:pt x="1032" y="540"/>
                  </a:lnTo>
                  <a:lnTo>
                    <a:pt x="1044" y="546"/>
                  </a:lnTo>
                  <a:lnTo>
                    <a:pt x="1062" y="552"/>
                  </a:lnTo>
                  <a:lnTo>
                    <a:pt x="1068" y="552"/>
                  </a:lnTo>
                  <a:lnTo>
                    <a:pt x="1068" y="570"/>
                  </a:lnTo>
                  <a:lnTo>
                    <a:pt x="1068" y="576"/>
                  </a:lnTo>
                  <a:lnTo>
                    <a:pt x="1068" y="582"/>
                  </a:lnTo>
                  <a:lnTo>
                    <a:pt x="1068" y="588"/>
                  </a:lnTo>
                  <a:lnTo>
                    <a:pt x="1068" y="594"/>
                  </a:lnTo>
                  <a:lnTo>
                    <a:pt x="1080" y="600"/>
                  </a:lnTo>
                  <a:lnTo>
                    <a:pt x="1086" y="606"/>
                  </a:lnTo>
                  <a:lnTo>
                    <a:pt x="1092" y="594"/>
                  </a:lnTo>
                  <a:lnTo>
                    <a:pt x="1104" y="588"/>
                  </a:lnTo>
                  <a:lnTo>
                    <a:pt x="1116" y="588"/>
                  </a:lnTo>
                  <a:lnTo>
                    <a:pt x="1122" y="588"/>
                  </a:lnTo>
                  <a:lnTo>
                    <a:pt x="1122" y="594"/>
                  </a:lnTo>
                  <a:lnTo>
                    <a:pt x="1128" y="594"/>
                  </a:lnTo>
                  <a:lnTo>
                    <a:pt x="1134" y="594"/>
                  </a:lnTo>
                  <a:lnTo>
                    <a:pt x="1140" y="594"/>
                  </a:lnTo>
                  <a:lnTo>
                    <a:pt x="1146" y="588"/>
                  </a:lnTo>
                  <a:lnTo>
                    <a:pt x="1158" y="582"/>
                  </a:lnTo>
                  <a:lnTo>
                    <a:pt x="1164" y="576"/>
                  </a:lnTo>
                  <a:lnTo>
                    <a:pt x="1176" y="576"/>
                  </a:lnTo>
                  <a:lnTo>
                    <a:pt x="1194" y="576"/>
                  </a:lnTo>
                  <a:lnTo>
                    <a:pt x="1218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24" y="594"/>
                  </a:lnTo>
                  <a:lnTo>
                    <a:pt x="1212" y="600"/>
                  </a:lnTo>
                  <a:lnTo>
                    <a:pt x="1206" y="606"/>
                  </a:lnTo>
                  <a:lnTo>
                    <a:pt x="1200" y="606"/>
                  </a:lnTo>
                  <a:lnTo>
                    <a:pt x="1200" y="612"/>
                  </a:lnTo>
                  <a:lnTo>
                    <a:pt x="1194" y="612"/>
                  </a:lnTo>
                  <a:lnTo>
                    <a:pt x="1194" y="618"/>
                  </a:lnTo>
                  <a:lnTo>
                    <a:pt x="1194" y="624"/>
                  </a:lnTo>
                  <a:lnTo>
                    <a:pt x="1194" y="630"/>
                  </a:lnTo>
                  <a:lnTo>
                    <a:pt x="1194" y="648"/>
                  </a:lnTo>
                  <a:lnTo>
                    <a:pt x="1194" y="660"/>
                  </a:lnTo>
                  <a:lnTo>
                    <a:pt x="1194" y="666"/>
                  </a:lnTo>
                  <a:lnTo>
                    <a:pt x="1194" y="672"/>
                  </a:lnTo>
                  <a:lnTo>
                    <a:pt x="1194" y="678"/>
                  </a:lnTo>
                  <a:lnTo>
                    <a:pt x="1188" y="684"/>
                  </a:lnTo>
                  <a:lnTo>
                    <a:pt x="1188" y="690"/>
                  </a:lnTo>
                  <a:lnTo>
                    <a:pt x="1188" y="696"/>
                  </a:lnTo>
                  <a:lnTo>
                    <a:pt x="1188" y="702"/>
                  </a:lnTo>
                  <a:lnTo>
                    <a:pt x="1188" y="708"/>
                  </a:lnTo>
                  <a:lnTo>
                    <a:pt x="1188" y="714"/>
                  </a:lnTo>
                  <a:lnTo>
                    <a:pt x="1182" y="720"/>
                  </a:lnTo>
                  <a:lnTo>
                    <a:pt x="1170" y="720"/>
                  </a:lnTo>
                  <a:lnTo>
                    <a:pt x="1158" y="726"/>
                  </a:lnTo>
                  <a:lnTo>
                    <a:pt x="1152" y="726"/>
                  </a:lnTo>
                  <a:lnTo>
                    <a:pt x="1152" y="732"/>
                  </a:lnTo>
                  <a:lnTo>
                    <a:pt x="1146" y="738"/>
                  </a:lnTo>
                  <a:lnTo>
                    <a:pt x="1140" y="738"/>
                  </a:lnTo>
                  <a:lnTo>
                    <a:pt x="1140" y="744"/>
                  </a:lnTo>
                  <a:lnTo>
                    <a:pt x="1134" y="744"/>
                  </a:lnTo>
                  <a:lnTo>
                    <a:pt x="1128" y="744"/>
                  </a:lnTo>
                  <a:lnTo>
                    <a:pt x="1122" y="750"/>
                  </a:lnTo>
                  <a:lnTo>
                    <a:pt x="1128" y="750"/>
                  </a:lnTo>
                  <a:lnTo>
                    <a:pt x="1122" y="756"/>
                  </a:lnTo>
                  <a:lnTo>
                    <a:pt x="1116" y="756"/>
                  </a:lnTo>
                  <a:lnTo>
                    <a:pt x="1110" y="762"/>
                  </a:lnTo>
                  <a:lnTo>
                    <a:pt x="1104" y="762"/>
                  </a:lnTo>
                  <a:lnTo>
                    <a:pt x="1104" y="768"/>
                  </a:lnTo>
                  <a:lnTo>
                    <a:pt x="1098" y="768"/>
                  </a:lnTo>
                  <a:lnTo>
                    <a:pt x="1098" y="774"/>
                  </a:lnTo>
                  <a:lnTo>
                    <a:pt x="1092" y="774"/>
                  </a:lnTo>
                  <a:lnTo>
                    <a:pt x="1092" y="780"/>
                  </a:lnTo>
                  <a:lnTo>
                    <a:pt x="1086" y="780"/>
                  </a:lnTo>
                  <a:lnTo>
                    <a:pt x="1086" y="786"/>
                  </a:lnTo>
                  <a:lnTo>
                    <a:pt x="1080" y="786"/>
                  </a:lnTo>
                  <a:lnTo>
                    <a:pt x="1080" y="792"/>
                  </a:lnTo>
                  <a:lnTo>
                    <a:pt x="1080" y="798"/>
                  </a:lnTo>
                  <a:lnTo>
                    <a:pt x="1080" y="804"/>
                  </a:lnTo>
                  <a:lnTo>
                    <a:pt x="1086" y="810"/>
                  </a:lnTo>
                  <a:lnTo>
                    <a:pt x="1080" y="816"/>
                  </a:lnTo>
                  <a:lnTo>
                    <a:pt x="1080" y="822"/>
                  </a:lnTo>
                  <a:lnTo>
                    <a:pt x="1074" y="822"/>
                  </a:lnTo>
                  <a:lnTo>
                    <a:pt x="1068" y="828"/>
                  </a:lnTo>
                  <a:lnTo>
                    <a:pt x="1074" y="828"/>
                  </a:lnTo>
                  <a:lnTo>
                    <a:pt x="1074" y="834"/>
                  </a:lnTo>
                  <a:lnTo>
                    <a:pt x="1080" y="846"/>
                  </a:lnTo>
                  <a:lnTo>
                    <a:pt x="1086" y="846"/>
                  </a:lnTo>
                  <a:lnTo>
                    <a:pt x="1092" y="852"/>
                  </a:lnTo>
                  <a:lnTo>
                    <a:pt x="1092" y="858"/>
                  </a:lnTo>
                  <a:lnTo>
                    <a:pt x="1098" y="858"/>
                  </a:lnTo>
                  <a:lnTo>
                    <a:pt x="1110" y="864"/>
                  </a:lnTo>
                  <a:lnTo>
                    <a:pt x="1116" y="864"/>
                  </a:lnTo>
                  <a:lnTo>
                    <a:pt x="1122" y="864"/>
                  </a:lnTo>
                  <a:lnTo>
                    <a:pt x="1128" y="864"/>
                  </a:lnTo>
                  <a:lnTo>
                    <a:pt x="1134" y="876"/>
                  </a:lnTo>
                  <a:lnTo>
                    <a:pt x="1140" y="882"/>
                  </a:lnTo>
                  <a:lnTo>
                    <a:pt x="1140" y="888"/>
                  </a:lnTo>
                  <a:lnTo>
                    <a:pt x="1152" y="918"/>
                  </a:lnTo>
                  <a:lnTo>
                    <a:pt x="1158" y="894"/>
                  </a:lnTo>
                  <a:lnTo>
                    <a:pt x="1164" y="888"/>
                  </a:lnTo>
                  <a:lnTo>
                    <a:pt x="1164" y="882"/>
                  </a:lnTo>
                  <a:lnTo>
                    <a:pt x="1176" y="864"/>
                  </a:lnTo>
                  <a:lnTo>
                    <a:pt x="1182" y="858"/>
                  </a:lnTo>
                  <a:lnTo>
                    <a:pt x="1188" y="846"/>
                  </a:lnTo>
                  <a:lnTo>
                    <a:pt x="1200" y="840"/>
                  </a:lnTo>
                  <a:lnTo>
                    <a:pt x="1212" y="840"/>
                  </a:lnTo>
                  <a:lnTo>
                    <a:pt x="1218" y="846"/>
                  </a:lnTo>
                  <a:lnTo>
                    <a:pt x="1224" y="858"/>
                  </a:lnTo>
                  <a:lnTo>
                    <a:pt x="1224" y="864"/>
                  </a:lnTo>
                  <a:lnTo>
                    <a:pt x="1224" y="876"/>
                  </a:lnTo>
                  <a:lnTo>
                    <a:pt x="1212" y="912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00" y="930"/>
                  </a:lnTo>
                  <a:lnTo>
                    <a:pt x="1200" y="942"/>
                  </a:lnTo>
                  <a:lnTo>
                    <a:pt x="1194" y="948"/>
                  </a:lnTo>
                  <a:lnTo>
                    <a:pt x="1194" y="960"/>
                  </a:lnTo>
                  <a:lnTo>
                    <a:pt x="1194" y="966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70" y="984"/>
                  </a:lnTo>
                  <a:lnTo>
                    <a:pt x="1164" y="984"/>
                  </a:lnTo>
                  <a:lnTo>
                    <a:pt x="1158" y="984"/>
                  </a:lnTo>
                  <a:lnTo>
                    <a:pt x="1146" y="984"/>
                  </a:lnTo>
                  <a:lnTo>
                    <a:pt x="1140" y="990"/>
                  </a:lnTo>
                  <a:lnTo>
                    <a:pt x="1140" y="996"/>
                  </a:lnTo>
                  <a:lnTo>
                    <a:pt x="1152" y="996"/>
                  </a:lnTo>
                  <a:lnTo>
                    <a:pt x="1176" y="1002"/>
                  </a:lnTo>
                  <a:lnTo>
                    <a:pt x="1194" y="1008"/>
                  </a:lnTo>
                  <a:lnTo>
                    <a:pt x="1206" y="1008"/>
                  </a:lnTo>
                  <a:lnTo>
                    <a:pt x="1218" y="1014"/>
                  </a:lnTo>
                  <a:lnTo>
                    <a:pt x="1212" y="1038"/>
                  </a:lnTo>
                  <a:lnTo>
                    <a:pt x="1212" y="1044"/>
                  </a:lnTo>
                  <a:lnTo>
                    <a:pt x="1206" y="1044"/>
                  </a:lnTo>
                  <a:lnTo>
                    <a:pt x="1206" y="1050"/>
                  </a:lnTo>
                  <a:lnTo>
                    <a:pt x="1194" y="1050"/>
                  </a:lnTo>
                  <a:lnTo>
                    <a:pt x="1188" y="1044"/>
                  </a:lnTo>
                  <a:lnTo>
                    <a:pt x="1158" y="1020"/>
                  </a:lnTo>
                  <a:lnTo>
                    <a:pt x="1152" y="1020"/>
                  </a:lnTo>
                  <a:lnTo>
                    <a:pt x="1140" y="1020"/>
                  </a:lnTo>
                  <a:lnTo>
                    <a:pt x="1134" y="1020"/>
                  </a:lnTo>
                  <a:lnTo>
                    <a:pt x="1134" y="1026"/>
                  </a:lnTo>
                  <a:lnTo>
                    <a:pt x="1134" y="1032"/>
                  </a:lnTo>
                  <a:lnTo>
                    <a:pt x="1128" y="103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2" name="Freeform 27">
              <a:extLst>
                <a:ext uri="{FF2B5EF4-FFF2-40B4-BE49-F238E27FC236}">
                  <a16:creationId xmlns:a16="http://schemas.microsoft.com/office/drawing/2014/main" id="{CE95C9DF-B651-4085-946F-65424BC51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2063" y="3421400"/>
              <a:ext cx="342138" cy="377969"/>
            </a:xfrm>
            <a:custGeom>
              <a:avLst/>
              <a:gdLst>
                <a:gd name="T0" fmla="*/ 43 w 642"/>
                <a:gd name="T1" fmla="*/ 41 h 708"/>
                <a:gd name="T2" fmla="*/ 39 w 642"/>
                <a:gd name="T3" fmla="*/ 41 h 708"/>
                <a:gd name="T4" fmla="*/ 38 w 642"/>
                <a:gd name="T5" fmla="*/ 47 h 708"/>
                <a:gd name="T6" fmla="*/ 38 w 642"/>
                <a:gd name="T7" fmla="*/ 49 h 708"/>
                <a:gd name="T8" fmla="*/ 38 w 642"/>
                <a:gd name="T9" fmla="*/ 50 h 708"/>
                <a:gd name="T10" fmla="*/ 36 w 642"/>
                <a:gd name="T11" fmla="*/ 52 h 708"/>
                <a:gd name="T12" fmla="*/ 35 w 642"/>
                <a:gd name="T13" fmla="*/ 53 h 708"/>
                <a:gd name="T14" fmla="*/ 33 w 642"/>
                <a:gd name="T15" fmla="*/ 55 h 708"/>
                <a:gd name="T16" fmla="*/ 32 w 642"/>
                <a:gd name="T17" fmla="*/ 56 h 708"/>
                <a:gd name="T18" fmla="*/ 31 w 642"/>
                <a:gd name="T19" fmla="*/ 59 h 708"/>
                <a:gd name="T20" fmla="*/ 26 w 642"/>
                <a:gd name="T21" fmla="*/ 59 h 708"/>
                <a:gd name="T22" fmla="*/ 23 w 642"/>
                <a:gd name="T23" fmla="*/ 61 h 708"/>
                <a:gd name="T24" fmla="*/ 20 w 642"/>
                <a:gd name="T25" fmla="*/ 61 h 708"/>
                <a:gd name="T26" fmla="*/ 17 w 642"/>
                <a:gd name="T27" fmla="*/ 59 h 708"/>
                <a:gd name="T28" fmla="*/ 15 w 642"/>
                <a:gd name="T29" fmla="*/ 56 h 708"/>
                <a:gd name="T30" fmla="*/ 9 w 642"/>
                <a:gd name="T31" fmla="*/ 58 h 708"/>
                <a:gd name="T32" fmla="*/ 6 w 642"/>
                <a:gd name="T33" fmla="*/ 52 h 708"/>
                <a:gd name="T34" fmla="*/ 2 w 642"/>
                <a:gd name="T35" fmla="*/ 53 h 708"/>
                <a:gd name="T36" fmla="*/ 1 w 642"/>
                <a:gd name="T37" fmla="*/ 51 h 708"/>
                <a:gd name="T38" fmla="*/ 4 w 642"/>
                <a:gd name="T39" fmla="*/ 47 h 708"/>
                <a:gd name="T40" fmla="*/ 5 w 642"/>
                <a:gd name="T41" fmla="*/ 41 h 708"/>
                <a:gd name="T42" fmla="*/ 5 w 642"/>
                <a:gd name="T43" fmla="*/ 38 h 708"/>
                <a:gd name="T44" fmla="*/ 5 w 642"/>
                <a:gd name="T45" fmla="*/ 35 h 708"/>
                <a:gd name="T46" fmla="*/ 6 w 642"/>
                <a:gd name="T47" fmla="*/ 33 h 708"/>
                <a:gd name="T48" fmla="*/ 5 w 642"/>
                <a:gd name="T49" fmla="*/ 29 h 708"/>
                <a:gd name="T50" fmla="*/ 4 w 642"/>
                <a:gd name="T51" fmla="*/ 28 h 708"/>
                <a:gd name="T52" fmla="*/ 1 w 642"/>
                <a:gd name="T53" fmla="*/ 26 h 708"/>
                <a:gd name="T54" fmla="*/ 1 w 642"/>
                <a:gd name="T55" fmla="*/ 24 h 708"/>
                <a:gd name="T56" fmla="*/ 1 w 642"/>
                <a:gd name="T57" fmla="*/ 20 h 708"/>
                <a:gd name="T58" fmla="*/ 1 w 642"/>
                <a:gd name="T59" fmla="*/ 16 h 708"/>
                <a:gd name="T60" fmla="*/ 2 w 642"/>
                <a:gd name="T61" fmla="*/ 14 h 708"/>
                <a:gd name="T62" fmla="*/ 8 w 642"/>
                <a:gd name="T63" fmla="*/ 14 h 708"/>
                <a:gd name="T64" fmla="*/ 9 w 642"/>
                <a:gd name="T65" fmla="*/ 10 h 708"/>
                <a:gd name="T66" fmla="*/ 15 w 642"/>
                <a:gd name="T67" fmla="*/ 9 h 708"/>
                <a:gd name="T68" fmla="*/ 18 w 642"/>
                <a:gd name="T69" fmla="*/ 14 h 708"/>
                <a:gd name="T70" fmla="*/ 20 w 642"/>
                <a:gd name="T71" fmla="*/ 12 h 708"/>
                <a:gd name="T72" fmla="*/ 20 w 642"/>
                <a:gd name="T73" fmla="*/ 11 h 708"/>
                <a:gd name="T74" fmla="*/ 21 w 642"/>
                <a:gd name="T75" fmla="*/ 9 h 708"/>
                <a:gd name="T76" fmla="*/ 24 w 642"/>
                <a:gd name="T77" fmla="*/ 9 h 708"/>
                <a:gd name="T78" fmla="*/ 27 w 642"/>
                <a:gd name="T79" fmla="*/ 8 h 708"/>
                <a:gd name="T80" fmla="*/ 33 w 642"/>
                <a:gd name="T81" fmla="*/ 2 h 708"/>
                <a:gd name="T82" fmla="*/ 42 w 642"/>
                <a:gd name="T83" fmla="*/ 2 h 708"/>
                <a:gd name="T84" fmla="*/ 49 w 642"/>
                <a:gd name="T85" fmla="*/ 1 h 708"/>
                <a:gd name="T86" fmla="*/ 53 w 642"/>
                <a:gd name="T87" fmla="*/ 4 h 708"/>
                <a:gd name="T88" fmla="*/ 55 w 642"/>
                <a:gd name="T89" fmla="*/ 4 h 708"/>
                <a:gd name="T90" fmla="*/ 55 w 642"/>
                <a:gd name="T91" fmla="*/ 7 h 708"/>
                <a:gd name="T92" fmla="*/ 52 w 642"/>
                <a:gd name="T93" fmla="*/ 9 h 708"/>
                <a:gd name="T94" fmla="*/ 49 w 642"/>
                <a:gd name="T95" fmla="*/ 12 h 708"/>
                <a:gd name="T96" fmla="*/ 47 w 642"/>
                <a:gd name="T97" fmla="*/ 14 h 708"/>
                <a:gd name="T98" fmla="*/ 47 w 642"/>
                <a:gd name="T99" fmla="*/ 17 h 708"/>
                <a:gd name="T100" fmla="*/ 45 w 642"/>
                <a:gd name="T101" fmla="*/ 26 h 708"/>
                <a:gd name="T102" fmla="*/ 50 w 642"/>
                <a:gd name="T103" fmla="*/ 37 h 70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42"/>
                <a:gd name="T157" fmla="*/ 0 h 708"/>
                <a:gd name="T158" fmla="*/ 642 w 642"/>
                <a:gd name="T159" fmla="*/ 708 h 70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42" h="708">
                  <a:moveTo>
                    <a:pt x="576" y="468"/>
                  </a:moveTo>
                  <a:lnTo>
                    <a:pt x="564" y="468"/>
                  </a:lnTo>
                  <a:lnTo>
                    <a:pt x="516" y="468"/>
                  </a:lnTo>
                  <a:lnTo>
                    <a:pt x="498" y="474"/>
                  </a:lnTo>
                  <a:lnTo>
                    <a:pt x="492" y="468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68" y="474"/>
                  </a:lnTo>
                  <a:lnTo>
                    <a:pt x="456" y="468"/>
                  </a:lnTo>
                  <a:lnTo>
                    <a:pt x="444" y="474"/>
                  </a:lnTo>
                  <a:lnTo>
                    <a:pt x="438" y="492"/>
                  </a:lnTo>
                  <a:lnTo>
                    <a:pt x="438" y="504"/>
                  </a:lnTo>
                  <a:lnTo>
                    <a:pt x="432" y="516"/>
                  </a:lnTo>
                  <a:lnTo>
                    <a:pt x="432" y="528"/>
                  </a:lnTo>
                  <a:lnTo>
                    <a:pt x="432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52"/>
                  </a:lnTo>
                  <a:lnTo>
                    <a:pt x="432" y="558"/>
                  </a:lnTo>
                  <a:lnTo>
                    <a:pt x="438" y="564"/>
                  </a:lnTo>
                  <a:lnTo>
                    <a:pt x="444" y="564"/>
                  </a:lnTo>
                  <a:lnTo>
                    <a:pt x="438" y="564"/>
                  </a:lnTo>
                  <a:lnTo>
                    <a:pt x="438" y="570"/>
                  </a:lnTo>
                  <a:lnTo>
                    <a:pt x="432" y="570"/>
                  </a:lnTo>
                  <a:lnTo>
                    <a:pt x="432" y="576"/>
                  </a:lnTo>
                  <a:lnTo>
                    <a:pt x="426" y="588"/>
                  </a:lnTo>
                  <a:lnTo>
                    <a:pt x="420" y="594"/>
                  </a:lnTo>
                  <a:lnTo>
                    <a:pt x="420" y="600"/>
                  </a:lnTo>
                  <a:lnTo>
                    <a:pt x="414" y="600"/>
                  </a:lnTo>
                  <a:lnTo>
                    <a:pt x="414" y="606"/>
                  </a:lnTo>
                  <a:lnTo>
                    <a:pt x="408" y="606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396" y="612"/>
                  </a:lnTo>
                  <a:lnTo>
                    <a:pt x="390" y="612"/>
                  </a:lnTo>
                  <a:lnTo>
                    <a:pt x="390" y="618"/>
                  </a:lnTo>
                  <a:lnTo>
                    <a:pt x="384" y="618"/>
                  </a:lnTo>
                  <a:lnTo>
                    <a:pt x="378" y="618"/>
                  </a:lnTo>
                  <a:lnTo>
                    <a:pt x="378" y="624"/>
                  </a:lnTo>
                  <a:lnTo>
                    <a:pt x="384" y="630"/>
                  </a:lnTo>
                  <a:lnTo>
                    <a:pt x="384" y="636"/>
                  </a:lnTo>
                  <a:lnTo>
                    <a:pt x="378" y="630"/>
                  </a:lnTo>
                  <a:lnTo>
                    <a:pt x="372" y="636"/>
                  </a:lnTo>
                  <a:lnTo>
                    <a:pt x="372" y="642"/>
                  </a:lnTo>
                  <a:lnTo>
                    <a:pt x="366" y="642"/>
                  </a:lnTo>
                  <a:lnTo>
                    <a:pt x="360" y="654"/>
                  </a:lnTo>
                  <a:lnTo>
                    <a:pt x="354" y="666"/>
                  </a:lnTo>
                  <a:lnTo>
                    <a:pt x="354" y="672"/>
                  </a:lnTo>
                  <a:lnTo>
                    <a:pt x="354" y="678"/>
                  </a:lnTo>
                  <a:lnTo>
                    <a:pt x="354" y="684"/>
                  </a:lnTo>
                  <a:lnTo>
                    <a:pt x="348" y="678"/>
                  </a:lnTo>
                  <a:lnTo>
                    <a:pt x="324" y="678"/>
                  </a:lnTo>
                  <a:lnTo>
                    <a:pt x="306" y="678"/>
                  </a:lnTo>
                  <a:lnTo>
                    <a:pt x="294" y="678"/>
                  </a:lnTo>
                  <a:lnTo>
                    <a:pt x="288" y="684"/>
                  </a:lnTo>
                  <a:lnTo>
                    <a:pt x="276" y="690"/>
                  </a:lnTo>
                  <a:lnTo>
                    <a:pt x="270" y="696"/>
                  </a:lnTo>
                  <a:lnTo>
                    <a:pt x="264" y="696"/>
                  </a:lnTo>
                  <a:lnTo>
                    <a:pt x="258" y="696"/>
                  </a:lnTo>
                  <a:lnTo>
                    <a:pt x="252" y="696"/>
                  </a:lnTo>
                  <a:lnTo>
                    <a:pt x="252" y="690"/>
                  </a:lnTo>
                  <a:lnTo>
                    <a:pt x="246" y="690"/>
                  </a:lnTo>
                  <a:lnTo>
                    <a:pt x="234" y="690"/>
                  </a:lnTo>
                  <a:lnTo>
                    <a:pt x="222" y="696"/>
                  </a:lnTo>
                  <a:lnTo>
                    <a:pt x="216" y="708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8" y="690"/>
                  </a:lnTo>
                  <a:lnTo>
                    <a:pt x="198" y="684"/>
                  </a:lnTo>
                  <a:lnTo>
                    <a:pt x="198" y="678"/>
                  </a:lnTo>
                  <a:lnTo>
                    <a:pt x="198" y="672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74" y="648"/>
                  </a:lnTo>
                  <a:lnTo>
                    <a:pt x="162" y="642"/>
                  </a:lnTo>
                  <a:lnTo>
                    <a:pt x="156" y="636"/>
                  </a:lnTo>
                  <a:lnTo>
                    <a:pt x="132" y="642"/>
                  </a:lnTo>
                  <a:lnTo>
                    <a:pt x="120" y="654"/>
                  </a:lnTo>
                  <a:lnTo>
                    <a:pt x="108" y="660"/>
                  </a:lnTo>
                  <a:lnTo>
                    <a:pt x="102" y="666"/>
                  </a:lnTo>
                  <a:lnTo>
                    <a:pt x="84" y="666"/>
                  </a:lnTo>
                  <a:lnTo>
                    <a:pt x="84" y="630"/>
                  </a:lnTo>
                  <a:lnTo>
                    <a:pt x="78" y="594"/>
                  </a:lnTo>
                  <a:lnTo>
                    <a:pt x="66" y="594"/>
                  </a:lnTo>
                  <a:lnTo>
                    <a:pt x="60" y="594"/>
                  </a:lnTo>
                  <a:lnTo>
                    <a:pt x="48" y="600"/>
                  </a:lnTo>
                  <a:lnTo>
                    <a:pt x="36" y="606"/>
                  </a:lnTo>
                  <a:lnTo>
                    <a:pt x="24" y="612"/>
                  </a:lnTo>
                  <a:lnTo>
                    <a:pt x="18" y="612"/>
                  </a:lnTo>
                  <a:lnTo>
                    <a:pt x="12" y="606"/>
                  </a:lnTo>
                  <a:lnTo>
                    <a:pt x="12" y="600"/>
                  </a:lnTo>
                  <a:lnTo>
                    <a:pt x="12" y="594"/>
                  </a:lnTo>
                  <a:lnTo>
                    <a:pt x="12" y="588"/>
                  </a:lnTo>
                  <a:lnTo>
                    <a:pt x="12" y="582"/>
                  </a:lnTo>
                  <a:lnTo>
                    <a:pt x="12" y="576"/>
                  </a:lnTo>
                  <a:lnTo>
                    <a:pt x="18" y="552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42" y="534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48" y="492"/>
                  </a:lnTo>
                  <a:lnTo>
                    <a:pt x="48" y="480"/>
                  </a:lnTo>
                  <a:lnTo>
                    <a:pt x="54" y="468"/>
                  </a:lnTo>
                  <a:lnTo>
                    <a:pt x="48" y="456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66" y="390"/>
                  </a:lnTo>
                  <a:lnTo>
                    <a:pt x="72" y="384"/>
                  </a:lnTo>
                  <a:lnTo>
                    <a:pt x="72" y="378"/>
                  </a:lnTo>
                  <a:lnTo>
                    <a:pt x="66" y="378"/>
                  </a:lnTo>
                  <a:lnTo>
                    <a:pt x="66" y="366"/>
                  </a:lnTo>
                  <a:lnTo>
                    <a:pt x="60" y="360"/>
                  </a:lnTo>
                  <a:lnTo>
                    <a:pt x="66" y="354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48" y="312"/>
                  </a:lnTo>
                  <a:lnTo>
                    <a:pt x="30" y="312"/>
                  </a:lnTo>
                  <a:lnTo>
                    <a:pt x="24" y="306"/>
                  </a:lnTo>
                  <a:lnTo>
                    <a:pt x="18" y="306"/>
                  </a:lnTo>
                  <a:lnTo>
                    <a:pt x="12" y="294"/>
                  </a:lnTo>
                  <a:lnTo>
                    <a:pt x="12" y="282"/>
                  </a:lnTo>
                  <a:lnTo>
                    <a:pt x="6" y="276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12" y="270"/>
                  </a:lnTo>
                  <a:lnTo>
                    <a:pt x="12" y="246"/>
                  </a:lnTo>
                  <a:lnTo>
                    <a:pt x="12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8" y="174"/>
                  </a:lnTo>
                  <a:lnTo>
                    <a:pt x="12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48" y="162"/>
                  </a:lnTo>
                  <a:lnTo>
                    <a:pt x="72" y="162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84" y="132"/>
                  </a:lnTo>
                  <a:lnTo>
                    <a:pt x="90" y="120"/>
                  </a:lnTo>
                  <a:lnTo>
                    <a:pt x="108" y="114"/>
                  </a:lnTo>
                  <a:lnTo>
                    <a:pt x="114" y="102"/>
                  </a:lnTo>
                  <a:lnTo>
                    <a:pt x="120" y="90"/>
                  </a:lnTo>
                  <a:lnTo>
                    <a:pt x="138" y="90"/>
                  </a:lnTo>
                  <a:lnTo>
                    <a:pt x="138" y="102"/>
                  </a:lnTo>
                  <a:lnTo>
                    <a:pt x="168" y="108"/>
                  </a:lnTo>
                  <a:lnTo>
                    <a:pt x="168" y="114"/>
                  </a:lnTo>
                  <a:lnTo>
                    <a:pt x="174" y="126"/>
                  </a:lnTo>
                  <a:lnTo>
                    <a:pt x="186" y="150"/>
                  </a:lnTo>
                  <a:lnTo>
                    <a:pt x="186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34" y="144"/>
                  </a:lnTo>
                  <a:lnTo>
                    <a:pt x="240" y="138"/>
                  </a:lnTo>
                  <a:lnTo>
                    <a:pt x="240" y="126"/>
                  </a:lnTo>
                  <a:lnTo>
                    <a:pt x="234" y="126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34" y="102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82" y="102"/>
                  </a:lnTo>
                  <a:lnTo>
                    <a:pt x="288" y="102"/>
                  </a:lnTo>
                  <a:lnTo>
                    <a:pt x="294" y="102"/>
                  </a:lnTo>
                  <a:lnTo>
                    <a:pt x="300" y="96"/>
                  </a:lnTo>
                  <a:lnTo>
                    <a:pt x="306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84"/>
                  </a:lnTo>
                  <a:lnTo>
                    <a:pt x="324" y="18"/>
                  </a:lnTo>
                  <a:lnTo>
                    <a:pt x="360" y="18"/>
                  </a:lnTo>
                  <a:lnTo>
                    <a:pt x="378" y="18"/>
                  </a:lnTo>
                  <a:lnTo>
                    <a:pt x="378" y="30"/>
                  </a:lnTo>
                  <a:lnTo>
                    <a:pt x="390" y="30"/>
                  </a:lnTo>
                  <a:lnTo>
                    <a:pt x="432" y="30"/>
                  </a:lnTo>
                  <a:lnTo>
                    <a:pt x="456" y="24"/>
                  </a:lnTo>
                  <a:lnTo>
                    <a:pt x="480" y="24"/>
                  </a:lnTo>
                  <a:lnTo>
                    <a:pt x="498" y="30"/>
                  </a:lnTo>
                  <a:lnTo>
                    <a:pt x="522" y="18"/>
                  </a:lnTo>
                  <a:lnTo>
                    <a:pt x="528" y="0"/>
                  </a:lnTo>
                  <a:lnTo>
                    <a:pt x="558" y="6"/>
                  </a:lnTo>
                  <a:lnTo>
                    <a:pt x="558" y="12"/>
                  </a:lnTo>
                  <a:lnTo>
                    <a:pt x="570" y="18"/>
                  </a:lnTo>
                  <a:lnTo>
                    <a:pt x="576" y="24"/>
                  </a:lnTo>
                  <a:lnTo>
                    <a:pt x="588" y="36"/>
                  </a:lnTo>
                  <a:lnTo>
                    <a:pt x="594" y="48"/>
                  </a:lnTo>
                  <a:lnTo>
                    <a:pt x="606" y="48"/>
                  </a:lnTo>
                  <a:lnTo>
                    <a:pt x="606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42"/>
                  </a:lnTo>
                  <a:lnTo>
                    <a:pt x="636" y="42"/>
                  </a:lnTo>
                  <a:lnTo>
                    <a:pt x="636" y="48"/>
                  </a:lnTo>
                  <a:lnTo>
                    <a:pt x="642" y="54"/>
                  </a:lnTo>
                  <a:lnTo>
                    <a:pt x="636" y="60"/>
                  </a:lnTo>
                  <a:lnTo>
                    <a:pt x="636" y="66"/>
                  </a:lnTo>
                  <a:lnTo>
                    <a:pt x="636" y="78"/>
                  </a:lnTo>
                  <a:lnTo>
                    <a:pt x="624" y="84"/>
                  </a:lnTo>
                  <a:lnTo>
                    <a:pt x="618" y="90"/>
                  </a:lnTo>
                  <a:lnTo>
                    <a:pt x="612" y="90"/>
                  </a:lnTo>
                  <a:lnTo>
                    <a:pt x="600" y="102"/>
                  </a:lnTo>
                  <a:lnTo>
                    <a:pt x="594" y="108"/>
                  </a:lnTo>
                  <a:lnTo>
                    <a:pt x="582" y="114"/>
                  </a:lnTo>
                  <a:lnTo>
                    <a:pt x="570" y="132"/>
                  </a:lnTo>
                  <a:lnTo>
                    <a:pt x="564" y="132"/>
                  </a:lnTo>
                  <a:lnTo>
                    <a:pt x="564" y="138"/>
                  </a:lnTo>
                  <a:lnTo>
                    <a:pt x="558" y="144"/>
                  </a:lnTo>
                  <a:lnTo>
                    <a:pt x="558" y="150"/>
                  </a:lnTo>
                  <a:lnTo>
                    <a:pt x="552" y="150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0" y="162"/>
                  </a:lnTo>
                  <a:lnTo>
                    <a:pt x="534" y="168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6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28" y="234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16" y="294"/>
                  </a:lnTo>
                  <a:lnTo>
                    <a:pt x="516" y="312"/>
                  </a:lnTo>
                  <a:lnTo>
                    <a:pt x="528" y="318"/>
                  </a:lnTo>
                  <a:lnTo>
                    <a:pt x="540" y="360"/>
                  </a:lnTo>
                  <a:lnTo>
                    <a:pt x="558" y="408"/>
                  </a:lnTo>
                  <a:lnTo>
                    <a:pt x="570" y="426"/>
                  </a:lnTo>
                  <a:lnTo>
                    <a:pt x="576" y="432"/>
                  </a:lnTo>
                  <a:lnTo>
                    <a:pt x="576" y="438"/>
                  </a:lnTo>
                  <a:lnTo>
                    <a:pt x="576" y="444"/>
                  </a:lnTo>
                  <a:lnTo>
                    <a:pt x="576" y="46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3" name="Freeform 28">
              <a:extLst>
                <a:ext uri="{FF2B5EF4-FFF2-40B4-BE49-F238E27FC236}">
                  <a16:creationId xmlns:a16="http://schemas.microsoft.com/office/drawing/2014/main" id="{CF9B4F31-BF73-448E-83AA-188F6CF1BDC5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4879" y="3432583"/>
              <a:ext cx="324248" cy="270616"/>
            </a:xfrm>
            <a:custGeom>
              <a:avLst/>
              <a:gdLst>
                <a:gd name="T0" fmla="*/ 5 w 606"/>
                <a:gd name="T1" fmla="*/ 36 h 510"/>
                <a:gd name="T2" fmla="*/ 4 w 606"/>
                <a:gd name="T3" fmla="*/ 34 h 510"/>
                <a:gd name="T4" fmla="*/ 0 w 606"/>
                <a:gd name="T5" fmla="*/ 25 h 510"/>
                <a:gd name="T6" fmla="*/ 1 w 606"/>
                <a:gd name="T7" fmla="*/ 20 h 510"/>
                <a:gd name="T8" fmla="*/ 2 w 606"/>
                <a:gd name="T9" fmla="*/ 15 h 510"/>
                <a:gd name="T10" fmla="*/ 2 w 606"/>
                <a:gd name="T11" fmla="*/ 13 h 510"/>
                <a:gd name="T12" fmla="*/ 3 w 606"/>
                <a:gd name="T13" fmla="*/ 12 h 510"/>
                <a:gd name="T14" fmla="*/ 4 w 606"/>
                <a:gd name="T15" fmla="*/ 11 h 510"/>
                <a:gd name="T16" fmla="*/ 4 w 606"/>
                <a:gd name="T17" fmla="*/ 10 h 510"/>
                <a:gd name="T18" fmla="*/ 7 w 606"/>
                <a:gd name="T19" fmla="*/ 8 h 510"/>
                <a:gd name="T20" fmla="*/ 9 w 606"/>
                <a:gd name="T21" fmla="*/ 6 h 510"/>
                <a:gd name="T22" fmla="*/ 11 w 606"/>
                <a:gd name="T23" fmla="*/ 4 h 510"/>
                <a:gd name="T24" fmla="*/ 12 w 606"/>
                <a:gd name="T25" fmla="*/ 3 h 510"/>
                <a:gd name="T26" fmla="*/ 13 w 606"/>
                <a:gd name="T27" fmla="*/ 4 h 510"/>
                <a:gd name="T28" fmla="*/ 15 w 606"/>
                <a:gd name="T29" fmla="*/ 2 h 510"/>
                <a:gd name="T30" fmla="*/ 17 w 606"/>
                <a:gd name="T31" fmla="*/ 2 h 510"/>
                <a:gd name="T32" fmla="*/ 19 w 606"/>
                <a:gd name="T33" fmla="*/ 5 h 510"/>
                <a:gd name="T34" fmla="*/ 22 w 606"/>
                <a:gd name="T35" fmla="*/ 5 h 510"/>
                <a:gd name="T36" fmla="*/ 25 w 606"/>
                <a:gd name="T37" fmla="*/ 6 h 510"/>
                <a:gd name="T38" fmla="*/ 29 w 606"/>
                <a:gd name="T39" fmla="*/ 1 h 510"/>
                <a:gd name="T40" fmla="*/ 38 w 606"/>
                <a:gd name="T41" fmla="*/ 0 h 510"/>
                <a:gd name="T42" fmla="*/ 38 w 606"/>
                <a:gd name="T43" fmla="*/ 5 h 510"/>
                <a:gd name="T44" fmla="*/ 41 w 606"/>
                <a:gd name="T45" fmla="*/ 4 h 510"/>
                <a:gd name="T46" fmla="*/ 45 w 606"/>
                <a:gd name="T47" fmla="*/ 2 h 510"/>
                <a:gd name="T48" fmla="*/ 46 w 606"/>
                <a:gd name="T49" fmla="*/ 2 h 510"/>
                <a:gd name="T50" fmla="*/ 47 w 606"/>
                <a:gd name="T51" fmla="*/ 5 h 510"/>
                <a:gd name="T52" fmla="*/ 45 w 606"/>
                <a:gd name="T53" fmla="*/ 6 h 510"/>
                <a:gd name="T54" fmla="*/ 45 w 606"/>
                <a:gd name="T55" fmla="*/ 7 h 510"/>
                <a:gd name="T56" fmla="*/ 43 w 606"/>
                <a:gd name="T57" fmla="*/ 8 h 510"/>
                <a:gd name="T58" fmla="*/ 45 w 606"/>
                <a:gd name="T59" fmla="*/ 15 h 510"/>
                <a:gd name="T60" fmla="*/ 49 w 606"/>
                <a:gd name="T61" fmla="*/ 15 h 510"/>
                <a:gd name="T62" fmla="*/ 51 w 606"/>
                <a:gd name="T63" fmla="*/ 15 h 510"/>
                <a:gd name="T64" fmla="*/ 53 w 606"/>
                <a:gd name="T65" fmla="*/ 16 h 510"/>
                <a:gd name="T66" fmla="*/ 52 w 606"/>
                <a:gd name="T67" fmla="*/ 20 h 510"/>
                <a:gd name="T68" fmla="*/ 48 w 606"/>
                <a:gd name="T69" fmla="*/ 23 h 510"/>
                <a:gd name="T70" fmla="*/ 45 w 606"/>
                <a:gd name="T71" fmla="*/ 25 h 510"/>
                <a:gd name="T72" fmla="*/ 44 w 606"/>
                <a:gd name="T73" fmla="*/ 28 h 510"/>
                <a:gd name="T74" fmla="*/ 43 w 606"/>
                <a:gd name="T75" fmla="*/ 33 h 510"/>
                <a:gd name="T76" fmla="*/ 39 w 606"/>
                <a:gd name="T77" fmla="*/ 38 h 510"/>
                <a:gd name="T78" fmla="*/ 37 w 606"/>
                <a:gd name="T79" fmla="*/ 41 h 510"/>
                <a:gd name="T80" fmla="*/ 31 w 606"/>
                <a:gd name="T81" fmla="*/ 44 h 510"/>
                <a:gd name="T82" fmla="*/ 28 w 606"/>
                <a:gd name="T83" fmla="*/ 43 h 510"/>
                <a:gd name="T84" fmla="*/ 28 w 606"/>
                <a:gd name="T85" fmla="*/ 41 h 510"/>
                <a:gd name="T86" fmla="*/ 28 w 606"/>
                <a:gd name="T87" fmla="*/ 40 h 510"/>
                <a:gd name="T88" fmla="*/ 27 w 606"/>
                <a:gd name="T89" fmla="*/ 38 h 510"/>
                <a:gd name="T90" fmla="*/ 27 w 606"/>
                <a:gd name="T91" fmla="*/ 36 h 510"/>
                <a:gd name="T92" fmla="*/ 24 w 606"/>
                <a:gd name="T93" fmla="*/ 35 h 510"/>
                <a:gd name="T94" fmla="*/ 16 w 606"/>
                <a:gd name="T95" fmla="*/ 34 h 510"/>
                <a:gd name="T96" fmla="*/ 13 w 606"/>
                <a:gd name="T97" fmla="*/ 34 h 510"/>
                <a:gd name="T98" fmla="*/ 9 w 606"/>
                <a:gd name="T99" fmla="*/ 36 h 510"/>
                <a:gd name="T100" fmla="*/ 8 w 606"/>
                <a:gd name="T101" fmla="*/ 38 h 510"/>
                <a:gd name="T102" fmla="*/ 7 w 606"/>
                <a:gd name="T103" fmla="*/ 39 h 51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06"/>
                <a:gd name="T157" fmla="*/ 0 h 510"/>
                <a:gd name="T158" fmla="*/ 606 w 606"/>
                <a:gd name="T159" fmla="*/ 510 h 51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06" h="510">
                  <a:moveTo>
                    <a:pt x="60" y="450"/>
                  </a:move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42" y="390"/>
                  </a:lnTo>
                  <a:lnTo>
                    <a:pt x="24" y="342"/>
                  </a:lnTo>
                  <a:lnTo>
                    <a:pt x="12" y="300"/>
                  </a:lnTo>
                  <a:lnTo>
                    <a:pt x="0" y="294"/>
                  </a:lnTo>
                  <a:lnTo>
                    <a:pt x="0" y="276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24" y="192"/>
                  </a:lnTo>
                  <a:lnTo>
                    <a:pt x="24" y="180"/>
                  </a:lnTo>
                  <a:lnTo>
                    <a:pt x="24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6" y="96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108" y="66"/>
                  </a:lnTo>
                  <a:lnTo>
                    <a:pt x="120" y="60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36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62" y="36"/>
                  </a:lnTo>
                  <a:lnTo>
                    <a:pt x="162" y="30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0" y="54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46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76" y="66"/>
                  </a:lnTo>
                  <a:lnTo>
                    <a:pt x="312" y="66"/>
                  </a:lnTo>
                  <a:lnTo>
                    <a:pt x="318" y="60"/>
                  </a:lnTo>
                  <a:lnTo>
                    <a:pt x="330" y="12"/>
                  </a:lnTo>
                  <a:lnTo>
                    <a:pt x="414" y="6"/>
                  </a:lnTo>
                  <a:lnTo>
                    <a:pt x="420" y="0"/>
                  </a:lnTo>
                  <a:lnTo>
                    <a:pt x="426" y="6"/>
                  </a:lnTo>
                  <a:lnTo>
                    <a:pt x="426" y="12"/>
                  </a:lnTo>
                  <a:lnTo>
                    <a:pt x="426" y="54"/>
                  </a:lnTo>
                  <a:lnTo>
                    <a:pt x="432" y="54"/>
                  </a:lnTo>
                  <a:lnTo>
                    <a:pt x="444" y="54"/>
                  </a:lnTo>
                  <a:lnTo>
                    <a:pt x="450" y="42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86" y="24"/>
                  </a:lnTo>
                  <a:lnTo>
                    <a:pt x="504" y="18"/>
                  </a:lnTo>
                  <a:lnTo>
                    <a:pt x="510" y="12"/>
                  </a:lnTo>
                  <a:lnTo>
                    <a:pt x="516" y="18"/>
                  </a:lnTo>
                  <a:lnTo>
                    <a:pt x="522" y="24"/>
                  </a:lnTo>
                  <a:lnTo>
                    <a:pt x="510" y="30"/>
                  </a:lnTo>
                  <a:lnTo>
                    <a:pt x="516" y="48"/>
                  </a:lnTo>
                  <a:lnTo>
                    <a:pt x="528" y="54"/>
                  </a:lnTo>
                  <a:lnTo>
                    <a:pt x="522" y="60"/>
                  </a:lnTo>
                  <a:lnTo>
                    <a:pt x="516" y="66"/>
                  </a:lnTo>
                  <a:lnTo>
                    <a:pt x="516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0" y="84"/>
                  </a:lnTo>
                  <a:lnTo>
                    <a:pt x="510" y="90"/>
                  </a:lnTo>
                  <a:lnTo>
                    <a:pt x="504" y="90"/>
                  </a:lnTo>
                  <a:lnTo>
                    <a:pt x="486" y="90"/>
                  </a:lnTo>
                  <a:lnTo>
                    <a:pt x="492" y="138"/>
                  </a:lnTo>
                  <a:lnTo>
                    <a:pt x="498" y="168"/>
                  </a:lnTo>
                  <a:lnTo>
                    <a:pt x="516" y="168"/>
                  </a:lnTo>
                  <a:lnTo>
                    <a:pt x="528" y="174"/>
                  </a:lnTo>
                  <a:lnTo>
                    <a:pt x="534" y="168"/>
                  </a:lnTo>
                  <a:lnTo>
                    <a:pt x="558" y="174"/>
                  </a:lnTo>
                  <a:lnTo>
                    <a:pt x="564" y="168"/>
                  </a:lnTo>
                  <a:lnTo>
                    <a:pt x="570" y="168"/>
                  </a:lnTo>
                  <a:lnTo>
                    <a:pt x="576" y="174"/>
                  </a:lnTo>
                  <a:lnTo>
                    <a:pt x="588" y="168"/>
                  </a:lnTo>
                  <a:lnTo>
                    <a:pt x="594" y="168"/>
                  </a:lnTo>
                  <a:lnTo>
                    <a:pt x="594" y="186"/>
                  </a:lnTo>
                  <a:lnTo>
                    <a:pt x="606" y="198"/>
                  </a:lnTo>
                  <a:lnTo>
                    <a:pt x="600" y="210"/>
                  </a:lnTo>
                  <a:lnTo>
                    <a:pt x="588" y="234"/>
                  </a:lnTo>
                  <a:lnTo>
                    <a:pt x="564" y="246"/>
                  </a:lnTo>
                  <a:lnTo>
                    <a:pt x="546" y="258"/>
                  </a:lnTo>
                  <a:lnTo>
                    <a:pt x="540" y="270"/>
                  </a:lnTo>
                  <a:lnTo>
                    <a:pt x="534" y="294"/>
                  </a:lnTo>
                  <a:lnTo>
                    <a:pt x="528" y="300"/>
                  </a:lnTo>
                  <a:lnTo>
                    <a:pt x="516" y="294"/>
                  </a:lnTo>
                  <a:lnTo>
                    <a:pt x="510" y="300"/>
                  </a:lnTo>
                  <a:lnTo>
                    <a:pt x="498" y="318"/>
                  </a:lnTo>
                  <a:lnTo>
                    <a:pt x="492" y="324"/>
                  </a:lnTo>
                  <a:lnTo>
                    <a:pt x="486" y="336"/>
                  </a:lnTo>
                  <a:lnTo>
                    <a:pt x="486" y="354"/>
                  </a:lnTo>
                  <a:lnTo>
                    <a:pt x="486" y="384"/>
                  </a:lnTo>
                  <a:lnTo>
                    <a:pt x="474" y="408"/>
                  </a:lnTo>
                  <a:lnTo>
                    <a:pt x="450" y="426"/>
                  </a:lnTo>
                  <a:lnTo>
                    <a:pt x="444" y="444"/>
                  </a:lnTo>
                  <a:lnTo>
                    <a:pt x="426" y="474"/>
                  </a:lnTo>
                  <a:lnTo>
                    <a:pt x="420" y="486"/>
                  </a:lnTo>
                  <a:lnTo>
                    <a:pt x="414" y="486"/>
                  </a:lnTo>
                  <a:lnTo>
                    <a:pt x="414" y="498"/>
                  </a:lnTo>
                  <a:lnTo>
                    <a:pt x="378" y="504"/>
                  </a:lnTo>
                  <a:lnTo>
                    <a:pt x="348" y="510"/>
                  </a:lnTo>
                  <a:lnTo>
                    <a:pt x="330" y="510"/>
                  </a:lnTo>
                  <a:lnTo>
                    <a:pt x="324" y="504"/>
                  </a:lnTo>
                  <a:lnTo>
                    <a:pt x="318" y="504"/>
                  </a:lnTo>
                  <a:lnTo>
                    <a:pt x="312" y="504"/>
                  </a:lnTo>
                  <a:lnTo>
                    <a:pt x="312" y="498"/>
                  </a:lnTo>
                  <a:lnTo>
                    <a:pt x="312" y="486"/>
                  </a:lnTo>
                  <a:lnTo>
                    <a:pt x="312" y="480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56"/>
                  </a:lnTo>
                  <a:lnTo>
                    <a:pt x="312" y="450"/>
                  </a:lnTo>
                  <a:lnTo>
                    <a:pt x="306" y="444"/>
                  </a:lnTo>
                  <a:lnTo>
                    <a:pt x="306" y="438"/>
                  </a:lnTo>
                  <a:lnTo>
                    <a:pt x="300" y="426"/>
                  </a:lnTo>
                  <a:lnTo>
                    <a:pt x="300" y="420"/>
                  </a:lnTo>
                  <a:lnTo>
                    <a:pt x="294" y="414"/>
                  </a:lnTo>
                  <a:lnTo>
                    <a:pt x="294" y="408"/>
                  </a:lnTo>
                  <a:lnTo>
                    <a:pt x="270" y="408"/>
                  </a:lnTo>
                  <a:lnTo>
                    <a:pt x="246" y="408"/>
                  </a:lnTo>
                  <a:lnTo>
                    <a:pt x="222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56" y="402"/>
                  </a:lnTo>
                  <a:lnTo>
                    <a:pt x="144" y="396"/>
                  </a:lnTo>
                  <a:lnTo>
                    <a:pt x="126" y="396"/>
                  </a:lnTo>
                  <a:lnTo>
                    <a:pt x="108" y="408"/>
                  </a:lnTo>
                  <a:lnTo>
                    <a:pt x="102" y="414"/>
                  </a:lnTo>
                  <a:lnTo>
                    <a:pt x="102" y="420"/>
                  </a:lnTo>
                  <a:lnTo>
                    <a:pt x="96" y="426"/>
                  </a:lnTo>
                  <a:lnTo>
                    <a:pt x="96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78" y="450"/>
                  </a:lnTo>
                  <a:lnTo>
                    <a:pt x="60" y="45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4" name="Freeform 29">
              <a:extLst>
                <a:ext uri="{FF2B5EF4-FFF2-40B4-BE49-F238E27FC236}">
                  <a16:creationId xmlns:a16="http://schemas.microsoft.com/office/drawing/2014/main" id="{B6AC2B96-1504-4082-8778-17130FDA021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401" y="3537698"/>
              <a:ext cx="559048" cy="641876"/>
            </a:xfrm>
            <a:custGeom>
              <a:avLst/>
              <a:gdLst>
                <a:gd name="T0" fmla="*/ 39 w 1056"/>
                <a:gd name="T1" fmla="*/ 94 h 1206"/>
                <a:gd name="T2" fmla="*/ 35 w 1056"/>
                <a:gd name="T3" fmla="*/ 103 h 1206"/>
                <a:gd name="T4" fmla="*/ 29 w 1056"/>
                <a:gd name="T5" fmla="*/ 99 h 1206"/>
                <a:gd name="T6" fmla="*/ 23 w 1056"/>
                <a:gd name="T7" fmla="*/ 94 h 1206"/>
                <a:gd name="T8" fmla="*/ 21 w 1056"/>
                <a:gd name="T9" fmla="*/ 91 h 1206"/>
                <a:gd name="T10" fmla="*/ 18 w 1056"/>
                <a:gd name="T11" fmla="*/ 89 h 1206"/>
                <a:gd name="T12" fmla="*/ 15 w 1056"/>
                <a:gd name="T13" fmla="*/ 86 h 1206"/>
                <a:gd name="T14" fmla="*/ 11 w 1056"/>
                <a:gd name="T15" fmla="*/ 83 h 1206"/>
                <a:gd name="T16" fmla="*/ 8 w 1056"/>
                <a:gd name="T17" fmla="*/ 81 h 1206"/>
                <a:gd name="T18" fmla="*/ 6 w 1056"/>
                <a:gd name="T19" fmla="*/ 79 h 1206"/>
                <a:gd name="T20" fmla="*/ 13 w 1056"/>
                <a:gd name="T21" fmla="*/ 78 h 1206"/>
                <a:gd name="T22" fmla="*/ 8 w 1056"/>
                <a:gd name="T23" fmla="*/ 75 h 1206"/>
                <a:gd name="T24" fmla="*/ 13 w 1056"/>
                <a:gd name="T25" fmla="*/ 71 h 1206"/>
                <a:gd name="T26" fmla="*/ 10 w 1056"/>
                <a:gd name="T27" fmla="*/ 63 h 1206"/>
                <a:gd name="T28" fmla="*/ 6 w 1056"/>
                <a:gd name="T29" fmla="*/ 66 h 1206"/>
                <a:gd name="T30" fmla="*/ 1 w 1056"/>
                <a:gd name="T31" fmla="*/ 63 h 1206"/>
                <a:gd name="T32" fmla="*/ 1 w 1056"/>
                <a:gd name="T33" fmla="*/ 59 h 1206"/>
                <a:gd name="T34" fmla="*/ 3 w 1056"/>
                <a:gd name="T35" fmla="*/ 57 h 1206"/>
                <a:gd name="T36" fmla="*/ 6 w 1056"/>
                <a:gd name="T37" fmla="*/ 55 h 1206"/>
                <a:gd name="T38" fmla="*/ 10 w 1056"/>
                <a:gd name="T39" fmla="*/ 51 h 1206"/>
                <a:gd name="T40" fmla="*/ 11 w 1056"/>
                <a:gd name="T41" fmla="*/ 46 h 1206"/>
                <a:gd name="T42" fmla="*/ 14 w 1056"/>
                <a:gd name="T43" fmla="*/ 42 h 1206"/>
                <a:gd name="T44" fmla="*/ 15 w 1056"/>
                <a:gd name="T45" fmla="*/ 36 h 1206"/>
                <a:gd name="T46" fmla="*/ 17 w 1056"/>
                <a:gd name="T47" fmla="*/ 34 h 1206"/>
                <a:gd name="T48" fmla="*/ 20 w 1056"/>
                <a:gd name="T49" fmla="*/ 31 h 1206"/>
                <a:gd name="T50" fmla="*/ 21 w 1056"/>
                <a:gd name="T51" fmla="*/ 29 h 1206"/>
                <a:gd name="T52" fmla="*/ 23 w 1056"/>
                <a:gd name="T53" fmla="*/ 22 h 1206"/>
                <a:gd name="T54" fmla="*/ 35 w 1056"/>
                <a:gd name="T55" fmla="*/ 22 h 1206"/>
                <a:gd name="T56" fmla="*/ 41 w 1056"/>
                <a:gd name="T57" fmla="*/ 18 h 1206"/>
                <a:gd name="T58" fmla="*/ 54 w 1056"/>
                <a:gd name="T59" fmla="*/ 20 h 1206"/>
                <a:gd name="T60" fmla="*/ 54 w 1056"/>
                <a:gd name="T61" fmla="*/ 26 h 1206"/>
                <a:gd name="T62" fmla="*/ 64 w 1056"/>
                <a:gd name="T63" fmla="*/ 25 h 1206"/>
                <a:gd name="T64" fmla="*/ 71 w 1056"/>
                <a:gd name="T65" fmla="*/ 10 h 1206"/>
                <a:gd name="T66" fmla="*/ 80 w 1056"/>
                <a:gd name="T67" fmla="*/ 1 h 1206"/>
                <a:gd name="T68" fmla="*/ 86 w 1056"/>
                <a:gd name="T69" fmla="*/ 2 h 1206"/>
                <a:gd name="T70" fmla="*/ 91 w 1056"/>
                <a:gd name="T71" fmla="*/ 13 h 1206"/>
                <a:gd name="T72" fmla="*/ 88 w 1056"/>
                <a:gd name="T73" fmla="*/ 17 h 1206"/>
                <a:gd name="T74" fmla="*/ 89 w 1056"/>
                <a:gd name="T75" fmla="*/ 21 h 1206"/>
                <a:gd name="T76" fmla="*/ 86 w 1056"/>
                <a:gd name="T77" fmla="*/ 25 h 1206"/>
                <a:gd name="T78" fmla="*/ 85 w 1056"/>
                <a:gd name="T79" fmla="*/ 31 h 1206"/>
                <a:gd name="T80" fmla="*/ 83 w 1056"/>
                <a:gd name="T81" fmla="*/ 36 h 1206"/>
                <a:gd name="T82" fmla="*/ 80 w 1056"/>
                <a:gd name="T83" fmla="*/ 42 h 1206"/>
                <a:gd name="T84" fmla="*/ 80 w 1056"/>
                <a:gd name="T85" fmla="*/ 47 h 1206"/>
                <a:gd name="T86" fmla="*/ 77 w 1056"/>
                <a:gd name="T87" fmla="*/ 55 h 1206"/>
                <a:gd name="T88" fmla="*/ 75 w 1056"/>
                <a:gd name="T89" fmla="*/ 57 h 1206"/>
                <a:gd name="T90" fmla="*/ 66 w 1056"/>
                <a:gd name="T91" fmla="*/ 57 h 1206"/>
                <a:gd name="T92" fmla="*/ 66 w 1056"/>
                <a:gd name="T93" fmla="*/ 51 h 1206"/>
                <a:gd name="T94" fmla="*/ 48 w 1056"/>
                <a:gd name="T95" fmla="*/ 50 h 1206"/>
                <a:gd name="T96" fmla="*/ 46 w 1056"/>
                <a:gd name="T97" fmla="*/ 55 h 1206"/>
                <a:gd name="T98" fmla="*/ 42 w 1056"/>
                <a:gd name="T99" fmla="*/ 59 h 1206"/>
                <a:gd name="T100" fmla="*/ 41 w 1056"/>
                <a:gd name="T101" fmla="*/ 62 h 1206"/>
                <a:gd name="T102" fmla="*/ 43 w 1056"/>
                <a:gd name="T103" fmla="*/ 67 h 1206"/>
                <a:gd name="T104" fmla="*/ 42 w 1056"/>
                <a:gd name="T105" fmla="*/ 72 h 1206"/>
                <a:gd name="T106" fmla="*/ 39 w 1056"/>
                <a:gd name="T107" fmla="*/ 77 h 1206"/>
                <a:gd name="T108" fmla="*/ 36 w 1056"/>
                <a:gd name="T109" fmla="*/ 80 h 1206"/>
                <a:gd name="T110" fmla="*/ 37 w 1056"/>
                <a:gd name="T111" fmla="*/ 83 h 1206"/>
                <a:gd name="T112" fmla="*/ 40 w 1056"/>
                <a:gd name="T113" fmla="*/ 87 h 1206"/>
                <a:gd name="T114" fmla="*/ 42 w 1056"/>
                <a:gd name="T115" fmla="*/ 89 h 12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56"/>
                <a:gd name="T175" fmla="*/ 0 h 1206"/>
                <a:gd name="T176" fmla="*/ 1056 w 1056"/>
                <a:gd name="T177" fmla="*/ 1206 h 12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56" h="1206">
                  <a:moveTo>
                    <a:pt x="492" y="1032"/>
                  </a:moveTo>
                  <a:lnTo>
                    <a:pt x="486" y="1038"/>
                  </a:lnTo>
                  <a:lnTo>
                    <a:pt x="486" y="1044"/>
                  </a:lnTo>
                  <a:lnTo>
                    <a:pt x="480" y="1044"/>
                  </a:lnTo>
                  <a:lnTo>
                    <a:pt x="474" y="1056"/>
                  </a:lnTo>
                  <a:lnTo>
                    <a:pt x="462" y="1068"/>
                  </a:lnTo>
                  <a:lnTo>
                    <a:pt x="456" y="1080"/>
                  </a:lnTo>
                  <a:lnTo>
                    <a:pt x="450" y="1080"/>
                  </a:lnTo>
                  <a:lnTo>
                    <a:pt x="450" y="1086"/>
                  </a:lnTo>
                  <a:lnTo>
                    <a:pt x="450" y="1092"/>
                  </a:lnTo>
                  <a:lnTo>
                    <a:pt x="444" y="1104"/>
                  </a:lnTo>
                  <a:lnTo>
                    <a:pt x="444" y="1116"/>
                  </a:lnTo>
                  <a:lnTo>
                    <a:pt x="438" y="1128"/>
                  </a:lnTo>
                  <a:lnTo>
                    <a:pt x="432" y="1134"/>
                  </a:lnTo>
                  <a:lnTo>
                    <a:pt x="432" y="1140"/>
                  </a:lnTo>
                  <a:lnTo>
                    <a:pt x="420" y="1152"/>
                  </a:lnTo>
                  <a:lnTo>
                    <a:pt x="420" y="1158"/>
                  </a:lnTo>
                  <a:lnTo>
                    <a:pt x="408" y="1182"/>
                  </a:lnTo>
                  <a:lnTo>
                    <a:pt x="396" y="1194"/>
                  </a:lnTo>
                  <a:lnTo>
                    <a:pt x="390" y="1206"/>
                  </a:lnTo>
                  <a:lnTo>
                    <a:pt x="390" y="1200"/>
                  </a:lnTo>
                  <a:lnTo>
                    <a:pt x="384" y="1194"/>
                  </a:lnTo>
                  <a:lnTo>
                    <a:pt x="378" y="1188"/>
                  </a:lnTo>
                  <a:lnTo>
                    <a:pt x="366" y="1176"/>
                  </a:lnTo>
                  <a:lnTo>
                    <a:pt x="366" y="1170"/>
                  </a:lnTo>
                  <a:lnTo>
                    <a:pt x="348" y="1152"/>
                  </a:lnTo>
                  <a:lnTo>
                    <a:pt x="336" y="1140"/>
                  </a:lnTo>
                  <a:lnTo>
                    <a:pt x="330" y="1134"/>
                  </a:lnTo>
                  <a:lnTo>
                    <a:pt x="324" y="1128"/>
                  </a:lnTo>
                  <a:lnTo>
                    <a:pt x="318" y="1122"/>
                  </a:lnTo>
                  <a:lnTo>
                    <a:pt x="312" y="1116"/>
                  </a:lnTo>
                  <a:lnTo>
                    <a:pt x="306" y="1110"/>
                  </a:lnTo>
                  <a:lnTo>
                    <a:pt x="300" y="1104"/>
                  </a:lnTo>
                  <a:lnTo>
                    <a:pt x="294" y="1098"/>
                  </a:lnTo>
                  <a:lnTo>
                    <a:pt x="276" y="1080"/>
                  </a:lnTo>
                  <a:lnTo>
                    <a:pt x="270" y="1080"/>
                  </a:lnTo>
                  <a:lnTo>
                    <a:pt x="270" y="1074"/>
                  </a:lnTo>
                  <a:lnTo>
                    <a:pt x="264" y="1068"/>
                  </a:lnTo>
                  <a:lnTo>
                    <a:pt x="258" y="1062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40" y="1050"/>
                  </a:lnTo>
                  <a:lnTo>
                    <a:pt x="234" y="1044"/>
                  </a:lnTo>
                  <a:lnTo>
                    <a:pt x="228" y="1044"/>
                  </a:lnTo>
                  <a:lnTo>
                    <a:pt x="222" y="1038"/>
                  </a:lnTo>
                  <a:lnTo>
                    <a:pt x="222" y="1032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6"/>
                  </a:lnTo>
                  <a:lnTo>
                    <a:pt x="204" y="1020"/>
                  </a:lnTo>
                  <a:lnTo>
                    <a:pt x="204" y="1014"/>
                  </a:lnTo>
                  <a:lnTo>
                    <a:pt x="198" y="1014"/>
                  </a:lnTo>
                  <a:lnTo>
                    <a:pt x="192" y="1014"/>
                  </a:lnTo>
                  <a:lnTo>
                    <a:pt x="192" y="1008"/>
                  </a:lnTo>
                  <a:lnTo>
                    <a:pt x="186" y="1008"/>
                  </a:lnTo>
                  <a:lnTo>
                    <a:pt x="186" y="1002"/>
                  </a:lnTo>
                  <a:lnTo>
                    <a:pt x="180" y="1002"/>
                  </a:lnTo>
                  <a:lnTo>
                    <a:pt x="174" y="996"/>
                  </a:lnTo>
                  <a:lnTo>
                    <a:pt x="168" y="996"/>
                  </a:lnTo>
                  <a:lnTo>
                    <a:pt x="168" y="990"/>
                  </a:lnTo>
                  <a:lnTo>
                    <a:pt x="162" y="990"/>
                  </a:lnTo>
                  <a:lnTo>
                    <a:pt x="162" y="984"/>
                  </a:lnTo>
                  <a:lnTo>
                    <a:pt x="150" y="978"/>
                  </a:lnTo>
                  <a:lnTo>
                    <a:pt x="144" y="972"/>
                  </a:lnTo>
                  <a:lnTo>
                    <a:pt x="138" y="972"/>
                  </a:lnTo>
                  <a:lnTo>
                    <a:pt x="138" y="966"/>
                  </a:lnTo>
                  <a:lnTo>
                    <a:pt x="132" y="966"/>
                  </a:lnTo>
                  <a:lnTo>
                    <a:pt x="126" y="960"/>
                  </a:lnTo>
                  <a:lnTo>
                    <a:pt x="126" y="954"/>
                  </a:lnTo>
                  <a:lnTo>
                    <a:pt x="120" y="954"/>
                  </a:lnTo>
                  <a:lnTo>
                    <a:pt x="114" y="948"/>
                  </a:lnTo>
                  <a:lnTo>
                    <a:pt x="108" y="948"/>
                  </a:lnTo>
                  <a:lnTo>
                    <a:pt x="108" y="942"/>
                  </a:lnTo>
                  <a:lnTo>
                    <a:pt x="102" y="942"/>
                  </a:lnTo>
                  <a:lnTo>
                    <a:pt x="96" y="942"/>
                  </a:lnTo>
                  <a:lnTo>
                    <a:pt x="96" y="936"/>
                  </a:lnTo>
                  <a:lnTo>
                    <a:pt x="90" y="936"/>
                  </a:lnTo>
                  <a:lnTo>
                    <a:pt x="90" y="930"/>
                  </a:lnTo>
                  <a:lnTo>
                    <a:pt x="84" y="930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18"/>
                  </a:lnTo>
                  <a:lnTo>
                    <a:pt x="66" y="918"/>
                  </a:lnTo>
                  <a:lnTo>
                    <a:pt x="66" y="912"/>
                  </a:lnTo>
                  <a:lnTo>
                    <a:pt x="66" y="906"/>
                  </a:lnTo>
                  <a:lnTo>
                    <a:pt x="72" y="906"/>
                  </a:lnTo>
                  <a:lnTo>
                    <a:pt x="84" y="906"/>
                  </a:lnTo>
                  <a:lnTo>
                    <a:pt x="90" y="906"/>
                  </a:lnTo>
                  <a:lnTo>
                    <a:pt x="120" y="930"/>
                  </a:lnTo>
                  <a:lnTo>
                    <a:pt x="126" y="936"/>
                  </a:lnTo>
                  <a:lnTo>
                    <a:pt x="138" y="936"/>
                  </a:lnTo>
                  <a:lnTo>
                    <a:pt x="138" y="930"/>
                  </a:lnTo>
                  <a:lnTo>
                    <a:pt x="144" y="930"/>
                  </a:lnTo>
                  <a:lnTo>
                    <a:pt x="144" y="924"/>
                  </a:lnTo>
                  <a:lnTo>
                    <a:pt x="150" y="900"/>
                  </a:lnTo>
                  <a:lnTo>
                    <a:pt x="138" y="894"/>
                  </a:lnTo>
                  <a:lnTo>
                    <a:pt x="126" y="894"/>
                  </a:lnTo>
                  <a:lnTo>
                    <a:pt x="108" y="888"/>
                  </a:lnTo>
                  <a:lnTo>
                    <a:pt x="84" y="882"/>
                  </a:lnTo>
                  <a:lnTo>
                    <a:pt x="72" y="882"/>
                  </a:lnTo>
                  <a:lnTo>
                    <a:pt x="72" y="876"/>
                  </a:lnTo>
                  <a:lnTo>
                    <a:pt x="78" y="870"/>
                  </a:lnTo>
                  <a:lnTo>
                    <a:pt x="90" y="870"/>
                  </a:lnTo>
                  <a:lnTo>
                    <a:pt x="96" y="870"/>
                  </a:lnTo>
                  <a:lnTo>
                    <a:pt x="102" y="870"/>
                  </a:lnTo>
                  <a:lnTo>
                    <a:pt x="114" y="870"/>
                  </a:lnTo>
                  <a:lnTo>
                    <a:pt x="120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34"/>
                  </a:lnTo>
                  <a:lnTo>
                    <a:pt x="132" y="828"/>
                  </a:lnTo>
                  <a:lnTo>
                    <a:pt x="132" y="816"/>
                  </a:lnTo>
                  <a:lnTo>
                    <a:pt x="150" y="816"/>
                  </a:lnTo>
                  <a:lnTo>
                    <a:pt x="150" y="804"/>
                  </a:lnTo>
                  <a:lnTo>
                    <a:pt x="144" y="798"/>
                  </a:lnTo>
                  <a:lnTo>
                    <a:pt x="156" y="762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32"/>
                  </a:lnTo>
                  <a:lnTo>
                    <a:pt x="144" y="726"/>
                  </a:lnTo>
                  <a:lnTo>
                    <a:pt x="132" y="726"/>
                  </a:lnTo>
                  <a:lnTo>
                    <a:pt x="120" y="732"/>
                  </a:lnTo>
                  <a:lnTo>
                    <a:pt x="114" y="744"/>
                  </a:lnTo>
                  <a:lnTo>
                    <a:pt x="108" y="750"/>
                  </a:lnTo>
                  <a:lnTo>
                    <a:pt x="96" y="768"/>
                  </a:lnTo>
                  <a:lnTo>
                    <a:pt x="96" y="774"/>
                  </a:lnTo>
                  <a:lnTo>
                    <a:pt x="90" y="780"/>
                  </a:lnTo>
                  <a:lnTo>
                    <a:pt x="84" y="804"/>
                  </a:lnTo>
                  <a:lnTo>
                    <a:pt x="72" y="774"/>
                  </a:lnTo>
                  <a:lnTo>
                    <a:pt x="72" y="768"/>
                  </a:lnTo>
                  <a:lnTo>
                    <a:pt x="66" y="762"/>
                  </a:lnTo>
                  <a:lnTo>
                    <a:pt x="60" y="750"/>
                  </a:lnTo>
                  <a:lnTo>
                    <a:pt x="54" y="750"/>
                  </a:lnTo>
                  <a:lnTo>
                    <a:pt x="48" y="750"/>
                  </a:lnTo>
                  <a:lnTo>
                    <a:pt x="42" y="750"/>
                  </a:lnTo>
                  <a:lnTo>
                    <a:pt x="30" y="744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12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2" y="702"/>
                  </a:lnTo>
                  <a:lnTo>
                    <a:pt x="18" y="696"/>
                  </a:lnTo>
                  <a:lnTo>
                    <a:pt x="12" y="690"/>
                  </a:lnTo>
                  <a:lnTo>
                    <a:pt x="12" y="684"/>
                  </a:lnTo>
                  <a:lnTo>
                    <a:pt x="12" y="678"/>
                  </a:lnTo>
                  <a:lnTo>
                    <a:pt x="12" y="672"/>
                  </a:lnTo>
                  <a:lnTo>
                    <a:pt x="18" y="672"/>
                  </a:lnTo>
                  <a:lnTo>
                    <a:pt x="18" y="666"/>
                  </a:lnTo>
                  <a:lnTo>
                    <a:pt x="24" y="666"/>
                  </a:lnTo>
                  <a:lnTo>
                    <a:pt x="24" y="660"/>
                  </a:lnTo>
                  <a:lnTo>
                    <a:pt x="30" y="660"/>
                  </a:lnTo>
                  <a:lnTo>
                    <a:pt x="30" y="654"/>
                  </a:lnTo>
                  <a:lnTo>
                    <a:pt x="36" y="654"/>
                  </a:lnTo>
                  <a:lnTo>
                    <a:pt x="36" y="648"/>
                  </a:lnTo>
                  <a:lnTo>
                    <a:pt x="42" y="648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60" y="630"/>
                  </a:lnTo>
                  <a:lnTo>
                    <a:pt x="66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78" y="624"/>
                  </a:lnTo>
                  <a:lnTo>
                    <a:pt x="84" y="618"/>
                  </a:lnTo>
                  <a:lnTo>
                    <a:pt x="84" y="612"/>
                  </a:lnTo>
                  <a:lnTo>
                    <a:pt x="90" y="612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20" y="588"/>
                  </a:lnTo>
                  <a:lnTo>
                    <a:pt x="120" y="582"/>
                  </a:lnTo>
                  <a:lnTo>
                    <a:pt x="120" y="576"/>
                  </a:lnTo>
                  <a:lnTo>
                    <a:pt x="120" y="570"/>
                  </a:lnTo>
                  <a:lnTo>
                    <a:pt x="126" y="564"/>
                  </a:lnTo>
                  <a:lnTo>
                    <a:pt x="126" y="558"/>
                  </a:lnTo>
                  <a:lnTo>
                    <a:pt x="126" y="552"/>
                  </a:lnTo>
                  <a:lnTo>
                    <a:pt x="126" y="546"/>
                  </a:lnTo>
                  <a:lnTo>
                    <a:pt x="126" y="534"/>
                  </a:lnTo>
                  <a:lnTo>
                    <a:pt x="126" y="516"/>
                  </a:lnTo>
                  <a:lnTo>
                    <a:pt x="126" y="510"/>
                  </a:lnTo>
                  <a:lnTo>
                    <a:pt x="126" y="504"/>
                  </a:lnTo>
                  <a:lnTo>
                    <a:pt x="126" y="498"/>
                  </a:lnTo>
                  <a:lnTo>
                    <a:pt x="132" y="498"/>
                  </a:lnTo>
                  <a:lnTo>
                    <a:pt x="132" y="492"/>
                  </a:lnTo>
                  <a:lnTo>
                    <a:pt x="138" y="492"/>
                  </a:lnTo>
                  <a:lnTo>
                    <a:pt x="144" y="486"/>
                  </a:lnTo>
                  <a:lnTo>
                    <a:pt x="156" y="480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6" y="462"/>
                  </a:lnTo>
                  <a:lnTo>
                    <a:pt x="156" y="456"/>
                  </a:lnTo>
                  <a:lnTo>
                    <a:pt x="156" y="450"/>
                  </a:lnTo>
                  <a:lnTo>
                    <a:pt x="162" y="438"/>
                  </a:lnTo>
                  <a:lnTo>
                    <a:pt x="168" y="426"/>
                  </a:lnTo>
                  <a:lnTo>
                    <a:pt x="174" y="426"/>
                  </a:lnTo>
                  <a:lnTo>
                    <a:pt x="174" y="420"/>
                  </a:lnTo>
                  <a:lnTo>
                    <a:pt x="180" y="414"/>
                  </a:lnTo>
                  <a:lnTo>
                    <a:pt x="186" y="420"/>
                  </a:lnTo>
                  <a:lnTo>
                    <a:pt x="186" y="414"/>
                  </a:lnTo>
                  <a:lnTo>
                    <a:pt x="180" y="408"/>
                  </a:lnTo>
                  <a:lnTo>
                    <a:pt x="180" y="402"/>
                  </a:lnTo>
                  <a:lnTo>
                    <a:pt x="186" y="402"/>
                  </a:lnTo>
                  <a:lnTo>
                    <a:pt x="192" y="402"/>
                  </a:lnTo>
                  <a:lnTo>
                    <a:pt x="192" y="396"/>
                  </a:lnTo>
                  <a:lnTo>
                    <a:pt x="198" y="396"/>
                  </a:lnTo>
                  <a:lnTo>
                    <a:pt x="204" y="396"/>
                  </a:lnTo>
                  <a:lnTo>
                    <a:pt x="210" y="396"/>
                  </a:lnTo>
                  <a:lnTo>
                    <a:pt x="210" y="390"/>
                  </a:lnTo>
                  <a:lnTo>
                    <a:pt x="216" y="390"/>
                  </a:lnTo>
                  <a:lnTo>
                    <a:pt x="216" y="384"/>
                  </a:lnTo>
                  <a:lnTo>
                    <a:pt x="222" y="384"/>
                  </a:lnTo>
                  <a:lnTo>
                    <a:pt x="222" y="378"/>
                  </a:lnTo>
                  <a:lnTo>
                    <a:pt x="228" y="372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0" y="348"/>
                  </a:lnTo>
                  <a:lnTo>
                    <a:pt x="234" y="342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46" y="330"/>
                  </a:lnTo>
                  <a:lnTo>
                    <a:pt x="246" y="324"/>
                  </a:lnTo>
                  <a:lnTo>
                    <a:pt x="234" y="318"/>
                  </a:lnTo>
                  <a:lnTo>
                    <a:pt x="234" y="312"/>
                  </a:lnTo>
                  <a:lnTo>
                    <a:pt x="234" y="300"/>
                  </a:lnTo>
                  <a:lnTo>
                    <a:pt x="240" y="288"/>
                  </a:lnTo>
                  <a:lnTo>
                    <a:pt x="240" y="276"/>
                  </a:lnTo>
                  <a:lnTo>
                    <a:pt x="246" y="258"/>
                  </a:lnTo>
                  <a:lnTo>
                    <a:pt x="258" y="252"/>
                  </a:lnTo>
                  <a:lnTo>
                    <a:pt x="270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294" y="252"/>
                  </a:lnTo>
                  <a:lnTo>
                    <a:pt x="300" y="258"/>
                  </a:lnTo>
                  <a:lnTo>
                    <a:pt x="318" y="252"/>
                  </a:lnTo>
                  <a:lnTo>
                    <a:pt x="366" y="252"/>
                  </a:lnTo>
                  <a:lnTo>
                    <a:pt x="378" y="252"/>
                  </a:lnTo>
                  <a:lnTo>
                    <a:pt x="396" y="252"/>
                  </a:lnTo>
                  <a:lnTo>
                    <a:pt x="408" y="252"/>
                  </a:lnTo>
                  <a:lnTo>
                    <a:pt x="408" y="246"/>
                  </a:lnTo>
                  <a:lnTo>
                    <a:pt x="414" y="240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20" y="216"/>
                  </a:lnTo>
                  <a:lnTo>
                    <a:pt x="426" y="210"/>
                  </a:lnTo>
                  <a:lnTo>
                    <a:pt x="444" y="198"/>
                  </a:lnTo>
                  <a:lnTo>
                    <a:pt x="462" y="198"/>
                  </a:lnTo>
                  <a:lnTo>
                    <a:pt x="474" y="204"/>
                  </a:lnTo>
                  <a:lnTo>
                    <a:pt x="498" y="198"/>
                  </a:lnTo>
                  <a:lnTo>
                    <a:pt x="498" y="204"/>
                  </a:lnTo>
                  <a:lnTo>
                    <a:pt x="540" y="210"/>
                  </a:lnTo>
                  <a:lnTo>
                    <a:pt x="564" y="210"/>
                  </a:lnTo>
                  <a:lnTo>
                    <a:pt x="588" y="210"/>
                  </a:lnTo>
                  <a:lnTo>
                    <a:pt x="612" y="210"/>
                  </a:lnTo>
                  <a:lnTo>
                    <a:pt x="612" y="216"/>
                  </a:lnTo>
                  <a:lnTo>
                    <a:pt x="618" y="222"/>
                  </a:lnTo>
                  <a:lnTo>
                    <a:pt x="618" y="228"/>
                  </a:lnTo>
                  <a:lnTo>
                    <a:pt x="624" y="240"/>
                  </a:lnTo>
                  <a:lnTo>
                    <a:pt x="624" y="246"/>
                  </a:lnTo>
                  <a:lnTo>
                    <a:pt x="630" y="252"/>
                  </a:lnTo>
                  <a:lnTo>
                    <a:pt x="630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0" y="282"/>
                  </a:lnTo>
                  <a:lnTo>
                    <a:pt x="630" y="288"/>
                  </a:lnTo>
                  <a:lnTo>
                    <a:pt x="630" y="300"/>
                  </a:lnTo>
                  <a:lnTo>
                    <a:pt x="630" y="306"/>
                  </a:lnTo>
                  <a:lnTo>
                    <a:pt x="636" y="306"/>
                  </a:lnTo>
                  <a:lnTo>
                    <a:pt x="642" y="306"/>
                  </a:lnTo>
                  <a:lnTo>
                    <a:pt x="648" y="312"/>
                  </a:lnTo>
                  <a:lnTo>
                    <a:pt x="666" y="312"/>
                  </a:lnTo>
                  <a:lnTo>
                    <a:pt x="696" y="306"/>
                  </a:lnTo>
                  <a:lnTo>
                    <a:pt x="732" y="300"/>
                  </a:lnTo>
                  <a:lnTo>
                    <a:pt x="732" y="288"/>
                  </a:lnTo>
                  <a:lnTo>
                    <a:pt x="738" y="288"/>
                  </a:lnTo>
                  <a:lnTo>
                    <a:pt x="744" y="276"/>
                  </a:lnTo>
                  <a:lnTo>
                    <a:pt x="762" y="246"/>
                  </a:lnTo>
                  <a:lnTo>
                    <a:pt x="768" y="228"/>
                  </a:lnTo>
                  <a:lnTo>
                    <a:pt x="792" y="210"/>
                  </a:lnTo>
                  <a:lnTo>
                    <a:pt x="804" y="186"/>
                  </a:lnTo>
                  <a:lnTo>
                    <a:pt x="804" y="156"/>
                  </a:lnTo>
                  <a:lnTo>
                    <a:pt x="804" y="138"/>
                  </a:lnTo>
                  <a:lnTo>
                    <a:pt x="810" y="126"/>
                  </a:lnTo>
                  <a:lnTo>
                    <a:pt x="816" y="120"/>
                  </a:lnTo>
                  <a:lnTo>
                    <a:pt x="828" y="102"/>
                  </a:lnTo>
                  <a:lnTo>
                    <a:pt x="834" y="96"/>
                  </a:lnTo>
                  <a:lnTo>
                    <a:pt x="846" y="102"/>
                  </a:lnTo>
                  <a:lnTo>
                    <a:pt x="852" y="96"/>
                  </a:lnTo>
                  <a:lnTo>
                    <a:pt x="858" y="72"/>
                  </a:lnTo>
                  <a:lnTo>
                    <a:pt x="864" y="60"/>
                  </a:lnTo>
                  <a:lnTo>
                    <a:pt x="882" y="48"/>
                  </a:lnTo>
                  <a:lnTo>
                    <a:pt x="906" y="36"/>
                  </a:lnTo>
                  <a:lnTo>
                    <a:pt x="918" y="12"/>
                  </a:lnTo>
                  <a:lnTo>
                    <a:pt x="924" y="0"/>
                  </a:lnTo>
                  <a:lnTo>
                    <a:pt x="930" y="6"/>
                  </a:lnTo>
                  <a:lnTo>
                    <a:pt x="942" y="12"/>
                  </a:lnTo>
                  <a:lnTo>
                    <a:pt x="948" y="12"/>
                  </a:lnTo>
                  <a:lnTo>
                    <a:pt x="954" y="18"/>
                  </a:lnTo>
                  <a:lnTo>
                    <a:pt x="966" y="18"/>
                  </a:lnTo>
                  <a:lnTo>
                    <a:pt x="972" y="18"/>
                  </a:lnTo>
                  <a:lnTo>
                    <a:pt x="984" y="18"/>
                  </a:lnTo>
                  <a:lnTo>
                    <a:pt x="990" y="18"/>
                  </a:lnTo>
                  <a:lnTo>
                    <a:pt x="1002" y="48"/>
                  </a:lnTo>
                  <a:lnTo>
                    <a:pt x="1008" y="78"/>
                  </a:lnTo>
                  <a:lnTo>
                    <a:pt x="1020" y="78"/>
                  </a:lnTo>
                  <a:lnTo>
                    <a:pt x="1020" y="90"/>
                  </a:lnTo>
                  <a:lnTo>
                    <a:pt x="1026" y="102"/>
                  </a:lnTo>
                  <a:lnTo>
                    <a:pt x="1044" y="120"/>
                  </a:lnTo>
                  <a:lnTo>
                    <a:pt x="1044" y="132"/>
                  </a:lnTo>
                  <a:lnTo>
                    <a:pt x="1056" y="150"/>
                  </a:lnTo>
                  <a:lnTo>
                    <a:pt x="1050" y="150"/>
                  </a:lnTo>
                  <a:lnTo>
                    <a:pt x="1044" y="156"/>
                  </a:lnTo>
                  <a:lnTo>
                    <a:pt x="1044" y="162"/>
                  </a:lnTo>
                  <a:lnTo>
                    <a:pt x="1038" y="162"/>
                  </a:lnTo>
                  <a:lnTo>
                    <a:pt x="1032" y="162"/>
                  </a:lnTo>
                  <a:lnTo>
                    <a:pt x="1026" y="168"/>
                  </a:lnTo>
                  <a:lnTo>
                    <a:pt x="1014" y="174"/>
                  </a:lnTo>
                  <a:lnTo>
                    <a:pt x="1014" y="186"/>
                  </a:lnTo>
                  <a:lnTo>
                    <a:pt x="1014" y="192"/>
                  </a:lnTo>
                  <a:lnTo>
                    <a:pt x="1014" y="198"/>
                  </a:lnTo>
                  <a:lnTo>
                    <a:pt x="1020" y="204"/>
                  </a:lnTo>
                  <a:lnTo>
                    <a:pt x="1026" y="204"/>
                  </a:lnTo>
                  <a:lnTo>
                    <a:pt x="1032" y="204"/>
                  </a:lnTo>
                  <a:lnTo>
                    <a:pt x="1032" y="210"/>
                  </a:lnTo>
                  <a:lnTo>
                    <a:pt x="1038" y="210"/>
                  </a:lnTo>
                  <a:lnTo>
                    <a:pt x="1032" y="216"/>
                  </a:lnTo>
                  <a:lnTo>
                    <a:pt x="1026" y="228"/>
                  </a:lnTo>
                  <a:lnTo>
                    <a:pt x="1026" y="234"/>
                  </a:lnTo>
                  <a:lnTo>
                    <a:pt x="1032" y="240"/>
                  </a:lnTo>
                  <a:lnTo>
                    <a:pt x="1032" y="246"/>
                  </a:lnTo>
                  <a:lnTo>
                    <a:pt x="1032" y="252"/>
                  </a:lnTo>
                  <a:lnTo>
                    <a:pt x="1032" y="258"/>
                  </a:lnTo>
                  <a:lnTo>
                    <a:pt x="1038" y="264"/>
                  </a:lnTo>
                  <a:lnTo>
                    <a:pt x="1032" y="276"/>
                  </a:lnTo>
                  <a:lnTo>
                    <a:pt x="1026" y="276"/>
                  </a:lnTo>
                  <a:lnTo>
                    <a:pt x="1020" y="276"/>
                  </a:lnTo>
                  <a:lnTo>
                    <a:pt x="996" y="282"/>
                  </a:lnTo>
                  <a:lnTo>
                    <a:pt x="996" y="288"/>
                  </a:lnTo>
                  <a:lnTo>
                    <a:pt x="996" y="294"/>
                  </a:lnTo>
                  <a:lnTo>
                    <a:pt x="996" y="300"/>
                  </a:lnTo>
                  <a:lnTo>
                    <a:pt x="996" y="306"/>
                  </a:lnTo>
                  <a:lnTo>
                    <a:pt x="984" y="324"/>
                  </a:lnTo>
                  <a:lnTo>
                    <a:pt x="984" y="330"/>
                  </a:lnTo>
                  <a:lnTo>
                    <a:pt x="984" y="336"/>
                  </a:lnTo>
                  <a:lnTo>
                    <a:pt x="978" y="336"/>
                  </a:lnTo>
                  <a:lnTo>
                    <a:pt x="978" y="342"/>
                  </a:lnTo>
                  <a:lnTo>
                    <a:pt x="984" y="360"/>
                  </a:lnTo>
                  <a:lnTo>
                    <a:pt x="978" y="366"/>
                  </a:lnTo>
                  <a:lnTo>
                    <a:pt x="978" y="372"/>
                  </a:lnTo>
                  <a:lnTo>
                    <a:pt x="972" y="372"/>
                  </a:lnTo>
                  <a:lnTo>
                    <a:pt x="972" y="378"/>
                  </a:lnTo>
                  <a:lnTo>
                    <a:pt x="972" y="384"/>
                  </a:lnTo>
                  <a:lnTo>
                    <a:pt x="972" y="390"/>
                  </a:lnTo>
                  <a:lnTo>
                    <a:pt x="966" y="402"/>
                  </a:lnTo>
                  <a:lnTo>
                    <a:pt x="960" y="414"/>
                  </a:lnTo>
                  <a:lnTo>
                    <a:pt x="954" y="420"/>
                  </a:lnTo>
                  <a:lnTo>
                    <a:pt x="948" y="426"/>
                  </a:lnTo>
                  <a:lnTo>
                    <a:pt x="948" y="438"/>
                  </a:lnTo>
                  <a:lnTo>
                    <a:pt x="942" y="444"/>
                  </a:lnTo>
                  <a:lnTo>
                    <a:pt x="936" y="450"/>
                  </a:lnTo>
                  <a:lnTo>
                    <a:pt x="930" y="456"/>
                  </a:lnTo>
                  <a:lnTo>
                    <a:pt x="924" y="462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18" y="522"/>
                  </a:lnTo>
                  <a:lnTo>
                    <a:pt x="918" y="528"/>
                  </a:lnTo>
                  <a:lnTo>
                    <a:pt x="924" y="534"/>
                  </a:lnTo>
                  <a:lnTo>
                    <a:pt x="924" y="540"/>
                  </a:lnTo>
                  <a:lnTo>
                    <a:pt x="924" y="546"/>
                  </a:lnTo>
                  <a:lnTo>
                    <a:pt x="918" y="546"/>
                  </a:lnTo>
                  <a:lnTo>
                    <a:pt x="918" y="552"/>
                  </a:lnTo>
                  <a:lnTo>
                    <a:pt x="912" y="546"/>
                  </a:lnTo>
                  <a:lnTo>
                    <a:pt x="912" y="552"/>
                  </a:lnTo>
                  <a:lnTo>
                    <a:pt x="912" y="570"/>
                  </a:lnTo>
                  <a:lnTo>
                    <a:pt x="906" y="588"/>
                  </a:lnTo>
                  <a:lnTo>
                    <a:pt x="900" y="606"/>
                  </a:lnTo>
                  <a:lnTo>
                    <a:pt x="906" y="624"/>
                  </a:lnTo>
                  <a:lnTo>
                    <a:pt x="900" y="624"/>
                  </a:lnTo>
                  <a:lnTo>
                    <a:pt x="894" y="630"/>
                  </a:lnTo>
                  <a:lnTo>
                    <a:pt x="888" y="630"/>
                  </a:lnTo>
                  <a:lnTo>
                    <a:pt x="882" y="630"/>
                  </a:lnTo>
                  <a:lnTo>
                    <a:pt x="882" y="636"/>
                  </a:lnTo>
                  <a:lnTo>
                    <a:pt x="876" y="642"/>
                  </a:lnTo>
                  <a:lnTo>
                    <a:pt x="870" y="642"/>
                  </a:lnTo>
                  <a:lnTo>
                    <a:pt x="870" y="648"/>
                  </a:lnTo>
                  <a:lnTo>
                    <a:pt x="870" y="654"/>
                  </a:lnTo>
                  <a:lnTo>
                    <a:pt x="864" y="654"/>
                  </a:lnTo>
                  <a:lnTo>
                    <a:pt x="864" y="660"/>
                  </a:lnTo>
                  <a:lnTo>
                    <a:pt x="846" y="666"/>
                  </a:lnTo>
                  <a:lnTo>
                    <a:pt x="828" y="672"/>
                  </a:lnTo>
                  <a:lnTo>
                    <a:pt x="816" y="660"/>
                  </a:lnTo>
                  <a:lnTo>
                    <a:pt x="810" y="660"/>
                  </a:lnTo>
                  <a:lnTo>
                    <a:pt x="798" y="666"/>
                  </a:lnTo>
                  <a:lnTo>
                    <a:pt x="786" y="666"/>
                  </a:lnTo>
                  <a:lnTo>
                    <a:pt x="780" y="672"/>
                  </a:lnTo>
                  <a:lnTo>
                    <a:pt x="768" y="678"/>
                  </a:lnTo>
                  <a:lnTo>
                    <a:pt x="762" y="660"/>
                  </a:lnTo>
                  <a:lnTo>
                    <a:pt x="762" y="654"/>
                  </a:lnTo>
                  <a:lnTo>
                    <a:pt x="756" y="636"/>
                  </a:lnTo>
                  <a:lnTo>
                    <a:pt x="762" y="624"/>
                  </a:lnTo>
                  <a:lnTo>
                    <a:pt x="756" y="606"/>
                  </a:lnTo>
                  <a:lnTo>
                    <a:pt x="756" y="600"/>
                  </a:lnTo>
                  <a:lnTo>
                    <a:pt x="762" y="594"/>
                  </a:lnTo>
                  <a:lnTo>
                    <a:pt x="768" y="600"/>
                  </a:lnTo>
                  <a:lnTo>
                    <a:pt x="768" y="594"/>
                  </a:lnTo>
                  <a:lnTo>
                    <a:pt x="768" y="588"/>
                  </a:lnTo>
                  <a:lnTo>
                    <a:pt x="774" y="582"/>
                  </a:lnTo>
                  <a:lnTo>
                    <a:pt x="768" y="576"/>
                  </a:lnTo>
                  <a:lnTo>
                    <a:pt x="762" y="576"/>
                  </a:lnTo>
                  <a:lnTo>
                    <a:pt x="756" y="576"/>
                  </a:lnTo>
                  <a:lnTo>
                    <a:pt x="690" y="576"/>
                  </a:lnTo>
                  <a:lnTo>
                    <a:pt x="624" y="570"/>
                  </a:lnTo>
                  <a:lnTo>
                    <a:pt x="600" y="564"/>
                  </a:lnTo>
                  <a:lnTo>
                    <a:pt x="576" y="564"/>
                  </a:lnTo>
                  <a:lnTo>
                    <a:pt x="558" y="570"/>
                  </a:lnTo>
                  <a:lnTo>
                    <a:pt x="552" y="576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46" y="594"/>
                  </a:lnTo>
                  <a:lnTo>
                    <a:pt x="546" y="600"/>
                  </a:lnTo>
                  <a:lnTo>
                    <a:pt x="540" y="606"/>
                  </a:lnTo>
                  <a:lnTo>
                    <a:pt x="534" y="618"/>
                  </a:lnTo>
                  <a:lnTo>
                    <a:pt x="534" y="624"/>
                  </a:lnTo>
                  <a:lnTo>
                    <a:pt x="534" y="630"/>
                  </a:lnTo>
                  <a:lnTo>
                    <a:pt x="534" y="636"/>
                  </a:lnTo>
                  <a:lnTo>
                    <a:pt x="528" y="636"/>
                  </a:lnTo>
                  <a:lnTo>
                    <a:pt x="516" y="642"/>
                  </a:lnTo>
                  <a:lnTo>
                    <a:pt x="516" y="648"/>
                  </a:lnTo>
                  <a:lnTo>
                    <a:pt x="510" y="648"/>
                  </a:lnTo>
                  <a:lnTo>
                    <a:pt x="504" y="654"/>
                  </a:lnTo>
                  <a:lnTo>
                    <a:pt x="492" y="666"/>
                  </a:lnTo>
                  <a:lnTo>
                    <a:pt x="492" y="672"/>
                  </a:lnTo>
                  <a:lnTo>
                    <a:pt x="492" y="684"/>
                  </a:lnTo>
                  <a:lnTo>
                    <a:pt x="486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92" y="702"/>
                  </a:lnTo>
                  <a:lnTo>
                    <a:pt x="486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74" y="720"/>
                  </a:lnTo>
                  <a:lnTo>
                    <a:pt x="480" y="726"/>
                  </a:lnTo>
                  <a:lnTo>
                    <a:pt x="474" y="726"/>
                  </a:lnTo>
                  <a:lnTo>
                    <a:pt x="474" y="738"/>
                  </a:lnTo>
                  <a:lnTo>
                    <a:pt x="474" y="744"/>
                  </a:lnTo>
                  <a:lnTo>
                    <a:pt x="474" y="750"/>
                  </a:lnTo>
                  <a:lnTo>
                    <a:pt x="480" y="750"/>
                  </a:lnTo>
                  <a:lnTo>
                    <a:pt x="480" y="756"/>
                  </a:lnTo>
                  <a:lnTo>
                    <a:pt x="492" y="762"/>
                  </a:lnTo>
                  <a:lnTo>
                    <a:pt x="498" y="774"/>
                  </a:lnTo>
                  <a:lnTo>
                    <a:pt x="498" y="780"/>
                  </a:lnTo>
                  <a:lnTo>
                    <a:pt x="504" y="786"/>
                  </a:lnTo>
                  <a:lnTo>
                    <a:pt x="510" y="792"/>
                  </a:lnTo>
                  <a:lnTo>
                    <a:pt x="504" y="798"/>
                  </a:lnTo>
                  <a:lnTo>
                    <a:pt x="504" y="804"/>
                  </a:lnTo>
                  <a:lnTo>
                    <a:pt x="504" y="810"/>
                  </a:lnTo>
                  <a:lnTo>
                    <a:pt x="498" y="822"/>
                  </a:lnTo>
                  <a:lnTo>
                    <a:pt x="492" y="828"/>
                  </a:lnTo>
                  <a:lnTo>
                    <a:pt x="492" y="834"/>
                  </a:lnTo>
                  <a:lnTo>
                    <a:pt x="486" y="840"/>
                  </a:lnTo>
                  <a:lnTo>
                    <a:pt x="480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74" y="858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876"/>
                  </a:lnTo>
                  <a:lnTo>
                    <a:pt x="456" y="894"/>
                  </a:lnTo>
                  <a:lnTo>
                    <a:pt x="450" y="894"/>
                  </a:lnTo>
                  <a:lnTo>
                    <a:pt x="444" y="900"/>
                  </a:lnTo>
                  <a:lnTo>
                    <a:pt x="444" y="894"/>
                  </a:lnTo>
                  <a:lnTo>
                    <a:pt x="438" y="894"/>
                  </a:lnTo>
                  <a:lnTo>
                    <a:pt x="432" y="900"/>
                  </a:lnTo>
                  <a:lnTo>
                    <a:pt x="432" y="906"/>
                  </a:lnTo>
                  <a:lnTo>
                    <a:pt x="420" y="906"/>
                  </a:lnTo>
                  <a:lnTo>
                    <a:pt x="420" y="912"/>
                  </a:lnTo>
                  <a:lnTo>
                    <a:pt x="420" y="918"/>
                  </a:lnTo>
                  <a:lnTo>
                    <a:pt x="426" y="918"/>
                  </a:lnTo>
                  <a:lnTo>
                    <a:pt x="426" y="924"/>
                  </a:lnTo>
                  <a:lnTo>
                    <a:pt x="426" y="930"/>
                  </a:lnTo>
                  <a:lnTo>
                    <a:pt x="420" y="930"/>
                  </a:lnTo>
                  <a:lnTo>
                    <a:pt x="414" y="936"/>
                  </a:lnTo>
                  <a:lnTo>
                    <a:pt x="414" y="942"/>
                  </a:lnTo>
                  <a:lnTo>
                    <a:pt x="414" y="948"/>
                  </a:lnTo>
                  <a:lnTo>
                    <a:pt x="414" y="954"/>
                  </a:lnTo>
                  <a:lnTo>
                    <a:pt x="426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44" y="972"/>
                  </a:lnTo>
                  <a:lnTo>
                    <a:pt x="444" y="978"/>
                  </a:lnTo>
                  <a:lnTo>
                    <a:pt x="450" y="978"/>
                  </a:lnTo>
                  <a:lnTo>
                    <a:pt x="450" y="984"/>
                  </a:lnTo>
                  <a:lnTo>
                    <a:pt x="456" y="990"/>
                  </a:lnTo>
                  <a:lnTo>
                    <a:pt x="456" y="996"/>
                  </a:lnTo>
                  <a:lnTo>
                    <a:pt x="462" y="1008"/>
                  </a:lnTo>
                  <a:lnTo>
                    <a:pt x="468" y="1008"/>
                  </a:lnTo>
                  <a:lnTo>
                    <a:pt x="468" y="1002"/>
                  </a:lnTo>
                  <a:lnTo>
                    <a:pt x="474" y="1008"/>
                  </a:lnTo>
                  <a:lnTo>
                    <a:pt x="480" y="1002"/>
                  </a:lnTo>
                  <a:lnTo>
                    <a:pt x="486" y="1008"/>
                  </a:lnTo>
                  <a:lnTo>
                    <a:pt x="486" y="1014"/>
                  </a:lnTo>
                  <a:lnTo>
                    <a:pt x="492" y="1014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86" y="1026"/>
                  </a:lnTo>
                  <a:lnTo>
                    <a:pt x="492" y="1026"/>
                  </a:lnTo>
                  <a:lnTo>
                    <a:pt x="486" y="1026"/>
                  </a:lnTo>
                  <a:lnTo>
                    <a:pt x="492" y="103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5" name="Freeform 30">
              <a:extLst>
                <a:ext uri="{FF2B5EF4-FFF2-40B4-BE49-F238E27FC236}">
                  <a16:creationId xmlns:a16="http://schemas.microsoft.com/office/drawing/2014/main" id="{85C7B827-0C1A-4D72-AEBD-F01CFE7EC12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3645" y="3904484"/>
              <a:ext cx="559048" cy="111825"/>
            </a:xfrm>
            <a:custGeom>
              <a:avLst/>
              <a:gdLst>
                <a:gd name="T0" fmla="*/ 69 w 1056"/>
                <a:gd name="T1" fmla="*/ 7 h 210"/>
                <a:gd name="T2" fmla="*/ 63 w 1056"/>
                <a:gd name="T3" fmla="*/ 5 h 210"/>
                <a:gd name="T4" fmla="*/ 57 w 1056"/>
                <a:gd name="T5" fmla="*/ 5 h 210"/>
                <a:gd name="T6" fmla="*/ 54 w 1056"/>
                <a:gd name="T7" fmla="*/ 6 h 210"/>
                <a:gd name="T8" fmla="*/ 51 w 1056"/>
                <a:gd name="T9" fmla="*/ 7 h 210"/>
                <a:gd name="T10" fmla="*/ 46 w 1056"/>
                <a:gd name="T11" fmla="*/ 9 h 210"/>
                <a:gd name="T12" fmla="*/ 42 w 1056"/>
                <a:gd name="T13" fmla="*/ 8 h 210"/>
                <a:gd name="T14" fmla="*/ 42 w 1056"/>
                <a:gd name="T15" fmla="*/ 5 h 210"/>
                <a:gd name="T16" fmla="*/ 41 w 1056"/>
                <a:gd name="T17" fmla="*/ 7 h 210"/>
                <a:gd name="T18" fmla="*/ 38 w 1056"/>
                <a:gd name="T19" fmla="*/ 10 h 210"/>
                <a:gd name="T20" fmla="*/ 37 w 1056"/>
                <a:gd name="T21" fmla="*/ 12 h 210"/>
                <a:gd name="T22" fmla="*/ 37 w 1056"/>
                <a:gd name="T23" fmla="*/ 15 h 210"/>
                <a:gd name="T24" fmla="*/ 37 w 1056"/>
                <a:gd name="T25" fmla="*/ 16 h 210"/>
                <a:gd name="T26" fmla="*/ 38 w 1056"/>
                <a:gd name="T27" fmla="*/ 16 h 210"/>
                <a:gd name="T28" fmla="*/ 34 w 1056"/>
                <a:gd name="T29" fmla="*/ 16 h 210"/>
                <a:gd name="T30" fmla="*/ 26 w 1056"/>
                <a:gd name="T31" fmla="*/ 16 h 210"/>
                <a:gd name="T32" fmla="*/ 20 w 1056"/>
                <a:gd name="T33" fmla="*/ 17 h 210"/>
                <a:gd name="T34" fmla="*/ 13 w 1056"/>
                <a:gd name="T35" fmla="*/ 17 h 210"/>
                <a:gd name="T36" fmla="*/ 6 w 1056"/>
                <a:gd name="T37" fmla="*/ 17 h 210"/>
                <a:gd name="T38" fmla="*/ 1 w 1056"/>
                <a:gd name="T39" fmla="*/ 18 h 210"/>
                <a:gd name="T40" fmla="*/ 3 w 1056"/>
                <a:gd name="T41" fmla="*/ 14 h 210"/>
                <a:gd name="T42" fmla="*/ 8 w 1056"/>
                <a:gd name="T43" fmla="*/ 15 h 210"/>
                <a:gd name="T44" fmla="*/ 11 w 1056"/>
                <a:gd name="T45" fmla="*/ 12 h 210"/>
                <a:gd name="T46" fmla="*/ 26 w 1056"/>
                <a:gd name="T47" fmla="*/ 10 h 210"/>
                <a:gd name="T48" fmla="*/ 29 w 1056"/>
                <a:gd name="T49" fmla="*/ 5 h 210"/>
                <a:gd name="T50" fmla="*/ 34 w 1056"/>
                <a:gd name="T51" fmla="*/ 1 h 210"/>
                <a:gd name="T52" fmla="*/ 41 w 1056"/>
                <a:gd name="T53" fmla="*/ 3 h 210"/>
                <a:gd name="T54" fmla="*/ 73 w 1056"/>
                <a:gd name="T55" fmla="*/ 1 h 210"/>
                <a:gd name="T56" fmla="*/ 75 w 1056"/>
                <a:gd name="T57" fmla="*/ 4 h 210"/>
                <a:gd name="T58" fmla="*/ 85 w 1056"/>
                <a:gd name="T59" fmla="*/ 15 h 210"/>
                <a:gd name="T60" fmla="*/ 91 w 1056"/>
                <a:gd name="T61" fmla="*/ 18 h 210"/>
                <a:gd name="T62" fmla="*/ 85 w 1056"/>
                <a:gd name="T63" fmla="*/ 18 h 210"/>
                <a:gd name="T64" fmla="*/ 79 w 1056"/>
                <a:gd name="T65" fmla="*/ 16 h 210"/>
                <a:gd name="T66" fmla="*/ 74 w 1056"/>
                <a:gd name="T67" fmla="*/ 16 h 210"/>
                <a:gd name="T68" fmla="*/ 69 w 1056"/>
                <a:gd name="T69" fmla="*/ 15 h 210"/>
                <a:gd name="T70" fmla="*/ 65 w 1056"/>
                <a:gd name="T71" fmla="*/ 14 h 210"/>
                <a:gd name="T72" fmla="*/ 59 w 1056"/>
                <a:gd name="T73" fmla="*/ 15 h 210"/>
                <a:gd name="T74" fmla="*/ 54 w 1056"/>
                <a:gd name="T75" fmla="*/ 15 h 210"/>
                <a:gd name="T76" fmla="*/ 49 w 1056"/>
                <a:gd name="T77" fmla="*/ 15 h 210"/>
                <a:gd name="T78" fmla="*/ 42 w 1056"/>
                <a:gd name="T79" fmla="*/ 15 h 210"/>
                <a:gd name="T80" fmla="*/ 38 w 1056"/>
                <a:gd name="T81" fmla="*/ 16 h 210"/>
                <a:gd name="T82" fmla="*/ 41 w 1056"/>
                <a:gd name="T83" fmla="*/ 14 h 210"/>
                <a:gd name="T84" fmla="*/ 42 w 1056"/>
                <a:gd name="T85" fmla="*/ 13 h 210"/>
                <a:gd name="T86" fmla="*/ 45 w 1056"/>
                <a:gd name="T87" fmla="*/ 13 h 210"/>
                <a:gd name="T88" fmla="*/ 48 w 1056"/>
                <a:gd name="T89" fmla="*/ 12 h 210"/>
                <a:gd name="T90" fmla="*/ 51 w 1056"/>
                <a:gd name="T91" fmla="*/ 11 h 210"/>
                <a:gd name="T92" fmla="*/ 54 w 1056"/>
                <a:gd name="T93" fmla="*/ 9 h 210"/>
                <a:gd name="T94" fmla="*/ 57 w 1056"/>
                <a:gd name="T95" fmla="*/ 8 h 210"/>
                <a:gd name="T96" fmla="*/ 60 w 1056"/>
                <a:gd name="T97" fmla="*/ 5 h 210"/>
                <a:gd name="T98" fmla="*/ 65 w 1056"/>
                <a:gd name="T99" fmla="*/ 5 h 210"/>
                <a:gd name="T100" fmla="*/ 72 w 1056"/>
                <a:gd name="T101" fmla="*/ 7 h 210"/>
                <a:gd name="T102" fmla="*/ 77 w 1056"/>
                <a:gd name="T103" fmla="*/ 11 h 210"/>
                <a:gd name="T104" fmla="*/ 69 w 1056"/>
                <a:gd name="T105" fmla="*/ 10 h 210"/>
                <a:gd name="T106" fmla="*/ 72 w 1056"/>
                <a:gd name="T107" fmla="*/ 12 h 210"/>
                <a:gd name="T108" fmla="*/ 78 w 1056"/>
                <a:gd name="T109" fmla="*/ 15 h 210"/>
                <a:gd name="T110" fmla="*/ 84 w 1056"/>
                <a:gd name="T111" fmla="*/ 14 h 210"/>
                <a:gd name="T112" fmla="*/ 84 w 1056"/>
                <a:gd name="T113" fmla="*/ 14 h 210"/>
                <a:gd name="T114" fmla="*/ 78 w 1056"/>
                <a:gd name="T115" fmla="*/ 13 h 210"/>
                <a:gd name="T116" fmla="*/ 76 w 1056"/>
                <a:gd name="T117" fmla="*/ 14 h 210"/>
                <a:gd name="T118" fmla="*/ 38 w 1056"/>
                <a:gd name="T119" fmla="*/ 12 h 210"/>
                <a:gd name="T120" fmla="*/ 41 w 1056"/>
                <a:gd name="T121" fmla="*/ 12 h 210"/>
                <a:gd name="T122" fmla="*/ 40 w 1056"/>
                <a:gd name="T123" fmla="*/ 14 h 2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6"/>
                <a:gd name="T187" fmla="*/ 0 h 210"/>
                <a:gd name="T188" fmla="*/ 1056 w 1056"/>
                <a:gd name="T189" fmla="*/ 210 h 21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6" h="210">
                  <a:moveTo>
                    <a:pt x="870" y="90"/>
                  </a:moveTo>
                  <a:lnTo>
                    <a:pt x="864" y="90"/>
                  </a:lnTo>
                  <a:lnTo>
                    <a:pt x="852" y="84"/>
                  </a:lnTo>
                  <a:lnTo>
                    <a:pt x="846" y="84"/>
                  </a:lnTo>
                  <a:lnTo>
                    <a:pt x="846" y="78"/>
                  </a:lnTo>
                  <a:lnTo>
                    <a:pt x="840" y="78"/>
                  </a:lnTo>
                  <a:lnTo>
                    <a:pt x="834" y="78"/>
                  </a:lnTo>
                  <a:lnTo>
                    <a:pt x="834" y="72"/>
                  </a:lnTo>
                  <a:lnTo>
                    <a:pt x="804" y="78"/>
                  </a:lnTo>
                  <a:lnTo>
                    <a:pt x="798" y="78"/>
                  </a:lnTo>
                  <a:lnTo>
                    <a:pt x="792" y="72"/>
                  </a:lnTo>
                  <a:lnTo>
                    <a:pt x="780" y="60"/>
                  </a:lnTo>
                  <a:lnTo>
                    <a:pt x="768" y="54"/>
                  </a:lnTo>
                  <a:lnTo>
                    <a:pt x="756" y="54"/>
                  </a:lnTo>
                  <a:lnTo>
                    <a:pt x="750" y="54"/>
                  </a:lnTo>
                  <a:lnTo>
                    <a:pt x="750" y="48"/>
                  </a:lnTo>
                  <a:lnTo>
                    <a:pt x="744" y="48"/>
                  </a:lnTo>
                  <a:lnTo>
                    <a:pt x="738" y="48"/>
                  </a:lnTo>
                  <a:lnTo>
                    <a:pt x="732" y="48"/>
                  </a:lnTo>
                  <a:lnTo>
                    <a:pt x="732" y="54"/>
                  </a:lnTo>
                  <a:lnTo>
                    <a:pt x="726" y="48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48"/>
                  </a:lnTo>
                  <a:lnTo>
                    <a:pt x="702" y="48"/>
                  </a:lnTo>
                  <a:lnTo>
                    <a:pt x="696" y="48"/>
                  </a:lnTo>
                  <a:lnTo>
                    <a:pt x="684" y="48"/>
                  </a:lnTo>
                  <a:lnTo>
                    <a:pt x="678" y="48"/>
                  </a:lnTo>
                  <a:lnTo>
                    <a:pt x="672" y="48"/>
                  </a:lnTo>
                  <a:lnTo>
                    <a:pt x="666" y="54"/>
                  </a:lnTo>
                  <a:lnTo>
                    <a:pt x="660" y="54"/>
                  </a:lnTo>
                  <a:lnTo>
                    <a:pt x="660" y="48"/>
                  </a:lnTo>
                  <a:lnTo>
                    <a:pt x="654" y="48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42" y="54"/>
                  </a:lnTo>
                  <a:lnTo>
                    <a:pt x="63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30" y="66"/>
                  </a:lnTo>
                  <a:lnTo>
                    <a:pt x="624" y="66"/>
                  </a:lnTo>
                  <a:lnTo>
                    <a:pt x="618" y="66"/>
                  </a:lnTo>
                  <a:lnTo>
                    <a:pt x="618" y="72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6" y="84"/>
                  </a:lnTo>
                  <a:lnTo>
                    <a:pt x="600" y="84"/>
                  </a:lnTo>
                  <a:lnTo>
                    <a:pt x="594" y="90"/>
                  </a:lnTo>
                  <a:lnTo>
                    <a:pt x="588" y="90"/>
                  </a:lnTo>
                  <a:lnTo>
                    <a:pt x="588" y="84"/>
                  </a:lnTo>
                  <a:lnTo>
                    <a:pt x="582" y="84"/>
                  </a:lnTo>
                  <a:lnTo>
                    <a:pt x="576" y="84"/>
                  </a:lnTo>
                  <a:lnTo>
                    <a:pt x="570" y="84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58" y="96"/>
                  </a:lnTo>
                  <a:lnTo>
                    <a:pt x="552" y="96"/>
                  </a:lnTo>
                  <a:lnTo>
                    <a:pt x="546" y="102"/>
                  </a:lnTo>
                  <a:lnTo>
                    <a:pt x="540" y="102"/>
                  </a:lnTo>
                  <a:lnTo>
                    <a:pt x="534" y="102"/>
                  </a:lnTo>
                  <a:lnTo>
                    <a:pt x="528" y="102"/>
                  </a:lnTo>
                  <a:lnTo>
                    <a:pt x="528" y="108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16" y="102"/>
                  </a:lnTo>
                  <a:lnTo>
                    <a:pt x="510" y="102"/>
                  </a:lnTo>
                  <a:lnTo>
                    <a:pt x="504" y="102"/>
                  </a:lnTo>
                  <a:lnTo>
                    <a:pt x="498" y="102"/>
                  </a:lnTo>
                  <a:lnTo>
                    <a:pt x="498" y="96"/>
                  </a:lnTo>
                  <a:lnTo>
                    <a:pt x="492" y="96"/>
                  </a:lnTo>
                  <a:lnTo>
                    <a:pt x="492" y="90"/>
                  </a:lnTo>
                  <a:lnTo>
                    <a:pt x="492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498" y="66"/>
                  </a:lnTo>
                  <a:lnTo>
                    <a:pt x="504" y="60"/>
                  </a:lnTo>
                  <a:lnTo>
                    <a:pt x="498" y="60"/>
                  </a:lnTo>
                  <a:lnTo>
                    <a:pt x="498" y="54"/>
                  </a:lnTo>
                  <a:lnTo>
                    <a:pt x="492" y="54"/>
                  </a:lnTo>
                  <a:lnTo>
                    <a:pt x="492" y="60"/>
                  </a:lnTo>
                  <a:lnTo>
                    <a:pt x="486" y="60"/>
                  </a:lnTo>
                  <a:lnTo>
                    <a:pt x="486" y="66"/>
                  </a:lnTo>
                  <a:lnTo>
                    <a:pt x="480" y="66"/>
                  </a:lnTo>
                  <a:lnTo>
                    <a:pt x="474" y="72"/>
                  </a:lnTo>
                  <a:lnTo>
                    <a:pt x="474" y="66"/>
                  </a:lnTo>
                  <a:lnTo>
                    <a:pt x="474" y="72"/>
                  </a:lnTo>
                  <a:lnTo>
                    <a:pt x="468" y="72"/>
                  </a:lnTo>
                  <a:lnTo>
                    <a:pt x="468" y="78"/>
                  </a:lnTo>
                  <a:lnTo>
                    <a:pt x="468" y="84"/>
                  </a:lnTo>
                  <a:lnTo>
                    <a:pt x="462" y="90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0" y="84"/>
                  </a:lnTo>
                  <a:lnTo>
                    <a:pt x="450" y="90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44" y="102"/>
                  </a:lnTo>
                  <a:lnTo>
                    <a:pt x="444" y="108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38" y="126"/>
                  </a:lnTo>
                  <a:lnTo>
                    <a:pt x="438" y="132"/>
                  </a:lnTo>
                  <a:lnTo>
                    <a:pt x="438" y="138"/>
                  </a:lnTo>
                  <a:lnTo>
                    <a:pt x="438" y="144"/>
                  </a:lnTo>
                  <a:lnTo>
                    <a:pt x="432" y="144"/>
                  </a:lnTo>
                  <a:lnTo>
                    <a:pt x="432" y="150"/>
                  </a:lnTo>
                  <a:lnTo>
                    <a:pt x="432" y="144"/>
                  </a:lnTo>
                  <a:lnTo>
                    <a:pt x="426" y="144"/>
                  </a:lnTo>
                  <a:lnTo>
                    <a:pt x="426" y="150"/>
                  </a:lnTo>
                  <a:lnTo>
                    <a:pt x="426" y="156"/>
                  </a:lnTo>
                  <a:lnTo>
                    <a:pt x="432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2"/>
                  </a:lnTo>
                  <a:lnTo>
                    <a:pt x="432" y="168"/>
                  </a:lnTo>
                  <a:lnTo>
                    <a:pt x="426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44" y="168"/>
                  </a:lnTo>
                  <a:lnTo>
                    <a:pt x="444" y="174"/>
                  </a:lnTo>
                  <a:lnTo>
                    <a:pt x="444" y="180"/>
                  </a:lnTo>
                  <a:lnTo>
                    <a:pt x="444" y="186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2" y="192"/>
                  </a:lnTo>
                  <a:lnTo>
                    <a:pt x="426" y="192"/>
                  </a:lnTo>
                  <a:lnTo>
                    <a:pt x="420" y="186"/>
                  </a:lnTo>
                  <a:lnTo>
                    <a:pt x="414" y="186"/>
                  </a:lnTo>
                  <a:lnTo>
                    <a:pt x="408" y="186"/>
                  </a:lnTo>
                  <a:lnTo>
                    <a:pt x="402" y="186"/>
                  </a:lnTo>
                  <a:lnTo>
                    <a:pt x="396" y="186"/>
                  </a:lnTo>
                  <a:lnTo>
                    <a:pt x="390" y="186"/>
                  </a:lnTo>
                  <a:lnTo>
                    <a:pt x="384" y="186"/>
                  </a:lnTo>
                  <a:lnTo>
                    <a:pt x="378" y="186"/>
                  </a:lnTo>
                  <a:lnTo>
                    <a:pt x="372" y="186"/>
                  </a:lnTo>
                  <a:lnTo>
                    <a:pt x="354" y="186"/>
                  </a:lnTo>
                  <a:lnTo>
                    <a:pt x="342" y="186"/>
                  </a:lnTo>
                  <a:lnTo>
                    <a:pt x="324" y="186"/>
                  </a:lnTo>
                  <a:lnTo>
                    <a:pt x="312" y="186"/>
                  </a:lnTo>
                  <a:lnTo>
                    <a:pt x="306" y="186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82" y="186"/>
                  </a:lnTo>
                  <a:lnTo>
                    <a:pt x="270" y="186"/>
                  </a:lnTo>
                  <a:lnTo>
                    <a:pt x="264" y="186"/>
                  </a:lnTo>
                  <a:lnTo>
                    <a:pt x="258" y="192"/>
                  </a:lnTo>
                  <a:lnTo>
                    <a:pt x="258" y="186"/>
                  </a:lnTo>
                  <a:lnTo>
                    <a:pt x="246" y="186"/>
                  </a:lnTo>
                  <a:lnTo>
                    <a:pt x="240" y="186"/>
                  </a:lnTo>
                  <a:lnTo>
                    <a:pt x="234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2"/>
                  </a:lnTo>
                  <a:lnTo>
                    <a:pt x="204" y="192"/>
                  </a:lnTo>
                  <a:lnTo>
                    <a:pt x="198" y="192"/>
                  </a:lnTo>
                  <a:lnTo>
                    <a:pt x="192" y="192"/>
                  </a:lnTo>
                  <a:lnTo>
                    <a:pt x="180" y="192"/>
                  </a:lnTo>
                  <a:lnTo>
                    <a:pt x="168" y="192"/>
                  </a:lnTo>
                  <a:lnTo>
                    <a:pt x="162" y="192"/>
                  </a:lnTo>
                  <a:lnTo>
                    <a:pt x="150" y="192"/>
                  </a:lnTo>
                  <a:lnTo>
                    <a:pt x="138" y="192"/>
                  </a:lnTo>
                  <a:lnTo>
                    <a:pt x="132" y="192"/>
                  </a:lnTo>
                  <a:lnTo>
                    <a:pt x="120" y="192"/>
                  </a:lnTo>
                  <a:lnTo>
                    <a:pt x="114" y="192"/>
                  </a:lnTo>
                  <a:lnTo>
                    <a:pt x="108" y="192"/>
                  </a:lnTo>
                  <a:lnTo>
                    <a:pt x="102" y="192"/>
                  </a:lnTo>
                  <a:lnTo>
                    <a:pt x="90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2" y="198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36" y="198"/>
                  </a:lnTo>
                  <a:lnTo>
                    <a:pt x="30" y="204"/>
                  </a:lnTo>
                  <a:lnTo>
                    <a:pt x="24" y="204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6" y="210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54" y="156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56"/>
                  </a:lnTo>
                  <a:lnTo>
                    <a:pt x="78" y="162"/>
                  </a:lnTo>
                  <a:lnTo>
                    <a:pt x="84" y="162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9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0" y="126"/>
                  </a:lnTo>
                  <a:lnTo>
                    <a:pt x="276" y="120"/>
                  </a:lnTo>
                  <a:lnTo>
                    <a:pt x="282" y="120"/>
                  </a:lnTo>
                  <a:lnTo>
                    <a:pt x="300" y="120"/>
                  </a:lnTo>
                  <a:lnTo>
                    <a:pt x="306" y="114"/>
                  </a:lnTo>
                  <a:lnTo>
                    <a:pt x="312" y="108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8"/>
                  </a:lnTo>
                  <a:lnTo>
                    <a:pt x="342" y="30"/>
                  </a:lnTo>
                  <a:lnTo>
                    <a:pt x="342" y="24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8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24"/>
                  </a:lnTo>
                  <a:lnTo>
                    <a:pt x="414" y="30"/>
                  </a:lnTo>
                  <a:lnTo>
                    <a:pt x="420" y="30"/>
                  </a:lnTo>
                  <a:lnTo>
                    <a:pt x="42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74" y="30"/>
                  </a:lnTo>
                  <a:lnTo>
                    <a:pt x="474" y="18"/>
                  </a:lnTo>
                  <a:lnTo>
                    <a:pt x="474" y="12"/>
                  </a:lnTo>
                  <a:lnTo>
                    <a:pt x="480" y="12"/>
                  </a:lnTo>
                  <a:lnTo>
                    <a:pt x="486" y="12"/>
                  </a:lnTo>
                  <a:lnTo>
                    <a:pt x="606" y="12"/>
                  </a:lnTo>
                  <a:lnTo>
                    <a:pt x="630" y="12"/>
                  </a:lnTo>
                  <a:lnTo>
                    <a:pt x="678" y="12"/>
                  </a:lnTo>
                  <a:lnTo>
                    <a:pt x="744" y="12"/>
                  </a:lnTo>
                  <a:lnTo>
                    <a:pt x="774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2" y="6"/>
                  </a:lnTo>
                  <a:lnTo>
                    <a:pt x="888" y="12"/>
                  </a:lnTo>
                  <a:lnTo>
                    <a:pt x="888" y="24"/>
                  </a:lnTo>
                  <a:lnTo>
                    <a:pt x="888" y="30"/>
                  </a:lnTo>
                  <a:lnTo>
                    <a:pt x="882" y="36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64" y="42"/>
                  </a:lnTo>
                  <a:lnTo>
                    <a:pt x="864" y="48"/>
                  </a:lnTo>
                  <a:lnTo>
                    <a:pt x="858" y="54"/>
                  </a:lnTo>
                  <a:lnTo>
                    <a:pt x="864" y="54"/>
                  </a:lnTo>
                  <a:lnTo>
                    <a:pt x="870" y="72"/>
                  </a:lnTo>
                  <a:lnTo>
                    <a:pt x="870" y="78"/>
                  </a:lnTo>
                  <a:lnTo>
                    <a:pt x="870" y="84"/>
                  </a:lnTo>
                  <a:lnTo>
                    <a:pt x="870" y="90"/>
                  </a:lnTo>
                  <a:close/>
                  <a:moveTo>
                    <a:pt x="972" y="156"/>
                  </a:moveTo>
                  <a:lnTo>
                    <a:pt x="972" y="162"/>
                  </a:lnTo>
                  <a:lnTo>
                    <a:pt x="978" y="162"/>
                  </a:lnTo>
                  <a:lnTo>
                    <a:pt x="984" y="168"/>
                  </a:lnTo>
                  <a:lnTo>
                    <a:pt x="990" y="168"/>
                  </a:lnTo>
                  <a:lnTo>
                    <a:pt x="990" y="162"/>
                  </a:lnTo>
                  <a:lnTo>
                    <a:pt x="1008" y="162"/>
                  </a:lnTo>
                  <a:lnTo>
                    <a:pt x="1020" y="162"/>
                  </a:lnTo>
                  <a:lnTo>
                    <a:pt x="1038" y="162"/>
                  </a:lnTo>
                  <a:lnTo>
                    <a:pt x="1056" y="168"/>
                  </a:lnTo>
                  <a:lnTo>
                    <a:pt x="1056" y="180"/>
                  </a:lnTo>
                  <a:lnTo>
                    <a:pt x="1056" y="186"/>
                  </a:lnTo>
                  <a:lnTo>
                    <a:pt x="1056" y="204"/>
                  </a:lnTo>
                  <a:lnTo>
                    <a:pt x="1050" y="204"/>
                  </a:lnTo>
                  <a:lnTo>
                    <a:pt x="1044" y="204"/>
                  </a:lnTo>
                  <a:lnTo>
                    <a:pt x="1038" y="204"/>
                  </a:lnTo>
                  <a:lnTo>
                    <a:pt x="1032" y="204"/>
                  </a:lnTo>
                  <a:lnTo>
                    <a:pt x="1026" y="204"/>
                  </a:lnTo>
                  <a:lnTo>
                    <a:pt x="1020" y="204"/>
                  </a:lnTo>
                  <a:lnTo>
                    <a:pt x="1014" y="204"/>
                  </a:lnTo>
                  <a:lnTo>
                    <a:pt x="1008" y="204"/>
                  </a:lnTo>
                  <a:lnTo>
                    <a:pt x="1002" y="204"/>
                  </a:lnTo>
                  <a:lnTo>
                    <a:pt x="996" y="204"/>
                  </a:lnTo>
                  <a:lnTo>
                    <a:pt x="984" y="204"/>
                  </a:lnTo>
                  <a:lnTo>
                    <a:pt x="984" y="198"/>
                  </a:lnTo>
                  <a:lnTo>
                    <a:pt x="978" y="198"/>
                  </a:lnTo>
                  <a:lnTo>
                    <a:pt x="966" y="198"/>
                  </a:lnTo>
                  <a:lnTo>
                    <a:pt x="948" y="192"/>
                  </a:lnTo>
                  <a:lnTo>
                    <a:pt x="942" y="192"/>
                  </a:lnTo>
                  <a:lnTo>
                    <a:pt x="936" y="192"/>
                  </a:lnTo>
                  <a:lnTo>
                    <a:pt x="924" y="192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12" y="186"/>
                  </a:lnTo>
                  <a:lnTo>
                    <a:pt x="906" y="186"/>
                  </a:lnTo>
                  <a:lnTo>
                    <a:pt x="900" y="186"/>
                  </a:lnTo>
                  <a:lnTo>
                    <a:pt x="894" y="186"/>
                  </a:lnTo>
                  <a:lnTo>
                    <a:pt x="888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76" y="180"/>
                  </a:lnTo>
                  <a:lnTo>
                    <a:pt x="870" y="180"/>
                  </a:lnTo>
                  <a:lnTo>
                    <a:pt x="864" y="180"/>
                  </a:lnTo>
                  <a:lnTo>
                    <a:pt x="858" y="180"/>
                  </a:lnTo>
                  <a:lnTo>
                    <a:pt x="852" y="180"/>
                  </a:lnTo>
                  <a:lnTo>
                    <a:pt x="852" y="174"/>
                  </a:lnTo>
                  <a:lnTo>
                    <a:pt x="846" y="174"/>
                  </a:lnTo>
                  <a:lnTo>
                    <a:pt x="840" y="174"/>
                  </a:lnTo>
                  <a:lnTo>
                    <a:pt x="834" y="174"/>
                  </a:lnTo>
                  <a:lnTo>
                    <a:pt x="828" y="174"/>
                  </a:lnTo>
                  <a:lnTo>
                    <a:pt x="822" y="174"/>
                  </a:lnTo>
                  <a:lnTo>
                    <a:pt x="816" y="174"/>
                  </a:lnTo>
                  <a:lnTo>
                    <a:pt x="810" y="168"/>
                  </a:lnTo>
                  <a:lnTo>
                    <a:pt x="804" y="168"/>
                  </a:lnTo>
                  <a:lnTo>
                    <a:pt x="798" y="168"/>
                  </a:lnTo>
                  <a:lnTo>
                    <a:pt x="792" y="168"/>
                  </a:lnTo>
                  <a:lnTo>
                    <a:pt x="786" y="168"/>
                  </a:lnTo>
                  <a:lnTo>
                    <a:pt x="780" y="168"/>
                  </a:lnTo>
                  <a:lnTo>
                    <a:pt x="774" y="168"/>
                  </a:lnTo>
                  <a:lnTo>
                    <a:pt x="768" y="168"/>
                  </a:lnTo>
                  <a:lnTo>
                    <a:pt x="762" y="168"/>
                  </a:lnTo>
                  <a:lnTo>
                    <a:pt x="756" y="168"/>
                  </a:lnTo>
                  <a:lnTo>
                    <a:pt x="750" y="168"/>
                  </a:lnTo>
                  <a:lnTo>
                    <a:pt x="750" y="162"/>
                  </a:lnTo>
                  <a:lnTo>
                    <a:pt x="744" y="168"/>
                  </a:lnTo>
                  <a:lnTo>
                    <a:pt x="738" y="162"/>
                  </a:lnTo>
                  <a:lnTo>
                    <a:pt x="732" y="162"/>
                  </a:lnTo>
                  <a:lnTo>
                    <a:pt x="726" y="162"/>
                  </a:lnTo>
                  <a:lnTo>
                    <a:pt x="714" y="162"/>
                  </a:lnTo>
                  <a:lnTo>
                    <a:pt x="702" y="162"/>
                  </a:lnTo>
                  <a:lnTo>
                    <a:pt x="696" y="168"/>
                  </a:lnTo>
                  <a:lnTo>
                    <a:pt x="690" y="168"/>
                  </a:lnTo>
                  <a:lnTo>
                    <a:pt x="684" y="168"/>
                  </a:lnTo>
                  <a:lnTo>
                    <a:pt x="678" y="168"/>
                  </a:lnTo>
                  <a:lnTo>
                    <a:pt x="672" y="168"/>
                  </a:lnTo>
                  <a:lnTo>
                    <a:pt x="666" y="168"/>
                  </a:lnTo>
                  <a:lnTo>
                    <a:pt x="660" y="168"/>
                  </a:lnTo>
                  <a:lnTo>
                    <a:pt x="654" y="168"/>
                  </a:lnTo>
                  <a:lnTo>
                    <a:pt x="648" y="174"/>
                  </a:lnTo>
                  <a:lnTo>
                    <a:pt x="648" y="168"/>
                  </a:lnTo>
                  <a:lnTo>
                    <a:pt x="642" y="174"/>
                  </a:lnTo>
                  <a:lnTo>
                    <a:pt x="636" y="174"/>
                  </a:lnTo>
                  <a:lnTo>
                    <a:pt x="630" y="174"/>
                  </a:lnTo>
                  <a:lnTo>
                    <a:pt x="624" y="174"/>
                  </a:lnTo>
                  <a:lnTo>
                    <a:pt x="618" y="174"/>
                  </a:lnTo>
                  <a:lnTo>
                    <a:pt x="612" y="174"/>
                  </a:lnTo>
                  <a:lnTo>
                    <a:pt x="606" y="174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74"/>
                  </a:lnTo>
                  <a:lnTo>
                    <a:pt x="582" y="174"/>
                  </a:lnTo>
                  <a:lnTo>
                    <a:pt x="576" y="174"/>
                  </a:lnTo>
                  <a:lnTo>
                    <a:pt x="570" y="174"/>
                  </a:lnTo>
                  <a:lnTo>
                    <a:pt x="564" y="174"/>
                  </a:lnTo>
                  <a:lnTo>
                    <a:pt x="558" y="174"/>
                  </a:lnTo>
                  <a:lnTo>
                    <a:pt x="552" y="174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0" y="174"/>
                  </a:lnTo>
                  <a:lnTo>
                    <a:pt x="504" y="174"/>
                  </a:lnTo>
                  <a:lnTo>
                    <a:pt x="498" y="174"/>
                  </a:lnTo>
                  <a:lnTo>
                    <a:pt x="492" y="174"/>
                  </a:lnTo>
                  <a:lnTo>
                    <a:pt x="486" y="174"/>
                  </a:lnTo>
                  <a:lnTo>
                    <a:pt x="480" y="174"/>
                  </a:lnTo>
                  <a:lnTo>
                    <a:pt x="474" y="174"/>
                  </a:lnTo>
                  <a:lnTo>
                    <a:pt x="468" y="174"/>
                  </a:lnTo>
                  <a:lnTo>
                    <a:pt x="462" y="174"/>
                  </a:lnTo>
                  <a:lnTo>
                    <a:pt x="456" y="174"/>
                  </a:lnTo>
                  <a:lnTo>
                    <a:pt x="450" y="180"/>
                  </a:lnTo>
                  <a:lnTo>
                    <a:pt x="450" y="186"/>
                  </a:lnTo>
                  <a:lnTo>
                    <a:pt x="450" y="192"/>
                  </a:lnTo>
                  <a:lnTo>
                    <a:pt x="444" y="192"/>
                  </a:lnTo>
                  <a:lnTo>
                    <a:pt x="444" y="186"/>
                  </a:lnTo>
                  <a:lnTo>
                    <a:pt x="444" y="180"/>
                  </a:lnTo>
                  <a:lnTo>
                    <a:pt x="450" y="180"/>
                  </a:lnTo>
                  <a:lnTo>
                    <a:pt x="450" y="174"/>
                  </a:lnTo>
                  <a:lnTo>
                    <a:pt x="450" y="168"/>
                  </a:lnTo>
                  <a:lnTo>
                    <a:pt x="450" y="162"/>
                  </a:lnTo>
                  <a:lnTo>
                    <a:pt x="456" y="162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62" y="162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74" y="168"/>
                  </a:lnTo>
                  <a:lnTo>
                    <a:pt x="480" y="168"/>
                  </a:lnTo>
                  <a:lnTo>
                    <a:pt x="480" y="162"/>
                  </a:lnTo>
                  <a:lnTo>
                    <a:pt x="480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56"/>
                  </a:lnTo>
                  <a:lnTo>
                    <a:pt x="492" y="156"/>
                  </a:lnTo>
                  <a:lnTo>
                    <a:pt x="486" y="150"/>
                  </a:lnTo>
                  <a:lnTo>
                    <a:pt x="492" y="150"/>
                  </a:lnTo>
                  <a:lnTo>
                    <a:pt x="498" y="150"/>
                  </a:lnTo>
                  <a:lnTo>
                    <a:pt x="498" y="156"/>
                  </a:lnTo>
                  <a:lnTo>
                    <a:pt x="504" y="156"/>
                  </a:lnTo>
                  <a:lnTo>
                    <a:pt x="504" y="162"/>
                  </a:lnTo>
                  <a:lnTo>
                    <a:pt x="504" y="156"/>
                  </a:lnTo>
                  <a:lnTo>
                    <a:pt x="510" y="156"/>
                  </a:lnTo>
                  <a:lnTo>
                    <a:pt x="510" y="150"/>
                  </a:lnTo>
                  <a:lnTo>
                    <a:pt x="516" y="150"/>
                  </a:lnTo>
                  <a:lnTo>
                    <a:pt x="522" y="150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28" y="150"/>
                  </a:lnTo>
                  <a:lnTo>
                    <a:pt x="528" y="144"/>
                  </a:lnTo>
                  <a:lnTo>
                    <a:pt x="540" y="144"/>
                  </a:lnTo>
                  <a:lnTo>
                    <a:pt x="546" y="144"/>
                  </a:lnTo>
                  <a:lnTo>
                    <a:pt x="552" y="138"/>
                  </a:lnTo>
                  <a:lnTo>
                    <a:pt x="552" y="132"/>
                  </a:lnTo>
                  <a:lnTo>
                    <a:pt x="558" y="132"/>
                  </a:lnTo>
                  <a:lnTo>
                    <a:pt x="558" y="126"/>
                  </a:lnTo>
                  <a:lnTo>
                    <a:pt x="558" y="120"/>
                  </a:lnTo>
                  <a:lnTo>
                    <a:pt x="558" y="114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6" y="114"/>
                  </a:lnTo>
                  <a:lnTo>
                    <a:pt x="582" y="120"/>
                  </a:lnTo>
                  <a:lnTo>
                    <a:pt x="588" y="120"/>
                  </a:lnTo>
                  <a:lnTo>
                    <a:pt x="588" y="126"/>
                  </a:lnTo>
                  <a:lnTo>
                    <a:pt x="588" y="120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600" y="114"/>
                  </a:lnTo>
                  <a:lnTo>
                    <a:pt x="606" y="114"/>
                  </a:lnTo>
                  <a:lnTo>
                    <a:pt x="618" y="114"/>
                  </a:lnTo>
                  <a:lnTo>
                    <a:pt x="618" y="108"/>
                  </a:lnTo>
                  <a:lnTo>
                    <a:pt x="624" y="108"/>
                  </a:lnTo>
                  <a:lnTo>
                    <a:pt x="624" y="102"/>
                  </a:lnTo>
                  <a:lnTo>
                    <a:pt x="630" y="102"/>
                  </a:lnTo>
                  <a:lnTo>
                    <a:pt x="636" y="102"/>
                  </a:lnTo>
                  <a:lnTo>
                    <a:pt x="636" y="108"/>
                  </a:lnTo>
                  <a:lnTo>
                    <a:pt x="642" y="108"/>
                  </a:lnTo>
                  <a:lnTo>
                    <a:pt x="648" y="108"/>
                  </a:lnTo>
                  <a:lnTo>
                    <a:pt x="648" y="102"/>
                  </a:lnTo>
                  <a:lnTo>
                    <a:pt x="654" y="102"/>
                  </a:lnTo>
                  <a:lnTo>
                    <a:pt x="660" y="102"/>
                  </a:lnTo>
                  <a:lnTo>
                    <a:pt x="660" y="96"/>
                  </a:lnTo>
                  <a:lnTo>
                    <a:pt x="660" y="90"/>
                  </a:lnTo>
                  <a:lnTo>
                    <a:pt x="666" y="90"/>
                  </a:lnTo>
                  <a:lnTo>
                    <a:pt x="666" y="84"/>
                  </a:lnTo>
                  <a:lnTo>
                    <a:pt x="672" y="78"/>
                  </a:lnTo>
                  <a:lnTo>
                    <a:pt x="672" y="72"/>
                  </a:lnTo>
                  <a:lnTo>
                    <a:pt x="678" y="66"/>
                  </a:lnTo>
                  <a:lnTo>
                    <a:pt x="684" y="66"/>
                  </a:lnTo>
                  <a:lnTo>
                    <a:pt x="684" y="60"/>
                  </a:lnTo>
                  <a:lnTo>
                    <a:pt x="690" y="60"/>
                  </a:lnTo>
                  <a:lnTo>
                    <a:pt x="696" y="60"/>
                  </a:lnTo>
                  <a:lnTo>
                    <a:pt x="702" y="60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66"/>
                  </a:lnTo>
                  <a:lnTo>
                    <a:pt x="720" y="66"/>
                  </a:lnTo>
                  <a:lnTo>
                    <a:pt x="720" y="60"/>
                  </a:lnTo>
                  <a:lnTo>
                    <a:pt x="726" y="60"/>
                  </a:lnTo>
                  <a:lnTo>
                    <a:pt x="732" y="60"/>
                  </a:lnTo>
                  <a:lnTo>
                    <a:pt x="744" y="60"/>
                  </a:lnTo>
                  <a:lnTo>
                    <a:pt x="750" y="54"/>
                  </a:lnTo>
                  <a:lnTo>
                    <a:pt x="762" y="60"/>
                  </a:lnTo>
                  <a:lnTo>
                    <a:pt x="774" y="60"/>
                  </a:lnTo>
                  <a:lnTo>
                    <a:pt x="774" y="66"/>
                  </a:lnTo>
                  <a:lnTo>
                    <a:pt x="780" y="72"/>
                  </a:lnTo>
                  <a:lnTo>
                    <a:pt x="786" y="78"/>
                  </a:lnTo>
                  <a:lnTo>
                    <a:pt x="792" y="78"/>
                  </a:lnTo>
                  <a:lnTo>
                    <a:pt x="810" y="84"/>
                  </a:lnTo>
                  <a:lnTo>
                    <a:pt x="822" y="84"/>
                  </a:lnTo>
                  <a:lnTo>
                    <a:pt x="828" y="84"/>
                  </a:lnTo>
                  <a:lnTo>
                    <a:pt x="834" y="84"/>
                  </a:lnTo>
                  <a:lnTo>
                    <a:pt x="840" y="96"/>
                  </a:lnTo>
                  <a:lnTo>
                    <a:pt x="846" y="102"/>
                  </a:lnTo>
                  <a:lnTo>
                    <a:pt x="858" y="102"/>
                  </a:lnTo>
                  <a:lnTo>
                    <a:pt x="864" y="102"/>
                  </a:lnTo>
                  <a:lnTo>
                    <a:pt x="876" y="96"/>
                  </a:lnTo>
                  <a:lnTo>
                    <a:pt x="882" y="102"/>
                  </a:lnTo>
                  <a:lnTo>
                    <a:pt x="888" y="108"/>
                  </a:lnTo>
                  <a:lnTo>
                    <a:pt x="888" y="114"/>
                  </a:lnTo>
                  <a:lnTo>
                    <a:pt x="888" y="120"/>
                  </a:lnTo>
                  <a:lnTo>
                    <a:pt x="888" y="126"/>
                  </a:lnTo>
                  <a:lnTo>
                    <a:pt x="888" y="132"/>
                  </a:lnTo>
                  <a:lnTo>
                    <a:pt x="882" y="132"/>
                  </a:lnTo>
                  <a:lnTo>
                    <a:pt x="864" y="126"/>
                  </a:lnTo>
                  <a:lnTo>
                    <a:pt x="852" y="120"/>
                  </a:lnTo>
                  <a:lnTo>
                    <a:pt x="840" y="126"/>
                  </a:lnTo>
                  <a:lnTo>
                    <a:pt x="834" y="120"/>
                  </a:lnTo>
                  <a:lnTo>
                    <a:pt x="828" y="120"/>
                  </a:lnTo>
                  <a:lnTo>
                    <a:pt x="822" y="120"/>
                  </a:lnTo>
                  <a:lnTo>
                    <a:pt x="810" y="114"/>
                  </a:lnTo>
                  <a:lnTo>
                    <a:pt x="804" y="114"/>
                  </a:lnTo>
                  <a:lnTo>
                    <a:pt x="798" y="114"/>
                  </a:lnTo>
                  <a:lnTo>
                    <a:pt x="792" y="114"/>
                  </a:lnTo>
                  <a:lnTo>
                    <a:pt x="786" y="114"/>
                  </a:lnTo>
                  <a:lnTo>
                    <a:pt x="780" y="114"/>
                  </a:lnTo>
                  <a:lnTo>
                    <a:pt x="780" y="126"/>
                  </a:lnTo>
                  <a:lnTo>
                    <a:pt x="786" y="126"/>
                  </a:lnTo>
                  <a:lnTo>
                    <a:pt x="798" y="126"/>
                  </a:lnTo>
                  <a:lnTo>
                    <a:pt x="804" y="126"/>
                  </a:lnTo>
                  <a:lnTo>
                    <a:pt x="822" y="132"/>
                  </a:lnTo>
                  <a:lnTo>
                    <a:pt x="828" y="132"/>
                  </a:lnTo>
                  <a:lnTo>
                    <a:pt x="834" y="132"/>
                  </a:lnTo>
                  <a:lnTo>
                    <a:pt x="840" y="144"/>
                  </a:lnTo>
                  <a:lnTo>
                    <a:pt x="846" y="150"/>
                  </a:lnTo>
                  <a:lnTo>
                    <a:pt x="858" y="150"/>
                  </a:lnTo>
                  <a:lnTo>
                    <a:pt x="864" y="162"/>
                  </a:lnTo>
                  <a:lnTo>
                    <a:pt x="870" y="162"/>
                  </a:lnTo>
                  <a:lnTo>
                    <a:pt x="876" y="168"/>
                  </a:lnTo>
                  <a:lnTo>
                    <a:pt x="888" y="168"/>
                  </a:lnTo>
                  <a:lnTo>
                    <a:pt x="894" y="174"/>
                  </a:lnTo>
                  <a:lnTo>
                    <a:pt x="900" y="174"/>
                  </a:lnTo>
                  <a:lnTo>
                    <a:pt x="918" y="174"/>
                  </a:lnTo>
                  <a:lnTo>
                    <a:pt x="924" y="174"/>
                  </a:lnTo>
                  <a:lnTo>
                    <a:pt x="930" y="174"/>
                  </a:lnTo>
                  <a:lnTo>
                    <a:pt x="942" y="174"/>
                  </a:lnTo>
                  <a:lnTo>
                    <a:pt x="954" y="174"/>
                  </a:lnTo>
                  <a:lnTo>
                    <a:pt x="960" y="174"/>
                  </a:lnTo>
                  <a:lnTo>
                    <a:pt x="966" y="174"/>
                  </a:lnTo>
                  <a:lnTo>
                    <a:pt x="966" y="168"/>
                  </a:lnTo>
                  <a:lnTo>
                    <a:pt x="972" y="162"/>
                  </a:lnTo>
                  <a:lnTo>
                    <a:pt x="972" y="156"/>
                  </a:lnTo>
                  <a:close/>
                  <a:moveTo>
                    <a:pt x="942" y="174"/>
                  </a:moveTo>
                  <a:lnTo>
                    <a:pt x="936" y="174"/>
                  </a:lnTo>
                  <a:lnTo>
                    <a:pt x="936" y="168"/>
                  </a:lnTo>
                  <a:lnTo>
                    <a:pt x="936" y="162"/>
                  </a:lnTo>
                  <a:lnTo>
                    <a:pt x="948" y="162"/>
                  </a:lnTo>
                  <a:lnTo>
                    <a:pt x="948" y="156"/>
                  </a:lnTo>
                  <a:lnTo>
                    <a:pt x="954" y="156"/>
                  </a:lnTo>
                  <a:lnTo>
                    <a:pt x="960" y="156"/>
                  </a:lnTo>
                  <a:lnTo>
                    <a:pt x="966" y="156"/>
                  </a:lnTo>
                  <a:lnTo>
                    <a:pt x="966" y="162"/>
                  </a:lnTo>
                  <a:lnTo>
                    <a:pt x="960" y="168"/>
                  </a:lnTo>
                  <a:lnTo>
                    <a:pt x="942" y="174"/>
                  </a:lnTo>
                  <a:close/>
                  <a:moveTo>
                    <a:pt x="900" y="168"/>
                  </a:moveTo>
                  <a:lnTo>
                    <a:pt x="894" y="168"/>
                  </a:lnTo>
                  <a:lnTo>
                    <a:pt x="882" y="156"/>
                  </a:lnTo>
                  <a:lnTo>
                    <a:pt x="882" y="150"/>
                  </a:lnTo>
                  <a:lnTo>
                    <a:pt x="888" y="156"/>
                  </a:lnTo>
                  <a:lnTo>
                    <a:pt x="894" y="150"/>
                  </a:lnTo>
                  <a:lnTo>
                    <a:pt x="900" y="150"/>
                  </a:lnTo>
                  <a:lnTo>
                    <a:pt x="906" y="150"/>
                  </a:lnTo>
                  <a:lnTo>
                    <a:pt x="912" y="150"/>
                  </a:lnTo>
                  <a:lnTo>
                    <a:pt x="924" y="150"/>
                  </a:lnTo>
                  <a:lnTo>
                    <a:pt x="924" y="156"/>
                  </a:lnTo>
                  <a:lnTo>
                    <a:pt x="924" y="162"/>
                  </a:lnTo>
                  <a:lnTo>
                    <a:pt x="924" y="168"/>
                  </a:lnTo>
                  <a:lnTo>
                    <a:pt x="918" y="168"/>
                  </a:lnTo>
                  <a:lnTo>
                    <a:pt x="906" y="168"/>
                  </a:lnTo>
                  <a:lnTo>
                    <a:pt x="900" y="168"/>
                  </a:lnTo>
                  <a:close/>
                  <a:moveTo>
                    <a:pt x="870" y="162"/>
                  </a:moveTo>
                  <a:lnTo>
                    <a:pt x="876" y="162"/>
                  </a:lnTo>
                  <a:lnTo>
                    <a:pt x="876" y="168"/>
                  </a:lnTo>
                  <a:lnTo>
                    <a:pt x="870" y="168"/>
                  </a:lnTo>
                  <a:lnTo>
                    <a:pt x="870" y="162"/>
                  </a:lnTo>
                  <a:close/>
                  <a:moveTo>
                    <a:pt x="450" y="162"/>
                  </a:moveTo>
                  <a:lnTo>
                    <a:pt x="444" y="162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2" y="150"/>
                  </a:lnTo>
                  <a:lnTo>
                    <a:pt x="438" y="150"/>
                  </a:lnTo>
                  <a:lnTo>
                    <a:pt x="438" y="144"/>
                  </a:lnTo>
                  <a:lnTo>
                    <a:pt x="438" y="150"/>
                  </a:lnTo>
                  <a:lnTo>
                    <a:pt x="444" y="150"/>
                  </a:lnTo>
                  <a:lnTo>
                    <a:pt x="450" y="150"/>
                  </a:lnTo>
                  <a:lnTo>
                    <a:pt x="450" y="156"/>
                  </a:lnTo>
                  <a:lnTo>
                    <a:pt x="456" y="156"/>
                  </a:lnTo>
                  <a:lnTo>
                    <a:pt x="456" y="150"/>
                  </a:lnTo>
                  <a:lnTo>
                    <a:pt x="456" y="156"/>
                  </a:lnTo>
                  <a:lnTo>
                    <a:pt x="462" y="150"/>
                  </a:lnTo>
                  <a:lnTo>
                    <a:pt x="462" y="144"/>
                  </a:lnTo>
                  <a:lnTo>
                    <a:pt x="468" y="144"/>
                  </a:lnTo>
                  <a:lnTo>
                    <a:pt x="468" y="150"/>
                  </a:lnTo>
                  <a:lnTo>
                    <a:pt x="474" y="150"/>
                  </a:lnTo>
                  <a:lnTo>
                    <a:pt x="480" y="150"/>
                  </a:lnTo>
                  <a:lnTo>
                    <a:pt x="480" y="156"/>
                  </a:lnTo>
                  <a:lnTo>
                    <a:pt x="480" y="162"/>
                  </a:lnTo>
                  <a:lnTo>
                    <a:pt x="474" y="162"/>
                  </a:lnTo>
                  <a:lnTo>
                    <a:pt x="474" y="168"/>
                  </a:lnTo>
                  <a:lnTo>
                    <a:pt x="474" y="162"/>
                  </a:lnTo>
                  <a:lnTo>
                    <a:pt x="468" y="162"/>
                  </a:lnTo>
                  <a:lnTo>
                    <a:pt x="462" y="162"/>
                  </a:lnTo>
                  <a:lnTo>
                    <a:pt x="456" y="162"/>
                  </a:lnTo>
                  <a:lnTo>
                    <a:pt x="450" y="162"/>
                  </a:lnTo>
                  <a:close/>
                </a:path>
              </a:pathLst>
            </a:custGeom>
            <a:solidFill>
              <a:srgbClr val="2A4F1D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6" name="Freeform 31">
              <a:extLst>
                <a:ext uri="{FF2B5EF4-FFF2-40B4-BE49-F238E27FC236}">
                  <a16:creationId xmlns:a16="http://schemas.microsoft.com/office/drawing/2014/main" id="{0989F057-38E8-4AA5-8B73-27F6355E235C}"/>
                </a:ext>
              </a:extLst>
            </p:cNvPr>
            <p:cNvSpPr>
              <a:spLocks/>
            </p:cNvSpPr>
            <p:nvPr/>
          </p:nvSpPr>
          <p:spPr bwMode="gray">
            <a:xfrm>
              <a:off x="792590" y="2728084"/>
              <a:ext cx="1182944" cy="740282"/>
            </a:xfrm>
            <a:custGeom>
              <a:avLst/>
              <a:gdLst>
                <a:gd name="T0" fmla="*/ 138 w 2226"/>
                <a:gd name="T1" fmla="*/ 121 h 1392"/>
                <a:gd name="T2" fmla="*/ 133 w 2226"/>
                <a:gd name="T3" fmla="*/ 119 h 1392"/>
                <a:gd name="T4" fmla="*/ 128 w 2226"/>
                <a:gd name="T5" fmla="*/ 117 h 1392"/>
                <a:gd name="T6" fmla="*/ 119 w 2226"/>
                <a:gd name="T7" fmla="*/ 116 h 1392"/>
                <a:gd name="T8" fmla="*/ 101 w 2226"/>
                <a:gd name="T9" fmla="*/ 116 h 1392"/>
                <a:gd name="T10" fmla="*/ 94 w 2226"/>
                <a:gd name="T11" fmla="*/ 104 h 1392"/>
                <a:gd name="T12" fmla="*/ 82 w 2226"/>
                <a:gd name="T13" fmla="*/ 83 h 1392"/>
                <a:gd name="T14" fmla="*/ 87 w 2226"/>
                <a:gd name="T15" fmla="*/ 69 h 1392"/>
                <a:gd name="T16" fmla="*/ 82 w 2226"/>
                <a:gd name="T17" fmla="*/ 65 h 1392"/>
                <a:gd name="T18" fmla="*/ 59 w 2226"/>
                <a:gd name="T19" fmla="*/ 57 h 1392"/>
                <a:gd name="T20" fmla="*/ 29 w 2226"/>
                <a:gd name="T21" fmla="*/ 77 h 1392"/>
                <a:gd name="T22" fmla="*/ 20 w 2226"/>
                <a:gd name="T23" fmla="*/ 78 h 1392"/>
                <a:gd name="T24" fmla="*/ 15 w 2226"/>
                <a:gd name="T25" fmla="*/ 82 h 1392"/>
                <a:gd name="T26" fmla="*/ 8 w 2226"/>
                <a:gd name="T27" fmla="*/ 86 h 1392"/>
                <a:gd name="T28" fmla="*/ 1 w 2226"/>
                <a:gd name="T29" fmla="*/ 88 h 1392"/>
                <a:gd name="T30" fmla="*/ 0 w 2226"/>
                <a:gd name="T31" fmla="*/ 82 h 1392"/>
                <a:gd name="T32" fmla="*/ 0 w 2226"/>
                <a:gd name="T33" fmla="*/ 76 h 1392"/>
                <a:gd name="T34" fmla="*/ 2 w 2226"/>
                <a:gd name="T35" fmla="*/ 70 h 1392"/>
                <a:gd name="T36" fmla="*/ 3 w 2226"/>
                <a:gd name="T37" fmla="*/ 65 h 1392"/>
                <a:gd name="T38" fmla="*/ 2 w 2226"/>
                <a:gd name="T39" fmla="*/ 63 h 1392"/>
                <a:gd name="T40" fmla="*/ 9 w 2226"/>
                <a:gd name="T41" fmla="*/ 60 h 1392"/>
                <a:gd name="T42" fmla="*/ 17 w 2226"/>
                <a:gd name="T43" fmla="*/ 59 h 1392"/>
                <a:gd name="T44" fmla="*/ 22 w 2226"/>
                <a:gd name="T45" fmla="*/ 51 h 1392"/>
                <a:gd name="T46" fmla="*/ 23 w 2226"/>
                <a:gd name="T47" fmla="*/ 43 h 1392"/>
                <a:gd name="T48" fmla="*/ 27 w 2226"/>
                <a:gd name="T49" fmla="*/ 34 h 1392"/>
                <a:gd name="T50" fmla="*/ 30 w 2226"/>
                <a:gd name="T51" fmla="*/ 27 h 1392"/>
                <a:gd name="T52" fmla="*/ 33 w 2226"/>
                <a:gd name="T53" fmla="*/ 22 h 1392"/>
                <a:gd name="T54" fmla="*/ 42 w 2226"/>
                <a:gd name="T55" fmla="*/ 17 h 1392"/>
                <a:gd name="T56" fmla="*/ 47 w 2226"/>
                <a:gd name="T57" fmla="*/ 14 h 1392"/>
                <a:gd name="T58" fmla="*/ 49 w 2226"/>
                <a:gd name="T59" fmla="*/ 5 h 1392"/>
                <a:gd name="T60" fmla="*/ 53 w 2226"/>
                <a:gd name="T61" fmla="*/ 0 h 1392"/>
                <a:gd name="T62" fmla="*/ 55 w 2226"/>
                <a:gd name="T63" fmla="*/ 4 h 1392"/>
                <a:gd name="T64" fmla="*/ 59 w 2226"/>
                <a:gd name="T65" fmla="*/ 7 h 1392"/>
                <a:gd name="T66" fmla="*/ 63 w 2226"/>
                <a:gd name="T67" fmla="*/ 7 h 1392"/>
                <a:gd name="T68" fmla="*/ 66 w 2226"/>
                <a:gd name="T69" fmla="*/ 9 h 1392"/>
                <a:gd name="T70" fmla="*/ 67 w 2226"/>
                <a:gd name="T71" fmla="*/ 12 h 1392"/>
                <a:gd name="T72" fmla="*/ 67 w 2226"/>
                <a:gd name="T73" fmla="*/ 13 h 1392"/>
                <a:gd name="T74" fmla="*/ 70 w 2226"/>
                <a:gd name="T75" fmla="*/ 15 h 1392"/>
                <a:gd name="T76" fmla="*/ 74 w 2226"/>
                <a:gd name="T77" fmla="*/ 17 h 1392"/>
                <a:gd name="T78" fmla="*/ 78 w 2226"/>
                <a:gd name="T79" fmla="*/ 18 h 1392"/>
                <a:gd name="T80" fmla="*/ 97 w 2226"/>
                <a:gd name="T81" fmla="*/ 40 h 1392"/>
                <a:gd name="T82" fmla="*/ 102 w 2226"/>
                <a:gd name="T83" fmla="*/ 44 h 1392"/>
                <a:gd name="T84" fmla="*/ 110 w 2226"/>
                <a:gd name="T85" fmla="*/ 49 h 1392"/>
                <a:gd name="T86" fmla="*/ 113 w 2226"/>
                <a:gd name="T87" fmla="*/ 53 h 1392"/>
                <a:gd name="T88" fmla="*/ 118 w 2226"/>
                <a:gd name="T89" fmla="*/ 57 h 1392"/>
                <a:gd name="T90" fmla="*/ 124 w 2226"/>
                <a:gd name="T91" fmla="*/ 54 h 1392"/>
                <a:gd name="T92" fmla="*/ 133 w 2226"/>
                <a:gd name="T93" fmla="*/ 58 h 1392"/>
                <a:gd name="T94" fmla="*/ 137 w 2226"/>
                <a:gd name="T95" fmla="*/ 64 h 1392"/>
                <a:gd name="T96" fmla="*/ 145 w 2226"/>
                <a:gd name="T97" fmla="*/ 65 h 1392"/>
                <a:gd name="T98" fmla="*/ 152 w 2226"/>
                <a:gd name="T99" fmla="*/ 67 h 1392"/>
                <a:gd name="T100" fmla="*/ 161 w 2226"/>
                <a:gd name="T101" fmla="*/ 72 h 1392"/>
                <a:gd name="T102" fmla="*/ 168 w 2226"/>
                <a:gd name="T103" fmla="*/ 76 h 1392"/>
                <a:gd name="T104" fmla="*/ 177 w 2226"/>
                <a:gd name="T105" fmla="*/ 78 h 1392"/>
                <a:gd name="T106" fmla="*/ 184 w 2226"/>
                <a:gd name="T107" fmla="*/ 78 h 1392"/>
                <a:gd name="T108" fmla="*/ 190 w 2226"/>
                <a:gd name="T109" fmla="*/ 81 h 1392"/>
                <a:gd name="T110" fmla="*/ 192 w 2226"/>
                <a:gd name="T111" fmla="*/ 86 h 1392"/>
                <a:gd name="T112" fmla="*/ 187 w 2226"/>
                <a:gd name="T113" fmla="*/ 99 h 1392"/>
                <a:gd name="T114" fmla="*/ 165 w 2226"/>
                <a:gd name="T115" fmla="*/ 97 h 1392"/>
                <a:gd name="T116" fmla="*/ 155 w 2226"/>
                <a:gd name="T117" fmla="*/ 92 h 1392"/>
                <a:gd name="T118" fmla="*/ 146 w 2226"/>
                <a:gd name="T119" fmla="*/ 102 h 1392"/>
                <a:gd name="T120" fmla="*/ 149 w 2226"/>
                <a:gd name="T121" fmla="*/ 106 h 1392"/>
                <a:gd name="T122" fmla="*/ 151 w 2226"/>
                <a:gd name="T123" fmla="*/ 108 h 1392"/>
                <a:gd name="T124" fmla="*/ 157 w 2226"/>
                <a:gd name="T125" fmla="*/ 113 h 13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1392"/>
                <a:gd name="T191" fmla="*/ 2226 w 2226"/>
                <a:gd name="T192" fmla="*/ 1392 h 13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1392">
                  <a:moveTo>
                    <a:pt x="1782" y="1326"/>
                  </a:moveTo>
                  <a:lnTo>
                    <a:pt x="1776" y="1332"/>
                  </a:lnTo>
                  <a:lnTo>
                    <a:pt x="1692" y="1338"/>
                  </a:lnTo>
                  <a:lnTo>
                    <a:pt x="1680" y="1386"/>
                  </a:lnTo>
                  <a:lnTo>
                    <a:pt x="1674" y="1392"/>
                  </a:lnTo>
                  <a:lnTo>
                    <a:pt x="1638" y="1392"/>
                  </a:lnTo>
                  <a:lnTo>
                    <a:pt x="1620" y="1392"/>
                  </a:lnTo>
                  <a:lnTo>
                    <a:pt x="1614" y="1392"/>
                  </a:lnTo>
                  <a:lnTo>
                    <a:pt x="1608" y="1386"/>
                  </a:lnTo>
                  <a:lnTo>
                    <a:pt x="1584" y="1386"/>
                  </a:lnTo>
                  <a:lnTo>
                    <a:pt x="1578" y="1386"/>
                  </a:lnTo>
                  <a:lnTo>
                    <a:pt x="1572" y="1380"/>
                  </a:lnTo>
                  <a:lnTo>
                    <a:pt x="1578" y="1356"/>
                  </a:lnTo>
                  <a:lnTo>
                    <a:pt x="1572" y="1356"/>
                  </a:lnTo>
                  <a:lnTo>
                    <a:pt x="1560" y="1350"/>
                  </a:lnTo>
                  <a:lnTo>
                    <a:pt x="1554" y="1350"/>
                  </a:lnTo>
                  <a:lnTo>
                    <a:pt x="1542" y="1350"/>
                  </a:lnTo>
                  <a:lnTo>
                    <a:pt x="1530" y="1350"/>
                  </a:lnTo>
                  <a:lnTo>
                    <a:pt x="1524" y="1356"/>
                  </a:lnTo>
                  <a:lnTo>
                    <a:pt x="1524" y="1362"/>
                  </a:lnTo>
                  <a:lnTo>
                    <a:pt x="1512" y="1374"/>
                  </a:lnTo>
                  <a:lnTo>
                    <a:pt x="1506" y="1374"/>
                  </a:lnTo>
                  <a:lnTo>
                    <a:pt x="1500" y="1368"/>
                  </a:lnTo>
                  <a:lnTo>
                    <a:pt x="1500" y="1362"/>
                  </a:lnTo>
                  <a:lnTo>
                    <a:pt x="1488" y="1362"/>
                  </a:lnTo>
                  <a:lnTo>
                    <a:pt x="1482" y="1356"/>
                  </a:lnTo>
                  <a:lnTo>
                    <a:pt x="1482" y="1350"/>
                  </a:lnTo>
                  <a:lnTo>
                    <a:pt x="1476" y="1350"/>
                  </a:lnTo>
                  <a:lnTo>
                    <a:pt x="1470" y="1344"/>
                  </a:lnTo>
                  <a:lnTo>
                    <a:pt x="1464" y="1344"/>
                  </a:lnTo>
                  <a:lnTo>
                    <a:pt x="1452" y="1350"/>
                  </a:lnTo>
                  <a:lnTo>
                    <a:pt x="1452" y="1356"/>
                  </a:lnTo>
                  <a:lnTo>
                    <a:pt x="1440" y="1356"/>
                  </a:lnTo>
                  <a:lnTo>
                    <a:pt x="1434" y="1344"/>
                  </a:lnTo>
                  <a:lnTo>
                    <a:pt x="1422" y="1332"/>
                  </a:lnTo>
                  <a:lnTo>
                    <a:pt x="1416" y="1326"/>
                  </a:lnTo>
                  <a:lnTo>
                    <a:pt x="1404" y="1320"/>
                  </a:lnTo>
                  <a:lnTo>
                    <a:pt x="1404" y="1314"/>
                  </a:lnTo>
                  <a:lnTo>
                    <a:pt x="1374" y="1308"/>
                  </a:lnTo>
                  <a:lnTo>
                    <a:pt x="1368" y="1326"/>
                  </a:lnTo>
                  <a:lnTo>
                    <a:pt x="1344" y="1338"/>
                  </a:lnTo>
                  <a:lnTo>
                    <a:pt x="1326" y="1332"/>
                  </a:lnTo>
                  <a:lnTo>
                    <a:pt x="1302" y="1332"/>
                  </a:lnTo>
                  <a:lnTo>
                    <a:pt x="1278" y="1338"/>
                  </a:lnTo>
                  <a:lnTo>
                    <a:pt x="1236" y="1338"/>
                  </a:lnTo>
                  <a:lnTo>
                    <a:pt x="1224" y="1338"/>
                  </a:lnTo>
                  <a:lnTo>
                    <a:pt x="1224" y="1326"/>
                  </a:lnTo>
                  <a:lnTo>
                    <a:pt x="1206" y="1326"/>
                  </a:lnTo>
                  <a:lnTo>
                    <a:pt x="1170" y="1326"/>
                  </a:lnTo>
                  <a:lnTo>
                    <a:pt x="1152" y="1326"/>
                  </a:lnTo>
                  <a:lnTo>
                    <a:pt x="1140" y="1314"/>
                  </a:lnTo>
                  <a:lnTo>
                    <a:pt x="1134" y="1296"/>
                  </a:lnTo>
                  <a:lnTo>
                    <a:pt x="1134" y="1284"/>
                  </a:lnTo>
                  <a:lnTo>
                    <a:pt x="1128" y="1254"/>
                  </a:lnTo>
                  <a:lnTo>
                    <a:pt x="1128" y="1242"/>
                  </a:lnTo>
                  <a:lnTo>
                    <a:pt x="1122" y="1230"/>
                  </a:lnTo>
                  <a:lnTo>
                    <a:pt x="1104" y="1218"/>
                  </a:lnTo>
                  <a:lnTo>
                    <a:pt x="1104" y="1212"/>
                  </a:lnTo>
                  <a:lnTo>
                    <a:pt x="1092" y="1206"/>
                  </a:lnTo>
                  <a:lnTo>
                    <a:pt x="1080" y="1194"/>
                  </a:lnTo>
                  <a:lnTo>
                    <a:pt x="1068" y="1176"/>
                  </a:lnTo>
                  <a:lnTo>
                    <a:pt x="1050" y="1152"/>
                  </a:lnTo>
                  <a:lnTo>
                    <a:pt x="1020" y="1098"/>
                  </a:lnTo>
                  <a:lnTo>
                    <a:pt x="978" y="1026"/>
                  </a:lnTo>
                  <a:lnTo>
                    <a:pt x="978" y="1014"/>
                  </a:lnTo>
                  <a:lnTo>
                    <a:pt x="972" y="1014"/>
                  </a:lnTo>
                  <a:lnTo>
                    <a:pt x="972" y="1008"/>
                  </a:lnTo>
                  <a:lnTo>
                    <a:pt x="978" y="1002"/>
                  </a:lnTo>
                  <a:lnTo>
                    <a:pt x="960" y="966"/>
                  </a:lnTo>
                  <a:lnTo>
                    <a:pt x="948" y="954"/>
                  </a:lnTo>
                  <a:lnTo>
                    <a:pt x="948" y="936"/>
                  </a:lnTo>
                  <a:lnTo>
                    <a:pt x="936" y="900"/>
                  </a:lnTo>
                  <a:lnTo>
                    <a:pt x="942" y="876"/>
                  </a:lnTo>
                  <a:lnTo>
                    <a:pt x="942" y="834"/>
                  </a:lnTo>
                  <a:lnTo>
                    <a:pt x="960" y="828"/>
                  </a:lnTo>
                  <a:lnTo>
                    <a:pt x="966" y="816"/>
                  </a:lnTo>
                  <a:lnTo>
                    <a:pt x="972" y="810"/>
                  </a:lnTo>
                  <a:lnTo>
                    <a:pt x="978" y="804"/>
                  </a:lnTo>
                  <a:lnTo>
                    <a:pt x="996" y="798"/>
                  </a:lnTo>
                  <a:lnTo>
                    <a:pt x="996" y="792"/>
                  </a:lnTo>
                  <a:lnTo>
                    <a:pt x="1014" y="780"/>
                  </a:lnTo>
                  <a:lnTo>
                    <a:pt x="1026" y="768"/>
                  </a:lnTo>
                  <a:lnTo>
                    <a:pt x="1032" y="762"/>
                  </a:lnTo>
                  <a:lnTo>
                    <a:pt x="1026" y="756"/>
                  </a:lnTo>
                  <a:lnTo>
                    <a:pt x="1014" y="744"/>
                  </a:lnTo>
                  <a:lnTo>
                    <a:pt x="996" y="756"/>
                  </a:lnTo>
                  <a:lnTo>
                    <a:pt x="954" y="768"/>
                  </a:lnTo>
                  <a:lnTo>
                    <a:pt x="942" y="762"/>
                  </a:lnTo>
                  <a:lnTo>
                    <a:pt x="942" y="756"/>
                  </a:lnTo>
                  <a:lnTo>
                    <a:pt x="936" y="750"/>
                  </a:lnTo>
                  <a:lnTo>
                    <a:pt x="846" y="732"/>
                  </a:lnTo>
                  <a:lnTo>
                    <a:pt x="822" y="726"/>
                  </a:lnTo>
                  <a:lnTo>
                    <a:pt x="810" y="714"/>
                  </a:lnTo>
                  <a:lnTo>
                    <a:pt x="792" y="690"/>
                  </a:lnTo>
                  <a:lnTo>
                    <a:pt x="792" y="678"/>
                  </a:lnTo>
                  <a:lnTo>
                    <a:pt x="762" y="642"/>
                  </a:lnTo>
                  <a:lnTo>
                    <a:pt x="750" y="636"/>
                  </a:lnTo>
                  <a:lnTo>
                    <a:pt x="726" y="630"/>
                  </a:lnTo>
                  <a:lnTo>
                    <a:pt x="696" y="642"/>
                  </a:lnTo>
                  <a:lnTo>
                    <a:pt x="678" y="654"/>
                  </a:lnTo>
                  <a:lnTo>
                    <a:pt x="666" y="684"/>
                  </a:lnTo>
                  <a:lnTo>
                    <a:pt x="660" y="726"/>
                  </a:lnTo>
                  <a:lnTo>
                    <a:pt x="606" y="756"/>
                  </a:lnTo>
                  <a:lnTo>
                    <a:pt x="558" y="780"/>
                  </a:lnTo>
                  <a:lnTo>
                    <a:pt x="438" y="834"/>
                  </a:lnTo>
                  <a:lnTo>
                    <a:pt x="402" y="846"/>
                  </a:lnTo>
                  <a:lnTo>
                    <a:pt x="372" y="870"/>
                  </a:lnTo>
                  <a:lnTo>
                    <a:pt x="360" y="876"/>
                  </a:lnTo>
                  <a:lnTo>
                    <a:pt x="354" y="876"/>
                  </a:lnTo>
                  <a:lnTo>
                    <a:pt x="330" y="882"/>
                  </a:lnTo>
                  <a:lnTo>
                    <a:pt x="306" y="882"/>
                  </a:lnTo>
                  <a:lnTo>
                    <a:pt x="300" y="876"/>
                  </a:lnTo>
                  <a:lnTo>
                    <a:pt x="294" y="876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76" y="864"/>
                  </a:lnTo>
                  <a:lnTo>
                    <a:pt x="270" y="870"/>
                  </a:lnTo>
                  <a:lnTo>
                    <a:pt x="264" y="870"/>
                  </a:lnTo>
                  <a:lnTo>
                    <a:pt x="240" y="894"/>
                  </a:lnTo>
                  <a:lnTo>
                    <a:pt x="234" y="894"/>
                  </a:lnTo>
                  <a:lnTo>
                    <a:pt x="228" y="900"/>
                  </a:lnTo>
                  <a:lnTo>
                    <a:pt x="222" y="906"/>
                  </a:lnTo>
                  <a:lnTo>
                    <a:pt x="210" y="912"/>
                  </a:lnTo>
                  <a:lnTo>
                    <a:pt x="204" y="912"/>
                  </a:lnTo>
                  <a:lnTo>
                    <a:pt x="198" y="912"/>
                  </a:lnTo>
                  <a:lnTo>
                    <a:pt x="192" y="918"/>
                  </a:lnTo>
                  <a:lnTo>
                    <a:pt x="180" y="918"/>
                  </a:lnTo>
                  <a:lnTo>
                    <a:pt x="174" y="930"/>
                  </a:lnTo>
                  <a:lnTo>
                    <a:pt x="174" y="936"/>
                  </a:lnTo>
                  <a:lnTo>
                    <a:pt x="168" y="942"/>
                  </a:lnTo>
                  <a:lnTo>
                    <a:pt x="162" y="942"/>
                  </a:lnTo>
                  <a:lnTo>
                    <a:pt x="150" y="960"/>
                  </a:lnTo>
                  <a:lnTo>
                    <a:pt x="144" y="966"/>
                  </a:lnTo>
                  <a:lnTo>
                    <a:pt x="138" y="972"/>
                  </a:lnTo>
                  <a:lnTo>
                    <a:pt x="132" y="972"/>
                  </a:lnTo>
                  <a:lnTo>
                    <a:pt x="126" y="984"/>
                  </a:lnTo>
                  <a:lnTo>
                    <a:pt x="120" y="984"/>
                  </a:lnTo>
                  <a:lnTo>
                    <a:pt x="114" y="990"/>
                  </a:lnTo>
                  <a:lnTo>
                    <a:pt x="96" y="990"/>
                  </a:lnTo>
                  <a:lnTo>
                    <a:pt x="90" y="990"/>
                  </a:lnTo>
                  <a:lnTo>
                    <a:pt x="78" y="990"/>
                  </a:lnTo>
                  <a:lnTo>
                    <a:pt x="72" y="990"/>
                  </a:lnTo>
                  <a:lnTo>
                    <a:pt x="60" y="990"/>
                  </a:lnTo>
                  <a:lnTo>
                    <a:pt x="42" y="990"/>
                  </a:lnTo>
                  <a:lnTo>
                    <a:pt x="36" y="996"/>
                  </a:lnTo>
                  <a:lnTo>
                    <a:pt x="30" y="1002"/>
                  </a:lnTo>
                  <a:lnTo>
                    <a:pt x="24" y="1014"/>
                  </a:lnTo>
                  <a:lnTo>
                    <a:pt x="24" y="1020"/>
                  </a:lnTo>
                  <a:lnTo>
                    <a:pt x="18" y="1020"/>
                  </a:lnTo>
                  <a:lnTo>
                    <a:pt x="12" y="1014"/>
                  </a:lnTo>
                  <a:lnTo>
                    <a:pt x="12" y="1008"/>
                  </a:lnTo>
                  <a:lnTo>
                    <a:pt x="12" y="990"/>
                  </a:lnTo>
                  <a:lnTo>
                    <a:pt x="12" y="984"/>
                  </a:lnTo>
                  <a:lnTo>
                    <a:pt x="12" y="972"/>
                  </a:lnTo>
                  <a:lnTo>
                    <a:pt x="12" y="966"/>
                  </a:lnTo>
                  <a:lnTo>
                    <a:pt x="6" y="966"/>
                  </a:lnTo>
                  <a:lnTo>
                    <a:pt x="6" y="960"/>
                  </a:lnTo>
                  <a:lnTo>
                    <a:pt x="6" y="954"/>
                  </a:lnTo>
                  <a:lnTo>
                    <a:pt x="6" y="948"/>
                  </a:lnTo>
                  <a:lnTo>
                    <a:pt x="6" y="942"/>
                  </a:lnTo>
                  <a:lnTo>
                    <a:pt x="12" y="930"/>
                  </a:lnTo>
                  <a:lnTo>
                    <a:pt x="6" y="924"/>
                  </a:lnTo>
                  <a:lnTo>
                    <a:pt x="6" y="918"/>
                  </a:lnTo>
                  <a:lnTo>
                    <a:pt x="6" y="912"/>
                  </a:lnTo>
                  <a:lnTo>
                    <a:pt x="6" y="906"/>
                  </a:lnTo>
                  <a:lnTo>
                    <a:pt x="6" y="900"/>
                  </a:lnTo>
                  <a:lnTo>
                    <a:pt x="0" y="894"/>
                  </a:lnTo>
                  <a:lnTo>
                    <a:pt x="0" y="888"/>
                  </a:lnTo>
                  <a:lnTo>
                    <a:pt x="0" y="882"/>
                  </a:lnTo>
                  <a:lnTo>
                    <a:pt x="6" y="876"/>
                  </a:lnTo>
                  <a:lnTo>
                    <a:pt x="6" y="870"/>
                  </a:lnTo>
                  <a:lnTo>
                    <a:pt x="18" y="864"/>
                  </a:lnTo>
                  <a:lnTo>
                    <a:pt x="18" y="858"/>
                  </a:lnTo>
                  <a:lnTo>
                    <a:pt x="18" y="846"/>
                  </a:lnTo>
                  <a:lnTo>
                    <a:pt x="18" y="834"/>
                  </a:lnTo>
                  <a:lnTo>
                    <a:pt x="18" y="828"/>
                  </a:lnTo>
                  <a:lnTo>
                    <a:pt x="24" y="828"/>
                  </a:lnTo>
                  <a:lnTo>
                    <a:pt x="24" y="810"/>
                  </a:lnTo>
                  <a:lnTo>
                    <a:pt x="24" y="804"/>
                  </a:lnTo>
                  <a:lnTo>
                    <a:pt x="18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24" y="792"/>
                  </a:lnTo>
                  <a:lnTo>
                    <a:pt x="30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6" y="762"/>
                  </a:lnTo>
                  <a:lnTo>
                    <a:pt x="36" y="756"/>
                  </a:lnTo>
                  <a:lnTo>
                    <a:pt x="30" y="756"/>
                  </a:lnTo>
                  <a:lnTo>
                    <a:pt x="30" y="750"/>
                  </a:lnTo>
                  <a:lnTo>
                    <a:pt x="36" y="750"/>
                  </a:lnTo>
                  <a:lnTo>
                    <a:pt x="36" y="744"/>
                  </a:lnTo>
                  <a:lnTo>
                    <a:pt x="30" y="744"/>
                  </a:lnTo>
                  <a:lnTo>
                    <a:pt x="30" y="738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0" y="732"/>
                  </a:lnTo>
                  <a:lnTo>
                    <a:pt x="36" y="726"/>
                  </a:lnTo>
                  <a:lnTo>
                    <a:pt x="30" y="726"/>
                  </a:lnTo>
                  <a:lnTo>
                    <a:pt x="24" y="726"/>
                  </a:lnTo>
                  <a:lnTo>
                    <a:pt x="30" y="720"/>
                  </a:lnTo>
                  <a:lnTo>
                    <a:pt x="30" y="714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696"/>
                  </a:lnTo>
                  <a:lnTo>
                    <a:pt x="66" y="702"/>
                  </a:lnTo>
                  <a:lnTo>
                    <a:pt x="78" y="702"/>
                  </a:lnTo>
                  <a:lnTo>
                    <a:pt x="84" y="702"/>
                  </a:lnTo>
                  <a:lnTo>
                    <a:pt x="96" y="696"/>
                  </a:lnTo>
                  <a:lnTo>
                    <a:pt x="102" y="690"/>
                  </a:lnTo>
                  <a:lnTo>
                    <a:pt x="102" y="684"/>
                  </a:lnTo>
                  <a:lnTo>
                    <a:pt x="114" y="684"/>
                  </a:lnTo>
                  <a:lnTo>
                    <a:pt x="144" y="684"/>
                  </a:lnTo>
                  <a:lnTo>
                    <a:pt x="150" y="690"/>
                  </a:lnTo>
                  <a:lnTo>
                    <a:pt x="162" y="696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6" y="690"/>
                  </a:lnTo>
                  <a:lnTo>
                    <a:pt x="192" y="690"/>
                  </a:lnTo>
                  <a:lnTo>
                    <a:pt x="198" y="684"/>
                  </a:lnTo>
                  <a:lnTo>
                    <a:pt x="204" y="684"/>
                  </a:lnTo>
                  <a:lnTo>
                    <a:pt x="210" y="684"/>
                  </a:lnTo>
                  <a:lnTo>
                    <a:pt x="222" y="678"/>
                  </a:lnTo>
                  <a:lnTo>
                    <a:pt x="228" y="678"/>
                  </a:lnTo>
                  <a:lnTo>
                    <a:pt x="228" y="660"/>
                  </a:lnTo>
                  <a:lnTo>
                    <a:pt x="234" y="642"/>
                  </a:lnTo>
                  <a:lnTo>
                    <a:pt x="246" y="618"/>
                  </a:lnTo>
                  <a:lnTo>
                    <a:pt x="252" y="618"/>
                  </a:lnTo>
                  <a:lnTo>
                    <a:pt x="252" y="600"/>
                  </a:lnTo>
                  <a:lnTo>
                    <a:pt x="252" y="588"/>
                  </a:lnTo>
                  <a:lnTo>
                    <a:pt x="252" y="582"/>
                  </a:lnTo>
                  <a:lnTo>
                    <a:pt x="258" y="576"/>
                  </a:lnTo>
                  <a:lnTo>
                    <a:pt x="270" y="564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70" y="522"/>
                  </a:lnTo>
                  <a:lnTo>
                    <a:pt x="270" y="510"/>
                  </a:lnTo>
                  <a:lnTo>
                    <a:pt x="270" y="498"/>
                  </a:lnTo>
                  <a:lnTo>
                    <a:pt x="258" y="468"/>
                  </a:lnTo>
                  <a:lnTo>
                    <a:pt x="252" y="456"/>
                  </a:lnTo>
                  <a:lnTo>
                    <a:pt x="258" y="444"/>
                  </a:lnTo>
                  <a:lnTo>
                    <a:pt x="264" y="432"/>
                  </a:lnTo>
                  <a:lnTo>
                    <a:pt x="270" y="426"/>
                  </a:lnTo>
                  <a:lnTo>
                    <a:pt x="276" y="420"/>
                  </a:lnTo>
                  <a:lnTo>
                    <a:pt x="288" y="420"/>
                  </a:lnTo>
                  <a:lnTo>
                    <a:pt x="288" y="414"/>
                  </a:lnTo>
                  <a:lnTo>
                    <a:pt x="294" y="414"/>
                  </a:lnTo>
                  <a:lnTo>
                    <a:pt x="306" y="390"/>
                  </a:lnTo>
                  <a:lnTo>
                    <a:pt x="312" y="384"/>
                  </a:lnTo>
                  <a:lnTo>
                    <a:pt x="318" y="378"/>
                  </a:lnTo>
                  <a:lnTo>
                    <a:pt x="318" y="372"/>
                  </a:lnTo>
                  <a:lnTo>
                    <a:pt x="324" y="366"/>
                  </a:lnTo>
                  <a:lnTo>
                    <a:pt x="330" y="354"/>
                  </a:lnTo>
                  <a:lnTo>
                    <a:pt x="336" y="348"/>
                  </a:lnTo>
                  <a:lnTo>
                    <a:pt x="336" y="330"/>
                  </a:lnTo>
                  <a:lnTo>
                    <a:pt x="342" y="324"/>
                  </a:lnTo>
                  <a:lnTo>
                    <a:pt x="342" y="318"/>
                  </a:lnTo>
                  <a:lnTo>
                    <a:pt x="348" y="318"/>
                  </a:lnTo>
                  <a:lnTo>
                    <a:pt x="360" y="318"/>
                  </a:lnTo>
                  <a:lnTo>
                    <a:pt x="372" y="318"/>
                  </a:lnTo>
                  <a:lnTo>
                    <a:pt x="384" y="306"/>
                  </a:lnTo>
                  <a:lnTo>
                    <a:pt x="396" y="300"/>
                  </a:lnTo>
                  <a:lnTo>
                    <a:pt x="396" y="294"/>
                  </a:lnTo>
                  <a:lnTo>
                    <a:pt x="396" y="288"/>
                  </a:lnTo>
                  <a:lnTo>
                    <a:pt x="390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2"/>
                  </a:lnTo>
                  <a:lnTo>
                    <a:pt x="378" y="246"/>
                  </a:lnTo>
                  <a:lnTo>
                    <a:pt x="384" y="228"/>
                  </a:lnTo>
                  <a:lnTo>
                    <a:pt x="390" y="216"/>
                  </a:lnTo>
                  <a:lnTo>
                    <a:pt x="402" y="210"/>
                  </a:lnTo>
                  <a:lnTo>
                    <a:pt x="408" y="210"/>
                  </a:lnTo>
                  <a:lnTo>
                    <a:pt x="420" y="204"/>
                  </a:lnTo>
                  <a:lnTo>
                    <a:pt x="444" y="198"/>
                  </a:lnTo>
                  <a:lnTo>
                    <a:pt x="462" y="192"/>
                  </a:lnTo>
                  <a:lnTo>
                    <a:pt x="474" y="186"/>
                  </a:lnTo>
                  <a:lnTo>
                    <a:pt x="480" y="192"/>
                  </a:lnTo>
                  <a:lnTo>
                    <a:pt x="492" y="192"/>
                  </a:lnTo>
                  <a:lnTo>
                    <a:pt x="498" y="192"/>
                  </a:lnTo>
                  <a:lnTo>
                    <a:pt x="504" y="192"/>
                  </a:lnTo>
                  <a:lnTo>
                    <a:pt x="510" y="192"/>
                  </a:lnTo>
                  <a:lnTo>
                    <a:pt x="516" y="186"/>
                  </a:lnTo>
                  <a:lnTo>
                    <a:pt x="522" y="180"/>
                  </a:lnTo>
                  <a:lnTo>
                    <a:pt x="522" y="174"/>
                  </a:lnTo>
                  <a:lnTo>
                    <a:pt x="528" y="168"/>
                  </a:lnTo>
                  <a:lnTo>
                    <a:pt x="534" y="168"/>
                  </a:lnTo>
                  <a:lnTo>
                    <a:pt x="534" y="156"/>
                  </a:lnTo>
                  <a:lnTo>
                    <a:pt x="534" y="150"/>
                  </a:lnTo>
                  <a:lnTo>
                    <a:pt x="552" y="138"/>
                  </a:lnTo>
                  <a:lnTo>
                    <a:pt x="558" y="126"/>
                  </a:lnTo>
                  <a:lnTo>
                    <a:pt x="558" y="114"/>
                  </a:lnTo>
                  <a:lnTo>
                    <a:pt x="564" y="102"/>
                  </a:lnTo>
                  <a:lnTo>
                    <a:pt x="564" y="96"/>
                  </a:lnTo>
                  <a:lnTo>
                    <a:pt x="564" y="90"/>
                  </a:lnTo>
                  <a:lnTo>
                    <a:pt x="564" y="72"/>
                  </a:lnTo>
                  <a:lnTo>
                    <a:pt x="564" y="60"/>
                  </a:lnTo>
                  <a:lnTo>
                    <a:pt x="564" y="54"/>
                  </a:lnTo>
                  <a:lnTo>
                    <a:pt x="570" y="42"/>
                  </a:lnTo>
                  <a:lnTo>
                    <a:pt x="576" y="42"/>
                  </a:lnTo>
                  <a:lnTo>
                    <a:pt x="582" y="36"/>
                  </a:lnTo>
                  <a:lnTo>
                    <a:pt x="594" y="36"/>
                  </a:lnTo>
                  <a:lnTo>
                    <a:pt x="594" y="30"/>
                  </a:lnTo>
                  <a:lnTo>
                    <a:pt x="600" y="24"/>
                  </a:lnTo>
                  <a:lnTo>
                    <a:pt x="600" y="12"/>
                  </a:lnTo>
                  <a:lnTo>
                    <a:pt x="606" y="6"/>
                  </a:lnTo>
                  <a:lnTo>
                    <a:pt x="606" y="0"/>
                  </a:lnTo>
                  <a:lnTo>
                    <a:pt x="612" y="0"/>
                  </a:lnTo>
                  <a:lnTo>
                    <a:pt x="618" y="0"/>
                  </a:lnTo>
                  <a:lnTo>
                    <a:pt x="624" y="6"/>
                  </a:lnTo>
                  <a:lnTo>
                    <a:pt x="624" y="12"/>
                  </a:lnTo>
                  <a:lnTo>
                    <a:pt x="624" y="18"/>
                  </a:lnTo>
                  <a:lnTo>
                    <a:pt x="624" y="24"/>
                  </a:lnTo>
                  <a:lnTo>
                    <a:pt x="624" y="30"/>
                  </a:lnTo>
                  <a:lnTo>
                    <a:pt x="630" y="30"/>
                  </a:lnTo>
                  <a:lnTo>
                    <a:pt x="630" y="36"/>
                  </a:lnTo>
                  <a:lnTo>
                    <a:pt x="630" y="42"/>
                  </a:lnTo>
                  <a:lnTo>
                    <a:pt x="630" y="48"/>
                  </a:lnTo>
                  <a:lnTo>
                    <a:pt x="636" y="54"/>
                  </a:lnTo>
                  <a:lnTo>
                    <a:pt x="642" y="48"/>
                  </a:lnTo>
                  <a:lnTo>
                    <a:pt x="648" y="48"/>
                  </a:lnTo>
                  <a:lnTo>
                    <a:pt x="648" y="60"/>
                  </a:lnTo>
                  <a:lnTo>
                    <a:pt x="654" y="66"/>
                  </a:lnTo>
                  <a:lnTo>
                    <a:pt x="660" y="72"/>
                  </a:lnTo>
                  <a:lnTo>
                    <a:pt x="666" y="72"/>
                  </a:lnTo>
                  <a:lnTo>
                    <a:pt x="666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72" y="66"/>
                  </a:lnTo>
                  <a:lnTo>
                    <a:pt x="678" y="66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6" y="66"/>
                  </a:lnTo>
                  <a:lnTo>
                    <a:pt x="696" y="72"/>
                  </a:lnTo>
                  <a:lnTo>
                    <a:pt x="702" y="72"/>
                  </a:lnTo>
                  <a:lnTo>
                    <a:pt x="708" y="72"/>
                  </a:lnTo>
                  <a:lnTo>
                    <a:pt x="720" y="66"/>
                  </a:lnTo>
                  <a:lnTo>
                    <a:pt x="726" y="78"/>
                  </a:lnTo>
                  <a:lnTo>
                    <a:pt x="744" y="84"/>
                  </a:lnTo>
                  <a:lnTo>
                    <a:pt x="744" y="90"/>
                  </a:lnTo>
                  <a:lnTo>
                    <a:pt x="744" y="96"/>
                  </a:lnTo>
                  <a:lnTo>
                    <a:pt x="738" y="96"/>
                  </a:lnTo>
                  <a:lnTo>
                    <a:pt x="738" y="102"/>
                  </a:lnTo>
                  <a:lnTo>
                    <a:pt x="732" y="102"/>
                  </a:lnTo>
                  <a:lnTo>
                    <a:pt x="732" y="108"/>
                  </a:lnTo>
                  <a:lnTo>
                    <a:pt x="738" y="108"/>
                  </a:lnTo>
                  <a:lnTo>
                    <a:pt x="744" y="114"/>
                  </a:lnTo>
                  <a:lnTo>
                    <a:pt x="750" y="108"/>
                  </a:lnTo>
                  <a:lnTo>
                    <a:pt x="756" y="108"/>
                  </a:lnTo>
                  <a:lnTo>
                    <a:pt x="762" y="108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80" y="120"/>
                  </a:lnTo>
                  <a:lnTo>
                    <a:pt x="774" y="120"/>
                  </a:lnTo>
                  <a:lnTo>
                    <a:pt x="768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74" y="138"/>
                  </a:lnTo>
                  <a:lnTo>
                    <a:pt x="774" y="132"/>
                  </a:lnTo>
                  <a:lnTo>
                    <a:pt x="780" y="132"/>
                  </a:lnTo>
                  <a:lnTo>
                    <a:pt x="786" y="132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44"/>
                  </a:lnTo>
                  <a:lnTo>
                    <a:pt x="786" y="150"/>
                  </a:lnTo>
                  <a:lnTo>
                    <a:pt x="780" y="150"/>
                  </a:lnTo>
                  <a:lnTo>
                    <a:pt x="774" y="150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74" y="162"/>
                  </a:lnTo>
                  <a:lnTo>
                    <a:pt x="780" y="162"/>
                  </a:lnTo>
                  <a:lnTo>
                    <a:pt x="786" y="168"/>
                  </a:lnTo>
                  <a:lnTo>
                    <a:pt x="792" y="162"/>
                  </a:lnTo>
                  <a:lnTo>
                    <a:pt x="798" y="168"/>
                  </a:lnTo>
                  <a:lnTo>
                    <a:pt x="798" y="174"/>
                  </a:lnTo>
                  <a:lnTo>
                    <a:pt x="804" y="168"/>
                  </a:lnTo>
                  <a:lnTo>
                    <a:pt x="810" y="168"/>
                  </a:lnTo>
                  <a:lnTo>
                    <a:pt x="810" y="174"/>
                  </a:lnTo>
                  <a:lnTo>
                    <a:pt x="816" y="168"/>
                  </a:lnTo>
                  <a:lnTo>
                    <a:pt x="822" y="162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74"/>
                  </a:lnTo>
                  <a:lnTo>
                    <a:pt x="834" y="192"/>
                  </a:lnTo>
                  <a:lnTo>
                    <a:pt x="834" y="198"/>
                  </a:lnTo>
                  <a:lnTo>
                    <a:pt x="840" y="192"/>
                  </a:lnTo>
                  <a:lnTo>
                    <a:pt x="846" y="192"/>
                  </a:lnTo>
                  <a:lnTo>
                    <a:pt x="852" y="186"/>
                  </a:lnTo>
                  <a:lnTo>
                    <a:pt x="858" y="192"/>
                  </a:lnTo>
                  <a:lnTo>
                    <a:pt x="864" y="192"/>
                  </a:lnTo>
                  <a:lnTo>
                    <a:pt x="870" y="198"/>
                  </a:lnTo>
                  <a:lnTo>
                    <a:pt x="876" y="180"/>
                  </a:lnTo>
                  <a:lnTo>
                    <a:pt x="882" y="180"/>
                  </a:lnTo>
                  <a:lnTo>
                    <a:pt x="888" y="180"/>
                  </a:lnTo>
                  <a:lnTo>
                    <a:pt x="894" y="186"/>
                  </a:lnTo>
                  <a:lnTo>
                    <a:pt x="888" y="198"/>
                  </a:lnTo>
                  <a:lnTo>
                    <a:pt x="894" y="204"/>
                  </a:lnTo>
                  <a:lnTo>
                    <a:pt x="906" y="210"/>
                  </a:lnTo>
                  <a:lnTo>
                    <a:pt x="918" y="246"/>
                  </a:lnTo>
                  <a:lnTo>
                    <a:pt x="930" y="258"/>
                  </a:lnTo>
                  <a:lnTo>
                    <a:pt x="942" y="282"/>
                  </a:lnTo>
                  <a:lnTo>
                    <a:pt x="966" y="288"/>
                  </a:lnTo>
                  <a:lnTo>
                    <a:pt x="972" y="300"/>
                  </a:lnTo>
                  <a:lnTo>
                    <a:pt x="972" y="318"/>
                  </a:lnTo>
                  <a:lnTo>
                    <a:pt x="996" y="336"/>
                  </a:lnTo>
                  <a:lnTo>
                    <a:pt x="1050" y="390"/>
                  </a:lnTo>
                  <a:lnTo>
                    <a:pt x="1116" y="462"/>
                  </a:lnTo>
                  <a:lnTo>
                    <a:pt x="1122" y="468"/>
                  </a:lnTo>
                  <a:lnTo>
                    <a:pt x="1128" y="474"/>
                  </a:lnTo>
                  <a:lnTo>
                    <a:pt x="1140" y="474"/>
                  </a:lnTo>
                  <a:lnTo>
                    <a:pt x="1152" y="486"/>
                  </a:lnTo>
                  <a:lnTo>
                    <a:pt x="1152" y="492"/>
                  </a:lnTo>
                  <a:lnTo>
                    <a:pt x="1158" y="492"/>
                  </a:lnTo>
                  <a:lnTo>
                    <a:pt x="1164" y="492"/>
                  </a:lnTo>
                  <a:lnTo>
                    <a:pt x="1170" y="504"/>
                  </a:lnTo>
                  <a:lnTo>
                    <a:pt x="1176" y="504"/>
                  </a:lnTo>
                  <a:lnTo>
                    <a:pt x="1176" y="510"/>
                  </a:lnTo>
                  <a:lnTo>
                    <a:pt x="1200" y="516"/>
                  </a:lnTo>
                  <a:lnTo>
                    <a:pt x="1200" y="522"/>
                  </a:lnTo>
                  <a:lnTo>
                    <a:pt x="1212" y="534"/>
                  </a:lnTo>
                  <a:lnTo>
                    <a:pt x="1218" y="540"/>
                  </a:lnTo>
                  <a:lnTo>
                    <a:pt x="1224" y="552"/>
                  </a:lnTo>
                  <a:lnTo>
                    <a:pt x="1230" y="552"/>
                  </a:lnTo>
                  <a:lnTo>
                    <a:pt x="1242" y="552"/>
                  </a:lnTo>
                  <a:lnTo>
                    <a:pt x="1248" y="558"/>
                  </a:lnTo>
                  <a:lnTo>
                    <a:pt x="1254" y="558"/>
                  </a:lnTo>
                  <a:lnTo>
                    <a:pt x="1260" y="564"/>
                  </a:lnTo>
                  <a:lnTo>
                    <a:pt x="1266" y="564"/>
                  </a:lnTo>
                  <a:lnTo>
                    <a:pt x="1272" y="564"/>
                  </a:lnTo>
                  <a:lnTo>
                    <a:pt x="1284" y="564"/>
                  </a:lnTo>
                  <a:lnTo>
                    <a:pt x="1290" y="570"/>
                  </a:lnTo>
                  <a:lnTo>
                    <a:pt x="1296" y="576"/>
                  </a:lnTo>
                  <a:lnTo>
                    <a:pt x="1302" y="588"/>
                  </a:lnTo>
                  <a:lnTo>
                    <a:pt x="1296" y="594"/>
                  </a:lnTo>
                  <a:lnTo>
                    <a:pt x="1296" y="600"/>
                  </a:lnTo>
                  <a:lnTo>
                    <a:pt x="1296" y="606"/>
                  </a:lnTo>
                  <a:lnTo>
                    <a:pt x="1290" y="612"/>
                  </a:lnTo>
                  <a:lnTo>
                    <a:pt x="1290" y="624"/>
                  </a:lnTo>
                  <a:lnTo>
                    <a:pt x="1290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308" y="654"/>
                  </a:lnTo>
                  <a:lnTo>
                    <a:pt x="1320" y="654"/>
                  </a:lnTo>
                  <a:lnTo>
                    <a:pt x="1326" y="660"/>
                  </a:lnTo>
                  <a:lnTo>
                    <a:pt x="1338" y="654"/>
                  </a:lnTo>
                  <a:lnTo>
                    <a:pt x="1344" y="654"/>
                  </a:lnTo>
                  <a:lnTo>
                    <a:pt x="1356" y="654"/>
                  </a:lnTo>
                  <a:lnTo>
                    <a:pt x="1362" y="648"/>
                  </a:lnTo>
                  <a:lnTo>
                    <a:pt x="1368" y="642"/>
                  </a:lnTo>
                  <a:lnTo>
                    <a:pt x="1374" y="636"/>
                  </a:lnTo>
                  <a:lnTo>
                    <a:pt x="1380" y="636"/>
                  </a:lnTo>
                  <a:lnTo>
                    <a:pt x="1392" y="636"/>
                  </a:lnTo>
                  <a:lnTo>
                    <a:pt x="1398" y="636"/>
                  </a:lnTo>
                  <a:lnTo>
                    <a:pt x="1404" y="636"/>
                  </a:lnTo>
                  <a:lnTo>
                    <a:pt x="1410" y="630"/>
                  </a:lnTo>
                  <a:lnTo>
                    <a:pt x="1410" y="624"/>
                  </a:lnTo>
                  <a:lnTo>
                    <a:pt x="1422" y="618"/>
                  </a:lnTo>
                  <a:lnTo>
                    <a:pt x="1428" y="618"/>
                  </a:lnTo>
                  <a:lnTo>
                    <a:pt x="1440" y="612"/>
                  </a:lnTo>
                  <a:lnTo>
                    <a:pt x="1446" y="612"/>
                  </a:lnTo>
                  <a:lnTo>
                    <a:pt x="1458" y="612"/>
                  </a:lnTo>
                  <a:lnTo>
                    <a:pt x="1470" y="624"/>
                  </a:lnTo>
                  <a:lnTo>
                    <a:pt x="1488" y="642"/>
                  </a:lnTo>
                  <a:lnTo>
                    <a:pt x="1500" y="648"/>
                  </a:lnTo>
                  <a:lnTo>
                    <a:pt x="1512" y="654"/>
                  </a:lnTo>
                  <a:lnTo>
                    <a:pt x="1518" y="660"/>
                  </a:lnTo>
                  <a:lnTo>
                    <a:pt x="1524" y="660"/>
                  </a:lnTo>
                  <a:lnTo>
                    <a:pt x="1530" y="660"/>
                  </a:lnTo>
                  <a:lnTo>
                    <a:pt x="1536" y="666"/>
                  </a:lnTo>
                  <a:lnTo>
                    <a:pt x="1542" y="672"/>
                  </a:lnTo>
                  <a:lnTo>
                    <a:pt x="1548" y="672"/>
                  </a:lnTo>
                  <a:lnTo>
                    <a:pt x="1554" y="684"/>
                  </a:lnTo>
                  <a:lnTo>
                    <a:pt x="1554" y="690"/>
                  </a:lnTo>
                  <a:lnTo>
                    <a:pt x="1566" y="702"/>
                  </a:lnTo>
                  <a:lnTo>
                    <a:pt x="1572" y="720"/>
                  </a:lnTo>
                  <a:lnTo>
                    <a:pt x="1572" y="726"/>
                  </a:lnTo>
                  <a:lnTo>
                    <a:pt x="1578" y="732"/>
                  </a:lnTo>
                  <a:lnTo>
                    <a:pt x="1584" y="738"/>
                  </a:lnTo>
                  <a:lnTo>
                    <a:pt x="1590" y="738"/>
                  </a:lnTo>
                  <a:lnTo>
                    <a:pt x="1596" y="738"/>
                  </a:lnTo>
                  <a:lnTo>
                    <a:pt x="1602" y="744"/>
                  </a:lnTo>
                  <a:lnTo>
                    <a:pt x="1608" y="744"/>
                  </a:lnTo>
                  <a:lnTo>
                    <a:pt x="1614" y="744"/>
                  </a:lnTo>
                  <a:lnTo>
                    <a:pt x="1626" y="744"/>
                  </a:lnTo>
                  <a:lnTo>
                    <a:pt x="1638" y="744"/>
                  </a:lnTo>
                  <a:lnTo>
                    <a:pt x="1650" y="744"/>
                  </a:lnTo>
                  <a:lnTo>
                    <a:pt x="1662" y="744"/>
                  </a:lnTo>
                  <a:lnTo>
                    <a:pt x="1668" y="744"/>
                  </a:lnTo>
                  <a:lnTo>
                    <a:pt x="1674" y="744"/>
                  </a:lnTo>
                  <a:lnTo>
                    <a:pt x="1686" y="744"/>
                  </a:lnTo>
                  <a:lnTo>
                    <a:pt x="1698" y="750"/>
                  </a:lnTo>
                  <a:lnTo>
                    <a:pt x="1704" y="750"/>
                  </a:lnTo>
                  <a:lnTo>
                    <a:pt x="1716" y="756"/>
                  </a:lnTo>
                  <a:lnTo>
                    <a:pt x="1722" y="756"/>
                  </a:lnTo>
                  <a:lnTo>
                    <a:pt x="1728" y="756"/>
                  </a:lnTo>
                  <a:lnTo>
                    <a:pt x="1734" y="762"/>
                  </a:lnTo>
                  <a:lnTo>
                    <a:pt x="1740" y="768"/>
                  </a:lnTo>
                  <a:lnTo>
                    <a:pt x="1758" y="780"/>
                  </a:lnTo>
                  <a:lnTo>
                    <a:pt x="1770" y="780"/>
                  </a:lnTo>
                  <a:lnTo>
                    <a:pt x="1776" y="780"/>
                  </a:lnTo>
                  <a:lnTo>
                    <a:pt x="1782" y="780"/>
                  </a:lnTo>
                  <a:lnTo>
                    <a:pt x="1800" y="798"/>
                  </a:lnTo>
                  <a:lnTo>
                    <a:pt x="1818" y="810"/>
                  </a:lnTo>
                  <a:lnTo>
                    <a:pt x="1830" y="816"/>
                  </a:lnTo>
                  <a:lnTo>
                    <a:pt x="1836" y="822"/>
                  </a:lnTo>
                  <a:lnTo>
                    <a:pt x="1836" y="828"/>
                  </a:lnTo>
                  <a:lnTo>
                    <a:pt x="1842" y="828"/>
                  </a:lnTo>
                  <a:lnTo>
                    <a:pt x="1848" y="834"/>
                  </a:lnTo>
                  <a:lnTo>
                    <a:pt x="1854" y="840"/>
                  </a:lnTo>
                  <a:lnTo>
                    <a:pt x="1860" y="846"/>
                  </a:lnTo>
                  <a:lnTo>
                    <a:pt x="1872" y="852"/>
                  </a:lnTo>
                  <a:lnTo>
                    <a:pt x="1884" y="852"/>
                  </a:lnTo>
                  <a:lnTo>
                    <a:pt x="1896" y="852"/>
                  </a:lnTo>
                  <a:lnTo>
                    <a:pt x="1902" y="846"/>
                  </a:lnTo>
                  <a:lnTo>
                    <a:pt x="1908" y="852"/>
                  </a:lnTo>
                  <a:lnTo>
                    <a:pt x="1920" y="858"/>
                  </a:lnTo>
                  <a:lnTo>
                    <a:pt x="1926" y="870"/>
                  </a:lnTo>
                  <a:lnTo>
                    <a:pt x="1938" y="888"/>
                  </a:lnTo>
                  <a:lnTo>
                    <a:pt x="1944" y="900"/>
                  </a:lnTo>
                  <a:lnTo>
                    <a:pt x="1950" y="900"/>
                  </a:lnTo>
                  <a:lnTo>
                    <a:pt x="1962" y="906"/>
                  </a:lnTo>
                  <a:lnTo>
                    <a:pt x="1968" y="906"/>
                  </a:lnTo>
                  <a:lnTo>
                    <a:pt x="1980" y="906"/>
                  </a:lnTo>
                  <a:lnTo>
                    <a:pt x="1998" y="906"/>
                  </a:lnTo>
                  <a:lnTo>
                    <a:pt x="2010" y="900"/>
                  </a:lnTo>
                  <a:lnTo>
                    <a:pt x="2022" y="900"/>
                  </a:lnTo>
                  <a:lnTo>
                    <a:pt x="2028" y="900"/>
                  </a:lnTo>
                  <a:lnTo>
                    <a:pt x="2034" y="906"/>
                  </a:lnTo>
                  <a:lnTo>
                    <a:pt x="2046" y="906"/>
                  </a:lnTo>
                  <a:lnTo>
                    <a:pt x="2052" y="900"/>
                  </a:lnTo>
                  <a:lnTo>
                    <a:pt x="2058" y="900"/>
                  </a:lnTo>
                  <a:lnTo>
                    <a:pt x="2064" y="900"/>
                  </a:lnTo>
                  <a:lnTo>
                    <a:pt x="2070" y="900"/>
                  </a:lnTo>
                  <a:lnTo>
                    <a:pt x="2076" y="900"/>
                  </a:lnTo>
                  <a:lnTo>
                    <a:pt x="2076" y="906"/>
                  </a:lnTo>
                  <a:lnTo>
                    <a:pt x="2088" y="906"/>
                  </a:lnTo>
                  <a:lnTo>
                    <a:pt x="2106" y="900"/>
                  </a:lnTo>
                  <a:lnTo>
                    <a:pt x="2118" y="900"/>
                  </a:lnTo>
                  <a:lnTo>
                    <a:pt x="2130" y="900"/>
                  </a:lnTo>
                  <a:lnTo>
                    <a:pt x="2142" y="900"/>
                  </a:lnTo>
                  <a:lnTo>
                    <a:pt x="2148" y="906"/>
                  </a:lnTo>
                  <a:lnTo>
                    <a:pt x="2154" y="906"/>
                  </a:lnTo>
                  <a:lnTo>
                    <a:pt x="2160" y="906"/>
                  </a:lnTo>
                  <a:lnTo>
                    <a:pt x="2166" y="906"/>
                  </a:lnTo>
                  <a:lnTo>
                    <a:pt x="2178" y="918"/>
                  </a:lnTo>
                  <a:lnTo>
                    <a:pt x="2178" y="924"/>
                  </a:lnTo>
                  <a:lnTo>
                    <a:pt x="2184" y="924"/>
                  </a:lnTo>
                  <a:lnTo>
                    <a:pt x="2190" y="924"/>
                  </a:lnTo>
                  <a:lnTo>
                    <a:pt x="2196" y="924"/>
                  </a:lnTo>
                  <a:lnTo>
                    <a:pt x="2202" y="918"/>
                  </a:lnTo>
                  <a:lnTo>
                    <a:pt x="2208" y="918"/>
                  </a:lnTo>
                  <a:lnTo>
                    <a:pt x="2214" y="918"/>
                  </a:lnTo>
                  <a:lnTo>
                    <a:pt x="2226" y="918"/>
                  </a:lnTo>
                  <a:lnTo>
                    <a:pt x="2220" y="948"/>
                  </a:lnTo>
                  <a:lnTo>
                    <a:pt x="2214" y="972"/>
                  </a:lnTo>
                  <a:lnTo>
                    <a:pt x="2214" y="984"/>
                  </a:lnTo>
                  <a:lnTo>
                    <a:pt x="2208" y="990"/>
                  </a:lnTo>
                  <a:lnTo>
                    <a:pt x="2208" y="996"/>
                  </a:lnTo>
                  <a:lnTo>
                    <a:pt x="2202" y="996"/>
                  </a:lnTo>
                  <a:lnTo>
                    <a:pt x="2196" y="996"/>
                  </a:lnTo>
                  <a:lnTo>
                    <a:pt x="2190" y="1008"/>
                  </a:lnTo>
                  <a:lnTo>
                    <a:pt x="2172" y="1074"/>
                  </a:lnTo>
                  <a:lnTo>
                    <a:pt x="2166" y="1092"/>
                  </a:lnTo>
                  <a:lnTo>
                    <a:pt x="2172" y="1110"/>
                  </a:lnTo>
                  <a:lnTo>
                    <a:pt x="2172" y="1122"/>
                  </a:lnTo>
                  <a:lnTo>
                    <a:pt x="2166" y="1134"/>
                  </a:lnTo>
                  <a:lnTo>
                    <a:pt x="2148" y="1140"/>
                  </a:lnTo>
                  <a:lnTo>
                    <a:pt x="2148" y="1134"/>
                  </a:lnTo>
                  <a:lnTo>
                    <a:pt x="2118" y="1140"/>
                  </a:lnTo>
                  <a:lnTo>
                    <a:pt x="2088" y="1134"/>
                  </a:lnTo>
                  <a:lnTo>
                    <a:pt x="2064" y="1122"/>
                  </a:lnTo>
                  <a:lnTo>
                    <a:pt x="2034" y="1122"/>
                  </a:lnTo>
                  <a:lnTo>
                    <a:pt x="2022" y="1128"/>
                  </a:lnTo>
                  <a:lnTo>
                    <a:pt x="1986" y="1128"/>
                  </a:lnTo>
                  <a:lnTo>
                    <a:pt x="1938" y="1122"/>
                  </a:lnTo>
                  <a:lnTo>
                    <a:pt x="1932" y="1116"/>
                  </a:lnTo>
                  <a:lnTo>
                    <a:pt x="1896" y="1110"/>
                  </a:lnTo>
                  <a:lnTo>
                    <a:pt x="1878" y="1104"/>
                  </a:lnTo>
                  <a:lnTo>
                    <a:pt x="1866" y="1098"/>
                  </a:lnTo>
                  <a:lnTo>
                    <a:pt x="1860" y="1098"/>
                  </a:lnTo>
                  <a:lnTo>
                    <a:pt x="1854" y="1092"/>
                  </a:lnTo>
                  <a:lnTo>
                    <a:pt x="1860" y="1092"/>
                  </a:lnTo>
                  <a:lnTo>
                    <a:pt x="1860" y="1086"/>
                  </a:lnTo>
                  <a:lnTo>
                    <a:pt x="1854" y="1086"/>
                  </a:lnTo>
                  <a:lnTo>
                    <a:pt x="1842" y="1080"/>
                  </a:lnTo>
                  <a:lnTo>
                    <a:pt x="1818" y="1062"/>
                  </a:lnTo>
                  <a:lnTo>
                    <a:pt x="1782" y="1056"/>
                  </a:lnTo>
                  <a:lnTo>
                    <a:pt x="1770" y="1068"/>
                  </a:lnTo>
                  <a:lnTo>
                    <a:pt x="1746" y="1098"/>
                  </a:lnTo>
                  <a:lnTo>
                    <a:pt x="1722" y="1104"/>
                  </a:lnTo>
                  <a:lnTo>
                    <a:pt x="1710" y="1122"/>
                  </a:lnTo>
                  <a:lnTo>
                    <a:pt x="1710" y="1128"/>
                  </a:lnTo>
                  <a:lnTo>
                    <a:pt x="1710" y="1140"/>
                  </a:lnTo>
                  <a:lnTo>
                    <a:pt x="1698" y="1146"/>
                  </a:lnTo>
                  <a:lnTo>
                    <a:pt x="1686" y="1152"/>
                  </a:lnTo>
                  <a:lnTo>
                    <a:pt x="1680" y="1164"/>
                  </a:lnTo>
                  <a:lnTo>
                    <a:pt x="1680" y="1170"/>
                  </a:lnTo>
                  <a:lnTo>
                    <a:pt x="1686" y="1170"/>
                  </a:lnTo>
                  <a:lnTo>
                    <a:pt x="1686" y="1176"/>
                  </a:lnTo>
                  <a:lnTo>
                    <a:pt x="1698" y="1188"/>
                  </a:lnTo>
                  <a:lnTo>
                    <a:pt x="1704" y="1188"/>
                  </a:lnTo>
                  <a:lnTo>
                    <a:pt x="1698" y="1194"/>
                  </a:lnTo>
                  <a:lnTo>
                    <a:pt x="1704" y="1194"/>
                  </a:lnTo>
                  <a:lnTo>
                    <a:pt x="1704" y="1200"/>
                  </a:lnTo>
                  <a:lnTo>
                    <a:pt x="1704" y="1206"/>
                  </a:lnTo>
                  <a:lnTo>
                    <a:pt x="1704" y="1212"/>
                  </a:lnTo>
                  <a:lnTo>
                    <a:pt x="1704" y="1218"/>
                  </a:lnTo>
                  <a:lnTo>
                    <a:pt x="1710" y="1218"/>
                  </a:lnTo>
                  <a:lnTo>
                    <a:pt x="1710" y="1212"/>
                  </a:lnTo>
                  <a:lnTo>
                    <a:pt x="1716" y="1212"/>
                  </a:lnTo>
                  <a:lnTo>
                    <a:pt x="1716" y="1218"/>
                  </a:lnTo>
                  <a:lnTo>
                    <a:pt x="1716" y="1224"/>
                  </a:lnTo>
                  <a:lnTo>
                    <a:pt x="1716" y="1230"/>
                  </a:lnTo>
                  <a:lnTo>
                    <a:pt x="1722" y="1236"/>
                  </a:lnTo>
                  <a:lnTo>
                    <a:pt x="1740" y="1230"/>
                  </a:lnTo>
                  <a:lnTo>
                    <a:pt x="1734" y="1236"/>
                  </a:lnTo>
                  <a:lnTo>
                    <a:pt x="1734" y="1242"/>
                  </a:lnTo>
                  <a:lnTo>
                    <a:pt x="1734" y="1248"/>
                  </a:lnTo>
                  <a:lnTo>
                    <a:pt x="1734" y="1254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52" y="1266"/>
                  </a:lnTo>
                  <a:lnTo>
                    <a:pt x="1764" y="1266"/>
                  </a:lnTo>
                  <a:lnTo>
                    <a:pt x="1788" y="1260"/>
                  </a:lnTo>
                  <a:lnTo>
                    <a:pt x="1800" y="1260"/>
                  </a:lnTo>
                  <a:lnTo>
                    <a:pt x="1806" y="1272"/>
                  </a:lnTo>
                  <a:lnTo>
                    <a:pt x="1806" y="1296"/>
                  </a:lnTo>
                  <a:lnTo>
                    <a:pt x="1800" y="1308"/>
                  </a:lnTo>
                  <a:lnTo>
                    <a:pt x="1788" y="1308"/>
                  </a:lnTo>
                  <a:lnTo>
                    <a:pt x="1782" y="1326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7" name="Freeform 32">
              <a:extLst>
                <a:ext uri="{FF2B5EF4-FFF2-40B4-BE49-F238E27FC236}">
                  <a16:creationId xmlns:a16="http://schemas.microsoft.com/office/drawing/2014/main" id="{1EF84438-BF7A-47D2-9156-E231EA2A279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3295" y="2316568"/>
              <a:ext cx="1290281" cy="1084704"/>
            </a:xfrm>
            <a:custGeom>
              <a:avLst/>
              <a:gdLst>
                <a:gd name="T0" fmla="*/ 177 w 2430"/>
                <a:gd name="T1" fmla="*/ 169 h 2040"/>
                <a:gd name="T2" fmla="*/ 174 w 2430"/>
                <a:gd name="T3" fmla="*/ 173 h 2040"/>
                <a:gd name="T4" fmla="*/ 169 w 2430"/>
                <a:gd name="T5" fmla="*/ 171 h 2040"/>
                <a:gd name="T6" fmla="*/ 160 w 2430"/>
                <a:gd name="T7" fmla="*/ 163 h 2040"/>
                <a:gd name="T8" fmla="*/ 154 w 2430"/>
                <a:gd name="T9" fmla="*/ 149 h 2040"/>
                <a:gd name="T10" fmla="*/ 144 w 2430"/>
                <a:gd name="T11" fmla="*/ 147 h 2040"/>
                <a:gd name="T12" fmla="*/ 133 w 2430"/>
                <a:gd name="T13" fmla="*/ 146 h 2040"/>
                <a:gd name="T14" fmla="*/ 121 w 2430"/>
                <a:gd name="T15" fmla="*/ 145 h 2040"/>
                <a:gd name="T16" fmla="*/ 110 w 2430"/>
                <a:gd name="T17" fmla="*/ 137 h 2040"/>
                <a:gd name="T18" fmla="*/ 97 w 2430"/>
                <a:gd name="T19" fmla="*/ 131 h 2040"/>
                <a:gd name="T20" fmla="*/ 87 w 2430"/>
                <a:gd name="T21" fmla="*/ 125 h 2040"/>
                <a:gd name="T22" fmla="*/ 75 w 2430"/>
                <a:gd name="T23" fmla="*/ 122 h 2040"/>
                <a:gd name="T24" fmla="*/ 65 w 2430"/>
                <a:gd name="T25" fmla="*/ 122 h 2040"/>
                <a:gd name="T26" fmla="*/ 59 w 2430"/>
                <a:gd name="T27" fmla="*/ 115 h 2040"/>
                <a:gd name="T28" fmla="*/ 50 w 2430"/>
                <a:gd name="T29" fmla="*/ 107 h 2040"/>
                <a:gd name="T30" fmla="*/ 28 w 2430"/>
                <a:gd name="T31" fmla="*/ 84 h 2040"/>
                <a:gd name="T32" fmla="*/ 22 w 2430"/>
                <a:gd name="T33" fmla="*/ 82 h 2040"/>
                <a:gd name="T34" fmla="*/ 20 w 2430"/>
                <a:gd name="T35" fmla="*/ 79 h 2040"/>
                <a:gd name="T36" fmla="*/ 16 w 2430"/>
                <a:gd name="T37" fmla="*/ 76 h 2040"/>
                <a:gd name="T38" fmla="*/ 11 w 2430"/>
                <a:gd name="T39" fmla="*/ 74 h 2040"/>
                <a:gd name="T40" fmla="*/ 7 w 2430"/>
                <a:gd name="T41" fmla="*/ 69 h 2040"/>
                <a:gd name="T42" fmla="*/ 0 w 2430"/>
                <a:gd name="T43" fmla="*/ 60 h 2040"/>
                <a:gd name="T44" fmla="*/ 10 w 2430"/>
                <a:gd name="T45" fmla="*/ 53 h 2040"/>
                <a:gd name="T46" fmla="*/ 15 w 2430"/>
                <a:gd name="T47" fmla="*/ 40 h 2040"/>
                <a:gd name="T48" fmla="*/ 9 w 2430"/>
                <a:gd name="T49" fmla="*/ 29 h 2040"/>
                <a:gd name="T50" fmla="*/ 7 w 2430"/>
                <a:gd name="T51" fmla="*/ 16 h 2040"/>
                <a:gd name="T52" fmla="*/ 18 w 2430"/>
                <a:gd name="T53" fmla="*/ 21 h 2040"/>
                <a:gd name="T54" fmla="*/ 48 w 2430"/>
                <a:gd name="T55" fmla="*/ 27 h 2040"/>
                <a:gd name="T56" fmla="*/ 62 w 2430"/>
                <a:gd name="T57" fmla="*/ 25 h 2040"/>
                <a:gd name="T58" fmla="*/ 59 w 2430"/>
                <a:gd name="T59" fmla="*/ 42 h 2040"/>
                <a:gd name="T60" fmla="*/ 54 w 2430"/>
                <a:gd name="T61" fmla="*/ 65 h 2040"/>
                <a:gd name="T62" fmla="*/ 65 w 2430"/>
                <a:gd name="T63" fmla="*/ 60 h 2040"/>
                <a:gd name="T64" fmla="*/ 68 w 2430"/>
                <a:gd name="T65" fmla="*/ 40 h 2040"/>
                <a:gd name="T66" fmla="*/ 75 w 2430"/>
                <a:gd name="T67" fmla="*/ 36 h 2040"/>
                <a:gd name="T68" fmla="*/ 83 w 2430"/>
                <a:gd name="T69" fmla="*/ 29 h 2040"/>
                <a:gd name="T70" fmla="*/ 81 w 2430"/>
                <a:gd name="T71" fmla="*/ 17 h 2040"/>
                <a:gd name="T72" fmla="*/ 66 w 2430"/>
                <a:gd name="T73" fmla="*/ 7 h 2040"/>
                <a:gd name="T74" fmla="*/ 80 w 2430"/>
                <a:gd name="T75" fmla="*/ 5 h 2040"/>
                <a:gd name="T76" fmla="*/ 89 w 2430"/>
                <a:gd name="T77" fmla="*/ 1 h 2040"/>
                <a:gd name="T78" fmla="*/ 101 w 2430"/>
                <a:gd name="T79" fmla="*/ 10 h 2040"/>
                <a:gd name="T80" fmla="*/ 103 w 2430"/>
                <a:gd name="T81" fmla="*/ 18 h 2040"/>
                <a:gd name="T82" fmla="*/ 110 w 2430"/>
                <a:gd name="T83" fmla="*/ 23 h 2040"/>
                <a:gd name="T84" fmla="*/ 121 w 2430"/>
                <a:gd name="T85" fmla="*/ 20 h 2040"/>
                <a:gd name="T86" fmla="*/ 129 w 2430"/>
                <a:gd name="T87" fmla="*/ 15 h 2040"/>
                <a:gd name="T88" fmla="*/ 142 w 2430"/>
                <a:gd name="T89" fmla="*/ 23 h 2040"/>
                <a:gd name="T90" fmla="*/ 141 w 2430"/>
                <a:gd name="T91" fmla="*/ 30 h 2040"/>
                <a:gd name="T92" fmla="*/ 140 w 2430"/>
                <a:gd name="T93" fmla="*/ 38 h 2040"/>
                <a:gd name="T94" fmla="*/ 139 w 2430"/>
                <a:gd name="T95" fmla="*/ 46 h 2040"/>
                <a:gd name="T96" fmla="*/ 147 w 2430"/>
                <a:gd name="T97" fmla="*/ 54 h 2040"/>
                <a:gd name="T98" fmla="*/ 152 w 2430"/>
                <a:gd name="T99" fmla="*/ 50 h 2040"/>
                <a:gd name="T100" fmla="*/ 159 w 2430"/>
                <a:gd name="T101" fmla="*/ 43 h 2040"/>
                <a:gd name="T102" fmla="*/ 174 w 2430"/>
                <a:gd name="T103" fmla="*/ 41 h 2040"/>
                <a:gd name="T104" fmla="*/ 190 w 2430"/>
                <a:gd name="T105" fmla="*/ 57 h 2040"/>
                <a:gd name="T106" fmla="*/ 187 w 2430"/>
                <a:gd name="T107" fmla="*/ 66 h 2040"/>
                <a:gd name="T108" fmla="*/ 183 w 2430"/>
                <a:gd name="T109" fmla="*/ 72 h 2040"/>
                <a:gd name="T110" fmla="*/ 194 w 2430"/>
                <a:gd name="T111" fmla="*/ 73 h 2040"/>
                <a:gd name="T112" fmla="*/ 202 w 2430"/>
                <a:gd name="T113" fmla="*/ 74 h 2040"/>
                <a:gd name="T114" fmla="*/ 204 w 2430"/>
                <a:gd name="T115" fmla="*/ 89 h 2040"/>
                <a:gd name="T116" fmla="*/ 208 w 2430"/>
                <a:gd name="T117" fmla="*/ 99 h 2040"/>
                <a:gd name="T118" fmla="*/ 203 w 2430"/>
                <a:gd name="T119" fmla="*/ 103 h 2040"/>
                <a:gd name="T120" fmla="*/ 209 w 2430"/>
                <a:gd name="T121" fmla="*/ 111 h 2040"/>
                <a:gd name="T122" fmla="*/ 204 w 2430"/>
                <a:gd name="T123" fmla="*/ 124 h 2040"/>
                <a:gd name="T124" fmla="*/ 190 w 2430"/>
                <a:gd name="T125" fmla="*/ 117 h 20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30"/>
                <a:gd name="T190" fmla="*/ 0 h 2040"/>
                <a:gd name="T191" fmla="*/ 2430 w 2430"/>
                <a:gd name="T192" fmla="*/ 2040 h 20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30" h="2040">
                  <a:moveTo>
                    <a:pt x="2076" y="1896"/>
                  </a:moveTo>
                  <a:lnTo>
                    <a:pt x="2070" y="1896"/>
                  </a:lnTo>
                  <a:lnTo>
                    <a:pt x="2070" y="1902"/>
                  </a:lnTo>
                  <a:lnTo>
                    <a:pt x="2076" y="1902"/>
                  </a:lnTo>
                  <a:lnTo>
                    <a:pt x="2082" y="1902"/>
                  </a:lnTo>
                  <a:lnTo>
                    <a:pt x="2082" y="1908"/>
                  </a:lnTo>
                  <a:lnTo>
                    <a:pt x="2076" y="1908"/>
                  </a:lnTo>
                  <a:lnTo>
                    <a:pt x="2076" y="1914"/>
                  </a:lnTo>
                  <a:lnTo>
                    <a:pt x="2070" y="1920"/>
                  </a:lnTo>
                  <a:lnTo>
                    <a:pt x="2064" y="1932"/>
                  </a:lnTo>
                  <a:lnTo>
                    <a:pt x="2064" y="1938"/>
                  </a:lnTo>
                  <a:lnTo>
                    <a:pt x="2058" y="1938"/>
                  </a:lnTo>
                  <a:lnTo>
                    <a:pt x="2052" y="1944"/>
                  </a:lnTo>
                  <a:lnTo>
                    <a:pt x="2052" y="1950"/>
                  </a:lnTo>
                  <a:lnTo>
                    <a:pt x="2040" y="1944"/>
                  </a:lnTo>
                  <a:lnTo>
                    <a:pt x="2040" y="1950"/>
                  </a:lnTo>
                  <a:lnTo>
                    <a:pt x="2034" y="1956"/>
                  </a:lnTo>
                  <a:lnTo>
                    <a:pt x="2034" y="1962"/>
                  </a:lnTo>
                  <a:lnTo>
                    <a:pt x="2028" y="1962"/>
                  </a:lnTo>
                  <a:lnTo>
                    <a:pt x="2022" y="1962"/>
                  </a:lnTo>
                  <a:lnTo>
                    <a:pt x="2022" y="1968"/>
                  </a:lnTo>
                  <a:lnTo>
                    <a:pt x="2028" y="1974"/>
                  </a:lnTo>
                  <a:lnTo>
                    <a:pt x="2034" y="1980"/>
                  </a:lnTo>
                  <a:lnTo>
                    <a:pt x="2028" y="1986"/>
                  </a:lnTo>
                  <a:lnTo>
                    <a:pt x="2022" y="1992"/>
                  </a:lnTo>
                  <a:lnTo>
                    <a:pt x="2022" y="1986"/>
                  </a:lnTo>
                  <a:lnTo>
                    <a:pt x="2016" y="1986"/>
                  </a:lnTo>
                  <a:lnTo>
                    <a:pt x="2010" y="1980"/>
                  </a:lnTo>
                  <a:lnTo>
                    <a:pt x="2004" y="1980"/>
                  </a:lnTo>
                  <a:lnTo>
                    <a:pt x="2004" y="1986"/>
                  </a:lnTo>
                  <a:lnTo>
                    <a:pt x="2010" y="1992"/>
                  </a:lnTo>
                  <a:lnTo>
                    <a:pt x="2010" y="1998"/>
                  </a:lnTo>
                  <a:lnTo>
                    <a:pt x="2004" y="2004"/>
                  </a:lnTo>
                  <a:lnTo>
                    <a:pt x="1998" y="2004"/>
                  </a:lnTo>
                  <a:lnTo>
                    <a:pt x="1998" y="2022"/>
                  </a:lnTo>
                  <a:lnTo>
                    <a:pt x="1998" y="2028"/>
                  </a:lnTo>
                  <a:lnTo>
                    <a:pt x="1992" y="2034"/>
                  </a:lnTo>
                  <a:lnTo>
                    <a:pt x="1992" y="2040"/>
                  </a:lnTo>
                  <a:lnTo>
                    <a:pt x="1986" y="2040"/>
                  </a:lnTo>
                  <a:lnTo>
                    <a:pt x="1986" y="2034"/>
                  </a:lnTo>
                  <a:lnTo>
                    <a:pt x="1980" y="2028"/>
                  </a:lnTo>
                  <a:lnTo>
                    <a:pt x="1980" y="2022"/>
                  </a:lnTo>
                  <a:lnTo>
                    <a:pt x="1968" y="2016"/>
                  </a:lnTo>
                  <a:lnTo>
                    <a:pt x="1962" y="2010"/>
                  </a:lnTo>
                  <a:lnTo>
                    <a:pt x="1956" y="2004"/>
                  </a:lnTo>
                  <a:lnTo>
                    <a:pt x="1950" y="1992"/>
                  </a:lnTo>
                  <a:lnTo>
                    <a:pt x="1950" y="1986"/>
                  </a:lnTo>
                  <a:lnTo>
                    <a:pt x="1950" y="1974"/>
                  </a:lnTo>
                  <a:lnTo>
                    <a:pt x="1944" y="1974"/>
                  </a:lnTo>
                  <a:lnTo>
                    <a:pt x="1932" y="1962"/>
                  </a:lnTo>
                  <a:lnTo>
                    <a:pt x="1932" y="1956"/>
                  </a:lnTo>
                  <a:lnTo>
                    <a:pt x="1932" y="1950"/>
                  </a:lnTo>
                  <a:lnTo>
                    <a:pt x="1920" y="1944"/>
                  </a:lnTo>
                  <a:lnTo>
                    <a:pt x="1914" y="1944"/>
                  </a:lnTo>
                  <a:lnTo>
                    <a:pt x="1908" y="1938"/>
                  </a:lnTo>
                  <a:lnTo>
                    <a:pt x="1902" y="1926"/>
                  </a:lnTo>
                  <a:lnTo>
                    <a:pt x="1890" y="1914"/>
                  </a:lnTo>
                  <a:lnTo>
                    <a:pt x="1884" y="1914"/>
                  </a:lnTo>
                  <a:lnTo>
                    <a:pt x="1878" y="1908"/>
                  </a:lnTo>
                  <a:lnTo>
                    <a:pt x="1872" y="1902"/>
                  </a:lnTo>
                  <a:lnTo>
                    <a:pt x="1872" y="1896"/>
                  </a:lnTo>
                  <a:lnTo>
                    <a:pt x="1866" y="1890"/>
                  </a:lnTo>
                  <a:lnTo>
                    <a:pt x="1854" y="1884"/>
                  </a:lnTo>
                  <a:lnTo>
                    <a:pt x="1848" y="1884"/>
                  </a:lnTo>
                  <a:lnTo>
                    <a:pt x="1842" y="1872"/>
                  </a:lnTo>
                  <a:lnTo>
                    <a:pt x="1836" y="1872"/>
                  </a:lnTo>
                  <a:lnTo>
                    <a:pt x="1830" y="1866"/>
                  </a:lnTo>
                  <a:lnTo>
                    <a:pt x="1830" y="1854"/>
                  </a:lnTo>
                  <a:lnTo>
                    <a:pt x="1824" y="1848"/>
                  </a:lnTo>
                  <a:lnTo>
                    <a:pt x="1818" y="1830"/>
                  </a:lnTo>
                  <a:lnTo>
                    <a:pt x="1818" y="1818"/>
                  </a:lnTo>
                  <a:lnTo>
                    <a:pt x="1812" y="1800"/>
                  </a:lnTo>
                  <a:lnTo>
                    <a:pt x="1812" y="1788"/>
                  </a:lnTo>
                  <a:lnTo>
                    <a:pt x="1806" y="1776"/>
                  </a:lnTo>
                  <a:lnTo>
                    <a:pt x="1800" y="1764"/>
                  </a:lnTo>
                  <a:lnTo>
                    <a:pt x="1794" y="1758"/>
                  </a:lnTo>
                  <a:lnTo>
                    <a:pt x="1782" y="1740"/>
                  </a:lnTo>
                  <a:lnTo>
                    <a:pt x="1776" y="1728"/>
                  </a:lnTo>
                  <a:lnTo>
                    <a:pt x="1776" y="1722"/>
                  </a:lnTo>
                  <a:lnTo>
                    <a:pt x="1770" y="1722"/>
                  </a:lnTo>
                  <a:lnTo>
                    <a:pt x="1770" y="1716"/>
                  </a:lnTo>
                  <a:lnTo>
                    <a:pt x="1764" y="1716"/>
                  </a:lnTo>
                  <a:lnTo>
                    <a:pt x="1758" y="1710"/>
                  </a:lnTo>
                  <a:lnTo>
                    <a:pt x="1752" y="1704"/>
                  </a:lnTo>
                  <a:lnTo>
                    <a:pt x="1746" y="1704"/>
                  </a:lnTo>
                  <a:lnTo>
                    <a:pt x="1740" y="1704"/>
                  </a:lnTo>
                  <a:lnTo>
                    <a:pt x="1734" y="1704"/>
                  </a:lnTo>
                  <a:lnTo>
                    <a:pt x="1734" y="1698"/>
                  </a:lnTo>
                  <a:lnTo>
                    <a:pt x="1728" y="1692"/>
                  </a:lnTo>
                  <a:lnTo>
                    <a:pt x="1722" y="1686"/>
                  </a:lnTo>
                  <a:lnTo>
                    <a:pt x="1716" y="1686"/>
                  </a:lnTo>
                  <a:lnTo>
                    <a:pt x="1698" y="1686"/>
                  </a:lnTo>
                  <a:lnTo>
                    <a:pt x="1692" y="1692"/>
                  </a:lnTo>
                  <a:lnTo>
                    <a:pt x="1680" y="1692"/>
                  </a:lnTo>
                  <a:lnTo>
                    <a:pt x="1668" y="1692"/>
                  </a:lnTo>
                  <a:lnTo>
                    <a:pt x="1662" y="1692"/>
                  </a:lnTo>
                  <a:lnTo>
                    <a:pt x="1656" y="1692"/>
                  </a:lnTo>
                  <a:lnTo>
                    <a:pt x="1650" y="1698"/>
                  </a:lnTo>
                  <a:lnTo>
                    <a:pt x="1644" y="1698"/>
                  </a:lnTo>
                  <a:lnTo>
                    <a:pt x="1638" y="1698"/>
                  </a:lnTo>
                  <a:lnTo>
                    <a:pt x="1632" y="1698"/>
                  </a:lnTo>
                  <a:lnTo>
                    <a:pt x="1632" y="1692"/>
                  </a:lnTo>
                  <a:lnTo>
                    <a:pt x="1620" y="1680"/>
                  </a:lnTo>
                  <a:lnTo>
                    <a:pt x="1614" y="1680"/>
                  </a:lnTo>
                  <a:lnTo>
                    <a:pt x="1608" y="1680"/>
                  </a:lnTo>
                  <a:lnTo>
                    <a:pt x="1602" y="1680"/>
                  </a:lnTo>
                  <a:lnTo>
                    <a:pt x="1596" y="1674"/>
                  </a:lnTo>
                  <a:lnTo>
                    <a:pt x="1584" y="1674"/>
                  </a:lnTo>
                  <a:lnTo>
                    <a:pt x="1572" y="1674"/>
                  </a:lnTo>
                  <a:lnTo>
                    <a:pt x="1560" y="1674"/>
                  </a:lnTo>
                  <a:lnTo>
                    <a:pt x="1542" y="1680"/>
                  </a:lnTo>
                  <a:lnTo>
                    <a:pt x="1530" y="1680"/>
                  </a:lnTo>
                  <a:lnTo>
                    <a:pt x="1530" y="1674"/>
                  </a:lnTo>
                  <a:lnTo>
                    <a:pt x="1524" y="1674"/>
                  </a:lnTo>
                  <a:lnTo>
                    <a:pt x="1518" y="1674"/>
                  </a:lnTo>
                  <a:lnTo>
                    <a:pt x="1512" y="1674"/>
                  </a:lnTo>
                  <a:lnTo>
                    <a:pt x="1506" y="1674"/>
                  </a:lnTo>
                  <a:lnTo>
                    <a:pt x="1500" y="1680"/>
                  </a:lnTo>
                  <a:lnTo>
                    <a:pt x="1488" y="1680"/>
                  </a:lnTo>
                  <a:lnTo>
                    <a:pt x="1482" y="1674"/>
                  </a:lnTo>
                  <a:lnTo>
                    <a:pt x="1476" y="1674"/>
                  </a:lnTo>
                  <a:lnTo>
                    <a:pt x="1464" y="1674"/>
                  </a:lnTo>
                  <a:lnTo>
                    <a:pt x="1452" y="1680"/>
                  </a:lnTo>
                  <a:lnTo>
                    <a:pt x="1434" y="1680"/>
                  </a:lnTo>
                  <a:lnTo>
                    <a:pt x="1422" y="1680"/>
                  </a:lnTo>
                  <a:lnTo>
                    <a:pt x="1416" y="1680"/>
                  </a:lnTo>
                  <a:lnTo>
                    <a:pt x="1404" y="1674"/>
                  </a:lnTo>
                  <a:lnTo>
                    <a:pt x="1398" y="1674"/>
                  </a:lnTo>
                  <a:lnTo>
                    <a:pt x="1392" y="1662"/>
                  </a:lnTo>
                  <a:lnTo>
                    <a:pt x="1380" y="1644"/>
                  </a:lnTo>
                  <a:lnTo>
                    <a:pt x="1374" y="1632"/>
                  </a:lnTo>
                  <a:lnTo>
                    <a:pt x="1362" y="1626"/>
                  </a:lnTo>
                  <a:lnTo>
                    <a:pt x="1356" y="1620"/>
                  </a:lnTo>
                  <a:lnTo>
                    <a:pt x="1350" y="1626"/>
                  </a:lnTo>
                  <a:lnTo>
                    <a:pt x="1338" y="1626"/>
                  </a:lnTo>
                  <a:lnTo>
                    <a:pt x="1326" y="1626"/>
                  </a:lnTo>
                  <a:lnTo>
                    <a:pt x="1314" y="1620"/>
                  </a:lnTo>
                  <a:lnTo>
                    <a:pt x="1308" y="1614"/>
                  </a:lnTo>
                  <a:lnTo>
                    <a:pt x="1302" y="1608"/>
                  </a:lnTo>
                  <a:lnTo>
                    <a:pt x="1296" y="1602"/>
                  </a:lnTo>
                  <a:lnTo>
                    <a:pt x="1290" y="1602"/>
                  </a:lnTo>
                  <a:lnTo>
                    <a:pt x="1290" y="1596"/>
                  </a:lnTo>
                  <a:lnTo>
                    <a:pt x="1284" y="1590"/>
                  </a:lnTo>
                  <a:lnTo>
                    <a:pt x="1272" y="1584"/>
                  </a:lnTo>
                  <a:lnTo>
                    <a:pt x="1254" y="1572"/>
                  </a:lnTo>
                  <a:lnTo>
                    <a:pt x="1236" y="1554"/>
                  </a:lnTo>
                  <a:lnTo>
                    <a:pt x="1230" y="1554"/>
                  </a:lnTo>
                  <a:lnTo>
                    <a:pt x="1224" y="1554"/>
                  </a:lnTo>
                  <a:lnTo>
                    <a:pt x="1212" y="1554"/>
                  </a:lnTo>
                  <a:lnTo>
                    <a:pt x="1194" y="1542"/>
                  </a:lnTo>
                  <a:lnTo>
                    <a:pt x="1188" y="1536"/>
                  </a:lnTo>
                  <a:lnTo>
                    <a:pt x="1182" y="1530"/>
                  </a:lnTo>
                  <a:lnTo>
                    <a:pt x="1176" y="1530"/>
                  </a:lnTo>
                  <a:lnTo>
                    <a:pt x="1170" y="1530"/>
                  </a:lnTo>
                  <a:lnTo>
                    <a:pt x="1158" y="1524"/>
                  </a:lnTo>
                  <a:lnTo>
                    <a:pt x="1152" y="1524"/>
                  </a:lnTo>
                  <a:lnTo>
                    <a:pt x="1140" y="1518"/>
                  </a:lnTo>
                  <a:lnTo>
                    <a:pt x="1128" y="1518"/>
                  </a:lnTo>
                  <a:lnTo>
                    <a:pt x="1122" y="1518"/>
                  </a:lnTo>
                  <a:lnTo>
                    <a:pt x="1116" y="1518"/>
                  </a:lnTo>
                  <a:lnTo>
                    <a:pt x="1104" y="1518"/>
                  </a:lnTo>
                  <a:lnTo>
                    <a:pt x="1092" y="1518"/>
                  </a:lnTo>
                  <a:lnTo>
                    <a:pt x="1080" y="1518"/>
                  </a:lnTo>
                  <a:lnTo>
                    <a:pt x="1068" y="1518"/>
                  </a:lnTo>
                  <a:lnTo>
                    <a:pt x="1062" y="1518"/>
                  </a:lnTo>
                  <a:lnTo>
                    <a:pt x="1056" y="1518"/>
                  </a:lnTo>
                  <a:lnTo>
                    <a:pt x="1050" y="1512"/>
                  </a:lnTo>
                  <a:lnTo>
                    <a:pt x="1044" y="1512"/>
                  </a:lnTo>
                  <a:lnTo>
                    <a:pt x="1038" y="1512"/>
                  </a:lnTo>
                  <a:lnTo>
                    <a:pt x="1032" y="1506"/>
                  </a:lnTo>
                  <a:lnTo>
                    <a:pt x="1026" y="1500"/>
                  </a:lnTo>
                  <a:lnTo>
                    <a:pt x="1026" y="1494"/>
                  </a:lnTo>
                  <a:lnTo>
                    <a:pt x="1020" y="1476"/>
                  </a:lnTo>
                  <a:lnTo>
                    <a:pt x="1008" y="1464"/>
                  </a:lnTo>
                  <a:lnTo>
                    <a:pt x="1008" y="1458"/>
                  </a:lnTo>
                  <a:lnTo>
                    <a:pt x="1002" y="1446"/>
                  </a:lnTo>
                  <a:lnTo>
                    <a:pt x="996" y="1446"/>
                  </a:lnTo>
                  <a:lnTo>
                    <a:pt x="990" y="1440"/>
                  </a:lnTo>
                  <a:lnTo>
                    <a:pt x="984" y="1434"/>
                  </a:lnTo>
                  <a:lnTo>
                    <a:pt x="978" y="1434"/>
                  </a:lnTo>
                  <a:lnTo>
                    <a:pt x="972" y="1434"/>
                  </a:lnTo>
                  <a:lnTo>
                    <a:pt x="966" y="1428"/>
                  </a:lnTo>
                  <a:lnTo>
                    <a:pt x="954" y="1422"/>
                  </a:lnTo>
                  <a:lnTo>
                    <a:pt x="942" y="1416"/>
                  </a:lnTo>
                  <a:lnTo>
                    <a:pt x="924" y="1398"/>
                  </a:lnTo>
                  <a:lnTo>
                    <a:pt x="912" y="1386"/>
                  </a:lnTo>
                  <a:lnTo>
                    <a:pt x="900" y="1386"/>
                  </a:lnTo>
                  <a:lnTo>
                    <a:pt x="894" y="1386"/>
                  </a:lnTo>
                  <a:lnTo>
                    <a:pt x="882" y="1392"/>
                  </a:lnTo>
                  <a:lnTo>
                    <a:pt x="876" y="1392"/>
                  </a:lnTo>
                  <a:lnTo>
                    <a:pt x="864" y="1398"/>
                  </a:lnTo>
                  <a:lnTo>
                    <a:pt x="864" y="1404"/>
                  </a:lnTo>
                  <a:lnTo>
                    <a:pt x="858" y="1410"/>
                  </a:lnTo>
                  <a:lnTo>
                    <a:pt x="852" y="1410"/>
                  </a:lnTo>
                  <a:lnTo>
                    <a:pt x="846" y="1410"/>
                  </a:lnTo>
                  <a:lnTo>
                    <a:pt x="834" y="1410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10" y="1428"/>
                  </a:lnTo>
                  <a:lnTo>
                    <a:pt x="798" y="1428"/>
                  </a:lnTo>
                  <a:lnTo>
                    <a:pt x="792" y="1428"/>
                  </a:lnTo>
                  <a:lnTo>
                    <a:pt x="780" y="1434"/>
                  </a:lnTo>
                  <a:lnTo>
                    <a:pt x="774" y="1428"/>
                  </a:lnTo>
                  <a:lnTo>
                    <a:pt x="762" y="1428"/>
                  </a:lnTo>
                  <a:lnTo>
                    <a:pt x="756" y="1422"/>
                  </a:lnTo>
                  <a:lnTo>
                    <a:pt x="750" y="1416"/>
                  </a:lnTo>
                  <a:lnTo>
                    <a:pt x="744" y="1410"/>
                  </a:lnTo>
                  <a:lnTo>
                    <a:pt x="744" y="1398"/>
                  </a:lnTo>
                  <a:lnTo>
                    <a:pt x="744" y="1386"/>
                  </a:lnTo>
                  <a:lnTo>
                    <a:pt x="750" y="1380"/>
                  </a:lnTo>
                  <a:lnTo>
                    <a:pt x="750" y="1374"/>
                  </a:lnTo>
                  <a:lnTo>
                    <a:pt x="750" y="1368"/>
                  </a:lnTo>
                  <a:lnTo>
                    <a:pt x="756" y="1362"/>
                  </a:lnTo>
                  <a:lnTo>
                    <a:pt x="750" y="1350"/>
                  </a:lnTo>
                  <a:lnTo>
                    <a:pt x="744" y="1344"/>
                  </a:lnTo>
                  <a:lnTo>
                    <a:pt x="738" y="1338"/>
                  </a:lnTo>
                  <a:lnTo>
                    <a:pt x="726" y="1338"/>
                  </a:lnTo>
                  <a:lnTo>
                    <a:pt x="720" y="1338"/>
                  </a:lnTo>
                  <a:lnTo>
                    <a:pt x="714" y="1338"/>
                  </a:lnTo>
                  <a:lnTo>
                    <a:pt x="708" y="1332"/>
                  </a:lnTo>
                  <a:lnTo>
                    <a:pt x="702" y="1332"/>
                  </a:lnTo>
                  <a:lnTo>
                    <a:pt x="696" y="1326"/>
                  </a:lnTo>
                  <a:lnTo>
                    <a:pt x="684" y="1326"/>
                  </a:lnTo>
                  <a:lnTo>
                    <a:pt x="678" y="1326"/>
                  </a:lnTo>
                  <a:lnTo>
                    <a:pt x="672" y="1314"/>
                  </a:lnTo>
                  <a:lnTo>
                    <a:pt x="666" y="1308"/>
                  </a:lnTo>
                  <a:lnTo>
                    <a:pt x="654" y="1296"/>
                  </a:lnTo>
                  <a:lnTo>
                    <a:pt x="654" y="1290"/>
                  </a:lnTo>
                  <a:lnTo>
                    <a:pt x="630" y="1284"/>
                  </a:lnTo>
                  <a:lnTo>
                    <a:pt x="630" y="1278"/>
                  </a:lnTo>
                  <a:lnTo>
                    <a:pt x="624" y="1278"/>
                  </a:lnTo>
                  <a:lnTo>
                    <a:pt x="618" y="1266"/>
                  </a:lnTo>
                  <a:lnTo>
                    <a:pt x="612" y="1266"/>
                  </a:lnTo>
                  <a:lnTo>
                    <a:pt x="606" y="1266"/>
                  </a:lnTo>
                  <a:lnTo>
                    <a:pt x="606" y="1260"/>
                  </a:lnTo>
                  <a:lnTo>
                    <a:pt x="594" y="1248"/>
                  </a:lnTo>
                  <a:lnTo>
                    <a:pt x="582" y="1248"/>
                  </a:lnTo>
                  <a:lnTo>
                    <a:pt x="576" y="1242"/>
                  </a:lnTo>
                  <a:lnTo>
                    <a:pt x="570" y="1236"/>
                  </a:lnTo>
                  <a:lnTo>
                    <a:pt x="504" y="1164"/>
                  </a:lnTo>
                  <a:lnTo>
                    <a:pt x="450" y="1110"/>
                  </a:lnTo>
                  <a:lnTo>
                    <a:pt x="426" y="1092"/>
                  </a:lnTo>
                  <a:lnTo>
                    <a:pt x="426" y="1074"/>
                  </a:lnTo>
                  <a:lnTo>
                    <a:pt x="420" y="1062"/>
                  </a:lnTo>
                  <a:lnTo>
                    <a:pt x="396" y="1056"/>
                  </a:lnTo>
                  <a:lnTo>
                    <a:pt x="384" y="1032"/>
                  </a:lnTo>
                  <a:lnTo>
                    <a:pt x="372" y="1020"/>
                  </a:lnTo>
                  <a:lnTo>
                    <a:pt x="360" y="984"/>
                  </a:lnTo>
                  <a:lnTo>
                    <a:pt x="348" y="978"/>
                  </a:lnTo>
                  <a:lnTo>
                    <a:pt x="342" y="972"/>
                  </a:lnTo>
                  <a:lnTo>
                    <a:pt x="348" y="960"/>
                  </a:lnTo>
                  <a:lnTo>
                    <a:pt x="342" y="954"/>
                  </a:lnTo>
                  <a:lnTo>
                    <a:pt x="336" y="954"/>
                  </a:lnTo>
                  <a:lnTo>
                    <a:pt x="330" y="954"/>
                  </a:lnTo>
                  <a:lnTo>
                    <a:pt x="324" y="972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0" y="966"/>
                  </a:lnTo>
                  <a:lnTo>
                    <a:pt x="294" y="966"/>
                  </a:lnTo>
                  <a:lnTo>
                    <a:pt x="288" y="972"/>
                  </a:lnTo>
                  <a:lnTo>
                    <a:pt x="288" y="966"/>
                  </a:lnTo>
                  <a:lnTo>
                    <a:pt x="282" y="948"/>
                  </a:lnTo>
                  <a:lnTo>
                    <a:pt x="282" y="942"/>
                  </a:lnTo>
                  <a:lnTo>
                    <a:pt x="276" y="942"/>
                  </a:lnTo>
                  <a:lnTo>
                    <a:pt x="276" y="936"/>
                  </a:lnTo>
                  <a:lnTo>
                    <a:pt x="270" y="942"/>
                  </a:lnTo>
                  <a:lnTo>
                    <a:pt x="264" y="948"/>
                  </a:lnTo>
                  <a:lnTo>
                    <a:pt x="264" y="942"/>
                  </a:lnTo>
                  <a:lnTo>
                    <a:pt x="258" y="942"/>
                  </a:lnTo>
                  <a:lnTo>
                    <a:pt x="252" y="948"/>
                  </a:lnTo>
                  <a:lnTo>
                    <a:pt x="252" y="942"/>
                  </a:lnTo>
                  <a:lnTo>
                    <a:pt x="246" y="936"/>
                  </a:lnTo>
                  <a:lnTo>
                    <a:pt x="240" y="942"/>
                  </a:lnTo>
                  <a:lnTo>
                    <a:pt x="234" y="936"/>
                  </a:lnTo>
                  <a:lnTo>
                    <a:pt x="228" y="936"/>
                  </a:lnTo>
                  <a:lnTo>
                    <a:pt x="222" y="936"/>
                  </a:lnTo>
                  <a:lnTo>
                    <a:pt x="222" y="930"/>
                  </a:lnTo>
                  <a:lnTo>
                    <a:pt x="222" y="924"/>
                  </a:lnTo>
                  <a:lnTo>
                    <a:pt x="228" y="924"/>
                  </a:lnTo>
                  <a:lnTo>
                    <a:pt x="234" y="924"/>
                  </a:lnTo>
                  <a:lnTo>
                    <a:pt x="240" y="924"/>
                  </a:lnTo>
                  <a:lnTo>
                    <a:pt x="240" y="918"/>
                  </a:lnTo>
                  <a:lnTo>
                    <a:pt x="246" y="918"/>
                  </a:lnTo>
                  <a:lnTo>
                    <a:pt x="246" y="912"/>
                  </a:lnTo>
                  <a:lnTo>
                    <a:pt x="240" y="906"/>
                  </a:lnTo>
                  <a:lnTo>
                    <a:pt x="234" y="906"/>
                  </a:lnTo>
                  <a:lnTo>
                    <a:pt x="228" y="906"/>
                  </a:lnTo>
                  <a:lnTo>
                    <a:pt x="228" y="912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8" y="894"/>
                  </a:lnTo>
                  <a:lnTo>
                    <a:pt x="234" y="894"/>
                  </a:lnTo>
                  <a:lnTo>
                    <a:pt x="228" y="888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198" y="888"/>
                  </a:lnTo>
                  <a:lnTo>
                    <a:pt x="192" y="882"/>
                  </a:lnTo>
                  <a:lnTo>
                    <a:pt x="186" y="882"/>
                  </a:lnTo>
                  <a:lnTo>
                    <a:pt x="186" y="876"/>
                  </a:lnTo>
                  <a:lnTo>
                    <a:pt x="192" y="876"/>
                  </a:lnTo>
                  <a:lnTo>
                    <a:pt x="192" y="870"/>
                  </a:lnTo>
                  <a:lnTo>
                    <a:pt x="198" y="870"/>
                  </a:lnTo>
                  <a:lnTo>
                    <a:pt x="198" y="864"/>
                  </a:lnTo>
                  <a:lnTo>
                    <a:pt x="198" y="858"/>
                  </a:lnTo>
                  <a:lnTo>
                    <a:pt x="180" y="852"/>
                  </a:lnTo>
                  <a:lnTo>
                    <a:pt x="174" y="840"/>
                  </a:lnTo>
                  <a:lnTo>
                    <a:pt x="162" y="846"/>
                  </a:lnTo>
                  <a:lnTo>
                    <a:pt x="156" y="846"/>
                  </a:lnTo>
                  <a:lnTo>
                    <a:pt x="150" y="846"/>
                  </a:lnTo>
                  <a:lnTo>
                    <a:pt x="150" y="840"/>
                  </a:lnTo>
                  <a:lnTo>
                    <a:pt x="138" y="834"/>
                  </a:lnTo>
                  <a:lnTo>
                    <a:pt x="132" y="834"/>
                  </a:lnTo>
                  <a:lnTo>
                    <a:pt x="132" y="840"/>
                  </a:lnTo>
                  <a:lnTo>
                    <a:pt x="126" y="840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58"/>
                  </a:lnTo>
                  <a:lnTo>
                    <a:pt x="120" y="846"/>
                  </a:lnTo>
                  <a:lnTo>
                    <a:pt x="114" y="846"/>
                  </a:lnTo>
                  <a:lnTo>
                    <a:pt x="108" y="840"/>
                  </a:lnTo>
                  <a:lnTo>
                    <a:pt x="102" y="834"/>
                  </a:lnTo>
                  <a:lnTo>
                    <a:pt x="102" y="822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78" y="804"/>
                  </a:lnTo>
                  <a:lnTo>
                    <a:pt x="78" y="798"/>
                  </a:lnTo>
                  <a:lnTo>
                    <a:pt x="78" y="792"/>
                  </a:lnTo>
                  <a:lnTo>
                    <a:pt x="78" y="786"/>
                  </a:lnTo>
                  <a:lnTo>
                    <a:pt x="78" y="780"/>
                  </a:lnTo>
                  <a:lnTo>
                    <a:pt x="72" y="774"/>
                  </a:lnTo>
                  <a:lnTo>
                    <a:pt x="66" y="774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60" y="762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6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2" y="666"/>
                  </a:lnTo>
                  <a:lnTo>
                    <a:pt x="18" y="648"/>
                  </a:lnTo>
                  <a:lnTo>
                    <a:pt x="24" y="636"/>
                  </a:lnTo>
                  <a:lnTo>
                    <a:pt x="30" y="630"/>
                  </a:lnTo>
                  <a:lnTo>
                    <a:pt x="30" y="624"/>
                  </a:lnTo>
                  <a:lnTo>
                    <a:pt x="30" y="612"/>
                  </a:lnTo>
                  <a:lnTo>
                    <a:pt x="30" y="606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66" y="582"/>
                  </a:lnTo>
                  <a:lnTo>
                    <a:pt x="72" y="588"/>
                  </a:lnTo>
                  <a:lnTo>
                    <a:pt x="84" y="594"/>
                  </a:lnTo>
                  <a:lnTo>
                    <a:pt x="90" y="600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14" y="612"/>
                  </a:lnTo>
                  <a:lnTo>
                    <a:pt x="120" y="612"/>
                  </a:lnTo>
                  <a:lnTo>
                    <a:pt x="126" y="618"/>
                  </a:lnTo>
                  <a:lnTo>
                    <a:pt x="138" y="594"/>
                  </a:lnTo>
                  <a:lnTo>
                    <a:pt x="138" y="582"/>
                  </a:lnTo>
                  <a:lnTo>
                    <a:pt x="138" y="570"/>
                  </a:lnTo>
                  <a:lnTo>
                    <a:pt x="138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50" y="528"/>
                  </a:lnTo>
                  <a:lnTo>
                    <a:pt x="156" y="510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62"/>
                  </a:lnTo>
                  <a:lnTo>
                    <a:pt x="168" y="450"/>
                  </a:lnTo>
                  <a:lnTo>
                    <a:pt x="168" y="444"/>
                  </a:lnTo>
                  <a:lnTo>
                    <a:pt x="162" y="432"/>
                  </a:lnTo>
                  <a:lnTo>
                    <a:pt x="162" y="426"/>
                  </a:lnTo>
                  <a:lnTo>
                    <a:pt x="156" y="420"/>
                  </a:lnTo>
                  <a:lnTo>
                    <a:pt x="144" y="414"/>
                  </a:lnTo>
                  <a:lnTo>
                    <a:pt x="132" y="402"/>
                  </a:lnTo>
                  <a:lnTo>
                    <a:pt x="126" y="390"/>
                  </a:lnTo>
                  <a:lnTo>
                    <a:pt x="120" y="384"/>
                  </a:lnTo>
                  <a:lnTo>
                    <a:pt x="120" y="372"/>
                  </a:lnTo>
                  <a:lnTo>
                    <a:pt x="114" y="360"/>
                  </a:lnTo>
                  <a:lnTo>
                    <a:pt x="108" y="360"/>
                  </a:lnTo>
                  <a:lnTo>
                    <a:pt x="108" y="354"/>
                  </a:lnTo>
                  <a:lnTo>
                    <a:pt x="102" y="348"/>
                  </a:lnTo>
                  <a:lnTo>
                    <a:pt x="102" y="342"/>
                  </a:lnTo>
                  <a:lnTo>
                    <a:pt x="108" y="330"/>
                  </a:lnTo>
                  <a:lnTo>
                    <a:pt x="114" y="312"/>
                  </a:lnTo>
                  <a:lnTo>
                    <a:pt x="114" y="300"/>
                  </a:lnTo>
                  <a:lnTo>
                    <a:pt x="120" y="288"/>
                  </a:lnTo>
                  <a:lnTo>
                    <a:pt x="120" y="282"/>
                  </a:lnTo>
                  <a:lnTo>
                    <a:pt x="114" y="270"/>
                  </a:lnTo>
                  <a:lnTo>
                    <a:pt x="114" y="258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84" y="222"/>
                  </a:lnTo>
                  <a:lnTo>
                    <a:pt x="84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84" y="186"/>
                  </a:lnTo>
                  <a:lnTo>
                    <a:pt x="84" y="180"/>
                  </a:lnTo>
                  <a:lnTo>
                    <a:pt x="108" y="174"/>
                  </a:lnTo>
                  <a:lnTo>
                    <a:pt x="132" y="186"/>
                  </a:lnTo>
                  <a:lnTo>
                    <a:pt x="138" y="192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56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74" y="204"/>
                  </a:lnTo>
                  <a:lnTo>
                    <a:pt x="180" y="216"/>
                  </a:lnTo>
                  <a:lnTo>
                    <a:pt x="186" y="228"/>
                  </a:lnTo>
                  <a:lnTo>
                    <a:pt x="192" y="234"/>
                  </a:lnTo>
                  <a:lnTo>
                    <a:pt x="198" y="234"/>
                  </a:lnTo>
                  <a:lnTo>
                    <a:pt x="204" y="240"/>
                  </a:lnTo>
                  <a:lnTo>
                    <a:pt x="210" y="240"/>
                  </a:lnTo>
                  <a:lnTo>
                    <a:pt x="216" y="240"/>
                  </a:lnTo>
                  <a:lnTo>
                    <a:pt x="222" y="240"/>
                  </a:lnTo>
                  <a:lnTo>
                    <a:pt x="228" y="246"/>
                  </a:lnTo>
                  <a:lnTo>
                    <a:pt x="234" y="246"/>
                  </a:lnTo>
                  <a:lnTo>
                    <a:pt x="240" y="246"/>
                  </a:lnTo>
                  <a:lnTo>
                    <a:pt x="252" y="252"/>
                  </a:lnTo>
                  <a:lnTo>
                    <a:pt x="330" y="246"/>
                  </a:lnTo>
                  <a:lnTo>
                    <a:pt x="360" y="228"/>
                  </a:lnTo>
                  <a:lnTo>
                    <a:pt x="396" y="228"/>
                  </a:lnTo>
                  <a:lnTo>
                    <a:pt x="402" y="240"/>
                  </a:lnTo>
                  <a:lnTo>
                    <a:pt x="432" y="240"/>
                  </a:lnTo>
                  <a:lnTo>
                    <a:pt x="450" y="258"/>
                  </a:lnTo>
                  <a:lnTo>
                    <a:pt x="468" y="258"/>
                  </a:lnTo>
                  <a:lnTo>
                    <a:pt x="474" y="294"/>
                  </a:lnTo>
                  <a:lnTo>
                    <a:pt x="558" y="318"/>
                  </a:lnTo>
                  <a:lnTo>
                    <a:pt x="588" y="318"/>
                  </a:lnTo>
                  <a:lnTo>
                    <a:pt x="588" y="312"/>
                  </a:lnTo>
                  <a:lnTo>
                    <a:pt x="594" y="306"/>
                  </a:lnTo>
                  <a:lnTo>
                    <a:pt x="600" y="306"/>
                  </a:lnTo>
                  <a:lnTo>
                    <a:pt x="612" y="300"/>
                  </a:lnTo>
                  <a:lnTo>
                    <a:pt x="618" y="300"/>
                  </a:lnTo>
                  <a:lnTo>
                    <a:pt x="630" y="300"/>
                  </a:lnTo>
                  <a:lnTo>
                    <a:pt x="642" y="306"/>
                  </a:lnTo>
                  <a:lnTo>
                    <a:pt x="660" y="306"/>
                  </a:lnTo>
                  <a:lnTo>
                    <a:pt x="666" y="306"/>
                  </a:lnTo>
                  <a:lnTo>
                    <a:pt x="672" y="306"/>
                  </a:lnTo>
                  <a:lnTo>
                    <a:pt x="684" y="300"/>
                  </a:lnTo>
                  <a:lnTo>
                    <a:pt x="696" y="294"/>
                  </a:lnTo>
                  <a:lnTo>
                    <a:pt x="702" y="288"/>
                  </a:lnTo>
                  <a:lnTo>
                    <a:pt x="714" y="282"/>
                  </a:lnTo>
                  <a:lnTo>
                    <a:pt x="714" y="288"/>
                  </a:lnTo>
                  <a:lnTo>
                    <a:pt x="726" y="300"/>
                  </a:lnTo>
                  <a:lnTo>
                    <a:pt x="732" y="306"/>
                  </a:lnTo>
                  <a:lnTo>
                    <a:pt x="732" y="318"/>
                  </a:lnTo>
                  <a:lnTo>
                    <a:pt x="732" y="330"/>
                  </a:lnTo>
                  <a:lnTo>
                    <a:pt x="726" y="342"/>
                  </a:lnTo>
                  <a:lnTo>
                    <a:pt x="720" y="354"/>
                  </a:lnTo>
                  <a:lnTo>
                    <a:pt x="720" y="360"/>
                  </a:lnTo>
                  <a:lnTo>
                    <a:pt x="714" y="372"/>
                  </a:lnTo>
                  <a:lnTo>
                    <a:pt x="714" y="378"/>
                  </a:lnTo>
                  <a:lnTo>
                    <a:pt x="714" y="408"/>
                  </a:lnTo>
                  <a:lnTo>
                    <a:pt x="708" y="420"/>
                  </a:lnTo>
                  <a:lnTo>
                    <a:pt x="714" y="432"/>
                  </a:lnTo>
                  <a:lnTo>
                    <a:pt x="708" y="450"/>
                  </a:lnTo>
                  <a:lnTo>
                    <a:pt x="708" y="468"/>
                  </a:lnTo>
                  <a:lnTo>
                    <a:pt x="696" y="480"/>
                  </a:lnTo>
                  <a:lnTo>
                    <a:pt x="684" y="486"/>
                  </a:lnTo>
                  <a:lnTo>
                    <a:pt x="672" y="492"/>
                  </a:lnTo>
                  <a:lnTo>
                    <a:pt x="660" y="498"/>
                  </a:lnTo>
                  <a:lnTo>
                    <a:pt x="654" y="510"/>
                  </a:lnTo>
                  <a:lnTo>
                    <a:pt x="648" y="516"/>
                  </a:lnTo>
                  <a:lnTo>
                    <a:pt x="642" y="522"/>
                  </a:lnTo>
                  <a:lnTo>
                    <a:pt x="630" y="522"/>
                  </a:lnTo>
                  <a:lnTo>
                    <a:pt x="624" y="528"/>
                  </a:lnTo>
                  <a:lnTo>
                    <a:pt x="618" y="540"/>
                  </a:lnTo>
                  <a:lnTo>
                    <a:pt x="618" y="558"/>
                  </a:lnTo>
                  <a:lnTo>
                    <a:pt x="612" y="576"/>
                  </a:lnTo>
                  <a:lnTo>
                    <a:pt x="612" y="684"/>
                  </a:lnTo>
                  <a:lnTo>
                    <a:pt x="618" y="696"/>
                  </a:lnTo>
                  <a:lnTo>
                    <a:pt x="636" y="696"/>
                  </a:lnTo>
                  <a:lnTo>
                    <a:pt x="636" y="720"/>
                  </a:lnTo>
                  <a:lnTo>
                    <a:pt x="636" y="732"/>
                  </a:lnTo>
                  <a:lnTo>
                    <a:pt x="618" y="750"/>
                  </a:lnTo>
                  <a:lnTo>
                    <a:pt x="606" y="762"/>
                  </a:lnTo>
                  <a:lnTo>
                    <a:pt x="600" y="774"/>
                  </a:lnTo>
                  <a:lnTo>
                    <a:pt x="594" y="798"/>
                  </a:lnTo>
                  <a:lnTo>
                    <a:pt x="606" y="798"/>
                  </a:lnTo>
                  <a:lnTo>
                    <a:pt x="660" y="792"/>
                  </a:lnTo>
                  <a:lnTo>
                    <a:pt x="696" y="798"/>
                  </a:lnTo>
                  <a:lnTo>
                    <a:pt x="720" y="798"/>
                  </a:lnTo>
                  <a:lnTo>
                    <a:pt x="720" y="786"/>
                  </a:lnTo>
                  <a:lnTo>
                    <a:pt x="720" y="774"/>
                  </a:lnTo>
                  <a:lnTo>
                    <a:pt x="702" y="762"/>
                  </a:lnTo>
                  <a:lnTo>
                    <a:pt x="702" y="750"/>
                  </a:lnTo>
                  <a:lnTo>
                    <a:pt x="702" y="726"/>
                  </a:lnTo>
                  <a:lnTo>
                    <a:pt x="714" y="714"/>
                  </a:lnTo>
                  <a:lnTo>
                    <a:pt x="720" y="702"/>
                  </a:lnTo>
                  <a:lnTo>
                    <a:pt x="720" y="696"/>
                  </a:lnTo>
                  <a:lnTo>
                    <a:pt x="744" y="690"/>
                  </a:lnTo>
                  <a:lnTo>
                    <a:pt x="744" y="696"/>
                  </a:lnTo>
                  <a:lnTo>
                    <a:pt x="756" y="696"/>
                  </a:lnTo>
                  <a:lnTo>
                    <a:pt x="762" y="690"/>
                  </a:lnTo>
                  <a:lnTo>
                    <a:pt x="768" y="690"/>
                  </a:lnTo>
                  <a:lnTo>
                    <a:pt x="774" y="696"/>
                  </a:lnTo>
                  <a:lnTo>
                    <a:pt x="780" y="696"/>
                  </a:lnTo>
                  <a:lnTo>
                    <a:pt x="786" y="696"/>
                  </a:lnTo>
                  <a:lnTo>
                    <a:pt x="804" y="684"/>
                  </a:lnTo>
                  <a:lnTo>
                    <a:pt x="810" y="684"/>
                  </a:lnTo>
                  <a:lnTo>
                    <a:pt x="810" y="654"/>
                  </a:lnTo>
                  <a:lnTo>
                    <a:pt x="816" y="588"/>
                  </a:lnTo>
                  <a:lnTo>
                    <a:pt x="804" y="582"/>
                  </a:lnTo>
                  <a:lnTo>
                    <a:pt x="798" y="552"/>
                  </a:lnTo>
                  <a:lnTo>
                    <a:pt x="798" y="480"/>
                  </a:lnTo>
                  <a:lnTo>
                    <a:pt x="780" y="468"/>
                  </a:lnTo>
                  <a:lnTo>
                    <a:pt x="780" y="462"/>
                  </a:lnTo>
                  <a:lnTo>
                    <a:pt x="774" y="450"/>
                  </a:lnTo>
                  <a:lnTo>
                    <a:pt x="762" y="444"/>
                  </a:lnTo>
                  <a:lnTo>
                    <a:pt x="762" y="438"/>
                  </a:lnTo>
                  <a:lnTo>
                    <a:pt x="768" y="432"/>
                  </a:lnTo>
                  <a:lnTo>
                    <a:pt x="774" y="426"/>
                  </a:lnTo>
                  <a:lnTo>
                    <a:pt x="780" y="426"/>
                  </a:lnTo>
                  <a:lnTo>
                    <a:pt x="780" y="414"/>
                  </a:lnTo>
                  <a:lnTo>
                    <a:pt x="834" y="414"/>
                  </a:lnTo>
                  <a:lnTo>
                    <a:pt x="834" y="426"/>
                  </a:lnTo>
                  <a:lnTo>
                    <a:pt x="840" y="432"/>
                  </a:lnTo>
                  <a:lnTo>
                    <a:pt x="846" y="432"/>
                  </a:lnTo>
                  <a:lnTo>
                    <a:pt x="852" y="432"/>
                  </a:lnTo>
                  <a:lnTo>
                    <a:pt x="858" y="432"/>
                  </a:lnTo>
                  <a:lnTo>
                    <a:pt x="870" y="432"/>
                  </a:lnTo>
                  <a:lnTo>
                    <a:pt x="870" y="426"/>
                  </a:lnTo>
                  <a:lnTo>
                    <a:pt x="870" y="420"/>
                  </a:lnTo>
                  <a:lnTo>
                    <a:pt x="876" y="420"/>
                  </a:lnTo>
                  <a:lnTo>
                    <a:pt x="882" y="420"/>
                  </a:lnTo>
                  <a:lnTo>
                    <a:pt x="894" y="414"/>
                  </a:lnTo>
                  <a:lnTo>
                    <a:pt x="900" y="414"/>
                  </a:lnTo>
                  <a:lnTo>
                    <a:pt x="906" y="408"/>
                  </a:lnTo>
                  <a:lnTo>
                    <a:pt x="918" y="408"/>
                  </a:lnTo>
                  <a:lnTo>
                    <a:pt x="924" y="402"/>
                  </a:lnTo>
                  <a:lnTo>
                    <a:pt x="930" y="384"/>
                  </a:lnTo>
                  <a:lnTo>
                    <a:pt x="948" y="396"/>
                  </a:lnTo>
                  <a:lnTo>
                    <a:pt x="954" y="384"/>
                  </a:lnTo>
                  <a:lnTo>
                    <a:pt x="960" y="384"/>
                  </a:lnTo>
                  <a:lnTo>
                    <a:pt x="972" y="384"/>
                  </a:lnTo>
                  <a:lnTo>
                    <a:pt x="978" y="378"/>
                  </a:lnTo>
                  <a:lnTo>
                    <a:pt x="972" y="366"/>
                  </a:lnTo>
                  <a:lnTo>
                    <a:pt x="966" y="342"/>
                  </a:lnTo>
                  <a:lnTo>
                    <a:pt x="960" y="330"/>
                  </a:lnTo>
                  <a:lnTo>
                    <a:pt x="942" y="324"/>
                  </a:lnTo>
                  <a:lnTo>
                    <a:pt x="936" y="318"/>
                  </a:lnTo>
                  <a:lnTo>
                    <a:pt x="936" y="294"/>
                  </a:lnTo>
                  <a:lnTo>
                    <a:pt x="942" y="294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282"/>
                  </a:lnTo>
                  <a:lnTo>
                    <a:pt x="954" y="276"/>
                  </a:lnTo>
                  <a:lnTo>
                    <a:pt x="960" y="276"/>
                  </a:lnTo>
                  <a:lnTo>
                    <a:pt x="966" y="276"/>
                  </a:lnTo>
                  <a:lnTo>
                    <a:pt x="960" y="258"/>
                  </a:lnTo>
                  <a:lnTo>
                    <a:pt x="954" y="240"/>
                  </a:lnTo>
                  <a:lnTo>
                    <a:pt x="948" y="204"/>
                  </a:lnTo>
                  <a:lnTo>
                    <a:pt x="954" y="204"/>
                  </a:lnTo>
                  <a:lnTo>
                    <a:pt x="960" y="198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00" y="186"/>
                  </a:lnTo>
                  <a:lnTo>
                    <a:pt x="876" y="180"/>
                  </a:lnTo>
                  <a:lnTo>
                    <a:pt x="858" y="180"/>
                  </a:lnTo>
                  <a:lnTo>
                    <a:pt x="852" y="168"/>
                  </a:lnTo>
                  <a:lnTo>
                    <a:pt x="834" y="156"/>
                  </a:lnTo>
                  <a:lnTo>
                    <a:pt x="822" y="156"/>
                  </a:lnTo>
                  <a:lnTo>
                    <a:pt x="804" y="156"/>
                  </a:lnTo>
                  <a:lnTo>
                    <a:pt x="804" y="150"/>
                  </a:lnTo>
                  <a:lnTo>
                    <a:pt x="792" y="144"/>
                  </a:lnTo>
                  <a:lnTo>
                    <a:pt x="762" y="138"/>
                  </a:lnTo>
                  <a:lnTo>
                    <a:pt x="768" y="120"/>
                  </a:lnTo>
                  <a:lnTo>
                    <a:pt x="756" y="120"/>
                  </a:lnTo>
                  <a:lnTo>
                    <a:pt x="744" y="108"/>
                  </a:lnTo>
                  <a:lnTo>
                    <a:pt x="744" y="96"/>
                  </a:lnTo>
                  <a:lnTo>
                    <a:pt x="762" y="84"/>
                  </a:lnTo>
                  <a:lnTo>
                    <a:pt x="768" y="84"/>
                  </a:lnTo>
                  <a:lnTo>
                    <a:pt x="768" y="72"/>
                  </a:lnTo>
                  <a:lnTo>
                    <a:pt x="780" y="66"/>
                  </a:lnTo>
                  <a:lnTo>
                    <a:pt x="798" y="54"/>
                  </a:lnTo>
                  <a:lnTo>
                    <a:pt x="792" y="54"/>
                  </a:lnTo>
                  <a:lnTo>
                    <a:pt x="798" y="36"/>
                  </a:lnTo>
                  <a:lnTo>
                    <a:pt x="804" y="36"/>
                  </a:lnTo>
                  <a:lnTo>
                    <a:pt x="816" y="30"/>
                  </a:lnTo>
                  <a:lnTo>
                    <a:pt x="828" y="30"/>
                  </a:lnTo>
                  <a:lnTo>
                    <a:pt x="846" y="12"/>
                  </a:lnTo>
                  <a:lnTo>
                    <a:pt x="876" y="0"/>
                  </a:lnTo>
                  <a:lnTo>
                    <a:pt x="882" y="6"/>
                  </a:lnTo>
                  <a:lnTo>
                    <a:pt x="900" y="6"/>
                  </a:lnTo>
                  <a:lnTo>
                    <a:pt x="912" y="36"/>
                  </a:lnTo>
                  <a:lnTo>
                    <a:pt x="918" y="42"/>
                  </a:lnTo>
                  <a:lnTo>
                    <a:pt x="924" y="54"/>
                  </a:lnTo>
                  <a:lnTo>
                    <a:pt x="930" y="54"/>
                  </a:lnTo>
                  <a:lnTo>
                    <a:pt x="930" y="78"/>
                  </a:lnTo>
                  <a:lnTo>
                    <a:pt x="954" y="72"/>
                  </a:lnTo>
                  <a:lnTo>
                    <a:pt x="954" y="60"/>
                  </a:lnTo>
                  <a:lnTo>
                    <a:pt x="966" y="66"/>
                  </a:lnTo>
                  <a:lnTo>
                    <a:pt x="966" y="78"/>
                  </a:lnTo>
                  <a:lnTo>
                    <a:pt x="960" y="84"/>
                  </a:lnTo>
                  <a:lnTo>
                    <a:pt x="954" y="102"/>
                  </a:lnTo>
                  <a:lnTo>
                    <a:pt x="972" y="102"/>
                  </a:lnTo>
                  <a:lnTo>
                    <a:pt x="978" y="84"/>
                  </a:lnTo>
                  <a:lnTo>
                    <a:pt x="984" y="72"/>
                  </a:lnTo>
                  <a:lnTo>
                    <a:pt x="990" y="72"/>
                  </a:lnTo>
                  <a:lnTo>
                    <a:pt x="996" y="18"/>
                  </a:lnTo>
                  <a:lnTo>
                    <a:pt x="990" y="12"/>
                  </a:lnTo>
                  <a:lnTo>
                    <a:pt x="1014" y="12"/>
                  </a:lnTo>
                  <a:lnTo>
                    <a:pt x="1026" y="12"/>
                  </a:lnTo>
                  <a:lnTo>
                    <a:pt x="1026" y="24"/>
                  </a:lnTo>
                  <a:lnTo>
                    <a:pt x="1050" y="24"/>
                  </a:lnTo>
                  <a:lnTo>
                    <a:pt x="1050" y="36"/>
                  </a:lnTo>
                  <a:lnTo>
                    <a:pt x="1062" y="66"/>
                  </a:lnTo>
                  <a:lnTo>
                    <a:pt x="1074" y="66"/>
                  </a:lnTo>
                  <a:lnTo>
                    <a:pt x="1080" y="60"/>
                  </a:lnTo>
                  <a:lnTo>
                    <a:pt x="1074" y="24"/>
                  </a:lnTo>
                  <a:lnTo>
                    <a:pt x="1086" y="18"/>
                  </a:lnTo>
                  <a:lnTo>
                    <a:pt x="1086" y="12"/>
                  </a:lnTo>
                  <a:lnTo>
                    <a:pt x="1104" y="6"/>
                  </a:lnTo>
                  <a:lnTo>
                    <a:pt x="1122" y="0"/>
                  </a:lnTo>
                  <a:lnTo>
                    <a:pt x="1134" y="6"/>
                  </a:lnTo>
                  <a:lnTo>
                    <a:pt x="1134" y="42"/>
                  </a:lnTo>
                  <a:lnTo>
                    <a:pt x="1140" y="72"/>
                  </a:lnTo>
                  <a:lnTo>
                    <a:pt x="1158" y="114"/>
                  </a:lnTo>
                  <a:lnTo>
                    <a:pt x="1170" y="114"/>
                  </a:lnTo>
                  <a:lnTo>
                    <a:pt x="1170" y="126"/>
                  </a:lnTo>
                  <a:lnTo>
                    <a:pt x="1182" y="126"/>
                  </a:lnTo>
                  <a:lnTo>
                    <a:pt x="1182" y="138"/>
                  </a:lnTo>
                  <a:lnTo>
                    <a:pt x="1194" y="144"/>
                  </a:lnTo>
                  <a:lnTo>
                    <a:pt x="1194" y="156"/>
                  </a:lnTo>
                  <a:lnTo>
                    <a:pt x="1188" y="156"/>
                  </a:lnTo>
                  <a:lnTo>
                    <a:pt x="1194" y="162"/>
                  </a:lnTo>
                  <a:lnTo>
                    <a:pt x="1194" y="168"/>
                  </a:lnTo>
                  <a:lnTo>
                    <a:pt x="1188" y="168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82" y="180"/>
                  </a:lnTo>
                  <a:lnTo>
                    <a:pt x="1188" y="186"/>
                  </a:lnTo>
                  <a:lnTo>
                    <a:pt x="1188" y="192"/>
                  </a:lnTo>
                  <a:lnTo>
                    <a:pt x="1182" y="198"/>
                  </a:lnTo>
                  <a:lnTo>
                    <a:pt x="1182" y="204"/>
                  </a:lnTo>
                  <a:lnTo>
                    <a:pt x="1182" y="210"/>
                  </a:lnTo>
                  <a:lnTo>
                    <a:pt x="1188" y="210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2"/>
                  </a:lnTo>
                  <a:lnTo>
                    <a:pt x="1194" y="264"/>
                  </a:lnTo>
                  <a:lnTo>
                    <a:pt x="1200" y="264"/>
                  </a:lnTo>
                  <a:lnTo>
                    <a:pt x="1212" y="264"/>
                  </a:lnTo>
                  <a:lnTo>
                    <a:pt x="1212" y="258"/>
                  </a:lnTo>
                  <a:lnTo>
                    <a:pt x="1224" y="258"/>
                  </a:lnTo>
                  <a:lnTo>
                    <a:pt x="1248" y="252"/>
                  </a:lnTo>
                  <a:lnTo>
                    <a:pt x="1248" y="264"/>
                  </a:lnTo>
                  <a:lnTo>
                    <a:pt x="1254" y="264"/>
                  </a:lnTo>
                  <a:lnTo>
                    <a:pt x="1254" y="270"/>
                  </a:lnTo>
                  <a:lnTo>
                    <a:pt x="1260" y="270"/>
                  </a:lnTo>
                  <a:lnTo>
                    <a:pt x="1266" y="270"/>
                  </a:lnTo>
                  <a:lnTo>
                    <a:pt x="1272" y="270"/>
                  </a:lnTo>
                  <a:lnTo>
                    <a:pt x="1272" y="264"/>
                  </a:lnTo>
                  <a:lnTo>
                    <a:pt x="1272" y="258"/>
                  </a:lnTo>
                  <a:lnTo>
                    <a:pt x="1278" y="258"/>
                  </a:lnTo>
                  <a:lnTo>
                    <a:pt x="1278" y="252"/>
                  </a:lnTo>
                  <a:lnTo>
                    <a:pt x="1290" y="252"/>
                  </a:lnTo>
                  <a:lnTo>
                    <a:pt x="1296" y="246"/>
                  </a:lnTo>
                  <a:lnTo>
                    <a:pt x="1308" y="246"/>
                  </a:lnTo>
                  <a:lnTo>
                    <a:pt x="1308" y="240"/>
                  </a:lnTo>
                  <a:lnTo>
                    <a:pt x="1320" y="240"/>
                  </a:lnTo>
                  <a:lnTo>
                    <a:pt x="1326" y="246"/>
                  </a:lnTo>
                  <a:lnTo>
                    <a:pt x="1338" y="246"/>
                  </a:lnTo>
                  <a:lnTo>
                    <a:pt x="1338" y="240"/>
                  </a:lnTo>
                  <a:lnTo>
                    <a:pt x="1350" y="240"/>
                  </a:lnTo>
                  <a:lnTo>
                    <a:pt x="1386" y="234"/>
                  </a:lnTo>
                  <a:lnTo>
                    <a:pt x="1398" y="228"/>
                  </a:lnTo>
                  <a:lnTo>
                    <a:pt x="1404" y="216"/>
                  </a:lnTo>
                  <a:lnTo>
                    <a:pt x="1416" y="204"/>
                  </a:lnTo>
                  <a:lnTo>
                    <a:pt x="1434" y="192"/>
                  </a:lnTo>
                  <a:lnTo>
                    <a:pt x="1446" y="198"/>
                  </a:lnTo>
                  <a:lnTo>
                    <a:pt x="1446" y="204"/>
                  </a:lnTo>
                  <a:lnTo>
                    <a:pt x="1452" y="210"/>
                  </a:lnTo>
                  <a:lnTo>
                    <a:pt x="1464" y="222"/>
                  </a:lnTo>
                  <a:lnTo>
                    <a:pt x="1464" y="228"/>
                  </a:lnTo>
                  <a:lnTo>
                    <a:pt x="1464" y="234"/>
                  </a:lnTo>
                  <a:lnTo>
                    <a:pt x="1470" y="240"/>
                  </a:lnTo>
                  <a:lnTo>
                    <a:pt x="1476" y="228"/>
                  </a:lnTo>
                  <a:lnTo>
                    <a:pt x="1476" y="222"/>
                  </a:lnTo>
                  <a:lnTo>
                    <a:pt x="1482" y="210"/>
                  </a:lnTo>
                  <a:lnTo>
                    <a:pt x="1488" y="192"/>
                  </a:lnTo>
                  <a:lnTo>
                    <a:pt x="1488" y="186"/>
                  </a:lnTo>
                  <a:lnTo>
                    <a:pt x="1488" y="180"/>
                  </a:lnTo>
                  <a:lnTo>
                    <a:pt x="1500" y="180"/>
                  </a:lnTo>
                  <a:lnTo>
                    <a:pt x="1500" y="174"/>
                  </a:lnTo>
                  <a:lnTo>
                    <a:pt x="1518" y="162"/>
                  </a:lnTo>
                  <a:lnTo>
                    <a:pt x="1536" y="150"/>
                  </a:lnTo>
                  <a:lnTo>
                    <a:pt x="1554" y="168"/>
                  </a:lnTo>
                  <a:lnTo>
                    <a:pt x="1572" y="180"/>
                  </a:lnTo>
                  <a:lnTo>
                    <a:pt x="1596" y="216"/>
                  </a:lnTo>
                  <a:lnTo>
                    <a:pt x="1602" y="216"/>
                  </a:lnTo>
                  <a:lnTo>
                    <a:pt x="1614" y="228"/>
                  </a:lnTo>
                  <a:lnTo>
                    <a:pt x="1614" y="234"/>
                  </a:lnTo>
                  <a:lnTo>
                    <a:pt x="1620" y="240"/>
                  </a:lnTo>
                  <a:lnTo>
                    <a:pt x="1620" y="246"/>
                  </a:lnTo>
                  <a:lnTo>
                    <a:pt x="1626" y="252"/>
                  </a:lnTo>
                  <a:lnTo>
                    <a:pt x="1632" y="258"/>
                  </a:lnTo>
                  <a:lnTo>
                    <a:pt x="1632" y="264"/>
                  </a:lnTo>
                  <a:lnTo>
                    <a:pt x="1638" y="264"/>
                  </a:lnTo>
                  <a:lnTo>
                    <a:pt x="1638" y="270"/>
                  </a:lnTo>
                  <a:lnTo>
                    <a:pt x="1638" y="276"/>
                  </a:lnTo>
                  <a:lnTo>
                    <a:pt x="1638" y="282"/>
                  </a:lnTo>
                  <a:lnTo>
                    <a:pt x="1644" y="288"/>
                  </a:lnTo>
                  <a:lnTo>
                    <a:pt x="1644" y="294"/>
                  </a:lnTo>
                  <a:lnTo>
                    <a:pt x="1644" y="300"/>
                  </a:lnTo>
                  <a:lnTo>
                    <a:pt x="1644" y="306"/>
                  </a:lnTo>
                  <a:lnTo>
                    <a:pt x="1650" y="306"/>
                  </a:lnTo>
                  <a:lnTo>
                    <a:pt x="1650" y="312"/>
                  </a:lnTo>
                  <a:lnTo>
                    <a:pt x="1650" y="318"/>
                  </a:lnTo>
                  <a:lnTo>
                    <a:pt x="1650" y="324"/>
                  </a:lnTo>
                  <a:lnTo>
                    <a:pt x="1644" y="330"/>
                  </a:lnTo>
                  <a:lnTo>
                    <a:pt x="1626" y="330"/>
                  </a:lnTo>
                  <a:lnTo>
                    <a:pt x="1626" y="336"/>
                  </a:lnTo>
                  <a:lnTo>
                    <a:pt x="1626" y="342"/>
                  </a:lnTo>
                  <a:lnTo>
                    <a:pt x="1626" y="348"/>
                  </a:lnTo>
                  <a:lnTo>
                    <a:pt x="1620" y="354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14" y="390"/>
                  </a:lnTo>
                  <a:lnTo>
                    <a:pt x="1614" y="396"/>
                  </a:lnTo>
                  <a:lnTo>
                    <a:pt x="1614" y="402"/>
                  </a:lnTo>
                  <a:lnTo>
                    <a:pt x="1614" y="408"/>
                  </a:lnTo>
                  <a:lnTo>
                    <a:pt x="1614" y="414"/>
                  </a:lnTo>
                  <a:lnTo>
                    <a:pt x="1602" y="420"/>
                  </a:lnTo>
                  <a:lnTo>
                    <a:pt x="1602" y="426"/>
                  </a:lnTo>
                  <a:lnTo>
                    <a:pt x="1608" y="432"/>
                  </a:lnTo>
                  <a:lnTo>
                    <a:pt x="1614" y="426"/>
                  </a:lnTo>
                  <a:lnTo>
                    <a:pt x="1620" y="438"/>
                  </a:lnTo>
                  <a:lnTo>
                    <a:pt x="1626" y="438"/>
                  </a:lnTo>
                  <a:lnTo>
                    <a:pt x="1632" y="444"/>
                  </a:lnTo>
                  <a:lnTo>
                    <a:pt x="1626" y="456"/>
                  </a:lnTo>
                  <a:lnTo>
                    <a:pt x="1626" y="468"/>
                  </a:lnTo>
                  <a:lnTo>
                    <a:pt x="1620" y="474"/>
                  </a:lnTo>
                  <a:lnTo>
                    <a:pt x="1614" y="474"/>
                  </a:lnTo>
                  <a:lnTo>
                    <a:pt x="1614" y="486"/>
                  </a:lnTo>
                  <a:lnTo>
                    <a:pt x="1614" y="492"/>
                  </a:lnTo>
                  <a:lnTo>
                    <a:pt x="1620" y="492"/>
                  </a:lnTo>
                  <a:lnTo>
                    <a:pt x="1626" y="498"/>
                  </a:lnTo>
                  <a:lnTo>
                    <a:pt x="1626" y="504"/>
                  </a:lnTo>
                  <a:lnTo>
                    <a:pt x="1626" y="510"/>
                  </a:lnTo>
                  <a:lnTo>
                    <a:pt x="1620" y="516"/>
                  </a:lnTo>
                  <a:lnTo>
                    <a:pt x="1620" y="522"/>
                  </a:lnTo>
                  <a:lnTo>
                    <a:pt x="1614" y="522"/>
                  </a:lnTo>
                  <a:lnTo>
                    <a:pt x="1608" y="528"/>
                  </a:lnTo>
                  <a:lnTo>
                    <a:pt x="1602" y="522"/>
                  </a:lnTo>
                  <a:lnTo>
                    <a:pt x="1602" y="528"/>
                  </a:lnTo>
                  <a:lnTo>
                    <a:pt x="1602" y="540"/>
                  </a:lnTo>
                  <a:lnTo>
                    <a:pt x="1602" y="558"/>
                  </a:lnTo>
                  <a:lnTo>
                    <a:pt x="1602" y="564"/>
                  </a:lnTo>
                  <a:lnTo>
                    <a:pt x="1602" y="570"/>
                  </a:lnTo>
                  <a:lnTo>
                    <a:pt x="1602" y="576"/>
                  </a:lnTo>
                  <a:lnTo>
                    <a:pt x="1596" y="576"/>
                  </a:lnTo>
                  <a:lnTo>
                    <a:pt x="1632" y="582"/>
                  </a:lnTo>
                  <a:lnTo>
                    <a:pt x="1644" y="618"/>
                  </a:lnTo>
                  <a:lnTo>
                    <a:pt x="1650" y="648"/>
                  </a:lnTo>
                  <a:lnTo>
                    <a:pt x="1662" y="636"/>
                  </a:lnTo>
                  <a:lnTo>
                    <a:pt x="1668" y="636"/>
                  </a:lnTo>
                  <a:lnTo>
                    <a:pt x="1674" y="636"/>
                  </a:lnTo>
                  <a:lnTo>
                    <a:pt x="1680" y="630"/>
                  </a:lnTo>
                  <a:lnTo>
                    <a:pt x="1686" y="630"/>
                  </a:lnTo>
                  <a:lnTo>
                    <a:pt x="1692" y="630"/>
                  </a:lnTo>
                  <a:lnTo>
                    <a:pt x="1698" y="630"/>
                  </a:lnTo>
                  <a:lnTo>
                    <a:pt x="1704" y="630"/>
                  </a:lnTo>
                  <a:lnTo>
                    <a:pt x="1704" y="624"/>
                  </a:lnTo>
                  <a:lnTo>
                    <a:pt x="1710" y="624"/>
                  </a:lnTo>
                  <a:lnTo>
                    <a:pt x="1716" y="624"/>
                  </a:lnTo>
                  <a:lnTo>
                    <a:pt x="1722" y="624"/>
                  </a:lnTo>
                  <a:lnTo>
                    <a:pt x="1728" y="624"/>
                  </a:lnTo>
                  <a:lnTo>
                    <a:pt x="1722" y="618"/>
                  </a:lnTo>
                  <a:lnTo>
                    <a:pt x="1728" y="606"/>
                  </a:lnTo>
                  <a:lnTo>
                    <a:pt x="1734" y="606"/>
                  </a:lnTo>
                  <a:lnTo>
                    <a:pt x="1740" y="600"/>
                  </a:lnTo>
                  <a:lnTo>
                    <a:pt x="1746" y="594"/>
                  </a:lnTo>
                  <a:lnTo>
                    <a:pt x="1752" y="588"/>
                  </a:lnTo>
                  <a:lnTo>
                    <a:pt x="1752" y="582"/>
                  </a:lnTo>
                  <a:lnTo>
                    <a:pt x="1758" y="576"/>
                  </a:lnTo>
                  <a:lnTo>
                    <a:pt x="1764" y="576"/>
                  </a:lnTo>
                  <a:lnTo>
                    <a:pt x="1770" y="570"/>
                  </a:lnTo>
                  <a:lnTo>
                    <a:pt x="1776" y="564"/>
                  </a:lnTo>
                  <a:lnTo>
                    <a:pt x="1788" y="558"/>
                  </a:lnTo>
                  <a:lnTo>
                    <a:pt x="1788" y="546"/>
                  </a:lnTo>
                  <a:lnTo>
                    <a:pt x="1788" y="540"/>
                  </a:lnTo>
                  <a:lnTo>
                    <a:pt x="1794" y="540"/>
                  </a:lnTo>
                  <a:lnTo>
                    <a:pt x="1788" y="534"/>
                  </a:lnTo>
                  <a:lnTo>
                    <a:pt x="1788" y="528"/>
                  </a:lnTo>
                  <a:lnTo>
                    <a:pt x="1794" y="516"/>
                  </a:lnTo>
                  <a:lnTo>
                    <a:pt x="1800" y="510"/>
                  </a:lnTo>
                  <a:lnTo>
                    <a:pt x="1812" y="510"/>
                  </a:lnTo>
                  <a:lnTo>
                    <a:pt x="1818" y="504"/>
                  </a:lnTo>
                  <a:lnTo>
                    <a:pt x="1824" y="504"/>
                  </a:lnTo>
                  <a:lnTo>
                    <a:pt x="1830" y="498"/>
                  </a:lnTo>
                  <a:lnTo>
                    <a:pt x="1836" y="498"/>
                  </a:lnTo>
                  <a:lnTo>
                    <a:pt x="1848" y="492"/>
                  </a:lnTo>
                  <a:lnTo>
                    <a:pt x="1848" y="480"/>
                  </a:lnTo>
                  <a:lnTo>
                    <a:pt x="1854" y="480"/>
                  </a:lnTo>
                  <a:lnTo>
                    <a:pt x="1890" y="504"/>
                  </a:lnTo>
                  <a:lnTo>
                    <a:pt x="1908" y="534"/>
                  </a:lnTo>
                  <a:lnTo>
                    <a:pt x="1902" y="534"/>
                  </a:lnTo>
                  <a:lnTo>
                    <a:pt x="1920" y="528"/>
                  </a:lnTo>
                  <a:lnTo>
                    <a:pt x="1920" y="516"/>
                  </a:lnTo>
                  <a:lnTo>
                    <a:pt x="1944" y="516"/>
                  </a:lnTo>
                  <a:lnTo>
                    <a:pt x="2004" y="516"/>
                  </a:lnTo>
                  <a:lnTo>
                    <a:pt x="2010" y="510"/>
                  </a:lnTo>
                  <a:lnTo>
                    <a:pt x="2004" y="510"/>
                  </a:lnTo>
                  <a:lnTo>
                    <a:pt x="2010" y="498"/>
                  </a:lnTo>
                  <a:lnTo>
                    <a:pt x="2004" y="486"/>
                  </a:lnTo>
                  <a:lnTo>
                    <a:pt x="2004" y="480"/>
                  </a:lnTo>
                  <a:lnTo>
                    <a:pt x="2004" y="474"/>
                  </a:lnTo>
                  <a:lnTo>
                    <a:pt x="2004" y="462"/>
                  </a:lnTo>
                  <a:lnTo>
                    <a:pt x="2004" y="456"/>
                  </a:lnTo>
                  <a:lnTo>
                    <a:pt x="2058" y="462"/>
                  </a:lnTo>
                  <a:lnTo>
                    <a:pt x="2076" y="474"/>
                  </a:lnTo>
                  <a:lnTo>
                    <a:pt x="2082" y="522"/>
                  </a:lnTo>
                  <a:lnTo>
                    <a:pt x="2088" y="516"/>
                  </a:lnTo>
                  <a:lnTo>
                    <a:pt x="2094" y="522"/>
                  </a:lnTo>
                  <a:lnTo>
                    <a:pt x="2100" y="528"/>
                  </a:lnTo>
                  <a:lnTo>
                    <a:pt x="2130" y="540"/>
                  </a:lnTo>
                  <a:lnTo>
                    <a:pt x="2160" y="564"/>
                  </a:lnTo>
                  <a:lnTo>
                    <a:pt x="2166" y="600"/>
                  </a:lnTo>
                  <a:lnTo>
                    <a:pt x="2160" y="618"/>
                  </a:lnTo>
                  <a:lnTo>
                    <a:pt x="2142" y="636"/>
                  </a:lnTo>
                  <a:lnTo>
                    <a:pt x="2148" y="648"/>
                  </a:lnTo>
                  <a:lnTo>
                    <a:pt x="2154" y="660"/>
                  </a:lnTo>
                  <a:lnTo>
                    <a:pt x="2196" y="654"/>
                  </a:lnTo>
                  <a:lnTo>
                    <a:pt x="2214" y="660"/>
                  </a:lnTo>
                  <a:lnTo>
                    <a:pt x="2214" y="666"/>
                  </a:lnTo>
                  <a:lnTo>
                    <a:pt x="2220" y="672"/>
                  </a:lnTo>
                  <a:lnTo>
                    <a:pt x="2214" y="678"/>
                  </a:lnTo>
                  <a:lnTo>
                    <a:pt x="2214" y="684"/>
                  </a:lnTo>
                  <a:lnTo>
                    <a:pt x="2214" y="690"/>
                  </a:lnTo>
                  <a:lnTo>
                    <a:pt x="2208" y="690"/>
                  </a:lnTo>
                  <a:lnTo>
                    <a:pt x="2202" y="696"/>
                  </a:lnTo>
                  <a:lnTo>
                    <a:pt x="2196" y="702"/>
                  </a:lnTo>
                  <a:lnTo>
                    <a:pt x="2190" y="708"/>
                  </a:lnTo>
                  <a:lnTo>
                    <a:pt x="2190" y="720"/>
                  </a:lnTo>
                  <a:lnTo>
                    <a:pt x="2184" y="720"/>
                  </a:lnTo>
                  <a:lnTo>
                    <a:pt x="2178" y="726"/>
                  </a:lnTo>
                  <a:lnTo>
                    <a:pt x="2166" y="732"/>
                  </a:lnTo>
                  <a:lnTo>
                    <a:pt x="2160" y="744"/>
                  </a:lnTo>
                  <a:lnTo>
                    <a:pt x="2154" y="756"/>
                  </a:lnTo>
                  <a:lnTo>
                    <a:pt x="2148" y="762"/>
                  </a:lnTo>
                  <a:lnTo>
                    <a:pt x="2124" y="762"/>
                  </a:lnTo>
                  <a:lnTo>
                    <a:pt x="2124" y="768"/>
                  </a:lnTo>
                  <a:lnTo>
                    <a:pt x="2118" y="768"/>
                  </a:lnTo>
                  <a:lnTo>
                    <a:pt x="2124" y="774"/>
                  </a:lnTo>
                  <a:lnTo>
                    <a:pt x="2118" y="774"/>
                  </a:lnTo>
                  <a:lnTo>
                    <a:pt x="2112" y="774"/>
                  </a:lnTo>
                  <a:lnTo>
                    <a:pt x="2106" y="780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06" y="798"/>
                  </a:lnTo>
                  <a:lnTo>
                    <a:pt x="2106" y="810"/>
                  </a:lnTo>
                  <a:lnTo>
                    <a:pt x="2112" y="828"/>
                  </a:lnTo>
                  <a:lnTo>
                    <a:pt x="2112" y="834"/>
                  </a:lnTo>
                  <a:lnTo>
                    <a:pt x="2112" y="840"/>
                  </a:lnTo>
                  <a:lnTo>
                    <a:pt x="2112" y="834"/>
                  </a:lnTo>
                  <a:lnTo>
                    <a:pt x="2124" y="834"/>
                  </a:lnTo>
                  <a:lnTo>
                    <a:pt x="2130" y="834"/>
                  </a:lnTo>
                  <a:lnTo>
                    <a:pt x="2136" y="840"/>
                  </a:lnTo>
                  <a:lnTo>
                    <a:pt x="2142" y="840"/>
                  </a:lnTo>
                  <a:lnTo>
                    <a:pt x="2154" y="852"/>
                  </a:lnTo>
                  <a:lnTo>
                    <a:pt x="2160" y="852"/>
                  </a:lnTo>
                  <a:lnTo>
                    <a:pt x="2172" y="846"/>
                  </a:lnTo>
                  <a:lnTo>
                    <a:pt x="2178" y="846"/>
                  </a:lnTo>
                  <a:lnTo>
                    <a:pt x="2184" y="846"/>
                  </a:lnTo>
                  <a:lnTo>
                    <a:pt x="2190" y="846"/>
                  </a:lnTo>
                  <a:lnTo>
                    <a:pt x="2196" y="852"/>
                  </a:lnTo>
                  <a:lnTo>
                    <a:pt x="2196" y="858"/>
                  </a:lnTo>
                  <a:lnTo>
                    <a:pt x="2202" y="852"/>
                  </a:lnTo>
                  <a:lnTo>
                    <a:pt x="2208" y="846"/>
                  </a:lnTo>
                  <a:lnTo>
                    <a:pt x="2214" y="846"/>
                  </a:lnTo>
                  <a:lnTo>
                    <a:pt x="2226" y="846"/>
                  </a:lnTo>
                  <a:lnTo>
                    <a:pt x="2232" y="852"/>
                  </a:lnTo>
                  <a:lnTo>
                    <a:pt x="2238" y="852"/>
                  </a:lnTo>
                  <a:lnTo>
                    <a:pt x="2244" y="858"/>
                  </a:lnTo>
                  <a:lnTo>
                    <a:pt x="2250" y="858"/>
                  </a:lnTo>
                  <a:lnTo>
                    <a:pt x="2256" y="858"/>
                  </a:lnTo>
                  <a:lnTo>
                    <a:pt x="2262" y="858"/>
                  </a:lnTo>
                  <a:lnTo>
                    <a:pt x="2268" y="852"/>
                  </a:lnTo>
                  <a:lnTo>
                    <a:pt x="2274" y="852"/>
                  </a:lnTo>
                  <a:lnTo>
                    <a:pt x="2280" y="852"/>
                  </a:lnTo>
                  <a:lnTo>
                    <a:pt x="2286" y="852"/>
                  </a:lnTo>
                  <a:lnTo>
                    <a:pt x="2298" y="858"/>
                  </a:lnTo>
                  <a:lnTo>
                    <a:pt x="2304" y="858"/>
                  </a:lnTo>
                  <a:lnTo>
                    <a:pt x="2310" y="858"/>
                  </a:lnTo>
                  <a:lnTo>
                    <a:pt x="2316" y="852"/>
                  </a:lnTo>
                  <a:lnTo>
                    <a:pt x="2322" y="858"/>
                  </a:lnTo>
                  <a:lnTo>
                    <a:pt x="2328" y="858"/>
                  </a:lnTo>
                  <a:lnTo>
                    <a:pt x="2328" y="852"/>
                  </a:lnTo>
                  <a:lnTo>
                    <a:pt x="2364" y="858"/>
                  </a:lnTo>
                  <a:lnTo>
                    <a:pt x="2376" y="876"/>
                  </a:lnTo>
                  <a:lnTo>
                    <a:pt x="2382" y="936"/>
                  </a:lnTo>
                  <a:lnTo>
                    <a:pt x="2388" y="966"/>
                  </a:lnTo>
                  <a:lnTo>
                    <a:pt x="2382" y="972"/>
                  </a:lnTo>
                  <a:lnTo>
                    <a:pt x="2382" y="978"/>
                  </a:lnTo>
                  <a:lnTo>
                    <a:pt x="2382" y="984"/>
                  </a:lnTo>
                  <a:lnTo>
                    <a:pt x="2388" y="990"/>
                  </a:lnTo>
                  <a:lnTo>
                    <a:pt x="2382" y="990"/>
                  </a:lnTo>
                  <a:lnTo>
                    <a:pt x="2382" y="996"/>
                  </a:lnTo>
                  <a:lnTo>
                    <a:pt x="2376" y="996"/>
                  </a:lnTo>
                  <a:lnTo>
                    <a:pt x="2376" y="1020"/>
                  </a:lnTo>
                  <a:lnTo>
                    <a:pt x="2370" y="1032"/>
                  </a:lnTo>
                  <a:lnTo>
                    <a:pt x="2352" y="1032"/>
                  </a:lnTo>
                  <a:lnTo>
                    <a:pt x="2346" y="1020"/>
                  </a:lnTo>
                  <a:lnTo>
                    <a:pt x="2328" y="1032"/>
                  </a:lnTo>
                  <a:lnTo>
                    <a:pt x="2316" y="1038"/>
                  </a:lnTo>
                  <a:lnTo>
                    <a:pt x="2328" y="1044"/>
                  </a:lnTo>
                  <a:lnTo>
                    <a:pt x="2340" y="1056"/>
                  </a:lnTo>
                  <a:lnTo>
                    <a:pt x="2376" y="1062"/>
                  </a:lnTo>
                  <a:lnTo>
                    <a:pt x="2376" y="1068"/>
                  </a:lnTo>
                  <a:lnTo>
                    <a:pt x="2382" y="1086"/>
                  </a:lnTo>
                  <a:lnTo>
                    <a:pt x="2376" y="1086"/>
                  </a:lnTo>
                  <a:lnTo>
                    <a:pt x="2370" y="1086"/>
                  </a:lnTo>
                  <a:lnTo>
                    <a:pt x="2364" y="1086"/>
                  </a:lnTo>
                  <a:lnTo>
                    <a:pt x="2364" y="1098"/>
                  </a:lnTo>
                  <a:lnTo>
                    <a:pt x="2388" y="1104"/>
                  </a:lnTo>
                  <a:lnTo>
                    <a:pt x="2400" y="1122"/>
                  </a:lnTo>
                  <a:lnTo>
                    <a:pt x="2400" y="1134"/>
                  </a:lnTo>
                  <a:lnTo>
                    <a:pt x="2400" y="1146"/>
                  </a:lnTo>
                  <a:lnTo>
                    <a:pt x="2394" y="1146"/>
                  </a:lnTo>
                  <a:lnTo>
                    <a:pt x="2394" y="1152"/>
                  </a:lnTo>
                  <a:lnTo>
                    <a:pt x="2388" y="1152"/>
                  </a:lnTo>
                  <a:lnTo>
                    <a:pt x="2388" y="1146"/>
                  </a:lnTo>
                  <a:lnTo>
                    <a:pt x="2382" y="1152"/>
                  </a:lnTo>
                  <a:lnTo>
                    <a:pt x="2376" y="1152"/>
                  </a:lnTo>
                  <a:lnTo>
                    <a:pt x="2370" y="1158"/>
                  </a:lnTo>
                  <a:lnTo>
                    <a:pt x="2370" y="1164"/>
                  </a:lnTo>
                  <a:lnTo>
                    <a:pt x="2364" y="1170"/>
                  </a:lnTo>
                  <a:lnTo>
                    <a:pt x="2370" y="1170"/>
                  </a:lnTo>
                  <a:lnTo>
                    <a:pt x="2376" y="1170"/>
                  </a:lnTo>
                  <a:lnTo>
                    <a:pt x="2370" y="1176"/>
                  </a:lnTo>
                  <a:lnTo>
                    <a:pt x="2364" y="1176"/>
                  </a:lnTo>
                  <a:lnTo>
                    <a:pt x="2358" y="1182"/>
                  </a:lnTo>
                  <a:lnTo>
                    <a:pt x="2352" y="1182"/>
                  </a:lnTo>
                  <a:lnTo>
                    <a:pt x="2346" y="1188"/>
                  </a:lnTo>
                  <a:lnTo>
                    <a:pt x="2340" y="1182"/>
                  </a:lnTo>
                  <a:lnTo>
                    <a:pt x="2334" y="1182"/>
                  </a:lnTo>
                  <a:lnTo>
                    <a:pt x="2334" y="1188"/>
                  </a:lnTo>
                  <a:lnTo>
                    <a:pt x="2328" y="1194"/>
                  </a:lnTo>
                  <a:lnTo>
                    <a:pt x="2328" y="1200"/>
                  </a:lnTo>
                  <a:lnTo>
                    <a:pt x="2322" y="1224"/>
                  </a:lnTo>
                  <a:lnTo>
                    <a:pt x="2328" y="1230"/>
                  </a:lnTo>
                  <a:lnTo>
                    <a:pt x="2358" y="1230"/>
                  </a:lnTo>
                  <a:lnTo>
                    <a:pt x="2358" y="1242"/>
                  </a:lnTo>
                  <a:lnTo>
                    <a:pt x="2358" y="1254"/>
                  </a:lnTo>
                  <a:lnTo>
                    <a:pt x="2346" y="1254"/>
                  </a:lnTo>
                  <a:lnTo>
                    <a:pt x="2346" y="1278"/>
                  </a:lnTo>
                  <a:lnTo>
                    <a:pt x="2358" y="1278"/>
                  </a:lnTo>
                  <a:lnTo>
                    <a:pt x="2358" y="1284"/>
                  </a:lnTo>
                  <a:lnTo>
                    <a:pt x="2376" y="1284"/>
                  </a:lnTo>
                  <a:lnTo>
                    <a:pt x="2388" y="1278"/>
                  </a:lnTo>
                  <a:lnTo>
                    <a:pt x="2406" y="1278"/>
                  </a:lnTo>
                  <a:lnTo>
                    <a:pt x="2430" y="1284"/>
                  </a:lnTo>
                  <a:lnTo>
                    <a:pt x="2430" y="1302"/>
                  </a:lnTo>
                  <a:lnTo>
                    <a:pt x="2430" y="1314"/>
                  </a:lnTo>
                  <a:lnTo>
                    <a:pt x="2424" y="1326"/>
                  </a:lnTo>
                  <a:lnTo>
                    <a:pt x="2412" y="1326"/>
                  </a:lnTo>
                  <a:lnTo>
                    <a:pt x="2412" y="1344"/>
                  </a:lnTo>
                  <a:lnTo>
                    <a:pt x="2406" y="1344"/>
                  </a:lnTo>
                  <a:lnTo>
                    <a:pt x="2400" y="1362"/>
                  </a:lnTo>
                  <a:lnTo>
                    <a:pt x="2394" y="1368"/>
                  </a:lnTo>
                  <a:lnTo>
                    <a:pt x="2388" y="1374"/>
                  </a:lnTo>
                  <a:lnTo>
                    <a:pt x="2382" y="1380"/>
                  </a:lnTo>
                  <a:lnTo>
                    <a:pt x="2376" y="1386"/>
                  </a:lnTo>
                  <a:lnTo>
                    <a:pt x="2376" y="1392"/>
                  </a:lnTo>
                  <a:lnTo>
                    <a:pt x="2370" y="1404"/>
                  </a:lnTo>
                  <a:lnTo>
                    <a:pt x="2364" y="1416"/>
                  </a:lnTo>
                  <a:lnTo>
                    <a:pt x="2346" y="1434"/>
                  </a:lnTo>
                  <a:lnTo>
                    <a:pt x="2328" y="1440"/>
                  </a:lnTo>
                  <a:lnTo>
                    <a:pt x="2328" y="1446"/>
                  </a:lnTo>
                  <a:lnTo>
                    <a:pt x="2322" y="1452"/>
                  </a:lnTo>
                  <a:lnTo>
                    <a:pt x="2316" y="1452"/>
                  </a:lnTo>
                  <a:lnTo>
                    <a:pt x="2304" y="1446"/>
                  </a:lnTo>
                  <a:lnTo>
                    <a:pt x="2298" y="1446"/>
                  </a:lnTo>
                  <a:lnTo>
                    <a:pt x="2298" y="1434"/>
                  </a:lnTo>
                  <a:lnTo>
                    <a:pt x="2292" y="1434"/>
                  </a:lnTo>
                  <a:lnTo>
                    <a:pt x="2286" y="1428"/>
                  </a:lnTo>
                  <a:lnTo>
                    <a:pt x="2274" y="1416"/>
                  </a:lnTo>
                  <a:lnTo>
                    <a:pt x="2256" y="1404"/>
                  </a:lnTo>
                  <a:lnTo>
                    <a:pt x="2244" y="1386"/>
                  </a:lnTo>
                  <a:lnTo>
                    <a:pt x="2220" y="1368"/>
                  </a:lnTo>
                  <a:lnTo>
                    <a:pt x="2208" y="1362"/>
                  </a:lnTo>
                  <a:lnTo>
                    <a:pt x="2202" y="1350"/>
                  </a:lnTo>
                  <a:lnTo>
                    <a:pt x="2196" y="1350"/>
                  </a:lnTo>
                  <a:lnTo>
                    <a:pt x="2190" y="1356"/>
                  </a:lnTo>
                  <a:lnTo>
                    <a:pt x="2184" y="1356"/>
                  </a:lnTo>
                  <a:lnTo>
                    <a:pt x="2094" y="1350"/>
                  </a:lnTo>
                  <a:lnTo>
                    <a:pt x="2058" y="1350"/>
                  </a:lnTo>
                  <a:lnTo>
                    <a:pt x="2034" y="1890"/>
                  </a:lnTo>
                  <a:lnTo>
                    <a:pt x="2064" y="1890"/>
                  </a:lnTo>
                  <a:lnTo>
                    <a:pt x="2070" y="1896"/>
                  </a:lnTo>
                  <a:lnTo>
                    <a:pt x="2076" y="1896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8" name="Freeform 33">
              <a:extLst>
                <a:ext uri="{FF2B5EF4-FFF2-40B4-BE49-F238E27FC236}">
                  <a16:creationId xmlns:a16="http://schemas.microsoft.com/office/drawing/2014/main" id="{0E96F118-1F4D-4E52-AF27-149259451CD6}"/>
                </a:ext>
              </a:extLst>
            </p:cNvPr>
            <p:cNvSpPr>
              <a:spLocks/>
            </p:cNvSpPr>
            <p:nvPr/>
          </p:nvSpPr>
          <p:spPr bwMode="gray">
            <a:xfrm>
              <a:off x="1266662" y="1459989"/>
              <a:ext cx="903421" cy="778302"/>
            </a:xfrm>
            <a:custGeom>
              <a:avLst/>
              <a:gdLst>
                <a:gd name="T0" fmla="*/ 143 w 1698"/>
                <a:gd name="T1" fmla="*/ 43 h 1464"/>
                <a:gd name="T2" fmla="*/ 131 w 1698"/>
                <a:gd name="T3" fmla="*/ 44 h 1464"/>
                <a:gd name="T4" fmla="*/ 126 w 1698"/>
                <a:gd name="T5" fmla="*/ 41 h 1464"/>
                <a:gd name="T6" fmla="*/ 119 w 1698"/>
                <a:gd name="T7" fmla="*/ 45 h 1464"/>
                <a:gd name="T8" fmla="*/ 111 w 1698"/>
                <a:gd name="T9" fmla="*/ 46 h 1464"/>
                <a:gd name="T10" fmla="*/ 107 w 1698"/>
                <a:gd name="T11" fmla="*/ 50 h 1464"/>
                <a:gd name="T12" fmla="*/ 107 w 1698"/>
                <a:gd name="T13" fmla="*/ 60 h 1464"/>
                <a:gd name="T14" fmla="*/ 104 w 1698"/>
                <a:gd name="T15" fmla="*/ 62 h 1464"/>
                <a:gd name="T16" fmla="*/ 97 w 1698"/>
                <a:gd name="T17" fmla="*/ 59 h 1464"/>
                <a:gd name="T18" fmla="*/ 92 w 1698"/>
                <a:gd name="T19" fmla="*/ 59 h 1464"/>
                <a:gd name="T20" fmla="*/ 90 w 1698"/>
                <a:gd name="T21" fmla="*/ 62 h 1464"/>
                <a:gd name="T22" fmla="*/ 93 w 1698"/>
                <a:gd name="T23" fmla="*/ 77 h 1464"/>
                <a:gd name="T24" fmla="*/ 85 w 1698"/>
                <a:gd name="T25" fmla="*/ 88 h 1464"/>
                <a:gd name="T26" fmla="*/ 70 w 1698"/>
                <a:gd name="T27" fmla="*/ 89 h 1464"/>
                <a:gd name="T28" fmla="*/ 65 w 1698"/>
                <a:gd name="T29" fmla="*/ 88 h 1464"/>
                <a:gd name="T30" fmla="*/ 50 w 1698"/>
                <a:gd name="T31" fmla="*/ 88 h 1464"/>
                <a:gd name="T32" fmla="*/ 48 w 1698"/>
                <a:gd name="T33" fmla="*/ 107 h 1464"/>
                <a:gd name="T34" fmla="*/ 47 w 1698"/>
                <a:gd name="T35" fmla="*/ 120 h 1464"/>
                <a:gd name="T36" fmla="*/ 43 w 1698"/>
                <a:gd name="T37" fmla="*/ 121 h 1464"/>
                <a:gd name="T38" fmla="*/ 40 w 1698"/>
                <a:gd name="T39" fmla="*/ 120 h 1464"/>
                <a:gd name="T40" fmla="*/ 35 w 1698"/>
                <a:gd name="T41" fmla="*/ 122 h 1464"/>
                <a:gd name="T42" fmla="*/ 29 w 1698"/>
                <a:gd name="T43" fmla="*/ 123 h 1464"/>
                <a:gd name="T44" fmla="*/ 24 w 1698"/>
                <a:gd name="T45" fmla="*/ 125 h 1464"/>
                <a:gd name="T46" fmla="*/ 20 w 1698"/>
                <a:gd name="T47" fmla="*/ 125 h 1464"/>
                <a:gd name="T48" fmla="*/ 18 w 1698"/>
                <a:gd name="T49" fmla="*/ 122 h 1464"/>
                <a:gd name="T50" fmla="*/ 26 w 1698"/>
                <a:gd name="T51" fmla="*/ 108 h 1464"/>
                <a:gd name="T52" fmla="*/ 24 w 1698"/>
                <a:gd name="T53" fmla="*/ 89 h 1464"/>
                <a:gd name="T54" fmla="*/ 28 w 1698"/>
                <a:gd name="T55" fmla="*/ 85 h 1464"/>
                <a:gd name="T56" fmla="*/ 32 w 1698"/>
                <a:gd name="T57" fmla="*/ 80 h 1464"/>
                <a:gd name="T58" fmla="*/ 36 w 1698"/>
                <a:gd name="T59" fmla="*/ 86 h 1464"/>
                <a:gd name="T60" fmla="*/ 39 w 1698"/>
                <a:gd name="T61" fmla="*/ 80 h 1464"/>
                <a:gd name="T62" fmla="*/ 41 w 1698"/>
                <a:gd name="T63" fmla="*/ 73 h 1464"/>
                <a:gd name="T64" fmla="*/ 38 w 1698"/>
                <a:gd name="T65" fmla="*/ 64 h 1464"/>
                <a:gd name="T66" fmla="*/ 39 w 1698"/>
                <a:gd name="T67" fmla="*/ 59 h 1464"/>
                <a:gd name="T68" fmla="*/ 32 w 1698"/>
                <a:gd name="T69" fmla="*/ 54 h 1464"/>
                <a:gd name="T70" fmla="*/ 32 w 1698"/>
                <a:gd name="T71" fmla="*/ 45 h 1464"/>
                <a:gd name="T72" fmla="*/ 31 w 1698"/>
                <a:gd name="T73" fmla="*/ 41 h 1464"/>
                <a:gd name="T74" fmla="*/ 24 w 1698"/>
                <a:gd name="T75" fmla="*/ 43 h 1464"/>
                <a:gd name="T76" fmla="*/ 17 w 1698"/>
                <a:gd name="T77" fmla="*/ 40 h 1464"/>
                <a:gd name="T78" fmla="*/ 11 w 1698"/>
                <a:gd name="T79" fmla="*/ 38 h 1464"/>
                <a:gd name="T80" fmla="*/ 2 w 1698"/>
                <a:gd name="T81" fmla="*/ 36 h 1464"/>
                <a:gd name="T82" fmla="*/ 0 w 1698"/>
                <a:gd name="T83" fmla="*/ 24 h 1464"/>
                <a:gd name="T84" fmla="*/ 11 w 1698"/>
                <a:gd name="T85" fmla="*/ 18 h 1464"/>
                <a:gd name="T86" fmla="*/ 19 w 1698"/>
                <a:gd name="T87" fmla="*/ 10 h 1464"/>
                <a:gd name="T88" fmla="*/ 28 w 1698"/>
                <a:gd name="T89" fmla="*/ 9 h 1464"/>
                <a:gd name="T90" fmla="*/ 40 w 1698"/>
                <a:gd name="T91" fmla="*/ 6 h 1464"/>
                <a:gd name="T92" fmla="*/ 49 w 1698"/>
                <a:gd name="T93" fmla="*/ 8 h 1464"/>
                <a:gd name="T94" fmla="*/ 56 w 1698"/>
                <a:gd name="T95" fmla="*/ 8 h 1464"/>
                <a:gd name="T96" fmla="*/ 64 w 1698"/>
                <a:gd name="T97" fmla="*/ 7 h 1464"/>
                <a:gd name="T98" fmla="*/ 74 w 1698"/>
                <a:gd name="T99" fmla="*/ 1 h 1464"/>
                <a:gd name="T100" fmla="*/ 83 w 1698"/>
                <a:gd name="T101" fmla="*/ 3 h 1464"/>
                <a:gd name="T102" fmla="*/ 99 w 1698"/>
                <a:gd name="T103" fmla="*/ 9 h 1464"/>
                <a:gd name="T104" fmla="*/ 112 w 1698"/>
                <a:gd name="T105" fmla="*/ 14 h 1464"/>
                <a:gd name="T106" fmla="*/ 119 w 1698"/>
                <a:gd name="T107" fmla="*/ 12 h 1464"/>
                <a:gd name="T108" fmla="*/ 128 w 1698"/>
                <a:gd name="T109" fmla="*/ 17 h 1464"/>
                <a:gd name="T110" fmla="*/ 141 w 1698"/>
                <a:gd name="T111" fmla="*/ 29 h 1464"/>
                <a:gd name="T112" fmla="*/ 145 w 1698"/>
                <a:gd name="T113" fmla="*/ 35 h 14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98"/>
                <a:gd name="T172" fmla="*/ 0 h 1464"/>
                <a:gd name="T173" fmla="*/ 1698 w 1698"/>
                <a:gd name="T174" fmla="*/ 1464 h 14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98" h="1464">
                  <a:moveTo>
                    <a:pt x="1698" y="462"/>
                  </a:moveTo>
                  <a:lnTo>
                    <a:pt x="1686" y="468"/>
                  </a:lnTo>
                  <a:lnTo>
                    <a:pt x="1680" y="474"/>
                  </a:lnTo>
                  <a:lnTo>
                    <a:pt x="1674" y="480"/>
                  </a:lnTo>
                  <a:lnTo>
                    <a:pt x="1668" y="480"/>
                  </a:lnTo>
                  <a:lnTo>
                    <a:pt x="1662" y="486"/>
                  </a:lnTo>
                  <a:lnTo>
                    <a:pt x="1656" y="492"/>
                  </a:lnTo>
                  <a:lnTo>
                    <a:pt x="1644" y="498"/>
                  </a:lnTo>
                  <a:lnTo>
                    <a:pt x="1626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0" y="516"/>
                  </a:lnTo>
                  <a:lnTo>
                    <a:pt x="1590" y="522"/>
                  </a:lnTo>
                  <a:lnTo>
                    <a:pt x="1566" y="522"/>
                  </a:lnTo>
                  <a:lnTo>
                    <a:pt x="1506" y="510"/>
                  </a:lnTo>
                  <a:lnTo>
                    <a:pt x="1500" y="510"/>
                  </a:lnTo>
                  <a:lnTo>
                    <a:pt x="1488" y="504"/>
                  </a:lnTo>
                  <a:lnTo>
                    <a:pt x="1482" y="498"/>
                  </a:lnTo>
                  <a:lnTo>
                    <a:pt x="1476" y="498"/>
                  </a:lnTo>
                  <a:lnTo>
                    <a:pt x="1476" y="492"/>
                  </a:lnTo>
                  <a:lnTo>
                    <a:pt x="1470" y="492"/>
                  </a:lnTo>
                  <a:lnTo>
                    <a:pt x="1464" y="486"/>
                  </a:lnTo>
                  <a:lnTo>
                    <a:pt x="1452" y="486"/>
                  </a:lnTo>
                  <a:lnTo>
                    <a:pt x="1446" y="474"/>
                  </a:lnTo>
                  <a:lnTo>
                    <a:pt x="1434" y="468"/>
                  </a:lnTo>
                  <a:lnTo>
                    <a:pt x="1416" y="468"/>
                  </a:lnTo>
                  <a:lnTo>
                    <a:pt x="1392" y="468"/>
                  </a:lnTo>
                  <a:lnTo>
                    <a:pt x="1374" y="474"/>
                  </a:lnTo>
                  <a:lnTo>
                    <a:pt x="1368" y="474"/>
                  </a:lnTo>
                  <a:lnTo>
                    <a:pt x="1368" y="486"/>
                  </a:lnTo>
                  <a:lnTo>
                    <a:pt x="1368" y="498"/>
                  </a:lnTo>
                  <a:lnTo>
                    <a:pt x="1368" y="522"/>
                  </a:lnTo>
                  <a:lnTo>
                    <a:pt x="1368" y="534"/>
                  </a:lnTo>
                  <a:lnTo>
                    <a:pt x="1362" y="546"/>
                  </a:lnTo>
                  <a:lnTo>
                    <a:pt x="1356" y="546"/>
                  </a:lnTo>
                  <a:lnTo>
                    <a:pt x="1344" y="540"/>
                  </a:lnTo>
                  <a:lnTo>
                    <a:pt x="1338" y="534"/>
                  </a:lnTo>
                  <a:lnTo>
                    <a:pt x="1308" y="522"/>
                  </a:lnTo>
                  <a:lnTo>
                    <a:pt x="1296" y="522"/>
                  </a:lnTo>
                  <a:lnTo>
                    <a:pt x="1278" y="528"/>
                  </a:lnTo>
                  <a:lnTo>
                    <a:pt x="1260" y="534"/>
                  </a:lnTo>
                  <a:lnTo>
                    <a:pt x="1242" y="546"/>
                  </a:lnTo>
                  <a:lnTo>
                    <a:pt x="1236" y="552"/>
                  </a:lnTo>
                  <a:lnTo>
                    <a:pt x="1224" y="558"/>
                  </a:lnTo>
                  <a:lnTo>
                    <a:pt x="1218" y="558"/>
                  </a:lnTo>
                  <a:lnTo>
                    <a:pt x="1218" y="564"/>
                  </a:lnTo>
                  <a:lnTo>
                    <a:pt x="1224" y="570"/>
                  </a:lnTo>
                  <a:lnTo>
                    <a:pt x="1224" y="582"/>
                  </a:lnTo>
                  <a:lnTo>
                    <a:pt x="1224" y="594"/>
                  </a:lnTo>
                  <a:lnTo>
                    <a:pt x="1212" y="618"/>
                  </a:lnTo>
                  <a:lnTo>
                    <a:pt x="1212" y="624"/>
                  </a:lnTo>
                  <a:lnTo>
                    <a:pt x="1212" y="630"/>
                  </a:lnTo>
                  <a:lnTo>
                    <a:pt x="1212" y="636"/>
                  </a:lnTo>
                  <a:lnTo>
                    <a:pt x="1218" y="654"/>
                  </a:lnTo>
                  <a:lnTo>
                    <a:pt x="1224" y="672"/>
                  </a:lnTo>
                  <a:lnTo>
                    <a:pt x="1230" y="696"/>
                  </a:lnTo>
                  <a:lnTo>
                    <a:pt x="1236" y="708"/>
                  </a:lnTo>
                  <a:lnTo>
                    <a:pt x="1236" y="714"/>
                  </a:lnTo>
                  <a:lnTo>
                    <a:pt x="1236" y="720"/>
                  </a:lnTo>
                  <a:lnTo>
                    <a:pt x="1218" y="726"/>
                  </a:lnTo>
                  <a:lnTo>
                    <a:pt x="1212" y="726"/>
                  </a:lnTo>
                  <a:lnTo>
                    <a:pt x="1206" y="726"/>
                  </a:lnTo>
                  <a:lnTo>
                    <a:pt x="1194" y="720"/>
                  </a:lnTo>
                  <a:lnTo>
                    <a:pt x="1194" y="714"/>
                  </a:lnTo>
                  <a:lnTo>
                    <a:pt x="1176" y="714"/>
                  </a:lnTo>
                  <a:lnTo>
                    <a:pt x="1164" y="708"/>
                  </a:lnTo>
                  <a:lnTo>
                    <a:pt x="1158" y="708"/>
                  </a:lnTo>
                  <a:lnTo>
                    <a:pt x="1140" y="702"/>
                  </a:lnTo>
                  <a:lnTo>
                    <a:pt x="1134" y="696"/>
                  </a:lnTo>
                  <a:lnTo>
                    <a:pt x="1128" y="690"/>
                  </a:lnTo>
                  <a:lnTo>
                    <a:pt x="1116" y="678"/>
                  </a:lnTo>
                  <a:lnTo>
                    <a:pt x="1110" y="678"/>
                  </a:lnTo>
                  <a:lnTo>
                    <a:pt x="1104" y="672"/>
                  </a:lnTo>
                  <a:lnTo>
                    <a:pt x="1092" y="672"/>
                  </a:lnTo>
                  <a:lnTo>
                    <a:pt x="1086" y="672"/>
                  </a:lnTo>
                  <a:lnTo>
                    <a:pt x="1080" y="672"/>
                  </a:lnTo>
                  <a:lnTo>
                    <a:pt x="1074" y="672"/>
                  </a:lnTo>
                  <a:lnTo>
                    <a:pt x="1068" y="672"/>
                  </a:lnTo>
                  <a:lnTo>
                    <a:pt x="1062" y="678"/>
                  </a:lnTo>
                  <a:lnTo>
                    <a:pt x="1056" y="678"/>
                  </a:lnTo>
                  <a:lnTo>
                    <a:pt x="1056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6"/>
                  </a:lnTo>
                  <a:lnTo>
                    <a:pt x="1032" y="708"/>
                  </a:lnTo>
                  <a:lnTo>
                    <a:pt x="1026" y="708"/>
                  </a:lnTo>
                  <a:lnTo>
                    <a:pt x="1032" y="714"/>
                  </a:lnTo>
                  <a:lnTo>
                    <a:pt x="1026" y="720"/>
                  </a:lnTo>
                  <a:lnTo>
                    <a:pt x="1020" y="720"/>
                  </a:lnTo>
                  <a:lnTo>
                    <a:pt x="1014" y="732"/>
                  </a:lnTo>
                  <a:lnTo>
                    <a:pt x="1014" y="744"/>
                  </a:lnTo>
                  <a:lnTo>
                    <a:pt x="1038" y="810"/>
                  </a:lnTo>
                  <a:lnTo>
                    <a:pt x="1050" y="834"/>
                  </a:lnTo>
                  <a:lnTo>
                    <a:pt x="1056" y="858"/>
                  </a:lnTo>
                  <a:lnTo>
                    <a:pt x="1062" y="876"/>
                  </a:lnTo>
                  <a:lnTo>
                    <a:pt x="1068" y="882"/>
                  </a:lnTo>
                  <a:lnTo>
                    <a:pt x="1062" y="972"/>
                  </a:lnTo>
                  <a:lnTo>
                    <a:pt x="1056" y="972"/>
                  </a:lnTo>
                  <a:lnTo>
                    <a:pt x="1050" y="996"/>
                  </a:lnTo>
                  <a:lnTo>
                    <a:pt x="1044" y="1014"/>
                  </a:lnTo>
                  <a:lnTo>
                    <a:pt x="1008" y="1014"/>
                  </a:lnTo>
                  <a:lnTo>
                    <a:pt x="1008" y="1008"/>
                  </a:lnTo>
                  <a:lnTo>
                    <a:pt x="990" y="1008"/>
                  </a:lnTo>
                  <a:lnTo>
                    <a:pt x="972" y="1014"/>
                  </a:lnTo>
                  <a:lnTo>
                    <a:pt x="948" y="1020"/>
                  </a:lnTo>
                  <a:lnTo>
                    <a:pt x="918" y="1026"/>
                  </a:lnTo>
                  <a:lnTo>
                    <a:pt x="840" y="1032"/>
                  </a:lnTo>
                  <a:lnTo>
                    <a:pt x="834" y="1032"/>
                  </a:lnTo>
                  <a:lnTo>
                    <a:pt x="834" y="1026"/>
                  </a:lnTo>
                  <a:lnTo>
                    <a:pt x="822" y="1026"/>
                  </a:lnTo>
                  <a:lnTo>
                    <a:pt x="816" y="1032"/>
                  </a:lnTo>
                  <a:lnTo>
                    <a:pt x="804" y="1032"/>
                  </a:lnTo>
                  <a:lnTo>
                    <a:pt x="798" y="1026"/>
                  </a:lnTo>
                  <a:lnTo>
                    <a:pt x="780" y="1026"/>
                  </a:lnTo>
                  <a:lnTo>
                    <a:pt x="762" y="1026"/>
                  </a:lnTo>
                  <a:lnTo>
                    <a:pt x="756" y="1026"/>
                  </a:lnTo>
                  <a:lnTo>
                    <a:pt x="750" y="1026"/>
                  </a:lnTo>
                  <a:lnTo>
                    <a:pt x="756" y="1020"/>
                  </a:lnTo>
                  <a:lnTo>
                    <a:pt x="750" y="1020"/>
                  </a:lnTo>
                  <a:lnTo>
                    <a:pt x="744" y="1014"/>
                  </a:lnTo>
                  <a:lnTo>
                    <a:pt x="684" y="1020"/>
                  </a:lnTo>
                  <a:lnTo>
                    <a:pt x="648" y="1020"/>
                  </a:lnTo>
                  <a:lnTo>
                    <a:pt x="630" y="1020"/>
                  </a:lnTo>
                  <a:lnTo>
                    <a:pt x="618" y="1020"/>
                  </a:lnTo>
                  <a:lnTo>
                    <a:pt x="606" y="1014"/>
                  </a:lnTo>
                  <a:lnTo>
                    <a:pt x="582" y="1014"/>
                  </a:lnTo>
                  <a:lnTo>
                    <a:pt x="576" y="1014"/>
                  </a:lnTo>
                  <a:lnTo>
                    <a:pt x="570" y="1014"/>
                  </a:lnTo>
                  <a:lnTo>
                    <a:pt x="564" y="1020"/>
                  </a:lnTo>
                  <a:lnTo>
                    <a:pt x="558" y="1026"/>
                  </a:lnTo>
                  <a:lnTo>
                    <a:pt x="552" y="1032"/>
                  </a:lnTo>
                  <a:lnTo>
                    <a:pt x="552" y="1038"/>
                  </a:lnTo>
                  <a:lnTo>
                    <a:pt x="558" y="1194"/>
                  </a:lnTo>
                  <a:lnTo>
                    <a:pt x="558" y="1206"/>
                  </a:lnTo>
                  <a:lnTo>
                    <a:pt x="552" y="1218"/>
                  </a:lnTo>
                  <a:lnTo>
                    <a:pt x="552" y="1236"/>
                  </a:lnTo>
                  <a:lnTo>
                    <a:pt x="546" y="1272"/>
                  </a:lnTo>
                  <a:lnTo>
                    <a:pt x="546" y="1308"/>
                  </a:lnTo>
                  <a:lnTo>
                    <a:pt x="540" y="1332"/>
                  </a:lnTo>
                  <a:lnTo>
                    <a:pt x="546" y="1356"/>
                  </a:lnTo>
                  <a:lnTo>
                    <a:pt x="546" y="1362"/>
                  </a:lnTo>
                  <a:lnTo>
                    <a:pt x="546" y="1374"/>
                  </a:lnTo>
                  <a:lnTo>
                    <a:pt x="546" y="1380"/>
                  </a:lnTo>
                  <a:lnTo>
                    <a:pt x="540" y="1380"/>
                  </a:lnTo>
                  <a:lnTo>
                    <a:pt x="522" y="1380"/>
                  </a:lnTo>
                  <a:lnTo>
                    <a:pt x="516" y="1380"/>
                  </a:lnTo>
                  <a:lnTo>
                    <a:pt x="516" y="1386"/>
                  </a:lnTo>
                  <a:lnTo>
                    <a:pt x="516" y="1392"/>
                  </a:lnTo>
                  <a:lnTo>
                    <a:pt x="510" y="1392"/>
                  </a:lnTo>
                  <a:lnTo>
                    <a:pt x="504" y="1386"/>
                  </a:lnTo>
                  <a:lnTo>
                    <a:pt x="498" y="1392"/>
                  </a:lnTo>
                  <a:lnTo>
                    <a:pt x="492" y="1398"/>
                  </a:lnTo>
                  <a:lnTo>
                    <a:pt x="486" y="1398"/>
                  </a:lnTo>
                  <a:lnTo>
                    <a:pt x="486" y="1392"/>
                  </a:lnTo>
                  <a:lnTo>
                    <a:pt x="486" y="1380"/>
                  </a:lnTo>
                  <a:lnTo>
                    <a:pt x="486" y="1374"/>
                  </a:lnTo>
                  <a:lnTo>
                    <a:pt x="480" y="1374"/>
                  </a:lnTo>
                  <a:lnTo>
                    <a:pt x="474" y="1374"/>
                  </a:lnTo>
                  <a:lnTo>
                    <a:pt x="468" y="1380"/>
                  </a:lnTo>
                  <a:lnTo>
                    <a:pt x="462" y="1380"/>
                  </a:lnTo>
                  <a:lnTo>
                    <a:pt x="456" y="1380"/>
                  </a:lnTo>
                  <a:lnTo>
                    <a:pt x="450" y="1386"/>
                  </a:lnTo>
                  <a:lnTo>
                    <a:pt x="444" y="1386"/>
                  </a:lnTo>
                  <a:lnTo>
                    <a:pt x="444" y="1392"/>
                  </a:lnTo>
                  <a:lnTo>
                    <a:pt x="432" y="1398"/>
                  </a:lnTo>
                  <a:lnTo>
                    <a:pt x="426" y="1404"/>
                  </a:lnTo>
                  <a:lnTo>
                    <a:pt x="420" y="1404"/>
                  </a:lnTo>
                  <a:lnTo>
                    <a:pt x="408" y="1404"/>
                  </a:lnTo>
                  <a:lnTo>
                    <a:pt x="378" y="1410"/>
                  </a:lnTo>
                  <a:lnTo>
                    <a:pt x="372" y="1410"/>
                  </a:lnTo>
                  <a:lnTo>
                    <a:pt x="360" y="1410"/>
                  </a:lnTo>
                  <a:lnTo>
                    <a:pt x="354" y="1416"/>
                  </a:lnTo>
                  <a:lnTo>
                    <a:pt x="348" y="1416"/>
                  </a:lnTo>
                  <a:lnTo>
                    <a:pt x="342" y="1410"/>
                  </a:lnTo>
                  <a:lnTo>
                    <a:pt x="336" y="1410"/>
                  </a:lnTo>
                  <a:lnTo>
                    <a:pt x="336" y="1416"/>
                  </a:lnTo>
                  <a:lnTo>
                    <a:pt x="330" y="1422"/>
                  </a:lnTo>
                  <a:lnTo>
                    <a:pt x="324" y="1422"/>
                  </a:lnTo>
                  <a:lnTo>
                    <a:pt x="318" y="1422"/>
                  </a:lnTo>
                  <a:lnTo>
                    <a:pt x="312" y="1428"/>
                  </a:lnTo>
                  <a:lnTo>
                    <a:pt x="312" y="1434"/>
                  </a:lnTo>
                  <a:lnTo>
                    <a:pt x="300" y="1428"/>
                  </a:lnTo>
                  <a:lnTo>
                    <a:pt x="288" y="1434"/>
                  </a:lnTo>
                  <a:lnTo>
                    <a:pt x="282" y="1440"/>
                  </a:lnTo>
                  <a:lnTo>
                    <a:pt x="282" y="1446"/>
                  </a:lnTo>
                  <a:lnTo>
                    <a:pt x="276" y="1446"/>
                  </a:lnTo>
                  <a:lnTo>
                    <a:pt x="276" y="1452"/>
                  </a:lnTo>
                  <a:lnTo>
                    <a:pt x="270" y="1452"/>
                  </a:lnTo>
                  <a:lnTo>
                    <a:pt x="258" y="1464"/>
                  </a:lnTo>
                  <a:lnTo>
                    <a:pt x="240" y="1458"/>
                  </a:lnTo>
                  <a:lnTo>
                    <a:pt x="234" y="1452"/>
                  </a:lnTo>
                  <a:lnTo>
                    <a:pt x="234" y="1446"/>
                  </a:lnTo>
                  <a:lnTo>
                    <a:pt x="228" y="1446"/>
                  </a:lnTo>
                  <a:lnTo>
                    <a:pt x="222" y="1440"/>
                  </a:lnTo>
                  <a:lnTo>
                    <a:pt x="216" y="1440"/>
                  </a:lnTo>
                  <a:lnTo>
                    <a:pt x="210" y="1428"/>
                  </a:lnTo>
                  <a:lnTo>
                    <a:pt x="210" y="1422"/>
                  </a:lnTo>
                  <a:lnTo>
                    <a:pt x="198" y="1416"/>
                  </a:lnTo>
                  <a:lnTo>
                    <a:pt x="204" y="1410"/>
                  </a:lnTo>
                  <a:lnTo>
                    <a:pt x="210" y="1404"/>
                  </a:lnTo>
                  <a:lnTo>
                    <a:pt x="210" y="1398"/>
                  </a:lnTo>
                  <a:lnTo>
                    <a:pt x="252" y="1368"/>
                  </a:lnTo>
                  <a:lnTo>
                    <a:pt x="276" y="1350"/>
                  </a:lnTo>
                  <a:lnTo>
                    <a:pt x="300" y="1338"/>
                  </a:lnTo>
                  <a:lnTo>
                    <a:pt x="294" y="1314"/>
                  </a:lnTo>
                  <a:lnTo>
                    <a:pt x="288" y="1308"/>
                  </a:lnTo>
                  <a:lnTo>
                    <a:pt x="300" y="1266"/>
                  </a:lnTo>
                  <a:lnTo>
                    <a:pt x="300" y="1242"/>
                  </a:lnTo>
                  <a:lnTo>
                    <a:pt x="300" y="1206"/>
                  </a:lnTo>
                  <a:lnTo>
                    <a:pt x="300" y="1164"/>
                  </a:lnTo>
                  <a:lnTo>
                    <a:pt x="294" y="1134"/>
                  </a:lnTo>
                  <a:lnTo>
                    <a:pt x="282" y="1086"/>
                  </a:lnTo>
                  <a:lnTo>
                    <a:pt x="276" y="1074"/>
                  </a:lnTo>
                  <a:lnTo>
                    <a:pt x="276" y="1056"/>
                  </a:lnTo>
                  <a:lnTo>
                    <a:pt x="270" y="1038"/>
                  </a:lnTo>
                  <a:lnTo>
                    <a:pt x="270" y="1020"/>
                  </a:lnTo>
                  <a:lnTo>
                    <a:pt x="282" y="1020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94" y="1002"/>
                  </a:lnTo>
                  <a:lnTo>
                    <a:pt x="306" y="996"/>
                  </a:lnTo>
                  <a:lnTo>
                    <a:pt x="312" y="990"/>
                  </a:lnTo>
                  <a:lnTo>
                    <a:pt x="318" y="990"/>
                  </a:lnTo>
                  <a:lnTo>
                    <a:pt x="324" y="984"/>
                  </a:lnTo>
                  <a:lnTo>
                    <a:pt x="324" y="978"/>
                  </a:lnTo>
                  <a:lnTo>
                    <a:pt x="324" y="972"/>
                  </a:lnTo>
                  <a:lnTo>
                    <a:pt x="324" y="954"/>
                  </a:lnTo>
                  <a:lnTo>
                    <a:pt x="336" y="948"/>
                  </a:lnTo>
                  <a:lnTo>
                    <a:pt x="342" y="936"/>
                  </a:lnTo>
                  <a:lnTo>
                    <a:pt x="348" y="924"/>
                  </a:lnTo>
                  <a:lnTo>
                    <a:pt x="354" y="924"/>
                  </a:lnTo>
                  <a:lnTo>
                    <a:pt x="372" y="924"/>
                  </a:lnTo>
                  <a:lnTo>
                    <a:pt x="372" y="930"/>
                  </a:lnTo>
                  <a:lnTo>
                    <a:pt x="378" y="930"/>
                  </a:lnTo>
                  <a:lnTo>
                    <a:pt x="378" y="936"/>
                  </a:lnTo>
                  <a:lnTo>
                    <a:pt x="384" y="936"/>
                  </a:lnTo>
                  <a:lnTo>
                    <a:pt x="384" y="942"/>
                  </a:lnTo>
                  <a:lnTo>
                    <a:pt x="402" y="942"/>
                  </a:lnTo>
                  <a:lnTo>
                    <a:pt x="402" y="996"/>
                  </a:lnTo>
                  <a:lnTo>
                    <a:pt x="414" y="996"/>
                  </a:lnTo>
                  <a:lnTo>
                    <a:pt x="420" y="996"/>
                  </a:lnTo>
                  <a:lnTo>
                    <a:pt x="426" y="996"/>
                  </a:lnTo>
                  <a:lnTo>
                    <a:pt x="432" y="996"/>
                  </a:lnTo>
                  <a:lnTo>
                    <a:pt x="438" y="996"/>
                  </a:lnTo>
                  <a:lnTo>
                    <a:pt x="438" y="942"/>
                  </a:lnTo>
                  <a:lnTo>
                    <a:pt x="444" y="930"/>
                  </a:lnTo>
                  <a:lnTo>
                    <a:pt x="444" y="924"/>
                  </a:lnTo>
                  <a:lnTo>
                    <a:pt x="444" y="918"/>
                  </a:lnTo>
                  <a:lnTo>
                    <a:pt x="462" y="918"/>
                  </a:lnTo>
                  <a:lnTo>
                    <a:pt x="474" y="906"/>
                  </a:lnTo>
                  <a:lnTo>
                    <a:pt x="480" y="900"/>
                  </a:lnTo>
                  <a:lnTo>
                    <a:pt x="486" y="888"/>
                  </a:lnTo>
                  <a:lnTo>
                    <a:pt x="492" y="876"/>
                  </a:lnTo>
                  <a:lnTo>
                    <a:pt x="492" y="858"/>
                  </a:lnTo>
                  <a:lnTo>
                    <a:pt x="480" y="858"/>
                  </a:lnTo>
                  <a:lnTo>
                    <a:pt x="474" y="840"/>
                  </a:lnTo>
                  <a:lnTo>
                    <a:pt x="450" y="834"/>
                  </a:lnTo>
                  <a:lnTo>
                    <a:pt x="438" y="816"/>
                  </a:lnTo>
                  <a:lnTo>
                    <a:pt x="432" y="792"/>
                  </a:lnTo>
                  <a:lnTo>
                    <a:pt x="432" y="786"/>
                  </a:lnTo>
                  <a:lnTo>
                    <a:pt x="432" y="774"/>
                  </a:lnTo>
                  <a:lnTo>
                    <a:pt x="432" y="762"/>
                  </a:lnTo>
                  <a:lnTo>
                    <a:pt x="438" y="750"/>
                  </a:lnTo>
                  <a:lnTo>
                    <a:pt x="438" y="738"/>
                  </a:lnTo>
                  <a:lnTo>
                    <a:pt x="444" y="732"/>
                  </a:lnTo>
                  <a:lnTo>
                    <a:pt x="450" y="732"/>
                  </a:lnTo>
                  <a:lnTo>
                    <a:pt x="456" y="732"/>
                  </a:lnTo>
                  <a:lnTo>
                    <a:pt x="456" y="726"/>
                  </a:lnTo>
                  <a:lnTo>
                    <a:pt x="456" y="714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44" y="684"/>
                  </a:lnTo>
                  <a:lnTo>
                    <a:pt x="438" y="666"/>
                  </a:lnTo>
                  <a:lnTo>
                    <a:pt x="426" y="666"/>
                  </a:lnTo>
                  <a:lnTo>
                    <a:pt x="432" y="666"/>
                  </a:lnTo>
                  <a:lnTo>
                    <a:pt x="420" y="666"/>
                  </a:lnTo>
                  <a:lnTo>
                    <a:pt x="414" y="660"/>
                  </a:lnTo>
                  <a:lnTo>
                    <a:pt x="396" y="654"/>
                  </a:lnTo>
                  <a:lnTo>
                    <a:pt x="384" y="642"/>
                  </a:lnTo>
                  <a:lnTo>
                    <a:pt x="366" y="624"/>
                  </a:lnTo>
                  <a:lnTo>
                    <a:pt x="354" y="606"/>
                  </a:lnTo>
                  <a:lnTo>
                    <a:pt x="342" y="588"/>
                  </a:lnTo>
                  <a:lnTo>
                    <a:pt x="342" y="582"/>
                  </a:lnTo>
                  <a:lnTo>
                    <a:pt x="360" y="564"/>
                  </a:lnTo>
                  <a:lnTo>
                    <a:pt x="372" y="540"/>
                  </a:lnTo>
                  <a:lnTo>
                    <a:pt x="366" y="528"/>
                  </a:lnTo>
                  <a:lnTo>
                    <a:pt x="366" y="522"/>
                  </a:lnTo>
                  <a:lnTo>
                    <a:pt x="372" y="516"/>
                  </a:lnTo>
                  <a:lnTo>
                    <a:pt x="384" y="504"/>
                  </a:lnTo>
                  <a:lnTo>
                    <a:pt x="378" y="492"/>
                  </a:lnTo>
                  <a:lnTo>
                    <a:pt x="378" y="486"/>
                  </a:lnTo>
                  <a:lnTo>
                    <a:pt x="378" y="480"/>
                  </a:lnTo>
                  <a:lnTo>
                    <a:pt x="378" y="474"/>
                  </a:lnTo>
                  <a:lnTo>
                    <a:pt x="378" y="468"/>
                  </a:lnTo>
                  <a:lnTo>
                    <a:pt x="366" y="468"/>
                  </a:lnTo>
                  <a:lnTo>
                    <a:pt x="360" y="474"/>
                  </a:lnTo>
                  <a:lnTo>
                    <a:pt x="354" y="480"/>
                  </a:lnTo>
                  <a:lnTo>
                    <a:pt x="348" y="486"/>
                  </a:lnTo>
                  <a:lnTo>
                    <a:pt x="348" y="492"/>
                  </a:lnTo>
                  <a:lnTo>
                    <a:pt x="336" y="510"/>
                  </a:lnTo>
                  <a:lnTo>
                    <a:pt x="300" y="516"/>
                  </a:lnTo>
                  <a:lnTo>
                    <a:pt x="300" y="510"/>
                  </a:lnTo>
                  <a:lnTo>
                    <a:pt x="282" y="504"/>
                  </a:lnTo>
                  <a:lnTo>
                    <a:pt x="282" y="498"/>
                  </a:lnTo>
                  <a:lnTo>
                    <a:pt x="264" y="486"/>
                  </a:lnTo>
                  <a:lnTo>
                    <a:pt x="258" y="492"/>
                  </a:lnTo>
                  <a:lnTo>
                    <a:pt x="234" y="492"/>
                  </a:lnTo>
                  <a:lnTo>
                    <a:pt x="222" y="486"/>
                  </a:lnTo>
                  <a:lnTo>
                    <a:pt x="204" y="480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92" y="462"/>
                  </a:lnTo>
                  <a:lnTo>
                    <a:pt x="186" y="462"/>
                  </a:lnTo>
                  <a:lnTo>
                    <a:pt x="180" y="468"/>
                  </a:lnTo>
                  <a:lnTo>
                    <a:pt x="150" y="450"/>
                  </a:lnTo>
                  <a:lnTo>
                    <a:pt x="144" y="438"/>
                  </a:lnTo>
                  <a:lnTo>
                    <a:pt x="138" y="438"/>
                  </a:lnTo>
                  <a:lnTo>
                    <a:pt x="132" y="432"/>
                  </a:lnTo>
                  <a:lnTo>
                    <a:pt x="126" y="432"/>
                  </a:lnTo>
                  <a:lnTo>
                    <a:pt x="120" y="432"/>
                  </a:lnTo>
                  <a:lnTo>
                    <a:pt x="102" y="426"/>
                  </a:lnTo>
                  <a:lnTo>
                    <a:pt x="96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2" y="414"/>
                  </a:lnTo>
                  <a:lnTo>
                    <a:pt x="60" y="414"/>
                  </a:lnTo>
                  <a:lnTo>
                    <a:pt x="30" y="414"/>
                  </a:lnTo>
                  <a:lnTo>
                    <a:pt x="24" y="414"/>
                  </a:lnTo>
                  <a:lnTo>
                    <a:pt x="12" y="414"/>
                  </a:lnTo>
                  <a:lnTo>
                    <a:pt x="0" y="420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0" y="336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30" y="270"/>
                  </a:lnTo>
                  <a:lnTo>
                    <a:pt x="42" y="270"/>
                  </a:lnTo>
                  <a:lnTo>
                    <a:pt x="54" y="264"/>
                  </a:lnTo>
                  <a:lnTo>
                    <a:pt x="78" y="240"/>
                  </a:lnTo>
                  <a:lnTo>
                    <a:pt x="102" y="216"/>
                  </a:lnTo>
                  <a:lnTo>
                    <a:pt x="114" y="210"/>
                  </a:lnTo>
                  <a:lnTo>
                    <a:pt x="120" y="204"/>
                  </a:lnTo>
                  <a:lnTo>
                    <a:pt x="126" y="198"/>
                  </a:lnTo>
                  <a:lnTo>
                    <a:pt x="138" y="18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38"/>
                  </a:lnTo>
                  <a:lnTo>
                    <a:pt x="210" y="126"/>
                  </a:lnTo>
                  <a:lnTo>
                    <a:pt x="216" y="120"/>
                  </a:lnTo>
                  <a:lnTo>
                    <a:pt x="222" y="120"/>
                  </a:lnTo>
                  <a:lnTo>
                    <a:pt x="258" y="114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300" y="102"/>
                  </a:lnTo>
                  <a:lnTo>
                    <a:pt x="312" y="102"/>
                  </a:lnTo>
                  <a:lnTo>
                    <a:pt x="318" y="102"/>
                  </a:lnTo>
                  <a:lnTo>
                    <a:pt x="348" y="96"/>
                  </a:lnTo>
                  <a:lnTo>
                    <a:pt x="366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408" y="84"/>
                  </a:lnTo>
                  <a:lnTo>
                    <a:pt x="420" y="84"/>
                  </a:lnTo>
                  <a:lnTo>
                    <a:pt x="462" y="72"/>
                  </a:lnTo>
                  <a:lnTo>
                    <a:pt x="474" y="72"/>
                  </a:lnTo>
                  <a:lnTo>
                    <a:pt x="474" y="78"/>
                  </a:lnTo>
                  <a:lnTo>
                    <a:pt x="492" y="90"/>
                  </a:lnTo>
                  <a:lnTo>
                    <a:pt x="498" y="90"/>
                  </a:lnTo>
                  <a:lnTo>
                    <a:pt x="522" y="96"/>
                  </a:lnTo>
                  <a:lnTo>
                    <a:pt x="540" y="96"/>
                  </a:lnTo>
                  <a:lnTo>
                    <a:pt x="546" y="96"/>
                  </a:lnTo>
                  <a:lnTo>
                    <a:pt x="558" y="96"/>
                  </a:lnTo>
                  <a:lnTo>
                    <a:pt x="564" y="96"/>
                  </a:lnTo>
                  <a:lnTo>
                    <a:pt x="576" y="96"/>
                  </a:lnTo>
                  <a:lnTo>
                    <a:pt x="588" y="96"/>
                  </a:lnTo>
                  <a:lnTo>
                    <a:pt x="612" y="90"/>
                  </a:lnTo>
                  <a:lnTo>
                    <a:pt x="624" y="90"/>
                  </a:lnTo>
                  <a:lnTo>
                    <a:pt x="636" y="90"/>
                  </a:lnTo>
                  <a:lnTo>
                    <a:pt x="642" y="90"/>
                  </a:lnTo>
                  <a:lnTo>
                    <a:pt x="648" y="96"/>
                  </a:lnTo>
                  <a:lnTo>
                    <a:pt x="660" y="96"/>
                  </a:lnTo>
                  <a:lnTo>
                    <a:pt x="666" y="96"/>
                  </a:lnTo>
                  <a:lnTo>
                    <a:pt x="672" y="96"/>
                  </a:lnTo>
                  <a:lnTo>
                    <a:pt x="684" y="96"/>
                  </a:lnTo>
                  <a:lnTo>
                    <a:pt x="708" y="96"/>
                  </a:lnTo>
                  <a:lnTo>
                    <a:pt x="714" y="96"/>
                  </a:lnTo>
                  <a:lnTo>
                    <a:pt x="726" y="96"/>
                  </a:lnTo>
                  <a:lnTo>
                    <a:pt x="738" y="84"/>
                  </a:lnTo>
                  <a:lnTo>
                    <a:pt x="744" y="78"/>
                  </a:lnTo>
                  <a:lnTo>
                    <a:pt x="756" y="66"/>
                  </a:lnTo>
                  <a:lnTo>
                    <a:pt x="774" y="42"/>
                  </a:lnTo>
                  <a:lnTo>
                    <a:pt x="780" y="30"/>
                  </a:lnTo>
                  <a:lnTo>
                    <a:pt x="816" y="24"/>
                  </a:lnTo>
                  <a:lnTo>
                    <a:pt x="840" y="18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64" y="6"/>
                  </a:lnTo>
                  <a:lnTo>
                    <a:pt x="870" y="6"/>
                  </a:lnTo>
                  <a:lnTo>
                    <a:pt x="894" y="0"/>
                  </a:lnTo>
                  <a:lnTo>
                    <a:pt x="900" y="6"/>
                  </a:lnTo>
                  <a:lnTo>
                    <a:pt x="930" y="18"/>
                  </a:lnTo>
                  <a:lnTo>
                    <a:pt x="942" y="24"/>
                  </a:lnTo>
                  <a:lnTo>
                    <a:pt x="954" y="30"/>
                  </a:lnTo>
                  <a:lnTo>
                    <a:pt x="1026" y="60"/>
                  </a:lnTo>
                  <a:lnTo>
                    <a:pt x="1032" y="60"/>
                  </a:lnTo>
                  <a:lnTo>
                    <a:pt x="1038" y="66"/>
                  </a:lnTo>
                  <a:lnTo>
                    <a:pt x="1068" y="72"/>
                  </a:lnTo>
                  <a:lnTo>
                    <a:pt x="1098" y="84"/>
                  </a:lnTo>
                  <a:lnTo>
                    <a:pt x="1122" y="90"/>
                  </a:lnTo>
                  <a:lnTo>
                    <a:pt x="1122" y="96"/>
                  </a:lnTo>
                  <a:lnTo>
                    <a:pt x="1140" y="102"/>
                  </a:lnTo>
                  <a:lnTo>
                    <a:pt x="1182" y="114"/>
                  </a:lnTo>
                  <a:lnTo>
                    <a:pt x="1188" y="114"/>
                  </a:lnTo>
                  <a:lnTo>
                    <a:pt x="1200" y="120"/>
                  </a:lnTo>
                  <a:lnTo>
                    <a:pt x="1212" y="126"/>
                  </a:lnTo>
                  <a:lnTo>
                    <a:pt x="1224" y="126"/>
                  </a:lnTo>
                  <a:lnTo>
                    <a:pt x="1248" y="138"/>
                  </a:lnTo>
                  <a:lnTo>
                    <a:pt x="1272" y="150"/>
                  </a:lnTo>
                  <a:lnTo>
                    <a:pt x="1284" y="156"/>
                  </a:lnTo>
                  <a:lnTo>
                    <a:pt x="1290" y="162"/>
                  </a:lnTo>
                  <a:lnTo>
                    <a:pt x="1296" y="162"/>
                  </a:lnTo>
                  <a:lnTo>
                    <a:pt x="1308" y="156"/>
                  </a:lnTo>
                  <a:lnTo>
                    <a:pt x="1320" y="150"/>
                  </a:lnTo>
                  <a:lnTo>
                    <a:pt x="1326" y="150"/>
                  </a:lnTo>
                  <a:lnTo>
                    <a:pt x="1338" y="144"/>
                  </a:lnTo>
                  <a:lnTo>
                    <a:pt x="1362" y="144"/>
                  </a:lnTo>
                  <a:lnTo>
                    <a:pt x="1368" y="144"/>
                  </a:lnTo>
                  <a:lnTo>
                    <a:pt x="1374" y="144"/>
                  </a:lnTo>
                  <a:lnTo>
                    <a:pt x="1386" y="150"/>
                  </a:lnTo>
                  <a:lnTo>
                    <a:pt x="1392" y="150"/>
                  </a:lnTo>
                  <a:lnTo>
                    <a:pt x="1398" y="150"/>
                  </a:lnTo>
                  <a:lnTo>
                    <a:pt x="1416" y="162"/>
                  </a:lnTo>
                  <a:lnTo>
                    <a:pt x="1458" y="186"/>
                  </a:lnTo>
                  <a:lnTo>
                    <a:pt x="1464" y="186"/>
                  </a:lnTo>
                  <a:lnTo>
                    <a:pt x="1470" y="192"/>
                  </a:lnTo>
                  <a:lnTo>
                    <a:pt x="1482" y="204"/>
                  </a:lnTo>
                  <a:lnTo>
                    <a:pt x="1512" y="234"/>
                  </a:lnTo>
                  <a:lnTo>
                    <a:pt x="1554" y="276"/>
                  </a:lnTo>
                  <a:lnTo>
                    <a:pt x="1560" y="276"/>
                  </a:lnTo>
                  <a:lnTo>
                    <a:pt x="1566" y="282"/>
                  </a:lnTo>
                  <a:lnTo>
                    <a:pt x="1578" y="294"/>
                  </a:lnTo>
                  <a:lnTo>
                    <a:pt x="1602" y="318"/>
                  </a:lnTo>
                  <a:lnTo>
                    <a:pt x="1614" y="330"/>
                  </a:lnTo>
                  <a:lnTo>
                    <a:pt x="1620" y="336"/>
                  </a:lnTo>
                  <a:lnTo>
                    <a:pt x="1626" y="342"/>
                  </a:lnTo>
                  <a:lnTo>
                    <a:pt x="1632" y="354"/>
                  </a:lnTo>
                  <a:lnTo>
                    <a:pt x="1644" y="366"/>
                  </a:lnTo>
                  <a:lnTo>
                    <a:pt x="1650" y="378"/>
                  </a:lnTo>
                  <a:lnTo>
                    <a:pt x="1650" y="384"/>
                  </a:lnTo>
                  <a:lnTo>
                    <a:pt x="1656" y="384"/>
                  </a:lnTo>
                  <a:lnTo>
                    <a:pt x="1662" y="402"/>
                  </a:lnTo>
                  <a:lnTo>
                    <a:pt x="1668" y="408"/>
                  </a:lnTo>
                  <a:lnTo>
                    <a:pt x="1674" y="426"/>
                  </a:lnTo>
                  <a:lnTo>
                    <a:pt x="1686" y="438"/>
                  </a:lnTo>
                  <a:lnTo>
                    <a:pt x="1698" y="46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9" name="Freeform 34">
              <a:extLst>
                <a:ext uri="{FF2B5EF4-FFF2-40B4-BE49-F238E27FC236}">
                  <a16:creationId xmlns:a16="http://schemas.microsoft.com/office/drawing/2014/main" id="{94603F24-8CF7-4226-A433-00D18CA7D9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1988" y="1681402"/>
              <a:ext cx="869877" cy="1060101"/>
            </a:xfrm>
            <a:custGeom>
              <a:avLst/>
              <a:gdLst>
                <a:gd name="T0" fmla="*/ 4 w 1638"/>
                <a:gd name="T1" fmla="*/ 111 h 1998"/>
                <a:gd name="T2" fmla="*/ 6 w 1638"/>
                <a:gd name="T3" fmla="*/ 87 h 1998"/>
                <a:gd name="T4" fmla="*/ 10 w 1638"/>
                <a:gd name="T5" fmla="*/ 80 h 1998"/>
                <a:gd name="T6" fmla="*/ 10 w 1638"/>
                <a:gd name="T7" fmla="*/ 71 h 1998"/>
                <a:gd name="T8" fmla="*/ 9 w 1638"/>
                <a:gd name="T9" fmla="*/ 56 h 1998"/>
                <a:gd name="T10" fmla="*/ 8 w 1638"/>
                <a:gd name="T11" fmla="*/ 40 h 1998"/>
                <a:gd name="T12" fmla="*/ 20 w 1638"/>
                <a:gd name="T13" fmla="*/ 30 h 1998"/>
                <a:gd name="T14" fmla="*/ 30 w 1638"/>
                <a:gd name="T15" fmla="*/ 19 h 1998"/>
                <a:gd name="T16" fmla="*/ 35 w 1638"/>
                <a:gd name="T17" fmla="*/ 2 h 1998"/>
                <a:gd name="T18" fmla="*/ 47 w 1638"/>
                <a:gd name="T19" fmla="*/ 2 h 1998"/>
                <a:gd name="T20" fmla="*/ 56 w 1638"/>
                <a:gd name="T21" fmla="*/ 7 h 1998"/>
                <a:gd name="T22" fmla="*/ 67 w 1638"/>
                <a:gd name="T23" fmla="*/ 5 h 1998"/>
                <a:gd name="T24" fmla="*/ 65 w 1638"/>
                <a:gd name="T25" fmla="*/ 15 h 1998"/>
                <a:gd name="T26" fmla="*/ 74 w 1638"/>
                <a:gd name="T27" fmla="*/ 24 h 1998"/>
                <a:gd name="T28" fmla="*/ 73 w 1638"/>
                <a:gd name="T29" fmla="*/ 33 h 1998"/>
                <a:gd name="T30" fmla="*/ 74 w 1638"/>
                <a:gd name="T31" fmla="*/ 44 h 1998"/>
                <a:gd name="T32" fmla="*/ 68 w 1638"/>
                <a:gd name="T33" fmla="*/ 45 h 1998"/>
                <a:gd name="T34" fmla="*/ 63 w 1638"/>
                <a:gd name="T35" fmla="*/ 50 h 1998"/>
                <a:gd name="T36" fmla="*/ 61 w 1638"/>
                <a:gd name="T37" fmla="*/ 62 h 1998"/>
                <a:gd name="T38" fmla="*/ 53 w 1638"/>
                <a:gd name="T39" fmla="*/ 86 h 1998"/>
                <a:gd name="T40" fmla="*/ 59 w 1638"/>
                <a:gd name="T41" fmla="*/ 90 h 1998"/>
                <a:gd name="T42" fmla="*/ 65 w 1638"/>
                <a:gd name="T43" fmla="*/ 86 h 1998"/>
                <a:gd name="T44" fmla="*/ 74 w 1638"/>
                <a:gd name="T45" fmla="*/ 84 h 1998"/>
                <a:gd name="T46" fmla="*/ 79 w 1638"/>
                <a:gd name="T47" fmla="*/ 85 h 1998"/>
                <a:gd name="T48" fmla="*/ 84 w 1638"/>
                <a:gd name="T49" fmla="*/ 84 h 1998"/>
                <a:gd name="T50" fmla="*/ 91 w 1638"/>
                <a:gd name="T51" fmla="*/ 84 h 1998"/>
                <a:gd name="T52" fmla="*/ 94 w 1638"/>
                <a:gd name="T53" fmla="*/ 81 h 1998"/>
                <a:gd name="T54" fmla="*/ 100 w 1638"/>
                <a:gd name="T55" fmla="*/ 81 h 1998"/>
                <a:gd name="T56" fmla="*/ 102 w 1638"/>
                <a:gd name="T57" fmla="*/ 84 h 1998"/>
                <a:gd name="T58" fmla="*/ 108 w 1638"/>
                <a:gd name="T59" fmla="*/ 85 h 1998"/>
                <a:gd name="T60" fmla="*/ 113 w 1638"/>
                <a:gd name="T61" fmla="*/ 88 h 1998"/>
                <a:gd name="T62" fmla="*/ 116 w 1638"/>
                <a:gd name="T63" fmla="*/ 88 h 1998"/>
                <a:gd name="T64" fmla="*/ 123 w 1638"/>
                <a:gd name="T65" fmla="*/ 87 h 1998"/>
                <a:gd name="T66" fmla="*/ 128 w 1638"/>
                <a:gd name="T67" fmla="*/ 86 h 1998"/>
                <a:gd name="T68" fmla="*/ 132 w 1638"/>
                <a:gd name="T69" fmla="*/ 90 h 1998"/>
                <a:gd name="T70" fmla="*/ 138 w 1638"/>
                <a:gd name="T71" fmla="*/ 96 h 1998"/>
                <a:gd name="T72" fmla="*/ 138 w 1638"/>
                <a:gd name="T73" fmla="*/ 110 h 1998"/>
                <a:gd name="T74" fmla="*/ 137 w 1638"/>
                <a:gd name="T75" fmla="*/ 118 h 1998"/>
                <a:gd name="T76" fmla="*/ 133 w 1638"/>
                <a:gd name="T77" fmla="*/ 124 h 1998"/>
                <a:gd name="T78" fmla="*/ 122 w 1638"/>
                <a:gd name="T79" fmla="*/ 125 h 1998"/>
                <a:gd name="T80" fmla="*/ 116 w 1638"/>
                <a:gd name="T81" fmla="*/ 127 h 1998"/>
                <a:gd name="T82" fmla="*/ 108 w 1638"/>
                <a:gd name="T83" fmla="*/ 123 h 1998"/>
                <a:gd name="T84" fmla="*/ 109 w 1638"/>
                <a:gd name="T85" fmla="*/ 119 h 1998"/>
                <a:gd name="T86" fmla="*/ 104 w 1638"/>
                <a:gd name="T87" fmla="*/ 104 h 1998"/>
                <a:gd name="T88" fmla="*/ 94 w 1638"/>
                <a:gd name="T89" fmla="*/ 105 h 1998"/>
                <a:gd name="T90" fmla="*/ 88 w 1638"/>
                <a:gd name="T91" fmla="*/ 109 h 1998"/>
                <a:gd name="T92" fmla="*/ 76 w 1638"/>
                <a:gd name="T93" fmla="*/ 107 h 1998"/>
                <a:gd name="T94" fmla="*/ 72 w 1638"/>
                <a:gd name="T95" fmla="*/ 114 h 1998"/>
                <a:gd name="T96" fmla="*/ 86 w 1638"/>
                <a:gd name="T97" fmla="*/ 121 h 1998"/>
                <a:gd name="T98" fmla="*/ 87 w 1638"/>
                <a:gd name="T99" fmla="*/ 129 h 1998"/>
                <a:gd name="T100" fmla="*/ 86 w 1638"/>
                <a:gd name="T101" fmla="*/ 137 h 1998"/>
                <a:gd name="T102" fmla="*/ 79 w 1638"/>
                <a:gd name="T103" fmla="*/ 141 h 1998"/>
                <a:gd name="T104" fmla="*/ 73 w 1638"/>
                <a:gd name="T105" fmla="*/ 144 h 1998"/>
                <a:gd name="T106" fmla="*/ 72 w 1638"/>
                <a:gd name="T107" fmla="*/ 164 h 1998"/>
                <a:gd name="T108" fmla="*/ 68 w 1638"/>
                <a:gd name="T109" fmla="*/ 172 h 1998"/>
                <a:gd name="T110" fmla="*/ 59 w 1638"/>
                <a:gd name="T111" fmla="*/ 164 h 1998"/>
                <a:gd name="T112" fmla="*/ 65 w 1638"/>
                <a:gd name="T113" fmla="*/ 146 h 1998"/>
                <a:gd name="T114" fmla="*/ 69 w 1638"/>
                <a:gd name="T115" fmla="*/ 133 h 1998"/>
                <a:gd name="T116" fmla="*/ 61 w 1638"/>
                <a:gd name="T117" fmla="*/ 131 h 1998"/>
                <a:gd name="T118" fmla="*/ 43 w 1638"/>
                <a:gd name="T119" fmla="*/ 125 h 1998"/>
                <a:gd name="T120" fmla="*/ 23 w 1638"/>
                <a:gd name="T121" fmla="*/ 125 h 1998"/>
                <a:gd name="T122" fmla="*/ 17 w 1638"/>
                <a:gd name="T123" fmla="*/ 121 h 19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638"/>
                <a:gd name="T187" fmla="*/ 0 h 1998"/>
                <a:gd name="T188" fmla="*/ 1638 w 1638"/>
                <a:gd name="T189" fmla="*/ 1998 h 19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638" h="1998">
                  <a:moveTo>
                    <a:pt x="144" y="1380"/>
                  </a:moveTo>
                  <a:lnTo>
                    <a:pt x="150" y="1368"/>
                  </a:lnTo>
                  <a:lnTo>
                    <a:pt x="150" y="1362"/>
                  </a:lnTo>
                  <a:lnTo>
                    <a:pt x="150" y="1356"/>
                  </a:lnTo>
                  <a:lnTo>
                    <a:pt x="144" y="1356"/>
                  </a:lnTo>
                  <a:lnTo>
                    <a:pt x="138" y="1356"/>
                  </a:lnTo>
                  <a:lnTo>
                    <a:pt x="126" y="1356"/>
                  </a:lnTo>
                  <a:lnTo>
                    <a:pt x="114" y="1344"/>
                  </a:lnTo>
                  <a:lnTo>
                    <a:pt x="84" y="1320"/>
                  </a:lnTo>
                  <a:lnTo>
                    <a:pt x="54" y="1296"/>
                  </a:lnTo>
                  <a:lnTo>
                    <a:pt x="48" y="1290"/>
                  </a:lnTo>
                  <a:lnTo>
                    <a:pt x="42" y="1278"/>
                  </a:lnTo>
                  <a:lnTo>
                    <a:pt x="30" y="1272"/>
                  </a:lnTo>
                  <a:lnTo>
                    <a:pt x="0" y="1248"/>
                  </a:lnTo>
                  <a:lnTo>
                    <a:pt x="6" y="1230"/>
                  </a:lnTo>
                  <a:lnTo>
                    <a:pt x="12" y="1194"/>
                  </a:lnTo>
                  <a:lnTo>
                    <a:pt x="18" y="1170"/>
                  </a:lnTo>
                  <a:lnTo>
                    <a:pt x="30" y="1134"/>
                  </a:lnTo>
                  <a:lnTo>
                    <a:pt x="36" y="1086"/>
                  </a:lnTo>
                  <a:lnTo>
                    <a:pt x="42" y="1050"/>
                  </a:lnTo>
                  <a:lnTo>
                    <a:pt x="48" y="1044"/>
                  </a:lnTo>
                  <a:lnTo>
                    <a:pt x="54" y="1026"/>
                  </a:lnTo>
                  <a:lnTo>
                    <a:pt x="60" y="1014"/>
                  </a:lnTo>
                  <a:lnTo>
                    <a:pt x="66" y="1002"/>
                  </a:lnTo>
                  <a:lnTo>
                    <a:pt x="66" y="996"/>
                  </a:lnTo>
                  <a:lnTo>
                    <a:pt x="72" y="996"/>
                  </a:lnTo>
                  <a:lnTo>
                    <a:pt x="72" y="990"/>
                  </a:lnTo>
                  <a:lnTo>
                    <a:pt x="78" y="990"/>
                  </a:lnTo>
                  <a:lnTo>
                    <a:pt x="90" y="978"/>
                  </a:lnTo>
                  <a:lnTo>
                    <a:pt x="96" y="966"/>
                  </a:lnTo>
                  <a:lnTo>
                    <a:pt x="102" y="966"/>
                  </a:lnTo>
                  <a:lnTo>
                    <a:pt x="114" y="954"/>
                  </a:lnTo>
                  <a:lnTo>
                    <a:pt x="120" y="954"/>
                  </a:lnTo>
                  <a:lnTo>
                    <a:pt x="120" y="948"/>
                  </a:lnTo>
                  <a:lnTo>
                    <a:pt x="114" y="930"/>
                  </a:lnTo>
                  <a:lnTo>
                    <a:pt x="114" y="924"/>
                  </a:lnTo>
                  <a:lnTo>
                    <a:pt x="108" y="918"/>
                  </a:lnTo>
                  <a:lnTo>
                    <a:pt x="102" y="912"/>
                  </a:lnTo>
                  <a:lnTo>
                    <a:pt x="90" y="906"/>
                  </a:lnTo>
                  <a:lnTo>
                    <a:pt x="84" y="900"/>
                  </a:lnTo>
                  <a:lnTo>
                    <a:pt x="84" y="888"/>
                  </a:lnTo>
                  <a:lnTo>
                    <a:pt x="84" y="882"/>
                  </a:lnTo>
                  <a:lnTo>
                    <a:pt x="78" y="858"/>
                  </a:lnTo>
                  <a:lnTo>
                    <a:pt x="78" y="852"/>
                  </a:lnTo>
                  <a:lnTo>
                    <a:pt x="84" y="846"/>
                  </a:lnTo>
                  <a:lnTo>
                    <a:pt x="84" y="840"/>
                  </a:lnTo>
                  <a:lnTo>
                    <a:pt x="96" y="828"/>
                  </a:lnTo>
                  <a:lnTo>
                    <a:pt x="114" y="816"/>
                  </a:lnTo>
                  <a:lnTo>
                    <a:pt x="114" y="810"/>
                  </a:lnTo>
                  <a:lnTo>
                    <a:pt x="114" y="804"/>
                  </a:lnTo>
                  <a:lnTo>
                    <a:pt x="108" y="780"/>
                  </a:lnTo>
                  <a:lnTo>
                    <a:pt x="96" y="756"/>
                  </a:lnTo>
                  <a:lnTo>
                    <a:pt x="96" y="750"/>
                  </a:lnTo>
                  <a:lnTo>
                    <a:pt x="90" y="720"/>
                  </a:lnTo>
                  <a:lnTo>
                    <a:pt x="90" y="708"/>
                  </a:lnTo>
                  <a:lnTo>
                    <a:pt x="90" y="690"/>
                  </a:lnTo>
                  <a:lnTo>
                    <a:pt x="96" y="672"/>
                  </a:lnTo>
                  <a:lnTo>
                    <a:pt x="90" y="666"/>
                  </a:lnTo>
                  <a:lnTo>
                    <a:pt x="96" y="666"/>
                  </a:lnTo>
                  <a:lnTo>
                    <a:pt x="102" y="642"/>
                  </a:lnTo>
                  <a:lnTo>
                    <a:pt x="108" y="624"/>
                  </a:lnTo>
                  <a:lnTo>
                    <a:pt x="102" y="618"/>
                  </a:lnTo>
                  <a:lnTo>
                    <a:pt x="102" y="588"/>
                  </a:lnTo>
                  <a:lnTo>
                    <a:pt x="102" y="564"/>
                  </a:lnTo>
                  <a:lnTo>
                    <a:pt x="102" y="546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0"/>
                  </a:lnTo>
                  <a:lnTo>
                    <a:pt x="96" y="498"/>
                  </a:lnTo>
                  <a:lnTo>
                    <a:pt x="96" y="486"/>
                  </a:lnTo>
                  <a:lnTo>
                    <a:pt x="96" y="474"/>
                  </a:lnTo>
                  <a:lnTo>
                    <a:pt x="96" y="462"/>
                  </a:lnTo>
                  <a:lnTo>
                    <a:pt x="114" y="450"/>
                  </a:lnTo>
                  <a:lnTo>
                    <a:pt x="126" y="438"/>
                  </a:lnTo>
                  <a:lnTo>
                    <a:pt x="132" y="432"/>
                  </a:lnTo>
                  <a:lnTo>
                    <a:pt x="144" y="426"/>
                  </a:lnTo>
                  <a:lnTo>
                    <a:pt x="144" y="420"/>
                  </a:lnTo>
                  <a:lnTo>
                    <a:pt x="156" y="414"/>
                  </a:lnTo>
                  <a:lnTo>
                    <a:pt x="162" y="408"/>
                  </a:lnTo>
                  <a:lnTo>
                    <a:pt x="180" y="396"/>
                  </a:lnTo>
                  <a:lnTo>
                    <a:pt x="210" y="372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34" y="348"/>
                  </a:lnTo>
                  <a:lnTo>
                    <a:pt x="240" y="348"/>
                  </a:lnTo>
                  <a:lnTo>
                    <a:pt x="246" y="342"/>
                  </a:lnTo>
                  <a:lnTo>
                    <a:pt x="276" y="318"/>
                  </a:lnTo>
                  <a:lnTo>
                    <a:pt x="282" y="312"/>
                  </a:lnTo>
                  <a:lnTo>
                    <a:pt x="288" y="306"/>
                  </a:lnTo>
                  <a:lnTo>
                    <a:pt x="300" y="288"/>
                  </a:lnTo>
                  <a:lnTo>
                    <a:pt x="306" y="276"/>
                  </a:lnTo>
                  <a:lnTo>
                    <a:pt x="324" y="246"/>
                  </a:lnTo>
                  <a:lnTo>
                    <a:pt x="330" y="240"/>
                  </a:lnTo>
                  <a:lnTo>
                    <a:pt x="336" y="234"/>
                  </a:lnTo>
                  <a:lnTo>
                    <a:pt x="342" y="228"/>
                  </a:lnTo>
                  <a:lnTo>
                    <a:pt x="342" y="216"/>
                  </a:lnTo>
                  <a:lnTo>
                    <a:pt x="354" y="204"/>
                  </a:lnTo>
                  <a:lnTo>
                    <a:pt x="360" y="204"/>
                  </a:lnTo>
                  <a:lnTo>
                    <a:pt x="366" y="186"/>
                  </a:lnTo>
                  <a:lnTo>
                    <a:pt x="384" y="162"/>
                  </a:lnTo>
                  <a:lnTo>
                    <a:pt x="390" y="144"/>
                  </a:lnTo>
                  <a:lnTo>
                    <a:pt x="396" y="114"/>
                  </a:lnTo>
                  <a:lnTo>
                    <a:pt x="396" y="102"/>
                  </a:lnTo>
                  <a:lnTo>
                    <a:pt x="402" y="90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08" y="36"/>
                  </a:lnTo>
                  <a:lnTo>
                    <a:pt x="408" y="24"/>
                  </a:lnTo>
                  <a:lnTo>
                    <a:pt x="408" y="6"/>
                  </a:lnTo>
                  <a:lnTo>
                    <a:pt x="420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68" y="0"/>
                  </a:lnTo>
                  <a:lnTo>
                    <a:pt x="480" y="0"/>
                  </a:lnTo>
                  <a:lnTo>
                    <a:pt x="492" y="0"/>
                  </a:lnTo>
                  <a:lnTo>
                    <a:pt x="498" y="0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8" y="18"/>
                  </a:lnTo>
                  <a:lnTo>
                    <a:pt x="534" y="18"/>
                  </a:lnTo>
                  <a:lnTo>
                    <a:pt x="540" y="18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8" y="36"/>
                  </a:lnTo>
                  <a:lnTo>
                    <a:pt x="588" y="54"/>
                  </a:lnTo>
                  <a:lnTo>
                    <a:pt x="594" y="48"/>
                  </a:lnTo>
                  <a:lnTo>
                    <a:pt x="600" y="48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12" y="66"/>
                  </a:lnTo>
                  <a:lnTo>
                    <a:pt x="630" y="72"/>
                  </a:lnTo>
                  <a:lnTo>
                    <a:pt x="642" y="78"/>
                  </a:lnTo>
                  <a:lnTo>
                    <a:pt x="666" y="78"/>
                  </a:lnTo>
                  <a:lnTo>
                    <a:pt x="672" y="72"/>
                  </a:lnTo>
                  <a:lnTo>
                    <a:pt x="690" y="84"/>
                  </a:lnTo>
                  <a:lnTo>
                    <a:pt x="690" y="90"/>
                  </a:lnTo>
                  <a:lnTo>
                    <a:pt x="708" y="96"/>
                  </a:lnTo>
                  <a:lnTo>
                    <a:pt x="708" y="102"/>
                  </a:lnTo>
                  <a:lnTo>
                    <a:pt x="744" y="96"/>
                  </a:lnTo>
                  <a:lnTo>
                    <a:pt x="756" y="78"/>
                  </a:lnTo>
                  <a:lnTo>
                    <a:pt x="756" y="72"/>
                  </a:lnTo>
                  <a:lnTo>
                    <a:pt x="762" y="66"/>
                  </a:lnTo>
                  <a:lnTo>
                    <a:pt x="768" y="60"/>
                  </a:lnTo>
                  <a:lnTo>
                    <a:pt x="774" y="54"/>
                  </a:lnTo>
                  <a:lnTo>
                    <a:pt x="786" y="54"/>
                  </a:lnTo>
                  <a:lnTo>
                    <a:pt x="786" y="60"/>
                  </a:lnTo>
                  <a:lnTo>
                    <a:pt x="786" y="66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92" y="90"/>
                  </a:lnTo>
                  <a:lnTo>
                    <a:pt x="780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26"/>
                  </a:lnTo>
                  <a:lnTo>
                    <a:pt x="768" y="150"/>
                  </a:lnTo>
                  <a:lnTo>
                    <a:pt x="750" y="168"/>
                  </a:lnTo>
                  <a:lnTo>
                    <a:pt x="750" y="174"/>
                  </a:lnTo>
                  <a:lnTo>
                    <a:pt x="762" y="192"/>
                  </a:lnTo>
                  <a:lnTo>
                    <a:pt x="774" y="210"/>
                  </a:lnTo>
                  <a:lnTo>
                    <a:pt x="792" y="228"/>
                  </a:lnTo>
                  <a:lnTo>
                    <a:pt x="804" y="240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40" y="252"/>
                  </a:lnTo>
                  <a:lnTo>
                    <a:pt x="834" y="252"/>
                  </a:lnTo>
                  <a:lnTo>
                    <a:pt x="846" y="252"/>
                  </a:lnTo>
                  <a:lnTo>
                    <a:pt x="852" y="270"/>
                  </a:lnTo>
                  <a:lnTo>
                    <a:pt x="858" y="282"/>
                  </a:lnTo>
                  <a:lnTo>
                    <a:pt x="858" y="288"/>
                  </a:lnTo>
                  <a:lnTo>
                    <a:pt x="864" y="300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58" y="318"/>
                  </a:lnTo>
                  <a:lnTo>
                    <a:pt x="852" y="318"/>
                  </a:lnTo>
                  <a:lnTo>
                    <a:pt x="846" y="324"/>
                  </a:lnTo>
                  <a:lnTo>
                    <a:pt x="846" y="336"/>
                  </a:lnTo>
                  <a:lnTo>
                    <a:pt x="840" y="348"/>
                  </a:lnTo>
                  <a:lnTo>
                    <a:pt x="840" y="360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46" y="402"/>
                  </a:lnTo>
                  <a:lnTo>
                    <a:pt x="858" y="420"/>
                  </a:lnTo>
                  <a:lnTo>
                    <a:pt x="882" y="426"/>
                  </a:lnTo>
                  <a:lnTo>
                    <a:pt x="888" y="444"/>
                  </a:lnTo>
                  <a:lnTo>
                    <a:pt x="900" y="444"/>
                  </a:lnTo>
                  <a:lnTo>
                    <a:pt x="900" y="462"/>
                  </a:lnTo>
                  <a:lnTo>
                    <a:pt x="894" y="474"/>
                  </a:lnTo>
                  <a:lnTo>
                    <a:pt x="888" y="486"/>
                  </a:lnTo>
                  <a:lnTo>
                    <a:pt x="882" y="492"/>
                  </a:lnTo>
                  <a:lnTo>
                    <a:pt x="870" y="504"/>
                  </a:lnTo>
                  <a:lnTo>
                    <a:pt x="852" y="504"/>
                  </a:lnTo>
                  <a:lnTo>
                    <a:pt x="852" y="510"/>
                  </a:lnTo>
                  <a:lnTo>
                    <a:pt x="852" y="516"/>
                  </a:lnTo>
                  <a:lnTo>
                    <a:pt x="846" y="528"/>
                  </a:lnTo>
                  <a:lnTo>
                    <a:pt x="846" y="582"/>
                  </a:lnTo>
                  <a:lnTo>
                    <a:pt x="840" y="582"/>
                  </a:lnTo>
                  <a:lnTo>
                    <a:pt x="834" y="582"/>
                  </a:lnTo>
                  <a:lnTo>
                    <a:pt x="828" y="582"/>
                  </a:lnTo>
                  <a:lnTo>
                    <a:pt x="822" y="582"/>
                  </a:lnTo>
                  <a:lnTo>
                    <a:pt x="810" y="582"/>
                  </a:lnTo>
                  <a:lnTo>
                    <a:pt x="810" y="528"/>
                  </a:lnTo>
                  <a:lnTo>
                    <a:pt x="792" y="528"/>
                  </a:lnTo>
                  <a:lnTo>
                    <a:pt x="792" y="522"/>
                  </a:lnTo>
                  <a:lnTo>
                    <a:pt x="786" y="522"/>
                  </a:lnTo>
                  <a:lnTo>
                    <a:pt x="786" y="516"/>
                  </a:lnTo>
                  <a:lnTo>
                    <a:pt x="780" y="516"/>
                  </a:lnTo>
                  <a:lnTo>
                    <a:pt x="780" y="510"/>
                  </a:lnTo>
                  <a:lnTo>
                    <a:pt x="762" y="510"/>
                  </a:lnTo>
                  <a:lnTo>
                    <a:pt x="756" y="510"/>
                  </a:lnTo>
                  <a:lnTo>
                    <a:pt x="750" y="522"/>
                  </a:lnTo>
                  <a:lnTo>
                    <a:pt x="744" y="534"/>
                  </a:lnTo>
                  <a:lnTo>
                    <a:pt x="732" y="540"/>
                  </a:lnTo>
                  <a:lnTo>
                    <a:pt x="732" y="558"/>
                  </a:lnTo>
                  <a:lnTo>
                    <a:pt x="732" y="564"/>
                  </a:lnTo>
                  <a:lnTo>
                    <a:pt x="732" y="570"/>
                  </a:lnTo>
                  <a:lnTo>
                    <a:pt x="726" y="576"/>
                  </a:lnTo>
                  <a:lnTo>
                    <a:pt x="720" y="576"/>
                  </a:lnTo>
                  <a:lnTo>
                    <a:pt x="714" y="582"/>
                  </a:lnTo>
                  <a:lnTo>
                    <a:pt x="702" y="588"/>
                  </a:lnTo>
                  <a:lnTo>
                    <a:pt x="696" y="594"/>
                  </a:lnTo>
                  <a:lnTo>
                    <a:pt x="690" y="600"/>
                  </a:lnTo>
                  <a:lnTo>
                    <a:pt x="690" y="606"/>
                  </a:lnTo>
                  <a:lnTo>
                    <a:pt x="678" y="606"/>
                  </a:lnTo>
                  <a:lnTo>
                    <a:pt x="678" y="624"/>
                  </a:lnTo>
                  <a:lnTo>
                    <a:pt x="684" y="642"/>
                  </a:lnTo>
                  <a:lnTo>
                    <a:pt x="684" y="660"/>
                  </a:lnTo>
                  <a:lnTo>
                    <a:pt x="690" y="672"/>
                  </a:lnTo>
                  <a:lnTo>
                    <a:pt x="702" y="720"/>
                  </a:lnTo>
                  <a:lnTo>
                    <a:pt x="708" y="750"/>
                  </a:lnTo>
                  <a:lnTo>
                    <a:pt x="708" y="792"/>
                  </a:lnTo>
                  <a:lnTo>
                    <a:pt x="708" y="828"/>
                  </a:lnTo>
                  <a:lnTo>
                    <a:pt x="708" y="852"/>
                  </a:lnTo>
                  <a:lnTo>
                    <a:pt x="696" y="894"/>
                  </a:lnTo>
                  <a:lnTo>
                    <a:pt x="702" y="900"/>
                  </a:lnTo>
                  <a:lnTo>
                    <a:pt x="708" y="924"/>
                  </a:lnTo>
                  <a:lnTo>
                    <a:pt x="684" y="936"/>
                  </a:lnTo>
                  <a:lnTo>
                    <a:pt x="660" y="954"/>
                  </a:lnTo>
                  <a:lnTo>
                    <a:pt x="618" y="984"/>
                  </a:lnTo>
                  <a:lnTo>
                    <a:pt x="618" y="990"/>
                  </a:lnTo>
                  <a:lnTo>
                    <a:pt x="612" y="996"/>
                  </a:lnTo>
                  <a:lnTo>
                    <a:pt x="606" y="1002"/>
                  </a:lnTo>
                  <a:lnTo>
                    <a:pt x="618" y="1008"/>
                  </a:lnTo>
                  <a:lnTo>
                    <a:pt x="618" y="1014"/>
                  </a:lnTo>
                  <a:lnTo>
                    <a:pt x="624" y="1026"/>
                  </a:lnTo>
                  <a:lnTo>
                    <a:pt x="630" y="1026"/>
                  </a:lnTo>
                  <a:lnTo>
                    <a:pt x="636" y="1032"/>
                  </a:lnTo>
                  <a:lnTo>
                    <a:pt x="642" y="1032"/>
                  </a:lnTo>
                  <a:lnTo>
                    <a:pt x="642" y="1038"/>
                  </a:lnTo>
                  <a:lnTo>
                    <a:pt x="648" y="1044"/>
                  </a:lnTo>
                  <a:lnTo>
                    <a:pt x="666" y="1050"/>
                  </a:lnTo>
                  <a:lnTo>
                    <a:pt x="678" y="1038"/>
                  </a:lnTo>
                  <a:lnTo>
                    <a:pt x="684" y="1038"/>
                  </a:lnTo>
                  <a:lnTo>
                    <a:pt x="684" y="1032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20"/>
                  </a:lnTo>
                  <a:lnTo>
                    <a:pt x="708" y="1014"/>
                  </a:lnTo>
                  <a:lnTo>
                    <a:pt x="720" y="1020"/>
                  </a:lnTo>
                  <a:lnTo>
                    <a:pt x="720" y="1014"/>
                  </a:lnTo>
                  <a:lnTo>
                    <a:pt x="726" y="1008"/>
                  </a:lnTo>
                  <a:lnTo>
                    <a:pt x="732" y="1008"/>
                  </a:lnTo>
                  <a:lnTo>
                    <a:pt x="738" y="1008"/>
                  </a:lnTo>
                  <a:lnTo>
                    <a:pt x="744" y="1002"/>
                  </a:lnTo>
                  <a:lnTo>
                    <a:pt x="744" y="996"/>
                  </a:lnTo>
                  <a:lnTo>
                    <a:pt x="750" y="996"/>
                  </a:lnTo>
                  <a:lnTo>
                    <a:pt x="756" y="1002"/>
                  </a:lnTo>
                  <a:lnTo>
                    <a:pt x="762" y="1002"/>
                  </a:lnTo>
                  <a:lnTo>
                    <a:pt x="768" y="996"/>
                  </a:lnTo>
                  <a:lnTo>
                    <a:pt x="780" y="996"/>
                  </a:lnTo>
                  <a:lnTo>
                    <a:pt x="786" y="996"/>
                  </a:lnTo>
                  <a:lnTo>
                    <a:pt x="816" y="990"/>
                  </a:lnTo>
                  <a:lnTo>
                    <a:pt x="828" y="990"/>
                  </a:lnTo>
                  <a:lnTo>
                    <a:pt x="834" y="990"/>
                  </a:lnTo>
                  <a:lnTo>
                    <a:pt x="840" y="984"/>
                  </a:lnTo>
                  <a:lnTo>
                    <a:pt x="852" y="978"/>
                  </a:lnTo>
                  <a:lnTo>
                    <a:pt x="852" y="972"/>
                  </a:lnTo>
                  <a:lnTo>
                    <a:pt x="858" y="972"/>
                  </a:lnTo>
                  <a:lnTo>
                    <a:pt x="864" y="966"/>
                  </a:lnTo>
                  <a:lnTo>
                    <a:pt x="870" y="966"/>
                  </a:lnTo>
                  <a:lnTo>
                    <a:pt x="876" y="966"/>
                  </a:lnTo>
                  <a:lnTo>
                    <a:pt x="882" y="960"/>
                  </a:lnTo>
                  <a:lnTo>
                    <a:pt x="888" y="960"/>
                  </a:lnTo>
                  <a:lnTo>
                    <a:pt x="894" y="960"/>
                  </a:lnTo>
                  <a:lnTo>
                    <a:pt x="894" y="966"/>
                  </a:lnTo>
                  <a:lnTo>
                    <a:pt x="894" y="978"/>
                  </a:lnTo>
                  <a:lnTo>
                    <a:pt x="894" y="984"/>
                  </a:lnTo>
                  <a:lnTo>
                    <a:pt x="900" y="984"/>
                  </a:lnTo>
                  <a:lnTo>
                    <a:pt x="906" y="978"/>
                  </a:lnTo>
                  <a:lnTo>
                    <a:pt x="912" y="972"/>
                  </a:lnTo>
                  <a:lnTo>
                    <a:pt x="918" y="978"/>
                  </a:lnTo>
                  <a:lnTo>
                    <a:pt x="924" y="978"/>
                  </a:lnTo>
                  <a:lnTo>
                    <a:pt x="924" y="972"/>
                  </a:lnTo>
                  <a:lnTo>
                    <a:pt x="924" y="966"/>
                  </a:lnTo>
                  <a:lnTo>
                    <a:pt x="930" y="966"/>
                  </a:lnTo>
                  <a:lnTo>
                    <a:pt x="948" y="966"/>
                  </a:lnTo>
                  <a:lnTo>
                    <a:pt x="954" y="966"/>
                  </a:lnTo>
                  <a:lnTo>
                    <a:pt x="954" y="960"/>
                  </a:lnTo>
                  <a:lnTo>
                    <a:pt x="960" y="960"/>
                  </a:lnTo>
                  <a:lnTo>
                    <a:pt x="966" y="960"/>
                  </a:lnTo>
                  <a:lnTo>
                    <a:pt x="966" y="966"/>
                  </a:lnTo>
                  <a:lnTo>
                    <a:pt x="978" y="972"/>
                  </a:lnTo>
                  <a:lnTo>
                    <a:pt x="978" y="978"/>
                  </a:lnTo>
                  <a:lnTo>
                    <a:pt x="978" y="984"/>
                  </a:lnTo>
                  <a:lnTo>
                    <a:pt x="984" y="978"/>
                  </a:lnTo>
                  <a:lnTo>
                    <a:pt x="990" y="978"/>
                  </a:lnTo>
                  <a:lnTo>
                    <a:pt x="996" y="984"/>
                  </a:lnTo>
                  <a:lnTo>
                    <a:pt x="1002" y="990"/>
                  </a:lnTo>
                  <a:lnTo>
                    <a:pt x="1008" y="972"/>
                  </a:lnTo>
                  <a:lnTo>
                    <a:pt x="1026" y="972"/>
                  </a:lnTo>
                  <a:lnTo>
                    <a:pt x="1032" y="972"/>
                  </a:lnTo>
                  <a:lnTo>
                    <a:pt x="1038" y="972"/>
                  </a:lnTo>
                  <a:lnTo>
                    <a:pt x="1050" y="972"/>
                  </a:lnTo>
                  <a:lnTo>
                    <a:pt x="1056" y="972"/>
                  </a:lnTo>
                  <a:lnTo>
                    <a:pt x="1062" y="966"/>
                  </a:lnTo>
                  <a:lnTo>
                    <a:pt x="1074" y="966"/>
                  </a:lnTo>
                  <a:lnTo>
                    <a:pt x="1074" y="960"/>
                  </a:lnTo>
                  <a:lnTo>
                    <a:pt x="1080" y="954"/>
                  </a:lnTo>
                  <a:lnTo>
                    <a:pt x="1080" y="948"/>
                  </a:lnTo>
                  <a:lnTo>
                    <a:pt x="1074" y="948"/>
                  </a:lnTo>
                  <a:lnTo>
                    <a:pt x="1068" y="948"/>
                  </a:lnTo>
                  <a:lnTo>
                    <a:pt x="1062" y="942"/>
                  </a:lnTo>
                  <a:lnTo>
                    <a:pt x="1068" y="936"/>
                  </a:lnTo>
                  <a:lnTo>
                    <a:pt x="1074" y="936"/>
                  </a:lnTo>
                  <a:lnTo>
                    <a:pt x="1080" y="936"/>
                  </a:lnTo>
                  <a:lnTo>
                    <a:pt x="1086" y="942"/>
                  </a:lnTo>
                  <a:lnTo>
                    <a:pt x="1092" y="942"/>
                  </a:lnTo>
                  <a:lnTo>
                    <a:pt x="1098" y="948"/>
                  </a:lnTo>
                  <a:lnTo>
                    <a:pt x="1104" y="954"/>
                  </a:lnTo>
                  <a:lnTo>
                    <a:pt x="1110" y="954"/>
                  </a:lnTo>
                  <a:lnTo>
                    <a:pt x="1116" y="948"/>
                  </a:lnTo>
                  <a:lnTo>
                    <a:pt x="1122" y="942"/>
                  </a:lnTo>
                  <a:lnTo>
                    <a:pt x="1128" y="942"/>
                  </a:lnTo>
                  <a:lnTo>
                    <a:pt x="1134" y="942"/>
                  </a:lnTo>
                  <a:lnTo>
                    <a:pt x="1140" y="948"/>
                  </a:lnTo>
                  <a:lnTo>
                    <a:pt x="1146" y="942"/>
                  </a:lnTo>
                  <a:lnTo>
                    <a:pt x="1152" y="942"/>
                  </a:lnTo>
                  <a:lnTo>
                    <a:pt x="1152" y="930"/>
                  </a:lnTo>
                  <a:lnTo>
                    <a:pt x="1164" y="936"/>
                  </a:lnTo>
                  <a:lnTo>
                    <a:pt x="1158" y="942"/>
                  </a:lnTo>
                  <a:lnTo>
                    <a:pt x="1158" y="948"/>
                  </a:lnTo>
                  <a:lnTo>
                    <a:pt x="1146" y="954"/>
                  </a:lnTo>
                  <a:lnTo>
                    <a:pt x="1152" y="954"/>
                  </a:lnTo>
                  <a:lnTo>
                    <a:pt x="1158" y="954"/>
                  </a:lnTo>
                  <a:lnTo>
                    <a:pt x="1158" y="948"/>
                  </a:lnTo>
                  <a:lnTo>
                    <a:pt x="1164" y="948"/>
                  </a:lnTo>
                  <a:lnTo>
                    <a:pt x="1170" y="948"/>
                  </a:lnTo>
                  <a:lnTo>
                    <a:pt x="1176" y="954"/>
                  </a:lnTo>
                  <a:lnTo>
                    <a:pt x="1176" y="966"/>
                  </a:lnTo>
                  <a:lnTo>
                    <a:pt x="1182" y="972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88" y="984"/>
                  </a:lnTo>
                  <a:lnTo>
                    <a:pt x="1194" y="984"/>
                  </a:lnTo>
                  <a:lnTo>
                    <a:pt x="1200" y="984"/>
                  </a:lnTo>
                  <a:lnTo>
                    <a:pt x="1212" y="984"/>
                  </a:lnTo>
                  <a:lnTo>
                    <a:pt x="1218" y="990"/>
                  </a:lnTo>
                  <a:lnTo>
                    <a:pt x="1224" y="990"/>
                  </a:lnTo>
                  <a:lnTo>
                    <a:pt x="1224" y="984"/>
                  </a:lnTo>
                  <a:lnTo>
                    <a:pt x="1230" y="990"/>
                  </a:lnTo>
                  <a:lnTo>
                    <a:pt x="1236" y="984"/>
                  </a:lnTo>
                  <a:lnTo>
                    <a:pt x="1242" y="984"/>
                  </a:lnTo>
                  <a:lnTo>
                    <a:pt x="1248" y="990"/>
                  </a:lnTo>
                  <a:lnTo>
                    <a:pt x="1254" y="990"/>
                  </a:lnTo>
                  <a:lnTo>
                    <a:pt x="1254" y="996"/>
                  </a:lnTo>
                  <a:lnTo>
                    <a:pt x="1254" y="1002"/>
                  </a:lnTo>
                  <a:lnTo>
                    <a:pt x="1254" y="1008"/>
                  </a:lnTo>
                  <a:lnTo>
                    <a:pt x="1260" y="1014"/>
                  </a:lnTo>
                  <a:lnTo>
                    <a:pt x="1266" y="1014"/>
                  </a:lnTo>
                  <a:lnTo>
                    <a:pt x="1272" y="1014"/>
                  </a:lnTo>
                  <a:lnTo>
                    <a:pt x="1278" y="1020"/>
                  </a:lnTo>
                  <a:lnTo>
                    <a:pt x="1284" y="1020"/>
                  </a:lnTo>
                  <a:lnTo>
                    <a:pt x="1290" y="1014"/>
                  </a:lnTo>
                  <a:lnTo>
                    <a:pt x="1290" y="1008"/>
                  </a:lnTo>
                  <a:lnTo>
                    <a:pt x="1296" y="1008"/>
                  </a:lnTo>
                  <a:lnTo>
                    <a:pt x="1302" y="1014"/>
                  </a:lnTo>
                  <a:lnTo>
                    <a:pt x="1308" y="1014"/>
                  </a:lnTo>
                  <a:lnTo>
                    <a:pt x="1314" y="1008"/>
                  </a:lnTo>
                  <a:lnTo>
                    <a:pt x="1320" y="1008"/>
                  </a:lnTo>
                  <a:lnTo>
                    <a:pt x="1320" y="1002"/>
                  </a:lnTo>
                  <a:lnTo>
                    <a:pt x="1320" y="996"/>
                  </a:lnTo>
                  <a:lnTo>
                    <a:pt x="1332" y="1002"/>
                  </a:lnTo>
                  <a:lnTo>
                    <a:pt x="1332" y="1008"/>
                  </a:lnTo>
                  <a:lnTo>
                    <a:pt x="1326" y="1014"/>
                  </a:lnTo>
                  <a:lnTo>
                    <a:pt x="1332" y="1014"/>
                  </a:lnTo>
                  <a:lnTo>
                    <a:pt x="1338" y="1014"/>
                  </a:lnTo>
                  <a:lnTo>
                    <a:pt x="1338" y="1008"/>
                  </a:lnTo>
                  <a:lnTo>
                    <a:pt x="1344" y="1008"/>
                  </a:lnTo>
                  <a:lnTo>
                    <a:pt x="1350" y="1008"/>
                  </a:lnTo>
                  <a:lnTo>
                    <a:pt x="1356" y="1014"/>
                  </a:lnTo>
                  <a:lnTo>
                    <a:pt x="1356" y="1008"/>
                  </a:lnTo>
                  <a:lnTo>
                    <a:pt x="1362" y="1014"/>
                  </a:lnTo>
                  <a:lnTo>
                    <a:pt x="1392" y="1014"/>
                  </a:lnTo>
                  <a:lnTo>
                    <a:pt x="1398" y="1014"/>
                  </a:lnTo>
                  <a:lnTo>
                    <a:pt x="1404" y="1008"/>
                  </a:lnTo>
                  <a:lnTo>
                    <a:pt x="1404" y="1014"/>
                  </a:lnTo>
                  <a:lnTo>
                    <a:pt x="1410" y="1008"/>
                  </a:lnTo>
                  <a:lnTo>
                    <a:pt x="1416" y="1008"/>
                  </a:lnTo>
                  <a:lnTo>
                    <a:pt x="1422" y="1002"/>
                  </a:lnTo>
                  <a:lnTo>
                    <a:pt x="1428" y="1002"/>
                  </a:lnTo>
                  <a:lnTo>
                    <a:pt x="1428" y="996"/>
                  </a:lnTo>
                  <a:lnTo>
                    <a:pt x="1428" y="990"/>
                  </a:lnTo>
                  <a:lnTo>
                    <a:pt x="1440" y="1002"/>
                  </a:lnTo>
                  <a:lnTo>
                    <a:pt x="1446" y="1002"/>
                  </a:lnTo>
                  <a:lnTo>
                    <a:pt x="1452" y="1002"/>
                  </a:lnTo>
                  <a:lnTo>
                    <a:pt x="1446" y="996"/>
                  </a:lnTo>
                  <a:lnTo>
                    <a:pt x="1452" y="996"/>
                  </a:lnTo>
                  <a:lnTo>
                    <a:pt x="1458" y="996"/>
                  </a:lnTo>
                  <a:lnTo>
                    <a:pt x="1464" y="996"/>
                  </a:lnTo>
                  <a:lnTo>
                    <a:pt x="1464" y="1002"/>
                  </a:lnTo>
                  <a:lnTo>
                    <a:pt x="1476" y="1014"/>
                  </a:lnTo>
                  <a:lnTo>
                    <a:pt x="1476" y="1008"/>
                  </a:lnTo>
                  <a:lnTo>
                    <a:pt x="1482" y="1008"/>
                  </a:lnTo>
                  <a:lnTo>
                    <a:pt x="1488" y="1020"/>
                  </a:lnTo>
                  <a:lnTo>
                    <a:pt x="1494" y="1020"/>
                  </a:lnTo>
                  <a:lnTo>
                    <a:pt x="1500" y="1014"/>
                  </a:lnTo>
                  <a:lnTo>
                    <a:pt x="1500" y="1020"/>
                  </a:lnTo>
                  <a:lnTo>
                    <a:pt x="1506" y="1026"/>
                  </a:lnTo>
                  <a:lnTo>
                    <a:pt x="1512" y="1032"/>
                  </a:lnTo>
                  <a:lnTo>
                    <a:pt x="1518" y="1032"/>
                  </a:lnTo>
                  <a:lnTo>
                    <a:pt x="1518" y="1038"/>
                  </a:lnTo>
                  <a:lnTo>
                    <a:pt x="1518" y="1044"/>
                  </a:lnTo>
                  <a:lnTo>
                    <a:pt x="1524" y="1044"/>
                  </a:lnTo>
                  <a:lnTo>
                    <a:pt x="1524" y="1050"/>
                  </a:lnTo>
                  <a:lnTo>
                    <a:pt x="1530" y="1056"/>
                  </a:lnTo>
                  <a:lnTo>
                    <a:pt x="1548" y="1062"/>
                  </a:lnTo>
                  <a:lnTo>
                    <a:pt x="1560" y="1074"/>
                  </a:lnTo>
                  <a:lnTo>
                    <a:pt x="1560" y="1080"/>
                  </a:lnTo>
                  <a:lnTo>
                    <a:pt x="1560" y="1086"/>
                  </a:lnTo>
                  <a:lnTo>
                    <a:pt x="1566" y="1086"/>
                  </a:lnTo>
                  <a:lnTo>
                    <a:pt x="1572" y="1098"/>
                  </a:lnTo>
                  <a:lnTo>
                    <a:pt x="1572" y="1104"/>
                  </a:lnTo>
                  <a:lnTo>
                    <a:pt x="1584" y="1110"/>
                  </a:lnTo>
                  <a:lnTo>
                    <a:pt x="1590" y="1116"/>
                  </a:lnTo>
                  <a:lnTo>
                    <a:pt x="1596" y="1116"/>
                  </a:lnTo>
                  <a:lnTo>
                    <a:pt x="1608" y="1122"/>
                  </a:lnTo>
                  <a:lnTo>
                    <a:pt x="1620" y="1140"/>
                  </a:lnTo>
                  <a:lnTo>
                    <a:pt x="1626" y="1158"/>
                  </a:lnTo>
                  <a:lnTo>
                    <a:pt x="1638" y="1200"/>
                  </a:lnTo>
                  <a:lnTo>
                    <a:pt x="1638" y="1218"/>
                  </a:lnTo>
                  <a:lnTo>
                    <a:pt x="1620" y="1230"/>
                  </a:lnTo>
                  <a:lnTo>
                    <a:pt x="1554" y="1230"/>
                  </a:lnTo>
                  <a:lnTo>
                    <a:pt x="1560" y="1248"/>
                  </a:lnTo>
                  <a:lnTo>
                    <a:pt x="1584" y="1260"/>
                  </a:lnTo>
                  <a:lnTo>
                    <a:pt x="1584" y="1266"/>
                  </a:lnTo>
                  <a:lnTo>
                    <a:pt x="1578" y="1272"/>
                  </a:lnTo>
                  <a:lnTo>
                    <a:pt x="1572" y="1272"/>
                  </a:lnTo>
                  <a:lnTo>
                    <a:pt x="1566" y="1278"/>
                  </a:lnTo>
                  <a:lnTo>
                    <a:pt x="1566" y="1284"/>
                  </a:lnTo>
                  <a:lnTo>
                    <a:pt x="1560" y="1290"/>
                  </a:lnTo>
                  <a:lnTo>
                    <a:pt x="1554" y="1290"/>
                  </a:lnTo>
                  <a:lnTo>
                    <a:pt x="1554" y="1296"/>
                  </a:lnTo>
                  <a:lnTo>
                    <a:pt x="1554" y="1302"/>
                  </a:lnTo>
                  <a:lnTo>
                    <a:pt x="1560" y="1332"/>
                  </a:lnTo>
                  <a:lnTo>
                    <a:pt x="1566" y="1356"/>
                  </a:lnTo>
                  <a:lnTo>
                    <a:pt x="1572" y="1356"/>
                  </a:lnTo>
                  <a:lnTo>
                    <a:pt x="1572" y="1362"/>
                  </a:lnTo>
                  <a:lnTo>
                    <a:pt x="1578" y="1362"/>
                  </a:lnTo>
                  <a:lnTo>
                    <a:pt x="1560" y="1374"/>
                  </a:lnTo>
                  <a:lnTo>
                    <a:pt x="1560" y="1380"/>
                  </a:lnTo>
                  <a:lnTo>
                    <a:pt x="1548" y="1380"/>
                  </a:lnTo>
                  <a:lnTo>
                    <a:pt x="1548" y="1386"/>
                  </a:lnTo>
                  <a:lnTo>
                    <a:pt x="1548" y="1392"/>
                  </a:lnTo>
                  <a:lnTo>
                    <a:pt x="1542" y="1410"/>
                  </a:lnTo>
                  <a:lnTo>
                    <a:pt x="1536" y="1422"/>
                  </a:lnTo>
                  <a:lnTo>
                    <a:pt x="1536" y="1428"/>
                  </a:lnTo>
                  <a:lnTo>
                    <a:pt x="1530" y="1440"/>
                  </a:lnTo>
                  <a:lnTo>
                    <a:pt x="1524" y="1434"/>
                  </a:lnTo>
                  <a:lnTo>
                    <a:pt x="1524" y="1428"/>
                  </a:lnTo>
                  <a:lnTo>
                    <a:pt x="1524" y="1422"/>
                  </a:lnTo>
                  <a:lnTo>
                    <a:pt x="1512" y="1410"/>
                  </a:lnTo>
                  <a:lnTo>
                    <a:pt x="1506" y="1404"/>
                  </a:lnTo>
                  <a:lnTo>
                    <a:pt x="1506" y="1398"/>
                  </a:lnTo>
                  <a:lnTo>
                    <a:pt x="1494" y="1392"/>
                  </a:lnTo>
                  <a:lnTo>
                    <a:pt x="1476" y="1404"/>
                  </a:lnTo>
                  <a:lnTo>
                    <a:pt x="1464" y="1416"/>
                  </a:lnTo>
                  <a:lnTo>
                    <a:pt x="1458" y="1428"/>
                  </a:lnTo>
                  <a:lnTo>
                    <a:pt x="1446" y="1434"/>
                  </a:lnTo>
                  <a:lnTo>
                    <a:pt x="1410" y="1440"/>
                  </a:lnTo>
                  <a:lnTo>
                    <a:pt x="1398" y="1440"/>
                  </a:lnTo>
                  <a:lnTo>
                    <a:pt x="1398" y="1446"/>
                  </a:lnTo>
                  <a:lnTo>
                    <a:pt x="1386" y="1446"/>
                  </a:lnTo>
                  <a:lnTo>
                    <a:pt x="1380" y="1440"/>
                  </a:lnTo>
                  <a:lnTo>
                    <a:pt x="1368" y="1440"/>
                  </a:lnTo>
                  <a:lnTo>
                    <a:pt x="1368" y="1446"/>
                  </a:lnTo>
                  <a:lnTo>
                    <a:pt x="1356" y="1446"/>
                  </a:lnTo>
                  <a:lnTo>
                    <a:pt x="1350" y="1452"/>
                  </a:lnTo>
                  <a:lnTo>
                    <a:pt x="1338" y="1452"/>
                  </a:lnTo>
                  <a:lnTo>
                    <a:pt x="1338" y="1458"/>
                  </a:lnTo>
                  <a:lnTo>
                    <a:pt x="1332" y="1458"/>
                  </a:lnTo>
                  <a:lnTo>
                    <a:pt x="1332" y="1464"/>
                  </a:lnTo>
                  <a:lnTo>
                    <a:pt x="1332" y="1470"/>
                  </a:lnTo>
                  <a:lnTo>
                    <a:pt x="1326" y="1470"/>
                  </a:lnTo>
                  <a:lnTo>
                    <a:pt x="1320" y="1470"/>
                  </a:lnTo>
                  <a:lnTo>
                    <a:pt x="1314" y="1470"/>
                  </a:lnTo>
                  <a:lnTo>
                    <a:pt x="1314" y="1464"/>
                  </a:lnTo>
                  <a:lnTo>
                    <a:pt x="1308" y="1464"/>
                  </a:lnTo>
                  <a:lnTo>
                    <a:pt x="1308" y="1452"/>
                  </a:lnTo>
                  <a:lnTo>
                    <a:pt x="1284" y="1458"/>
                  </a:lnTo>
                  <a:lnTo>
                    <a:pt x="1272" y="1458"/>
                  </a:lnTo>
                  <a:lnTo>
                    <a:pt x="1272" y="1464"/>
                  </a:lnTo>
                  <a:lnTo>
                    <a:pt x="1260" y="1464"/>
                  </a:lnTo>
                  <a:lnTo>
                    <a:pt x="1254" y="1464"/>
                  </a:lnTo>
                  <a:lnTo>
                    <a:pt x="1242" y="1422"/>
                  </a:lnTo>
                  <a:lnTo>
                    <a:pt x="1242" y="1416"/>
                  </a:lnTo>
                  <a:lnTo>
                    <a:pt x="1242" y="1410"/>
                  </a:lnTo>
                  <a:lnTo>
                    <a:pt x="1248" y="1410"/>
                  </a:lnTo>
                  <a:lnTo>
                    <a:pt x="1242" y="1410"/>
                  </a:lnTo>
                  <a:lnTo>
                    <a:pt x="1242" y="1404"/>
                  </a:lnTo>
                  <a:lnTo>
                    <a:pt x="1242" y="1398"/>
                  </a:lnTo>
                  <a:lnTo>
                    <a:pt x="1248" y="1392"/>
                  </a:lnTo>
                  <a:lnTo>
                    <a:pt x="1248" y="1386"/>
                  </a:lnTo>
                  <a:lnTo>
                    <a:pt x="1242" y="1380"/>
                  </a:lnTo>
                  <a:lnTo>
                    <a:pt x="1248" y="1380"/>
                  </a:lnTo>
                  <a:lnTo>
                    <a:pt x="1248" y="1374"/>
                  </a:lnTo>
                  <a:lnTo>
                    <a:pt x="1248" y="1368"/>
                  </a:lnTo>
                  <a:lnTo>
                    <a:pt x="1254" y="1368"/>
                  </a:lnTo>
                  <a:lnTo>
                    <a:pt x="1254" y="1362"/>
                  </a:lnTo>
                  <a:lnTo>
                    <a:pt x="1248" y="1356"/>
                  </a:lnTo>
                  <a:lnTo>
                    <a:pt x="1254" y="1356"/>
                  </a:lnTo>
                  <a:lnTo>
                    <a:pt x="1254" y="1344"/>
                  </a:lnTo>
                  <a:lnTo>
                    <a:pt x="1242" y="1338"/>
                  </a:lnTo>
                  <a:lnTo>
                    <a:pt x="1242" y="1326"/>
                  </a:lnTo>
                  <a:lnTo>
                    <a:pt x="1230" y="1326"/>
                  </a:lnTo>
                  <a:lnTo>
                    <a:pt x="1230" y="1314"/>
                  </a:lnTo>
                  <a:lnTo>
                    <a:pt x="1218" y="1314"/>
                  </a:lnTo>
                  <a:lnTo>
                    <a:pt x="1200" y="1272"/>
                  </a:lnTo>
                  <a:lnTo>
                    <a:pt x="1194" y="1242"/>
                  </a:lnTo>
                  <a:lnTo>
                    <a:pt x="1194" y="1206"/>
                  </a:lnTo>
                  <a:lnTo>
                    <a:pt x="1182" y="1200"/>
                  </a:lnTo>
                  <a:lnTo>
                    <a:pt x="1164" y="1206"/>
                  </a:lnTo>
                  <a:lnTo>
                    <a:pt x="1146" y="1212"/>
                  </a:lnTo>
                  <a:lnTo>
                    <a:pt x="1146" y="1218"/>
                  </a:lnTo>
                  <a:lnTo>
                    <a:pt x="1134" y="1224"/>
                  </a:lnTo>
                  <a:lnTo>
                    <a:pt x="1140" y="1260"/>
                  </a:lnTo>
                  <a:lnTo>
                    <a:pt x="1134" y="1266"/>
                  </a:lnTo>
                  <a:lnTo>
                    <a:pt x="1122" y="1266"/>
                  </a:lnTo>
                  <a:lnTo>
                    <a:pt x="1110" y="1236"/>
                  </a:lnTo>
                  <a:lnTo>
                    <a:pt x="1110" y="1224"/>
                  </a:lnTo>
                  <a:lnTo>
                    <a:pt x="1086" y="1224"/>
                  </a:lnTo>
                  <a:lnTo>
                    <a:pt x="1086" y="1212"/>
                  </a:lnTo>
                  <a:lnTo>
                    <a:pt x="1074" y="1212"/>
                  </a:lnTo>
                  <a:lnTo>
                    <a:pt x="1050" y="1212"/>
                  </a:lnTo>
                  <a:lnTo>
                    <a:pt x="1056" y="1218"/>
                  </a:lnTo>
                  <a:lnTo>
                    <a:pt x="1050" y="1272"/>
                  </a:lnTo>
                  <a:lnTo>
                    <a:pt x="1044" y="1272"/>
                  </a:lnTo>
                  <a:lnTo>
                    <a:pt x="1038" y="1284"/>
                  </a:lnTo>
                  <a:lnTo>
                    <a:pt x="1032" y="1302"/>
                  </a:lnTo>
                  <a:lnTo>
                    <a:pt x="1014" y="1302"/>
                  </a:lnTo>
                  <a:lnTo>
                    <a:pt x="1020" y="1284"/>
                  </a:lnTo>
                  <a:lnTo>
                    <a:pt x="1026" y="1278"/>
                  </a:lnTo>
                  <a:lnTo>
                    <a:pt x="1026" y="1266"/>
                  </a:lnTo>
                  <a:lnTo>
                    <a:pt x="1014" y="1260"/>
                  </a:lnTo>
                  <a:lnTo>
                    <a:pt x="1014" y="1272"/>
                  </a:lnTo>
                  <a:lnTo>
                    <a:pt x="990" y="1278"/>
                  </a:lnTo>
                  <a:lnTo>
                    <a:pt x="990" y="1254"/>
                  </a:lnTo>
                  <a:lnTo>
                    <a:pt x="984" y="1254"/>
                  </a:lnTo>
                  <a:lnTo>
                    <a:pt x="978" y="1242"/>
                  </a:lnTo>
                  <a:lnTo>
                    <a:pt x="972" y="1236"/>
                  </a:lnTo>
                  <a:lnTo>
                    <a:pt x="960" y="1206"/>
                  </a:lnTo>
                  <a:lnTo>
                    <a:pt x="942" y="1206"/>
                  </a:lnTo>
                  <a:lnTo>
                    <a:pt x="936" y="1200"/>
                  </a:lnTo>
                  <a:lnTo>
                    <a:pt x="906" y="1212"/>
                  </a:lnTo>
                  <a:lnTo>
                    <a:pt x="888" y="1230"/>
                  </a:lnTo>
                  <a:lnTo>
                    <a:pt x="876" y="1230"/>
                  </a:lnTo>
                  <a:lnTo>
                    <a:pt x="864" y="1236"/>
                  </a:lnTo>
                  <a:lnTo>
                    <a:pt x="858" y="1236"/>
                  </a:lnTo>
                  <a:lnTo>
                    <a:pt x="852" y="1254"/>
                  </a:lnTo>
                  <a:lnTo>
                    <a:pt x="858" y="1254"/>
                  </a:lnTo>
                  <a:lnTo>
                    <a:pt x="840" y="1266"/>
                  </a:lnTo>
                  <a:lnTo>
                    <a:pt x="828" y="1272"/>
                  </a:lnTo>
                  <a:lnTo>
                    <a:pt x="828" y="1284"/>
                  </a:lnTo>
                  <a:lnTo>
                    <a:pt x="822" y="1284"/>
                  </a:lnTo>
                  <a:lnTo>
                    <a:pt x="804" y="1296"/>
                  </a:lnTo>
                  <a:lnTo>
                    <a:pt x="804" y="1308"/>
                  </a:lnTo>
                  <a:lnTo>
                    <a:pt x="816" y="1320"/>
                  </a:lnTo>
                  <a:lnTo>
                    <a:pt x="828" y="1320"/>
                  </a:lnTo>
                  <a:lnTo>
                    <a:pt x="822" y="1338"/>
                  </a:lnTo>
                  <a:lnTo>
                    <a:pt x="852" y="1344"/>
                  </a:lnTo>
                  <a:lnTo>
                    <a:pt x="864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94" y="1356"/>
                  </a:lnTo>
                  <a:lnTo>
                    <a:pt x="912" y="1368"/>
                  </a:lnTo>
                  <a:lnTo>
                    <a:pt x="918" y="1380"/>
                  </a:lnTo>
                  <a:lnTo>
                    <a:pt x="936" y="1380"/>
                  </a:lnTo>
                  <a:lnTo>
                    <a:pt x="960" y="1386"/>
                  </a:lnTo>
                  <a:lnTo>
                    <a:pt x="990" y="1386"/>
                  </a:lnTo>
                  <a:lnTo>
                    <a:pt x="990" y="1392"/>
                  </a:lnTo>
                  <a:lnTo>
                    <a:pt x="1020" y="1398"/>
                  </a:lnTo>
                  <a:lnTo>
                    <a:pt x="1014" y="1404"/>
                  </a:lnTo>
                  <a:lnTo>
                    <a:pt x="1008" y="1404"/>
                  </a:lnTo>
                  <a:lnTo>
                    <a:pt x="1014" y="1440"/>
                  </a:lnTo>
                  <a:lnTo>
                    <a:pt x="1020" y="1458"/>
                  </a:lnTo>
                  <a:lnTo>
                    <a:pt x="1026" y="1476"/>
                  </a:lnTo>
                  <a:lnTo>
                    <a:pt x="1020" y="1476"/>
                  </a:lnTo>
                  <a:lnTo>
                    <a:pt x="1014" y="1476"/>
                  </a:lnTo>
                  <a:lnTo>
                    <a:pt x="1014" y="1482"/>
                  </a:lnTo>
                  <a:lnTo>
                    <a:pt x="1014" y="1488"/>
                  </a:lnTo>
                  <a:lnTo>
                    <a:pt x="1002" y="1488"/>
                  </a:lnTo>
                  <a:lnTo>
                    <a:pt x="1002" y="1494"/>
                  </a:lnTo>
                  <a:lnTo>
                    <a:pt x="996" y="1494"/>
                  </a:lnTo>
                  <a:lnTo>
                    <a:pt x="996" y="1518"/>
                  </a:lnTo>
                  <a:lnTo>
                    <a:pt x="1002" y="1524"/>
                  </a:lnTo>
                  <a:lnTo>
                    <a:pt x="1020" y="1530"/>
                  </a:lnTo>
                  <a:lnTo>
                    <a:pt x="1026" y="1542"/>
                  </a:lnTo>
                  <a:lnTo>
                    <a:pt x="1032" y="1566"/>
                  </a:lnTo>
                  <a:lnTo>
                    <a:pt x="1038" y="1578"/>
                  </a:lnTo>
                  <a:lnTo>
                    <a:pt x="1032" y="1584"/>
                  </a:lnTo>
                  <a:lnTo>
                    <a:pt x="1020" y="1584"/>
                  </a:lnTo>
                  <a:lnTo>
                    <a:pt x="1014" y="1584"/>
                  </a:lnTo>
                  <a:lnTo>
                    <a:pt x="1008" y="1596"/>
                  </a:lnTo>
                  <a:lnTo>
                    <a:pt x="990" y="1584"/>
                  </a:lnTo>
                  <a:lnTo>
                    <a:pt x="984" y="1602"/>
                  </a:lnTo>
                  <a:lnTo>
                    <a:pt x="978" y="1608"/>
                  </a:lnTo>
                  <a:lnTo>
                    <a:pt x="966" y="1608"/>
                  </a:lnTo>
                  <a:lnTo>
                    <a:pt x="960" y="1614"/>
                  </a:lnTo>
                  <a:lnTo>
                    <a:pt x="954" y="1614"/>
                  </a:lnTo>
                  <a:lnTo>
                    <a:pt x="942" y="1620"/>
                  </a:lnTo>
                  <a:lnTo>
                    <a:pt x="936" y="1620"/>
                  </a:lnTo>
                  <a:lnTo>
                    <a:pt x="930" y="1620"/>
                  </a:lnTo>
                  <a:lnTo>
                    <a:pt x="930" y="1626"/>
                  </a:lnTo>
                  <a:lnTo>
                    <a:pt x="930" y="1632"/>
                  </a:lnTo>
                  <a:lnTo>
                    <a:pt x="918" y="1632"/>
                  </a:lnTo>
                  <a:lnTo>
                    <a:pt x="912" y="1632"/>
                  </a:lnTo>
                  <a:lnTo>
                    <a:pt x="906" y="1632"/>
                  </a:lnTo>
                  <a:lnTo>
                    <a:pt x="900" y="1632"/>
                  </a:lnTo>
                  <a:lnTo>
                    <a:pt x="894" y="1626"/>
                  </a:lnTo>
                  <a:lnTo>
                    <a:pt x="894" y="1614"/>
                  </a:lnTo>
                  <a:lnTo>
                    <a:pt x="840" y="1614"/>
                  </a:lnTo>
                  <a:lnTo>
                    <a:pt x="840" y="1626"/>
                  </a:lnTo>
                  <a:lnTo>
                    <a:pt x="834" y="1626"/>
                  </a:lnTo>
                  <a:lnTo>
                    <a:pt x="828" y="1632"/>
                  </a:lnTo>
                  <a:lnTo>
                    <a:pt x="822" y="1638"/>
                  </a:lnTo>
                  <a:lnTo>
                    <a:pt x="822" y="1644"/>
                  </a:lnTo>
                  <a:lnTo>
                    <a:pt x="834" y="1650"/>
                  </a:lnTo>
                  <a:lnTo>
                    <a:pt x="840" y="1662"/>
                  </a:lnTo>
                  <a:lnTo>
                    <a:pt x="840" y="1668"/>
                  </a:lnTo>
                  <a:lnTo>
                    <a:pt x="858" y="1680"/>
                  </a:lnTo>
                  <a:lnTo>
                    <a:pt x="858" y="1752"/>
                  </a:lnTo>
                  <a:lnTo>
                    <a:pt x="864" y="1782"/>
                  </a:lnTo>
                  <a:lnTo>
                    <a:pt x="876" y="1788"/>
                  </a:lnTo>
                  <a:lnTo>
                    <a:pt x="870" y="1854"/>
                  </a:lnTo>
                  <a:lnTo>
                    <a:pt x="870" y="1884"/>
                  </a:lnTo>
                  <a:lnTo>
                    <a:pt x="864" y="1884"/>
                  </a:lnTo>
                  <a:lnTo>
                    <a:pt x="846" y="1896"/>
                  </a:lnTo>
                  <a:lnTo>
                    <a:pt x="840" y="1896"/>
                  </a:lnTo>
                  <a:lnTo>
                    <a:pt x="834" y="1896"/>
                  </a:lnTo>
                  <a:lnTo>
                    <a:pt x="828" y="1890"/>
                  </a:lnTo>
                  <a:lnTo>
                    <a:pt x="822" y="1890"/>
                  </a:lnTo>
                  <a:lnTo>
                    <a:pt x="816" y="1896"/>
                  </a:lnTo>
                  <a:lnTo>
                    <a:pt x="804" y="1896"/>
                  </a:lnTo>
                  <a:lnTo>
                    <a:pt x="804" y="1890"/>
                  </a:lnTo>
                  <a:lnTo>
                    <a:pt x="780" y="1896"/>
                  </a:lnTo>
                  <a:lnTo>
                    <a:pt x="780" y="1902"/>
                  </a:lnTo>
                  <a:lnTo>
                    <a:pt x="774" y="1914"/>
                  </a:lnTo>
                  <a:lnTo>
                    <a:pt x="762" y="1926"/>
                  </a:lnTo>
                  <a:lnTo>
                    <a:pt x="762" y="1950"/>
                  </a:lnTo>
                  <a:lnTo>
                    <a:pt x="762" y="1962"/>
                  </a:lnTo>
                  <a:lnTo>
                    <a:pt x="780" y="1974"/>
                  </a:lnTo>
                  <a:lnTo>
                    <a:pt x="780" y="1986"/>
                  </a:lnTo>
                  <a:lnTo>
                    <a:pt x="780" y="1998"/>
                  </a:lnTo>
                  <a:lnTo>
                    <a:pt x="756" y="1998"/>
                  </a:lnTo>
                  <a:lnTo>
                    <a:pt x="720" y="1992"/>
                  </a:lnTo>
                  <a:lnTo>
                    <a:pt x="666" y="1998"/>
                  </a:lnTo>
                  <a:lnTo>
                    <a:pt x="654" y="1998"/>
                  </a:lnTo>
                  <a:lnTo>
                    <a:pt x="660" y="1974"/>
                  </a:lnTo>
                  <a:lnTo>
                    <a:pt x="666" y="1962"/>
                  </a:lnTo>
                  <a:lnTo>
                    <a:pt x="678" y="1950"/>
                  </a:lnTo>
                  <a:lnTo>
                    <a:pt x="696" y="1932"/>
                  </a:lnTo>
                  <a:lnTo>
                    <a:pt x="696" y="1920"/>
                  </a:lnTo>
                  <a:lnTo>
                    <a:pt x="696" y="1896"/>
                  </a:lnTo>
                  <a:lnTo>
                    <a:pt x="678" y="1896"/>
                  </a:lnTo>
                  <a:lnTo>
                    <a:pt x="672" y="1884"/>
                  </a:lnTo>
                  <a:lnTo>
                    <a:pt x="672" y="1776"/>
                  </a:lnTo>
                  <a:lnTo>
                    <a:pt x="678" y="1758"/>
                  </a:lnTo>
                  <a:lnTo>
                    <a:pt x="678" y="1740"/>
                  </a:lnTo>
                  <a:lnTo>
                    <a:pt x="684" y="1728"/>
                  </a:lnTo>
                  <a:lnTo>
                    <a:pt x="690" y="1722"/>
                  </a:lnTo>
                  <a:lnTo>
                    <a:pt x="702" y="1722"/>
                  </a:lnTo>
                  <a:lnTo>
                    <a:pt x="708" y="1716"/>
                  </a:lnTo>
                  <a:lnTo>
                    <a:pt x="714" y="1710"/>
                  </a:lnTo>
                  <a:lnTo>
                    <a:pt x="720" y="1698"/>
                  </a:lnTo>
                  <a:lnTo>
                    <a:pt x="732" y="1692"/>
                  </a:lnTo>
                  <a:lnTo>
                    <a:pt x="744" y="1686"/>
                  </a:lnTo>
                  <a:lnTo>
                    <a:pt x="756" y="1680"/>
                  </a:lnTo>
                  <a:lnTo>
                    <a:pt x="768" y="1668"/>
                  </a:lnTo>
                  <a:lnTo>
                    <a:pt x="768" y="1650"/>
                  </a:lnTo>
                  <a:lnTo>
                    <a:pt x="774" y="1632"/>
                  </a:lnTo>
                  <a:lnTo>
                    <a:pt x="768" y="1620"/>
                  </a:lnTo>
                  <a:lnTo>
                    <a:pt x="774" y="1608"/>
                  </a:lnTo>
                  <a:lnTo>
                    <a:pt x="774" y="1578"/>
                  </a:lnTo>
                  <a:lnTo>
                    <a:pt x="774" y="1572"/>
                  </a:lnTo>
                  <a:lnTo>
                    <a:pt x="780" y="1560"/>
                  </a:lnTo>
                  <a:lnTo>
                    <a:pt x="780" y="1554"/>
                  </a:lnTo>
                  <a:lnTo>
                    <a:pt x="786" y="1542"/>
                  </a:lnTo>
                  <a:lnTo>
                    <a:pt x="792" y="1530"/>
                  </a:lnTo>
                  <a:lnTo>
                    <a:pt x="792" y="1518"/>
                  </a:lnTo>
                  <a:lnTo>
                    <a:pt x="792" y="1506"/>
                  </a:lnTo>
                  <a:lnTo>
                    <a:pt x="786" y="1500"/>
                  </a:lnTo>
                  <a:lnTo>
                    <a:pt x="774" y="1488"/>
                  </a:lnTo>
                  <a:lnTo>
                    <a:pt x="774" y="1482"/>
                  </a:lnTo>
                  <a:lnTo>
                    <a:pt x="762" y="1488"/>
                  </a:lnTo>
                  <a:lnTo>
                    <a:pt x="756" y="1494"/>
                  </a:lnTo>
                  <a:lnTo>
                    <a:pt x="744" y="1500"/>
                  </a:lnTo>
                  <a:lnTo>
                    <a:pt x="732" y="1506"/>
                  </a:lnTo>
                  <a:lnTo>
                    <a:pt x="726" y="1506"/>
                  </a:lnTo>
                  <a:lnTo>
                    <a:pt x="720" y="1506"/>
                  </a:lnTo>
                  <a:lnTo>
                    <a:pt x="702" y="1506"/>
                  </a:lnTo>
                  <a:lnTo>
                    <a:pt x="690" y="1500"/>
                  </a:lnTo>
                  <a:lnTo>
                    <a:pt x="678" y="1500"/>
                  </a:lnTo>
                  <a:lnTo>
                    <a:pt x="672" y="1500"/>
                  </a:lnTo>
                  <a:lnTo>
                    <a:pt x="660" y="1506"/>
                  </a:lnTo>
                  <a:lnTo>
                    <a:pt x="654" y="1506"/>
                  </a:lnTo>
                  <a:lnTo>
                    <a:pt x="648" y="1512"/>
                  </a:lnTo>
                  <a:lnTo>
                    <a:pt x="648" y="1518"/>
                  </a:lnTo>
                  <a:lnTo>
                    <a:pt x="618" y="1518"/>
                  </a:lnTo>
                  <a:lnTo>
                    <a:pt x="534" y="1494"/>
                  </a:lnTo>
                  <a:lnTo>
                    <a:pt x="528" y="1458"/>
                  </a:lnTo>
                  <a:lnTo>
                    <a:pt x="510" y="1458"/>
                  </a:lnTo>
                  <a:lnTo>
                    <a:pt x="492" y="1440"/>
                  </a:lnTo>
                  <a:lnTo>
                    <a:pt x="462" y="1440"/>
                  </a:lnTo>
                  <a:lnTo>
                    <a:pt x="456" y="1428"/>
                  </a:lnTo>
                  <a:lnTo>
                    <a:pt x="420" y="1428"/>
                  </a:lnTo>
                  <a:lnTo>
                    <a:pt x="390" y="1446"/>
                  </a:lnTo>
                  <a:lnTo>
                    <a:pt x="312" y="1452"/>
                  </a:lnTo>
                  <a:lnTo>
                    <a:pt x="300" y="1446"/>
                  </a:lnTo>
                  <a:lnTo>
                    <a:pt x="294" y="1446"/>
                  </a:lnTo>
                  <a:lnTo>
                    <a:pt x="288" y="1446"/>
                  </a:lnTo>
                  <a:lnTo>
                    <a:pt x="282" y="1440"/>
                  </a:lnTo>
                  <a:lnTo>
                    <a:pt x="276" y="1440"/>
                  </a:lnTo>
                  <a:lnTo>
                    <a:pt x="270" y="1440"/>
                  </a:lnTo>
                  <a:lnTo>
                    <a:pt x="264" y="1440"/>
                  </a:lnTo>
                  <a:lnTo>
                    <a:pt x="258" y="1434"/>
                  </a:lnTo>
                  <a:lnTo>
                    <a:pt x="252" y="1434"/>
                  </a:lnTo>
                  <a:lnTo>
                    <a:pt x="246" y="1428"/>
                  </a:lnTo>
                  <a:lnTo>
                    <a:pt x="240" y="1416"/>
                  </a:lnTo>
                  <a:lnTo>
                    <a:pt x="234" y="1404"/>
                  </a:lnTo>
                  <a:lnTo>
                    <a:pt x="228" y="1398"/>
                  </a:lnTo>
                  <a:lnTo>
                    <a:pt x="222" y="1398"/>
                  </a:lnTo>
                  <a:lnTo>
                    <a:pt x="216" y="1404"/>
                  </a:lnTo>
                  <a:lnTo>
                    <a:pt x="210" y="1404"/>
                  </a:lnTo>
                  <a:lnTo>
                    <a:pt x="204" y="1404"/>
                  </a:lnTo>
                  <a:lnTo>
                    <a:pt x="204" y="1398"/>
                  </a:lnTo>
                  <a:lnTo>
                    <a:pt x="198" y="1392"/>
                  </a:lnTo>
                  <a:lnTo>
                    <a:pt x="192" y="1386"/>
                  </a:lnTo>
                  <a:lnTo>
                    <a:pt x="168" y="1374"/>
                  </a:lnTo>
                  <a:lnTo>
                    <a:pt x="144" y="138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0" name="Freeform 35">
              <a:extLst>
                <a:ext uri="{FF2B5EF4-FFF2-40B4-BE49-F238E27FC236}">
                  <a16:creationId xmlns:a16="http://schemas.microsoft.com/office/drawing/2014/main" id="{F64BF16E-9D62-438E-A1CC-CD4088AC7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2895" y="1706004"/>
              <a:ext cx="767013" cy="785011"/>
            </a:xfrm>
            <a:custGeom>
              <a:avLst/>
              <a:gdLst>
                <a:gd name="T0" fmla="*/ 102 w 1440"/>
                <a:gd name="T1" fmla="*/ 104 h 1476"/>
                <a:gd name="T2" fmla="*/ 99 w 1440"/>
                <a:gd name="T3" fmla="*/ 108 h 1476"/>
                <a:gd name="T4" fmla="*/ 98 w 1440"/>
                <a:gd name="T5" fmla="*/ 112 h 1476"/>
                <a:gd name="T6" fmla="*/ 96 w 1440"/>
                <a:gd name="T7" fmla="*/ 116 h 1476"/>
                <a:gd name="T8" fmla="*/ 91 w 1440"/>
                <a:gd name="T9" fmla="*/ 118 h 1476"/>
                <a:gd name="T10" fmla="*/ 87 w 1440"/>
                <a:gd name="T11" fmla="*/ 120 h 1476"/>
                <a:gd name="T12" fmla="*/ 75 w 1440"/>
                <a:gd name="T13" fmla="*/ 120 h 1476"/>
                <a:gd name="T14" fmla="*/ 72 w 1440"/>
                <a:gd name="T15" fmla="*/ 123 h 1476"/>
                <a:gd name="T16" fmla="*/ 69 w 1440"/>
                <a:gd name="T17" fmla="*/ 128 h 1476"/>
                <a:gd name="T18" fmla="*/ 67 w 1440"/>
                <a:gd name="T19" fmla="*/ 127 h 1476"/>
                <a:gd name="T20" fmla="*/ 66 w 1440"/>
                <a:gd name="T21" fmla="*/ 123 h 1476"/>
                <a:gd name="T22" fmla="*/ 63 w 1440"/>
                <a:gd name="T23" fmla="*/ 119 h 1476"/>
                <a:gd name="T24" fmla="*/ 54 w 1440"/>
                <a:gd name="T25" fmla="*/ 114 h 1476"/>
                <a:gd name="T26" fmla="*/ 55 w 1440"/>
                <a:gd name="T27" fmla="*/ 106 h 1476"/>
                <a:gd name="T28" fmla="*/ 60 w 1440"/>
                <a:gd name="T29" fmla="*/ 100 h 1476"/>
                <a:gd name="T30" fmla="*/ 55 w 1440"/>
                <a:gd name="T31" fmla="*/ 91 h 1476"/>
                <a:gd name="T32" fmla="*/ 51 w 1440"/>
                <a:gd name="T33" fmla="*/ 86 h 1476"/>
                <a:gd name="T34" fmla="*/ 47 w 1440"/>
                <a:gd name="T35" fmla="*/ 85 h 1476"/>
                <a:gd name="T36" fmla="*/ 44 w 1440"/>
                <a:gd name="T37" fmla="*/ 82 h 1476"/>
                <a:gd name="T38" fmla="*/ 41 w 1440"/>
                <a:gd name="T39" fmla="*/ 83 h 1476"/>
                <a:gd name="T40" fmla="*/ 36 w 1440"/>
                <a:gd name="T41" fmla="*/ 83 h 1476"/>
                <a:gd name="T42" fmla="*/ 33 w 1440"/>
                <a:gd name="T43" fmla="*/ 83 h 1476"/>
                <a:gd name="T44" fmla="*/ 30 w 1440"/>
                <a:gd name="T45" fmla="*/ 83 h 1476"/>
                <a:gd name="T46" fmla="*/ 27 w 1440"/>
                <a:gd name="T47" fmla="*/ 83 h 1476"/>
                <a:gd name="T48" fmla="*/ 24 w 1440"/>
                <a:gd name="T49" fmla="*/ 82 h 1476"/>
                <a:gd name="T50" fmla="*/ 21 w 1440"/>
                <a:gd name="T51" fmla="*/ 80 h 1476"/>
                <a:gd name="T52" fmla="*/ 18 w 1440"/>
                <a:gd name="T53" fmla="*/ 79 h 1476"/>
                <a:gd name="T54" fmla="*/ 17 w 1440"/>
                <a:gd name="T55" fmla="*/ 78 h 1476"/>
                <a:gd name="T56" fmla="*/ 12 w 1440"/>
                <a:gd name="T57" fmla="*/ 78 h 1476"/>
                <a:gd name="T58" fmla="*/ 12 w 1440"/>
                <a:gd name="T59" fmla="*/ 78 h 1476"/>
                <a:gd name="T60" fmla="*/ 7 w 1440"/>
                <a:gd name="T61" fmla="*/ 80 h 1476"/>
                <a:gd name="T62" fmla="*/ 3 w 1440"/>
                <a:gd name="T63" fmla="*/ 81 h 1476"/>
                <a:gd name="T64" fmla="*/ 0 w 1440"/>
                <a:gd name="T65" fmla="*/ 76 h 1476"/>
                <a:gd name="T66" fmla="*/ 1 w 1440"/>
                <a:gd name="T67" fmla="*/ 50 h 1476"/>
                <a:gd name="T68" fmla="*/ 8 w 1440"/>
                <a:gd name="T69" fmla="*/ 48 h 1476"/>
                <a:gd name="T70" fmla="*/ 20 w 1440"/>
                <a:gd name="T71" fmla="*/ 49 h 1476"/>
                <a:gd name="T72" fmla="*/ 26 w 1440"/>
                <a:gd name="T73" fmla="*/ 50 h 1476"/>
                <a:gd name="T74" fmla="*/ 44 w 1440"/>
                <a:gd name="T75" fmla="*/ 47 h 1476"/>
                <a:gd name="T76" fmla="*/ 41 w 1440"/>
                <a:gd name="T77" fmla="*/ 24 h 1476"/>
                <a:gd name="T78" fmla="*/ 44 w 1440"/>
                <a:gd name="T79" fmla="*/ 20 h 1476"/>
                <a:gd name="T80" fmla="*/ 47 w 1440"/>
                <a:gd name="T81" fmla="*/ 18 h 1476"/>
                <a:gd name="T82" fmla="*/ 54 w 1440"/>
                <a:gd name="T83" fmla="*/ 21 h 1476"/>
                <a:gd name="T84" fmla="*/ 61 w 1440"/>
                <a:gd name="T85" fmla="*/ 23 h 1476"/>
                <a:gd name="T86" fmla="*/ 59 w 1440"/>
                <a:gd name="T87" fmla="*/ 14 h 1476"/>
                <a:gd name="T88" fmla="*/ 61 w 1440"/>
                <a:gd name="T89" fmla="*/ 8 h 1476"/>
                <a:gd name="T90" fmla="*/ 71 w 1440"/>
                <a:gd name="T91" fmla="*/ 7 h 1476"/>
                <a:gd name="T92" fmla="*/ 75 w 1440"/>
                <a:gd name="T93" fmla="*/ 0 h 1476"/>
                <a:gd name="T94" fmla="*/ 82 w 1440"/>
                <a:gd name="T95" fmla="*/ 3 h 1476"/>
                <a:gd name="T96" fmla="*/ 93 w 1440"/>
                <a:gd name="T97" fmla="*/ 5 h 1476"/>
                <a:gd name="T98" fmla="*/ 100 w 1440"/>
                <a:gd name="T99" fmla="*/ 1 h 1476"/>
                <a:gd name="T100" fmla="*/ 104 w 1440"/>
                <a:gd name="T101" fmla="*/ 4 h 1476"/>
                <a:gd name="T102" fmla="*/ 110 w 1440"/>
                <a:gd name="T103" fmla="*/ 10 h 1476"/>
                <a:gd name="T104" fmla="*/ 115 w 1440"/>
                <a:gd name="T105" fmla="*/ 23 h 1476"/>
                <a:gd name="T106" fmla="*/ 117 w 1440"/>
                <a:gd name="T107" fmla="*/ 42 h 1476"/>
                <a:gd name="T108" fmla="*/ 121 w 1440"/>
                <a:gd name="T109" fmla="*/ 52 h 1476"/>
                <a:gd name="T110" fmla="*/ 118 w 1440"/>
                <a:gd name="T111" fmla="*/ 62 h 1476"/>
                <a:gd name="T112" fmla="*/ 124 w 1440"/>
                <a:gd name="T113" fmla="*/ 66 h 1476"/>
                <a:gd name="T114" fmla="*/ 121 w 1440"/>
                <a:gd name="T115" fmla="*/ 71 h 1476"/>
                <a:gd name="T116" fmla="*/ 115 w 1440"/>
                <a:gd name="T117" fmla="*/ 76 h 1476"/>
                <a:gd name="T118" fmla="*/ 109 w 1440"/>
                <a:gd name="T119" fmla="*/ 76 h 1476"/>
                <a:gd name="T120" fmla="*/ 105 w 1440"/>
                <a:gd name="T121" fmla="*/ 86 h 1476"/>
                <a:gd name="T122" fmla="*/ 107 w 1440"/>
                <a:gd name="T123" fmla="*/ 97 h 147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40"/>
                <a:gd name="T187" fmla="*/ 0 h 1476"/>
                <a:gd name="T188" fmla="*/ 1440 w 1440"/>
                <a:gd name="T189" fmla="*/ 1476 h 147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40" h="1476">
                  <a:moveTo>
                    <a:pt x="1212" y="1164"/>
                  </a:moveTo>
                  <a:lnTo>
                    <a:pt x="1206" y="1170"/>
                  </a:lnTo>
                  <a:lnTo>
                    <a:pt x="1200" y="1176"/>
                  </a:lnTo>
                  <a:lnTo>
                    <a:pt x="1194" y="1176"/>
                  </a:lnTo>
                  <a:lnTo>
                    <a:pt x="1188" y="1188"/>
                  </a:lnTo>
                  <a:lnTo>
                    <a:pt x="1182" y="1194"/>
                  </a:lnTo>
                  <a:lnTo>
                    <a:pt x="1176" y="1194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64" y="1206"/>
                  </a:lnTo>
                  <a:lnTo>
                    <a:pt x="1158" y="1206"/>
                  </a:lnTo>
                  <a:lnTo>
                    <a:pt x="1152" y="1212"/>
                  </a:lnTo>
                  <a:lnTo>
                    <a:pt x="1146" y="1212"/>
                  </a:lnTo>
                  <a:lnTo>
                    <a:pt x="1140" y="1224"/>
                  </a:lnTo>
                  <a:lnTo>
                    <a:pt x="1134" y="1230"/>
                  </a:lnTo>
                  <a:lnTo>
                    <a:pt x="1128" y="1236"/>
                  </a:lnTo>
                  <a:lnTo>
                    <a:pt x="1128" y="1242"/>
                  </a:lnTo>
                  <a:lnTo>
                    <a:pt x="1128" y="1254"/>
                  </a:lnTo>
                  <a:lnTo>
                    <a:pt x="1128" y="1260"/>
                  </a:lnTo>
                  <a:lnTo>
                    <a:pt x="1122" y="1260"/>
                  </a:lnTo>
                  <a:lnTo>
                    <a:pt x="1122" y="1266"/>
                  </a:lnTo>
                  <a:lnTo>
                    <a:pt x="1128" y="1278"/>
                  </a:lnTo>
                  <a:lnTo>
                    <a:pt x="1122" y="1278"/>
                  </a:lnTo>
                  <a:lnTo>
                    <a:pt x="1122" y="1284"/>
                  </a:lnTo>
                  <a:lnTo>
                    <a:pt x="1128" y="1290"/>
                  </a:lnTo>
                  <a:lnTo>
                    <a:pt x="1122" y="1296"/>
                  </a:lnTo>
                  <a:lnTo>
                    <a:pt x="1122" y="1302"/>
                  </a:lnTo>
                  <a:lnTo>
                    <a:pt x="1116" y="1302"/>
                  </a:lnTo>
                  <a:lnTo>
                    <a:pt x="1110" y="1314"/>
                  </a:lnTo>
                  <a:lnTo>
                    <a:pt x="1110" y="1320"/>
                  </a:lnTo>
                  <a:lnTo>
                    <a:pt x="1110" y="1326"/>
                  </a:lnTo>
                  <a:lnTo>
                    <a:pt x="1098" y="1332"/>
                  </a:lnTo>
                  <a:lnTo>
                    <a:pt x="1092" y="1338"/>
                  </a:lnTo>
                  <a:lnTo>
                    <a:pt x="1092" y="1344"/>
                  </a:lnTo>
                  <a:lnTo>
                    <a:pt x="1086" y="1350"/>
                  </a:lnTo>
                  <a:lnTo>
                    <a:pt x="1080" y="1350"/>
                  </a:lnTo>
                  <a:lnTo>
                    <a:pt x="1074" y="1350"/>
                  </a:lnTo>
                  <a:lnTo>
                    <a:pt x="1068" y="1356"/>
                  </a:lnTo>
                  <a:lnTo>
                    <a:pt x="1062" y="1356"/>
                  </a:lnTo>
                  <a:lnTo>
                    <a:pt x="1044" y="1356"/>
                  </a:lnTo>
                  <a:lnTo>
                    <a:pt x="1038" y="1362"/>
                  </a:lnTo>
                  <a:lnTo>
                    <a:pt x="1032" y="1368"/>
                  </a:lnTo>
                  <a:lnTo>
                    <a:pt x="1026" y="1368"/>
                  </a:lnTo>
                  <a:lnTo>
                    <a:pt x="1020" y="1374"/>
                  </a:lnTo>
                  <a:lnTo>
                    <a:pt x="1008" y="1374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74"/>
                  </a:lnTo>
                  <a:lnTo>
                    <a:pt x="978" y="1380"/>
                  </a:lnTo>
                  <a:lnTo>
                    <a:pt x="972" y="1380"/>
                  </a:lnTo>
                  <a:lnTo>
                    <a:pt x="954" y="1368"/>
                  </a:lnTo>
                  <a:lnTo>
                    <a:pt x="930" y="1368"/>
                  </a:lnTo>
                  <a:lnTo>
                    <a:pt x="918" y="1368"/>
                  </a:lnTo>
                  <a:lnTo>
                    <a:pt x="906" y="1368"/>
                  </a:lnTo>
                  <a:lnTo>
                    <a:pt x="894" y="1368"/>
                  </a:lnTo>
                  <a:lnTo>
                    <a:pt x="864" y="1374"/>
                  </a:lnTo>
                  <a:lnTo>
                    <a:pt x="852" y="1374"/>
                  </a:lnTo>
                  <a:lnTo>
                    <a:pt x="846" y="1386"/>
                  </a:lnTo>
                  <a:lnTo>
                    <a:pt x="846" y="1392"/>
                  </a:lnTo>
                  <a:lnTo>
                    <a:pt x="840" y="1398"/>
                  </a:lnTo>
                  <a:lnTo>
                    <a:pt x="840" y="1404"/>
                  </a:lnTo>
                  <a:lnTo>
                    <a:pt x="834" y="1416"/>
                  </a:lnTo>
                  <a:lnTo>
                    <a:pt x="828" y="1416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04" y="1428"/>
                  </a:lnTo>
                  <a:lnTo>
                    <a:pt x="804" y="1434"/>
                  </a:lnTo>
                  <a:lnTo>
                    <a:pt x="804" y="1440"/>
                  </a:lnTo>
                  <a:lnTo>
                    <a:pt x="798" y="1446"/>
                  </a:lnTo>
                  <a:lnTo>
                    <a:pt x="798" y="1458"/>
                  </a:lnTo>
                  <a:lnTo>
                    <a:pt x="792" y="1464"/>
                  </a:lnTo>
                  <a:lnTo>
                    <a:pt x="786" y="1476"/>
                  </a:lnTo>
                  <a:lnTo>
                    <a:pt x="780" y="1470"/>
                  </a:lnTo>
                  <a:lnTo>
                    <a:pt x="774" y="1470"/>
                  </a:lnTo>
                  <a:lnTo>
                    <a:pt x="768" y="1470"/>
                  </a:lnTo>
                  <a:lnTo>
                    <a:pt x="762" y="1476"/>
                  </a:lnTo>
                  <a:lnTo>
                    <a:pt x="762" y="1470"/>
                  </a:lnTo>
                  <a:lnTo>
                    <a:pt x="762" y="1464"/>
                  </a:lnTo>
                  <a:lnTo>
                    <a:pt x="762" y="1458"/>
                  </a:lnTo>
                  <a:lnTo>
                    <a:pt x="756" y="1458"/>
                  </a:lnTo>
                  <a:lnTo>
                    <a:pt x="756" y="1452"/>
                  </a:lnTo>
                  <a:lnTo>
                    <a:pt x="756" y="1446"/>
                  </a:lnTo>
                  <a:lnTo>
                    <a:pt x="756" y="1440"/>
                  </a:lnTo>
                  <a:lnTo>
                    <a:pt x="750" y="1434"/>
                  </a:lnTo>
                  <a:lnTo>
                    <a:pt x="750" y="1428"/>
                  </a:lnTo>
                  <a:lnTo>
                    <a:pt x="750" y="1422"/>
                  </a:lnTo>
                  <a:lnTo>
                    <a:pt x="750" y="1416"/>
                  </a:lnTo>
                  <a:lnTo>
                    <a:pt x="744" y="1416"/>
                  </a:lnTo>
                  <a:lnTo>
                    <a:pt x="744" y="1410"/>
                  </a:lnTo>
                  <a:lnTo>
                    <a:pt x="738" y="1404"/>
                  </a:lnTo>
                  <a:lnTo>
                    <a:pt x="732" y="1398"/>
                  </a:lnTo>
                  <a:lnTo>
                    <a:pt x="732" y="1392"/>
                  </a:lnTo>
                  <a:lnTo>
                    <a:pt x="726" y="1386"/>
                  </a:lnTo>
                  <a:lnTo>
                    <a:pt x="726" y="1380"/>
                  </a:lnTo>
                  <a:lnTo>
                    <a:pt x="714" y="1368"/>
                  </a:lnTo>
                  <a:lnTo>
                    <a:pt x="708" y="1368"/>
                  </a:lnTo>
                  <a:lnTo>
                    <a:pt x="684" y="1332"/>
                  </a:lnTo>
                  <a:lnTo>
                    <a:pt x="666" y="1320"/>
                  </a:lnTo>
                  <a:lnTo>
                    <a:pt x="648" y="1302"/>
                  </a:lnTo>
                  <a:lnTo>
                    <a:pt x="630" y="1314"/>
                  </a:lnTo>
                  <a:lnTo>
                    <a:pt x="624" y="1314"/>
                  </a:lnTo>
                  <a:lnTo>
                    <a:pt x="624" y="1308"/>
                  </a:lnTo>
                  <a:lnTo>
                    <a:pt x="618" y="1308"/>
                  </a:lnTo>
                  <a:lnTo>
                    <a:pt x="612" y="1284"/>
                  </a:lnTo>
                  <a:lnTo>
                    <a:pt x="606" y="1254"/>
                  </a:lnTo>
                  <a:lnTo>
                    <a:pt x="606" y="1248"/>
                  </a:lnTo>
                  <a:lnTo>
                    <a:pt x="606" y="1242"/>
                  </a:lnTo>
                  <a:lnTo>
                    <a:pt x="612" y="1242"/>
                  </a:lnTo>
                  <a:lnTo>
                    <a:pt x="618" y="1236"/>
                  </a:lnTo>
                  <a:lnTo>
                    <a:pt x="618" y="1230"/>
                  </a:lnTo>
                  <a:lnTo>
                    <a:pt x="624" y="1224"/>
                  </a:lnTo>
                  <a:lnTo>
                    <a:pt x="630" y="1224"/>
                  </a:lnTo>
                  <a:lnTo>
                    <a:pt x="636" y="1218"/>
                  </a:lnTo>
                  <a:lnTo>
                    <a:pt x="636" y="1212"/>
                  </a:lnTo>
                  <a:lnTo>
                    <a:pt x="612" y="1200"/>
                  </a:lnTo>
                  <a:lnTo>
                    <a:pt x="606" y="1182"/>
                  </a:lnTo>
                  <a:lnTo>
                    <a:pt x="672" y="1182"/>
                  </a:lnTo>
                  <a:lnTo>
                    <a:pt x="690" y="1170"/>
                  </a:lnTo>
                  <a:lnTo>
                    <a:pt x="690" y="1152"/>
                  </a:lnTo>
                  <a:lnTo>
                    <a:pt x="678" y="1110"/>
                  </a:lnTo>
                  <a:lnTo>
                    <a:pt x="672" y="1092"/>
                  </a:lnTo>
                  <a:lnTo>
                    <a:pt x="660" y="1074"/>
                  </a:lnTo>
                  <a:lnTo>
                    <a:pt x="648" y="1068"/>
                  </a:lnTo>
                  <a:lnTo>
                    <a:pt x="642" y="1068"/>
                  </a:lnTo>
                  <a:lnTo>
                    <a:pt x="636" y="1062"/>
                  </a:lnTo>
                  <a:lnTo>
                    <a:pt x="624" y="1056"/>
                  </a:lnTo>
                  <a:lnTo>
                    <a:pt x="624" y="1050"/>
                  </a:lnTo>
                  <a:lnTo>
                    <a:pt x="618" y="1038"/>
                  </a:lnTo>
                  <a:lnTo>
                    <a:pt x="612" y="1038"/>
                  </a:lnTo>
                  <a:lnTo>
                    <a:pt x="612" y="1032"/>
                  </a:lnTo>
                  <a:lnTo>
                    <a:pt x="612" y="1026"/>
                  </a:lnTo>
                  <a:lnTo>
                    <a:pt x="600" y="1014"/>
                  </a:lnTo>
                  <a:lnTo>
                    <a:pt x="582" y="1008"/>
                  </a:lnTo>
                  <a:lnTo>
                    <a:pt x="576" y="1002"/>
                  </a:lnTo>
                  <a:lnTo>
                    <a:pt x="576" y="996"/>
                  </a:lnTo>
                  <a:lnTo>
                    <a:pt x="570" y="996"/>
                  </a:lnTo>
                  <a:lnTo>
                    <a:pt x="570" y="990"/>
                  </a:lnTo>
                  <a:lnTo>
                    <a:pt x="570" y="984"/>
                  </a:lnTo>
                  <a:lnTo>
                    <a:pt x="564" y="984"/>
                  </a:lnTo>
                  <a:lnTo>
                    <a:pt x="558" y="978"/>
                  </a:lnTo>
                  <a:lnTo>
                    <a:pt x="552" y="972"/>
                  </a:lnTo>
                  <a:lnTo>
                    <a:pt x="552" y="966"/>
                  </a:lnTo>
                  <a:lnTo>
                    <a:pt x="546" y="972"/>
                  </a:lnTo>
                  <a:lnTo>
                    <a:pt x="540" y="972"/>
                  </a:lnTo>
                  <a:lnTo>
                    <a:pt x="534" y="960"/>
                  </a:lnTo>
                  <a:lnTo>
                    <a:pt x="528" y="960"/>
                  </a:lnTo>
                  <a:lnTo>
                    <a:pt x="528" y="966"/>
                  </a:lnTo>
                  <a:lnTo>
                    <a:pt x="516" y="954"/>
                  </a:lnTo>
                  <a:lnTo>
                    <a:pt x="516" y="948"/>
                  </a:lnTo>
                  <a:lnTo>
                    <a:pt x="510" y="948"/>
                  </a:lnTo>
                  <a:lnTo>
                    <a:pt x="504" y="948"/>
                  </a:lnTo>
                  <a:lnTo>
                    <a:pt x="498" y="948"/>
                  </a:lnTo>
                  <a:lnTo>
                    <a:pt x="504" y="954"/>
                  </a:lnTo>
                  <a:lnTo>
                    <a:pt x="498" y="954"/>
                  </a:lnTo>
                  <a:lnTo>
                    <a:pt x="492" y="954"/>
                  </a:lnTo>
                  <a:lnTo>
                    <a:pt x="480" y="942"/>
                  </a:lnTo>
                  <a:lnTo>
                    <a:pt x="480" y="948"/>
                  </a:lnTo>
                  <a:lnTo>
                    <a:pt x="480" y="954"/>
                  </a:lnTo>
                  <a:lnTo>
                    <a:pt x="474" y="954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56" y="966"/>
                  </a:lnTo>
                  <a:lnTo>
                    <a:pt x="456" y="960"/>
                  </a:lnTo>
                  <a:lnTo>
                    <a:pt x="450" y="966"/>
                  </a:lnTo>
                  <a:lnTo>
                    <a:pt x="444" y="966"/>
                  </a:lnTo>
                  <a:lnTo>
                    <a:pt x="414" y="966"/>
                  </a:lnTo>
                  <a:lnTo>
                    <a:pt x="408" y="960"/>
                  </a:lnTo>
                  <a:lnTo>
                    <a:pt x="408" y="966"/>
                  </a:lnTo>
                  <a:lnTo>
                    <a:pt x="402" y="960"/>
                  </a:lnTo>
                  <a:lnTo>
                    <a:pt x="396" y="960"/>
                  </a:lnTo>
                  <a:lnTo>
                    <a:pt x="390" y="960"/>
                  </a:lnTo>
                  <a:lnTo>
                    <a:pt x="390" y="966"/>
                  </a:lnTo>
                  <a:lnTo>
                    <a:pt x="384" y="966"/>
                  </a:lnTo>
                  <a:lnTo>
                    <a:pt x="378" y="966"/>
                  </a:lnTo>
                  <a:lnTo>
                    <a:pt x="384" y="960"/>
                  </a:lnTo>
                  <a:lnTo>
                    <a:pt x="384" y="954"/>
                  </a:lnTo>
                  <a:lnTo>
                    <a:pt x="372" y="948"/>
                  </a:lnTo>
                  <a:lnTo>
                    <a:pt x="372" y="954"/>
                  </a:lnTo>
                  <a:lnTo>
                    <a:pt x="372" y="960"/>
                  </a:lnTo>
                  <a:lnTo>
                    <a:pt x="366" y="960"/>
                  </a:lnTo>
                  <a:lnTo>
                    <a:pt x="360" y="966"/>
                  </a:lnTo>
                  <a:lnTo>
                    <a:pt x="354" y="966"/>
                  </a:lnTo>
                  <a:lnTo>
                    <a:pt x="348" y="960"/>
                  </a:lnTo>
                  <a:lnTo>
                    <a:pt x="342" y="960"/>
                  </a:lnTo>
                  <a:lnTo>
                    <a:pt x="342" y="966"/>
                  </a:lnTo>
                  <a:lnTo>
                    <a:pt x="336" y="972"/>
                  </a:lnTo>
                  <a:lnTo>
                    <a:pt x="330" y="972"/>
                  </a:lnTo>
                  <a:lnTo>
                    <a:pt x="324" y="966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6" y="954"/>
                  </a:lnTo>
                  <a:lnTo>
                    <a:pt x="306" y="948"/>
                  </a:lnTo>
                  <a:lnTo>
                    <a:pt x="306" y="942"/>
                  </a:lnTo>
                  <a:lnTo>
                    <a:pt x="300" y="942"/>
                  </a:lnTo>
                  <a:lnTo>
                    <a:pt x="294" y="936"/>
                  </a:lnTo>
                  <a:lnTo>
                    <a:pt x="288" y="936"/>
                  </a:lnTo>
                  <a:lnTo>
                    <a:pt x="282" y="942"/>
                  </a:lnTo>
                  <a:lnTo>
                    <a:pt x="276" y="936"/>
                  </a:lnTo>
                  <a:lnTo>
                    <a:pt x="276" y="942"/>
                  </a:lnTo>
                  <a:lnTo>
                    <a:pt x="270" y="942"/>
                  </a:lnTo>
                  <a:lnTo>
                    <a:pt x="264" y="936"/>
                  </a:lnTo>
                  <a:lnTo>
                    <a:pt x="252" y="936"/>
                  </a:lnTo>
                  <a:lnTo>
                    <a:pt x="246" y="936"/>
                  </a:lnTo>
                  <a:lnTo>
                    <a:pt x="240" y="936"/>
                  </a:lnTo>
                  <a:lnTo>
                    <a:pt x="234" y="936"/>
                  </a:lnTo>
                  <a:lnTo>
                    <a:pt x="240" y="924"/>
                  </a:lnTo>
                  <a:lnTo>
                    <a:pt x="234" y="924"/>
                  </a:lnTo>
                  <a:lnTo>
                    <a:pt x="228" y="918"/>
                  </a:lnTo>
                  <a:lnTo>
                    <a:pt x="228" y="906"/>
                  </a:lnTo>
                  <a:lnTo>
                    <a:pt x="222" y="900"/>
                  </a:lnTo>
                  <a:lnTo>
                    <a:pt x="216" y="900"/>
                  </a:lnTo>
                  <a:lnTo>
                    <a:pt x="210" y="900"/>
                  </a:lnTo>
                  <a:lnTo>
                    <a:pt x="210" y="906"/>
                  </a:lnTo>
                  <a:lnTo>
                    <a:pt x="204" y="906"/>
                  </a:lnTo>
                  <a:lnTo>
                    <a:pt x="198" y="906"/>
                  </a:lnTo>
                  <a:lnTo>
                    <a:pt x="210" y="900"/>
                  </a:lnTo>
                  <a:lnTo>
                    <a:pt x="210" y="894"/>
                  </a:lnTo>
                  <a:lnTo>
                    <a:pt x="216" y="888"/>
                  </a:lnTo>
                  <a:lnTo>
                    <a:pt x="204" y="882"/>
                  </a:lnTo>
                  <a:lnTo>
                    <a:pt x="204" y="894"/>
                  </a:lnTo>
                  <a:lnTo>
                    <a:pt x="198" y="894"/>
                  </a:lnTo>
                  <a:lnTo>
                    <a:pt x="192" y="900"/>
                  </a:lnTo>
                  <a:lnTo>
                    <a:pt x="186" y="894"/>
                  </a:lnTo>
                  <a:lnTo>
                    <a:pt x="180" y="894"/>
                  </a:lnTo>
                  <a:lnTo>
                    <a:pt x="174" y="894"/>
                  </a:lnTo>
                  <a:lnTo>
                    <a:pt x="168" y="900"/>
                  </a:lnTo>
                  <a:lnTo>
                    <a:pt x="162" y="906"/>
                  </a:lnTo>
                  <a:lnTo>
                    <a:pt x="156" y="906"/>
                  </a:lnTo>
                  <a:lnTo>
                    <a:pt x="150" y="900"/>
                  </a:lnTo>
                  <a:lnTo>
                    <a:pt x="144" y="894"/>
                  </a:lnTo>
                  <a:lnTo>
                    <a:pt x="138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0" y="888"/>
                  </a:lnTo>
                  <a:lnTo>
                    <a:pt x="114" y="894"/>
                  </a:lnTo>
                  <a:lnTo>
                    <a:pt x="120" y="900"/>
                  </a:lnTo>
                  <a:lnTo>
                    <a:pt x="126" y="900"/>
                  </a:lnTo>
                  <a:lnTo>
                    <a:pt x="132" y="900"/>
                  </a:lnTo>
                  <a:lnTo>
                    <a:pt x="132" y="906"/>
                  </a:lnTo>
                  <a:lnTo>
                    <a:pt x="126" y="912"/>
                  </a:lnTo>
                  <a:lnTo>
                    <a:pt x="126" y="918"/>
                  </a:lnTo>
                  <a:lnTo>
                    <a:pt x="114" y="918"/>
                  </a:lnTo>
                  <a:lnTo>
                    <a:pt x="108" y="924"/>
                  </a:lnTo>
                  <a:lnTo>
                    <a:pt x="102" y="924"/>
                  </a:lnTo>
                  <a:lnTo>
                    <a:pt x="90" y="924"/>
                  </a:lnTo>
                  <a:lnTo>
                    <a:pt x="84" y="924"/>
                  </a:lnTo>
                  <a:lnTo>
                    <a:pt x="78" y="924"/>
                  </a:lnTo>
                  <a:lnTo>
                    <a:pt x="60" y="924"/>
                  </a:lnTo>
                  <a:lnTo>
                    <a:pt x="54" y="942"/>
                  </a:lnTo>
                  <a:lnTo>
                    <a:pt x="48" y="936"/>
                  </a:lnTo>
                  <a:lnTo>
                    <a:pt x="42" y="930"/>
                  </a:lnTo>
                  <a:lnTo>
                    <a:pt x="36" y="930"/>
                  </a:lnTo>
                  <a:lnTo>
                    <a:pt x="30" y="936"/>
                  </a:lnTo>
                  <a:lnTo>
                    <a:pt x="30" y="930"/>
                  </a:lnTo>
                  <a:lnTo>
                    <a:pt x="30" y="924"/>
                  </a:lnTo>
                  <a:lnTo>
                    <a:pt x="18" y="918"/>
                  </a:lnTo>
                  <a:lnTo>
                    <a:pt x="18" y="912"/>
                  </a:lnTo>
                  <a:lnTo>
                    <a:pt x="12" y="912"/>
                  </a:lnTo>
                  <a:lnTo>
                    <a:pt x="6" y="912"/>
                  </a:lnTo>
                  <a:lnTo>
                    <a:pt x="6" y="900"/>
                  </a:lnTo>
                  <a:lnTo>
                    <a:pt x="6" y="894"/>
                  </a:lnTo>
                  <a:lnTo>
                    <a:pt x="0" y="870"/>
                  </a:lnTo>
                  <a:lnTo>
                    <a:pt x="6" y="846"/>
                  </a:lnTo>
                  <a:lnTo>
                    <a:pt x="6" y="810"/>
                  </a:lnTo>
                  <a:lnTo>
                    <a:pt x="12" y="774"/>
                  </a:lnTo>
                  <a:lnTo>
                    <a:pt x="12" y="756"/>
                  </a:lnTo>
                  <a:lnTo>
                    <a:pt x="18" y="744"/>
                  </a:lnTo>
                  <a:lnTo>
                    <a:pt x="18" y="732"/>
                  </a:lnTo>
                  <a:lnTo>
                    <a:pt x="12" y="576"/>
                  </a:lnTo>
                  <a:lnTo>
                    <a:pt x="12" y="570"/>
                  </a:lnTo>
                  <a:lnTo>
                    <a:pt x="18" y="564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42" y="552"/>
                  </a:lnTo>
                  <a:lnTo>
                    <a:pt x="66" y="552"/>
                  </a:lnTo>
                  <a:lnTo>
                    <a:pt x="78" y="558"/>
                  </a:lnTo>
                  <a:lnTo>
                    <a:pt x="90" y="558"/>
                  </a:lnTo>
                  <a:lnTo>
                    <a:pt x="108" y="558"/>
                  </a:lnTo>
                  <a:lnTo>
                    <a:pt x="144" y="558"/>
                  </a:lnTo>
                  <a:lnTo>
                    <a:pt x="204" y="552"/>
                  </a:lnTo>
                  <a:lnTo>
                    <a:pt x="210" y="558"/>
                  </a:lnTo>
                  <a:lnTo>
                    <a:pt x="216" y="558"/>
                  </a:lnTo>
                  <a:lnTo>
                    <a:pt x="210" y="564"/>
                  </a:lnTo>
                  <a:lnTo>
                    <a:pt x="216" y="564"/>
                  </a:lnTo>
                  <a:lnTo>
                    <a:pt x="222" y="564"/>
                  </a:lnTo>
                  <a:lnTo>
                    <a:pt x="240" y="564"/>
                  </a:lnTo>
                  <a:lnTo>
                    <a:pt x="258" y="564"/>
                  </a:lnTo>
                  <a:lnTo>
                    <a:pt x="264" y="570"/>
                  </a:lnTo>
                  <a:lnTo>
                    <a:pt x="276" y="570"/>
                  </a:lnTo>
                  <a:lnTo>
                    <a:pt x="282" y="564"/>
                  </a:lnTo>
                  <a:lnTo>
                    <a:pt x="294" y="564"/>
                  </a:lnTo>
                  <a:lnTo>
                    <a:pt x="294" y="570"/>
                  </a:lnTo>
                  <a:lnTo>
                    <a:pt x="300" y="570"/>
                  </a:lnTo>
                  <a:lnTo>
                    <a:pt x="378" y="564"/>
                  </a:lnTo>
                  <a:lnTo>
                    <a:pt x="408" y="558"/>
                  </a:lnTo>
                  <a:lnTo>
                    <a:pt x="432" y="552"/>
                  </a:lnTo>
                  <a:lnTo>
                    <a:pt x="450" y="546"/>
                  </a:lnTo>
                  <a:lnTo>
                    <a:pt x="468" y="546"/>
                  </a:lnTo>
                  <a:lnTo>
                    <a:pt x="468" y="552"/>
                  </a:lnTo>
                  <a:lnTo>
                    <a:pt x="504" y="552"/>
                  </a:lnTo>
                  <a:lnTo>
                    <a:pt x="510" y="534"/>
                  </a:lnTo>
                  <a:lnTo>
                    <a:pt x="516" y="510"/>
                  </a:lnTo>
                  <a:lnTo>
                    <a:pt x="522" y="510"/>
                  </a:lnTo>
                  <a:lnTo>
                    <a:pt x="528" y="420"/>
                  </a:lnTo>
                  <a:lnTo>
                    <a:pt x="522" y="414"/>
                  </a:lnTo>
                  <a:lnTo>
                    <a:pt x="516" y="396"/>
                  </a:lnTo>
                  <a:lnTo>
                    <a:pt x="510" y="372"/>
                  </a:lnTo>
                  <a:lnTo>
                    <a:pt x="498" y="348"/>
                  </a:lnTo>
                  <a:lnTo>
                    <a:pt x="474" y="282"/>
                  </a:lnTo>
                  <a:lnTo>
                    <a:pt x="474" y="270"/>
                  </a:lnTo>
                  <a:lnTo>
                    <a:pt x="480" y="258"/>
                  </a:lnTo>
                  <a:lnTo>
                    <a:pt x="486" y="258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92" y="246"/>
                  </a:lnTo>
                  <a:lnTo>
                    <a:pt x="504" y="234"/>
                  </a:lnTo>
                  <a:lnTo>
                    <a:pt x="510" y="228"/>
                  </a:lnTo>
                  <a:lnTo>
                    <a:pt x="516" y="228"/>
                  </a:lnTo>
                  <a:lnTo>
                    <a:pt x="516" y="222"/>
                  </a:lnTo>
                  <a:lnTo>
                    <a:pt x="516" y="216"/>
                  </a:lnTo>
                  <a:lnTo>
                    <a:pt x="522" y="216"/>
                  </a:lnTo>
                  <a:lnTo>
                    <a:pt x="528" y="210"/>
                  </a:lnTo>
                  <a:lnTo>
                    <a:pt x="534" y="210"/>
                  </a:lnTo>
                  <a:lnTo>
                    <a:pt x="540" y="210"/>
                  </a:lnTo>
                  <a:lnTo>
                    <a:pt x="546" y="210"/>
                  </a:lnTo>
                  <a:lnTo>
                    <a:pt x="552" y="210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16"/>
                  </a:lnTo>
                  <a:lnTo>
                    <a:pt x="588" y="228"/>
                  </a:lnTo>
                  <a:lnTo>
                    <a:pt x="594" y="234"/>
                  </a:lnTo>
                  <a:lnTo>
                    <a:pt x="600" y="240"/>
                  </a:lnTo>
                  <a:lnTo>
                    <a:pt x="618" y="246"/>
                  </a:lnTo>
                  <a:lnTo>
                    <a:pt x="624" y="246"/>
                  </a:lnTo>
                  <a:lnTo>
                    <a:pt x="636" y="252"/>
                  </a:lnTo>
                  <a:lnTo>
                    <a:pt x="654" y="252"/>
                  </a:lnTo>
                  <a:lnTo>
                    <a:pt x="654" y="258"/>
                  </a:lnTo>
                  <a:lnTo>
                    <a:pt x="666" y="264"/>
                  </a:lnTo>
                  <a:lnTo>
                    <a:pt x="672" y="264"/>
                  </a:lnTo>
                  <a:lnTo>
                    <a:pt x="678" y="264"/>
                  </a:lnTo>
                  <a:lnTo>
                    <a:pt x="696" y="258"/>
                  </a:lnTo>
                  <a:lnTo>
                    <a:pt x="696" y="252"/>
                  </a:lnTo>
                  <a:lnTo>
                    <a:pt x="696" y="246"/>
                  </a:lnTo>
                  <a:lnTo>
                    <a:pt x="690" y="234"/>
                  </a:lnTo>
                  <a:lnTo>
                    <a:pt x="684" y="210"/>
                  </a:lnTo>
                  <a:lnTo>
                    <a:pt x="678" y="192"/>
                  </a:lnTo>
                  <a:lnTo>
                    <a:pt x="672" y="174"/>
                  </a:lnTo>
                  <a:lnTo>
                    <a:pt x="672" y="168"/>
                  </a:lnTo>
                  <a:lnTo>
                    <a:pt x="672" y="162"/>
                  </a:lnTo>
                  <a:lnTo>
                    <a:pt x="672" y="156"/>
                  </a:lnTo>
                  <a:lnTo>
                    <a:pt x="684" y="132"/>
                  </a:lnTo>
                  <a:lnTo>
                    <a:pt x="684" y="120"/>
                  </a:lnTo>
                  <a:lnTo>
                    <a:pt x="684" y="108"/>
                  </a:lnTo>
                  <a:lnTo>
                    <a:pt x="678" y="102"/>
                  </a:lnTo>
                  <a:lnTo>
                    <a:pt x="678" y="96"/>
                  </a:lnTo>
                  <a:lnTo>
                    <a:pt x="684" y="96"/>
                  </a:lnTo>
                  <a:lnTo>
                    <a:pt x="696" y="90"/>
                  </a:lnTo>
                  <a:lnTo>
                    <a:pt x="702" y="84"/>
                  </a:lnTo>
                  <a:lnTo>
                    <a:pt x="720" y="72"/>
                  </a:lnTo>
                  <a:lnTo>
                    <a:pt x="738" y="66"/>
                  </a:lnTo>
                  <a:lnTo>
                    <a:pt x="756" y="60"/>
                  </a:lnTo>
                  <a:lnTo>
                    <a:pt x="768" y="60"/>
                  </a:lnTo>
                  <a:lnTo>
                    <a:pt x="798" y="72"/>
                  </a:lnTo>
                  <a:lnTo>
                    <a:pt x="804" y="78"/>
                  </a:lnTo>
                  <a:lnTo>
                    <a:pt x="816" y="84"/>
                  </a:lnTo>
                  <a:lnTo>
                    <a:pt x="822" y="84"/>
                  </a:lnTo>
                  <a:lnTo>
                    <a:pt x="828" y="72"/>
                  </a:lnTo>
                  <a:lnTo>
                    <a:pt x="828" y="60"/>
                  </a:lnTo>
                  <a:lnTo>
                    <a:pt x="828" y="36"/>
                  </a:lnTo>
                  <a:lnTo>
                    <a:pt x="828" y="24"/>
                  </a:lnTo>
                  <a:lnTo>
                    <a:pt x="828" y="12"/>
                  </a:lnTo>
                  <a:lnTo>
                    <a:pt x="834" y="12"/>
                  </a:lnTo>
                  <a:lnTo>
                    <a:pt x="852" y="6"/>
                  </a:lnTo>
                  <a:lnTo>
                    <a:pt x="876" y="6"/>
                  </a:lnTo>
                  <a:lnTo>
                    <a:pt x="894" y="6"/>
                  </a:lnTo>
                  <a:lnTo>
                    <a:pt x="906" y="12"/>
                  </a:lnTo>
                  <a:lnTo>
                    <a:pt x="912" y="24"/>
                  </a:lnTo>
                  <a:lnTo>
                    <a:pt x="924" y="24"/>
                  </a:lnTo>
                  <a:lnTo>
                    <a:pt x="930" y="30"/>
                  </a:lnTo>
                  <a:lnTo>
                    <a:pt x="936" y="30"/>
                  </a:lnTo>
                  <a:lnTo>
                    <a:pt x="936" y="36"/>
                  </a:lnTo>
                  <a:lnTo>
                    <a:pt x="942" y="36"/>
                  </a:lnTo>
                  <a:lnTo>
                    <a:pt x="948" y="42"/>
                  </a:lnTo>
                  <a:lnTo>
                    <a:pt x="960" y="48"/>
                  </a:lnTo>
                  <a:lnTo>
                    <a:pt x="966" y="48"/>
                  </a:lnTo>
                  <a:lnTo>
                    <a:pt x="1026" y="60"/>
                  </a:lnTo>
                  <a:lnTo>
                    <a:pt x="1050" y="60"/>
                  </a:lnTo>
                  <a:lnTo>
                    <a:pt x="1050" y="54"/>
                  </a:lnTo>
                  <a:lnTo>
                    <a:pt x="1062" y="54"/>
                  </a:lnTo>
                  <a:lnTo>
                    <a:pt x="1074" y="48"/>
                  </a:lnTo>
                  <a:lnTo>
                    <a:pt x="1086" y="42"/>
                  </a:lnTo>
                  <a:lnTo>
                    <a:pt x="1104" y="36"/>
                  </a:lnTo>
                  <a:lnTo>
                    <a:pt x="1116" y="30"/>
                  </a:lnTo>
                  <a:lnTo>
                    <a:pt x="1122" y="24"/>
                  </a:lnTo>
                  <a:lnTo>
                    <a:pt x="1128" y="18"/>
                  </a:lnTo>
                  <a:lnTo>
                    <a:pt x="1134" y="18"/>
                  </a:lnTo>
                  <a:lnTo>
                    <a:pt x="1140" y="12"/>
                  </a:lnTo>
                  <a:lnTo>
                    <a:pt x="1146" y="6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24"/>
                  </a:lnTo>
                  <a:lnTo>
                    <a:pt x="1176" y="36"/>
                  </a:lnTo>
                  <a:lnTo>
                    <a:pt x="1188" y="42"/>
                  </a:lnTo>
                  <a:lnTo>
                    <a:pt x="1200" y="54"/>
                  </a:lnTo>
                  <a:lnTo>
                    <a:pt x="1224" y="84"/>
                  </a:lnTo>
                  <a:lnTo>
                    <a:pt x="1224" y="90"/>
                  </a:lnTo>
                  <a:lnTo>
                    <a:pt x="1236" y="96"/>
                  </a:lnTo>
                  <a:lnTo>
                    <a:pt x="1236" y="108"/>
                  </a:lnTo>
                  <a:lnTo>
                    <a:pt x="1248" y="114"/>
                  </a:lnTo>
                  <a:lnTo>
                    <a:pt x="1254" y="114"/>
                  </a:lnTo>
                  <a:lnTo>
                    <a:pt x="1260" y="114"/>
                  </a:lnTo>
                  <a:lnTo>
                    <a:pt x="1296" y="114"/>
                  </a:lnTo>
                  <a:lnTo>
                    <a:pt x="1302" y="114"/>
                  </a:lnTo>
                  <a:lnTo>
                    <a:pt x="1320" y="108"/>
                  </a:lnTo>
                  <a:lnTo>
                    <a:pt x="1326" y="108"/>
                  </a:lnTo>
                  <a:lnTo>
                    <a:pt x="1326" y="138"/>
                  </a:lnTo>
                  <a:lnTo>
                    <a:pt x="1326" y="210"/>
                  </a:lnTo>
                  <a:lnTo>
                    <a:pt x="1320" y="252"/>
                  </a:lnTo>
                  <a:lnTo>
                    <a:pt x="1320" y="270"/>
                  </a:lnTo>
                  <a:lnTo>
                    <a:pt x="1320" y="288"/>
                  </a:lnTo>
                  <a:lnTo>
                    <a:pt x="1320" y="318"/>
                  </a:lnTo>
                  <a:lnTo>
                    <a:pt x="1326" y="354"/>
                  </a:lnTo>
                  <a:lnTo>
                    <a:pt x="1326" y="372"/>
                  </a:lnTo>
                  <a:lnTo>
                    <a:pt x="1332" y="420"/>
                  </a:lnTo>
                  <a:lnTo>
                    <a:pt x="1332" y="450"/>
                  </a:lnTo>
                  <a:lnTo>
                    <a:pt x="1338" y="480"/>
                  </a:lnTo>
                  <a:lnTo>
                    <a:pt x="1344" y="486"/>
                  </a:lnTo>
                  <a:lnTo>
                    <a:pt x="1338" y="492"/>
                  </a:lnTo>
                  <a:lnTo>
                    <a:pt x="1344" y="492"/>
                  </a:lnTo>
                  <a:lnTo>
                    <a:pt x="1344" y="498"/>
                  </a:lnTo>
                  <a:lnTo>
                    <a:pt x="1350" y="498"/>
                  </a:lnTo>
                  <a:lnTo>
                    <a:pt x="1350" y="522"/>
                  </a:lnTo>
                  <a:lnTo>
                    <a:pt x="1362" y="564"/>
                  </a:lnTo>
                  <a:lnTo>
                    <a:pt x="1368" y="582"/>
                  </a:lnTo>
                  <a:lnTo>
                    <a:pt x="1380" y="600"/>
                  </a:lnTo>
                  <a:lnTo>
                    <a:pt x="1386" y="636"/>
                  </a:lnTo>
                  <a:lnTo>
                    <a:pt x="1380" y="660"/>
                  </a:lnTo>
                  <a:lnTo>
                    <a:pt x="1380" y="678"/>
                  </a:lnTo>
                  <a:lnTo>
                    <a:pt x="1380" y="684"/>
                  </a:lnTo>
                  <a:lnTo>
                    <a:pt x="1374" y="684"/>
                  </a:lnTo>
                  <a:lnTo>
                    <a:pt x="1368" y="690"/>
                  </a:lnTo>
                  <a:lnTo>
                    <a:pt x="1356" y="702"/>
                  </a:lnTo>
                  <a:lnTo>
                    <a:pt x="1350" y="708"/>
                  </a:lnTo>
                  <a:lnTo>
                    <a:pt x="1356" y="714"/>
                  </a:lnTo>
                  <a:lnTo>
                    <a:pt x="1368" y="726"/>
                  </a:lnTo>
                  <a:lnTo>
                    <a:pt x="1380" y="738"/>
                  </a:lnTo>
                  <a:lnTo>
                    <a:pt x="1386" y="744"/>
                  </a:lnTo>
                  <a:lnTo>
                    <a:pt x="1392" y="744"/>
                  </a:lnTo>
                  <a:lnTo>
                    <a:pt x="1410" y="750"/>
                  </a:lnTo>
                  <a:lnTo>
                    <a:pt x="1416" y="756"/>
                  </a:lnTo>
                  <a:lnTo>
                    <a:pt x="1422" y="756"/>
                  </a:lnTo>
                  <a:lnTo>
                    <a:pt x="1422" y="762"/>
                  </a:lnTo>
                  <a:lnTo>
                    <a:pt x="1428" y="774"/>
                  </a:lnTo>
                  <a:lnTo>
                    <a:pt x="1428" y="780"/>
                  </a:lnTo>
                  <a:lnTo>
                    <a:pt x="1434" y="780"/>
                  </a:lnTo>
                  <a:lnTo>
                    <a:pt x="1440" y="798"/>
                  </a:lnTo>
                  <a:lnTo>
                    <a:pt x="1422" y="816"/>
                  </a:lnTo>
                  <a:lnTo>
                    <a:pt x="1386" y="810"/>
                  </a:lnTo>
                  <a:lnTo>
                    <a:pt x="1380" y="816"/>
                  </a:lnTo>
                  <a:lnTo>
                    <a:pt x="1374" y="840"/>
                  </a:lnTo>
                  <a:lnTo>
                    <a:pt x="1350" y="852"/>
                  </a:lnTo>
                  <a:lnTo>
                    <a:pt x="1350" y="858"/>
                  </a:lnTo>
                  <a:lnTo>
                    <a:pt x="1350" y="864"/>
                  </a:lnTo>
                  <a:lnTo>
                    <a:pt x="1344" y="864"/>
                  </a:lnTo>
                  <a:lnTo>
                    <a:pt x="1338" y="870"/>
                  </a:lnTo>
                  <a:lnTo>
                    <a:pt x="1332" y="876"/>
                  </a:lnTo>
                  <a:lnTo>
                    <a:pt x="1314" y="876"/>
                  </a:lnTo>
                  <a:lnTo>
                    <a:pt x="1314" y="870"/>
                  </a:lnTo>
                  <a:lnTo>
                    <a:pt x="1308" y="870"/>
                  </a:lnTo>
                  <a:lnTo>
                    <a:pt x="1302" y="864"/>
                  </a:lnTo>
                  <a:lnTo>
                    <a:pt x="1296" y="864"/>
                  </a:lnTo>
                  <a:lnTo>
                    <a:pt x="1284" y="870"/>
                  </a:lnTo>
                  <a:lnTo>
                    <a:pt x="1266" y="870"/>
                  </a:lnTo>
                  <a:lnTo>
                    <a:pt x="1260" y="870"/>
                  </a:lnTo>
                  <a:lnTo>
                    <a:pt x="1248" y="876"/>
                  </a:lnTo>
                  <a:lnTo>
                    <a:pt x="1236" y="876"/>
                  </a:lnTo>
                  <a:lnTo>
                    <a:pt x="1230" y="882"/>
                  </a:lnTo>
                  <a:lnTo>
                    <a:pt x="1224" y="894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18" y="942"/>
                  </a:lnTo>
                  <a:lnTo>
                    <a:pt x="1212" y="948"/>
                  </a:lnTo>
                  <a:lnTo>
                    <a:pt x="1200" y="984"/>
                  </a:lnTo>
                  <a:lnTo>
                    <a:pt x="1194" y="1008"/>
                  </a:lnTo>
                  <a:lnTo>
                    <a:pt x="1218" y="1038"/>
                  </a:lnTo>
                  <a:lnTo>
                    <a:pt x="1224" y="1044"/>
                  </a:lnTo>
                  <a:lnTo>
                    <a:pt x="1224" y="1062"/>
                  </a:lnTo>
                  <a:lnTo>
                    <a:pt x="1236" y="1080"/>
                  </a:lnTo>
                  <a:lnTo>
                    <a:pt x="1236" y="1086"/>
                  </a:lnTo>
                  <a:lnTo>
                    <a:pt x="1230" y="1092"/>
                  </a:lnTo>
                  <a:lnTo>
                    <a:pt x="1224" y="1110"/>
                  </a:lnTo>
                  <a:lnTo>
                    <a:pt x="1218" y="1122"/>
                  </a:lnTo>
                  <a:lnTo>
                    <a:pt x="1224" y="1140"/>
                  </a:lnTo>
                  <a:lnTo>
                    <a:pt x="1218" y="1146"/>
                  </a:lnTo>
                  <a:lnTo>
                    <a:pt x="1218" y="1152"/>
                  </a:lnTo>
                  <a:lnTo>
                    <a:pt x="1212" y="116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1" name="Freeform 36">
              <a:extLst>
                <a:ext uri="{FF2B5EF4-FFF2-40B4-BE49-F238E27FC236}">
                  <a16:creationId xmlns:a16="http://schemas.microsoft.com/office/drawing/2014/main" id="{B9C0D6BE-CB1C-4E69-B224-1ABF097AA8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90208" y="1647855"/>
              <a:ext cx="742415" cy="758173"/>
            </a:xfrm>
            <a:custGeom>
              <a:avLst/>
              <a:gdLst>
                <a:gd name="T0" fmla="*/ 75 w 1398"/>
                <a:gd name="T1" fmla="*/ 48 h 1428"/>
                <a:gd name="T2" fmla="*/ 68 w 1398"/>
                <a:gd name="T3" fmla="*/ 54 h 1428"/>
                <a:gd name="T4" fmla="*/ 57 w 1398"/>
                <a:gd name="T5" fmla="*/ 59 h 1428"/>
                <a:gd name="T6" fmla="*/ 55 w 1398"/>
                <a:gd name="T7" fmla="*/ 68 h 1428"/>
                <a:gd name="T8" fmla="*/ 55 w 1398"/>
                <a:gd name="T9" fmla="*/ 77 h 1428"/>
                <a:gd name="T10" fmla="*/ 57 w 1398"/>
                <a:gd name="T11" fmla="*/ 81 h 1428"/>
                <a:gd name="T12" fmla="*/ 56 w 1398"/>
                <a:gd name="T13" fmla="*/ 86 h 1428"/>
                <a:gd name="T14" fmla="*/ 57 w 1398"/>
                <a:gd name="T15" fmla="*/ 89 h 1428"/>
                <a:gd name="T16" fmla="*/ 58 w 1398"/>
                <a:gd name="T17" fmla="*/ 92 h 1428"/>
                <a:gd name="T18" fmla="*/ 58 w 1398"/>
                <a:gd name="T19" fmla="*/ 96 h 1428"/>
                <a:gd name="T20" fmla="*/ 49 w 1398"/>
                <a:gd name="T21" fmla="*/ 100 h 1428"/>
                <a:gd name="T22" fmla="*/ 47 w 1398"/>
                <a:gd name="T23" fmla="*/ 108 h 1428"/>
                <a:gd name="T24" fmla="*/ 48 w 1398"/>
                <a:gd name="T25" fmla="*/ 113 h 1428"/>
                <a:gd name="T26" fmla="*/ 43 w 1398"/>
                <a:gd name="T27" fmla="*/ 114 h 1428"/>
                <a:gd name="T28" fmla="*/ 39 w 1398"/>
                <a:gd name="T29" fmla="*/ 113 h 1428"/>
                <a:gd name="T30" fmla="*/ 33 w 1398"/>
                <a:gd name="T31" fmla="*/ 109 h 1428"/>
                <a:gd name="T32" fmla="*/ 29 w 1398"/>
                <a:gd name="T33" fmla="*/ 114 h 1428"/>
                <a:gd name="T34" fmla="*/ 22 w 1398"/>
                <a:gd name="T35" fmla="*/ 115 h 1428"/>
                <a:gd name="T36" fmla="*/ 21 w 1398"/>
                <a:gd name="T37" fmla="*/ 121 h 1428"/>
                <a:gd name="T38" fmla="*/ 12 w 1398"/>
                <a:gd name="T39" fmla="*/ 119 h 1428"/>
                <a:gd name="T40" fmla="*/ 9 w 1398"/>
                <a:gd name="T41" fmla="*/ 113 h 1428"/>
                <a:gd name="T42" fmla="*/ 2 w 1398"/>
                <a:gd name="T43" fmla="*/ 109 h 1428"/>
                <a:gd name="T44" fmla="*/ 4 w 1398"/>
                <a:gd name="T45" fmla="*/ 103 h 1428"/>
                <a:gd name="T46" fmla="*/ 2 w 1398"/>
                <a:gd name="T47" fmla="*/ 91 h 1428"/>
                <a:gd name="T48" fmla="*/ 6 w 1398"/>
                <a:gd name="T49" fmla="*/ 85 h 1428"/>
                <a:gd name="T50" fmla="*/ 10 w 1398"/>
                <a:gd name="T51" fmla="*/ 85 h 1428"/>
                <a:gd name="T52" fmla="*/ 15 w 1398"/>
                <a:gd name="T53" fmla="*/ 82 h 1428"/>
                <a:gd name="T54" fmla="*/ 20 w 1398"/>
                <a:gd name="T55" fmla="*/ 77 h 1428"/>
                <a:gd name="T56" fmla="*/ 16 w 1398"/>
                <a:gd name="T57" fmla="*/ 73 h 1428"/>
                <a:gd name="T58" fmla="*/ 16 w 1398"/>
                <a:gd name="T59" fmla="*/ 69 h 1428"/>
                <a:gd name="T60" fmla="*/ 14 w 1398"/>
                <a:gd name="T61" fmla="*/ 54 h 1428"/>
                <a:gd name="T62" fmla="*/ 12 w 1398"/>
                <a:gd name="T63" fmla="*/ 48 h 1428"/>
                <a:gd name="T64" fmla="*/ 11 w 1398"/>
                <a:gd name="T65" fmla="*/ 31 h 1428"/>
                <a:gd name="T66" fmla="*/ 14 w 1398"/>
                <a:gd name="T67" fmla="*/ 18 h 1428"/>
                <a:gd name="T68" fmla="*/ 19 w 1398"/>
                <a:gd name="T69" fmla="*/ 15 h 1428"/>
                <a:gd name="T70" fmla="*/ 26 w 1398"/>
                <a:gd name="T71" fmla="*/ 13 h 1428"/>
                <a:gd name="T72" fmla="*/ 34 w 1398"/>
                <a:gd name="T73" fmla="*/ 12 h 1428"/>
                <a:gd name="T74" fmla="*/ 39 w 1398"/>
                <a:gd name="T75" fmla="*/ 9 h 1428"/>
                <a:gd name="T76" fmla="*/ 43 w 1398"/>
                <a:gd name="T77" fmla="*/ 7 h 1428"/>
                <a:gd name="T78" fmla="*/ 48 w 1398"/>
                <a:gd name="T79" fmla="*/ 3 h 1428"/>
                <a:gd name="T80" fmla="*/ 54 w 1398"/>
                <a:gd name="T81" fmla="*/ 0 h 1428"/>
                <a:gd name="T82" fmla="*/ 58 w 1398"/>
                <a:gd name="T83" fmla="*/ 0 h 1428"/>
                <a:gd name="T84" fmla="*/ 66 w 1398"/>
                <a:gd name="T85" fmla="*/ 2 h 1428"/>
                <a:gd name="T86" fmla="*/ 70 w 1398"/>
                <a:gd name="T87" fmla="*/ 3 h 1428"/>
                <a:gd name="T88" fmla="*/ 75 w 1398"/>
                <a:gd name="T89" fmla="*/ 6 h 1428"/>
                <a:gd name="T90" fmla="*/ 80 w 1398"/>
                <a:gd name="T91" fmla="*/ 9 h 1428"/>
                <a:gd name="T92" fmla="*/ 83 w 1398"/>
                <a:gd name="T93" fmla="*/ 12 h 1428"/>
                <a:gd name="T94" fmla="*/ 87 w 1398"/>
                <a:gd name="T95" fmla="*/ 15 h 1428"/>
                <a:gd name="T96" fmla="*/ 94 w 1398"/>
                <a:gd name="T97" fmla="*/ 15 h 1428"/>
                <a:gd name="T98" fmla="*/ 99 w 1398"/>
                <a:gd name="T99" fmla="*/ 21 h 1428"/>
                <a:gd name="T100" fmla="*/ 103 w 1398"/>
                <a:gd name="T101" fmla="*/ 23 h 1428"/>
                <a:gd name="T102" fmla="*/ 110 w 1398"/>
                <a:gd name="T103" fmla="*/ 26 h 1428"/>
                <a:gd name="T104" fmla="*/ 116 w 1398"/>
                <a:gd name="T105" fmla="*/ 27 h 1428"/>
                <a:gd name="T106" fmla="*/ 120 w 1398"/>
                <a:gd name="T107" fmla="*/ 27 h 1428"/>
                <a:gd name="T108" fmla="*/ 116 w 1398"/>
                <a:gd name="T109" fmla="*/ 35 h 1428"/>
                <a:gd name="T110" fmla="*/ 104 w 1398"/>
                <a:gd name="T111" fmla="*/ 37 h 1428"/>
                <a:gd name="T112" fmla="*/ 97 w 1398"/>
                <a:gd name="T113" fmla="*/ 34 h 1428"/>
                <a:gd name="T114" fmla="*/ 91 w 1398"/>
                <a:gd name="T115" fmla="*/ 29 h 1428"/>
                <a:gd name="T116" fmla="*/ 75 w 1398"/>
                <a:gd name="T117" fmla="*/ 29 h 1428"/>
                <a:gd name="T118" fmla="*/ 72 w 1398"/>
                <a:gd name="T119" fmla="*/ 39 h 1428"/>
                <a:gd name="T120" fmla="*/ 80 w 1398"/>
                <a:gd name="T121" fmla="*/ 41 h 142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98"/>
                <a:gd name="T184" fmla="*/ 0 h 1428"/>
                <a:gd name="T185" fmla="*/ 1398 w 1398"/>
                <a:gd name="T186" fmla="*/ 1428 h 142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98" h="1428">
                  <a:moveTo>
                    <a:pt x="924" y="474"/>
                  </a:moveTo>
                  <a:lnTo>
                    <a:pt x="900" y="480"/>
                  </a:lnTo>
                  <a:lnTo>
                    <a:pt x="864" y="486"/>
                  </a:lnTo>
                  <a:lnTo>
                    <a:pt x="864" y="504"/>
                  </a:lnTo>
                  <a:lnTo>
                    <a:pt x="858" y="522"/>
                  </a:lnTo>
                  <a:lnTo>
                    <a:pt x="864" y="528"/>
                  </a:lnTo>
                  <a:lnTo>
                    <a:pt x="864" y="552"/>
                  </a:lnTo>
                  <a:lnTo>
                    <a:pt x="852" y="552"/>
                  </a:lnTo>
                  <a:lnTo>
                    <a:pt x="846" y="564"/>
                  </a:lnTo>
                  <a:lnTo>
                    <a:pt x="840" y="582"/>
                  </a:lnTo>
                  <a:lnTo>
                    <a:pt x="834" y="594"/>
                  </a:lnTo>
                  <a:lnTo>
                    <a:pt x="828" y="606"/>
                  </a:lnTo>
                  <a:lnTo>
                    <a:pt x="828" y="618"/>
                  </a:lnTo>
                  <a:lnTo>
                    <a:pt x="786" y="630"/>
                  </a:lnTo>
                  <a:lnTo>
                    <a:pt x="774" y="636"/>
                  </a:lnTo>
                  <a:lnTo>
                    <a:pt x="762" y="642"/>
                  </a:lnTo>
                  <a:lnTo>
                    <a:pt x="744" y="648"/>
                  </a:lnTo>
                  <a:lnTo>
                    <a:pt x="714" y="660"/>
                  </a:lnTo>
                  <a:lnTo>
                    <a:pt x="696" y="666"/>
                  </a:lnTo>
                  <a:lnTo>
                    <a:pt x="666" y="672"/>
                  </a:lnTo>
                  <a:lnTo>
                    <a:pt x="654" y="684"/>
                  </a:lnTo>
                  <a:lnTo>
                    <a:pt x="648" y="684"/>
                  </a:lnTo>
                  <a:lnTo>
                    <a:pt x="642" y="696"/>
                  </a:lnTo>
                  <a:lnTo>
                    <a:pt x="636" y="696"/>
                  </a:lnTo>
                  <a:lnTo>
                    <a:pt x="630" y="714"/>
                  </a:lnTo>
                  <a:lnTo>
                    <a:pt x="624" y="738"/>
                  </a:lnTo>
                  <a:lnTo>
                    <a:pt x="624" y="762"/>
                  </a:lnTo>
                  <a:lnTo>
                    <a:pt x="630" y="780"/>
                  </a:lnTo>
                  <a:lnTo>
                    <a:pt x="636" y="804"/>
                  </a:lnTo>
                  <a:lnTo>
                    <a:pt x="642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6" y="834"/>
                  </a:lnTo>
                  <a:lnTo>
                    <a:pt x="636" y="870"/>
                  </a:lnTo>
                  <a:lnTo>
                    <a:pt x="636" y="882"/>
                  </a:lnTo>
                  <a:lnTo>
                    <a:pt x="636" y="906"/>
                  </a:lnTo>
                  <a:lnTo>
                    <a:pt x="630" y="906"/>
                  </a:lnTo>
                  <a:lnTo>
                    <a:pt x="636" y="918"/>
                  </a:lnTo>
                  <a:lnTo>
                    <a:pt x="642" y="918"/>
                  </a:lnTo>
                  <a:lnTo>
                    <a:pt x="642" y="930"/>
                  </a:lnTo>
                  <a:lnTo>
                    <a:pt x="648" y="936"/>
                  </a:lnTo>
                  <a:lnTo>
                    <a:pt x="654" y="936"/>
                  </a:lnTo>
                  <a:lnTo>
                    <a:pt x="654" y="942"/>
                  </a:lnTo>
                  <a:lnTo>
                    <a:pt x="654" y="948"/>
                  </a:lnTo>
                  <a:lnTo>
                    <a:pt x="648" y="954"/>
                  </a:lnTo>
                  <a:lnTo>
                    <a:pt x="648" y="960"/>
                  </a:lnTo>
                  <a:lnTo>
                    <a:pt x="648" y="966"/>
                  </a:lnTo>
                  <a:lnTo>
                    <a:pt x="648" y="972"/>
                  </a:lnTo>
                  <a:lnTo>
                    <a:pt x="648" y="990"/>
                  </a:lnTo>
                  <a:lnTo>
                    <a:pt x="654" y="996"/>
                  </a:lnTo>
                  <a:lnTo>
                    <a:pt x="648" y="1002"/>
                  </a:lnTo>
                  <a:lnTo>
                    <a:pt x="648" y="1008"/>
                  </a:lnTo>
                  <a:lnTo>
                    <a:pt x="654" y="1014"/>
                  </a:lnTo>
                  <a:lnTo>
                    <a:pt x="654" y="1020"/>
                  </a:lnTo>
                  <a:lnTo>
                    <a:pt x="654" y="1026"/>
                  </a:lnTo>
                  <a:lnTo>
                    <a:pt x="660" y="1026"/>
                  </a:lnTo>
                  <a:lnTo>
                    <a:pt x="660" y="1032"/>
                  </a:lnTo>
                  <a:lnTo>
                    <a:pt x="660" y="1038"/>
                  </a:lnTo>
                  <a:lnTo>
                    <a:pt x="666" y="1044"/>
                  </a:lnTo>
                  <a:lnTo>
                    <a:pt x="672" y="1050"/>
                  </a:lnTo>
                  <a:lnTo>
                    <a:pt x="672" y="1056"/>
                  </a:lnTo>
                  <a:lnTo>
                    <a:pt x="672" y="1062"/>
                  </a:lnTo>
                  <a:lnTo>
                    <a:pt x="672" y="1068"/>
                  </a:lnTo>
                  <a:lnTo>
                    <a:pt x="672" y="1074"/>
                  </a:lnTo>
                  <a:lnTo>
                    <a:pt x="678" y="1074"/>
                  </a:lnTo>
                  <a:lnTo>
                    <a:pt x="678" y="1080"/>
                  </a:lnTo>
                  <a:lnTo>
                    <a:pt x="678" y="1086"/>
                  </a:lnTo>
                  <a:lnTo>
                    <a:pt x="672" y="1092"/>
                  </a:lnTo>
                  <a:lnTo>
                    <a:pt x="672" y="1098"/>
                  </a:lnTo>
                  <a:lnTo>
                    <a:pt x="672" y="1104"/>
                  </a:lnTo>
                  <a:lnTo>
                    <a:pt x="666" y="1116"/>
                  </a:lnTo>
                  <a:lnTo>
                    <a:pt x="624" y="1122"/>
                  </a:lnTo>
                  <a:lnTo>
                    <a:pt x="576" y="1134"/>
                  </a:lnTo>
                  <a:lnTo>
                    <a:pt x="570" y="1140"/>
                  </a:lnTo>
                  <a:lnTo>
                    <a:pt x="570" y="1146"/>
                  </a:lnTo>
                  <a:lnTo>
                    <a:pt x="564" y="1146"/>
                  </a:lnTo>
                  <a:lnTo>
                    <a:pt x="564" y="1152"/>
                  </a:lnTo>
                  <a:lnTo>
                    <a:pt x="564" y="1164"/>
                  </a:lnTo>
                  <a:lnTo>
                    <a:pt x="564" y="1170"/>
                  </a:lnTo>
                  <a:lnTo>
                    <a:pt x="564" y="1176"/>
                  </a:lnTo>
                  <a:lnTo>
                    <a:pt x="546" y="1176"/>
                  </a:lnTo>
                  <a:lnTo>
                    <a:pt x="540" y="1212"/>
                  </a:lnTo>
                  <a:lnTo>
                    <a:pt x="540" y="1230"/>
                  </a:lnTo>
                  <a:lnTo>
                    <a:pt x="546" y="1242"/>
                  </a:lnTo>
                  <a:lnTo>
                    <a:pt x="546" y="1254"/>
                  </a:lnTo>
                  <a:lnTo>
                    <a:pt x="558" y="1266"/>
                  </a:lnTo>
                  <a:lnTo>
                    <a:pt x="576" y="1272"/>
                  </a:lnTo>
                  <a:lnTo>
                    <a:pt x="570" y="1278"/>
                  </a:lnTo>
                  <a:lnTo>
                    <a:pt x="576" y="1284"/>
                  </a:lnTo>
                  <a:lnTo>
                    <a:pt x="570" y="1296"/>
                  </a:lnTo>
                  <a:lnTo>
                    <a:pt x="558" y="1302"/>
                  </a:lnTo>
                  <a:lnTo>
                    <a:pt x="540" y="1308"/>
                  </a:lnTo>
                  <a:lnTo>
                    <a:pt x="522" y="1314"/>
                  </a:lnTo>
                  <a:lnTo>
                    <a:pt x="516" y="1314"/>
                  </a:lnTo>
                  <a:lnTo>
                    <a:pt x="510" y="1314"/>
                  </a:lnTo>
                  <a:lnTo>
                    <a:pt x="504" y="1314"/>
                  </a:lnTo>
                  <a:lnTo>
                    <a:pt x="498" y="1320"/>
                  </a:lnTo>
                  <a:lnTo>
                    <a:pt x="492" y="1320"/>
                  </a:lnTo>
                  <a:lnTo>
                    <a:pt x="492" y="1326"/>
                  </a:lnTo>
                  <a:lnTo>
                    <a:pt x="486" y="1326"/>
                  </a:lnTo>
                  <a:lnTo>
                    <a:pt x="480" y="1326"/>
                  </a:lnTo>
                  <a:lnTo>
                    <a:pt x="480" y="1320"/>
                  </a:lnTo>
                  <a:lnTo>
                    <a:pt x="468" y="1314"/>
                  </a:lnTo>
                  <a:lnTo>
                    <a:pt x="462" y="1308"/>
                  </a:lnTo>
                  <a:lnTo>
                    <a:pt x="456" y="1302"/>
                  </a:lnTo>
                  <a:lnTo>
                    <a:pt x="444" y="1296"/>
                  </a:lnTo>
                  <a:lnTo>
                    <a:pt x="420" y="1290"/>
                  </a:lnTo>
                  <a:lnTo>
                    <a:pt x="414" y="1278"/>
                  </a:lnTo>
                  <a:lnTo>
                    <a:pt x="408" y="1278"/>
                  </a:lnTo>
                  <a:lnTo>
                    <a:pt x="408" y="1266"/>
                  </a:lnTo>
                  <a:lnTo>
                    <a:pt x="402" y="1260"/>
                  </a:lnTo>
                  <a:lnTo>
                    <a:pt x="384" y="1260"/>
                  </a:lnTo>
                  <a:lnTo>
                    <a:pt x="372" y="1266"/>
                  </a:lnTo>
                  <a:lnTo>
                    <a:pt x="360" y="1272"/>
                  </a:lnTo>
                  <a:lnTo>
                    <a:pt x="348" y="1272"/>
                  </a:lnTo>
                  <a:lnTo>
                    <a:pt x="342" y="1284"/>
                  </a:lnTo>
                  <a:lnTo>
                    <a:pt x="336" y="1290"/>
                  </a:lnTo>
                  <a:lnTo>
                    <a:pt x="336" y="1308"/>
                  </a:lnTo>
                  <a:lnTo>
                    <a:pt x="336" y="1314"/>
                  </a:lnTo>
                  <a:lnTo>
                    <a:pt x="336" y="1320"/>
                  </a:lnTo>
                  <a:lnTo>
                    <a:pt x="330" y="1326"/>
                  </a:lnTo>
                  <a:lnTo>
                    <a:pt x="330" y="1332"/>
                  </a:lnTo>
                  <a:lnTo>
                    <a:pt x="330" y="1338"/>
                  </a:lnTo>
                  <a:lnTo>
                    <a:pt x="300" y="1338"/>
                  </a:lnTo>
                  <a:lnTo>
                    <a:pt x="288" y="1338"/>
                  </a:lnTo>
                  <a:lnTo>
                    <a:pt x="258" y="1326"/>
                  </a:lnTo>
                  <a:lnTo>
                    <a:pt x="246" y="1332"/>
                  </a:lnTo>
                  <a:lnTo>
                    <a:pt x="240" y="1338"/>
                  </a:lnTo>
                  <a:lnTo>
                    <a:pt x="234" y="1338"/>
                  </a:lnTo>
                  <a:lnTo>
                    <a:pt x="228" y="1350"/>
                  </a:lnTo>
                  <a:lnTo>
                    <a:pt x="228" y="1374"/>
                  </a:lnTo>
                  <a:lnTo>
                    <a:pt x="234" y="1392"/>
                  </a:lnTo>
                  <a:lnTo>
                    <a:pt x="246" y="1398"/>
                  </a:lnTo>
                  <a:lnTo>
                    <a:pt x="246" y="1410"/>
                  </a:lnTo>
                  <a:lnTo>
                    <a:pt x="216" y="1428"/>
                  </a:lnTo>
                  <a:lnTo>
                    <a:pt x="198" y="1428"/>
                  </a:lnTo>
                  <a:lnTo>
                    <a:pt x="192" y="1422"/>
                  </a:lnTo>
                  <a:lnTo>
                    <a:pt x="174" y="1410"/>
                  </a:lnTo>
                  <a:lnTo>
                    <a:pt x="156" y="1386"/>
                  </a:lnTo>
                  <a:lnTo>
                    <a:pt x="132" y="1374"/>
                  </a:lnTo>
                  <a:lnTo>
                    <a:pt x="108" y="1368"/>
                  </a:lnTo>
                  <a:lnTo>
                    <a:pt x="84" y="1368"/>
                  </a:lnTo>
                  <a:lnTo>
                    <a:pt x="96" y="1356"/>
                  </a:lnTo>
                  <a:lnTo>
                    <a:pt x="102" y="1344"/>
                  </a:lnTo>
                  <a:lnTo>
                    <a:pt x="102" y="1332"/>
                  </a:lnTo>
                  <a:lnTo>
                    <a:pt x="108" y="1320"/>
                  </a:lnTo>
                  <a:lnTo>
                    <a:pt x="108" y="1302"/>
                  </a:lnTo>
                  <a:lnTo>
                    <a:pt x="96" y="1278"/>
                  </a:lnTo>
                  <a:lnTo>
                    <a:pt x="66" y="1284"/>
                  </a:lnTo>
                  <a:lnTo>
                    <a:pt x="54" y="1278"/>
                  </a:lnTo>
                  <a:lnTo>
                    <a:pt x="36" y="1278"/>
                  </a:lnTo>
                  <a:lnTo>
                    <a:pt x="18" y="1284"/>
                  </a:lnTo>
                  <a:lnTo>
                    <a:pt x="18" y="1272"/>
                  </a:lnTo>
                  <a:lnTo>
                    <a:pt x="24" y="1260"/>
                  </a:lnTo>
                  <a:lnTo>
                    <a:pt x="24" y="1254"/>
                  </a:lnTo>
                  <a:lnTo>
                    <a:pt x="30" y="1248"/>
                  </a:lnTo>
                  <a:lnTo>
                    <a:pt x="24" y="1230"/>
                  </a:lnTo>
                  <a:lnTo>
                    <a:pt x="30" y="1218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30" y="1170"/>
                  </a:lnTo>
                  <a:lnTo>
                    <a:pt x="30" y="1152"/>
                  </a:lnTo>
                  <a:lnTo>
                    <a:pt x="24" y="1146"/>
                  </a:lnTo>
                  <a:lnTo>
                    <a:pt x="0" y="1116"/>
                  </a:lnTo>
                  <a:lnTo>
                    <a:pt x="6" y="1092"/>
                  </a:lnTo>
                  <a:lnTo>
                    <a:pt x="18" y="1056"/>
                  </a:lnTo>
                  <a:lnTo>
                    <a:pt x="24" y="1050"/>
                  </a:lnTo>
                  <a:lnTo>
                    <a:pt x="24" y="1038"/>
                  </a:lnTo>
                  <a:lnTo>
                    <a:pt x="24" y="1026"/>
                  </a:lnTo>
                  <a:lnTo>
                    <a:pt x="30" y="1002"/>
                  </a:lnTo>
                  <a:lnTo>
                    <a:pt x="36" y="990"/>
                  </a:lnTo>
                  <a:lnTo>
                    <a:pt x="42" y="984"/>
                  </a:lnTo>
                  <a:lnTo>
                    <a:pt x="54" y="984"/>
                  </a:lnTo>
                  <a:lnTo>
                    <a:pt x="66" y="978"/>
                  </a:lnTo>
                  <a:lnTo>
                    <a:pt x="72" y="978"/>
                  </a:lnTo>
                  <a:lnTo>
                    <a:pt x="90" y="978"/>
                  </a:lnTo>
                  <a:lnTo>
                    <a:pt x="102" y="972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78"/>
                  </a:lnTo>
                  <a:lnTo>
                    <a:pt x="120" y="984"/>
                  </a:lnTo>
                  <a:lnTo>
                    <a:pt x="138" y="984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6" y="972"/>
                  </a:lnTo>
                  <a:lnTo>
                    <a:pt x="156" y="966"/>
                  </a:lnTo>
                  <a:lnTo>
                    <a:pt x="156" y="960"/>
                  </a:lnTo>
                  <a:lnTo>
                    <a:pt x="180" y="948"/>
                  </a:lnTo>
                  <a:lnTo>
                    <a:pt x="186" y="924"/>
                  </a:lnTo>
                  <a:lnTo>
                    <a:pt x="192" y="918"/>
                  </a:lnTo>
                  <a:lnTo>
                    <a:pt x="228" y="924"/>
                  </a:lnTo>
                  <a:lnTo>
                    <a:pt x="246" y="906"/>
                  </a:lnTo>
                  <a:lnTo>
                    <a:pt x="240" y="888"/>
                  </a:lnTo>
                  <a:lnTo>
                    <a:pt x="234" y="888"/>
                  </a:lnTo>
                  <a:lnTo>
                    <a:pt x="234" y="882"/>
                  </a:lnTo>
                  <a:lnTo>
                    <a:pt x="228" y="870"/>
                  </a:lnTo>
                  <a:lnTo>
                    <a:pt x="228" y="864"/>
                  </a:lnTo>
                  <a:lnTo>
                    <a:pt x="222" y="864"/>
                  </a:lnTo>
                  <a:lnTo>
                    <a:pt x="216" y="858"/>
                  </a:lnTo>
                  <a:lnTo>
                    <a:pt x="198" y="852"/>
                  </a:lnTo>
                  <a:lnTo>
                    <a:pt x="192" y="852"/>
                  </a:lnTo>
                  <a:lnTo>
                    <a:pt x="186" y="846"/>
                  </a:lnTo>
                  <a:lnTo>
                    <a:pt x="174" y="834"/>
                  </a:lnTo>
                  <a:lnTo>
                    <a:pt x="162" y="822"/>
                  </a:lnTo>
                  <a:lnTo>
                    <a:pt x="156" y="816"/>
                  </a:lnTo>
                  <a:lnTo>
                    <a:pt x="162" y="810"/>
                  </a:lnTo>
                  <a:lnTo>
                    <a:pt x="174" y="798"/>
                  </a:lnTo>
                  <a:lnTo>
                    <a:pt x="180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68"/>
                  </a:lnTo>
                  <a:lnTo>
                    <a:pt x="192" y="744"/>
                  </a:lnTo>
                  <a:lnTo>
                    <a:pt x="186" y="708"/>
                  </a:lnTo>
                  <a:lnTo>
                    <a:pt x="174" y="690"/>
                  </a:lnTo>
                  <a:lnTo>
                    <a:pt x="168" y="672"/>
                  </a:lnTo>
                  <a:lnTo>
                    <a:pt x="156" y="630"/>
                  </a:lnTo>
                  <a:lnTo>
                    <a:pt x="156" y="606"/>
                  </a:lnTo>
                  <a:lnTo>
                    <a:pt x="150" y="606"/>
                  </a:lnTo>
                  <a:lnTo>
                    <a:pt x="150" y="600"/>
                  </a:lnTo>
                  <a:lnTo>
                    <a:pt x="144" y="600"/>
                  </a:lnTo>
                  <a:lnTo>
                    <a:pt x="150" y="594"/>
                  </a:lnTo>
                  <a:lnTo>
                    <a:pt x="144" y="588"/>
                  </a:lnTo>
                  <a:lnTo>
                    <a:pt x="138" y="558"/>
                  </a:lnTo>
                  <a:lnTo>
                    <a:pt x="138" y="528"/>
                  </a:lnTo>
                  <a:lnTo>
                    <a:pt x="132" y="480"/>
                  </a:lnTo>
                  <a:lnTo>
                    <a:pt x="132" y="462"/>
                  </a:lnTo>
                  <a:lnTo>
                    <a:pt x="126" y="426"/>
                  </a:lnTo>
                  <a:lnTo>
                    <a:pt x="126" y="396"/>
                  </a:lnTo>
                  <a:lnTo>
                    <a:pt x="126" y="378"/>
                  </a:lnTo>
                  <a:lnTo>
                    <a:pt x="126" y="360"/>
                  </a:lnTo>
                  <a:lnTo>
                    <a:pt x="132" y="318"/>
                  </a:lnTo>
                  <a:lnTo>
                    <a:pt x="132" y="24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2" y="210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92" y="198"/>
                  </a:lnTo>
                  <a:lnTo>
                    <a:pt x="198" y="198"/>
                  </a:lnTo>
                  <a:lnTo>
                    <a:pt x="216" y="180"/>
                  </a:lnTo>
                  <a:lnTo>
                    <a:pt x="222" y="174"/>
                  </a:lnTo>
                  <a:lnTo>
                    <a:pt x="222" y="168"/>
                  </a:lnTo>
                  <a:lnTo>
                    <a:pt x="228" y="168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44"/>
                  </a:lnTo>
                  <a:lnTo>
                    <a:pt x="258" y="144"/>
                  </a:lnTo>
                  <a:lnTo>
                    <a:pt x="276" y="150"/>
                  </a:lnTo>
                  <a:lnTo>
                    <a:pt x="300" y="150"/>
                  </a:lnTo>
                  <a:lnTo>
                    <a:pt x="312" y="150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8" y="156"/>
                  </a:lnTo>
                  <a:lnTo>
                    <a:pt x="354" y="150"/>
                  </a:lnTo>
                  <a:lnTo>
                    <a:pt x="372" y="144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08" y="126"/>
                  </a:lnTo>
                  <a:lnTo>
                    <a:pt x="414" y="120"/>
                  </a:lnTo>
                  <a:lnTo>
                    <a:pt x="420" y="120"/>
                  </a:lnTo>
                  <a:lnTo>
                    <a:pt x="426" y="120"/>
                  </a:lnTo>
                  <a:lnTo>
                    <a:pt x="432" y="114"/>
                  </a:lnTo>
                  <a:lnTo>
                    <a:pt x="450" y="102"/>
                  </a:lnTo>
                  <a:lnTo>
                    <a:pt x="456" y="96"/>
                  </a:lnTo>
                  <a:lnTo>
                    <a:pt x="468" y="90"/>
                  </a:lnTo>
                  <a:lnTo>
                    <a:pt x="474" y="90"/>
                  </a:lnTo>
                  <a:lnTo>
                    <a:pt x="480" y="84"/>
                  </a:lnTo>
                  <a:lnTo>
                    <a:pt x="486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504" y="72"/>
                  </a:lnTo>
                  <a:lnTo>
                    <a:pt x="510" y="66"/>
                  </a:lnTo>
                  <a:lnTo>
                    <a:pt x="516" y="66"/>
                  </a:lnTo>
                  <a:lnTo>
                    <a:pt x="522" y="60"/>
                  </a:lnTo>
                  <a:lnTo>
                    <a:pt x="552" y="42"/>
                  </a:lnTo>
                  <a:lnTo>
                    <a:pt x="558" y="36"/>
                  </a:lnTo>
                  <a:lnTo>
                    <a:pt x="576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94" y="18"/>
                  </a:lnTo>
                  <a:lnTo>
                    <a:pt x="600" y="12"/>
                  </a:lnTo>
                  <a:lnTo>
                    <a:pt x="612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6"/>
                  </a:lnTo>
                  <a:lnTo>
                    <a:pt x="648" y="6"/>
                  </a:lnTo>
                  <a:lnTo>
                    <a:pt x="660" y="6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38" y="18"/>
                  </a:lnTo>
                  <a:lnTo>
                    <a:pt x="744" y="18"/>
                  </a:lnTo>
                  <a:lnTo>
                    <a:pt x="756" y="18"/>
                  </a:lnTo>
                  <a:lnTo>
                    <a:pt x="762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80" y="24"/>
                  </a:lnTo>
                  <a:lnTo>
                    <a:pt x="792" y="24"/>
                  </a:lnTo>
                  <a:lnTo>
                    <a:pt x="792" y="30"/>
                  </a:lnTo>
                  <a:lnTo>
                    <a:pt x="810" y="30"/>
                  </a:lnTo>
                  <a:lnTo>
                    <a:pt x="822" y="36"/>
                  </a:lnTo>
                  <a:lnTo>
                    <a:pt x="834" y="42"/>
                  </a:lnTo>
                  <a:lnTo>
                    <a:pt x="840" y="48"/>
                  </a:lnTo>
                  <a:lnTo>
                    <a:pt x="846" y="54"/>
                  </a:lnTo>
                  <a:lnTo>
                    <a:pt x="852" y="60"/>
                  </a:lnTo>
                  <a:lnTo>
                    <a:pt x="858" y="66"/>
                  </a:lnTo>
                  <a:lnTo>
                    <a:pt x="864" y="66"/>
                  </a:lnTo>
                  <a:lnTo>
                    <a:pt x="864" y="72"/>
                  </a:lnTo>
                  <a:lnTo>
                    <a:pt x="876" y="78"/>
                  </a:lnTo>
                  <a:lnTo>
                    <a:pt x="900" y="84"/>
                  </a:lnTo>
                  <a:lnTo>
                    <a:pt x="906" y="90"/>
                  </a:lnTo>
                  <a:lnTo>
                    <a:pt x="912" y="90"/>
                  </a:lnTo>
                  <a:lnTo>
                    <a:pt x="912" y="96"/>
                  </a:lnTo>
                  <a:lnTo>
                    <a:pt x="924" y="108"/>
                  </a:lnTo>
                  <a:lnTo>
                    <a:pt x="930" y="108"/>
                  </a:lnTo>
                  <a:lnTo>
                    <a:pt x="936" y="114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60" y="138"/>
                  </a:lnTo>
                  <a:lnTo>
                    <a:pt x="966" y="144"/>
                  </a:lnTo>
                  <a:lnTo>
                    <a:pt x="972" y="156"/>
                  </a:lnTo>
                  <a:lnTo>
                    <a:pt x="978" y="162"/>
                  </a:lnTo>
                  <a:lnTo>
                    <a:pt x="984" y="162"/>
                  </a:lnTo>
                  <a:lnTo>
                    <a:pt x="990" y="168"/>
                  </a:lnTo>
                  <a:lnTo>
                    <a:pt x="996" y="174"/>
                  </a:lnTo>
                  <a:lnTo>
                    <a:pt x="1002" y="180"/>
                  </a:lnTo>
                  <a:lnTo>
                    <a:pt x="1008" y="180"/>
                  </a:lnTo>
                  <a:lnTo>
                    <a:pt x="1020" y="180"/>
                  </a:lnTo>
                  <a:lnTo>
                    <a:pt x="1038" y="174"/>
                  </a:lnTo>
                  <a:lnTo>
                    <a:pt x="1050" y="174"/>
                  </a:lnTo>
                  <a:lnTo>
                    <a:pt x="1056" y="174"/>
                  </a:lnTo>
                  <a:lnTo>
                    <a:pt x="1068" y="180"/>
                  </a:lnTo>
                  <a:lnTo>
                    <a:pt x="1080" y="180"/>
                  </a:lnTo>
                  <a:lnTo>
                    <a:pt x="1086" y="186"/>
                  </a:lnTo>
                  <a:lnTo>
                    <a:pt x="1098" y="192"/>
                  </a:lnTo>
                  <a:lnTo>
                    <a:pt x="1116" y="204"/>
                  </a:lnTo>
                  <a:lnTo>
                    <a:pt x="1122" y="210"/>
                  </a:lnTo>
                  <a:lnTo>
                    <a:pt x="1134" y="222"/>
                  </a:lnTo>
                  <a:lnTo>
                    <a:pt x="1146" y="234"/>
                  </a:lnTo>
                  <a:lnTo>
                    <a:pt x="1146" y="240"/>
                  </a:lnTo>
                  <a:lnTo>
                    <a:pt x="1152" y="246"/>
                  </a:lnTo>
                  <a:lnTo>
                    <a:pt x="1152" y="252"/>
                  </a:lnTo>
                  <a:lnTo>
                    <a:pt x="1152" y="258"/>
                  </a:lnTo>
                  <a:lnTo>
                    <a:pt x="1164" y="258"/>
                  </a:lnTo>
                  <a:lnTo>
                    <a:pt x="1170" y="264"/>
                  </a:lnTo>
                  <a:lnTo>
                    <a:pt x="1182" y="270"/>
                  </a:lnTo>
                  <a:lnTo>
                    <a:pt x="1188" y="270"/>
                  </a:lnTo>
                  <a:lnTo>
                    <a:pt x="1194" y="270"/>
                  </a:lnTo>
                  <a:lnTo>
                    <a:pt x="1206" y="276"/>
                  </a:lnTo>
                  <a:lnTo>
                    <a:pt x="1224" y="282"/>
                  </a:lnTo>
                  <a:lnTo>
                    <a:pt x="1236" y="282"/>
                  </a:lnTo>
                  <a:lnTo>
                    <a:pt x="1242" y="288"/>
                  </a:lnTo>
                  <a:lnTo>
                    <a:pt x="1254" y="288"/>
                  </a:lnTo>
                  <a:lnTo>
                    <a:pt x="1266" y="294"/>
                  </a:lnTo>
                  <a:lnTo>
                    <a:pt x="1272" y="294"/>
                  </a:lnTo>
                  <a:lnTo>
                    <a:pt x="1284" y="300"/>
                  </a:lnTo>
                  <a:lnTo>
                    <a:pt x="1290" y="300"/>
                  </a:lnTo>
                  <a:lnTo>
                    <a:pt x="1296" y="300"/>
                  </a:lnTo>
                  <a:lnTo>
                    <a:pt x="1302" y="306"/>
                  </a:lnTo>
                  <a:lnTo>
                    <a:pt x="1326" y="312"/>
                  </a:lnTo>
                  <a:lnTo>
                    <a:pt x="1338" y="312"/>
                  </a:lnTo>
                  <a:lnTo>
                    <a:pt x="1338" y="318"/>
                  </a:lnTo>
                  <a:lnTo>
                    <a:pt x="1344" y="318"/>
                  </a:lnTo>
                  <a:lnTo>
                    <a:pt x="1350" y="318"/>
                  </a:lnTo>
                  <a:lnTo>
                    <a:pt x="1362" y="324"/>
                  </a:lnTo>
                  <a:lnTo>
                    <a:pt x="1368" y="318"/>
                  </a:lnTo>
                  <a:lnTo>
                    <a:pt x="1374" y="318"/>
                  </a:lnTo>
                  <a:lnTo>
                    <a:pt x="1386" y="318"/>
                  </a:lnTo>
                  <a:lnTo>
                    <a:pt x="1398" y="324"/>
                  </a:lnTo>
                  <a:lnTo>
                    <a:pt x="1398" y="342"/>
                  </a:lnTo>
                  <a:lnTo>
                    <a:pt x="1356" y="342"/>
                  </a:lnTo>
                  <a:lnTo>
                    <a:pt x="1350" y="348"/>
                  </a:lnTo>
                  <a:lnTo>
                    <a:pt x="1350" y="372"/>
                  </a:lnTo>
                  <a:lnTo>
                    <a:pt x="1338" y="384"/>
                  </a:lnTo>
                  <a:lnTo>
                    <a:pt x="1332" y="408"/>
                  </a:lnTo>
                  <a:lnTo>
                    <a:pt x="1320" y="420"/>
                  </a:lnTo>
                  <a:lnTo>
                    <a:pt x="1254" y="426"/>
                  </a:lnTo>
                  <a:lnTo>
                    <a:pt x="1248" y="432"/>
                  </a:lnTo>
                  <a:lnTo>
                    <a:pt x="1230" y="432"/>
                  </a:lnTo>
                  <a:lnTo>
                    <a:pt x="1212" y="432"/>
                  </a:lnTo>
                  <a:lnTo>
                    <a:pt x="1212" y="426"/>
                  </a:lnTo>
                  <a:lnTo>
                    <a:pt x="1200" y="426"/>
                  </a:lnTo>
                  <a:lnTo>
                    <a:pt x="1182" y="414"/>
                  </a:lnTo>
                  <a:lnTo>
                    <a:pt x="1182" y="420"/>
                  </a:lnTo>
                  <a:lnTo>
                    <a:pt x="1164" y="420"/>
                  </a:lnTo>
                  <a:lnTo>
                    <a:pt x="1158" y="414"/>
                  </a:lnTo>
                  <a:lnTo>
                    <a:pt x="1152" y="408"/>
                  </a:lnTo>
                  <a:lnTo>
                    <a:pt x="1146" y="402"/>
                  </a:lnTo>
                  <a:lnTo>
                    <a:pt x="1122" y="396"/>
                  </a:lnTo>
                  <a:lnTo>
                    <a:pt x="1116" y="366"/>
                  </a:lnTo>
                  <a:lnTo>
                    <a:pt x="1116" y="348"/>
                  </a:lnTo>
                  <a:lnTo>
                    <a:pt x="1110" y="342"/>
                  </a:lnTo>
                  <a:lnTo>
                    <a:pt x="1104" y="336"/>
                  </a:lnTo>
                  <a:lnTo>
                    <a:pt x="1092" y="330"/>
                  </a:lnTo>
                  <a:lnTo>
                    <a:pt x="1074" y="330"/>
                  </a:lnTo>
                  <a:lnTo>
                    <a:pt x="1044" y="330"/>
                  </a:lnTo>
                  <a:lnTo>
                    <a:pt x="1014" y="336"/>
                  </a:lnTo>
                  <a:lnTo>
                    <a:pt x="984" y="342"/>
                  </a:lnTo>
                  <a:lnTo>
                    <a:pt x="978" y="330"/>
                  </a:lnTo>
                  <a:lnTo>
                    <a:pt x="966" y="324"/>
                  </a:lnTo>
                  <a:lnTo>
                    <a:pt x="888" y="336"/>
                  </a:lnTo>
                  <a:lnTo>
                    <a:pt x="888" y="330"/>
                  </a:lnTo>
                  <a:lnTo>
                    <a:pt x="870" y="336"/>
                  </a:lnTo>
                  <a:lnTo>
                    <a:pt x="858" y="336"/>
                  </a:lnTo>
                  <a:lnTo>
                    <a:pt x="852" y="354"/>
                  </a:lnTo>
                  <a:lnTo>
                    <a:pt x="852" y="402"/>
                  </a:lnTo>
                  <a:lnTo>
                    <a:pt x="840" y="414"/>
                  </a:lnTo>
                  <a:lnTo>
                    <a:pt x="834" y="420"/>
                  </a:lnTo>
                  <a:lnTo>
                    <a:pt x="834" y="444"/>
                  </a:lnTo>
                  <a:lnTo>
                    <a:pt x="834" y="450"/>
                  </a:lnTo>
                  <a:lnTo>
                    <a:pt x="852" y="456"/>
                  </a:lnTo>
                  <a:lnTo>
                    <a:pt x="864" y="462"/>
                  </a:lnTo>
                  <a:lnTo>
                    <a:pt x="894" y="456"/>
                  </a:lnTo>
                  <a:lnTo>
                    <a:pt x="900" y="468"/>
                  </a:lnTo>
                  <a:lnTo>
                    <a:pt x="918" y="462"/>
                  </a:lnTo>
                  <a:lnTo>
                    <a:pt x="924" y="468"/>
                  </a:lnTo>
                  <a:lnTo>
                    <a:pt x="924" y="47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2" name="Freeform 37">
              <a:extLst>
                <a:ext uri="{FF2B5EF4-FFF2-40B4-BE49-F238E27FC236}">
                  <a16:creationId xmlns:a16="http://schemas.microsoft.com/office/drawing/2014/main" id="{DED8A1FF-B656-4D37-BD26-5B0A7B1A4A6D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441" y="1898343"/>
              <a:ext cx="567992" cy="686605"/>
            </a:xfrm>
            <a:custGeom>
              <a:avLst/>
              <a:gdLst>
                <a:gd name="T0" fmla="*/ 79 w 1068"/>
                <a:gd name="T1" fmla="*/ 72 h 1290"/>
                <a:gd name="T2" fmla="*/ 75 w 1068"/>
                <a:gd name="T3" fmla="*/ 73 h 1290"/>
                <a:gd name="T4" fmla="*/ 72 w 1068"/>
                <a:gd name="T5" fmla="*/ 76 h 1290"/>
                <a:gd name="T6" fmla="*/ 70 w 1068"/>
                <a:gd name="T7" fmla="*/ 78 h 1290"/>
                <a:gd name="T8" fmla="*/ 67 w 1068"/>
                <a:gd name="T9" fmla="*/ 82 h 1290"/>
                <a:gd name="T10" fmla="*/ 61 w 1068"/>
                <a:gd name="T11" fmla="*/ 86 h 1290"/>
                <a:gd name="T12" fmla="*/ 60 w 1068"/>
                <a:gd name="T13" fmla="*/ 93 h 1290"/>
                <a:gd name="T14" fmla="*/ 59 w 1068"/>
                <a:gd name="T15" fmla="*/ 97 h 1290"/>
                <a:gd name="T16" fmla="*/ 61 w 1068"/>
                <a:gd name="T17" fmla="*/ 101 h 1290"/>
                <a:gd name="T18" fmla="*/ 63 w 1068"/>
                <a:gd name="T19" fmla="*/ 104 h 1290"/>
                <a:gd name="T20" fmla="*/ 62 w 1068"/>
                <a:gd name="T21" fmla="*/ 108 h 1290"/>
                <a:gd name="T22" fmla="*/ 60 w 1068"/>
                <a:gd name="T23" fmla="*/ 111 h 1290"/>
                <a:gd name="T24" fmla="*/ 56 w 1068"/>
                <a:gd name="T25" fmla="*/ 111 h 1290"/>
                <a:gd name="T26" fmla="*/ 53 w 1068"/>
                <a:gd name="T27" fmla="*/ 110 h 1290"/>
                <a:gd name="T28" fmla="*/ 50 w 1068"/>
                <a:gd name="T29" fmla="*/ 109 h 1290"/>
                <a:gd name="T30" fmla="*/ 47 w 1068"/>
                <a:gd name="T31" fmla="*/ 110 h 1290"/>
                <a:gd name="T32" fmla="*/ 51 w 1068"/>
                <a:gd name="T33" fmla="*/ 104 h 1290"/>
                <a:gd name="T34" fmla="*/ 50 w 1068"/>
                <a:gd name="T35" fmla="*/ 95 h 1290"/>
                <a:gd name="T36" fmla="*/ 51 w 1068"/>
                <a:gd name="T37" fmla="*/ 90 h 1290"/>
                <a:gd name="T38" fmla="*/ 47 w 1068"/>
                <a:gd name="T39" fmla="*/ 84 h 1290"/>
                <a:gd name="T40" fmla="*/ 42 w 1068"/>
                <a:gd name="T41" fmla="*/ 78 h 1290"/>
                <a:gd name="T42" fmla="*/ 33 w 1068"/>
                <a:gd name="T43" fmla="*/ 73 h 1290"/>
                <a:gd name="T44" fmla="*/ 26 w 1068"/>
                <a:gd name="T45" fmla="*/ 68 h 1290"/>
                <a:gd name="T46" fmla="*/ 22 w 1068"/>
                <a:gd name="T47" fmla="*/ 63 h 1290"/>
                <a:gd name="T48" fmla="*/ 11 w 1068"/>
                <a:gd name="T49" fmla="*/ 67 h 1290"/>
                <a:gd name="T50" fmla="*/ 0 w 1068"/>
                <a:gd name="T51" fmla="*/ 68 h 1290"/>
                <a:gd name="T52" fmla="*/ 2 w 1068"/>
                <a:gd name="T53" fmla="*/ 59 h 1290"/>
                <a:gd name="T54" fmla="*/ 12 w 1068"/>
                <a:gd name="T55" fmla="*/ 55 h 1290"/>
                <a:gd name="T56" fmla="*/ 12 w 1068"/>
                <a:gd name="T57" fmla="*/ 51 h 1290"/>
                <a:gd name="T58" fmla="*/ 10 w 1068"/>
                <a:gd name="T59" fmla="*/ 47 h 1290"/>
                <a:gd name="T60" fmla="*/ 9 w 1068"/>
                <a:gd name="T61" fmla="*/ 42 h 1290"/>
                <a:gd name="T62" fmla="*/ 8 w 1068"/>
                <a:gd name="T63" fmla="*/ 38 h 1290"/>
                <a:gd name="T64" fmla="*/ 8 w 1068"/>
                <a:gd name="T65" fmla="*/ 29 h 1290"/>
                <a:gd name="T66" fmla="*/ 10 w 1068"/>
                <a:gd name="T67" fmla="*/ 18 h 1290"/>
                <a:gd name="T68" fmla="*/ 25 w 1068"/>
                <a:gd name="T69" fmla="*/ 12 h 1290"/>
                <a:gd name="T70" fmla="*/ 27 w 1068"/>
                <a:gd name="T71" fmla="*/ 4 h 1290"/>
                <a:gd name="T72" fmla="*/ 35 w 1068"/>
                <a:gd name="T73" fmla="*/ 6 h 1290"/>
                <a:gd name="T74" fmla="*/ 39 w 1068"/>
                <a:gd name="T75" fmla="*/ 8 h 1290"/>
                <a:gd name="T76" fmla="*/ 41 w 1068"/>
                <a:gd name="T77" fmla="*/ 3 h 1290"/>
                <a:gd name="T78" fmla="*/ 45 w 1068"/>
                <a:gd name="T79" fmla="*/ 0 h 1290"/>
                <a:gd name="T80" fmla="*/ 51 w 1068"/>
                <a:gd name="T81" fmla="*/ 0 h 1290"/>
                <a:gd name="T82" fmla="*/ 56 w 1068"/>
                <a:gd name="T83" fmla="*/ 4 h 1290"/>
                <a:gd name="T84" fmla="*/ 62 w 1068"/>
                <a:gd name="T85" fmla="*/ 12 h 1290"/>
                <a:gd name="T86" fmla="*/ 58 w 1068"/>
                <a:gd name="T87" fmla="*/ 17 h 1290"/>
                <a:gd name="T88" fmla="*/ 60 w 1068"/>
                <a:gd name="T89" fmla="*/ 18 h 1290"/>
                <a:gd name="T90" fmla="*/ 64 w 1068"/>
                <a:gd name="T91" fmla="*/ 16 h 1290"/>
                <a:gd name="T92" fmla="*/ 68 w 1068"/>
                <a:gd name="T93" fmla="*/ 18 h 1290"/>
                <a:gd name="T94" fmla="*/ 71 w 1068"/>
                <a:gd name="T95" fmla="*/ 27 h 1290"/>
                <a:gd name="T96" fmla="*/ 74 w 1068"/>
                <a:gd name="T97" fmla="*/ 30 h 1290"/>
                <a:gd name="T98" fmla="*/ 82 w 1068"/>
                <a:gd name="T99" fmla="*/ 30 h 1290"/>
                <a:gd name="T100" fmla="*/ 87 w 1068"/>
                <a:gd name="T101" fmla="*/ 35 h 1290"/>
                <a:gd name="T102" fmla="*/ 85 w 1068"/>
                <a:gd name="T103" fmla="*/ 42 h 1290"/>
                <a:gd name="T104" fmla="*/ 81 w 1068"/>
                <a:gd name="T105" fmla="*/ 46 h 1290"/>
                <a:gd name="T106" fmla="*/ 86 w 1068"/>
                <a:gd name="T107" fmla="*/ 50 h 1290"/>
                <a:gd name="T108" fmla="*/ 89 w 1068"/>
                <a:gd name="T109" fmla="*/ 58 h 1290"/>
                <a:gd name="T110" fmla="*/ 92 w 1068"/>
                <a:gd name="T111" fmla="*/ 61 h 1290"/>
                <a:gd name="T112" fmla="*/ 86 w 1068"/>
                <a:gd name="T113" fmla="*/ 66 h 1290"/>
                <a:gd name="T114" fmla="*/ 85 w 1068"/>
                <a:gd name="T115" fmla="*/ 70 h 129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68"/>
                <a:gd name="T175" fmla="*/ 0 h 1290"/>
                <a:gd name="T176" fmla="*/ 1068 w 1068"/>
                <a:gd name="T177" fmla="*/ 1290 h 129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68" h="1290">
                  <a:moveTo>
                    <a:pt x="978" y="804"/>
                  </a:moveTo>
                  <a:lnTo>
                    <a:pt x="972" y="810"/>
                  </a:lnTo>
                  <a:lnTo>
                    <a:pt x="966" y="810"/>
                  </a:lnTo>
                  <a:lnTo>
                    <a:pt x="966" y="816"/>
                  </a:lnTo>
                  <a:lnTo>
                    <a:pt x="936" y="828"/>
                  </a:lnTo>
                  <a:lnTo>
                    <a:pt x="924" y="822"/>
                  </a:lnTo>
                  <a:lnTo>
                    <a:pt x="912" y="822"/>
                  </a:lnTo>
                  <a:lnTo>
                    <a:pt x="906" y="828"/>
                  </a:lnTo>
                  <a:lnTo>
                    <a:pt x="900" y="828"/>
                  </a:lnTo>
                  <a:lnTo>
                    <a:pt x="900" y="822"/>
                  </a:lnTo>
                  <a:lnTo>
                    <a:pt x="894" y="822"/>
                  </a:lnTo>
                  <a:lnTo>
                    <a:pt x="888" y="828"/>
                  </a:lnTo>
                  <a:lnTo>
                    <a:pt x="882" y="834"/>
                  </a:lnTo>
                  <a:lnTo>
                    <a:pt x="876" y="834"/>
                  </a:lnTo>
                  <a:lnTo>
                    <a:pt x="870" y="840"/>
                  </a:lnTo>
                  <a:lnTo>
                    <a:pt x="864" y="840"/>
                  </a:lnTo>
                  <a:lnTo>
                    <a:pt x="864" y="846"/>
                  </a:lnTo>
                  <a:lnTo>
                    <a:pt x="858" y="846"/>
                  </a:lnTo>
                  <a:lnTo>
                    <a:pt x="852" y="846"/>
                  </a:lnTo>
                  <a:lnTo>
                    <a:pt x="852" y="858"/>
                  </a:lnTo>
                  <a:lnTo>
                    <a:pt x="846" y="864"/>
                  </a:lnTo>
                  <a:lnTo>
                    <a:pt x="840" y="870"/>
                  </a:lnTo>
                  <a:lnTo>
                    <a:pt x="834" y="870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34" y="876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10" y="894"/>
                  </a:lnTo>
                  <a:lnTo>
                    <a:pt x="810" y="900"/>
                  </a:lnTo>
                  <a:lnTo>
                    <a:pt x="804" y="900"/>
                  </a:lnTo>
                  <a:lnTo>
                    <a:pt x="798" y="900"/>
                  </a:lnTo>
                  <a:lnTo>
                    <a:pt x="798" y="906"/>
                  </a:lnTo>
                  <a:lnTo>
                    <a:pt x="792" y="906"/>
                  </a:lnTo>
                  <a:lnTo>
                    <a:pt x="792" y="912"/>
                  </a:lnTo>
                  <a:lnTo>
                    <a:pt x="792" y="924"/>
                  </a:lnTo>
                  <a:lnTo>
                    <a:pt x="786" y="930"/>
                  </a:lnTo>
                  <a:lnTo>
                    <a:pt x="774" y="942"/>
                  </a:lnTo>
                  <a:lnTo>
                    <a:pt x="774" y="948"/>
                  </a:lnTo>
                  <a:lnTo>
                    <a:pt x="768" y="954"/>
                  </a:lnTo>
                  <a:lnTo>
                    <a:pt x="762" y="954"/>
                  </a:lnTo>
                  <a:lnTo>
                    <a:pt x="750" y="972"/>
                  </a:lnTo>
                  <a:lnTo>
                    <a:pt x="720" y="978"/>
                  </a:lnTo>
                  <a:lnTo>
                    <a:pt x="714" y="978"/>
                  </a:lnTo>
                  <a:lnTo>
                    <a:pt x="708" y="978"/>
                  </a:lnTo>
                  <a:lnTo>
                    <a:pt x="702" y="990"/>
                  </a:lnTo>
                  <a:lnTo>
                    <a:pt x="696" y="990"/>
                  </a:lnTo>
                  <a:lnTo>
                    <a:pt x="696" y="1008"/>
                  </a:lnTo>
                  <a:lnTo>
                    <a:pt x="690" y="1008"/>
                  </a:lnTo>
                  <a:lnTo>
                    <a:pt x="690" y="1014"/>
                  </a:lnTo>
                  <a:lnTo>
                    <a:pt x="684" y="1032"/>
                  </a:lnTo>
                  <a:lnTo>
                    <a:pt x="690" y="1050"/>
                  </a:lnTo>
                  <a:lnTo>
                    <a:pt x="690" y="1062"/>
                  </a:lnTo>
                  <a:lnTo>
                    <a:pt x="690" y="1068"/>
                  </a:lnTo>
                  <a:lnTo>
                    <a:pt x="690" y="1074"/>
                  </a:lnTo>
                  <a:lnTo>
                    <a:pt x="684" y="1074"/>
                  </a:lnTo>
                  <a:lnTo>
                    <a:pt x="684" y="1080"/>
                  </a:lnTo>
                  <a:lnTo>
                    <a:pt x="678" y="1086"/>
                  </a:lnTo>
                  <a:lnTo>
                    <a:pt x="678" y="1104"/>
                  </a:lnTo>
                  <a:lnTo>
                    <a:pt x="678" y="1110"/>
                  </a:lnTo>
                  <a:lnTo>
                    <a:pt x="678" y="1116"/>
                  </a:lnTo>
                  <a:lnTo>
                    <a:pt x="684" y="1116"/>
                  </a:lnTo>
                  <a:lnTo>
                    <a:pt x="678" y="1128"/>
                  </a:lnTo>
                  <a:lnTo>
                    <a:pt x="684" y="1128"/>
                  </a:lnTo>
                  <a:lnTo>
                    <a:pt x="690" y="1134"/>
                  </a:lnTo>
                  <a:lnTo>
                    <a:pt x="690" y="1140"/>
                  </a:lnTo>
                  <a:lnTo>
                    <a:pt x="696" y="1140"/>
                  </a:lnTo>
                  <a:lnTo>
                    <a:pt x="696" y="1146"/>
                  </a:lnTo>
                  <a:lnTo>
                    <a:pt x="696" y="1152"/>
                  </a:lnTo>
                  <a:lnTo>
                    <a:pt x="702" y="1152"/>
                  </a:lnTo>
                  <a:lnTo>
                    <a:pt x="708" y="1152"/>
                  </a:lnTo>
                  <a:lnTo>
                    <a:pt x="714" y="1158"/>
                  </a:lnTo>
                  <a:lnTo>
                    <a:pt x="714" y="1164"/>
                  </a:lnTo>
                  <a:lnTo>
                    <a:pt x="720" y="1170"/>
                  </a:lnTo>
                  <a:lnTo>
                    <a:pt x="720" y="1176"/>
                  </a:lnTo>
                  <a:lnTo>
                    <a:pt x="720" y="1182"/>
                  </a:lnTo>
                  <a:lnTo>
                    <a:pt x="726" y="1188"/>
                  </a:lnTo>
                  <a:lnTo>
                    <a:pt x="726" y="1194"/>
                  </a:lnTo>
                  <a:lnTo>
                    <a:pt x="732" y="1194"/>
                  </a:lnTo>
                  <a:lnTo>
                    <a:pt x="732" y="1200"/>
                  </a:lnTo>
                  <a:lnTo>
                    <a:pt x="738" y="1212"/>
                  </a:lnTo>
                  <a:lnTo>
                    <a:pt x="732" y="1218"/>
                  </a:lnTo>
                  <a:lnTo>
                    <a:pt x="732" y="1224"/>
                  </a:lnTo>
                  <a:lnTo>
                    <a:pt x="726" y="1230"/>
                  </a:lnTo>
                  <a:lnTo>
                    <a:pt x="720" y="1230"/>
                  </a:lnTo>
                  <a:lnTo>
                    <a:pt x="720" y="1236"/>
                  </a:lnTo>
                  <a:lnTo>
                    <a:pt x="720" y="1242"/>
                  </a:lnTo>
                  <a:lnTo>
                    <a:pt x="720" y="1248"/>
                  </a:lnTo>
                  <a:lnTo>
                    <a:pt x="714" y="1248"/>
                  </a:lnTo>
                  <a:lnTo>
                    <a:pt x="714" y="1254"/>
                  </a:lnTo>
                  <a:lnTo>
                    <a:pt x="708" y="1260"/>
                  </a:lnTo>
                  <a:lnTo>
                    <a:pt x="702" y="1272"/>
                  </a:lnTo>
                  <a:lnTo>
                    <a:pt x="696" y="1272"/>
                  </a:lnTo>
                  <a:lnTo>
                    <a:pt x="696" y="1278"/>
                  </a:lnTo>
                  <a:lnTo>
                    <a:pt x="690" y="1284"/>
                  </a:lnTo>
                  <a:lnTo>
                    <a:pt x="690" y="1290"/>
                  </a:lnTo>
                  <a:lnTo>
                    <a:pt x="684" y="1290"/>
                  </a:lnTo>
                  <a:lnTo>
                    <a:pt x="660" y="1284"/>
                  </a:lnTo>
                  <a:lnTo>
                    <a:pt x="660" y="1278"/>
                  </a:lnTo>
                  <a:lnTo>
                    <a:pt x="654" y="1272"/>
                  </a:lnTo>
                  <a:lnTo>
                    <a:pt x="648" y="1272"/>
                  </a:lnTo>
                  <a:lnTo>
                    <a:pt x="642" y="1272"/>
                  </a:lnTo>
                  <a:lnTo>
                    <a:pt x="642" y="1266"/>
                  </a:lnTo>
                  <a:lnTo>
                    <a:pt x="636" y="1266"/>
                  </a:lnTo>
                  <a:lnTo>
                    <a:pt x="630" y="1266"/>
                  </a:lnTo>
                  <a:lnTo>
                    <a:pt x="624" y="1266"/>
                  </a:lnTo>
                  <a:lnTo>
                    <a:pt x="624" y="1260"/>
                  </a:lnTo>
                  <a:lnTo>
                    <a:pt x="618" y="1260"/>
                  </a:lnTo>
                  <a:lnTo>
                    <a:pt x="612" y="1260"/>
                  </a:lnTo>
                  <a:lnTo>
                    <a:pt x="606" y="1260"/>
                  </a:lnTo>
                  <a:lnTo>
                    <a:pt x="600" y="1260"/>
                  </a:lnTo>
                  <a:lnTo>
                    <a:pt x="600" y="1254"/>
                  </a:lnTo>
                  <a:lnTo>
                    <a:pt x="594" y="1254"/>
                  </a:lnTo>
                  <a:lnTo>
                    <a:pt x="588" y="1248"/>
                  </a:lnTo>
                  <a:lnTo>
                    <a:pt x="588" y="1254"/>
                  </a:lnTo>
                  <a:lnTo>
                    <a:pt x="582" y="1254"/>
                  </a:lnTo>
                  <a:lnTo>
                    <a:pt x="582" y="1248"/>
                  </a:lnTo>
                  <a:lnTo>
                    <a:pt x="576" y="1248"/>
                  </a:lnTo>
                  <a:lnTo>
                    <a:pt x="576" y="1254"/>
                  </a:lnTo>
                  <a:lnTo>
                    <a:pt x="570" y="1248"/>
                  </a:lnTo>
                  <a:lnTo>
                    <a:pt x="564" y="1248"/>
                  </a:lnTo>
                  <a:lnTo>
                    <a:pt x="564" y="1254"/>
                  </a:lnTo>
                  <a:lnTo>
                    <a:pt x="558" y="1254"/>
                  </a:lnTo>
                  <a:lnTo>
                    <a:pt x="552" y="1254"/>
                  </a:lnTo>
                  <a:lnTo>
                    <a:pt x="552" y="1260"/>
                  </a:lnTo>
                  <a:lnTo>
                    <a:pt x="546" y="1260"/>
                  </a:lnTo>
                  <a:lnTo>
                    <a:pt x="540" y="1260"/>
                  </a:lnTo>
                  <a:lnTo>
                    <a:pt x="540" y="1254"/>
                  </a:lnTo>
                  <a:lnTo>
                    <a:pt x="534" y="1254"/>
                  </a:lnTo>
                  <a:lnTo>
                    <a:pt x="528" y="1224"/>
                  </a:lnTo>
                  <a:lnTo>
                    <a:pt x="534" y="1212"/>
                  </a:lnTo>
                  <a:lnTo>
                    <a:pt x="546" y="1206"/>
                  </a:lnTo>
                  <a:lnTo>
                    <a:pt x="582" y="1206"/>
                  </a:lnTo>
                  <a:lnTo>
                    <a:pt x="588" y="1188"/>
                  </a:lnTo>
                  <a:lnTo>
                    <a:pt x="582" y="1188"/>
                  </a:lnTo>
                  <a:lnTo>
                    <a:pt x="582" y="1182"/>
                  </a:lnTo>
                  <a:lnTo>
                    <a:pt x="576" y="1176"/>
                  </a:lnTo>
                  <a:lnTo>
                    <a:pt x="558" y="1128"/>
                  </a:lnTo>
                  <a:lnTo>
                    <a:pt x="558" y="1122"/>
                  </a:lnTo>
                  <a:lnTo>
                    <a:pt x="576" y="1098"/>
                  </a:lnTo>
                  <a:lnTo>
                    <a:pt x="576" y="1092"/>
                  </a:lnTo>
                  <a:lnTo>
                    <a:pt x="582" y="1092"/>
                  </a:lnTo>
                  <a:lnTo>
                    <a:pt x="582" y="1086"/>
                  </a:lnTo>
                  <a:lnTo>
                    <a:pt x="582" y="1080"/>
                  </a:lnTo>
                  <a:lnTo>
                    <a:pt x="582" y="1074"/>
                  </a:lnTo>
                  <a:lnTo>
                    <a:pt x="588" y="1074"/>
                  </a:lnTo>
                  <a:lnTo>
                    <a:pt x="588" y="1062"/>
                  </a:lnTo>
                  <a:lnTo>
                    <a:pt x="588" y="1056"/>
                  </a:lnTo>
                  <a:lnTo>
                    <a:pt x="588" y="1044"/>
                  </a:lnTo>
                  <a:lnTo>
                    <a:pt x="588" y="1038"/>
                  </a:lnTo>
                  <a:lnTo>
                    <a:pt x="588" y="1032"/>
                  </a:lnTo>
                  <a:lnTo>
                    <a:pt x="582" y="1026"/>
                  </a:lnTo>
                  <a:lnTo>
                    <a:pt x="582" y="1020"/>
                  </a:lnTo>
                  <a:lnTo>
                    <a:pt x="582" y="1008"/>
                  </a:lnTo>
                  <a:lnTo>
                    <a:pt x="576" y="990"/>
                  </a:lnTo>
                  <a:lnTo>
                    <a:pt x="570" y="972"/>
                  </a:lnTo>
                  <a:lnTo>
                    <a:pt x="552" y="972"/>
                  </a:lnTo>
                  <a:lnTo>
                    <a:pt x="540" y="960"/>
                  </a:lnTo>
                  <a:lnTo>
                    <a:pt x="534" y="954"/>
                  </a:lnTo>
                  <a:lnTo>
                    <a:pt x="534" y="948"/>
                  </a:lnTo>
                  <a:lnTo>
                    <a:pt x="516" y="948"/>
                  </a:lnTo>
                  <a:lnTo>
                    <a:pt x="522" y="936"/>
                  </a:lnTo>
                  <a:lnTo>
                    <a:pt x="522" y="930"/>
                  </a:lnTo>
                  <a:lnTo>
                    <a:pt x="504" y="918"/>
                  </a:lnTo>
                  <a:lnTo>
                    <a:pt x="492" y="906"/>
                  </a:lnTo>
                  <a:lnTo>
                    <a:pt x="486" y="894"/>
                  </a:lnTo>
                  <a:lnTo>
                    <a:pt x="468" y="876"/>
                  </a:lnTo>
                  <a:lnTo>
                    <a:pt x="450" y="876"/>
                  </a:lnTo>
                  <a:lnTo>
                    <a:pt x="414" y="882"/>
                  </a:lnTo>
                  <a:lnTo>
                    <a:pt x="402" y="870"/>
                  </a:lnTo>
                  <a:lnTo>
                    <a:pt x="390" y="864"/>
                  </a:lnTo>
                  <a:lnTo>
                    <a:pt x="384" y="852"/>
                  </a:lnTo>
                  <a:lnTo>
                    <a:pt x="378" y="840"/>
                  </a:lnTo>
                  <a:lnTo>
                    <a:pt x="378" y="834"/>
                  </a:lnTo>
                  <a:lnTo>
                    <a:pt x="360" y="822"/>
                  </a:lnTo>
                  <a:lnTo>
                    <a:pt x="342" y="828"/>
                  </a:lnTo>
                  <a:lnTo>
                    <a:pt x="324" y="816"/>
                  </a:lnTo>
                  <a:lnTo>
                    <a:pt x="318" y="816"/>
                  </a:lnTo>
                  <a:lnTo>
                    <a:pt x="306" y="810"/>
                  </a:lnTo>
                  <a:lnTo>
                    <a:pt x="306" y="804"/>
                  </a:lnTo>
                  <a:lnTo>
                    <a:pt x="300" y="804"/>
                  </a:lnTo>
                  <a:lnTo>
                    <a:pt x="300" y="780"/>
                  </a:lnTo>
                  <a:lnTo>
                    <a:pt x="300" y="774"/>
                  </a:lnTo>
                  <a:lnTo>
                    <a:pt x="306" y="774"/>
                  </a:lnTo>
                  <a:lnTo>
                    <a:pt x="312" y="756"/>
                  </a:lnTo>
                  <a:lnTo>
                    <a:pt x="312" y="732"/>
                  </a:lnTo>
                  <a:lnTo>
                    <a:pt x="300" y="720"/>
                  </a:lnTo>
                  <a:lnTo>
                    <a:pt x="288" y="702"/>
                  </a:lnTo>
                  <a:lnTo>
                    <a:pt x="276" y="702"/>
                  </a:lnTo>
                  <a:lnTo>
                    <a:pt x="258" y="714"/>
                  </a:lnTo>
                  <a:lnTo>
                    <a:pt x="246" y="726"/>
                  </a:lnTo>
                  <a:lnTo>
                    <a:pt x="222" y="726"/>
                  </a:lnTo>
                  <a:lnTo>
                    <a:pt x="192" y="726"/>
                  </a:lnTo>
                  <a:lnTo>
                    <a:pt x="174" y="738"/>
                  </a:lnTo>
                  <a:lnTo>
                    <a:pt x="162" y="750"/>
                  </a:lnTo>
                  <a:lnTo>
                    <a:pt x="144" y="762"/>
                  </a:lnTo>
                  <a:lnTo>
                    <a:pt x="138" y="768"/>
                  </a:lnTo>
                  <a:lnTo>
                    <a:pt x="126" y="774"/>
                  </a:lnTo>
                  <a:lnTo>
                    <a:pt x="114" y="780"/>
                  </a:lnTo>
                  <a:lnTo>
                    <a:pt x="108" y="786"/>
                  </a:lnTo>
                  <a:lnTo>
                    <a:pt x="102" y="786"/>
                  </a:lnTo>
                  <a:lnTo>
                    <a:pt x="54" y="786"/>
                  </a:lnTo>
                  <a:lnTo>
                    <a:pt x="48" y="792"/>
                  </a:lnTo>
                  <a:lnTo>
                    <a:pt x="36" y="798"/>
                  </a:lnTo>
                  <a:lnTo>
                    <a:pt x="18" y="792"/>
                  </a:lnTo>
                  <a:lnTo>
                    <a:pt x="6" y="780"/>
                  </a:lnTo>
                  <a:lnTo>
                    <a:pt x="6" y="768"/>
                  </a:lnTo>
                  <a:lnTo>
                    <a:pt x="0" y="756"/>
                  </a:lnTo>
                  <a:lnTo>
                    <a:pt x="0" y="738"/>
                  </a:lnTo>
                  <a:lnTo>
                    <a:pt x="6" y="702"/>
                  </a:lnTo>
                  <a:lnTo>
                    <a:pt x="24" y="702"/>
                  </a:lnTo>
                  <a:lnTo>
                    <a:pt x="24" y="696"/>
                  </a:lnTo>
                  <a:lnTo>
                    <a:pt x="24" y="690"/>
                  </a:lnTo>
                  <a:lnTo>
                    <a:pt x="24" y="678"/>
                  </a:lnTo>
                  <a:lnTo>
                    <a:pt x="24" y="672"/>
                  </a:lnTo>
                  <a:lnTo>
                    <a:pt x="30" y="672"/>
                  </a:lnTo>
                  <a:lnTo>
                    <a:pt x="30" y="666"/>
                  </a:lnTo>
                  <a:lnTo>
                    <a:pt x="36" y="660"/>
                  </a:lnTo>
                  <a:lnTo>
                    <a:pt x="84" y="648"/>
                  </a:lnTo>
                  <a:lnTo>
                    <a:pt x="126" y="642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32" y="618"/>
                  </a:lnTo>
                  <a:lnTo>
                    <a:pt x="138" y="612"/>
                  </a:lnTo>
                  <a:lnTo>
                    <a:pt x="138" y="606"/>
                  </a:lnTo>
                  <a:lnTo>
                    <a:pt x="138" y="600"/>
                  </a:lnTo>
                  <a:lnTo>
                    <a:pt x="132" y="600"/>
                  </a:lnTo>
                  <a:lnTo>
                    <a:pt x="132" y="594"/>
                  </a:lnTo>
                  <a:lnTo>
                    <a:pt x="132" y="588"/>
                  </a:lnTo>
                  <a:lnTo>
                    <a:pt x="132" y="582"/>
                  </a:lnTo>
                  <a:lnTo>
                    <a:pt x="132" y="576"/>
                  </a:lnTo>
                  <a:lnTo>
                    <a:pt x="126" y="570"/>
                  </a:lnTo>
                  <a:lnTo>
                    <a:pt x="120" y="564"/>
                  </a:lnTo>
                  <a:lnTo>
                    <a:pt x="120" y="558"/>
                  </a:lnTo>
                  <a:lnTo>
                    <a:pt x="120" y="552"/>
                  </a:lnTo>
                  <a:lnTo>
                    <a:pt x="114" y="552"/>
                  </a:lnTo>
                  <a:lnTo>
                    <a:pt x="114" y="546"/>
                  </a:lnTo>
                  <a:lnTo>
                    <a:pt x="114" y="540"/>
                  </a:lnTo>
                  <a:lnTo>
                    <a:pt x="108" y="534"/>
                  </a:lnTo>
                  <a:lnTo>
                    <a:pt x="108" y="528"/>
                  </a:lnTo>
                  <a:lnTo>
                    <a:pt x="114" y="522"/>
                  </a:lnTo>
                  <a:lnTo>
                    <a:pt x="108" y="516"/>
                  </a:lnTo>
                  <a:lnTo>
                    <a:pt x="108" y="498"/>
                  </a:lnTo>
                  <a:lnTo>
                    <a:pt x="108" y="492"/>
                  </a:lnTo>
                  <a:lnTo>
                    <a:pt x="108" y="486"/>
                  </a:lnTo>
                  <a:lnTo>
                    <a:pt x="108" y="480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08" y="462"/>
                  </a:lnTo>
                  <a:lnTo>
                    <a:pt x="102" y="456"/>
                  </a:lnTo>
                  <a:lnTo>
                    <a:pt x="102" y="444"/>
                  </a:lnTo>
                  <a:lnTo>
                    <a:pt x="96" y="444"/>
                  </a:lnTo>
                  <a:lnTo>
                    <a:pt x="90" y="432"/>
                  </a:lnTo>
                  <a:lnTo>
                    <a:pt x="96" y="432"/>
                  </a:lnTo>
                  <a:lnTo>
                    <a:pt x="96" y="408"/>
                  </a:lnTo>
                  <a:lnTo>
                    <a:pt x="96" y="396"/>
                  </a:lnTo>
                  <a:lnTo>
                    <a:pt x="96" y="360"/>
                  </a:lnTo>
                  <a:lnTo>
                    <a:pt x="96" y="354"/>
                  </a:lnTo>
                  <a:lnTo>
                    <a:pt x="102" y="354"/>
                  </a:lnTo>
                  <a:lnTo>
                    <a:pt x="102" y="348"/>
                  </a:lnTo>
                  <a:lnTo>
                    <a:pt x="96" y="330"/>
                  </a:lnTo>
                  <a:lnTo>
                    <a:pt x="90" y="306"/>
                  </a:lnTo>
                  <a:lnTo>
                    <a:pt x="84" y="288"/>
                  </a:lnTo>
                  <a:lnTo>
                    <a:pt x="84" y="264"/>
                  </a:lnTo>
                  <a:lnTo>
                    <a:pt x="90" y="240"/>
                  </a:lnTo>
                  <a:lnTo>
                    <a:pt x="96" y="222"/>
                  </a:lnTo>
                  <a:lnTo>
                    <a:pt x="102" y="222"/>
                  </a:lnTo>
                  <a:lnTo>
                    <a:pt x="108" y="210"/>
                  </a:lnTo>
                  <a:lnTo>
                    <a:pt x="114" y="210"/>
                  </a:lnTo>
                  <a:lnTo>
                    <a:pt x="126" y="198"/>
                  </a:lnTo>
                  <a:lnTo>
                    <a:pt x="156" y="192"/>
                  </a:lnTo>
                  <a:lnTo>
                    <a:pt x="174" y="186"/>
                  </a:lnTo>
                  <a:lnTo>
                    <a:pt x="204" y="174"/>
                  </a:lnTo>
                  <a:lnTo>
                    <a:pt x="222" y="168"/>
                  </a:lnTo>
                  <a:lnTo>
                    <a:pt x="234" y="162"/>
                  </a:lnTo>
                  <a:lnTo>
                    <a:pt x="246" y="156"/>
                  </a:lnTo>
                  <a:lnTo>
                    <a:pt x="288" y="144"/>
                  </a:lnTo>
                  <a:lnTo>
                    <a:pt x="288" y="132"/>
                  </a:lnTo>
                  <a:lnTo>
                    <a:pt x="294" y="120"/>
                  </a:lnTo>
                  <a:lnTo>
                    <a:pt x="300" y="108"/>
                  </a:lnTo>
                  <a:lnTo>
                    <a:pt x="306" y="90"/>
                  </a:lnTo>
                  <a:lnTo>
                    <a:pt x="312" y="78"/>
                  </a:lnTo>
                  <a:lnTo>
                    <a:pt x="324" y="78"/>
                  </a:lnTo>
                  <a:lnTo>
                    <a:pt x="324" y="54"/>
                  </a:lnTo>
                  <a:lnTo>
                    <a:pt x="318" y="48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60" y="6"/>
                  </a:lnTo>
                  <a:lnTo>
                    <a:pt x="384" y="0"/>
                  </a:lnTo>
                  <a:lnTo>
                    <a:pt x="390" y="6"/>
                  </a:lnTo>
                  <a:lnTo>
                    <a:pt x="390" y="18"/>
                  </a:lnTo>
                  <a:lnTo>
                    <a:pt x="390" y="54"/>
                  </a:lnTo>
                  <a:lnTo>
                    <a:pt x="396" y="66"/>
                  </a:lnTo>
                  <a:lnTo>
                    <a:pt x="414" y="84"/>
                  </a:lnTo>
                  <a:lnTo>
                    <a:pt x="426" y="90"/>
                  </a:lnTo>
                  <a:lnTo>
                    <a:pt x="432" y="96"/>
                  </a:lnTo>
                  <a:lnTo>
                    <a:pt x="426" y="102"/>
                  </a:lnTo>
                  <a:lnTo>
                    <a:pt x="438" y="102"/>
                  </a:lnTo>
                  <a:lnTo>
                    <a:pt x="444" y="108"/>
                  </a:lnTo>
                  <a:lnTo>
                    <a:pt x="444" y="102"/>
                  </a:lnTo>
                  <a:lnTo>
                    <a:pt x="450" y="90"/>
                  </a:lnTo>
                  <a:lnTo>
                    <a:pt x="450" y="84"/>
                  </a:lnTo>
                  <a:lnTo>
                    <a:pt x="450" y="78"/>
                  </a:lnTo>
                  <a:lnTo>
                    <a:pt x="456" y="72"/>
                  </a:lnTo>
                  <a:lnTo>
                    <a:pt x="462" y="66"/>
                  </a:lnTo>
                  <a:lnTo>
                    <a:pt x="462" y="60"/>
                  </a:lnTo>
                  <a:lnTo>
                    <a:pt x="462" y="54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74" y="24"/>
                  </a:lnTo>
                  <a:lnTo>
                    <a:pt x="480" y="18"/>
                  </a:lnTo>
                  <a:lnTo>
                    <a:pt x="486" y="12"/>
                  </a:lnTo>
                  <a:lnTo>
                    <a:pt x="492" y="12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2" y="6"/>
                  </a:lnTo>
                  <a:lnTo>
                    <a:pt x="534" y="6"/>
                  </a:lnTo>
                  <a:lnTo>
                    <a:pt x="540" y="6"/>
                  </a:lnTo>
                  <a:lnTo>
                    <a:pt x="546" y="6"/>
                  </a:lnTo>
                  <a:lnTo>
                    <a:pt x="564" y="0"/>
                  </a:lnTo>
                  <a:lnTo>
                    <a:pt x="570" y="0"/>
                  </a:lnTo>
                  <a:lnTo>
                    <a:pt x="576" y="6"/>
                  </a:lnTo>
                  <a:lnTo>
                    <a:pt x="582" y="6"/>
                  </a:lnTo>
                  <a:lnTo>
                    <a:pt x="594" y="6"/>
                  </a:lnTo>
                  <a:lnTo>
                    <a:pt x="600" y="6"/>
                  </a:lnTo>
                  <a:lnTo>
                    <a:pt x="606" y="6"/>
                  </a:lnTo>
                  <a:lnTo>
                    <a:pt x="624" y="0"/>
                  </a:lnTo>
                  <a:lnTo>
                    <a:pt x="636" y="0"/>
                  </a:lnTo>
                  <a:lnTo>
                    <a:pt x="636" y="6"/>
                  </a:lnTo>
                  <a:lnTo>
                    <a:pt x="654" y="18"/>
                  </a:lnTo>
                  <a:lnTo>
                    <a:pt x="654" y="30"/>
                  </a:lnTo>
                  <a:lnTo>
                    <a:pt x="642" y="42"/>
                  </a:lnTo>
                  <a:lnTo>
                    <a:pt x="630" y="66"/>
                  </a:lnTo>
                  <a:lnTo>
                    <a:pt x="636" y="84"/>
                  </a:lnTo>
                  <a:lnTo>
                    <a:pt x="636" y="96"/>
                  </a:lnTo>
                  <a:lnTo>
                    <a:pt x="648" y="102"/>
                  </a:lnTo>
                  <a:lnTo>
                    <a:pt x="672" y="114"/>
                  </a:lnTo>
                  <a:lnTo>
                    <a:pt x="702" y="120"/>
                  </a:lnTo>
                  <a:lnTo>
                    <a:pt x="714" y="126"/>
                  </a:lnTo>
                  <a:lnTo>
                    <a:pt x="720" y="144"/>
                  </a:lnTo>
                  <a:lnTo>
                    <a:pt x="720" y="156"/>
                  </a:lnTo>
                  <a:lnTo>
                    <a:pt x="708" y="156"/>
                  </a:lnTo>
                  <a:lnTo>
                    <a:pt x="702" y="162"/>
                  </a:lnTo>
                  <a:lnTo>
                    <a:pt x="702" y="174"/>
                  </a:lnTo>
                  <a:lnTo>
                    <a:pt x="696" y="174"/>
                  </a:lnTo>
                  <a:lnTo>
                    <a:pt x="690" y="180"/>
                  </a:lnTo>
                  <a:lnTo>
                    <a:pt x="678" y="186"/>
                  </a:lnTo>
                  <a:lnTo>
                    <a:pt x="672" y="192"/>
                  </a:lnTo>
                  <a:lnTo>
                    <a:pt x="654" y="210"/>
                  </a:lnTo>
                  <a:lnTo>
                    <a:pt x="654" y="216"/>
                  </a:lnTo>
                  <a:lnTo>
                    <a:pt x="648" y="246"/>
                  </a:lnTo>
                  <a:lnTo>
                    <a:pt x="660" y="246"/>
                  </a:lnTo>
                  <a:lnTo>
                    <a:pt x="666" y="234"/>
                  </a:lnTo>
                  <a:lnTo>
                    <a:pt x="678" y="240"/>
                  </a:lnTo>
                  <a:lnTo>
                    <a:pt x="684" y="228"/>
                  </a:lnTo>
                  <a:lnTo>
                    <a:pt x="690" y="210"/>
                  </a:lnTo>
                  <a:lnTo>
                    <a:pt x="696" y="204"/>
                  </a:lnTo>
                  <a:lnTo>
                    <a:pt x="702" y="204"/>
                  </a:lnTo>
                  <a:lnTo>
                    <a:pt x="708" y="192"/>
                  </a:lnTo>
                  <a:lnTo>
                    <a:pt x="714" y="192"/>
                  </a:lnTo>
                  <a:lnTo>
                    <a:pt x="714" y="186"/>
                  </a:lnTo>
                  <a:lnTo>
                    <a:pt x="726" y="186"/>
                  </a:lnTo>
                  <a:lnTo>
                    <a:pt x="732" y="186"/>
                  </a:lnTo>
                  <a:lnTo>
                    <a:pt x="738" y="186"/>
                  </a:lnTo>
                  <a:lnTo>
                    <a:pt x="744" y="216"/>
                  </a:lnTo>
                  <a:lnTo>
                    <a:pt x="750" y="210"/>
                  </a:lnTo>
                  <a:lnTo>
                    <a:pt x="750" y="204"/>
                  </a:lnTo>
                  <a:lnTo>
                    <a:pt x="756" y="192"/>
                  </a:lnTo>
                  <a:lnTo>
                    <a:pt x="762" y="192"/>
                  </a:lnTo>
                  <a:lnTo>
                    <a:pt x="768" y="192"/>
                  </a:lnTo>
                  <a:lnTo>
                    <a:pt x="780" y="186"/>
                  </a:lnTo>
                  <a:lnTo>
                    <a:pt x="786" y="204"/>
                  </a:lnTo>
                  <a:lnTo>
                    <a:pt x="774" y="210"/>
                  </a:lnTo>
                  <a:lnTo>
                    <a:pt x="774" y="234"/>
                  </a:lnTo>
                  <a:lnTo>
                    <a:pt x="780" y="246"/>
                  </a:lnTo>
                  <a:lnTo>
                    <a:pt x="804" y="264"/>
                  </a:lnTo>
                  <a:lnTo>
                    <a:pt x="816" y="276"/>
                  </a:lnTo>
                  <a:lnTo>
                    <a:pt x="822" y="288"/>
                  </a:lnTo>
                  <a:lnTo>
                    <a:pt x="822" y="312"/>
                  </a:lnTo>
                  <a:lnTo>
                    <a:pt x="816" y="312"/>
                  </a:lnTo>
                  <a:lnTo>
                    <a:pt x="810" y="318"/>
                  </a:lnTo>
                  <a:lnTo>
                    <a:pt x="810" y="348"/>
                  </a:lnTo>
                  <a:lnTo>
                    <a:pt x="816" y="348"/>
                  </a:lnTo>
                  <a:lnTo>
                    <a:pt x="816" y="342"/>
                  </a:lnTo>
                  <a:lnTo>
                    <a:pt x="834" y="342"/>
                  </a:lnTo>
                  <a:lnTo>
                    <a:pt x="834" y="348"/>
                  </a:lnTo>
                  <a:lnTo>
                    <a:pt x="846" y="348"/>
                  </a:lnTo>
                  <a:lnTo>
                    <a:pt x="846" y="342"/>
                  </a:lnTo>
                  <a:lnTo>
                    <a:pt x="882" y="342"/>
                  </a:lnTo>
                  <a:lnTo>
                    <a:pt x="894" y="366"/>
                  </a:lnTo>
                  <a:lnTo>
                    <a:pt x="900" y="372"/>
                  </a:lnTo>
                  <a:lnTo>
                    <a:pt x="906" y="384"/>
                  </a:lnTo>
                  <a:lnTo>
                    <a:pt x="924" y="384"/>
                  </a:lnTo>
                  <a:lnTo>
                    <a:pt x="930" y="372"/>
                  </a:lnTo>
                  <a:lnTo>
                    <a:pt x="936" y="372"/>
                  </a:lnTo>
                  <a:lnTo>
                    <a:pt x="942" y="348"/>
                  </a:lnTo>
                  <a:lnTo>
                    <a:pt x="954" y="348"/>
                  </a:lnTo>
                  <a:lnTo>
                    <a:pt x="954" y="342"/>
                  </a:lnTo>
                  <a:lnTo>
                    <a:pt x="984" y="342"/>
                  </a:lnTo>
                  <a:lnTo>
                    <a:pt x="978" y="390"/>
                  </a:lnTo>
                  <a:lnTo>
                    <a:pt x="984" y="390"/>
                  </a:lnTo>
                  <a:lnTo>
                    <a:pt x="990" y="396"/>
                  </a:lnTo>
                  <a:lnTo>
                    <a:pt x="996" y="396"/>
                  </a:lnTo>
                  <a:lnTo>
                    <a:pt x="1002" y="396"/>
                  </a:lnTo>
                  <a:lnTo>
                    <a:pt x="1002" y="408"/>
                  </a:lnTo>
                  <a:lnTo>
                    <a:pt x="990" y="414"/>
                  </a:lnTo>
                  <a:lnTo>
                    <a:pt x="984" y="426"/>
                  </a:lnTo>
                  <a:lnTo>
                    <a:pt x="990" y="444"/>
                  </a:lnTo>
                  <a:lnTo>
                    <a:pt x="996" y="450"/>
                  </a:lnTo>
                  <a:lnTo>
                    <a:pt x="990" y="462"/>
                  </a:lnTo>
                  <a:lnTo>
                    <a:pt x="990" y="468"/>
                  </a:lnTo>
                  <a:lnTo>
                    <a:pt x="984" y="480"/>
                  </a:lnTo>
                  <a:lnTo>
                    <a:pt x="978" y="486"/>
                  </a:lnTo>
                  <a:lnTo>
                    <a:pt x="972" y="486"/>
                  </a:lnTo>
                  <a:lnTo>
                    <a:pt x="966" y="492"/>
                  </a:lnTo>
                  <a:lnTo>
                    <a:pt x="966" y="498"/>
                  </a:lnTo>
                  <a:lnTo>
                    <a:pt x="954" y="510"/>
                  </a:lnTo>
                  <a:lnTo>
                    <a:pt x="948" y="510"/>
                  </a:lnTo>
                  <a:lnTo>
                    <a:pt x="942" y="516"/>
                  </a:lnTo>
                  <a:lnTo>
                    <a:pt x="936" y="528"/>
                  </a:lnTo>
                  <a:lnTo>
                    <a:pt x="936" y="534"/>
                  </a:lnTo>
                  <a:lnTo>
                    <a:pt x="936" y="546"/>
                  </a:lnTo>
                  <a:lnTo>
                    <a:pt x="936" y="558"/>
                  </a:lnTo>
                  <a:lnTo>
                    <a:pt x="948" y="558"/>
                  </a:lnTo>
                  <a:lnTo>
                    <a:pt x="954" y="558"/>
                  </a:lnTo>
                  <a:lnTo>
                    <a:pt x="996" y="558"/>
                  </a:lnTo>
                  <a:lnTo>
                    <a:pt x="1002" y="570"/>
                  </a:lnTo>
                  <a:lnTo>
                    <a:pt x="996" y="576"/>
                  </a:lnTo>
                  <a:lnTo>
                    <a:pt x="996" y="588"/>
                  </a:lnTo>
                  <a:lnTo>
                    <a:pt x="984" y="588"/>
                  </a:lnTo>
                  <a:lnTo>
                    <a:pt x="990" y="612"/>
                  </a:lnTo>
                  <a:lnTo>
                    <a:pt x="1014" y="606"/>
                  </a:lnTo>
                  <a:lnTo>
                    <a:pt x="1014" y="636"/>
                  </a:lnTo>
                  <a:lnTo>
                    <a:pt x="1014" y="648"/>
                  </a:lnTo>
                  <a:lnTo>
                    <a:pt x="1020" y="648"/>
                  </a:lnTo>
                  <a:lnTo>
                    <a:pt x="1026" y="660"/>
                  </a:lnTo>
                  <a:lnTo>
                    <a:pt x="1038" y="654"/>
                  </a:lnTo>
                  <a:lnTo>
                    <a:pt x="1050" y="654"/>
                  </a:lnTo>
                  <a:lnTo>
                    <a:pt x="1062" y="654"/>
                  </a:lnTo>
                  <a:lnTo>
                    <a:pt x="1068" y="660"/>
                  </a:lnTo>
                  <a:lnTo>
                    <a:pt x="1068" y="678"/>
                  </a:lnTo>
                  <a:lnTo>
                    <a:pt x="1068" y="684"/>
                  </a:lnTo>
                  <a:lnTo>
                    <a:pt x="1062" y="690"/>
                  </a:lnTo>
                  <a:lnTo>
                    <a:pt x="1056" y="696"/>
                  </a:lnTo>
                  <a:lnTo>
                    <a:pt x="1056" y="702"/>
                  </a:lnTo>
                  <a:lnTo>
                    <a:pt x="1038" y="714"/>
                  </a:lnTo>
                  <a:lnTo>
                    <a:pt x="1026" y="720"/>
                  </a:lnTo>
                  <a:lnTo>
                    <a:pt x="1008" y="726"/>
                  </a:lnTo>
                  <a:lnTo>
                    <a:pt x="1008" y="732"/>
                  </a:lnTo>
                  <a:lnTo>
                    <a:pt x="990" y="732"/>
                  </a:lnTo>
                  <a:lnTo>
                    <a:pt x="984" y="744"/>
                  </a:lnTo>
                  <a:lnTo>
                    <a:pt x="990" y="750"/>
                  </a:lnTo>
                  <a:lnTo>
                    <a:pt x="984" y="762"/>
                  </a:lnTo>
                  <a:lnTo>
                    <a:pt x="984" y="768"/>
                  </a:lnTo>
                  <a:lnTo>
                    <a:pt x="984" y="774"/>
                  </a:lnTo>
                  <a:lnTo>
                    <a:pt x="984" y="780"/>
                  </a:lnTo>
                  <a:lnTo>
                    <a:pt x="984" y="786"/>
                  </a:lnTo>
                  <a:lnTo>
                    <a:pt x="984" y="792"/>
                  </a:lnTo>
                  <a:lnTo>
                    <a:pt x="978" y="798"/>
                  </a:lnTo>
                  <a:lnTo>
                    <a:pt x="978" y="80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3" name="Freeform 38">
              <a:extLst>
                <a:ext uri="{FF2B5EF4-FFF2-40B4-BE49-F238E27FC236}">
                  <a16:creationId xmlns:a16="http://schemas.microsoft.com/office/drawing/2014/main" id="{819B99CE-D972-4530-8964-A992C1EC87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2825" y="1634436"/>
              <a:ext cx="959326" cy="959458"/>
            </a:xfrm>
            <a:custGeom>
              <a:avLst/>
              <a:gdLst>
                <a:gd name="T0" fmla="*/ 105 w 1806"/>
                <a:gd name="T1" fmla="*/ 155 h 1806"/>
                <a:gd name="T2" fmla="*/ 103 w 1806"/>
                <a:gd name="T3" fmla="*/ 155 h 1806"/>
                <a:gd name="T4" fmla="*/ 103 w 1806"/>
                <a:gd name="T5" fmla="*/ 150 h 1806"/>
                <a:gd name="T6" fmla="*/ 104 w 1806"/>
                <a:gd name="T7" fmla="*/ 141 h 1806"/>
                <a:gd name="T8" fmla="*/ 104 w 1806"/>
                <a:gd name="T9" fmla="*/ 136 h 1806"/>
                <a:gd name="T10" fmla="*/ 100 w 1806"/>
                <a:gd name="T11" fmla="*/ 131 h 1806"/>
                <a:gd name="T12" fmla="*/ 96 w 1806"/>
                <a:gd name="T13" fmla="*/ 127 h 1806"/>
                <a:gd name="T14" fmla="*/ 91 w 1806"/>
                <a:gd name="T15" fmla="*/ 121 h 1806"/>
                <a:gd name="T16" fmla="*/ 87 w 1806"/>
                <a:gd name="T17" fmla="*/ 120 h 1806"/>
                <a:gd name="T18" fmla="*/ 81 w 1806"/>
                <a:gd name="T19" fmla="*/ 117 h 1806"/>
                <a:gd name="T20" fmla="*/ 65 w 1806"/>
                <a:gd name="T21" fmla="*/ 113 h 1806"/>
                <a:gd name="T22" fmla="*/ 69 w 1806"/>
                <a:gd name="T23" fmla="*/ 105 h 1806"/>
                <a:gd name="T24" fmla="*/ 66 w 1806"/>
                <a:gd name="T25" fmla="*/ 89 h 1806"/>
                <a:gd name="T26" fmla="*/ 63 w 1806"/>
                <a:gd name="T27" fmla="*/ 84 h 1806"/>
                <a:gd name="T28" fmla="*/ 62 w 1806"/>
                <a:gd name="T29" fmla="*/ 74 h 1806"/>
                <a:gd name="T30" fmla="*/ 58 w 1806"/>
                <a:gd name="T31" fmla="*/ 52 h 1806"/>
                <a:gd name="T32" fmla="*/ 53 w 1806"/>
                <a:gd name="T33" fmla="*/ 49 h 1806"/>
                <a:gd name="T34" fmla="*/ 51 w 1806"/>
                <a:gd name="T35" fmla="*/ 36 h 1806"/>
                <a:gd name="T36" fmla="*/ 43 w 1806"/>
                <a:gd name="T37" fmla="*/ 32 h 1806"/>
                <a:gd name="T38" fmla="*/ 33 w 1806"/>
                <a:gd name="T39" fmla="*/ 30 h 1806"/>
                <a:gd name="T40" fmla="*/ 30 w 1806"/>
                <a:gd name="T41" fmla="*/ 21 h 1806"/>
                <a:gd name="T42" fmla="*/ 17 w 1806"/>
                <a:gd name="T43" fmla="*/ 25 h 1806"/>
                <a:gd name="T44" fmla="*/ 4 w 1806"/>
                <a:gd name="T45" fmla="*/ 33 h 1806"/>
                <a:gd name="T46" fmla="*/ 7 w 1806"/>
                <a:gd name="T47" fmla="*/ 26 h 1806"/>
                <a:gd name="T48" fmla="*/ 11 w 1806"/>
                <a:gd name="T49" fmla="*/ 20 h 1806"/>
                <a:gd name="T50" fmla="*/ 18 w 1806"/>
                <a:gd name="T51" fmla="*/ 12 h 1806"/>
                <a:gd name="T52" fmla="*/ 26 w 1806"/>
                <a:gd name="T53" fmla="*/ 8 h 1806"/>
                <a:gd name="T54" fmla="*/ 35 w 1806"/>
                <a:gd name="T55" fmla="*/ 6 h 1806"/>
                <a:gd name="T56" fmla="*/ 44 w 1806"/>
                <a:gd name="T57" fmla="*/ 5 h 1806"/>
                <a:gd name="T58" fmla="*/ 54 w 1806"/>
                <a:gd name="T59" fmla="*/ 2 h 1806"/>
                <a:gd name="T60" fmla="*/ 65 w 1806"/>
                <a:gd name="T61" fmla="*/ 0 h 1806"/>
                <a:gd name="T62" fmla="*/ 76 w 1806"/>
                <a:gd name="T63" fmla="*/ 0 h 1806"/>
                <a:gd name="T64" fmla="*/ 85 w 1806"/>
                <a:gd name="T65" fmla="*/ 0 h 1806"/>
                <a:gd name="T66" fmla="*/ 97 w 1806"/>
                <a:gd name="T67" fmla="*/ 0 h 1806"/>
                <a:gd name="T68" fmla="*/ 108 w 1806"/>
                <a:gd name="T69" fmla="*/ 3 h 1806"/>
                <a:gd name="T70" fmla="*/ 115 w 1806"/>
                <a:gd name="T71" fmla="*/ 5 h 1806"/>
                <a:gd name="T72" fmla="*/ 123 w 1806"/>
                <a:gd name="T73" fmla="*/ 7 h 1806"/>
                <a:gd name="T74" fmla="*/ 133 w 1806"/>
                <a:gd name="T75" fmla="*/ 14 h 1806"/>
                <a:gd name="T76" fmla="*/ 138 w 1806"/>
                <a:gd name="T77" fmla="*/ 16 h 1806"/>
                <a:gd name="T78" fmla="*/ 140 w 1806"/>
                <a:gd name="T79" fmla="*/ 14 h 1806"/>
                <a:gd name="T80" fmla="*/ 145 w 1806"/>
                <a:gd name="T81" fmla="*/ 16 h 1806"/>
                <a:gd name="T82" fmla="*/ 147 w 1806"/>
                <a:gd name="T83" fmla="*/ 16 h 1806"/>
                <a:gd name="T84" fmla="*/ 150 w 1806"/>
                <a:gd name="T85" fmla="*/ 17 h 1806"/>
                <a:gd name="T86" fmla="*/ 152 w 1806"/>
                <a:gd name="T87" fmla="*/ 18 h 1806"/>
                <a:gd name="T88" fmla="*/ 155 w 1806"/>
                <a:gd name="T89" fmla="*/ 37 h 1806"/>
                <a:gd name="T90" fmla="*/ 146 w 1806"/>
                <a:gd name="T91" fmla="*/ 66 h 1806"/>
                <a:gd name="T92" fmla="*/ 143 w 1806"/>
                <a:gd name="T93" fmla="*/ 88 h 1806"/>
                <a:gd name="T94" fmla="*/ 144 w 1806"/>
                <a:gd name="T95" fmla="*/ 98 h 1806"/>
                <a:gd name="T96" fmla="*/ 137 w 1806"/>
                <a:gd name="T97" fmla="*/ 118 h 1806"/>
                <a:gd name="T98" fmla="*/ 132 w 1806"/>
                <a:gd name="T99" fmla="*/ 129 h 1806"/>
                <a:gd name="T100" fmla="*/ 124 w 1806"/>
                <a:gd name="T101" fmla="*/ 135 h 1806"/>
                <a:gd name="T102" fmla="*/ 119 w 1806"/>
                <a:gd name="T103" fmla="*/ 136 h 1806"/>
                <a:gd name="T104" fmla="*/ 116 w 1806"/>
                <a:gd name="T105" fmla="*/ 137 h 1806"/>
                <a:gd name="T106" fmla="*/ 112 w 1806"/>
                <a:gd name="T107" fmla="*/ 139 h 1806"/>
                <a:gd name="T108" fmla="*/ 112 w 1806"/>
                <a:gd name="T109" fmla="*/ 141 h 1806"/>
                <a:gd name="T110" fmla="*/ 116 w 1806"/>
                <a:gd name="T111" fmla="*/ 146 h 1806"/>
                <a:gd name="T112" fmla="*/ 116 w 1806"/>
                <a:gd name="T113" fmla="*/ 151 h 1806"/>
                <a:gd name="T114" fmla="*/ 113 w 1806"/>
                <a:gd name="T115" fmla="*/ 153 h 18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6"/>
                <a:gd name="T175" fmla="*/ 0 h 1806"/>
                <a:gd name="T176" fmla="*/ 1806 w 1806"/>
                <a:gd name="T177" fmla="*/ 1806 h 18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6" h="1806">
                  <a:moveTo>
                    <a:pt x="1260" y="1776"/>
                  </a:moveTo>
                  <a:lnTo>
                    <a:pt x="1254" y="1776"/>
                  </a:lnTo>
                  <a:lnTo>
                    <a:pt x="1248" y="1776"/>
                  </a:lnTo>
                  <a:lnTo>
                    <a:pt x="1242" y="1782"/>
                  </a:lnTo>
                  <a:lnTo>
                    <a:pt x="1236" y="1782"/>
                  </a:lnTo>
                  <a:lnTo>
                    <a:pt x="1230" y="1788"/>
                  </a:lnTo>
                  <a:lnTo>
                    <a:pt x="1224" y="1782"/>
                  </a:lnTo>
                  <a:lnTo>
                    <a:pt x="1218" y="1782"/>
                  </a:lnTo>
                  <a:lnTo>
                    <a:pt x="1218" y="1788"/>
                  </a:lnTo>
                  <a:lnTo>
                    <a:pt x="1212" y="1788"/>
                  </a:lnTo>
                  <a:lnTo>
                    <a:pt x="1206" y="1788"/>
                  </a:lnTo>
                  <a:lnTo>
                    <a:pt x="1206" y="1794"/>
                  </a:lnTo>
                  <a:lnTo>
                    <a:pt x="1200" y="1806"/>
                  </a:lnTo>
                  <a:lnTo>
                    <a:pt x="1194" y="1800"/>
                  </a:lnTo>
                  <a:lnTo>
                    <a:pt x="1194" y="1794"/>
                  </a:lnTo>
                  <a:lnTo>
                    <a:pt x="1194" y="1788"/>
                  </a:lnTo>
                  <a:lnTo>
                    <a:pt x="1188" y="1788"/>
                  </a:lnTo>
                  <a:lnTo>
                    <a:pt x="1188" y="1782"/>
                  </a:lnTo>
                  <a:lnTo>
                    <a:pt x="1188" y="1776"/>
                  </a:lnTo>
                  <a:lnTo>
                    <a:pt x="1194" y="1770"/>
                  </a:lnTo>
                  <a:lnTo>
                    <a:pt x="1194" y="1764"/>
                  </a:lnTo>
                  <a:lnTo>
                    <a:pt x="1194" y="1758"/>
                  </a:lnTo>
                  <a:lnTo>
                    <a:pt x="1194" y="1752"/>
                  </a:lnTo>
                  <a:lnTo>
                    <a:pt x="1200" y="1746"/>
                  </a:lnTo>
                  <a:lnTo>
                    <a:pt x="1200" y="1740"/>
                  </a:lnTo>
                  <a:lnTo>
                    <a:pt x="1200" y="1734"/>
                  </a:lnTo>
                  <a:lnTo>
                    <a:pt x="1188" y="1722"/>
                  </a:lnTo>
                  <a:lnTo>
                    <a:pt x="1188" y="1716"/>
                  </a:lnTo>
                  <a:lnTo>
                    <a:pt x="1194" y="1704"/>
                  </a:lnTo>
                  <a:lnTo>
                    <a:pt x="1194" y="1692"/>
                  </a:lnTo>
                  <a:lnTo>
                    <a:pt x="1200" y="1680"/>
                  </a:lnTo>
                  <a:lnTo>
                    <a:pt x="1200" y="1662"/>
                  </a:lnTo>
                  <a:lnTo>
                    <a:pt x="1200" y="1650"/>
                  </a:lnTo>
                  <a:lnTo>
                    <a:pt x="1206" y="1644"/>
                  </a:lnTo>
                  <a:lnTo>
                    <a:pt x="1206" y="1638"/>
                  </a:lnTo>
                  <a:lnTo>
                    <a:pt x="1206" y="1626"/>
                  </a:lnTo>
                  <a:lnTo>
                    <a:pt x="1206" y="1620"/>
                  </a:lnTo>
                  <a:lnTo>
                    <a:pt x="1206" y="1614"/>
                  </a:lnTo>
                  <a:lnTo>
                    <a:pt x="1200" y="1608"/>
                  </a:lnTo>
                  <a:lnTo>
                    <a:pt x="1200" y="1602"/>
                  </a:lnTo>
                  <a:lnTo>
                    <a:pt x="1200" y="1596"/>
                  </a:lnTo>
                  <a:lnTo>
                    <a:pt x="1200" y="1590"/>
                  </a:lnTo>
                  <a:lnTo>
                    <a:pt x="1200" y="1572"/>
                  </a:lnTo>
                  <a:lnTo>
                    <a:pt x="1200" y="1566"/>
                  </a:lnTo>
                  <a:lnTo>
                    <a:pt x="1200" y="1560"/>
                  </a:lnTo>
                  <a:lnTo>
                    <a:pt x="1194" y="1554"/>
                  </a:lnTo>
                  <a:lnTo>
                    <a:pt x="1188" y="1548"/>
                  </a:lnTo>
                  <a:lnTo>
                    <a:pt x="1188" y="1542"/>
                  </a:lnTo>
                  <a:lnTo>
                    <a:pt x="1176" y="1536"/>
                  </a:lnTo>
                  <a:lnTo>
                    <a:pt x="1176" y="1530"/>
                  </a:lnTo>
                  <a:lnTo>
                    <a:pt x="1170" y="1524"/>
                  </a:lnTo>
                  <a:lnTo>
                    <a:pt x="1170" y="1518"/>
                  </a:lnTo>
                  <a:lnTo>
                    <a:pt x="1164" y="1512"/>
                  </a:lnTo>
                  <a:lnTo>
                    <a:pt x="1158" y="1506"/>
                  </a:lnTo>
                  <a:lnTo>
                    <a:pt x="1152" y="1500"/>
                  </a:lnTo>
                  <a:lnTo>
                    <a:pt x="1146" y="1494"/>
                  </a:lnTo>
                  <a:lnTo>
                    <a:pt x="1140" y="1488"/>
                  </a:lnTo>
                  <a:lnTo>
                    <a:pt x="1134" y="1482"/>
                  </a:lnTo>
                  <a:lnTo>
                    <a:pt x="1128" y="1476"/>
                  </a:lnTo>
                  <a:lnTo>
                    <a:pt x="1122" y="1470"/>
                  </a:lnTo>
                  <a:lnTo>
                    <a:pt x="1116" y="1464"/>
                  </a:lnTo>
                  <a:lnTo>
                    <a:pt x="1110" y="1464"/>
                  </a:lnTo>
                  <a:lnTo>
                    <a:pt x="1104" y="1458"/>
                  </a:lnTo>
                  <a:lnTo>
                    <a:pt x="1098" y="1464"/>
                  </a:lnTo>
                  <a:lnTo>
                    <a:pt x="1092" y="1464"/>
                  </a:lnTo>
                  <a:lnTo>
                    <a:pt x="1086" y="1446"/>
                  </a:lnTo>
                  <a:lnTo>
                    <a:pt x="1086" y="1440"/>
                  </a:lnTo>
                  <a:lnTo>
                    <a:pt x="1080" y="1416"/>
                  </a:lnTo>
                  <a:lnTo>
                    <a:pt x="1068" y="1404"/>
                  </a:lnTo>
                  <a:lnTo>
                    <a:pt x="1062" y="1398"/>
                  </a:lnTo>
                  <a:lnTo>
                    <a:pt x="1056" y="1398"/>
                  </a:lnTo>
                  <a:lnTo>
                    <a:pt x="1050" y="1398"/>
                  </a:lnTo>
                  <a:lnTo>
                    <a:pt x="1044" y="1398"/>
                  </a:lnTo>
                  <a:lnTo>
                    <a:pt x="1044" y="1392"/>
                  </a:lnTo>
                  <a:lnTo>
                    <a:pt x="1038" y="1392"/>
                  </a:lnTo>
                  <a:lnTo>
                    <a:pt x="1032" y="1392"/>
                  </a:lnTo>
                  <a:lnTo>
                    <a:pt x="1020" y="1386"/>
                  </a:lnTo>
                  <a:lnTo>
                    <a:pt x="1014" y="1386"/>
                  </a:lnTo>
                  <a:lnTo>
                    <a:pt x="1014" y="1380"/>
                  </a:lnTo>
                  <a:lnTo>
                    <a:pt x="1008" y="1380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62"/>
                  </a:lnTo>
                  <a:lnTo>
                    <a:pt x="984" y="1356"/>
                  </a:lnTo>
                  <a:lnTo>
                    <a:pt x="978" y="1356"/>
                  </a:lnTo>
                  <a:lnTo>
                    <a:pt x="972" y="1356"/>
                  </a:lnTo>
                  <a:lnTo>
                    <a:pt x="966" y="1356"/>
                  </a:lnTo>
                  <a:lnTo>
                    <a:pt x="966" y="1350"/>
                  </a:lnTo>
                  <a:lnTo>
                    <a:pt x="948" y="1350"/>
                  </a:lnTo>
                  <a:lnTo>
                    <a:pt x="936" y="1344"/>
                  </a:lnTo>
                  <a:lnTo>
                    <a:pt x="930" y="1338"/>
                  </a:lnTo>
                  <a:lnTo>
                    <a:pt x="918" y="1332"/>
                  </a:lnTo>
                  <a:lnTo>
                    <a:pt x="900" y="1326"/>
                  </a:lnTo>
                  <a:lnTo>
                    <a:pt x="864" y="1332"/>
                  </a:lnTo>
                  <a:lnTo>
                    <a:pt x="828" y="1332"/>
                  </a:lnTo>
                  <a:lnTo>
                    <a:pt x="792" y="1314"/>
                  </a:lnTo>
                  <a:lnTo>
                    <a:pt x="780" y="1314"/>
                  </a:lnTo>
                  <a:lnTo>
                    <a:pt x="780" y="1308"/>
                  </a:lnTo>
                  <a:lnTo>
                    <a:pt x="756" y="1296"/>
                  </a:lnTo>
                  <a:lnTo>
                    <a:pt x="756" y="1278"/>
                  </a:lnTo>
                  <a:lnTo>
                    <a:pt x="768" y="1278"/>
                  </a:lnTo>
                  <a:lnTo>
                    <a:pt x="774" y="1272"/>
                  </a:lnTo>
                  <a:lnTo>
                    <a:pt x="780" y="1266"/>
                  </a:lnTo>
                  <a:lnTo>
                    <a:pt x="786" y="1260"/>
                  </a:lnTo>
                  <a:lnTo>
                    <a:pt x="792" y="1254"/>
                  </a:lnTo>
                  <a:lnTo>
                    <a:pt x="798" y="1242"/>
                  </a:lnTo>
                  <a:lnTo>
                    <a:pt x="804" y="1242"/>
                  </a:lnTo>
                  <a:lnTo>
                    <a:pt x="804" y="1206"/>
                  </a:lnTo>
                  <a:lnTo>
                    <a:pt x="804" y="1182"/>
                  </a:lnTo>
                  <a:lnTo>
                    <a:pt x="804" y="1158"/>
                  </a:lnTo>
                  <a:lnTo>
                    <a:pt x="804" y="1134"/>
                  </a:lnTo>
                  <a:lnTo>
                    <a:pt x="798" y="1116"/>
                  </a:lnTo>
                  <a:lnTo>
                    <a:pt x="792" y="1092"/>
                  </a:lnTo>
                  <a:lnTo>
                    <a:pt x="786" y="1062"/>
                  </a:lnTo>
                  <a:lnTo>
                    <a:pt x="768" y="1032"/>
                  </a:lnTo>
                  <a:lnTo>
                    <a:pt x="762" y="1032"/>
                  </a:lnTo>
                  <a:lnTo>
                    <a:pt x="762" y="1020"/>
                  </a:lnTo>
                  <a:lnTo>
                    <a:pt x="762" y="1014"/>
                  </a:lnTo>
                  <a:lnTo>
                    <a:pt x="756" y="1008"/>
                  </a:lnTo>
                  <a:lnTo>
                    <a:pt x="750" y="1002"/>
                  </a:lnTo>
                  <a:lnTo>
                    <a:pt x="738" y="1002"/>
                  </a:lnTo>
                  <a:lnTo>
                    <a:pt x="738" y="990"/>
                  </a:lnTo>
                  <a:lnTo>
                    <a:pt x="726" y="990"/>
                  </a:lnTo>
                  <a:lnTo>
                    <a:pt x="726" y="978"/>
                  </a:lnTo>
                  <a:lnTo>
                    <a:pt x="732" y="972"/>
                  </a:lnTo>
                  <a:lnTo>
                    <a:pt x="732" y="966"/>
                  </a:lnTo>
                  <a:lnTo>
                    <a:pt x="726" y="966"/>
                  </a:lnTo>
                  <a:lnTo>
                    <a:pt x="732" y="948"/>
                  </a:lnTo>
                  <a:lnTo>
                    <a:pt x="726" y="942"/>
                  </a:lnTo>
                  <a:lnTo>
                    <a:pt x="726" y="930"/>
                  </a:lnTo>
                  <a:lnTo>
                    <a:pt x="720" y="924"/>
                  </a:lnTo>
                  <a:lnTo>
                    <a:pt x="714" y="912"/>
                  </a:lnTo>
                  <a:lnTo>
                    <a:pt x="714" y="882"/>
                  </a:lnTo>
                  <a:lnTo>
                    <a:pt x="714" y="870"/>
                  </a:lnTo>
                  <a:lnTo>
                    <a:pt x="714" y="858"/>
                  </a:lnTo>
                  <a:lnTo>
                    <a:pt x="714" y="846"/>
                  </a:lnTo>
                  <a:lnTo>
                    <a:pt x="708" y="822"/>
                  </a:lnTo>
                  <a:lnTo>
                    <a:pt x="702" y="798"/>
                  </a:lnTo>
                  <a:lnTo>
                    <a:pt x="696" y="792"/>
                  </a:lnTo>
                  <a:lnTo>
                    <a:pt x="684" y="726"/>
                  </a:lnTo>
                  <a:lnTo>
                    <a:pt x="678" y="666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66" y="600"/>
                  </a:lnTo>
                  <a:lnTo>
                    <a:pt x="660" y="594"/>
                  </a:lnTo>
                  <a:lnTo>
                    <a:pt x="654" y="594"/>
                  </a:lnTo>
                  <a:lnTo>
                    <a:pt x="636" y="582"/>
                  </a:lnTo>
                  <a:lnTo>
                    <a:pt x="630" y="576"/>
                  </a:lnTo>
                  <a:lnTo>
                    <a:pt x="624" y="576"/>
                  </a:lnTo>
                  <a:lnTo>
                    <a:pt x="618" y="570"/>
                  </a:lnTo>
                  <a:lnTo>
                    <a:pt x="612" y="564"/>
                  </a:lnTo>
                  <a:lnTo>
                    <a:pt x="606" y="558"/>
                  </a:lnTo>
                  <a:lnTo>
                    <a:pt x="606" y="564"/>
                  </a:lnTo>
                  <a:lnTo>
                    <a:pt x="600" y="564"/>
                  </a:lnTo>
                  <a:lnTo>
                    <a:pt x="594" y="558"/>
                  </a:lnTo>
                  <a:lnTo>
                    <a:pt x="594" y="540"/>
                  </a:lnTo>
                  <a:lnTo>
                    <a:pt x="594" y="528"/>
                  </a:lnTo>
                  <a:lnTo>
                    <a:pt x="594" y="516"/>
                  </a:lnTo>
                  <a:lnTo>
                    <a:pt x="594" y="510"/>
                  </a:lnTo>
                  <a:lnTo>
                    <a:pt x="594" y="492"/>
                  </a:lnTo>
                  <a:lnTo>
                    <a:pt x="594" y="456"/>
                  </a:lnTo>
                  <a:lnTo>
                    <a:pt x="588" y="414"/>
                  </a:lnTo>
                  <a:lnTo>
                    <a:pt x="588" y="408"/>
                  </a:lnTo>
                  <a:lnTo>
                    <a:pt x="582" y="396"/>
                  </a:lnTo>
                  <a:lnTo>
                    <a:pt x="582" y="384"/>
                  </a:lnTo>
                  <a:lnTo>
                    <a:pt x="582" y="372"/>
                  </a:lnTo>
                  <a:lnTo>
                    <a:pt x="564" y="372"/>
                  </a:lnTo>
                  <a:lnTo>
                    <a:pt x="552" y="366"/>
                  </a:lnTo>
                  <a:lnTo>
                    <a:pt x="552" y="372"/>
                  </a:lnTo>
                  <a:lnTo>
                    <a:pt x="498" y="372"/>
                  </a:lnTo>
                  <a:lnTo>
                    <a:pt x="498" y="366"/>
                  </a:lnTo>
                  <a:lnTo>
                    <a:pt x="474" y="360"/>
                  </a:lnTo>
                  <a:lnTo>
                    <a:pt x="456" y="354"/>
                  </a:lnTo>
                  <a:lnTo>
                    <a:pt x="438" y="348"/>
                  </a:lnTo>
                  <a:lnTo>
                    <a:pt x="426" y="354"/>
                  </a:lnTo>
                  <a:lnTo>
                    <a:pt x="408" y="360"/>
                  </a:lnTo>
                  <a:lnTo>
                    <a:pt x="378" y="360"/>
                  </a:lnTo>
                  <a:lnTo>
                    <a:pt x="378" y="354"/>
                  </a:lnTo>
                  <a:lnTo>
                    <a:pt x="378" y="348"/>
                  </a:lnTo>
                  <a:lnTo>
                    <a:pt x="378" y="342"/>
                  </a:lnTo>
                  <a:lnTo>
                    <a:pt x="390" y="330"/>
                  </a:lnTo>
                  <a:lnTo>
                    <a:pt x="396" y="312"/>
                  </a:lnTo>
                  <a:lnTo>
                    <a:pt x="396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8"/>
                  </a:lnTo>
                  <a:lnTo>
                    <a:pt x="372" y="234"/>
                  </a:lnTo>
                  <a:lnTo>
                    <a:pt x="354" y="234"/>
                  </a:lnTo>
                  <a:lnTo>
                    <a:pt x="342" y="246"/>
                  </a:lnTo>
                  <a:lnTo>
                    <a:pt x="330" y="252"/>
                  </a:lnTo>
                  <a:lnTo>
                    <a:pt x="318" y="252"/>
                  </a:lnTo>
                  <a:lnTo>
                    <a:pt x="276" y="258"/>
                  </a:lnTo>
                  <a:lnTo>
                    <a:pt x="276" y="264"/>
                  </a:lnTo>
                  <a:lnTo>
                    <a:pt x="252" y="270"/>
                  </a:lnTo>
                  <a:lnTo>
                    <a:pt x="240" y="270"/>
                  </a:lnTo>
                  <a:lnTo>
                    <a:pt x="228" y="276"/>
                  </a:lnTo>
                  <a:lnTo>
                    <a:pt x="210" y="282"/>
                  </a:lnTo>
                  <a:lnTo>
                    <a:pt x="198" y="288"/>
                  </a:lnTo>
                  <a:lnTo>
                    <a:pt x="186" y="294"/>
                  </a:lnTo>
                  <a:lnTo>
                    <a:pt x="174" y="330"/>
                  </a:lnTo>
                  <a:lnTo>
                    <a:pt x="162" y="342"/>
                  </a:lnTo>
                  <a:lnTo>
                    <a:pt x="156" y="354"/>
                  </a:lnTo>
                  <a:lnTo>
                    <a:pt x="150" y="360"/>
                  </a:lnTo>
                  <a:lnTo>
                    <a:pt x="150" y="366"/>
                  </a:lnTo>
                  <a:lnTo>
                    <a:pt x="108" y="372"/>
                  </a:lnTo>
                  <a:lnTo>
                    <a:pt x="60" y="378"/>
                  </a:lnTo>
                  <a:lnTo>
                    <a:pt x="42" y="378"/>
                  </a:lnTo>
                  <a:lnTo>
                    <a:pt x="12" y="378"/>
                  </a:lnTo>
                  <a:lnTo>
                    <a:pt x="6" y="378"/>
                  </a:lnTo>
                  <a:lnTo>
                    <a:pt x="0" y="366"/>
                  </a:lnTo>
                  <a:lnTo>
                    <a:pt x="12" y="360"/>
                  </a:lnTo>
                  <a:lnTo>
                    <a:pt x="24" y="348"/>
                  </a:lnTo>
                  <a:lnTo>
                    <a:pt x="30" y="342"/>
                  </a:lnTo>
                  <a:lnTo>
                    <a:pt x="36" y="330"/>
                  </a:lnTo>
                  <a:lnTo>
                    <a:pt x="72" y="300"/>
                  </a:lnTo>
                  <a:lnTo>
                    <a:pt x="78" y="294"/>
                  </a:lnTo>
                  <a:lnTo>
                    <a:pt x="78" y="288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96" y="270"/>
                  </a:lnTo>
                  <a:lnTo>
                    <a:pt x="102" y="264"/>
                  </a:lnTo>
                  <a:lnTo>
                    <a:pt x="108" y="258"/>
                  </a:lnTo>
                  <a:lnTo>
                    <a:pt x="114" y="246"/>
                  </a:lnTo>
                  <a:lnTo>
                    <a:pt x="120" y="240"/>
                  </a:lnTo>
                  <a:lnTo>
                    <a:pt x="126" y="234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0" y="210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86" y="174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22" y="138"/>
                  </a:lnTo>
                  <a:lnTo>
                    <a:pt x="234" y="132"/>
                  </a:lnTo>
                  <a:lnTo>
                    <a:pt x="246" y="126"/>
                  </a:lnTo>
                  <a:lnTo>
                    <a:pt x="246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88" y="102"/>
                  </a:lnTo>
                  <a:lnTo>
                    <a:pt x="300" y="96"/>
                  </a:lnTo>
                  <a:lnTo>
                    <a:pt x="306" y="90"/>
                  </a:lnTo>
                  <a:lnTo>
                    <a:pt x="318" y="90"/>
                  </a:lnTo>
                  <a:lnTo>
                    <a:pt x="324" y="84"/>
                  </a:lnTo>
                  <a:lnTo>
                    <a:pt x="348" y="72"/>
                  </a:lnTo>
                  <a:lnTo>
                    <a:pt x="354" y="72"/>
                  </a:lnTo>
                  <a:lnTo>
                    <a:pt x="384" y="66"/>
                  </a:lnTo>
                  <a:lnTo>
                    <a:pt x="390" y="66"/>
                  </a:lnTo>
                  <a:lnTo>
                    <a:pt x="396" y="66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66"/>
                  </a:lnTo>
                  <a:lnTo>
                    <a:pt x="438" y="66"/>
                  </a:lnTo>
                  <a:lnTo>
                    <a:pt x="468" y="66"/>
                  </a:lnTo>
                  <a:lnTo>
                    <a:pt x="480" y="66"/>
                  </a:lnTo>
                  <a:lnTo>
                    <a:pt x="486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22" y="60"/>
                  </a:lnTo>
                  <a:lnTo>
                    <a:pt x="534" y="54"/>
                  </a:lnTo>
                  <a:lnTo>
                    <a:pt x="564" y="42"/>
                  </a:lnTo>
                  <a:lnTo>
                    <a:pt x="570" y="42"/>
                  </a:lnTo>
                  <a:lnTo>
                    <a:pt x="582" y="36"/>
                  </a:lnTo>
                  <a:lnTo>
                    <a:pt x="588" y="36"/>
                  </a:lnTo>
                  <a:lnTo>
                    <a:pt x="600" y="30"/>
                  </a:lnTo>
                  <a:lnTo>
                    <a:pt x="606" y="30"/>
                  </a:lnTo>
                  <a:lnTo>
                    <a:pt x="618" y="24"/>
                  </a:lnTo>
                  <a:lnTo>
                    <a:pt x="642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72" y="12"/>
                  </a:lnTo>
                  <a:lnTo>
                    <a:pt x="696" y="12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50" y="6"/>
                  </a:lnTo>
                  <a:lnTo>
                    <a:pt x="768" y="6"/>
                  </a:lnTo>
                  <a:lnTo>
                    <a:pt x="774" y="6"/>
                  </a:lnTo>
                  <a:lnTo>
                    <a:pt x="786" y="6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6" y="6"/>
                  </a:lnTo>
                  <a:lnTo>
                    <a:pt x="846" y="6"/>
                  </a:lnTo>
                  <a:lnTo>
                    <a:pt x="852" y="0"/>
                  </a:lnTo>
                  <a:lnTo>
                    <a:pt x="876" y="0"/>
                  </a:lnTo>
                  <a:lnTo>
                    <a:pt x="876" y="6"/>
                  </a:lnTo>
                  <a:lnTo>
                    <a:pt x="888" y="0"/>
                  </a:lnTo>
                  <a:lnTo>
                    <a:pt x="900" y="0"/>
                  </a:lnTo>
                  <a:lnTo>
                    <a:pt x="906" y="0"/>
                  </a:lnTo>
                  <a:lnTo>
                    <a:pt x="912" y="0"/>
                  </a:lnTo>
                  <a:lnTo>
                    <a:pt x="948" y="0"/>
                  </a:lnTo>
                  <a:lnTo>
                    <a:pt x="954" y="0"/>
                  </a:lnTo>
                  <a:lnTo>
                    <a:pt x="972" y="0"/>
                  </a:lnTo>
                  <a:lnTo>
                    <a:pt x="978" y="0"/>
                  </a:lnTo>
                  <a:lnTo>
                    <a:pt x="996" y="0"/>
                  </a:lnTo>
                  <a:lnTo>
                    <a:pt x="1032" y="0"/>
                  </a:lnTo>
                  <a:lnTo>
                    <a:pt x="1044" y="0"/>
                  </a:lnTo>
                  <a:lnTo>
                    <a:pt x="1050" y="0"/>
                  </a:lnTo>
                  <a:lnTo>
                    <a:pt x="1056" y="6"/>
                  </a:lnTo>
                  <a:lnTo>
                    <a:pt x="1056" y="0"/>
                  </a:lnTo>
                  <a:lnTo>
                    <a:pt x="1074" y="0"/>
                  </a:lnTo>
                  <a:lnTo>
                    <a:pt x="1098" y="6"/>
                  </a:lnTo>
                  <a:lnTo>
                    <a:pt x="1116" y="6"/>
                  </a:lnTo>
                  <a:lnTo>
                    <a:pt x="1140" y="12"/>
                  </a:lnTo>
                  <a:lnTo>
                    <a:pt x="1152" y="12"/>
                  </a:lnTo>
                  <a:lnTo>
                    <a:pt x="1158" y="12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6" y="12"/>
                  </a:lnTo>
                  <a:lnTo>
                    <a:pt x="1194" y="18"/>
                  </a:lnTo>
                  <a:lnTo>
                    <a:pt x="1206" y="18"/>
                  </a:lnTo>
                  <a:lnTo>
                    <a:pt x="1242" y="36"/>
                  </a:lnTo>
                  <a:lnTo>
                    <a:pt x="1248" y="36"/>
                  </a:lnTo>
                  <a:lnTo>
                    <a:pt x="1254" y="36"/>
                  </a:lnTo>
                  <a:lnTo>
                    <a:pt x="1260" y="42"/>
                  </a:lnTo>
                  <a:lnTo>
                    <a:pt x="1272" y="48"/>
                  </a:lnTo>
                  <a:lnTo>
                    <a:pt x="1278" y="48"/>
                  </a:lnTo>
                  <a:lnTo>
                    <a:pt x="1284" y="48"/>
                  </a:lnTo>
                  <a:lnTo>
                    <a:pt x="1290" y="54"/>
                  </a:lnTo>
                  <a:lnTo>
                    <a:pt x="1308" y="60"/>
                  </a:lnTo>
                  <a:lnTo>
                    <a:pt x="1326" y="60"/>
                  </a:lnTo>
                  <a:lnTo>
                    <a:pt x="1338" y="66"/>
                  </a:lnTo>
                  <a:lnTo>
                    <a:pt x="1344" y="66"/>
                  </a:lnTo>
                  <a:lnTo>
                    <a:pt x="1350" y="66"/>
                  </a:lnTo>
                  <a:lnTo>
                    <a:pt x="1356" y="66"/>
                  </a:lnTo>
                  <a:lnTo>
                    <a:pt x="1362" y="72"/>
                  </a:lnTo>
                  <a:lnTo>
                    <a:pt x="1368" y="72"/>
                  </a:lnTo>
                  <a:lnTo>
                    <a:pt x="1380" y="72"/>
                  </a:lnTo>
                  <a:lnTo>
                    <a:pt x="1386" y="72"/>
                  </a:lnTo>
                  <a:lnTo>
                    <a:pt x="1422" y="84"/>
                  </a:lnTo>
                  <a:lnTo>
                    <a:pt x="1428" y="84"/>
                  </a:lnTo>
                  <a:lnTo>
                    <a:pt x="1446" y="90"/>
                  </a:lnTo>
                  <a:lnTo>
                    <a:pt x="1458" y="102"/>
                  </a:lnTo>
                  <a:lnTo>
                    <a:pt x="1494" y="126"/>
                  </a:lnTo>
                  <a:lnTo>
                    <a:pt x="1500" y="132"/>
                  </a:lnTo>
                  <a:lnTo>
                    <a:pt x="1512" y="138"/>
                  </a:lnTo>
                  <a:lnTo>
                    <a:pt x="1512" y="144"/>
                  </a:lnTo>
                  <a:lnTo>
                    <a:pt x="1518" y="150"/>
                  </a:lnTo>
                  <a:lnTo>
                    <a:pt x="1530" y="156"/>
                  </a:lnTo>
                  <a:lnTo>
                    <a:pt x="1530" y="162"/>
                  </a:lnTo>
                  <a:lnTo>
                    <a:pt x="1548" y="168"/>
                  </a:lnTo>
                  <a:lnTo>
                    <a:pt x="1566" y="180"/>
                  </a:lnTo>
                  <a:lnTo>
                    <a:pt x="1578" y="186"/>
                  </a:lnTo>
                  <a:lnTo>
                    <a:pt x="1578" y="180"/>
                  </a:lnTo>
                  <a:lnTo>
                    <a:pt x="1584" y="186"/>
                  </a:lnTo>
                  <a:lnTo>
                    <a:pt x="1584" y="174"/>
                  </a:lnTo>
                  <a:lnTo>
                    <a:pt x="1590" y="174"/>
                  </a:lnTo>
                  <a:lnTo>
                    <a:pt x="1590" y="180"/>
                  </a:lnTo>
                  <a:lnTo>
                    <a:pt x="1596" y="180"/>
                  </a:lnTo>
                  <a:lnTo>
                    <a:pt x="1596" y="174"/>
                  </a:lnTo>
                  <a:lnTo>
                    <a:pt x="1602" y="174"/>
                  </a:lnTo>
                  <a:lnTo>
                    <a:pt x="1608" y="174"/>
                  </a:lnTo>
                  <a:lnTo>
                    <a:pt x="1614" y="180"/>
                  </a:lnTo>
                  <a:lnTo>
                    <a:pt x="1620" y="174"/>
                  </a:lnTo>
                  <a:lnTo>
                    <a:pt x="1614" y="168"/>
                  </a:lnTo>
                  <a:lnTo>
                    <a:pt x="1614" y="162"/>
                  </a:lnTo>
                  <a:lnTo>
                    <a:pt x="1620" y="162"/>
                  </a:lnTo>
                  <a:lnTo>
                    <a:pt x="1626" y="162"/>
                  </a:lnTo>
                  <a:lnTo>
                    <a:pt x="1632" y="162"/>
                  </a:lnTo>
                  <a:lnTo>
                    <a:pt x="1638" y="168"/>
                  </a:lnTo>
                  <a:lnTo>
                    <a:pt x="1644" y="168"/>
                  </a:lnTo>
                  <a:lnTo>
                    <a:pt x="1650" y="174"/>
                  </a:lnTo>
                  <a:lnTo>
                    <a:pt x="1656" y="168"/>
                  </a:lnTo>
                  <a:lnTo>
                    <a:pt x="1668" y="168"/>
                  </a:lnTo>
                  <a:lnTo>
                    <a:pt x="1674" y="174"/>
                  </a:lnTo>
                  <a:lnTo>
                    <a:pt x="1674" y="180"/>
                  </a:lnTo>
                  <a:lnTo>
                    <a:pt x="1674" y="186"/>
                  </a:lnTo>
                  <a:lnTo>
                    <a:pt x="1680" y="186"/>
                  </a:lnTo>
                  <a:lnTo>
                    <a:pt x="1680" y="192"/>
                  </a:lnTo>
                  <a:lnTo>
                    <a:pt x="1686" y="192"/>
                  </a:lnTo>
                  <a:lnTo>
                    <a:pt x="1686" y="186"/>
                  </a:lnTo>
                  <a:lnTo>
                    <a:pt x="1680" y="186"/>
                  </a:lnTo>
                  <a:lnTo>
                    <a:pt x="1686" y="180"/>
                  </a:lnTo>
                  <a:lnTo>
                    <a:pt x="1692" y="180"/>
                  </a:lnTo>
                  <a:lnTo>
                    <a:pt x="1698" y="180"/>
                  </a:lnTo>
                  <a:lnTo>
                    <a:pt x="1704" y="180"/>
                  </a:lnTo>
                  <a:lnTo>
                    <a:pt x="1704" y="186"/>
                  </a:lnTo>
                  <a:lnTo>
                    <a:pt x="1710" y="186"/>
                  </a:lnTo>
                  <a:lnTo>
                    <a:pt x="1716" y="186"/>
                  </a:lnTo>
                  <a:lnTo>
                    <a:pt x="1716" y="192"/>
                  </a:lnTo>
                  <a:lnTo>
                    <a:pt x="1716" y="198"/>
                  </a:lnTo>
                  <a:lnTo>
                    <a:pt x="1722" y="192"/>
                  </a:lnTo>
                  <a:lnTo>
                    <a:pt x="1722" y="186"/>
                  </a:lnTo>
                  <a:lnTo>
                    <a:pt x="1728" y="192"/>
                  </a:lnTo>
                  <a:lnTo>
                    <a:pt x="1734" y="192"/>
                  </a:lnTo>
                  <a:lnTo>
                    <a:pt x="1734" y="186"/>
                  </a:lnTo>
                  <a:lnTo>
                    <a:pt x="1740" y="186"/>
                  </a:lnTo>
                  <a:lnTo>
                    <a:pt x="1740" y="192"/>
                  </a:lnTo>
                  <a:lnTo>
                    <a:pt x="1746" y="192"/>
                  </a:lnTo>
                  <a:lnTo>
                    <a:pt x="1758" y="192"/>
                  </a:lnTo>
                  <a:lnTo>
                    <a:pt x="1764" y="192"/>
                  </a:lnTo>
                  <a:lnTo>
                    <a:pt x="1764" y="198"/>
                  </a:lnTo>
                  <a:lnTo>
                    <a:pt x="1758" y="204"/>
                  </a:lnTo>
                  <a:lnTo>
                    <a:pt x="1752" y="210"/>
                  </a:lnTo>
                  <a:lnTo>
                    <a:pt x="1746" y="216"/>
                  </a:lnTo>
                  <a:lnTo>
                    <a:pt x="1746" y="222"/>
                  </a:lnTo>
                  <a:lnTo>
                    <a:pt x="1734" y="228"/>
                  </a:lnTo>
                  <a:lnTo>
                    <a:pt x="1734" y="234"/>
                  </a:lnTo>
                  <a:lnTo>
                    <a:pt x="1734" y="258"/>
                  </a:lnTo>
                  <a:lnTo>
                    <a:pt x="1740" y="330"/>
                  </a:lnTo>
                  <a:lnTo>
                    <a:pt x="1746" y="372"/>
                  </a:lnTo>
                  <a:lnTo>
                    <a:pt x="1788" y="426"/>
                  </a:lnTo>
                  <a:lnTo>
                    <a:pt x="1806" y="438"/>
                  </a:lnTo>
                  <a:lnTo>
                    <a:pt x="1794" y="480"/>
                  </a:lnTo>
                  <a:lnTo>
                    <a:pt x="1770" y="516"/>
                  </a:lnTo>
                  <a:lnTo>
                    <a:pt x="1746" y="546"/>
                  </a:lnTo>
                  <a:lnTo>
                    <a:pt x="1716" y="570"/>
                  </a:lnTo>
                  <a:lnTo>
                    <a:pt x="1680" y="594"/>
                  </a:lnTo>
                  <a:lnTo>
                    <a:pt x="1668" y="630"/>
                  </a:lnTo>
                  <a:lnTo>
                    <a:pt x="1680" y="684"/>
                  </a:lnTo>
                  <a:lnTo>
                    <a:pt x="1686" y="756"/>
                  </a:lnTo>
                  <a:lnTo>
                    <a:pt x="1662" y="870"/>
                  </a:lnTo>
                  <a:lnTo>
                    <a:pt x="1656" y="888"/>
                  </a:lnTo>
                  <a:lnTo>
                    <a:pt x="1650" y="972"/>
                  </a:lnTo>
                  <a:lnTo>
                    <a:pt x="1656" y="978"/>
                  </a:lnTo>
                  <a:lnTo>
                    <a:pt x="1650" y="984"/>
                  </a:lnTo>
                  <a:lnTo>
                    <a:pt x="1650" y="990"/>
                  </a:lnTo>
                  <a:lnTo>
                    <a:pt x="1650" y="1002"/>
                  </a:lnTo>
                  <a:lnTo>
                    <a:pt x="1656" y="1008"/>
                  </a:lnTo>
                  <a:lnTo>
                    <a:pt x="1656" y="1014"/>
                  </a:lnTo>
                  <a:lnTo>
                    <a:pt x="1662" y="1026"/>
                  </a:lnTo>
                  <a:lnTo>
                    <a:pt x="1650" y="1032"/>
                  </a:lnTo>
                  <a:lnTo>
                    <a:pt x="1638" y="1044"/>
                  </a:lnTo>
                  <a:lnTo>
                    <a:pt x="1626" y="1080"/>
                  </a:lnTo>
                  <a:lnTo>
                    <a:pt x="1614" y="1116"/>
                  </a:lnTo>
                  <a:lnTo>
                    <a:pt x="1614" y="1128"/>
                  </a:lnTo>
                  <a:lnTo>
                    <a:pt x="1626" y="1134"/>
                  </a:lnTo>
                  <a:lnTo>
                    <a:pt x="1644" y="1134"/>
                  </a:lnTo>
                  <a:lnTo>
                    <a:pt x="1662" y="1134"/>
                  </a:lnTo>
                  <a:lnTo>
                    <a:pt x="1680" y="1140"/>
                  </a:lnTo>
                  <a:lnTo>
                    <a:pt x="1698" y="1170"/>
                  </a:lnTo>
                  <a:lnTo>
                    <a:pt x="1704" y="1194"/>
                  </a:lnTo>
                  <a:lnTo>
                    <a:pt x="1692" y="1206"/>
                  </a:lnTo>
                  <a:lnTo>
                    <a:pt x="1662" y="1242"/>
                  </a:lnTo>
                  <a:lnTo>
                    <a:pt x="1632" y="1266"/>
                  </a:lnTo>
                  <a:lnTo>
                    <a:pt x="1620" y="1314"/>
                  </a:lnTo>
                  <a:lnTo>
                    <a:pt x="1584" y="1356"/>
                  </a:lnTo>
                  <a:lnTo>
                    <a:pt x="1578" y="1356"/>
                  </a:lnTo>
                  <a:lnTo>
                    <a:pt x="1578" y="1362"/>
                  </a:lnTo>
                  <a:lnTo>
                    <a:pt x="1572" y="1410"/>
                  </a:lnTo>
                  <a:lnTo>
                    <a:pt x="1584" y="1452"/>
                  </a:lnTo>
                  <a:lnTo>
                    <a:pt x="1608" y="1476"/>
                  </a:lnTo>
                  <a:lnTo>
                    <a:pt x="1596" y="1476"/>
                  </a:lnTo>
                  <a:lnTo>
                    <a:pt x="1584" y="1482"/>
                  </a:lnTo>
                  <a:lnTo>
                    <a:pt x="1560" y="1482"/>
                  </a:lnTo>
                  <a:lnTo>
                    <a:pt x="1536" y="1482"/>
                  </a:lnTo>
                  <a:lnTo>
                    <a:pt x="1524" y="1482"/>
                  </a:lnTo>
                  <a:lnTo>
                    <a:pt x="1506" y="1500"/>
                  </a:lnTo>
                  <a:lnTo>
                    <a:pt x="1482" y="1530"/>
                  </a:lnTo>
                  <a:lnTo>
                    <a:pt x="1452" y="1542"/>
                  </a:lnTo>
                  <a:lnTo>
                    <a:pt x="1446" y="1542"/>
                  </a:lnTo>
                  <a:lnTo>
                    <a:pt x="1440" y="1542"/>
                  </a:lnTo>
                  <a:lnTo>
                    <a:pt x="1440" y="1548"/>
                  </a:lnTo>
                  <a:lnTo>
                    <a:pt x="1434" y="1548"/>
                  </a:lnTo>
                  <a:lnTo>
                    <a:pt x="1428" y="1548"/>
                  </a:lnTo>
                  <a:lnTo>
                    <a:pt x="1428" y="1554"/>
                  </a:lnTo>
                  <a:lnTo>
                    <a:pt x="1422" y="1560"/>
                  </a:lnTo>
                  <a:lnTo>
                    <a:pt x="1416" y="1560"/>
                  </a:lnTo>
                  <a:lnTo>
                    <a:pt x="1410" y="1566"/>
                  </a:lnTo>
                  <a:lnTo>
                    <a:pt x="1410" y="1560"/>
                  </a:lnTo>
                  <a:lnTo>
                    <a:pt x="1404" y="1560"/>
                  </a:lnTo>
                  <a:lnTo>
                    <a:pt x="1392" y="1560"/>
                  </a:lnTo>
                  <a:lnTo>
                    <a:pt x="1386" y="1560"/>
                  </a:lnTo>
                  <a:lnTo>
                    <a:pt x="1380" y="1566"/>
                  </a:lnTo>
                  <a:lnTo>
                    <a:pt x="1374" y="1560"/>
                  </a:lnTo>
                  <a:lnTo>
                    <a:pt x="1368" y="1566"/>
                  </a:lnTo>
                  <a:lnTo>
                    <a:pt x="1362" y="1566"/>
                  </a:lnTo>
                  <a:lnTo>
                    <a:pt x="1362" y="1572"/>
                  </a:lnTo>
                  <a:lnTo>
                    <a:pt x="1356" y="1572"/>
                  </a:lnTo>
                  <a:lnTo>
                    <a:pt x="1356" y="1578"/>
                  </a:lnTo>
                  <a:lnTo>
                    <a:pt x="1350" y="1578"/>
                  </a:lnTo>
                  <a:lnTo>
                    <a:pt x="1350" y="1572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32" y="1584"/>
                  </a:lnTo>
                  <a:lnTo>
                    <a:pt x="1326" y="1590"/>
                  </a:lnTo>
                  <a:lnTo>
                    <a:pt x="1320" y="1584"/>
                  </a:lnTo>
                  <a:lnTo>
                    <a:pt x="1314" y="1590"/>
                  </a:lnTo>
                  <a:lnTo>
                    <a:pt x="1308" y="1596"/>
                  </a:lnTo>
                  <a:lnTo>
                    <a:pt x="1302" y="1596"/>
                  </a:lnTo>
                  <a:lnTo>
                    <a:pt x="1296" y="1596"/>
                  </a:lnTo>
                  <a:lnTo>
                    <a:pt x="1290" y="1596"/>
                  </a:lnTo>
                  <a:lnTo>
                    <a:pt x="1284" y="1596"/>
                  </a:lnTo>
                  <a:lnTo>
                    <a:pt x="1278" y="1602"/>
                  </a:lnTo>
                  <a:lnTo>
                    <a:pt x="1266" y="1602"/>
                  </a:lnTo>
                  <a:lnTo>
                    <a:pt x="1272" y="1608"/>
                  </a:lnTo>
                  <a:lnTo>
                    <a:pt x="1278" y="1608"/>
                  </a:lnTo>
                  <a:lnTo>
                    <a:pt x="1284" y="1608"/>
                  </a:lnTo>
                  <a:lnTo>
                    <a:pt x="1290" y="1614"/>
                  </a:lnTo>
                  <a:lnTo>
                    <a:pt x="1296" y="1620"/>
                  </a:lnTo>
                  <a:lnTo>
                    <a:pt x="1302" y="1626"/>
                  </a:lnTo>
                  <a:lnTo>
                    <a:pt x="1308" y="1632"/>
                  </a:lnTo>
                  <a:lnTo>
                    <a:pt x="1314" y="1638"/>
                  </a:lnTo>
                  <a:lnTo>
                    <a:pt x="1314" y="1644"/>
                  </a:lnTo>
                  <a:lnTo>
                    <a:pt x="1320" y="1644"/>
                  </a:lnTo>
                  <a:lnTo>
                    <a:pt x="1320" y="1650"/>
                  </a:lnTo>
                  <a:lnTo>
                    <a:pt x="1326" y="1656"/>
                  </a:lnTo>
                  <a:lnTo>
                    <a:pt x="1332" y="1668"/>
                  </a:lnTo>
                  <a:lnTo>
                    <a:pt x="1338" y="1680"/>
                  </a:lnTo>
                  <a:lnTo>
                    <a:pt x="1338" y="1698"/>
                  </a:lnTo>
                  <a:lnTo>
                    <a:pt x="1350" y="1710"/>
                  </a:lnTo>
                  <a:lnTo>
                    <a:pt x="1350" y="1716"/>
                  </a:lnTo>
                  <a:lnTo>
                    <a:pt x="1350" y="1722"/>
                  </a:lnTo>
                  <a:lnTo>
                    <a:pt x="1350" y="1728"/>
                  </a:lnTo>
                  <a:lnTo>
                    <a:pt x="1356" y="1728"/>
                  </a:lnTo>
                  <a:lnTo>
                    <a:pt x="1356" y="1734"/>
                  </a:lnTo>
                  <a:lnTo>
                    <a:pt x="1350" y="1734"/>
                  </a:lnTo>
                  <a:lnTo>
                    <a:pt x="1344" y="1740"/>
                  </a:lnTo>
                  <a:lnTo>
                    <a:pt x="1338" y="1740"/>
                  </a:lnTo>
                  <a:lnTo>
                    <a:pt x="1332" y="1746"/>
                  </a:lnTo>
                  <a:lnTo>
                    <a:pt x="1326" y="1746"/>
                  </a:lnTo>
                  <a:lnTo>
                    <a:pt x="1326" y="1752"/>
                  </a:lnTo>
                  <a:lnTo>
                    <a:pt x="1320" y="1752"/>
                  </a:lnTo>
                  <a:lnTo>
                    <a:pt x="1320" y="1758"/>
                  </a:lnTo>
                  <a:lnTo>
                    <a:pt x="1314" y="1758"/>
                  </a:lnTo>
                  <a:lnTo>
                    <a:pt x="1308" y="1758"/>
                  </a:lnTo>
                  <a:lnTo>
                    <a:pt x="1302" y="1758"/>
                  </a:lnTo>
                  <a:lnTo>
                    <a:pt x="1296" y="1758"/>
                  </a:lnTo>
                  <a:lnTo>
                    <a:pt x="1290" y="1764"/>
                  </a:lnTo>
                  <a:lnTo>
                    <a:pt x="1284" y="1770"/>
                  </a:lnTo>
                  <a:lnTo>
                    <a:pt x="1278" y="1770"/>
                  </a:lnTo>
                  <a:lnTo>
                    <a:pt x="1272" y="1770"/>
                  </a:lnTo>
                  <a:lnTo>
                    <a:pt x="1266" y="1770"/>
                  </a:lnTo>
                  <a:lnTo>
                    <a:pt x="1266" y="1776"/>
                  </a:lnTo>
                  <a:lnTo>
                    <a:pt x="1260" y="1776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4" name="Freeform 39">
              <a:extLst>
                <a:ext uri="{FF2B5EF4-FFF2-40B4-BE49-F238E27FC236}">
                  <a16:creationId xmlns:a16="http://schemas.microsoft.com/office/drawing/2014/main" id="{E01CDA8B-32C7-421A-B23E-968CAC7F78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2974" y="1759680"/>
              <a:ext cx="825155" cy="700024"/>
            </a:xfrm>
            <a:custGeom>
              <a:avLst/>
              <a:gdLst>
                <a:gd name="T0" fmla="*/ 60 w 1554"/>
                <a:gd name="T1" fmla="*/ 86 h 1320"/>
                <a:gd name="T2" fmla="*/ 66 w 1554"/>
                <a:gd name="T3" fmla="*/ 80 h 1320"/>
                <a:gd name="T4" fmla="*/ 61 w 1554"/>
                <a:gd name="T5" fmla="*/ 73 h 1320"/>
                <a:gd name="T6" fmla="*/ 57 w 1554"/>
                <a:gd name="T7" fmla="*/ 67 h 1320"/>
                <a:gd name="T8" fmla="*/ 60 w 1554"/>
                <a:gd name="T9" fmla="*/ 59 h 1320"/>
                <a:gd name="T10" fmla="*/ 56 w 1554"/>
                <a:gd name="T11" fmla="*/ 55 h 1320"/>
                <a:gd name="T12" fmla="*/ 45 w 1554"/>
                <a:gd name="T13" fmla="*/ 53 h 1320"/>
                <a:gd name="T14" fmla="*/ 42 w 1554"/>
                <a:gd name="T15" fmla="*/ 41 h 1320"/>
                <a:gd name="T16" fmla="*/ 37 w 1554"/>
                <a:gd name="T17" fmla="*/ 39 h 1320"/>
                <a:gd name="T18" fmla="*/ 31 w 1554"/>
                <a:gd name="T19" fmla="*/ 44 h 1320"/>
                <a:gd name="T20" fmla="*/ 37 w 1554"/>
                <a:gd name="T21" fmla="*/ 35 h 1320"/>
                <a:gd name="T22" fmla="*/ 30 w 1554"/>
                <a:gd name="T23" fmla="*/ 23 h 1320"/>
                <a:gd name="T24" fmla="*/ 21 w 1554"/>
                <a:gd name="T25" fmla="*/ 23 h 1320"/>
                <a:gd name="T26" fmla="*/ 15 w 1554"/>
                <a:gd name="T27" fmla="*/ 27 h 1320"/>
                <a:gd name="T28" fmla="*/ 11 w 1554"/>
                <a:gd name="T29" fmla="*/ 32 h 1320"/>
                <a:gd name="T30" fmla="*/ 6 w 1554"/>
                <a:gd name="T31" fmla="*/ 22 h 1320"/>
                <a:gd name="T32" fmla="*/ 3 w 1554"/>
                <a:gd name="T33" fmla="*/ 11 h 1320"/>
                <a:gd name="T34" fmla="*/ 24 w 1554"/>
                <a:gd name="T35" fmla="*/ 12 h 1320"/>
                <a:gd name="T36" fmla="*/ 33 w 1554"/>
                <a:gd name="T37" fmla="*/ 19 h 1320"/>
                <a:gd name="T38" fmla="*/ 49 w 1554"/>
                <a:gd name="T39" fmla="*/ 12 h 1320"/>
                <a:gd name="T40" fmla="*/ 58 w 1554"/>
                <a:gd name="T41" fmla="*/ 10 h 1320"/>
                <a:gd name="T42" fmla="*/ 68 w 1554"/>
                <a:gd name="T43" fmla="*/ 11 h 1320"/>
                <a:gd name="T44" fmla="*/ 79 w 1554"/>
                <a:gd name="T45" fmla="*/ 12 h 1320"/>
                <a:gd name="T46" fmla="*/ 96 w 1554"/>
                <a:gd name="T47" fmla="*/ 11 h 1320"/>
                <a:gd name="T48" fmla="*/ 107 w 1554"/>
                <a:gd name="T49" fmla="*/ 2 h 1320"/>
                <a:gd name="T50" fmla="*/ 117 w 1554"/>
                <a:gd name="T51" fmla="*/ 8 h 1320"/>
                <a:gd name="T52" fmla="*/ 126 w 1554"/>
                <a:gd name="T53" fmla="*/ 12 h 1320"/>
                <a:gd name="T54" fmla="*/ 134 w 1554"/>
                <a:gd name="T55" fmla="*/ 24 h 1320"/>
                <a:gd name="T56" fmla="*/ 133 w 1554"/>
                <a:gd name="T57" fmla="*/ 29 h 1320"/>
                <a:gd name="T58" fmla="*/ 129 w 1554"/>
                <a:gd name="T59" fmla="*/ 31 h 1320"/>
                <a:gd name="T60" fmla="*/ 125 w 1554"/>
                <a:gd name="T61" fmla="*/ 32 h 1320"/>
                <a:gd name="T62" fmla="*/ 115 w 1554"/>
                <a:gd name="T63" fmla="*/ 34 h 1320"/>
                <a:gd name="T64" fmla="*/ 113 w 1554"/>
                <a:gd name="T65" fmla="*/ 44 h 1320"/>
                <a:gd name="T66" fmla="*/ 111 w 1554"/>
                <a:gd name="T67" fmla="*/ 54 h 1320"/>
                <a:gd name="T68" fmla="*/ 107 w 1554"/>
                <a:gd name="T69" fmla="*/ 56 h 1320"/>
                <a:gd name="T70" fmla="*/ 102 w 1554"/>
                <a:gd name="T71" fmla="*/ 58 h 1320"/>
                <a:gd name="T72" fmla="*/ 99 w 1554"/>
                <a:gd name="T73" fmla="*/ 60 h 1320"/>
                <a:gd name="T74" fmla="*/ 93 w 1554"/>
                <a:gd name="T75" fmla="*/ 62 h 1320"/>
                <a:gd name="T76" fmla="*/ 87 w 1554"/>
                <a:gd name="T77" fmla="*/ 64 h 1320"/>
                <a:gd name="T78" fmla="*/ 84 w 1554"/>
                <a:gd name="T79" fmla="*/ 65 h 1320"/>
                <a:gd name="T80" fmla="*/ 81 w 1554"/>
                <a:gd name="T81" fmla="*/ 69 h 1320"/>
                <a:gd name="T82" fmla="*/ 83 w 1554"/>
                <a:gd name="T83" fmla="*/ 72 h 1320"/>
                <a:gd name="T84" fmla="*/ 92 w 1554"/>
                <a:gd name="T85" fmla="*/ 73 h 1320"/>
                <a:gd name="T86" fmla="*/ 93 w 1554"/>
                <a:gd name="T87" fmla="*/ 87 h 1320"/>
                <a:gd name="T88" fmla="*/ 104 w 1554"/>
                <a:gd name="T89" fmla="*/ 98 h 1320"/>
                <a:gd name="T90" fmla="*/ 108 w 1554"/>
                <a:gd name="T91" fmla="*/ 98 h 1320"/>
                <a:gd name="T92" fmla="*/ 112 w 1554"/>
                <a:gd name="T93" fmla="*/ 100 h 1320"/>
                <a:gd name="T94" fmla="*/ 118 w 1554"/>
                <a:gd name="T95" fmla="*/ 100 h 1320"/>
                <a:gd name="T96" fmla="*/ 122 w 1554"/>
                <a:gd name="T97" fmla="*/ 102 h 1320"/>
                <a:gd name="T98" fmla="*/ 118 w 1554"/>
                <a:gd name="T99" fmla="*/ 105 h 1320"/>
                <a:gd name="T100" fmla="*/ 114 w 1554"/>
                <a:gd name="T101" fmla="*/ 107 h 1320"/>
                <a:gd name="T102" fmla="*/ 113 w 1554"/>
                <a:gd name="T103" fmla="*/ 113 h 1320"/>
                <a:gd name="T104" fmla="*/ 104 w 1554"/>
                <a:gd name="T105" fmla="*/ 113 h 1320"/>
                <a:gd name="T106" fmla="*/ 93 w 1554"/>
                <a:gd name="T107" fmla="*/ 109 h 1320"/>
                <a:gd name="T108" fmla="*/ 96 w 1554"/>
                <a:gd name="T109" fmla="*/ 103 h 1320"/>
                <a:gd name="T110" fmla="*/ 95 w 1554"/>
                <a:gd name="T111" fmla="*/ 97 h 1320"/>
                <a:gd name="T112" fmla="*/ 87 w 1554"/>
                <a:gd name="T113" fmla="*/ 98 h 1320"/>
                <a:gd name="T114" fmla="*/ 81 w 1554"/>
                <a:gd name="T115" fmla="*/ 98 h 1320"/>
                <a:gd name="T116" fmla="*/ 78 w 1554"/>
                <a:gd name="T117" fmla="*/ 93 h 1320"/>
                <a:gd name="T118" fmla="*/ 65 w 1554"/>
                <a:gd name="T119" fmla="*/ 92 h 1320"/>
                <a:gd name="T120" fmla="*/ 59 w 1554"/>
                <a:gd name="T121" fmla="*/ 92 h 13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54"/>
                <a:gd name="T184" fmla="*/ 0 h 1320"/>
                <a:gd name="T185" fmla="*/ 1554 w 1554"/>
                <a:gd name="T186" fmla="*/ 1320 h 132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54" h="1320">
                  <a:moveTo>
                    <a:pt x="684" y="1068"/>
                  </a:moveTo>
                  <a:lnTo>
                    <a:pt x="684" y="1062"/>
                  </a:lnTo>
                  <a:lnTo>
                    <a:pt x="690" y="1056"/>
                  </a:lnTo>
                  <a:lnTo>
                    <a:pt x="690" y="1050"/>
                  </a:lnTo>
                  <a:lnTo>
                    <a:pt x="690" y="1044"/>
                  </a:lnTo>
                  <a:lnTo>
                    <a:pt x="690" y="1038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14"/>
                  </a:lnTo>
                  <a:lnTo>
                    <a:pt x="690" y="1008"/>
                  </a:lnTo>
                  <a:lnTo>
                    <a:pt x="696" y="996"/>
                  </a:lnTo>
                  <a:lnTo>
                    <a:pt x="714" y="996"/>
                  </a:lnTo>
                  <a:lnTo>
                    <a:pt x="714" y="990"/>
                  </a:lnTo>
                  <a:lnTo>
                    <a:pt x="732" y="984"/>
                  </a:lnTo>
                  <a:lnTo>
                    <a:pt x="744" y="978"/>
                  </a:lnTo>
                  <a:lnTo>
                    <a:pt x="762" y="966"/>
                  </a:lnTo>
                  <a:lnTo>
                    <a:pt x="762" y="960"/>
                  </a:lnTo>
                  <a:lnTo>
                    <a:pt x="768" y="954"/>
                  </a:lnTo>
                  <a:lnTo>
                    <a:pt x="774" y="948"/>
                  </a:lnTo>
                  <a:lnTo>
                    <a:pt x="774" y="942"/>
                  </a:lnTo>
                  <a:lnTo>
                    <a:pt x="774" y="924"/>
                  </a:lnTo>
                  <a:lnTo>
                    <a:pt x="768" y="918"/>
                  </a:lnTo>
                  <a:lnTo>
                    <a:pt x="756" y="918"/>
                  </a:lnTo>
                  <a:lnTo>
                    <a:pt x="744" y="918"/>
                  </a:lnTo>
                  <a:lnTo>
                    <a:pt x="732" y="924"/>
                  </a:lnTo>
                  <a:lnTo>
                    <a:pt x="726" y="912"/>
                  </a:lnTo>
                  <a:lnTo>
                    <a:pt x="720" y="912"/>
                  </a:lnTo>
                  <a:lnTo>
                    <a:pt x="720" y="900"/>
                  </a:lnTo>
                  <a:lnTo>
                    <a:pt x="720" y="870"/>
                  </a:lnTo>
                  <a:lnTo>
                    <a:pt x="696" y="876"/>
                  </a:lnTo>
                  <a:lnTo>
                    <a:pt x="690" y="852"/>
                  </a:lnTo>
                  <a:lnTo>
                    <a:pt x="702" y="852"/>
                  </a:lnTo>
                  <a:lnTo>
                    <a:pt x="702" y="840"/>
                  </a:lnTo>
                  <a:lnTo>
                    <a:pt x="708" y="834"/>
                  </a:lnTo>
                  <a:lnTo>
                    <a:pt x="702" y="822"/>
                  </a:lnTo>
                  <a:lnTo>
                    <a:pt x="660" y="822"/>
                  </a:lnTo>
                  <a:lnTo>
                    <a:pt x="654" y="822"/>
                  </a:lnTo>
                  <a:lnTo>
                    <a:pt x="642" y="822"/>
                  </a:lnTo>
                  <a:lnTo>
                    <a:pt x="642" y="810"/>
                  </a:lnTo>
                  <a:lnTo>
                    <a:pt x="642" y="798"/>
                  </a:lnTo>
                  <a:lnTo>
                    <a:pt x="642" y="792"/>
                  </a:lnTo>
                  <a:lnTo>
                    <a:pt x="648" y="780"/>
                  </a:lnTo>
                  <a:lnTo>
                    <a:pt x="654" y="774"/>
                  </a:lnTo>
                  <a:lnTo>
                    <a:pt x="660" y="774"/>
                  </a:lnTo>
                  <a:lnTo>
                    <a:pt x="672" y="762"/>
                  </a:lnTo>
                  <a:lnTo>
                    <a:pt x="672" y="756"/>
                  </a:lnTo>
                  <a:lnTo>
                    <a:pt x="678" y="750"/>
                  </a:lnTo>
                  <a:lnTo>
                    <a:pt x="684" y="750"/>
                  </a:lnTo>
                  <a:lnTo>
                    <a:pt x="690" y="744"/>
                  </a:lnTo>
                  <a:lnTo>
                    <a:pt x="696" y="732"/>
                  </a:lnTo>
                  <a:lnTo>
                    <a:pt x="696" y="726"/>
                  </a:lnTo>
                  <a:lnTo>
                    <a:pt x="702" y="714"/>
                  </a:lnTo>
                  <a:lnTo>
                    <a:pt x="696" y="708"/>
                  </a:lnTo>
                  <a:lnTo>
                    <a:pt x="690" y="690"/>
                  </a:lnTo>
                  <a:lnTo>
                    <a:pt x="696" y="678"/>
                  </a:lnTo>
                  <a:lnTo>
                    <a:pt x="708" y="672"/>
                  </a:lnTo>
                  <a:lnTo>
                    <a:pt x="708" y="660"/>
                  </a:lnTo>
                  <a:lnTo>
                    <a:pt x="702" y="660"/>
                  </a:lnTo>
                  <a:lnTo>
                    <a:pt x="696" y="660"/>
                  </a:lnTo>
                  <a:lnTo>
                    <a:pt x="690" y="654"/>
                  </a:lnTo>
                  <a:lnTo>
                    <a:pt x="684" y="654"/>
                  </a:lnTo>
                  <a:lnTo>
                    <a:pt x="690" y="606"/>
                  </a:lnTo>
                  <a:lnTo>
                    <a:pt x="660" y="606"/>
                  </a:lnTo>
                  <a:lnTo>
                    <a:pt x="660" y="612"/>
                  </a:lnTo>
                  <a:lnTo>
                    <a:pt x="648" y="612"/>
                  </a:lnTo>
                  <a:lnTo>
                    <a:pt x="642" y="636"/>
                  </a:lnTo>
                  <a:lnTo>
                    <a:pt x="636" y="636"/>
                  </a:lnTo>
                  <a:lnTo>
                    <a:pt x="630" y="648"/>
                  </a:lnTo>
                  <a:lnTo>
                    <a:pt x="612" y="648"/>
                  </a:lnTo>
                  <a:lnTo>
                    <a:pt x="606" y="636"/>
                  </a:lnTo>
                  <a:lnTo>
                    <a:pt x="600" y="630"/>
                  </a:lnTo>
                  <a:lnTo>
                    <a:pt x="588" y="606"/>
                  </a:lnTo>
                  <a:lnTo>
                    <a:pt x="552" y="606"/>
                  </a:lnTo>
                  <a:lnTo>
                    <a:pt x="552" y="612"/>
                  </a:lnTo>
                  <a:lnTo>
                    <a:pt x="540" y="612"/>
                  </a:lnTo>
                  <a:lnTo>
                    <a:pt x="540" y="606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16" y="612"/>
                  </a:lnTo>
                  <a:lnTo>
                    <a:pt x="516" y="582"/>
                  </a:lnTo>
                  <a:lnTo>
                    <a:pt x="522" y="576"/>
                  </a:lnTo>
                  <a:lnTo>
                    <a:pt x="528" y="576"/>
                  </a:lnTo>
                  <a:lnTo>
                    <a:pt x="528" y="552"/>
                  </a:lnTo>
                  <a:lnTo>
                    <a:pt x="522" y="540"/>
                  </a:lnTo>
                  <a:lnTo>
                    <a:pt x="510" y="528"/>
                  </a:lnTo>
                  <a:lnTo>
                    <a:pt x="486" y="510"/>
                  </a:lnTo>
                  <a:lnTo>
                    <a:pt x="480" y="498"/>
                  </a:lnTo>
                  <a:lnTo>
                    <a:pt x="480" y="474"/>
                  </a:lnTo>
                  <a:lnTo>
                    <a:pt x="492" y="468"/>
                  </a:lnTo>
                  <a:lnTo>
                    <a:pt x="486" y="450"/>
                  </a:lnTo>
                  <a:lnTo>
                    <a:pt x="474" y="456"/>
                  </a:lnTo>
                  <a:lnTo>
                    <a:pt x="468" y="456"/>
                  </a:lnTo>
                  <a:lnTo>
                    <a:pt x="462" y="456"/>
                  </a:lnTo>
                  <a:lnTo>
                    <a:pt x="456" y="468"/>
                  </a:lnTo>
                  <a:lnTo>
                    <a:pt x="456" y="474"/>
                  </a:lnTo>
                  <a:lnTo>
                    <a:pt x="450" y="480"/>
                  </a:lnTo>
                  <a:lnTo>
                    <a:pt x="444" y="450"/>
                  </a:lnTo>
                  <a:lnTo>
                    <a:pt x="438" y="450"/>
                  </a:lnTo>
                  <a:lnTo>
                    <a:pt x="432" y="450"/>
                  </a:lnTo>
                  <a:lnTo>
                    <a:pt x="420" y="450"/>
                  </a:lnTo>
                  <a:lnTo>
                    <a:pt x="420" y="456"/>
                  </a:lnTo>
                  <a:lnTo>
                    <a:pt x="414" y="456"/>
                  </a:lnTo>
                  <a:lnTo>
                    <a:pt x="408" y="468"/>
                  </a:lnTo>
                  <a:lnTo>
                    <a:pt x="402" y="468"/>
                  </a:lnTo>
                  <a:lnTo>
                    <a:pt x="396" y="474"/>
                  </a:lnTo>
                  <a:lnTo>
                    <a:pt x="390" y="492"/>
                  </a:lnTo>
                  <a:lnTo>
                    <a:pt x="384" y="504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54" y="510"/>
                  </a:lnTo>
                  <a:lnTo>
                    <a:pt x="360" y="480"/>
                  </a:lnTo>
                  <a:lnTo>
                    <a:pt x="360" y="474"/>
                  </a:lnTo>
                  <a:lnTo>
                    <a:pt x="378" y="456"/>
                  </a:lnTo>
                  <a:lnTo>
                    <a:pt x="384" y="450"/>
                  </a:lnTo>
                  <a:lnTo>
                    <a:pt x="396" y="444"/>
                  </a:lnTo>
                  <a:lnTo>
                    <a:pt x="402" y="438"/>
                  </a:lnTo>
                  <a:lnTo>
                    <a:pt x="408" y="438"/>
                  </a:lnTo>
                  <a:lnTo>
                    <a:pt x="408" y="426"/>
                  </a:lnTo>
                  <a:lnTo>
                    <a:pt x="414" y="420"/>
                  </a:lnTo>
                  <a:lnTo>
                    <a:pt x="426" y="420"/>
                  </a:lnTo>
                  <a:lnTo>
                    <a:pt x="426" y="408"/>
                  </a:lnTo>
                  <a:lnTo>
                    <a:pt x="420" y="390"/>
                  </a:lnTo>
                  <a:lnTo>
                    <a:pt x="408" y="384"/>
                  </a:lnTo>
                  <a:lnTo>
                    <a:pt x="378" y="378"/>
                  </a:lnTo>
                  <a:lnTo>
                    <a:pt x="354" y="366"/>
                  </a:lnTo>
                  <a:lnTo>
                    <a:pt x="342" y="360"/>
                  </a:lnTo>
                  <a:lnTo>
                    <a:pt x="342" y="348"/>
                  </a:lnTo>
                  <a:lnTo>
                    <a:pt x="336" y="330"/>
                  </a:lnTo>
                  <a:lnTo>
                    <a:pt x="348" y="306"/>
                  </a:lnTo>
                  <a:lnTo>
                    <a:pt x="360" y="294"/>
                  </a:lnTo>
                  <a:lnTo>
                    <a:pt x="360" y="282"/>
                  </a:lnTo>
                  <a:lnTo>
                    <a:pt x="342" y="270"/>
                  </a:lnTo>
                  <a:lnTo>
                    <a:pt x="342" y="264"/>
                  </a:lnTo>
                  <a:lnTo>
                    <a:pt x="330" y="264"/>
                  </a:lnTo>
                  <a:lnTo>
                    <a:pt x="312" y="270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88" y="270"/>
                  </a:lnTo>
                  <a:lnTo>
                    <a:pt x="282" y="270"/>
                  </a:lnTo>
                  <a:lnTo>
                    <a:pt x="276" y="264"/>
                  </a:lnTo>
                  <a:lnTo>
                    <a:pt x="270" y="264"/>
                  </a:lnTo>
                  <a:lnTo>
                    <a:pt x="252" y="270"/>
                  </a:lnTo>
                  <a:lnTo>
                    <a:pt x="246" y="270"/>
                  </a:lnTo>
                  <a:lnTo>
                    <a:pt x="240" y="270"/>
                  </a:lnTo>
                  <a:lnTo>
                    <a:pt x="228" y="270"/>
                  </a:lnTo>
                  <a:lnTo>
                    <a:pt x="216" y="276"/>
                  </a:lnTo>
                  <a:lnTo>
                    <a:pt x="210" y="270"/>
                  </a:lnTo>
                  <a:lnTo>
                    <a:pt x="204" y="270"/>
                  </a:lnTo>
                  <a:lnTo>
                    <a:pt x="198" y="276"/>
                  </a:lnTo>
                  <a:lnTo>
                    <a:pt x="192" y="276"/>
                  </a:lnTo>
                  <a:lnTo>
                    <a:pt x="186" y="282"/>
                  </a:lnTo>
                  <a:lnTo>
                    <a:pt x="180" y="288"/>
                  </a:lnTo>
                  <a:lnTo>
                    <a:pt x="174" y="300"/>
                  </a:lnTo>
                  <a:lnTo>
                    <a:pt x="168" y="306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8" y="330"/>
                  </a:lnTo>
                  <a:lnTo>
                    <a:pt x="162" y="336"/>
                  </a:lnTo>
                  <a:lnTo>
                    <a:pt x="156" y="342"/>
                  </a:lnTo>
                  <a:lnTo>
                    <a:pt x="156" y="348"/>
                  </a:lnTo>
                  <a:lnTo>
                    <a:pt x="156" y="354"/>
                  </a:lnTo>
                  <a:lnTo>
                    <a:pt x="150" y="366"/>
                  </a:lnTo>
                  <a:lnTo>
                    <a:pt x="150" y="372"/>
                  </a:lnTo>
                  <a:lnTo>
                    <a:pt x="144" y="366"/>
                  </a:lnTo>
                  <a:lnTo>
                    <a:pt x="132" y="366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20" y="348"/>
                  </a:lnTo>
                  <a:lnTo>
                    <a:pt x="102" y="330"/>
                  </a:lnTo>
                  <a:lnTo>
                    <a:pt x="96" y="318"/>
                  </a:lnTo>
                  <a:lnTo>
                    <a:pt x="96" y="282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0" y="258"/>
                  </a:lnTo>
                  <a:lnTo>
                    <a:pt x="84" y="252"/>
                  </a:lnTo>
                  <a:lnTo>
                    <a:pt x="66" y="258"/>
                  </a:lnTo>
                  <a:lnTo>
                    <a:pt x="60" y="246"/>
                  </a:lnTo>
                  <a:lnTo>
                    <a:pt x="30" y="252"/>
                  </a:lnTo>
                  <a:lnTo>
                    <a:pt x="18" y="246"/>
                  </a:lnTo>
                  <a:lnTo>
                    <a:pt x="0" y="240"/>
                  </a:lnTo>
                  <a:lnTo>
                    <a:pt x="0" y="234"/>
                  </a:lnTo>
                  <a:lnTo>
                    <a:pt x="0" y="210"/>
                  </a:lnTo>
                  <a:lnTo>
                    <a:pt x="6" y="204"/>
                  </a:lnTo>
                  <a:lnTo>
                    <a:pt x="18" y="192"/>
                  </a:lnTo>
                  <a:lnTo>
                    <a:pt x="18" y="144"/>
                  </a:lnTo>
                  <a:lnTo>
                    <a:pt x="24" y="126"/>
                  </a:lnTo>
                  <a:lnTo>
                    <a:pt x="36" y="126"/>
                  </a:lnTo>
                  <a:lnTo>
                    <a:pt x="54" y="120"/>
                  </a:lnTo>
                  <a:lnTo>
                    <a:pt x="54" y="126"/>
                  </a:lnTo>
                  <a:lnTo>
                    <a:pt x="132" y="114"/>
                  </a:lnTo>
                  <a:lnTo>
                    <a:pt x="144" y="120"/>
                  </a:lnTo>
                  <a:lnTo>
                    <a:pt x="150" y="132"/>
                  </a:lnTo>
                  <a:lnTo>
                    <a:pt x="180" y="126"/>
                  </a:lnTo>
                  <a:lnTo>
                    <a:pt x="210" y="120"/>
                  </a:lnTo>
                  <a:lnTo>
                    <a:pt x="240" y="120"/>
                  </a:lnTo>
                  <a:lnTo>
                    <a:pt x="258" y="120"/>
                  </a:lnTo>
                  <a:lnTo>
                    <a:pt x="270" y="126"/>
                  </a:lnTo>
                  <a:lnTo>
                    <a:pt x="276" y="132"/>
                  </a:lnTo>
                  <a:lnTo>
                    <a:pt x="282" y="138"/>
                  </a:lnTo>
                  <a:lnTo>
                    <a:pt x="282" y="156"/>
                  </a:lnTo>
                  <a:lnTo>
                    <a:pt x="288" y="186"/>
                  </a:lnTo>
                  <a:lnTo>
                    <a:pt x="312" y="192"/>
                  </a:lnTo>
                  <a:lnTo>
                    <a:pt x="318" y="198"/>
                  </a:lnTo>
                  <a:lnTo>
                    <a:pt x="324" y="204"/>
                  </a:lnTo>
                  <a:lnTo>
                    <a:pt x="330" y="210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66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86" y="210"/>
                  </a:lnTo>
                  <a:lnTo>
                    <a:pt x="498" y="198"/>
                  </a:lnTo>
                  <a:lnTo>
                    <a:pt x="504" y="174"/>
                  </a:lnTo>
                  <a:lnTo>
                    <a:pt x="516" y="162"/>
                  </a:lnTo>
                  <a:lnTo>
                    <a:pt x="516" y="138"/>
                  </a:lnTo>
                  <a:lnTo>
                    <a:pt x="522" y="132"/>
                  </a:lnTo>
                  <a:lnTo>
                    <a:pt x="564" y="132"/>
                  </a:lnTo>
                  <a:lnTo>
                    <a:pt x="564" y="114"/>
                  </a:lnTo>
                  <a:lnTo>
                    <a:pt x="582" y="114"/>
                  </a:lnTo>
                  <a:lnTo>
                    <a:pt x="594" y="114"/>
                  </a:lnTo>
                  <a:lnTo>
                    <a:pt x="606" y="114"/>
                  </a:lnTo>
                  <a:lnTo>
                    <a:pt x="612" y="114"/>
                  </a:lnTo>
                  <a:lnTo>
                    <a:pt x="630" y="114"/>
                  </a:lnTo>
                  <a:lnTo>
                    <a:pt x="636" y="114"/>
                  </a:lnTo>
                  <a:lnTo>
                    <a:pt x="648" y="114"/>
                  </a:lnTo>
                  <a:lnTo>
                    <a:pt x="654" y="114"/>
                  </a:lnTo>
                  <a:lnTo>
                    <a:pt x="660" y="120"/>
                  </a:lnTo>
                  <a:lnTo>
                    <a:pt x="672" y="120"/>
                  </a:lnTo>
                  <a:lnTo>
                    <a:pt x="684" y="120"/>
                  </a:lnTo>
                  <a:lnTo>
                    <a:pt x="690" y="120"/>
                  </a:lnTo>
                  <a:lnTo>
                    <a:pt x="702" y="120"/>
                  </a:lnTo>
                  <a:lnTo>
                    <a:pt x="708" y="120"/>
                  </a:lnTo>
                  <a:lnTo>
                    <a:pt x="726" y="126"/>
                  </a:lnTo>
                  <a:lnTo>
                    <a:pt x="732" y="126"/>
                  </a:lnTo>
                  <a:lnTo>
                    <a:pt x="738" y="126"/>
                  </a:lnTo>
                  <a:lnTo>
                    <a:pt x="750" y="126"/>
                  </a:lnTo>
                  <a:lnTo>
                    <a:pt x="756" y="126"/>
                  </a:lnTo>
                  <a:lnTo>
                    <a:pt x="768" y="126"/>
                  </a:lnTo>
                  <a:lnTo>
                    <a:pt x="780" y="126"/>
                  </a:lnTo>
                  <a:lnTo>
                    <a:pt x="786" y="120"/>
                  </a:lnTo>
                  <a:lnTo>
                    <a:pt x="792" y="120"/>
                  </a:lnTo>
                  <a:lnTo>
                    <a:pt x="810" y="120"/>
                  </a:lnTo>
                  <a:lnTo>
                    <a:pt x="822" y="120"/>
                  </a:lnTo>
                  <a:lnTo>
                    <a:pt x="846" y="126"/>
                  </a:lnTo>
                  <a:lnTo>
                    <a:pt x="858" y="126"/>
                  </a:lnTo>
                  <a:lnTo>
                    <a:pt x="870" y="132"/>
                  </a:lnTo>
                  <a:lnTo>
                    <a:pt x="882" y="132"/>
                  </a:lnTo>
                  <a:lnTo>
                    <a:pt x="894" y="132"/>
                  </a:lnTo>
                  <a:lnTo>
                    <a:pt x="900" y="132"/>
                  </a:lnTo>
                  <a:lnTo>
                    <a:pt x="912" y="132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36" y="132"/>
                  </a:lnTo>
                  <a:lnTo>
                    <a:pt x="960" y="132"/>
                  </a:lnTo>
                  <a:lnTo>
                    <a:pt x="966" y="144"/>
                  </a:lnTo>
                  <a:lnTo>
                    <a:pt x="972" y="144"/>
                  </a:lnTo>
                  <a:lnTo>
                    <a:pt x="1002" y="144"/>
                  </a:lnTo>
                  <a:lnTo>
                    <a:pt x="1020" y="144"/>
                  </a:lnTo>
                  <a:lnTo>
                    <a:pt x="1068" y="138"/>
                  </a:lnTo>
                  <a:lnTo>
                    <a:pt x="1110" y="132"/>
                  </a:lnTo>
                  <a:lnTo>
                    <a:pt x="1110" y="126"/>
                  </a:lnTo>
                  <a:lnTo>
                    <a:pt x="1116" y="120"/>
                  </a:lnTo>
                  <a:lnTo>
                    <a:pt x="1122" y="108"/>
                  </a:lnTo>
                  <a:lnTo>
                    <a:pt x="1134" y="96"/>
                  </a:lnTo>
                  <a:lnTo>
                    <a:pt x="1146" y="60"/>
                  </a:lnTo>
                  <a:lnTo>
                    <a:pt x="1158" y="54"/>
                  </a:lnTo>
                  <a:lnTo>
                    <a:pt x="1170" y="48"/>
                  </a:lnTo>
                  <a:lnTo>
                    <a:pt x="1188" y="42"/>
                  </a:lnTo>
                  <a:lnTo>
                    <a:pt x="1200" y="36"/>
                  </a:lnTo>
                  <a:lnTo>
                    <a:pt x="1212" y="36"/>
                  </a:lnTo>
                  <a:lnTo>
                    <a:pt x="1236" y="30"/>
                  </a:lnTo>
                  <a:lnTo>
                    <a:pt x="1236" y="24"/>
                  </a:lnTo>
                  <a:lnTo>
                    <a:pt x="1278" y="18"/>
                  </a:lnTo>
                  <a:lnTo>
                    <a:pt x="1290" y="18"/>
                  </a:lnTo>
                  <a:lnTo>
                    <a:pt x="1302" y="12"/>
                  </a:lnTo>
                  <a:lnTo>
                    <a:pt x="1314" y="0"/>
                  </a:lnTo>
                  <a:lnTo>
                    <a:pt x="1332" y="0"/>
                  </a:lnTo>
                  <a:lnTo>
                    <a:pt x="1338" y="24"/>
                  </a:lnTo>
                  <a:lnTo>
                    <a:pt x="1344" y="30"/>
                  </a:lnTo>
                  <a:lnTo>
                    <a:pt x="1350" y="42"/>
                  </a:lnTo>
                  <a:lnTo>
                    <a:pt x="1356" y="48"/>
                  </a:lnTo>
                  <a:lnTo>
                    <a:pt x="1356" y="78"/>
                  </a:lnTo>
                  <a:lnTo>
                    <a:pt x="1350" y="96"/>
                  </a:lnTo>
                  <a:lnTo>
                    <a:pt x="1338" y="108"/>
                  </a:lnTo>
                  <a:lnTo>
                    <a:pt x="1338" y="114"/>
                  </a:lnTo>
                  <a:lnTo>
                    <a:pt x="1338" y="120"/>
                  </a:lnTo>
                  <a:lnTo>
                    <a:pt x="1338" y="126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398" y="114"/>
                  </a:lnTo>
                  <a:lnTo>
                    <a:pt x="1416" y="120"/>
                  </a:lnTo>
                  <a:lnTo>
                    <a:pt x="1434" y="126"/>
                  </a:lnTo>
                  <a:lnTo>
                    <a:pt x="1458" y="132"/>
                  </a:lnTo>
                  <a:lnTo>
                    <a:pt x="1458" y="138"/>
                  </a:lnTo>
                  <a:lnTo>
                    <a:pt x="1512" y="138"/>
                  </a:lnTo>
                  <a:lnTo>
                    <a:pt x="1512" y="132"/>
                  </a:lnTo>
                  <a:lnTo>
                    <a:pt x="1524" y="138"/>
                  </a:lnTo>
                  <a:lnTo>
                    <a:pt x="1542" y="138"/>
                  </a:lnTo>
                  <a:lnTo>
                    <a:pt x="1542" y="150"/>
                  </a:lnTo>
                  <a:lnTo>
                    <a:pt x="1542" y="162"/>
                  </a:lnTo>
                  <a:lnTo>
                    <a:pt x="1548" y="174"/>
                  </a:lnTo>
                  <a:lnTo>
                    <a:pt x="1548" y="180"/>
                  </a:lnTo>
                  <a:lnTo>
                    <a:pt x="1554" y="222"/>
                  </a:lnTo>
                  <a:lnTo>
                    <a:pt x="1554" y="258"/>
                  </a:lnTo>
                  <a:lnTo>
                    <a:pt x="1554" y="276"/>
                  </a:lnTo>
                  <a:lnTo>
                    <a:pt x="1554" y="282"/>
                  </a:lnTo>
                  <a:lnTo>
                    <a:pt x="1554" y="294"/>
                  </a:lnTo>
                  <a:lnTo>
                    <a:pt x="1554" y="306"/>
                  </a:lnTo>
                  <a:lnTo>
                    <a:pt x="1554" y="324"/>
                  </a:lnTo>
                  <a:lnTo>
                    <a:pt x="1554" y="330"/>
                  </a:lnTo>
                  <a:lnTo>
                    <a:pt x="1548" y="330"/>
                  </a:lnTo>
                  <a:lnTo>
                    <a:pt x="1548" y="336"/>
                  </a:lnTo>
                  <a:lnTo>
                    <a:pt x="1548" y="342"/>
                  </a:lnTo>
                  <a:lnTo>
                    <a:pt x="1542" y="336"/>
                  </a:lnTo>
                  <a:lnTo>
                    <a:pt x="1542" y="330"/>
                  </a:lnTo>
                  <a:lnTo>
                    <a:pt x="1536" y="330"/>
                  </a:lnTo>
                  <a:lnTo>
                    <a:pt x="1530" y="330"/>
                  </a:lnTo>
                  <a:lnTo>
                    <a:pt x="1530" y="336"/>
                  </a:lnTo>
                  <a:lnTo>
                    <a:pt x="1536" y="342"/>
                  </a:lnTo>
                  <a:lnTo>
                    <a:pt x="1530" y="342"/>
                  </a:lnTo>
                  <a:lnTo>
                    <a:pt x="1518" y="348"/>
                  </a:lnTo>
                  <a:lnTo>
                    <a:pt x="1512" y="354"/>
                  </a:lnTo>
                  <a:lnTo>
                    <a:pt x="1506" y="354"/>
                  </a:lnTo>
                  <a:lnTo>
                    <a:pt x="1500" y="354"/>
                  </a:lnTo>
                  <a:lnTo>
                    <a:pt x="1494" y="354"/>
                  </a:lnTo>
                  <a:lnTo>
                    <a:pt x="1494" y="360"/>
                  </a:lnTo>
                  <a:lnTo>
                    <a:pt x="1488" y="360"/>
                  </a:lnTo>
                  <a:lnTo>
                    <a:pt x="1488" y="366"/>
                  </a:lnTo>
                  <a:lnTo>
                    <a:pt x="1488" y="372"/>
                  </a:lnTo>
                  <a:lnTo>
                    <a:pt x="1482" y="372"/>
                  </a:lnTo>
                  <a:lnTo>
                    <a:pt x="1476" y="372"/>
                  </a:lnTo>
                  <a:lnTo>
                    <a:pt x="1470" y="372"/>
                  </a:lnTo>
                  <a:lnTo>
                    <a:pt x="1470" y="378"/>
                  </a:lnTo>
                  <a:lnTo>
                    <a:pt x="1470" y="384"/>
                  </a:lnTo>
                  <a:lnTo>
                    <a:pt x="1470" y="390"/>
                  </a:lnTo>
                  <a:lnTo>
                    <a:pt x="1464" y="402"/>
                  </a:lnTo>
                  <a:lnTo>
                    <a:pt x="1446" y="402"/>
                  </a:lnTo>
                  <a:lnTo>
                    <a:pt x="1440" y="372"/>
                  </a:lnTo>
                  <a:lnTo>
                    <a:pt x="1410" y="372"/>
                  </a:lnTo>
                  <a:lnTo>
                    <a:pt x="1380" y="372"/>
                  </a:lnTo>
                  <a:lnTo>
                    <a:pt x="1374" y="372"/>
                  </a:lnTo>
                  <a:lnTo>
                    <a:pt x="1368" y="378"/>
                  </a:lnTo>
                  <a:lnTo>
                    <a:pt x="1362" y="378"/>
                  </a:lnTo>
                  <a:lnTo>
                    <a:pt x="1356" y="378"/>
                  </a:lnTo>
                  <a:lnTo>
                    <a:pt x="1350" y="384"/>
                  </a:lnTo>
                  <a:lnTo>
                    <a:pt x="1350" y="390"/>
                  </a:lnTo>
                  <a:lnTo>
                    <a:pt x="1344" y="390"/>
                  </a:lnTo>
                  <a:lnTo>
                    <a:pt x="1338" y="390"/>
                  </a:lnTo>
                  <a:lnTo>
                    <a:pt x="1332" y="390"/>
                  </a:lnTo>
                  <a:lnTo>
                    <a:pt x="1332" y="396"/>
                  </a:lnTo>
                  <a:lnTo>
                    <a:pt x="1332" y="390"/>
                  </a:lnTo>
                  <a:lnTo>
                    <a:pt x="1326" y="402"/>
                  </a:lnTo>
                  <a:lnTo>
                    <a:pt x="1320" y="402"/>
                  </a:lnTo>
                  <a:lnTo>
                    <a:pt x="1302" y="474"/>
                  </a:lnTo>
                  <a:lnTo>
                    <a:pt x="1308" y="480"/>
                  </a:lnTo>
                  <a:lnTo>
                    <a:pt x="1314" y="480"/>
                  </a:lnTo>
                  <a:lnTo>
                    <a:pt x="1308" y="498"/>
                  </a:lnTo>
                  <a:lnTo>
                    <a:pt x="1308" y="504"/>
                  </a:lnTo>
                  <a:lnTo>
                    <a:pt x="1314" y="510"/>
                  </a:lnTo>
                  <a:lnTo>
                    <a:pt x="1308" y="510"/>
                  </a:lnTo>
                  <a:lnTo>
                    <a:pt x="1308" y="516"/>
                  </a:lnTo>
                  <a:lnTo>
                    <a:pt x="1302" y="516"/>
                  </a:lnTo>
                  <a:lnTo>
                    <a:pt x="1296" y="510"/>
                  </a:lnTo>
                  <a:lnTo>
                    <a:pt x="1296" y="516"/>
                  </a:lnTo>
                  <a:lnTo>
                    <a:pt x="1290" y="540"/>
                  </a:lnTo>
                  <a:lnTo>
                    <a:pt x="1290" y="552"/>
                  </a:lnTo>
                  <a:lnTo>
                    <a:pt x="1284" y="558"/>
                  </a:lnTo>
                  <a:lnTo>
                    <a:pt x="1290" y="576"/>
                  </a:lnTo>
                  <a:lnTo>
                    <a:pt x="1290" y="600"/>
                  </a:lnTo>
                  <a:lnTo>
                    <a:pt x="1284" y="618"/>
                  </a:lnTo>
                  <a:lnTo>
                    <a:pt x="1290" y="624"/>
                  </a:lnTo>
                  <a:lnTo>
                    <a:pt x="1284" y="630"/>
                  </a:lnTo>
                  <a:lnTo>
                    <a:pt x="1278" y="630"/>
                  </a:lnTo>
                  <a:lnTo>
                    <a:pt x="1272" y="630"/>
                  </a:lnTo>
                  <a:lnTo>
                    <a:pt x="1266" y="636"/>
                  </a:lnTo>
                  <a:lnTo>
                    <a:pt x="1260" y="642"/>
                  </a:lnTo>
                  <a:lnTo>
                    <a:pt x="1260" y="636"/>
                  </a:lnTo>
                  <a:lnTo>
                    <a:pt x="1254" y="636"/>
                  </a:lnTo>
                  <a:lnTo>
                    <a:pt x="1248" y="636"/>
                  </a:lnTo>
                  <a:lnTo>
                    <a:pt x="1248" y="642"/>
                  </a:lnTo>
                  <a:lnTo>
                    <a:pt x="1242" y="642"/>
                  </a:lnTo>
                  <a:lnTo>
                    <a:pt x="1242" y="648"/>
                  </a:lnTo>
                  <a:lnTo>
                    <a:pt x="1236" y="654"/>
                  </a:lnTo>
                  <a:lnTo>
                    <a:pt x="1230" y="654"/>
                  </a:lnTo>
                  <a:lnTo>
                    <a:pt x="1224" y="654"/>
                  </a:lnTo>
                  <a:lnTo>
                    <a:pt x="1218" y="660"/>
                  </a:lnTo>
                  <a:lnTo>
                    <a:pt x="1212" y="660"/>
                  </a:lnTo>
                  <a:lnTo>
                    <a:pt x="1206" y="660"/>
                  </a:lnTo>
                  <a:lnTo>
                    <a:pt x="1200" y="660"/>
                  </a:lnTo>
                  <a:lnTo>
                    <a:pt x="1200" y="666"/>
                  </a:lnTo>
                  <a:lnTo>
                    <a:pt x="1194" y="666"/>
                  </a:lnTo>
                  <a:lnTo>
                    <a:pt x="1188" y="666"/>
                  </a:lnTo>
                  <a:lnTo>
                    <a:pt x="1182" y="672"/>
                  </a:lnTo>
                  <a:lnTo>
                    <a:pt x="1176" y="672"/>
                  </a:lnTo>
                  <a:lnTo>
                    <a:pt x="1170" y="672"/>
                  </a:lnTo>
                  <a:lnTo>
                    <a:pt x="1164" y="678"/>
                  </a:lnTo>
                  <a:lnTo>
                    <a:pt x="1170" y="678"/>
                  </a:lnTo>
                  <a:lnTo>
                    <a:pt x="1164" y="684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52" y="684"/>
                  </a:lnTo>
                  <a:lnTo>
                    <a:pt x="1152" y="690"/>
                  </a:lnTo>
                  <a:lnTo>
                    <a:pt x="1146" y="690"/>
                  </a:lnTo>
                  <a:lnTo>
                    <a:pt x="1140" y="690"/>
                  </a:lnTo>
                  <a:lnTo>
                    <a:pt x="1134" y="696"/>
                  </a:lnTo>
                  <a:lnTo>
                    <a:pt x="1128" y="696"/>
                  </a:lnTo>
                  <a:lnTo>
                    <a:pt x="1122" y="702"/>
                  </a:lnTo>
                  <a:lnTo>
                    <a:pt x="1116" y="702"/>
                  </a:lnTo>
                  <a:lnTo>
                    <a:pt x="1110" y="708"/>
                  </a:lnTo>
                  <a:lnTo>
                    <a:pt x="1104" y="708"/>
                  </a:lnTo>
                  <a:lnTo>
                    <a:pt x="1098" y="708"/>
                  </a:lnTo>
                  <a:lnTo>
                    <a:pt x="1092" y="708"/>
                  </a:lnTo>
                  <a:lnTo>
                    <a:pt x="1092" y="714"/>
                  </a:lnTo>
                  <a:lnTo>
                    <a:pt x="1086" y="720"/>
                  </a:lnTo>
                  <a:lnTo>
                    <a:pt x="1080" y="720"/>
                  </a:lnTo>
                  <a:lnTo>
                    <a:pt x="1074" y="720"/>
                  </a:lnTo>
                  <a:lnTo>
                    <a:pt x="1068" y="720"/>
                  </a:lnTo>
                  <a:lnTo>
                    <a:pt x="1062" y="720"/>
                  </a:lnTo>
                  <a:lnTo>
                    <a:pt x="1050" y="726"/>
                  </a:lnTo>
                  <a:lnTo>
                    <a:pt x="1044" y="726"/>
                  </a:lnTo>
                  <a:lnTo>
                    <a:pt x="1038" y="732"/>
                  </a:lnTo>
                  <a:lnTo>
                    <a:pt x="1026" y="732"/>
                  </a:lnTo>
                  <a:lnTo>
                    <a:pt x="1020" y="732"/>
                  </a:lnTo>
                  <a:lnTo>
                    <a:pt x="1014" y="738"/>
                  </a:lnTo>
                  <a:lnTo>
                    <a:pt x="1008" y="738"/>
                  </a:lnTo>
                  <a:lnTo>
                    <a:pt x="1002" y="738"/>
                  </a:lnTo>
                  <a:lnTo>
                    <a:pt x="996" y="738"/>
                  </a:lnTo>
                  <a:lnTo>
                    <a:pt x="990" y="738"/>
                  </a:lnTo>
                  <a:lnTo>
                    <a:pt x="990" y="732"/>
                  </a:lnTo>
                  <a:lnTo>
                    <a:pt x="984" y="732"/>
                  </a:lnTo>
                  <a:lnTo>
                    <a:pt x="978" y="738"/>
                  </a:lnTo>
                  <a:lnTo>
                    <a:pt x="978" y="744"/>
                  </a:lnTo>
                  <a:lnTo>
                    <a:pt x="984" y="744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8" y="756"/>
                  </a:lnTo>
                  <a:lnTo>
                    <a:pt x="972" y="756"/>
                  </a:lnTo>
                  <a:lnTo>
                    <a:pt x="972" y="762"/>
                  </a:lnTo>
                  <a:lnTo>
                    <a:pt x="966" y="768"/>
                  </a:lnTo>
                  <a:lnTo>
                    <a:pt x="966" y="762"/>
                  </a:lnTo>
                  <a:lnTo>
                    <a:pt x="960" y="762"/>
                  </a:lnTo>
                  <a:lnTo>
                    <a:pt x="954" y="768"/>
                  </a:lnTo>
                  <a:lnTo>
                    <a:pt x="954" y="774"/>
                  </a:lnTo>
                  <a:lnTo>
                    <a:pt x="948" y="774"/>
                  </a:lnTo>
                  <a:lnTo>
                    <a:pt x="948" y="780"/>
                  </a:lnTo>
                  <a:lnTo>
                    <a:pt x="948" y="786"/>
                  </a:lnTo>
                  <a:lnTo>
                    <a:pt x="942" y="786"/>
                  </a:lnTo>
                  <a:lnTo>
                    <a:pt x="942" y="792"/>
                  </a:lnTo>
                  <a:lnTo>
                    <a:pt x="936" y="792"/>
                  </a:lnTo>
                  <a:lnTo>
                    <a:pt x="942" y="798"/>
                  </a:lnTo>
                  <a:lnTo>
                    <a:pt x="942" y="804"/>
                  </a:lnTo>
                  <a:lnTo>
                    <a:pt x="942" y="810"/>
                  </a:lnTo>
                  <a:lnTo>
                    <a:pt x="948" y="810"/>
                  </a:lnTo>
                  <a:lnTo>
                    <a:pt x="942" y="816"/>
                  </a:lnTo>
                  <a:lnTo>
                    <a:pt x="948" y="816"/>
                  </a:lnTo>
                  <a:lnTo>
                    <a:pt x="948" y="822"/>
                  </a:lnTo>
                  <a:lnTo>
                    <a:pt x="954" y="822"/>
                  </a:lnTo>
                  <a:lnTo>
                    <a:pt x="960" y="828"/>
                  </a:lnTo>
                  <a:lnTo>
                    <a:pt x="960" y="834"/>
                  </a:lnTo>
                  <a:lnTo>
                    <a:pt x="966" y="834"/>
                  </a:lnTo>
                  <a:lnTo>
                    <a:pt x="960" y="840"/>
                  </a:lnTo>
                  <a:lnTo>
                    <a:pt x="966" y="846"/>
                  </a:lnTo>
                  <a:lnTo>
                    <a:pt x="966" y="840"/>
                  </a:lnTo>
                  <a:lnTo>
                    <a:pt x="972" y="840"/>
                  </a:lnTo>
                  <a:lnTo>
                    <a:pt x="990" y="840"/>
                  </a:lnTo>
                  <a:lnTo>
                    <a:pt x="1002" y="834"/>
                  </a:lnTo>
                  <a:lnTo>
                    <a:pt x="1020" y="828"/>
                  </a:lnTo>
                  <a:lnTo>
                    <a:pt x="1032" y="828"/>
                  </a:lnTo>
                  <a:lnTo>
                    <a:pt x="1050" y="828"/>
                  </a:lnTo>
                  <a:lnTo>
                    <a:pt x="1062" y="846"/>
                  </a:lnTo>
                  <a:lnTo>
                    <a:pt x="1074" y="876"/>
                  </a:lnTo>
                  <a:lnTo>
                    <a:pt x="1068" y="900"/>
                  </a:lnTo>
                  <a:lnTo>
                    <a:pt x="1074" y="912"/>
                  </a:lnTo>
                  <a:lnTo>
                    <a:pt x="1074" y="936"/>
                  </a:lnTo>
                  <a:lnTo>
                    <a:pt x="1068" y="942"/>
                  </a:lnTo>
                  <a:lnTo>
                    <a:pt x="1062" y="954"/>
                  </a:lnTo>
                  <a:lnTo>
                    <a:pt x="1056" y="978"/>
                  </a:lnTo>
                  <a:lnTo>
                    <a:pt x="1056" y="996"/>
                  </a:lnTo>
                  <a:lnTo>
                    <a:pt x="1068" y="990"/>
                  </a:lnTo>
                  <a:lnTo>
                    <a:pt x="1074" y="990"/>
                  </a:lnTo>
                  <a:lnTo>
                    <a:pt x="1074" y="1008"/>
                  </a:lnTo>
                  <a:lnTo>
                    <a:pt x="1080" y="1008"/>
                  </a:lnTo>
                  <a:lnTo>
                    <a:pt x="1092" y="1014"/>
                  </a:lnTo>
                  <a:lnTo>
                    <a:pt x="1110" y="1044"/>
                  </a:lnTo>
                  <a:lnTo>
                    <a:pt x="1110" y="1062"/>
                  </a:lnTo>
                  <a:lnTo>
                    <a:pt x="1128" y="1068"/>
                  </a:lnTo>
                  <a:lnTo>
                    <a:pt x="1128" y="1092"/>
                  </a:lnTo>
                  <a:lnTo>
                    <a:pt x="1134" y="1098"/>
                  </a:lnTo>
                  <a:lnTo>
                    <a:pt x="1158" y="1122"/>
                  </a:lnTo>
                  <a:lnTo>
                    <a:pt x="1188" y="1122"/>
                  </a:lnTo>
                  <a:lnTo>
                    <a:pt x="1188" y="1128"/>
                  </a:lnTo>
                  <a:lnTo>
                    <a:pt x="1200" y="1134"/>
                  </a:lnTo>
                  <a:lnTo>
                    <a:pt x="1206" y="1134"/>
                  </a:lnTo>
                  <a:lnTo>
                    <a:pt x="1206" y="1128"/>
                  </a:lnTo>
                  <a:lnTo>
                    <a:pt x="1212" y="1128"/>
                  </a:lnTo>
                  <a:lnTo>
                    <a:pt x="1218" y="1128"/>
                  </a:lnTo>
                  <a:lnTo>
                    <a:pt x="1224" y="1122"/>
                  </a:lnTo>
                  <a:lnTo>
                    <a:pt x="1224" y="1128"/>
                  </a:lnTo>
                  <a:lnTo>
                    <a:pt x="1230" y="1128"/>
                  </a:lnTo>
                  <a:lnTo>
                    <a:pt x="1236" y="1128"/>
                  </a:lnTo>
                  <a:lnTo>
                    <a:pt x="1236" y="1122"/>
                  </a:lnTo>
                  <a:lnTo>
                    <a:pt x="1242" y="1122"/>
                  </a:lnTo>
                  <a:lnTo>
                    <a:pt x="1248" y="1128"/>
                  </a:lnTo>
                  <a:lnTo>
                    <a:pt x="1254" y="1128"/>
                  </a:lnTo>
                  <a:lnTo>
                    <a:pt x="1260" y="1134"/>
                  </a:lnTo>
                  <a:lnTo>
                    <a:pt x="1260" y="1140"/>
                  </a:lnTo>
                  <a:lnTo>
                    <a:pt x="1266" y="1140"/>
                  </a:lnTo>
                  <a:lnTo>
                    <a:pt x="1272" y="1140"/>
                  </a:lnTo>
                  <a:lnTo>
                    <a:pt x="1278" y="1140"/>
                  </a:lnTo>
                  <a:lnTo>
                    <a:pt x="1284" y="1140"/>
                  </a:lnTo>
                  <a:lnTo>
                    <a:pt x="1290" y="1146"/>
                  </a:lnTo>
                  <a:lnTo>
                    <a:pt x="1290" y="1152"/>
                  </a:lnTo>
                  <a:lnTo>
                    <a:pt x="1296" y="1146"/>
                  </a:lnTo>
                  <a:lnTo>
                    <a:pt x="1296" y="1152"/>
                  </a:lnTo>
                  <a:lnTo>
                    <a:pt x="1308" y="1152"/>
                  </a:lnTo>
                  <a:lnTo>
                    <a:pt x="1314" y="1152"/>
                  </a:lnTo>
                  <a:lnTo>
                    <a:pt x="1320" y="1152"/>
                  </a:lnTo>
                  <a:lnTo>
                    <a:pt x="1332" y="1152"/>
                  </a:lnTo>
                  <a:lnTo>
                    <a:pt x="1338" y="1152"/>
                  </a:lnTo>
                  <a:lnTo>
                    <a:pt x="1344" y="1152"/>
                  </a:lnTo>
                  <a:lnTo>
                    <a:pt x="1344" y="1158"/>
                  </a:lnTo>
                  <a:lnTo>
                    <a:pt x="1350" y="1158"/>
                  </a:lnTo>
                  <a:lnTo>
                    <a:pt x="1356" y="1158"/>
                  </a:lnTo>
                  <a:lnTo>
                    <a:pt x="1362" y="1158"/>
                  </a:lnTo>
                  <a:lnTo>
                    <a:pt x="1368" y="1158"/>
                  </a:lnTo>
                  <a:lnTo>
                    <a:pt x="1374" y="1164"/>
                  </a:lnTo>
                  <a:lnTo>
                    <a:pt x="1380" y="1164"/>
                  </a:lnTo>
                  <a:lnTo>
                    <a:pt x="1386" y="1170"/>
                  </a:lnTo>
                  <a:lnTo>
                    <a:pt x="1392" y="1170"/>
                  </a:lnTo>
                  <a:lnTo>
                    <a:pt x="1398" y="1164"/>
                  </a:lnTo>
                  <a:lnTo>
                    <a:pt x="1404" y="1164"/>
                  </a:lnTo>
                  <a:lnTo>
                    <a:pt x="1410" y="1164"/>
                  </a:lnTo>
                  <a:lnTo>
                    <a:pt x="1416" y="1164"/>
                  </a:lnTo>
                  <a:lnTo>
                    <a:pt x="1416" y="1170"/>
                  </a:lnTo>
                  <a:lnTo>
                    <a:pt x="1422" y="1176"/>
                  </a:lnTo>
                  <a:lnTo>
                    <a:pt x="1416" y="1176"/>
                  </a:lnTo>
                  <a:lnTo>
                    <a:pt x="1416" y="1182"/>
                  </a:lnTo>
                  <a:lnTo>
                    <a:pt x="1410" y="1188"/>
                  </a:lnTo>
                  <a:lnTo>
                    <a:pt x="1404" y="1194"/>
                  </a:lnTo>
                  <a:lnTo>
                    <a:pt x="1404" y="1200"/>
                  </a:lnTo>
                  <a:lnTo>
                    <a:pt x="1404" y="1206"/>
                  </a:lnTo>
                  <a:lnTo>
                    <a:pt x="1398" y="1212"/>
                  </a:lnTo>
                  <a:lnTo>
                    <a:pt x="1398" y="1206"/>
                  </a:lnTo>
                  <a:lnTo>
                    <a:pt x="1392" y="1206"/>
                  </a:lnTo>
                  <a:lnTo>
                    <a:pt x="1386" y="1206"/>
                  </a:lnTo>
                  <a:lnTo>
                    <a:pt x="1380" y="1212"/>
                  </a:lnTo>
                  <a:lnTo>
                    <a:pt x="1374" y="1212"/>
                  </a:lnTo>
                  <a:lnTo>
                    <a:pt x="1368" y="1218"/>
                  </a:lnTo>
                  <a:lnTo>
                    <a:pt x="1362" y="1218"/>
                  </a:lnTo>
                  <a:lnTo>
                    <a:pt x="1362" y="1224"/>
                  </a:lnTo>
                  <a:lnTo>
                    <a:pt x="1356" y="1230"/>
                  </a:lnTo>
                  <a:lnTo>
                    <a:pt x="1350" y="1230"/>
                  </a:lnTo>
                  <a:lnTo>
                    <a:pt x="1344" y="1236"/>
                  </a:lnTo>
                  <a:lnTo>
                    <a:pt x="1338" y="1230"/>
                  </a:lnTo>
                  <a:lnTo>
                    <a:pt x="1332" y="1230"/>
                  </a:lnTo>
                  <a:lnTo>
                    <a:pt x="1326" y="1230"/>
                  </a:lnTo>
                  <a:lnTo>
                    <a:pt x="1320" y="1230"/>
                  </a:lnTo>
                  <a:lnTo>
                    <a:pt x="1314" y="1230"/>
                  </a:lnTo>
                  <a:lnTo>
                    <a:pt x="1296" y="1242"/>
                  </a:lnTo>
                  <a:lnTo>
                    <a:pt x="1296" y="1248"/>
                  </a:lnTo>
                  <a:lnTo>
                    <a:pt x="1290" y="1248"/>
                  </a:lnTo>
                  <a:lnTo>
                    <a:pt x="1290" y="1260"/>
                  </a:lnTo>
                  <a:lnTo>
                    <a:pt x="1278" y="1272"/>
                  </a:lnTo>
                  <a:lnTo>
                    <a:pt x="1278" y="1278"/>
                  </a:lnTo>
                  <a:lnTo>
                    <a:pt x="1278" y="1284"/>
                  </a:lnTo>
                  <a:lnTo>
                    <a:pt x="1278" y="1290"/>
                  </a:lnTo>
                  <a:lnTo>
                    <a:pt x="1284" y="1296"/>
                  </a:lnTo>
                  <a:lnTo>
                    <a:pt x="1302" y="1302"/>
                  </a:lnTo>
                  <a:lnTo>
                    <a:pt x="1308" y="1308"/>
                  </a:lnTo>
                  <a:lnTo>
                    <a:pt x="1308" y="1314"/>
                  </a:lnTo>
                  <a:lnTo>
                    <a:pt x="1302" y="1320"/>
                  </a:lnTo>
                  <a:lnTo>
                    <a:pt x="1278" y="1314"/>
                  </a:lnTo>
                  <a:lnTo>
                    <a:pt x="1266" y="1308"/>
                  </a:lnTo>
                  <a:lnTo>
                    <a:pt x="1260" y="1296"/>
                  </a:lnTo>
                  <a:lnTo>
                    <a:pt x="1236" y="1296"/>
                  </a:lnTo>
                  <a:lnTo>
                    <a:pt x="1224" y="1308"/>
                  </a:lnTo>
                  <a:lnTo>
                    <a:pt x="1218" y="1308"/>
                  </a:lnTo>
                  <a:lnTo>
                    <a:pt x="1218" y="1302"/>
                  </a:lnTo>
                  <a:lnTo>
                    <a:pt x="1212" y="1302"/>
                  </a:lnTo>
                  <a:lnTo>
                    <a:pt x="1206" y="1302"/>
                  </a:lnTo>
                  <a:lnTo>
                    <a:pt x="1170" y="1314"/>
                  </a:lnTo>
                  <a:lnTo>
                    <a:pt x="1134" y="1296"/>
                  </a:lnTo>
                  <a:lnTo>
                    <a:pt x="1122" y="1290"/>
                  </a:lnTo>
                  <a:lnTo>
                    <a:pt x="1104" y="1290"/>
                  </a:lnTo>
                  <a:lnTo>
                    <a:pt x="1098" y="1278"/>
                  </a:lnTo>
                  <a:lnTo>
                    <a:pt x="1092" y="1242"/>
                  </a:lnTo>
                  <a:lnTo>
                    <a:pt x="1086" y="1242"/>
                  </a:lnTo>
                  <a:lnTo>
                    <a:pt x="1086" y="1248"/>
                  </a:lnTo>
                  <a:lnTo>
                    <a:pt x="1086" y="1254"/>
                  </a:lnTo>
                  <a:lnTo>
                    <a:pt x="1080" y="1254"/>
                  </a:lnTo>
                  <a:lnTo>
                    <a:pt x="1080" y="1260"/>
                  </a:lnTo>
                  <a:lnTo>
                    <a:pt x="1074" y="1260"/>
                  </a:lnTo>
                  <a:lnTo>
                    <a:pt x="1068" y="1236"/>
                  </a:lnTo>
                  <a:lnTo>
                    <a:pt x="1068" y="1206"/>
                  </a:lnTo>
                  <a:lnTo>
                    <a:pt x="1080" y="1194"/>
                  </a:lnTo>
                  <a:lnTo>
                    <a:pt x="1086" y="1194"/>
                  </a:lnTo>
                  <a:lnTo>
                    <a:pt x="1092" y="1200"/>
                  </a:lnTo>
                  <a:lnTo>
                    <a:pt x="1098" y="1206"/>
                  </a:lnTo>
                  <a:lnTo>
                    <a:pt x="1104" y="1200"/>
                  </a:lnTo>
                  <a:lnTo>
                    <a:pt x="1104" y="1194"/>
                  </a:lnTo>
                  <a:lnTo>
                    <a:pt x="1110" y="1194"/>
                  </a:lnTo>
                  <a:lnTo>
                    <a:pt x="1110" y="1188"/>
                  </a:lnTo>
                  <a:lnTo>
                    <a:pt x="1116" y="1182"/>
                  </a:lnTo>
                  <a:lnTo>
                    <a:pt x="1110" y="1182"/>
                  </a:lnTo>
                  <a:lnTo>
                    <a:pt x="1110" y="1170"/>
                  </a:lnTo>
                  <a:lnTo>
                    <a:pt x="1110" y="1158"/>
                  </a:lnTo>
                  <a:lnTo>
                    <a:pt x="1110" y="1152"/>
                  </a:lnTo>
                  <a:lnTo>
                    <a:pt x="1104" y="1146"/>
                  </a:lnTo>
                  <a:lnTo>
                    <a:pt x="1098" y="1140"/>
                  </a:lnTo>
                  <a:lnTo>
                    <a:pt x="1098" y="1134"/>
                  </a:lnTo>
                  <a:lnTo>
                    <a:pt x="1098" y="1128"/>
                  </a:lnTo>
                  <a:lnTo>
                    <a:pt x="1092" y="1128"/>
                  </a:lnTo>
                  <a:lnTo>
                    <a:pt x="1092" y="1122"/>
                  </a:lnTo>
                  <a:lnTo>
                    <a:pt x="1092" y="1116"/>
                  </a:lnTo>
                  <a:lnTo>
                    <a:pt x="1092" y="1110"/>
                  </a:lnTo>
                  <a:lnTo>
                    <a:pt x="1056" y="1122"/>
                  </a:lnTo>
                  <a:lnTo>
                    <a:pt x="1038" y="1128"/>
                  </a:lnTo>
                  <a:lnTo>
                    <a:pt x="1032" y="1128"/>
                  </a:lnTo>
                  <a:lnTo>
                    <a:pt x="1026" y="1128"/>
                  </a:lnTo>
                  <a:lnTo>
                    <a:pt x="1020" y="1128"/>
                  </a:lnTo>
                  <a:lnTo>
                    <a:pt x="1014" y="1128"/>
                  </a:lnTo>
                  <a:lnTo>
                    <a:pt x="1014" y="1122"/>
                  </a:lnTo>
                  <a:lnTo>
                    <a:pt x="1008" y="1122"/>
                  </a:lnTo>
                  <a:lnTo>
                    <a:pt x="1002" y="1128"/>
                  </a:lnTo>
                  <a:lnTo>
                    <a:pt x="1002" y="1134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84" y="1140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66" y="1140"/>
                  </a:lnTo>
                  <a:lnTo>
                    <a:pt x="954" y="1140"/>
                  </a:lnTo>
                  <a:lnTo>
                    <a:pt x="954" y="1134"/>
                  </a:lnTo>
                  <a:lnTo>
                    <a:pt x="948" y="1134"/>
                  </a:lnTo>
                  <a:lnTo>
                    <a:pt x="942" y="1134"/>
                  </a:lnTo>
                  <a:lnTo>
                    <a:pt x="936" y="1134"/>
                  </a:lnTo>
                  <a:lnTo>
                    <a:pt x="930" y="1134"/>
                  </a:lnTo>
                  <a:lnTo>
                    <a:pt x="924" y="1134"/>
                  </a:lnTo>
                  <a:lnTo>
                    <a:pt x="918" y="1134"/>
                  </a:lnTo>
                  <a:lnTo>
                    <a:pt x="918" y="1128"/>
                  </a:lnTo>
                  <a:lnTo>
                    <a:pt x="918" y="1104"/>
                  </a:lnTo>
                  <a:lnTo>
                    <a:pt x="906" y="1104"/>
                  </a:lnTo>
                  <a:lnTo>
                    <a:pt x="900" y="1098"/>
                  </a:lnTo>
                  <a:lnTo>
                    <a:pt x="900" y="1092"/>
                  </a:lnTo>
                  <a:lnTo>
                    <a:pt x="900" y="1086"/>
                  </a:lnTo>
                  <a:lnTo>
                    <a:pt x="900" y="1080"/>
                  </a:lnTo>
                  <a:lnTo>
                    <a:pt x="894" y="1080"/>
                  </a:lnTo>
                  <a:lnTo>
                    <a:pt x="858" y="1074"/>
                  </a:lnTo>
                  <a:lnTo>
                    <a:pt x="852" y="1080"/>
                  </a:lnTo>
                  <a:lnTo>
                    <a:pt x="846" y="1086"/>
                  </a:lnTo>
                  <a:lnTo>
                    <a:pt x="840" y="1086"/>
                  </a:lnTo>
                  <a:lnTo>
                    <a:pt x="840" y="1092"/>
                  </a:lnTo>
                  <a:lnTo>
                    <a:pt x="834" y="1092"/>
                  </a:lnTo>
                  <a:lnTo>
                    <a:pt x="828" y="1098"/>
                  </a:lnTo>
                  <a:lnTo>
                    <a:pt x="822" y="1098"/>
                  </a:lnTo>
                  <a:lnTo>
                    <a:pt x="762" y="1074"/>
                  </a:lnTo>
                  <a:lnTo>
                    <a:pt x="756" y="1068"/>
                  </a:lnTo>
                  <a:lnTo>
                    <a:pt x="750" y="1068"/>
                  </a:lnTo>
                  <a:lnTo>
                    <a:pt x="744" y="1062"/>
                  </a:lnTo>
                  <a:lnTo>
                    <a:pt x="744" y="1068"/>
                  </a:lnTo>
                  <a:lnTo>
                    <a:pt x="744" y="1074"/>
                  </a:lnTo>
                  <a:lnTo>
                    <a:pt x="738" y="1074"/>
                  </a:lnTo>
                  <a:lnTo>
                    <a:pt x="738" y="1068"/>
                  </a:lnTo>
                  <a:lnTo>
                    <a:pt x="732" y="1068"/>
                  </a:lnTo>
                  <a:lnTo>
                    <a:pt x="726" y="1068"/>
                  </a:lnTo>
                  <a:lnTo>
                    <a:pt x="726" y="1074"/>
                  </a:lnTo>
                  <a:lnTo>
                    <a:pt x="720" y="1074"/>
                  </a:lnTo>
                  <a:lnTo>
                    <a:pt x="684" y="106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5" name="Freeform 40">
              <a:extLst>
                <a:ext uri="{FF2B5EF4-FFF2-40B4-BE49-F238E27FC236}">
                  <a16:creationId xmlns:a16="http://schemas.microsoft.com/office/drawing/2014/main" id="{37EC2F22-BDB9-4162-8FA4-08493F6898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3558" y="1520374"/>
              <a:ext cx="1057717" cy="1252440"/>
            </a:xfrm>
            <a:custGeom>
              <a:avLst/>
              <a:gdLst>
                <a:gd name="T0" fmla="*/ 98 w 1992"/>
                <a:gd name="T1" fmla="*/ 162 h 2358"/>
                <a:gd name="T2" fmla="*/ 93 w 1992"/>
                <a:gd name="T3" fmla="*/ 172 h 2358"/>
                <a:gd name="T4" fmla="*/ 82 w 1992"/>
                <a:gd name="T5" fmla="*/ 179 h 2358"/>
                <a:gd name="T6" fmla="*/ 70 w 1992"/>
                <a:gd name="T7" fmla="*/ 174 h 2358"/>
                <a:gd name="T8" fmla="*/ 62 w 1992"/>
                <a:gd name="T9" fmla="*/ 182 h 2358"/>
                <a:gd name="T10" fmla="*/ 45 w 1992"/>
                <a:gd name="T11" fmla="*/ 189 h 2358"/>
                <a:gd name="T12" fmla="*/ 24 w 1992"/>
                <a:gd name="T13" fmla="*/ 205 h 2358"/>
                <a:gd name="T14" fmla="*/ 17 w 1992"/>
                <a:gd name="T15" fmla="*/ 204 h 2358"/>
                <a:gd name="T16" fmla="*/ 7 w 1992"/>
                <a:gd name="T17" fmla="*/ 197 h 2358"/>
                <a:gd name="T18" fmla="*/ 1 w 1992"/>
                <a:gd name="T19" fmla="*/ 191 h 2358"/>
                <a:gd name="T20" fmla="*/ 4 w 1992"/>
                <a:gd name="T21" fmla="*/ 175 h 2358"/>
                <a:gd name="T22" fmla="*/ 7 w 1992"/>
                <a:gd name="T23" fmla="*/ 172 h 2358"/>
                <a:gd name="T24" fmla="*/ 11 w 1992"/>
                <a:gd name="T25" fmla="*/ 168 h 2358"/>
                <a:gd name="T26" fmla="*/ 5 w 1992"/>
                <a:gd name="T27" fmla="*/ 159 h 2358"/>
                <a:gd name="T28" fmla="*/ 10 w 1992"/>
                <a:gd name="T29" fmla="*/ 156 h 2358"/>
                <a:gd name="T30" fmla="*/ 15 w 1992"/>
                <a:gd name="T31" fmla="*/ 155 h 2358"/>
                <a:gd name="T32" fmla="*/ 24 w 1992"/>
                <a:gd name="T33" fmla="*/ 149 h 2358"/>
                <a:gd name="T34" fmla="*/ 38 w 1992"/>
                <a:gd name="T35" fmla="*/ 127 h 2358"/>
                <a:gd name="T36" fmla="*/ 38 w 1992"/>
                <a:gd name="T37" fmla="*/ 107 h 2358"/>
                <a:gd name="T38" fmla="*/ 45 w 1992"/>
                <a:gd name="T39" fmla="*/ 66 h 2358"/>
                <a:gd name="T40" fmla="*/ 47 w 1992"/>
                <a:gd name="T41" fmla="*/ 36 h 2358"/>
                <a:gd name="T42" fmla="*/ 51 w 1992"/>
                <a:gd name="T43" fmla="*/ 35 h 2358"/>
                <a:gd name="T44" fmla="*/ 55 w 1992"/>
                <a:gd name="T45" fmla="*/ 30 h 2358"/>
                <a:gd name="T46" fmla="*/ 56 w 1992"/>
                <a:gd name="T47" fmla="*/ 27 h 2358"/>
                <a:gd name="T48" fmla="*/ 60 w 1992"/>
                <a:gd name="T49" fmla="*/ 23 h 2358"/>
                <a:gd name="T50" fmla="*/ 63 w 1992"/>
                <a:gd name="T51" fmla="*/ 23 h 2358"/>
                <a:gd name="T52" fmla="*/ 70 w 1992"/>
                <a:gd name="T53" fmla="*/ 18 h 2358"/>
                <a:gd name="T54" fmla="*/ 71 w 1992"/>
                <a:gd name="T55" fmla="*/ 15 h 2358"/>
                <a:gd name="T56" fmla="*/ 72 w 1992"/>
                <a:gd name="T57" fmla="*/ 13 h 2358"/>
                <a:gd name="T58" fmla="*/ 77 w 1992"/>
                <a:gd name="T59" fmla="*/ 12 h 2358"/>
                <a:gd name="T60" fmla="*/ 83 w 1992"/>
                <a:gd name="T61" fmla="*/ 10 h 2358"/>
                <a:gd name="T62" fmla="*/ 87 w 1992"/>
                <a:gd name="T63" fmla="*/ 10 h 2358"/>
                <a:gd name="T64" fmla="*/ 89 w 1992"/>
                <a:gd name="T65" fmla="*/ 10 h 2358"/>
                <a:gd name="T66" fmla="*/ 93 w 1992"/>
                <a:gd name="T67" fmla="*/ 8 h 2358"/>
                <a:gd name="T68" fmla="*/ 95 w 1992"/>
                <a:gd name="T69" fmla="*/ 4 h 2358"/>
                <a:gd name="T70" fmla="*/ 99 w 1992"/>
                <a:gd name="T71" fmla="*/ 0 h 2358"/>
                <a:gd name="T72" fmla="*/ 111 w 1992"/>
                <a:gd name="T73" fmla="*/ 0 h 2358"/>
                <a:gd name="T74" fmla="*/ 121 w 1992"/>
                <a:gd name="T75" fmla="*/ 9 h 2358"/>
                <a:gd name="T76" fmla="*/ 128 w 1992"/>
                <a:gd name="T77" fmla="*/ 19 h 2358"/>
                <a:gd name="T78" fmla="*/ 138 w 1992"/>
                <a:gd name="T79" fmla="*/ 33 h 2358"/>
                <a:gd name="T80" fmla="*/ 142 w 1992"/>
                <a:gd name="T81" fmla="*/ 47 h 2358"/>
                <a:gd name="T82" fmla="*/ 145 w 1992"/>
                <a:gd name="T83" fmla="*/ 62 h 2358"/>
                <a:gd name="T84" fmla="*/ 145 w 1992"/>
                <a:gd name="T85" fmla="*/ 70 h 2358"/>
                <a:gd name="T86" fmla="*/ 147 w 1992"/>
                <a:gd name="T87" fmla="*/ 75 h 2358"/>
                <a:gd name="T88" fmla="*/ 153 w 1992"/>
                <a:gd name="T89" fmla="*/ 75 h 2358"/>
                <a:gd name="T90" fmla="*/ 160 w 1992"/>
                <a:gd name="T91" fmla="*/ 76 h 2358"/>
                <a:gd name="T92" fmla="*/ 164 w 1992"/>
                <a:gd name="T93" fmla="*/ 79 h 2358"/>
                <a:gd name="T94" fmla="*/ 168 w 1992"/>
                <a:gd name="T95" fmla="*/ 83 h 2358"/>
                <a:gd name="T96" fmla="*/ 172 w 1992"/>
                <a:gd name="T97" fmla="*/ 86 h 2358"/>
                <a:gd name="T98" fmla="*/ 170 w 1992"/>
                <a:gd name="T99" fmla="*/ 93 h 2358"/>
                <a:gd name="T100" fmla="*/ 170 w 1992"/>
                <a:gd name="T101" fmla="*/ 99 h 2358"/>
                <a:gd name="T102" fmla="*/ 169 w 1992"/>
                <a:gd name="T103" fmla="*/ 106 h 2358"/>
                <a:gd name="T104" fmla="*/ 166 w 1992"/>
                <a:gd name="T105" fmla="*/ 113 h 2358"/>
                <a:gd name="T106" fmla="*/ 170 w 1992"/>
                <a:gd name="T107" fmla="*/ 122 h 2358"/>
                <a:gd name="T108" fmla="*/ 159 w 1992"/>
                <a:gd name="T109" fmla="*/ 128 h 2358"/>
                <a:gd name="T110" fmla="*/ 148 w 1992"/>
                <a:gd name="T111" fmla="*/ 134 h 2358"/>
                <a:gd name="T112" fmla="*/ 139 w 1992"/>
                <a:gd name="T113" fmla="*/ 136 h 2358"/>
                <a:gd name="T114" fmla="*/ 132 w 1992"/>
                <a:gd name="T115" fmla="*/ 138 h 2358"/>
                <a:gd name="T116" fmla="*/ 128 w 1992"/>
                <a:gd name="T117" fmla="*/ 145 h 2358"/>
                <a:gd name="T118" fmla="*/ 124 w 1992"/>
                <a:gd name="T119" fmla="*/ 150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92"/>
                <a:gd name="T181" fmla="*/ 0 h 2358"/>
                <a:gd name="T182" fmla="*/ 1992 w 1992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92" h="2358">
                  <a:moveTo>
                    <a:pt x="1356" y="1782"/>
                  </a:moveTo>
                  <a:lnTo>
                    <a:pt x="1350" y="1788"/>
                  </a:lnTo>
                  <a:lnTo>
                    <a:pt x="1266" y="1788"/>
                  </a:lnTo>
                  <a:lnTo>
                    <a:pt x="1260" y="1800"/>
                  </a:lnTo>
                  <a:lnTo>
                    <a:pt x="1242" y="1806"/>
                  </a:lnTo>
                  <a:lnTo>
                    <a:pt x="1218" y="1812"/>
                  </a:lnTo>
                  <a:lnTo>
                    <a:pt x="1182" y="1812"/>
                  </a:lnTo>
                  <a:lnTo>
                    <a:pt x="1158" y="1806"/>
                  </a:lnTo>
                  <a:lnTo>
                    <a:pt x="1134" y="1800"/>
                  </a:lnTo>
                  <a:lnTo>
                    <a:pt x="1134" y="1806"/>
                  </a:lnTo>
                  <a:lnTo>
                    <a:pt x="1134" y="1830"/>
                  </a:lnTo>
                  <a:lnTo>
                    <a:pt x="1128" y="1842"/>
                  </a:lnTo>
                  <a:lnTo>
                    <a:pt x="1128" y="1854"/>
                  </a:lnTo>
                  <a:lnTo>
                    <a:pt x="1128" y="1860"/>
                  </a:lnTo>
                  <a:lnTo>
                    <a:pt x="1128" y="1866"/>
                  </a:lnTo>
                  <a:lnTo>
                    <a:pt x="1128" y="1872"/>
                  </a:lnTo>
                  <a:lnTo>
                    <a:pt x="1128" y="1884"/>
                  </a:lnTo>
                  <a:lnTo>
                    <a:pt x="1128" y="1890"/>
                  </a:lnTo>
                  <a:lnTo>
                    <a:pt x="1128" y="1896"/>
                  </a:lnTo>
                  <a:lnTo>
                    <a:pt x="1122" y="1902"/>
                  </a:lnTo>
                  <a:lnTo>
                    <a:pt x="1122" y="1920"/>
                  </a:lnTo>
                  <a:lnTo>
                    <a:pt x="1116" y="1920"/>
                  </a:lnTo>
                  <a:lnTo>
                    <a:pt x="1110" y="1926"/>
                  </a:lnTo>
                  <a:lnTo>
                    <a:pt x="1110" y="1932"/>
                  </a:lnTo>
                  <a:lnTo>
                    <a:pt x="1104" y="1938"/>
                  </a:lnTo>
                  <a:lnTo>
                    <a:pt x="1086" y="1962"/>
                  </a:lnTo>
                  <a:lnTo>
                    <a:pt x="1074" y="1974"/>
                  </a:lnTo>
                  <a:lnTo>
                    <a:pt x="1074" y="1980"/>
                  </a:lnTo>
                  <a:lnTo>
                    <a:pt x="1068" y="1986"/>
                  </a:lnTo>
                  <a:lnTo>
                    <a:pt x="1062" y="1998"/>
                  </a:lnTo>
                  <a:lnTo>
                    <a:pt x="1062" y="2004"/>
                  </a:lnTo>
                  <a:lnTo>
                    <a:pt x="1068" y="2004"/>
                  </a:lnTo>
                  <a:lnTo>
                    <a:pt x="1056" y="2034"/>
                  </a:lnTo>
                  <a:lnTo>
                    <a:pt x="1050" y="2076"/>
                  </a:lnTo>
                  <a:lnTo>
                    <a:pt x="1056" y="2100"/>
                  </a:lnTo>
                  <a:lnTo>
                    <a:pt x="1038" y="2106"/>
                  </a:lnTo>
                  <a:lnTo>
                    <a:pt x="1002" y="2106"/>
                  </a:lnTo>
                  <a:lnTo>
                    <a:pt x="978" y="2094"/>
                  </a:lnTo>
                  <a:lnTo>
                    <a:pt x="972" y="2082"/>
                  </a:lnTo>
                  <a:lnTo>
                    <a:pt x="966" y="2070"/>
                  </a:lnTo>
                  <a:lnTo>
                    <a:pt x="954" y="2064"/>
                  </a:lnTo>
                  <a:lnTo>
                    <a:pt x="942" y="2058"/>
                  </a:lnTo>
                  <a:lnTo>
                    <a:pt x="936" y="2058"/>
                  </a:lnTo>
                  <a:lnTo>
                    <a:pt x="918" y="2046"/>
                  </a:lnTo>
                  <a:lnTo>
                    <a:pt x="906" y="2028"/>
                  </a:lnTo>
                  <a:lnTo>
                    <a:pt x="900" y="2022"/>
                  </a:lnTo>
                  <a:lnTo>
                    <a:pt x="894" y="2022"/>
                  </a:lnTo>
                  <a:lnTo>
                    <a:pt x="882" y="2022"/>
                  </a:lnTo>
                  <a:lnTo>
                    <a:pt x="870" y="2016"/>
                  </a:lnTo>
                  <a:lnTo>
                    <a:pt x="864" y="2016"/>
                  </a:lnTo>
                  <a:lnTo>
                    <a:pt x="852" y="2010"/>
                  </a:lnTo>
                  <a:lnTo>
                    <a:pt x="846" y="2004"/>
                  </a:lnTo>
                  <a:lnTo>
                    <a:pt x="840" y="2004"/>
                  </a:lnTo>
                  <a:lnTo>
                    <a:pt x="828" y="1998"/>
                  </a:lnTo>
                  <a:lnTo>
                    <a:pt x="816" y="1998"/>
                  </a:lnTo>
                  <a:lnTo>
                    <a:pt x="810" y="1998"/>
                  </a:lnTo>
                  <a:lnTo>
                    <a:pt x="804" y="1998"/>
                  </a:lnTo>
                  <a:lnTo>
                    <a:pt x="798" y="1998"/>
                  </a:lnTo>
                  <a:lnTo>
                    <a:pt x="792" y="2004"/>
                  </a:lnTo>
                  <a:lnTo>
                    <a:pt x="786" y="2010"/>
                  </a:lnTo>
                  <a:lnTo>
                    <a:pt x="762" y="2010"/>
                  </a:lnTo>
                  <a:lnTo>
                    <a:pt x="756" y="2010"/>
                  </a:lnTo>
                  <a:lnTo>
                    <a:pt x="744" y="2022"/>
                  </a:lnTo>
                  <a:lnTo>
                    <a:pt x="738" y="2034"/>
                  </a:lnTo>
                  <a:lnTo>
                    <a:pt x="732" y="2040"/>
                  </a:lnTo>
                  <a:lnTo>
                    <a:pt x="732" y="2046"/>
                  </a:lnTo>
                  <a:lnTo>
                    <a:pt x="726" y="2058"/>
                  </a:lnTo>
                  <a:lnTo>
                    <a:pt x="720" y="2064"/>
                  </a:lnTo>
                  <a:lnTo>
                    <a:pt x="714" y="2070"/>
                  </a:lnTo>
                  <a:lnTo>
                    <a:pt x="708" y="2088"/>
                  </a:lnTo>
                  <a:lnTo>
                    <a:pt x="702" y="2100"/>
                  </a:lnTo>
                  <a:lnTo>
                    <a:pt x="690" y="2100"/>
                  </a:lnTo>
                  <a:lnTo>
                    <a:pt x="684" y="2094"/>
                  </a:lnTo>
                  <a:lnTo>
                    <a:pt x="666" y="2100"/>
                  </a:lnTo>
                  <a:lnTo>
                    <a:pt x="636" y="2106"/>
                  </a:lnTo>
                  <a:lnTo>
                    <a:pt x="636" y="2112"/>
                  </a:lnTo>
                  <a:lnTo>
                    <a:pt x="636" y="2118"/>
                  </a:lnTo>
                  <a:lnTo>
                    <a:pt x="636" y="2124"/>
                  </a:lnTo>
                  <a:lnTo>
                    <a:pt x="630" y="2124"/>
                  </a:lnTo>
                  <a:lnTo>
                    <a:pt x="630" y="2148"/>
                  </a:lnTo>
                  <a:lnTo>
                    <a:pt x="612" y="2160"/>
                  </a:lnTo>
                  <a:lnTo>
                    <a:pt x="576" y="2172"/>
                  </a:lnTo>
                  <a:lnTo>
                    <a:pt x="546" y="2172"/>
                  </a:lnTo>
                  <a:lnTo>
                    <a:pt x="516" y="2172"/>
                  </a:lnTo>
                  <a:lnTo>
                    <a:pt x="486" y="2172"/>
                  </a:lnTo>
                  <a:lnTo>
                    <a:pt x="462" y="2172"/>
                  </a:lnTo>
                  <a:lnTo>
                    <a:pt x="444" y="2196"/>
                  </a:lnTo>
                  <a:lnTo>
                    <a:pt x="432" y="2232"/>
                  </a:lnTo>
                  <a:lnTo>
                    <a:pt x="408" y="2238"/>
                  </a:lnTo>
                  <a:lnTo>
                    <a:pt x="390" y="2256"/>
                  </a:lnTo>
                  <a:lnTo>
                    <a:pt x="372" y="2274"/>
                  </a:lnTo>
                  <a:lnTo>
                    <a:pt x="360" y="2274"/>
                  </a:lnTo>
                  <a:lnTo>
                    <a:pt x="336" y="2328"/>
                  </a:lnTo>
                  <a:lnTo>
                    <a:pt x="324" y="2340"/>
                  </a:lnTo>
                  <a:lnTo>
                    <a:pt x="300" y="2346"/>
                  </a:lnTo>
                  <a:lnTo>
                    <a:pt x="294" y="2352"/>
                  </a:lnTo>
                  <a:lnTo>
                    <a:pt x="288" y="2352"/>
                  </a:lnTo>
                  <a:lnTo>
                    <a:pt x="282" y="2352"/>
                  </a:lnTo>
                  <a:lnTo>
                    <a:pt x="276" y="2352"/>
                  </a:lnTo>
                  <a:lnTo>
                    <a:pt x="270" y="2352"/>
                  </a:lnTo>
                  <a:lnTo>
                    <a:pt x="270" y="2346"/>
                  </a:lnTo>
                  <a:lnTo>
                    <a:pt x="264" y="2346"/>
                  </a:lnTo>
                  <a:lnTo>
                    <a:pt x="258" y="2352"/>
                  </a:lnTo>
                  <a:lnTo>
                    <a:pt x="252" y="2352"/>
                  </a:lnTo>
                  <a:lnTo>
                    <a:pt x="240" y="2352"/>
                  </a:lnTo>
                  <a:lnTo>
                    <a:pt x="228" y="2352"/>
                  </a:lnTo>
                  <a:lnTo>
                    <a:pt x="222" y="2352"/>
                  </a:lnTo>
                  <a:lnTo>
                    <a:pt x="216" y="2358"/>
                  </a:lnTo>
                  <a:lnTo>
                    <a:pt x="216" y="2352"/>
                  </a:lnTo>
                  <a:lnTo>
                    <a:pt x="210" y="2346"/>
                  </a:lnTo>
                  <a:lnTo>
                    <a:pt x="204" y="2346"/>
                  </a:lnTo>
                  <a:lnTo>
                    <a:pt x="198" y="2340"/>
                  </a:lnTo>
                  <a:lnTo>
                    <a:pt x="192" y="2340"/>
                  </a:lnTo>
                  <a:lnTo>
                    <a:pt x="186" y="2340"/>
                  </a:lnTo>
                  <a:lnTo>
                    <a:pt x="180" y="2340"/>
                  </a:lnTo>
                  <a:lnTo>
                    <a:pt x="174" y="2340"/>
                  </a:lnTo>
                  <a:lnTo>
                    <a:pt x="162" y="2328"/>
                  </a:lnTo>
                  <a:lnTo>
                    <a:pt x="156" y="2322"/>
                  </a:lnTo>
                  <a:lnTo>
                    <a:pt x="156" y="2316"/>
                  </a:lnTo>
                  <a:lnTo>
                    <a:pt x="156" y="2310"/>
                  </a:lnTo>
                  <a:lnTo>
                    <a:pt x="132" y="2286"/>
                  </a:lnTo>
                  <a:lnTo>
                    <a:pt x="120" y="2280"/>
                  </a:lnTo>
                  <a:lnTo>
                    <a:pt x="96" y="2274"/>
                  </a:lnTo>
                  <a:lnTo>
                    <a:pt x="84" y="2268"/>
                  </a:lnTo>
                  <a:lnTo>
                    <a:pt x="78" y="2268"/>
                  </a:lnTo>
                  <a:lnTo>
                    <a:pt x="78" y="2262"/>
                  </a:lnTo>
                  <a:lnTo>
                    <a:pt x="78" y="2256"/>
                  </a:lnTo>
                  <a:lnTo>
                    <a:pt x="78" y="2250"/>
                  </a:lnTo>
                  <a:lnTo>
                    <a:pt x="72" y="2250"/>
                  </a:lnTo>
                  <a:lnTo>
                    <a:pt x="66" y="2250"/>
                  </a:lnTo>
                  <a:lnTo>
                    <a:pt x="60" y="2250"/>
                  </a:lnTo>
                  <a:lnTo>
                    <a:pt x="48" y="2244"/>
                  </a:lnTo>
                  <a:lnTo>
                    <a:pt x="36" y="2238"/>
                  </a:lnTo>
                  <a:lnTo>
                    <a:pt x="36" y="2226"/>
                  </a:lnTo>
                  <a:lnTo>
                    <a:pt x="30" y="2226"/>
                  </a:lnTo>
                  <a:lnTo>
                    <a:pt x="30" y="2220"/>
                  </a:lnTo>
                  <a:lnTo>
                    <a:pt x="24" y="2208"/>
                  </a:lnTo>
                  <a:lnTo>
                    <a:pt x="18" y="2202"/>
                  </a:lnTo>
                  <a:lnTo>
                    <a:pt x="18" y="2196"/>
                  </a:lnTo>
                  <a:lnTo>
                    <a:pt x="12" y="2190"/>
                  </a:lnTo>
                  <a:lnTo>
                    <a:pt x="0" y="2190"/>
                  </a:lnTo>
                  <a:lnTo>
                    <a:pt x="6" y="2184"/>
                  </a:lnTo>
                  <a:lnTo>
                    <a:pt x="12" y="2178"/>
                  </a:lnTo>
                  <a:lnTo>
                    <a:pt x="18" y="2172"/>
                  </a:lnTo>
                  <a:lnTo>
                    <a:pt x="24" y="2166"/>
                  </a:lnTo>
                  <a:lnTo>
                    <a:pt x="30" y="2166"/>
                  </a:lnTo>
                  <a:lnTo>
                    <a:pt x="24" y="2160"/>
                  </a:lnTo>
                  <a:lnTo>
                    <a:pt x="30" y="2160"/>
                  </a:lnTo>
                  <a:lnTo>
                    <a:pt x="36" y="2154"/>
                  </a:lnTo>
                  <a:lnTo>
                    <a:pt x="36" y="2136"/>
                  </a:lnTo>
                  <a:lnTo>
                    <a:pt x="36" y="2118"/>
                  </a:lnTo>
                  <a:lnTo>
                    <a:pt x="48" y="2058"/>
                  </a:lnTo>
                  <a:lnTo>
                    <a:pt x="48" y="2022"/>
                  </a:lnTo>
                  <a:lnTo>
                    <a:pt x="48" y="2016"/>
                  </a:lnTo>
                  <a:lnTo>
                    <a:pt x="48" y="2010"/>
                  </a:lnTo>
                  <a:lnTo>
                    <a:pt x="48" y="2004"/>
                  </a:lnTo>
                  <a:lnTo>
                    <a:pt x="42" y="2004"/>
                  </a:lnTo>
                  <a:lnTo>
                    <a:pt x="42" y="1998"/>
                  </a:lnTo>
                  <a:lnTo>
                    <a:pt x="36" y="1992"/>
                  </a:lnTo>
                  <a:lnTo>
                    <a:pt x="42" y="1992"/>
                  </a:lnTo>
                  <a:lnTo>
                    <a:pt x="42" y="1986"/>
                  </a:lnTo>
                  <a:lnTo>
                    <a:pt x="48" y="1986"/>
                  </a:lnTo>
                  <a:lnTo>
                    <a:pt x="54" y="1986"/>
                  </a:lnTo>
                  <a:lnTo>
                    <a:pt x="60" y="1986"/>
                  </a:lnTo>
                  <a:lnTo>
                    <a:pt x="66" y="1980"/>
                  </a:lnTo>
                  <a:lnTo>
                    <a:pt x="72" y="1974"/>
                  </a:lnTo>
                  <a:lnTo>
                    <a:pt x="78" y="1974"/>
                  </a:lnTo>
                  <a:lnTo>
                    <a:pt x="84" y="1974"/>
                  </a:lnTo>
                  <a:lnTo>
                    <a:pt x="90" y="1974"/>
                  </a:lnTo>
                  <a:lnTo>
                    <a:pt x="96" y="1974"/>
                  </a:lnTo>
                  <a:lnTo>
                    <a:pt x="96" y="1968"/>
                  </a:lnTo>
                  <a:lnTo>
                    <a:pt x="102" y="1968"/>
                  </a:lnTo>
                  <a:lnTo>
                    <a:pt x="102" y="1962"/>
                  </a:lnTo>
                  <a:lnTo>
                    <a:pt x="108" y="1962"/>
                  </a:lnTo>
                  <a:lnTo>
                    <a:pt x="114" y="1956"/>
                  </a:lnTo>
                  <a:lnTo>
                    <a:pt x="120" y="1956"/>
                  </a:lnTo>
                  <a:lnTo>
                    <a:pt x="126" y="1950"/>
                  </a:lnTo>
                  <a:lnTo>
                    <a:pt x="132" y="1950"/>
                  </a:lnTo>
                  <a:lnTo>
                    <a:pt x="132" y="1944"/>
                  </a:lnTo>
                  <a:lnTo>
                    <a:pt x="126" y="1944"/>
                  </a:lnTo>
                  <a:lnTo>
                    <a:pt x="126" y="1938"/>
                  </a:lnTo>
                  <a:lnTo>
                    <a:pt x="126" y="1932"/>
                  </a:lnTo>
                  <a:lnTo>
                    <a:pt x="126" y="1926"/>
                  </a:lnTo>
                  <a:lnTo>
                    <a:pt x="114" y="1914"/>
                  </a:lnTo>
                  <a:lnTo>
                    <a:pt x="114" y="1896"/>
                  </a:lnTo>
                  <a:lnTo>
                    <a:pt x="108" y="1884"/>
                  </a:lnTo>
                  <a:lnTo>
                    <a:pt x="102" y="1872"/>
                  </a:lnTo>
                  <a:lnTo>
                    <a:pt x="96" y="1866"/>
                  </a:lnTo>
                  <a:lnTo>
                    <a:pt x="96" y="1860"/>
                  </a:lnTo>
                  <a:lnTo>
                    <a:pt x="90" y="1860"/>
                  </a:lnTo>
                  <a:lnTo>
                    <a:pt x="90" y="1854"/>
                  </a:lnTo>
                  <a:lnTo>
                    <a:pt x="84" y="1848"/>
                  </a:lnTo>
                  <a:lnTo>
                    <a:pt x="78" y="1842"/>
                  </a:lnTo>
                  <a:lnTo>
                    <a:pt x="72" y="1836"/>
                  </a:lnTo>
                  <a:lnTo>
                    <a:pt x="66" y="1830"/>
                  </a:lnTo>
                  <a:lnTo>
                    <a:pt x="60" y="1824"/>
                  </a:lnTo>
                  <a:lnTo>
                    <a:pt x="54" y="1824"/>
                  </a:lnTo>
                  <a:lnTo>
                    <a:pt x="48" y="1824"/>
                  </a:lnTo>
                  <a:lnTo>
                    <a:pt x="42" y="1818"/>
                  </a:lnTo>
                  <a:lnTo>
                    <a:pt x="54" y="1818"/>
                  </a:lnTo>
                  <a:lnTo>
                    <a:pt x="60" y="1812"/>
                  </a:lnTo>
                  <a:lnTo>
                    <a:pt x="66" y="1812"/>
                  </a:lnTo>
                  <a:lnTo>
                    <a:pt x="72" y="1812"/>
                  </a:lnTo>
                  <a:lnTo>
                    <a:pt x="78" y="1812"/>
                  </a:lnTo>
                  <a:lnTo>
                    <a:pt x="84" y="1812"/>
                  </a:lnTo>
                  <a:lnTo>
                    <a:pt x="90" y="1806"/>
                  </a:lnTo>
                  <a:lnTo>
                    <a:pt x="96" y="1800"/>
                  </a:lnTo>
                  <a:lnTo>
                    <a:pt x="102" y="1806"/>
                  </a:lnTo>
                  <a:lnTo>
                    <a:pt x="108" y="1800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26" y="1788"/>
                  </a:lnTo>
                  <a:lnTo>
                    <a:pt x="126" y="1794"/>
                  </a:lnTo>
                  <a:lnTo>
                    <a:pt x="132" y="1794"/>
                  </a:lnTo>
                  <a:lnTo>
                    <a:pt x="132" y="1788"/>
                  </a:lnTo>
                  <a:lnTo>
                    <a:pt x="138" y="1788"/>
                  </a:lnTo>
                  <a:lnTo>
                    <a:pt x="138" y="1782"/>
                  </a:lnTo>
                  <a:lnTo>
                    <a:pt x="144" y="1782"/>
                  </a:lnTo>
                  <a:lnTo>
                    <a:pt x="150" y="1776"/>
                  </a:lnTo>
                  <a:lnTo>
                    <a:pt x="156" y="1782"/>
                  </a:lnTo>
                  <a:lnTo>
                    <a:pt x="162" y="1776"/>
                  </a:lnTo>
                  <a:lnTo>
                    <a:pt x="168" y="1776"/>
                  </a:lnTo>
                  <a:lnTo>
                    <a:pt x="180" y="1776"/>
                  </a:lnTo>
                  <a:lnTo>
                    <a:pt x="186" y="1776"/>
                  </a:lnTo>
                  <a:lnTo>
                    <a:pt x="186" y="1782"/>
                  </a:lnTo>
                  <a:lnTo>
                    <a:pt x="192" y="1776"/>
                  </a:lnTo>
                  <a:lnTo>
                    <a:pt x="198" y="1776"/>
                  </a:lnTo>
                  <a:lnTo>
                    <a:pt x="204" y="1770"/>
                  </a:lnTo>
                  <a:lnTo>
                    <a:pt x="204" y="1764"/>
                  </a:lnTo>
                  <a:lnTo>
                    <a:pt x="210" y="1764"/>
                  </a:lnTo>
                  <a:lnTo>
                    <a:pt x="216" y="1764"/>
                  </a:lnTo>
                  <a:lnTo>
                    <a:pt x="216" y="1758"/>
                  </a:lnTo>
                  <a:lnTo>
                    <a:pt x="222" y="1758"/>
                  </a:lnTo>
                  <a:lnTo>
                    <a:pt x="228" y="1758"/>
                  </a:lnTo>
                  <a:lnTo>
                    <a:pt x="258" y="1746"/>
                  </a:lnTo>
                  <a:lnTo>
                    <a:pt x="282" y="1716"/>
                  </a:lnTo>
                  <a:lnTo>
                    <a:pt x="300" y="1698"/>
                  </a:lnTo>
                  <a:lnTo>
                    <a:pt x="312" y="1698"/>
                  </a:lnTo>
                  <a:lnTo>
                    <a:pt x="336" y="1698"/>
                  </a:lnTo>
                  <a:lnTo>
                    <a:pt x="360" y="1698"/>
                  </a:lnTo>
                  <a:lnTo>
                    <a:pt x="372" y="1692"/>
                  </a:lnTo>
                  <a:lnTo>
                    <a:pt x="384" y="1692"/>
                  </a:lnTo>
                  <a:lnTo>
                    <a:pt x="360" y="1668"/>
                  </a:lnTo>
                  <a:lnTo>
                    <a:pt x="348" y="1626"/>
                  </a:lnTo>
                  <a:lnTo>
                    <a:pt x="354" y="1578"/>
                  </a:lnTo>
                  <a:lnTo>
                    <a:pt x="354" y="1572"/>
                  </a:lnTo>
                  <a:lnTo>
                    <a:pt x="360" y="1572"/>
                  </a:lnTo>
                  <a:lnTo>
                    <a:pt x="396" y="1530"/>
                  </a:lnTo>
                  <a:lnTo>
                    <a:pt x="408" y="1482"/>
                  </a:lnTo>
                  <a:lnTo>
                    <a:pt x="438" y="1458"/>
                  </a:lnTo>
                  <a:lnTo>
                    <a:pt x="468" y="1422"/>
                  </a:lnTo>
                  <a:lnTo>
                    <a:pt x="480" y="1410"/>
                  </a:lnTo>
                  <a:lnTo>
                    <a:pt x="474" y="1386"/>
                  </a:lnTo>
                  <a:lnTo>
                    <a:pt x="456" y="1356"/>
                  </a:lnTo>
                  <a:lnTo>
                    <a:pt x="438" y="1350"/>
                  </a:lnTo>
                  <a:lnTo>
                    <a:pt x="420" y="1350"/>
                  </a:lnTo>
                  <a:lnTo>
                    <a:pt x="402" y="1350"/>
                  </a:lnTo>
                  <a:lnTo>
                    <a:pt x="390" y="1344"/>
                  </a:lnTo>
                  <a:lnTo>
                    <a:pt x="390" y="1332"/>
                  </a:lnTo>
                  <a:lnTo>
                    <a:pt x="402" y="1296"/>
                  </a:lnTo>
                  <a:lnTo>
                    <a:pt x="414" y="1260"/>
                  </a:lnTo>
                  <a:lnTo>
                    <a:pt x="426" y="1248"/>
                  </a:lnTo>
                  <a:lnTo>
                    <a:pt x="438" y="1242"/>
                  </a:lnTo>
                  <a:lnTo>
                    <a:pt x="432" y="1230"/>
                  </a:lnTo>
                  <a:lnTo>
                    <a:pt x="432" y="1224"/>
                  </a:lnTo>
                  <a:lnTo>
                    <a:pt x="426" y="1218"/>
                  </a:lnTo>
                  <a:lnTo>
                    <a:pt x="426" y="1206"/>
                  </a:lnTo>
                  <a:lnTo>
                    <a:pt x="426" y="1200"/>
                  </a:lnTo>
                  <a:lnTo>
                    <a:pt x="432" y="1194"/>
                  </a:lnTo>
                  <a:lnTo>
                    <a:pt x="426" y="1188"/>
                  </a:lnTo>
                  <a:lnTo>
                    <a:pt x="432" y="1104"/>
                  </a:lnTo>
                  <a:lnTo>
                    <a:pt x="438" y="1086"/>
                  </a:lnTo>
                  <a:lnTo>
                    <a:pt x="462" y="972"/>
                  </a:lnTo>
                  <a:lnTo>
                    <a:pt x="456" y="900"/>
                  </a:lnTo>
                  <a:lnTo>
                    <a:pt x="444" y="846"/>
                  </a:lnTo>
                  <a:lnTo>
                    <a:pt x="456" y="810"/>
                  </a:lnTo>
                  <a:lnTo>
                    <a:pt x="492" y="786"/>
                  </a:lnTo>
                  <a:lnTo>
                    <a:pt x="522" y="762"/>
                  </a:lnTo>
                  <a:lnTo>
                    <a:pt x="546" y="732"/>
                  </a:lnTo>
                  <a:lnTo>
                    <a:pt x="570" y="696"/>
                  </a:lnTo>
                  <a:lnTo>
                    <a:pt x="582" y="654"/>
                  </a:lnTo>
                  <a:lnTo>
                    <a:pt x="564" y="642"/>
                  </a:lnTo>
                  <a:lnTo>
                    <a:pt x="522" y="588"/>
                  </a:lnTo>
                  <a:lnTo>
                    <a:pt x="516" y="546"/>
                  </a:lnTo>
                  <a:lnTo>
                    <a:pt x="510" y="474"/>
                  </a:lnTo>
                  <a:lnTo>
                    <a:pt x="510" y="450"/>
                  </a:lnTo>
                  <a:lnTo>
                    <a:pt x="510" y="444"/>
                  </a:lnTo>
                  <a:lnTo>
                    <a:pt x="522" y="438"/>
                  </a:lnTo>
                  <a:lnTo>
                    <a:pt x="522" y="432"/>
                  </a:lnTo>
                  <a:lnTo>
                    <a:pt x="528" y="426"/>
                  </a:lnTo>
                  <a:lnTo>
                    <a:pt x="534" y="420"/>
                  </a:lnTo>
                  <a:lnTo>
                    <a:pt x="540" y="414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08"/>
                  </a:lnTo>
                  <a:lnTo>
                    <a:pt x="546" y="408"/>
                  </a:lnTo>
                  <a:lnTo>
                    <a:pt x="558" y="414"/>
                  </a:lnTo>
                  <a:lnTo>
                    <a:pt x="564" y="414"/>
                  </a:lnTo>
                  <a:lnTo>
                    <a:pt x="570" y="414"/>
                  </a:lnTo>
                  <a:lnTo>
                    <a:pt x="582" y="414"/>
                  </a:lnTo>
                  <a:lnTo>
                    <a:pt x="582" y="420"/>
                  </a:lnTo>
                  <a:lnTo>
                    <a:pt x="588" y="414"/>
                  </a:lnTo>
                  <a:lnTo>
                    <a:pt x="582" y="408"/>
                  </a:lnTo>
                  <a:lnTo>
                    <a:pt x="588" y="402"/>
                  </a:lnTo>
                  <a:lnTo>
                    <a:pt x="594" y="402"/>
                  </a:lnTo>
                  <a:lnTo>
                    <a:pt x="594" y="396"/>
                  </a:lnTo>
                  <a:lnTo>
                    <a:pt x="594" y="390"/>
                  </a:lnTo>
                  <a:lnTo>
                    <a:pt x="594" y="384"/>
                  </a:lnTo>
                  <a:lnTo>
                    <a:pt x="594" y="378"/>
                  </a:lnTo>
                  <a:lnTo>
                    <a:pt x="600" y="366"/>
                  </a:lnTo>
                  <a:lnTo>
                    <a:pt x="606" y="366"/>
                  </a:lnTo>
                  <a:lnTo>
                    <a:pt x="612" y="360"/>
                  </a:lnTo>
                  <a:lnTo>
                    <a:pt x="612" y="366"/>
                  </a:lnTo>
                  <a:lnTo>
                    <a:pt x="618" y="366"/>
                  </a:lnTo>
                  <a:lnTo>
                    <a:pt x="624" y="366"/>
                  </a:lnTo>
                  <a:lnTo>
                    <a:pt x="630" y="360"/>
                  </a:lnTo>
                  <a:lnTo>
                    <a:pt x="636" y="354"/>
                  </a:lnTo>
                  <a:lnTo>
                    <a:pt x="630" y="354"/>
                  </a:lnTo>
                  <a:lnTo>
                    <a:pt x="630" y="348"/>
                  </a:lnTo>
                  <a:lnTo>
                    <a:pt x="630" y="342"/>
                  </a:lnTo>
                  <a:lnTo>
                    <a:pt x="636" y="342"/>
                  </a:lnTo>
                  <a:lnTo>
                    <a:pt x="642" y="336"/>
                  </a:lnTo>
                  <a:lnTo>
                    <a:pt x="636" y="330"/>
                  </a:lnTo>
                  <a:lnTo>
                    <a:pt x="630" y="336"/>
                  </a:lnTo>
                  <a:lnTo>
                    <a:pt x="624" y="336"/>
                  </a:lnTo>
                  <a:lnTo>
                    <a:pt x="624" y="330"/>
                  </a:lnTo>
                  <a:lnTo>
                    <a:pt x="624" y="324"/>
                  </a:lnTo>
                  <a:lnTo>
                    <a:pt x="618" y="324"/>
                  </a:lnTo>
                  <a:lnTo>
                    <a:pt x="624" y="324"/>
                  </a:lnTo>
                  <a:lnTo>
                    <a:pt x="630" y="330"/>
                  </a:lnTo>
                  <a:lnTo>
                    <a:pt x="630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2" y="306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8" y="288"/>
                  </a:lnTo>
                  <a:lnTo>
                    <a:pt x="648" y="282"/>
                  </a:lnTo>
                  <a:lnTo>
                    <a:pt x="654" y="288"/>
                  </a:lnTo>
                  <a:lnTo>
                    <a:pt x="654" y="282"/>
                  </a:lnTo>
                  <a:lnTo>
                    <a:pt x="660" y="282"/>
                  </a:lnTo>
                  <a:lnTo>
                    <a:pt x="666" y="282"/>
                  </a:lnTo>
                  <a:lnTo>
                    <a:pt x="672" y="282"/>
                  </a:lnTo>
                  <a:lnTo>
                    <a:pt x="678" y="282"/>
                  </a:lnTo>
                  <a:lnTo>
                    <a:pt x="684" y="276"/>
                  </a:lnTo>
                  <a:lnTo>
                    <a:pt x="690" y="270"/>
                  </a:lnTo>
                  <a:lnTo>
                    <a:pt x="690" y="264"/>
                  </a:lnTo>
                  <a:lnTo>
                    <a:pt x="690" y="270"/>
                  </a:lnTo>
                  <a:lnTo>
                    <a:pt x="690" y="276"/>
                  </a:lnTo>
                  <a:lnTo>
                    <a:pt x="696" y="276"/>
                  </a:lnTo>
                  <a:lnTo>
                    <a:pt x="702" y="276"/>
                  </a:lnTo>
                  <a:lnTo>
                    <a:pt x="702" y="282"/>
                  </a:lnTo>
                  <a:lnTo>
                    <a:pt x="708" y="282"/>
                  </a:lnTo>
                  <a:lnTo>
                    <a:pt x="720" y="270"/>
                  </a:lnTo>
                  <a:lnTo>
                    <a:pt x="720" y="264"/>
                  </a:lnTo>
                  <a:lnTo>
                    <a:pt x="720" y="258"/>
                  </a:lnTo>
                  <a:lnTo>
                    <a:pt x="726" y="258"/>
                  </a:lnTo>
                  <a:lnTo>
                    <a:pt x="732" y="258"/>
                  </a:lnTo>
                  <a:lnTo>
                    <a:pt x="732" y="264"/>
                  </a:lnTo>
                  <a:lnTo>
                    <a:pt x="738" y="264"/>
                  </a:lnTo>
                  <a:lnTo>
                    <a:pt x="738" y="258"/>
                  </a:lnTo>
                  <a:lnTo>
                    <a:pt x="732" y="258"/>
                  </a:lnTo>
                  <a:lnTo>
                    <a:pt x="732" y="252"/>
                  </a:lnTo>
                  <a:lnTo>
                    <a:pt x="744" y="252"/>
                  </a:lnTo>
                  <a:lnTo>
                    <a:pt x="750" y="252"/>
                  </a:lnTo>
                  <a:lnTo>
                    <a:pt x="750" y="246"/>
                  </a:lnTo>
                  <a:lnTo>
                    <a:pt x="750" y="240"/>
                  </a:lnTo>
                  <a:lnTo>
                    <a:pt x="762" y="234"/>
                  </a:lnTo>
                  <a:lnTo>
                    <a:pt x="768" y="234"/>
                  </a:lnTo>
                  <a:lnTo>
                    <a:pt x="774" y="234"/>
                  </a:lnTo>
                  <a:lnTo>
                    <a:pt x="780" y="228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16"/>
                  </a:lnTo>
                  <a:lnTo>
                    <a:pt x="792" y="210"/>
                  </a:lnTo>
                  <a:lnTo>
                    <a:pt x="804" y="204"/>
                  </a:lnTo>
                  <a:lnTo>
                    <a:pt x="804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0" y="192"/>
                  </a:lnTo>
                  <a:lnTo>
                    <a:pt x="798" y="186"/>
                  </a:lnTo>
                  <a:lnTo>
                    <a:pt x="810" y="186"/>
                  </a:lnTo>
                  <a:lnTo>
                    <a:pt x="810" y="180"/>
                  </a:lnTo>
                  <a:lnTo>
                    <a:pt x="810" y="186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0" y="180"/>
                  </a:lnTo>
                  <a:lnTo>
                    <a:pt x="816" y="174"/>
                  </a:lnTo>
                  <a:lnTo>
                    <a:pt x="822" y="174"/>
                  </a:lnTo>
                  <a:lnTo>
                    <a:pt x="822" y="180"/>
                  </a:lnTo>
                  <a:lnTo>
                    <a:pt x="828" y="180"/>
                  </a:lnTo>
                  <a:lnTo>
                    <a:pt x="828" y="174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62"/>
                  </a:lnTo>
                  <a:lnTo>
                    <a:pt x="828" y="156"/>
                  </a:lnTo>
                  <a:lnTo>
                    <a:pt x="822" y="156"/>
                  </a:lnTo>
                  <a:lnTo>
                    <a:pt x="828" y="156"/>
                  </a:lnTo>
                  <a:lnTo>
                    <a:pt x="828" y="150"/>
                  </a:lnTo>
                  <a:lnTo>
                    <a:pt x="834" y="150"/>
                  </a:lnTo>
                  <a:lnTo>
                    <a:pt x="840" y="156"/>
                  </a:lnTo>
                  <a:lnTo>
                    <a:pt x="840" y="150"/>
                  </a:lnTo>
                  <a:lnTo>
                    <a:pt x="834" y="150"/>
                  </a:lnTo>
                  <a:lnTo>
                    <a:pt x="834" y="144"/>
                  </a:lnTo>
                  <a:lnTo>
                    <a:pt x="840" y="138"/>
                  </a:lnTo>
                  <a:lnTo>
                    <a:pt x="846" y="144"/>
                  </a:lnTo>
                  <a:lnTo>
                    <a:pt x="846" y="150"/>
                  </a:lnTo>
                  <a:lnTo>
                    <a:pt x="852" y="150"/>
                  </a:lnTo>
                  <a:lnTo>
                    <a:pt x="858" y="150"/>
                  </a:lnTo>
                  <a:lnTo>
                    <a:pt x="870" y="150"/>
                  </a:lnTo>
                  <a:lnTo>
                    <a:pt x="870" y="144"/>
                  </a:lnTo>
                  <a:lnTo>
                    <a:pt x="876" y="138"/>
                  </a:lnTo>
                  <a:lnTo>
                    <a:pt x="882" y="138"/>
                  </a:lnTo>
                  <a:lnTo>
                    <a:pt x="888" y="132"/>
                  </a:lnTo>
                  <a:lnTo>
                    <a:pt x="888" y="138"/>
                  </a:lnTo>
                  <a:lnTo>
                    <a:pt x="894" y="138"/>
                  </a:lnTo>
                  <a:lnTo>
                    <a:pt x="894" y="132"/>
                  </a:lnTo>
                  <a:lnTo>
                    <a:pt x="900" y="126"/>
                  </a:lnTo>
                  <a:lnTo>
                    <a:pt x="900" y="132"/>
                  </a:lnTo>
                  <a:lnTo>
                    <a:pt x="906" y="132"/>
                  </a:lnTo>
                  <a:lnTo>
                    <a:pt x="912" y="132"/>
                  </a:lnTo>
                  <a:lnTo>
                    <a:pt x="918" y="126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24" y="126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8" y="120"/>
                  </a:lnTo>
                  <a:lnTo>
                    <a:pt x="948" y="114"/>
                  </a:lnTo>
                  <a:lnTo>
                    <a:pt x="948" y="108"/>
                  </a:lnTo>
                  <a:lnTo>
                    <a:pt x="954" y="114"/>
                  </a:lnTo>
                  <a:lnTo>
                    <a:pt x="960" y="108"/>
                  </a:lnTo>
                  <a:lnTo>
                    <a:pt x="966" y="108"/>
                  </a:lnTo>
                  <a:lnTo>
                    <a:pt x="972" y="108"/>
                  </a:lnTo>
                  <a:lnTo>
                    <a:pt x="966" y="114"/>
                  </a:lnTo>
                  <a:lnTo>
                    <a:pt x="960" y="114"/>
                  </a:lnTo>
                  <a:lnTo>
                    <a:pt x="960" y="120"/>
                  </a:lnTo>
                  <a:lnTo>
                    <a:pt x="966" y="126"/>
                  </a:lnTo>
                  <a:lnTo>
                    <a:pt x="972" y="126"/>
                  </a:lnTo>
                  <a:lnTo>
                    <a:pt x="978" y="126"/>
                  </a:lnTo>
                  <a:lnTo>
                    <a:pt x="984" y="120"/>
                  </a:lnTo>
                  <a:lnTo>
                    <a:pt x="984" y="114"/>
                  </a:lnTo>
                  <a:lnTo>
                    <a:pt x="996" y="126"/>
                  </a:lnTo>
                  <a:lnTo>
                    <a:pt x="996" y="120"/>
                  </a:lnTo>
                  <a:lnTo>
                    <a:pt x="1002" y="120"/>
                  </a:lnTo>
                  <a:lnTo>
                    <a:pt x="996" y="114"/>
                  </a:lnTo>
                  <a:lnTo>
                    <a:pt x="1002" y="114"/>
                  </a:lnTo>
                  <a:lnTo>
                    <a:pt x="1008" y="114"/>
                  </a:lnTo>
                  <a:lnTo>
                    <a:pt x="1008" y="108"/>
                  </a:lnTo>
                  <a:lnTo>
                    <a:pt x="1014" y="108"/>
                  </a:lnTo>
                  <a:lnTo>
                    <a:pt x="1008" y="114"/>
                  </a:lnTo>
                  <a:lnTo>
                    <a:pt x="1008" y="120"/>
                  </a:lnTo>
                  <a:lnTo>
                    <a:pt x="1008" y="126"/>
                  </a:lnTo>
                  <a:lnTo>
                    <a:pt x="1014" y="126"/>
                  </a:lnTo>
                  <a:lnTo>
                    <a:pt x="1014" y="132"/>
                  </a:lnTo>
                  <a:lnTo>
                    <a:pt x="1020" y="132"/>
                  </a:lnTo>
                  <a:lnTo>
                    <a:pt x="1020" y="126"/>
                  </a:lnTo>
                  <a:lnTo>
                    <a:pt x="1020" y="120"/>
                  </a:lnTo>
                  <a:lnTo>
                    <a:pt x="1032" y="120"/>
                  </a:lnTo>
                  <a:lnTo>
                    <a:pt x="1038" y="120"/>
                  </a:lnTo>
                  <a:lnTo>
                    <a:pt x="1038" y="126"/>
                  </a:lnTo>
                  <a:lnTo>
                    <a:pt x="1044" y="132"/>
                  </a:lnTo>
                  <a:lnTo>
                    <a:pt x="1044" y="126"/>
                  </a:lnTo>
                  <a:lnTo>
                    <a:pt x="1050" y="120"/>
                  </a:lnTo>
                  <a:lnTo>
                    <a:pt x="1050" y="114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68" y="102"/>
                  </a:lnTo>
                  <a:lnTo>
                    <a:pt x="1074" y="96"/>
                  </a:lnTo>
                  <a:lnTo>
                    <a:pt x="1074" y="90"/>
                  </a:lnTo>
                  <a:lnTo>
                    <a:pt x="1068" y="90"/>
                  </a:lnTo>
                  <a:lnTo>
                    <a:pt x="1068" y="84"/>
                  </a:lnTo>
                  <a:lnTo>
                    <a:pt x="1080" y="84"/>
                  </a:lnTo>
                  <a:lnTo>
                    <a:pt x="1086" y="78"/>
                  </a:lnTo>
                  <a:lnTo>
                    <a:pt x="1086" y="72"/>
                  </a:lnTo>
                  <a:lnTo>
                    <a:pt x="1080" y="78"/>
                  </a:lnTo>
                  <a:lnTo>
                    <a:pt x="1080" y="72"/>
                  </a:lnTo>
                  <a:lnTo>
                    <a:pt x="1080" y="66"/>
                  </a:lnTo>
                  <a:lnTo>
                    <a:pt x="1074" y="66"/>
                  </a:lnTo>
                  <a:lnTo>
                    <a:pt x="1080" y="66"/>
                  </a:lnTo>
                  <a:lnTo>
                    <a:pt x="1080" y="60"/>
                  </a:lnTo>
                  <a:lnTo>
                    <a:pt x="1086" y="60"/>
                  </a:lnTo>
                  <a:lnTo>
                    <a:pt x="1086" y="54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2" y="42"/>
                  </a:lnTo>
                  <a:lnTo>
                    <a:pt x="1098" y="42"/>
                  </a:lnTo>
                  <a:lnTo>
                    <a:pt x="1104" y="36"/>
                  </a:lnTo>
                  <a:lnTo>
                    <a:pt x="1110" y="36"/>
                  </a:lnTo>
                  <a:lnTo>
                    <a:pt x="1110" y="30"/>
                  </a:lnTo>
                  <a:lnTo>
                    <a:pt x="1110" y="24"/>
                  </a:lnTo>
                  <a:lnTo>
                    <a:pt x="1116" y="24"/>
                  </a:lnTo>
                  <a:lnTo>
                    <a:pt x="1116" y="18"/>
                  </a:lnTo>
                  <a:lnTo>
                    <a:pt x="1122" y="18"/>
                  </a:lnTo>
                  <a:lnTo>
                    <a:pt x="1128" y="18"/>
                  </a:lnTo>
                  <a:lnTo>
                    <a:pt x="1134" y="12"/>
                  </a:lnTo>
                  <a:lnTo>
                    <a:pt x="1134" y="6"/>
                  </a:lnTo>
                  <a:lnTo>
                    <a:pt x="1140" y="6"/>
                  </a:lnTo>
                  <a:lnTo>
                    <a:pt x="1146" y="0"/>
                  </a:lnTo>
                  <a:lnTo>
                    <a:pt x="1152" y="0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70" y="0"/>
                  </a:lnTo>
                  <a:lnTo>
                    <a:pt x="1176" y="6"/>
                  </a:lnTo>
                  <a:lnTo>
                    <a:pt x="1182" y="6"/>
                  </a:lnTo>
                  <a:lnTo>
                    <a:pt x="1194" y="6"/>
                  </a:lnTo>
                  <a:lnTo>
                    <a:pt x="1200" y="6"/>
                  </a:lnTo>
                  <a:lnTo>
                    <a:pt x="1212" y="0"/>
                  </a:lnTo>
                  <a:lnTo>
                    <a:pt x="1212" y="6"/>
                  </a:lnTo>
                  <a:lnTo>
                    <a:pt x="1218" y="6"/>
                  </a:lnTo>
                  <a:lnTo>
                    <a:pt x="1266" y="6"/>
                  </a:lnTo>
                  <a:lnTo>
                    <a:pt x="1272" y="0"/>
                  </a:lnTo>
                  <a:lnTo>
                    <a:pt x="1278" y="6"/>
                  </a:lnTo>
                  <a:lnTo>
                    <a:pt x="1290" y="6"/>
                  </a:lnTo>
                  <a:lnTo>
                    <a:pt x="1296" y="6"/>
                  </a:lnTo>
                  <a:lnTo>
                    <a:pt x="1308" y="6"/>
                  </a:lnTo>
                  <a:lnTo>
                    <a:pt x="1314" y="6"/>
                  </a:lnTo>
                  <a:lnTo>
                    <a:pt x="1320" y="6"/>
                  </a:lnTo>
                  <a:lnTo>
                    <a:pt x="1326" y="12"/>
                  </a:lnTo>
                  <a:lnTo>
                    <a:pt x="1338" y="30"/>
                  </a:lnTo>
                  <a:lnTo>
                    <a:pt x="1344" y="36"/>
                  </a:lnTo>
                  <a:lnTo>
                    <a:pt x="1356" y="48"/>
                  </a:lnTo>
                  <a:lnTo>
                    <a:pt x="1362" y="60"/>
                  </a:lnTo>
                  <a:lnTo>
                    <a:pt x="1368" y="66"/>
                  </a:lnTo>
                  <a:lnTo>
                    <a:pt x="1374" y="72"/>
                  </a:lnTo>
                  <a:lnTo>
                    <a:pt x="1374" y="78"/>
                  </a:lnTo>
                  <a:lnTo>
                    <a:pt x="1398" y="108"/>
                  </a:lnTo>
                  <a:lnTo>
                    <a:pt x="1398" y="114"/>
                  </a:lnTo>
                  <a:lnTo>
                    <a:pt x="1404" y="114"/>
                  </a:lnTo>
                  <a:lnTo>
                    <a:pt x="1404" y="120"/>
                  </a:lnTo>
                  <a:lnTo>
                    <a:pt x="1410" y="132"/>
                  </a:lnTo>
                  <a:lnTo>
                    <a:pt x="1416" y="132"/>
                  </a:lnTo>
                  <a:lnTo>
                    <a:pt x="1416" y="138"/>
                  </a:lnTo>
                  <a:lnTo>
                    <a:pt x="1422" y="144"/>
                  </a:lnTo>
                  <a:lnTo>
                    <a:pt x="1428" y="150"/>
                  </a:lnTo>
                  <a:lnTo>
                    <a:pt x="1428" y="156"/>
                  </a:lnTo>
                  <a:lnTo>
                    <a:pt x="1458" y="192"/>
                  </a:lnTo>
                  <a:lnTo>
                    <a:pt x="1458" y="198"/>
                  </a:lnTo>
                  <a:lnTo>
                    <a:pt x="1464" y="204"/>
                  </a:lnTo>
                  <a:lnTo>
                    <a:pt x="1470" y="210"/>
                  </a:lnTo>
                  <a:lnTo>
                    <a:pt x="1476" y="216"/>
                  </a:lnTo>
                  <a:lnTo>
                    <a:pt x="1482" y="228"/>
                  </a:lnTo>
                  <a:lnTo>
                    <a:pt x="1488" y="234"/>
                  </a:lnTo>
                  <a:lnTo>
                    <a:pt x="1512" y="270"/>
                  </a:lnTo>
                  <a:lnTo>
                    <a:pt x="1512" y="276"/>
                  </a:lnTo>
                  <a:lnTo>
                    <a:pt x="1530" y="300"/>
                  </a:lnTo>
                  <a:lnTo>
                    <a:pt x="1536" y="306"/>
                  </a:lnTo>
                  <a:lnTo>
                    <a:pt x="1542" y="312"/>
                  </a:lnTo>
                  <a:lnTo>
                    <a:pt x="1542" y="318"/>
                  </a:lnTo>
                  <a:lnTo>
                    <a:pt x="1560" y="336"/>
                  </a:lnTo>
                  <a:lnTo>
                    <a:pt x="1566" y="348"/>
                  </a:lnTo>
                  <a:lnTo>
                    <a:pt x="1572" y="354"/>
                  </a:lnTo>
                  <a:lnTo>
                    <a:pt x="1578" y="360"/>
                  </a:lnTo>
                  <a:lnTo>
                    <a:pt x="1584" y="378"/>
                  </a:lnTo>
                  <a:lnTo>
                    <a:pt x="1590" y="378"/>
                  </a:lnTo>
                  <a:lnTo>
                    <a:pt x="1596" y="390"/>
                  </a:lnTo>
                  <a:lnTo>
                    <a:pt x="1602" y="396"/>
                  </a:lnTo>
                  <a:lnTo>
                    <a:pt x="1608" y="408"/>
                  </a:lnTo>
                  <a:lnTo>
                    <a:pt x="1614" y="408"/>
                  </a:lnTo>
                  <a:lnTo>
                    <a:pt x="1614" y="432"/>
                  </a:lnTo>
                  <a:lnTo>
                    <a:pt x="1620" y="438"/>
                  </a:lnTo>
                  <a:lnTo>
                    <a:pt x="1620" y="450"/>
                  </a:lnTo>
                  <a:lnTo>
                    <a:pt x="1620" y="462"/>
                  </a:lnTo>
                  <a:lnTo>
                    <a:pt x="1626" y="474"/>
                  </a:lnTo>
                  <a:lnTo>
                    <a:pt x="1626" y="480"/>
                  </a:lnTo>
                  <a:lnTo>
                    <a:pt x="1626" y="486"/>
                  </a:lnTo>
                  <a:lnTo>
                    <a:pt x="1632" y="522"/>
                  </a:lnTo>
                  <a:lnTo>
                    <a:pt x="1632" y="528"/>
                  </a:lnTo>
                  <a:lnTo>
                    <a:pt x="1632" y="534"/>
                  </a:lnTo>
                  <a:lnTo>
                    <a:pt x="1638" y="540"/>
                  </a:lnTo>
                  <a:lnTo>
                    <a:pt x="1638" y="558"/>
                  </a:lnTo>
                  <a:lnTo>
                    <a:pt x="1638" y="570"/>
                  </a:lnTo>
                  <a:lnTo>
                    <a:pt x="1644" y="582"/>
                  </a:lnTo>
                  <a:lnTo>
                    <a:pt x="1650" y="618"/>
                  </a:lnTo>
                  <a:lnTo>
                    <a:pt x="1650" y="624"/>
                  </a:lnTo>
                  <a:lnTo>
                    <a:pt x="1650" y="636"/>
                  </a:lnTo>
                  <a:lnTo>
                    <a:pt x="1656" y="642"/>
                  </a:lnTo>
                  <a:lnTo>
                    <a:pt x="1656" y="648"/>
                  </a:lnTo>
                  <a:lnTo>
                    <a:pt x="1656" y="654"/>
                  </a:lnTo>
                  <a:lnTo>
                    <a:pt x="1656" y="660"/>
                  </a:lnTo>
                  <a:lnTo>
                    <a:pt x="1662" y="696"/>
                  </a:lnTo>
                  <a:lnTo>
                    <a:pt x="1668" y="708"/>
                  </a:lnTo>
                  <a:lnTo>
                    <a:pt x="1668" y="714"/>
                  </a:lnTo>
                  <a:lnTo>
                    <a:pt x="1668" y="732"/>
                  </a:lnTo>
                  <a:lnTo>
                    <a:pt x="1668" y="744"/>
                  </a:lnTo>
                  <a:lnTo>
                    <a:pt x="1674" y="756"/>
                  </a:lnTo>
                  <a:lnTo>
                    <a:pt x="1680" y="762"/>
                  </a:lnTo>
                  <a:lnTo>
                    <a:pt x="1680" y="768"/>
                  </a:lnTo>
                  <a:lnTo>
                    <a:pt x="1680" y="774"/>
                  </a:lnTo>
                  <a:lnTo>
                    <a:pt x="1680" y="780"/>
                  </a:lnTo>
                  <a:lnTo>
                    <a:pt x="1674" y="786"/>
                  </a:lnTo>
                  <a:lnTo>
                    <a:pt x="1668" y="792"/>
                  </a:lnTo>
                  <a:lnTo>
                    <a:pt x="1668" y="798"/>
                  </a:lnTo>
                  <a:lnTo>
                    <a:pt x="1668" y="804"/>
                  </a:lnTo>
                  <a:lnTo>
                    <a:pt x="1674" y="804"/>
                  </a:lnTo>
                  <a:lnTo>
                    <a:pt x="1668" y="810"/>
                  </a:lnTo>
                  <a:lnTo>
                    <a:pt x="1674" y="810"/>
                  </a:lnTo>
                  <a:lnTo>
                    <a:pt x="1680" y="810"/>
                  </a:lnTo>
                  <a:lnTo>
                    <a:pt x="1680" y="816"/>
                  </a:lnTo>
                  <a:lnTo>
                    <a:pt x="1680" y="822"/>
                  </a:lnTo>
                  <a:lnTo>
                    <a:pt x="1674" y="822"/>
                  </a:lnTo>
                  <a:lnTo>
                    <a:pt x="1674" y="828"/>
                  </a:lnTo>
                  <a:lnTo>
                    <a:pt x="1668" y="828"/>
                  </a:lnTo>
                  <a:lnTo>
                    <a:pt x="1674" y="834"/>
                  </a:lnTo>
                  <a:lnTo>
                    <a:pt x="1668" y="834"/>
                  </a:lnTo>
                  <a:lnTo>
                    <a:pt x="1668" y="840"/>
                  </a:lnTo>
                  <a:lnTo>
                    <a:pt x="1674" y="840"/>
                  </a:lnTo>
                  <a:lnTo>
                    <a:pt x="1686" y="852"/>
                  </a:lnTo>
                  <a:lnTo>
                    <a:pt x="1692" y="858"/>
                  </a:lnTo>
                  <a:lnTo>
                    <a:pt x="1698" y="858"/>
                  </a:lnTo>
                  <a:lnTo>
                    <a:pt x="1698" y="864"/>
                  </a:lnTo>
                  <a:lnTo>
                    <a:pt x="1698" y="870"/>
                  </a:lnTo>
                  <a:lnTo>
                    <a:pt x="1704" y="864"/>
                  </a:lnTo>
                  <a:lnTo>
                    <a:pt x="1716" y="864"/>
                  </a:lnTo>
                  <a:lnTo>
                    <a:pt x="1722" y="864"/>
                  </a:lnTo>
                  <a:lnTo>
                    <a:pt x="1728" y="864"/>
                  </a:lnTo>
                  <a:lnTo>
                    <a:pt x="1734" y="864"/>
                  </a:lnTo>
                  <a:lnTo>
                    <a:pt x="1740" y="864"/>
                  </a:lnTo>
                  <a:lnTo>
                    <a:pt x="1746" y="876"/>
                  </a:lnTo>
                  <a:lnTo>
                    <a:pt x="1746" y="870"/>
                  </a:lnTo>
                  <a:lnTo>
                    <a:pt x="1740" y="864"/>
                  </a:lnTo>
                  <a:lnTo>
                    <a:pt x="1746" y="864"/>
                  </a:lnTo>
                  <a:lnTo>
                    <a:pt x="1752" y="870"/>
                  </a:lnTo>
                  <a:lnTo>
                    <a:pt x="1758" y="864"/>
                  </a:lnTo>
                  <a:lnTo>
                    <a:pt x="1764" y="864"/>
                  </a:lnTo>
                  <a:lnTo>
                    <a:pt x="1770" y="858"/>
                  </a:lnTo>
                  <a:lnTo>
                    <a:pt x="1782" y="864"/>
                  </a:lnTo>
                  <a:lnTo>
                    <a:pt x="1782" y="870"/>
                  </a:lnTo>
                  <a:lnTo>
                    <a:pt x="1788" y="864"/>
                  </a:lnTo>
                  <a:lnTo>
                    <a:pt x="1794" y="864"/>
                  </a:lnTo>
                  <a:lnTo>
                    <a:pt x="1800" y="870"/>
                  </a:lnTo>
                  <a:lnTo>
                    <a:pt x="1818" y="864"/>
                  </a:lnTo>
                  <a:lnTo>
                    <a:pt x="1824" y="870"/>
                  </a:lnTo>
                  <a:lnTo>
                    <a:pt x="1830" y="864"/>
                  </a:lnTo>
                  <a:lnTo>
                    <a:pt x="1836" y="864"/>
                  </a:lnTo>
                  <a:lnTo>
                    <a:pt x="1842" y="870"/>
                  </a:lnTo>
                  <a:lnTo>
                    <a:pt x="1842" y="876"/>
                  </a:lnTo>
                  <a:lnTo>
                    <a:pt x="1848" y="876"/>
                  </a:lnTo>
                  <a:lnTo>
                    <a:pt x="1848" y="870"/>
                  </a:lnTo>
                  <a:lnTo>
                    <a:pt x="1854" y="870"/>
                  </a:lnTo>
                  <a:lnTo>
                    <a:pt x="1860" y="870"/>
                  </a:lnTo>
                  <a:lnTo>
                    <a:pt x="1860" y="876"/>
                  </a:lnTo>
                  <a:lnTo>
                    <a:pt x="1866" y="876"/>
                  </a:lnTo>
                  <a:lnTo>
                    <a:pt x="1866" y="882"/>
                  </a:lnTo>
                  <a:lnTo>
                    <a:pt x="1872" y="882"/>
                  </a:lnTo>
                  <a:lnTo>
                    <a:pt x="1878" y="888"/>
                  </a:lnTo>
                  <a:lnTo>
                    <a:pt x="1890" y="888"/>
                  </a:lnTo>
                  <a:lnTo>
                    <a:pt x="1890" y="894"/>
                  </a:lnTo>
                  <a:lnTo>
                    <a:pt x="1890" y="900"/>
                  </a:lnTo>
                  <a:lnTo>
                    <a:pt x="1884" y="900"/>
                  </a:lnTo>
                  <a:lnTo>
                    <a:pt x="1884" y="906"/>
                  </a:lnTo>
                  <a:lnTo>
                    <a:pt x="1884" y="912"/>
                  </a:lnTo>
                  <a:lnTo>
                    <a:pt x="1890" y="912"/>
                  </a:lnTo>
                  <a:lnTo>
                    <a:pt x="1896" y="912"/>
                  </a:lnTo>
                  <a:lnTo>
                    <a:pt x="1902" y="912"/>
                  </a:lnTo>
                  <a:lnTo>
                    <a:pt x="1908" y="918"/>
                  </a:lnTo>
                  <a:lnTo>
                    <a:pt x="1908" y="924"/>
                  </a:lnTo>
                  <a:lnTo>
                    <a:pt x="1908" y="930"/>
                  </a:lnTo>
                  <a:lnTo>
                    <a:pt x="1908" y="936"/>
                  </a:lnTo>
                  <a:lnTo>
                    <a:pt x="1914" y="936"/>
                  </a:lnTo>
                  <a:lnTo>
                    <a:pt x="1914" y="942"/>
                  </a:lnTo>
                  <a:lnTo>
                    <a:pt x="1908" y="948"/>
                  </a:lnTo>
                  <a:lnTo>
                    <a:pt x="1914" y="948"/>
                  </a:lnTo>
                  <a:lnTo>
                    <a:pt x="1920" y="954"/>
                  </a:lnTo>
                  <a:lnTo>
                    <a:pt x="1926" y="954"/>
                  </a:lnTo>
                  <a:lnTo>
                    <a:pt x="1932" y="954"/>
                  </a:lnTo>
                  <a:lnTo>
                    <a:pt x="1938" y="954"/>
                  </a:lnTo>
                  <a:lnTo>
                    <a:pt x="1938" y="960"/>
                  </a:lnTo>
                  <a:lnTo>
                    <a:pt x="1944" y="966"/>
                  </a:lnTo>
                  <a:lnTo>
                    <a:pt x="1944" y="972"/>
                  </a:lnTo>
                  <a:lnTo>
                    <a:pt x="1944" y="978"/>
                  </a:lnTo>
                  <a:lnTo>
                    <a:pt x="1950" y="978"/>
                  </a:lnTo>
                  <a:lnTo>
                    <a:pt x="1950" y="984"/>
                  </a:lnTo>
                  <a:lnTo>
                    <a:pt x="1956" y="984"/>
                  </a:lnTo>
                  <a:lnTo>
                    <a:pt x="1962" y="984"/>
                  </a:lnTo>
                  <a:lnTo>
                    <a:pt x="1962" y="978"/>
                  </a:lnTo>
                  <a:lnTo>
                    <a:pt x="1968" y="978"/>
                  </a:lnTo>
                  <a:lnTo>
                    <a:pt x="1974" y="978"/>
                  </a:lnTo>
                  <a:lnTo>
                    <a:pt x="1980" y="972"/>
                  </a:lnTo>
                  <a:lnTo>
                    <a:pt x="1980" y="978"/>
                  </a:lnTo>
                  <a:lnTo>
                    <a:pt x="1980" y="984"/>
                  </a:lnTo>
                  <a:lnTo>
                    <a:pt x="1986" y="984"/>
                  </a:lnTo>
                  <a:lnTo>
                    <a:pt x="1992" y="990"/>
                  </a:lnTo>
                  <a:lnTo>
                    <a:pt x="1992" y="996"/>
                  </a:lnTo>
                  <a:lnTo>
                    <a:pt x="1992" y="1002"/>
                  </a:lnTo>
                  <a:lnTo>
                    <a:pt x="1974" y="1008"/>
                  </a:lnTo>
                  <a:lnTo>
                    <a:pt x="1974" y="1014"/>
                  </a:lnTo>
                  <a:lnTo>
                    <a:pt x="1974" y="1020"/>
                  </a:lnTo>
                  <a:lnTo>
                    <a:pt x="1974" y="1026"/>
                  </a:lnTo>
                  <a:lnTo>
                    <a:pt x="1968" y="1038"/>
                  </a:lnTo>
                  <a:lnTo>
                    <a:pt x="1968" y="1044"/>
                  </a:lnTo>
                  <a:lnTo>
                    <a:pt x="1974" y="1056"/>
                  </a:lnTo>
                  <a:lnTo>
                    <a:pt x="1968" y="1062"/>
                  </a:lnTo>
                  <a:lnTo>
                    <a:pt x="1962" y="1062"/>
                  </a:lnTo>
                  <a:lnTo>
                    <a:pt x="1956" y="1068"/>
                  </a:lnTo>
                  <a:lnTo>
                    <a:pt x="1956" y="1074"/>
                  </a:lnTo>
                  <a:lnTo>
                    <a:pt x="1956" y="1080"/>
                  </a:lnTo>
                  <a:lnTo>
                    <a:pt x="1956" y="1086"/>
                  </a:lnTo>
                  <a:lnTo>
                    <a:pt x="1956" y="1092"/>
                  </a:lnTo>
                  <a:lnTo>
                    <a:pt x="1962" y="1092"/>
                  </a:lnTo>
                  <a:lnTo>
                    <a:pt x="1962" y="1104"/>
                  </a:lnTo>
                  <a:lnTo>
                    <a:pt x="1968" y="1110"/>
                  </a:lnTo>
                  <a:lnTo>
                    <a:pt x="1968" y="1116"/>
                  </a:lnTo>
                  <a:lnTo>
                    <a:pt x="1974" y="1116"/>
                  </a:lnTo>
                  <a:lnTo>
                    <a:pt x="1974" y="1122"/>
                  </a:lnTo>
                  <a:lnTo>
                    <a:pt x="1980" y="1122"/>
                  </a:lnTo>
                  <a:lnTo>
                    <a:pt x="1974" y="1128"/>
                  </a:lnTo>
                  <a:lnTo>
                    <a:pt x="1968" y="1134"/>
                  </a:lnTo>
                  <a:lnTo>
                    <a:pt x="1962" y="1140"/>
                  </a:lnTo>
                  <a:lnTo>
                    <a:pt x="1962" y="1146"/>
                  </a:lnTo>
                  <a:lnTo>
                    <a:pt x="1968" y="1152"/>
                  </a:lnTo>
                  <a:lnTo>
                    <a:pt x="1968" y="1158"/>
                  </a:lnTo>
                  <a:lnTo>
                    <a:pt x="1962" y="1158"/>
                  </a:lnTo>
                  <a:lnTo>
                    <a:pt x="1962" y="1164"/>
                  </a:lnTo>
                  <a:lnTo>
                    <a:pt x="1956" y="1164"/>
                  </a:lnTo>
                  <a:lnTo>
                    <a:pt x="1956" y="1170"/>
                  </a:lnTo>
                  <a:lnTo>
                    <a:pt x="1944" y="1182"/>
                  </a:lnTo>
                  <a:lnTo>
                    <a:pt x="1944" y="1188"/>
                  </a:lnTo>
                  <a:lnTo>
                    <a:pt x="1950" y="1188"/>
                  </a:lnTo>
                  <a:lnTo>
                    <a:pt x="1944" y="1200"/>
                  </a:lnTo>
                  <a:lnTo>
                    <a:pt x="1944" y="1206"/>
                  </a:lnTo>
                  <a:lnTo>
                    <a:pt x="1944" y="1212"/>
                  </a:lnTo>
                  <a:lnTo>
                    <a:pt x="1944" y="1218"/>
                  </a:lnTo>
                  <a:lnTo>
                    <a:pt x="1944" y="1230"/>
                  </a:lnTo>
                  <a:lnTo>
                    <a:pt x="1944" y="1236"/>
                  </a:lnTo>
                  <a:lnTo>
                    <a:pt x="1944" y="1242"/>
                  </a:lnTo>
                  <a:lnTo>
                    <a:pt x="1938" y="1248"/>
                  </a:lnTo>
                  <a:lnTo>
                    <a:pt x="1938" y="1254"/>
                  </a:lnTo>
                  <a:lnTo>
                    <a:pt x="1932" y="1254"/>
                  </a:lnTo>
                  <a:lnTo>
                    <a:pt x="1926" y="1260"/>
                  </a:lnTo>
                  <a:lnTo>
                    <a:pt x="1920" y="1266"/>
                  </a:lnTo>
                  <a:lnTo>
                    <a:pt x="1914" y="1272"/>
                  </a:lnTo>
                  <a:lnTo>
                    <a:pt x="1908" y="1272"/>
                  </a:lnTo>
                  <a:lnTo>
                    <a:pt x="1908" y="1278"/>
                  </a:lnTo>
                  <a:lnTo>
                    <a:pt x="1914" y="1278"/>
                  </a:lnTo>
                  <a:lnTo>
                    <a:pt x="1914" y="1290"/>
                  </a:lnTo>
                  <a:lnTo>
                    <a:pt x="1920" y="1296"/>
                  </a:lnTo>
                  <a:lnTo>
                    <a:pt x="1938" y="1302"/>
                  </a:lnTo>
                  <a:lnTo>
                    <a:pt x="1944" y="1308"/>
                  </a:lnTo>
                  <a:lnTo>
                    <a:pt x="1950" y="1314"/>
                  </a:lnTo>
                  <a:lnTo>
                    <a:pt x="1956" y="1314"/>
                  </a:lnTo>
                  <a:lnTo>
                    <a:pt x="1962" y="1320"/>
                  </a:lnTo>
                  <a:lnTo>
                    <a:pt x="1962" y="1326"/>
                  </a:lnTo>
                  <a:lnTo>
                    <a:pt x="1968" y="1326"/>
                  </a:lnTo>
                  <a:lnTo>
                    <a:pt x="1968" y="1332"/>
                  </a:lnTo>
                  <a:lnTo>
                    <a:pt x="1968" y="1344"/>
                  </a:lnTo>
                  <a:lnTo>
                    <a:pt x="1968" y="1350"/>
                  </a:lnTo>
                  <a:lnTo>
                    <a:pt x="1968" y="1368"/>
                  </a:lnTo>
                  <a:lnTo>
                    <a:pt x="1962" y="1380"/>
                  </a:lnTo>
                  <a:lnTo>
                    <a:pt x="1968" y="1392"/>
                  </a:lnTo>
                  <a:lnTo>
                    <a:pt x="1962" y="1398"/>
                  </a:lnTo>
                  <a:lnTo>
                    <a:pt x="1956" y="1404"/>
                  </a:lnTo>
                  <a:lnTo>
                    <a:pt x="1950" y="1410"/>
                  </a:lnTo>
                  <a:lnTo>
                    <a:pt x="1944" y="1410"/>
                  </a:lnTo>
                  <a:lnTo>
                    <a:pt x="1932" y="1416"/>
                  </a:lnTo>
                  <a:lnTo>
                    <a:pt x="1926" y="1416"/>
                  </a:lnTo>
                  <a:lnTo>
                    <a:pt x="1896" y="1428"/>
                  </a:lnTo>
                  <a:lnTo>
                    <a:pt x="1884" y="1434"/>
                  </a:lnTo>
                  <a:lnTo>
                    <a:pt x="1878" y="1434"/>
                  </a:lnTo>
                  <a:lnTo>
                    <a:pt x="1866" y="1434"/>
                  </a:lnTo>
                  <a:lnTo>
                    <a:pt x="1854" y="1440"/>
                  </a:lnTo>
                  <a:lnTo>
                    <a:pt x="1848" y="1440"/>
                  </a:lnTo>
                  <a:lnTo>
                    <a:pt x="1842" y="1446"/>
                  </a:lnTo>
                  <a:lnTo>
                    <a:pt x="1842" y="1458"/>
                  </a:lnTo>
                  <a:lnTo>
                    <a:pt x="1836" y="1470"/>
                  </a:lnTo>
                  <a:lnTo>
                    <a:pt x="1830" y="1476"/>
                  </a:lnTo>
                  <a:lnTo>
                    <a:pt x="1824" y="1476"/>
                  </a:lnTo>
                  <a:lnTo>
                    <a:pt x="1806" y="1482"/>
                  </a:lnTo>
                  <a:lnTo>
                    <a:pt x="1800" y="1488"/>
                  </a:lnTo>
                  <a:lnTo>
                    <a:pt x="1794" y="1488"/>
                  </a:lnTo>
                  <a:lnTo>
                    <a:pt x="1788" y="1488"/>
                  </a:lnTo>
                  <a:lnTo>
                    <a:pt x="1776" y="1494"/>
                  </a:lnTo>
                  <a:lnTo>
                    <a:pt x="1764" y="1494"/>
                  </a:lnTo>
                  <a:lnTo>
                    <a:pt x="1758" y="1500"/>
                  </a:lnTo>
                  <a:lnTo>
                    <a:pt x="1746" y="1506"/>
                  </a:lnTo>
                  <a:lnTo>
                    <a:pt x="1728" y="1518"/>
                  </a:lnTo>
                  <a:lnTo>
                    <a:pt x="1716" y="1524"/>
                  </a:lnTo>
                  <a:lnTo>
                    <a:pt x="1710" y="1530"/>
                  </a:lnTo>
                  <a:lnTo>
                    <a:pt x="1704" y="1536"/>
                  </a:lnTo>
                  <a:lnTo>
                    <a:pt x="1698" y="1542"/>
                  </a:lnTo>
                  <a:lnTo>
                    <a:pt x="1692" y="1554"/>
                  </a:lnTo>
                  <a:lnTo>
                    <a:pt x="1686" y="1560"/>
                  </a:lnTo>
                  <a:lnTo>
                    <a:pt x="1680" y="1560"/>
                  </a:lnTo>
                  <a:lnTo>
                    <a:pt x="1674" y="1560"/>
                  </a:lnTo>
                  <a:lnTo>
                    <a:pt x="1656" y="1572"/>
                  </a:lnTo>
                  <a:lnTo>
                    <a:pt x="1650" y="1572"/>
                  </a:lnTo>
                  <a:lnTo>
                    <a:pt x="1644" y="1572"/>
                  </a:lnTo>
                  <a:lnTo>
                    <a:pt x="1638" y="1578"/>
                  </a:lnTo>
                  <a:lnTo>
                    <a:pt x="1632" y="1578"/>
                  </a:lnTo>
                  <a:lnTo>
                    <a:pt x="1626" y="1578"/>
                  </a:lnTo>
                  <a:lnTo>
                    <a:pt x="1620" y="1572"/>
                  </a:lnTo>
                  <a:lnTo>
                    <a:pt x="1614" y="1572"/>
                  </a:lnTo>
                  <a:lnTo>
                    <a:pt x="1608" y="1566"/>
                  </a:lnTo>
                  <a:lnTo>
                    <a:pt x="1602" y="1560"/>
                  </a:lnTo>
                  <a:lnTo>
                    <a:pt x="1596" y="1554"/>
                  </a:lnTo>
                  <a:lnTo>
                    <a:pt x="1590" y="1548"/>
                  </a:lnTo>
                  <a:lnTo>
                    <a:pt x="1578" y="1548"/>
                  </a:lnTo>
                  <a:lnTo>
                    <a:pt x="1572" y="1548"/>
                  </a:lnTo>
                  <a:lnTo>
                    <a:pt x="1566" y="1548"/>
                  </a:lnTo>
                  <a:lnTo>
                    <a:pt x="1554" y="1536"/>
                  </a:lnTo>
                  <a:lnTo>
                    <a:pt x="1548" y="1536"/>
                  </a:lnTo>
                  <a:lnTo>
                    <a:pt x="1542" y="1542"/>
                  </a:lnTo>
                  <a:lnTo>
                    <a:pt x="1536" y="1548"/>
                  </a:lnTo>
                  <a:lnTo>
                    <a:pt x="1536" y="1566"/>
                  </a:lnTo>
                  <a:lnTo>
                    <a:pt x="1530" y="1572"/>
                  </a:lnTo>
                  <a:lnTo>
                    <a:pt x="1524" y="1578"/>
                  </a:lnTo>
                  <a:lnTo>
                    <a:pt x="1518" y="1584"/>
                  </a:lnTo>
                  <a:lnTo>
                    <a:pt x="1512" y="1596"/>
                  </a:lnTo>
                  <a:lnTo>
                    <a:pt x="1506" y="1602"/>
                  </a:lnTo>
                  <a:lnTo>
                    <a:pt x="1506" y="1608"/>
                  </a:lnTo>
                  <a:lnTo>
                    <a:pt x="1506" y="1614"/>
                  </a:lnTo>
                  <a:lnTo>
                    <a:pt x="1500" y="1614"/>
                  </a:lnTo>
                  <a:lnTo>
                    <a:pt x="1500" y="1620"/>
                  </a:lnTo>
                  <a:lnTo>
                    <a:pt x="1500" y="1626"/>
                  </a:lnTo>
                  <a:lnTo>
                    <a:pt x="1494" y="1632"/>
                  </a:lnTo>
                  <a:lnTo>
                    <a:pt x="1488" y="1638"/>
                  </a:lnTo>
                  <a:lnTo>
                    <a:pt x="1482" y="1638"/>
                  </a:lnTo>
                  <a:lnTo>
                    <a:pt x="1482" y="1644"/>
                  </a:lnTo>
                  <a:lnTo>
                    <a:pt x="1482" y="1650"/>
                  </a:lnTo>
                  <a:lnTo>
                    <a:pt x="1482" y="1656"/>
                  </a:lnTo>
                  <a:lnTo>
                    <a:pt x="1476" y="1662"/>
                  </a:lnTo>
                  <a:lnTo>
                    <a:pt x="1470" y="1668"/>
                  </a:lnTo>
                  <a:lnTo>
                    <a:pt x="1464" y="1674"/>
                  </a:lnTo>
                  <a:lnTo>
                    <a:pt x="1464" y="1680"/>
                  </a:lnTo>
                  <a:lnTo>
                    <a:pt x="1458" y="1680"/>
                  </a:lnTo>
                  <a:lnTo>
                    <a:pt x="1452" y="1686"/>
                  </a:lnTo>
                  <a:lnTo>
                    <a:pt x="1446" y="1686"/>
                  </a:lnTo>
                  <a:lnTo>
                    <a:pt x="1440" y="1698"/>
                  </a:lnTo>
                  <a:lnTo>
                    <a:pt x="1440" y="1704"/>
                  </a:lnTo>
                  <a:lnTo>
                    <a:pt x="1434" y="1710"/>
                  </a:lnTo>
                  <a:lnTo>
                    <a:pt x="1434" y="1716"/>
                  </a:lnTo>
                  <a:lnTo>
                    <a:pt x="1428" y="1716"/>
                  </a:lnTo>
                  <a:lnTo>
                    <a:pt x="1428" y="1722"/>
                  </a:lnTo>
                  <a:lnTo>
                    <a:pt x="1428" y="1728"/>
                  </a:lnTo>
                  <a:lnTo>
                    <a:pt x="1422" y="1728"/>
                  </a:lnTo>
                  <a:lnTo>
                    <a:pt x="1422" y="1734"/>
                  </a:lnTo>
                  <a:lnTo>
                    <a:pt x="1416" y="1734"/>
                  </a:lnTo>
                  <a:lnTo>
                    <a:pt x="1410" y="1734"/>
                  </a:lnTo>
                  <a:lnTo>
                    <a:pt x="1392" y="1746"/>
                  </a:lnTo>
                  <a:lnTo>
                    <a:pt x="1386" y="1746"/>
                  </a:lnTo>
                  <a:lnTo>
                    <a:pt x="1368" y="1752"/>
                  </a:lnTo>
                  <a:lnTo>
                    <a:pt x="1362" y="1758"/>
                  </a:lnTo>
                  <a:lnTo>
                    <a:pt x="1362" y="1770"/>
                  </a:lnTo>
                  <a:lnTo>
                    <a:pt x="1356" y="178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graphicFrame>
        <p:nvGraphicFramePr>
          <p:cNvPr id="357" name="Group 76">
            <a:extLst>
              <a:ext uri="{FF2B5EF4-FFF2-40B4-BE49-F238E27FC236}">
                <a16:creationId xmlns:a16="http://schemas.microsoft.com/office/drawing/2014/main" id="{57830D68-CF73-4A3E-9D36-141B03AADBF7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41338" y="3402013"/>
          <a:ext cx="3735387" cy="1827306"/>
        </p:xfrm>
        <a:graphic>
          <a:graphicData uri="http://schemas.openxmlformats.org/drawingml/2006/table">
            <a:tbl>
              <a:tblPr/>
              <a:tblGrid>
                <a:gridCol w="1316931">
                  <a:extLst>
                    <a:ext uri="{9D8B030D-6E8A-4147-A177-3AD203B41FA5}">
                      <a16:colId xmlns:a16="http://schemas.microsoft.com/office/drawing/2014/main" val="2027704273"/>
                    </a:ext>
                  </a:extLst>
                </a:gridCol>
                <a:gridCol w="603796">
                  <a:extLst>
                    <a:ext uri="{9D8B030D-6E8A-4147-A177-3AD203B41FA5}">
                      <a16:colId xmlns:a16="http://schemas.microsoft.com/office/drawing/2014/main" val="3432768286"/>
                    </a:ext>
                  </a:extLst>
                </a:gridCol>
                <a:gridCol w="744015">
                  <a:extLst>
                    <a:ext uri="{9D8B030D-6E8A-4147-A177-3AD203B41FA5}">
                      <a16:colId xmlns:a16="http://schemas.microsoft.com/office/drawing/2014/main" val="3730294207"/>
                    </a:ext>
                  </a:extLst>
                </a:gridCol>
                <a:gridCol w="1070645">
                  <a:extLst>
                    <a:ext uri="{9D8B030D-6E8A-4147-A177-3AD203B41FA5}">
                      <a16:colId xmlns:a16="http://schemas.microsoft.com/office/drawing/2014/main" val="2258321117"/>
                    </a:ext>
                  </a:extLst>
                </a:gridCol>
              </a:tblGrid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apital</a:t>
                      </a:r>
                      <a:endParaRPr kumimoji="0" lang="en-SG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292929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SG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Ikeja</a:t>
                      </a:r>
                      <a:endParaRPr kumimoji="0" lang="en-SG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703009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nd Are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3,671 km</a:t>
                      </a:r>
                      <a:r>
                        <a:rPr kumimoji="0" lang="en-US" altLang="en-US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7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603614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Population (2017E)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2,487,836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2 of 37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505851"/>
                  </a:ext>
                </a:extLst>
              </a:tr>
              <a:tr h="203024">
                <a:tc row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Dem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0-14: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4,045,793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46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130093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5-64: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8,156,782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51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387564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65+: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+mn-cs"/>
                        </a:rPr>
                        <a:t>   285,261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[3%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38801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bour force 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7,118,101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1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797882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limate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ropical savann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3942226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op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Sandbars and lagoons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32899"/>
                  </a:ext>
                </a:extLst>
              </a:tr>
            </a:tbl>
          </a:graphicData>
        </a:graphic>
      </p:graphicFrame>
      <p:pic>
        <p:nvPicPr>
          <p:cNvPr id="23609" name="Picture 13">
            <a:extLst>
              <a:ext uri="{FF2B5EF4-FFF2-40B4-BE49-F238E27FC236}">
                <a16:creationId xmlns:a16="http://schemas.microsoft.com/office/drawing/2014/main" id="{952964D5-F0ED-4CAE-B71C-DB4A723FA5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0" y="3006725"/>
            <a:ext cx="1116013" cy="155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9" name="TextBox 378">
            <a:extLst>
              <a:ext uri="{FF2B5EF4-FFF2-40B4-BE49-F238E27FC236}">
                <a16:creationId xmlns:a16="http://schemas.microsoft.com/office/drawing/2014/main" id="{1B3FD4BF-4685-4C74-821F-10048D6246BF}"/>
              </a:ext>
            </a:extLst>
          </p:cNvPr>
          <p:cNvSpPr txBox="1"/>
          <p:nvPr/>
        </p:nvSpPr>
        <p:spPr>
          <a:xfrm>
            <a:off x="6124575" y="957263"/>
            <a:ext cx="3475038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Competitive Advantages</a:t>
            </a: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455FE7A1-ADE5-4F7B-A489-00196671A53E}"/>
              </a:ext>
            </a:extLst>
          </p:cNvPr>
          <p:cNvSpPr/>
          <p:nvPr/>
        </p:nvSpPr>
        <p:spPr>
          <a:xfrm>
            <a:off x="4267248" y="1187511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dbl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N</a:t>
            </a:r>
            <a:r>
              <a:rPr lang="en-US" sz="1600" spc="-150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 pitchFamily="34" charset="0"/>
                <a:cs typeface="Arial" charset="0"/>
              </a:rPr>
              <a:t>333.9</a:t>
            </a:r>
            <a:r>
              <a:rPr kumimoji="0" lang="en-US" sz="1600" b="0" i="0" u="none" strike="no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bn/$1.1bn</a:t>
            </a:r>
            <a:endParaRPr kumimoji="0" lang="en-MY" sz="1600" b="0" i="0" u="none" strike="noStrike" kern="1200" cap="none" spc="-15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EBB25788-D073-4A78-9D6C-DF3836CFFFBB}"/>
              </a:ext>
            </a:extLst>
          </p:cNvPr>
          <p:cNvSpPr txBox="1"/>
          <p:nvPr/>
        </p:nvSpPr>
        <p:spPr>
          <a:xfrm>
            <a:off x="4267200" y="955675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IGR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 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(2017)</a:t>
            </a: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6F07DF39-553B-44F0-8864-1F897C2BD79A}"/>
              </a:ext>
            </a:extLst>
          </p:cNvPr>
          <p:cNvSpPr/>
          <p:nvPr/>
        </p:nvSpPr>
        <p:spPr>
          <a:xfrm>
            <a:off x="4267252" y="1809750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dbl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N</a:t>
            </a:r>
            <a:r>
              <a:rPr kumimoji="0" lang="en-US" sz="1600" b="0" i="0" u="none" strike="no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1.046trn/$</a:t>
            </a:r>
            <a:r>
              <a:rPr lang="en-US" sz="1600" spc="-150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 pitchFamily="34" charset="0"/>
                <a:cs typeface="Arial" charset="0"/>
              </a:rPr>
              <a:t>3.4</a:t>
            </a:r>
            <a:r>
              <a:rPr kumimoji="0" lang="en-US" sz="1600" b="0" i="0" u="none" strike="noStrike" kern="1200" cap="none" spc="-150" normalizeH="0" baseline="0" noProof="0" dirty="0" err="1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bn</a:t>
            </a:r>
            <a:endParaRPr kumimoji="0" lang="en-MY" sz="1600" b="0" i="0" u="none" strike="noStrike" kern="1200" cap="none" spc="-15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2508695A-2D2C-45A3-80FE-9C2CB18200C2}"/>
              </a:ext>
            </a:extLst>
          </p:cNvPr>
          <p:cNvSpPr txBox="1"/>
          <p:nvPr/>
        </p:nvSpPr>
        <p:spPr>
          <a:xfrm>
            <a:off x="4267200" y="1576388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Budget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 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(2018)</a:t>
            </a: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86A33ABE-3AE3-40A7-A6A6-1B757A6A9B0F}"/>
              </a:ext>
            </a:extLst>
          </p:cNvPr>
          <p:cNvSpPr/>
          <p:nvPr/>
        </p:nvSpPr>
        <p:spPr>
          <a:xfrm>
            <a:off x="4256076" y="2667155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dbl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N</a:t>
            </a:r>
            <a:r>
              <a:rPr kumimoji="0" lang="en-US" sz="1600" b="0" i="0" u="none" strike="no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5.5trn /$17.9bn</a:t>
            </a:r>
            <a:endParaRPr kumimoji="0" lang="en-MY" sz="1600" b="0" i="0" u="none" strike="noStrike" kern="1200" cap="none" spc="-15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1E919764-A18B-4532-A533-A84A31D7FEFE}"/>
              </a:ext>
            </a:extLst>
          </p:cNvPr>
          <p:cNvSpPr txBox="1"/>
          <p:nvPr/>
        </p:nvSpPr>
        <p:spPr>
          <a:xfrm>
            <a:off x="4256088" y="2185988"/>
            <a:ext cx="1811337" cy="50641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Househol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Consumption 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(2017)</a:t>
            </a:r>
          </a:p>
        </p:txBody>
      </p:sp>
      <p:sp>
        <p:nvSpPr>
          <p:cNvPr id="96" name="Plaque 95">
            <a:extLst>
              <a:ext uri="{FF2B5EF4-FFF2-40B4-BE49-F238E27FC236}">
                <a16:creationId xmlns:a16="http://schemas.microsoft.com/office/drawing/2014/main" id="{E3BE1182-17B4-4194-8641-F1EA2CCBB757}"/>
              </a:ext>
            </a:extLst>
          </p:cNvPr>
          <p:cNvSpPr/>
          <p:nvPr/>
        </p:nvSpPr>
        <p:spPr>
          <a:xfrm>
            <a:off x="5583996" y="2807593"/>
            <a:ext cx="483429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dirty="0">
                <a:solidFill>
                  <a:prstClr val="white"/>
                </a:solidFill>
                <a:latin typeface="Calibri" panose="020F0502020204030204" pitchFamily="34" charset="0"/>
              </a:rPr>
              <a:t>1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of 36</a:t>
            </a:r>
          </a:p>
        </p:txBody>
      </p:sp>
      <p:sp>
        <p:nvSpPr>
          <p:cNvPr id="99" name="Plaque 98">
            <a:extLst>
              <a:ext uri="{FF2B5EF4-FFF2-40B4-BE49-F238E27FC236}">
                <a16:creationId xmlns:a16="http://schemas.microsoft.com/office/drawing/2014/main" id="{8620E393-1C52-4CE1-9888-20922FA6DFEA}"/>
              </a:ext>
            </a:extLst>
          </p:cNvPr>
          <p:cNvSpPr/>
          <p:nvPr/>
        </p:nvSpPr>
        <p:spPr>
          <a:xfrm>
            <a:off x="5571332" y="1982093"/>
            <a:ext cx="496094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dirty="0">
                <a:solidFill>
                  <a:prstClr val="white"/>
                </a:solidFill>
                <a:latin typeface="Calibri" panose="020F0502020204030204" pitchFamily="34" charset="0"/>
              </a:rPr>
              <a:t>2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of 36</a:t>
            </a:r>
          </a:p>
        </p:txBody>
      </p:sp>
      <p:sp>
        <p:nvSpPr>
          <p:cNvPr id="100" name="Plaque 99">
            <a:extLst>
              <a:ext uri="{FF2B5EF4-FFF2-40B4-BE49-F238E27FC236}">
                <a16:creationId xmlns:a16="http://schemas.microsoft.com/office/drawing/2014/main" id="{3BFA6D28-9A42-4459-8BF1-090CE1B45216}"/>
              </a:ext>
            </a:extLst>
          </p:cNvPr>
          <p:cNvSpPr/>
          <p:nvPr/>
        </p:nvSpPr>
        <p:spPr>
          <a:xfrm>
            <a:off x="5638800" y="1333500"/>
            <a:ext cx="430213" cy="1539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noProof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of 36</a:t>
            </a:r>
          </a:p>
        </p:txBody>
      </p:sp>
      <p:sp>
        <p:nvSpPr>
          <p:cNvPr id="101" name="Pentagon 19">
            <a:extLst>
              <a:ext uri="{FF2B5EF4-FFF2-40B4-BE49-F238E27FC236}">
                <a16:creationId xmlns:a16="http://schemas.microsoft.com/office/drawing/2014/main" id="{CCD74FA4-19D0-4356-90C9-B3B49BCC3F54}"/>
              </a:ext>
            </a:extLst>
          </p:cNvPr>
          <p:cNvSpPr>
            <a:spLocks/>
          </p:cNvSpPr>
          <p:nvPr/>
        </p:nvSpPr>
        <p:spPr bwMode="auto">
          <a:xfrm>
            <a:off x="688340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dirty="0">
                <a:solidFill>
                  <a:prstClr val="white"/>
                </a:solidFill>
                <a:latin typeface="Calibri" panose="020F0502020204030204" pitchFamily="34" charset="0"/>
              </a:rPr>
              <a:t>2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of 37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12EE735-1E43-4799-A46A-5D0787F375CE}"/>
              </a:ext>
            </a:extLst>
          </p:cNvPr>
          <p:cNvSpPr/>
          <p:nvPr/>
        </p:nvSpPr>
        <p:spPr>
          <a:xfrm>
            <a:off x="6880225" y="5726113"/>
            <a:ext cx="642938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rting a Business</a:t>
            </a:r>
          </a:p>
        </p:txBody>
      </p:sp>
      <p:pic>
        <p:nvPicPr>
          <p:cNvPr id="23622" name="Picture 3">
            <a:extLst>
              <a:ext uri="{FF2B5EF4-FFF2-40B4-BE49-F238E27FC236}">
                <a16:creationId xmlns:a16="http://schemas.microsoft.com/office/drawing/2014/main" id="{53FAD0C6-8FFE-437B-B7E4-F2A938D3BE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350" y="5249863"/>
            <a:ext cx="41910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23" name="Freeform 15">
            <a:extLst>
              <a:ext uri="{FF2B5EF4-FFF2-40B4-BE49-F238E27FC236}">
                <a16:creationId xmlns:a16="http://schemas.microsoft.com/office/drawing/2014/main" id="{183A3C8B-011E-4D99-9165-3FF03A2D3207}"/>
              </a:ext>
            </a:extLst>
          </p:cNvPr>
          <p:cNvSpPr>
            <a:spLocks noEditPoints="1"/>
          </p:cNvSpPr>
          <p:nvPr/>
        </p:nvSpPr>
        <p:spPr bwMode="auto">
          <a:xfrm>
            <a:off x="9093200" y="5257800"/>
            <a:ext cx="276225" cy="347663"/>
          </a:xfrm>
          <a:custGeom>
            <a:avLst/>
            <a:gdLst>
              <a:gd name="T0" fmla="*/ 2147483646 w 3556"/>
              <a:gd name="T1" fmla="*/ 2147483646 h 3950"/>
              <a:gd name="T2" fmla="*/ 2147483646 w 3556"/>
              <a:gd name="T3" fmla="*/ 2147483646 h 3950"/>
              <a:gd name="T4" fmla="*/ 2147483646 w 3556"/>
              <a:gd name="T5" fmla="*/ 2147483646 h 3950"/>
              <a:gd name="T6" fmla="*/ 2147483646 w 3556"/>
              <a:gd name="T7" fmla="*/ 2147483646 h 3950"/>
              <a:gd name="T8" fmla="*/ 2147483646 w 3556"/>
              <a:gd name="T9" fmla="*/ 2147483646 h 3950"/>
              <a:gd name="T10" fmla="*/ 2147483646 w 3556"/>
              <a:gd name="T11" fmla="*/ 2147483646 h 3950"/>
              <a:gd name="T12" fmla="*/ 2147483646 w 3556"/>
              <a:gd name="T13" fmla="*/ 2147483646 h 3950"/>
              <a:gd name="T14" fmla="*/ 2147483646 w 3556"/>
              <a:gd name="T15" fmla="*/ 2147483646 h 3950"/>
              <a:gd name="T16" fmla="*/ 2147483646 w 3556"/>
              <a:gd name="T17" fmla="*/ 2147483646 h 3950"/>
              <a:gd name="T18" fmla="*/ 2147483646 w 3556"/>
              <a:gd name="T19" fmla="*/ 2147483646 h 3950"/>
              <a:gd name="T20" fmla="*/ 2147483646 w 3556"/>
              <a:gd name="T21" fmla="*/ 2147483646 h 3950"/>
              <a:gd name="T22" fmla="*/ 0 w 3556"/>
              <a:gd name="T23" fmla="*/ 2147483646 h 3950"/>
              <a:gd name="T24" fmla="*/ 2147483646 w 3556"/>
              <a:gd name="T25" fmla="*/ 2147483646 h 3950"/>
              <a:gd name="T26" fmla="*/ 2147483646 w 3556"/>
              <a:gd name="T27" fmla="*/ 2147483646 h 3950"/>
              <a:gd name="T28" fmla="*/ 2147483646 w 3556"/>
              <a:gd name="T29" fmla="*/ 2147483646 h 3950"/>
              <a:gd name="T30" fmla="*/ 2147483646 w 3556"/>
              <a:gd name="T31" fmla="*/ 2147483646 h 3950"/>
              <a:gd name="T32" fmla="*/ 2147483646 w 3556"/>
              <a:gd name="T33" fmla="*/ 2147483646 h 3950"/>
              <a:gd name="T34" fmla="*/ 2147483646 w 3556"/>
              <a:gd name="T35" fmla="*/ 2147483646 h 3950"/>
              <a:gd name="T36" fmla="*/ 2147483646 w 3556"/>
              <a:gd name="T37" fmla="*/ 2147483646 h 3950"/>
              <a:gd name="T38" fmla="*/ 2147483646 w 3556"/>
              <a:gd name="T39" fmla="*/ 2147483646 h 3950"/>
              <a:gd name="T40" fmla="*/ 2147483646 w 3556"/>
              <a:gd name="T41" fmla="*/ 2147483646 h 3950"/>
              <a:gd name="T42" fmla="*/ 2147483646 w 3556"/>
              <a:gd name="T43" fmla="*/ 2147483646 h 3950"/>
              <a:gd name="T44" fmla="*/ 2147483646 w 3556"/>
              <a:gd name="T45" fmla="*/ 2147483646 h 3950"/>
              <a:gd name="T46" fmla="*/ 2147483646 w 3556"/>
              <a:gd name="T47" fmla="*/ 2147483646 h 3950"/>
              <a:gd name="T48" fmla="*/ 2147483646 w 3556"/>
              <a:gd name="T49" fmla="*/ 2147483646 h 3950"/>
              <a:gd name="T50" fmla="*/ 2147483646 w 3556"/>
              <a:gd name="T51" fmla="*/ 2147483646 h 3950"/>
              <a:gd name="T52" fmla="*/ 2147483646 w 3556"/>
              <a:gd name="T53" fmla="*/ 2147483646 h 3950"/>
              <a:gd name="T54" fmla="*/ 2147483646 w 3556"/>
              <a:gd name="T55" fmla="*/ 2147483646 h 3950"/>
              <a:gd name="T56" fmla="*/ 2147483646 w 3556"/>
              <a:gd name="T57" fmla="*/ 2147483646 h 3950"/>
              <a:gd name="T58" fmla="*/ 2147483646 w 3556"/>
              <a:gd name="T59" fmla="*/ 2147483646 h 3950"/>
              <a:gd name="T60" fmla="*/ 2147483646 w 3556"/>
              <a:gd name="T61" fmla="*/ 2147483646 h 3950"/>
              <a:gd name="T62" fmla="*/ 2147483646 w 3556"/>
              <a:gd name="T63" fmla="*/ 2147483646 h 3950"/>
              <a:gd name="T64" fmla="*/ 2147483646 w 3556"/>
              <a:gd name="T65" fmla="*/ 2147483646 h 3950"/>
              <a:gd name="T66" fmla="*/ 2147483646 w 3556"/>
              <a:gd name="T67" fmla="*/ 2147483646 h 3950"/>
              <a:gd name="T68" fmla="*/ 2147483646 w 3556"/>
              <a:gd name="T69" fmla="*/ 2147483646 h 3950"/>
              <a:gd name="T70" fmla="*/ 2147483646 w 3556"/>
              <a:gd name="T71" fmla="*/ 2147483646 h 3950"/>
              <a:gd name="T72" fmla="*/ 2147483646 w 3556"/>
              <a:gd name="T73" fmla="*/ 2147483646 h 3950"/>
              <a:gd name="T74" fmla="*/ 2147483646 w 3556"/>
              <a:gd name="T75" fmla="*/ 2147483646 h 3950"/>
              <a:gd name="T76" fmla="*/ 2147483646 w 3556"/>
              <a:gd name="T77" fmla="*/ 2147483646 h 3950"/>
              <a:gd name="T78" fmla="*/ 2147483646 w 3556"/>
              <a:gd name="T79" fmla="*/ 2147483646 h 3950"/>
              <a:gd name="T80" fmla="*/ 2147483646 w 3556"/>
              <a:gd name="T81" fmla="*/ 0 h 3950"/>
              <a:gd name="T82" fmla="*/ 2147483646 w 3556"/>
              <a:gd name="T83" fmla="*/ 2147483646 h 3950"/>
              <a:gd name="T84" fmla="*/ 2147483646 w 3556"/>
              <a:gd name="T85" fmla="*/ 2147483646 h 3950"/>
              <a:gd name="T86" fmla="*/ 2147483646 w 3556"/>
              <a:gd name="T87" fmla="*/ 2147483646 h 395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556"/>
              <a:gd name="T133" fmla="*/ 0 h 3950"/>
              <a:gd name="T134" fmla="*/ 3556 w 3556"/>
              <a:gd name="T135" fmla="*/ 3950 h 395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556" h="3950">
                <a:moveTo>
                  <a:pt x="909" y="3917"/>
                </a:moveTo>
                <a:cubicBezTo>
                  <a:pt x="824" y="3832"/>
                  <a:pt x="894" y="3725"/>
                  <a:pt x="1036" y="3725"/>
                </a:cubicBezTo>
                <a:cubicBezTo>
                  <a:pt x="1119" y="3725"/>
                  <a:pt x="1129" y="3717"/>
                  <a:pt x="1129" y="3645"/>
                </a:cubicBezTo>
                <a:cubicBezTo>
                  <a:pt x="1129" y="3472"/>
                  <a:pt x="1135" y="3471"/>
                  <a:pt x="2192" y="3471"/>
                </a:cubicBezTo>
                <a:cubicBezTo>
                  <a:pt x="3086" y="3471"/>
                  <a:pt x="3155" y="3475"/>
                  <a:pt x="3199" y="3523"/>
                </a:cubicBezTo>
                <a:cubicBezTo>
                  <a:pt x="3225" y="3551"/>
                  <a:pt x="3246" y="3608"/>
                  <a:pt x="3246" y="3648"/>
                </a:cubicBezTo>
                <a:cubicBezTo>
                  <a:pt x="3246" y="3712"/>
                  <a:pt x="3259" y="3723"/>
                  <a:pt x="3349" y="3730"/>
                </a:cubicBezTo>
                <a:cubicBezTo>
                  <a:pt x="3470" y="3741"/>
                  <a:pt x="3530" y="3811"/>
                  <a:pt x="3482" y="3887"/>
                </a:cubicBezTo>
                <a:cubicBezTo>
                  <a:pt x="3453" y="3933"/>
                  <a:pt x="3356" y="3937"/>
                  <a:pt x="2197" y="3944"/>
                </a:cubicBezTo>
                <a:cubicBezTo>
                  <a:pt x="1245" y="3950"/>
                  <a:pt x="935" y="3943"/>
                  <a:pt x="909" y="3917"/>
                </a:cubicBezTo>
                <a:close/>
                <a:moveTo>
                  <a:pt x="87" y="3370"/>
                </a:moveTo>
                <a:cubicBezTo>
                  <a:pt x="24" y="3317"/>
                  <a:pt x="0" y="3272"/>
                  <a:pt x="0" y="3209"/>
                </a:cubicBezTo>
                <a:cubicBezTo>
                  <a:pt x="0" y="3132"/>
                  <a:pt x="86" y="3035"/>
                  <a:pt x="705" y="2414"/>
                </a:cubicBezTo>
                <a:lnTo>
                  <a:pt x="1411" y="1706"/>
                </a:lnTo>
                <a:lnTo>
                  <a:pt x="1235" y="1530"/>
                </a:lnTo>
                <a:lnTo>
                  <a:pt x="1059" y="1355"/>
                </a:lnTo>
                <a:lnTo>
                  <a:pt x="1510" y="903"/>
                </a:lnTo>
                <a:lnTo>
                  <a:pt x="1960" y="452"/>
                </a:lnTo>
                <a:lnTo>
                  <a:pt x="2135" y="624"/>
                </a:lnTo>
                <a:cubicBezTo>
                  <a:pt x="2305" y="793"/>
                  <a:pt x="2310" y="796"/>
                  <a:pt x="2374" y="751"/>
                </a:cubicBezTo>
                <a:cubicBezTo>
                  <a:pt x="2469" y="685"/>
                  <a:pt x="2547" y="695"/>
                  <a:pt x="2633" y="785"/>
                </a:cubicBezTo>
                <a:cubicBezTo>
                  <a:pt x="2720" y="875"/>
                  <a:pt x="2731" y="974"/>
                  <a:pt x="2662" y="1050"/>
                </a:cubicBezTo>
                <a:cubicBezTo>
                  <a:pt x="2616" y="1100"/>
                  <a:pt x="2624" y="1112"/>
                  <a:pt x="2823" y="1313"/>
                </a:cubicBezTo>
                <a:lnTo>
                  <a:pt x="3033" y="1524"/>
                </a:lnTo>
                <a:lnTo>
                  <a:pt x="2582" y="1975"/>
                </a:lnTo>
                <a:lnTo>
                  <a:pt x="2132" y="2427"/>
                </a:lnTo>
                <a:lnTo>
                  <a:pt x="1933" y="2229"/>
                </a:lnTo>
                <a:cubicBezTo>
                  <a:pt x="1824" y="2121"/>
                  <a:pt x="1722" y="2032"/>
                  <a:pt x="1707" y="2032"/>
                </a:cubicBezTo>
                <a:cubicBezTo>
                  <a:pt x="1693" y="2032"/>
                  <a:pt x="1362" y="2349"/>
                  <a:pt x="973" y="2737"/>
                </a:cubicBezTo>
                <a:cubicBezTo>
                  <a:pt x="584" y="3125"/>
                  <a:pt x="245" y="3443"/>
                  <a:pt x="220" y="3443"/>
                </a:cubicBezTo>
                <a:cubicBezTo>
                  <a:pt x="194" y="3443"/>
                  <a:pt x="135" y="3410"/>
                  <a:pt x="87" y="3370"/>
                </a:cubicBezTo>
                <a:close/>
                <a:moveTo>
                  <a:pt x="2258" y="2887"/>
                </a:moveTo>
                <a:cubicBezTo>
                  <a:pt x="2196" y="2865"/>
                  <a:pt x="2145" y="2792"/>
                  <a:pt x="2145" y="2725"/>
                </a:cubicBezTo>
                <a:cubicBezTo>
                  <a:pt x="2145" y="2686"/>
                  <a:pt x="2337" y="2474"/>
                  <a:pt x="2703" y="2109"/>
                </a:cubicBezTo>
                <a:cubicBezTo>
                  <a:pt x="3289" y="1523"/>
                  <a:pt x="3346" y="1485"/>
                  <a:pt x="3453" y="1604"/>
                </a:cubicBezTo>
                <a:cubicBezTo>
                  <a:pt x="3556" y="1717"/>
                  <a:pt x="3522" y="1766"/>
                  <a:pt x="2956" y="2331"/>
                </a:cubicBezTo>
                <a:cubicBezTo>
                  <a:pt x="2657" y="2630"/>
                  <a:pt x="2388" y="2880"/>
                  <a:pt x="2357" y="2888"/>
                </a:cubicBezTo>
                <a:cubicBezTo>
                  <a:pt x="2326" y="2895"/>
                  <a:pt x="2281" y="2895"/>
                  <a:pt x="2258" y="2887"/>
                </a:cubicBezTo>
                <a:close/>
                <a:moveTo>
                  <a:pt x="637" y="1282"/>
                </a:moveTo>
                <a:cubicBezTo>
                  <a:pt x="528" y="1172"/>
                  <a:pt x="568" y="1113"/>
                  <a:pt x="1137" y="544"/>
                </a:cubicBezTo>
                <a:cubicBezTo>
                  <a:pt x="1607" y="74"/>
                  <a:pt x="1693" y="0"/>
                  <a:pt x="1767" y="0"/>
                </a:cubicBezTo>
                <a:cubicBezTo>
                  <a:pt x="1862" y="0"/>
                  <a:pt x="1947" y="73"/>
                  <a:pt x="1947" y="156"/>
                </a:cubicBezTo>
                <a:cubicBezTo>
                  <a:pt x="1947" y="186"/>
                  <a:pt x="1715" y="442"/>
                  <a:pt x="1391" y="767"/>
                </a:cubicBezTo>
                <a:cubicBezTo>
                  <a:pt x="808" y="1353"/>
                  <a:pt x="749" y="1393"/>
                  <a:pt x="637" y="12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" name="Group 118">
            <a:extLst>
              <a:ext uri="{FF2B5EF4-FFF2-40B4-BE49-F238E27FC236}">
                <a16:creationId xmlns:a16="http://schemas.microsoft.com/office/drawing/2014/main" id="{FB3D6A90-C4FD-433A-A1C1-A4B3864804A5}"/>
              </a:ext>
            </a:extLst>
          </p:cNvPr>
          <p:cNvGrpSpPr/>
          <p:nvPr/>
        </p:nvGrpSpPr>
        <p:grpSpPr>
          <a:xfrm>
            <a:off x="8409631" y="5248358"/>
            <a:ext cx="346498" cy="347472"/>
            <a:chOff x="1468138" y="5997240"/>
            <a:chExt cx="283642" cy="307072"/>
          </a:xfrm>
          <a:solidFill>
            <a:schemeClr val="bg1"/>
          </a:solidFill>
        </p:grpSpPr>
        <p:sp>
          <p:nvSpPr>
            <p:cNvPr id="120" name="Freeform 16">
              <a:extLst>
                <a:ext uri="{FF2B5EF4-FFF2-40B4-BE49-F238E27FC236}">
                  <a16:creationId xmlns:a16="http://schemas.microsoft.com/office/drawing/2014/main" id="{D6134FC8-4249-4088-8AE8-003C8AAC7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6136" y="6255221"/>
              <a:ext cx="26428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1 w 349"/>
                <a:gd name="T25" fmla="*/ 226 h 350"/>
                <a:gd name="T26" fmla="*/ 225 w 349"/>
                <a:gd name="T27" fmla="*/ 213 h 350"/>
                <a:gd name="T28" fmla="*/ 234 w 349"/>
                <a:gd name="T29" fmla="*/ 194 h 350"/>
                <a:gd name="T30" fmla="*/ 237 w 349"/>
                <a:gd name="T31" fmla="*/ 175 h 350"/>
                <a:gd name="T32" fmla="*/ 235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5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4 w 349"/>
                <a:gd name="T47" fmla="*/ 3 h 350"/>
                <a:gd name="T48" fmla="*/ 234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8 w 349"/>
                <a:gd name="T55" fmla="*/ 63 h 350"/>
                <a:gd name="T56" fmla="*/ 325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5 w 349"/>
                <a:gd name="T65" fmla="*/ 210 h 350"/>
                <a:gd name="T66" fmla="*/ 335 w 349"/>
                <a:gd name="T67" fmla="*/ 243 h 350"/>
                <a:gd name="T68" fmla="*/ 319 w 349"/>
                <a:gd name="T69" fmla="*/ 273 h 350"/>
                <a:gd name="T70" fmla="*/ 297 w 349"/>
                <a:gd name="T71" fmla="*/ 299 h 350"/>
                <a:gd name="T72" fmla="*/ 272 w 349"/>
                <a:gd name="T73" fmla="*/ 319 h 350"/>
                <a:gd name="T74" fmla="*/ 242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39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29 w 349"/>
                <a:gd name="T89" fmla="*/ 273 h 350"/>
                <a:gd name="T90" fmla="*/ 14 w 349"/>
                <a:gd name="T91" fmla="*/ 243 h 350"/>
                <a:gd name="T92" fmla="*/ 3 w 349"/>
                <a:gd name="T93" fmla="*/ 210 h 350"/>
                <a:gd name="T94" fmla="*/ 0 w 349"/>
                <a:gd name="T95" fmla="*/ 175 h 350"/>
                <a:gd name="T96" fmla="*/ 3 w 349"/>
                <a:gd name="T97" fmla="*/ 140 h 350"/>
                <a:gd name="T98" fmla="*/ 14 w 349"/>
                <a:gd name="T99" fmla="*/ 107 h 350"/>
                <a:gd name="T100" fmla="*/ 29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39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1" y="226"/>
                  </a:lnTo>
                  <a:lnTo>
                    <a:pt x="225" y="213"/>
                  </a:lnTo>
                  <a:lnTo>
                    <a:pt x="234" y="194"/>
                  </a:lnTo>
                  <a:lnTo>
                    <a:pt x="237" y="175"/>
                  </a:lnTo>
                  <a:lnTo>
                    <a:pt x="235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5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4" y="3"/>
                  </a:lnTo>
                  <a:lnTo>
                    <a:pt x="234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8" y="63"/>
                  </a:lnTo>
                  <a:lnTo>
                    <a:pt x="325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5" y="210"/>
                  </a:lnTo>
                  <a:lnTo>
                    <a:pt x="335" y="243"/>
                  </a:lnTo>
                  <a:lnTo>
                    <a:pt x="319" y="273"/>
                  </a:lnTo>
                  <a:lnTo>
                    <a:pt x="297" y="299"/>
                  </a:lnTo>
                  <a:lnTo>
                    <a:pt x="272" y="319"/>
                  </a:lnTo>
                  <a:lnTo>
                    <a:pt x="242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39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29" y="273"/>
                  </a:lnTo>
                  <a:lnTo>
                    <a:pt x="14" y="243"/>
                  </a:lnTo>
                  <a:lnTo>
                    <a:pt x="3" y="210"/>
                  </a:lnTo>
                  <a:lnTo>
                    <a:pt x="0" y="175"/>
                  </a:lnTo>
                  <a:lnTo>
                    <a:pt x="3" y="140"/>
                  </a:lnTo>
                  <a:lnTo>
                    <a:pt x="14" y="107"/>
                  </a:lnTo>
                  <a:lnTo>
                    <a:pt x="29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39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1" name="Freeform 17">
              <a:extLst>
                <a:ext uri="{FF2B5EF4-FFF2-40B4-BE49-F238E27FC236}">
                  <a16:creationId xmlns:a16="http://schemas.microsoft.com/office/drawing/2014/main" id="{67A5F0B0-C078-4A85-9E32-409FF0B3D5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2133" y="6255221"/>
              <a:ext cx="26656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2 w 349"/>
                <a:gd name="T25" fmla="*/ 226 h 350"/>
                <a:gd name="T26" fmla="*/ 226 w 349"/>
                <a:gd name="T27" fmla="*/ 213 h 350"/>
                <a:gd name="T28" fmla="*/ 235 w 349"/>
                <a:gd name="T29" fmla="*/ 194 h 350"/>
                <a:gd name="T30" fmla="*/ 237 w 349"/>
                <a:gd name="T31" fmla="*/ 175 h 350"/>
                <a:gd name="T32" fmla="*/ 236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7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5 w 349"/>
                <a:gd name="T47" fmla="*/ 3 h 350"/>
                <a:gd name="T48" fmla="*/ 235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9 w 349"/>
                <a:gd name="T55" fmla="*/ 63 h 350"/>
                <a:gd name="T56" fmla="*/ 326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6 w 349"/>
                <a:gd name="T65" fmla="*/ 210 h 350"/>
                <a:gd name="T66" fmla="*/ 336 w 349"/>
                <a:gd name="T67" fmla="*/ 243 h 350"/>
                <a:gd name="T68" fmla="*/ 319 w 349"/>
                <a:gd name="T69" fmla="*/ 273 h 350"/>
                <a:gd name="T70" fmla="*/ 298 w 349"/>
                <a:gd name="T71" fmla="*/ 299 h 350"/>
                <a:gd name="T72" fmla="*/ 272 w 349"/>
                <a:gd name="T73" fmla="*/ 319 h 350"/>
                <a:gd name="T74" fmla="*/ 243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40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30 w 349"/>
                <a:gd name="T89" fmla="*/ 273 h 350"/>
                <a:gd name="T90" fmla="*/ 14 w 349"/>
                <a:gd name="T91" fmla="*/ 243 h 350"/>
                <a:gd name="T92" fmla="*/ 4 w 349"/>
                <a:gd name="T93" fmla="*/ 210 h 350"/>
                <a:gd name="T94" fmla="*/ 0 w 349"/>
                <a:gd name="T95" fmla="*/ 175 h 350"/>
                <a:gd name="T96" fmla="*/ 4 w 349"/>
                <a:gd name="T97" fmla="*/ 140 h 350"/>
                <a:gd name="T98" fmla="*/ 14 w 349"/>
                <a:gd name="T99" fmla="*/ 107 h 350"/>
                <a:gd name="T100" fmla="*/ 30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40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7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7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5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19" y="273"/>
                  </a:lnTo>
                  <a:lnTo>
                    <a:pt x="298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2" name="Freeform 18">
              <a:extLst>
                <a:ext uri="{FF2B5EF4-FFF2-40B4-BE49-F238E27FC236}">
                  <a16:creationId xmlns:a16="http://schemas.microsoft.com/office/drawing/2014/main" id="{BF1784DA-3E40-44FD-998D-DB1DD379C0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8357" y="6255221"/>
              <a:ext cx="26428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7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1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7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8 w 350"/>
                <a:gd name="T31" fmla="*/ 175 h 350"/>
                <a:gd name="T32" fmla="*/ 236 w 350"/>
                <a:gd name="T33" fmla="*/ 158 h 350"/>
                <a:gd name="T34" fmla="*/ 229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7 w 350"/>
                <a:gd name="T53" fmla="*/ 41 h 350"/>
                <a:gd name="T54" fmla="*/ 309 w 350"/>
                <a:gd name="T55" fmla="*/ 63 h 350"/>
                <a:gd name="T56" fmla="*/ 326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2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7 w 350"/>
                <a:gd name="T85" fmla="*/ 319 h 350"/>
                <a:gd name="T86" fmla="*/ 51 w 350"/>
                <a:gd name="T87" fmla="*/ 299 h 350"/>
                <a:gd name="T88" fmla="*/ 30 w 350"/>
                <a:gd name="T89" fmla="*/ 273 h 350"/>
                <a:gd name="T90" fmla="*/ 14 w 350"/>
                <a:gd name="T91" fmla="*/ 243 h 350"/>
                <a:gd name="T92" fmla="*/ 4 w 350"/>
                <a:gd name="T93" fmla="*/ 210 h 350"/>
                <a:gd name="T94" fmla="*/ 0 w 350"/>
                <a:gd name="T95" fmla="*/ 175 h 350"/>
                <a:gd name="T96" fmla="*/ 4 w 350"/>
                <a:gd name="T97" fmla="*/ 140 h 350"/>
                <a:gd name="T98" fmla="*/ 14 w 350"/>
                <a:gd name="T99" fmla="*/ 107 h 350"/>
                <a:gd name="T100" fmla="*/ 30 w 350"/>
                <a:gd name="T101" fmla="*/ 78 h 350"/>
                <a:gd name="T102" fmla="*/ 51 w 350"/>
                <a:gd name="T103" fmla="*/ 52 h 350"/>
                <a:gd name="T104" fmla="*/ 77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8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3" name="Freeform 19">
              <a:extLst>
                <a:ext uri="{FF2B5EF4-FFF2-40B4-BE49-F238E27FC236}">
                  <a16:creationId xmlns:a16="http://schemas.microsoft.com/office/drawing/2014/main" id="{FF26547B-24B3-4108-8095-A2794E966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4353" y="6255221"/>
              <a:ext cx="26656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8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3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8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9 w 350"/>
                <a:gd name="T31" fmla="*/ 175 h 350"/>
                <a:gd name="T32" fmla="*/ 236 w 350"/>
                <a:gd name="T33" fmla="*/ 158 h 350"/>
                <a:gd name="T34" fmla="*/ 231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8 w 350"/>
                <a:gd name="T53" fmla="*/ 41 h 350"/>
                <a:gd name="T54" fmla="*/ 309 w 350"/>
                <a:gd name="T55" fmla="*/ 63 h 350"/>
                <a:gd name="T56" fmla="*/ 327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3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8 w 350"/>
                <a:gd name="T85" fmla="*/ 319 h 350"/>
                <a:gd name="T86" fmla="*/ 53 w 350"/>
                <a:gd name="T87" fmla="*/ 299 h 350"/>
                <a:gd name="T88" fmla="*/ 31 w 350"/>
                <a:gd name="T89" fmla="*/ 273 h 350"/>
                <a:gd name="T90" fmla="*/ 15 w 350"/>
                <a:gd name="T91" fmla="*/ 243 h 350"/>
                <a:gd name="T92" fmla="*/ 5 w 350"/>
                <a:gd name="T93" fmla="*/ 210 h 350"/>
                <a:gd name="T94" fmla="*/ 0 w 350"/>
                <a:gd name="T95" fmla="*/ 175 h 350"/>
                <a:gd name="T96" fmla="*/ 5 w 350"/>
                <a:gd name="T97" fmla="*/ 140 h 350"/>
                <a:gd name="T98" fmla="*/ 15 w 350"/>
                <a:gd name="T99" fmla="*/ 107 h 350"/>
                <a:gd name="T100" fmla="*/ 31 w 350"/>
                <a:gd name="T101" fmla="*/ 78 h 350"/>
                <a:gd name="T102" fmla="*/ 53 w 350"/>
                <a:gd name="T103" fmla="*/ 52 h 350"/>
                <a:gd name="T104" fmla="*/ 78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8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3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8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9" y="175"/>
                  </a:lnTo>
                  <a:lnTo>
                    <a:pt x="236" y="158"/>
                  </a:lnTo>
                  <a:lnTo>
                    <a:pt x="231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8" y="41"/>
                  </a:lnTo>
                  <a:lnTo>
                    <a:pt x="309" y="63"/>
                  </a:lnTo>
                  <a:lnTo>
                    <a:pt x="327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3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8" y="319"/>
                  </a:lnTo>
                  <a:lnTo>
                    <a:pt x="53" y="299"/>
                  </a:lnTo>
                  <a:lnTo>
                    <a:pt x="31" y="273"/>
                  </a:lnTo>
                  <a:lnTo>
                    <a:pt x="15" y="243"/>
                  </a:lnTo>
                  <a:lnTo>
                    <a:pt x="5" y="210"/>
                  </a:lnTo>
                  <a:lnTo>
                    <a:pt x="0" y="175"/>
                  </a:lnTo>
                  <a:lnTo>
                    <a:pt x="5" y="140"/>
                  </a:lnTo>
                  <a:lnTo>
                    <a:pt x="15" y="107"/>
                  </a:lnTo>
                  <a:lnTo>
                    <a:pt x="31" y="78"/>
                  </a:lnTo>
                  <a:lnTo>
                    <a:pt x="53" y="52"/>
                  </a:lnTo>
                  <a:lnTo>
                    <a:pt x="78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4" name="Freeform 20">
              <a:extLst>
                <a:ext uri="{FF2B5EF4-FFF2-40B4-BE49-F238E27FC236}">
                  <a16:creationId xmlns:a16="http://schemas.microsoft.com/office/drawing/2014/main" id="{6F553FA1-4728-401A-8C20-F18E165CA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80832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2 h 111"/>
                <a:gd name="T10" fmla="*/ 168 w 171"/>
                <a:gd name="T11" fmla="*/ 37 h 111"/>
                <a:gd name="T12" fmla="*/ 171 w 171"/>
                <a:gd name="T13" fmla="*/ 55 h 111"/>
                <a:gd name="T14" fmla="*/ 168 w 171"/>
                <a:gd name="T15" fmla="*/ 72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8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8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2 h 111"/>
                <a:gd name="T34" fmla="*/ 0 w 171"/>
                <a:gd name="T35" fmla="*/ 55 h 111"/>
                <a:gd name="T36" fmla="*/ 2 w 171"/>
                <a:gd name="T37" fmla="*/ 37 h 111"/>
                <a:gd name="T38" fmla="*/ 10 w 171"/>
                <a:gd name="T39" fmla="*/ 22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2"/>
                  </a:lnTo>
                  <a:lnTo>
                    <a:pt x="168" y="37"/>
                  </a:lnTo>
                  <a:lnTo>
                    <a:pt x="171" y="55"/>
                  </a:lnTo>
                  <a:lnTo>
                    <a:pt x="168" y="72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8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8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2"/>
                  </a:lnTo>
                  <a:lnTo>
                    <a:pt x="0" y="55"/>
                  </a:lnTo>
                  <a:lnTo>
                    <a:pt x="2" y="37"/>
                  </a:lnTo>
                  <a:lnTo>
                    <a:pt x="10" y="22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5" name="Freeform 21">
              <a:extLst>
                <a:ext uri="{FF2B5EF4-FFF2-40B4-BE49-F238E27FC236}">
                  <a16:creationId xmlns:a16="http://schemas.microsoft.com/office/drawing/2014/main" id="{2A783787-5E9B-43C9-9BF4-073950C97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95860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3 h 111"/>
                <a:gd name="T10" fmla="*/ 168 w 171"/>
                <a:gd name="T11" fmla="*/ 38 h 111"/>
                <a:gd name="T12" fmla="*/ 171 w 171"/>
                <a:gd name="T13" fmla="*/ 55 h 111"/>
                <a:gd name="T14" fmla="*/ 168 w 171"/>
                <a:gd name="T15" fmla="*/ 74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9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9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4 h 111"/>
                <a:gd name="T34" fmla="*/ 0 w 171"/>
                <a:gd name="T35" fmla="*/ 55 h 111"/>
                <a:gd name="T36" fmla="*/ 2 w 171"/>
                <a:gd name="T37" fmla="*/ 38 h 111"/>
                <a:gd name="T38" fmla="*/ 10 w 171"/>
                <a:gd name="T39" fmla="*/ 23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3"/>
                  </a:lnTo>
                  <a:lnTo>
                    <a:pt x="168" y="38"/>
                  </a:lnTo>
                  <a:lnTo>
                    <a:pt x="171" y="55"/>
                  </a:lnTo>
                  <a:lnTo>
                    <a:pt x="168" y="74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9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9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4"/>
                  </a:lnTo>
                  <a:lnTo>
                    <a:pt x="0" y="55"/>
                  </a:lnTo>
                  <a:lnTo>
                    <a:pt x="2" y="38"/>
                  </a:lnTo>
                  <a:lnTo>
                    <a:pt x="10" y="23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6" name="Freeform 22">
              <a:extLst>
                <a:ext uri="{FF2B5EF4-FFF2-40B4-BE49-F238E27FC236}">
                  <a16:creationId xmlns:a16="http://schemas.microsoft.com/office/drawing/2014/main" id="{6465D05A-ED22-49B3-924E-6DFC4C8C8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8138" y="5997240"/>
              <a:ext cx="283642" cy="307072"/>
            </a:xfrm>
            <a:custGeom>
              <a:avLst/>
              <a:gdLst>
                <a:gd name="T0" fmla="*/ 185 w 3736"/>
                <a:gd name="T1" fmla="*/ 3069 h 3678"/>
                <a:gd name="T2" fmla="*/ 125 w 3736"/>
                <a:gd name="T3" fmla="*/ 3352 h 3678"/>
                <a:gd name="T4" fmla="*/ 325 w 3736"/>
                <a:gd name="T5" fmla="*/ 3554 h 3678"/>
                <a:gd name="T6" fmla="*/ 2002 w 3736"/>
                <a:gd name="T7" fmla="*/ 3518 h 3678"/>
                <a:gd name="T8" fmla="*/ 2140 w 3736"/>
                <a:gd name="T9" fmla="*/ 3266 h 3678"/>
                <a:gd name="T10" fmla="*/ 2002 w 3736"/>
                <a:gd name="T11" fmla="*/ 3013 h 3678"/>
                <a:gd name="T12" fmla="*/ 943 w 3736"/>
                <a:gd name="T13" fmla="*/ 2853 h 3678"/>
                <a:gd name="T14" fmla="*/ 2970 w 3736"/>
                <a:gd name="T15" fmla="*/ 2765 h 3678"/>
                <a:gd name="T16" fmla="*/ 3240 w 3736"/>
                <a:gd name="T17" fmla="*/ 2787 h 3678"/>
                <a:gd name="T18" fmla="*/ 3506 w 3736"/>
                <a:gd name="T19" fmla="*/ 2599 h 3678"/>
                <a:gd name="T20" fmla="*/ 302 w 3736"/>
                <a:gd name="T21" fmla="*/ 2099 h 3678"/>
                <a:gd name="T22" fmla="*/ 333 w 3736"/>
                <a:gd name="T23" fmla="*/ 2613 h 3678"/>
                <a:gd name="T24" fmla="*/ 3524 w 3736"/>
                <a:gd name="T25" fmla="*/ 1966 h 3678"/>
                <a:gd name="T26" fmla="*/ 3542 w 3736"/>
                <a:gd name="T27" fmla="*/ 2077 h 3678"/>
                <a:gd name="T28" fmla="*/ 3622 w 3736"/>
                <a:gd name="T29" fmla="*/ 1998 h 3678"/>
                <a:gd name="T30" fmla="*/ 893 w 3736"/>
                <a:gd name="T31" fmla="*/ 1458 h 3678"/>
                <a:gd name="T32" fmla="*/ 1843 w 3736"/>
                <a:gd name="T33" fmla="*/ 2616 h 3678"/>
                <a:gd name="T34" fmla="*/ 1132 w 3736"/>
                <a:gd name="T35" fmla="*/ 2414 h 3678"/>
                <a:gd name="T36" fmla="*/ 954 w 3736"/>
                <a:gd name="T37" fmla="*/ 2256 h 3678"/>
                <a:gd name="T38" fmla="*/ 1082 w 3736"/>
                <a:gd name="T39" fmla="*/ 2271 h 3678"/>
                <a:gd name="T40" fmla="*/ 1271 w 3736"/>
                <a:gd name="T41" fmla="*/ 1557 h 3678"/>
                <a:gd name="T42" fmla="*/ 1360 w 3736"/>
                <a:gd name="T43" fmla="*/ 1601 h 3678"/>
                <a:gd name="T44" fmla="*/ 1958 w 3736"/>
                <a:gd name="T45" fmla="*/ 2171 h 3678"/>
                <a:gd name="T46" fmla="*/ 1525 w 3736"/>
                <a:gd name="T47" fmla="*/ 1457 h 3678"/>
                <a:gd name="T48" fmla="*/ 2749 w 3736"/>
                <a:gd name="T49" fmla="*/ 361 h 3678"/>
                <a:gd name="T50" fmla="*/ 3541 w 3736"/>
                <a:gd name="T51" fmla="*/ 1844 h 3678"/>
                <a:gd name="T52" fmla="*/ 1658 w 3736"/>
                <a:gd name="T53" fmla="*/ 1439 h 3678"/>
                <a:gd name="T54" fmla="*/ 2419 w 3736"/>
                <a:gd name="T55" fmla="*/ 427 h 3678"/>
                <a:gd name="T56" fmla="*/ 2498 w 3736"/>
                <a:gd name="T57" fmla="*/ 124 h 3678"/>
                <a:gd name="T58" fmla="*/ 2441 w 3736"/>
                <a:gd name="T59" fmla="*/ 287 h 3678"/>
                <a:gd name="T60" fmla="*/ 2599 w 3736"/>
                <a:gd name="T61" fmla="*/ 347 h 3678"/>
                <a:gd name="T62" fmla="*/ 2672 w 3736"/>
                <a:gd name="T63" fmla="*/ 256 h 3678"/>
                <a:gd name="T64" fmla="*/ 2625 w 3736"/>
                <a:gd name="T65" fmla="*/ 136 h 3678"/>
                <a:gd name="T66" fmla="*/ 2665 w 3736"/>
                <a:gd name="T67" fmla="*/ 28 h 3678"/>
                <a:gd name="T68" fmla="*/ 3734 w 3736"/>
                <a:gd name="T69" fmla="*/ 1986 h 3678"/>
                <a:gd name="T70" fmla="*/ 3646 w 3736"/>
                <a:gd name="T71" fmla="*/ 2170 h 3678"/>
                <a:gd name="T72" fmla="*/ 3580 w 3736"/>
                <a:gd name="T73" fmla="*/ 2724 h 3678"/>
                <a:gd name="T74" fmla="*/ 3180 w 3736"/>
                <a:gd name="T75" fmla="*/ 2918 h 3678"/>
                <a:gd name="T76" fmla="*/ 2865 w 3736"/>
                <a:gd name="T77" fmla="*/ 2826 h 3678"/>
                <a:gd name="T78" fmla="*/ 2459 w 3736"/>
                <a:gd name="T79" fmla="*/ 2397 h 3678"/>
                <a:gd name="T80" fmla="*/ 3431 w 3736"/>
                <a:gd name="T81" fmla="*/ 2200 h 3678"/>
                <a:gd name="T82" fmla="*/ 3506 w 3736"/>
                <a:gd name="T83" fmla="*/ 2183 h 3678"/>
                <a:gd name="T84" fmla="*/ 1983 w 3736"/>
                <a:gd name="T85" fmla="*/ 1926 h 3678"/>
                <a:gd name="T86" fmla="*/ 2073 w 3736"/>
                <a:gd name="T87" fmla="*/ 2433 h 3678"/>
                <a:gd name="T88" fmla="*/ 2059 w 3736"/>
                <a:gd name="T89" fmla="*/ 2469 h 3678"/>
                <a:gd name="T90" fmla="*/ 2043 w 3736"/>
                <a:gd name="T91" fmla="*/ 2482 h 3678"/>
                <a:gd name="T92" fmla="*/ 2024 w 3736"/>
                <a:gd name="T93" fmla="*/ 2489 h 3678"/>
                <a:gd name="T94" fmla="*/ 1942 w 3736"/>
                <a:gd name="T95" fmla="*/ 2705 h 3678"/>
                <a:gd name="T96" fmla="*/ 1890 w 3736"/>
                <a:gd name="T97" fmla="*/ 2857 h 3678"/>
                <a:gd name="T98" fmla="*/ 2177 w 3736"/>
                <a:gd name="T99" fmla="*/ 3030 h 3678"/>
                <a:gd name="T100" fmla="*/ 2238 w 3736"/>
                <a:gd name="T101" fmla="*/ 3367 h 3678"/>
                <a:gd name="T102" fmla="*/ 2032 w 3736"/>
                <a:gd name="T103" fmla="*/ 3630 h 3678"/>
                <a:gd name="T104" fmla="*/ 311 w 3736"/>
                <a:gd name="T105" fmla="*/ 3666 h 3678"/>
                <a:gd name="T106" fmla="*/ 49 w 3736"/>
                <a:gd name="T107" fmla="*/ 3460 h 3678"/>
                <a:gd name="T108" fmla="*/ 28 w 3736"/>
                <a:gd name="T109" fmla="*/ 3116 h 3678"/>
                <a:gd name="T110" fmla="*/ 263 w 3736"/>
                <a:gd name="T111" fmla="*/ 2882 h 3678"/>
                <a:gd name="T112" fmla="*/ 317 w 3736"/>
                <a:gd name="T113" fmla="*/ 2724 h 3678"/>
                <a:gd name="T114" fmla="*/ 178 w 3736"/>
                <a:gd name="T115" fmla="*/ 2553 h 3678"/>
                <a:gd name="T116" fmla="*/ 284 w 3736"/>
                <a:gd name="T117" fmla="*/ 1975 h 3678"/>
                <a:gd name="T118" fmla="*/ 740 w 3736"/>
                <a:gd name="T119" fmla="*/ 1477 h 3678"/>
                <a:gd name="T120" fmla="*/ 963 w 3736"/>
                <a:gd name="T121" fmla="*/ 1310 h 3678"/>
                <a:gd name="T122" fmla="*/ 2410 w 3736"/>
                <a:gd name="T123" fmla="*/ 48 h 3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6" h="3678">
                  <a:moveTo>
                    <a:pt x="413" y="2964"/>
                  </a:moveTo>
                  <a:lnTo>
                    <a:pt x="367" y="2968"/>
                  </a:lnTo>
                  <a:lnTo>
                    <a:pt x="325" y="2978"/>
                  </a:lnTo>
                  <a:lnTo>
                    <a:pt x="286" y="2993"/>
                  </a:lnTo>
                  <a:lnTo>
                    <a:pt x="248" y="3013"/>
                  </a:lnTo>
                  <a:lnTo>
                    <a:pt x="215" y="3039"/>
                  </a:lnTo>
                  <a:lnTo>
                    <a:pt x="185" y="3069"/>
                  </a:lnTo>
                  <a:lnTo>
                    <a:pt x="160" y="3102"/>
                  </a:lnTo>
                  <a:lnTo>
                    <a:pt x="139" y="3139"/>
                  </a:lnTo>
                  <a:lnTo>
                    <a:pt x="125" y="3179"/>
                  </a:lnTo>
                  <a:lnTo>
                    <a:pt x="114" y="3222"/>
                  </a:lnTo>
                  <a:lnTo>
                    <a:pt x="111" y="3266"/>
                  </a:lnTo>
                  <a:lnTo>
                    <a:pt x="114" y="3310"/>
                  </a:lnTo>
                  <a:lnTo>
                    <a:pt x="125" y="3352"/>
                  </a:lnTo>
                  <a:lnTo>
                    <a:pt x="139" y="3393"/>
                  </a:lnTo>
                  <a:lnTo>
                    <a:pt x="160" y="3430"/>
                  </a:lnTo>
                  <a:lnTo>
                    <a:pt x="185" y="3464"/>
                  </a:lnTo>
                  <a:lnTo>
                    <a:pt x="215" y="3493"/>
                  </a:lnTo>
                  <a:lnTo>
                    <a:pt x="248" y="3518"/>
                  </a:lnTo>
                  <a:lnTo>
                    <a:pt x="286" y="3538"/>
                  </a:lnTo>
                  <a:lnTo>
                    <a:pt x="325" y="3554"/>
                  </a:lnTo>
                  <a:lnTo>
                    <a:pt x="367" y="3563"/>
                  </a:lnTo>
                  <a:lnTo>
                    <a:pt x="413" y="3567"/>
                  </a:lnTo>
                  <a:lnTo>
                    <a:pt x="1838" y="3567"/>
                  </a:lnTo>
                  <a:lnTo>
                    <a:pt x="1882" y="3563"/>
                  </a:lnTo>
                  <a:lnTo>
                    <a:pt x="1925" y="3554"/>
                  </a:lnTo>
                  <a:lnTo>
                    <a:pt x="1965" y="3538"/>
                  </a:lnTo>
                  <a:lnTo>
                    <a:pt x="2002" y="3518"/>
                  </a:lnTo>
                  <a:lnTo>
                    <a:pt x="2035" y="3493"/>
                  </a:lnTo>
                  <a:lnTo>
                    <a:pt x="2065" y="3464"/>
                  </a:lnTo>
                  <a:lnTo>
                    <a:pt x="2091" y="3430"/>
                  </a:lnTo>
                  <a:lnTo>
                    <a:pt x="2111" y="3393"/>
                  </a:lnTo>
                  <a:lnTo>
                    <a:pt x="2126" y="3352"/>
                  </a:lnTo>
                  <a:lnTo>
                    <a:pt x="2136" y="3310"/>
                  </a:lnTo>
                  <a:lnTo>
                    <a:pt x="2140" y="3266"/>
                  </a:lnTo>
                  <a:lnTo>
                    <a:pt x="2136" y="3222"/>
                  </a:lnTo>
                  <a:lnTo>
                    <a:pt x="2126" y="3179"/>
                  </a:lnTo>
                  <a:lnTo>
                    <a:pt x="2111" y="3139"/>
                  </a:lnTo>
                  <a:lnTo>
                    <a:pt x="2091" y="3102"/>
                  </a:lnTo>
                  <a:lnTo>
                    <a:pt x="2065" y="3069"/>
                  </a:lnTo>
                  <a:lnTo>
                    <a:pt x="2035" y="3039"/>
                  </a:lnTo>
                  <a:lnTo>
                    <a:pt x="2002" y="3013"/>
                  </a:lnTo>
                  <a:lnTo>
                    <a:pt x="1965" y="2993"/>
                  </a:lnTo>
                  <a:lnTo>
                    <a:pt x="1925" y="2978"/>
                  </a:lnTo>
                  <a:lnTo>
                    <a:pt x="1882" y="2968"/>
                  </a:lnTo>
                  <a:lnTo>
                    <a:pt x="1838" y="2964"/>
                  </a:lnTo>
                  <a:lnTo>
                    <a:pt x="413" y="2964"/>
                  </a:lnTo>
                  <a:close/>
                  <a:moveTo>
                    <a:pt x="943" y="2727"/>
                  </a:moveTo>
                  <a:lnTo>
                    <a:pt x="943" y="2853"/>
                  </a:lnTo>
                  <a:lnTo>
                    <a:pt x="1307" y="2853"/>
                  </a:lnTo>
                  <a:lnTo>
                    <a:pt x="1307" y="2727"/>
                  </a:lnTo>
                  <a:lnTo>
                    <a:pt x="943" y="2727"/>
                  </a:lnTo>
                  <a:close/>
                  <a:moveTo>
                    <a:pt x="3407" y="2328"/>
                  </a:moveTo>
                  <a:lnTo>
                    <a:pt x="2754" y="2590"/>
                  </a:lnTo>
                  <a:lnTo>
                    <a:pt x="2936" y="2741"/>
                  </a:lnTo>
                  <a:lnTo>
                    <a:pt x="2970" y="2765"/>
                  </a:lnTo>
                  <a:lnTo>
                    <a:pt x="3005" y="2783"/>
                  </a:lnTo>
                  <a:lnTo>
                    <a:pt x="3042" y="2797"/>
                  </a:lnTo>
                  <a:lnTo>
                    <a:pt x="3081" y="2806"/>
                  </a:lnTo>
                  <a:lnTo>
                    <a:pt x="3121" y="2809"/>
                  </a:lnTo>
                  <a:lnTo>
                    <a:pt x="3161" y="2808"/>
                  </a:lnTo>
                  <a:lnTo>
                    <a:pt x="3201" y="2800"/>
                  </a:lnTo>
                  <a:lnTo>
                    <a:pt x="3240" y="2787"/>
                  </a:lnTo>
                  <a:lnTo>
                    <a:pt x="3429" y="2711"/>
                  </a:lnTo>
                  <a:lnTo>
                    <a:pt x="3452" y="2700"/>
                  </a:lnTo>
                  <a:lnTo>
                    <a:pt x="3470" y="2684"/>
                  </a:lnTo>
                  <a:lnTo>
                    <a:pt x="3485" y="2666"/>
                  </a:lnTo>
                  <a:lnTo>
                    <a:pt x="3496" y="2646"/>
                  </a:lnTo>
                  <a:lnTo>
                    <a:pt x="3504" y="2623"/>
                  </a:lnTo>
                  <a:lnTo>
                    <a:pt x="3506" y="2599"/>
                  </a:lnTo>
                  <a:lnTo>
                    <a:pt x="3504" y="2575"/>
                  </a:lnTo>
                  <a:lnTo>
                    <a:pt x="3497" y="2551"/>
                  </a:lnTo>
                  <a:lnTo>
                    <a:pt x="3407" y="2328"/>
                  </a:lnTo>
                  <a:close/>
                  <a:moveTo>
                    <a:pt x="353" y="2073"/>
                  </a:moveTo>
                  <a:lnTo>
                    <a:pt x="333" y="2076"/>
                  </a:lnTo>
                  <a:lnTo>
                    <a:pt x="315" y="2085"/>
                  </a:lnTo>
                  <a:lnTo>
                    <a:pt x="302" y="2099"/>
                  </a:lnTo>
                  <a:lnTo>
                    <a:pt x="292" y="2116"/>
                  </a:lnTo>
                  <a:lnTo>
                    <a:pt x="289" y="2136"/>
                  </a:lnTo>
                  <a:lnTo>
                    <a:pt x="289" y="2553"/>
                  </a:lnTo>
                  <a:lnTo>
                    <a:pt x="292" y="2572"/>
                  </a:lnTo>
                  <a:lnTo>
                    <a:pt x="302" y="2590"/>
                  </a:lnTo>
                  <a:lnTo>
                    <a:pt x="315" y="2604"/>
                  </a:lnTo>
                  <a:lnTo>
                    <a:pt x="333" y="2613"/>
                  </a:lnTo>
                  <a:lnTo>
                    <a:pt x="353" y="2616"/>
                  </a:lnTo>
                  <a:lnTo>
                    <a:pt x="713" y="2616"/>
                  </a:lnTo>
                  <a:lnTo>
                    <a:pt x="713" y="2073"/>
                  </a:lnTo>
                  <a:lnTo>
                    <a:pt x="353" y="2073"/>
                  </a:lnTo>
                  <a:close/>
                  <a:moveTo>
                    <a:pt x="3562" y="1955"/>
                  </a:moveTo>
                  <a:lnTo>
                    <a:pt x="3542" y="1957"/>
                  </a:lnTo>
                  <a:lnTo>
                    <a:pt x="3524" y="1966"/>
                  </a:lnTo>
                  <a:lnTo>
                    <a:pt x="3511" y="1980"/>
                  </a:lnTo>
                  <a:lnTo>
                    <a:pt x="3502" y="1998"/>
                  </a:lnTo>
                  <a:lnTo>
                    <a:pt x="3498" y="2017"/>
                  </a:lnTo>
                  <a:lnTo>
                    <a:pt x="3502" y="2038"/>
                  </a:lnTo>
                  <a:lnTo>
                    <a:pt x="3511" y="2055"/>
                  </a:lnTo>
                  <a:lnTo>
                    <a:pt x="3524" y="2068"/>
                  </a:lnTo>
                  <a:lnTo>
                    <a:pt x="3542" y="2077"/>
                  </a:lnTo>
                  <a:lnTo>
                    <a:pt x="3562" y="2081"/>
                  </a:lnTo>
                  <a:lnTo>
                    <a:pt x="3582" y="2077"/>
                  </a:lnTo>
                  <a:lnTo>
                    <a:pt x="3599" y="2068"/>
                  </a:lnTo>
                  <a:lnTo>
                    <a:pt x="3613" y="2055"/>
                  </a:lnTo>
                  <a:lnTo>
                    <a:pt x="3622" y="2038"/>
                  </a:lnTo>
                  <a:lnTo>
                    <a:pt x="3625" y="2017"/>
                  </a:lnTo>
                  <a:lnTo>
                    <a:pt x="3622" y="1998"/>
                  </a:lnTo>
                  <a:lnTo>
                    <a:pt x="3613" y="1980"/>
                  </a:lnTo>
                  <a:lnTo>
                    <a:pt x="3599" y="1966"/>
                  </a:lnTo>
                  <a:lnTo>
                    <a:pt x="3582" y="1957"/>
                  </a:lnTo>
                  <a:lnTo>
                    <a:pt x="3562" y="1955"/>
                  </a:lnTo>
                  <a:close/>
                  <a:moveTo>
                    <a:pt x="950" y="1428"/>
                  </a:moveTo>
                  <a:lnTo>
                    <a:pt x="921" y="1441"/>
                  </a:lnTo>
                  <a:lnTo>
                    <a:pt x="893" y="1458"/>
                  </a:lnTo>
                  <a:lnTo>
                    <a:pt x="871" y="1481"/>
                  </a:lnTo>
                  <a:lnTo>
                    <a:pt x="851" y="1507"/>
                  </a:lnTo>
                  <a:lnTo>
                    <a:pt x="837" y="1536"/>
                  </a:lnTo>
                  <a:lnTo>
                    <a:pt x="828" y="1568"/>
                  </a:lnTo>
                  <a:lnTo>
                    <a:pt x="824" y="1601"/>
                  </a:lnTo>
                  <a:lnTo>
                    <a:pt x="824" y="2616"/>
                  </a:lnTo>
                  <a:lnTo>
                    <a:pt x="1843" y="2616"/>
                  </a:lnTo>
                  <a:lnTo>
                    <a:pt x="1843" y="2489"/>
                  </a:lnTo>
                  <a:lnTo>
                    <a:pt x="1556" y="2489"/>
                  </a:lnTo>
                  <a:lnTo>
                    <a:pt x="1468" y="2487"/>
                  </a:lnTo>
                  <a:lnTo>
                    <a:pt x="1382" y="2478"/>
                  </a:lnTo>
                  <a:lnTo>
                    <a:pt x="1297" y="2462"/>
                  </a:lnTo>
                  <a:lnTo>
                    <a:pt x="1213" y="2441"/>
                  </a:lnTo>
                  <a:lnTo>
                    <a:pt x="1132" y="2414"/>
                  </a:lnTo>
                  <a:lnTo>
                    <a:pt x="1050" y="2382"/>
                  </a:lnTo>
                  <a:lnTo>
                    <a:pt x="1026" y="2369"/>
                  </a:lnTo>
                  <a:lnTo>
                    <a:pt x="1005" y="2352"/>
                  </a:lnTo>
                  <a:lnTo>
                    <a:pt x="985" y="2331"/>
                  </a:lnTo>
                  <a:lnTo>
                    <a:pt x="971" y="2309"/>
                  </a:lnTo>
                  <a:lnTo>
                    <a:pt x="960" y="2284"/>
                  </a:lnTo>
                  <a:lnTo>
                    <a:pt x="954" y="2256"/>
                  </a:lnTo>
                  <a:lnTo>
                    <a:pt x="950" y="2228"/>
                  </a:lnTo>
                  <a:lnTo>
                    <a:pt x="950" y="1428"/>
                  </a:lnTo>
                  <a:close/>
                  <a:moveTo>
                    <a:pt x="1062" y="1419"/>
                  </a:moveTo>
                  <a:lnTo>
                    <a:pt x="1062" y="2228"/>
                  </a:lnTo>
                  <a:lnTo>
                    <a:pt x="1065" y="2245"/>
                  </a:lnTo>
                  <a:lnTo>
                    <a:pt x="1071" y="2259"/>
                  </a:lnTo>
                  <a:lnTo>
                    <a:pt x="1082" y="2271"/>
                  </a:lnTo>
                  <a:lnTo>
                    <a:pt x="1095" y="2280"/>
                  </a:lnTo>
                  <a:lnTo>
                    <a:pt x="1171" y="2311"/>
                  </a:lnTo>
                  <a:lnTo>
                    <a:pt x="1248" y="2335"/>
                  </a:lnTo>
                  <a:lnTo>
                    <a:pt x="1248" y="1601"/>
                  </a:lnTo>
                  <a:lnTo>
                    <a:pt x="1251" y="1584"/>
                  </a:lnTo>
                  <a:lnTo>
                    <a:pt x="1259" y="1568"/>
                  </a:lnTo>
                  <a:lnTo>
                    <a:pt x="1271" y="1557"/>
                  </a:lnTo>
                  <a:lnTo>
                    <a:pt x="1286" y="1549"/>
                  </a:lnTo>
                  <a:lnTo>
                    <a:pt x="1304" y="1545"/>
                  </a:lnTo>
                  <a:lnTo>
                    <a:pt x="1321" y="1549"/>
                  </a:lnTo>
                  <a:lnTo>
                    <a:pt x="1337" y="1557"/>
                  </a:lnTo>
                  <a:lnTo>
                    <a:pt x="1348" y="1568"/>
                  </a:lnTo>
                  <a:lnTo>
                    <a:pt x="1356" y="1584"/>
                  </a:lnTo>
                  <a:lnTo>
                    <a:pt x="1360" y="1601"/>
                  </a:lnTo>
                  <a:lnTo>
                    <a:pt x="1360" y="2361"/>
                  </a:lnTo>
                  <a:lnTo>
                    <a:pt x="1424" y="2370"/>
                  </a:lnTo>
                  <a:lnTo>
                    <a:pt x="1490" y="2376"/>
                  </a:lnTo>
                  <a:lnTo>
                    <a:pt x="1556" y="2378"/>
                  </a:lnTo>
                  <a:lnTo>
                    <a:pt x="1961" y="2378"/>
                  </a:lnTo>
                  <a:lnTo>
                    <a:pt x="1961" y="2221"/>
                  </a:lnTo>
                  <a:lnTo>
                    <a:pt x="1958" y="2171"/>
                  </a:lnTo>
                  <a:lnTo>
                    <a:pt x="1949" y="2123"/>
                  </a:lnTo>
                  <a:lnTo>
                    <a:pt x="1936" y="2076"/>
                  </a:lnTo>
                  <a:lnTo>
                    <a:pt x="1915" y="2031"/>
                  </a:lnTo>
                  <a:lnTo>
                    <a:pt x="1890" y="1988"/>
                  </a:lnTo>
                  <a:lnTo>
                    <a:pt x="1566" y="1500"/>
                  </a:lnTo>
                  <a:lnTo>
                    <a:pt x="1547" y="1477"/>
                  </a:lnTo>
                  <a:lnTo>
                    <a:pt x="1525" y="1457"/>
                  </a:lnTo>
                  <a:lnTo>
                    <a:pt x="1500" y="1441"/>
                  </a:lnTo>
                  <a:lnTo>
                    <a:pt x="1473" y="1428"/>
                  </a:lnTo>
                  <a:lnTo>
                    <a:pt x="1445" y="1422"/>
                  </a:lnTo>
                  <a:lnTo>
                    <a:pt x="1414" y="1419"/>
                  </a:lnTo>
                  <a:lnTo>
                    <a:pt x="1062" y="1419"/>
                  </a:lnTo>
                  <a:close/>
                  <a:moveTo>
                    <a:pt x="2753" y="353"/>
                  </a:moveTo>
                  <a:lnTo>
                    <a:pt x="2749" y="361"/>
                  </a:lnTo>
                  <a:lnTo>
                    <a:pt x="2571" y="659"/>
                  </a:lnTo>
                  <a:lnTo>
                    <a:pt x="3419" y="1917"/>
                  </a:lnTo>
                  <a:lnTo>
                    <a:pt x="3437" y="1895"/>
                  </a:lnTo>
                  <a:lnTo>
                    <a:pt x="3460" y="1876"/>
                  </a:lnTo>
                  <a:lnTo>
                    <a:pt x="3485" y="1861"/>
                  </a:lnTo>
                  <a:lnTo>
                    <a:pt x="3512" y="1850"/>
                  </a:lnTo>
                  <a:lnTo>
                    <a:pt x="3541" y="1844"/>
                  </a:lnTo>
                  <a:lnTo>
                    <a:pt x="2753" y="353"/>
                  </a:lnTo>
                  <a:close/>
                  <a:moveTo>
                    <a:pt x="2334" y="320"/>
                  </a:moveTo>
                  <a:lnTo>
                    <a:pt x="1562" y="1348"/>
                  </a:lnTo>
                  <a:lnTo>
                    <a:pt x="1590" y="1366"/>
                  </a:lnTo>
                  <a:lnTo>
                    <a:pt x="1616" y="1387"/>
                  </a:lnTo>
                  <a:lnTo>
                    <a:pt x="1638" y="1411"/>
                  </a:lnTo>
                  <a:lnTo>
                    <a:pt x="1658" y="1439"/>
                  </a:lnTo>
                  <a:lnTo>
                    <a:pt x="1827" y="1690"/>
                  </a:lnTo>
                  <a:lnTo>
                    <a:pt x="2555" y="467"/>
                  </a:lnTo>
                  <a:lnTo>
                    <a:pt x="2551" y="467"/>
                  </a:lnTo>
                  <a:lnTo>
                    <a:pt x="2515" y="465"/>
                  </a:lnTo>
                  <a:lnTo>
                    <a:pt x="2481" y="457"/>
                  </a:lnTo>
                  <a:lnTo>
                    <a:pt x="2448" y="444"/>
                  </a:lnTo>
                  <a:lnTo>
                    <a:pt x="2419" y="427"/>
                  </a:lnTo>
                  <a:lnTo>
                    <a:pt x="2391" y="405"/>
                  </a:lnTo>
                  <a:lnTo>
                    <a:pt x="2369" y="380"/>
                  </a:lnTo>
                  <a:lnTo>
                    <a:pt x="2349" y="351"/>
                  </a:lnTo>
                  <a:lnTo>
                    <a:pt x="2334" y="320"/>
                  </a:lnTo>
                  <a:close/>
                  <a:moveTo>
                    <a:pt x="2551" y="111"/>
                  </a:moveTo>
                  <a:lnTo>
                    <a:pt x="2523" y="115"/>
                  </a:lnTo>
                  <a:lnTo>
                    <a:pt x="2498" y="124"/>
                  </a:lnTo>
                  <a:lnTo>
                    <a:pt x="2475" y="138"/>
                  </a:lnTo>
                  <a:lnTo>
                    <a:pt x="2456" y="157"/>
                  </a:lnTo>
                  <a:lnTo>
                    <a:pt x="2441" y="180"/>
                  </a:lnTo>
                  <a:lnTo>
                    <a:pt x="2432" y="205"/>
                  </a:lnTo>
                  <a:lnTo>
                    <a:pt x="2429" y="234"/>
                  </a:lnTo>
                  <a:lnTo>
                    <a:pt x="2432" y="262"/>
                  </a:lnTo>
                  <a:lnTo>
                    <a:pt x="2441" y="287"/>
                  </a:lnTo>
                  <a:lnTo>
                    <a:pt x="2456" y="311"/>
                  </a:lnTo>
                  <a:lnTo>
                    <a:pt x="2475" y="329"/>
                  </a:lnTo>
                  <a:lnTo>
                    <a:pt x="2498" y="344"/>
                  </a:lnTo>
                  <a:lnTo>
                    <a:pt x="2523" y="353"/>
                  </a:lnTo>
                  <a:lnTo>
                    <a:pt x="2551" y="356"/>
                  </a:lnTo>
                  <a:lnTo>
                    <a:pt x="2576" y="354"/>
                  </a:lnTo>
                  <a:lnTo>
                    <a:pt x="2599" y="347"/>
                  </a:lnTo>
                  <a:lnTo>
                    <a:pt x="2619" y="336"/>
                  </a:lnTo>
                  <a:lnTo>
                    <a:pt x="2638" y="321"/>
                  </a:lnTo>
                  <a:lnTo>
                    <a:pt x="2653" y="303"/>
                  </a:lnTo>
                  <a:lnTo>
                    <a:pt x="2656" y="298"/>
                  </a:lnTo>
                  <a:lnTo>
                    <a:pt x="2657" y="297"/>
                  </a:lnTo>
                  <a:lnTo>
                    <a:pt x="2666" y="278"/>
                  </a:lnTo>
                  <a:lnTo>
                    <a:pt x="2672" y="256"/>
                  </a:lnTo>
                  <a:lnTo>
                    <a:pt x="2674" y="234"/>
                  </a:lnTo>
                  <a:lnTo>
                    <a:pt x="2672" y="210"/>
                  </a:lnTo>
                  <a:lnTo>
                    <a:pt x="2665" y="187"/>
                  </a:lnTo>
                  <a:lnTo>
                    <a:pt x="2661" y="180"/>
                  </a:lnTo>
                  <a:lnTo>
                    <a:pt x="2658" y="174"/>
                  </a:lnTo>
                  <a:lnTo>
                    <a:pt x="2643" y="153"/>
                  </a:lnTo>
                  <a:lnTo>
                    <a:pt x="2625" y="136"/>
                  </a:lnTo>
                  <a:lnTo>
                    <a:pt x="2603" y="123"/>
                  </a:lnTo>
                  <a:lnTo>
                    <a:pt x="2579" y="115"/>
                  </a:lnTo>
                  <a:lnTo>
                    <a:pt x="2551" y="111"/>
                  </a:lnTo>
                  <a:close/>
                  <a:moveTo>
                    <a:pt x="2551" y="0"/>
                  </a:moveTo>
                  <a:lnTo>
                    <a:pt x="2591" y="3"/>
                  </a:lnTo>
                  <a:lnTo>
                    <a:pt x="2630" y="12"/>
                  </a:lnTo>
                  <a:lnTo>
                    <a:pt x="2665" y="28"/>
                  </a:lnTo>
                  <a:lnTo>
                    <a:pt x="2696" y="50"/>
                  </a:lnTo>
                  <a:lnTo>
                    <a:pt x="2724" y="75"/>
                  </a:lnTo>
                  <a:lnTo>
                    <a:pt x="2747" y="106"/>
                  </a:lnTo>
                  <a:lnTo>
                    <a:pt x="2766" y="138"/>
                  </a:lnTo>
                  <a:lnTo>
                    <a:pt x="3713" y="1930"/>
                  </a:lnTo>
                  <a:lnTo>
                    <a:pt x="3726" y="1957"/>
                  </a:lnTo>
                  <a:lnTo>
                    <a:pt x="3734" y="1986"/>
                  </a:lnTo>
                  <a:lnTo>
                    <a:pt x="3736" y="2017"/>
                  </a:lnTo>
                  <a:lnTo>
                    <a:pt x="3733" y="2050"/>
                  </a:lnTo>
                  <a:lnTo>
                    <a:pt x="3725" y="2080"/>
                  </a:lnTo>
                  <a:lnTo>
                    <a:pt x="3711" y="2108"/>
                  </a:lnTo>
                  <a:lnTo>
                    <a:pt x="3693" y="2132"/>
                  </a:lnTo>
                  <a:lnTo>
                    <a:pt x="3672" y="2153"/>
                  </a:lnTo>
                  <a:lnTo>
                    <a:pt x="3646" y="2170"/>
                  </a:lnTo>
                  <a:lnTo>
                    <a:pt x="3617" y="2183"/>
                  </a:lnTo>
                  <a:lnTo>
                    <a:pt x="3617" y="2612"/>
                  </a:lnTo>
                  <a:lnTo>
                    <a:pt x="3617" y="2620"/>
                  </a:lnTo>
                  <a:lnTo>
                    <a:pt x="3616" y="2626"/>
                  </a:lnTo>
                  <a:lnTo>
                    <a:pt x="3609" y="2660"/>
                  </a:lnTo>
                  <a:lnTo>
                    <a:pt x="3597" y="2693"/>
                  </a:lnTo>
                  <a:lnTo>
                    <a:pt x="3580" y="2724"/>
                  </a:lnTo>
                  <a:lnTo>
                    <a:pt x="3559" y="2752"/>
                  </a:lnTo>
                  <a:lnTo>
                    <a:pt x="3533" y="2777"/>
                  </a:lnTo>
                  <a:lnTo>
                    <a:pt x="3504" y="2799"/>
                  </a:lnTo>
                  <a:lnTo>
                    <a:pt x="3471" y="2815"/>
                  </a:lnTo>
                  <a:lnTo>
                    <a:pt x="3282" y="2891"/>
                  </a:lnTo>
                  <a:lnTo>
                    <a:pt x="3231" y="2908"/>
                  </a:lnTo>
                  <a:lnTo>
                    <a:pt x="3180" y="2918"/>
                  </a:lnTo>
                  <a:lnTo>
                    <a:pt x="3127" y="2920"/>
                  </a:lnTo>
                  <a:lnTo>
                    <a:pt x="3081" y="2918"/>
                  </a:lnTo>
                  <a:lnTo>
                    <a:pt x="3034" y="2910"/>
                  </a:lnTo>
                  <a:lnTo>
                    <a:pt x="2989" y="2896"/>
                  </a:lnTo>
                  <a:lnTo>
                    <a:pt x="2946" y="2878"/>
                  </a:lnTo>
                  <a:lnTo>
                    <a:pt x="2904" y="2855"/>
                  </a:lnTo>
                  <a:lnTo>
                    <a:pt x="2865" y="2826"/>
                  </a:lnTo>
                  <a:lnTo>
                    <a:pt x="2454" y="2487"/>
                  </a:lnTo>
                  <a:lnTo>
                    <a:pt x="2442" y="2474"/>
                  </a:lnTo>
                  <a:lnTo>
                    <a:pt x="2436" y="2458"/>
                  </a:lnTo>
                  <a:lnTo>
                    <a:pt x="2433" y="2441"/>
                  </a:lnTo>
                  <a:lnTo>
                    <a:pt x="2438" y="2424"/>
                  </a:lnTo>
                  <a:lnTo>
                    <a:pt x="2447" y="2409"/>
                  </a:lnTo>
                  <a:lnTo>
                    <a:pt x="2459" y="2397"/>
                  </a:lnTo>
                  <a:lnTo>
                    <a:pt x="2475" y="2390"/>
                  </a:lnTo>
                  <a:lnTo>
                    <a:pt x="2492" y="2388"/>
                  </a:lnTo>
                  <a:lnTo>
                    <a:pt x="2509" y="2393"/>
                  </a:lnTo>
                  <a:lnTo>
                    <a:pt x="2525" y="2402"/>
                  </a:lnTo>
                  <a:lnTo>
                    <a:pt x="2656" y="2509"/>
                  </a:lnTo>
                  <a:lnTo>
                    <a:pt x="3418" y="2203"/>
                  </a:lnTo>
                  <a:lnTo>
                    <a:pt x="3431" y="2200"/>
                  </a:lnTo>
                  <a:lnTo>
                    <a:pt x="3446" y="2200"/>
                  </a:lnTo>
                  <a:lnTo>
                    <a:pt x="3460" y="2204"/>
                  </a:lnTo>
                  <a:lnTo>
                    <a:pt x="3472" y="2211"/>
                  </a:lnTo>
                  <a:lnTo>
                    <a:pt x="3482" y="2221"/>
                  </a:lnTo>
                  <a:lnTo>
                    <a:pt x="3490" y="2235"/>
                  </a:lnTo>
                  <a:lnTo>
                    <a:pt x="3506" y="2275"/>
                  </a:lnTo>
                  <a:lnTo>
                    <a:pt x="3506" y="2183"/>
                  </a:lnTo>
                  <a:lnTo>
                    <a:pt x="3478" y="2170"/>
                  </a:lnTo>
                  <a:lnTo>
                    <a:pt x="3452" y="2152"/>
                  </a:lnTo>
                  <a:lnTo>
                    <a:pt x="3429" y="2131"/>
                  </a:lnTo>
                  <a:lnTo>
                    <a:pt x="3411" y="2106"/>
                  </a:lnTo>
                  <a:lnTo>
                    <a:pt x="2507" y="766"/>
                  </a:lnTo>
                  <a:lnTo>
                    <a:pt x="1895" y="1794"/>
                  </a:lnTo>
                  <a:lnTo>
                    <a:pt x="1983" y="1926"/>
                  </a:lnTo>
                  <a:lnTo>
                    <a:pt x="2010" y="1971"/>
                  </a:lnTo>
                  <a:lnTo>
                    <a:pt x="2032" y="2018"/>
                  </a:lnTo>
                  <a:lnTo>
                    <a:pt x="2050" y="2067"/>
                  </a:lnTo>
                  <a:lnTo>
                    <a:pt x="2063" y="2117"/>
                  </a:lnTo>
                  <a:lnTo>
                    <a:pt x="2069" y="2168"/>
                  </a:lnTo>
                  <a:lnTo>
                    <a:pt x="2073" y="2221"/>
                  </a:lnTo>
                  <a:lnTo>
                    <a:pt x="2073" y="2433"/>
                  </a:lnTo>
                  <a:lnTo>
                    <a:pt x="2072" y="2441"/>
                  </a:lnTo>
                  <a:lnTo>
                    <a:pt x="2069" y="2452"/>
                  </a:lnTo>
                  <a:lnTo>
                    <a:pt x="2066" y="2460"/>
                  </a:lnTo>
                  <a:lnTo>
                    <a:pt x="2064" y="2463"/>
                  </a:lnTo>
                  <a:lnTo>
                    <a:pt x="2063" y="2465"/>
                  </a:lnTo>
                  <a:lnTo>
                    <a:pt x="2060" y="2469"/>
                  </a:lnTo>
                  <a:lnTo>
                    <a:pt x="2059" y="2469"/>
                  </a:lnTo>
                  <a:lnTo>
                    <a:pt x="2058" y="2471"/>
                  </a:lnTo>
                  <a:lnTo>
                    <a:pt x="2056" y="2473"/>
                  </a:lnTo>
                  <a:lnTo>
                    <a:pt x="2055" y="2474"/>
                  </a:lnTo>
                  <a:lnTo>
                    <a:pt x="2052" y="2477"/>
                  </a:lnTo>
                  <a:lnTo>
                    <a:pt x="2050" y="2478"/>
                  </a:lnTo>
                  <a:lnTo>
                    <a:pt x="2048" y="2480"/>
                  </a:lnTo>
                  <a:lnTo>
                    <a:pt x="2043" y="2482"/>
                  </a:lnTo>
                  <a:lnTo>
                    <a:pt x="2039" y="2485"/>
                  </a:lnTo>
                  <a:lnTo>
                    <a:pt x="2039" y="2485"/>
                  </a:lnTo>
                  <a:lnTo>
                    <a:pt x="2035" y="2486"/>
                  </a:lnTo>
                  <a:lnTo>
                    <a:pt x="2033" y="2487"/>
                  </a:lnTo>
                  <a:lnTo>
                    <a:pt x="2031" y="2488"/>
                  </a:lnTo>
                  <a:lnTo>
                    <a:pt x="2027" y="2488"/>
                  </a:lnTo>
                  <a:lnTo>
                    <a:pt x="2024" y="2489"/>
                  </a:lnTo>
                  <a:lnTo>
                    <a:pt x="2023" y="2489"/>
                  </a:lnTo>
                  <a:lnTo>
                    <a:pt x="2019" y="2489"/>
                  </a:lnTo>
                  <a:lnTo>
                    <a:pt x="2017" y="2489"/>
                  </a:lnTo>
                  <a:lnTo>
                    <a:pt x="1954" y="2489"/>
                  </a:lnTo>
                  <a:lnTo>
                    <a:pt x="1954" y="2672"/>
                  </a:lnTo>
                  <a:lnTo>
                    <a:pt x="1950" y="2689"/>
                  </a:lnTo>
                  <a:lnTo>
                    <a:pt x="1942" y="2705"/>
                  </a:lnTo>
                  <a:lnTo>
                    <a:pt x="1931" y="2716"/>
                  </a:lnTo>
                  <a:lnTo>
                    <a:pt x="1915" y="2724"/>
                  </a:lnTo>
                  <a:lnTo>
                    <a:pt x="1898" y="2727"/>
                  </a:lnTo>
                  <a:lnTo>
                    <a:pt x="1418" y="2727"/>
                  </a:lnTo>
                  <a:lnTo>
                    <a:pt x="1418" y="2853"/>
                  </a:lnTo>
                  <a:lnTo>
                    <a:pt x="1838" y="2853"/>
                  </a:lnTo>
                  <a:lnTo>
                    <a:pt x="1890" y="2857"/>
                  </a:lnTo>
                  <a:lnTo>
                    <a:pt x="1940" y="2866"/>
                  </a:lnTo>
                  <a:lnTo>
                    <a:pt x="1988" y="2882"/>
                  </a:lnTo>
                  <a:lnTo>
                    <a:pt x="2032" y="2902"/>
                  </a:lnTo>
                  <a:lnTo>
                    <a:pt x="2074" y="2927"/>
                  </a:lnTo>
                  <a:lnTo>
                    <a:pt x="2112" y="2958"/>
                  </a:lnTo>
                  <a:lnTo>
                    <a:pt x="2146" y="2992"/>
                  </a:lnTo>
                  <a:lnTo>
                    <a:pt x="2177" y="3030"/>
                  </a:lnTo>
                  <a:lnTo>
                    <a:pt x="2202" y="3072"/>
                  </a:lnTo>
                  <a:lnTo>
                    <a:pt x="2222" y="3116"/>
                  </a:lnTo>
                  <a:lnTo>
                    <a:pt x="2238" y="3164"/>
                  </a:lnTo>
                  <a:lnTo>
                    <a:pt x="2247" y="3214"/>
                  </a:lnTo>
                  <a:lnTo>
                    <a:pt x="2251" y="3266"/>
                  </a:lnTo>
                  <a:lnTo>
                    <a:pt x="2247" y="3317"/>
                  </a:lnTo>
                  <a:lnTo>
                    <a:pt x="2238" y="3367"/>
                  </a:lnTo>
                  <a:lnTo>
                    <a:pt x="2222" y="3415"/>
                  </a:lnTo>
                  <a:lnTo>
                    <a:pt x="2202" y="3460"/>
                  </a:lnTo>
                  <a:lnTo>
                    <a:pt x="2177" y="3501"/>
                  </a:lnTo>
                  <a:lnTo>
                    <a:pt x="2146" y="3540"/>
                  </a:lnTo>
                  <a:lnTo>
                    <a:pt x="2112" y="3574"/>
                  </a:lnTo>
                  <a:lnTo>
                    <a:pt x="2074" y="3604"/>
                  </a:lnTo>
                  <a:lnTo>
                    <a:pt x="2032" y="3630"/>
                  </a:lnTo>
                  <a:lnTo>
                    <a:pt x="1988" y="3651"/>
                  </a:lnTo>
                  <a:lnTo>
                    <a:pt x="1940" y="3666"/>
                  </a:lnTo>
                  <a:lnTo>
                    <a:pt x="1890" y="3676"/>
                  </a:lnTo>
                  <a:lnTo>
                    <a:pt x="1838" y="3678"/>
                  </a:lnTo>
                  <a:lnTo>
                    <a:pt x="413" y="3678"/>
                  </a:lnTo>
                  <a:lnTo>
                    <a:pt x="360" y="3676"/>
                  </a:lnTo>
                  <a:lnTo>
                    <a:pt x="311" y="3666"/>
                  </a:lnTo>
                  <a:lnTo>
                    <a:pt x="263" y="3651"/>
                  </a:lnTo>
                  <a:lnTo>
                    <a:pt x="219" y="3630"/>
                  </a:lnTo>
                  <a:lnTo>
                    <a:pt x="177" y="3604"/>
                  </a:lnTo>
                  <a:lnTo>
                    <a:pt x="138" y="3574"/>
                  </a:lnTo>
                  <a:lnTo>
                    <a:pt x="104" y="3540"/>
                  </a:lnTo>
                  <a:lnTo>
                    <a:pt x="74" y="3501"/>
                  </a:lnTo>
                  <a:lnTo>
                    <a:pt x="49" y="3460"/>
                  </a:lnTo>
                  <a:lnTo>
                    <a:pt x="28" y="3415"/>
                  </a:lnTo>
                  <a:lnTo>
                    <a:pt x="12" y="3367"/>
                  </a:lnTo>
                  <a:lnTo>
                    <a:pt x="3" y="3317"/>
                  </a:lnTo>
                  <a:lnTo>
                    <a:pt x="0" y="3266"/>
                  </a:lnTo>
                  <a:lnTo>
                    <a:pt x="3" y="3214"/>
                  </a:lnTo>
                  <a:lnTo>
                    <a:pt x="12" y="3164"/>
                  </a:lnTo>
                  <a:lnTo>
                    <a:pt x="28" y="3116"/>
                  </a:lnTo>
                  <a:lnTo>
                    <a:pt x="49" y="3072"/>
                  </a:lnTo>
                  <a:lnTo>
                    <a:pt x="74" y="3030"/>
                  </a:lnTo>
                  <a:lnTo>
                    <a:pt x="104" y="2992"/>
                  </a:lnTo>
                  <a:lnTo>
                    <a:pt x="138" y="2958"/>
                  </a:lnTo>
                  <a:lnTo>
                    <a:pt x="177" y="2927"/>
                  </a:lnTo>
                  <a:lnTo>
                    <a:pt x="219" y="2902"/>
                  </a:lnTo>
                  <a:lnTo>
                    <a:pt x="263" y="2882"/>
                  </a:lnTo>
                  <a:lnTo>
                    <a:pt x="311" y="2866"/>
                  </a:lnTo>
                  <a:lnTo>
                    <a:pt x="360" y="2857"/>
                  </a:lnTo>
                  <a:lnTo>
                    <a:pt x="413" y="2853"/>
                  </a:lnTo>
                  <a:lnTo>
                    <a:pt x="832" y="2853"/>
                  </a:lnTo>
                  <a:lnTo>
                    <a:pt x="832" y="2727"/>
                  </a:lnTo>
                  <a:lnTo>
                    <a:pt x="353" y="2727"/>
                  </a:lnTo>
                  <a:lnTo>
                    <a:pt x="317" y="2724"/>
                  </a:lnTo>
                  <a:lnTo>
                    <a:pt x="284" y="2714"/>
                  </a:lnTo>
                  <a:lnTo>
                    <a:pt x="255" y="2698"/>
                  </a:lnTo>
                  <a:lnTo>
                    <a:pt x="229" y="2676"/>
                  </a:lnTo>
                  <a:lnTo>
                    <a:pt x="209" y="2650"/>
                  </a:lnTo>
                  <a:lnTo>
                    <a:pt x="192" y="2621"/>
                  </a:lnTo>
                  <a:lnTo>
                    <a:pt x="181" y="2588"/>
                  </a:lnTo>
                  <a:lnTo>
                    <a:pt x="178" y="2553"/>
                  </a:lnTo>
                  <a:lnTo>
                    <a:pt x="178" y="2136"/>
                  </a:lnTo>
                  <a:lnTo>
                    <a:pt x="181" y="2101"/>
                  </a:lnTo>
                  <a:lnTo>
                    <a:pt x="192" y="2068"/>
                  </a:lnTo>
                  <a:lnTo>
                    <a:pt x="209" y="2039"/>
                  </a:lnTo>
                  <a:lnTo>
                    <a:pt x="229" y="2013"/>
                  </a:lnTo>
                  <a:lnTo>
                    <a:pt x="255" y="1991"/>
                  </a:lnTo>
                  <a:lnTo>
                    <a:pt x="284" y="1975"/>
                  </a:lnTo>
                  <a:lnTo>
                    <a:pt x="317" y="1965"/>
                  </a:lnTo>
                  <a:lnTo>
                    <a:pt x="353" y="1962"/>
                  </a:lnTo>
                  <a:lnTo>
                    <a:pt x="713" y="1962"/>
                  </a:lnTo>
                  <a:lnTo>
                    <a:pt x="713" y="1601"/>
                  </a:lnTo>
                  <a:lnTo>
                    <a:pt x="717" y="1558"/>
                  </a:lnTo>
                  <a:lnTo>
                    <a:pt x="726" y="1517"/>
                  </a:lnTo>
                  <a:lnTo>
                    <a:pt x="740" y="1477"/>
                  </a:lnTo>
                  <a:lnTo>
                    <a:pt x="761" y="1442"/>
                  </a:lnTo>
                  <a:lnTo>
                    <a:pt x="785" y="1409"/>
                  </a:lnTo>
                  <a:lnTo>
                    <a:pt x="814" y="1380"/>
                  </a:lnTo>
                  <a:lnTo>
                    <a:pt x="847" y="1355"/>
                  </a:lnTo>
                  <a:lnTo>
                    <a:pt x="883" y="1335"/>
                  </a:lnTo>
                  <a:lnTo>
                    <a:pt x="922" y="1321"/>
                  </a:lnTo>
                  <a:lnTo>
                    <a:pt x="963" y="1310"/>
                  </a:lnTo>
                  <a:lnTo>
                    <a:pt x="1007" y="1308"/>
                  </a:lnTo>
                  <a:lnTo>
                    <a:pt x="1414" y="1308"/>
                  </a:lnTo>
                  <a:lnTo>
                    <a:pt x="1452" y="1310"/>
                  </a:lnTo>
                  <a:lnTo>
                    <a:pt x="2359" y="101"/>
                  </a:lnTo>
                  <a:lnTo>
                    <a:pt x="2359" y="101"/>
                  </a:lnTo>
                  <a:lnTo>
                    <a:pt x="2382" y="73"/>
                  </a:lnTo>
                  <a:lnTo>
                    <a:pt x="2410" y="48"/>
                  </a:lnTo>
                  <a:lnTo>
                    <a:pt x="2441" y="27"/>
                  </a:lnTo>
                  <a:lnTo>
                    <a:pt x="2475" y="12"/>
                  </a:lnTo>
                  <a:lnTo>
                    <a:pt x="2513" y="3"/>
                  </a:lnTo>
                  <a:lnTo>
                    <a:pt x="2551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</p:grpSp>
      <p:sp>
        <p:nvSpPr>
          <p:cNvPr id="23625" name="TextBox 158">
            <a:extLst>
              <a:ext uri="{FF2B5EF4-FFF2-40B4-BE49-F238E27FC236}">
                <a16:creationId xmlns:a16="http://schemas.microsoft.com/office/drawing/2014/main" id="{E039C87F-72AD-4054-B63A-554ACFFB9E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4663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26" name="TextBox 159">
            <a:extLst>
              <a:ext uri="{FF2B5EF4-FFF2-40B4-BE49-F238E27FC236}">
                <a16:creationId xmlns:a16="http://schemas.microsoft.com/office/drawing/2014/main" id="{C89D28E8-6E73-4458-A352-42A749EC09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3488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27" name="TextBox 127">
            <a:extLst>
              <a:ext uri="{FF2B5EF4-FFF2-40B4-BE49-F238E27FC236}">
                <a16:creationId xmlns:a16="http://schemas.microsoft.com/office/drawing/2014/main" id="{D2C4F5E9-E854-4896-8355-45DEC69063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7813" y="6378575"/>
            <a:ext cx="426243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Sources: National Bureau of Statistics, World Bank Report on Doing Business in Nigeria 2018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climate-data.org, State Government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Exchange rate= $1/N305 (Central Bank of Nigeria)</a:t>
            </a:r>
          </a:p>
        </p:txBody>
      </p:sp>
      <p:sp>
        <p:nvSpPr>
          <p:cNvPr id="23628" name="TextBox 128">
            <a:extLst>
              <a:ext uri="{FF2B5EF4-FFF2-40B4-BE49-F238E27FC236}">
                <a16:creationId xmlns:a16="http://schemas.microsoft.com/office/drawing/2014/main" id="{409BCC6F-A5F0-4C79-BB4A-38A1ABC14F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91600" y="3640453"/>
            <a:ext cx="56778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Tourism</a:t>
            </a:r>
          </a:p>
        </p:txBody>
      </p:sp>
      <p:sp>
        <p:nvSpPr>
          <p:cNvPr id="23629" name="TextBox 129">
            <a:extLst>
              <a:ext uri="{FF2B5EF4-FFF2-40B4-BE49-F238E27FC236}">
                <a16:creationId xmlns:a16="http://schemas.microsoft.com/office/drawing/2014/main" id="{489E7B41-20C9-4493-8E7D-07238EB8FA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75267" y="3654980"/>
            <a:ext cx="883575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Transportation</a:t>
            </a:r>
          </a:p>
        </p:txBody>
      </p:sp>
      <p:sp>
        <p:nvSpPr>
          <p:cNvPr id="23631" name="TextBox 131">
            <a:extLst>
              <a:ext uri="{FF2B5EF4-FFF2-40B4-BE49-F238E27FC236}">
                <a16:creationId xmlns:a16="http://schemas.microsoft.com/office/drawing/2014/main" id="{FF8B6C80-43E2-43AF-A364-A31845F05C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5388" y="3656613"/>
            <a:ext cx="49564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900" dirty="0">
                <a:solidFill>
                  <a:prstClr val="black"/>
                </a:solidFill>
                <a:latin typeface="Calibri" panose="020F0502020204030204" pitchFamily="34" charset="0"/>
              </a:rPr>
              <a:t>Health</a:t>
            </a:r>
            <a:endParaRPr kumimoji="0" lang="en-GB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32" name="TextBox 132">
            <a:extLst>
              <a:ext uri="{FF2B5EF4-FFF2-40B4-BE49-F238E27FC236}">
                <a16:creationId xmlns:a16="http://schemas.microsoft.com/office/drawing/2014/main" id="{A1C640C1-61D1-4BA5-8A76-E684397E8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16796" y="3637238"/>
            <a:ext cx="70243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Real Estate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238751" y="3833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38" name="TextBox 141">
            <a:extLst>
              <a:ext uri="{FF2B5EF4-FFF2-40B4-BE49-F238E27FC236}">
                <a16:creationId xmlns:a16="http://schemas.microsoft.com/office/drawing/2014/main" id="{EE481231-8673-4FD7-B5CC-900AEE7A9F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61930" y="3652271"/>
            <a:ext cx="93326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900" noProof="0" dirty="0">
                <a:solidFill>
                  <a:prstClr val="black"/>
                </a:solidFill>
                <a:latin typeface="Calibri" panose="020F0502020204030204" pitchFamily="34" charset="0"/>
              </a:rPr>
              <a:t>Agro processing</a:t>
            </a:r>
            <a:endParaRPr kumimoji="0" lang="en-GB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49" name="TextBox 165">
            <a:extLst>
              <a:ext uri="{FF2B5EF4-FFF2-40B4-BE49-F238E27FC236}">
                <a16:creationId xmlns:a16="http://schemas.microsoft.com/office/drawing/2014/main" id="{1242633E-9CB1-48ED-83F4-2223DFC7ED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15541" y="4459560"/>
            <a:ext cx="484428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900" noProof="0" dirty="0">
                <a:solidFill>
                  <a:prstClr val="black"/>
                </a:solidFill>
                <a:latin typeface="Calibri" panose="020F0502020204030204" pitchFamily="34" charset="0"/>
              </a:rPr>
              <a:t>Power</a:t>
            </a:r>
            <a:endParaRPr kumimoji="0" lang="en-GB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50" name="TextBox 166">
            <a:extLst>
              <a:ext uri="{FF2B5EF4-FFF2-40B4-BE49-F238E27FC236}">
                <a16:creationId xmlns:a16="http://schemas.microsoft.com/office/drawing/2014/main" id="{6B51369B-8FA6-464A-B908-12B0FFE6B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32791" y="4458812"/>
            <a:ext cx="787395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altLang="en-US" sz="900" dirty="0">
                <a:solidFill>
                  <a:prstClr val="black"/>
                </a:solidFill>
                <a:latin typeface="Calibri" panose="020F0502020204030204" pitchFamily="34" charset="0"/>
              </a:rPr>
              <a:t>E-Commerce</a:t>
            </a:r>
            <a:endParaRPr kumimoji="0" lang="en-GB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51" name="TextBox 167">
            <a:extLst>
              <a:ext uri="{FF2B5EF4-FFF2-40B4-BE49-F238E27FC236}">
                <a16:creationId xmlns:a16="http://schemas.microsoft.com/office/drawing/2014/main" id="{4F9404E1-8339-401B-8B10-4C7D1A8CEC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91703" y="4457881"/>
            <a:ext cx="452368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altLang="en-US" sz="900" dirty="0">
                <a:solidFill>
                  <a:prstClr val="black"/>
                </a:solidFill>
                <a:latin typeface="Calibri" panose="020F0502020204030204" pitchFamily="34" charset="0"/>
              </a:rPr>
              <a:t>Retail</a:t>
            </a:r>
            <a:endParaRPr kumimoji="0" lang="en-GB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52" name="TextBox 168">
            <a:extLst>
              <a:ext uri="{FF2B5EF4-FFF2-40B4-BE49-F238E27FC236}">
                <a16:creationId xmlns:a16="http://schemas.microsoft.com/office/drawing/2014/main" id="{1C04917D-B2C3-4C21-8CC2-A45C349B4B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37942" y="4457133"/>
            <a:ext cx="1178528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Waste Management</a:t>
            </a:r>
          </a:p>
        </p:txBody>
      </p:sp>
      <p:sp>
        <p:nvSpPr>
          <p:cNvPr id="23653" name="TextBox 169">
            <a:extLst>
              <a:ext uri="{FF2B5EF4-FFF2-40B4-BE49-F238E27FC236}">
                <a16:creationId xmlns:a16="http://schemas.microsoft.com/office/drawing/2014/main" id="{4BADA327-4F2D-4897-B7C0-4647A1484B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76301" y="4457973"/>
            <a:ext cx="86914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Entertainment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8A28B48-1841-45BB-BFBC-EADE77B37C6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779712" y="2589213"/>
          <a:ext cx="1482725" cy="812800"/>
        </p:xfrm>
        <a:graphic>
          <a:graphicData uri="http://schemas.openxmlformats.org/drawingml/2006/table">
            <a:tbl>
              <a:tblPr/>
              <a:tblGrid>
                <a:gridCol w="11367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9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32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GB" sz="1000" b="1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Domestic</a:t>
                      </a:r>
                      <a:r>
                        <a:rPr lang="en-GB" sz="10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US" sz="1000" b="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International 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Yes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Railway</a:t>
                      </a:r>
                      <a:r>
                        <a:rPr lang="en-GB" sz="1000" b="1" kern="1200" baseline="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 Station</a:t>
                      </a:r>
                      <a:endParaRPr lang="en-GB" sz="1000" b="1" kern="1200" dirty="0">
                        <a:solidFill>
                          <a:srgbClr val="292929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Yes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32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Sea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Yes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7" name="TextBox 136">
            <a:extLst>
              <a:ext uri="{FF2B5EF4-FFF2-40B4-BE49-F238E27FC236}">
                <a16:creationId xmlns:a16="http://schemas.microsoft.com/office/drawing/2014/main" id="{2F4C4876-7073-4C13-A183-127A8909BDC0}"/>
              </a:ext>
            </a:extLst>
          </p:cNvPr>
          <p:cNvSpPr txBox="1"/>
          <p:nvPr/>
        </p:nvSpPr>
        <p:spPr>
          <a:xfrm>
            <a:off x="538163" y="5268913"/>
            <a:ext cx="373856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For further details</a:t>
            </a:r>
          </a:p>
        </p:txBody>
      </p:sp>
      <p:sp>
        <p:nvSpPr>
          <p:cNvPr id="23676" name="TextBox 156">
            <a:extLst>
              <a:ext uri="{FF2B5EF4-FFF2-40B4-BE49-F238E27FC236}">
                <a16:creationId xmlns:a16="http://schemas.microsoft.com/office/drawing/2014/main" id="{95D66AAF-6B48-4B9E-9E5B-F1BB063A89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6300" y="6342063"/>
            <a:ext cx="37306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Abbreviations: </a:t>
            </a:r>
            <a:r>
              <a:rPr kumimoji="0" lang="en-GB" alt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	NICPS</a:t>
            </a:r>
            <a: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: Nigerian Investment Certification Programme for States            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	</a:t>
            </a:r>
            <a:r>
              <a:rPr kumimoji="0" lang="en-GB" alt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IGR</a:t>
            </a:r>
            <a: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:     Internal Generated Revenue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D4E23C6-26A0-4545-B8F7-7007C8EEBFE4}"/>
              </a:ext>
            </a:extLst>
          </p:cNvPr>
          <p:cNvSpPr txBox="1"/>
          <p:nvPr/>
        </p:nvSpPr>
        <p:spPr>
          <a:xfrm>
            <a:off x="4338638" y="5265738"/>
            <a:ext cx="247491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Did you know?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sp>
        <p:nvSpPr>
          <p:cNvPr id="132" name="Text Placeholder 42">
            <a:extLst>
              <a:ext uri="{FF2B5EF4-FFF2-40B4-BE49-F238E27FC236}">
                <a16:creationId xmlns:a16="http://schemas.microsoft.com/office/drawing/2014/main" id="{D510D0DC-1548-4249-8DB1-9A1055126D07}"/>
              </a:ext>
            </a:extLst>
          </p:cNvPr>
          <p:cNvSpPr txBox="1">
            <a:spLocks/>
          </p:cNvSpPr>
          <p:nvPr/>
        </p:nvSpPr>
        <p:spPr>
          <a:xfrm>
            <a:off x="522288" y="5511800"/>
            <a:ext cx="3733800" cy="701675"/>
          </a:xfrm>
          <a:prstGeom prst="rect">
            <a:avLst/>
          </a:prstGeom>
        </p:spPr>
        <p:txBody>
          <a:bodyPr lIns="36576" tIns="0" rIns="36576" bIns="0"/>
          <a:lstStyle>
            <a:lvl1pPr marL="0" indent="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/>
              <a:buNone/>
              <a:defRPr sz="800" b="1" baseline="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6575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93763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 charset="0"/>
              <a:buChar char="►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50950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619250" indent="-188913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0764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25336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29908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34480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</a:rPr>
              <a:t>NIGERIAN INVESTMENT PROMOTION COMMISSION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Arial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hlinkClick r:id="rId7"/>
              </a:rPr>
              <a:t>statesco@nipc.gov.ng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Arial"/>
              <a:buNone/>
              <a:tabLst/>
              <a:defRPr/>
            </a:pPr>
            <a:endParaRPr kumimoji="0" lang="en-US" sz="5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</a:endParaRPr>
          </a:p>
          <a:p>
            <a:pPr lvl="0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000" kern="0" dirty="0">
                <a:solidFill>
                  <a:prstClr val="black"/>
                </a:solidFill>
              </a:rPr>
              <a:t>OFFICE OF OVERSEAS AFFAIRS &amp; INVESTMENT </a:t>
            </a:r>
          </a:p>
          <a:p>
            <a:pPr lvl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>
                <a:solidFill>
                  <a:prstClr val="black"/>
                </a:solidFill>
                <a:hlinkClick r:id="rId8"/>
              </a:rPr>
              <a:t>info@lagosglobal.org</a:t>
            </a:r>
            <a:r>
              <a:rPr lang="en-US" sz="1000" b="0" kern="0" dirty="0">
                <a:solidFill>
                  <a:prstClr val="black"/>
                </a:solidFill>
              </a:rPr>
              <a:t> 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</a:endParaRPr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FF015425-7997-4612-9D0E-1F6C433DFCC7}"/>
              </a:ext>
            </a:extLst>
          </p:cNvPr>
          <p:cNvSpPr/>
          <p:nvPr/>
        </p:nvSpPr>
        <p:spPr>
          <a:xfrm>
            <a:off x="6080877" y="3040856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4C0B7457-CABD-4AC8-8A1A-1FD468581E4D}"/>
              </a:ext>
            </a:extLst>
          </p:cNvPr>
          <p:cNvSpPr/>
          <p:nvPr/>
        </p:nvSpPr>
        <p:spPr>
          <a:xfrm>
            <a:off x="6784796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2D626A89-F50C-45A3-9271-5D3F2EEA9C83}"/>
              </a:ext>
            </a:extLst>
          </p:cNvPr>
          <p:cNvSpPr/>
          <p:nvPr/>
        </p:nvSpPr>
        <p:spPr>
          <a:xfrm>
            <a:off x="7518399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240713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A62E850A-D87D-46D0-9257-0071E677FCF0}"/>
              </a:ext>
            </a:extLst>
          </p:cNvPr>
          <p:cNvSpPr/>
          <p:nvPr/>
        </p:nvSpPr>
        <p:spPr>
          <a:xfrm>
            <a:off x="8947150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4D1FAA17-3EFF-404B-B4C4-B468BCE2E9A5}"/>
              </a:ext>
            </a:extLst>
          </p:cNvPr>
          <p:cNvSpPr/>
          <p:nvPr/>
        </p:nvSpPr>
        <p:spPr>
          <a:xfrm>
            <a:off x="6078265" y="3836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E861211D-5D09-4577-8A09-FD96D972A5D4}"/>
              </a:ext>
            </a:extLst>
          </p:cNvPr>
          <p:cNvSpPr/>
          <p:nvPr/>
        </p:nvSpPr>
        <p:spPr>
          <a:xfrm>
            <a:off x="6780509" y="3833831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3CBEFD1C-6360-47CD-AEDD-DFB49FC0E0C7}"/>
              </a:ext>
            </a:extLst>
          </p:cNvPr>
          <p:cNvSpPr/>
          <p:nvPr/>
        </p:nvSpPr>
        <p:spPr>
          <a:xfrm>
            <a:off x="7518603" y="3830834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4" name="TextBox 152">
            <a:extLst>
              <a:ext uri="{FF2B5EF4-FFF2-40B4-BE49-F238E27FC236}">
                <a16:creationId xmlns:a16="http://schemas.microsoft.com/office/drawing/2014/main" id="{C53ECC99-201F-4F50-BD09-4044FFD3B8E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4575" y="1257300"/>
            <a:ext cx="3446463" cy="1292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15888" indent="-11588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7</a:t>
            </a:r>
            <a:r>
              <a:rPr lang="en-GB" sz="1300" baseline="30000" dirty="0">
                <a:latin typeface="Calibri" panose="020F0502020204030204" pitchFamily="34" charset="0"/>
              </a:rPr>
              <a:t>th</a:t>
            </a:r>
            <a:r>
              <a:rPr lang="en-GB" sz="1300" dirty="0">
                <a:latin typeface="Calibri" panose="020F0502020204030204" pitchFamily="34" charset="0"/>
              </a:rPr>
              <a:t> fastest growing city in the World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5</a:t>
            </a:r>
            <a:r>
              <a:rPr lang="en-GB" sz="1300" baseline="30000" dirty="0">
                <a:latin typeface="Calibri" panose="020F0502020204030204" pitchFamily="34" charset="0"/>
              </a:rPr>
              <a:t>th</a:t>
            </a:r>
            <a:r>
              <a:rPr lang="en-GB" sz="1300" dirty="0">
                <a:latin typeface="Calibri" panose="020F0502020204030204" pitchFamily="34" charset="0"/>
              </a:rPr>
              <a:t> largest economy in Afric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MY" sz="1300" dirty="0">
                <a:latin typeface="Calibri" panose="020F0502020204030204" pitchFamily="34" charset="0"/>
              </a:rPr>
              <a:t>Largest economy in the country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MY" sz="1300" dirty="0">
                <a:latin typeface="Calibri" panose="020F0502020204030204" pitchFamily="34" charset="0"/>
              </a:rPr>
              <a:t>Biggest home for tourism and entertainmen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Major economic, financial and industrial hub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MY" sz="1300" dirty="0">
                <a:latin typeface="Calibri" panose="020F0502020204030204" pitchFamily="34" charset="0"/>
              </a:rPr>
              <a:t>Highest revenue generating State</a:t>
            </a:r>
          </a:p>
        </p:txBody>
      </p:sp>
      <p:sp>
        <p:nvSpPr>
          <p:cNvPr id="161" name="Oval 160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953126" y="3843338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59" name="Picture 158">
            <a:extLst>
              <a:ext uri="{FF2B5EF4-FFF2-40B4-BE49-F238E27FC236}">
                <a16:creationId xmlns:a16="http://schemas.microsoft.com/office/drawing/2014/main" id="{1EDC7526-E88A-4A3C-8582-C49921DB621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006214" y="3116635"/>
            <a:ext cx="463336" cy="463336"/>
          </a:xfrm>
          <a:prstGeom prst="rect">
            <a:avLst/>
          </a:prstGeom>
        </p:spPr>
      </p:pic>
      <p:sp>
        <p:nvSpPr>
          <p:cNvPr id="160" name="TextBox 159">
            <a:extLst>
              <a:ext uri="{FF2B5EF4-FFF2-40B4-BE49-F238E27FC236}">
                <a16:creationId xmlns:a16="http://schemas.microsoft.com/office/drawing/2014/main" id="{D0A41506-8873-4C2F-B45B-4459F0229CA3}"/>
              </a:ext>
            </a:extLst>
          </p:cNvPr>
          <p:cNvSpPr txBox="1"/>
          <p:nvPr/>
        </p:nvSpPr>
        <p:spPr>
          <a:xfrm>
            <a:off x="4374578" y="4541674"/>
            <a:ext cx="17988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te Investment Certification Process Not Started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273650" y="5430271"/>
            <a:ext cx="2585415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A major business hub in Africa, and Africa's entertainment and fashion capital,  Lagos is often called the Silicon Valley of Africa</a:t>
            </a:r>
          </a:p>
        </p:txBody>
      </p:sp>
      <p:pic>
        <p:nvPicPr>
          <p:cNvPr id="117" name="Picture 116" descr="images.png"/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162061" y="3910988"/>
            <a:ext cx="446355" cy="446355"/>
          </a:xfrm>
          <a:prstGeom prst="rect">
            <a:avLst/>
          </a:prstGeom>
        </p:spPr>
      </p:pic>
      <p:pic>
        <p:nvPicPr>
          <p:cNvPr id="118" name="Picture 2"/>
          <p:cNvPicPr>
            <a:picLocks noChangeAspect="1" noChangeArrowheads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 bwMode="auto">
          <a:xfrm>
            <a:off x="6907577" y="3988875"/>
            <a:ext cx="341352" cy="274653"/>
          </a:xfrm>
          <a:prstGeom prst="rect">
            <a:avLst/>
          </a:prstGeom>
          <a:noFill/>
          <a:ln>
            <a:noFill/>
          </a:ln>
        </p:spPr>
      </p:pic>
      <p:pic>
        <p:nvPicPr>
          <p:cNvPr id="119" name="Picture 118" descr="retail.jpg"/>
          <p:cNvPicPr>
            <a:picLocks noChangeAspect="1"/>
          </p:cNvPicPr>
          <p:nvPr/>
        </p:nvPicPr>
        <p:blipFill>
          <a:blip r:embed="rId1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flipH="1">
            <a:off x="7655056" y="3974970"/>
            <a:ext cx="336186" cy="33618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13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97" r="7040" b="14538"/>
          <a:stretch/>
        </p:blipFill>
        <p:spPr>
          <a:xfrm>
            <a:off x="6173452" y="3066448"/>
            <a:ext cx="484343" cy="484343"/>
          </a:xfrm>
          <a:prstGeom prst="rect">
            <a:avLst/>
          </a:prstGeom>
        </p:spPr>
      </p:pic>
      <p:pic>
        <p:nvPicPr>
          <p:cNvPr id="135" name="Picture 134"/>
          <p:cNvPicPr>
            <a:picLocks noChangeAspect="1"/>
          </p:cNvPicPr>
          <p:nvPr/>
        </p:nvPicPr>
        <p:blipFill rotWithShape="1">
          <a:blip r:embed="rId1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76" t="16966" r="5088" b="31307"/>
          <a:stretch/>
        </p:blipFill>
        <p:spPr>
          <a:xfrm>
            <a:off x="8288836" y="3163722"/>
            <a:ext cx="549960" cy="320230"/>
          </a:xfrm>
          <a:prstGeom prst="rect">
            <a:avLst/>
          </a:prstGeom>
        </p:spPr>
      </p:pic>
      <p:pic>
        <p:nvPicPr>
          <p:cNvPr id="139" name="Picture 138"/>
          <p:cNvPicPr>
            <a:picLocks noChangeAspect="1"/>
          </p:cNvPicPr>
          <p:nvPr/>
        </p:nvPicPr>
        <p:blipFill rotWithShape="1">
          <a:blip r:embed="rId15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52" t="4498" r="11860" b="18554"/>
          <a:stretch/>
        </p:blipFill>
        <p:spPr>
          <a:xfrm>
            <a:off x="6874045" y="3101116"/>
            <a:ext cx="446498" cy="44743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1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04" t="7711" r="13468" b="21927"/>
          <a:stretch/>
        </p:blipFill>
        <p:spPr>
          <a:xfrm>
            <a:off x="8315948" y="3910988"/>
            <a:ext cx="450326" cy="46300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7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47" t="7550" r="14913" b="21767"/>
          <a:stretch/>
        </p:blipFill>
        <p:spPr>
          <a:xfrm>
            <a:off x="9037575" y="3923808"/>
            <a:ext cx="437305" cy="441317"/>
          </a:xfrm>
          <a:prstGeom prst="rect">
            <a:avLst/>
          </a:prstGeom>
        </p:spPr>
      </p:pic>
      <p:pic>
        <p:nvPicPr>
          <p:cNvPr id="141" name="Picture 140"/>
          <p:cNvPicPr>
            <a:picLocks noChangeAspect="1"/>
          </p:cNvPicPr>
          <p:nvPr/>
        </p:nvPicPr>
        <p:blipFill rotWithShape="1">
          <a:blip r:embed="rId1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76" t="1284" r="9136" b="15824"/>
          <a:stretch/>
        </p:blipFill>
        <p:spPr>
          <a:xfrm>
            <a:off x="7578635" y="3064533"/>
            <a:ext cx="478709" cy="483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593295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Pentagon 19">
            <a:extLst>
              <a:ext uri="{FF2B5EF4-FFF2-40B4-BE49-F238E27FC236}">
                <a16:creationId xmlns:a16="http://schemas.microsoft.com/office/drawing/2014/main" id="{CAD93C59-72A9-4F6D-A654-02B9F8A5EFF9}"/>
              </a:ext>
            </a:extLst>
          </p:cNvPr>
          <p:cNvSpPr>
            <a:spLocks/>
          </p:cNvSpPr>
          <p:nvPr/>
        </p:nvSpPr>
        <p:spPr bwMode="auto">
          <a:xfrm>
            <a:off x="756602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2 of 37</a:t>
            </a:r>
          </a:p>
        </p:txBody>
      </p:sp>
      <p:sp>
        <p:nvSpPr>
          <p:cNvPr id="376" name="Pentagon 19">
            <a:extLst>
              <a:ext uri="{FF2B5EF4-FFF2-40B4-BE49-F238E27FC236}">
                <a16:creationId xmlns:a16="http://schemas.microsoft.com/office/drawing/2014/main" id="{1BDC5465-6022-4404-B4D8-ED55CF961B8A}"/>
              </a:ext>
            </a:extLst>
          </p:cNvPr>
          <p:cNvSpPr>
            <a:spLocks/>
          </p:cNvSpPr>
          <p:nvPr/>
        </p:nvSpPr>
        <p:spPr bwMode="auto">
          <a:xfrm>
            <a:off x="824865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34 of 3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57F1EBC-D01A-4083-B657-63AFB1490839}"/>
              </a:ext>
            </a:extLst>
          </p:cNvPr>
          <p:cNvSpPr txBox="1"/>
          <p:nvPr/>
        </p:nvSpPr>
        <p:spPr>
          <a:xfrm>
            <a:off x="6122988" y="2749550"/>
            <a:ext cx="3475037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Investment Opportunit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D251BD-538A-4F4F-847E-620EEDA298A0}"/>
              </a:ext>
            </a:extLst>
          </p:cNvPr>
          <p:cNvSpPr txBox="1"/>
          <p:nvPr/>
        </p:nvSpPr>
        <p:spPr>
          <a:xfrm>
            <a:off x="6881813" y="4632911"/>
            <a:ext cx="2697162" cy="33855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Doing Business Ranking(2018)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1B8F13C-F732-4DA1-9250-DB02936E7688}"/>
              </a:ext>
            </a:extLst>
          </p:cNvPr>
          <p:cNvSpPr/>
          <p:nvPr/>
        </p:nvSpPr>
        <p:spPr>
          <a:xfrm>
            <a:off x="756602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egistering Propert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6BA1818-32ED-44D1-975C-958200BDD124}"/>
              </a:ext>
            </a:extLst>
          </p:cNvPr>
          <p:cNvSpPr/>
          <p:nvPr/>
        </p:nvSpPr>
        <p:spPr>
          <a:xfrm>
            <a:off x="8248650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ealing with Construction Permits</a:t>
            </a:r>
          </a:p>
        </p:txBody>
      </p:sp>
      <p:sp>
        <p:nvSpPr>
          <p:cNvPr id="23560" name="TextBox 174">
            <a:extLst>
              <a:ext uri="{FF2B5EF4-FFF2-40B4-BE49-F238E27FC236}">
                <a16:creationId xmlns:a16="http://schemas.microsoft.com/office/drawing/2014/main" id="{1573FD4E-62B9-45E8-8F28-CED990ED2D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0B63A6C-2A5E-4CA3-BC66-4CBC6008BC9A}"/>
              </a:ext>
            </a:extLst>
          </p:cNvPr>
          <p:cNvSpPr/>
          <p:nvPr/>
        </p:nvSpPr>
        <p:spPr>
          <a:xfrm>
            <a:off x="893127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nforcing Contracts</a:t>
            </a:r>
          </a:p>
        </p:txBody>
      </p:sp>
      <p:pic>
        <p:nvPicPr>
          <p:cNvPr id="23562" name="Picture 4">
            <a:extLst>
              <a:ext uri="{FF2B5EF4-FFF2-40B4-BE49-F238E27FC236}">
                <a16:creationId xmlns:a16="http://schemas.microsoft.com/office/drawing/2014/main" id="{7C8EEAB2-0239-4BB5-94B3-23E319AF1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513" y="5249863"/>
            <a:ext cx="439737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6" name="Pentagon 19">
            <a:extLst>
              <a:ext uri="{FF2B5EF4-FFF2-40B4-BE49-F238E27FC236}">
                <a16:creationId xmlns:a16="http://schemas.microsoft.com/office/drawing/2014/main" id="{5F8E9670-D71A-4765-B6B5-D711BC9AD6E1}"/>
              </a:ext>
            </a:extLst>
          </p:cNvPr>
          <p:cNvSpPr>
            <a:spLocks/>
          </p:cNvSpPr>
          <p:nvPr/>
        </p:nvSpPr>
        <p:spPr bwMode="auto">
          <a:xfrm>
            <a:off x="893127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4</a:t>
            </a:r>
            <a:r>
              <a:rPr kumimoji="0" lang="en-GB" sz="10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f 37</a:t>
            </a:r>
          </a:p>
        </p:txBody>
      </p:sp>
      <p:sp>
        <p:nvSpPr>
          <p:cNvPr id="23564" name="Title 3">
            <a:extLst>
              <a:ext uri="{FF2B5EF4-FFF2-40B4-BE49-F238E27FC236}">
                <a16:creationId xmlns:a16="http://schemas.microsoft.com/office/drawing/2014/main" id="{C62A749B-CFC7-4224-A789-D20A772AC33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en-GB" altLang="en-US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asarawa</a:t>
            </a:r>
            <a:r>
              <a:rPr lang="en-GB" alt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State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6882DF2C-9120-4A66-8487-575D9494F4D6}"/>
              </a:ext>
            </a:extLst>
          </p:cNvPr>
          <p:cNvSpPr txBox="1"/>
          <p:nvPr/>
        </p:nvSpPr>
        <p:spPr>
          <a:xfrm rot="16200000">
            <a:off x="-2290084" y="3478372"/>
            <a:ext cx="5303837" cy="2743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prstClr val="white"/>
                </a:solidFill>
                <a:latin typeface="Calibri" panose="020F0502020204030204" pitchFamily="34" charset="0"/>
                <a:cs typeface="Arial" charset="0"/>
              </a:rPr>
              <a:t>Home of Solid Mineral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grpSp>
        <p:nvGrpSpPr>
          <p:cNvPr id="23566" name="Group 9">
            <a:extLst>
              <a:ext uri="{FF2B5EF4-FFF2-40B4-BE49-F238E27FC236}">
                <a16:creationId xmlns:a16="http://schemas.microsoft.com/office/drawing/2014/main" id="{5B6131BD-3CE3-4FC4-B13A-FA9B797C1EF5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41338" y="963613"/>
            <a:ext cx="2897187" cy="2319337"/>
            <a:chOff x="770228" y="1459989"/>
            <a:chExt cx="4081047" cy="3267527"/>
          </a:xfrm>
        </p:grpSpPr>
        <p:sp>
          <p:nvSpPr>
            <p:cNvPr id="299" name="Freeform 4">
              <a:extLst>
                <a:ext uri="{FF2B5EF4-FFF2-40B4-BE49-F238E27FC236}">
                  <a16:creationId xmlns:a16="http://schemas.microsoft.com/office/drawing/2014/main" id="{B6150C82-CBE5-48B4-B60C-C210BB7B26A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91538" y="4349548"/>
              <a:ext cx="418167" cy="377968"/>
            </a:xfrm>
            <a:custGeom>
              <a:avLst/>
              <a:gdLst>
                <a:gd name="T0" fmla="*/ 12 w 786"/>
                <a:gd name="T1" fmla="*/ 19 h 714"/>
                <a:gd name="T2" fmla="*/ 22 w 786"/>
                <a:gd name="T3" fmla="*/ 18 h 714"/>
                <a:gd name="T4" fmla="*/ 27 w 786"/>
                <a:gd name="T5" fmla="*/ 17 h 714"/>
                <a:gd name="T6" fmla="*/ 30 w 786"/>
                <a:gd name="T7" fmla="*/ 14 h 714"/>
                <a:gd name="T8" fmla="*/ 37 w 786"/>
                <a:gd name="T9" fmla="*/ 16 h 714"/>
                <a:gd name="T10" fmla="*/ 43 w 786"/>
                <a:gd name="T11" fmla="*/ 13 h 714"/>
                <a:gd name="T12" fmla="*/ 48 w 786"/>
                <a:gd name="T13" fmla="*/ 8 h 714"/>
                <a:gd name="T14" fmla="*/ 55 w 786"/>
                <a:gd name="T15" fmla="*/ 4 h 714"/>
                <a:gd name="T16" fmla="*/ 66 w 786"/>
                <a:gd name="T17" fmla="*/ 0 h 714"/>
                <a:gd name="T18" fmla="*/ 63 w 786"/>
                <a:gd name="T19" fmla="*/ 12 h 714"/>
                <a:gd name="T20" fmla="*/ 59 w 786"/>
                <a:gd name="T21" fmla="*/ 19 h 714"/>
                <a:gd name="T22" fmla="*/ 57 w 786"/>
                <a:gd name="T23" fmla="*/ 29 h 714"/>
                <a:gd name="T24" fmla="*/ 59 w 786"/>
                <a:gd name="T25" fmla="*/ 36 h 714"/>
                <a:gd name="T26" fmla="*/ 66 w 786"/>
                <a:gd name="T27" fmla="*/ 35 h 714"/>
                <a:gd name="T28" fmla="*/ 64 w 786"/>
                <a:gd name="T29" fmla="*/ 41 h 714"/>
                <a:gd name="T30" fmla="*/ 64 w 786"/>
                <a:gd name="T31" fmla="*/ 48 h 714"/>
                <a:gd name="T32" fmla="*/ 63 w 786"/>
                <a:gd name="T33" fmla="*/ 56 h 714"/>
                <a:gd name="T34" fmla="*/ 60 w 786"/>
                <a:gd name="T35" fmla="*/ 60 h 714"/>
                <a:gd name="T36" fmla="*/ 57 w 786"/>
                <a:gd name="T37" fmla="*/ 58 h 714"/>
                <a:gd name="T38" fmla="*/ 54 w 786"/>
                <a:gd name="T39" fmla="*/ 54 h 714"/>
                <a:gd name="T40" fmla="*/ 53 w 786"/>
                <a:gd name="T41" fmla="*/ 51 h 714"/>
                <a:gd name="T42" fmla="*/ 51 w 786"/>
                <a:gd name="T43" fmla="*/ 53 h 714"/>
                <a:gd name="T44" fmla="*/ 49 w 786"/>
                <a:gd name="T45" fmla="*/ 54 h 714"/>
                <a:gd name="T46" fmla="*/ 47 w 786"/>
                <a:gd name="T47" fmla="*/ 50 h 714"/>
                <a:gd name="T48" fmla="*/ 48 w 786"/>
                <a:gd name="T49" fmla="*/ 54 h 714"/>
                <a:gd name="T50" fmla="*/ 47 w 786"/>
                <a:gd name="T51" fmla="*/ 54 h 714"/>
                <a:gd name="T52" fmla="*/ 46 w 786"/>
                <a:gd name="T53" fmla="*/ 59 h 714"/>
                <a:gd name="T54" fmla="*/ 47 w 786"/>
                <a:gd name="T55" fmla="*/ 62 h 714"/>
                <a:gd name="T56" fmla="*/ 42 w 786"/>
                <a:gd name="T57" fmla="*/ 62 h 714"/>
                <a:gd name="T58" fmla="*/ 39 w 786"/>
                <a:gd name="T59" fmla="*/ 57 h 714"/>
                <a:gd name="T60" fmla="*/ 40 w 786"/>
                <a:gd name="T61" fmla="*/ 54 h 714"/>
                <a:gd name="T62" fmla="*/ 43 w 786"/>
                <a:gd name="T63" fmla="*/ 55 h 714"/>
                <a:gd name="T64" fmla="*/ 40 w 786"/>
                <a:gd name="T65" fmla="*/ 53 h 714"/>
                <a:gd name="T66" fmla="*/ 38 w 786"/>
                <a:gd name="T67" fmla="*/ 57 h 714"/>
                <a:gd name="T68" fmla="*/ 37 w 786"/>
                <a:gd name="T69" fmla="*/ 57 h 714"/>
                <a:gd name="T70" fmla="*/ 37 w 786"/>
                <a:gd name="T71" fmla="*/ 60 h 714"/>
                <a:gd name="T72" fmla="*/ 33 w 786"/>
                <a:gd name="T73" fmla="*/ 56 h 714"/>
                <a:gd name="T74" fmla="*/ 32 w 786"/>
                <a:gd name="T75" fmla="*/ 58 h 714"/>
                <a:gd name="T76" fmla="*/ 26 w 786"/>
                <a:gd name="T77" fmla="*/ 54 h 714"/>
                <a:gd name="T78" fmla="*/ 26 w 786"/>
                <a:gd name="T79" fmla="*/ 54 h 714"/>
                <a:gd name="T80" fmla="*/ 24 w 786"/>
                <a:gd name="T81" fmla="*/ 51 h 714"/>
                <a:gd name="T82" fmla="*/ 22 w 786"/>
                <a:gd name="T83" fmla="*/ 51 h 714"/>
                <a:gd name="T84" fmla="*/ 20 w 786"/>
                <a:gd name="T85" fmla="*/ 50 h 714"/>
                <a:gd name="T86" fmla="*/ 20 w 786"/>
                <a:gd name="T87" fmla="*/ 48 h 714"/>
                <a:gd name="T88" fmla="*/ 18 w 786"/>
                <a:gd name="T89" fmla="*/ 47 h 714"/>
                <a:gd name="T90" fmla="*/ 15 w 786"/>
                <a:gd name="T91" fmla="*/ 45 h 714"/>
                <a:gd name="T92" fmla="*/ 11 w 786"/>
                <a:gd name="T93" fmla="*/ 39 h 714"/>
                <a:gd name="T94" fmla="*/ 12 w 786"/>
                <a:gd name="T95" fmla="*/ 36 h 714"/>
                <a:gd name="T96" fmla="*/ 7 w 786"/>
                <a:gd name="T97" fmla="*/ 33 h 714"/>
                <a:gd name="T98" fmla="*/ 5 w 786"/>
                <a:gd name="T99" fmla="*/ 28 h 714"/>
                <a:gd name="T100" fmla="*/ 7 w 786"/>
                <a:gd name="T101" fmla="*/ 30 h 714"/>
                <a:gd name="T102" fmla="*/ 4 w 786"/>
                <a:gd name="T103" fmla="*/ 24 h 714"/>
                <a:gd name="T104" fmla="*/ 2 w 786"/>
                <a:gd name="T105" fmla="*/ 20 h 714"/>
                <a:gd name="T106" fmla="*/ 0 w 786"/>
                <a:gd name="T107" fmla="*/ 15 h 714"/>
                <a:gd name="T108" fmla="*/ 4 w 786"/>
                <a:gd name="T109" fmla="*/ 16 h 714"/>
                <a:gd name="T110" fmla="*/ 55 w 786"/>
                <a:gd name="T111" fmla="*/ 60 h 714"/>
                <a:gd name="T112" fmla="*/ 47 w 786"/>
                <a:gd name="T113" fmla="*/ 60 h 714"/>
                <a:gd name="T114" fmla="*/ 51 w 786"/>
                <a:gd name="T115" fmla="*/ 54 h 714"/>
                <a:gd name="T116" fmla="*/ 54 w 786"/>
                <a:gd name="T117" fmla="*/ 56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86"/>
                <a:gd name="T178" fmla="*/ 0 h 714"/>
                <a:gd name="T179" fmla="*/ 786 w 786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86" h="714">
                  <a:moveTo>
                    <a:pt x="54" y="186"/>
                  </a:moveTo>
                  <a:lnTo>
                    <a:pt x="54" y="192"/>
                  </a:lnTo>
                  <a:lnTo>
                    <a:pt x="72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204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20" y="210"/>
                  </a:lnTo>
                  <a:lnTo>
                    <a:pt x="126" y="210"/>
                  </a:lnTo>
                  <a:lnTo>
                    <a:pt x="132" y="210"/>
                  </a:lnTo>
                  <a:lnTo>
                    <a:pt x="132" y="216"/>
                  </a:lnTo>
                  <a:lnTo>
                    <a:pt x="138" y="222"/>
                  </a:lnTo>
                  <a:lnTo>
                    <a:pt x="150" y="222"/>
                  </a:lnTo>
                  <a:lnTo>
                    <a:pt x="162" y="234"/>
                  </a:lnTo>
                  <a:lnTo>
                    <a:pt x="168" y="240"/>
                  </a:lnTo>
                  <a:lnTo>
                    <a:pt x="180" y="240"/>
                  </a:lnTo>
                  <a:lnTo>
                    <a:pt x="186" y="228"/>
                  </a:lnTo>
                  <a:lnTo>
                    <a:pt x="210" y="234"/>
                  </a:lnTo>
                  <a:lnTo>
                    <a:pt x="222" y="228"/>
                  </a:lnTo>
                  <a:lnTo>
                    <a:pt x="228" y="216"/>
                  </a:lnTo>
                  <a:lnTo>
                    <a:pt x="234" y="210"/>
                  </a:lnTo>
                  <a:lnTo>
                    <a:pt x="240" y="216"/>
                  </a:lnTo>
                  <a:lnTo>
                    <a:pt x="246" y="210"/>
                  </a:lnTo>
                  <a:lnTo>
                    <a:pt x="252" y="210"/>
                  </a:lnTo>
                  <a:lnTo>
                    <a:pt x="258" y="210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192"/>
                  </a:lnTo>
                  <a:lnTo>
                    <a:pt x="270" y="192"/>
                  </a:lnTo>
                  <a:lnTo>
                    <a:pt x="276" y="192"/>
                  </a:lnTo>
                  <a:lnTo>
                    <a:pt x="282" y="192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192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198"/>
                  </a:lnTo>
                  <a:lnTo>
                    <a:pt x="312" y="198"/>
                  </a:lnTo>
                  <a:lnTo>
                    <a:pt x="312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24" y="186"/>
                  </a:lnTo>
                  <a:lnTo>
                    <a:pt x="318" y="180"/>
                  </a:lnTo>
                  <a:lnTo>
                    <a:pt x="324" y="180"/>
                  </a:lnTo>
                  <a:lnTo>
                    <a:pt x="330" y="186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74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54" y="144"/>
                  </a:lnTo>
                  <a:lnTo>
                    <a:pt x="360" y="144"/>
                  </a:lnTo>
                  <a:lnTo>
                    <a:pt x="372" y="156"/>
                  </a:lnTo>
                  <a:lnTo>
                    <a:pt x="372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96" y="168"/>
                  </a:lnTo>
                  <a:lnTo>
                    <a:pt x="396" y="174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26" y="186"/>
                  </a:lnTo>
                  <a:lnTo>
                    <a:pt x="432" y="186"/>
                  </a:lnTo>
                  <a:lnTo>
                    <a:pt x="438" y="180"/>
                  </a:lnTo>
                  <a:lnTo>
                    <a:pt x="438" y="168"/>
                  </a:lnTo>
                  <a:lnTo>
                    <a:pt x="438" y="162"/>
                  </a:lnTo>
                  <a:lnTo>
                    <a:pt x="444" y="156"/>
                  </a:lnTo>
                  <a:lnTo>
                    <a:pt x="450" y="156"/>
                  </a:lnTo>
                  <a:lnTo>
                    <a:pt x="456" y="150"/>
                  </a:lnTo>
                  <a:lnTo>
                    <a:pt x="462" y="156"/>
                  </a:lnTo>
                  <a:lnTo>
                    <a:pt x="468" y="162"/>
                  </a:lnTo>
                  <a:lnTo>
                    <a:pt x="474" y="162"/>
                  </a:lnTo>
                  <a:lnTo>
                    <a:pt x="486" y="162"/>
                  </a:lnTo>
                  <a:lnTo>
                    <a:pt x="492" y="156"/>
                  </a:lnTo>
                  <a:lnTo>
                    <a:pt x="498" y="150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28" y="126"/>
                  </a:lnTo>
                  <a:lnTo>
                    <a:pt x="522" y="120"/>
                  </a:lnTo>
                  <a:lnTo>
                    <a:pt x="522" y="114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28" y="102"/>
                  </a:lnTo>
                  <a:lnTo>
                    <a:pt x="534" y="96"/>
                  </a:lnTo>
                  <a:lnTo>
                    <a:pt x="552" y="96"/>
                  </a:lnTo>
                  <a:lnTo>
                    <a:pt x="570" y="102"/>
                  </a:lnTo>
                  <a:lnTo>
                    <a:pt x="582" y="96"/>
                  </a:lnTo>
                  <a:lnTo>
                    <a:pt x="582" y="90"/>
                  </a:lnTo>
                  <a:lnTo>
                    <a:pt x="582" y="78"/>
                  </a:lnTo>
                  <a:lnTo>
                    <a:pt x="582" y="72"/>
                  </a:lnTo>
                  <a:lnTo>
                    <a:pt x="582" y="66"/>
                  </a:lnTo>
                  <a:lnTo>
                    <a:pt x="594" y="60"/>
                  </a:lnTo>
                  <a:lnTo>
                    <a:pt x="600" y="60"/>
                  </a:lnTo>
                  <a:lnTo>
                    <a:pt x="606" y="54"/>
                  </a:lnTo>
                  <a:lnTo>
                    <a:pt x="618" y="48"/>
                  </a:lnTo>
                  <a:lnTo>
                    <a:pt x="618" y="42"/>
                  </a:lnTo>
                  <a:lnTo>
                    <a:pt x="624" y="42"/>
                  </a:lnTo>
                  <a:lnTo>
                    <a:pt x="636" y="48"/>
                  </a:lnTo>
                  <a:lnTo>
                    <a:pt x="648" y="54"/>
                  </a:lnTo>
                  <a:lnTo>
                    <a:pt x="660" y="54"/>
                  </a:lnTo>
                  <a:lnTo>
                    <a:pt x="666" y="60"/>
                  </a:lnTo>
                  <a:lnTo>
                    <a:pt x="672" y="54"/>
                  </a:lnTo>
                  <a:lnTo>
                    <a:pt x="684" y="48"/>
                  </a:lnTo>
                  <a:lnTo>
                    <a:pt x="708" y="42"/>
                  </a:lnTo>
                  <a:lnTo>
                    <a:pt x="714" y="42"/>
                  </a:lnTo>
                  <a:lnTo>
                    <a:pt x="720" y="36"/>
                  </a:lnTo>
                  <a:lnTo>
                    <a:pt x="720" y="30"/>
                  </a:lnTo>
                  <a:lnTo>
                    <a:pt x="714" y="12"/>
                  </a:lnTo>
                  <a:lnTo>
                    <a:pt x="708" y="0"/>
                  </a:lnTo>
                  <a:lnTo>
                    <a:pt x="738" y="6"/>
                  </a:lnTo>
                  <a:lnTo>
                    <a:pt x="756" y="6"/>
                  </a:lnTo>
                  <a:lnTo>
                    <a:pt x="762" y="42"/>
                  </a:lnTo>
                  <a:lnTo>
                    <a:pt x="738" y="72"/>
                  </a:lnTo>
                  <a:lnTo>
                    <a:pt x="750" y="90"/>
                  </a:lnTo>
                  <a:lnTo>
                    <a:pt x="762" y="96"/>
                  </a:lnTo>
                  <a:lnTo>
                    <a:pt x="756" y="102"/>
                  </a:lnTo>
                  <a:lnTo>
                    <a:pt x="750" y="108"/>
                  </a:lnTo>
                  <a:lnTo>
                    <a:pt x="750" y="114"/>
                  </a:lnTo>
                  <a:lnTo>
                    <a:pt x="750" y="120"/>
                  </a:lnTo>
                  <a:lnTo>
                    <a:pt x="750" y="126"/>
                  </a:lnTo>
                  <a:lnTo>
                    <a:pt x="750" y="132"/>
                  </a:lnTo>
                  <a:lnTo>
                    <a:pt x="738" y="132"/>
                  </a:lnTo>
                  <a:lnTo>
                    <a:pt x="732" y="138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14" y="144"/>
                  </a:lnTo>
                  <a:lnTo>
                    <a:pt x="714" y="150"/>
                  </a:lnTo>
                  <a:lnTo>
                    <a:pt x="720" y="156"/>
                  </a:lnTo>
                  <a:lnTo>
                    <a:pt x="720" y="162"/>
                  </a:lnTo>
                  <a:lnTo>
                    <a:pt x="714" y="162"/>
                  </a:lnTo>
                  <a:lnTo>
                    <a:pt x="708" y="168"/>
                  </a:lnTo>
                  <a:lnTo>
                    <a:pt x="708" y="180"/>
                  </a:lnTo>
                  <a:lnTo>
                    <a:pt x="708" y="192"/>
                  </a:lnTo>
                  <a:lnTo>
                    <a:pt x="696" y="198"/>
                  </a:lnTo>
                  <a:lnTo>
                    <a:pt x="696" y="204"/>
                  </a:lnTo>
                  <a:lnTo>
                    <a:pt x="684" y="210"/>
                  </a:lnTo>
                  <a:lnTo>
                    <a:pt x="684" y="216"/>
                  </a:lnTo>
                  <a:lnTo>
                    <a:pt x="684" y="222"/>
                  </a:lnTo>
                  <a:lnTo>
                    <a:pt x="678" y="228"/>
                  </a:lnTo>
                  <a:lnTo>
                    <a:pt x="678" y="234"/>
                  </a:lnTo>
                  <a:lnTo>
                    <a:pt x="672" y="240"/>
                  </a:lnTo>
                  <a:lnTo>
                    <a:pt x="672" y="252"/>
                  </a:lnTo>
                  <a:lnTo>
                    <a:pt x="672" y="258"/>
                  </a:lnTo>
                  <a:lnTo>
                    <a:pt x="666" y="264"/>
                  </a:lnTo>
                  <a:lnTo>
                    <a:pt x="678" y="264"/>
                  </a:lnTo>
                  <a:lnTo>
                    <a:pt x="684" y="276"/>
                  </a:lnTo>
                  <a:lnTo>
                    <a:pt x="684" y="288"/>
                  </a:lnTo>
                  <a:lnTo>
                    <a:pt x="672" y="300"/>
                  </a:lnTo>
                  <a:lnTo>
                    <a:pt x="660" y="318"/>
                  </a:lnTo>
                  <a:lnTo>
                    <a:pt x="660" y="336"/>
                  </a:lnTo>
                  <a:lnTo>
                    <a:pt x="654" y="342"/>
                  </a:lnTo>
                  <a:lnTo>
                    <a:pt x="660" y="354"/>
                  </a:lnTo>
                  <a:lnTo>
                    <a:pt x="660" y="366"/>
                  </a:lnTo>
                  <a:lnTo>
                    <a:pt x="666" y="378"/>
                  </a:lnTo>
                  <a:lnTo>
                    <a:pt x="672" y="390"/>
                  </a:lnTo>
                  <a:lnTo>
                    <a:pt x="678" y="396"/>
                  </a:lnTo>
                  <a:lnTo>
                    <a:pt x="684" y="390"/>
                  </a:lnTo>
                  <a:lnTo>
                    <a:pt x="690" y="390"/>
                  </a:lnTo>
                  <a:lnTo>
                    <a:pt x="690" y="396"/>
                  </a:lnTo>
                  <a:lnTo>
                    <a:pt x="684" y="396"/>
                  </a:lnTo>
                  <a:lnTo>
                    <a:pt x="684" y="402"/>
                  </a:lnTo>
                  <a:lnTo>
                    <a:pt x="684" y="408"/>
                  </a:lnTo>
                  <a:lnTo>
                    <a:pt x="678" y="414"/>
                  </a:lnTo>
                  <a:lnTo>
                    <a:pt x="684" y="414"/>
                  </a:lnTo>
                  <a:lnTo>
                    <a:pt x="684" y="420"/>
                  </a:lnTo>
                  <a:lnTo>
                    <a:pt x="684" y="426"/>
                  </a:lnTo>
                  <a:lnTo>
                    <a:pt x="690" y="420"/>
                  </a:lnTo>
                  <a:lnTo>
                    <a:pt x="696" y="420"/>
                  </a:lnTo>
                  <a:lnTo>
                    <a:pt x="696" y="426"/>
                  </a:lnTo>
                  <a:lnTo>
                    <a:pt x="690" y="426"/>
                  </a:lnTo>
                  <a:lnTo>
                    <a:pt x="696" y="426"/>
                  </a:lnTo>
                  <a:lnTo>
                    <a:pt x="708" y="426"/>
                  </a:lnTo>
                  <a:lnTo>
                    <a:pt x="726" y="414"/>
                  </a:lnTo>
                  <a:lnTo>
                    <a:pt x="732" y="408"/>
                  </a:lnTo>
                  <a:lnTo>
                    <a:pt x="744" y="402"/>
                  </a:lnTo>
                  <a:lnTo>
                    <a:pt x="756" y="402"/>
                  </a:lnTo>
                  <a:lnTo>
                    <a:pt x="768" y="402"/>
                  </a:lnTo>
                  <a:lnTo>
                    <a:pt x="786" y="408"/>
                  </a:lnTo>
                  <a:lnTo>
                    <a:pt x="786" y="414"/>
                  </a:lnTo>
                  <a:lnTo>
                    <a:pt x="774" y="420"/>
                  </a:lnTo>
                  <a:lnTo>
                    <a:pt x="774" y="426"/>
                  </a:lnTo>
                  <a:lnTo>
                    <a:pt x="768" y="432"/>
                  </a:lnTo>
                  <a:lnTo>
                    <a:pt x="762" y="438"/>
                  </a:lnTo>
                  <a:lnTo>
                    <a:pt x="756" y="438"/>
                  </a:lnTo>
                  <a:lnTo>
                    <a:pt x="756" y="444"/>
                  </a:lnTo>
                  <a:lnTo>
                    <a:pt x="756" y="450"/>
                  </a:lnTo>
                  <a:lnTo>
                    <a:pt x="762" y="450"/>
                  </a:lnTo>
                  <a:lnTo>
                    <a:pt x="750" y="456"/>
                  </a:lnTo>
                  <a:lnTo>
                    <a:pt x="738" y="468"/>
                  </a:lnTo>
                  <a:lnTo>
                    <a:pt x="726" y="480"/>
                  </a:lnTo>
                  <a:lnTo>
                    <a:pt x="726" y="486"/>
                  </a:lnTo>
                  <a:lnTo>
                    <a:pt x="732" y="486"/>
                  </a:lnTo>
                  <a:lnTo>
                    <a:pt x="732" y="492"/>
                  </a:lnTo>
                  <a:lnTo>
                    <a:pt x="732" y="504"/>
                  </a:lnTo>
                  <a:lnTo>
                    <a:pt x="738" y="504"/>
                  </a:lnTo>
                  <a:lnTo>
                    <a:pt x="744" y="510"/>
                  </a:lnTo>
                  <a:lnTo>
                    <a:pt x="738" y="522"/>
                  </a:lnTo>
                  <a:lnTo>
                    <a:pt x="744" y="528"/>
                  </a:lnTo>
                  <a:lnTo>
                    <a:pt x="756" y="534"/>
                  </a:lnTo>
                  <a:lnTo>
                    <a:pt x="756" y="540"/>
                  </a:lnTo>
                  <a:lnTo>
                    <a:pt x="744" y="552"/>
                  </a:lnTo>
                  <a:lnTo>
                    <a:pt x="738" y="552"/>
                  </a:lnTo>
                  <a:lnTo>
                    <a:pt x="738" y="558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64"/>
                  </a:lnTo>
                  <a:lnTo>
                    <a:pt x="744" y="576"/>
                  </a:lnTo>
                  <a:lnTo>
                    <a:pt x="738" y="588"/>
                  </a:lnTo>
                  <a:lnTo>
                    <a:pt x="738" y="594"/>
                  </a:lnTo>
                  <a:lnTo>
                    <a:pt x="738" y="600"/>
                  </a:lnTo>
                  <a:lnTo>
                    <a:pt x="738" y="606"/>
                  </a:lnTo>
                  <a:lnTo>
                    <a:pt x="732" y="612"/>
                  </a:lnTo>
                  <a:lnTo>
                    <a:pt x="726" y="624"/>
                  </a:lnTo>
                  <a:lnTo>
                    <a:pt x="726" y="636"/>
                  </a:lnTo>
                  <a:lnTo>
                    <a:pt x="726" y="648"/>
                  </a:lnTo>
                  <a:lnTo>
                    <a:pt x="738" y="654"/>
                  </a:lnTo>
                  <a:lnTo>
                    <a:pt x="750" y="660"/>
                  </a:lnTo>
                  <a:lnTo>
                    <a:pt x="750" y="666"/>
                  </a:lnTo>
                  <a:lnTo>
                    <a:pt x="750" y="678"/>
                  </a:lnTo>
                  <a:lnTo>
                    <a:pt x="744" y="678"/>
                  </a:lnTo>
                  <a:lnTo>
                    <a:pt x="738" y="684"/>
                  </a:lnTo>
                  <a:lnTo>
                    <a:pt x="732" y="684"/>
                  </a:lnTo>
                  <a:lnTo>
                    <a:pt x="720" y="678"/>
                  </a:lnTo>
                  <a:lnTo>
                    <a:pt x="714" y="684"/>
                  </a:lnTo>
                  <a:lnTo>
                    <a:pt x="708" y="684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0" y="690"/>
                  </a:lnTo>
                  <a:lnTo>
                    <a:pt x="690" y="684"/>
                  </a:lnTo>
                  <a:lnTo>
                    <a:pt x="690" y="690"/>
                  </a:lnTo>
                  <a:lnTo>
                    <a:pt x="684" y="690"/>
                  </a:lnTo>
                  <a:lnTo>
                    <a:pt x="684" y="684"/>
                  </a:lnTo>
                  <a:lnTo>
                    <a:pt x="678" y="684"/>
                  </a:lnTo>
                  <a:lnTo>
                    <a:pt x="672" y="678"/>
                  </a:lnTo>
                  <a:lnTo>
                    <a:pt x="672" y="672"/>
                  </a:lnTo>
                  <a:lnTo>
                    <a:pt x="678" y="672"/>
                  </a:lnTo>
                  <a:lnTo>
                    <a:pt x="672" y="672"/>
                  </a:lnTo>
                  <a:lnTo>
                    <a:pt x="666" y="672"/>
                  </a:lnTo>
                  <a:lnTo>
                    <a:pt x="660" y="672"/>
                  </a:lnTo>
                  <a:lnTo>
                    <a:pt x="654" y="672"/>
                  </a:lnTo>
                  <a:lnTo>
                    <a:pt x="654" y="666"/>
                  </a:lnTo>
                  <a:lnTo>
                    <a:pt x="648" y="666"/>
                  </a:lnTo>
                  <a:lnTo>
                    <a:pt x="642" y="660"/>
                  </a:lnTo>
                  <a:lnTo>
                    <a:pt x="642" y="654"/>
                  </a:lnTo>
                  <a:lnTo>
                    <a:pt x="642" y="648"/>
                  </a:lnTo>
                  <a:lnTo>
                    <a:pt x="636" y="648"/>
                  </a:lnTo>
                  <a:lnTo>
                    <a:pt x="630" y="648"/>
                  </a:lnTo>
                  <a:lnTo>
                    <a:pt x="624" y="648"/>
                  </a:lnTo>
                  <a:lnTo>
                    <a:pt x="624" y="642"/>
                  </a:lnTo>
                  <a:lnTo>
                    <a:pt x="618" y="636"/>
                  </a:lnTo>
                  <a:lnTo>
                    <a:pt x="624" y="636"/>
                  </a:lnTo>
                  <a:lnTo>
                    <a:pt x="624" y="630"/>
                  </a:lnTo>
                  <a:lnTo>
                    <a:pt x="618" y="630"/>
                  </a:lnTo>
                  <a:lnTo>
                    <a:pt x="618" y="624"/>
                  </a:lnTo>
                  <a:lnTo>
                    <a:pt x="618" y="618"/>
                  </a:lnTo>
                  <a:lnTo>
                    <a:pt x="618" y="612"/>
                  </a:lnTo>
                  <a:lnTo>
                    <a:pt x="618" y="606"/>
                  </a:lnTo>
                  <a:lnTo>
                    <a:pt x="624" y="606"/>
                  </a:lnTo>
                  <a:lnTo>
                    <a:pt x="624" y="600"/>
                  </a:lnTo>
                  <a:lnTo>
                    <a:pt x="618" y="600"/>
                  </a:lnTo>
                  <a:lnTo>
                    <a:pt x="618" y="594"/>
                  </a:lnTo>
                  <a:lnTo>
                    <a:pt x="618" y="588"/>
                  </a:lnTo>
                  <a:lnTo>
                    <a:pt x="618" y="582"/>
                  </a:lnTo>
                  <a:lnTo>
                    <a:pt x="612" y="582"/>
                  </a:lnTo>
                  <a:lnTo>
                    <a:pt x="606" y="582"/>
                  </a:lnTo>
                  <a:lnTo>
                    <a:pt x="612" y="582"/>
                  </a:lnTo>
                  <a:lnTo>
                    <a:pt x="612" y="588"/>
                  </a:lnTo>
                  <a:lnTo>
                    <a:pt x="612" y="594"/>
                  </a:lnTo>
                  <a:lnTo>
                    <a:pt x="618" y="594"/>
                  </a:lnTo>
                  <a:lnTo>
                    <a:pt x="618" y="600"/>
                  </a:lnTo>
                  <a:lnTo>
                    <a:pt x="618" y="606"/>
                  </a:lnTo>
                  <a:lnTo>
                    <a:pt x="618" y="612"/>
                  </a:lnTo>
                  <a:lnTo>
                    <a:pt x="612" y="612"/>
                  </a:lnTo>
                  <a:lnTo>
                    <a:pt x="612" y="618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94" y="612"/>
                  </a:lnTo>
                  <a:lnTo>
                    <a:pt x="588" y="606"/>
                  </a:lnTo>
                  <a:lnTo>
                    <a:pt x="588" y="612"/>
                  </a:lnTo>
                  <a:lnTo>
                    <a:pt x="594" y="612"/>
                  </a:lnTo>
                  <a:lnTo>
                    <a:pt x="594" y="618"/>
                  </a:lnTo>
                  <a:lnTo>
                    <a:pt x="588" y="618"/>
                  </a:lnTo>
                  <a:lnTo>
                    <a:pt x="588" y="624"/>
                  </a:lnTo>
                  <a:lnTo>
                    <a:pt x="582" y="624"/>
                  </a:lnTo>
                  <a:lnTo>
                    <a:pt x="582" y="630"/>
                  </a:lnTo>
                  <a:lnTo>
                    <a:pt x="576" y="630"/>
                  </a:lnTo>
                  <a:lnTo>
                    <a:pt x="576" y="636"/>
                  </a:lnTo>
                  <a:lnTo>
                    <a:pt x="570" y="636"/>
                  </a:lnTo>
                  <a:lnTo>
                    <a:pt x="570" y="642"/>
                  </a:lnTo>
                  <a:lnTo>
                    <a:pt x="564" y="642"/>
                  </a:lnTo>
                  <a:lnTo>
                    <a:pt x="564" y="636"/>
                  </a:lnTo>
                  <a:lnTo>
                    <a:pt x="564" y="630"/>
                  </a:lnTo>
                  <a:lnTo>
                    <a:pt x="564" y="624"/>
                  </a:lnTo>
                  <a:lnTo>
                    <a:pt x="564" y="618"/>
                  </a:lnTo>
                  <a:lnTo>
                    <a:pt x="570" y="612"/>
                  </a:lnTo>
                  <a:lnTo>
                    <a:pt x="564" y="606"/>
                  </a:lnTo>
                  <a:lnTo>
                    <a:pt x="564" y="600"/>
                  </a:lnTo>
                  <a:lnTo>
                    <a:pt x="564" y="594"/>
                  </a:lnTo>
                  <a:lnTo>
                    <a:pt x="558" y="594"/>
                  </a:lnTo>
                  <a:lnTo>
                    <a:pt x="558" y="588"/>
                  </a:lnTo>
                  <a:lnTo>
                    <a:pt x="552" y="582"/>
                  </a:lnTo>
                  <a:lnTo>
                    <a:pt x="552" y="576"/>
                  </a:lnTo>
                  <a:lnTo>
                    <a:pt x="552" y="570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6" y="582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58" y="588"/>
                  </a:lnTo>
                  <a:lnTo>
                    <a:pt x="558" y="594"/>
                  </a:lnTo>
                  <a:lnTo>
                    <a:pt x="558" y="600"/>
                  </a:lnTo>
                  <a:lnTo>
                    <a:pt x="558" y="606"/>
                  </a:lnTo>
                  <a:lnTo>
                    <a:pt x="552" y="612"/>
                  </a:lnTo>
                  <a:lnTo>
                    <a:pt x="558" y="612"/>
                  </a:lnTo>
                  <a:lnTo>
                    <a:pt x="558" y="618"/>
                  </a:lnTo>
                  <a:lnTo>
                    <a:pt x="558" y="624"/>
                  </a:lnTo>
                  <a:lnTo>
                    <a:pt x="558" y="630"/>
                  </a:lnTo>
                  <a:lnTo>
                    <a:pt x="552" y="630"/>
                  </a:lnTo>
                  <a:lnTo>
                    <a:pt x="552" y="624"/>
                  </a:lnTo>
                  <a:lnTo>
                    <a:pt x="546" y="624"/>
                  </a:lnTo>
                  <a:lnTo>
                    <a:pt x="546" y="618"/>
                  </a:lnTo>
                  <a:lnTo>
                    <a:pt x="546" y="612"/>
                  </a:lnTo>
                  <a:lnTo>
                    <a:pt x="540" y="612"/>
                  </a:lnTo>
                  <a:lnTo>
                    <a:pt x="534" y="612"/>
                  </a:lnTo>
                  <a:lnTo>
                    <a:pt x="528" y="612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28" y="618"/>
                  </a:lnTo>
                  <a:lnTo>
                    <a:pt x="534" y="618"/>
                  </a:lnTo>
                  <a:lnTo>
                    <a:pt x="540" y="618"/>
                  </a:lnTo>
                  <a:lnTo>
                    <a:pt x="540" y="624"/>
                  </a:lnTo>
                  <a:lnTo>
                    <a:pt x="546" y="624"/>
                  </a:lnTo>
                  <a:lnTo>
                    <a:pt x="546" y="630"/>
                  </a:lnTo>
                  <a:lnTo>
                    <a:pt x="552" y="630"/>
                  </a:lnTo>
                  <a:lnTo>
                    <a:pt x="552" y="636"/>
                  </a:lnTo>
                  <a:lnTo>
                    <a:pt x="546" y="642"/>
                  </a:lnTo>
                  <a:lnTo>
                    <a:pt x="546" y="648"/>
                  </a:lnTo>
                  <a:lnTo>
                    <a:pt x="540" y="648"/>
                  </a:lnTo>
                  <a:lnTo>
                    <a:pt x="540" y="654"/>
                  </a:lnTo>
                  <a:lnTo>
                    <a:pt x="540" y="660"/>
                  </a:lnTo>
                  <a:lnTo>
                    <a:pt x="534" y="666"/>
                  </a:lnTo>
                  <a:lnTo>
                    <a:pt x="534" y="672"/>
                  </a:lnTo>
                  <a:lnTo>
                    <a:pt x="534" y="678"/>
                  </a:lnTo>
                  <a:lnTo>
                    <a:pt x="534" y="684"/>
                  </a:lnTo>
                  <a:lnTo>
                    <a:pt x="534" y="678"/>
                  </a:lnTo>
                  <a:lnTo>
                    <a:pt x="528" y="678"/>
                  </a:lnTo>
                  <a:lnTo>
                    <a:pt x="528" y="684"/>
                  </a:lnTo>
                  <a:lnTo>
                    <a:pt x="522" y="690"/>
                  </a:lnTo>
                  <a:lnTo>
                    <a:pt x="528" y="690"/>
                  </a:lnTo>
                  <a:lnTo>
                    <a:pt x="528" y="684"/>
                  </a:lnTo>
                  <a:lnTo>
                    <a:pt x="534" y="684"/>
                  </a:lnTo>
                  <a:lnTo>
                    <a:pt x="534" y="690"/>
                  </a:lnTo>
                  <a:lnTo>
                    <a:pt x="534" y="696"/>
                  </a:lnTo>
                  <a:lnTo>
                    <a:pt x="540" y="696"/>
                  </a:lnTo>
                  <a:lnTo>
                    <a:pt x="540" y="702"/>
                  </a:lnTo>
                  <a:lnTo>
                    <a:pt x="540" y="708"/>
                  </a:lnTo>
                  <a:lnTo>
                    <a:pt x="534" y="708"/>
                  </a:lnTo>
                  <a:lnTo>
                    <a:pt x="528" y="708"/>
                  </a:lnTo>
                  <a:lnTo>
                    <a:pt x="522" y="708"/>
                  </a:lnTo>
                  <a:lnTo>
                    <a:pt x="516" y="708"/>
                  </a:lnTo>
                  <a:lnTo>
                    <a:pt x="510" y="708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2" y="708"/>
                  </a:lnTo>
                  <a:lnTo>
                    <a:pt x="486" y="714"/>
                  </a:lnTo>
                  <a:lnTo>
                    <a:pt x="480" y="708"/>
                  </a:lnTo>
                  <a:lnTo>
                    <a:pt x="474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68" y="714"/>
                  </a:lnTo>
                  <a:lnTo>
                    <a:pt x="456" y="714"/>
                  </a:lnTo>
                  <a:lnTo>
                    <a:pt x="450" y="714"/>
                  </a:lnTo>
                  <a:lnTo>
                    <a:pt x="450" y="708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50" y="690"/>
                  </a:lnTo>
                  <a:lnTo>
                    <a:pt x="450" y="684"/>
                  </a:lnTo>
                  <a:lnTo>
                    <a:pt x="450" y="678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56" y="660"/>
                  </a:lnTo>
                  <a:lnTo>
                    <a:pt x="462" y="660"/>
                  </a:lnTo>
                  <a:lnTo>
                    <a:pt x="462" y="654"/>
                  </a:lnTo>
                  <a:lnTo>
                    <a:pt x="456" y="654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48"/>
                  </a:lnTo>
                  <a:lnTo>
                    <a:pt x="444" y="648"/>
                  </a:lnTo>
                  <a:lnTo>
                    <a:pt x="444" y="642"/>
                  </a:lnTo>
                  <a:lnTo>
                    <a:pt x="444" y="636"/>
                  </a:lnTo>
                  <a:lnTo>
                    <a:pt x="450" y="636"/>
                  </a:lnTo>
                  <a:lnTo>
                    <a:pt x="450" y="630"/>
                  </a:lnTo>
                  <a:lnTo>
                    <a:pt x="456" y="630"/>
                  </a:lnTo>
                  <a:lnTo>
                    <a:pt x="462" y="630"/>
                  </a:lnTo>
                  <a:lnTo>
                    <a:pt x="462" y="624"/>
                  </a:lnTo>
                  <a:lnTo>
                    <a:pt x="468" y="624"/>
                  </a:lnTo>
                  <a:lnTo>
                    <a:pt x="474" y="624"/>
                  </a:lnTo>
                  <a:lnTo>
                    <a:pt x="474" y="618"/>
                  </a:lnTo>
                  <a:lnTo>
                    <a:pt x="480" y="618"/>
                  </a:lnTo>
                  <a:lnTo>
                    <a:pt x="486" y="618"/>
                  </a:lnTo>
                  <a:lnTo>
                    <a:pt x="486" y="624"/>
                  </a:lnTo>
                  <a:lnTo>
                    <a:pt x="486" y="636"/>
                  </a:lnTo>
                  <a:lnTo>
                    <a:pt x="486" y="642"/>
                  </a:lnTo>
                  <a:lnTo>
                    <a:pt x="486" y="648"/>
                  </a:lnTo>
                  <a:lnTo>
                    <a:pt x="492" y="648"/>
                  </a:lnTo>
                  <a:lnTo>
                    <a:pt x="492" y="642"/>
                  </a:lnTo>
                  <a:lnTo>
                    <a:pt x="498" y="636"/>
                  </a:lnTo>
                  <a:lnTo>
                    <a:pt x="492" y="636"/>
                  </a:lnTo>
                  <a:lnTo>
                    <a:pt x="492" y="630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6" y="618"/>
                  </a:lnTo>
                  <a:lnTo>
                    <a:pt x="486" y="612"/>
                  </a:lnTo>
                  <a:lnTo>
                    <a:pt x="486" y="606"/>
                  </a:lnTo>
                  <a:lnTo>
                    <a:pt x="480" y="606"/>
                  </a:lnTo>
                  <a:lnTo>
                    <a:pt x="480" y="612"/>
                  </a:lnTo>
                  <a:lnTo>
                    <a:pt x="474" y="618"/>
                  </a:lnTo>
                  <a:lnTo>
                    <a:pt x="468" y="618"/>
                  </a:lnTo>
                  <a:lnTo>
                    <a:pt x="462" y="618"/>
                  </a:lnTo>
                  <a:lnTo>
                    <a:pt x="462" y="612"/>
                  </a:lnTo>
                  <a:lnTo>
                    <a:pt x="456" y="612"/>
                  </a:lnTo>
                  <a:lnTo>
                    <a:pt x="456" y="618"/>
                  </a:lnTo>
                  <a:lnTo>
                    <a:pt x="462" y="618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30"/>
                  </a:lnTo>
                  <a:lnTo>
                    <a:pt x="444" y="630"/>
                  </a:lnTo>
                  <a:lnTo>
                    <a:pt x="444" y="636"/>
                  </a:lnTo>
                  <a:lnTo>
                    <a:pt x="444" y="642"/>
                  </a:lnTo>
                  <a:lnTo>
                    <a:pt x="444" y="654"/>
                  </a:lnTo>
                  <a:lnTo>
                    <a:pt x="444" y="660"/>
                  </a:lnTo>
                  <a:lnTo>
                    <a:pt x="438" y="660"/>
                  </a:lnTo>
                  <a:lnTo>
                    <a:pt x="432" y="660"/>
                  </a:lnTo>
                  <a:lnTo>
                    <a:pt x="432" y="654"/>
                  </a:lnTo>
                  <a:lnTo>
                    <a:pt x="438" y="654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48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26" y="660"/>
                  </a:lnTo>
                  <a:lnTo>
                    <a:pt x="432" y="666"/>
                  </a:lnTo>
                  <a:lnTo>
                    <a:pt x="432" y="672"/>
                  </a:lnTo>
                  <a:lnTo>
                    <a:pt x="438" y="672"/>
                  </a:lnTo>
                  <a:lnTo>
                    <a:pt x="438" y="678"/>
                  </a:lnTo>
                  <a:lnTo>
                    <a:pt x="444" y="678"/>
                  </a:lnTo>
                  <a:lnTo>
                    <a:pt x="444" y="684"/>
                  </a:lnTo>
                  <a:lnTo>
                    <a:pt x="438" y="690"/>
                  </a:lnTo>
                  <a:lnTo>
                    <a:pt x="438" y="696"/>
                  </a:lnTo>
                  <a:lnTo>
                    <a:pt x="438" y="702"/>
                  </a:lnTo>
                  <a:lnTo>
                    <a:pt x="432" y="702"/>
                  </a:lnTo>
                  <a:lnTo>
                    <a:pt x="426" y="702"/>
                  </a:lnTo>
                  <a:lnTo>
                    <a:pt x="426" y="696"/>
                  </a:lnTo>
                  <a:lnTo>
                    <a:pt x="414" y="696"/>
                  </a:lnTo>
                  <a:lnTo>
                    <a:pt x="402" y="696"/>
                  </a:lnTo>
                  <a:lnTo>
                    <a:pt x="402" y="690"/>
                  </a:lnTo>
                  <a:lnTo>
                    <a:pt x="396" y="690"/>
                  </a:lnTo>
                  <a:lnTo>
                    <a:pt x="390" y="690"/>
                  </a:lnTo>
                  <a:lnTo>
                    <a:pt x="384" y="690"/>
                  </a:lnTo>
                  <a:lnTo>
                    <a:pt x="384" y="684"/>
                  </a:lnTo>
                  <a:lnTo>
                    <a:pt x="384" y="678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390" y="660"/>
                  </a:lnTo>
                  <a:lnTo>
                    <a:pt x="390" y="654"/>
                  </a:lnTo>
                  <a:lnTo>
                    <a:pt x="384" y="648"/>
                  </a:lnTo>
                  <a:lnTo>
                    <a:pt x="384" y="642"/>
                  </a:lnTo>
                  <a:lnTo>
                    <a:pt x="378" y="636"/>
                  </a:lnTo>
                  <a:lnTo>
                    <a:pt x="378" y="642"/>
                  </a:lnTo>
                  <a:lnTo>
                    <a:pt x="378" y="648"/>
                  </a:lnTo>
                  <a:lnTo>
                    <a:pt x="372" y="648"/>
                  </a:lnTo>
                  <a:lnTo>
                    <a:pt x="378" y="654"/>
                  </a:lnTo>
                  <a:lnTo>
                    <a:pt x="378" y="660"/>
                  </a:lnTo>
                  <a:lnTo>
                    <a:pt x="378" y="666"/>
                  </a:lnTo>
                  <a:lnTo>
                    <a:pt x="372" y="672"/>
                  </a:lnTo>
                  <a:lnTo>
                    <a:pt x="378" y="672"/>
                  </a:lnTo>
                  <a:lnTo>
                    <a:pt x="378" y="678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54" y="666"/>
                  </a:lnTo>
                  <a:lnTo>
                    <a:pt x="354" y="660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0" y="654"/>
                  </a:lnTo>
                  <a:lnTo>
                    <a:pt x="324" y="648"/>
                  </a:lnTo>
                  <a:lnTo>
                    <a:pt x="318" y="648"/>
                  </a:lnTo>
                  <a:lnTo>
                    <a:pt x="318" y="642"/>
                  </a:lnTo>
                  <a:lnTo>
                    <a:pt x="312" y="642"/>
                  </a:lnTo>
                  <a:lnTo>
                    <a:pt x="306" y="636"/>
                  </a:lnTo>
                  <a:lnTo>
                    <a:pt x="300" y="636"/>
                  </a:lnTo>
                  <a:lnTo>
                    <a:pt x="300" y="630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0" y="618"/>
                  </a:lnTo>
                  <a:lnTo>
                    <a:pt x="306" y="612"/>
                  </a:lnTo>
                  <a:lnTo>
                    <a:pt x="300" y="612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294" y="612"/>
                  </a:lnTo>
                  <a:lnTo>
                    <a:pt x="288" y="618"/>
                  </a:lnTo>
                  <a:lnTo>
                    <a:pt x="288" y="612"/>
                  </a:lnTo>
                  <a:lnTo>
                    <a:pt x="288" y="618"/>
                  </a:lnTo>
                  <a:lnTo>
                    <a:pt x="294" y="618"/>
                  </a:lnTo>
                  <a:lnTo>
                    <a:pt x="300" y="624"/>
                  </a:lnTo>
                  <a:lnTo>
                    <a:pt x="294" y="624"/>
                  </a:lnTo>
                  <a:lnTo>
                    <a:pt x="288" y="624"/>
                  </a:lnTo>
                  <a:lnTo>
                    <a:pt x="282" y="61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70" y="600"/>
                  </a:lnTo>
                  <a:lnTo>
                    <a:pt x="270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82" y="588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594"/>
                  </a:lnTo>
                  <a:lnTo>
                    <a:pt x="264" y="600"/>
                  </a:lnTo>
                  <a:lnTo>
                    <a:pt x="264" y="594"/>
                  </a:lnTo>
                  <a:lnTo>
                    <a:pt x="270" y="594"/>
                  </a:lnTo>
                  <a:lnTo>
                    <a:pt x="270" y="588"/>
                  </a:lnTo>
                  <a:lnTo>
                    <a:pt x="264" y="594"/>
                  </a:lnTo>
                  <a:lnTo>
                    <a:pt x="258" y="594"/>
                  </a:lnTo>
                  <a:lnTo>
                    <a:pt x="258" y="588"/>
                  </a:lnTo>
                  <a:lnTo>
                    <a:pt x="252" y="588"/>
                  </a:lnTo>
                  <a:lnTo>
                    <a:pt x="246" y="588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52" y="588"/>
                  </a:lnTo>
                  <a:lnTo>
                    <a:pt x="252" y="594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46" y="594"/>
                  </a:lnTo>
                  <a:lnTo>
                    <a:pt x="246" y="588"/>
                  </a:lnTo>
                  <a:lnTo>
                    <a:pt x="240" y="588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2" y="570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64"/>
                  </a:lnTo>
                  <a:lnTo>
                    <a:pt x="234" y="564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34" y="558"/>
                  </a:lnTo>
                  <a:lnTo>
                    <a:pt x="228" y="558"/>
                  </a:lnTo>
                  <a:lnTo>
                    <a:pt x="222" y="558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2" y="564"/>
                  </a:lnTo>
                  <a:lnTo>
                    <a:pt x="222" y="558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04" y="546"/>
                  </a:lnTo>
                  <a:lnTo>
                    <a:pt x="204" y="540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10" y="540"/>
                  </a:lnTo>
                  <a:lnTo>
                    <a:pt x="210" y="534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8"/>
                  </a:lnTo>
                  <a:lnTo>
                    <a:pt x="174" y="516"/>
                  </a:lnTo>
                  <a:lnTo>
                    <a:pt x="168" y="510"/>
                  </a:lnTo>
                  <a:lnTo>
                    <a:pt x="162" y="504"/>
                  </a:lnTo>
                  <a:lnTo>
                    <a:pt x="156" y="498"/>
                  </a:lnTo>
                  <a:lnTo>
                    <a:pt x="156" y="492"/>
                  </a:lnTo>
                  <a:lnTo>
                    <a:pt x="150" y="486"/>
                  </a:lnTo>
                  <a:lnTo>
                    <a:pt x="144" y="480"/>
                  </a:lnTo>
                  <a:lnTo>
                    <a:pt x="144" y="474"/>
                  </a:lnTo>
                  <a:lnTo>
                    <a:pt x="138" y="474"/>
                  </a:lnTo>
                  <a:lnTo>
                    <a:pt x="138" y="468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26" y="450"/>
                  </a:lnTo>
                  <a:lnTo>
                    <a:pt x="126" y="444"/>
                  </a:lnTo>
                  <a:lnTo>
                    <a:pt x="114" y="438"/>
                  </a:lnTo>
                  <a:lnTo>
                    <a:pt x="114" y="432"/>
                  </a:lnTo>
                  <a:lnTo>
                    <a:pt x="114" y="426"/>
                  </a:lnTo>
                  <a:lnTo>
                    <a:pt x="114" y="432"/>
                  </a:lnTo>
                  <a:lnTo>
                    <a:pt x="120" y="432"/>
                  </a:lnTo>
                  <a:lnTo>
                    <a:pt x="120" y="438"/>
                  </a:lnTo>
                  <a:lnTo>
                    <a:pt x="120" y="444"/>
                  </a:lnTo>
                  <a:lnTo>
                    <a:pt x="126" y="444"/>
                  </a:lnTo>
                  <a:lnTo>
                    <a:pt x="126" y="438"/>
                  </a:lnTo>
                  <a:lnTo>
                    <a:pt x="120" y="438"/>
                  </a:lnTo>
                  <a:lnTo>
                    <a:pt x="126" y="432"/>
                  </a:lnTo>
                  <a:lnTo>
                    <a:pt x="126" y="426"/>
                  </a:lnTo>
                  <a:lnTo>
                    <a:pt x="132" y="420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08" y="414"/>
                  </a:lnTo>
                  <a:lnTo>
                    <a:pt x="102" y="414"/>
                  </a:lnTo>
                  <a:lnTo>
                    <a:pt x="102" y="408"/>
                  </a:lnTo>
                  <a:lnTo>
                    <a:pt x="96" y="402"/>
                  </a:lnTo>
                  <a:lnTo>
                    <a:pt x="96" y="396"/>
                  </a:lnTo>
                  <a:lnTo>
                    <a:pt x="96" y="390"/>
                  </a:lnTo>
                  <a:lnTo>
                    <a:pt x="90" y="390"/>
                  </a:lnTo>
                  <a:lnTo>
                    <a:pt x="90" y="384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78" y="372"/>
                  </a:lnTo>
                  <a:lnTo>
                    <a:pt x="78" y="366"/>
                  </a:lnTo>
                  <a:lnTo>
                    <a:pt x="78" y="360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6" y="348"/>
                  </a:lnTo>
                  <a:lnTo>
                    <a:pt x="66" y="342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6" y="336"/>
                  </a:lnTo>
                  <a:lnTo>
                    <a:pt x="66" y="342"/>
                  </a:lnTo>
                  <a:lnTo>
                    <a:pt x="72" y="348"/>
                  </a:lnTo>
                  <a:lnTo>
                    <a:pt x="78" y="354"/>
                  </a:lnTo>
                  <a:lnTo>
                    <a:pt x="84" y="360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0" y="360"/>
                  </a:lnTo>
                  <a:lnTo>
                    <a:pt x="84" y="360"/>
                  </a:lnTo>
                  <a:lnTo>
                    <a:pt x="84" y="354"/>
                  </a:lnTo>
                  <a:lnTo>
                    <a:pt x="78" y="348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66" y="330"/>
                  </a:lnTo>
                  <a:lnTo>
                    <a:pt x="66" y="324"/>
                  </a:lnTo>
                  <a:lnTo>
                    <a:pt x="60" y="318"/>
                  </a:lnTo>
                  <a:lnTo>
                    <a:pt x="60" y="312"/>
                  </a:lnTo>
                  <a:lnTo>
                    <a:pt x="54" y="306"/>
                  </a:lnTo>
                  <a:lnTo>
                    <a:pt x="54" y="300"/>
                  </a:lnTo>
                  <a:lnTo>
                    <a:pt x="54" y="294"/>
                  </a:lnTo>
                  <a:lnTo>
                    <a:pt x="48" y="288"/>
                  </a:lnTo>
                  <a:lnTo>
                    <a:pt x="48" y="294"/>
                  </a:lnTo>
                  <a:lnTo>
                    <a:pt x="48" y="288"/>
                  </a:lnTo>
                  <a:lnTo>
                    <a:pt x="48" y="282"/>
                  </a:lnTo>
                  <a:lnTo>
                    <a:pt x="48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18" y="216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62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68"/>
                  </a:lnTo>
                  <a:lnTo>
                    <a:pt x="42" y="168"/>
                  </a:lnTo>
                  <a:lnTo>
                    <a:pt x="42" y="174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86"/>
                  </a:lnTo>
                  <a:close/>
                  <a:moveTo>
                    <a:pt x="642" y="660"/>
                  </a:moveTo>
                  <a:lnTo>
                    <a:pt x="642" y="666"/>
                  </a:lnTo>
                  <a:lnTo>
                    <a:pt x="648" y="666"/>
                  </a:lnTo>
                  <a:lnTo>
                    <a:pt x="648" y="672"/>
                  </a:lnTo>
                  <a:lnTo>
                    <a:pt x="648" y="678"/>
                  </a:lnTo>
                  <a:lnTo>
                    <a:pt x="654" y="678"/>
                  </a:lnTo>
                  <a:lnTo>
                    <a:pt x="654" y="684"/>
                  </a:lnTo>
                  <a:lnTo>
                    <a:pt x="660" y="684"/>
                  </a:lnTo>
                  <a:lnTo>
                    <a:pt x="660" y="690"/>
                  </a:lnTo>
                  <a:lnTo>
                    <a:pt x="654" y="690"/>
                  </a:lnTo>
                  <a:lnTo>
                    <a:pt x="648" y="690"/>
                  </a:lnTo>
                  <a:lnTo>
                    <a:pt x="636" y="696"/>
                  </a:lnTo>
                  <a:lnTo>
                    <a:pt x="630" y="696"/>
                  </a:lnTo>
                  <a:lnTo>
                    <a:pt x="624" y="696"/>
                  </a:lnTo>
                  <a:lnTo>
                    <a:pt x="618" y="696"/>
                  </a:lnTo>
                  <a:lnTo>
                    <a:pt x="612" y="696"/>
                  </a:lnTo>
                  <a:lnTo>
                    <a:pt x="594" y="696"/>
                  </a:lnTo>
                  <a:lnTo>
                    <a:pt x="588" y="696"/>
                  </a:lnTo>
                  <a:lnTo>
                    <a:pt x="582" y="696"/>
                  </a:lnTo>
                  <a:lnTo>
                    <a:pt x="570" y="702"/>
                  </a:lnTo>
                  <a:lnTo>
                    <a:pt x="564" y="702"/>
                  </a:lnTo>
                  <a:lnTo>
                    <a:pt x="558" y="702"/>
                  </a:lnTo>
                  <a:lnTo>
                    <a:pt x="552" y="702"/>
                  </a:lnTo>
                  <a:lnTo>
                    <a:pt x="552" y="696"/>
                  </a:lnTo>
                  <a:lnTo>
                    <a:pt x="546" y="696"/>
                  </a:lnTo>
                  <a:lnTo>
                    <a:pt x="546" y="690"/>
                  </a:lnTo>
                  <a:lnTo>
                    <a:pt x="552" y="684"/>
                  </a:lnTo>
                  <a:lnTo>
                    <a:pt x="552" y="678"/>
                  </a:lnTo>
                  <a:lnTo>
                    <a:pt x="558" y="672"/>
                  </a:lnTo>
                  <a:lnTo>
                    <a:pt x="558" y="666"/>
                  </a:lnTo>
                  <a:lnTo>
                    <a:pt x="564" y="666"/>
                  </a:lnTo>
                  <a:lnTo>
                    <a:pt x="570" y="666"/>
                  </a:lnTo>
                  <a:lnTo>
                    <a:pt x="570" y="654"/>
                  </a:lnTo>
                  <a:lnTo>
                    <a:pt x="570" y="648"/>
                  </a:lnTo>
                  <a:lnTo>
                    <a:pt x="582" y="642"/>
                  </a:lnTo>
                  <a:lnTo>
                    <a:pt x="582" y="636"/>
                  </a:lnTo>
                  <a:lnTo>
                    <a:pt x="588" y="636"/>
                  </a:lnTo>
                  <a:lnTo>
                    <a:pt x="588" y="630"/>
                  </a:lnTo>
                  <a:lnTo>
                    <a:pt x="594" y="624"/>
                  </a:lnTo>
                  <a:lnTo>
                    <a:pt x="594" y="618"/>
                  </a:lnTo>
                  <a:lnTo>
                    <a:pt x="600" y="618"/>
                  </a:lnTo>
                  <a:lnTo>
                    <a:pt x="600" y="612"/>
                  </a:lnTo>
                  <a:lnTo>
                    <a:pt x="606" y="612"/>
                  </a:lnTo>
                  <a:lnTo>
                    <a:pt x="606" y="618"/>
                  </a:lnTo>
                  <a:lnTo>
                    <a:pt x="612" y="618"/>
                  </a:lnTo>
                  <a:lnTo>
                    <a:pt x="618" y="618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18" y="636"/>
                  </a:lnTo>
                  <a:lnTo>
                    <a:pt x="618" y="642"/>
                  </a:lnTo>
                  <a:lnTo>
                    <a:pt x="618" y="648"/>
                  </a:lnTo>
                  <a:lnTo>
                    <a:pt x="624" y="648"/>
                  </a:lnTo>
                  <a:lnTo>
                    <a:pt x="630" y="648"/>
                  </a:lnTo>
                  <a:lnTo>
                    <a:pt x="636" y="654"/>
                  </a:lnTo>
                  <a:lnTo>
                    <a:pt x="642" y="654"/>
                  </a:lnTo>
                  <a:lnTo>
                    <a:pt x="642" y="66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00" name="Freeform 5">
              <a:extLst>
                <a:ext uri="{FF2B5EF4-FFF2-40B4-BE49-F238E27FC236}">
                  <a16:creationId xmlns:a16="http://schemas.microsoft.com/office/drawing/2014/main" id="{5577BDCA-F2C7-42E0-A391-018D79AA29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0384" y="4231013"/>
              <a:ext cx="404750" cy="480848"/>
            </a:xfrm>
            <a:custGeom>
              <a:avLst/>
              <a:gdLst>
                <a:gd name="T0" fmla="*/ 9 w 762"/>
                <a:gd name="T1" fmla="*/ 58 h 900"/>
                <a:gd name="T2" fmla="*/ 4 w 762"/>
                <a:gd name="T3" fmla="*/ 56 h 900"/>
                <a:gd name="T4" fmla="*/ 0 w 762"/>
                <a:gd name="T5" fmla="*/ 49 h 900"/>
                <a:gd name="T6" fmla="*/ 4 w 762"/>
                <a:gd name="T7" fmla="*/ 36 h 900"/>
                <a:gd name="T8" fmla="*/ 8 w 762"/>
                <a:gd name="T9" fmla="*/ 28 h 900"/>
                <a:gd name="T10" fmla="*/ 7 w 762"/>
                <a:gd name="T11" fmla="*/ 13 h 900"/>
                <a:gd name="T12" fmla="*/ 15 w 762"/>
                <a:gd name="T13" fmla="*/ 0 h 900"/>
                <a:gd name="T14" fmla="*/ 16 w 762"/>
                <a:gd name="T15" fmla="*/ 13 h 900"/>
                <a:gd name="T16" fmla="*/ 31 w 762"/>
                <a:gd name="T17" fmla="*/ 28 h 900"/>
                <a:gd name="T18" fmla="*/ 49 w 762"/>
                <a:gd name="T19" fmla="*/ 33 h 900"/>
                <a:gd name="T20" fmla="*/ 42 w 762"/>
                <a:gd name="T21" fmla="*/ 48 h 900"/>
                <a:gd name="T22" fmla="*/ 51 w 762"/>
                <a:gd name="T23" fmla="*/ 48 h 900"/>
                <a:gd name="T24" fmla="*/ 61 w 762"/>
                <a:gd name="T25" fmla="*/ 51 h 900"/>
                <a:gd name="T26" fmla="*/ 63 w 762"/>
                <a:gd name="T27" fmla="*/ 60 h 900"/>
                <a:gd name="T28" fmla="*/ 63 w 762"/>
                <a:gd name="T29" fmla="*/ 66 h 900"/>
                <a:gd name="T30" fmla="*/ 65 w 762"/>
                <a:gd name="T31" fmla="*/ 69 h 900"/>
                <a:gd name="T32" fmla="*/ 66 w 762"/>
                <a:gd name="T33" fmla="*/ 72 h 900"/>
                <a:gd name="T34" fmla="*/ 56 w 762"/>
                <a:gd name="T35" fmla="*/ 73 h 900"/>
                <a:gd name="T36" fmla="*/ 55 w 762"/>
                <a:gd name="T37" fmla="*/ 69 h 900"/>
                <a:gd name="T38" fmla="*/ 57 w 762"/>
                <a:gd name="T39" fmla="*/ 67 h 900"/>
                <a:gd name="T40" fmla="*/ 55 w 762"/>
                <a:gd name="T41" fmla="*/ 65 h 900"/>
                <a:gd name="T42" fmla="*/ 53 w 762"/>
                <a:gd name="T43" fmla="*/ 68 h 900"/>
                <a:gd name="T44" fmla="*/ 49 w 762"/>
                <a:gd name="T45" fmla="*/ 68 h 900"/>
                <a:gd name="T46" fmla="*/ 44 w 762"/>
                <a:gd name="T47" fmla="*/ 63 h 900"/>
                <a:gd name="T48" fmla="*/ 40 w 762"/>
                <a:gd name="T49" fmla="*/ 59 h 900"/>
                <a:gd name="T50" fmla="*/ 38 w 762"/>
                <a:gd name="T51" fmla="*/ 57 h 900"/>
                <a:gd name="T52" fmla="*/ 43 w 762"/>
                <a:gd name="T53" fmla="*/ 62 h 900"/>
                <a:gd name="T54" fmla="*/ 43 w 762"/>
                <a:gd name="T55" fmla="*/ 66 h 900"/>
                <a:gd name="T56" fmla="*/ 41 w 762"/>
                <a:gd name="T57" fmla="*/ 71 h 900"/>
                <a:gd name="T58" fmla="*/ 37 w 762"/>
                <a:gd name="T59" fmla="*/ 69 h 900"/>
                <a:gd name="T60" fmla="*/ 35 w 762"/>
                <a:gd name="T61" fmla="*/ 64 h 900"/>
                <a:gd name="T62" fmla="*/ 31 w 762"/>
                <a:gd name="T63" fmla="*/ 57 h 900"/>
                <a:gd name="T64" fmla="*/ 30 w 762"/>
                <a:gd name="T65" fmla="*/ 62 h 900"/>
                <a:gd name="T66" fmla="*/ 29 w 762"/>
                <a:gd name="T67" fmla="*/ 61 h 900"/>
                <a:gd name="T68" fmla="*/ 31 w 762"/>
                <a:gd name="T69" fmla="*/ 66 h 900"/>
                <a:gd name="T70" fmla="*/ 33 w 762"/>
                <a:gd name="T71" fmla="*/ 72 h 900"/>
                <a:gd name="T72" fmla="*/ 32 w 762"/>
                <a:gd name="T73" fmla="*/ 76 h 900"/>
                <a:gd name="T74" fmla="*/ 28 w 762"/>
                <a:gd name="T75" fmla="*/ 75 h 900"/>
                <a:gd name="T76" fmla="*/ 24 w 762"/>
                <a:gd name="T77" fmla="*/ 69 h 900"/>
                <a:gd name="T78" fmla="*/ 24 w 762"/>
                <a:gd name="T79" fmla="*/ 62 h 900"/>
                <a:gd name="T80" fmla="*/ 23 w 762"/>
                <a:gd name="T81" fmla="*/ 62 h 900"/>
                <a:gd name="T82" fmla="*/ 23 w 762"/>
                <a:gd name="T83" fmla="*/ 68 h 900"/>
                <a:gd name="T84" fmla="*/ 25 w 762"/>
                <a:gd name="T85" fmla="*/ 77 h 900"/>
                <a:gd name="T86" fmla="*/ 17 w 762"/>
                <a:gd name="T87" fmla="*/ 74 h 900"/>
                <a:gd name="T88" fmla="*/ 17 w 762"/>
                <a:gd name="T89" fmla="*/ 67 h 900"/>
                <a:gd name="T90" fmla="*/ 16 w 762"/>
                <a:gd name="T91" fmla="*/ 67 h 900"/>
                <a:gd name="T92" fmla="*/ 15 w 762"/>
                <a:gd name="T93" fmla="*/ 71 h 900"/>
                <a:gd name="T94" fmla="*/ 12 w 762"/>
                <a:gd name="T95" fmla="*/ 68 h 900"/>
                <a:gd name="T96" fmla="*/ 15 w 762"/>
                <a:gd name="T97" fmla="*/ 72 h 900"/>
                <a:gd name="T98" fmla="*/ 17 w 762"/>
                <a:gd name="T99" fmla="*/ 77 h 900"/>
                <a:gd name="T100" fmla="*/ 11 w 762"/>
                <a:gd name="T101" fmla="*/ 77 h 900"/>
                <a:gd name="T102" fmla="*/ 10 w 762"/>
                <a:gd name="T103" fmla="*/ 69 h 900"/>
                <a:gd name="T104" fmla="*/ 11 w 762"/>
                <a:gd name="T105" fmla="*/ 72 h 900"/>
                <a:gd name="T106" fmla="*/ 9 w 762"/>
                <a:gd name="T107" fmla="*/ 78 h 900"/>
                <a:gd name="T108" fmla="*/ 43 w 762"/>
                <a:gd name="T109" fmla="*/ 71 h 900"/>
                <a:gd name="T110" fmla="*/ 51 w 762"/>
                <a:gd name="T111" fmla="*/ 69 h 900"/>
                <a:gd name="T112" fmla="*/ 43 w 762"/>
                <a:gd name="T113" fmla="*/ 76 h 900"/>
                <a:gd name="T114" fmla="*/ 36 w 762"/>
                <a:gd name="T115" fmla="*/ 65 h 900"/>
                <a:gd name="T116" fmla="*/ 38 w 762"/>
                <a:gd name="T117" fmla="*/ 72 h 900"/>
                <a:gd name="T118" fmla="*/ 34 w 762"/>
                <a:gd name="T119" fmla="*/ 69 h 900"/>
                <a:gd name="T120" fmla="*/ 29 w 762"/>
                <a:gd name="T121" fmla="*/ 64 h 900"/>
                <a:gd name="T122" fmla="*/ 32 w 762"/>
                <a:gd name="T123" fmla="*/ 66 h 9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900"/>
                <a:gd name="T188" fmla="*/ 762 w 762"/>
                <a:gd name="T189" fmla="*/ 900 h 90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900">
                  <a:moveTo>
                    <a:pt x="90" y="768"/>
                  </a:moveTo>
                  <a:lnTo>
                    <a:pt x="102" y="756"/>
                  </a:lnTo>
                  <a:lnTo>
                    <a:pt x="102" y="750"/>
                  </a:lnTo>
                  <a:lnTo>
                    <a:pt x="90" y="744"/>
                  </a:lnTo>
                  <a:lnTo>
                    <a:pt x="84" y="738"/>
                  </a:lnTo>
                  <a:lnTo>
                    <a:pt x="90" y="726"/>
                  </a:lnTo>
                  <a:lnTo>
                    <a:pt x="84" y="720"/>
                  </a:lnTo>
                  <a:lnTo>
                    <a:pt x="78" y="720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72" y="702"/>
                  </a:lnTo>
                  <a:lnTo>
                    <a:pt x="72" y="696"/>
                  </a:lnTo>
                  <a:lnTo>
                    <a:pt x="84" y="684"/>
                  </a:lnTo>
                  <a:lnTo>
                    <a:pt x="96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102" y="654"/>
                  </a:lnTo>
                  <a:lnTo>
                    <a:pt x="108" y="654"/>
                  </a:lnTo>
                  <a:lnTo>
                    <a:pt x="114" y="648"/>
                  </a:lnTo>
                  <a:lnTo>
                    <a:pt x="120" y="642"/>
                  </a:lnTo>
                  <a:lnTo>
                    <a:pt x="120" y="636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14" y="618"/>
                  </a:lnTo>
                  <a:lnTo>
                    <a:pt x="102" y="618"/>
                  </a:lnTo>
                  <a:lnTo>
                    <a:pt x="90" y="618"/>
                  </a:lnTo>
                  <a:lnTo>
                    <a:pt x="78" y="624"/>
                  </a:lnTo>
                  <a:lnTo>
                    <a:pt x="72" y="630"/>
                  </a:lnTo>
                  <a:lnTo>
                    <a:pt x="54" y="642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42" y="642"/>
                  </a:lnTo>
                  <a:lnTo>
                    <a:pt x="42" y="636"/>
                  </a:lnTo>
                  <a:lnTo>
                    <a:pt x="36" y="636"/>
                  </a:lnTo>
                  <a:lnTo>
                    <a:pt x="30" y="642"/>
                  </a:lnTo>
                  <a:lnTo>
                    <a:pt x="30" y="636"/>
                  </a:lnTo>
                  <a:lnTo>
                    <a:pt x="30" y="630"/>
                  </a:lnTo>
                  <a:lnTo>
                    <a:pt x="24" y="630"/>
                  </a:lnTo>
                  <a:lnTo>
                    <a:pt x="30" y="624"/>
                  </a:lnTo>
                  <a:lnTo>
                    <a:pt x="30" y="618"/>
                  </a:lnTo>
                  <a:lnTo>
                    <a:pt x="30" y="612"/>
                  </a:lnTo>
                  <a:lnTo>
                    <a:pt x="36" y="612"/>
                  </a:lnTo>
                  <a:lnTo>
                    <a:pt x="36" y="606"/>
                  </a:lnTo>
                  <a:lnTo>
                    <a:pt x="30" y="606"/>
                  </a:lnTo>
                  <a:lnTo>
                    <a:pt x="24" y="612"/>
                  </a:lnTo>
                  <a:lnTo>
                    <a:pt x="18" y="606"/>
                  </a:lnTo>
                  <a:lnTo>
                    <a:pt x="12" y="594"/>
                  </a:lnTo>
                  <a:lnTo>
                    <a:pt x="6" y="582"/>
                  </a:lnTo>
                  <a:lnTo>
                    <a:pt x="6" y="570"/>
                  </a:lnTo>
                  <a:lnTo>
                    <a:pt x="0" y="558"/>
                  </a:lnTo>
                  <a:lnTo>
                    <a:pt x="6" y="552"/>
                  </a:lnTo>
                  <a:lnTo>
                    <a:pt x="6" y="534"/>
                  </a:lnTo>
                  <a:lnTo>
                    <a:pt x="18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12" y="480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54" y="408"/>
                  </a:lnTo>
                  <a:lnTo>
                    <a:pt x="54" y="396"/>
                  </a:lnTo>
                  <a:lnTo>
                    <a:pt x="54" y="384"/>
                  </a:lnTo>
                  <a:lnTo>
                    <a:pt x="60" y="378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66"/>
                  </a:lnTo>
                  <a:lnTo>
                    <a:pt x="60" y="360"/>
                  </a:lnTo>
                  <a:lnTo>
                    <a:pt x="66" y="360"/>
                  </a:lnTo>
                  <a:lnTo>
                    <a:pt x="72" y="354"/>
                  </a:lnTo>
                  <a:lnTo>
                    <a:pt x="78" y="354"/>
                  </a:lnTo>
                  <a:lnTo>
                    <a:pt x="84" y="348"/>
                  </a:lnTo>
                  <a:lnTo>
                    <a:pt x="96" y="348"/>
                  </a:lnTo>
                  <a:lnTo>
                    <a:pt x="96" y="342"/>
                  </a:lnTo>
                  <a:lnTo>
                    <a:pt x="96" y="336"/>
                  </a:lnTo>
                  <a:lnTo>
                    <a:pt x="96" y="330"/>
                  </a:lnTo>
                  <a:lnTo>
                    <a:pt x="96" y="324"/>
                  </a:lnTo>
                  <a:lnTo>
                    <a:pt x="102" y="318"/>
                  </a:lnTo>
                  <a:lnTo>
                    <a:pt x="108" y="312"/>
                  </a:lnTo>
                  <a:lnTo>
                    <a:pt x="96" y="306"/>
                  </a:lnTo>
                  <a:lnTo>
                    <a:pt x="84" y="288"/>
                  </a:lnTo>
                  <a:lnTo>
                    <a:pt x="108" y="258"/>
                  </a:lnTo>
                  <a:lnTo>
                    <a:pt x="102" y="222"/>
                  </a:lnTo>
                  <a:lnTo>
                    <a:pt x="84" y="222"/>
                  </a:lnTo>
                  <a:lnTo>
                    <a:pt x="54" y="216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2"/>
                  </a:lnTo>
                  <a:lnTo>
                    <a:pt x="72" y="192"/>
                  </a:lnTo>
                  <a:lnTo>
                    <a:pt x="84" y="186"/>
                  </a:lnTo>
                  <a:lnTo>
                    <a:pt x="90" y="186"/>
                  </a:lnTo>
                  <a:lnTo>
                    <a:pt x="90" y="174"/>
                  </a:lnTo>
                  <a:lnTo>
                    <a:pt x="84" y="162"/>
                  </a:lnTo>
                  <a:lnTo>
                    <a:pt x="84" y="150"/>
                  </a:lnTo>
                  <a:lnTo>
                    <a:pt x="84" y="126"/>
                  </a:lnTo>
                  <a:lnTo>
                    <a:pt x="84" y="114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8" y="96"/>
                  </a:lnTo>
                  <a:lnTo>
                    <a:pt x="120" y="90"/>
                  </a:lnTo>
                  <a:lnTo>
                    <a:pt x="126" y="78"/>
                  </a:lnTo>
                  <a:lnTo>
                    <a:pt x="138" y="66"/>
                  </a:lnTo>
                  <a:lnTo>
                    <a:pt x="138" y="48"/>
                  </a:lnTo>
                  <a:lnTo>
                    <a:pt x="138" y="42"/>
                  </a:lnTo>
                  <a:lnTo>
                    <a:pt x="126" y="30"/>
                  </a:lnTo>
                  <a:lnTo>
                    <a:pt x="120" y="18"/>
                  </a:lnTo>
                  <a:lnTo>
                    <a:pt x="132" y="12"/>
                  </a:lnTo>
                  <a:lnTo>
                    <a:pt x="144" y="0"/>
                  </a:lnTo>
                  <a:lnTo>
                    <a:pt x="150" y="6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6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74" y="66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68" y="72"/>
                  </a:lnTo>
                  <a:lnTo>
                    <a:pt x="156" y="150"/>
                  </a:lnTo>
                  <a:lnTo>
                    <a:pt x="168" y="144"/>
                  </a:lnTo>
                  <a:lnTo>
                    <a:pt x="180" y="150"/>
                  </a:lnTo>
                  <a:lnTo>
                    <a:pt x="186" y="150"/>
                  </a:lnTo>
                  <a:lnTo>
                    <a:pt x="186" y="144"/>
                  </a:lnTo>
                  <a:lnTo>
                    <a:pt x="192" y="150"/>
                  </a:lnTo>
                  <a:lnTo>
                    <a:pt x="222" y="150"/>
                  </a:lnTo>
                  <a:lnTo>
                    <a:pt x="222" y="168"/>
                  </a:lnTo>
                  <a:lnTo>
                    <a:pt x="222" y="186"/>
                  </a:lnTo>
                  <a:lnTo>
                    <a:pt x="234" y="198"/>
                  </a:lnTo>
                  <a:lnTo>
                    <a:pt x="234" y="234"/>
                  </a:lnTo>
                  <a:lnTo>
                    <a:pt x="228" y="270"/>
                  </a:lnTo>
                  <a:lnTo>
                    <a:pt x="246" y="282"/>
                  </a:lnTo>
                  <a:lnTo>
                    <a:pt x="258" y="294"/>
                  </a:lnTo>
                  <a:lnTo>
                    <a:pt x="270" y="300"/>
                  </a:lnTo>
                  <a:lnTo>
                    <a:pt x="294" y="300"/>
                  </a:lnTo>
                  <a:lnTo>
                    <a:pt x="288" y="306"/>
                  </a:lnTo>
                  <a:lnTo>
                    <a:pt x="300" y="312"/>
                  </a:lnTo>
                  <a:lnTo>
                    <a:pt x="306" y="318"/>
                  </a:lnTo>
                  <a:lnTo>
                    <a:pt x="324" y="324"/>
                  </a:lnTo>
                  <a:lnTo>
                    <a:pt x="354" y="318"/>
                  </a:lnTo>
                  <a:lnTo>
                    <a:pt x="354" y="312"/>
                  </a:lnTo>
                  <a:lnTo>
                    <a:pt x="366" y="312"/>
                  </a:lnTo>
                  <a:lnTo>
                    <a:pt x="384" y="312"/>
                  </a:lnTo>
                  <a:lnTo>
                    <a:pt x="390" y="306"/>
                  </a:lnTo>
                  <a:lnTo>
                    <a:pt x="396" y="306"/>
                  </a:lnTo>
                  <a:lnTo>
                    <a:pt x="408" y="306"/>
                  </a:lnTo>
                  <a:lnTo>
                    <a:pt x="426" y="312"/>
                  </a:lnTo>
                  <a:lnTo>
                    <a:pt x="456" y="324"/>
                  </a:lnTo>
                  <a:lnTo>
                    <a:pt x="504" y="330"/>
                  </a:lnTo>
                  <a:lnTo>
                    <a:pt x="510" y="336"/>
                  </a:lnTo>
                  <a:lnTo>
                    <a:pt x="534" y="336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58" y="330"/>
                  </a:lnTo>
                  <a:lnTo>
                    <a:pt x="564" y="330"/>
                  </a:lnTo>
                  <a:lnTo>
                    <a:pt x="570" y="354"/>
                  </a:lnTo>
                  <a:lnTo>
                    <a:pt x="564" y="378"/>
                  </a:lnTo>
                  <a:lnTo>
                    <a:pt x="558" y="396"/>
                  </a:lnTo>
                  <a:lnTo>
                    <a:pt x="546" y="414"/>
                  </a:lnTo>
                  <a:lnTo>
                    <a:pt x="546" y="438"/>
                  </a:lnTo>
                  <a:lnTo>
                    <a:pt x="540" y="456"/>
                  </a:lnTo>
                  <a:lnTo>
                    <a:pt x="540" y="474"/>
                  </a:lnTo>
                  <a:lnTo>
                    <a:pt x="528" y="480"/>
                  </a:lnTo>
                  <a:lnTo>
                    <a:pt x="522" y="492"/>
                  </a:lnTo>
                  <a:lnTo>
                    <a:pt x="504" y="498"/>
                  </a:lnTo>
                  <a:lnTo>
                    <a:pt x="498" y="498"/>
                  </a:lnTo>
                  <a:lnTo>
                    <a:pt x="492" y="504"/>
                  </a:lnTo>
                  <a:lnTo>
                    <a:pt x="486" y="510"/>
                  </a:lnTo>
                  <a:lnTo>
                    <a:pt x="480" y="510"/>
                  </a:lnTo>
                  <a:lnTo>
                    <a:pt x="480" y="516"/>
                  </a:lnTo>
                  <a:lnTo>
                    <a:pt x="474" y="522"/>
                  </a:lnTo>
                  <a:lnTo>
                    <a:pt x="474" y="528"/>
                  </a:lnTo>
                  <a:lnTo>
                    <a:pt x="474" y="534"/>
                  </a:lnTo>
                  <a:lnTo>
                    <a:pt x="480" y="540"/>
                  </a:lnTo>
                  <a:lnTo>
                    <a:pt x="492" y="540"/>
                  </a:lnTo>
                  <a:lnTo>
                    <a:pt x="498" y="546"/>
                  </a:lnTo>
                  <a:lnTo>
                    <a:pt x="504" y="552"/>
                  </a:lnTo>
                  <a:lnTo>
                    <a:pt x="510" y="552"/>
                  </a:lnTo>
                  <a:lnTo>
                    <a:pt x="516" y="558"/>
                  </a:lnTo>
                  <a:lnTo>
                    <a:pt x="528" y="558"/>
                  </a:lnTo>
                  <a:lnTo>
                    <a:pt x="534" y="552"/>
                  </a:lnTo>
                  <a:lnTo>
                    <a:pt x="540" y="552"/>
                  </a:lnTo>
                  <a:lnTo>
                    <a:pt x="546" y="552"/>
                  </a:lnTo>
                  <a:lnTo>
                    <a:pt x="558" y="546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70" y="546"/>
                  </a:lnTo>
                  <a:lnTo>
                    <a:pt x="570" y="540"/>
                  </a:lnTo>
                  <a:lnTo>
                    <a:pt x="570" y="546"/>
                  </a:lnTo>
                  <a:lnTo>
                    <a:pt x="576" y="546"/>
                  </a:lnTo>
                  <a:lnTo>
                    <a:pt x="582" y="546"/>
                  </a:lnTo>
                  <a:lnTo>
                    <a:pt x="588" y="540"/>
                  </a:lnTo>
                  <a:lnTo>
                    <a:pt x="594" y="546"/>
                  </a:lnTo>
                  <a:lnTo>
                    <a:pt x="606" y="546"/>
                  </a:lnTo>
                  <a:lnTo>
                    <a:pt x="612" y="546"/>
                  </a:lnTo>
                  <a:lnTo>
                    <a:pt x="612" y="552"/>
                  </a:lnTo>
                  <a:lnTo>
                    <a:pt x="618" y="552"/>
                  </a:lnTo>
                  <a:lnTo>
                    <a:pt x="624" y="552"/>
                  </a:lnTo>
                  <a:lnTo>
                    <a:pt x="630" y="552"/>
                  </a:lnTo>
                  <a:lnTo>
                    <a:pt x="648" y="546"/>
                  </a:lnTo>
                  <a:lnTo>
                    <a:pt x="654" y="546"/>
                  </a:lnTo>
                  <a:lnTo>
                    <a:pt x="654" y="552"/>
                  </a:lnTo>
                  <a:lnTo>
                    <a:pt x="660" y="558"/>
                  </a:lnTo>
                  <a:lnTo>
                    <a:pt x="666" y="564"/>
                  </a:lnTo>
                  <a:lnTo>
                    <a:pt x="672" y="564"/>
                  </a:lnTo>
                  <a:lnTo>
                    <a:pt x="678" y="564"/>
                  </a:lnTo>
                  <a:lnTo>
                    <a:pt x="696" y="576"/>
                  </a:lnTo>
                  <a:lnTo>
                    <a:pt x="696" y="582"/>
                  </a:lnTo>
                  <a:lnTo>
                    <a:pt x="708" y="588"/>
                  </a:lnTo>
                  <a:lnTo>
                    <a:pt x="708" y="594"/>
                  </a:lnTo>
                  <a:lnTo>
                    <a:pt x="720" y="606"/>
                  </a:lnTo>
                  <a:lnTo>
                    <a:pt x="720" y="618"/>
                  </a:lnTo>
                  <a:lnTo>
                    <a:pt x="720" y="624"/>
                  </a:lnTo>
                  <a:lnTo>
                    <a:pt x="726" y="630"/>
                  </a:lnTo>
                  <a:lnTo>
                    <a:pt x="732" y="636"/>
                  </a:lnTo>
                  <a:lnTo>
                    <a:pt x="732" y="642"/>
                  </a:lnTo>
                  <a:lnTo>
                    <a:pt x="732" y="648"/>
                  </a:lnTo>
                  <a:lnTo>
                    <a:pt x="726" y="654"/>
                  </a:lnTo>
                  <a:lnTo>
                    <a:pt x="720" y="660"/>
                  </a:lnTo>
                  <a:lnTo>
                    <a:pt x="714" y="666"/>
                  </a:lnTo>
                  <a:lnTo>
                    <a:pt x="714" y="672"/>
                  </a:lnTo>
                  <a:lnTo>
                    <a:pt x="714" y="678"/>
                  </a:lnTo>
                  <a:lnTo>
                    <a:pt x="720" y="678"/>
                  </a:lnTo>
                  <a:lnTo>
                    <a:pt x="720" y="684"/>
                  </a:lnTo>
                  <a:lnTo>
                    <a:pt x="714" y="690"/>
                  </a:lnTo>
                  <a:lnTo>
                    <a:pt x="714" y="696"/>
                  </a:lnTo>
                  <a:lnTo>
                    <a:pt x="714" y="702"/>
                  </a:lnTo>
                  <a:lnTo>
                    <a:pt x="714" y="708"/>
                  </a:lnTo>
                  <a:lnTo>
                    <a:pt x="720" y="708"/>
                  </a:lnTo>
                  <a:lnTo>
                    <a:pt x="720" y="720"/>
                  </a:lnTo>
                  <a:lnTo>
                    <a:pt x="720" y="726"/>
                  </a:lnTo>
                  <a:lnTo>
                    <a:pt x="726" y="726"/>
                  </a:lnTo>
                  <a:lnTo>
                    <a:pt x="726" y="732"/>
                  </a:lnTo>
                  <a:lnTo>
                    <a:pt x="732" y="732"/>
                  </a:lnTo>
                  <a:lnTo>
                    <a:pt x="732" y="738"/>
                  </a:lnTo>
                  <a:lnTo>
                    <a:pt x="726" y="738"/>
                  </a:lnTo>
                  <a:lnTo>
                    <a:pt x="720" y="738"/>
                  </a:lnTo>
                  <a:lnTo>
                    <a:pt x="720" y="744"/>
                  </a:lnTo>
                  <a:lnTo>
                    <a:pt x="720" y="750"/>
                  </a:lnTo>
                  <a:lnTo>
                    <a:pt x="714" y="750"/>
                  </a:lnTo>
                  <a:lnTo>
                    <a:pt x="714" y="756"/>
                  </a:lnTo>
                  <a:lnTo>
                    <a:pt x="720" y="756"/>
                  </a:lnTo>
                  <a:lnTo>
                    <a:pt x="714" y="762"/>
                  </a:lnTo>
                  <a:lnTo>
                    <a:pt x="720" y="762"/>
                  </a:lnTo>
                  <a:lnTo>
                    <a:pt x="726" y="768"/>
                  </a:lnTo>
                  <a:lnTo>
                    <a:pt x="726" y="774"/>
                  </a:lnTo>
                  <a:lnTo>
                    <a:pt x="732" y="774"/>
                  </a:lnTo>
                  <a:lnTo>
                    <a:pt x="732" y="780"/>
                  </a:lnTo>
                  <a:lnTo>
                    <a:pt x="726" y="780"/>
                  </a:lnTo>
                  <a:lnTo>
                    <a:pt x="726" y="786"/>
                  </a:lnTo>
                  <a:lnTo>
                    <a:pt x="720" y="786"/>
                  </a:lnTo>
                  <a:lnTo>
                    <a:pt x="726" y="786"/>
                  </a:lnTo>
                  <a:lnTo>
                    <a:pt x="732" y="780"/>
                  </a:lnTo>
                  <a:lnTo>
                    <a:pt x="738" y="780"/>
                  </a:lnTo>
                  <a:lnTo>
                    <a:pt x="744" y="780"/>
                  </a:lnTo>
                  <a:lnTo>
                    <a:pt x="744" y="786"/>
                  </a:lnTo>
                  <a:lnTo>
                    <a:pt x="750" y="786"/>
                  </a:lnTo>
                  <a:lnTo>
                    <a:pt x="744" y="786"/>
                  </a:lnTo>
                  <a:lnTo>
                    <a:pt x="744" y="792"/>
                  </a:lnTo>
                  <a:lnTo>
                    <a:pt x="744" y="786"/>
                  </a:lnTo>
                  <a:lnTo>
                    <a:pt x="738" y="792"/>
                  </a:lnTo>
                  <a:lnTo>
                    <a:pt x="744" y="792"/>
                  </a:lnTo>
                  <a:lnTo>
                    <a:pt x="750" y="792"/>
                  </a:lnTo>
                  <a:lnTo>
                    <a:pt x="750" y="786"/>
                  </a:lnTo>
                  <a:lnTo>
                    <a:pt x="756" y="786"/>
                  </a:lnTo>
                  <a:lnTo>
                    <a:pt x="756" y="792"/>
                  </a:lnTo>
                  <a:lnTo>
                    <a:pt x="762" y="792"/>
                  </a:lnTo>
                  <a:lnTo>
                    <a:pt x="756" y="798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0" y="810"/>
                  </a:lnTo>
                  <a:lnTo>
                    <a:pt x="756" y="810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6" y="816"/>
                  </a:lnTo>
                  <a:lnTo>
                    <a:pt x="750" y="816"/>
                  </a:lnTo>
                  <a:lnTo>
                    <a:pt x="738" y="810"/>
                  </a:lnTo>
                  <a:lnTo>
                    <a:pt x="732" y="810"/>
                  </a:lnTo>
                  <a:lnTo>
                    <a:pt x="732" y="816"/>
                  </a:lnTo>
                  <a:lnTo>
                    <a:pt x="726" y="810"/>
                  </a:lnTo>
                  <a:lnTo>
                    <a:pt x="714" y="816"/>
                  </a:lnTo>
                  <a:lnTo>
                    <a:pt x="708" y="816"/>
                  </a:lnTo>
                  <a:lnTo>
                    <a:pt x="702" y="816"/>
                  </a:lnTo>
                  <a:lnTo>
                    <a:pt x="696" y="816"/>
                  </a:lnTo>
                  <a:lnTo>
                    <a:pt x="690" y="822"/>
                  </a:lnTo>
                  <a:lnTo>
                    <a:pt x="684" y="822"/>
                  </a:lnTo>
                  <a:lnTo>
                    <a:pt x="678" y="822"/>
                  </a:lnTo>
                  <a:lnTo>
                    <a:pt x="672" y="822"/>
                  </a:lnTo>
                  <a:lnTo>
                    <a:pt x="666" y="822"/>
                  </a:lnTo>
                  <a:lnTo>
                    <a:pt x="666" y="828"/>
                  </a:lnTo>
                  <a:lnTo>
                    <a:pt x="654" y="828"/>
                  </a:lnTo>
                  <a:lnTo>
                    <a:pt x="648" y="828"/>
                  </a:lnTo>
                  <a:lnTo>
                    <a:pt x="642" y="828"/>
                  </a:lnTo>
                  <a:lnTo>
                    <a:pt x="630" y="828"/>
                  </a:lnTo>
                  <a:lnTo>
                    <a:pt x="624" y="822"/>
                  </a:lnTo>
                  <a:lnTo>
                    <a:pt x="618" y="822"/>
                  </a:lnTo>
                  <a:lnTo>
                    <a:pt x="612" y="822"/>
                  </a:lnTo>
                  <a:lnTo>
                    <a:pt x="606" y="822"/>
                  </a:lnTo>
                  <a:lnTo>
                    <a:pt x="600" y="822"/>
                  </a:lnTo>
                  <a:lnTo>
                    <a:pt x="594" y="822"/>
                  </a:lnTo>
                  <a:lnTo>
                    <a:pt x="594" y="816"/>
                  </a:lnTo>
                  <a:lnTo>
                    <a:pt x="594" y="810"/>
                  </a:lnTo>
                  <a:lnTo>
                    <a:pt x="600" y="804"/>
                  </a:lnTo>
                  <a:lnTo>
                    <a:pt x="600" y="798"/>
                  </a:lnTo>
                  <a:lnTo>
                    <a:pt x="600" y="792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2" y="786"/>
                  </a:lnTo>
                  <a:lnTo>
                    <a:pt x="618" y="786"/>
                  </a:lnTo>
                  <a:lnTo>
                    <a:pt x="624" y="786"/>
                  </a:lnTo>
                  <a:lnTo>
                    <a:pt x="624" y="780"/>
                  </a:lnTo>
                  <a:lnTo>
                    <a:pt x="630" y="780"/>
                  </a:lnTo>
                  <a:lnTo>
                    <a:pt x="630" y="774"/>
                  </a:lnTo>
                  <a:lnTo>
                    <a:pt x="636" y="774"/>
                  </a:lnTo>
                  <a:lnTo>
                    <a:pt x="642" y="780"/>
                  </a:lnTo>
                  <a:lnTo>
                    <a:pt x="642" y="786"/>
                  </a:lnTo>
                  <a:lnTo>
                    <a:pt x="642" y="792"/>
                  </a:lnTo>
                  <a:lnTo>
                    <a:pt x="648" y="792"/>
                  </a:lnTo>
                  <a:lnTo>
                    <a:pt x="648" y="786"/>
                  </a:lnTo>
                  <a:lnTo>
                    <a:pt x="642" y="786"/>
                  </a:lnTo>
                  <a:lnTo>
                    <a:pt x="642" y="780"/>
                  </a:lnTo>
                  <a:lnTo>
                    <a:pt x="642" y="774"/>
                  </a:lnTo>
                  <a:lnTo>
                    <a:pt x="648" y="768"/>
                  </a:lnTo>
                  <a:lnTo>
                    <a:pt x="642" y="768"/>
                  </a:lnTo>
                  <a:lnTo>
                    <a:pt x="648" y="768"/>
                  </a:lnTo>
                  <a:lnTo>
                    <a:pt x="648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66" y="762"/>
                  </a:lnTo>
                  <a:lnTo>
                    <a:pt x="672" y="756"/>
                  </a:lnTo>
                  <a:lnTo>
                    <a:pt x="666" y="756"/>
                  </a:lnTo>
                  <a:lnTo>
                    <a:pt x="660" y="756"/>
                  </a:lnTo>
                  <a:lnTo>
                    <a:pt x="660" y="750"/>
                  </a:lnTo>
                  <a:lnTo>
                    <a:pt x="654" y="750"/>
                  </a:lnTo>
                  <a:lnTo>
                    <a:pt x="648" y="750"/>
                  </a:lnTo>
                  <a:lnTo>
                    <a:pt x="648" y="756"/>
                  </a:lnTo>
                  <a:lnTo>
                    <a:pt x="642" y="756"/>
                  </a:lnTo>
                  <a:lnTo>
                    <a:pt x="642" y="750"/>
                  </a:lnTo>
                  <a:lnTo>
                    <a:pt x="642" y="744"/>
                  </a:lnTo>
                  <a:lnTo>
                    <a:pt x="642" y="750"/>
                  </a:lnTo>
                  <a:lnTo>
                    <a:pt x="636" y="750"/>
                  </a:lnTo>
                  <a:lnTo>
                    <a:pt x="636" y="744"/>
                  </a:lnTo>
                  <a:lnTo>
                    <a:pt x="630" y="744"/>
                  </a:lnTo>
                  <a:lnTo>
                    <a:pt x="630" y="738"/>
                  </a:lnTo>
                  <a:lnTo>
                    <a:pt x="630" y="744"/>
                  </a:lnTo>
                  <a:lnTo>
                    <a:pt x="630" y="750"/>
                  </a:lnTo>
                  <a:lnTo>
                    <a:pt x="636" y="750"/>
                  </a:lnTo>
                  <a:lnTo>
                    <a:pt x="636" y="756"/>
                  </a:lnTo>
                  <a:lnTo>
                    <a:pt x="630" y="756"/>
                  </a:lnTo>
                  <a:lnTo>
                    <a:pt x="636" y="762"/>
                  </a:lnTo>
                  <a:lnTo>
                    <a:pt x="630" y="762"/>
                  </a:lnTo>
                  <a:lnTo>
                    <a:pt x="624" y="762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24" y="786"/>
                  </a:lnTo>
                  <a:lnTo>
                    <a:pt x="618" y="786"/>
                  </a:lnTo>
                  <a:lnTo>
                    <a:pt x="618" y="78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12" y="774"/>
                  </a:lnTo>
                  <a:lnTo>
                    <a:pt x="612" y="780"/>
                  </a:lnTo>
                  <a:lnTo>
                    <a:pt x="606" y="780"/>
                  </a:lnTo>
                  <a:lnTo>
                    <a:pt x="600" y="780"/>
                  </a:lnTo>
                  <a:lnTo>
                    <a:pt x="600" y="774"/>
                  </a:lnTo>
                  <a:lnTo>
                    <a:pt x="594" y="768"/>
                  </a:lnTo>
                  <a:lnTo>
                    <a:pt x="594" y="762"/>
                  </a:lnTo>
                  <a:lnTo>
                    <a:pt x="594" y="756"/>
                  </a:lnTo>
                  <a:lnTo>
                    <a:pt x="594" y="762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594" y="780"/>
                  </a:lnTo>
                  <a:lnTo>
                    <a:pt x="588" y="780"/>
                  </a:lnTo>
                  <a:lnTo>
                    <a:pt x="582" y="780"/>
                  </a:lnTo>
                  <a:lnTo>
                    <a:pt x="576" y="780"/>
                  </a:lnTo>
                  <a:lnTo>
                    <a:pt x="570" y="780"/>
                  </a:lnTo>
                  <a:lnTo>
                    <a:pt x="564" y="780"/>
                  </a:lnTo>
                  <a:lnTo>
                    <a:pt x="564" y="786"/>
                  </a:lnTo>
                  <a:lnTo>
                    <a:pt x="558" y="786"/>
                  </a:lnTo>
                  <a:lnTo>
                    <a:pt x="552" y="786"/>
                  </a:lnTo>
                  <a:lnTo>
                    <a:pt x="552" y="780"/>
                  </a:lnTo>
                  <a:lnTo>
                    <a:pt x="552" y="774"/>
                  </a:lnTo>
                  <a:lnTo>
                    <a:pt x="552" y="768"/>
                  </a:lnTo>
                  <a:lnTo>
                    <a:pt x="546" y="768"/>
                  </a:lnTo>
                  <a:lnTo>
                    <a:pt x="540" y="762"/>
                  </a:lnTo>
                  <a:lnTo>
                    <a:pt x="540" y="756"/>
                  </a:lnTo>
                  <a:lnTo>
                    <a:pt x="534" y="756"/>
                  </a:lnTo>
                  <a:lnTo>
                    <a:pt x="534" y="750"/>
                  </a:lnTo>
                  <a:lnTo>
                    <a:pt x="534" y="744"/>
                  </a:lnTo>
                  <a:lnTo>
                    <a:pt x="528" y="738"/>
                  </a:lnTo>
                  <a:lnTo>
                    <a:pt x="522" y="738"/>
                  </a:lnTo>
                  <a:lnTo>
                    <a:pt x="522" y="732"/>
                  </a:lnTo>
                  <a:lnTo>
                    <a:pt x="510" y="726"/>
                  </a:lnTo>
                  <a:lnTo>
                    <a:pt x="510" y="720"/>
                  </a:lnTo>
                  <a:lnTo>
                    <a:pt x="504" y="720"/>
                  </a:lnTo>
                  <a:lnTo>
                    <a:pt x="504" y="714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8" y="702"/>
                  </a:lnTo>
                  <a:lnTo>
                    <a:pt x="498" y="696"/>
                  </a:lnTo>
                  <a:lnTo>
                    <a:pt x="492" y="690"/>
                  </a:lnTo>
                  <a:lnTo>
                    <a:pt x="492" y="684"/>
                  </a:lnTo>
                  <a:lnTo>
                    <a:pt x="486" y="684"/>
                  </a:lnTo>
                  <a:lnTo>
                    <a:pt x="486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74" y="678"/>
                  </a:lnTo>
                  <a:lnTo>
                    <a:pt x="468" y="678"/>
                  </a:lnTo>
                  <a:lnTo>
                    <a:pt x="462" y="678"/>
                  </a:lnTo>
                  <a:lnTo>
                    <a:pt x="462" y="672"/>
                  </a:lnTo>
                  <a:lnTo>
                    <a:pt x="456" y="672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44" y="666"/>
                  </a:lnTo>
                  <a:lnTo>
                    <a:pt x="438" y="660"/>
                  </a:lnTo>
                  <a:lnTo>
                    <a:pt x="438" y="648"/>
                  </a:lnTo>
                  <a:lnTo>
                    <a:pt x="438" y="642"/>
                  </a:lnTo>
                  <a:lnTo>
                    <a:pt x="438" y="636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36"/>
                  </a:lnTo>
                  <a:lnTo>
                    <a:pt x="420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60"/>
                  </a:lnTo>
                  <a:lnTo>
                    <a:pt x="432" y="666"/>
                  </a:lnTo>
                  <a:lnTo>
                    <a:pt x="438" y="666"/>
                  </a:lnTo>
                  <a:lnTo>
                    <a:pt x="438" y="672"/>
                  </a:lnTo>
                  <a:lnTo>
                    <a:pt x="444" y="672"/>
                  </a:lnTo>
                  <a:lnTo>
                    <a:pt x="444" y="678"/>
                  </a:lnTo>
                  <a:lnTo>
                    <a:pt x="450" y="678"/>
                  </a:lnTo>
                  <a:lnTo>
                    <a:pt x="456" y="678"/>
                  </a:lnTo>
                  <a:lnTo>
                    <a:pt x="456" y="684"/>
                  </a:lnTo>
                  <a:lnTo>
                    <a:pt x="462" y="684"/>
                  </a:lnTo>
                  <a:lnTo>
                    <a:pt x="468" y="684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80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86" y="708"/>
                  </a:lnTo>
                  <a:lnTo>
                    <a:pt x="492" y="714"/>
                  </a:lnTo>
                  <a:lnTo>
                    <a:pt x="492" y="720"/>
                  </a:lnTo>
                  <a:lnTo>
                    <a:pt x="492" y="726"/>
                  </a:lnTo>
                  <a:lnTo>
                    <a:pt x="498" y="732"/>
                  </a:lnTo>
                  <a:lnTo>
                    <a:pt x="492" y="738"/>
                  </a:lnTo>
                  <a:lnTo>
                    <a:pt x="492" y="744"/>
                  </a:lnTo>
                  <a:lnTo>
                    <a:pt x="492" y="750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68" y="738"/>
                  </a:lnTo>
                  <a:lnTo>
                    <a:pt x="468" y="744"/>
                  </a:lnTo>
                  <a:lnTo>
                    <a:pt x="474" y="750"/>
                  </a:lnTo>
                  <a:lnTo>
                    <a:pt x="480" y="756"/>
                  </a:lnTo>
                  <a:lnTo>
                    <a:pt x="486" y="756"/>
                  </a:lnTo>
                  <a:lnTo>
                    <a:pt x="492" y="762"/>
                  </a:lnTo>
                  <a:lnTo>
                    <a:pt x="498" y="768"/>
                  </a:lnTo>
                  <a:lnTo>
                    <a:pt x="492" y="774"/>
                  </a:lnTo>
                  <a:lnTo>
                    <a:pt x="492" y="780"/>
                  </a:lnTo>
                  <a:lnTo>
                    <a:pt x="498" y="780"/>
                  </a:lnTo>
                  <a:lnTo>
                    <a:pt x="492" y="786"/>
                  </a:lnTo>
                  <a:lnTo>
                    <a:pt x="492" y="792"/>
                  </a:lnTo>
                  <a:lnTo>
                    <a:pt x="492" y="79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0" y="810"/>
                  </a:lnTo>
                  <a:lnTo>
                    <a:pt x="480" y="804"/>
                  </a:lnTo>
                  <a:lnTo>
                    <a:pt x="474" y="804"/>
                  </a:lnTo>
                  <a:lnTo>
                    <a:pt x="474" y="798"/>
                  </a:lnTo>
                  <a:lnTo>
                    <a:pt x="474" y="804"/>
                  </a:lnTo>
                  <a:lnTo>
                    <a:pt x="468" y="804"/>
                  </a:lnTo>
                  <a:lnTo>
                    <a:pt x="468" y="810"/>
                  </a:lnTo>
                  <a:lnTo>
                    <a:pt x="462" y="810"/>
                  </a:lnTo>
                  <a:lnTo>
                    <a:pt x="456" y="810"/>
                  </a:lnTo>
                  <a:lnTo>
                    <a:pt x="450" y="810"/>
                  </a:lnTo>
                  <a:lnTo>
                    <a:pt x="450" y="816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50" y="822"/>
                  </a:lnTo>
                  <a:lnTo>
                    <a:pt x="450" y="816"/>
                  </a:lnTo>
                  <a:lnTo>
                    <a:pt x="444" y="816"/>
                  </a:lnTo>
                  <a:lnTo>
                    <a:pt x="438" y="810"/>
                  </a:lnTo>
                  <a:lnTo>
                    <a:pt x="432" y="810"/>
                  </a:lnTo>
                  <a:lnTo>
                    <a:pt x="426" y="804"/>
                  </a:lnTo>
                  <a:lnTo>
                    <a:pt x="426" y="798"/>
                  </a:lnTo>
                  <a:lnTo>
                    <a:pt x="420" y="798"/>
                  </a:lnTo>
                  <a:lnTo>
                    <a:pt x="426" y="798"/>
                  </a:lnTo>
                  <a:lnTo>
                    <a:pt x="426" y="792"/>
                  </a:lnTo>
                  <a:lnTo>
                    <a:pt x="426" y="786"/>
                  </a:lnTo>
                  <a:lnTo>
                    <a:pt x="432" y="786"/>
                  </a:lnTo>
                  <a:lnTo>
                    <a:pt x="432" y="780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0" y="756"/>
                  </a:lnTo>
                  <a:lnTo>
                    <a:pt x="420" y="750"/>
                  </a:lnTo>
                  <a:lnTo>
                    <a:pt x="414" y="750"/>
                  </a:lnTo>
                  <a:lnTo>
                    <a:pt x="420" y="750"/>
                  </a:lnTo>
                  <a:lnTo>
                    <a:pt x="420" y="744"/>
                  </a:lnTo>
                  <a:lnTo>
                    <a:pt x="414" y="744"/>
                  </a:lnTo>
                  <a:lnTo>
                    <a:pt x="414" y="738"/>
                  </a:lnTo>
                  <a:lnTo>
                    <a:pt x="414" y="732"/>
                  </a:lnTo>
                  <a:lnTo>
                    <a:pt x="408" y="732"/>
                  </a:lnTo>
                  <a:lnTo>
                    <a:pt x="408" y="726"/>
                  </a:lnTo>
                  <a:lnTo>
                    <a:pt x="402" y="726"/>
                  </a:lnTo>
                  <a:lnTo>
                    <a:pt x="396" y="726"/>
                  </a:lnTo>
                  <a:lnTo>
                    <a:pt x="390" y="726"/>
                  </a:lnTo>
                  <a:lnTo>
                    <a:pt x="390" y="720"/>
                  </a:lnTo>
                  <a:lnTo>
                    <a:pt x="390" y="714"/>
                  </a:lnTo>
                  <a:lnTo>
                    <a:pt x="384" y="708"/>
                  </a:lnTo>
                  <a:lnTo>
                    <a:pt x="384" y="702"/>
                  </a:lnTo>
                  <a:lnTo>
                    <a:pt x="378" y="702"/>
                  </a:lnTo>
                  <a:lnTo>
                    <a:pt x="378" y="696"/>
                  </a:lnTo>
                  <a:lnTo>
                    <a:pt x="378" y="690"/>
                  </a:lnTo>
                  <a:lnTo>
                    <a:pt x="372" y="684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66" y="666"/>
                  </a:lnTo>
                  <a:lnTo>
                    <a:pt x="366" y="660"/>
                  </a:lnTo>
                  <a:lnTo>
                    <a:pt x="366" y="654"/>
                  </a:lnTo>
                  <a:lnTo>
                    <a:pt x="360" y="648"/>
                  </a:lnTo>
                  <a:lnTo>
                    <a:pt x="360" y="654"/>
                  </a:lnTo>
                  <a:lnTo>
                    <a:pt x="360" y="660"/>
                  </a:lnTo>
                  <a:lnTo>
                    <a:pt x="360" y="666"/>
                  </a:lnTo>
                  <a:lnTo>
                    <a:pt x="360" y="672"/>
                  </a:lnTo>
                  <a:lnTo>
                    <a:pt x="360" y="678"/>
                  </a:lnTo>
                  <a:lnTo>
                    <a:pt x="366" y="678"/>
                  </a:lnTo>
                  <a:lnTo>
                    <a:pt x="366" y="684"/>
                  </a:lnTo>
                  <a:lnTo>
                    <a:pt x="366" y="690"/>
                  </a:lnTo>
                  <a:lnTo>
                    <a:pt x="372" y="696"/>
                  </a:lnTo>
                  <a:lnTo>
                    <a:pt x="372" y="702"/>
                  </a:lnTo>
                  <a:lnTo>
                    <a:pt x="372" y="708"/>
                  </a:lnTo>
                  <a:lnTo>
                    <a:pt x="372" y="714"/>
                  </a:lnTo>
                  <a:lnTo>
                    <a:pt x="366" y="714"/>
                  </a:lnTo>
                  <a:lnTo>
                    <a:pt x="360" y="714"/>
                  </a:lnTo>
                  <a:lnTo>
                    <a:pt x="354" y="714"/>
                  </a:lnTo>
                  <a:lnTo>
                    <a:pt x="348" y="714"/>
                  </a:lnTo>
                  <a:lnTo>
                    <a:pt x="348" y="708"/>
                  </a:lnTo>
                  <a:lnTo>
                    <a:pt x="342" y="708"/>
                  </a:lnTo>
                  <a:lnTo>
                    <a:pt x="342" y="702"/>
                  </a:lnTo>
                  <a:lnTo>
                    <a:pt x="342" y="696"/>
                  </a:lnTo>
                  <a:lnTo>
                    <a:pt x="336" y="696"/>
                  </a:lnTo>
                  <a:lnTo>
                    <a:pt x="336" y="690"/>
                  </a:lnTo>
                  <a:lnTo>
                    <a:pt x="336" y="684"/>
                  </a:lnTo>
                  <a:lnTo>
                    <a:pt x="330" y="684"/>
                  </a:lnTo>
                  <a:lnTo>
                    <a:pt x="330" y="678"/>
                  </a:lnTo>
                  <a:lnTo>
                    <a:pt x="324" y="672"/>
                  </a:lnTo>
                  <a:lnTo>
                    <a:pt x="324" y="666"/>
                  </a:lnTo>
                  <a:lnTo>
                    <a:pt x="318" y="666"/>
                  </a:lnTo>
                  <a:lnTo>
                    <a:pt x="318" y="672"/>
                  </a:lnTo>
                  <a:lnTo>
                    <a:pt x="324" y="672"/>
                  </a:lnTo>
                  <a:lnTo>
                    <a:pt x="324" y="678"/>
                  </a:lnTo>
                  <a:lnTo>
                    <a:pt x="324" y="684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30" y="696"/>
                  </a:lnTo>
                  <a:lnTo>
                    <a:pt x="336" y="702"/>
                  </a:lnTo>
                  <a:lnTo>
                    <a:pt x="342" y="708"/>
                  </a:lnTo>
                  <a:lnTo>
                    <a:pt x="342" y="714"/>
                  </a:lnTo>
                  <a:lnTo>
                    <a:pt x="348" y="720"/>
                  </a:lnTo>
                  <a:lnTo>
                    <a:pt x="342" y="720"/>
                  </a:lnTo>
                  <a:lnTo>
                    <a:pt x="336" y="720"/>
                  </a:lnTo>
                  <a:lnTo>
                    <a:pt x="330" y="720"/>
                  </a:lnTo>
                  <a:lnTo>
                    <a:pt x="330" y="726"/>
                  </a:lnTo>
                  <a:lnTo>
                    <a:pt x="336" y="726"/>
                  </a:lnTo>
                  <a:lnTo>
                    <a:pt x="330" y="732"/>
                  </a:lnTo>
                  <a:lnTo>
                    <a:pt x="330" y="738"/>
                  </a:lnTo>
                  <a:lnTo>
                    <a:pt x="330" y="744"/>
                  </a:lnTo>
                  <a:lnTo>
                    <a:pt x="336" y="744"/>
                  </a:lnTo>
                  <a:lnTo>
                    <a:pt x="342" y="744"/>
                  </a:lnTo>
                  <a:lnTo>
                    <a:pt x="348" y="744"/>
                  </a:lnTo>
                  <a:lnTo>
                    <a:pt x="348" y="750"/>
                  </a:lnTo>
                  <a:lnTo>
                    <a:pt x="354" y="750"/>
                  </a:lnTo>
                  <a:lnTo>
                    <a:pt x="360" y="756"/>
                  </a:lnTo>
                  <a:lnTo>
                    <a:pt x="360" y="762"/>
                  </a:lnTo>
                  <a:lnTo>
                    <a:pt x="366" y="762"/>
                  </a:lnTo>
                  <a:lnTo>
                    <a:pt x="366" y="768"/>
                  </a:lnTo>
                  <a:lnTo>
                    <a:pt x="366" y="774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72" y="792"/>
                  </a:lnTo>
                  <a:lnTo>
                    <a:pt x="372" y="798"/>
                  </a:lnTo>
                  <a:lnTo>
                    <a:pt x="372" y="804"/>
                  </a:lnTo>
                  <a:lnTo>
                    <a:pt x="378" y="804"/>
                  </a:lnTo>
                  <a:lnTo>
                    <a:pt x="378" y="810"/>
                  </a:lnTo>
                  <a:lnTo>
                    <a:pt x="378" y="816"/>
                  </a:lnTo>
                  <a:lnTo>
                    <a:pt x="372" y="816"/>
                  </a:lnTo>
                  <a:lnTo>
                    <a:pt x="378" y="816"/>
                  </a:lnTo>
                  <a:lnTo>
                    <a:pt x="378" y="822"/>
                  </a:lnTo>
                  <a:lnTo>
                    <a:pt x="378" y="828"/>
                  </a:lnTo>
                  <a:lnTo>
                    <a:pt x="378" y="834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0" y="864"/>
                  </a:lnTo>
                  <a:lnTo>
                    <a:pt x="384" y="864"/>
                  </a:lnTo>
                  <a:lnTo>
                    <a:pt x="384" y="870"/>
                  </a:lnTo>
                  <a:lnTo>
                    <a:pt x="378" y="864"/>
                  </a:lnTo>
                  <a:lnTo>
                    <a:pt x="372" y="864"/>
                  </a:lnTo>
                  <a:lnTo>
                    <a:pt x="366" y="858"/>
                  </a:lnTo>
                  <a:lnTo>
                    <a:pt x="366" y="852"/>
                  </a:lnTo>
                  <a:lnTo>
                    <a:pt x="360" y="852"/>
                  </a:lnTo>
                  <a:lnTo>
                    <a:pt x="360" y="858"/>
                  </a:lnTo>
                  <a:lnTo>
                    <a:pt x="366" y="858"/>
                  </a:lnTo>
                  <a:lnTo>
                    <a:pt x="366" y="864"/>
                  </a:lnTo>
                  <a:lnTo>
                    <a:pt x="360" y="864"/>
                  </a:lnTo>
                  <a:lnTo>
                    <a:pt x="354" y="864"/>
                  </a:lnTo>
                  <a:lnTo>
                    <a:pt x="354" y="870"/>
                  </a:lnTo>
                  <a:lnTo>
                    <a:pt x="354" y="864"/>
                  </a:lnTo>
                  <a:lnTo>
                    <a:pt x="348" y="864"/>
                  </a:lnTo>
                  <a:lnTo>
                    <a:pt x="342" y="864"/>
                  </a:lnTo>
                  <a:lnTo>
                    <a:pt x="342" y="858"/>
                  </a:lnTo>
                  <a:lnTo>
                    <a:pt x="336" y="858"/>
                  </a:lnTo>
                  <a:lnTo>
                    <a:pt x="330" y="858"/>
                  </a:lnTo>
                  <a:lnTo>
                    <a:pt x="324" y="858"/>
                  </a:lnTo>
                  <a:lnTo>
                    <a:pt x="318" y="858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0" y="852"/>
                  </a:lnTo>
                  <a:lnTo>
                    <a:pt x="294" y="852"/>
                  </a:lnTo>
                  <a:lnTo>
                    <a:pt x="294" y="846"/>
                  </a:lnTo>
                  <a:lnTo>
                    <a:pt x="288" y="840"/>
                  </a:lnTo>
                  <a:lnTo>
                    <a:pt x="288" y="828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2" y="816"/>
                  </a:lnTo>
                  <a:lnTo>
                    <a:pt x="282" y="810"/>
                  </a:lnTo>
                  <a:lnTo>
                    <a:pt x="276" y="810"/>
                  </a:lnTo>
                  <a:lnTo>
                    <a:pt x="276" y="804"/>
                  </a:lnTo>
                  <a:lnTo>
                    <a:pt x="276" y="798"/>
                  </a:lnTo>
                  <a:lnTo>
                    <a:pt x="276" y="792"/>
                  </a:lnTo>
                  <a:lnTo>
                    <a:pt x="270" y="786"/>
                  </a:lnTo>
                  <a:lnTo>
                    <a:pt x="270" y="780"/>
                  </a:lnTo>
                  <a:lnTo>
                    <a:pt x="270" y="774"/>
                  </a:lnTo>
                  <a:lnTo>
                    <a:pt x="264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64" y="750"/>
                  </a:lnTo>
                  <a:lnTo>
                    <a:pt x="264" y="744"/>
                  </a:lnTo>
                  <a:lnTo>
                    <a:pt x="264" y="738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26"/>
                  </a:lnTo>
                  <a:lnTo>
                    <a:pt x="276" y="720"/>
                  </a:lnTo>
                  <a:lnTo>
                    <a:pt x="282" y="720"/>
                  </a:lnTo>
                  <a:lnTo>
                    <a:pt x="282" y="714"/>
                  </a:lnTo>
                  <a:lnTo>
                    <a:pt x="282" y="708"/>
                  </a:lnTo>
                  <a:lnTo>
                    <a:pt x="276" y="708"/>
                  </a:lnTo>
                  <a:lnTo>
                    <a:pt x="276" y="702"/>
                  </a:lnTo>
                  <a:lnTo>
                    <a:pt x="270" y="702"/>
                  </a:lnTo>
                  <a:lnTo>
                    <a:pt x="270" y="696"/>
                  </a:lnTo>
                  <a:lnTo>
                    <a:pt x="264" y="690"/>
                  </a:lnTo>
                  <a:lnTo>
                    <a:pt x="258" y="690"/>
                  </a:lnTo>
                  <a:lnTo>
                    <a:pt x="258" y="684"/>
                  </a:lnTo>
                  <a:lnTo>
                    <a:pt x="252" y="684"/>
                  </a:lnTo>
                  <a:lnTo>
                    <a:pt x="252" y="678"/>
                  </a:lnTo>
                  <a:lnTo>
                    <a:pt x="246" y="678"/>
                  </a:lnTo>
                  <a:lnTo>
                    <a:pt x="240" y="678"/>
                  </a:lnTo>
                  <a:lnTo>
                    <a:pt x="240" y="684"/>
                  </a:lnTo>
                  <a:lnTo>
                    <a:pt x="246" y="684"/>
                  </a:lnTo>
                  <a:lnTo>
                    <a:pt x="252" y="690"/>
                  </a:lnTo>
                  <a:lnTo>
                    <a:pt x="258" y="690"/>
                  </a:lnTo>
                  <a:lnTo>
                    <a:pt x="258" y="696"/>
                  </a:lnTo>
                  <a:lnTo>
                    <a:pt x="258" y="702"/>
                  </a:lnTo>
                  <a:lnTo>
                    <a:pt x="264" y="702"/>
                  </a:lnTo>
                  <a:lnTo>
                    <a:pt x="270" y="708"/>
                  </a:lnTo>
                  <a:lnTo>
                    <a:pt x="270" y="714"/>
                  </a:lnTo>
                  <a:lnTo>
                    <a:pt x="270" y="720"/>
                  </a:lnTo>
                  <a:lnTo>
                    <a:pt x="276" y="720"/>
                  </a:lnTo>
                  <a:lnTo>
                    <a:pt x="270" y="720"/>
                  </a:lnTo>
                  <a:lnTo>
                    <a:pt x="270" y="726"/>
                  </a:lnTo>
                  <a:lnTo>
                    <a:pt x="264" y="726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52" y="738"/>
                  </a:lnTo>
                  <a:lnTo>
                    <a:pt x="252" y="744"/>
                  </a:lnTo>
                  <a:lnTo>
                    <a:pt x="252" y="750"/>
                  </a:lnTo>
                  <a:lnTo>
                    <a:pt x="252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58" y="774"/>
                  </a:lnTo>
                  <a:lnTo>
                    <a:pt x="258" y="780"/>
                  </a:lnTo>
                  <a:lnTo>
                    <a:pt x="264" y="786"/>
                  </a:lnTo>
                  <a:lnTo>
                    <a:pt x="264" y="792"/>
                  </a:lnTo>
                  <a:lnTo>
                    <a:pt x="264" y="798"/>
                  </a:lnTo>
                  <a:lnTo>
                    <a:pt x="270" y="810"/>
                  </a:lnTo>
                  <a:lnTo>
                    <a:pt x="270" y="816"/>
                  </a:lnTo>
                  <a:lnTo>
                    <a:pt x="270" y="822"/>
                  </a:lnTo>
                  <a:lnTo>
                    <a:pt x="276" y="822"/>
                  </a:lnTo>
                  <a:lnTo>
                    <a:pt x="276" y="828"/>
                  </a:lnTo>
                  <a:lnTo>
                    <a:pt x="276" y="834"/>
                  </a:lnTo>
                  <a:lnTo>
                    <a:pt x="276" y="840"/>
                  </a:lnTo>
                  <a:lnTo>
                    <a:pt x="276" y="846"/>
                  </a:lnTo>
                  <a:lnTo>
                    <a:pt x="282" y="852"/>
                  </a:lnTo>
                  <a:lnTo>
                    <a:pt x="282" y="858"/>
                  </a:lnTo>
                  <a:lnTo>
                    <a:pt x="294" y="864"/>
                  </a:lnTo>
                  <a:lnTo>
                    <a:pt x="300" y="870"/>
                  </a:lnTo>
                  <a:lnTo>
                    <a:pt x="300" y="876"/>
                  </a:lnTo>
                  <a:lnTo>
                    <a:pt x="288" y="876"/>
                  </a:lnTo>
                  <a:lnTo>
                    <a:pt x="282" y="876"/>
                  </a:lnTo>
                  <a:lnTo>
                    <a:pt x="276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2" y="882"/>
                  </a:lnTo>
                  <a:lnTo>
                    <a:pt x="246" y="882"/>
                  </a:lnTo>
                  <a:lnTo>
                    <a:pt x="240" y="882"/>
                  </a:lnTo>
                  <a:lnTo>
                    <a:pt x="234" y="882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204" y="876"/>
                  </a:lnTo>
                  <a:lnTo>
                    <a:pt x="198" y="876"/>
                  </a:lnTo>
                  <a:lnTo>
                    <a:pt x="198" y="870"/>
                  </a:lnTo>
                  <a:lnTo>
                    <a:pt x="198" y="852"/>
                  </a:lnTo>
                  <a:lnTo>
                    <a:pt x="198" y="846"/>
                  </a:lnTo>
                  <a:lnTo>
                    <a:pt x="204" y="846"/>
                  </a:lnTo>
                  <a:lnTo>
                    <a:pt x="198" y="840"/>
                  </a:lnTo>
                  <a:lnTo>
                    <a:pt x="198" y="834"/>
                  </a:lnTo>
                  <a:lnTo>
                    <a:pt x="198" y="828"/>
                  </a:lnTo>
                  <a:lnTo>
                    <a:pt x="198" y="822"/>
                  </a:lnTo>
                  <a:lnTo>
                    <a:pt x="198" y="816"/>
                  </a:lnTo>
                  <a:lnTo>
                    <a:pt x="198" y="810"/>
                  </a:lnTo>
                  <a:lnTo>
                    <a:pt x="192" y="810"/>
                  </a:lnTo>
                  <a:lnTo>
                    <a:pt x="192" y="804"/>
                  </a:lnTo>
                  <a:lnTo>
                    <a:pt x="192" y="798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2" y="774"/>
                  </a:lnTo>
                  <a:lnTo>
                    <a:pt x="192" y="768"/>
                  </a:lnTo>
                  <a:lnTo>
                    <a:pt x="198" y="768"/>
                  </a:lnTo>
                  <a:lnTo>
                    <a:pt x="198" y="762"/>
                  </a:lnTo>
                  <a:lnTo>
                    <a:pt x="198" y="756"/>
                  </a:lnTo>
                  <a:lnTo>
                    <a:pt x="204" y="756"/>
                  </a:lnTo>
                  <a:lnTo>
                    <a:pt x="204" y="750"/>
                  </a:lnTo>
                  <a:lnTo>
                    <a:pt x="210" y="744"/>
                  </a:lnTo>
                  <a:lnTo>
                    <a:pt x="210" y="738"/>
                  </a:lnTo>
                  <a:lnTo>
                    <a:pt x="210" y="732"/>
                  </a:lnTo>
                  <a:lnTo>
                    <a:pt x="210" y="726"/>
                  </a:lnTo>
                  <a:lnTo>
                    <a:pt x="210" y="720"/>
                  </a:lnTo>
                  <a:lnTo>
                    <a:pt x="204" y="714"/>
                  </a:lnTo>
                  <a:lnTo>
                    <a:pt x="204" y="720"/>
                  </a:lnTo>
                  <a:lnTo>
                    <a:pt x="204" y="732"/>
                  </a:lnTo>
                  <a:lnTo>
                    <a:pt x="204" y="738"/>
                  </a:lnTo>
                  <a:lnTo>
                    <a:pt x="198" y="738"/>
                  </a:lnTo>
                  <a:lnTo>
                    <a:pt x="198" y="744"/>
                  </a:lnTo>
                  <a:lnTo>
                    <a:pt x="198" y="750"/>
                  </a:lnTo>
                  <a:lnTo>
                    <a:pt x="192" y="756"/>
                  </a:lnTo>
                  <a:lnTo>
                    <a:pt x="186" y="762"/>
                  </a:lnTo>
                  <a:lnTo>
                    <a:pt x="186" y="768"/>
                  </a:lnTo>
                  <a:lnTo>
                    <a:pt x="186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98"/>
                  </a:lnTo>
                  <a:lnTo>
                    <a:pt x="186" y="804"/>
                  </a:lnTo>
                  <a:lnTo>
                    <a:pt x="186" y="810"/>
                  </a:lnTo>
                  <a:lnTo>
                    <a:pt x="192" y="816"/>
                  </a:lnTo>
                  <a:lnTo>
                    <a:pt x="192" y="828"/>
                  </a:lnTo>
                  <a:lnTo>
                    <a:pt x="192" y="834"/>
                  </a:lnTo>
                  <a:lnTo>
                    <a:pt x="186" y="834"/>
                  </a:lnTo>
                  <a:lnTo>
                    <a:pt x="186" y="828"/>
                  </a:lnTo>
                  <a:lnTo>
                    <a:pt x="180" y="822"/>
                  </a:lnTo>
                  <a:lnTo>
                    <a:pt x="180" y="816"/>
                  </a:lnTo>
                  <a:lnTo>
                    <a:pt x="180" y="810"/>
                  </a:lnTo>
                  <a:lnTo>
                    <a:pt x="174" y="810"/>
                  </a:lnTo>
                  <a:lnTo>
                    <a:pt x="174" y="804"/>
                  </a:lnTo>
                  <a:lnTo>
                    <a:pt x="174" y="798"/>
                  </a:lnTo>
                  <a:lnTo>
                    <a:pt x="174" y="792"/>
                  </a:lnTo>
                  <a:lnTo>
                    <a:pt x="168" y="786"/>
                  </a:lnTo>
                  <a:lnTo>
                    <a:pt x="168" y="780"/>
                  </a:lnTo>
                  <a:lnTo>
                    <a:pt x="162" y="780"/>
                  </a:lnTo>
                  <a:lnTo>
                    <a:pt x="168" y="774"/>
                  </a:lnTo>
                  <a:lnTo>
                    <a:pt x="168" y="768"/>
                  </a:lnTo>
                  <a:lnTo>
                    <a:pt x="174" y="768"/>
                  </a:lnTo>
                  <a:lnTo>
                    <a:pt x="168" y="768"/>
                  </a:lnTo>
                  <a:lnTo>
                    <a:pt x="162" y="774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50" y="774"/>
                  </a:lnTo>
                  <a:lnTo>
                    <a:pt x="144" y="774"/>
                  </a:lnTo>
                  <a:lnTo>
                    <a:pt x="144" y="768"/>
                  </a:lnTo>
                  <a:lnTo>
                    <a:pt x="144" y="762"/>
                  </a:lnTo>
                  <a:lnTo>
                    <a:pt x="138" y="756"/>
                  </a:lnTo>
                  <a:lnTo>
                    <a:pt x="132" y="756"/>
                  </a:lnTo>
                  <a:lnTo>
                    <a:pt x="138" y="756"/>
                  </a:lnTo>
                  <a:lnTo>
                    <a:pt x="138" y="762"/>
                  </a:lnTo>
                  <a:lnTo>
                    <a:pt x="138" y="768"/>
                  </a:lnTo>
                  <a:lnTo>
                    <a:pt x="144" y="768"/>
                  </a:lnTo>
                  <a:lnTo>
                    <a:pt x="144" y="774"/>
                  </a:lnTo>
                  <a:lnTo>
                    <a:pt x="150" y="780"/>
                  </a:lnTo>
                  <a:lnTo>
                    <a:pt x="156" y="780"/>
                  </a:lnTo>
                  <a:lnTo>
                    <a:pt x="156" y="786"/>
                  </a:lnTo>
                  <a:lnTo>
                    <a:pt x="162" y="786"/>
                  </a:lnTo>
                  <a:lnTo>
                    <a:pt x="168" y="792"/>
                  </a:lnTo>
                  <a:lnTo>
                    <a:pt x="168" y="798"/>
                  </a:lnTo>
                  <a:lnTo>
                    <a:pt x="168" y="804"/>
                  </a:lnTo>
                  <a:lnTo>
                    <a:pt x="174" y="810"/>
                  </a:lnTo>
                  <a:lnTo>
                    <a:pt x="174" y="816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68" y="828"/>
                  </a:lnTo>
                  <a:lnTo>
                    <a:pt x="168" y="834"/>
                  </a:lnTo>
                  <a:lnTo>
                    <a:pt x="174" y="840"/>
                  </a:lnTo>
                  <a:lnTo>
                    <a:pt x="180" y="840"/>
                  </a:lnTo>
                  <a:lnTo>
                    <a:pt x="180" y="846"/>
                  </a:lnTo>
                  <a:lnTo>
                    <a:pt x="186" y="846"/>
                  </a:lnTo>
                  <a:lnTo>
                    <a:pt x="186" y="852"/>
                  </a:lnTo>
                  <a:lnTo>
                    <a:pt x="186" y="858"/>
                  </a:lnTo>
                  <a:lnTo>
                    <a:pt x="186" y="864"/>
                  </a:lnTo>
                  <a:lnTo>
                    <a:pt x="192" y="864"/>
                  </a:lnTo>
                  <a:lnTo>
                    <a:pt x="192" y="870"/>
                  </a:lnTo>
                  <a:lnTo>
                    <a:pt x="192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6" y="888"/>
                  </a:lnTo>
                  <a:lnTo>
                    <a:pt x="180" y="888"/>
                  </a:lnTo>
                  <a:lnTo>
                    <a:pt x="174" y="888"/>
                  </a:lnTo>
                  <a:lnTo>
                    <a:pt x="168" y="894"/>
                  </a:lnTo>
                  <a:lnTo>
                    <a:pt x="162" y="894"/>
                  </a:lnTo>
                  <a:lnTo>
                    <a:pt x="156" y="894"/>
                  </a:lnTo>
                  <a:lnTo>
                    <a:pt x="150" y="894"/>
                  </a:lnTo>
                  <a:lnTo>
                    <a:pt x="144" y="894"/>
                  </a:lnTo>
                  <a:lnTo>
                    <a:pt x="144" y="900"/>
                  </a:lnTo>
                  <a:lnTo>
                    <a:pt x="138" y="894"/>
                  </a:lnTo>
                  <a:lnTo>
                    <a:pt x="138" y="900"/>
                  </a:lnTo>
                  <a:lnTo>
                    <a:pt x="132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6" y="882"/>
                  </a:lnTo>
                  <a:lnTo>
                    <a:pt x="126" y="876"/>
                  </a:lnTo>
                  <a:lnTo>
                    <a:pt x="120" y="876"/>
                  </a:lnTo>
                  <a:lnTo>
                    <a:pt x="126" y="870"/>
                  </a:lnTo>
                  <a:lnTo>
                    <a:pt x="126" y="864"/>
                  </a:lnTo>
                  <a:lnTo>
                    <a:pt x="126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26" y="828"/>
                  </a:lnTo>
                  <a:lnTo>
                    <a:pt x="126" y="822"/>
                  </a:lnTo>
                  <a:lnTo>
                    <a:pt x="126" y="816"/>
                  </a:lnTo>
                  <a:lnTo>
                    <a:pt x="126" y="810"/>
                  </a:lnTo>
                  <a:lnTo>
                    <a:pt x="126" y="804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20" y="792"/>
                  </a:lnTo>
                  <a:lnTo>
                    <a:pt x="114" y="792"/>
                  </a:lnTo>
                  <a:lnTo>
                    <a:pt x="114" y="786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96" y="780"/>
                  </a:lnTo>
                  <a:lnTo>
                    <a:pt x="96" y="774"/>
                  </a:lnTo>
                  <a:lnTo>
                    <a:pt x="90" y="774"/>
                  </a:lnTo>
                  <a:lnTo>
                    <a:pt x="90" y="768"/>
                  </a:lnTo>
                  <a:close/>
                  <a:moveTo>
                    <a:pt x="96" y="780"/>
                  </a:moveTo>
                  <a:lnTo>
                    <a:pt x="102" y="780"/>
                  </a:lnTo>
                  <a:lnTo>
                    <a:pt x="102" y="786"/>
                  </a:lnTo>
                  <a:lnTo>
                    <a:pt x="108" y="786"/>
                  </a:lnTo>
                  <a:lnTo>
                    <a:pt x="114" y="792"/>
                  </a:lnTo>
                  <a:lnTo>
                    <a:pt x="120" y="798"/>
                  </a:lnTo>
                  <a:lnTo>
                    <a:pt x="120" y="804"/>
                  </a:lnTo>
                  <a:lnTo>
                    <a:pt x="126" y="810"/>
                  </a:lnTo>
                  <a:lnTo>
                    <a:pt x="126" y="816"/>
                  </a:lnTo>
                  <a:lnTo>
                    <a:pt x="126" y="822"/>
                  </a:lnTo>
                  <a:lnTo>
                    <a:pt x="120" y="828"/>
                  </a:lnTo>
                  <a:lnTo>
                    <a:pt x="120" y="840"/>
                  </a:lnTo>
                  <a:lnTo>
                    <a:pt x="120" y="852"/>
                  </a:lnTo>
                  <a:lnTo>
                    <a:pt x="120" y="858"/>
                  </a:lnTo>
                  <a:lnTo>
                    <a:pt x="120" y="864"/>
                  </a:lnTo>
                  <a:lnTo>
                    <a:pt x="120" y="870"/>
                  </a:lnTo>
                  <a:lnTo>
                    <a:pt x="114" y="870"/>
                  </a:lnTo>
                  <a:lnTo>
                    <a:pt x="108" y="870"/>
                  </a:lnTo>
                  <a:lnTo>
                    <a:pt x="108" y="876"/>
                  </a:lnTo>
                  <a:lnTo>
                    <a:pt x="114" y="876"/>
                  </a:lnTo>
                  <a:lnTo>
                    <a:pt x="120" y="876"/>
                  </a:lnTo>
                  <a:lnTo>
                    <a:pt x="120" y="882"/>
                  </a:lnTo>
                  <a:lnTo>
                    <a:pt x="114" y="888"/>
                  </a:lnTo>
                  <a:lnTo>
                    <a:pt x="120" y="888"/>
                  </a:lnTo>
                  <a:lnTo>
                    <a:pt x="120" y="894"/>
                  </a:lnTo>
                  <a:lnTo>
                    <a:pt x="114" y="894"/>
                  </a:lnTo>
                  <a:lnTo>
                    <a:pt x="108" y="894"/>
                  </a:lnTo>
                  <a:lnTo>
                    <a:pt x="96" y="894"/>
                  </a:lnTo>
                  <a:lnTo>
                    <a:pt x="96" y="882"/>
                  </a:lnTo>
                  <a:lnTo>
                    <a:pt x="96" y="876"/>
                  </a:lnTo>
                  <a:lnTo>
                    <a:pt x="84" y="870"/>
                  </a:lnTo>
                  <a:lnTo>
                    <a:pt x="72" y="864"/>
                  </a:lnTo>
                  <a:lnTo>
                    <a:pt x="72" y="852"/>
                  </a:lnTo>
                  <a:lnTo>
                    <a:pt x="72" y="840"/>
                  </a:lnTo>
                  <a:lnTo>
                    <a:pt x="78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90" y="792"/>
                  </a:lnTo>
                  <a:lnTo>
                    <a:pt x="96" y="780"/>
                  </a:lnTo>
                  <a:close/>
                  <a:moveTo>
                    <a:pt x="492" y="810"/>
                  </a:moveTo>
                  <a:lnTo>
                    <a:pt x="498" y="810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510" y="792"/>
                  </a:lnTo>
                  <a:lnTo>
                    <a:pt x="516" y="786"/>
                  </a:lnTo>
                  <a:lnTo>
                    <a:pt x="522" y="780"/>
                  </a:lnTo>
                  <a:lnTo>
                    <a:pt x="522" y="774"/>
                  </a:lnTo>
                  <a:lnTo>
                    <a:pt x="528" y="768"/>
                  </a:lnTo>
                  <a:lnTo>
                    <a:pt x="528" y="762"/>
                  </a:lnTo>
                  <a:lnTo>
                    <a:pt x="534" y="762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46" y="780"/>
                  </a:lnTo>
                  <a:lnTo>
                    <a:pt x="552" y="786"/>
                  </a:lnTo>
                  <a:lnTo>
                    <a:pt x="558" y="786"/>
                  </a:lnTo>
                  <a:lnTo>
                    <a:pt x="564" y="786"/>
                  </a:lnTo>
                  <a:lnTo>
                    <a:pt x="576" y="786"/>
                  </a:lnTo>
                  <a:lnTo>
                    <a:pt x="582" y="786"/>
                  </a:lnTo>
                  <a:lnTo>
                    <a:pt x="588" y="786"/>
                  </a:lnTo>
                  <a:lnTo>
                    <a:pt x="594" y="786"/>
                  </a:lnTo>
                  <a:lnTo>
                    <a:pt x="588" y="792"/>
                  </a:lnTo>
                  <a:lnTo>
                    <a:pt x="588" y="798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82" y="822"/>
                  </a:lnTo>
                  <a:lnTo>
                    <a:pt x="588" y="828"/>
                  </a:lnTo>
                  <a:lnTo>
                    <a:pt x="588" y="834"/>
                  </a:lnTo>
                  <a:lnTo>
                    <a:pt x="582" y="840"/>
                  </a:lnTo>
                  <a:lnTo>
                    <a:pt x="570" y="840"/>
                  </a:lnTo>
                  <a:lnTo>
                    <a:pt x="558" y="846"/>
                  </a:lnTo>
                  <a:lnTo>
                    <a:pt x="552" y="846"/>
                  </a:lnTo>
                  <a:lnTo>
                    <a:pt x="534" y="852"/>
                  </a:lnTo>
                  <a:lnTo>
                    <a:pt x="522" y="858"/>
                  </a:lnTo>
                  <a:lnTo>
                    <a:pt x="510" y="858"/>
                  </a:lnTo>
                  <a:lnTo>
                    <a:pt x="498" y="864"/>
                  </a:lnTo>
                  <a:lnTo>
                    <a:pt x="474" y="864"/>
                  </a:lnTo>
                  <a:lnTo>
                    <a:pt x="468" y="858"/>
                  </a:lnTo>
                  <a:lnTo>
                    <a:pt x="468" y="852"/>
                  </a:lnTo>
                  <a:lnTo>
                    <a:pt x="468" y="846"/>
                  </a:lnTo>
                  <a:lnTo>
                    <a:pt x="474" y="840"/>
                  </a:lnTo>
                  <a:lnTo>
                    <a:pt x="474" y="834"/>
                  </a:lnTo>
                  <a:lnTo>
                    <a:pt x="480" y="828"/>
                  </a:lnTo>
                  <a:lnTo>
                    <a:pt x="492" y="822"/>
                  </a:lnTo>
                  <a:lnTo>
                    <a:pt x="492" y="810"/>
                  </a:lnTo>
                  <a:close/>
                  <a:moveTo>
                    <a:pt x="384" y="720"/>
                  </a:moveTo>
                  <a:lnTo>
                    <a:pt x="384" y="726"/>
                  </a:lnTo>
                  <a:lnTo>
                    <a:pt x="390" y="726"/>
                  </a:lnTo>
                  <a:lnTo>
                    <a:pt x="396" y="726"/>
                  </a:lnTo>
                  <a:lnTo>
                    <a:pt x="402" y="732"/>
                  </a:lnTo>
                  <a:lnTo>
                    <a:pt x="408" y="732"/>
                  </a:lnTo>
                  <a:lnTo>
                    <a:pt x="414" y="732"/>
                  </a:lnTo>
                  <a:lnTo>
                    <a:pt x="414" y="738"/>
                  </a:lnTo>
                  <a:lnTo>
                    <a:pt x="414" y="744"/>
                  </a:lnTo>
                  <a:lnTo>
                    <a:pt x="414" y="750"/>
                  </a:lnTo>
                  <a:lnTo>
                    <a:pt x="414" y="756"/>
                  </a:lnTo>
                  <a:lnTo>
                    <a:pt x="414" y="762"/>
                  </a:lnTo>
                  <a:lnTo>
                    <a:pt x="420" y="768"/>
                  </a:lnTo>
                  <a:lnTo>
                    <a:pt x="420" y="774"/>
                  </a:lnTo>
                  <a:lnTo>
                    <a:pt x="426" y="780"/>
                  </a:lnTo>
                  <a:lnTo>
                    <a:pt x="426" y="786"/>
                  </a:lnTo>
                  <a:lnTo>
                    <a:pt x="420" y="786"/>
                  </a:lnTo>
                  <a:lnTo>
                    <a:pt x="420" y="792"/>
                  </a:lnTo>
                  <a:lnTo>
                    <a:pt x="420" y="798"/>
                  </a:lnTo>
                  <a:lnTo>
                    <a:pt x="420" y="804"/>
                  </a:lnTo>
                  <a:lnTo>
                    <a:pt x="426" y="804"/>
                  </a:lnTo>
                  <a:lnTo>
                    <a:pt x="426" y="810"/>
                  </a:lnTo>
                  <a:lnTo>
                    <a:pt x="426" y="816"/>
                  </a:lnTo>
                  <a:lnTo>
                    <a:pt x="432" y="816"/>
                  </a:lnTo>
                  <a:lnTo>
                    <a:pt x="438" y="816"/>
                  </a:lnTo>
                  <a:lnTo>
                    <a:pt x="438" y="822"/>
                  </a:lnTo>
                  <a:lnTo>
                    <a:pt x="432" y="822"/>
                  </a:lnTo>
                  <a:lnTo>
                    <a:pt x="426" y="828"/>
                  </a:lnTo>
                  <a:lnTo>
                    <a:pt x="420" y="828"/>
                  </a:lnTo>
                  <a:lnTo>
                    <a:pt x="414" y="828"/>
                  </a:lnTo>
                  <a:lnTo>
                    <a:pt x="408" y="828"/>
                  </a:lnTo>
                  <a:lnTo>
                    <a:pt x="402" y="828"/>
                  </a:lnTo>
                  <a:lnTo>
                    <a:pt x="402" y="822"/>
                  </a:lnTo>
                  <a:lnTo>
                    <a:pt x="396" y="822"/>
                  </a:lnTo>
                  <a:lnTo>
                    <a:pt x="402" y="822"/>
                  </a:lnTo>
                  <a:lnTo>
                    <a:pt x="402" y="816"/>
                  </a:lnTo>
                  <a:lnTo>
                    <a:pt x="396" y="816"/>
                  </a:lnTo>
                  <a:lnTo>
                    <a:pt x="396" y="810"/>
                  </a:lnTo>
                  <a:lnTo>
                    <a:pt x="396" y="804"/>
                  </a:lnTo>
                  <a:lnTo>
                    <a:pt x="390" y="798"/>
                  </a:lnTo>
                  <a:lnTo>
                    <a:pt x="390" y="792"/>
                  </a:lnTo>
                  <a:lnTo>
                    <a:pt x="390" y="786"/>
                  </a:lnTo>
                  <a:lnTo>
                    <a:pt x="390" y="780"/>
                  </a:lnTo>
                  <a:lnTo>
                    <a:pt x="390" y="774"/>
                  </a:lnTo>
                  <a:lnTo>
                    <a:pt x="390" y="768"/>
                  </a:lnTo>
                  <a:lnTo>
                    <a:pt x="390" y="762"/>
                  </a:lnTo>
                  <a:lnTo>
                    <a:pt x="384" y="756"/>
                  </a:lnTo>
                  <a:lnTo>
                    <a:pt x="384" y="750"/>
                  </a:lnTo>
                  <a:lnTo>
                    <a:pt x="384" y="744"/>
                  </a:lnTo>
                  <a:lnTo>
                    <a:pt x="378" y="744"/>
                  </a:lnTo>
                  <a:lnTo>
                    <a:pt x="384" y="744"/>
                  </a:lnTo>
                  <a:lnTo>
                    <a:pt x="384" y="738"/>
                  </a:lnTo>
                  <a:lnTo>
                    <a:pt x="378" y="738"/>
                  </a:lnTo>
                  <a:lnTo>
                    <a:pt x="378" y="732"/>
                  </a:lnTo>
                  <a:lnTo>
                    <a:pt x="378" y="726"/>
                  </a:lnTo>
                  <a:lnTo>
                    <a:pt x="378" y="720"/>
                  </a:lnTo>
                  <a:lnTo>
                    <a:pt x="384" y="720"/>
                  </a:lnTo>
                  <a:close/>
                  <a:moveTo>
                    <a:pt x="330" y="738"/>
                  </a:moveTo>
                  <a:lnTo>
                    <a:pt x="336" y="732"/>
                  </a:lnTo>
                  <a:lnTo>
                    <a:pt x="336" y="726"/>
                  </a:lnTo>
                  <a:lnTo>
                    <a:pt x="342" y="720"/>
                  </a:lnTo>
                  <a:lnTo>
                    <a:pt x="348" y="720"/>
                  </a:lnTo>
                  <a:lnTo>
                    <a:pt x="360" y="720"/>
                  </a:lnTo>
                  <a:lnTo>
                    <a:pt x="366" y="726"/>
                  </a:lnTo>
                  <a:lnTo>
                    <a:pt x="372" y="732"/>
                  </a:lnTo>
                  <a:lnTo>
                    <a:pt x="372" y="738"/>
                  </a:lnTo>
                  <a:lnTo>
                    <a:pt x="366" y="750"/>
                  </a:lnTo>
                  <a:lnTo>
                    <a:pt x="372" y="756"/>
                  </a:lnTo>
                  <a:lnTo>
                    <a:pt x="372" y="762"/>
                  </a:lnTo>
                  <a:lnTo>
                    <a:pt x="372" y="768"/>
                  </a:lnTo>
                  <a:lnTo>
                    <a:pt x="372" y="774"/>
                  </a:lnTo>
                  <a:lnTo>
                    <a:pt x="372" y="780"/>
                  </a:lnTo>
                  <a:lnTo>
                    <a:pt x="372" y="774"/>
                  </a:lnTo>
                  <a:lnTo>
                    <a:pt x="366" y="768"/>
                  </a:lnTo>
                  <a:lnTo>
                    <a:pt x="366" y="762"/>
                  </a:lnTo>
                  <a:lnTo>
                    <a:pt x="366" y="756"/>
                  </a:lnTo>
                  <a:lnTo>
                    <a:pt x="360" y="756"/>
                  </a:lnTo>
                  <a:lnTo>
                    <a:pt x="360" y="750"/>
                  </a:lnTo>
                  <a:lnTo>
                    <a:pt x="354" y="750"/>
                  </a:lnTo>
                  <a:lnTo>
                    <a:pt x="348" y="744"/>
                  </a:lnTo>
                  <a:lnTo>
                    <a:pt x="342" y="744"/>
                  </a:lnTo>
                  <a:lnTo>
                    <a:pt x="336" y="744"/>
                  </a:lnTo>
                  <a:lnTo>
                    <a:pt x="330" y="73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01" name="Freeform 6">
              <a:extLst>
                <a:ext uri="{FF2B5EF4-FFF2-40B4-BE49-F238E27FC236}">
                  <a16:creationId xmlns:a16="http://schemas.microsoft.com/office/drawing/2014/main" id="{0656C385-F30A-4AC8-AE9F-B1F66208B38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3123" y="4163918"/>
              <a:ext cx="266107" cy="248252"/>
            </a:xfrm>
            <a:custGeom>
              <a:avLst/>
              <a:gdLst>
                <a:gd name="T0" fmla="*/ 33 w 504"/>
                <a:gd name="T1" fmla="*/ 41 h 468"/>
                <a:gd name="T2" fmla="*/ 26 w 504"/>
                <a:gd name="T3" fmla="*/ 39 h 468"/>
                <a:gd name="T4" fmla="*/ 21 w 504"/>
                <a:gd name="T5" fmla="*/ 38 h 468"/>
                <a:gd name="T6" fmla="*/ 18 w 504"/>
                <a:gd name="T7" fmla="*/ 38 h 468"/>
                <a:gd name="T8" fmla="*/ 15 w 504"/>
                <a:gd name="T9" fmla="*/ 39 h 468"/>
                <a:gd name="T10" fmla="*/ 12 w 504"/>
                <a:gd name="T11" fmla="*/ 38 h 468"/>
                <a:gd name="T12" fmla="*/ 9 w 504"/>
                <a:gd name="T13" fmla="*/ 37 h 468"/>
                <a:gd name="T14" fmla="*/ 7 w 504"/>
                <a:gd name="T15" fmla="*/ 32 h 468"/>
                <a:gd name="T16" fmla="*/ 6 w 504"/>
                <a:gd name="T17" fmla="*/ 26 h 468"/>
                <a:gd name="T18" fmla="*/ 3 w 504"/>
                <a:gd name="T19" fmla="*/ 24 h 468"/>
                <a:gd name="T20" fmla="*/ 1 w 504"/>
                <a:gd name="T21" fmla="*/ 24 h 468"/>
                <a:gd name="T22" fmla="*/ 2 w 504"/>
                <a:gd name="T23" fmla="*/ 18 h 468"/>
                <a:gd name="T24" fmla="*/ 1 w 504"/>
                <a:gd name="T25" fmla="*/ 17 h 468"/>
                <a:gd name="T26" fmla="*/ 0 w 504"/>
                <a:gd name="T27" fmla="*/ 17 h 468"/>
                <a:gd name="T28" fmla="*/ 0 w 504"/>
                <a:gd name="T29" fmla="*/ 15 h 468"/>
                <a:gd name="T30" fmla="*/ 2 w 504"/>
                <a:gd name="T31" fmla="*/ 12 h 468"/>
                <a:gd name="T32" fmla="*/ 4 w 504"/>
                <a:gd name="T33" fmla="*/ 10 h 468"/>
                <a:gd name="T34" fmla="*/ 6 w 504"/>
                <a:gd name="T35" fmla="*/ 8 h 468"/>
                <a:gd name="T36" fmla="*/ 8 w 504"/>
                <a:gd name="T37" fmla="*/ 8 h 468"/>
                <a:gd name="T38" fmla="*/ 10 w 504"/>
                <a:gd name="T39" fmla="*/ 9 h 468"/>
                <a:gd name="T40" fmla="*/ 12 w 504"/>
                <a:gd name="T41" fmla="*/ 10 h 468"/>
                <a:gd name="T42" fmla="*/ 12 w 504"/>
                <a:gd name="T43" fmla="*/ 11 h 468"/>
                <a:gd name="T44" fmla="*/ 14 w 504"/>
                <a:gd name="T45" fmla="*/ 8 h 468"/>
                <a:gd name="T46" fmla="*/ 15 w 504"/>
                <a:gd name="T47" fmla="*/ 7 h 468"/>
                <a:gd name="T48" fmla="*/ 17 w 504"/>
                <a:gd name="T49" fmla="*/ 6 h 468"/>
                <a:gd name="T50" fmla="*/ 19 w 504"/>
                <a:gd name="T51" fmla="*/ 3 h 468"/>
                <a:gd name="T52" fmla="*/ 20 w 504"/>
                <a:gd name="T53" fmla="*/ 2 h 468"/>
                <a:gd name="T54" fmla="*/ 22 w 504"/>
                <a:gd name="T55" fmla="*/ 1 h 468"/>
                <a:gd name="T56" fmla="*/ 27 w 504"/>
                <a:gd name="T57" fmla="*/ 1 h 468"/>
                <a:gd name="T58" fmla="*/ 30 w 504"/>
                <a:gd name="T59" fmla="*/ 2 h 468"/>
                <a:gd name="T60" fmla="*/ 31 w 504"/>
                <a:gd name="T61" fmla="*/ 2 h 468"/>
                <a:gd name="T62" fmla="*/ 34 w 504"/>
                <a:gd name="T63" fmla="*/ 0 h 468"/>
                <a:gd name="T64" fmla="*/ 37 w 504"/>
                <a:gd name="T65" fmla="*/ 1 h 468"/>
                <a:gd name="T66" fmla="*/ 41 w 504"/>
                <a:gd name="T67" fmla="*/ 2 h 468"/>
                <a:gd name="T68" fmla="*/ 42 w 504"/>
                <a:gd name="T69" fmla="*/ 4 h 468"/>
                <a:gd name="T70" fmla="*/ 42 w 504"/>
                <a:gd name="T71" fmla="*/ 10 h 468"/>
                <a:gd name="T72" fmla="*/ 41 w 504"/>
                <a:gd name="T73" fmla="*/ 14 h 468"/>
                <a:gd name="T74" fmla="*/ 42 w 504"/>
                <a:gd name="T75" fmla="*/ 15 h 468"/>
                <a:gd name="T76" fmla="*/ 44 w 504"/>
                <a:gd name="T77" fmla="*/ 18 h 468"/>
                <a:gd name="T78" fmla="*/ 43 w 504"/>
                <a:gd name="T79" fmla="*/ 19 h 468"/>
                <a:gd name="T80" fmla="*/ 42 w 504"/>
                <a:gd name="T81" fmla="*/ 21 h 468"/>
                <a:gd name="T82" fmla="*/ 42 w 504"/>
                <a:gd name="T83" fmla="*/ 23 h 468"/>
                <a:gd name="T84" fmla="*/ 39 w 504"/>
                <a:gd name="T85" fmla="*/ 27 h 468"/>
                <a:gd name="T86" fmla="*/ 38 w 504"/>
                <a:gd name="T87" fmla="*/ 29 h 468"/>
                <a:gd name="T88" fmla="*/ 38 w 504"/>
                <a:gd name="T89" fmla="*/ 31 h 468"/>
                <a:gd name="T90" fmla="*/ 36 w 504"/>
                <a:gd name="T91" fmla="*/ 32 h 468"/>
                <a:gd name="T92" fmla="*/ 35 w 504"/>
                <a:gd name="T93" fmla="*/ 34 h 468"/>
                <a:gd name="T94" fmla="*/ 34 w 504"/>
                <a:gd name="T95" fmla="*/ 38 h 46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04"/>
                <a:gd name="T145" fmla="*/ 0 h 468"/>
                <a:gd name="T146" fmla="*/ 504 w 504"/>
                <a:gd name="T147" fmla="*/ 468 h 46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04" h="468">
                  <a:moveTo>
                    <a:pt x="390" y="456"/>
                  </a:moveTo>
                  <a:lnTo>
                    <a:pt x="384" y="468"/>
                  </a:lnTo>
                  <a:lnTo>
                    <a:pt x="378" y="468"/>
                  </a:lnTo>
                  <a:lnTo>
                    <a:pt x="354" y="468"/>
                  </a:lnTo>
                  <a:lnTo>
                    <a:pt x="348" y="462"/>
                  </a:lnTo>
                  <a:lnTo>
                    <a:pt x="300" y="456"/>
                  </a:lnTo>
                  <a:lnTo>
                    <a:pt x="270" y="444"/>
                  </a:lnTo>
                  <a:lnTo>
                    <a:pt x="252" y="438"/>
                  </a:lnTo>
                  <a:lnTo>
                    <a:pt x="240" y="438"/>
                  </a:lnTo>
                  <a:lnTo>
                    <a:pt x="234" y="438"/>
                  </a:lnTo>
                  <a:lnTo>
                    <a:pt x="228" y="444"/>
                  </a:lnTo>
                  <a:lnTo>
                    <a:pt x="210" y="444"/>
                  </a:lnTo>
                  <a:lnTo>
                    <a:pt x="198" y="444"/>
                  </a:lnTo>
                  <a:lnTo>
                    <a:pt x="198" y="450"/>
                  </a:lnTo>
                  <a:lnTo>
                    <a:pt x="168" y="456"/>
                  </a:lnTo>
                  <a:lnTo>
                    <a:pt x="150" y="450"/>
                  </a:lnTo>
                  <a:lnTo>
                    <a:pt x="144" y="444"/>
                  </a:lnTo>
                  <a:lnTo>
                    <a:pt x="132" y="438"/>
                  </a:lnTo>
                  <a:lnTo>
                    <a:pt x="138" y="432"/>
                  </a:lnTo>
                  <a:lnTo>
                    <a:pt x="114" y="432"/>
                  </a:lnTo>
                  <a:lnTo>
                    <a:pt x="102" y="426"/>
                  </a:lnTo>
                  <a:lnTo>
                    <a:pt x="90" y="414"/>
                  </a:lnTo>
                  <a:lnTo>
                    <a:pt x="72" y="402"/>
                  </a:lnTo>
                  <a:lnTo>
                    <a:pt x="78" y="366"/>
                  </a:lnTo>
                  <a:lnTo>
                    <a:pt x="78" y="330"/>
                  </a:lnTo>
                  <a:lnTo>
                    <a:pt x="66" y="318"/>
                  </a:lnTo>
                  <a:lnTo>
                    <a:pt x="66" y="300"/>
                  </a:lnTo>
                  <a:lnTo>
                    <a:pt x="66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30" y="282"/>
                  </a:lnTo>
                  <a:lnTo>
                    <a:pt x="24" y="282"/>
                  </a:lnTo>
                  <a:lnTo>
                    <a:pt x="12" y="276"/>
                  </a:lnTo>
                  <a:lnTo>
                    <a:pt x="0" y="282"/>
                  </a:lnTo>
                  <a:lnTo>
                    <a:pt x="12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2" y="198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6" y="180"/>
                  </a:lnTo>
                  <a:lnTo>
                    <a:pt x="12" y="186"/>
                  </a:lnTo>
                  <a:lnTo>
                    <a:pt x="18" y="138"/>
                  </a:lnTo>
                  <a:lnTo>
                    <a:pt x="24" y="126"/>
                  </a:lnTo>
                  <a:lnTo>
                    <a:pt x="30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20" y="102"/>
                  </a:lnTo>
                  <a:lnTo>
                    <a:pt x="126" y="108"/>
                  </a:lnTo>
                  <a:lnTo>
                    <a:pt x="126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0"/>
                  </a:lnTo>
                  <a:lnTo>
                    <a:pt x="156" y="96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16" y="42"/>
                  </a:lnTo>
                  <a:lnTo>
                    <a:pt x="222" y="36"/>
                  </a:lnTo>
                  <a:lnTo>
                    <a:pt x="228" y="36"/>
                  </a:lnTo>
                  <a:lnTo>
                    <a:pt x="228" y="30"/>
                  </a:lnTo>
                  <a:lnTo>
                    <a:pt x="228" y="24"/>
                  </a:lnTo>
                  <a:lnTo>
                    <a:pt x="246" y="18"/>
                  </a:lnTo>
                  <a:lnTo>
                    <a:pt x="252" y="18"/>
                  </a:lnTo>
                  <a:lnTo>
                    <a:pt x="258" y="12"/>
                  </a:lnTo>
                  <a:lnTo>
                    <a:pt x="270" y="6"/>
                  </a:lnTo>
                  <a:lnTo>
                    <a:pt x="288" y="6"/>
                  </a:lnTo>
                  <a:lnTo>
                    <a:pt x="312" y="12"/>
                  </a:lnTo>
                  <a:lnTo>
                    <a:pt x="324" y="12"/>
                  </a:lnTo>
                  <a:lnTo>
                    <a:pt x="336" y="18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14" y="12"/>
                  </a:lnTo>
                  <a:lnTo>
                    <a:pt x="426" y="12"/>
                  </a:lnTo>
                  <a:lnTo>
                    <a:pt x="444" y="18"/>
                  </a:lnTo>
                  <a:lnTo>
                    <a:pt x="462" y="18"/>
                  </a:lnTo>
                  <a:lnTo>
                    <a:pt x="474" y="18"/>
                  </a:lnTo>
                  <a:lnTo>
                    <a:pt x="480" y="18"/>
                  </a:lnTo>
                  <a:lnTo>
                    <a:pt x="486" y="36"/>
                  </a:lnTo>
                  <a:lnTo>
                    <a:pt x="480" y="42"/>
                  </a:lnTo>
                  <a:lnTo>
                    <a:pt x="480" y="54"/>
                  </a:lnTo>
                  <a:lnTo>
                    <a:pt x="486" y="78"/>
                  </a:lnTo>
                  <a:lnTo>
                    <a:pt x="486" y="114"/>
                  </a:lnTo>
                  <a:lnTo>
                    <a:pt x="486" y="150"/>
                  </a:lnTo>
                  <a:lnTo>
                    <a:pt x="468" y="150"/>
                  </a:lnTo>
                  <a:lnTo>
                    <a:pt x="474" y="162"/>
                  </a:lnTo>
                  <a:lnTo>
                    <a:pt x="480" y="162"/>
                  </a:lnTo>
                  <a:lnTo>
                    <a:pt x="486" y="174"/>
                  </a:lnTo>
                  <a:lnTo>
                    <a:pt x="492" y="174"/>
                  </a:lnTo>
                  <a:lnTo>
                    <a:pt x="492" y="192"/>
                  </a:lnTo>
                  <a:lnTo>
                    <a:pt x="498" y="198"/>
                  </a:lnTo>
                  <a:lnTo>
                    <a:pt x="504" y="204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8" y="222"/>
                  </a:lnTo>
                  <a:lnTo>
                    <a:pt x="492" y="228"/>
                  </a:lnTo>
                  <a:lnTo>
                    <a:pt x="492" y="234"/>
                  </a:lnTo>
                  <a:lnTo>
                    <a:pt x="492" y="240"/>
                  </a:lnTo>
                  <a:lnTo>
                    <a:pt x="486" y="246"/>
                  </a:lnTo>
                  <a:lnTo>
                    <a:pt x="486" y="258"/>
                  </a:lnTo>
                  <a:lnTo>
                    <a:pt x="480" y="264"/>
                  </a:lnTo>
                  <a:lnTo>
                    <a:pt x="474" y="276"/>
                  </a:lnTo>
                  <a:lnTo>
                    <a:pt x="468" y="288"/>
                  </a:lnTo>
                  <a:lnTo>
                    <a:pt x="456" y="306"/>
                  </a:lnTo>
                  <a:lnTo>
                    <a:pt x="456" y="312"/>
                  </a:lnTo>
                  <a:lnTo>
                    <a:pt x="444" y="318"/>
                  </a:lnTo>
                  <a:lnTo>
                    <a:pt x="432" y="336"/>
                  </a:lnTo>
                  <a:lnTo>
                    <a:pt x="432" y="342"/>
                  </a:lnTo>
                  <a:lnTo>
                    <a:pt x="432" y="348"/>
                  </a:lnTo>
                  <a:lnTo>
                    <a:pt x="432" y="354"/>
                  </a:lnTo>
                  <a:lnTo>
                    <a:pt x="426" y="366"/>
                  </a:lnTo>
                  <a:lnTo>
                    <a:pt x="420" y="366"/>
                  </a:lnTo>
                  <a:lnTo>
                    <a:pt x="420" y="372"/>
                  </a:lnTo>
                  <a:lnTo>
                    <a:pt x="414" y="378"/>
                  </a:lnTo>
                  <a:lnTo>
                    <a:pt x="414" y="390"/>
                  </a:lnTo>
                  <a:lnTo>
                    <a:pt x="408" y="390"/>
                  </a:lnTo>
                  <a:lnTo>
                    <a:pt x="408" y="402"/>
                  </a:lnTo>
                  <a:lnTo>
                    <a:pt x="402" y="414"/>
                  </a:lnTo>
                  <a:lnTo>
                    <a:pt x="396" y="438"/>
                  </a:lnTo>
                  <a:lnTo>
                    <a:pt x="396" y="444"/>
                  </a:lnTo>
                  <a:lnTo>
                    <a:pt x="390" y="45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11" name="Freeform 7">
              <a:extLst>
                <a:ext uri="{FF2B5EF4-FFF2-40B4-BE49-F238E27FC236}">
                  <a16:creationId xmlns:a16="http://schemas.microsoft.com/office/drawing/2014/main" id="{0D8DE62D-4554-4314-9F3A-7208D89B4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90838" y="4128134"/>
              <a:ext cx="283995" cy="411516"/>
            </a:xfrm>
            <a:custGeom>
              <a:avLst/>
              <a:gdLst>
                <a:gd name="T0" fmla="*/ 39 w 534"/>
                <a:gd name="T1" fmla="*/ 35 h 774"/>
                <a:gd name="T2" fmla="*/ 35 w 534"/>
                <a:gd name="T3" fmla="*/ 31 h 774"/>
                <a:gd name="T4" fmla="*/ 32 w 534"/>
                <a:gd name="T5" fmla="*/ 29 h 774"/>
                <a:gd name="T6" fmla="*/ 32 w 534"/>
                <a:gd name="T7" fmla="*/ 31 h 774"/>
                <a:gd name="T8" fmla="*/ 29 w 534"/>
                <a:gd name="T9" fmla="*/ 33 h 774"/>
                <a:gd name="T10" fmla="*/ 27 w 534"/>
                <a:gd name="T11" fmla="*/ 36 h 774"/>
                <a:gd name="T12" fmla="*/ 30 w 534"/>
                <a:gd name="T13" fmla="*/ 38 h 774"/>
                <a:gd name="T14" fmla="*/ 29 w 534"/>
                <a:gd name="T15" fmla="*/ 40 h 774"/>
                <a:gd name="T16" fmla="*/ 25 w 534"/>
                <a:gd name="T17" fmla="*/ 40 h 774"/>
                <a:gd name="T18" fmla="*/ 23 w 534"/>
                <a:gd name="T19" fmla="*/ 42 h 774"/>
                <a:gd name="T20" fmla="*/ 22 w 534"/>
                <a:gd name="T21" fmla="*/ 47 h 774"/>
                <a:gd name="T22" fmla="*/ 22 w 534"/>
                <a:gd name="T23" fmla="*/ 51 h 774"/>
                <a:gd name="T24" fmla="*/ 22 w 534"/>
                <a:gd name="T25" fmla="*/ 54 h 774"/>
                <a:gd name="T26" fmla="*/ 21 w 534"/>
                <a:gd name="T27" fmla="*/ 56 h 774"/>
                <a:gd name="T28" fmla="*/ 19 w 534"/>
                <a:gd name="T29" fmla="*/ 58 h 774"/>
                <a:gd name="T30" fmla="*/ 20 w 534"/>
                <a:gd name="T31" fmla="*/ 59 h 774"/>
                <a:gd name="T32" fmla="*/ 19 w 534"/>
                <a:gd name="T33" fmla="*/ 62 h 774"/>
                <a:gd name="T34" fmla="*/ 19 w 534"/>
                <a:gd name="T35" fmla="*/ 64 h 774"/>
                <a:gd name="T36" fmla="*/ 20 w 534"/>
                <a:gd name="T37" fmla="*/ 66 h 774"/>
                <a:gd name="T38" fmla="*/ 17 w 534"/>
                <a:gd name="T39" fmla="*/ 66 h 774"/>
                <a:gd name="T40" fmla="*/ 16 w 534"/>
                <a:gd name="T41" fmla="*/ 65 h 774"/>
                <a:gd name="T42" fmla="*/ 13 w 534"/>
                <a:gd name="T43" fmla="*/ 65 h 774"/>
                <a:gd name="T44" fmla="*/ 11 w 534"/>
                <a:gd name="T45" fmla="*/ 65 h 774"/>
                <a:gd name="T46" fmla="*/ 8 w 534"/>
                <a:gd name="T47" fmla="*/ 65 h 774"/>
                <a:gd name="T48" fmla="*/ 8 w 534"/>
                <a:gd name="T49" fmla="*/ 64 h 774"/>
                <a:gd name="T50" fmla="*/ 5 w 534"/>
                <a:gd name="T51" fmla="*/ 65 h 774"/>
                <a:gd name="T52" fmla="*/ 3 w 534"/>
                <a:gd name="T53" fmla="*/ 65 h 774"/>
                <a:gd name="T54" fmla="*/ 0 w 534"/>
                <a:gd name="T55" fmla="*/ 64 h 774"/>
                <a:gd name="T56" fmla="*/ 0 w 534"/>
                <a:gd name="T57" fmla="*/ 62 h 774"/>
                <a:gd name="T58" fmla="*/ 3 w 534"/>
                <a:gd name="T59" fmla="*/ 60 h 774"/>
                <a:gd name="T60" fmla="*/ 6 w 534"/>
                <a:gd name="T61" fmla="*/ 57 h 774"/>
                <a:gd name="T62" fmla="*/ 8 w 534"/>
                <a:gd name="T63" fmla="*/ 50 h 774"/>
                <a:gd name="T64" fmla="*/ 6 w 534"/>
                <a:gd name="T65" fmla="*/ 45 h 774"/>
                <a:gd name="T66" fmla="*/ 8 w 534"/>
                <a:gd name="T67" fmla="*/ 41 h 774"/>
                <a:gd name="T68" fmla="*/ 9 w 534"/>
                <a:gd name="T69" fmla="*/ 38 h 774"/>
                <a:gd name="T70" fmla="*/ 10 w 534"/>
                <a:gd name="T71" fmla="*/ 36 h 774"/>
                <a:gd name="T72" fmla="*/ 12 w 534"/>
                <a:gd name="T73" fmla="*/ 33 h 774"/>
                <a:gd name="T74" fmla="*/ 14 w 534"/>
                <a:gd name="T75" fmla="*/ 29 h 774"/>
                <a:gd name="T76" fmla="*/ 16 w 534"/>
                <a:gd name="T77" fmla="*/ 26 h 774"/>
                <a:gd name="T78" fmla="*/ 16 w 534"/>
                <a:gd name="T79" fmla="*/ 24 h 774"/>
                <a:gd name="T80" fmla="*/ 16 w 534"/>
                <a:gd name="T81" fmla="*/ 21 h 774"/>
                <a:gd name="T82" fmla="*/ 13 w 534"/>
                <a:gd name="T83" fmla="*/ 19 h 774"/>
                <a:gd name="T84" fmla="*/ 14 w 534"/>
                <a:gd name="T85" fmla="*/ 10 h 774"/>
                <a:gd name="T86" fmla="*/ 14 w 534"/>
                <a:gd name="T87" fmla="*/ 7 h 774"/>
                <a:gd name="T88" fmla="*/ 8 w 534"/>
                <a:gd name="T89" fmla="*/ 7 h 774"/>
                <a:gd name="T90" fmla="*/ 7 w 534"/>
                <a:gd name="T91" fmla="*/ 3 h 774"/>
                <a:gd name="T92" fmla="*/ 11 w 534"/>
                <a:gd name="T93" fmla="*/ 1 h 774"/>
                <a:gd name="T94" fmla="*/ 12 w 534"/>
                <a:gd name="T95" fmla="*/ 0 h 774"/>
                <a:gd name="T96" fmla="*/ 16 w 534"/>
                <a:gd name="T97" fmla="*/ 2 h 774"/>
                <a:gd name="T98" fmla="*/ 20 w 534"/>
                <a:gd name="T99" fmla="*/ 2 h 774"/>
                <a:gd name="T100" fmla="*/ 23 w 534"/>
                <a:gd name="T101" fmla="*/ 3 h 774"/>
                <a:gd name="T102" fmla="*/ 23 w 534"/>
                <a:gd name="T103" fmla="*/ 10 h 774"/>
                <a:gd name="T104" fmla="*/ 29 w 534"/>
                <a:gd name="T105" fmla="*/ 12 h 774"/>
                <a:gd name="T106" fmla="*/ 35 w 534"/>
                <a:gd name="T107" fmla="*/ 12 h 774"/>
                <a:gd name="T108" fmla="*/ 38 w 534"/>
                <a:gd name="T109" fmla="*/ 17 h 774"/>
                <a:gd name="T110" fmla="*/ 40 w 534"/>
                <a:gd name="T111" fmla="*/ 19 h 774"/>
                <a:gd name="T112" fmla="*/ 44 w 534"/>
                <a:gd name="T113" fmla="*/ 23 h 774"/>
                <a:gd name="T114" fmla="*/ 44 w 534"/>
                <a:gd name="T115" fmla="*/ 30 h 774"/>
                <a:gd name="T116" fmla="*/ 46 w 534"/>
                <a:gd name="T117" fmla="*/ 36 h 774"/>
                <a:gd name="T118" fmla="*/ 41 w 534"/>
                <a:gd name="T119" fmla="*/ 37 h 77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34"/>
                <a:gd name="T181" fmla="*/ 0 h 774"/>
                <a:gd name="T182" fmla="*/ 534 w 534"/>
                <a:gd name="T183" fmla="*/ 774 h 77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34" h="774">
                  <a:moveTo>
                    <a:pt x="462" y="426"/>
                  </a:moveTo>
                  <a:lnTo>
                    <a:pt x="462" y="414"/>
                  </a:lnTo>
                  <a:lnTo>
                    <a:pt x="450" y="402"/>
                  </a:lnTo>
                  <a:lnTo>
                    <a:pt x="444" y="396"/>
                  </a:lnTo>
                  <a:lnTo>
                    <a:pt x="420" y="396"/>
                  </a:lnTo>
                  <a:lnTo>
                    <a:pt x="408" y="390"/>
                  </a:lnTo>
                  <a:lnTo>
                    <a:pt x="402" y="366"/>
                  </a:lnTo>
                  <a:lnTo>
                    <a:pt x="390" y="354"/>
                  </a:lnTo>
                  <a:lnTo>
                    <a:pt x="384" y="336"/>
                  </a:lnTo>
                  <a:lnTo>
                    <a:pt x="378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8" y="348"/>
                  </a:lnTo>
                  <a:lnTo>
                    <a:pt x="360" y="354"/>
                  </a:lnTo>
                  <a:lnTo>
                    <a:pt x="360" y="390"/>
                  </a:lnTo>
                  <a:lnTo>
                    <a:pt x="348" y="390"/>
                  </a:lnTo>
                  <a:lnTo>
                    <a:pt x="342" y="384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90"/>
                  </a:lnTo>
                  <a:lnTo>
                    <a:pt x="312" y="402"/>
                  </a:lnTo>
                  <a:lnTo>
                    <a:pt x="306" y="420"/>
                  </a:lnTo>
                  <a:lnTo>
                    <a:pt x="324" y="414"/>
                  </a:lnTo>
                  <a:lnTo>
                    <a:pt x="330" y="414"/>
                  </a:lnTo>
                  <a:lnTo>
                    <a:pt x="336" y="420"/>
                  </a:lnTo>
                  <a:lnTo>
                    <a:pt x="336" y="432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6"/>
                  </a:lnTo>
                  <a:lnTo>
                    <a:pt x="318" y="456"/>
                  </a:lnTo>
                  <a:lnTo>
                    <a:pt x="300" y="456"/>
                  </a:lnTo>
                  <a:lnTo>
                    <a:pt x="288" y="462"/>
                  </a:lnTo>
                  <a:lnTo>
                    <a:pt x="276" y="462"/>
                  </a:lnTo>
                  <a:lnTo>
                    <a:pt x="270" y="462"/>
                  </a:lnTo>
                  <a:lnTo>
                    <a:pt x="270" y="468"/>
                  </a:lnTo>
                  <a:lnTo>
                    <a:pt x="252" y="468"/>
                  </a:lnTo>
                  <a:lnTo>
                    <a:pt x="258" y="480"/>
                  </a:lnTo>
                  <a:lnTo>
                    <a:pt x="258" y="492"/>
                  </a:lnTo>
                  <a:lnTo>
                    <a:pt x="258" y="498"/>
                  </a:lnTo>
                  <a:lnTo>
                    <a:pt x="258" y="510"/>
                  </a:lnTo>
                  <a:lnTo>
                    <a:pt x="252" y="540"/>
                  </a:lnTo>
                  <a:lnTo>
                    <a:pt x="246" y="564"/>
                  </a:lnTo>
                  <a:lnTo>
                    <a:pt x="246" y="570"/>
                  </a:lnTo>
                  <a:lnTo>
                    <a:pt x="252" y="576"/>
                  </a:lnTo>
                  <a:lnTo>
                    <a:pt x="246" y="582"/>
                  </a:lnTo>
                  <a:lnTo>
                    <a:pt x="252" y="600"/>
                  </a:lnTo>
                  <a:lnTo>
                    <a:pt x="258" y="606"/>
                  </a:lnTo>
                  <a:lnTo>
                    <a:pt x="258" y="612"/>
                  </a:lnTo>
                  <a:lnTo>
                    <a:pt x="252" y="618"/>
                  </a:lnTo>
                  <a:lnTo>
                    <a:pt x="246" y="624"/>
                  </a:lnTo>
                  <a:lnTo>
                    <a:pt x="246" y="630"/>
                  </a:lnTo>
                  <a:lnTo>
                    <a:pt x="246" y="636"/>
                  </a:lnTo>
                  <a:lnTo>
                    <a:pt x="240" y="642"/>
                  </a:lnTo>
                  <a:lnTo>
                    <a:pt x="234" y="654"/>
                  </a:lnTo>
                  <a:lnTo>
                    <a:pt x="228" y="654"/>
                  </a:lnTo>
                  <a:lnTo>
                    <a:pt x="222" y="660"/>
                  </a:lnTo>
                  <a:lnTo>
                    <a:pt x="216" y="666"/>
                  </a:lnTo>
                  <a:lnTo>
                    <a:pt x="210" y="666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22" y="684"/>
                  </a:lnTo>
                  <a:lnTo>
                    <a:pt x="222" y="690"/>
                  </a:lnTo>
                  <a:lnTo>
                    <a:pt x="222" y="696"/>
                  </a:lnTo>
                  <a:lnTo>
                    <a:pt x="222" y="702"/>
                  </a:lnTo>
                  <a:lnTo>
                    <a:pt x="216" y="708"/>
                  </a:lnTo>
                  <a:lnTo>
                    <a:pt x="210" y="720"/>
                  </a:lnTo>
                  <a:lnTo>
                    <a:pt x="216" y="732"/>
                  </a:lnTo>
                  <a:lnTo>
                    <a:pt x="210" y="732"/>
                  </a:lnTo>
                  <a:lnTo>
                    <a:pt x="216" y="738"/>
                  </a:lnTo>
                  <a:lnTo>
                    <a:pt x="216" y="744"/>
                  </a:lnTo>
                  <a:lnTo>
                    <a:pt x="222" y="750"/>
                  </a:lnTo>
                  <a:lnTo>
                    <a:pt x="228" y="756"/>
                  </a:lnTo>
                  <a:lnTo>
                    <a:pt x="222" y="762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04" y="762"/>
                  </a:lnTo>
                  <a:lnTo>
                    <a:pt x="198" y="762"/>
                  </a:lnTo>
                  <a:lnTo>
                    <a:pt x="192" y="762"/>
                  </a:lnTo>
                  <a:lnTo>
                    <a:pt x="186" y="756"/>
                  </a:lnTo>
                  <a:lnTo>
                    <a:pt x="180" y="750"/>
                  </a:lnTo>
                  <a:lnTo>
                    <a:pt x="180" y="744"/>
                  </a:lnTo>
                  <a:lnTo>
                    <a:pt x="174" y="744"/>
                  </a:lnTo>
                  <a:lnTo>
                    <a:pt x="156" y="750"/>
                  </a:lnTo>
                  <a:lnTo>
                    <a:pt x="150" y="750"/>
                  </a:lnTo>
                  <a:lnTo>
                    <a:pt x="144" y="750"/>
                  </a:lnTo>
                  <a:lnTo>
                    <a:pt x="138" y="750"/>
                  </a:lnTo>
                  <a:lnTo>
                    <a:pt x="138" y="744"/>
                  </a:lnTo>
                  <a:lnTo>
                    <a:pt x="132" y="744"/>
                  </a:lnTo>
                  <a:lnTo>
                    <a:pt x="120" y="744"/>
                  </a:lnTo>
                  <a:lnTo>
                    <a:pt x="114" y="738"/>
                  </a:lnTo>
                  <a:lnTo>
                    <a:pt x="108" y="744"/>
                  </a:lnTo>
                  <a:lnTo>
                    <a:pt x="102" y="744"/>
                  </a:lnTo>
                  <a:lnTo>
                    <a:pt x="96" y="744"/>
                  </a:lnTo>
                  <a:lnTo>
                    <a:pt x="96" y="738"/>
                  </a:lnTo>
                  <a:lnTo>
                    <a:pt x="96" y="744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44"/>
                  </a:lnTo>
                  <a:lnTo>
                    <a:pt x="72" y="750"/>
                  </a:lnTo>
                  <a:lnTo>
                    <a:pt x="66" y="750"/>
                  </a:lnTo>
                  <a:lnTo>
                    <a:pt x="60" y="750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0"/>
                  </a:lnTo>
                  <a:lnTo>
                    <a:pt x="30" y="750"/>
                  </a:lnTo>
                  <a:lnTo>
                    <a:pt x="24" y="744"/>
                  </a:lnTo>
                  <a:lnTo>
                    <a:pt x="18" y="738"/>
                  </a:lnTo>
                  <a:lnTo>
                    <a:pt x="6" y="738"/>
                  </a:lnTo>
                  <a:lnTo>
                    <a:pt x="0" y="732"/>
                  </a:lnTo>
                  <a:lnTo>
                    <a:pt x="0" y="726"/>
                  </a:lnTo>
                  <a:lnTo>
                    <a:pt x="0" y="720"/>
                  </a:lnTo>
                  <a:lnTo>
                    <a:pt x="6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8" y="702"/>
                  </a:lnTo>
                  <a:lnTo>
                    <a:pt x="24" y="696"/>
                  </a:lnTo>
                  <a:lnTo>
                    <a:pt x="30" y="696"/>
                  </a:lnTo>
                  <a:lnTo>
                    <a:pt x="48" y="690"/>
                  </a:lnTo>
                  <a:lnTo>
                    <a:pt x="54" y="678"/>
                  </a:lnTo>
                  <a:lnTo>
                    <a:pt x="66" y="672"/>
                  </a:lnTo>
                  <a:lnTo>
                    <a:pt x="66" y="654"/>
                  </a:lnTo>
                  <a:lnTo>
                    <a:pt x="72" y="636"/>
                  </a:lnTo>
                  <a:lnTo>
                    <a:pt x="72" y="612"/>
                  </a:lnTo>
                  <a:lnTo>
                    <a:pt x="84" y="594"/>
                  </a:lnTo>
                  <a:lnTo>
                    <a:pt x="90" y="576"/>
                  </a:lnTo>
                  <a:lnTo>
                    <a:pt x="96" y="552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72" y="522"/>
                  </a:lnTo>
                  <a:lnTo>
                    <a:pt x="78" y="510"/>
                  </a:lnTo>
                  <a:lnTo>
                    <a:pt x="78" y="504"/>
                  </a:lnTo>
                  <a:lnTo>
                    <a:pt x="84" y="480"/>
                  </a:lnTo>
                  <a:lnTo>
                    <a:pt x="90" y="468"/>
                  </a:lnTo>
                  <a:lnTo>
                    <a:pt x="90" y="456"/>
                  </a:lnTo>
                  <a:lnTo>
                    <a:pt x="96" y="456"/>
                  </a:lnTo>
                  <a:lnTo>
                    <a:pt x="96" y="444"/>
                  </a:lnTo>
                  <a:lnTo>
                    <a:pt x="102" y="438"/>
                  </a:lnTo>
                  <a:lnTo>
                    <a:pt x="102" y="432"/>
                  </a:lnTo>
                  <a:lnTo>
                    <a:pt x="108" y="432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14" y="408"/>
                  </a:lnTo>
                  <a:lnTo>
                    <a:pt x="114" y="402"/>
                  </a:lnTo>
                  <a:lnTo>
                    <a:pt x="126" y="384"/>
                  </a:lnTo>
                  <a:lnTo>
                    <a:pt x="138" y="378"/>
                  </a:lnTo>
                  <a:lnTo>
                    <a:pt x="138" y="372"/>
                  </a:lnTo>
                  <a:lnTo>
                    <a:pt x="150" y="354"/>
                  </a:lnTo>
                  <a:lnTo>
                    <a:pt x="156" y="342"/>
                  </a:lnTo>
                  <a:lnTo>
                    <a:pt x="162" y="330"/>
                  </a:lnTo>
                  <a:lnTo>
                    <a:pt x="168" y="324"/>
                  </a:lnTo>
                  <a:lnTo>
                    <a:pt x="168" y="312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74" y="294"/>
                  </a:lnTo>
                  <a:lnTo>
                    <a:pt x="180" y="288"/>
                  </a:lnTo>
                  <a:lnTo>
                    <a:pt x="180" y="276"/>
                  </a:lnTo>
                  <a:lnTo>
                    <a:pt x="186" y="276"/>
                  </a:lnTo>
                  <a:lnTo>
                    <a:pt x="186" y="270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40"/>
                  </a:lnTo>
                  <a:lnTo>
                    <a:pt x="168" y="240"/>
                  </a:lnTo>
                  <a:lnTo>
                    <a:pt x="162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68" y="216"/>
                  </a:lnTo>
                  <a:lnTo>
                    <a:pt x="168" y="180"/>
                  </a:lnTo>
                  <a:lnTo>
                    <a:pt x="168" y="144"/>
                  </a:lnTo>
                  <a:lnTo>
                    <a:pt x="162" y="120"/>
                  </a:lnTo>
                  <a:lnTo>
                    <a:pt x="162" y="108"/>
                  </a:lnTo>
                  <a:lnTo>
                    <a:pt x="168" y="102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44" y="84"/>
                  </a:lnTo>
                  <a:lnTo>
                    <a:pt x="126" y="84"/>
                  </a:lnTo>
                  <a:lnTo>
                    <a:pt x="108" y="78"/>
                  </a:lnTo>
                  <a:lnTo>
                    <a:pt x="96" y="78"/>
                  </a:lnTo>
                  <a:lnTo>
                    <a:pt x="78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8" y="36"/>
                  </a:lnTo>
                  <a:lnTo>
                    <a:pt x="96" y="24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56" y="0"/>
                  </a:lnTo>
                  <a:lnTo>
                    <a:pt x="156" y="6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18"/>
                  </a:lnTo>
                  <a:lnTo>
                    <a:pt x="198" y="18"/>
                  </a:lnTo>
                  <a:lnTo>
                    <a:pt x="210" y="18"/>
                  </a:lnTo>
                  <a:lnTo>
                    <a:pt x="222" y="18"/>
                  </a:lnTo>
                  <a:lnTo>
                    <a:pt x="234" y="12"/>
                  </a:lnTo>
                  <a:lnTo>
                    <a:pt x="252" y="18"/>
                  </a:lnTo>
                  <a:lnTo>
                    <a:pt x="252" y="24"/>
                  </a:lnTo>
                  <a:lnTo>
                    <a:pt x="258" y="36"/>
                  </a:lnTo>
                  <a:lnTo>
                    <a:pt x="258" y="66"/>
                  </a:lnTo>
                  <a:lnTo>
                    <a:pt x="252" y="84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82" y="126"/>
                  </a:lnTo>
                  <a:lnTo>
                    <a:pt x="294" y="132"/>
                  </a:lnTo>
                  <a:lnTo>
                    <a:pt x="306" y="138"/>
                  </a:lnTo>
                  <a:lnTo>
                    <a:pt x="324" y="138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60" y="144"/>
                  </a:lnTo>
                  <a:lnTo>
                    <a:pt x="396" y="144"/>
                  </a:lnTo>
                  <a:lnTo>
                    <a:pt x="408" y="150"/>
                  </a:lnTo>
                  <a:lnTo>
                    <a:pt x="414" y="180"/>
                  </a:lnTo>
                  <a:lnTo>
                    <a:pt x="420" y="186"/>
                  </a:lnTo>
                  <a:lnTo>
                    <a:pt x="426" y="192"/>
                  </a:lnTo>
                  <a:lnTo>
                    <a:pt x="426" y="198"/>
                  </a:lnTo>
                  <a:lnTo>
                    <a:pt x="432" y="198"/>
                  </a:lnTo>
                  <a:lnTo>
                    <a:pt x="438" y="210"/>
                  </a:lnTo>
                  <a:lnTo>
                    <a:pt x="450" y="216"/>
                  </a:lnTo>
                  <a:lnTo>
                    <a:pt x="468" y="228"/>
                  </a:lnTo>
                  <a:lnTo>
                    <a:pt x="492" y="234"/>
                  </a:lnTo>
                  <a:lnTo>
                    <a:pt x="492" y="246"/>
                  </a:lnTo>
                  <a:lnTo>
                    <a:pt x="492" y="270"/>
                  </a:lnTo>
                  <a:lnTo>
                    <a:pt x="486" y="294"/>
                  </a:lnTo>
                  <a:lnTo>
                    <a:pt x="486" y="312"/>
                  </a:lnTo>
                  <a:lnTo>
                    <a:pt x="486" y="330"/>
                  </a:lnTo>
                  <a:lnTo>
                    <a:pt x="492" y="348"/>
                  </a:lnTo>
                  <a:lnTo>
                    <a:pt x="498" y="360"/>
                  </a:lnTo>
                  <a:lnTo>
                    <a:pt x="510" y="366"/>
                  </a:lnTo>
                  <a:lnTo>
                    <a:pt x="516" y="384"/>
                  </a:lnTo>
                  <a:lnTo>
                    <a:pt x="522" y="414"/>
                  </a:lnTo>
                  <a:lnTo>
                    <a:pt x="528" y="414"/>
                  </a:lnTo>
                  <a:lnTo>
                    <a:pt x="534" y="426"/>
                  </a:lnTo>
                  <a:lnTo>
                    <a:pt x="528" y="432"/>
                  </a:lnTo>
                  <a:lnTo>
                    <a:pt x="468" y="426"/>
                  </a:lnTo>
                  <a:lnTo>
                    <a:pt x="462" y="4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3" name="Freeform 8">
              <a:extLst>
                <a:ext uri="{FF2B5EF4-FFF2-40B4-BE49-F238E27FC236}">
                  <a16:creationId xmlns:a16="http://schemas.microsoft.com/office/drawing/2014/main" id="{D473457C-872E-4E31-888A-D60FD52063A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98175" y="4307054"/>
              <a:ext cx="295177" cy="348894"/>
            </a:xfrm>
            <a:custGeom>
              <a:avLst/>
              <a:gdLst>
                <a:gd name="T0" fmla="*/ 3 w 552"/>
                <a:gd name="T1" fmla="*/ 46 h 660"/>
                <a:gd name="T2" fmla="*/ 4 w 552"/>
                <a:gd name="T3" fmla="*/ 42 h 660"/>
                <a:gd name="T4" fmla="*/ 2 w 552"/>
                <a:gd name="T5" fmla="*/ 38 h 660"/>
                <a:gd name="T6" fmla="*/ 0 w 552"/>
                <a:gd name="T7" fmla="*/ 34 h 660"/>
                <a:gd name="T8" fmla="*/ 2 w 552"/>
                <a:gd name="T9" fmla="*/ 30 h 660"/>
                <a:gd name="T10" fmla="*/ 3 w 552"/>
                <a:gd name="T11" fmla="*/ 27 h 660"/>
                <a:gd name="T12" fmla="*/ 5 w 552"/>
                <a:gd name="T13" fmla="*/ 23 h 660"/>
                <a:gd name="T14" fmla="*/ 5 w 552"/>
                <a:gd name="T15" fmla="*/ 15 h 660"/>
                <a:gd name="T16" fmla="*/ 6 w 552"/>
                <a:gd name="T17" fmla="*/ 11 h 660"/>
                <a:gd name="T18" fmla="*/ 11 w 552"/>
                <a:gd name="T19" fmla="*/ 9 h 660"/>
                <a:gd name="T20" fmla="*/ 10 w 552"/>
                <a:gd name="T21" fmla="*/ 5 h 660"/>
                <a:gd name="T22" fmla="*/ 12 w 552"/>
                <a:gd name="T23" fmla="*/ 1 h 660"/>
                <a:gd name="T24" fmla="*/ 16 w 552"/>
                <a:gd name="T25" fmla="*/ 2 h 660"/>
                <a:gd name="T26" fmla="*/ 23 w 552"/>
                <a:gd name="T27" fmla="*/ 8 h 660"/>
                <a:gd name="T28" fmla="*/ 23 w 552"/>
                <a:gd name="T29" fmla="*/ 11 h 660"/>
                <a:gd name="T30" fmla="*/ 27 w 552"/>
                <a:gd name="T31" fmla="*/ 12 h 660"/>
                <a:gd name="T32" fmla="*/ 29 w 552"/>
                <a:gd name="T33" fmla="*/ 17 h 660"/>
                <a:gd name="T34" fmla="*/ 31 w 552"/>
                <a:gd name="T35" fmla="*/ 15 h 660"/>
                <a:gd name="T36" fmla="*/ 33 w 552"/>
                <a:gd name="T37" fmla="*/ 17 h 660"/>
                <a:gd name="T38" fmla="*/ 36 w 552"/>
                <a:gd name="T39" fmla="*/ 23 h 660"/>
                <a:gd name="T40" fmla="*/ 41 w 552"/>
                <a:gd name="T41" fmla="*/ 33 h 660"/>
                <a:gd name="T42" fmla="*/ 43 w 552"/>
                <a:gd name="T43" fmla="*/ 36 h 660"/>
                <a:gd name="T44" fmla="*/ 43 w 552"/>
                <a:gd name="T45" fmla="*/ 37 h 660"/>
                <a:gd name="T46" fmla="*/ 41 w 552"/>
                <a:gd name="T47" fmla="*/ 35 h 660"/>
                <a:gd name="T48" fmla="*/ 43 w 552"/>
                <a:gd name="T49" fmla="*/ 37 h 660"/>
                <a:gd name="T50" fmla="*/ 44 w 552"/>
                <a:gd name="T51" fmla="*/ 39 h 660"/>
                <a:gd name="T52" fmla="*/ 47 w 552"/>
                <a:gd name="T53" fmla="*/ 41 h 660"/>
                <a:gd name="T54" fmla="*/ 47 w 552"/>
                <a:gd name="T55" fmla="*/ 44 h 660"/>
                <a:gd name="T56" fmla="*/ 48 w 552"/>
                <a:gd name="T57" fmla="*/ 46 h 660"/>
                <a:gd name="T58" fmla="*/ 47 w 552"/>
                <a:gd name="T59" fmla="*/ 46 h 660"/>
                <a:gd name="T60" fmla="*/ 44 w 552"/>
                <a:gd name="T61" fmla="*/ 46 h 660"/>
                <a:gd name="T62" fmla="*/ 47 w 552"/>
                <a:gd name="T63" fmla="*/ 47 h 660"/>
                <a:gd name="T64" fmla="*/ 47 w 552"/>
                <a:gd name="T65" fmla="*/ 49 h 660"/>
                <a:gd name="T66" fmla="*/ 47 w 552"/>
                <a:gd name="T67" fmla="*/ 52 h 660"/>
                <a:gd name="T68" fmla="*/ 46 w 552"/>
                <a:gd name="T69" fmla="*/ 53 h 660"/>
                <a:gd name="T70" fmla="*/ 43 w 552"/>
                <a:gd name="T71" fmla="*/ 54 h 660"/>
                <a:gd name="T72" fmla="*/ 37 w 552"/>
                <a:gd name="T73" fmla="*/ 54 h 660"/>
                <a:gd name="T74" fmla="*/ 30 w 552"/>
                <a:gd name="T75" fmla="*/ 54 h 660"/>
                <a:gd name="T76" fmla="*/ 29 w 552"/>
                <a:gd name="T77" fmla="*/ 53 h 660"/>
                <a:gd name="T78" fmla="*/ 27 w 552"/>
                <a:gd name="T79" fmla="*/ 53 h 660"/>
                <a:gd name="T80" fmla="*/ 29 w 552"/>
                <a:gd name="T81" fmla="*/ 53 h 660"/>
                <a:gd name="T82" fmla="*/ 28 w 552"/>
                <a:gd name="T83" fmla="*/ 54 h 660"/>
                <a:gd name="T84" fmla="*/ 24 w 552"/>
                <a:gd name="T85" fmla="*/ 54 h 660"/>
                <a:gd name="T86" fmla="*/ 20 w 552"/>
                <a:gd name="T87" fmla="*/ 55 h 660"/>
                <a:gd name="T88" fmla="*/ 15 w 552"/>
                <a:gd name="T89" fmla="*/ 56 h 660"/>
                <a:gd name="T90" fmla="*/ 12 w 552"/>
                <a:gd name="T91" fmla="*/ 56 h 660"/>
                <a:gd name="T92" fmla="*/ 11 w 552"/>
                <a:gd name="T93" fmla="*/ 57 h 660"/>
                <a:gd name="T94" fmla="*/ 9 w 552"/>
                <a:gd name="T95" fmla="*/ 57 h 660"/>
                <a:gd name="T96" fmla="*/ 7 w 552"/>
                <a:gd name="T97" fmla="*/ 56 h 660"/>
                <a:gd name="T98" fmla="*/ 5 w 552"/>
                <a:gd name="T99" fmla="*/ 55 h 660"/>
                <a:gd name="T100" fmla="*/ 7 w 552"/>
                <a:gd name="T101" fmla="*/ 54 h 660"/>
                <a:gd name="T102" fmla="*/ 5 w 552"/>
                <a:gd name="T103" fmla="*/ 54 h 660"/>
                <a:gd name="T104" fmla="*/ 5 w 552"/>
                <a:gd name="T105" fmla="*/ 53 h 660"/>
                <a:gd name="T106" fmla="*/ 4 w 552"/>
                <a:gd name="T107" fmla="*/ 49 h 660"/>
                <a:gd name="T108" fmla="*/ 45 w 552"/>
                <a:gd name="T109" fmla="*/ 38 h 66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52"/>
                <a:gd name="T166" fmla="*/ 0 h 660"/>
                <a:gd name="T167" fmla="*/ 552 w 552"/>
                <a:gd name="T168" fmla="*/ 660 h 66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52" h="660">
                  <a:moveTo>
                    <a:pt x="36" y="564"/>
                  </a:moveTo>
                  <a:lnTo>
                    <a:pt x="36" y="558"/>
                  </a:lnTo>
                  <a:lnTo>
                    <a:pt x="36" y="552"/>
                  </a:lnTo>
                  <a:lnTo>
                    <a:pt x="42" y="546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34"/>
                  </a:lnTo>
                  <a:lnTo>
                    <a:pt x="36" y="528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54" y="510"/>
                  </a:lnTo>
                  <a:lnTo>
                    <a:pt x="54" y="504"/>
                  </a:lnTo>
                  <a:lnTo>
                    <a:pt x="54" y="498"/>
                  </a:lnTo>
                  <a:lnTo>
                    <a:pt x="48" y="492"/>
                  </a:lnTo>
                  <a:lnTo>
                    <a:pt x="42" y="486"/>
                  </a:lnTo>
                  <a:lnTo>
                    <a:pt x="42" y="480"/>
                  </a:lnTo>
                  <a:lnTo>
                    <a:pt x="42" y="468"/>
                  </a:lnTo>
                  <a:lnTo>
                    <a:pt x="30" y="456"/>
                  </a:lnTo>
                  <a:lnTo>
                    <a:pt x="30" y="450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2"/>
                  </a:lnTo>
                  <a:lnTo>
                    <a:pt x="18" y="426"/>
                  </a:lnTo>
                  <a:lnTo>
                    <a:pt x="24" y="420"/>
                  </a:lnTo>
                  <a:lnTo>
                    <a:pt x="18" y="414"/>
                  </a:lnTo>
                  <a:lnTo>
                    <a:pt x="12" y="408"/>
                  </a:lnTo>
                  <a:lnTo>
                    <a:pt x="12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6" y="384"/>
                  </a:lnTo>
                  <a:lnTo>
                    <a:pt x="12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8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36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54" y="270"/>
                  </a:lnTo>
                  <a:lnTo>
                    <a:pt x="48" y="264"/>
                  </a:lnTo>
                  <a:lnTo>
                    <a:pt x="42" y="246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8" y="204"/>
                  </a:lnTo>
                  <a:lnTo>
                    <a:pt x="54" y="174"/>
                  </a:lnTo>
                  <a:lnTo>
                    <a:pt x="54" y="162"/>
                  </a:lnTo>
                  <a:lnTo>
                    <a:pt x="54" y="156"/>
                  </a:lnTo>
                  <a:lnTo>
                    <a:pt x="54" y="144"/>
                  </a:lnTo>
                  <a:lnTo>
                    <a:pt x="48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72" y="126"/>
                  </a:lnTo>
                  <a:lnTo>
                    <a:pt x="84" y="126"/>
                  </a:lnTo>
                  <a:lnTo>
                    <a:pt x="96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2" y="84"/>
                  </a:lnTo>
                  <a:lnTo>
                    <a:pt x="126" y="78"/>
                  </a:lnTo>
                  <a:lnTo>
                    <a:pt x="120" y="78"/>
                  </a:lnTo>
                  <a:lnTo>
                    <a:pt x="102" y="84"/>
                  </a:lnTo>
                  <a:lnTo>
                    <a:pt x="108" y="66"/>
                  </a:lnTo>
                  <a:lnTo>
                    <a:pt x="114" y="54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8" y="4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6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74" y="0"/>
                  </a:lnTo>
                  <a:lnTo>
                    <a:pt x="180" y="0"/>
                  </a:lnTo>
                  <a:lnTo>
                    <a:pt x="186" y="18"/>
                  </a:lnTo>
                  <a:lnTo>
                    <a:pt x="198" y="30"/>
                  </a:lnTo>
                  <a:lnTo>
                    <a:pt x="204" y="54"/>
                  </a:lnTo>
                  <a:lnTo>
                    <a:pt x="216" y="60"/>
                  </a:lnTo>
                  <a:lnTo>
                    <a:pt x="240" y="60"/>
                  </a:lnTo>
                  <a:lnTo>
                    <a:pt x="246" y="66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2" y="120"/>
                  </a:lnTo>
                  <a:lnTo>
                    <a:pt x="25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6" y="126"/>
                  </a:lnTo>
                  <a:lnTo>
                    <a:pt x="282" y="120"/>
                  </a:lnTo>
                  <a:lnTo>
                    <a:pt x="282" y="126"/>
                  </a:lnTo>
                  <a:lnTo>
                    <a:pt x="294" y="126"/>
                  </a:lnTo>
                  <a:lnTo>
                    <a:pt x="300" y="132"/>
                  </a:lnTo>
                  <a:lnTo>
                    <a:pt x="306" y="144"/>
                  </a:lnTo>
                  <a:lnTo>
                    <a:pt x="312" y="144"/>
                  </a:lnTo>
                  <a:lnTo>
                    <a:pt x="312" y="150"/>
                  </a:lnTo>
                  <a:lnTo>
                    <a:pt x="312" y="162"/>
                  </a:lnTo>
                  <a:lnTo>
                    <a:pt x="312" y="174"/>
                  </a:lnTo>
                  <a:lnTo>
                    <a:pt x="324" y="180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30" y="192"/>
                  </a:lnTo>
                  <a:lnTo>
                    <a:pt x="336" y="198"/>
                  </a:lnTo>
                  <a:lnTo>
                    <a:pt x="342" y="192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54" y="180"/>
                  </a:lnTo>
                  <a:lnTo>
                    <a:pt x="354" y="174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84" y="192"/>
                  </a:lnTo>
                  <a:lnTo>
                    <a:pt x="390" y="204"/>
                  </a:lnTo>
                  <a:lnTo>
                    <a:pt x="390" y="210"/>
                  </a:lnTo>
                  <a:lnTo>
                    <a:pt x="390" y="216"/>
                  </a:lnTo>
                  <a:lnTo>
                    <a:pt x="384" y="234"/>
                  </a:lnTo>
                  <a:lnTo>
                    <a:pt x="390" y="240"/>
                  </a:lnTo>
                  <a:lnTo>
                    <a:pt x="408" y="252"/>
                  </a:lnTo>
                  <a:lnTo>
                    <a:pt x="414" y="264"/>
                  </a:lnTo>
                  <a:lnTo>
                    <a:pt x="408" y="300"/>
                  </a:lnTo>
                  <a:lnTo>
                    <a:pt x="414" y="312"/>
                  </a:lnTo>
                  <a:lnTo>
                    <a:pt x="426" y="336"/>
                  </a:lnTo>
                  <a:lnTo>
                    <a:pt x="438" y="354"/>
                  </a:lnTo>
                  <a:lnTo>
                    <a:pt x="444" y="366"/>
                  </a:lnTo>
                  <a:lnTo>
                    <a:pt x="456" y="366"/>
                  </a:lnTo>
                  <a:lnTo>
                    <a:pt x="474" y="378"/>
                  </a:lnTo>
                  <a:lnTo>
                    <a:pt x="474" y="384"/>
                  </a:lnTo>
                  <a:lnTo>
                    <a:pt x="480" y="390"/>
                  </a:lnTo>
                  <a:lnTo>
                    <a:pt x="486" y="396"/>
                  </a:lnTo>
                  <a:lnTo>
                    <a:pt x="486" y="402"/>
                  </a:lnTo>
                  <a:lnTo>
                    <a:pt x="480" y="408"/>
                  </a:lnTo>
                  <a:lnTo>
                    <a:pt x="486" y="408"/>
                  </a:lnTo>
                  <a:lnTo>
                    <a:pt x="486" y="414"/>
                  </a:lnTo>
                  <a:lnTo>
                    <a:pt x="492" y="414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32"/>
                  </a:lnTo>
                  <a:lnTo>
                    <a:pt x="498" y="438"/>
                  </a:lnTo>
                  <a:lnTo>
                    <a:pt x="492" y="432"/>
                  </a:lnTo>
                  <a:lnTo>
                    <a:pt x="486" y="426"/>
                  </a:lnTo>
                  <a:lnTo>
                    <a:pt x="486" y="420"/>
                  </a:lnTo>
                  <a:lnTo>
                    <a:pt x="486" y="414"/>
                  </a:lnTo>
                  <a:lnTo>
                    <a:pt x="480" y="414"/>
                  </a:lnTo>
                  <a:lnTo>
                    <a:pt x="480" y="408"/>
                  </a:lnTo>
                  <a:lnTo>
                    <a:pt x="474" y="408"/>
                  </a:lnTo>
                  <a:lnTo>
                    <a:pt x="468" y="408"/>
                  </a:lnTo>
                  <a:lnTo>
                    <a:pt x="468" y="402"/>
                  </a:lnTo>
                  <a:lnTo>
                    <a:pt x="462" y="402"/>
                  </a:lnTo>
                  <a:lnTo>
                    <a:pt x="462" y="408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80" y="426"/>
                  </a:lnTo>
                  <a:lnTo>
                    <a:pt x="486" y="426"/>
                  </a:lnTo>
                  <a:lnTo>
                    <a:pt x="486" y="432"/>
                  </a:lnTo>
                  <a:lnTo>
                    <a:pt x="492" y="438"/>
                  </a:lnTo>
                  <a:lnTo>
                    <a:pt x="498" y="438"/>
                  </a:lnTo>
                  <a:lnTo>
                    <a:pt x="504" y="444"/>
                  </a:lnTo>
                  <a:lnTo>
                    <a:pt x="510" y="444"/>
                  </a:lnTo>
                  <a:lnTo>
                    <a:pt x="510" y="450"/>
                  </a:lnTo>
                  <a:lnTo>
                    <a:pt x="510" y="456"/>
                  </a:lnTo>
                  <a:lnTo>
                    <a:pt x="516" y="456"/>
                  </a:lnTo>
                  <a:lnTo>
                    <a:pt x="516" y="462"/>
                  </a:lnTo>
                  <a:lnTo>
                    <a:pt x="522" y="462"/>
                  </a:lnTo>
                  <a:lnTo>
                    <a:pt x="522" y="468"/>
                  </a:lnTo>
                  <a:lnTo>
                    <a:pt x="528" y="468"/>
                  </a:lnTo>
                  <a:lnTo>
                    <a:pt x="534" y="468"/>
                  </a:lnTo>
                  <a:lnTo>
                    <a:pt x="534" y="474"/>
                  </a:lnTo>
                  <a:lnTo>
                    <a:pt x="540" y="474"/>
                  </a:lnTo>
                  <a:lnTo>
                    <a:pt x="540" y="480"/>
                  </a:lnTo>
                  <a:lnTo>
                    <a:pt x="546" y="486"/>
                  </a:lnTo>
                  <a:lnTo>
                    <a:pt x="546" y="492"/>
                  </a:lnTo>
                  <a:lnTo>
                    <a:pt x="546" y="498"/>
                  </a:lnTo>
                  <a:lnTo>
                    <a:pt x="546" y="504"/>
                  </a:lnTo>
                  <a:lnTo>
                    <a:pt x="540" y="504"/>
                  </a:lnTo>
                  <a:lnTo>
                    <a:pt x="546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10"/>
                  </a:lnTo>
                  <a:lnTo>
                    <a:pt x="552" y="516"/>
                  </a:lnTo>
                  <a:lnTo>
                    <a:pt x="552" y="522"/>
                  </a:lnTo>
                  <a:lnTo>
                    <a:pt x="552" y="528"/>
                  </a:lnTo>
                  <a:lnTo>
                    <a:pt x="552" y="534"/>
                  </a:lnTo>
                  <a:lnTo>
                    <a:pt x="552" y="540"/>
                  </a:lnTo>
                  <a:lnTo>
                    <a:pt x="546" y="540"/>
                  </a:lnTo>
                  <a:lnTo>
                    <a:pt x="546" y="546"/>
                  </a:lnTo>
                  <a:lnTo>
                    <a:pt x="546" y="540"/>
                  </a:lnTo>
                  <a:lnTo>
                    <a:pt x="546" y="534"/>
                  </a:lnTo>
                  <a:lnTo>
                    <a:pt x="540" y="534"/>
                  </a:lnTo>
                  <a:lnTo>
                    <a:pt x="540" y="528"/>
                  </a:lnTo>
                  <a:lnTo>
                    <a:pt x="534" y="528"/>
                  </a:lnTo>
                  <a:lnTo>
                    <a:pt x="528" y="528"/>
                  </a:lnTo>
                  <a:lnTo>
                    <a:pt x="522" y="528"/>
                  </a:lnTo>
                  <a:lnTo>
                    <a:pt x="516" y="528"/>
                  </a:lnTo>
                  <a:lnTo>
                    <a:pt x="510" y="528"/>
                  </a:lnTo>
                  <a:lnTo>
                    <a:pt x="510" y="534"/>
                  </a:lnTo>
                  <a:lnTo>
                    <a:pt x="510" y="528"/>
                  </a:lnTo>
                  <a:lnTo>
                    <a:pt x="516" y="528"/>
                  </a:lnTo>
                  <a:lnTo>
                    <a:pt x="522" y="528"/>
                  </a:lnTo>
                  <a:lnTo>
                    <a:pt x="528" y="528"/>
                  </a:lnTo>
                  <a:lnTo>
                    <a:pt x="534" y="534"/>
                  </a:lnTo>
                  <a:lnTo>
                    <a:pt x="540" y="534"/>
                  </a:lnTo>
                  <a:lnTo>
                    <a:pt x="540" y="540"/>
                  </a:lnTo>
                  <a:lnTo>
                    <a:pt x="540" y="546"/>
                  </a:lnTo>
                  <a:lnTo>
                    <a:pt x="546" y="546"/>
                  </a:lnTo>
                  <a:lnTo>
                    <a:pt x="546" y="552"/>
                  </a:lnTo>
                  <a:lnTo>
                    <a:pt x="552" y="552"/>
                  </a:lnTo>
                  <a:lnTo>
                    <a:pt x="552" y="558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0" y="576"/>
                  </a:lnTo>
                  <a:lnTo>
                    <a:pt x="540" y="582"/>
                  </a:lnTo>
                  <a:lnTo>
                    <a:pt x="540" y="588"/>
                  </a:lnTo>
                  <a:lnTo>
                    <a:pt x="534" y="594"/>
                  </a:lnTo>
                  <a:lnTo>
                    <a:pt x="534" y="600"/>
                  </a:lnTo>
                  <a:lnTo>
                    <a:pt x="528" y="600"/>
                  </a:lnTo>
                  <a:lnTo>
                    <a:pt x="522" y="594"/>
                  </a:lnTo>
                  <a:lnTo>
                    <a:pt x="528" y="600"/>
                  </a:lnTo>
                  <a:lnTo>
                    <a:pt x="534" y="600"/>
                  </a:lnTo>
                  <a:lnTo>
                    <a:pt x="534" y="606"/>
                  </a:lnTo>
                  <a:lnTo>
                    <a:pt x="528" y="606"/>
                  </a:lnTo>
                  <a:lnTo>
                    <a:pt x="528" y="612"/>
                  </a:lnTo>
                  <a:lnTo>
                    <a:pt x="522" y="612"/>
                  </a:lnTo>
                  <a:lnTo>
                    <a:pt x="522" y="618"/>
                  </a:lnTo>
                  <a:lnTo>
                    <a:pt x="522" y="624"/>
                  </a:lnTo>
                  <a:lnTo>
                    <a:pt x="510" y="624"/>
                  </a:lnTo>
                  <a:lnTo>
                    <a:pt x="498" y="624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0" y="624"/>
                  </a:lnTo>
                  <a:lnTo>
                    <a:pt x="474" y="624"/>
                  </a:lnTo>
                  <a:lnTo>
                    <a:pt x="468" y="618"/>
                  </a:lnTo>
                  <a:lnTo>
                    <a:pt x="456" y="618"/>
                  </a:lnTo>
                  <a:lnTo>
                    <a:pt x="450" y="618"/>
                  </a:lnTo>
                  <a:lnTo>
                    <a:pt x="426" y="618"/>
                  </a:lnTo>
                  <a:lnTo>
                    <a:pt x="420" y="618"/>
                  </a:lnTo>
                  <a:lnTo>
                    <a:pt x="414" y="618"/>
                  </a:lnTo>
                  <a:lnTo>
                    <a:pt x="408" y="618"/>
                  </a:lnTo>
                  <a:lnTo>
                    <a:pt x="396" y="618"/>
                  </a:lnTo>
                  <a:lnTo>
                    <a:pt x="366" y="618"/>
                  </a:lnTo>
                  <a:lnTo>
                    <a:pt x="348" y="624"/>
                  </a:lnTo>
                  <a:lnTo>
                    <a:pt x="342" y="624"/>
                  </a:lnTo>
                  <a:lnTo>
                    <a:pt x="342" y="618"/>
                  </a:lnTo>
                  <a:lnTo>
                    <a:pt x="336" y="618"/>
                  </a:lnTo>
                  <a:lnTo>
                    <a:pt x="336" y="612"/>
                  </a:lnTo>
                  <a:lnTo>
                    <a:pt x="342" y="612"/>
                  </a:lnTo>
                  <a:lnTo>
                    <a:pt x="348" y="612"/>
                  </a:lnTo>
                  <a:lnTo>
                    <a:pt x="342" y="612"/>
                  </a:lnTo>
                  <a:lnTo>
                    <a:pt x="336" y="612"/>
                  </a:lnTo>
                  <a:lnTo>
                    <a:pt x="336" y="606"/>
                  </a:lnTo>
                  <a:lnTo>
                    <a:pt x="330" y="606"/>
                  </a:lnTo>
                  <a:lnTo>
                    <a:pt x="330" y="600"/>
                  </a:lnTo>
                  <a:lnTo>
                    <a:pt x="324" y="600"/>
                  </a:lnTo>
                  <a:lnTo>
                    <a:pt x="324" y="606"/>
                  </a:lnTo>
                  <a:lnTo>
                    <a:pt x="318" y="606"/>
                  </a:lnTo>
                  <a:lnTo>
                    <a:pt x="318" y="612"/>
                  </a:lnTo>
                  <a:lnTo>
                    <a:pt x="312" y="612"/>
                  </a:lnTo>
                  <a:lnTo>
                    <a:pt x="306" y="606"/>
                  </a:lnTo>
                  <a:lnTo>
                    <a:pt x="306" y="612"/>
                  </a:lnTo>
                  <a:lnTo>
                    <a:pt x="312" y="612"/>
                  </a:lnTo>
                  <a:lnTo>
                    <a:pt x="318" y="612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30" y="606"/>
                  </a:lnTo>
                  <a:lnTo>
                    <a:pt x="336" y="612"/>
                  </a:lnTo>
                  <a:lnTo>
                    <a:pt x="336" y="618"/>
                  </a:lnTo>
                  <a:lnTo>
                    <a:pt x="330" y="618"/>
                  </a:lnTo>
                  <a:lnTo>
                    <a:pt x="336" y="618"/>
                  </a:lnTo>
                  <a:lnTo>
                    <a:pt x="336" y="624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288" y="624"/>
                  </a:lnTo>
                  <a:lnTo>
                    <a:pt x="282" y="624"/>
                  </a:lnTo>
                  <a:lnTo>
                    <a:pt x="270" y="630"/>
                  </a:lnTo>
                  <a:lnTo>
                    <a:pt x="264" y="630"/>
                  </a:lnTo>
                  <a:lnTo>
                    <a:pt x="258" y="630"/>
                  </a:lnTo>
                  <a:lnTo>
                    <a:pt x="252" y="630"/>
                  </a:lnTo>
                  <a:lnTo>
                    <a:pt x="246" y="630"/>
                  </a:lnTo>
                  <a:lnTo>
                    <a:pt x="240" y="630"/>
                  </a:lnTo>
                  <a:lnTo>
                    <a:pt x="228" y="636"/>
                  </a:lnTo>
                  <a:lnTo>
                    <a:pt x="222" y="636"/>
                  </a:lnTo>
                  <a:lnTo>
                    <a:pt x="210" y="636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42"/>
                  </a:lnTo>
                  <a:lnTo>
                    <a:pt x="186" y="642"/>
                  </a:lnTo>
                  <a:lnTo>
                    <a:pt x="180" y="642"/>
                  </a:lnTo>
                  <a:lnTo>
                    <a:pt x="168" y="642"/>
                  </a:lnTo>
                  <a:lnTo>
                    <a:pt x="162" y="642"/>
                  </a:lnTo>
                  <a:lnTo>
                    <a:pt x="162" y="648"/>
                  </a:lnTo>
                  <a:lnTo>
                    <a:pt x="156" y="648"/>
                  </a:lnTo>
                  <a:lnTo>
                    <a:pt x="150" y="648"/>
                  </a:lnTo>
                  <a:lnTo>
                    <a:pt x="144" y="648"/>
                  </a:lnTo>
                  <a:lnTo>
                    <a:pt x="138" y="648"/>
                  </a:lnTo>
                  <a:lnTo>
                    <a:pt x="132" y="648"/>
                  </a:lnTo>
                  <a:lnTo>
                    <a:pt x="126" y="642"/>
                  </a:lnTo>
                  <a:lnTo>
                    <a:pt x="126" y="636"/>
                  </a:lnTo>
                  <a:lnTo>
                    <a:pt x="120" y="636"/>
                  </a:lnTo>
                  <a:lnTo>
                    <a:pt x="126" y="642"/>
                  </a:lnTo>
                  <a:lnTo>
                    <a:pt x="126" y="648"/>
                  </a:lnTo>
                  <a:lnTo>
                    <a:pt x="132" y="648"/>
                  </a:lnTo>
                  <a:lnTo>
                    <a:pt x="126" y="654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54"/>
                  </a:lnTo>
                  <a:lnTo>
                    <a:pt x="108" y="660"/>
                  </a:lnTo>
                  <a:lnTo>
                    <a:pt x="108" y="654"/>
                  </a:lnTo>
                  <a:lnTo>
                    <a:pt x="102" y="654"/>
                  </a:lnTo>
                  <a:lnTo>
                    <a:pt x="102" y="660"/>
                  </a:lnTo>
                  <a:lnTo>
                    <a:pt x="108" y="660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0" y="660"/>
                  </a:lnTo>
                  <a:lnTo>
                    <a:pt x="90" y="654"/>
                  </a:lnTo>
                  <a:lnTo>
                    <a:pt x="84" y="648"/>
                  </a:lnTo>
                  <a:lnTo>
                    <a:pt x="84" y="642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72" y="636"/>
                  </a:lnTo>
                  <a:lnTo>
                    <a:pt x="78" y="636"/>
                  </a:lnTo>
                  <a:lnTo>
                    <a:pt x="72" y="636"/>
                  </a:lnTo>
                  <a:lnTo>
                    <a:pt x="66" y="636"/>
                  </a:lnTo>
                  <a:lnTo>
                    <a:pt x="60" y="636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60" y="618"/>
                  </a:lnTo>
                  <a:lnTo>
                    <a:pt x="66" y="618"/>
                  </a:lnTo>
                  <a:lnTo>
                    <a:pt x="72" y="618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2" y="612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12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54" y="618"/>
                  </a:lnTo>
                  <a:lnTo>
                    <a:pt x="54" y="624"/>
                  </a:lnTo>
                  <a:lnTo>
                    <a:pt x="48" y="618"/>
                  </a:lnTo>
                  <a:lnTo>
                    <a:pt x="42" y="618"/>
                  </a:lnTo>
                  <a:lnTo>
                    <a:pt x="42" y="612"/>
                  </a:lnTo>
                  <a:lnTo>
                    <a:pt x="48" y="606"/>
                  </a:lnTo>
                  <a:lnTo>
                    <a:pt x="54" y="606"/>
                  </a:lnTo>
                  <a:lnTo>
                    <a:pt x="54" y="600"/>
                  </a:lnTo>
                  <a:lnTo>
                    <a:pt x="54" y="594"/>
                  </a:lnTo>
                  <a:lnTo>
                    <a:pt x="54" y="588"/>
                  </a:lnTo>
                  <a:lnTo>
                    <a:pt x="48" y="588"/>
                  </a:lnTo>
                  <a:lnTo>
                    <a:pt x="48" y="582"/>
                  </a:lnTo>
                  <a:lnTo>
                    <a:pt x="42" y="582"/>
                  </a:lnTo>
                  <a:lnTo>
                    <a:pt x="42" y="570"/>
                  </a:lnTo>
                  <a:lnTo>
                    <a:pt x="42" y="564"/>
                  </a:lnTo>
                  <a:lnTo>
                    <a:pt x="36" y="564"/>
                  </a:lnTo>
                  <a:close/>
                  <a:moveTo>
                    <a:pt x="498" y="420"/>
                  </a:moveTo>
                  <a:lnTo>
                    <a:pt x="504" y="426"/>
                  </a:lnTo>
                  <a:lnTo>
                    <a:pt x="510" y="432"/>
                  </a:lnTo>
                  <a:lnTo>
                    <a:pt x="516" y="432"/>
                  </a:lnTo>
                  <a:lnTo>
                    <a:pt x="516" y="438"/>
                  </a:lnTo>
                  <a:lnTo>
                    <a:pt x="510" y="438"/>
                  </a:lnTo>
                  <a:lnTo>
                    <a:pt x="504" y="438"/>
                  </a:lnTo>
                  <a:lnTo>
                    <a:pt x="504" y="432"/>
                  </a:lnTo>
                  <a:lnTo>
                    <a:pt x="498" y="432"/>
                  </a:lnTo>
                  <a:lnTo>
                    <a:pt x="498" y="426"/>
                  </a:lnTo>
                  <a:lnTo>
                    <a:pt x="498" y="4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4" name="Freeform 9">
              <a:extLst>
                <a:ext uri="{FF2B5EF4-FFF2-40B4-BE49-F238E27FC236}">
                  <a16:creationId xmlns:a16="http://schemas.microsoft.com/office/drawing/2014/main" id="{E0116D32-BD2E-45EA-B818-A3082585D5F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3055" y="2468650"/>
              <a:ext cx="800556" cy="1207710"/>
            </a:xfrm>
            <a:custGeom>
              <a:avLst/>
              <a:gdLst>
                <a:gd name="T0" fmla="*/ 24 w 1506"/>
                <a:gd name="T1" fmla="*/ 190 h 2274"/>
                <a:gd name="T2" fmla="*/ 25 w 1506"/>
                <a:gd name="T3" fmla="*/ 180 h 2274"/>
                <a:gd name="T4" fmla="*/ 21 w 1506"/>
                <a:gd name="T5" fmla="*/ 174 h 2274"/>
                <a:gd name="T6" fmla="*/ 17 w 1506"/>
                <a:gd name="T7" fmla="*/ 170 h 2274"/>
                <a:gd name="T8" fmla="*/ 12 w 1506"/>
                <a:gd name="T9" fmla="*/ 168 h 2274"/>
                <a:gd name="T10" fmla="*/ 10 w 1506"/>
                <a:gd name="T11" fmla="*/ 173 h 2274"/>
                <a:gd name="T12" fmla="*/ 7 w 1506"/>
                <a:gd name="T13" fmla="*/ 174 h 2274"/>
                <a:gd name="T14" fmla="*/ 0 w 1506"/>
                <a:gd name="T15" fmla="*/ 163 h 2274"/>
                <a:gd name="T16" fmla="*/ 16 w 1506"/>
                <a:gd name="T17" fmla="*/ 140 h 2274"/>
                <a:gd name="T18" fmla="*/ 19 w 1506"/>
                <a:gd name="T19" fmla="*/ 137 h 2274"/>
                <a:gd name="T20" fmla="*/ 24 w 1506"/>
                <a:gd name="T21" fmla="*/ 126 h 2274"/>
                <a:gd name="T22" fmla="*/ 23 w 1506"/>
                <a:gd name="T23" fmla="*/ 105 h 2274"/>
                <a:gd name="T24" fmla="*/ 14 w 1506"/>
                <a:gd name="T25" fmla="*/ 86 h 2274"/>
                <a:gd name="T26" fmla="*/ 8 w 1506"/>
                <a:gd name="T27" fmla="*/ 84 h 2274"/>
                <a:gd name="T28" fmla="*/ 5 w 1506"/>
                <a:gd name="T29" fmla="*/ 79 h 2274"/>
                <a:gd name="T30" fmla="*/ 16 w 1506"/>
                <a:gd name="T31" fmla="*/ 71 h 2274"/>
                <a:gd name="T32" fmla="*/ 28 w 1506"/>
                <a:gd name="T33" fmla="*/ 55 h 2274"/>
                <a:gd name="T34" fmla="*/ 29 w 1506"/>
                <a:gd name="T35" fmla="*/ 48 h 2274"/>
                <a:gd name="T36" fmla="*/ 35 w 1506"/>
                <a:gd name="T37" fmla="*/ 50 h 2274"/>
                <a:gd name="T38" fmla="*/ 42 w 1506"/>
                <a:gd name="T39" fmla="*/ 47 h 2274"/>
                <a:gd name="T40" fmla="*/ 63 w 1506"/>
                <a:gd name="T41" fmla="*/ 34 h 2274"/>
                <a:gd name="T42" fmla="*/ 74 w 1506"/>
                <a:gd name="T43" fmla="*/ 27 h 2274"/>
                <a:gd name="T44" fmla="*/ 81 w 1506"/>
                <a:gd name="T45" fmla="*/ 20 h 2274"/>
                <a:gd name="T46" fmla="*/ 89 w 1506"/>
                <a:gd name="T47" fmla="*/ 20 h 2274"/>
                <a:gd name="T48" fmla="*/ 98 w 1506"/>
                <a:gd name="T49" fmla="*/ 27 h 2274"/>
                <a:gd name="T50" fmla="*/ 106 w 1506"/>
                <a:gd name="T51" fmla="*/ 17 h 2274"/>
                <a:gd name="T52" fmla="*/ 111 w 1506"/>
                <a:gd name="T53" fmla="*/ 8 h 2274"/>
                <a:gd name="T54" fmla="*/ 121 w 1506"/>
                <a:gd name="T55" fmla="*/ 2 h 2274"/>
                <a:gd name="T56" fmla="*/ 129 w 1506"/>
                <a:gd name="T57" fmla="*/ 5 h 2274"/>
                <a:gd name="T58" fmla="*/ 125 w 1506"/>
                <a:gd name="T59" fmla="*/ 12 h 2274"/>
                <a:gd name="T60" fmla="*/ 122 w 1506"/>
                <a:gd name="T61" fmla="*/ 20 h 2274"/>
                <a:gd name="T62" fmla="*/ 122 w 1506"/>
                <a:gd name="T63" fmla="*/ 27 h 2274"/>
                <a:gd name="T64" fmla="*/ 120 w 1506"/>
                <a:gd name="T65" fmla="*/ 36 h 2274"/>
                <a:gd name="T66" fmla="*/ 116 w 1506"/>
                <a:gd name="T67" fmla="*/ 43 h 2274"/>
                <a:gd name="T68" fmla="*/ 109 w 1506"/>
                <a:gd name="T69" fmla="*/ 47 h 2274"/>
                <a:gd name="T70" fmla="*/ 108 w 1506"/>
                <a:gd name="T71" fmla="*/ 54 h 2274"/>
                <a:gd name="T72" fmla="*/ 106 w 1506"/>
                <a:gd name="T73" fmla="*/ 59 h 2274"/>
                <a:gd name="T74" fmla="*/ 109 w 1506"/>
                <a:gd name="T75" fmla="*/ 64 h 2274"/>
                <a:gd name="T76" fmla="*/ 106 w 1506"/>
                <a:gd name="T77" fmla="*/ 70 h 2274"/>
                <a:gd name="T78" fmla="*/ 105 w 1506"/>
                <a:gd name="T79" fmla="*/ 75 h 2274"/>
                <a:gd name="T80" fmla="*/ 101 w 1506"/>
                <a:gd name="T81" fmla="*/ 78 h 2274"/>
                <a:gd name="T82" fmla="*/ 92 w 1506"/>
                <a:gd name="T83" fmla="*/ 81 h 2274"/>
                <a:gd name="T84" fmla="*/ 85 w 1506"/>
                <a:gd name="T85" fmla="*/ 85 h 2274"/>
                <a:gd name="T86" fmla="*/ 87 w 1506"/>
                <a:gd name="T87" fmla="*/ 91 h 2274"/>
                <a:gd name="T88" fmla="*/ 86 w 1506"/>
                <a:gd name="T89" fmla="*/ 98 h 2274"/>
                <a:gd name="T90" fmla="*/ 86 w 1506"/>
                <a:gd name="T91" fmla="*/ 103 h 2274"/>
                <a:gd name="T92" fmla="*/ 82 w 1506"/>
                <a:gd name="T93" fmla="*/ 111 h 2274"/>
                <a:gd name="T94" fmla="*/ 81 w 1506"/>
                <a:gd name="T95" fmla="*/ 116 h 2274"/>
                <a:gd name="T96" fmla="*/ 78 w 1506"/>
                <a:gd name="T97" fmla="*/ 120 h 2274"/>
                <a:gd name="T98" fmla="*/ 76 w 1506"/>
                <a:gd name="T99" fmla="*/ 126 h 2274"/>
                <a:gd name="T100" fmla="*/ 68 w 1506"/>
                <a:gd name="T101" fmla="*/ 129 h 2274"/>
                <a:gd name="T102" fmla="*/ 62 w 1506"/>
                <a:gd name="T103" fmla="*/ 131 h 2274"/>
                <a:gd name="T104" fmla="*/ 58 w 1506"/>
                <a:gd name="T105" fmla="*/ 136 h 2274"/>
                <a:gd name="T106" fmla="*/ 51 w 1506"/>
                <a:gd name="T107" fmla="*/ 138 h 2274"/>
                <a:gd name="T108" fmla="*/ 51 w 1506"/>
                <a:gd name="T109" fmla="*/ 147 h 2274"/>
                <a:gd name="T110" fmla="*/ 49 w 1506"/>
                <a:gd name="T111" fmla="*/ 159 h 2274"/>
                <a:gd name="T112" fmla="*/ 48 w 1506"/>
                <a:gd name="T113" fmla="*/ 166 h 2274"/>
                <a:gd name="T114" fmla="*/ 41 w 1506"/>
                <a:gd name="T115" fmla="*/ 174 h 2274"/>
                <a:gd name="T116" fmla="*/ 39 w 1506"/>
                <a:gd name="T117" fmla="*/ 181 h 2274"/>
                <a:gd name="T118" fmla="*/ 37 w 1506"/>
                <a:gd name="T119" fmla="*/ 190 h 2274"/>
                <a:gd name="T120" fmla="*/ 29 w 1506"/>
                <a:gd name="T121" fmla="*/ 198 h 22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06"/>
                <a:gd name="T184" fmla="*/ 0 h 2274"/>
                <a:gd name="T185" fmla="*/ 1506 w 1506"/>
                <a:gd name="T186" fmla="*/ 2274 h 227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06" h="2274">
                  <a:moveTo>
                    <a:pt x="330" y="2274"/>
                  </a:moveTo>
                  <a:lnTo>
                    <a:pt x="318" y="2262"/>
                  </a:lnTo>
                  <a:lnTo>
                    <a:pt x="312" y="2238"/>
                  </a:lnTo>
                  <a:lnTo>
                    <a:pt x="312" y="2232"/>
                  </a:lnTo>
                  <a:lnTo>
                    <a:pt x="294" y="2214"/>
                  </a:lnTo>
                  <a:lnTo>
                    <a:pt x="288" y="2208"/>
                  </a:lnTo>
                  <a:lnTo>
                    <a:pt x="288" y="2202"/>
                  </a:lnTo>
                  <a:lnTo>
                    <a:pt x="276" y="2196"/>
                  </a:lnTo>
                  <a:lnTo>
                    <a:pt x="276" y="2190"/>
                  </a:lnTo>
                  <a:lnTo>
                    <a:pt x="282" y="2190"/>
                  </a:lnTo>
                  <a:lnTo>
                    <a:pt x="282" y="2184"/>
                  </a:lnTo>
                  <a:lnTo>
                    <a:pt x="276" y="2172"/>
                  </a:lnTo>
                  <a:lnTo>
                    <a:pt x="276" y="2166"/>
                  </a:lnTo>
                  <a:lnTo>
                    <a:pt x="282" y="2166"/>
                  </a:lnTo>
                  <a:lnTo>
                    <a:pt x="282" y="2154"/>
                  </a:lnTo>
                  <a:lnTo>
                    <a:pt x="276" y="2136"/>
                  </a:lnTo>
                  <a:lnTo>
                    <a:pt x="276" y="2112"/>
                  </a:lnTo>
                  <a:lnTo>
                    <a:pt x="282" y="2088"/>
                  </a:lnTo>
                  <a:lnTo>
                    <a:pt x="282" y="2082"/>
                  </a:lnTo>
                  <a:lnTo>
                    <a:pt x="282" y="2076"/>
                  </a:lnTo>
                  <a:lnTo>
                    <a:pt x="282" y="2070"/>
                  </a:lnTo>
                  <a:lnTo>
                    <a:pt x="288" y="2070"/>
                  </a:lnTo>
                  <a:lnTo>
                    <a:pt x="288" y="2064"/>
                  </a:lnTo>
                  <a:lnTo>
                    <a:pt x="282" y="2052"/>
                  </a:lnTo>
                  <a:lnTo>
                    <a:pt x="282" y="2046"/>
                  </a:lnTo>
                  <a:lnTo>
                    <a:pt x="276" y="2040"/>
                  </a:lnTo>
                  <a:lnTo>
                    <a:pt x="270" y="2034"/>
                  </a:lnTo>
                  <a:lnTo>
                    <a:pt x="264" y="2022"/>
                  </a:lnTo>
                  <a:lnTo>
                    <a:pt x="258" y="2022"/>
                  </a:lnTo>
                  <a:lnTo>
                    <a:pt x="258" y="2016"/>
                  </a:lnTo>
                  <a:lnTo>
                    <a:pt x="252" y="2016"/>
                  </a:lnTo>
                  <a:lnTo>
                    <a:pt x="246" y="2016"/>
                  </a:lnTo>
                  <a:lnTo>
                    <a:pt x="240" y="2010"/>
                  </a:lnTo>
                  <a:lnTo>
                    <a:pt x="234" y="2004"/>
                  </a:lnTo>
                  <a:lnTo>
                    <a:pt x="228" y="2004"/>
                  </a:lnTo>
                  <a:lnTo>
                    <a:pt x="228" y="1998"/>
                  </a:lnTo>
                  <a:lnTo>
                    <a:pt x="228" y="1992"/>
                  </a:lnTo>
                  <a:lnTo>
                    <a:pt x="222" y="1992"/>
                  </a:lnTo>
                  <a:lnTo>
                    <a:pt x="222" y="1986"/>
                  </a:lnTo>
                  <a:lnTo>
                    <a:pt x="216" y="1986"/>
                  </a:lnTo>
                  <a:lnTo>
                    <a:pt x="210" y="1980"/>
                  </a:lnTo>
                  <a:lnTo>
                    <a:pt x="216" y="1974"/>
                  </a:lnTo>
                  <a:lnTo>
                    <a:pt x="210" y="1968"/>
                  </a:lnTo>
                  <a:lnTo>
                    <a:pt x="198" y="1956"/>
                  </a:lnTo>
                  <a:lnTo>
                    <a:pt x="192" y="1956"/>
                  </a:lnTo>
                  <a:lnTo>
                    <a:pt x="186" y="1956"/>
                  </a:lnTo>
                  <a:lnTo>
                    <a:pt x="180" y="1944"/>
                  </a:lnTo>
                  <a:lnTo>
                    <a:pt x="180" y="1938"/>
                  </a:lnTo>
                  <a:lnTo>
                    <a:pt x="174" y="1932"/>
                  </a:lnTo>
                  <a:lnTo>
                    <a:pt x="168" y="1932"/>
                  </a:lnTo>
                  <a:lnTo>
                    <a:pt x="162" y="1932"/>
                  </a:lnTo>
                  <a:lnTo>
                    <a:pt x="150" y="1932"/>
                  </a:lnTo>
                  <a:lnTo>
                    <a:pt x="150" y="1926"/>
                  </a:lnTo>
                  <a:lnTo>
                    <a:pt x="150" y="1932"/>
                  </a:lnTo>
                  <a:lnTo>
                    <a:pt x="144" y="1932"/>
                  </a:lnTo>
                  <a:lnTo>
                    <a:pt x="138" y="1932"/>
                  </a:lnTo>
                  <a:lnTo>
                    <a:pt x="132" y="1932"/>
                  </a:lnTo>
                  <a:lnTo>
                    <a:pt x="132" y="1938"/>
                  </a:lnTo>
                  <a:lnTo>
                    <a:pt x="126" y="1944"/>
                  </a:lnTo>
                  <a:lnTo>
                    <a:pt x="126" y="1956"/>
                  </a:lnTo>
                  <a:lnTo>
                    <a:pt x="120" y="1968"/>
                  </a:lnTo>
                  <a:lnTo>
                    <a:pt x="120" y="1974"/>
                  </a:lnTo>
                  <a:lnTo>
                    <a:pt x="120" y="1980"/>
                  </a:lnTo>
                  <a:lnTo>
                    <a:pt x="126" y="1980"/>
                  </a:lnTo>
                  <a:lnTo>
                    <a:pt x="120" y="1986"/>
                  </a:lnTo>
                  <a:lnTo>
                    <a:pt x="120" y="1992"/>
                  </a:lnTo>
                  <a:lnTo>
                    <a:pt x="114" y="1992"/>
                  </a:lnTo>
                  <a:lnTo>
                    <a:pt x="114" y="1986"/>
                  </a:lnTo>
                  <a:lnTo>
                    <a:pt x="108" y="1992"/>
                  </a:lnTo>
                  <a:lnTo>
                    <a:pt x="108" y="1998"/>
                  </a:lnTo>
                  <a:lnTo>
                    <a:pt x="114" y="2004"/>
                  </a:lnTo>
                  <a:lnTo>
                    <a:pt x="108" y="2004"/>
                  </a:lnTo>
                  <a:lnTo>
                    <a:pt x="102" y="2010"/>
                  </a:lnTo>
                  <a:lnTo>
                    <a:pt x="102" y="2004"/>
                  </a:lnTo>
                  <a:lnTo>
                    <a:pt x="90" y="2004"/>
                  </a:lnTo>
                  <a:lnTo>
                    <a:pt x="84" y="2004"/>
                  </a:lnTo>
                  <a:lnTo>
                    <a:pt x="78" y="1998"/>
                  </a:lnTo>
                  <a:lnTo>
                    <a:pt x="78" y="1992"/>
                  </a:lnTo>
                  <a:lnTo>
                    <a:pt x="78" y="1986"/>
                  </a:lnTo>
                  <a:lnTo>
                    <a:pt x="72" y="1986"/>
                  </a:lnTo>
                  <a:lnTo>
                    <a:pt x="66" y="1980"/>
                  </a:lnTo>
                  <a:lnTo>
                    <a:pt x="66" y="1968"/>
                  </a:lnTo>
                  <a:lnTo>
                    <a:pt x="60" y="1956"/>
                  </a:lnTo>
                  <a:lnTo>
                    <a:pt x="60" y="1950"/>
                  </a:lnTo>
                  <a:lnTo>
                    <a:pt x="48" y="1944"/>
                  </a:lnTo>
                  <a:lnTo>
                    <a:pt x="30" y="1926"/>
                  </a:lnTo>
                  <a:lnTo>
                    <a:pt x="12" y="1890"/>
                  </a:lnTo>
                  <a:lnTo>
                    <a:pt x="6" y="1872"/>
                  </a:lnTo>
                  <a:lnTo>
                    <a:pt x="0" y="1854"/>
                  </a:lnTo>
                  <a:lnTo>
                    <a:pt x="6" y="1824"/>
                  </a:lnTo>
                  <a:lnTo>
                    <a:pt x="30" y="1794"/>
                  </a:lnTo>
                  <a:lnTo>
                    <a:pt x="66" y="1752"/>
                  </a:lnTo>
                  <a:lnTo>
                    <a:pt x="72" y="1752"/>
                  </a:lnTo>
                  <a:lnTo>
                    <a:pt x="78" y="1746"/>
                  </a:lnTo>
                  <a:lnTo>
                    <a:pt x="84" y="1746"/>
                  </a:lnTo>
                  <a:lnTo>
                    <a:pt x="90" y="1746"/>
                  </a:lnTo>
                  <a:lnTo>
                    <a:pt x="138" y="1674"/>
                  </a:lnTo>
                  <a:lnTo>
                    <a:pt x="186" y="1620"/>
                  </a:lnTo>
                  <a:lnTo>
                    <a:pt x="186" y="1614"/>
                  </a:lnTo>
                  <a:lnTo>
                    <a:pt x="186" y="1608"/>
                  </a:lnTo>
                  <a:lnTo>
                    <a:pt x="192" y="1608"/>
                  </a:lnTo>
                  <a:lnTo>
                    <a:pt x="192" y="1614"/>
                  </a:lnTo>
                  <a:lnTo>
                    <a:pt x="198" y="1614"/>
                  </a:lnTo>
                  <a:lnTo>
                    <a:pt x="198" y="1608"/>
                  </a:lnTo>
                  <a:lnTo>
                    <a:pt x="198" y="1602"/>
                  </a:lnTo>
                  <a:lnTo>
                    <a:pt x="204" y="1602"/>
                  </a:lnTo>
                  <a:lnTo>
                    <a:pt x="204" y="1596"/>
                  </a:lnTo>
                  <a:lnTo>
                    <a:pt x="210" y="1590"/>
                  </a:lnTo>
                  <a:lnTo>
                    <a:pt x="216" y="1590"/>
                  </a:lnTo>
                  <a:lnTo>
                    <a:pt x="216" y="1584"/>
                  </a:lnTo>
                  <a:lnTo>
                    <a:pt x="222" y="1584"/>
                  </a:lnTo>
                  <a:lnTo>
                    <a:pt x="228" y="1572"/>
                  </a:lnTo>
                  <a:lnTo>
                    <a:pt x="222" y="1572"/>
                  </a:lnTo>
                  <a:lnTo>
                    <a:pt x="228" y="1566"/>
                  </a:lnTo>
                  <a:lnTo>
                    <a:pt x="228" y="1560"/>
                  </a:lnTo>
                  <a:lnTo>
                    <a:pt x="252" y="1548"/>
                  </a:lnTo>
                  <a:lnTo>
                    <a:pt x="276" y="1530"/>
                  </a:lnTo>
                  <a:lnTo>
                    <a:pt x="282" y="1512"/>
                  </a:lnTo>
                  <a:lnTo>
                    <a:pt x="282" y="1506"/>
                  </a:lnTo>
                  <a:lnTo>
                    <a:pt x="282" y="1494"/>
                  </a:lnTo>
                  <a:lnTo>
                    <a:pt x="282" y="1452"/>
                  </a:lnTo>
                  <a:lnTo>
                    <a:pt x="288" y="1440"/>
                  </a:lnTo>
                  <a:lnTo>
                    <a:pt x="294" y="1440"/>
                  </a:lnTo>
                  <a:lnTo>
                    <a:pt x="294" y="1428"/>
                  </a:lnTo>
                  <a:lnTo>
                    <a:pt x="324" y="1368"/>
                  </a:lnTo>
                  <a:lnTo>
                    <a:pt x="330" y="1362"/>
                  </a:lnTo>
                  <a:lnTo>
                    <a:pt x="330" y="1356"/>
                  </a:lnTo>
                  <a:lnTo>
                    <a:pt x="360" y="1338"/>
                  </a:lnTo>
                  <a:lnTo>
                    <a:pt x="366" y="1296"/>
                  </a:lnTo>
                  <a:lnTo>
                    <a:pt x="354" y="1278"/>
                  </a:lnTo>
                  <a:lnTo>
                    <a:pt x="336" y="1230"/>
                  </a:lnTo>
                  <a:lnTo>
                    <a:pt x="270" y="1212"/>
                  </a:lnTo>
                  <a:lnTo>
                    <a:pt x="264" y="1212"/>
                  </a:lnTo>
                  <a:lnTo>
                    <a:pt x="252" y="1200"/>
                  </a:lnTo>
                  <a:lnTo>
                    <a:pt x="234" y="1188"/>
                  </a:lnTo>
                  <a:lnTo>
                    <a:pt x="222" y="1182"/>
                  </a:lnTo>
                  <a:lnTo>
                    <a:pt x="228" y="1104"/>
                  </a:lnTo>
                  <a:lnTo>
                    <a:pt x="228" y="1098"/>
                  </a:lnTo>
                  <a:lnTo>
                    <a:pt x="198" y="1038"/>
                  </a:lnTo>
                  <a:lnTo>
                    <a:pt x="192" y="1032"/>
                  </a:lnTo>
                  <a:lnTo>
                    <a:pt x="180" y="1020"/>
                  </a:lnTo>
                  <a:lnTo>
                    <a:pt x="168" y="996"/>
                  </a:lnTo>
                  <a:lnTo>
                    <a:pt x="162" y="990"/>
                  </a:lnTo>
                  <a:lnTo>
                    <a:pt x="156" y="990"/>
                  </a:lnTo>
                  <a:lnTo>
                    <a:pt x="150" y="990"/>
                  </a:lnTo>
                  <a:lnTo>
                    <a:pt x="132" y="990"/>
                  </a:lnTo>
                  <a:lnTo>
                    <a:pt x="120" y="984"/>
                  </a:lnTo>
                  <a:lnTo>
                    <a:pt x="120" y="990"/>
                  </a:lnTo>
                  <a:lnTo>
                    <a:pt x="114" y="990"/>
                  </a:lnTo>
                  <a:lnTo>
                    <a:pt x="102" y="984"/>
                  </a:lnTo>
                  <a:lnTo>
                    <a:pt x="96" y="984"/>
                  </a:lnTo>
                  <a:lnTo>
                    <a:pt x="96" y="978"/>
                  </a:lnTo>
                  <a:lnTo>
                    <a:pt x="90" y="978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84" y="960"/>
                  </a:lnTo>
                  <a:lnTo>
                    <a:pt x="84" y="954"/>
                  </a:lnTo>
                  <a:lnTo>
                    <a:pt x="78" y="948"/>
                  </a:lnTo>
                  <a:lnTo>
                    <a:pt x="72" y="948"/>
                  </a:lnTo>
                  <a:lnTo>
                    <a:pt x="72" y="942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06"/>
                  </a:lnTo>
                  <a:lnTo>
                    <a:pt x="60" y="888"/>
                  </a:lnTo>
                  <a:lnTo>
                    <a:pt x="54" y="882"/>
                  </a:lnTo>
                  <a:lnTo>
                    <a:pt x="60" y="882"/>
                  </a:lnTo>
                  <a:lnTo>
                    <a:pt x="72" y="876"/>
                  </a:lnTo>
                  <a:lnTo>
                    <a:pt x="78" y="876"/>
                  </a:lnTo>
                  <a:lnTo>
                    <a:pt x="90" y="870"/>
                  </a:lnTo>
                  <a:lnTo>
                    <a:pt x="90" y="864"/>
                  </a:lnTo>
                  <a:lnTo>
                    <a:pt x="96" y="840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80" y="822"/>
                  </a:lnTo>
                  <a:lnTo>
                    <a:pt x="204" y="798"/>
                  </a:lnTo>
                  <a:lnTo>
                    <a:pt x="222" y="786"/>
                  </a:lnTo>
                  <a:lnTo>
                    <a:pt x="252" y="780"/>
                  </a:lnTo>
                  <a:lnTo>
                    <a:pt x="264" y="762"/>
                  </a:lnTo>
                  <a:lnTo>
                    <a:pt x="276" y="762"/>
                  </a:lnTo>
                  <a:lnTo>
                    <a:pt x="288" y="744"/>
                  </a:lnTo>
                  <a:lnTo>
                    <a:pt x="306" y="738"/>
                  </a:lnTo>
                  <a:lnTo>
                    <a:pt x="318" y="732"/>
                  </a:lnTo>
                  <a:lnTo>
                    <a:pt x="324" y="648"/>
                  </a:lnTo>
                  <a:lnTo>
                    <a:pt x="324" y="636"/>
                  </a:lnTo>
                  <a:lnTo>
                    <a:pt x="324" y="630"/>
                  </a:lnTo>
                  <a:lnTo>
                    <a:pt x="330" y="624"/>
                  </a:lnTo>
                  <a:lnTo>
                    <a:pt x="324" y="618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24" y="588"/>
                  </a:lnTo>
                  <a:lnTo>
                    <a:pt x="318" y="576"/>
                  </a:lnTo>
                  <a:lnTo>
                    <a:pt x="318" y="570"/>
                  </a:lnTo>
                  <a:lnTo>
                    <a:pt x="324" y="570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30" y="558"/>
                  </a:lnTo>
                  <a:lnTo>
                    <a:pt x="336" y="558"/>
                  </a:lnTo>
                  <a:lnTo>
                    <a:pt x="342" y="558"/>
                  </a:lnTo>
                  <a:lnTo>
                    <a:pt x="348" y="558"/>
                  </a:lnTo>
                  <a:lnTo>
                    <a:pt x="354" y="564"/>
                  </a:lnTo>
                  <a:lnTo>
                    <a:pt x="360" y="564"/>
                  </a:lnTo>
                  <a:lnTo>
                    <a:pt x="366" y="570"/>
                  </a:lnTo>
                  <a:lnTo>
                    <a:pt x="366" y="576"/>
                  </a:lnTo>
                  <a:lnTo>
                    <a:pt x="372" y="570"/>
                  </a:lnTo>
                  <a:lnTo>
                    <a:pt x="378" y="570"/>
                  </a:lnTo>
                  <a:lnTo>
                    <a:pt x="390" y="570"/>
                  </a:lnTo>
                  <a:lnTo>
                    <a:pt x="402" y="570"/>
                  </a:lnTo>
                  <a:lnTo>
                    <a:pt x="408" y="570"/>
                  </a:lnTo>
                  <a:lnTo>
                    <a:pt x="414" y="564"/>
                  </a:lnTo>
                  <a:lnTo>
                    <a:pt x="420" y="564"/>
                  </a:lnTo>
                  <a:lnTo>
                    <a:pt x="420" y="570"/>
                  </a:lnTo>
                  <a:lnTo>
                    <a:pt x="426" y="570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44" y="570"/>
                  </a:lnTo>
                  <a:lnTo>
                    <a:pt x="450" y="564"/>
                  </a:lnTo>
                  <a:lnTo>
                    <a:pt x="474" y="558"/>
                  </a:lnTo>
                  <a:lnTo>
                    <a:pt x="486" y="54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40" y="474"/>
                  </a:lnTo>
                  <a:lnTo>
                    <a:pt x="558" y="456"/>
                  </a:lnTo>
                  <a:lnTo>
                    <a:pt x="582" y="450"/>
                  </a:lnTo>
                  <a:lnTo>
                    <a:pt x="594" y="414"/>
                  </a:lnTo>
                  <a:lnTo>
                    <a:pt x="612" y="390"/>
                  </a:lnTo>
                  <a:lnTo>
                    <a:pt x="636" y="390"/>
                  </a:lnTo>
                  <a:lnTo>
                    <a:pt x="666" y="390"/>
                  </a:lnTo>
                  <a:lnTo>
                    <a:pt x="696" y="390"/>
                  </a:lnTo>
                  <a:lnTo>
                    <a:pt x="726" y="390"/>
                  </a:lnTo>
                  <a:lnTo>
                    <a:pt x="762" y="378"/>
                  </a:lnTo>
                  <a:lnTo>
                    <a:pt x="780" y="366"/>
                  </a:lnTo>
                  <a:lnTo>
                    <a:pt x="780" y="342"/>
                  </a:lnTo>
                  <a:lnTo>
                    <a:pt x="786" y="342"/>
                  </a:lnTo>
                  <a:lnTo>
                    <a:pt x="786" y="336"/>
                  </a:lnTo>
                  <a:lnTo>
                    <a:pt x="786" y="330"/>
                  </a:lnTo>
                  <a:lnTo>
                    <a:pt x="786" y="324"/>
                  </a:lnTo>
                  <a:lnTo>
                    <a:pt x="816" y="318"/>
                  </a:lnTo>
                  <a:lnTo>
                    <a:pt x="834" y="312"/>
                  </a:lnTo>
                  <a:lnTo>
                    <a:pt x="840" y="318"/>
                  </a:lnTo>
                  <a:lnTo>
                    <a:pt x="852" y="318"/>
                  </a:lnTo>
                  <a:lnTo>
                    <a:pt x="858" y="306"/>
                  </a:lnTo>
                  <a:lnTo>
                    <a:pt x="864" y="288"/>
                  </a:lnTo>
                  <a:lnTo>
                    <a:pt x="870" y="282"/>
                  </a:lnTo>
                  <a:lnTo>
                    <a:pt x="876" y="276"/>
                  </a:lnTo>
                  <a:lnTo>
                    <a:pt x="882" y="264"/>
                  </a:lnTo>
                  <a:lnTo>
                    <a:pt x="882" y="258"/>
                  </a:lnTo>
                  <a:lnTo>
                    <a:pt x="888" y="252"/>
                  </a:lnTo>
                  <a:lnTo>
                    <a:pt x="894" y="240"/>
                  </a:lnTo>
                  <a:lnTo>
                    <a:pt x="906" y="228"/>
                  </a:lnTo>
                  <a:lnTo>
                    <a:pt x="912" y="228"/>
                  </a:lnTo>
                  <a:lnTo>
                    <a:pt x="936" y="228"/>
                  </a:lnTo>
                  <a:lnTo>
                    <a:pt x="942" y="222"/>
                  </a:lnTo>
                  <a:lnTo>
                    <a:pt x="948" y="216"/>
                  </a:lnTo>
                  <a:lnTo>
                    <a:pt x="954" y="216"/>
                  </a:lnTo>
                  <a:lnTo>
                    <a:pt x="960" y="216"/>
                  </a:lnTo>
                  <a:lnTo>
                    <a:pt x="966" y="216"/>
                  </a:lnTo>
                  <a:lnTo>
                    <a:pt x="978" y="216"/>
                  </a:lnTo>
                  <a:lnTo>
                    <a:pt x="990" y="222"/>
                  </a:lnTo>
                  <a:lnTo>
                    <a:pt x="996" y="222"/>
                  </a:lnTo>
                  <a:lnTo>
                    <a:pt x="1002" y="228"/>
                  </a:lnTo>
                  <a:lnTo>
                    <a:pt x="1014" y="234"/>
                  </a:lnTo>
                  <a:lnTo>
                    <a:pt x="1020" y="234"/>
                  </a:lnTo>
                  <a:lnTo>
                    <a:pt x="1032" y="240"/>
                  </a:lnTo>
                  <a:lnTo>
                    <a:pt x="1044" y="240"/>
                  </a:lnTo>
                  <a:lnTo>
                    <a:pt x="1050" y="240"/>
                  </a:lnTo>
                  <a:lnTo>
                    <a:pt x="1056" y="246"/>
                  </a:lnTo>
                  <a:lnTo>
                    <a:pt x="1068" y="264"/>
                  </a:lnTo>
                  <a:lnTo>
                    <a:pt x="1086" y="276"/>
                  </a:lnTo>
                  <a:lnTo>
                    <a:pt x="1092" y="276"/>
                  </a:lnTo>
                  <a:lnTo>
                    <a:pt x="1104" y="282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8" y="312"/>
                  </a:lnTo>
                  <a:lnTo>
                    <a:pt x="1152" y="324"/>
                  </a:lnTo>
                  <a:lnTo>
                    <a:pt x="1188" y="324"/>
                  </a:lnTo>
                  <a:lnTo>
                    <a:pt x="1206" y="318"/>
                  </a:lnTo>
                  <a:lnTo>
                    <a:pt x="1200" y="294"/>
                  </a:lnTo>
                  <a:lnTo>
                    <a:pt x="1206" y="252"/>
                  </a:lnTo>
                  <a:lnTo>
                    <a:pt x="1218" y="222"/>
                  </a:lnTo>
                  <a:lnTo>
                    <a:pt x="1212" y="222"/>
                  </a:lnTo>
                  <a:lnTo>
                    <a:pt x="1212" y="216"/>
                  </a:lnTo>
                  <a:lnTo>
                    <a:pt x="1218" y="204"/>
                  </a:lnTo>
                  <a:lnTo>
                    <a:pt x="1224" y="198"/>
                  </a:lnTo>
                  <a:lnTo>
                    <a:pt x="1224" y="192"/>
                  </a:lnTo>
                  <a:lnTo>
                    <a:pt x="1236" y="180"/>
                  </a:lnTo>
                  <a:lnTo>
                    <a:pt x="1254" y="156"/>
                  </a:lnTo>
                  <a:lnTo>
                    <a:pt x="1260" y="150"/>
                  </a:lnTo>
                  <a:lnTo>
                    <a:pt x="1260" y="144"/>
                  </a:lnTo>
                  <a:lnTo>
                    <a:pt x="1266" y="138"/>
                  </a:lnTo>
                  <a:lnTo>
                    <a:pt x="1272" y="138"/>
                  </a:lnTo>
                  <a:lnTo>
                    <a:pt x="1272" y="120"/>
                  </a:lnTo>
                  <a:lnTo>
                    <a:pt x="1278" y="114"/>
                  </a:lnTo>
                  <a:lnTo>
                    <a:pt x="1278" y="108"/>
                  </a:lnTo>
                  <a:lnTo>
                    <a:pt x="1278" y="102"/>
                  </a:lnTo>
                  <a:lnTo>
                    <a:pt x="1278" y="90"/>
                  </a:lnTo>
                  <a:lnTo>
                    <a:pt x="1278" y="84"/>
                  </a:lnTo>
                  <a:lnTo>
                    <a:pt x="1278" y="78"/>
                  </a:lnTo>
                  <a:lnTo>
                    <a:pt x="1278" y="72"/>
                  </a:lnTo>
                  <a:lnTo>
                    <a:pt x="1278" y="60"/>
                  </a:lnTo>
                  <a:lnTo>
                    <a:pt x="1284" y="48"/>
                  </a:lnTo>
                  <a:lnTo>
                    <a:pt x="1284" y="24"/>
                  </a:lnTo>
                  <a:lnTo>
                    <a:pt x="1284" y="18"/>
                  </a:lnTo>
                  <a:lnTo>
                    <a:pt x="1308" y="24"/>
                  </a:lnTo>
                  <a:lnTo>
                    <a:pt x="1332" y="30"/>
                  </a:lnTo>
                  <a:lnTo>
                    <a:pt x="1368" y="30"/>
                  </a:lnTo>
                  <a:lnTo>
                    <a:pt x="1392" y="24"/>
                  </a:lnTo>
                  <a:lnTo>
                    <a:pt x="1410" y="18"/>
                  </a:lnTo>
                  <a:lnTo>
                    <a:pt x="1416" y="6"/>
                  </a:lnTo>
                  <a:lnTo>
                    <a:pt x="1500" y="6"/>
                  </a:lnTo>
                  <a:lnTo>
                    <a:pt x="1506" y="0"/>
                  </a:lnTo>
                  <a:lnTo>
                    <a:pt x="1506" y="6"/>
                  </a:lnTo>
                  <a:lnTo>
                    <a:pt x="1506" y="18"/>
                  </a:lnTo>
                  <a:lnTo>
                    <a:pt x="1506" y="24"/>
                  </a:lnTo>
                  <a:lnTo>
                    <a:pt x="1500" y="30"/>
                  </a:lnTo>
                  <a:lnTo>
                    <a:pt x="1500" y="42"/>
                  </a:lnTo>
                  <a:lnTo>
                    <a:pt x="1494" y="54"/>
                  </a:lnTo>
                  <a:lnTo>
                    <a:pt x="1488" y="60"/>
                  </a:lnTo>
                  <a:lnTo>
                    <a:pt x="1482" y="60"/>
                  </a:lnTo>
                  <a:lnTo>
                    <a:pt x="1476" y="66"/>
                  </a:lnTo>
                  <a:lnTo>
                    <a:pt x="1476" y="72"/>
                  </a:lnTo>
                  <a:lnTo>
                    <a:pt x="1476" y="78"/>
                  </a:lnTo>
                  <a:lnTo>
                    <a:pt x="1470" y="78"/>
                  </a:lnTo>
                  <a:lnTo>
                    <a:pt x="1464" y="90"/>
                  </a:lnTo>
                  <a:lnTo>
                    <a:pt x="1458" y="96"/>
                  </a:lnTo>
                  <a:lnTo>
                    <a:pt x="1458" y="102"/>
                  </a:lnTo>
                  <a:lnTo>
                    <a:pt x="1452" y="120"/>
                  </a:lnTo>
                  <a:lnTo>
                    <a:pt x="1452" y="132"/>
                  </a:lnTo>
                  <a:lnTo>
                    <a:pt x="1446" y="144"/>
                  </a:lnTo>
                  <a:lnTo>
                    <a:pt x="1446" y="150"/>
                  </a:lnTo>
                  <a:lnTo>
                    <a:pt x="1440" y="150"/>
                  </a:lnTo>
                  <a:lnTo>
                    <a:pt x="1434" y="156"/>
                  </a:lnTo>
                  <a:lnTo>
                    <a:pt x="1428" y="168"/>
                  </a:lnTo>
                  <a:lnTo>
                    <a:pt x="1422" y="168"/>
                  </a:lnTo>
                  <a:lnTo>
                    <a:pt x="1416" y="174"/>
                  </a:lnTo>
                  <a:lnTo>
                    <a:pt x="1410" y="186"/>
                  </a:lnTo>
                  <a:lnTo>
                    <a:pt x="1410" y="204"/>
                  </a:lnTo>
                  <a:lnTo>
                    <a:pt x="1404" y="210"/>
                  </a:lnTo>
                  <a:lnTo>
                    <a:pt x="1404" y="216"/>
                  </a:lnTo>
                  <a:lnTo>
                    <a:pt x="1410" y="228"/>
                  </a:lnTo>
                  <a:lnTo>
                    <a:pt x="1410" y="234"/>
                  </a:lnTo>
                  <a:lnTo>
                    <a:pt x="1410" y="240"/>
                  </a:lnTo>
                  <a:lnTo>
                    <a:pt x="1416" y="252"/>
                  </a:lnTo>
                  <a:lnTo>
                    <a:pt x="1416" y="258"/>
                  </a:lnTo>
                  <a:lnTo>
                    <a:pt x="1422" y="264"/>
                  </a:lnTo>
                  <a:lnTo>
                    <a:pt x="1422" y="270"/>
                  </a:lnTo>
                  <a:lnTo>
                    <a:pt x="1422" y="282"/>
                  </a:lnTo>
                  <a:lnTo>
                    <a:pt x="1416" y="288"/>
                  </a:lnTo>
                  <a:lnTo>
                    <a:pt x="1410" y="294"/>
                  </a:lnTo>
                  <a:lnTo>
                    <a:pt x="1404" y="300"/>
                  </a:lnTo>
                  <a:lnTo>
                    <a:pt x="1404" y="306"/>
                  </a:lnTo>
                  <a:lnTo>
                    <a:pt x="1398" y="324"/>
                  </a:lnTo>
                  <a:lnTo>
                    <a:pt x="1404" y="330"/>
                  </a:lnTo>
                  <a:lnTo>
                    <a:pt x="1404" y="342"/>
                  </a:lnTo>
                  <a:lnTo>
                    <a:pt x="1392" y="354"/>
                  </a:lnTo>
                  <a:lnTo>
                    <a:pt x="1392" y="360"/>
                  </a:lnTo>
                  <a:lnTo>
                    <a:pt x="1392" y="372"/>
                  </a:lnTo>
                  <a:lnTo>
                    <a:pt x="1392" y="384"/>
                  </a:lnTo>
                  <a:lnTo>
                    <a:pt x="1392" y="396"/>
                  </a:lnTo>
                  <a:lnTo>
                    <a:pt x="1392" y="408"/>
                  </a:lnTo>
                  <a:lnTo>
                    <a:pt x="1386" y="414"/>
                  </a:lnTo>
                  <a:lnTo>
                    <a:pt x="1380" y="420"/>
                  </a:lnTo>
                  <a:lnTo>
                    <a:pt x="1380" y="426"/>
                  </a:lnTo>
                  <a:lnTo>
                    <a:pt x="1368" y="432"/>
                  </a:lnTo>
                  <a:lnTo>
                    <a:pt x="1362" y="444"/>
                  </a:lnTo>
                  <a:lnTo>
                    <a:pt x="1362" y="450"/>
                  </a:lnTo>
                  <a:lnTo>
                    <a:pt x="1362" y="462"/>
                  </a:lnTo>
                  <a:lnTo>
                    <a:pt x="1362" y="468"/>
                  </a:lnTo>
                  <a:lnTo>
                    <a:pt x="1362" y="474"/>
                  </a:lnTo>
                  <a:lnTo>
                    <a:pt x="1356" y="474"/>
                  </a:lnTo>
                  <a:lnTo>
                    <a:pt x="1350" y="480"/>
                  </a:lnTo>
                  <a:lnTo>
                    <a:pt x="1344" y="486"/>
                  </a:lnTo>
                  <a:lnTo>
                    <a:pt x="1338" y="498"/>
                  </a:lnTo>
                  <a:lnTo>
                    <a:pt x="1332" y="510"/>
                  </a:lnTo>
                  <a:lnTo>
                    <a:pt x="1320" y="510"/>
                  </a:lnTo>
                  <a:lnTo>
                    <a:pt x="1314" y="516"/>
                  </a:lnTo>
                  <a:lnTo>
                    <a:pt x="1302" y="522"/>
                  </a:lnTo>
                  <a:lnTo>
                    <a:pt x="1296" y="522"/>
                  </a:lnTo>
                  <a:lnTo>
                    <a:pt x="1284" y="516"/>
                  </a:lnTo>
                  <a:lnTo>
                    <a:pt x="1278" y="516"/>
                  </a:lnTo>
                  <a:lnTo>
                    <a:pt x="1272" y="522"/>
                  </a:lnTo>
                  <a:lnTo>
                    <a:pt x="1266" y="522"/>
                  </a:lnTo>
                  <a:lnTo>
                    <a:pt x="1266" y="528"/>
                  </a:lnTo>
                  <a:lnTo>
                    <a:pt x="1254" y="540"/>
                  </a:lnTo>
                  <a:lnTo>
                    <a:pt x="1248" y="546"/>
                  </a:lnTo>
                  <a:lnTo>
                    <a:pt x="1242" y="558"/>
                  </a:lnTo>
                  <a:lnTo>
                    <a:pt x="1230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30" y="594"/>
                  </a:lnTo>
                  <a:lnTo>
                    <a:pt x="1230" y="600"/>
                  </a:lnTo>
                  <a:lnTo>
                    <a:pt x="1236" y="606"/>
                  </a:lnTo>
                  <a:lnTo>
                    <a:pt x="1242" y="606"/>
                  </a:lnTo>
                  <a:lnTo>
                    <a:pt x="1242" y="612"/>
                  </a:lnTo>
                  <a:lnTo>
                    <a:pt x="1242" y="618"/>
                  </a:lnTo>
                  <a:lnTo>
                    <a:pt x="1242" y="624"/>
                  </a:lnTo>
                  <a:lnTo>
                    <a:pt x="1236" y="630"/>
                  </a:lnTo>
                  <a:lnTo>
                    <a:pt x="1230" y="642"/>
                  </a:lnTo>
                  <a:lnTo>
                    <a:pt x="1230" y="648"/>
                  </a:lnTo>
                  <a:lnTo>
                    <a:pt x="1218" y="654"/>
                  </a:lnTo>
                  <a:lnTo>
                    <a:pt x="1212" y="654"/>
                  </a:lnTo>
                  <a:lnTo>
                    <a:pt x="1212" y="660"/>
                  </a:lnTo>
                  <a:lnTo>
                    <a:pt x="1212" y="666"/>
                  </a:lnTo>
                  <a:lnTo>
                    <a:pt x="1212" y="672"/>
                  </a:lnTo>
                  <a:lnTo>
                    <a:pt x="1212" y="678"/>
                  </a:lnTo>
                  <a:lnTo>
                    <a:pt x="1218" y="684"/>
                  </a:lnTo>
                  <a:lnTo>
                    <a:pt x="1218" y="690"/>
                  </a:lnTo>
                  <a:lnTo>
                    <a:pt x="1224" y="696"/>
                  </a:lnTo>
                  <a:lnTo>
                    <a:pt x="1230" y="702"/>
                  </a:lnTo>
                  <a:lnTo>
                    <a:pt x="1236" y="696"/>
                  </a:lnTo>
                  <a:lnTo>
                    <a:pt x="1242" y="702"/>
                  </a:lnTo>
                  <a:lnTo>
                    <a:pt x="1248" y="708"/>
                  </a:lnTo>
                  <a:lnTo>
                    <a:pt x="1254" y="714"/>
                  </a:lnTo>
                  <a:lnTo>
                    <a:pt x="1254" y="720"/>
                  </a:lnTo>
                  <a:lnTo>
                    <a:pt x="1260" y="720"/>
                  </a:lnTo>
                  <a:lnTo>
                    <a:pt x="1254" y="732"/>
                  </a:lnTo>
                  <a:lnTo>
                    <a:pt x="1248" y="738"/>
                  </a:lnTo>
                  <a:lnTo>
                    <a:pt x="1242" y="744"/>
                  </a:lnTo>
                  <a:lnTo>
                    <a:pt x="1236" y="750"/>
                  </a:lnTo>
                  <a:lnTo>
                    <a:pt x="1236" y="756"/>
                  </a:lnTo>
                  <a:lnTo>
                    <a:pt x="1236" y="762"/>
                  </a:lnTo>
                  <a:lnTo>
                    <a:pt x="1236" y="768"/>
                  </a:lnTo>
                  <a:lnTo>
                    <a:pt x="1236" y="780"/>
                  </a:lnTo>
                  <a:lnTo>
                    <a:pt x="1230" y="780"/>
                  </a:lnTo>
                  <a:lnTo>
                    <a:pt x="1230" y="786"/>
                  </a:lnTo>
                  <a:lnTo>
                    <a:pt x="1230" y="792"/>
                  </a:lnTo>
                  <a:lnTo>
                    <a:pt x="1230" y="804"/>
                  </a:lnTo>
                  <a:lnTo>
                    <a:pt x="1224" y="810"/>
                  </a:lnTo>
                  <a:lnTo>
                    <a:pt x="1218" y="816"/>
                  </a:lnTo>
                  <a:lnTo>
                    <a:pt x="1224" y="822"/>
                  </a:lnTo>
                  <a:lnTo>
                    <a:pt x="1224" y="828"/>
                  </a:lnTo>
                  <a:lnTo>
                    <a:pt x="1218" y="834"/>
                  </a:lnTo>
                  <a:lnTo>
                    <a:pt x="1224" y="834"/>
                  </a:lnTo>
                  <a:lnTo>
                    <a:pt x="1224" y="840"/>
                  </a:lnTo>
                  <a:lnTo>
                    <a:pt x="1224" y="846"/>
                  </a:lnTo>
                  <a:lnTo>
                    <a:pt x="1224" y="852"/>
                  </a:lnTo>
                  <a:lnTo>
                    <a:pt x="1218" y="858"/>
                  </a:lnTo>
                  <a:lnTo>
                    <a:pt x="1218" y="870"/>
                  </a:lnTo>
                  <a:lnTo>
                    <a:pt x="1212" y="870"/>
                  </a:lnTo>
                  <a:lnTo>
                    <a:pt x="1212" y="876"/>
                  </a:lnTo>
                  <a:lnTo>
                    <a:pt x="1206" y="888"/>
                  </a:lnTo>
                  <a:lnTo>
                    <a:pt x="1200" y="882"/>
                  </a:lnTo>
                  <a:lnTo>
                    <a:pt x="1194" y="888"/>
                  </a:lnTo>
                  <a:lnTo>
                    <a:pt x="1188" y="894"/>
                  </a:lnTo>
                  <a:lnTo>
                    <a:pt x="1182" y="894"/>
                  </a:lnTo>
                  <a:lnTo>
                    <a:pt x="1182" y="900"/>
                  </a:lnTo>
                  <a:lnTo>
                    <a:pt x="1176" y="900"/>
                  </a:lnTo>
                  <a:lnTo>
                    <a:pt x="1170" y="894"/>
                  </a:lnTo>
                  <a:lnTo>
                    <a:pt x="1164" y="900"/>
                  </a:lnTo>
                  <a:lnTo>
                    <a:pt x="1158" y="900"/>
                  </a:lnTo>
                  <a:lnTo>
                    <a:pt x="1152" y="900"/>
                  </a:lnTo>
                  <a:lnTo>
                    <a:pt x="1140" y="900"/>
                  </a:lnTo>
                  <a:lnTo>
                    <a:pt x="1134" y="900"/>
                  </a:lnTo>
                  <a:lnTo>
                    <a:pt x="1128" y="906"/>
                  </a:lnTo>
                  <a:lnTo>
                    <a:pt x="1110" y="906"/>
                  </a:lnTo>
                  <a:lnTo>
                    <a:pt x="1104" y="906"/>
                  </a:lnTo>
                  <a:lnTo>
                    <a:pt x="1098" y="906"/>
                  </a:lnTo>
                  <a:lnTo>
                    <a:pt x="1092" y="912"/>
                  </a:lnTo>
                  <a:lnTo>
                    <a:pt x="1080" y="918"/>
                  </a:lnTo>
                  <a:lnTo>
                    <a:pt x="1068" y="930"/>
                  </a:lnTo>
                  <a:lnTo>
                    <a:pt x="1062" y="930"/>
                  </a:lnTo>
                  <a:lnTo>
                    <a:pt x="1056" y="930"/>
                  </a:lnTo>
                  <a:lnTo>
                    <a:pt x="1050" y="930"/>
                  </a:lnTo>
                  <a:lnTo>
                    <a:pt x="1050" y="936"/>
                  </a:lnTo>
                  <a:lnTo>
                    <a:pt x="1038" y="942"/>
                  </a:lnTo>
                  <a:lnTo>
                    <a:pt x="1032" y="948"/>
                  </a:lnTo>
                  <a:lnTo>
                    <a:pt x="1026" y="954"/>
                  </a:lnTo>
                  <a:lnTo>
                    <a:pt x="1020" y="960"/>
                  </a:lnTo>
                  <a:lnTo>
                    <a:pt x="1014" y="966"/>
                  </a:lnTo>
                  <a:lnTo>
                    <a:pt x="1002" y="966"/>
                  </a:lnTo>
                  <a:lnTo>
                    <a:pt x="990" y="978"/>
                  </a:lnTo>
                  <a:lnTo>
                    <a:pt x="984" y="978"/>
                  </a:lnTo>
                  <a:lnTo>
                    <a:pt x="978" y="984"/>
                  </a:lnTo>
                  <a:lnTo>
                    <a:pt x="972" y="984"/>
                  </a:lnTo>
                  <a:lnTo>
                    <a:pt x="978" y="990"/>
                  </a:lnTo>
                  <a:lnTo>
                    <a:pt x="972" y="996"/>
                  </a:lnTo>
                  <a:lnTo>
                    <a:pt x="978" y="1002"/>
                  </a:lnTo>
                  <a:lnTo>
                    <a:pt x="1002" y="1002"/>
                  </a:lnTo>
                  <a:lnTo>
                    <a:pt x="1002" y="1008"/>
                  </a:lnTo>
                  <a:lnTo>
                    <a:pt x="1008" y="1020"/>
                  </a:lnTo>
                  <a:lnTo>
                    <a:pt x="1002" y="1026"/>
                  </a:lnTo>
                  <a:lnTo>
                    <a:pt x="1002" y="1032"/>
                  </a:lnTo>
                  <a:lnTo>
                    <a:pt x="1002" y="1050"/>
                  </a:lnTo>
                  <a:lnTo>
                    <a:pt x="1002" y="1056"/>
                  </a:lnTo>
                  <a:lnTo>
                    <a:pt x="1008" y="1062"/>
                  </a:lnTo>
                  <a:lnTo>
                    <a:pt x="1008" y="1074"/>
                  </a:lnTo>
                  <a:lnTo>
                    <a:pt x="1008" y="1086"/>
                  </a:lnTo>
                  <a:lnTo>
                    <a:pt x="996" y="1092"/>
                  </a:lnTo>
                  <a:lnTo>
                    <a:pt x="996" y="1098"/>
                  </a:lnTo>
                  <a:lnTo>
                    <a:pt x="996" y="1104"/>
                  </a:lnTo>
                  <a:lnTo>
                    <a:pt x="990" y="1110"/>
                  </a:lnTo>
                  <a:lnTo>
                    <a:pt x="990" y="1116"/>
                  </a:lnTo>
                  <a:lnTo>
                    <a:pt x="996" y="1122"/>
                  </a:lnTo>
                  <a:lnTo>
                    <a:pt x="990" y="1128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96" y="1140"/>
                  </a:lnTo>
                  <a:lnTo>
                    <a:pt x="996" y="1146"/>
                  </a:lnTo>
                  <a:lnTo>
                    <a:pt x="996" y="1152"/>
                  </a:lnTo>
                  <a:lnTo>
                    <a:pt x="996" y="1158"/>
                  </a:lnTo>
                  <a:lnTo>
                    <a:pt x="996" y="1164"/>
                  </a:lnTo>
                  <a:lnTo>
                    <a:pt x="996" y="1170"/>
                  </a:lnTo>
                  <a:lnTo>
                    <a:pt x="996" y="1176"/>
                  </a:lnTo>
                  <a:lnTo>
                    <a:pt x="990" y="1182"/>
                  </a:lnTo>
                  <a:lnTo>
                    <a:pt x="990" y="1188"/>
                  </a:lnTo>
                  <a:lnTo>
                    <a:pt x="984" y="1200"/>
                  </a:lnTo>
                  <a:lnTo>
                    <a:pt x="990" y="1206"/>
                  </a:lnTo>
                  <a:lnTo>
                    <a:pt x="990" y="1212"/>
                  </a:lnTo>
                  <a:lnTo>
                    <a:pt x="990" y="1218"/>
                  </a:lnTo>
                  <a:lnTo>
                    <a:pt x="978" y="1230"/>
                  </a:lnTo>
                  <a:lnTo>
                    <a:pt x="972" y="1236"/>
                  </a:lnTo>
                  <a:lnTo>
                    <a:pt x="972" y="1242"/>
                  </a:lnTo>
                  <a:lnTo>
                    <a:pt x="966" y="1248"/>
                  </a:lnTo>
                  <a:lnTo>
                    <a:pt x="960" y="1260"/>
                  </a:lnTo>
                  <a:lnTo>
                    <a:pt x="954" y="1266"/>
                  </a:lnTo>
                  <a:lnTo>
                    <a:pt x="942" y="1278"/>
                  </a:lnTo>
                  <a:lnTo>
                    <a:pt x="936" y="1278"/>
                  </a:lnTo>
                  <a:lnTo>
                    <a:pt x="936" y="1284"/>
                  </a:lnTo>
                  <a:lnTo>
                    <a:pt x="936" y="1296"/>
                  </a:lnTo>
                  <a:lnTo>
                    <a:pt x="936" y="1302"/>
                  </a:lnTo>
                  <a:lnTo>
                    <a:pt x="942" y="1302"/>
                  </a:lnTo>
                  <a:lnTo>
                    <a:pt x="942" y="1308"/>
                  </a:lnTo>
                  <a:lnTo>
                    <a:pt x="936" y="1314"/>
                  </a:lnTo>
                  <a:lnTo>
                    <a:pt x="930" y="1320"/>
                  </a:lnTo>
                  <a:lnTo>
                    <a:pt x="930" y="1326"/>
                  </a:lnTo>
                  <a:lnTo>
                    <a:pt x="930" y="1332"/>
                  </a:lnTo>
                  <a:lnTo>
                    <a:pt x="936" y="1338"/>
                  </a:lnTo>
                  <a:lnTo>
                    <a:pt x="936" y="1344"/>
                  </a:lnTo>
                  <a:lnTo>
                    <a:pt x="942" y="1356"/>
                  </a:lnTo>
                  <a:lnTo>
                    <a:pt x="948" y="1368"/>
                  </a:lnTo>
                  <a:lnTo>
                    <a:pt x="942" y="1380"/>
                  </a:lnTo>
                  <a:lnTo>
                    <a:pt x="936" y="1386"/>
                  </a:lnTo>
                  <a:lnTo>
                    <a:pt x="930" y="1392"/>
                  </a:lnTo>
                  <a:lnTo>
                    <a:pt x="924" y="1392"/>
                  </a:lnTo>
                  <a:lnTo>
                    <a:pt x="918" y="1386"/>
                  </a:lnTo>
                  <a:lnTo>
                    <a:pt x="912" y="1386"/>
                  </a:lnTo>
                  <a:lnTo>
                    <a:pt x="906" y="1386"/>
                  </a:lnTo>
                  <a:lnTo>
                    <a:pt x="900" y="1386"/>
                  </a:lnTo>
                  <a:lnTo>
                    <a:pt x="900" y="1392"/>
                  </a:lnTo>
                  <a:lnTo>
                    <a:pt x="894" y="1392"/>
                  </a:lnTo>
                  <a:lnTo>
                    <a:pt x="888" y="1392"/>
                  </a:lnTo>
                  <a:lnTo>
                    <a:pt x="888" y="1398"/>
                  </a:lnTo>
                  <a:lnTo>
                    <a:pt x="882" y="1404"/>
                  </a:lnTo>
                  <a:lnTo>
                    <a:pt x="882" y="1416"/>
                  </a:lnTo>
                  <a:lnTo>
                    <a:pt x="882" y="1428"/>
                  </a:lnTo>
                  <a:lnTo>
                    <a:pt x="882" y="1434"/>
                  </a:lnTo>
                  <a:lnTo>
                    <a:pt x="870" y="1440"/>
                  </a:lnTo>
                  <a:lnTo>
                    <a:pt x="864" y="1452"/>
                  </a:lnTo>
                  <a:lnTo>
                    <a:pt x="870" y="1452"/>
                  </a:lnTo>
                  <a:lnTo>
                    <a:pt x="864" y="1458"/>
                  </a:lnTo>
                  <a:lnTo>
                    <a:pt x="858" y="1464"/>
                  </a:lnTo>
                  <a:lnTo>
                    <a:pt x="852" y="1464"/>
                  </a:lnTo>
                  <a:lnTo>
                    <a:pt x="846" y="1458"/>
                  </a:lnTo>
                  <a:lnTo>
                    <a:pt x="840" y="1458"/>
                  </a:lnTo>
                  <a:lnTo>
                    <a:pt x="828" y="1470"/>
                  </a:lnTo>
                  <a:lnTo>
                    <a:pt x="810" y="1482"/>
                  </a:lnTo>
                  <a:lnTo>
                    <a:pt x="804" y="1488"/>
                  </a:lnTo>
                  <a:lnTo>
                    <a:pt x="798" y="1488"/>
                  </a:lnTo>
                  <a:lnTo>
                    <a:pt x="792" y="1488"/>
                  </a:lnTo>
                  <a:lnTo>
                    <a:pt x="786" y="1488"/>
                  </a:lnTo>
                  <a:lnTo>
                    <a:pt x="768" y="1482"/>
                  </a:lnTo>
                  <a:lnTo>
                    <a:pt x="762" y="1476"/>
                  </a:lnTo>
                  <a:lnTo>
                    <a:pt x="744" y="1476"/>
                  </a:lnTo>
                  <a:lnTo>
                    <a:pt x="738" y="1476"/>
                  </a:lnTo>
                  <a:lnTo>
                    <a:pt x="732" y="1476"/>
                  </a:lnTo>
                  <a:lnTo>
                    <a:pt x="726" y="1482"/>
                  </a:lnTo>
                  <a:lnTo>
                    <a:pt x="726" y="1488"/>
                  </a:lnTo>
                  <a:lnTo>
                    <a:pt x="726" y="1494"/>
                  </a:lnTo>
                  <a:lnTo>
                    <a:pt x="726" y="1500"/>
                  </a:lnTo>
                  <a:lnTo>
                    <a:pt x="720" y="1500"/>
                  </a:lnTo>
                  <a:lnTo>
                    <a:pt x="720" y="1506"/>
                  </a:lnTo>
                  <a:lnTo>
                    <a:pt x="714" y="1512"/>
                  </a:lnTo>
                  <a:lnTo>
                    <a:pt x="714" y="1518"/>
                  </a:lnTo>
                  <a:lnTo>
                    <a:pt x="708" y="1518"/>
                  </a:lnTo>
                  <a:lnTo>
                    <a:pt x="708" y="1530"/>
                  </a:lnTo>
                  <a:lnTo>
                    <a:pt x="708" y="1536"/>
                  </a:lnTo>
                  <a:lnTo>
                    <a:pt x="708" y="1542"/>
                  </a:lnTo>
                  <a:lnTo>
                    <a:pt x="696" y="1554"/>
                  </a:lnTo>
                  <a:lnTo>
                    <a:pt x="690" y="1560"/>
                  </a:lnTo>
                  <a:lnTo>
                    <a:pt x="684" y="1566"/>
                  </a:lnTo>
                  <a:lnTo>
                    <a:pt x="672" y="1566"/>
                  </a:lnTo>
                  <a:lnTo>
                    <a:pt x="666" y="1566"/>
                  </a:lnTo>
                  <a:lnTo>
                    <a:pt x="660" y="1566"/>
                  </a:lnTo>
                  <a:lnTo>
                    <a:pt x="654" y="1572"/>
                  </a:lnTo>
                  <a:lnTo>
                    <a:pt x="654" y="1578"/>
                  </a:lnTo>
                  <a:lnTo>
                    <a:pt x="642" y="1578"/>
                  </a:lnTo>
                  <a:lnTo>
                    <a:pt x="630" y="1572"/>
                  </a:lnTo>
                  <a:lnTo>
                    <a:pt x="624" y="1572"/>
                  </a:lnTo>
                  <a:lnTo>
                    <a:pt x="618" y="1578"/>
                  </a:lnTo>
                  <a:lnTo>
                    <a:pt x="612" y="1584"/>
                  </a:lnTo>
                  <a:lnTo>
                    <a:pt x="606" y="1584"/>
                  </a:lnTo>
                  <a:lnTo>
                    <a:pt x="600" y="1590"/>
                  </a:lnTo>
                  <a:lnTo>
                    <a:pt x="594" y="1590"/>
                  </a:lnTo>
                  <a:lnTo>
                    <a:pt x="588" y="1590"/>
                  </a:lnTo>
                  <a:lnTo>
                    <a:pt x="582" y="1590"/>
                  </a:lnTo>
                  <a:lnTo>
                    <a:pt x="582" y="1596"/>
                  </a:lnTo>
                  <a:lnTo>
                    <a:pt x="576" y="1614"/>
                  </a:lnTo>
                  <a:lnTo>
                    <a:pt x="570" y="1632"/>
                  </a:lnTo>
                  <a:lnTo>
                    <a:pt x="570" y="1638"/>
                  </a:lnTo>
                  <a:lnTo>
                    <a:pt x="576" y="1644"/>
                  </a:lnTo>
                  <a:lnTo>
                    <a:pt x="576" y="1650"/>
                  </a:lnTo>
                  <a:lnTo>
                    <a:pt x="582" y="1662"/>
                  </a:lnTo>
                  <a:lnTo>
                    <a:pt x="582" y="1668"/>
                  </a:lnTo>
                  <a:lnTo>
                    <a:pt x="588" y="1692"/>
                  </a:lnTo>
                  <a:lnTo>
                    <a:pt x="594" y="1728"/>
                  </a:lnTo>
                  <a:lnTo>
                    <a:pt x="594" y="1752"/>
                  </a:lnTo>
                  <a:lnTo>
                    <a:pt x="594" y="1764"/>
                  </a:lnTo>
                  <a:lnTo>
                    <a:pt x="582" y="1770"/>
                  </a:lnTo>
                  <a:lnTo>
                    <a:pt x="582" y="1782"/>
                  </a:lnTo>
                  <a:lnTo>
                    <a:pt x="576" y="1788"/>
                  </a:lnTo>
                  <a:lnTo>
                    <a:pt x="570" y="1794"/>
                  </a:lnTo>
                  <a:lnTo>
                    <a:pt x="564" y="1806"/>
                  </a:lnTo>
                  <a:lnTo>
                    <a:pt x="564" y="1812"/>
                  </a:lnTo>
                  <a:lnTo>
                    <a:pt x="558" y="1812"/>
                  </a:lnTo>
                  <a:lnTo>
                    <a:pt x="564" y="1824"/>
                  </a:lnTo>
                  <a:lnTo>
                    <a:pt x="564" y="1830"/>
                  </a:lnTo>
                  <a:lnTo>
                    <a:pt x="564" y="1842"/>
                  </a:lnTo>
                  <a:lnTo>
                    <a:pt x="564" y="1848"/>
                  </a:lnTo>
                  <a:lnTo>
                    <a:pt x="564" y="1854"/>
                  </a:lnTo>
                  <a:lnTo>
                    <a:pt x="570" y="1860"/>
                  </a:lnTo>
                  <a:lnTo>
                    <a:pt x="570" y="1866"/>
                  </a:lnTo>
                  <a:lnTo>
                    <a:pt x="570" y="1872"/>
                  </a:lnTo>
                  <a:lnTo>
                    <a:pt x="570" y="1878"/>
                  </a:lnTo>
                  <a:lnTo>
                    <a:pt x="564" y="1890"/>
                  </a:lnTo>
                  <a:lnTo>
                    <a:pt x="558" y="1896"/>
                  </a:lnTo>
                  <a:lnTo>
                    <a:pt x="552" y="1908"/>
                  </a:lnTo>
                  <a:lnTo>
                    <a:pt x="546" y="1914"/>
                  </a:lnTo>
                  <a:lnTo>
                    <a:pt x="540" y="1920"/>
                  </a:lnTo>
                  <a:lnTo>
                    <a:pt x="534" y="1932"/>
                  </a:lnTo>
                  <a:lnTo>
                    <a:pt x="528" y="1944"/>
                  </a:lnTo>
                  <a:lnTo>
                    <a:pt x="516" y="1950"/>
                  </a:lnTo>
                  <a:lnTo>
                    <a:pt x="510" y="1956"/>
                  </a:lnTo>
                  <a:lnTo>
                    <a:pt x="498" y="1962"/>
                  </a:lnTo>
                  <a:lnTo>
                    <a:pt x="492" y="1974"/>
                  </a:lnTo>
                  <a:lnTo>
                    <a:pt x="486" y="1980"/>
                  </a:lnTo>
                  <a:lnTo>
                    <a:pt x="480" y="1998"/>
                  </a:lnTo>
                  <a:lnTo>
                    <a:pt x="474" y="2004"/>
                  </a:lnTo>
                  <a:lnTo>
                    <a:pt x="474" y="2010"/>
                  </a:lnTo>
                  <a:lnTo>
                    <a:pt x="474" y="2016"/>
                  </a:lnTo>
                  <a:lnTo>
                    <a:pt x="468" y="2016"/>
                  </a:lnTo>
                  <a:lnTo>
                    <a:pt x="468" y="2028"/>
                  </a:lnTo>
                  <a:lnTo>
                    <a:pt x="462" y="2034"/>
                  </a:lnTo>
                  <a:lnTo>
                    <a:pt x="456" y="2040"/>
                  </a:lnTo>
                  <a:lnTo>
                    <a:pt x="456" y="2052"/>
                  </a:lnTo>
                  <a:lnTo>
                    <a:pt x="450" y="2058"/>
                  </a:lnTo>
                  <a:lnTo>
                    <a:pt x="450" y="2070"/>
                  </a:lnTo>
                  <a:lnTo>
                    <a:pt x="450" y="2076"/>
                  </a:lnTo>
                  <a:lnTo>
                    <a:pt x="450" y="2082"/>
                  </a:lnTo>
                  <a:lnTo>
                    <a:pt x="444" y="2088"/>
                  </a:lnTo>
                  <a:lnTo>
                    <a:pt x="438" y="2094"/>
                  </a:lnTo>
                  <a:lnTo>
                    <a:pt x="444" y="2100"/>
                  </a:lnTo>
                  <a:lnTo>
                    <a:pt x="444" y="2124"/>
                  </a:lnTo>
                  <a:lnTo>
                    <a:pt x="444" y="2142"/>
                  </a:lnTo>
                  <a:lnTo>
                    <a:pt x="444" y="2160"/>
                  </a:lnTo>
                  <a:lnTo>
                    <a:pt x="450" y="2166"/>
                  </a:lnTo>
                  <a:lnTo>
                    <a:pt x="456" y="2178"/>
                  </a:lnTo>
                  <a:lnTo>
                    <a:pt x="438" y="2184"/>
                  </a:lnTo>
                  <a:lnTo>
                    <a:pt x="432" y="2184"/>
                  </a:lnTo>
                  <a:lnTo>
                    <a:pt x="426" y="2190"/>
                  </a:lnTo>
                  <a:lnTo>
                    <a:pt x="408" y="2190"/>
                  </a:lnTo>
                  <a:lnTo>
                    <a:pt x="402" y="2196"/>
                  </a:lnTo>
                  <a:lnTo>
                    <a:pt x="396" y="2196"/>
                  </a:lnTo>
                  <a:lnTo>
                    <a:pt x="384" y="2208"/>
                  </a:lnTo>
                  <a:lnTo>
                    <a:pt x="378" y="2220"/>
                  </a:lnTo>
                  <a:lnTo>
                    <a:pt x="366" y="2232"/>
                  </a:lnTo>
                  <a:lnTo>
                    <a:pt x="366" y="2238"/>
                  </a:lnTo>
                  <a:lnTo>
                    <a:pt x="360" y="2238"/>
                  </a:lnTo>
                  <a:lnTo>
                    <a:pt x="360" y="2244"/>
                  </a:lnTo>
                  <a:lnTo>
                    <a:pt x="354" y="2244"/>
                  </a:lnTo>
                  <a:lnTo>
                    <a:pt x="330" y="227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5" name="Freeform 10">
              <a:extLst>
                <a:ext uri="{FF2B5EF4-FFF2-40B4-BE49-F238E27FC236}">
                  <a16:creationId xmlns:a16="http://schemas.microsoft.com/office/drawing/2014/main" id="{3AD2FC58-3490-4B7F-A8BE-621F3CDD69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1996" y="1931890"/>
              <a:ext cx="805029" cy="1037736"/>
            </a:xfrm>
            <a:custGeom>
              <a:avLst/>
              <a:gdLst>
                <a:gd name="T0" fmla="*/ 124 w 1512"/>
                <a:gd name="T1" fmla="*/ 76 h 1956"/>
                <a:gd name="T2" fmla="*/ 120 w 1512"/>
                <a:gd name="T3" fmla="*/ 80 h 1956"/>
                <a:gd name="T4" fmla="*/ 106 w 1512"/>
                <a:gd name="T5" fmla="*/ 84 h 1956"/>
                <a:gd name="T6" fmla="*/ 105 w 1512"/>
                <a:gd name="T7" fmla="*/ 91 h 1956"/>
                <a:gd name="T8" fmla="*/ 101 w 1512"/>
                <a:gd name="T9" fmla="*/ 99 h 1956"/>
                <a:gd name="T10" fmla="*/ 105 w 1512"/>
                <a:gd name="T11" fmla="*/ 107 h 1956"/>
                <a:gd name="T12" fmla="*/ 119 w 1512"/>
                <a:gd name="T13" fmla="*/ 116 h 1956"/>
                <a:gd name="T14" fmla="*/ 121 w 1512"/>
                <a:gd name="T15" fmla="*/ 128 h 1956"/>
                <a:gd name="T16" fmla="*/ 112 w 1512"/>
                <a:gd name="T17" fmla="*/ 136 h 1956"/>
                <a:gd name="T18" fmla="*/ 119 w 1512"/>
                <a:gd name="T19" fmla="*/ 143 h 1956"/>
                <a:gd name="T20" fmla="*/ 126 w 1512"/>
                <a:gd name="T21" fmla="*/ 148 h 1956"/>
                <a:gd name="T22" fmla="*/ 126 w 1512"/>
                <a:gd name="T23" fmla="*/ 160 h 1956"/>
                <a:gd name="T24" fmla="*/ 104 w 1512"/>
                <a:gd name="T25" fmla="*/ 170 h 1956"/>
                <a:gd name="T26" fmla="*/ 99 w 1512"/>
                <a:gd name="T27" fmla="*/ 164 h 1956"/>
                <a:gd name="T28" fmla="*/ 73 w 1512"/>
                <a:gd name="T29" fmla="*/ 152 h 1956"/>
                <a:gd name="T30" fmla="*/ 56 w 1512"/>
                <a:gd name="T31" fmla="*/ 165 h 1956"/>
                <a:gd name="T32" fmla="*/ 33 w 1512"/>
                <a:gd name="T33" fmla="*/ 162 h 1956"/>
                <a:gd name="T34" fmla="*/ 25 w 1512"/>
                <a:gd name="T35" fmla="*/ 155 h 1956"/>
                <a:gd name="T36" fmla="*/ 31 w 1512"/>
                <a:gd name="T37" fmla="*/ 142 h 1956"/>
                <a:gd name="T38" fmla="*/ 24 w 1512"/>
                <a:gd name="T39" fmla="*/ 137 h 1956"/>
                <a:gd name="T40" fmla="*/ 14 w 1512"/>
                <a:gd name="T41" fmla="*/ 136 h 1956"/>
                <a:gd name="T42" fmla="*/ 11 w 1512"/>
                <a:gd name="T43" fmla="*/ 125 h 1956"/>
                <a:gd name="T44" fmla="*/ 3 w 1512"/>
                <a:gd name="T45" fmla="*/ 116 h 1956"/>
                <a:gd name="T46" fmla="*/ 2 w 1512"/>
                <a:gd name="T47" fmla="*/ 106 h 1956"/>
                <a:gd name="T48" fmla="*/ 5 w 1512"/>
                <a:gd name="T49" fmla="*/ 101 h 1956"/>
                <a:gd name="T50" fmla="*/ 2 w 1512"/>
                <a:gd name="T51" fmla="*/ 95 h 1956"/>
                <a:gd name="T52" fmla="*/ 1 w 1512"/>
                <a:gd name="T53" fmla="*/ 88 h 1956"/>
                <a:gd name="T54" fmla="*/ 4 w 1512"/>
                <a:gd name="T55" fmla="*/ 80 h 1956"/>
                <a:gd name="T56" fmla="*/ 12 w 1512"/>
                <a:gd name="T57" fmla="*/ 73 h 1956"/>
                <a:gd name="T58" fmla="*/ 16 w 1512"/>
                <a:gd name="T59" fmla="*/ 68 h 1956"/>
                <a:gd name="T60" fmla="*/ 22 w 1512"/>
                <a:gd name="T61" fmla="*/ 66 h 1956"/>
                <a:gd name="T62" fmla="*/ 32 w 1512"/>
                <a:gd name="T63" fmla="*/ 65 h 1956"/>
                <a:gd name="T64" fmla="*/ 45 w 1512"/>
                <a:gd name="T65" fmla="*/ 66 h 1956"/>
                <a:gd name="T66" fmla="*/ 50 w 1512"/>
                <a:gd name="T67" fmla="*/ 70 h 1956"/>
                <a:gd name="T68" fmla="*/ 55 w 1512"/>
                <a:gd name="T69" fmla="*/ 70 h 1956"/>
                <a:gd name="T70" fmla="*/ 63 w 1512"/>
                <a:gd name="T71" fmla="*/ 71 h 1956"/>
                <a:gd name="T72" fmla="*/ 61 w 1512"/>
                <a:gd name="T73" fmla="*/ 75 h 1956"/>
                <a:gd name="T74" fmla="*/ 66 w 1512"/>
                <a:gd name="T75" fmla="*/ 84 h 1956"/>
                <a:gd name="T76" fmla="*/ 81 w 1512"/>
                <a:gd name="T77" fmla="*/ 85 h 1956"/>
                <a:gd name="T78" fmla="*/ 83 w 1512"/>
                <a:gd name="T79" fmla="*/ 79 h 1956"/>
                <a:gd name="T80" fmla="*/ 89 w 1512"/>
                <a:gd name="T81" fmla="*/ 77 h 1956"/>
                <a:gd name="T82" fmla="*/ 89 w 1512"/>
                <a:gd name="T83" fmla="*/ 73 h 1956"/>
                <a:gd name="T84" fmla="*/ 83 w 1512"/>
                <a:gd name="T85" fmla="*/ 72 h 1956"/>
                <a:gd name="T86" fmla="*/ 77 w 1512"/>
                <a:gd name="T87" fmla="*/ 70 h 1956"/>
                <a:gd name="T88" fmla="*/ 71 w 1512"/>
                <a:gd name="T89" fmla="*/ 70 h 1956"/>
                <a:gd name="T90" fmla="*/ 59 w 1512"/>
                <a:gd name="T91" fmla="*/ 58 h 1956"/>
                <a:gd name="T92" fmla="*/ 54 w 1512"/>
                <a:gd name="T93" fmla="*/ 45 h 1956"/>
                <a:gd name="T94" fmla="*/ 49 w 1512"/>
                <a:gd name="T95" fmla="*/ 42 h 1956"/>
                <a:gd name="T96" fmla="*/ 51 w 1512"/>
                <a:gd name="T97" fmla="*/ 39 h 1956"/>
                <a:gd name="T98" fmla="*/ 55 w 1512"/>
                <a:gd name="T99" fmla="*/ 36 h 1956"/>
                <a:gd name="T100" fmla="*/ 63 w 1512"/>
                <a:gd name="T101" fmla="*/ 34 h 1956"/>
                <a:gd name="T102" fmla="*/ 68 w 1512"/>
                <a:gd name="T103" fmla="*/ 32 h 1956"/>
                <a:gd name="T104" fmla="*/ 73 w 1512"/>
                <a:gd name="T105" fmla="*/ 29 h 1956"/>
                <a:gd name="T106" fmla="*/ 78 w 1512"/>
                <a:gd name="T107" fmla="*/ 27 h 1956"/>
                <a:gd name="T108" fmla="*/ 81 w 1512"/>
                <a:gd name="T109" fmla="*/ 17 h 1956"/>
                <a:gd name="T110" fmla="*/ 84 w 1512"/>
                <a:gd name="T111" fmla="*/ 6 h 1956"/>
                <a:gd name="T112" fmla="*/ 95 w 1512"/>
                <a:gd name="T113" fmla="*/ 6 h 1956"/>
                <a:gd name="T114" fmla="*/ 99 w 1512"/>
                <a:gd name="T115" fmla="*/ 3 h 1956"/>
                <a:gd name="T116" fmla="*/ 103 w 1512"/>
                <a:gd name="T117" fmla="*/ 0 h 1956"/>
                <a:gd name="T118" fmla="*/ 110 w 1512"/>
                <a:gd name="T119" fmla="*/ 4 h 1956"/>
                <a:gd name="T120" fmla="*/ 114 w 1512"/>
                <a:gd name="T121" fmla="*/ 33 h 1956"/>
                <a:gd name="T122" fmla="*/ 117 w 1512"/>
                <a:gd name="T123" fmla="*/ 41 h 1956"/>
                <a:gd name="T124" fmla="*/ 119 w 1512"/>
                <a:gd name="T125" fmla="*/ 62 h 195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12"/>
                <a:gd name="T190" fmla="*/ 0 h 1956"/>
                <a:gd name="T191" fmla="*/ 1512 w 1512"/>
                <a:gd name="T192" fmla="*/ 1956 h 195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12" h="1956">
                  <a:moveTo>
                    <a:pt x="1512" y="780"/>
                  </a:moveTo>
                  <a:lnTo>
                    <a:pt x="1482" y="786"/>
                  </a:lnTo>
                  <a:lnTo>
                    <a:pt x="1476" y="792"/>
                  </a:lnTo>
                  <a:lnTo>
                    <a:pt x="1476" y="798"/>
                  </a:lnTo>
                  <a:lnTo>
                    <a:pt x="1476" y="804"/>
                  </a:lnTo>
                  <a:lnTo>
                    <a:pt x="1476" y="816"/>
                  </a:lnTo>
                  <a:lnTo>
                    <a:pt x="1470" y="834"/>
                  </a:lnTo>
                  <a:lnTo>
                    <a:pt x="1464" y="840"/>
                  </a:lnTo>
                  <a:lnTo>
                    <a:pt x="1452" y="852"/>
                  </a:lnTo>
                  <a:lnTo>
                    <a:pt x="1440" y="864"/>
                  </a:lnTo>
                  <a:lnTo>
                    <a:pt x="1434" y="864"/>
                  </a:lnTo>
                  <a:lnTo>
                    <a:pt x="1434" y="870"/>
                  </a:lnTo>
                  <a:lnTo>
                    <a:pt x="1422" y="876"/>
                  </a:lnTo>
                  <a:lnTo>
                    <a:pt x="1410" y="894"/>
                  </a:lnTo>
                  <a:lnTo>
                    <a:pt x="1404" y="894"/>
                  </a:lnTo>
                  <a:lnTo>
                    <a:pt x="1404" y="900"/>
                  </a:lnTo>
                  <a:lnTo>
                    <a:pt x="1404" y="906"/>
                  </a:lnTo>
                  <a:lnTo>
                    <a:pt x="1410" y="918"/>
                  </a:lnTo>
                  <a:lnTo>
                    <a:pt x="1404" y="918"/>
                  </a:lnTo>
                  <a:lnTo>
                    <a:pt x="1392" y="924"/>
                  </a:lnTo>
                  <a:lnTo>
                    <a:pt x="1386" y="924"/>
                  </a:lnTo>
                  <a:lnTo>
                    <a:pt x="1380" y="924"/>
                  </a:lnTo>
                  <a:lnTo>
                    <a:pt x="1380" y="930"/>
                  </a:lnTo>
                  <a:lnTo>
                    <a:pt x="1374" y="930"/>
                  </a:lnTo>
                  <a:lnTo>
                    <a:pt x="1374" y="924"/>
                  </a:lnTo>
                  <a:lnTo>
                    <a:pt x="1374" y="918"/>
                  </a:lnTo>
                  <a:lnTo>
                    <a:pt x="1368" y="912"/>
                  </a:lnTo>
                  <a:lnTo>
                    <a:pt x="1368" y="906"/>
                  </a:lnTo>
                  <a:lnTo>
                    <a:pt x="1368" y="900"/>
                  </a:lnTo>
                  <a:lnTo>
                    <a:pt x="1368" y="894"/>
                  </a:lnTo>
                  <a:lnTo>
                    <a:pt x="1362" y="894"/>
                  </a:lnTo>
                  <a:lnTo>
                    <a:pt x="1326" y="894"/>
                  </a:lnTo>
                  <a:lnTo>
                    <a:pt x="1302" y="906"/>
                  </a:lnTo>
                  <a:lnTo>
                    <a:pt x="1284" y="918"/>
                  </a:lnTo>
                  <a:lnTo>
                    <a:pt x="1284" y="924"/>
                  </a:lnTo>
                  <a:lnTo>
                    <a:pt x="1278" y="930"/>
                  </a:lnTo>
                  <a:lnTo>
                    <a:pt x="1266" y="930"/>
                  </a:lnTo>
                  <a:lnTo>
                    <a:pt x="1236" y="954"/>
                  </a:lnTo>
                  <a:lnTo>
                    <a:pt x="1212" y="972"/>
                  </a:lnTo>
                  <a:lnTo>
                    <a:pt x="1218" y="996"/>
                  </a:lnTo>
                  <a:lnTo>
                    <a:pt x="1224" y="1008"/>
                  </a:lnTo>
                  <a:lnTo>
                    <a:pt x="1236" y="1014"/>
                  </a:lnTo>
                  <a:lnTo>
                    <a:pt x="1242" y="1026"/>
                  </a:lnTo>
                  <a:lnTo>
                    <a:pt x="1248" y="1038"/>
                  </a:lnTo>
                  <a:lnTo>
                    <a:pt x="1260" y="1050"/>
                  </a:lnTo>
                  <a:lnTo>
                    <a:pt x="1260" y="1056"/>
                  </a:lnTo>
                  <a:lnTo>
                    <a:pt x="1260" y="1074"/>
                  </a:lnTo>
                  <a:lnTo>
                    <a:pt x="1254" y="1074"/>
                  </a:lnTo>
                  <a:lnTo>
                    <a:pt x="1236" y="1056"/>
                  </a:lnTo>
                  <a:lnTo>
                    <a:pt x="1224" y="1050"/>
                  </a:lnTo>
                  <a:lnTo>
                    <a:pt x="1212" y="1050"/>
                  </a:lnTo>
                  <a:lnTo>
                    <a:pt x="1206" y="1050"/>
                  </a:lnTo>
                  <a:lnTo>
                    <a:pt x="1200" y="1056"/>
                  </a:lnTo>
                  <a:lnTo>
                    <a:pt x="1194" y="1062"/>
                  </a:lnTo>
                  <a:lnTo>
                    <a:pt x="1188" y="1068"/>
                  </a:lnTo>
                  <a:lnTo>
                    <a:pt x="1188" y="1074"/>
                  </a:lnTo>
                  <a:lnTo>
                    <a:pt x="1176" y="1086"/>
                  </a:lnTo>
                  <a:lnTo>
                    <a:pt x="1170" y="1086"/>
                  </a:lnTo>
                  <a:lnTo>
                    <a:pt x="1170" y="1092"/>
                  </a:lnTo>
                  <a:lnTo>
                    <a:pt x="1164" y="1098"/>
                  </a:lnTo>
                  <a:lnTo>
                    <a:pt x="1158" y="1110"/>
                  </a:lnTo>
                  <a:lnTo>
                    <a:pt x="1152" y="1116"/>
                  </a:lnTo>
                  <a:lnTo>
                    <a:pt x="1152" y="1122"/>
                  </a:lnTo>
                  <a:lnTo>
                    <a:pt x="1146" y="1128"/>
                  </a:lnTo>
                  <a:lnTo>
                    <a:pt x="1152" y="1140"/>
                  </a:lnTo>
                  <a:lnTo>
                    <a:pt x="1158" y="1140"/>
                  </a:lnTo>
                  <a:lnTo>
                    <a:pt x="1164" y="1146"/>
                  </a:lnTo>
                  <a:lnTo>
                    <a:pt x="1164" y="1152"/>
                  </a:lnTo>
                  <a:lnTo>
                    <a:pt x="1170" y="1164"/>
                  </a:lnTo>
                  <a:lnTo>
                    <a:pt x="1164" y="1176"/>
                  </a:lnTo>
                  <a:lnTo>
                    <a:pt x="1170" y="1182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82" y="1218"/>
                  </a:lnTo>
                  <a:lnTo>
                    <a:pt x="1188" y="1218"/>
                  </a:lnTo>
                  <a:lnTo>
                    <a:pt x="1194" y="1218"/>
                  </a:lnTo>
                  <a:lnTo>
                    <a:pt x="1194" y="1224"/>
                  </a:lnTo>
                  <a:lnTo>
                    <a:pt x="1200" y="1230"/>
                  </a:lnTo>
                  <a:lnTo>
                    <a:pt x="1200" y="1248"/>
                  </a:lnTo>
                  <a:lnTo>
                    <a:pt x="1212" y="1266"/>
                  </a:lnTo>
                  <a:lnTo>
                    <a:pt x="1218" y="1278"/>
                  </a:lnTo>
                  <a:lnTo>
                    <a:pt x="1224" y="1284"/>
                  </a:lnTo>
                  <a:lnTo>
                    <a:pt x="1236" y="1296"/>
                  </a:lnTo>
                  <a:lnTo>
                    <a:pt x="1242" y="1302"/>
                  </a:lnTo>
                  <a:lnTo>
                    <a:pt x="1242" y="1308"/>
                  </a:lnTo>
                  <a:lnTo>
                    <a:pt x="1272" y="1308"/>
                  </a:lnTo>
                  <a:lnTo>
                    <a:pt x="1296" y="1314"/>
                  </a:lnTo>
                  <a:lnTo>
                    <a:pt x="1320" y="1320"/>
                  </a:lnTo>
                  <a:lnTo>
                    <a:pt x="1338" y="1320"/>
                  </a:lnTo>
                  <a:lnTo>
                    <a:pt x="1356" y="1332"/>
                  </a:lnTo>
                  <a:lnTo>
                    <a:pt x="1368" y="1344"/>
                  </a:lnTo>
                  <a:lnTo>
                    <a:pt x="1374" y="1362"/>
                  </a:lnTo>
                  <a:lnTo>
                    <a:pt x="1368" y="1362"/>
                  </a:lnTo>
                  <a:lnTo>
                    <a:pt x="1368" y="1398"/>
                  </a:lnTo>
                  <a:lnTo>
                    <a:pt x="1368" y="1410"/>
                  </a:lnTo>
                  <a:lnTo>
                    <a:pt x="1368" y="1428"/>
                  </a:lnTo>
                  <a:lnTo>
                    <a:pt x="1368" y="1434"/>
                  </a:lnTo>
                  <a:lnTo>
                    <a:pt x="1368" y="1440"/>
                  </a:lnTo>
                  <a:lnTo>
                    <a:pt x="1374" y="1446"/>
                  </a:lnTo>
                  <a:lnTo>
                    <a:pt x="1374" y="1452"/>
                  </a:lnTo>
                  <a:lnTo>
                    <a:pt x="1380" y="1458"/>
                  </a:lnTo>
                  <a:lnTo>
                    <a:pt x="1386" y="1464"/>
                  </a:lnTo>
                  <a:lnTo>
                    <a:pt x="1386" y="1470"/>
                  </a:lnTo>
                  <a:lnTo>
                    <a:pt x="1380" y="1476"/>
                  </a:lnTo>
                  <a:lnTo>
                    <a:pt x="1374" y="1482"/>
                  </a:lnTo>
                  <a:lnTo>
                    <a:pt x="1362" y="1500"/>
                  </a:lnTo>
                  <a:lnTo>
                    <a:pt x="1362" y="1506"/>
                  </a:lnTo>
                  <a:lnTo>
                    <a:pt x="1362" y="1512"/>
                  </a:lnTo>
                  <a:lnTo>
                    <a:pt x="1362" y="1518"/>
                  </a:lnTo>
                  <a:lnTo>
                    <a:pt x="1362" y="1524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38" y="1548"/>
                  </a:lnTo>
                  <a:lnTo>
                    <a:pt x="1296" y="1548"/>
                  </a:lnTo>
                  <a:lnTo>
                    <a:pt x="1290" y="1554"/>
                  </a:lnTo>
                  <a:lnTo>
                    <a:pt x="1284" y="1560"/>
                  </a:lnTo>
                  <a:lnTo>
                    <a:pt x="1284" y="1566"/>
                  </a:lnTo>
                  <a:lnTo>
                    <a:pt x="1290" y="1578"/>
                  </a:lnTo>
                  <a:lnTo>
                    <a:pt x="1296" y="1590"/>
                  </a:lnTo>
                  <a:lnTo>
                    <a:pt x="1302" y="1590"/>
                  </a:lnTo>
                  <a:lnTo>
                    <a:pt x="1308" y="1596"/>
                  </a:lnTo>
                  <a:lnTo>
                    <a:pt x="1320" y="1602"/>
                  </a:lnTo>
                  <a:lnTo>
                    <a:pt x="1326" y="1602"/>
                  </a:lnTo>
                  <a:lnTo>
                    <a:pt x="1326" y="1608"/>
                  </a:lnTo>
                  <a:lnTo>
                    <a:pt x="1332" y="1614"/>
                  </a:lnTo>
                  <a:lnTo>
                    <a:pt x="1344" y="1620"/>
                  </a:lnTo>
                  <a:lnTo>
                    <a:pt x="1356" y="1626"/>
                  </a:lnTo>
                  <a:lnTo>
                    <a:pt x="1356" y="1632"/>
                  </a:lnTo>
                  <a:lnTo>
                    <a:pt x="1356" y="1638"/>
                  </a:lnTo>
                  <a:lnTo>
                    <a:pt x="1362" y="1644"/>
                  </a:lnTo>
                  <a:lnTo>
                    <a:pt x="1368" y="1644"/>
                  </a:lnTo>
                  <a:lnTo>
                    <a:pt x="1380" y="1650"/>
                  </a:lnTo>
                  <a:lnTo>
                    <a:pt x="1386" y="1650"/>
                  </a:lnTo>
                  <a:lnTo>
                    <a:pt x="1386" y="1656"/>
                  </a:lnTo>
                  <a:lnTo>
                    <a:pt x="1392" y="1656"/>
                  </a:lnTo>
                  <a:lnTo>
                    <a:pt x="1398" y="1662"/>
                  </a:lnTo>
                  <a:lnTo>
                    <a:pt x="1410" y="1674"/>
                  </a:lnTo>
                  <a:lnTo>
                    <a:pt x="1428" y="1680"/>
                  </a:lnTo>
                  <a:lnTo>
                    <a:pt x="1428" y="1686"/>
                  </a:lnTo>
                  <a:lnTo>
                    <a:pt x="1428" y="1698"/>
                  </a:lnTo>
                  <a:lnTo>
                    <a:pt x="1434" y="1704"/>
                  </a:lnTo>
                  <a:lnTo>
                    <a:pt x="1434" y="1710"/>
                  </a:lnTo>
                  <a:lnTo>
                    <a:pt x="1440" y="1710"/>
                  </a:lnTo>
                  <a:lnTo>
                    <a:pt x="1446" y="1710"/>
                  </a:lnTo>
                  <a:lnTo>
                    <a:pt x="1446" y="1716"/>
                  </a:lnTo>
                  <a:lnTo>
                    <a:pt x="1440" y="1722"/>
                  </a:lnTo>
                  <a:lnTo>
                    <a:pt x="1440" y="1728"/>
                  </a:lnTo>
                  <a:lnTo>
                    <a:pt x="1440" y="1734"/>
                  </a:lnTo>
                  <a:lnTo>
                    <a:pt x="1440" y="1740"/>
                  </a:lnTo>
                  <a:lnTo>
                    <a:pt x="1440" y="1746"/>
                  </a:lnTo>
                  <a:lnTo>
                    <a:pt x="1440" y="1788"/>
                  </a:lnTo>
                  <a:lnTo>
                    <a:pt x="1440" y="1800"/>
                  </a:lnTo>
                  <a:lnTo>
                    <a:pt x="1440" y="1806"/>
                  </a:lnTo>
                  <a:lnTo>
                    <a:pt x="1440" y="1836"/>
                  </a:lnTo>
                  <a:lnTo>
                    <a:pt x="1440" y="1848"/>
                  </a:lnTo>
                  <a:lnTo>
                    <a:pt x="1446" y="1848"/>
                  </a:lnTo>
                  <a:lnTo>
                    <a:pt x="1446" y="1854"/>
                  </a:lnTo>
                  <a:lnTo>
                    <a:pt x="1452" y="1848"/>
                  </a:lnTo>
                  <a:lnTo>
                    <a:pt x="1458" y="1854"/>
                  </a:lnTo>
                  <a:lnTo>
                    <a:pt x="1452" y="1860"/>
                  </a:lnTo>
                  <a:lnTo>
                    <a:pt x="1452" y="1866"/>
                  </a:lnTo>
                  <a:lnTo>
                    <a:pt x="1458" y="1872"/>
                  </a:lnTo>
                  <a:lnTo>
                    <a:pt x="1464" y="1884"/>
                  </a:lnTo>
                  <a:lnTo>
                    <a:pt x="1428" y="1878"/>
                  </a:lnTo>
                  <a:lnTo>
                    <a:pt x="1356" y="1890"/>
                  </a:lnTo>
                  <a:lnTo>
                    <a:pt x="1296" y="1926"/>
                  </a:lnTo>
                  <a:lnTo>
                    <a:pt x="1266" y="1944"/>
                  </a:lnTo>
                  <a:lnTo>
                    <a:pt x="1224" y="1944"/>
                  </a:lnTo>
                  <a:lnTo>
                    <a:pt x="1188" y="1956"/>
                  </a:lnTo>
                  <a:lnTo>
                    <a:pt x="1188" y="1950"/>
                  </a:lnTo>
                  <a:lnTo>
                    <a:pt x="1176" y="1944"/>
                  </a:lnTo>
                  <a:lnTo>
                    <a:pt x="1176" y="1938"/>
                  </a:lnTo>
                  <a:lnTo>
                    <a:pt x="1170" y="1938"/>
                  </a:lnTo>
                  <a:lnTo>
                    <a:pt x="1164" y="1932"/>
                  </a:lnTo>
                  <a:lnTo>
                    <a:pt x="1158" y="1926"/>
                  </a:lnTo>
                  <a:lnTo>
                    <a:pt x="1158" y="1920"/>
                  </a:lnTo>
                  <a:lnTo>
                    <a:pt x="1152" y="1920"/>
                  </a:lnTo>
                  <a:lnTo>
                    <a:pt x="1146" y="1914"/>
                  </a:lnTo>
                  <a:lnTo>
                    <a:pt x="1146" y="1908"/>
                  </a:lnTo>
                  <a:lnTo>
                    <a:pt x="1140" y="1908"/>
                  </a:lnTo>
                  <a:lnTo>
                    <a:pt x="1134" y="1902"/>
                  </a:lnTo>
                  <a:lnTo>
                    <a:pt x="1134" y="1896"/>
                  </a:lnTo>
                  <a:lnTo>
                    <a:pt x="1116" y="1896"/>
                  </a:lnTo>
                  <a:lnTo>
                    <a:pt x="1104" y="1884"/>
                  </a:lnTo>
                  <a:lnTo>
                    <a:pt x="1092" y="1860"/>
                  </a:lnTo>
                  <a:lnTo>
                    <a:pt x="1068" y="1854"/>
                  </a:lnTo>
                  <a:lnTo>
                    <a:pt x="1032" y="1842"/>
                  </a:lnTo>
                  <a:lnTo>
                    <a:pt x="1008" y="1836"/>
                  </a:lnTo>
                  <a:lnTo>
                    <a:pt x="978" y="1824"/>
                  </a:lnTo>
                  <a:lnTo>
                    <a:pt x="942" y="1818"/>
                  </a:lnTo>
                  <a:lnTo>
                    <a:pt x="924" y="1806"/>
                  </a:lnTo>
                  <a:lnTo>
                    <a:pt x="906" y="1788"/>
                  </a:lnTo>
                  <a:lnTo>
                    <a:pt x="894" y="1776"/>
                  </a:lnTo>
                  <a:lnTo>
                    <a:pt x="864" y="1758"/>
                  </a:lnTo>
                  <a:lnTo>
                    <a:pt x="834" y="1752"/>
                  </a:lnTo>
                  <a:lnTo>
                    <a:pt x="798" y="1746"/>
                  </a:lnTo>
                  <a:lnTo>
                    <a:pt x="792" y="1806"/>
                  </a:lnTo>
                  <a:lnTo>
                    <a:pt x="798" y="1812"/>
                  </a:lnTo>
                  <a:lnTo>
                    <a:pt x="810" y="1830"/>
                  </a:lnTo>
                  <a:lnTo>
                    <a:pt x="792" y="1842"/>
                  </a:lnTo>
                  <a:lnTo>
                    <a:pt x="768" y="1842"/>
                  </a:lnTo>
                  <a:lnTo>
                    <a:pt x="708" y="1848"/>
                  </a:lnTo>
                  <a:lnTo>
                    <a:pt x="690" y="1860"/>
                  </a:lnTo>
                  <a:lnTo>
                    <a:pt x="690" y="1866"/>
                  </a:lnTo>
                  <a:lnTo>
                    <a:pt x="678" y="1878"/>
                  </a:lnTo>
                  <a:lnTo>
                    <a:pt x="660" y="1884"/>
                  </a:lnTo>
                  <a:lnTo>
                    <a:pt x="660" y="1902"/>
                  </a:lnTo>
                  <a:lnTo>
                    <a:pt x="642" y="1902"/>
                  </a:lnTo>
                  <a:lnTo>
                    <a:pt x="582" y="1914"/>
                  </a:lnTo>
                  <a:lnTo>
                    <a:pt x="534" y="1908"/>
                  </a:lnTo>
                  <a:lnTo>
                    <a:pt x="510" y="1908"/>
                  </a:lnTo>
                  <a:lnTo>
                    <a:pt x="510" y="1896"/>
                  </a:lnTo>
                  <a:lnTo>
                    <a:pt x="492" y="1896"/>
                  </a:lnTo>
                  <a:lnTo>
                    <a:pt x="486" y="1902"/>
                  </a:lnTo>
                  <a:lnTo>
                    <a:pt x="474" y="1908"/>
                  </a:lnTo>
                  <a:lnTo>
                    <a:pt x="450" y="1908"/>
                  </a:lnTo>
                  <a:lnTo>
                    <a:pt x="432" y="1902"/>
                  </a:lnTo>
                  <a:lnTo>
                    <a:pt x="426" y="1896"/>
                  </a:lnTo>
                  <a:lnTo>
                    <a:pt x="402" y="1884"/>
                  </a:lnTo>
                  <a:lnTo>
                    <a:pt x="390" y="1872"/>
                  </a:lnTo>
                  <a:lnTo>
                    <a:pt x="384" y="1872"/>
                  </a:lnTo>
                  <a:lnTo>
                    <a:pt x="378" y="1872"/>
                  </a:lnTo>
                  <a:lnTo>
                    <a:pt x="378" y="1866"/>
                  </a:lnTo>
                  <a:lnTo>
                    <a:pt x="372" y="1860"/>
                  </a:lnTo>
                  <a:lnTo>
                    <a:pt x="372" y="1854"/>
                  </a:lnTo>
                  <a:lnTo>
                    <a:pt x="366" y="1842"/>
                  </a:lnTo>
                  <a:lnTo>
                    <a:pt x="366" y="1836"/>
                  </a:lnTo>
                  <a:lnTo>
                    <a:pt x="348" y="1830"/>
                  </a:lnTo>
                  <a:lnTo>
                    <a:pt x="348" y="1806"/>
                  </a:lnTo>
                  <a:lnTo>
                    <a:pt x="348" y="1800"/>
                  </a:lnTo>
                  <a:lnTo>
                    <a:pt x="348" y="1782"/>
                  </a:lnTo>
                  <a:lnTo>
                    <a:pt x="336" y="1788"/>
                  </a:lnTo>
                  <a:lnTo>
                    <a:pt x="312" y="1794"/>
                  </a:lnTo>
                  <a:lnTo>
                    <a:pt x="288" y="1788"/>
                  </a:lnTo>
                  <a:lnTo>
                    <a:pt x="264" y="1758"/>
                  </a:lnTo>
                  <a:lnTo>
                    <a:pt x="270" y="1758"/>
                  </a:lnTo>
                  <a:lnTo>
                    <a:pt x="270" y="1752"/>
                  </a:lnTo>
                  <a:lnTo>
                    <a:pt x="276" y="1752"/>
                  </a:lnTo>
                  <a:lnTo>
                    <a:pt x="282" y="1746"/>
                  </a:lnTo>
                  <a:lnTo>
                    <a:pt x="300" y="1746"/>
                  </a:lnTo>
                  <a:lnTo>
                    <a:pt x="312" y="1746"/>
                  </a:lnTo>
                  <a:lnTo>
                    <a:pt x="336" y="1710"/>
                  </a:lnTo>
                  <a:lnTo>
                    <a:pt x="342" y="1692"/>
                  </a:lnTo>
                  <a:lnTo>
                    <a:pt x="348" y="1680"/>
                  </a:lnTo>
                  <a:lnTo>
                    <a:pt x="342" y="1650"/>
                  </a:lnTo>
                  <a:lnTo>
                    <a:pt x="354" y="1644"/>
                  </a:lnTo>
                  <a:lnTo>
                    <a:pt x="354" y="1638"/>
                  </a:lnTo>
                  <a:lnTo>
                    <a:pt x="360" y="1632"/>
                  </a:lnTo>
                  <a:lnTo>
                    <a:pt x="354" y="1626"/>
                  </a:lnTo>
                  <a:lnTo>
                    <a:pt x="348" y="1626"/>
                  </a:lnTo>
                  <a:lnTo>
                    <a:pt x="348" y="1620"/>
                  </a:lnTo>
                  <a:lnTo>
                    <a:pt x="342" y="1620"/>
                  </a:lnTo>
                  <a:lnTo>
                    <a:pt x="348" y="1614"/>
                  </a:lnTo>
                  <a:lnTo>
                    <a:pt x="324" y="1566"/>
                  </a:lnTo>
                  <a:lnTo>
                    <a:pt x="318" y="1566"/>
                  </a:lnTo>
                  <a:lnTo>
                    <a:pt x="306" y="1572"/>
                  </a:lnTo>
                  <a:lnTo>
                    <a:pt x="300" y="1572"/>
                  </a:lnTo>
                  <a:lnTo>
                    <a:pt x="294" y="1578"/>
                  </a:lnTo>
                  <a:lnTo>
                    <a:pt x="288" y="1584"/>
                  </a:lnTo>
                  <a:lnTo>
                    <a:pt x="282" y="1584"/>
                  </a:lnTo>
                  <a:lnTo>
                    <a:pt x="282" y="1578"/>
                  </a:lnTo>
                  <a:lnTo>
                    <a:pt x="276" y="1578"/>
                  </a:lnTo>
                  <a:lnTo>
                    <a:pt x="270" y="1578"/>
                  </a:lnTo>
                  <a:lnTo>
                    <a:pt x="264" y="1578"/>
                  </a:lnTo>
                  <a:lnTo>
                    <a:pt x="258" y="1578"/>
                  </a:lnTo>
                  <a:lnTo>
                    <a:pt x="252" y="1578"/>
                  </a:lnTo>
                  <a:lnTo>
                    <a:pt x="252" y="1584"/>
                  </a:lnTo>
                  <a:lnTo>
                    <a:pt x="246" y="1584"/>
                  </a:lnTo>
                  <a:lnTo>
                    <a:pt x="210" y="1584"/>
                  </a:lnTo>
                  <a:lnTo>
                    <a:pt x="204" y="1584"/>
                  </a:lnTo>
                  <a:lnTo>
                    <a:pt x="192" y="1584"/>
                  </a:lnTo>
                  <a:lnTo>
                    <a:pt x="168" y="1596"/>
                  </a:lnTo>
                  <a:lnTo>
                    <a:pt x="156" y="1572"/>
                  </a:lnTo>
                  <a:lnTo>
                    <a:pt x="156" y="1566"/>
                  </a:lnTo>
                  <a:lnTo>
                    <a:pt x="156" y="1560"/>
                  </a:lnTo>
                  <a:lnTo>
                    <a:pt x="162" y="1548"/>
                  </a:lnTo>
                  <a:lnTo>
                    <a:pt x="162" y="1542"/>
                  </a:lnTo>
                  <a:lnTo>
                    <a:pt x="162" y="1536"/>
                  </a:lnTo>
                  <a:lnTo>
                    <a:pt x="168" y="1530"/>
                  </a:lnTo>
                  <a:lnTo>
                    <a:pt x="168" y="1524"/>
                  </a:lnTo>
                  <a:lnTo>
                    <a:pt x="168" y="1518"/>
                  </a:lnTo>
                  <a:lnTo>
                    <a:pt x="174" y="1518"/>
                  </a:lnTo>
                  <a:lnTo>
                    <a:pt x="174" y="1506"/>
                  </a:lnTo>
                  <a:lnTo>
                    <a:pt x="156" y="1470"/>
                  </a:lnTo>
                  <a:lnTo>
                    <a:pt x="138" y="1464"/>
                  </a:lnTo>
                  <a:lnTo>
                    <a:pt x="126" y="1446"/>
                  </a:lnTo>
                  <a:lnTo>
                    <a:pt x="126" y="1440"/>
                  </a:lnTo>
                  <a:lnTo>
                    <a:pt x="126" y="1434"/>
                  </a:lnTo>
                  <a:lnTo>
                    <a:pt x="120" y="1428"/>
                  </a:lnTo>
                  <a:lnTo>
                    <a:pt x="126" y="1398"/>
                  </a:lnTo>
                  <a:lnTo>
                    <a:pt x="120" y="1374"/>
                  </a:lnTo>
                  <a:lnTo>
                    <a:pt x="60" y="1374"/>
                  </a:lnTo>
                  <a:lnTo>
                    <a:pt x="60" y="1368"/>
                  </a:lnTo>
                  <a:lnTo>
                    <a:pt x="54" y="1362"/>
                  </a:lnTo>
                  <a:lnTo>
                    <a:pt x="48" y="1356"/>
                  </a:lnTo>
                  <a:lnTo>
                    <a:pt x="42" y="1356"/>
                  </a:lnTo>
                  <a:lnTo>
                    <a:pt x="42" y="1350"/>
                  </a:lnTo>
                  <a:lnTo>
                    <a:pt x="36" y="1344"/>
                  </a:lnTo>
                  <a:lnTo>
                    <a:pt x="36" y="1338"/>
                  </a:lnTo>
                  <a:lnTo>
                    <a:pt x="30" y="1332"/>
                  </a:lnTo>
                  <a:lnTo>
                    <a:pt x="30" y="1326"/>
                  </a:lnTo>
                  <a:lnTo>
                    <a:pt x="18" y="1326"/>
                  </a:lnTo>
                  <a:lnTo>
                    <a:pt x="18" y="1320"/>
                  </a:lnTo>
                  <a:lnTo>
                    <a:pt x="18" y="1326"/>
                  </a:lnTo>
                  <a:lnTo>
                    <a:pt x="6" y="1320"/>
                  </a:lnTo>
                  <a:lnTo>
                    <a:pt x="0" y="1314"/>
                  </a:lnTo>
                  <a:lnTo>
                    <a:pt x="12" y="1266"/>
                  </a:lnTo>
                  <a:lnTo>
                    <a:pt x="6" y="1242"/>
                  </a:lnTo>
                  <a:lnTo>
                    <a:pt x="12" y="1236"/>
                  </a:lnTo>
                  <a:lnTo>
                    <a:pt x="12" y="1230"/>
                  </a:lnTo>
                  <a:lnTo>
                    <a:pt x="18" y="1230"/>
                  </a:lnTo>
                  <a:lnTo>
                    <a:pt x="18" y="1224"/>
                  </a:lnTo>
                  <a:lnTo>
                    <a:pt x="24" y="1218"/>
                  </a:lnTo>
                  <a:lnTo>
                    <a:pt x="24" y="1212"/>
                  </a:lnTo>
                  <a:lnTo>
                    <a:pt x="30" y="1212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48" y="1188"/>
                  </a:lnTo>
                  <a:lnTo>
                    <a:pt x="48" y="1182"/>
                  </a:lnTo>
                  <a:lnTo>
                    <a:pt x="48" y="1176"/>
                  </a:lnTo>
                  <a:lnTo>
                    <a:pt x="48" y="1170"/>
                  </a:lnTo>
                  <a:lnTo>
                    <a:pt x="54" y="1170"/>
                  </a:lnTo>
                  <a:lnTo>
                    <a:pt x="60" y="1164"/>
                  </a:lnTo>
                  <a:lnTo>
                    <a:pt x="60" y="1158"/>
                  </a:lnTo>
                  <a:lnTo>
                    <a:pt x="66" y="1152"/>
                  </a:lnTo>
                  <a:lnTo>
                    <a:pt x="60" y="1140"/>
                  </a:lnTo>
                  <a:lnTo>
                    <a:pt x="60" y="1134"/>
                  </a:lnTo>
                  <a:lnTo>
                    <a:pt x="54" y="1134"/>
                  </a:lnTo>
                  <a:lnTo>
                    <a:pt x="54" y="1128"/>
                  </a:lnTo>
                  <a:lnTo>
                    <a:pt x="48" y="1122"/>
                  </a:lnTo>
                  <a:lnTo>
                    <a:pt x="48" y="1116"/>
                  </a:lnTo>
                  <a:lnTo>
                    <a:pt x="48" y="1110"/>
                  </a:lnTo>
                  <a:lnTo>
                    <a:pt x="42" y="1104"/>
                  </a:lnTo>
                  <a:lnTo>
                    <a:pt x="42" y="1098"/>
                  </a:lnTo>
                  <a:lnTo>
                    <a:pt x="36" y="1092"/>
                  </a:lnTo>
                  <a:lnTo>
                    <a:pt x="30" y="1092"/>
                  </a:lnTo>
                  <a:lnTo>
                    <a:pt x="24" y="1092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18" y="1080"/>
                  </a:lnTo>
                  <a:lnTo>
                    <a:pt x="18" y="1074"/>
                  </a:lnTo>
                  <a:lnTo>
                    <a:pt x="12" y="1068"/>
                  </a:lnTo>
                  <a:lnTo>
                    <a:pt x="6" y="1068"/>
                  </a:lnTo>
                  <a:lnTo>
                    <a:pt x="12" y="1056"/>
                  </a:lnTo>
                  <a:lnTo>
                    <a:pt x="6" y="1056"/>
                  </a:lnTo>
                  <a:lnTo>
                    <a:pt x="6" y="1050"/>
                  </a:lnTo>
                  <a:lnTo>
                    <a:pt x="6" y="1044"/>
                  </a:lnTo>
                  <a:lnTo>
                    <a:pt x="6" y="1026"/>
                  </a:lnTo>
                  <a:lnTo>
                    <a:pt x="12" y="1020"/>
                  </a:lnTo>
                  <a:lnTo>
                    <a:pt x="12" y="1014"/>
                  </a:lnTo>
                  <a:lnTo>
                    <a:pt x="18" y="1014"/>
                  </a:lnTo>
                  <a:lnTo>
                    <a:pt x="18" y="1008"/>
                  </a:lnTo>
                  <a:lnTo>
                    <a:pt x="18" y="1002"/>
                  </a:lnTo>
                  <a:lnTo>
                    <a:pt x="18" y="990"/>
                  </a:lnTo>
                  <a:lnTo>
                    <a:pt x="12" y="972"/>
                  </a:lnTo>
                  <a:lnTo>
                    <a:pt x="18" y="954"/>
                  </a:lnTo>
                  <a:lnTo>
                    <a:pt x="18" y="948"/>
                  </a:lnTo>
                  <a:lnTo>
                    <a:pt x="24" y="948"/>
                  </a:lnTo>
                  <a:lnTo>
                    <a:pt x="24" y="930"/>
                  </a:lnTo>
                  <a:lnTo>
                    <a:pt x="30" y="930"/>
                  </a:lnTo>
                  <a:lnTo>
                    <a:pt x="36" y="918"/>
                  </a:lnTo>
                  <a:lnTo>
                    <a:pt x="42" y="918"/>
                  </a:lnTo>
                  <a:lnTo>
                    <a:pt x="48" y="918"/>
                  </a:lnTo>
                  <a:lnTo>
                    <a:pt x="78" y="912"/>
                  </a:lnTo>
                  <a:lnTo>
                    <a:pt x="90" y="894"/>
                  </a:lnTo>
                  <a:lnTo>
                    <a:pt x="96" y="894"/>
                  </a:lnTo>
                  <a:lnTo>
                    <a:pt x="102" y="888"/>
                  </a:lnTo>
                  <a:lnTo>
                    <a:pt x="102" y="882"/>
                  </a:lnTo>
                  <a:lnTo>
                    <a:pt x="114" y="870"/>
                  </a:lnTo>
                  <a:lnTo>
                    <a:pt x="120" y="864"/>
                  </a:lnTo>
                  <a:lnTo>
                    <a:pt x="120" y="852"/>
                  </a:lnTo>
                  <a:lnTo>
                    <a:pt x="120" y="846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32" y="840"/>
                  </a:lnTo>
                  <a:lnTo>
                    <a:pt x="138" y="840"/>
                  </a:lnTo>
                  <a:lnTo>
                    <a:pt x="138" y="834"/>
                  </a:lnTo>
                  <a:lnTo>
                    <a:pt x="144" y="834"/>
                  </a:lnTo>
                  <a:lnTo>
                    <a:pt x="144" y="828"/>
                  </a:lnTo>
                  <a:lnTo>
                    <a:pt x="150" y="828"/>
                  </a:lnTo>
                  <a:lnTo>
                    <a:pt x="156" y="822"/>
                  </a:lnTo>
                  <a:lnTo>
                    <a:pt x="162" y="816"/>
                  </a:lnTo>
                  <a:lnTo>
                    <a:pt x="162" y="822"/>
                  </a:lnTo>
                  <a:lnTo>
                    <a:pt x="162" y="816"/>
                  </a:lnTo>
                  <a:lnTo>
                    <a:pt x="162" y="810"/>
                  </a:lnTo>
                  <a:lnTo>
                    <a:pt x="168" y="810"/>
                  </a:lnTo>
                  <a:lnTo>
                    <a:pt x="174" y="804"/>
                  </a:lnTo>
                  <a:lnTo>
                    <a:pt x="180" y="798"/>
                  </a:lnTo>
                  <a:lnTo>
                    <a:pt x="180" y="786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8" y="780"/>
                  </a:lnTo>
                  <a:lnTo>
                    <a:pt x="204" y="774"/>
                  </a:lnTo>
                  <a:lnTo>
                    <a:pt x="210" y="774"/>
                  </a:lnTo>
                  <a:lnTo>
                    <a:pt x="216" y="768"/>
                  </a:lnTo>
                  <a:lnTo>
                    <a:pt x="222" y="762"/>
                  </a:lnTo>
                  <a:lnTo>
                    <a:pt x="228" y="762"/>
                  </a:lnTo>
                  <a:lnTo>
                    <a:pt x="228" y="768"/>
                  </a:lnTo>
                  <a:lnTo>
                    <a:pt x="234" y="768"/>
                  </a:lnTo>
                  <a:lnTo>
                    <a:pt x="240" y="762"/>
                  </a:lnTo>
                  <a:lnTo>
                    <a:pt x="252" y="762"/>
                  </a:lnTo>
                  <a:lnTo>
                    <a:pt x="264" y="768"/>
                  </a:lnTo>
                  <a:lnTo>
                    <a:pt x="294" y="756"/>
                  </a:lnTo>
                  <a:lnTo>
                    <a:pt x="294" y="750"/>
                  </a:lnTo>
                  <a:lnTo>
                    <a:pt x="300" y="750"/>
                  </a:lnTo>
                  <a:lnTo>
                    <a:pt x="306" y="744"/>
                  </a:lnTo>
                  <a:lnTo>
                    <a:pt x="342" y="750"/>
                  </a:lnTo>
                  <a:lnTo>
                    <a:pt x="348" y="750"/>
                  </a:lnTo>
                  <a:lnTo>
                    <a:pt x="348" y="744"/>
                  </a:lnTo>
                  <a:lnTo>
                    <a:pt x="354" y="744"/>
                  </a:lnTo>
                  <a:lnTo>
                    <a:pt x="360" y="744"/>
                  </a:lnTo>
                  <a:lnTo>
                    <a:pt x="360" y="750"/>
                  </a:lnTo>
                  <a:lnTo>
                    <a:pt x="366" y="750"/>
                  </a:lnTo>
                  <a:lnTo>
                    <a:pt x="366" y="744"/>
                  </a:lnTo>
                  <a:lnTo>
                    <a:pt x="366" y="738"/>
                  </a:lnTo>
                  <a:lnTo>
                    <a:pt x="372" y="744"/>
                  </a:lnTo>
                  <a:lnTo>
                    <a:pt x="378" y="744"/>
                  </a:lnTo>
                  <a:lnTo>
                    <a:pt x="384" y="750"/>
                  </a:lnTo>
                  <a:lnTo>
                    <a:pt x="444" y="774"/>
                  </a:lnTo>
                  <a:lnTo>
                    <a:pt x="450" y="774"/>
                  </a:lnTo>
                  <a:lnTo>
                    <a:pt x="456" y="768"/>
                  </a:lnTo>
                  <a:lnTo>
                    <a:pt x="462" y="768"/>
                  </a:lnTo>
                  <a:lnTo>
                    <a:pt x="462" y="762"/>
                  </a:lnTo>
                  <a:lnTo>
                    <a:pt x="468" y="762"/>
                  </a:lnTo>
                  <a:lnTo>
                    <a:pt x="474" y="756"/>
                  </a:lnTo>
                  <a:lnTo>
                    <a:pt x="480" y="750"/>
                  </a:lnTo>
                  <a:lnTo>
                    <a:pt x="516" y="756"/>
                  </a:lnTo>
                  <a:lnTo>
                    <a:pt x="522" y="756"/>
                  </a:lnTo>
                  <a:lnTo>
                    <a:pt x="522" y="762"/>
                  </a:lnTo>
                  <a:lnTo>
                    <a:pt x="522" y="768"/>
                  </a:lnTo>
                  <a:lnTo>
                    <a:pt x="522" y="774"/>
                  </a:lnTo>
                  <a:lnTo>
                    <a:pt x="528" y="780"/>
                  </a:lnTo>
                  <a:lnTo>
                    <a:pt x="540" y="780"/>
                  </a:lnTo>
                  <a:lnTo>
                    <a:pt x="540" y="804"/>
                  </a:lnTo>
                  <a:lnTo>
                    <a:pt x="540" y="810"/>
                  </a:lnTo>
                  <a:lnTo>
                    <a:pt x="546" y="810"/>
                  </a:lnTo>
                  <a:lnTo>
                    <a:pt x="552" y="810"/>
                  </a:lnTo>
                  <a:lnTo>
                    <a:pt x="558" y="810"/>
                  </a:lnTo>
                  <a:lnTo>
                    <a:pt x="564" y="810"/>
                  </a:lnTo>
                  <a:lnTo>
                    <a:pt x="570" y="810"/>
                  </a:lnTo>
                  <a:lnTo>
                    <a:pt x="576" y="810"/>
                  </a:lnTo>
                  <a:lnTo>
                    <a:pt x="576" y="816"/>
                  </a:lnTo>
                  <a:lnTo>
                    <a:pt x="588" y="816"/>
                  </a:lnTo>
                  <a:lnTo>
                    <a:pt x="594" y="816"/>
                  </a:lnTo>
                  <a:lnTo>
                    <a:pt x="600" y="822"/>
                  </a:lnTo>
                  <a:lnTo>
                    <a:pt x="606" y="816"/>
                  </a:lnTo>
                  <a:lnTo>
                    <a:pt x="612" y="816"/>
                  </a:lnTo>
                  <a:lnTo>
                    <a:pt x="612" y="810"/>
                  </a:lnTo>
                  <a:lnTo>
                    <a:pt x="624" y="810"/>
                  </a:lnTo>
                  <a:lnTo>
                    <a:pt x="624" y="804"/>
                  </a:lnTo>
                  <a:lnTo>
                    <a:pt x="630" y="798"/>
                  </a:lnTo>
                  <a:lnTo>
                    <a:pt x="636" y="798"/>
                  </a:lnTo>
                  <a:lnTo>
                    <a:pt x="636" y="804"/>
                  </a:lnTo>
                  <a:lnTo>
                    <a:pt x="642" y="804"/>
                  </a:lnTo>
                  <a:lnTo>
                    <a:pt x="648" y="804"/>
                  </a:lnTo>
                  <a:lnTo>
                    <a:pt x="654" y="804"/>
                  </a:lnTo>
                  <a:lnTo>
                    <a:pt x="660" y="804"/>
                  </a:lnTo>
                  <a:lnTo>
                    <a:pt x="678" y="798"/>
                  </a:lnTo>
                  <a:lnTo>
                    <a:pt x="714" y="786"/>
                  </a:lnTo>
                  <a:lnTo>
                    <a:pt x="714" y="792"/>
                  </a:lnTo>
                  <a:lnTo>
                    <a:pt x="714" y="798"/>
                  </a:lnTo>
                  <a:lnTo>
                    <a:pt x="714" y="804"/>
                  </a:lnTo>
                  <a:lnTo>
                    <a:pt x="720" y="804"/>
                  </a:lnTo>
                  <a:lnTo>
                    <a:pt x="720" y="810"/>
                  </a:lnTo>
                  <a:lnTo>
                    <a:pt x="720" y="816"/>
                  </a:lnTo>
                  <a:lnTo>
                    <a:pt x="726" y="822"/>
                  </a:lnTo>
                  <a:lnTo>
                    <a:pt x="732" y="828"/>
                  </a:lnTo>
                  <a:lnTo>
                    <a:pt x="732" y="834"/>
                  </a:lnTo>
                  <a:lnTo>
                    <a:pt x="732" y="846"/>
                  </a:lnTo>
                  <a:lnTo>
                    <a:pt x="732" y="858"/>
                  </a:lnTo>
                  <a:lnTo>
                    <a:pt x="738" y="858"/>
                  </a:lnTo>
                  <a:lnTo>
                    <a:pt x="732" y="864"/>
                  </a:lnTo>
                  <a:lnTo>
                    <a:pt x="732" y="870"/>
                  </a:lnTo>
                  <a:lnTo>
                    <a:pt x="726" y="870"/>
                  </a:lnTo>
                  <a:lnTo>
                    <a:pt x="726" y="876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0" y="882"/>
                  </a:lnTo>
                  <a:lnTo>
                    <a:pt x="690" y="912"/>
                  </a:lnTo>
                  <a:lnTo>
                    <a:pt x="696" y="936"/>
                  </a:lnTo>
                  <a:lnTo>
                    <a:pt x="702" y="936"/>
                  </a:lnTo>
                  <a:lnTo>
                    <a:pt x="702" y="930"/>
                  </a:lnTo>
                  <a:lnTo>
                    <a:pt x="708" y="930"/>
                  </a:lnTo>
                  <a:lnTo>
                    <a:pt x="708" y="924"/>
                  </a:lnTo>
                  <a:lnTo>
                    <a:pt x="708" y="918"/>
                  </a:lnTo>
                  <a:lnTo>
                    <a:pt x="714" y="918"/>
                  </a:lnTo>
                  <a:lnTo>
                    <a:pt x="720" y="954"/>
                  </a:lnTo>
                  <a:lnTo>
                    <a:pt x="726" y="966"/>
                  </a:lnTo>
                  <a:lnTo>
                    <a:pt x="744" y="966"/>
                  </a:lnTo>
                  <a:lnTo>
                    <a:pt x="756" y="972"/>
                  </a:lnTo>
                  <a:lnTo>
                    <a:pt x="792" y="990"/>
                  </a:lnTo>
                  <a:lnTo>
                    <a:pt x="828" y="978"/>
                  </a:lnTo>
                  <a:lnTo>
                    <a:pt x="834" y="978"/>
                  </a:lnTo>
                  <a:lnTo>
                    <a:pt x="840" y="978"/>
                  </a:lnTo>
                  <a:lnTo>
                    <a:pt x="840" y="984"/>
                  </a:lnTo>
                  <a:lnTo>
                    <a:pt x="846" y="984"/>
                  </a:lnTo>
                  <a:lnTo>
                    <a:pt x="858" y="972"/>
                  </a:lnTo>
                  <a:lnTo>
                    <a:pt x="882" y="972"/>
                  </a:lnTo>
                  <a:lnTo>
                    <a:pt x="888" y="984"/>
                  </a:lnTo>
                  <a:lnTo>
                    <a:pt x="900" y="990"/>
                  </a:lnTo>
                  <a:lnTo>
                    <a:pt x="924" y="996"/>
                  </a:lnTo>
                  <a:lnTo>
                    <a:pt x="930" y="990"/>
                  </a:lnTo>
                  <a:lnTo>
                    <a:pt x="930" y="984"/>
                  </a:lnTo>
                  <a:lnTo>
                    <a:pt x="924" y="978"/>
                  </a:lnTo>
                  <a:lnTo>
                    <a:pt x="906" y="972"/>
                  </a:lnTo>
                  <a:lnTo>
                    <a:pt x="900" y="966"/>
                  </a:lnTo>
                  <a:lnTo>
                    <a:pt x="900" y="960"/>
                  </a:lnTo>
                  <a:lnTo>
                    <a:pt x="900" y="954"/>
                  </a:lnTo>
                  <a:lnTo>
                    <a:pt x="900" y="948"/>
                  </a:lnTo>
                  <a:lnTo>
                    <a:pt x="912" y="936"/>
                  </a:lnTo>
                  <a:lnTo>
                    <a:pt x="912" y="924"/>
                  </a:lnTo>
                  <a:lnTo>
                    <a:pt x="918" y="924"/>
                  </a:lnTo>
                  <a:lnTo>
                    <a:pt x="918" y="918"/>
                  </a:lnTo>
                  <a:lnTo>
                    <a:pt x="936" y="906"/>
                  </a:lnTo>
                  <a:lnTo>
                    <a:pt x="942" y="906"/>
                  </a:lnTo>
                  <a:lnTo>
                    <a:pt x="948" y="906"/>
                  </a:lnTo>
                  <a:lnTo>
                    <a:pt x="954" y="906"/>
                  </a:lnTo>
                  <a:lnTo>
                    <a:pt x="960" y="906"/>
                  </a:lnTo>
                  <a:lnTo>
                    <a:pt x="966" y="912"/>
                  </a:lnTo>
                  <a:lnTo>
                    <a:pt x="972" y="906"/>
                  </a:lnTo>
                  <a:lnTo>
                    <a:pt x="978" y="906"/>
                  </a:lnTo>
                  <a:lnTo>
                    <a:pt x="984" y="900"/>
                  </a:lnTo>
                  <a:lnTo>
                    <a:pt x="984" y="894"/>
                  </a:lnTo>
                  <a:lnTo>
                    <a:pt x="990" y="894"/>
                  </a:lnTo>
                  <a:lnTo>
                    <a:pt x="996" y="888"/>
                  </a:lnTo>
                  <a:lnTo>
                    <a:pt x="1002" y="888"/>
                  </a:lnTo>
                  <a:lnTo>
                    <a:pt x="1008" y="882"/>
                  </a:lnTo>
                  <a:lnTo>
                    <a:pt x="1014" y="882"/>
                  </a:lnTo>
                  <a:lnTo>
                    <a:pt x="1020" y="882"/>
                  </a:lnTo>
                  <a:lnTo>
                    <a:pt x="1020" y="888"/>
                  </a:lnTo>
                  <a:lnTo>
                    <a:pt x="1026" y="882"/>
                  </a:lnTo>
                  <a:lnTo>
                    <a:pt x="1026" y="876"/>
                  </a:lnTo>
                  <a:lnTo>
                    <a:pt x="1026" y="870"/>
                  </a:lnTo>
                  <a:lnTo>
                    <a:pt x="1032" y="864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44" y="852"/>
                  </a:lnTo>
                  <a:lnTo>
                    <a:pt x="1038" y="846"/>
                  </a:lnTo>
                  <a:lnTo>
                    <a:pt x="1038" y="840"/>
                  </a:lnTo>
                  <a:lnTo>
                    <a:pt x="1032" y="840"/>
                  </a:lnTo>
                  <a:lnTo>
                    <a:pt x="1026" y="840"/>
                  </a:lnTo>
                  <a:lnTo>
                    <a:pt x="1020" y="840"/>
                  </a:lnTo>
                  <a:lnTo>
                    <a:pt x="1014" y="846"/>
                  </a:lnTo>
                  <a:lnTo>
                    <a:pt x="1008" y="846"/>
                  </a:lnTo>
                  <a:lnTo>
                    <a:pt x="1002" y="840"/>
                  </a:lnTo>
                  <a:lnTo>
                    <a:pt x="996" y="840"/>
                  </a:lnTo>
                  <a:lnTo>
                    <a:pt x="990" y="834"/>
                  </a:lnTo>
                  <a:lnTo>
                    <a:pt x="984" y="834"/>
                  </a:lnTo>
                  <a:lnTo>
                    <a:pt x="978" y="834"/>
                  </a:lnTo>
                  <a:lnTo>
                    <a:pt x="972" y="834"/>
                  </a:lnTo>
                  <a:lnTo>
                    <a:pt x="966" y="834"/>
                  </a:lnTo>
                  <a:lnTo>
                    <a:pt x="966" y="828"/>
                  </a:lnTo>
                  <a:lnTo>
                    <a:pt x="960" y="828"/>
                  </a:lnTo>
                  <a:lnTo>
                    <a:pt x="954" y="828"/>
                  </a:lnTo>
                  <a:lnTo>
                    <a:pt x="942" y="828"/>
                  </a:lnTo>
                  <a:lnTo>
                    <a:pt x="936" y="828"/>
                  </a:lnTo>
                  <a:lnTo>
                    <a:pt x="930" y="828"/>
                  </a:lnTo>
                  <a:lnTo>
                    <a:pt x="918" y="828"/>
                  </a:lnTo>
                  <a:lnTo>
                    <a:pt x="918" y="822"/>
                  </a:lnTo>
                  <a:lnTo>
                    <a:pt x="912" y="828"/>
                  </a:lnTo>
                  <a:lnTo>
                    <a:pt x="912" y="822"/>
                  </a:lnTo>
                  <a:lnTo>
                    <a:pt x="906" y="816"/>
                  </a:lnTo>
                  <a:lnTo>
                    <a:pt x="900" y="816"/>
                  </a:lnTo>
                  <a:lnTo>
                    <a:pt x="894" y="816"/>
                  </a:lnTo>
                  <a:lnTo>
                    <a:pt x="888" y="816"/>
                  </a:lnTo>
                  <a:lnTo>
                    <a:pt x="882" y="816"/>
                  </a:lnTo>
                  <a:lnTo>
                    <a:pt x="882" y="810"/>
                  </a:lnTo>
                  <a:lnTo>
                    <a:pt x="876" y="804"/>
                  </a:lnTo>
                  <a:lnTo>
                    <a:pt x="870" y="804"/>
                  </a:lnTo>
                  <a:lnTo>
                    <a:pt x="864" y="798"/>
                  </a:lnTo>
                  <a:lnTo>
                    <a:pt x="858" y="798"/>
                  </a:lnTo>
                  <a:lnTo>
                    <a:pt x="858" y="804"/>
                  </a:lnTo>
                  <a:lnTo>
                    <a:pt x="852" y="804"/>
                  </a:lnTo>
                  <a:lnTo>
                    <a:pt x="846" y="804"/>
                  </a:lnTo>
                  <a:lnTo>
                    <a:pt x="846" y="798"/>
                  </a:lnTo>
                  <a:lnTo>
                    <a:pt x="840" y="804"/>
                  </a:lnTo>
                  <a:lnTo>
                    <a:pt x="834" y="804"/>
                  </a:lnTo>
                  <a:lnTo>
                    <a:pt x="828" y="804"/>
                  </a:lnTo>
                  <a:lnTo>
                    <a:pt x="828" y="810"/>
                  </a:lnTo>
                  <a:lnTo>
                    <a:pt x="822" y="810"/>
                  </a:lnTo>
                  <a:lnTo>
                    <a:pt x="810" y="804"/>
                  </a:lnTo>
                  <a:lnTo>
                    <a:pt x="810" y="798"/>
                  </a:lnTo>
                  <a:lnTo>
                    <a:pt x="780" y="798"/>
                  </a:lnTo>
                  <a:lnTo>
                    <a:pt x="756" y="774"/>
                  </a:lnTo>
                  <a:lnTo>
                    <a:pt x="750" y="768"/>
                  </a:lnTo>
                  <a:lnTo>
                    <a:pt x="750" y="744"/>
                  </a:lnTo>
                  <a:lnTo>
                    <a:pt x="732" y="738"/>
                  </a:lnTo>
                  <a:lnTo>
                    <a:pt x="732" y="720"/>
                  </a:lnTo>
                  <a:lnTo>
                    <a:pt x="714" y="690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6" y="666"/>
                  </a:lnTo>
                  <a:lnTo>
                    <a:pt x="690" y="666"/>
                  </a:lnTo>
                  <a:lnTo>
                    <a:pt x="678" y="672"/>
                  </a:lnTo>
                  <a:lnTo>
                    <a:pt x="678" y="654"/>
                  </a:lnTo>
                  <a:lnTo>
                    <a:pt x="684" y="630"/>
                  </a:lnTo>
                  <a:lnTo>
                    <a:pt x="690" y="618"/>
                  </a:lnTo>
                  <a:lnTo>
                    <a:pt x="696" y="612"/>
                  </a:lnTo>
                  <a:lnTo>
                    <a:pt x="696" y="588"/>
                  </a:lnTo>
                  <a:lnTo>
                    <a:pt x="690" y="576"/>
                  </a:lnTo>
                  <a:lnTo>
                    <a:pt x="696" y="552"/>
                  </a:lnTo>
                  <a:lnTo>
                    <a:pt x="684" y="522"/>
                  </a:lnTo>
                  <a:lnTo>
                    <a:pt x="672" y="504"/>
                  </a:lnTo>
                  <a:lnTo>
                    <a:pt x="654" y="504"/>
                  </a:lnTo>
                  <a:lnTo>
                    <a:pt x="642" y="504"/>
                  </a:lnTo>
                  <a:lnTo>
                    <a:pt x="624" y="510"/>
                  </a:lnTo>
                  <a:lnTo>
                    <a:pt x="612" y="516"/>
                  </a:lnTo>
                  <a:lnTo>
                    <a:pt x="594" y="516"/>
                  </a:lnTo>
                  <a:lnTo>
                    <a:pt x="588" y="516"/>
                  </a:lnTo>
                  <a:lnTo>
                    <a:pt x="588" y="522"/>
                  </a:lnTo>
                  <a:lnTo>
                    <a:pt x="582" y="516"/>
                  </a:lnTo>
                  <a:lnTo>
                    <a:pt x="588" y="510"/>
                  </a:lnTo>
                  <a:lnTo>
                    <a:pt x="582" y="510"/>
                  </a:lnTo>
                  <a:lnTo>
                    <a:pt x="582" y="504"/>
                  </a:lnTo>
                  <a:lnTo>
                    <a:pt x="576" y="498"/>
                  </a:lnTo>
                  <a:lnTo>
                    <a:pt x="570" y="498"/>
                  </a:lnTo>
                  <a:lnTo>
                    <a:pt x="570" y="492"/>
                  </a:lnTo>
                  <a:lnTo>
                    <a:pt x="564" y="492"/>
                  </a:lnTo>
                  <a:lnTo>
                    <a:pt x="570" y="486"/>
                  </a:lnTo>
                  <a:lnTo>
                    <a:pt x="564" y="486"/>
                  </a:lnTo>
                  <a:lnTo>
                    <a:pt x="564" y="480"/>
                  </a:lnTo>
                  <a:lnTo>
                    <a:pt x="564" y="474"/>
                  </a:lnTo>
                  <a:lnTo>
                    <a:pt x="558" y="468"/>
                  </a:lnTo>
                  <a:lnTo>
                    <a:pt x="564" y="468"/>
                  </a:lnTo>
                  <a:lnTo>
                    <a:pt x="564" y="462"/>
                  </a:lnTo>
                  <a:lnTo>
                    <a:pt x="570" y="462"/>
                  </a:lnTo>
                  <a:lnTo>
                    <a:pt x="570" y="456"/>
                  </a:lnTo>
                  <a:lnTo>
                    <a:pt x="570" y="450"/>
                  </a:lnTo>
                  <a:lnTo>
                    <a:pt x="576" y="450"/>
                  </a:lnTo>
                  <a:lnTo>
                    <a:pt x="576" y="444"/>
                  </a:lnTo>
                  <a:lnTo>
                    <a:pt x="582" y="438"/>
                  </a:lnTo>
                  <a:lnTo>
                    <a:pt x="588" y="438"/>
                  </a:lnTo>
                  <a:lnTo>
                    <a:pt x="588" y="444"/>
                  </a:lnTo>
                  <a:lnTo>
                    <a:pt x="594" y="438"/>
                  </a:lnTo>
                  <a:lnTo>
                    <a:pt x="594" y="432"/>
                  </a:lnTo>
                  <a:lnTo>
                    <a:pt x="600" y="432"/>
                  </a:lnTo>
                  <a:lnTo>
                    <a:pt x="600" y="426"/>
                  </a:lnTo>
                  <a:lnTo>
                    <a:pt x="600" y="420"/>
                  </a:lnTo>
                  <a:lnTo>
                    <a:pt x="606" y="420"/>
                  </a:lnTo>
                  <a:lnTo>
                    <a:pt x="600" y="420"/>
                  </a:lnTo>
                  <a:lnTo>
                    <a:pt x="600" y="414"/>
                  </a:lnTo>
                  <a:lnTo>
                    <a:pt x="606" y="408"/>
                  </a:lnTo>
                  <a:lnTo>
                    <a:pt x="612" y="408"/>
                  </a:lnTo>
                  <a:lnTo>
                    <a:pt x="612" y="414"/>
                  </a:lnTo>
                  <a:lnTo>
                    <a:pt x="618" y="414"/>
                  </a:lnTo>
                  <a:lnTo>
                    <a:pt x="624" y="414"/>
                  </a:lnTo>
                  <a:lnTo>
                    <a:pt x="630" y="414"/>
                  </a:lnTo>
                  <a:lnTo>
                    <a:pt x="636" y="414"/>
                  </a:lnTo>
                  <a:lnTo>
                    <a:pt x="642" y="408"/>
                  </a:lnTo>
                  <a:lnTo>
                    <a:pt x="648" y="408"/>
                  </a:lnTo>
                  <a:lnTo>
                    <a:pt x="660" y="408"/>
                  </a:lnTo>
                  <a:lnTo>
                    <a:pt x="666" y="402"/>
                  </a:lnTo>
                  <a:lnTo>
                    <a:pt x="672" y="402"/>
                  </a:lnTo>
                  <a:lnTo>
                    <a:pt x="684" y="396"/>
                  </a:lnTo>
                  <a:lnTo>
                    <a:pt x="690" y="396"/>
                  </a:lnTo>
                  <a:lnTo>
                    <a:pt x="696" y="396"/>
                  </a:lnTo>
                  <a:lnTo>
                    <a:pt x="702" y="396"/>
                  </a:lnTo>
                  <a:lnTo>
                    <a:pt x="708" y="396"/>
                  </a:lnTo>
                  <a:lnTo>
                    <a:pt x="714" y="390"/>
                  </a:lnTo>
                  <a:lnTo>
                    <a:pt x="714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32" y="384"/>
                  </a:lnTo>
                  <a:lnTo>
                    <a:pt x="738" y="378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56" y="372"/>
                  </a:lnTo>
                  <a:lnTo>
                    <a:pt x="762" y="366"/>
                  </a:lnTo>
                  <a:lnTo>
                    <a:pt x="768" y="366"/>
                  </a:lnTo>
                  <a:lnTo>
                    <a:pt x="774" y="366"/>
                  </a:lnTo>
                  <a:lnTo>
                    <a:pt x="774" y="360"/>
                  </a:lnTo>
                  <a:lnTo>
                    <a:pt x="780" y="366"/>
                  </a:lnTo>
                  <a:lnTo>
                    <a:pt x="786" y="366"/>
                  </a:lnTo>
                  <a:lnTo>
                    <a:pt x="786" y="360"/>
                  </a:lnTo>
                  <a:lnTo>
                    <a:pt x="792" y="354"/>
                  </a:lnTo>
                  <a:lnTo>
                    <a:pt x="786" y="354"/>
                  </a:lnTo>
                  <a:lnTo>
                    <a:pt x="792" y="348"/>
                  </a:lnTo>
                  <a:lnTo>
                    <a:pt x="798" y="348"/>
                  </a:lnTo>
                  <a:lnTo>
                    <a:pt x="804" y="348"/>
                  </a:lnTo>
                  <a:lnTo>
                    <a:pt x="810" y="342"/>
                  </a:lnTo>
                  <a:lnTo>
                    <a:pt x="816" y="342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28" y="336"/>
                  </a:lnTo>
                  <a:lnTo>
                    <a:pt x="834" y="336"/>
                  </a:lnTo>
                  <a:lnTo>
                    <a:pt x="840" y="336"/>
                  </a:lnTo>
                  <a:lnTo>
                    <a:pt x="846" y="330"/>
                  </a:lnTo>
                  <a:lnTo>
                    <a:pt x="852" y="330"/>
                  </a:lnTo>
                  <a:lnTo>
                    <a:pt x="858" y="330"/>
                  </a:lnTo>
                  <a:lnTo>
                    <a:pt x="864" y="324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0" y="312"/>
                  </a:lnTo>
                  <a:lnTo>
                    <a:pt x="876" y="312"/>
                  </a:lnTo>
                  <a:lnTo>
                    <a:pt x="882" y="312"/>
                  </a:lnTo>
                  <a:lnTo>
                    <a:pt x="882" y="318"/>
                  </a:lnTo>
                  <a:lnTo>
                    <a:pt x="888" y="312"/>
                  </a:lnTo>
                  <a:lnTo>
                    <a:pt x="894" y="306"/>
                  </a:lnTo>
                  <a:lnTo>
                    <a:pt x="900" y="306"/>
                  </a:lnTo>
                  <a:lnTo>
                    <a:pt x="906" y="306"/>
                  </a:lnTo>
                  <a:lnTo>
                    <a:pt x="912" y="300"/>
                  </a:lnTo>
                  <a:lnTo>
                    <a:pt x="906" y="294"/>
                  </a:lnTo>
                  <a:lnTo>
                    <a:pt x="912" y="276"/>
                  </a:lnTo>
                  <a:lnTo>
                    <a:pt x="912" y="252"/>
                  </a:lnTo>
                  <a:lnTo>
                    <a:pt x="906" y="234"/>
                  </a:lnTo>
                  <a:lnTo>
                    <a:pt x="912" y="228"/>
                  </a:lnTo>
                  <a:lnTo>
                    <a:pt x="912" y="216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24" y="192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36" y="186"/>
                  </a:lnTo>
                  <a:lnTo>
                    <a:pt x="930" y="180"/>
                  </a:lnTo>
                  <a:lnTo>
                    <a:pt x="930" y="174"/>
                  </a:lnTo>
                  <a:lnTo>
                    <a:pt x="936" y="156"/>
                  </a:lnTo>
                  <a:lnTo>
                    <a:pt x="930" y="156"/>
                  </a:lnTo>
                  <a:lnTo>
                    <a:pt x="924" y="150"/>
                  </a:lnTo>
                  <a:lnTo>
                    <a:pt x="942" y="78"/>
                  </a:lnTo>
                  <a:lnTo>
                    <a:pt x="948" y="78"/>
                  </a:lnTo>
                  <a:lnTo>
                    <a:pt x="954" y="66"/>
                  </a:lnTo>
                  <a:lnTo>
                    <a:pt x="954" y="72"/>
                  </a:lnTo>
                  <a:lnTo>
                    <a:pt x="954" y="66"/>
                  </a:lnTo>
                  <a:lnTo>
                    <a:pt x="960" y="66"/>
                  </a:lnTo>
                  <a:lnTo>
                    <a:pt x="966" y="66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54"/>
                  </a:lnTo>
                  <a:lnTo>
                    <a:pt x="990" y="54"/>
                  </a:lnTo>
                  <a:lnTo>
                    <a:pt x="996" y="48"/>
                  </a:lnTo>
                  <a:lnTo>
                    <a:pt x="1002" y="48"/>
                  </a:lnTo>
                  <a:lnTo>
                    <a:pt x="1032" y="48"/>
                  </a:lnTo>
                  <a:lnTo>
                    <a:pt x="1062" y="48"/>
                  </a:lnTo>
                  <a:lnTo>
                    <a:pt x="1068" y="78"/>
                  </a:lnTo>
                  <a:lnTo>
                    <a:pt x="1086" y="78"/>
                  </a:lnTo>
                  <a:lnTo>
                    <a:pt x="1092" y="66"/>
                  </a:lnTo>
                  <a:lnTo>
                    <a:pt x="1092" y="60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8" y="48"/>
                  </a:lnTo>
                  <a:lnTo>
                    <a:pt x="1104" y="48"/>
                  </a:lnTo>
                  <a:lnTo>
                    <a:pt x="1110" y="48"/>
                  </a:lnTo>
                  <a:lnTo>
                    <a:pt x="1110" y="42"/>
                  </a:lnTo>
                  <a:lnTo>
                    <a:pt x="1110" y="36"/>
                  </a:lnTo>
                  <a:lnTo>
                    <a:pt x="1116" y="36"/>
                  </a:lnTo>
                  <a:lnTo>
                    <a:pt x="1116" y="30"/>
                  </a:lnTo>
                  <a:lnTo>
                    <a:pt x="1122" y="30"/>
                  </a:lnTo>
                  <a:lnTo>
                    <a:pt x="1128" y="30"/>
                  </a:lnTo>
                  <a:lnTo>
                    <a:pt x="1134" y="30"/>
                  </a:lnTo>
                  <a:lnTo>
                    <a:pt x="1140" y="24"/>
                  </a:lnTo>
                  <a:lnTo>
                    <a:pt x="1152" y="18"/>
                  </a:lnTo>
                  <a:lnTo>
                    <a:pt x="1158" y="18"/>
                  </a:lnTo>
                  <a:lnTo>
                    <a:pt x="1152" y="12"/>
                  </a:lnTo>
                  <a:lnTo>
                    <a:pt x="1152" y="6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8"/>
                  </a:lnTo>
                  <a:lnTo>
                    <a:pt x="1170" y="12"/>
                  </a:lnTo>
                  <a:lnTo>
                    <a:pt x="1170" y="6"/>
                  </a:lnTo>
                  <a:lnTo>
                    <a:pt x="1176" y="6"/>
                  </a:lnTo>
                  <a:lnTo>
                    <a:pt x="1176" y="0"/>
                  </a:lnTo>
                  <a:lnTo>
                    <a:pt x="1182" y="6"/>
                  </a:lnTo>
                  <a:lnTo>
                    <a:pt x="1188" y="6"/>
                  </a:lnTo>
                  <a:lnTo>
                    <a:pt x="1188" y="0"/>
                  </a:lnTo>
                  <a:lnTo>
                    <a:pt x="1194" y="6"/>
                  </a:lnTo>
                  <a:lnTo>
                    <a:pt x="1200" y="12"/>
                  </a:lnTo>
                  <a:lnTo>
                    <a:pt x="1206" y="18"/>
                  </a:lnTo>
                  <a:lnTo>
                    <a:pt x="1212" y="18"/>
                  </a:lnTo>
                  <a:lnTo>
                    <a:pt x="1218" y="24"/>
                  </a:lnTo>
                  <a:lnTo>
                    <a:pt x="1236" y="36"/>
                  </a:lnTo>
                  <a:lnTo>
                    <a:pt x="1242" y="36"/>
                  </a:lnTo>
                  <a:lnTo>
                    <a:pt x="1248" y="42"/>
                  </a:lnTo>
                  <a:lnTo>
                    <a:pt x="1248" y="48"/>
                  </a:lnTo>
                  <a:lnTo>
                    <a:pt x="1260" y="48"/>
                  </a:lnTo>
                  <a:lnTo>
                    <a:pt x="1260" y="108"/>
                  </a:lnTo>
                  <a:lnTo>
                    <a:pt x="1266" y="168"/>
                  </a:lnTo>
                  <a:lnTo>
                    <a:pt x="1278" y="234"/>
                  </a:lnTo>
                  <a:lnTo>
                    <a:pt x="1284" y="240"/>
                  </a:lnTo>
                  <a:lnTo>
                    <a:pt x="1290" y="264"/>
                  </a:lnTo>
                  <a:lnTo>
                    <a:pt x="1296" y="288"/>
                  </a:lnTo>
                  <a:lnTo>
                    <a:pt x="1296" y="300"/>
                  </a:lnTo>
                  <a:lnTo>
                    <a:pt x="1296" y="312"/>
                  </a:lnTo>
                  <a:lnTo>
                    <a:pt x="1296" y="324"/>
                  </a:lnTo>
                  <a:lnTo>
                    <a:pt x="1296" y="354"/>
                  </a:lnTo>
                  <a:lnTo>
                    <a:pt x="1302" y="366"/>
                  </a:lnTo>
                  <a:lnTo>
                    <a:pt x="1308" y="372"/>
                  </a:lnTo>
                  <a:lnTo>
                    <a:pt x="1308" y="384"/>
                  </a:lnTo>
                  <a:lnTo>
                    <a:pt x="1314" y="390"/>
                  </a:lnTo>
                  <a:lnTo>
                    <a:pt x="1308" y="408"/>
                  </a:lnTo>
                  <a:lnTo>
                    <a:pt x="1314" y="408"/>
                  </a:lnTo>
                  <a:lnTo>
                    <a:pt x="1314" y="414"/>
                  </a:lnTo>
                  <a:lnTo>
                    <a:pt x="1308" y="420"/>
                  </a:lnTo>
                  <a:lnTo>
                    <a:pt x="1308" y="432"/>
                  </a:lnTo>
                  <a:lnTo>
                    <a:pt x="1320" y="432"/>
                  </a:lnTo>
                  <a:lnTo>
                    <a:pt x="1320" y="444"/>
                  </a:lnTo>
                  <a:lnTo>
                    <a:pt x="1332" y="444"/>
                  </a:lnTo>
                  <a:lnTo>
                    <a:pt x="1338" y="450"/>
                  </a:lnTo>
                  <a:lnTo>
                    <a:pt x="1344" y="456"/>
                  </a:lnTo>
                  <a:lnTo>
                    <a:pt x="1344" y="462"/>
                  </a:lnTo>
                  <a:lnTo>
                    <a:pt x="1344" y="474"/>
                  </a:lnTo>
                  <a:lnTo>
                    <a:pt x="1350" y="474"/>
                  </a:lnTo>
                  <a:lnTo>
                    <a:pt x="1368" y="504"/>
                  </a:lnTo>
                  <a:lnTo>
                    <a:pt x="1374" y="534"/>
                  </a:lnTo>
                  <a:lnTo>
                    <a:pt x="1380" y="558"/>
                  </a:lnTo>
                  <a:lnTo>
                    <a:pt x="1386" y="576"/>
                  </a:lnTo>
                  <a:lnTo>
                    <a:pt x="1386" y="600"/>
                  </a:lnTo>
                  <a:lnTo>
                    <a:pt x="1386" y="624"/>
                  </a:lnTo>
                  <a:lnTo>
                    <a:pt x="1386" y="648"/>
                  </a:lnTo>
                  <a:lnTo>
                    <a:pt x="1386" y="684"/>
                  </a:lnTo>
                  <a:lnTo>
                    <a:pt x="1380" y="684"/>
                  </a:lnTo>
                  <a:lnTo>
                    <a:pt x="1374" y="696"/>
                  </a:lnTo>
                  <a:lnTo>
                    <a:pt x="1368" y="702"/>
                  </a:lnTo>
                  <a:lnTo>
                    <a:pt x="1362" y="708"/>
                  </a:lnTo>
                  <a:lnTo>
                    <a:pt x="1356" y="714"/>
                  </a:lnTo>
                  <a:lnTo>
                    <a:pt x="1350" y="720"/>
                  </a:lnTo>
                  <a:lnTo>
                    <a:pt x="1338" y="720"/>
                  </a:lnTo>
                  <a:lnTo>
                    <a:pt x="1338" y="738"/>
                  </a:lnTo>
                  <a:lnTo>
                    <a:pt x="1362" y="750"/>
                  </a:lnTo>
                  <a:lnTo>
                    <a:pt x="1362" y="756"/>
                  </a:lnTo>
                  <a:lnTo>
                    <a:pt x="1374" y="756"/>
                  </a:lnTo>
                  <a:lnTo>
                    <a:pt x="1410" y="774"/>
                  </a:lnTo>
                  <a:lnTo>
                    <a:pt x="1446" y="774"/>
                  </a:lnTo>
                  <a:lnTo>
                    <a:pt x="1482" y="768"/>
                  </a:lnTo>
                  <a:lnTo>
                    <a:pt x="1500" y="774"/>
                  </a:lnTo>
                  <a:lnTo>
                    <a:pt x="1512" y="78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6" name="Freeform 11">
              <a:extLst>
                <a:ext uri="{FF2B5EF4-FFF2-40B4-BE49-F238E27FC236}">
                  <a16:creationId xmlns:a16="http://schemas.microsoft.com/office/drawing/2014/main" id="{1FF8E66F-B850-456A-B132-C45FEEDE95C6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2475" y="2345643"/>
              <a:ext cx="445003" cy="603855"/>
            </a:xfrm>
            <a:custGeom>
              <a:avLst/>
              <a:gdLst>
                <a:gd name="T0" fmla="*/ 47 w 840"/>
                <a:gd name="T1" fmla="*/ 98 h 1134"/>
                <a:gd name="T2" fmla="*/ 41 w 840"/>
                <a:gd name="T3" fmla="*/ 98 h 1134"/>
                <a:gd name="T4" fmla="*/ 37 w 840"/>
                <a:gd name="T5" fmla="*/ 98 h 1134"/>
                <a:gd name="T6" fmla="*/ 29 w 840"/>
                <a:gd name="T7" fmla="*/ 97 h 1134"/>
                <a:gd name="T8" fmla="*/ 27 w 840"/>
                <a:gd name="T9" fmla="*/ 94 h 1134"/>
                <a:gd name="T10" fmla="*/ 26 w 840"/>
                <a:gd name="T11" fmla="*/ 93 h 1134"/>
                <a:gd name="T12" fmla="*/ 26 w 840"/>
                <a:gd name="T13" fmla="*/ 83 h 1134"/>
                <a:gd name="T14" fmla="*/ 26 w 840"/>
                <a:gd name="T15" fmla="*/ 81 h 1134"/>
                <a:gd name="T16" fmla="*/ 23 w 840"/>
                <a:gd name="T17" fmla="*/ 77 h 1134"/>
                <a:gd name="T18" fmla="*/ 19 w 840"/>
                <a:gd name="T19" fmla="*/ 75 h 1134"/>
                <a:gd name="T20" fmla="*/ 16 w 840"/>
                <a:gd name="T21" fmla="*/ 72 h 1134"/>
                <a:gd name="T22" fmla="*/ 13 w 840"/>
                <a:gd name="T23" fmla="*/ 70 h 1134"/>
                <a:gd name="T24" fmla="*/ 17 w 840"/>
                <a:gd name="T25" fmla="*/ 67 h 1134"/>
                <a:gd name="T26" fmla="*/ 19 w 840"/>
                <a:gd name="T27" fmla="*/ 63 h 1134"/>
                <a:gd name="T28" fmla="*/ 20 w 840"/>
                <a:gd name="T29" fmla="*/ 59 h 1134"/>
                <a:gd name="T30" fmla="*/ 19 w 840"/>
                <a:gd name="T31" fmla="*/ 55 h 1134"/>
                <a:gd name="T32" fmla="*/ 17 w 840"/>
                <a:gd name="T33" fmla="*/ 47 h 1134"/>
                <a:gd name="T34" fmla="*/ 8 w 840"/>
                <a:gd name="T35" fmla="*/ 45 h 1134"/>
                <a:gd name="T36" fmla="*/ 4 w 840"/>
                <a:gd name="T37" fmla="*/ 39 h 1134"/>
                <a:gd name="T38" fmla="*/ 2 w 840"/>
                <a:gd name="T39" fmla="*/ 35 h 1134"/>
                <a:gd name="T40" fmla="*/ 0 w 840"/>
                <a:gd name="T41" fmla="*/ 31 h 1134"/>
                <a:gd name="T42" fmla="*/ 2 w 840"/>
                <a:gd name="T43" fmla="*/ 27 h 1134"/>
                <a:gd name="T44" fmla="*/ 5 w 840"/>
                <a:gd name="T45" fmla="*/ 24 h 1134"/>
                <a:gd name="T46" fmla="*/ 10 w 840"/>
                <a:gd name="T47" fmla="*/ 26 h 1134"/>
                <a:gd name="T48" fmla="*/ 7 w 840"/>
                <a:gd name="T49" fmla="*/ 20 h 1134"/>
                <a:gd name="T50" fmla="*/ 12 w 840"/>
                <a:gd name="T51" fmla="*/ 12 h 1134"/>
                <a:gd name="T52" fmla="*/ 19 w 840"/>
                <a:gd name="T53" fmla="*/ 10 h 1134"/>
                <a:gd name="T54" fmla="*/ 20 w 840"/>
                <a:gd name="T55" fmla="*/ 13 h 1134"/>
                <a:gd name="T56" fmla="*/ 22 w 840"/>
                <a:gd name="T57" fmla="*/ 11 h 1134"/>
                <a:gd name="T58" fmla="*/ 25 w 840"/>
                <a:gd name="T59" fmla="*/ 7 h 1134"/>
                <a:gd name="T60" fmla="*/ 29 w 840"/>
                <a:gd name="T61" fmla="*/ 2 h 1134"/>
                <a:gd name="T62" fmla="*/ 33 w 840"/>
                <a:gd name="T63" fmla="*/ 1 h 1134"/>
                <a:gd name="T64" fmla="*/ 37 w 840"/>
                <a:gd name="T65" fmla="*/ 2 h 1134"/>
                <a:gd name="T66" fmla="*/ 39 w 840"/>
                <a:gd name="T67" fmla="*/ 4 h 1134"/>
                <a:gd name="T68" fmla="*/ 43 w 840"/>
                <a:gd name="T69" fmla="*/ 5 h 1134"/>
                <a:gd name="T70" fmla="*/ 46 w 840"/>
                <a:gd name="T71" fmla="*/ 11 h 1134"/>
                <a:gd name="T72" fmla="*/ 49 w 840"/>
                <a:gd name="T73" fmla="*/ 12 h 1134"/>
                <a:gd name="T74" fmla="*/ 52 w 840"/>
                <a:gd name="T75" fmla="*/ 15 h 1134"/>
                <a:gd name="T76" fmla="*/ 54 w 840"/>
                <a:gd name="T77" fmla="*/ 18 h 1134"/>
                <a:gd name="T78" fmla="*/ 55 w 840"/>
                <a:gd name="T79" fmla="*/ 22 h 1134"/>
                <a:gd name="T80" fmla="*/ 56 w 840"/>
                <a:gd name="T81" fmla="*/ 26 h 1134"/>
                <a:gd name="T82" fmla="*/ 55 w 840"/>
                <a:gd name="T83" fmla="*/ 32 h 1134"/>
                <a:gd name="T84" fmla="*/ 55 w 840"/>
                <a:gd name="T85" fmla="*/ 36 h 1134"/>
                <a:gd name="T86" fmla="*/ 54 w 840"/>
                <a:gd name="T87" fmla="*/ 39 h 1134"/>
                <a:gd name="T88" fmla="*/ 56 w 840"/>
                <a:gd name="T89" fmla="*/ 39 h 1134"/>
                <a:gd name="T90" fmla="*/ 58 w 840"/>
                <a:gd name="T91" fmla="*/ 39 h 1134"/>
                <a:gd name="T92" fmla="*/ 61 w 840"/>
                <a:gd name="T93" fmla="*/ 39 h 1134"/>
                <a:gd name="T94" fmla="*/ 60 w 840"/>
                <a:gd name="T95" fmla="*/ 49 h 1134"/>
                <a:gd name="T96" fmla="*/ 59 w 840"/>
                <a:gd name="T97" fmla="*/ 53 h 1134"/>
                <a:gd name="T98" fmla="*/ 59 w 840"/>
                <a:gd name="T99" fmla="*/ 56 h 1134"/>
                <a:gd name="T100" fmla="*/ 60 w 840"/>
                <a:gd name="T101" fmla="*/ 59 h 1134"/>
                <a:gd name="T102" fmla="*/ 64 w 840"/>
                <a:gd name="T103" fmla="*/ 61 h 1134"/>
                <a:gd name="T104" fmla="*/ 69 w 840"/>
                <a:gd name="T105" fmla="*/ 63 h 1134"/>
                <a:gd name="T106" fmla="*/ 72 w 840"/>
                <a:gd name="T107" fmla="*/ 69 h 1134"/>
                <a:gd name="T108" fmla="*/ 72 w 840"/>
                <a:gd name="T109" fmla="*/ 73 h 1134"/>
                <a:gd name="T110" fmla="*/ 72 w 840"/>
                <a:gd name="T111" fmla="*/ 83 h 1134"/>
                <a:gd name="T112" fmla="*/ 63 w 840"/>
                <a:gd name="T113" fmla="*/ 88 h 1134"/>
                <a:gd name="T114" fmla="*/ 52 w 840"/>
                <a:gd name="T115" fmla="*/ 95 h 11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40"/>
                <a:gd name="T175" fmla="*/ 0 h 1134"/>
                <a:gd name="T176" fmla="*/ 840 w 840"/>
                <a:gd name="T177" fmla="*/ 1134 h 11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40" h="1134">
                  <a:moveTo>
                    <a:pt x="564" y="1110"/>
                  </a:moveTo>
                  <a:lnTo>
                    <a:pt x="564" y="1104"/>
                  </a:lnTo>
                  <a:lnTo>
                    <a:pt x="558" y="1104"/>
                  </a:lnTo>
                  <a:lnTo>
                    <a:pt x="552" y="1110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28" y="1128"/>
                  </a:lnTo>
                  <a:lnTo>
                    <a:pt x="498" y="1128"/>
                  </a:lnTo>
                  <a:lnTo>
                    <a:pt x="492" y="1128"/>
                  </a:lnTo>
                  <a:lnTo>
                    <a:pt x="486" y="1128"/>
                  </a:lnTo>
                  <a:lnTo>
                    <a:pt x="480" y="1128"/>
                  </a:lnTo>
                  <a:lnTo>
                    <a:pt x="474" y="1134"/>
                  </a:lnTo>
                  <a:lnTo>
                    <a:pt x="468" y="1134"/>
                  </a:lnTo>
                  <a:lnTo>
                    <a:pt x="462" y="1134"/>
                  </a:lnTo>
                  <a:lnTo>
                    <a:pt x="456" y="1134"/>
                  </a:lnTo>
                  <a:lnTo>
                    <a:pt x="456" y="1128"/>
                  </a:lnTo>
                  <a:lnTo>
                    <a:pt x="450" y="1122"/>
                  </a:lnTo>
                  <a:lnTo>
                    <a:pt x="426" y="1128"/>
                  </a:lnTo>
                  <a:lnTo>
                    <a:pt x="414" y="1128"/>
                  </a:lnTo>
                  <a:lnTo>
                    <a:pt x="348" y="1134"/>
                  </a:lnTo>
                  <a:lnTo>
                    <a:pt x="348" y="1128"/>
                  </a:lnTo>
                  <a:lnTo>
                    <a:pt x="342" y="1128"/>
                  </a:lnTo>
                  <a:lnTo>
                    <a:pt x="336" y="1122"/>
                  </a:lnTo>
                  <a:lnTo>
                    <a:pt x="330" y="1122"/>
                  </a:lnTo>
                  <a:lnTo>
                    <a:pt x="324" y="1116"/>
                  </a:lnTo>
                  <a:lnTo>
                    <a:pt x="324" y="1110"/>
                  </a:lnTo>
                  <a:lnTo>
                    <a:pt x="318" y="1110"/>
                  </a:lnTo>
                  <a:lnTo>
                    <a:pt x="318" y="1104"/>
                  </a:lnTo>
                  <a:lnTo>
                    <a:pt x="312" y="1092"/>
                  </a:lnTo>
                  <a:lnTo>
                    <a:pt x="306" y="1086"/>
                  </a:lnTo>
                  <a:lnTo>
                    <a:pt x="306" y="1080"/>
                  </a:lnTo>
                  <a:lnTo>
                    <a:pt x="312" y="1074"/>
                  </a:lnTo>
                  <a:lnTo>
                    <a:pt x="306" y="1068"/>
                  </a:lnTo>
                  <a:lnTo>
                    <a:pt x="300" y="1074"/>
                  </a:lnTo>
                  <a:lnTo>
                    <a:pt x="300" y="1068"/>
                  </a:lnTo>
                  <a:lnTo>
                    <a:pt x="294" y="1068"/>
                  </a:lnTo>
                  <a:lnTo>
                    <a:pt x="294" y="1056"/>
                  </a:lnTo>
                  <a:lnTo>
                    <a:pt x="294" y="1026"/>
                  </a:lnTo>
                  <a:lnTo>
                    <a:pt x="294" y="1020"/>
                  </a:lnTo>
                  <a:lnTo>
                    <a:pt x="294" y="1008"/>
                  </a:lnTo>
                  <a:lnTo>
                    <a:pt x="294" y="966"/>
                  </a:lnTo>
                  <a:lnTo>
                    <a:pt x="294" y="960"/>
                  </a:lnTo>
                  <a:lnTo>
                    <a:pt x="294" y="954"/>
                  </a:lnTo>
                  <a:lnTo>
                    <a:pt x="294" y="948"/>
                  </a:lnTo>
                  <a:lnTo>
                    <a:pt x="294" y="942"/>
                  </a:lnTo>
                  <a:lnTo>
                    <a:pt x="300" y="936"/>
                  </a:lnTo>
                  <a:lnTo>
                    <a:pt x="300" y="930"/>
                  </a:lnTo>
                  <a:lnTo>
                    <a:pt x="294" y="930"/>
                  </a:lnTo>
                  <a:lnTo>
                    <a:pt x="288" y="930"/>
                  </a:lnTo>
                  <a:lnTo>
                    <a:pt x="288" y="924"/>
                  </a:lnTo>
                  <a:lnTo>
                    <a:pt x="282" y="918"/>
                  </a:lnTo>
                  <a:lnTo>
                    <a:pt x="282" y="906"/>
                  </a:lnTo>
                  <a:lnTo>
                    <a:pt x="282" y="900"/>
                  </a:lnTo>
                  <a:lnTo>
                    <a:pt x="264" y="894"/>
                  </a:lnTo>
                  <a:lnTo>
                    <a:pt x="252" y="882"/>
                  </a:lnTo>
                  <a:lnTo>
                    <a:pt x="246" y="876"/>
                  </a:lnTo>
                  <a:lnTo>
                    <a:pt x="240" y="876"/>
                  </a:lnTo>
                  <a:lnTo>
                    <a:pt x="240" y="870"/>
                  </a:lnTo>
                  <a:lnTo>
                    <a:pt x="234" y="870"/>
                  </a:lnTo>
                  <a:lnTo>
                    <a:pt x="222" y="864"/>
                  </a:lnTo>
                  <a:lnTo>
                    <a:pt x="216" y="864"/>
                  </a:lnTo>
                  <a:lnTo>
                    <a:pt x="210" y="858"/>
                  </a:lnTo>
                  <a:lnTo>
                    <a:pt x="210" y="852"/>
                  </a:lnTo>
                  <a:lnTo>
                    <a:pt x="210" y="846"/>
                  </a:lnTo>
                  <a:lnTo>
                    <a:pt x="198" y="840"/>
                  </a:lnTo>
                  <a:lnTo>
                    <a:pt x="186" y="834"/>
                  </a:lnTo>
                  <a:lnTo>
                    <a:pt x="180" y="828"/>
                  </a:lnTo>
                  <a:lnTo>
                    <a:pt x="180" y="822"/>
                  </a:lnTo>
                  <a:lnTo>
                    <a:pt x="174" y="822"/>
                  </a:lnTo>
                  <a:lnTo>
                    <a:pt x="162" y="816"/>
                  </a:lnTo>
                  <a:lnTo>
                    <a:pt x="156" y="810"/>
                  </a:lnTo>
                  <a:lnTo>
                    <a:pt x="150" y="810"/>
                  </a:lnTo>
                  <a:lnTo>
                    <a:pt x="144" y="798"/>
                  </a:lnTo>
                  <a:lnTo>
                    <a:pt x="138" y="786"/>
                  </a:lnTo>
                  <a:lnTo>
                    <a:pt x="138" y="780"/>
                  </a:lnTo>
                  <a:lnTo>
                    <a:pt x="144" y="774"/>
                  </a:lnTo>
                  <a:lnTo>
                    <a:pt x="150" y="768"/>
                  </a:lnTo>
                  <a:lnTo>
                    <a:pt x="192" y="768"/>
                  </a:lnTo>
                  <a:lnTo>
                    <a:pt x="210" y="762"/>
                  </a:lnTo>
                  <a:lnTo>
                    <a:pt x="216" y="756"/>
                  </a:lnTo>
                  <a:lnTo>
                    <a:pt x="216" y="744"/>
                  </a:lnTo>
                  <a:lnTo>
                    <a:pt x="216" y="738"/>
                  </a:lnTo>
                  <a:lnTo>
                    <a:pt x="216" y="732"/>
                  </a:lnTo>
                  <a:lnTo>
                    <a:pt x="216" y="726"/>
                  </a:lnTo>
                  <a:lnTo>
                    <a:pt x="216" y="720"/>
                  </a:lnTo>
                  <a:lnTo>
                    <a:pt x="228" y="702"/>
                  </a:lnTo>
                  <a:lnTo>
                    <a:pt x="234" y="696"/>
                  </a:lnTo>
                  <a:lnTo>
                    <a:pt x="240" y="690"/>
                  </a:lnTo>
                  <a:lnTo>
                    <a:pt x="240" y="684"/>
                  </a:lnTo>
                  <a:lnTo>
                    <a:pt x="234" y="678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0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22" y="630"/>
                  </a:lnTo>
                  <a:lnTo>
                    <a:pt x="222" y="618"/>
                  </a:lnTo>
                  <a:lnTo>
                    <a:pt x="222" y="582"/>
                  </a:lnTo>
                  <a:lnTo>
                    <a:pt x="228" y="582"/>
                  </a:lnTo>
                  <a:lnTo>
                    <a:pt x="222" y="564"/>
                  </a:lnTo>
                  <a:lnTo>
                    <a:pt x="210" y="552"/>
                  </a:lnTo>
                  <a:lnTo>
                    <a:pt x="192" y="540"/>
                  </a:lnTo>
                  <a:lnTo>
                    <a:pt x="174" y="540"/>
                  </a:lnTo>
                  <a:lnTo>
                    <a:pt x="150" y="534"/>
                  </a:lnTo>
                  <a:lnTo>
                    <a:pt x="126" y="528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90" y="516"/>
                  </a:lnTo>
                  <a:lnTo>
                    <a:pt x="78" y="504"/>
                  </a:lnTo>
                  <a:lnTo>
                    <a:pt x="72" y="498"/>
                  </a:lnTo>
                  <a:lnTo>
                    <a:pt x="66" y="486"/>
                  </a:lnTo>
                  <a:lnTo>
                    <a:pt x="54" y="468"/>
                  </a:lnTo>
                  <a:lnTo>
                    <a:pt x="54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42" y="438"/>
                  </a:lnTo>
                  <a:lnTo>
                    <a:pt x="36" y="438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24" y="384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2" y="360"/>
                  </a:lnTo>
                  <a:lnTo>
                    <a:pt x="6" y="360"/>
                  </a:lnTo>
                  <a:lnTo>
                    <a:pt x="0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0"/>
                  </a:lnTo>
                  <a:lnTo>
                    <a:pt x="18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8" y="270"/>
                  </a:lnTo>
                  <a:lnTo>
                    <a:pt x="90" y="276"/>
                  </a:lnTo>
                  <a:lnTo>
                    <a:pt x="108" y="294"/>
                  </a:lnTo>
                  <a:lnTo>
                    <a:pt x="114" y="294"/>
                  </a:lnTo>
                  <a:lnTo>
                    <a:pt x="114" y="276"/>
                  </a:lnTo>
                  <a:lnTo>
                    <a:pt x="114" y="270"/>
                  </a:lnTo>
                  <a:lnTo>
                    <a:pt x="102" y="258"/>
                  </a:lnTo>
                  <a:lnTo>
                    <a:pt x="96" y="246"/>
                  </a:lnTo>
                  <a:lnTo>
                    <a:pt x="90" y="234"/>
                  </a:lnTo>
                  <a:lnTo>
                    <a:pt x="78" y="228"/>
                  </a:lnTo>
                  <a:lnTo>
                    <a:pt x="72" y="216"/>
                  </a:lnTo>
                  <a:lnTo>
                    <a:pt x="66" y="192"/>
                  </a:lnTo>
                  <a:lnTo>
                    <a:pt x="90" y="174"/>
                  </a:lnTo>
                  <a:lnTo>
                    <a:pt x="120" y="150"/>
                  </a:lnTo>
                  <a:lnTo>
                    <a:pt x="132" y="150"/>
                  </a:lnTo>
                  <a:lnTo>
                    <a:pt x="138" y="144"/>
                  </a:lnTo>
                  <a:lnTo>
                    <a:pt x="138" y="138"/>
                  </a:lnTo>
                  <a:lnTo>
                    <a:pt x="156" y="126"/>
                  </a:lnTo>
                  <a:lnTo>
                    <a:pt x="180" y="114"/>
                  </a:lnTo>
                  <a:lnTo>
                    <a:pt x="216" y="114"/>
                  </a:lnTo>
                  <a:lnTo>
                    <a:pt x="222" y="114"/>
                  </a:lnTo>
                  <a:lnTo>
                    <a:pt x="222" y="120"/>
                  </a:lnTo>
                  <a:lnTo>
                    <a:pt x="222" y="126"/>
                  </a:lnTo>
                  <a:lnTo>
                    <a:pt x="222" y="132"/>
                  </a:lnTo>
                  <a:lnTo>
                    <a:pt x="228" y="138"/>
                  </a:lnTo>
                  <a:lnTo>
                    <a:pt x="228" y="144"/>
                  </a:lnTo>
                  <a:lnTo>
                    <a:pt x="228" y="150"/>
                  </a:lnTo>
                  <a:lnTo>
                    <a:pt x="234" y="150"/>
                  </a:lnTo>
                  <a:lnTo>
                    <a:pt x="234" y="144"/>
                  </a:lnTo>
                  <a:lnTo>
                    <a:pt x="240" y="144"/>
                  </a:lnTo>
                  <a:lnTo>
                    <a:pt x="246" y="144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58" y="126"/>
                  </a:lnTo>
                  <a:lnTo>
                    <a:pt x="258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76" y="96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6" y="72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36"/>
                  </a:lnTo>
                  <a:lnTo>
                    <a:pt x="330" y="24"/>
                  </a:lnTo>
                  <a:lnTo>
                    <a:pt x="330" y="18"/>
                  </a:lnTo>
                  <a:lnTo>
                    <a:pt x="330" y="12"/>
                  </a:lnTo>
                  <a:lnTo>
                    <a:pt x="336" y="6"/>
                  </a:lnTo>
                  <a:lnTo>
                    <a:pt x="366" y="0"/>
                  </a:lnTo>
                  <a:lnTo>
                    <a:pt x="372" y="6"/>
                  </a:lnTo>
                  <a:lnTo>
                    <a:pt x="384" y="12"/>
                  </a:lnTo>
                  <a:lnTo>
                    <a:pt x="402" y="12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18"/>
                  </a:lnTo>
                  <a:lnTo>
                    <a:pt x="420" y="18"/>
                  </a:lnTo>
                  <a:lnTo>
                    <a:pt x="426" y="24"/>
                  </a:lnTo>
                  <a:lnTo>
                    <a:pt x="432" y="30"/>
                  </a:lnTo>
                  <a:lnTo>
                    <a:pt x="438" y="36"/>
                  </a:lnTo>
                  <a:lnTo>
                    <a:pt x="444" y="42"/>
                  </a:lnTo>
                  <a:lnTo>
                    <a:pt x="450" y="42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16" y="78"/>
                  </a:lnTo>
                  <a:lnTo>
                    <a:pt x="522" y="102"/>
                  </a:lnTo>
                  <a:lnTo>
                    <a:pt x="522" y="108"/>
                  </a:lnTo>
                  <a:lnTo>
                    <a:pt x="528" y="126"/>
                  </a:lnTo>
                  <a:lnTo>
                    <a:pt x="534" y="126"/>
                  </a:lnTo>
                  <a:lnTo>
                    <a:pt x="540" y="120"/>
                  </a:lnTo>
                  <a:lnTo>
                    <a:pt x="546" y="126"/>
                  </a:lnTo>
                  <a:lnTo>
                    <a:pt x="552" y="126"/>
                  </a:lnTo>
                  <a:lnTo>
                    <a:pt x="558" y="132"/>
                  </a:lnTo>
                  <a:lnTo>
                    <a:pt x="564" y="138"/>
                  </a:lnTo>
                  <a:lnTo>
                    <a:pt x="570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594" y="168"/>
                  </a:lnTo>
                  <a:lnTo>
                    <a:pt x="600" y="174"/>
                  </a:lnTo>
                  <a:lnTo>
                    <a:pt x="606" y="180"/>
                  </a:lnTo>
                  <a:lnTo>
                    <a:pt x="606" y="186"/>
                  </a:lnTo>
                  <a:lnTo>
                    <a:pt x="612" y="192"/>
                  </a:lnTo>
                  <a:lnTo>
                    <a:pt x="612" y="198"/>
                  </a:lnTo>
                  <a:lnTo>
                    <a:pt x="624" y="204"/>
                  </a:lnTo>
                  <a:lnTo>
                    <a:pt x="624" y="210"/>
                  </a:lnTo>
                  <a:lnTo>
                    <a:pt x="630" y="216"/>
                  </a:lnTo>
                  <a:lnTo>
                    <a:pt x="636" y="222"/>
                  </a:lnTo>
                  <a:lnTo>
                    <a:pt x="636" y="228"/>
                  </a:lnTo>
                  <a:lnTo>
                    <a:pt x="636" y="234"/>
                  </a:lnTo>
                  <a:lnTo>
                    <a:pt x="636" y="252"/>
                  </a:lnTo>
                  <a:lnTo>
                    <a:pt x="636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42" y="276"/>
                  </a:lnTo>
                  <a:lnTo>
                    <a:pt x="642" y="282"/>
                  </a:lnTo>
                  <a:lnTo>
                    <a:pt x="642" y="288"/>
                  </a:lnTo>
                  <a:lnTo>
                    <a:pt x="642" y="300"/>
                  </a:lnTo>
                  <a:lnTo>
                    <a:pt x="642" y="306"/>
                  </a:lnTo>
                  <a:lnTo>
                    <a:pt x="636" y="312"/>
                  </a:lnTo>
                  <a:lnTo>
                    <a:pt x="636" y="324"/>
                  </a:lnTo>
                  <a:lnTo>
                    <a:pt x="636" y="342"/>
                  </a:lnTo>
                  <a:lnTo>
                    <a:pt x="630" y="354"/>
                  </a:lnTo>
                  <a:lnTo>
                    <a:pt x="630" y="366"/>
                  </a:lnTo>
                  <a:lnTo>
                    <a:pt x="624" y="378"/>
                  </a:lnTo>
                  <a:lnTo>
                    <a:pt x="624" y="384"/>
                  </a:lnTo>
                  <a:lnTo>
                    <a:pt x="636" y="396"/>
                  </a:lnTo>
                  <a:lnTo>
                    <a:pt x="636" y="402"/>
                  </a:lnTo>
                  <a:lnTo>
                    <a:pt x="636" y="408"/>
                  </a:lnTo>
                  <a:lnTo>
                    <a:pt x="630" y="414"/>
                  </a:lnTo>
                  <a:lnTo>
                    <a:pt x="630" y="420"/>
                  </a:lnTo>
                  <a:lnTo>
                    <a:pt x="630" y="426"/>
                  </a:lnTo>
                  <a:lnTo>
                    <a:pt x="630" y="432"/>
                  </a:lnTo>
                  <a:lnTo>
                    <a:pt x="624" y="438"/>
                  </a:lnTo>
                  <a:lnTo>
                    <a:pt x="624" y="444"/>
                  </a:lnTo>
                  <a:lnTo>
                    <a:pt x="624" y="450"/>
                  </a:lnTo>
                  <a:lnTo>
                    <a:pt x="630" y="450"/>
                  </a:lnTo>
                  <a:lnTo>
                    <a:pt x="630" y="456"/>
                  </a:lnTo>
                  <a:lnTo>
                    <a:pt x="630" y="462"/>
                  </a:lnTo>
                  <a:lnTo>
                    <a:pt x="636" y="468"/>
                  </a:lnTo>
                  <a:lnTo>
                    <a:pt x="642" y="456"/>
                  </a:lnTo>
                  <a:lnTo>
                    <a:pt x="642" y="450"/>
                  </a:lnTo>
                  <a:lnTo>
                    <a:pt x="648" y="450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60" y="444"/>
                  </a:lnTo>
                  <a:lnTo>
                    <a:pt x="666" y="450"/>
                  </a:lnTo>
                  <a:lnTo>
                    <a:pt x="672" y="444"/>
                  </a:lnTo>
                  <a:lnTo>
                    <a:pt x="678" y="444"/>
                  </a:lnTo>
                  <a:lnTo>
                    <a:pt x="684" y="438"/>
                  </a:lnTo>
                  <a:lnTo>
                    <a:pt x="690" y="438"/>
                  </a:lnTo>
                  <a:lnTo>
                    <a:pt x="696" y="438"/>
                  </a:lnTo>
                  <a:lnTo>
                    <a:pt x="702" y="444"/>
                  </a:lnTo>
                  <a:lnTo>
                    <a:pt x="702" y="450"/>
                  </a:lnTo>
                  <a:lnTo>
                    <a:pt x="708" y="450"/>
                  </a:lnTo>
                  <a:lnTo>
                    <a:pt x="708" y="456"/>
                  </a:lnTo>
                  <a:lnTo>
                    <a:pt x="708" y="462"/>
                  </a:lnTo>
                  <a:lnTo>
                    <a:pt x="708" y="468"/>
                  </a:lnTo>
                  <a:lnTo>
                    <a:pt x="708" y="504"/>
                  </a:lnTo>
                  <a:lnTo>
                    <a:pt x="696" y="564"/>
                  </a:lnTo>
                  <a:lnTo>
                    <a:pt x="696" y="582"/>
                  </a:lnTo>
                  <a:lnTo>
                    <a:pt x="696" y="600"/>
                  </a:lnTo>
                  <a:lnTo>
                    <a:pt x="690" y="606"/>
                  </a:lnTo>
                  <a:lnTo>
                    <a:pt x="684" y="606"/>
                  </a:lnTo>
                  <a:lnTo>
                    <a:pt x="690" y="612"/>
                  </a:lnTo>
                  <a:lnTo>
                    <a:pt x="684" y="612"/>
                  </a:lnTo>
                  <a:lnTo>
                    <a:pt x="678" y="618"/>
                  </a:lnTo>
                  <a:lnTo>
                    <a:pt x="672" y="624"/>
                  </a:lnTo>
                  <a:lnTo>
                    <a:pt x="666" y="630"/>
                  </a:lnTo>
                  <a:lnTo>
                    <a:pt x="660" y="636"/>
                  </a:lnTo>
                  <a:lnTo>
                    <a:pt x="672" y="636"/>
                  </a:lnTo>
                  <a:lnTo>
                    <a:pt x="678" y="642"/>
                  </a:lnTo>
                  <a:lnTo>
                    <a:pt x="678" y="648"/>
                  </a:lnTo>
                  <a:lnTo>
                    <a:pt x="684" y="654"/>
                  </a:lnTo>
                  <a:lnTo>
                    <a:pt x="690" y="666"/>
                  </a:lnTo>
                  <a:lnTo>
                    <a:pt x="690" y="672"/>
                  </a:lnTo>
                  <a:lnTo>
                    <a:pt x="696" y="672"/>
                  </a:lnTo>
                  <a:lnTo>
                    <a:pt x="696" y="684"/>
                  </a:lnTo>
                  <a:lnTo>
                    <a:pt x="708" y="690"/>
                  </a:lnTo>
                  <a:lnTo>
                    <a:pt x="720" y="696"/>
                  </a:lnTo>
                  <a:lnTo>
                    <a:pt x="726" y="696"/>
                  </a:lnTo>
                  <a:lnTo>
                    <a:pt x="732" y="696"/>
                  </a:lnTo>
                  <a:lnTo>
                    <a:pt x="738" y="696"/>
                  </a:lnTo>
                  <a:lnTo>
                    <a:pt x="738" y="702"/>
                  </a:lnTo>
                  <a:lnTo>
                    <a:pt x="738" y="708"/>
                  </a:lnTo>
                  <a:lnTo>
                    <a:pt x="738" y="714"/>
                  </a:lnTo>
                  <a:lnTo>
                    <a:pt x="744" y="714"/>
                  </a:lnTo>
                  <a:lnTo>
                    <a:pt x="756" y="720"/>
                  </a:lnTo>
                  <a:lnTo>
                    <a:pt x="780" y="726"/>
                  </a:lnTo>
                  <a:lnTo>
                    <a:pt x="792" y="732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22" y="774"/>
                  </a:lnTo>
                  <a:lnTo>
                    <a:pt x="834" y="786"/>
                  </a:lnTo>
                  <a:lnTo>
                    <a:pt x="834" y="792"/>
                  </a:lnTo>
                  <a:lnTo>
                    <a:pt x="834" y="798"/>
                  </a:lnTo>
                  <a:lnTo>
                    <a:pt x="828" y="798"/>
                  </a:lnTo>
                  <a:lnTo>
                    <a:pt x="828" y="804"/>
                  </a:lnTo>
                  <a:lnTo>
                    <a:pt x="834" y="816"/>
                  </a:lnTo>
                  <a:lnTo>
                    <a:pt x="834" y="834"/>
                  </a:lnTo>
                  <a:lnTo>
                    <a:pt x="834" y="840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34" y="858"/>
                  </a:lnTo>
                  <a:lnTo>
                    <a:pt x="834" y="864"/>
                  </a:lnTo>
                  <a:lnTo>
                    <a:pt x="834" y="876"/>
                  </a:lnTo>
                  <a:lnTo>
                    <a:pt x="828" y="960"/>
                  </a:lnTo>
                  <a:lnTo>
                    <a:pt x="816" y="966"/>
                  </a:lnTo>
                  <a:lnTo>
                    <a:pt x="798" y="972"/>
                  </a:lnTo>
                  <a:lnTo>
                    <a:pt x="786" y="990"/>
                  </a:lnTo>
                  <a:lnTo>
                    <a:pt x="774" y="990"/>
                  </a:lnTo>
                  <a:lnTo>
                    <a:pt x="762" y="1008"/>
                  </a:lnTo>
                  <a:lnTo>
                    <a:pt x="732" y="1014"/>
                  </a:lnTo>
                  <a:lnTo>
                    <a:pt x="714" y="1026"/>
                  </a:lnTo>
                  <a:lnTo>
                    <a:pt x="690" y="1050"/>
                  </a:lnTo>
                  <a:lnTo>
                    <a:pt x="654" y="1056"/>
                  </a:lnTo>
                  <a:lnTo>
                    <a:pt x="630" y="1056"/>
                  </a:lnTo>
                  <a:lnTo>
                    <a:pt x="606" y="1068"/>
                  </a:lnTo>
                  <a:lnTo>
                    <a:pt x="600" y="1092"/>
                  </a:lnTo>
                  <a:lnTo>
                    <a:pt x="600" y="1098"/>
                  </a:lnTo>
                  <a:lnTo>
                    <a:pt x="588" y="1104"/>
                  </a:lnTo>
                  <a:lnTo>
                    <a:pt x="582" y="1104"/>
                  </a:lnTo>
                  <a:lnTo>
                    <a:pt x="570" y="1110"/>
                  </a:lnTo>
                  <a:lnTo>
                    <a:pt x="564" y="111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7" name="Freeform 12">
              <a:extLst>
                <a:ext uri="{FF2B5EF4-FFF2-40B4-BE49-F238E27FC236}">
                  <a16:creationId xmlns:a16="http://schemas.microsoft.com/office/drawing/2014/main" id="{6C93C114-E5D0-49BB-A44C-A127CE01CFE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810" y="2271838"/>
              <a:ext cx="923547" cy="845397"/>
            </a:xfrm>
            <a:custGeom>
              <a:avLst/>
              <a:gdLst>
                <a:gd name="T0" fmla="*/ 138 w 1740"/>
                <a:gd name="T1" fmla="*/ 134 h 1590"/>
                <a:gd name="T2" fmla="*/ 128 w 1740"/>
                <a:gd name="T3" fmla="*/ 131 h 1590"/>
                <a:gd name="T4" fmla="*/ 121 w 1740"/>
                <a:gd name="T5" fmla="*/ 130 h 1590"/>
                <a:gd name="T6" fmla="*/ 119 w 1740"/>
                <a:gd name="T7" fmla="*/ 134 h 1590"/>
                <a:gd name="T8" fmla="*/ 110 w 1740"/>
                <a:gd name="T9" fmla="*/ 132 h 1590"/>
                <a:gd name="T10" fmla="*/ 111 w 1740"/>
                <a:gd name="T11" fmla="*/ 127 h 1590"/>
                <a:gd name="T12" fmla="*/ 103 w 1740"/>
                <a:gd name="T13" fmla="*/ 117 h 1590"/>
                <a:gd name="T14" fmla="*/ 93 w 1740"/>
                <a:gd name="T15" fmla="*/ 123 h 1590"/>
                <a:gd name="T16" fmla="*/ 80 w 1740"/>
                <a:gd name="T17" fmla="*/ 118 h 1590"/>
                <a:gd name="T18" fmla="*/ 66 w 1740"/>
                <a:gd name="T19" fmla="*/ 117 h 1590"/>
                <a:gd name="T20" fmla="*/ 66 w 1740"/>
                <a:gd name="T21" fmla="*/ 110 h 1590"/>
                <a:gd name="T22" fmla="*/ 69 w 1740"/>
                <a:gd name="T23" fmla="*/ 107 h 1590"/>
                <a:gd name="T24" fmla="*/ 68 w 1740"/>
                <a:gd name="T25" fmla="*/ 102 h 1590"/>
                <a:gd name="T26" fmla="*/ 68 w 1740"/>
                <a:gd name="T27" fmla="*/ 96 h 1590"/>
                <a:gd name="T28" fmla="*/ 67 w 1740"/>
                <a:gd name="T29" fmla="*/ 82 h 1590"/>
                <a:gd name="T30" fmla="*/ 58 w 1740"/>
                <a:gd name="T31" fmla="*/ 82 h 1590"/>
                <a:gd name="T32" fmla="*/ 52 w 1740"/>
                <a:gd name="T33" fmla="*/ 82 h 1590"/>
                <a:gd name="T34" fmla="*/ 46 w 1740"/>
                <a:gd name="T35" fmla="*/ 80 h 1590"/>
                <a:gd name="T36" fmla="*/ 45 w 1740"/>
                <a:gd name="T37" fmla="*/ 74 h 1590"/>
                <a:gd name="T38" fmla="*/ 52 w 1740"/>
                <a:gd name="T39" fmla="*/ 70 h 1590"/>
                <a:gd name="T40" fmla="*/ 52 w 1740"/>
                <a:gd name="T41" fmla="*/ 64 h 1590"/>
                <a:gd name="T42" fmla="*/ 42 w 1740"/>
                <a:gd name="T43" fmla="*/ 53 h 1590"/>
                <a:gd name="T44" fmla="*/ 35 w 1740"/>
                <a:gd name="T45" fmla="*/ 52 h 1590"/>
                <a:gd name="T46" fmla="*/ 20 w 1740"/>
                <a:gd name="T47" fmla="*/ 51 h 1590"/>
                <a:gd name="T48" fmla="*/ 17 w 1740"/>
                <a:gd name="T49" fmla="*/ 56 h 1590"/>
                <a:gd name="T50" fmla="*/ 11 w 1740"/>
                <a:gd name="T51" fmla="*/ 61 h 1590"/>
                <a:gd name="T52" fmla="*/ 7 w 1740"/>
                <a:gd name="T53" fmla="*/ 63 h 1590"/>
                <a:gd name="T54" fmla="*/ 0 w 1740"/>
                <a:gd name="T55" fmla="*/ 55 h 1590"/>
                <a:gd name="T56" fmla="*/ 2 w 1740"/>
                <a:gd name="T57" fmla="*/ 50 h 1590"/>
                <a:gd name="T58" fmla="*/ 0 w 1740"/>
                <a:gd name="T59" fmla="*/ 44 h 1590"/>
                <a:gd name="T60" fmla="*/ 2 w 1740"/>
                <a:gd name="T61" fmla="*/ 38 h 1590"/>
                <a:gd name="T62" fmla="*/ 7 w 1740"/>
                <a:gd name="T63" fmla="*/ 35 h 1590"/>
                <a:gd name="T64" fmla="*/ 11 w 1740"/>
                <a:gd name="T65" fmla="*/ 30 h 1590"/>
                <a:gd name="T66" fmla="*/ 21 w 1740"/>
                <a:gd name="T67" fmla="*/ 26 h 1590"/>
                <a:gd name="T68" fmla="*/ 29 w 1740"/>
                <a:gd name="T69" fmla="*/ 25 h 1590"/>
                <a:gd name="T70" fmla="*/ 35 w 1740"/>
                <a:gd name="T71" fmla="*/ 21 h 1590"/>
                <a:gd name="T72" fmla="*/ 36 w 1740"/>
                <a:gd name="T73" fmla="*/ 16 h 1590"/>
                <a:gd name="T74" fmla="*/ 41 w 1740"/>
                <a:gd name="T75" fmla="*/ 11 h 1590"/>
                <a:gd name="T76" fmla="*/ 51 w 1740"/>
                <a:gd name="T77" fmla="*/ 9 h 1590"/>
                <a:gd name="T78" fmla="*/ 59 w 1740"/>
                <a:gd name="T79" fmla="*/ 21 h 1590"/>
                <a:gd name="T80" fmla="*/ 65 w 1740"/>
                <a:gd name="T81" fmla="*/ 13 h 1590"/>
                <a:gd name="T82" fmla="*/ 73 w 1740"/>
                <a:gd name="T83" fmla="*/ 8 h 1590"/>
                <a:gd name="T84" fmla="*/ 82 w 1740"/>
                <a:gd name="T85" fmla="*/ 12 h 1590"/>
                <a:gd name="T86" fmla="*/ 88 w 1740"/>
                <a:gd name="T87" fmla="*/ 12 h 1590"/>
                <a:gd name="T88" fmla="*/ 99 w 1740"/>
                <a:gd name="T89" fmla="*/ 7 h 1590"/>
                <a:gd name="T90" fmla="*/ 114 w 1740"/>
                <a:gd name="T91" fmla="*/ 0 h 1590"/>
                <a:gd name="T92" fmla="*/ 117 w 1740"/>
                <a:gd name="T93" fmla="*/ 10 h 1590"/>
                <a:gd name="T94" fmla="*/ 132 w 1740"/>
                <a:gd name="T95" fmla="*/ 17 h 1590"/>
                <a:gd name="T96" fmla="*/ 140 w 1740"/>
                <a:gd name="T97" fmla="*/ 25 h 1590"/>
                <a:gd name="T98" fmla="*/ 140 w 1740"/>
                <a:gd name="T99" fmla="*/ 33 h 1590"/>
                <a:gd name="T100" fmla="*/ 140 w 1740"/>
                <a:gd name="T101" fmla="*/ 44 h 1590"/>
                <a:gd name="T102" fmla="*/ 138 w 1740"/>
                <a:gd name="T103" fmla="*/ 48 h 1590"/>
                <a:gd name="T104" fmla="*/ 141 w 1740"/>
                <a:gd name="T105" fmla="*/ 49 h 1590"/>
                <a:gd name="T106" fmla="*/ 146 w 1740"/>
                <a:gd name="T107" fmla="*/ 50 h 1590"/>
                <a:gd name="T108" fmla="*/ 149 w 1740"/>
                <a:gd name="T109" fmla="*/ 59 h 1590"/>
                <a:gd name="T110" fmla="*/ 148 w 1740"/>
                <a:gd name="T111" fmla="*/ 67 h 1590"/>
                <a:gd name="T112" fmla="*/ 141 w 1740"/>
                <a:gd name="T113" fmla="*/ 78 h 1590"/>
                <a:gd name="T114" fmla="*/ 141 w 1740"/>
                <a:gd name="T115" fmla="*/ 91 h 1590"/>
                <a:gd name="T116" fmla="*/ 138 w 1740"/>
                <a:gd name="T117" fmla="*/ 102 h 1590"/>
                <a:gd name="T118" fmla="*/ 138 w 1740"/>
                <a:gd name="T119" fmla="*/ 110 h 1590"/>
                <a:gd name="T120" fmla="*/ 144 w 1740"/>
                <a:gd name="T121" fmla="*/ 118 h 1590"/>
                <a:gd name="T122" fmla="*/ 143 w 1740"/>
                <a:gd name="T123" fmla="*/ 125 h 159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740"/>
                <a:gd name="T187" fmla="*/ 0 h 1590"/>
                <a:gd name="T188" fmla="*/ 1740 w 1740"/>
                <a:gd name="T189" fmla="*/ 1590 h 159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740" h="1590">
                  <a:moveTo>
                    <a:pt x="1638" y="1458"/>
                  </a:moveTo>
                  <a:lnTo>
                    <a:pt x="1638" y="1482"/>
                  </a:lnTo>
                  <a:lnTo>
                    <a:pt x="1638" y="1500"/>
                  </a:lnTo>
                  <a:lnTo>
                    <a:pt x="1626" y="1500"/>
                  </a:lnTo>
                  <a:lnTo>
                    <a:pt x="1620" y="1500"/>
                  </a:lnTo>
                  <a:lnTo>
                    <a:pt x="1614" y="1500"/>
                  </a:lnTo>
                  <a:lnTo>
                    <a:pt x="1614" y="1506"/>
                  </a:lnTo>
                  <a:lnTo>
                    <a:pt x="1614" y="1512"/>
                  </a:lnTo>
                  <a:lnTo>
                    <a:pt x="1620" y="1518"/>
                  </a:lnTo>
                  <a:lnTo>
                    <a:pt x="1614" y="1524"/>
                  </a:lnTo>
                  <a:lnTo>
                    <a:pt x="1590" y="1536"/>
                  </a:lnTo>
                  <a:lnTo>
                    <a:pt x="1584" y="1566"/>
                  </a:lnTo>
                  <a:lnTo>
                    <a:pt x="1578" y="1590"/>
                  </a:lnTo>
                  <a:lnTo>
                    <a:pt x="1548" y="1590"/>
                  </a:lnTo>
                  <a:lnTo>
                    <a:pt x="1542" y="1584"/>
                  </a:lnTo>
                  <a:lnTo>
                    <a:pt x="1542" y="1572"/>
                  </a:lnTo>
                  <a:lnTo>
                    <a:pt x="1536" y="1566"/>
                  </a:lnTo>
                  <a:lnTo>
                    <a:pt x="1536" y="1554"/>
                  </a:lnTo>
                  <a:lnTo>
                    <a:pt x="1536" y="1548"/>
                  </a:lnTo>
                  <a:lnTo>
                    <a:pt x="1506" y="1530"/>
                  </a:lnTo>
                  <a:lnTo>
                    <a:pt x="1488" y="1506"/>
                  </a:lnTo>
                  <a:lnTo>
                    <a:pt x="1464" y="1500"/>
                  </a:lnTo>
                  <a:lnTo>
                    <a:pt x="1470" y="1494"/>
                  </a:lnTo>
                  <a:lnTo>
                    <a:pt x="1470" y="1488"/>
                  </a:lnTo>
                  <a:lnTo>
                    <a:pt x="1470" y="1482"/>
                  </a:lnTo>
                  <a:lnTo>
                    <a:pt x="1428" y="1464"/>
                  </a:lnTo>
                  <a:lnTo>
                    <a:pt x="1404" y="1470"/>
                  </a:lnTo>
                  <a:lnTo>
                    <a:pt x="1398" y="1470"/>
                  </a:lnTo>
                  <a:lnTo>
                    <a:pt x="1392" y="1476"/>
                  </a:lnTo>
                  <a:lnTo>
                    <a:pt x="1386" y="1476"/>
                  </a:lnTo>
                  <a:lnTo>
                    <a:pt x="1386" y="1482"/>
                  </a:lnTo>
                  <a:lnTo>
                    <a:pt x="1392" y="1482"/>
                  </a:lnTo>
                  <a:lnTo>
                    <a:pt x="1386" y="1488"/>
                  </a:lnTo>
                  <a:lnTo>
                    <a:pt x="1386" y="1494"/>
                  </a:lnTo>
                  <a:lnTo>
                    <a:pt x="1380" y="1494"/>
                  </a:lnTo>
                  <a:lnTo>
                    <a:pt x="1380" y="1500"/>
                  </a:lnTo>
                  <a:lnTo>
                    <a:pt x="1380" y="1512"/>
                  </a:lnTo>
                  <a:lnTo>
                    <a:pt x="1380" y="1518"/>
                  </a:lnTo>
                  <a:lnTo>
                    <a:pt x="1380" y="1524"/>
                  </a:lnTo>
                  <a:lnTo>
                    <a:pt x="1380" y="1530"/>
                  </a:lnTo>
                  <a:lnTo>
                    <a:pt x="1374" y="1536"/>
                  </a:lnTo>
                  <a:lnTo>
                    <a:pt x="1374" y="1542"/>
                  </a:lnTo>
                  <a:lnTo>
                    <a:pt x="1368" y="1542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44" y="1554"/>
                  </a:lnTo>
                  <a:lnTo>
                    <a:pt x="1332" y="1560"/>
                  </a:lnTo>
                  <a:lnTo>
                    <a:pt x="1302" y="1554"/>
                  </a:lnTo>
                  <a:lnTo>
                    <a:pt x="1290" y="1554"/>
                  </a:lnTo>
                  <a:lnTo>
                    <a:pt x="1278" y="1542"/>
                  </a:lnTo>
                  <a:lnTo>
                    <a:pt x="1272" y="1530"/>
                  </a:lnTo>
                  <a:lnTo>
                    <a:pt x="1272" y="1524"/>
                  </a:lnTo>
                  <a:lnTo>
                    <a:pt x="1272" y="1518"/>
                  </a:lnTo>
                  <a:lnTo>
                    <a:pt x="1266" y="1518"/>
                  </a:lnTo>
                  <a:lnTo>
                    <a:pt x="1266" y="1512"/>
                  </a:lnTo>
                  <a:lnTo>
                    <a:pt x="1266" y="1506"/>
                  </a:lnTo>
                  <a:lnTo>
                    <a:pt x="1272" y="1506"/>
                  </a:lnTo>
                  <a:lnTo>
                    <a:pt x="1272" y="1500"/>
                  </a:lnTo>
                  <a:lnTo>
                    <a:pt x="1278" y="1500"/>
                  </a:lnTo>
                  <a:lnTo>
                    <a:pt x="1278" y="1494"/>
                  </a:lnTo>
                  <a:lnTo>
                    <a:pt x="1278" y="1488"/>
                  </a:lnTo>
                  <a:lnTo>
                    <a:pt x="1284" y="1488"/>
                  </a:lnTo>
                  <a:lnTo>
                    <a:pt x="1284" y="1482"/>
                  </a:lnTo>
                  <a:lnTo>
                    <a:pt x="1290" y="1476"/>
                  </a:lnTo>
                  <a:lnTo>
                    <a:pt x="1284" y="1470"/>
                  </a:lnTo>
                  <a:lnTo>
                    <a:pt x="1278" y="1458"/>
                  </a:lnTo>
                  <a:lnTo>
                    <a:pt x="1278" y="1452"/>
                  </a:lnTo>
                  <a:lnTo>
                    <a:pt x="1260" y="1428"/>
                  </a:lnTo>
                  <a:lnTo>
                    <a:pt x="1254" y="1416"/>
                  </a:lnTo>
                  <a:lnTo>
                    <a:pt x="1254" y="1410"/>
                  </a:lnTo>
                  <a:lnTo>
                    <a:pt x="1248" y="1398"/>
                  </a:lnTo>
                  <a:lnTo>
                    <a:pt x="1242" y="1398"/>
                  </a:lnTo>
                  <a:lnTo>
                    <a:pt x="1236" y="1398"/>
                  </a:lnTo>
                  <a:lnTo>
                    <a:pt x="1218" y="1386"/>
                  </a:lnTo>
                  <a:lnTo>
                    <a:pt x="1212" y="1362"/>
                  </a:lnTo>
                  <a:lnTo>
                    <a:pt x="1200" y="1344"/>
                  </a:lnTo>
                  <a:lnTo>
                    <a:pt x="1188" y="1338"/>
                  </a:lnTo>
                  <a:lnTo>
                    <a:pt x="1164" y="1338"/>
                  </a:lnTo>
                  <a:lnTo>
                    <a:pt x="1158" y="1344"/>
                  </a:lnTo>
                  <a:lnTo>
                    <a:pt x="1152" y="1350"/>
                  </a:lnTo>
                  <a:lnTo>
                    <a:pt x="1152" y="1356"/>
                  </a:lnTo>
                  <a:lnTo>
                    <a:pt x="1140" y="1362"/>
                  </a:lnTo>
                  <a:lnTo>
                    <a:pt x="1134" y="1380"/>
                  </a:lnTo>
                  <a:lnTo>
                    <a:pt x="1116" y="1398"/>
                  </a:lnTo>
                  <a:lnTo>
                    <a:pt x="1110" y="1416"/>
                  </a:lnTo>
                  <a:lnTo>
                    <a:pt x="1086" y="1416"/>
                  </a:lnTo>
                  <a:lnTo>
                    <a:pt x="1080" y="1410"/>
                  </a:lnTo>
                  <a:lnTo>
                    <a:pt x="1074" y="1410"/>
                  </a:lnTo>
                  <a:lnTo>
                    <a:pt x="1074" y="1404"/>
                  </a:lnTo>
                  <a:lnTo>
                    <a:pt x="1062" y="1404"/>
                  </a:lnTo>
                  <a:lnTo>
                    <a:pt x="1062" y="1380"/>
                  </a:lnTo>
                  <a:lnTo>
                    <a:pt x="1038" y="1380"/>
                  </a:lnTo>
                  <a:lnTo>
                    <a:pt x="1026" y="1350"/>
                  </a:lnTo>
                  <a:lnTo>
                    <a:pt x="996" y="1326"/>
                  </a:lnTo>
                  <a:lnTo>
                    <a:pt x="966" y="1314"/>
                  </a:lnTo>
                  <a:lnTo>
                    <a:pt x="954" y="1320"/>
                  </a:lnTo>
                  <a:lnTo>
                    <a:pt x="942" y="1338"/>
                  </a:lnTo>
                  <a:lnTo>
                    <a:pt x="930" y="1338"/>
                  </a:lnTo>
                  <a:lnTo>
                    <a:pt x="924" y="1350"/>
                  </a:lnTo>
                  <a:lnTo>
                    <a:pt x="906" y="1356"/>
                  </a:lnTo>
                  <a:lnTo>
                    <a:pt x="846" y="1356"/>
                  </a:lnTo>
                  <a:lnTo>
                    <a:pt x="834" y="1368"/>
                  </a:lnTo>
                  <a:lnTo>
                    <a:pt x="810" y="1362"/>
                  </a:lnTo>
                  <a:lnTo>
                    <a:pt x="792" y="1362"/>
                  </a:lnTo>
                  <a:lnTo>
                    <a:pt x="780" y="1368"/>
                  </a:lnTo>
                  <a:lnTo>
                    <a:pt x="762" y="1368"/>
                  </a:lnTo>
                  <a:lnTo>
                    <a:pt x="762" y="1362"/>
                  </a:lnTo>
                  <a:lnTo>
                    <a:pt x="750" y="1362"/>
                  </a:lnTo>
                  <a:lnTo>
                    <a:pt x="750" y="1338"/>
                  </a:lnTo>
                  <a:lnTo>
                    <a:pt x="762" y="1338"/>
                  </a:lnTo>
                  <a:lnTo>
                    <a:pt x="762" y="1326"/>
                  </a:lnTo>
                  <a:lnTo>
                    <a:pt x="762" y="1314"/>
                  </a:lnTo>
                  <a:lnTo>
                    <a:pt x="732" y="1314"/>
                  </a:lnTo>
                  <a:lnTo>
                    <a:pt x="726" y="1308"/>
                  </a:lnTo>
                  <a:lnTo>
                    <a:pt x="732" y="1284"/>
                  </a:lnTo>
                  <a:lnTo>
                    <a:pt x="732" y="1278"/>
                  </a:lnTo>
                  <a:lnTo>
                    <a:pt x="738" y="1272"/>
                  </a:lnTo>
                  <a:lnTo>
                    <a:pt x="738" y="1266"/>
                  </a:lnTo>
                  <a:lnTo>
                    <a:pt x="744" y="1266"/>
                  </a:lnTo>
                  <a:lnTo>
                    <a:pt x="750" y="1272"/>
                  </a:lnTo>
                  <a:lnTo>
                    <a:pt x="756" y="1266"/>
                  </a:lnTo>
                  <a:lnTo>
                    <a:pt x="762" y="1266"/>
                  </a:lnTo>
                  <a:lnTo>
                    <a:pt x="768" y="1260"/>
                  </a:lnTo>
                  <a:lnTo>
                    <a:pt x="774" y="1260"/>
                  </a:lnTo>
                  <a:lnTo>
                    <a:pt x="780" y="1254"/>
                  </a:lnTo>
                  <a:lnTo>
                    <a:pt x="774" y="1254"/>
                  </a:lnTo>
                  <a:lnTo>
                    <a:pt x="768" y="1254"/>
                  </a:lnTo>
                  <a:lnTo>
                    <a:pt x="774" y="1248"/>
                  </a:lnTo>
                  <a:lnTo>
                    <a:pt x="774" y="1242"/>
                  </a:lnTo>
                  <a:lnTo>
                    <a:pt x="780" y="1236"/>
                  </a:lnTo>
                  <a:lnTo>
                    <a:pt x="786" y="1236"/>
                  </a:lnTo>
                  <a:lnTo>
                    <a:pt x="792" y="1230"/>
                  </a:lnTo>
                  <a:lnTo>
                    <a:pt x="792" y="1236"/>
                  </a:lnTo>
                  <a:lnTo>
                    <a:pt x="798" y="1236"/>
                  </a:lnTo>
                  <a:lnTo>
                    <a:pt x="798" y="1230"/>
                  </a:lnTo>
                  <a:lnTo>
                    <a:pt x="804" y="1230"/>
                  </a:lnTo>
                  <a:lnTo>
                    <a:pt x="804" y="1218"/>
                  </a:lnTo>
                  <a:lnTo>
                    <a:pt x="804" y="1206"/>
                  </a:lnTo>
                  <a:lnTo>
                    <a:pt x="792" y="1188"/>
                  </a:lnTo>
                  <a:lnTo>
                    <a:pt x="768" y="1182"/>
                  </a:lnTo>
                  <a:lnTo>
                    <a:pt x="768" y="1170"/>
                  </a:lnTo>
                  <a:lnTo>
                    <a:pt x="774" y="1170"/>
                  </a:lnTo>
                  <a:lnTo>
                    <a:pt x="780" y="1170"/>
                  </a:lnTo>
                  <a:lnTo>
                    <a:pt x="786" y="1170"/>
                  </a:lnTo>
                  <a:lnTo>
                    <a:pt x="780" y="1152"/>
                  </a:lnTo>
                  <a:lnTo>
                    <a:pt x="780" y="1146"/>
                  </a:lnTo>
                  <a:lnTo>
                    <a:pt x="744" y="1140"/>
                  </a:lnTo>
                  <a:lnTo>
                    <a:pt x="732" y="1128"/>
                  </a:lnTo>
                  <a:lnTo>
                    <a:pt x="720" y="1122"/>
                  </a:lnTo>
                  <a:lnTo>
                    <a:pt x="732" y="1116"/>
                  </a:lnTo>
                  <a:lnTo>
                    <a:pt x="750" y="1104"/>
                  </a:lnTo>
                  <a:lnTo>
                    <a:pt x="756" y="1116"/>
                  </a:lnTo>
                  <a:lnTo>
                    <a:pt x="774" y="1116"/>
                  </a:lnTo>
                  <a:lnTo>
                    <a:pt x="780" y="1104"/>
                  </a:lnTo>
                  <a:lnTo>
                    <a:pt x="780" y="1080"/>
                  </a:lnTo>
                  <a:lnTo>
                    <a:pt x="786" y="1080"/>
                  </a:lnTo>
                  <a:lnTo>
                    <a:pt x="786" y="1074"/>
                  </a:lnTo>
                  <a:lnTo>
                    <a:pt x="792" y="1074"/>
                  </a:lnTo>
                  <a:lnTo>
                    <a:pt x="786" y="1068"/>
                  </a:lnTo>
                  <a:lnTo>
                    <a:pt x="786" y="1062"/>
                  </a:lnTo>
                  <a:lnTo>
                    <a:pt x="786" y="1056"/>
                  </a:lnTo>
                  <a:lnTo>
                    <a:pt x="792" y="1050"/>
                  </a:lnTo>
                  <a:lnTo>
                    <a:pt x="786" y="1020"/>
                  </a:lnTo>
                  <a:lnTo>
                    <a:pt x="780" y="960"/>
                  </a:lnTo>
                  <a:lnTo>
                    <a:pt x="768" y="942"/>
                  </a:lnTo>
                  <a:lnTo>
                    <a:pt x="732" y="936"/>
                  </a:lnTo>
                  <a:lnTo>
                    <a:pt x="732" y="942"/>
                  </a:lnTo>
                  <a:lnTo>
                    <a:pt x="726" y="942"/>
                  </a:lnTo>
                  <a:lnTo>
                    <a:pt x="720" y="936"/>
                  </a:lnTo>
                  <a:lnTo>
                    <a:pt x="714" y="942"/>
                  </a:lnTo>
                  <a:lnTo>
                    <a:pt x="708" y="942"/>
                  </a:lnTo>
                  <a:lnTo>
                    <a:pt x="702" y="942"/>
                  </a:lnTo>
                  <a:lnTo>
                    <a:pt x="690" y="936"/>
                  </a:lnTo>
                  <a:lnTo>
                    <a:pt x="684" y="936"/>
                  </a:lnTo>
                  <a:lnTo>
                    <a:pt x="678" y="936"/>
                  </a:lnTo>
                  <a:lnTo>
                    <a:pt x="672" y="936"/>
                  </a:lnTo>
                  <a:lnTo>
                    <a:pt x="666" y="942"/>
                  </a:lnTo>
                  <a:lnTo>
                    <a:pt x="660" y="942"/>
                  </a:lnTo>
                  <a:lnTo>
                    <a:pt x="654" y="942"/>
                  </a:lnTo>
                  <a:lnTo>
                    <a:pt x="648" y="942"/>
                  </a:lnTo>
                  <a:lnTo>
                    <a:pt x="642" y="936"/>
                  </a:lnTo>
                  <a:lnTo>
                    <a:pt x="636" y="936"/>
                  </a:lnTo>
                  <a:lnTo>
                    <a:pt x="630" y="930"/>
                  </a:lnTo>
                  <a:lnTo>
                    <a:pt x="618" y="930"/>
                  </a:lnTo>
                  <a:lnTo>
                    <a:pt x="612" y="930"/>
                  </a:lnTo>
                  <a:lnTo>
                    <a:pt x="606" y="936"/>
                  </a:lnTo>
                  <a:lnTo>
                    <a:pt x="600" y="942"/>
                  </a:lnTo>
                  <a:lnTo>
                    <a:pt x="600" y="936"/>
                  </a:lnTo>
                  <a:lnTo>
                    <a:pt x="594" y="930"/>
                  </a:lnTo>
                  <a:lnTo>
                    <a:pt x="588" y="930"/>
                  </a:lnTo>
                  <a:lnTo>
                    <a:pt x="582" y="930"/>
                  </a:lnTo>
                  <a:lnTo>
                    <a:pt x="576" y="930"/>
                  </a:lnTo>
                  <a:lnTo>
                    <a:pt x="564" y="936"/>
                  </a:lnTo>
                  <a:lnTo>
                    <a:pt x="558" y="936"/>
                  </a:lnTo>
                  <a:lnTo>
                    <a:pt x="546" y="924"/>
                  </a:lnTo>
                  <a:lnTo>
                    <a:pt x="540" y="924"/>
                  </a:lnTo>
                  <a:lnTo>
                    <a:pt x="534" y="918"/>
                  </a:lnTo>
                  <a:lnTo>
                    <a:pt x="528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6" y="918"/>
                  </a:lnTo>
                  <a:lnTo>
                    <a:pt x="516" y="912"/>
                  </a:lnTo>
                  <a:lnTo>
                    <a:pt x="510" y="894"/>
                  </a:lnTo>
                  <a:lnTo>
                    <a:pt x="510" y="882"/>
                  </a:lnTo>
                  <a:lnTo>
                    <a:pt x="510" y="876"/>
                  </a:lnTo>
                  <a:lnTo>
                    <a:pt x="516" y="870"/>
                  </a:lnTo>
                  <a:lnTo>
                    <a:pt x="510" y="864"/>
                  </a:lnTo>
                  <a:lnTo>
                    <a:pt x="516" y="858"/>
                  </a:lnTo>
                  <a:lnTo>
                    <a:pt x="522" y="858"/>
                  </a:lnTo>
                  <a:lnTo>
                    <a:pt x="528" y="858"/>
                  </a:lnTo>
                  <a:lnTo>
                    <a:pt x="522" y="852"/>
                  </a:lnTo>
                  <a:lnTo>
                    <a:pt x="528" y="852"/>
                  </a:lnTo>
                  <a:lnTo>
                    <a:pt x="528" y="846"/>
                  </a:lnTo>
                  <a:lnTo>
                    <a:pt x="552" y="846"/>
                  </a:lnTo>
                  <a:lnTo>
                    <a:pt x="558" y="840"/>
                  </a:lnTo>
                  <a:lnTo>
                    <a:pt x="564" y="828"/>
                  </a:lnTo>
                  <a:lnTo>
                    <a:pt x="570" y="816"/>
                  </a:lnTo>
                  <a:lnTo>
                    <a:pt x="582" y="810"/>
                  </a:lnTo>
                  <a:lnTo>
                    <a:pt x="588" y="804"/>
                  </a:lnTo>
                  <a:lnTo>
                    <a:pt x="594" y="804"/>
                  </a:lnTo>
                  <a:lnTo>
                    <a:pt x="594" y="792"/>
                  </a:lnTo>
                  <a:lnTo>
                    <a:pt x="600" y="786"/>
                  </a:lnTo>
                  <a:lnTo>
                    <a:pt x="606" y="780"/>
                  </a:lnTo>
                  <a:lnTo>
                    <a:pt x="612" y="774"/>
                  </a:lnTo>
                  <a:lnTo>
                    <a:pt x="618" y="774"/>
                  </a:lnTo>
                  <a:lnTo>
                    <a:pt x="618" y="768"/>
                  </a:lnTo>
                  <a:lnTo>
                    <a:pt x="618" y="762"/>
                  </a:lnTo>
                  <a:lnTo>
                    <a:pt x="624" y="756"/>
                  </a:lnTo>
                  <a:lnTo>
                    <a:pt x="618" y="750"/>
                  </a:lnTo>
                  <a:lnTo>
                    <a:pt x="618" y="744"/>
                  </a:lnTo>
                  <a:lnTo>
                    <a:pt x="600" y="738"/>
                  </a:lnTo>
                  <a:lnTo>
                    <a:pt x="558" y="744"/>
                  </a:lnTo>
                  <a:lnTo>
                    <a:pt x="552" y="732"/>
                  </a:lnTo>
                  <a:lnTo>
                    <a:pt x="546" y="720"/>
                  </a:lnTo>
                  <a:lnTo>
                    <a:pt x="564" y="702"/>
                  </a:lnTo>
                  <a:lnTo>
                    <a:pt x="570" y="684"/>
                  </a:lnTo>
                  <a:lnTo>
                    <a:pt x="564" y="648"/>
                  </a:lnTo>
                  <a:lnTo>
                    <a:pt x="534" y="624"/>
                  </a:lnTo>
                  <a:lnTo>
                    <a:pt x="504" y="612"/>
                  </a:lnTo>
                  <a:lnTo>
                    <a:pt x="498" y="606"/>
                  </a:lnTo>
                  <a:lnTo>
                    <a:pt x="492" y="600"/>
                  </a:lnTo>
                  <a:lnTo>
                    <a:pt x="486" y="606"/>
                  </a:lnTo>
                  <a:lnTo>
                    <a:pt x="480" y="558"/>
                  </a:lnTo>
                  <a:lnTo>
                    <a:pt x="462" y="546"/>
                  </a:lnTo>
                  <a:lnTo>
                    <a:pt x="408" y="540"/>
                  </a:lnTo>
                  <a:lnTo>
                    <a:pt x="408" y="546"/>
                  </a:lnTo>
                  <a:lnTo>
                    <a:pt x="408" y="558"/>
                  </a:lnTo>
                  <a:lnTo>
                    <a:pt x="408" y="564"/>
                  </a:lnTo>
                  <a:lnTo>
                    <a:pt x="408" y="570"/>
                  </a:lnTo>
                  <a:lnTo>
                    <a:pt x="414" y="582"/>
                  </a:lnTo>
                  <a:lnTo>
                    <a:pt x="408" y="594"/>
                  </a:lnTo>
                  <a:lnTo>
                    <a:pt x="414" y="594"/>
                  </a:lnTo>
                  <a:lnTo>
                    <a:pt x="408" y="600"/>
                  </a:lnTo>
                  <a:lnTo>
                    <a:pt x="348" y="600"/>
                  </a:lnTo>
                  <a:lnTo>
                    <a:pt x="324" y="600"/>
                  </a:lnTo>
                  <a:lnTo>
                    <a:pt x="324" y="612"/>
                  </a:lnTo>
                  <a:lnTo>
                    <a:pt x="306" y="618"/>
                  </a:lnTo>
                  <a:lnTo>
                    <a:pt x="312" y="618"/>
                  </a:lnTo>
                  <a:lnTo>
                    <a:pt x="294" y="588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76"/>
                  </a:lnTo>
                  <a:lnTo>
                    <a:pt x="240" y="582"/>
                  </a:lnTo>
                  <a:lnTo>
                    <a:pt x="234" y="582"/>
                  </a:lnTo>
                  <a:lnTo>
                    <a:pt x="228" y="588"/>
                  </a:lnTo>
                  <a:lnTo>
                    <a:pt x="222" y="588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8" y="600"/>
                  </a:lnTo>
                  <a:lnTo>
                    <a:pt x="192" y="612"/>
                  </a:lnTo>
                  <a:lnTo>
                    <a:pt x="192" y="618"/>
                  </a:lnTo>
                  <a:lnTo>
                    <a:pt x="198" y="624"/>
                  </a:lnTo>
                  <a:lnTo>
                    <a:pt x="192" y="624"/>
                  </a:lnTo>
                  <a:lnTo>
                    <a:pt x="192" y="630"/>
                  </a:lnTo>
                  <a:lnTo>
                    <a:pt x="192" y="642"/>
                  </a:lnTo>
                  <a:lnTo>
                    <a:pt x="180" y="648"/>
                  </a:lnTo>
                  <a:lnTo>
                    <a:pt x="174" y="654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6"/>
                  </a:lnTo>
                  <a:lnTo>
                    <a:pt x="156" y="672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90"/>
                  </a:lnTo>
                  <a:lnTo>
                    <a:pt x="132" y="690"/>
                  </a:lnTo>
                  <a:lnTo>
                    <a:pt x="126" y="702"/>
                  </a:lnTo>
                  <a:lnTo>
                    <a:pt x="132" y="708"/>
                  </a:lnTo>
                  <a:lnTo>
                    <a:pt x="126" y="708"/>
                  </a:lnTo>
                  <a:lnTo>
                    <a:pt x="120" y="708"/>
                  </a:lnTo>
                  <a:lnTo>
                    <a:pt x="114" y="708"/>
                  </a:lnTo>
                  <a:lnTo>
                    <a:pt x="108" y="708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78" y="720"/>
                  </a:lnTo>
                  <a:lnTo>
                    <a:pt x="72" y="720"/>
                  </a:lnTo>
                  <a:lnTo>
                    <a:pt x="66" y="720"/>
                  </a:lnTo>
                  <a:lnTo>
                    <a:pt x="54" y="732"/>
                  </a:lnTo>
                  <a:lnTo>
                    <a:pt x="48" y="702"/>
                  </a:lnTo>
                  <a:lnTo>
                    <a:pt x="36" y="666"/>
                  </a:lnTo>
                  <a:lnTo>
                    <a:pt x="0" y="660"/>
                  </a:lnTo>
                  <a:lnTo>
                    <a:pt x="6" y="660"/>
                  </a:lnTo>
                  <a:lnTo>
                    <a:pt x="6" y="654"/>
                  </a:lnTo>
                  <a:lnTo>
                    <a:pt x="6" y="648"/>
                  </a:lnTo>
                  <a:lnTo>
                    <a:pt x="6" y="642"/>
                  </a:lnTo>
                  <a:lnTo>
                    <a:pt x="6" y="624"/>
                  </a:lnTo>
                  <a:lnTo>
                    <a:pt x="6" y="612"/>
                  </a:lnTo>
                  <a:lnTo>
                    <a:pt x="6" y="606"/>
                  </a:lnTo>
                  <a:lnTo>
                    <a:pt x="12" y="612"/>
                  </a:lnTo>
                  <a:lnTo>
                    <a:pt x="18" y="606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30" y="594"/>
                  </a:lnTo>
                  <a:lnTo>
                    <a:pt x="30" y="588"/>
                  </a:lnTo>
                  <a:lnTo>
                    <a:pt x="30" y="582"/>
                  </a:lnTo>
                  <a:lnTo>
                    <a:pt x="24" y="576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18" y="558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36" y="528"/>
                  </a:lnTo>
                  <a:lnTo>
                    <a:pt x="30" y="522"/>
                  </a:lnTo>
                  <a:lnTo>
                    <a:pt x="24" y="522"/>
                  </a:lnTo>
                  <a:lnTo>
                    <a:pt x="18" y="510"/>
                  </a:lnTo>
                  <a:lnTo>
                    <a:pt x="12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8" y="474"/>
                  </a:lnTo>
                  <a:lnTo>
                    <a:pt x="12" y="468"/>
                  </a:lnTo>
                  <a:lnTo>
                    <a:pt x="12" y="462"/>
                  </a:lnTo>
                  <a:lnTo>
                    <a:pt x="18" y="456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0" y="420"/>
                  </a:lnTo>
                  <a:lnTo>
                    <a:pt x="30" y="414"/>
                  </a:lnTo>
                  <a:lnTo>
                    <a:pt x="48" y="414"/>
                  </a:lnTo>
                  <a:lnTo>
                    <a:pt x="54" y="408"/>
                  </a:lnTo>
                  <a:lnTo>
                    <a:pt x="60" y="402"/>
                  </a:lnTo>
                  <a:lnTo>
                    <a:pt x="66" y="402"/>
                  </a:lnTo>
                  <a:lnTo>
                    <a:pt x="72" y="402"/>
                  </a:lnTo>
                  <a:lnTo>
                    <a:pt x="78" y="408"/>
                  </a:lnTo>
                  <a:lnTo>
                    <a:pt x="84" y="396"/>
                  </a:lnTo>
                  <a:lnTo>
                    <a:pt x="90" y="390"/>
                  </a:lnTo>
                  <a:lnTo>
                    <a:pt x="90" y="378"/>
                  </a:lnTo>
                  <a:lnTo>
                    <a:pt x="96" y="372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8" y="354"/>
                  </a:lnTo>
                  <a:lnTo>
                    <a:pt x="114" y="348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32" y="336"/>
                  </a:lnTo>
                  <a:lnTo>
                    <a:pt x="132" y="330"/>
                  </a:lnTo>
                  <a:lnTo>
                    <a:pt x="138" y="324"/>
                  </a:lnTo>
                  <a:lnTo>
                    <a:pt x="138" y="318"/>
                  </a:lnTo>
                  <a:lnTo>
                    <a:pt x="144" y="306"/>
                  </a:lnTo>
                  <a:lnTo>
                    <a:pt x="156" y="306"/>
                  </a:lnTo>
                  <a:lnTo>
                    <a:pt x="186" y="300"/>
                  </a:lnTo>
                  <a:lnTo>
                    <a:pt x="198" y="300"/>
                  </a:lnTo>
                  <a:lnTo>
                    <a:pt x="210" y="300"/>
                  </a:lnTo>
                  <a:lnTo>
                    <a:pt x="222" y="300"/>
                  </a:lnTo>
                  <a:lnTo>
                    <a:pt x="246" y="300"/>
                  </a:lnTo>
                  <a:lnTo>
                    <a:pt x="264" y="312"/>
                  </a:lnTo>
                  <a:lnTo>
                    <a:pt x="270" y="312"/>
                  </a:lnTo>
                  <a:lnTo>
                    <a:pt x="282" y="306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300" y="306"/>
                  </a:lnTo>
                  <a:lnTo>
                    <a:pt x="312" y="306"/>
                  </a:lnTo>
                  <a:lnTo>
                    <a:pt x="318" y="300"/>
                  </a:lnTo>
                  <a:lnTo>
                    <a:pt x="324" y="300"/>
                  </a:lnTo>
                  <a:lnTo>
                    <a:pt x="330" y="294"/>
                  </a:lnTo>
                  <a:lnTo>
                    <a:pt x="336" y="288"/>
                  </a:lnTo>
                  <a:lnTo>
                    <a:pt x="354" y="288"/>
                  </a:lnTo>
                  <a:lnTo>
                    <a:pt x="360" y="288"/>
                  </a:lnTo>
                  <a:lnTo>
                    <a:pt x="366" y="282"/>
                  </a:lnTo>
                  <a:lnTo>
                    <a:pt x="372" y="282"/>
                  </a:lnTo>
                  <a:lnTo>
                    <a:pt x="378" y="282"/>
                  </a:lnTo>
                  <a:lnTo>
                    <a:pt x="384" y="276"/>
                  </a:lnTo>
                  <a:lnTo>
                    <a:pt x="384" y="270"/>
                  </a:lnTo>
                  <a:lnTo>
                    <a:pt x="390" y="264"/>
                  </a:lnTo>
                  <a:lnTo>
                    <a:pt x="402" y="258"/>
                  </a:lnTo>
                  <a:lnTo>
                    <a:pt x="402" y="252"/>
                  </a:lnTo>
                  <a:lnTo>
                    <a:pt x="402" y="246"/>
                  </a:lnTo>
                  <a:lnTo>
                    <a:pt x="408" y="234"/>
                  </a:lnTo>
                  <a:lnTo>
                    <a:pt x="414" y="234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14" y="216"/>
                  </a:lnTo>
                  <a:lnTo>
                    <a:pt x="414" y="210"/>
                  </a:lnTo>
                  <a:lnTo>
                    <a:pt x="420" y="210"/>
                  </a:lnTo>
                  <a:lnTo>
                    <a:pt x="414" y="198"/>
                  </a:lnTo>
                  <a:lnTo>
                    <a:pt x="414" y="192"/>
                  </a:lnTo>
                  <a:lnTo>
                    <a:pt x="420" y="192"/>
                  </a:lnTo>
                  <a:lnTo>
                    <a:pt x="420" y="186"/>
                  </a:lnTo>
                  <a:lnTo>
                    <a:pt x="420" y="174"/>
                  </a:lnTo>
                  <a:lnTo>
                    <a:pt x="420" y="168"/>
                  </a:lnTo>
                  <a:lnTo>
                    <a:pt x="426" y="162"/>
                  </a:lnTo>
                  <a:lnTo>
                    <a:pt x="432" y="156"/>
                  </a:lnTo>
                  <a:lnTo>
                    <a:pt x="438" y="144"/>
                  </a:lnTo>
                  <a:lnTo>
                    <a:pt x="444" y="144"/>
                  </a:lnTo>
                  <a:lnTo>
                    <a:pt x="450" y="138"/>
                  </a:lnTo>
                  <a:lnTo>
                    <a:pt x="456" y="138"/>
                  </a:lnTo>
                  <a:lnTo>
                    <a:pt x="462" y="132"/>
                  </a:lnTo>
                  <a:lnTo>
                    <a:pt x="462" y="126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0"/>
                  </a:lnTo>
                  <a:lnTo>
                    <a:pt x="486" y="108"/>
                  </a:lnTo>
                  <a:lnTo>
                    <a:pt x="492" y="108"/>
                  </a:lnTo>
                  <a:lnTo>
                    <a:pt x="498" y="102"/>
                  </a:lnTo>
                  <a:lnTo>
                    <a:pt x="504" y="96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40" y="102"/>
                  </a:lnTo>
                  <a:lnTo>
                    <a:pt x="552" y="108"/>
                  </a:lnTo>
                  <a:lnTo>
                    <a:pt x="582" y="102"/>
                  </a:lnTo>
                  <a:lnTo>
                    <a:pt x="594" y="126"/>
                  </a:lnTo>
                  <a:lnTo>
                    <a:pt x="594" y="144"/>
                  </a:lnTo>
                  <a:lnTo>
                    <a:pt x="588" y="156"/>
                  </a:lnTo>
                  <a:lnTo>
                    <a:pt x="588" y="168"/>
                  </a:lnTo>
                  <a:lnTo>
                    <a:pt x="582" y="180"/>
                  </a:lnTo>
                  <a:lnTo>
                    <a:pt x="570" y="192"/>
                  </a:lnTo>
                  <a:lnTo>
                    <a:pt x="594" y="192"/>
                  </a:lnTo>
                  <a:lnTo>
                    <a:pt x="618" y="198"/>
                  </a:lnTo>
                  <a:lnTo>
                    <a:pt x="642" y="210"/>
                  </a:lnTo>
                  <a:lnTo>
                    <a:pt x="660" y="234"/>
                  </a:lnTo>
                  <a:lnTo>
                    <a:pt x="678" y="246"/>
                  </a:lnTo>
                  <a:lnTo>
                    <a:pt x="684" y="252"/>
                  </a:lnTo>
                  <a:lnTo>
                    <a:pt x="702" y="252"/>
                  </a:lnTo>
                  <a:lnTo>
                    <a:pt x="732" y="234"/>
                  </a:lnTo>
                  <a:lnTo>
                    <a:pt x="732" y="222"/>
                  </a:lnTo>
                  <a:lnTo>
                    <a:pt x="720" y="216"/>
                  </a:lnTo>
                  <a:lnTo>
                    <a:pt x="714" y="198"/>
                  </a:lnTo>
                  <a:lnTo>
                    <a:pt x="714" y="174"/>
                  </a:lnTo>
                  <a:lnTo>
                    <a:pt x="720" y="162"/>
                  </a:lnTo>
                  <a:lnTo>
                    <a:pt x="726" y="162"/>
                  </a:lnTo>
                  <a:lnTo>
                    <a:pt x="732" y="156"/>
                  </a:lnTo>
                  <a:lnTo>
                    <a:pt x="744" y="150"/>
                  </a:lnTo>
                  <a:lnTo>
                    <a:pt x="774" y="162"/>
                  </a:lnTo>
                  <a:lnTo>
                    <a:pt x="786" y="162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16" y="150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2" y="132"/>
                  </a:lnTo>
                  <a:lnTo>
                    <a:pt x="822" y="114"/>
                  </a:lnTo>
                  <a:lnTo>
                    <a:pt x="828" y="108"/>
                  </a:lnTo>
                  <a:lnTo>
                    <a:pt x="834" y="96"/>
                  </a:lnTo>
                  <a:lnTo>
                    <a:pt x="846" y="96"/>
                  </a:lnTo>
                  <a:lnTo>
                    <a:pt x="858" y="90"/>
                  </a:lnTo>
                  <a:lnTo>
                    <a:pt x="870" y="84"/>
                  </a:lnTo>
                  <a:lnTo>
                    <a:pt x="888" y="84"/>
                  </a:lnTo>
                  <a:lnTo>
                    <a:pt x="894" y="90"/>
                  </a:lnTo>
                  <a:lnTo>
                    <a:pt x="894" y="102"/>
                  </a:lnTo>
                  <a:lnTo>
                    <a:pt x="900" y="102"/>
                  </a:lnTo>
                  <a:lnTo>
                    <a:pt x="906" y="114"/>
                  </a:lnTo>
                  <a:lnTo>
                    <a:pt x="930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54" y="138"/>
                  </a:lnTo>
                  <a:lnTo>
                    <a:pt x="966" y="144"/>
                  </a:lnTo>
                  <a:lnTo>
                    <a:pt x="966" y="150"/>
                  </a:lnTo>
                  <a:lnTo>
                    <a:pt x="972" y="150"/>
                  </a:lnTo>
                  <a:lnTo>
                    <a:pt x="978" y="150"/>
                  </a:lnTo>
                  <a:lnTo>
                    <a:pt x="978" y="144"/>
                  </a:lnTo>
                  <a:lnTo>
                    <a:pt x="984" y="144"/>
                  </a:lnTo>
                  <a:lnTo>
                    <a:pt x="990" y="138"/>
                  </a:lnTo>
                  <a:lnTo>
                    <a:pt x="996" y="138"/>
                  </a:lnTo>
                  <a:lnTo>
                    <a:pt x="1002" y="138"/>
                  </a:lnTo>
                  <a:lnTo>
                    <a:pt x="1008" y="138"/>
                  </a:lnTo>
                  <a:lnTo>
                    <a:pt x="1026" y="132"/>
                  </a:lnTo>
                  <a:lnTo>
                    <a:pt x="1044" y="126"/>
                  </a:lnTo>
                  <a:lnTo>
                    <a:pt x="1056" y="120"/>
                  </a:lnTo>
                  <a:lnTo>
                    <a:pt x="1062" y="108"/>
                  </a:lnTo>
                  <a:lnTo>
                    <a:pt x="1056" y="102"/>
                  </a:lnTo>
                  <a:lnTo>
                    <a:pt x="1062" y="96"/>
                  </a:lnTo>
                  <a:lnTo>
                    <a:pt x="1074" y="90"/>
                  </a:lnTo>
                  <a:lnTo>
                    <a:pt x="1080" y="84"/>
                  </a:lnTo>
                  <a:lnTo>
                    <a:pt x="1128" y="84"/>
                  </a:lnTo>
                  <a:lnTo>
                    <a:pt x="1134" y="84"/>
                  </a:lnTo>
                  <a:lnTo>
                    <a:pt x="1140" y="78"/>
                  </a:lnTo>
                  <a:lnTo>
                    <a:pt x="1152" y="72"/>
                  </a:lnTo>
                  <a:lnTo>
                    <a:pt x="1164" y="66"/>
                  </a:lnTo>
                  <a:lnTo>
                    <a:pt x="1170" y="60"/>
                  </a:lnTo>
                  <a:lnTo>
                    <a:pt x="1188" y="48"/>
                  </a:lnTo>
                  <a:lnTo>
                    <a:pt x="1200" y="36"/>
                  </a:lnTo>
                  <a:lnTo>
                    <a:pt x="1218" y="24"/>
                  </a:lnTo>
                  <a:lnTo>
                    <a:pt x="1248" y="24"/>
                  </a:lnTo>
                  <a:lnTo>
                    <a:pt x="1272" y="24"/>
                  </a:lnTo>
                  <a:lnTo>
                    <a:pt x="1284" y="12"/>
                  </a:lnTo>
                  <a:lnTo>
                    <a:pt x="1302" y="0"/>
                  </a:lnTo>
                  <a:lnTo>
                    <a:pt x="1314" y="0"/>
                  </a:lnTo>
                  <a:lnTo>
                    <a:pt x="1326" y="18"/>
                  </a:lnTo>
                  <a:lnTo>
                    <a:pt x="1338" y="30"/>
                  </a:lnTo>
                  <a:lnTo>
                    <a:pt x="1338" y="54"/>
                  </a:lnTo>
                  <a:lnTo>
                    <a:pt x="1332" y="72"/>
                  </a:lnTo>
                  <a:lnTo>
                    <a:pt x="1326" y="72"/>
                  </a:lnTo>
                  <a:lnTo>
                    <a:pt x="1326" y="78"/>
                  </a:lnTo>
                  <a:lnTo>
                    <a:pt x="1326" y="102"/>
                  </a:lnTo>
                  <a:lnTo>
                    <a:pt x="1332" y="102"/>
                  </a:lnTo>
                  <a:lnTo>
                    <a:pt x="1332" y="108"/>
                  </a:lnTo>
                  <a:lnTo>
                    <a:pt x="1344" y="114"/>
                  </a:lnTo>
                  <a:lnTo>
                    <a:pt x="1350" y="114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404" y="132"/>
                  </a:lnTo>
                  <a:lnTo>
                    <a:pt x="1404" y="138"/>
                  </a:lnTo>
                  <a:lnTo>
                    <a:pt x="1410" y="150"/>
                  </a:lnTo>
                  <a:lnTo>
                    <a:pt x="1416" y="162"/>
                  </a:lnTo>
                  <a:lnTo>
                    <a:pt x="1428" y="168"/>
                  </a:lnTo>
                  <a:lnTo>
                    <a:pt x="1440" y="180"/>
                  </a:lnTo>
                  <a:lnTo>
                    <a:pt x="1476" y="174"/>
                  </a:lnTo>
                  <a:lnTo>
                    <a:pt x="1494" y="174"/>
                  </a:lnTo>
                  <a:lnTo>
                    <a:pt x="1512" y="192"/>
                  </a:lnTo>
                  <a:lnTo>
                    <a:pt x="1518" y="204"/>
                  </a:lnTo>
                  <a:lnTo>
                    <a:pt x="1530" y="216"/>
                  </a:lnTo>
                  <a:lnTo>
                    <a:pt x="1548" y="228"/>
                  </a:lnTo>
                  <a:lnTo>
                    <a:pt x="1548" y="234"/>
                  </a:lnTo>
                  <a:lnTo>
                    <a:pt x="1542" y="246"/>
                  </a:lnTo>
                  <a:lnTo>
                    <a:pt x="1560" y="246"/>
                  </a:lnTo>
                  <a:lnTo>
                    <a:pt x="1560" y="252"/>
                  </a:lnTo>
                  <a:lnTo>
                    <a:pt x="1566" y="258"/>
                  </a:lnTo>
                  <a:lnTo>
                    <a:pt x="1578" y="270"/>
                  </a:lnTo>
                  <a:lnTo>
                    <a:pt x="1596" y="270"/>
                  </a:lnTo>
                  <a:lnTo>
                    <a:pt x="1602" y="288"/>
                  </a:lnTo>
                  <a:lnTo>
                    <a:pt x="1608" y="306"/>
                  </a:lnTo>
                  <a:lnTo>
                    <a:pt x="1608" y="318"/>
                  </a:lnTo>
                  <a:lnTo>
                    <a:pt x="1608" y="324"/>
                  </a:lnTo>
                  <a:lnTo>
                    <a:pt x="1614" y="330"/>
                  </a:lnTo>
                  <a:lnTo>
                    <a:pt x="1614" y="336"/>
                  </a:lnTo>
                  <a:lnTo>
                    <a:pt x="1614" y="342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08" y="390"/>
                  </a:lnTo>
                  <a:lnTo>
                    <a:pt x="1602" y="390"/>
                  </a:lnTo>
                  <a:lnTo>
                    <a:pt x="1602" y="396"/>
                  </a:lnTo>
                  <a:lnTo>
                    <a:pt x="1584" y="420"/>
                  </a:lnTo>
                  <a:lnTo>
                    <a:pt x="1584" y="426"/>
                  </a:lnTo>
                  <a:lnTo>
                    <a:pt x="1602" y="474"/>
                  </a:lnTo>
                  <a:lnTo>
                    <a:pt x="1608" y="480"/>
                  </a:lnTo>
                  <a:lnTo>
                    <a:pt x="1608" y="486"/>
                  </a:lnTo>
                  <a:lnTo>
                    <a:pt x="1614" y="486"/>
                  </a:lnTo>
                  <a:lnTo>
                    <a:pt x="1608" y="504"/>
                  </a:lnTo>
                  <a:lnTo>
                    <a:pt x="1572" y="504"/>
                  </a:lnTo>
                  <a:lnTo>
                    <a:pt x="1560" y="510"/>
                  </a:lnTo>
                  <a:lnTo>
                    <a:pt x="1554" y="522"/>
                  </a:lnTo>
                  <a:lnTo>
                    <a:pt x="1560" y="552"/>
                  </a:lnTo>
                  <a:lnTo>
                    <a:pt x="1566" y="552"/>
                  </a:lnTo>
                  <a:lnTo>
                    <a:pt x="1566" y="558"/>
                  </a:lnTo>
                  <a:lnTo>
                    <a:pt x="1572" y="558"/>
                  </a:lnTo>
                  <a:lnTo>
                    <a:pt x="1578" y="558"/>
                  </a:lnTo>
                  <a:lnTo>
                    <a:pt x="1578" y="552"/>
                  </a:lnTo>
                  <a:lnTo>
                    <a:pt x="1584" y="552"/>
                  </a:lnTo>
                  <a:lnTo>
                    <a:pt x="1590" y="552"/>
                  </a:lnTo>
                  <a:lnTo>
                    <a:pt x="1590" y="546"/>
                  </a:lnTo>
                  <a:lnTo>
                    <a:pt x="1596" y="546"/>
                  </a:lnTo>
                  <a:lnTo>
                    <a:pt x="1602" y="552"/>
                  </a:lnTo>
                  <a:lnTo>
                    <a:pt x="1602" y="546"/>
                  </a:lnTo>
                  <a:lnTo>
                    <a:pt x="1608" y="546"/>
                  </a:lnTo>
                  <a:lnTo>
                    <a:pt x="1608" y="552"/>
                  </a:lnTo>
                  <a:lnTo>
                    <a:pt x="1614" y="552"/>
                  </a:lnTo>
                  <a:lnTo>
                    <a:pt x="1614" y="546"/>
                  </a:lnTo>
                  <a:lnTo>
                    <a:pt x="1620" y="552"/>
                  </a:lnTo>
                  <a:lnTo>
                    <a:pt x="1626" y="552"/>
                  </a:lnTo>
                  <a:lnTo>
                    <a:pt x="1626" y="558"/>
                  </a:lnTo>
                  <a:lnTo>
                    <a:pt x="1632" y="558"/>
                  </a:lnTo>
                  <a:lnTo>
                    <a:pt x="1638" y="558"/>
                  </a:lnTo>
                  <a:lnTo>
                    <a:pt x="1644" y="558"/>
                  </a:lnTo>
                  <a:lnTo>
                    <a:pt x="1650" y="558"/>
                  </a:lnTo>
                  <a:lnTo>
                    <a:pt x="1650" y="564"/>
                  </a:lnTo>
                  <a:lnTo>
                    <a:pt x="1656" y="564"/>
                  </a:lnTo>
                  <a:lnTo>
                    <a:pt x="1662" y="564"/>
                  </a:lnTo>
                  <a:lnTo>
                    <a:pt x="1668" y="564"/>
                  </a:lnTo>
                  <a:lnTo>
                    <a:pt x="1668" y="570"/>
                  </a:lnTo>
                  <a:lnTo>
                    <a:pt x="1674" y="570"/>
                  </a:lnTo>
                  <a:lnTo>
                    <a:pt x="1680" y="570"/>
                  </a:lnTo>
                  <a:lnTo>
                    <a:pt x="1686" y="576"/>
                  </a:lnTo>
                  <a:lnTo>
                    <a:pt x="1686" y="582"/>
                  </a:lnTo>
                  <a:lnTo>
                    <a:pt x="1710" y="588"/>
                  </a:lnTo>
                  <a:lnTo>
                    <a:pt x="1710" y="594"/>
                  </a:lnTo>
                  <a:lnTo>
                    <a:pt x="1704" y="600"/>
                  </a:lnTo>
                  <a:lnTo>
                    <a:pt x="1710" y="624"/>
                  </a:lnTo>
                  <a:lnTo>
                    <a:pt x="1698" y="672"/>
                  </a:lnTo>
                  <a:lnTo>
                    <a:pt x="1704" y="678"/>
                  </a:lnTo>
                  <a:lnTo>
                    <a:pt x="1716" y="684"/>
                  </a:lnTo>
                  <a:lnTo>
                    <a:pt x="1716" y="678"/>
                  </a:lnTo>
                  <a:lnTo>
                    <a:pt x="1716" y="684"/>
                  </a:lnTo>
                  <a:lnTo>
                    <a:pt x="1728" y="684"/>
                  </a:lnTo>
                  <a:lnTo>
                    <a:pt x="1728" y="690"/>
                  </a:lnTo>
                  <a:lnTo>
                    <a:pt x="1734" y="696"/>
                  </a:lnTo>
                  <a:lnTo>
                    <a:pt x="1734" y="702"/>
                  </a:lnTo>
                  <a:lnTo>
                    <a:pt x="1740" y="708"/>
                  </a:lnTo>
                  <a:lnTo>
                    <a:pt x="1740" y="714"/>
                  </a:lnTo>
                  <a:lnTo>
                    <a:pt x="1710" y="714"/>
                  </a:lnTo>
                  <a:lnTo>
                    <a:pt x="1710" y="756"/>
                  </a:lnTo>
                  <a:lnTo>
                    <a:pt x="1704" y="762"/>
                  </a:lnTo>
                  <a:lnTo>
                    <a:pt x="1698" y="762"/>
                  </a:lnTo>
                  <a:lnTo>
                    <a:pt x="1698" y="768"/>
                  </a:lnTo>
                  <a:lnTo>
                    <a:pt x="1698" y="774"/>
                  </a:lnTo>
                  <a:lnTo>
                    <a:pt x="1692" y="780"/>
                  </a:lnTo>
                  <a:lnTo>
                    <a:pt x="1692" y="786"/>
                  </a:lnTo>
                  <a:lnTo>
                    <a:pt x="1686" y="786"/>
                  </a:lnTo>
                  <a:lnTo>
                    <a:pt x="1668" y="798"/>
                  </a:lnTo>
                  <a:lnTo>
                    <a:pt x="1662" y="810"/>
                  </a:lnTo>
                  <a:lnTo>
                    <a:pt x="1650" y="810"/>
                  </a:lnTo>
                  <a:lnTo>
                    <a:pt x="1644" y="816"/>
                  </a:lnTo>
                  <a:lnTo>
                    <a:pt x="1638" y="816"/>
                  </a:lnTo>
                  <a:lnTo>
                    <a:pt x="1626" y="852"/>
                  </a:lnTo>
                  <a:lnTo>
                    <a:pt x="1620" y="888"/>
                  </a:lnTo>
                  <a:lnTo>
                    <a:pt x="1626" y="888"/>
                  </a:lnTo>
                  <a:lnTo>
                    <a:pt x="1638" y="912"/>
                  </a:lnTo>
                  <a:lnTo>
                    <a:pt x="1644" y="918"/>
                  </a:lnTo>
                  <a:lnTo>
                    <a:pt x="1650" y="966"/>
                  </a:lnTo>
                  <a:lnTo>
                    <a:pt x="1626" y="972"/>
                  </a:lnTo>
                  <a:lnTo>
                    <a:pt x="1608" y="978"/>
                  </a:lnTo>
                  <a:lnTo>
                    <a:pt x="1614" y="984"/>
                  </a:lnTo>
                  <a:lnTo>
                    <a:pt x="1620" y="984"/>
                  </a:lnTo>
                  <a:lnTo>
                    <a:pt x="1620" y="1020"/>
                  </a:lnTo>
                  <a:lnTo>
                    <a:pt x="1614" y="1038"/>
                  </a:lnTo>
                  <a:lnTo>
                    <a:pt x="1620" y="1044"/>
                  </a:lnTo>
                  <a:lnTo>
                    <a:pt x="1626" y="1056"/>
                  </a:lnTo>
                  <a:lnTo>
                    <a:pt x="1626" y="1074"/>
                  </a:lnTo>
                  <a:lnTo>
                    <a:pt x="1620" y="1080"/>
                  </a:lnTo>
                  <a:lnTo>
                    <a:pt x="1620" y="1104"/>
                  </a:lnTo>
                  <a:lnTo>
                    <a:pt x="1620" y="1110"/>
                  </a:lnTo>
                  <a:lnTo>
                    <a:pt x="1614" y="1116"/>
                  </a:lnTo>
                  <a:lnTo>
                    <a:pt x="1608" y="1140"/>
                  </a:lnTo>
                  <a:lnTo>
                    <a:pt x="1602" y="1146"/>
                  </a:lnTo>
                  <a:lnTo>
                    <a:pt x="1602" y="1164"/>
                  </a:lnTo>
                  <a:lnTo>
                    <a:pt x="1596" y="1170"/>
                  </a:lnTo>
                  <a:lnTo>
                    <a:pt x="1590" y="1164"/>
                  </a:lnTo>
                  <a:lnTo>
                    <a:pt x="1584" y="1164"/>
                  </a:lnTo>
                  <a:lnTo>
                    <a:pt x="1578" y="1164"/>
                  </a:lnTo>
                  <a:lnTo>
                    <a:pt x="1578" y="1188"/>
                  </a:lnTo>
                  <a:lnTo>
                    <a:pt x="1584" y="1194"/>
                  </a:lnTo>
                  <a:lnTo>
                    <a:pt x="1590" y="1194"/>
                  </a:lnTo>
                  <a:lnTo>
                    <a:pt x="1590" y="1212"/>
                  </a:lnTo>
                  <a:lnTo>
                    <a:pt x="1584" y="1212"/>
                  </a:lnTo>
                  <a:lnTo>
                    <a:pt x="1584" y="1224"/>
                  </a:lnTo>
                  <a:lnTo>
                    <a:pt x="1578" y="1224"/>
                  </a:lnTo>
                  <a:lnTo>
                    <a:pt x="1578" y="1236"/>
                  </a:lnTo>
                  <a:lnTo>
                    <a:pt x="1584" y="1254"/>
                  </a:lnTo>
                  <a:lnTo>
                    <a:pt x="1584" y="1260"/>
                  </a:lnTo>
                  <a:lnTo>
                    <a:pt x="1590" y="1260"/>
                  </a:lnTo>
                  <a:lnTo>
                    <a:pt x="1590" y="1266"/>
                  </a:lnTo>
                  <a:lnTo>
                    <a:pt x="1596" y="1284"/>
                  </a:lnTo>
                  <a:lnTo>
                    <a:pt x="1602" y="1278"/>
                  </a:lnTo>
                  <a:lnTo>
                    <a:pt x="1608" y="1284"/>
                  </a:lnTo>
                  <a:lnTo>
                    <a:pt x="1632" y="1350"/>
                  </a:lnTo>
                  <a:lnTo>
                    <a:pt x="1638" y="1356"/>
                  </a:lnTo>
                  <a:lnTo>
                    <a:pt x="1644" y="1356"/>
                  </a:lnTo>
                  <a:lnTo>
                    <a:pt x="1650" y="1356"/>
                  </a:lnTo>
                  <a:lnTo>
                    <a:pt x="1656" y="1356"/>
                  </a:lnTo>
                  <a:lnTo>
                    <a:pt x="1662" y="1362"/>
                  </a:lnTo>
                  <a:lnTo>
                    <a:pt x="1668" y="1356"/>
                  </a:lnTo>
                  <a:lnTo>
                    <a:pt x="1668" y="1380"/>
                  </a:lnTo>
                  <a:lnTo>
                    <a:pt x="1662" y="1392"/>
                  </a:lnTo>
                  <a:lnTo>
                    <a:pt x="1656" y="1404"/>
                  </a:lnTo>
                  <a:lnTo>
                    <a:pt x="1656" y="1410"/>
                  </a:lnTo>
                  <a:lnTo>
                    <a:pt x="1656" y="1416"/>
                  </a:lnTo>
                  <a:lnTo>
                    <a:pt x="1650" y="1422"/>
                  </a:lnTo>
                  <a:lnTo>
                    <a:pt x="1650" y="1428"/>
                  </a:lnTo>
                  <a:lnTo>
                    <a:pt x="1644" y="1428"/>
                  </a:lnTo>
                  <a:lnTo>
                    <a:pt x="1644" y="1434"/>
                  </a:lnTo>
                  <a:lnTo>
                    <a:pt x="1638" y="1434"/>
                  </a:lnTo>
                  <a:lnTo>
                    <a:pt x="1638" y="1440"/>
                  </a:lnTo>
                  <a:lnTo>
                    <a:pt x="1632" y="1440"/>
                  </a:lnTo>
                  <a:lnTo>
                    <a:pt x="1638" y="145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8" name="Freeform 13">
              <a:extLst>
                <a:ext uri="{FF2B5EF4-FFF2-40B4-BE49-F238E27FC236}">
                  <a16:creationId xmlns:a16="http://schemas.microsoft.com/office/drawing/2014/main" id="{66308D9B-1739-4227-AAC3-BB866CD1F5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63374" y="2969626"/>
              <a:ext cx="330956" cy="357840"/>
            </a:xfrm>
            <a:custGeom>
              <a:avLst/>
              <a:gdLst>
                <a:gd name="T0" fmla="*/ 11 w 624"/>
                <a:gd name="T1" fmla="*/ 59 h 672"/>
                <a:gd name="T2" fmla="*/ 4 w 624"/>
                <a:gd name="T3" fmla="*/ 58 h 672"/>
                <a:gd name="T4" fmla="*/ 3 w 624"/>
                <a:gd name="T5" fmla="*/ 58 h 672"/>
                <a:gd name="T6" fmla="*/ 2 w 624"/>
                <a:gd name="T7" fmla="*/ 11 h 672"/>
                <a:gd name="T8" fmla="*/ 13 w 624"/>
                <a:gd name="T9" fmla="*/ 11 h 672"/>
                <a:gd name="T10" fmla="*/ 14 w 624"/>
                <a:gd name="T11" fmla="*/ 11 h 672"/>
                <a:gd name="T12" fmla="*/ 15 w 624"/>
                <a:gd name="T13" fmla="*/ 12 h 672"/>
                <a:gd name="T14" fmla="*/ 18 w 624"/>
                <a:gd name="T15" fmla="*/ 14 h 672"/>
                <a:gd name="T16" fmla="*/ 21 w 624"/>
                <a:gd name="T17" fmla="*/ 16 h 672"/>
                <a:gd name="T18" fmla="*/ 22 w 624"/>
                <a:gd name="T19" fmla="*/ 18 h 672"/>
                <a:gd name="T20" fmla="*/ 23 w 624"/>
                <a:gd name="T21" fmla="*/ 19 h 672"/>
                <a:gd name="T22" fmla="*/ 24 w 624"/>
                <a:gd name="T23" fmla="*/ 19 h 672"/>
                <a:gd name="T24" fmla="*/ 26 w 624"/>
                <a:gd name="T25" fmla="*/ 19 h 672"/>
                <a:gd name="T26" fmla="*/ 27 w 624"/>
                <a:gd name="T27" fmla="*/ 18 h 672"/>
                <a:gd name="T28" fmla="*/ 29 w 624"/>
                <a:gd name="T29" fmla="*/ 15 h 672"/>
                <a:gd name="T30" fmla="*/ 30 w 624"/>
                <a:gd name="T31" fmla="*/ 14 h 672"/>
                <a:gd name="T32" fmla="*/ 31 w 624"/>
                <a:gd name="T33" fmla="*/ 12 h 672"/>
                <a:gd name="T34" fmla="*/ 32 w 624"/>
                <a:gd name="T35" fmla="*/ 12 h 672"/>
                <a:gd name="T36" fmla="*/ 33 w 624"/>
                <a:gd name="T37" fmla="*/ 10 h 672"/>
                <a:gd name="T38" fmla="*/ 34 w 624"/>
                <a:gd name="T39" fmla="*/ 8 h 672"/>
                <a:gd name="T40" fmla="*/ 34 w 624"/>
                <a:gd name="T41" fmla="*/ 6 h 672"/>
                <a:gd name="T42" fmla="*/ 35 w 624"/>
                <a:gd name="T43" fmla="*/ 4 h 672"/>
                <a:gd name="T44" fmla="*/ 42 w 624"/>
                <a:gd name="T45" fmla="*/ 3 h 672"/>
                <a:gd name="T46" fmla="*/ 44 w 624"/>
                <a:gd name="T47" fmla="*/ 2 h 672"/>
                <a:gd name="T48" fmla="*/ 46 w 624"/>
                <a:gd name="T49" fmla="*/ 0 h 672"/>
                <a:gd name="T50" fmla="*/ 51 w 624"/>
                <a:gd name="T51" fmla="*/ 3 h 672"/>
                <a:gd name="T52" fmla="*/ 54 w 624"/>
                <a:gd name="T53" fmla="*/ 6 h 672"/>
                <a:gd name="T54" fmla="*/ 54 w 624"/>
                <a:gd name="T55" fmla="*/ 8 h 672"/>
                <a:gd name="T56" fmla="*/ 52 w 624"/>
                <a:gd name="T57" fmla="*/ 9 h 672"/>
                <a:gd name="T58" fmla="*/ 49 w 624"/>
                <a:gd name="T59" fmla="*/ 11 h 672"/>
                <a:gd name="T60" fmla="*/ 48 w 624"/>
                <a:gd name="T61" fmla="*/ 14 h 672"/>
                <a:gd name="T62" fmla="*/ 46 w 624"/>
                <a:gd name="T63" fmla="*/ 22 h 672"/>
                <a:gd name="T64" fmla="*/ 45 w 624"/>
                <a:gd name="T65" fmla="*/ 39 h 672"/>
                <a:gd name="T66" fmla="*/ 43 w 624"/>
                <a:gd name="T67" fmla="*/ 43 h 672"/>
                <a:gd name="T68" fmla="*/ 39 w 624"/>
                <a:gd name="T69" fmla="*/ 50 h 672"/>
                <a:gd name="T70" fmla="*/ 36 w 624"/>
                <a:gd name="T71" fmla="*/ 53 h 672"/>
                <a:gd name="T72" fmla="*/ 32 w 624"/>
                <a:gd name="T73" fmla="*/ 56 h 672"/>
                <a:gd name="T74" fmla="*/ 30 w 624"/>
                <a:gd name="T75" fmla="*/ 58 h 672"/>
                <a:gd name="T76" fmla="*/ 20 w 624"/>
                <a:gd name="T77" fmla="*/ 59 h 672"/>
                <a:gd name="T78" fmla="*/ 15 w 624"/>
                <a:gd name="T79" fmla="*/ 59 h 67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24"/>
                <a:gd name="T121" fmla="*/ 0 h 672"/>
                <a:gd name="T122" fmla="*/ 624 w 624"/>
                <a:gd name="T123" fmla="*/ 672 h 67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24" h="672">
                  <a:moveTo>
                    <a:pt x="168" y="672"/>
                  </a:moveTo>
                  <a:lnTo>
                    <a:pt x="132" y="672"/>
                  </a:lnTo>
                  <a:lnTo>
                    <a:pt x="72" y="666"/>
                  </a:lnTo>
                  <a:lnTo>
                    <a:pt x="42" y="666"/>
                  </a:lnTo>
                  <a:lnTo>
                    <a:pt x="36" y="666"/>
                  </a:lnTo>
                  <a:lnTo>
                    <a:pt x="30" y="660"/>
                  </a:lnTo>
                  <a:lnTo>
                    <a:pt x="0" y="660"/>
                  </a:lnTo>
                  <a:lnTo>
                    <a:pt x="24" y="120"/>
                  </a:lnTo>
                  <a:lnTo>
                    <a:pt x="60" y="120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62" y="120"/>
                  </a:lnTo>
                  <a:lnTo>
                    <a:pt x="168" y="120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10" y="156"/>
                  </a:lnTo>
                  <a:lnTo>
                    <a:pt x="222" y="174"/>
                  </a:lnTo>
                  <a:lnTo>
                    <a:pt x="240" y="186"/>
                  </a:lnTo>
                  <a:lnTo>
                    <a:pt x="252" y="198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216"/>
                  </a:lnTo>
                  <a:lnTo>
                    <a:pt x="270" y="216"/>
                  </a:lnTo>
                  <a:lnTo>
                    <a:pt x="282" y="222"/>
                  </a:lnTo>
                  <a:lnTo>
                    <a:pt x="288" y="222"/>
                  </a:lnTo>
                  <a:lnTo>
                    <a:pt x="294" y="216"/>
                  </a:lnTo>
                  <a:lnTo>
                    <a:pt x="294" y="210"/>
                  </a:lnTo>
                  <a:lnTo>
                    <a:pt x="312" y="204"/>
                  </a:lnTo>
                  <a:lnTo>
                    <a:pt x="330" y="186"/>
                  </a:lnTo>
                  <a:lnTo>
                    <a:pt x="336" y="174"/>
                  </a:lnTo>
                  <a:lnTo>
                    <a:pt x="342" y="162"/>
                  </a:lnTo>
                  <a:lnTo>
                    <a:pt x="342" y="156"/>
                  </a:lnTo>
                  <a:lnTo>
                    <a:pt x="348" y="150"/>
                  </a:lnTo>
                  <a:lnTo>
                    <a:pt x="354" y="144"/>
                  </a:lnTo>
                  <a:lnTo>
                    <a:pt x="360" y="138"/>
                  </a:lnTo>
                  <a:lnTo>
                    <a:pt x="366" y="132"/>
                  </a:lnTo>
                  <a:lnTo>
                    <a:pt x="372" y="114"/>
                  </a:lnTo>
                  <a:lnTo>
                    <a:pt x="378" y="114"/>
                  </a:lnTo>
                  <a:lnTo>
                    <a:pt x="378" y="96"/>
                  </a:lnTo>
                  <a:lnTo>
                    <a:pt x="390" y="96"/>
                  </a:lnTo>
                  <a:lnTo>
                    <a:pt x="396" y="84"/>
                  </a:lnTo>
                  <a:lnTo>
                    <a:pt x="396" y="72"/>
                  </a:lnTo>
                  <a:lnTo>
                    <a:pt x="396" y="54"/>
                  </a:lnTo>
                  <a:lnTo>
                    <a:pt x="408" y="42"/>
                  </a:lnTo>
                  <a:lnTo>
                    <a:pt x="468" y="42"/>
                  </a:lnTo>
                  <a:lnTo>
                    <a:pt x="486" y="36"/>
                  </a:lnTo>
                  <a:lnTo>
                    <a:pt x="492" y="24"/>
                  </a:lnTo>
                  <a:lnTo>
                    <a:pt x="504" y="24"/>
                  </a:lnTo>
                  <a:lnTo>
                    <a:pt x="516" y="6"/>
                  </a:lnTo>
                  <a:lnTo>
                    <a:pt x="528" y="0"/>
                  </a:lnTo>
                  <a:lnTo>
                    <a:pt x="558" y="12"/>
                  </a:lnTo>
                  <a:lnTo>
                    <a:pt x="588" y="36"/>
                  </a:lnTo>
                  <a:lnTo>
                    <a:pt x="600" y="66"/>
                  </a:lnTo>
                  <a:lnTo>
                    <a:pt x="624" y="66"/>
                  </a:lnTo>
                  <a:lnTo>
                    <a:pt x="624" y="90"/>
                  </a:lnTo>
                  <a:lnTo>
                    <a:pt x="618" y="90"/>
                  </a:lnTo>
                  <a:lnTo>
                    <a:pt x="618" y="96"/>
                  </a:lnTo>
                  <a:lnTo>
                    <a:pt x="600" y="102"/>
                  </a:lnTo>
                  <a:lnTo>
                    <a:pt x="588" y="108"/>
                  </a:lnTo>
                  <a:lnTo>
                    <a:pt x="570" y="120"/>
                  </a:lnTo>
                  <a:lnTo>
                    <a:pt x="564" y="138"/>
                  </a:lnTo>
                  <a:lnTo>
                    <a:pt x="558" y="162"/>
                  </a:lnTo>
                  <a:lnTo>
                    <a:pt x="540" y="210"/>
                  </a:lnTo>
                  <a:lnTo>
                    <a:pt x="528" y="252"/>
                  </a:lnTo>
                  <a:lnTo>
                    <a:pt x="528" y="402"/>
                  </a:lnTo>
                  <a:lnTo>
                    <a:pt x="522" y="444"/>
                  </a:lnTo>
                  <a:lnTo>
                    <a:pt x="510" y="468"/>
                  </a:lnTo>
                  <a:lnTo>
                    <a:pt x="498" y="498"/>
                  </a:lnTo>
                  <a:lnTo>
                    <a:pt x="474" y="534"/>
                  </a:lnTo>
                  <a:lnTo>
                    <a:pt x="456" y="570"/>
                  </a:lnTo>
                  <a:lnTo>
                    <a:pt x="444" y="576"/>
                  </a:lnTo>
                  <a:lnTo>
                    <a:pt x="420" y="606"/>
                  </a:lnTo>
                  <a:lnTo>
                    <a:pt x="390" y="624"/>
                  </a:lnTo>
                  <a:lnTo>
                    <a:pt x="372" y="642"/>
                  </a:lnTo>
                  <a:lnTo>
                    <a:pt x="366" y="654"/>
                  </a:lnTo>
                  <a:lnTo>
                    <a:pt x="342" y="660"/>
                  </a:lnTo>
                  <a:lnTo>
                    <a:pt x="300" y="666"/>
                  </a:lnTo>
                  <a:lnTo>
                    <a:pt x="234" y="672"/>
                  </a:lnTo>
                  <a:lnTo>
                    <a:pt x="192" y="672"/>
                  </a:lnTo>
                  <a:lnTo>
                    <a:pt x="168" y="67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9" name="Freeform 14">
              <a:extLst>
                <a:ext uri="{FF2B5EF4-FFF2-40B4-BE49-F238E27FC236}">
                  <a16:creationId xmlns:a16="http://schemas.microsoft.com/office/drawing/2014/main" id="{2EA1E999-9CDF-4391-8BC9-7DE71AF9C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0460" y="2983045"/>
              <a:ext cx="905658" cy="561362"/>
            </a:xfrm>
            <a:custGeom>
              <a:avLst/>
              <a:gdLst>
                <a:gd name="T0" fmla="*/ 31 w 1704"/>
                <a:gd name="T1" fmla="*/ 78 h 1056"/>
                <a:gd name="T2" fmla="*/ 23 w 1704"/>
                <a:gd name="T3" fmla="*/ 78 h 1056"/>
                <a:gd name="T4" fmla="*/ 11 w 1704"/>
                <a:gd name="T5" fmla="*/ 79 h 1056"/>
                <a:gd name="T6" fmla="*/ 1 w 1704"/>
                <a:gd name="T7" fmla="*/ 81 h 1056"/>
                <a:gd name="T8" fmla="*/ 0 w 1704"/>
                <a:gd name="T9" fmla="*/ 62 h 1056"/>
                <a:gd name="T10" fmla="*/ 9 w 1704"/>
                <a:gd name="T11" fmla="*/ 56 h 1056"/>
                <a:gd name="T12" fmla="*/ 27 w 1704"/>
                <a:gd name="T13" fmla="*/ 48 h 1056"/>
                <a:gd name="T14" fmla="*/ 35 w 1704"/>
                <a:gd name="T15" fmla="*/ 20 h 1056"/>
                <a:gd name="T16" fmla="*/ 43 w 1704"/>
                <a:gd name="T17" fmla="*/ 6 h 1056"/>
                <a:gd name="T18" fmla="*/ 47 w 1704"/>
                <a:gd name="T19" fmla="*/ 7 h 1056"/>
                <a:gd name="T20" fmla="*/ 52 w 1704"/>
                <a:gd name="T21" fmla="*/ 0 h 1056"/>
                <a:gd name="T22" fmla="*/ 59 w 1704"/>
                <a:gd name="T23" fmla="*/ 5 h 1056"/>
                <a:gd name="T24" fmla="*/ 63 w 1704"/>
                <a:gd name="T25" fmla="*/ 12 h 1056"/>
                <a:gd name="T26" fmla="*/ 62 w 1704"/>
                <a:gd name="T27" fmla="*/ 15 h 1056"/>
                <a:gd name="T28" fmla="*/ 62 w 1704"/>
                <a:gd name="T29" fmla="*/ 18 h 1056"/>
                <a:gd name="T30" fmla="*/ 70 w 1704"/>
                <a:gd name="T31" fmla="*/ 18 h 1056"/>
                <a:gd name="T32" fmla="*/ 71 w 1704"/>
                <a:gd name="T33" fmla="*/ 14 h 1056"/>
                <a:gd name="T34" fmla="*/ 72 w 1704"/>
                <a:gd name="T35" fmla="*/ 12 h 1056"/>
                <a:gd name="T36" fmla="*/ 78 w 1704"/>
                <a:gd name="T37" fmla="*/ 14 h 1056"/>
                <a:gd name="T38" fmla="*/ 85 w 1704"/>
                <a:gd name="T39" fmla="*/ 21 h 1056"/>
                <a:gd name="T40" fmla="*/ 91 w 1704"/>
                <a:gd name="T41" fmla="*/ 15 h 1056"/>
                <a:gd name="T42" fmla="*/ 93 w 1704"/>
                <a:gd name="T43" fmla="*/ 10 h 1056"/>
                <a:gd name="T44" fmla="*/ 101 w 1704"/>
                <a:gd name="T45" fmla="*/ 14 h 1056"/>
                <a:gd name="T46" fmla="*/ 103 w 1704"/>
                <a:gd name="T47" fmla="*/ 19 h 1056"/>
                <a:gd name="T48" fmla="*/ 115 w 1704"/>
                <a:gd name="T49" fmla="*/ 20 h 1056"/>
                <a:gd name="T50" fmla="*/ 118 w 1704"/>
                <a:gd name="T51" fmla="*/ 23 h 1056"/>
                <a:gd name="T52" fmla="*/ 117 w 1704"/>
                <a:gd name="T53" fmla="*/ 27 h 1056"/>
                <a:gd name="T54" fmla="*/ 111 w 1704"/>
                <a:gd name="T55" fmla="*/ 33 h 1056"/>
                <a:gd name="T56" fmla="*/ 108 w 1704"/>
                <a:gd name="T57" fmla="*/ 36 h 1056"/>
                <a:gd name="T58" fmla="*/ 109 w 1704"/>
                <a:gd name="T59" fmla="*/ 40 h 1056"/>
                <a:gd name="T60" fmla="*/ 111 w 1704"/>
                <a:gd name="T61" fmla="*/ 43 h 1056"/>
                <a:gd name="T62" fmla="*/ 113 w 1704"/>
                <a:gd name="T63" fmla="*/ 50 h 1056"/>
                <a:gd name="T64" fmla="*/ 121 w 1704"/>
                <a:gd name="T65" fmla="*/ 55 h 1056"/>
                <a:gd name="T66" fmla="*/ 132 w 1704"/>
                <a:gd name="T67" fmla="*/ 52 h 1056"/>
                <a:gd name="T68" fmla="*/ 148 w 1704"/>
                <a:gd name="T69" fmla="*/ 58 h 1056"/>
                <a:gd name="T70" fmla="*/ 148 w 1704"/>
                <a:gd name="T71" fmla="*/ 61 h 1056"/>
                <a:gd name="T72" fmla="*/ 148 w 1704"/>
                <a:gd name="T73" fmla="*/ 64 h 1056"/>
                <a:gd name="T74" fmla="*/ 135 w 1704"/>
                <a:gd name="T75" fmla="*/ 61 h 1056"/>
                <a:gd name="T76" fmla="*/ 135 w 1704"/>
                <a:gd name="T77" fmla="*/ 66 h 1056"/>
                <a:gd name="T78" fmla="*/ 137 w 1704"/>
                <a:gd name="T79" fmla="*/ 71 h 1056"/>
                <a:gd name="T80" fmla="*/ 136 w 1704"/>
                <a:gd name="T81" fmla="*/ 79 h 1056"/>
                <a:gd name="T82" fmla="*/ 126 w 1704"/>
                <a:gd name="T83" fmla="*/ 84 h 1056"/>
                <a:gd name="T84" fmla="*/ 121 w 1704"/>
                <a:gd name="T85" fmla="*/ 79 h 1056"/>
                <a:gd name="T86" fmla="*/ 117 w 1704"/>
                <a:gd name="T87" fmla="*/ 75 h 1056"/>
                <a:gd name="T88" fmla="*/ 98 w 1704"/>
                <a:gd name="T89" fmla="*/ 74 h 1056"/>
                <a:gd name="T90" fmla="*/ 81 w 1704"/>
                <a:gd name="T91" fmla="*/ 75 h 1056"/>
                <a:gd name="T92" fmla="*/ 83 w 1704"/>
                <a:gd name="T93" fmla="*/ 88 h 1056"/>
                <a:gd name="T94" fmla="*/ 82 w 1704"/>
                <a:gd name="T95" fmla="*/ 91 h 1056"/>
                <a:gd name="T96" fmla="*/ 77 w 1704"/>
                <a:gd name="T97" fmla="*/ 90 h 1056"/>
                <a:gd name="T98" fmla="*/ 73 w 1704"/>
                <a:gd name="T99" fmla="*/ 86 h 1056"/>
                <a:gd name="T100" fmla="*/ 68 w 1704"/>
                <a:gd name="T101" fmla="*/ 85 h 1056"/>
                <a:gd name="T102" fmla="*/ 64 w 1704"/>
                <a:gd name="T103" fmla="*/ 83 h 1056"/>
                <a:gd name="T104" fmla="*/ 57 w 1704"/>
                <a:gd name="T105" fmla="*/ 81 h 1056"/>
                <a:gd name="T106" fmla="*/ 52 w 1704"/>
                <a:gd name="T107" fmla="*/ 80 h 1056"/>
                <a:gd name="T108" fmla="*/ 50 w 1704"/>
                <a:gd name="T109" fmla="*/ 80 h 1056"/>
                <a:gd name="T110" fmla="*/ 46 w 1704"/>
                <a:gd name="T111" fmla="*/ 79 h 1056"/>
                <a:gd name="T112" fmla="*/ 41 w 1704"/>
                <a:gd name="T113" fmla="*/ 78 h 10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04"/>
                <a:gd name="T172" fmla="*/ 0 h 1056"/>
                <a:gd name="T173" fmla="*/ 1704 w 1704"/>
                <a:gd name="T174" fmla="*/ 1056 h 10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04" h="1056">
                  <a:moveTo>
                    <a:pt x="450" y="888"/>
                  </a:moveTo>
                  <a:lnTo>
                    <a:pt x="420" y="888"/>
                  </a:lnTo>
                  <a:lnTo>
                    <a:pt x="414" y="888"/>
                  </a:lnTo>
                  <a:lnTo>
                    <a:pt x="396" y="888"/>
                  </a:lnTo>
                  <a:lnTo>
                    <a:pt x="372" y="888"/>
                  </a:lnTo>
                  <a:lnTo>
                    <a:pt x="366" y="888"/>
                  </a:lnTo>
                  <a:lnTo>
                    <a:pt x="360" y="888"/>
                  </a:lnTo>
                  <a:lnTo>
                    <a:pt x="348" y="888"/>
                  </a:lnTo>
                  <a:lnTo>
                    <a:pt x="330" y="894"/>
                  </a:lnTo>
                  <a:lnTo>
                    <a:pt x="324" y="894"/>
                  </a:lnTo>
                  <a:lnTo>
                    <a:pt x="312" y="888"/>
                  </a:lnTo>
                  <a:lnTo>
                    <a:pt x="300" y="888"/>
                  </a:lnTo>
                  <a:lnTo>
                    <a:pt x="282" y="888"/>
                  </a:lnTo>
                  <a:lnTo>
                    <a:pt x="270" y="888"/>
                  </a:lnTo>
                  <a:lnTo>
                    <a:pt x="240" y="882"/>
                  </a:lnTo>
                  <a:lnTo>
                    <a:pt x="222" y="882"/>
                  </a:lnTo>
                  <a:lnTo>
                    <a:pt x="198" y="882"/>
                  </a:lnTo>
                  <a:lnTo>
                    <a:pt x="174" y="894"/>
                  </a:lnTo>
                  <a:lnTo>
                    <a:pt x="162" y="900"/>
                  </a:lnTo>
                  <a:lnTo>
                    <a:pt x="144" y="906"/>
                  </a:lnTo>
                  <a:lnTo>
                    <a:pt x="126" y="912"/>
                  </a:lnTo>
                  <a:lnTo>
                    <a:pt x="102" y="924"/>
                  </a:lnTo>
                  <a:lnTo>
                    <a:pt x="78" y="930"/>
                  </a:lnTo>
                  <a:lnTo>
                    <a:pt x="72" y="936"/>
                  </a:lnTo>
                  <a:lnTo>
                    <a:pt x="30" y="954"/>
                  </a:lnTo>
                  <a:lnTo>
                    <a:pt x="12" y="966"/>
                  </a:lnTo>
                  <a:lnTo>
                    <a:pt x="12" y="954"/>
                  </a:lnTo>
                  <a:lnTo>
                    <a:pt x="12" y="930"/>
                  </a:lnTo>
                  <a:lnTo>
                    <a:pt x="12" y="894"/>
                  </a:lnTo>
                  <a:lnTo>
                    <a:pt x="30" y="828"/>
                  </a:lnTo>
                  <a:lnTo>
                    <a:pt x="36" y="798"/>
                  </a:lnTo>
                  <a:lnTo>
                    <a:pt x="18" y="774"/>
                  </a:lnTo>
                  <a:lnTo>
                    <a:pt x="18" y="756"/>
                  </a:lnTo>
                  <a:lnTo>
                    <a:pt x="6" y="738"/>
                  </a:lnTo>
                  <a:lnTo>
                    <a:pt x="0" y="714"/>
                  </a:lnTo>
                  <a:lnTo>
                    <a:pt x="12" y="678"/>
                  </a:lnTo>
                  <a:lnTo>
                    <a:pt x="18" y="678"/>
                  </a:lnTo>
                  <a:lnTo>
                    <a:pt x="24" y="672"/>
                  </a:lnTo>
                  <a:lnTo>
                    <a:pt x="30" y="666"/>
                  </a:lnTo>
                  <a:lnTo>
                    <a:pt x="42" y="648"/>
                  </a:lnTo>
                  <a:lnTo>
                    <a:pt x="66" y="648"/>
                  </a:lnTo>
                  <a:lnTo>
                    <a:pt x="108" y="648"/>
                  </a:lnTo>
                  <a:lnTo>
                    <a:pt x="174" y="642"/>
                  </a:lnTo>
                  <a:lnTo>
                    <a:pt x="216" y="636"/>
                  </a:lnTo>
                  <a:lnTo>
                    <a:pt x="240" y="630"/>
                  </a:lnTo>
                  <a:lnTo>
                    <a:pt x="246" y="618"/>
                  </a:lnTo>
                  <a:lnTo>
                    <a:pt x="264" y="600"/>
                  </a:lnTo>
                  <a:lnTo>
                    <a:pt x="294" y="582"/>
                  </a:lnTo>
                  <a:lnTo>
                    <a:pt x="318" y="552"/>
                  </a:lnTo>
                  <a:lnTo>
                    <a:pt x="330" y="546"/>
                  </a:lnTo>
                  <a:lnTo>
                    <a:pt x="348" y="510"/>
                  </a:lnTo>
                  <a:lnTo>
                    <a:pt x="372" y="474"/>
                  </a:lnTo>
                  <a:lnTo>
                    <a:pt x="384" y="444"/>
                  </a:lnTo>
                  <a:lnTo>
                    <a:pt x="396" y="420"/>
                  </a:lnTo>
                  <a:lnTo>
                    <a:pt x="402" y="378"/>
                  </a:lnTo>
                  <a:lnTo>
                    <a:pt x="402" y="228"/>
                  </a:lnTo>
                  <a:lnTo>
                    <a:pt x="414" y="186"/>
                  </a:lnTo>
                  <a:lnTo>
                    <a:pt x="432" y="138"/>
                  </a:lnTo>
                  <a:lnTo>
                    <a:pt x="438" y="114"/>
                  </a:lnTo>
                  <a:lnTo>
                    <a:pt x="444" y="96"/>
                  </a:lnTo>
                  <a:lnTo>
                    <a:pt x="462" y="84"/>
                  </a:lnTo>
                  <a:lnTo>
                    <a:pt x="474" y="78"/>
                  </a:lnTo>
                  <a:lnTo>
                    <a:pt x="492" y="72"/>
                  </a:lnTo>
                  <a:lnTo>
                    <a:pt x="492" y="66"/>
                  </a:lnTo>
                  <a:lnTo>
                    <a:pt x="498" y="66"/>
                  </a:lnTo>
                  <a:lnTo>
                    <a:pt x="510" y="66"/>
                  </a:lnTo>
                  <a:lnTo>
                    <a:pt x="510" y="72"/>
                  </a:lnTo>
                  <a:lnTo>
                    <a:pt x="516" y="72"/>
                  </a:lnTo>
                  <a:lnTo>
                    <a:pt x="522" y="78"/>
                  </a:lnTo>
                  <a:lnTo>
                    <a:pt x="546" y="78"/>
                  </a:lnTo>
                  <a:lnTo>
                    <a:pt x="552" y="60"/>
                  </a:lnTo>
                  <a:lnTo>
                    <a:pt x="570" y="42"/>
                  </a:lnTo>
                  <a:lnTo>
                    <a:pt x="576" y="24"/>
                  </a:lnTo>
                  <a:lnTo>
                    <a:pt x="588" y="18"/>
                  </a:lnTo>
                  <a:lnTo>
                    <a:pt x="588" y="12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624" y="0"/>
                  </a:lnTo>
                  <a:lnTo>
                    <a:pt x="636" y="6"/>
                  </a:lnTo>
                  <a:lnTo>
                    <a:pt x="648" y="24"/>
                  </a:lnTo>
                  <a:lnTo>
                    <a:pt x="654" y="48"/>
                  </a:lnTo>
                  <a:lnTo>
                    <a:pt x="672" y="60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0" y="72"/>
                  </a:lnTo>
                  <a:lnTo>
                    <a:pt x="690" y="78"/>
                  </a:lnTo>
                  <a:lnTo>
                    <a:pt x="696" y="90"/>
                  </a:lnTo>
                  <a:lnTo>
                    <a:pt x="714" y="114"/>
                  </a:lnTo>
                  <a:lnTo>
                    <a:pt x="714" y="120"/>
                  </a:lnTo>
                  <a:lnTo>
                    <a:pt x="720" y="132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20" y="150"/>
                  </a:lnTo>
                  <a:lnTo>
                    <a:pt x="714" y="150"/>
                  </a:lnTo>
                  <a:lnTo>
                    <a:pt x="714" y="156"/>
                  </a:lnTo>
                  <a:lnTo>
                    <a:pt x="714" y="162"/>
                  </a:lnTo>
                  <a:lnTo>
                    <a:pt x="708" y="162"/>
                  </a:lnTo>
                  <a:lnTo>
                    <a:pt x="708" y="168"/>
                  </a:lnTo>
                  <a:lnTo>
                    <a:pt x="702" y="168"/>
                  </a:lnTo>
                  <a:lnTo>
                    <a:pt x="702" y="174"/>
                  </a:lnTo>
                  <a:lnTo>
                    <a:pt x="702" y="180"/>
                  </a:lnTo>
                  <a:lnTo>
                    <a:pt x="708" y="180"/>
                  </a:lnTo>
                  <a:lnTo>
                    <a:pt x="708" y="186"/>
                  </a:lnTo>
                  <a:lnTo>
                    <a:pt x="708" y="192"/>
                  </a:lnTo>
                  <a:lnTo>
                    <a:pt x="714" y="204"/>
                  </a:lnTo>
                  <a:lnTo>
                    <a:pt x="726" y="216"/>
                  </a:lnTo>
                  <a:lnTo>
                    <a:pt x="738" y="216"/>
                  </a:lnTo>
                  <a:lnTo>
                    <a:pt x="768" y="222"/>
                  </a:lnTo>
                  <a:lnTo>
                    <a:pt x="780" y="216"/>
                  </a:lnTo>
                  <a:lnTo>
                    <a:pt x="792" y="204"/>
                  </a:lnTo>
                  <a:lnTo>
                    <a:pt x="798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6" y="192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6" y="174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22" y="156"/>
                  </a:lnTo>
                  <a:lnTo>
                    <a:pt x="822" y="150"/>
                  </a:lnTo>
                  <a:lnTo>
                    <a:pt x="828" y="144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8" y="138"/>
                  </a:lnTo>
                  <a:lnTo>
                    <a:pt x="834" y="132"/>
                  </a:lnTo>
                  <a:lnTo>
                    <a:pt x="840" y="132"/>
                  </a:lnTo>
                  <a:lnTo>
                    <a:pt x="864" y="126"/>
                  </a:lnTo>
                  <a:lnTo>
                    <a:pt x="906" y="144"/>
                  </a:lnTo>
                  <a:lnTo>
                    <a:pt x="906" y="150"/>
                  </a:lnTo>
                  <a:lnTo>
                    <a:pt x="906" y="156"/>
                  </a:lnTo>
                  <a:lnTo>
                    <a:pt x="900" y="162"/>
                  </a:lnTo>
                  <a:lnTo>
                    <a:pt x="924" y="168"/>
                  </a:lnTo>
                  <a:lnTo>
                    <a:pt x="942" y="192"/>
                  </a:lnTo>
                  <a:lnTo>
                    <a:pt x="972" y="210"/>
                  </a:lnTo>
                  <a:lnTo>
                    <a:pt x="972" y="216"/>
                  </a:lnTo>
                  <a:lnTo>
                    <a:pt x="972" y="228"/>
                  </a:lnTo>
                  <a:lnTo>
                    <a:pt x="978" y="234"/>
                  </a:lnTo>
                  <a:lnTo>
                    <a:pt x="978" y="246"/>
                  </a:lnTo>
                  <a:lnTo>
                    <a:pt x="984" y="252"/>
                  </a:lnTo>
                  <a:lnTo>
                    <a:pt x="1014" y="252"/>
                  </a:lnTo>
                  <a:lnTo>
                    <a:pt x="1020" y="228"/>
                  </a:lnTo>
                  <a:lnTo>
                    <a:pt x="1026" y="198"/>
                  </a:lnTo>
                  <a:lnTo>
                    <a:pt x="1050" y="186"/>
                  </a:lnTo>
                  <a:lnTo>
                    <a:pt x="1056" y="180"/>
                  </a:lnTo>
                  <a:lnTo>
                    <a:pt x="1050" y="174"/>
                  </a:lnTo>
                  <a:lnTo>
                    <a:pt x="1050" y="168"/>
                  </a:lnTo>
                  <a:lnTo>
                    <a:pt x="1050" y="162"/>
                  </a:lnTo>
                  <a:lnTo>
                    <a:pt x="1056" y="162"/>
                  </a:lnTo>
                  <a:lnTo>
                    <a:pt x="1062" y="162"/>
                  </a:lnTo>
                  <a:lnTo>
                    <a:pt x="1074" y="162"/>
                  </a:lnTo>
                  <a:lnTo>
                    <a:pt x="1074" y="144"/>
                  </a:lnTo>
                  <a:lnTo>
                    <a:pt x="1074" y="120"/>
                  </a:lnTo>
                  <a:lnTo>
                    <a:pt x="1092" y="120"/>
                  </a:lnTo>
                  <a:lnTo>
                    <a:pt x="1098" y="126"/>
                  </a:lnTo>
                  <a:lnTo>
                    <a:pt x="1134" y="132"/>
                  </a:lnTo>
                  <a:lnTo>
                    <a:pt x="1146" y="132"/>
                  </a:lnTo>
                  <a:lnTo>
                    <a:pt x="1158" y="150"/>
                  </a:lnTo>
                  <a:lnTo>
                    <a:pt x="1158" y="156"/>
                  </a:lnTo>
                  <a:lnTo>
                    <a:pt x="1158" y="162"/>
                  </a:lnTo>
                  <a:lnTo>
                    <a:pt x="1158" y="180"/>
                  </a:lnTo>
                  <a:lnTo>
                    <a:pt x="1158" y="186"/>
                  </a:lnTo>
                  <a:lnTo>
                    <a:pt x="1164" y="192"/>
                  </a:lnTo>
                  <a:lnTo>
                    <a:pt x="1176" y="198"/>
                  </a:lnTo>
                  <a:lnTo>
                    <a:pt x="1182" y="198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8"/>
                  </a:lnTo>
                  <a:lnTo>
                    <a:pt x="1188" y="234"/>
                  </a:lnTo>
                  <a:lnTo>
                    <a:pt x="1212" y="234"/>
                  </a:lnTo>
                  <a:lnTo>
                    <a:pt x="1242" y="234"/>
                  </a:lnTo>
                  <a:lnTo>
                    <a:pt x="1248" y="234"/>
                  </a:lnTo>
                  <a:lnTo>
                    <a:pt x="1278" y="240"/>
                  </a:lnTo>
                  <a:lnTo>
                    <a:pt x="1320" y="234"/>
                  </a:lnTo>
                  <a:lnTo>
                    <a:pt x="1332" y="228"/>
                  </a:lnTo>
                  <a:lnTo>
                    <a:pt x="1344" y="228"/>
                  </a:lnTo>
                  <a:lnTo>
                    <a:pt x="1350" y="234"/>
                  </a:lnTo>
                  <a:lnTo>
                    <a:pt x="1350" y="240"/>
                  </a:lnTo>
                  <a:lnTo>
                    <a:pt x="1356" y="246"/>
                  </a:lnTo>
                  <a:lnTo>
                    <a:pt x="1350" y="252"/>
                  </a:lnTo>
                  <a:lnTo>
                    <a:pt x="1356" y="264"/>
                  </a:lnTo>
                  <a:lnTo>
                    <a:pt x="1356" y="270"/>
                  </a:lnTo>
                  <a:lnTo>
                    <a:pt x="1356" y="276"/>
                  </a:lnTo>
                  <a:lnTo>
                    <a:pt x="1356" y="282"/>
                  </a:lnTo>
                  <a:lnTo>
                    <a:pt x="1356" y="288"/>
                  </a:lnTo>
                  <a:lnTo>
                    <a:pt x="1350" y="294"/>
                  </a:lnTo>
                  <a:lnTo>
                    <a:pt x="1344" y="300"/>
                  </a:lnTo>
                  <a:lnTo>
                    <a:pt x="1344" y="306"/>
                  </a:lnTo>
                  <a:lnTo>
                    <a:pt x="1338" y="312"/>
                  </a:lnTo>
                  <a:lnTo>
                    <a:pt x="1326" y="342"/>
                  </a:lnTo>
                  <a:lnTo>
                    <a:pt x="1320" y="348"/>
                  </a:lnTo>
                  <a:lnTo>
                    <a:pt x="1314" y="354"/>
                  </a:lnTo>
                  <a:lnTo>
                    <a:pt x="1290" y="354"/>
                  </a:lnTo>
                  <a:lnTo>
                    <a:pt x="1284" y="360"/>
                  </a:lnTo>
                  <a:lnTo>
                    <a:pt x="1278" y="378"/>
                  </a:lnTo>
                  <a:lnTo>
                    <a:pt x="1278" y="384"/>
                  </a:lnTo>
                  <a:lnTo>
                    <a:pt x="1272" y="390"/>
                  </a:lnTo>
                  <a:lnTo>
                    <a:pt x="1266" y="396"/>
                  </a:lnTo>
                  <a:lnTo>
                    <a:pt x="1260" y="396"/>
                  </a:lnTo>
                  <a:lnTo>
                    <a:pt x="1248" y="402"/>
                  </a:lnTo>
                  <a:lnTo>
                    <a:pt x="1242" y="408"/>
                  </a:lnTo>
                  <a:lnTo>
                    <a:pt x="1242" y="414"/>
                  </a:lnTo>
                  <a:lnTo>
                    <a:pt x="1242" y="420"/>
                  </a:lnTo>
                  <a:lnTo>
                    <a:pt x="1236" y="432"/>
                  </a:lnTo>
                  <a:lnTo>
                    <a:pt x="1242" y="432"/>
                  </a:lnTo>
                  <a:lnTo>
                    <a:pt x="1242" y="444"/>
                  </a:lnTo>
                  <a:lnTo>
                    <a:pt x="1242" y="456"/>
                  </a:lnTo>
                  <a:lnTo>
                    <a:pt x="1248" y="456"/>
                  </a:lnTo>
                  <a:lnTo>
                    <a:pt x="1254" y="462"/>
                  </a:lnTo>
                  <a:lnTo>
                    <a:pt x="1248" y="468"/>
                  </a:lnTo>
                  <a:lnTo>
                    <a:pt x="1254" y="468"/>
                  </a:lnTo>
                  <a:lnTo>
                    <a:pt x="1266" y="474"/>
                  </a:lnTo>
                  <a:lnTo>
                    <a:pt x="1266" y="480"/>
                  </a:lnTo>
                  <a:lnTo>
                    <a:pt x="1266" y="486"/>
                  </a:lnTo>
                  <a:lnTo>
                    <a:pt x="1272" y="486"/>
                  </a:lnTo>
                  <a:lnTo>
                    <a:pt x="1272" y="492"/>
                  </a:lnTo>
                  <a:lnTo>
                    <a:pt x="1290" y="510"/>
                  </a:lnTo>
                  <a:lnTo>
                    <a:pt x="1296" y="516"/>
                  </a:lnTo>
                  <a:lnTo>
                    <a:pt x="1302" y="540"/>
                  </a:lnTo>
                  <a:lnTo>
                    <a:pt x="1302" y="546"/>
                  </a:lnTo>
                  <a:lnTo>
                    <a:pt x="1302" y="558"/>
                  </a:lnTo>
                  <a:lnTo>
                    <a:pt x="1302" y="570"/>
                  </a:lnTo>
                  <a:lnTo>
                    <a:pt x="1302" y="576"/>
                  </a:lnTo>
                  <a:lnTo>
                    <a:pt x="1344" y="570"/>
                  </a:lnTo>
                  <a:lnTo>
                    <a:pt x="1350" y="582"/>
                  </a:lnTo>
                  <a:lnTo>
                    <a:pt x="1368" y="594"/>
                  </a:lnTo>
                  <a:lnTo>
                    <a:pt x="1374" y="600"/>
                  </a:lnTo>
                  <a:lnTo>
                    <a:pt x="1380" y="600"/>
                  </a:lnTo>
                  <a:lnTo>
                    <a:pt x="1380" y="618"/>
                  </a:lnTo>
                  <a:lnTo>
                    <a:pt x="1386" y="624"/>
                  </a:lnTo>
                  <a:lnTo>
                    <a:pt x="1404" y="624"/>
                  </a:lnTo>
                  <a:lnTo>
                    <a:pt x="1410" y="612"/>
                  </a:lnTo>
                  <a:lnTo>
                    <a:pt x="1428" y="606"/>
                  </a:lnTo>
                  <a:lnTo>
                    <a:pt x="1488" y="606"/>
                  </a:lnTo>
                  <a:lnTo>
                    <a:pt x="1506" y="606"/>
                  </a:lnTo>
                  <a:lnTo>
                    <a:pt x="1512" y="600"/>
                  </a:lnTo>
                  <a:lnTo>
                    <a:pt x="1524" y="594"/>
                  </a:lnTo>
                  <a:lnTo>
                    <a:pt x="1554" y="594"/>
                  </a:lnTo>
                  <a:lnTo>
                    <a:pt x="1578" y="606"/>
                  </a:lnTo>
                  <a:lnTo>
                    <a:pt x="1596" y="624"/>
                  </a:lnTo>
                  <a:lnTo>
                    <a:pt x="1650" y="642"/>
                  </a:lnTo>
                  <a:lnTo>
                    <a:pt x="1686" y="648"/>
                  </a:lnTo>
                  <a:lnTo>
                    <a:pt x="1698" y="654"/>
                  </a:lnTo>
                  <a:lnTo>
                    <a:pt x="1698" y="660"/>
                  </a:lnTo>
                  <a:lnTo>
                    <a:pt x="1692" y="666"/>
                  </a:lnTo>
                  <a:lnTo>
                    <a:pt x="1692" y="672"/>
                  </a:lnTo>
                  <a:lnTo>
                    <a:pt x="1698" y="678"/>
                  </a:lnTo>
                  <a:lnTo>
                    <a:pt x="1698" y="684"/>
                  </a:lnTo>
                  <a:lnTo>
                    <a:pt x="1692" y="684"/>
                  </a:lnTo>
                  <a:lnTo>
                    <a:pt x="1692" y="690"/>
                  </a:lnTo>
                  <a:lnTo>
                    <a:pt x="1698" y="696"/>
                  </a:lnTo>
                  <a:lnTo>
                    <a:pt x="1698" y="702"/>
                  </a:lnTo>
                  <a:lnTo>
                    <a:pt x="1698" y="708"/>
                  </a:lnTo>
                  <a:lnTo>
                    <a:pt x="1704" y="714"/>
                  </a:lnTo>
                  <a:lnTo>
                    <a:pt x="1704" y="720"/>
                  </a:lnTo>
                  <a:lnTo>
                    <a:pt x="1704" y="726"/>
                  </a:lnTo>
                  <a:lnTo>
                    <a:pt x="1704" y="732"/>
                  </a:lnTo>
                  <a:lnTo>
                    <a:pt x="1704" y="738"/>
                  </a:lnTo>
                  <a:lnTo>
                    <a:pt x="1698" y="726"/>
                  </a:lnTo>
                  <a:lnTo>
                    <a:pt x="1668" y="720"/>
                  </a:lnTo>
                  <a:lnTo>
                    <a:pt x="1626" y="714"/>
                  </a:lnTo>
                  <a:lnTo>
                    <a:pt x="1614" y="708"/>
                  </a:lnTo>
                  <a:lnTo>
                    <a:pt x="1578" y="696"/>
                  </a:lnTo>
                  <a:lnTo>
                    <a:pt x="1566" y="696"/>
                  </a:lnTo>
                  <a:lnTo>
                    <a:pt x="1548" y="702"/>
                  </a:lnTo>
                  <a:lnTo>
                    <a:pt x="1542" y="714"/>
                  </a:lnTo>
                  <a:lnTo>
                    <a:pt x="1536" y="732"/>
                  </a:lnTo>
                  <a:lnTo>
                    <a:pt x="1530" y="750"/>
                  </a:lnTo>
                  <a:lnTo>
                    <a:pt x="1536" y="750"/>
                  </a:lnTo>
                  <a:lnTo>
                    <a:pt x="1542" y="756"/>
                  </a:lnTo>
                  <a:lnTo>
                    <a:pt x="1542" y="762"/>
                  </a:lnTo>
                  <a:lnTo>
                    <a:pt x="1548" y="762"/>
                  </a:lnTo>
                  <a:lnTo>
                    <a:pt x="1554" y="762"/>
                  </a:lnTo>
                  <a:lnTo>
                    <a:pt x="1554" y="768"/>
                  </a:lnTo>
                  <a:lnTo>
                    <a:pt x="1560" y="774"/>
                  </a:lnTo>
                  <a:lnTo>
                    <a:pt x="1566" y="774"/>
                  </a:lnTo>
                  <a:lnTo>
                    <a:pt x="1584" y="792"/>
                  </a:lnTo>
                  <a:lnTo>
                    <a:pt x="1584" y="810"/>
                  </a:lnTo>
                  <a:lnTo>
                    <a:pt x="1572" y="816"/>
                  </a:lnTo>
                  <a:lnTo>
                    <a:pt x="1578" y="834"/>
                  </a:lnTo>
                  <a:lnTo>
                    <a:pt x="1578" y="846"/>
                  </a:lnTo>
                  <a:lnTo>
                    <a:pt x="1584" y="858"/>
                  </a:lnTo>
                  <a:lnTo>
                    <a:pt x="1590" y="864"/>
                  </a:lnTo>
                  <a:lnTo>
                    <a:pt x="1590" y="876"/>
                  </a:lnTo>
                  <a:lnTo>
                    <a:pt x="1578" y="888"/>
                  </a:lnTo>
                  <a:lnTo>
                    <a:pt x="1560" y="906"/>
                  </a:lnTo>
                  <a:lnTo>
                    <a:pt x="1536" y="930"/>
                  </a:lnTo>
                  <a:lnTo>
                    <a:pt x="1530" y="930"/>
                  </a:lnTo>
                  <a:lnTo>
                    <a:pt x="1506" y="942"/>
                  </a:lnTo>
                  <a:lnTo>
                    <a:pt x="1488" y="948"/>
                  </a:lnTo>
                  <a:lnTo>
                    <a:pt x="1476" y="954"/>
                  </a:lnTo>
                  <a:lnTo>
                    <a:pt x="1458" y="960"/>
                  </a:lnTo>
                  <a:lnTo>
                    <a:pt x="1452" y="966"/>
                  </a:lnTo>
                  <a:lnTo>
                    <a:pt x="1446" y="966"/>
                  </a:lnTo>
                  <a:lnTo>
                    <a:pt x="1434" y="972"/>
                  </a:lnTo>
                  <a:lnTo>
                    <a:pt x="1434" y="954"/>
                  </a:lnTo>
                  <a:lnTo>
                    <a:pt x="1422" y="942"/>
                  </a:lnTo>
                  <a:lnTo>
                    <a:pt x="1398" y="924"/>
                  </a:lnTo>
                  <a:lnTo>
                    <a:pt x="1398" y="912"/>
                  </a:lnTo>
                  <a:lnTo>
                    <a:pt x="1398" y="906"/>
                  </a:lnTo>
                  <a:lnTo>
                    <a:pt x="1398" y="900"/>
                  </a:lnTo>
                  <a:lnTo>
                    <a:pt x="1380" y="900"/>
                  </a:lnTo>
                  <a:lnTo>
                    <a:pt x="1380" y="894"/>
                  </a:lnTo>
                  <a:lnTo>
                    <a:pt x="1368" y="888"/>
                  </a:lnTo>
                  <a:lnTo>
                    <a:pt x="1362" y="882"/>
                  </a:lnTo>
                  <a:lnTo>
                    <a:pt x="1356" y="876"/>
                  </a:lnTo>
                  <a:lnTo>
                    <a:pt x="1350" y="864"/>
                  </a:lnTo>
                  <a:lnTo>
                    <a:pt x="1344" y="858"/>
                  </a:lnTo>
                  <a:lnTo>
                    <a:pt x="1314" y="870"/>
                  </a:lnTo>
                  <a:lnTo>
                    <a:pt x="1272" y="876"/>
                  </a:lnTo>
                  <a:lnTo>
                    <a:pt x="1218" y="870"/>
                  </a:lnTo>
                  <a:lnTo>
                    <a:pt x="1200" y="864"/>
                  </a:lnTo>
                  <a:lnTo>
                    <a:pt x="1182" y="864"/>
                  </a:lnTo>
                  <a:lnTo>
                    <a:pt x="1134" y="858"/>
                  </a:lnTo>
                  <a:lnTo>
                    <a:pt x="1110" y="840"/>
                  </a:lnTo>
                  <a:lnTo>
                    <a:pt x="1086" y="828"/>
                  </a:lnTo>
                  <a:lnTo>
                    <a:pt x="1044" y="816"/>
                  </a:lnTo>
                  <a:lnTo>
                    <a:pt x="1014" y="816"/>
                  </a:lnTo>
                  <a:lnTo>
                    <a:pt x="990" y="822"/>
                  </a:lnTo>
                  <a:lnTo>
                    <a:pt x="948" y="858"/>
                  </a:lnTo>
                  <a:lnTo>
                    <a:pt x="930" y="864"/>
                  </a:lnTo>
                  <a:lnTo>
                    <a:pt x="924" y="876"/>
                  </a:lnTo>
                  <a:lnTo>
                    <a:pt x="918" y="906"/>
                  </a:lnTo>
                  <a:lnTo>
                    <a:pt x="924" y="930"/>
                  </a:lnTo>
                  <a:lnTo>
                    <a:pt x="948" y="984"/>
                  </a:lnTo>
                  <a:lnTo>
                    <a:pt x="954" y="1008"/>
                  </a:lnTo>
                  <a:lnTo>
                    <a:pt x="948" y="1014"/>
                  </a:lnTo>
                  <a:lnTo>
                    <a:pt x="954" y="1014"/>
                  </a:lnTo>
                  <a:lnTo>
                    <a:pt x="954" y="1032"/>
                  </a:lnTo>
                  <a:lnTo>
                    <a:pt x="966" y="1044"/>
                  </a:lnTo>
                  <a:lnTo>
                    <a:pt x="960" y="1056"/>
                  </a:lnTo>
                  <a:lnTo>
                    <a:pt x="954" y="1056"/>
                  </a:lnTo>
                  <a:lnTo>
                    <a:pt x="948" y="1056"/>
                  </a:lnTo>
                  <a:lnTo>
                    <a:pt x="942" y="1056"/>
                  </a:lnTo>
                  <a:lnTo>
                    <a:pt x="936" y="1050"/>
                  </a:lnTo>
                  <a:lnTo>
                    <a:pt x="930" y="1044"/>
                  </a:lnTo>
                  <a:lnTo>
                    <a:pt x="924" y="1044"/>
                  </a:lnTo>
                  <a:lnTo>
                    <a:pt x="918" y="1038"/>
                  </a:lnTo>
                  <a:lnTo>
                    <a:pt x="912" y="1038"/>
                  </a:lnTo>
                  <a:lnTo>
                    <a:pt x="906" y="1032"/>
                  </a:lnTo>
                  <a:lnTo>
                    <a:pt x="900" y="1032"/>
                  </a:lnTo>
                  <a:lnTo>
                    <a:pt x="888" y="1026"/>
                  </a:lnTo>
                  <a:lnTo>
                    <a:pt x="882" y="1026"/>
                  </a:lnTo>
                  <a:lnTo>
                    <a:pt x="876" y="1026"/>
                  </a:lnTo>
                  <a:lnTo>
                    <a:pt x="864" y="1014"/>
                  </a:lnTo>
                  <a:lnTo>
                    <a:pt x="846" y="1008"/>
                  </a:lnTo>
                  <a:lnTo>
                    <a:pt x="840" y="996"/>
                  </a:lnTo>
                  <a:lnTo>
                    <a:pt x="840" y="990"/>
                  </a:lnTo>
                  <a:lnTo>
                    <a:pt x="834" y="990"/>
                  </a:lnTo>
                  <a:lnTo>
                    <a:pt x="828" y="990"/>
                  </a:lnTo>
                  <a:lnTo>
                    <a:pt x="816" y="990"/>
                  </a:lnTo>
                  <a:lnTo>
                    <a:pt x="810" y="990"/>
                  </a:lnTo>
                  <a:lnTo>
                    <a:pt x="804" y="984"/>
                  </a:lnTo>
                  <a:lnTo>
                    <a:pt x="792" y="978"/>
                  </a:lnTo>
                  <a:lnTo>
                    <a:pt x="786" y="972"/>
                  </a:lnTo>
                  <a:lnTo>
                    <a:pt x="780" y="972"/>
                  </a:lnTo>
                  <a:lnTo>
                    <a:pt x="768" y="966"/>
                  </a:lnTo>
                  <a:lnTo>
                    <a:pt x="762" y="966"/>
                  </a:lnTo>
                  <a:lnTo>
                    <a:pt x="756" y="966"/>
                  </a:lnTo>
                  <a:lnTo>
                    <a:pt x="750" y="966"/>
                  </a:lnTo>
                  <a:lnTo>
                    <a:pt x="744" y="966"/>
                  </a:lnTo>
                  <a:lnTo>
                    <a:pt x="738" y="960"/>
                  </a:lnTo>
                  <a:lnTo>
                    <a:pt x="732" y="954"/>
                  </a:lnTo>
                  <a:lnTo>
                    <a:pt x="720" y="954"/>
                  </a:lnTo>
                  <a:lnTo>
                    <a:pt x="714" y="948"/>
                  </a:lnTo>
                  <a:lnTo>
                    <a:pt x="708" y="948"/>
                  </a:lnTo>
                  <a:lnTo>
                    <a:pt x="696" y="948"/>
                  </a:lnTo>
                  <a:lnTo>
                    <a:pt x="684" y="942"/>
                  </a:lnTo>
                  <a:lnTo>
                    <a:pt x="678" y="936"/>
                  </a:lnTo>
                  <a:lnTo>
                    <a:pt x="660" y="930"/>
                  </a:lnTo>
                  <a:lnTo>
                    <a:pt x="642" y="924"/>
                  </a:lnTo>
                  <a:lnTo>
                    <a:pt x="636" y="924"/>
                  </a:lnTo>
                  <a:lnTo>
                    <a:pt x="630" y="924"/>
                  </a:lnTo>
                  <a:lnTo>
                    <a:pt x="618" y="924"/>
                  </a:lnTo>
                  <a:lnTo>
                    <a:pt x="618" y="918"/>
                  </a:lnTo>
                  <a:lnTo>
                    <a:pt x="606" y="918"/>
                  </a:lnTo>
                  <a:lnTo>
                    <a:pt x="600" y="918"/>
                  </a:lnTo>
                  <a:lnTo>
                    <a:pt x="594" y="918"/>
                  </a:lnTo>
                  <a:lnTo>
                    <a:pt x="594" y="912"/>
                  </a:lnTo>
                  <a:lnTo>
                    <a:pt x="588" y="912"/>
                  </a:lnTo>
                  <a:lnTo>
                    <a:pt x="582" y="912"/>
                  </a:lnTo>
                  <a:lnTo>
                    <a:pt x="582" y="918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58" y="918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12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00"/>
                  </a:lnTo>
                  <a:lnTo>
                    <a:pt x="516" y="900"/>
                  </a:lnTo>
                  <a:lnTo>
                    <a:pt x="510" y="900"/>
                  </a:lnTo>
                  <a:lnTo>
                    <a:pt x="486" y="894"/>
                  </a:lnTo>
                  <a:lnTo>
                    <a:pt x="474" y="888"/>
                  </a:lnTo>
                  <a:lnTo>
                    <a:pt x="468" y="888"/>
                  </a:lnTo>
                  <a:lnTo>
                    <a:pt x="450" y="888"/>
                  </a:lnTo>
                  <a:close/>
                </a:path>
              </a:pathLst>
            </a:custGeom>
            <a:solidFill>
              <a:srgbClr val="2A4F1D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0" name="Freeform 15">
              <a:extLst>
                <a:ext uri="{FF2B5EF4-FFF2-40B4-BE49-F238E27FC236}">
                  <a16:creationId xmlns:a16="http://schemas.microsoft.com/office/drawing/2014/main" id="{8B991D7A-45C6-40F6-A035-24DFC733305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382" y="2652043"/>
              <a:ext cx="724526" cy="695552"/>
            </a:xfrm>
            <a:custGeom>
              <a:avLst/>
              <a:gdLst>
                <a:gd name="T0" fmla="*/ 44 w 1362"/>
                <a:gd name="T1" fmla="*/ 106 h 1308"/>
                <a:gd name="T2" fmla="*/ 32 w 1362"/>
                <a:gd name="T3" fmla="*/ 109 h 1308"/>
                <a:gd name="T4" fmla="*/ 25 w 1362"/>
                <a:gd name="T5" fmla="*/ 105 h 1308"/>
                <a:gd name="T6" fmla="*/ 22 w 1362"/>
                <a:gd name="T7" fmla="*/ 97 h 1308"/>
                <a:gd name="T8" fmla="*/ 21 w 1362"/>
                <a:gd name="T9" fmla="*/ 95 h 1308"/>
                <a:gd name="T10" fmla="*/ 20 w 1362"/>
                <a:gd name="T11" fmla="*/ 90 h 1308"/>
                <a:gd name="T12" fmla="*/ 23 w 1362"/>
                <a:gd name="T13" fmla="*/ 87 h 1308"/>
                <a:gd name="T14" fmla="*/ 29 w 1362"/>
                <a:gd name="T15" fmla="*/ 81 h 1308"/>
                <a:gd name="T16" fmla="*/ 30 w 1362"/>
                <a:gd name="T17" fmla="*/ 78 h 1308"/>
                <a:gd name="T18" fmla="*/ 27 w 1362"/>
                <a:gd name="T19" fmla="*/ 75 h 1308"/>
                <a:gd name="T20" fmla="*/ 15 w 1362"/>
                <a:gd name="T21" fmla="*/ 73 h 1308"/>
                <a:gd name="T22" fmla="*/ 12 w 1362"/>
                <a:gd name="T23" fmla="*/ 69 h 1308"/>
                <a:gd name="T24" fmla="*/ 5 w 1362"/>
                <a:gd name="T25" fmla="*/ 65 h 1308"/>
                <a:gd name="T26" fmla="*/ 6 w 1362"/>
                <a:gd name="T27" fmla="*/ 62 h 1308"/>
                <a:gd name="T28" fmla="*/ 7 w 1362"/>
                <a:gd name="T29" fmla="*/ 56 h 1308"/>
                <a:gd name="T30" fmla="*/ 2 w 1362"/>
                <a:gd name="T31" fmla="*/ 49 h 1308"/>
                <a:gd name="T32" fmla="*/ 0 w 1362"/>
                <a:gd name="T33" fmla="*/ 44 h 1308"/>
                <a:gd name="T34" fmla="*/ 0 w 1362"/>
                <a:gd name="T35" fmla="*/ 39 h 1308"/>
                <a:gd name="T36" fmla="*/ 3 w 1362"/>
                <a:gd name="T37" fmla="*/ 35 h 1308"/>
                <a:gd name="T38" fmla="*/ 3 w 1362"/>
                <a:gd name="T39" fmla="*/ 28 h 1308"/>
                <a:gd name="T40" fmla="*/ 6 w 1362"/>
                <a:gd name="T41" fmla="*/ 18 h 1308"/>
                <a:gd name="T42" fmla="*/ 6 w 1362"/>
                <a:gd name="T43" fmla="*/ 8 h 1308"/>
                <a:gd name="T44" fmla="*/ 10 w 1362"/>
                <a:gd name="T45" fmla="*/ 5 h 1308"/>
                <a:gd name="T46" fmla="*/ 15 w 1362"/>
                <a:gd name="T47" fmla="*/ 0 h 1308"/>
                <a:gd name="T48" fmla="*/ 21 w 1362"/>
                <a:gd name="T49" fmla="*/ 7 h 1308"/>
                <a:gd name="T50" fmla="*/ 25 w 1362"/>
                <a:gd name="T51" fmla="*/ 15 h 1308"/>
                <a:gd name="T52" fmla="*/ 24 w 1362"/>
                <a:gd name="T53" fmla="*/ 19 h 1308"/>
                <a:gd name="T54" fmla="*/ 32 w 1362"/>
                <a:gd name="T55" fmla="*/ 19 h 1308"/>
                <a:gd name="T56" fmla="*/ 35 w 1362"/>
                <a:gd name="T57" fmla="*/ 20 h 1308"/>
                <a:gd name="T58" fmla="*/ 40 w 1362"/>
                <a:gd name="T59" fmla="*/ 23 h 1308"/>
                <a:gd name="T60" fmla="*/ 40 w 1362"/>
                <a:gd name="T61" fmla="*/ 26 h 1308"/>
                <a:gd name="T62" fmla="*/ 34 w 1362"/>
                <a:gd name="T63" fmla="*/ 35 h 1308"/>
                <a:gd name="T64" fmla="*/ 41 w 1362"/>
                <a:gd name="T65" fmla="*/ 37 h 1308"/>
                <a:gd name="T66" fmla="*/ 43 w 1362"/>
                <a:gd name="T67" fmla="*/ 44 h 1308"/>
                <a:gd name="T68" fmla="*/ 48 w 1362"/>
                <a:gd name="T69" fmla="*/ 47 h 1308"/>
                <a:gd name="T70" fmla="*/ 57 w 1362"/>
                <a:gd name="T71" fmla="*/ 48 h 1308"/>
                <a:gd name="T72" fmla="*/ 70 w 1362"/>
                <a:gd name="T73" fmla="*/ 44 h 1308"/>
                <a:gd name="T74" fmla="*/ 80 w 1362"/>
                <a:gd name="T75" fmla="*/ 34 h 1308"/>
                <a:gd name="T76" fmla="*/ 95 w 1362"/>
                <a:gd name="T77" fmla="*/ 41 h 1308"/>
                <a:gd name="T78" fmla="*/ 109 w 1362"/>
                <a:gd name="T79" fmla="*/ 47 h 1308"/>
                <a:gd name="T80" fmla="*/ 111 w 1362"/>
                <a:gd name="T81" fmla="*/ 50 h 1308"/>
                <a:gd name="T82" fmla="*/ 113 w 1362"/>
                <a:gd name="T83" fmla="*/ 53 h 1308"/>
                <a:gd name="T84" fmla="*/ 113 w 1362"/>
                <a:gd name="T85" fmla="*/ 55 h 1308"/>
                <a:gd name="T86" fmla="*/ 113 w 1362"/>
                <a:gd name="T87" fmla="*/ 59 h 1308"/>
                <a:gd name="T88" fmla="*/ 113 w 1362"/>
                <a:gd name="T89" fmla="*/ 62 h 1308"/>
                <a:gd name="T90" fmla="*/ 115 w 1362"/>
                <a:gd name="T91" fmla="*/ 65 h 1308"/>
                <a:gd name="T92" fmla="*/ 115 w 1362"/>
                <a:gd name="T93" fmla="*/ 67 h 1308"/>
                <a:gd name="T94" fmla="*/ 116 w 1362"/>
                <a:gd name="T95" fmla="*/ 69 h 1308"/>
                <a:gd name="T96" fmla="*/ 116 w 1362"/>
                <a:gd name="T97" fmla="*/ 71 h 1308"/>
                <a:gd name="T98" fmla="*/ 118 w 1362"/>
                <a:gd name="T99" fmla="*/ 75 h 1308"/>
                <a:gd name="T100" fmla="*/ 116 w 1362"/>
                <a:gd name="T101" fmla="*/ 77 h 1308"/>
                <a:gd name="T102" fmla="*/ 116 w 1362"/>
                <a:gd name="T103" fmla="*/ 79 h 1308"/>
                <a:gd name="T104" fmla="*/ 101 w 1362"/>
                <a:gd name="T105" fmla="*/ 87 h 1308"/>
                <a:gd name="T106" fmla="*/ 85 w 1362"/>
                <a:gd name="T107" fmla="*/ 103 h 1308"/>
                <a:gd name="T108" fmla="*/ 67 w 1362"/>
                <a:gd name="T109" fmla="*/ 114 h 130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62"/>
                <a:gd name="T166" fmla="*/ 0 h 1308"/>
                <a:gd name="T167" fmla="*/ 1362 w 1362"/>
                <a:gd name="T168" fmla="*/ 1308 h 130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62" h="1308">
                  <a:moveTo>
                    <a:pt x="684" y="1278"/>
                  </a:moveTo>
                  <a:lnTo>
                    <a:pt x="672" y="1272"/>
                  </a:lnTo>
                  <a:lnTo>
                    <a:pt x="636" y="1266"/>
                  </a:lnTo>
                  <a:lnTo>
                    <a:pt x="582" y="1248"/>
                  </a:lnTo>
                  <a:lnTo>
                    <a:pt x="564" y="1230"/>
                  </a:lnTo>
                  <a:lnTo>
                    <a:pt x="540" y="1218"/>
                  </a:lnTo>
                  <a:lnTo>
                    <a:pt x="510" y="1218"/>
                  </a:lnTo>
                  <a:lnTo>
                    <a:pt x="498" y="1224"/>
                  </a:lnTo>
                  <a:lnTo>
                    <a:pt x="492" y="1230"/>
                  </a:lnTo>
                  <a:lnTo>
                    <a:pt x="474" y="1230"/>
                  </a:lnTo>
                  <a:lnTo>
                    <a:pt x="414" y="1230"/>
                  </a:lnTo>
                  <a:lnTo>
                    <a:pt x="396" y="1236"/>
                  </a:lnTo>
                  <a:lnTo>
                    <a:pt x="390" y="1248"/>
                  </a:lnTo>
                  <a:lnTo>
                    <a:pt x="372" y="1248"/>
                  </a:lnTo>
                  <a:lnTo>
                    <a:pt x="366" y="1242"/>
                  </a:lnTo>
                  <a:lnTo>
                    <a:pt x="366" y="1224"/>
                  </a:lnTo>
                  <a:lnTo>
                    <a:pt x="360" y="1224"/>
                  </a:lnTo>
                  <a:lnTo>
                    <a:pt x="354" y="1218"/>
                  </a:lnTo>
                  <a:lnTo>
                    <a:pt x="336" y="1206"/>
                  </a:lnTo>
                  <a:lnTo>
                    <a:pt x="330" y="1194"/>
                  </a:lnTo>
                  <a:lnTo>
                    <a:pt x="288" y="1200"/>
                  </a:lnTo>
                  <a:lnTo>
                    <a:pt x="288" y="1194"/>
                  </a:lnTo>
                  <a:lnTo>
                    <a:pt x="288" y="1182"/>
                  </a:lnTo>
                  <a:lnTo>
                    <a:pt x="288" y="1170"/>
                  </a:lnTo>
                  <a:lnTo>
                    <a:pt x="288" y="1164"/>
                  </a:lnTo>
                  <a:lnTo>
                    <a:pt x="282" y="1140"/>
                  </a:lnTo>
                  <a:lnTo>
                    <a:pt x="276" y="1134"/>
                  </a:lnTo>
                  <a:lnTo>
                    <a:pt x="258" y="1116"/>
                  </a:lnTo>
                  <a:lnTo>
                    <a:pt x="258" y="1110"/>
                  </a:lnTo>
                  <a:lnTo>
                    <a:pt x="252" y="1110"/>
                  </a:lnTo>
                  <a:lnTo>
                    <a:pt x="252" y="1104"/>
                  </a:lnTo>
                  <a:lnTo>
                    <a:pt x="252" y="1098"/>
                  </a:lnTo>
                  <a:lnTo>
                    <a:pt x="240" y="1092"/>
                  </a:lnTo>
                  <a:lnTo>
                    <a:pt x="234" y="1092"/>
                  </a:lnTo>
                  <a:lnTo>
                    <a:pt x="240" y="1086"/>
                  </a:lnTo>
                  <a:lnTo>
                    <a:pt x="234" y="1080"/>
                  </a:lnTo>
                  <a:lnTo>
                    <a:pt x="228" y="1080"/>
                  </a:lnTo>
                  <a:lnTo>
                    <a:pt x="228" y="1068"/>
                  </a:lnTo>
                  <a:lnTo>
                    <a:pt x="228" y="1056"/>
                  </a:lnTo>
                  <a:lnTo>
                    <a:pt x="222" y="1056"/>
                  </a:lnTo>
                  <a:lnTo>
                    <a:pt x="228" y="1044"/>
                  </a:lnTo>
                  <a:lnTo>
                    <a:pt x="228" y="1038"/>
                  </a:lnTo>
                  <a:lnTo>
                    <a:pt x="228" y="1032"/>
                  </a:lnTo>
                  <a:lnTo>
                    <a:pt x="234" y="1026"/>
                  </a:lnTo>
                  <a:lnTo>
                    <a:pt x="246" y="1020"/>
                  </a:lnTo>
                  <a:lnTo>
                    <a:pt x="252" y="1020"/>
                  </a:lnTo>
                  <a:lnTo>
                    <a:pt x="258" y="1014"/>
                  </a:lnTo>
                  <a:lnTo>
                    <a:pt x="264" y="1008"/>
                  </a:lnTo>
                  <a:lnTo>
                    <a:pt x="264" y="1002"/>
                  </a:lnTo>
                  <a:lnTo>
                    <a:pt x="270" y="984"/>
                  </a:lnTo>
                  <a:lnTo>
                    <a:pt x="276" y="978"/>
                  </a:lnTo>
                  <a:lnTo>
                    <a:pt x="300" y="978"/>
                  </a:lnTo>
                  <a:lnTo>
                    <a:pt x="306" y="972"/>
                  </a:lnTo>
                  <a:lnTo>
                    <a:pt x="312" y="966"/>
                  </a:lnTo>
                  <a:lnTo>
                    <a:pt x="324" y="936"/>
                  </a:lnTo>
                  <a:lnTo>
                    <a:pt x="330" y="930"/>
                  </a:lnTo>
                  <a:lnTo>
                    <a:pt x="330" y="924"/>
                  </a:lnTo>
                  <a:lnTo>
                    <a:pt x="336" y="918"/>
                  </a:lnTo>
                  <a:lnTo>
                    <a:pt x="342" y="912"/>
                  </a:lnTo>
                  <a:lnTo>
                    <a:pt x="342" y="906"/>
                  </a:lnTo>
                  <a:lnTo>
                    <a:pt x="342" y="900"/>
                  </a:lnTo>
                  <a:lnTo>
                    <a:pt x="342" y="894"/>
                  </a:lnTo>
                  <a:lnTo>
                    <a:pt x="342" y="888"/>
                  </a:lnTo>
                  <a:lnTo>
                    <a:pt x="336" y="876"/>
                  </a:lnTo>
                  <a:lnTo>
                    <a:pt x="342" y="870"/>
                  </a:lnTo>
                  <a:lnTo>
                    <a:pt x="336" y="864"/>
                  </a:lnTo>
                  <a:lnTo>
                    <a:pt x="336" y="858"/>
                  </a:lnTo>
                  <a:lnTo>
                    <a:pt x="330" y="852"/>
                  </a:lnTo>
                  <a:lnTo>
                    <a:pt x="318" y="852"/>
                  </a:lnTo>
                  <a:lnTo>
                    <a:pt x="306" y="858"/>
                  </a:lnTo>
                  <a:lnTo>
                    <a:pt x="264" y="864"/>
                  </a:lnTo>
                  <a:lnTo>
                    <a:pt x="234" y="858"/>
                  </a:lnTo>
                  <a:lnTo>
                    <a:pt x="228" y="858"/>
                  </a:lnTo>
                  <a:lnTo>
                    <a:pt x="198" y="858"/>
                  </a:lnTo>
                  <a:lnTo>
                    <a:pt x="174" y="858"/>
                  </a:lnTo>
                  <a:lnTo>
                    <a:pt x="168" y="852"/>
                  </a:lnTo>
                  <a:lnTo>
                    <a:pt x="168" y="840"/>
                  </a:lnTo>
                  <a:lnTo>
                    <a:pt x="168" y="834"/>
                  </a:lnTo>
                  <a:lnTo>
                    <a:pt x="168" y="822"/>
                  </a:lnTo>
                  <a:lnTo>
                    <a:pt x="162" y="822"/>
                  </a:lnTo>
                  <a:lnTo>
                    <a:pt x="150" y="816"/>
                  </a:lnTo>
                  <a:lnTo>
                    <a:pt x="144" y="810"/>
                  </a:lnTo>
                  <a:lnTo>
                    <a:pt x="144" y="804"/>
                  </a:lnTo>
                  <a:lnTo>
                    <a:pt x="144" y="786"/>
                  </a:lnTo>
                  <a:lnTo>
                    <a:pt x="144" y="780"/>
                  </a:lnTo>
                  <a:lnTo>
                    <a:pt x="144" y="774"/>
                  </a:lnTo>
                  <a:lnTo>
                    <a:pt x="132" y="756"/>
                  </a:lnTo>
                  <a:lnTo>
                    <a:pt x="120" y="756"/>
                  </a:lnTo>
                  <a:lnTo>
                    <a:pt x="84" y="750"/>
                  </a:lnTo>
                  <a:lnTo>
                    <a:pt x="78" y="744"/>
                  </a:lnTo>
                  <a:lnTo>
                    <a:pt x="60" y="744"/>
                  </a:lnTo>
                  <a:lnTo>
                    <a:pt x="54" y="726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66" y="720"/>
                  </a:lnTo>
                  <a:lnTo>
                    <a:pt x="66" y="714"/>
                  </a:lnTo>
                  <a:lnTo>
                    <a:pt x="72" y="714"/>
                  </a:lnTo>
                  <a:lnTo>
                    <a:pt x="72" y="708"/>
                  </a:lnTo>
                  <a:lnTo>
                    <a:pt x="78" y="702"/>
                  </a:lnTo>
                  <a:lnTo>
                    <a:pt x="78" y="696"/>
                  </a:lnTo>
                  <a:lnTo>
                    <a:pt x="78" y="690"/>
                  </a:lnTo>
                  <a:lnTo>
                    <a:pt x="84" y="678"/>
                  </a:lnTo>
                  <a:lnTo>
                    <a:pt x="90" y="666"/>
                  </a:lnTo>
                  <a:lnTo>
                    <a:pt x="90" y="642"/>
                  </a:lnTo>
                  <a:lnTo>
                    <a:pt x="84" y="648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66" y="642"/>
                  </a:lnTo>
                  <a:lnTo>
                    <a:pt x="60" y="642"/>
                  </a:lnTo>
                  <a:lnTo>
                    <a:pt x="54" y="636"/>
                  </a:lnTo>
                  <a:lnTo>
                    <a:pt x="30" y="570"/>
                  </a:lnTo>
                  <a:lnTo>
                    <a:pt x="24" y="564"/>
                  </a:lnTo>
                  <a:lnTo>
                    <a:pt x="18" y="570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6"/>
                  </a:lnTo>
                  <a:lnTo>
                    <a:pt x="6" y="540"/>
                  </a:lnTo>
                  <a:lnTo>
                    <a:pt x="0" y="522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2" y="480"/>
                  </a:lnTo>
                  <a:lnTo>
                    <a:pt x="6" y="480"/>
                  </a:lnTo>
                  <a:lnTo>
                    <a:pt x="0" y="474"/>
                  </a:lnTo>
                  <a:lnTo>
                    <a:pt x="0" y="450"/>
                  </a:lnTo>
                  <a:lnTo>
                    <a:pt x="6" y="450"/>
                  </a:lnTo>
                  <a:lnTo>
                    <a:pt x="12" y="450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32"/>
                  </a:lnTo>
                  <a:lnTo>
                    <a:pt x="30" y="426"/>
                  </a:lnTo>
                  <a:lnTo>
                    <a:pt x="36" y="402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2" y="366"/>
                  </a:lnTo>
                  <a:lnTo>
                    <a:pt x="48" y="360"/>
                  </a:lnTo>
                  <a:lnTo>
                    <a:pt x="48" y="342"/>
                  </a:lnTo>
                  <a:lnTo>
                    <a:pt x="42" y="330"/>
                  </a:lnTo>
                  <a:lnTo>
                    <a:pt x="36" y="324"/>
                  </a:lnTo>
                  <a:lnTo>
                    <a:pt x="42" y="306"/>
                  </a:lnTo>
                  <a:lnTo>
                    <a:pt x="42" y="270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48" y="258"/>
                  </a:lnTo>
                  <a:lnTo>
                    <a:pt x="72" y="252"/>
                  </a:lnTo>
                  <a:lnTo>
                    <a:pt x="66" y="204"/>
                  </a:lnTo>
                  <a:lnTo>
                    <a:pt x="60" y="198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8" y="13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84" y="96"/>
                  </a:lnTo>
                  <a:lnTo>
                    <a:pt x="90" y="84"/>
                  </a:lnTo>
                  <a:lnTo>
                    <a:pt x="108" y="72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20" y="60"/>
                  </a:lnTo>
                  <a:lnTo>
                    <a:pt x="120" y="54"/>
                  </a:lnTo>
                  <a:lnTo>
                    <a:pt x="120" y="48"/>
                  </a:lnTo>
                  <a:lnTo>
                    <a:pt x="126" y="48"/>
                  </a:lnTo>
                  <a:lnTo>
                    <a:pt x="132" y="42"/>
                  </a:lnTo>
                  <a:lnTo>
                    <a:pt x="132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240" y="18"/>
                  </a:lnTo>
                  <a:lnTo>
                    <a:pt x="246" y="42"/>
                  </a:lnTo>
                  <a:lnTo>
                    <a:pt x="240" y="72"/>
                  </a:lnTo>
                  <a:lnTo>
                    <a:pt x="246" y="78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8" y="108"/>
                  </a:lnTo>
                  <a:lnTo>
                    <a:pt x="276" y="114"/>
                  </a:lnTo>
                  <a:lnTo>
                    <a:pt x="294" y="150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82" y="186"/>
                  </a:lnTo>
                  <a:lnTo>
                    <a:pt x="282" y="192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76" y="216"/>
                  </a:lnTo>
                  <a:lnTo>
                    <a:pt x="288" y="240"/>
                  </a:lnTo>
                  <a:lnTo>
                    <a:pt x="312" y="228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66" y="228"/>
                  </a:lnTo>
                  <a:lnTo>
                    <a:pt x="372" y="228"/>
                  </a:lnTo>
                  <a:lnTo>
                    <a:pt x="372" y="222"/>
                  </a:lnTo>
                  <a:lnTo>
                    <a:pt x="378" y="222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6" y="222"/>
                  </a:lnTo>
                  <a:lnTo>
                    <a:pt x="402" y="222"/>
                  </a:lnTo>
                  <a:lnTo>
                    <a:pt x="402" y="228"/>
                  </a:lnTo>
                  <a:lnTo>
                    <a:pt x="408" y="228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26" y="216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68" y="258"/>
                  </a:lnTo>
                  <a:lnTo>
                    <a:pt x="462" y="264"/>
                  </a:lnTo>
                  <a:lnTo>
                    <a:pt x="468" y="264"/>
                  </a:lnTo>
                  <a:lnTo>
                    <a:pt x="468" y="270"/>
                  </a:lnTo>
                  <a:lnTo>
                    <a:pt x="474" y="270"/>
                  </a:lnTo>
                  <a:lnTo>
                    <a:pt x="480" y="276"/>
                  </a:lnTo>
                  <a:lnTo>
                    <a:pt x="474" y="282"/>
                  </a:lnTo>
                  <a:lnTo>
                    <a:pt x="474" y="288"/>
                  </a:lnTo>
                  <a:lnTo>
                    <a:pt x="462" y="294"/>
                  </a:lnTo>
                  <a:lnTo>
                    <a:pt x="468" y="324"/>
                  </a:lnTo>
                  <a:lnTo>
                    <a:pt x="462" y="336"/>
                  </a:lnTo>
                  <a:lnTo>
                    <a:pt x="456" y="354"/>
                  </a:lnTo>
                  <a:lnTo>
                    <a:pt x="432" y="390"/>
                  </a:lnTo>
                  <a:lnTo>
                    <a:pt x="420" y="390"/>
                  </a:lnTo>
                  <a:lnTo>
                    <a:pt x="402" y="390"/>
                  </a:lnTo>
                  <a:lnTo>
                    <a:pt x="396" y="396"/>
                  </a:lnTo>
                  <a:lnTo>
                    <a:pt x="390" y="396"/>
                  </a:lnTo>
                  <a:lnTo>
                    <a:pt x="390" y="402"/>
                  </a:lnTo>
                  <a:lnTo>
                    <a:pt x="384" y="402"/>
                  </a:lnTo>
                  <a:lnTo>
                    <a:pt x="408" y="432"/>
                  </a:lnTo>
                  <a:lnTo>
                    <a:pt x="432" y="438"/>
                  </a:lnTo>
                  <a:lnTo>
                    <a:pt x="456" y="432"/>
                  </a:lnTo>
                  <a:lnTo>
                    <a:pt x="468" y="426"/>
                  </a:lnTo>
                  <a:lnTo>
                    <a:pt x="468" y="444"/>
                  </a:lnTo>
                  <a:lnTo>
                    <a:pt x="468" y="450"/>
                  </a:lnTo>
                  <a:lnTo>
                    <a:pt x="468" y="474"/>
                  </a:lnTo>
                  <a:lnTo>
                    <a:pt x="486" y="480"/>
                  </a:lnTo>
                  <a:lnTo>
                    <a:pt x="486" y="486"/>
                  </a:lnTo>
                  <a:lnTo>
                    <a:pt x="492" y="498"/>
                  </a:lnTo>
                  <a:lnTo>
                    <a:pt x="492" y="504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504" y="516"/>
                  </a:lnTo>
                  <a:lnTo>
                    <a:pt x="510" y="516"/>
                  </a:lnTo>
                  <a:lnTo>
                    <a:pt x="522" y="528"/>
                  </a:lnTo>
                  <a:lnTo>
                    <a:pt x="546" y="540"/>
                  </a:lnTo>
                  <a:lnTo>
                    <a:pt x="552" y="546"/>
                  </a:lnTo>
                  <a:lnTo>
                    <a:pt x="570" y="552"/>
                  </a:lnTo>
                  <a:lnTo>
                    <a:pt x="594" y="552"/>
                  </a:lnTo>
                  <a:lnTo>
                    <a:pt x="606" y="546"/>
                  </a:lnTo>
                  <a:lnTo>
                    <a:pt x="612" y="540"/>
                  </a:lnTo>
                  <a:lnTo>
                    <a:pt x="630" y="540"/>
                  </a:lnTo>
                  <a:lnTo>
                    <a:pt x="630" y="552"/>
                  </a:lnTo>
                  <a:lnTo>
                    <a:pt x="654" y="552"/>
                  </a:lnTo>
                  <a:lnTo>
                    <a:pt x="702" y="558"/>
                  </a:lnTo>
                  <a:lnTo>
                    <a:pt x="762" y="546"/>
                  </a:lnTo>
                  <a:lnTo>
                    <a:pt x="780" y="546"/>
                  </a:lnTo>
                  <a:lnTo>
                    <a:pt x="780" y="528"/>
                  </a:lnTo>
                  <a:lnTo>
                    <a:pt x="798" y="522"/>
                  </a:lnTo>
                  <a:lnTo>
                    <a:pt x="810" y="510"/>
                  </a:lnTo>
                  <a:lnTo>
                    <a:pt x="810" y="504"/>
                  </a:lnTo>
                  <a:lnTo>
                    <a:pt x="828" y="492"/>
                  </a:lnTo>
                  <a:lnTo>
                    <a:pt x="888" y="486"/>
                  </a:lnTo>
                  <a:lnTo>
                    <a:pt x="912" y="486"/>
                  </a:lnTo>
                  <a:lnTo>
                    <a:pt x="930" y="474"/>
                  </a:lnTo>
                  <a:lnTo>
                    <a:pt x="918" y="456"/>
                  </a:lnTo>
                  <a:lnTo>
                    <a:pt x="912" y="450"/>
                  </a:lnTo>
                  <a:lnTo>
                    <a:pt x="918" y="390"/>
                  </a:lnTo>
                  <a:lnTo>
                    <a:pt x="954" y="396"/>
                  </a:lnTo>
                  <a:lnTo>
                    <a:pt x="984" y="402"/>
                  </a:lnTo>
                  <a:lnTo>
                    <a:pt x="1014" y="420"/>
                  </a:lnTo>
                  <a:lnTo>
                    <a:pt x="1026" y="432"/>
                  </a:lnTo>
                  <a:lnTo>
                    <a:pt x="1044" y="450"/>
                  </a:lnTo>
                  <a:lnTo>
                    <a:pt x="1062" y="462"/>
                  </a:lnTo>
                  <a:lnTo>
                    <a:pt x="1098" y="468"/>
                  </a:lnTo>
                  <a:lnTo>
                    <a:pt x="1128" y="480"/>
                  </a:lnTo>
                  <a:lnTo>
                    <a:pt x="1152" y="486"/>
                  </a:lnTo>
                  <a:lnTo>
                    <a:pt x="1188" y="498"/>
                  </a:lnTo>
                  <a:lnTo>
                    <a:pt x="1212" y="504"/>
                  </a:lnTo>
                  <a:lnTo>
                    <a:pt x="1224" y="528"/>
                  </a:lnTo>
                  <a:lnTo>
                    <a:pt x="1236" y="540"/>
                  </a:lnTo>
                  <a:lnTo>
                    <a:pt x="1254" y="540"/>
                  </a:lnTo>
                  <a:lnTo>
                    <a:pt x="1254" y="546"/>
                  </a:lnTo>
                  <a:lnTo>
                    <a:pt x="1260" y="552"/>
                  </a:lnTo>
                  <a:lnTo>
                    <a:pt x="1266" y="552"/>
                  </a:lnTo>
                  <a:lnTo>
                    <a:pt x="1266" y="558"/>
                  </a:lnTo>
                  <a:lnTo>
                    <a:pt x="1272" y="564"/>
                  </a:lnTo>
                  <a:lnTo>
                    <a:pt x="1278" y="564"/>
                  </a:lnTo>
                  <a:lnTo>
                    <a:pt x="1278" y="570"/>
                  </a:lnTo>
                  <a:lnTo>
                    <a:pt x="1284" y="576"/>
                  </a:lnTo>
                  <a:lnTo>
                    <a:pt x="1290" y="582"/>
                  </a:lnTo>
                  <a:lnTo>
                    <a:pt x="1296" y="582"/>
                  </a:lnTo>
                  <a:lnTo>
                    <a:pt x="1296" y="588"/>
                  </a:lnTo>
                  <a:lnTo>
                    <a:pt x="1308" y="594"/>
                  </a:lnTo>
                  <a:lnTo>
                    <a:pt x="1308" y="600"/>
                  </a:lnTo>
                  <a:lnTo>
                    <a:pt x="1308" y="606"/>
                  </a:lnTo>
                  <a:lnTo>
                    <a:pt x="1314" y="612"/>
                  </a:lnTo>
                  <a:lnTo>
                    <a:pt x="1308" y="618"/>
                  </a:lnTo>
                  <a:lnTo>
                    <a:pt x="1314" y="618"/>
                  </a:lnTo>
                  <a:lnTo>
                    <a:pt x="1314" y="624"/>
                  </a:lnTo>
                  <a:lnTo>
                    <a:pt x="1308" y="624"/>
                  </a:lnTo>
                  <a:lnTo>
                    <a:pt x="1302" y="630"/>
                  </a:lnTo>
                  <a:lnTo>
                    <a:pt x="1302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296" y="654"/>
                  </a:lnTo>
                  <a:lnTo>
                    <a:pt x="1302" y="660"/>
                  </a:lnTo>
                  <a:lnTo>
                    <a:pt x="1302" y="666"/>
                  </a:lnTo>
                  <a:lnTo>
                    <a:pt x="1308" y="666"/>
                  </a:lnTo>
                  <a:lnTo>
                    <a:pt x="1308" y="672"/>
                  </a:lnTo>
                  <a:lnTo>
                    <a:pt x="1308" y="678"/>
                  </a:lnTo>
                  <a:lnTo>
                    <a:pt x="1308" y="684"/>
                  </a:lnTo>
                  <a:lnTo>
                    <a:pt x="1308" y="690"/>
                  </a:lnTo>
                  <a:lnTo>
                    <a:pt x="1302" y="696"/>
                  </a:lnTo>
                  <a:lnTo>
                    <a:pt x="1302" y="702"/>
                  </a:lnTo>
                  <a:lnTo>
                    <a:pt x="1308" y="702"/>
                  </a:lnTo>
                  <a:lnTo>
                    <a:pt x="1302" y="708"/>
                  </a:lnTo>
                  <a:lnTo>
                    <a:pt x="1308" y="714"/>
                  </a:lnTo>
                  <a:lnTo>
                    <a:pt x="1308" y="720"/>
                  </a:lnTo>
                  <a:lnTo>
                    <a:pt x="1308" y="726"/>
                  </a:lnTo>
                  <a:lnTo>
                    <a:pt x="1308" y="732"/>
                  </a:lnTo>
                  <a:lnTo>
                    <a:pt x="1314" y="732"/>
                  </a:lnTo>
                  <a:lnTo>
                    <a:pt x="1314" y="738"/>
                  </a:lnTo>
                  <a:lnTo>
                    <a:pt x="1320" y="744"/>
                  </a:lnTo>
                  <a:lnTo>
                    <a:pt x="1326" y="750"/>
                  </a:lnTo>
                  <a:lnTo>
                    <a:pt x="1320" y="750"/>
                  </a:lnTo>
                  <a:lnTo>
                    <a:pt x="1320" y="756"/>
                  </a:lnTo>
                  <a:lnTo>
                    <a:pt x="1314" y="756"/>
                  </a:lnTo>
                  <a:lnTo>
                    <a:pt x="1314" y="762"/>
                  </a:lnTo>
                  <a:lnTo>
                    <a:pt x="1314" y="768"/>
                  </a:lnTo>
                  <a:lnTo>
                    <a:pt x="1320" y="768"/>
                  </a:lnTo>
                  <a:lnTo>
                    <a:pt x="1320" y="762"/>
                  </a:lnTo>
                  <a:lnTo>
                    <a:pt x="1320" y="768"/>
                  </a:lnTo>
                  <a:lnTo>
                    <a:pt x="1326" y="774"/>
                  </a:lnTo>
                  <a:lnTo>
                    <a:pt x="1332" y="774"/>
                  </a:lnTo>
                  <a:lnTo>
                    <a:pt x="1332" y="780"/>
                  </a:lnTo>
                  <a:lnTo>
                    <a:pt x="1332" y="786"/>
                  </a:lnTo>
                  <a:lnTo>
                    <a:pt x="1332" y="792"/>
                  </a:lnTo>
                  <a:lnTo>
                    <a:pt x="1338" y="786"/>
                  </a:lnTo>
                  <a:lnTo>
                    <a:pt x="1338" y="792"/>
                  </a:lnTo>
                  <a:lnTo>
                    <a:pt x="1344" y="798"/>
                  </a:lnTo>
                  <a:lnTo>
                    <a:pt x="1344" y="804"/>
                  </a:lnTo>
                  <a:lnTo>
                    <a:pt x="1344" y="810"/>
                  </a:lnTo>
                  <a:lnTo>
                    <a:pt x="1344" y="816"/>
                  </a:lnTo>
                  <a:lnTo>
                    <a:pt x="1344" y="822"/>
                  </a:lnTo>
                  <a:lnTo>
                    <a:pt x="1338" y="828"/>
                  </a:lnTo>
                  <a:lnTo>
                    <a:pt x="1332" y="828"/>
                  </a:lnTo>
                  <a:lnTo>
                    <a:pt x="1338" y="840"/>
                  </a:lnTo>
                  <a:lnTo>
                    <a:pt x="1344" y="846"/>
                  </a:lnTo>
                  <a:lnTo>
                    <a:pt x="1344" y="852"/>
                  </a:lnTo>
                  <a:lnTo>
                    <a:pt x="1350" y="852"/>
                  </a:lnTo>
                  <a:lnTo>
                    <a:pt x="1356" y="858"/>
                  </a:lnTo>
                  <a:lnTo>
                    <a:pt x="1362" y="858"/>
                  </a:lnTo>
                  <a:lnTo>
                    <a:pt x="1362" y="870"/>
                  </a:lnTo>
                  <a:lnTo>
                    <a:pt x="1356" y="870"/>
                  </a:lnTo>
                  <a:lnTo>
                    <a:pt x="1356" y="876"/>
                  </a:lnTo>
                  <a:lnTo>
                    <a:pt x="1350" y="876"/>
                  </a:lnTo>
                  <a:lnTo>
                    <a:pt x="1344" y="876"/>
                  </a:lnTo>
                  <a:lnTo>
                    <a:pt x="1344" y="882"/>
                  </a:lnTo>
                  <a:lnTo>
                    <a:pt x="1338" y="882"/>
                  </a:lnTo>
                  <a:lnTo>
                    <a:pt x="1338" y="888"/>
                  </a:lnTo>
                  <a:lnTo>
                    <a:pt x="1338" y="894"/>
                  </a:lnTo>
                  <a:lnTo>
                    <a:pt x="1344" y="900"/>
                  </a:lnTo>
                  <a:lnTo>
                    <a:pt x="1344" y="906"/>
                  </a:lnTo>
                  <a:lnTo>
                    <a:pt x="1338" y="906"/>
                  </a:lnTo>
                  <a:lnTo>
                    <a:pt x="1332" y="912"/>
                  </a:lnTo>
                  <a:lnTo>
                    <a:pt x="1332" y="918"/>
                  </a:lnTo>
                  <a:lnTo>
                    <a:pt x="1326" y="918"/>
                  </a:lnTo>
                  <a:lnTo>
                    <a:pt x="1332" y="924"/>
                  </a:lnTo>
                  <a:lnTo>
                    <a:pt x="1284" y="942"/>
                  </a:lnTo>
                  <a:lnTo>
                    <a:pt x="1236" y="948"/>
                  </a:lnTo>
                  <a:lnTo>
                    <a:pt x="1194" y="966"/>
                  </a:lnTo>
                  <a:lnTo>
                    <a:pt x="1170" y="1002"/>
                  </a:lnTo>
                  <a:lnTo>
                    <a:pt x="1134" y="1020"/>
                  </a:lnTo>
                  <a:lnTo>
                    <a:pt x="1116" y="1032"/>
                  </a:lnTo>
                  <a:lnTo>
                    <a:pt x="1098" y="1050"/>
                  </a:lnTo>
                  <a:lnTo>
                    <a:pt x="1074" y="1074"/>
                  </a:lnTo>
                  <a:lnTo>
                    <a:pt x="1008" y="1134"/>
                  </a:lnTo>
                  <a:lnTo>
                    <a:pt x="990" y="1158"/>
                  </a:lnTo>
                  <a:lnTo>
                    <a:pt x="978" y="1182"/>
                  </a:lnTo>
                  <a:lnTo>
                    <a:pt x="960" y="1194"/>
                  </a:lnTo>
                  <a:lnTo>
                    <a:pt x="942" y="1212"/>
                  </a:lnTo>
                  <a:lnTo>
                    <a:pt x="912" y="1242"/>
                  </a:lnTo>
                  <a:lnTo>
                    <a:pt x="888" y="1254"/>
                  </a:lnTo>
                  <a:lnTo>
                    <a:pt x="864" y="1278"/>
                  </a:lnTo>
                  <a:lnTo>
                    <a:pt x="828" y="1296"/>
                  </a:lnTo>
                  <a:lnTo>
                    <a:pt x="774" y="1308"/>
                  </a:lnTo>
                  <a:lnTo>
                    <a:pt x="732" y="1302"/>
                  </a:lnTo>
                  <a:lnTo>
                    <a:pt x="702" y="1284"/>
                  </a:lnTo>
                  <a:lnTo>
                    <a:pt x="684" y="127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1" name="Freeform 16">
              <a:extLst>
                <a:ext uri="{FF2B5EF4-FFF2-40B4-BE49-F238E27FC236}">
                  <a16:creationId xmlns:a16="http://schemas.microsoft.com/office/drawing/2014/main" id="{D8D8591A-D9DB-4301-BEBD-D8F5A26DA9E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3001" y="2929369"/>
              <a:ext cx="914601" cy="1037736"/>
            </a:xfrm>
            <a:custGeom>
              <a:avLst/>
              <a:gdLst>
                <a:gd name="T0" fmla="*/ 144 w 1722"/>
                <a:gd name="T1" fmla="*/ 131 h 1956"/>
                <a:gd name="T2" fmla="*/ 142 w 1722"/>
                <a:gd name="T3" fmla="*/ 139 h 1956"/>
                <a:gd name="T4" fmla="*/ 137 w 1722"/>
                <a:gd name="T5" fmla="*/ 143 h 1956"/>
                <a:gd name="T6" fmla="*/ 133 w 1722"/>
                <a:gd name="T7" fmla="*/ 147 h 1956"/>
                <a:gd name="T8" fmla="*/ 132 w 1722"/>
                <a:gd name="T9" fmla="*/ 152 h 1956"/>
                <a:gd name="T10" fmla="*/ 130 w 1722"/>
                <a:gd name="T11" fmla="*/ 159 h 1956"/>
                <a:gd name="T12" fmla="*/ 127 w 1722"/>
                <a:gd name="T13" fmla="*/ 164 h 1956"/>
                <a:gd name="T14" fmla="*/ 123 w 1722"/>
                <a:gd name="T15" fmla="*/ 168 h 1956"/>
                <a:gd name="T16" fmla="*/ 117 w 1722"/>
                <a:gd name="T17" fmla="*/ 169 h 1956"/>
                <a:gd name="T18" fmla="*/ 110 w 1722"/>
                <a:gd name="T19" fmla="*/ 168 h 1956"/>
                <a:gd name="T20" fmla="*/ 104 w 1722"/>
                <a:gd name="T21" fmla="*/ 166 h 1956"/>
                <a:gd name="T22" fmla="*/ 101 w 1722"/>
                <a:gd name="T23" fmla="*/ 159 h 1956"/>
                <a:gd name="T24" fmla="*/ 95 w 1722"/>
                <a:gd name="T25" fmla="*/ 156 h 1956"/>
                <a:gd name="T26" fmla="*/ 89 w 1722"/>
                <a:gd name="T27" fmla="*/ 151 h 1956"/>
                <a:gd name="T28" fmla="*/ 87 w 1722"/>
                <a:gd name="T29" fmla="*/ 144 h 1956"/>
                <a:gd name="T30" fmla="*/ 82 w 1722"/>
                <a:gd name="T31" fmla="*/ 141 h 1956"/>
                <a:gd name="T32" fmla="*/ 76 w 1722"/>
                <a:gd name="T33" fmla="*/ 134 h 1956"/>
                <a:gd name="T34" fmla="*/ 74 w 1722"/>
                <a:gd name="T35" fmla="*/ 143 h 1956"/>
                <a:gd name="T36" fmla="*/ 68 w 1722"/>
                <a:gd name="T37" fmla="*/ 147 h 1956"/>
                <a:gd name="T38" fmla="*/ 54 w 1722"/>
                <a:gd name="T39" fmla="*/ 144 h 1956"/>
                <a:gd name="T40" fmla="*/ 51 w 1722"/>
                <a:gd name="T41" fmla="*/ 142 h 1956"/>
                <a:gd name="T42" fmla="*/ 42 w 1722"/>
                <a:gd name="T43" fmla="*/ 151 h 1956"/>
                <a:gd name="T44" fmla="*/ 33 w 1722"/>
                <a:gd name="T45" fmla="*/ 154 h 1956"/>
                <a:gd name="T46" fmla="*/ 31 w 1722"/>
                <a:gd name="T47" fmla="*/ 159 h 1956"/>
                <a:gd name="T48" fmla="*/ 29 w 1722"/>
                <a:gd name="T49" fmla="*/ 166 h 1956"/>
                <a:gd name="T50" fmla="*/ 25 w 1722"/>
                <a:gd name="T51" fmla="*/ 169 h 1956"/>
                <a:gd name="T52" fmla="*/ 27 w 1722"/>
                <a:gd name="T53" fmla="*/ 154 h 1956"/>
                <a:gd name="T54" fmla="*/ 37 w 1722"/>
                <a:gd name="T55" fmla="*/ 133 h 1956"/>
                <a:gd name="T56" fmla="*/ 36 w 1722"/>
                <a:gd name="T57" fmla="*/ 109 h 1956"/>
                <a:gd name="T58" fmla="*/ 27 w 1722"/>
                <a:gd name="T59" fmla="*/ 101 h 1956"/>
                <a:gd name="T60" fmla="*/ 5 w 1722"/>
                <a:gd name="T61" fmla="*/ 98 h 1956"/>
                <a:gd name="T62" fmla="*/ 2 w 1722"/>
                <a:gd name="T63" fmla="*/ 93 h 1956"/>
                <a:gd name="T64" fmla="*/ 12 w 1722"/>
                <a:gd name="T65" fmla="*/ 82 h 1956"/>
                <a:gd name="T66" fmla="*/ 9 w 1722"/>
                <a:gd name="T67" fmla="*/ 74 h 1956"/>
                <a:gd name="T68" fmla="*/ 23 w 1722"/>
                <a:gd name="T69" fmla="*/ 72 h 1956"/>
                <a:gd name="T70" fmla="*/ 22 w 1722"/>
                <a:gd name="T71" fmla="*/ 67 h 1956"/>
                <a:gd name="T72" fmla="*/ 48 w 1722"/>
                <a:gd name="T73" fmla="*/ 57 h 1956"/>
                <a:gd name="T74" fmla="*/ 78 w 1722"/>
                <a:gd name="T75" fmla="*/ 34 h 1956"/>
                <a:gd name="T76" fmla="*/ 81 w 1722"/>
                <a:gd name="T77" fmla="*/ 31 h 1956"/>
                <a:gd name="T78" fmla="*/ 80 w 1722"/>
                <a:gd name="T79" fmla="*/ 26 h 1956"/>
                <a:gd name="T80" fmla="*/ 78 w 1722"/>
                <a:gd name="T81" fmla="*/ 21 h 1956"/>
                <a:gd name="T82" fmla="*/ 77 w 1722"/>
                <a:gd name="T83" fmla="*/ 18 h 1956"/>
                <a:gd name="T84" fmla="*/ 77 w 1722"/>
                <a:gd name="T85" fmla="*/ 12 h 1956"/>
                <a:gd name="T86" fmla="*/ 77 w 1722"/>
                <a:gd name="T87" fmla="*/ 7 h 1956"/>
                <a:gd name="T88" fmla="*/ 102 w 1722"/>
                <a:gd name="T89" fmla="*/ 2 h 1956"/>
                <a:gd name="T90" fmla="*/ 115 w 1722"/>
                <a:gd name="T91" fmla="*/ 3 h 1956"/>
                <a:gd name="T92" fmla="*/ 123 w 1722"/>
                <a:gd name="T93" fmla="*/ 3 h 1956"/>
                <a:gd name="T94" fmla="*/ 125 w 1722"/>
                <a:gd name="T95" fmla="*/ 9 h 1956"/>
                <a:gd name="T96" fmla="*/ 133 w 1722"/>
                <a:gd name="T97" fmla="*/ 13 h 1956"/>
                <a:gd name="T98" fmla="*/ 149 w 1722"/>
                <a:gd name="T99" fmla="*/ 37 h 1956"/>
                <a:gd name="T100" fmla="*/ 141 w 1722"/>
                <a:gd name="T101" fmla="*/ 57 h 1956"/>
                <a:gd name="T102" fmla="*/ 135 w 1722"/>
                <a:gd name="T103" fmla="*/ 63 h 1956"/>
                <a:gd name="T104" fmla="*/ 124 w 1722"/>
                <a:gd name="T105" fmla="*/ 77 h 1956"/>
                <a:gd name="T106" fmla="*/ 123 w 1722"/>
                <a:gd name="T107" fmla="*/ 96 h 1956"/>
                <a:gd name="T108" fmla="*/ 127 w 1722"/>
                <a:gd name="T109" fmla="*/ 97 h 1956"/>
                <a:gd name="T110" fmla="*/ 129 w 1722"/>
                <a:gd name="T111" fmla="*/ 92 h 1956"/>
                <a:gd name="T112" fmla="*/ 134 w 1722"/>
                <a:gd name="T113" fmla="*/ 94 h 1956"/>
                <a:gd name="T114" fmla="*/ 138 w 1722"/>
                <a:gd name="T115" fmla="*/ 99 h 1956"/>
                <a:gd name="T116" fmla="*/ 142 w 1722"/>
                <a:gd name="T117" fmla="*/ 104 h 1956"/>
                <a:gd name="T118" fmla="*/ 141 w 1722"/>
                <a:gd name="T119" fmla="*/ 115 h 19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722"/>
                <a:gd name="T181" fmla="*/ 0 h 1956"/>
                <a:gd name="T182" fmla="*/ 1722 w 1722"/>
                <a:gd name="T183" fmla="*/ 1956 h 19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722" h="1956">
                  <a:moveTo>
                    <a:pt x="1686" y="1404"/>
                  </a:moveTo>
                  <a:lnTo>
                    <a:pt x="1680" y="1416"/>
                  </a:lnTo>
                  <a:lnTo>
                    <a:pt x="1674" y="1422"/>
                  </a:lnTo>
                  <a:lnTo>
                    <a:pt x="1674" y="1428"/>
                  </a:lnTo>
                  <a:lnTo>
                    <a:pt x="1668" y="1428"/>
                  </a:lnTo>
                  <a:lnTo>
                    <a:pt x="1668" y="1434"/>
                  </a:lnTo>
                  <a:lnTo>
                    <a:pt x="1662" y="1446"/>
                  </a:lnTo>
                  <a:lnTo>
                    <a:pt x="1656" y="1464"/>
                  </a:lnTo>
                  <a:lnTo>
                    <a:pt x="1656" y="1476"/>
                  </a:lnTo>
                  <a:lnTo>
                    <a:pt x="1656" y="1488"/>
                  </a:lnTo>
                  <a:lnTo>
                    <a:pt x="1662" y="1500"/>
                  </a:lnTo>
                  <a:lnTo>
                    <a:pt x="1662" y="1506"/>
                  </a:lnTo>
                  <a:lnTo>
                    <a:pt x="1662" y="1524"/>
                  </a:lnTo>
                  <a:lnTo>
                    <a:pt x="1668" y="1542"/>
                  </a:lnTo>
                  <a:lnTo>
                    <a:pt x="1674" y="1560"/>
                  </a:lnTo>
                  <a:lnTo>
                    <a:pt x="1680" y="1578"/>
                  </a:lnTo>
                  <a:lnTo>
                    <a:pt x="1686" y="1578"/>
                  </a:lnTo>
                  <a:lnTo>
                    <a:pt x="1686" y="1584"/>
                  </a:lnTo>
                  <a:lnTo>
                    <a:pt x="1686" y="1590"/>
                  </a:lnTo>
                  <a:lnTo>
                    <a:pt x="1686" y="1596"/>
                  </a:lnTo>
                  <a:lnTo>
                    <a:pt x="1680" y="1596"/>
                  </a:lnTo>
                  <a:lnTo>
                    <a:pt x="1674" y="1602"/>
                  </a:lnTo>
                  <a:lnTo>
                    <a:pt x="1662" y="1602"/>
                  </a:lnTo>
                  <a:lnTo>
                    <a:pt x="1638" y="1596"/>
                  </a:lnTo>
                  <a:lnTo>
                    <a:pt x="1632" y="1596"/>
                  </a:lnTo>
                  <a:lnTo>
                    <a:pt x="1626" y="1602"/>
                  </a:lnTo>
                  <a:lnTo>
                    <a:pt x="1620" y="1602"/>
                  </a:lnTo>
                  <a:lnTo>
                    <a:pt x="1614" y="1602"/>
                  </a:lnTo>
                  <a:lnTo>
                    <a:pt x="1602" y="1602"/>
                  </a:lnTo>
                  <a:lnTo>
                    <a:pt x="1602" y="1608"/>
                  </a:lnTo>
                  <a:lnTo>
                    <a:pt x="1602" y="1620"/>
                  </a:lnTo>
                  <a:lnTo>
                    <a:pt x="1596" y="1620"/>
                  </a:lnTo>
                  <a:lnTo>
                    <a:pt x="1590" y="1620"/>
                  </a:lnTo>
                  <a:lnTo>
                    <a:pt x="1584" y="1626"/>
                  </a:lnTo>
                  <a:lnTo>
                    <a:pt x="1584" y="1632"/>
                  </a:lnTo>
                  <a:lnTo>
                    <a:pt x="1578" y="1644"/>
                  </a:lnTo>
                  <a:lnTo>
                    <a:pt x="1572" y="1644"/>
                  </a:lnTo>
                  <a:lnTo>
                    <a:pt x="1566" y="1644"/>
                  </a:lnTo>
                  <a:lnTo>
                    <a:pt x="1566" y="1650"/>
                  </a:lnTo>
                  <a:lnTo>
                    <a:pt x="1560" y="1650"/>
                  </a:lnTo>
                  <a:lnTo>
                    <a:pt x="1554" y="1650"/>
                  </a:lnTo>
                  <a:lnTo>
                    <a:pt x="1548" y="1650"/>
                  </a:lnTo>
                  <a:lnTo>
                    <a:pt x="1548" y="1656"/>
                  </a:lnTo>
                  <a:lnTo>
                    <a:pt x="1542" y="1668"/>
                  </a:lnTo>
                  <a:lnTo>
                    <a:pt x="1542" y="1674"/>
                  </a:lnTo>
                  <a:lnTo>
                    <a:pt x="1542" y="1692"/>
                  </a:lnTo>
                  <a:lnTo>
                    <a:pt x="1536" y="1698"/>
                  </a:lnTo>
                  <a:lnTo>
                    <a:pt x="1530" y="1698"/>
                  </a:lnTo>
                  <a:lnTo>
                    <a:pt x="1524" y="1698"/>
                  </a:lnTo>
                  <a:lnTo>
                    <a:pt x="1518" y="1704"/>
                  </a:lnTo>
                  <a:lnTo>
                    <a:pt x="1512" y="1710"/>
                  </a:lnTo>
                  <a:lnTo>
                    <a:pt x="1506" y="1722"/>
                  </a:lnTo>
                  <a:lnTo>
                    <a:pt x="1500" y="1728"/>
                  </a:lnTo>
                  <a:lnTo>
                    <a:pt x="1500" y="1734"/>
                  </a:lnTo>
                  <a:lnTo>
                    <a:pt x="1512" y="1734"/>
                  </a:lnTo>
                  <a:lnTo>
                    <a:pt x="1518" y="1740"/>
                  </a:lnTo>
                  <a:lnTo>
                    <a:pt x="1518" y="1746"/>
                  </a:lnTo>
                  <a:lnTo>
                    <a:pt x="1518" y="1752"/>
                  </a:lnTo>
                  <a:lnTo>
                    <a:pt x="1518" y="1758"/>
                  </a:lnTo>
                  <a:lnTo>
                    <a:pt x="1524" y="1758"/>
                  </a:lnTo>
                  <a:lnTo>
                    <a:pt x="1524" y="1764"/>
                  </a:lnTo>
                  <a:lnTo>
                    <a:pt x="1530" y="1770"/>
                  </a:lnTo>
                  <a:lnTo>
                    <a:pt x="1518" y="1770"/>
                  </a:lnTo>
                  <a:lnTo>
                    <a:pt x="1512" y="1782"/>
                  </a:lnTo>
                  <a:lnTo>
                    <a:pt x="1512" y="1788"/>
                  </a:lnTo>
                  <a:lnTo>
                    <a:pt x="1518" y="1788"/>
                  </a:lnTo>
                  <a:lnTo>
                    <a:pt x="1524" y="1800"/>
                  </a:lnTo>
                  <a:lnTo>
                    <a:pt x="1524" y="1806"/>
                  </a:lnTo>
                  <a:lnTo>
                    <a:pt x="1518" y="1812"/>
                  </a:lnTo>
                  <a:lnTo>
                    <a:pt x="1512" y="1818"/>
                  </a:lnTo>
                  <a:lnTo>
                    <a:pt x="1506" y="1818"/>
                  </a:lnTo>
                  <a:lnTo>
                    <a:pt x="1500" y="1824"/>
                  </a:lnTo>
                  <a:lnTo>
                    <a:pt x="1500" y="1836"/>
                  </a:lnTo>
                  <a:lnTo>
                    <a:pt x="1500" y="1842"/>
                  </a:lnTo>
                  <a:lnTo>
                    <a:pt x="1500" y="1848"/>
                  </a:lnTo>
                  <a:lnTo>
                    <a:pt x="1500" y="1854"/>
                  </a:lnTo>
                  <a:lnTo>
                    <a:pt x="1494" y="1860"/>
                  </a:lnTo>
                  <a:lnTo>
                    <a:pt x="1488" y="1860"/>
                  </a:lnTo>
                  <a:lnTo>
                    <a:pt x="1488" y="1866"/>
                  </a:lnTo>
                  <a:lnTo>
                    <a:pt x="1482" y="1872"/>
                  </a:lnTo>
                  <a:lnTo>
                    <a:pt x="1482" y="1878"/>
                  </a:lnTo>
                  <a:lnTo>
                    <a:pt x="1482" y="1884"/>
                  </a:lnTo>
                  <a:lnTo>
                    <a:pt x="1476" y="1890"/>
                  </a:lnTo>
                  <a:lnTo>
                    <a:pt x="1470" y="1890"/>
                  </a:lnTo>
                  <a:lnTo>
                    <a:pt x="1470" y="1896"/>
                  </a:lnTo>
                  <a:lnTo>
                    <a:pt x="1464" y="1896"/>
                  </a:lnTo>
                  <a:lnTo>
                    <a:pt x="1458" y="1896"/>
                  </a:lnTo>
                  <a:lnTo>
                    <a:pt x="1452" y="1896"/>
                  </a:lnTo>
                  <a:lnTo>
                    <a:pt x="1440" y="1890"/>
                  </a:lnTo>
                  <a:lnTo>
                    <a:pt x="1434" y="1896"/>
                  </a:lnTo>
                  <a:lnTo>
                    <a:pt x="1428" y="1896"/>
                  </a:lnTo>
                  <a:lnTo>
                    <a:pt x="1422" y="1896"/>
                  </a:lnTo>
                  <a:lnTo>
                    <a:pt x="1422" y="1902"/>
                  </a:lnTo>
                  <a:lnTo>
                    <a:pt x="1416" y="1902"/>
                  </a:lnTo>
                  <a:lnTo>
                    <a:pt x="1422" y="1914"/>
                  </a:lnTo>
                  <a:lnTo>
                    <a:pt x="1422" y="1932"/>
                  </a:lnTo>
                  <a:lnTo>
                    <a:pt x="1416" y="1938"/>
                  </a:lnTo>
                  <a:lnTo>
                    <a:pt x="1422" y="1938"/>
                  </a:lnTo>
                  <a:lnTo>
                    <a:pt x="1404" y="1938"/>
                  </a:lnTo>
                  <a:lnTo>
                    <a:pt x="1392" y="1944"/>
                  </a:lnTo>
                  <a:lnTo>
                    <a:pt x="1386" y="1944"/>
                  </a:lnTo>
                  <a:lnTo>
                    <a:pt x="1374" y="1944"/>
                  </a:lnTo>
                  <a:lnTo>
                    <a:pt x="1368" y="1950"/>
                  </a:lnTo>
                  <a:lnTo>
                    <a:pt x="1374" y="1956"/>
                  </a:lnTo>
                  <a:lnTo>
                    <a:pt x="1368" y="1956"/>
                  </a:lnTo>
                  <a:lnTo>
                    <a:pt x="1356" y="1956"/>
                  </a:lnTo>
                  <a:lnTo>
                    <a:pt x="1350" y="1956"/>
                  </a:lnTo>
                  <a:lnTo>
                    <a:pt x="1350" y="1950"/>
                  </a:lnTo>
                  <a:lnTo>
                    <a:pt x="1344" y="1944"/>
                  </a:lnTo>
                  <a:lnTo>
                    <a:pt x="1332" y="1938"/>
                  </a:lnTo>
                  <a:lnTo>
                    <a:pt x="1326" y="1938"/>
                  </a:lnTo>
                  <a:lnTo>
                    <a:pt x="1320" y="1938"/>
                  </a:lnTo>
                  <a:lnTo>
                    <a:pt x="1314" y="1944"/>
                  </a:lnTo>
                  <a:lnTo>
                    <a:pt x="1308" y="1944"/>
                  </a:lnTo>
                  <a:lnTo>
                    <a:pt x="1302" y="1944"/>
                  </a:lnTo>
                  <a:lnTo>
                    <a:pt x="1296" y="1938"/>
                  </a:lnTo>
                  <a:lnTo>
                    <a:pt x="1284" y="1938"/>
                  </a:lnTo>
                  <a:lnTo>
                    <a:pt x="1278" y="1938"/>
                  </a:lnTo>
                  <a:lnTo>
                    <a:pt x="1272" y="1938"/>
                  </a:lnTo>
                  <a:lnTo>
                    <a:pt x="1266" y="1932"/>
                  </a:lnTo>
                  <a:lnTo>
                    <a:pt x="1260" y="1932"/>
                  </a:lnTo>
                  <a:lnTo>
                    <a:pt x="1254" y="1920"/>
                  </a:lnTo>
                  <a:lnTo>
                    <a:pt x="1248" y="1920"/>
                  </a:lnTo>
                  <a:lnTo>
                    <a:pt x="1242" y="1920"/>
                  </a:lnTo>
                  <a:lnTo>
                    <a:pt x="1236" y="1926"/>
                  </a:lnTo>
                  <a:lnTo>
                    <a:pt x="1236" y="1932"/>
                  </a:lnTo>
                  <a:lnTo>
                    <a:pt x="1230" y="1932"/>
                  </a:lnTo>
                  <a:lnTo>
                    <a:pt x="1224" y="1932"/>
                  </a:lnTo>
                  <a:lnTo>
                    <a:pt x="1218" y="1938"/>
                  </a:lnTo>
                  <a:lnTo>
                    <a:pt x="1212" y="1932"/>
                  </a:lnTo>
                  <a:lnTo>
                    <a:pt x="1206" y="1926"/>
                  </a:lnTo>
                  <a:lnTo>
                    <a:pt x="1206" y="1908"/>
                  </a:lnTo>
                  <a:lnTo>
                    <a:pt x="1206" y="1884"/>
                  </a:lnTo>
                  <a:lnTo>
                    <a:pt x="1206" y="1866"/>
                  </a:lnTo>
                  <a:lnTo>
                    <a:pt x="1212" y="1848"/>
                  </a:lnTo>
                  <a:lnTo>
                    <a:pt x="1212" y="1842"/>
                  </a:lnTo>
                  <a:lnTo>
                    <a:pt x="1206" y="1836"/>
                  </a:lnTo>
                  <a:lnTo>
                    <a:pt x="1200" y="1830"/>
                  </a:lnTo>
                  <a:lnTo>
                    <a:pt x="1194" y="1824"/>
                  </a:lnTo>
                  <a:lnTo>
                    <a:pt x="1188" y="1824"/>
                  </a:lnTo>
                  <a:lnTo>
                    <a:pt x="1182" y="1824"/>
                  </a:lnTo>
                  <a:lnTo>
                    <a:pt x="1176" y="1824"/>
                  </a:lnTo>
                  <a:lnTo>
                    <a:pt x="1170" y="1818"/>
                  </a:lnTo>
                  <a:lnTo>
                    <a:pt x="1164" y="1830"/>
                  </a:lnTo>
                  <a:lnTo>
                    <a:pt x="1152" y="1836"/>
                  </a:lnTo>
                  <a:lnTo>
                    <a:pt x="1146" y="1842"/>
                  </a:lnTo>
                  <a:lnTo>
                    <a:pt x="1140" y="1842"/>
                  </a:lnTo>
                  <a:lnTo>
                    <a:pt x="1134" y="1842"/>
                  </a:lnTo>
                  <a:lnTo>
                    <a:pt x="1128" y="1842"/>
                  </a:lnTo>
                  <a:lnTo>
                    <a:pt x="1116" y="1836"/>
                  </a:lnTo>
                  <a:lnTo>
                    <a:pt x="1110" y="1842"/>
                  </a:lnTo>
                  <a:lnTo>
                    <a:pt x="1092" y="1830"/>
                  </a:lnTo>
                  <a:lnTo>
                    <a:pt x="1092" y="1824"/>
                  </a:lnTo>
                  <a:lnTo>
                    <a:pt x="1092" y="1806"/>
                  </a:lnTo>
                  <a:lnTo>
                    <a:pt x="1092" y="1800"/>
                  </a:lnTo>
                  <a:lnTo>
                    <a:pt x="1092" y="1794"/>
                  </a:lnTo>
                  <a:lnTo>
                    <a:pt x="1086" y="1788"/>
                  </a:lnTo>
                  <a:lnTo>
                    <a:pt x="1080" y="1794"/>
                  </a:lnTo>
                  <a:lnTo>
                    <a:pt x="1074" y="1788"/>
                  </a:lnTo>
                  <a:lnTo>
                    <a:pt x="1068" y="1770"/>
                  </a:lnTo>
                  <a:lnTo>
                    <a:pt x="1056" y="1764"/>
                  </a:lnTo>
                  <a:lnTo>
                    <a:pt x="1050" y="1764"/>
                  </a:lnTo>
                  <a:lnTo>
                    <a:pt x="1044" y="1764"/>
                  </a:lnTo>
                  <a:lnTo>
                    <a:pt x="1038" y="1758"/>
                  </a:lnTo>
                  <a:lnTo>
                    <a:pt x="1032" y="1752"/>
                  </a:lnTo>
                  <a:lnTo>
                    <a:pt x="1032" y="1746"/>
                  </a:lnTo>
                  <a:lnTo>
                    <a:pt x="1032" y="1740"/>
                  </a:lnTo>
                  <a:lnTo>
                    <a:pt x="1032" y="1734"/>
                  </a:lnTo>
                  <a:lnTo>
                    <a:pt x="1026" y="1734"/>
                  </a:lnTo>
                  <a:lnTo>
                    <a:pt x="1032" y="1728"/>
                  </a:lnTo>
                  <a:lnTo>
                    <a:pt x="1032" y="1722"/>
                  </a:lnTo>
                  <a:lnTo>
                    <a:pt x="1044" y="1686"/>
                  </a:lnTo>
                  <a:lnTo>
                    <a:pt x="1044" y="1680"/>
                  </a:lnTo>
                  <a:lnTo>
                    <a:pt x="1032" y="1674"/>
                  </a:lnTo>
                  <a:lnTo>
                    <a:pt x="1026" y="1674"/>
                  </a:lnTo>
                  <a:lnTo>
                    <a:pt x="1026" y="1668"/>
                  </a:lnTo>
                  <a:lnTo>
                    <a:pt x="1020" y="1662"/>
                  </a:lnTo>
                  <a:lnTo>
                    <a:pt x="1014" y="1668"/>
                  </a:lnTo>
                  <a:lnTo>
                    <a:pt x="1008" y="1662"/>
                  </a:lnTo>
                  <a:lnTo>
                    <a:pt x="1002" y="1662"/>
                  </a:lnTo>
                  <a:lnTo>
                    <a:pt x="1002" y="1668"/>
                  </a:lnTo>
                  <a:lnTo>
                    <a:pt x="996" y="1668"/>
                  </a:lnTo>
                  <a:lnTo>
                    <a:pt x="996" y="1662"/>
                  </a:lnTo>
                  <a:lnTo>
                    <a:pt x="984" y="1662"/>
                  </a:lnTo>
                  <a:lnTo>
                    <a:pt x="984" y="1656"/>
                  </a:lnTo>
                  <a:lnTo>
                    <a:pt x="978" y="1650"/>
                  </a:lnTo>
                  <a:lnTo>
                    <a:pt x="978" y="1644"/>
                  </a:lnTo>
                  <a:lnTo>
                    <a:pt x="966" y="1650"/>
                  </a:lnTo>
                  <a:lnTo>
                    <a:pt x="960" y="1638"/>
                  </a:lnTo>
                  <a:lnTo>
                    <a:pt x="954" y="1632"/>
                  </a:lnTo>
                  <a:lnTo>
                    <a:pt x="948" y="1632"/>
                  </a:lnTo>
                  <a:lnTo>
                    <a:pt x="942" y="1626"/>
                  </a:lnTo>
                  <a:lnTo>
                    <a:pt x="942" y="1614"/>
                  </a:lnTo>
                  <a:lnTo>
                    <a:pt x="930" y="1608"/>
                  </a:lnTo>
                  <a:lnTo>
                    <a:pt x="924" y="1614"/>
                  </a:lnTo>
                  <a:lnTo>
                    <a:pt x="912" y="1608"/>
                  </a:lnTo>
                  <a:lnTo>
                    <a:pt x="888" y="1590"/>
                  </a:lnTo>
                  <a:lnTo>
                    <a:pt x="894" y="1578"/>
                  </a:lnTo>
                  <a:lnTo>
                    <a:pt x="894" y="1572"/>
                  </a:lnTo>
                  <a:lnTo>
                    <a:pt x="894" y="1566"/>
                  </a:lnTo>
                  <a:lnTo>
                    <a:pt x="894" y="1548"/>
                  </a:lnTo>
                  <a:lnTo>
                    <a:pt x="888" y="1548"/>
                  </a:lnTo>
                  <a:lnTo>
                    <a:pt x="882" y="1542"/>
                  </a:lnTo>
                  <a:lnTo>
                    <a:pt x="876" y="1542"/>
                  </a:lnTo>
                  <a:lnTo>
                    <a:pt x="876" y="1536"/>
                  </a:lnTo>
                  <a:lnTo>
                    <a:pt x="870" y="1542"/>
                  </a:lnTo>
                  <a:lnTo>
                    <a:pt x="870" y="1554"/>
                  </a:lnTo>
                  <a:lnTo>
                    <a:pt x="870" y="1566"/>
                  </a:lnTo>
                  <a:lnTo>
                    <a:pt x="870" y="1578"/>
                  </a:lnTo>
                  <a:lnTo>
                    <a:pt x="870" y="1584"/>
                  </a:lnTo>
                  <a:lnTo>
                    <a:pt x="864" y="1584"/>
                  </a:lnTo>
                  <a:lnTo>
                    <a:pt x="870" y="1602"/>
                  </a:lnTo>
                  <a:lnTo>
                    <a:pt x="864" y="1608"/>
                  </a:lnTo>
                  <a:lnTo>
                    <a:pt x="870" y="1614"/>
                  </a:lnTo>
                  <a:lnTo>
                    <a:pt x="864" y="1644"/>
                  </a:lnTo>
                  <a:lnTo>
                    <a:pt x="858" y="1650"/>
                  </a:lnTo>
                  <a:lnTo>
                    <a:pt x="858" y="1656"/>
                  </a:lnTo>
                  <a:lnTo>
                    <a:pt x="852" y="1662"/>
                  </a:lnTo>
                  <a:lnTo>
                    <a:pt x="852" y="1680"/>
                  </a:lnTo>
                  <a:lnTo>
                    <a:pt x="846" y="1686"/>
                  </a:lnTo>
                  <a:lnTo>
                    <a:pt x="834" y="1692"/>
                  </a:lnTo>
                  <a:lnTo>
                    <a:pt x="828" y="1692"/>
                  </a:lnTo>
                  <a:lnTo>
                    <a:pt x="822" y="1698"/>
                  </a:lnTo>
                  <a:lnTo>
                    <a:pt x="822" y="1704"/>
                  </a:lnTo>
                  <a:lnTo>
                    <a:pt x="816" y="1704"/>
                  </a:lnTo>
                  <a:lnTo>
                    <a:pt x="804" y="1692"/>
                  </a:lnTo>
                  <a:lnTo>
                    <a:pt x="786" y="1698"/>
                  </a:lnTo>
                  <a:lnTo>
                    <a:pt x="780" y="1698"/>
                  </a:lnTo>
                  <a:lnTo>
                    <a:pt x="756" y="1698"/>
                  </a:lnTo>
                  <a:lnTo>
                    <a:pt x="744" y="1698"/>
                  </a:lnTo>
                  <a:lnTo>
                    <a:pt x="738" y="1698"/>
                  </a:lnTo>
                  <a:lnTo>
                    <a:pt x="732" y="1704"/>
                  </a:lnTo>
                  <a:lnTo>
                    <a:pt x="726" y="1704"/>
                  </a:lnTo>
                  <a:lnTo>
                    <a:pt x="678" y="1710"/>
                  </a:lnTo>
                  <a:lnTo>
                    <a:pt x="642" y="1710"/>
                  </a:lnTo>
                  <a:lnTo>
                    <a:pt x="618" y="1680"/>
                  </a:lnTo>
                  <a:lnTo>
                    <a:pt x="618" y="1674"/>
                  </a:lnTo>
                  <a:lnTo>
                    <a:pt x="618" y="1668"/>
                  </a:lnTo>
                  <a:lnTo>
                    <a:pt x="624" y="1662"/>
                  </a:lnTo>
                  <a:lnTo>
                    <a:pt x="624" y="1656"/>
                  </a:lnTo>
                  <a:lnTo>
                    <a:pt x="624" y="1650"/>
                  </a:lnTo>
                  <a:lnTo>
                    <a:pt x="618" y="1650"/>
                  </a:lnTo>
                  <a:lnTo>
                    <a:pt x="618" y="1644"/>
                  </a:lnTo>
                  <a:lnTo>
                    <a:pt x="618" y="1638"/>
                  </a:lnTo>
                  <a:lnTo>
                    <a:pt x="618" y="1632"/>
                  </a:lnTo>
                  <a:lnTo>
                    <a:pt x="618" y="1626"/>
                  </a:lnTo>
                  <a:lnTo>
                    <a:pt x="612" y="1626"/>
                  </a:lnTo>
                  <a:lnTo>
                    <a:pt x="612" y="1620"/>
                  </a:lnTo>
                  <a:lnTo>
                    <a:pt x="606" y="1614"/>
                  </a:lnTo>
                  <a:lnTo>
                    <a:pt x="594" y="1626"/>
                  </a:lnTo>
                  <a:lnTo>
                    <a:pt x="594" y="1632"/>
                  </a:lnTo>
                  <a:lnTo>
                    <a:pt x="588" y="1638"/>
                  </a:lnTo>
                  <a:lnTo>
                    <a:pt x="582" y="1638"/>
                  </a:lnTo>
                  <a:lnTo>
                    <a:pt x="564" y="1656"/>
                  </a:lnTo>
                  <a:lnTo>
                    <a:pt x="558" y="1662"/>
                  </a:lnTo>
                  <a:lnTo>
                    <a:pt x="552" y="1662"/>
                  </a:lnTo>
                  <a:lnTo>
                    <a:pt x="540" y="1674"/>
                  </a:lnTo>
                  <a:lnTo>
                    <a:pt x="534" y="1680"/>
                  </a:lnTo>
                  <a:lnTo>
                    <a:pt x="522" y="1692"/>
                  </a:lnTo>
                  <a:lnTo>
                    <a:pt x="516" y="1704"/>
                  </a:lnTo>
                  <a:lnTo>
                    <a:pt x="510" y="1704"/>
                  </a:lnTo>
                  <a:lnTo>
                    <a:pt x="504" y="1704"/>
                  </a:lnTo>
                  <a:lnTo>
                    <a:pt x="486" y="1722"/>
                  </a:lnTo>
                  <a:lnTo>
                    <a:pt x="480" y="1740"/>
                  </a:lnTo>
                  <a:lnTo>
                    <a:pt x="474" y="1740"/>
                  </a:lnTo>
                  <a:lnTo>
                    <a:pt x="468" y="1746"/>
                  </a:lnTo>
                  <a:lnTo>
                    <a:pt x="456" y="1758"/>
                  </a:lnTo>
                  <a:lnTo>
                    <a:pt x="444" y="1770"/>
                  </a:lnTo>
                  <a:lnTo>
                    <a:pt x="438" y="1782"/>
                  </a:lnTo>
                  <a:lnTo>
                    <a:pt x="426" y="1788"/>
                  </a:lnTo>
                  <a:lnTo>
                    <a:pt x="420" y="1788"/>
                  </a:lnTo>
                  <a:lnTo>
                    <a:pt x="420" y="1782"/>
                  </a:lnTo>
                  <a:lnTo>
                    <a:pt x="414" y="1782"/>
                  </a:lnTo>
                  <a:lnTo>
                    <a:pt x="390" y="1782"/>
                  </a:lnTo>
                  <a:lnTo>
                    <a:pt x="390" y="1776"/>
                  </a:lnTo>
                  <a:lnTo>
                    <a:pt x="384" y="1776"/>
                  </a:lnTo>
                  <a:lnTo>
                    <a:pt x="378" y="1776"/>
                  </a:lnTo>
                  <a:lnTo>
                    <a:pt x="372" y="1776"/>
                  </a:lnTo>
                  <a:lnTo>
                    <a:pt x="366" y="1770"/>
                  </a:lnTo>
                  <a:lnTo>
                    <a:pt x="366" y="1776"/>
                  </a:lnTo>
                  <a:lnTo>
                    <a:pt x="360" y="1788"/>
                  </a:lnTo>
                  <a:lnTo>
                    <a:pt x="360" y="1794"/>
                  </a:lnTo>
                  <a:lnTo>
                    <a:pt x="360" y="1800"/>
                  </a:lnTo>
                  <a:lnTo>
                    <a:pt x="354" y="1806"/>
                  </a:lnTo>
                  <a:lnTo>
                    <a:pt x="354" y="1812"/>
                  </a:lnTo>
                  <a:lnTo>
                    <a:pt x="354" y="1824"/>
                  </a:lnTo>
                  <a:lnTo>
                    <a:pt x="348" y="1830"/>
                  </a:lnTo>
                  <a:lnTo>
                    <a:pt x="354" y="1836"/>
                  </a:lnTo>
                  <a:lnTo>
                    <a:pt x="348" y="1842"/>
                  </a:lnTo>
                  <a:lnTo>
                    <a:pt x="354" y="1848"/>
                  </a:lnTo>
                  <a:lnTo>
                    <a:pt x="348" y="1854"/>
                  </a:lnTo>
                  <a:lnTo>
                    <a:pt x="354" y="1854"/>
                  </a:lnTo>
                  <a:lnTo>
                    <a:pt x="348" y="1860"/>
                  </a:lnTo>
                  <a:lnTo>
                    <a:pt x="348" y="1866"/>
                  </a:lnTo>
                  <a:lnTo>
                    <a:pt x="342" y="1866"/>
                  </a:lnTo>
                  <a:lnTo>
                    <a:pt x="342" y="1872"/>
                  </a:lnTo>
                  <a:lnTo>
                    <a:pt x="342" y="1878"/>
                  </a:lnTo>
                  <a:lnTo>
                    <a:pt x="342" y="1884"/>
                  </a:lnTo>
                  <a:lnTo>
                    <a:pt x="336" y="1896"/>
                  </a:lnTo>
                  <a:lnTo>
                    <a:pt x="330" y="1914"/>
                  </a:lnTo>
                  <a:lnTo>
                    <a:pt x="324" y="1920"/>
                  </a:lnTo>
                  <a:lnTo>
                    <a:pt x="324" y="1926"/>
                  </a:lnTo>
                  <a:lnTo>
                    <a:pt x="318" y="1944"/>
                  </a:lnTo>
                  <a:lnTo>
                    <a:pt x="318" y="1950"/>
                  </a:lnTo>
                  <a:lnTo>
                    <a:pt x="312" y="1956"/>
                  </a:lnTo>
                  <a:lnTo>
                    <a:pt x="312" y="1950"/>
                  </a:lnTo>
                  <a:lnTo>
                    <a:pt x="306" y="1950"/>
                  </a:lnTo>
                  <a:lnTo>
                    <a:pt x="306" y="1956"/>
                  </a:lnTo>
                  <a:lnTo>
                    <a:pt x="300" y="1950"/>
                  </a:lnTo>
                  <a:lnTo>
                    <a:pt x="294" y="1956"/>
                  </a:lnTo>
                  <a:lnTo>
                    <a:pt x="288" y="1950"/>
                  </a:lnTo>
                  <a:lnTo>
                    <a:pt x="288" y="1944"/>
                  </a:lnTo>
                  <a:lnTo>
                    <a:pt x="282" y="1938"/>
                  </a:lnTo>
                  <a:lnTo>
                    <a:pt x="282" y="1932"/>
                  </a:lnTo>
                  <a:lnTo>
                    <a:pt x="282" y="1890"/>
                  </a:lnTo>
                  <a:lnTo>
                    <a:pt x="288" y="1860"/>
                  </a:lnTo>
                  <a:lnTo>
                    <a:pt x="294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300" y="1818"/>
                  </a:lnTo>
                  <a:lnTo>
                    <a:pt x="306" y="1794"/>
                  </a:lnTo>
                  <a:lnTo>
                    <a:pt x="306" y="1788"/>
                  </a:lnTo>
                  <a:lnTo>
                    <a:pt x="306" y="1782"/>
                  </a:lnTo>
                  <a:lnTo>
                    <a:pt x="312" y="1776"/>
                  </a:lnTo>
                  <a:lnTo>
                    <a:pt x="306" y="1776"/>
                  </a:lnTo>
                  <a:lnTo>
                    <a:pt x="312" y="1770"/>
                  </a:lnTo>
                  <a:lnTo>
                    <a:pt x="312" y="1740"/>
                  </a:lnTo>
                  <a:lnTo>
                    <a:pt x="318" y="1722"/>
                  </a:lnTo>
                  <a:lnTo>
                    <a:pt x="312" y="1722"/>
                  </a:lnTo>
                  <a:lnTo>
                    <a:pt x="300" y="1716"/>
                  </a:lnTo>
                  <a:lnTo>
                    <a:pt x="306" y="1716"/>
                  </a:lnTo>
                  <a:lnTo>
                    <a:pt x="312" y="1710"/>
                  </a:lnTo>
                  <a:lnTo>
                    <a:pt x="324" y="1674"/>
                  </a:lnTo>
                  <a:lnTo>
                    <a:pt x="366" y="1590"/>
                  </a:lnTo>
                  <a:lnTo>
                    <a:pt x="408" y="1548"/>
                  </a:lnTo>
                  <a:lnTo>
                    <a:pt x="426" y="1530"/>
                  </a:lnTo>
                  <a:lnTo>
                    <a:pt x="432" y="1500"/>
                  </a:lnTo>
                  <a:lnTo>
                    <a:pt x="426" y="1494"/>
                  </a:lnTo>
                  <a:lnTo>
                    <a:pt x="426" y="1482"/>
                  </a:lnTo>
                  <a:lnTo>
                    <a:pt x="432" y="1464"/>
                  </a:lnTo>
                  <a:lnTo>
                    <a:pt x="438" y="1428"/>
                  </a:lnTo>
                  <a:lnTo>
                    <a:pt x="462" y="1398"/>
                  </a:lnTo>
                  <a:lnTo>
                    <a:pt x="468" y="1362"/>
                  </a:lnTo>
                  <a:lnTo>
                    <a:pt x="462" y="1314"/>
                  </a:lnTo>
                  <a:lnTo>
                    <a:pt x="444" y="1284"/>
                  </a:lnTo>
                  <a:lnTo>
                    <a:pt x="432" y="1260"/>
                  </a:lnTo>
                  <a:lnTo>
                    <a:pt x="426" y="1260"/>
                  </a:lnTo>
                  <a:lnTo>
                    <a:pt x="420" y="1254"/>
                  </a:lnTo>
                  <a:lnTo>
                    <a:pt x="408" y="1260"/>
                  </a:lnTo>
                  <a:lnTo>
                    <a:pt x="402" y="1260"/>
                  </a:lnTo>
                  <a:lnTo>
                    <a:pt x="402" y="1254"/>
                  </a:lnTo>
                  <a:lnTo>
                    <a:pt x="396" y="1254"/>
                  </a:lnTo>
                  <a:lnTo>
                    <a:pt x="396" y="1248"/>
                  </a:lnTo>
                  <a:lnTo>
                    <a:pt x="384" y="1248"/>
                  </a:lnTo>
                  <a:lnTo>
                    <a:pt x="372" y="1230"/>
                  </a:lnTo>
                  <a:lnTo>
                    <a:pt x="360" y="1212"/>
                  </a:lnTo>
                  <a:lnTo>
                    <a:pt x="348" y="1188"/>
                  </a:lnTo>
                  <a:lnTo>
                    <a:pt x="324" y="1170"/>
                  </a:lnTo>
                  <a:lnTo>
                    <a:pt x="318" y="1170"/>
                  </a:lnTo>
                  <a:lnTo>
                    <a:pt x="312" y="1158"/>
                  </a:lnTo>
                  <a:lnTo>
                    <a:pt x="312" y="1152"/>
                  </a:lnTo>
                  <a:lnTo>
                    <a:pt x="306" y="1146"/>
                  </a:lnTo>
                  <a:lnTo>
                    <a:pt x="270" y="1122"/>
                  </a:lnTo>
                  <a:lnTo>
                    <a:pt x="240" y="1122"/>
                  </a:lnTo>
                  <a:lnTo>
                    <a:pt x="180" y="1116"/>
                  </a:lnTo>
                  <a:lnTo>
                    <a:pt x="174" y="1122"/>
                  </a:lnTo>
                  <a:lnTo>
                    <a:pt x="174" y="1128"/>
                  </a:lnTo>
                  <a:lnTo>
                    <a:pt x="168" y="1122"/>
                  </a:lnTo>
                  <a:lnTo>
                    <a:pt x="162" y="1116"/>
                  </a:lnTo>
                  <a:lnTo>
                    <a:pt x="144" y="1122"/>
                  </a:lnTo>
                  <a:lnTo>
                    <a:pt x="120" y="1122"/>
                  </a:lnTo>
                  <a:lnTo>
                    <a:pt x="54" y="1134"/>
                  </a:lnTo>
                  <a:lnTo>
                    <a:pt x="24" y="1152"/>
                  </a:lnTo>
                  <a:lnTo>
                    <a:pt x="6" y="1146"/>
                  </a:lnTo>
                  <a:lnTo>
                    <a:pt x="0" y="1134"/>
                  </a:lnTo>
                  <a:lnTo>
                    <a:pt x="0" y="1128"/>
                  </a:lnTo>
                  <a:lnTo>
                    <a:pt x="18" y="1110"/>
                  </a:lnTo>
                  <a:lnTo>
                    <a:pt x="24" y="1104"/>
                  </a:lnTo>
                  <a:lnTo>
                    <a:pt x="24" y="1098"/>
                  </a:lnTo>
                  <a:lnTo>
                    <a:pt x="30" y="1086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24" y="1074"/>
                  </a:lnTo>
                  <a:lnTo>
                    <a:pt x="18" y="1068"/>
                  </a:lnTo>
                  <a:lnTo>
                    <a:pt x="24" y="1062"/>
                  </a:lnTo>
                  <a:lnTo>
                    <a:pt x="42" y="1056"/>
                  </a:lnTo>
                  <a:lnTo>
                    <a:pt x="54" y="1050"/>
                  </a:lnTo>
                  <a:lnTo>
                    <a:pt x="72" y="1044"/>
                  </a:lnTo>
                  <a:lnTo>
                    <a:pt x="96" y="1032"/>
                  </a:lnTo>
                  <a:lnTo>
                    <a:pt x="102" y="1032"/>
                  </a:lnTo>
                  <a:lnTo>
                    <a:pt x="126" y="1008"/>
                  </a:lnTo>
                  <a:lnTo>
                    <a:pt x="144" y="990"/>
                  </a:lnTo>
                  <a:lnTo>
                    <a:pt x="156" y="978"/>
                  </a:lnTo>
                  <a:lnTo>
                    <a:pt x="156" y="966"/>
                  </a:lnTo>
                  <a:lnTo>
                    <a:pt x="150" y="960"/>
                  </a:lnTo>
                  <a:lnTo>
                    <a:pt x="144" y="948"/>
                  </a:lnTo>
                  <a:lnTo>
                    <a:pt x="144" y="936"/>
                  </a:lnTo>
                  <a:lnTo>
                    <a:pt x="138" y="918"/>
                  </a:lnTo>
                  <a:lnTo>
                    <a:pt x="150" y="912"/>
                  </a:lnTo>
                  <a:lnTo>
                    <a:pt x="150" y="894"/>
                  </a:lnTo>
                  <a:lnTo>
                    <a:pt x="132" y="876"/>
                  </a:lnTo>
                  <a:lnTo>
                    <a:pt x="126" y="876"/>
                  </a:lnTo>
                  <a:lnTo>
                    <a:pt x="120" y="870"/>
                  </a:lnTo>
                  <a:lnTo>
                    <a:pt x="120" y="864"/>
                  </a:lnTo>
                  <a:lnTo>
                    <a:pt x="114" y="864"/>
                  </a:lnTo>
                  <a:lnTo>
                    <a:pt x="108" y="864"/>
                  </a:lnTo>
                  <a:lnTo>
                    <a:pt x="108" y="858"/>
                  </a:lnTo>
                  <a:lnTo>
                    <a:pt x="102" y="852"/>
                  </a:lnTo>
                  <a:lnTo>
                    <a:pt x="96" y="852"/>
                  </a:lnTo>
                  <a:lnTo>
                    <a:pt x="102" y="834"/>
                  </a:lnTo>
                  <a:lnTo>
                    <a:pt x="108" y="816"/>
                  </a:lnTo>
                  <a:lnTo>
                    <a:pt x="114" y="804"/>
                  </a:lnTo>
                  <a:lnTo>
                    <a:pt x="132" y="798"/>
                  </a:lnTo>
                  <a:lnTo>
                    <a:pt x="144" y="798"/>
                  </a:lnTo>
                  <a:lnTo>
                    <a:pt x="180" y="810"/>
                  </a:lnTo>
                  <a:lnTo>
                    <a:pt x="192" y="816"/>
                  </a:lnTo>
                  <a:lnTo>
                    <a:pt x="234" y="822"/>
                  </a:lnTo>
                  <a:lnTo>
                    <a:pt x="264" y="828"/>
                  </a:lnTo>
                  <a:lnTo>
                    <a:pt x="270" y="840"/>
                  </a:lnTo>
                  <a:lnTo>
                    <a:pt x="270" y="834"/>
                  </a:lnTo>
                  <a:lnTo>
                    <a:pt x="270" y="828"/>
                  </a:lnTo>
                  <a:lnTo>
                    <a:pt x="270" y="822"/>
                  </a:lnTo>
                  <a:lnTo>
                    <a:pt x="270" y="816"/>
                  </a:lnTo>
                  <a:lnTo>
                    <a:pt x="264" y="810"/>
                  </a:lnTo>
                  <a:lnTo>
                    <a:pt x="264" y="804"/>
                  </a:lnTo>
                  <a:lnTo>
                    <a:pt x="264" y="798"/>
                  </a:lnTo>
                  <a:lnTo>
                    <a:pt x="258" y="792"/>
                  </a:lnTo>
                  <a:lnTo>
                    <a:pt x="258" y="786"/>
                  </a:lnTo>
                  <a:lnTo>
                    <a:pt x="264" y="786"/>
                  </a:lnTo>
                  <a:lnTo>
                    <a:pt x="264" y="780"/>
                  </a:lnTo>
                  <a:lnTo>
                    <a:pt x="258" y="774"/>
                  </a:lnTo>
                  <a:lnTo>
                    <a:pt x="258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82" y="762"/>
                  </a:lnTo>
                  <a:lnTo>
                    <a:pt x="312" y="780"/>
                  </a:lnTo>
                  <a:lnTo>
                    <a:pt x="354" y="786"/>
                  </a:lnTo>
                  <a:lnTo>
                    <a:pt x="408" y="774"/>
                  </a:lnTo>
                  <a:lnTo>
                    <a:pt x="444" y="756"/>
                  </a:lnTo>
                  <a:lnTo>
                    <a:pt x="468" y="732"/>
                  </a:lnTo>
                  <a:lnTo>
                    <a:pt x="492" y="720"/>
                  </a:lnTo>
                  <a:lnTo>
                    <a:pt x="522" y="690"/>
                  </a:lnTo>
                  <a:lnTo>
                    <a:pt x="540" y="672"/>
                  </a:lnTo>
                  <a:lnTo>
                    <a:pt x="558" y="660"/>
                  </a:lnTo>
                  <a:lnTo>
                    <a:pt x="570" y="636"/>
                  </a:lnTo>
                  <a:lnTo>
                    <a:pt x="588" y="612"/>
                  </a:lnTo>
                  <a:lnTo>
                    <a:pt x="654" y="552"/>
                  </a:lnTo>
                  <a:lnTo>
                    <a:pt x="678" y="528"/>
                  </a:lnTo>
                  <a:lnTo>
                    <a:pt x="696" y="510"/>
                  </a:lnTo>
                  <a:lnTo>
                    <a:pt x="714" y="498"/>
                  </a:lnTo>
                  <a:lnTo>
                    <a:pt x="750" y="480"/>
                  </a:lnTo>
                  <a:lnTo>
                    <a:pt x="774" y="444"/>
                  </a:lnTo>
                  <a:lnTo>
                    <a:pt x="816" y="426"/>
                  </a:lnTo>
                  <a:lnTo>
                    <a:pt x="864" y="420"/>
                  </a:lnTo>
                  <a:lnTo>
                    <a:pt x="912" y="402"/>
                  </a:lnTo>
                  <a:lnTo>
                    <a:pt x="906" y="396"/>
                  </a:lnTo>
                  <a:lnTo>
                    <a:pt x="912" y="396"/>
                  </a:lnTo>
                  <a:lnTo>
                    <a:pt x="912" y="390"/>
                  </a:lnTo>
                  <a:lnTo>
                    <a:pt x="918" y="384"/>
                  </a:lnTo>
                  <a:lnTo>
                    <a:pt x="924" y="384"/>
                  </a:lnTo>
                  <a:lnTo>
                    <a:pt x="924" y="378"/>
                  </a:lnTo>
                  <a:lnTo>
                    <a:pt x="918" y="372"/>
                  </a:lnTo>
                  <a:lnTo>
                    <a:pt x="918" y="366"/>
                  </a:lnTo>
                  <a:lnTo>
                    <a:pt x="918" y="360"/>
                  </a:lnTo>
                  <a:lnTo>
                    <a:pt x="924" y="360"/>
                  </a:lnTo>
                  <a:lnTo>
                    <a:pt x="924" y="354"/>
                  </a:lnTo>
                  <a:lnTo>
                    <a:pt x="930" y="354"/>
                  </a:lnTo>
                  <a:lnTo>
                    <a:pt x="936" y="354"/>
                  </a:lnTo>
                  <a:lnTo>
                    <a:pt x="936" y="348"/>
                  </a:lnTo>
                  <a:lnTo>
                    <a:pt x="942" y="348"/>
                  </a:lnTo>
                  <a:lnTo>
                    <a:pt x="942" y="336"/>
                  </a:lnTo>
                  <a:lnTo>
                    <a:pt x="936" y="336"/>
                  </a:lnTo>
                  <a:lnTo>
                    <a:pt x="930" y="330"/>
                  </a:lnTo>
                  <a:lnTo>
                    <a:pt x="924" y="330"/>
                  </a:lnTo>
                  <a:lnTo>
                    <a:pt x="924" y="324"/>
                  </a:lnTo>
                  <a:lnTo>
                    <a:pt x="918" y="318"/>
                  </a:lnTo>
                  <a:lnTo>
                    <a:pt x="912" y="306"/>
                  </a:lnTo>
                  <a:lnTo>
                    <a:pt x="918" y="306"/>
                  </a:lnTo>
                  <a:lnTo>
                    <a:pt x="924" y="300"/>
                  </a:lnTo>
                  <a:lnTo>
                    <a:pt x="924" y="294"/>
                  </a:lnTo>
                  <a:lnTo>
                    <a:pt x="924" y="288"/>
                  </a:lnTo>
                  <a:lnTo>
                    <a:pt x="924" y="282"/>
                  </a:lnTo>
                  <a:lnTo>
                    <a:pt x="924" y="276"/>
                  </a:lnTo>
                  <a:lnTo>
                    <a:pt x="918" y="270"/>
                  </a:lnTo>
                  <a:lnTo>
                    <a:pt x="918" y="264"/>
                  </a:lnTo>
                  <a:lnTo>
                    <a:pt x="912" y="270"/>
                  </a:lnTo>
                  <a:lnTo>
                    <a:pt x="912" y="264"/>
                  </a:lnTo>
                  <a:lnTo>
                    <a:pt x="912" y="258"/>
                  </a:lnTo>
                  <a:lnTo>
                    <a:pt x="912" y="252"/>
                  </a:lnTo>
                  <a:lnTo>
                    <a:pt x="906" y="252"/>
                  </a:lnTo>
                  <a:lnTo>
                    <a:pt x="900" y="246"/>
                  </a:lnTo>
                  <a:lnTo>
                    <a:pt x="900" y="240"/>
                  </a:lnTo>
                  <a:lnTo>
                    <a:pt x="900" y="246"/>
                  </a:lnTo>
                  <a:lnTo>
                    <a:pt x="894" y="246"/>
                  </a:lnTo>
                  <a:lnTo>
                    <a:pt x="894" y="240"/>
                  </a:lnTo>
                  <a:lnTo>
                    <a:pt x="894" y="234"/>
                  </a:lnTo>
                  <a:lnTo>
                    <a:pt x="900" y="234"/>
                  </a:lnTo>
                  <a:lnTo>
                    <a:pt x="900" y="228"/>
                  </a:lnTo>
                  <a:lnTo>
                    <a:pt x="906" y="228"/>
                  </a:lnTo>
                  <a:lnTo>
                    <a:pt x="900" y="222"/>
                  </a:lnTo>
                  <a:lnTo>
                    <a:pt x="894" y="216"/>
                  </a:lnTo>
                  <a:lnTo>
                    <a:pt x="894" y="210"/>
                  </a:lnTo>
                  <a:lnTo>
                    <a:pt x="888" y="210"/>
                  </a:lnTo>
                  <a:lnTo>
                    <a:pt x="888" y="204"/>
                  </a:lnTo>
                  <a:lnTo>
                    <a:pt x="888" y="198"/>
                  </a:lnTo>
                  <a:lnTo>
                    <a:pt x="888" y="192"/>
                  </a:lnTo>
                  <a:lnTo>
                    <a:pt x="882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82" y="174"/>
                  </a:lnTo>
                  <a:lnTo>
                    <a:pt x="888" y="168"/>
                  </a:lnTo>
                  <a:lnTo>
                    <a:pt x="888" y="162"/>
                  </a:lnTo>
                  <a:lnTo>
                    <a:pt x="888" y="156"/>
                  </a:lnTo>
                  <a:lnTo>
                    <a:pt x="888" y="150"/>
                  </a:lnTo>
                  <a:lnTo>
                    <a:pt x="888" y="144"/>
                  </a:lnTo>
                  <a:lnTo>
                    <a:pt x="882" y="144"/>
                  </a:lnTo>
                  <a:lnTo>
                    <a:pt x="882" y="138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76" y="120"/>
                  </a:lnTo>
                  <a:lnTo>
                    <a:pt x="882" y="114"/>
                  </a:lnTo>
                  <a:lnTo>
                    <a:pt x="882" y="108"/>
                  </a:lnTo>
                  <a:lnTo>
                    <a:pt x="888" y="102"/>
                  </a:lnTo>
                  <a:lnTo>
                    <a:pt x="894" y="102"/>
                  </a:lnTo>
                  <a:lnTo>
                    <a:pt x="894" y="96"/>
                  </a:lnTo>
                  <a:lnTo>
                    <a:pt x="888" y="96"/>
                  </a:lnTo>
                  <a:lnTo>
                    <a:pt x="894" y="90"/>
                  </a:lnTo>
                  <a:lnTo>
                    <a:pt x="888" y="84"/>
                  </a:lnTo>
                  <a:lnTo>
                    <a:pt x="888" y="78"/>
                  </a:lnTo>
                  <a:lnTo>
                    <a:pt x="924" y="66"/>
                  </a:lnTo>
                  <a:lnTo>
                    <a:pt x="966" y="66"/>
                  </a:lnTo>
                  <a:lnTo>
                    <a:pt x="996" y="48"/>
                  </a:lnTo>
                  <a:lnTo>
                    <a:pt x="1056" y="12"/>
                  </a:lnTo>
                  <a:lnTo>
                    <a:pt x="1128" y="0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0" y="18"/>
                  </a:lnTo>
                  <a:lnTo>
                    <a:pt x="1176" y="24"/>
                  </a:lnTo>
                  <a:lnTo>
                    <a:pt x="1182" y="24"/>
                  </a:lnTo>
                  <a:lnTo>
                    <a:pt x="1188" y="30"/>
                  </a:lnTo>
                  <a:lnTo>
                    <a:pt x="1194" y="30"/>
                  </a:lnTo>
                  <a:lnTo>
                    <a:pt x="1194" y="36"/>
                  </a:lnTo>
                  <a:lnTo>
                    <a:pt x="1260" y="30"/>
                  </a:lnTo>
                  <a:lnTo>
                    <a:pt x="1272" y="30"/>
                  </a:lnTo>
                  <a:lnTo>
                    <a:pt x="1296" y="24"/>
                  </a:lnTo>
                  <a:lnTo>
                    <a:pt x="1302" y="30"/>
                  </a:lnTo>
                  <a:lnTo>
                    <a:pt x="1302" y="36"/>
                  </a:lnTo>
                  <a:lnTo>
                    <a:pt x="1308" y="36"/>
                  </a:lnTo>
                  <a:lnTo>
                    <a:pt x="1314" y="36"/>
                  </a:lnTo>
                  <a:lnTo>
                    <a:pt x="1320" y="36"/>
                  </a:lnTo>
                  <a:lnTo>
                    <a:pt x="1326" y="30"/>
                  </a:lnTo>
                  <a:lnTo>
                    <a:pt x="1332" y="30"/>
                  </a:lnTo>
                  <a:lnTo>
                    <a:pt x="1338" y="30"/>
                  </a:lnTo>
                  <a:lnTo>
                    <a:pt x="1344" y="30"/>
                  </a:lnTo>
                  <a:lnTo>
                    <a:pt x="1374" y="30"/>
                  </a:lnTo>
                  <a:lnTo>
                    <a:pt x="1386" y="30"/>
                  </a:lnTo>
                  <a:lnTo>
                    <a:pt x="1392" y="24"/>
                  </a:lnTo>
                  <a:lnTo>
                    <a:pt x="1398" y="12"/>
                  </a:lnTo>
                  <a:lnTo>
                    <a:pt x="1404" y="6"/>
                  </a:lnTo>
                  <a:lnTo>
                    <a:pt x="1410" y="6"/>
                  </a:lnTo>
                  <a:lnTo>
                    <a:pt x="1410" y="12"/>
                  </a:lnTo>
                  <a:lnTo>
                    <a:pt x="1416" y="18"/>
                  </a:lnTo>
                  <a:lnTo>
                    <a:pt x="1416" y="36"/>
                  </a:lnTo>
                  <a:lnTo>
                    <a:pt x="1434" y="54"/>
                  </a:lnTo>
                  <a:lnTo>
                    <a:pt x="1434" y="60"/>
                  </a:lnTo>
                  <a:lnTo>
                    <a:pt x="1434" y="66"/>
                  </a:lnTo>
                  <a:lnTo>
                    <a:pt x="1434" y="72"/>
                  </a:lnTo>
                  <a:lnTo>
                    <a:pt x="1428" y="72"/>
                  </a:lnTo>
                  <a:lnTo>
                    <a:pt x="1428" y="78"/>
                  </a:lnTo>
                  <a:lnTo>
                    <a:pt x="1434" y="78"/>
                  </a:lnTo>
                  <a:lnTo>
                    <a:pt x="1440" y="84"/>
                  </a:lnTo>
                  <a:lnTo>
                    <a:pt x="1440" y="90"/>
                  </a:lnTo>
                  <a:lnTo>
                    <a:pt x="1440" y="96"/>
                  </a:lnTo>
                  <a:lnTo>
                    <a:pt x="1446" y="96"/>
                  </a:lnTo>
                  <a:lnTo>
                    <a:pt x="1446" y="108"/>
                  </a:lnTo>
                  <a:lnTo>
                    <a:pt x="1452" y="108"/>
                  </a:lnTo>
                  <a:lnTo>
                    <a:pt x="1452" y="114"/>
                  </a:lnTo>
                  <a:lnTo>
                    <a:pt x="1458" y="114"/>
                  </a:lnTo>
                  <a:lnTo>
                    <a:pt x="1470" y="120"/>
                  </a:lnTo>
                  <a:lnTo>
                    <a:pt x="1476" y="120"/>
                  </a:lnTo>
                  <a:lnTo>
                    <a:pt x="1476" y="114"/>
                  </a:lnTo>
                  <a:lnTo>
                    <a:pt x="1488" y="120"/>
                  </a:lnTo>
                  <a:lnTo>
                    <a:pt x="1506" y="120"/>
                  </a:lnTo>
                  <a:lnTo>
                    <a:pt x="1512" y="120"/>
                  </a:lnTo>
                  <a:lnTo>
                    <a:pt x="1518" y="120"/>
                  </a:lnTo>
                  <a:lnTo>
                    <a:pt x="1524" y="126"/>
                  </a:lnTo>
                  <a:lnTo>
                    <a:pt x="1536" y="150"/>
                  </a:lnTo>
                  <a:lnTo>
                    <a:pt x="1548" y="162"/>
                  </a:lnTo>
                  <a:lnTo>
                    <a:pt x="1554" y="168"/>
                  </a:lnTo>
                  <a:lnTo>
                    <a:pt x="1584" y="228"/>
                  </a:lnTo>
                  <a:lnTo>
                    <a:pt x="1584" y="234"/>
                  </a:lnTo>
                  <a:lnTo>
                    <a:pt x="1578" y="312"/>
                  </a:lnTo>
                  <a:lnTo>
                    <a:pt x="1590" y="318"/>
                  </a:lnTo>
                  <a:lnTo>
                    <a:pt x="1608" y="330"/>
                  </a:lnTo>
                  <a:lnTo>
                    <a:pt x="1620" y="342"/>
                  </a:lnTo>
                  <a:lnTo>
                    <a:pt x="1626" y="342"/>
                  </a:lnTo>
                  <a:lnTo>
                    <a:pt x="1692" y="360"/>
                  </a:lnTo>
                  <a:lnTo>
                    <a:pt x="1710" y="408"/>
                  </a:lnTo>
                  <a:lnTo>
                    <a:pt x="1722" y="426"/>
                  </a:lnTo>
                  <a:lnTo>
                    <a:pt x="1716" y="468"/>
                  </a:lnTo>
                  <a:lnTo>
                    <a:pt x="1686" y="486"/>
                  </a:lnTo>
                  <a:lnTo>
                    <a:pt x="1686" y="492"/>
                  </a:lnTo>
                  <a:lnTo>
                    <a:pt x="1680" y="498"/>
                  </a:lnTo>
                  <a:lnTo>
                    <a:pt x="1650" y="558"/>
                  </a:lnTo>
                  <a:lnTo>
                    <a:pt x="1650" y="570"/>
                  </a:lnTo>
                  <a:lnTo>
                    <a:pt x="1644" y="570"/>
                  </a:lnTo>
                  <a:lnTo>
                    <a:pt x="1638" y="582"/>
                  </a:lnTo>
                  <a:lnTo>
                    <a:pt x="1638" y="624"/>
                  </a:lnTo>
                  <a:lnTo>
                    <a:pt x="1638" y="636"/>
                  </a:lnTo>
                  <a:lnTo>
                    <a:pt x="1638" y="642"/>
                  </a:lnTo>
                  <a:lnTo>
                    <a:pt x="1632" y="660"/>
                  </a:lnTo>
                  <a:lnTo>
                    <a:pt x="1608" y="678"/>
                  </a:lnTo>
                  <a:lnTo>
                    <a:pt x="1584" y="690"/>
                  </a:lnTo>
                  <a:lnTo>
                    <a:pt x="1584" y="696"/>
                  </a:lnTo>
                  <a:lnTo>
                    <a:pt x="1578" y="702"/>
                  </a:lnTo>
                  <a:lnTo>
                    <a:pt x="1584" y="702"/>
                  </a:lnTo>
                  <a:lnTo>
                    <a:pt x="1578" y="714"/>
                  </a:lnTo>
                  <a:lnTo>
                    <a:pt x="1572" y="714"/>
                  </a:lnTo>
                  <a:lnTo>
                    <a:pt x="1572" y="720"/>
                  </a:lnTo>
                  <a:lnTo>
                    <a:pt x="1566" y="720"/>
                  </a:lnTo>
                  <a:lnTo>
                    <a:pt x="1560" y="726"/>
                  </a:lnTo>
                  <a:lnTo>
                    <a:pt x="1560" y="732"/>
                  </a:lnTo>
                  <a:lnTo>
                    <a:pt x="1554" y="732"/>
                  </a:lnTo>
                  <a:lnTo>
                    <a:pt x="1554" y="738"/>
                  </a:lnTo>
                  <a:lnTo>
                    <a:pt x="1554" y="744"/>
                  </a:lnTo>
                  <a:lnTo>
                    <a:pt x="1548" y="744"/>
                  </a:lnTo>
                  <a:lnTo>
                    <a:pt x="1548" y="738"/>
                  </a:lnTo>
                  <a:lnTo>
                    <a:pt x="1542" y="738"/>
                  </a:lnTo>
                  <a:lnTo>
                    <a:pt x="1542" y="744"/>
                  </a:lnTo>
                  <a:lnTo>
                    <a:pt x="1542" y="750"/>
                  </a:lnTo>
                  <a:lnTo>
                    <a:pt x="1494" y="804"/>
                  </a:lnTo>
                  <a:lnTo>
                    <a:pt x="1446" y="876"/>
                  </a:lnTo>
                  <a:lnTo>
                    <a:pt x="1440" y="876"/>
                  </a:lnTo>
                  <a:lnTo>
                    <a:pt x="1434" y="876"/>
                  </a:lnTo>
                  <a:lnTo>
                    <a:pt x="1428" y="882"/>
                  </a:lnTo>
                  <a:lnTo>
                    <a:pt x="1422" y="882"/>
                  </a:lnTo>
                  <a:lnTo>
                    <a:pt x="1386" y="924"/>
                  </a:lnTo>
                  <a:lnTo>
                    <a:pt x="1362" y="954"/>
                  </a:lnTo>
                  <a:lnTo>
                    <a:pt x="1356" y="984"/>
                  </a:lnTo>
                  <a:lnTo>
                    <a:pt x="1362" y="1002"/>
                  </a:lnTo>
                  <a:lnTo>
                    <a:pt x="1368" y="1020"/>
                  </a:lnTo>
                  <a:lnTo>
                    <a:pt x="1386" y="1056"/>
                  </a:lnTo>
                  <a:lnTo>
                    <a:pt x="1404" y="1074"/>
                  </a:lnTo>
                  <a:lnTo>
                    <a:pt x="1416" y="1080"/>
                  </a:lnTo>
                  <a:lnTo>
                    <a:pt x="1416" y="1086"/>
                  </a:lnTo>
                  <a:lnTo>
                    <a:pt x="1422" y="1098"/>
                  </a:lnTo>
                  <a:lnTo>
                    <a:pt x="1422" y="1110"/>
                  </a:lnTo>
                  <a:lnTo>
                    <a:pt x="1428" y="1116"/>
                  </a:lnTo>
                  <a:lnTo>
                    <a:pt x="1434" y="1116"/>
                  </a:lnTo>
                  <a:lnTo>
                    <a:pt x="1434" y="1122"/>
                  </a:lnTo>
                  <a:lnTo>
                    <a:pt x="1434" y="1128"/>
                  </a:lnTo>
                  <a:lnTo>
                    <a:pt x="1440" y="1134"/>
                  </a:lnTo>
                  <a:lnTo>
                    <a:pt x="1446" y="1134"/>
                  </a:lnTo>
                  <a:lnTo>
                    <a:pt x="1458" y="1134"/>
                  </a:lnTo>
                  <a:lnTo>
                    <a:pt x="1458" y="1140"/>
                  </a:lnTo>
                  <a:lnTo>
                    <a:pt x="1464" y="1134"/>
                  </a:lnTo>
                  <a:lnTo>
                    <a:pt x="1470" y="1134"/>
                  </a:lnTo>
                  <a:lnTo>
                    <a:pt x="1464" y="1128"/>
                  </a:lnTo>
                  <a:lnTo>
                    <a:pt x="1464" y="1122"/>
                  </a:lnTo>
                  <a:lnTo>
                    <a:pt x="1470" y="1116"/>
                  </a:lnTo>
                  <a:lnTo>
                    <a:pt x="1470" y="1122"/>
                  </a:lnTo>
                  <a:lnTo>
                    <a:pt x="1476" y="1122"/>
                  </a:lnTo>
                  <a:lnTo>
                    <a:pt x="1476" y="1116"/>
                  </a:lnTo>
                  <a:lnTo>
                    <a:pt x="1482" y="1110"/>
                  </a:lnTo>
                  <a:lnTo>
                    <a:pt x="1476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82" y="1086"/>
                  </a:lnTo>
                  <a:lnTo>
                    <a:pt x="1482" y="1074"/>
                  </a:lnTo>
                  <a:lnTo>
                    <a:pt x="1488" y="1068"/>
                  </a:lnTo>
                  <a:lnTo>
                    <a:pt x="1488" y="1062"/>
                  </a:lnTo>
                  <a:lnTo>
                    <a:pt x="1494" y="1062"/>
                  </a:lnTo>
                  <a:lnTo>
                    <a:pt x="1500" y="1062"/>
                  </a:lnTo>
                  <a:lnTo>
                    <a:pt x="1506" y="1062"/>
                  </a:lnTo>
                  <a:lnTo>
                    <a:pt x="1506" y="1056"/>
                  </a:lnTo>
                  <a:lnTo>
                    <a:pt x="1506" y="1062"/>
                  </a:lnTo>
                  <a:lnTo>
                    <a:pt x="1518" y="1062"/>
                  </a:lnTo>
                  <a:lnTo>
                    <a:pt x="1524" y="1062"/>
                  </a:lnTo>
                  <a:lnTo>
                    <a:pt x="1530" y="1062"/>
                  </a:lnTo>
                  <a:lnTo>
                    <a:pt x="1536" y="1068"/>
                  </a:lnTo>
                  <a:lnTo>
                    <a:pt x="1536" y="1074"/>
                  </a:lnTo>
                  <a:lnTo>
                    <a:pt x="1542" y="1086"/>
                  </a:lnTo>
                  <a:lnTo>
                    <a:pt x="1548" y="1086"/>
                  </a:lnTo>
                  <a:lnTo>
                    <a:pt x="1554" y="1086"/>
                  </a:lnTo>
                  <a:lnTo>
                    <a:pt x="1566" y="1098"/>
                  </a:lnTo>
                  <a:lnTo>
                    <a:pt x="1572" y="1104"/>
                  </a:lnTo>
                  <a:lnTo>
                    <a:pt x="1566" y="1110"/>
                  </a:lnTo>
                  <a:lnTo>
                    <a:pt x="1572" y="1116"/>
                  </a:lnTo>
                  <a:lnTo>
                    <a:pt x="1578" y="1116"/>
                  </a:lnTo>
                  <a:lnTo>
                    <a:pt x="1578" y="1122"/>
                  </a:lnTo>
                  <a:lnTo>
                    <a:pt x="1584" y="1122"/>
                  </a:lnTo>
                  <a:lnTo>
                    <a:pt x="1584" y="1128"/>
                  </a:lnTo>
                  <a:lnTo>
                    <a:pt x="1584" y="1134"/>
                  </a:lnTo>
                  <a:lnTo>
                    <a:pt x="1590" y="1134"/>
                  </a:lnTo>
                  <a:lnTo>
                    <a:pt x="1596" y="1140"/>
                  </a:lnTo>
                  <a:lnTo>
                    <a:pt x="1602" y="1146"/>
                  </a:lnTo>
                  <a:lnTo>
                    <a:pt x="1608" y="1146"/>
                  </a:lnTo>
                  <a:lnTo>
                    <a:pt x="1614" y="1146"/>
                  </a:lnTo>
                  <a:lnTo>
                    <a:pt x="1614" y="1152"/>
                  </a:lnTo>
                  <a:lnTo>
                    <a:pt x="1620" y="1152"/>
                  </a:lnTo>
                  <a:lnTo>
                    <a:pt x="1626" y="1164"/>
                  </a:lnTo>
                  <a:lnTo>
                    <a:pt x="1632" y="1170"/>
                  </a:lnTo>
                  <a:lnTo>
                    <a:pt x="1638" y="1176"/>
                  </a:lnTo>
                  <a:lnTo>
                    <a:pt x="1638" y="1182"/>
                  </a:lnTo>
                  <a:lnTo>
                    <a:pt x="1644" y="1194"/>
                  </a:lnTo>
                  <a:lnTo>
                    <a:pt x="1644" y="1200"/>
                  </a:lnTo>
                  <a:lnTo>
                    <a:pt x="1638" y="1200"/>
                  </a:lnTo>
                  <a:lnTo>
                    <a:pt x="1638" y="1206"/>
                  </a:lnTo>
                  <a:lnTo>
                    <a:pt x="1638" y="1212"/>
                  </a:lnTo>
                  <a:lnTo>
                    <a:pt x="1638" y="1218"/>
                  </a:lnTo>
                  <a:lnTo>
                    <a:pt x="1632" y="1242"/>
                  </a:lnTo>
                  <a:lnTo>
                    <a:pt x="1632" y="1266"/>
                  </a:lnTo>
                  <a:lnTo>
                    <a:pt x="1638" y="1284"/>
                  </a:lnTo>
                  <a:lnTo>
                    <a:pt x="1638" y="1296"/>
                  </a:lnTo>
                  <a:lnTo>
                    <a:pt x="1632" y="1296"/>
                  </a:lnTo>
                  <a:lnTo>
                    <a:pt x="1632" y="1302"/>
                  </a:lnTo>
                  <a:lnTo>
                    <a:pt x="1638" y="1314"/>
                  </a:lnTo>
                  <a:lnTo>
                    <a:pt x="1638" y="1320"/>
                  </a:lnTo>
                  <a:lnTo>
                    <a:pt x="1632" y="1320"/>
                  </a:lnTo>
                  <a:lnTo>
                    <a:pt x="1632" y="1326"/>
                  </a:lnTo>
                  <a:lnTo>
                    <a:pt x="1644" y="1332"/>
                  </a:lnTo>
                  <a:lnTo>
                    <a:pt x="1644" y="1338"/>
                  </a:lnTo>
                  <a:lnTo>
                    <a:pt x="1650" y="1344"/>
                  </a:lnTo>
                  <a:lnTo>
                    <a:pt x="1668" y="1362"/>
                  </a:lnTo>
                  <a:lnTo>
                    <a:pt x="1668" y="1368"/>
                  </a:lnTo>
                  <a:lnTo>
                    <a:pt x="1674" y="1392"/>
                  </a:lnTo>
                  <a:lnTo>
                    <a:pt x="1686" y="140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2" name="Freeform 17">
              <a:extLst>
                <a:ext uri="{FF2B5EF4-FFF2-40B4-BE49-F238E27FC236}">
                  <a16:creationId xmlns:a16="http://schemas.microsoft.com/office/drawing/2014/main" id="{9F9DF7AF-2203-4CCB-AF1B-32CDAF87CC5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416927"/>
              <a:ext cx="816209" cy="574781"/>
            </a:xfrm>
            <a:custGeom>
              <a:avLst/>
              <a:gdLst>
                <a:gd name="T0" fmla="*/ 115 w 1536"/>
                <a:gd name="T1" fmla="*/ 89 h 1080"/>
                <a:gd name="T2" fmla="*/ 113 w 1536"/>
                <a:gd name="T3" fmla="*/ 92 h 1080"/>
                <a:gd name="T4" fmla="*/ 107 w 1536"/>
                <a:gd name="T5" fmla="*/ 93 h 1080"/>
                <a:gd name="T6" fmla="*/ 108 w 1536"/>
                <a:gd name="T7" fmla="*/ 90 h 1080"/>
                <a:gd name="T8" fmla="*/ 105 w 1536"/>
                <a:gd name="T9" fmla="*/ 87 h 1080"/>
                <a:gd name="T10" fmla="*/ 102 w 1536"/>
                <a:gd name="T11" fmla="*/ 85 h 1080"/>
                <a:gd name="T12" fmla="*/ 89 w 1536"/>
                <a:gd name="T13" fmla="*/ 80 h 1080"/>
                <a:gd name="T14" fmla="*/ 85 w 1536"/>
                <a:gd name="T15" fmla="*/ 82 h 1080"/>
                <a:gd name="T16" fmla="*/ 82 w 1536"/>
                <a:gd name="T17" fmla="*/ 80 h 1080"/>
                <a:gd name="T18" fmla="*/ 80 w 1536"/>
                <a:gd name="T19" fmla="*/ 75 h 1080"/>
                <a:gd name="T20" fmla="*/ 75 w 1536"/>
                <a:gd name="T21" fmla="*/ 72 h 1080"/>
                <a:gd name="T22" fmla="*/ 61 w 1536"/>
                <a:gd name="T23" fmla="*/ 70 h 1080"/>
                <a:gd name="T24" fmla="*/ 62 w 1536"/>
                <a:gd name="T25" fmla="*/ 72 h 1080"/>
                <a:gd name="T26" fmla="*/ 58 w 1536"/>
                <a:gd name="T27" fmla="*/ 75 h 1080"/>
                <a:gd name="T28" fmla="*/ 49 w 1536"/>
                <a:gd name="T29" fmla="*/ 76 h 1080"/>
                <a:gd name="T30" fmla="*/ 41 w 1536"/>
                <a:gd name="T31" fmla="*/ 79 h 1080"/>
                <a:gd name="T32" fmla="*/ 41 w 1536"/>
                <a:gd name="T33" fmla="*/ 77 h 1080"/>
                <a:gd name="T34" fmla="*/ 39 w 1536"/>
                <a:gd name="T35" fmla="*/ 74 h 1080"/>
                <a:gd name="T36" fmla="*/ 28 w 1536"/>
                <a:gd name="T37" fmla="*/ 78 h 1080"/>
                <a:gd name="T38" fmla="*/ 18 w 1536"/>
                <a:gd name="T39" fmla="*/ 85 h 1080"/>
                <a:gd name="T40" fmla="*/ 18 w 1536"/>
                <a:gd name="T41" fmla="*/ 77 h 1080"/>
                <a:gd name="T42" fmla="*/ 19 w 1536"/>
                <a:gd name="T43" fmla="*/ 69 h 1080"/>
                <a:gd name="T44" fmla="*/ 16 w 1536"/>
                <a:gd name="T45" fmla="*/ 69 h 1080"/>
                <a:gd name="T46" fmla="*/ 11 w 1536"/>
                <a:gd name="T47" fmla="*/ 69 h 1080"/>
                <a:gd name="T48" fmla="*/ 5 w 1536"/>
                <a:gd name="T49" fmla="*/ 68 h 1080"/>
                <a:gd name="T50" fmla="*/ 1 w 1536"/>
                <a:gd name="T51" fmla="*/ 63 h 1080"/>
                <a:gd name="T52" fmla="*/ 3 w 1536"/>
                <a:gd name="T53" fmla="*/ 59 h 1080"/>
                <a:gd name="T54" fmla="*/ 9 w 1536"/>
                <a:gd name="T55" fmla="*/ 54 h 1080"/>
                <a:gd name="T56" fmla="*/ 15 w 1536"/>
                <a:gd name="T57" fmla="*/ 47 h 1080"/>
                <a:gd name="T58" fmla="*/ 17 w 1536"/>
                <a:gd name="T59" fmla="*/ 40 h 1080"/>
                <a:gd name="T60" fmla="*/ 12 w 1536"/>
                <a:gd name="T61" fmla="*/ 33 h 1080"/>
                <a:gd name="T62" fmla="*/ 10 w 1536"/>
                <a:gd name="T63" fmla="*/ 21 h 1080"/>
                <a:gd name="T64" fmla="*/ 6 w 1536"/>
                <a:gd name="T65" fmla="*/ 14 h 1080"/>
                <a:gd name="T66" fmla="*/ 7 w 1536"/>
                <a:gd name="T67" fmla="*/ 9 h 1080"/>
                <a:gd name="T68" fmla="*/ 12 w 1536"/>
                <a:gd name="T69" fmla="*/ 7 h 1080"/>
                <a:gd name="T70" fmla="*/ 16 w 1536"/>
                <a:gd name="T71" fmla="*/ 8 h 1080"/>
                <a:gd name="T72" fmla="*/ 19 w 1536"/>
                <a:gd name="T73" fmla="*/ 8 h 1080"/>
                <a:gd name="T74" fmla="*/ 22 w 1536"/>
                <a:gd name="T75" fmla="*/ 9 h 1080"/>
                <a:gd name="T76" fmla="*/ 29 w 1536"/>
                <a:gd name="T77" fmla="*/ 12 h 1080"/>
                <a:gd name="T78" fmla="*/ 33 w 1536"/>
                <a:gd name="T79" fmla="*/ 13 h 1080"/>
                <a:gd name="T80" fmla="*/ 38 w 1536"/>
                <a:gd name="T81" fmla="*/ 15 h 1080"/>
                <a:gd name="T82" fmla="*/ 42 w 1536"/>
                <a:gd name="T83" fmla="*/ 17 h 1080"/>
                <a:gd name="T84" fmla="*/ 47 w 1536"/>
                <a:gd name="T85" fmla="*/ 19 h 1080"/>
                <a:gd name="T86" fmla="*/ 51 w 1536"/>
                <a:gd name="T87" fmla="*/ 21 h 1080"/>
                <a:gd name="T88" fmla="*/ 50 w 1536"/>
                <a:gd name="T89" fmla="*/ 15 h 1080"/>
                <a:gd name="T90" fmla="*/ 56 w 1536"/>
                <a:gd name="T91" fmla="*/ 0 h 1080"/>
                <a:gd name="T92" fmla="*/ 74 w 1536"/>
                <a:gd name="T93" fmla="*/ 5 h 1080"/>
                <a:gd name="T94" fmla="*/ 87 w 1536"/>
                <a:gd name="T95" fmla="*/ 6 h 1080"/>
                <a:gd name="T96" fmla="*/ 92 w 1536"/>
                <a:gd name="T97" fmla="*/ 11 h 1080"/>
                <a:gd name="T98" fmla="*/ 95 w 1536"/>
                <a:gd name="T99" fmla="*/ 15 h 1080"/>
                <a:gd name="T100" fmla="*/ 93 w 1536"/>
                <a:gd name="T101" fmla="*/ 20 h 1080"/>
                <a:gd name="T102" fmla="*/ 108 w 1536"/>
                <a:gd name="T103" fmla="*/ 18 h 1080"/>
                <a:gd name="T104" fmla="*/ 120 w 1536"/>
                <a:gd name="T105" fmla="*/ 21 h 1080"/>
                <a:gd name="T106" fmla="*/ 127 w 1536"/>
                <a:gd name="T107" fmla="*/ 29 h 1080"/>
                <a:gd name="T108" fmla="*/ 130 w 1536"/>
                <a:gd name="T109" fmla="*/ 30 h 1080"/>
                <a:gd name="T110" fmla="*/ 130 w 1536"/>
                <a:gd name="T111" fmla="*/ 49 h 1080"/>
                <a:gd name="T112" fmla="*/ 120 w 1536"/>
                <a:gd name="T113" fmla="*/ 69 h 1080"/>
                <a:gd name="T114" fmla="*/ 119 w 1536"/>
                <a:gd name="T115" fmla="*/ 74 h 1080"/>
                <a:gd name="T116" fmla="*/ 118 w 1536"/>
                <a:gd name="T117" fmla="*/ 80 h 108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536"/>
                <a:gd name="T178" fmla="*/ 0 h 1080"/>
                <a:gd name="T179" fmla="*/ 1536 w 1536"/>
                <a:gd name="T180" fmla="*/ 1080 h 108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536" h="1080">
                  <a:moveTo>
                    <a:pt x="1350" y="1020"/>
                  </a:moveTo>
                  <a:lnTo>
                    <a:pt x="1350" y="1026"/>
                  </a:lnTo>
                  <a:lnTo>
                    <a:pt x="1344" y="1026"/>
                  </a:lnTo>
                  <a:lnTo>
                    <a:pt x="1338" y="1032"/>
                  </a:lnTo>
                  <a:lnTo>
                    <a:pt x="1332" y="1026"/>
                  </a:lnTo>
                  <a:lnTo>
                    <a:pt x="1326" y="1026"/>
                  </a:lnTo>
                  <a:lnTo>
                    <a:pt x="1320" y="1020"/>
                  </a:lnTo>
                  <a:lnTo>
                    <a:pt x="1314" y="1026"/>
                  </a:lnTo>
                  <a:lnTo>
                    <a:pt x="1314" y="1032"/>
                  </a:lnTo>
                  <a:lnTo>
                    <a:pt x="1308" y="1038"/>
                  </a:lnTo>
                  <a:lnTo>
                    <a:pt x="1308" y="1044"/>
                  </a:lnTo>
                  <a:lnTo>
                    <a:pt x="1308" y="1050"/>
                  </a:lnTo>
                  <a:lnTo>
                    <a:pt x="1308" y="1056"/>
                  </a:lnTo>
                  <a:lnTo>
                    <a:pt x="1308" y="1062"/>
                  </a:lnTo>
                  <a:lnTo>
                    <a:pt x="1296" y="1068"/>
                  </a:lnTo>
                  <a:lnTo>
                    <a:pt x="1284" y="1074"/>
                  </a:lnTo>
                  <a:lnTo>
                    <a:pt x="1272" y="1080"/>
                  </a:lnTo>
                  <a:lnTo>
                    <a:pt x="1260" y="1080"/>
                  </a:lnTo>
                  <a:lnTo>
                    <a:pt x="1254" y="1074"/>
                  </a:lnTo>
                  <a:lnTo>
                    <a:pt x="1236" y="1074"/>
                  </a:lnTo>
                  <a:lnTo>
                    <a:pt x="1230" y="1074"/>
                  </a:lnTo>
                  <a:lnTo>
                    <a:pt x="1236" y="1074"/>
                  </a:lnTo>
                  <a:lnTo>
                    <a:pt x="1236" y="1068"/>
                  </a:lnTo>
                  <a:lnTo>
                    <a:pt x="1236" y="1062"/>
                  </a:lnTo>
                  <a:lnTo>
                    <a:pt x="1236" y="1056"/>
                  </a:lnTo>
                  <a:lnTo>
                    <a:pt x="1242" y="1050"/>
                  </a:lnTo>
                  <a:lnTo>
                    <a:pt x="1242" y="1044"/>
                  </a:lnTo>
                  <a:lnTo>
                    <a:pt x="1242" y="1038"/>
                  </a:lnTo>
                  <a:lnTo>
                    <a:pt x="1248" y="1032"/>
                  </a:lnTo>
                  <a:lnTo>
                    <a:pt x="1236" y="1026"/>
                  </a:lnTo>
                  <a:lnTo>
                    <a:pt x="1218" y="1020"/>
                  </a:lnTo>
                  <a:lnTo>
                    <a:pt x="1224" y="1014"/>
                  </a:lnTo>
                  <a:lnTo>
                    <a:pt x="1218" y="1008"/>
                  </a:lnTo>
                  <a:lnTo>
                    <a:pt x="1218" y="1002"/>
                  </a:lnTo>
                  <a:lnTo>
                    <a:pt x="1212" y="1008"/>
                  </a:lnTo>
                  <a:lnTo>
                    <a:pt x="1206" y="1002"/>
                  </a:lnTo>
                  <a:lnTo>
                    <a:pt x="1212" y="1002"/>
                  </a:lnTo>
                  <a:lnTo>
                    <a:pt x="1212" y="996"/>
                  </a:lnTo>
                  <a:lnTo>
                    <a:pt x="1200" y="990"/>
                  </a:lnTo>
                  <a:lnTo>
                    <a:pt x="1200" y="984"/>
                  </a:lnTo>
                  <a:lnTo>
                    <a:pt x="1188" y="984"/>
                  </a:lnTo>
                  <a:lnTo>
                    <a:pt x="1176" y="978"/>
                  </a:lnTo>
                  <a:lnTo>
                    <a:pt x="1164" y="960"/>
                  </a:lnTo>
                  <a:lnTo>
                    <a:pt x="1152" y="936"/>
                  </a:lnTo>
                  <a:lnTo>
                    <a:pt x="1146" y="936"/>
                  </a:lnTo>
                  <a:lnTo>
                    <a:pt x="1128" y="900"/>
                  </a:lnTo>
                  <a:lnTo>
                    <a:pt x="1038" y="912"/>
                  </a:lnTo>
                  <a:lnTo>
                    <a:pt x="1038" y="918"/>
                  </a:lnTo>
                  <a:lnTo>
                    <a:pt x="1032" y="924"/>
                  </a:lnTo>
                  <a:lnTo>
                    <a:pt x="1026" y="918"/>
                  </a:lnTo>
                  <a:lnTo>
                    <a:pt x="1020" y="924"/>
                  </a:lnTo>
                  <a:lnTo>
                    <a:pt x="1008" y="936"/>
                  </a:lnTo>
                  <a:lnTo>
                    <a:pt x="990" y="936"/>
                  </a:lnTo>
                  <a:lnTo>
                    <a:pt x="990" y="942"/>
                  </a:lnTo>
                  <a:lnTo>
                    <a:pt x="996" y="942"/>
                  </a:lnTo>
                  <a:lnTo>
                    <a:pt x="984" y="948"/>
                  </a:lnTo>
                  <a:lnTo>
                    <a:pt x="972" y="948"/>
                  </a:lnTo>
                  <a:lnTo>
                    <a:pt x="960" y="948"/>
                  </a:lnTo>
                  <a:lnTo>
                    <a:pt x="948" y="942"/>
                  </a:lnTo>
                  <a:lnTo>
                    <a:pt x="948" y="936"/>
                  </a:lnTo>
                  <a:lnTo>
                    <a:pt x="942" y="936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30" y="924"/>
                  </a:lnTo>
                  <a:lnTo>
                    <a:pt x="936" y="918"/>
                  </a:lnTo>
                  <a:lnTo>
                    <a:pt x="918" y="918"/>
                  </a:lnTo>
                  <a:lnTo>
                    <a:pt x="918" y="900"/>
                  </a:lnTo>
                  <a:lnTo>
                    <a:pt x="924" y="900"/>
                  </a:lnTo>
                  <a:lnTo>
                    <a:pt x="924" y="894"/>
                  </a:lnTo>
                  <a:lnTo>
                    <a:pt x="924" y="870"/>
                  </a:lnTo>
                  <a:lnTo>
                    <a:pt x="924" y="864"/>
                  </a:lnTo>
                  <a:lnTo>
                    <a:pt x="918" y="858"/>
                  </a:lnTo>
                  <a:lnTo>
                    <a:pt x="918" y="852"/>
                  </a:lnTo>
                  <a:lnTo>
                    <a:pt x="906" y="840"/>
                  </a:lnTo>
                  <a:lnTo>
                    <a:pt x="894" y="834"/>
                  </a:lnTo>
                  <a:lnTo>
                    <a:pt x="876" y="822"/>
                  </a:lnTo>
                  <a:lnTo>
                    <a:pt x="870" y="828"/>
                  </a:lnTo>
                  <a:lnTo>
                    <a:pt x="858" y="816"/>
                  </a:lnTo>
                  <a:lnTo>
                    <a:pt x="810" y="798"/>
                  </a:lnTo>
                  <a:lnTo>
                    <a:pt x="774" y="792"/>
                  </a:lnTo>
                  <a:lnTo>
                    <a:pt x="732" y="798"/>
                  </a:lnTo>
                  <a:lnTo>
                    <a:pt x="726" y="804"/>
                  </a:lnTo>
                  <a:lnTo>
                    <a:pt x="714" y="810"/>
                  </a:lnTo>
                  <a:lnTo>
                    <a:pt x="702" y="810"/>
                  </a:lnTo>
                  <a:lnTo>
                    <a:pt x="690" y="810"/>
                  </a:lnTo>
                  <a:lnTo>
                    <a:pt x="696" y="816"/>
                  </a:lnTo>
                  <a:lnTo>
                    <a:pt x="696" y="822"/>
                  </a:lnTo>
                  <a:lnTo>
                    <a:pt x="702" y="822"/>
                  </a:lnTo>
                  <a:lnTo>
                    <a:pt x="708" y="822"/>
                  </a:lnTo>
                  <a:lnTo>
                    <a:pt x="708" y="828"/>
                  </a:lnTo>
                  <a:lnTo>
                    <a:pt x="708" y="834"/>
                  </a:lnTo>
                  <a:lnTo>
                    <a:pt x="714" y="834"/>
                  </a:lnTo>
                  <a:lnTo>
                    <a:pt x="708" y="846"/>
                  </a:lnTo>
                  <a:lnTo>
                    <a:pt x="708" y="852"/>
                  </a:lnTo>
                  <a:lnTo>
                    <a:pt x="702" y="852"/>
                  </a:lnTo>
                  <a:lnTo>
                    <a:pt x="696" y="858"/>
                  </a:lnTo>
                  <a:lnTo>
                    <a:pt x="690" y="864"/>
                  </a:lnTo>
                  <a:lnTo>
                    <a:pt x="666" y="870"/>
                  </a:lnTo>
                  <a:lnTo>
                    <a:pt x="660" y="876"/>
                  </a:lnTo>
                  <a:lnTo>
                    <a:pt x="642" y="876"/>
                  </a:lnTo>
                  <a:lnTo>
                    <a:pt x="606" y="882"/>
                  </a:lnTo>
                  <a:lnTo>
                    <a:pt x="588" y="882"/>
                  </a:lnTo>
                  <a:lnTo>
                    <a:pt x="582" y="876"/>
                  </a:lnTo>
                  <a:lnTo>
                    <a:pt x="576" y="876"/>
                  </a:lnTo>
                  <a:lnTo>
                    <a:pt x="564" y="876"/>
                  </a:lnTo>
                  <a:lnTo>
                    <a:pt x="552" y="882"/>
                  </a:lnTo>
                  <a:lnTo>
                    <a:pt x="540" y="894"/>
                  </a:lnTo>
                  <a:lnTo>
                    <a:pt x="534" y="906"/>
                  </a:lnTo>
                  <a:lnTo>
                    <a:pt x="528" y="912"/>
                  </a:lnTo>
                  <a:lnTo>
                    <a:pt x="516" y="924"/>
                  </a:lnTo>
                  <a:lnTo>
                    <a:pt x="486" y="930"/>
                  </a:lnTo>
                  <a:lnTo>
                    <a:pt x="474" y="912"/>
                  </a:lnTo>
                  <a:lnTo>
                    <a:pt x="474" y="906"/>
                  </a:lnTo>
                  <a:lnTo>
                    <a:pt x="468" y="906"/>
                  </a:lnTo>
                  <a:lnTo>
                    <a:pt x="468" y="900"/>
                  </a:lnTo>
                  <a:lnTo>
                    <a:pt x="462" y="894"/>
                  </a:lnTo>
                  <a:lnTo>
                    <a:pt x="456" y="894"/>
                  </a:lnTo>
                  <a:lnTo>
                    <a:pt x="462" y="888"/>
                  </a:lnTo>
                  <a:lnTo>
                    <a:pt x="468" y="888"/>
                  </a:lnTo>
                  <a:lnTo>
                    <a:pt x="462" y="882"/>
                  </a:lnTo>
                  <a:lnTo>
                    <a:pt x="462" y="876"/>
                  </a:lnTo>
                  <a:lnTo>
                    <a:pt x="456" y="870"/>
                  </a:lnTo>
                  <a:lnTo>
                    <a:pt x="456" y="864"/>
                  </a:lnTo>
                  <a:lnTo>
                    <a:pt x="450" y="858"/>
                  </a:lnTo>
                  <a:lnTo>
                    <a:pt x="444" y="858"/>
                  </a:lnTo>
                  <a:lnTo>
                    <a:pt x="444" y="852"/>
                  </a:lnTo>
                  <a:lnTo>
                    <a:pt x="438" y="852"/>
                  </a:lnTo>
                  <a:lnTo>
                    <a:pt x="438" y="858"/>
                  </a:lnTo>
                  <a:lnTo>
                    <a:pt x="402" y="870"/>
                  </a:lnTo>
                  <a:lnTo>
                    <a:pt x="390" y="882"/>
                  </a:lnTo>
                  <a:lnTo>
                    <a:pt x="384" y="900"/>
                  </a:lnTo>
                  <a:lnTo>
                    <a:pt x="342" y="900"/>
                  </a:lnTo>
                  <a:lnTo>
                    <a:pt x="324" y="900"/>
                  </a:lnTo>
                  <a:lnTo>
                    <a:pt x="294" y="906"/>
                  </a:lnTo>
                  <a:lnTo>
                    <a:pt x="282" y="948"/>
                  </a:lnTo>
                  <a:lnTo>
                    <a:pt x="282" y="978"/>
                  </a:lnTo>
                  <a:lnTo>
                    <a:pt x="270" y="1008"/>
                  </a:lnTo>
                  <a:lnTo>
                    <a:pt x="240" y="1014"/>
                  </a:lnTo>
                  <a:lnTo>
                    <a:pt x="216" y="996"/>
                  </a:lnTo>
                  <a:lnTo>
                    <a:pt x="204" y="984"/>
                  </a:lnTo>
                  <a:lnTo>
                    <a:pt x="192" y="966"/>
                  </a:lnTo>
                  <a:lnTo>
                    <a:pt x="186" y="948"/>
                  </a:lnTo>
                  <a:lnTo>
                    <a:pt x="174" y="948"/>
                  </a:lnTo>
                  <a:lnTo>
                    <a:pt x="174" y="936"/>
                  </a:lnTo>
                  <a:lnTo>
                    <a:pt x="186" y="924"/>
                  </a:lnTo>
                  <a:lnTo>
                    <a:pt x="198" y="906"/>
                  </a:lnTo>
                  <a:lnTo>
                    <a:pt x="204" y="888"/>
                  </a:lnTo>
                  <a:lnTo>
                    <a:pt x="222" y="870"/>
                  </a:lnTo>
                  <a:lnTo>
                    <a:pt x="234" y="858"/>
                  </a:lnTo>
                  <a:lnTo>
                    <a:pt x="234" y="852"/>
                  </a:lnTo>
                  <a:lnTo>
                    <a:pt x="222" y="852"/>
                  </a:lnTo>
                  <a:lnTo>
                    <a:pt x="228" y="810"/>
                  </a:lnTo>
                  <a:lnTo>
                    <a:pt x="222" y="798"/>
                  </a:lnTo>
                  <a:lnTo>
                    <a:pt x="216" y="798"/>
                  </a:lnTo>
                  <a:lnTo>
                    <a:pt x="216" y="792"/>
                  </a:lnTo>
                  <a:lnTo>
                    <a:pt x="210" y="792"/>
                  </a:lnTo>
                  <a:lnTo>
                    <a:pt x="204" y="798"/>
                  </a:lnTo>
                  <a:lnTo>
                    <a:pt x="204" y="792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0" y="786"/>
                  </a:lnTo>
                  <a:lnTo>
                    <a:pt x="174" y="792"/>
                  </a:lnTo>
                  <a:lnTo>
                    <a:pt x="162" y="792"/>
                  </a:lnTo>
                  <a:lnTo>
                    <a:pt x="156" y="792"/>
                  </a:lnTo>
                  <a:lnTo>
                    <a:pt x="156" y="798"/>
                  </a:lnTo>
                  <a:lnTo>
                    <a:pt x="138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6" y="804"/>
                  </a:lnTo>
                  <a:lnTo>
                    <a:pt x="102" y="810"/>
                  </a:lnTo>
                  <a:lnTo>
                    <a:pt x="90" y="810"/>
                  </a:lnTo>
                  <a:lnTo>
                    <a:pt x="72" y="798"/>
                  </a:lnTo>
                  <a:lnTo>
                    <a:pt x="66" y="780"/>
                  </a:lnTo>
                  <a:lnTo>
                    <a:pt x="60" y="780"/>
                  </a:lnTo>
                  <a:lnTo>
                    <a:pt x="60" y="768"/>
                  </a:lnTo>
                  <a:lnTo>
                    <a:pt x="54" y="768"/>
                  </a:lnTo>
                  <a:lnTo>
                    <a:pt x="24" y="756"/>
                  </a:lnTo>
                  <a:lnTo>
                    <a:pt x="18" y="744"/>
                  </a:lnTo>
                  <a:lnTo>
                    <a:pt x="12" y="738"/>
                  </a:lnTo>
                  <a:lnTo>
                    <a:pt x="18" y="732"/>
                  </a:lnTo>
                  <a:lnTo>
                    <a:pt x="12" y="726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8" y="696"/>
                  </a:lnTo>
                  <a:lnTo>
                    <a:pt x="24" y="708"/>
                  </a:lnTo>
                  <a:lnTo>
                    <a:pt x="36" y="702"/>
                  </a:lnTo>
                  <a:lnTo>
                    <a:pt x="36" y="678"/>
                  </a:lnTo>
                  <a:lnTo>
                    <a:pt x="36" y="660"/>
                  </a:lnTo>
                  <a:lnTo>
                    <a:pt x="42" y="654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72" y="624"/>
                  </a:lnTo>
                  <a:lnTo>
                    <a:pt x="90" y="618"/>
                  </a:lnTo>
                  <a:lnTo>
                    <a:pt x="102" y="618"/>
                  </a:lnTo>
                  <a:lnTo>
                    <a:pt x="114" y="612"/>
                  </a:lnTo>
                  <a:lnTo>
                    <a:pt x="138" y="606"/>
                  </a:lnTo>
                  <a:lnTo>
                    <a:pt x="144" y="606"/>
                  </a:lnTo>
                  <a:lnTo>
                    <a:pt x="150" y="594"/>
                  </a:lnTo>
                  <a:lnTo>
                    <a:pt x="156" y="576"/>
                  </a:lnTo>
                  <a:lnTo>
                    <a:pt x="168" y="552"/>
                  </a:lnTo>
                  <a:lnTo>
                    <a:pt x="168" y="540"/>
                  </a:lnTo>
                  <a:lnTo>
                    <a:pt x="180" y="522"/>
                  </a:lnTo>
                  <a:lnTo>
                    <a:pt x="186" y="498"/>
                  </a:lnTo>
                  <a:lnTo>
                    <a:pt x="198" y="480"/>
                  </a:lnTo>
                  <a:lnTo>
                    <a:pt x="204" y="486"/>
                  </a:lnTo>
                  <a:lnTo>
                    <a:pt x="210" y="480"/>
                  </a:lnTo>
                  <a:lnTo>
                    <a:pt x="204" y="474"/>
                  </a:lnTo>
                  <a:lnTo>
                    <a:pt x="198" y="462"/>
                  </a:lnTo>
                  <a:lnTo>
                    <a:pt x="192" y="456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50"/>
                  </a:lnTo>
                  <a:lnTo>
                    <a:pt x="132" y="426"/>
                  </a:lnTo>
                  <a:lnTo>
                    <a:pt x="132" y="396"/>
                  </a:lnTo>
                  <a:lnTo>
                    <a:pt x="132" y="378"/>
                  </a:lnTo>
                  <a:lnTo>
                    <a:pt x="126" y="348"/>
                  </a:lnTo>
                  <a:lnTo>
                    <a:pt x="132" y="312"/>
                  </a:lnTo>
                  <a:lnTo>
                    <a:pt x="126" y="288"/>
                  </a:lnTo>
                  <a:lnTo>
                    <a:pt x="138" y="282"/>
                  </a:lnTo>
                  <a:lnTo>
                    <a:pt x="126" y="264"/>
                  </a:lnTo>
                  <a:lnTo>
                    <a:pt x="126" y="258"/>
                  </a:lnTo>
                  <a:lnTo>
                    <a:pt x="120" y="246"/>
                  </a:lnTo>
                  <a:lnTo>
                    <a:pt x="126" y="234"/>
                  </a:lnTo>
                  <a:lnTo>
                    <a:pt x="114" y="228"/>
                  </a:lnTo>
                  <a:lnTo>
                    <a:pt x="114" y="222"/>
                  </a:lnTo>
                  <a:lnTo>
                    <a:pt x="96" y="204"/>
                  </a:lnTo>
                  <a:lnTo>
                    <a:pt x="84" y="180"/>
                  </a:lnTo>
                  <a:lnTo>
                    <a:pt x="78" y="168"/>
                  </a:lnTo>
                  <a:lnTo>
                    <a:pt x="72" y="162"/>
                  </a:lnTo>
                  <a:lnTo>
                    <a:pt x="66" y="144"/>
                  </a:lnTo>
                  <a:lnTo>
                    <a:pt x="60" y="138"/>
                  </a:lnTo>
                  <a:lnTo>
                    <a:pt x="66" y="126"/>
                  </a:lnTo>
                  <a:lnTo>
                    <a:pt x="66" y="114"/>
                  </a:lnTo>
                  <a:lnTo>
                    <a:pt x="72" y="114"/>
                  </a:lnTo>
                  <a:lnTo>
                    <a:pt x="72" y="108"/>
                  </a:lnTo>
                  <a:lnTo>
                    <a:pt x="78" y="102"/>
                  </a:lnTo>
                  <a:lnTo>
                    <a:pt x="78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120" y="78"/>
                  </a:lnTo>
                  <a:lnTo>
                    <a:pt x="144" y="84"/>
                  </a:lnTo>
                  <a:lnTo>
                    <a:pt x="150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74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92" y="102"/>
                  </a:lnTo>
                  <a:lnTo>
                    <a:pt x="198" y="96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16" y="96"/>
                  </a:lnTo>
                  <a:lnTo>
                    <a:pt x="222" y="96"/>
                  </a:lnTo>
                  <a:lnTo>
                    <a:pt x="228" y="96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94" y="114"/>
                  </a:lnTo>
                  <a:lnTo>
                    <a:pt x="312" y="120"/>
                  </a:lnTo>
                  <a:lnTo>
                    <a:pt x="318" y="126"/>
                  </a:lnTo>
                  <a:lnTo>
                    <a:pt x="330" y="132"/>
                  </a:lnTo>
                  <a:lnTo>
                    <a:pt x="342" y="132"/>
                  </a:lnTo>
                  <a:lnTo>
                    <a:pt x="348" y="132"/>
                  </a:lnTo>
                  <a:lnTo>
                    <a:pt x="354" y="138"/>
                  </a:lnTo>
                  <a:lnTo>
                    <a:pt x="366" y="138"/>
                  </a:lnTo>
                  <a:lnTo>
                    <a:pt x="372" y="144"/>
                  </a:lnTo>
                  <a:lnTo>
                    <a:pt x="378" y="150"/>
                  </a:lnTo>
                  <a:lnTo>
                    <a:pt x="384" y="150"/>
                  </a:lnTo>
                  <a:lnTo>
                    <a:pt x="390" y="150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14" y="156"/>
                  </a:lnTo>
                  <a:lnTo>
                    <a:pt x="420" y="156"/>
                  </a:lnTo>
                  <a:lnTo>
                    <a:pt x="426" y="162"/>
                  </a:lnTo>
                  <a:lnTo>
                    <a:pt x="438" y="168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62" y="174"/>
                  </a:lnTo>
                  <a:lnTo>
                    <a:pt x="468" y="174"/>
                  </a:lnTo>
                  <a:lnTo>
                    <a:pt x="474" y="174"/>
                  </a:lnTo>
                  <a:lnTo>
                    <a:pt x="474" y="180"/>
                  </a:lnTo>
                  <a:lnTo>
                    <a:pt x="480" y="192"/>
                  </a:lnTo>
                  <a:lnTo>
                    <a:pt x="498" y="198"/>
                  </a:lnTo>
                  <a:lnTo>
                    <a:pt x="510" y="210"/>
                  </a:lnTo>
                  <a:lnTo>
                    <a:pt x="516" y="210"/>
                  </a:lnTo>
                  <a:lnTo>
                    <a:pt x="522" y="210"/>
                  </a:lnTo>
                  <a:lnTo>
                    <a:pt x="534" y="216"/>
                  </a:lnTo>
                  <a:lnTo>
                    <a:pt x="540" y="216"/>
                  </a:lnTo>
                  <a:lnTo>
                    <a:pt x="546" y="222"/>
                  </a:lnTo>
                  <a:lnTo>
                    <a:pt x="552" y="222"/>
                  </a:lnTo>
                  <a:lnTo>
                    <a:pt x="558" y="228"/>
                  </a:lnTo>
                  <a:lnTo>
                    <a:pt x="564" y="228"/>
                  </a:lnTo>
                  <a:lnTo>
                    <a:pt x="570" y="234"/>
                  </a:lnTo>
                  <a:lnTo>
                    <a:pt x="576" y="240"/>
                  </a:lnTo>
                  <a:lnTo>
                    <a:pt x="582" y="240"/>
                  </a:lnTo>
                  <a:lnTo>
                    <a:pt x="588" y="240"/>
                  </a:lnTo>
                  <a:lnTo>
                    <a:pt x="594" y="240"/>
                  </a:lnTo>
                  <a:lnTo>
                    <a:pt x="600" y="228"/>
                  </a:lnTo>
                  <a:lnTo>
                    <a:pt x="588" y="216"/>
                  </a:lnTo>
                  <a:lnTo>
                    <a:pt x="588" y="198"/>
                  </a:lnTo>
                  <a:lnTo>
                    <a:pt x="582" y="198"/>
                  </a:lnTo>
                  <a:lnTo>
                    <a:pt x="588" y="192"/>
                  </a:lnTo>
                  <a:lnTo>
                    <a:pt x="582" y="168"/>
                  </a:lnTo>
                  <a:lnTo>
                    <a:pt x="558" y="114"/>
                  </a:lnTo>
                  <a:lnTo>
                    <a:pt x="552" y="90"/>
                  </a:lnTo>
                  <a:lnTo>
                    <a:pt x="558" y="60"/>
                  </a:lnTo>
                  <a:lnTo>
                    <a:pt x="564" y="48"/>
                  </a:lnTo>
                  <a:lnTo>
                    <a:pt x="582" y="42"/>
                  </a:lnTo>
                  <a:lnTo>
                    <a:pt x="624" y="6"/>
                  </a:lnTo>
                  <a:lnTo>
                    <a:pt x="648" y="0"/>
                  </a:lnTo>
                  <a:lnTo>
                    <a:pt x="678" y="0"/>
                  </a:lnTo>
                  <a:lnTo>
                    <a:pt x="720" y="12"/>
                  </a:lnTo>
                  <a:lnTo>
                    <a:pt x="744" y="24"/>
                  </a:lnTo>
                  <a:lnTo>
                    <a:pt x="768" y="42"/>
                  </a:lnTo>
                  <a:lnTo>
                    <a:pt x="816" y="48"/>
                  </a:lnTo>
                  <a:lnTo>
                    <a:pt x="834" y="48"/>
                  </a:lnTo>
                  <a:lnTo>
                    <a:pt x="852" y="54"/>
                  </a:lnTo>
                  <a:lnTo>
                    <a:pt x="906" y="60"/>
                  </a:lnTo>
                  <a:lnTo>
                    <a:pt x="948" y="54"/>
                  </a:lnTo>
                  <a:lnTo>
                    <a:pt x="978" y="42"/>
                  </a:lnTo>
                  <a:lnTo>
                    <a:pt x="984" y="48"/>
                  </a:lnTo>
                  <a:lnTo>
                    <a:pt x="990" y="60"/>
                  </a:lnTo>
                  <a:lnTo>
                    <a:pt x="996" y="66"/>
                  </a:lnTo>
                  <a:lnTo>
                    <a:pt x="1002" y="72"/>
                  </a:lnTo>
                  <a:lnTo>
                    <a:pt x="1014" y="78"/>
                  </a:lnTo>
                  <a:lnTo>
                    <a:pt x="1014" y="84"/>
                  </a:lnTo>
                  <a:lnTo>
                    <a:pt x="1032" y="84"/>
                  </a:lnTo>
                  <a:lnTo>
                    <a:pt x="1032" y="90"/>
                  </a:lnTo>
                  <a:lnTo>
                    <a:pt x="1032" y="96"/>
                  </a:lnTo>
                  <a:lnTo>
                    <a:pt x="1032" y="108"/>
                  </a:lnTo>
                  <a:lnTo>
                    <a:pt x="1056" y="126"/>
                  </a:lnTo>
                  <a:lnTo>
                    <a:pt x="1068" y="138"/>
                  </a:lnTo>
                  <a:lnTo>
                    <a:pt x="1068" y="156"/>
                  </a:lnTo>
                  <a:lnTo>
                    <a:pt x="1080" y="150"/>
                  </a:lnTo>
                  <a:lnTo>
                    <a:pt x="1086" y="150"/>
                  </a:lnTo>
                  <a:lnTo>
                    <a:pt x="1092" y="156"/>
                  </a:lnTo>
                  <a:lnTo>
                    <a:pt x="1092" y="162"/>
                  </a:lnTo>
                  <a:lnTo>
                    <a:pt x="1092" y="168"/>
                  </a:lnTo>
                  <a:lnTo>
                    <a:pt x="1098" y="168"/>
                  </a:lnTo>
                  <a:lnTo>
                    <a:pt x="1092" y="180"/>
                  </a:lnTo>
                  <a:lnTo>
                    <a:pt x="1092" y="186"/>
                  </a:lnTo>
                  <a:lnTo>
                    <a:pt x="1086" y="192"/>
                  </a:lnTo>
                  <a:lnTo>
                    <a:pt x="1068" y="210"/>
                  </a:lnTo>
                  <a:lnTo>
                    <a:pt x="1068" y="216"/>
                  </a:lnTo>
                  <a:lnTo>
                    <a:pt x="1074" y="228"/>
                  </a:lnTo>
                  <a:lnTo>
                    <a:pt x="1092" y="234"/>
                  </a:lnTo>
                  <a:lnTo>
                    <a:pt x="1122" y="216"/>
                  </a:lnTo>
                  <a:lnTo>
                    <a:pt x="1188" y="204"/>
                  </a:lnTo>
                  <a:lnTo>
                    <a:pt x="1212" y="204"/>
                  </a:lnTo>
                  <a:lnTo>
                    <a:pt x="1230" y="198"/>
                  </a:lnTo>
                  <a:lnTo>
                    <a:pt x="1236" y="204"/>
                  </a:lnTo>
                  <a:lnTo>
                    <a:pt x="1242" y="210"/>
                  </a:lnTo>
                  <a:lnTo>
                    <a:pt x="1242" y="204"/>
                  </a:lnTo>
                  <a:lnTo>
                    <a:pt x="1248" y="198"/>
                  </a:lnTo>
                  <a:lnTo>
                    <a:pt x="1308" y="204"/>
                  </a:lnTo>
                  <a:lnTo>
                    <a:pt x="1338" y="204"/>
                  </a:lnTo>
                  <a:lnTo>
                    <a:pt x="1374" y="228"/>
                  </a:lnTo>
                  <a:lnTo>
                    <a:pt x="1380" y="234"/>
                  </a:lnTo>
                  <a:lnTo>
                    <a:pt x="1380" y="240"/>
                  </a:lnTo>
                  <a:lnTo>
                    <a:pt x="1386" y="252"/>
                  </a:lnTo>
                  <a:lnTo>
                    <a:pt x="1392" y="252"/>
                  </a:lnTo>
                  <a:lnTo>
                    <a:pt x="1416" y="270"/>
                  </a:lnTo>
                  <a:lnTo>
                    <a:pt x="1428" y="294"/>
                  </a:lnTo>
                  <a:lnTo>
                    <a:pt x="1440" y="312"/>
                  </a:lnTo>
                  <a:lnTo>
                    <a:pt x="1452" y="330"/>
                  </a:lnTo>
                  <a:lnTo>
                    <a:pt x="1464" y="330"/>
                  </a:lnTo>
                  <a:lnTo>
                    <a:pt x="1464" y="336"/>
                  </a:lnTo>
                  <a:lnTo>
                    <a:pt x="1470" y="336"/>
                  </a:lnTo>
                  <a:lnTo>
                    <a:pt x="1470" y="342"/>
                  </a:lnTo>
                  <a:lnTo>
                    <a:pt x="1476" y="342"/>
                  </a:lnTo>
                  <a:lnTo>
                    <a:pt x="1488" y="336"/>
                  </a:lnTo>
                  <a:lnTo>
                    <a:pt x="1494" y="342"/>
                  </a:lnTo>
                  <a:lnTo>
                    <a:pt x="1500" y="342"/>
                  </a:lnTo>
                  <a:lnTo>
                    <a:pt x="1512" y="366"/>
                  </a:lnTo>
                  <a:lnTo>
                    <a:pt x="1530" y="396"/>
                  </a:lnTo>
                  <a:lnTo>
                    <a:pt x="1536" y="444"/>
                  </a:lnTo>
                  <a:lnTo>
                    <a:pt x="1530" y="480"/>
                  </a:lnTo>
                  <a:lnTo>
                    <a:pt x="1506" y="510"/>
                  </a:lnTo>
                  <a:lnTo>
                    <a:pt x="1500" y="546"/>
                  </a:lnTo>
                  <a:lnTo>
                    <a:pt x="1494" y="564"/>
                  </a:lnTo>
                  <a:lnTo>
                    <a:pt x="1494" y="576"/>
                  </a:lnTo>
                  <a:lnTo>
                    <a:pt x="1500" y="582"/>
                  </a:lnTo>
                  <a:lnTo>
                    <a:pt x="1494" y="612"/>
                  </a:lnTo>
                  <a:lnTo>
                    <a:pt x="1476" y="630"/>
                  </a:lnTo>
                  <a:lnTo>
                    <a:pt x="1434" y="672"/>
                  </a:lnTo>
                  <a:lnTo>
                    <a:pt x="1392" y="756"/>
                  </a:lnTo>
                  <a:lnTo>
                    <a:pt x="1380" y="792"/>
                  </a:lnTo>
                  <a:lnTo>
                    <a:pt x="1374" y="798"/>
                  </a:lnTo>
                  <a:lnTo>
                    <a:pt x="1368" y="798"/>
                  </a:lnTo>
                  <a:lnTo>
                    <a:pt x="1380" y="804"/>
                  </a:lnTo>
                  <a:lnTo>
                    <a:pt x="1386" y="804"/>
                  </a:lnTo>
                  <a:lnTo>
                    <a:pt x="1380" y="822"/>
                  </a:lnTo>
                  <a:lnTo>
                    <a:pt x="1380" y="852"/>
                  </a:lnTo>
                  <a:lnTo>
                    <a:pt x="1374" y="858"/>
                  </a:lnTo>
                  <a:lnTo>
                    <a:pt x="1380" y="858"/>
                  </a:lnTo>
                  <a:lnTo>
                    <a:pt x="1374" y="864"/>
                  </a:lnTo>
                  <a:lnTo>
                    <a:pt x="1374" y="870"/>
                  </a:lnTo>
                  <a:lnTo>
                    <a:pt x="1374" y="876"/>
                  </a:lnTo>
                  <a:lnTo>
                    <a:pt x="1368" y="900"/>
                  </a:lnTo>
                  <a:lnTo>
                    <a:pt x="1362" y="906"/>
                  </a:lnTo>
                  <a:lnTo>
                    <a:pt x="1362" y="918"/>
                  </a:lnTo>
                  <a:lnTo>
                    <a:pt x="1362" y="924"/>
                  </a:lnTo>
                  <a:lnTo>
                    <a:pt x="1356" y="942"/>
                  </a:lnTo>
                  <a:lnTo>
                    <a:pt x="1350" y="972"/>
                  </a:lnTo>
                  <a:lnTo>
                    <a:pt x="1350" y="1014"/>
                  </a:lnTo>
                  <a:lnTo>
                    <a:pt x="1350" y="102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3" name="Freeform 18">
              <a:extLst>
                <a:ext uri="{FF2B5EF4-FFF2-40B4-BE49-F238E27FC236}">
                  <a16:creationId xmlns:a16="http://schemas.microsoft.com/office/drawing/2014/main" id="{EC11F2E0-3C06-46E2-8AD2-66EBE00FFE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32346" y="3837389"/>
              <a:ext cx="556811" cy="818559"/>
            </a:xfrm>
            <a:custGeom>
              <a:avLst/>
              <a:gdLst>
                <a:gd name="T0" fmla="*/ 12 w 1044"/>
                <a:gd name="T1" fmla="*/ 95 h 1542"/>
                <a:gd name="T2" fmla="*/ 7 w 1044"/>
                <a:gd name="T3" fmla="*/ 93 h 1542"/>
                <a:gd name="T4" fmla="*/ 0 w 1044"/>
                <a:gd name="T5" fmla="*/ 88 h 1542"/>
                <a:gd name="T6" fmla="*/ 3 w 1044"/>
                <a:gd name="T7" fmla="*/ 74 h 1542"/>
                <a:gd name="T8" fmla="*/ 4 w 1044"/>
                <a:gd name="T9" fmla="*/ 59 h 1542"/>
                <a:gd name="T10" fmla="*/ 7 w 1044"/>
                <a:gd name="T11" fmla="*/ 52 h 1542"/>
                <a:gd name="T12" fmla="*/ 20 w 1044"/>
                <a:gd name="T13" fmla="*/ 50 h 1542"/>
                <a:gd name="T14" fmla="*/ 24 w 1044"/>
                <a:gd name="T15" fmla="*/ 46 h 1542"/>
                <a:gd name="T16" fmla="*/ 29 w 1044"/>
                <a:gd name="T17" fmla="*/ 33 h 1542"/>
                <a:gd name="T18" fmla="*/ 32 w 1044"/>
                <a:gd name="T19" fmla="*/ 26 h 1542"/>
                <a:gd name="T20" fmla="*/ 30 w 1044"/>
                <a:gd name="T21" fmla="*/ 20 h 1542"/>
                <a:gd name="T22" fmla="*/ 26 w 1044"/>
                <a:gd name="T23" fmla="*/ 17 h 1542"/>
                <a:gd name="T24" fmla="*/ 28 w 1044"/>
                <a:gd name="T25" fmla="*/ 12 h 1542"/>
                <a:gd name="T26" fmla="*/ 44 w 1044"/>
                <a:gd name="T27" fmla="*/ 5 h 1542"/>
                <a:gd name="T28" fmla="*/ 57 w 1044"/>
                <a:gd name="T29" fmla="*/ 2 h 1542"/>
                <a:gd name="T30" fmla="*/ 65 w 1044"/>
                <a:gd name="T31" fmla="*/ 12 h 1542"/>
                <a:gd name="T32" fmla="*/ 81 w 1044"/>
                <a:gd name="T33" fmla="*/ 9 h 1542"/>
                <a:gd name="T34" fmla="*/ 91 w 1044"/>
                <a:gd name="T35" fmla="*/ 20 h 1542"/>
                <a:gd name="T36" fmla="*/ 89 w 1044"/>
                <a:gd name="T37" fmla="*/ 28 h 1542"/>
                <a:gd name="T38" fmla="*/ 83 w 1044"/>
                <a:gd name="T39" fmla="*/ 33 h 1542"/>
                <a:gd name="T40" fmla="*/ 74 w 1044"/>
                <a:gd name="T41" fmla="*/ 42 h 1542"/>
                <a:gd name="T42" fmla="*/ 58 w 1044"/>
                <a:gd name="T43" fmla="*/ 57 h 1542"/>
                <a:gd name="T44" fmla="*/ 54 w 1044"/>
                <a:gd name="T45" fmla="*/ 65 h 1542"/>
                <a:gd name="T46" fmla="*/ 59 w 1044"/>
                <a:gd name="T47" fmla="*/ 74 h 1542"/>
                <a:gd name="T48" fmla="*/ 55 w 1044"/>
                <a:gd name="T49" fmla="*/ 84 h 1542"/>
                <a:gd name="T50" fmla="*/ 52 w 1044"/>
                <a:gd name="T51" fmla="*/ 98 h 1542"/>
                <a:gd name="T52" fmla="*/ 47 w 1044"/>
                <a:gd name="T53" fmla="*/ 105 h 1542"/>
                <a:gd name="T54" fmla="*/ 42 w 1044"/>
                <a:gd name="T55" fmla="*/ 111 h 1542"/>
                <a:gd name="T56" fmla="*/ 43 w 1044"/>
                <a:gd name="T57" fmla="*/ 120 h 1542"/>
                <a:gd name="T58" fmla="*/ 45 w 1044"/>
                <a:gd name="T59" fmla="*/ 125 h 1542"/>
                <a:gd name="T60" fmla="*/ 44 w 1044"/>
                <a:gd name="T61" fmla="*/ 130 h 1542"/>
                <a:gd name="T62" fmla="*/ 45 w 1044"/>
                <a:gd name="T63" fmla="*/ 131 h 1542"/>
                <a:gd name="T64" fmla="*/ 48 w 1044"/>
                <a:gd name="T65" fmla="*/ 133 h 1542"/>
                <a:gd name="T66" fmla="*/ 39 w 1044"/>
                <a:gd name="T67" fmla="*/ 133 h 1542"/>
                <a:gd name="T68" fmla="*/ 42 w 1044"/>
                <a:gd name="T69" fmla="*/ 132 h 1542"/>
                <a:gd name="T70" fmla="*/ 38 w 1044"/>
                <a:gd name="T71" fmla="*/ 133 h 1542"/>
                <a:gd name="T72" fmla="*/ 37 w 1044"/>
                <a:gd name="T73" fmla="*/ 129 h 1542"/>
                <a:gd name="T74" fmla="*/ 40 w 1044"/>
                <a:gd name="T75" fmla="*/ 125 h 1542"/>
                <a:gd name="T76" fmla="*/ 40 w 1044"/>
                <a:gd name="T77" fmla="*/ 120 h 1542"/>
                <a:gd name="T78" fmla="*/ 40 w 1044"/>
                <a:gd name="T79" fmla="*/ 117 h 1542"/>
                <a:gd name="T80" fmla="*/ 37 w 1044"/>
                <a:gd name="T81" fmla="*/ 120 h 1542"/>
                <a:gd name="T82" fmla="*/ 34 w 1044"/>
                <a:gd name="T83" fmla="*/ 122 h 1542"/>
                <a:gd name="T84" fmla="*/ 36 w 1044"/>
                <a:gd name="T85" fmla="*/ 120 h 1542"/>
                <a:gd name="T86" fmla="*/ 30 w 1044"/>
                <a:gd name="T87" fmla="*/ 120 h 1542"/>
                <a:gd name="T88" fmla="*/ 31 w 1044"/>
                <a:gd name="T89" fmla="*/ 113 h 1542"/>
                <a:gd name="T90" fmla="*/ 29 w 1044"/>
                <a:gd name="T91" fmla="*/ 112 h 1542"/>
                <a:gd name="T92" fmla="*/ 31 w 1044"/>
                <a:gd name="T93" fmla="*/ 117 h 1542"/>
                <a:gd name="T94" fmla="*/ 27 w 1044"/>
                <a:gd name="T95" fmla="*/ 116 h 1542"/>
                <a:gd name="T96" fmla="*/ 25 w 1044"/>
                <a:gd name="T97" fmla="*/ 112 h 1542"/>
                <a:gd name="T98" fmla="*/ 21 w 1044"/>
                <a:gd name="T99" fmla="*/ 109 h 1542"/>
                <a:gd name="T100" fmla="*/ 21 w 1044"/>
                <a:gd name="T101" fmla="*/ 113 h 1542"/>
                <a:gd name="T102" fmla="*/ 40 w 1044"/>
                <a:gd name="T103" fmla="*/ 120 h 1542"/>
                <a:gd name="T104" fmla="*/ 40 w 1044"/>
                <a:gd name="T105" fmla="*/ 121 h 1542"/>
                <a:gd name="T106" fmla="*/ 40 w 1044"/>
                <a:gd name="T107" fmla="*/ 116 h 1542"/>
                <a:gd name="T108" fmla="*/ 38 w 1044"/>
                <a:gd name="T109" fmla="*/ 120 h 1542"/>
                <a:gd name="T110" fmla="*/ 23 w 1044"/>
                <a:gd name="T111" fmla="*/ 110 h 1542"/>
                <a:gd name="T112" fmla="*/ 37 w 1044"/>
                <a:gd name="T113" fmla="*/ 124 h 1542"/>
                <a:gd name="T114" fmla="*/ 40 w 1044"/>
                <a:gd name="T115" fmla="*/ 125 h 1542"/>
                <a:gd name="T116" fmla="*/ 38 w 1044"/>
                <a:gd name="T117" fmla="*/ 128 h 1542"/>
                <a:gd name="T118" fmla="*/ 25 w 1044"/>
                <a:gd name="T119" fmla="*/ 117 h 1542"/>
                <a:gd name="T120" fmla="*/ 27 w 1044"/>
                <a:gd name="T121" fmla="*/ 127 h 1542"/>
                <a:gd name="T122" fmla="*/ 24 w 1044"/>
                <a:gd name="T123" fmla="*/ 113 h 15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4"/>
                <a:gd name="T187" fmla="*/ 0 h 1542"/>
                <a:gd name="T188" fmla="*/ 1044 w 1044"/>
                <a:gd name="T189" fmla="*/ 1542 h 154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4" h="1542">
                  <a:moveTo>
                    <a:pt x="234" y="1278"/>
                  </a:moveTo>
                  <a:lnTo>
                    <a:pt x="228" y="1272"/>
                  </a:lnTo>
                  <a:lnTo>
                    <a:pt x="222" y="1266"/>
                  </a:lnTo>
                  <a:lnTo>
                    <a:pt x="222" y="1260"/>
                  </a:lnTo>
                  <a:lnTo>
                    <a:pt x="204" y="1248"/>
                  </a:lnTo>
                  <a:lnTo>
                    <a:pt x="192" y="1248"/>
                  </a:lnTo>
                  <a:lnTo>
                    <a:pt x="186" y="1236"/>
                  </a:lnTo>
                  <a:lnTo>
                    <a:pt x="174" y="1218"/>
                  </a:lnTo>
                  <a:lnTo>
                    <a:pt x="162" y="1194"/>
                  </a:lnTo>
                  <a:lnTo>
                    <a:pt x="156" y="1182"/>
                  </a:lnTo>
                  <a:lnTo>
                    <a:pt x="162" y="1146"/>
                  </a:lnTo>
                  <a:lnTo>
                    <a:pt x="156" y="1134"/>
                  </a:lnTo>
                  <a:lnTo>
                    <a:pt x="138" y="1122"/>
                  </a:lnTo>
                  <a:lnTo>
                    <a:pt x="132" y="1116"/>
                  </a:lnTo>
                  <a:lnTo>
                    <a:pt x="138" y="1098"/>
                  </a:lnTo>
                  <a:lnTo>
                    <a:pt x="138" y="1092"/>
                  </a:lnTo>
                  <a:lnTo>
                    <a:pt x="138" y="1086"/>
                  </a:lnTo>
                  <a:lnTo>
                    <a:pt x="132" y="1074"/>
                  </a:lnTo>
                  <a:lnTo>
                    <a:pt x="126" y="1074"/>
                  </a:lnTo>
                  <a:lnTo>
                    <a:pt x="126" y="1068"/>
                  </a:lnTo>
                  <a:lnTo>
                    <a:pt x="120" y="1062"/>
                  </a:lnTo>
                  <a:lnTo>
                    <a:pt x="120" y="1056"/>
                  </a:lnTo>
                  <a:lnTo>
                    <a:pt x="114" y="1050"/>
                  </a:lnTo>
                  <a:lnTo>
                    <a:pt x="108" y="1050"/>
                  </a:lnTo>
                  <a:lnTo>
                    <a:pt x="102" y="1056"/>
                  </a:lnTo>
                  <a:lnTo>
                    <a:pt x="102" y="1062"/>
                  </a:lnTo>
                  <a:lnTo>
                    <a:pt x="96" y="1062"/>
                  </a:lnTo>
                  <a:lnTo>
                    <a:pt x="96" y="1068"/>
                  </a:lnTo>
                  <a:lnTo>
                    <a:pt x="96" y="1074"/>
                  </a:lnTo>
                  <a:lnTo>
                    <a:pt x="90" y="1074"/>
                  </a:lnTo>
                  <a:lnTo>
                    <a:pt x="84" y="1080"/>
                  </a:lnTo>
                  <a:lnTo>
                    <a:pt x="78" y="1074"/>
                  </a:lnTo>
                  <a:lnTo>
                    <a:pt x="72" y="1074"/>
                  </a:lnTo>
                  <a:lnTo>
                    <a:pt x="72" y="1068"/>
                  </a:lnTo>
                  <a:lnTo>
                    <a:pt x="72" y="1062"/>
                  </a:lnTo>
                  <a:lnTo>
                    <a:pt x="60" y="1056"/>
                  </a:lnTo>
                  <a:lnTo>
                    <a:pt x="60" y="1044"/>
                  </a:lnTo>
                  <a:lnTo>
                    <a:pt x="60" y="1032"/>
                  </a:lnTo>
                  <a:lnTo>
                    <a:pt x="60" y="1026"/>
                  </a:lnTo>
                  <a:lnTo>
                    <a:pt x="54" y="1026"/>
                  </a:lnTo>
                  <a:lnTo>
                    <a:pt x="48" y="1014"/>
                  </a:lnTo>
                  <a:lnTo>
                    <a:pt x="42" y="1008"/>
                  </a:lnTo>
                  <a:lnTo>
                    <a:pt x="30" y="1008"/>
                  </a:lnTo>
                  <a:lnTo>
                    <a:pt x="30" y="1002"/>
                  </a:lnTo>
                  <a:lnTo>
                    <a:pt x="24" y="1008"/>
                  </a:lnTo>
                  <a:lnTo>
                    <a:pt x="12" y="1008"/>
                  </a:lnTo>
                  <a:lnTo>
                    <a:pt x="6" y="1008"/>
                  </a:lnTo>
                  <a:lnTo>
                    <a:pt x="0" y="1008"/>
                  </a:lnTo>
                  <a:lnTo>
                    <a:pt x="0" y="1002"/>
                  </a:lnTo>
                  <a:lnTo>
                    <a:pt x="6" y="990"/>
                  </a:lnTo>
                  <a:lnTo>
                    <a:pt x="6" y="984"/>
                  </a:lnTo>
                  <a:lnTo>
                    <a:pt x="0" y="978"/>
                  </a:lnTo>
                  <a:lnTo>
                    <a:pt x="6" y="972"/>
                  </a:lnTo>
                  <a:lnTo>
                    <a:pt x="12" y="972"/>
                  </a:lnTo>
                  <a:lnTo>
                    <a:pt x="72" y="978"/>
                  </a:lnTo>
                  <a:lnTo>
                    <a:pt x="78" y="972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30"/>
                  </a:lnTo>
                  <a:lnTo>
                    <a:pt x="54" y="912"/>
                  </a:lnTo>
                  <a:lnTo>
                    <a:pt x="42" y="906"/>
                  </a:lnTo>
                  <a:lnTo>
                    <a:pt x="36" y="894"/>
                  </a:lnTo>
                  <a:lnTo>
                    <a:pt x="30" y="876"/>
                  </a:lnTo>
                  <a:lnTo>
                    <a:pt x="30" y="858"/>
                  </a:lnTo>
                  <a:lnTo>
                    <a:pt x="30" y="840"/>
                  </a:lnTo>
                  <a:lnTo>
                    <a:pt x="36" y="816"/>
                  </a:lnTo>
                  <a:lnTo>
                    <a:pt x="36" y="792"/>
                  </a:lnTo>
                  <a:lnTo>
                    <a:pt x="36" y="780"/>
                  </a:lnTo>
                  <a:lnTo>
                    <a:pt x="12" y="774"/>
                  </a:lnTo>
                  <a:lnTo>
                    <a:pt x="24" y="756"/>
                  </a:lnTo>
                  <a:lnTo>
                    <a:pt x="24" y="744"/>
                  </a:lnTo>
                  <a:lnTo>
                    <a:pt x="30" y="738"/>
                  </a:lnTo>
                  <a:lnTo>
                    <a:pt x="30" y="732"/>
                  </a:lnTo>
                  <a:lnTo>
                    <a:pt x="36" y="720"/>
                  </a:lnTo>
                  <a:lnTo>
                    <a:pt x="42" y="714"/>
                  </a:lnTo>
                  <a:lnTo>
                    <a:pt x="54" y="708"/>
                  </a:lnTo>
                  <a:lnTo>
                    <a:pt x="60" y="702"/>
                  </a:lnTo>
                  <a:lnTo>
                    <a:pt x="48" y="690"/>
                  </a:lnTo>
                  <a:lnTo>
                    <a:pt x="48" y="684"/>
                  </a:lnTo>
                  <a:lnTo>
                    <a:pt x="48" y="678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66"/>
                  </a:lnTo>
                  <a:lnTo>
                    <a:pt x="72" y="654"/>
                  </a:lnTo>
                  <a:lnTo>
                    <a:pt x="72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84" y="630"/>
                  </a:lnTo>
                  <a:lnTo>
                    <a:pt x="90" y="630"/>
                  </a:lnTo>
                  <a:lnTo>
                    <a:pt x="96" y="630"/>
                  </a:lnTo>
                  <a:lnTo>
                    <a:pt x="96" y="624"/>
                  </a:lnTo>
                  <a:lnTo>
                    <a:pt x="90" y="624"/>
                  </a:lnTo>
                  <a:lnTo>
                    <a:pt x="84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90" y="600"/>
                  </a:lnTo>
                  <a:lnTo>
                    <a:pt x="84" y="600"/>
                  </a:lnTo>
                  <a:lnTo>
                    <a:pt x="78" y="594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126" y="564"/>
                  </a:lnTo>
                  <a:lnTo>
                    <a:pt x="144" y="564"/>
                  </a:lnTo>
                  <a:lnTo>
                    <a:pt x="156" y="582"/>
                  </a:lnTo>
                  <a:lnTo>
                    <a:pt x="162" y="600"/>
                  </a:lnTo>
                  <a:lnTo>
                    <a:pt x="180" y="588"/>
                  </a:lnTo>
                  <a:lnTo>
                    <a:pt x="192" y="588"/>
                  </a:lnTo>
                  <a:lnTo>
                    <a:pt x="198" y="588"/>
                  </a:lnTo>
                  <a:lnTo>
                    <a:pt x="210" y="582"/>
                  </a:lnTo>
                  <a:lnTo>
                    <a:pt x="216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58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46" y="558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58" y="570"/>
                  </a:lnTo>
                  <a:lnTo>
                    <a:pt x="264" y="570"/>
                  </a:lnTo>
                  <a:lnTo>
                    <a:pt x="270" y="564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46"/>
                  </a:lnTo>
                  <a:lnTo>
                    <a:pt x="276" y="540"/>
                  </a:lnTo>
                  <a:lnTo>
                    <a:pt x="276" y="534"/>
                  </a:lnTo>
                  <a:lnTo>
                    <a:pt x="276" y="528"/>
                  </a:lnTo>
                  <a:lnTo>
                    <a:pt x="282" y="528"/>
                  </a:lnTo>
                  <a:lnTo>
                    <a:pt x="282" y="522"/>
                  </a:lnTo>
                  <a:lnTo>
                    <a:pt x="282" y="516"/>
                  </a:lnTo>
                  <a:lnTo>
                    <a:pt x="282" y="510"/>
                  </a:lnTo>
                  <a:lnTo>
                    <a:pt x="282" y="504"/>
                  </a:lnTo>
                  <a:lnTo>
                    <a:pt x="282" y="492"/>
                  </a:lnTo>
                  <a:lnTo>
                    <a:pt x="288" y="486"/>
                  </a:lnTo>
                  <a:lnTo>
                    <a:pt x="300" y="480"/>
                  </a:lnTo>
                  <a:lnTo>
                    <a:pt x="306" y="462"/>
                  </a:lnTo>
                  <a:lnTo>
                    <a:pt x="318" y="444"/>
                  </a:lnTo>
                  <a:lnTo>
                    <a:pt x="330" y="444"/>
                  </a:lnTo>
                  <a:lnTo>
                    <a:pt x="330" y="432"/>
                  </a:lnTo>
                  <a:lnTo>
                    <a:pt x="342" y="432"/>
                  </a:lnTo>
                  <a:lnTo>
                    <a:pt x="354" y="402"/>
                  </a:lnTo>
                  <a:lnTo>
                    <a:pt x="348" y="390"/>
                  </a:lnTo>
                  <a:lnTo>
                    <a:pt x="336" y="384"/>
                  </a:lnTo>
                  <a:lnTo>
                    <a:pt x="336" y="360"/>
                  </a:lnTo>
                  <a:lnTo>
                    <a:pt x="336" y="354"/>
                  </a:lnTo>
                  <a:lnTo>
                    <a:pt x="336" y="342"/>
                  </a:lnTo>
                  <a:lnTo>
                    <a:pt x="342" y="336"/>
                  </a:lnTo>
                  <a:lnTo>
                    <a:pt x="342" y="324"/>
                  </a:lnTo>
                  <a:lnTo>
                    <a:pt x="372" y="324"/>
                  </a:lnTo>
                  <a:lnTo>
                    <a:pt x="378" y="324"/>
                  </a:lnTo>
                  <a:lnTo>
                    <a:pt x="378" y="318"/>
                  </a:lnTo>
                  <a:lnTo>
                    <a:pt x="372" y="312"/>
                  </a:lnTo>
                  <a:lnTo>
                    <a:pt x="378" y="312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84" y="300"/>
                  </a:lnTo>
                  <a:lnTo>
                    <a:pt x="384" y="294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66" y="294"/>
                  </a:lnTo>
                  <a:lnTo>
                    <a:pt x="366" y="288"/>
                  </a:lnTo>
                  <a:lnTo>
                    <a:pt x="372" y="288"/>
                  </a:lnTo>
                  <a:lnTo>
                    <a:pt x="372" y="282"/>
                  </a:lnTo>
                  <a:lnTo>
                    <a:pt x="366" y="276"/>
                  </a:lnTo>
                  <a:lnTo>
                    <a:pt x="360" y="270"/>
                  </a:lnTo>
                  <a:lnTo>
                    <a:pt x="360" y="264"/>
                  </a:lnTo>
                  <a:lnTo>
                    <a:pt x="354" y="264"/>
                  </a:lnTo>
                  <a:lnTo>
                    <a:pt x="348" y="258"/>
                  </a:lnTo>
                  <a:lnTo>
                    <a:pt x="354" y="258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40"/>
                  </a:lnTo>
                  <a:lnTo>
                    <a:pt x="354" y="240"/>
                  </a:lnTo>
                  <a:lnTo>
                    <a:pt x="342" y="234"/>
                  </a:lnTo>
                  <a:lnTo>
                    <a:pt x="342" y="228"/>
                  </a:lnTo>
                  <a:lnTo>
                    <a:pt x="348" y="228"/>
                  </a:lnTo>
                  <a:lnTo>
                    <a:pt x="342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6" y="216"/>
                  </a:lnTo>
                  <a:lnTo>
                    <a:pt x="330" y="222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24" y="210"/>
                  </a:lnTo>
                  <a:lnTo>
                    <a:pt x="318" y="210"/>
                  </a:lnTo>
                  <a:lnTo>
                    <a:pt x="318" y="204"/>
                  </a:lnTo>
                  <a:lnTo>
                    <a:pt x="312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294" y="192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300" y="174"/>
                  </a:lnTo>
                  <a:lnTo>
                    <a:pt x="300" y="168"/>
                  </a:lnTo>
                  <a:lnTo>
                    <a:pt x="300" y="162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88" y="150"/>
                  </a:lnTo>
                  <a:lnTo>
                    <a:pt x="288" y="144"/>
                  </a:lnTo>
                  <a:lnTo>
                    <a:pt x="282" y="144"/>
                  </a:lnTo>
                  <a:lnTo>
                    <a:pt x="282" y="138"/>
                  </a:lnTo>
                  <a:lnTo>
                    <a:pt x="312" y="132"/>
                  </a:lnTo>
                  <a:lnTo>
                    <a:pt x="324" y="120"/>
                  </a:lnTo>
                  <a:lnTo>
                    <a:pt x="330" y="114"/>
                  </a:lnTo>
                  <a:lnTo>
                    <a:pt x="336" y="102"/>
                  </a:lnTo>
                  <a:lnTo>
                    <a:pt x="348" y="90"/>
                  </a:lnTo>
                  <a:lnTo>
                    <a:pt x="360" y="84"/>
                  </a:lnTo>
                  <a:lnTo>
                    <a:pt x="372" y="84"/>
                  </a:lnTo>
                  <a:lnTo>
                    <a:pt x="378" y="84"/>
                  </a:lnTo>
                  <a:lnTo>
                    <a:pt x="384" y="90"/>
                  </a:lnTo>
                  <a:lnTo>
                    <a:pt x="402" y="90"/>
                  </a:lnTo>
                  <a:lnTo>
                    <a:pt x="438" y="84"/>
                  </a:lnTo>
                  <a:lnTo>
                    <a:pt x="456" y="84"/>
                  </a:lnTo>
                  <a:lnTo>
                    <a:pt x="462" y="78"/>
                  </a:lnTo>
                  <a:lnTo>
                    <a:pt x="486" y="72"/>
                  </a:lnTo>
                  <a:lnTo>
                    <a:pt x="492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04" y="54"/>
                  </a:lnTo>
                  <a:lnTo>
                    <a:pt x="510" y="42"/>
                  </a:lnTo>
                  <a:lnTo>
                    <a:pt x="504" y="42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498" y="30"/>
                  </a:lnTo>
                  <a:lnTo>
                    <a:pt x="492" y="30"/>
                  </a:lnTo>
                  <a:lnTo>
                    <a:pt x="492" y="24"/>
                  </a:lnTo>
                  <a:lnTo>
                    <a:pt x="486" y="18"/>
                  </a:lnTo>
                  <a:lnTo>
                    <a:pt x="498" y="18"/>
                  </a:lnTo>
                  <a:lnTo>
                    <a:pt x="510" y="18"/>
                  </a:lnTo>
                  <a:lnTo>
                    <a:pt x="522" y="12"/>
                  </a:lnTo>
                  <a:lnTo>
                    <a:pt x="528" y="6"/>
                  </a:lnTo>
                  <a:lnTo>
                    <a:pt x="570" y="0"/>
                  </a:lnTo>
                  <a:lnTo>
                    <a:pt x="606" y="6"/>
                  </a:lnTo>
                  <a:lnTo>
                    <a:pt x="654" y="24"/>
                  </a:lnTo>
                  <a:lnTo>
                    <a:pt x="666" y="36"/>
                  </a:lnTo>
                  <a:lnTo>
                    <a:pt x="672" y="30"/>
                  </a:lnTo>
                  <a:lnTo>
                    <a:pt x="690" y="42"/>
                  </a:lnTo>
                  <a:lnTo>
                    <a:pt x="702" y="48"/>
                  </a:lnTo>
                  <a:lnTo>
                    <a:pt x="714" y="60"/>
                  </a:lnTo>
                  <a:lnTo>
                    <a:pt x="714" y="66"/>
                  </a:lnTo>
                  <a:lnTo>
                    <a:pt x="720" y="72"/>
                  </a:lnTo>
                  <a:lnTo>
                    <a:pt x="720" y="78"/>
                  </a:lnTo>
                  <a:lnTo>
                    <a:pt x="720" y="102"/>
                  </a:lnTo>
                  <a:lnTo>
                    <a:pt x="720" y="108"/>
                  </a:lnTo>
                  <a:lnTo>
                    <a:pt x="714" y="108"/>
                  </a:lnTo>
                  <a:lnTo>
                    <a:pt x="714" y="126"/>
                  </a:lnTo>
                  <a:lnTo>
                    <a:pt x="732" y="126"/>
                  </a:lnTo>
                  <a:lnTo>
                    <a:pt x="726" y="132"/>
                  </a:lnTo>
                  <a:lnTo>
                    <a:pt x="738" y="132"/>
                  </a:lnTo>
                  <a:lnTo>
                    <a:pt x="738" y="138"/>
                  </a:lnTo>
                  <a:lnTo>
                    <a:pt x="738" y="144"/>
                  </a:lnTo>
                  <a:lnTo>
                    <a:pt x="744" y="144"/>
                  </a:lnTo>
                  <a:lnTo>
                    <a:pt x="744" y="150"/>
                  </a:lnTo>
                  <a:lnTo>
                    <a:pt x="756" y="156"/>
                  </a:lnTo>
                  <a:lnTo>
                    <a:pt x="768" y="156"/>
                  </a:lnTo>
                  <a:lnTo>
                    <a:pt x="780" y="156"/>
                  </a:lnTo>
                  <a:lnTo>
                    <a:pt x="792" y="150"/>
                  </a:lnTo>
                  <a:lnTo>
                    <a:pt x="786" y="150"/>
                  </a:lnTo>
                  <a:lnTo>
                    <a:pt x="786" y="144"/>
                  </a:lnTo>
                  <a:lnTo>
                    <a:pt x="804" y="144"/>
                  </a:lnTo>
                  <a:lnTo>
                    <a:pt x="816" y="132"/>
                  </a:lnTo>
                  <a:lnTo>
                    <a:pt x="822" y="126"/>
                  </a:lnTo>
                  <a:lnTo>
                    <a:pt x="828" y="132"/>
                  </a:lnTo>
                  <a:lnTo>
                    <a:pt x="834" y="126"/>
                  </a:lnTo>
                  <a:lnTo>
                    <a:pt x="834" y="120"/>
                  </a:lnTo>
                  <a:lnTo>
                    <a:pt x="924" y="108"/>
                  </a:lnTo>
                  <a:lnTo>
                    <a:pt x="942" y="144"/>
                  </a:lnTo>
                  <a:lnTo>
                    <a:pt x="948" y="144"/>
                  </a:lnTo>
                  <a:lnTo>
                    <a:pt x="960" y="168"/>
                  </a:lnTo>
                  <a:lnTo>
                    <a:pt x="972" y="186"/>
                  </a:lnTo>
                  <a:lnTo>
                    <a:pt x="984" y="192"/>
                  </a:lnTo>
                  <a:lnTo>
                    <a:pt x="996" y="192"/>
                  </a:lnTo>
                  <a:lnTo>
                    <a:pt x="996" y="198"/>
                  </a:lnTo>
                  <a:lnTo>
                    <a:pt x="1008" y="204"/>
                  </a:lnTo>
                  <a:lnTo>
                    <a:pt x="1008" y="210"/>
                  </a:lnTo>
                  <a:lnTo>
                    <a:pt x="1002" y="210"/>
                  </a:lnTo>
                  <a:lnTo>
                    <a:pt x="1008" y="216"/>
                  </a:lnTo>
                  <a:lnTo>
                    <a:pt x="1014" y="210"/>
                  </a:lnTo>
                  <a:lnTo>
                    <a:pt x="1014" y="216"/>
                  </a:lnTo>
                  <a:lnTo>
                    <a:pt x="1020" y="222"/>
                  </a:lnTo>
                  <a:lnTo>
                    <a:pt x="1014" y="228"/>
                  </a:lnTo>
                  <a:lnTo>
                    <a:pt x="1032" y="234"/>
                  </a:lnTo>
                  <a:lnTo>
                    <a:pt x="1044" y="240"/>
                  </a:lnTo>
                  <a:lnTo>
                    <a:pt x="1038" y="246"/>
                  </a:lnTo>
                  <a:lnTo>
                    <a:pt x="1038" y="252"/>
                  </a:lnTo>
                  <a:lnTo>
                    <a:pt x="1038" y="258"/>
                  </a:lnTo>
                  <a:lnTo>
                    <a:pt x="1032" y="264"/>
                  </a:lnTo>
                  <a:lnTo>
                    <a:pt x="1032" y="270"/>
                  </a:lnTo>
                  <a:lnTo>
                    <a:pt x="1032" y="276"/>
                  </a:lnTo>
                  <a:lnTo>
                    <a:pt x="1032" y="282"/>
                  </a:lnTo>
                  <a:lnTo>
                    <a:pt x="1026" y="282"/>
                  </a:lnTo>
                  <a:lnTo>
                    <a:pt x="1026" y="288"/>
                  </a:lnTo>
                  <a:lnTo>
                    <a:pt x="1026" y="294"/>
                  </a:lnTo>
                  <a:lnTo>
                    <a:pt x="1026" y="300"/>
                  </a:lnTo>
                  <a:lnTo>
                    <a:pt x="1026" y="306"/>
                  </a:lnTo>
                  <a:lnTo>
                    <a:pt x="1020" y="318"/>
                  </a:lnTo>
                  <a:lnTo>
                    <a:pt x="1020" y="324"/>
                  </a:lnTo>
                  <a:lnTo>
                    <a:pt x="1014" y="324"/>
                  </a:lnTo>
                  <a:lnTo>
                    <a:pt x="1014" y="330"/>
                  </a:lnTo>
                  <a:lnTo>
                    <a:pt x="1014" y="336"/>
                  </a:lnTo>
                  <a:lnTo>
                    <a:pt x="1008" y="366"/>
                  </a:lnTo>
                  <a:lnTo>
                    <a:pt x="1002" y="366"/>
                  </a:lnTo>
                  <a:lnTo>
                    <a:pt x="984" y="354"/>
                  </a:lnTo>
                  <a:lnTo>
                    <a:pt x="978" y="354"/>
                  </a:lnTo>
                  <a:lnTo>
                    <a:pt x="972" y="354"/>
                  </a:lnTo>
                  <a:lnTo>
                    <a:pt x="966" y="348"/>
                  </a:lnTo>
                  <a:lnTo>
                    <a:pt x="954" y="348"/>
                  </a:lnTo>
                  <a:lnTo>
                    <a:pt x="948" y="348"/>
                  </a:lnTo>
                  <a:lnTo>
                    <a:pt x="948" y="360"/>
                  </a:lnTo>
                  <a:lnTo>
                    <a:pt x="948" y="366"/>
                  </a:lnTo>
                  <a:lnTo>
                    <a:pt x="948" y="372"/>
                  </a:lnTo>
                  <a:lnTo>
                    <a:pt x="948" y="378"/>
                  </a:lnTo>
                  <a:lnTo>
                    <a:pt x="948" y="384"/>
                  </a:lnTo>
                  <a:lnTo>
                    <a:pt x="942" y="384"/>
                  </a:lnTo>
                  <a:lnTo>
                    <a:pt x="942" y="390"/>
                  </a:lnTo>
                  <a:lnTo>
                    <a:pt x="936" y="390"/>
                  </a:lnTo>
                  <a:lnTo>
                    <a:pt x="942" y="390"/>
                  </a:lnTo>
                  <a:lnTo>
                    <a:pt x="936" y="396"/>
                  </a:lnTo>
                  <a:lnTo>
                    <a:pt x="930" y="402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2" y="432"/>
                  </a:lnTo>
                  <a:lnTo>
                    <a:pt x="900" y="450"/>
                  </a:lnTo>
                  <a:lnTo>
                    <a:pt x="894" y="456"/>
                  </a:lnTo>
                  <a:lnTo>
                    <a:pt x="888" y="456"/>
                  </a:lnTo>
                  <a:lnTo>
                    <a:pt x="882" y="456"/>
                  </a:lnTo>
                  <a:lnTo>
                    <a:pt x="876" y="456"/>
                  </a:lnTo>
                  <a:lnTo>
                    <a:pt x="864" y="462"/>
                  </a:lnTo>
                  <a:lnTo>
                    <a:pt x="852" y="474"/>
                  </a:lnTo>
                  <a:lnTo>
                    <a:pt x="846" y="480"/>
                  </a:lnTo>
                  <a:lnTo>
                    <a:pt x="840" y="486"/>
                  </a:lnTo>
                  <a:lnTo>
                    <a:pt x="834" y="498"/>
                  </a:lnTo>
                  <a:lnTo>
                    <a:pt x="828" y="510"/>
                  </a:lnTo>
                  <a:lnTo>
                    <a:pt x="816" y="522"/>
                  </a:lnTo>
                  <a:lnTo>
                    <a:pt x="798" y="540"/>
                  </a:lnTo>
                  <a:lnTo>
                    <a:pt x="780" y="558"/>
                  </a:lnTo>
                  <a:lnTo>
                    <a:pt x="774" y="558"/>
                  </a:lnTo>
                  <a:lnTo>
                    <a:pt x="756" y="576"/>
                  </a:lnTo>
                  <a:lnTo>
                    <a:pt x="732" y="600"/>
                  </a:lnTo>
                  <a:lnTo>
                    <a:pt x="726" y="600"/>
                  </a:lnTo>
                  <a:lnTo>
                    <a:pt x="720" y="606"/>
                  </a:lnTo>
                  <a:lnTo>
                    <a:pt x="714" y="612"/>
                  </a:lnTo>
                  <a:lnTo>
                    <a:pt x="690" y="630"/>
                  </a:lnTo>
                  <a:lnTo>
                    <a:pt x="678" y="636"/>
                  </a:lnTo>
                  <a:lnTo>
                    <a:pt x="672" y="642"/>
                  </a:lnTo>
                  <a:lnTo>
                    <a:pt x="660" y="660"/>
                  </a:lnTo>
                  <a:lnTo>
                    <a:pt x="642" y="666"/>
                  </a:lnTo>
                  <a:lnTo>
                    <a:pt x="636" y="678"/>
                  </a:lnTo>
                  <a:lnTo>
                    <a:pt x="630" y="678"/>
                  </a:lnTo>
                  <a:lnTo>
                    <a:pt x="630" y="684"/>
                  </a:lnTo>
                  <a:lnTo>
                    <a:pt x="630" y="690"/>
                  </a:lnTo>
                  <a:lnTo>
                    <a:pt x="636" y="696"/>
                  </a:lnTo>
                  <a:lnTo>
                    <a:pt x="642" y="696"/>
                  </a:lnTo>
                  <a:lnTo>
                    <a:pt x="648" y="702"/>
                  </a:lnTo>
                  <a:lnTo>
                    <a:pt x="648" y="708"/>
                  </a:lnTo>
                  <a:lnTo>
                    <a:pt x="642" y="708"/>
                  </a:lnTo>
                  <a:lnTo>
                    <a:pt x="636" y="714"/>
                  </a:lnTo>
                  <a:lnTo>
                    <a:pt x="636" y="720"/>
                  </a:lnTo>
                  <a:lnTo>
                    <a:pt x="642" y="726"/>
                  </a:lnTo>
                  <a:lnTo>
                    <a:pt x="636" y="738"/>
                  </a:lnTo>
                  <a:lnTo>
                    <a:pt x="618" y="756"/>
                  </a:lnTo>
                  <a:lnTo>
                    <a:pt x="612" y="750"/>
                  </a:lnTo>
                  <a:lnTo>
                    <a:pt x="612" y="756"/>
                  </a:lnTo>
                  <a:lnTo>
                    <a:pt x="618" y="762"/>
                  </a:lnTo>
                  <a:lnTo>
                    <a:pt x="618" y="768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36" y="786"/>
                  </a:lnTo>
                  <a:lnTo>
                    <a:pt x="642" y="792"/>
                  </a:lnTo>
                  <a:lnTo>
                    <a:pt x="642" y="798"/>
                  </a:lnTo>
                  <a:lnTo>
                    <a:pt x="648" y="804"/>
                  </a:lnTo>
                  <a:lnTo>
                    <a:pt x="654" y="810"/>
                  </a:lnTo>
                  <a:lnTo>
                    <a:pt x="660" y="816"/>
                  </a:lnTo>
                  <a:lnTo>
                    <a:pt x="666" y="816"/>
                  </a:lnTo>
                  <a:lnTo>
                    <a:pt x="666" y="822"/>
                  </a:lnTo>
                  <a:lnTo>
                    <a:pt x="672" y="828"/>
                  </a:lnTo>
                  <a:lnTo>
                    <a:pt x="672" y="840"/>
                  </a:lnTo>
                  <a:lnTo>
                    <a:pt x="672" y="846"/>
                  </a:lnTo>
                  <a:lnTo>
                    <a:pt x="666" y="852"/>
                  </a:lnTo>
                  <a:lnTo>
                    <a:pt x="660" y="864"/>
                  </a:lnTo>
                  <a:lnTo>
                    <a:pt x="654" y="876"/>
                  </a:lnTo>
                  <a:lnTo>
                    <a:pt x="648" y="882"/>
                  </a:lnTo>
                  <a:lnTo>
                    <a:pt x="642" y="888"/>
                  </a:lnTo>
                  <a:lnTo>
                    <a:pt x="642" y="894"/>
                  </a:lnTo>
                  <a:lnTo>
                    <a:pt x="642" y="906"/>
                  </a:lnTo>
                  <a:lnTo>
                    <a:pt x="630" y="918"/>
                  </a:lnTo>
                  <a:lnTo>
                    <a:pt x="630" y="924"/>
                  </a:lnTo>
                  <a:lnTo>
                    <a:pt x="624" y="930"/>
                  </a:lnTo>
                  <a:lnTo>
                    <a:pt x="630" y="936"/>
                  </a:lnTo>
                  <a:lnTo>
                    <a:pt x="630" y="942"/>
                  </a:lnTo>
                  <a:lnTo>
                    <a:pt x="630" y="948"/>
                  </a:lnTo>
                  <a:lnTo>
                    <a:pt x="630" y="954"/>
                  </a:lnTo>
                  <a:lnTo>
                    <a:pt x="630" y="960"/>
                  </a:lnTo>
                  <a:lnTo>
                    <a:pt x="624" y="966"/>
                  </a:lnTo>
                  <a:lnTo>
                    <a:pt x="618" y="990"/>
                  </a:lnTo>
                  <a:lnTo>
                    <a:pt x="618" y="1008"/>
                  </a:lnTo>
                  <a:lnTo>
                    <a:pt x="612" y="1026"/>
                  </a:lnTo>
                  <a:lnTo>
                    <a:pt x="612" y="1038"/>
                  </a:lnTo>
                  <a:lnTo>
                    <a:pt x="612" y="1050"/>
                  </a:lnTo>
                  <a:lnTo>
                    <a:pt x="612" y="1056"/>
                  </a:lnTo>
                  <a:lnTo>
                    <a:pt x="612" y="1062"/>
                  </a:lnTo>
                  <a:lnTo>
                    <a:pt x="612" y="1068"/>
                  </a:lnTo>
                  <a:lnTo>
                    <a:pt x="612" y="1086"/>
                  </a:lnTo>
                  <a:lnTo>
                    <a:pt x="612" y="1092"/>
                  </a:lnTo>
                  <a:lnTo>
                    <a:pt x="606" y="1098"/>
                  </a:lnTo>
                  <a:lnTo>
                    <a:pt x="600" y="1110"/>
                  </a:lnTo>
                  <a:lnTo>
                    <a:pt x="600" y="1116"/>
                  </a:lnTo>
                  <a:lnTo>
                    <a:pt x="594" y="1122"/>
                  </a:lnTo>
                  <a:lnTo>
                    <a:pt x="594" y="1128"/>
                  </a:lnTo>
                  <a:lnTo>
                    <a:pt x="588" y="1134"/>
                  </a:lnTo>
                  <a:lnTo>
                    <a:pt x="582" y="1140"/>
                  </a:lnTo>
                  <a:lnTo>
                    <a:pt x="570" y="1140"/>
                  </a:lnTo>
                  <a:lnTo>
                    <a:pt x="564" y="1146"/>
                  </a:lnTo>
                  <a:lnTo>
                    <a:pt x="570" y="1146"/>
                  </a:lnTo>
                  <a:lnTo>
                    <a:pt x="564" y="1152"/>
                  </a:lnTo>
                  <a:lnTo>
                    <a:pt x="558" y="1158"/>
                  </a:lnTo>
                  <a:lnTo>
                    <a:pt x="552" y="1164"/>
                  </a:lnTo>
                  <a:lnTo>
                    <a:pt x="552" y="1170"/>
                  </a:lnTo>
                  <a:lnTo>
                    <a:pt x="546" y="1176"/>
                  </a:lnTo>
                  <a:lnTo>
                    <a:pt x="546" y="1182"/>
                  </a:lnTo>
                  <a:lnTo>
                    <a:pt x="546" y="1188"/>
                  </a:lnTo>
                  <a:lnTo>
                    <a:pt x="540" y="1188"/>
                  </a:lnTo>
                  <a:lnTo>
                    <a:pt x="540" y="1194"/>
                  </a:lnTo>
                  <a:lnTo>
                    <a:pt x="528" y="1206"/>
                  </a:lnTo>
                  <a:lnTo>
                    <a:pt x="528" y="1212"/>
                  </a:lnTo>
                  <a:lnTo>
                    <a:pt x="534" y="1212"/>
                  </a:lnTo>
                  <a:lnTo>
                    <a:pt x="540" y="1218"/>
                  </a:lnTo>
                  <a:lnTo>
                    <a:pt x="534" y="1218"/>
                  </a:lnTo>
                  <a:lnTo>
                    <a:pt x="528" y="1218"/>
                  </a:lnTo>
                  <a:lnTo>
                    <a:pt x="528" y="1224"/>
                  </a:lnTo>
                  <a:lnTo>
                    <a:pt x="522" y="1230"/>
                  </a:lnTo>
                  <a:lnTo>
                    <a:pt x="516" y="1236"/>
                  </a:lnTo>
                  <a:lnTo>
                    <a:pt x="522" y="1236"/>
                  </a:lnTo>
                  <a:lnTo>
                    <a:pt x="516" y="1242"/>
                  </a:lnTo>
                  <a:lnTo>
                    <a:pt x="510" y="1242"/>
                  </a:lnTo>
                  <a:lnTo>
                    <a:pt x="504" y="1248"/>
                  </a:lnTo>
                  <a:lnTo>
                    <a:pt x="510" y="1260"/>
                  </a:lnTo>
                  <a:lnTo>
                    <a:pt x="504" y="1266"/>
                  </a:lnTo>
                  <a:lnTo>
                    <a:pt x="492" y="1266"/>
                  </a:lnTo>
                  <a:lnTo>
                    <a:pt x="486" y="1272"/>
                  </a:lnTo>
                  <a:lnTo>
                    <a:pt x="486" y="1278"/>
                  </a:lnTo>
                  <a:lnTo>
                    <a:pt x="480" y="1278"/>
                  </a:lnTo>
                  <a:lnTo>
                    <a:pt x="480" y="1284"/>
                  </a:lnTo>
                  <a:lnTo>
                    <a:pt x="480" y="1290"/>
                  </a:lnTo>
                  <a:lnTo>
                    <a:pt x="480" y="1296"/>
                  </a:lnTo>
                  <a:lnTo>
                    <a:pt x="492" y="1302"/>
                  </a:lnTo>
                  <a:lnTo>
                    <a:pt x="492" y="1308"/>
                  </a:lnTo>
                  <a:lnTo>
                    <a:pt x="492" y="1320"/>
                  </a:lnTo>
                  <a:lnTo>
                    <a:pt x="492" y="1332"/>
                  </a:lnTo>
                  <a:lnTo>
                    <a:pt x="498" y="1344"/>
                  </a:lnTo>
                  <a:lnTo>
                    <a:pt x="498" y="1350"/>
                  </a:lnTo>
                  <a:lnTo>
                    <a:pt x="498" y="1356"/>
                  </a:lnTo>
                  <a:lnTo>
                    <a:pt x="504" y="1362"/>
                  </a:lnTo>
                  <a:lnTo>
                    <a:pt x="498" y="1362"/>
                  </a:lnTo>
                  <a:lnTo>
                    <a:pt x="498" y="1368"/>
                  </a:lnTo>
                  <a:lnTo>
                    <a:pt x="492" y="1368"/>
                  </a:lnTo>
                  <a:lnTo>
                    <a:pt x="492" y="1374"/>
                  </a:lnTo>
                  <a:lnTo>
                    <a:pt x="492" y="1380"/>
                  </a:lnTo>
                  <a:lnTo>
                    <a:pt x="498" y="1380"/>
                  </a:lnTo>
                  <a:lnTo>
                    <a:pt x="504" y="1380"/>
                  </a:lnTo>
                  <a:lnTo>
                    <a:pt x="498" y="1386"/>
                  </a:lnTo>
                  <a:lnTo>
                    <a:pt x="498" y="1392"/>
                  </a:lnTo>
                  <a:lnTo>
                    <a:pt x="498" y="1398"/>
                  </a:lnTo>
                  <a:lnTo>
                    <a:pt x="498" y="1404"/>
                  </a:lnTo>
                  <a:lnTo>
                    <a:pt x="498" y="1410"/>
                  </a:lnTo>
                  <a:lnTo>
                    <a:pt x="498" y="1416"/>
                  </a:lnTo>
                  <a:lnTo>
                    <a:pt x="492" y="1416"/>
                  </a:lnTo>
                  <a:lnTo>
                    <a:pt x="498" y="1416"/>
                  </a:lnTo>
                  <a:lnTo>
                    <a:pt x="504" y="1416"/>
                  </a:lnTo>
                  <a:lnTo>
                    <a:pt x="504" y="1422"/>
                  </a:lnTo>
                  <a:lnTo>
                    <a:pt x="510" y="1428"/>
                  </a:lnTo>
                  <a:lnTo>
                    <a:pt x="510" y="1434"/>
                  </a:lnTo>
                  <a:lnTo>
                    <a:pt x="510" y="1440"/>
                  </a:lnTo>
                  <a:lnTo>
                    <a:pt x="516" y="1446"/>
                  </a:lnTo>
                  <a:lnTo>
                    <a:pt x="516" y="1452"/>
                  </a:lnTo>
                  <a:lnTo>
                    <a:pt x="516" y="1458"/>
                  </a:lnTo>
                  <a:lnTo>
                    <a:pt x="516" y="1464"/>
                  </a:lnTo>
                  <a:lnTo>
                    <a:pt x="516" y="1482"/>
                  </a:lnTo>
                  <a:lnTo>
                    <a:pt x="516" y="1488"/>
                  </a:lnTo>
                  <a:lnTo>
                    <a:pt x="522" y="1488"/>
                  </a:lnTo>
                  <a:lnTo>
                    <a:pt x="522" y="1494"/>
                  </a:lnTo>
                  <a:lnTo>
                    <a:pt x="522" y="1500"/>
                  </a:lnTo>
                  <a:lnTo>
                    <a:pt x="516" y="1506"/>
                  </a:lnTo>
                  <a:lnTo>
                    <a:pt x="510" y="1500"/>
                  </a:lnTo>
                  <a:lnTo>
                    <a:pt x="504" y="1500"/>
                  </a:lnTo>
                  <a:lnTo>
                    <a:pt x="504" y="1494"/>
                  </a:lnTo>
                  <a:lnTo>
                    <a:pt x="504" y="1488"/>
                  </a:lnTo>
                  <a:lnTo>
                    <a:pt x="504" y="1482"/>
                  </a:lnTo>
                  <a:lnTo>
                    <a:pt x="504" y="1488"/>
                  </a:lnTo>
                  <a:lnTo>
                    <a:pt x="504" y="1494"/>
                  </a:lnTo>
                  <a:lnTo>
                    <a:pt x="504" y="1500"/>
                  </a:lnTo>
                  <a:lnTo>
                    <a:pt x="498" y="1500"/>
                  </a:lnTo>
                  <a:lnTo>
                    <a:pt x="492" y="1500"/>
                  </a:lnTo>
                  <a:lnTo>
                    <a:pt x="492" y="1494"/>
                  </a:lnTo>
                  <a:lnTo>
                    <a:pt x="492" y="1488"/>
                  </a:lnTo>
                  <a:lnTo>
                    <a:pt x="492" y="1494"/>
                  </a:lnTo>
                  <a:lnTo>
                    <a:pt x="492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00"/>
                  </a:lnTo>
                  <a:lnTo>
                    <a:pt x="510" y="1500"/>
                  </a:lnTo>
                  <a:lnTo>
                    <a:pt x="510" y="1506"/>
                  </a:lnTo>
                  <a:lnTo>
                    <a:pt x="516" y="1506"/>
                  </a:lnTo>
                  <a:lnTo>
                    <a:pt x="510" y="1506"/>
                  </a:lnTo>
                  <a:lnTo>
                    <a:pt x="510" y="1512"/>
                  </a:lnTo>
                  <a:lnTo>
                    <a:pt x="516" y="1506"/>
                  </a:lnTo>
                  <a:lnTo>
                    <a:pt x="522" y="1506"/>
                  </a:lnTo>
                  <a:lnTo>
                    <a:pt x="528" y="1506"/>
                  </a:lnTo>
                  <a:lnTo>
                    <a:pt x="528" y="1500"/>
                  </a:lnTo>
                  <a:lnTo>
                    <a:pt x="534" y="1500"/>
                  </a:lnTo>
                  <a:lnTo>
                    <a:pt x="534" y="1506"/>
                  </a:lnTo>
                  <a:lnTo>
                    <a:pt x="540" y="1512"/>
                  </a:lnTo>
                  <a:lnTo>
                    <a:pt x="540" y="1518"/>
                  </a:lnTo>
                  <a:lnTo>
                    <a:pt x="546" y="1518"/>
                  </a:lnTo>
                  <a:lnTo>
                    <a:pt x="540" y="1518"/>
                  </a:lnTo>
                  <a:lnTo>
                    <a:pt x="540" y="1524"/>
                  </a:lnTo>
                  <a:lnTo>
                    <a:pt x="534" y="1524"/>
                  </a:lnTo>
                  <a:lnTo>
                    <a:pt x="540" y="1524"/>
                  </a:lnTo>
                  <a:lnTo>
                    <a:pt x="546" y="1524"/>
                  </a:lnTo>
                  <a:lnTo>
                    <a:pt x="546" y="1530"/>
                  </a:lnTo>
                  <a:lnTo>
                    <a:pt x="540" y="1530"/>
                  </a:lnTo>
                  <a:lnTo>
                    <a:pt x="540" y="1536"/>
                  </a:lnTo>
                  <a:lnTo>
                    <a:pt x="534" y="1542"/>
                  </a:lnTo>
                  <a:lnTo>
                    <a:pt x="528" y="1542"/>
                  </a:lnTo>
                  <a:lnTo>
                    <a:pt x="522" y="1542"/>
                  </a:lnTo>
                  <a:lnTo>
                    <a:pt x="516" y="1542"/>
                  </a:lnTo>
                  <a:lnTo>
                    <a:pt x="510" y="1542"/>
                  </a:lnTo>
                  <a:lnTo>
                    <a:pt x="504" y="1542"/>
                  </a:lnTo>
                  <a:lnTo>
                    <a:pt x="492" y="1542"/>
                  </a:lnTo>
                  <a:lnTo>
                    <a:pt x="486" y="1536"/>
                  </a:lnTo>
                  <a:lnTo>
                    <a:pt x="480" y="1536"/>
                  </a:lnTo>
                  <a:lnTo>
                    <a:pt x="468" y="1536"/>
                  </a:lnTo>
                  <a:lnTo>
                    <a:pt x="468" y="1542"/>
                  </a:lnTo>
                  <a:lnTo>
                    <a:pt x="462" y="1542"/>
                  </a:lnTo>
                  <a:lnTo>
                    <a:pt x="456" y="1542"/>
                  </a:lnTo>
                  <a:lnTo>
                    <a:pt x="450" y="1542"/>
                  </a:lnTo>
                  <a:lnTo>
                    <a:pt x="444" y="1542"/>
                  </a:lnTo>
                  <a:lnTo>
                    <a:pt x="444" y="1536"/>
                  </a:lnTo>
                  <a:lnTo>
                    <a:pt x="450" y="1536"/>
                  </a:lnTo>
                  <a:lnTo>
                    <a:pt x="456" y="1536"/>
                  </a:lnTo>
                  <a:lnTo>
                    <a:pt x="450" y="1536"/>
                  </a:lnTo>
                  <a:lnTo>
                    <a:pt x="444" y="1536"/>
                  </a:lnTo>
                  <a:lnTo>
                    <a:pt x="444" y="1530"/>
                  </a:lnTo>
                  <a:lnTo>
                    <a:pt x="450" y="1530"/>
                  </a:lnTo>
                  <a:lnTo>
                    <a:pt x="456" y="1524"/>
                  </a:lnTo>
                  <a:lnTo>
                    <a:pt x="456" y="1518"/>
                  </a:lnTo>
                  <a:lnTo>
                    <a:pt x="462" y="1518"/>
                  </a:lnTo>
                  <a:lnTo>
                    <a:pt x="462" y="1524"/>
                  </a:lnTo>
                  <a:lnTo>
                    <a:pt x="468" y="1524"/>
                  </a:lnTo>
                  <a:lnTo>
                    <a:pt x="474" y="1524"/>
                  </a:lnTo>
                  <a:lnTo>
                    <a:pt x="474" y="1518"/>
                  </a:lnTo>
                  <a:lnTo>
                    <a:pt x="480" y="1518"/>
                  </a:lnTo>
                  <a:lnTo>
                    <a:pt x="474" y="1518"/>
                  </a:lnTo>
                  <a:lnTo>
                    <a:pt x="474" y="1524"/>
                  </a:lnTo>
                  <a:lnTo>
                    <a:pt x="468" y="1524"/>
                  </a:lnTo>
                  <a:lnTo>
                    <a:pt x="462" y="1518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62" y="1512"/>
                  </a:lnTo>
                  <a:lnTo>
                    <a:pt x="462" y="1506"/>
                  </a:lnTo>
                  <a:lnTo>
                    <a:pt x="456" y="1506"/>
                  </a:lnTo>
                  <a:lnTo>
                    <a:pt x="456" y="1512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50" y="1518"/>
                  </a:lnTo>
                  <a:lnTo>
                    <a:pt x="444" y="1518"/>
                  </a:lnTo>
                  <a:lnTo>
                    <a:pt x="444" y="1524"/>
                  </a:lnTo>
                  <a:lnTo>
                    <a:pt x="438" y="1524"/>
                  </a:lnTo>
                  <a:lnTo>
                    <a:pt x="438" y="1530"/>
                  </a:lnTo>
                  <a:lnTo>
                    <a:pt x="432" y="1530"/>
                  </a:lnTo>
                  <a:lnTo>
                    <a:pt x="432" y="1536"/>
                  </a:lnTo>
                  <a:lnTo>
                    <a:pt x="426" y="1530"/>
                  </a:lnTo>
                  <a:lnTo>
                    <a:pt x="420" y="1530"/>
                  </a:lnTo>
                  <a:lnTo>
                    <a:pt x="414" y="1530"/>
                  </a:lnTo>
                  <a:lnTo>
                    <a:pt x="414" y="1524"/>
                  </a:lnTo>
                  <a:lnTo>
                    <a:pt x="408" y="1518"/>
                  </a:lnTo>
                  <a:lnTo>
                    <a:pt x="414" y="1512"/>
                  </a:lnTo>
                  <a:lnTo>
                    <a:pt x="408" y="1512"/>
                  </a:lnTo>
                  <a:lnTo>
                    <a:pt x="408" y="1506"/>
                  </a:lnTo>
                  <a:lnTo>
                    <a:pt x="408" y="1500"/>
                  </a:lnTo>
                  <a:lnTo>
                    <a:pt x="408" y="1494"/>
                  </a:lnTo>
                  <a:lnTo>
                    <a:pt x="408" y="1488"/>
                  </a:lnTo>
                  <a:lnTo>
                    <a:pt x="408" y="1494"/>
                  </a:lnTo>
                  <a:lnTo>
                    <a:pt x="414" y="1494"/>
                  </a:lnTo>
                  <a:lnTo>
                    <a:pt x="420" y="1494"/>
                  </a:lnTo>
                  <a:lnTo>
                    <a:pt x="420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82"/>
                  </a:lnTo>
                  <a:lnTo>
                    <a:pt x="426" y="1476"/>
                  </a:lnTo>
                  <a:lnTo>
                    <a:pt x="432" y="1476"/>
                  </a:lnTo>
                  <a:lnTo>
                    <a:pt x="432" y="1470"/>
                  </a:lnTo>
                  <a:lnTo>
                    <a:pt x="438" y="1470"/>
                  </a:lnTo>
                  <a:lnTo>
                    <a:pt x="444" y="1464"/>
                  </a:lnTo>
                  <a:lnTo>
                    <a:pt x="450" y="1458"/>
                  </a:lnTo>
                  <a:lnTo>
                    <a:pt x="456" y="1458"/>
                  </a:lnTo>
                  <a:lnTo>
                    <a:pt x="462" y="1452"/>
                  </a:lnTo>
                  <a:lnTo>
                    <a:pt x="468" y="1452"/>
                  </a:lnTo>
                  <a:lnTo>
                    <a:pt x="468" y="1446"/>
                  </a:lnTo>
                  <a:lnTo>
                    <a:pt x="462" y="1440"/>
                  </a:lnTo>
                  <a:lnTo>
                    <a:pt x="456" y="1434"/>
                  </a:lnTo>
                  <a:lnTo>
                    <a:pt x="456" y="1428"/>
                  </a:lnTo>
                  <a:lnTo>
                    <a:pt x="456" y="1422"/>
                  </a:lnTo>
                  <a:lnTo>
                    <a:pt x="456" y="1416"/>
                  </a:lnTo>
                  <a:lnTo>
                    <a:pt x="450" y="1410"/>
                  </a:lnTo>
                  <a:lnTo>
                    <a:pt x="444" y="1410"/>
                  </a:lnTo>
                  <a:lnTo>
                    <a:pt x="450" y="1410"/>
                  </a:lnTo>
                  <a:lnTo>
                    <a:pt x="450" y="1404"/>
                  </a:lnTo>
                  <a:lnTo>
                    <a:pt x="456" y="1404"/>
                  </a:lnTo>
                  <a:lnTo>
                    <a:pt x="462" y="1404"/>
                  </a:lnTo>
                  <a:lnTo>
                    <a:pt x="468" y="1398"/>
                  </a:lnTo>
                  <a:lnTo>
                    <a:pt x="462" y="1398"/>
                  </a:lnTo>
                  <a:lnTo>
                    <a:pt x="462" y="1392"/>
                  </a:lnTo>
                  <a:lnTo>
                    <a:pt x="456" y="1392"/>
                  </a:lnTo>
                  <a:lnTo>
                    <a:pt x="456" y="1386"/>
                  </a:lnTo>
                  <a:lnTo>
                    <a:pt x="462" y="1386"/>
                  </a:lnTo>
                  <a:lnTo>
                    <a:pt x="468" y="1386"/>
                  </a:lnTo>
                  <a:lnTo>
                    <a:pt x="474" y="1386"/>
                  </a:lnTo>
                  <a:lnTo>
                    <a:pt x="468" y="1386"/>
                  </a:lnTo>
                  <a:lnTo>
                    <a:pt x="462" y="1386"/>
                  </a:lnTo>
                  <a:lnTo>
                    <a:pt x="456" y="1380"/>
                  </a:lnTo>
                  <a:lnTo>
                    <a:pt x="456" y="1374"/>
                  </a:lnTo>
                  <a:lnTo>
                    <a:pt x="462" y="1374"/>
                  </a:lnTo>
                  <a:lnTo>
                    <a:pt x="462" y="1368"/>
                  </a:lnTo>
                  <a:lnTo>
                    <a:pt x="456" y="1374"/>
                  </a:lnTo>
                  <a:lnTo>
                    <a:pt x="456" y="1368"/>
                  </a:lnTo>
                  <a:lnTo>
                    <a:pt x="456" y="1362"/>
                  </a:lnTo>
                  <a:lnTo>
                    <a:pt x="450" y="1362"/>
                  </a:lnTo>
                  <a:lnTo>
                    <a:pt x="450" y="1356"/>
                  </a:lnTo>
                  <a:lnTo>
                    <a:pt x="450" y="1350"/>
                  </a:lnTo>
                  <a:lnTo>
                    <a:pt x="450" y="1344"/>
                  </a:lnTo>
                  <a:lnTo>
                    <a:pt x="456" y="1344"/>
                  </a:lnTo>
                  <a:lnTo>
                    <a:pt x="456" y="1338"/>
                  </a:lnTo>
                  <a:lnTo>
                    <a:pt x="462" y="1338"/>
                  </a:lnTo>
                  <a:lnTo>
                    <a:pt x="462" y="1332"/>
                  </a:lnTo>
                  <a:lnTo>
                    <a:pt x="456" y="1332"/>
                  </a:lnTo>
                  <a:lnTo>
                    <a:pt x="456" y="1326"/>
                  </a:lnTo>
                  <a:lnTo>
                    <a:pt x="450" y="1326"/>
                  </a:lnTo>
                  <a:lnTo>
                    <a:pt x="444" y="1326"/>
                  </a:lnTo>
                  <a:lnTo>
                    <a:pt x="444" y="1332"/>
                  </a:lnTo>
                  <a:lnTo>
                    <a:pt x="438" y="1332"/>
                  </a:lnTo>
                  <a:lnTo>
                    <a:pt x="438" y="1338"/>
                  </a:lnTo>
                  <a:lnTo>
                    <a:pt x="432" y="1338"/>
                  </a:lnTo>
                  <a:lnTo>
                    <a:pt x="432" y="1344"/>
                  </a:lnTo>
                  <a:lnTo>
                    <a:pt x="432" y="1350"/>
                  </a:lnTo>
                  <a:lnTo>
                    <a:pt x="426" y="1356"/>
                  </a:lnTo>
                  <a:lnTo>
                    <a:pt x="426" y="1368"/>
                  </a:lnTo>
                  <a:lnTo>
                    <a:pt x="426" y="1374"/>
                  </a:lnTo>
                  <a:lnTo>
                    <a:pt x="426" y="1380"/>
                  </a:lnTo>
                  <a:lnTo>
                    <a:pt x="432" y="1386"/>
                  </a:lnTo>
                  <a:lnTo>
                    <a:pt x="432" y="1392"/>
                  </a:lnTo>
                  <a:lnTo>
                    <a:pt x="432" y="1398"/>
                  </a:lnTo>
                  <a:lnTo>
                    <a:pt x="426" y="1398"/>
                  </a:lnTo>
                  <a:lnTo>
                    <a:pt x="420" y="1398"/>
                  </a:lnTo>
                  <a:lnTo>
                    <a:pt x="414" y="1398"/>
                  </a:lnTo>
                  <a:lnTo>
                    <a:pt x="420" y="1398"/>
                  </a:lnTo>
                  <a:lnTo>
                    <a:pt x="414" y="1404"/>
                  </a:lnTo>
                  <a:lnTo>
                    <a:pt x="420" y="1404"/>
                  </a:lnTo>
                  <a:lnTo>
                    <a:pt x="414" y="1404"/>
                  </a:lnTo>
                  <a:lnTo>
                    <a:pt x="408" y="1404"/>
                  </a:lnTo>
                  <a:lnTo>
                    <a:pt x="402" y="1410"/>
                  </a:lnTo>
                  <a:lnTo>
                    <a:pt x="402" y="1404"/>
                  </a:lnTo>
                  <a:lnTo>
                    <a:pt x="396" y="1404"/>
                  </a:lnTo>
                  <a:lnTo>
                    <a:pt x="390" y="1404"/>
                  </a:lnTo>
                  <a:lnTo>
                    <a:pt x="384" y="1404"/>
                  </a:lnTo>
                  <a:lnTo>
                    <a:pt x="384" y="1398"/>
                  </a:lnTo>
                  <a:lnTo>
                    <a:pt x="384" y="1392"/>
                  </a:lnTo>
                  <a:lnTo>
                    <a:pt x="390" y="1392"/>
                  </a:lnTo>
                  <a:lnTo>
                    <a:pt x="390" y="1386"/>
                  </a:lnTo>
                  <a:lnTo>
                    <a:pt x="390" y="1380"/>
                  </a:lnTo>
                  <a:lnTo>
                    <a:pt x="396" y="1380"/>
                  </a:lnTo>
                  <a:lnTo>
                    <a:pt x="402" y="1380"/>
                  </a:lnTo>
                  <a:lnTo>
                    <a:pt x="408" y="1380"/>
                  </a:lnTo>
                  <a:lnTo>
                    <a:pt x="408" y="1374"/>
                  </a:lnTo>
                  <a:lnTo>
                    <a:pt x="414" y="1374"/>
                  </a:lnTo>
                  <a:lnTo>
                    <a:pt x="414" y="1368"/>
                  </a:lnTo>
                  <a:lnTo>
                    <a:pt x="414" y="1362"/>
                  </a:lnTo>
                  <a:lnTo>
                    <a:pt x="414" y="1368"/>
                  </a:lnTo>
                  <a:lnTo>
                    <a:pt x="414" y="1374"/>
                  </a:lnTo>
                  <a:lnTo>
                    <a:pt x="408" y="1374"/>
                  </a:lnTo>
                  <a:lnTo>
                    <a:pt x="402" y="1380"/>
                  </a:lnTo>
                  <a:lnTo>
                    <a:pt x="396" y="1380"/>
                  </a:lnTo>
                  <a:lnTo>
                    <a:pt x="396" y="1374"/>
                  </a:lnTo>
                  <a:lnTo>
                    <a:pt x="390" y="1374"/>
                  </a:lnTo>
                  <a:lnTo>
                    <a:pt x="390" y="1368"/>
                  </a:lnTo>
                  <a:lnTo>
                    <a:pt x="384" y="1368"/>
                  </a:lnTo>
                  <a:lnTo>
                    <a:pt x="384" y="1374"/>
                  </a:lnTo>
                  <a:lnTo>
                    <a:pt x="378" y="1374"/>
                  </a:lnTo>
                  <a:lnTo>
                    <a:pt x="378" y="1380"/>
                  </a:lnTo>
                  <a:lnTo>
                    <a:pt x="372" y="1380"/>
                  </a:lnTo>
                  <a:lnTo>
                    <a:pt x="366" y="1386"/>
                  </a:lnTo>
                  <a:lnTo>
                    <a:pt x="360" y="1386"/>
                  </a:lnTo>
                  <a:lnTo>
                    <a:pt x="354" y="1386"/>
                  </a:lnTo>
                  <a:lnTo>
                    <a:pt x="354" y="1380"/>
                  </a:lnTo>
                  <a:lnTo>
                    <a:pt x="348" y="1380"/>
                  </a:lnTo>
                  <a:lnTo>
                    <a:pt x="342" y="1380"/>
                  </a:lnTo>
                  <a:lnTo>
                    <a:pt x="342" y="1374"/>
                  </a:lnTo>
                  <a:lnTo>
                    <a:pt x="336" y="1368"/>
                  </a:lnTo>
                  <a:lnTo>
                    <a:pt x="342" y="1368"/>
                  </a:lnTo>
                  <a:lnTo>
                    <a:pt x="342" y="1362"/>
                  </a:lnTo>
                  <a:lnTo>
                    <a:pt x="348" y="1362"/>
                  </a:lnTo>
                  <a:lnTo>
                    <a:pt x="354" y="1362"/>
                  </a:lnTo>
                  <a:lnTo>
                    <a:pt x="354" y="1356"/>
                  </a:lnTo>
                  <a:lnTo>
                    <a:pt x="348" y="1356"/>
                  </a:lnTo>
                  <a:lnTo>
                    <a:pt x="348" y="1350"/>
                  </a:lnTo>
                  <a:lnTo>
                    <a:pt x="348" y="1344"/>
                  </a:lnTo>
                  <a:lnTo>
                    <a:pt x="354" y="1338"/>
                  </a:lnTo>
                  <a:lnTo>
                    <a:pt x="354" y="1332"/>
                  </a:lnTo>
                  <a:lnTo>
                    <a:pt x="354" y="1326"/>
                  </a:lnTo>
                  <a:lnTo>
                    <a:pt x="354" y="1320"/>
                  </a:lnTo>
                  <a:lnTo>
                    <a:pt x="354" y="1314"/>
                  </a:lnTo>
                  <a:lnTo>
                    <a:pt x="354" y="1308"/>
                  </a:lnTo>
                  <a:lnTo>
                    <a:pt x="348" y="1308"/>
                  </a:lnTo>
                  <a:lnTo>
                    <a:pt x="348" y="1302"/>
                  </a:lnTo>
                  <a:lnTo>
                    <a:pt x="342" y="1296"/>
                  </a:lnTo>
                  <a:lnTo>
                    <a:pt x="336" y="1296"/>
                  </a:lnTo>
                  <a:lnTo>
                    <a:pt x="336" y="1290"/>
                  </a:lnTo>
                  <a:lnTo>
                    <a:pt x="330" y="1290"/>
                  </a:lnTo>
                  <a:lnTo>
                    <a:pt x="324" y="1290"/>
                  </a:lnTo>
                  <a:lnTo>
                    <a:pt x="324" y="1284"/>
                  </a:lnTo>
                  <a:lnTo>
                    <a:pt x="318" y="1284"/>
                  </a:lnTo>
                  <a:lnTo>
                    <a:pt x="318" y="1278"/>
                  </a:lnTo>
                  <a:lnTo>
                    <a:pt x="312" y="1278"/>
                  </a:lnTo>
                  <a:lnTo>
                    <a:pt x="312" y="1272"/>
                  </a:lnTo>
                  <a:lnTo>
                    <a:pt x="312" y="1278"/>
                  </a:lnTo>
                  <a:lnTo>
                    <a:pt x="318" y="1284"/>
                  </a:lnTo>
                  <a:lnTo>
                    <a:pt x="324" y="1290"/>
                  </a:lnTo>
                  <a:lnTo>
                    <a:pt x="330" y="1290"/>
                  </a:lnTo>
                  <a:lnTo>
                    <a:pt x="330" y="1296"/>
                  </a:lnTo>
                  <a:lnTo>
                    <a:pt x="336" y="1296"/>
                  </a:lnTo>
                  <a:lnTo>
                    <a:pt x="336" y="1302"/>
                  </a:lnTo>
                  <a:lnTo>
                    <a:pt x="342" y="1302"/>
                  </a:lnTo>
                  <a:lnTo>
                    <a:pt x="348" y="1302"/>
                  </a:lnTo>
                  <a:lnTo>
                    <a:pt x="348" y="1308"/>
                  </a:lnTo>
                  <a:lnTo>
                    <a:pt x="348" y="1314"/>
                  </a:lnTo>
                  <a:lnTo>
                    <a:pt x="354" y="1314"/>
                  </a:lnTo>
                  <a:lnTo>
                    <a:pt x="354" y="1320"/>
                  </a:lnTo>
                  <a:lnTo>
                    <a:pt x="354" y="1326"/>
                  </a:lnTo>
                  <a:lnTo>
                    <a:pt x="348" y="1326"/>
                  </a:lnTo>
                  <a:lnTo>
                    <a:pt x="348" y="1332"/>
                  </a:lnTo>
                  <a:lnTo>
                    <a:pt x="348" y="1338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2" y="1350"/>
                  </a:lnTo>
                  <a:lnTo>
                    <a:pt x="336" y="1350"/>
                  </a:lnTo>
                  <a:lnTo>
                    <a:pt x="330" y="1350"/>
                  </a:lnTo>
                  <a:lnTo>
                    <a:pt x="330" y="1356"/>
                  </a:lnTo>
                  <a:lnTo>
                    <a:pt x="330" y="1350"/>
                  </a:lnTo>
                  <a:lnTo>
                    <a:pt x="324" y="1350"/>
                  </a:lnTo>
                  <a:lnTo>
                    <a:pt x="318" y="1344"/>
                  </a:lnTo>
                  <a:lnTo>
                    <a:pt x="318" y="1350"/>
                  </a:lnTo>
                  <a:lnTo>
                    <a:pt x="312" y="1344"/>
                  </a:lnTo>
                  <a:lnTo>
                    <a:pt x="312" y="1338"/>
                  </a:lnTo>
                  <a:lnTo>
                    <a:pt x="306" y="1338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6" y="1326"/>
                  </a:lnTo>
                  <a:lnTo>
                    <a:pt x="306" y="1320"/>
                  </a:lnTo>
                  <a:lnTo>
                    <a:pt x="306" y="1326"/>
                  </a:lnTo>
                  <a:lnTo>
                    <a:pt x="312" y="1326"/>
                  </a:lnTo>
                  <a:lnTo>
                    <a:pt x="312" y="1320"/>
                  </a:lnTo>
                  <a:lnTo>
                    <a:pt x="306" y="1320"/>
                  </a:lnTo>
                  <a:lnTo>
                    <a:pt x="300" y="1320"/>
                  </a:lnTo>
                  <a:lnTo>
                    <a:pt x="294" y="1320"/>
                  </a:lnTo>
                  <a:lnTo>
                    <a:pt x="294" y="1314"/>
                  </a:lnTo>
                  <a:lnTo>
                    <a:pt x="288" y="1314"/>
                  </a:lnTo>
                  <a:lnTo>
                    <a:pt x="288" y="1308"/>
                  </a:lnTo>
                  <a:lnTo>
                    <a:pt x="288" y="1302"/>
                  </a:lnTo>
                  <a:lnTo>
                    <a:pt x="294" y="1302"/>
                  </a:lnTo>
                  <a:lnTo>
                    <a:pt x="294" y="1296"/>
                  </a:lnTo>
                  <a:lnTo>
                    <a:pt x="288" y="1296"/>
                  </a:lnTo>
                  <a:lnTo>
                    <a:pt x="288" y="1290"/>
                  </a:lnTo>
                  <a:lnTo>
                    <a:pt x="288" y="1296"/>
                  </a:lnTo>
                  <a:lnTo>
                    <a:pt x="294" y="1302"/>
                  </a:lnTo>
                  <a:lnTo>
                    <a:pt x="288" y="1302"/>
                  </a:lnTo>
                  <a:lnTo>
                    <a:pt x="282" y="1296"/>
                  </a:lnTo>
                  <a:lnTo>
                    <a:pt x="276" y="1296"/>
                  </a:lnTo>
                  <a:lnTo>
                    <a:pt x="276" y="1290"/>
                  </a:lnTo>
                  <a:lnTo>
                    <a:pt x="270" y="1290"/>
                  </a:lnTo>
                  <a:lnTo>
                    <a:pt x="264" y="1284"/>
                  </a:lnTo>
                  <a:lnTo>
                    <a:pt x="264" y="1278"/>
                  </a:lnTo>
                  <a:lnTo>
                    <a:pt x="264" y="1272"/>
                  </a:lnTo>
                  <a:lnTo>
                    <a:pt x="264" y="1266"/>
                  </a:lnTo>
                  <a:lnTo>
                    <a:pt x="258" y="1266"/>
                  </a:lnTo>
                  <a:lnTo>
                    <a:pt x="252" y="1266"/>
                  </a:lnTo>
                  <a:lnTo>
                    <a:pt x="246" y="1260"/>
                  </a:lnTo>
                  <a:lnTo>
                    <a:pt x="240" y="1254"/>
                  </a:lnTo>
                  <a:lnTo>
                    <a:pt x="240" y="1260"/>
                  </a:lnTo>
                  <a:lnTo>
                    <a:pt x="240" y="1266"/>
                  </a:lnTo>
                  <a:lnTo>
                    <a:pt x="240" y="1272"/>
                  </a:lnTo>
                  <a:lnTo>
                    <a:pt x="246" y="1272"/>
                  </a:lnTo>
                  <a:lnTo>
                    <a:pt x="246" y="1278"/>
                  </a:lnTo>
                  <a:lnTo>
                    <a:pt x="246" y="1284"/>
                  </a:lnTo>
                  <a:lnTo>
                    <a:pt x="252" y="1284"/>
                  </a:lnTo>
                  <a:lnTo>
                    <a:pt x="252" y="1290"/>
                  </a:lnTo>
                  <a:lnTo>
                    <a:pt x="258" y="1296"/>
                  </a:lnTo>
                  <a:lnTo>
                    <a:pt x="264" y="1302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58" y="1314"/>
                  </a:lnTo>
                  <a:lnTo>
                    <a:pt x="258" y="1308"/>
                  </a:lnTo>
                  <a:lnTo>
                    <a:pt x="252" y="1308"/>
                  </a:lnTo>
                  <a:lnTo>
                    <a:pt x="252" y="1302"/>
                  </a:lnTo>
                  <a:lnTo>
                    <a:pt x="246" y="1302"/>
                  </a:lnTo>
                  <a:lnTo>
                    <a:pt x="246" y="1296"/>
                  </a:lnTo>
                  <a:lnTo>
                    <a:pt x="240" y="1296"/>
                  </a:lnTo>
                  <a:lnTo>
                    <a:pt x="240" y="1290"/>
                  </a:lnTo>
                  <a:lnTo>
                    <a:pt x="234" y="1284"/>
                  </a:lnTo>
                  <a:lnTo>
                    <a:pt x="234" y="1278"/>
                  </a:lnTo>
                  <a:close/>
                  <a:moveTo>
                    <a:pt x="444" y="1332"/>
                  </a:moveTo>
                  <a:lnTo>
                    <a:pt x="450" y="1326"/>
                  </a:lnTo>
                  <a:lnTo>
                    <a:pt x="456" y="1326"/>
                  </a:lnTo>
                  <a:lnTo>
                    <a:pt x="456" y="1332"/>
                  </a:lnTo>
                  <a:lnTo>
                    <a:pt x="456" y="1338"/>
                  </a:lnTo>
                  <a:lnTo>
                    <a:pt x="450" y="1338"/>
                  </a:lnTo>
                  <a:lnTo>
                    <a:pt x="444" y="1338"/>
                  </a:lnTo>
                  <a:lnTo>
                    <a:pt x="444" y="1332"/>
                  </a:lnTo>
                  <a:close/>
                  <a:moveTo>
                    <a:pt x="444" y="1368"/>
                  </a:moveTo>
                  <a:lnTo>
                    <a:pt x="456" y="1368"/>
                  </a:lnTo>
                  <a:lnTo>
                    <a:pt x="456" y="1374"/>
                  </a:lnTo>
                  <a:lnTo>
                    <a:pt x="444" y="1374"/>
                  </a:lnTo>
                  <a:lnTo>
                    <a:pt x="444" y="1368"/>
                  </a:lnTo>
                  <a:close/>
                  <a:moveTo>
                    <a:pt x="444" y="1386"/>
                  </a:moveTo>
                  <a:lnTo>
                    <a:pt x="444" y="1380"/>
                  </a:lnTo>
                  <a:lnTo>
                    <a:pt x="444" y="1374"/>
                  </a:lnTo>
                  <a:lnTo>
                    <a:pt x="444" y="1380"/>
                  </a:lnTo>
                  <a:lnTo>
                    <a:pt x="450" y="1380"/>
                  </a:lnTo>
                  <a:lnTo>
                    <a:pt x="456" y="1380"/>
                  </a:lnTo>
                  <a:lnTo>
                    <a:pt x="456" y="1386"/>
                  </a:lnTo>
                  <a:lnTo>
                    <a:pt x="456" y="1392"/>
                  </a:lnTo>
                  <a:lnTo>
                    <a:pt x="462" y="1392"/>
                  </a:lnTo>
                  <a:lnTo>
                    <a:pt x="462" y="1398"/>
                  </a:lnTo>
                  <a:lnTo>
                    <a:pt x="462" y="1404"/>
                  </a:lnTo>
                  <a:lnTo>
                    <a:pt x="456" y="1404"/>
                  </a:lnTo>
                  <a:lnTo>
                    <a:pt x="450" y="1404"/>
                  </a:lnTo>
                  <a:lnTo>
                    <a:pt x="450" y="1398"/>
                  </a:lnTo>
                  <a:lnTo>
                    <a:pt x="444" y="1398"/>
                  </a:lnTo>
                  <a:lnTo>
                    <a:pt x="444" y="1392"/>
                  </a:lnTo>
                  <a:lnTo>
                    <a:pt x="444" y="1386"/>
                  </a:lnTo>
                  <a:close/>
                  <a:moveTo>
                    <a:pt x="438" y="1362"/>
                  </a:moveTo>
                  <a:lnTo>
                    <a:pt x="444" y="1356"/>
                  </a:lnTo>
                  <a:lnTo>
                    <a:pt x="450" y="1356"/>
                  </a:lnTo>
                  <a:lnTo>
                    <a:pt x="450" y="1362"/>
                  </a:lnTo>
                  <a:lnTo>
                    <a:pt x="450" y="1368"/>
                  </a:lnTo>
                  <a:lnTo>
                    <a:pt x="444" y="1368"/>
                  </a:lnTo>
                  <a:lnTo>
                    <a:pt x="444" y="1362"/>
                  </a:lnTo>
                  <a:lnTo>
                    <a:pt x="438" y="1362"/>
                  </a:lnTo>
                  <a:close/>
                  <a:moveTo>
                    <a:pt x="438" y="1350"/>
                  </a:moveTo>
                  <a:lnTo>
                    <a:pt x="438" y="1344"/>
                  </a:lnTo>
                  <a:lnTo>
                    <a:pt x="438" y="1338"/>
                  </a:lnTo>
                  <a:lnTo>
                    <a:pt x="444" y="1338"/>
                  </a:lnTo>
                  <a:lnTo>
                    <a:pt x="450" y="1338"/>
                  </a:lnTo>
                  <a:lnTo>
                    <a:pt x="456" y="1338"/>
                  </a:lnTo>
                  <a:lnTo>
                    <a:pt x="450" y="1344"/>
                  </a:lnTo>
                  <a:lnTo>
                    <a:pt x="444" y="1350"/>
                  </a:lnTo>
                  <a:lnTo>
                    <a:pt x="438" y="1350"/>
                  </a:lnTo>
                  <a:close/>
                  <a:moveTo>
                    <a:pt x="432" y="1380"/>
                  </a:moveTo>
                  <a:lnTo>
                    <a:pt x="432" y="1368"/>
                  </a:lnTo>
                  <a:lnTo>
                    <a:pt x="432" y="1362"/>
                  </a:lnTo>
                  <a:lnTo>
                    <a:pt x="432" y="1356"/>
                  </a:lnTo>
                  <a:lnTo>
                    <a:pt x="438" y="1356"/>
                  </a:lnTo>
                  <a:lnTo>
                    <a:pt x="438" y="1362"/>
                  </a:lnTo>
                  <a:lnTo>
                    <a:pt x="438" y="1368"/>
                  </a:lnTo>
                  <a:lnTo>
                    <a:pt x="438" y="1374"/>
                  </a:lnTo>
                  <a:lnTo>
                    <a:pt x="438" y="1380"/>
                  </a:lnTo>
                  <a:lnTo>
                    <a:pt x="438" y="1386"/>
                  </a:lnTo>
                  <a:lnTo>
                    <a:pt x="438" y="1380"/>
                  </a:lnTo>
                  <a:lnTo>
                    <a:pt x="432" y="1380"/>
                  </a:lnTo>
                  <a:close/>
                  <a:moveTo>
                    <a:pt x="246" y="1272"/>
                  </a:moveTo>
                  <a:lnTo>
                    <a:pt x="252" y="1272"/>
                  </a:lnTo>
                  <a:lnTo>
                    <a:pt x="252" y="1278"/>
                  </a:lnTo>
                  <a:lnTo>
                    <a:pt x="246" y="1278"/>
                  </a:lnTo>
                  <a:lnTo>
                    <a:pt x="246" y="1272"/>
                  </a:lnTo>
                  <a:close/>
                  <a:moveTo>
                    <a:pt x="426" y="1416"/>
                  </a:moveTo>
                  <a:lnTo>
                    <a:pt x="432" y="1410"/>
                  </a:lnTo>
                  <a:lnTo>
                    <a:pt x="438" y="1410"/>
                  </a:lnTo>
                  <a:lnTo>
                    <a:pt x="438" y="1416"/>
                  </a:lnTo>
                  <a:lnTo>
                    <a:pt x="438" y="1422"/>
                  </a:lnTo>
                  <a:lnTo>
                    <a:pt x="432" y="1422"/>
                  </a:lnTo>
                  <a:lnTo>
                    <a:pt x="426" y="1422"/>
                  </a:lnTo>
                  <a:lnTo>
                    <a:pt x="426" y="1416"/>
                  </a:lnTo>
                  <a:close/>
                  <a:moveTo>
                    <a:pt x="246" y="1266"/>
                  </a:moveTo>
                  <a:lnTo>
                    <a:pt x="252" y="1266"/>
                  </a:lnTo>
                  <a:lnTo>
                    <a:pt x="258" y="1272"/>
                  </a:lnTo>
                  <a:lnTo>
                    <a:pt x="258" y="1278"/>
                  </a:lnTo>
                  <a:lnTo>
                    <a:pt x="258" y="1284"/>
                  </a:lnTo>
                  <a:lnTo>
                    <a:pt x="252" y="1284"/>
                  </a:lnTo>
                  <a:lnTo>
                    <a:pt x="252" y="1278"/>
                  </a:lnTo>
                  <a:lnTo>
                    <a:pt x="252" y="1272"/>
                  </a:lnTo>
                  <a:lnTo>
                    <a:pt x="252" y="1266"/>
                  </a:lnTo>
                  <a:lnTo>
                    <a:pt x="246" y="1266"/>
                  </a:lnTo>
                  <a:close/>
                  <a:moveTo>
                    <a:pt x="408" y="1458"/>
                  </a:moveTo>
                  <a:lnTo>
                    <a:pt x="408" y="1452"/>
                  </a:lnTo>
                  <a:lnTo>
                    <a:pt x="414" y="1452"/>
                  </a:lnTo>
                  <a:lnTo>
                    <a:pt x="414" y="1446"/>
                  </a:lnTo>
                  <a:lnTo>
                    <a:pt x="414" y="1440"/>
                  </a:lnTo>
                  <a:lnTo>
                    <a:pt x="420" y="1440"/>
                  </a:lnTo>
                  <a:lnTo>
                    <a:pt x="420" y="1434"/>
                  </a:lnTo>
                  <a:lnTo>
                    <a:pt x="420" y="1428"/>
                  </a:lnTo>
                  <a:lnTo>
                    <a:pt x="420" y="1422"/>
                  </a:lnTo>
                  <a:lnTo>
                    <a:pt x="426" y="1422"/>
                  </a:lnTo>
                  <a:lnTo>
                    <a:pt x="432" y="1428"/>
                  </a:lnTo>
                  <a:lnTo>
                    <a:pt x="438" y="1428"/>
                  </a:lnTo>
                  <a:lnTo>
                    <a:pt x="438" y="1434"/>
                  </a:lnTo>
                  <a:lnTo>
                    <a:pt x="438" y="1428"/>
                  </a:lnTo>
                  <a:lnTo>
                    <a:pt x="438" y="1422"/>
                  </a:lnTo>
                  <a:lnTo>
                    <a:pt x="444" y="1416"/>
                  </a:lnTo>
                  <a:lnTo>
                    <a:pt x="444" y="1410"/>
                  </a:lnTo>
                  <a:lnTo>
                    <a:pt x="450" y="1416"/>
                  </a:lnTo>
                  <a:lnTo>
                    <a:pt x="456" y="1416"/>
                  </a:lnTo>
                  <a:lnTo>
                    <a:pt x="456" y="1422"/>
                  </a:lnTo>
                  <a:lnTo>
                    <a:pt x="456" y="1428"/>
                  </a:lnTo>
                  <a:lnTo>
                    <a:pt x="456" y="1434"/>
                  </a:lnTo>
                  <a:lnTo>
                    <a:pt x="456" y="1440"/>
                  </a:lnTo>
                  <a:lnTo>
                    <a:pt x="462" y="1440"/>
                  </a:lnTo>
                  <a:lnTo>
                    <a:pt x="462" y="1446"/>
                  </a:lnTo>
                  <a:lnTo>
                    <a:pt x="462" y="1452"/>
                  </a:lnTo>
                  <a:lnTo>
                    <a:pt x="456" y="1452"/>
                  </a:lnTo>
                  <a:lnTo>
                    <a:pt x="450" y="1452"/>
                  </a:lnTo>
                  <a:lnTo>
                    <a:pt x="444" y="1446"/>
                  </a:lnTo>
                  <a:lnTo>
                    <a:pt x="444" y="1452"/>
                  </a:lnTo>
                  <a:lnTo>
                    <a:pt x="450" y="1452"/>
                  </a:lnTo>
                  <a:lnTo>
                    <a:pt x="450" y="1458"/>
                  </a:lnTo>
                  <a:lnTo>
                    <a:pt x="444" y="1458"/>
                  </a:lnTo>
                  <a:lnTo>
                    <a:pt x="438" y="1464"/>
                  </a:lnTo>
                  <a:lnTo>
                    <a:pt x="438" y="1458"/>
                  </a:lnTo>
                  <a:lnTo>
                    <a:pt x="432" y="1458"/>
                  </a:lnTo>
                  <a:lnTo>
                    <a:pt x="426" y="1458"/>
                  </a:lnTo>
                  <a:lnTo>
                    <a:pt x="432" y="1458"/>
                  </a:lnTo>
                  <a:lnTo>
                    <a:pt x="438" y="1464"/>
                  </a:lnTo>
                  <a:lnTo>
                    <a:pt x="432" y="1464"/>
                  </a:lnTo>
                  <a:lnTo>
                    <a:pt x="432" y="1470"/>
                  </a:lnTo>
                  <a:lnTo>
                    <a:pt x="426" y="1470"/>
                  </a:lnTo>
                  <a:lnTo>
                    <a:pt x="420" y="1476"/>
                  </a:lnTo>
                  <a:lnTo>
                    <a:pt x="420" y="1470"/>
                  </a:lnTo>
                  <a:lnTo>
                    <a:pt x="414" y="1470"/>
                  </a:lnTo>
                  <a:lnTo>
                    <a:pt x="414" y="1464"/>
                  </a:lnTo>
                  <a:lnTo>
                    <a:pt x="414" y="1458"/>
                  </a:lnTo>
                  <a:lnTo>
                    <a:pt x="408" y="1458"/>
                  </a:lnTo>
                  <a:close/>
                  <a:moveTo>
                    <a:pt x="270" y="1326"/>
                  </a:moveTo>
                  <a:lnTo>
                    <a:pt x="270" y="1320"/>
                  </a:lnTo>
                  <a:lnTo>
                    <a:pt x="276" y="1320"/>
                  </a:lnTo>
                  <a:lnTo>
                    <a:pt x="282" y="1326"/>
                  </a:lnTo>
                  <a:lnTo>
                    <a:pt x="288" y="1326"/>
                  </a:lnTo>
                  <a:lnTo>
                    <a:pt x="288" y="1332"/>
                  </a:lnTo>
                  <a:lnTo>
                    <a:pt x="288" y="1338"/>
                  </a:lnTo>
                  <a:lnTo>
                    <a:pt x="288" y="1344"/>
                  </a:lnTo>
                  <a:lnTo>
                    <a:pt x="282" y="1344"/>
                  </a:lnTo>
                  <a:lnTo>
                    <a:pt x="282" y="1338"/>
                  </a:lnTo>
                  <a:lnTo>
                    <a:pt x="276" y="1338"/>
                  </a:lnTo>
                  <a:lnTo>
                    <a:pt x="276" y="1332"/>
                  </a:lnTo>
                  <a:lnTo>
                    <a:pt x="270" y="1332"/>
                  </a:lnTo>
                  <a:lnTo>
                    <a:pt x="270" y="1326"/>
                  </a:lnTo>
                  <a:close/>
                  <a:moveTo>
                    <a:pt x="288" y="1458"/>
                  </a:moveTo>
                  <a:lnTo>
                    <a:pt x="294" y="1458"/>
                  </a:lnTo>
                  <a:lnTo>
                    <a:pt x="294" y="1452"/>
                  </a:lnTo>
                  <a:lnTo>
                    <a:pt x="294" y="1446"/>
                  </a:lnTo>
                  <a:lnTo>
                    <a:pt x="300" y="1446"/>
                  </a:lnTo>
                  <a:lnTo>
                    <a:pt x="300" y="1440"/>
                  </a:lnTo>
                  <a:lnTo>
                    <a:pt x="306" y="1440"/>
                  </a:lnTo>
                  <a:lnTo>
                    <a:pt x="306" y="1446"/>
                  </a:lnTo>
                  <a:lnTo>
                    <a:pt x="312" y="1452"/>
                  </a:lnTo>
                  <a:lnTo>
                    <a:pt x="306" y="1452"/>
                  </a:lnTo>
                  <a:lnTo>
                    <a:pt x="306" y="1458"/>
                  </a:lnTo>
                  <a:lnTo>
                    <a:pt x="312" y="1464"/>
                  </a:lnTo>
                  <a:lnTo>
                    <a:pt x="306" y="1464"/>
                  </a:lnTo>
                  <a:lnTo>
                    <a:pt x="306" y="1470"/>
                  </a:lnTo>
                  <a:lnTo>
                    <a:pt x="300" y="1476"/>
                  </a:lnTo>
                  <a:lnTo>
                    <a:pt x="294" y="1476"/>
                  </a:lnTo>
                  <a:lnTo>
                    <a:pt x="294" y="1470"/>
                  </a:lnTo>
                  <a:lnTo>
                    <a:pt x="288" y="1470"/>
                  </a:lnTo>
                  <a:lnTo>
                    <a:pt x="288" y="1464"/>
                  </a:lnTo>
                  <a:lnTo>
                    <a:pt x="288" y="1458"/>
                  </a:lnTo>
                  <a:close/>
                  <a:moveTo>
                    <a:pt x="270" y="1296"/>
                  </a:moveTo>
                  <a:lnTo>
                    <a:pt x="276" y="1296"/>
                  </a:lnTo>
                  <a:lnTo>
                    <a:pt x="282" y="1296"/>
                  </a:lnTo>
                  <a:lnTo>
                    <a:pt x="288" y="1296"/>
                  </a:lnTo>
                  <a:lnTo>
                    <a:pt x="288" y="1302"/>
                  </a:lnTo>
                  <a:lnTo>
                    <a:pt x="282" y="1308"/>
                  </a:lnTo>
                  <a:lnTo>
                    <a:pt x="276" y="1308"/>
                  </a:lnTo>
                  <a:lnTo>
                    <a:pt x="276" y="1302"/>
                  </a:lnTo>
                  <a:lnTo>
                    <a:pt x="270" y="12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4" name="Freeform 19">
              <a:extLst>
                <a:ext uri="{FF2B5EF4-FFF2-40B4-BE49-F238E27FC236}">
                  <a16:creationId xmlns:a16="http://schemas.microsoft.com/office/drawing/2014/main" id="{5B9020B8-E1C1-4611-A248-9642BBD69C9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7043" y="3765821"/>
              <a:ext cx="333193" cy="398097"/>
            </a:xfrm>
            <a:custGeom>
              <a:avLst/>
              <a:gdLst>
                <a:gd name="T0" fmla="*/ 30 w 624"/>
                <a:gd name="T1" fmla="*/ 61 h 750"/>
                <a:gd name="T2" fmla="*/ 27 w 624"/>
                <a:gd name="T3" fmla="*/ 62 h 750"/>
                <a:gd name="T4" fmla="*/ 23 w 624"/>
                <a:gd name="T5" fmla="*/ 59 h 750"/>
                <a:gd name="T6" fmla="*/ 20 w 624"/>
                <a:gd name="T7" fmla="*/ 58 h 750"/>
                <a:gd name="T8" fmla="*/ 19 w 624"/>
                <a:gd name="T9" fmla="*/ 56 h 750"/>
                <a:gd name="T10" fmla="*/ 17 w 624"/>
                <a:gd name="T11" fmla="*/ 55 h 750"/>
                <a:gd name="T12" fmla="*/ 16 w 624"/>
                <a:gd name="T13" fmla="*/ 51 h 750"/>
                <a:gd name="T14" fmla="*/ 14 w 624"/>
                <a:gd name="T15" fmla="*/ 48 h 750"/>
                <a:gd name="T16" fmla="*/ 12 w 624"/>
                <a:gd name="T17" fmla="*/ 46 h 750"/>
                <a:gd name="T18" fmla="*/ 12 w 624"/>
                <a:gd name="T19" fmla="*/ 44 h 750"/>
                <a:gd name="T20" fmla="*/ 11 w 624"/>
                <a:gd name="T21" fmla="*/ 41 h 750"/>
                <a:gd name="T22" fmla="*/ 8 w 624"/>
                <a:gd name="T23" fmla="*/ 38 h 750"/>
                <a:gd name="T24" fmla="*/ 6 w 624"/>
                <a:gd name="T25" fmla="*/ 38 h 750"/>
                <a:gd name="T26" fmla="*/ 6 w 624"/>
                <a:gd name="T27" fmla="*/ 35 h 750"/>
                <a:gd name="T28" fmla="*/ 7 w 624"/>
                <a:gd name="T29" fmla="*/ 31 h 750"/>
                <a:gd name="T30" fmla="*/ 10 w 624"/>
                <a:gd name="T31" fmla="*/ 27 h 750"/>
                <a:gd name="T32" fmla="*/ 8 w 624"/>
                <a:gd name="T33" fmla="*/ 23 h 750"/>
                <a:gd name="T34" fmla="*/ 6 w 624"/>
                <a:gd name="T35" fmla="*/ 23 h 750"/>
                <a:gd name="T36" fmla="*/ 3 w 624"/>
                <a:gd name="T37" fmla="*/ 22 h 750"/>
                <a:gd name="T38" fmla="*/ 0 w 624"/>
                <a:gd name="T39" fmla="*/ 22 h 750"/>
                <a:gd name="T40" fmla="*/ 0 w 624"/>
                <a:gd name="T41" fmla="*/ 19 h 750"/>
                <a:gd name="T42" fmla="*/ 1 w 624"/>
                <a:gd name="T43" fmla="*/ 18 h 750"/>
                <a:gd name="T44" fmla="*/ 2 w 624"/>
                <a:gd name="T45" fmla="*/ 14 h 750"/>
                <a:gd name="T46" fmla="*/ 4 w 624"/>
                <a:gd name="T47" fmla="*/ 17 h 750"/>
                <a:gd name="T48" fmla="*/ 6 w 624"/>
                <a:gd name="T49" fmla="*/ 17 h 750"/>
                <a:gd name="T50" fmla="*/ 7 w 624"/>
                <a:gd name="T51" fmla="*/ 17 h 750"/>
                <a:gd name="T52" fmla="*/ 9 w 624"/>
                <a:gd name="T53" fmla="*/ 15 h 750"/>
                <a:gd name="T54" fmla="*/ 10 w 624"/>
                <a:gd name="T55" fmla="*/ 14 h 750"/>
                <a:gd name="T56" fmla="*/ 11 w 624"/>
                <a:gd name="T57" fmla="*/ 12 h 750"/>
                <a:gd name="T58" fmla="*/ 13 w 624"/>
                <a:gd name="T59" fmla="*/ 12 h 750"/>
                <a:gd name="T60" fmla="*/ 18 w 624"/>
                <a:gd name="T61" fmla="*/ 10 h 750"/>
                <a:gd name="T62" fmla="*/ 22 w 624"/>
                <a:gd name="T63" fmla="*/ 4 h 750"/>
                <a:gd name="T64" fmla="*/ 24 w 624"/>
                <a:gd name="T65" fmla="*/ 4 h 750"/>
                <a:gd name="T66" fmla="*/ 26 w 624"/>
                <a:gd name="T67" fmla="*/ 2 h 750"/>
                <a:gd name="T68" fmla="*/ 29 w 624"/>
                <a:gd name="T69" fmla="*/ 0 h 750"/>
                <a:gd name="T70" fmla="*/ 32 w 624"/>
                <a:gd name="T71" fmla="*/ 2 h 750"/>
                <a:gd name="T72" fmla="*/ 34 w 624"/>
                <a:gd name="T73" fmla="*/ 5 h 750"/>
                <a:gd name="T74" fmla="*/ 35 w 624"/>
                <a:gd name="T75" fmla="*/ 8 h 750"/>
                <a:gd name="T76" fmla="*/ 39 w 624"/>
                <a:gd name="T77" fmla="*/ 11 h 750"/>
                <a:gd name="T78" fmla="*/ 42 w 624"/>
                <a:gd name="T79" fmla="*/ 14 h 750"/>
                <a:gd name="T80" fmla="*/ 46 w 624"/>
                <a:gd name="T81" fmla="*/ 12 h 750"/>
                <a:gd name="T82" fmla="*/ 49 w 624"/>
                <a:gd name="T83" fmla="*/ 12 h 750"/>
                <a:gd name="T84" fmla="*/ 51 w 624"/>
                <a:gd name="T85" fmla="*/ 12 h 750"/>
                <a:gd name="T86" fmla="*/ 53 w 624"/>
                <a:gd name="T87" fmla="*/ 12 h 750"/>
                <a:gd name="T88" fmla="*/ 53 w 624"/>
                <a:gd name="T89" fmla="*/ 17 h 750"/>
                <a:gd name="T90" fmla="*/ 51 w 624"/>
                <a:gd name="T91" fmla="*/ 20 h 750"/>
                <a:gd name="T92" fmla="*/ 49 w 624"/>
                <a:gd name="T93" fmla="*/ 26 h 750"/>
                <a:gd name="T94" fmla="*/ 47 w 624"/>
                <a:gd name="T95" fmla="*/ 26 h 750"/>
                <a:gd name="T96" fmla="*/ 44 w 624"/>
                <a:gd name="T97" fmla="*/ 26 h 750"/>
                <a:gd name="T98" fmla="*/ 43 w 624"/>
                <a:gd name="T99" fmla="*/ 27 h 750"/>
                <a:gd name="T100" fmla="*/ 45 w 624"/>
                <a:gd name="T101" fmla="*/ 32 h 750"/>
                <a:gd name="T102" fmla="*/ 44 w 624"/>
                <a:gd name="T103" fmla="*/ 43 h 750"/>
                <a:gd name="T104" fmla="*/ 44 w 624"/>
                <a:gd name="T105" fmla="*/ 47 h 750"/>
                <a:gd name="T106" fmla="*/ 44 w 624"/>
                <a:gd name="T107" fmla="*/ 54 h 750"/>
                <a:gd name="T108" fmla="*/ 41 w 624"/>
                <a:gd name="T109" fmla="*/ 60 h 750"/>
                <a:gd name="T110" fmla="*/ 42 w 624"/>
                <a:gd name="T111" fmla="*/ 62 h 750"/>
                <a:gd name="T112" fmla="*/ 43 w 624"/>
                <a:gd name="T113" fmla="*/ 65 h 750"/>
                <a:gd name="T114" fmla="*/ 39 w 624"/>
                <a:gd name="T115" fmla="*/ 63 h 750"/>
                <a:gd name="T116" fmla="*/ 35 w 624"/>
                <a:gd name="T117" fmla="*/ 62 h 75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24"/>
                <a:gd name="T178" fmla="*/ 0 h 750"/>
                <a:gd name="T179" fmla="*/ 624 w 624"/>
                <a:gd name="T180" fmla="*/ 750 h 75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24" h="750">
                  <a:moveTo>
                    <a:pt x="390" y="702"/>
                  </a:moveTo>
                  <a:lnTo>
                    <a:pt x="372" y="696"/>
                  </a:lnTo>
                  <a:lnTo>
                    <a:pt x="360" y="702"/>
                  </a:lnTo>
                  <a:lnTo>
                    <a:pt x="348" y="702"/>
                  </a:lnTo>
                  <a:lnTo>
                    <a:pt x="336" y="702"/>
                  </a:lnTo>
                  <a:lnTo>
                    <a:pt x="330" y="702"/>
                  </a:lnTo>
                  <a:lnTo>
                    <a:pt x="318" y="708"/>
                  </a:lnTo>
                  <a:lnTo>
                    <a:pt x="306" y="708"/>
                  </a:lnTo>
                  <a:lnTo>
                    <a:pt x="294" y="690"/>
                  </a:lnTo>
                  <a:lnTo>
                    <a:pt x="294" y="684"/>
                  </a:lnTo>
                  <a:lnTo>
                    <a:pt x="276" y="684"/>
                  </a:lnTo>
                  <a:lnTo>
                    <a:pt x="270" y="678"/>
                  </a:lnTo>
                  <a:lnTo>
                    <a:pt x="240" y="672"/>
                  </a:lnTo>
                  <a:lnTo>
                    <a:pt x="234" y="672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6"/>
                  </a:lnTo>
                  <a:lnTo>
                    <a:pt x="216" y="660"/>
                  </a:lnTo>
                  <a:lnTo>
                    <a:pt x="216" y="654"/>
                  </a:lnTo>
                  <a:lnTo>
                    <a:pt x="216" y="642"/>
                  </a:lnTo>
                  <a:lnTo>
                    <a:pt x="210" y="642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36"/>
                  </a:lnTo>
                  <a:lnTo>
                    <a:pt x="192" y="624"/>
                  </a:lnTo>
                  <a:lnTo>
                    <a:pt x="186" y="612"/>
                  </a:lnTo>
                  <a:lnTo>
                    <a:pt x="186" y="600"/>
                  </a:lnTo>
                  <a:lnTo>
                    <a:pt x="186" y="588"/>
                  </a:lnTo>
                  <a:lnTo>
                    <a:pt x="180" y="582"/>
                  </a:lnTo>
                  <a:lnTo>
                    <a:pt x="180" y="570"/>
                  </a:lnTo>
                  <a:lnTo>
                    <a:pt x="174" y="558"/>
                  </a:lnTo>
                  <a:lnTo>
                    <a:pt x="162" y="558"/>
                  </a:lnTo>
                  <a:lnTo>
                    <a:pt x="144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38" y="534"/>
                  </a:lnTo>
                  <a:lnTo>
                    <a:pt x="138" y="528"/>
                  </a:lnTo>
                  <a:lnTo>
                    <a:pt x="132" y="522"/>
                  </a:lnTo>
                  <a:lnTo>
                    <a:pt x="144" y="522"/>
                  </a:lnTo>
                  <a:lnTo>
                    <a:pt x="144" y="510"/>
                  </a:lnTo>
                  <a:lnTo>
                    <a:pt x="144" y="504"/>
                  </a:lnTo>
                  <a:lnTo>
                    <a:pt x="138" y="492"/>
                  </a:lnTo>
                  <a:lnTo>
                    <a:pt x="138" y="474"/>
                  </a:lnTo>
                  <a:lnTo>
                    <a:pt x="126" y="468"/>
                  </a:lnTo>
                  <a:lnTo>
                    <a:pt x="120" y="456"/>
                  </a:lnTo>
                  <a:lnTo>
                    <a:pt x="114" y="450"/>
                  </a:lnTo>
                  <a:lnTo>
                    <a:pt x="108" y="438"/>
                  </a:lnTo>
                  <a:lnTo>
                    <a:pt x="96" y="432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60" y="426"/>
                  </a:lnTo>
                  <a:lnTo>
                    <a:pt x="66" y="420"/>
                  </a:lnTo>
                  <a:lnTo>
                    <a:pt x="66" y="408"/>
                  </a:lnTo>
                  <a:lnTo>
                    <a:pt x="72" y="408"/>
                  </a:lnTo>
                  <a:lnTo>
                    <a:pt x="72" y="384"/>
                  </a:lnTo>
                  <a:lnTo>
                    <a:pt x="72" y="366"/>
                  </a:lnTo>
                  <a:lnTo>
                    <a:pt x="78" y="354"/>
                  </a:lnTo>
                  <a:lnTo>
                    <a:pt x="84" y="354"/>
                  </a:lnTo>
                  <a:lnTo>
                    <a:pt x="90" y="348"/>
                  </a:lnTo>
                  <a:lnTo>
                    <a:pt x="102" y="336"/>
                  </a:lnTo>
                  <a:lnTo>
                    <a:pt x="114" y="324"/>
                  </a:lnTo>
                  <a:lnTo>
                    <a:pt x="120" y="312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20" y="276"/>
                  </a:lnTo>
                  <a:lnTo>
                    <a:pt x="96" y="270"/>
                  </a:lnTo>
                  <a:lnTo>
                    <a:pt x="84" y="270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72" y="264"/>
                  </a:lnTo>
                  <a:lnTo>
                    <a:pt x="60" y="252"/>
                  </a:lnTo>
                  <a:lnTo>
                    <a:pt x="42" y="252"/>
                  </a:lnTo>
                  <a:lnTo>
                    <a:pt x="42" y="258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18" y="252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42" y="156"/>
                  </a:lnTo>
                  <a:lnTo>
                    <a:pt x="48" y="198"/>
                  </a:lnTo>
                  <a:lnTo>
                    <a:pt x="48" y="204"/>
                  </a:lnTo>
                  <a:lnTo>
                    <a:pt x="54" y="198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204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192"/>
                  </a:lnTo>
                  <a:lnTo>
                    <a:pt x="96" y="186"/>
                  </a:lnTo>
                  <a:lnTo>
                    <a:pt x="102" y="180"/>
                  </a:lnTo>
                  <a:lnTo>
                    <a:pt x="102" y="174"/>
                  </a:lnTo>
                  <a:lnTo>
                    <a:pt x="108" y="168"/>
                  </a:lnTo>
                  <a:lnTo>
                    <a:pt x="108" y="162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0"/>
                  </a:lnTo>
                  <a:lnTo>
                    <a:pt x="132" y="144"/>
                  </a:lnTo>
                  <a:lnTo>
                    <a:pt x="138" y="138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0" y="132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74" y="126"/>
                  </a:lnTo>
                  <a:lnTo>
                    <a:pt x="204" y="120"/>
                  </a:lnTo>
                  <a:lnTo>
                    <a:pt x="210" y="78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54"/>
                  </a:lnTo>
                  <a:lnTo>
                    <a:pt x="276" y="54"/>
                  </a:lnTo>
                  <a:lnTo>
                    <a:pt x="276" y="48"/>
                  </a:lnTo>
                  <a:lnTo>
                    <a:pt x="282" y="48"/>
                  </a:lnTo>
                  <a:lnTo>
                    <a:pt x="288" y="42"/>
                  </a:lnTo>
                  <a:lnTo>
                    <a:pt x="294" y="42"/>
                  </a:lnTo>
                  <a:lnTo>
                    <a:pt x="294" y="18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0"/>
                  </a:lnTo>
                  <a:lnTo>
                    <a:pt x="336" y="0"/>
                  </a:lnTo>
                  <a:lnTo>
                    <a:pt x="342" y="0"/>
                  </a:lnTo>
                  <a:lnTo>
                    <a:pt x="354" y="6"/>
                  </a:lnTo>
                  <a:lnTo>
                    <a:pt x="366" y="18"/>
                  </a:lnTo>
                  <a:lnTo>
                    <a:pt x="378" y="36"/>
                  </a:lnTo>
                  <a:lnTo>
                    <a:pt x="390" y="42"/>
                  </a:lnTo>
                  <a:lnTo>
                    <a:pt x="390" y="48"/>
                  </a:lnTo>
                  <a:lnTo>
                    <a:pt x="396" y="60"/>
                  </a:lnTo>
                  <a:lnTo>
                    <a:pt x="402" y="72"/>
                  </a:lnTo>
                  <a:lnTo>
                    <a:pt x="408" y="78"/>
                  </a:lnTo>
                  <a:lnTo>
                    <a:pt x="402" y="84"/>
                  </a:lnTo>
                  <a:lnTo>
                    <a:pt x="408" y="90"/>
                  </a:lnTo>
                  <a:lnTo>
                    <a:pt x="414" y="102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50" y="126"/>
                  </a:lnTo>
                  <a:lnTo>
                    <a:pt x="456" y="126"/>
                  </a:lnTo>
                  <a:lnTo>
                    <a:pt x="462" y="144"/>
                  </a:lnTo>
                  <a:lnTo>
                    <a:pt x="480" y="156"/>
                  </a:lnTo>
                  <a:lnTo>
                    <a:pt x="492" y="156"/>
                  </a:lnTo>
                  <a:lnTo>
                    <a:pt x="516" y="150"/>
                  </a:lnTo>
                  <a:lnTo>
                    <a:pt x="516" y="144"/>
                  </a:lnTo>
                  <a:lnTo>
                    <a:pt x="516" y="138"/>
                  </a:lnTo>
                  <a:lnTo>
                    <a:pt x="528" y="138"/>
                  </a:lnTo>
                  <a:lnTo>
                    <a:pt x="546" y="144"/>
                  </a:lnTo>
                  <a:lnTo>
                    <a:pt x="546" y="138"/>
                  </a:lnTo>
                  <a:lnTo>
                    <a:pt x="552" y="138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76" y="138"/>
                  </a:lnTo>
                  <a:lnTo>
                    <a:pt x="582" y="138"/>
                  </a:lnTo>
                  <a:lnTo>
                    <a:pt x="588" y="138"/>
                  </a:lnTo>
                  <a:lnTo>
                    <a:pt x="594" y="138"/>
                  </a:lnTo>
                  <a:lnTo>
                    <a:pt x="594" y="144"/>
                  </a:lnTo>
                  <a:lnTo>
                    <a:pt x="600" y="138"/>
                  </a:lnTo>
                  <a:lnTo>
                    <a:pt x="606" y="138"/>
                  </a:lnTo>
                  <a:lnTo>
                    <a:pt x="606" y="144"/>
                  </a:lnTo>
                  <a:lnTo>
                    <a:pt x="612" y="144"/>
                  </a:lnTo>
                  <a:lnTo>
                    <a:pt x="618" y="156"/>
                  </a:lnTo>
                  <a:lnTo>
                    <a:pt x="612" y="198"/>
                  </a:lnTo>
                  <a:lnTo>
                    <a:pt x="624" y="198"/>
                  </a:lnTo>
                  <a:lnTo>
                    <a:pt x="624" y="204"/>
                  </a:lnTo>
                  <a:lnTo>
                    <a:pt x="612" y="216"/>
                  </a:lnTo>
                  <a:lnTo>
                    <a:pt x="594" y="234"/>
                  </a:lnTo>
                  <a:lnTo>
                    <a:pt x="588" y="252"/>
                  </a:lnTo>
                  <a:lnTo>
                    <a:pt x="576" y="270"/>
                  </a:lnTo>
                  <a:lnTo>
                    <a:pt x="564" y="282"/>
                  </a:lnTo>
                  <a:lnTo>
                    <a:pt x="564" y="294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8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34" y="294"/>
                  </a:lnTo>
                  <a:lnTo>
                    <a:pt x="522" y="300"/>
                  </a:lnTo>
                  <a:lnTo>
                    <a:pt x="510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498" y="324"/>
                  </a:lnTo>
                  <a:lnTo>
                    <a:pt x="504" y="336"/>
                  </a:lnTo>
                  <a:lnTo>
                    <a:pt x="510" y="348"/>
                  </a:lnTo>
                  <a:lnTo>
                    <a:pt x="516" y="366"/>
                  </a:lnTo>
                  <a:lnTo>
                    <a:pt x="522" y="432"/>
                  </a:lnTo>
                  <a:lnTo>
                    <a:pt x="522" y="456"/>
                  </a:lnTo>
                  <a:lnTo>
                    <a:pt x="504" y="492"/>
                  </a:lnTo>
                  <a:lnTo>
                    <a:pt x="504" y="498"/>
                  </a:lnTo>
                  <a:lnTo>
                    <a:pt x="498" y="504"/>
                  </a:lnTo>
                  <a:lnTo>
                    <a:pt x="498" y="522"/>
                  </a:lnTo>
                  <a:lnTo>
                    <a:pt x="504" y="534"/>
                  </a:lnTo>
                  <a:lnTo>
                    <a:pt x="510" y="546"/>
                  </a:lnTo>
                  <a:lnTo>
                    <a:pt x="516" y="558"/>
                  </a:lnTo>
                  <a:lnTo>
                    <a:pt x="516" y="588"/>
                  </a:lnTo>
                  <a:lnTo>
                    <a:pt x="516" y="600"/>
                  </a:lnTo>
                  <a:lnTo>
                    <a:pt x="510" y="618"/>
                  </a:lnTo>
                  <a:lnTo>
                    <a:pt x="504" y="636"/>
                  </a:lnTo>
                  <a:lnTo>
                    <a:pt x="504" y="642"/>
                  </a:lnTo>
                  <a:lnTo>
                    <a:pt x="474" y="654"/>
                  </a:lnTo>
                  <a:lnTo>
                    <a:pt x="474" y="690"/>
                  </a:lnTo>
                  <a:lnTo>
                    <a:pt x="474" y="696"/>
                  </a:lnTo>
                  <a:lnTo>
                    <a:pt x="480" y="702"/>
                  </a:lnTo>
                  <a:lnTo>
                    <a:pt x="486" y="708"/>
                  </a:lnTo>
                  <a:lnTo>
                    <a:pt x="492" y="708"/>
                  </a:lnTo>
                  <a:lnTo>
                    <a:pt x="498" y="726"/>
                  </a:lnTo>
                  <a:lnTo>
                    <a:pt x="504" y="726"/>
                  </a:lnTo>
                  <a:lnTo>
                    <a:pt x="504" y="738"/>
                  </a:lnTo>
                  <a:lnTo>
                    <a:pt x="498" y="744"/>
                  </a:lnTo>
                  <a:lnTo>
                    <a:pt x="486" y="750"/>
                  </a:lnTo>
                  <a:lnTo>
                    <a:pt x="474" y="744"/>
                  </a:lnTo>
                  <a:lnTo>
                    <a:pt x="462" y="744"/>
                  </a:lnTo>
                  <a:lnTo>
                    <a:pt x="456" y="732"/>
                  </a:lnTo>
                  <a:lnTo>
                    <a:pt x="444" y="732"/>
                  </a:lnTo>
                  <a:lnTo>
                    <a:pt x="432" y="726"/>
                  </a:lnTo>
                  <a:lnTo>
                    <a:pt x="420" y="720"/>
                  </a:lnTo>
                  <a:lnTo>
                    <a:pt x="408" y="708"/>
                  </a:lnTo>
                  <a:lnTo>
                    <a:pt x="402" y="708"/>
                  </a:lnTo>
                  <a:lnTo>
                    <a:pt x="390" y="70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5" name="Freeform 20">
              <a:extLst>
                <a:ext uri="{FF2B5EF4-FFF2-40B4-BE49-F238E27FC236}">
                  <a16:creationId xmlns:a16="http://schemas.microsoft.com/office/drawing/2014/main" id="{B8342C3B-ECEC-465F-AAFF-4815B8AC392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870937"/>
              <a:ext cx="313067" cy="377968"/>
            </a:xfrm>
            <a:custGeom>
              <a:avLst/>
              <a:gdLst>
                <a:gd name="T0" fmla="*/ 15 w 588"/>
                <a:gd name="T1" fmla="*/ 59 h 714"/>
                <a:gd name="T2" fmla="*/ 14 w 588"/>
                <a:gd name="T3" fmla="*/ 58 h 714"/>
                <a:gd name="T4" fmla="*/ 9 w 588"/>
                <a:gd name="T5" fmla="*/ 54 h 714"/>
                <a:gd name="T6" fmla="*/ 4 w 588"/>
                <a:gd name="T7" fmla="*/ 54 h 714"/>
                <a:gd name="T8" fmla="*/ 0 w 588"/>
                <a:gd name="T9" fmla="*/ 50 h 714"/>
                <a:gd name="T10" fmla="*/ 0 w 588"/>
                <a:gd name="T11" fmla="*/ 44 h 714"/>
                <a:gd name="T12" fmla="*/ 4 w 588"/>
                <a:gd name="T13" fmla="*/ 46 h 714"/>
                <a:gd name="T14" fmla="*/ 7 w 588"/>
                <a:gd name="T15" fmla="*/ 47 h 714"/>
                <a:gd name="T16" fmla="*/ 10 w 588"/>
                <a:gd name="T17" fmla="*/ 46 h 714"/>
                <a:gd name="T18" fmla="*/ 8 w 588"/>
                <a:gd name="T19" fmla="*/ 44 h 714"/>
                <a:gd name="T20" fmla="*/ 10 w 588"/>
                <a:gd name="T21" fmla="*/ 39 h 714"/>
                <a:gd name="T22" fmla="*/ 11 w 588"/>
                <a:gd name="T23" fmla="*/ 34 h 714"/>
                <a:gd name="T24" fmla="*/ 9 w 588"/>
                <a:gd name="T25" fmla="*/ 28 h 714"/>
                <a:gd name="T26" fmla="*/ 11 w 588"/>
                <a:gd name="T27" fmla="*/ 22 h 714"/>
                <a:gd name="T28" fmla="*/ 10 w 588"/>
                <a:gd name="T29" fmla="*/ 12 h 714"/>
                <a:gd name="T30" fmla="*/ 9 w 588"/>
                <a:gd name="T31" fmla="*/ 9 h 714"/>
                <a:gd name="T32" fmla="*/ 12 w 588"/>
                <a:gd name="T33" fmla="*/ 8 h 714"/>
                <a:gd name="T34" fmla="*/ 14 w 588"/>
                <a:gd name="T35" fmla="*/ 7 h 714"/>
                <a:gd name="T36" fmla="*/ 17 w 588"/>
                <a:gd name="T37" fmla="*/ 10 h 714"/>
                <a:gd name="T38" fmla="*/ 23 w 588"/>
                <a:gd name="T39" fmla="*/ 14 h 714"/>
                <a:gd name="T40" fmla="*/ 28 w 588"/>
                <a:gd name="T41" fmla="*/ 4 h 714"/>
                <a:gd name="T42" fmla="*/ 35 w 588"/>
                <a:gd name="T43" fmla="*/ 2 h 714"/>
                <a:gd name="T44" fmla="*/ 38 w 588"/>
                <a:gd name="T45" fmla="*/ 0 h 714"/>
                <a:gd name="T46" fmla="*/ 40 w 588"/>
                <a:gd name="T47" fmla="*/ 2 h 714"/>
                <a:gd name="T48" fmla="*/ 39 w 588"/>
                <a:gd name="T49" fmla="*/ 4 h 714"/>
                <a:gd name="T50" fmla="*/ 41 w 588"/>
                <a:gd name="T51" fmla="*/ 5 h 714"/>
                <a:gd name="T52" fmla="*/ 42 w 588"/>
                <a:gd name="T53" fmla="*/ 7 h 714"/>
                <a:gd name="T54" fmla="*/ 43 w 588"/>
                <a:gd name="T55" fmla="*/ 9 h 714"/>
                <a:gd name="T56" fmla="*/ 43 w 588"/>
                <a:gd name="T57" fmla="*/ 10 h 714"/>
                <a:gd name="T58" fmla="*/ 43 w 588"/>
                <a:gd name="T59" fmla="*/ 12 h 714"/>
                <a:gd name="T60" fmla="*/ 44 w 588"/>
                <a:gd name="T61" fmla="*/ 12 h 714"/>
                <a:gd name="T62" fmla="*/ 46 w 588"/>
                <a:gd name="T63" fmla="*/ 13 h 714"/>
                <a:gd name="T64" fmla="*/ 47 w 588"/>
                <a:gd name="T65" fmla="*/ 14 h 714"/>
                <a:gd name="T66" fmla="*/ 48 w 588"/>
                <a:gd name="T67" fmla="*/ 15 h 714"/>
                <a:gd name="T68" fmla="*/ 49 w 588"/>
                <a:gd name="T69" fmla="*/ 15 h 714"/>
                <a:gd name="T70" fmla="*/ 48 w 588"/>
                <a:gd name="T71" fmla="*/ 17 h 714"/>
                <a:gd name="T72" fmla="*/ 49 w 588"/>
                <a:gd name="T73" fmla="*/ 19 h 714"/>
                <a:gd name="T74" fmla="*/ 49 w 588"/>
                <a:gd name="T75" fmla="*/ 20 h 714"/>
                <a:gd name="T76" fmla="*/ 51 w 588"/>
                <a:gd name="T77" fmla="*/ 21 h 714"/>
                <a:gd name="T78" fmla="*/ 50 w 588"/>
                <a:gd name="T79" fmla="*/ 22 h 714"/>
                <a:gd name="T80" fmla="*/ 47 w 588"/>
                <a:gd name="T81" fmla="*/ 23 h 714"/>
                <a:gd name="T82" fmla="*/ 47 w 588"/>
                <a:gd name="T83" fmla="*/ 26 h 714"/>
                <a:gd name="T84" fmla="*/ 47 w 588"/>
                <a:gd name="T85" fmla="*/ 32 h 714"/>
                <a:gd name="T86" fmla="*/ 44 w 588"/>
                <a:gd name="T87" fmla="*/ 35 h 714"/>
                <a:gd name="T88" fmla="*/ 42 w 588"/>
                <a:gd name="T89" fmla="*/ 39 h 714"/>
                <a:gd name="T90" fmla="*/ 42 w 588"/>
                <a:gd name="T91" fmla="*/ 41 h 714"/>
                <a:gd name="T92" fmla="*/ 42 w 588"/>
                <a:gd name="T93" fmla="*/ 42 h 714"/>
                <a:gd name="T94" fmla="*/ 41 w 588"/>
                <a:gd name="T95" fmla="*/ 44 h 714"/>
                <a:gd name="T96" fmla="*/ 39 w 588"/>
                <a:gd name="T97" fmla="*/ 43 h 714"/>
                <a:gd name="T98" fmla="*/ 37 w 588"/>
                <a:gd name="T99" fmla="*/ 44 h 714"/>
                <a:gd name="T100" fmla="*/ 35 w 588"/>
                <a:gd name="T101" fmla="*/ 46 h 714"/>
                <a:gd name="T102" fmla="*/ 31 w 588"/>
                <a:gd name="T103" fmla="*/ 45 h 714"/>
                <a:gd name="T104" fmla="*/ 24 w 588"/>
                <a:gd name="T105" fmla="*/ 45 h 714"/>
                <a:gd name="T106" fmla="*/ 25 w 588"/>
                <a:gd name="T107" fmla="*/ 47 h 714"/>
                <a:gd name="T108" fmla="*/ 25 w 588"/>
                <a:gd name="T109" fmla="*/ 49 h 714"/>
                <a:gd name="T110" fmla="*/ 25 w 588"/>
                <a:gd name="T111" fmla="*/ 50 h 714"/>
                <a:gd name="T112" fmla="*/ 24 w 588"/>
                <a:gd name="T113" fmla="*/ 51 h 714"/>
                <a:gd name="T114" fmla="*/ 22 w 588"/>
                <a:gd name="T115" fmla="*/ 53 h 714"/>
                <a:gd name="T116" fmla="*/ 23 w 588"/>
                <a:gd name="T117" fmla="*/ 56 h 714"/>
                <a:gd name="T118" fmla="*/ 20 w 588"/>
                <a:gd name="T119" fmla="*/ 58 h 714"/>
                <a:gd name="T120" fmla="*/ 19 w 588"/>
                <a:gd name="T121" fmla="*/ 62 h 7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8"/>
                <a:gd name="T184" fmla="*/ 0 h 714"/>
                <a:gd name="T185" fmla="*/ 588 w 588"/>
                <a:gd name="T186" fmla="*/ 714 h 7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8" h="714">
                  <a:moveTo>
                    <a:pt x="216" y="714"/>
                  </a:moveTo>
                  <a:lnTo>
                    <a:pt x="198" y="702"/>
                  </a:lnTo>
                  <a:lnTo>
                    <a:pt x="186" y="696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74" y="678"/>
                  </a:lnTo>
                  <a:lnTo>
                    <a:pt x="168" y="672"/>
                  </a:lnTo>
                  <a:lnTo>
                    <a:pt x="162" y="666"/>
                  </a:lnTo>
                  <a:lnTo>
                    <a:pt x="156" y="636"/>
                  </a:lnTo>
                  <a:lnTo>
                    <a:pt x="144" y="630"/>
                  </a:lnTo>
                  <a:lnTo>
                    <a:pt x="108" y="630"/>
                  </a:lnTo>
                  <a:lnTo>
                    <a:pt x="102" y="624"/>
                  </a:lnTo>
                  <a:lnTo>
                    <a:pt x="96" y="624"/>
                  </a:lnTo>
                  <a:lnTo>
                    <a:pt x="72" y="624"/>
                  </a:lnTo>
                  <a:lnTo>
                    <a:pt x="54" y="624"/>
                  </a:lnTo>
                  <a:lnTo>
                    <a:pt x="42" y="618"/>
                  </a:lnTo>
                  <a:lnTo>
                    <a:pt x="30" y="612"/>
                  </a:lnTo>
                  <a:lnTo>
                    <a:pt x="6" y="606"/>
                  </a:lnTo>
                  <a:lnTo>
                    <a:pt x="0" y="606"/>
                  </a:lnTo>
                  <a:lnTo>
                    <a:pt x="0" y="570"/>
                  </a:lnTo>
                  <a:lnTo>
                    <a:pt x="6" y="552"/>
                  </a:lnTo>
                  <a:lnTo>
                    <a:pt x="6" y="522"/>
                  </a:lnTo>
                  <a:lnTo>
                    <a:pt x="0" y="510"/>
                  </a:lnTo>
                  <a:lnTo>
                    <a:pt x="0" y="504"/>
                  </a:lnTo>
                  <a:lnTo>
                    <a:pt x="12" y="510"/>
                  </a:lnTo>
                  <a:lnTo>
                    <a:pt x="18" y="510"/>
                  </a:lnTo>
                  <a:lnTo>
                    <a:pt x="30" y="522"/>
                  </a:lnTo>
                  <a:lnTo>
                    <a:pt x="42" y="528"/>
                  </a:lnTo>
                  <a:lnTo>
                    <a:pt x="54" y="534"/>
                  </a:lnTo>
                  <a:lnTo>
                    <a:pt x="66" y="534"/>
                  </a:lnTo>
                  <a:lnTo>
                    <a:pt x="72" y="546"/>
                  </a:lnTo>
                  <a:lnTo>
                    <a:pt x="84" y="546"/>
                  </a:lnTo>
                  <a:lnTo>
                    <a:pt x="96" y="552"/>
                  </a:lnTo>
                  <a:lnTo>
                    <a:pt x="108" y="546"/>
                  </a:lnTo>
                  <a:lnTo>
                    <a:pt x="114" y="540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90" y="504"/>
                  </a:lnTo>
                  <a:lnTo>
                    <a:pt x="84" y="498"/>
                  </a:lnTo>
                  <a:lnTo>
                    <a:pt x="84" y="492"/>
                  </a:lnTo>
                  <a:lnTo>
                    <a:pt x="84" y="456"/>
                  </a:lnTo>
                  <a:lnTo>
                    <a:pt x="114" y="444"/>
                  </a:lnTo>
                  <a:lnTo>
                    <a:pt x="114" y="438"/>
                  </a:lnTo>
                  <a:lnTo>
                    <a:pt x="120" y="420"/>
                  </a:lnTo>
                  <a:lnTo>
                    <a:pt x="126" y="402"/>
                  </a:lnTo>
                  <a:lnTo>
                    <a:pt x="126" y="390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14" y="336"/>
                  </a:lnTo>
                  <a:lnTo>
                    <a:pt x="108" y="324"/>
                  </a:lnTo>
                  <a:lnTo>
                    <a:pt x="108" y="306"/>
                  </a:lnTo>
                  <a:lnTo>
                    <a:pt x="114" y="300"/>
                  </a:lnTo>
                  <a:lnTo>
                    <a:pt x="114" y="294"/>
                  </a:lnTo>
                  <a:lnTo>
                    <a:pt x="132" y="258"/>
                  </a:lnTo>
                  <a:lnTo>
                    <a:pt x="132" y="234"/>
                  </a:lnTo>
                  <a:lnTo>
                    <a:pt x="126" y="168"/>
                  </a:lnTo>
                  <a:lnTo>
                    <a:pt x="120" y="150"/>
                  </a:lnTo>
                  <a:lnTo>
                    <a:pt x="114" y="138"/>
                  </a:lnTo>
                  <a:lnTo>
                    <a:pt x="108" y="126"/>
                  </a:lnTo>
                  <a:lnTo>
                    <a:pt x="108" y="120"/>
                  </a:lnTo>
                  <a:lnTo>
                    <a:pt x="108" y="114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20" y="96"/>
                  </a:lnTo>
                  <a:lnTo>
                    <a:pt x="132" y="102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56" y="90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96"/>
                  </a:lnTo>
                  <a:lnTo>
                    <a:pt x="186" y="96"/>
                  </a:lnTo>
                  <a:lnTo>
                    <a:pt x="192" y="114"/>
                  </a:lnTo>
                  <a:lnTo>
                    <a:pt x="204" y="132"/>
                  </a:lnTo>
                  <a:lnTo>
                    <a:pt x="216" y="144"/>
                  </a:lnTo>
                  <a:lnTo>
                    <a:pt x="240" y="162"/>
                  </a:lnTo>
                  <a:lnTo>
                    <a:pt x="270" y="156"/>
                  </a:lnTo>
                  <a:lnTo>
                    <a:pt x="282" y="126"/>
                  </a:lnTo>
                  <a:lnTo>
                    <a:pt x="282" y="96"/>
                  </a:lnTo>
                  <a:lnTo>
                    <a:pt x="294" y="54"/>
                  </a:lnTo>
                  <a:lnTo>
                    <a:pt x="324" y="48"/>
                  </a:lnTo>
                  <a:lnTo>
                    <a:pt x="342" y="48"/>
                  </a:lnTo>
                  <a:lnTo>
                    <a:pt x="384" y="48"/>
                  </a:lnTo>
                  <a:lnTo>
                    <a:pt x="390" y="30"/>
                  </a:lnTo>
                  <a:lnTo>
                    <a:pt x="402" y="18"/>
                  </a:lnTo>
                  <a:lnTo>
                    <a:pt x="438" y="6"/>
                  </a:lnTo>
                  <a:lnTo>
                    <a:pt x="438" y="0"/>
                  </a:lnTo>
                  <a:lnTo>
                    <a:pt x="444" y="0"/>
                  </a:lnTo>
                  <a:lnTo>
                    <a:pt x="444" y="6"/>
                  </a:lnTo>
                  <a:lnTo>
                    <a:pt x="450" y="6"/>
                  </a:lnTo>
                  <a:lnTo>
                    <a:pt x="456" y="12"/>
                  </a:lnTo>
                  <a:lnTo>
                    <a:pt x="456" y="18"/>
                  </a:lnTo>
                  <a:lnTo>
                    <a:pt x="462" y="24"/>
                  </a:lnTo>
                  <a:lnTo>
                    <a:pt x="462" y="30"/>
                  </a:lnTo>
                  <a:lnTo>
                    <a:pt x="468" y="36"/>
                  </a:lnTo>
                  <a:lnTo>
                    <a:pt x="462" y="36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74" y="60"/>
                  </a:lnTo>
                  <a:lnTo>
                    <a:pt x="486" y="78"/>
                  </a:lnTo>
                  <a:lnTo>
                    <a:pt x="486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8" y="102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498" y="114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504" y="126"/>
                  </a:lnTo>
                  <a:lnTo>
                    <a:pt x="498" y="132"/>
                  </a:lnTo>
                  <a:lnTo>
                    <a:pt x="504" y="138"/>
                  </a:lnTo>
                  <a:lnTo>
                    <a:pt x="504" y="132"/>
                  </a:lnTo>
                  <a:lnTo>
                    <a:pt x="510" y="132"/>
                  </a:lnTo>
                  <a:lnTo>
                    <a:pt x="510" y="138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56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6" y="168"/>
                  </a:lnTo>
                  <a:lnTo>
                    <a:pt x="552" y="168"/>
                  </a:lnTo>
                  <a:lnTo>
                    <a:pt x="546" y="168"/>
                  </a:lnTo>
                  <a:lnTo>
                    <a:pt x="546" y="174"/>
                  </a:lnTo>
                  <a:lnTo>
                    <a:pt x="558" y="180"/>
                  </a:lnTo>
                  <a:lnTo>
                    <a:pt x="564" y="180"/>
                  </a:lnTo>
                  <a:lnTo>
                    <a:pt x="564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52" y="198"/>
                  </a:lnTo>
                  <a:lnTo>
                    <a:pt x="558" y="204"/>
                  </a:lnTo>
                  <a:lnTo>
                    <a:pt x="564" y="204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22"/>
                  </a:lnTo>
                  <a:lnTo>
                    <a:pt x="576" y="228"/>
                  </a:lnTo>
                  <a:lnTo>
                    <a:pt x="570" y="228"/>
                  </a:lnTo>
                  <a:lnTo>
                    <a:pt x="570" y="234"/>
                  </a:lnTo>
                  <a:lnTo>
                    <a:pt x="576" y="234"/>
                  </a:lnTo>
                  <a:lnTo>
                    <a:pt x="582" y="234"/>
                  </a:lnTo>
                  <a:lnTo>
                    <a:pt x="588" y="234"/>
                  </a:lnTo>
                  <a:lnTo>
                    <a:pt x="588" y="240"/>
                  </a:lnTo>
                  <a:lnTo>
                    <a:pt x="588" y="246"/>
                  </a:lnTo>
                  <a:lnTo>
                    <a:pt x="588" y="252"/>
                  </a:lnTo>
                  <a:lnTo>
                    <a:pt x="582" y="252"/>
                  </a:lnTo>
                  <a:lnTo>
                    <a:pt x="576" y="252"/>
                  </a:lnTo>
                  <a:lnTo>
                    <a:pt x="582" y="258"/>
                  </a:lnTo>
                  <a:lnTo>
                    <a:pt x="582" y="264"/>
                  </a:lnTo>
                  <a:lnTo>
                    <a:pt x="576" y="264"/>
                  </a:lnTo>
                  <a:lnTo>
                    <a:pt x="546" y="264"/>
                  </a:lnTo>
                  <a:lnTo>
                    <a:pt x="546" y="276"/>
                  </a:lnTo>
                  <a:lnTo>
                    <a:pt x="540" y="282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40" y="324"/>
                  </a:lnTo>
                  <a:lnTo>
                    <a:pt x="552" y="330"/>
                  </a:lnTo>
                  <a:lnTo>
                    <a:pt x="558" y="342"/>
                  </a:lnTo>
                  <a:lnTo>
                    <a:pt x="546" y="372"/>
                  </a:lnTo>
                  <a:lnTo>
                    <a:pt x="534" y="372"/>
                  </a:lnTo>
                  <a:lnTo>
                    <a:pt x="534" y="384"/>
                  </a:lnTo>
                  <a:lnTo>
                    <a:pt x="522" y="384"/>
                  </a:lnTo>
                  <a:lnTo>
                    <a:pt x="510" y="402"/>
                  </a:lnTo>
                  <a:lnTo>
                    <a:pt x="504" y="420"/>
                  </a:lnTo>
                  <a:lnTo>
                    <a:pt x="492" y="426"/>
                  </a:lnTo>
                  <a:lnTo>
                    <a:pt x="486" y="432"/>
                  </a:lnTo>
                  <a:lnTo>
                    <a:pt x="486" y="444"/>
                  </a:lnTo>
                  <a:lnTo>
                    <a:pt x="486" y="450"/>
                  </a:lnTo>
                  <a:lnTo>
                    <a:pt x="486" y="456"/>
                  </a:lnTo>
                  <a:lnTo>
                    <a:pt x="486" y="462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80" y="474"/>
                  </a:lnTo>
                  <a:lnTo>
                    <a:pt x="480" y="480"/>
                  </a:lnTo>
                  <a:lnTo>
                    <a:pt x="480" y="486"/>
                  </a:lnTo>
                  <a:lnTo>
                    <a:pt x="480" y="492"/>
                  </a:lnTo>
                  <a:lnTo>
                    <a:pt x="480" y="498"/>
                  </a:lnTo>
                  <a:lnTo>
                    <a:pt x="474" y="504"/>
                  </a:lnTo>
                  <a:lnTo>
                    <a:pt x="468" y="510"/>
                  </a:lnTo>
                  <a:lnTo>
                    <a:pt x="462" y="510"/>
                  </a:lnTo>
                  <a:lnTo>
                    <a:pt x="456" y="504"/>
                  </a:lnTo>
                  <a:lnTo>
                    <a:pt x="456" y="498"/>
                  </a:lnTo>
                  <a:lnTo>
                    <a:pt x="450" y="498"/>
                  </a:lnTo>
                  <a:lnTo>
                    <a:pt x="444" y="498"/>
                  </a:lnTo>
                  <a:lnTo>
                    <a:pt x="438" y="498"/>
                  </a:lnTo>
                  <a:lnTo>
                    <a:pt x="432" y="498"/>
                  </a:lnTo>
                  <a:lnTo>
                    <a:pt x="426" y="504"/>
                  </a:lnTo>
                  <a:lnTo>
                    <a:pt x="426" y="510"/>
                  </a:lnTo>
                  <a:lnTo>
                    <a:pt x="420" y="516"/>
                  </a:lnTo>
                  <a:lnTo>
                    <a:pt x="414" y="522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84" y="528"/>
                  </a:lnTo>
                  <a:lnTo>
                    <a:pt x="366" y="540"/>
                  </a:lnTo>
                  <a:lnTo>
                    <a:pt x="360" y="522"/>
                  </a:lnTo>
                  <a:lnTo>
                    <a:pt x="348" y="504"/>
                  </a:lnTo>
                  <a:lnTo>
                    <a:pt x="330" y="504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34"/>
                  </a:lnTo>
                  <a:lnTo>
                    <a:pt x="288" y="540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2" y="540"/>
                  </a:lnTo>
                  <a:lnTo>
                    <a:pt x="282" y="546"/>
                  </a:lnTo>
                  <a:lnTo>
                    <a:pt x="288" y="552"/>
                  </a:lnTo>
                  <a:lnTo>
                    <a:pt x="294" y="564"/>
                  </a:lnTo>
                  <a:lnTo>
                    <a:pt x="300" y="564"/>
                  </a:lnTo>
                  <a:lnTo>
                    <a:pt x="300" y="570"/>
                  </a:lnTo>
                  <a:lnTo>
                    <a:pt x="294" y="570"/>
                  </a:lnTo>
                  <a:lnTo>
                    <a:pt x="288" y="570"/>
                  </a:lnTo>
                  <a:lnTo>
                    <a:pt x="288" y="576"/>
                  </a:lnTo>
                  <a:lnTo>
                    <a:pt x="288" y="582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606"/>
                  </a:lnTo>
                  <a:lnTo>
                    <a:pt x="264" y="612"/>
                  </a:lnTo>
                  <a:lnTo>
                    <a:pt x="258" y="612"/>
                  </a:lnTo>
                  <a:lnTo>
                    <a:pt x="252" y="612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52" y="630"/>
                  </a:lnTo>
                  <a:lnTo>
                    <a:pt x="264" y="642"/>
                  </a:lnTo>
                  <a:lnTo>
                    <a:pt x="258" y="648"/>
                  </a:lnTo>
                  <a:lnTo>
                    <a:pt x="246" y="654"/>
                  </a:lnTo>
                  <a:lnTo>
                    <a:pt x="240" y="660"/>
                  </a:lnTo>
                  <a:lnTo>
                    <a:pt x="234" y="672"/>
                  </a:lnTo>
                  <a:lnTo>
                    <a:pt x="234" y="678"/>
                  </a:lnTo>
                  <a:lnTo>
                    <a:pt x="228" y="684"/>
                  </a:lnTo>
                  <a:lnTo>
                    <a:pt x="228" y="696"/>
                  </a:lnTo>
                  <a:lnTo>
                    <a:pt x="216" y="71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6" name="Freeform 21">
              <a:extLst>
                <a:ext uri="{FF2B5EF4-FFF2-40B4-BE49-F238E27FC236}">
                  <a16:creationId xmlns:a16="http://schemas.microsoft.com/office/drawing/2014/main" id="{DCB1E808-522D-4C19-B741-CC5DD56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4178" y="3866464"/>
              <a:ext cx="250453" cy="371259"/>
            </a:xfrm>
            <a:custGeom>
              <a:avLst/>
              <a:gdLst>
                <a:gd name="T0" fmla="*/ 0 w 468"/>
                <a:gd name="T1" fmla="*/ 61 h 696"/>
                <a:gd name="T2" fmla="*/ 1 w 468"/>
                <a:gd name="T3" fmla="*/ 58 h 696"/>
                <a:gd name="T4" fmla="*/ 2 w 468"/>
                <a:gd name="T5" fmla="*/ 54 h 696"/>
                <a:gd name="T6" fmla="*/ 3 w 468"/>
                <a:gd name="T7" fmla="*/ 51 h 696"/>
                <a:gd name="T8" fmla="*/ 4 w 468"/>
                <a:gd name="T9" fmla="*/ 48 h 696"/>
                <a:gd name="T10" fmla="*/ 6 w 468"/>
                <a:gd name="T11" fmla="*/ 44 h 696"/>
                <a:gd name="T12" fmla="*/ 5 w 468"/>
                <a:gd name="T13" fmla="*/ 41 h 696"/>
                <a:gd name="T14" fmla="*/ 7 w 468"/>
                <a:gd name="T15" fmla="*/ 38 h 696"/>
                <a:gd name="T16" fmla="*/ 8 w 468"/>
                <a:gd name="T17" fmla="*/ 36 h 696"/>
                <a:gd name="T18" fmla="*/ 7 w 468"/>
                <a:gd name="T19" fmla="*/ 33 h 696"/>
                <a:gd name="T20" fmla="*/ 6 w 468"/>
                <a:gd name="T21" fmla="*/ 29 h 696"/>
                <a:gd name="T22" fmla="*/ 4 w 468"/>
                <a:gd name="T23" fmla="*/ 22 h 696"/>
                <a:gd name="T24" fmla="*/ 2 w 468"/>
                <a:gd name="T25" fmla="*/ 14 h 696"/>
                <a:gd name="T26" fmla="*/ 12 w 468"/>
                <a:gd name="T27" fmla="*/ 11 h 696"/>
                <a:gd name="T28" fmla="*/ 14 w 468"/>
                <a:gd name="T29" fmla="*/ 2 h 696"/>
                <a:gd name="T30" fmla="*/ 16 w 468"/>
                <a:gd name="T31" fmla="*/ 0 h 696"/>
                <a:gd name="T32" fmla="*/ 17 w 468"/>
                <a:gd name="T33" fmla="*/ 0 h 696"/>
                <a:gd name="T34" fmla="*/ 18 w 468"/>
                <a:gd name="T35" fmla="*/ 1 h 696"/>
                <a:gd name="T36" fmla="*/ 17 w 468"/>
                <a:gd name="T37" fmla="*/ 2 h 696"/>
                <a:gd name="T38" fmla="*/ 17 w 468"/>
                <a:gd name="T39" fmla="*/ 4 h 696"/>
                <a:gd name="T40" fmla="*/ 17 w 468"/>
                <a:gd name="T41" fmla="*/ 6 h 696"/>
                <a:gd name="T42" fmla="*/ 20 w 468"/>
                <a:gd name="T43" fmla="*/ 6 h 696"/>
                <a:gd name="T44" fmla="*/ 22 w 468"/>
                <a:gd name="T45" fmla="*/ 5 h 696"/>
                <a:gd name="T46" fmla="*/ 24 w 468"/>
                <a:gd name="T47" fmla="*/ 7 h 696"/>
                <a:gd name="T48" fmla="*/ 28 w 468"/>
                <a:gd name="T49" fmla="*/ 7 h 696"/>
                <a:gd name="T50" fmla="*/ 28 w 468"/>
                <a:gd name="T51" fmla="*/ 11 h 696"/>
                <a:gd name="T52" fmla="*/ 25 w 468"/>
                <a:gd name="T53" fmla="*/ 14 h 696"/>
                <a:gd name="T54" fmla="*/ 23 w 468"/>
                <a:gd name="T55" fmla="*/ 15 h 696"/>
                <a:gd name="T56" fmla="*/ 23 w 468"/>
                <a:gd name="T57" fmla="*/ 19 h 696"/>
                <a:gd name="T58" fmla="*/ 23 w 468"/>
                <a:gd name="T59" fmla="*/ 21 h 696"/>
                <a:gd name="T60" fmla="*/ 24 w 468"/>
                <a:gd name="T61" fmla="*/ 21 h 696"/>
                <a:gd name="T62" fmla="*/ 27 w 468"/>
                <a:gd name="T63" fmla="*/ 23 h 696"/>
                <a:gd name="T64" fmla="*/ 29 w 468"/>
                <a:gd name="T65" fmla="*/ 24 h 696"/>
                <a:gd name="T66" fmla="*/ 29 w 468"/>
                <a:gd name="T67" fmla="*/ 28 h 696"/>
                <a:gd name="T68" fmla="*/ 29 w 468"/>
                <a:gd name="T69" fmla="*/ 29 h 696"/>
                <a:gd name="T70" fmla="*/ 29 w 468"/>
                <a:gd name="T71" fmla="*/ 32 h 696"/>
                <a:gd name="T72" fmla="*/ 32 w 468"/>
                <a:gd name="T73" fmla="*/ 32 h 696"/>
                <a:gd name="T74" fmla="*/ 33 w 468"/>
                <a:gd name="T75" fmla="*/ 35 h 696"/>
                <a:gd name="T76" fmla="*/ 34 w 468"/>
                <a:gd name="T77" fmla="*/ 38 h 696"/>
                <a:gd name="T78" fmla="*/ 35 w 468"/>
                <a:gd name="T79" fmla="*/ 39 h 696"/>
                <a:gd name="T80" fmla="*/ 36 w 468"/>
                <a:gd name="T81" fmla="*/ 40 h 696"/>
                <a:gd name="T82" fmla="*/ 37 w 468"/>
                <a:gd name="T83" fmla="*/ 41 h 696"/>
                <a:gd name="T84" fmla="*/ 38 w 468"/>
                <a:gd name="T85" fmla="*/ 42 h 696"/>
                <a:gd name="T86" fmla="*/ 41 w 468"/>
                <a:gd name="T87" fmla="*/ 44 h 696"/>
                <a:gd name="T88" fmla="*/ 40 w 468"/>
                <a:gd name="T89" fmla="*/ 44 h 696"/>
                <a:gd name="T90" fmla="*/ 37 w 468"/>
                <a:gd name="T91" fmla="*/ 45 h 696"/>
                <a:gd name="T92" fmla="*/ 36 w 468"/>
                <a:gd name="T93" fmla="*/ 48 h 696"/>
                <a:gd name="T94" fmla="*/ 34 w 468"/>
                <a:gd name="T95" fmla="*/ 49 h 696"/>
                <a:gd name="T96" fmla="*/ 32 w 468"/>
                <a:gd name="T97" fmla="*/ 51 h 696"/>
                <a:gd name="T98" fmla="*/ 31 w 468"/>
                <a:gd name="T99" fmla="*/ 51 h 696"/>
                <a:gd name="T100" fmla="*/ 26 w 468"/>
                <a:gd name="T101" fmla="*/ 49 h 696"/>
                <a:gd name="T102" fmla="*/ 23 w 468"/>
                <a:gd name="T103" fmla="*/ 51 h 696"/>
                <a:gd name="T104" fmla="*/ 21 w 468"/>
                <a:gd name="T105" fmla="*/ 51 h 696"/>
                <a:gd name="T106" fmla="*/ 20 w 468"/>
                <a:gd name="T107" fmla="*/ 52 h 696"/>
                <a:gd name="T108" fmla="*/ 17 w 468"/>
                <a:gd name="T109" fmla="*/ 55 h 696"/>
                <a:gd name="T110" fmla="*/ 15 w 468"/>
                <a:gd name="T111" fmla="*/ 56 h 696"/>
                <a:gd name="T112" fmla="*/ 15 w 468"/>
                <a:gd name="T113" fmla="*/ 59 h 696"/>
                <a:gd name="T114" fmla="*/ 14 w 468"/>
                <a:gd name="T115" fmla="*/ 59 h 696"/>
                <a:gd name="T116" fmla="*/ 12 w 468"/>
                <a:gd name="T117" fmla="*/ 59 h 696"/>
                <a:gd name="T118" fmla="*/ 11 w 468"/>
                <a:gd name="T119" fmla="*/ 57 h 696"/>
                <a:gd name="T120" fmla="*/ 9 w 468"/>
                <a:gd name="T121" fmla="*/ 57 h 696"/>
                <a:gd name="T122" fmla="*/ 6 w 468"/>
                <a:gd name="T123" fmla="*/ 58 h 696"/>
                <a:gd name="T124" fmla="*/ 4 w 468"/>
                <a:gd name="T125" fmla="*/ 60 h 69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8"/>
                <a:gd name="T190" fmla="*/ 0 h 696"/>
                <a:gd name="T191" fmla="*/ 468 w 468"/>
                <a:gd name="T192" fmla="*/ 696 h 69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8" h="696">
                  <a:moveTo>
                    <a:pt x="30" y="696"/>
                  </a:moveTo>
                  <a:lnTo>
                    <a:pt x="18" y="696"/>
                  </a:lnTo>
                  <a:lnTo>
                    <a:pt x="6" y="696"/>
                  </a:lnTo>
                  <a:lnTo>
                    <a:pt x="0" y="690"/>
                  </a:lnTo>
                  <a:lnTo>
                    <a:pt x="6" y="678"/>
                  </a:lnTo>
                  <a:lnTo>
                    <a:pt x="12" y="666"/>
                  </a:lnTo>
                  <a:lnTo>
                    <a:pt x="18" y="654"/>
                  </a:lnTo>
                  <a:lnTo>
                    <a:pt x="18" y="642"/>
                  </a:lnTo>
                  <a:lnTo>
                    <a:pt x="18" y="618"/>
                  </a:lnTo>
                  <a:lnTo>
                    <a:pt x="24" y="606"/>
                  </a:lnTo>
                  <a:lnTo>
                    <a:pt x="30" y="594"/>
                  </a:lnTo>
                  <a:lnTo>
                    <a:pt x="30" y="582"/>
                  </a:lnTo>
                  <a:lnTo>
                    <a:pt x="36" y="576"/>
                  </a:lnTo>
                  <a:lnTo>
                    <a:pt x="42" y="564"/>
                  </a:lnTo>
                  <a:lnTo>
                    <a:pt x="48" y="546"/>
                  </a:lnTo>
                  <a:lnTo>
                    <a:pt x="48" y="528"/>
                  </a:lnTo>
                  <a:lnTo>
                    <a:pt x="60" y="516"/>
                  </a:lnTo>
                  <a:lnTo>
                    <a:pt x="66" y="504"/>
                  </a:lnTo>
                  <a:lnTo>
                    <a:pt x="66" y="492"/>
                  </a:lnTo>
                  <a:lnTo>
                    <a:pt x="60" y="480"/>
                  </a:lnTo>
                  <a:lnTo>
                    <a:pt x="54" y="468"/>
                  </a:lnTo>
                  <a:lnTo>
                    <a:pt x="60" y="456"/>
                  </a:lnTo>
                  <a:lnTo>
                    <a:pt x="72" y="450"/>
                  </a:lnTo>
                  <a:lnTo>
                    <a:pt x="84" y="438"/>
                  </a:lnTo>
                  <a:lnTo>
                    <a:pt x="90" y="426"/>
                  </a:lnTo>
                  <a:lnTo>
                    <a:pt x="90" y="420"/>
                  </a:lnTo>
                  <a:lnTo>
                    <a:pt x="90" y="408"/>
                  </a:lnTo>
                  <a:lnTo>
                    <a:pt x="90" y="402"/>
                  </a:lnTo>
                  <a:lnTo>
                    <a:pt x="84" y="396"/>
                  </a:lnTo>
                  <a:lnTo>
                    <a:pt x="78" y="378"/>
                  </a:lnTo>
                  <a:lnTo>
                    <a:pt x="72" y="360"/>
                  </a:lnTo>
                  <a:lnTo>
                    <a:pt x="66" y="348"/>
                  </a:lnTo>
                  <a:lnTo>
                    <a:pt x="72" y="336"/>
                  </a:lnTo>
                  <a:lnTo>
                    <a:pt x="66" y="306"/>
                  </a:lnTo>
                  <a:lnTo>
                    <a:pt x="54" y="276"/>
                  </a:lnTo>
                  <a:lnTo>
                    <a:pt x="42" y="252"/>
                  </a:lnTo>
                  <a:lnTo>
                    <a:pt x="36" y="222"/>
                  </a:lnTo>
                  <a:lnTo>
                    <a:pt x="30" y="192"/>
                  </a:lnTo>
                  <a:lnTo>
                    <a:pt x="24" y="162"/>
                  </a:lnTo>
                  <a:lnTo>
                    <a:pt x="42" y="174"/>
                  </a:lnTo>
                  <a:lnTo>
                    <a:pt x="120" y="138"/>
                  </a:lnTo>
                  <a:lnTo>
                    <a:pt x="132" y="126"/>
                  </a:lnTo>
                  <a:lnTo>
                    <a:pt x="120" y="54"/>
                  </a:lnTo>
                  <a:lnTo>
                    <a:pt x="156" y="30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0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8" y="18"/>
                  </a:lnTo>
                  <a:lnTo>
                    <a:pt x="198" y="24"/>
                  </a:lnTo>
                  <a:lnTo>
                    <a:pt x="198" y="30"/>
                  </a:lnTo>
                  <a:lnTo>
                    <a:pt x="198" y="42"/>
                  </a:lnTo>
                  <a:lnTo>
                    <a:pt x="198" y="48"/>
                  </a:lnTo>
                  <a:lnTo>
                    <a:pt x="192" y="60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28" y="60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34" y="60"/>
                  </a:lnTo>
                  <a:lnTo>
                    <a:pt x="252" y="60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312" y="84"/>
                  </a:lnTo>
                  <a:lnTo>
                    <a:pt x="318" y="96"/>
                  </a:lnTo>
                  <a:lnTo>
                    <a:pt x="318" y="102"/>
                  </a:lnTo>
                  <a:lnTo>
                    <a:pt x="312" y="120"/>
                  </a:lnTo>
                  <a:lnTo>
                    <a:pt x="306" y="132"/>
                  </a:lnTo>
                  <a:lnTo>
                    <a:pt x="294" y="144"/>
                  </a:lnTo>
                  <a:lnTo>
                    <a:pt x="282" y="156"/>
                  </a:lnTo>
                  <a:lnTo>
                    <a:pt x="276" y="162"/>
                  </a:lnTo>
                  <a:lnTo>
                    <a:pt x="270" y="162"/>
                  </a:lnTo>
                  <a:lnTo>
                    <a:pt x="264" y="174"/>
                  </a:lnTo>
                  <a:lnTo>
                    <a:pt x="264" y="192"/>
                  </a:lnTo>
                  <a:lnTo>
                    <a:pt x="264" y="216"/>
                  </a:lnTo>
                  <a:lnTo>
                    <a:pt x="258" y="216"/>
                  </a:lnTo>
                  <a:lnTo>
                    <a:pt x="258" y="228"/>
                  </a:lnTo>
                  <a:lnTo>
                    <a:pt x="252" y="234"/>
                  </a:lnTo>
                  <a:lnTo>
                    <a:pt x="258" y="240"/>
                  </a:lnTo>
                  <a:lnTo>
                    <a:pt x="264" y="240"/>
                  </a:lnTo>
                  <a:lnTo>
                    <a:pt x="270" y="240"/>
                  </a:lnTo>
                  <a:lnTo>
                    <a:pt x="276" y="240"/>
                  </a:lnTo>
                  <a:lnTo>
                    <a:pt x="288" y="240"/>
                  </a:lnTo>
                  <a:lnTo>
                    <a:pt x="300" y="246"/>
                  </a:lnTo>
                  <a:lnTo>
                    <a:pt x="306" y="258"/>
                  </a:lnTo>
                  <a:lnTo>
                    <a:pt x="312" y="264"/>
                  </a:lnTo>
                  <a:lnTo>
                    <a:pt x="318" y="276"/>
                  </a:lnTo>
                  <a:lnTo>
                    <a:pt x="330" y="282"/>
                  </a:lnTo>
                  <a:lnTo>
                    <a:pt x="330" y="300"/>
                  </a:lnTo>
                  <a:lnTo>
                    <a:pt x="336" y="312"/>
                  </a:lnTo>
                  <a:lnTo>
                    <a:pt x="336" y="318"/>
                  </a:lnTo>
                  <a:lnTo>
                    <a:pt x="336" y="330"/>
                  </a:lnTo>
                  <a:lnTo>
                    <a:pt x="324" y="330"/>
                  </a:lnTo>
                  <a:lnTo>
                    <a:pt x="330" y="336"/>
                  </a:lnTo>
                  <a:lnTo>
                    <a:pt x="330" y="342"/>
                  </a:lnTo>
                  <a:lnTo>
                    <a:pt x="336" y="348"/>
                  </a:lnTo>
                  <a:lnTo>
                    <a:pt x="330" y="360"/>
                  </a:lnTo>
                  <a:lnTo>
                    <a:pt x="336" y="372"/>
                  </a:lnTo>
                  <a:lnTo>
                    <a:pt x="354" y="366"/>
                  </a:lnTo>
                  <a:lnTo>
                    <a:pt x="366" y="366"/>
                  </a:lnTo>
                  <a:lnTo>
                    <a:pt x="372" y="378"/>
                  </a:lnTo>
                  <a:lnTo>
                    <a:pt x="372" y="390"/>
                  </a:lnTo>
                  <a:lnTo>
                    <a:pt x="378" y="396"/>
                  </a:lnTo>
                  <a:lnTo>
                    <a:pt x="378" y="408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44"/>
                  </a:lnTo>
                  <a:lnTo>
                    <a:pt x="390" y="444"/>
                  </a:lnTo>
                  <a:lnTo>
                    <a:pt x="396" y="444"/>
                  </a:lnTo>
                  <a:lnTo>
                    <a:pt x="402" y="450"/>
                  </a:lnTo>
                  <a:lnTo>
                    <a:pt x="408" y="450"/>
                  </a:lnTo>
                  <a:lnTo>
                    <a:pt x="408" y="462"/>
                  </a:lnTo>
                  <a:lnTo>
                    <a:pt x="408" y="468"/>
                  </a:lnTo>
                  <a:lnTo>
                    <a:pt x="414" y="474"/>
                  </a:lnTo>
                  <a:lnTo>
                    <a:pt x="420" y="474"/>
                  </a:lnTo>
                  <a:lnTo>
                    <a:pt x="420" y="480"/>
                  </a:lnTo>
                  <a:lnTo>
                    <a:pt x="426" y="480"/>
                  </a:lnTo>
                  <a:lnTo>
                    <a:pt x="432" y="480"/>
                  </a:lnTo>
                  <a:lnTo>
                    <a:pt x="462" y="486"/>
                  </a:lnTo>
                  <a:lnTo>
                    <a:pt x="468" y="492"/>
                  </a:lnTo>
                  <a:lnTo>
                    <a:pt x="468" y="498"/>
                  </a:lnTo>
                  <a:lnTo>
                    <a:pt x="462" y="498"/>
                  </a:lnTo>
                  <a:lnTo>
                    <a:pt x="456" y="498"/>
                  </a:lnTo>
                  <a:lnTo>
                    <a:pt x="456" y="504"/>
                  </a:lnTo>
                  <a:lnTo>
                    <a:pt x="456" y="510"/>
                  </a:lnTo>
                  <a:lnTo>
                    <a:pt x="450" y="516"/>
                  </a:lnTo>
                  <a:lnTo>
                    <a:pt x="426" y="516"/>
                  </a:lnTo>
                  <a:lnTo>
                    <a:pt x="408" y="528"/>
                  </a:lnTo>
                  <a:lnTo>
                    <a:pt x="408" y="546"/>
                  </a:lnTo>
                  <a:lnTo>
                    <a:pt x="414" y="552"/>
                  </a:lnTo>
                  <a:lnTo>
                    <a:pt x="408" y="558"/>
                  </a:lnTo>
                  <a:lnTo>
                    <a:pt x="402" y="564"/>
                  </a:lnTo>
                  <a:lnTo>
                    <a:pt x="384" y="564"/>
                  </a:lnTo>
                  <a:lnTo>
                    <a:pt x="372" y="564"/>
                  </a:lnTo>
                  <a:lnTo>
                    <a:pt x="372" y="576"/>
                  </a:lnTo>
                  <a:lnTo>
                    <a:pt x="366" y="576"/>
                  </a:lnTo>
                  <a:lnTo>
                    <a:pt x="366" y="582"/>
                  </a:lnTo>
                  <a:lnTo>
                    <a:pt x="360" y="582"/>
                  </a:lnTo>
                  <a:lnTo>
                    <a:pt x="348" y="576"/>
                  </a:lnTo>
                  <a:lnTo>
                    <a:pt x="336" y="570"/>
                  </a:lnTo>
                  <a:lnTo>
                    <a:pt x="324" y="570"/>
                  </a:lnTo>
                  <a:lnTo>
                    <a:pt x="300" y="564"/>
                  </a:lnTo>
                  <a:lnTo>
                    <a:pt x="282" y="564"/>
                  </a:lnTo>
                  <a:lnTo>
                    <a:pt x="270" y="570"/>
                  </a:lnTo>
                  <a:lnTo>
                    <a:pt x="264" y="576"/>
                  </a:lnTo>
                  <a:lnTo>
                    <a:pt x="258" y="576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34" y="594"/>
                  </a:lnTo>
                  <a:lnTo>
                    <a:pt x="228" y="600"/>
                  </a:lnTo>
                  <a:lnTo>
                    <a:pt x="210" y="618"/>
                  </a:lnTo>
                  <a:lnTo>
                    <a:pt x="210" y="624"/>
                  </a:lnTo>
                  <a:lnTo>
                    <a:pt x="192" y="630"/>
                  </a:lnTo>
                  <a:lnTo>
                    <a:pt x="186" y="630"/>
                  </a:lnTo>
                  <a:lnTo>
                    <a:pt x="180" y="636"/>
                  </a:lnTo>
                  <a:lnTo>
                    <a:pt x="174" y="642"/>
                  </a:lnTo>
                  <a:lnTo>
                    <a:pt x="168" y="642"/>
                  </a:lnTo>
                  <a:lnTo>
                    <a:pt x="168" y="654"/>
                  </a:lnTo>
                  <a:lnTo>
                    <a:pt x="168" y="678"/>
                  </a:lnTo>
                  <a:lnTo>
                    <a:pt x="162" y="684"/>
                  </a:lnTo>
                  <a:lnTo>
                    <a:pt x="156" y="684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72"/>
                  </a:lnTo>
                  <a:lnTo>
                    <a:pt x="138" y="672"/>
                  </a:lnTo>
                  <a:lnTo>
                    <a:pt x="138" y="666"/>
                  </a:lnTo>
                  <a:lnTo>
                    <a:pt x="132" y="660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48"/>
                  </a:lnTo>
                  <a:lnTo>
                    <a:pt x="102" y="654"/>
                  </a:lnTo>
                  <a:lnTo>
                    <a:pt x="90" y="654"/>
                  </a:lnTo>
                  <a:lnTo>
                    <a:pt x="84" y="654"/>
                  </a:lnTo>
                  <a:lnTo>
                    <a:pt x="72" y="660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36" y="684"/>
                  </a:lnTo>
                  <a:lnTo>
                    <a:pt x="30" y="6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7" name="Freeform 22">
              <a:extLst>
                <a:ext uri="{FF2B5EF4-FFF2-40B4-BE49-F238E27FC236}">
                  <a16:creationId xmlns:a16="http://schemas.microsoft.com/office/drawing/2014/main" id="{2F7A477D-6CF8-44B3-8B32-64EE03DC4D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2895" y="3967106"/>
              <a:ext cx="610479" cy="507686"/>
            </a:xfrm>
            <a:custGeom>
              <a:avLst/>
              <a:gdLst>
                <a:gd name="T0" fmla="*/ 87 w 1146"/>
                <a:gd name="T1" fmla="*/ 56 h 954"/>
                <a:gd name="T2" fmla="*/ 83 w 1146"/>
                <a:gd name="T3" fmla="*/ 66 h 954"/>
                <a:gd name="T4" fmla="*/ 74 w 1146"/>
                <a:gd name="T5" fmla="*/ 69 h 954"/>
                <a:gd name="T6" fmla="*/ 67 w 1146"/>
                <a:gd name="T7" fmla="*/ 75 h 954"/>
                <a:gd name="T8" fmla="*/ 59 w 1146"/>
                <a:gd name="T9" fmla="*/ 78 h 954"/>
                <a:gd name="T10" fmla="*/ 52 w 1146"/>
                <a:gd name="T11" fmla="*/ 77 h 954"/>
                <a:gd name="T12" fmla="*/ 48 w 1146"/>
                <a:gd name="T13" fmla="*/ 79 h 954"/>
                <a:gd name="T14" fmla="*/ 41 w 1146"/>
                <a:gd name="T15" fmla="*/ 82 h 954"/>
                <a:gd name="T16" fmla="*/ 29 w 1146"/>
                <a:gd name="T17" fmla="*/ 78 h 954"/>
                <a:gd name="T18" fmla="*/ 28 w 1146"/>
                <a:gd name="T19" fmla="*/ 76 h 954"/>
                <a:gd name="T20" fmla="*/ 28 w 1146"/>
                <a:gd name="T21" fmla="*/ 72 h 954"/>
                <a:gd name="T22" fmla="*/ 28 w 1146"/>
                <a:gd name="T23" fmla="*/ 74 h 954"/>
                <a:gd name="T24" fmla="*/ 21 w 1146"/>
                <a:gd name="T25" fmla="*/ 74 h 954"/>
                <a:gd name="T26" fmla="*/ 20 w 1146"/>
                <a:gd name="T27" fmla="*/ 67 h 954"/>
                <a:gd name="T28" fmla="*/ 23 w 1146"/>
                <a:gd name="T29" fmla="*/ 64 h 954"/>
                <a:gd name="T30" fmla="*/ 28 w 1146"/>
                <a:gd name="T31" fmla="*/ 65 h 954"/>
                <a:gd name="T32" fmla="*/ 32 w 1146"/>
                <a:gd name="T33" fmla="*/ 62 h 954"/>
                <a:gd name="T34" fmla="*/ 31 w 1146"/>
                <a:gd name="T35" fmla="*/ 56 h 954"/>
                <a:gd name="T36" fmla="*/ 36 w 1146"/>
                <a:gd name="T37" fmla="*/ 54 h 954"/>
                <a:gd name="T38" fmla="*/ 38 w 1146"/>
                <a:gd name="T39" fmla="*/ 54 h 954"/>
                <a:gd name="T40" fmla="*/ 32 w 1146"/>
                <a:gd name="T41" fmla="*/ 54 h 954"/>
                <a:gd name="T42" fmla="*/ 29 w 1146"/>
                <a:gd name="T43" fmla="*/ 59 h 954"/>
                <a:gd name="T44" fmla="*/ 26 w 1146"/>
                <a:gd name="T45" fmla="*/ 59 h 954"/>
                <a:gd name="T46" fmla="*/ 25 w 1146"/>
                <a:gd name="T47" fmla="*/ 61 h 954"/>
                <a:gd name="T48" fmla="*/ 20 w 1146"/>
                <a:gd name="T49" fmla="*/ 61 h 954"/>
                <a:gd name="T50" fmla="*/ 11 w 1146"/>
                <a:gd name="T51" fmla="*/ 54 h 954"/>
                <a:gd name="T52" fmla="*/ 14 w 1146"/>
                <a:gd name="T53" fmla="*/ 50 h 954"/>
                <a:gd name="T54" fmla="*/ 21 w 1146"/>
                <a:gd name="T55" fmla="*/ 51 h 954"/>
                <a:gd name="T56" fmla="*/ 24 w 1146"/>
                <a:gd name="T57" fmla="*/ 50 h 954"/>
                <a:gd name="T58" fmla="*/ 28 w 1146"/>
                <a:gd name="T59" fmla="*/ 48 h 954"/>
                <a:gd name="T60" fmla="*/ 30 w 1146"/>
                <a:gd name="T61" fmla="*/ 49 h 954"/>
                <a:gd name="T62" fmla="*/ 26 w 1146"/>
                <a:gd name="T63" fmla="*/ 47 h 954"/>
                <a:gd name="T64" fmla="*/ 20 w 1146"/>
                <a:gd name="T65" fmla="*/ 50 h 954"/>
                <a:gd name="T66" fmla="*/ 20 w 1146"/>
                <a:gd name="T67" fmla="*/ 44 h 954"/>
                <a:gd name="T68" fmla="*/ 19 w 1146"/>
                <a:gd name="T69" fmla="*/ 46 h 954"/>
                <a:gd name="T70" fmla="*/ 15 w 1146"/>
                <a:gd name="T71" fmla="*/ 49 h 954"/>
                <a:gd name="T72" fmla="*/ 8 w 1146"/>
                <a:gd name="T73" fmla="*/ 48 h 954"/>
                <a:gd name="T74" fmla="*/ 6 w 1146"/>
                <a:gd name="T75" fmla="*/ 41 h 954"/>
                <a:gd name="T76" fmla="*/ 10 w 1146"/>
                <a:gd name="T77" fmla="*/ 41 h 954"/>
                <a:gd name="T78" fmla="*/ 9 w 1146"/>
                <a:gd name="T79" fmla="*/ 39 h 954"/>
                <a:gd name="T80" fmla="*/ 14 w 1146"/>
                <a:gd name="T81" fmla="*/ 35 h 954"/>
                <a:gd name="T82" fmla="*/ 19 w 1146"/>
                <a:gd name="T83" fmla="*/ 32 h 954"/>
                <a:gd name="T84" fmla="*/ 20 w 1146"/>
                <a:gd name="T85" fmla="*/ 29 h 954"/>
                <a:gd name="T86" fmla="*/ 27 w 1146"/>
                <a:gd name="T87" fmla="*/ 27 h 954"/>
                <a:gd name="T88" fmla="*/ 33 w 1146"/>
                <a:gd name="T89" fmla="*/ 28 h 954"/>
                <a:gd name="T90" fmla="*/ 44 w 1146"/>
                <a:gd name="T91" fmla="*/ 27 h 954"/>
                <a:gd name="T92" fmla="*/ 52 w 1146"/>
                <a:gd name="T93" fmla="*/ 41 h 954"/>
                <a:gd name="T94" fmla="*/ 61 w 1146"/>
                <a:gd name="T95" fmla="*/ 40 h 954"/>
                <a:gd name="T96" fmla="*/ 69 w 1146"/>
                <a:gd name="T97" fmla="*/ 34 h 954"/>
                <a:gd name="T98" fmla="*/ 62 w 1146"/>
                <a:gd name="T99" fmla="*/ 12 h 954"/>
                <a:gd name="T100" fmla="*/ 74 w 1146"/>
                <a:gd name="T101" fmla="*/ 8 h 954"/>
                <a:gd name="T102" fmla="*/ 87 w 1146"/>
                <a:gd name="T103" fmla="*/ 1 h 954"/>
                <a:gd name="T104" fmla="*/ 99 w 1146"/>
                <a:gd name="T105" fmla="*/ 12 h 954"/>
                <a:gd name="T106" fmla="*/ 98 w 1146"/>
                <a:gd name="T107" fmla="*/ 27 h 954"/>
                <a:gd name="T108" fmla="*/ 16 w 1146"/>
                <a:gd name="T109" fmla="*/ 33 h 954"/>
                <a:gd name="T110" fmla="*/ 11 w 1146"/>
                <a:gd name="T111" fmla="*/ 36 h 954"/>
                <a:gd name="T112" fmla="*/ 5 w 1146"/>
                <a:gd name="T113" fmla="*/ 41 h 954"/>
                <a:gd name="T114" fmla="*/ 2 w 1146"/>
                <a:gd name="T115" fmla="*/ 36 h 954"/>
                <a:gd name="T116" fmla="*/ 5 w 1146"/>
                <a:gd name="T117" fmla="*/ 26 h 954"/>
                <a:gd name="T118" fmla="*/ 10 w 1146"/>
                <a:gd name="T119" fmla="*/ 20 h 954"/>
                <a:gd name="T120" fmla="*/ 13 w 1146"/>
                <a:gd name="T121" fmla="*/ 20 h 954"/>
                <a:gd name="T122" fmla="*/ 15 w 1146"/>
                <a:gd name="T123" fmla="*/ 27 h 95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46"/>
                <a:gd name="T187" fmla="*/ 0 h 954"/>
                <a:gd name="T188" fmla="*/ 1146 w 1146"/>
                <a:gd name="T189" fmla="*/ 954 h 95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46" h="954">
                  <a:moveTo>
                    <a:pt x="1056" y="498"/>
                  </a:moveTo>
                  <a:lnTo>
                    <a:pt x="1044" y="510"/>
                  </a:lnTo>
                  <a:lnTo>
                    <a:pt x="1032" y="516"/>
                  </a:lnTo>
                  <a:lnTo>
                    <a:pt x="1038" y="528"/>
                  </a:lnTo>
                  <a:lnTo>
                    <a:pt x="1050" y="540"/>
                  </a:lnTo>
                  <a:lnTo>
                    <a:pt x="1050" y="546"/>
                  </a:lnTo>
                  <a:lnTo>
                    <a:pt x="1050" y="564"/>
                  </a:lnTo>
                  <a:lnTo>
                    <a:pt x="1038" y="576"/>
                  </a:lnTo>
                  <a:lnTo>
                    <a:pt x="1032" y="588"/>
                  </a:lnTo>
                  <a:lnTo>
                    <a:pt x="1020" y="594"/>
                  </a:lnTo>
                  <a:lnTo>
                    <a:pt x="1008" y="594"/>
                  </a:lnTo>
                  <a:lnTo>
                    <a:pt x="1002" y="600"/>
                  </a:lnTo>
                  <a:lnTo>
                    <a:pt x="996" y="612"/>
                  </a:lnTo>
                  <a:lnTo>
                    <a:pt x="996" y="624"/>
                  </a:lnTo>
                  <a:lnTo>
                    <a:pt x="996" y="648"/>
                  </a:lnTo>
                  <a:lnTo>
                    <a:pt x="996" y="660"/>
                  </a:lnTo>
                  <a:lnTo>
                    <a:pt x="1002" y="672"/>
                  </a:lnTo>
                  <a:lnTo>
                    <a:pt x="1002" y="684"/>
                  </a:lnTo>
                  <a:lnTo>
                    <a:pt x="996" y="684"/>
                  </a:lnTo>
                  <a:lnTo>
                    <a:pt x="984" y="690"/>
                  </a:lnTo>
                  <a:lnTo>
                    <a:pt x="972" y="690"/>
                  </a:lnTo>
                  <a:lnTo>
                    <a:pt x="966" y="696"/>
                  </a:lnTo>
                  <a:lnTo>
                    <a:pt x="966" y="702"/>
                  </a:lnTo>
                  <a:lnTo>
                    <a:pt x="966" y="714"/>
                  </a:lnTo>
                  <a:lnTo>
                    <a:pt x="972" y="726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2" y="756"/>
                  </a:lnTo>
                  <a:lnTo>
                    <a:pt x="966" y="756"/>
                  </a:lnTo>
                  <a:lnTo>
                    <a:pt x="942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18" y="768"/>
                  </a:lnTo>
                  <a:lnTo>
                    <a:pt x="906" y="768"/>
                  </a:lnTo>
                  <a:lnTo>
                    <a:pt x="894" y="762"/>
                  </a:lnTo>
                  <a:lnTo>
                    <a:pt x="882" y="756"/>
                  </a:lnTo>
                  <a:lnTo>
                    <a:pt x="876" y="756"/>
                  </a:lnTo>
                  <a:lnTo>
                    <a:pt x="876" y="762"/>
                  </a:lnTo>
                  <a:lnTo>
                    <a:pt x="864" y="768"/>
                  </a:lnTo>
                  <a:lnTo>
                    <a:pt x="858" y="774"/>
                  </a:lnTo>
                  <a:lnTo>
                    <a:pt x="852" y="774"/>
                  </a:lnTo>
                  <a:lnTo>
                    <a:pt x="840" y="780"/>
                  </a:lnTo>
                  <a:lnTo>
                    <a:pt x="840" y="786"/>
                  </a:lnTo>
                  <a:lnTo>
                    <a:pt x="840" y="792"/>
                  </a:lnTo>
                  <a:lnTo>
                    <a:pt x="840" y="804"/>
                  </a:lnTo>
                  <a:lnTo>
                    <a:pt x="840" y="810"/>
                  </a:lnTo>
                  <a:lnTo>
                    <a:pt x="828" y="816"/>
                  </a:lnTo>
                  <a:lnTo>
                    <a:pt x="810" y="810"/>
                  </a:lnTo>
                  <a:lnTo>
                    <a:pt x="792" y="810"/>
                  </a:lnTo>
                  <a:lnTo>
                    <a:pt x="786" y="816"/>
                  </a:lnTo>
                  <a:lnTo>
                    <a:pt x="780" y="816"/>
                  </a:lnTo>
                  <a:lnTo>
                    <a:pt x="780" y="822"/>
                  </a:lnTo>
                  <a:lnTo>
                    <a:pt x="780" y="828"/>
                  </a:lnTo>
                  <a:lnTo>
                    <a:pt x="780" y="834"/>
                  </a:lnTo>
                  <a:lnTo>
                    <a:pt x="786" y="840"/>
                  </a:lnTo>
                  <a:lnTo>
                    <a:pt x="786" y="846"/>
                  </a:lnTo>
                  <a:lnTo>
                    <a:pt x="786" y="852"/>
                  </a:lnTo>
                  <a:lnTo>
                    <a:pt x="780" y="858"/>
                  </a:lnTo>
                  <a:lnTo>
                    <a:pt x="768" y="858"/>
                  </a:lnTo>
                  <a:lnTo>
                    <a:pt x="762" y="864"/>
                  </a:lnTo>
                  <a:lnTo>
                    <a:pt x="756" y="864"/>
                  </a:lnTo>
                  <a:lnTo>
                    <a:pt x="750" y="870"/>
                  </a:lnTo>
                  <a:lnTo>
                    <a:pt x="744" y="876"/>
                  </a:lnTo>
                  <a:lnTo>
                    <a:pt x="732" y="876"/>
                  </a:lnTo>
                  <a:lnTo>
                    <a:pt x="726" y="876"/>
                  </a:lnTo>
                  <a:lnTo>
                    <a:pt x="720" y="870"/>
                  </a:lnTo>
                  <a:lnTo>
                    <a:pt x="714" y="864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6" y="876"/>
                  </a:lnTo>
                  <a:lnTo>
                    <a:pt x="696" y="882"/>
                  </a:lnTo>
                  <a:lnTo>
                    <a:pt x="696" y="894"/>
                  </a:lnTo>
                  <a:lnTo>
                    <a:pt x="690" y="900"/>
                  </a:lnTo>
                  <a:lnTo>
                    <a:pt x="684" y="900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54" y="888"/>
                  </a:lnTo>
                  <a:lnTo>
                    <a:pt x="654" y="882"/>
                  </a:lnTo>
                  <a:lnTo>
                    <a:pt x="642" y="876"/>
                  </a:lnTo>
                  <a:lnTo>
                    <a:pt x="636" y="876"/>
                  </a:lnTo>
                  <a:lnTo>
                    <a:pt x="630" y="876"/>
                  </a:lnTo>
                  <a:lnTo>
                    <a:pt x="630" y="870"/>
                  </a:lnTo>
                  <a:lnTo>
                    <a:pt x="618" y="858"/>
                  </a:lnTo>
                  <a:lnTo>
                    <a:pt x="612" y="858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06" y="876"/>
                  </a:lnTo>
                  <a:lnTo>
                    <a:pt x="606" y="882"/>
                  </a:lnTo>
                  <a:lnTo>
                    <a:pt x="606" y="888"/>
                  </a:lnTo>
                  <a:lnTo>
                    <a:pt x="600" y="894"/>
                  </a:lnTo>
                  <a:lnTo>
                    <a:pt x="594" y="894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76" y="894"/>
                  </a:lnTo>
                  <a:lnTo>
                    <a:pt x="582" y="900"/>
                  </a:lnTo>
                  <a:lnTo>
                    <a:pt x="576" y="906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64" y="918"/>
                  </a:lnTo>
                  <a:lnTo>
                    <a:pt x="558" y="918"/>
                  </a:lnTo>
                  <a:lnTo>
                    <a:pt x="558" y="912"/>
                  </a:lnTo>
                  <a:lnTo>
                    <a:pt x="552" y="906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06"/>
                  </a:lnTo>
                  <a:lnTo>
                    <a:pt x="534" y="906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0" y="924"/>
                  </a:lnTo>
                  <a:lnTo>
                    <a:pt x="504" y="924"/>
                  </a:lnTo>
                  <a:lnTo>
                    <a:pt x="498" y="930"/>
                  </a:lnTo>
                  <a:lnTo>
                    <a:pt x="492" y="924"/>
                  </a:lnTo>
                  <a:lnTo>
                    <a:pt x="486" y="930"/>
                  </a:lnTo>
                  <a:lnTo>
                    <a:pt x="480" y="942"/>
                  </a:lnTo>
                  <a:lnTo>
                    <a:pt x="468" y="948"/>
                  </a:lnTo>
                  <a:lnTo>
                    <a:pt x="444" y="942"/>
                  </a:lnTo>
                  <a:lnTo>
                    <a:pt x="438" y="954"/>
                  </a:lnTo>
                  <a:lnTo>
                    <a:pt x="426" y="954"/>
                  </a:lnTo>
                  <a:lnTo>
                    <a:pt x="420" y="948"/>
                  </a:lnTo>
                  <a:lnTo>
                    <a:pt x="408" y="936"/>
                  </a:lnTo>
                  <a:lnTo>
                    <a:pt x="396" y="936"/>
                  </a:lnTo>
                  <a:lnTo>
                    <a:pt x="390" y="930"/>
                  </a:lnTo>
                  <a:lnTo>
                    <a:pt x="390" y="924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66" y="924"/>
                  </a:lnTo>
                  <a:lnTo>
                    <a:pt x="360" y="924"/>
                  </a:lnTo>
                  <a:lnTo>
                    <a:pt x="348" y="918"/>
                  </a:lnTo>
                  <a:lnTo>
                    <a:pt x="342" y="906"/>
                  </a:lnTo>
                  <a:lnTo>
                    <a:pt x="336" y="906"/>
                  </a:lnTo>
                  <a:lnTo>
                    <a:pt x="330" y="906"/>
                  </a:lnTo>
                  <a:lnTo>
                    <a:pt x="312" y="906"/>
                  </a:lnTo>
                  <a:lnTo>
                    <a:pt x="312" y="900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888"/>
                  </a:lnTo>
                  <a:lnTo>
                    <a:pt x="312" y="882"/>
                  </a:lnTo>
                  <a:lnTo>
                    <a:pt x="306" y="876"/>
                  </a:lnTo>
                  <a:lnTo>
                    <a:pt x="312" y="876"/>
                  </a:lnTo>
                  <a:lnTo>
                    <a:pt x="312" y="870"/>
                  </a:lnTo>
                  <a:lnTo>
                    <a:pt x="318" y="876"/>
                  </a:lnTo>
                  <a:lnTo>
                    <a:pt x="318" y="870"/>
                  </a:lnTo>
                  <a:lnTo>
                    <a:pt x="324" y="876"/>
                  </a:lnTo>
                  <a:lnTo>
                    <a:pt x="330" y="876"/>
                  </a:lnTo>
                  <a:lnTo>
                    <a:pt x="336" y="876"/>
                  </a:lnTo>
                  <a:lnTo>
                    <a:pt x="342" y="876"/>
                  </a:lnTo>
                  <a:lnTo>
                    <a:pt x="336" y="876"/>
                  </a:lnTo>
                  <a:lnTo>
                    <a:pt x="330" y="870"/>
                  </a:lnTo>
                  <a:lnTo>
                    <a:pt x="324" y="870"/>
                  </a:lnTo>
                  <a:lnTo>
                    <a:pt x="318" y="870"/>
                  </a:lnTo>
                  <a:lnTo>
                    <a:pt x="312" y="870"/>
                  </a:lnTo>
                  <a:lnTo>
                    <a:pt x="318" y="864"/>
                  </a:lnTo>
                  <a:lnTo>
                    <a:pt x="318" y="858"/>
                  </a:lnTo>
                  <a:lnTo>
                    <a:pt x="318" y="852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6" y="846"/>
                  </a:lnTo>
                  <a:lnTo>
                    <a:pt x="312" y="828"/>
                  </a:lnTo>
                  <a:lnTo>
                    <a:pt x="312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06" y="816"/>
                  </a:lnTo>
                  <a:lnTo>
                    <a:pt x="306" y="810"/>
                  </a:lnTo>
                  <a:lnTo>
                    <a:pt x="306" y="816"/>
                  </a:lnTo>
                  <a:lnTo>
                    <a:pt x="312" y="822"/>
                  </a:lnTo>
                  <a:lnTo>
                    <a:pt x="306" y="822"/>
                  </a:lnTo>
                  <a:lnTo>
                    <a:pt x="306" y="828"/>
                  </a:lnTo>
                  <a:lnTo>
                    <a:pt x="306" y="834"/>
                  </a:lnTo>
                  <a:lnTo>
                    <a:pt x="300" y="840"/>
                  </a:lnTo>
                  <a:lnTo>
                    <a:pt x="300" y="846"/>
                  </a:lnTo>
                  <a:lnTo>
                    <a:pt x="306" y="852"/>
                  </a:lnTo>
                  <a:lnTo>
                    <a:pt x="306" y="858"/>
                  </a:lnTo>
                  <a:lnTo>
                    <a:pt x="312" y="858"/>
                  </a:lnTo>
                  <a:lnTo>
                    <a:pt x="312" y="864"/>
                  </a:lnTo>
                  <a:lnTo>
                    <a:pt x="306" y="864"/>
                  </a:lnTo>
                  <a:lnTo>
                    <a:pt x="300" y="864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82" y="870"/>
                  </a:lnTo>
                  <a:lnTo>
                    <a:pt x="276" y="870"/>
                  </a:lnTo>
                  <a:lnTo>
                    <a:pt x="270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8" y="870"/>
                  </a:lnTo>
                  <a:lnTo>
                    <a:pt x="252" y="870"/>
                  </a:lnTo>
                  <a:lnTo>
                    <a:pt x="252" y="864"/>
                  </a:lnTo>
                  <a:lnTo>
                    <a:pt x="246" y="858"/>
                  </a:lnTo>
                  <a:lnTo>
                    <a:pt x="246" y="852"/>
                  </a:lnTo>
                  <a:lnTo>
                    <a:pt x="246" y="846"/>
                  </a:lnTo>
                  <a:lnTo>
                    <a:pt x="246" y="840"/>
                  </a:lnTo>
                  <a:lnTo>
                    <a:pt x="246" y="834"/>
                  </a:lnTo>
                  <a:lnTo>
                    <a:pt x="246" y="828"/>
                  </a:lnTo>
                  <a:lnTo>
                    <a:pt x="246" y="822"/>
                  </a:lnTo>
                  <a:lnTo>
                    <a:pt x="240" y="816"/>
                  </a:lnTo>
                  <a:lnTo>
                    <a:pt x="240" y="810"/>
                  </a:lnTo>
                  <a:lnTo>
                    <a:pt x="240" y="804"/>
                  </a:lnTo>
                  <a:lnTo>
                    <a:pt x="240" y="798"/>
                  </a:lnTo>
                  <a:lnTo>
                    <a:pt x="234" y="798"/>
                  </a:lnTo>
                  <a:lnTo>
                    <a:pt x="234" y="792"/>
                  </a:lnTo>
                  <a:lnTo>
                    <a:pt x="234" y="786"/>
                  </a:lnTo>
                  <a:lnTo>
                    <a:pt x="234" y="780"/>
                  </a:lnTo>
                  <a:lnTo>
                    <a:pt x="228" y="780"/>
                  </a:lnTo>
                  <a:lnTo>
                    <a:pt x="228" y="774"/>
                  </a:lnTo>
                  <a:lnTo>
                    <a:pt x="228" y="768"/>
                  </a:lnTo>
                  <a:lnTo>
                    <a:pt x="222" y="762"/>
                  </a:lnTo>
                  <a:lnTo>
                    <a:pt x="222" y="756"/>
                  </a:lnTo>
                  <a:lnTo>
                    <a:pt x="222" y="750"/>
                  </a:lnTo>
                  <a:lnTo>
                    <a:pt x="222" y="744"/>
                  </a:lnTo>
                  <a:lnTo>
                    <a:pt x="222" y="738"/>
                  </a:lnTo>
                  <a:lnTo>
                    <a:pt x="216" y="732"/>
                  </a:lnTo>
                  <a:lnTo>
                    <a:pt x="222" y="732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32"/>
                  </a:lnTo>
                  <a:lnTo>
                    <a:pt x="246" y="732"/>
                  </a:lnTo>
                  <a:lnTo>
                    <a:pt x="246" y="738"/>
                  </a:lnTo>
                  <a:lnTo>
                    <a:pt x="252" y="738"/>
                  </a:lnTo>
                  <a:lnTo>
                    <a:pt x="258" y="738"/>
                  </a:lnTo>
                  <a:lnTo>
                    <a:pt x="258" y="732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8" y="732"/>
                  </a:lnTo>
                  <a:lnTo>
                    <a:pt x="294" y="732"/>
                  </a:lnTo>
                  <a:lnTo>
                    <a:pt x="300" y="732"/>
                  </a:lnTo>
                  <a:lnTo>
                    <a:pt x="300" y="738"/>
                  </a:lnTo>
                  <a:lnTo>
                    <a:pt x="306" y="738"/>
                  </a:lnTo>
                  <a:lnTo>
                    <a:pt x="306" y="744"/>
                  </a:lnTo>
                  <a:lnTo>
                    <a:pt x="306" y="750"/>
                  </a:lnTo>
                  <a:lnTo>
                    <a:pt x="312" y="750"/>
                  </a:lnTo>
                  <a:lnTo>
                    <a:pt x="312" y="756"/>
                  </a:lnTo>
                  <a:lnTo>
                    <a:pt x="318" y="756"/>
                  </a:lnTo>
                  <a:lnTo>
                    <a:pt x="318" y="750"/>
                  </a:lnTo>
                  <a:lnTo>
                    <a:pt x="312" y="750"/>
                  </a:lnTo>
                  <a:lnTo>
                    <a:pt x="312" y="744"/>
                  </a:lnTo>
                  <a:lnTo>
                    <a:pt x="318" y="738"/>
                  </a:lnTo>
                  <a:lnTo>
                    <a:pt x="324" y="738"/>
                  </a:lnTo>
                  <a:lnTo>
                    <a:pt x="330" y="738"/>
                  </a:lnTo>
                  <a:lnTo>
                    <a:pt x="336" y="738"/>
                  </a:lnTo>
                  <a:lnTo>
                    <a:pt x="342" y="738"/>
                  </a:lnTo>
                  <a:lnTo>
                    <a:pt x="348" y="732"/>
                  </a:lnTo>
                  <a:lnTo>
                    <a:pt x="354" y="732"/>
                  </a:lnTo>
                  <a:lnTo>
                    <a:pt x="360" y="732"/>
                  </a:lnTo>
                  <a:lnTo>
                    <a:pt x="360" y="726"/>
                  </a:lnTo>
                  <a:lnTo>
                    <a:pt x="366" y="726"/>
                  </a:lnTo>
                  <a:lnTo>
                    <a:pt x="366" y="720"/>
                  </a:lnTo>
                  <a:lnTo>
                    <a:pt x="366" y="714"/>
                  </a:lnTo>
                  <a:lnTo>
                    <a:pt x="360" y="708"/>
                  </a:lnTo>
                  <a:lnTo>
                    <a:pt x="354" y="708"/>
                  </a:lnTo>
                  <a:lnTo>
                    <a:pt x="348" y="702"/>
                  </a:lnTo>
                  <a:lnTo>
                    <a:pt x="354" y="702"/>
                  </a:lnTo>
                  <a:lnTo>
                    <a:pt x="354" y="696"/>
                  </a:lnTo>
                  <a:lnTo>
                    <a:pt x="348" y="696"/>
                  </a:lnTo>
                  <a:lnTo>
                    <a:pt x="348" y="690"/>
                  </a:lnTo>
                  <a:lnTo>
                    <a:pt x="342" y="690"/>
                  </a:lnTo>
                  <a:lnTo>
                    <a:pt x="342" y="684"/>
                  </a:lnTo>
                  <a:lnTo>
                    <a:pt x="342" y="678"/>
                  </a:lnTo>
                  <a:lnTo>
                    <a:pt x="342" y="666"/>
                  </a:lnTo>
                  <a:lnTo>
                    <a:pt x="342" y="660"/>
                  </a:lnTo>
                  <a:lnTo>
                    <a:pt x="348" y="654"/>
                  </a:lnTo>
                  <a:lnTo>
                    <a:pt x="348" y="642"/>
                  </a:lnTo>
                  <a:lnTo>
                    <a:pt x="354" y="642"/>
                  </a:lnTo>
                  <a:lnTo>
                    <a:pt x="360" y="642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66" y="642"/>
                  </a:lnTo>
                  <a:lnTo>
                    <a:pt x="372" y="642"/>
                  </a:lnTo>
                  <a:lnTo>
                    <a:pt x="378" y="642"/>
                  </a:lnTo>
                  <a:lnTo>
                    <a:pt x="384" y="642"/>
                  </a:lnTo>
                  <a:lnTo>
                    <a:pt x="390" y="642"/>
                  </a:lnTo>
                  <a:lnTo>
                    <a:pt x="396" y="642"/>
                  </a:lnTo>
                  <a:lnTo>
                    <a:pt x="396" y="636"/>
                  </a:lnTo>
                  <a:lnTo>
                    <a:pt x="402" y="636"/>
                  </a:lnTo>
                  <a:lnTo>
                    <a:pt x="408" y="636"/>
                  </a:lnTo>
                  <a:lnTo>
                    <a:pt x="402" y="636"/>
                  </a:lnTo>
                  <a:lnTo>
                    <a:pt x="402" y="630"/>
                  </a:lnTo>
                  <a:lnTo>
                    <a:pt x="408" y="630"/>
                  </a:lnTo>
                  <a:lnTo>
                    <a:pt x="408" y="624"/>
                  </a:lnTo>
                  <a:lnTo>
                    <a:pt x="408" y="618"/>
                  </a:lnTo>
                  <a:lnTo>
                    <a:pt x="414" y="618"/>
                  </a:lnTo>
                  <a:lnTo>
                    <a:pt x="420" y="618"/>
                  </a:lnTo>
                  <a:lnTo>
                    <a:pt x="426" y="624"/>
                  </a:lnTo>
                  <a:lnTo>
                    <a:pt x="432" y="624"/>
                  </a:lnTo>
                  <a:lnTo>
                    <a:pt x="438" y="624"/>
                  </a:lnTo>
                  <a:lnTo>
                    <a:pt x="438" y="618"/>
                  </a:lnTo>
                  <a:lnTo>
                    <a:pt x="444" y="618"/>
                  </a:lnTo>
                  <a:lnTo>
                    <a:pt x="450" y="618"/>
                  </a:lnTo>
                  <a:lnTo>
                    <a:pt x="444" y="618"/>
                  </a:lnTo>
                  <a:lnTo>
                    <a:pt x="438" y="618"/>
                  </a:lnTo>
                  <a:lnTo>
                    <a:pt x="438" y="612"/>
                  </a:lnTo>
                  <a:lnTo>
                    <a:pt x="438" y="618"/>
                  </a:lnTo>
                  <a:lnTo>
                    <a:pt x="432" y="624"/>
                  </a:lnTo>
                  <a:lnTo>
                    <a:pt x="426" y="618"/>
                  </a:lnTo>
                  <a:lnTo>
                    <a:pt x="420" y="612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402" y="624"/>
                  </a:lnTo>
                  <a:lnTo>
                    <a:pt x="396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78" y="630"/>
                  </a:lnTo>
                  <a:lnTo>
                    <a:pt x="378" y="636"/>
                  </a:lnTo>
                  <a:lnTo>
                    <a:pt x="372" y="630"/>
                  </a:lnTo>
                  <a:lnTo>
                    <a:pt x="366" y="630"/>
                  </a:lnTo>
                  <a:lnTo>
                    <a:pt x="360" y="630"/>
                  </a:lnTo>
                  <a:lnTo>
                    <a:pt x="354" y="630"/>
                  </a:lnTo>
                  <a:lnTo>
                    <a:pt x="354" y="636"/>
                  </a:lnTo>
                  <a:lnTo>
                    <a:pt x="348" y="636"/>
                  </a:lnTo>
                  <a:lnTo>
                    <a:pt x="348" y="642"/>
                  </a:lnTo>
                  <a:lnTo>
                    <a:pt x="342" y="642"/>
                  </a:lnTo>
                  <a:lnTo>
                    <a:pt x="342" y="648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6" y="660"/>
                  </a:lnTo>
                  <a:lnTo>
                    <a:pt x="336" y="666"/>
                  </a:lnTo>
                  <a:lnTo>
                    <a:pt x="330" y="672"/>
                  </a:lnTo>
                  <a:lnTo>
                    <a:pt x="330" y="678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24" y="696"/>
                  </a:lnTo>
                  <a:lnTo>
                    <a:pt x="324" y="702"/>
                  </a:lnTo>
                  <a:lnTo>
                    <a:pt x="318" y="702"/>
                  </a:lnTo>
                  <a:lnTo>
                    <a:pt x="318" y="708"/>
                  </a:lnTo>
                  <a:lnTo>
                    <a:pt x="312" y="708"/>
                  </a:lnTo>
                  <a:lnTo>
                    <a:pt x="312" y="702"/>
                  </a:lnTo>
                  <a:lnTo>
                    <a:pt x="306" y="702"/>
                  </a:lnTo>
                  <a:lnTo>
                    <a:pt x="300" y="702"/>
                  </a:lnTo>
                  <a:lnTo>
                    <a:pt x="294" y="696"/>
                  </a:lnTo>
                  <a:lnTo>
                    <a:pt x="288" y="696"/>
                  </a:lnTo>
                  <a:lnTo>
                    <a:pt x="282" y="690"/>
                  </a:lnTo>
                  <a:lnTo>
                    <a:pt x="288" y="684"/>
                  </a:lnTo>
                  <a:lnTo>
                    <a:pt x="294" y="684"/>
                  </a:lnTo>
                  <a:lnTo>
                    <a:pt x="294" y="678"/>
                  </a:lnTo>
                  <a:lnTo>
                    <a:pt x="300" y="678"/>
                  </a:lnTo>
                  <a:lnTo>
                    <a:pt x="294" y="678"/>
                  </a:lnTo>
                  <a:lnTo>
                    <a:pt x="294" y="672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94" y="672"/>
                  </a:lnTo>
                  <a:lnTo>
                    <a:pt x="288" y="678"/>
                  </a:lnTo>
                  <a:lnTo>
                    <a:pt x="282" y="684"/>
                  </a:lnTo>
                  <a:lnTo>
                    <a:pt x="282" y="678"/>
                  </a:lnTo>
                  <a:lnTo>
                    <a:pt x="276" y="678"/>
                  </a:lnTo>
                  <a:lnTo>
                    <a:pt x="282" y="684"/>
                  </a:lnTo>
                  <a:lnTo>
                    <a:pt x="282" y="690"/>
                  </a:lnTo>
                  <a:lnTo>
                    <a:pt x="282" y="696"/>
                  </a:lnTo>
                  <a:lnTo>
                    <a:pt x="288" y="702"/>
                  </a:lnTo>
                  <a:lnTo>
                    <a:pt x="294" y="708"/>
                  </a:lnTo>
                  <a:lnTo>
                    <a:pt x="294" y="714"/>
                  </a:lnTo>
                  <a:lnTo>
                    <a:pt x="288" y="714"/>
                  </a:lnTo>
                  <a:lnTo>
                    <a:pt x="282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64" y="714"/>
                  </a:lnTo>
                  <a:lnTo>
                    <a:pt x="258" y="714"/>
                  </a:lnTo>
                  <a:lnTo>
                    <a:pt x="252" y="714"/>
                  </a:lnTo>
                  <a:lnTo>
                    <a:pt x="246" y="714"/>
                  </a:lnTo>
                  <a:lnTo>
                    <a:pt x="240" y="714"/>
                  </a:lnTo>
                  <a:lnTo>
                    <a:pt x="240" y="708"/>
                  </a:lnTo>
                  <a:lnTo>
                    <a:pt x="234" y="708"/>
                  </a:lnTo>
                  <a:lnTo>
                    <a:pt x="228" y="708"/>
                  </a:lnTo>
                  <a:lnTo>
                    <a:pt x="222" y="702"/>
                  </a:lnTo>
                  <a:lnTo>
                    <a:pt x="216" y="702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2" y="690"/>
                  </a:lnTo>
                  <a:lnTo>
                    <a:pt x="186" y="690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68" y="684"/>
                  </a:lnTo>
                  <a:lnTo>
                    <a:pt x="168" y="678"/>
                  </a:lnTo>
                  <a:lnTo>
                    <a:pt x="156" y="672"/>
                  </a:lnTo>
                  <a:lnTo>
                    <a:pt x="150" y="660"/>
                  </a:lnTo>
                  <a:lnTo>
                    <a:pt x="126" y="630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12"/>
                  </a:lnTo>
                  <a:lnTo>
                    <a:pt x="126" y="606"/>
                  </a:lnTo>
                  <a:lnTo>
                    <a:pt x="126" y="600"/>
                  </a:lnTo>
                  <a:lnTo>
                    <a:pt x="132" y="594"/>
                  </a:lnTo>
                  <a:lnTo>
                    <a:pt x="138" y="594"/>
                  </a:lnTo>
                  <a:lnTo>
                    <a:pt x="144" y="588"/>
                  </a:lnTo>
                  <a:lnTo>
                    <a:pt x="144" y="582"/>
                  </a:lnTo>
                  <a:lnTo>
                    <a:pt x="150" y="582"/>
                  </a:lnTo>
                  <a:lnTo>
                    <a:pt x="150" y="576"/>
                  </a:lnTo>
                  <a:lnTo>
                    <a:pt x="156" y="576"/>
                  </a:lnTo>
                  <a:lnTo>
                    <a:pt x="156" y="582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8" y="576"/>
                  </a:lnTo>
                  <a:lnTo>
                    <a:pt x="174" y="576"/>
                  </a:lnTo>
                  <a:lnTo>
                    <a:pt x="180" y="582"/>
                  </a:lnTo>
                  <a:lnTo>
                    <a:pt x="192" y="582"/>
                  </a:lnTo>
                  <a:lnTo>
                    <a:pt x="198" y="582"/>
                  </a:lnTo>
                  <a:lnTo>
                    <a:pt x="204" y="582"/>
                  </a:lnTo>
                  <a:lnTo>
                    <a:pt x="210" y="582"/>
                  </a:lnTo>
                  <a:lnTo>
                    <a:pt x="216" y="588"/>
                  </a:lnTo>
                  <a:lnTo>
                    <a:pt x="222" y="588"/>
                  </a:lnTo>
                  <a:lnTo>
                    <a:pt x="234" y="588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46" y="594"/>
                  </a:lnTo>
                  <a:lnTo>
                    <a:pt x="252" y="588"/>
                  </a:lnTo>
                  <a:lnTo>
                    <a:pt x="258" y="588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52" y="600"/>
                  </a:lnTo>
                  <a:lnTo>
                    <a:pt x="246" y="600"/>
                  </a:lnTo>
                  <a:lnTo>
                    <a:pt x="246" y="606"/>
                  </a:lnTo>
                  <a:lnTo>
                    <a:pt x="246" y="600"/>
                  </a:lnTo>
                  <a:lnTo>
                    <a:pt x="252" y="600"/>
                  </a:lnTo>
                  <a:lnTo>
                    <a:pt x="258" y="594"/>
                  </a:lnTo>
                  <a:lnTo>
                    <a:pt x="264" y="594"/>
                  </a:lnTo>
                  <a:lnTo>
                    <a:pt x="264" y="588"/>
                  </a:lnTo>
                  <a:lnTo>
                    <a:pt x="270" y="588"/>
                  </a:lnTo>
                  <a:lnTo>
                    <a:pt x="270" y="582"/>
                  </a:lnTo>
                  <a:lnTo>
                    <a:pt x="270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76" y="564"/>
                  </a:lnTo>
                  <a:lnTo>
                    <a:pt x="270" y="558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58"/>
                  </a:lnTo>
                  <a:lnTo>
                    <a:pt x="282" y="558"/>
                  </a:lnTo>
                  <a:lnTo>
                    <a:pt x="288" y="558"/>
                  </a:lnTo>
                  <a:lnTo>
                    <a:pt x="294" y="558"/>
                  </a:lnTo>
                  <a:lnTo>
                    <a:pt x="300" y="558"/>
                  </a:lnTo>
                  <a:lnTo>
                    <a:pt x="306" y="558"/>
                  </a:lnTo>
                  <a:lnTo>
                    <a:pt x="312" y="558"/>
                  </a:lnTo>
                  <a:lnTo>
                    <a:pt x="318" y="558"/>
                  </a:lnTo>
                  <a:lnTo>
                    <a:pt x="318" y="564"/>
                  </a:lnTo>
                  <a:lnTo>
                    <a:pt x="324" y="564"/>
                  </a:lnTo>
                  <a:lnTo>
                    <a:pt x="324" y="570"/>
                  </a:lnTo>
                  <a:lnTo>
                    <a:pt x="330" y="570"/>
                  </a:lnTo>
                  <a:lnTo>
                    <a:pt x="336" y="570"/>
                  </a:lnTo>
                  <a:lnTo>
                    <a:pt x="342" y="570"/>
                  </a:lnTo>
                  <a:lnTo>
                    <a:pt x="348" y="570"/>
                  </a:lnTo>
                  <a:lnTo>
                    <a:pt x="354" y="570"/>
                  </a:lnTo>
                  <a:lnTo>
                    <a:pt x="360" y="570"/>
                  </a:lnTo>
                  <a:lnTo>
                    <a:pt x="366" y="570"/>
                  </a:lnTo>
                  <a:lnTo>
                    <a:pt x="360" y="570"/>
                  </a:lnTo>
                  <a:lnTo>
                    <a:pt x="360" y="564"/>
                  </a:lnTo>
                  <a:lnTo>
                    <a:pt x="354" y="564"/>
                  </a:lnTo>
                  <a:lnTo>
                    <a:pt x="348" y="564"/>
                  </a:lnTo>
                  <a:lnTo>
                    <a:pt x="342" y="564"/>
                  </a:lnTo>
                  <a:lnTo>
                    <a:pt x="342" y="570"/>
                  </a:lnTo>
                  <a:lnTo>
                    <a:pt x="336" y="564"/>
                  </a:lnTo>
                  <a:lnTo>
                    <a:pt x="336" y="570"/>
                  </a:lnTo>
                  <a:lnTo>
                    <a:pt x="336" y="564"/>
                  </a:lnTo>
                  <a:lnTo>
                    <a:pt x="330" y="564"/>
                  </a:lnTo>
                  <a:lnTo>
                    <a:pt x="324" y="558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18" y="558"/>
                  </a:lnTo>
                  <a:lnTo>
                    <a:pt x="312" y="552"/>
                  </a:lnTo>
                  <a:lnTo>
                    <a:pt x="312" y="558"/>
                  </a:lnTo>
                  <a:lnTo>
                    <a:pt x="312" y="552"/>
                  </a:lnTo>
                  <a:lnTo>
                    <a:pt x="306" y="552"/>
                  </a:lnTo>
                  <a:lnTo>
                    <a:pt x="300" y="546"/>
                  </a:lnTo>
                  <a:lnTo>
                    <a:pt x="294" y="546"/>
                  </a:lnTo>
                  <a:lnTo>
                    <a:pt x="288" y="546"/>
                  </a:lnTo>
                  <a:lnTo>
                    <a:pt x="282" y="546"/>
                  </a:lnTo>
                  <a:lnTo>
                    <a:pt x="276" y="546"/>
                  </a:lnTo>
                  <a:lnTo>
                    <a:pt x="276" y="552"/>
                  </a:lnTo>
                  <a:lnTo>
                    <a:pt x="270" y="552"/>
                  </a:lnTo>
                  <a:lnTo>
                    <a:pt x="270" y="558"/>
                  </a:lnTo>
                  <a:lnTo>
                    <a:pt x="270" y="564"/>
                  </a:lnTo>
                  <a:lnTo>
                    <a:pt x="264" y="570"/>
                  </a:lnTo>
                  <a:lnTo>
                    <a:pt x="258" y="576"/>
                  </a:lnTo>
                  <a:lnTo>
                    <a:pt x="258" y="582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34" y="576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16" y="552"/>
                  </a:lnTo>
                  <a:lnTo>
                    <a:pt x="216" y="546"/>
                  </a:lnTo>
                  <a:lnTo>
                    <a:pt x="216" y="540"/>
                  </a:lnTo>
                  <a:lnTo>
                    <a:pt x="222" y="534"/>
                  </a:lnTo>
                  <a:lnTo>
                    <a:pt x="222" y="528"/>
                  </a:lnTo>
                  <a:lnTo>
                    <a:pt x="228" y="522"/>
                  </a:lnTo>
                  <a:lnTo>
                    <a:pt x="228" y="516"/>
                  </a:lnTo>
                  <a:lnTo>
                    <a:pt x="228" y="510"/>
                  </a:lnTo>
                  <a:lnTo>
                    <a:pt x="234" y="510"/>
                  </a:lnTo>
                  <a:lnTo>
                    <a:pt x="240" y="516"/>
                  </a:lnTo>
                  <a:lnTo>
                    <a:pt x="246" y="522"/>
                  </a:lnTo>
                  <a:lnTo>
                    <a:pt x="246" y="516"/>
                  </a:lnTo>
                  <a:lnTo>
                    <a:pt x="240" y="516"/>
                  </a:lnTo>
                  <a:lnTo>
                    <a:pt x="240" y="510"/>
                  </a:lnTo>
                  <a:lnTo>
                    <a:pt x="234" y="510"/>
                  </a:lnTo>
                  <a:lnTo>
                    <a:pt x="234" y="504"/>
                  </a:lnTo>
                  <a:lnTo>
                    <a:pt x="228" y="504"/>
                  </a:lnTo>
                  <a:lnTo>
                    <a:pt x="222" y="504"/>
                  </a:lnTo>
                  <a:lnTo>
                    <a:pt x="222" y="498"/>
                  </a:lnTo>
                  <a:lnTo>
                    <a:pt x="222" y="504"/>
                  </a:lnTo>
                  <a:lnTo>
                    <a:pt x="222" y="510"/>
                  </a:lnTo>
                  <a:lnTo>
                    <a:pt x="222" y="516"/>
                  </a:lnTo>
                  <a:lnTo>
                    <a:pt x="216" y="522"/>
                  </a:lnTo>
                  <a:lnTo>
                    <a:pt x="216" y="528"/>
                  </a:lnTo>
                  <a:lnTo>
                    <a:pt x="210" y="528"/>
                  </a:lnTo>
                  <a:lnTo>
                    <a:pt x="216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04" y="546"/>
                  </a:lnTo>
                  <a:lnTo>
                    <a:pt x="204" y="552"/>
                  </a:lnTo>
                  <a:lnTo>
                    <a:pt x="204" y="558"/>
                  </a:lnTo>
                  <a:lnTo>
                    <a:pt x="204" y="564"/>
                  </a:lnTo>
                  <a:lnTo>
                    <a:pt x="198" y="570"/>
                  </a:lnTo>
                  <a:lnTo>
                    <a:pt x="192" y="564"/>
                  </a:lnTo>
                  <a:lnTo>
                    <a:pt x="186" y="564"/>
                  </a:lnTo>
                  <a:lnTo>
                    <a:pt x="180" y="564"/>
                  </a:lnTo>
                  <a:lnTo>
                    <a:pt x="174" y="564"/>
                  </a:lnTo>
                  <a:lnTo>
                    <a:pt x="168" y="564"/>
                  </a:lnTo>
                  <a:lnTo>
                    <a:pt x="162" y="564"/>
                  </a:lnTo>
                  <a:lnTo>
                    <a:pt x="156" y="570"/>
                  </a:lnTo>
                  <a:lnTo>
                    <a:pt x="150" y="570"/>
                  </a:lnTo>
                  <a:lnTo>
                    <a:pt x="150" y="564"/>
                  </a:lnTo>
                  <a:lnTo>
                    <a:pt x="150" y="570"/>
                  </a:lnTo>
                  <a:lnTo>
                    <a:pt x="150" y="576"/>
                  </a:lnTo>
                  <a:lnTo>
                    <a:pt x="144" y="576"/>
                  </a:lnTo>
                  <a:lnTo>
                    <a:pt x="138" y="576"/>
                  </a:lnTo>
                  <a:lnTo>
                    <a:pt x="132" y="582"/>
                  </a:lnTo>
                  <a:lnTo>
                    <a:pt x="126" y="582"/>
                  </a:lnTo>
                  <a:lnTo>
                    <a:pt x="120" y="582"/>
                  </a:lnTo>
                  <a:lnTo>
                    <a:pt x="114" y="576"/>
                  </a:lnTo>
                  <a:lnTo>
                    <a:pt x="108" y="564"/>
                  </a:lnTo>
                  <a:lnTo>
                    <a:pt x="102" y="558"/>
                  </a:lnTo>
                  <a:lnTo>
                    <a:pt x="96" y="552"/>
                  </a:lnTo>
                  <a:lnTo>
                    <a:pt x="90" y="546"/>
                  </a:lnTo>
                  <a:lnTo>
                    <a:pt x="90" y="540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2"/>
                  </a:lnTo>
                  <a:lnTo>
                    <a:pt x="78" y="516"/>
                  </a:lnTo>
                  <a:lnTo>
                    <a:pt x="72" y="510"/>
                  </a:lnTo>
                  <a:lnTo>
                    <a:pt x="66" y="504"/>
                  </a:lnTo>
                  <a:lnTo>
                    <a:pt x="66" y="498"/>
                  </a:lnTo>
                  <a:lnTo>
                    <a:pt x="66" y="492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6" y="474"/>
                  </a:lnTo>
                  <a:lnTo>
                    <a:pt x="72" y="474"/>
                  </a:lnTo>
                  <a:lnTo>
                    <a:pt x="72" y="468"/>
                  </a:lnTo>
                  <a:lnTo>
                    <a:pt x="78" y="462"/>
                  </a:lnTo>
                  <a:lnTo>
                    <a:pt x="78" y="456"/>
                  </a:lnTo>
                  <a:lnTo>
                    <a:pt x="84" y="456"/>
                  </a:lnTo>
                  <a:lnTo>
                    <a:pt x="84" y="450"/>
                  </a:lnTo>
                  <a:lnTo>
                    <a:pt x="84" y="444"/>
                  </a:lnTo>
                  <a:lnTo>
                    <a:pt x="90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02" y="450"/>
                  </a:lnTo>
                  <a:lnTo>
                    <a:pt x="108" y="450"/>
                  </a:lnTo>
                  <a:lnTo>
                    <a:pt x="108" y="456"/>
                  </a:lnTo>
                  <a:lnTo>
                    <a:pt x="108" y="462"/>
                  </a:lnTo>
                  <a:lnTo>
                    <a:pt x="114" y="462"/>
                  </a:lnTo>
                  <a:lnTo>
                    <a:pt x="114" y="468"/>
                  </a:lnTo>
                  <a:lnTo>
                    <a:pt x="114" y="474"/>
                  </a:lnTo>
                  <a:lnTo>
                    <a:pt x="114" y="480"/>
                  </a:lnTo>
                  <a:lnTo>
                    <a:pt x="114" y="486"/>
                  </a:lnTo>
                  <a:lnTo>
                    <a:pt x="120" y="486"/>
                  </a:lnTo>
                  <a:lnTo>
                    <a:pt x="126" y="486"/>
                  </a:lnTo>
                  <a:lnTo>
                    <a:pt x="132" y="486"/>
                  </a:lnTo>
                  <a:lnTo>
                    <a:pt x="126" y="480"/>
                  </a:lnTo>
                  <a:lnTo>
                    <a:pt x="120" y="480"/>
                  </a:lnTo>
                  <a:lnTo>
                    <a:pt x="114" y="480"/>
                  </a:lnTo>
                  <a:lnTo>
                    <a:pt x="120" y="480"/>
                  </a:lnTo>
                  <a:lnTo>
                    <a:pt x="120" y="474"/>
                  </a:lnTo>
                  <a:lnTo>
                    <a:pt x="120" y="468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108" y="450"/>
                  </a:lnTo>
                  <a:lnTo>
                    <a:pt x="108" y="444"/>
                  </a:lnTo>
                  <a:lnTo>
                    <a:pt x="114" y="438"/>
                  </a:lnTo>
                  <a:lnTo>
                    <a:pt x="120" y="438"/>
                  </a:lnTo>
                  <a:lnTo>
                    <a:pt x="120" y="432"/>
                  </a:lnTo>
                  <a:lnTo>
                    <a:pt x="132" y="426"/>
                  </a:lnTo>
                  <a:lnTo>
                    <a:pt x="138" y="420"/>
                  </a:lnTo>
                  <a:lnTo>
                    <a:pt x="144" y="420"/>
                  </a:lnTo>
                  <a:lnTo>
                    <a:pt x="144" y="414"/>
                  </a:lnTo>
                  <a:lnTo>
                    <a:pt x="144" y="420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6" y="414"/>
                  </a:lnTo>
                  <a:lnTo>
                    <a:pt x="162" y="414"/>
                  </a:lnTo>
                  <a:lnTo>
                    <a:pt x="162" y="408"/>
                  </a:lnTo>
                  <a:lnTo>
                    <a:pt x="168" y="408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86" y="396"/>
                  </a:lnTo>
                  <a:lnTo>
                    <a:pt x="186" y="390"/>
                  </a:lnTo>
                  <a:lnTo>
                    <a:pt x="192" y="390"/>
                  </a:lnTo>
                  <a:lnTo>
                    <a:pt x="198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210" y="378"/>
                  </a:lnTo>
                  <a:lnTo>
                    <a:pt x="210" y="372"/>
                  </a:lnTo>
                  <a:lnTo>
                    <a:pt x="216" y="372"/>
                  </a:lnTo>
                  <a:lnTo>
                    <a:pt x="222" y="366"/>
                  </a:lnTo>
                  <a:lnTo>
                    <a:pt x="228" y="360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6" y="348"/>
                  </a:lnTo>
                  <a:lnTo>
                    <a:pt x="252" y="348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0" y="342"/>
                  </a:lnTo>
                  <a:lnTo>
                    <a:pt x="234" y="342"/>
                  </a:lnTo>
                  <a:lnTo>
                    <a:pt x="228" y="336"/>
                  </a:lnTo>
                  <a:lnTo>
                    <a:pt x="222" y="336"/>
                  </a:lnTo>
                  <a:lnTo>
                    <a:pt x="216" y="336"/>
                  </a:lnTo>
                  <a:lnTo>
                    <a:pt x="222" y="324"/>
                  </a:lnTo>
                  <a:lnTo>
                    <a:pt x="222" y="318"/>
                  </a:lnTo>
                  <a:lnTo>
                    <a:pt x="222" y="312"/>
                  </a:lnTo>
                  <a:lnTo>
                    <a:pt x="234" y="318"/>
                  </a:lnTo>
                  <a:lnTo>
                    <a:pt x="246" y="318"/>
                  </a:lnTo>
                  <a:lnTo>
                    <a:pt x="258" y="318"/>
                  </a:lnTo>
                  <a:lnTo>
                    <a:pt x="270" y="312"/>
                  </a:lnTo>
                  <a:lnTo>
                    <a:pt x="276" y="312"/>
                  </a:lnTo>
                  <a:lnTo>
                    <a:pt x="288" y="324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94" y="306"/>
                  </a:lnTo>
                  <a:lnTo>
                    <a:pt x="300" y="300"/>
                  </a:lnTo>
                  <a:lnTo>
                    <a:pt x="306" y="306"/>
                  </a:lnTo>
                  <a:lnTo>
                    <a:pt x="312" y="318"/>
                  </a:lnTo>
                  <a:lnTo>
                    <a:pt x="318" y="312"/>
                  </a:lnTo>
                  <a:lnTo>
                    <a:pt x="324" y="312"/>
                  </a:lnTo>
                  <a:lnTo>
                    <a:pt x="330" y="312"/>
                  </a:lnTo>
                  <a:lnTo>
                    <a:pt x="342" y="306"/>
                  </a:lnTo>
                  <a:lnTo>
                    <a:pt x="348" y="306"/>
                  </a:lnTo>
                  <a:lnTo>
                    <a:pt x="348" y="312"/>
                  </a:lnTo>
                  <a:lnTo>
                    <a:pt x="348" y="318"/>
                  </a:lnTo>
                  <a:lnTo>
                    <a:pt x="354" y="318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60" y="336"/>
                  </a:lnTo>
                  <a:lnTo>
                    <a:pt x="366" y="330"/>
                  </a:lnTo>
                  <a:lnTo>
                    <a:pt x="378" y="324"/>
                  </a:lnTo>
                  <a:lnTo>
                    <a:pt x="384" y="324"/>
                  </a:lnTo>
                  <a:lnTo>
                    <a:pt x="384" y="318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6"/>
                  </a:lnTo>
                  <a:lnTo>
                    <a:pt x="402" y="306"/>
                  </a:lnTo>
                  <a:lnTo>
                    <a:pt x="408" y="306"/>
                  </a:lnTo>
                  <a:lnTo>
                    <a:pt x="414" y="300"/>
                  </a:lnTo>
                  <a:lnTo>
                    <a:pt x="420" y="300"/>
                  </a:lnTo>
                  <a:lnTo>
                    <a:pt x="426" y="300"/>
                  </a:lnTo>
                  <a:lnTo>
                    <a:pt x="432" y="300"/>
                  </a:lnTo>
                  <a:lnTo>
                    <a:pt x="444" y="288"/>
                  </a:lnTo>
                  <a:lnTo>
                    <a:pt x="450" y="294"/>
                  </a:lnTo>
                  <a:lnTo>
                    <a:pt x="468" y="300"/>
                  </a:lnTo>
                  <a:lnTo>
                    <a:pt x="498" y="312"/>
                  </a:lnTo>
                  <a:lnTo>
                    <a:pt x="504" y="324"/>
                  </a:lnTo>
                  <a:lnTo>
                    <a:pt x="516" y="330"/>
                  </a:lnTo>
                  <a:lnTo>
                    <a:pt x="516" y="336"/>
                  </a:lnTo>
                  <a:lnTo>
                    <a:pt x="540" y="342"/>
                  </a:lnTo>
                  <a:lnTo>
                    <a:pt x="558" y="372"/>
                  </a:lnTo>
                  <a:lnTo>
                    <a:pt x="594" y="384"/>
                  </a:lnTo>
                  <a:lnTo>
                    <a:pt x="606" y="402"/>
                  </a:lnTo>
                  <a:lnTo>
                    <a:pt x="600" y="420"/>
                  </a:lnTo>
                  <a:lnTo>
                    <a:pt x="588" y="444"/>
                  </a:lnTo>
                  <a:lnTo>
                    <a:pt x="588" y="450"/>
                  </a:lnTo>
                  <a:lnTo>
                    <a:pt x="588" y="456"/>
                  </a:lnTo>
                  <a:lnTo>
                    <a:pt x="594" y="456"/>
                  </a:lnTo>
                  <a:lnTo>
                    <a:pt x="594" y="462"/>
                  </a:lnTo>
                  <a:lnTo>
                    <a:pt x="594" y="468"/>
                  </a:lnTo>
                  <a:lnTo>
                    <a:pt x="594" y="474"/>
                  </a:lnTo>
                  <a:lnTo>
                    <a:pt x="600" y="474"/>
                  </a:lnTo>
                  <a:lnTo>
                    <a:pt x="606" y="480"/>
                  </a:lnTo>
                  <a:lnTo>
                    <a:pt x="606" y="486"/>
                  </a:lnTo>
                  <a:lnTo>
                    <a:pt x="612" y="486"/>
                  </a:lnTo>
                  <a:lnTo>
                    <a:pt x="618" y="486"/>
                  </a:lnTo>
                  <a:lnTo>
                    <a:pt x="624" y="486"/>
                  </a:lnTo>
                  <a:lnTo>
                    <a:pt x="636" y="486"/>
                  </a:lnTo>
                  <a:lnTo>
                    <a:pt x="642" y="486"/>
                  </a:lnTo>
                  <a:lnTo>
                    <a:pt x="648" y="480"/>
                  </a:lnTo>
                  <a:lnTo>
                    <a:pt x="654" y="474"/>
                  </a:lnTo>
                  <a:lnTo>
                    <a:pt x="660" y="468"/>
                  </a:lnTo>
                  <a:lnTo>
                    <a:pt x="666" y="468"/>
                  </a:lnTo>
                  <a:lnTo>
                    <a:pt x="684" y="468"/>
                  </a:lnTo>
                  <a:lnTo>
                    <a:pt x="696" y="468"/>
                  </a:lnTo>
                  <a:lnTo>
                    <a:pt x="696" y="462"/>
                  </a:lnTo>
                  <a:lnTo>
                    <a:pt x="702" y="456"/>
                  </a:lnTo>
                  <a:lnTo>
                    <a:pt x="708" y="450"/>
                  </a:lnTo>
                  <a:lnTo>
                    <a:pt x="714" y="450"/>
                  </a:lnTo>
                  <a:lnTo>
                    <a:pt x="720" y="450"/>
                  </a:lnTo>
                  <a:lnTo>
                    <a:pt x="720" y="438"/>
                  </a:lnTo>
                  <a:lnTo>
                    <a:pt x="726" y="432"/>
                  </a:lnTo>
                  <a:lnTo>
                    <a:pt x="738" y="420"/>
                  </a:lnTo>
                  <a:lnTo>
                    <a:pt x="744" y="420"/>
                  </a:lnTo>
                  <a:lnTo>
                    <a:pt x="750" y="414"/>
                  </a:lnTo>
                  <a:lnTo>
                    <a:pt x="762" y="408"/>
                  </a:lnTo>
                  <a:lnTo>
                    <a:pt x="768" y="408"/>
                  </a:lnTo>
                  <a:lnTo>
                    <a:pt x="768" y="402"/>
                  </a:lnTo>
                  <a:lnTo>
                    <a:pt x="780" y="396"/>
                  </a:lnTo>
                  <a:lnTo>
                    <a:pt x="786" y="396"/>
                  </a:lnTo>
                  <a:lnTo>
                    <a:pt x="786" y="390"/>
                  </a:lnTo>
                  <a:lnTo>
                    <a:pt x="792" y="384"/>
                  </a:lnTo>
                  <a:lnTo>
                    <a:pt x="792" y="378"/>
                  </a:lnTo>
                  <a:lnTo>
                    <a:pt x="798" y="366"/>
                  </a:lnTo>
                  <a:lnTo>
                    <a:pt x="804" y="360"/>
                  </a:lnTo>
                  <a:lnTo>
                    <a:pt x="816" y="342"/>
                  </a:lnTo>
                  <a:lnTo>
                    <a:pt x="816" y="312"/>
                  </a:lnTo>
                  <a:lnTo>
                    <a:pt x="804" y="300"/>
                  </a:lnTo>
                  <a:lnTo>
                    <a:pt x="798" y="288"/>
                  </a:lnTo>
                  <a:lnTo>
                    <a:pt x="762" y="264"/>
                  </a:lnTo>
                  <a:lnTo>
                    <a:pt x="738" y="234"/>
                  </a:lnTo>
                  <a:lnTo>
                    <a:pt x="738" y="222"/>
                  </a:lnTo>
                  <a:lnTo>
                    <a:pt x="744" y="210"/>
                  </a:lnTo>
                  <a:lnTo>
                    <a:pt x="732" y="174"/>
                  </a:lnTo>
                  <a:lnTo>
                    <a:pt x="714" y="156"/>
                  </a:lnTo>
                  <a:lnTo>
                    <a:pt x="708" y="144"/>
                  </a:lnTo>
                  <a:lnTo>
                    <a:pt x="714" y="126"/>
                  </a:lnTo>
                  <a:lnTo>
                    <a:pt x="720" y="114"/>
                  </a:lnTo>
                  <a:lnTo>
                    <a:pt x="732" y="102"/>
                  </a:lnTo>
                  <a:lnTo>
                    <a:pt x="744" y="102"/>
                  </a:lnTo>
                  <a:lnTo>
                    <a:pt x="762" y="108"/>
                  </a:lnTo>
                  <a:lnTo>
                    <a:pt x="774" y="114"/>
                  </a:lnTo>
                  <a:lnTo>
                    <a:pt x="780" y="138"/>
                  </a:lnTo>
                  <a:lnTo>
                    <a:pt x="786" y="144"/>
                  </a:lnTo>
                  <a:lnTo>
                    <a:pt x="798" y="138"/>
                  </a:lnTo>
                  <a:lnTo>
                    <a:pt x="804" y="132"/>
                  </a:lnTo>
                  <a:lnTo>
                    <a:pt x="816" y="120"/>
                  </a:lnTo>
                  <a:lnTo>
                    <a:pt x="816" y="108"/>
                  </a:lnTo>
                  <a:lnTo>
                    <a:pt x="828" y="102"/>
                  </a:lnTo>
                  <a:lnTo>
                    <a:pt x="828" y="96"/>
                  </a:lnTo>
                  <a:lnTo>
                    <a:pt x="840" y="96"/>
                  </a:lnTo>
                  <a:lnTo>
                    <a:pt x="840" y="84"/>
                  </a:lnTo>
                  <a:lnTo>
                    <a:pt x="852" y="90"/>
                  </a:lnTo>
                  <a:lnTo>
                    <a:pt x="852" y="96"/>
                  </a:lnTo>
                  <a:lnTo>
                    <a:pt x="870" y="90"/>
                  </a:lnTo>
                  <a:lnTo>
                    <a:pt x="894" y="78"/>
                  </a:lnTo>
                  <a:lnTo>
                    <a:pt x="912" y="78"/>
                  </a:lnTo>
                  <a:lnTo>
                    <a:pt x="942" y="66"/>
                  </a:lnTo>
                  <a:lnTo>
                    <a:pt x="942" y="60"/>
                  </a:lnTo>
                  <a:lnTo>
                    <a:pt x="954" y="48"/>
                  </a:lnTo>
                  <a:lnTo>
                    <a:pt x="966" y="30"/>
                  </a:lnTo>
                  <a:lnTo>
                    <a:pt x="978" y="30"/>
                  </a:lnTo>
                  <a:lnTo>
                    <a:pt x="978" y="24"/>
                  </a:lnTo>
                  <a:lnTo>
                    <a:pt x="984" y="12"/>
                  </a:lnTo>
                  <a:lnTo>
                    <a:pt x="990" y="12"/>
                  </a:lnTo>
                  <a:lnTo>
                    <a:pt x="996" y="12"/>
                  </a:lnTo>
                  <a:lnTo>
                    <a:pt x="1014" y="6"/>
                  </a:lnTo>
                  <a:lnTo>
                    <a:pt x="1026" y="6"/>
                  </a:lnTo>
                  <a:lnTo>
                    <a:pt x="1044" y="6"/>
                  </a:lnTo>
                  <a:lnTo>
                    <a:pt x="1050" y="6"/>
                  </a:lnTo>
                  <a:lnTo>
                    <a:pt x="1056" y="6"/>
                  </a:lnTo>
                  <a:lnTo>
                    <a:pt x="1062" y="6"/>
                  </a:lnTo>
                  <a:lnTo>
                    <a:pt x="1068" y="6"/>
                  </a:lnTo>
                  <a:lnTo>
                    <a:pt x="1074" y="6"/>
                  </a:lnTo>
                  <a:lnTo>
                    <a:pt x="1080" y="6"/>
                  </a:lnTo>
                  <a:lnTo>
                    <a:pt x="1086" y="0"/>
                  </a:lnTo>
                  <a:lnTo>
                    <a:pt x="1092" y="30"/>
                  </a:lnTo>
                  <a:lnTo>
                    <a:pt x="1098" y="60"/>
                  </a:lnTo>
                  <a:lnTo>
                    <a:pt x="1110" y="84"/>
                  </a:lnTo>
                  <a:lnTo>
                    <a:pt x="1122" y="114"/>
                  </a:lnTo>
                  <a:lnTo>
                    <a:pt x="1128" y="144"/>
                  </a:lnTo>
                  <a:lnTo>
                    <a:pt x="1122" y="156"/>
                  </a:lnTo>
                  <a:lnTo>
                    <a:pt x="1128" y="168"/>
                  </a:lnTo>
                  <a:lnTo>
                    <a:pt x="1134" y="186"/>
                  </a:lnTo>
                  <a:lnTo>
                    <a:pt x="1140" y="204"/>
                  </a:lnTo>
                  <a:lnTo>
                    <a:pt x="1146" y="210"/>
                  </a:lnTo>
                  <a:lnTo>
                    <a:pt x="1146" y="216"/>
                  </a:lnTo>
                  <a:lnTo>
                    <a:pt x="1146" y="228"/>
                  </a:lnTo>
                  <a:lnTo>
                    <a:pt x="1146" y="234"/>
                  </a:lnTo>
                  <a:lnTo>
                    <a:pt x="1140" y="246"/>
                  </a:lnTo>
                  <a:lnTo>
                    <a:pt x="1128" y="258"/>
                  </a:lnTo>
                  <a:lnTo>
                    <a:pt x="1116" y="264"/>
                  </a:lnTo>
                  <a:lnTo>
                    <a:pt x="1110" y="276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2" y="312"/>
                  </a:lnTo>
                  <a:lnTo>
                    <a:pt x="1116" y="324"/>
                  </a:lnTo>
                  <a:lnTo>
                    <a:pt x="1104" y="336"/>
                  </a:lnTo>
                  <a:lnTo>
                    <a:pt x="1104" y="354"/>
                  </a:lnTo>
                  <a:lnTo>
                    <a:pt x="1098" y="372"/>
                  </a:lnTo>
                  <a:lnTo>
                    <a:pt x="1092" y="384"/>
                  </a:lnTo>
                  <a:lnTo>
                    <a:pt x="1086" y="390"/>
                  </a:lnTo>
                  <a:lnTo>
                    <a:pt x="1086" y="402"/>
                  </a:lnTo>
                  <a:lnTo>
                    <a:pt x="1080" y="414"/>
                  </a:lnTo>
                  <a:lnTo>
                    <a:pt x="1074" y="426"/>
                  </a:lnTo>
                  <a:lnTo>
                    <a:pt x="1074" y="450"/>
                  </a:lnTo>
                  <a:lnTo>
                    <a:pt x="1074" y="462"/>
                  </a:lnTo>
                  <a:lnTo>
                    <a:pt x="1068" y="474"/>
                  </a:lnTo>
                  <a:lnTo>
                    <a:pt x="1062" y="486"/>
                  </a:lnTo>
                  <a:lnTo>
                    <a:pt x="1056" y="498"/>
                  </a:lnTo>
                  <a:close/>
                  <a:moveTo>
                    <a:pt x="186" y="378"/>
                  </a:moveTo>
                  <a:lnTo>
                    <a:pt x="186" y="384"/>
                  </a:lnTo>
                  <a:lnTo>
                    <a:pt x="180" y="390"/>
                  </a:lnTo>
                  <a:lnTo>
                    <a:pt x="174" y="396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14"/>
                  </a:lnTo>
                  <a:lnTo>
                    <a:pt x="126" y="414"/>
                  </a:lnTo>
                  <a:lnTo>
                    <a:pt x="120" y="414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2" y="426"/>
                  </a:lnTo>
                  <a:lnTo>
                    <a:pt x="102" y="432"/>
                  </a:lnTo>
                  <a:lnTo>
                    <a:pt x="96" y="432"/>
                  </a:lnTo>
                  <a:lnTo>
                    <a:pt x="90" y="432"/>
                  </a:lnTo>
                  <a:lnTo>
                    <a:pt x="84" y="438"/>
                  </a:lnTo>
                  <a:lnTo>
                    <a:pt x="78" y="438"/>
                  </a:lnTo>
                  <a:lnTo>
                    <a:pt x="78" y="444"/>
                  </a:lnTo>
                  <a:lnTo>
                    <a:pt x="72" y="444"/>
                  </a:lnTo>
                  <a:lnTo>
                    <a:pt x="72" y="450"/>
                  </a:lnTo>
                  <a:lnTo>
                    <a:pt x="66" y="456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48" y="468"/>
                  </a:lnTo>
                  <a:lnTo>
                    <a:pt x="42" y="468"/>
                  </a:lnTo>
                  <a:lnTo>
                    <a:pt x="42" y="462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8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0" y="396"/>
                  </a:lnTo>
                  <a:lnTo>
                    <a:pt x="6" y="384"/>
                  </a:lnTo>
                  <a:lnTo>
                    <a:pt x="18" y="372"/>
                  </a:lnTo>
                  <a:lnTo>
                    <a:pt x="30" y="348"/>
                  </a:lnTo>
                  <a:lnTo>
                    <a:pt x="30" y="342"/>
                  </a:lnTo>
                  <a:lnTo>
                    <a:pt x="42" y="330"/>
                  </a:lnTo>
                  <a:lnTo>
                    <a:pt x="42" y="324"/>
                  </a:lnTo>
                  <a:lnTo>
                    <a:pt x="48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60" y="282"/>
                  </a:lnTo>
                  <a:lnTo>
                    <a:pt x="60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2" y="258"/>
                  </a:lnTo>
                  <a:lnTo>
                    <a:pt x="84" y="246"/>
                  </a:lnTo>
                  <a:lnTo>
                    <a:pt x="90" y="234"/>
                  </a:lnTo>
                  <a:lnTo>
                    <a:pt x="96" y="234"/>
                  </a:lnTo>
                  <a:lnTo>
                    <a:pt x="96" y="228"/>
                  </a:lnTo>
                  <a:lnTo>
                    <a:pt x="102" y="222"/>
                  </a:lnTo>
                  <a:lnTo>
                    <a:pt x="102" y="228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14" y="228"/>
                  </a:lnTo>
                  <a:lnTo>
                    <a:pt x="114" y="234"/>
                  </a:lnTo>
                  <a:lnTo>
                    <a:pt x="120" y="228"/>
                  </a:lnTo>
                  <a:lnTo>
                    <a:pt x="120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26" y="228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8" y="234"/>
                  </a:lnTo>
                  <a:lnTo>
                    <a:pt x="144" y="234"/>
                  </a:lnTo>
                  <a:lnTo>
                    <a:pt x="144" y="228"/>
                  </a:lnTo>
                  <a:lnTo>
                    <a:pt x="150" y="228"/>
                  </a:lnTo>
                  <a:lnTo>
                    <a:pt x="156" y="228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46"/>
                  </a:lnTo>
                  <a:lnTo>
                    <a:pt x="162" y="240"/>
                  </a:lnTo>
                  <a:lnTo>
                    <a:pt x="162" y="246"/>
                  </a:lnTo>
                  <a:lnTo>
                    <a:pt x="162" y="258"/>
                  </a:lnTo>
                  <a:lnTo>
                    <a:pt x="162" y="264"/>
                  </a:lnTo>
                  <a:lnTo>
                    <a:pt x="156" y="270"/>
                  </a:lnTo>
                  <a:lnTo>
                    <a:pt x="162" y="270"/>
                  </a:lnTo>
                  <a:lnTo>
                    <a:pt x="162" y="282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86" y="288"/>
                  </a:lnTo>
                  <a:lnTo>
                    <a:pt x="186" y="294"/>
                  </a:lnTo>
                  <a:lnTo>
                    <a:pt x="180" y="300"/>
                  </a:lnTo>
                  <a:lnTo>
                    <a:pt x="174" y="318"/>
                  </a:lnTo>
                  <a:lnTo>
                    <a:pt x="174" y="324"/>
                  </a:lnTo>
                  <a:lnTo>
                    <a:pt x="168" y="330"/>
                  </a:lnTo>
                  <a:lnTo>
                    <a:pt x="168" y="342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74" y="360"/>
                  </a:lnTo>
                  <a:lnTo>
                    <a:pt x="180" y="366"/>
                  </a:lnTo>
                  <a:lnTo>
                    <a:pt x="186" y="3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8" name="Freeform 23">
              <a:extLst>
                <a:ext uri="{FF2B5EF4-FFF2-40B4-BE49-F238E27FC236}">
                  <a16:creationId xmlns:a16="http://schemas.microsoft.com/office/drawing/2014/main" id="{A539A33E-3F6E-4AF7-BD88-1853165307F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6312" y="3604793"/>
              <a:ext cx="581410" cy="621747"/>
            </a:xfrm>
            <a:custGeom>
              <a:avLst/>
              <a:gdLst>
                <a:gd name="T0" fmla="*/ 90 w 1092"/>
                <a:gd name="T1" fmla="*/ 60 h 1170"/>
                <a:gd name="T2" fmla="*/ 83 w 1092"/>
                <a:gd name="T3" fmla="*/ 62 h 1170"/>
                <a:gd name="T4" fmla="*/ 72 w 1092"/>
                <a:gd name="T5" fmla="*/ 68 h 1170"/>
                <a:gd name="T6" fmla="*/ 68 w 1092"/>
                <a:gd name="T7" fmla="*/ 71 h 1170"/>
                <a:gd name="T8" fmla="*/ 61 w 1092"/>
                <a:gd name="T9" fmla="*/ 69 h 1170"/>
                <a:gd name="T10" fmla="*/ 64 w 1092"/>
                <a:gd name="T11" fmla="*/ 82 h 1170"/>
                <a:gd name="T12" fmla="*/ 67 w 1092"/>
                <a:gd name="T13" fmla="*/ 93 h 1170"/>
                <a:gd name="T14" fmla="*/ 62 w 1092"/>
                <a:gd name="T15" fmla="*/ 96 h 1170"/>
                <a:gd name="T16" fmla="*/ 59 w 1092"/>
                <a:gd name="T17" fmla="*/ 99 h 1170"/>
                <a:gd name="T18" fmla="*/ 53 w 1092"/>
                <a:gd name="T19" fmla="*/ 101 h 1170"/>
                <a:gd name="T20" fmla="*/ 50 w 1092"/>
                <a:gd name="T21" fmla="*/ 100 h 1170"/>
                <a:gd name="T22" fmla="*/ 50 w 1092"/>
                <a:gd name="T23" fmla="*/ 93 h 1170"/>
                <a:gd name="T24" fmla="*/ 37 w 1092"/>
                <a:gd name="T25" fmla="*/ 85 h 1170"/>
                <a:gd name="T26" fmla="*/ 32 w 1092"/>
                <a:gd name="T27" fmla="*/ 86 h 1170"/>
                <a:gd name="T28" fmla="*/ 29 w 1092"/>
                <a:gd name="T29" fmla="*/ 88 h 1170"/>
                <a:gd name="T30" fmla="*/ 27 w 1092"/>
                <a:gd name="T31" fmla="*/ 86 h 1170"/>
                <a:gd name="T32" fmla="*/ 23 w 1092"/>
                <a:gd name="T33" fmla="*/ 87 h 1170"/>
                <a:gd name="T34" fmla="*/ 17 w 1092"/>
                <a:gd name="T35" fmla="*/ 87 h 1170"/>
                <a:gd name="T36" fmla="*/ 18 w 1092"/>
                <a:gd name="T37" fmla="*/ 89 h 1170"/>
                <a:gd name="T38" fmla="*/ 16 w 1092"/>
                <a:gd name="T39" fmla="*/ 92 h 1170"/>
                <a:gd name="T40" fmla="*/ 12 w 1092"/>
                <a:gd name="T41" fmla="*/ 89 h 1170"/>
                <a:gd name="T42" fmla="*/ 13 w 1092"/>
                <a:gd name="T43" fmla="*/ 84 h 1170"/>
                <a:gd name="T44" fmla="*/ 12 w 1092"/>
                <a:gd name="T45" fmla="*/ 80 h 1170"/>
                <a:gd name="T46" fmla="*/ 10 w 1092"/>
                <a:gd name="T47" fmla="*/ 80 h 1170"/>
                <a:gd name="T48" fmla="*/ 8 w 1092"/>
                <a:gd name="T49" fmla="*/ 79 h 1170"/>
                <a:gd name="T50" fmla="*/ 6 w 1092"/>
                <a:gd name="T51" fmla="*/ 78 h 1170"/>
                <a:gd name="T52" fmla="*/ 6 w 1092"/>
                <a:gd name="T53" fmla="*/ 77 h 1170"/>
                <a:gd name="T54" fmla="*/ 4 w 1092"/>
                <a:gd name="T55" fmla="*/ 75 h 1170"/>
                <a:gd name="T56" fmla="*/ 0 w 1092"/>
                <a:gd name="T57" fmla="*/ 72 h 1170"/>
                <a:gd name="T58" fmla="*/ 0 w 1092"/>
                <a:gd name="T59" fmla="*/ 69 h 1170"/>
                <a:gd name="T60" fmla="*/ 3 w 1092"/>
                <a:gd name="T61" fmla="*/ 67 h 1170"/>
                <a:gd name="T62" fmla="*/ 6 w 1092"/>
                <a:gd name="T63" fmla="*/ 62 h 1170"/>
                <a:gd name="T64" fmla="*/ 8 w 1092"/>
                <a:gd name="T65" fmla="*/ 58 h 1170"/>
                <a:gd name="T66" fmla="*/ 5 w 1092"/>
                <a:gd name="T67" fmla="*/ 54 h 1170"/>
                <a:gd name="T68" fmla="*/ 6 w 1092"/>
                <a:gd name="T69" fmla="*/ 50 h 1170"/>
                <a:gd name="T70" fmla="*/ 8 w 1092"/>
                <a:gd name="T71" fmla="*/ 46 h 1170"/>
                <a:gd name="T72" fmla="*/ 10 w 1092"/>
                <a:gd name="T73" fmla="*/ 43 h 1170"/>
                <a:gd name="T74" fmla="*/ 14 w 1092"/>
                <a:gd name="T75" fmla="*/ 38 h 1170"/>
                <a:gd name="T76" fmla="*/ 31 w 1092"/>
                <a:gd name="T77" fmla="*/ 40 h 1170"/>
                <a:gd name="T78" fmla="*/ 30 w 1092"/>
                <a:gd name="T79" fmla="*/ 46 h 1170"/>
                <a:gd name="T80" fmla="*/ 36 w 1092"/>
                <a:gd name="T81" fmla="*/ 47 h 1170"/>
                <a:gd name="T82" fmla="*/ 41 w 1092"/>
                <a:gd name="T83" fmla="*/ 44 h 1170"/>
                <a:gd name="T84" fmla="*/ 43 w 1092"/>
                <a:gd name="T85" fmla="*/ 39 h 1170"/>
                <a:gd name="T86" fmla="*/ 44 w 1092"/>
                <a:gd name="T87" fmla="*/ 35 h 1170"/>
                <a:gd name="T88" fmla="*/ 44 w 1092"/>
                <a:gd name="T89" fmla="*/ 29 h 1170"/>
                <a:gd name="T90" fmla="*/ 48 w 1092"/>
                <a:gd name="T91" fmla="*/ 24 h 1170"/>
                <a:gd name="T92" fmla="*/ 49 w 1092"/>
                <a:gd name="T93" fmla="*/ 19 h 1170"/>
                <a:gd name="T94" fmla="*/ 51 w 1092"/>
                <a:gd name="T95" fmla="*/ 14 h 1170"/>
                <a:gd name="T96" fmla="*/ 54 w 1092"/>
                <a:gd name="T97" fmla="*/ 10 h 1170"/>
                <a:gd name="T98" fmla="*/ 53 w 1092"/>
                <a:gd name="T99" fmla="*/ 7 h 1170"/>
                <a:gd name="T100" fmla="*/ 55 w 1092"/>
                <a:gd name="T101" fmla="*/ 3 h 1170"/>
                <a:gd name="T102" fmla="*/ 58 w 1092"/>
                <a:gd name="T103" fmla="*/ 0 h 1170"/>
                <a:gd name="T104" fmla="*/ 65 w 1092"/>
                <a:gd name="T105" fmla="*/ 2 h 1170"/>
                <a:gd name="T106" fmla="*/ 61 w 1092"/>
                <a:gd name="T107" fmla="*/ 6 h 1170"/>
                <a:gd name="T108" fmla="*/ 67 w 1092"/>
                <a:gd name="T109" fmla="*/ 7 h 1170"/>
                <a:gd name="T110" fmla="*/ 71 w 1092"/>
                <a:gd name="T111" fmla="*/ 6 h 1170"/>
                <a:gd name="T112" fmla="*/ 75 w 1092"/>
                <a:gd name="T113" fmla="*/ 9 h 1170"/>
                <a:gd name="T114" fmla="*/ 82 w 1092"/>
                <a:gd name="T115" fmla="*/ 12 h 1170"/>
                <a:gd name="T116" fmla="*/ 84 w 1092"/>
                <a:gd name="T117" fmla="*/ 17 h 1170"/>
                <a:gd name="T118" fmla="*/ 94 w 1092"/>
                <a:gd name="T119" fmla="*/ 23 h 1170"/>
                <a:gd name="T120" fmla="*/ 94 w 1092"/>
                <a:gd name="T121" fmla="*/ 34 h 1170"/>
                <a:gd name="T122" fmla="*/ 90 w 1092"/>
                <a:gd name="T123" fmla="*/ 41 h 1170"/>
                <a:gd name="T124" fmla="*/ 91 w 1092"/>
                <a:gd name="T125" fmla="*/ 51 h 11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92"/>
                <a:gd name="T190" fmla="*/ 0 h 1170"/>
                <a:gd name="T191" fmla="*/ 1092 w 1092"/>
                <a:gd name="T192" fmla="*/ 1170 h 117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92" h="1170">
                  <a:moveTo>
                    <a:pt x="1056" y="654"/>
                  </a:moveTo>
                  <a:lnTo>
                    <a:pt x="1062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0"/>
                  </a:lnTo>
                  <a:lnTo>
                    <a:pt x="1038" y="690"/>
                  </a:lnTo>
                  <a:lnTo>
                    <a:pt x="1032" y="690"/>
                  </a:lnTo>
                  <a:lnTo>
                    <a:pt x="1026" y="690"/>
                  </a:lnTo>
                  <a:lnTo>
                    <a:pt x="1020" y="690"/>
                  </a:lnTo>
                  <a:lnTo>
                    <a:pt x="1002" y="690"/>
                  </a:lnTo>
                  <a:lnTo>
                    <a:pt x="990" y="690"/>
                  </a:lnTo>
                  <a:lnTo>
                    <a:pt x="972" y="696"/>
                  </a:lnTo>
                  <a:lnTo>
                    <a:pt x="966" y="696"/>
                  </a:lnTo>
                  <a:lnTo>
                    <a:pt x="960" y="696"/>
                  </a:lnTo>
                  <a:lnTo>
                    <a:pt x="954" y="708"/>
                  </a:lnTo>
                  <a:lnTo>
                    <a:pt x="954" y="714"/>
                  </a:lnTo>
                  <a:lnTo>
                    <a:pt x="942" y="714"/>
                  </a:lnTo>
                  <a:lnTo>
                    <a:pt x="930" y="732"/>
                  </a:lnTo>
                  <a:lnTo>
                    <a:pt x="918" y="744"/>
                  </a:lnTo>
                  <a:lnTo>
                    <a:pt x="918" y="750"/>
                  </a:lnTo>
                  <a:lnTo>
                    <a:pt x="888" y="762"/>
                  </a:lnTo>
                  <a:lnTo>
                    <a:pt x="870" y="762"/>
                  </a:lnTo>
                  <a:lnTo>
                    <a:pt x="846" y="774"/>
                  </a:lnTo>
                  <a:lnTo>
                    <a:pt x="828" y="780"/>
                  </a:lnTo>
                  <a:lnTo>
                    <a:pt x="828" y="774"/>
                  </a:lnTo>
                  <a:lnTo>
                    <a:pt x="816" y="768"/>
                  </a:lnTo>
                  <a:lnTo>
                    <a:pt x="816" y="780"/>
                  </a:lnTo>
                  <a:lnTo>
                    <a:pt x="804" y="780"/>
                  </a:lnTo>
                  <a:lnTo>
                    <a:pt x="804" y="786"/>
                  </a:lnTo>
                  <a:lnTo>
                    <a:pt x="792" y="792"/>
                  </a:lnTo>
                  <a:lnTo>
                    <a:pt x="792" y="804"/>
                  </a:lnTo>
                  <a:lnTo>
                    <a:pt x="780" y="816"/>
                  </a:lnTo>
                  <a:lnTo>
                    <a:pt x="774" y="822"/>
                  </a:lnTo>
                  <a:lnTo>
                    <a:pt x="762" y="828"/>
                  </a:lnTo>
                  <a:lnTo>
                    <a:pt x="756" y="822"/>
                  </a:lnTo>
                  <a:lnTo>
                    <a:pt x="750" y="798"/>
                  </a:lnTo>
                  <a:lnTo>
                    <a:pt x="738" y="792"/>
                  </a:lnTo>
                  <a:lnTo>
                    <a:pt x="720" y="786"/>
                  </a:lnTo>
                  <a:lnTo>
                    <a:pt x="708" y="786"/>
                  </a:lnTo>
                  <a:lnTo>
                    <a:pt x="696" y="798"/>
                  </a:lnTo>
                  <a:lnTo>
                    <a:pt x="690" y="810"/>
                  </a:lnTo>
                  <a:lnTo>
                    <a:pt x="684" y="828"/>
                  </a:lnTo>
                  <a:lnTo>
                    <a:pt x="690" y="840"/>
                  </a:lnTo>
                  <a:lnTo>
                    <a:pt x="708" y="858"/>
                  </a:lnTo>
                  <a:lnTo>
                    <a:pt x="720" y="894"/>
                  </a:lnTo>
                  <a:lnTo>
                    <a:pt x="714" y="906"/>
                  </a:lnTo>
                  <a:lnTo>
                    <a:pt x="714" y="918"/>
                  </a:lnTo>
                  <a:lnTo>
                    <a:pt x="738" y="948"/>
                  </a:lnTo>
                  <a:lnTo>
                    <a:pt x="774" y="972"/>
                  </a:lnTo>
                  <a:lnTo>
                    <a:pt x="780" y="984"/>
                  </a:lnTo>
                  <a:lnTo>
                    <a:pt x="792" y="996"/>
                  </a:lnTo>
                  <a:lnTo>
                    <a:pt x="792" y="1026"/>
                  </a:lnTo>
                  <a:lnTo>
                    <a:pt x="780" y="1044"/>
                  </a:lnTo>
                  <a:lnTo>
                    <a:pt x="774" y="1050"/>
                  </a:lnTo>
                  <a:lnTo>
                    <a:pt x="768" y="1062"/>
                  </a:lnTo>
                  <a:lnTo>
                    <a:pt x="768" y="1068"/>
                  </a:lnTo>
                  <a:lnTo>
                    <a:pt x="762" y="1074"/>
                  </a:lnTo>
                  <a:lnTo>
                    <a:pt x="762" y="1080"/>
                  </a:lnTo>
                  <a:lnTo>
                    <a:pt x="756" y="1080"/>
                  </a:lnTo>
                  <a:lnTo>
                    <a:pt x="744" y="1086"/>
                  </a:lnTo>
                  <a:lnTo>
                    <a:pt x="744" y="1092"/>
                  </a:lnTo>
                  <a:lnTo>
                    <a:pt x="738" y="1092"/>
                  </a:lnTo>
                  <a:lnTo>
                    <a:pt x="726" y="1098"/>
                  </a:lnTo>
                  <a:lnTo>
                    <a:pt x="720" y="1104"/>
                  </a:lnTo>
                  <a:lnTo>
                    <a:pt x="714" y="1104"/>
                  </a:lnTo>
                  <a:lnTo>
                    <a:pt x="702" y="1116"/>
                  </a:lnTo>
                  <a:lnTo>
                    <a:pt x="696" y="1122"/>
                  </a:lnTo>
                  <a:lnTo>
                    <a:pt x="696" y="1134"/>
                  </a:lnTo>
                  <a:lnTo>
                    <a:pt x="690" y="1134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72" y="1146"/>
                  </a:lnTo>
                  <a:lnTo>
                    <a:pt x="672" y="1152"/>
                  </a:lnTo>
                  <a:lnTo>
                    <a:pt x="660" y="1152"/>
                  </a:lnTo>
                  <a:lnTo>
                    <a:pt x="642" y="1152"/>
                  </a:lnTo>
                  <a:lnTo>
                    <a:pt x="636" y="1152"/>
                  </a:lnTo>
                  <a:lnTo>
                    <a:pt x="630" y="1158"/>
                  </a:lnTo>
                  <a:lnTo>
                    <a:pt x="624" y="1164"/>
                  </a:lnTo>
                  <a:lnTo>
                    <a:pt x="618" y="1170"/>
                  </a:lnTo>
                  <a:lnTo>
                    <a:pt x="612" y="1170"/>
                  </a:lnTo>
                  <a:lnTo>
                    <a:pt x="600" y="1170"/>
                  </a:lnTo>
                  <a:lnTo>
                    <a:pt x="594" y="1170"/>
                  </a:lnTo>
                  <a:lnTo>
                    <a:pt x="588" y="1170"/>
                  </a:lnTo>
                  <a:lnTo>
                    <a:pt x="582" y="1170"/>
                  </a:lnTo>
                  <a:lnTo>
                    <a:pt x="582" y="1164"/>
                  </a:lnTo>
                  <a:lnTo>
                    <a:pt x="576" y="1158"/>
                  </a:lnTo>
                  <a:lnTo>
                    <a:pt x="570" y="1158"/>
                  </a:lnTo>
                  <a:lnTo>
                    <a:pt x="570" y="1152"/>
                  </a:lnTo>
                  <a:lnTo>
                    <a:pt x="570" y="1146"/>
                  </a:lnTo>
                  <a:lnTo>
                    <a:pt x="570" y="1140"/>
                  </a:lnTo>
                  <a:lnTo>
                    <a:pt x="564" y="1140"/>
                  </a:lnTo>
                  <a:lnTo>
                    <a:pt x="564" y="1134"/>
                  </a:lnTo>
                  <a:lnTo>
                    <a:pt x="564" y="1128"/>
                  </a:lnTo>
                  <a:lnTo>
                    <a:pt x="576" y="1104"/>
                  </a:lnTo>
                  <a:lnTo>
                    <a:pt x="582" y="1086"/>
                  </a:lnTo>
                  <a:lnTo>
                    <a:pt x="570" y="1068"/>
                  </a:lnTo>
                  <a:lnTo>
                    <a:pt x="534" y="1056"/>
                  </a:lnTo>
                  <a:lnTo>
                    <a:pt x="516" y="1026"/>
                  </a:lnTo>
                  <a:lnTo>
                    <a:pt x="492" y="1020"/>
                  </a:lnTo>
                  <a:lnTo>
                    <a:pt x="492" y="1014"/>
                  </a:lnTo>
                  <a:lnTo>
                    <a:pt x="480" y="1008"/>
                  </a:lnTo>
                  <a:lnTo>
                    <a:pt x="474" y="996"/>
                  </a:lnTo>
                  <a:lnTo>
                    <a:pt x="444" y="984"/>
                  </a:lnTo>
                  <a:lnTo>
                    <a:pt x="426" y="978"/>
                  </a:lnTo>
                  <a:lnTo>
                    <a:pt x="420" y="972"/>
                  </a:lnTo>
                  <a:lnTo>
                    <a:pt x="408" y="984"/>
                  </a:lnTo>
                  <a:lnTo>
                    <a:pt x="402" y="984"/>
                  </a:lnTo>
                  <a:lnTo>
                    <a:pt x="396" y="984"/>
                  </a:lnTo>
                  <a:lnTo>
                    <a:pt x="390" y="984"/>
                  </a:lnTo>
                  <a:lnTo>
                    <a:pt x="384" y="990"/>
                  </a:lnTo>
                  <a:lnTo>
                    <a:pt x="378" y="990"/>
                  </a:lnTo>
                  <a:lnTo>
                    <a:pt x="372" y="990"/>
                  </a:lnTo>
                  <a:lnTo>
                    <a:pt x="372" y="996"/>
                  </a:lnTo>
                  <a:lnTo>
                    <a:pt x="366" y="996"/>
                  </a:lnTo>
                  <a:lnTo>
                    <a:pt x="360" y="1002"/>
                  </a:lnTo>
                  <a:lnTo>
                    <a:pt x="360" y="1008"/>
                  </a:lnTo>
                  <a:lnTo>
                    <a:pt x="354" y="1008"/>
                  </a:lnTo>
                  <a:lnTo>
                    <a:pt x="342" y="1014"/>
                  </a:lnTo>
                  <a:lnTo>
                    <a:pt x="336" y="1020"/>
                  </a:lnTo>
                  <a:lnTo>
                    <a:pt x="336" y="1014"/>
                  </a:lnTo>
                  <a:lnTo>
                    <a:pt x="330" y="1014"/>
                  </a:lnTo>
                  <a:lnTo>
                    <a:pt x="330" y="1008"/>
                  </a:lnTo>
                  <a:lnTo>
                    <a:pt x="330" y="1002"/>
                  </a:lnTo>
                  <a:lnTo>
                    <a:pt x="324" y="1002"/>
                  </a:lnTo>
                  <a:lnTo>
                    <a:pt x="324" y="996"/>
                  </a:lnTo>
                  <a:lnTo>
                    <a:pt x="324" y="990"/>
                  </a:lnTo>
                  <a:lnTo>
                    <a:pt x="318" y="990"/>
                  </a:lnTo>
                  <a:lnTo>
                    <a:pt x="306" y="996"/>
                  </a:lnTo>
                  <a:lnTo>
                    <a:pt x="300" y="996"/>
                  </a:lnTo>
                  <a:lnTo>
                    <a:pt x="294" y="996"/>
                  </a:lnTo>
                  <a:lnTo>
                    <a:pt x="288" y="1002"/>
                  </a:lnTo>
                  <a:lnTo>
                    <a:pt x="282" y="990"/>
                  </a:lnTo>
                  <a:lnTo>
                    <a:pt x="276" y="984"/>
                  </a:lnTo>
                  <a:lnTo>
                    <a:pt x="270" y="990"/>
                  </a:lnTo>
                  <a:lnTo>
                    <a:pt x="270" y="996"/>
                  </a:lnTo>
                  <a:lnTo>
                    <a:pt x="270" y="1002"/>
                  </a:lnTo>
                  <a:lnTo>
                    <a:pt x="264" y="1008"/>
                  </a:lnTo>
                  <a:lnTo>
                    <a:pt x="252" y="996"/>
                  </a:lnTo>
                  <a:lnTo>
                    <a:pt x="246" y="996"/>
                  </a:lnTo>
                  <a:lnTo>
                    <a:pt x="234" y="1002"/>
                  </a:lnTo>
                  <a:lnTo>
                    <a:pt x="222" y="1002"/>
                  </a:lnTo>
                  <a:lnTo>
                    <a:pt x="210" y="1002"/>
                  </a:lnTo>
                  <a:lnTo>
                    <a:pt x="198" y="996"/>
                  </a:lnTo>
                  <a:lnTo>
                    <a:pt x="198" y="1002"/>
                  </a:lnTo>
                  <a:lnTo>
                    <a:pt x="198" y="1008"/>
                  </a:lnTo>
                  <a:lnTo>
                    <a:pt x="192" y="1020"/>
                  </a:lnTo>
                  <a:lnTo>
                    <a:pt x="198" y="1020"/>
                  </a:lnTo>
                  <a:lnTo>
                    <a:pt x="204" y="1020"/>
                  </a:lnTo>
                  <a:lnTo>
                    <a:pt x="210" y="1026"/>
                  </a:lnTo>
                  <a:lnTo>
                    <a:pt x="216" y="1026"/>
                  </a:lnTo>
                  <a:lnTo>
                    <a:pt x="216" y="1032"/>
                  </a:lnTo>
                  <a:lnTo>
                    <a:pt x="210" y="1032"/>
                  </a:lnTo>
                  <a:lnTo>
                    <a:pt x="210" y="1038"/>
                  </a:lnTo>
                  <a:lnTo>
                    <a:pt x="204" y="1038"/>
                  </a:lnTo>
                  <a:lnTo>
                    <a:pt x="204" y="1044"/>
                  </a:lnTo>
                  <a:lnTo>
                    <a:pt x="198" y="1044"/>
                  </a:lnTo>
                  <a:lnTo>
                    <a:pt x="192" y="1044"/>
                  </a:lnTo>
                  <a:lnTo>
                    <a:pt x="186" y="1050"/>
                  </a:lnTo>
                  <a:lnTo>
                    <a:pt x="186" y="1056"/>
                  </a:lnTo>
                  <a:lnTo>
                    <a:pt x="180" y="1056"/>
                  </a:lnTo>
                  <a:lnTo>
                    <a:pt x="180" y="1062"/>
                  </a:lnTo>
                  <a:lnTo>
                    <a:pt x="174" y="1062"/>
                  </a:lnTo>
                  <a:lnTo>
                    <a:pt x="168" y="1062"/>
                  </a:lnTo>
                  <a:lnTo>
                    <a:pt x="162" y="1062"/>
                  </a:lnTo>
                  <a:lnTo>
                    <a:pt x="156" y="1050"/>
                  </a:lnTo>
                  <a:lnTo>
                    <a:pt x="150" y="1044"/>
                  </a:lnTo>
                  <a:lnTo>
                    <a:pt x="150" y="1038"/>
                  </a:lnTo>
                  <a:lnTo>
                    <a:pt x="144" y="1032"/>
                  </a:lnTo>
                  <a:lnTo>
                    <a:pt x="144" y="1026"/>
                  </a:lnTo>
                  <a:lnTo>
                    <a:pt x="144" y="1014"/>
                  </a:lnTo>
                  <a:lnTo>
                    <a:pt x="150" y="1008"/>
                  </a:lnTo>
                  <a:lnTo>
                    <a:pt x="150" y="1002"/>
                  </a:lnTo>
                  <a:lnTo>
                    <a:pt x="156" y="984"/>
                  </a:lnTo>
                  <a:lnTo>
                    <a:pt x="162" y="978"/>
                  </a:lnTo>
                  <a:lnTo>
                    <a:pt x="162" y="972"/>
                  </a:lnTo>
                  <a:lnTo>
                    <a:pt x="150" y="966"/>
                  </a:lnTo>
                  <a:lnTo>
                    <a:pt x="144" y="966"/>
                  </a:lnTo>
                  <a:lnTo>
                    <a:pt x="138" y="966"/>
                  </a:lnTo>
                  <a:lnTo>
                    <a:pt x="138" y="954"/>
                  </a:lnTo>
                  <a:lnTo>
                    <a:pt x="132" y="954"/>
                  </a:lnTo>
                  <a:lnTo>
                    <a:pt x="138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8" y="924"/>
                  </a:lnTo>
                  <a:lnTo>
                    <a:pt x="132" y="930"/>
                  </a:lnTo>
                  <a:lnTo>
                    <a:pt x="132" y="924"/>
                  </a:lnTo>
                  <a:lnTo>
                    <a:pt x="126" y="918"/>
                  </a:lnTo>
                  <a:lnTo>
                    <a:pt x="132" y="918"/>
                  </a:lnTo>
                  <a:lnTo>
                    <a:pt x="132" y="912"/>
                  </a:lnTo>
                  <a:lnTo>
                    <a:pt x="126" y="912"/>
                  </a:lnTo>
                  <a:lnTo>
                    <a:pt x="120" y="912"/>
                  </a:lnTo>
                  <a:lnTo>
                    <a:pt x="120" y="918"/>
                  </a:lnTo>
                  <a:lnTo>
                    <a:pt x="114" y="918"/>
                  </a:lnTo>
                  <a:lnTo>
                    <a:pt x="114" y="912"/>
                  </a:lnTo>
                  <a:lnTo>
                    <a:pt x="108" y="912"/>
                  </a:lnTo>
                  <a:lnTo>
                    <a:pt x="102" y="912"/>
                  </a:lnTo>
                  <a:lnTo>
                    <a:pt x="108" y="906"/>
                  </a:lnTo>
                  <a:lnTo>
                    <a:pt x="102" y="906"/>
                  </a:lnTo>
                  <a:lnTo>
                    <a:pt x="96" y="906"/>
                  </a:lnTo>
                  <a:lnTo>
                    <a:pt x="96" y="912"/>
                  </a:lnTo>
                  <a:lnTo>
                    <a:pt x="90" y="918"/>
                  </a:lnTo>
                  <a:lnTo>
                    <a:pt x="90" y="912"/>
                  </a:lnTo>
                  <a:lnTo>
                    <a:pt x="84" y="912"/>
                  </a:lnTo>
                  <a:lnTo>
                    <a:pt x="84" y="918"/>
                  </a:lnTo>
                  <a:lnTo>
                    <a:pt x="78" y="918"/>
                  </a:lnTo>
                  <a:lnTo>
                    <a:pt x="78" y="912"/>
                  </a:lnTo>
                  <a:lnTo>
                    <a:pt x="78" y="906"/>
                  </a:lnTo>
                  <a:lnTo>
                    <a:pt x="72" y="900"/>
                  </a:lnTo>
                  <a:lnTo>
                    <a:pt x="78" y="900"/>
                  </a:lnTo>
                  <a:lnTo>
                    <a:pt x="72" y="900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8" y="888"/>
                  </a:lnTo>
                  <a:lnTo>
                    <a:pt x="72" y="888"/>
                  </a:lnTo>
                  <a:lnTo>
                    <a:pt x="72" y="882"/>
                  </a:lnTo>
                  <a:lnTo>
                    <a:pt x="66" y="876"/>
                  </a:lnTo>
                  <a:lnTo>
                    <a:pt x="60" y="882"/>
                  </a:lnTo>
                  <a:lnTo>
                    <a:pt x="54" y="876"/>
                  </a:lnTo>
                  <a:lnTo>
                    <a:pt x="54" y="882"/>
                  </a:lnTo>
                  <a:lnTo>
                    <a:pt x="48" y="882"/>
                  </a:lnTo>
                  <a:lnTo>
                    <a:pt x="42" y="870"/>
                  </a:lnTo>
                  <a:lnTo>
                    <a:pt x="42" y="864"/>
                  </a:lnTo>
                  <a:lnTo>
                    <a:pt x="36" y="858"/>
                  </a:lnTo>
                  <a:lnTo>
                    <a:pt x="36" y="852"/>
                  </a:lnTo>
                  <a:lnTo>
                    <a:pt x="30" y="852"/>
                  </a:lnTo>
                  <a:lnTo>
                    <a:pt x="30" y="846"/>
                  </a:lnTo>
                  <a:lnTo>
                    <a:pt x="24" y="846"/>
                  </a:lnTo>
                  <a:lnTo>
                    <a:pt x="18" y="840"/>
                  </a:lnTo>
                  <a:lnTo>
                    <a:pt x="12" y="834"/>
                  </a:lnTo>
                  <a:lnTo>
                    <a:pt x="0" y="828"/>
                  </a:lnTo>
                  <a:lnTo>
                    <a:pt x="0" y="822"/>
                  </a:lnTo>
                  <a:lnTo>
                    <a:pt x="0" y="816"/>
                  </a:lnTo>
                  <a:lnTo>
                    <a:pt x="0" y="810"/>
                  </a:lnTo>
                  <a:lnTo>
                    <a:pt x="6" y="804"/>
                  </a:lnTo>
                  <a:lnTo>
                    <a:pt x="12" y="804"/>
                  </a:lnTo>
                  <a:lnTo>
                    <a:pt x="12" y="798"/>
                  </a:lnTo>
                  <a:lnTo>
                    <a:pt x="12" y="792"/>
                  </a:lnTo>
                  <a:lnTo>
                    <a:pt x="6" y="792"/>
                  </a:lnTo>
                  <a:lnTo>
                    <a:pt x="6" y="786"/>
                  </a:lnTo>
                  <a:lnTo>
                    <a:pt x="6" y="780"/>
                  </a:lnTo>
                  <a:lnTo>
                    <a:pt x="18" y="780"/>
                  </a:lnTo>
                  <a:lnTo>
                    <a:pt x="18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0" y="774"/>
                  </a:lnTo>
                  <a:lnTo>
                    <a:pt x="36" y="768"/>
                  </a:lnTo>
                  <a:lnTo>
                    <a:pt x="42" y="768"/>
                  </a:lnTo>
                  <a:lnTo>
                    <a:pt x="60" y="750"/>
                  </a:lnTo>
                  <a:lnTo>
                    <a:pt x="60" y="744"/>
                  </a:lnTo>
                  <a:lnTo>
                    <a:pt x="54" y="738"/>
                  </a:lnTo>
                  <a:lnTo>
                    <a:pt x="60" y="732"/>
                  </a:lnTo>
                  <a:lnTo>
                    <a:pt x="54" y="732"/>
                  </a:lnTo>
                  <a:lnTo>
                    <a:pt x="60" y="726"/>
                  </a:lnTo>
                  <a:lnTo>
                    <a:pt x="66" y="720"/>
                  </a:lnTo>
                  <a:lnTo>
                    <a:pt x="72" y="714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84" y="696"/>
                  </a:lnTo>
                  <a:lnTo>
                    <a:pt x="90" y="684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66"/>
                  </a:lnTo>
                  <a:lnTo>
                    <a:pt x="90" y="660"/>
                  </a:lnTo>
                  <a:lnTo>
                    <a:pt x="84" y="654"/>
                  </a:lnTo>
                  <a:lnTo>
                    <a:pt x="84" y="648"/>
                  </a:lnTo>
                  <a:lnTo>
                    <a:pt x="78" y="636"/>
                  </a:lnTo>
                  <a:lnTo>
                    <a:pt x="66" y="630"/>
                  </a:lnTo>
                  <a:lnTo>
                    <a:pt x="66" y="624"/>
                  </a:lnTo>
                  <a:lnTo>
                    <a:pt x="60" y="624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60" y="600"/>
                  </a:lnTo>
                  <a:lnTo>
                    <a:pt x="66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6" y="588"/>
                  </a:lnTo>
                  <a:lnTo>
                    <a:pt x="66" y="582"/>
                  </a:lnTo>
                  <a:lnTo>
                    <a:pt x="72" y="582"/>
                  </a:lnTo>
                  <a:lnTo>
                    <a:pt x="78" y="576"/>
                  </a:lnTo>
                  <a:lnTo>
                    <a:pt x="72" y="576"/>
                  </a:lnTo>
                  <a:lnTo>
                    <a:pt x="66" y="570"/>
                  </a:lnTo>
                  <a:lnTo>
                    <a:pt x="72" y="564"/>
                  </a:lnTo>
                  <a:lnTo>
                    <a:pt x="78" y="558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90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102" y="516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0" y="504"/>
                  </a:lnTo>
                  <a:lnTo>
                    <a:pt x="120" y="498"/>
                  </a:lnTo>
                  <a:lnTo>
                    <a:pt x="120" y="492"/>
                  </a:lnTo>
                  <a:lnTo>
                    <a:pt x="126" y="480"/>
                  </a:lnTo>
                  <a:lnTo>
                    <a:pt x="132" y="474"/>
                  </a:lnTo>
                  <a:lnTo>
                    <a:pt x="132" y="468"/>
                  </a:lnTo>
                  <a:lnTo>
                    <a:pt x="138" y="462"/>
                  </a:lnTo>
                  <a:lnTo>
                    <a:pt x="138" y="456"/>
                  </a:lnTo>
                  <a:lnTo>
                    <a:pt x="138" y="450"/>
                  </a:lnTo>
                  <a:lnTo>
                    <a:pt x="144" y="444"/>
                  </a:lnTo>
                  <a:lnTo>
                    <a:pt x="162" y="438"/>
                  </a:lnTo>
                  <a:lnTo>
                    <a:pt x="186" y="438"/>
                  </a:lnTo>
                  <a:lnTo>
                    <a:pt x="210" y="444"/>
                  </a:lnTo>
                  <a:lnTo>
                    <a:pt x="276" y="450"/>
                  </a:lnTo>
                  <a:lnTo>
                    <a:pt x="342" y="450"/>
                  </a:lnTo>
                  <a:lnTo>
                    <a:pt x="348" y="450"/>
                  </a:lnTo>
                  <a:lnTo>
                    <a:pt x="354" y="450"/>
                  </a:lnTo>
                  <a:lnTo>
                    <a:pt x="360" y="456"/>
                  </a:lnTo>
                  <a:lnTo>
                    <a:pt x="354" y="462"/>
                  </a:lnTo>
                  <a:lnTo>
                    <a:pt x="354" y="468"/>
                  </a:lnTo>
                  <a:lnTo>
                    <a:pt x="354" y="474"/>
                  </a:lnTo>
                  <a:lnTo>
                    <a:pt x="348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48" y="498"/>
                  </a:lnTo>
                  <a:lnTo>
                    <a:pt x="342" y="510"/>
                  </a:lnTo>
                  <a:lnTo>
                    <a:pt x="348" y="528"/>
                  </a:lnTo>
                  <a:lnTo>
                    <a:pt x="348" y="534"/>
                  </a:lnTo>
                  <a:lnTo>
                    <a:pt x="354" y="552"/>
                  </a:lnTo>
                  <a:lnTo>
                    <a:pt x="366" y="546"/>
                  </a:lnTo>
                  <a:lnTo>
                    <a:pt x="372" y="540"/>
                  </a:lnTo>
                  <a:lnTo>
                    <a:pt x="384" y="540"/>
                  </a:lnTo>
                  <a:lnTo>
                    <a:pt x="396" y="534"/>
                  </a:lnTo>
                  <a:lnTo>
                    <a:pt x="402" y="534"/>
                  </a:lnTo>
                  <a:lnTo>
                    <a:pt x="414" y="546"/>
                  </a:lnTo>
                  <a:lnTo>
                    <a:pt x="432" y="540"/>
                  </a:lnTo>
                  <a:lnTo>
                    <a:pt x="450" y="534"/>
                  </a:lnTo>
                  <a:lnTo>
                    <a:pt x="450" y="528"/>
                  </a:lnTo>
                  <a:lnTo>
                    <a:pt x="456" y="528"/>
                  </a:lnTo>
                  <a:lnTo>
                    <a:pt x="456" y="522"/>
                  </a:lnTo>
                  <a:lnTo>
                    <a:pt x="456" y="516"/>
                  </a:lnTo>
                  <a:lnTo>
                    <a:pt x="462" y="516"/>
                  </a:lnTo>
                  <a:lnTo>
                    <a:pt x="468" y="510"/>
                  </a:lnTo>
                  <a:lnTo>
                    <a:pt x="468" y="504"/>
                  </a:lnTo>
                  <a:lnTo>
                    <a:pt x="474" y="504"/>
                  </a:lnTo>
                  <a:lnTo>
                    <a:pt x="480" y="504"/>
                  </a:lnTo>
                  <a:lnTo>
                    <a:pt x="486" y="498"/>
                  </a:lnTo>
                  <a:lnTo>
                    <a:pt x="492" y="498"/>
                  </a:lnTo>
                  <a:lnTo>
                    <a:pt x="486" y="480"/>
                  </a:lnTo>
                  <a:lnTo>
                    <a:pt x="492" y="462"/>
                  </a:lnTo>
                  <a:lnTo>
                    <a:pt x="498" y="444"/>
                  </a:lnTo>
                  <a:lnTo>
                    <a:pt x="498" y="426"/>
                  </a:lnTo>
                  <a:lnTo>
                    <a:pt x="498" y="420"/>
                  </a:lnTo>
                  <a:lnTo>
                    <a:pt x="504" y="426"/>
                  </a:lnTo>
                  <a:lnTo>
                    <a:pt x="504" y="420"/>
                  </a:lnTo>
                  <a:lnTo>
                    <a:pt x="510" y="420"/>
                  </a:lnTo>
                  <a:lnTo>
                    <a:pt x="510" y="414"/>
                  </a:lnTo>
                  <a:lnTo>
                    <a:pt x="510" y="408"/>
                  </a:lnTo>
                  <a:lnTo>
                    <a:pt x="504" y="402"/>
                  </a:lnTo>
                  <a:lnTo>
                    <a:pt x="504" y="396"/>
                  </a:lnTo>
                  <a:lnTo>
                    <a:pt x="504" y="384"/>
                  </a:lnTo>
                  <a:lnTo>
                    <a:pt x="504" y="378"/>
                  </a:lnTo>
                  <a:lnTo>
                    <a:pt x="504" y="360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510" y="348"/>
                  </a:lnTo>
                  <a:lnTo>
                    <a:pt x="510" y="336"/>
                  </a:lnTo>
                  <a:lnTo>
                    <a:pt x="516" y="330"/>
                  </a:lnTo>
                  <a:lnTo>
                    <a:pt x="522" y="324"/>
                  </a:lnTo>
                  <a:lnTo>
                    <a:pt x="528" y="318"/>
                  </a:lnTo>
                  <a:lnTo>
                    <a:pt x="534" y="312"/>
                  </a:lnTo>
                  <a:lnTo>
                    <a:pt x="534" y="300"/>
                  </a:lnTo>
                  <a:lnTo>
                    <a:pt x="540" y="294"/>
                  </a:lnTo>
                  <a:lnTo>
                    <a:pt x="546" y="288"/>
                  </a:lnTo>
                  <a:lnTo>
                    <a:pt x="552" y="276"/>
                  </a:lnTo>
                  <a:lnTo>
                    <a:pt x="558" y="264"/>
                  </a:lnTo>
                  <a:lnTo>
                    <a:pt x="558" y="258"/>
                  </a:lnTo>
                  <a:lnTo>
                    <a:pt x="558" y="252"/>
                  </a:lnTo>
                  <a:lnTo>
                    <a:pt x="558" y="246"/>
                  </a:lnTo>
                  <a:lnTo>
                    <a:pt x="564" y="246"/>
                  </a:lnTo>
                  <a:lnTo>
                    <a:pt x="564" y="240"/>
                  </a:lnTo>
                  <a:lnTo>
                    <a:pt x="570" y="234"/>
                  </a:lnTo>
                  <a:lnTo>
                    <a:pt x="564" y="216"/>
                  </a:lnTo>
                  <a:lnTo>
                    <a:pt x="564" y="210"/>
                  </a:lnTo>
                  <a:lnTo>
                    <a:pt x="570" y="210"/>
                  </a:lnTo>
                  <a:lnTo>
                    <a:pt x="570" y="204"/>
                  </a:lnTo>
                  <a:lnTo>
                    <a:pt x="570" y="198"/>
                  </a:lnTo>
                  <a:lnTo>
                    <a:pt x="582" y="180"/>
                  </a:lnTo>
                  <a:lnTo>
                    <a:pt x="582" y="174"/>
                  </a:lnTo>
                  <a:lnTo>
                    <a:pt x="582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606" y="150"/>
                  </a:lnTo>
                  <a:lnTo>
                    <a:pt x="612" y="150"/>
                  </a:lnTo>
                  <a:lnTo>
                    <a:pt x="618" y="150"/>
                  </a:lnTo>
                  <a:lnTo>
                    <a:pt x="624" y="138"/>
                  </a:lnTo>
                  <a:lnTo>
                    <a:pt x="618" y="132"/>
                  </a:lnTo>
                  <a:lnTo>
                    <a:pt x="618" y="126"/>
                  </a:lnTo>
                  <a:lnTo>
                    <a:pt x="618" y="120"/>
                  </a:lnTo>
                  <a:lnTo>
                    <a:pt x="618" y="114"/>
                  </a:lnTo>
                  <a:lnTo>
                    <a:pt x="612" y="108"/>
                  </a:lnTo>
                  <a:lnTo>
                    <a:pt x="612" y="102"/>
                  </a:lnTo>
                  <a:lnTo>
                    <a:pt x="618" y="90"/>
                  </a:lnTo>
                  <a:lnTo>
                    <a:pt x="624" y="84"/>
                  </a:lnTo>
                  <a:lnTo>
                    <a:pt x="618" y="84"/>
                  </a:lnTo>
                  <a:lnTo>
                    <a:pt x="618" y="78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0" y="72"/>
                  </a:lnTo>
                  <a:lnTo>
                    <a:pt x="600" y="66"/>
                  </a:lnTo>
                  <a:lnTo>
                    <a:pt x="600" y="60"/>
                  </a:lnTo>
                  <a:lnTo>
                    <a:pt x="600" y="48"/>
                  </a:lnTo>
                  <a:lnTo>
                    <a:pt x="612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36"/>
                  </a:lnTo>
                  <a:lnTo>
                    <a:pt x="630" y="30"/>
                  </a:lnTo>
                  <a:lnTo>
                    <a:pt x="636" y="24"/>
                  </a:lnTo>
                  <a:lnTo>
                    <a:pt x="642" y="24"/>
                  </a:lnTo>
                  <a:lnTo>
                    <a:pt x="648" y="24"/>
                  </a:lnTo>
                  <a:lnTo>
                    <a:pt x="648" y="18"/>
                  </a:lnTo>
                  <a:lnTo>
                    <a:pt x="654" y="12"/>
                  </a:lnTo>
                  <a:lnTo>
                    <a:pt x="660" y="0"/>
                  </a:lnTo>
                  <a:lnTo>
                    <a:pt x="678" y="0"/>
                  </a:lnTo>
                  <a:lnTo>
                    <a:pt x="696" y="0"/>
                  </a:lnTo>
                  <a:lnTo>
                    <a:pt x="702" y="0"/>
                  </a:lnTo>
                  <a:lnTo>
                    <a:pt x="714" y="0"/>
                  </a:lnTo>
                  <a:lnTo>
                    <a:pt x="720" y="6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44" y="24"/>
                  </a:lnTo>
                  <a:lnTo>
                    <a:pt x="744" y="30"/>
                  </a:lnTo>
                  <a:lnTo>
                    <a:pt x="732" y="42"/>
                  </a:lnTo>
                  <a:lnTo>
                    <a:pt x="726" y="42"/>
                  </a:lnTo>
                  <a:lnTo>
                    <a:pt x="720" y="42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54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90"/>
                  </a:lnTo>
                  <a:lnTo>
                    <a:pt x="726" y="84"/>
                  </a:lnTo>
                  <a:lnTo>
                    <a:pt x="738" y="84"/>
                  </a:lnTo>
                  <a:lnTo>
                    <a:pt x="750" y="96"/>
                  </a:lnTo>
                  <a:lnTo>
                    <a:pt x="768" y="96"/>
                  </a:lnTo>
                  <a:lnTo>
                    <a:pt x="768" y="90"/>
                  </a:lnTo>
                  <a:lnTo>
                    <a:pt x="774" y="84"/>
                  </a:lnTo>
                  <a:lnTo>
                    <a:pt x="780" y="78"/>
                  </a:lnTo>
                  <a:lnTo>
                    <a:pt x="786" y="78"/>
                  </a:lnTo>
                  <a:lnTo>
                    <a:pt x="792" y="72"/>
                  </a:lnTo>
                  <a:lnTo>
                    <a:pt x="804" y="72"/>
                  </a:lnTo>
                  <a:lnTo>
                    <a:pt x="804" y="66"/>
                  </a:lnTo>
                  <a:lnTo>
                    <a:pt x="810" y="66"/>
                  </a:lnTo>
                  <a:lnTo>
                    <a:pt x="810" y="72"/>
                  </a:lnTo>
                  <a:lnTo>
                    <a:pt x="816" y="66"/>
                  </a:lnTo>
                  <a:lnTo>
                    <a:pt x="828" y="66"/>
                  </a:lnTo>
                  <a:lnTo>
                    <a:pt x="834" y="72"/>
                  </a:lnTo>
                  <a:lnTo>
                    <a:pt x="840" y="72"/>
                  </a:lnTo>
                  <a:lnTo>
                    <a:pt x="840" y="78"/>
                  </a:lnTo>
                  <a:lnTo>
                    <a:pt x="840" y="84"/>
                  </a:lnTo>
                  <a:lnTo>
                    <a:pt x="852" y="84"/>
                  </a:lnTo>
                  <a:lnTo>
                    <a:pt x="858" y="96"/>
                  </a:lnTo>
                  <a:lnTo>
                    <a:pt x="864" y="108"/>
                  </a:lnTo>
                  <a:lnTo>
                    <a:pt x="876" y="114"/>
                  </a:lnTo>
                  <a:lnTo>
                    <a:pt x="894" y="114"/>
                  </a:lnTo>
                  <a:lnTo>
                    <a:pt x="906" y="114"/>
                  </a:lnTo>
                  <a:lnTo>
                    <a:pt x="906" y="126"/>
                  </a:lnTo>
                  <a:lnTo>
                    <a:pt x="912" y="144"/>
                  </a:lnTo>
                  <a:lnTo>
                    <a:pt x="930" y="138"/>
                  </a:lnTo>
                  <a:lnTo>
                    <a:pt x="936" y="138"/>
                  </a:lnTo>
                  <a:lnTo>
                    <a:pt x="942" y="144"/>
                  </a:lnTo>
                  <a:lnTo>
                    <a:pt x="948" y="150"/>
                  </a:lnTo>
                  <a:lnTo>
                    <a:pt x="954" y="156"/>
                  </a:lnTo>
                  <a:lnTo>
                    <a:pt x="954" y="168"/>
                  </a:lnTo>
                  <a:lnTo>
                    <a:pt x="954" y="174"/>
                  </a:lnTo>
                  <a:lnTo>
                    <a:pt x="960" y="180"/>
                  </a:lnTo>
                  <a:lnTo>
                    <a:pt x="966" y="186"/>
                  </a:lnTo>
                  <a:lnTo>
                    <a:pt x="960" y="186"/>
                  </a:lnTo>
                  <a:lnTo>
                    <a:pt x="966" y="192"/>
                  </a:lnTo>
                  <a:lnTo>
                    <a:pt x="966" y="198"/>
                  </a:lnTo>
                  <a:lnTo>
                    <a:pt x="978" y="204"/>
                  </a:lnTo>
                  <a:lnTo>
                    <a:pt x="1050" y="186"/>
                  </a:lnTo>
                  <a:lnTo>
                    <a:pt x="1056" y="198"/>
                  </a:lnTo>
                  <a:lnTo>
                    <a:pt x="1068" y="210"/>
                  </a:lnTo>
                  <a:lnTo>
                    <a:pt x="1074" y="216"/>
                  </a:lnTo>
                  <a:lnTo>
                    <a:pt x="1080" y="252"/>
                  </a:lnTo>
                  <a:lnTo>
                    <a:pt x="1086" y="270"/>
                  </a:lnTo>
                  <a:lnTo>
                    <a:pt x="1092" y="282"/>
                  </a:lnTo>
                  <a:lnTo>
                    <a:pt x="1086" y="300"/>
                  </a:lnTo>
                  <a:lnTo>
                    <a:pt x="1074" y="330"/>
                  </a:lnTo>
                  <a:lnTo>
                    <a:pt x="1068" y="336"/>
                  </a:lnTo>
                  <a:lnTo>
                    <a:pt x="1062" y="348"/>
                  </a:lnTo>
                  <a:lnTo>
                    <a:pt x="1062" y="360"/>
                  </a:lnTo>
                  <a:lnTo>
                    <a:pt x="1068" y="378"/>
                  </a:lnTo>
                  <a:lnTo>
                    <a:pt x="1074" y="390"/>
                  </a:lnTo>
                  <a:lnTo>
                    <a:pt x="1068" y="396"/>
                  </a:lnTo>
                  <a:lnTo>
                    <a:pt x="1068" y="408"/>
                  </a:lnTo>
                  <a:lnTo>
                    <a:pt x="1062" y="414"/>
                  </a:lnTo>
                  <a:lnTo>
                    <a:pt x="1050" y="432"/>
                  </a:lnTo>
                  <a:lnTo>
                    <a:pt x="1044" y="450"/>
                  </a:lnTo>
                  <a:lnTo>
                    <a:pt x="1038" y="456"/>
                  </a:lnTo>
                  <a:lnTo>
                    <a:pt x="1026" y="468"/>
                  </a:lnTo>
                  <a:lnTo>
                    <a:pt x="1026" y="474"/>
                  </a:lnTo>
                  <a:lnTo>
                    <a:pt x="1026" y="480"/>
                  </a:lnTo>
                  <a:lnTo>
                    <a:pt x="1032" y="492"/>
                  </a:lnTo>
                  <a:lnTo>
                    <a:pt x="1044" y="504"/>
                  </a:lnTo>
                  <a:lnTo>
                    <a:pt x="1044" y="516"/>
                  </a:lnTo>
                  <a:lnTo>
                    <a:pt x="1038" y="528"/>
                  </a:lnTo>
                  <a:lnTo>
                    <a:pt x="1032" y="546"/>
                  </a:lnTo>
                  <a:lnTo>
                    <a:pt x="1032" y="570"/>
                  </a:lnTo>
                  <a:lnTo>
                    <a:pt x="1050" y="594"/>
                  </a:lnTo>
                  <a:lnTo>
                    <a:pt x="1056" y="624"/>
                  </a:lnTo>
                  <a:lnTo>
                    <a:pt x="1056" y="65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9" name="Freeform 24">
              <a:extLst>
                <a:ext uri="{FF2B5EF4-FFF2-40B4-BE49-F238E27FC236}">
                  <a16:creationId xmlns:a16="http://schemas.microsoft.com/office/drawing/2014/main" id="{CAE689DA-332A-4F73-BDE6-8865C9170AA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84829" y="3213406"/>
              <a:ext cx="851989" cy="744754"/>
            </a:xfrm>
            <a:custGeom>
              <a:avLst/>
              <a:gdLst>
                <a:gd name="T0" fmla="*/ 116 w 1602"/>
                <a:gd name="T1" fmla="*/ 91 h 1404"/>
                <a:gd name="T2" fmla="*/ 111 w 1602"/>
                <a:gd name="T3" fmla="*/ 95 h 1404"/>
                <a:gd name="T4" fmla="*/ 102 w 1602"/>
                <a:gd name="T5" fmla="*/ 101 h 1404"/>
                <a:gd name="T6" fmla="*/ 99 w 1602"/>
                <a:gd name="T7" fmla="*/ 103 h 1404"/>
                <a:gd name="T8" fmla="*/ 96 w 1602"/>
                <a:gd name="T9" fmla="*/ 106 h 1404"/>
                <a:gd name="T10" fmla="*/ 93 w 1602"/>
                <a:gd name="T11" fmla="*/ 108 h 1404"/>
                <a:gd name="T12" fmla="*/ 88 w 1602"/>
                <a:gd name="T13" fmla="*/ 106 h 1404"/>
                <a:gd name="T14" fmla="*/ 86 w 1602"/>
                <a:gd name="T15" fmla="*/ 108 h 1404"/>
                <a:gd name="T16" fmla="*/ 81 w 1602"/>
                <a:gd name="T17" fmla="*/ 119 h 1404"/>
                <a:gd name="T18" fmla="*/ 71 w 1602"/>
                <a:gd name="T19" fmla="*/ 109 h 1404"/>
                <a:gd name="T20" fmla="*/ 72 w 1602"/>
                <a:gd name="T21" fmla="*/ 101 h 1404"/>
                <a:gd name="T22" fmla="*/ 74 w 1602"/>
                <a:gd name="T23" fmla="*/ 93 h 1404"/>
                <a:gd name="T24" fmla="*/ 73 w 1602"/>
                <a:gd name="T25" fmla="*/ 82 h 1404"/>
                <a:gd name="T26" fmla="*/ 64 w 1602"/>
                <a:gd name="T27" fmla="*/ 79 h 1404"/>
                <a:gd name="T28" fmla="*/ 59 w 1602"/>
                <a:gd name="T29" fmla="*/ 75 h 1404"/>
                <a:gd name="T30" fmla="*/ 54 w 1602"/>
                <a:gd name="T31" fmla="*/ 71 h 1404"/>
                <a:gd name="T32" fmla="*/ 51 w 1602"/>
                <a:gd name="T33" fmla="*/ 70 h 1404"/>
                <a:gd name="T34" fmla="*/ 45 w 1602"/>
                <a:gd name="T35" fmla="*/ 71 h 1404"/>
                <a:gd name="T36" fmla="*/ 43 w 1602"/>
                <a:gd name="T37" fmla="*/ 68 h 1404"/>
                <a:gd name="T38" fmla="*/ 43 w 1602"/>
                <a:gd name="T39" fmla="*/ 64 h 1404"/>
                <a:gd name="T40" fmla="*/ 36 w 1602"/>
                <a:gd name="T41" fmla="*/ 66 h 1404"/>
                <a:gd name="T42" fmla="*/ 31 w 1602"/>
                <a:gd name="T43" fmla="*/ 55 h 1404"/>
                <a:gd name="T44" fmla="*/ 25 w 1602"/>
                <a:gd name="T45" fmla="*/ 53 h 1404"/>
                <a:gd name="T46" fmla="*/ 19 w 1602"/>
                <a:gd name="T47" fmla="*/ 51 h 1404"/>
                <a:gd name="T48" fmla="*/ 17 w 1602"/>
                <a:gd name="T49" fmla="*/ 43 h 1404"/>
                <a:gd name="T50" fmla="*/ 17 w 1602"/>
                <a:gd name="T51" fmla="*/ 39 h 1404"/>
                <a:gd name="T52" fmla="*/ 12 w 1602"/>
                <a:gd name="T53" fmla="*/ 39 h 1404"/>
                <a:gd name="T54" fmla="*/ 10 w 1602"/>
                <a:gd name="T55" fmla="*/ 35 h 1404"/>
                <a:gd name="T56" fmla="*/ 5 w 1602"/>
                <a:gd name="T57" fmla="*/ 30 h 1404"/>
                <a:gd name="T58" fmla="*/ 3 w 1602"/>
                <a:gd name="T59" fmla="*/ 27 h 1404"/>
                <a:gd name="T60" fmla="*/ 2 w 1602"/>
                <a:gd name="T61" fmla="*/ 25 h 1404"/>
                <a:gd name="T62" fmla="*/ 0 w 1602"/>
                <a:gd name="T63" fmla="*/ 22 h 1404"/>
                <a:gd name="T64" fmla="*/ 8 w 1602"/>
                <a:gd name="T65" fmla="*/ 14 h 1404"/>
                <a:gd name="T66" fmla="*/ 16 w 1602"/>
                <a:gd name="T67" fmla="*/ 16 h 1404"/>
                <a:gd name="T68" fmla="*/ 31 w 1602"/>
                <a:gd name="T69" fmla="*/ 18 h 1404"/>
                <a:gd name="T70" fmla="*/ 43 w 1602"/>
                <a:gd name="T71" fmla="*/ 17 h 1404"/>
                <a:gd name="T72" fmla="*/ 47 w 1602"/>
                <a:gd name="T73" fmla="*/ 6 h 1404"/>
                <a:gd name="T74" fmla="*/ 52 w 1602"/>
                <a:gd name="T75" fmla="*/ 0 h 1404"/>
                <a:gd name="T76" fmla="*/ 55 w 1602"/>
                <a:gd name="T77" fmla="*/ 3 h 1404"/>
                <a:gd name="T78" fmla="*/ 59 w 1602"/>
                <a:gd name="T79" fmla="*/ 9 h 1404"/>
                <a:gd name="T80" fmla="*/ 62 w 1602"/>
                <a:gd name="T81" fmla="*/ 16 h 1404"/>
                <a:gd name="T82" fmla="*/ 66 w 1602"/>
                <a:gd name="T83" fmla="*/ 20 h 1404"/>
                <a:gd name="T84" fmla="*/ 70 w 1602"/>
                <a:gd name="T85" fmla="*/ 25 h 1404"/>
                <a:gd name="T86" fmla="*/ 74 w 1602"/>
                <a:gd name="T87" fmla="*/ 30 h 1404"/>
                <a:gd name="T88" fmla="*/ 76 w 1602"/>
                <a:gd name="T89" fmla="*/ 27 h 1404"/>
                <a:gd name="T90" fmla="*/ 78 w 1602"/>
                <a:gd name="T91" fmla="*/ 27 h 1404"/>
                <a:gd name="T92" fmla="*/ 78 w 1602"/>
                <a:gd name="T93" fmla="*/ 23 h 1404"/>
                <a:gd name="T94" fmla="*/ 82 w 1602"/>
                <a:gd name="T95" fmla="*/ 20 h 1404"/>
                <a:gd name="T96" fmla="*/ 82 w 1602"/>
                <a:gd name="T97" fmla="*/ 18 h 1404"/>
                <a:gd name="T98" fmla="*/ 90 w 1602"/>
                <a:gd name="T99" fmla="*/ 24 h 1404"/>
                <a:gd name="T100" fmla="*/ 90 w 1602"/>
                <a:gd name="T101" fmla="*/ 45 h 1404"/>
                <a:gd name="T102" fmla="*/ 104 w 1602"/>
                <a:gd name="T103" fmla="*/ 41 h 1404"/>
                <a:gd name="T104" fmla="*/ 117 w 1602"/>
                <a:gd name="T105" fmla="*/ 39 h 1404"/>
                <a:gd name="T106" fmla="*/ 125 w 1602"/>
                <a:gd name="T107" fmla="*/ 39 h 1404"/>
                <a:gd name="T108" fmla="*/ 127 w 1602"/>
                <a:gd name="T109" fmla="*/ 43 h 1404"/>
                <a:gd name="T110" fmla="*/ 131 w 1602"/>
                <a:gd name="T111" fmla="*/ 53 h 1404"/>
                <a:gd name="T112" fmla="*/ 133 w 1602"/>
                <a:gd name="T113" fmla="*/ 60 h 1404"/>
                <a:gd name="T114" fmla="*/ 138 w 1602"/>
                <a:gd name="T115" fmla="*/ 73 h 1404"/>
                <a:gd name="T116" fmla="*/ 136 w 1602"/>
                <a:gd name="T117" fmla="*/ 80 h 1404"/>
                <a:gd name="T118" fmla="*/ 129 w 1602"/>
                <a:gd name="T119" fmla="*/ 87 h 1404"/>
                <a:gd name="T120" fmla="*/ 123 w 1602"/>
                <a:gd name="T121" fmla="*/ 95 h 14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02"/>
                <a:gd name="T184" fmla="*/ 0 h 1404"/>
                <a:gd name="T185" fmla="*/ 1602 w 1602"/>
                <a:gd name="T186" fmla="*/ 1404 h 14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02" h="1404">
                  <a:moveTo>
                    <a:pt x="1392" y="1080"/>
                  </a:moveTo>
                  <a:lnTo>
                    <a:pt x="1380" y="1074"/>
                  </a:lnTo>
                  <a:lnTo>
                    <a:pt x="1368" y="1056"/>
                  </a:lnTo>
                  <a:lnTo>
                    <a:pt x="1356" y="1044"/>
                  </a:lnTo>
                  <a:lnTo>
                    <a:pt x="1344" y="1038"/>
                  </a:lnTo>
                  <a:lnTo>
                    <a:pt x="1338" y="1038"/>
                  </a:lnTo>
                  <a:lnTo>
                    <a:pt x="1332" y="1038"/>
                  </a:lnTo>
                  <a:lnTo>
                    <a:pt x="1326" y="1044"/>
                  </a:lnTo>
                  <a:lnTo>
                    <a:pt x="1320" y="1044"/>
                  </a:lnTo>
                  <a:lnTo>
                    <a:pt x="1314" y="1044"/>
                  </a:lnTo>
                  <a:lnTo>
                    <a:pt x="1296" y="1056"/>
                  </a:lnTo>
                  <a:lnTo>
                    <a:pt x="1296" y="1080"/>
                  </a:lnTo>
                  <a:lnTo>
                    <a:pt x="1290" y="1080"/>
                  </a:lnTo>
                  <a:lnTo>
                    <a:pt x="1284" y="1086"/>
                  </a:lnTo>
                  <a:lnTo>
                    <a:pt x="1278" y="1086"/>
                  </a:lnTo>
                  <a:lnTo>
                    <a:pt x="1278" y="1092"/>
                  </a:lnTo>
                  <a:lnTo>
                    <a:pt x="1272" y="1092"/>
                  </a:lnTo>
                  <a:lnTo>
                    <a:pt x="1266" y="1086"/>
                  </a:lnTo>
                  <a:lnTo>
                    <a:pt x="1260" y="1086"/>
                  </a:lnTo>
                  <a:lnTo>
                    <a:pt x="1260" y="1098"/>
                  </a:lnTo>
                  <a:lnTo>
                    <a:pt x="1248" y="1098"/>
                  </a:lnTo>
                  <a:lnTo>
                    <a:pt x="1212" y="1116"/>
                  </a:lnTo>
                  <a:lnTo>
                    <a:pt x="1206" y="1158"/>
                  </a:lnTo>
                  <a:lnTo>
                    <a:pt x="1176" y="1164"/>
                  </a:lnTo>
                  <a:lnTo>
                    <a:pt x="1158" y="1164"/>
                  </a:lnTo>
                  <a:lnTo>
                    <a:pt x="1152" y="1164"/>
                  </a:lnTo>
                  <a:lnTo>
                    <a:pt x="1152" y="1170"/>
                  </a:lnTo>
                  <a:lnTo>
                    <a:pt x="1152" y="1176"/>
                  </a:lnTo>
                  <a:lnTo>
                    <a:pt x="1146" y="1176"/>
                  </a:lnTo>
                  <a:lnTo>
                    <a:pt x="1140" y="1176"/>
                  </a:lnTo>
                  <a:lnTo>
                    <a:pt x="1134" y="1182"/>
                  </a:lnTo>
                  <a:lnTo>
                    <a:pt x="1134" y="1188"/>
                  </a:lnTo>
                  <a:lnTo>
                    <a:pt x="1128" y="1194"/>
                  </a:lnTo>
                  <a:lnTo>
                    <a:pt x="1122" y="1194"/>
                  </a:lnTo>
                  <a:lnTo>
                    <a:pt x="1116" y="1194"/>
                  </a:lnTo>
                  <a:lnTo>
                    <a:pt x="1110" y="1200"/>
                  </a:lnTo>
                  <a:lnTo>
                    <a:pt x="1110" y="1206"/>
                  </a:lnTo>
                  <a:lnTo>
                    <a:pt x="1104" y="1212"/>
                  </a:lnTo>
                  <a:lnTo>
                    <a:pt x="1104" y="1218"/>
                  </a:lnTo>
                  <a:lnTo>
                    <a:pt x="1098" y="1224"/>
                  </a:lnTo>
                  <a:lnTo>
                    <a:pt x="1092" y="1230"/>
                  </a:lnTo>
                  <a:lnTo>
                    <a:pt x="1086" y="1230"/>
                  </a:lnTo>
                  <a:lnTo>
                    <a:pt x="1080" y="1230"/>
                  </a:lnTo>
                  <a:lnTo>
                    <a:pt x="1080" y="1242"/>
                  </a:lnTo>
                  <a:lnTo>
                    <a:pt x="1074" y="1242"/>
                  </a:lnTo>
                  <a:lnTo>
                    <a:pt x="1068" y="1242"/>
                  </a:lnTo>
                  <a:lnTo>
                    <a:pt x="1068" y="1236"/>
                  </a:lnTo>
                  <a:lnTo>
                    <a:pt x="1062" y="1242"/>
                  </a:lnTo>
                  <a:lnTo>
                    <a:pt x="1056" y="1236"/>
                  </a:lnTo>
                  <a:lnTo>
                    <a:pt x="1050" y="1242"/>
                  </a:lnTo>
                  <a:lnTo>
                    <a:pt x="1050" y="1236"/>
                  </a:lnTo>
                  <a:lnTo>
                    <a:pt x="1044" y="1194"/>
                  </a:lnTo>
                  <a:lnTo>
                    <a:pt x="1032" y="1194"/>
                  </a:lnTo>
                  <a:lnTo>
                    <a:pt x="1032" y="1200"/>
                  </a:lnTo>
                  <a:lnTo>
                    <a:pt x="1026" y="1200"/>
                  </a:lnTo>
                  <a:lnTo>
                    <a:pt x="1014" y="1218"/>
                  </a:lnTo>
                  <a:lnTo>
                    <a:pt x="1014" y="1224"/>
                  </a:lnTo>
                  <a:lnTo>
                    <a:pt x="1014" y="1236"/>
                  </a:lnTo>
                  <a:lnTo>
                    <a:pt x="1014" y="1242"/>
                  </a:lnTo>
                  <a:lnTo>
                    <a:pt x="1008" y="1242"/>
                  </a:lnTo>
                  <a:lnTo>
                    <a:pt x="1002" y="1236"/>
                  </a:lnTo>
                  <a:lnTo>
                    <a:pt x="1002" y="1230"/>
                  </a:lnTo>
                  <a:lnTo>
                    <a:pt x="996" y="1236"/>
                  </a:lnTo>
                  <a:lnTo>
                    <a:pt x="990" y="1236"/>
                  </a:lnTo>
                  <a:lnTo>
                    <a:pt x="990" y="1230"/>
                  </a:lnTo>
                  <a:lnTo>
                    <a:pt x="984" y="1236"/>
                  </a:lnTo>
                  <a:lnTo>
                    <a:pt x="978" y="1248"/>
                  </a:lnTo>
                  <a:lnTo>
                    <a:pt x="972" y="1254"/>
                  </a:lnTo>
                  <a:lnTo>
                    <a:pt x="966" y="1260"/>
                  </a:lnTo>
                  <a:lnTo>
                    <a:pt x="930" y="1284"/>
                  </a:lnTo>
                  <a:lnTo>
                    <a:pt x="942" y="1356"/>
                  </a:lnTo>
                  <a:lnTo>
                    <a:pt x="930" y="1368"/>
                  </a:lnTo>
                  <a:lnTo>
                    <a:pt x="852" y="1404"/>
                  </a:lnTo>
                  <a:lnTo>
                    <a:pt x="834" y="1392"/>
                  </a:lnTo>
                  <a:lnTo>
                    <a:pt x="834" y="1362"/>
                  </a:lnTo>
                  <a:lnTo>
                    <a:pt x="828" y="1332"/>
                  </a:lnTo>
                  <a:lnTo>
                    <a:pt x="810" y="1308"/>
                  </a:lnTo>
                  <a:lnTo>
                    <a:pt x="810" y="1284"/>
                  </a:lnTo>
                  <a:lnTo>
                    <a:pt x="816" y="1266"/>
                  </a:lnTo>
                  <a:lnTo>
                    <a:pt x="822" y="1254"/>
                  </a:lnTo>
                  <a:lnTo>
                    <a:pt x="822" y="1242"/>
                  </a:lnTo>
                  <a:lnTo>
                    <a:pt x="810" y="1230"/>
                  </a:lnTo>
                  <a:lnTo>
                    <a:pt x="804" y="1218"/>
                  </a:lnTo>
                  <a:lnTo>
                    <a:pt x="804" y="1212"/>
                  </a:lnTo>
                  <a:lnTo>
                    <a:pt x="804" y="1206"/>
                  </a:lnTo>
                  <a:lnTo>
                    <a:pt x="816" y="1194"/>
                  </a:lnTo>
                  <a:lnTo>
                    <a:pt x="822" y="1188"/>
                  </a:lnTo>
                  <a:lnTo>
                    <a:pt x="828" y="1170"/>
                  </a:lnTo>
                  <a:lnTo>
                    <a:pt x="840" y="1152"/>
                  </a:lnTo>
                  <a:lnTo>
                    <a:pt x="846" y="1146"/>
                  </a:lnTo>
                  <a:lnTo>
                    <a:pt x="846" y="1134"/>
                  </a:lnTo>
                  <a:lnTo>
                    <a:pt x="852" y="1128"/>
                  </a:lnTo>
                  <a:lnTo>
                    <a:pt x="846" y="1116"/>
                  </a:lnTo>
                  <a:lnTo>
                    <a:pt x="840" y="1098"/>
                  </a:lnTo>
                  <a:lnTo>
                    <a:pt x="840" y="1086"/>
                  </a:lnTo>
                  <a:lnTo>
                    <a:pt x="846" y="1074"/>
                  </a:lnTo>
                  <a:lnTo>
                    <a:pt x="852" y="1068"/>
                  </a:lnTo>
                  <a:lnTo>
                    <a:pt x="864" y="1038"/>
                  </a:lnTo>
                  <a:lnTo>
                    <a:pt x="870" y="1020"/>
                  </a:lnTo>
                  <a:lnTo>
                    <a:pt x="864" y="1008"/>
                  </a:lnTo>
                  <a:lnTo>
                    <a:pt x="858" y="990"/>
                  </a:lnTo>
                  <a:lnTo>
                    <a:pt x="852" y="954"/>
                  </a:lnTo>
                  <a:lnTo>
                    <a:pt x="846" y="948"/>
                  </a:lnTo>
                  <a:lnTo>
                    <a:pt x="834" y="936"/>
                  </a:lnTo>
                  <a:lnTo>
                    <a:pt x="828" y="924"/>
                  </a:lnTo>
                  <a:lnTo>
                    <a:pt x="756" y="942"/>
                  </a:lnTo>
                  <a:lnTo>
                    <a:pt x="744" y="936"/>
                  </a:lnTo>
                  <a:lnTo>
                    <a:pt x="744" y="930"/>
                  </a:lnTo>
                  <a:lnTo>
                    <a:pt x="738" y="924"/>
                  </a:lnTo>
                  <a:lnTo>
                    <a:pt x="744" y="924"/>
                  </a:lnTo>
                  <a:lnTo>
                    <a:pt x="738" y="918"/>
                  </a:lnTo>
                  <a:lnTo>
                    <a:pt x="732" y="912"/>
                  </a:lnTo>
                  <a:lnTo>
                    <a:pt x="732" y="906"/>
                  </a:lnTo>
                  <a:lnTo>
                    <a:pt x="732" y="894"/>
                  </a:lnTo>
                  <a:lnTo>
                    <a:pt x="726" y="888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6"/>
                  </a:lnTo>
                  <a:lnTo>
                    <a:pt x="690" y="882"/>
                  </a:lnTo>
                  <a:lnTo>
                    <a:pt x="684" y="864"/>
                  </a:lnTo>
                  <a:lnTo>
                    <a:pt x="684" y="852"/>
                  </a:lnTo>
                  <a:lnTo>
                    <a:pt x="672" y="852"/>
                  </a:lnTo>
                  <a:lnTo>
                    <a:pt x="654" y="852"/>
                  </a:lnTo>
                  <a:lnTo>
                    <a:pt x="642" y="846"/>
                  </a:lnTo>
                  <a:lnTo>
                    <a:pt x="636" y="834"/>
                  </a:lnTo>
                  <a:lnTo>
                    <a:pt x="630" y="822"/>
                  </a:lnTo>
                  <a:lnTo>
                    <a:pt x="618" y="822"/>
                  </a:lnTo>
                  <a:lnTo>
                    <a:pt x="618" y="816"/>
                  </a:lnTo>
                  <a:lnTo>
                    <a:pt x="618" y="810"/>
                  </a:lnTo>
                  <a:lnTo>
                    <a:pt x="612" y="810"/>
                  </a:lnTo>
                  <a:lnTo>
                    <a:pt x="606" y="804"/>
                  </a:lnTo>
                  <a:lnTo>
                    <a:pt x="594" y="804"/>
                  </a:lnTo>
                  <a:lnTo>
                    <a:pt x="588" y="810"/>
                  </a:lnTo>
                  <a:lnTo>
                    <a:pt x="588" y="804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70" y="810"/>
                  </a:lnTo>
                  <a:lnTo>
                    <a:pt x="564" y="816"/>
                  </a:lnTo>
                  <a:lnTo>
                    <a:pt x="558" y="816"/>
                  </a:lnTo>
                  <a:lnTo>
                    <a:pt x="552" y="822"/>
                  </a:lnTo>
                  <a:lnTo>
                    <a:pt x="546" y="828"/>
                  </a:lnTo>
                  <a:lnTo>
                    <a:pt x="546" y="834"/>
                  </a:lnTo>
                  <a:lnTo>
                    <a:pt x="528" y="834"/>
                  </a:lnTo>
                  <a:lnTo>
                    <a:pt x="516" y="822"/>
                  </a:lnTo>
                  <a:lnTo>
                    <a:pt x="504" y="822"/>
                  </a:lnTo>
                  <a:lnTo>
                    <a:pt x="492" y="82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6" y="792"/>
                  </a:lnTo>
                  <a:lnTo>
                    <a:pt x="492" y="786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504" y="780"/>
                  </a:lnTo>
                  <a:lnTo>
                    <a:pt x="510" y="780"/>
                  </a:lnTo>
                  <a:lnTo>
                    <a:pt x="522" y="768"/>
                  </a:lnTo>
                  <a:lnTo>
                    <a:pt x="522" y="762"/>
                  </a:lnTo>
                  <a:lnTo>
                    <a:pt x="504" y="756"/>
                  </a:lnTo>
                  <a:lnTo>
                    <a:pt x="498" y="756"/>
                  </a:lnTo>
                  <a:lnTo>
                    <a:pt x="498" y="744"/>
                  </a:lnTo>
                  <a:lnTo>
                    <a:pt x="492" y="738"/>
                  </a:lnTo>
                  <a:lnTo>
                    <a:pt x="480" y="738"/>
                  </a:lnTo>
                  <a:lnTo>
                    <a:pt x="474" y="738"/>
                  </a:lnTo>
                  <a:lnTo>
                    <a:pt x="456" y="738"/>
                  </a:lnTo>
                  <a:lnTo>
                    <a:pt x="438" y="738"/>
                  </a:lnTo>
                  <a:lnTo>
                    <a:pt x="432" y="750"/>
                  </a:lnTo>
                  <a:lnTo>
                    <a:pt x="426" y="756"/>
                  </a:lnTo>
                  <a:lnTo>
                    <a:pt x="426" y="762"/>
                  </a:lnTo>
                  <a:lnTo>
                    <a:pt x="420" y="762"/>
                  </a:lnTo>
                  <a:lnTo>
                    <a:pt x="408" y="744"/>
                  </a:lnTo>
                  <a:lnTo>
                    <a:pt x="408" y="732"/>
                  </a:lnTo>
                  <a:lnTo>
                    <a:pt x="390" y="714"/>
                  </a:lnTo>
                  <a:lnTo>
                    <a:pt x="384" y="702"/>
                  </a:lnTo>
                  <a:lnTo>
                    <a:pt x="384" y="690"/>
                  </a:lnTo>
                  <a:lnTo>
                    <a:pt x="372" y="690"/>
                  </a:lnTo>
                  <a:lnTo>
                    <a:pt x="366" y="660"/>
                  </a:lnTo>
                  <a:lnTo>
                    <a:pt x="354" y="630"/>
                  </a:lnTo>
                  <a:lnTo>
                    <a:pt x="348" y="630"/>
                  </a:lnTo>
                  <a:lnTo>
                    <a:pt x="336" y="630"/>
                  </a:lnTo>
                  <a:lnTo>
                    <a:pt x="330" y="630"/>
                  </a:lnTo>
                  <a:lnTo>
                    <a:pt x="318" y="630"/>
                  </a:lnTo>
                  <a:lnTo>
                    <a:pt x="312" y="624"/>
                  </a:lnTo>
                  <a:lnTo>
                    <a:pt x="306" y="624"/>
                  </a:lnTo>
                  <a:lnTo>
                    <a:pt x="294" y="618"/>
                  </a:lnTo>
                  <a:lnTo>
                    <a:pt x="288" y="612"/>
                  </a:lnTo>
                  <a:lnTo>
                    <a:pt x="276" y="600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58" y="588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8"/>
                  </a:lnTo>
                  <a:lnTo>
                    <a:pt x="216" y="582"/>
                  </a:lnTo>
                  <a:lnTo>
                    <a:pt x="210" y="588"/>
                  </a:lnTo>
                  <a:lnTo>
                    <a:pt x="198" y="582"/>
                  </a:lnTo>
                  <a:lnTo>
                    <a:pt x="180" y="582"/>
                  </a:lnTo>
                  <a:lnTo>
                    <a:pt x="174" y="552"/>
                  </a:lnTo>
                  <a:lnTo>
                    <a:pt x="168" y="504"/>
                  </a:lnTo>
                  <a:lnTo>
                    <a:pt x="186" y="504"/>
                  </a:lnTo>
                  <a:lnTo>
                    <a:pt x="192" y="504"/>
                  </a:lnTo>
                  <a:lnTo>
                    <a:pt x="192" y="498"/>
                  </a:lnTo>
                  <a:lnTo>
                    <a:pt x="192" y="492"/>
                  </a:lnTo>
                  <a:lnTo>
                    <a:pt x="192" y="486"/>
                  </a:lnTo>
                  <a:lnTo>
                    <a:pt x="198" y="486"/>
                  </a:lnTo>
                  <a:lnTo>
                    <a:pt x="198" y="480"/>
                  </a:lnTo>
                  <a:lnTo>
                    <a:pt x="204" y="474"/>
                  </a:lnTo>
                  <a:lnTo>
                    <a:pt x="210" y="468"/>
                  </a:lnTo>
                  <a:lnTo>
                    <a:pt x="198" y="462"/>
                  </a:lnTo>
                  <a:lnTo>
                    <a:pt x="192" y="444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32"/>
                  </a:lnTo>
                  <a:lnTo>
                    <a:pt x="168" y="438"/>
                  </a:lnTo>
                  <a:lnTo>
                    <a:pt x="150" y="450"/>
                  </a:lnTo>
                  <a:lnTo>
                    <a:pt x="144" y="456"/>
                  </a:lnTo>
                  <a:lnTo>
                    <a:pt x="132" y="456"/>
                  </a:lnTo>
                  <a:lnTo>
                    <a:pt x="126" y="468"/>
                  </a:lnTo>
                  <a:lnTo>
                    <a:pt x="114" y="468"/>
                  </a:lnTo>
                  <a:lnTo>
                    <a:pt x="108" y="468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14"/>
                  </a:lnTo>
                  <a:lnTo>
                    <a:pt x="108" y="396"/>
                  </a:lnTo>
                  <a:lnTo>
                    <a:pt x="120" y="396"/>
                  </a:lnTo>
                  <a:lnTo>
                    <a:pt x="126" y="384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84" y="354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0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60" y="318"/>
                  </a:lnTo>
                  <a:lnTo>
                    <a:pt x="42" y="324"/>
                  </a:lnTo>
                  <a:lnTo>
                    <a:pt x="36" y="318"/>
                  </a:lnTo>
                  <a:lnTo>
                    <a:pt x="36" y="312"/>
                  </a:lnTo>
                  <a:lnTo>
                    <a:pt x="36" y="306"/>
                  </a:lnTo>
                  <a:lnTo>
                    <a:pt x="36" y="300"/>
                  </a:lnTo>
                  <a:lnTo>
                    <a:pt x="30" y="300"/>
                  </a:lnTo>
                  <a:lnTo>
                    <a:pt x="30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24" y="276"/>
                  </a:lnTo>
                  <a:lnTo>
                    <a:pt x="18" y="276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18" y="234"/>
                  </a:lnTo>
                  <a:lnTo>
                    <a:pt x="30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42" y="192"/>
                  </a:lnTo>
                  <a:lnTo>
                    <a:pt x="66" y="186"/>
                  </a:lnTo>
                  <a:lnTo>
                    <a:pt x="90" y="156"/>
                  </a:lnTo>
                  <a:lnTo>
                    <a:pt x="102" y="144"/>
                  </a:lnTo>
                  <a:lnTo>
                    <a:pt x="138" y="150"/>
                  </a:lnTo>
                  <a:lnTo>
                    <a:pt x="162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0" y="180"/>
                  </a:lnTo>
                  <a:lnTo>
                    <a:pt x="174" y="180"/>
                  </a:lnTo>
                  <a:lnTo>
                    <a:pt x="180" y="186"/>
                  </a:lnTo>
                  <a:lnTo>
                    <a:pt x="186" y="186"/>
                  </a:lnTo>
                  <a:lnTo>
                    <a:pt x="198" y="192"/>
                  </a:lnTo>
                  <a:lnTo>
                    <a:pt x="216" y="198"/>
                  </a:lnTo>
                  <a:lnTo>
                    <a:pt x="252" y="204"/>
                  </a:lnTo>
                  <a:lnTo>
                    <a:pt x="258" y="210"/>
                  </a:lnTo>
                  <a:lnTo>
                    <a:pt x="306" y="216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84" y="210"/>
                  </a:lnTo>
                  <a:lnTo>
                    <a:pt x="408" y="222"/>
                  </a:lnTo>
                  <a:lnTo>
                    <a:pt x="438" y="228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86" y="222"/>
                  </a:lnTo>
                  <a:lnTo>
                    <a:pt x="492" y="210"/>
                  </a:lnTo>
                  <a:lnTo>
                    <a:pt x="492" y="198"/>
                  </a:lnTo>
                  <a:lnTo>
                    <a:pt x="486" y="180"/>
                  </a:lnTo>
                  <a:lnTo>
                    <a:pt x="492" y="162"/>
                  </a:lnTo>
                  <a:lnTo>
                    <a:pt x="510" y="96"/>
                  </a:lnTo>
                  <a:lnTo>
                    <a:pt x="516" y="84"/>
                  </a:lnTo>
                  <a:lnTo>
                    <a:pt x="522" y="84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34" y="72"/>
                  </a:lnTo>
                  <a:lnTo>
                    <a:pt x="534" y="60"/>
                  </a:lnTo>
                  <a:lnTo>
                    <a:pt x="540" y="36"/>
                  </a:lnTo>
                  <a:lnTo>
                    <a:pt x="546" y="6"/>
                  </a:lnTo>
                  <a:lnTo>
                    <a:pt x="558" y="6"/>
                  </a:lnTo>
                  <a:lnTo>
                    <a:pt x="564" y="0"/>
                  </a:lnTo>
                  <a:lnTo>
                    <a:pt x="582" y="0"/>
                  </a:lnTo>
                  <a:lnTo>
                    <a:pt x="588" y="0"/>
                  </a:lnTo>
                  <a:lnTo>
                    <a:pt x="594" y="6"/>
                  </a:lnTo>
                  <a:lnTo>
                    <a:pt x="600" y="12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24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36" y="36"/>
                  </a:lnTo>
                  <a:lnTo>
                    <a:pt x="642" y="36"/>
                  </a:lnTo>
                  <a:lnTo>
                    <a:pt x="642" y="42"/>
                  </a:lnTo>
                  <a:lnTo>
                    <a:pt x="648" y="54"/>
                  </a:lnTo>
                  <a:lnTo>
                    <a:pt x="660" y="72"/>
                  </a:lnTo>
                  <a:lnTo>
                    <a:pt x="666" y="78"/>
                  </a:lnTo>
                  <a:lnTo>
                    <a:pt x="672" y="90"/>
                  </a:lnTo>
                  <a:lnTo>
                    <a:pt x="678" y="102"/>
                  </a:lnTo>
                  <a:lnTo>
                    <a:pt x="678" y="114"/>
                  </a:lnTo>
                  <a:lnTo>
                    <a:pt x="684" y="132"/>
                  </a:lnTo>
                  <a:lnTo>
                    <a:pt x="684" y="144"/>
                  </a:lnTo>
                  <a:lnTo>
                    <a:pt x="690" y="162"/>
                  </a:lnTo>
                  <a:lnTo>
                    <a:pt x="696" y="168"/>
                  </a:lnTo>
                  <a:lnTo>
                    <a:pt x="696" y="180"/>
                  </a:lnTo>
                  <a:lnTo>
                    <a:pt x="702" y="186"/>
                  </a:lnTo>
                  <a:lnTo>
                    <a:pt x="708" y="186"/>
                  </a:lnTo>
                  <a:lnTo>
                    <a:pt x="714" y="198"/>
                  </a:lnTo>
                  <a:lnTo>
                    <a:pt x="720" y="198"/>
                  </a:lnTo>
                  <a:lnTo>
                    <a:pt x="732" y="204"/>
                  </a:lnTo>
                  <a:lnTo>
                    <a:pt x="738" y="210"/>
                  </a:lnTo>
                  <a:lnTo>
                    <a:pt x="738" y="216"/>
                  </a:lnTo>
                  <a:lnTo>
                    <a:pt x="744" y="222"/>
                  </a:lnTo>
                  <a:lnTo>
                    <a:pt x="750" y="228"/>
                  </a:lnTo>
                  <a:lnTo>
                    <a:pt x="756" y="228"/>
                  </a:lnTo>
                  <a:lnTo>
                    <a:pt x="768" y="240"/>
                  </a:lnTo>
                  <a:lnTo>
                    <a:pt x="774" y="252"/>
                  </a:lnTo>
                  <a:lnTo>
                    <a:pt x="780" y="258"/>
                  </a:lnTo>
                  <a:lnTo>
                    <a:pt x="786" y="258"/>
                  </a:lnTo>
                  <a:lnTo>
                    <a:pt x="798" y="264"/>
                  </a:lnTo>
                  <a:lnTo>
                    <a:pt x="798" y="270"/>
                  </a:lnTo>
                  <a:lnTo>
                    <a:pt x="798" y="276"/>
                  </a:lnTo>
                  <a:lnTo>
                    <a:pt x="810" y="288"/>
                  </a:lnTo>
                  <a:lnTo>
                    <a:pt x="816" y="288"/>
                  </a:lnTo>
                  <a:lnTo>
                    <a:pt x="816" y="300"/>
                  </a:lnTo>
                  <a:lnTo>
                    <a:pt x="816" y="306"/>
                  </a:lnTo>
                  <a:lnTo>
                    <a:pt x="822" y="318"/>
                  </a:lnTo>
                  <a:lnTo>
                    <a:pt x="828" y="324"/>
                  </a:lnTo>
                  <a:lnTo>
                    <a:pt x="834" y="330"/>
                  </a:lnTo>
                  <a:lnTo>
                    <a:pt x="846" y="336"/>
                  </a:lnTo>
                  <a:lnTo>
                    <a:pt x="846" y="342"/>
                  </a:lnTo>
                  <a:lnTo>
                    <a:pt x="852" y="348"/>
                  </a:lnTo>
                  <a:lnTo>
                    <a:pt x="852" y="354"/>
                  </a:lnTo>
                  <a:lnTo>
                    <a:pt x="858" y="354"/>
                  </a:lnTo>
                  <a:lnTo>
                    <a:pt x="858" y="348"/>
                  </a:lnTo>
                  <a:lnTo>
                    <a:pt x="864" y="342"/>
                  </a:lnTo>
                  <a:lnTo>
                    <a:pt x="864" y="336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76" y="306"/>
                  </a:lnTo>
                  <a:lnTo>
                    <a:pt x="870" y="300"/>
                  </a:lnTo>
                  <a:lnTo>
                    <a:pt x="870" y="294"/>
                  </a:lnTo>
                  <a:lnTo>
                    <a:pt x="876" y="294"/>
                  </a:lnTo>
                  <a:lnTo>
                    <a:pt x="882" y="300"/>
                  </a:lnTo>
                  <a:lnTo>
                    <a:pt x="888" y="300"/>
                  </a:lnTo>
                  <a:lnTo>
                    <a:pt x="888" y="306"/>
                  </a:lnTo>
                  <a:lnTo>
                    <a:pt x="894" y="300"/>
                  </a:lnTo>
                  <a:lnTo>
                    <a:pt x="900" y="294"/>
                  </a:lnTo>
                  <a:lnTo>
                    <a:pt x="894" y="288"/>
                  </a:lnTo>
                  <a:lnTo>
                    <a:pt x="888" y="282"/>
                  </a:lnTo>
                  <a:lnTo>
                    <a:pt x="888" y="276"/>
                  </a:lnTo>
                  <a:lnTo>
                    <a:pt x="894" y="276"/>
                  </a:lnTo>
                  <a:lnTo>
                    <a:pt x="900" y="276"/>
                  </a:lnTo>
                  <a:lnTo>
                    <a:pt x="900" y="270"/>
                  </a:lnTo>
                  <a:lnTo>
                    <a:pt x="906" y="264"/>
                  </a:lnTo>
                  <a:lnTo>
                    <a:pt x="906" y="258"/>
                  </a:lnTo>
                  <a:lnTo>
                    <a:pt x="918" y="264"/>
                  </a:lnTo>
                  <a:lnTo>
                    <a:pt x="918" y="258"/>
                  </a:lnTo>
                  <a:lnTo>
                    <a:pt x="924" y="252"/>
                  </a:lnTo>
                  <a:lnTo>
                    <a:pt x="930" y="252"/>
                  </a:lnTo>
                  <a:lnTo>
                    <a:pt x="930" y="246"/>
                  </a:lnTo>
                  <a:lnTo>
                    <a:pt x="936" y="234"/>
                  </a:lnTo>
                  <a:lnTo>
                    <a:pt x="942" y="228"/>
                  </a:lnTo>
                  <a:lnTo>
                    <a:pt x="942" y="222"/>
                  </a:lnTo>
                  <a:lnTo>
                    <a:pt x="948" y="222"/>
                  </a:lnTo>
                  <a:lnTo>
                    <a:pt x="948" y="216"/>
                  </a:lnTo>
                  <a:lnTo>
                    <a:pt x="942" y="216"/>
                  </a:lnTo>
                  <a:lnTo>
                    <a:pt x="936" y="216"/>
                  </a:lnTo>
                  <a:lnTo>
                    <a:pt x="936" y="210"/>
                  </a:lnTo>
                  <a:lnTo>
                    <a:pt x="942" y="210"/>
                  </a:lnTo>
                  <a:lnTo>
                    <a:pt x="972" y="210"/>
                  </a:lnTo>
                  <a:lnTo>
                    <a:pt x="1032" y="216"/>
                  </a:lnTo>
                  <a:lnTo>
                    <a:pt x="1068" y="216"/>
                  </a:lnTo>
                  <a:lnTo>
                    <a:pt x="1056" y="234"/>
                  </a:lnTo>
                  <a:lnTo>
                    <a:pt x="1050" y="240"/>
                  </a:lnTo>
                  <a:lnTo>
                    <a:pt x="1044" y="246"/>
                  </a:lnTo>
                  <a:lnTo>
                    <a:pt x="1038" y="246"/>
                  </a:lnTo>
                  <a:lnTo>
                    <a:pt x="1026" y="282"/>
                  </a:lnTo>
                  <a:lnTo>
                    <a:pt x="1032" y="306"/>
                  </a:lnTo>
                  <a:lnTo>
                    <a:pt x="1044" y="324"/>
                  </a:lnTo>
                  <a:lnTo>
                    <a:pt x="1044" y="342"/>
                  </a:lnTo>
                  <a:lnTo>
                    <a:pt x="1062" y="366"/>
                  </a:lnTo>
                  <a:lnTo>
                    <a:pt x="1056" y="396"/>
                  </a:lnTo>
                  <a:lnTo>
                    <a:pt x="1038" y="462"/>
                  </a:lnTo>
                  <a:lnTo>
                    <a:pt x="1038" y="498"/>
                  </a:lnTo>
                  <a:lnTo>
                    <a:pt x="1038" y="522"/>
                  </a:lnTo>
                  <a:lnTo>
                    <a:pt x="1038" y="534"/>
                  </a:lnTo>
                  <a:lnTo>
                    <a:pt x="1056" y="522"/>
                  </a:lnTo>
                  <a:lnTo>
                    <a:pt x="1098" y="504"/>
                  </a:lnTo>
                  <a:lnTo>
                    <a:pt x="1104" y="498"/>
                  </a:lnTo>
                  <a:lnTo>
                    <a:pt x="1128" y="492"/>
                  </a:lnTo>
                  <a:lnTo>
                    <a:pt x="1152" y="480"/>
                  </a:lnTo>
                  <a:lnTo>
                    <a:pt x="1170" y="474"/>
                  </a:lnTo>
                  <a:lnTo>
                    <a:pt x="1188" y="468"/>
                  </a:lnTo>
                  <a:lnTo>
                    <a:pt x="1200" y="462"/>
                  </a:lnTo>
                  <a:lnTo>
                    <a:pt x="1224" y="450"/>
                  </a:lnTo>
                  <a:lnTo>
                    <a:pt x="1248" y="450"/>
                  </a:lnTo>
                  <a:lnTo>
                    <a:pt x="1266" y="450"/>
                  </a:lnTo>
                  <a:lnTo>
                    <a:pt x="1296" y="456"/>
                  </a:lnTo>
                  <a:lnTo>
                    <a:pt x="1308" y="456"/>
                  </a:lnTo>
                  <a:lnTo>
                    <a:pt x="1326" y="456"/>
                  </a:lnTo>
                  <a:lnTo>
                    <a:pt x="1338" y="456"/>
                  </a:lnTo>
                  <a:lnTo>
                    <a:pt x="1350" y="462"/>
                  </a:lnTo>
                  <a:lnTo>
                    <a:pt x="1356" y="462"/>
                  </a:lnTo>
                  <a:lnTo>
                    <a:pt x="1374" y="456"/>
                  </a:lnTo>
                  <a:lnTo>
                    <a:pt x="1386" y="456"/>
                  </a:lnTo>
                  <a:lnTo>
                    <a:pt x="1392" y="456"/>
                  </a:lnTo>
                  <a:lnTo>
                    <a:pt x="1398" y="456"/>
                  </a:lnTo>
                  <a:lnTo>
                    <a:pt x="1422" y="456"/>
                  </a:lnTo>
                  <a:lnTo>
                    <a:pt x="1440" y="456"/>
                  </a:lnTo>
                  <a:lnTo>
                    <a:pt x="1446" y="456"/>
                  </a:lnTo>
                  <a:lnTo>
                    <a:pt x="1476" y="456"/>
                  </a:lnTo>
                  <a:lnTo>
                    <a:pt x="1470" y="468"/>
                  </a:lnTo>
                  <a:lnTo>
                    <a:pt x="1470" y="474"/>
                  </a:lnTo>
                  <a:lnTo>
                    <a:pt x="1470" y="486"/>
                  </a:lnTo>
                  <a:lnTo>
                    <a:pt x="1464" y="492"/>
                  </a:lnTo>
                  <a:lnTo>
                    <a:pt x="1464" y="498"/>
                  </a:lnTo>
                  <a:lnTo>
                    <a:pt x="1458" y="498"/>
                  </a:lnTo>
                  <a:lnTo>
                    <a:pt x="1458" y="510"/>
                  </a:lnTo>
                  <a:lnTo>
                    <a:pt x="1452" y="522"/>
                  </a:lnTo>
                  <a:lnTo>
                    <a:pt x="1458" y="528"/>
                  </a:lnTo>
                  <a:lnTo>
                    <a:pt x="1464" y="546"/>
                  </a:lnTo>
                  <a:lnTo>
                    <a:pt x="1470" y="552"/>
                  </a:lnTo>
                  <a:lnTo>
                    <a:pt x="1476" y="564"/>
                  </a:lnTo>
                  <a:lnTo>
                    <a:pt x="1488" y="588"/>
                  </a:lnTo>
                  <a:lnTo>
                    <a:pt x="1506" y="606"/>
                  </a:lnTo>
                  <a:lnTo>
                    <a:pt x="1506" y="612"/>
                  </a:lnTo>
                  <a:lnTo>
                    <a:pt x="1518" y="618"/>
                  </a:lnTo>
                  <a:lnTo>
                    <a:pt x="1512" y="630"/>
                  </a:lnTo>
                  <a:lnTo>
                    <a:pt x="1518" y="642"/>
                  </a:lnTo>
                  <a:lnTo>
                    <a:pt x="1518" y="648"/>
                  </a:lnTo>
                  <a:lnTo>
                    <a:pt x="1530" y="666"/>
                  </a:lnTo>
                  <a:lnTo>
                    <a:pt x="1518" y="672"/>
                  </a:lnTo>
                  <a:lnTo>
                    <a:pt x="1524" y="696"/>
                  </a:lnTo>
                  <a:lnTo>
                    <a:pt x="1518" y="732"/>
                  </a:lnTo>
                  <a:lnTo>
                    <a:pt x="1524" y="762"/>
                  </a:lnTo>
                  <a:lnTo>
                    <a:pt x="1524" y="780"/>
                  </a:lnTo>
                  <a:lnTo>
                    <a:pt x="1524" y="810"/>
                  </a:lnTo>
                  <a:lnTo>
                    <a:pt x="1530" y="834"/>
                  </a:lnTo>
                  <a:lnTo>
                    <a:pt x="1536" y="846"/>
                  </a:lnTo>
                  <a:lnTo>
                    <a:pt x="1542" y="846"/>
                  </a:lnTo>
                  <a:lnTo>
                    <a:pt x="1584" y="840"/>
                  </a:lnTo>
                  <a:lnTo>
                    <a:pt x="1590" y="846"/>
                  </a:lnTo>
                  <a:lnTo>
                    <a:pt x="1596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90" y="864"/>
                  </a:lnTo>
                  <a:lnTo>
                    <a:pt x="1578" y="882"/>
                  </a:lnTo>
                  <a:lnTo>
                    <a:pt x="1572" y="906"/>
                  </a:lnTo>
                  <a:lnTo>
                    <a:pt x="1560" y="924"/>
                  </a:lnTo>
                  <a:lnTo>
                    <a:pt x="1560" y="936"/>
                  </a:lnTo>
                  <a:lnTo>
                    <a:pt x="1548" y="960"/>
                  </a:lnTo>
                  <a:lnTo>
                    <a:pt x="1542" y="978"/>
                  </a:lnTo>
                  <a:lnTo>
                    <a:pt x="1536" y="990"/>
                  </a:lnTo>
                  <a:lnTo>
                    <a:pt x="1530" y="990"/>
                  </a:lnTo>
                  <a:lnTo>
                    <a:pt x="1506" y="996"/>
                  </a:lnTo>
                  <a:lnTo>
                    <a:pt x="1494" y="1002"/>
                  </a:lnTo>
                  <a:lnTo>
                    <a:pt x="1482" y="1002"/>
                  </a:lnTo>
                  <a:lnTo>
                    <a:pt x="1464" y="1008"/>
                  </a:lnTo>
                  <a:lnTo>
                    <a:pt x="1446" y="1026"/>
                  </a:lnTo>
                  <a:lnTo>
                    <a:pt x="1440" y="1026"/>
                  </a:lnTo>
                  <a:lnTo>
                    <a:pt x="1434" y="1038"/>
                  </a:lnTo>
                  <a:lnTo>
                    <a:pt x="1428" y="1044"/>
                  </a:lnTo>
                  <a:lnTo>
                    <a:pt x="1428" y="1062"/>
                  </a:lnTo>
                  <a:lnTo>
                    <a:pt x="1428" y="1086"/>
                  </a:lnTo>
                  <a:lnTo>
                    <a:pt x="1416" y="1092"/>
                  </a:lnTo>
                  <a:lnTo>
                    <a:pt x="1410" y="1080"/>
                  </a:lnTo>
                  <a:lnTo>
                    <a:pt x="1392" y="108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0" name="Freeform 25">
              <a:extLst>
                <a:ext uri="{FF2B5EF4-FFF2-40B4-BE49-F238E27FC236}">
                  <a16:creationId xmlns:a16="http://schemas.microsoft.com/office/drawing/2014/main" id="{39FDFF90-5ACF-4D65-81AD-C44D2CBE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70228" y="3063559"/>
              <a:ext cx="644023" cy="704498"/>
            </a:xfrm>
            <a:custGeom>
              <a:avLst/>
              <a:gdLst>
                <a:gd name="T0" fmla="*/ 74 w 1212"/>
                <a:gd name="T1" fmla="*/ 113 h 1326"/>
                <a:gd name="T2" fmla="*/ 60 w 1212"/>
                <a:gd name="T3" fmla="*/ 116 h 1326"/>
                <a:gd name="T4" fmla="*/ 62 w 1212"/>
                <a:gd name="T5" fmla="*/ 110 h 1326"/>
                <a:gd name="T6" fmla="*/ 60 w 1212"/>
                <a:gd name="T7" fmla="*/ 105 h 1326"/>
                <a:gd name="T8" fmla="*/ 52 w 1212"/>
                <a:gd name="T9" fmla="*/ 96 h 1326"/>
                <a:gd name="T10" fmla="*/ 47 w 1212"/>
                <a:gd name="T11" fmla="*/ 98 h 1326"/>
                <a:gd name="T12" fmla="*/ 44 w 1212"/>
                <a:gd name="T13" fmla="*/ 93 h 1326"/>
                <a:gd name="T14" fmla="*/ 40 w 1212"/>
                <a:gd name="T15" fmla="*/ 96 h 1326"/>
                <a:gd name="T16" fmla="*/ 35 w 1212"/>
                <a:gd name="T17" fmla="*/ 102 h 1326"/>
                <a:gd name="T18" fmla="*/ 27 w 1212"/>
                <a:gd name="T19" fmla="*/ 100 h 1326"/>
                <a:gd name="T20" fmla="*/ 23 w 1212"/>
                <a:gd name="T21" fmla="*/ 96 h 1326"/>
                <a:gd name="T22" fmla="*/ 20 w 1212"/>
                <a:gd name="T23" fmla="*/ 90 h 1326"/>
                <a:gd name="T24" fmla="*/ 18 w 1212"/>
                <a:gd name="T25" fmla="*/ 89 h 1326"/>
                <a:gd name="T26" fmla="*/ 18 w 1212"/>
                <a:gd name="T27" fmla="*/ 85 h 1326"/>
                <a:gd name="T28" fmla="*/ 19 w 1212"/>
                <a:gd name="T29" fmla="*/ 83 h 1326"/>
                <a:gd name="T30" fmla="*/ 19 w 1212"/>
                <a:gd name="T31" fmla="*/ 82 h 1326"/>
                <a:gd name="T32" fmla="*/ 20 w 1212"/>
                <a:gd name="T33" fmla="*/ 79 h 1326"/>
                <a:gd name="T34" fmla="*/ 19 w 1212"/>
                <a:gd name="T35" fmla="*/ 75 h 1326"/>
                <a:gd name="T36" fmla="*/ 17 w 1212"/>
                <a:gd name="T37" fmla="*/ 77 h 1326"/>
                <a:gd name="T38" fmla="*/ 14 w 1212"/>
                <a:gd name="T39" fmla="*/ 76 h 1326"/>
                <a:gd name="T40" fmla="*/ 12 w 1212"/>
                <a:gd name="T41" fmla="*/ 71 h 1326"/>
                <a:gd name="T42" fmla="*/ 8 w 1212"/>
                <a:gd name="T43" fmla="*/ 69 h 1326"/>
                <a:gd name="T44" fmla="*/ 0 w 1212"/>
                <a:gd name="T45" fmla="*/ 72 h 1326"/>
                <a:gd name="T46" fmla="*/ 2 w 1212"/>
                <a:gd name="T47" fmla="*/ 67 h 1326"/>
                <a:gd name="T48" fmla="*/ 3 w 1212"/>
                <a:gd name="T49" fmla="*/ 61 h 1326"/>
                <a:gd name="T50" fmla="*/ 4 w 1212"/>
                <a:gd name="T51" fmla="*/ 56 h 1326"/>
                <a:gd name="T52" fmla="*/ 4 w 1212"/>
                <a:gd name="T53" fmla="*/ 52 h 1326"/>
                <a:gd name="T54" fmla="*/ 2 w 1212"/>
                <a:gd name="T55" fmla="*/ 47 h 1326"/>
                <a:gd name="T56" fmla="*/ 2 w 1212"/>
                <a:gd name="T57" fmla="*/ 42 h 1326"/>
                <a:gd name="T58" fmla="*/ 5 w 1212"/>
                <a:gd name="T59" fmla="*/ 39 h 1326"/>
                <a:gd name="T60" fmla="*/ 5 w 1212"/>
                <a:gd name="T61" fmla="*/ 35 h 1326"/>
                <a:gd name="T62" fmla="*/ 7 w 1212"/>
                <a:gd name="T63" fmla="*/ 31 h 1326"/>
                <a:gd name="T64" fmla="*/ 14 w 1212"/>
                <a:gd name="T65" fmla="*/ 31 h 1326"/>
                <a:gd name="T66" fmla="*/ 18 w 1212"/>
                <a:gd name="T67" fmla="*/ 27 h 1326"/>
                <a:gd name="T68" fmla="*/ 22 w 1212"/>
                <a:gd name="T69" fmla="*/ 24 h 1326"/>
                <a:gd name="T70" fmla="*/ 27 w 1212"/>
                <a:gd name="T71" fmla="*/ 20 h 1326"/>
                <a:gd name="T72" fmla="*/ 35 w 1212"/>
                <a:gd name="T73" fmla="*/ 21 h 1326"/>
                <a:gd name="T74" fmla="*/ 61 w 1212"/>
                <a:gd name="T75" fmla="*/ 8 h 1326"/>
                <a:gd name="T76" fmla="*/ 73 w 1212"/>
                <a:gd name="T77" fmla="*/ 4 h 1326"/>
                <a:gd name="T78" fmla="*/ 86 w 1212"/>
                <a:gd name="T79" fmla="*/ 12 h 1326"/>
                <a:gd name="T80" fmla="*/ 92 w 1212"/>
                <a:gd name="T81" fmla="*/ 13 h 1326"/>
                <a:gd name="T82" fmla="*/ 86 w 1212"/>
                <a:gd name="T83" fmla="*/ 18 h 1326"/>
                <a:gd name="T84" fmla="*/ 88 w 1212"/>
                <a:gd name="T85" fmla="*/ 33 h 1326"/>
                <a:gd name="T86" fmla="*/ 97 w 1212"/>
                <a:gd name="T87" fmla="*/ 49 h 1326"/>
                <a:gd name="T88" fmla="*/ 102 w 1212"/>
                <a:gd name="T89" fmla="*/ 57 h 1326"/>
                <a:gd name="T90" fmla="*/ 104 w 1212"/>
                <a:gd name="T91" fmla="*/ 67 h 1326"/>
                <a:gd name="T92" fmla="*/ 101 w 1212"/>
                <a:gd name="T93" fmla="*/ 69 h 1326"/>
                <a:gd name="T94" fmla="*/ 97 w 1212"/>
                <a:gd name="T95" fmla="*/ 69 h 1326"/>
                <a:gd name="T96" fmla="*/ 96 w 1212"/>
                <a:gd name="T97" fmla="*/ 71 h 1326"/>
                <a:gd name="T98" fmla="*/ 93 w 1212"/>
                <a:gd name="T99" fmla="*/ 70 h 1326"/>
                <a:gd name="T100" fmla="*/ 86 w 1212"/>
                <a:gd name="T101" fmla="*/ 69 h 1326"/>
                <a:gd name="T102" fmla="*/ 82 w 1212"/>
                <a:gd name="T103" fmla="*/ 73 h 1326"/>
                <a:gd name="T104" fmla="*/ 79 w 1212"/>
                <a:gd name="T105" fmla="*/ 74 h 1326"/>
                <a:gd name="T106" fmla="*/ 78 w 1212"/>
                <a:gd name="T107" fmla="*/ 79 h 1326"/>
                <a:gd name="T108" fmla="*/ 78 w 1212"/>
                <a:gd name="T109" fmla="*/ 83 h 1326"/>
                <a:gd name="T110" fmla="*/ 82 w 1212"/>
                <a:gd name="T111" fmla="*/ 87 h 1326"/>
                <a:gd name="T112" fmla="*/ 83 w 1212"/>
                <a:gd name="T113" fmla="*/ 90 h 1326"/>
                <a:gd name="T114" fmla="*/ 82 w 1212"/>
                <a:gd name="T115" fmla="*/ 94 h 1326"/>
                <a:gd name="T116" fmla="*/ 82 w 1212"/>
                <a:gd name="T117" fmla="*/ 98 h 1326"/>
                <a:gd name="T118" fmla="*/ 82 w 1212"/>
                <a:gd name="T119" fmla="*/ 104 h 1326"/>
                <a:gd name="T120" fmla="*/ 78 w 1212"/>
                <a:gd name="T121" fmla="*/ 110 h 132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12"/>
                <a:gd name="T184" fmla="*/ 0 h 1326"/>
                <a:gd name="T185" fmla="*/ 1212 w 1212"/>
                <a:gd name="T186" fmla="*/ 1326 h 132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12" h="1326">
                  <a:moveTo>
                    <a:pt x="906" y="1290"/>
                  </a:moveTo>
                  <a:lnTo>
                    <a:pt x="906" y="1296"/>
                  </a:lnTo>
                  <a:lnTo>
                    <a:pt x="900" y="1296"/>
                  </a:lnTo>
                  <a:lnTo>
                    <a:pt x="876" y="1290"/>
                  </a:lnTo>
                  <a:lnTo>
                    <a:pt x="870" y="1290"/>
                  </a:lnTo>
                  <a:lnTo>
                    <a:pt x="864" y="1296"/>
                  </a:lnTo>
                  <a:lnTo>
                    <a:pt x="852" y="1296"/>
                  </a:lnTo>
                  <a:lnTo>
                    <a:pt x="840" y="1302"/>
                  </a:lnTo>
                  <a:lnTo>
                    <a:pt x="834" y="1308"/>
                  </a:lnTo>
                  <a:lnTo>
                    <a:pt x="822" y="1320"/>
                  </a:lnTo>
                  <a:lnTo>
                    <a:pt x="816" y="1320"/>
                  </a:lnTo>
                  <a:lnTo>
                    <a:pt x="732" y="1320"/>
                  </a:lnTo>
                  <a:lnTo>
                    <a:pt x="696" y="1320"/>
                  </a:lnTo>
                  <a:lnTo>
                    <a:pt x="690" y="1326"/>
                  </a:lnTo>
                  <a:lnTo>
                    <a:pt x="678" y="1326"/>
                  </a:lnTo>
                  <a:lnTo>
                    <a:pt x="672" y="1308"/>
                  </a:lnTo>
                  <a:lnTo>
                    <a:pt x="696" y="1302"/>
                  </a:lnTo>
                  <a:lnTo>
                    <a:pt x="708" y="1296"/>
                  </a:lnTo>
                  <a:lnTo>
                    <a:pt x="720" y="1284"/>
                  </a:lnTo>
                  <a:lnTo>
                    <a:pt x="714" y="1278"/>
                  </a:lnTo>
                  <a:lnTo>
                    <a:pt x="714" y="1266"/>
                  </a:lnTo>
                  <a:lnTo>
                    <a:pt x="708" y="1260"/>
                  </a:lnTo>
                  <a:lnTo>
                    <a:pt x="708" y="1254"/>
                  </a:lnTo>
                  <a:lnTo>
                    <a:pt x="708" y="1248"/>
                  </a:lnTo>
                  <a:lnTo>
                    <a:pt x="702" y="1236"/>
                  </a:lnTo>
                  <a:lnTo>
                    <a:pt x="702" y="1230"/>
                  </a:lnTo>
                  <a:lnTo>
                    <a:pt x="702" y="1218"/>
                  </a:lnTo>
                  <a:lnTo>
                    <a:pt x="696" y="1200"/>
                  </a:lnTo>
                  <a:lnTo>
                    <a:pt x="696" y="1182"/>
                  </a:lnTo>
                  <a:lnTo>
                    <a:pt x="666" y="1182"/>
                  </a:lnTo>
                  <a:lnTo>
                    <a:pt x="672" y="1134"/>
                  </a:lnTo>
                  <a:lnTo>
                    <a:pt x="666" y="1128"/>
                  </a:lnTo>
                  <a:lnTo>
                    <a:pt x="660" y="1092"/>
                  </a:lnTo>
                  <a:lnTo>
                    <a:pt x="654" y="1098"/>
                  </a:lnTo>
                  <a:lnTo>
                    <a:pt x="594" y="1098"/>
                  </a:lnTo>
                  <a:lnTo>
                    <a:pt x="576" y="1098"/>
                  </a:lnTo>
                  <a:lnTo>
                    <a:pt x="570" y="1104"/>
                  </a:lnTo>
                  <a:lnTo>
                    <a:pt x="564" y="1110"/>
                  </a:lnTo>
                  <a:lnTo>
                    <a:pt x="558" y="1110"/>
                  </a:lnTo>
                  <a:lnTo>
                    <a:pt x="552" y="1110"/>
                  </a:lnTo>
                  <a:lnTo>
                    <a:pt x="546" y="1110"/>
                  </a:lnTo>
                  <a:lnTo>
                    <a:pt x="546" y="1116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10" y="1128"/>
                  </a:lnTo>
                  <a:lnTo>
                    <a:pt x="522" y="1104"/>
                  </a:lnTo>
                  <a:lnTo>
                    <a:pt x="510" y="1098"/>
                  </a:lnTo>
                  <a:lnTo>
                    <a:pt x="510" y="1074"/>
                  </a:lnTo>
                  <a:lnTo>
                    <a:pt x="504" y="1068"/>
                  </a:lnTo>
                  <a:lnTo>
                    <a:pt x="498" y="1068"/>
                  </a:lnTo>
                  <a:lnTo>
                    <a:pt x="492" y="1068"/>
                  </a:lnTo>
                  <a:lnTo>
                    <a:pt x="474" y="1080"/>
                  </a:lnTo>
                  <a:lnTo>
                    <a:pt x="474" y="1086"/>
                  </a:lnTo>
                  <a:lnTo>
                    <a:pt x="474" y="1092"/>
                  </a:lnTo>
                  <a:lnTo>
                    <a:pt x="468" y="1098"/>
                  </a:lnTo>
                  <a:lnTo>
                    <a:pt x="462" y="1104"/>
                  </a:lnTo>
                  <a:lnTo>
                    <a:pt x="456" y="1110"/>
                  </a:lnTo>
                  <a:lnTo>
                    <a:pt x="456" y="1122"/>
                  </a:lnTo>
                  <a:lnTo>
                    <a:pt x="456" y="1128"/>
                  </a:lnTo>
                  <a:lnTo>
                    <a:pt x="450" y="1140"/>
                  </a:lnTo>
                  <a:lnTo>
                    <a:pt x="444" y="1146"/>
                  </a:lnTo>
                  <a:lnTo>
                    <a:pt x="426" y="1170"/>
                  </a:lnTo>
                  <a:lnTo>
                    <a:pt x="408" y="1176"/>
                  </a:lnTo>
                  <a:lnTo>
                    <a:pt x="402" y="1170"/>
                  </a:lnTo>
                  <a:lnTo>
                    <a:pt x="396" y="1170"/>
                  </a:lnTo>
                  <a:lnTo>
                    <a:pt x="396" y="1158"/>
                  </a:lnTo>
                  <a:lnTo>
                    <a:pt x="384" y="1152"/>
                  </a:lnTo>
                  <a:lnTo>
                    <a:pt x="372" y="1140"/>
                  </a:lnTo>
                  <a:lnTo>
                    <a:pt x="354" y="1140"/>
                  </a:lnTo>
                  <a:lnTo>
                    <a:pt x="306" y="1146"/>
                  </a:lnTo>
                  <a:lnTo>
                    <a:pt x="294" y="1134"/>
                  </a:lnTo>
                  <a:lnTo>
                    <a:pt x="294" y="1128"/>
                  </a:lnTo>
                  <a:lnTo>
                    <a:pt x="288" y="1122"/>
                  </a:lnTo>
                  <a:lnTo>
                    <a:pt x="276" y="1122"/>
                  </a:lnTo>
                  <a:lnTo>
                    <a:pt x="276" y="1110"/>
                  </a:lnTo>
                  <a:lnTo>
                    <a:pt x="276" y="1104"/>
                  </a:lnTo>
                  <a:lnTo>
                    <a:pt x="270" y="1098"/>
                  </a:lnTo>
                  <a:lnTo>
                    <a:pt x="264" y="1086"/>
                  </a:lnTo>
                  <a:lnTo>
                    <a:pt x="264" y="1074"/>
                  </a:lnTo>
                  <a:lnTo>
                    <a:pt x="258" y="1068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34" y="1038"/>
                  </a:lnTo>
                  <a:lnTo>
                    <a:pt x="228" y="1038"/>
                  </a:lnTo>
                  <a:lnTo>
                    <a:pt x="222" y="1038"/>
                  </a:lnTo>
                  <a:lnTo>
                    <a:pt x="216" y="1038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0"/>
                  </a:lnTo>
                  <a:lnTo>
                    <a:pt x="204" y="1014"/>
                  </a:lnTo>
                  <a:lnTo>
                    <a:pt x="204" y="1008"/>
                  </a:lnTo>
                  <a:lnTo>
                    <a:pt x="198" y="1002"/>
                  </a:lnTo>
                  <a:lnTo>
                    <a:pt x="198" y="996"/>
                  </a:lnTo>
                  <a:lnTo>
                    <a:pt x="198" y="990"/>
                  </a:lnTo>
                  <a:lnTo>
                    <a:pt x="204" y="990"/>
                  </a:lnTo>
                  <a:lnTo>
                    <a:pt x="204" y="984"/>
                  </a:lnTo>
                  <a:lnTo>
                    <a:pt x="210" y="978"/>
                  </a:lnTo>
                  <a:lnTo>
                    <a:pt x="210" y="972"/>
                  </a:lnTo>
                  <a:lnTo>
                    <a:pt x="210" y="966"/>
                  </a:lnTo>
                  <a:lnTo>
                    <a:pt x="216" y="960"/>
                  </a:lnTo>
                  <a:lnTo>
                    <a:pt x="216" y="954"/>
                  </a:lnTo>
                  <a:lnTo>
                    <a:pt x="210" y="954"/>
                  </a:lnTo>
                  <a:lnTo>
                    <a:pt x="204" y="954"/>
                  </a:lnTo>
                  <a:lnTo>
                    <a:pt x="216" y="954"/>
                  </a:lnTo>
                  <a:lnTo>
                    <a:pt x="216" y="948"/>
                  </a:lnTo>
                  <a:lnTo>
                    <a:pt x="210" y="948"/>
                  </a:lnTo>
                  <a:lnTo>
                    <a:pt x="210" y="942"/>
                  </a:lnTo>
                  <a:lnTo>
                    <a:pt x="216" y="942"/>
                  </a:lnTo>
                  <a:lnTo>
                    <a:pt x="222" y="942"/>
                  </a:lnTo>
                  <a:lnTo>
                    <a:pt x="222" y="936"/>
                  </a:lnTo>
                  <a:lnTo>
                    <a:pt x="216" y="936"/>
                  </a:lnTo>
                  <a:lnTo>
                    <a:pt x="210" y="936"/>
                  </a:lnTo>
                  <a:lnTo>
                    <a:pt x="210" y="930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22" y="918"/>
                  </a:lnTo>
                  <a:lnTo>
                    <a:pt x="228" y="912"/>
                  </a:lnTo>
                  <a:lnTo>
                    <a:pt x="228" y="906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2" y="888"/>
                  </a:lnTo>
                  <a:lnTo>
                    <a:pt x="222" y="882"/>
                  </a:lnTo>
                  <a:lnTo>
                    <a:pt x="222" y="876"/>
                  </a:lnTo>
                  <a:lnTo>
                    <a:pt x="222" y="858"/>
                  </a:lnTo>
                  <a:lnTo>
                    <a:pt x="216" y="858"/>
                  </a:lnTo>
                  <a:lnTo>
                    <a:pt x="216" y="852"/>
                  </a:lnTo>
                  <a:lnTo>
                    <a:pt x="210" y="852"/>
                  </a:lnTo>
                  <a:lnTo>
                    <a:pt x="210" y="840"/>
                  </a:lnTo>
                  <a:lnTo>
                    <a:pt x="198" y="840"/>
                  </a:lnTo>
                  <a:lnTo>
                    <a:pt x="198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0" y="894"/>
                  </a:lnTo>
                  <a:lnTo>
                    <a:pt x="180" y="906"/>
                  </a:lnTo>
                  <a:lnTo>
                    <a:pt x="156" y="912"/>
                  </a:lnTo>
                  <a:lnTo>
                    <a:pt x="156" y="894"/>
                  </a:lnTo>
                  <a:lnTo>
                    <a:pt x="156" y="882"/>
                  </a:lnTo>
                  <a:lnTo>
                    <a:pt x="156" y="876"/>
                  </a:lnTo>
                  <a:lnTo>
                    <a:pt x="150" y="876"/>
                  </a:lnTo>
                  <a:lnTo>
                    <a:pt x="144" y="876"/>
                  </a:lnTo>
                  <a:lnTo>
                    <a:pt x="138" y="870"/>
                  </a:lnTo>
                  <a:lnTo>
                    <a:pt x="132" y="864"/>
                  </a:lnTo>
                  <a:lnTo>
                    <a:pt x="138" y="840"/>
                  </a:lnTo>
                  <a:lnTo>
                    <a:pt x="132" y="840"/>
                  </a:lnTo>
                  <a:lnTo>
                    <a:pt x="138" y="810"/>
                  </a:lnTo>
                  <a:lnTo>
                    <a:pt x="144" y="804"/>
                  </a:lnTo>
                  <a:lnTo>
                    <a:pt x="144" y="798"/>
                  </a:lnTo>
                  <a:lnTo>
                    <a:pt x="156" y="798"/>
                  </a:lnTo>
                  <a:lnTo>
                    <a:pt x="156" y="792"/>
                  </a:lnTo>
                  <a:lnTo>
                    <a:pt x="120" y="792"/>
                  </a:lnTo>
                  <a:lnTo>
                    <a:pt x="108" y="786"/>
                  </a:lnTo>
                  <a:lnTo>
                    <a:pt x="96" y="786"/>
                  </a:lnTo>
                  <a:lnTo>
                    <a:pt x="96" y="780"/>
                  </a:lnTo>
                  <a:lnTo>
                    <a:pt x="78" y="780"/>
                  </a:lnTo>
                  <a:lnTo>
                    <a:pt x="72" y="804"/>
                  </a:lnTo>
                  <a:lnTo>
                    <a:pt x="60" y="816"/>
                  </a:lnTo>
                  <a:lnTo>
                    <a:pt x="36" y="828"/>
                  </a:lnTo>
                  <a:lnTo>
                    <a:pt x="18" y="840"/>
                  </a:lnTo>
                  <a:lnTo>
                    <a:pt x="0" y="822"/>
                  </a:lnTo>
                  <a:lnTo>
                    <a:pt x="6" y="816"/>
                  </a:lnTo>
                  <a:lnTo>
                    <a:pt x="12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18" y="786"/>
                  </a:lnTo>
                  <a:lnTo>
                    <a:pt x="24" y="780"/>
                  </a:lnTo>
                  <a:lnTo>
                    <a:pt x="24" y="768"/>
                  </a:lnTo>
                  <a:lnTo>
                    <a:pt x="24" y="762"/>
                  </a:lnTo>
                  <a:lnTo>
                    <a:pt x="24" y="750"/>
                  </a:lnTo>
                  <a:lnTo>
                    <a:pt x="36" y="714"/>
                  </a:lnTo>
                  <a:lnTo>
                    <a:pt x="36" y="708"/>
                  </a:lnTo>
                  <a:lnTo>
                    <a:pt x="42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6" y="690"/>
                  </a:lnTo>
                  <a:lnTo>
                    <a:pt x="42" y="684"/>
                  </a:lnTo>
                  <a:lnTo>
                    <a:pt x="42" y="672"/>
                  </a:lnTo>
                  <a:lnTo>
                    <a:pt x="42" y="666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48" y="648"/>
                  </a:lnTo>
                  <a:lnTo>
                    <a:pt x="54" y="642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54" y="612"/>
                  </a:lnTo>
                  <a:lnTo>
                    <a:pt x="48" y="606"/>
                  </a:lnTo>
                  <a:lnTo>
                    <a:pt x="48" y="600"/>
                  </a:lnTo>
                  <a:lnTo>
                    <a:pt x="42" y="600"/>
                  </a:lnTo>
                  <a:lnTo>
                    <a:pt x="36" y="594"/>
                  </a:lnTo>
                  <a:lnTo>
                    <a:pt x="36" y="588"/>
                  </a:lnTo>
                  <a:lnTo>
                    <a:pt x="30" y="582"/>
                  </a:lnTo>
                  <a:lnTo>
                    <a:pt x="30" y="570"/>
                  </a:lnTo>
                  <a:lnTo>
                    <a:pt x="18" y="552"/>
                  </a:lnTo>
                  <a:lnTo>
                    <a:pt x="18" y="546"/>
                  </a:lnTo>
                  <a:lnTo>
                    <a:pt x="18" y="540"/>
                  </a:lnTo>
                  <a:lnTo>
                    <a:pt x="18" y="528"/>
                  </a:lnTo>
                  <a:lnTo>
                    <a:pt x="18" y="522"/>
                  </a:lnTo>
                  <a:lnTo>
                    <a:pt x="24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30" y="474"/>
                  </a:lnTo>
                  <a:lnTo>
                    <a:pt x="36" y="474"/>
                  </a:lnTo>
                  <a:lnTo>
                    <a:pt x="42" y="468"/>
                  </a:lnTo>
                  <a:lnTo>
                    <a:pt x="48" y="468"/>
                  </a:lnTo>
                  <a:lnTo>
                    <a:pt x="48" y="462"/>
                  </a:lnTo>
                  <a:lnTo>
                    <a:pt x="48" y="456"/>
                  </a:lnTo>
                  <a:lnTo>
                    <a:pt x="54" y="450"/>
                  </a:lnTo>
                  <a:lnTo>
                    <a:pt x="60" y="438"/>
                  </a:lnTo>
                  <a:lnTo>
                    <a:pt x="54" y="438"/>
                  </a:lnTo>
                  <a:lnTo>
                    <a:pt x="54" y="432"/>
                  </a:ln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54" y="402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6" y="384"/>
                  </a:lnTo>
                  <a:lnTo>
                    <a:pt x="72" y="372"/>
                  </a:lnTo>
                  <a:lnTo>
                    <a:pt x="78" y="366"/>
                  </a:lnTo>
                  <a:lnTo>
                    <a:pt x="84" y="360"/>
                  </a:lnTo>
                  <a:lnTo>
                    <a:pt x="102" y="360"/>
                  </a:lnTo>
                  <a:lnTo>
                    <a:pt x="114" y="36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8" y="360"/>
                  </a:lnTo>
                  <a:lnTo>
                    <a:pt x="156" y="360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74" y="342"/>
                  </a:lnTo>
                  <a:lnTo>
                    <a:pt x="180" y="342"/>
                  </a:lnTo>
                  <a:lnTo>
                    <a:pt x="186" y="336"/>
                  </a:lnTo>
                  <a:lnTo>
                    <a:pt x="192" y="330"/>
                  </a:lnTo>
                  <a:lnTo>
                    <a:pt x="204" y="312"/>
                  </a:lnTo>
                  <a:lnTo>
                    <a:pt x="210" y="312"/>
                  </a:lnTo>
                  <a:lnTo>
                    <a:pt x="216" y="306"/>
                  </a:lnTo>
                  <a:lnTo>
                    <a:pt x="216" y="300"/>
                  </a:lnTo>
                  <a:lnTo>
                    <a:pt x="222" y="288"/>
                  </a:lnTo>
                  <a:lnTo>
                    <a:pt x="234" y="288"/>
                  </a:lnTo>
                  <a:lnTo>
                    <a:pt x="240" y="282"/>
                  </a:lnTo>
                  <a:lnTo>
                    <a:pt x="246" y="282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70" y="270"/>
                  </a:lnTo>
                  <a:lnTo>
                    <a:pt x="276" y="264"/>
                  </a:lnTo>
                  <a:lnTo>
                    <a:pt x="282" y="26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8" y="234"/>
                  </a:lnTo>
                  <a:lnTo>
                    <a:pt x="330" y="234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72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14" y="240"/>
                  </a:lnTo>
                  <a:lnTo>
                    <a:pt x="444" y="216"/>
                  </a:lnTo>
                  <a:lnTo>
                    <a:pt x="480" y="204"/>
                  </a:lnTo>
                  <a:lnTo>
                    <a:pt x="600" y="150"/>
                  </a:lnTo>
                  <a:lnTo>
                    <a:pt x="648" y="126"/>
                  </a:lnTo>
                  <a:lnTo>
                    <a:pt x="702" y="96"/>
                  </a:lnTo>
                  <a:lnTo>
                    <a:pt x="708" y="54"/>
                  </a:lnTo>
                  <a:lnTo>
                    <a:pt x="720" y="24"/>
                  </a:lnTo>
                  <a:lnTo>
                    <a:pt x="738" y="12"/>
                  </a:lnTo>
                  <a:lnTo>
                    <a:pt x="768" y="0"/>
                  </a:lnTo>
                  <a:lnTo>
                    <a:pt x="792" y="6"/>
                  </a:lnTo>
                  <a:lnTo>
                    <a:pt x="804" y="12"/>
                  </a:lnTo>
                  <a:lnTo>
                    <a:pt x="834" y="48"/>
                  </a:lnTo>
                  <a:lnTo>
                    <a:pt x="834" y="60"/>
                  </a:lnTo>
                  <a:lnTo>
                    <a:pt x="852" y="84"/>
                  </a:lnTo>
                  <a:lnTo>
                    <a:pt x="864" y="96"/>
                  </a:lnTo>
                  <a:lnTo>
                    <a:pt x="888" y="102"/>
                  </a:lnTo>
                  <a:lnTo>
                    <a:pt x="978" y="120"/>
                  </a:lnTo>
                  <a:lnTo>
                    <a:pt x="984" y="126"/>
                  </a:lnTo>
                  <a:lnTo>
                    <a:pt x="984" y="132"/>
                  </a:lnTo>
                  <a:lnTo>
                    <a:pt x="996" y="138"/>
                  </a:lnTo>
                  <a:lnTo>
                    <a:pt x="1038" y="126"/>
                  </a:lnTo>
                  <a:lnTo>
                    <a:pt x="1056" y="114"/>
                  </a:lnTo>
                  <a:lnTo>
                    <a:pt x="1068" y="126"/>
                  </a:lnTo>
                  <a:lnTo>
                    <a:pt x="1074" y="132"/>
                  </a:lnTo>
                  <a:lnTo>
                    <a:pt x="1068" y="138"/>
                  </a:lnTo>
                  <a:lnTo>
                    <a:pt x="1056" y="150"/>
                  </a:lnTo>
                  <a:lnTo>
                    <a:pt x="1038" y="162"/>
                  </a:lnTo>
                  <a:lnTo>
                    <a:pt x="1038" y="168"/>
                  </a:lnTo>
                  <a:lnTo>
                    <a:pt x="1020" y="174"/>
                  </a:lnTo>
                  <a:lnTo>
                    <a:pt x="1014" y="180"/>
                  </a:lnTo>
                  <a:lnTo>
                    <a:pt x="1008" y="186"/>
                  </a:lnTo>
                  <a:lnTo>
                    <a:pt x="1002" y="198"/>
                  </a:lnTo>
                  <a:lnTo>
                    <a:pt x="984" y="204"/>
                  </a:lnTo>
                  <a:lnTo>
                    <a:pt x="984" y="246"/>
                  </a:lnTo>
                  <a:lnTo>
                    <a:pt x="978" y="270"/>
                  </a:lnTo>
                  <a:lnTo>
                    <a:pt x="990" y="306"/>
                  </a:lnTo>
                  <a:lnTo>
                    <a:pt x="990" y="324"/>
                  </a:lnTo>
                  <a:lnTo>
                    <a:pt x="1002" y="336"/>
                  </a:lnTo>
                  <a:lnTo>
                    <a:pt x="1020" y="372"/>
                  </a:lnTo>
                  <a:lnTo>
                    <a:pt x="1014" y="378"/>
                  </a:lnTo>
                  <a:lnTo>
                    <a:pt x="1014" y="384"/>
                  </a:lnTo>
                  <a:lnTo>
                    <a:pt x="1020" y="384"/>
                  </a:lnTo>
                  <a:lnTo>
                    <a:pt x="1020" y="396"/>
                  </a:lnTo>
                  <a:lnTo>
                    <a:pt x="1062" y="468"/>
                  </a:lnTo>
                  <a:lnTo>
                    <a:pt x="1092" y="522"/>
                  </a:lnTo>
                  <a:lnTo>
                    <a:pt x="1110" y="546"/>
                  </a:lnTo>
                  <a:lnTo>
                    <a:pt x="1122" y="564"/>
                  </a:lnTo>
                  <a:lnTo>
                    <a:pt x="1134" y="576"/>
                  </a:lnTo>
                  <a:lnTo>
                    <a:pt x="1146" y="582"/>
                  </a:lnTo>
                  <a:lnTo>
                    <a:pt x="1146" y="588"/>
                  </a:lnTo>
                  <a:lnTo>
                    <a:pt x="1164" y="600"/>
                  </a:lnTo>
                  <a:lnTo>
                    <a:pt x="1170" y="612"/>
                  </a:lnTo>
                  <a:lnTo>
                    <a:pt x="1170" y="624"/>
                  </a:lnTo>
                  <a:lnTo>
                    <a:pt x="1176" y="654"/>
                  </a:lnTo>
                  <a:lnTo>
                    <a:pt x="1176" y="666"/>
                  </a:lnTo>
                  <a:lnTo>
                    <a:pt x="1182" y="684"/>
                  </a:lnTo>
                  <a:lnTo>
                    <a:pt x="1194" y="696"/>
                  </a:lnTo>
                  <a:lnTo>
                    <a:pt x="1212" y="696"/>
                  </a:lnTo>
                  <a:lnTo>
                    <a:pt x="1206" y="762"/>
                  </a:lnTo>
                  <a:lnTo>
                    <a:pt x="1200" y="768"/>
                  </a:lnTo>
                  <a:lnTo>
                    <a:pt x="1194" y="768"/>
                  </a:lnTo>
                  <a:lnTo>
                    <a:pt x="1194" y="774"/>
                  </a:lnTo>
                  <a:lnTo>
                    <a:pt x="1188" y="774"/>
                  </a:lnTo>
                  <a:lnTo>
                    <a:pt x="1182" y="780"/>
                  </a:lnTo>
                  <a:lnTo>
                    <a:pt x="1176" y="780"/>
                  </a:lnTo>
                  <a:lnTo>
                    <a:pt x="1170" y="780"/>
                  </a:lnTo>
                  <a:lnTo>
                    <a:pt x="1164" y="786"/>
                  </a:lnTo>
                  <a:lnTo>
                    <a:pt x="1158" y="786"/>
                  </a:lnTo>
                  <a:lnTo>
                    <a:pt x="1152" y="786"/>
                  </a:lnTo>
                  <a:lnTo>
                    <a:pt x="1140" y="786"/>
                  </a:lnTo>
                  <a:lnTo>
                    <a:pt x="1134" y="786"/>
                  </a:lnTo>
                  <a:lnTo>
                    <a:pt x="1134" y="780"/>
                  </a:lnTo>
                  <a:lnTo>
                    <a:pt x="1122" y="780"/>
                  </a:lnTo>
                  <a:lnTo>
                    <a:pt x="1116" y="786"/>
                  </a:lnTo>
                  <a:lnTo>
                    <a:pt x="1116" y="792"/>
                  </a:lnTo>
                  <a:lnTo>
                    <a:pt x="1122" y="804"/>
                  </a:lnTo>
                  <a:lnTo>
                    <a:pt x="1128" y="804"/>
                  </a:lnTo>
                  <a:lnTo>
                    <a:pt x="1128" y="816"/>
                  </a:lnTo>
                  <a:lnTo>
                    <a:pt x="1122" y="822"/>
                  </a:lnTo>
                  <a:lnTo>
                    <a:pt x="1116" y="816"/>
                  </a:lnTo>
                  <a:lnTo>
                    <a:pt x="1110" y="816"/>
                  </a:lnTo>
                  <a:lnTo>
                    <a:pt x="1104" y="816"/>
                  </a:lnTo>
                  <a:lnTo>
                    <a:pt x="1098" y="816"/>
                  </a:lnTo>
                  <a:lnTo>
                    <a:pt x="1098" y="822"/>
                  </a:lnTo>
                  <a:lnTo>
                    <a:pt x="1092" y="834"/>
                  </a:lnTo>
                  <a:lnTo>
                    <a:pt x="1092" y="840"/>
                  </a:lnTo>
                  <a:lnTo>
                    <a:pt x="1074" y="840"/>
                  </a:lnTo>
                  <a:lnTo>
                    <a:pt x="1074" y="828"/>
                  </a:lnTo>
                  <a:lnTo>
                    <a:pt x="1062" y="804"/>
                  </a:lnTo>
                  <a:lnTo>
                    <a:pt x="1056" y="792"/>
                  </a:lnTo>
                  <a:lnTo>
                    <a:pt x="1056" y="786"/>
                  </a:lnTo>
                  <a:lnTo>
                    <a:pt x="1026" y="780"/>
                  </a:lnTo>
                  <a:lnTo>
                    <a:pt x="1026" y="768"/>
                  </a:lnTo>
                  <a:lnTo>
                    <a:pt x="1008" y="768"/>
                  </a:lnTo>
                  <a:lnTo>
                    <a:pt x="1002" y="780"/>
                  </a:lnTo>
                  <a:lnTo>
                    <a:pt x="996" y="792"/>
                  </a:lnTo>
                  <a:lnTo>
                    <a:pt x="978" y="798"/>
                  </a:lnTo>
                  <a:lnTo>
                    <a:pt x="972" y="810"/>
                  </a:lnTo>
                  <a:lnTo>
                    <a:pt x="972" y="822"/>
                  </a:lnTo>
                  <a:lnTo>
                    <a:pt x="978" y="828"/>
                  </a:lnTo>
                  <a:lnTo>
                    <a:pt x="978" y="834"/>
                  </a:lnTo>
                  <a:lnTo>
                    <a:pt x="960" y="840"/>
                  </a:lnTo>
                  <a:lnTo>
                    <a:pt x="936" y="840"/>
                  </a:lnTo>
                  <a:lnTo>
                    <a:pt x="918" y="846"/>
                  </a:lnTo>
                  <a:lnTo>
                    <a:pt x="912" y="840"/>
                  </a:lnTo>
                  <a:lnTo>
                    <a:pt x="912" y="834"/>
                  </a:lnTo>
                  <a:lnTo>
                    <a:pt x="906" y="834"/>
                  </a:lnTo>
                  <a:lnTo>
                    <a:pt x="906" y="840"/>
                  </a:lnTo>
                  <a:lnTo>
                    <a:pt x="900" y="846"/>
                  </a:lnTo>
                  <a:lnTo>
                    <a:pt x="906" y="852"/>
                  </a:lnTo>
                  <a:lnTo>
                    <a:pt x="900" y="864"/>
                  </a:lnTo>
                  <a:lnTo>
                    <a:pt x="900" y="876"/>
                  </a:lnTo>
                  <a:lnTo>
                    <a:pt x="900" y="882"/>
                  </a:lnTo>
                  <a:lnTo>
                    <a:pt x="894" y="888"/>
                  </a:lnTo>
                  <a:lnTo>
                    <a:pt x="900" y="900"/>
                  </a:lnTo>
                  <a:lnTo>
                    <a:pt x="900" y="906"/>
                  </a:lnTo>
                  <a:lnTo>
                    <a:pt x="894" y="906"/>
                  </a:lnTo>
                  <a:lnTo>
                    <a:pt x="894" y="912"/>
                  </a:lnTo>
                  <a:lnTo>
                    <a:pt x="900" y="918"/>
                  </a:lnTo>
                  <a:lnTo>
                    <a:pt x="900" y="924"/>
                  </a:lnTo>
                  <a:lnTo>
                    <a:pt x="900" y="948"/>
                  </a:lnTo>
                  <a:lnTo>
                    <a:pt x="888" y="948"/>
                  </a:lnTo>
                  <a:lnTo>
                    <a:pt x="888" y="954"/>
                  </a:lnTo>
                  <a:lnTo>
                    <a:pt x="894" y="954"/>
                  </a:lnTo>
                  <a:lnTo>
                    <a:pt x="900" y="960"/>
                  </a:lnTo>
                  <a:lnTo>
                    <a:pt x="900" y="972"/>
                  </a:lnTo>
                  <a:lnTo>
                    <a:pt x="906" y="984"/>
                  </a:lnTo>
                  <a:lnTo>
                    <a:pt x="912" y="984"/>
                  </a:lnTo>
                  <a:lnTo>
                    <a:pt x="918" y="990"/>
                  </a:lnTo>
                  <a:lnTo>
                    <a:pt x="936" y="990"/>
                  </a:lnTo>
                  <a:lnTo>
                    <a:pt x="936" y="996"/>
                  </a:lnTo>
                  <a:lnTo>
                    <a:pt x="942" y="996"/>
                  </a:lnTo>
                  <a:lnTo>
                    <a:pt x="942" y="1002"/>
                  </a:lnTo>
                  <a:lnTo>
                    <a:pt x="942" y="1008"/>
                  </a:lnTo>
                  <a:lnTo>
                    <a:pt x="948" y="1008"/>
                  </a:lnTo>
                  <a:lnTo>
                    <a:pt x="948" y="1014"/>
                  </a:lnTo>
                  <a:lnTo>
                    <a:pt x="948" y="1020"/>
                  </a:lnTo>
                  <a:lnTo>
                    <a:pt x="954" y="1032"/>
                  </a:lnTo>
                  <a:lnTo>
                    <a:pt x="948" y="1038"/>
                  </a:lnTo>
                  <a:lnTo>
                    <a:pt x="954" y="1044"/>
                  </a:lnTo>
                  <a:lnTo>
                    <a:pt x="954" y="1056"/>
                  </a:lnTo>
                  <a:lnTo>
                    <a:pt x="960" y="1056"/>
                  </a:lnTo>
                  <a:lnTo>
                    <a:pt x="960" y="1062"/>
                  </a:lnTo>
                  <a:lnTo>
                    <a:pt x="954" y="1068"/>
                  </a:lnTo>
                  <a:lnTo>
                    <a:pt x="948" y="1074"/>
                  </a:lnTo>
                  <a:lnTo>
                    <a:pt x="948" y="1080"/>
                  </a:lnTo>
                  <a:lnTo>
                    <a:pt x="948" y="1086"/>
                  </a:lnTo>
                  <a:lnTo>
                    <a:pt x="942" y="1092"/>
                  </a:lnTo>
                  <a:lnTo>
                    <a:pt x="942" y="1098"/>
                  </a:lnTo>
                  <a:lnTo>
                    <a:pt x="942" y="1104"/>
                  </a:lnTo>
                  <a:lnTo>
                    <a:pt x="942" y="1110"/>
                  </a:lnTo>
                  <a:lnTo>
                    <a:pt x="936" y="1116"/>
                  </a:lnTo>
                  <a:lnTo>
                    <a:pt x="936" y="1122"/>
                  </a:lnTo>
                  <a:lnTo>
                    <a:pt x="936" y="1128"/>
                  </a:lnTo>
                  <a:lnTo>
                    <a:pt x="936" y="1134"/>
                  </a:lnTo>
                  <a:lnTo>
                    <a:pt x="942" y="1146"/>
                  </a:lnTo>
                  <a:lnTo>
                    <a:pt x="936" y="1158"/>
                  </a:lnTo>
                  <a:lnTo>
                    <a:pt x="936" y="1170"/>
                  </a:lnTo>
                  <a:lnTo>
                    <a:pt x="936" y="1194"/>
                  </a:lnTo>
                  <a:lnTo>
                    <a:pt x="930" y="1200"/>
                  </a:lnTo>
                  <a:lnTo>
                    <a:pt x="930" y="1212"/>
                  </a:lnTo>
                  <a:lnTo>
                    <a:pt x="918" y="1218"/>
                  </a:lnTo>
                  <a:lnTo>
                    <a:pt x="918" y="1230"/>
                  </a:lnTo>
                  <a:lnTo>
                    <a:pt x="906" y="1230"/>
                  </a:lnTo>
                  <a:lnTo>
                    <a:pt x="900" y="1254"/>
                  </a:lnTo>
                  <a:lnTo>
                    <a:pt x="900" y="1260"/>
                  </a:lnTo>
                  <a:lnTo>
                    <a:pt x="900" y="1266"/>
                  </a:lnTo>
                  <a:lnTo>
                    <a:pt x="900" y="1272"/>
                  </a:lnTo>
                  <a:lnTo>
                    <a:pt x="900" y="1278"/>
                  </a:lnTo>
                  <a:lnTo>
                    <a:pt x="900" y="1284"/>
                  </a:lnTo>
                  <a:lnTo>
                    <a:pt x="906" y="129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1" name="Freeform 26">
              <a:extLst>
                <a:ext uri="{FF2B5EF4-FFF2-40B4-BE49-F238E27FC236}">
                  <a16:creationId xmlns:a16="http://schemas.microsoft.com/office/drawing/2014/main" id="{25725EFE-FE00-49A8-A87A-6752B785C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79173" y="3477313"/>
              <a:ext cx="650731" cy="559125"/>
            </a:xfrm>
            <a:custGeom>
              <a:avLst/>
              <a:gdLst>
                <a:gd name="T0" fmla="*/ 95 w 1224"/>
                <a:gd name="T1" fmla="*/ 89 h 1050"/>
                <a:gd name="T2" fmla="*/ 90 w 1224"/>
                <a:gd name="T3" fmla="*/ 84 h 1050"/>
                <a:gd name="T4" fmla="*/ 84 w 1224"/>
                <a:gd name="T5" fmla="*/ 83 h 1050"/>
                <a:gd name="T6" fmla="*/ 82 w 1224"/>
                <a:gd name="T7" fmla="*/ 80 h 1050"/>
                <a:gd name="T8" fmla="*/ 85 w 1224"/>
                <a:gd name="T9" fmla="*/ 77 h 1050"/>
                <a:gd name="T10" fmla="*/ 81 w 1224"/>
                <a:gd name="T11" fmla="*/ 76 h 1050"/>
                <a:gd name="T12" fmla="*/ 77 w 1224"/>
                <a:gd name="T13" fmla="*/ 77 h 1050"/>
                <a:gd name="T14" fmla="*/ 78 w 1224"/>
                <a:gd name="T15" fmla="*/ 73 h 1050"/>
                <a:gd name="T16" fmla="*/ 59 w 1224"/>
                <a:gd name="T17" fmla="*/ 71 h 1050"/>
                <a:gd name="T18" fmla="*/ 41 w 1224"/>
                <a:gd name="T19" fmla="*/ 73 h 1050"/>
                <a:gd name="T20" fmla="*/ 33 w 1224"/>
                <a:gd name="T21" fmla="*/ 71 h 1050"/>
                <a:gd name="T22" fmla="*/ 30 w 1224"/>
                <a:gd name="T23" fmla="*/ 75 h 1050"/>
                <a:gd name="T24" fmla="*/ 27 w 1224"/>
                <a:gd name="T25" fmla="*/ 80 h 1050"/>
                <a:gd name="T26" fmla="*/ 12 w 1224"/>
                <a:gd name="T27" fmla="*/ 81 h 1050"/>
                <a:gd name="T28" fmla="*/ 9 w 1224"/>
                <a:gd name="T29" fmla="*/ 84 h 1050"/>
                <a:gd name="T30" fmla="*/ 6 w 1224"/>
                <a:gd name="T31" fmla="*/ 83 h 1050"/>
                <a:gd name="T32" fmla="*/ 1 w 1224"/>
                <a:gd name="T33" fmla="*/ 83 h 1050"/>
                <a:gd name="T34" fmla="*/ 3 w 1224"/>
                <a:gd name="T35" fmla="*/ 77 h 1050"/>
                <a:gd name="T36" fmla="*/ 5 w 1224"/>
                <a:gd name="T37" fmla="*/ 70 h 1050"/>
                <a:gd name="T38" fmla="*/ 2 w 1224"/>
                <a:gd name="T39" fmla="*/ 65 h 1050"/>
                <a:gd name="T40" fmla="*/ 3 w 1224"/>
                <a:gd name="T41" fmla="*/ 58 h 1050"/>
                <a:gd name="T42" fmla="*/ 4 w 1224"/>
                <a:gd name="T43" fmla="*/ 51 h 1050"/>
                <a:gd name="T44" fmla="*/ 3 w 1224"/>
                <a:gd name="T45" fmla="*/ 47 h 1050"/>
                <a:gd name="T46" fmla="*/ 4 w 1224"/>
                <a:gd name="T47" fmla="*/ 39 h 1050"/>
                <a:gd name="T48" fmla="*/ 6 w 1224"/>
                <a:gd name="T49" fmla="*/ 29 h 1050"/>
                <a:gd name="T50" fmla="*/ 3 w 1224"/>
                <a:gd name="T51" fmla="*/ 22 h 1050"/>
                <a:gd name="T52" fmla="*/ 2 w 1224"/>
                <a:gd name="T53" fmla="*/ 14 h 1050"/>
                <a:gd name="T54" fmla="*/ 0 w 1224"/>
                <a:gd name="T55" fmla="*/ 6 h 1050"/>
                <a:gd name="T56" fmla="*/ 9 w 1224"/>
                <a:gd name="T57" fmla="*/ 1 h 1050"/>
                <a:gd name="T58" fmla="*/ 11 w 1224"/>
                <a:gd name="T59" fmla="*/ 8 h 1050"/>
                <a:gd name="T60" fmla="*/ 15 w 1224"/>
                <a:gd name="T61" fmla="*/ 9 h 1050"/>
                <a:gd name="T62" fmla="*/ 18 w 1224"/>
                <a:gd name="T63" fmla="*/ 8 h 1050"/>
                <a:gd name="T64" fmla="*/ 18 w 1224"/>
                <a:gd name="T65" fmla="*/ 13 h 1050"/>
                <a:gd name="T66" fmla="*/ 17 w 1224"/>
                <a:gd name="T67" fmla="*/ 15 h 1050"/>
                <a:gd name="T68" fmla="*/ 17 w 1224"/>
                <a:gd name="T69" fmla="*/ 17 h 1050"/>
                <a:gd name="T70" fmla="*/ 17 w 1224"/>
                <a:gd name="T71" fmla="*/ 21 h 1050"/>
                <a:gd name="T72" fmla="*/ 21 w 1224"/>
                <a:gd name="T73" fmla="*/ 25 h 1050"/>
                <a:gd name="T74" fmla="*/ 24 w 1224"/>
                <a:gd name="T75" fmla="*/ 31 h 1050"/>
                <a:gd name="T76" fmla="*/ 35 w 1224"/>
                <a:gd name="T77" fmla="*/ 34 h 1050"/>
                <a:gd name="T78" fmla="*/ 40 w 1224"/>
                <a:gd name="T79" fmla="*/ 27 h 1050"/>
                <a:gd name="T80" fmla="*/ 46 w 1224"/>
                <a:gd name="T81" fmla="*/ 30 h 1050"/>
                <a:gd name="T82" fmla="*/ 51 w 1224"/>
                <a:gd name="T83" fmla="*/ 27 h 1050"/>
                <a:gd name="T84" fmla="*/ 59 w 1224"/>
                <a:gd name="T85" fmla="*/ 39 h 1050"/>
                <a:gd name="T86" fmla="*/ 59 w 1224"/>
                <a:gd name="T87" fmla="*/ 45 h 1050"/>
                <a:gd name="T88" fmla="*/ 72 w 1224"/>
                <a:gd name="T89" fmla="*/ 45 h 1050"/>
                <a:gd name="T90" fmla="*/ 79 w 1224"/>
                <a:gd name="T91" fmla="*/ 44 h 1050"/>
                <a:gd name="T92" fmla="*/ 87 w 1224"/>
                <a:gd name="T93" fmla="*/ 48 h 1050"/>
                <a:gd name="T94" fmla="*/ 93 w 1224"/>
                <a:gd name="T95" fmla="*/ 50 h 1050"/>
                <a:gd name="T96" fmla="*/ 98 w 1224"/>
                <a:gd name="T97" fmla="*/ 51 h 1050"/>
                <a:gd name="T98" fmla="*/ 106 w 1224"/>
                <a:gd name="T99" fmla="*/ 50 h 1050"/>
                <a:gd name="T100" fmla="*/ 104 w 1224"/>
                <a:gd name="T101" fmla="*/ 54 h 1050"/>
                <a:gd name="T102" fmla="*/ 104 w 1224"/>
                <a:gd name="T103" fmla="*/ 60 h 1050"/>
                <a:gd name="T104" fmla="*/ 101 w 1224"/>
                <a:gd name="T105" fmla="*/ 63 h 1050"/>
                <a:gd name="T106" fmla="*/ 98 w 1224"/>
                <a:gd name="T107" fmla="*/ 66 h 1050"/>
                <a:gd name="T108" fmla="*/ 95 w 1224"/>
                <a:gd name="T109" fmla="*/ 68 h 1050"/>
                <a:gd name="T110" fmla="*/ 93 w 1224"/>
                <a:gd name="T111" fmla="*/ 72 h 1050"/>
                <a:gd name="T112" fmla="*/ 98 w 1224"/>
                <a:gd name="T113" fmla="*/ 75 h 1050"/>
                <a:gd name="T114" fmla="*/ 102 w 1224"/>
                <a:gd name="T115" fmla="*/ 77 h 1050"/>
                <a:gd name="T116" fmla="*/ 107 w 1224"/>
                <a:gd name="T117" fmla="*/ 76 h 1050"/>
                <a:gd name="T118" fmla="*/ 104 w 1224"/>
                <a:gd name="T119" fmla="*/ 84 h 1050"/>
                <a:gd name="T120" fmla="*/ 103 w 1224"/>
                <a:gd name="T121" fmla="*/ 87 h 1050"/>
                <a:gd name="T122" fmla="*/ 104 w 1224"/>
                <a:gd name="T123" fmla="*/ 91 h 105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24"/>
                <a:gd name="T187" fmla="*/ 0 h 1050"/>
                <a:gd name="T188" fmla="*/ 1224 w 1224"/>
                <a:gd name="T189" fmla="*/ 1050 h 105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24" h="1050">
                  <a:moveTo>
                    <a:pt x="1128" y="1032"/>
                  </a:moveTo>
                  <a:lnTo>
                    <a:pt x="1122" y="1026"/>
                  </a:lnTo>
                  <a:lnTo>
                    <a:pt x="1116" y="1026"/>
                  </a:lnTo>
                  <a:lnTo>
                    <a:pt x="1110" y="1026"/>
                  </a:lnTo>
                  <a:lnTo>
                    <a:pt x="1104" y="1026"/>
                  </a:lnTo>
                  <a:lnTo>
                    <a:pt x="1104" y="1020"/>
                  </a:lnTo>
                  <a:lnTo>
                    <a:pt x="1098" y="1020"/>
                  </a:lnTo>
                  <a:lnTo>
                    <a:pt x="1092" y="1020"/>
                  </a:lnTo>
                  <a:lnTo>
                    <a:pt x="1086" y="1020"/>
                  </a:lnTo>
                  <a:lnTo>
                    <a:pt x="1080" y="1014"/>
                  </a:lnTo>
                  <a:lnTo>
                    <a:pt x="1068" y="1014"/>
                  </a:lnTo>
                  <a:lnTo>
                    <a:pt x="1062" y="1014"/>
                  </a:lnTo>
                  <a:lnTo>
                    <a:pt x="1062" y="1008"/>
                  </a:lnTo>
                  <a:lnTo>
                    <a:pt x="1062" y="990"/>
                  </a:lnTo>
                  <a:lnTo>
                    <a:pt x="1062" y="984"/>
                  </a:lnTo>
                  <a:lnTo>
                    <a:pt x="1062" y="972"/>
                  </a:lnTo>
                  <a:lnTo>
                    <a:pt x="1044" y="966"/>
                  </a:lnTo>
                  <a:lnTo>
                    <a:pt x="1026" y="966"/>
                  </a:lnTo>
                  <a:lnTo>
                    <a:pt x="1014" y="966"/>
                  </a:lnTo>
                  <a:lnTo>
                    <a:pt x="996" y="966"/>
                  </a:lnTo>
                  <a:lnTo>
                    <a:pt x="996" y="972"/>
                  </a:lnTo>
                  <a:lnTo>
                    <a:pt x="990" y="972"/>
                  </a:lnTo>
                  <a:lnTo>
                    <a:pt x="984" y="966"/>
                  </a:lnTo>
                  <a:lnTo>
                    <a:pt x="978" y="966"/>
                  </a:lnTo>
                  <a:lnTo>
                    <a:pt x="978" y="960"/>
                  </a:lnTo>
                  <a:lnTo>
                    <a:pt x="972" y="954"/>
                  </a:lnTo>
                  <a:lnTo>
                    <a:pt x="966" y="954"/>
                  </a:lnTo>
                  <a:lnTo>
                    <a:pt x="960" y="954"/>
                  </a:lnTo>
                  <a:lnTo>
                    <a:pt x="954" y="954"/>
                  </a:lnTo>
                  <a:lnTo>
                    <a:pt x="954" y="948"/>
                  </a:lnTo>
                  <a:lnTo>
                    <a:pt x="942" y="942"/>
                  </a:lnTo>
                  <a:lnTo>
                    <a:pt x="936" y="942"/>
                  </a:lnTo>
                  <a:lnTo>
                    <a:pt x="936" y="936"/>
                  </a:lnTo>
                  <a:lnTo>
                    <a:pt x="936" y="930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42" y="918"/>
                  </a:lnTo>
                  <a:lnTo>
                    <a:pt x="948" y="918"/>
                  </a:lnTo>
                  <a:lnTo>
                    <a:pt x="960" y="918"/>
                  </a:lnTo>
                  <a:lnTo>
                    <a:pt x="966" y="912"/>
                  </a:lnTo>
                  <a:lnTo>
                    <a:pt x="978" y="906"/>
                  </a:lnTo>
                  <a:lnTo>
                    <a:pt x="978" y="900"/>
                  </a:lnTo>
                  <a:lnTo>
                    <a:pt x="978" y="894"/>
                  </a:lnTo>
                  <a:lnTo>
                    <a:pt x="978" y="888"/>
                  </a:lnTo>
                  <a:lnTo>
                    <a:pt x="972" y="888"/>
                  </a:lnTo>
                  <a:lnTo>
                    <a:pt x="978" y="888"/>
                  </a:lnTo>
                  <a:lnTo>
                    <a:pt x="978" y="882"/>
                  </a:lnTo>
                  <a:lnTo>
                    <a:pt x="972" y="876"/>
                  </a:lnTo>
                  <a:lnTo>
                    <a:pt x="966" y="870"/>
                  </a:lnTo>
                  <a:lnTo>
                    <a:pt x="954" y="876"/>
                  </a:lnTo>
                  <a:lnTo>
                    <a:pt x="948" y="876"/>
                  </a:lnTo>
                  <a:lnTo>
                    <a:pt x="942" y="870"/>
                  </a:lnTo>
                  <a:lnTo>
                    <a:pt x="936" y="876"/>
                  </a:lnTo>
                  <a:lnTo>
                    <a:pt x="930" y="876"/>
                  </a:lnTo>
                  <a:lnTo>
                    <a:pt x="924" y="882"/>
                  </a:lnTo>
                  <a:lnTo>
                    <a:pt x="912" y="888"/>
                  </a:lnTo>
                  <a:lnTo>
                    <a:pt x="906" y="894"/>
                  </a:lnTo>
                  <a:lnTo>
                    <a:pt x="900" y="900"/>
                  </a:lnTo>
                  <a:lnTo>
                    <a:pt x="894" y="888"/>
                  </a:lnTo>
                  <a:lnTo>
                    <a:pt x="888" y="894"/>
                  </a:lnTo>
                  <a:lnTo>
                    <a:pt x="882" y="888"/>
                  </a:lnTo>
                  <a:lnTo>
                    <a:pt x="876" y="894"/>
                  </a:lnTo>
                  <a:lnTo>
                    <a:pt x="876" y="888"/>
                  </a:lnTo>
                  <a:lnTo>
                    <a:pt x="876" y="882"/>
                  </a:lnTo>
                  <a:lnTo>
                    <a:pt x="876" y="876"/>
                  </a:lnTo>
                  <a:lnTo>
                    <a:pt x="870" y="858"/>
                  </a:lnTo>
                  <a:lnTo>
                    <a:pt x="864" y="858"/>
                  </a:lnTo>
                  <a:lnTo>
                    <a:pt x="870" y="852"/>
                  </a:lnTo>
                  <a:lnTo>
                    <a:pt x="870" y="846"/>
                  </a:lnTo>
                  <a:lnTo>
                    <a:pt x="876" y="846"/>
                  </a:lnTo>
                  <a:lnTo>
                    <a:pt x="882" y="846"/>
                  </a:lnTo>
                  <a:lnTo>
                    <a:pt x="888" y="840"/>
                  </a:lnTo>
                  <a:lnTo>
                    <a:pt x="894" y="834"/>
                  </a:lnTo>
                  <a:lnTo>
                    <a:pt x="894" y="828"/>
                  </a:lnTo>
                  <a:lnTo>
                    <a:pt x="894" y="816"/>
                  </a:lnTo>
                  <a:lnTo>
                    <a:pt x="858" y="810"/>
                  </a:lnTo>
                  <a:lnTo>
                    <a:pt x="858" y="816"/>
                  </a:lnTo>
                  <a:lnTo>
                    <a:pt x="852" y="816"/>
                  </a:lnTo>
                  <a:lnTo>
                    <a:pt x="780" y="816"/>
                  </a:lnTo>
                  <a:lnTo>
                    <a:pt x="750" y="816"/>
                  </a:lnTo>
                  <a:lnTo>
                    <a:pt x="684" y="816"/>
                  </a:lnTo>
                  <a:lnTo>
                    <a:pt x="636" y="816"/>
                  </a:lnTo>
                  <a:lnTo>
                    <a:pt x="612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0" y="816"/>
                  </a:lnTo>
                  <a:lnTo>
                    <a:pt x="480" y="822"/>
                  </a:lnTo>
                  <a:lnTo>
                    <a:pt x="480" y="834"/>
                  </a:lnTo>
                  <a:lnTo>
                    <a:pt x="474" y="840"/>
                  </a:lnTo>
                  <a:lnTo>
                    <a:pt x="468" y="840"/>
                  </a:lnTo>
                  <a:lnTo>
                    <a:pt x="432" y="840"/>
                  </a:lnTo>
                  <a:lnTo>
                    <a:pt x="426" y="834"/>
                  </a:lnTo>
                  <a:lnTo>
                    <a:pt x="420" y="834"/>
                  </a:lnTo>
                  <a:lnTo>
                    <a:pt x="420" y="828"/>
                  </a:lnTo>
                  <a:lnTo>
                    <a:pt x="414" y="822"/>
                  </a:lnTo>
                  <a:lnTo>
                    <a:pt x="408" y="822"/>
                  </a:lnTo>
                  <a:lnTo>
                    <a:pt x="396" y="822"/>
                  </a:lnTo>
                  <a:lnTo>
                    <a:pt x="396" y="816"/>
                  </a:lnTo>
                  <a:lnTo>
                    <a:pt x="384" y="816"/>
                  </a:lnTo>
                  <a:lnTo>
                    <a:pt x="372" y="810"/>
                  </a:lnTo>
                  <a:lnTo>
                    <a:pt x="372" y="804"/>
                  </a:lnTo>
                  <a:lnTo>
                    <a:pt x="366" y="804"/>
                  </a:lnTo>
                  <a:lnTo>
                    <a:pt x="360" y="804"/>
                  </a:lnTo>
                  <a:lnTo>
                    <a:pt x="348" y="828"/>
                  </a:lnTo>
                  <a:lnTo>
                    <a:pt x="348" y="834"/>
                  </a:lnTo>
                  <a:lnTo>
                    <a:pt x="348" y="852"/>
                  </a:lnTo>
                  <a:lnTo>
                    <a:pt x="348" y="858"/>
                  </a:lnTo>
                  <a:lnTo>
                    <a:pt x="342" y="864"/>
                  </a:lnTo>
                  <a:lnTo>
                    <a:pt x="342" y="870"/>
                  </a:lnTo>
                  <a:lnTo>
                    <a:pt x="330" y="876"/>
                  </a:lnTo>
                  <a:lnTo>
                    <a:pt x="324" y="888"/>
                  </a:lnTo>
                  <a:lnTo>
                    <a:pt x="324" y="894"/>
                  </a:lnTo>
                  <a:lnTo>
                    <a:pt x="330" y="900"/>
                  </a:lnTo>
                  <a:lnTo>
                    <a:pt x="330" y="906"/>
                  </a:lnTo>
                  <a:lnTo>
                    <a:pt x="324" y="906"/>
                  </a:lnTo>
                  <a:lnTo>
                    <a:pt x="318" y="912"/>
                  </a:lnTo>
                  <a:lnTo>
                    <a:pt x="312" y="918"/>
                  </a:lnTo>
                  <a:lnTo>
                    <a:pt x="306" y="924"/>
                  </a:lnTo>
                  <a:lnTo>
                    <a:pt x="288" y="924"/>
                  </a:lnTo>
                  <a:lnTo>
                    <a:pt x="282" y="924"/>
                  </a:lnTo>
                  <a:lnTo>
                    <a:pt x="276" y="930"/>
                  </a:lnTo>
                  <a:lnTo>
                    <a:pt x="270" y="930"/>
                  </a:lnTo>
                  <a:lnTo>
                    <a:pt x="264" y="930"/>
                  </a:lnTo>
                  <a:lnTo>
                    <a:pt x="198" y="930"/>
                  </a:lnTo>
                  <a:lnTo>
                    <a:pt x="132" y="930"/>
                  </a:lnTo>
                  <a:lnTo>
                    <a:pt x="132" y="936"/>
                  </a:lnTo>
                  <a:lnTo>
                    <a:pt x="132" y="942"/>
                  </a:lnTo>
                  <a:lnTo>
                    <a:pt x="132" y="948"/>
                  </a:lnTo>
                  <a:lnTo>
                    <a:pt x="126" y="948"/>
                  </a:lnTo>
                  <a:lnTo>
                    <a:pt x="120" y="948"/>
                  </a:lnTo>
                  <a:lnTo>
                    <a:pt x="120" y="954"/>
                  </a:lnTo>
                  <a:lnTo>
                    <a:pt x="114" y="954"/>
                  </a:lnTo>
                  <a:lnTo>
                    <a:pt x="114" y="960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02" y="966"/>
                  </a:lnTo>
                  <a:lnTo>
                    <a:pt x="102" y="972"/>
                  </a:lnTo>
                  <a:lnTo>
                    <a:pt x="96" y="972"/>
                  </a:lnTo>
                  <a:lnTo>
                    <a:pt x="96" y="966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78" y="960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60"/>
                  </a:lnTo>
                  <a:lnTo>
                    <a:pt x="54" y="966"/>
                  </a:lnTo>
                  <a:lnTo>
                    <a:pt x="48" y="966"/>
                  </a:lnTo>
                  <a:lnTo>
                    <a:pt x="42" y="966"/>
                  </a:lnTo>
                  <a:lnTo>
                    <a:pt x="36" y="966"/>
                  </a:lnTo>
                  <a:lnTo>
                    <a:pt x="30" y="966"/>
                  </a:lnTo>
                  <a:lnTo>
                    <a:pt x="24" y="960"/>
                  </a:lnTo>
                  <a:lnTo>
                    <a:pt x="18" y="960"/>
                  </a:lnTo>
                  <a:lnTo>
                    <a:pt x="12" y="960"/>
                  </a:lnTo>
                  <a:lnTo>
                    <a:pt x="12" y="948"/>
                  </a:lnTo>
                  <a:lnTo>
                    <a:pt x="18" y="942"/>
                  </a:lnTo>
                  <a:lnTo>
                    <a:pt x="18" y="936"/>
                  </a:lnTo>
                  <a:lnTo>
                    <a:pt x="18" y="930"/>
                  </a:lnTo>
                  <a:lnTo>
                    <a:pt x="18" y="924"/>
                  </a:lnTo>
                  <a:lnTo>
                    <a:pt x="18" y="912"/>
                  </a:lnTo>
                  <a:lnTo>
                    <a:pt x="24" y="906"/>
                  </a:lnTo>
                  <a:lnTo>
                    <a:pt x="30" y="900"/>
                  </a:lnTo>
                  <a:lnTo>
                    <a:pt x="36" y="894"/>
                  </a:lnTo>
                  <a:lnTo>
                    <a:pt x="36" y="882"/>
                  </a:lnTo>
                  <a:lnTo>
                    <a:pt x="30" y="876"/>
                  </a:lnTo>
                  <a:lnTo>
                    <a:pt x="30" y="870"/>
                  </a:lnTo>
                  <a:lnTo>
                    <a:pt x="24" y="858"/>
                  </a:lnTo>
                  <a:lnTo>
                    <a:pt x="24" y="846"/>
                  </a:lnTo>
                  <a:lnTo>
                    <a:pt x="36" y="822"/>
                  </a:lnTo>
                  <a:lnTo>
                    <a:pt x="42" y="816"/>
                  </a:lnTo>
                  <a:lnTo>
                    <a:pt x="48" y="816"/>
                  </a:lnTo>
                  <a:lnTo>
                    <a:pt x="60" y="804"/>
                  </a:lnTo>
                  <a:lnTo>
                    <a:pt x="60" y="786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54" y="762"/>
                  </a:lnTo>
                  <a:lnTo>
                    <a:pt x="42" y="762"/>
                  </a:lnTo>
                  <a:lnTo>
                    <a:pt x="36" y="762"/>
                  </a:lnTo>
                  <a:lnTo>
                    <a:pt x="30" y="762"/>
                  </a:lnTo>
                  <a:lnTo>
                    <a:pt x="30" y="756"/>
                  </a:lnTo>
                  <a:lnTo>
                    <a:pt x="24" y="750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702"/>
                  </a:lnTo>
                  <a:lnTo>
                    <a:pt x="36" y="684"/>
                  </a:lnTo>
                  <a:lnTo>
                    <a:pt x="36" y="678"/>
                  </a:lnTo>
                  <a:lnTo>
                    <a:pt x="36" y="666"/>
                  </a:lnTo>
                  <a:lnTo>
                    <a:pt x="36" y="654"/>
                  </a:lnTo>
                  <a:lnTo>
                    <a:pt x="18" y="654"/>
                  </a:lnTo>
                  <a:lnTo>
                    <a:pt x="18" y="648"/>
                  </a:lnTo>
                  <a:lnTo>
                    <a:pt x="18" y="618"/>
                  </a:lnTo>
                  <a:lnTo>
                    <a:pt x="18" y="612"/>
                  </a:lnTo>
                  <a:lnTo>
                    <a:pt x="24" y="612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54" y="588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76"/>
                  </a:lnTo>
                  <a:lnTo>
                    <a:pt x="48" y="564"/>
                  </a:lnTo>
                  <a:lnTo>
                    <a:pt x="42" y="564"/>
                  </a:lnTo>
                  <a:lnTo>
                    <a:pt x="36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6" y="540"/>
                  </a:lnTo>
                  <a:lnTo>
                    <a:pt x="48" y="534"/>
                  </a:lnTo>
                  <a:lnTo>
                    <a:pt x="54" y="528"/>
                  </a:lnTo>
                  <a:lnTo>
                    <a:pt x="60" y="504"/>
                  </a:lnTo>
                  <a:lnTo>
                    <a:pt x="60" y="492"/>
                  </a:lnTo>
                  <a:lnTo>
                    <a:pt x="54" y="492"/>
                  </a:lnTo>
                  <a:lnTo>
                    <a:pt x="54" y="480"/>
                  </a:lnTo>
                  <a:lnTo>
                    <a:pt x="48" y="456"/>
                  </a:lnTo>
                  <a:lnTo>
                    <a:pt x="42" y="450"/>
                  </a:lnTo>
                  <a:lnTo>
                    <a:pt x="36" y="444"/>
                  </a:lnTo>
                  <a:lnTo>
                    <a:pt x="36" y="420"/>
                  </a:lnTo>
                  <a:lnTo>
                    <a:pt x="36" y="408"/>
                  </a:lnTo>
                  <a:lnTo>
                    <a:pt x="36" y="37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60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6" y="300"/>
                  </a:lnTo>
                  <a:lnTo>
                    <a:pt x="60" y="294"/>
                  </a:lnTo>
                  <a:lnTo>
                    <a:pt x="60" y="288"/>
                  </a:lnTo>
                  <a:lnTo>
                    <a:pt x="54" y="282"/>
                  </a:lnTo>
                  <a:lnTo>
                    <a:pt x="42" y="276"/>
                  </a:lnTo>
                  <a:lnTo>
                    <a:pt x="36" y="276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0" y="252"/>
                  </a:lnTo>
                  <a:lnTo>
                    <a:pt x="24" y="246"/>
                  </a:lnTo>
                  <a:lnTo>
                    <a:pt x="24" y="240"/>
                  </a:lnTo>
                  <a:lnTo>
                    <a:pt x="24" y="228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62"/>
                  </a:lnTo>
                  <a:lnTo>
                    <a:pt x="24" y="144"/>
                  </a:lnTo>
                  <a:lnTo>
                    <a:pt x="24" y="132"/>
                  </a:lnTo>
                  <a:lnTo>
                    <a:pt x="24" y="114"/>
                  </a:lnTo>
                  <a:lnTo>
                    <a:pt x="24" y="102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18" y="48"/>
                  </a:lnTo>
                  <a:lnTo>
                    <a:pt x="42" y="36"/>
                  </a:lnTo>
                  <a:lnTo>
                    <a:pt x="54" y="24"/>
                  </a:lnTo>
                  <a:lnTo>
                    <a:pt x="60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10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14" y="60"/>
                  </a:lnTo>
                  <a:lnTo>
                    <a:pt x="120" y="60"/>
                  </a:lnTo>
                  <a:lnTo>
                    <a:pt x="114" y="84"/>
                  </a:lnTo>
                  <a:lnTo>
                    <a:pt x="120" y="90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38" y="114"/>
                  </a:lnTo>
                  <a:lnTo>
                    <a:pt x="138" y="132"/>
                  </a:lnTo>
                  <a:lnTo>
                    <a:pt x="162" y="126"/>
                  </a:lnTo>
                  <a:lnTo>
                    <a:pt x="162" y="114"/>
                  </a:lnTo>
                  <a:lnTo>
                    <a:pt x="174" y="108"/>
                  </a:lnTo>
                  <a:lnTo>
                    <a:pt x="174" y="102"/>
                  </a:lnTo>
                  <a:lnTo>
                    <a:pt x="180" y="96"/>
                  </a:lnTo>
                  <a:lnTo>
                    <a:pt x="180" y="60"/>
                  </a:lnTo>
                  <a:lnTo>
                    <a:pt x="192" y="60"/>
                  </a:lnTo>
                  <a:lnTo>
                    <a:pt x="192" y="72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04" y="108"/>
                  </a:lnTo>
                  <a:lnTo>
                    <a:pt x="204" y="114"/>
                  </a:lnTo>
                  <a:lnTo>
                    <a:pt x="204" y="120"/>
                  </a:lnTo>
                  <a:lnTo>
                    <a:pt x="204" y="126"/>
                  </a:lnTo>
                  <a:lnTo>
                    <a:pt x="210" y="126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8" y="174"/>
                  </a:lnTo>
                  <a:lnTo>
                    <a:pt x="198" y="180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86" y="204"/>
                  </a:lnTo>
                  <a:lnTo>
                    <a:pt x="186" y="210"/>
                  </a:lnTo>
                  <a:lnTo>
                    <a:pt x="180" y="210"/>
                  </a:lnTo>
                  <a:lnTo>
                    <a:pt x="180" y="216"/>
                  </a:lnTo>
                  <a:lnTo>
                    <a:pt x="180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92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8" y="258"/>
                  </a:lnTo>
                  <a:lnTo>
                    <a:pt x="204" y="258"/>
                  </a:lnTo>
                  <a:lnTo>
                    <a:pt x="210" y="258"/>
                  </a:lnTo>
                  <a:lnTo>
                    <a:pt x="216" y="258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34" y="276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46" y="306"/>
                  </a:lnTo>
                  <a:lnTo>
                    <a:pt x="252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42"/>
                  </a:lnTo>
                  <a:lnTo>
                    <a:pt x="270" y="342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88" y="366"/>
                  </a:lnTo>
                  <a:lnTo>
                    <a:pt x="336" y="360"/>
                  </a:lnTo>
                  <a:lnTo>
                    <a:pt x="354" y="360"/>
                  </a:lnTo>
                  <a:lnTo>
                    <a:pt x="366" y="372"/>
                  </a:lnTo>
                  <a:lnTo>
                    <a:pt x="378" y="378"/>
                  </a:lnTo>
                  <a:lnTo>
                    <a:pt x="378" y="390"/>
                  </a:lnTo>
                  <a:lnTo>
                    <a:pt x="384" y="390"/>
                  </a:lnTo>
                  <a:lnTo>
                    <a:pt x="390" y="396"/>
                  </a:lnTo>
                  <a:lnTo>
                    <a:pt x="408" y="390"/>
                  </a:lnTo>
                  <a:lnTo>
                    <a:pt x="426" y="366"/>
                  </a:lnTo>
                  <a:lnTo>
                    <a:pt x="432" y="360"/>
                  </a:lnTo>
                  <a:lnTo>
                    <a:pt x="438" y="348"/>
                  </a:lnTo>
                  <a:lnTo>
                    <a:pt x="438" y="342"/>
                  </a:lnTo>
                  <a:lnTo>
                    <a:pt x="438" y="330"/>
                  </a:lnTo>
                  <a:lnTo>
                    <a:pt x="444" y="324"/>
                  </a:lnTo>
                  <a:lnTo>
                    <a:pt x="450" y="318"/>
                  </a:lnTo>
                  <a:lnTo>
                    <a:pt x="456" y="312"/>
                  </a:lnTo>
                  <a:lnTo>
                    <a:pt x="456" y="306"/>
                  </a:lnTo>
                  <a:lnTo>
                    <a:pt x="456" y="300"/>
                  </a:lnTo>
                  <a:lnTo>
                    <a:pt x="474" y="288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92" y="294"/>
                  </a:lnTo>
                  <a:lnTo>
                    <a:pt x="492" y="318"/>
                  </a:lnTo>
                  <a:lnTo>
                    <a:pt x="504" y="324"/>
                  </a:lnTo>
                  <a:lnTo>
                    <a:pt x="492" y="348"/>
                  </a:lnTo>
                  <a:lnTo>
                    <a:pt x="522" y="348"/>
                  </a:lnTo>
                  <a:lnTo>
                    <a:pt x="528" y="342"/>
                  </a:lnTo>
                  <a:lnTo>
                    <a:pt x="528" y="336"/>
                  </a:lnTo>
                  <a:lnTo>
                    <a:pt x="528" y="330"/>
                  </a:lnTo>
                  <a:lnTo>
                    <a:pt x="534" y="330"/>
                  </a:lnTo>
                  <a:lnTo>
                    <a:pt x="540" y="330"/>
                  </a:lnTo>
                  <a:lnTo>
                    <a:pt x="546" y="330"/>
                  </a:lnTo>
                  <a:lnTo>
                    <a:pt x="552" y="324"/>
                  </a:lnTo>
                  <a:lnTo>
                    <a:pt x="558" y="318"/>
                  </a:lnTo>
                  <a:lnTo>
                    <a:pt x="576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8" y="348"/>
                  </a:lnTo>
                  <a:lnTo>
                    <a:pt x="654" y="354"/>
                  </a:lnTo>
                  <a:lnTo>
                    <a:pt x="648" y="402"/>
                  </a:lnTo>
                  <a:lnTo>
                    <a:pt x="678" y="402"/>
                  </a:lnTo>
                  <a:lnTo>
                    <a:pt x="678" y="420"/>
                  </a:lnTo>
                  <a:lnTo>
                    <a:pt x="684" y="438"/>
                  </a:lnTo>
                  <a:lnTo>
                    <a:pt x="684" y="450"/>
                  </a:lnTo>
                  <a:lnTo>
                    <a:pt x="684" y="456"/>
                  </a:lnTo>
                  <a:lnTo>
                    <a:pt x="690" y="468"/>
                  </a:lnTo>
                  <a:lnTo>
                    <a:pt x="690" y="474"/>
                  </a:lnTo>
                  <a:lnTo>
                    <a:pt x="690" y="480"/>
                  </a:lnTo>
                  <a:lnTo>
                    <a:pt x="696" y="486"/>
                  </a:lnTo>
                  <a:lnTo>
                    <a:pt x="696" y="498"/>
                  </a:lnTo>
                  <a:lnTo>
                    <a:pt x="702" y="504"/>
                  </a:lnTo>
                  <a:lnTo>
                    <a:pt x="690" y="516"/>
                  </a:lnTo>
                  <a:lnTo>
                    <a:pt x="678" y="522"/>
                  </a:lnTo>
                  <a:lnTo>
                    <a:pt x="654" y="528"/>
                  </a:lnTo>
                  <a:lnTo>
                    <a:pt x="660" y="546"/>
                  </a:lnTo>
                  <a:lnTo>
                    <a:pt x="672" y="546"/>
                  </a:lnTo>
                  <a:lnTo>
                    <a:pt x="678" y="540"/>
                  </a:lnTo>
                  <a:lnTo>
                    <a:pt x="714" y="540"/>
                  </a:lnTo>
                  <a:lnTo>
                    <a:pt x="798" y="540"/>
                  </a:lnTo>
                  <a:lnTo>
                    <a:pt x="804" y="540"/>
                  </a:lnTo>
                  <a:lnTo>
                    <a:pt x="816" y="528"/>
                  </a:lnTo>
                  <a:lnTo>
                    <a:pt x="822" y="522"/>
                  </a:lnTo>
                  <a:lnTo>
                    <a:pt x="834" y="516"/>
                  </a:lnTo>
                  <a:lnTo>
                    <a:pt x="846" y="516"/>
                  </a:lnTo>
                  <a:lnTo>
                    <a:pt x="852" y="510"/>
                  </a:lnTo>
                  <a:lnTo>
                    <a:pt x="858" y="510"/>
                  </a:lnTo>
                  <a:lnTo>
                    <a:pt x="882" y="516"/>
                  </a:lnTo>
                  <a:lnTo>
                    <a:pt x="888" y="516"/>
                  </a:lnTo>
                  <a:lnTo>
                    <a:pt x="888" y="510"/>
                  </a:lnTo>
                  <a:lnTo>
                    <a:pt x="894" y="510"/>
                  </a:lnTo>
                  <a:lnTo>
                    <a:pt x="906" y="504"/>
                  </a:lnTo>
                  <a:lnTo>
                    <a:pt x="918" y="498"/>
                  </a:lnTo>
                  <a:lnTo>
                    <a:pt x="930" y="492"/>
                  </a:lnTo>
                  <a:lnTo>
                    <a:pt x="936" y="492"/>
                  </a:lnTo>
                  <a:lnTo>
                    <a:pt x="948" y="492"/>
                  </a:lnTo>
                  <a:lnTo>
                    <a:pt x="954" y="528"/>
                  </a:lnTo>
                  <a:lnTo>
                    <a:pt x="954" y="564"/>
                  </a:lnTo>
                  <a:lnTo>
                    <a:pt x="972" y="564"/>
                  </a:lnTo>
                  <a:lnTo>
                    <a:pt x="978" y="558"/>
                  </a:lnTo>
                  <a:lnTo>
                    <a:pt x="990" y="552"/>
                  </a:lnTo>
                  <a:lnTo>
                    <a:pt x="1002" y="540"/>
                  </a:lnTo>
                  <a:lnTo>
                    <a:pt x="1026" y="534"/>
                  </a:lnTo>
                  <a:lnTo>
                    <a:pt x="1032" y="540"/>
                  </a:lnTo>
                  <a:lnTo>
                    <a:pt x="1044" y="546"/>
                  </a:lnTo>
                  <a:lnTo>
                    <a:pt x="1062" y="552"/>
                  </a:lnTo>
                  <a:lnTo>
                    <a:pt x="1068" y="552"/>
                  </a:lnTo>
                  <a:lnTo>
                    <a:pt x="1068" y="570"/>
                  </a:lnTo>
                  <a:lnTo>
                    <a:pt x="1068" y="576"/>
                  </a:lnTo>
                  <a:lnTo>
                    <a:pt x="1068" y="582"/>
                  </a:lnTo>
                  <a:lnTo>
                    <a:pt x="1068" y="588"/>
                  </a:lnTo>
                  <a:lnTo>
                    <a:pt x="1068" y="594"/>
                  </a:lnTo>
                  <a:lnTo>
                    <a:pt x="1080" y="600"/>
                  </a:lnTo>
                  <a:lnTo>
                    <a:pt x="1086" y="606"/>
                  </a:lnTo>
                  <a:lnTo>
                    <a:pt x="1092" y="594"/>
                  </a:lnTo>
                  <a:lnTo>
                    <a:pt x="1104" y="588"/>
                  </a:lnTo>
                  <a:lnTo>
                    <a:pt x="1116" y="588"/>
                  </a:lnTo>
                  <a:lnTo>
                    <a:pt x="1122" y="588"/>
                  </a:lnTo>
                  <a:lnTo>
                    <a:pt x="1122" y="594"/>
                  </a:lnTo>
                  <a:lnTo>
                    <a:pt x="1128" y="594"/>
                  </a:lnTo>
                  <a:lnTo>
                    <a:pt x="1134" y="594"/>
                  </a:lnTo>
                  <a:lnTo>
                    <a:pt x="1140" y="594"/>
                  </a:lnTo>
                  <a:lnTo>
                    <a:pt x="1146" y="588"/>
                  </a:lnTo>
                  <a:lnTo>
                    <a:pt x="1158" y="582"/>
                  </a:lnTo>
                  <a:lnTo>
                    <a:pt x="1164" y="576"/>
                  </a:lnTo>
                  <a:lnTo>
                    <a:pt x="1176" y="576"/>
                  </a:lnTo>
                  <a:lnTo>
                    <a:pt x="1194" y="576"/>
                  </a:lnTo>
                  <a:lnTo>
                    <a:pt x="1218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24" y="594"/>
                  </a:lnTo>
                  <a:lnTo>
                    <a:pt x="1212" y="600"/>
                  </a:lnTo>
                  <a:lnTo>
                    <a:pt x="1206" y="606"/>
                  </a:lnTo>
                  <a:lnTo>
                    <a:pt x="1200" y="606"/>
                  </a:lnTo>
                  <a:lnTo>
                    <a:pt x="1200" y="612"/>
                  </a:lnTo>
                  <a:lnTo>
                    <a:pt x="1194" y="612"/>
                  </a:lnTo>
                  <a:lnTo>
                    <a:pt x="1194" y="618"/>
                  </a:lnTo>
                  <a:lnTo>
                    <a:pt x="1194" y="624"/>
                  </a:lnTo>
                  <a:lnTo>
                    <a:pt x="1194" y="630"/>
                  </a:lnTo>
                  <a:lnTo>
                    <a:pt x="1194" y="648"/>
                  </a:lnTo>
                  <a:lnTo>
                    <a:pt x="1194" y="660"/>
                  </a:lnTo>
                  <a:lnTo>
                    <a:pt x="1194" y="666"/>
                  </a:lnTo>
                  <a:lnTo>
                    <a:pt x="1194" y="672"/>
                  </a:lnTo>
                  <a:lnTo>
                    <a:pt x="1194" y="678"/>
                  </a:lnTo>
                  <a:lnTo>
                    <a:pt x="1188" y="684"/>
                  </a:lnTo>
                  <a:lnTo>
                    <a:pt x="1188" y="690"/>
                  </a:lnTo>
                  <a:lnTo>
                    <a:pt x="1188" y="696"/>
                  </a:lnTo>
                  <a:lnTo>
                    <a:pt x="1188" y="702"/>
                  </a:lnTo>
                  <a:lnTo>
                    <a:pt x="1188" y="708"/>
                  </a:lnTo>
                  <a:lnTo>
                    <a:pt x="1188" y="714"/>
                  </a:lnTo>
                  <a:lnTo>
                    <a:pt x="1182" y="720"/>
                  </a:lnTo>
                  <a:lnTo>
                    <a:pt x="1170" y="720"/>
                  </a:lnTo>
                  <a:lnTo>
                    <a:pt x="1158" y="726"/>
                  </a:lnTo>
                  <a:lnTo>
                    <a:pt x="1152" y="726"/>
                  </a:lnTo>
                  <a:lnTo>
                    <a:pt x="1152" y="732"/>
                  </a:lnTo>
                  <a:lnTo>
                    <a:pt x="1146" y="738"/>
                  </a:lnTo>
                  <a:lnTo>
                    <a:pt x="1140" y="738"/>
                  </a:lnTo>
                  <a:lnTo>
                    <a:pt x="1140" y="744"/>
                  </a:lnTo>
                  <a:lnTo>
                    <a:pt x="1134" y="744"/>
                  </a:lnTo>
                  <a:lnTo>
                    <a:pt x="1128" y="744"/>
                  </a:lnTo>
                  <a:lnTo>
                    <a:pt x="1122" y="750"/>
                  </a:lnTo>
                  <a:lnTo>
                    <a:pt x="1128" y="750"/>
                  </a:lnTo>
                  <a:lnTo>
                    <a:pt x="1122" y="756"/>
                  </a:lnTo>
                  <a:lnTo>
                    <a:pt x="1116" y="756"/>
                  </a:lnTo>
                  <a:lnTo>
                    <a:pt x="1110" y="762"/>
                  </a:lnTo>
                  <a:lnTo>
                    <a:pt x="1104" y="762"/>
                  </a:lnTo>
                  <a:lnTo>
                    <a:pt x="1104" y="768"/>
                  </a:lnTo>
                  <a:lnTo>
                    <a:pt x="1098" y="768"/>
                  </a:lnTo>
                  <a:lnTo>
                    <a:pt x="1098" y="774"/>
                  </a:lnTo>
                  <a:lnTo>
                    <a:pt x="1092" y="774"/>
                  </a:lnTo>
                  <a:lnTo>
                    <a:pt x="1092" y="780"/>
                  </a:lnTo>
                  <a:lnTo>
                    <a:pt x="1086" y="780"/>
                  </a:lnTo>
                  <a:lnTo>
                    <a:pt x="1086" y="786"/>
                  </a:lnTo>
                  <a:lnTo>
                    <a:pt x="1080" y="786"/>
                  </a:lnTo>
                  <a:lnTo>
                    <a:pt x="1080" y="792"/>
                  </a:lnTo>
                  <a:lnTo>
                    <a:pt x="1080" y="798"/>
                  </a:lnTo>
                  <a:lnTo>
                    <a:pt x="1080" y="804"/>
                  </a:lnTo>
                  <a:lnTo>
                    <a:pt x="1086" y="810"/>
                  </a:lnTo>
                  <a:lnTo>
                    <a:pt x="1080" y="816"/>
                  </a:lnTo>
                  <a:lnTo>
                    <a:pt x="1080" y="822"/>
                  </a:lnTo>
                  <a:lnTo>
                    <a:pt x="1074" y="822"/>
                  </a:lnTo>
                  <a:lnTo>
                    <a:pt x="1068" y="828"/>
                  </a:lnTo>
                  <a:lnTo>
                    <a:pt x="1074" y="828"/>
                  </a:lnTo>
                  <a:lnTo>
                    <a:pt x="1074" y="834"/>
                  </a:lnTo>
                  <a:lnTo>
                    <a:pt x="1080" y="846"/>
                  </a:lnTo>
                  <a:lnTo>
                    <a:pt x="1086" y="846"/>
                  </a:lnTo>
                  <a:lnTo>
                    <a:pt x="1092" y="852"/>
                  </a:lnTo>
                  <a:lnTo>
                    <a:pt x="1092" y="858"/>
                  </a:lnTo>
                  <a:lnTo>
                    <a:pt x="1098" y="858"/>
                  </a:lnTo>
                  <a:lnTo>
                    <a:pt x="1110" y="864"/>
                  </a:lnTo>
                  <a:lnTo>
                    <a:pt x="1116" y="864"/>
                  </a:lnTo>
                  <a:lnTo>
                    <a:pt x="1122" y="864"/>
                  </a:lnTo>
                  <a:lnTo>
                    <a:pt x="1128" y="864"/>
                  </a:lnTo>
                  <a:lnTo>
                    <a:pt x="1134" y="876"/>
                  </a:lnTo>
                  <a:lnTo>
                    <a:pt x="1140" y="882"/>
                  </a:lnTo>
                  <a:lnTo>
                    <a:pt x="1140" y="888"/>
                  </a:lnTo>
                  <a:lnTo>
                    <a:pt x="1152" y="918"/>
                  </a:lnTo>
                  <a:lnTo>
                    <a:pt x="1158" y="894"/>
                  </a:lnTo>
                  <a:lnTo>
                    <a:pt x="1164" y="888"/>
                  </a:lnTo>
                  <a:lnTo>
                    <a:pt x="1164" y="882"/>
                  </a:lnTo>
                  <a:lnTo>
                    <a:pt x="1176" y="864"/>
                  </a:lnTo>
                  <a:lnTo>
                    <a:pt x="1182" y="858"/>
                  </a:lnTo>
                  <a:lnTo>
                    <a:pt x="1188" y="846"/>
                  </a:lnTo>
                  <a:lnTo>
                    <a:pt x="1200" y="840"/>
                  </a:lnTo>
                  <a:lnTo>
                    <a:pt x="1212" y="840"/>
                  </a:lnTo>
                  <a:lnTo>
                    <a:pt x="1218" y="846"/>
                  </a:lnTo>
                  <a:lnTo>
                    <a:pt x="1224" y="858"/>
                  </a:lnTo>
                  <a:lnTo>
                    <a:pt x="1224" y="864"/>
                  </a:lnTo>
                  <a:lnTo>
                    <a:pt x="1224" y="876"/>
                  </a:lnTo>
                  <a:lnTo>
                    <a:pt x="1212" y="912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00" y="930"/>
                  </a:lnTo>
                  <a:lnTo>
                    <a:pt x="1200" y="942"/>
                  </a:lnTo>
                  <a:lnTo>
                    <a:pt x="1194" y="948"/>
                  </a:lnTo>
                  <a:lnTo>
                    <a:pt x="1194" y="960"/>
                  </a:lnTo>
                  <a:lnTo>
                    <a:pt x="1194" y="966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70" y="984"/>
                  </a:lnTo>
                  <a:lnTo>
                    <a:pt x="1164" y="984"/>
                  </a:lnTo>
                  <a:lnTo>
                    <a:pt x="1158" y="984"/>
                  </a:lnTo>
                  <a:lnTo>
                    <a:pt x="1146" y="984"/>
                  </a:lnTo>
                  <a:lnTo>
                    <a:pt x="1140" y="990"/>
                  </a:lnTo>
                  <a:lnTo>
                    <a:pt x="1140" y="996"/>
                  </a:lnTo>
                  <a:lnTo>
                    <a:pt x="1152" y="996"/>
                  </a:lnTo>
                  <a:lnTo>
                    <a:pt x="1176" y="1002"/>
                  </a:lnTo>
                  <a:lnTo>
                    <a:pt x="1194" y="1008"/>
                  </a:lnTo>
                  <a:lnTo>
                    <a:pt x="1206" y="1008"/>
                  </a:lnTo>
                  <a:lnTo>
                    <a:pt x="1218" y="1014"/>
                  </a:lnTo>
                  <a:lnTo>
                    <a:pt x="1212" y="1038"/>
                  </a:lnTo>
                  <a:lnTo>
                    <a:pt x="1212" y="1044"/>
                  </a:lnTo>
                  <a:lnTo>
                    <a:pt x="1206" y="1044"/>
                  </a:lnTo>
                  <a:lnTo>
                    <a:pt x="1206" y="1050"/>
                  </a:lnTo>
                  <a:lnTo>
                    <a:pt x="1194" y="1050"/>
                  </a:lnTo>
                  <a:lnTo>
                    <a:pt x="1188" y="1044"/>
                  </a:lnTo>
                  <a:lnTo>
                    <a:pt x="1158" y="1020"/>
                  </a:lnTo>
                  <a:lnTo>
                    <a:pt x="1152" y="1020"/>
                  </a:lnTo>
                  <a:lnTo>
                    <a:pt x="1140" y="1020"/>
                  </a:lnTo>
                  <a:lnTo>
                    <a:pt x="1134" y="1020"/>
                  </a:lnTo>
                  <a:lnTo>
                    <a:pt x="1134" y="1026"/>
                  </a:lnTo>
                  <a:lnTo>
                    <a:pt x="1134" y="1032"/>
                  </a:lnTo>
                  <a:lnTo>
                    <a:pt x="1128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2" name="Freeform 27">
              <a:extLst>
                <a:ext uri="{FF2B5EF4-FFF2-40B4-BE49-F238E27FC236}">
                  <a16:creationId xmlns:a16="http://schemas.microsoft.com/office/drawing/2014/main" id="{CE95C9DF-B651-4085-946F-65424BC51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2063" y="3421400"/>
              <a:ext cx="342138" cy="377969"/>
            </a:xfrm>
            <a:custGeom>
              <a:avLst/>
              <a:gdLst>
                <a:gd name="T0" fmla="*/ 43 w 642"/>
                <a:gd name="T1" fmla="*/ 41 h 708"/>
                <a:gd name="T2" fmla="*/ 39 w 642"/>
                <a:gd name="T3" fmla="*/ 41 h 708"/>
                <a:gd name="T4" fmla="*/ 38 w 642"/>
                <a:gd name="T5" fmla="*/ 47 h 708"/>
                <a:gd name="T6" fmla="*/ 38 w 642"/>
                <a:gd name="T7" fmla="*/ 49 h 708"/>
                <a:gd name="T8" fmla="*/ 38 w 642"/>
                <a:gd name="T9" fmla="*/ 50 h 708"/>
                <a:gd name="T10" fmla="*/ 36 w 642"/>
                <a:gd name="T11" fmla="*/ 52 h 708"/>
                <a:gd name="T12" fmla="*/ 35 w 642"/>
                <a:gd name="T13" fmla="*/ 53 h 708"/>
                <a:gd name="T14" fmla="*/ 33 w 642"/>
                <a:gd name="T15" fmla="*/ 55 h 708"/>
                <a:gd name="T16" fmla="*/ 32 w 642"/>
                <a:gd name="T17" fmla="*/ 56 h 708"/>
                <a:gd name="T18" fmla="*/ 31 w 642"/>
                <a:gd name="T19" fmla="*/ 59 h 708"/>
                <a:gd name="T20" fmla="*/ 26 w 642"/>
                <a:gd name="T21" fmla="*/ 59 h 708"/>
                <a:gd name="T22" fmla="*/ 23 w 642"/>
                <a:gd name="T23" fmla="*/ 61 h 708"/>
                <a:gd name="T24" fmla="*/ 20 w 642"/>
                <a:gd name="T25" fmla="*/ 61 h 708"/>
                <a:gd name="T26" fmla="*/ 17 w 642"/>
                <a:gd name="T27" fmla="*/ 59 h 708"/>
                <a:gd name="T28" fmla="*/ 15 w 642"/>
                <a:gd name="T29" fmla="*/ 56 h 708"/>
                <a:gd name="T30" fmla="*/ 9 w 642"/>
                <a:gd name="T31" fmla="*/ 58 h 708"/>
                <a:gd name="T32" fmla="*/ 6 w 642"/>
                <a:gd name="T33" fmla="*/ 52 h 708"/>
                <a:gd name="T34" fmla="*/ 2 w 642"/>
                <a:gd name="T35" fmla="*/ 53 h 708"/>
                <a:gd name="T36" fmla="*/ 1 w 642"/>
                <a:gd name="T37" fmla="*/ 51 h 708"/>
                <a:gd name="T38" fmla="*/ 4 w 642"/>
                <a:gd name="T39" fmla="*/ 47 h 708"/>
                <a:gd name="T40" fmla="*/ 5 w 642"/>
                <a:gd name="T41" fmla="*/ 41 h 708"/>
                <a:gd name="T42" fmla="*/ 5 w 642"/>
                <a:gd name="T43" fmla="*/ 38 h 708"/>
                <a:gd name="T44" fmla="*/ 5 w 642"/>
                <a:gd name="T45" fmla="*/ 35 h 708"/>
                <a:gd name="T46" fmla="*/ 6 w 642"/>
                <a:gd name="T47" fmla="*/ 33 h 708"/>
                <a:gd name="T48" fmla="*/ 5 w 642"/>
                <a:gd name="T49" fmla="*/ 29 h 708"/>
                <a:gd name="T50" fmla="*/ 4 w 642"/>
                <a:gd name="T51" fmla="*/ 28 h 708"/>
                <a:gd name="T52" fmla="*/ 1 w 642"/>
                <a:gd name="T53" fmla="*/ 26 h 708"/>
                <a:gd name="T54" fmla="*/ 1 w 642"/>
                <a:gd name="T55" fmla="*/ 24 h 708"/>
                <a:gd name="T56" fmla="*/ 1 w 642"/>
                <a:gd name="T57" fmla="*/ 20 h 708"/>
                <a:gd name="T58" fmla="*/ 1 w 642"/>
                <a:gd name="T59" fmla="*/ 16 h 708"/>
                <a:gd name="T60" fmla="*/ 2 w 642"/>
                <a:gd name="T61" fmla="*/ 14 h 708"/>
                <a:gd name="T62" fmla="*/ 8 w 642"/>
                <a:gd name="T63" fmla="*/ 14 h 708"/>
                <a:gd name="T64" fmla="*/ 9 w 642"/>
                <a:gd name="T65" fmla="*/ 10 h 708"/>
                <a:gd name="T66" fmla="*/ 15 w 642"/>
                <a:gd name="T67" fmla="*/ 9 h 708"/>
                <a:gd name="T68" fmla="*/ 18 w 642"/>
                <a:gd name="T69" fmla="*/ 14 h 708"/>
                <a:gd name="T70" fmla="*/ 20 w 642"/>
                <a:gd name="T71" fmla="*/ 12 h 708"/>
                <a:gd name="T72" fmla="*/ 20 w 642"/>
                <a:gd name="T73" fmla="*/ 11 h 708"/>
                <a:gd name="T74" fmla="*/ 21 w 642"/>
                <a:gd name="T75" fmla="*/ 9 h 708"/>
                <a:gd name="T76" fmla="*/ 24 w 642"/>
                <a:gd name="T77" fmla="*/ 9 h 708"/>
                <a:gd name="T78" fmla="*/ 27 w 642"/>
                <a:gd name="T79" fmla="*/ 8 h 708"/>
                <a:gd name="T80" fmla="*/ 33 w 642"/>
                <a:gd name="T81" fmla="*/ 2 h 708"/>
                <a:gd name="T82" fmla="*/ 42 w 642"/>
                <a:gd name="T83" fmla="*/ 2 h 708"/>
                <a:gd name="T84" fmla="*/ 49 w 642"/>
                <a:gd name="T85" fmla="*/ 1 h 708"/>
                <a:gd name="T86" fmla="*/ 53 w 642"/>
                <a:gd name="T87" fmla="*/ 4 h 708"/>
                <a:gd name="T88" fmla="*/ 55 w 642"/>
                <a:gd name="T89" fmla="*/ 4 h 708"/>
                <a:gd name="T90" fmla="*/ 55 w 642"/>
                <a:gd name="T91" fmla="*/ 7 h 708"/>
                <a:gd name="T92" fmla="*/ 52 w 642"/>
                <a:gd name="T93" fmla="*/ 9 h 708"/>
                <a:gd name="T94" fmla="*/ 49 w 642"/>
                <a:gd name="T95" fmla="*/ 12 h 708"/>
                <a:gd name="T96" fmla="*/ 47 w 642"/>
                <a:gd name="T97" fmla="*/ 14 h 708"/>
                <a:gd name="T98" fmla="*/ 47 w 642"/>
                <a:gd name="T99" fmla="*/ 17 h 708"/>
                <a:gd name="T100" fmla="*/ 45 w 642"/>
                <a:gd name="T101" fmla="*/ 26 h 708"/>
                <a:gd name="T102" fmla="*/ 50 w 642"/>
                <a:gd name="T103" fmla="*/ 37 h 70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42"/>
                <a:gd name="T157" fmla="*/ 0 h 708"/>
                <a:gd name="T158" fmla="*/ 642 w 642"/>
                <a:gd name="T159" fmla="*/ 708 h 70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42" h="708">
                  <a:moveTo>
                    <a:pt x="576" y="468"/>
                  </a:moveTo>
                  <a:lnTo>
                    <a:pt x="564" y="468"/>
                  </a:lnTo>
                  <a:lnTo>
                    <a:pt x="516" y="468"/>
                  </a:lnTo>
                  <a:lnTo>
                    <a:pt x="498" y="474"/>
                  </a:lnTo>
                  <a:lnTo>
                    <a:pt x="492" y="468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68" y="474"/>
                  </a:lnTo>
                  <a:lnTo>
                    <a:pt x="456" y="468"/>
                  </a:lnTo>
                  <a:lnTo>
                    <a:pt x="444" y="474"/>
                  </a:lnTo>
                  <a:lnTo>
                    <a:pt x="438" y="492"/>
                  </a:lnTo>
                  <a:lnTo>
                    <a:pt x="438" y="504"/>
                  </a:lnTo>
                  <a:lnTo>
                    <a:pt x="432" y="516"/>
                  </a:lnTo>
                  <a:lnTo>
                    <a:pt x="432" y="528"/>
                  </a:lnTo>
                  <a:lnTo>
                    <a:pt x="432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52"/>
                  </a:lnTo>
                  <a:lnTo>
                    <a:pt x="432" y="558"/>
                  </a:lnTo>
                  <a:lnTo>
                    <a:pt x="438" y="564"/>
                  </a:lnTo>
                  <a:lnTo>
                    <a:pt x="444" y="564"/>
                  </a:lnTo>
                  <a:lnTo>
                    <a:pt x="438" y="564"/>
                  </a:lnTo>
                  <a:lnTo>
                    <a:pt x="438" y="570"/>
                  </a:lnTo>
                  <a:lnTo>
                    <a:pt x="432" y="570"/>
                  </a:lnTo>
                  <a:lnTo>
                    <a:pt x="432" y="576"/>
                  </a:lnTo>
                  <a:lnTo>
                    <a:pt x="426" y="588"/>
                  </a:lnTo>
                  <a:lnTo>
                    <a:pt x="420" y="594"/>
                  </a:lnTo>
                  <a:lnTo>
                    <a:pt x="420" y="600"/>
                  </a:lnTo>
                  <a:lnTo>
                    <a:pt x="414" y="600"/>
                  </a:lnTo>
                  <a:lnTo>
                    <a:pt x="414" y="606"/>
                  </a:lnTo>
                  <a:lnTo>
                    <a:pt x="408" y="606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396" y="612"/>
                  </a:lnTo>
                  <a:lnTo>
                    <a:pt x="390" y="612"/>
                  </a:lnTo>
                  <a:lnTo>
                    <a:pt x="390" y="618"/>
                  </a:lnTo>
                  <a:lnTo>
                    <a:pt x="384" y="618"/>
                  </a:lnTo>
                  <a:lnTo>
                    <a:pt x="378" y="618"/>
                  </a:lnTo>
                  <a:lnTo>
                    <a:pt x="378" y="624"/>
                  </a:lnTo>
                  <a:lnTo>
                    <a:pt x="384" y="630"/>
                  </a:lnTo>
                  <a:lnTo>
                    <a:pt x="384" y="636"/>
                  </a:lnTo>
                  <a:lnTo>
                    <a:pt x="378" y="630"/>
                  </a:lnTo>
                  <a:lnTo>
                    <a:pt x="372" y="636"/>
                  </a:lnTo>
                  <a:lnTo>
                    <a:pt x="372" y="642"/>
                  </a:lnTo>
                  <a:lnTo>
                    <a:pt x="366" y="642"/>
                  </a:lnTo>
                  <a:lnTo>
                    <a:pt x="360" y="654"/>
                  </a:lnTo>
                  <a:lnTo>
                    <a:pt x="354" y="666"/>
                  </a:lnTo>
                  <a:lnTo>
                    <a:pt x="354" y="672"/>
                  </a:lnTo>
                  <a:lnTo>
                    <a:pt x="354" y="678"/>
                  </a:lnTo>
                  <a:lnTo>
                    <a:pt x="354" y="684"/>
                  </a:lnTo>
                  <a:lnTo>
                    <a:pt x="348" y="678"/>
                  </a:lnTo>
                  <a:lnTo>
                    <a:pt x="324" y="678"/>
                  </a:lnTo>
                  <a:lnTo>
                    <a:pt x="306" y="678"/>
                  </a:lnTo>
                  <a:lnTo>
                    <a:pt x="294" y="678"/>
                  </a:lnTo>
                  <a:lnTo>
                    <a:pt x="288" y="684"/>
                  </a:lnTo>
                  <a:lnTo>
                    <a:pt x="276" y="690"/>
                  </a:lnTo>
                  <a:lnTo>
                    <a:pt x="270" y="696"/>
                  </a:lnTo>
                  <a:lnTo>
                    <a:pt x="264" y="696"/>
                  </a:lnTo>
                  <a:lnTo>
                    <a:pt x="258" y="696"/>
                  </a:lnTo>
                  <a:lnTo>
                    <a:pt x="252" y="696"/>
                  </a:lnTo>
                  <a:lnTo>
                    <a:pt x="252" y="690"/>
                  </a:lnTo>
                  <a:lnTo>
                    <a:pt x="246" y="690"/>
                  </a:lnTo>
                  <a:lnTo>
                    <a:pt x="234" y="690"/>
                  </a:lnTo>
                  <a:lnTo>
                    <a:pt x="222" y="696"/>
                  </a:lnTo>
                  <a:lnTo>
                    <a:pt x="216" y="708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8" y="690"/>
                  </a:lnTo>
                  <a:lnTo>
                    <a:pt x="198" y="684"/>
                  </a:lnTo>
                  <a:lnTo>
                    <a:pt x="198" y="678"/>
                  </a:lnTo>
                  <a:lnTo>
                    <a:pt x="198" y="672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74" y="648"/>
                  </a:lnTo>
                  <a:lnTo>
                    <a:pt x="162" y="642"/>
                  </a:lnTo>
                  <a:lnTo>
                    <a:pt x="156" y="636"/>
                  </a:lnTo>
                  <a:lnTo>
                    <a:pt x="132" y="642"/>
                  </a:lnTo>
                  <a:lnTo>
                    <a:pt x="120" y="654"/>
                  </a:lnTo>
                  <a:lnTo>
                    <a:pt x="108" y="660"/>
                  </a:lnTo>
                  <a:lnTo>
                    <a:pt x="102" y="666"/>
                  </a:lnTo>
                  <a:lnTo>
                    <a:pt x="84" y="666"/>
                  </a:lnTo>
                  <a:lnTo>
                    <a:pt x="84" y="630"/>
                  </a:lnTo>
                  <a:lnTo>
                    <a:pt x="78" y="594"/>
                  </a:lnTo>
                  <a:lnTo>
                    <a:pt x="66" y="594"/>
                  </a:lnTo>
                  <a:lnTo>
                    <a:pt x="60" y="594"/>
                  </a:lnTo>
                  <a:lnTo>
                    <a:pt x="48" y="600"/>
                  </a:lnTo>
                  <a:lnTo>
                    <a:pt x="36" y="606"/>
                  </a:lnTo>
                  <a:lnTo>
                    <a:pt x="24" y="612"/>
                  </a:lnTo>
                  <a:lnTo>
                    <a:pt x="18" y="612"/>
                  </a:lnTo>
                  <a:lnTo>
                    <a:pt x="12" y="606"/>
                  </a:lnTo>
                  <a:lnTo>
                    <a:pt x="12" y="600"/>
                  </a:lnTo>
                  <a:lnTo>
                    <a:pt x="12" y="594"/>
                  </a:lnTo>
                  <a:lnTo>
                    <a:pt x="12" y="588"/>
                  </a:lnTo>
                  <a:lnTo>
                    <a:pt x="12" y="582"/>
                  </a:lnTo>
                  <a:lnTo>
                    <a:pt x="12" y="576"/>
                  </a:lnTo>
                  <a:lnTo>
                    <a:pt x="18" y="552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42" y="534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48" y="492"/>
                  </a:lnTo>
                  <a:lnTo>
                    <a:pt x="48" y="480"/>
                  </a:lnTo>
                  <a:lnTo>
                    <a:pt x="54" y="468"/>
                  </a:lnTo>
                  <a:lnTo>
                    <a:pt x="48" y="456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66" y="390"/>
                  </a:lnTo>
                  <a:lnTo>
                    <a:pt x="72" y="384"/>
                  </a:lnTo>
                  <a:lnTo>
                    <a:pt x="72" y="378"/>
                  </a:lnTo>
                  <a:lnTo>
                    <a:pt x="66" y="378"/>
                  </a:lnTo>
                  <a:lnTo>
                    <a:pt x="66" y="366"/>
                  </a:lnTo>
                  <a:lnTo>
                    <a:pt x="60" y="360"/>
                  </a:lnTo>
                  <a:lnTo>
                    <a:pt x="66" y="354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48" y="312"/>
                  </a:lnTo>
                  <a:lnTo>
                    <a:pt x="30" y="312"/>
                  </a:lnTo>
                  <a:lnTo>
                    <a:pt x="24" y="306"/>
                  </a:lnTo>
                  <a:lnTo>
                    <a:pt x="18" y="306"/>
                  </a:lnTo>
                  <a:lnTo>
                    <a:pt x="12" y="294"/>
                  </a:lnTo>
                  <a:lnTo>
                    <a:pt x="12" y="282"/>
                  </a:lnTo>
                  <a:lnTo>
                    <a:pt x="6" y="276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12" y="270"/>
                  </a:lnTo>
                  <a:lnTo>
                    <a:pt x="12" y="246"/>
                  </a:lnTo>
                  <a:lnTo>
                    <a:pt x="12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8" y="174"/>
                  </a:lnTo>
                  <a:lnTo>
                    <a:pt x="12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48" y="162"/>
                  </a:lnTo>
                  <a:lnTo>
                    <a:pt x="72" y="162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84" y="132"/>
                  </a:lnTo>
                  <a:lnTo>
                    <a:pt x="90" y="120"/>
                  </a:lnTo>
                  <a:lnTo>
                    <a:pt x="108" y="114"/>
                  </a:lnTo>
                  <a:lnTo>
                    <a:pt x="114" y="102"/>
                  </a:lnTo>
                  <a:lnTo>
                    <a:pt x="120" y="90"/>
                  </a:lnTo>
                  <a:lnTo>
                    <a:pt x="138" y="90"/>
                  </a:lnTo>
                  <a:lnTo>
                    <a:pt x="138" y="102"/>
                  </a:lnTo>
                  <a:lnTo>
                    <a:pt x="168" y="108"/>
                  </a:lnTo>
                  <a:lnTo>
                    <a:pt x="168" y="114"/>
                  </a:lnTo>
                  <a:lnTo>
                    <a:pt x="174" y="126"/>
                  </a:lnTo>
                  <a:lnTo>
                    <a:pt x="186" y="150"/>
                  </a:lnTo>
                  <a:lnTo>
                    <a:pt x="186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34" y="144"/>
                  </a:lnTo>
                  <a:lnTo>
                    <a:pt x="240" y="138"/>
                  </a:lnTo>
                  <a:lnTo>
                    <a:pt x="240" y="126"/>
                  </a:lnTo>
                  <a:lnTo>
                    <a:pt x="234" y="126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34" y="102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82" y="102"/>
                  </a:lnTo>
                  <a:lnTo>
                    <a:pt x="288" y="102"/>
                  </a:lnTo>
                  <a:lnTo>
                    <a:pt x="294" y="102"/>
                  </a:lnTo>
                  <a:lnTo>
                    <a:pt x="300" y="96"/>
                  </a:lnTo>
                  <a:lnTo>
                    <a:pt x="306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84"/>
                  </a:lnTo>
                  <a:lnTo>
                    <a:pt x="324" y="18"/>
                  </a:lnTo>
                  <a:lnTo>
                    <a:pt x="360" y="18"/>
                  </a:lnTo>
                  <a:lnTo>
                    <a:pt x="378" y="18"/>
                  </a:lnTo>
                  <a:lnTo>
                    <a:pt x="378" y="30"/>
                  </a:lnTo>
                  <a:lnTo>
                    <a:pt x="390" y="30"/>
                  </a:lnTo>
                  <a:lnTo>
                    <a:pt x="432" y="30"/>
                  </a:lnTo>
                  <a:lnTo>
                    <a:pt x="456" y="24"/>
                  </a:lnTo>
                  <a:lnTo>
                    <a:pt x="480" y="24"/>
                  </a:lnTo>
                  <a:lnTo>
                    <a:pt x="498" y="30"/>
                  </a:lnTo>
                  <a:lnTo>
                    <a:pt x="522" y="18"/>
                  </a:lnTo>
                  <a:lnTo>
                    <a:pt x="528" y="0"/>
                  </a:lnTo>
                  <a:lnTo>
                    <a:pt x="558" y="6"/>
                  </a:lnTo>
                  <a:lnTo>
                    <a:pt x="558" y="12"/>
                  </a:lnTo>
                  <a:lnTo>
                    <a:pt x="570" y="18"/>
                  </a:lnTo>
                  <a:lnTo>
                    <a:pt x="576" y="24"/>
                  </a:lnTo>
                  <a:lnTo>
                    <a:pt x="588" y="36"/>
                  </a:lnTo>
                  <a:lnTo>
                    <a:pt x="594" y="48"/>
                  </a:lnTo>
                  <a:lnTo>
                    <a:pt x="606" y="48"/>
                  </a:lnTo>
                  <a:lnTo>
                    <a:pt x="606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42"/>
                  </a:lnTo>
                  <a:lnTo>
                    <a:pt x="636" y="42"/>
                  </a:lnTo>
                  <a:lnTo>
                    <a:pt x="636" y="48"/>
                  </a:lnTo>
                  <a:lnTo>
                    <a:pt x="642" y="54"/>
                  </a:lnTo>
                  <a:lnTo>
                    <a:pt x="636" y="60"/>
                  </a:lnTo>
                  <a:lnTo>
                    <a:pt x="636" y="66"/>
                  </a:lnTo>
                  <a:lnTo>
                    <a:pt x="636" y="78"/>
                  </a:lnTo>
                  <a:lnTo>
                    <a:pt x="624" y="84"/>
                  </a:lnTo>
                  <a:lnTo>
                    <a:pt x="618" y="90"/>
                  </a:lnTo>
                  <a:lnTo>
                    <a:pt x="612" y="90"/>
                  </a:lnTo>
                  <a:lnTo>
                    <a:pt x="600" y="102"/>
                  </a:lnTo>
                  <a:lnTo>
                    <a:pt x="594" y="108"/>
                  </a:lnTo>
                  <a:lnTo>
                    <a:pt x="582" y="114"/>
                  </a:lnTo>
                  <a:lnTo>
                    <a:pt x="570" y="132"/>
                  </a:lnTo>
                  <a:lnTo>
                    <a:pt x="564" y="132"/>
                  </a:lnTo>
                  <a:lnTo>
                    <a:pt x="564" y="138"/>
                  </a:lnTo>
                  <a:lnTo>
                    <a:pt x="558" y="144"/>
                  </a:lnTo>
                  <a:lnTo>
                    <a:pt x="558" y="150"/>
                  </a:lnTo>
                  <a:lnTo>
                    <a:pt x="552" y="150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0" y="162"/>
                  </a:lnTo>
                  <a:lnTo>
                    <a:pt x="534" y="168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6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28" y="234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16" y="294"/>
                  </a:lnTo>
                  <a:lnTo>
                    <a:pt x="516" y="312"/>
                  </a:lnTo>
                  <a:lnTo>
                    <a:pt x="528" y="318"/>
                  </a:lnTo>
                  <a:lnTo>
                    <a:pt x="540" y="360"/>
                  </a:lnTo>
                  <a:lnTo>
                    <a:pt x="558" y="408"/>
                  </a:lnTo>
                  <a:lnTo>
                    <a:pt x="570" y="426"/>
                  </a:lnTo>
                  <a:lnTo>
                    <a:pt x="576" y="432"/>
                  </a:lnTo>
                  <a:lnTo>
                    <a:pt x="576" y="438"/>
                  </a:lnTo>
                  <a:lnTo>
                    <a:pt x="576" y="444"/>
                  </a:lnTo>
                  <a:lnTo>
                    <a:pt x="576" y="46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3" name="Freeform 28">
              <a:extLst>
                <a:ext uri="{FF2B5EF4-FFF2-40B4-BE49-F238E27FC236}">
                  <a16:creationId xmlns:a16="http://schemas.microsoft.com/office/drawing/2014/main" id="{CF9B4F31-BF73-448E-83AA-188F6CF1BDC5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4879" y="3432583"/>
              <a:ext cx="324248" cy="270616"/>
            </a:xfrm>
            <a:custGeom>
              <a:avLst/>
              <a:gdLst>
                <a:gd name="T0" fmla="*/ 5 w 606"/>
                <a:gd name="T1" fmla="*/ 36 h 510"/>
                <a:gd name="T2" fmla="*/ 4 w 606"/>
                <a:gd name="T3" fmla="*/ 34 h 510"/>
                <a:gd name="T4" fmla="*/ 0 w 606"/>
                <a:gd name="T5" fmla="*/ 25 h 510"/>
                <a:gd name="T6" fmla="*/ 1 w 606"/>
                <a:gd name="T7" fmla="*/ 20 h 510"/>
                <a:gd name="T8" fmla="*/ 2 w 606"/>
                <a:gd name="T9" fmla="*/ 15 h 510"/>
                <a:gd name="T10" fmla="*/ 2 w 606"/>
                <a:gd name="T11" fmla="*/ 13 h 510"/>
                <a:gd name="T12" fmla="*/ 3 w 606"/>
                <a:gd name="T13" fmla="*/ 12 h 510"/>
                <a:gd name="T14" fmla="*/ 4 w 606"/>
                <a:gd name="T15" fmla="*/ 11 h 510"/>
                <a:gd name="T16" fmla="*/ 4 w 606"/>
                <a:gd name="T17" fmla="*/ 10 h 510"/>
                <a:gd name="T18" fmla="*/ 7 w 606"/>
                <a:gd name="T19" fmla="*/ 8 h 510"/>
                <a:gd name="T20" fmla="*/ 9 w 606"/>
                <a:gd name="T21" fmla="*/ 6 h 510"/>
                <a:gd name="T22" fmla="*/ 11 w 606"/>
                <a:gd name="T23" fmla="*/ 4 h 510"/>
                <a:gd name="T24" fmla="*/ 12 w 606"/>
                <a:gd name="T25" fmla="*/ 3 h 510"/>
                <a:gd name="T26" fmla="*/ 13 w 606"/>
                <a:gd name="T27" fmla="*/ 4 h 510"/>
                <a:gd name="T28" fmla="*/ 15 w 606"/>
                <a:gd name="T29" fmla="*/ 2 h 510"/>
                <a:gd name="T30" fmla="*/ 17 w 606"/>
                <a:gd name="T31" fmla="*/ 2 h 510"/>
                <a:gd name="T32" fmla="*/ 19 w 606"/>
                <a:gd name="T33" fmla="*/ 5 h 510"/>
                <a:gd name="T34" fmla="*/ 22 w 606"/>
                <a:gd name="T35" fmla="*/ 5 h 510"/>
                <a:gd name="T36" fmla="*/ 25 w 606"/>
                <a:gd name="T37" fmla="*/ 6 h 510"/>
                <a:gd name="T38" fmla="*/ 29 w 606"/>
                <a:gd name="T39" fmla="*/ 1 h 510"/>
                <a:gd name="T40" fmla="*/ 38 w 606"/>
                <a:gd name="T41" fmla="*/ 0 h 510"/>
                <a:gd name="T42" fmla="*/ 38 w 606"/>
                <a:gd name="T43" fmla="*/ 5 h 510"/>
                <a:gd name="T44" fmla="*/ 41 w 606"/>
                <a:gd name="T45" fmla="*/ 4 h 510"/>
                <a:gd name="T46" fmla="*/ 45 w 606"/>
                <a:gd name="T47" fmla="*/ 2 h 510"/>
                <a:gd name="T48" fmla="*/ 46 w 606"/>
                <a:gd name="T49" fmla="*/ 2 h 510"/>
                <a:gd name="T50" fmla="*/ 47 w 606"/>
                <a:gd name="T51" fmla="*/ 5 h 510"/>
                <a:gd name="T52" fmla="*/ 45 w 606"/>
                <a:gd name="T53" fmla="*/ 6 h 510"/>
                <a:gd name="T54" fmla="*/ 45 w 606"/>
                <a:gd name="T55" fmla="*/ 7 h 510"/>
                <a:gd name="T56" fmla="*/ 43 w 606"/>
                <a:gd name="T57" fmla="*/ 8 h 510"/>
                <a:gd name="T58" fmla="*/ 45 w 606"/>
                <a:gd name="T59" fmla="*/ 15 h 510"/>
                <a:gd name="T60" fmla="*/ 49 w 606"/>
                <a:gd name="T61" fmla="*/ 15 h 510"/>
                <a:gd name="T62" fmla="*/ 51 w 606"/>
                <a:gd name="T63" fmla="*/ 15 h 510"/>
                <a:gd name="T64" fmla="*/ 53 w 606"/>
                <a:gd name="T65" fmla="*/ 16 h 510"/>
                <a:gd name="T66" fmla="*/ 52 w 606"/>
                <a:gd name="T67" fmla="*/ 20 h 510"/>
                <a:gd name="T68" fmla="*/ 48 w 606"/>
                <a:gd name="T69" fmla="*/ 23 h 510"/>
                <a:gd name="T70" fmla="*/ 45 w 606"/>
                <a:gd name="T71" fmla="*/ 25 h 510"/>
                <a:gd name="T72" fmla="*/ 44 w 606"/>
                <a:gd name="T73" fmla="*/ 28 h 510"/>
                <a:gd name="T74" fmla="*/ 43 w 606"/>
                <a:gd name="T75" fmla="*/ 33 h 510"/>
                <a:gd name="T76" fmla="*/ 39 w 606"/>
                <a:gd name="T77" fmla="*/ 38 h 510"/>
                <a:gd name="T78" fmla="*/ 37 w 606"/>
                <a:gd name="T79" fmla="*/ 41 h 510"/>
                <a:gd name="T80" fmla="*/ 31 w 606"/>
                <a:gd name="T81" fmla="*/ 44 h 510"/>
                <a:gd name="T82" fmla="*/ 28 w 606"/>
                <a:gd name="T83" fmla="*/ 43 h 510"/>
                <a:gd name="T84" fmla="*/ 28 w 606"/>
                <a:gd name="T85" fmla="*/ 41 h 510"/>
                <a:gd name="T86" fmla="*/ 28 w 606"/>
                <a:gd name="T87" fmla="*/ 40 h 510"/>
                <a:gd name="T88" fmla="*/ 27 w 606"/>
                <a:gd name="T89" fmla="*/ 38 h 510"/>
                <a:gd name="T90" fmla="*/ 27 w 606"/>
                <a:gd name="T91" fmla="*/ 36 h 510"/>
                <a:gd name="T92" fmla="*/ 24 w 606"/>
                <a:gd name="T93" fmla="*/ 35 h 510"/>
                <a:gd name="T94" fmla="*/ 16 w 606"/>
                <a:gd name="T95" fmla="*/ 34 h 510"/>
                <a:gd name="T96" fmla="*/ 13 w 606"/>
                <a:gd name="T97" fmla="*/ 34 h 510"/>
                <a:gd name="T98" fmla="*/ 9 w 606"/>
                <a:gd name="T99" fmla="*/ 36 h 510"/>
                <a:gd name="T100" fmla="*/ 8 w 606"/>
                <a:gd name="T101" fmla="*/ 38 h 510"/>
                <a:gd name="T102" fmla="*/ 7 w 606"/>
                <a:gd name="T103" fmla="*/ 39 h 51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06"/>
                <a:gd name="T157" fmla="*/ 0 h 510"/>
                <a:gd name="T158" fmla="*/ 606 w 606"/>
                <a:gd name="T159" fmla="*/ 510 h 51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06" h="510">
                  <a:moveTo>
                    <a:pt x="60" y="450"/>
                  </a:move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42" y="390"/>
                  </a:lnTo>
                  <a:lnTo>
                    <a:pt x="24" y="342"/>
                  </a:lnTo>
                  <a:lnTo>
                    <a:pt x="12" y="300"/>
                  </a:lnTo>
                  <a:lnTo>
                    <a:pt x="0" y="294"/>
                  </a:lnTo>
                  <a:lnTo>
                    <a:pt x="0" y="276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24" y="192"/>
                  </a:lnTo>
                  <a:lnTo>
                    <a:pt x="24" y="180"/>
                  </a:lnTo>
                  <a:lnTo>
                    <a:pt x="24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6" y="96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108" y="66"/>
                  </a:lnTo>
                  <a:lnTo>
                    <a:pt x="120" y="60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36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62" y="36"/>
                  </a:lnTo>
                  <a:lnTo>
                    <a:pt x="162" y="30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0" y="54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46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76" y="66"/>
                  </a:lnTo>
                  <a:lnTo>
                    <a:pt x="312" y="66"/>
                  </a:lnTo>
                  <a:lnTo>
                    <a:pt x="318" y="60"/>
                  </a:lnTo>
                  <a:lnTo>
                    <a:pt x="330" y="12"/>
                  </a:lnTo>
                  <a:lnTo>
                    <a:pt x="414" y="6"/>
                  </a:lnTo>
                  <a:lnTo>
                    <a:pt x="420" y="0"/>
                  </a:lnTo>
                  <a:lnTo>
                    <a:pt x="426" y="6"/>
                  </a:lnTo>
                  <a:lnTo>
                    <a:pt x="426" y="12"/>
                  </a:lnTo>
                  <a:lnTo>
                    <a:pt x="426" y="54"/>
                  </a:lnTo>
                  <a:lnTo>
                    <a:pt x="432" y="54"/>
                  </a:lnTo>
                  <a:lnTo>
                    <a:pt x="444" y="54"/>
                  </a:lnTo>
                  <a:lnTo>
                    <a:pt x="450" y="42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86" y="24"/>
                  </a:lnTo>
                  <a:lnTo>
                    <a:pt x="504" y="18"/>
                  </a:lnTo>
                  <a:lnTo>
                    <a:pt x="510" y="12"/>
                  </a:lnTo>
                  <a:lnTo>
                    <a:pt x="516" y="18"/>
                  </a:lnTo>
                  <a:lnTo>
                    <a:pt x="522" y="24"/>
                  </a:lnTo>
                  <a:lnTo>
                    <a:pt x="510" y="30"/>
                  </a:lnTo>
                  <a:lnTo>
                    <a:pt x="516" y="48"/>
                  </a:lnTo>
                  <a:lnTo>
                    <a:pt x="528" y="54"/>
                  </a:lnTo>
                  <a:lnTo>
                    <a:pt x="522" y="60"/>
                  </a:lnTo>
                  <a:lnTo>
                    <a:pt x="516" y="66"/>
                  </a:lnTo>
                  <a:lnTo>
                    <a:pt x="516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0" y="84"/>
                  </a:lnTo>
                  <a:lnTo>
                    <a:pt x="510" y="90"/>
                  </a:lnTo>
                  <a:lnTo>
                    <a:pt x="504" y="90"/>
                  </a:lnTo>
                  <a:lnTo>
                    <a:pt x="486" y="90"/>
                  </a:lnTo>
                  <a:lnTo>
                    <a:pt x="492" y="138"/>
                  </a:lnTo>
                  <a:lnTo>
                    <a:pt x="498" y="168"/>
                  </a:lnTo>
                  <a:lnTo>
                    <a:pt x="516" y="168"/>
                  </a:lnTo>
                  <a:lnTo>
                    <a:pt x="528" y="174"/>
                  </a:lnTo>
                  <a:lnTo>
                    <a:pt x="534" y="168"/>
                  </a:lnTo>
                  <a:lnTo>
                    <a:pt x="558" y="174"/>
                  </a:lnTo>
                  <a:lnTo>
                    <a:pt x="564" y="168"/>
                  </a:lnTo>
                  <a:lnTo>
                    <a:pt x="570" y="168"/>
                  </a:lnTo>
                  <a:lnTo>
                    <a:pt x="576" y="174"/>
                  </a:lnTo>
                  <a:lnTo>
                    <a:pt x="588" y="168"/>
                  </a:lnTo>
                  <a:lnTo>
                    <a:pt x="594" y="168"/>
                  </a:lnTo>
                  <a:lnTo>
                    <a:pt x="594" y="186"/>
                  </a:lnTo>
                  <a:lnTo>
                    <a:pt x="606" y="198"/>
                  </a:lnTo>
                  <a:lnTo>
                    <a:pt x="600" y="210"/>
                  </a:lnTo>
                  <a:lnTo>
                    <a:pt x="588" y="234"/>
                  </a:lnTo>
                  <a:lnTo>
                    <a:pt x="564" y="246"/>
                  </a:lnTo>
                  <a:lnTo>
                    <a:pt x="546" y="258"/>
                  </a:lnTo>
                  <a:lnTo>
                    <a:pt x="540" y="270"/>
                  </a:lnTo>
                  <a:lnTo>
                    <a:pt x="534" y="294"/>
                  </a:lnTo>
                  <a:lnTo>
                    <a:pt x="528" y="300"/>
                  </a:lnTo>
                  <a:lnTo>
                    <a:pt x="516" y="294"/>
                  </a:lnTo>
                  <a:lnTo>
                    <a:pt x="510" y="300"/>
                  </a:lnTo>
                  <a:lnTo>
                    <a:pt x="498" y="318"/>
                  </a:lnTo>
                  <a:lnTo>
                    <a:pt x="492" y="324"/>
                  </a:lnTo>
                  <a:lnTo>
                    <a:pt x="486" y="336"/>
                  </a:lnTo>
                  <a:lnTo>
                    <a:pt x="486" y="354"/>
                  </a:lnTo>
                  <a:lnTo>
                    <a:pt x="486" y="384"/>
                  </a:lnTo>
                  <a:lnTo>
                    <a:pt x="474" y="408"/>
                  </a:lnTo>
                  <a:lnTo>
                    <a:pt x="450" y="426"/>
                  </a:lnTo>
                  <a:lnTo>
                    <a:pt x="444" y="444"/>
                  </a:lnTo>
                  <a:lnTo>
                    <a:pt x="426" y="474"/>
                  </a:lnTo>
                  <a:lnTo>
                    <a:pt x="420" y="486"/>
                  </a:lnTo>
                  <a:lnTo>
                    <a:pt x="414" y="486"/>
                  </a:lnTo>
                  <a:lnTo>
                    <a:pt x="414" y="498"/>
                  </a:lnTo>
                  <a:lnTo>
                    <a:pt x="378" y="504"/>
                  </a:lnTo>
                  <a:lnTo>
                    <a:pt x="348" y="510"/>
                  </a:lnTo>
                  <a:lnTo>
                    <a:pt x="330" y="510"/>
                  </a:lnTo>
                  <a:lnTo>
                    <a:pt x="324" y="504"/>
                  </a:lnTo>
                  <a:lnTo>
                    <a:pt x="318" y="504"/>
                  </a:lnTo>
                  <a:lnTo>
                    <a:pt x="312" y="504"/>
                  </a:lnTo>
                  <a:lnTo>
                    <a:pt x="312" y="498"/>
                  </a:lnTo>
                  <a:lnTo>
                    <a:pt x="312" y="486"/>
                  </a:lnTo>
                  <a:lnTo>
                    <a:pt x="312" y="480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56"/>
                  </a:lnTo>
                  <a:lnTo>
                    <a:pt x="312" y="450"/>
                  </a:lnTo>
                  <a:lnTo>
                    <a:pt x="306" y="444"/>
                  </a:lnTo>
                  <a:lnTo>
                    <a:pt x="306" y="438"/>
                  </a:lnTo>
                  <a:lnTo>
                    <a:pt x="300" y="426"/>
                  </a:lnTo>
                  <a:lnTo>
                    <a:pt x="300" y="420"/>
                  </a:lnTo>
                  <a:lnTo>
                    <a:pt x="294" y="414"/>
                  </a:lnTo>
                  <a:lnTo>
                    <a:pt x="294" y="408"/>
                  </a:lnTo>
                  <a:lnTo>
                    <a:pt x="270" y="408"/>
                  </a:lnTo>
                  <a:lnTo>
                    <a:pt x="246" y="408"/>
                  </a:lnTo>
                  <a:lnTo>
                    <a:pt x="222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56" y="402"/>
                  </a:lnTo>
                  <a:lnTo>
                    <a:pt x="144" y="396"/>
                  </a:lnTo>
                  <a:lnTo>
                    <a:pt x="126" y="396"/>
                  </a:lnTo>
                  <a:lnTo>
                    <a:pt x="108" y="408"/>
                  </a:lnTo>
                  <a:lnTo>
                    <a:pt x="102" y="414"/>
                  </a:lnTo>
                  <a:lnTo>
                    <a:pt x="102" y="420"/>
                  </a:lnTo>
                  <a:lnTo>
                    <a:pt x="96" y="426"/>
                  </a:lnTo>
                  <a:lnTo>
                    <a:pt x="96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78" y="450"/>
                  </a:lnTo>
                  <a:lnTo>
                    <a:pt x="60" y="45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4" name="Freeform 29">
              <a:extLst>
                <a:ext uri="{FF2B5EF4-FFF2-40B4-BE49-F238E27FC236}">
                  <a16:creationId xmlns:a16="http://schemas.microsoft.com/office/drawing/2014/main" id="{B6AC2B96-1504-4082-8778-17130FDA021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401" y="3537698"/>
              <a:ext cx="559048" cy="641876"/>
            </a:xfrm>
            <a:custGeom>
              <a:avLst/>
              <a:gdLst>
                <a:gd name="T0" fmla="*/ 39 w 1056"/>
                <a:gd name="T1" fmla="*/ 94 h 1206"/>
                <a:gd name="T2" fmla="*/ 35 w 1056"/>
                <a:gd name="T3" fmla="*/ 103 h 1206"/>
                <a:gd name="T4" fmla="*/ 29 w 1056"/>
                <a:gd name="T5" fmla="*/ 99 h 1206"/>
                <a:gd name="T6" fmla="*/ 23 w 1056"/>
                <a:gd name="T7" fmla="*/ 94 h 1206"/>
                <a:gd name="T8" fmla="*/ 21 w 1056"/>
                <a:gd name="T9" fmla="*/ 91 h 1206"/>
                <a:gd name="T10" fmla="*/ 18 w 1056"/>
                <a:gd name="T11" fmla="*/ 89 h 1206"/>
                <a:gd name="T12" fmla="*/ 15 w 1056"/>
                <a:gd name="T13" fmla="*/ 86 h 1206"/>
                <a:gd name="T14" fmla="*/ 11 w 1056"/>
                <a:gd name="T15" fmla="*/ 83 h 1206"/>
                <a:gd name="T16" fmla="*/ 8 w 1056"/>
                <a:gd name="T17" fmla="*/ 81 h 1206"/>
                <a:gd name="T18" fmla="*/ 6 w 1056"/>
                <a:gd name="T19" fmla="*/ 79 h 1206"/>
                <a:gd name="T20" fmla="*/ 13 w 1056"/>
                <a:gd name="T21" fmla="*/ 78 h 1206"/>
                <a:gd name="T22" fmla="*/ 8 w 1056"/>
                <a:gd name="T23" fmla="*/ 75 h 1206"/>
                <a:gd name="T24" fmla="*/ 13 w 1056"/>
                <a:gd name="T25" fmla="*/ 71 h 1206"/>
                <a:gd name="T26" fmla="*/ 10 w 1056"/>
                <a:gd name="T27" fmla="*/ 63 h 1206"/>
                <a:gd name="T28" fmla="*/ 6 w 1056"/>
                <a:gd name="T29" fmla="*/ 66 h 1206"/>
                <a:gd name="T30" fmla="*/ 1 w 1056"/>
                <a:gd name="T31" fmla="*/ 63 h 1206"/>
                <a:gd name="T32" fmla="*/ 1 w 1056"/>
                <a:gd name="T33" fmla="*/ 59 h 1206"/>
                <a:gd name="T34" fmla="*/ 3 w 1056"/>
                <a:gd name="T35" fmla="*/ 57 h 1206"/>
                <a:gd name="T36" fmla="*/ 6 w 1056"/>
                <a:gd name="T37" fmla="*/ 55 h 1206"/>
                <a:gd name="T38" fmla="*/ 10 w 1056"/>
                <a:gd name="T39" fmla="*/ 51 h 1206"/>
                <a:gd name="T40" fmla="*/ 11 w 1056"/>
                <a:gd name="T41" fmla="*/ 46 h 1206"/>
                <a:gd name="T42" fmla="*/ 14 w 1056"/>
                <a:gd name="T43" fmla="*/ 42 h 1206"/>
                <a:gd name="T44" fmla="*/ 15 w 1056"/>
                <a:gd name="T45" fmla="*/ 36 h 1206"/>
                <a:gd name="T46" fmla="*/ 17 w 1056"/>
                <a:gd name="T47" fmla="*/ 34 h 1206"/>
                <a:gd name="T48" fmla="*/ 20 w 1056"/>
                <a:gd name="T49" fmla="*/ 31 h 1206"/>
                <a:gd name="T50" fmla="*/ 21 w 1056"/>
                <a:gd name="T51" fmla="*/ 29 h 1206"/>
                <a:gd name="T52" fmla="*/ 23 w 1056"/>
                <a:gd name="T53" fmla="*/ 22 h 1206"/>
                <a:gd name="T54" fmla="*/ 35 w 1056"/>
                <a:gd name="T55" fmla="*/ 22 h 1206"/>
                <a:gd name="T56" fmla="*/ 41 w 1056"/>
                <a:gd name="T57" fmla="*/ 18 h 1206"/>
                <a:gd name="T58" fmla="*/ 54 w 1056"/>
                <a:gd name="T59" fmla="*/ 20 h 1206"/>
                <a:gd name="T60" fmla="*/ 54 w 1056"/>
                <a:gd name="T61" fmla="*/ 26 h 1206"/>
                <a:gd name="T62" fmla="*/ 64 w 1056"/>
                <a:gd name="T63" fmla="*/ 25 h 1206"/>
                <a:gd name="T64" fmla="*/ 71 w 1056"/>
                <a:gd name="T65" fmla="*/ 10 h 1206"/>
                <a:gd name="T66" fmla="*/ 80 w 1056"/>
                <a:gd name="T67" fmla="*/ 1 h 1206"/>
                <a:gd name="T68" fmla="*/ 86 w 1056"/>
                <a:gd name="T69" fmla="*/ 2 h 1206"/>
                <a:gd name="T70" fmla="*/ 91 w 1056"/>
                <a:gd name="T71" fmla="*/ 13 h 1206"/>
                <a:gd name="T72" fmla="*/ 88 w 1056"/>
                <a:gd name="T73" fmla="*/ 17 h 1206"/>
                <a:gd name="T74" fmla="*/ 89 w 1056"/>
                <a:gd name="T75" fmla="*/ 21 h 1206"/>
                <a:gd name="T76" fmla="*/ 86 w 1056"/>
                <a:gd name="T77" fmla="*/ 25 h 1206"/>
                <a:gd name="T78" fmla="*/ 85 w 1056"/>
                <a:gd name="T79" fmla="*/ 31 h 1206"/>
                <a:gd name="T80" fmla="*/ 83 w 1056"/>
                <a:gd name="T81" fmla="*/ 36 h 1206"/>
                <a:gd name="T82" fmla="*/ 80 w 1056"/>
                <a:gd name="T83" fmla="*/ 42 h 1206"/>
                <a:gd name="T84" fmla="*/ 80 w 1056"/>
                <a:gd name="T85" fmla="*/ 47 h 1206"/>
                <a:gd name="T86" fmla="*/ 77 w 1056"/>
                <a:gd name="T87" fmla="*/ 55 h 1206"/>
                <a:gd name="T88" fmla="*/ 75 w 1056"/>
                <a:gd name="T89" fmla="*/ 57 h 1206"/>
                <a:gd name="T90" fmla="*/ 66 w 1056"/>
                <a:gd name="T91" fmla="*/ 57 h 1206"/>
                <a:gd name="T92" fmla="*/ 66 w 1056"/>
                <a:gd name="T93" fmla="*/ 51 h 1206"/>
                <a:gd name="T94" fmla="*/ 48 w 1056"/>
                <a:gd name="T95" fmla="*/ 50 h 1206"/>
                <a:gd name="T96" fmla="*/ 46 w 1056"/>
                <a:gd name="T97" fmla="*/ 55 h 1206"/>
                <a:gd name="T98" fmla="*/ 42 w 1056"/>
                <a:gd name="T99" fmla="*/ 59 h 1206"/>
                <a:gd name="T100" fmla="*/ 41 w 1056"/>
                <a:gd name="T101" fmla="*/ 62 h 1206"/>
                <a:gd name="T102" fmla="*/ 43 w 1056"/>
                <a:gd name="T103" fmla="*/ 67 h 1206"/>
                <a:gd name="T104" fmla="*/ 42 w 1056"/>
                <a:gd name="T105" fmla="*/ 72 h 1206"/>
                <a:gd name="T106" fmla="*/ 39 w 1056"/>
                <a:gd name="T107" fmla="*/ 77 h 1206"/>
                <a:gd name="T108" fmla="*/ 36 w 1056"/>
                <a:gd name="T109" fmla="*/ 80 h 1206"/>
                <a:gd name="T110" fmla="*/ 37 w 1056"/>
                <a:gd name="T111" fmla="*/ 83 h 1206"/>
                <a:gd name="T112" fmla="*/ 40 w 1056"/>
                <a:gd name="T113" fmla="*/ 87 h 1206"/>
                <a:gd name="T114" fmla="*/ 42 w 1056"/>
                <a:gd name="T115" fmla="*/ 89 h 12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56"/>
                <a:gd name="T175" fmla="*/ 0 h 1206"/>
                <a:gd name="T176" fmla="*/ 1056 w 1056"/>
                <a:gd name="T177" fmla="*/ 1206 h 12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56" h="1206">
                  <a:moveTo>
                    <a:pt x="492" y="1032"/>
                  </a:moveTo>
                  <a:lnTo>
                    <a:pt x="486" y="1038"/>
                  </a:lnTo>
                  <a:lnTo>
                    <a:pt x="486" y="1044"/>
                  </a:lnTo>
                  <a:lnTo>
                    <a:pt x="480" y="1044"/>
                  </a:lnTo>
                  <a:lnTo>
                    <a:pt x="474" y="1056"/>
                  </a:lnTo>
                  <a:lnTo>
                    <a:pt x="462" y="1068"/>
                  </a:lnTo>
                  <a:lnTo>
                    <a:pt x="456" y="1080"/>
                  </a:lnTo>
                  <a:lnTo>
                    <a:pt x="450" y="1080"/>
                  </a:lnTo>
                  <a:lnTo>
                    <a:pt x="450" y="1086"/>
                  </a:lnTo>
                  <a:lnTo>
                    <a:pt x="450" y="1092"/>
                  </a:lnTo>
                  <a:lnTo>
                    <a:pt x="444" y="1104"/>
                  </a:lnTo>
                  <a:lnTo>
                    <a:pt x="444" y="1116"/>
                  </a:lnTo>
                  <a:lnTo>
                    <a:pt x="438" y="1128"/>
                  </a:lnTo>
                  <a:lnTo>
                    <a:pt x="432" y="1134"/>
                  </a:lnTo>
                  <a:lnTo>
                    <a:pt x="432" y="1140"/>
                  </a:lnTo>
                  <a:lnTo>
                    <a:pt x="420" y="1152"/>
                  </a:lnTo>
                  <a:lnTo>
                    <a:pt x="420" y="1158"/>
                  </a:lnTo>
                  <a:lnTo>
                    <a:pt x="408" y="1182"/>
                  </a:lnTo>
                  <a:lnTo>
                    <a:pt x="396" y="1194"/>
                  </a:lnTo>
                  <a:lnTo>
                    <a:pt x="390" y="1206"/>
                  </a:lnTo>
                  <a:lnTo>
                    <a:pt x="390" y="1200"/>
                  </a:lnTo>
                  <a:lnTo>
                    <a:pt x="384" y="1194"/>
                  </a:lnTo>
                  <a:lnTo>
                    <a:pt x="378" y="1188"/>
                  </a:lnTo>
                  <a:lnTo>
                    <a:pt x="366" y="1176"/>
                  </a:lnTo>
                  <a:lnTo>
                    <a:pt x="366" y="1170"/>
                  </a:lnTo>
                  <a:lnTo>
                    <a:pt x="348" y="1152"/>
                  </a:lnTo>
                  <a:lnTo>
                    <a:pt x="336" y="1140"/>
                  </a:lnTo>
                  <a:lnTo>
                    <a:pt x="330" y="1134"/>
                  </a:lnTo>
                  <a:lnTo>
                    <a:pt x="324" y="1128"/>
                  </a:lnTo>
                  <a:lnTo>
                    <a:pt x="318" y="1122"/>
                  </a:lnTo>
                  <a:lnTo>
                    <a:pt x="312" y="1116"/>
                  </a:lnTo>
                  <a:lnTo>
                    <a:pt x="306" y="1110"/>
                  </a:lnTo>
                  <a:lnTo>
                    <a:pt x="300" y="1104"/>
                  </a:lnTo>
                  <a:lnTo>
                    <a:pt x="294" y="1098"/>
                  </a:lnTo>
                  <a:lnTo>
                    <a:pt x="276" y="1080"/>
                  </a:lnTo>
                  <a:lnTo>
                    <a:pt x="270" y="1080"/>
                  </a:lnTo>
                  <a:lnTo>
                    <a:pt x="270" y="1074"/>
                  </a:lnTo>
                  <a:lnTo>
                    <a:pt x="264" y="1068"/>
                  </a:lnTo>
                  <a:lnTo>
                    <a:pt x="258" y="1062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40" y="1050"/>
                  </a:lnTo>
                  <a:lnTo>
                    <a:pt x="234" y="1044"/>
                  </a:lnTo>
                  <a:lnTo>
                    <a:pt x="228" y="1044"/>
                  </a:lnTo>
                  <a:lnTo>
                    <a:pt x="222" y="1038"/>
                  </a:lnTo>
                  <a:lnTo>
                    <a:pt x="222" y="1032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6"/>
                  </a:lnTo>
                  <a:lnTo>
                    <a:pt x="204" y="1020"/>
                  </a:lnTo>
                  <a:lnTo>
                    <a:pt x="204" y="1014"/>
                  </a:lnTo>
                  <a:lnTo>
                    <a:pt x="198" y="1014"/>
                  </a:lnTo>
                  <a:lnTo>
                    <a:pt x="192" y="1014"/>
                  </a:lnTo>
                  <a:lnTo>
                    <a:pt x="192" y="1008"/>
                  </a:lnTo>
                  <a:lnTo>
                    <a:pt x="186" y="1008"/>
                  </a:lnTo>
                  <a:lnTo>
                    <a:pt x="186" y="1002"/>
                  </a:lnTo>
                  <a:lnTo>
                    <a:pt x="180" y="1002"/>
                  </a:lnTo>
                  <a:lnTo>
                    <a:pt x="174" y="996"/>
                  </a:lnTo>
                  <a:lnTo>
                    <a:pt x="168" y="996"/>
                  </a:lnTo>
                  <a:lnTo>
                    <a:pt x="168" y="990"/>
                  </a:lnTo>
                  <a:lnTo>
                    <a:pt x="162" y="990"/>
                  </a:lnTo>
                  <a:lnTo>
                    <a:pt x="162" y="984"/>
                  </a:lnTo>
                  <a:lnTo>
                    <a:pt x="150" y="978"/>
                  </a:lnTo>
                  <a:lnTo>
                    <a:pt x="144" y="972"/>
                  </a:lnTo>
                  <a:lnTo>
                    <a:pt x="138" y="972"/>
                  </a:lnTo>
                  <a:lnTo>
                    <a:pt x="138" y="966"/>
                  </a:lnTo>
                  <a:lnTo>
                    <a:pt x="132" y="966"/>
                  </a:lnTo>
                  <a:lnTo>
                    <a:pt x="126" y="960"/>
                  </a:lnTo>
                  <a:lnTo>
                    <a:pt x="126" y="954"/>
                  </a:lnTo>
                  <a:lnTo>
                    <a:pt x="120" y="954"/>
                  </a:lnTo>
                  <a:lnTo>
                    <a:pt x="114" y="948"/>
                  </a:lnTo>
                  <a:lnTo>
                    <a:pt x="108" y="948"/>
                  </a:lnTo>
                  <a:lnTo>
                    <a:pt x="108" y="942"/>
                  </a:lnTo>
                  <a:lnTo>
                    <a:pt x="102" y="942"/>
                  </a:lnTo>
                  <a:lnTo>
                    <a:pt x="96" y="942"/>
                  </a:lnTo>
                  <a:lnTo>
                    <a:pt x="96" y="936"/>
                  </a:lnTo>
                  <a:lnTo>
                    <a:pt x="90" y="936"/>
                  </a:lnTo>
                  <a:lnTo>
                    <a:pt x="90" y="930"/>
                  </a:lnTo>
                  <a:lnTo>
                    <a:pt x="84" y="930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18"/>
                  </a:lnTo>
                  <a:lnTo>
                    <a:pt x="66" y="918"/>
                  </a:lnTo>
                  <a:lnTo>
                    <a:pt x="66" y="912"/>
                  </a:lnTo>
                  <a:lnTo>
                    <a:pt x="66" y="906"/>
                  </a:lnTo>
                  <a:lnTo>
                    <a:pt x="72" y="906"/>
                  </a:lnTo>
                  <a:lnTo>
                    <a:pt x="84" y="906"/>
                  </a:lnTo>
                  <a:lnTo>
                    <a:pt x="90" y="906"/>
                  </a:lnTo>
                  <a:lnTo>
                    <a:pt x="120" y="930"/>
                  </a:lnTo>
                  <a:lnTo>
                    <a:pt x="126" y="936"/>
                  </a:lnTo>
                  <a:lnTo>
                    <a:pt x="138" y="936"/>
                  </a:lnTo>
                  <a:lnTo>
                    <a:pt x="138" y="930"/>
                  </a:lnTo>
                  <a:lnTo>
                    <a:pt x="144" y="930"/>
                  </a:lnTo>
                  <a:lnTo>
                    <a:pt x="144" y="924"/>
                  </a:lnTo>
                  <a:lnTo>
                    <a:pt x="150" y="900"/>
                  </a:lnTo>
                  <a:lnTo>
                    <a:pt x="138" y="894"/>
                  </a:lnTo>
                  <a:lnTo>
                    <a:pt x="126" y="894"/>
                  </a:lnTo>
                  <a:lnTo>
                    <a:pt x="108" y="888"/>
                  </a:lnTo>
                  <a:lnTo>
                    <a:pt x="84" y="882"/>
                  </a:lnTo>
                  <a:lnTo>
                    <a:pt x="72" y="882"/>
                  </a:lnTo>
                  <a:lnTo>
                    <a:pt x="72" y="876"/>
                  </a:lnTo>
                  <a:lnTo>
                    <a:pt x="78" y="870"/>
                  </a:lnTo>
                  <a:lnTo>
                    <a:pt x="90" y="870"/>
                  </a:lnTo>
                  <a:lnTo>
                    <a:pt x="96" y="870"/>
                  </a:lnTo>
                  <a:lnTo>
                    <a:pt x="102" y="870"/>
                  </a:lnTo>
                  <a:lnTo>
                    <a:pt x="114" y="870"/>
                  </a:lnTo>
                  <a:lnTo>
                    <a:pt x="120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34"/>
                  </a:lnTo>
                  <a:lnTo>
                    <a:pt x="132" y="828"/>
                  </a:lnTo>
                  <a:lnTo>
                    <a:pt x="132" y="816"/>
                  </a:lnTo>
                  <a:lnTo>
                    <a:pt x="150" y="816"/>
                  </a:lnTo>
                  <a:lnTo>
                    <a:pt x="150" y="804"/>
                  </a:lnTo>
                  <a:lnTo>
                    <a:pt x="144" y="798"/>
                  </a:lnTo>
                  <a:lnTo>
                    <a:pt x="156" y="762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32"/>
                  </a:lnTo>
                  <a:lnTo>
                    <a:pt x="144" y="726"/>
                  </a:lnTo>
                  <a:lnTo>
                    <a:pt x="132" y="726"/>
                  </a:lnTo>
                  <a:lnTo>
                    <a:pt x="120" y="732"/>
                  </a:lnTo>
                  <a:lnTo>
                    <a:pt x="114" y="744"/>
                  </a:lnTo>
                  <a:lnTo>
                    <a:pt x="108" y="750"/>
                  </a:lnTo>
                  <a:lnTo>
                    <a:pt x="96" y="768"/>
                  </a:lnTo>
                  <a:lnTo>
                    <a:pt x="96" y="774"/>
                  </a:lnTo>
                  <a:lnTo>
                    <a:pt x="90" y="780"/>
                  </a:lnTo>
                  <a:lnTo>
                    <a:pt x="84" y="804"/>
                  </a:lnTo>
                  <a:lnTo>
                    <a:pt x="72" y="774"/>
                  </a:lnTo>
                  <a:lnTo>
                    <a:pt x="72" y="768"/>
                  </a:lnTo>
                  <a:lnTo>
                    <a:pt x="66" y="762"/>
                  </a:lnTo>
                  <a:lnTo>
                    <a:pt x="60" y="750"/>
                  </a:lnTo>
                  <a:lnTo>
                    <a:pt x="54" y="750"/>
                  </a:lnTo>
                  <a:lnTo>
                    <a:pt x="48" y="750"/>
                  </a:lnTo>
                  <a:lnTo>
                    <a:pt x="42" y="750"/>
                  </a:lnTo>
                  <a:lnTo>
                    <a:pt x="30" y="744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12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2" y="702"/>
                  </a:lnTo>
                  <a:lnTo>
                    <a:pt x="18" y="696"/>
                  </a:lnTo>
                  <a:lnTo>
                    <a:pt x="12" y="690"/>
                  </a:lnTo>
                  <a:lnTo>
                    <a:pt x="12" y="684"/>
                  </a:lnTo>
                  <a:lnTo>
                    <a:pt x="12" y="678"/>
                  </a:lnTo>
                  <a:lnTo>
                    <a:pt x="12" y="672"/>
                  </a:lnTo>
                  <a:lnTo>
                    <a:pt x="18" y="672"/>
                  </a:lnTo>
                  <a:lnTo>
                    <a:pt x="18" y="666"/>
                  </a:lnTo>
                  <a:lnTo>
                    <a:pt x="24" y="666"/>
                  </a:lnTo>
                  <a:lnTo>
                    <a:pt x="24" y="660"/>
                  </a:lnTo>
                  <a:lnTo>
                    <a:pt x="30" y="660"/>
                  </a:lnTo>
                  <a:lnTo>
                    <a:pt x="30" y="654"/>
                  </a:lnTo>
                  <a:lnTo>
                    <a:pt x="36" y="654"/>
                  </a:lnTo>
                  <a:lnTo>
                    <a:pt x="36" y="648"/>
                  </a:lnTo>
                  <a:lnTo>
                    <a:pt x="42" y="648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60" y="630"/>
                  </a:lnTo>
                  <a:lnTo>
                    <a:pt x="66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78" y="624"/>
                  </a:lnTo>
                  <a:lnTo>
                    <a:pt x="84" y="618"/>
                  </a:lnTo>
                  <a:lnTo>
                    <a:pt x="84" y="612"/>
                  </a:lnTo>
                  <a:lnTo>
                    <a:pt x="90" y="612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20" y="588"/>
                  </a:lnTo>
                  <a:lnTo>
                    <a:pt x="120" y="582"/>
                  </a:lnTo>
                  <a:lnTo>
                    <a:pt x="120" y="576"/>
                  </a:lnTo>
                  <a:lnTo>
                    <a:pt x="120" y="570"/>
                  </a:lnTo>
                  <a:lnTo>
                    <a:pt x="126" y="564"/>
                  </a:lnTo>
                  <a:lnTo>
                    <a:pt x="126" y="558"/>
                  </a:lnTo>
                  <a:lnTo>
                    <a:pt x="126" y="552"/>
                  </a:lnTo>
                  <a:lnTo>
                    <a:pt x="126" y="546"/>
                  </a:lnTo>
                  <a:lnTo>
                    <a:pt x="126" y="534"/>
                  </a:lnTo>
                  <a:lnTo>
                    <a:pt x="126" y="516"/>
                  </a:lnTo>
                  <a:lnTo>
                    <a:pt x="126" y="510"/>
                  </a:lnTo>
                  <a:lnTo>
                    <a:pt x="126" y="504"/>
                  </a:lnTo>
                  <a:lnTo>
                    <a:pt x="126" y="498"/>
                  </a:lnTo>
                  <a:lnTo>
                    <a:pt x="132" y="498"/>
                  </a:lnTo>
                  <a:lnTo>
                    <a:pt x="132" y="492"/>
                  </a:lnTo>
                  <a:lnTo>
                    <a:pt x="138" y="492"/>
                  </a:lnTo>
                  <a:lnTo>
                    <a:pt x="144" y="486"/>
                  </a:lnTo>
                  <a:lnTo>
                    <a:pt x="156" y="480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6" y="462"/>
                  </a:lnTo>
                  <a:lnTo>
                    <a:pt x="156" y="456"/>
                  </a:lnTo>
                  <a:lnTo>
                    <a:pt x="156" y="450"/>
                  </a:lnTo>
                  <a:lnTo>
                    <a:pt x="162" y="438"/>
                  </a:lnTo>
                  <a:lnTo>
                    <a:pt x="168" y="426"/>
                  </a:lnTo>
                  <a:lnTo>
                    <a:pt x="174" y="426"/>
                  </a:lnTo>
                  <a:lnTo>
                    <a:pt x="174" y="420"/>
                  </a:lnTo>
                  <a:lnTo>
                    <a:pt x="180" y="414"/>
                  </a:lnTo>
                  <a:lnTo>
                    <a:pt x="186" y="420"/>
                  </a:lnTo>
                  <a:lnTo>
                    <a:pt x="186" y="414"/>
                  </a:lnTo>
                  <a:lnTo>
                    <a:pt x="180" y="408"/>
                  </a:lnTo>
                  <a:lnTo>
                    <a:pt x="180" y="402"/>
                  </a:lnTo>
                  <a:lnTo>
                    <a:pt x="186" y="402"/>
                  </a:lnTo>
                  <a:lnTo>
                    <a:pt x="192" y="402"/>
                  </a:lnTo>
                  <a:lnTo>
                    <a:pt x="192" y="396"/>
                  </a:lnTo>
                  <a:lnTo>
                    <a:pt x="198" y="396"/>
                  </a:lnTo>
                  <a:lnTo>
                    <a:pt x="204" y="396"/>
                  </a:lnTo>
                  <a:lnTo>
                    <a:pt x="210" y="396"/>
                  </a:lnTo>
                  <a:lnTo>
                    <a:pt x="210" y="390"/>
                  </a:lnTo>
                  <a:lnTo>
                    <a:pt x="216" y="390"/>
                  </a:lnTo>
                  <a:lnTo>
                    <a:pt x="216" y="384"/>
                  </a:lnTo>
                  <a:lnTo>
                    <a:pt x="222" y="384"/>
                  </a:lnTo>
                  <a:lnTo>
                    <a:pt x="222" y="378"/>
                  </a:lnTo>
                  <a:lnTo>
                    <a:pt x="228" y="372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0" y="348"/>
                  </a:lnTo>
                  <a:lnTo>
                    <a:pt x="234" y="342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46" y="330"/>
                  </a:lnTo>
                  <a:lnTo>
                    <a:pt x="246" y="324"/>
                  </a:lnTo>
                  <a:lnTo>
                    <a:pt x="234" y="318"/>
                  </a:lnTo>
                  <a:lnTo>
                    <a:pt x="234" y="312"/>
                  </a:lnTo>
                  <a:lnTo>
                    <a:pt x="234" y="300"/>
                  </a:lnTo>
                  <a:lnTo>
                    <a:pt x="240" y="288"/>
                  </a:lnTo>
                  <a:lnTo>
                    <a:pt x="240" y="276"/>
                  </a:lnTo>
                  <a:lnTo>
                    <a:pt x="246" y="258"/>
                  </a:lnTo>
                  <a:lnTo>
                    <a:pt x="258" y="252"/>
                  </a:lnTo>
                  <a:lnTo>
                    <a:pt x="270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294" y="252"/>
                  </a:lnTo>
                  <a:lnTo>
                    <a:pt x="300" y="258"/>
                  </a:lnTo>
                  <a:lnTo>
                    <a:pt x="318" y="252"/>
                  </a:lnTo>
                  <a:lnTo>
                    <a:pt x="366" y="252"/>
                  </a:lnTo>
                  <a:lnTo>
                    <a:pt x="378" y="252"/>
                  </a:lnTo>
                  <a:lnTo>
                    <a:pt x="396" y="252"/>
                  </a:lnTo>
                  <a:lnTo>
                    <a:pt x="408" y="252"/>
                  </a:lnTo>
                  <a:lnTo>
                    <a:pt x="408" y="246"/>
                  </a:lnTo>
                  <a:lnTo>
                    <a:pt x="414" y="240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20" y="216"/>
                  </a:lnTo>
                  <a:lnTo>
                    <a:pt x="426" y="210"/>
                  </a:lnTo>
                  <a:lnTo>
                    <a:pt x="444" y="198"/>
                  </a:lnTo>
                  <a:lnTo>
                    <a:pt x="462" y="198"/>
                  </a:lnTo>
                  <a:lnTo>
                    <a:pt x="474" y="204"/>
                  </a:lnTo>
                  <a:lnTo>
                    <a:pt x="498" y="198"/>
                  </a:lnTo>
                  <a:lnTo>
                    <a:pt x="498" y="204"/>
                  </a:lnTo>
                  <a:lnTo>
                    <a:pt x="540" y="210"/>
                  </a:lnTo>
                  <a:lnTo>
                    <a:pt x="564" y="210"/>
                  </a:lnTo>
                  <a:lnTo>
                    <a:pt x="588" y="210"/>
                  </a:lnTo>
                  <a:lnTo>
                    <a:pt x="612" y="210"/>
                  </a:lnTo>
                  <a:lnTo>
                    <a:pt x="612" y="216"/>
                  </a:lnTo>
                  <a:lnTo>
                    <a:pt x="618" y="222"/>
                  </a:lnTo>
                  <a:lnTo>
                    <a:pt x="618" y="228"/>
                  </a:lnTo>
                  <a:lnTo>
                    <a:pt x="624" y="240"/>
                  </a:lnTo>
                  <a:lnTo>
                    <a:pt x="624" y="246"/>
                  </a:lnTo>
                  <a:lnTo>
                    <a:pt x="630" y="252"/>
                  </a:lnTo>
                  <a:lnTo>
                    <a:pt x="630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0" y="282"/>
                  </a:lnTo>
                  <a:lnTo>
                    <a:pt x="630" y="288"/>
                  </a:lnTo>
                  <a:lnTo>
                    <a:pt x="630" y="300"/>
                  </a:lnTo>
                  <a:lnTo>
                    <a:pt x="630" y="306"/>
                  </a:lnTo>
                  <a:lnTo>
                    <a:pt x="636" y="306"/>
                  </a:lnTo>
                  <a:lnTo>
                    <a:pt x="642" y="306"/>
                  </a:lnTo>
                  <a:lnTo>
                    <a:pt x="648" y="312"/>
                  </a:lnTo>
                  <a:lnTo>
                    <a:pt x="666" y="312"/>
                  </a:lnTo>
                  <a:lnTo>
                    <a:pt x="696" y="306"/>
                  </a:lnTo>
                  <a:lnTo>
                    <a:pt x="732" y="300"/>
                  </a:lnTo>
                  <a:lnTo>
                    <a:pt x="732" y="288"/>
                  </a:lnTo>
                  <a:lnTo>
                    <a:pt x="738" y="288"/>
                  </a:lnTo>
                  <a:lnTo>
                    <a:pt x="744" y="276"/>
                  </a:lnTo>
                  <a:lnTo>
                    <a:pt x="762" y="246"/>
                  </a:lnTo>
                  <a:lnTo>
                    <a:pt x="768" y="228"/>
                  </a:lnTo>
                  <a:lnTo>
                    <a:pt x="792" y="210"/>
                  </a:lnTo>
                  <a:lnTo>
                    <a:pt x="804" y="186"/>
                  </a:lnTo>
                  <a:lnTo>
                    <a:pt x="804" y="156"/>
                  </a:lnTo>
                  <a:lnTo>
                    <a:pt x="804" y="138"/>
                  </a:lnTo>
                  <a:lnTo>
                    <a:pt x="810" y="126"/>
                  </a:lnTo>
                  <a:lnTo>
                    <a:pt x="816" y="120"/>
                  </a:lnTo>
                  <a:lnTo>
                    <a:pt x="828" y="102"/>
                  </a:lnTo>
                  <a:lnTo>
                    <a:pt x="834" y="96"/>
                  </a:lnTo>
                  <a:lnTo>
                    <a:pt x="846" y="102"/>
                  </a:lnTo>
                  <a:lnTo>
                    <a:pt x="852" y="96"/>
                  </a:lnTo>
                  <a:lnTo>
                    <a:pt x="858" y="72"/>
                  </a:lnTo>
                  <a:lnTo>
                    <a:pt x="864" y="60"/>
                  </a:lnTo>
                  <a:lnTo>
                    <a:pt x="882" y="48"/>
                  </a:lnTo>
                  <a:lnTo>
                    <a:pt x="906" y="36"/>
                  </a:lnTo>
                  <a:lnTo>
                    <a:pt x="918" y="12"/>
                  </a:lnTo>
                  <a:lnTo>
                    <a:pt x="924" y="0"/>
                  </a:lnTo>
                  <a:lnTo>
                    <a:pt x="930" y="6"/>
                  </a:lnTo>
                  <a:lnTo>
                    <a:pt x="942" y="12"/>
                  </a:lnTo>
                  <a:lnTo>
                    <a:pt x="948" y="12"/>
                  </a:lnTo>
                  <a:lnTo>
                    <a:pt x="954" y="18"/>
                  </a:lnTo>
                  <a:lnTo>
                    <a:pt x="966" y="18"/>
                  </a:lnTo>
                  <a:lnTo>
                    <a:pt x="972" y="18"/>
                  </a:lnTo>
                  <a:lnTo>
                    <a:pt x="984" y="18"/>
                  </a:lnTo>
                  <a:lnTo>
                    <a:pt x="990" y="18"/>
                  </a:lnTo>
                  <a:lnTo>
                    <a:pt x="1002" y="48"/>
                  </a:lnTo>
                  <a:lnTo>
                    <a:pt x="1008" y="78"/>
                  </a:lnTo>
                  <a:lnTo>
                    <a:pt x="1020" y="78"/>
                  </a:lnTo>
                  <a:lnTo>
                    <a:pt x="1020" y="90"/>
                  </a:lnTo>
                  <a:lnTo>
                    <a:pt x="1026" y="102"/>
                  </a:lnTo>
                  <a:lnTo>
                    <a:pt x="1044" y="120"/>
                  </a:lnTo>
                  <a:lnTo>
                    <a:pt x="1044" y="132"/>
                  </a:lnTo>
                  <a:lnTo>
                    <a:pt x="1056" y="150"/>
                  </a:lnTo>
                  <a:lnTo>
                    <a:pt x="1050" y="150"/>
                  </a:lnTo>
                  <a:lnTo>
                    <a:pt x="1044" y="156"/>
                  </a:lnTo>
                  <a:lnTo>
                    <a:pt x="1044" y="162"/>
                  </a:lnTo>
                  <a:lnTo>
                    <a:pt x="1038" y="162"/>
                  </a:lnTo>
                  <a:lnTo>
                    <a:pt x="1032" y="162"/>
                  </a:lnTo>
                  <a:lnTo>
                    <a:pt x="1026" y="168"/>
                  </a:lnTo>
                  <a:lnTo>
                    <a:pt x="1014" y="174"/>
                  </a:lnTo>
                  <a:lnTo>
                    <a:pt x="1014" y="186"/>
                  </a:lnTo>
                  <a:lnTo>
                    <a:pt x="1014" y="192"/>
                  </a:lnTo>
                  <a:lnTo>
                    <a:pt x="1014" y="198"/>
                  </a:lnTo>
                  <a:lnTo>
                    <a:pt x="1020" y="204"/>
                  </a:lnTo>
                  <a:lnTo>
                    <a:pt x="1026" y="204"/>
                  </a:lnTo>
                  <a:lnTo>
                    <a:pt x="1032" y="204"/>
                  </a:lnTo>
                  <a:lnTo>
                    <a:pt x="1032" y="210"/>
                  </a:lnTo>
                  <a:lnTo>
                    <a:pt x="1038" y="210"/>
                  </a:lnTo>
                  <a:lnTo>
                    <a:pt x="1032" y="216"/>
                  </a:lnTo>
                  <a:lnTo>
                    <a:pt x="1026" y="228"/>
                  </a:lnTo>
                  <a:lnTo>
                    <a:pt x="1026" y="234"/>
                  </a:lnTo>
                  <a:lnTo>
                    <a:pt x="1032" y="240"/>
                  </a:lnTo>
                  <a:lnTo>
                    <a:pt x="1032" y="246"/>
                  </a:lnTo>
                  <a:lnTo>
                    <a:pt x="1032" y="252"/>
                  </a:lnTo>
                  <a:lnTo>
                    <a:pt x="1032" y="258"/>
                  </a:lnTo>
                  <a:lnTo>
                    <a:pt x="1038" y="264"/>
                  </a:lnTo>
                  <a:lnTo>
                    <a:pt x="1032" y="276"/>
                  </a:lnTo>
                  <a:lnTo>
                    <a:pt x="1026" y="276"/>
                  </a:lnTo>
                  <a:lnTo>
                    <a:pt x="1020" y="276"/>
                  </a:lnTo>
                  <a:lnTo>
                    <a:pt x="996" y="282"/>
                  </a:lnTo>
                  <a:lnTo>
                    <a:pt x="996" y="288"/>
                  </a:lnTo>
                  <a:lnTo>
                    <a:pt x="996" y="294"/>
                  </a:lnTo>
                  <a:lnTo>
                    <a:pt x="996" y="300"/>
                  </a:lnTo>
                  <a:lnTo>
                    <a:pt x="996" y="306"/>
                  </a:lnTo>
                  <a:lnTo>
                    <a:pt x="984" y="324"/>
                  </a:lnTo>
                  <a:lnTo>
                    <a:pt x="984" y="330"/>
                  </a:lnTo>
                  <a:lnTo>
                    <a:pt x="984" y="336"/>
                  </a:lnTo>
                  <a:lnTo>
                    <a:pt x="978" y="336"/>
                  </a:lnTo>
                  <a:lnTo>
                    <a:pt x="978" y="342"/>
                  </a:lnTo>
                  <a:lnTo>
                    <a:pt x="984" y="360"/>
                  </a:lnTo>
                  <a:lnTo>
                    <a:pt x="978" y="366"/>
                  </a:lnTo>
                  <a:lnTo>
                    <a:pt x="978" y="372"/>
                  </a:lnTo>
                  <a:lnTo>
                    <a:pt x="972" y="372"/>
                  </a:lnTo>
                  <a:lnTo>
                    <a:pt x="972" y="378"/>
                  </a:lnTo>
                  <a:lnTo>
                    <a:pt x="972" y="384"/>
                  </a:lnTo>
                  <a:lnTo>
                    <a:pt x="972" y="390"/>
                  </a:lnTo>
                  <a:lnTo>
                    <a:pt x="966" y="402"/>
                  </a:lnTo>
                  <a:lnTo>
                    <a:pt x="960" y="414"/>
                  </a:lnTo>
                  <a:lnTo>
                    <a:pt x="954" y="420"/>
                  </a:lnTo>
                  <a:lnTo>
                    <a:pt x="948" y="426"/>
                  </a:lnTo>
                  <a:lnTo>
                    <a:pt x="948" y="438"/>
                  </a:lnTo>
                  <a:lnTo>
                    <a:pt x="942" y="444"/>
                  </a:lnTo>
                  <a:lnTo>
                    <a:pt x="936" y="450"/>
                  </a:lnTo>
                  <a:lnTo>
                    <a:pt x="930" y="456"/>
                  </a:lnTo>
                  <a:lnTo>
                    <a:pt x="924" y="462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18" y="522"/>
                  </a:lnTo>
                  <a:lnTo>
                    <a:pt x="918" y="528"/>
                  </a:lnTo>
                  <a:lnTo>
                    <a:pt x="924" y="534"/>
                  </a:lnTo>
                  <a:lnTo>
                    <a:pt x="924" y="540"/>
                  </a:lnTo>
                  <a:lnTo>
                    <a:pt x="924" y="546"/>
                  </a:lnTo>
                  <a:lnTo>
                    <a:pt x="918" y="546"/>
                  </a:lnTo>
                  <a:lnTo>
                    <a:pt x="918" y="552"/>
                  </a:lnTo>
                  <a:lnTo>
                    <a:pt x="912" y="546"/>
                  </a:lnTo>
                  <a:lnTo>
                    <a:pt x="912" y="552"/>
                  </a:lnTo>
                  <a:lnTo>
                    <a:pt x="912" y="570"/>
                  </a:lnTo>
                  <a:lnTo>
                    <a:pt x="906" y="588"/>
                  </a:lnTo>
                  <a:lnTo>
                    <a:pt x="900" y="606"/>
                  </a:lnTo>
                  <a:lnTo>
                    <a:pt x="906" y="624"/>
                  </a:lnTo>
                  <a:lnTo>
                    <a:pt x="900" y="624"/>
                  </a:lnTo>
                  <a:lnTo>
                    <a:pt x="894" y="630"/>
                  </a:lnTo>
                  <a:lnTo>
                    <a:pt x="888" y="630"/>
                  </a:lnTo>
                  <a:lnTo>
                    <a:pt x="882" y="630"/>
                  </a:lnTo>
                  <a:lnTo>
                    <a:pt x="882" y="636"/>
                  </a:lnTo>
                  <a:lnTo>
                    <a:pt x="876" y="642"/>
                  </a:lnTo>
                  <a:lnTo>
                    <a:pt x="870" y="642"/>
                  </a:lnTo>
                  <a:lnTo>
                    <a:pt x="870" y="648"/>
                  </a:lnTo>
                  <a:lnTo>
                    <a:pt x="870" y="654"/>
                  </a:lnTo>
                  <a:lnTo>
                    <a:pt x="864" y="654"/>
                  </a:lnTo>
                  <a:lnTo>
                    <a:pt x="864" y="660"/>
                  </a:lnTo>
                  <a:lnTo>
                    <a:pt x="846" y="666"/>
                  </a:lnTo>
                  <a:lnTo>
                    <a:pt x="828" y="672"/>
                  </a:lnTo>
                  <a:lnTo>
                    <a:pt x="816" y="660"/>
                  </a:lnTo>
                  <a:lnTo>
                    <a:pt x="810" y="660"/>
                  </a:lnTo>
                  <a:lnTo>
                    <a:pt x="798" y="666"/>
                  </a:lnTo>
                  <a:lnTo>
                    <a:pt x="786" y="666"/>
                  </a:lnTo>
                  <a:lnTo>
                    <a:pt x="780" y="672"/>
                  </a:lnTo>
                  <a:lnTo>
                    <a:pt x="768" y="678"/>
                  </a:lnTo>
                  <a:lnTo>
                    <a:pt x="762" y="660"/>
                  </a:lnTo>
                  <a:lnTo>
                    <a:pt x="762" y="654"/>
                  </a:lnTo>
                  <a:lnTo>
                    <a:pt x="756" y="636"/>
                  </a:lnTo>
                  <a:lnTo>
                    <a:pt x="762" y="624"/>
                  </a:lnTo>
                  <a:lnTo>
                    <a:pt x="756" y="606"/>
                  </a:lnTo>
                  <a:lnTo>
                    <a:pt x="756" y="600"/>
                  </a:lnTo>
                  <a:lnTo>
                    <a:pt x="762" y="594"/>
                  </a:lnTo>
                  <a:lnTo>
                    <a:pt x="768" y="600"/>
                  </a:lnTo>
                  <a:lnTo>
                    <a:pt x="768" y="594"/>
                  </a:lnTo>
                  <a:lnTo>
                    <a:pt x="768" y="588"/>
                  </a:lnTo>
                  <a:lnTo>
                    <a:pt x="774" y="582"/>
                  </a:lnTo>
                  <a:lnTo>
                    <a:pt x="768" y="576"/>
                  </a:lnTo>
                  <a:lnTo>
                    <a:pt x="762" y="576"/>
                  </a:lnTo>
                  <a:lnTo>
                    <a:pt x="756" y="576"/>
                  </a:lnTo>
                  <a:lnTo>
                    <a:pt x="690" y="576"/>
                  </a:lnTo>
                  <a:lnTo>
                    <a:pt x="624" y="570"/>
                  </a:lnTo>
                  <a:lnTo>
                    <a:pt x="600" y="564"/>
                  </a:lnTo>
                  <a:lnTo>
                    <a:pt x="576" y="564"/>
                  </a:lnTo>
                  <a:lnTo>
                    <a:pt x="558" y="570"/>
                  </a:lnTo>
                  <a:lnTo>
                    <a:pt x="552" y="576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46" y="594"/>
                  </a:lnTo>
                  <a:lnTo>
                    <a:pt x="546" y="600"/>
                  </a:lnTo>
                  <a:lnTo>
                    <a:pt x="540" y="606"/>
                  </a:lnTo>
                  <a:lnTo>
                    <a:pt x="534" y="618"/>
                  </a:lnTo>
                  <a:lnTo>
                    <a:pt x="534" y="624"/>
                  </a:lnTo>
                  <a:lnTo>
                    <a:pt x="534" y="630"/>
                  </a:lnTo>
                  <a:lnTo>
                    <a:pt x="534" y="636"/>
                  </a:lnTo>
                  <a:lnTo>
                    <a:pt x="528" y="636"/>
                  </a:lnTo>
                  <a:lnTo>
                    <a:pt x="516" y="642"/>
                  </a:lnTo>
                  <a:lnTo>
                    <a:pt x="516" y="648"/>
                  </a:lnTo>
                  <a:lnTo>
                    <a:pt x="510" y="648"/>
                  </a:lnTo>
                  <a:lnTo>
                    <a:pt x="504" y="654"/>
                  </a:lnTo>
                  <a:lnTo>
                    <a:pt x="492" y="666"/>
                  </a:lnTo>
                  <a:lnTo>
                    <a:pt x="492" y="672"/>
                  </a:lnTo>
                  <a:lnTo>
                    <a:pt x="492" y="684"/>
                  </a:lnTo>
                  <a:lnTo>
                    <a:pt x="486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92" y="702"/>
                  </a:lnTo>
                  <a:lnTo>
                    <a:pt x="486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74" y="720"/>
                  </a:lnTo>
                  <a:lnTo>
                    <a:pt x="480" y="726"/>
                  </a:lnTo>
                  <a:lnTo>
                    <a:pt x="474" y="726"/>
                  </a:lnTo>
                  <a:lnTo>
                    <a:pt x="474" y="738"/>
                  </a:lnTo>
                  <a:lnTo>
                    <a:pt x="474" y="744"/>
                  </a:lnTo>
                  <a:lnTo>
                    <a:pt x="474" y="750"/>
                  </a:lnTo>
                  <a:lnTo>
                    <a:pt x="480" y="750"/>
                  </a:lnTo>
                  <a:lnTo>
                    <a:pt x="480" y="756"/>
                  </a:lnTo>
                  <a:lnTo>
                    <a:pt x="492" y="762"/>
                  </a:lnTo>
                  <a:lnTo>
                    <a:pt x="498" y="774"/>
                  </a:lnTo>
                  <a:lnTo>
                    <a:pt x="498" y="780"/>
                  </a:lnTo>
                  <a:lnTo>
                    <a:pt x="504" y="786"/>
                  </a:lnTo>
                  <a:lnTo>
                    <a:pt x="510" y="792"/>
                  </a:lnTo>
                  <a:lnTo>
                    <a:pt x="504" y="798"/>
                  </a:lnTo>
                  <a:lnTo>
                    <a:pt x="504" y="804"/>
                  </a:lnTo>
                  <a:lnTo>
                    <a:pt x="504" y="810"/>
                  </a:lnTo>
                  <a:lnTo>
                    <a:pt x="498" y="822"/>
                  </a:lnTo>
                  <a:lnTo>
                    <a:pt x="492" y="828"/>
                  </a:lnTo>
                  <a:lnTo>
                    <a:pt x="492" y="834"/>
                  </a:lnTo>
                  <a:lnTo>
                    <a:pt x="486" y="840"/>
                  </a:lnTo>
                  <a:lnTo>
                    <a:pt x="480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74" y="858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876"/>
                  </a:lnTo>
                  <a:lnTo>
                    <a:pt x="456" y="894"/>
                  </a:lnTo>
                  <a:lnTo>
                    <a:pt x="450" y="894"/>
                  </a:lnTo>
                  <a:lnTo>
                    <a:pt x="444" y="900"/>
                  </a:lnTo>
                  <a:lnTo>
                    <a:pt x="444" y="894"/>
                  </a:lnTo>
                  <a:lnTo>
                    <a:pt x="438" y="894"/>
                  </a:lnTo>
                  <a:lnTo>
                    <a:pt x="432" y="900"/>
                  </a:lnTo>
                  <a:lnTo>
                    <a:pt x="432" y="906"/>
                  </a:lnTo>
                  <a:lnTo>
                    <a:pt x="420" y="906"/>
                  </a:lnTo>
                  <a:lnTo>
                    <a:pt x="420" y="912"/>
                  </a:lnTo>
                  <a:lnTo>
                    <a:pt x="420" y="918"/>
                  </a:lnTo>
                  <a:lnTo>
                    <a:pt x="426" y="918"/>
                  </a:lnTo>
                  <a:lnTo>
                    <a:pt x="426" y="924"/>
                  </a:lnTo>
                  <a:lnTo>
                    <a:pt x="426" y="930"/>
                  </a:lnTo>
                  <a:lnTo>
                    <a:pt x="420" y="930"/>
                  </a:lnTo>
                  <a:lnTo>
                    <a:pt x="414" y="936"/>
                  </a:lnTo>
                  <a:lnTo>
                    <a:pt x="414" y="942"/>
                  </a:lnTo>
                  <a:lnTo>
                    <a:pt x="414" y="948"/>
                  </a:lnTo>
                  <a:lnTo>
                    <a:pt x="414" y="954"/>
                  </a:lnTo>
                  <a:lnTo>
                    <a:pt x="426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44" y="972"/>
                  </a:lnTo>
                  <a:lnTo>
                    <a:pt x="444" y="978"/>
                  </a:lnTo>
                  <a:lnTo>
                    <a:pt x="450" y="978"/>
                  </a:lnTo>
                  <a:lnTo>
                    <a:pt x="450" y="984"/>
                  </a:lnTo>
                  <a:lnTo>
                    <a:pt x="456" y="990"/>
                  </a:lnTo>
                  <a:lnTo>
                    <a:pt x="456" y="996"/>
                  </a:lnTo>
                  <a:lnTo>
                    <a:pt x="462" y="1008"/>
                  </a:lnTo>
                  <a:lnTo>
                    <a:pt x="468" y="1008"/>
                  </a:lnTo>
                  <a:lnTo>
                    <a:pt x="468" y="1002"/>
                  </a:lnTo>
                  <a:lnTo>
                    <a:pt x="474" y="1008"/>
                  </a:lnTo>
                  <a:lnTo>
                    <a:pt x="480" y="1002"/>
                  </a:lnTo>
                  <a:lnTo>
                    <a:pt x="486" y="1008"/>
                  </a:lnTo>
                  <a:lnTo>
                    <a:pt x="486" y="1014"/>
                  </a:lnTo>
                  <a:lnTo>
                    <a:pt x="492" y="1014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86" y="1026"/>
                  </a:lnTo>
                  <a:lnTo>
                    <a:pt x="492" y="1026"/>
                  </a:lnTo>
                  <a:lnTo>
                    <a:pt x="486" y="1026"/>
                  </a:lnTo>
                  <a:lnTo>
                    <a:pt x="492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5" name="Freeform 30">
              <a:extLst>
                <a:ext uri="{FF2B5EF4-FFF2-40B4-BE49-F238E27FC236}">
                  <a16:creationId xmlns:a16="http://schemas.microsoft.com/office/drawing/2014/main" id="{85C7B827-0C1A-4D72-AEBD-F01CFE7EC12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3645" y="3904484"/>
              <a:ext cx="559048" cy="111825"/>
            </a:xfrm>
            <a:custGeom>
              <a:avLst/>
              <a:gdLst>
                <a:gd name="T0" fmla="*/ 69 w 1056"/>
                <a:gd name="T1" fmla="*/ 7 h 210"/>
                <a:gd name="T2" fmla="*/ 63 w 1056"/>
                <a:gd name="T3" fmla="*/ 5 h 210"/>
                <a:gd name="T4" fmla="*/ 57 w 1056"/>
                <a:gd name="T5" fmla="*/ 5 h 210"/>
                <a:gd name="T6" fmla="*/ 54 w 1056"/>
                <a:gd name="T7" fmla="*/ 6 h 210"/>
                <a:gd name="T8" fmla="*/ 51 w 1056"/>
                <a:gd name="T9" fmla="*/ 7 h 210"/>
                <a:gd name="T10" fmla="*/ 46 w 1056"/>
                <a:gd name="T11" fmla="*/ 9 h 210"/>
                <a:gd name="T12" fmla="*/ 42 w 1056"/>
                <a:gd name="T13" fmla="*/ 8 h 210"/>
                <a:gd name="T14" fmla="*/ 42 w 1056"/>
                <a:gd name="T15" fmla="*/ 5 h 210"/>
                <a:gd name="T16" fmla="*/ 41 w 1056"/>
                <a:gd name="T17" fmla="*/ 7 h 210"/>
                <a:gd name="T18" fmla="*/ 38 w 1056"/>
                <a:gd name="T19" fmla="*/ 10 h 210"/>
                <a:gd name="T20" fmla="*/ 37 w 1056"/>
                <a:gd name="T21" fmla="*/ 12 h 210"/>
                <a:gd name="T22" fmla="*/ 37 w 1056"/>
                <a:gd name="T23" fmla="*/ 15 h 210"/>
                <a:gd name="T24" fmla="*/ 37 w 1056"/>
                <a:gd name="T25" fmla="*/ 16 h 210"/>
                <a:gd name="T26" fmla="*/ 38 w 1056"/>
                <a:gd name="T27" fmla="*/ 16 h 210"/>
                <a:gd name="T28" fmla="*/ 34 w 1056"/>
                <a:gd name="T29" fmla="*/ 16 h 210"/>
                <a:gd name="T30" fmla="*/ 26 w 1056"/>
                <a:gd name="T31" fmla="*/ 16 h 210"/>
                <a:gd name="T32" fmla="*/ 20 w 1056"/>
                <a:gd name="T33" fmla="*/ 17 h 210"/>
                <a:gd name="T34" fmla="*/ 13 w 1056"/>
                <a:gd name="T35" fmla="*/ 17 h 210"/>
                <a:gd name="T36" fmla="*/ 6 w 1056"/>
                <a:gd name="T37" fmla="*/ 17 h 210"/>
                <a:gd name="T38" fmla="*/ 1 w 1056"/>
                <a:gd name="T39" fmla="*/ 18 h 210"/>
                <a:gd name="T40" fmla="*/ 3 w 1056"/>
                <a:gd name="T41" fmla="*/ 14 h 210"/>
                <a:gd name="T42" fmla="*/ 8 w 1056"/>
                <a:gd name="T43" fmla="*/ 15 h 210"/>
                <a:gd name="T44" fmla="*/ 11 w 1056"/>
                <a:gd name="T45" fmla="*/ 12 h 210"/>
                <a:gd name="T46" fmla="*/ 26 w 1056"/>
                <a:gd name="T47" fmla="*/ 10 h 210"/>
                <a:gd name="T48" fmla="*/ 29 w 1056"/>
                <a:gd name="T49" fmla="*/ 5 h 210"/>
                <a:gd name="T50" fmla="*/ 34 w 1056"/>
                <a:gd name="T51" fmla="*/ 1 h 210"/>
                <a:gd name="T52" fmla="*/ 41 w 1056"/>
                <a:gd name="T53" fmla="*/ 3 h 210"/>
                <a:gd name="T54" fmla="*/ 73 w 1056"/>
                <a:gd name="T55" fmla="*/ 1 h 210"/>
                <a:gd name="T56" fmla="*/ 75 w 1056"/>
                <a:gd name="T57" fmla="*/ 4 h 210"/>
                <a:gd name="T58" fmla="*/ 85 w 1056"/>
                <a:gd name="T59" fmla="*/ 15 h 210"/>
                <a:gd name="T60" fmla="*/ 91 w 1056"/>
                <a:gd name="T61" fmla="*/ 18 h 210"/>
                <a:gd name="T62" fmla="*/ 85 w 1056"/>
                <a:gd name="T63" fmla="*/ 18 h 210"/>
                <a:gd name="T64" fmla="*/ 79 w 1056"/>
                <a:gd name="T65" fmla="*/ 16 h 210"/>
                <a:gd name="T66" fmla="*/ 74 w 1056"/>
                <a:gd name="T67" fmla="*/ 16 h 210"/>
                <a:gd name="T68" fmla="*/ 69 w 1056"/>
                <a:gd name="T69" fmla="*/ 15 h 210"/>
                <a:gd name="T70" fmla="*/ 65 w 1056"/>
                <a:gd name="T71" fmla="*/ 14 h 210"/>
                <a:gd name="T72" fmla="*/ 59 w 1056"/>
                <a:gd name="T73" fmla="*/ 15 h 210"/>
                <a:gd name="T74" fmla="*/ 54 w 1056"/>
                <a:gd name="T75" fmla="*/ 15 h 210"/>
                <a:gd name="T76" fmla="*/ 49 w 1056"/>
                <a:gd name="T77" fmla="*/ 15 h 210"/>
                <a:gd name="T78" fmla="*/ 42 w 1056"/>
                <a:gd name="T79" fmla="*/ 15 h 210"/>
                <a:gd name="T80" fmla="*/ 38 w 1056"/>
                <a:gd name="T81" fmla="*/ 16 h 210"/>
                <a:gd name="T82" fmla="*/ 41 w 1056"/>
                <a:gd name="T83" fmla="*/ 14 h 210"/>
                <a:gd name="T84" fmla="*/ 42 w 1056"/>
                <a:gd name="T85" fmla="*/ 13 h 210"/>
                <a:gd name="T86" fmla="*/ 45 w 1056"/>
                <a:gd name="T87" fmla="*/ 13 h 210"/>
                <a:gd name="T88" fmla="*/ 48 w 1056"/>
                <a:gd name="T89" fmla="*/ 12 h 210"/>
                <a:gd name="T90" fmla="*/ 51 w 1056"/>
                <a:gd name="T91" fmla="*/ 11 h 210"/>
                <a:gd name="T92" fmla="*/ 54 w 1056"/>
                <a:gd name="T93" fmla="*/ 9 h 210"/>
                <a:gd name="T94" fmla="*/ 57 w 1056"/>
                <a:gd name="T95" fmla="*/ 8 h 210"/>
                <a:gd name="T96" fmla="*/ 60 w 1056"/>
                <a:gd name="T97" fmla="*/ 5 h 210"/>
                <a:gd name="T98" fmla="*/ 65 w 1056"/>
                <a:gd name="T99" fmla="*/ 5 h 210"/>
                <a:gd name="T100" fmla="*/ 72 w 1056"/>
                <a:gd name="T101" fmla="*/ 7 h 210"/>
                <a:gd name="T102" fmla="*/ 77 w 1056"/>
                <a:gd name="T103" fmla="*/ 11 h 210"/>
                <a:gd name="T104" fmla="*/ 69 w 1056"/>
                <a:gd name="T105" fmla="*/ 10 h 210"/>
                <a:gd name="T106" fmla="*/ 72 w 1056"/>
                <a:gd name="T107" fmla="*/ 12 h 210"/>
                <a:gd name="T108" fmla="*/ 78 w 1056"/>
                <a:gd name="T109" fmla="*/ 15 h 210"/>
                <a:gd name="T110" fmla="*/ 84 w 1056"/>
                <a:gd name="T111" fmla="*/ 14 h 210"/>
                <a:gd name="T112" fmla="*/ 84 w 1056"/>
                <a:gd name="T113" fmla="*/ 14 h 210"/>
                <a:gd name="T114" fmla="*/ 78 w 1056"/>
                <a:gd name="T115" fmla="*/ 13 h 210"/>
                <a:gd name="T116" fmla="*/ 76 w 1056"/>
                <a:gd name="T117" fmla="*/ 14 h 210"/>
                <a:gd name="T118" fmla="*/ 38 w 1056"/>
                <a:gd name="T119" fmla="*/ 12 h 210"/>
                <a:gd name="T120" fmla="*/ 41 w 1056"/>
                <a:gd name="T121" fmla="*/ 12 h 210"/>
                <a:gd name="T122" fmla="*/ 40 w 1056"/>
                <a:gd name="T123" fmla="*/ 14 h 2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6"/>
                <a:gd name="T187" fmla="*/ 0 h 210"/>
                <a:gd name="T188" fmla="*/ 1056 w 1056"/>
                <a:gd name="T189" fmla="*/ 210 h 21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6" h="210">
                  <a:moveTo>
                    <a:pt x="870" y="90"/>
                  </a:moveTo>
                  <a:lnTo>
                    <a:pt x="864" y="90"/>
                  </a:lnTo>
                  <a:lnTo>
                    <a:pt x="852" y="84"/>
                  </a:lnTo>
                  <a:lnTo>
                    <a:pt x="846" y="84"/>
                  </a:lnTo>
                  <a:lnTo>
                    <a:pt x="846" y="78"/>
                  </a:lnTo>
                  <a:lnTo>
                    <a:pt x="840" y="78"/>
                  </a:lnTo>
                  <a:lnTo>
                    <a:pt x="834" y="78"/>
                  </a:lnTo>
                  <a:lnTo>
                    <a:pt x="834" y="72"/>
                  </a:lnTo>
                  <a:lnTo>
                    <a:pt x="804" y="78"/>
                  </a:lnTo>
                  <a:lnTo>
                    <a:pt x="798" y="78"/>
                  </a:lnTo>
                  <a:lnTo>
                    <a:pt x="792" y="72"/>
                  </a:lnTo>
                  <a:lnTo>
                    <a:pt x="780" y="60"/>
                  </a:lnTo>
                  <a:lnTo>
                    <a:pt x="768" y="54"/>
                  </a:lnTo>
                  <a:lnTo>
                    <a:pt x="756" y="54"/>
                  </a:lnTo>
                  <a:lnTo>
                    <a:pt x="750" y="54"/>
                  </a:lnTo>
                  <a:lnTo>
                    <a:pt x="750" y="48"/>
                  </a:lnTo>
                  <a:lnTo>
                    <a:pt x="744" y="48"/>
                  </a:lnTo>
                  <a:lnTo>
                    <a:pt x="738" y="48"/>
                  </a:lnTo>
                  <a:lnTo>
                    <a:pt x="732" y="48"/>
                  </a:lnTo>
                  <a:lnTo>
                    <a:pt x="732" y="54"/>
                  </a:lnTo>
                  <a:lnTo>
                    <a:pt x="726" y="48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48"/>
                  </a:lnTo>
                  <a:lnTo>
                    <a:pt x="702" y="48"/>
                  </a:lnTo>
                  <a:lnTo>
                    <a:pt x="696" y="48"/>
                  </a:lnTo>
                  <a:lnTo>
                    <a:pt x="684" y="48"/>
                  </a:lnTo>
                  <a:lnTo>
                    <a:pt x="678" y="48"/>
                  </a:lnTo>
                  <a:lnTo>
                    <a:pt x="672" y="48"/>
                  </a:lnTo>
                  <a:lnTo>
                    <a:pt x="666" y="54"/>
                  </a:lnTo>
                  <a:lnTo>
                    <a:pt x="660" y="54"/>
                  </a:lnTo>
                  <a:lnTo>
                    <a:pt x="660" y="48"/>
                  </a:lnTo>
                  <a:lnTo>
                    <a:pt x="654" y="48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42" y="54"/>
                  </a:lnTo>
                  <a:lnTo>
                    <a:pt x="63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30" y="66"/>
                  </a:lnTo>
                  <a:lnTo>
                    <a:pt x="624" y="66"/>
                  </a:lnTo>
                  <a:lnTo>
                    <a:pt x="618" y="66"/>
                  </a:lnTo>
                  <a:lnTo>
                    <a:pt x="618" y="72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6" y="84"/>
                  </a:lnTo>
                  <a:lnTo>
                    <a:pt x="600" y="84"/>
                  </a:lnTo>
                  <a:lnTo>
                    <a:pt x="594" y="90"/>
                  </a:lnTo>
                  <a:lnTo>
                    <a:pt x="588" y="90"/>
                  </a:lnTo>
                  <a:lnTo>
                    <a:pt x="588" y="84"/>
                  </a:lnTo>
                  <a:lnTo>
                    <a:pt x="582" y="84"/>
                  </a:lnTo>
                  <a:lnTo>
                    <a:pt x="576" y="84"/>
                  </a:lnTo>
                  <a:lnTo>
                    <a:pt x="570" y="84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58" y="96"/>
                  </a:lnTo>
                  <a:lnTo>
                    <a:pt x="552" y="96"/>
                  </a:lnTo>
                  <a:lnTo>
                    <a:pt x="546" y="102"/>
                  </a:lnTo>
                  <a:lnTo>
                    <a:pt x="540" y="102"/>
                  </a:lnTo>
                  <a:lnTo>
                    <a:pt x="534" y="102"/>
                  </a:lnTo>
                  <a:lnTo>
                    <a:pt x="528" y="102"/>
                  </a:lnTo>
                  <a:lnTo>
                    <a:pt x="528" y="108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16" y="102"/>
                  </a:lnTo>
                  <a:lnTo>
                    <a:pt x="510" y="102"/>
                  </a:lnTo>
                  <a:lnTo>
                    <a:pt x="504" y="102"/>
                  </a:lnTo>
                  <a:lnTo>
                    <a:pt x="498" y="102"/>
                  </a:lnTo>
                  <a:lnTo>
                    <a:pt x="498" y="96"/>
                  </a:lnTo>
                  <a:lnTo>
                    <a:pt x="492" y="96"/>
                  </a:lnTo>
                  <a:lnTo>
                    <a:pt x="492" y="90"/>
                  </a:lnTo>
                  <a:lnTo>
                    <a:pt x="492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498" y="66"/>
                  </a:lnTo>
                  <a:lnTo>
                    <a:pt x="504" y="60"/>
                  </a:lnTo>
                  <a:lnTo>
                    <a:pt x="498" y="60"/>
                  </a:lnTo>
                  <a:lnTo>
                    <a:pt x="498" y="54"/>
                  </a:lnTo>
                  <a:lnTo>
                    <a:pt x="492" y="54"/>
                  </a:lnTo>
                  <a:lnTo>
                    <a:pt x="492" y="60"/>
                  </a:lnTo>
                  <a:lnTo>
                    <a:pt x="486" y="60"/>
                  </a:lnTo>
                  <a:lnTo>
                    <a:pt x="486" y="66"/>
                  </a:lnTo>
                  <a:lnTo>
                    <a:pt x="480" y="66"/>
                  </a:lnTo>
                  <a:lnTo>
                    <a:pt x="474" y="72"/>
                  </a:lnTo>
                  <a:lnTo>
                    <a:pt x="474" y="66"/>
                  </a:lnTo>
                  <a:lnTo>
                    <a:pt x="474" y="72"/>
                  </a:lnTo>
                  <a:lnTo>
                    <a:pt x="468" y="72"/>
                  </a:lnTo>
                  <a:lnTo>
                    <a:pt x="468" y="78"/>
                  </a:lnTo>
                  <a:lnTo>
                    <a:pt x="468" y="84"/>
                  </a:lnTo>
                  <a:lnTo>
                    <a:pt x="462" y="90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0" y="84"/>
                  </a:lnTo>
                  <a:lnTo>
                    <a:pt x="450" y="90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44" y="102"/>
                  </a:lnTo>
                  <a:lnTo>
                    <a:pt x="444" y="108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38" y="126"/>
                  </a:lnTo>
                  <a:lnTo>
                    <a:pt x="438" y="132"/>
                  </a:lnTo>
                  <a:lnTo>
                    <a:pt x="438" y="138"/>
                  </a:lnTo>
                  <a:lnTo>
                    <a:pt x="438" y="144"/>
                  </a:lnTo>
                  <a:lnTo>
                    <a:pt x="432" y="144"/>
                  </a:lnTo>
                  <a:lnTo>
                    <a:pt x="432" y="150"/>
                  </a:lnTo>
                  <a:lnTo>
                    <a:pt x="432" y="144"/>
                  </a:lnTo>
                  <a:lnTo>
                    <a:pt x="426" y="144"/>
                  </a:lnTo>
                  <a:lnTo>
                    <a:pt x="426" y="150"/>
                  </a:lnTo>
                  <a:lnTo>
                    <a:pt x="426" y="156"/>
                  </a:lnTo>
                  <a:lnTo>
                    <a:pt x="432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2"/>
                  </a:lnTo>
                  <a:lnTo>
                    <a:pt x="432" y="168"/>
                  </a:lnTo>
                  <a:lnTo>
                    <a:pt x="426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44" y="168"/>
                  </a:lnTo>
                  <a:lnTo>
                    <a:pt x="444" y="174"/>
                  </a:lnTo>
                  <a:lnTo>
                    <a:pt x="444" y="180"/>
                  </a:lnTo>
                  <a:lnTo>
                    <a:pt x="444" y="186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2" y="192"/>
                  </a:lnTo>
                  <a:lnTo>
                    <a:pt x="426" y="192"/>
                  </a:lnTo>
                  <a:lnTo>
                    <a:pt x="420" y="186"/>
                  </a:lnTo>
                  <a:lnTo>
                    <a:pt x="414" y="186"/>
                  </a:lnTo>
                  <a:lnTo>
                    <a:pt x="408" y="186"/>
                  </a:lnTo>
                  <a:lnTo>
                    <a:pt x="402" y="186"/>
                  </a:lnTo>
                  <a:lnTo>
                    <a:pt x="396" y="186"/>
                  </a:lnTo>
                  <a:lnTo>
                    <a:pt x="390" y="186"/>
                  </a:lnTo>
                  <a:lnTo>
                    <a:pt x="384" y="186"/>
                  </a:lnTo>
                  <a:lnTo>
                    <a:pt x="378" y="186"/>
                  </a:lnTo>
                  <a:lnTo>
                    <a:pt x="372" y="186"/>
                  </a:lnTo>
                  <a:lnTo>
                    <a:pt x="354" y="186"/>
                  </a:lnTo>
                  <a:lnTo>
                    <a:pt x="342" y="186"/>
                  </a:lnTo>
                  <a:lnTo>
                    <a:pt x="324" y="186"/>
                  </a:lnTo>
                  <a:lnTo>
                    <a:pt x="312" y="186"/>
                  </a:lnTo>
                  <a:lnTo>
                    <a:pt x="306" y="186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82" y="186"/>
                  </a:lnTo>
                  <a:lnTo>
                    <a:pt x="270" y="186"/>
                  </a:lnTo>
                  <a:lnTo>
                    <a:pt x="264" y="186"/>
                  </a:lnTo>
                  <a:lnTo>
                    <a:pt x="258" y="192"/>
                  </a:lnTo>
                  <a:lnTo>
                    <a:pt x="258" y="186"/>
                  </a:lnTo>
                  <a:lnTo>
                    <a:pt x="246" y="186"/>
                  </a:lnTo>
                  <a:lnTo>
                    <a:pt x="240" y="186"/>
                  </a:lnTo>
                  <a:lnTo>
                    <a:pt x="234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2"/>
                  </a:lnTo>
                  <a:lnTo>
                    <a:pt x="204" y="192"/>
                  </a:lnTo>
                  <a:lnTo>
                    <a:pt x="198" y="192"/>
                  </a:lnTo>
                  <a:lnTo>
                    <a:pt x="192" y="192"/>
                  </a:lnTo>
                  <a:lnTo>
                    <a:pt x="180" y="192"/>
                  </a:lnTo>
                  <a:lnTo>
                    <a:pt x="168" y="192"/>
                  </a:lnTo>
                  <a:lnTo>
                    <a:pt x="162" y="192"/>
                  </a:lnTo>
                  <a:lnTo>
                    <a:pt x="150" y="192"/>
                  </a:lnTo>
                  <a:lnTo>
                    <a:pt x="138" y="192"/>
                  </a:lnTo>
                  <a:lnTo>
                    <a:pt x="132" y="192"/>
                  </a:lnTo>
                  <a:lnTo>
                    <a:pt x="120" y="192"/>
                  </a:lnTo>
                  <a:lnTo>
                    <a:pt x="114" y="192"/>
                  </a:lnTo>
                  <a:lnTo>
                    <a:pt x="108" y="192"/>
                  </a:lnTo>
                  <a:lnTo>
                    <a:pt x="102" y="192"/>
                  </a:lnTo>
                  <a:lnTo>
                    <a:pt x="90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2" y="198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36" y="198"/>
                  </a:lnTo>
                  <a:lnTo>
                    <a:pt x="30" y="204"/>
                  </a:lnTo>
                  <a:lnTo>
                    <a:pt x="24" y="204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6" y="210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54" y="156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56"/>
                  </a:lnTo>
                  <a:lnTo>
                    <a:pt x="78" y="162"/>
                  </a:lnTo>
                  <a:lnTo>
                    <a:pt x="84" y="162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9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0" y="126"/>
                  </a:lnTo>
                  <a:lnTo>
                    <a:pt x="276" y="120"/>
                  </a:lnTo>
                  <a:lnTo>
                    <a:pt x="282" y="120"/>
                  </a:lnTo>
                  <a:lnTo>
                    <a:pt x="300" y="120"/>
                  </a:lnTo>
                  <a:lnTo>
                    <a:pt x="306" y="114"/>
                  </a:lnTo>
                  <a:lnTo>
                    <a:pt x="312" y="108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8"/>
                  </a:lnTo>
                  <a:lnTo>
                    <a:pt x="342" y="30"/>
                  </a:lnTo>
                  <a:lnTo>
                    <a:pt x="342" y="24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8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24"/>
                  </a:lnTo>
                  <a:lnTo>
                    <a:pt x="414" y="30"/>
                  </a:lnTo>
                  <a:lnTo>
                    <a:pt x="420" y="30"/>
                  </a:lnTo>
                  <a:lnTo>
                    <a:pt x="42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74" y="30"/>
                  </a:lnTo>
                  <a:lnTo>
                    <a:pt x="474" y="18"/>
                  </a:lnTo>
                  <a:lnTo>
                    <a:pt x="474" y="12"/>
                  </a:lnTo>
                  <a:lnTo>
                    <a:pt x="480" y="12"/>
                  </a:lnTo>
                  <a:lnTo>
                    <a:pt x="486" y="12"/>
                  </a:lnTo>
                  <a:lnTo>
                    <a:pt x="606" y="12"/>
                  </a:lnTo>
                  <a:lnTo>
                    <a:pt x="630" y="12"/>
                  </a:lnTo>
                  <a:lnTo>
                    <a:pt x="678" y="12"/>
                  </a:lnTo>
                  <a:lnTo>
                    <a:pt x="744" y="12"/>
                  </a:lnTo>
                  <a:lnTo>
                    <a:pt x="774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2" y="6"/>
                  </a:lnTo>
                  <a:lnTo>
                    <a:pt x="888" y="12"/>
                  </a:lnTo>
                  <a:lnTo>
                    <a:pt x="888" y="24"/>
                  </a:lnTo>
                  <a:lnTo>
                    <a:pt x="888" y="30"/>
                  </a:lnTo>
                  <a:lnTo>
                    <a:pt x="882" y="36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64" y="42"/>
                  </a:lnTo>
                  <a:lnTo>
                    <a:pt x="864" y="48"/>
                  </a:lnTo>
                  <a:lnTo>
                    <a:pt x="858" y="54"/>
                  </a:lnTo>
                  <a:lnTo>
                    <a:pt x="864" y="54"/>
                  </a:lnTo>
                  <a:lnTo>
                    <a:pt x="870" y="72"/>
                  </a:lnTo>
                  <a:lnTo>
                    <a:pt x="870" y="78"/>
                  </a:lnTo>
                  <a:lnTo>
                    <a:pt x="870" y="84"/>
                  </a:lnTo>
                  <a:lnTo>
                    <a:pt x="870" y="90"/>
                  </a:lnTo>
                  <a:close/>
                  <a:moveTo>
                    <a:pt x="972" y="156"/>
                  </a:moveTo>
                  <a:lnTo>
                    <a:pt x="972" y="162"/>
                  </a:lnTo>
                  <a:lnTo>
                    <a:pt x="978" y="162"/>
                  </a:lnTo>
                  <a:lnTo>
                    <a:pt x="984" y="168"/>
                  </a:lnTo>
                  <a:lnTo>
                    <a:pt x="990" y="168"/>
                  </a:lnTo>
                  <a:lnTo>
                    <a:pt x="990" y="162"/>
                  </a:lnTo>
                  <a:lnTo>
                    <a:pt x="1008" y="162"/>
                  </a:lnTo>
                  <a:lnTo>
                    <a:pt x="1020" y="162"/>
                  </a:lnTo>
                  <a:lnTo>
                    <a:pt x="1038" y="162"/>
                  </a:lnTo>
                  <a:lnTo>
                    <a:pt x="1056" y="168"/>
                  </a:lnTo>
                  <a:lnTo>
                    <a:pt x="1056" y="180"/>
                  </a:lnTo>
                  <a:lnTo>
                    <a:pt x="1056" y="186"/>
                  </a:lnTo>
                  <a:lnTo>
                    <a:pt x="1056" y="204"/>
                  </a:lnTo>
                  <a:lnTo>
                    <a:pt x="1050" y="204"/>
                  </a:lnTo>
                  <a:lnTo>
                    <a:pt x="1044" y="204"/>
                  </a:lnTo>
                  <a:lnTo>
                    <a:pt x="1038" y="204"/>
                  </a:lnTo>
                  <a:lnTo>
                    <a:pt x="1032" y="204"/>
                  </a:lnTo>
                  <a:lnTo>
                    <a:pt x="1026" y="204"/>
                  </a:lnTo>
                  <a:lnTo>
                    <a:pt x="1020" y="204"/>
                  </a:lnTo>
                  <a:lnTo>
                    <a:pt x="1014" y="204"/>
                  </a:lnTo>
                  <a:lnTo>
                    <a:pt x="1008" y="204"/>
                  </a:lnTo>
                  <a:lnTo>
                    <a:pt x="1002" y="204"/>
                  </a:lnTo>
                  <a:lnTo>
                    <a:pt x="996" y="204"/>
                  </a:lnTo>
                  <a:lnTo>
                    <a:pt x="984" y="204"/>
                  </a:lnTo>
                  <a:lnTo>
                    <a:pt x="984" y="198"/>
                  </a:lnTo>
                  <a:lnTo>
                    <a:pt x="978" y="198"/>
                  </a:lnTo>
                  <a:lnTo>
                    <a:pt x="966" y="198"/>
                  </a:lnTo>
                  <a:lnTo>
                    <a:pt x="948" y="192"/>
                  </a:lnTo>
                  <a:lnTo>
                    <a:pt x="942" y="192"/>
                  </a:lnTo>
                  <a:lnTo>
                    <a:pt x="936" y="192"/>
                  </a:lnTo>
                  <a:lnTo>
                    <a:pt x="924" y="192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12" y="186"/>
                  </a:lnTo>
                  <a:lnTo>
                    <a:pt x="906" y="186"/>
                  </a:lnTo>
                  <a:lnTo>
                    <a:pt x="900" y="186"/>
                  </a:lnTo>
                  <a:lnTo>
                    <a:pt x="894" y="186"/>
                  </a:lnTo>
                  <a:lnTo>
                    <a:pt x="888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76" y="180"/>
                  </a:lnTo>
                  <a:lnTo>
                    <a:pt x="870" y="180"/>
                  </a:lnTo>
                  <a:lnTo>
                    <a:pt x="864" y="180"/>
                  </a:lnTo>
                  <a:lnTo>
                    <a:pt x="858" y="180"/>
                  </a:lnTo>
                  <a:lnTo>
                    <a:pt x="852" y="180"/>
                  </a:lnTo>
                  <a:lnTo>
                    <a:pt x="852" y="174"/>
                  </a:lnTo>
                  <a:lnTo>
                    <a:pt x="846" y="174"/>
                  </a:lnTo>
                  <a:lnTo>
                    <a:pt x="840" y="174"/>
                  </a:lnTo>
                  <a:lnTo>
                    <a:pt x="834" y="174"/>
                  </a:lnTo>
                  <a:lnTo>
                    <a:pt x="828" y="174"/>
                  </a:lnTo>
                  <a:lnTo>
                    <a:pt x="822" y="174"/>
                  </a:lnTo>
                  <a:lnTo>
                    <a:pt x="816" y="174"/>
                  </a:lnTo>
                  <a:lnTo>
                    <a:pt x="810" y="168"/>
                  </a:lnTo>
                  <a:lnTo>
                    <a:pt x="804" y="168"/>
                  </a:lnTo>
                  <a:lnTo>
                    <a:pt x="798" y="168"/>
                  </a:lnTo>
                  <a:lnTo>
                    <a:pt x="792" y="168"/>
                  </a:lnTo>
                  <a:lnTo>
                    <a:pt x="786" y="168"/>
                  </a:lnTo>
                  <a:lnTo>
                    <a:pt x="780" y="168"/>
                  </a:lnTo>
                  <a:lnTo>
                    <a:pt x="774" y="168"/>
                  </a:lnTo>
                  <a:lnTo>
                    <a:pt x="768" y="168"/>
                  </a:lnTo>
                  <a:lnTo>
                    <a:pt x="762" y="168"/>
                  </a:lnTo>
                  <a:lnTo>
                    <a:pt x="756" y="168"/>
                  </a:lnTo>
                  <a:lnTo>
                    <a:pt x="750" y="168"/>
                  </a:lnTo>
                  <a:lnTo>
                    <a:pt x="750" y="162"/>
                  </a:lnTo>
                  <a:lnTo>
                    <a:pt x="744" y="168"/>
                  </a:lnTo>
                  <a:lnTo>
                    <a:pt x="738" y="162"/>
                  </a:lnTo>
                  <a:lnTo>
                    <a:pt x="732" y="162"/>
                  </a:lnTo>
                  <a:lnTo>
                    <a:pt x="726" y="162"/>
                  </a:lnTo>
                  <a:lnTo>
                    <a:pt x="714" y="162"/>
                  </a:lnTo>
                  <a:lnTo>
                    <a:pt x="702" y="162"/>
                  </a:lnTo>
                  <a:lnTo>
                    <a:pt x="696" y="168"/>
                  </a:lnTo>
                  <a:lnTo>
                    <a:pt x="690" y="168"/>
                  </a:lnTo>
                  <a:lnTo>
                    <a:pt x="684" y="168"/>
                  </a:lnTo>
                  <a:lnTo>
                    <a:pt x="678" y="168"/>
                  </a:lnTo>
                  <a:lnTo>
                    <a:pt x="672" y="168"/>
                  </a:lnTo>
                  <a:lnTo>
                    <a:pt x="666" y="168"/>
                  </a:lnTo>
                  <a:lnTo>
                    <a:pt x="660" y="168"/>
                  </a:lnTo>
                  <a:lnTo>
                    <a:pt x="654" y="168"/>
                  </a:lnTo>
                  <a:lnTo>
                    <a:pt x="648" y="174"/>
                  </a:lnTo>
                  <a:lnTo>
                    <a:pt x="648" y="168"/>
                  </a:lnTo>
                  <a:lnTo>
                    <a:pt x="642" y="174"/>
                  </a:lnTo>
                  <a:lnTo>
                    <a:pt x="636" y="174"/>
                  </a:lnTo>
                  <a:lnTo>
                    <a:pt x="630" y="174"/>
                  </a:lnTo>
                  <a:lnTo>
                    <a:pt x="624" y="174"/>
                  </a:lnTo>
                  <a:lnTo>
                    <a:pt x="618" y="174"/>
                  </a:lnTo>
                  <a:lnTo>
                    <a:pt x="612" y="174"/>
                  </a:lnTo>
                  <a:lnTo>
                    <a:pt x="606" y="174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74"/>
                  </a:lnTo>
                  <a:lnTo>
                    <a:pt x="582" y="174"/>
                  </a:lnTo>
                  <a:lnTo>
                    <a:pt x="576" y="174"/>
                  </a:lnTo>
                  <a:lnTo>
                    <a:pt x="570" y="174"/>
                  </a:lnTo>
                  <a:lnTo>
                    <a:pt x="564" y="174"/>
                  </a:lnTo>
                  <a:lnTo>
                    <a:pt x="558" y="174"/>
                  </a:lnTo>
                  <a:lnTo>
                    <a:pt x="552" y="174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0" y="174"/>
                  </a:lnTo>
                  <a:lnTo>
                    <a:pt x="504" y="174"/>
                  </a:lnTo>
                  <a:lnTo>
                    <a:pt x="498" y="174"/>
                  </a:lnTo>
                  <a:lnTo>
                    <a:pt x="492" y="174"/>
                  </a:lnTo>
                  <a:lnTo>
                    <a:pt x="486" y="174"/>
                  </a:lnTo>
                  <a:lnTo>
                    <a:pt x="480" y="174"/>
                  </a:lnTo>
                  <a:lnTo>
                    <a:pt x="474" y="174"/>
                  </a:lnTo>
                  <a:lnTo>
                    <a:pt x="468" y="174"/>
                  </a:lnTo>
                  <a:lnTo>
                    <a:pt x="462" y="174"/>
                  </a:lnTo>
                  <a:lnTo>
                    <a:pt x="456" y="174"/>
                  </a:lnTo>
                  <a:lnTo>
                    <a:pt x="450" y="180"/>
                  </a:lnTo>
                  <a:lnTo>
                    <a:pt x="450" y="186"/>
                  </a:lnTo>
                  <a:lnTo>
                    <a:pt x="450" y="192"/>
                  </a:lnTo>
                  <a:lnTo>
                    <a:pt x="444" y="192"/>
                  </a:lnTo>
                  <a:lnTo>
                    <a:pt x="444" y="186"/>
                  </a:lnTo>
                  <a:lnTo>
                    <a:pt x="444" y="180"/>
                  </a:lnTo>
                  <a:lnTo>
                    <a:pt x="450" y="180"/>
                  </a:lnTo>
                  <a:lnTo>
                    <a:pt x="450" y="174"/>
                  </a:lnTo>
                  <a:lnTo>
                    <a:pt x="450" y="168"/>
                  </a:lnTo>
                  <a:lnTo>
                    <a:pt x="450" y="162"/>
                  </a:lnTo>
                  <a:lnTo>
                    <a:pt x="456" y="162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62" y="162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74" y="168"/>
                  </a:lnTo>
                  <a:lnTo>
                    <a:pt x="480" y="168"/>
                  </a:lnTo>
                  <a:lnTo>
                    <a:pt x="480" y="162"/>
                  </a:lnTo>
                  <a:lnTo>
                    <a:pt x="480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56"/>
                  </a:lnTo>
                  <a:lnTo>
                    <a:pt x="492" y="156"/>
                  </a:lnTo>
                  <a:lnTo>
                    <a:pt x="486" y="150"/>
                  </a:lnTo>
                  <a:lnTo>
                    <a:pt x="492" y="150"/>
                  </a:lnTo>
                  <a:lnTo>
                    <a:pt x="498" y="150"/>
                  </a:lnTo>
                  <a:lnTo>
                    <a:pt x="498" y="156"/>
                  </a:lnTo>
                  <a:lnTo>
                    <a:pt x="504" y="156"/>
                  </a:lnTo>
                  <a:lnTo>
                    <a:pt x="504" y="162"/>
                  </a:lnTo>
                  <a:lnTo>
                    <a:pt x="504" y="156"/>
                  </a:lnTo>
                  <a:lnTo>
                    <a:pt x="510" y="156"/>
                  </a:lnTo>
                  <a:lnTo>
                    <a:pt x="510" y="150"/>
                  </a:lnTo>
                  <a:lnTo>
                    <a:pt x="516" y="150"/>
                  </a:lnTo>
                  <a:lnTo>
                    <a:pt x="522" y="150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28" y="150"/>
                  </a:lnTo>
                  <a:lnTo>
                    <a:pt x="528" y="144"/>
                  </a:lnTo>
                  <a:lnTo>
                    <a:pt x="540" y="144"/>
                  </a:lnTo>
                  <a:lnTo>
                    <a:pt x="546" y="144"/>
                  </a:lnTo>
                  <a:lnTo>
                    <a:pt x="552" y="138"/>
                  </a:lnTo>
                  <a:lnTo>
                    <a:pt x="552" y="132"/>
                  </a:lnTo>
                  <a:lnTo>
                    <a:pt x="558" y="132"/>
                  </a:lnTo>
                  <a:lnTo>
                    <a:pt x="558" y="126"/>
                  </a:lnTo>
                  <a:lnTo>
                    <a:pt x="558" y="120"/>
                  </a:lnTo>
                  <a:lnTo>
                    <a:pt x="558" y="114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6" y="114"/>
                  </a:lnTo>
                  <a:lnTo>
                    <a:pt x="582" y="120"/>
                  </a:lnTo>
                  <a:lnTo>
                    <a:pt x="588" y="120"/>
                  </a:lnTo>
                  <a:lnTo>
                    <a:pt x="588" y="126"/>
                  </a:lnTo>
                  <a:lnTo>
                    <a:pt x="588" y="120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600" y="114"/>
                  </a:lnTo>
                  <a:lnTo>
                    <a:pt x="606" y="114"/>
                  </a:lnTo>
                  <a:lnTo>
                    <a:pt x="618" y="114"/>
                  </a:lnTo>
                  <a:lnTo>
                    <a:pt x="618" y="108"/>
                  </a:lnTo>
                  <a:lnTo>
                    <a:pt x="624" y="108"/>
                  </a:lnTo>
                  <a:lnTo>
                    <a:pt x="624" y="102"/>
                  </a:lnTo>
                  <a:lnTo>
                    <a:pt x="630" y="102"/>
                  </a:lnTo>
                  <a:lnTo>
                    <a:pt x="636" y="102"/>
                  </a:lnTo>
                  <a:lnTo>
                    <a:pt x="636" y="108"/>
                  </a:lnTo>
                  <a:lnTo>
                    <a:pt x="642" y="108"/>
                  </a:lnTo>
                  <a:lnTo>
                    <a:pt x="648" y="108"/>
                  </a:lnTo>
                  <a:lnTo>
                    <a:pt x="648" y="102"/>
                  </a:lnTo>
                  <a:lnTo>
                    <a:pt x="654" y="102"/>
                  </a:lnTo>
                  <a:lnTo>
                    <a:pt x="660" y="102"/>
                  </a:lnTo>
                  <a:lnTo>
                    <a:pt x="660" y="96"/>
                  </a:lnTo>
                  <a:lnTo>
                    <a:pt x="660" y="90"/>
                  </a:lnTo>
                  <a:lnTo>
                    <a:pt x="666" y="90"/>
                  </a:lnTo>
                  <a:lnTo>
                    <a:pt x="666" y="84"/>
                  </a:lnTo>
                  <a:lnTo>
                    <a:pt x="672" y="78"/>
                  </a:lnTo>
                  <a:lnTo>
                    <a:pt x="672" y="72"/>
                  </a:lnTo>
                  <a:lnTo>
                    <a:pt x="678" y="66"/>
                  </a:lnTo>
                  <a:lnTo>
                    <a:pt x="684" y="66"/>
                  </a:lnTo>
                  <a:lnTo>
                    <a:pt x="684" y="60"/>
                  </a:lnTo>
                  <a:lnTo>
                    <a:pt x="690" y="60"/>
                  </a:lnTo>
                  <a:lnTo>
                    <a:pt x="696" y="60"/>
                  </a:lnTo>
                  <a:lnTo>
                    <a:pt x="702" y="60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66"/>
                  </a:lnTo>
                  <a:lnTo>
                    <a:pt x="720" y="66"/>
                  </a:lnTo>
                  <a:lnTo>
                    <a:pt x="720" y="60"/>
                  </a:lnTo>
                  <a:lnTo>
                    <a:pt x="726" y="60"/>
                  </a:lnTo>
                  <a:lnTo>
                    <a:pt x="732" y="60"/>
                  </a:lnTo>
                  <a:lnTo>
                    <a:pt x="744" y="60"/>
                  </a:lnTo>
                  <a:lnTo>
                    <a:pt x="750" y="54"/>
                  </a:lnTo>
                  <a:lnTo>
                    <a:pt x="762" y="60"/>
                  </a:lnTo>
                  <a:lnTo>
                    <a:pt x="774" y="60"/>
                  </a:lnTo>
                  <a:lnTo>
                    <a:pt x="774" y="66"/>
                  </a:lnTo>
                  <a:lnTo>
                    <a:pt x="780" y="72"/>
                  </a:lnTo>
                  <a:lnTo>
                    <a:pt x="786" y="78"/>
                  </a:lnTo>
                  <a:lnTo>
                    <a:pt x="792" y="78"/>
                  </a:lnTo>
                  <a:lnTo>
                    <a:pt x="810" y="84"/>
                  </a:lnTo>
                  <a:lnTo>
                    <a:pt x="822" y="84"/>
                  </a:lnTo>
                  <a:lnTo>
                    <a:pt x="828" y="84"/>
                  </a:lnTo>
                  <a:lnTo>
                    <a:pt x="834" y="84"/>
                  </a:lnTo>
                  <a:lnTo>
                    <a:pt x="840" y="96"/>
                  </a:lnTo>
                  <a:lnTo>
                    <a:pt x="846" y="102"/>
                  </a:lnTo>
                  <a:lnTo>
                    <a:pt x="858" y="102"/>
                  </a:lnTo>
                  <a:lnTo>
                    <a:pt x="864" y="102"/>
                  </a:lnTo>
                  <a:lnTo>
                    <a:pt x="876" y="96"/>
                  </a:lnTo>
                  <a:lnTo>
                    <a:pt x="882" y="102"/>
                  </a:lnTo>
                  <a:lnTo>
                    <a:pt x="888" y="108"/>
                  </a:lnTo>
                  <a:lnTo>
                    <a:pt x="888" y="114"/>
                  </a:lnTo>
                  <a:lnTo>
                    <a:pt x="888" y="120"/>
                  </a:lnTo>
                  <a:lnTo>
                    <a:pt x="888" y="126"/>
                  </a:lnTo>
                  <a:lnTo>
                    <a:pt x="888" y="132"/>
                  </a:lnTo>
                  <a:lnTo>
                    <a:pt x="882" y="132"/>
                  </a:lnTo>
                  <a:lnTo>
                    <a:pt x="864" y="126"/>
                  </a:lnTo>
                  <a:lnTo>
                    <a:pt x="852" y="120"/>
                  </a:lnTo>
                  <a:lnTo>
                    <a:pt x="840" y="126"/>
                  </a:lnTo>
                  <a:lnTo>
                    <a:pt x="834" y="120"/>
                  </a:lnTo>
                  <a:lnTo>
                    <a:pt x="828" y="120"/>
                  </a:lnTo>
                  <a:lnTo>
                    <a:pt x="822" y="120"/>
                  </a:lnTo>
                  <a:lnTo>
                    <a:pt x="810" y="114"/>
                  </a:lnTo>
                  <a:lnTo>
                    <a:pt x="804" y="114"/>
                  </a:lnTo>
                  <a:lnTo>
                    <a:pt x="798" y="114"/>
                  </a:lnTo>
                  <a:lnTo>
                    <a:pt x="792" y="114"/>
                  </a:lnTo>
                  <a:lnTo>
                    <a:pt x="786" y="114"/>
                  </a:lnTo>
                  <a:lnTo>
                    <a:pt x="780" y="114"/>
                  </a:lnTo>
                  <a:lnTo>
                    <a:pt x="780" y="126"/>
                  </a:lnTo>
                  <a:lnTo>
                    <a:pt x="786" y="126"/>
                  </a:lnTo>
                  <a:lnTo>
                    <a:pt x="798" y="126"/>
                  </a:lnTo>
                  <a:lnTo>
                    <a:pt x="804" y="126"/>
                  </a:lnTo>
                  <a:lnTo>
                    <a:pt x="822" y="132"/>
                  </a:lnTo>
                  <a:lnTo>
                    <a:pt x="828" y="132"/>
                  </a:lnTo>
                  <a:lnTo>
                    <a:pt x="834" y="132"/>
                  </a:lnTo>
                  <a:lnTo>
                    <a:pt x="840" y="144"/>
                  </a:lnTo>
                  <a:lnTo>
                    <a:pt x="846" y="150"/>
                  </a:lnTo>
                  <a:lnTo>
                    <a:pt x="858" y="150"/>
                  </a:lnTo>
                  <a:lnTo>
                    <a:pt x="864" y="162"/>
                  </a:lnTo>
                  <a:lnTo>
                    <a:pt x="870" y="162"/>
                  </a:lnTo>
                  <a:lnTo>
                    <a:pt x="876" y="168"/>
                  </a:lnTo>
                  <a:lnTo>
                    <a:pt x="888" y="168"/>
                  </a:lnTo>
                  <a:lnTo>
                    <a:pt x="894" y="174"/>
                  </a:lnTo>
                  <a:lnTo>
                    <a:pt x="900" y="174"/>
                  </a:lnTo>
                  <a:lnTo>
                    <a:pt x="918" y="174"/>
                  </a:lnTo>
                  <a:lnTo>
                    <a:pt x="924" y="174"/>
                  </a:lnTo>
                  <a:lnTo>
                    <a:pt x="930" y="174"/>
                  </a:lnTo>
                  <a:lnTo>
                    <a:pt x="942" y="174"/>
                  </a:lnTo>
                  <a:lnTo>
                    <a:pt x="954" y="174"/>
                  </a:lnTo>
                  <a:lnTo>
                    <a:pt x="960" y="174"/>
                  </a:lnTo>
                  <a:lnTo>
                    <a:pt x="966" y="174"/>
                  </a:lnTo>
                  <a:lnTo>
                    <a:pt x="966" y="168"/>
                  </a:lnTo>
                  <a:lnTo>
                    <a:pt x="972" y="162"/>
                  </a:lnTo>
                  <a:lnTo>
                    <a:pt x="972" y="156"/>
                  </a:lnTo>
                  <a:close/>
                  <a:moveTo>
                    <a:pt x="942" y="174"/>
                  </a:moveTo>
                  <a:lnTo>
                    <a:pt x="936" y="174"/>
                  </a:lnTo>
                  <a:lnTo>
                    <a:pt x="936" y="168"/>
                  </a:lnTo>
                  <a:lnTo>
                    <a:pt x="936" y="162"/>
                  </a:lnTo>
                  <a:lnTo>
                    <a:pt x="948" y="162"/>
                  </a:lnTo>
                  <a:lnTo>
                    <a:pt x="948" y="156"/>
                  </a:lnTo>
                  <a:lnTo>
                    <a:pt x="954" y="156"/>
                  </a:lnTo>
                  <a:lnTo>
                    <a:pt x="960" y="156"/>
                  </a:lnTo>
                  <a:lnTo>
                    <a:pt x="966" y="156"/>
                  </a:lnTo>
                  <a:lnTo>
                    <a:pt x="966" y="162"/>
                  </a:lnTo>
                  <a:lnTo>
                    <a:pt x="960" y="168"/>
                  </a:lnTo>
                  <a:lnTo>
                    <a:pt x="942" y="174"/>
                  </a:lnTo>
                  <a:close/>
                  <a:moveTo>
                    <a:pt x="900" y="168"/>
                  </a:moveTo>
                  <a:lnTo>
                    <a:pt x="894" y="168"/>
                  </a:lnTo>
                  <a:lnTo>
                    <a:pt x="882" y="156"/>
                  </a:lnTo>
                  <a:lnTo>
                    <a:pt x="882" y="150"/>
                  </a:lnTo>
                  <a:lnTo>
                    <a:pt x="888" y="156"/>
                  </a:lnTo>
                  <a:lnTo>
                    <a:pt x="894" y="150"/>
                  </a:lnTo>
                  <a:lnTo>
                    <a:pt x="900" y="150"/>
                  </a:lnTo>
                  <a:lnTo>
                    <a:pt x="906" y="150"/>
                  </a:lnTo>
                  <a:lnTo>
                    <a:pt x="912" y="150"/>
                  </a:lnTo>
                  <a:lnTo>
                    <a:pt x="924" y="150"/>
                  </a:lnTo>
                  <a:lnTo>
                    <a:pt x="924" y="156"/>
                  </a:lnTo>
                  <a:lnTo>
                    <a:pt x="924" y="162"/>
                  </a:lnTo>
                  <a:lnTo>
                    <a:pt x="924" y="168"/>
                  </a:lnTo>
                  <a:lnTo>
                    <a:pt x="918" y="168"/>
                  </a:lnTo>
                  <a:lnTo>
                    <a:pt x="906" y="168"/>
                  </a:lnTo>
                  <a:lnTo>
                    <a:pt x="900" y="168"/>
                  </a:lnTo>
                  <a:close/>
                  <a:moveTo>
                    <a:pt x="870" y="162"/>
                  </a:moveTo>
                  <a:lnTo>
                    <a:pt x="876" y="162"/>
                  </a:lnTo>
                  <a:lnTo>
                    <a:pt x="876" y="168"/>
                  </a:lnTo>
                  <a:lnTo>
                    <a:pt x="870" y="168"/>
                  </a:lnTo>
                  <a:lnTo>
                    <a:pt x="870" y="162"/>
                  </a:lnTo>
                  <a:close/>
                  <a:moveTo>
                    <a:pt x="450" y="162"/>
                  </a:moveTo>
                  <a:lnTo>
                    <a:pt x="444" y="162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2" y="150"/>
                  </a:lnTo>
                  <a:lnTo>
                    <a:pt x="438" y="150"/>
                  </a:lnTo>
                  <a:lnTo>
                    <a:pt x="438" y="144"/>
                  </a:lnTo>
                  <a:lnTo>
                    <a:pt x="438" y="150"/>
                  </a:lnTo>
                  <a:lnTo>
                    <a:pt x="444" y="150"/>
                  </a:lnTo>
                  <a:lnTo>
                    <a:pt x="450" y="150"/>
                  </a:lnTo>
                  <a:lnTo>
                    <a:pt x="450" y="156"/>
                  </a:lnTo>
                  <a:lnTo>
                    <a:pt x="456" y="156"/>
                  </a:lnTo>
                  <a:lnTo>
                    <a:pt x="456" y="150"/>
                  </a:lnTo>
                  <a:lnTo>
                    <a:pt x="456" y="156"/>
                  </a:lnTo>
                  <a:lnTo>
                    <a:pt x="462" y="150"/>
                  </a:lnTo>
                  <a:lnTo>
                    <a:pt x="462" y="144"/>
                  </a:lnTo>
                  <a:lnTo>
                    <a:pt x="468" y="144"/>
                  </a:lnTo>
                  <a:lnTo>
                    <a:pt x="468" y="150"/>
                  </a:lnTo>
                  <a:lnTo>
                    <a:pt x="474" y="150"/>
                  </a:lnTo>
                  <a:lnTo>
                    <a:pt x="480" y="150"/>
                  </a:lnTo>
                  <a:lnTo>
                    <a:pt x="480" y="156"/>
                  </a:lnTo>
                  <a:lnTo>
                    <a:pt x="480" y="162"/>
                  </a:lnTo>
                  <a:lnTo>
                    <a:pt x="474" y="162"/>
                  </a:lnTo>
                  <a:lnTo>
                    <a:pt x="474" y="168"/>
                  </a:lnTo>
                  <a:lnTo>
                    <a:pt x="474" y="162"/>
                  </a:lnTo>
                  <a:lnTo>
                    <a:pt x="468" y="162"/>
                  </a:lnTo>
                  <a:lnTo>
                    <a:pt x="462" y="162"/>
                  </a:lnTo>
                  <a:lnTo>
                    <a:pt x="456" y="162"/>
                  </a:lnTo>
                  <a:lnTo>
                    <a:pt x="450" y="16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6" name="Freeform 31">
              <a:extLst>
                <a:ext uri="{FF2B5EF4-FFF2-40B4-BE49-F238E27FC236}">
                  <a16:creationId xmlns:a16="http://schemas.microsoft.com/office/drawing/2014/main" id="{0989F057-38E8-4AA5-8B73-27F6355E235C}"/>
                </a:ext>
              </a:extLst>
            </p:cNvPr>
            <p:cNvSpPr>
              <a:spLocks/>
            </p:cNvSpPr>
            <p:nvPr/>
          </p:nvSpPr>
          <p:spPr bwMode="gray">
            <a:xfrm>
              <a:off x="792590" y="2728084"/>
              <a:ext cx="1182944" cy="740282"/>
            </a:xfrm>
            <a:custGeom>
              <a:avLst/>
              <a:gdLst>
                <a:gd name="T0" fmla="*/ 138 w 2226"/>
                <a:gd name="T1" fmla="*/ 121 h 1392"/>
                <a:gd name="T2" fmla="*/ 133 w 2226"/>
                <a:gd name="T3" fmla="*/ 119 h 1392"/>
                <a:gd name="T4" fmla="*/ 128 w 2226"/>
                <a:gd name="T5" fmla="*/ 117 h 1392"/>
                <a:gd name="T6" fmla="*/ 119 w 2226"/>
                <a:gd name="T7" fmla="*/ 116 h 1392"/>
                <a:gd name="T8" fmla="*/ 101 w 2226"/>
                <a:gd name="T9" fmla="*/ 116 h 1392"/>
                <a:gd name="T10" fmla="*/ 94 w 2226"/>
                <a:gd name="T11" fmla="*/ 104 h 1392"/>
                <a:gd name="T12" fmla="*/ 82 w 2226"/>
                <a:gd name="T13" fmla="*/ 83 h 1392"/>
                <a:gd name="T14" fmla="*/ 87 w 2226"/>
                <a:gd name="T15" fmla="*/ 69 h 1392"/>
                <a:gd name="T16" fmla="*/ 82 w 2226"/>
                <a:gd name="T17" fmla="*/ 65 h 1392"/>
                <a:gd name="T18" fmla="*/ 59 w 2226"/>
                <a:gd name="T19" fmla="*/ 57 h 1392"/>
                <a:gd name="T20" fmla="*/ 29 w 2226"/>
                <a:gd name="T21" fmla="*/ 77 h 1392"/>
                <a:gd name="T22" fmla="*/ 20 w 2226"/>
                <a:gd name="T23" fmla="*/ 78 h 1392"/>
                <a:gd name="T24" fmla="*/ 15 w 2226"/>
                <a:gd name="T25" fmla="*/ 82 h 1392"/>
                <a:gd name="T26" fmla="*/ 8 w 2226"/>
                <a:gd name="T27" fmla="*/ 86 h 1392"/>
                <a:gd name="T28" fmla="*/ 1 w 2226"/>
                <a:gd name="T29" fmla="*/ 88 h 1392"/>
                <a:gd name="T30" fmla="*/ 0 w 2226"/>
                <a:gd name="T31" fmla="*/ 82 h 1392"/>
                <a:gd name="T32" fmla="*/ 0 w 2226"/>
                <a:gd name="T33" fmla="*/ 76 h 1392"/>
                <a:gd name="T34" fmla="*/ 2 w 2226"/>
                <a:gd name="T35" fmla="*/ 70 h 1392"/>
                <a:gd name="T36" fmla="*/ 3 w 2226"/>
                <a:gd name="T37" fmla="*/ 65 h 1392"/>
                <a:gd name="T38" fmla="*/ 2 w 2226"/>
                <a:gd name="T39" fmla="*/ 63 h 1392"/>
                <a:gd name="T40" fmla="*/ 9 w 2226"/>
                <a:gd name="T41" fmla="*/ 60 h 1392"/>
                <a:gd name="T42" fmla="*/ 17 w 2226"/>
                <a:gd name="T43" fmla="*/ 59 h 1392"/>
                <a:gd name="T44" fmla="*/ 22 w 2226"/>
                <a:gd name="T45" fmla="*/ 51 h 1392"/>
                <a:gd name="T46" fmla="*/ 23 w 2226"/>
                <a:gd name="T47" fmla="*/ 43 h 1392"/>
                <a:gd name="T48" fmla="*/ 27 w 2226"/>
                <a:gd name="T49" fmla="*/ 34 h 1392"/>
                <a:gd name="T50" fmla="*/ 30 w 2226"/>
                <a:gd name="T51" fmla="*/ 27 h 1392"/>
                <a:gd name="T52" fmla="*/ 33 w 2226"/>
                <a:gd name="T53" fmla="*/ 22 h 1392"/>
                <a:gd name="T54" fmla="*/ 42 w 2226"/>
                <a:gd name="T55" fmla="*/ 17 h 1392"/>
                <a:gd name="T56" fmla="*/ 47 w 2226"/>
                <a:gd name="T57" fmla="*/ 14 h 1392"/>
                <a:gd name="T58" fmla="*/ 49 w 2226"/>
                <a:gd name="T59" fmla="*/ 5 h 1392"/>
                <a:gd name="T60" fmla="*/ 53 w 2226"/>
                <a:gd name="T61" fmla="*/ 0 h 1392"/>
                <a:gd name="T62" fmla="*/ 55 w 2226"/>
                <a:gd name="T63" fmla="*/ 4 h 1392"/>
                <a:gd name="T64" fmla="*/ 59 w 2226"/>
                <a:gd name="T65" fmla="*/ 7 h 1392"/>
                <a:gd name="T66" fmla="*/ 63 w 2226"/>
                <a:gd name="T67" fmla="*/ 7 h 1392"/>
                <a:gd name="T68" fmla="*/ 66 w 2226"/>
                <a:gd name="T69" fmla="*/ 9 h 1392"/>
                <a:gd name="T70" fmla="*/ 67 w 2226"/>
                <a:gd name="T71" fmla="*/ 12 h 1392"/>
                <a:gd name="T72" fmla="*/ 67 w 2226"/>
                <a:gd name="T73" fmla="*/ 13 h 1392"/>
                <a:gd name="T74" fmla="*/ 70 w 2226"/>
                <a:gd name="T75" fmla="*/ 15 h 1392"/>
                <a:gd name="T76" fmla="*/ 74 w 2226"/>
                <a:gd name="T77" fmla="*/ 17 h 1392"/>
                <a:gd name="T78" fmla="*/ 78 w 2226"/>
                <a:gd name="T79" fmla="*/ 18 h 1392"/>
                <a:gd name="T80" fmla="*/ 97 w 2226"/>
                <a:gd name="T81" fmla="*/ 40 h 1392"/>
                <a:gd name="T82" fmla="*/ 102 w 2226"/>
                <a:gd name="T83" fmla="*/ 44 h 1392"/>
                <a:gd name="T84" fmla="*/ 110 w 2226"/>
                <a:gd name="T85" fmla="*/ 49 h 1392"/>
                <a:gd name="T86" fmla="*/ 113 w 2226"/>
                <a:gd name="T87" fmla="*/ 53 h 1392"/>
                <a:gd name="T88" fmla="*/ 118 w 2226"/>
                <a:gd name="T89" fmla="*/ 57 h 1392"/>
                <a:gd name="T90" fmla="*/ 124 w 2226"/>
                <a:gd name="T91" fmla="*/ 54 h 1392"/>
                <a:gd name="T92" fmla="*/ 133 w 2226"/>
                <a:gd name="T93" fmla="*/ 58 h 1392"/>
                <a:gd name="T94" fmla="*/ 137 w 2226"/>
                <a:gd name="T95" fmla="*/ 64 h 1392"/>
                <a:gd name="T96" fmla="*/ 145 w 2226"/>
                <a:gd name="T97" fmla="*/ 65 h 1392"/>
                <a:gd name="T98" fmla="*/ 152 w 2226"/>
                <a:gd name="T99" fmla="*/ 67 h 1392"/>
                <a:gd name="T100" fmla="*/ 161 w 2226"/>
                <a:gd name="T101" fmla="*/ 72 h 1392"/>
                <a:gd name="T102" fmla="*/ 168 w 2226"/>
                <a:gd name="T103" fmla="*/ 76 h 1392"/>
                <a:gd name="T104" fmla="*/ 177 w 2226"/>
                <a:gd name="T105" fmla="*/ 78 h 1392"/>
                <a:gd name="T106" fmla="*/ 184 w 2226"/>
                <a:gd name="T107" fmla="*/ 78 h 1392"/>
                <a:gd name="T108" fmla="*/ 190 w 2226"/>
                <a:gd name="T109" fmla="*/ 81 h 1392"/>
                <a:gd name="T110" fmla="*/ 192 w 2226"/>
                <a:gd name="T111" fmla="*/ 86 h 1392"/>
                <a:gd name="T112" fmla="*/ 187 w 2226"/>
                <a:gd name="T113" fmla="*/ 99 h 1392"/>
                <a:gd name="T114" fmla="*/ 165 w 2226"/>
                <a:gd name="T115" fmla="*/ 97 h 1392"/>
                <a:gd name="T116" fmla="*/ 155 w 2226"/>
                <a:gd name="T117" fmla="*/ 92 h 1392"/>
                <a:gd name="T118" fmla="*/ 146 w 2226"/>
                <a:gd name="T119" fmla="*/ 102 h 1392"/>
                <a:gd name="T120" fmla="*/ 149 w 2226"/>
                <a:gd name="T121" fmla="*/ 106 h 1392"/>
                <a:gd name="T122" fmla="*/ 151 w 2226"/>
                <a:gd name="T123" fmla="*/ 108 h 1392"/>
                <a:gd name="T124" fmla="*/ 157 w 2226"/>
                <a:gd name="T125" fmla="*/ 113 h 13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1392"/>
                <a:gd name="T191" fmla="*/ 2226 w 2226"/>
                <a:gd name="T192" fmla="*/ 1392 h 13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1392">
                  <a:moveTo>
                    <a:pt x="1782" y="1326"/>
                  </a:moveTo>
                  <a:lnTo>
                    <a:pt x="1776" y="1332"/>
                  </a:lnTo>
                  <a:lnTo>
                    <a:pt x="1692" y="1338"/>
                  </a:lnTo>
                  <a:lnTo>
                    <a:pt x="1680" y="1386"/>
                  </a:lnTo>
                  <a:lnTo>
                    <a:pt x="1674" y="1392"/>
                  </a:lnTo>
                  <a:lnTo>
                    <a:pt x="1638" y="1392"/>
                  </a:lnTo>
                  <a:lnTo>
                    <a:pt x="1620" y="1392"/>
                  </a:lnTo>
                  <a:lnTo>
                    <a:pt x="1614" y="1392"/>
                  </a:lnTo>
                  <a:lnTo>
                    <a:pt x="1608" y="1386"/>
                  </a:lnTo>
                  <a:lnTo>
                    <a:pt x="1584" y="1386"/>
                  </a:lnTo>
                  <a:lnTo>
                    <a:pt x="1578" y="1386"/>
                  </a:lnTo>
                  <a:lnTo>
                    <a:pt x="1572" y="1380"/>
                  </a:lnTo>
                  <a:lnTo>
                    <a:pt x="1578" y="1356"/>
                  </a:lnTo>
                  <a:lnTo>
                    <a:pt x="1572" y="1356"/>
                  </a:lnTo>
                  <a:lnTo>
                    <a:pt x="1560" y="1350"/>
                  </a:lnTo>
                  <a:lnTo>
                    <a:pt x="1554" y="1350"/>
                  </a:lnTo>
                  <a:lnTo>
                    <a:pt x="1542" y="1350"/>
                  </a:lnTo>
                  <a:lnTo>
                    <a:pt x="1530" y="1350"/>
                  </a:lnTo>
                  <a:lnTo>
                    <a:pt x="1524" y="1356"/>
                  </a:lnTo>
                  <a:lnTo>
                    <a:pt x="1524" y="1362"/>
                  </a:lnTo>
                  <a:lnTo>
                    <a:pt x="1512" y="1374"/>
                  </a:lnTo>
                  <a:lnTo>
                    <a:pt x="1506" y="1374"/>
                  </a:lnTo>
                  <a:lnTo>
                    <a:pt x="1500" y="1368"/>
                  </a:lnTo>
                  <a:lnTo>
                    <a:pt x="1500" y="1362"/>
                  </a:lnTo>
                  <a:lnTo>
                    <a:pt x="1488" y="1362"/>
                  </a:lnTo>
                  <a:lnTo>
                    <a:pt x="1482" y="1356"/>
                  </a:lnTo>
                  <a:lnTo>
                    <a:pt x="1482" y="1350"/>
                  </a:lnTo>
                  <a:lnTo>
                    <a:pt x="1476" y="1350"/>
                  </a:lnTo>
                  <a:lnTo>
                    <a:pt x="1470" y="1344"/>
                  </a:lnTo>
                  <a:lnTo>
                    <a:pt x="1464" y="1344"/>
                  </a:lnTo>
                  <a:lnTo>
                    <a:pt x="1452" y="1350"/>
                  </a:lnTo>
                  <a:lnTo>
                    <a:pt x="1452" y="1356"/>
                  </a:lnTo>
                  <a:lnTo>
                    <a:pt x="1440" y="1356"/>
                  </a:lnTo>
                  <a:lnTo>
                    <a:pt x="1434" y="1344"/>
                  </a:lnTo>
                  <a:lnTo>
                    <a:pt x="1422" y="1332"/>
                  </a:lnTo>
                  <a:lnTo>
                    <a:pt x="1416" y="1326"/>
                  </a:lnTo>
                  <a:lnTo>
                    <a:pt x="1404" y="1320"/>
                  </a:lnTo>
                  <a:lnTo>
                    <a:pt x="1404" y="1314"/>
                  </a:lnTo>
                  <a:lnTo>
                    <a:pt x="1374" y="1308"/>
                  </a:lnTo>
                  <a:lnTo>
                    <a:pt x="1368" y="1326"/>
                  </a:lnTo>
                  <a:lnTo>
                    <a:pt x="1344" y="1338"/>
                  </a:lnTo>
                  <a:lnTo>
                    <a:pt x="1326" y="1332"/>
                  </a:lnTo>
                  <a:lnTo>
                    <a:pt x="1302" y="1332"/>
                  </a:lnTo>
                  <a:lnTo>
                    <a:pt x="1278" y="1338"/>
                  </a:lnTo>
                  <a:lnTo>
                    <a:pt x="1236" y="1338"/>
                  </a:lnTo>
                  <a:lnTo>
                    <a:pt x="1224" y="1338"/>
                  </a:lnTo>
                  <a:lnTo>
                    <a:pt x="1224" y="1326"/>
                  </a:lnTo>
                  <a:lnTo>
                    <a:pt x="1206" y="1326"/>
                  </a:lnTo>
                  <a:lnTo>
                    <a:pt x="1170" y="1326"/>
                  </a:lnTo>
                  <a:lnTo>
                    <a:pt x="1152" y="1326"/>
                  </a:lnTo>
                  <a:lnTo>
                    <a:pt x="1140" y="1314"/>
                  </a:lnTo>
                  <a:lnTo>
                    <a:pt x="1134" y="1296"/>
                  </a:lnTo>
                  <a:lnTo>
                    <a:pt x="1134" y="1284"/>
                  </a:lnTo>
                  <a:lnTo>
                    <a:pt x="1128" y="1254"/>
                  </a:lnTo>
                  <a:lnTo>
                    <a:pt x="1128" y="1242"/>
                  </a:lnTo>
                  <a:lnTo>
                    <a:pt x="1122" y="1230"/>
                  </a:lnTo>
                  <a:lnTo>
                    <a:pt x="1104" y="1218"/>
                  </a:lnTo>
                  <a:lnTo>
                    <a:pt x="1104" y="1212"/>
                  </a:lnTo>
                  <a:lnTo>
                    <a:pt x="1092" y="1206"/>
                  </a:lnTo>
                  <a:lnTo>
                    <a:pt x="1080" y="1194"/>
                  </a:lnTo>
                  <a:lnTo>
                    <a:pt x="1068" y="1176"/>
                  </a:lnTo>
                  <a:lnTo>
                    <a:pt x="1050" y="1152"/>
                  </a:lnTo>
                  <a:lnTo>
                    <a:pt x="1020" y="1098"/>
                  </a:lnTo>
                  <a:lnTo>
                    <a:pt x="978" y="1026"/>
                  </a:lnTo>
                  <a:lnTo>
                    <a:pt x="978" y="1014"/>
                  </a:lnTo>
                  <a:lnTo>
                    <a:pt x="972" y="1014"/>
                  </a:lnTo>
                  <a:lnTo>
                    <a:pt x="972" y="1008"/>
                  </a:lnTo>
                  <a:lnTo>
                    <a:pt x="978" y="1002"/>
                  </a:lnTo>
                  <a:lnTo>
                    <a:pt x="960" y="966"/>
                  </a:lnTo>
                  <a:lnTo>
                    <a:pt x="948" y="954"/>
                  </a:lnTo>
                  <a:lnTo>
                    <a:pt x="948" y="936"/>
                  </a:lnTo>
                  <a:lnTo>
                    <a:pt x="936" y="900"/>
                  </a:lnTo>
                  <a:lnTo>
                    <a:pt x="942" y="876"/>
                  </a:lnTo>
                  <a:lnTo>
                    <a:pt x="942" y="834"/>
                  </a:lnTo>
                  <a:lnTo>
                    <a:pt x="960" y="828"/>
                  </a:lnTo>
                  <a:lnTo>
                    <a:pt x="966" y="816"/>
                  </a:lnTo>
                  <a:lnTo>
                    <a:pt x="972" y="810"/>
                  </a:lnTo>
                  <a:lnTo>
                    <a:pt x="978" y="804"/>
                  </a:lnTo>
                  <a:lnTo>
                    <a:pt x="996" y="798"/>
                  </a:lnTo>
                  <a:lnTo>
                    <a:pt x="996" y="792"/>
                  </a:lnTo>
                  <a:lnTo>
                    <a:pt x="1014" y="780"/>
                  </a:lnTo>
                  <a:lnTo>
                    <a:pt x="1026" y="768"/>
                  </a:lnTo>
                  <a:lnTo>
                    <a:pt x="1032" y="762"/>
                  </a:lnTo>
                  <a:lnTo>
                    <a:pt x="1026" y="756"/>
                  </a:lnTo>
                  <a:lnTo>
                    <a:pt x="1014" y="744"/>
                  </a:lnTo>
                  <a:lnTo>
                    <a:pt x="996" y="756"/>
                  </a:lnTo>
                  <a:lnTo>
                    <a:pt x="954" y="768"/>
                  </a:lnTo>
                  <a:lnTo>
                    <a:pt x="942" y="762"/>
                  </a:lnTo>
                  <a:lnTo>
                    <a:pt x="942" y="756"/>
                  </a:lnTo>
                  <a:lnTo>
                    <a:pt x="936" y="750"/>
                  </a:lnTo>
                  <a:lnTo>
                    <a:pt x="846" y="732"/>
                  </a:lnTo>
                  <a:lnTo>
                    <a:pt x="822" y="726"/>
                  </a:lnTo>
                  <a:lnTo>
                    <a:pt x="810" y="714"/>
                  </a:lnTo>
                  <a:lnTo>
                    <a:pt x="792" y="690"/>
                  </a:lnTo>
                  <a:lnTo>
                    <a:pt x="792" y="678"/>
                  </a:lnTo>
                  <a:lnTo>
                    <a:pt x="762" y="642"/>
                  </a:lnTo>
                  <a:lnTo>
                    <a:pt x="750" y="636"/>
                  </a:lnTo>
                  <a:lnTo>
                    <a:pt x="726" y="630"/>
                  </a:lnTo>
                  <a:lnTo>
                    <a:pt x="696" y="642"/>
                  </a:lnTo>
                  <a:lnTo>
                    <a:pt x="678" y="654"/>
                  </a:lnTo>
                  <a:lnTo>
                    <a:pt x="666" y="684"/>
                  </a:lnTo>
                  <a:lnTo>
                    <a:pt x="660" y="726"/>
                  </a:lnTo>
                  <a:lnTo>
                    <a:pt x="606" y="756"/>
                  </a:lnTo>
                  <a:lnTo>
                    <a:pt x="558" y="780"/>
                  </a:lnTo>
                  <a:lnTo>
                    <a:pt x="438" y="834"/>
                  </a:lnTo>
                  <a:lnTo>
                    <a:pt x="402" y="846"/>
                  </a:lnTo>
                  <a:lnTo>
                    <a:pt x="372" y="870"/>
                  </a:lnTo>
                  <a:lnTo>
                    <a:pt x="360" y="876"/>
                  </a:lnTo>
                  <a:lnTo>
                    <a:pt x="354" y="876"/>
                  </a:lnTo>
                  <a:lnTo>
                    <a:pt x="330" y="882"/>
                  </a:lnTo>
                  <a:lnTo>
                    <a:pt x="306" y="882"/>
                  </a:lnTo>
                  <a:lnTo>
                    <a:pt x="300" y="876"/>
                  </a:lnTo>
                  <a:lnTo>
                    <a:pt x="294" y="876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76" y="864"/>
                  </a:lnTo>
                  <a:lnTo>
                    <a:pt x="270" y="870"/>
                  </a:lnTo>
                  <a:lnTo>
                    <a:pt x="264" y="870"/>
                  </a:lnTo>
                  <a:lnTo>
                    <a:pt x="240" y="894"/>
                  </a:lnTo>
                  <a:lnTo>
                    <a:pt x="234" y="894"/>
                  </a:lnTo>
                  <a:lnTo>
                    <a:pt x="228" y="900"/>
                  </a:lnTo>
                  <a:lnTo>
                    <a:pt x="222" y="906"/>
                  </a:lnTo>
                  <a:lnTo>
                    <a:pt x="210" y="912"/>
                  </a:lnTo>
                  <a:lnTo>
                    <a:pt x="204" y="912"/>
                  </a:lnTo>
                  <a:lnTo>
                    <a:pt x="198" y="912"/>
                  </a:lnTo>
                  <a:lnTo>
                    <a:pt x="192" y="918"/>
                  </a:lnTo>
                  <a:lnTo>
                    <a:pt x="180" y="918"/>
                  </a:lnTo>
                  <a:lnTo>
                    <a:pt x="174" y="930"/>
                  </a:lnTo>
                  <a:lnTo>
                    <a:pt x="174" y="936"/>
                  </a:lnTo>
                  <a:lnTo>
                    <a:pt x="168" y="942"/>
                  </a:lnTo>
                  <a:lnTo>
                    <a:pt x="162" y="942"/>
                  </a:lnTo>
                  <a:lnTo>
                    <a:pt x="150" y="960"/>
                  </a:lnTo>
                  <a:lnTo>
                    <a:pt x="144" y="966"/>
                  </a:lnTo>
                  <a:lnTo>
                    <a:pt x="138" y="972"/>
                  </a:lnTo>
                  <a:lnTo>
                    <a:pt x="132" y="972"/>
                  </a:lnTo>
                  <a:lnTo>
                    <a:pt x="126" y="984"/>
                  </a:lnTo>
                  <a:lnTo>
                    <a:pt x="120" y="984"/>
                  </a:lnTo>
                  <a:lnTo>
                    <a:pt x="114" y="990"/>
                  </a:lnTo>
                  <a:lnTo>
                    <a:pt x="96" y="990"/>
                  </a:lnTo>
                  <a:lnTo>
                    <a:pt x="90" y="990"/>
                  </a:lnTo>
                  <a:lnTo>
                    <a:pt x="78" y="990"/>
                  </a:lnTo>
                  <a:lnTo>
                    <a:pt x="72" y="990"/>
                  </a:lnTo>
                  <a:lnTo>
                    <a:pt x="60" y="990"/>
                  </a:lnTo>
                  <a:lnTo>
                    <a:pt x="42" y="990"/>
                  </a:lnTo>
                  <a:lnTo>
                    <a:pt x="36" y="996"/>
                  </a:lnTo>
                  <a:lnTo>
                    <a:pt x="30" y="1002"/>
                  </a:lnTo>
                  <a:lnTo>
                    <a:pt x="24" y="1014"/>
                  </a:lnTo>
                  <a:lnTo>
                    <a:pt x="24" y="1020"/>
                  </a:lnTo>
                  <a:lnTo>
                    <a:pt x="18" y="1020"/>
                  </a:lnTo>
                  <a:lnTo>
                    <a:pt x="12" y="1014"/>
                  </a:lnTo>
                  <a:lnTo>
                    <a:pt x="12" y="1008"/>
                  </a:lnTo>
                  <a:lnTo>
                    <a:pt x="12" y="990"/>
                  </a:lnTo>
                  <a:lnTo>
                    <a:pt x="12" y="984"/>
                  </a:lnTo>
                  <a:lnTo>
                    <a:pt x="12" y="972"/>
                  </a:lnTo>
                  <a:lnTo>
                    <a:pt x="12" y="966"/>
                  </a:lnTo>
                  <a:lnTo>
                    <a:pt x="6" y="966"/>
                  </a:lnTo>
                  <a:lnTo>
                    <a:pt x="6" y="960"/>
                  </a:lnTo>
                  <a:lnTo>
                    <a:pt x="6" y="954"/>
                  </a:lnTo>
                  <a:lnTo>
                    <a:pt x="6" y="948"/>
                  </a:lnTo>
                  <a:lnTo>
                    <a:pt x="6" y="942"/>
                  </a:lnTo>
                  <a:lnTo>
                    <a:pt x="12" y="930"/>
                  </a:lnTo>
                  <a:lnTo>
                    <a:pt x="6" y="924"/>
                  </a:lnTo>
                  <a:lnTo>
                    <a:pt x="6" y="918"/>
                  </a:lnTo>
                  <a:lnTo>
                    <a:pt x="6" y="912"/>
                  </a:lnTo>
                  <a:lnTo>
                    <a:pt x="6" y="906"/>
                  </a:lnTo>
                  <a:lnTo>
                    <a:pt x="6" y="900"/>
                  </a:lnTo>
                  <a:lnTo>
                    <a:pt x="0" y="894"/>
                  </a:lnTo>
                  <a:lnTo>
                    <a:pt x="0" y="888"/>
                  </a:lnTo>
                  <a:lnTo>
                    <a:pt x="0" y="882"/>
                  </a:lnTo>
                  <a:lnTo>
                    <a:pt x="6" y="876"/>
                  </a:lnTo>
                  <a:lnTo>
                    <a:pt x="6" y="870"/>
                  </a:lnTo>
                  <a:lnTo>
                    <a:pt x="18" y="864"/>
                  </a:lnTo>
                  <a:lnTo>
                    <a:pt x="18" y="858"/>
                  </a:lnTo>
                  <a:lnTo>
                    <a:pt x="18" y="846"/>
                  </a:lnTo>
                  <a:lnTo>
                    <a:pt x="18" y="834"/>
                  </a:lnTo>
                  <a:lnTo>
                    <a:pt x="18" y="828"/>
                  </a:lnTo>
                  <a:lnTo>
                    <a:pt x="24" y="828"/>
                  </a:lnTo>
                  <a:lnTo>
                    <a:pt x="24" y="810"/>
                  </a:lnTo>
                  <a:lnTo>
                    <a:pt x="24" y="804"/>
                  </a:lnTo>
                  <a:lnTo>
                    <a:pt x="18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24" y="792"/>
                  </a:lnTo>
                  <a:lnTo>
                    <a:pt x="30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6" y="762"/>
                  </a:lnTo>
                  <a:lnTo>
                    <a:pt x="36" y="756"/>
                  </a:lnTo>
                  <a:lnTo>
                    <a:pt x="30" y="756"/>
                  </a:lnTo>
                  <a:lnTo>
                    <a:pt x="30" y="750"/>
                  </a:lnTo>
                  <a:lnTo>
                    <a:pt x="36" y="750"/>
                  </a:lnTo>
                  <a:lnTo>
                    <a:pt x="36" y="744"/>
                  </a:lnTo>
                  <a:lnTo>
                    <a:pt x="30" y="744"/>
                  </a:lnTo>
                  <a:lnTo>
                    <a:pt x="30" y="738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0" y="732"/>
                  </a:lnTo>
                  <a:lnTo>
                    <a:pt x="36" y="726"/>
                  </a:lnTo>
                  <a:lnTo>
                    <a:pt x="30" y="726"/>
                  </a:lnTo>
                  <a:lnTo>
                    <a:pt x="24" y="726"/>
                  </a:lnTo>
                  <a:lnTo>
                    <a:pt x="30" y="720"/>
                  </a:lnTo>
                  <a:lnTo>
                    <a:pt x="30" y="714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696"/>
                  </a:lnTo>
                  <a:lnTo>
                    <a:pt x="66" y="702"/>
                  </a:lnTo>
                  <a:lnTo>
                    <a:pt x="78" y="702"/>
                  </a:lnTo>
                  <a:lnTo>
                    <a:pt x="84" y="702"/>
                  </a:lnTo>
                  <a:lnTo>
                    <a:pt x="96" y="696"/>
                  </a:lnTo>
                  <a:lnTo>
                    <a:pt x="102" y="690"/>
                  </a:lnTo>
                  <a:lnTo>
                    <a:pt x="102" y="684"/>
                  </a:lnTo>
                  <a:lnTo>
                    <a:pt x="114" y="684"/>
                  </a:lnTo>
                  <a:lnTo>
                    <a:pt x="144" y="684"/>
                  </a:lnTo>
                  <a:lnTo>
                    <a:pt x="150" y="690"/>
                  </a:lnTo>
                  <a:lnTo>
                    <a:pt x="162" y="696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6" y="690"/>
                  </a:lnTo>
                  <a:lnTo>
                    <a:pt x="192" y="690"/>
                  </a:lnTo>
                  <a:lnTo>
                    <a:pt x="198" y="684"/>
                  </a:lnTo>
                  <a:lnTo>
                    <a:pt x="204" y="684"/>
                  </a:lnTo>
                  <a:lnTo>
                    <a:pt x="210" y="684"/>
                  </a:lnTo>
                  <a:lnTo>
                    <a:pt x="222" y="678"/>
                  </a:lnTo>
                  <a:lnTo>
                    <a:pt x="228" y="678"/>
                  </a:lnTo>
                  <a:lnTo>
                    <a:pt x="228" y="660"/>
                  </a:lnTo>
                  <a:lnTo>
                    <a:pt x="234" y="642"/>
                  </a:lnTo>
                  <a:lnTo>
                    <a:pt x="246" y="618"/>
                  </a:lnTo>
                  <a:lnTo>
                    <a:pt x="252" y="618"/>
                  </a:lnTo>
                  <a:lnTo>
                    <a:pt x="252" y="600"/>
                  </a:lnTo>
                  <a:lnTo>
                    <a:pt x="252" y="588"/>
                  </a:lnTo>
                  <a:lnTo>
                    <a:pt x="252" y="582"/>
                  </a:lnTo>
                  <a:lnTo>
                    <a:pt x="258" y="576"/>
                  </a:lnTo>
                  <a:lnTo>
                    <a:pt x="270" y="564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70" y="522"/>
                  </a:lnTo>
                  <a:lnTo>
                    <a:pt x="270" y="510"/>
                  </a:lnTo>
                  <a:lnTo>
                    <a:pt x="270" y="498"/>
                  </a:lnTo>
                  <a:lnTo>
                    <a:pt x="258" y="468"/>
                  </a:lnTo>
                  <a:lnTo>
                    <a:pt x="252" y="456"/>
                  </a:lnTo>
                  <a:lnTo>
                    <a:pt x="258" y="444"/>
                  </a:lnTo>
                  <a:lnTo>
                    <a:pt x="264" y="432"/>
                  </a:lnTo>
                  <a:lnTo>
                    <a:pt x="270" y="426"/>
                  </a:lnTo>
                  <a:lnTo>
                    <a:pt x="276" y="420"/>
                  </a:lnTo>
                  <a:lnTo>
                    <a:pt x="288" y="420"/>
                  </a:lnTo>
                  <a:lnTo>
                    <a:pt x="288" y="414"/>
                  </a:lnTo>
                  <a:lnTo>
                    <a:pt x="294" y="414"/>
                  </a:lnTo>
                  <a:lnTo>
                    <a:pt x="306" y="390"/>
                  </a:lnTo>
                  <a:lnTo>
                    <a:pt x="312" y="384"/>
                  </a:lnTo>
                  <a:lnTo>
                    <a:pt x="318" y="378"/>
                  </a:lnTo>
                  <a:lnTo>
                    <a:pt x="318" y="372"/>
                  </a:lnTo>
                  <a:lnTo>
                    <a:pt x="324" y="366"/>
                  </a:lnTo>
                  <a:lnTo>
                    <a:pt x="330" y="354"/>
                  </a:lnTo>
                  <a:lnTo>
                    <a:pt x="336" y="348"/>
                  </a:lnTo>
                  <a:lnTo>
                    <a:pt x="336" y="330"/>
                  </a:lnTo>
                  <a:lnTo>
                    <a:pt x="342" y="324"/>
                  </a:lnTo>
                  <a:lnTo>
                    <a:pt x="342" y="318"/>
                  </a:lnTo>
                  <a:lnTo>
                    <a:pt x="348" y="318"/>
                  </a:lnTo>
                  <a:lnTo>
                    <a:pt x="360" y="318"/>
                  </a:lnTo>
                  <a:lnTo>
                    <a:pt x="372" y="318"/>
                  </a:lnTo>
                  <a:lnTo>
                    <a:pt x="384" y="306"/>
                  </a:lnTo>
                  <a:lnTo>
                    <a:pt x="396" y="300"/>
                  </a:lnTo>
                  <a:lnTo>
                    <a:pt x="396" y="294"/>
                  </a:lnTo>
                  <a:lnTo>
                    <a:pt x="396" y="288"/>
                  </a:lnTo>
                  <a:lnTo>
                    <a:pt x="390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2"/>
                  </a:lnTo>
                  <a:lnTo>
                    <a:pt x="378" y="246"/>
                  </a:lnTo>
                  <a:lnTo>
                    <a:pt x="384" y="228"/>
                  </a:lnTo>
                  <a:lnTo>
                    <a:pt x="390" y="216"/>
                  </a:lnTo>
                  <a:lnTo>
                    <a:pt x="402" y="210"/>
                  </a:lnTo>
                  <a:lnTo>
                    <a:pt x="408" y="210"/>
                  </a:lnTo>
                  <a:lnTo>
                    <a:pt x="420" y="204"/>
                  </a:lnTo>
                  <a:lnTo>
                    <a:pt x="444" y="198"/>
                  </a:lnTo>
                  <a:lnTo>
                    <a:pt x="462" y="192"/>
                  </a:lnTo>
                  <a:lnTo>
                    <a:pt x="474" y="186"/>
                  </a:lnTo>
                  <a:lnTo>
                    <a:pt x="480" y="192"/>
                  </a:lnTo>
                  <a:lnTo>
                    <a:pt x="492" y="192"/>
                  </a:lnTo>
                  <a:lnTo>
                    <a:pt x="498" y="192"/>
                  </a:lnTo>
                  <a:lnTo>
                    <a:pt x="504" y="192"/>
                  </a:lnTo>
                  <a:lnTo>
                    <a:pt x="510" y="192"/>
                  </a:lnTo>
                  <a:lnTo>
                    <a:pt x="516" y="186"/>
                  </a:lnTo>
                  <a:lnTo>
                    <a:pt x="522" y="180"/>
                  </a:lnTo>
                  <a:lnTo>
                    <a:pt x="522" y="174"/>
                  </a:lnTo>
                  <a:lnTo>
                    <a:pt x="528" y="168"/>
                  </a:lnTo>
                  <a:lnTo>
                    <a:pt x="534" y="168"/>
                  </a:lnTo>
                  <a:lnTo>
                    <a:pt x="534" y="156"/>
                  </a:lnTo>
                  <a:lnTo>
                    <a:pt x="534" y="150"/>
                  </a:lnTo>
                  <a:lnTo>
                    <a:pt x="552" y="138"/>
                  </a:lnTo>
                  <a:lnTo>
                    <a:pt x="558" y="126"/>
                  </a:lnTo>
                  <a:lnTo>
                    <a:pt x="558" y="114"/>
                  </a:lnTo>
                  <a:lnTo>
                    <a:pt x="564" y="102"/>
                  </a:lnTo>
                  <a:lnTo>
                    <a:pt x="564" y="96"/>
                  </a:lnTo>
                  <a:lnTo>
                    <a:pt x="564" y="90"/>
                  </a:lnTo>
                  <a:lnTo>
                    <a:pt x="564" y="72"/>
                  </a:lnTo>
                  <a:lnTo>
                    <a:pt x="564" y="60"/>
                  </a:lnTo>
                  <a:lnTo>
                    <a:pt x="564" y="54"/>
                  </a:lnTo>
                  <a:lnTo>
                    <a:pt x="570" y="42"/>
                  </a:lnTo>
                  <a:lnTo>
                    <a:pt x="576" y="42"/>
                  </a:lnTo>
                  <a:lnTo>
                    <a:pt x="582" y="36"/>
                  </a:lnTo>
                  <a:lnTo>
                    <a:pt x="594" y="36"/>
                  </a:lnTo>
                  <a:lnTo>
                    <a:pt x="594" y="30"/>
                  </a:lnTo>
                  <a:lnTo>
                    <a:pt x="600" y="24"/>
                  </a:lnTo>
                  <a:lnTo>
                    <a:pt x="600" y="12"/>
                  </a:lnTo>
                  <a:lnTo>
                    <a:pt x="606" y="6"/>
                  </a:lnTo>
                  <a:lnTo>
                    <a:pt x="606" y="0"/>
                  </a:lnTo>
                  <a:lnTo>
                    <a:pt x="612" y="0"/>
                  </a:lnTo>
                  <a:lnTo>
                    <a:pt x="618" y="0"/>
                  </a:lnTo>
                  <a:lnTo>
                    <a:pt x="624" y="6"/>
                  </a:lnTo>
                  <a:lnTo>
                    <a:pt x="624" y="12"/>
                  </a:lnTo>
                  <a:lnTo>
                    <a:pt x="624" y="18"/>
                  </a:lnTo>
                  <a:lnTo>
                    <a:pt x="624" y="24"/>
                  </a:lnTo>
                  <a:lnTo>
                    <a:pt x="624" y="30"/>
                  </a:lnTo>
                  <a:lnTo>
                    <a:pt x="630" y="30"/>
                  </a:lnTo>
                  <a:lnTo>
                    <a:pt x="630" y="36"/>
                  </a:lnTo>
                  <a:lnTo>
                    <a:pt x="630" y="42"/>
                  </a:lnTo>
                  <a:lnTo>
                    <a:pt x="630" y="48"/>
                  </a:lnTo>
                  <a:lnTo>
                    <a:pt x="636" y="54"/>
                  </a:lnTo>
                  <a:lnTo>
                    <a:pt x="642" y="48"/>
                  </a:lnTo>
                  <a:lnTo>
                    <a:pt x="648" y="48"/>
                  </a:lnTo>
                  <a:lnTo>
                    <a:pt x="648" y="60"/>
                  </a:lnTo>
                  <a:lnTo>
                    <a:pt x="654" y="66"/>
                  </a:lnTo>
                  <a:lnTo>
                    <a:pt x="660" y="72"/>
                  </a:lnTo>
                  <a:lnTo>
                    <a:pt x="666" y="72"/>
                  </a:lnTo>
                  <a:lnTo>
                    <a:pt x="666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72" y="66"/>
                  </a:lnTo>
                  <a:lnTo>
                    <a:pt x="678" y="66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6" y="66"/>
                  </a:lnTo>
                  <a:lnTo>
                    <a:pt x="696" y="72"/>
                  </a:lnTo>
                  <a:lnTo>
                    <a:pt x="702" y="72"/>
                  </a:lnTo>
                  <a:lnTo>
                    <a:pt x="708" y="72"/>
                  </a:lnTo>
                  <a:lnTo>
                    <a:pt x="720" y="66"/>
                  </a:lnTo>
                  <a:lnTo>
                    <a:pt x="726" y="78"/>
                  </a:lnTo>
                  <a:lnTo>
                    <a:pt x="744" y="84"/>
                  </a:lnTo>
                  <a:lnTo>
                    <a:pt x="744" y="90"/>
                  </a:lnTo>
                  <a:lnTo>
                    <a:pt x="744" y="96"/>
                  </a:lnTo>
                  <a:lnTo>
                    <a:pt x="738" y="96"/>
                  </a:lnTo>
                  <a:lnTo>
                    <a:pt x="738" y="102"/>
                  </a:lnTo>
                  <a:lnTo>
                    <a:pt x="732" y="102"/>
                  </a:lnTo>
                  <a:lnTo>
                    <a:pt x="732" y="108"/>
                  </a:lnTo>
                  <a:lnTo>
                    <a:pt x="738" y="108"/>
                  </a:lnTo>
                  <a:lnTo>
                    <a:pt x="744" y="114"/>
                  </a:lnTo>
                  <a:lnTo>
                    <a:pt x="750" y="108"/>
                  </a:lnTo>
                  <a:lnTo>
                    <a:pt x="756" y="108"/>
                  </a:lnTo>
                  <a:lnTo>
                    <a:pt x="762" y="108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80" y="120"/>
                  </a:lnTo>
                  <a:lnTo>
                    <a:pt x="774" y="120"/>
                  </a:lnTo>
                  <a:lnTo>
                    <a:pt x="768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74" y="138"/>
                  </a:lnTo>
                  <a:lnTo>
                    <a:pt x="774" y="132"/>
                  </a:lnTo>
                  <a:lnTo>
                    <a:pt x="780" y="132"/>
                  </a:lnTo>
                  <a:lnTo>
                    <a:pt x="786" y="132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44"/>
                  </a:lnTo>
                  <a:lnTo>
                    <a:pt x="786" y="150"/>
                  </a:lnTo>
                  <a:lnTo>
                    <a:pt x="780" y="150"/>
                  </a:lnTo>
                  <a:lnTo>
                    <a:pt x="774" y="150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74" y="162"/>
                  </a:lnTo>
                  <a:lnTo>
                    <a:pt x="780" y="162"/>
                  </a:lnTo>
                  <a:lnTo>
                    <a:pt x="786" y="168"/>
                  </a:lnTo>
                  <a:lnTo>
                    <a:pt x="792" y="162"/>
                  </a:lnTo>
                  <a:lnTo>
                    <a:pt x="798" y="168"/>
                  </a:lnTo>
                  <a:lnTo>
                    <a:pt x="798" y="174"/>
                  </a:lnTo>
                  <a:lnTo>
                    <a:pt x="804" y="168"/>
                  </a:lnTo>
                  <a:lnTo>
                    <a:pt x="810" y="168"/>
                  </a:lnTo>
                  <a:lnTo>
                    <a:pt x="810" y="174"/>
                  </a:lnTo>
                  <a:lnTo>
                    <a:pt x="816" y="168"/>
                  </a:lnTo>
                  <a:lnTo>
                    <a:pt x="822" y="162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74"/>
                  </a:lnTo>
                  <a:lnTo>
                    <a:pt x="834" y="192"/>
                  </a:lnTo>
                  <a:lnTo>
                    <a:pt x="834" y="198"/>
                  </a:lnTo>
                  <a:lnTo>
                    <a:pt x="840" y="192"/>
                  </a:lnTo>
                  <a:lnTo>
                    <a:pt x="846" y="192"/>
                  </a:lnTo>
                  <a:lnTo>
                    <a:pt x="852" y="186"/>
                  </a:lnTo>
                  <a:lnTo>
                    <a:pt x="858" y="192"/>
                  </a:lnTo>
                  <a:lnTo>
                    <a:pt x="864" y="192"/>
                  </a:lnTo>
                  <a:lnTo>
                    <a:pt x="870" y="198"/>
                  </a:lnTo>
                  <a:lnTo>
                    <a:pt x="876" y="180"/>
                  </a:lnTo>
                  <a:lnTo>
                    <a:pt x="882" y="180"/>
                  </a:lnTo>
                  <a:lnTo>
                    <a:pt x="888" y="180"/>
                  </a:lnTo>
                  <a:lnTo>
                    <a:pt x="894" y="186"/>
                  </a:lnTo>
                  <a:lnTo>
                    <a:pt x="888" y="198"/>
                  </a:lnTo>
                  <a:lnTo>
                    <a:pt x="894" y="204"/>
                  </a:lnTo>
                  <a:lnTo>
                    <a:pt x="906" y="210"/>
                  </a:lnTo>
                  <a:lnTo>
                    <a:pt x="918" y="246"/>
                  </a:lnTo>
                  <a:lnTo>
                    <a:pt x="930" y="258"/>
                  </a:lnTo>
                  <a:lnTo>
                    <a:pt x="942" y="282"/>
                  </a:lnTo>
                  <a:lnTo>
                    <a:pt x="966" y="288"/>
                  </a:lnTo>
                  <a:lnTo>
                    <a:pt x="972" y="300"/>
                  </a:lnTo>
                  <a:lnTo>
                    <a:pt x="972" y="318"/>
                  </a:lnTo>
                  <a:lnTo>
                    <a:pt x="996" y="336"/>
                  </a:lnTo>
                  <a:lnTo>
                    <a:pt x="1050" y="390"/>
                  </a:lnTo>
                  <a:lnTo>
                    <a:pt x="1116" y="462"/>
                  </a:lnTo>
                  <a:lnTo>
                    <a:pt x="1122" y="468"/>
                  </a:lnTo>
                  <a:lnTo>
                    <a:pt x="1128" y="474"/>
                  </a:lnTo>
                  <a:lnTo>
                    <a:pt x="1140" y="474"/>
                  </a:lnTo>
                  <a:lnTo>
                    <a:pt x="1152" y="486"/>
                  </a:lnTo>
                  <a:lnTo>
                    <a:pt x="1152" y="492"/>
                  </a:lnTo>
                  <a:lnTo>
                    <a:pt x="1158" y="492"/>
                  </a:lnTo>
                  <a:lnTo>
                    <a:pt x="1164" y="492"/>
                  </a:lnTo>
                  <a:lnTo>
                    <a:pt x="1170" y="504"/>
                  </a:lnTo>
                  <a:lnTo>
                    <a:pt x="1176" y="504"/>
                  </a:lnTo>
                  <a:lnTo>
                    <a:pt x="1176" y="510"/>
                  </a:lnTo>
                  <a:lnTo>
                    <a:pt x="1200" y="516"/>
                  </a:lnTo>
                  <a:lnTo>
                    <a:pt x="1200" y="522"/>
                  </a:lnTo>
                  <a:lnTo>
                    <a:pt x="1212" y="534"/>
                  </a:lnTo>
                  <a:lnTo>
                    <a:pt x="1218" y="540"/>
                  </a:lnTo>
                  <a:lnTo>
                    <a:pt x="1224" y="552"/>
                  </a:lnTo>
                  <a:lnTo>
                    <a:pt x="1230" y="552"/>
                  </a:lnTo>
                  <a:lnTo>
                    <a:pt x="1242" y="552"/>
                  </a:lnTo>
                  <a:lnTo>
                    <a:pt x="1248" y="558"/>
                  </a:lnTo>
                  <a:lnTo>
                    <a:pt x="1254" y="558"/>
                  </a:lnTo>
                  <a:lnTo>
                    <a:pt x="1260" y="564"/>
                  </a:lnTo>
                  <a:lnTo>
                    <a:pt x="1266" y="564"/>
                  </a:lnTo>
                  <a:lnTo>
                    <a:pt x="1272" y="564"/>
                  </a:lnTo>
                  <a:lnTo>
                    <a:pt x="1284" y="564"/>
                  </a:lnTo>
                  <a:lnTo>
                    <a:pt x="1290" y="570"/>
                  </a:lnTo>
                  <a:lnTo>
                    <a:pt x="1296" y="576"/>
                  </a:lnTo>
                  <a:lnTo>
                    <a:pt x="1302" y="588"/>
                  </a:lnTo>
                  <a:lnTo>
                    <a:pt x="1296" y="594"/>
                  </a:lnTo>
                  <a:lnTo>
                    <a:pt x="1296" y="600"/>
                  </a:lnTo>
                  <a:lnTo>
                    <a:pt x="1296" y="606"/>
                  </a:lnTo>
                  <a:lnTo>
                    <a:pt x="1290" y="612"/>
                  </a:lnTo>
                  <a:lnTo>
                    <a:pt x="1290" y="624"/>
                  </a:lnTo>
                  <a:lnTo>
                    <a:pt x="1290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308" y="654"/>
                  </a:lnTo>
                  <a:lnTo>
                    <a:pt x="1320" y="654"/>
                  </a:lnTo>
                  <a:lnTo>
                    <a:pt x="1326" y="660"/>
                  </a:lnTo>
                  <a:lnTo>
                    <a:pt x="1338" y="654"/>
                  </a:lnTo>
                  <a:lnTo>
                    <a:pt x="1344" y="654"/>
                  </a:lnTo>
                  <a:lnTo>
                    <a:pt x="1356" y="654"/>
                  </a:lnTo>
                  <a:lnTo>
                    <a:pt x="1362" y="648"/>
                  </a:lnTo>
                  <a:lnTo>
                    <a:pt x="1368" y="642"/>
                  </a:lnTo>
                  <a:lnTo>
                    <a:pt x="1374" y="636"/>
                  </a:lnTo>
                  <a:lnTo>
                    <a:pt x="1380" y="636"/>
                  </a:lnTo>
                  <a:lnTo>
                    <a:pt x="1392" y="636"/>
                  </a:lnTo>
                  <a:lnTo>
                    <a:pt x="1398" y="636"/>
                  </a:lnTo>
                  <a:lnTo>
                    <a:pt x="1404" y="636"/>
                  </a:lnTo>
                  <a:lnTo>
                    <a:pt x="1410" y="630"/>
                  </a:lnTo>
                  <a:lnTo>
                    <a:pt x="1410" y="624"/>
                  </a:lnTo>
                  <a:lnTo>
                    <a:pt x="1422" y="618"/>
                  </a:lnTo>
                  <a:lnTo>
                    <a:pt x="1428" y="618"/>
                  </a:lnTo>
                  <a:lnTo>
                    <a:pt x="1440" y="612"/>
                  </a:lnTo>
                  <a:lnTo>
                    <a:pt x="1446" y="612"/>
                  </a:lnTo>
                  <a:lnTo>
                    <a:pt x="1458" y="612"/>
                  </a:lnTo>
                  <a:lnTo>
                    <a:pt x="1470" y="624"/>
                  </a:lnTo>
                  <a:lnTo>
                    <a:pt x="1488" y="642"/>
                  </a:lnTo>
                  <a:lnTo>
                    <a:pt x="1500" y="648"/>
                  </a:lnTo>
                  <a:lnTo>
                    <a:pt x="1512" y="654"/>
                  </a:lnTo>
                  <a:lnTo>
                    <a:pt x="1518" y="660"/>
                  </a:lnTo>
                  <a:lnTo>
                    <a:pt x="1524" y="660"/>
                  </a:lnTo>
                  <a:lnTo>
                    <a:pt x="1530" y="660"/>
                  </a:lnTo>
                  <a:lnTo>
                    <a:pt x="1536" y="666"/>
                  </a:lnTo>
                  <a:lnTo>
                    <a:pt x="1542" y="672"/>
                  </a:lnTo>
                  <a:lnTo>
                    <a:pt x="1548" y="672"/>
                  </a:lnTo>
                  <a:lnTo>
                    <a:pt x="1554" y="684"/>
                  </a:lnTo>
                  <a:lnTo>
                    <a:pt x="1554" y="690"/>
                  </a:lnTo>
                  <a:lnTo>
                    <a:pt x="1566" y="702"/>
                  </a:lnTo>
                  <a:lnTo>
                    <a:pt x="1572" y="720"/>
                  </a:lnTo>
                  <a:lnTo>
                    <a:pt x="1572" y="726"/>
                  </a:lnTo>
                  <a:lnTo>
                    <a:pt x="1578" y="732"/>
                  </a:lnTo>
                  <a:lnTo>
                    <a:pt x="1584" y="738"/>
                  </a:lnTo>
                  <a:lnTo>
                    <a:pt x="1590" y="738"/>
                  </a:lnTo>
                  <a:lnTo>
                    <a:pt x="1596" y="738"/>
                  </a:lnTo>
                  <a:lnTo>
                    <a:pt x="1602" y="744"/>
                  </a:lnTo>
                  <a:lnTo>
                    <a:pt x="1608" y="744"/>
                  </a:lnTo>
                  <a:lnTo>
                    <a:pt x="1614" y="744"/>
                  </a:lnTo>
                  <a:lnTo>
                    <a:pt x="1626" y="744"/>
                  </a:lnTo>
                  <a:lnTo>
                    <a:pt x="1638" y="744"/>
                  </a:lnTo>
                  <a:lnTo>
                    <a:pt x="1650" y="744"/>
                  </a:lnTo>
                  <a:lnTo>
                    <a:pt x="1662" y="744"/>
                  </a:lnTo>
                  <a:lnTo>
                    <a:pt x="1668" y="744"/>
                  </a:lnTo>
                  <a:lnTo>
                    <a:pt x="1674" y="744"/>
                  </a:lnTo>
                  <a:lnTo>
                    <a:pt x="1686" y="744"/>
                  </a:lnTo>
                  <a:lnTo>
                    <a:pt x="1698" y="750"/>
                  </a:lnTo>
                  <a:lnTo>
                    <a:pt x="1704" y="750"/>
                  </a:lnTo>
                  <a:lnTo>
                    <a:pt x="1716" y="756"/>
                  </a:lnTo>
                  <a:lnTo>
                    <a:pt x="1722" y="756"/>
                  </a:lnTo>
                  <a:lnTo>
                    <a:pt x="1728" y="756"/>
                  </a:lnTo>
                  <a:lnTo>
                    <a:pt x="1734" y="762"/>
                  </a:lnTo>
                  <a:lnTo>
                    <a:pt x="1740" y="768"/>
                  </a:lnTo>
                  <a:lnTo>
                    <a:pt x="1758" y="780"/>
                  </a:lnTo>
                  <a:lnTo>
                    <a:pt x="1770" y="780"/>
                  </a:lnTo>
                  <a:lnTo>
                    <a:pt x="1776" y="780"/>
                  </a:lnTo>
                  <a:lnTo>
                    <a:pt x="1782" y="780"/>
                  </a:lnTo>
                  <a:lnTo>
                    <a:pt x="1800" y="798"/>
                  </a:lnTo>
                  <a:lnTo>
                    <a:pt x="1818" y="810"/>
                  </a:lnTo>
                  <a:lnTo>
                    <a:pt x="1830" y="816"/>
                  </a:lnTo>
                  <a:lnTo>
                    <a:pt x="1836" y="822"/>
                  </a:lnTo>
                  <a:lnTo>
                    <a:pt x="1836" y="828"/>
                  </a:lnTo>
                  <a:lnTo>
                    <a:pt x="1842" y="828"/>
                  </a:lnTo>
                  <a:lnTo>
                    <a:pt x="1848" y="834"/>
                  </a:lnTo>
                  <a:lnTo>
                    <a:pt x="1854" y="840"/>
                  </a:lnTo>
                  <a:lnTo>
                    <a:pt x="1860" y="846"/>
                  </a:lnTo>
                  <a:lnTo>
                    <a:pt x="1872" y="852"/>
                  </a:lnTo>
                  <a:lnTo>
                    <a:pt x="1884" y="852"/>
                  </a:lnTo>
                  <a:lnTo>
                    <a:pt x="1896" y="852"/>
                  </a:lnTo>
                  <a:lnTo>
                    <a:pt x="1902" y="846"/>
                  </a:lnTo>
                  <a:lnTo>
                    <a:pt x="1908" y="852"/>
                  </a:lnTo>
                  <a:lnTo>
                    <a:pt x="1920" y="858"/>
                  </a:lnTo>
                  <a:lnTo>
                    <a:pt x="1926" y="870"/>
                  </a:lnTo>
                  <a:lnTo>
                    <a:pt x="1938" y="888"/>
                  </a:lnTo>
                  <a:lnTo>
                    <a:pt x="1944" y="900"/>
                  </a:lnTo>
                  <a:lnTo>
                    <a:pt x="1950" y="900"/>
                  </a:lnTo>
                  <a:lnTo>
                    <a:pt x="1962" y="906"/>
                  </a:lnTo>
                  <a:lnTo>
                    <a:pt x="1968" y="906"/>
                  </a:lnTo>
                  <a:lnTo>
                    <a:pt x="1980" y="906"/>
                  </a:lnTo>
                  <a:lnTo>
                    <a:pt x="1998" y="906"/>
                  </a:lnTo>
                  <a:lnTo>
                    <a:pt x="2010" y="900"/>
                  </a:lnTo>
                  <a:lnTo>
                    <a:pt x="2022" y="900"/>
                  </a:lnTo>
                  <a:lnTo>
                    <a:pt x="2028" y="900"/>
                  </a:lnTo>
                  <a:lnTo>
                    <a:pt x="2034" y="906"/>
                  </a:lnTo>
                  <a:lnTo>
                    <a:pt x="2046" y="906"/>
                  </a:lnTo>
                  <a:lnTo>
                    <a:pt x="2052" y="900"/>
                  </a:lnTo>
                  <a:lnTo>
                    <a:pt x="2058" y="900"/>
                  </a:lnTo>
                  <a:lnTo>
                    <a:pt x="2064" y="900"/>
                  </a:lnTo>
                  <a:lnTo>
                    <a:pt x="2070" y="900"/>
                  </a:lnTo>
                  <a:lnTo>
                    <a:pt x="2076" y="900"/>
                  </a:lnTo>
                  <a:lnTo>
                    <a:pt x="2076" y="906"/>
                  </a:lnTo>
                  <a:lnTo>
                    <a:pt x="2088" y="906"/>
                  </a:lnTo>
                  <a:lnTo>
                    <a:pt x="2106" y="900"/>
                  </a:lnTo>
                  <a:lnTo>
                    <a:pt x="2118" y="900"/>
                  </a:lnTo>
                  <a:lnTo>
                    <a:pt x="2130" y="900"/>
                  </a:lnTo>
                  <a:lnTo>
                    <a:pt x="2142" y="900"/>
                  </a:lnTo>
                  <a:lnTo>
                    <a:pt x="2148" y="906"/>
                  </a:lnTo>
                  <a:lnTo>
                    <a:pt x="2154" y="906"/>
                  </a:lnTo>
                  <a:lnTo>
                    <a:pt x="2160" y="906"/>
                  </a:lnTo>
                  <a:lnTo>
                    <a:pt x="2166" y="906"/>
                  </a:lnTo>
                  <a:lnTo>
                    <a:pt x="2178" y="918"/>
                  </a:lnTo>
                  <a:lnTo>
                    <a:pt x="2178" y="924"/>
                  </a:lnTo>
                  <a:lnTo>
                    <a:pt x="2184" y="924"/>
                  </a:lnTo>
                  <a:lnTo>
                    <a:pt x="2190" y="924"/>
                  </a:lnTo>
                  <a:lnTo>
                    <a:pt x="2196" y="924"/>
                  </a:lnTo>
                  <a:lnTo>
                    <a:pt x="2202" y="918"/>
                  </a:lnTo>
                  <a:lnTo>
                    <a:pt x="2208" y="918"/>
                  </a:lnTo>
                  <a:lnTo>
                    <a:pt x="2214" y="918"/>
                  </a:lnTo>
                  <a:lnTo>
                    <a:pt x="2226" y="918"/>
                  </a:lnTo>
                  <a:lnTo>
                    <a:pt x="2220" y="948"/>
                  </a:lnTo>
                  <a:lnTo>
                    <a:pt x="2214" y="972"/>
                  </a:lnTo>
                  <a:lnTo>
                    <a:pt x="2214" y="984"/>
                  </a:lnTo>
                  <a:lnTo>
                    <a:pt x="2208" y="990"/>
                  </a:lnTo>
                  <a:lnTo>
                    <a:pt x="2208" y="996"/>
                  </a:lnTo>
                  <a:lnTo>
                    <a:pt x="2202" y="996"/>
                  </a:lnTo>
                  <a:lnTo>
                    <a:pt x="2196" y="996"/>
                  </a:lnTo>
                  <a:lnTo>
                    <a:pt x="2190" y="1008"/>
                  </a:lnTo>
                  <a:lnTo>
                    <a:pt x="2172" y="1074"/>
                  </a:lnTo>
                  <a:lnTo>
                    <a:pt x="2166" y="1092"/>
                  </a:lnTo>
                  <a:lnTo>
                    <a:pt x="2172" y="1110"/>
                  </a:lnTo>
                  <a:lnTo>
                    <a:pt x="2172" y="1122"/>
                  </a:lnTo>
                  <a:lnTo>
                    <a:pt x="2166" y="1134"/>
                  </a:lnTo>
                  <a:lnTo>
                    <a:pt x="2148" y="1140"/>
                  </a:lnTo>
                  <a:lnTo>
                    <a:pt x="2148" y="1134"/>
                  </a:lnTo>
                  <a:lnTo>
                    <a:pt x="2118" y="1140"/>
                  </a:lnTo>
                  <a:lnTo>
                    <a:pt x="2088" y="1134"/>
                  </a:lnTo>
                  <a:lnTo>
                    <a:pt x="2064" y="1122"/>
                  </a:lnTo>
                  <a:lnTo>
                    <a:pt x="2034" y="1122"/>
                  </a:lnTo>
                  <a:lnTo>
                    <a:pt x="2022" y="1128"/>
                  </a:lnTo>
                  <a:lnTo>
                    <a:pt x="1986" y="1128"/>
                  </a:lnTo>
                  <a:lnTo>
                    <a:pt x="1938" y="1122"/>
                  </a:lnTo>
                  <a:lnTo>
                    <a:pt x="1932" y="1116"/>
                  </a:lnTo>
                  <a:lnTo>
                    <a:pt x="1896" y="1110"/>
                  </a:lnTo>
                  <a:lnTo>
                    <a:pt x="1878" y="1104"/>
                  </a:lnTo>
                  <a:lnTo>
                    <a:pt x="1866" y="1098"/>
                  </a:lnTo>
                  <a:lnTo>
                    <a:pt x="1860" y="1098"/>
                  </a:lnTo>
                  <a:lnTo>
                    <a:pt x="1854" y="1092"/>
                  </a:lnTo>
                  <a:lnTo>
                    <a:pt x="1860" y="1092"/>
                  </a:lnTo>
                  <a:lnTo>
                    <a:pt x="1860" y="1086"/>
                  </a:lnTo>
                  <a:lnTo>
                    <a:pt x="1854" y="1086"/>
                  </a:lnTo>
                  <a:lnTo>
                    <a:pt x="1842" y="1080"/>
                  </a:lnTo>
                  <a:lnTo>
                    <a:pt x="1818" y="1062"/>
                  </a:lnTo>
                  <a:lnTo>
                    <a:pt x="1782" y="1056"/>
                  </a:lnTo>
                  <a:lnTo>
                    <a:pt x="1770" y="1068"/>
                  </a:lnTo>
                  <a:lnTo>
                    <a:pt x="1746" y="1098"/>
                  </a:lnTo>
                  <a:lnTo>
                    <a:pt x="1722" y="1104"/>
                  </a:lnTo>
                  <a:lnTo>
                    <a:pt x="1710" y="1122"/>
                  </a:lnTo>
                  <a:lnTo>
                    <a:pt x="1710" y="1128"/>
                  </a:lnTo>
                  <a:lnTo>
                    <a:pt x="1710" y="1140"/>
                  </a:lnTo>
                  <a:lnTo>
                    <a:pt x="1698" y="1146"/>
                  </a:lnTo>
                  <a:lnTo>
                    <a:pt x="1686" y="1152"/>
                  </a:lnTo>
                  <a:lnTo>
                    <a:pt x="1680" y="1164"/>
                  </a:lnTo>
                  <a:lnTo>
                    <a:pt x="1680" y="1170"/>
                  </a:lnTo>
                  <a:lnTo>
                    <a:pt x="1686" y="1170"/>
                  </a:lnTo>
                  <a:lnTo>
                    <a:pt x="1686" y="1176"/>
                  </a:lnTo>
                  <a:lnTo>
                    <a:pt x="1698" y="1188"/>
                  </a:lnTo>
                  <a:lnTo>
                    <a:pt x="1704" y="1188"/>
                  </a:lnTo>
                  <a:lnTo>
                    <a:pt x="1698" y="1194"/>
                  </a:lnTo>
                  <a:lnTo>
                    <a:pt x="1704" y="1194"/>
                  </a:lnTo>
                  <a:lnTo>
                    <a:pt x="1704" y="1200"/>
                  </a:lnTo>
                  <a:lnTo>
                    <a:pt x="1704" y="1206"/>
                  </a:lnTo>
                  <a:lnTo>
                    <a:pt x="1704" y="1212"/>
                  </a:lnTo>
                  <a:lnTo>
                    <a:pt x="1704" y="1218"/>
                  </a:lnTo>
                  <a:lnTo>
                    <a:pt x="1710" y="1218"/>
                  </a:lnTo>
                  <a:lnTo>
                    <a:pt x="1710" y="1212"/>
                  </a:lnTo>
                  <a:lnTo>
                    <a:pt x="1716" y="1212"/>
                  </a:lnTo>
                  <a:lnTo>
                    <a:pt x="1716" y="1218"/>
                  </a:lnTo>
                  <a:lnTo>
                    <a:pt x="1716" y="1224"/>
                  </a:lnTo>
                  <a:lnTo>
                    <a:pt x="1716" y="1230"/>
                  </a:lnTo>
                  <a:lnTo>
                    <a:pt x="1722" y="1236"/>
                  </a:lnTo>
                  <a:lnTo>
                    <a:pt x="1740" y="1230"/>
                  </a:lnTo>
                  <a:lnTo>
                    <a:pt x="1734" y="1236"/>
                  </a:lnTo>
                  <a:lnTo>
                    <a:pt x="1734" y="1242"/>
                  </a:lnTo>
                  <a:lnTo>
                    <a:pt x="1734" y="1248"/>
                  </a:lnTo>
                  <a:lnTo>
                    <a:pt x="1734" y="1254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52" y="1266"/>
                  </a:lnTo>
                  <a:lnTo>
                    <a:pt x="1764" y="1266"/>
                  </a:lnTo>
                  <a:lnTo>
                    <a:pt x="1788" y="1260"/>
                  </a:lnTo>
                  <a:lnTo>
                    <a:pt x="1800" y="1260"/>
                  </a:lnTo>
                  <a:lnTo>
                    <a:pt x="1806" y="1272"/>
                  </a:lnTo>
                  <a:lnTo>
                    <a:pt x="1806" y="1296"/>
                  </a:lnTo>
                  <a:lnTo>
                    <a:pt x="1800" y="1308"/>
                  </a:lnTo>
                  <a:lnTo>
                    <a:pt x="1788" y="1308"/>
                  </a:lnTo>
                  <a:lnTo>
                    <a:pt x="1782" y="132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7" name="Freeform 32">
              <a:extLst>
                <a:ext uri="{FF2B5EF4-FFF2-40B4-BE49-F238E27FC236}">
                  <a16:creationId xmlns:a16="http://schemas.microsoft.com/office/drawing/2014/main" id="{1EF84438-BF7A-47D2-9156-E231EA2A279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3295" y="2316568"/>
              <a:ext cx="1290281" cy="1084704"/>
            </a:xfrm>
            <a:custGeom>
              <a:avLst/>
              <a:gdLst>
                <a:gd name="T0" fmla="*/ 177 w 2430"/>
                <a:gd name="T1" fmla="*/ 169 h 2040"/>
                <a:gd name="T2" fmla="*/ 174 w 2430"/>
                <a:gd name="T3" fmla="*/ 173 h 2040"/>
                <a:gd name="T4" fmla="*/ 169 w 2430"/>
                <a:gd name="T5" fmla="*/ 171 h 2040"/>
                <a:gd name="T6" fmla="*/ 160 w 2430"/>
                <a:gd name="T7" fmla="*/ 163 h 2040"/>
                <a:gd name="T8" fmla="*/ 154 w 2430"/>
                <a:gd name="T9" fmla="*/ 149 h 2040"/>
                <a:gd name="T10" fmla="*/ 144 w 2430"/>
                <a:gd name="T11" fmla="*/ 147 h 2040"/>
                <a:gd name="T12" fmla="*/ 133 w 2430"/>
                <a:gd name="T13" fmla="*/ 146 h 2040"/>
                <a:gd name="T14" fmla="*/ 121 w 2430"/>
                <a:gd name="T15" fmla="*/ 145 h 2040"/>
                <a:gd name="T16" fmla="*/ 110 w 2430"/>
                <a:gd name="T17" fmla="*/ 137 h 2040"/>
                <a:gd name="T18" fmla="*/ 97 w 2430"/>
                <a:gd name="T19" fmla="*/ 131 h 2040"/>
                <a:gd name="T20" fmla="*/ 87 w 2430"/>
                <a:gd name="T21" fmla="*/ 125 h 2040"/>
                <a:gd name="T22" fmla="*/ 75 w 2430"/>
                <a:gd name="T23" fmla="*/ 122 h 2040"/>
                <a:gd name="T24" fmla="*/ 65 w 2430"/>
                <a:gd name="T25" fmla="*/ 122 h 2040"/>
                <a:gd name="T26" fmla="*/ 59 w 2430"/>
                <a:gd name="T27" fmla="*/ 115 h 2040"/>
                <a:gd name="T28" fmla="*/ 50 w 2430"/>
                <a:gd name="T29" fmla="*/ 107 h 2040"/>
                <a:gd name="T30" fmla="*/ 28 w 2430"/>
                <a:gd name="T31" fmla="*/ 84 h 2040"/>
                <a:gd name="T32" fmla="*/ 22 w 2430"/>
                <a:gd name="T33" fmla="*/ 82 h 2040"/>
                <a:gd name="T34" fmla="*/ 20 w 2430"/>
                <a:gd name="T35" fmla="*/ 79 h 2040"/>
                <a:gd name="T36" fmla="*/ 16 w 2430"/>
                <a:gd name="T37" fmla="*/ 76 h 2040"/>
                <a:gd name="T38" fmla="*/ 11 w 2430"/>
                <a:gd name="T39" fmla="*/ 74 h 2040"/>
                <a:gd name="T40" fmla="*/ 7 w 2430"/>
                <a:gd name="T41" fmla="*/ 69 h 2040"/>
                <a:gd name="T42" fmla="*/ 0 w 2430"/>
                <a:gd name="T43" fmla="*/ 60 h 2040"/>
                <a:gd name="T44" fmla="*/ 10 w 2430"/>
                <a:gd name="T45" fmla="*/ 53 h 2040"/>
                <a:gd name="T46" fmla="*/ 15 w 2430"/>
                <a:gd name="T47" fmla="*/ 40 h 2040"/>
                <a:gd name="T48" fmla="*/ 9 w 2430"/>
                <a:gd name="T49" fmla="*/ 29 h 2040"/>
                <a:gd name="T50" fmla="*/ 7 w 2430"/>
                <a:gd name="T51" fmla="*/ 16 h 2040"/>
                <a:gd name="T52" fmla="*/ 18 w 2430"/>
                <a:gd name="T53" fmla="*/ 21 h 2040"/>
                <a:gd name="T54" fmla="*/ 48 w 2430"/>
                <a:gd name="T55" fmla="*/ 27 h 2040"/>
                <a:gd name="T56" fmla="*/ 62 w 2430"/>
                <a:gd name="T57" fmla="*/ 25 h 2040"/>
                <a:gd name="T58" fmla="*/ 59 w 2430"/>
                <a:gd name="T59" fmla="*/ 42 h 2040"/>
                <a:gd name="T60" fmla="*/ 54 w 2430"/>
                <a:gd name="T61" fmla="*/ 65 h 2040"/>
                <a:gd name="T62" fmla="*/ 65 w 2430"/>
                <a:gd name="T63" fmla="*/ 60 h 2040"/>
                <a:gd name="T64" fmla="*/ 68 w 2430"/>
                <a:gd name="T65" fmla="*/ 40 h 2040"/>
                <a:gd name="T66" fmla="*/ 75 w 2430"/>
                <a:gd name="T67" fmla="*/ 36 h 2040"/>
                <a:gd name="T68" fmla="*/ 83 w 2430"/>
                <a:gd name="T69" fmla="*/ 29 h 2040"/>
                <a:gd name="T70" fmla="*/ 81 w 2430"/>
                <a:gd name="T71" fmla="*/ 17 h 2040"/>
                <a:gd name="T72" fmla="*/ 66 w 2430"/>
                <a:gd name="T73" fmla="*/ 7 h 2040"/>
                <a:gd name="T74" fmla="*/ 80 w 2430"/>
                <a:gd name="T75" fmla="*/ 5 h 2040"/>
                <a:gd name="T76" fmla="*/ 89 w 2430"/>
                <a:gd name="T77" fmla="*/ 1 h 2040"/>
                <a:gd name="T78" fmla="*/ 101 w 2430"/>
                <a:gd name="T79" fmla="*/ 10 h 2040"/>
                <a:gd name="T80" fmla="*/ 103 w 2430"/>
                <a:gd name="T81" fmla="*/ 18 h 2040"/>
                <a:gd name="T82" fmla="*/ 110 w 2430"/>
                <a:gd name="T83" fmla="*/ 23 h 2040"/>
                <a:gd name="T84" fmla="*/ 121 w 2430"/>
                <a:gd name="T85" fmla="*/ 20 h 2040"/>
                <a:gd name="T86" fmla="*/ 129 w 2430"/>
                <a:gd name="T87" fmla="*/ 15 h 2040"/>
                <a:gd name="T88" fmla="*/ 142 w 2430"/>
                <a:gd name="T89" fmla="*/ 23 h 2040"/>
                <a:gd name="T90" fmla="*/ 141 w 2430"/>
                <a:gd name="T91" fmla="*/ 30 h 2040"/>
                <a:gd name="T92" fmla="*/ 140 w 2430"/>
                <a:gd name="T93" fmla="*/ 38 h 2040"/>
                <a:gd name="T94" fmla="*/ 139 w 2430"/>
                <a:gd name="T95" fmla="*/ 46 h 2040"/>
                <a:gd name="T96" fmla="*/ 147 w 2430"/>
                <a:gd name="T97" fmla="*/ 54 h 2040"/>
                <a:gd name="T98" fmla="*/ 152 w 2430"/>
                <a:gd name="T99" fmla="*/ 50 h 2040"/>
                <a:gd name="T100" fmla="*/ 159 w 2430"/>
                <a:gd name="T101" fmla="*/ 43 h 2040"/>
                <a:gd name="T102" fmla="*/ 174 w 2430"/>
                <a:gd name="T103" fmla="*/ 41 h 2040"/>
                <a:gd name="T104" fmla="*/ 190 w 2430"/>
                <a:gd name="T105" fmla="*/ 57 h 2040"/>
                <a:gd name="T106" fmla="*/ 187 w 2430"/>
                <a:gd name="T107" fmla="*/ 66 h 2040"/>
                <a:gd name="T108" fmla="*/ 183 w 2430"/>
                <a:gd name="T109" fmla="*/ 72 h 2040"/>
                <a:gd name="T110" fmla="*/ 194 w 2430"/>
                <a:gd name="T111" fmla="*/ 73 h 2040"/>
                <a:gd name="T112" fmla="*/ 202 w 2430"/>
                <a:gd name="T113" fmla="*/ 74 h 2040"/>
                <a:gd name="T114" fmla="*/ 204 w 2430"/>
                <a:gd name="T115" fmla="*/ 89 h 2040"/>
                <a:gd name="T116" fmla="*/ 208 w 2430"/>
                <a:gd name="T117" fmla="*/ 99 h 2040"/>
                <a:gd name="T118" fmla="*/ 203 w 2430"/>
                <a:gd name="T119" fmla="*/ 103 h 2040"/>
                <a:gd name="T120" fmla="*/ 209 w 2430"/>
                <a:gd name="T121" fmla="*/ 111 h 2040"/>
                <a:gd name="T122" fmla="*/ 204 w 2430"/>
                <a:gd name="T123" fmla="*/ 124 h 2040"/>
                <a:gd name="T124" fmla="*/ 190 w 2430"/>
                <a:gd name="T125" fmla="*/ 117 h 20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30"/>
                <a:gd name="T190" fmla="*/ 0 h 2040"/>
                <a:gd name="T191" fmla="*/ 2430 w 2430"/>
                <a:gd name="T192" fmla="*/ 2040 h 20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30" h="2040">
                  <a:moveTo>
                    <a:pt x="2076" y="1896"/>
                  </a:moveTo>
                  <a:lnTo>
                    <a:pt x="2070" y="1896"/>
                  </a:lnTo>
                  <a:lnTo>
                    <a:pt x="2070" y="1902"/>
                  </a:lnTo>
                  <a:lnTo>
                    <a:pt x="2076" y="1902"/>
                  </a:lnTo>
                  <a:lnTo>
                    <a:pt x="2082" y="1902"/>
                  </a:lnTo>
                  <a:lnTo>
                    <a:pt x="2082" y="1908"/>
                  </a:lnTo>
                  <a:lnTo>
                    <a:pt x="2076" y="1908"/>
                  </a:lnTo>
                  <a:lnTo>
                    <a:pt x="2076" y="1914"/>
                  </a:lnTo>
                  <a:lnTo>
                    <a:pt x="2070" y="1920"/>
                  </a:lnTo>
                  <a:lnTo>
                    <a:pt x="2064" y="1932"/>
                  </a:lnTo>
                  <a:lnTo>
                    <a:pt x="2064" y="1938"/>
                  </a:lnTo>
                  <a:lnTo>
                    <a:pt x="2058" y="1938"/>
                  </a:lnTo>
                  <a:lnTo>
                    <a:pt x="2052" y="1944"/>
                  </a:lnTo>
                  <a:lnTo>
                    <a:pt x="2052" y="1950"/>
                  </a:lnTo>
                  <a:lnTo>
                    <a:pt x="2040" y="1944"/>
                  </a:lnTo>
                  <a:lnTo>
                    <a:pt x="2040" y="1950"/>
                  </a:lnTo>
                  <a:lnTo>
                    <a:pt x="2034" y="1956"/>
                  </a:lnTo>
                  <a:lnTo>
                    <a:pt x="2034" y="1962"/>
                  </a:lnTo>
                  <a:lnTo>
                    <a:pt x="2028" y="1962"/>
                  </a:lnTo>
                  <a:lnTo>
                    <a:pt x="2022" y="1962"/>
                  </a:lnTo>
                  <a:lnTo>
                    <a:pt x="2022" y="1968"/>
                  </a:lnTo>
                  <a:lnTo>
                    <a:pt x="2028" y="1974"/>
                  </a:lnTo>
                  <a:lnTo>
                    <a:pt x="2034" y="1980"/>
                  </a:lnTo>
                  <a:lnTo>
                    <a:pt x="2028" y="1986"/>
                  </a:lnTo>
                  <a:lnTo>
                    <a:pt x="2022" y="1992"/>
                  </a:lnTo>
                  <a:lnTo>
                    <a:pt x="2022" y="1986"/>
                  </a:lnTo>
                  <a:lnTo>
                    <a:pt x="2016" y="1986"/>
                  </a:lnTo>
                  <a:lnTo>
                    <a:pt x="2010" y="1980"/>
                  </a:lnTo>
                  <a:lnTo>
                    <a:pt x="2004" y="1980"/>
                  </a:lnTo>
                  <a:lnTo>
                    <a:pt x="2004" y="1986"/>
                  </a:lnTo>
                  <a:lnTo>
                    <a:pt x="2010" y="1992"/>
                  </a:lnTo>
                  <a:lnTo>
                    <a:pt x="2010" y="1998"/>
                  </a:lnTo>
                  <a:lnTo>
                    <a:pt x="2004" y="2004"/>
                  </a:lnTo>
                  <a:lnTo>
                    <a:pt x="1998" y="2004"/>
                  </a:lnTo>
                  <a:lnTo>
                    <a:pt x="1998" y="2022"/>
                  </a:lnTo>
                  <a:lnTo>
                    <a:pt x="1998" y="2028"/>
                  </a:lnTo>
                  <a:lnTo>
                    <a:pt x="1992" y="2034"/>
                  </a:lnTo>
                  <a:lnTo>
                    <a:pt x="1992" y="2040"/>
                  </a:lnTo>
                  <a:lnTo>
                    <a:pt x="1986" y="2040"/>
                  </a:lnTo>
                  <a:lnTo>
                    <a:pt x="1986" y="2034"/>
                  </a:lnTo>
                  <a:lnTo>
                    <a:pt x="1980" y="2028"/>
                  </a:lnTo>
                  <a:lnTo>
                    <a:pt x="1980" y="2022"/>
                  </a:lnTo>
                  <a:lnTo>
                    <a:pt x="1968" y="2016"/>
                  </a:lnTo>
                  <a:lnTo>
                    <a:pt x="1962" y="2010"/>
                  </a:lnTo>
                  <a:lnTo>
                    <a:pt x="1956" y="2004"/>
                  </a:lnTo>
                  <a:lnTo>
                    <a:pt x="1950" y="1992"/>
                  </a:lnTo>
                  <a:lnTo>
                    <a:pt x="1950" y="1986"/>
                  </a:lnTo>
                  <a:lnTo>
                    <a:pt x="1950" y="1974"/>
                  </a:lnTo>
                  <a:lnTo>
                    <a:pt x="1944" y="1974"/>
                  </a:lnTo>
                  <a:lnTo>
                    <a:pt x="1932" y="1962"/>
                  </a:lnTo>
                  <a:lnTo>
                    <a:pt x="1932" y="1956"/>
                  </a:lnTo>
                  <a:lnTo>
                    <a:pt x="1932" y="1950"/>
                  </a:lnTo>
                  <a:lnTo>
                    <a:pt x="1920" y="1944"/>
                  </a:lnTo>
                  <a:lnTo>
                    <a:pt x="1914" y="1944"/>
                  </a:lnTo>
                  <a:lnTo>
                    <a:pt x="1908" y="1938"/>
                  </a:lnTo>
                  <a:lnTo>
                    <a:pt x="1902" y="1926"/>
                  </a:lnTo>
                  <a:lnTo>
                    <a:pt x="1890" y="1914"/>
                  </a:lnTo>
                  <a:lnTo>
                    <a:pt x="1884" y="1914"/>
                  </a:lnTo>
                  <a:lnTo>
                    <a:pt x="1878" y="1908"/>
                  </a:lnTo>
                  <a:lnTo>
                    <a:pt x="1872" y="1902"/>
                  </a:lnTo>
                  <a:lnTo>
                    <a:pt x="1872" y="1896"/>
                  </a:lnTo>
                  <a:lnTo>
                    <a:pt x="1866" y="1890"/>
                  </a:lnTo>
                  <a:lnTo>
                    <a:pt x="1854" y="1884"/>
                  </a:lnTo>
                  <a:lnTo>
                    <a:pt x="1848" y="1884"/>
                  </a:lnTo>
                  <a:lnTo>
                    <a:pt x="1842" y="1872"/>
                  </a:lnTo>
                  <a:lnTo>
                    <a:pt x="1836" y="1872"/>
                  </a:lnTo>
                  <a:lnTo>
                    <a:pt x="1830" y="1866"/>
                  </a:lnTo>
                  <a:lnTo>
                    <a:pt x="1830" y="1854"/>
                  </a:lnTo>
                  <a:lnTo>
                    <a:pt x="1824" y="1848"/>
                  </a:lnTo>
                  <a:lnTo>
                    <a:pt x="1818" y="1830"/>
                  </a:lnTo>
                  <a:lnTo>
                    <a:pt x="1818" y="1818"/>
                  </a:lnTo>
                  <a:lnTo>
                    <a:pt x="1812" y="1800"/>
                  </a:lnTo>
                  <a:lnTo>
                    <a:pt x="1812" y="1788"/>
                  </a:lnTo>
                  <a:lnTo>
                    <a:pt x="1806" y="1776"/>
                  </a:lnTo>
                  <a:lnTo>
                    <a:pt x="1800" y="1764"/>
                  </a:lnTo>
                  <a:lnTo>
                    <a:pt x="1794" y="1758"/>
                  </a:lnTo>
                  <a:lnTo>
                    <a:pt x="1782" y="1740"/>
                  </a:lnTo>
                  <a:lnTo>
                    <a:pt x="1776" y="1728"/>
                  </a:lnTo>
                  <a:lnTo>
                    <a:pt x="1776" y="1722"/>
                  </a:lnTo>
                  <a:lnTo>
                    <a:pt x="1770" y="1722"/>
                  </a:lnTo>
                  <a:lnTo>
                    <a:pt x="1770" y="1716"/>
                  </a:lnTo>
                  <a:lnTo>
                    <a:pt x="1764" y="1716"/>
                  </a:lnTo>
                  <a:lnTo>
                    <a:pt x="1758" y="1710"/>
                  </a:lnTo>
                  <a:lnTo>
                    <a:pt x="1752" y="1704"/>
                  </a:lnTo>
                  <a:lnTo>
                    <a:pt x="1746" y="1704"/>
                  </a:lnTo>
                  <a:lnTo>
                    <a:pt x="1740" y="1704"/>
                  </a:lnTo>
                  <a:lnTo>
                    <a:pt x="1734" y="1704"/>
                  </a:lnTo>
                  <a:lnTo>
                    <a:pt x="1734" y="1698"/>
                  </a:lnTo>
                  <a:lnTo>
                    <a:pt x="1728" y="1692"/>
                  </a:lnTo>
                  <a:lnTo>
                    <a:pt x="1722" y="1686"/>
                  </a:lnTo>
                  <a:lnTo>
                    <a:pt x="1716" y="1686"/>
                  </a:lnTo>
                  <a:lnTo>
                    <a:pt x="1698" y="1686"/>
                  </a:lnTo>
                  <a:lnTo>
                    <a:pt x="1692" y="1692"/>
                  </a:lnTo>
                  <a:lnTo>
                    <a:pt x="1680" y="1692"/>
                  </a:lnTo>
                  <a:lnTo>
                    <a:pt x="1668" y="1692"/>
                  </a:lnTo>
                  <a:lnTo>
                    <a:pt x="1662" y="1692"/>
                  </a:lnTo>
                  <a:lnTo>
                    <a:pt x="1656" y="1692"/>
                  </a:lnTo>
                  <a:lnTo>
                    <a:pt x="1650" y="1698"/>
                  </a:lnTo>
                  <a:lnTo>
                    <a:pt x="1644" y="1698"/>
                  </a:lnTo>
                  <a:lnTo>
                    <a:pt x="1638" y="1698"/>
                  </a:lnTo>
                  <a:lnTo>
                    <a:pt x="1632" y="1698"/>
                  </a:lnTo>
                  <a:lnTo>
                    <a:pt x="1632" y="1692"/>
                  </a:lnTo>
                  <a:lnTo>
                    <a:pt x="1620" y="1680"/>
                  </a:lnTo>
                  <a:lnTo>
                    <a:pt x="1614" y="1680"/>
                  </a:lnTo>
                  <a:lnTo>
                    <a:pt x="1608" y="1680"/>
                  </a:lnTo>
                  <a:lnTo>
                    <a:pt x="1602" y="1680"/>
                  </a:lnTo>
                  <a:lnTo>
                    <a:pt x="1596" y="1674"/>
                  </a:lnTo>
                  <a:lnTo>
                    <a:pt x="1584" y="1674"/>
                  </a:lnTo>
                  <a:lnTo>
                    <a:pt x="1572" y="1674"/>
                  </a:lnTo>
                  <a:lnTo>
                    <a:pt x="1560" y="1674"/>
                  </a:lnTo>
                  <a:lnTo>
                    <a:pt x="1542" y="1680"/>
                  </a:lnTo>
                  <a:lnTo>
                    <a:pt x="1530" y="1680"/>
                  </a:lnTo>
                  <a:lnTo>
                    <a:pt x="1530" y="1674"/>
                  </a:lnTo>
                  <a:lnTo>
                    <a:pt x="1524" y="1674"/>
                  </a:lnTo>
                  <a:lnTo>
                    <a:pt x="1518" y="1674"/>
                  </a:lnTo>
                  <a:lnTo>
                    <a:pt x="1512" y="1674"/>
                  </a:lnTo>
                  <a:lnTo>
                    <a:pt x="1506" y="1674"/>
                  </a:lnTo>
                  <a:lnTo>
                    <a:pt x="1500" y="1680"/>
                  </a:lnTo>
                  <a:lnTo>
                    <a:pt x="1488" y="1680"/>
                  </a:lnTo>
                  <a:lnTo>
                    <a:pt x="1482" y="1674"/>
                  </a:lnTo>
                  <a:lnTo>
                    <a:pt x="1476" y="1674"/>
                  </a:lnTo>
                  <a:lnTo>
                    <a:pt x="1464" y="1674"/>
                  </a:lnTo>
                  <a:lnTo>
                    <a:pt x="1452" y="1680"/>
                  </a:lnTo>
                  <a:lnTo>
                    <a:pt x="1434" y="1680"/>
                  </a:lnTo>
                  <a:lnTo>
                    <a:pt x="1422" y="1680"/>
                  </a:lnTo>
                  <a:lnTo>
                    <a:pt x="1416" y="1680"/>
                  </a:lnTo>
                  <a:lnTo>
                    <a:pt x="1404" y="1674"/>
                  </a:lnTo>
                  <a:lnTo>
                    <a:pt x="1398" y="1674"/>
                  </a:lnTo>
                  <a:lnTo>
                    <a:pt x="1392" y="1662"/>
                  </a:lnTo>
                  <a:lnTo>
                    <a:pt x="1380" y="1644"/>
                  </a:lnTo>
                  <a:lnTo>
                    <a:pt x="1374" y="1632"/>
                  </a:lnTo>
                  <a:lnTo>
                    <a:pt x="1362" y="1626"/>
                  </a:lnTo>
                  <a:lnTo>
                    <a:pt x="1356" y="1620"/>
                  </a:lnTo>
                  <a:lnTo>
                    <a:pt x="1350" y="1626"/>
                  </a:lnTo>
                  <a:lnTo>
                    <a:pt x="1338" y="1626"/>
                  </a:lnTo>
                  <a:lnTo>
                    <a:pt x="1326" y="1626"/>
                  </a:lnTo>
                  <a:lnTo>
                    <a:pt x="1314" y="1620"/>
                  </a:lnTo>
                  <a:lnTo>
                    <a:pt x="1308" y="1614"/>
                  </a:lnTo>
                  <a:lnTo>
                    <a:pt x="1302" y="1608"/>
                  </a:lnTo>
                  <a:lnTo>
                    <a:pt x="1296" y="1602"/>
                  </a:lnTo>
                  <a:lnTo>
                    <a:pt x="1290" y="1602"/>
                  </a:lnTo>
                  <a:lnTo>
                    <a:pt x="1290" y="1596"/>
                  </a:lnTo>
                  <a:lnTo>
                    <a:pt x="1284" y="1590"/>
                  </a:lnTo>
                  <a:lnTo>
                    <a:pt x="1272" y="1584"/>
                  </a:lnTo>
                  <a:lnTo>
                    <a:pt x="1254" y="1572"/>
                  </a:lnTo>
                  <a:lnTo>
                    <a:pt x="1236" y="1554"/>
                  </a:lnTo>
                  <a:lnTo>
                    <a:pt x="1230" y="1554"/>
                  </a:lnTo>
                  <a:lnTo>
                    <a:pt x="1224" y="1554"/>
                  </a:lnTo>
                  <a:lnTo>
                    <a:pt x="1212" y="1554"/>
                  </a:lnTo>
                  <a:lnTo>
                    <a:pt x="1194" y="1542"/>
                  </a:lnTo>
                  <a:lnTo>
                    <a:pt x="1188" y="1536"/>
                  </a:lnTo>
                  <a:lnTo>
                    <a:pt x="1182" y="1530"/>
                  </a:lnTo>
                  <a:lnTo>
                    <a:pt x="1176" y="1530"/>
                  </a:lnTo>
                  <a:lnTo>
                    <a:pt x="1170" y="1530"/>
                  </a:lnTo>
                  <a:lnTo>
                    <a:pt x="1158" y="1524"/>
                  </a:lnTo>
                  <a:lnTo>
                    <a:pt x="1152" y="1524"/>
                  </a:lnTo>
                  <a:lnTo>
                    <a:pt x="1140" y="1518"/>
                  </a:lnTo>
                  <a:lnTo>
                    <a:pt x="1128" y="1518"/>
                  </a:lnTo>
                  <a:lnTo>
                    <a:pt x="1122" y="1518"/>
                  </a:lnTo>
                  <a:lnTo>
                    <a:pt x="1116" y="1518"/>
                  </a:lnTo>
                  <a:lnTo>
                    <a:pt x="1104" y="1518"/>
                  </a:lnTo>
                  <a:lnTo>
                    <a:pt x="1092" y="1518"/>
                  </a:lnTo>
                  <a:lnTo>
                    <a:pt x="1080" y="1518"/>
                  </a:lnTo>
                  <a:lnTo>
                    <a:pt x="1068" y="1518"/>
                  </a:lnTo>
                  <a:lnTo>
                    <a:pt x="1062" y="1518"/>
                  </a:lnTo>
                  <a:lnTo>
                    <a:pt x="1056" y="1518"/>
                  </a:lnTo>
                  <a:lnTo>
                    <a:pt x="1050" y="1512"/>
                  </a:lnTo>
                  <a:lnTo>
                    <a:pt x="1044" y="1512"/>
                  </a:lnTo>
                  <a:lnTo>
                    <a:pt x="1038" y="1512"/>
                  </a:lnTo>
                  <a:lnTo>
                    <a:pt x="1032" y="1506"/>
                  </a:lnTo>
                  <a:lnTo>
                    <a:pt x="1026" y="1500"/>
                  </a:lnTo>
                  <a:lnTo>
                    <a:pt x="1026" y="1494"/>
                  </a:lnTo>
                  <a:lnTo>
                    <a:pt x="1020" y="1476"/>
                  </a:lnTo>
                  <a:lnTo>
                    <a:pt x="1008" y="1464"/>
                  </a:lnTo>
                  <a:lnTo>
                    <a:pt x="1008" y="1458"/>
                  </a:lnTo>
                  <a:lnTo>
                    <a:pt x="1002" y="1446"/>
                  </a:lnTo>
                  <a:lnTo>
                    <a:pt x="996" y="1446"/>
                  </a:lnTo>
                  <a:lnTo>
                    <a:pt x="990" y="1440"/>
                  </a:lnTo>
                  <a:lnTo>
                    <a:pt x="984" y="1434"/>
                  </a:lnTo>
                  <a:lnTo>
                    <a:pt x="978" y="1434"/>
                  </a:lnTo>
                  <a:lnTo>
                    <a:pt x="972" y="1434"/>
                  </a:lnTo>
                  <a:lnTo>
                    <a:pt x="966" y="1428"/>
                  </a:lnTo>
                  <a:lnTo>
                    <a:pt x="954" y="1422"/>
                  </a:lnTo>
                  <a:lnTo>
                    <a:pt x="942" y="1416"/>
                  </a:lnTo>
                  <a:lnTo>
                    <a:pt x="924" y="1398"/>
                  </a:lnTo>
                  <a:lnTo>
                    <a:pt x="912" y="1386"/>
                  </a:lnTo>
                  <a:lnTo>
                    <a:pt x="900" y="1386"/>
                  </a:lnTo>
                  <a:lnTo>
                    <a:pt x="894" y="1386"/>
                  </a:lnTo>
                  <a:lnTo>
                    <a:pt x="882" y="1392"/>
                  </a:lnTo>
                  <a:lnTo>
                    <a:pt x="876" y="1392"/>
                  </a:lnTo>
                  <a:lnTo>
                    <a:pt x="864" y="1398"/>
                  </a:lnTo>
                  <a:lnTo>
                    <a:pt x="864" y="1404"/>
                  </a:lnTo>
                  <a:lnTo>
                    <a:pt x="858" y="1410"/>
                  </a:lnTo>
                  <a:lnTo>
                    <a:pt x="852" y="1410"/>
                  </a:lnTo>
                  <a:lnTo>
                    <a:pt x="846" y="1410"/>
                  </a:lnTo>
                  <a:lnTo>
                    <a:pt x="834" y="1410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10" y="1428"/>
                  </a:lnTo>
                  <a:lnTo>
                    <a:pt x="798" y="1428"/>
                  </a:lnTo>
                  <a:lnTo>
                    <a:pt x="792" y="1428"/>
                  </a:lnTo>
                  <a:lnTo>
                    <a:pt x="780" y="1434"/>
                  </a:lnTo>
                  <a:lnTo>
                    <a:pt x="774" y="1428"/>
                  </a:lnTo>
                  <a:lnTo>
                    <a:pt x="762" y="1428"/>
                  </a:lnTo>
                  <a:lnTo>
                    <a:pt x="756" y="1422"/>
                  </a:lnTo>
                  <a:lnTo>
                    <a:pt x="750" y="1416"/>
                  </a:lnTo>
                  <a:lnTo>
                    <a:pt x="744" y="1410"/>
                  </a:lnTo>
                  <a:lnTo>
                    <a:pt x="744" y="1398"/>
                  </a:lnTo>
                  <a:lnTo>
                    <a:pt x="744" y="1386"/>
                  </a:lnTo>
                  <a:lnTo>
                    <a:pt x="750" y="1380"/>
                  </a:lnTo>
                  <a:lnTo>
                    <a:pt x="750" y="1374"/>
                  </a:lnTo>
                  <a:lnTo>
                    <a:pt x="750" y="1368"/>
                  </a:lnTo>
                  <a:lnTo>
                    <a:pt x="756" y="1362"/>
                  </a:lnTo>
                  <a:lnTo>
                    <a:pt x="750" y="1350"/>
                  </a:lnTo>
                  <a:lnTo>
                    <a:pt x="744" y="1344"/>
                  </a:lnTo>
                  <a:lnTo>
                    <a:pt x="738" y="1338"/>
                  </a:lnTo>
                  <a:lnTo>
                    <a:pt x="726" y="1338"/>
                  </a:lnTo>
                  <a:lnTo>
                    <a:pt x="720" y="1338"/>
                  </a:lnTo>
                  <a:lnTo>
                    <a:pt x="714" y="1338"/>
                  </a:lnTo>
                  <a:lnTo>
                    <a:pt x="708" y="1332"/>
                  </a:lnTo>
                  <a:lnTo>
                    <a:pt x="702" y="1332"/>
                  </a:lnTo>
                  <a:lnTo>
                    <a:pt x="696" y="1326"/>
                  </a:lnTo>
                  <a:lnTo>
                    <a:pt x="684" y="1326"/>
                  </a:lnTo>
                  <a:lnTo>
                    <a:pt x="678" y="1326"/>
                  </a:lnTo>
                  <a:lnTo>
                    <a:pt x="672" y="1314"/>
                  </a:lnTo>
                  <a:lnTo>
                    <a:pt x="666" y="1308"/>
                  </a:lnTo>
                  <a:lnTo>
                    <a:pt x="654" y="1296"/>
                  </a:lnTo>
                  <a:lnTo>
                    <a:pt x="654" y="1290"/>
                  </a:lnTo>
                  <a:lnTo>
                    <a:pt x="630" y="1284"/>
                  </a:lnTo>
                  <a:lnTo>
                    <a:pt x="630" y="1278"/>
                  </a:lnTo>
                  <a:lnTo>
                    <a:pt x="624" y="1278"/>
                  </a:lnTo>
                  <a:lnTo>
                    <a:pt x="618" y="1266"/>
                  </a:lnTo>
                  <a:lnTo>
                    <a:pt x="612" y="1266"/>
                  </a:lnTo>
                  <a:lnTo>
                    <a:pt x="606" y="1266"/>
                  </a:lnTo>
                  <a:lnTo>
                    <a:pt x="606" y="1260"/>
                  </a:lnTo>
                  <a:lnTo>
                    <a:pt x="594" y="1248"/>
                  </a:lnTo>
                  <a:lnTo>
                    <a:pt x="582" y="1248"/>
                  </a:lnTo>
                  <a:lnTo>
                    <a:pt x="576" y="1242"/>
                  </a:lnTo>
                  <a:lnTo>
                    <a:pt x="570" y="1236"/>
                  </a:lnTo>
                  <a:lnTo>
                    <a:pt x="504" y="1164"/>
                  </a:lnTo>
                  <a:lnTo>
                    <a:pt x="450" y="1110"/>
                  </a:lnTo>
                  <a:lnTo>
                    <a:pt x="426" y="1092"/>
                  </a:lnTo>
                  <a:lnTo>
                    <a:pt x="426" y="1074"/>
                  </a:lnTo>
                  <a:lnTo>
                    <a:pt x="420" y="1062"/>
                  </a:lnTo>
                  <a:lnTo>
                    <a:pt x="396" y="1056"/>
                  </a:lnTo>
                  <a:lnTo>
                    <a:pt x="384" y="1032"/>
                  </a:lnTo>
                  <a:lnTo>
                    <a:pt x="372" y="1020"/>
                  </a:lnTo>
                  <a:lnTo>
                    <a:pt x="360" y="984"/>
                  </a:lnTo>
                  <a:lnTo>
                    <a:pt x="348" y="978"/>
                  </a:lnTo>
                  <a:lnTo>
                    <a:pt x="342" y="972"/>
                  </a:lnTo>
                  <a:lnTo>
                    <a:pt x="348" y="960"/>
                  </a:lnTo>
                  <a:lnTo>
                    <a:pt x="342" y="954"/>
                  </a:lnTo>
                  <a:lnTo>
                    <a:pt x="336" y="954"/>
                  </a:lnTo>
                  <a:lnTo>
                    <a:pt x="330" y="954"/>
                  </a:lnTo>
                  <a:lnTo>
                    <a:pt x="324" y="972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0" y="966"/>
                  </a:lnTo>
                  <a:lnTo>
                    <a:pt x="294" y="966"/>
                  </a:lnTo>
                  <a:lnTo>
                    <a:pt x="288" y="972"/>
                  </a:lnTo>
                  <a:lnTo>
                    <a:pt x="288" y="966"/>
                  </a:lnTo>
                  <a:lnTo>
                    <a:pt x="282" y="948"/>
                  </a:lnTo>
                  <a:lnTo>
                    <a:pt x="282" y="942"/>
                  </a:lnTo>
                  <a:lnTo>
                    <a:pt x="276" y="942"/>
                  </a:lnTo>
                  <a:lnTo>
                    <a:pt x="276" y="936"/>
                  </a:lnTo>
                  <a:lnTo>
                    <a:pt x="270" y="942"/>
                  </a:lnTo>
                  <a:lnTo>
                    <a:pt x="264" y="948"/>
                  </a:lnTo>
                  <a:lnTo>
                    <a:pt x="264" y="942"/>
                  </a:lnTo>
                  <a:lnTo>
                    <a:pt x="258" y="942"/>
                  </a:lnTo>
                  <a:lnTo>
                    <a:pt x="252" y="948"/>
                  </a:lnTo>
                  <a:lnTo>
                    <a:pt x="252" y="942"/>
                  </a:lnTo>
                  <a:lnTo>
                    <a:pt x="246" y="936"/>
                  </a:lnTo>
                  <a:lnTo>
                    <a:pt x="240" y="942"/>
                  </a:lnTo>
                  <a:lnTo>
                    <a:pt x="234" y="936"/>
                  </a:lnTo>
                  <a:lnTo>
                    <a:pt x="228" y="936"/>
                  </a:lnTo>
                  <a:lnTo>
                    <a:pt x="222" y="936"/>
                  </a:lnTo>
                  <a:lnTo>
                    <a:pt x="222" y="930"/>
                  </a:lnTo>
                  <a:lnTo>
                    <a:pt x="222" y="924"/>
                  </a:lnTo>
                  <a:lnTo>
                    <a:pt x="228" y="924"/>
                  </a:lnTo>
                  <a:lnTo>
                    <a:pt x="234" y="924"/>
                  </a:lnTo>
                  <a:lnTo>
                    <a:pt x="240" y="924"/>
                  </a:lnTo>
                  <a:lnTo>
                    <a:pt x="240" y="918"/>
                  </a:lnTo>
                  <a:lnTo>
                    <a:pt x="246" y="918"/>
                  </a:lnTo>
                  <a:lnTo>
                    <a:pt x="246" y="912"/>
                  </a:lnTo>
                  <a:lnTo>
                    <a:pt x="240" y="906"/>
                  </a:lnTo>
                  <a:lnTo>
                    <a:pt x="234" y="906"/>
                  </a:lnTo>
                  <a:lnTo>
                    <a:pt x="228" y="906"/>
                  </a:lnTo>
                  <a:lnTo>
                    <a:pt x="228" y="912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8" y="894"/>
                  </a:lnTo>
                  <a:lnTo>
                    <a:pt x="234" y="894"/>
                  </a:lnTo>
                  <a:lnTo>
                    <a:pt x="228" y="888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198" y="888"/>
                  </a:lnTo>
                  <a:lnTo>
                    <a:pt x="192" y="882"/>
                  </a:lnTo>
                  <a:lnTo>
                    <a:pt x="186" y="882"/>
                  </a:lnTo>
                  <a:lnTo>
                    <a:pt x="186" y="876"/>
                  </a:lnTo>
                  <a:lnTo>
                    <a:pt x="192" y="876"/>
                  </a:lnTo>
                  <a:lnTo>
                    <a:pt x="192" y="870"/>
                  </a:lnTo>
                  <a:lnTo>
                    <a:pt x="198" y="870"/>
                  </a:lnTo>
                  <a:lnTo>
                    <a:pt x="198" y="864"/>
                  </a:lnTo>
                  <a:lnTo>
                    <a:pt x="198" y="858"/>
                  </a:lnTo>
                  <a:lnTo>
                    <a:pt x="180" y="852"/>
                  </a:lnTo>
                  <a:lnTo>
                    <a:pt x="174" y="840"/>
                  </a:lnTo>
                  <a:lnTo>
                    <a:pt x="162" y="846"/>
                  </a:lnTo>
                  <a:lnTo>
                    <a:pt x="156" y="846"/>
                  </a:lnTo>
                  <a:lnTo>
                    <a:pt x="150" y="846"/>
                  </a:lnTo>
                  <a:lnTo>
                    <a:pt x="150" y="840"/>
                  </a:lnTo>
                  <a:lnTo>
                    <a:pt x="138" y="834"/>
                  </a:lnTo>
                  <a:lnTo>
                    <a:pt x="132" y="834"/>
                  </a:lnTo>
                  <a:lnTo>
                    <a:pt x="132" y="840"/>
                  </a:lnTo>
                  <a:lnTo>
                    <a:pt x="126" y="840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58"/>
                  </a:lnTo>
                  <a:lnTo>
                    <a:pt x="120" y="846"/>
                  </a:lnTo>
                  <a:lnTo>
                    <a:pt x="114" y="846"/>
                  </a:lnTo>
                  <a:lnTo>
                    <a:pt x="108" y="840"/>
                  </a:lnTo>
                  <a:lnTo>
                    <a:pt x="102" y="834"/>
                  </a:lnTo>
                  <a:lnTo>
                    <a:pt x="102" y="822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78" y="804"/>
                  </a:lnTo>
                  <a:lnTo>
                    <a:pt x="78" y="798"/>
                  </a:lnTo>
                  <a:lnTo>
                    <a:pt x="78" y="792"/>
                  </a:lnTo>
                  <a:lnTo>
                    <a:pt x="78" y="786"/>
                  </a:lnTo>
                  <a:lnTo>
                    <a:pt x="78" y="780"/>
                  </a:lnTo>
                  <a:lnTo>
                    <a:pt x="72" y="774"/>
                  </a:lnTo>
                  <a:lnTo>
                    <a:pt x="66" y="774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60" y="762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6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2" y="666"/>
                  </a:lnTo>
                  <a:lnTo>
                    <a:pt x="18" y="648"/>
                  </a:lnTo>
                  <a:lnTo>
                    <a:pt x="24" y="636"/>
                  </a:lnTo>
                  <a:lnTo>
                    <a:pt x="30" y="630"/>
                  </a:lnTo>
                  <a:lnTo>
                    <a:pt x="30" y="624"/>
                  </a:lnTo>
                  <a:lnTo>
                    <a:pt x="30" y="612"/>
                  </a:lnTo>
                  <a:lnTo>
                    <a:pt x="30" y="606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66" y="582"/>
                  </a:lnTo>
                  <a:lnTo>
                    <a:pt x="72" y="588"/>
                  </a:lnTo>
                  <a:lnTo>
                    <a:pt x="84" y="594"/>
                  </a:lnTo>
                  <a:lnTo>
                    <a:pt x="90" y="600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14" y="612"/>
                  </a:lnTo>
                  <a:lnTo>
                    <a:pt x="120" y="612"/>
                  </a:lnTo>
                  <a:lnTo>
                    <a:pt x="126" y="618"/>
                  </a:lnTo>
                  <a:lnTo>
                    <a:pt x="138" y="594"/>
                  </a:lnTo>
                  <a:lnTo>
                    <a:pt x="138" y="582"/>
                  </a:lnTo>
                  <a:lnTo>
                    <a:pt x="138" y="570"/>
                  </a:lnTo>
                  <a:lnTo>
                    <a:pt x="138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50" y="528"/>
                  </a:lnTo>
                  <a:lnTo>
                    <a:pt x="156" y="510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62"/>
                  </a:lnTo>
                  <a:lnTo>
                    <a:pt x="168" y="450"/>
                  </a:lnTo>
                  <a:lnTo>
                    <a:pt x="168" y="444"/>
                  </a:lnTo>
                  <a:lnTo>
                    <a:pt x="162" y="432"/>
                  </a:lnTo>
                  <a:lnTo>
                    <a:pt x="162" y="426"/>
                  </a:lnTo>
                  <a:lnTo>
                    <a:pt x="156" y="420"/>
                  </a:lnTo>
                  <a:lnTo>
                    <a:pt x="144" y="414"/>
                  </a:lnTo>
                  <a:lnTo>
                    <a:pt x="132" y="402"/>
                  </a:lnTo>
                  <a:lnTo>
                    <a:pt x="126" y="390"/>
                  </a:lnTo>
                  <a:lnTo>
                    <a:pt x="120" y="384"/>
                  </a:lnTo>
                  <a:lnTo>
                    <a:pt x="120" y="372"/>
                  </a:lnTo>
                  <a:lnTo>
                    <a:pt x="114" y="360"/>
                  </a:lnTo>
                  <a:lnTo>
                    <a:pt x="108" y="360"/>
                  </a:lnTo>
                  <a:lnTo>
                    <a:pt x="108" y="354"/>
                  </a:lnTo>
                  <a:lnTo>
                    <a:pt x="102" y="348"/>
                  </a:lnTo>
                  <a:lnTo>
                    <a:pt x="102" y="342"/>
                  </a:lnTo>
                  <a:lnTo>
                    <a:pt x="108" y="330"/>
                  </a:lnTo>
                  <a:lnTo>
                    <a:pt x="114" y="312"/>
                  </a:lnTo>
                  <a:lnTo>
                    <a:pt x="114" y="300"/>
                  </a:lnTo>
                  <a:lnTo>
                    <a:pt x="120" y="288"/>
                  </a:lnTo>
                  <a:lnTo>
                    <a:pt x="120" y="282"/>
                  </a:lnTo>
                  <a:lnTo>
                    <a:pt x="114" y="270"/>
                  </a:lnTo>
                  <a:lnTo>
                    <a:pt x="114" y="258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84" y="222"/>
                  </a:lnTo>
                  <a:lnTo>
                    <a:pt x="84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84" y="186"/>
                  </a:lnTo>
                  <a:lnTo>
                    <a:pt x="84" y="180"/>
                  </a:lnTo>
                  <a:lnTo>
                    <a:pt x="108" y="174"/>
                  </a:lnTo>
                  <a:lnTo>
                    <a:pt x="132" y="186"/>
                  </a:lnTo>
                  <a:lnTo>
                    <a:pt x="138" y="192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56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74" y="204"/>
                  </a:lnTo>
                  <a:lnTo>
                    <a:pt x="180" y="216"/>
                  </a:lnTo>
                  <a:lnTo>
                    <a:pt x="186" y="228"/>
                  </a:lnTo>
                  <a:lnTo>
                    <a:pt x="192" y="234"/>
                  </a:lnTo>
                  <a:lnTo>
                    <a:pt x="198" y="234"/>
                  </a:lnTo>
                  <a:lnTo>
                    <a:pt x="204" y="240"/>
                  </a:lnTo>
                  <a:lnTo>
                    <a:pt x="210" y="240"/>
                  </a:lnTo>
                  <a:lnTo>
                    <a:pt x="216" y="240"/>
                  </a:lnTo>
                  <a:lnTo>
                    <a:pt x="222" y="240"/>
                  </a:lnTo>
                  <a:lnTo>
                    <a:pt x="228" y="246"/>
                  </a:lnTo>
                  <a:lnTo>
                    <a:pt x="234" y="246"/>
                  </a:lnTo>
                  <a:lnTo>
                    <a:pt x="240" y="246"/>
                  </a:lnTo>
                  <a:lnTo>
                    <a:pt x="252" y="252"/>
                  </a:lnTo>
                  <a:lnTo>
                    <a:pt x="330" y="246"/>
                  </a:lnTo>
                  <a:lnTo>
                    <a:pt x="360" y="228"/>
                  </a:lnTo>
                  <a:lnTo>
                    <a:pt x="396" y="228"/>
                  </a:lnTo>
                  <a:lnTo>
                    <a:pt x="402" y="240"/>
                  </a:lnTo>
                  <a:lnTo>
                    <a:pt x="432" y="240"/>
                  </a:lnTo>
                  <a:lnTo>
                    <a:pt x="450" y="258"/>
                  </a:lnTo>
                  <a:lnTo>
                    <a:pt x="468" y="258"/>
                  </a:lnTo>
                  <a:lnTo>
                    <a:pt x="474" y="294"/>
                  </a:lnTo>
                  <a:lnTo>
                    <a:pt x="558" y="318"/>
                  </a:lnTo>
                  <a:lnTo>
                    <a:pt x="588" y="318"/>
                  </a:lnTo>
                  <a:lnTo>
                    <a:pt x="588" y="312"/>
                  </a:lnTo>
                  <a:lnTo>
                    <a:pt x="594" y="306"/>
                  </a:lnTo>
                  <a:lnTo>
                    <a:pt x="600" y="306"/>
                  </a:lnTo>
                  <a:lnTo>
                    <a:pt x="612" y="300"/>
                  </a:lnTo>
                  <a:lnTo>
                    <a:pt x="618" y="300"/>
                  </a:lnTo>
                  <a:lnTo>
                    <a:pt x="630" y="300"/>
                  </a:lnTo>
                  <a:lnTo>
                    <a:pt x="642" y="306"/>
                  </a:lnTo>
                  <a:lnTo>
                    <a:pt x="660" y="306"/>
                  </a:lnTo>
                  <a:lnTo>
                    <a:pt x="666" y="306"/>
                  </a:lnTo>
                  <a:lnTo>
                    <a:pt x="672" y="306"/>
                  </a:lnTo>
                  <a:lnTo>
                    <a:pt x="684" y="300"/>
                  </a:lnTo>
                  <a:lnTo>
                    <a:pt x="696" y="294"/>
                  </a:lnTo>
                  <a:lnTo>
                    <a:pt x="702" y="288"/>
                  </a:lnTo>
                  <a:lnTo>
                    <a:pt x="714" y="282"/>
                  </a:lnTo>
                  <a:lnTo>
                    <a:pt x="714" y="288"/>
                  </a:lnTo>
                  <a:lnTo>
                    <a:pt x="726" y="300"/>
                  </a:lnTo>
                  <a:lnTo>
                    <a:pt x="732" y="306"/>
                  </a:lnTo>
                  <a:lnTo>
                    <a:pt x="732" y="318"/>
                  </a:lnTo>
                  <a:lnTo>
                    <a:pt x="732" y="330"/>
                  </a:lnTo>
                  <a:lnTo>
                    <a:pt x="726" y="342"/>
                  </a:lnTo>
                  <a:lnTo>
                    <a:pt x="720" y="354"/>
                  </a:lnTo>
                  <a:lnTo>
                    <a:pt x="720" y="360"/>
                  </a:lnTo>
                  <a:lnTo>
                    <a:pt x="714" y="372"/>
                  </a:lnTo>
                  <a:lnTo>
                    <a:pt x="714" y="378"/>
                  </a:lnTo>
                  <a:lnTo>
                    <a:pt x="714" y="408"/>
                  </a:lnTo>
                  <a:lnTo>
                    <a:pt x="708" y="420"/>
                  </a:lnTo>
                  <a:lnTo>
                    <a:pt x="714" y="432"/>
                  </a:lnTo>
                  <a:lnTo>
                    <a:pt x="708" y="450"/>
                  </a:lnTo>
                  <a:lnTo>
                    <a:pt x="708" y="468"/>
                  </a:lnTo>
                  <a:lnTo>
                    <a:pt x="696" y="480"/>
                  </a:lnTo>
                  <a:lnTo>
                    <a:pt x="684" y="486"/>
                  </a:lnTo>
                  <a:lnTo>
                    <a:pt x="672" y="492"/>
                  </a:lnTo>
                  <a:lnTo>
                    <a:pt x="660" y="498"/>
                  </a:lnTo>
                  <a:lnTo>
                    <a:pt x="654" y="510"/>
                  </a:lnTo>
                  <a:lnTo>
                    <a:pt x="648" y="516"/>
                  </a:lnTo>
                  <a:lnTo>
                    <a:pt x="642" y="522"/>
                  </a:lnTo>
                  <a:lnTo>
                    <a:pt x="630" y="522"/>
                  </a:lnTo>
                  <a:lnTo>
                    <a:pt x="624" y="528"/>
                  </a:lnTo>
                  <a:lnTo>
                    <a:pt x="618" y="540"/>
                  </a:lnTo>
                  <a:lnTo>
                    <a:pt x="618" y="558"/>
                  </a:lnTo>
                  <a:lnTo>
                    <a:pt x="612" y="576"/>
                  </a:lnTo>
                  <a:lnTo>
                    <a:pt x="612" y="684"/>
                  </a:lnTo>
                  <a:lnTo>
                    <a:pt x="618" y="696"/>
                  </a:lnTo>
                  <a:lnTo>
                    <a:pt x="636" y="696"/>
                  </a:lnTo>
                  <a:lnTo>
                    <a:pt x="636" y="720"/>
                  </a:lnTo>
                  <a:lnTo>
                    <a:pt x="636" y="732"/>
                  </a:lnTo>
                  <a:lnTo>
                    <a:pt x="618" y="750"/>
                  </a:lnTo>
                  <a:lnTo>
                    <a:pt x="606" y="762"/>
                  </a:lnTo>
                  <a:lnTo>
                    <a:pt x="600" y="774"/>
                  </a:lnTo>
                  <a:lnTo>
                    <a:pt x="594" y="798"/>
                  </a:lnTo>
                  <a:lnTo>
                    <a:pt x="606" y="798"/>
                  </a:lnTo>
                  <a:lnTo>
                    <a:pt x="660" y="792"/>
                  </a:lnTo>
                  <a:lnTo>
                    <a:pt x="696" y="798"/>
                  </a:lnTo>
                  <a:lnTo>
                    <a:pt x="720" y="798"/>
                  </a:lnTo>
                  <a:lnTo>
                    <a:pt x="720" y="786"/>
                  </a:lnTo>
                  <a:lnTo>
                    <a:pt x="720" y="774"/>
                  </a:lnTo>
                  <a:lnTo>
                    <a:pt x="702" y="762"/>
                  </a:lnTo>
                  <a:lnTo>
                    <a:pt x="702" y="750"/>
                  </a:lnTo>
                  <a:lnTo>
                    <a:pt x="702" y="726"/>
                  </a:lnTo>
                  <a:lnTo>
                    <a:pt x="714" y="714"/>
                  </a:lnTo>
                  <a:lnTo>
                    <a:pt x="720" y="702"/>
                  </a:lnTo>
                  <a:lnTo>
                    <a:pt x="720" y="696"/>
                  </a:lnTo>
                  <a:lnTo>
                    <a:pt x="744" y="690"/>
                  </a:lnTo>
                  <a:lnTo>
                    <a:pt x="744" y="696"/>
                  </a:lnTo>
                  <a:lnTo>
                    <a:pt x="756" y="696"/>
                  </a:lnTo>
                  <a:lnTo>
                    <a:pt x="762" y="690"/>
                  </a:lnTo>
                  <a:lnTo>
                    <a:pt x="768" y="690"/>
                  </a:lnTo>
                  <a:lnTo>
                    <a:pt x="774" y="696"/>
                  </a:lnTo>
                  <a:lnTo>
                    <a:pt x="780" y="696"/>
                  </a:lnTo>
                  <a:lnTo>
                    <a:pt x="786" y="696"/>
                  </a:lnTo>
                  <a:lnTo>
                    <a:pt x="804" y="684"/>
                  </a:lnTo>
                  <a:lnTo>
                    <a:pt x="810" y="684"/>
                  </a:lnTo>
                  <a:lnTo>
                    <a:pt x="810" y="654"/>
                  </a:lnTo>
                  <a:lnTo>
                    <a:pt x="816" y="588"/>
                  </a:lnTo>
                  <a:lnTo>
                    <a:pt x="804" y="582"/>
                  </a:lnTo>
                  <a:lnTo>
                    <a:pt x="798" y="552"/>
                  </a:lnTo>
                  <a:lnTo>
                    <a:pt x="798" y="480"/>
                  </a:lnTo>
                  <a:lnTo>
                    <a:pt x="780" y="468"/>
                  </a:lnTo>
                  <a:lnTo>
                    <a:pt x="780" y="462"/>
                  </a:lnTo>
                  <a:lnTo>
                    <a:pt x="774" y="450"/>
                  </a:lnTo>
                  <a:lnTo>
                    <a:pt x="762" y="444"/>
                  </a:lnTo>
                  <a:lnTo>
                    <a:pt x="762" y="438"/>
                  </a:lnTo>
                  <a:lnTo>
                    <a:pt x="768" y="432"/>
                  </a:lnTo>
                  <a:lnTo>
                    <a:pt x="774" y="426"/>
                  </a:lnTo>
                  <a:lnTo>
                    <a:pt x="780" y="426"/>
                  </a:lnTo>
                  <a:lnTo>
                    <a:pt x="780" y="414"/>
                  </a:lnTo>
                  <a:lnTo>
                    <a:pt x="834" y="414"/>
                  </a:lnTo>
                  <a:lnTo>
                    <a:pt x="834" y="426"/>
                  </a:lnTo>
                  <a:lnTo>
                    <a:pt x="840" y="432"/>
                  </a:lnTo>
                  <a:lnTo>
                    <a:pt x="846" y="432"/>
                  </a:lnTo>
                  <a:lnTo>
                    <a:pt x="852" y="432"/>
                  </a:lnTo>
                  <a:lnTo>
                    <a:pt x="858" y="432"/>
                  </a:lnTo>
                  <a:lnTo>
                    <a:pt x="870" y="432"/>
                  </a:lnTo>
                  <a:lnTo>
                    <a:pt x="870" y="426"/>
                  </a:lnTo>
                  <a:lnTo>
                    <a:pt x="870" y="420"/>
                  </a:lnTo>
                  <a:lnTo>
                    <a:pt x="876" y="420"/>
                  </a:lnTo>
                  <a:lnTo>
                    <a:pt x="882" y="420"/>
                  </a:lnTo>
                  <a:lnTo>
                    <a:pt x="894" y="414"/>
                  </a:lnTo>
                  <a:lnTo>
                    <a:pt x="900" y="414"/>
                  </a:lnTo>
                  <a:lnTo>
                    <a:pt x="906" y="408"/>
                  </a:lnTo>
                  <a:lnTo>
                    <a:pt x="918" y="408"/>
                  </a:lnTo>
                  <a:lnTo>
                    <a:pt x="924" y="402"/>
                  </a:lnTo>
                  <a:lnTo>
                    <a:pt x="930" y="384"/>
                  </a:lnTo>
                  <a:lnTo>
                    <a:pt x="948" y="396"/>
                  </a:lnTo>
                  <a:lnTo>
                    <a:pt x="954" y="384"/>
                  </a:lnTo>
                  <a:lnTo>
                    <a:pt x="960" y="384"/>
                  </a:lnTo>
                  <a:lnTo>
                    <a:pt x="972" y="384"/>
                  </a:lnTo>
                  <a:lnTo>
                    <a:pt x="978" y="378"/>
                  </a:lnTo>
                  <a:lnTo>
                    <a:pt x="972" y="366"/>
                  </a:lnTo>
                  <a:lnTo>
                    <a:pt x="966" y="342"/>
                  </a:lnTo>
                  <a:lnTo>
                    <a:pt x="960" y="330"/>
                  </a:lnTo>
                  <a:lnTo>
                    <a:pt x="942" y="324"/>
                  </a:lnTo>
                  <a:lnTo>
                    <a:pt x="936" y="318"/>
                  </a:lnTo>
                  <a:lnTo>
                    <a:pt x="936" y="294"/>
                  </a:lnTo>
                  <a:lnTo>
                    <a:pt x="942" y="294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282"/>
                  </a:lnTo>
                  <a:lnTo>
                    <a:pt x="954" y="276"/>
                  </a:lnTo>
                  <a:lnTo>
                    <a:pt x="960" y="276"/>
                  </a:lnTo>
                  <a:lnTo>
                    <a:pt x="966" y="276"/>
                  </a:lnTo>
                  <a:lnTo>
                    <a:pt x="960" y="258"/>
                  </a:lnTo>
                  <a:lnTo>
                    <a:pt x="954" y="240"/>
                  </a:lnTo>
                  <a:lnTo>
                    <a:pt x="948" y="204"/>
                  </a:lnTo>
                  <a:lnTo>
                    <a:pt x="954" y="204"/>
                  </a:lnTo>
                  <a:lnTo>
                    <a:pt x="960" y="198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00" y="186"/>
                  </a:lnTo>
                  <a:lnTo>
                    <a:pt x="876" y="180"/>
                  </a:lnTo>
                  <a:lnTo>
                    <a:pt x="858" y="180"/>
                  </a:lnTo>
                  <a:lnTo>
                    <a:pt x="852" y="168"/>
                  </a:lnTo>
                  <a:lnTo>
                    <a:pt x="834" y="156"/>
                  </a:lnTo>
                  <a:lnTo>
                    <a:pt x="822" y="156"/>
                  </a:lnTo>
                  <a:lnTo>
                    <a:pt x="804" y="156"/>
                  </a:lnTo>
                  <a:lnTo>
                    <a:pt x="804" y="150"/>
                  </a:lnTo>
                  <a:lnTo>
                    <a:pt x="792" y="144"/>
                  </a:lnTo>
                  <a:lnTo>
                    <a:pt x="762" y="138"/>
                  </a:lnTo>
                  <a:lnTo>
                    <a:pt x="768" y="120"/>
                  </a:lnTo>
                  <a:lnTo>
                    <a:pt x="756" y="120"/>
                  </a:lnTo>
                  <a:lnTo>
                    <a:pt x="744" y="108"/>
                  </a:lnTo>
                  <a:lnTo>
                    <a:pt x="744" y="96"/>
                  </a:lnTo>
                  <a:lnTo>
                    <a:pt x="762" y="84"/>
                  </a:lnTo>
                  <a:lnTo>
                    <a:pt x="768" y="84"/>
                  </a:lnTo>
                  <a:lnTo>
                    <a:pt x="768" y="72"/>
                  </a:lnTo>
                  <a:lnTo>
                    <a:pt x="780" y="66"/>
                  </a:lnTo>
                  <a:lnTo>
                    <a:pt x="798" y="54"/>
                  </a:lnTo>
                  <a:lnTo>
                    <a:pt x="792" y="54"/>
                  </a:lnTo>
                  <a:lnTo>
                    <a:pt x="798" y="36"/>
                  </a:lnTo>
                  <a:lnTo>
                    <a:pt x="804" y="36"/>
                  </a:lnTo>
                  <a:lnTo>
                    <a:pt x="816" y="30"/>
                  </a:lnTo>
                  <a:lnTo>
                    <a:pt x="828" y="30"/>
                  </a:lnTo>
                  <a:lnTo>
                    <a:pt x="846" y="12"/>
                  </a:lnTo>
                  <a:lnTo>
                    <a:pt x="876" y="0"/>
                  </a:lnTo>
                  <a:lnTo>
                    <a:pt x="882" y="6"/>
                  </a:lnTo>
                  <a:lnTo>
                    <a:pt x="900" y="6"/>
                  </a:lnTo>
                  <a:lnTo>
                    <a:pt x="912" y="36"/>
                  </a:lnTo>
                  <a:lnTo>
                    <a:pt x="918" y="42"/>
                  </a:lnTo>
                  <a:lnTo>
                    <a:pt x="924" y="54"/>
                  </a:lnTo>
                  <a:lnTo>
                    <a:pt x="930" y="54"/>
                  </a:lnTo>
                  <a:lnTo>
                    <a:pt x="930" y="78"/>
                  </a:lnTo>
                  <a:lnTo>
                    <a:pt x="954" y="72"/>
                  </a:lnTo>
                  <a:lnTo>
                    <a:pt x="954" y="60"/>
                  </a:lnTo>
                  <a:lnTo>
                    <a:pt x="966" y="66"/>
                  </a:lnTo>
                  <a:lnTo>
                    <a:pt x="966" y="78"/>
                  </a:lnTo>
                  <a:lnTo>
                    <a:pt x="960" y="84"/>
                  </a:lnTo>
                  <a:lnTo>
                    <a:pt x="954" y="102"/>
                  </a:lnTo>
                  <a:lnTo>
                    <a:pt x="972" y="102"/>
                  </a:lnTo>
                  <a:lnTo>
                    <a:pt x="978" y="84"/>
                  </a:lnTo>
                  <a:lnTo>
                    <a:pt x="984" y="72"/>
                  </a:lnTo>
                  <a:lnTo>
                    <a:pt x="990" y="72"/>
                  </a:lnTo>
                  <a:lnTo>
                    <a:pt x="996" y="18"/>
                  </a:lnTo>
                  <a:lnTo>
                    <a:pt x="990" y="12"/>
                  </a:lnTo>
                  <a:lnTo>
                    <a:pt x="1014" y="12"/>
                  </a:lnTo>
                  <a:lnTo>
                    <a:pt x="1026" y="12"/>
                  </a:lnTo>
                  <a:lnTo>
                    <a:pt x="1026" y="24"/>
                  </a:lnTo>
                  <a:lnTo>
                    <a:pt x="1050" y="24"/>
                  </a:lnTo>
                  <a:lnTo>
                    <a:pt x="1050" y="36"/>
                  </a:lnTo>
                  <a:lnTo>
                    <a:pt x="1062" y="66"/>
                  </a:lnTo>
                  <a:lnTo>
                    <a:pt x="1074" y="66"/>
                  </a:lnTo>
                  <a:lnTo>
                    <a:pt x="1080" y="60"/>
                  </a:lnTo>
                  <a:lnTo>
                    <a:pt x="1074" y="24"/>
                  </a:lnTo>
                  <a:lnTo>
                    <a:pt x="1086" y="18"/>
                  </a:lnTo>
                  <a:lnTo>
                    <a:pt x="1086" y="12"/>
                  </a:lnTo>
                  <a:lnTo>
                    <a:pt x="1104" y="6"/>
                  </a:lnTo>
                  <a:lnTo>
                    <a:pt x="1122" y="0"/>
                  </a:lnTo>
                  <a:lnTo>
                    <a:pt x="1134" y="6"/>
                  </a:lnTo>
                  <a:lnTo>
                    <a:pt x="1134" y="42"/>
                  </a:lnTo>
                  <a:lnTo>
                    <a:pt x="1140" y="72"/>
                  </a:lnTo>
                  <a:lnTo>
                    <a:pt x="1158" y="114"/>
                  </a:lnTo>
                  <a:lnTo>
                    <a:pt x="1170" y="114"/>
                  </a:lnTo>
                  <a:lnTo>
                    <a:pt x="1170" y="126"/>
                  </a:lnTo>
                  <a:lnTo>
                    <a:pt x="1182" y="126"/>
                  </a:lnTo>
                  <a:lnTo>
                    <a:pt x="1182" y="138"/>
                  </a:lnTo>
                  <a:lnTo>
                    <a:pt x="1194" y="144"/>
                  </a:lnTo>
                  <a:lnTo>
                    <a:pt x="1194" y="156"/>
                  </a:lnTo>
                  <a:lnTo>
                    <a:pt x="1188" y="156"/>
                  </a:lnTo>
                  <a:lnTo>
                    <a:pt x="1194" y="162"/>
                  </a:lnTo>
                  <a:lnTo>
                    <a:pt x="1194" y="168"/>
                  </a:lnTo>
                  <a:lnTo>
                    <a:pt x="1188" y="168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82" y="180"/>
                  </a:lnTo>
                  <a:lnTo>
                    <a:pt x="1188" y="186"/>
                  </a:lnTo>
                  <a:lnTo>
                    <a:pt x="1188" y="192"/>
                  </a:lnTo>
                  <a:lnTo>
                    <a:pt x="1182" y="198"/>
                  </a:lnTo>
                  <a:lnTo>
                    <a:pt x="1182" y="204"/>
                  </a:lnTo>
                  <a:lnTo>
                    <a:pt x="1182" y="210"/>
                  </a:lnTo>
                  <a:lnTo>
                    <a:pt x="1188" y="210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2"/>
                  </a:lnTo>
                  <a:lnTo>
                    <a:pt x="1194" y="264"/>
                  </a:lnTo>
                  <a:lnTo>
                    <a:pt x="1200" y="264"/>
                  </a:lnTo>
                  <a:lnTo>
                    <a:pt x="1212" y="264"/>
                  </a:lnTo>
                  <a:lnTo>
                    <a:pt x="1212" y="258"/>
                  </a:lnTo>
                  <a:lnTo>
                    <a:pt x="1224" y="258"/>
                  </a:lnTo>
                  <a:lnTo>
                    <a:pt x="1248" y="252"/>
                  </a:lnTo>
                  <a:lnTo>
                    <a:pt x="1248" y="264"/>
                  </a:lnTo>
                  <a:lnTo>
                    <a:pt x="1254" y="264"/>
                  </a:lnTo>
                  <a:lnTo>
                    <a:pt x="1254" y="270"/>
                  </a:lnTo>
                  <a:lnTo>
                    <a:pt x="1260" y="270"/>
                  </a:lnTo>
                  <a:lnTo>
                    <a:pt x="1266" y="270"/>
                  </a:lnTo>
                  <a:lnTo>
                    <a:pt x="1272" y="270"/>
                  </a:lnTo>
                  <a:lnTo>
                    <a:pt x="1272" y="264"/>
                  </a:lnTo>
                  <a:lnTo>
                    <a:pt x="1272" y="258"/>
                  </a:lnTo>
                  <a:lnTo>
                    <a:pt x="1278" y="258"/>
                  </a:lnTo>
                  <a:lnTo>
                    <a:pt x="1278" y="252"/>
                  </a:lnTo>
                  <a:lnTo>
                    <a:pt x="1290" y="252"/>
                  </a:lnTo>
                  <a:lnTo>
                    <a:pt x="1296" y="246"/>
                  </a:lnTo>
                  <a:lnTo>
                    <a:pt x="1308" y="246"/>
                  </a:lnTo>
                  <a:lnTo>
                    <a:pt x="1308" y="240"/>
                  </a:lnTo>
                  <a:lnTo>
                    <a:pt x="1320" y="240"/>
                  </a:lnTo>
                  <a:lnTo>
                    <a:pt x="1326" y="246"/>
                  </a:lnTo>
                  <a:lnTo>
                    <a:pt x="1338" y="246"/>
                  </a:lnTo>
                  <a:lnTo>
                    <a:pt x="1338" y="240"/>
                  </a:lnTo>
                  <a:lnTo>
                    <a:pt x="1350" y="240"/>
                  </a:lnTo>
                  <a:lnTo>
                    <a:pt x="1386" y="234"/>
                  </a:lnTo>
                  <a:lnTo>
                    <a:pt x="1398" y="228"/>
                  </a:lnTo>
                  <a:lnTo>
                    <a:pt x="1404" y="216"/>
                  </a:lnTo>
                  <a:lnTo>
                    <a:pt x="1416" y="204"/>
                  </a:lnTo>
                  <a:lnTo>
                    <a:pt x="1434" y="192"/>
                  </a:lnTo>
                  <a:lnTo>
                    <a:pt x="1446" y="198"/>
                  </a:lnTo>
                  <a:lnTo>
                    <a:pt x="1446" y="204"/>
                  </a:lnTo>
                  <a:lnTo>
                    <a:pt x="1452" y="210"/>
                  </a:lnTo>
                  <a:lnTo>
                    <a:pt x="1464" y="222"/>
                  </a:lnTo>
                  <a:lnTo>
                    <a:pt x="1464" y="228"/>
                  </a:lnTo>
                  <a:lnTo>
                    <a:pt x="1464" y="234"/>
                  </a:lnTo>
                  <a:lnTo>
                    <a:pt x="1470" y="240"/>
                  </a:lnTo>
                  <a:lnTo>
                    <a:pt x="1476" y="228"/>
                  </a:lnTo>
                  <a:lnTo>
                    <a:pt x="1476" y="222"/>
                  </a:lnTo>
                  <a:lnTo>
                    <a:pt x="1482" y="210"/>
                  </a:lnTo>
                  <a:lnTo>
                    <a:pt x="1488" y="192"/>
                  </a:lnTo>
                  <a:lnTo>
                    <a:pt x="1488" y="186"/>
                  </a:lnTo>
                  <a:lnTo>
                    <a:pt x="1488" y="180"/>
                  </a:lnTo>
                  <a:lnTo>
                    <a:pt x="1500" y="180"/>
                  </a:lnTo>
                  <a:lnTo>
                    <a:pt x="1500" y="174"/>
                  </a:lnTo>
                  <a:lnTo>
                    <a:pt x="1518" y="162"/>
                  </a:lnTo>
                  <a:lnTo>
                    <a:pt x="1536" y="150"/>
                  </a:lnTo>
                  <a:lnTo>
                    <a:pt x="1554" y="168"/>
                  </a:lnTo>
                  <a:lnTo>
                    <a:pt x="1572" y="180"/>
                  </a:lnTo>
                  <a:lnTo>
                    <a:pt x="1596" y="216"/>
                  </a:lnTo>
                  <a:lnTo>
                    <a:pt x="1602" y="216"/>
                  </a:lnTo>
                  <a:lnTo>
                    <a:pt x="1614" y="228"/>
                  </a:lnTo>
                  <a:lnTo>
                    <a:pt x="1614" y="234"/>
                  </a:lnTo>
                  <a:lnTo>
                    <a:pt x="1620" y="240"/>
                  </a:lnTo>
                  <a:lnTo>
                    <a:pt x="1620" y="246"/>
                  </a:lnTo>
                  <a:lnTo>
                    <a:pt x="1626" y="252"/>
                  </a:lnTo>
                  <a:lnTo>
                    <a:pt x="1632" y="258"/>
                  </a:lnTo>
                  <a:lnTo>
                    <a:pt x="1632" y="264"/>
                  </a:lnTo>
                  <a:lnTo>
                    <a:pt x="1638" y="264"/>
                  </a:lnTo>
                  <a:lnTo>
                    <a:pt x="1638" y="270"/>
                  </a:lnTo>
                  <a:lnTo>
                    <a:pt x="1638" y="276"/>
                  </a:lnTo>
                  <a:lnTo>
                    <a:pt x="1638" y="282"/>
                  </a:lnTo>
                  <a:lnTo>
                    <a:pt x="1644" y="288"/>
                  </a:lnTo>
                  <a:lnTo>
                    <a:pt x="1644" y="294"/>
                  </a:lnTo>
                  <a:lnTo>
                    <a:pt x="1644" y="300"/>
                  </a:lnTo>
                  <a:lnTo>
                    <a:pt x="1644" y="306"/>
                  </a:lnTo>
                  <a:lnTo>
                    <a:pt x="1650" y="306"/>
                  </a:lnTo>
                  <a:lnTo>
                    <a:pt x="1650" y="312"/>
                  </a:lnTo>
                  <a:lnTo>
                    <a:pt x="1650" y="318"/>
                  </a:lnTo>
                  <a:lnTo>
                    <a:pt x="1650" y="324"/>
                  </a:lnTo>
                  <a:lnTo>
                    <a:pt x="1644" y="330"/>
                  </a:lnTo>
                  <a:lnTo>
                    <a:pt x="1626" y="330"/>
                  </a:lnTo>
                  <a:lnTo>
                    <a:pt x="1626" y="336"/>
                  </a:lnTo>
                  <a:lnTo>
                    <a:pt x="1626" y="342"/>
                  </a:lnTo>
                  <a:lnTo>
                    <a:pt x="1626" y="348"/>
                  </a:lnTo>
                  <a:lnTo>
                    <a:pt x="1620" y="354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14" y="390"/>
                  </a:lnTo>
                  <a:lnTo>
                    <a:pt x="1614" y="396"/>
                  </a:lnTo>
                  <a:lnTo>
                    <a:pt x="1614" y="402"/>
                  </a:lnTo>
                  <a:lnTo>
                    <a:pt x="1614" y="408"/>
                  </a:lnTo>
                  <a:lnTo>
                    <a:pt x="1614" y="414"/>
                  </a:lnTo>
                  <a:lnTo>
                    <a:pt x="1602" y="420"/>
                  </a:lnTo>
                  <a:lnTo>
                    <a:pt x="1602" y="426"/>
                  </a:lnTo>
                  <a:lnTo>
                    <a:pt x="1608" y="432"/>
                  </a:lnTo>
                  <a:lnTo>
                    <a:pt x="1614" y="426"/>
                  </a:lnTo>
                  <a:lnTo>
                    <a:pt x="1620" y="438"/>
                  </a:lnTo>
                  <a:lnTo>
                    <a:pt x="1626" y="438"/>
                  </a:lnTo>
                  <a:lnTo>
                    <a:pt x="1632" y="444"/>
                  </a:lnTo>
                  <a:lnTo>
                    <a:pt x="1626" y="456"/>
                  </a:lnTo>
                  <a:lnTo>
                    <a:pt x="1626" y="468"/>
                  </a:lnTo>
                  <a:lnTo>
                    <a:pt x="1620" y="474"/>
                  </a:lnTo>
                  <a:lnTo>
                    <a:pt x="1614" y="474"/>
                  </a:lnTo>
                  <a:lnTo>
                    <a:pt x="1614" y="486"/>
                  </a:lnTo>
                  <a:lnTo>
                    <a:pt x="1614" y="492"/>
                  </a:lnTo>
                  <a:lnTo>
                    <a:pt x="1620" y="492"/>
                  </a:lnTo>
                  <a:lnTo>
                    <a:pt x="1626" y="498"/>
                  </a:lnTo>
                  <a:lnTo>
                    <a:pt x="1626" y="504"/>
                  </a:lnTo>
                  <a:lnTo>
                    <a:pt x="1626" y="510"/>
                  </a:lnTo>
                  <a:lnTo>
                    <a:pt x="1620" y="516"/>
                  </a:lnTo>
                  <a:lnTo>
                    <a:pt x="1620" y="522"/>
                  </a:lnTo>
                  <a:lnTo>
                    <a:pt x="1614" y="522"/>
                  </a:lnTo>
                  <a:lnTo>
                    <a:pt x="1608" y="528"/>
                  </a:lnTo>
                  <a:lnTo>
                    <a:pt x="1602" y="522"/>
                  </a:lnTo>
                  <a:lnTo>
                    <a:pt x="1602" y="528"/>
                  </a:lnTo>
                  <a:lnTo>
                    <a:pt x="1602" y="540"/>
                  </a:lnTo>
                  <a:lnTo>
                    <a:pt x="1602" y="558"/>
                  </a:lnTo>
                  <a:lnTo>
                    <a:pt x="1602" y="564"/>
                  </a:lnTo>
                  <a:lnTo>
                    <a:pt x="1602" y="570"/>
                  </a:lnTo>
                  <a:lnTo>
                    <a:pt x="1602" y="576"/>
                  </a:lnTo>
                  <a:lnTo>
                    <a:pt x="1596" y="576"/>
                  </a:lnTo>
                  <a:lnTo>
                    <a:pt x="1632" y="582"/>
                  </a:lnTo>
                  <a:lnTo>
                    <a:pt x="1644" y="618"/>
                  </a:lnTo>
                  <a:lnTo>
                    <a:pt x="1650" y="648"/>
                  </a:lnTo>
                  <a:lnTo>
                    <a:pt x="1662" y="636"/>
                  </a:lnTo>
                  <a:lnTo>
                    <a:pt x="1668" y="636"/>
                  </a:lnTo>
                  <a:lnTo>
                    <a:pt x="1674" y="636"/>
                  </a:lnTo>
                  <a:lnTo>
                    <a:pt x="1680" y="630"/>
                  </a:lnTo>
                  <a:lnTo>
                    <a:pt x="1686" y="630"/>
                  </a:lnTo>
                  <a:lnTo>
                    <a:pt x="1692" y="630"/>
                  </a:lnTo>
                  <a:lnTo>
                    <a:pt x="1698" y="630"/>
                  </a:lnTo>
                  <a:lnTo>
                    <a:pt x="1704" y="630"/>
                  </a:lnTo>
                  <a:lnTo>
                    <a:pt x="1704" y="624"/>
                  </a:lnTo>
                  <a:lnTo>
                    <a:pt x="1710" y="624"/>
                  </a:lnTo>
                  <a:lnTo>
                    <a:pt x="1716" y="624"/>
                  </a:lnTo>
                  <a:lnTo>
                    <a:pt x="1722" y="624"/>
                  </a:lnTo>
                  <a:lnTo>
                    <a:pt x="1728" y="624"/>
                  </a:lnTo>
                  <a:lnTo>
                    <a:pt x="1722" y="618"/>
                  </a:lnTo>
                  <a:lnTo>
                    <a:pt x="1728" y="606"/>
                  </a:lnTo>
                  <a:lnTo>
                    <a:pt x="1734" y="606"/>
                  </a:lnTo>
                  <a:lnTo>
                    <a:pt x="1740" y="600"/>
                  </a:lnTo>
                  <a:lnTo>
                    <a:pt x="1746" y="594"/>
                  </a:lnTo>
                  <a:lnTo>
                    <a:pt x="1752" y="588"/>
                  </a:lnTo>
                  <a:lnTo>
                    <a:pt x="1752" y="582"/>
                  </a:lnTo>
                  <a:lnTo>
                    <a:pt x="1758" y="576"/>
                  </a:lnTo>
                  <a:lnTo>
                    <a:pt x="1764" y="576"/>
                  </a:lnTo>
                  <a:lnTo>
                    <a:pt x="1770" y="570"/>
                  </a:lnTo>
                  <a:lnTo>
                    <a:pt x="1776" y="564"/>
                  </a:lnTo>
                  <a:lnTo>
                    <a:pt x="1788" y="558"/>
                  </a:lnTo>
                  <a:lnTo>
                    <a:pt x="1788" y="546"/>
                  </a:lnTo>
                  <a:lnTo>
                    <a:pt x="1788" y="540"/>
                  </a:lnTo>
                  <a:lnTo>
                    <a:pt x="1794" y="540"/>
                  </a:lnTo>
                  <a:lnTo>
                    <a:pt x="1788" y="534"/>
                  </a:lnTo>
                  <a:lnTo>
                    <a:pt x="1788" y="528"/>
                  </a:lnTo>
                  <a:lnTo>
                    <a:pt x="1794" y="516"/>
                  </a:lnTo>
                  <a:lnTo>
                    <a:pt x="1800" y="510"/>
                  </a:lnTo>
                  <a:lnTo>
                    <a:pt x="1812" y="510"/>
                  </a:lnTo>
                  <a:lnTo>
                    <a:pt x="1818" y="504"/>
                  </a:lnTo>
                  <a:lnTo>
                    <a:pt x="1824" y="504"/>
                  </a:lnTo>
                  <a:lnTo>
                    <a:pt x="1830" y="498"/>
                  </a:lnTo>
                  <a:lnTo>
                    <a:pt x="1836" y="498"/>
                  </a:lnTo>
                  <a:lnTo>
                    <a:pt x="1848" y="492"/>
                  </a:lnTo>
                  <a:lnTo>
                    <a:pt x="1848" y="480"/>
                  </a:lnTo>
                  <a:lnTo>
                    <a:pt x="1854" y="480"/>
                  </a:lnTo>
                  <a:lnTo>
                    <a:pt x="1890" y="504"/>
                  </a:lnTo>
                  <a:lnTo>
                    <a:pt x="1908" y="534"/>
                  </a:lnTo>
                  <a:lnTo>
                    <a:pt x="1902" y="534"/>
                  </a:lnTo>
                  <a:lnTo>
                    <a:pt x="1920" y="528"/>
                  </a:lnTo>
                  <a:lnTo>
                    <a:pt x="1920" y="516"/>
                  </a:lnTo>
                  <a:lnTo>
                    <a:pt x="1944" y="516"/>
                  </a:lnTo>
                  <a:lnTo>
                    <a:pt x="2004" y="516"/>
                  </a:lnTo>
                  <a:lnTo>
                    <a:pt x="2010" y="510"/>
                  </a:lnTo>
                  <a:lnTo>
                    <a:pt x="2004" y="510"/>
                  </a:lnTo>
                  <a:lnTo>
                    <a:pt x="2010" y="498"/>
                  </a:lnTo>
                  <a:lnTo>
                    <a:pt x="2004" y="486"/>
                  </a:lnTo>
                  <a:lnTo>
                    <a:pt x="2004" y="480"/>
                  </a:lnTo>
                  <a:lnTo>
                    <a:pt x="2004" y="474"/>
                  </a:lnTo>
                  <a:lnTo>
                    <a:pt x="2004" y="462"/>
                  </a:lnTo>
                  <a:lnTo>
                    <a:pt x="2004" y="456"/>
                  </a:lnTo>
                  <a:lnTo>
                    <a:pt x="2058" y="462"/>
                  </a:lnTo>
                  <a:lnTo>
                    <a:pt x="2076" y="474"/>
                  </a:lnTo>
                  <a:lnTo>
                    <a:pt x="2082" y="522"/>
                  </a:lnTo>
                  <a:lnTo>
                    <a:pt x="2088" y="516"/>
                  </a:lnTo>
                  <a:lnTo>
                    <a:pt x="2094" y="522"/>
                  </a:lnTo>
                  <a:lnTo>
                    <a:pt x="2100" y="528"/>
                  </a:lnTo>
                  <a:lnTo>
                    <a:pt x="2130" y="540"/>
                  </a:lnTo>
                  <a:lnTo>
                    <a:pt x="2160" y="564"/>
                  </a:lnTo>
                  <a:lnTo>
                    <a:pt x="2166" y="600"/>
                  </a:lnTo>
                  <a:lnTo>
                    <a:pt x="2160" y="618"/>
                  </a:lnTo>
                  <a:lnTo>
                    <a:pt x="2142" y="636"/>
                  </a:lnTo>
                  <a:lnTo>
                    <a:pt x="2148" y="648"/>
                  </a:lnTo>
                  <a:lnTo>
                    <a:pt x="2154" y="660"/>
                  </a:lnTo>
                  <a:lnTo>
                    <a:pt x="2196" y="654"/>
                  </a:lnTo>
                  <a:lnTo>
                    <a:pt x="2214" y="660"/>
                  </a:lnTo>
                  <a:lnTo>
                    <a:pt x="2214" y="666"/>
                  </a:lnTo>
                  <a:lnTo>
                    <a:pt x="2220" y="672"/>
                  </a:lnTo>
                  <a:lnTo>
                    <a:pt x="2214" y="678"/>
                  </a:lnTo>
                  <a:lnTo>
                    <a:pt x="2214" y="684"/>
                  </a:lnTo>
                  <a:lnTo>
                    <a:pt x="2214" y="690"/>
                  </a:lnTo>
                  <a:lnTo>
                    <a:pt x="2208" y="690"/>
                  </a:lnTo>
                  <a:lnTo>
                    <a:pt x="2202" y="696"/>
                  </a:lnTo>
                  <a:lnTo>
                    <a:pt x="2196" y="702"/>
                  </a:lnTo>
                  <a:lnTo>
                    <a:pt x="2190" y="708"/>
                  </a:lnTo>
                  <a:lnTo>
                    <a:pt x="2190" y="720"/>
                  </a:lnTo>
                  <a:lnTo>
                    <a:pt x="2184" y="720"/>
                  </a:lnTo>
                  <a:lnTo>
                    <a:pt x="2178" y="726"/>
                  </a:lnTo>
                  <a:lnTo>
                    <a:pt x="2166" y="732"/>
                  </a:lnTo>
                  <a:lnTo>
                    <a:pt x="2160" y="744"/>
                  </a:lnTo>
                  <a:lnTo>
                    <a:pt x="2154" y="756"/>
                  </a:lnTo>
                  <a:lnTo>
                    <a:pt x="2148" y="762"/>
                  </a:lnTo>
                  <a:lnTo>
                    <a:pt x="2124" y="762"/>
                  </a:lnTo>
                  <a:lnTo>
                    <a:pt x="2124" y="768"/>
                  </a:lnTo>
                  <a:lnTo>
                    <a:pt x="2118" y="768"/>
                  </a:lnTo>
                  <a:lnTo>
                    <a:pt x="2124" y="774"/>
                  </a:lnTo>
                  <a:lnTo>
                    <a:pt x="2118" y="774"/>
                  </a:lnTo>
                  <a:lnTo>
                    <a:pt x="2112" y="774"/>
                  </a:lnTo>
                  <a:lnTo>
                    <a:pt x="2106" y="780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06" y="798"/>
                  </a:lnTo>
                  <a:lnTo>
                    <a:pt x="2106" y="810"/>
                  </a:lnTo>
                  <a:lnTo>
                    <a:pt x="2112" y="828"/>
                  </a:lnTo>
                  <a:lnTo>
                    <a:pt x="2112" y="834"/>
                  </a:lnTo>
                  <a:lnTo>
                    <a:pt x="2112" y="840"/>
                  </a:lnTo>
                  <a:lnTo>
                    <a:pt x="2112" y="834"/>
                  </a:lnTo>
                  <a:lnTo>
                    <a:pt x="2124" y="834"/>
                  </a:lnTo>
                  <a:lnTo>
                    <a:pt x="2130" y="834"/>
                  </a:lnTo>
                  <a:lnTo>
                    <a:pt x="2136" y="840"/>
                  </a:lnTo>
                  <a:lnTo>
                    <a:pt x="2142" y="840"/>
                  </a:lnTo>
                  <a:lnTo>
                    <a:pt x="2154" y="852"/>
                  </a:lnTo>
                  <a:lnTo>
                    <a:pt x="2160" y="852"/>
                  </a:lnTo>
                  <a:lnTo>
                    <a:pt x="2172" y="846"/>
                  </a:lnTo>
                  <a:lnTo>
                    <a:pt x="2178" y="846"/>
                  </a:lnTo>
                  <a:lnTo>
                    <a:pt x="2184" y="846"/>
                  </a:lnTo>
                  <a:lnTo>
                    <a:pt x="2190" y="846"/>
                  </a:lnTo>
                  <a:lnTo>
                    <a:pt x="2196" y="852"/>
                  </a:lnTo>
                  <a:lnTo>
                    <a:pt x="2196" y="858"/>
                  </a:lnTo>
                  <a:lnTo>
                    <a:pt x="2202" y="852"/>
                  </a:lnTo>
                  <a:lnTo>
                    <a:pt x="2208" y="846"/>
                  </a:lnTo>
                  <a:lnTo>
                    <a:pt x="2214" y="846"/>
                  </a:lnTo>
                  <a:lnTo>
                    <a:pt x="2226" y="846"/>
                  </a:lnTo>
                  <a:lnTo>
                    <a:pt x="2232" y="852"/>
                  </a:lnTo>
                  <a:lnTo>
                    <a:pt x="2238" y="852"/>
                  </a:lnTo>
                  <a:lnTo>
                    <a:pt x="2244" y="858"/>
                  </a:lnTo>
                  <a:lnTo>
                    <a:pt x="2250" y="858"/>
                  </a:lnTo>
                  <a:lnTo>
                    <a:pt x="2256" y="858"/>
                  </a:lnTo>
                  <a:lnTo>
                    <a:pt x="2262" y="858"/>
                  </a:lnTo>
                  <a:lnTo>
                    <a:pt x="2268" y="852"/>
                  </a:lnTo>
                  <a:lnTo>
                    <a:pt x="2274" y="852"/>
                  </a:lnTo>
                  <a:lnTo>
                    <a:pt x="2280" y="852"/>
                  </a:lnTo>
                  <a:lnTo>
                    <a:pt x="2286" y="852"/>
                  </a:lnTo>
                  <a:lnTo>
                    <a:pt x="2298" y="858"/>
                  </a:lnTo>
                  <a:lnTo>
                    <a:pt x="2304" y="858"/>
                  </a:lnTo>
                  <a:lnTo>
                    <a:pt x="2310" y="858"/>
                  </a:lnTo>
                  <a:lnTo>
                    <a:pt x="2316" y="852"/>
                  </a:lnTo>
                  <a:lnTo>
                    <a:pt x="2322" y="858"/>
                  </a:lnTo>
                  <a:lnTo>
                    <a:pt x="2328" y="858"/>
                  </a:lnTo>
                  <a:lnTo>
                    <a:pt x="2328" y="852"/>
                  </a:lnTo>
                  <a:lnTo>
                    <a:pt x="2364" y="858"/>
                  </a:lnTo>
                  <a:lnTo>
                    <a:pt x="2376" y="876"/>
                  </a:lnTo>
                  <a:lnTo>
                    <a:pt x="2382" y="936"/>
                  </a:lnTo>
                  <a:lnTo>
                    <a:pt x="2388" y="966"/>
                  </a:lnTo>
                  <a:lnTo>
                    <a:pt x="2382" y="972"/>
                  </a:lnTo>
                  <a:lnTo>
                    <a:pt x="2382" y="978"/>
                  </a:lnTo>
                  <a:lnTo>
                    <a:pt x="2382" y="984"/>
                  </a:lnTo>
                  <a:lnTo>
                    <a:pt x="2388" y="990"/>
                  </a:lnTo>
                  <a:lnTo>
                    <a:pt x="2382" y="990"/>
                  </a:lnTo>
                  <a:lnTo>
                    <a:pt x="2382" y="996"/>
                  </a:lnTo>
                  <a:lnTo>
                    <a:pt x="2376" y="996"/>
                  </a:lnTo>
                  <a:lnTo>
                    <a:pt x="2376" y="1020"/>
                  </a:lnTo>
                  <a:lnTo>
                    <a:pt x="2370" y="1032"/>
                  </a:lnTo>
                  <a:lnTo>
                    <a:pt x="2352" y="1032"/>
                  </a:lnTo>
                  <a:lnTo>
                    <a:pt x="2346" y="1020"/>
                  </a:lnTo>
                  <a:lnTo>
                    <a:pt x="2328" y="1032"/>
                  </a:lnTo>
                  <a:lnTo>
                    <a:pt x="2316" y="1038"/>
                  </a:lnTo>
                  <a:lnTo>
                    <a:pt x="2328" y="1044"/>
                  </a:lnTo>
                  <a:lnTo>
                    <a:pt x="2340" y="1056"/>
                  </a:lnTo>
                  <a:lnTo>
                    <a:pt x="2376" y="1062"/>
                  </a:lnTo>
                  <a:lnTo>
                    <a:pt x="2376" y="1068"/>
                  </a:lnTo>
                  <a:lnTo>
                    <a:pt x="2382" y="1086"/>
                  </a:lnTo>
                  <a:lnTo>
                    <a:pt x="2376" y="1086"/>
                  </a:lnTo>
                  <a:lnTo>
                    <a:pt x="2370" y="1086"/>
                  </a:lnTo>
                  <a:lnTo>
                    <a:pt x="2364" y="1086"/>
                  </a:lnTo>
                  <a:lnTo>
                    <a:pt x="2364" y="1098"/>
                  </a:lnTo>
                  <a:lnTo>
                    <a:pt x="2388" y="1104"/>
                  </a:lnTo>
                  <a:lnTo>
                    <a:pt x="2400" y="1122"/>
                  </a:lnTo>
                  <a:lnTo>
                    <a:pt x="2400" y="1134"/>
                  </a:lnTo>
                  <a:lnTo>
                    <a:pt x="2400" y="1146"/>
                  </a:lnTo>
                  <a:lnTo>
                    <a:pt x="2394" y="1146"/>
                  </a:lnTo>
                  <a:lnTo>
                    <a:pt x="2394" y="1152"/>
                  </a:lnTo>
                  <a:lnTo>
                    <a:pt x="2388" y="1152"/>
                  </a:lnTo>
                  <a:lnTo>
                    <a:pt x="2388" y="1146"/>
                  </a:lnTo>
                  <a:lnTo>
                    <a:pt x="2382" y="1152"/>
                  </a:lnTo>
                  <a:lnTo>
                    <a:pt x="2376" y="1152"/>
                  </a:lnTo>
                  <a:lnTo>
                    <a:pt x="2370" y="1158"/>
                  </a:lnTo>
                  <a:lnTo>
                    <a:pt x="2370" y="1164"/>
                  </a:lnTo>
                  <a:lnTo>
                    <a:pt x="2364" y="1170"/>
                  </a:lnTo>
                  <a:lnTo>
                    <a:pt x="2370" y="1170"/>
                  </a:lnTo>
                  <a:lnTo>
                    <a:pt x="2376" y="1170"/>
                  </a:lnTo>
                  <a:lnTo>
                    <a:pt x="2370" y="1176"/>
                  </a:lnTo>
                  <a:lnTo>
                    <a:pt x="2364" y="1176"/>
                  </a:lnTo>
                  <a:lnTo>
                    <a:pt x="2358" y="1182"/>
                  </a:lnTo>
                  <a:lnTo>
                    <a:pt x="2352" y="1182"/>
                  </a:lnTo>
                  <a:lnTo>
                    <a:pt x="2346" y="1188"/>
                  </a:lnTo>
                  <a:lnTo>
                    <a:pt x="2340" y="1182"/>
                  </a:lnTo>
                  <a:lnTo>
                    <a:pt x="2334" y="1182"/>
                  </a:lnTo>
                  <a:lnTo>
                    <a:pt x="2334" y="1188"/>
                  </a:lnTo>
                  <a:lnTo>
                    <a:pt x="2328" y="1194"/>
                  </a:lnTo>
                  <a:lnTo>
                    <a:pt x="2328" y="1200"/>
                  </a:lnTo>
                  <a:lnTo>
                    <a:pt x="2322" y="1224"/>
                  </a:lnTo>
                  <a:lnTo>
                    <a:pt x="2328" y="1230"/>
                  </a:lnTo>
                  <a:lnTo>
                    <a:pt x="2358" y="1230"/>
                  </a:lnTo>
                  <a:lnTo>
                    <a:pt x="2358" y="1242"/>
                  </a:lnTo>
                  <a:lnTo>
                    <a:pt x="2358" y="1254"/>
                  </a:lnTo>
                  <a:lnTo>
                    <a:pt x="2346" y="1254"/>
                  </a:lnTo>
                  <a:lnTo>
                    <a:pt x="2346" y="1278"/>
                  </a:lnTo>
                  <a:lnTo>
                    <a:pt x="2358" y="1278"/>
                  </a:lnTo>
                  <a:lnTo>
                    <a:pt x="2358" y="1284"/>
                  </a:lnTo>
                  <a:lnTo>
                    <a:pt x="2376" y="1284"/>
                  </a:lnTo>
                  <a:lnTo>
                    <a:pt x="2388" y="1278"/>
                  </a:lnTo>
                  <a:lnTo>
                    <a:pt x="2406" y="1278"/>
                  </a:lnTo>
                  <a:lnTo>
                    <a:pt x="2430" y="1284"/>
                  </a:lnTo>
                  <a:lnTo>
                    <a:pt x="2430" y="1302"/>
                  </a:lnTo>
                  <a:lnTo>
                    <a:pt x="2430" y="1314"/>
                  </a:lnTo>
                  <a:lnTo>
                    <a:pt x="2424" y="1326"/>
                  </a:lnTo>
                  <a:lnTo>
                    <a:pt x="2412" y="1326"/>
                  </a:lnTo>
                  <a:lnTo>
                    <a:pt x="2412" y="1344"/>
                  </a:lnTo>
                  <a:lnTo>
                    <a:pt x="2406" y="1344"/>
                  </a:lnTo>
                  <a:lnTo>
                    <a:pt x="2400" y="1362"/>
                  </a:lnTo>
                  <a:lnTo>
                    <a:pt x="2394" y="1368"/>
                  </a:lnTo>
                  <a:lnTo>
                    <a:pt x="2388" y="1374"/>
                  </a:lnTo>
                  <a:lnTo>
                    <a:pt x="2382" y="1380"/>
                  </a:lnTo>
                  <a:lnTo>
                    <a:pt x="2376" y="1386"/>
                  </a:lnTo>
                  <a:lnTo>
                    <a:pt x="2376" y="1392"/>
                  </a:lnTo>
                  <a:lnTo>
                    <a:pt x="2370" y="1404"/>
                  </a:lnTo>
                  <a:lnTo>
                    <a:pt x="2364" y="1416"/>
                  </a:lnTo>
                  <a:lnTo>
                    <a:pt x="2346" y="1434"/>
                  </a:lnTo>
                  <a:lnTo>
                    <a:pt x="2328" y="1440"/>
                  </a:lnTo>
                  <a:lnTo>
                    <a:pt x="2328" y="1446"/>
                  </a:lnTo>
                  <a:lnTo>
                    <a:pt x="2322" y="1452"/>
                  </a:lnTo>
                  <a:lnTo>
                    <a:pt x="2316" y="1452"/>
                  </a:lnTo>
                  <a:lnTo>
                    <a:pt x="2304" y="1446"/>
                  </a:lnTo>
                  <a:lnTo>
                    <a:pt x="2298" y="1446"/>
                  </a:lnTo>
                  <a:lnTo>
                    <a:pt x="2298" y="1434"/>
                  </a:lnTo>
                  <a:lnTo>
                    <a:pt x="2292" y="1434"/>
                  </a:lnTo>
                  <a:lnTo>
                    <a:pt x="2286" y="1428"/>
                  </a:lnTo>
                  <a:lnTo>
                    <a:pt x="2274" y="1416"/>
                  </a:lnTo>
                  <a:lnTo>
                    <a:pt x="2256" y="1404"/>
                  </a:lnTo>
                  <a:lnTo>
                    <a:pt x="2244" y="1386"/>
                  </a:lnTo>
                  <a:lnTo>
                    <a:pt x="2220" y="1368"/>
                  </a:lnTo>
                  <a:lnTo>
                    <a:pt x="2208" y="1362"/>
                  </a:lnTo>
                  <a:lnTo>
                    <a:pt x="2202" y="1350"/>
                  </a:lnTo>
                  <a:lnTo>
                    <a:pt x="2196" y="1350"/>
                  </a:lnTo>
                  <a:lnTo>
                    <a:pt x="2190" y="1356"/>
                  </a:lnTo>
                  <a:lnTo>
                    <a:pt x="2184" y="1356"/>
                  </a:lnTo>
                  <a:lnTo>
                    <a:pt x="2094" y="1350"/>
                  </a:lnTo>
                  <a:lnTo>
                    <a:pt x="2058" y="1350"/>
                  </a:lnTo>
                  <a:lnTo>
                    <a:pt x="2034" y="1890"/>
                  </a:lnTo>
                  <a:lnTo>
                    <a:pt x="2064" y="1890"/>
                  </a:lnTo>
                  <a:lnTo>
                    <a:pt x="2070" y="1896"/>
                  </a:lnTo>
                  <a:lnTo>
                    <a:pt x="2076" y="189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8" name="Freeform 33">
              <a:extLst>
                <a:ext uri="{FF2B5EF4-FFF2-40B4-BE49-F238E27FC236}">
                  <a16:creationId xmlns:a16="http://schemas.microsoft.com/office/drawing/2014/main" id="{0E96F118-1F4D-4E52-AF27-149259451CD6}"/>
                </a:ext>
              </a:extLst>
            </p:cNvPr>
            <p:cNvSpPr>
              <a:spLocks/>
            </p:cNvSpPr>
            <p:nvPr/>
          </p:nvSpPr>
          <p:spPr bwMode="gray">
            <a:xfrm>
              <a:off x="1266662" y="1459989"/>
              <a:ext cx="903421" cy="778302"/>
            </a:xfrm>
            <a:custGeom>
              <a:avLst/>
              <a:gdLst>
                <a:gd name="T0" fmla="*/ 143 w 1698"/>
                <a:gd name="T1" fmla="*/ 43 h 1464"/>
                <a:gd name="T2" fmla="*/ 131 w 1698"/>
                <a:gd name="T3" fmla="*/ 44 h 1464"/>
                <a:gd name="T4" fmla="*/ 126 w 1698"/>
                <a:gd name="T5" fmla="*/ 41 h 1464"/>
                <a:gd name="T6" fmla="*/ 119 w 1698"/>
                <a:gd name="T7" fmla="*/ 45 h 1464"/>
                <a:gd name="T8" fmla="*/ 111 w 1698"/>
                <a:gd name="T9" fmla="*/ 46 h 1464"/>
                <a:gd name="T10" fmla="*/ 107 w 1698"/>
                <a:gd name="T11" fmla="*/ 50 h 1464"/>
                <a:gd name="T12" fmla="*/ 107 w 1698"/>
                <a:gd name="T13" fmla="*/ 60 h 1464"/>
                <a:gd name="T14" fmla="*/ 104 w 1698"/>
                <a:gd name="T15" fmla="*/ 62 h 1464"/>
                <a:gd name="T16" fmla="*/ 97 w 1698"/>
                <a:gd name="T17" fmla="*/ 59 h 1464"/>
                <a:gd name="T18" fmla="*/ 92 w 1698"/>
                <a:gd name="T19" fmla="*/ 59 h 1464"/>
                <a:gd name="T20" fmla="*/ 90 w 1698"/>
                <a:gd name="T21" fmla="*/ 62 h 1464"/>
                <a:gd name="T22" fmla="*/ 93 w 1698"/>
                <a:gd name="T23" fmla="*/ 77 h 1464"/>
                <a:gd name="T24" fmla="*/ 85 w 1698"/>
                <a:gd name="T25" fmla="*/ 88 h 1464"/>
                <a:gd name="T26" fmla="*/ 70 w 1698"/>
                <a:gd name="T27" fmla="*/ 89 h 1464"/>
                <a:gd name="T28" fmla="*/ 65 w 1698"/>
                <a:gd name="T29" fmla="*/ 88 h 1464"/>
                <a:gd name="T30" fmla="*/ 50 w 1698"/>
                <a:gd name="T31" fmla="*/ 88 h 1464"/>
                <a:gd name="T32" fmla="*/ 48 w 1698"/>
                <a:gd name="T33" fmla="*/ 107 h 1464"/>
                <a:gd name="T34" fmla="*/ 47 w 1698"/>
                <a:gd name="T35" fmla="*/ 120 h 1464"/>
                <a:gd name="T36" fmla="*/ 43 w 1698"/>
                <a:gd name="T37" fmla="*/ 121 h 1464"/>
                <a:gd name="T38" fmla="*/ 40 w 1698"/>
                <a:gd name="T39" fmla="*/ 120 h 1464"/>
                <a:gd name="T40" fmla="*/ 35 w 1698"/>
                <a:gd name="T41" fmla="*/ 122 h 1464"/>
                <a:gd name="T42" fmla="*/ 29 w 1698"/>
                <a:gd name="T43" fmla="*/ 123 h 1464"/>
                <a:gd name="T44" fmla="*/ 24 w 1698"/>
                <a:gd name="T45" fmla="*/ 125 h 1464"/>
                <a:gd name="T46" fmla="*/ 20 w 1698"/>
                <a:gd name="T47" fmla="*/ 125 h 1464"/>
                <a:gd name="T48" fmla="*/ 18 w 1698"/>
                <a:gd name="T49" fmla="*/ 122 h 1464"/>
                <a:gd name="T50" fmla="*/ 26 w 1698"/>
                <a:gd name="T51" fmla="*/ 108 h 1464"/>
                <a:gd name="T52" fmla="*/ 24 w 1698"/>
                <a:gd name="T53" fmla="*/ 89 h 1464"/>
                <a:gd name="T54" fmla="*/ 28 w 1698"/>
                <a:gd name="T55" fmla="*/ 85 h 1464"/>
                <a:gd name="T56" fmla="*/ 32 w 1698"/>
                <a:gd name="T57" fmla="*/ 80 h 1464"/>
                <a:gd name="T58" fmla="*/ 36 w 1698"/>
                <a:gd name="T59" fmla="*/ 86 h 1464"/>
                <a:gd name="T60" fmla="*/ 39 w 1698"/>
                <a:gd name="T61" fmla="*/ 80 h 1464"/>
                <a:gd name="T62" fmla="*/ 41 w 1698"/>
                <a:gd name="T63" fmla="*/ 73 h 1464"/>
                <a:gd name="T64" fmla="*/ 38 w 1698"/>
                <a:gd name="T65" fmla="*/ 64 h 1464"/>
                <a:gd name="T66" fmla="*/ 39 w 1698"/>
                <a:gd name="T67" fmla="*/ 59 h 1464"/>
                <a:gd name="T68" fmla="*/ 32 w 1698"/>
                <a:gd name="T69" fmla="*/ 54 h 1464"/>
                <a:gd name="T70" fmla="*/ 32 w 1698"/>
                <a:gd name="T71" fmla="*/ 45 h 1464"/>
                <a:gd name="T72" fmla="*/ 31 w 1698"/>
                <a:gd name="T73" fmla="*/ 41 h 1464"/>
                <a:gd name="T74" fmla="*/ 24 w 1698"/>
                <a:gd name="T75" fmla="*/ 43 h 1464"/>
                <a:gd name="T76" fmla="*/ 17 w 1698"/>
                <a:gd name="T77" fmla="*/ 40 h 1464"/>
                <a:gd name="T78" fmla="*/ 11 w 1698"/>
                <a:gd name="T79" fmla="*/ 38 h 1464"/>
                <a:gd name="T80" fmla="*/ 2 w 1698"/>
                <a:gd name="T81" fmla="*/ 36 h 1464"/>
                <a:gd name="T82" fmla="*/ 0 w 1698"/>
                <a:gd name="T83" fmla="*/ 24 h 1464"/>
                <a:gd name="T84" fmla="*/ 11 w 1698"/>
                <a:gd name="T85" fmla="*/ 18 h 1464"/>
                <a:gd name="T86" fmla="*/ 19 w 1698"/>
                <a:gd name="T87" fmla="*/ 10 h 1464"/>
                <a:gd name="T88" fmla="*/ 28 w 1698"/>
                <a:gd name="T89" fmla="*/ 9 h 1464"/>
                <a:gd name="T90" fmla="*/ 40 w 1698"/>
                <a:gd name="T91" fmla="*/ 6 h 1464"/>
                <a:gd name="T92" fmla="*/ 49 w 1698"/>
                <a:gd name="T93" fmla="*/ 8 h 1464"/>
                <a:gd name="T94" fmla="*/ 56 w 1698"/>
                <a:gd name="T95" fmla="*/ 8 h 1464"/>
                <a:gd name="T96" fmla="*/ 64 w 1698"/>
                <a:gd name="T97" fmla="*/ 7 h 1464"/>
                <a:gd name="T98" fmla="*/ 74 w 1698"/>
                <a:gd name="T99" fmla="*/ 1 h 1464"/>
                <a:gd name="T100" fmla="*/ 83 w 1698"/>
                <a:gd name="T101" fmla="*/ 3 h 1464"/>
                <a:gd name="T102" fmla="*/ 99 w 1698"/>
                <a:gd name="T103" fmla="*/ 9 h 1464"/>
                <a:gd name="T104" fmla="*/ 112 w 1698"/>
                <a:gd name="T105" fmla="*/ 14 h 1464"/>
                <a:gd name="T106" fmla="*/ 119 w 1698"/>
                <a:gd name="T107" fmla="*/ 12 h 1464"/>
                <a:gd name="T108" fmla="*/ 128 w 1698"/>
                <a:gd name="T109" fmla="*/ 17 h 1464"/>
                <a:gd name="T110" fmla="*/ 141 w 1698"/>
                <a:gd name="T111" fmla="*/ 29 h 1464"/>
                <a:gd name="T112" fmla="*/ 145 w 1698"/>
                <a:gd name="T113" fmla="*/ 35 h 14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98"/>
                <a:gd name="T172" fmla="*/ 0 h 1464"/>
                <a:gd name="T173" fmla="*/ 1698 w 1698"/>
                <a:gd name="T174" fmla="*/ 1464 h 14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98" h="1464">
                  <a:moveTo>
                    <a:pt x="1698" y="462"/>
                  </a:moveTo>
                  <a:lnTo>
                    <a:pt x="1686" y="468"/>
                  </a:lnTo>
                  <a:lnTo>
                    <a:pt x="1680" y="474"/>
                  </a:lnTo>
                  <a:lnTo>
                    <a:pt x="1674" y="480"/>
                  </a:lnTo>
                  <a:lnTo>
                    <a:pt x="1668" y="480"/>
                  </a:lnTo>
                  <a:lnTo>
                    <a:pt x="1662" y="486"/>
                  </a:lnTo>
                  <a:lnTo>
                    <a:pt x="1656" y="492"/>
                  </a:lnTo>
                  <a:lnTo>
                    <a:pt x="1644" y="498"/>
                  </a:lnTo>
                  <a:lnTo>
                    <a:pt x="1626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0" y="516"/>
                  </a:lnTo>
                  <a:lnTo>
                    <a:pt x="1590" y="522"/>
                  </a:lnTo>
                  <a:lnTo>
                    <a:pt x="1566" y="522"/>
                  </a:lnTo>
                  <a:lnTo>
                    <a:pt x="1506" y="510"/>
                  </a:lnTo>
                  <a:lnTo>
                    <a:pt x="1500" y="510"/>
                  </a:lnTo>
                  <a:lnTo>
                    <a:pt x="1488" y="504"/>
                  </a:lnTo>
                  <a:lnTo>
                    <a:pt x="1482" y="498"/>
                  </a:lnTo>
                  <a:lnTo>
                    <a:pt x="1476" y="498"/>
                  </a:lnTo>
                  <a:lnTo>
                    <a:pt x="1476" y="492"/>
                  </a:lnTo>
                  <a:lnTo>
                    <a:pt x="1470" y="492"/>
                  </a:lnTo>
                  <a:lnTo>
                    <a:pt x="1464" y="486"/>
                  </a:lnTo>
                  <a:lnTo>
                    <a:pt x="1452" y="486"/>
                  </a:lnTo>
                  <a:lnTo>
                    <a:pt x="1446" y="474"/>
                  </a:lnTo>
                  <a:lnTo>
                    <a:pt x="1434" y="468"/>
                  </a:lnTo>
                  <a:lnTo>
                    <a:pt x="1416" y="468"/>
                  </a:lnTo>
                  <a:lnTo>
                    <a:pt x="1392" y="468"/>
                  </a:lnTo>
                  <a:lnTo>
                    <a:pt x="1374" y="474"/>
                  </a:lnTo>
                  <a:lnTo>
                    <a:pt x="1368" y="474"/>
                  </a:lnTo>
                  <a:lnTo>
                    <a:pt x="1368" y="486"/>
                  </a:lnTo>
                  <a:lnTo>
                    <a:pt x="1368" y="498"/>
                  </a:lnTo>
                  <a:lnTo>
                    <a:pt x="1368" y="522"/>
                  </a:lnTo>
                  <a:lnTo>
                    <a:pt x="1368" y="534"/>
                  </a:lnTo>
                  <a:lnTo>
                    <a:pt x="1362" y="546"/>
                  </a:lnTo>
                  <a:lnTo>
                    <a:pt x="1356" y="546"/>
                  </a:lnTo>
                  <a:lnTo>
                    <a:pt x="1344" y="540"/>
                  </a:lnTo>
                  <a:lnTo>
                    <a:pt x="1338" y="534"/>
                  </a:lnTo>
                  <a:lnTo>
                    <a:pt x="1308" y="522"/>
                  </a:lnTo>
                  <a:lnTo>
                    <a:pt x="1296" y="522"/>
                  </a:lnTo>
                  <a:lnTo>
                    <a:pt x="1278" y="528"/>
                  </a:lnTo>
                  <a:lnTo>
                    <a:pt x="1260" y="534"/>
                  </a:lnTo>
                  <a:lnTo>
                    <a:pt x="1242" y="546"/>
                  </a:lnTo>
                  <a:lnTo>
                    <a:pt x="1236" y="552"/>
                  </a:lnTo>
                  <a:lnTo>
                    <a:pt x="1224" y="558"/>
                  </a:lnTo>
                  <a:lnTo>
                    <a:pt x="1218" y="558"/>
                  </a:lnTo>
                  <a:lnTo>
                    <a:pt x="1218" y="564"/>
                  </a:lnTo>
                  <a:lnTo>
                    <a:pt x="1224" y="570"/>
                  </a:lnTo>
                  <a:lnTo>
                    <a:pt x="1224" y="582"/>
                  </a:lnTo>
                  <a:lnTo>
                    <a:pt x="1224" y="594"/>
                  </a:lnTo>
                  <a:lnTo>
                    <a:pt x="1212" y="618"/>
                  </a:lnTo>
                  <a:lnTo>
                    <a:pt x="1212" y="624"/>
                  </a:lnTo>
                  <a:lnTo>
                    <a:pt x="1212" y="630"/>
                  </a:lnTo>
                  <a:lnTo>
                    <a:pt x="1212" y="636"/>
                  </a:lnTo>
                  <a:lnTo>
                    <a:pt x="1218" y="654"/>
                  </a:lnTo>
                  <a:lnTo>
                    <a:pt x="1224" y="672"/>
                  </a:lnTo>
                  <a:lnTo>
                    <a:pt x="1230" y="696"/>
                  </a:lnTo>
                  <a:lnTo>
                    <a:pt x="1236" y="708"/>
                  </a:lnTo>
                  <a:lnTo>
                    <a:pt x="1236" y="714"/>
                  </a:lnTo>
                  <a:lnTo>
                    <a:pt x="1236" y="720"/>
                  </a:lnTo>
                  <a:lnTo>
                    <a:pt x="1218" y="726"/>
                  </a:lnTo>
                  <a:lnTo>
                    <a:pt x="1212" y="726"/>
                  </a:lnTo>
                  <a:lnTo>
                    <a:pt x="1206" y="726"/>
                  </a:lnTo>
                  <a:lnTo>
                    <a:pt x="1194" y="720"/>
                  </a:lnTo>
                  <a:lnTo>
                    <a:pt x="1194" y="714"/>
                  </a:lnTo>
                  <a:lnTo>
                    <a:pt x="1176" y="714"/>
                  </a:lnTo>
                  <a:lnTo>
                    <a:pt x="1164" y="708"/>
                  </a:lnTo>
                  <a:lnTo>
                    <a:pt x="1158" y="708"/>
                  </a:lnTo>
                  <a:lnTo>
                    <a:pt x="1140" y="702"/>
                  </a:lnTo>
                  <a:lnTo>
                    <a:pt x="1134" y="696"/>
                  </a:lnTo>
                  <a:lnTo>
                    <a:pt x="1128" y="690"/>
                  </a:lnTo>
                  <a:lnTo>
                    <a:pt x="1116" y="678"/>
                  </a:lnTo>
                  <a:lnTo>
                    <a:pt x="1110" y="678"/>
                  </a:lnTo>
                  <a:lnTo>
                    <a:pt x="1104" y="672"/>
                  </a:lnTo>
                  <a:lnTo>
                    <a:pt x="1092" y="672"/>
                  </a:lnTo>
                  <a:lnTo>
                    <a:pt x="1086" y="672"/>
                  </a:lnTo>
                  <a:lnTo>
                    <a:pt x="1080" y="672"/>
                  </a:lnTo>
                  <a:lnTo>
                    <a:pt x="1074" y="672"/>
                  </a:lnTo>
                  <a:lnTo>
                    <a:pt x="1068" y="672"/>
                  </a:lnTo>
                  <a:lnTo>
                    <a:pt x="1062" y="678"/>
                  </a:lnTo>
                  <a:lnTo>
                    <a:pt x="1056" y="678"/>
                  </a:lnTo>
                  <a:lnTo>
                    <a:pt x="1056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6"/>
                  </a:lnTo>
                  <a:lnTo>
                    <a:pt x="1032" y="708"/>
                  </a:lnTo>
                  <a:lnTo>
                    <a:pt x="1026" y="708"/>
                  </a:lnTo>
                  <a:lnTo>
                    <a:pt x="1032" y="714"/>
                  </a:lnTo>
                  <a:lnTo>
                    <a:pt x="1026" y="720"/>
                  </a:lnTo>
                  <a:lnTo>
                    <a:pt x="1020" y="720"/>
                  </a:lnTo>
                  <a:lnTo>
                    <a:pt x="1014" y="732"/>
                  </a:lnTo>
                  <a:lnTo>
                    <a:pt x="1014" y="744"/>
                  </a:lnTo>
                  <a:lnTo>
                    <a:pt x="1038" y="810"/>
                  </a:lnTo>
                  <a:lnTo>
                    <a:pt x="1050" y="834"/>
                  </a:lnTo>
                  <a:lnTo>
                    <a:pt x="1056" y="858"/>
                  </a:lnTo>
                  <a:lnTo>
                    <a:pt x="1062" y="876"/>
                  </a:lnTo>
                  <a:lnTo>
                    <a:pt x="1068" y="882"/>
                  </a:lnTo>
                  <a:lnTo>
                    <a:pt x="1062" y="972"/>
                  </a:lnTo>
                  <a:lnTo>
                    <a:pt x="1056" y="972"/>
                  </a:lnTo>
                  <a:lnTo>
                    <a:pt x="1050" y="996"/>
                  </a:lnTo>
                  <a:lnTo>
                    <a:pt x="1044" y="1014"/>
                  </a:lnTo>
                  <a:lnTo>
                    <a:pt x="1008" y="1014"/>
                  </a:lnTo>
                  <a:lnTo>
                    <a:pt x="1008" y="1008"/>
                  </a:lnTo>
                  <a:lnTo>
                    <a:pt x="990" y="1008"/>
                  </a:lnTo>
                  <a:lnTo>
                    <a:pt x="972" y="1014"/>
                  </a:lnTo>
                  <a:lnTo>
                    <a:pt x="948" y="1020"/>
                  </a:lnTo>
                  <a:lnTo>
                    <a:pt x="918" y="1026"/>
                  </a:lnTo>
                  <a:lnTo>
                    <a:pt x="840" y="1032"/>
                  </a:lnTo>
                  <a:lnTo>
                    <a:pt x="834" y="1032"/>
                  </a:lnTo>
                  <a:lnTo>
                    <a:pt x="834" y="1026"/>
                  </a:lnTo>
                  <a:lnTo>
                    <a:pt x="822" y="1026"/>
                  </a:lnTo>
                  <a:lnTo>
                    <a:pt x="816" y="1032"/>
                  </a:lnTo>
                  <a:lnTo>
                    <a:pt x="804" y="1032"/>
                  </a:lnTo>
                  <a:lnTo>
                    <a:pt x="798" y="1026"/>
                  </a:lnTo>
                  <a:lnTo>
                    <a:pt x="780" y="1026"/>
                  </a:lnTo>
                  <a:lnTo>
                    <a:pt x="762" y="1026"/>
                  </a:lnTo>
                  <a:lnTo>
                    <a:pt x="756" y="1026"/>
                  </a:lnTo>
                  <a:lnTo>
                    <a:pt x="750" y="1026"/>
                  </a:lnTo>
                  <a:lnTo>
                    <a:pt x="756" y="1020"/>
                  </a:lnTo>
                  <a:lnTo>
                    <a:pt x="750" y="1020"/>
                  </a:lnTo>
                  <a:lnTo>
                    <a:pt x="744" y="1014"/>
                  </a:lnTo>
                  <a:lnTo>
                    <a:pt x="684" y="1020"/>
                  </a:lnTo>
                  <a:lnTo>
                    <a:pt x="648" y="1020"/>
                  </a:lnTo>
                  <a:lnTo>
                    <a:pt x="630" y="1020"/>
                  </a:lnTo>
                  <a:lnTo>
                    <a:pt x="618" y="1020"/>
                  </a:lnTo>
                  <a:lnTo>
                    <a:pt x="606" y="1014"/>
                  </a:lnTo>
                  <a:lnTo>
                    <a:pt x="582" y="1014"/>
                  </a:lnTo>
                  <a:lnTo>
                    <a:pt x="576" y="1014"/>
                  </a:lnTo>
                  <a:lnTo>
                    <a:pt x="570" y="1014"/>
                  </a:lnTo>
                  <a:lnTo>
                    <a:pt x="564" y="1020"/>
                  </a:lnTo>
                  <a:lnTo>
                    <a:pt x="558" y="1026"/>
                  </a:lnTo>
                  <a:lnTo>
                    <a:pt x="552" y="1032"/>
                  </a:lnTo>
                  <a:lnTo>
                    <a:pt x="552" y="1038"/>
                  </a:lnTo>
                  <a:lnTo>
                    <a:pt x="558" y="1194"/>
                  </a:lnTo>
                  <a:lnTo>
                    <a:pt x="558" y="1206"/>
                  </a:lnTo>
                  <a:lnTo>
                    <a:pt x="552" y="1218"/>
                  </a:lnTo>
                  <a:lnTo>
                    <a:pt x="552" y="1236"/>
                  </a:lnTo>
                  <a:lnTo>
                    <a:pt x="546" y="1272"/>
                  </a:lnTo>
                  <a:lnTo>
                    <a:pt x="546" y="1308"/>
                  </a:lnTo>
                  <a:lnTo>
                    <a:pt x="540" y="1332"/>
                  </a:lnTo>
                  <a:lnTo>
                    <a:pt x="546" y="1356"/>
                  </a:lnTo>
                  <a:lnTo>
                    <a:pt x="546" y="1362"/>
                  </a:lnTo>
                  <a:lnTo>
                    <a:pt x="546" y="1374"/>
                  </a:lnTo>
                  <a:lnTo>
                    <a:pt x="546" y="1380"/>
                  </a:lnTo>
                  <a:lnTo>
                    <a:pt x="540" y="1380"/>
                  </a:lnTo>
                  <a:lnTo>
                    <a:pt x="522" y="1380"/>
                  </a:lnTo>
                  <a:lnTo>
                    <a:pt x="516" y="1380"/>
                  </a:lnTo>
                  <a:lnTo>
                    <a:pt x="516" y="1386"/>
                  </a:lnTo>
                  <a:lnTo>
                    <a:pt x="516" y="1392"/>
                  </a:lnTo>
                  <a:lnTo>
                    <a:pt x="510" y="1392"/>
                  </a:lnTo>
                  <a:lnTo>
                    <a:pt x="504" y="1386"/>
                  </a:lnTo>
                  <a:lnTo>
                    <a:pt x="498" y="1392"/>
                  </a:lnTo>
                  <a:lnTo>
                    <a:pt x="492" y="1398"/>
                  </a:lnTo>
                  <a:lnTo>
                    <a:pt x="486" y="1398"/>
                  </a:lnTo>
                  <a:lnTo>
                    <a:pt x="486" y="1392"/>
                  </a:lnTo>
                  <a:lnTo>
                    <a:pt x="486" y="1380"/>
                  </a:lnTo>
                  <a:lnTo>
                    <a:pt x="486" y="1374"/>
                  </a:lnTo>
                  <a:lnTo>
                    <a:pt x="480" y="1374"/>
                  </a:lnTo>
                  <a:lnTo>
                    <a:pt x="474" y="1374"/>
                  </a:lnTo>
                  <a:lnTo>
                    <a:pt x="468" y="1380"/>
                  </a:lnTo>
                  <a:lnTo>
                    <a:pt x="462" y="1380"/>
                  </a:lnTo>
                  <a:lnTo>
                    <a:pt x="456" y="1380"/>
                  </a:lnTo>
                  <a:lnTo>
                    <a:pt x="450" y="1386"/>
                  </a:lnTo>
                  <a:lnTo>
                    <a:pt x="444" y="1386"/>
                  </a:lnTo>
                  <a:lnTo>
                    <a:pt x="444" y="1392"/>
                  </a:lnTo>
                  <a:lnTo>
                    <a:pt x="432" y="1398"/>
                  </a:lnTo>
                  <a:lnTo>
                    <a:pt x="426" y="1404"/>
                  </a:lnTo>
                  <a:lnTo>
                    <a:pt x="420" y="1404"/>
                  </a:lnTo>
                  <a:lnTo>
                    <a:pt x="408" y="1404"/>
                  </a:lnTo>
                  <a:lnTo>
                    <a:pt x="378" y="1410"/>
                  </a:lnTo>
                  <a:lnTo>
                    <a:pt x="372" y="1410"/>
                  </a:lnTo>
                  <a:lnTo>
                    <a:pt x="360" y="1410"/>
                  </a:lnTo>
                  <a:lnTo>
                    <a:pt x="354" y="1416"/>
                  </a:lnTo>
                  <a:lnTo>
                    <a:pt x="348" y="1416"/>
                  </a:lnTo>
                  <a:lnTo>
                    <a:pt x="342" y="1410"/>
                  </a:lnTo>
                  <a:lnTo>
                    <a:pt x="336" y="1410"/>
                  </a:lnTo>
                  <a:lnTo>
                    <a:pt x="336" y="1416"/>
                  </a:lnTo>
                  <a:lnTo>
                    <a:pt x="330" y="1422"/>
                  </a:lnTo>
                  <a:lnTo>
                    <a:pt x="324" y="1422"/>
                  </a:lnTo>
                  <a:lnTo>
                    <a:pt x="318" y="1422"/>
                  </a:lnTo>
                  <a:lnTo>
                    <a:pt x="312" y="1428"/>
                  </a:lnTo>
                  <a:lnTo>
                    <a:pt x="312" y="1434"/>
                  </a:lnTo>
                  <a:lnTo>
                    <a:pt x="300" y="1428"/>
                  </a:lnTo>
                  <a:lnTo>
                    <a:pt x="288" y="1434"/>
                  </a:lnTo>
                  <a:lnTo>
                    <a:pt x="282" y="1440"/>
                  </a:lnTo>
                  <a:lnTo>
                    <a:pt x="282" y="1446"/>
                  </a:lnTo>
                  <a:lnTo>
                    <a:pt x="276" y="1446"/>
                  </a:lnTo>
                  <a:lnTo>
                    <a:pt x="276" y="1452"/>
                  </a:lnTo>
                  <a:lnTo>
                    <a:pt x="270" y="1452"/>
                  </a:lnTo>
                  <a:lnTo>
                    <a:pt x="258" y="1464"/>
                  </a:lnTo>
                  <a:lnTo>
                    <a:pt x="240" y="1458"/>
                  </a:lnTo>
                  <a:lnTo>
                    <a:pt x="234" y="1452"/>
                  </a:lnTo>
                  <a:lnTo>
                    <a:pt x="234" y="1446"/>
                  </a:lnTo>
                  <a:lnTo>
                    <a:pt x="228" y="1446"/>
                  </a:lnTo>
                  <a:lnTo>
                    <a:pt x="222" y="1440"/>
                  </a:lnTo>
                  <a:lnTo>
                    <a:pt x="216" y="1440"/>
                  </a:lnTo>
                  <a:lnTo>
                    <a:pt x="210" y="1428"/>
                  </a:lnTo>
                  <a:lnTo>
                    <a:pt x="210" y="1422"/>
                  </a:lnTo>
                  <a:lnTo>
                    <a:pt x="198" y="1416"/>
                  </a:lnTo>
                  <a:lnTo>
                    <a:pt x="204" y="1410"/>
                  </a:lnTo>
                  <a:lnTo>
                    <a:pt x="210" y="1404"/>
                  </a:lnTo>
                  <a:lnTo>
                    <a:pt x="210" y="1398"/>
                  </a:lnTo>
                  <a:lnTo>
                    <a:pt x="252" y="1368"/>
                  </a:lnTo>
                  <a:lnTo>
                    <a:pt x="276" y="1350"/>
                  </a:lnTo>
                  <a:lnTo>
                    <a:pt x="300" y="1338"/>
                  </a:lnTo>
                  <a:lnTo>
                    <a:pt x="294" y="1314"/>
                  </a:lnTo>
                  <a:lnTo>
                    <a:pt x="288" y="1308"/>
                  </a:lnTo>
                  <a:lnTo>
                    <a:pt x="300" y="1266"/>
                  </a:lnTo>
                  <a:lnTo>
                    <a:pt x="300" y="1242"/>
                  </a:lnTo>
                  <a:lnTo>
                    <a:pt x="300" y="1206"/>
                  </a:lnTo>
                  <a:lnTo>
                    <a:pt x="300" y="1164"/>
                  </a:lnTo>
                  <a:lnTo>
                    <a:pt x="294" y="1134"/>
                  </a:lnTo>
                  <a:lnTo>
                    <a:pt x="282" y="1086"/>
                  </a:lnTo>
                  <a:lnTo>
                    <a:pt x="276" y="1074"/>
                  </a:lnTo>
                  <a:lnTo>
                    <a:pt x="276" y="1056"/>
                  </a:lnTo>
                  <a:lnTo>
                    <a:pt x="270" y="1038"/>
                  </a:lnTo>
                  <a:lnTo>
                    <a:pt x="270" y="1020"/>
                  </a:lnTo>
                  <a:lnTo>
                    <a:pt x="282" y="1020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94" y="1002"/>
                  </a:lnTo>
                  <a:lnTo>
                    <a:pt x="306" y="996"/>
                  </a:lnTo>
                  <a:lnTo>
                    <a:pt x="312" y="990"/>
                  </a:lnTo>
                  <a:lnTo>
                    <a:pt x="318" y="990"/>
                  </a:lnTo>
                  <a:lnTo>
                    <a:pt x="324" y="984"/>
                  </a:lnTo>
                  <a:lnTo>
                    <a:pt x="324" y="978"/>
                  </a:lnTo>
                  <a:lnTo>
                    <a:pt x="324" y="972"/>
                  </a:lnTo>
                  <a:lnTo>
                    <a:pt x="324" y="954"/>
                  </a:lnTo>
                  <a:lnTo>
                    <a:pt x="336" y="948"/>
                  </a:lnTo>
                  <a:lnTo>
                    <a:pt x="342" y="936"/>
                  </a:lnTo>
                  <a:lnTo>
                    <a:pt x="348" y="924"/>
                  </a:lnTo>
                  <a:lnTo>
                    <a:pt x="354" y="924"/>
                  </a:lnTo>
                  <a:lnTo>
                    <a:pt x="372" y="924"/>
                  </a:lnTo>
                  <a:lnTo>
                    <a:pt x="372" y="930"/>
                  </a:lnTo>
                  <a:lnTo>
                    <a:pt x="378" y="930"/>
                  </a:lnTo>
                  <a:lnTo>
                    <a:pt x="378" y="936"/>
                  </a:lnTo>
                  <a:lnTo>
                    <a:pt x="384" y="936"/>
                  </a:lnTo>
                  <a:lnTo>
                    <a:pt x="384" y="942"/>
                  </a:lnTo>
                  <a:lnTo>
                    <a:pt x="402" y="942"/>
                  </a:lnTo>
                  <a:lnTo>
                    <a:pt x="402" y="996"/>
                  </a:lnTo>
                  <a:lnTo>
                    <a:pt x="414" y="996"/>
                  </a:lnTo>
                  <a:lnTo>
                    <a:pt x="420" y="996"/>
                  </a:lnTo>
                  <a:lnTo>
                    <a:pt x="426" y="996"/>
                  </a:lnTo>
                  <a:lnTo>
                    <a:pt x="432" y="996"/>
                  </a:lnTo>
                  <a:lnTo>
                    <a:pt x="438" y="996"/>
                  </a:lnTo>
                  <a:lnTo>
                    <a:pt x="438" y="942"/>
                  </a:lnTo>
                  <a:lnTo>
                    <a:pt x="444" y="930"/>
                  </a:lnTo>
                  <a:lnTo>
                    <a:pt x="444" y="924"/>
                  </a:lnTo>
                  <a:lnTo>
                    <a:pt x="444" y="918"/>
                  </a:lnTo>
                  <a:lnTo>
                    <a:pt x="462" y="918"/>
                  </a:lnTo>
                  <a:lnTo>
                    <a:pt x="474" y="906"/>
                  </a:lnTo>
                  <a:lnTo>
                    <a:pt x="480" y="900"/>
                  </a:lnTo>
                  <a:lnTo>
                    <a:pt x="486" y="888"/>
                  </a:lnTo>
                  <a:lnTo>
                    <a:pt x="492" y="876"/>
                  </a:lnTo>
                  <a:lnTo>
                    <a:pt x="492" y="858"/>
                  </a:lnTo>
                  <a:lnTo>
                    <a:pt x="480" y="858"/>
                  </a:lnTo>
                  <a:lnTo>
                    <a:pt x="474" y="840"/>
                  </a:lnTo>
                  <a:lnTo>
                    <a:pt x="450" y="834"/>
                  </a:lnTo>
                  <a:lnTo>
                    <a:pt x="438" y="816"/>
                  </a:lnTo>
                  <a:lnTo>
                    <a:pt x="432" y="792"/>
                  </a:lnTo>
                  <a:lnTo>
                    <a:pt x="432" y="786"/>
                  </a:lnTo>
                  <a:lnTo>
                    <a:pt x="432" y="774"/>
                  </a:lnTo>
                  <a:lnTo>
                    <a:pt x="432" y="762"/>
                  </a:lnTo>
                  <a:lnTo>
                    <a:pt x="438" y="750"/>
                  </a:lnTo>
                  <a:lnTo>
                    <a:pt x="438" y="738"/>
                  </a:lnTo>
                  <a:lnTo>
                    <a:pt x="444" y="732"/>
                  </a:lnTo>
                  <a:lnTo>
                    <a:pt x="450" y="732"/>
                  </a:lnTo>
                  <a:lnTo>
                    <a:pt x="456" y="732"/>
                  </a:lnTo>
                  <a:lnTo>
                    <a:pt x="456" y="726"/>
                  </a:lnTo>
                  <a:lnTo>
                    <a:pt x="456" y="714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44" y="684"/>
                  </a:lnTo>
                  <a:lnTo>
                    <a:pt x="438" y="666"/>
                  </a:lnTo>
                  <a:lnTo>
                    <a:pt x="426" y="666"/>
                  </a:lnTo>
                  <a:lnTo>
                    <a:pt x="432" y="666"/>
                  </a:lnTo>
                  <a:lnTo>
                    <a:pt x="420" y="666"/>
                  </a:lnTo>
                  <a:lnTo>
                    <a:pt x="414" y="660"/>
                  </a:lnTo>
                  <a:lnTo>
                    <a:pt x="396" y="654"/>
                  </a:lnTo>
                  <a:lnTo>
                    <a:pt x="384" y="642"/>
                  </a:lnTo>
                  <a:lnTo>
                    <a:pt x="366" y="624"/>
                  </a:lnTo>
                  <a:lnTo>
                    <a:pt x="354" y="606"/>
                  </a:lnTo>
                  <a:lnTo>
                    <a:pt x="342" y="588"/>
                  </a:lnTo>
                  <a:lnTo>
                    <a:pt x="342" y="582"/>
                  </a:lnTo>
                  <a:lnTo>
                    <a:pt x="360" y="564"/>
                  </a:lnTo>
                  <a:lnTo>
                    <a:pt x="372" y="540"/>
                  </a:lnTo>
                  <a:lnTo>
                    <a:pt x="366" y="528"/>
                  </a:lnTo>
                  <a:lnTo>
                    <a:pt x="366" y="522"/>
                  </a:lnTo>
                  <a:lnTo>
                    <a:pt x="372" y="516"/>
                  </a:lnTo>
                  <a:lnTo>
                    <a:pt x="384" y="504"/>
                  </a:lnTo>
                  <a:lnTo>
                    <a:pt x="378" y="492"/>
                  </a:lnTo>
                  <a:lnTo>
                    <a:pt x="378" y="486"/>
                  </a:lnTo>
                  <a:lnTo>
                    <a:pt x="378" y="480"/>
                  </a:lnTo>
                  <a:lnTo>
                    <a:pt x="378" y="474"/>
                  </a:lnTo>
                  <a:lnTo>
                    <a:pt x="378" y="468"/>
                  </a:lnTo>
                  <a:lnTo>
                    <a:pt x="366" y="468"/>
                  </a:lnTo>
                  <a:lnTo>
                    <a:pt x="360" y="474"/>
                  </a:lnTo>
                  <a:lnTo>
                    <a:pt x="354" y="480"/>
                  </a:lnTo>
                  <a:lnTo>
                    <a:pt x="348" y="486"/>
                  </a:lnTo>
                  <a:lnTo>
                    <a:pt x="348" y="492"/>
                  </a:lnTo>
                  <a:lnTo>
                    <a:pt x="336" y="510"/>
                  </a:lnTo>
                  <a:lnTo>
                    <a:pt x="300" y="516"/>
                  </a:lnTo>
                  <a:lnTo>
                    <a:pt x="300" y="510"/>
                  </a:lnTo>
                  <a:lnTo>
                    <a:pt x="282" y="504"/>
                  </a:lnTo>
                  <a:lnTo>
                    <a:pt x="282" y="498"/>
                  </a:lnTo>
                  <a:lnTo>
                    <a:pt x="264" y="486"/>
                  </a:lnTo>
                  <a:lnTo>
                    <a:pt x="258" y="492"/>
                  </a:lnTo>
                  <a:lnTo>
                    <a:pt x="234" y="492"/>
                  </a:lnTo>
                  <a:lnTo>
                    <a:pt x="222" y="486"/>
                  </a:lnTo>
                  <a:lnTo>
                    <a:pt x="204" y="480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92" y="462"/>
                  </a:lnTo>
                  <a:lnTo>
                    <a:pt x="186" y="462"/>
                  </a:lnTo>
                  <a:lnTo>
                    <a:pt x="180" y="468"/>
                  </a:lnTo>
                  <a:lnTo>
                    <a:pt x="150" y="450"/>
                  </a:lnTo>
                  <a:lnTo>
                    <a:pt x="144" y="438"/>
                  </a:lnTo>
                  <a:lnTo>
                    <a:pt x="138" y="438"/>
                  </a:lnTo>
                  <a:lnTo>
                    <a:pt x="132" y="432"/>
                  </a:lnTo>
                  <a:lnTo>
                    <a:pt x="126" y="432"/>
                  </a:lnTo>
                  <a:lnTo>
                    <a:pt x="120" y="432"/>
                  </a:lnTo>
                  <a:lnTo>
                    <a:pt x="102" y="426"/>
                  </a:lnTo>
                  <a:lnTo>
                    <a:pt x="96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2" y="414"/>
                  </a:lnTo>
                  <a:lnTo>
                    <a:pt x="60" y="414"/>
                  </a:lnTo>
                  <a:lnTo>
                    <a:pt x="30" y="414"/>
                  </a:lnTo>
                  <a:lnTo>
                    <a:pt x="24" y="414"/>
                  </a:lnTo>
                  <a:lnTo>
                    <a:pt x="12" y="414"/>
                  </a:lnTo>
                  <a:lnTo>
                    <a:pt x="0" y="420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0" y="336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30" y="270"/>
                  </a:lnTo>
                  <a:lnTo>
                    <a:pt x="42" y="270"/>
                  </a:lnTo>
                  <a:lnTo>
                    <a:pt x="54" y="264"/>
                  </a:lnTo>
                  <a:lnTo>
                    <a:pt x="78" y="240"/>
                  </a:lnTo>
                  <a:lnTo>
                    <a:pt x="102" y="216"/>
                  </a:lnTo>
                  <a:lnTo>
                    <a:pt x="114" y="210"/>
                  </a:lnTo>
                  <a:lnTo>
                    <a:pt x="120" y="204"/>
                  </a:lnTo>
                  <a:lnTo>
                    <a:pt x="126" y="198"/>
                  </a:lnTo>
                  <a:lnTo>
                    <a:pt x="138" y="18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38"/>
                  </a:lnTo>
                  <a:lnTo>
                    <a:pt x="210" y="126"/>
                  </a:lnTo>
                  <a:lnTo>
                    <a:pt x="216" y="120"/>
                  </a:lnTo>
                  <a:lnTo>
                    <a:pt x="222" y="120"/>
                  </a:lnTo>
                  <a:lnTo>
                    <a:pt x="258" y="114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300" y="102"/>
                  </a:lnTo>
                  <a:lnTo>
                    <a:pt x="312" y="102"/>
                  </a:lnTo>
                  <a:lnTo>
                    <a:pt x="318" y="102"/>
                  </a:lnTo>
                  <a:lnTo>
                    <a:pt x="348" y="96"/>
                  </a:lnTo>
                  <a:lnTo>
                    <a:pt x="366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408" y="84"/>
                  </a:lnTo>
                  <a:lnTo>
                    <a:pt x="420" y="84"/>
                  </a:lnTo>
                  <a:lnTo>
                    <a:pt x="462" y="72"/>
                  </a:lnTo>
                  <a:lnTo>
                    <a:pt x="474" y="72"/>
                  </a:lnTo>
                  <a:lnTo>
                    <a:pt x="474" y="78"/>
                  </a:lnTo>
                  <a:lnTo>
                    <a:pt x="492" y="90"/>
                  </a:lnTo>
                  <a:lnTo>
                    <a:pt x="498" y="90"/>
                  </a:lnTo>
                  <a:lnTo>
                    <a:pt x="522" y="96"/>
                  </a:lnTo>
                  <a:lnTo>
                    <a:pt x="540" y="96"/>
                  </a:lnTo>
                  <a:lnTo>
                    <a:pt x="546" y="96"/>
                  </a:lnTo>
                  <a:lnTo>
                    <a:pt x="558" y="96"/>
                  </a:lnTo>
                  <a:lnTo>
                    <a:pt x="564" y="96"/>
                  </a:lnTo>
                  <a:lnTo>
                    <a:pt x="576" y="96"/>
                  </a:lnTo>
                  <a:lnTo>
                    <a:pt x="588" y="96"/>
                  </a:lnTo>
                  <a:lnTo>
                    <a:pt x="612" y="90"/>
                  </a:lnTo>
                  <a:lnTo>
                    <a:pt x="624" y="90"/>
                  </a:lnTo>
                  <a:lnTo>
                    <a:pt x="636" y="90"/>
                  </a:lnTo>
                  <a:lnTo>
                    <a:pt x="642" y="90"/>
                  </a:lnTo>
                  <a:lnTo>
                    <a:pt x="648" y="96"/>
                  </a:lnTo>
                  <a:lnTo>
                    <a:pt x="660" y="96"/>
                  </a:lnTo>
                  <a:lnTo>
                    <a:pt x="666" y="96"/>
                  </a:lnTo>
                  <a:lnTo>
                    <a:pt x="672" y="96"/>
                  </a:lnTo>
                  <a:lnTo>
                    <a:pt x="684" y="96"/>
                  </a:lnTo>
                  <a:lnTo>
                    <a:pt x="708" y="96"/>
                  </a:lnTo>
                  <a:lnTo>
                    <a:pt x="714" y="96"/>
                  </a:lnTo>
                  <a:lnTo>
                    <a:pt x="726" y="96"/>
                  </a:lnTo>
                  <a:lnTo>
                    <a:pt x="738" y="84"/>
                  </a:lnTo>
                  <a:lnTo>
                    <a:pt x="744" y="78"/>
                  </a:lnTo>
                  <a:lnTo>
                    <a:pt x="756" y="66"/>
                  </a:lnTo>
                  <a:lnTo>
                    <a:pt x="774" y="42"/>
                  </a:lnTo>
                  <a:lnTo>
                    <a:pt x="780" y="30"/>
                  </a:lnTo>
                  <a:lnTo>
                    <a:pt x="816" y="24"/>
                  </a:lnTo>
                  <a:lnTo>
                    <a:pt x="840" y="18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64" y="6"/>
                  </a:lnTo>
                  <a:lnTo>
                    <a:pt x="870" y="6"/>
                  </a:lnTo>
                  <a:lnTo>
                    <a:pt x="894" y="0"/>
                  </a:lnTo>
                  <a:lnTo>
                    <a:pt x="900" y="6"/>
                  </a:lnTo>
                  <a:lnTo>
                    <a:pt x="930" y="18"/>
                  </a:lnTo>
                  <a:lnTo>
                    <a:pt x="942" y="24"/>
                  </a:lnTo>
                  <a:lnTo>
                    <a:pt x="954" y="30"/>
                  </a:lnTo>
                  <a:lnTo>
                    <a:pt x="1026" y="60"/>
                  </a:lnTo>
                  <a:lnTo>
                    <a:pt x="1032" y="60"/>
                  </a:lnTo>
                  <a:lnTo>
                    <a:pt x="1038" y="66"/>
                  </a:lnTo>
                  <a:lnTo>
                    <a:pt x="1068" y="72"/>
                  </a:lnTo>
                  <a:lnTo>
                    <a:pt x="1098" y="84"/>
                  </a:lnTo>
                  <a:lnTo>
                    <a:pt x="1122" y="90"/>
                  </a:lnTo>
                  <a:lnTo>
                    <a:pt x="1122" y="96"/>
                  </a:lnTo>
                  <a:lnTo>
                    <a:pt x="1140" y="102"/>
                  </a:lnTo>
                  <a:lnTo>
                    <a:pt x="1182" y="114"/>
                  </a:lnTo>
                  <a:lnTo>
                    <a:pt x="1188" y="114"/>
                  </a:lnTo>
                  <a:lnTo>
                    <a:pt x="1200" y="120"/>
                  </a:lnTo>
                  <a:lnTo>
                    <a:pt x="1212" y="126"/>
                  </a:lnTo>
                  <a:lnTo>
                    <a:pt x="1224" y="126"/>
                  </a:lnTo>
                  <a:lnTo>
                    <a:pt x="1248" y="138"/>
                  </a:lnTo>
                  <a:lnTo>
                    <a:pt x="1272" y="150"/>
                  </a:lnTo>
                  <a:lnTo>
                    <a:pt x="1284" y="156"/>
                  </a:lnTo>
                  <a:lnTo>
                    <a:pt x="1290" y="162"/>
                  </a:lnTo>
                  <a:lnTo>
                    <a:pt x="1296" y="162"/>
                  </a:lnTo>
                  <a:lnTo>
                    <a:pt x="1308" y="156"/>
                  </a:lnTo>
                  <a:lnTo>
                    <a:pt x="1320" y="150"/>
                  </a:lnTo>
                  <a:lnTo>
                    <a:pt x="1326" y="150"/>
                  </a:lnTo>
                  <a:lnTo>
                    <a:pt x="1338" y="144"/>
                  </a:lnTo>
                  <a:lnTo>
                    <a:pt x="1362" y="144"/>
                  </a:lnTo>
                  <a:lnTo>
                    <a:pt x="1368" y="144"/>
                  </a:lnTo>
                  <a:lnTo>
                    <a:pt x="1374" y="144"/>
                  </a:lnTo>
                  <a:lnTo>
                    <a:pt x="1386" y="150"/>
                  </a:lnTo>
                  <a:lnTo>
                    <a:pt x="1392" y="150"/>
                  </a:lnTo>
                  <a:lnTo>
                    <a:pt x="1398" y="150"/>
                  </a:lnTo>
                  <a:lnTo>
                    <a:pt x="1416" y="162"/>
                  </a:lnTo>
                  <a:lnTo>
                    <a:pt x="1458" y="186"/>
                  </a:lnTo>
                  <a:lnTo>
                    <a:pt x="1464" y="186"/>
                  </a:lnTo>
                  <a:lnTo>
                    <a:pt x="1470" y="192"/>
                  </a:lnTo>
                  <a:lnTo>
                    <a:pt x="1482" y="204"/>
                  </a:lnTo>
                  <a:lnTo>
                    <a:pt x="1512" y="234"/>
                  </a:lnTo>
                  <a:lnTo>
                    <a:pt x="1554" y="276"/>
                  </a:lnTo>
                  <a:lnTo>
                    <a:pt x="1560" y="276"/>
                  </a:lnTo>
                  <a:lnTo>
                    <a:pt x="1566" y="282"/>
                  </a:lnTo>
                  <a:lnTo>
                    <a:pt x="1578" y="294"/>
                  </a:lnTo>
                  <a:lnTo>
                    <a:pt x="1602" y="318"/>
                  </a:lnTo>
                  <a:lnTo>
                    <a:pt x="1614" y="330"/>
                  </a:lnTo>
                  <a:lnTo>
                    <a:pt x="1620" y="336"/>
                  </a:lnTo>
                  <a:lnTo>
                    <a:pt x="1626" y="342"/>
                  </a:lnTo>
                  <a:lnTo>
                    <a:pt x="1632" y="354"/>
                  </a:lnTo>
                  <a:lnTo>
                    <a:pt x="1644" y="366"/>
                  </a:lnTo>
                  <a:lnTo>
                    <a:pt x="1650" y="378"/>
                  </a:lnTo>
                  <a:lnTo>
                    <a:pt x="1650" y="384"/>
                  </a:lnTo>
                  <a:lnTo>
                    <a:pt x="1656" y="384"/>
                  </a:lnTo>
                  <a:lnTo>
                    <a:pt x="1662" y="402"/>
                  </a:lnTo>
                  <a:lnTo>
                    <a:pt x="1668" y="408"/>
                  </a:lnTo>
                  <a:lnTo>
                    <a:pt x="1674" y="426"/>
                  </a:lnTo>
                  <a:lnTo>
                    <a:pt x="1686" y="438"/>
                  </a:lnTo>
                  <a:lnTo>
                    <a:pt x="1698" y="46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9" name="Freeform 34">
              <a:extLst>
                <a:ext uri="{FF2B5EF4-FFF2-40B4-BE49-F238E27FC236}">
                  <a16:creationId xmlns:a16="http://schemas.microsoft.com/office/drawing/2014/main" id="{94603F24-8CF7-4226-A433-00D18CA7D9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1988" y="1681402"/>
              <a:ext cx="869877" cy="1060101"/>
            </a:xfrm>
            <a:custGeom>
              <a:avLst/>
              <a:gdLst>
                <a:gd name="T0" fmla="*/ 4 w 1638"/>
                <a:gd name="T1" fmla="*/ 111 h 1998"/>
                <a:gd name="T2" fmla="*/ 6 w 1638"/>
                <a:gd name="T3" fmla="*/ 87 h 1998"/>
                <a:gd name="T4" fmla="*/ 10 w 1638"/>
                <a:gd name="T5" fmla="*/ 80 h 1998"/>
                <a:gd name="T6" fmla="*/ 10 w 1638"/>
                <a:gd name="T7" fmla="*/ 71 h 1998"/>
                <a:gd name="T8" fmla="*/ 9 w 1638"/>
                <a:gd name="T9" fmla="*/ 56 h 1998"/>
                <a:gd name="T10" fmla="*/ 8 w 1638"/>
                <a:gd name="T11" fmla="*/ 40 h 1998"/>
                <a:gd name="T12" fmla="*/ 20 w 1638"/>
                <a:gd name="T13" fmla="*/ 30 h 1998"/>
                <a:gd name="T14" fmla="*/ 30 w 1638"/>
                <a:gd name="T15" fmla="*/ 19 h 1998"/>
                <a:gd name="T16" fmla="*/ 35 w 1638"/>
                <a:gd name="T17" fmla="*/ 2 h 1998"/>
                <a:gd name="T18" fmla="*/ 47 w 1638"/>
                <a:gd name="T19" fmla="*/ 2 h 1998"/>
                <a:gd name="T20" fmla="*/ 56 w 1638"/>
                <a:gd name="T21" fmla="*/ 7 h 1998"/>
                <a:gd name="T22" fmla="*/ 67 w 1638"/>
                <a:gd name="T23" fmla="*/ 5 h 1998"/>
                <a:gd name="T24" fmla="*/ 65 w 1638"/>
                <a:gd name="T25" fmla="*/ 15 h 1998"/>
                <a:gd name="T26" fmla="*/ 74 w 1638"/>
                <a:gd name="T27" fmla="*/ 24 h 1998"/>
                <a:gd name="T28" fmla="*/ 73 w 1638"/>
                <a:gd name="T29" fmla="*/ 33 h 1998"/>
                <a:gd name="T30" fmla="*/ 74 w 1638"/>
                <a:gd name="T31" fmla="*/ 44 h 1998"/>
                <a:gd name="T32" fmla="*/ 68 w 1638"/>
                <a:gd name="T33" fmla="*/ 45 h 1998"/>
                <a:gd name="T34" fmla="*/ 63 w 1638"/>
                <a:gd name="T35" fmla="*/ 50 h 1998"/>
                <a:gd name="T36" fmla="*/ 61 w 1638"/>
                <a:gd name="T37" fmla="*/ 62 h 1998"/>
                <a:gd name="T38" fmla="*/ 53 w 1638"/>
                <a:gd name="T39" fmla="*/ 86 h 1998"/>
                <a:gd name="T40" fmla="*/ 59 w 1638"/>
                <a:gd name="T41" fmla="*/ 90 h 1998"/>
                <a:gd name="T42" fmla="*/ 65 w 1638"/>
                <a:gd name="T43" fmla="*/ 86 h 1998"/>
                <a:gd name="T44" fmla="*/ 74 w 1638"/>
                <a:gd name="T45" fmla="*/ 84 h 1998"/>
                <a:gd name="T46" fmla="*/ 79 w 1638"/>
                <a:gd name="T47" fmla="*/ 85 h 1998"/>
                <a:gd name="T48" fmla="*/ 84 w 1638"/>
                <a:gd name="T49" fmla="*/ 84 h 1998"/>
                <a:gd name="T50" fmla="*/ 91 w 1638"/>
                <a:gd name="T51" fmla="*/ 84 h 1998"/>
                <a:gd name="T52" fmla="*/ 94 w 1638"/>
                <a:gd name="T53" fmla="*/ 81 h 1998"/>
                <a:gd name="T54" fmla="*/ 100 w 1638"/>
                <a:gd name="T55" fmla="*/ 81 h 1998"/>
                <a:gd name="T56" fmla="*/ 102 w 1638"/>
                <a:gd name="T57" fmla="*/ 84 h 1998"/>
                <a:gd name="T58" fmla="*/ 108 w 1638"/>
                <a:gd name="T59" fmla="*/ 85 h 1998"/>
                <a:gd name="T60" fmla="*/ 113 w 1638"/>
                <a:gd name="T61" fmla="*/ 88 h 1998"/>
                <a:gd name="T62" fmla="*/ 116 w 1638"/>
                <a:gd name="T63" fmla="*/ 88 h 1998"/>
                <a:gd name="T64" fmla="*/ 123 w 1638"/>
                <a:gd name="T65" fmla="*/ 87 h 1998"/>
                <a:gd name="T66" fmla="*/ 128 w 1638"/>
                <a:gd name="T67" fmla="*/ 86 h 1998"/>
                <a:gd name="T68" fmla="*/ 132 w 1638"/>
                <a:gd name="T69" fmla="*/ 90 h 1998"/>
                <a:gd name="T70" fmla="*/ 138 w 1638"/>
                <a:gd name="T71" fmla="*/ 96 h 1998"/>
                <a:gd name="T72" fmla="*/ 138 w 1638"/>
                <a:gd name="T73" fmla="*/ 110 h 1998"/>
                <a:gd name="T74" fmla="*/ 137 w 1638"/>
                <a:gd name="T75" fmla="*/ 118 h 1998"/>
                <a:gd name="T76" fmla="*/ 133 w 1638"/>
                <a:gd name="T77" fmla="*/ 124 h 1998"/>
                <a:gd name="T78" fmla="*/ 122 w 1638"/>
                <a:gd name="T79" fmla="*/ 125 h 1998"/>
                <a:gd name="T80" fmla="*/ 116 w 1638"/>
                <a:gd name="T81" fmla="*/ 127 h 1998"/>
                <a:gd name="T82" fmla="*/ 108 w 1638"/>
                <a:gd name="T83" fmla="*/ 123 h 1998"/>
                <a:gd name="T84" fmla="*/ 109 w 1638"/>
                <a:gd name="T85" fmla="*/ 119 h 1998"/>
                <a:gd name="T86" fmla="*/ 104 w 1638"/>
                <a:gd name="T87" fmla="*/ 104 h 1998"/>
                <a:gd name="T88" fmla="*/ 94 w 1638"/>
                <a:gd name="T89" fmla="*/ 105 h 1998"/>
                <a:gd name="T90" fmla="*/ 88 w 1638"/>
                <a:gd name="T91" fmla="*/ 109 h 1998"/>
                <a:gd name="T92" fmla="*/ 76 w 1638"/>
                <a:gd name="T93" fmla="*/ 107 h 1998"/>
                <a:gd name="T94" fmla="*/ 72 w 1638"/>
                <a:gd name="T95" fmla="*/ 114 h 1998"/>
                <a:gd name="T96" fmla="*/ 86 w 1638"/>
                <a:gd name="T97" fmla="*/ 121 h 1998"/>
                <a:gd name="T98" fmla="*/ 87 w 1638"/>
                <a:gd name="T99" fmla="*/ 129 h 1998"/>
                <a:gd name="T100" fmla="*/ 86 w 1638"/>
                <a:gd name="T101" fmla="*/ 137 h 1998"/>
                <a:gd name="T102" fmla="*/ 79 w 1638"/>
                <a:gd name="T103" fmla="*/ 141 h 1998"/>
                <a:gd name="T104" fmla="*/ 73 w 1638"/>
                <a:gd name="T105" fmla="*/ 144 h 1998"/>
                <a:gd name="T106" fmla="*/ 72 w 1638"/>
                <a:gd name="T107" fmla="*/ 164 h 1998"/>
                <a:gd name="T108" fmla="*/ 68 w 1638"/>
                <a:gd name="T109" fmla="*/ 172 h 1998"/>
                <a:gd name="T110" fmla="*/ 59 w 1638"/>
                <a:gd name="T111" fmla="*/ 164 h 1998"/>
                <a:gd name="T112" fmla="*/ 65 w 1638"/>
                <a:gd name="T113" fmla="*/ 146 h 1998"/>
                <a:gd name="T114" fmla="*/ 69 w 1638"/>
                <a:gd name="T115" fmla="*/ 133 h 1998"/>
                <a:gd name="T116" fmla="*/ 61 w 1638"/>
                <a:gd name="T117" fmla="*/ 131 h 1998"/>
                <a:gd name="T118" fmla="*/ 43 w 1638"/>
                <a:gd name="T119" fmla="*/ 125 h 1998"/>
                <a:gd name="T120" fmla="*/ 23 w 1638"/>
                <a:gd name="T121" fmla="*/ 125 h 1998"/>
                <a:gd name="T122" fmla="*/ 17 w 1638"/>
                <a:gd name="T123" fmla="*/ 121 h 19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638"/>
                <a:gd name="T187" fmla="*/ 0 h 1998"/>
                <a:gd name="T188" fmla="*/ 1638 w 1638"/>
                <a:gd name="T189" fmla="*/ 1998 h 19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638" h="1998">
                  <a:moveTo>
                    <a:pt x="144" y="1380"/>
                  </a:moveTo>
                  <a:lnTo>
                    <a:pt x="150" y="1368"/>
                  </a:lnTo>
                  <a:lnTo>
                    <a:pt x="150" y="1362"/>
                  </a:lnTo>
                  <a:lnTo>
                    <a:pt x="150" y="1356"/>
                  </a:lnTo>
                  <a:lnTo>
                    <a:pt x="144" y="1356"/>
                  </a:lnTo>
                  <a:lnTo>
                    <a:pt x="138" y="1356"/>
                  </a:lnTo>
                  <a:lnTo>
                    <a:pt x="126" y="1356"/>
                  </a:lnTo>
                  <a:lnTo>
                    <a:pt x="114" y="1344"/>
                  </a:lnTo>
                  <a:lnTo>
                    <a:pt x="84" y="1320"/>
                  </a:lnTo>
                  <a:lnTo>
                    <a:pt x="54" y="1296"/>
                  </a:lnTo>
                  <a:lnTo>
                    <a:pt x="48" y="1290"/>
                  </a:lnTo>
                  <a:lnTo>
                    <a:pt x="42" y="1278"/>
                  </a:lnTo>
                  <a:lnTo>
                    <a:pt x="30" y="1272"/>
                  </a:lnTo>
                  <a:lnTo>
                    <a:pt x="0" y="1248"/>
                  </a:lnTo>
                  <a:lnTo>
                    <a:pt x="6" y="1230"/>
                  </a:lnTo>
                  <a:lnTo>
                    <a:pt x="12" y="1194"/>
                  </a:lnTo>
                  <a:lnTo>
                    <a:pt x="18" y="1170"/>
                  </a:lnTo>
                  <a:lnTo>
                    <a:pt x="30" y="1134"/>
                  </a:lnTo>
                  <a:lnTo>
                    <a:pt x="36" y="1086"/>
                  </a:lnTo>
                  <a:lnTo>
                    <a:pt x="42" y="1050"/>
                  </a:lnTo>
                  <a:lnTo>
                    <a:pt x="48" y="1044"/>
                  </a:lnTo>
                  <a:lnTo>
                    <a:pt x="54" y="1026"/>
                  </a:lnTo>
                  <a:lnTo>
                    <a:pt x="60" y="1014"/>
                  </a:lnTo>
                  <a:lnTo>
                    <a:pt x="66" y="1002"/>
                  </a:lnTo>
                  <a:lnTo>
                    <a:pt x="66" y="996"/>
                  </a:lnTo>
                  <a:lnTo>
                    <a:pt x="72" y="996"/>
                  </a:lnTo>
                  <a:lnTo>
                    <a:pt x="72" y="990"/>
                  </a:lnTo>
                  <a:lnTo>
                    <a:pt x="78" y="990"/>
                  </a:lnTo>
                  <a:lnTo>
                    <a:pt x="90" y="978"/>
                  </a:lnTo>
                  <a:lnTo>
                    <a:pt x="96" y="966"/>
                  </a:lnTo>
                  <a:lnTo>
                    <a:pt x="102" y="966"/>
                  </a:lnTo>
                  <a:lnTo>
                    <a:pt x="114" y="954"/>
                  </a:lnTo>
                  <a:lnTo>
                    <a:pt x="120" y="954"/>
                  </a:lnTo>
                  <a:lnTo>
                    <a:pt x="120" y="948"/>
                  </a:lnTo>
                  <a:lnTo>
                    <a:pt x="114" y="930"/>
                  </a:lnTo>
                  <a:lnTo>
                    <a:pt x="114" y="924"/>
                  </a:lnTo>
                  <a:lnTo>
                    <a:pt x="108" y="918"/>
                  </a:lnTo>
                  <a:lnTo>
                    <a:pt x="102" y="912"/>
                  </a:lnTo>
                  <a:lnTo>
                    <a:pt x="90" y="906"/>
                  </a:lnTo>
                  <a:lnTo>
                    <a:pt x="84" y="900"/>
                  </a:lnTo>
                  <a:lnTo>
                    <a:pt x="84" y="888"/>
                  </a:lnTo>
                  <a:lnTo>
                    <a:pt x="84" y="882"/>
                  </a:lnTo>
                  <a:lnTo>
                    <a:pt x="78" y="858"/>
                  </a:lnTo>
                  <a:lnTo>
                    <a:pt x="78" y="852"/>
                  </a:lnTo>
                  <a:lnTo>
                    <a:pt x="84" y="846"/>
                  </a:lnTo>
                  <a:lnTo>
                    <a:pt x="84" y="840"/>
                  </a:lnTo>
                  <a:lnTo>
                    <a:pt x="96" y="828"/>
                  </a:lnTo>
                  <a:lnTo>
                    <a:pt x="114" y="816"/>
                  </a:lnTo>
                  <a:lnTo>
                    <a:pt x="114" y="810"/>
                  </a:lnTo>
                  <a:lnTo>
                    <a:pt x="114" y="804"/>
                  </a:lnTo>
                  <a:lnTo>
                    <a:pt x="108" y="780"/>
                  </a:lnTo>
                  <a:lnTo>
                    <a:pt x="96" y="756"/>
                  </a:lnTo>
                  <a:lnTo>
                    <a:pt x="96" y="750"/>
                  </a:lnTo>
                  <a:lnTo>
                    <a:pt x="90" y="720"/>
                  </a:lnTo>
                  <a:lnTo>
                    <a:pt x="90" y="708"/>
                  </a:lnTo>
                  <a:lnTo>
                    <a:pt x="90" y="690"/>
                  </a:lnTo>
                  <a:lnTo>
                    <a:pt x="96" y="672"/>
                  </a:lnTo>
                  <a:lnTo>
                    <a:pt x="90" y="666"/>
                  </a:lnTo>
                  <a:lnTo>
                    <a:pt x="96" y="666"/>
                  </a:lnTo>
                  <a:lnTo>
                    <a:pt x="102" y="642"/>
                  </a:lnTo>
                  <a:lnTo>
                    <a:pt x="108" y="624"/>
                  </a:lnTo>
                  <a:lnTo>
                    <a:pt x="102" y="618"/>
                  </a:lnTo>
                  <a:lnTo>
                    <a:pt x="102" y="588"/>
                  </a:lnTo>
                  <a:lnTo>
                    <a:pt x="102" y="564"/>
                  </a:lnTo>
                  <a:lnTo>
                    <a:pt x="102" y="546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0"/>
                  </a:lnTo>
                  <a:lnTo>
                    <a:pt x="96" y="498"/>
                  </a:lnTo>
                  <a:lnTo>
                    <a:pt x="96" y="486"/>
                  </a:lnTo>
                  <a:lnTo>
                    <a:pt x="96" y="474"/>
                  </a:lnTo>
                  <a:lnTo>
                    <a:pt x="96" y="462"/>
                  </a:lnTo>
                  <a:lnTo>
                    <a:pt x="114" y="450"/>
                  </a:lnTo>
                  <a:lnTo>
                    <a:pt x="126" y="438"/>
                  </a:lnTo>
                  <a:lnTo>
                    <a:pt x="132" y="432"/>
                  </a:lnTo>
                  <a:lnTo>
                    <a:pt x="144" y="426"/>
                  </a:lnTo>
                  <a:lnTo>
                    <a:pt x="144" y="420"/>
                  </a:lnTo>
                  <a:lnTo>
                    <a:pt x="156" y="414"/>
                  </a:lnTo>
                  <a:lnTo>
                    <a:pt x="162" y="408"/>
                  </a:lnTo>
                  <a:lnTo>
                    <a:pt x="180" y="396"/>
                  </a:lnTo>
                  <a:lnTo>
                    <a:pt x="210" y="372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34" y="348"/>
                  </a:lnTo>
                  <a:lnTo>
                    <a:pt x="240" y="348"/>
                  </a:lnTo>
                  <a:lnTo>
                    <a:pt x="246" y="342"/>
                  </a:lnTo>
                  <a:lnTo>
                    <a:pt x="276" y="318"/>
                  </a:lnTo>
                  <a:lnTo>
                    <a:pt x="282" y="312"/>
                  </a:lnTo>
                  <a:lnTo>
                    <a:pt x="288" y="306"/>
                  </a:lnTo>
                  <a:lnTo>
                    <a:pt x="300" y="288"/>
                  </a:lnTo>
                  <a:lnTo>
                    <a:pt x="306" y="276"/>
                  </a:lnTo>
                  <a:lnTo>
                    <a:pt x="324" y="246"/>
                  </a:lnTo>
                  <a:lnTo>
                    <a:pt x="330" y="240"/>
                  </a:lnTo>
                  <a:lnTo>
                    <a:pt x="336" y="234"/>
                  </a:lnTo>
                  <a:lnTo>
                    <a:pt x="342" y="228"/>
                  </a:lnTo>
                  <a:lnTo>
                    <a:pt x="342" y="216"/>
                  </a:lnTo>
                  <a:lnTo>
                    <a:pt x="354" y="204"/>
                  </a:lnTo>
                  <a:lnTo>
                    <a:pt x="360" y="204"/>
                  </a:lnTo>
                  <a:lnTo>
                    <a:pt x="366" y="186"/>
                  </a:lnTo>
                  <a:lnTo>
                    <a:pt x="384" y="162"/>
                  </a:lnTo>
                  <a:lnTo>
                    <a:pt x="390" y="144"/>
                  </a:lnTo>
                  <a:lnTo>
                    <a:pt x="396" y="114"/>
                  </a:lnTo>
                  <a:lnTo>
                    <a:pt x="396" y="102"/>
                  </a:lnTo>
                  <a:lnTo>
                    <a:pt x="402" y="90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08" y="36"/>
                  </a:lnTo>
                  <a:lnTo>
                    <a:pt x="408" y="24"/>
                  </a:lnTo>
                  <a:lnTo>
                    <a:pt x="408" y="6"/>
                  </a:lnTo>
                  <a:lnTo>
                    <a:pt x="420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68" y="0"/>
                  </a:lnTo>
                  <a:lnTo>
                    <a:pt x="480" y="0"/>
                  </a:lnTo>
                  <a:lnTo>
                    <a:pt x="492" y="0"/>
                  </a:lnTo>
                  <a:lnTo>
                    <a:pt x="498" y="0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8" y="18"/>
                  </a:lnTo>
                  <a:lnTo>
                    <a:pt x="534" y="18"/>
                  </a:lnTo>
                  <a:lnTo>
                    <a:pt x="540" y="18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8" y="36"/>
                  </a:lnTo>
                  <a:lnTo>
                    <a:pt x="588" y="54"/>
                  </a:lnTo>
                  <a:lnTo>
                    <a:pt x="594" y="48"/>
                  </a:lnTo>
                  <a:lnTo>
                    <a:pt x="600" y="48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12" y="66"/>
                  </a:lnTo>
                  <a:lnTo>
                    <a:pt x="630" y="72"/>
                  </a:lnTo>
                  <a:lnTo>
                    <a:pt x="642" y="78"/>
                  </a:lnTo>
                  <a:lnTo>
                    <a:pt x="666" y="78"/>
                  </a:lnTo>
                  <a:lnTo>
                    <a:pt x="672" y="72"/>
                  </a:lnTo>
                  <a:lnTo>
                    <a:pt x="690" y="84"/>
                  </a:lnTo>
                  <a:lnTo>
                    <a:pt x="690" y="90"/>
                  </a:lnTo>
                  <a:lnTo>
                    <a:pt x="708" y="96"/>
                  </a:lnTo>
                  <a:lnTo>
                    <a:pt x="708" y="102"/>
                  </a:lnTo>
                  <a:lnTo>
                    <a:pt x="744" y="96"/>
                  </a:lnTo>
                  <a:lnTo>
                    <a:pt x="756" y="78"/>
                  </a:lnTo>
                  <a:lnTo>
                    <a:pt x="756" y="72"/>
                  </a:lnTo>
                  <a:lnTo>
                    <a:pt x="762" y="66"/>
                  </a:lnTo>
                  <a:lnTo>
                    <a:pt x="768" y="60"/>
                  </a:lnTo>
                  <a:lnTo>
                    <a:pt x="774" y="54"/>
                  </a:lnTo>
                  <a:lnTo>
                    <a:pt x="786" y="54"/>
                  </a:lnTo>
                  <a:lnTo>
                    <a:pt x="786" y="60"/>
                  </a:lnTo>
                  <a:lnTo>
                    <a:pt x="786" y="66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92" y="90"/>
                  </a:lnTo>
                  <a:lnTo>
                    <a:pt x="780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26"/>
                  </a:lnTo>
                  <a:lnTo>
                    <a:pt x="768" y="150"/>
                  </a:lnTo>
                  <a:lnTo>
                    <a:pt x="750" y="168"/>
                  </a:lnTo>
                  <a:lnTo>
                    <a:pt x="750" y="174"/>
                  </a:lnTo>
                  <a:lnTo>
                    <a:pt x="762" y="192"/>
                  </a:lnTo>
                  <a:lnTo>
                    <a:pt x="774" y="210"/>
                  </a:lnTo>
                  <a:lnTo>
                    <a:pt x="792" y="228"/>
                  </a:lnTo>
                  <a:lnTo>
                    <a:pt x="804" y="240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40" y="252"/>
                  </a:lnTo>
                  <a:lnTo>
                    <a:pt x="834" y="252"/>
                  </a:lnTo>
                  <a:lnTo>
                    <a:pt x="846" y="252"/>
                  </a:lnTo>
                  <a:lnTo>
                    <a:pt x="852" y="270"/>
                  </a:lnTo>
                  <a:lnTo>
                    <a:pt x="858" y="282"/>
                  </a:lnTo>
                  <a:lnTo>
                    <a:pt x="858" y="288"/>
                  </a:lnTo>
                  <a:lnTo>
                    <a:pt x="864" y="300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58" y="318"/>
                  </a:lnTo>
                  <a:lnTo>
                    <a:pt x="852" y="318"/>
                  </a:lnTo>
                  <a:lnTo>
                    <a:pt x="846" y="324"/>
                  </a:lnTo>
                  <a:lnTo>
                    <a:pt x="846" y="336"/>
                  </a:lnTo>
                  <a:lnTo>
                    <a:pt x="840" y="348"/>
                  </a:lnTo>
                  <a:lnTo>
                    <a:pt x="840" y="360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46" y="402"/>
                  </a:lnTo>
                  <a:lnTo>
                    <a:pt x="858" y="420"/>
                  </a:lnTo>
                  <a:lnTo>
                    <a:pt x="882" y="426"/>
                  </a:lnTo>
                  <a:lnTo>
                    <a:pt x="888" y="444"/>
                  </a:lnTo>
                  <a:lnTo>
                    <a:pt x="900" y="444"/>
                  </a:lnTo>
                  <a:lnTo>
                    <a:pt x="900" y="462"/>
                  </a:lnTo>
                  <a:lnTo>
                    <a:pt x="894" y="474"/>
                  </a:lnTo>
                  <a:lnTo>
                    <a:pt x="888" y="486"/>
                  </a:lnTo>
                  <a:lnTo>
                    <a:pt x="882" y="492"/>
                  </a:lnTo>
                  <a:lnTo>
                    <a:pt x="870" y="504"/>
                  </a:lnTo>
                  <a:lnTo>
                    <a:pt x="852" y="504"/>
                  </a:lnTo>
                  <a:lnTo>
                    <a:pt x="852" y="510"/>
                  </a:lnTo>
                  <a:lnTo>
                    <a:pt x="852" y="516"/>
                  </a:lnTo>
                  <a:lnTo>
                    <a:pt x="846" y="528"/>
                  </a:lnTo>
                  <a:lnTo>
                    <a:pt x="846" y="582"/>
                  </a:lnTo>
                  <a:lnTo>
                    <a:pt x="840" y="582"/>
                  </a:lnTo>
                  <a:lnTo>
                    <a:pt x="834" y="582"/>
                  </a:lnTo>
                  <a:lnTo>
                    <a:pt x="828" y="582"/>
                  </a:lnTo>
                  <a:lnTo>
                    <a:pt x="822" y="582"/>
                  </a:lnTo>
                  <a:lnTo>
                    <a:pt x="810" y="582"/>
                  </a:lnTo>
                  <a:lnTo>
                    <a:pt x="810" y="528"/>
                  </a:lnTo>
                  <a:lnTo>
                    <a:pt x="792" y="528"/>
                  </a:lnTo>
                  <a:lnTo>
                    <a:pt x="792" y="522"/>
                  </a:lnTo>
                  <a:lnTo>
                    <a:pt x="786" y="522"/>
                  </a:lnTo>
                  <a:lnTo>
                    <a:pt x="786" y="516"/>
                  </a:lnTo>
                  <a:lnTo>
                    <a:pt x="780" y="516"/>
                  </a:lnTo>
                  <a:lnTo>
                    <a:pt x="780" y="510"/>
                  </a:lnTo>
                  <a:lnTo>
                    <a:pt x="762" y="510"/>
                  </a:lnTo>
                  <a:lnTo>
                    <a:pt x="756" y="510"/>
                  </a:lnTo>
                  <a:lnTo>
                    <a:pt x="750" y="522"/>
                  </a:lnTo>
                  <a:lnTo>
                    <a:pt x="744" y="534"/>
                  </a:lnTo>
                  <a:lnTo>
                    <a:pt x="732" y="540"/>
                  </a:lnTo>
                  <a:lnTo>
                    <a:pt x="732" y="558"/>
                  </a:lnTo>
                  <a:lnTo>
                    <a:pt x="732" y="564"/>
                  </a:lnTo>
                  <a:lnTo>
                    <a:pt x="732" y="570"/>
                  </a:lnTo>
                  <a:lnTo>
                    <a:pt x="726" y="576"/>
                  </a:lnTo>
                  <a:lnTo>
                    <a:pt x="720" y="576"/>
                  </a:lnTo>
                  <a:lnTo>
                    <a:pt x="714" y="582"/>
                  </a:lnTo>
                  <a:lnTo>
                    <a:pt x="702" y="588"/>
                  </a:lnTo>
                  <a:lnTo>
                    <a:pt x="696" y="594"/>
                  </a:lnTo>
                  <a:lnTo>
                    <a:pt x="690" y="600"/>
                  </a:lnTo>
                  <a:lnTo>
                    <a:pt x="690" y="606"/>
                  </a:lnTo>
                  <a:lnTo>
                    <a:pt x="678" y="606"/>
                  </a:lnTo>
                  <a:lnTo>
                    <a:pt x="678" y="624"/>
                  </a:lnTo>
                  <a:lnTo>
                    <a:pt x="684" y="642"/>
                  </a:lnTo>
                  <a:lnTo>
                    <a:pt x="684" y="660"/>
                  </a:lnTo>
                  <a:lnTo>
                    <a:pt x="690" y="672"/>
                  </a:lnTo>
                  <a:lnTo>
                    <a:pt x="702" y="720"/>
                  </a:lnTo>
                  <a:lnTo>
                    <a:pt x="708" y="750"/>
                  </a:lnTo>
                  <a:lnTo>
                    <a:pt x="708" y="792"/>
                  </a:lnTo>
                  <a:lnTo>
                    <a:pt x="708" y="828"/>
                  </a:lnTo>
                  <a:lnTo>
                    <a:pt x="708" y="852"/>
                  </a:lnTo>
                  <a:lnTo>
                    <a:pt x="696" y="894"/>
                  </a:lnTo>
                  <a:lnTo>
                    <a:pt x="702" y="900"/>
                  </a:lnTo>
                  <a:lnTo>
                    <a:pt x="708" y="924"/>
                  </a:lnTo>
                  <a:lnTo>
                    <a:pt x="684" y="936"/>
                  </a:lnTo>
                  <a:lnTo>
                    <a:pt x="660" y="954"/>
                  </a:lnTo>
                  <a:lnTo>
                    <a:pt x="618" y="984"/>
                  </a:lnTo>
                  <a:lnTo>
                    <a:pt x="618" y="990"/>
                  </a:lnTo>
                  <a:lnTo>
                    <a:pt x="612" y="996"/>
                  </a:lnTo>
                  <a:lnTo>
                    <a:pt x="606" y="1002"/>
                  </a:lnTo>
                  <a:lnTo>
                    <a:pt x="618" y="1008"/>
                  </a:lnTo>
                  <a:lnTo>
                    <a:pt x="618" y="1014"/>
                  </a:lnTo>
                  <a:lnTo>
                    <a:pt x="624" y="1026"/>
                  </a:lnTo>
                  <a:lnTo>
                    <a:pt x="630" y="1026"/>
                  </a:lnTo>
                  <a:lnTo>
                    <a:pt x="636" y="1032"/>
                  </a:lnTo>
                  <a:lnTo>
                    <a:pt x="642" y="1032"/>
                  </a:lnTo>
                  <a:lnTo>
                    <a:pt x="642" y="1038"/>
                  </a:lnTo>
                  <a:lnTo>
                    <a:pt x="648" y="1044"/>
                  </a:lnTo>
                  <a:lnTo>
                    <a:pt x="666" y="1050"/>
                  </a:lnTo>
                  <a:lnTo>
                    <a:pt x="678" y="1038"/>
                  </a:lnTo>
                  <a:lnTo>
                    <a:pt x="684" y="1038"/>
                  </a:lnTo>
                  <a:lnTo>
                    <a:pt x="684" y="1032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20"/>
                  </a:lnTo>
                  <a:lnTo>
                    <a:pt x="708" y="1014"/>
                  </a:lnTo>
                  <a:lnTo>
                    <a:pt x="720" y="1020"/>
                  </a:lnTo>
                  <a:lnTo>
                    <a:pt x="720" y="1014"/>
                  </a:lnTo>
                  <a:lnTo>
                    <a:pt x="726" y="1008"/>
                  </a:lnTo>
                  <a:lnTo>
                    <a:pt x="732" y="1008"/>
                  </a:lnTo>
                  <a:lnTo>
                    <a:pt x="738" y="1008"/>
                  </a:lnTo>
                  <a:lnTo>
                    <a:pt x="744" y="1002"/>
                  </a:lnTo>
                  <a:lnTo>
                    <a:pt x="744" y="996"/>
                  </a:lnTo>
                  <a:lnTo>
                    <a:pt x="750" y="996"/>
                  </a:lnTo>
                  <a:lnTo>
                    <a:pt x="756" y="1002"/>
                  </a:lnTo>
                  <a:lnTo>
                    <a:pt x="762" y="1002"/>
                  </a:lnTo>
                  <a:lnTo>
                    <a:pt x="768" y="996"/>
                  </a:lnTo>
                  <a:lnTo>
                    <a:pt x="780" y="996"/>
                  </a:lnTo>
                  <a:lnTo>
                    <a:pt x="786" y="996"/>
                  </a:lnTo>
                  <a:lnTo>
                    <a:pt x="816" y="990"/>
                  </a:lnTo>
                  <a:lnTo>
                    <a:pt x="828" y="990"/>
                  </a:lnTo>
                  <a:lnTo>
                    <a:pt x="834" y="990"/>
                  </a:lnTo>
                  <a:lnTo>
                    <a:pt x="840" y="984"/>
                  </a:lnTo>
                  <a:lnTo>
                    <a:pt x="852" y="978"/>
                  </a:lnTo>
                  <a:lnTo>
                    <a:pt x="852" y="972"/>
                  </a:lnTo>
                  <a:lnTo>
                    <a:pt x="858" y="972"/>
                  </a:lnTo>
                  <a:lnTo>
                    <a:pt x="864" y="966"/>
                  </a:lnTo>
                  <a:lnTo>
                    <a:pt x="870" y="966"/>
                  </a:lnTo>
                  <a:lnTo>
                    <a:pt x="876" y="966"/>
                  </a:lnTo>
                  <a:lnTo>
                    <a:pt x="882" y="960"/>
                  </a:lnTo>
                  <a:lnTo>
                    <a:pt x="888" y="960"/>
                  </a:lnTo>
                  <a:lnTo>
                    <a:pt x="894" y="960"/>
                  </a:lnTo>
                  <a:lnTo>
                    <a:pt x="894" y="966"/>
                  </a:lnTo>
                  <a:lnTo>
                    <a:pt x="894" y="978"/>
                  </a:lnTo>
                  <a:lnTo>
                    <a:pt x="894" y="984"/>
                  </a:lnTo>
                  <a:lnTo>
                    <a:pt x="900" y="984"/>
                  </a:lnTo>
                  <a:lnTo>
                    <a:pt x="906" y="978"/>
                  </a:lnTo>
                  <a:lnTo>
                    <a:pt x="912" y="972"/>
                  </a:lnTo>
                  <a:lnTo>
                    <a:pt x="918" y="978"/>
                  </a:lnTo>
                  <a:lnTo>
                    <a:pt x="924" y="978"/>
                  </a:lnTo>
                  <a:lnTo>
                    <a:pt x="924" y="972"/>
                  </a:lnTo>
                  <a:lnTo>
                    <a:pt x="924" y="966"/>
                  </a:lnTo>
                  <a:lnTo>
                    <a:pt x="930" y="966"/>
                  </a:lnTo>
                  <a:lnTo>
                    <a:pt x="948" y="966"/>
                  </a:lnTo>
                  <a:lnTo>
                    <a:pt x="954" y="966"/>
                  </a:lnTo>
                  <a:lnTo>
                    <a:pt x="954" y="960"/>
                  </a:lnTo>
                  <a:lnTo>
                    <a:pt x="960" y="960"/>
                  </a:lnTo>
                  <a:lnTo>
                    <a:pt x="966" y="960"/>
                  </a:lnTo>
                  <a:lnTo>
                    <a:pt x="966" y="966"/>
                  </a:lnTo>
                  <a:lnTo>
                    <a:pt x="978" y="972"/>
                  </a:lnTo>
                  <a:lnTo>
                    <a:pt x="978" y="978"/>
                  </a:lnTo>
                  <a:lnTo>
                    <a:pt x="978" y="984"/>
                  </a:lnTo>
                  <a:lnTo>
                    <a:pt x="984" y="978"/>
                  </a:lnTo>
                  <a:lnTo>
                    <a:pt x="990" y="978"/>
                  </a:lnTo>
                  <a:lnTo>
                    <a:pt x="996" y="984"/>
                  </a:lnTo>
                  <a:lnTo>
                    <a:pt x="1002" y="990"/>
                  </a:lnTo>
                  <a:lnTo>
                    <a:pt x="1008" y="972"/>
                  </a:lnTo>
                  <a:lnTo>
                    <a:pt x="1026" y="972"/>
                  </a:lnTo>
                  <a:lnTo>
                    <a:pt x="1032" y="972"/>
                  </a:lnTo>
                  <a:lnTo>
                    <a:pt x="1038" y="972"/>
                  </a:lnTo>
                  <a:lnTo>
                    <a:pt x="1050" y="972"/>
                  </a:lnTo>
                  <a:lnTo>
                    <a:pt x="1056" y="972"/>
                  </a:lnTo>
                  <a:lnTo>
                    <a:pt x="1062" y="966"/>
                  </a:lnTo>
                  <a:lnTo>
                    <a:pt x="1074" y="966"/>
                  </a:lnTo>
                  <a:lnTo>
                    <a:pt x="1074" y="960"/>
                  </a:lnTo>
                  <a:lnTo>
                    <a:pt x="1080" y="954"/>
                  </a:lnTo>
                  <a:lnTo>
                    <a:pt x="1080" y="948"/>
                  </a:lnTo>
                  <a:lnTo>
                    <a:pt x="1074" y="948"/>
                  </a:lnTo>
                  <a:lnTo>
                    <a:pt x="1068" y="948"/>
                  </a:lnTo>
                  <a:lnTo>
                    <a:pt x="1062" y="942"/>
                  </a:lnTo>
                  <a:lnTo>
                    <a:pt x="1068" y="936"/>
                  </a:lnTo>
                  <a:lnTo>
                    <a:pt x="1074" y="936"/>
                  </a:lnTo>
                  <a:lnTo>
                    <a:pt x="1080" y="936"/>
                  </a:lnTo>
                  <a:lnTo>
                    <a:pt x="1086" y="942"/>
                  </a:lnTo>
                  <a:lnTo>
                    <a:pt x="1092" y="942"/>
                  </a:lnTo>
                  <a:lnTo>
                    <a:pt x="1098" y="948"/>
                  </a:lnTo>
                  <a:lnTo>
                    <a:pt x="1104" y="954"/>
                  </a:lnTo>
                  <a:lnTo>
                    <a:pt x="1110" y="954"/>
                  </a:lnTo>
                  <a:lnTo>
                    <a:pt x="1116" y="948"/>
                  </a:lnTo>
                  <a:lnTo>
                    <a:pt x="1122" y="942"/>
                  </a:lnTo>
                  <a:lnTo>
                    <a:pt x="1128" y="942"/>
                  </a:lnTo>
                  <a:lnTo>
                    <a:pt x="1134" y="942"/>
                  </a:lnTo>
                  <a:lnTo>
                    <a:pt x="1140" y="948"/>
                  </a:lnTo>
                  <a:lnTo>
                    <a:pt x="1146" y="942"/>
                  </a:lnTo>
                  <a:lnTo>
                    <a:pt x="1152" y="942"/>
                  </a:lnTo>
                  <a:lnTo>
                    <a:pt x="1152" y="930"/>
                  </a:lnTo>
                  <a:lnTo>
                    <a:pt x="1164" y="936"/>
                  </a:lnTo>
                  <a:lnTo>
                    <a:pt x="1158" y="942"/>
                  </a:lnTo>
                  <a:lnTo>
                    <a:pt x="1158" y="948"/>
                  </a:lnTo>
                  <a:lnTo>
                    <a:pt x="1146" y="954"/>
                  </a:lnTo>
                  <a:lnTo>
                    <a:pt x="1152" y="954"/>
                  </a:lnTo>
                  <a:lnTo>
                    <a:pt x="1158" y="954"/>
                  </a:lnTo>
                  <a:lnTo>
                    <a:pt x="1158" y="948"/>
                  </a:lnTo>
                  <a:lnTo>
                    <a:pt x="1164" y="948"/>
                  </a:lnTo>
                  <a:lnTo>
                    <a:pt x="1170" y="948"/>
                  </a:lnTo>
                  <a:lnTo>
                    <a:pt x="1176" y="954"/>
                  </a:lnTo>
                  <a:lnTo>
                    <a:pt x="1176" y="966"/>
                  </a:lnTo>
                  <a:lnTo>
                    <a:pt x="1182" y="972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88" y="984"/>
                  </a:lnTo>
                  <a:lnTo>
                    <a:pt x="1194" y="984"/>
                  </a:lnTo>
                  <a:lnTo>
                    <a:pt x="1200" y="984"/>
                  </a:lnTo>
                  <a:lnTo>
                    <a:pt x="1212" y="984"/>
                  </a:lnTo>
                  <a:lnTo>
                    <a:pt x="1218" y="990"/>
                  </a:lnTo>
                  <a:lnTo>
                    <a:pt x="1224" y="990"/>
                  </a:lnTo>
                  <a:lnTo>
                    <a:pt x="1224" y="984"/>
                  </a:lnTo>
                  <a:lnTo>
                    <a:pt x="1230" y="990"/>
                  </a:lnTo>
                  <a:lnTo>
                    <a:pt x="1236" y="984"/>
                  </a:lnTo>
                  <a:lnTo>
                    <a:pt x="1242" y="984"/>
                  </a:lnTo>
                  <a:lnTo>
                    <a:pt x="1248" y="990"/>
                  </a:lnTo>
                  <a:lnTo>
                    <a:pt x="1254" y="990"/>
                  </a:lnTo>
                  <a:lnTo>
                    <a:pt x="1254" y="996"/>
                  </a:lnTo>
                  <a:lnTo>
                    <a:pt x="1254" y="1002"/>
                  </a:lnTo>
                  <a:lnTo>
                    <a:pt x="1254" y="1008"/>
                  </a:lnTo>
                  <a:lnTo>
                    <a:pt x="1260" y="1014"/>
                  </a:lnTo>
                  <a:lnTo>
                    <a:pt x="1266" y="1014"/>
                  </a:lnTo>
                  <a:lnTo>
                    <a:pt x="1272" y="1014"/>
                  </a:lnTo>
                  <a:lnTo>
                    <a:pt x="1278" y="1020"/>
                  </a:lnTo>
                  <a:lnTo>
                    <a:pt x="1284" y="1020"/>
                  </a:lnTo>
                  <a:lnTo>
                    <a:pt x="1290" y="1014"/>
                  </a:lnTo>
                  <a:lnTo>
                    <a:pt x="1290" y="1008"/>
                  </a:lnTo>
                  <a:lnTo>
                    <a:pt x="1296" y="1008"/>
                  </a:lnTo>
                  <a:lnTo>
                    <a:pt x="1302" y="1014"/>
                  </a:lnTo>
                  <a:lnTo>
                    <a:pt x="1308" y="1014"/>
                  </a:lnTo>
                  <a:lnTo>
                    <a:pt x="1314" y="1008"/>
                  </a:lnTo>
                  <a:lnTo>
                    <a:pt x="1320" y="1008"/>
                  </a:lnTo>
                  <a:lnTo>
                    <a:pt x="1320" y="1002"/>
                  </a:lnTo>
                  <a:lnTo>
                    <a:pt x="1320" y="996"/>
                  </a:lnTo>
                  <a:lnTo>
                    <a:pt x="1332" y="1002"/>
                  </a:lnTo>
                  <a:lnTo>
                    <a:pt x="1332" y="1008"/>
                  </a:lnTo>
                  <a:lnTo>
                    <a:pt x="1326" y="1014"/>
                  </a:lnTo>
                  <a:lnTo>
                    <a:pt x="1332" y="1014"/>
                  </a:lnTo>
                  <a:lnTo>
                    <a:pt x="1338" y="1014"/>
                  </a:lnTo>
                  <a:lnTo>
                    <a:pt x="1338" y="1008"/>
                  </a:lnTo>
                  <a:lnTo>
                    <a:pt x="1344" y="1008"/>
                  </a:lnTo>
                  <a:lnTo>
                    <a:pt x="1350" y="1008"/>
                  </a:lnTo>
                  <a:lnTo>
                    <a:pt x="1356" y="1014"/>
                  </a:lnTo>
                  <a:lnTo>
                    <a:pt x="1356" y="1008"/>
                  </a:lnTo>
                  <a:lnTo>
                    <a:pt x="1362" y="1014"/>
                  </a:lnTo>
                  <a:lnTo>
                    <a:pt x="1392" y="1014"/>
                  </a:lnTo>
                  <a:lnTo>
                    <a:pt x="1398" y="1014"/>
                  </a:lnTo>
                  <a:lnTo>
                    <a:pt x="1404" y="1008"/>
                  </a:lnTo>
                  <a:lnTo>
                    <a:pt x="1404" y="1014"/>
                  </a:lnTo>
                  <a:lnTo>
                    <a:pt x="1410" y="1008"/>
                  </a:lnTo>
                  <a:lnTo>
                    <a:pt x="1416" y="1008"/>
                  </a:lnTo>
                  <a:lnTo>
                    <a:pt x="1422" y="1002"/>
                  </a:lnTo>
                  <a:lnTo>
                    <a:pt x="1428" y="1002"/>
                  </a:lnTo>
                  <a:lnTo>
                    <a:pt x="1428" y="996"/>
                  </a:lnTo>
                  <a:lnTo>
                    <a:pt x="1428" y="990"/>
                  </a:lnTo>
                  <a:lnTo>
                    <a:pt x="1440" y="1002"/>
                  </a:lnTo>
                  <a:lnTo>
                    <a:pt x="1446" y="1002"/>
                  </a:lnTo>
                  <a:lnTo>
                    <a:pt x="1452" y="1002"/>
                  </a:lnTo>
                  <a:lnTo>
                    <a:pt x="1446" y="996"/>
                  </a:lnTo>
                  <a:lnTo>
                    <a:pt x="1452" y="996"/>
                  </a:lnTo>
                  <a:lnTo>
                    <a:pt x="1458" y="996"/>
                  </a:lnTo>
                  <a:lnTo>
                    <a:pt x="1464" y="996"/>
                  </a:lnTo>
                  <a:lnTo>
                    <a:pt x="1464" y="1002"/>
                  </a:lnTo>
                  <a:lnTo>
                    <a:pt x="1476" y="1014"/>
                  </a:lnTo>
                  <a:lnTo>
                    <a:pt x="1476" y="1008"/>
                  </a:lnTo>
                  <a:lnTo>
                    <a:pt x="1482" y="1008"/>
                  </a:lnTo>
                  <a:lnTo>
                    <a:pt x="1488" y="1020"/>
                  </a:lnTo>
                  <a:lnTo>
                    <a:pt x="1494" y="1020"/>
                  </a:lnTo>
                  <a:lnTo>
                    <a:pt x="1500" y="1014"/>
                  </a:lnTo>
                  <a:lnTo>
                    <a:pt x="1500" y="1020"/>
                  </a:lnTo>
                  <a:lnTo>
                    <a:pt x="1506" y="1026"/>
                  </a:lnTo>
                  <a:lnTo>
                    <a:pt x="1512" y="1032"/>
                  </a:lnTo>
                  <a:lnTo>
                    <a:pt x="1518" y="1032"/>
                  </a:lnTo>
                  <a:lnTo>
                    <a:pt x="1518" y="1038"/>
                  </a:lnTo>
                  <a:lnTo>
                    <a:pt x="1518" y="1044"/>
                  </a:lnTo>
                  <a:lnTo>
                    <a:pt x="1524" y="1044"/>
                  </a:lnTo>
                  <a:lnTo>
                    <a:pt x="1524" y="1050"/>
                  </a:lnTo>
                  <a:lnTo>
                    <a:pt x="1530" y="1056"/>
                  </a:lnTo>
                  <a:lnTo>
                    <a:pt x="1548" y="1062"/>
                  </a:lnTo>
                  <a:lnTo>
                    <a:pt x="1560" y="1074"/>
                  </a:lnTo>
                  <a:lnTo>
                    <a:pt x="1560" y="1080"/>
                  </a:lnTo>
                  <a:lnTo>
                    <a:pt x="1560" y="1086"/>
                  </a:lnTo>
                  <a:lnTo>
                    <a:pt x="1566" y="1086"/>
                  </a:lnTo>
                  <a:lnTo>
                    <a:pt x="1572" y="1098"/>
                  </a:lnTo>
                  <a:lnTo>
                    <a:pt x="1572" y="1104"/>
                  </a:lnTo>
                  <a:lnTo>
                    <a:pt x="1584" y="1110"/>
                  </a:lnTo>
                  <a:lnTo>
                    <a:pt x="1590" y="1116"/>
                  </a:lnTo>
                  <a:lnTo>
                    <a:pt x="1596" y="1116"/>
                  </a:lnTo>
                  <a:lnTo>
                    <a:pt x="1608" y="1122"/>
                  </a:lnTo>
                  <a:lnTo>
                    <a:pt x="1620" y="1140"/>
                  </a:lnTo>
                  <a:lnTo>
                    <a:pt x="1626" y="1158"/>
                  </a:lnTo>
                  <a:lnTo>
                    <a:pt x="1638" y="1200"/>
                  </a:lnTo>
                  <a:lnTo>
                    <a:pt x="1638" y="1218"/>
                  </a:lnTo>
                  <a:lnTo>
                    <a:pt x="1620" y="1230"/>
                  </a:lnTo>
                  <a:lnTo>
                    <a:pt x="1554" y="1230"/>
                  </a:lnTo>
                  <a:lnTo>
                    <a:pt x="1560" y="1248"/>
                  </a:lnTo>
                  <a:lnTo>
                    <a:pt x="1584" y="1260"/>
                  </a:lnTo>
                  <a:lnTo>
                    <a:pt x="1584" y="1266"/>
                  </a:lnTo>
                  <a:lnTo>
                    <a:pt x="1578" y="1272"/>
                  </a:lnTo>
                  <a:lnTo>
                    <a:pt x="1572" y="1272"/>
                  </a:lnTo>
                  <a:lnTo>
                    <a:pt x="1566" y="1278"/>
                  </a:lnTo>
                  <a:lnTo>
                    <a:pt x="1566" y="1284"/>
                  </a:lnTo>
                  <a:lnTo>
                    <a:pt x="1560" y="1290"/>
                  </a:lnTo>
                  <a:lnTo>
                    <a:pt x="1554" y="1290"/>
                  </a:lnTo>
                  <a:lnTo>
                    <a:pt x="1554" y="1296"/>
                  </a:lnTo>
                  <a:lnTo>
                    <a:pt x="1554" y="1302"/>
                  </a:lnTo>
                  <a:lnTo>
                    <a:pt x="1560" y="1332"/>
                  </a:lnTo>
                  <a:lnTo>
                    <a:pt x="1566" y="1356"/>
                  </a:lnTo>
                  <a:lnTo>
                    <a:pt x="1572" y="1356"/>
                  </a:lnTo>
                  <a:lnTo>
                    <a:pt x="1572" y="1362"/>
                  </a:lnTo>
                  <a:lnTo>
                    <a:pt x="1578" y="1362"/>
                  </a:lnTo>
                  <a:lnTo>
                    <a:pt x="1560" y="1374"/>
                  </a:lnTo>
                  <a:lnTo>
                    <a:pt x="1560" y="1380"/>
                  </a:lnTo>
                  <a:lnTo>
                    <a:pt x="1548" y="1380"/>
                  </a:lnTo>
                  <a:lnTo>
                    <a:pt x="1548" y="1386"/>
                  </a:lnTo>
                  <a:lnTo>
                    <a:pt x="1548" y="1392"/>
                  </a:lnTo>
                  <a:lnTo>
                    <a:pt x="1542" y="1410"/>
                  </a:lnTo>
                  <a:lnTo>
                    <a:pt x="1536" y="1422"/>
                  </a:lnTo>
                  <a:lnTo>
                    <a:pt x="1536" y="1428"/>
                  </a:lnTo>
                  <a:lnTo>
                    <a:pt x="1530" y="1440"/>
                  </a:lnTo>
                  <a:lnTo>
                    <a:pt x="1524" y="1434"/>
                  </a:lnTo>
                  <a:lnTo>
                    <a:pt x="1524" y="1428"/>
                  </a:lnTo>
                  <a:lnTo>
                    <a:pt x="1524" y="1422"/>
                  </a:lnTo>
                  <a:lnTo>
                    <a:pt x="1512" y="1410"/>
                  </a:lnTo>
                  <a:lnTo>
                    <a:pt x="1506" y="1404"/>
                  </a:lnTo>
                  <a:lnTo>
                    <a:pt x="1506" y="1398"/>
                  </a:lnTo>
                  <a:lnTo>
                    <a:pt x="1494" y="1392"/>
                  </a:lnTo>
                  <a:lnTo>
                    <a:pt x="1476" y="1404"/>
                  </a:lnTo>
                  <a:lnTo>
                    <a:pt x="1464" y="1416"/>
                  </a:lnTo>
                  <a:lnTo>
                    <a:pt x="1458" y="1428"/>
                  </a:lnTo>
                  <a:lnTo>
                    <a:pt x="1446" y="1434"/>
                  </a:lnTo>
                  <a:lnTo>
                    <a:pt x="1410" y="1440"/>
                  </a:lnTo>
                  <a:lnTo>
                    <a:pt x="1398" y="1440"/>
                  </a:lnTo>
                  <a:lnTo>
                    <a:pt x="1398" y="1446"/>
                  </a:lnTo>
                  <a:lnTo>
                    <a:pt x="1386" y="1446"/>
                  </a:lnTo>
                  <a:lnTo>
                    <a:pt x="1380" y="1440"/>
                  </a:lnTo>
                  <a:lnTo>
                    <a:pt x="1368" y="1440"/>
                  </a:lnTo>
                  <a:lnTo>
                    <a:pt x="1368" y="1446"/>
                  </a:lnTo>
                  <a:lnTo>
                    <a:pt x="1356" y="1446"/>
                  </a:lnTo>
                  <a:lnTo>
                    <a:pt x="1350" y="1452"/>
                  </a:lnTo>
                  <a:lnTo>
                    <a:pt x="1338" y="1452"/>
                  </a:lnTo>
                  <a:lnTo>
                    <a:pt x="1338" y="1458"/>
                  </a:lnTo>
                  <a:lnTo>
                    <a:pt x="1332" y="1458"/>
                  </a:lnTo>
                  <a:lnTo>
                    <a:pt x="1332" y="1464"/>
                  </a:lnTo>
                  <a:lnTo>
                    <a:pt x="1332" y="1470"/>
                  </a:lnTo>
                  <a:lnTo>
                    <a:pt x="1326" y="1470"/>
                  </a:lnTo>
                  <a:lnTo>
                    <a:pt x="1320" y="1470"/>
                  </a:lnTo>
                  <a:lnTo>
                    <a:pt x="1314" y="1470"/>
                  </a:lnTo>
                  <a:lnTo>
                    <a:pt x="1314" y="1464"/>
                  </a:lnTo>
                  <a:lnTo>
                    <a:pt x="1308" y="1464"/>
                  </a:lnTo>
                  <a:lnTo>
                    <a:pt x="1308" y="1452"/>
                  </a:lnTo>
                  <a:lnTo>
                    <a:pt x="1284" y="1458"/>
                  </a:lnTo>
                  <a:lnTo>
                    <a:pt x="1272" y="1458"/>
                  </a:lnTo>
                  <a:lnTo>
                    <a:pt x="1272" y="1464"/>
                  </a:lnTo>
                  <a:lnTo>
                    <a:pt x="1260" y="1464"/>
                  </a:lnTo>
                  <a:lnTo>
                    <a:pt x="1254" y="1464"/>
                  </a:lnTo>
                  <a:lnTo>
                    <a:pt x="1242" y="1422"/>
                  </a:lnTo>
                  <a:lnTo>
                    <a:pt x="1242" y="1416"/>
                  </a:lnTo>
                  <a:lnTo>
                    <a:pt x="1242" y="1410"/>
                  </a:lnTo>
                  <a:lnTo>
                    <a:pt x="1248" y="1410"/>
                  </a:lnTo>
                  <a:lnTo>
                    <a:pt x="1242" y="1410"/>
                  </a:lnTo>
                  <a:lnTo>
                    <a:pt x="1242" y="1404"/>
                  </a:lnTo>
                  <a:lnTo>
                    <a:pt x="1242" y="1398"/>
                  </a:lnTo>
                  <a:lnTo>
                    <a:pt x="1248" y="1392"/>
                  </a:lnTo>
                  <a:lnTo>
                    <a:pt x="1248" y="1386"/>
                  </a:lnTo>
                  <a:lnTo>
                    <a:pt x="1242" y="1380"/>
                  </a:lnTo>
                  <a:lnTo>
                    <a:pt x="1248" y="1380"/>
                  </a:lnTo>
                  <a:lnTo>
                    <a:pt x="1248" y="1374"/>
                  </a:lnTo>
                  <a:lnTo>
                    <a:pt x="1248" y="1368"/>
                  </a:lnTo>
                  <a:lnTo>
                    <a:pt x="1254" y="1368"/>
                  </a:lnTo>
                  <a:lnTo>
                    <a:pt x="1254" y="1362"/>
                  </a:lnTo>
                  <a:lnTo>
                    <a:pt x="1248" y="1356"/>
                  </a:lnTo>
                  <a:lnTo>
                    <a:pt x="1254" y="1356"/>
                  </a:lnTo>
                  <a:lnTo>
                    <a:pt x="1254" y="1344"/>
                  </a:lnTo>
                  <a:lnTo>
                    <a:pt x="1242" y="1338"/>
                  </a:lnTo>
                  <a:lnTo>
                    <a:pt x="1242" y="1326"/>
                  </a:lnTo>
                  <a:lnTo>
                    <a:pt x="1230" y="1326"/>
                  </a:lnTo>
                  <a:lnTo>
                    <a:pt x="1230" y="1314"/>
                  </a:lnTo>
                  <a:lnTo>
                    <a:pt x="1218" y="1314"/>
                  </a:lnTo>
                  <a:lnTo>
                    <a:pt x="1200" y="1272"/>
                  </a:lnTo>
                  <a:lnTo>
                    <a:pt x="1194" y="1242"/>
                  </a:lnTo>
                  <a:lnTo>
                    <a:pt x="1194" y="1206"/>
                  </a:lnTo>
                  <a:lnTo>
                    <a:pt x="1182" y="1200"/>
                  </a:lnTo>
                  <a:lnTo>
                    <a:pt x="1164" y="1206"/>
                  </a:lnTo>
                  <a:lnTo>
                    <a:pt x="1146" y="1212"/>
                  </a:lnTo>
                  <a:lnTo>
                    <a:pt x="1146" y="1218"/>
                  </a:lnTo>
                  <a:lnTo>
                    <a:pt x="1134" y="1224"/>
                  </a:lnTo>
                  <a:lnTo>
                    <a:pt x="1140" y="1260"/>
                  </a:lnTo>
                  <a:lnTo>
                    <a:pt x="1134" y="1266"/>
                  </a:lnTo>
                  <a:lnTo>
                    <a:pt x="1122" y="1266"/>
                  </a:lnTo>
                  <a:lnTo>
                    <a:pt x="1110" y="1236"/>
                  </a:lnTo>
                  <a:lnTo>
                    <a:pt x="1110" y="1224"/>
                  </a:lnTo>
                  <a:lnTo>
                    <a:pt x="1086" y="1224"/>
                  </a:lnTo>
                  <a:lnTo>
                    <a:pt x="1086" y="1212"/>
                  </a:lnTo>
                  <a:lnTo>
                    <a:pt x="1074" y="1212"/>
                  </a:lnTo>
                  <a:lnTo>
                    <a:pt x="1050" y="1212"/>
                  </a:lnTo>
                  <a:lnTo>
                    <a:pt x="1056" y="1218"/>
                  </a:lnTo>
                  <a:lnTo>
                    <a:pt x="1050" y="1272"/>
                  </a:lnTo>
                  <a:lnTo>
                    <a:pt x="1044" y="1272"/>
                  </a:lnTo>
                  <a:lnTo>
                    <a:pt x="1038" y="1284"/>
                  </a:lnTo>
                  <a:lnTo>
                    <a:pt x="1032" y="1302"/>
                  </a:lnTo>
                  <a:lnTo>
                    <a:pt x="1014" y="1302"/>
                  </a:lnTo>
                  <a:lnTo>
                    <a:pt x="1020" y="1284"/>
                  </a:lnTo>
                  <a:lnTo>
                    <a:pt x="1026" y="1278"/>
                  </a:lnTo>
                  <a:lnTo>
                    <a:pt x="1026" y="1266"/>
                  </a:lnTo>
                  <a:lnTo>
                    <a:pt x="1014" y="1260"/>
                  </a:lnTo>
                  <a:lnTo>
                    <a:pt x="1014" y="1272"/>
                  </a:lnTo>
                  <a:lnTo>
                    <a:pt x="990" y="1278"/>
                  </a:lnTo>
                  <a:lnTo>
                    <a:pt x="990" y="1254"/>
                  </a:lnTo>
                  <a:lnTo>
                    <a:pt x="984" y="1254"/>
                  </a:lnTo>
                  <a:lnTo>
                    <a:pt x="978" y="1242"/>
                  </a:lnTo>
                  <a:lnTo>
                    <a:pt x="972" y="1236"/>
                  </a:lnTo>
                  <a:lnTo>
                    <a:pt x="960" y="1206"/>
                  </a:lnTo>
                  <a:lnTo>
                    <a:pt x="942" y="1206"/>
                  </a:lnTo>
                  <a:lnTo>
                    <a:pt x="936" y="1200"/>
                  </a:lnTo>
                  <a:lnTo>
                    <a:pt x="906" y="1212"/>
                  </a:lnTo>
                  <a:lnTo>
                    <a:pt x="888" y="1230"/>
                  </a:lnTo>
                  <a:lnTo>
                    <a:pt x="876" y="1230"/>
                  </a:lnTo>
                  <a:lnTo>
                    <a:pt x="864" y="1236"/>
                  </a:lnTo>
                  <a:lnTo>
                    <a:pt x="858" y="1236"/>
                  </a:lnTo>
                  <a:lnTo>
                    <a:pt x="852" y="1254"/>
                  </a:lnTo>
                  <a:lnTo>
                    <a:pt x="858" y="1254"/>
                  </a:lnTo>
                  <a:lnTo>
                    <a:pt x="840" y="1266"/>
                  </a:lnTo>
                  <a:lnTo>
                    <a:pt x="828" y="1272"/>
                  </a:lnTo>
                  <a:lnTo>
                    <a:pt x="828" y="1284"/>
                  </a:lnTo>
                  <a:lnTo>
                    <a:pt x="822" y="1284"/>
                  </a:lnTo>
                  <a:lnTo>
                    <a:pt x="804" y="1296"/>
                  </a:lnTo>
                  <a:lnTo>
                    <a:pt x="804" y="1308"/>
                  </a:lnTo>
                  <a:lnTo>
                    <a:pt x="816" y="1320"/>
                  </a:lnTo>
                  <a:lnTo>
                    <a:pt x="828" y="1320"/>
                  </a:lnTo>
                  <a:lnTo>
                    <a:pt x="822" y="1338"/>
                  </a:lnTo>
                  <a:lnTo>
                    <a:pt x="852" y="1344"/>
                  </a:lnTo>
                  <a:lnTo>
                    <a:pt x="864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94" y="1356"/>
                  </a:lnTo>
                  <a:lnTo>
                    <a:pt x="912" y="1368"/>
                  </a:lnTo>
                  <a:lnTo>
                    <a:pt x="918" y="1380"/>
                  </a:lnTo>
                  <a:lnTo>
                    <a:pt x="936" y="1380"/>
                  </a:lnTo>
                  <a:lnTo>
                    <a:pt x="960" y="1386"/>
                  </a:lnTo>
                  <a:lnTo>
                    <a:pt x="990" y="1386"/>
                  </a:lnTo>
                  <a:lnTo>
                    <a:pt x="990" y="1392"/>
                  </a:lnTo>
                  <a:lnTo>
                    <a:pt x="1020" y="1398"/>
                  </a:lnTo>
                  <a:lnTo>
                    <a:pt x="1014" y="1404"/>
                  </a:lnTo>
                  <a:lnTo>
                    <a:pt x="1008" y="1404"/>
                  </a:lnTo>
                  <a:lnTo>
                    <a:pt x="1014" y="1440"/>
                  </a:lnTo>
                  <a:lnTo>
                    <a:pt x="1020" y="1458"/>
                  </a:lnTo>
                  <a:lnTo>
                    <a:pt x="1026" y="1476"/>
                  </a:lnTo>
                  <a:lnTo>
                    <a:pt x="1020" y="1476"/>
                  </a:lnTo>
                  <a:lnTo>
                    <a:pt x="1014" y="1476"/>
                  </a:lnTo>
                  <a:lnTo>
                    <a:pt x="1014" y="1482"/>
                  </a:lnTo>
                  <a:lnTo>
                    <a:pt x="1014" y="1488"/>
                  </a:lnTo>
                  <a:lnTo>
                    <a:pt x="1002" y="1488"/>
                  </a:lnTo>
                  <a:lnTo>
                    <a:pt x="1002" y="1494"/>
                  </a:lnTo>
                  <a:lnTo>
                    <a:pt x="996" y="1494"/>
                  </a:lnTo>
                  <a:lnTo>
                    <a:pt x="996" y="1518"/>
                  </a:lnTo>
                  <a:lnTo>
                    <a:pt x="1002" y="1524"/>
                  </a:lnTo>
                  <a:lnTo>
                    <a:pt x="1020" y="1530"/>
                  </a:lnTo>
                  <a:lnTo>
                    <a:pt x="1026" y="1542"/>
                  </a:lnTo>
                  <a:lnTo>
                    <a:pt x="1032" y="1566"/>
                  </a:lnTo>
                  <a:lnTo>
                    <a:pt x="1038" y="1578"/>
                  </a:lnTo>
                  <a:lnTo>
                    <a:pt x="1032" y="1584"/>
                  </a:lnTo>
                  <a:lnTo>
                    <a:pt x="1020" y="1584"/>
                  </a:lnTo>
                  <a:lnTo>
                    <a:pt x="1014" y="1584"/>
                  </a:lnTo>
                  <a:lnTo>
                    <a:pt x="1008" y="1596"/>
                  </a:lnTo>
                  <a:lnTo>
                    <a:pt x="990" y="1584"/>
                  </a:lnTo>
                  <a:lnTo>
                    <a:pt x="984" y="1602"/>
                  </a:lnTo>
                  <a:lnTo>
                    <a:pt x="978" y="1608"/>
                  </a:lnTo>
                  <a:lnTo>
                    <a:pt x="966" y="1608"/>
                  </a:lnTo>
                  <a:lnTo>
                    <a:pt x="960" y="1614"/>
                  </a:lnTo>
                  <a:lnTo>
                    <a:pt x="954" y="1614"/>
                  </a:lnTo>
                  <a:lnTo>
                    <a:pt x="942" y="1620"/>
                  </a:lnTo>
                  <a:lnTo>
                    <a:pt x="936" y="1620"/>
                  </a:lnTo>
                  <a:lnTo>
                    <a:pt x="930" y="1620"/>
                  </a:lnTo>
                  <a:lnTo>
                    <a:pt x="930" y="1626"/>
                  </a:lnTo>
                  <a:lnTo>
                    <a:pt x="930" y="1632"/>
                  </a:lnTo>
                  <a:lnTo>
                    <a:pt x="918" y="1632"/>
                  </a:lnTo>
                  <a:lnTo>
                    <a:pt x="912" y="1632"/>
                  </a:lnTo>
                  <a:lnTo>
                    <a:pt x="906" y="1632"/>
                  </a:lnTo>
                  <a:lnTo>
                    <a:pt x="900" y="1632"/>
                  </a:lnTo>
                  <a:lnTo>
                    <a:pt x="894" y="1626"/>
                  </a:lnTo>
                  <a:lnTo>
                    <a:pt x="894" y="1614"/>
                  </a:lnTo>
                  <a:lnTo>
                    <a:pt x="840" y="1614"/>
                  </a:lnTo>
                  <a:lnTo>
                    <a:pt x="840" y="1626"/>
                  </a:lnTo>
                  <a:lnTo>
                    <a:pt x="834" y="1626"/>
                  </a:lnTo>
                  <a:lnTo>
                    <a:pt x="828" y="1632"/>
                  </a:lnTo>
                  <a:lnTo>
                    <a:pt x="822" y="1638"/>
                  </a:lnTo>
                  <a:lnTo>
                    <a:pt x="822" y="1644"/>
                  </a:lnTo>
                  <a:lnTo>
                    <a:pt x="834" y="1650"/>
                  </a:lnTo>
                  <a:lnTo>
                    <a:pt x="840" y="1662"/>
                  </a:lnTo>
                  <a:lnTo>
                    <a:pt x="840" y="1668"/>
                  </a:lnTo>
                  <a:lnTo>
                    <a:pt x="858" y="1680"/>
                  </a:lnTo>
                  <a:lnTo>
                    <a:pt x="858" y="1752"/>
                  </a:lnTo>
                  <a:lnTo>
                    <a:pt x="864" y="1782"/>
                  </a:lnTo>
                  <a:lnTo>
                    <a:pt x="876" y="1788"/>
                  </a:lnTo>
                  <a:lnTo>
                    <a:pt x="870" y="1854"/>
                  </a:lnTo>
                  <a:lnTo>
                    <a:pt x="870" y="1884"/>
                  </a:lnTo>
                  <a:lnTo>
                    <a:pt x="864" y="1884"/>
                  </a:lnTo>
                  <a:lnTo>
                    <a:pt x="846" y="1896"/>
                  </a:lnTo>
                  <a:lnTo>
                    <a:pt x="840" y="1896"/>
                  </a:lnTo>
                  <a:lnTo>
                    <a:pt x="834" y="1896"/>
                  </a:lnTo>
                  <a:lnTo>
                    <a:pt x="828" y="1890"/>
                  </a:lnTo>
                  <a:lnTo>
                    <a:pt x="822" y="1890"/>
                  </a:lnTo>
                  <a:lnTo>
                    <a:pt x="816" y="1896"/>
                  </a:lnTo>
                  <a:lnTo>
                    <a:pt x="804" y="1896"/>
                  </a:lnTo>
                  <a:lnTo>
                    <a:pt x="804" y="1890"/>
                  </a:lnTo>
                  <a:lnTo>
                    <a:pt x="780" y="1896"/>
                  </a:lnTo>
                  <a:lnTo>
                    <a:pt x="780" y="1902"/>
                  </a:lnTo>
                  <a:lnTo>
                    <a:pt x="774" y="1914"/>
                  </a:lnTo>
                  <a:lnTo>
                    <a:pt x="762" y="1926"/>
                  </a:lnTo>
                  <a:lnTo>
                    <a:pt x="762" y="1950"/>
                  </a:lnTo>
                  <a:lnTo>
                    <a:pt x="762" y="1962"/>
                  </a:lnTo>
                  <a:lnTo>
                    <a:pt x="780" y="1974"/>
                  </a:lnTo>
                  <a:lnTo>
                    <a:pt x="780" y="1986"/>
                  </a:lnTo>
                  <a:lnTo>
                    <a:pt x="780" y="1998"/>
                  </a:lnTo>
                  <a:lnTo>
                    <a:pt x="756" y="1998"/>
                  </a:lnTo>
                  <a:lnTo>
                    <a:pt x="720" y="1992"/>
                  </a:lnTo>
                  <a:lnTo>
                    <a:pt x="666" y="1998"/>
                  </a:lnTo>
                  <a:lnTo>
                    <a:pt x="654" y="1998"/>
                  </a:lnTo>
                  <a:lnTo>
                    <a:pt x="660" y="1974"/>
                  </a:lnTo>
                  <a:lnTo>
                    <a:pt x="666" y="1962"/>
                  </a:lnTo>
                  <a:lnTo>
                    <a:pt x="678" y="1950"/>
                  </a:lnTo>
                  <a:lnTo>
                    <a:pt x="696" y="1932"/>
                  </a:lnTo>
                  <a:lnTo>
                    <a:pt x="696" y="1920"/>
                  </a:lnTo>
                  <a:lnTo>
                    <a:pt x="696" y="1896"/>
                  </a:lnTo>
                  <a:lnTo>
                    <a:pt x="678" y="1896"/>
                  </a:lnTo>
                  <a:lnTo>
                    <a:pt x="672" y="1884"/>
                  </a:lnTo>
                  <a:lnTo>
                    <a:pt x="672" y="1776"/>
                  </a:lnTo>
                  <a:lnTo>
                    <a:pt x="678" y="1758"/>
                  </a:lnTo>
                  <a:lnTo>
                    <a:pt x="678" y="1740"/>
                  </a:lnTo>
                  <a:lnTo>
                    <a:pt x="684" y="1728"/>
                  </a:lnTo>
                  <a:lnTo>
                    <a:pt x="690" y="1722"/>
                  </a:lnTo>
                  <a:lnTo>
                    <a:pt x="702" y="1722"/>
                  </a:lnTo>
                  <a:lnTo>
                    <a:pt x="708" y="1716"/>
                  </a:lnTo>
                  <a:lnTo>
                    <a:pt x="714" y="1710"/>
                  </a:lnTo>
                  <a:lnTo>
                    <a:pt x="720" y="1698"/>
                  </a:lnTo>
                  <a:lnTo>
                    <a:pt x="732" y="1692"/>
                  </a:lnTo>
                  <a:lnTo>
                    <a:pt x="744" y="1686"/>
                  </a:lnTo>
                  <a:lnTo>
                    <a:pt x="756" y="1680"/>
                  </a:lnTo>
                  <a:lnTo>
                    <a:pt x="768" y="1668"/>
                  </a:lnTo>
                  <a:lnTo>
                    <a:pt x="768" y="1650"/>
                  </a:lnTo>
                  <a:lnTo>
                    <a:pt x="774" y="1632"/>
                  </a:lnTo>
                  <a:lnTo>
                    <a:pt x="768" y="1620"/>
                  </a:lnTo>
                  <a:lnTo>
                    <a:pt x="774" y="1608"/>
                  </a:lnTo>
                  <a:lnTo>
                    <a:pt x="774" y="1578"/>
                  </a:lnTo>
                  <a:lnTo>
                    <a:pt x="774" y="1572"/>
                  </a:lnTo>
                  <a:lnTo>
                    <a:pt x="780" y="1560"/>
                  </a:lnTo>
                  <a:lnTo>
                    <a:pt x="780" y="1554"/>
                  </a:lnTo>
                  <a:lnTo>
                    <a:pt x="786" y="1542"/>
                  </a:lnTo>
                  <a:lnTo>
                    <a:pt x="792" y="1530"/>
                  </a:lnTo>
                  <a:lnTo>
                    <a:pt x="792" y="1518"/>
                  </a:lnTo>
                  <a:lnTo>
                    <a:pt x="792" y="1506"/>
                  </a:lnTo>
                  <a:lnTo>
                    <a:pt x="786" y="1500"/>
                  </a:lnTo>
                  <a:lnTo>
                    <a:pt x="774" y="1488"/>
                  </a:lnTo>
                  <a:lnTo>
                    <a:pt x="774" y="1482"/>
                  </a:lnTo>
                  <a:lnTo>
                    <a:pt x="762" y="1488"/>
                  </a:lnTo>
                  <a:lnTo>
                    <a:pt x="756" y="1494"/>
                  </a:lnTo>
                  <a:lnTo>
                    <a:pt x="744" y="1500"/>
                  </a:lnTo>
                  <a:lnTo>
                    <a:pt x="732" y="1506"/>
                  </a:lnTo>
                  <a:lnTo>
                    <a:pt x="726" y="1506"/>
                  </a:lnTo>
                  <a:lnTo>
                    <a:pt x="720" y="1506"/>
                  </a:lnTo>
                  <a:lnTo>
                    <a:pt x="702" y="1506"/>
                  </a:lnTo>
                  <a:lnTo>
                    <a:pt x="690" y="1500"/>
                  </a:lnTo>
                  <a:lnTo>
                    <a:pt x="678" y="1500"/>
                  </a:lnTo>
                  <a:lnTo>
                    <a:pt x="672" y="1500"/>
                  </a:lnTo>
                  <a:lnTo>
                    <a:pt x="660" y="1506"/>
                  </a:lnTo>
                  <a:lnTo>
                    <a:pt x="654" y="1506"/>
                  </a:lnTo>
                  <a:lnTo>
                    <a:pt x="648" y="1512"/>
                  </a:lnTo>
                  <a:lnTo>
                    <a:pt x="648" y="1518"/>
                  </a:lnTo>
                  <a:lnTo>
                    <a:pt x="618" y="1518"/>
                  </a:lnTo>
                  <a:lnTo>
                    <a:pt x="534" y="1494"/>
                  </a:lnTo>
                  <a:lnTo>
                    <a:pt x="528" y="1458"/>
                  </a:lnTo>
                  <a:lnTo>
                    <a:pt x="510" y="1458"/>
                  </a:lnTo>
                  <a:lnTo>
                    <a:pt x="492" y="1440"/>
                  </a:lnTo>
                  <a:lnTo>
                    <a:pt x="462" y="1440"/>
                  </a:lnTo>
                  <a:lnTo>
                    <a:pt x="456" y="1428"/>
                  </a:lnTo>
                  <a:lnTo>
                    <a:pt x="420" y="1428"/>
                  </a:lnTo>
                  <a:lnTo>
                    <a:pt x="390" y="1446"/>
                  </a:lnTo>
                  <a:lnTo>
                    <a:pt x="312" y="1452"/>
                  </a:lnTo>
                  <a:lnTo>
                    <a:pt x="300" y="1446"/>
                  </a:lnTo>
                  <a:lnTo>
                    <a:pt x="294" y="1446"/>
                  </a:lnTo>
                  <a:lnTo>
                    <a:pt x="288" y="1446"/>
                  </a:lnTo>
                  <a:lnTo>
                    <a:pt x="282" y="1440"/>
                  </a:lnTo>
                  <a:lnTo>
                    <a:pt x="276" y="1440"/>
                  </a:lnTo>
                  <a:lnTo>
                    <a:pt x="270" y="1440"/>
                  </a:lnTo>
                  <a:lnTo>
                    <a:pt x="264" y="1440"/>
                  </a:lnTo>
                  <a:lnTo>
                    <a:pt x="258" y="1434"/>
                  </a:lnTo>
                  <a:lnTo>
                    <a:pt x="252" y="1434"/>
                  </a:lnTo>
                  <a:lnTo>
                    <a:pt x="246" y="1428"/>
                  </a:lnTo>
                  <a:lnTo>
                    <a:pt x="240" y="1416"/>
                  </a:lnTo>
                  <a:lnTo>
                    <a:pt x="234" y="1404"/>
                  </a:lnTo>
                  <a:lnTo>
                    <a:pt x="228" y="1398"/>
                  </a:lnTo>
                  <a:lnTo>
                    <a:pt x="222" y="1398"/>
                  </a:lnTo>
                  <a:lnTo>
                    <a:pt x="216" y="1404"/>
                  </a:lnTo>
                  <a:lnTo>
                    <a:pt x="210" y="1404"/>
                  </a:lnTo>
                  <a:lnTo>
                    <a:pt x="204" y="1404"/>
                  </a:lnTo>
                  <a:lnTo>
                    <a:pt x="204" y="1398"/>
                  </a:lnTo>
                  <a:lnTo>
                    <a:pt x="198" y="1392"/>
                  </a:lnTo>
                  <a:lnTo>
                    <a:pt x="192" y="1386"/>
                  </a:lnTo>
                  <a:lnTo>
                    <a:pt x="168" y="1374"/>
                  </a:lnTo>
                  <a:lnTo>
                    <a:pt x="144" y="13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0" name="Freeform 35">
              <a:extLst>
                <a:ext uri="{FF2B5EF4-FFF2-40B4-BE49-F238E27FC236}">
                  <a16:creationId xmlns:a16="http://schemas.microsoft.com/office/drawing/2014/main" id="{F64BF16E-9D62-438E-A1CC-CD4088AC7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2895" y="1706004"/>
              <a:ext cx="767013" cy="785011"/>
            </a:xfrm>
            <a:custGeom>
              <a:avLst/>
              <a:gdLst>
                <a:gd name="T0" fmla="*/ 102 w 1440"/>
                <a:gd name="T1" fmla="*/ 104 h 1476"/>
                <a:gd name="T2" fmla="*/ 99 w 1440"/>
                <a:gd name="T3" fmla="*/ 108 h 1476"/>
                <a:gd name="T4" fmla="*/ 98 w 1440"/>
                <a:gd name="T5" fmla="*/ 112 h 1476"/>
                <a:gd name="T6" fmla="*/ 96 w 1440"/>
                <a:gd name="T7" fmla="*/ 116 h 1476"/>
                <a:gd name="T8" fmla="*/ 91 w 1440"/>
                <a:gd name="T9" fmla="*/ 118 h 1476"/>
                <a:gd name="T10" fmla="*/ 87 w 1440"/>
                <a:gd name="T11" fmla="*/ 120 h 1476"/>
                <a:gd name="T12" fmla="*/ 75 w 1440"/>
                <a:gd name="T13" fmla="*/ 120 h 1476"/>
                <a:gd name="T14" fmla="*/ 72 w 1440"/>
                <a:gd name="T15" fmla="*/ 123 h 1476"/>
                <a:gd name="T16" fmla="*/ 69 w 1440"/>
                <a:gd name="T17" fmla="*/ 128 h 1476"/>
                <a:gd name="T18" fmla="*/ 67 w 1440"/>
                <a:gd name="T19" fmla="*/ 127 h 1476"/>
                <a:gd name="T20" fmla="*/ 66 w 1440"/>
                <a:gd name="T21" fmla="*/ 123 h 1476"/>
                <a:gd name="T22" fmla="*/ 63 w 1440"/>
                <a:gd name="T23" fmla="*/ 119 h 1476"/>
                <a:gd name="T24" fmla="*/ 54 w 1440"/>
                <a:gd name="T25" fmla="*/ 114 h 1476"/>
                <a:gd name="T26" fmla="*/ 55 w 1440"/>
                <a:gd name="T27" fmla="*/ 106 h 1476"/>
                <a:gd name="T28" fmla="*/ 60 w 1440"/>
                <a:gd name="T29" fmla="*/ 100 h 1476"/>
                <a:gd name="T30" fmla="*/ 55 w 1440"/>
                <a:gd name="T31" fmla="*/ 91 h 1476"/>
                <a:gd name="T32" fmla="*/ 51 w 1440"/>
                <a:gd name="T33" fmla="*/ 86 h 1476"/>
                <a:gd name="T34" fmla="*/ 47 w 1440"/>
                <a:gd name="T35" fmla="*/ 85 h 1476"/>
                <a:gd name="T36" fmla="*/ 44 w 1440"/>
                <a:gd name="T37" fmla="*/ 82 h 1476"/>
                <a:gd name="T38" fmla="*/ 41 w 1440"/>
                <a:gd name="T39" fmla="*/ 83 h 1476"/>
                <a:gd name="T40" fmla="*/ 36 w 1440"/>
                <a:gd name="T41" fmla="*/ 83 h 1476"/>
                <a:gd name="T42" fmla="*/ 33 w 1440"/>
                <a:gd name="T43" fmla="*/ 83 h 1476"/>
                <a:gd name="T44" fmla="*/ 30 w 1440"/>
                <a:gd name="T45" fmla="*/ 83 h 1476"/>
                <a:gd name="T46" fmla="*/ 27 w 1440"/>
                <a:gd name="T47" fmla="*/ 83 h 1476"/>
                <a:gd name="T48" fmla="*/ 24 w 1440"/>
                <a:gd name="T49" fmla="*/ 82 h 1476"/>
                <a:gd name="T50" fmla="*/ 21 w 1440"/>
                <a:gd name="T51" fmla="*/ 80 h 1476"/>
                <a:gd name="T52" fmla="*/ 18 w 1440"/>
                <a:gd name="T53" fmla="*/ 79 h 1476"/>
                <a:gd name="T54" fmla="*/ 17 w 1440"/>
                <a:gd name="T55" fmla="*/ 78 h 1476"/>
                <a:gd name="T56" fmla="*/ 12 w 1440"/>
                <a:gd name="T57" fmla="*/ 78 h 1476"/>
                <a:gd name="T58" fmla="*/ 12 w 1440"/>
                <a:gd name="T59" fmla="*/ 78 h 1476"/>
                <a:gd name="T60" fmla="*/ 7 w 1440"/>
                <a:gd name="T61" fmla="*/ 80 h 1476"/>
                <a:gd name="T62" fmla="*/ 3 w 1440"/>
                <a:gd name="T63" fmla="*/ 81 h 1476"/>
                <a:gd name="T64" fmla="*/ 0 w 1440"/>
                <a:gd name="T65" fmla="*/ 76 h 1476"/>
                <a:gd name="T66" fmla="*/ 1 w 1440"/>
                <a:gd name="T67" fmla="*/ 50 h 1476"/>
                <a:gd name="T68" fmla="*/ 8 w 1440"/>
                <a:gd name="T69" fmla="*/ 48 h 1476"/>
                <a:gd name="T70" fmla="*/ 20 w 1440"/>
                <a:gd name="T71" fmla="*/ 49 h 1476"/>
                <a:gd name="T72" fmla="*/ 26 w 1440"/>
                <a:gd name="T73" fmla="*/ 50 h 1476"/>
                <a:gd name="T74" fmla="*/ 44 w 1440"/>
                <a:gd name="T75" fmla="*/ 47 h 1476"/>
                <a:gd name="T76" fmla="*/ 41 w 1440"/>
                <a:gd name="T77" fmla="*/ 24 h 1476"/>
                <a:gd name="T78" fmla="*/ 44 w 1440"/>
                <a:gd name="T79" fmla="*/ 20 h 1476"/>
                <a:gd name="T80" fmla="*/ 47 w 1440"/>
                <a:gd name="T81" fmla="*/ 18 h 1476"/>
                <a:gd name="T82" fmla="*/ 54 w 1440"/>
                <a:gd name="T83" fmla="*/ 21 h 1476"/>
                <a:gd name="T84" fmla="*/ 61 w 1440"/>
                <a:gd name="T85" fmla="*/ 23 h 1476"/>
                <a:gd name="T86" fmla="*/ 59 w 1440"/>
                <a:gd name="T87" fmla="*/ 14 h 1476"/>
                <a:gd name="T88" fmla="*/ 61 w 1440"/>
                <a:gd name="T89" fmla="*/ 8 h 1476"/>
                <a:gd name="T90" fmla="*/ 71 w 1440"/>
                <a:gd name="T91" fmla="*/ 7 h 1476"/>
                <a:gd name="T92" fmla="*/ 75 w 1440"/>
                <a:gd name="T93" fmla="*/ 0 h 1476"/>
                <a:gd name="T94" fmla="*/ 82 w 1440"/>
                <a:gd name="T95" fmla="*/ 3 h 1476"/>
                <a:gd name="T96" fmla="*/ 93 w 1440"/>
                <a:gd name="T97" fmla="*/ 5 h 1476"/>
                <a:gd name="T98" fmla="*/ 100 w 1440"/>
                <a:gd name="T99" fmla="*/ 1 h 1476"/>
                <a:gd name="T100" fmla="*/ 104 w 1440"/>
                <a:gd name="T101" fmla="*/ 4 h 1476"/>
                <a:gd name="T102" fmla="*/ 110 w 1440"/>
                <a:gd name="T103" fmla="*/ 10 h 1476"/>
                <a:gd name="T104" fmla="*/ 115 w 1440"/>
                <a:gd name="T105" fmla="*/ 23 h 1476"/>
                <a:gd name="T106" fmla="*/ 117 w 1440"/>
                <a:gd name="T107" fmla="*/ 42 h 1476"/>
                <a:gd name="T108" fmla="*/ 121 w 1440"/>
                <a:gd name="T109" fmla="*/ 52 h 1476"/>
                <a:gd name="T110" fmla="*/ 118 w 1440"/>
                <a:gd name="T111" fmla="*/ 62 h 1476"/>
                <a:gd name="T112" fmla="*/ 124 w 1440"/>
                <a:gd name="T113" fmla="*/ 66 h 1476"/>
                <a:gd name="T114" fmla="*/ 121 w 1440"/>
                <a:gd name="T115" fmla="*/ 71 h 1476"/>
                <a:gd name="T116" fmla="*/ 115 w 1440"/>
                <a:gd name="T117" fmla="*/ 76 h 1476"/>
                <a:gd name="T118" fmla="*/ 109 w 1440"/>
                <a:gd name="T119" fmla="*/ 76 h 1476"/>
                <a:gd name="T120" fmla="*/ 105 w 1440"/>
                <a:gd name="T121" fmla="*/ 86 h 1476"/>
                <a:gd name="T122" fmla="*/ 107 w 1440"/>
                <a:gd name="T123" fmla="*/ 97 h 147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40"/>
                <a:gd name="T187" fmla="*/ 0 h 1476"/>
                <a:gd name="T188" fmla="*/ 1440 w 1440"/>
                <a:gd name="T189" fmla="*/ 1476 h 147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40" h="1476">
                  <a:moveTo>
                    <a:pt x="1212" y="1164"/>
                  </a:moveTo>
                  <a:lnTo>
                    <a:pt x="1206" y="1170"/>
                  </a:lnTo>
                  <a:lnTo>
                    <a:pt x="1200" y="1176"/>
                  </a:lnTo>
                  <a:lnTo>
                    <a:pt x="1194" y="1176"/>
                  </a:lnTo>
                  <a:lnTo>
                    <a:pt x="1188" y="1188"/>
                  </a:lnTo>
                  <a:lnTo>
                    <a:pt x="1182" y="1194"/>
                  </a:lnTo>
                  <a:lnTo>
                    <a:pt x="1176" y="1194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64" y="1206"/>
                  </a:lnTo>
                  <a:lnTo>
                    <a:pt x="1158" y="1206"/>
                  </a:lnTo>
                  <a:lnTo>
                    <a:pt x="1152" y="1212"/>
                  </a:lnTo>
                  <a:lnTo>
                    <a:pt x="1146" y="1212"/>
                  </a:lnTo>
                  <a:lnTo>
                    <a:pt x="1140" y="1224"/>
                  </a:lnTo>
                  <a:lnTo>
                    <a:pt x="1134" y="1230"/>
                  </a:lnTo>
                  <a:lnTo>
                    <a:pt x="1128" y="1236"/>
                  </a:lnTo>
                  <a:lnTo>
                    <a:pt x="1128" y="1242"/>
                  </a:lnTo>
                  <a:lnTo>
                    <a:pt x="1128" y="1254"/>
                  </a:lnTo>
                  <a:lnTo>
                    <a:pt x="1128" y="1260"/>
                  </a:lnTo>
                  <a:lnTo>
                    <a:pt x="1122" y="1260"/>
                  </a:lnTo>
                  <a:lnTo>
                    <a:pt x="1122" y="1266"/>
                  </a:lnTo>
                  <a:lnTo>
                    <a:pt x="1128" y="1278"/>
                  </a:lnTo>
                  <a:lnTo>
                    <a:pt x="1122" y="1278"/>
                  </a:lnTo>
                  <a:lnTo>
                    <a:pt x="1122" y="1284"/>
                  </a:lnTo>
                  <a:lnTo>
                    <a:pt x="1128" y="1290"/>
                  </a:lnTo>
                  <a:lnTo>
                    <a:pt x="1122" y="1296"/>
                  </a:lnTo>
                  <a:lnTo>
                    <a:pt x="1122" y="1302"/>
                  </a:lnTo>
                  <a:lnTo>
                    <a:pt x="1116" y="1302"/>
                  </a:lnTo>
                  <a:lnTo>
                    <a:pt x="1110" y="1314"/>
                  </a:lnTo>
                  <a:lnTo>
                    <a:pt x="1110" y="1320"/>
                  </a:lnTo>
                  <a:lnTo>
                    <a:pt x="1110" y="1326"/>
                  </a:lnTo>
                  <a:lnTo>
                    <a:pt x="1098" y="1332"/>
                  </a:lnTo>
                  <a:lnTo>
                    <a:pt x="1092" y="1338"/>
                  </a:lnTo>
                  <a:lnTo>
                    <a:pt x="1092" y="1344"/>
                  </a:lnTo>
                  <a:lnTo>
                    <a:pt x="1086" y="1350"/>
                  </a:lnTo>
                  <a:lnTo>
                    <a:pt x="1080" y="1350"/>
                  </a:lnTo>
                  <a:lnTo>
                    <a:pt x="1074" y="1350"/>
                  </a:lnTo>
                  <a:lnTo>
                    <a:pt x="1068" y="1356"/>
                  </a:lnTo>
                  <a:lnTo>
                    <a:pt x="1062" y="1356"/>
                  </a:lnTo>
                  <a:lnTo>
                    <a:pt x="1044" y="1356"/>
                  </a:lnTo>
                  <a:lnTo>
                    <a:pt x="1038" y="1362"/>
                  </a:lnTo>
                  <a:lnTo>
                    <a:pt x="1032" y="1368"/>
                  </a:lnTo>
                  <a:lnTo>
                    <a:pt x="1026" y="1368"/>
                  </a:lnTo>
                  <a:lnTo>
                    <a:pt x="1020" y="1374"/>
                  </a:lnTo>
                  <a:lnTo>
                    <a:pt x="1008" y="1374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74"/>
                  </a:lnTo>
                  <a:lnTo>
                    <a:pt x="978" y="1380"/>
                  </a:lnTo>
                  <a:lnTo>
                    <a:pt x="972" y="1380"/>
                  </a:lnTo>
                  <a:lnTo>
                    <a:pt x="954" y="1368"/>
                  </a:lnTo>
                  <a:lnTo>
                    <a:pt x="930" y="1368"/>
                  </a:lnTo>
                  <a:lnTo>
                    <a:pt x="918" y="1368"/>
                  </a:lnTo>
                  <a:lnTo>
                    <a:pt x="906" y="1368"/>
                  </a:lnTo>
                  <a:lnTo>
                    <a:pt x="894" y="1368"/>
                  </a:lnTo>
                  <a:lnTo>
                    <a:pt x="864" y="1374"/>
                  </a:lnTo>
                  <a:lnTo>
                    <a:pt x="852" y="1374"/>
                  </a:lnTo>
                  <a:lnTo>
                    <a:pt x="846" y="1386"/>
                  </a:lnTo>
                  <a:lnTo>
                    <a:pt x="846" y="1392"/>
                  </a:lnTo>
                  <a:lnTo>
                    <a:pt x="840" y="1398"/>
                  </a:lnTo>
                  <a:lnTo>
                    <a:pt x="840" y="1404"/>
                  </a:lnTo>
                  <a:lnTo>
                    <a:pt x="834" y="1416"/>
                  </a:lnTo>
                  <a:lnTo>
                    <a:pt x="828" y="1416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04" y="1428"/>
                  </a:lnTo>
                  <a:lnTo>
                    <a:pt x="804" y="1434"/>
                  </a:lnTo>
                  <a:lnTo>
                    <a:pt x="804" y="1440"/>
                  </a:lnTo>
                  <a:lnTo>
                    <a:pt x="798" y="1446"/>
                  </a:lnTo>
                  <a:lnTo>
                    <a:pt x="798" y="1458"/>
                  </a:lnTo>
                  <a:lnTo>
                    <a:pt x="792" y="1464"/>
                  </a:lnTo>
                  <a:lnTo>
                    <a:pt x="786" y="1476"/>
                  </a:lnTo>
                  <a:lnTo>
                    <a:pt x="780" y="1470"/>
                  </a:lnTo>
                  <a:lnTo>
                    <a:pt x="774" y="1470"/>
                  </a:lnTo>
                  <a:lnTo>
                    <a:pt x="768" y="1470"/>
                  </a:lnTo>
                  <a:lnTo>
                    <a:pt x="762" y="1476"/>
                  </a:lnTo>
                  <a:lnTo>
                    <a:pt x="762" y="1470"/>
                  </a:lnTo>
                  <a:lnTo>
                    <a:pt x="762" y="1464"/>
                  </a:lnTo>
                  <a:lnTo>
                    <a:pt x="762" y="1458"/>
                  </a:lnTo>
                  <a:lnTo>
                    <a:pt x="756" y="1458"/>
                  </a:lnTo>
                  <a:lnTo>
                    <a:pt x="756" y="1452"/>
                  </a:lnTo>
                  <a:lnTo>
                    <a:pt x="756" y="1446"/>
                  </a:lnTo>
                  <a:lnTo>
                    <a:pt x="756" y="1440"/>
                  </a:lnTo>
                  <a:lnTo>
                    <a:pt x="750" y="1434"/>
                  </a:lnTo>
                  <a:lnTo>
                    <a:pt x="750" y="1428"/>
                  </a:lnTo>
                  <a:lnTo>
                    <a:pt x="750" y="1422"/>
                  </a:lnTo>
                  <a:lnTo>
                    <a:pt x="750" y="1416"/>
                  </a:lnTo>
                  <a:lnTo>
                    <a:pt x="744" y="1416"/>
                  </a:lnTo>
                  <a:lnTo>
                    <a:pt x="744" y="1410"/>
                  </a:lnTo>
                  <a:lnTo>
                    <a:pt x="738" y="1404"/>
                  </a:lnTo>
                  <a:lnTo>
                    <a:pt x="732" y="1398"/>
                  </a:lnTo>
                  <a:lnTo>
                    <a:pt x="732" y="1392"/>
                  </a:lnTo>
                  <a:lnTo>
                    <a:pt x="726" y="1386"/>
                  </a:lnTo>
                  <a:lnTo>
                    <a:pt x="726" y="1380"/>
                  </a:lnTo>
                  <a:lnTo>
                    <a:pt x="714" y="1368"/>
                  </a:lnTo>
                  <a:lnTo>
                    <a:pt x="708" y="1368"/>
                  </a:lnTo>
                  <a:lnTo>
                    <a:pt x="684" y="1332"/>
                  </a:lnTo>
                  <a:lnTo>
                    <a:pt x="666" y="1320"/>
                  </a:lnTo>
                  <a:lnTo>
                    <a:pt x="648" y="1302"/>
                  </a:lnTo>
                  <a:lnTo>
                    <a:pt x="630" y="1314"/>
                  </a:lnTo>
                  <a:lnTo>
                    <a:pt x="624" y="1314"/>
                  </a:lnTo>
                  <a:lnTo>
                    <a:pt x="624" y="1308"/>
                  </a:lnTo>
                  <a:lnTo>
                    <a:pt x="618" y="1308"/>
                  </a:lnTo>
                  <a:lnTo>
                    <a:pt x="612" y="1284"/>
                  </a:lnTo>
                  <a:lnTo>
                    <a:pt x="606" y="1254"/>
                  </a:lnTo>
                  <a:lnTo>
                    <a:pt x="606" y="1248"/>
                  </a:lnTo>
                  <a:lnTo>
                    <a:pt x="606" y="1242"/>
                  </a:lnTo>
                  <a:lnTo>
                    <a:pt x="612" y="1242"/>
                  </a:lnTo>
                  <a:lnTo>
                    <a:pt x="618" y="1236"/>
                  </a:lnTo>
                  <a:lnTo>
                    <a:pt x="618" y="1230"/>
                  </a:lnTo>
                  <a:lnTo>
                    <a:pt x="624" y="1224"/>
                  </a:lnTo>
                  <a:lnTo>
                    <a:pt x="630" y="1224"/>
                  </a:lnTo>
                  <a:lnTo>
                    <a:pt x="636" y="1218"/>
                  </a:lnTo>
                  <a:lnTo>
                    <a:pt x="636" y="1212"/>
                  </a:lnTo>
                  <a:lnTo>
                    <a:pt x="612" y="1200"/>
                  </a:lnTo>
                  <a:lnTo>
                    <a:pt x="606" y="1182"/>
                  </a:lnTo>
                  <a:lnTo>
                    <a:pt x="672" y="1182"/>
                  </a:lnTo>
                  <a:lnTo>
                    <a:pt x="690" y="1170"/>
                  </a:lnTo>
                  <a:lnTo>
                    <a:pt x="690" y="1152"/>
                  </a:lnTo>
                  <a:lnTo>
                    <a:pt x="678" y="1110"/>
                  </a:lnTo>
                  <a:lnTo>
                    <a:pt x="672" y="1092"/>
                  </a:lnTo>
                  <a:lnTo>
                    <a:pt x="660" y="1074"/>
                  </a:lnTo>
                  <a:lnTo>
                    <a:pt x="648" y="1068"/>
                  </a:lnTo>
                  <a:lnTo>
                    <a:pt x="642" y="1068"/>
                  </a:lnTo>
                  <a:lnTo>
                    <a:pt x="636" y="1062"/>
                  </a:lnTo>
                  <a:lnTo>
                    <a:pt x="624" y="1056"/>
                  </a:lnTo>
                  <a:lnTo>
                    <a:pt x="624" y="1050"/>
                  </a:lnTo>
                  <a:lnTo>
                    <a:pt x="618" y="1038"/>
                  </a:lnTo>
                  <a:lnTo>
                    <a:pt x="612" y="1038"/>
                  </a:lnTo>
                  <a:lnTo>
                    <a:pt x="612" y="1032"/>
                  </a:lnTo>
                  <a:lnTo>
                    <a:pt x="612" y="1026"/>
                  </a:lnTo>
                  <a:lnTo>
                    <a:pt x="600" y="1014"/>
                  </a:lnTo>
                  <a:lnTo>
                    <a:pt x="582" y="1008"/>
                  </a:lnTo>
                  <a:lnTo>
                    <a:pt x="576" y="1002"/>
                  </a:lnTo>
                  <a:lnTo>
                    <a:pt x="576" y="996"/>
                  </a:lnTo>
                  <a:lnTo>
                    <a:pt x="570" y="996"/>
                  </a:lnTo>
                  <a:lnTo>
                    <a:pt x="570" y="990"/>
                  </a:lnTo>
                  <a:lnTo>
                    <a:pt x="570" y="984"/>
                  </a:lnTo>
                  <a:lnTo>
                    <a:pt x="564" y="984"/>
                  </a:lnTo>
                  <a:lnTo>
                    <a:pt x="558" y="978"/>
                  </a:lnTo>
                  <a:lnTo>
                    <a:pt x="552" y="972"/>
                  </a:lnTo>
                  <a:lnTo>
                    <a:pt x="552" y="966"/>
                  </a:lnTo>
                  <a:lnTo>
                    <a:pt x="546" y="972"/>
                  </a:lnTo>
                  <a:lnTo>
                    <a:pt x="540" y="972"/>
                  </a:lnTo>
                  <a:lnTo>
                    <a:pt x="534" y="960"/>
                  </a:lnTo>
                  <a:lnTo>
                    <a:pt x="528" y="960"/>
                  </a:lnTo>
                  <a:lnTo>
                    <a:pt x="528" y="966"/>
                  </a:lnTo>
                  <a:lnTo>
                    <a:pt x="516" y="954"/>
                  </a:lnTo>
                  <a:lnTo>
                    <a:pt x="516" y="948"/>
                  </a:lnTo>
                  <a:lnTo>
                    <a:pt x="510" y="948"/>
                  </a:lnTo>
                  <a:lnTo>
                    <a:pt x="504" y="948"/>
                  </a:lnTo>
                  <a:lnTo>
                    <a:pt x="498" y="948"/>
                  </a:lnTo>
                  <a:lnTo>
                    <a:pt x="504" y="954"/>
                  </a:lnTo>
                  <a:lnTo>
                    <a:pt x="498" y="954"/>
                  </a:lnTo>
                  <a:lnTo>
                    <a:pt x="492" y="954"/>
                  </a:lnTo>
                  <a:lnTo>
                    <a:pt x="480" y="942"/>
                  </a:lnTo>
                  <a:lnTo>
                    <a:pt x="480" y="948"/>
                  </a:lnTo>
                  <a:lnTo>
                    <a:pt x="480" y="954"/>
                  </a:lnTo>
                  <a:lnTo>
                    <a:pt x="474" y="954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56" y="966"/>
                  </a:lnTo>
                  <a:lnTo>
                    <a:pt x="456" y="960"/>
                  </a:lnTo>
                  <a:lnTo>
                    <a:pt x="450" y="966"/>
                  </a:lnTo>
                  <a:lnTo>
                    <a:pt x="444" y="966"/>
                  </a:lnTo>
                  <a:lnTo>
                    <a:pt x="414" y="966"/>
                  </a:lnTo>
                  <a:lnTo>
                    <a:pt x="408" y="960"/>
                  </a:lnTo>
                  <a:lnTo>
                    <a:pt x="408" y="966"/>
                  </a:lnTo>
                  <a:lnTo>
                    <a:pt x="402" y="960"/>
                  </a:lnTo>
                  <a:lnTo>
                    <a:pt x="396" y="960"/>
                  </a:lnTo>
                  <a:lnTo>
                    <a:pt x="390" y="960"/>
                  </a:lnTo>
                  <a:lnTo>
                    <a:pt x="390" y="966"/>
                  </a:lnTo>
                  <a:lnTo>
                    <a:pt x="384" y="966"/>
                  </a:lnTo>
                  <a:lnTo>
                    <a:pt x="378" y="966"/>
                  </a:lnTo>
                  <a:lnTo>
                    <a:pt x="384" y="960"/>
                  </a:lnTo>
                  <a:lnTo>
                    <a:pt x="384" y="954"/>
                  </a:lnTo>
                  <a:lnTo>
                    <a:pt x="372" y="948"/>
                  </a:lnTo>
                  <a:lnTo>
                    <a:pt x="372" y="954"/>
                  </a:lnTo>
                  <a:lnTo>
                    <a:pt x="372" y="960"/>
                  </a:lnTo>
                  <a:lnTo>
                    <a:pt x="366" y="960"/>
                  </a:lnTo>
                  <a:lnTo>
                    <a:pt x="360" y="966"/>
                  </a:lnTo>
                  <a:lnTo>
                    <a:pt x="354" y="966"/>
                  </a:lnTo>
                  <a:lnTo>
                    <a:pt x="348" y="960"/>
                  </a:lnTo>
                  <a:lnTo>
                    <a:pt x="342" y="960"/>
                  </a:lnTo>
                  <a:lnTo>
                    <a:pt x="342" y="966"/>
                  </a:lnTo>
                  <a:lnTo>
                    <a:pt x="336" y="972"/>
                  </a:lnTo>
                  <a:lnTo>
                    <a:pt x="330" y="972"/>
                  </a:lnTo>
                  <a:lnTo>
                    <a:pt x="324" y="966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6" y="954"/>
                  </a:lnTo>
                  <a:lnTo>
                    <a:pt x="306" y="948"/>
                  </a:lnTo>
                  <a:lnTo>
                    <a:pt x="306" y="942"/>
                  </a:lnTo>
                  <a:lnTo>
                    <a:pt x="300" y="942"/>
                  </a:lnTo>
                  <a:lnTo>
                    <a:pt x="294" y="936"/>
                  </a:lnTo>
                  <a:lnTo>
                    <a:pt x="288" y="936"/>
                  </a:lnTo>
                  <a:lnTo>
                    <a:pt x="282" y="942"/>
                  </a:lnTo>
                  <a:lnTo>
                    <a:pt x="276" y="936"/>
                  </a:lnTo>
                  <a:lnTo>
                    <a:pt x="276" y="942"/>
                  </a:lnTo>
                  <a:lnTo>
                    <a:pt x="270" y="942"/>
                  </a:lnTo>
                  <a:lnTo>
                    <a:pt x="264" y="936"/>
                  </a:lnTo>
                  <a:lnTo>
                    <a:pt x="252" y="936"/>
                  </a:lnTo>
                  <a:lnTo>
                    <a:pt x="246" y="936"/>
                  </a:lnTo>
                  <a:lnTo>
                    <a:pt x="240" y="936"/>
                  </a:lnTo>
                  <a:lnTo>
                    <a:pt x="234" y="936"/>
                  </a:lnTo>
                  <a:lnTo>
                    <a:pt x="240" y="924"/>
                  </a:lnTo>
                  <a:lnTo>
                    <a:pt x="234" y="924"/>
                  </a:lnTo>
                  <a:lnTo>
                    <a:pt x="228" y="918"/>
                  </a:lnTo>
                  <a:lnTo>
                    <a:pt x="228" y="906"/>
                  </a:lnTo>
                  <a:lnTo>
                    <a:pt x="222" y="900"/>
                  </a:lnTo>
                  <a:lnTo>
                    <a:pt x="216" y="900"/>
                  </a:lnTo>
                  <a:lnTo>
                    <a:pt x="210" y="900"/>
                  </a:lnTo>
                  <a:lnTo>
                    <a:pt x="210" y="906"/>
                  </a:lnTo>
                  <a:lnTo>
                    <a:pt x="204" y="906"/>
                  </a:lnTo>
                  <a:lnTo>
                    <a:pt x="198" y="906"/>
                  </a:lnTo>
                  <a:lnTo>
                    <a:pt x="210" y="900"/>
                  </a:lnTo>
                  <a:lnTo>
                    <a:pt x="210" y="894"/>
                  </a:lnTo>
                  <a:lnTo>
                    <a:pt x="216" y="888"/>
                  </a:lnTo>
                  <a:lnTo>
                    <a:pt x="204" y="882"/>
                  </a:lnTo>
                  <a:lnTo>
                    <a:pt x="204" y="894"/>
                  </a:lnTo>
                  <a:lnTo>
                    <a:pt x="198" y="894"/>
                  </a:lnTo>
                  <a:lnTo>
                    <a:pt x="192" y="900"/>
                  </a:lnTo>
                  <a:lnTo>
                    <a:pt x="186" y="894"/>
                  </a:lnTo>
                  <a:lnTo>
                    <a:pt x="180" y="894"/>
                  </a:lnTo>
                  <a:lnTo>
                    <a:pt x="174" y="894"/>
                  </a:lnTo>
                  <a:lnTo>
                    <a:pt x="168" y="900"/>
                  </a:lnTo>
                  <a:lnTo>
                    <a:pt x="162" y="906"/>
                  </a:lnTo>
                  <a:lnTo>
                    <a:pt x="156" y="906"/>
                  </a:lnTo>
                  <a:lnTo>
                    <a:pt x="150" y="900"/>
                  </a:lnTo>
                  <a:lnTo>
                    <a:pt x="144" y="894"/>
                  </a:lnTo>
                  <a:lnTo>
                    <a:pt x="138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0" y="888"/>
                  </a:lnTo>
                  <a:lnTo>
                    <a:pt x="114" y="894"/>
                  </a:lnTo>
                  <a:lnTo>
                    <a:pt x="120" y="900"/>
                  </a:lnTo>
                  <a:lnTo>
                    <a:pt x="126" y="900"/>
                  </a:lnTo>
                  <a:lnTo>
                    <a:pt x="132" y="900"/>
                  </a:lnTo>
                  <a:lnTo>
                    <a:pt x="132" y="906"/>
                  </a:lnTo>
                  <a:lnTo>
                    <a:pt x="126" y="912"/>
                  </a:lnTo>
                  <a:lnTo>
                    <a:pt x="126" y="918"/>
                  </a:lnTo>
                  <a:lnTo>
                    <a:pt x="114" y="918"/>
                  </a:lnTo>
                  <a:lnTo>
                    <a:pt x="108" y="924"/>
                  </a:lnTo>
                  <a:lnTo>
                    <a:pt x="102" y="924"/>
                  </a:lnTo>
                  <a:lnTo>
                    <a:pt x="90" y="924"/>
                  </a:lnTo>
                  <a:lnTo>
                    <a:pt x="84" y="924"/>
                  </a:lnTo>
                  <a:lnTo>
                    <a:pt x="78" y="924"/>
                  </a:lnTo>
                  <a:lnTo>
                    <a:pt x="60" y="924"/>
                  </a:lnTo>
                  <a:lnTo>
                    <a:pt x="54" y="942"/>
                  </a:lnTo>
                  <a:lnTo>
                    <a:pt x="48" y="936"/>
                  </a:lnTo>
                  <a:lnTo>
                    <a:pt x="42" y="930"/>
                  </a:lnTo>
                  <a:lnTo>
                    <a:pt x="36" y="930"/>
                  </a:lnTo>
                  <a:lnTo>
                    <a:pt x="30" y="936"/>
                  </a:lnTo>
                  <a:lnTo>
                    <a:pt x="30" y="930"/>
                  </a:lnTo>
                  <a:lnTo>
                    <a:pt x="30" y="924"/>
                  </a:lnTo>
                  <a:lnTo>
                    <a:pt x="18" y="918"/>
                  </a:lnTo>
                  <a:lnTo>
                    <a:pt x="18" y="912"/>
                  </a:lnTo>
                  <a:lnTo>
                    <a:pt x="12" y="912"/>
                  </a:lnTo>
                  <a:lnTo>
                    <a:pt x="6" y="912"/>
                  </a:lnTo>
                  <a:lnTo>
                    <a:pt x="6" y="900"/>
                  </a:lnTo>
                  <a:lnTo>
                    <a:pt x="6" y="894"/>
                  </a:lnTo>
                  <a:lnTo>
                    <a:pt x="0" y="870"/>
                  </a:lnTo>
                  <a:lnTo>
                    <a:pt x="6" y="846"/>
                  </a:lnTo>
                  <a:lnTo>
                    <a:pt x="6" y="810"/>
                  </a:lnTo>
                  <a:lnTo>
                    <a:pt x="12" y="774"/>
                  </a:lnTo>
                  <a:lnTo>
                    <a:pt x="12" y="756"/>
                  </a:lnTo>
                  <a:lnTo>
                    <a:pt x="18" y="744"/>
                  </a:lnTo>
                  <a:lnTo>
                    <a:pt x="18" y="732"/>
                  </a:lnTo>
                  <a:lnTo>
                    <a:pt x="12" y="576"/>
                  </a:lnTo>
                  <a:lnTo>
                    <a:pt x="12" y="570"/>
                  </a:lnTo>
                  <a:lnTo>
                    <a:pt x="18" y="564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42" y="552"/>
                  </a:lnTo>
                  <a:lnTo>
                    <a:pt x="66" y="552"/>
                  </a:lnTo>
                  <a:lnTo>
                    <a:pt x="78" y="558"/>
                  </a:lnTo>
                  <a:lnTo>
                    <a:pt x="90" y="558"/>
                  </a:lnTo>
                  <a:lnTo>
                    <a:pt x="108" y="558"/>
                  </a:lnTo>
                  <a:lnTo>
                    <a:pt x="144" y="558"/>
                  </a:lnTo>
                  <a:lnTo>
                    <a:pt x="204" y="552"/>
                  </a:lnTo>
                  <a:lnTo>
                    <a:pt x="210" y="558"/>
                  </a:lnTo>
                  <a:lnTo>
                    <a:pt x="216" y="558"/>
                  </a:lnTo>
                  <a:lnTo>
                    <a:pt x="210" y="564"/>
                  </a:lnTo>
                  <a:lnTo>
                    <a:pt x="216" y="564"/>
                  </a:lnTo>
                  <a:lnTo>
                    <a:pt x="222" y="564"/>
                  </a:lnTo>
                  <a:lnTo>
                    <a:pt x="240" y="564"/>
                  </a:lnTo>
                  <a:lnTo>
                    <a:pt x="258" y="564"/>
                  </a:lnTo>
                  <a:lnTo>
                    <a:pt x="264" y="570"/>
                  </a:lnTo>
                  <a:lnTo>
                    <a:pt x="276" y="570"/>
                  </a:lnTo>
                  <a:lnTo>
                    <a:pt x="282" y="564"/>
                  </a:lnTo>
                  <a:lnTo>
                    <a:pt x="294" y="564"/>
                  </a:lnTo>
                  <a:lnTo>
                    <a:pt x="294" y="570"/>
                  </a:lnTo>
                  <a:lnTo>
                    <a:pt x="300" y="570"/>
                  </a:lnTo>
                  <a:lnTo>
                    <a:pt x="378" y="564"/>
                  </a:lnTo>
                  <a:lnTo>
                    <a:pt x="408" y="558"/>
                  </a:lnTo>
                  <a:lnTo>
                    <a:pt x="432" y="552"/>
                  </a:lnTo>
                  <a:lnTo>
                    <a:pt x="450" y="546"/>
                  </a:lnTo>
                  <a:lnTo>
                    <a:pt x="468" y="546"/>
                  </a:lnTo>
                  <a:lnTo>
                    <a:pt x="468" y="552"/>
                  </a:lnTo>
                  <a:lnTo>
                    <a:pt x="504" y="552"/>
                  </a:lnTo>
                  <a:lnTo>
                    <a:pt x="510" y="534"/>
                  </a:lnTo>
                  <a:lnTo>
                    <a:pt x="516" y="510"/>
                  </a:lnTo>
                  <a:lnTo>
                    <a:pt x="522" y="510"/>
                  </a:lnTo>
                  <a:lnTo>
                    <a:pt x="528" y="420"/>
                  </a:lnTo>
                  <a:lnTo>
                    <a:pt x="522" y="414"/>
                  </a:lnTo>
                  <a:lnTo>
                    <a:pt x="516" y="396"/>
                  </a:lnTo>
                  <a:lnTo>
                    <a:pt x="510" y="372"/>
                  </a:lnTo>
                  <a:lnTo>
                    <a:pt x="498" y="348"/>
                  </a:lnTo>
                  <a:lnTo>
                    <a:pt x="474" y="282"/>
                  </a:lnTo>
                  <a:lnTo>
                    <a:pt x="474" y="270"/>
                  </a:lnTo>
                  <a:lnTo>
                    <a:pt x="480" y="258"/>
                  </a:lnTo>
                  <a:lnTo>
                    <a:pt x="486" y="258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92" y="246"/>
                  </a:lnTo>
                  <a:lnTo>
                    <a:pt x="504" y="234"/>
                  </a:lnTo>
                  <a:lnTo>
                    <a:pt x="510" y="228"/>
                  </a:lnTo>
                  <a:lnTo>
                    <a:pt x="516" y="228"/>
                  </a:lnTo>
                  <a:lnTo>
                    <a:pt x="516" y="222"/>
                  </a:lnTo>
                  <a:lnTo>
                    <a:pt x="516" y="216"/>
                  </a:lnTo>
                  <a:lnTo>
                    <a:pt x="522" y="216"/>
                  </a:lnTo>
                  <a:lnTo>
                    <a:pt x="528" y="210"/>
                  </a:lnTo>
                  <a:lnTo>
                    <a:pt x="534" y="210"/>
                  </a:lnTo>
                  <a:lnTo>
                    <a:pt x="540" y="210"/>
                  </a:lnTo>
                  <a:lnTo>
                    <a:pt x="546" y="210"/>
                  </a:lnTo>
                  <a:lnTo>
                    <a:pt x="552" y="210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16"/>
                  </a:lnTo>
                  <a:lnTo>
                    <a:pt x="588" y="228"/>
                  </a:lnTo>
                  <a:lnTo>
                    <a:pt x="594" y="234"/>
                  </a:lnTo>
                  <a:lnTo>
                    <a:pt x="600" y="240"/>
                  </a:lnTo>
                  <a:lnTo>
                    <a:pt x="618" y="246"/>
                  </a:lnTo>
                  <a:lnTo>
                    <a:pt x="624" y="246"/>
                  </a:lnTo>
                  <a:lnTo>
                    <a:pt x="636" y="252"/>
                  </a:lnTo>
                  <a:lnTo>
                    <a:pt x="654" y="252"/>
                  </a:lnTo>
                  <a:lnTo>
                    <a:pt x="654" y="258"/>
                  </a:lnTo>
                  <a:lnTo>
                    <a:pt x="666" y="264"/>
                  </a:lnTo>
                  <a:lnTo>
                    <a:pt x="672" y="264"/>
                  </a:lnTo>
                  <a:lnTo>
                    <a:pt x="678" y="264"/>
                  </a:lnTo>
                  <a:lnTo>
                    <a:pt x="696" y="258"/>
                  </a:lnTo>
                  <a:lnTo>
                    <a:pt x="696" y="252"/>
                  </a:lnTo>
                  <a:lnTo>
                    <a:pt x="696" y="246"/>
                  </a:lnTo>
                  <a:lnTo>
                    <a:pt x="690" y="234"/>
                  </a:lnTo>
                  <a:lnTo>
                    <a:pt x="684" y="210"/>
                  </a:lnTo>
                  <a:lnTo>
                    <a:pt x="678" y="192"/>
                  </a:lnTo>
                  <a:lnTo>
                    <a:pt x="672" y="174"/>
                  </a:lnTo>
                  <a:lnTo>
                    <a:pt x="672" y="168"/>
                  </a:lnTo>
                  <a:lnTo>
                    <a:pt x="672" y="162"/>
                  </a:lnTo>
                  <a:lnTo>
                    <a:pt x="672" y="156"/>
                  </a:lnTo>
                  <a:lnTo>
                    <a:pt x="684" y="132"/>
                  </a:lnTo>
                  <a:lnTo>
                    <a:pt x="684" y="120"/>
                  </a:lnTo>
                  <a:lnTo>
                    <a:pt x="684" y="108"/>
                  </a:lnTo>
                  <a:lnTo>
                    <a:pt x="678" y="102"/>
                  </a:lnTo>
                  <a:lnTo>
                    <a:pt x="678" y="96"/>
                  </a:lnTo>
                  <a:lnTo>
                    <a:pt x="684" y="96"/>
                  </a:lnTo>
                  <a:lnTo>
                    <a:pt x="696" y="90"/>
                  </a:lnTo>
                  <a:lnTo>
                    <a:pt x="702" y="84"/>
                  </a:lnTo>
                  <a:lnTo>
                    <a:pt x="720" y="72"/>
                  </a:lnTo>
                  <a:lnTo>
                    <a:pt x="738" y="66"/>
                  </a:lnTo>
                  <a:lnTo>
                    <a:pt x="756" y="60"/>
                  </a:lnTo>
                  <a:lnTo>
                    <a:pt x="768" y="60"/>
                  </a:lnTo>
                  <a:lnTo>
                    <a:pt x="798" y="72"/>
                  </a:lnTo>
                  <a:lnTo>
                    <a:pt x="804" y="78"/>
                  </a:lnTo>
                  <a:lnTo>
                    <a:pt x="816" y="84"/>
                  </a:lnTo>
                  <a:lnTo>
                    <a:pt x="822" y="84"/>
                  </a:lnTo>
                  <a:lnTo>
                    <a:pt x="828" y="72"/>
                  </a:lnTo>
                  <a:lnTo>
                    <a:pt x="828" y="60"/>
                  </a:lnTo>
                  <a:lnTo>
                    <a:pt x="828" y="36"/>
                  </a:lnTo>
                  <a:lnTo>
                    <a:pt x="828" y="24"/>
                  </a:lnTo>
                  <a:lnTo>
                    <a:pt x="828" y="12"/>
                  </a:lnTo>
                  <a:lnTo>
                    <a:pt x="834" y="12"/>
                  </a:lnTo>
                  <a:lnTo>
                    <a:pt x="852" y="6"/>
                  </a:lnTo>
                  <a:lnTo>
                    <a:pt x="876" y="6"/>
                  </a:lnTo>
                  <a:lnTo>
                    <a:pt x="894" y="6"/>
                  </a:lnTo>
                  <a:lnTo>
                    <a:pt x="906" y="12"/>
                  </a:lnTo>
                  <a:lnTo>
                    <a:pt x="912" y="24"/>
                  </a:lnTo>
                  <a:lnTo>
                    <a:pt x="924" y="24"/>
                  </a:lnTo>
                  <a:lnTo>
                    <a:pt x="930" y="30"/>
                  </a:lnTo>
                  <a:lnTo>
                    <a:pt x="936" y="30"/>
                  </a:lnTo>
                  <a:lnTo>
                    <a:pt x="936" y="36"/>
                  </a:lnTo>
                  <a:lnTo>
                    <a:pt x="942" y="36"/>
                  </a:lnTo>
                  <a:lnTo>
                    <a:pt x="948" y="42"/>
                  </a:lnTo>
                  <a:lnTo>
                    <a:pt x="960" y="48"/>
                  </a:lnTo>
                  <a:lnTo>
                    <a:pt x="966" y="48"/>
                  </a:lnTo>
                  <a:lnTo>
                    <a:pt x="1026" y="60"/>
                  </a:lnTo>
                  <a:lnTo>
                    <a:pt x="1050" y="60"/>
                  </a:lnTo>
                  <a:lnTo>
                    <a:pt x="1050" y="54"/>
                  </a:lnTo>
                  <a:lnTo>
                    <a:pt x="1062" y="54"/>
                  </a:lnTo>
                  <a:lnTo>
                    <a:pt x="1074" y="48"/>
                  </a:lnTo>
                  <a:lnTo>
                    <a:pt x="1086" y="42"/>
                  </a:lnTo>
                  <a:lnTo>
                    <a:pt x="1104" y="36"/>
                  </a:lnTo>
                  <a:lnTo>
                    <a:pt x="1116" y="30"/>
                  </a:lnTo>
                  <a:lnTo>
                    <a:pt x="1122" y="24"/>
                  </a:lnTo>
                  <a:lnTo>
                    <a:pt x="1128" y="18"/>
                  </a:lnTo>
                  <a:lnTo>
                    <a:pt x="1134" y="18"/>
                  </a:lnTo>
                  <a:lnTo>
                    <a:pt x="1140" y="12"/>
                  </a:lnTo>
                  <a:lnTo>
                    <a:pt x="1146" y="6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24"/>
                  </a:lnTo>
                  <a:lnTo>
                    <a:pt x="1176" y="36"/>
                  </a:lnTo>
                  <a:lnTo>
                    <a:pt x="1188" y="42"/>
                  </a:lnTo>
                  <a:lnTo>
                    <a:pt x="1200" y="54"/>
                  </a:lnTo>
                  <a:lnTo>
                    <a:pt x="1224" y="84"/>
                  </a:lnTo>
                  <a:lnTo>
                    <a:pt x="1224" y="90"/>
                  </a:lnTo>
                  <a:lnTo>
                    <a:pt x="1236" y="96"/>
                  </a:lnTo>
                  <a:lnTo>
                    <a:pt x="1236" y="108"/>
                  </a:lnTo>
                  <a:lnTo>
                    <a:pt x="1248" y="114"/>
                  </a:lnTo>
                  <a:lnTo>
                    <a:pt x="1254" y="114"/>
                  </a:lnTo>
                  <a:lnTo>
                    <a:pt x="1260" y="114"/>
                  </a:lnTo>
                  <a:lnTo>
                    <a:pt x="1296" y="114"/>
                  </a:lnTo>
                  <a:lnTo>
                    <a:pt x="1302" y="114"/>
                  </a:lnTo>
                  <a:lnTo>
                    <a:pt x="1320" y="108"/>
                  </a:lnTo>
                  <a:lnTo>
                    <a:pt x="1326" y="108"/>
                  </a:lnTo>
                  <a:lnTo>
                    <a:pt x="1326" y="138"/>
                  </a:lnTo>
                  <a:lnTo>
                    <a:pt x="1326" y="210"/>
                  </a:lnTo>
                  <a:lnTo>
                    <a:pt x="1320" y="252"/>
                  </a:lnTo>
                  <a:lnTo>
                    <a:pt x="1320" y="270"/>
                  </a:lnTo>
                  <a:lnTo>
                    <a:pt x="1320" y="288"/>
                  </a:lnTo>
                  <a:lnTo>
                    <a:pt x="1320" y="318"/>
                  </a:lnTo>
                  <a:lnTo>
                    <a:pt x="1326" y="354"/>
                  </a:lnTo>
                  <a:lnTo>
                    <a:pt x="1326" y="372"/>
                  </a:lnTo>
                  <a:lnTo>
                    <a:pt x="1332" y="420"/>
                  </a:lnTo>
                  <a:lnTo>
                    <a:pt x="1332" y="450"/>
                  </a:lnTo>
                  <a:lnTo>
                    <a:pt x="1338" y="480"/>
                  </a:lnTo>
                  <a:lnTo>
                    <a:pt x="1344" y="486"/>
                  </a:lnTo>
                  <a:lnTo>
                    <a:pt x="1338" y="492"/>
                  </a:lnTo>
                  <a:lnTo>
                    <a:pt x="1344" y="492"/>
                  </a:lnTo>
                  <a:lnTo>
                    <a:pt x="1344" y="498"/>
                  </a:lnTo>
                  <a:lnTo>
                    <a:pt x="1350" y="498"/>
                  </a:lnTo>
                  <a:lnTo>
                    <a:pt x="1350" y="522"/>
                  </a:lnTo>
                  <a:lnTo>
                    <a:pt x="1362" y="564"/>
                  </a:lnTo>
                  <a:lnTo>
                    <a:pt x="1368" y="582"/>
                  </a:lnTo>
                  <a:lnTo>
                    <a:pt x="1380" y="600"/>
                  </a:lnTo>
                  <a:lnTo>
                    <a:pt x="1386" y="636"/>
                  </a:lnTo>
                  <a:lnTo>
                    <a:pt x="1380" y="660"/>
                  </a:lnTo>
                  <a:lnTo>
                    <a:pt x="1380" y="678"/>
                  </a:lnTo>
                  <a:lnTo>
                    <a:pt x="1380" y="684"/>
                  </a:lnTo>
                  <a:lnTo>
                    <a:pt x="1374" y="684"/>
                  </a:lnTo>
                  <a:lnTo>
                    <a:pt x="1368" y="690"/>
                  </a:lnTo>
                  <a:lnTo>
                    <a:pt x="1356" y="702"/>
                  </a:lnTo>
                  <a:lnTo>
                    <a:pt x="1350" y="708"/>
                  </a:lnTo>
                  <a:lnTo>
                    <a:pt x="1356" y="714"/>
                  </a:lnTo>
                  <a:lnTo>
                    <a:pt x="1368" y="726"/>
                  </a:lnTo>
                  <a:lnTo>
                    <a:pt x="1380" y="738"/>
                  </a:lnTo>
                  <a:lnTo>
                    <a:pt x="1386" y="744"/>
                  </a:lnTo>
                  <a:lnTo>
                    <a:pt x="1392" y="744"/>
                  </a:lnTo>
                  <a:lnTo>
                    <a:pt x="1410" y="750"/>
                  </a:lnTo>
                  <a:lnTo>
                    <a:pt x="1416" y="756"/>
                  </a:lnTo>
                  <a:lnTo>
                    <a:pt x="1422" y="756"/>
                  </a:lnTo>
                  <a:lnTo>
                    <a:pt x="1422" y="762"/>
                  </a:lnTo>
                  <a:lnTo>
                    <a:pt x="1428" y="774"/>
                  </a:lnTo>
                  <a:lnTo>
                    <a:pt x="1428" y="780"/>
                  </a:lnTo>
                  <a:lnTo>
                    <a:pt x="1434" y="780"/>
                  </a:lnTo>
                  <a:lnTo>
                    <a:pt x="1440" y="798"/>
                  </a:lnTo>
                  <a:lnTo>
                    <a:pt x="1422" y="816"/>
                  </a:lnTo>
                  <a:lnTo>
                    <a:pt x="1386" y="810"/>
                  </a:lnTo>
                  <a:lnTo>
                    <a:pt x="1380" y="816"/>
                  </a:lnTo>
                  <a:lnTo>
                    <a:pt x="1374" y="840"/>
                  </a:lnTo>
                  <a:lnTo>
                    <a:pt x="1350" y="852"/>
                  </a:lnTo>
                  <a:lnTo>
                    <a:pt x="1350" y="858"/>
                  </a:lnTo>
                  <a:lnTo>
                    <a:pt x="1350" y="864"/>
                  </a:lnTo>
                  <a:lnTo>
                    <a:pt x="1344" y="864"/>
                  </a:lnTo>
                  <a:lnTo>
                    <a:pt x="1338" y="870"/>
                  </a:lnTo>
                  <a:lnTo>
                    <a:pt x="1332" y="876"/>
                  </a:lnTo>
                  <a:lnTo>
                    <a:pt x="1314" y="876"/>
                  </a:lnTo>
                  <a:lnTo>
                    <a:pt x="1314" y="870"/>
                  </a:lnTo>
                  <a:lnTo>
                    <a:pt x="1308" y="870"/>
                  </a:lnTo>
                  <a:lnTo>
                    <a:pt x="1302" y="864"/>
                  </a:lnTo>
                  <a:lnTo>
                    <a:pt x="1296" y="864"/>
                  </a:lnTo>
                  <a:lnTo>
                    <a:pt x="1284" y="870"/>
                  </a:lnTo>
                  <a:lnTo>
                    <a:pt x="1266" y="870"/>
                  </a:lnTo>
                  <a:lnTo>
                    <a:pt x="1260" y="870"/>
                  </a:lnTo>
                  <a:lnTo>
                    <a:pt x="1248" y="876"/>
                  </a:lnTo>
                  <a:lnTo>
                    <a:pt x="1236" y="876"/>
                  </a:lnTo>
                  <a:lnTo>
                    <a:pt x="1230" y="882"/>
                  </a:lnTo>
                  <a:lnTo>
                    <a:pt x="1224" y="894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18" y="942"/>
                  </a:lnTo>
                  <a:lnTo>
                    <a:pt x="1212" y="948"/>
                  </a:lnTo>
                  <a:lnTo>
                    <a:pt x="1200" y="984"/>
                  </a:lnTo>
                  <a:lnTo>
                    <a:pt x="1194" y="1008"/>
                  </a:lnTo>
                  <a:lnTo>
                    <a:pt x="1218" y="1038"/>
                  </a:lnTo>
                  <a:lnTo>
                    <a:pt x="1224" y="1044"/>
                  </a:lnTo>
                  <a:lnTo>
                    <a:pt x="1224" y="1062"/>
                  </a:lnTo>
                  <a:lnTo>
                    <a:pt x="1236" y="1080"/>
                  </a:lnTo>
                  <a:lnTo>
                    <a:pt x="1236" y="1086"/>
                  </a:lnTo>
                  <a:lnTo>
                    <a:pt x="1230" y="1092"/>
                  </a:lnTo>
                  <a:lnTo>
                    <a:pt x="1224" y="1110"/>
                  </a:lnTo>
                  <a:lnTo>
                    <a:pt x="1218" y="1122"/>
                  </a:lnTo>
                  <a:lnTo>
                    <a:pt x="1224" y="1140"/>
                  </a:lnTo>
                  <a:lnTo>
                    <a:pt x="1218" y="1146"/>
                  </a:lnTo>
                  <a:lnTo>
                    <a:pt x="1218" y="1152"/>
                  </a:lnTo>
                  <a:lnTo>
                    <a:pt x="1212" y="116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1" name="Freeform 36">
              <a:extLst>
                <a:ext uri="{FF2B5EF4-FFF2-40B4-BE49-F238E27FC236}">
                  <a16:creationId xmlns:a16="http://schemas.microsoft.com/office/drawing/2014/main" id="{B9C0D6BE-CB1C-4E69-B224-1ABF097AA8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90208" y="1647855"/>
              <a:ext cx="742415" cy="758173"/>
            </a:xfrm>
            <a:custGeom>
              <a:avLst/>
              <a:gdLst>
                <a:gd name="T0" fmla="*/ 75 w 1398"/>
                <a:gd name="T1" fmla="*/ 48 h 1428"/>
                <a:gd name="T2" fmla="*/ 68 w 1398"/>
                <a:gd name="T3" fmla="*/ 54 h 1428"/>
                <a:gd name="T4" fmla="*/ 57 w 1398"/>
                <a:gd name="T5" fmla="*/ 59 h 1428"/>
                <a:gd name="T6" fmla="*/ 55 w 1398"/>
                <a:gd name="T7" fmla="*/ 68 h 1428"/>
                <a:gd name="T8" fmla="*/ 55 w 1398"/>
                <a:gd name="T9" fmla="*/ 77 h 1428"/>
                <a:gd name="T10" fmla="*/ 57 w 1398"/>
                <a:gd name="T11" fmla="*/ 81 h 1428"/>
                <a:gd name="T12" fmla="*/ 56 w 1398"/>
                <a:gd name="T13" fmla="*/ 86 h 1428"/>
                <a:gd name="T14" fmla="*/ 57 w 1398"/>
                <a:gd name="T15" fmla="*/ 89 h 1428"/>
                <a:gd name="T16" fmla="*/ 58 w 1398"/>
                <a:gd name="T17" fmla="*/ 92 h 1428"/>
                <a:gd name="T18" fmla="*/ 58 w 1398"/>
                <a:gd name="T19" fmla="*/ 96 h 1428"/>
                <a:gd name="T20" fmla="*/ 49 w 1398"/>
                <a:gd name="T21" fmla="*/ 100 h 1428"/>
                <a:gd name="T22" fmla="*/ 47 w 1398"/>
                <a:gd name="T23" fmla="*/ 108 h 1428"/>
                <a:gd name="T24" fmla="*/ 48 w 1398"/>
                <a:gd name="T25" fmla="*/ 113 h 1428"/>
                <a:gd name="T26" fmla="*/ 43 w 1398"/>
                <a:gd name="T27" fmla="*/ 114 h 1428"/>
                <a:gd name="T28" fmla="*/ 39 w 1398"/>
                <a:gd name="T29" fmla="*/ 113 h 1428"/>
                <a:gd name="T30" fmla="*/ 33 w 1398"/>
                <a:gd name="T31" fmla="*/ 109 h 1428"/>
                <a:gd name="T32" fmla="*/ 29 w 1398"/>
                <a:gd name="T33" fmla="*/ 114 h 1428"/>
                <a:gd name="T34" fmla="*/ 22 w 1398"/>
                <a:gd name="T35" fmla="*/ 115 h 1428"/>
                <a:gd name="T36" fmla="*/ 21 w 1398"/>
                <a:gd name="T37" fmla="*/ 121 h 1428"/>
                <a:gd name="T38" fmla="*/ 12 w 1398"/>
                <a:gd name="T39" fmla="*/ 119 h 1428"/>
                <a:gd name="T40" fmla="*/ 9 w 1398"/>
                <a:gd name="T41" fmla="*/ 113 h 1428"/>
                <a:gd name="T42" fmla="*/ 2 w 1398"/>
                <a:gd name="T43" fmla="*/ 109 h 1428"/>
                <a:gd name="T44" fmla="*/ 4 w 1398"/>
                <a:gd name="T45" fmla="*/ 103 h 1428"/>
                <a:gd name="T46" fmla="*/ 2 w 1398"/>
                <a:gd name="T47" fmla="*/ 91 h 1428"/>
                <a:gd name="T48" fmla="*/ 6 w 1398"/>
                <a:gd name="T49" fmla="*/ 85 h 1428"/>
                <a:gd name="T50" fmla="*/ 10 w 1398"/>
                <a:gd name="T51" fmla="*/ 85 h 1428"/>
                <a:gd name="T52" fmla="*/ 15 w 1398"/>
                <a:gd name="T53" fmla="*/ 82 h 1428"/>
                <a:gd name="T54" fmla="*/ 20 w 1398"/>
                <a:gd name="T55" fmla="*/ 77 h 1428"/>
                <a:gd name="T56" fmla="*/ 16 w 1398"/>
                <a:gd name="T57" fmla="*/ 73 h 1428"/>
                <a:gd name="T58" fmla="*/ 16 w 1398"/>
                <a:gd name="T59" fmla="*/ 69 h 1428"/>
                <a:gd name="T60" fmla="*/ 14 w 1398"/>
                <a:gd name="T61" fmla="*/ 54 h 1428"/>
                <a:gd name="T62" fmla="*/ 12 w 1398"/>
                <a:gd name="T63" fmla="*/ 48 h 1428"/>
                <a:gd name="T64" fmla="*/ 11 w 1398"/>
                <a:gd name="T65" fmla="*/ 31 h 1428"/>
                <a:gd name="T66" fmla="*/ 14 w 1398"/>
                <a:gd name="T67" fmla="*/ 18 h 1428"/>
                <a:gd name="T68" fmla="*/ 19 w 1398"/>
                <a:gd name="T69" fmla="*/ 15 h 1428"/>
                <a:gd name="T70" fmla="*/ 26 w 1398"/>
                <a:gd name="T71" fmla="*/ 13 h 1428"/>
                <a:gd name="T72" fmla="*/ 34 w 1398"/>
                <a:gd name="T73" fmla="*/ 12 h 1428"/>
                <a:gd name="T74" fmla="*/ 39 w 1398"/>
                <a:gd name="T75" fmla="*/ 9 h 1428"/>
                <a:gd name="T76" fmla="*/ 43 w 1398"/>
                <a:gd name="T77" fmla="*/ 7 h 1428"/>
                <a:gd name="T78" fmla="*/ 48 w 1398"/>
                <a:gd name="T79" fmla="*/ 3 h 1428"/>
                <a:gd name="T80" fmla="*/ 54 w 1398"/>
                <a:gd name="T81" fmla="*/ 0 h 1428"/>
                <a:gd name="T82" fmla="*/ 58 w 1398"/>
                <a:gd name="T83" fmla="*/ 0 h 1428"/>
                <a:gd name="T84" fmla="*/ 66 w 1398"/>
                <a:gd name="T85" fmla="*/ 2 h 1428"/>
                <a:gd name="T86" fmla="*/ 70 w 1398"/>
                <a:gd name="T87" fmla="*/ 3 h 1428"/>
                <a:gd name="T88" fmla="*/ 75 w 1398"/>
                <a:gd name="T89" fmla="*/ 6 h 1428"/>
                <a:gd name="T90" fmla="*/ 80 w 1398"/>
                <a:gd name="T91" fmla="*/ 9 h 1428"/>
                <a:gd name="T92" fmla="*/ 83 w 1398"/>
                <a:gd name="T93" fmla="*/ 12 h 1428"/>
                <a:gd name="T94" fmla="*/ 87 w 1398"/>
                <a:gd name="T95" fmla="*/ 15 h 1428"/>
                <a:gd name="T96" fmla="*/ 94 w 1398"/>
                <a:gd name="T97" fmla="*/ 15 h 1428"/>
                <a:gd name="T98" fmla="*/ 99 w 1398"/>
                <a:gd name="T99" fmla="*/ 21 h 1428"/>
                <a:gd name="T100" fmla="*/ 103 w 1398"/>
                <a:gd name="T101" fmla="*/ 23 h 1428"/>
                <a:gd name="T102" fmla="*/ 110 w 1398"/>
                <a:gd name="T103" fmla="*/ 26 h 1428"/>
                <a:gd name="T104" fmla="*/ 116 w 1398"/>
                <a:gd name="T105" fmla="*/ 27 h 1428"/>
                <a:gd name="T106" fmla="*/ 120 w 1398"/>
                <a:gd name="T107" fmla="*/ 27 h 1428"/>
                <a:gd name="T108" fmla="*/ 116 w 1398"/>
                <a:gd name="T109" fmla="*/ 35 h 1428"/>
                <a:gd name="T110" fmla="*/ 104 w 1398"/>
                <a:gd name="T111" fmla="*/ 37 h 1428"/>
                <a:gd name="T112" fmla="*/ 97 w 1398"/>
                <a:gd name="T113" fmla="*/ 34 h 1428"/>
                <a:gd name="T114" fmla="*/ 91 w 1398"/>
                <a:gd name="T115" fmla="*/ 29 h 1428"/>
                <a:gd name="T116" fmla="*/ 75 w 1398"/>
                <a:gd name="T117" fmla="*/ 29 h 1428"/>
                <a:gd name="T118" fmla="*/ 72 w 1398"/>
                <a:gd name="T119" fmla="*/ 39 h 1428"/>
                <a:gd name="T120" fmla="*/ 80 w 1398"/>
                <a:gd name="T121" fmla="*/ 41 h 142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98"/>
                <a:gd name="T184" fmla="*/ 0 h 1428"/>
                <a:gd name="T185" fmla="*/ 1398 w 1398"/>
                <a:gd name="T186" fmla="*/ 1428 h 142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98" h="1428">
                  <a:moveTo>
                    <a:pt x="924" y="474"/>
                  </a:moveTo>
                  <a:lnTo>
                    <a:pt x="900" y="480"/>
                  </a:lnTo>
                  <a:lnTo>
                    <a:pt x="864" y="486"/>
                  </a:lnTo>
                  <a:lnTo>
                    <a:pt x="864" y="504"/>
                  </a:lnTo>
                  <a:lnTo>
                    <a:pt x="858" y="522"/>
                  </a:lnTo>
                  <a:lnTo>
                    <a:pt x="864" y="528"/>
                  </a:lnTo>
                  <a:lnTo>
                    <a:pt x="864" y="552"/>
                  </a:lnTo>
                  <a:lnTo>
                    <a:pt x="852" y="552"/>
                  </a:lnTo>
                  <a:lnTo>
                    <a:pt x="846" y="564"/>
                  </a:lnTo>
                  <a:lnTo>
                    <a:pt x="840" y="582"/>
                  </a:lnTo>
                  <a:lnTo>
                    <a:pt x="834" y="594"/>
                  </a:lnTo>
                  <a:lnTo>
                    <a:pt x="828" y="606"/>
                  </a:lnTo>
                  <a:lnTo>
                    <a:pt x="828" y="618"/>
                  </a:lnTo>
                  <a:lnTo>
                    <a:pt x="786" y="630"/>
                  </a:lnTo>
                  <a:lnTo>
                    <a:pt x="774" y="636"/>
                  </a:lnTo>
                  <a:lnTo>
                    <a:pt x="762" y="642"/>
                  </a:lnTo>
                  <a:lnTo>
                    <a:pt x="744" y="648"/>
                  </a:lnTo>
                  <a:lnTo>
                    <a:pt x="714" y="660"/>
                  </a:lnTo>
                  <a:lnTo>
                    <a:pt x="696" y="666"/>
                  </a:lnTo>
                  <a:lnTo>
                    <a:pt x="666" y="672"/>
                  </a:lnTo>
                  <a:lnTo>
                    <a:pt x="654" y="684"/>
                  </a:lnTo>
                  <a:lnTo>
                    <a:pt x="648" y="684"/>
                  </a:lnTo>
                  <a:lnTo>
                    <a:pt x="642" y="696"/>
                  </a:lnTo>
                  <a:lnTo>
                    <a:pt x="636" y="696"/>
                  </a:lnTo>
                  <a:lnTo>
                    <a:pt x="630" y="714"/>
                  </a:lnTo>
                  <a:lnTo>
                    <a:pt x="624" y="738"/>
                  </a:lnTo>
                  <a:lnTo>
                    <a:pt x="624" y="762"/>
                  </a:lnTo>
                  <a:lnTo>
                    <a:pt x="630" y="780"/>
                  </a:lnTo>
                  <a:lnTo>
                    <a:pt x="636" y="804"/>
                  </a:lnTo>
                  <a:lnTo>
                    <a:pt x="642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6" y="834"/>
                  </a:lnTo>
                  <a:lnTo>
                    <a:pt x="636" y="870"/>
                  </a:lnTo>
                  <a:lnTo>
                    <a:pt x="636" y="882"/>
                  </a:lnTo>
                  <a:lnTo>
                    <a:pt x="636" y="906"/>
                  </a:lnTo>
                  <a:lnTo>
                    <a:pt x="630" y="906"/>
                  </a:lnTo>
                  <a:lnTo>
                    <a:pt x="636" y="918"/>
                  </a:lnTo>
                  <a:lnTo>
                    <a:pt x="642" y="918"/>
                  </a:lnTo>
                  <a:lnTo>
                    <a:pt x="642" y="930"/>
                  </a:lnTo>
                  <a:lnTo>
                    <a:pt x="648" y="936"/>
                  </a:lnTo>
                  <a:lnTo>
                    <a:pt x="654" y="936"/>
                  </a:lnTo>
                  <a:lnTo>
                    <a:pt x="654" y="942"/>
                  </a:lnTo>
                  <a:lnTo>
                    <a:pt x="654" y="948"/>
                  </a:lnTo>
                  <a:lnTo>
                    <a:pt x="648" y="954"/>
                  </a:lnTo>
                  <a:lnTo>
                    <a:pt x="648" y="960"/>
                  </a:lnTo>
                  <a:lnTo>
                    <a:pt x="648" y="966"/>
                  </a:lnTo>
                  <a:lnTo>
                    <a:pt x="648" y="972"/>
                  </a:lnTo>
                  <a:lnTo>
                    <a:pt x="648" y="990"/>
                  </a:lnTo>
                  <a:lnTo>
                    <a:pt x="654" y="996"/>
                  </a:lnTo>
                  <a:lnTo>
                    <a:pt x="648" y="1002"/>
                  </a:lnTo>
                  <a:lnTo>
                    <a:pt x="648" y="1008"/>
                  </a:lnTo>
                  <a:lnTo>
                    <a:pt x="654" y="1014"/>
                  </a:lnTo>
                  <a:lnTo>
                    <a:pt x="654" y="1020"/>
                  </a:lnTo>
                  <a:lnTo>
                    <a:pt x="654" y="1026"/>
                  </a:lnTo>
                  <a:lnTo>
                    <a:pt x="660" y="1026"/>
                  </a:lnTo>
                  <a:lnTo>
                    <a:pt x="660" y="1032"/>
                  </a:lnTo>
                  <a:lnTo>
                    <a:pt x="660" y="1038"/>
                  </a:lnTo>
                  <a:lnTo>
                    <a:pt x="666" y="1044"/>
                  </a:lnTo>
                  <a:lnTo>
                    <a:pt x="672" y="1050"/>
                  </a:lnTo>
                  <a:lnTo>
                    <a:pt x="672" y="1056"/>
                  </a:lnTo>
                  <a:lnTo>
                    <a:pt x="672" y="1062"/>
                  </a:lnTo>
                  <a:lnTo>
                    <a:pt x="672" y="1068"/>
                  </a:lnTo>
                  <a:lnTo>
                    <a:pt x="672" y="1074"/>
                  </a:lnTo>
                  <a:lnTo>
                    <a:pt x="678" y="1074"/>
                  </a:lnTo>
                  <a:lnTo>
                    <a:pt x="678" y="1080"/>
                  </a:lnTo>
                  <a:lnTo>
                    <a:pt x="678" y="1086"/>
                  </a:lnTo>
                  <a:lnTo>
                    <a:pt x="672" y="1092"/>
                  </a:lnTo>
                  <a:lnTo>
                    <a:pt x="672" y="1098"/>
                  </a:lnTo>
                  <a:lnTo>
                    <a:pt x="672" y="1104"/>
                  </a:lnTo>
                  <a:lnTo>
                    <a:pt x="666" y="1116"/>
                  </a:lnTo>
                  <a:lnTo>
                    <a:pt x="624" y="1122"/>
                  </a:lnTo>
                  <a:lnTo>
                    <a:pt x="576" y="1134"/>
                  </a:lnTo>
                  <a:lnTo>
                    <a:pt x="570" y="1140"/>
                  </a:lnTo>
                  <a:lnTo>
                    <a:pt x="570" y="1146"/>
                  </a:lnTo>
                  <a:lnTo>
                    <a:pt x="564" y="1146"/>
                  </a:lnTo>
                  <a:lnTo>
                    <a:pt x="564" y="1152"/>
                  </a:lnTo>
                  <a:lnTo>
                    <a:pt x="564" y="1164"/>
                  </a:lnTo>
                  <a:lnTo>
                    <a:pt x="564" y="1170"/>
                  </a:lnTo>
                  <a:lnTo>
                    <a:pt x="564" y="1176"/>
                  </a:lnTo>
                  <a:lnTo>
                    <a:pt x="546" y="1176"/>
                  </a:lnTo>
                  <a:lnTo>
                    <a:pt x="540" y="1212"/>
                  </a:lnTo>
                  <a:lnTo>
                    <a:pt x="540" y="1230"/>
                  </a:lnTo>
                  <a:lnTo>
                    <a:pt x="546" y="1242"/>
                  </a:lnTo>
                  <a:lnTo>
                    <a:pt x="546" y="1254"/>
                  </a:lnTo>
                  <a:lnTo>
                    <a:pt x="558" y="1266"/>
                  </a:lnTo>
                  <a:lnTo>
                    <a:pt x="576" y="1272"/>
                  </a:lnTo>
                  <a:lnTo>
                    <a:pt x="570" y="1278"/>
                  </a:lnTo>
                  <a:lnTo>
                    <a:pt x="576" y="1284"/>
                  </a:lnTo>
                  <a:lnTo>
                    <a:pt x="570" y="1296"/>
                  </a:lnTo>
                  <a:lnTo>
                    <a:pt x="558" y="1302"/>
                  </a:lnTo>
                  <a:lnTo>
                    <a:pt x="540" y="1308"/>
                  </a:lnTo>
                  <a:lnTo>
                    <a:pt x="522" y="1314"/>
                  </a:lnTo>
                  <a:lnTo>
                    <a:pt x="516" y="1314"/>
                  </a:lnTo>
                  <a:lnTo>
                    <a:pt x="510" y="1314"/>
                  </a:lnTo>
                  <a:lnTo>
                    <a:pt x="504" y="1314"/>
                  </a:lnTo>
                  <a:lnTo>
                    <a:pt x="498" y="1320"/>
                  </a:lnTo>
                  <a:lnTo>
                    <a:pt x="492" y="1320"/>
                  </a:lnTo>
                  <a:lnTo>
                    <a:pt x="492" y="1326"/>
                  </a:lnTo>
                  <a:lnTo>
                    <a:pt x="486" y="1326"/>
                  </a:lnTo>
                  <a:lnTo>
                    <a:pt x="480" y="1326"/>
                  </a:lnTo>
                  <a:lnTo>
                    <a:pt x="480" y="1320"/>
                  </a:lnTo>
                  <a:lnTo>
                    <a:pt x="468" y="1314"/>
                  </a:lnTo>
                  <a:lnTo>
                    <a:pt x="462" y="1308"/>
                  </a:lnTo>
                  <a:lnTo>
                    <a:pt x="456" y="1302"/>
                  </a:lnTo>
                  <a:lnTo>
                    <a:pt x="444" y="1296"/>
                  </a:lnTo>
                  <a:lnTo>
                    <a:pt x="420" y="1290"/>
                  </a:lnTo>
                  <a:lnTo>
                    <a:pt x="414" y="1278"/>
                  </a:lnTo>
                  <a:lnTo>
                    <a:pt x="408" y="1278"/>
                  </a:lnTo>
                  <a:lnTo>
                    <a:pt x="408" y="1266"/>
                  </a:lnTo>
                  <a:lnTo>
                    <a:pt x="402" y="1260"/>
                  </a:lnTo>
                  <a:lnTo>
                    <a:pt x="384" y="1260"/>
                  </a:lnTo>
                  <a:lnTo>
                    <a:pt x="372" y="1266"/>
                  </a:lnTo>
                  <a:lnTo>
                    <a:pt x="360" y="1272"/>
                  </a:lnTo>
                  <a:lnTo>
                    <a:pt x="348" y="1272"/>
                  </a:lnTo>
                  <a:lnTo>
                    <a:pt x="342" y="1284"/>
                  </a:lnTo>
                  <a:lnTo>
                    <a:pt x="336" y="1290"/>
                  </a:lnTo>
                  <a:lnTo>
                    <a:pt x="336" y="1308"/>
                  </a:lnTo>
                  <a:lnTo>
                    <a:pt x="336" y="1314"/>
                  </a:lnTo>
                  <a:lnTo>
                    <a:pt x="336" y="1320"/>
                  </a:lnTo>
                  <a:lnTo>
                    <a:pt x="330" y="1326"/>
                  </a:lnTo>
                  <a:lnTo>
                    <a:pt x="330" y="1332"/>
                  </a:lnTo>
                  <a:lnTo>
                    <a:pt x="330" y="1338"/>
                  </a:lnTo>
                  <a:lnTo>
                    <a:pt x="300" y="1338"/>
                  </a:lnTo>
                  <a:lnTo>
                    <a:pt x="288" y="1338"/>
                  </a:lnTo>
                  <a:lnTo>
                    <a:pt x="258" y="1326"/>
                  </a:lnTo>
                  <a:lnTo>
                    <a:pt x="246" y="1332"/>
                  </a:lnTo>
                  <a:lnTo>
                    <a:pt x="240" y="1338"/>
                  </a:lnTo>
                  <a:lnTo>
                    <a:pt x="234" y="1338"/>
                  </a:lnTo>
                  <a:lnTo>
                    <a:pt x="228" y="1350"/>
                  </a:lnTo>
                  <a:lnTo>
                    <a:pt x="228" y="1374"/>
                  </a:lnTo>
                  <a:lnTo>
                    <a:pt x="234" y="1392"/>
                  </a:lnTo>
                  <a:lnTo>
                    <a:pt x="246" y="1398"/>
                  </a:lnTo>
                  <a:lnTo>
                    <a:pt x="246" y="1410"/>
                  </a:lnTo>
                  <a:lnTo>
                    <a:pt x="216" y="1428"/>
                  </a:lnTo>
                  <a:lnTo>
                    <a:pt x="198" y="1428"/>
                  </a:lnTo>
                  <a:lnTo>
                    <a:pt x="192" y="1422"/>
                  </a:lnTo>
                  <a:lnTo>
                    <a:pt x="174" y="1410"/>
                  </a:lnTo>
                  <a:lnTo>
                    <a:pt x="156" y="1386"/>
                  </a:lnTo>
                  <a:lnTo>
                    <a:pt x="132" y="1374"/>
                  </a:lnTo>
                  <a:lnTo>
                    <a:pt x="108" y="1368"/>
                  </a:lnTo>
                  <a:lnTo>
                    <a:pt x="84" y="1368"/>
                  </a:lnTo>
                  <a:lnTo>
                    <a:pt x="96" y="1356"/>
                  </a:lnTo>
                  <a:lnTo>
                    <a:pt x="102" y="1344"/>
                  </a:lnTo>
                  <a:lnTo>
                    <a:pt x="102" y="1332"/>
                  </a:lnTo>
                  <a:lnTo>
                    <a:pt x="108" y="1320"/>
                  </a:lnTo>
                  <a:lnTo>
                    <a:pt x="108" y="1302"/>
                  </a:lnTo>
                  <a:lnTo>
                    <a:pt x="96" y="1278"/>
                  </a:lnTo>
                  <a:lnTo>
                    <a:pt x="66" y="1284"/>
                  </a:lnTo>
                  <a:lnTo>
                    <a:pt x="54" y="1278"/>
                  </a:lnTo>
                  <a:lnTo>
                    <a:pt x="36" y="1278"/>
                  </a:lnTo>
                  <a:lnTo>
                    <a:pt x="18" y="1284"/>
                  </a:lnTo>
                  <a:lnTo>
                    <a:pt x="18" y="1272"/>
                  </a:lnTo>
                  <a:lnTo>
                    <a:pt x="24" y="1260"/>
                  </a:lnTo>
                  <a:lnTo>
                    <a:pt x="24" y="1254"/>
                  </a:lnTo>
                  <a:lnTo>
                    <a:pt x="30" y="1248"/>
                  </a:lnTo>
                  <a:lnTo>
                    <a:pt x="24" y="1230"/>
                  </a:lnTo>
                  <a:lnTo>
                    <a:pt x="30" y="1218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30" y="1170"/>
                  </a:lnTo>
                  <a:lnTo>
                    <a:pt x="30" y="1152"/>
                  </a:lnTo>
                  <a:lnTo>
                    <a:pt x="24" y="1146"/>
                  </a:lnTo>
                  <a:lnTo>
                    <a:pt x="0" y="1116"/>
                  </a:lnTo>
                  <a:lnTo>
                    <a:pt x="6" y="1092"/>
                  </a:lnTo>
                  <a:lnTo>
                    <a:pt x="18" y="1056"/>
                  </a:lnTo>
                  <a:lnTo>
                    <a:pt x="24" y="1050"/>
                  </a:lnTo>
                  <a:lnTo>
                    <a:pt x="24" y="1038"/>
                  </a:lnTo>
                  <a:lnTo>
                    <a:pt x="24" y="1026"/>
                  </a:lnTo>
                  <a:lnTo>
                    <a:pt x="30" y="1002"/>
                  </a:lnTo>
                  <a:lnTo>
                    <a:pt x="36" y="990"/>
                  </a:lnTo>
                  <a:lnTo>
                    <a:pt x="42" y="984"/>
                  </a:lnTo>
                  <a:lnTo>
                    <a:pt x="54" y="984"/>
                  </a:lnTo>
                  <a:lnTo>
                    <a:pt x="66" y="978"/>
                  </a:lnTo>
                  <a:lnTo>
                    <a:pt x="72" y="978"/>
                  </a:lnTo>
                  <a:lnTo>
                    <a:pt x="90" y="978"/>
                  </a:lnTo>
                  <a:lnTo>
                    <a:pt x="102" y="972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78"/>
                  </a:lnTo>
                  <a:lnTo>
                    <a:pt x="120" y="984"/>
                  </a:lnTo>
                  <a:lnTo>
                    <a:pt x="138" y="984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6" y="972"/>
                  </a:lnTo>
                  <a:lnTo>
                    <a:pt x="156" y="966"/>
                  </a:lnTo>
                  <a:lnTo>
                    <a:pt x="156" y="960"/>
                  </a:lnTo>
                  <a:lnTo>
                    <a:pt x="180" y="948"/>
                  </a:lnTo>
                  <a:lnTo>
                    <a:pt x="186" y="924"/>
                  </a:lnTo>
                  <a:lnTo>
                    <a:pt x="192" y="918"/>
                  </a:lnTo>
                  <a:lnTo>
                    <a:pt x="228" y="924"/>
                  </a:lnTo>
                  <a:lnTo>
                    <a:pt x="246" y="906"/>
                  </a:lnTo>
                  <a:lnTo>
                    <a:pt x="240" y="888"/>
                  </a:lnTo>
                  <a:lnTo>
                    <a:pt x="234" y="888"/>
                  </a:lnTo>
                  <a:lnTo>
                    <a:pt x="234" y="882"/>
                  </a:lnTo>
                  <a:lnTo>
                    <a:pt x="228" y="870"/>
                  </a:lnTo>
                  <a:lnTo>
                    <a:pt x="228" y="864"/>
                  </a:lnTo>
                  <a:lnTo>
                    <a:pt x="222" y="864"/>
                  </a:lnTo>
                  <a:lnTo>
                    <a:pt x="216" y="858"/>
                  </a:lnTo>
                  <a:lnTo>
                    <a:pt x="198" y="852"/>
                  </a:lnTo>
                  <a:lnTo>
                    <a:pt x="192" y="852"/>
                  </a:lnTo>
                  <a:lnTo>
                    <a:pt x="186" y="846"/>
                  </a:lnTo>
                  <a:lnTo>
                    <a:pt x="174" y="834"/>
                  </a:lnTo>
                  <a:lnTo>
                    <a:pt x="162" y="822"/>
                  </a:lnTo>
                  <a:lnTo>
                    <a:pt x="156" y="816"/>
                  </a:lnTo>
                  <a:lnTo>
                    <a:pt x="162" y="810"/>
                  </a:lnTo>
                  <a:lnTo>
                    <a:pt x="174" y="798"/>
                  </a:lnTo>
                  <a:lnTo>
                    <a:pt x="180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68"/>
                  </a:lnTo>
                  <a:lnTo>
                    <a:pt x="192" y="744"/>
                  </a:lnTo>
                  <a:lnTo>
                    <a:pt x="186" y="708"/>
                  </a:lnTo>
                  <a:lnTo>
                    <a:pt x="174" y="690"/>
                  </a:lnTo>
                  <a:lnTo>
                    <a:pt x="168" y="672"/>
                  </a:lnTo>
                  <a:lnTo>
                    <a:pt x="156" y="630"/>
                  </a:lnTo>
                  <a:lnTo>
                    <a:pt x="156" y="606"/>
                  </a:lnTo>
                  <a:lnTo>
                    <a:pt x="150" y="606"/>
                  </a:lnTo>
                  <a:lnTo>
                    <a:pt x="150" y="600"/>
                  </a:lnTo>
                  <a:lnTo>
                    <a:pt x="144" y="600"/>
                  </a:lnTo>
                  <a:lnTo>
                    <a:pt x="150" y="594"/>
                  </a:lnTo>
                  <a:lnTo>
                    <a:pt x="144" y="588"/>
                  </a:lnTo>
                  <a:lnTo>
                    <a:pt x="138" y="558"/>
                  </a:lnTo>
                  <a:lnTo>
                    <a:pt x="138" y="528"/>
                  </a:lnTo>
                  <a:lnTo>
                    <a:pt x="132" y="480"/>
                  </a:lnTo>
                  <a:lnTo>
                    <a:pt x="132" y="462"/>
                  </a:lnTo>
                  <a:lnTo>
                    <a:pt x="126" y="426"/>
                  </a:lnTo>
                  <a:lnTo>
                    <a:pt x="126" y="396"/>
                  </a:lnTo>
                  <a:lnTo>
                    <a:pt x="126" y="378"/>
                  </a:lnTo>
                  <a:lnTo>
                    <a:pt x="126" y="360"/>
                  </a:lnTo>
                  <a:lnTo>
                    <a:pt x="132" y="318"/>
                  </a:lnTo>
                  <a:lnTo>
                    <a:pt x="132" y="24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2" y="210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92" y="198"/>
                  </a:lnTo>
                  <a:lnTo>
                    <a:pt x="198" y="198"/>
                  </a:lnTo>
                  <a:lnTo>
                    <a:pt x="216" y="180"/>
                  </a:lnTo>
                  <a:lnTo>
                    <a:pt x="222" y="174"/>
                  </a:lnTo>
                  <a:lnTo>
                    <a:pt x="222" y="168"/>
                  </a:lnTo>
                  <a:lnTo>
                    <a:pt x="228" y="168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44"/>
                  </a:lnTo>
                  <a:lnTo>
                    <a:pt x="258" y="144"/>
                  </a:lnTo>
                  <a:lnTo>
                    <a:pt x="276" y="150"/>
                  </a:lnTo>
                  <a:lnTo>
                    <a:pt x="300" y="150"/>
                  </a:lnTo>
                  <a:lnTo>
                    <a:pt x="312" y="150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8" y="156"/>
                  </a:lnTo>
                  <a:lnTo>
                    <a:pt x="354" y="150"/>
                  </a:lnTo>
                  <a:lnTo>
                    <a:pt x="372" y="144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08" y="126"/>
                  </a:lnTo>
                  <a:lnTo>
                    <a:pt x="414" y="120"/>
                  </a:lnTo>
                  <a:lnTo>
                    <a:pt x="420" y="120"/>
                  </a:lnTo>
                  <a:lnTo>
                    <a:pt x="426" y="120"/>
                  </a:lnTo>
                  <a:lnTo>
                    <a:pt x="432" y="114"/>
                  </a:lnTo>
                  <a:lnTo>
                    <a:pt x="450" y="102"/>
                  </a:lnTo>
                  <a:lnTo>
                    <a:pt x="456" y="96"/>
                  </a:lnTo>
                  <a:lnTo>
                    <a:pt x="468" y="90"/>
                  </a:lnTo>
                  <a:lnTo>
                    <a:pt x="474" y="90"/>
                  </a:lnTo>
                  <a:lnTo>
                    <a:pt x="480" y="84"/>
                  </a:lnTo>
                  <a:lnTo>
                    <a:pt x="486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504" y="72"/>
                  </a:lnTo>
                  <a:lnTo>
                    <a:pt x="510" y="66"/>
                  </a:lnTo>
                  <a:lnTo>
                    <a:pt x="516" y="66"/>
                  </a:lnTo>
                  <a:lnTo>
                    <a:pt x="522" y="60"/>
                  </a:lnTo>
                  <a:lnTo>
                    <a:pt x="552" y="42"/>
                  </a:lnTo>
                  <a:lnTo>
                    <a:pt x="558" y="36"/>
                  </a:lnTo>
                  <a:lnTo>
                    <a:pt x="576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94" y="18"/>
                  </a:lnTo>
                  <a:lnTo>
                    <a:pt x="600" y="12"/>
                  </a:lnTo>
                  <a:lnTo>
                    <a:pt x="612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6"/>
                  </a:lnTo>
                  <a:lnTo>
                    <a:pt x="648" y="6"/>
                  </a:lnTo>
                  <a:lnTo>
                    <a:pt x="660" y="6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38" y="18"/>
                  </a:lnTo>
                  <a:lnTo>
                    <a:pt x="744" y="18"/>
                  </a:lnTo>
                  <a:lnTo>
                    <a:pt x="756" y="18"/>
                  </a:lnTo>
                  <a:lnTo>
                    <a:pt x="762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80" y="24"/>
                  </a:lnTo>
                  <a:lnTo>
                    <a:pt x="792" y="24"/>
                  </a:lnTo>
                  <a:lnTo>
                    <a:pt x="792" y="30"/>
                  </a:lnTo>
                  <a:lnTo>
                    <a:pt x="810" y="30"/>
                  </a:lnTo>
                  <a:lnTo>
                    <a:pt x="822" y="36"/>
                  </a:lnTo>
                  <a:lnTo>
                    <a:pt x="834" y="42"/>
                  </a:lnTo>
                  <a:lnTo>
                    <a:pt x="840" y="48"/>
                  </a:lnTo>
                  <a:lnTo>
                    <a:pt x="846" y="54"/>
                  </a:lnTo>
                  <a:lnTo>
                    <a:pt x="852" y="60"/>
                  </a:lnTo>
                  <a:lnTo>
                    <a:pt x="858" y="66"/>
                  </a:lnTo>
                  <a:lnTo>
                    <a:pt x="864" y="66"/>
                  </a:lnTo>
                  <a:lnTo>
                    <a:pt x="864" y="72"/>
                  </a:lnTo>
                  <a:lnTo>
                    <a:pt x="876" y="78"/>
                  </a:lnTo>
                  <a:lnTo>
                    <a:pt x="900" y="84"/>
                  </a:lnTo>
                  <a:lnTo>
                    <a:pt x="906" y="90"/>
                  </a:lnTo>
                  <a:lnTo>
                    <a:pt x="912" y="90"/>
                  </a:lnTo>
                  <a:lnTo>
                    <a:pt x="912" y="96"/>
                  </a:lnTo>
                  <a:lnTo>
                    <a:pt x="924" y="108"/>
                  </a:lnTo>
                  <a:lnTo>
                    <a:pt x="930" y="108"/>
                  </a:lnTo>
                  <a:lnTo>
                    <a:pt x="936" y="114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60" y="138"/>
                  </a:lnTo>
                  <a:lnTo>
                    <a:pt x="966" y="144"/>
                  </a:lnTo>
                  <a:lnTo>
                    <a:pt x="972" y="156"/>
                  </a:lnTo>
                  <a:lnTo>
                    <a:pt x="978" y="162"/>
                  </a:lnTo>
                  <a:lnTo>
                    <a:pt x="984" y="162"/>
                  </a:lnTo>
                  <a:lnTo>
                    <a:pt x="990" y="168"/>
                  </a:lnTo>
                  <a:lnTo>
                    <a:pt x="996" y="174"/>
                  </a:lnTo>
                  <a:lnTo>
                    <a:pt x="1002" y="180"/>
                  </a:lnTo>
                  <a:lnTo>
                    <a:pt x="1008" y="180"/>
                  </a:lnTo>
                  <a:lnTo>
                    <a:pt x="1020" y="180"/>
                  </a:lnTo>
                  <a:lnTo>
                    <a:pt x="1038" y="174"/>
                  </a:lnTo>
                  <a:lnTo>
                    <a:pt x="1050" y="174"/>
                  </a:lnTo>
                  <a:lnTo>
                    <a:pt x="1056" y="174"/>
                  </a:lnTo>
                  <a:lnTo>
                    <a:pt x="1068" y="180"/>
                  </a:lnTo>
                  <a:lnTo>
                    <a:pt x="1080" y="180"/>
                  </a:lnTo>
                  <a:lnTo>
                    <a:pt x="1086" y="186"/>
                  </a:lnTo>
                  <a:lnTo>
                    <a:pt x="1098" y="192"/>
                  </a:lnTo>
                  <a:lnTo>
                    <a:pt x="1116" y="204"/>
                  </a:lnTo>
                  <a:lnTo>
                    <a:pt x="1122" y="210"/>
                  </a:lnTo>
                  <a:lnTo>
                    <a:pt x="1134" y="222"/>
                  </a:lnTo>
                  <a:lnTo>
                    <a:pt x="1146" y="234"/>
                  </a:lnTo>
                  <a:lnTo>
                    <a:pt x="1146" y="240"/>
                  </a:lnTo>
                  <a:lnTo>
                    <a:pt x="1152" y="246"/>
                  </a:lnTo>
                  <a:lnTo>
                    <a:pt x="1152" y="252"/>
                  </a:lnTo>
                  <a:lnTo>
                    <a:pt x="1152" y="258"/>
                  </a:lnTo>
                  <a:lnTo>
                    <a:pt x="1164" y="258"/>
                  </a:lnTo>
                  <a:lnTo>
                    <a:pt x="1170" y="264"/>
                  </a:lnTo>
                  <a:lnTo>
                    <a:pt x="1182" y="270"/>
                  </a:lnTo>
                  <a:lnTo>
                    <a:pt x="1188" y="270"/>
                  </a:lnTo>
                  <a:lnTo>
                    <a:pt x="1194" y="270"/>
                  </a:lnTo>
                  <a:lnTo>
                    <a:pt x="1206" y="276"/>
                  </a:lnTo>
                  <a:lnTo>
                    <a:pt x="1224" y="282"/>
                  </a:lnTo>
                  <a:lnTo>
                    <a:pt x="1236" y="282"/>
                  </a:lnTo>
                  <a:lnTo>
                    <a:pt x="1242" y="288"/>
                  </a:lnTo>
                  <a:lnTo>
                    <a:pt x="1254" y="288"/>
                  </a:lnTo>
                  <a:lnTo>
                    <a:pt x="1266" y="294"/>
                  </a:lnTo>
                  <a:lnTo>
                    <a:pt x="1272" y="294"/>
                  </a:lnTo>
                  <a:lnTo>
                    <a:pt x="1284" y="300"/>
                  </a:lnTo>
                  <a:lnTo>
                    <a:pt x="1290" y="300"/>
                  </a:lnTo>
                  <a:lnTo>
                    <a:pt x="1296" y="300"/>
                  </a:lnTo>
                  <a:lnTo>
                    <a:pt x="1302" y="306"/>
                  </a:lnTo>
                  <a:lnTo>
                    <a:pt x="1326" y="312"/>
                  </a:lnTo>
                  <a:lnTo>
                    <a:pt x="1338" y="312"/>
                  </a:lnTo>
                  <a:lnTo>
                    <a:pt x="1338" y="318"/>
                  </a:lnTo>
                  <a:lnTo>
                    <a:pt x="1344" y="318"/>
                  </a:lnTo>
                  <a:lnTo>
                    <a:pt x="1350" y="318"/>
                  </a:lnTo>
                  <a:lnTo>
                    <a:pt x="1362" y="324"/>
                  </a:lnTo>
                  <a:lnTo>
                    <a:pt x="1368" y="318"/>
                  </a:lnTo>
                  <a:lnTo>
                    <a:pt x="1374" y="318"/>
                  </a:lnTo>
                  <a:lnTo>
                    <a:pt x="1386" y="318"/>
                  </a:lnTo>
                  <a:lnTo>
                    <a:pt x="1398" y="324"/>
                  </a:lnTo>
                  <a:lnTo>
                    <a:pt x="1398" y="342"/>
                  </a:lnTo>
                  <a:lnTo>
                    <a:pt x="1356" y="342"/>
                  </a:lnTo>
                  <a:lnTo>
                    <a:pt x="1350" y="348"/>
                  </a:lnTo>
                  <a:lnTo>
                    <a:pt x="1350" y="372"/>
                  </a:lnTo>
                  <a:lnTo>
                    <a:pt x="1338" y="384"/>
                  </a:lnTo>
                  <a:lnTo>
                    <a:pt x="1332" y="408"/>
                  </a:lnTo>
                  <a:lnTo>
                    <a:pt x="1320" y="420"/>
                  </a:lnTo>
                  <a:lnTo>
                    <a:pt x="1254" y="426"/>
                  </a:lnTo>
                  <a:lnTo>
                    <a:pt x="1248" y="432"/>
                  </a:lnTo>
                  <a:lnTo>
                    <a:pt x="1230" y="432"/>
                  </a:lnTo>
                  <a:lnTo>
                    <a:pt x="1212" y="432"/>
                  </a:lnTo>
                  <a:lnTo>
                    <a:pt x="1212" y="426"/>
                  </a:lnTo>
                  <a:lnTo>
                    <a:pt x="1200" y="426"/>
                  </a:lnTo>
                  <a:lnTo>
                    <a:pt x="1182" y="414"/>
                  </a:lnTo>
                  <a:lnTo>
                    <a:pt x="1182" y="420"/>
                  </a:lnTo>
                  <a:lnTo>
                    <a:pt x="1164" y="420"/>
                  </a:lnTo>
                  <a:lnTo>
                    <a:pt x="1158" y="414"/>
                  </a:lnTo>
                  <a:lnTo>
                    <a:pt x="1152" y="408"/>
                  </a:lnTo>
                  <a:lnTo>
                    <a:pt x="1146" y="402"/>
                  </a:lnTo>
                  <a:lnTo>
                    <a:pt x="1122" y="396"/>
                  </a:lnTo>
                  <a:lnTo>
                    <a:pt x="1116" y="366"/>
                  </a:lnTo>
                  <a:lnTo>
                    <a:pt x="1116" y="348"/>
                  </a:lnTo>
                  <a:lnTo>
                    <a:pt x="1110" y="342"/>
                  </a:lnTo>
                  <a:lnTo>
                    <a:pt x="1104" y="336"/>
                  </a:lnTo>
                  <a:lnTo>
                    <a:pt x="1092" y="330"/>
                  </a:lnTo>
                  <a:lnTo>
                    <a:pt x="1074" y="330"/>
                  </a:lnTo>
                  <a:lnTo>
                    <a:pt x="1044" y="330"/>
                  </a:lnTo>
                  <a:lnTo>
                    <a:pt x="1014" y="336"/>
                  </a:lnTo>
                  <a:lnTo>
                    <a:pt x="984" y="342"/>
                  </a:lnTo>
                  <a:lnTo>
                    <a:pt x="978" y="330"/>
                  </a:lnTo>
                  <a:lnTo>
                    <a:pt x="966" y="324"/>
                  </a:lnTo>
                  <a:lnTo>
                    <a:pt x="888" y="336"/>
                  </a:lnTo>
                  <a:lnTo>
                    <a:pt x="888" y="330"/>
                  </a:lnTo>
                  <a:lnTo>
                    <a:pt x="870" y="336"/>
                  </a:lnTo>
                  <a:lnTo>
                    <a:pt x="858" y="336"/>
                  </a:lnTo>
                  <a:lnTo>
                    <a:pt x="852" y="354"/>
                  </a:lnTo>
                  <a:lnTo>
                    <a:pt x="852" y="402"/>
                  </a:lnTo>
                  <a:lnTo>
                    <a:pt x="840" y="414"/>
                  </a:lnTo>
                  <a:lnTo>
                    <a:pt x="834" y="420"/>
                  </a:lnTo>
                  <a:lnTo>
                    <a:pt x="834" y="444"/>
                  </a:lnTo>
                  <a:lnTo>
                    <a:pt x="834" y="450"/>
                  </a:lnTo>
                  <a:lnTo>
                    <a:pt x="852" y="456"/>
                  </a:lnTo>
                  <a:lnTo>
                    <a:pt x="864" y="462"/>
                  </a:lnTo>
                  <a:lnTo>
                    <a:pt x="894" y="456"/>
                  </a:lnTo>
                  <a:lnTo>
                    <a:pt x="900" y="468"/>
                  </a:lnTo>
                  <a:lnTo>
                    <a:pt x="918" y="462"/>
                  </a:lnTo>
                  <a:lnTo>
                    <a:pt x="924" y="468"/>
                  </a:lnTo>
                  <a:lnTo>
                    <a:pt x="924" y="47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2" name="Freeform 37">
              <a:extLst>
                <a:ext uri="{FF2B5EF4-FFF2-40B4-BE49-F238E27FC236}">
                  <a16:creationId xmlns:a16="http://schemas.microsoft.com/office/drawing/2014/main" id="{DED8A1FF-B656-4D37-BD26-5B0A7B1A4A6D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441" y="1898343"/>
              <a:ext cx="567992" cy="686605"/>
            </a:xfrm>
            <a:custGeom>
              <a:avLst/>
              <a:gdLst>
                <a:gd name="T0" fmla="*/ 79 w 1068"/>
                <a:gd name="T1" fmla="*/ 72 h 1290"/>
                <a:gd name="T2" fmla="*/ 75 w 1068"/>
                <a:gd name="T3" fmla="*/ 73 h 1290"/>
                <a:gd name="T4" fmla="*/ 72 w 1068"/>
                <a:gd name="T5" fmla="*/ 76 h 1290"/>
                <a:gd name="T6" fmla="*/ 70 w 1068"/>
                <a:gd name="T7" fmla="*/ 78 h 1290"/>
                <a:gd name="T8" fmla="*/ 67 w 1068"/>
                <a:gd name="T9" fmla="*/ 82 h 1290"/>
                <a:gd name="T10" fmla="*/ 61 w 1068"/>
                <a:gd name="T11" fmla="*/ 86 h 1290"/>
                <a:gd name="T12" fmla="*/ 60 w 1068"/>
                <a:gd name="T13" fmla="*/ 93 h 1290"/>
                <a:gd name="T14" fmla="*/ 59 w 1068"/>
                <a:gd name="T15" fmla="*/ 97 h 1290"/>
                <a:gd name="T16" fmla="*/ 61 w 1068"/>
                <a:gd name="T17" fmla="*/ 101 h 1290"/>
                <a:gd name="T18" fmla="*/ 63 w 1068"/>
                <a:gd name="T19" fmla="*/ 104 h 1290"/>
                <a:gd name="T20" fmla="*/ 62 w 1068"/>
                <a:gd name="T21" fmla="*/ 108 h 1290"/>
                <a:gd name="T22" fmla="*/ 60 w 1068"/>
                <a:gd name="T23" fmla="*/ 111 h 1290"/>
                <a:gd name="T24" fmla="*/ 56 w 1068"/>
                <a:gd name="T25" fmla="*/ 111 h 1290"/>
                <a:gd name="T26" fmla="*/ 53 w 1068"/>
                <a:gd name="T27" fmla="*/ 110 h 1290"/>
                <a:gd name="T28" fmla="*/ 50 w 1068"/>
                <a:gd name="T29" fmla="*/ 109 h 1290"/>
                <a:gd name="T30" fmla="*/ 47 w 1068"/>
                <a:gd name="T31" fmla="*/ 110 h 1290"/>
                <a:gd name="T32" fmla="*/ 51 w 1068"/>
                <a:gd name="T33" fmla="*/ 104 h 1290"/>
                <a:gd name="T34" fmla="*/ 50 w 1068"/>
                <a:gd name="T35" fmla="*/ 95 h 1290"/>
                <a:gd name="T36" fmla="*/ 51 w 1068"/>
                <a:gd name="T37" fmla="*/ 90 h 1290"/>
                <a:gd name="T38" fmla="*/ 47 w 1068"/>
                <a:gd name="T39" fmla="*/ 84 h 1290"/>
                <a:gd name="T40" fmla="*/ 42 w 1068"/>
                <a:gd name="T41" fmla="*/ 78 h 1290"/>
                <a:gd name="T42" fmla="*/ 33 w 1068"/>
                <a:gd name="T43" fmla="*/ 73 h 1290"/>
                <a:gd name="T44" fmla="*/ 26 w 1068"/>
                <a:gd name="T45" fmla="*/ 68 h 1290"/>
                <a:gd name="T46" fmla="*/ 22 w 1068"/>
                <a:gd name="T47" fmla="*/ 63 h 1290"/>
                <a:gd name="T48" fmla="*/ 11 w 1068"/>
                <a:gd name="T49" fmla="*/ 67 h 1290"/>
                <a:gd name="T50" fmla="*/ 0 w 1068"/>
                <a:gd name="T51" fmla="*/ 68 h 1290"/>
                <a:gd name="T52" fmla="*/ 2 w 1068"/>
                <a:gd name="T53" fmla="*/ 59 h 1290"/>
                <a:gd name="T54" fmla="*/ 12 w 1068"/>
                <a:gd name="T55" fmla="*/ 55 h 1290"/>
                <a:gd name="T56" fmla="*/ 12 w 1068"/>
                <a:gd name="T57" fmla="*/ 51 h 1290"/>
                <a:gd name="T58" fmla="*/ 10 w 1068"/>
                <a:gd name="T59" fmla="*/ 47 h 1290"/>
                <a:gd name="T60" fmla="*/ 9 w 1068"/>
                <a:gd name="T61" fmla="*/ 42 h 1290"/>
                <a:gd name="T62" fmla="*/ 8 w 1068"/>
                <a:gd name="T63" fmla="*/ 38 h 1290"/>
                <a:gd name="T64" fmla="*/ 8 w 1068"/>
                <a:gd name="T65" fmla="*/ 29 h 1290"/>
                <a:gd name="T66" fmla="*/ 10 w 1068"/>
                <a:gd name="T67" fmla="*/ 18 h 1290"/>
                <a:gd name="T68" fmla="*/ 25 w 1068"/>
                <a:gd name="T69" fmla="*/ 12 h 1290"/>
                <a:gd name="T70" fmla="*/ 27 w 1068"/>
                <a:gd name="T71" fmla="*/ 4 h 1290"/>
                <a:gd name="T72" fmla="*/ 35 w 1068"/>
                <a:gd name="T73" fmla="*/ 6 h 1290"/>
                <a:gd name="T74" fmla="*/ 39 w 1068"/>
                <a:gd name="T75" fmla="*/ 8 h 1290"/>
                <a:gd name="T76" fmla="*/ 41 w 1068"/>
                <a:gd name="T77" fmla="*/ 3 h 1290"/>
                <a:gd name="T78" fmla="*/ 45 w 1068"/>
                <a:gd name="T79" fmla="*/ 0 h 1290"/>
                <a:gd name="T80" fmla="*/ 51 w 1068"/>
                <a:gd name="T81" fmla="*/ 0 h 1290"/>
                <a:gd name="T82" fmla="*/ 56 w 1068"/>
                <a:gd name="T83" fmla="*/ 4 h 1290"/>
                <a:gd name="T84" fmla="*/ 62 w 1068"/>
                <a:gd name="T85" fmla="*/ 12 h 1290"/>
                <a:gd name="T86" fmla="*/ 58 w 1068"/>
                <a:gd name="T87" fmla="*/ 17 h 1290"/>
                <a:gd name="T88" fmla="*/ 60 w 1068"/>
                <a:gd name="T89" fmla="*/ 18 h 1290"/>
                <a:gd name="T90" fmla="*/ 64 w 1068"/>
                <a:gd name="T91" fmla="*/ 16 h 1290"/>
                <a:gd name="T92" fmla="*/ 68 w 1068"/>
                <a:gd name="T93" fmla="*/ 18 h 1290"/>
                <a:gd name="T94" fmla="*/ 71 w 1068"/>
                <a:gd name="T95" fmla="*/ 27 h 1290"/>
                <a:gd name="T96" fmla="*/ 74 w 1068"/>
                <a:gd name="T97" fmla="*/ 30 h 1290"/>
                <a:gd name="T98" fmla="*/ 82 w 1068"/>
                <a:gd name="T99" fmla="*/ 30 h 1290"/>
                <a:gd name="T100" fmla="*/ 87 w 1068"/>
                <a:gd name="T101" fmla="*/ 35 h 1290"/>
                <a:gd name="T102" fmla="*/ 85 w 1068"/>
                <a:gd name="T103" fmla="*/ 42 h 1290"/>
                <a:gd name="T104" fmla="*/ 81 w 1068"/>
                <a:gd name="T105" fmla="*/ 46 h 1290"/>
                <a:gd name="T106" fmla="*/ 86 w 1068"/>
                <a:gd name="T107" fmla="*/ 50 h 1290"/>
                <a:gd name="T108" fmla="*/ 89 w 1068"/>
                <a:gd name="T109" fmla="*/ 58 h 1290"/>
                <a:gd name="T110" fmla="*/ 92 w 1068"/>
                <a:gd name="T111" fmla="*/ 61 h 1290"/>
                <a:gd name="T112" fmla="*/ 86 w 1068"/>
                <a:gd name="T113" fmla="*/ 66 h 1290"/>
                <a:gd name="T114" fmla="*/ 85 w 1068"/>
                <a:gd name="T115" fmla="*/ 70 h 129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68"/>
                <a:gd name="T175" fmla="*/ 0 h 1290"/>
                <a:gd name="T176" fmla="*/ 1068 w 1068"/>
                <a:gd name="T177" fmla="*/ 1290 h 129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68" h="1290">
                  <a:moveTo>
                    <a:pt x="978" y="804"/>
                  </a:moveTo>
                  <a:lnTo>
                    <a:pt x="972" y="810"/>
                  </a:lnTo>
                  <a:lnTo>
                    <a:pt x="966" y="810"/>
                  </a:lnTo>
                  <a:lnTo>
                    <a:pt x="966" y="816"/>
                  </a:lnTo>
                  <a:lnTo>
                    <a:pt x="936" y="828"/>
                  </a:lnTo>
                  <a:lnTo>
                    <a:pt x="924" y="822"/>
                  </a:lnTo>
                  <a:lnTo>
                    <a:pt x="912" y="822"/>
                  </a:lnTo>
                  <a:lnTo>
                    <a:pt x="906" y="828"/>
                  </a:lnTo>
                  <a:lnTo>
                    <a:pt x="900" y="828"/>
                  </a:lnTo>
                  <a:lnTo>
                    <a:pt x="900" y="822"/>
                  </a:lnTo>
                  <a:lnTo>
                    <a:pt x="894" y="822"/>
                  </a:lnTo>
                  <a:lnTo>
                    <a:pt x="888" y="828"/>
                  </a:lnTo>
                  <a:lnTo>
                    <a:pt x="882" y="834"/>
                  </a:lnTo>
                  <a:lnTo>
                    <a:pt x="876" y="834"/>
                  </a:lnTo>
                  <a:lnTo>
                    <a:pt x="870" y="840"/>
                  </a:lnTo>
                  <a:lnTo>
                    <a:pt x="864" y="840"/>
                  </a:lnTo>
                  <a:lnTo>
                    <a:pt x="864" y="846"/>
                  </a:lnTo>
                  <a:lnTo>
                    <a:pt x="858" y="846"/>
                  </a:lnTo>
                  <a:lnTo>
                    <a:pt x="852" y="846"/>
                  </a:lnTo>
                  <a:lnTo>
                    <a:pt x="852" y="858"/>
                  </a:lnTo>
                  <a:lnTo>
                    <a:pt x="846" y="864"/>
                  </a:lnTo>
                  <a:lnTo>
                    <a:pt x="840" y="870"/>
                  </a:lnTo>
                  <a:lnTo>
                    <a:pt x="834" y="870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34" y="876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10" y="894"/>
                  </a:lnTo>
                  <a:lnTo>
                    <a:pt x="810" y="900"/>
                  </a:lnTo>
                  <a:lnTo>
                    <a:pt x="804" y="900"/>
                  </a:lnTo>
                  <a:lnTo>
                    <a:pt x="798" y="900"/>
                  </a:lnTo>
                  <a:lnTo>
                    <a:pt x="798" y="906"/>
                  </a:lnTo>
                  <a:lnTo>
                    <a:pt x="792" y="906"/>
                  </a:lnTo>
                  <a:lnTo>
                    <a:pt x="792" y="912"/>
                  </a:lnTo>
                  <a:lnTo>
                    <a:pt x="792" y="924"/>
                  </a:lnTo>
                  <a:lnTo>
                    <a:pt x="786" y="930"/>
                  </a:lnTo>
                  <a:lnTo>
                    <a:pt x="774" y="942"/>
                  </a:lnTo>
                  <a:lnTo>
                    <a:pt x="774" y="948"/>
                  </a:lnTo>
                  <a:lnTo>
                    <a:pt x="768" y="954"/>
                  </a:lnTo>
                  <a:lnTo>
                    <a:pt x="762" y="954"/>
                  </a:lnTo>
                  <a:lnTo>
                    <a:pt x="750" y="972"/>
                  </a:lnTo>
                  <a:lnTo>
                    <a:pt x="720" y="978"/>
                  </a:lnTo>
                  <a:lnTo>
                    <a:pt x="714" y="978"/>
                  </a:lnTo>
                  <a:lnTo>
                    <a:pt x="708" y="978"/>
                  </a:lnTo>
                  <a:lnTo>
                    <a:pt x="702" y="990"/>
                  </a:lnTo>
                  <a:lnTo>
                    <a:pt x="696" y="990"/>
                  </a:lnTo>
                  <a:lnTo>
                    <a:pt x="696" y="1008"/>
                  </a:lnTo>
                  <a:lnTo>
                    <a:pt x="690" y="1008"/>
                  </a:lnTo>
                  <a:lnTo>
                    <a:pt x="690" y="1014"/>
                  </a:lnTo>
                  <a:lnTo>
                    <a:pt x="684" y="1032"/>
                  </a:lnTo>
                  <a:lnTo>
                    <a:pt x="690" y="1050"/>
                  </a:lnTo>
                  <a:lnTo>
                    <a:pt x="690" y="1062"/>
                  </a:lnTo>
                  <a:lnTo>
                    <a:pt x="690" y="1068"/>
                  </a:lnTo>
                  <a:lnTo>
                    <a:pt x="690" y="1074"/>
                  </a:lnTo>
                  <a:lnTo>
                    <a:pt x="684" y="1074"/>
                  </a:lnTo>
                  <a:lnTo>
                    <a:pt x="684" y="1080"/>
                  </a:lnTo>
                  <a:lnTo>
                    <a:pt x="678" y="1086"/>
                  </a:lnTo>
                  <a:lnTo>
                    <a:pt x="678" y="1104"/>
                  </a:lnTo>
                  <a:lnTo>
                    <a:pt x="678" y="1110"/>
                  </a:lnTo>
                  <a:lnTo>
                    <a:pt x="678" y="1116"/>
                  </a:lnTo>
                  <a:lnTo>
                    <a:pt x="684" y="1116"/>
                  </a:lnTo>
                  <a:lnTo>
                    <a:pt x="678" y="1128"/>
                  </a:lnTo>
                  <a:lnTo>
                    <a:pt x="684" y="1128"/>
                  </a:lnTo>
                  <a:lnTo>
                    <a:pt x="690" y="1134"/>
                  </a:lnTo>
                  <a:lnTo>
                    <a:pt x="690" y="1140"/>
                  </a:lnTo>
                  <a:lnTo>
                    <a:pt x="696" y="1140"/>
                  </a:lnTo>
                  <a:lnTo>
                    <a:pt x="696" y="1146"/>
                  </a:lnTo>
                  <a:lnTo>
                    <a:pt x="696" y="1152"/>
                  </a:lnTo>
                  <a:lnTo>
                    <a:pt x="702" y="1152"/>
                  </a:lnTo>
                  <a:lnTo>
                    <a:pt x="708" y="1152"/>
                  </a:lnTo>
                  <a:lnTo>
                    <a:pt x="714" y="1158"/>
                  </a:lnTo>
                  <a:lnTo>
                    <a:pt x="714" y="1164"/>
                  </a:lnTo>
                  <a:lnTo>
                    <a:pt x="720" y="1170"/>
                  </a:lnTo>
                  <a:lnTo>
                    <a:pt x="720" y="1176"/>
                  </a:lnTo>
                  <a:lnTo>
                    <a:pt x="720" y="1182"/>
                  </a:lnTo>
                  <a:lnTo>
                    <a:pt x="726" y="1188"/>
                  </a:lnTo>
                  <a:lnTo>
                    <a:pt x="726" y="1194"/>
                  </a:lnTo>
                  <a:lnTo>
                    <a:pt x="732" y="1194"/>
                  </a:lnTo>
                  <a:lnTo>
                    <a:pt x="732" y="1200"/>
                  </a:lnTo>
                  <a:lnTo>
                    <a:pt x="738" y="1212"/>
                  </a:lnTo>
                  <a:lnTo>
                    <a:pt x="732" y="1218"/>
                  </a:lnTo>
                  <a:lnTo>
                    <a:pt x="732" y="1224"/>
                  </a:lnTo>
                  <a:lnTo>
                    <a:pt x="726" y="1230"/>
                  </a:lnTo>
                  <a:lnTo>
                    <a:pt x="720" y="1230"/>
                  </a:lnTo>
                  <a:lnTo>
                    <a:pt x="720" y="1236"/>
                  </a:lnTo>
                  <a:lnTo>
                    <a:pt x="720" y="1242"/>
                  </a:lnTo>
                  <a:lnTo>
                    <a:pt x="720" y="1248"/>
                  </a:lnTo>
                  <a:lnTo>
                    <a:pt x="714" y="1248"/>
                  </a:lnTo>
                  <a:lnTo>
                    <a:pt x="714" y="1254"/>
                  </a:lnTo>
                  <a:lnTo>
                    <a:pt x="708" y="1260"/>
                  </a:lnTo>
                  <a:lnTo>
                    <a:pt x="702" y="1272"/>
                  </a:lnTo>
                  <a:lnTo>
                    <a:pt x="696" y="1272"/>
                  </a:lnTo>
                  <a:lnTo>
                    <a:pt x="696" y="1278"/>
                  </a:lnTo>
                  <a:lnTo>
                    <a:pt x="690" y="1284"/>
                  </a:lnTo>
                  <a:lnTo>
                    <a:pt x="690" y="1290"/>
                  </a:lnTo>
                  <a:lnTo>
                    <a:pt x="684" y="1290"/>
                  </a:lnTo>
                  <a:lnTo>
                    <a:pt x="660" y="1284"/>
                  </a:lnTo>
                  <a:lnTo>
                    <a:pt x="660" y="1278"/>
                  </a:lnTo>
                  <a:lnTo>
                    <a:pt x="654" y="1272"/>
                  </a:lnTo>
                  <a:lnTo>
                    <a:pt x="648" y="1272"/>
                  </a:lnTo>
                  <a:lnTo>
                    <a:pt x="642" y="1272"/>
                  </a:lnTo>
                  <a:lnTo>
                    <a:pt x="642" y="1266"/>
                  </a:lnTo>
                  <a:lnTo>
                    <a:pt x="636" y="1266"/>
                  </a:lnTo>
                  <a:lnTo>
                    <a:pt x="630" y="1266"/>
                  </a:lnTo>
                  <a:lnTo>
                    <a:pt x="624" y="1266"/>
                  </a:lnTo>
                  <a:lnTo>
                    <a:pt x="624" y="1260"/>
                  </a:lnTo>
                  <a:lnTo>
                    <a:pt x="618" y="1260"/>
                  </a:lnTo>
                  <a:lnTo>
                    <a:pt x="612" y="1260"/>
                  </a:lnTo>
                  <a:lnTo>
                    <a:pt x="606" y="1260"/>
                  </a:lnTo>
                  <a:lnTo>
                    <a:pt x="600" y="1260"/>
                  </a:lnTo>
                  <a:lnTo>
                    <a:pt x="600" y="1254"/>
                  </a:lnTo>
                  <a:lnTo>
                    <a:pt x="594" y="1254"/>
                  </a:lnTo>
                  <a:lnTo>
                    <a:pt x="588" y="1248"/>
                  </a:lnTo>
                  <a:lnTo>
                    <a:pt x="588" y="1254"/>
                  </a:lnTo>
                  <a:lnTo>
                    <a:pt x="582" y="1254"/>
                  </a:lnTo>
                  <a:lnTo>
                    <a:pt x="582" y="1248"/>
                  </a:lnTo>
                  <a:lnTo>
                    <a:pt x="576" y="1248"/>
                  </a:lnTo>
                  <a:lnTo>
                    <a:pt x="576" y="1254"/>
                  </a:lnTo>
                  <a:lnTo>
                    <a:pt x="570" y="1248"/>
                  </a:lnTo>
                  <a:lnTo>
                    <a:pt x="564" y="1248"/>
                  </a:lnTo>
                  <a:lnTo>
                    <a:pt x="564" y="1254"/>
                  </a:lnTo>
                  <a:lnTo>
                    <a:pt x="558" y="1254"/>
                  </a:lnTo>
                  <a:lnTo>
                    <a:pt x="552" y="1254"/>
                  </a:lnTo>
                  <a:lnTo>
                    <a:pt x="552" y="1260"/>
                  </a:lnTo>
                  <a:lnTo>
                    <a:pt x="546" y="1260"/>
                  </a:lnTo>
                  <a:lnTo>
                    <a:pt x="540" y="1260"/>
                  </a:lnTo>
                  <a:lnTo>
                    <a:pt x="540" y="1254"/>
                  </a:lnTo>
                  <a:lnTo>
                    <a:pt x="534" y="1254"/>
                  </a:lnTo>
                  <a:lnTo>
                    <a:pt x="528" y="1224"/>
                  </a:lnTo>
                  <a:lnTo>
                    <a:pt x="534" y="1212"/>
                  </a:lnTo>
                  <a:lnTo>
                    <a:pt x="546" y="1206"/>
                  </a:lnTo>
                  <a:lnTo>
                    <a:pt x="582" y="1206"/>
                  </a:lnTo>
                  <a:lnTo>
                    <a:pt x="588" y="1188"/>
                  </a:lnTo>
                  <a:lnTo>
                    <a:pt x="582" y="1188"/>
                  </a:lnTo>
                  <a:lnTo>
                    <a:pt x="582" y="1182"/>
                  </a:lnTo>
                  <a:lnTo>
                    <a:pt x="576" y="1176"/>
                  </a:lnTo>
                  <a:lnTo>
                    <a:pt x="558" y="1128"/>
                  </a:lnTo>
                  <a:lnTo>
                    <a:pt x="558" y="1122"/>
                  </a:lnTo>
                  <a:lnTo>
                    <a:pt x="576" y="1098"/>
                  </a:lnTo>
                  <a:lnTo>
                    <a:pt x="576" y="1092"/>
                  </a:lnTo>
                  <a:lnTo>
                    <a:pt x="582" y="1092"/>
                  </a:lnTo>
                  <a:lnTo>
                    <a:pt x="582" y="1086"/>
                  </a:lnTo>
                  <a:lnTo>
                    <a:pt x="582" y="1080"/>
                  </a:lnTo>
                  <a:lnTo>
                    <a:pt x="582" y="1074"/>
                  </a:lnTo>
                  <a:lnTo>
                    <a:pt x="588" y="1074"/>
                  </a:lnTo>
                  <a:lnTo>
                    <a:pt x="588" y="1062"/>
                  </a:lnTo>
                  <a:lnTo>
                    <a:pt x="588" y="1056"/>
                  </a:lnTo>
                  <a:lnTo>
                    <a:pt x="588" y="1044"/>
                  </a:lnTo>
                  <a:lnTo>
                    <a:pt x="588" y="1038"/>
                  </a:lnTo>
                  <a:lnTo>
                    <a:pt x="588" y="1032"/>
                  </a:lnTo>
                  <a:lnTo>
                    <a:pt x="582" y="1026"/>
                  </a:lnTo>
                  <a:lnTo>
                    <a:pt x="582" y="1020"/>
                  </a:lnTo>
                  <a:lnTo>
                    <a:pt x="582" y="1008"/>
                  </a:lnTo>
                  <a:lnTo>
                    <a:pt x="576" y="990"/>
                  </a:lnTo>
                  <a:lnTo>
                    <a:pt x="570" y="972"/>
                  </a:lnTo>
                  <a:lnTo>
                    <a:pt x="552" y="972"/>
                  </a:lnTo>
                  <a:lnTo>
                    <a:pt x="540" y="960"/>
                  </a:lnTo>
                  <a:lnTo>
                    <a:pt x="534" y="954"/>
                  </a:lnTo>
                  <a:lnTo>
                    <a:pt x="534" y="948"/>
                  </a:lnTo>
                  <a:lnTo>
                    <a:pt x="516" y="948"/>
                  </a:lnTo>
                  <a:lnTo>
                    <a:pt x="522" y="936"/>
                  </a:lnTo>
                  <a:lnTo>
                    <a:pt x="522" y="930"/>
                  </a:lnTo>
                  <a:lnTo>
                    <a:pt x="504" y="918"/>
                  </a:lnTo>
                  <a:lnTo>
                    <a:pt x="492" y="906"/>
                  </a:lnTo>
                  <a:lnTo>
                    <a:pt x="486" y="894"/>
                  </a:lnTo>
                  <a:lnTo>
                    <a:pt x="468" y="876"/>
                  </a:lnTo>
                  <a:lnTo>
                    <a:pt x="450" y="876"/>
                  </a:lnTo>
                  <a:lnTo>
                    <a:pt x="414" y="882"/>
                  </a:lnTo>
                  <a:lnTo>
                    <a:pt x="402" y="870"/>
                  </a:lnTo>
                  <a:lnTo>
                    <a:pt x="390" y="864"/>
                  </a:lnTo>
                  <a:lnTo>
                    <a:pt x="384" y="852"/>
                  </a:lnTo>
                  <a:lnTo>
                    <a:pt x="378" y="840"/>
                  </a:lnTo>
                  <a:lnTo>
                    <a:pt x="378" y="834"/>
                  </a:lnTo>
                  <a:lnTo>
                    <a:pt x="360" y="822"/>
                  </a:lnTo>
                  <a:lnTo>
                    <a:pt x="342" y="828"/>
                  </a:lnTo>
                  <a:lnTo>
                    <a:pt x="324" y="816"/>
                  </a:lnTo>
                  <a:lnTo>
                    <a:pt x="318" y="816"/>
                  </a:lnTo>
                  <a:lnTo>
                    <a:pt x="306" y="810"/>
                  </a:lnTo>
                  <a:lnTo>
                    <a:pt x="306" y="804"/>
                  </a:lnTo>
                  <a:lnTo>
                    <a:pt x="300" y="804"/>
                  </a:lnTo>
                  <a:lnTo>
                    <a:pt x="300" y="780"/>
                  </a:lnTo>
                  <a:lnTo>
                    <a:pt x="300" y="774"/>
                  </a:lnTo>
                  <a:lnTo>
                    <a:pt x="306" y="774"/>
                  </a:lnTo>
                  <a:lnTo>
                    <a:pt x="312" y="756"/>
                  </a:lnTo>
                  <a:lnTo>
                    <a:pt x="312" y="732"/>
                  </a:lnTo>
                  <a:lnTo>
                    <a:pt x="300" y="720"/>
                  </a:lnTo>
                  <a:lnTo>
                    <a:pt x="288" y="702"/>
                  </a:lnTo>
                  <a:lnTo>
                    <a:pt x="276" y="702"/>
                  </a:lnTo>
                  <a:lnTo>
                    <a:pt x="258" y="714"/>
                  </a:lnTo>
                  <a:lnTo>
                    <a:pt x="246" y="726"/>
                  </a:lnTo>
                  <a:lnTo>
                    <a:pt x="222" y="726"/>
                  </a:lnTo>
                  <a:lnTo>
                    <a:pt x="192" y="726"/>
                  </a:lnTo>
                  <a:lnTo>
                    <a:pt x="174" y="738"/>
                  </a:lnTo>
                  <a:lnTo>
                    <a:pt x="162" y="750"/>
                  </a:lnTo>
                  <a:lnTo>
                    <a:pt x="144" y="762"/>
                  </a:lnTo>
                  <a:lnTo>
                    <a:pt x="138" y="768"/>
                  </a:lnTo>
                  <a:lnTo>
                    <a:pt x="126" y="774"/>
                  </a:lnTo>
                  <a:lnTo>
                    <a:pt x="114" y="780"/>
                  </a:lnTo>
                  <a:lnTo>
                    <a:pt x="108" y="786"/>
                  </a:lnTo>
                  <a:lnTo>
                    <a:pt x="102" y="786"/>
                  </a:lnTo>
                  <a:lnTo>
                    <a:pt x="54" y="786"/>
                  </a:lnTo>
                  <a:lnTo>
                    <a:pt x="48" y="792"/>
                  </a:lnTo>
                  <a:lnTo>
                    <a:pt x="36" y="798"/>
                  </a:lnTo>
                  <a:lnTo>
                    <a:pt x="18" y="792"/>
                  </a:lnTo>
                  <a:lnTo>
                    <a:pt x="6" y="780"/>
                  </a:lnTo>
                  <a:lnTo>
                    <a:pt x="6" y="768"/>
                  </a:lnTo>
                  <a:lnTo>
                    <a:pt x="0" y="756"/>
                  </a:lnTo>
                  <a:lnTo>
                    <a:pt x="0" y="738"/>
                  </a:lnTo>
                  <a:lnTo>
                    <a:pt x="6" y="702"/>
                  </a:lnTo>
                  <a:lnTo>
                    <a:pt x="24" y="702"/>
                  </a:lnTo>
                  <a:lnTo>
                    <a:pt x="24" y="696"/>
                  </a:lnTo>
                  <a:lnTo>
                    <a:pt x="24" y="690"/>
                  </a:lnTo>
                  <a:lnTo>
                    <a:pt x="24" y="678"/>
                  </a:lnTo>
                  <a:lnTo>
                    <a:pt x="24" y="672"/>
                  </a:lnTo>
                  <a:lnTo>
                    <a:pt x="30" y="672"/>
                  </a:lnTo>
                  <a:lnTo>
                    <a:pt x="30" y="666"/>
                  </a:lnTo>
                  <a:lnTo>
                    <a:pt x="36" y="660"/>
                  </a:lnTo>
                  <a:lnTo>
                    <a:pt x="84" y="648"/>
                  </a:lnTo>
                  <a:lnTo>
                    <a:pt x="126" y="642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32" y="618"/>
                  </a:lnTo>
                  <a:lnTo>
                    <a:pt x="138" y="612"/>
                  </a:lnTo>
                  <a:lnTo>
                    <a:pt x="138" y="606"/>
                  </a:lnTo>
                  <a:lnTo>
                    <a:pt x="138" y="600"/>
                  </a:lnTo>
                  <a:lnTo>
                    <a:pt x="132" y="600"/>
                  </a:lnTo>
                  <a:lnTo>
                    <a:pt x="132" y="594"/>
                  </a:lnTo>
                  <a:lnTo>
                    <a:pt x="132" y="588"/>
                  </a:lnTo>
                  <a:lnTo>
                    <a:pt x="132" y="582"/>
                  </a:lnTo>
                  <a:lnTo>
                    <a:pt x="132" y="576"/>
                  </a:lnTo>
                  <a:lnTo>
                    <a:pt x="126" y="570"/>
                  </a:lnTo>
                  <a:lnTo>
                    <a:pt x="120" y="564"/>
                  </a:lnTo>
                  <a:lnTo>
                    <a:pt x="120" y="558"/>
                  </a:lnTo>
                  <a:lnTo>
                    <a:pt x="120" y="552"/>
                  </a:lnTo>
                  <a:lnTo>
                    <a:pt x="114" y="552"/>
                  </a:lnTo>
                  <a:lnTo>
                    <a:pt x="114" y="546"/>
                  </a:lnTo>
                  <a:lnTo>
                    <a:pt x="114" y="540"/>
                  </a:lnTo>
                  <a:lnTo>
                    <a:pt x="108" y="534"/>
                  </a:lnTo>
                  <a:lnTo>
                    <a:pt x="108" y="528"/>
                  </a:lnTo>
                  <a:lnTo>
                    <a:pt x="114" y="522"/>
                  </a:lnTo>
                  <a:lnTo>
                    <a:pt x="108" y="516"/>
                  </a:lnTo>
                  <a:lnTo>
                    <a:pt x="108" y="498"/>
                  </a:lnTo>
                  <a:lnTo>
                    <a:pt x="108" y="492"/>
                  </a:lnTo>
                  <a:lnTo>
                    <a:pt x="108" y="486"/>
                  </a:lnTo>
                  <a:lnTo>
                    <a:pt x="108" y="480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08" y="462"/>
                  </a:lnTo>
                  <a:lnTo>
                    <a:pt x="102" y="456"/>
                  </a:lnTo>
                  <a:lnTo>
                    <a:pt x="102" y="444"/>
                  </a:lnTo>
                  <a:lnTo>
                    <a:pt x="96" y="444"/>
                  </a:lnTo>
                  <a:lnTo>
                    <a:pt x="90" y="432"/>
                  </a:lnTo>
                  <a:lnTo>
                    <a:pt x="96" y="432"/>
                  </a:lnTo>
                  <a:lnTo>
                    <a:pt x="96" y="408"/>
                  </a:lnTo>
                  <a:lnTo>
                    <a:pt x="96" y="396"/>
                  </a:lnTo>
                  <a:lnTo>
                    <a:pt x="96" y="360"/>
                  </a:lnTo>
                  <a:lnTo>
                    <a:pt x="96" y="354"/>
                  </a:lnTo>
                  <a:lnTo>
                    <a:pt x="102" y="354"/>
                  </a:lnTo>
                  <a:lnTo>
                    <a:pt x="102" y="348"/>
                  </a:lnTo>
                  <a:lnTo>
                    <a:pt x="96" y="330"/>
                  </a:lnTo>
                  <a:lnTo>
                    <a:pt x="90" y="306"/>
                  </a:lnTo>
                  <a:lnTo>
                    <a:pt x="84" y="288"/>
                  </a:lnTo>
                  <a:lnTo>
                    <a:pt x="84" y="264"/>
                  </a:lnTo>
                  <a:lnTo>
                    <a:pt x="90" y="240"/>
                  </a:lnTo>
                  <a:lnTo>
                    <a:pt x="96" y="222"/>
                  </a:lnTo>
                  <a:lnTo>
                    <a:pt x="102" y="222"/>
                  </a:lnTo>
                  <a:lnTo>
                    <a:pt x="108" y="210"/>
                  </a:lnTo>
                  <a:lnTo>
                    <a:pt x="114" y="210"/>
                  </a:lnTo>
                  <a:lnTo>
                    <a:pt x="126" y="198"/>
                  </a:lnTo>
                  <a:lnTo>
                    <a:pt x="156" y="192"/>
                  </a:lnTo>
                  <a:lnTo>
                    <a:pt x="174" y="186"/>
                  </a:lnTo>
                  <a:lnTo>
                    <a:pt x="204" y="174"/>
                  </a:lnTo>
                  <a:lnTo>
                    <a:pt x="222" y="168"/>
                  </a:lnTo>
                  <a:lnTo>
                    <a:pt x="234" y="162"/>
                  </a:lnTo>
                  <a:lnTo>
                    <a:pt x="246" y="156"/>
                  </a:lnTo>
                  <a:lnTo>
                    <a:pt x="288" y="144"/>
                  </a:lnTo>
                  <a:lnTo>
                    <a:pt x="288" y="132"/>
                  </a:lnTo>
                  <a:lnTo>
                    <a:pt x="294" y="120"/>
                  </a:lnTo>
                  <a:lnTo>
                    <a:pt x="300" y="108"/>
                  </a:lnTo>
                  <a:lnTo>
                    <a:pt x="306" y="90"/>
                  </a:lnTo>
                  <a:lnTo>
                    <a:pt x="312" y="78"/>
                  </a:lnTo>
                  <a:lnTo>
                    <a:pt x="324" y="78"/>
                  </a:lnTo>
                  <a:lnTo>
                    <a:pt x="324" y="54"/>
                  </a:lnTo>
                  <a:lnTo>
                    <a:pt x="318" y="48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60" y="6"/>
                  </a:lnTo>
                  <a:lnTo>
                    <a:pt x="384" y="0"/>
                  </a:lnTo>
                  <a:lnTo>
                    <a:pt x="390" y="6"/>
                  </a:lnTo>
                  <a:lnTo>
                    <a:pt x="390" y="18"/>
                  </a:lnTo>
                  <a:lnTo>
                    <a:pt x="390" y="54"/>
                  </a:lnTo>
                  <a:lnTo>
                    <a:pt x="396" y="66"/>
                  </a:lnTo>
                  <a:lnTo>
                    <a:pt x="414" y="84"/>
                  </a:lnTo>
                  <a:lnTo>
                    <a:pt x="426" y="90"/>
                  </a:lnTo>
                  <a:lnTo>
                    <a:pt x="432" y="96"/>
                  </a:lnTo>
                  <a:lnTo>
                    <a:pt x="426" y="102"/>
                  </a:lnTo>
                  <a:lnTo>
                    <a:pt x="438" y="102"/>
                  </a:lnTo>
                  <a:lnTo>
                    <a:pt x="444" y="108"/>
                  </a:lnTo>
                  <a:lnTo>
                    <a:pt x="444" y="102"/>
                  </a:lnTo>
                  <a:lnTo>
                    <a:pt x="450" y="90"/>
                  </a:lnTo>
                  <a:lnTo>
                    <a:pt x="450" y="84"/>
                  </a:lnTo>
                  <a:lnTo>
                    <a:pt x="450" y="78"/>
                  </a:lnTo>
                  <a:lnTo>
                    <a:pt x="456" y="72"/>
                  </a:lnTo>
                  <a:lnTo>
                    <a:pt x="462" y="66"/>
                  </a:lnTo>
                  <a:lnTo>
                    <a:pt x="462" y="60"/>
                  </a:lnTo>
                  <a:lnTo>
                    <a:pt x="462" y="54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74" y="24"/>
                  </a:lnTo>
                  <a:lnTo>
                    <a:pt x="480" y="18"/>
                  </a:lnTo>
                  <a:lnTo>
                    <a:pt x="486" y="12"/>
                  </a:lnTo>
                  <a:lnTo>
                    <a:pt x="492" y="12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2" y="6"/>
                  </a:lnTo>
                  <a:lnTo>
                    <a:pt x="534" y="6"/>
                  </a:lnTo>
                  <a:lnTo>
                    <a:pt x="540" y="6"/>
                  </a:lnTo>
                  <a:lnTo>
                    <a:pt x="546" y="6"/>
                  </a:lnTo>
                  <a:lnTo>
                    <a:pt x="564" y="0"/>
                  </a:lnTo>
                  <a:lnTo>
                    <a:pt x="570" y="0"/>
                  </a:lnTo>
                  <a:lnTo>
                    <a:pt x="576" y="6"/>
                  </a:lnTo>
                  <a:lnTo>
                    <a:pt x="582" y="6"/>
                  </a:lnTo>
                  <a:lnTo>
                    <a:pt x="594" y="6"/>
                  </a:lnTo>
                  <a:lnTo>
                    <a:pt x="600" y="6"/>
                  </a:lnTo>
                  <a:lnTo>
                    <a:pt x="606" y="6"/>
                  </a:lnTo>
                  <a:lnTo>
                    <a:pt x="624" y="0"/>
                  </a:lnTo>
                  <a:lnTo>
                    <a:pt x="636" y="0"/>
                  </a:lnTo>
                  <a:lnTo>
                    <a:pt x="636" y="6"/>
                  </a:lnTo>
                  <a:lnTo>
                    <a:pt x="654" y="18"/>
                  </a:lnTo>
                  <a:lnTo>
                    <a:pt x="654" y="30"/>
                  </a:lnTo>
                  <a:lnTo>
                    <a:pt x="642" y="42"/>
                  </a:lnTo>
                  <a:lnTo>
                    <a:pt x="630" y="66"/>
                  </a:lnTo>
                  <a:lnTo>
                    <a:pt x="636" y="84"/>
                  </a:lnTo>
                  <a:lnTo>
                    <a:pt x="636" y="96"/>
                  </a:lnTo>
                  <a:lnTo>
                    <a:pt x="648" y="102"/>
                  </a:lnTo>
                  <a:lnTo>
                    <a:pt x="672" y="114"/>
                  </a:lnTo>
                  <a:lnTo>
                    <a:pt x="702" y="120"/>
                  </a:lnTo>
                  <a:lnTo>
                    <a:pt x="714" y="126"/>
                  </a:lnTo>
                  <a:lnTo>
                    <a:pt x="720" y="144"/>
                  </a:lnTo>
                  <a:lnTo>
                    <a:pt x="720" y="156"/>
                  </a:lnTo>
                  <a:lnTo>
                    <a:pt x="708" y="156"/>
                  </a:lnTo>
                  <a:lnTo>
                    <a:pt x="702" y="162"/>
                  </a:lnTo>
                  <a:lnTo>
                    <a:pt x="702" y="174"/>
                  </a:lnTo>
                  <a:lnTo>
                    <a:pt x="696" y="174"/>
                  </a:lnTo>
                  <a:lnTo>
                    <a:pt x="690" y="180"/>
                  </a:lnTo>
                  <a:lnTo>
                    <a:pt x="678" y="186"/>
                  </a:lnTo>
                  <a:lnTo>
                    <a:pt x="672" y="192"/>
                  </a:lnTo>
                  <a:lnTo>
                    <a:pt x="654" y="210"/>
                  </a:lnTo>
                  <a:lnTo>
                    <a:pt x="654" y="216"/>
                  </a:lnTo>
                  <a:lnTo>
                    <a:pt x="648" y="246"/>
                  </a:lnTo>
                  <a:lnTo>
                    <a:pt x="660" y="246"/>
                  </a:lnTo>
                  <a:lnTo>
                    <a:pt x="666" y="234"/>
                  </a:lnTo>
                  <a:lnTo>
                    <a:pt x="678" y="240"/>
                  </a:lnTo>
                  <a:lnTo>
                    <a:pt x="684" y="228"/>
                  </a:lnTo>
                  <a:lnTo>
                    <a:pt x="690" y="210"/>
                  </a:lnTo>
                  <a:lnTo>
                    <a:pt x="696" y="204"/>
                  </a:lnTo>
                  <a:lnTo>
                    <a:pt x="702" y="204"/>
                  </a:lnTo>
                  <a:lnTo>
                    <a:pt x="708" y="192"/>
                  </a:lnTo>
                  <a:lnTo>
                    <a:pt x="714" y="192"/>
                  </a:lnTo>
                  <a:lnTo>
                    <a:pt x="714" y="186"/>
                  </a:lnTo>
                  <a:lnTo>
                    <a:pt x="726" y="186"/>
                  </a:lnTo>
                  <a:lnTo>
                    <a:pt x="732" y="186"/>
                  </a:lnTo>
                  <a:lnTo>
                    <a:pt x="738" y="186"/>
                  </a:lnTo>
                  <a:lnTo>
                    <a:pt x="744" y="216"/>
                  </a:lnTo>
                  <a:lnTo>
                    <a:pt x="750" y="210"/>
                  </a:lnTo>
                  <a:lnTo>
                    <a:pt x="750" y="204"/>
                  </a:lnTo>
                  <a:lnTo>
                    <a:pt x="756" y="192"/>
                  </a:lnTo>
                  <a:lnTo>
                    <a:pt x="762" y="192"/>
                  </a:lnTo>
                  <a:lnTo>
                    <a:pt x="768" y="192"/>
                  </a:lnTo>
                  <a:lnTo>
                    <a:pt x="780" y="186"/>
                  </a:lnTo>
                  <a:lnTo>
                    <a:pt x="786" y="204"/>
                  </a:lnTo>
                  <a:lnTo>
                    <a:pt x="774" y="210"/>
                  </a:lnTo>
                  <a:lnTo>
                    <a:pt x="774" y="234"/>
                  </a:lnTo>
                  <a:lnTo>
                    <a:pt x="780" y="246"/>
                  </a:lnTo>
                  <a:lnTo>
                    <a:pt x="804" y="264"/>
                  </a:lnTo>
                  <a:lnTo>
                    <a:pt x="816" y="276"/>
                  </a:lnTo>
                  <a:lnTo>
                    <a:pt x="822" y="288"/>
                  </a:lnTo>
                  <a:lnTo>
                    <a:pt x="822" y="312"/>
                  </a:lnTo>
                  <a:lnTo>
                    <a:pt x="816" y="312"/>
                  </a:lnTo>
                  <a:lnTo>
                    <a:pt x="810" y="318"/>
                  </a:lnTo>
                  <a:lnTo>
                    <a:pt x="810" y="348"/>
                  </a:lnTo>
                  <a:lnTo>
                    <a:pt x="816" y="348"/>
                  </a:lnTo>
                  <a:lnTo>
                    <a:pt x="816" y="342"/>
                  </a:lnTo>
                  <a:lnTo>
                    <a:pt x="834" y="342"/>
                  </a:lnTo>
                  <a:lnTo>
                    <a:pt x="834" y="348"/>
                  </a:lnTo>
                  <a:lnTo>
                    <a:pt x="846" y="348"/>
                  </a:lnTo>
                  <a:lnTo>
                    <a:pt x="846" y="342"/>
                  </a:lnTo>
                  <a:lnTo>
                    <a:pt x="882" y="342"/>
                  </a:lnTo>
                  <a:lnTo>
                    <a:pt x="894" y="366"/>
                  </a:lnTo>
                  <a:lnTo>
                    <a:pt x="900" y="372"/>
                  </a:lnTo>
                  <a:lnTo>
                    <a:pt x="906" y="384"/>
                  </a:lnTo>
                  <a:lnTo>
                    <a:pt x="924" y="384"/>
                  </a:lnTo>
                  <a:lnTo>
                    <a:pt x="930" y="372"/>
                  </a:lnTo>
                  <a:lnTo>
                    <a:pt x="936" y="372"/>
                  </a:lnTo>
                  <a:lnTo>
                    <a:pt x="942" y="348"/>
                  </a:lnTo>
                  <a:lnTo>
                    <a:pt x="954" y="348"/>
                  </a:lnTo>
                  <a:lnTo>
                    <a:pt x="954" y="342"/>
                  </a:lnTo>
                  <a:lnTo>
                    <a:pt x="984" y="342"/>
                  </a:lnTo>
                  <a:lnTo>
                    <a:pt x="978" y="390"/>
                  </a:lnTo>
                  <a:lnTo>
                    <a:pt x="984" y="390"/>
                  </a:lnTo>
                  <a:lnTo>
                    <a:pt x="990" y="396"/>
                  </a:lnTo>
                  <a:lnTo>
                    <a:pt x="996" y="396"/>
                  </a:lnTo>
                  <a:lnTo>
                    <a:pt x="1002" y="396"/>
                  </a:lnTo>
                  <a:lnTo>
                    <a:pt x="1002" y="408"/>
                  </a:lnTo>
                  <a:lnTo>
                    <a:pt x="990" y="414"/>
                  </a:lnTo>
                  <a:lnTo>
                    <a:pt x="984" y="426"/>
                  </a:lnTo>
                  <a:lnTo>
                    <a:pt x="990" y="444"/>
                  </a:lnTo>
                  <a:lnTo>
                    <a:pt x="996" y="450"/>
                  </a:lnTo>
                  <a:lnTo>
                    <a:pt x="990" y="462"/>
                  </a:lnTo>
                  <a:lnTo>
                    <a:pt x="990" y="468"/>
                  </a:lnTo>
                  <a:lnTo>
                    <a:pt x="984" y="480"/>
                  </a:lnTo>
                  <a:lnTo>
                    <a:pt x="978" y="486"/>
                  </a:lnTo>
                  <a:lnTo>
                    <a:pt x="972" y="486"/>
                  </a:lnTo>
                  <a:lnTo>
                    <a:pt x="966" y="492"/>
                  </a:lnTo>
                  <a:lnTo>
                    <a:pt x="966" y="498"/>
                  </a:lnTo>
                  <a:lnTo>
                    <a:pt x="954" y="510"/>
                  </a:lnTo>
                  <a:lnTo>
                    <a:pt x="948" y="510"/>
                  </a:lnTo>
                  <a:lnTo>
                    <a:pt x="942" y="516"/>
                  </a:lnTo>
                  <a:lnTo>
                    <a:pt x="936" y="528"/>
                  </a:lnTo>
                  <a:lnTo>
                    <a:pt x="936" y="534"/>
                  </a:lnTo>
                  <a:lnTo>
                    <a:pt x="936" y="546"/>
                  </a:lnTo>
                  <a:lnTo>
                    <a:pt x="936" y="558"/>
                  </a:lnTo>
                  <a:lnTo>
                    <a:pt x="948" y="558"/>
                  </a:lnTo>
                  <a:lnTo>
                    <a:pt x="954" y="558"/>
                  </a:lnTo>
                  <a:lnTo>
                    <a:pt x="996" y="558"/>
                  </a:lnTo>
                  <a:lnTo>
                    <a:pt x="1002" y="570"/>
                  </a:lnTo>
                  <a:lnTo>
                    <a:pt x="996" y="576"/>
                  </a:lnTo>
                  <a:lnTo>
                    <a:pt x="996" y="588"/>
                  </a:lnTo>
                  <a:lnTo>
                    <a:pt x="984" y="588"/>
                  </a:lnTo>
                  <a:lnTo>
                    <a:pt x="990" y="612"/>
                  </a:lnTo>
                  <a:lnTo>
                    <a:pt x="1014" y="606"/>
                  </a:lnTo>
                  <a:lnTo>
                    <a:pt x="1014" y="636"/>
                  </a:lnTo>
                  <a:lnTo>
                    <a:pt x="1014" y="648"/>
                  </a:lnTo>
                  <a:lnTo>
                    <a:pt x="1020" y="648"/>
                  </a:lnTo>
                  <a:lnTo>
                    <a:pt x="1026" y="660"/>
                  </a:lnTo>
                  <a:lnTo>
                    <a:pt x="1038" y="654"/>
                  </a:lnTo>
                  <a:lnTo>
                    <a:pt x="1050" y="654"/>
                  </a:lnTo>
                  <a:lnTo>
                    <a:pt x="1062" y="654"/>
                  </a:lnTo>
                  <a:lnTo>
                    <a:pt x="1068" y="660"/>
                  </a:lnTo>
                  <a:lnTo>
                    <a:pt x="1068" y="678"/>
                  </a:lnTo>
                  <a:lnTo>
                    <a:pt x="1068" y="684"/>
                  </a:lnTo>
                  <a:lnTo>
                    <a:pt x="1062" y="690"/>
                  </a:lnTo>
                  <a:lnTo>
                    <a:pt x="1056" y="696"/>
                  </a:lnTo>
                  <a:lnTo>
                    <a:pt x="1056" y="702"/>
                  </a:lnTo>
                  <a:lnTo>
                    <a:pt x="1038" y="714"/>
                  </a:lnTo>
                  <a:lnTo>
                    <a:pt x="1026" y="720"/>
                  </a:lnTo>
                  <a:lnTo>
                    <a:pt x="1008" y="726"/>
                  </a:lnTo>
                  <a:lnTo>
                    <a:pt x="1008" y="732"/>
                  </a:lnTo>
                  <a:lnTo>
                    <a:pt x="990" y="732"/>
                  </a:lnTo>
                  <a:lnTo>
                    <a:pt x="984" y="744"/>
                  </a:lnTo>
                  <a:lnTo>
                    <a:pt x="990" y="750"/>
                  </a:lnTo>
                  <a:lnTo>
                    <a:pt x="984" y="762"/>
                  </a:lnTo>
                  <a:lnTo>
                    <a:pt x="984" y="768"/>
                  </a:lnTo>
                  <a:lnTo>
                    <a:pt x="984" y="774"/>
                  </a:lnTo>
                  <a:lnTo>
                    <a:pt x="984" y="780"/>
                  </a:lnTo>
                  <a:lnTo>
                    <a:pt x="984" y="786"/>
                  </a:lnTo>
                  <a:lnTo>
                    <a:pt x="984" y="792"/>
                  </a:lnTo>
                  <a:lnTo>
                    <a:pt x="978" y="798"/>
                  </a:lnTo>
                  <a:lnTo>
                    <a:pt x="978" y="80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3" name="Freeform 38">
              <a:extLst>
                <a:ext uri="{FF2B5EF4-FFF2-40B4-BE49-F238E27FC236}">
                  <a16:creationId xmlns:a16="http://schemas.microsoft.com/office/drawing/2014/main" id="{819B99CE-D972-4530-8964-A992C1EC87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2825" y="1634436"/>
              <a:ext cx="959326" cy="959458"/>
            </a:xfrm>
            <a:custGeom>
              <a:avLst/>
              <a:gdLst>
                <a:gd name="T0" fmla="*/ 105 w 1806"/>
                <a:gd name="T1" fmla="*/ 155 h 1806"/>
                <a:gd name="T2" fmla="*/ 103 w 1806"/>
                <a:gd name="T3" fmla="*/ 155 h 1806"/>
                <a:gd name="T4" fmla="*/ 103 w 1806"/>
                <a:gd name="T5" fmla="*/ 150 h 1806"/>
                <a:gd name="T6" fmla="*/ 104 w 1806"/>
                <a:gd name="T7" fmla="*/ 141 h 1806"/>
                <a:gd name="T8" fmla="*/ 104 w 1806"/>
                <a:gd name="T9" fmla="*/ 136 h 1806"/>
                <a:gd name="T10" fmla="*/ 100 w 1806"/>
                <a:gd name="T11" fmla="*/ 131 h 1806"/>
                <a:gd name="T12" fmla="*/ 96 w 1806"/>
                <a:gd name="T13" fmla="*/ 127 h 1806"/>
                <a:gd name="T14" fmla="*/ 91 w 1806"/>
                <a:gd name="T15" fmla="*/ 121 h 1806"/>
                <a:gd name="T16" fmla="*/ 87 w 1806"/>
                <a:gd name="T17" fmla="*/ 120 h 1806"/>
                <a:gd name="T18" fmla="*/ 81 w 1806"/>
                <a:gd name="T19" fmla="*/ 117 h 1806"/>
                <a:gd name="T20" fmla="*/ 65 w 1806"/>
                <a:gd name="T21" fmla="*/ 113 h 1806"/>
                <a:gd name="T22" fmla="*/ 69 w 1806"/>
                <a:gd name="T23" fmla="*/ 105 h 1806"/>
                <a:gd name="T24" fmla="*/ 66 w 1806"/>
                <a:gd name="T25" fmla="*/ 89 h 1806"/>
                <a:gd name="T26" fmla="*/ 63 w 1806"/>
                <a:gd name="T27" fmla="*/ 84 h 1806"/>
                <a:gd name="T28" fmla="*/ 62 w 1806"/>
                <a:gd name="T29" fmla="*/ 74 h 1806"/>
                <a:gd name="T30" fmla="*/ 58 w 1806"/>
                <a:gd name="T31" fmla="*/ 52 h 1806"/>
                <a:gd name="T32" fmla="*/ 53 w 1806"/>
                <a:gd name="T33" fmla="*/ 49 h 1806"/>
                <a:gd name="T34" fmla="*/ 51 w 1806"/>
                <a:gd name="T35" fmla="*/ 36 h 1806"/>
                <a:gd name="T36" fmla="*/ 43 w 1806"/>
                <a:gd name="T37" fmla="*/ 32 h 1806"/>
                <a:gd name="T38" fmla="*/ 33 w 1806"/>
                <a:gd name="T39" fmla="*/ 30 h 1806"/>
                <a:gd name="T40" fmla="*/ 30 w 1806"/>
                <a:gd name="T41" fmla="*/ 21 h 1806"/>
                <a:gd name="T42" fmla="*/ 17 w 1806"/>
                <a:gd name="T43" fmla="*/ 25 h 1806"/>
                <a:gd name="T44" fmla="*/ 4 w 1806"/>
                <a:gd name="T45" fmla="*/ 33 h 1806"/>
                <a:gd name="T46" fmla="*/ 7 w 1806"/>
                <a:gd name="T47" fmla="*/ 26 h 1806"/>
                <a:gd name="T48" fmla="*/ 11 w 1806"/>
                <a:gd name="T49" fmla="*/ 20 h 1806"/>
                <a:gd name="T50" fmla="*/ 18 w 1806"/>
                <a:gd name="T51" fmla="*/ 12 h 1806"/>
                <a:gd name="T52" fmla="*/ 26 w 1806"/>
                <a:gd name="T53" fmla="*/ 8 h 1806"/>
                <a:gd name="T54" fmla="*/ 35 w 1806"/>
                <a:gd name="T55" fmla="*/ 6 h 1806"/>
                <a:gd name="T56" fmla="*/ 44 w 1806"/>
                <a:gd name="T57" fmla="*/ 5 h 1806"/>
                <a:gd name="T58" fmla="*/ 54 w 1806"/>
                <a:gd name="T59" fmla="*/ 2 h 1806"/>
                <a:gd name="T60" fmla="*/ 65 w 1806"/>
                <a:gd name="T61" fmla="*/ 0 h 1806"/>
                <a:gd name="T62" fmla="*/ 76 w 1806"/>
                <a:gd name="T63" fmla="*/ 0 h 1806"/>
                <a:gd name="T64" fmla="*/ 85 w 1806"/>
                <a:gd name="T65" fmla="*/ 0 h 1806"/>
                <a:gd name="T66" fmla="*/ 97 w 1806"/>
                <a:gd name="T67" fmla="*/ 0 h 1806"/>
                <a:gd name="T68" fmla="*/ 108 w 1806"/>
                <a:gd name="T69" fmla="*/ 3 h 1806"/>
                <a:gd name="T70" fmla="*/ 115 w 1806"/>
                <a:gd name="T71" fmla="*/ 5 h 1806"/>
                <a:gd name="T72" fmla="*/ 123 w 1806"/>
                <a:gd name="T73" fmla="*/ 7 h 1806"/>
                <a:gd name="T74" fmla="*/ 133 w 1806"/>
                <a:gd name="T75" fmla="*/ 14 h 1806"/>
                <a:gd name="T76" fmla="*/ 138 w 1806"/>
                <a:gd name="T77" fmla="*/ 16 h 1806"/>
                <a:gd name="T78" fmla="*/ 140 w 1806"/>
                <a:gd name="T79" fmla="*/ 14 h 1806"/>
                <a:gd name="T80" fmla="*/ 145 w 1806"/>
                <a:gd name="T81" fmla="*/ 16 h 1806"/>
                <a:gd name="T82" fmla="*/ 147 w 1806"/>
                <a:gd name="T83" fmla="*/ 16 h 1806"/>
                <a:gd name="T84" fmla="*/ 150 w 1806"/>
                <a:gd name="T85" fmla="*/ 17 h 1806"/>
                <a:gd name="T86" fmla="*/ 152 w 1806"/>
                <a:gd name="T87" fmla="*/ 18 h 1806"/>
                <a:gd name="T88" fmla="*/ 155 w 1806"/>
                <a:gd name="T89" fmla="*/ 37 h 1806"/>
                <a:gd name="T90" fmla="*/ 146 w 1806"/>
                <a:gd name="T91" fmla="*/ 66 h 1806"/>
                <a:gd name="T92" fmla="*/ 143 w 1806"/>
                <a:gd name="T93" fmla="*/ 88 h 1806"/>
                <a:gd name="T94" fmla="*/ 144 w 1806"/>
                <a:gd name="T95" fmla="*/ 98 h 1806"/>
                <a:gd name="T96" fmla="*/ 137 w 1806"/>
                <a:gd name="T97" fmla="*/ 118 h 1806"/>
                <a:gd name="T98" fmla="*/ 132 w 1806"/>
                <a:gd name="T99" fmla="*/ 129 h 1806"/>
                <a:gd name="T100" fmla="*/ 124 w 1806"/>
                <a:gd name="T101" fmla="*/ 135 h 1806"/>
                <a:gd name="T102" fmla="*/ 119 w 1806"/>
                <a:gd name="T103" fmla="*/ 136 h 1806"/>
                <a:gd name="T104" fmla="*/ 116 w 1806"/>
                <a:gd name="T105" fmla="*/ 137 h 1806"/>
                <a:gd name="T106" fmla="*/ 112 w 1806"/>
                <a:gd name="T107" fmla="*/ 139 h 1806"/>
                <a:gd name="T108" fmla="*/ 112 w 1806"/>
                <a:gd name="T109" fmla="*/ 141 h 1806"/>
                <a:gd name="T110" fmla="*/ 116 w 1806"/>
                <a:gd name="T111" fmla="*/ 146 h 1806"/>
                <a:gd name="T112" fmla="*/ 116 w 1806"/>
                <a:gd name="T113" fmla="*/ 151 h 1806"/>
                <a:gd name="T114" fmla="*/ 113 w 1806"/>
                <a:gd name="T115" fmla="*/ 153 h 18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6"/>
                <a:gd name="T175" fmla="*/ 0 h 1806"/>
                <a:gd name="T176" fmla="*/ 1806 w 1806"/>
                <a:gd name="T177" fmla="*/ 1806 h 18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6" h="1806">
                  <a:moveTo>
                    <a:pt x="1260" y="1776"/>
                  </a:moveTo>
                  <a:lnTo>
                    <a:pt x="1254" y="1776"/>
                  </a:lnTo>
                  <a:lnTo>
                    <a:pt x="1248" y="1776"/>
                  </a:lnTo>
                  <a:lnTo>
                    <a:pt x="1242" y="1782"/>
                  </a:lnTo>
                  <a:lnTo>
                    <a:pt x="1236" y="1782"/>
                  </a:lnTo>
                  <a:lnTo>
                    <a:pt x="1230" y="1788"/>
                  </a:lnTo>
                  <a:lnTo>
                    <a:pt x="1224" y="1782"/>
                  </a:lnTo>
                  <a:lnTo>
                    <a:pt x="1218" y="1782"/>
                  </a:lnTo>
                  <a:lnTo>
                    <a:pt x="1218" y="1788"/>
                  </a:lnTo>
                  <a:lnTo>
                    <a:pt x="1212" y="1788"/>
                  </a:lnTo>
                  <a:lnTo>
                    <a:pt x="1206" y="1788"/>
                  </a:lnTo>
                  <a:lnTo>
                    <a:pt x="1206" y="1794"/>
                  </a:lnTo>
                  <a:lnTo>
                    <a:pt x="1200" y="1806"/>
                  </a:lnTo>
                  <a:lnTo>
                    <a:pt x="1194" y="1800"/>
                  </a:lnTo>
                  <a:lnTo>
                    <a:pt x="1194" y="1794"/>
                  </a:lnTo>
                  <a:lnTo>
                    <a:pt x="1194" y="1788"/>
                  </a:lnTo>
                  <a:lnTo>
                    <a:pt x="1188" y="1788"/>
                  </a:lnTo>
                  <a:lnTo>
                    <a:pt x="1188" y="1782"/>
                  </a:lnTo>
                  <a:lnTo>
                    <a:pt x="1188" y="1776"/>
                  </a:lnTo>
                  <a:lnTo>
                    <a:pt x="1194" y="1770"/>
                  </a:lnTo>
                  <a:lnTo>
                    <a:pt x="1194" y="1764"/>
                  </a:lnTo>
                  <a:lnTo>
                    <a:pt x="1194" y="1758"/>
                  </a:lnTo>
                  <a:lnTo>
                    <a:pt x="1194" y="1752"/>
                  </a:lnTo>
                  <a:lnTo>
                    <a:pt x="1200" y="1746"/>
                  </a:lnTo>
                  <a:lnTo>
                    <a:pt x="1200" y="1740"/>
                  </a:lnTo>
                  <a:lnTo>
                    <a:pt x="1200" y="1734"/>
                  </a:lnTo>
                  <a:lnTo>
                    <a:pt x="1188" y="1722"/>
                  </a:lnTo>
                  <a:lnTo>
                    <a:pt x="1188" y="1716"/>
                  </a:lnTo>
                  <a:lnTo>
                    <a:pt x="1194" y="1704"/>
                  </a:lnTo>
                  <a:lnTo>
                    <a:pt x="1194" y="1692"/>
                  </a:lnTo>
                  <a:lnTo>
                    <a:pt x="1200" y="1680"/>
                  </a:lnTo>
                  <a:lnTo>
                    <a:pt x="1200" y="1662"/>
                  </a:lnTo>
                  <a:lnTo>
                    <a:pt x="1200" y="1650"/>
                  </a:lnTo>
                  <a:lnTo>
                    <a:pt x="1206" y="1644"/>
                  </a:lnTo>
                  <a:lnTo>
                    <a:pt x="1206" y="1638"/>
                  </a:lnTo>
                  <a:lnTo>
                    <a:pt x="1206" y="1626"/>
                  </a:lnTo>
                  <a:lnTo>
                    <a:pt x="1206" y="1620"/>
                  </a:lnTo>
                  <a:lnTo>
                    <a:pt x="1206" y="1614"/>
                  </a:lnTo>
                  <a:lnTo>
                    <a:pt x="1200" y="1608"/>
                  </a:lnTo>
                  <a:lnTo>
                    <a:pt x="1200" y="1602"/>
                  </a:lnTo>
                  <a:lnTo>
                    <a:pt x="1200" y="1596"/>
                  </a:lnTo>
                  <a:lnTo>
                    <a:pt x="1200" y="1590"/>
                  </a:lnTo>
                  <a:lnTo>
                    <a:pt x="1200" y="1572"/>
                  </a:lnTo>
                  <a:lnTo>
                    <a:pt x="1200" y="1566"/>
                  </a:lnTo>
                  <a:lnTo>
                    <a:pt x="1200" y="1560"/>
                  </a:lnTo>
                  <a:lnTo>
                    <a:pt x="1194" y="1554"/>
                  </a:lnTo>
                  <a:lnTo>
                    <a:pt x="1188" y="1548"/>
                  </a:lnTo>
                  <a:lnTo>
                    <a:pt x="1188" y="1542"/>
                  </a:lnTo>
                  <a:lnTo>
                    <a:pt x="1176" y="1536"/>
                  </a:lnTo>
                  <a:lnTo>
                    <a:pt x="1176" y="1530"/>
                  </a:lnTo>
                  <a:lnTo>
                    <a:pt x="1170" y="1524"/>
                  </a:lnTo>
                  <a:lnTo>
                    <a:pt x="1170" y="1518"/>
                  </a:lnTo>
                  <a:lnTo>
                    <a:pt x="1164" y="1512"/>
                  </a:lnTo>
                  <a:lnTo>
                    <a:pt x="1158" y="1506"/>
                  </a:lnTo>
                  <a:lnTo>
                    <a:pt x="1152" y="1500"/>
                  </a:lnTo>
                  <a:lnTo>
                    <a:pt x="1146" y="1494"/>
                  </a:lnTo>
                  <a:lnTo>
                    <a:pt x="1140" y="1488"/>
                  </a:lnTo>
                  <a:lnTo>
                    <a:pt x="1134" y="1482"/>
                  </a:lnTo>
                  <a:lnTo>
                    <a:pt x="1128" y="1476"/>
                  </a:lnTo>
                  <a:lnTo>
                    <a:pt x="1122" y="1470"/>
                  </a:lnTo>
                  <a:lnTo>
                    <a:pt x="1116" y="1464"/>
                  </a:lnTo>
                  <a:lnTo>
                    <a:pt x="1110" y="1464"/>
                  </a:lnTo>
                  <a:lnTo>
                    <a:pt x="1104" y="1458"/>
                  </a:lnTo>
                  <a:lnTo>
                    <a:pt x="1098" y="1464"/>
                  </a:lnTo>
                  <a:lnTo>
                    <a:pt x="1092" y="1464"/>
                  </a:lnTo>
                  <a:lnTo>
                    <a:pt x="1086" y="1446"/>
                  </a:lnTo>
                  <a:lnTo>
                    <a:pt x="1086" y="1440"/>
                  </a:lnTo>
                  <a:lnTo>
                    <a:pt x="1080" y="1416"/>
                  </a:lnTo>
                  <a:lnTo>
                    <a:pt x="1068" y="1404"/>
                  </a:lnTo>
                  <a:lnTo>
                    <a:pt x="1062" y="1398"/>
                  </a:lnTo>
                  <a:lnTo>
                    <a:pt x="1056" y="1398"/>
                  </a:lnTo>
                  <a:lnTo>
                    <a:pt x="1050" y="1398"/>
                  </a:lnTo>
                  <a:lnTo>
                    <a:pt x="1044" y="1398"/>
                  </a:lnTo>
                  <a:lnTo>
                    <a:pt x="1044" y="1392"/>
                  </a:lnTo>
                  <a:lnTo>
                    <a:pt x="1038" y="1392"/>
                  </a:lnTo>
                  <a:lnTo>
                    <a:pt x="1032" y="1392"/>
                  </a:lnTo>
                  <a:lnTo>
                    <a:pt x="1020" y="1386"/>
                  </a:lnTo>
                  <a:lnTo>
                    <a:pt x="1014" y="1386"/>
                  </a:lnTo>
                  <a:lnTo>
                    <a:pt x="1014" y="1380"/>
                  </a:lnTo>
                  <a:lnTo>
                    <a:pt x="1008" y="1380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62"/>
                  </a:lnTo>
                  <a:lnTo>
                    <a:pt x="984" y="1356"/>
                  </a:lnTo>
                  <a:lnTo>
                    <a:pt x="978" y="1356"/>
                  </a:lnTo>
                  <a:lnTo>
                    <a:pt x="972" y="1356"/>
                  </a:lnTo>
                  <a:lnTo>
                    <a:pt x="966" y="1356"/>
                  </a:lnTo>
                  <a:lnTo>
                    <a:pt x="966" y="1350"/>
                  </a:lnTo>
                  <a:lnTo>
                    <a:pt x="948" y="1350"/>
                  </a:lnTo>
                  <a:lnTo>
                    <a:pt x="936" y="1344"/>
                  </a:lnTo>
                  <a:lnTo>
                    <a:pt x="930" y="1338"/>
                  </a:lnTo>
                  <a:lnTo>
                    <a:pt x="918" y="1332"/>
                  </a:lnTo>
                  <a:lnTo>
                    <a:pt x="900" y="1326"/>
                  </a:lnTo>
                  <a:lnTo>
                    <a:pt x="864" y="1332"/>
                  </a:lnTo>
                  <a:lnTo>
                    <a:pt x="828" y="1332"/>
                  </a:lnTo>
                  <a:lnTo>
                    <a:pt x="792" y="1314"/>
                  </a:lnTo>
                  <a:lnTo>
                    <a:pt x="780" y="1314"/>
                  </a:lnTo>
                  <a:lnTo>
                    <a:pt x="780" y="1308"/>
                  </a:lnTo>
                  <a:lnTo>
                    <a:pt x="756" y="1296"/>
                  </a:lnTo>
                  <a:lnTo>
                    <a:pt x="756" y="1278"/>
                  </a:lnTo>
                  <a:lnTo>
                    <a:pt x="768" y="1278"/>
                  </a:lnTo>
                  <a:lnTo>
                    <a:pt x="774" y="1272"/>
                  </a:lnTo>
                  <a:lnTo>
                    <a:pt x="780" y="1266"/>
                  </a:lnTo>
                  <a:lnTo>
                    <a:pt x="786" y="1260"/>
                  </a:lnTo>
                  <a:lnTo>
                    <a:pt x="792" y="1254"/>
                  </a:lnTo>
                  <a:lnTo>
                    <a:pt x="798" y="1242"/>
                  </a:lnTo>
                  <a:lnTo>
                    <a:pt x="804" y="1242"/>
                  </a:lnTo>
                  <a:lnTo>
                    <a:pt x="804" y="1206"/>
                  </a:lnTo>
                  <a:lnTo>
                    <a:pt x="804" y="1182"/>
                  </a:lnTo>
                  <a:lnTo>
                    <a:pt x="804" y="1158"/>
                  </a:lnTo>
                  <a:lnTo>
                    <a:pt x="804" y="1134"/>
                  </a:lnTo>
                  <a:lnTo>
                    <a:pt x="798" y="1116"/>
                  </a:lnTo>
                  <a:lnTo>
                    <a:pt x="792" y="1092"/>
                  </a:lnTo>
                  <a:lnTo>
                    <a:pt x="786" y="1062"/>
                  </a:lnTo>
                  <a:lnTo>
                    <a:pt x="768" y="1032"/>
                  </a:lnTo>
                  <a:lnTo>
                    <a:pt x="762" y="1032"/>
                  </a:lnTo>
                  <a:lnTo>
                    <a:pt x="762" y="1020"/>
                  </a:lnTo>
                  <a:lnTo>
                    <a:pt x="762" y="1014"/>
                  </a:lnTo>
                  <a:lnTo>
                    <a:pt x="756" y="1008"/>
                  </a:lnTo>
                  <a:lnTo>
                    <a:pt x="750" y="1002"/>
                  </a:lnTo>
                  <a:lnTo>
                    <a:pt x="738" y="1002"/>
                  </a:lnTo>
                  <a:lnTo>
                    <a:pt x="738" y="990"/>
                  </a:lnTo>
                  <a:lnTo>
                    <a:pt x="726" y="990"/>
                  </a:lnTo>
                  <a:lnTo>
                    <a:pt x="726" y="978"/>
                  </a:lnTo>
                  <a:lnTo>
                    <a:pt x="732" y="972"/>
                  </a:lnTo>
                  <a:lnTo>
                    <a:pt x="732" y="966"/>
                  </a:lnTo>
                  <a:lnTo>
                    <a:pt x="726" y="966"/>
                  </a:lnTo>
                  <a:lnTo>
                    <a:pt x="732" y="948"/>
                  </a:lnTo>
                  <a:lnTo>
                    <a:pt x="726" y="942"/>
                  </a:lnTo>
                  <a:lnTo>
                    <a:pt x="726" y="930"/>
                  </a:lnTo>
                  <a:lnTo>
                    <a:pt x="720" y="924"/>
                  </a:lnTo>
                  <a:lnTo>
                    <a:pt x="714" y="912"/>
                  </a:lnTo>
                  <a:lnTo>
                    <a:pt x="714" y="882"/>
                  </a:lnTo>
                  <a:lnTo>
                    <a:pt x="714" y="870"/>
                  </a:lnTo>
                  <a:lnTo>
                    <a:pt x="714" y="858"/>
                  </a:lnTo>
                  <a:lnTo>
                    <a:pt x="714" y="846"/>
                  </a:lnTo>
                  <a:lnTo>
                    <a:pt x="708" y="822"/>
                  </a:lnTo>
                  <a:lnTo>
                    <a:pt x="702" y="798"/>
                  </a:lnTo>
                  <a:lnTo>
                    <a:pt x="696" y="792"/>
                  </a:lnTo>
                  <a:lnTo>
                    <a:pt x="684" y="726"/>
                  </a:lnTo>
                  <a:lnTo>
                    <a:pt x="678" y="666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66" y="600"/>
                  </a:lnTo>
                  <a:lnTo>
                    <a:pt x="660" y="594"/>
                  </a:lnTo>
                  <a:lnTo>
                    <a:pt x="654" y="594"/>
                  </a:lnTo>
                  <a:lnTo>
                    <a:pt x="636" y="582"/>
                  </a:lnTo>
                  <a:lnTo>
                    <a:pt x="630" y="576"/>
                  </a:lnTo>
                  <a:lnTo>
                    <a:pt x="624" y="576"/>
                  </a:lnTo>
                  <a:lnTo>
                    <a:pt x="618" y="570"/>
                  </a:lnTo>
                  <a:lnTo>
                    <a:pt x="612" y="564"/>
                  </a:lnTo>
                  <a:lnTo>
                    <a:pt x="606" y="558"/>
                  </a:lnTo>
                  <a:lnTo>
                    <a:pt x="606" y="564"/>
                  </a:lnTo>
                  <a:lnTo>
                    <a:pt x="600" y="564"/>
                  </a:lnTo>
                  <a:lnTo>
                    <a:pt x="594" y="558"/>
                  </a:lnTo>
                  <a:lnTo>
                    <a:pt x="594" y="540"/>
                  </a:lnTo>
                  <a:lnTo>
                    <a:pt x="594" y="528"/>
                  </a:lnTo>
                  <a:lnTo>
                    <a:pt x="594" y="516"/>
                  </a:lnTo>
                  <a:lnTo>
                    <a:pt x="594" y="510"/>
                  </a:lnTo>
                  <a:lnTo>
                    <a:pt x="594" y="492"/>
                  </a:lnTo>
                  <a:lnTo>
                    <a:pt x="594" y="456"/>
                  </a:lnTo>
                  <a:lnTo>
                    <a:pt x="588" y="414"/>
                  </a:lnTo>
                  <a:lnTo>
                    <a:pt x="588" y="408"/>
                  </a:lnTo>
                  <a:lnTo>
                    <a:pt x="582" y="396"/>
                  </a:lnTo>
                  <a:lnTo>
                    <a:pt x="582" y="384"/>
                  </a:lnTo>
                  <a:lnTo>
                    <a:pt x="582" y="372"/>
                  </a:lnTo>
                  <a:lnTo>
                    <a:pt x="564" y="372"/>
                  </a:lnTo>
                  <a:lnTo>
                    <a:pt x="552" y="366"/>
                  </a:lnTo>
                  <a:lnTo>
                    <a:pt x="552" y="372"/>
                  </a:lnTo>
                  <a:lnTo>
                    <a:pt x="498" y="372"/>
                  </a:lnTo>
                  <a:lnTo>
                    <a:pt x="498" y="366"/>
                  </a:lnTo>
                  <a:lnTo>
                    <a:pt x="474" y="360"/>
                  </a:lnTo>
                  <a:lnTo>
                    <a:pt x="456" y="354"/>
                  </a:lnTo>
                  <a:lnTo>
                    <a:pt x="438" y="348"/>
                  </a:lnTo>
                  <a:lnTo>
                    <a:pt x="426" y="354"/>
                  </a:lnTo>
                  <a:lnTo>
                    <a:pt x="408" y="360"/>
                  </a:lnTo>
                  <a:lnTo>
                    <a:pt x="378" y="360"/>
                  </a:lnTo>
                  <a:lnTo>
                    <a:pt x="378" y="354"/>
                  </a:lnTo>
                  <a:lnTo>
                    <a:pt x="378" y="348"/>
                  </a:lnTo>
                  <a:lnTo>
                    <a:pt x="378" y="342"/>
                  </a:lnTo>
                  <a:lnTo>
                    <a:pt x="390" y="330"/>
                  </a:lnTo>
                  <a:lnTo>
                    <a:pt x="396" y="312"/>
                  </a:lnTo>
                  <a:lnTo>
                    <a:pt x="396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8"/>
                  </a:lnTo>
                  <a:lnTo>
                    <a:pt x="372" y="234"/>
                  </a:lnTo>
                  <a:lnTo>
                    <a:pt x="354" y="234"/>
                  </a:lnTo>
                  <a:lnTo>
                    <a:pt x="342" y="246"/>
                  </a:lnTo>
                  <a:lnTo>
                    <a:pt x="330" y="252"/>
                  </a:lnTo>
                  <a:lnTo>
                    <a:pt x="318" y="252"/>
                  </a:lnTo>
                  <a:lnTo>
                    <a:pt x="276" y="258"/>
                  </a:lnTo>
                  <a:lnTo>
                    <a:pt x="276" y="264"/>
                  </a:lnTo>
                  <a:lnTo>
                    <a:pt x="252" y="270"/>
                  </a:lnTo>
                  <a:lnTo>
                    <a:pt x="240" y="270"/>
                  </a:lnTo>
                  <a:lnTo>
                    <a:pt x="228" y="276"/>
                  </a:lnTo>
                  <a:lnTo>
                    <a:pt x="210" y="282"/>
                  </a:lnTo>
                  <a:lnTo>
                    <a:pt x="198" y="288"/>
                  </a:lnTo>
                  <a:lnTo>
                    <a:pt x="186" y="294"/>
                  </a:lnTo>
                  <a:lnTo>
                    <a:pt x="174" y="330"/>
                  </a:lnTo>
                  <a:lnTo>
                    <a:pt x="162" y="342"/>
                  </a:lnTo>
                  <a:lnTo>
                    <a:pt x="156" y="354"/>
                  </a:lnTo>
                  <a:lnTo>
                    <a:pt x="150" y="360"/>
                  </a:lnTo>
                  <a:lnTo>
                    <a:pt x="150" y="366"/>
                  </a:lnTo>
                  <a:lnTo>
                    <a:pt x="108" y="372"/>
                  </a:lnTo>
                  <a:lnTo>
                    <a:pt x="60" y="378"/>
                  </a:lnTo>
                  <a:lnTo>
                    <a:pt x="42" y="378"/>
                  </a:lnTo>
                  <a:lnTo>
                    <a:pt x="12" y="378"/>
                  </a:lnTo>
                  <a:lnTo>
                    <a:pt x="6" y="378"/>
                  </a:lnTo>
                  <a:lnTo>
                    <a:pt x="0" y="366"/>
                  </a:lnTo>
                  <a:lnTo>
                    <a:pt x="12" y="360"/>
                  </a:lnTo>
                  <a:lnTo>
                    <a:pt x="24" y="348"/>
                  </a:lnTo>
                  <a:lnTo>
                    <a:pt x="30" y="342"/>
                  </a:lnTo>
                  <a:lnTo>
                    <a:pt x="36" y="330"/>
                  </a:lnTo>
                  <a:lnTo>
                    <a:pt x="72" y="300"/>
                  </a:lnTo>
                  <a:lnTo>
                    <a:pt x="78" y="294"/>
                  </a:lnTo>
                  <a:lnTo>
                    <a:pt x="78" y="288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96" y="270"/>
                  </a:lnTo>
                  <a:lnTo>
                    <a:pt x="102" y="264"/>
                  </a:lnTo>
                  <a:lnTo>
                    <a:pt x="108" y="258"/>
                  </a:lnTo>
                  <a:lnTo>
                    <a:pt x="114" y="246"/>
                  </a:lnTo>
                  <a:lnTo>
                    <a:pt x="120" y="240"/>
                  </a:lnTo>
                  <a:lnTo>
                    <a:pt x="126" y="234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0" y="210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86" y="174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22" y="138"/>
                  </a:lnTo>
                  <a:lnTo>
                    <a:pt x="234" y="132"/>
                  </a:lnTo>
                  <a:lnTo>
                    <a:pt x="246" y="126"/>
                  </a:lnTo>
                  <a:lnTo>
                    <a:pt x="246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88" y="102"/>
                  </a:lnTo>
                  <a:lnTo>
                    <a:pt x="300" y="96"/>
                  </a:lnTo>
                  <a:lnTo>
                    <a:pt x="306" y="90"/>
                  </a:lnTo>
                  <a:lnTo>
                    <a:pt x="318" y="90"/>
                  </a:lnTo>
                  <a:lnTo>
                    <a:pt x="324" y="84"/>
                  </a:lnTo>
                  <a:lnTo>
                    <a:pt x="348" y="72"/>
                  </a:lnTo>
                  <a:lnTo>
                    <a:pt x="354" y="72"/>
                  </a:lnTo>
                  <a:lnTo>
                    <a:pt x="384" y="66"/>
                  </a:lnTo>
                  <a:lnTo>
                    <a:pt x="390" y="66"/>
                  </a:lnTo>
                  <a:lnTo>
                    <a:pt x="396" y="66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66"/>
                  </a:lnTo>
                  <a:lnTo>
                    <a:pt x="438" y="66"/>
                  </a:lnTo>
                  <a:lnTo>
                    <a:pt x="468" y="66"/>
                  </a:lnTo>
                  <a:lnTo>
                    <a:pt x="480" y="66"/>
                  </a:lnTo>
                  <a:lnTo>
                    <a:pt x="486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22" y="60"/>
                  </a:lnTo>
                  <a:lnTo>
                    <a:pt x="534" y="54"/>
                  </a:lnTo>
                  <a:lnTo>
                    <a:pt x="564" y="42"/>
                  </a:lnTo>
                  <a:lnTo>
                    <a:pt x="570" y="42"/>
                  </a:lnTo>
                  <a:lnTo>
                    <a:pt x="582" y="36"/>
                  </a:lnTo>
                  <a:lnTo>
                    <a:pt x="588" y="36"/>
                  </a:lnTo>
                  <a:lnTo>
                    <a:pt x="600" y="30"/>
                  </a:lnTo>
                  <a:lnTo>
                    <a:pt x="606" y="30"/>
                  </a:lnTo>
                  <a:lnTo>
                    <a:pt x="618" y="24"/>
                  </a:lnTo>
                  <a:lnTo>
                    <a:pt x="642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72" y="12"/>
                  </a:lnTo>
                  <a:lnTo>
                    <a:pt x="696" y="12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50" y="6"/>
                  </a:lnTo>
                  <a:lnTo>
                    <a:pt x="768" y="6"/>
                  </a:lnTo>
                  <a:lnTo>
                    <a:pt x="774" y="6"/>
                  </a:lnTo>
                  <a:lnTo>
                    <a:pt x="786" y="6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6" y="6"/>
                  </a:lnTo>
                  <a:lnTo>
                    <a:pt x="846" y="6"/>
                  </a:lnTo>
                  <a:lnTo>
                    <a:pt x="852" y="0"/>
                  </a:lnTo>
                  <a:lnTo>
                    <a:pt x="876" y="0"/>
                  </a:lnTo>
                  <a:lnTo>
                    <a:pt x="876" y="6"/>
                  </a:lnTo>
                  <a:lnTo>
                    <a:pt x="888" y="0"/>
                  </a:lnTo>
                  <a:lnTo>
                    <a:pt x="900" y="0"/>
                  </a:lnTo>
                  <a:lnTo>
                    <a:pt x="906" y="0"/>
                  </a:lnTo>
                  <a:lnTo>
                    <a:pt x="912" y="0"/>
                  </a:lnTo>
                  <a:lnTo>
                    <a:pt x="948" y="0"/>
                  </a:lnTo>
                  <a:lnTo>
                    <a:pt x="954" y="0"/>
                  </a:lnTo>
                  <a:lnTo>
                    <a:pt x="972" y="0"/>
                  </a:lnTo>
                  <a:lnTo>
                    <a:pt x="978" y="0"/>
                  </a:lnTo>
                  <a:lnTo>
                    <a:pt x="996" y="0"/>
                  </a:lnTo>
                  <a:lnTo>
                    <a:pt x="1032" y="0"/>
                  </a:lnTo>
                  <a:lnTo>
                    <a:pt x="1044" y="0"/>
                  </a:lnTo>
                  <a:lnTo>
                    <a:pt x="1050" y="0"/>
                  </a:lnTo>
                  <a:lnTo>
                    <a:pt x="1056" y="6"/>
                  </a:lnTo>
                  <a:lnTo>
                    <a:pt x="1056" y="0"/>
                  </a:lnTo>
                  <a:lnTo>
                    <a:pt x="1074" y="0"/>
                  </a:lnTo>
                  <a:lnTo>
                    <a:pt x="1098" y="6"/>
                  </a:lnTo>
                  <a:lnTo>
                    <a:pt x="1116" y="6"/>
                  </a:lnTo>
                  <a:lnTo>
                    <a:pt x="1140" y="12"/>
                  </a:lnTo>
                  <a:lnTo>
                    <a:pt x="1152" y="12"/>
                  </a:lnTo>
                  <a:lnTo>
                    <a:pt x="1158" y="12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6" y="12"/>
                  </a:lnTo>
                  <a:lnTo>
                    <a:pt x="1194" y="18"/>
                  </a:lnTo>
                  <a:lnTo>
                    <a:pt x="1206" y="18"/>
                  </a:lnTo>
                  <a:lnTo>
                    <a:pt x="1242" y="36"/>
                  </a:lnTo>
                  <a:lnTo>
                    <a:pt x="1248" y="36"/>
                  </a:lnTo>
                  <a:lnTo>
                    <a:pt x="1254" y="36"/>
                  </a:lnTo>
                  <a:lnTo>
                    <a:pt x="1260" y="42"/>
                  </a:lnTo>
                  <a:lnTo>
                    <a:pt x="1272" y="48"/>
                  </a:lnTo>
                  <a:lnTo>
                    <a:pt x="1278" y="48"/>
                  </a:lnTo>
                  <a:lnTo>
                    <a:pt x="1284" y="48"/>
                  </a:lnTo>
                  <a:lnTo>
                    <a:pt x="1290" y="54"/>
                  </a:lnTo>
                  <a:lnTo>
                    <a:pt x="1308" y="60"/>
                  </a:lnTo>
                  <a:lnTo>
                    <a:pt x="1326" y="60"/>
                  </a:lnTo>
                  <a:lnTo>
                    <a:pt x="1338" y="66"/>
                  </a:lnTo>
                  <a:lnTo>
                    <a:pt x="1344" y="66"/>
                  </a:lnTo>
                  <a:lnTo>
                    <a:pt x="1350" y="66"/>
                  </a:lnTo>
                  <a:lnTo>
                    <a:pt x="1356" y="66"/>
                  </a:lnTo>
                  <a:lnTo>
                    <a:pt x="1362" y="72"/>
                  </a:lnTo>
                  <a:lnTo>
                    <a:pt x="1368" y="72"/>
                  </a:lnTo>
                  <a:lnTo>
                    <a:pt x="1380" y="72"/>
                  </a:lnTo>
                  <a:lnTo>
                    <a:pt x="1386" y="72"/>
                  </a:lnTo>
                  <a:lnTo>
                    <a:pt x="1422" y="84"/>
                  </a:lnTo>
                  <a:lnTo>
                    <a:pt x="1428" y="84"/>
                  </a:lnTo>
                  <a:lnTo>
                    <a:pt x="1446" y="90"/>
                  </a:lnTo>
                  <a:lnTo>
                    <a:pt x="1458" y="102"/>
                  </a:lnTo>
                  <a:lnTo>
                    <a:pt x="1494" y="126"/>
                  </a:lnTo>
                  <a:lnTo>
                    <a:pt x="1500" y="132"/>
                  </a:lnTo>
                  <a:lnTo>
                    <a:pt x="1512" y="138"/>
                  </a:lnTo>
                  <a:lnTo>
                    <a:pt x="1512" y="144"/>
                  </a:lnTo>
                  <a:lnTo>
                    <a:pt x="1518" y="150"/>
                  </a:lnTo>
                  <a:lnTo>
                    <a:pt x="1530" y="156"/>
                  </a:lnTo>
                  <a:lnTo>
                    <a:pt x="1530" y="162"/>
                  </a:lnTo>
                  <a:lnTo>
                    <a:pt x="1548" y="168"/>
                  </a:lnTo>
                  <a:lnTo>
                    <a:pt x="1566" y="180"/>
                  </a:lnTo>
                  <a:lnTo>
                    <a:pt x="1578" y="186"/>
                  </a:lnTo>
                  <a:lnTo>
                    <a:pt x="1578" y="180"/>
                  </a:lnTo>
                  <a:lnTo>
                    <a:pt x="1584" y="186"/>
                  </a:lnTo>
                  <a:lnTo>
                    <a:pt x="1584" y="174"/>
                  </a:lnTo>
                  <a:lnTo>
                    <a:pt x="1590" y="174"/>
                  </a:lnTo>
                  <a:lnTo>
                    <a:pt x="1590" y="180"/>
                  </a:lnTo>
                  <a:lnTo>
                    <a:pt x="1596" y="180"/>
                  </a:lnTo>
                  <a:lnTo>
                    <a:pt x="1596" y="174"/>
                  </a:lnTo>
                  <a:lnTo>
                    <a:pt x="1602" y="174"/>
                  </a:lnTo>
                  <a:lnTo>
                    <a:pt x="1608" y="174"/>
                  </a:lnTo>
                  <a:lnTo>
                    <a:pt x="1614" y="180"/>
                  </a:lnTo>
                  <a:lnTo>
                    <a:pt x="1620" y="174"/>
                  </a:lnTo>
                  <a:lnTo>
                    <a:pt x="1614" y="168"/>
                  </a:lnTo>
                  <a:lnTo>
                    <a:pt x="1614" y="162"/>
                  </a:lnTo>
                  <a:lnTo>
                    <a:pt x="1620" y="162"/>
                  </a:lnTo>
                  <a:lnTo>
                    <a:pt x="1626" y="162"/>
                  </a:lnTo>
                  <a:lnTo>
                    <a:pt x="1632" y="162"/>
                  </a:lnTo>
                  <a:lnTo>
                    <a:pt x="1638" y="168"/>
                  </a:lnTo>
                  <a:lnTo>
                    <a:pt x="1644" y="168"/>
                  </a:lnTo>
                  <a:lnTo>
                    <a:pt x="1650" y="174"/>
                  </a:lnTo>
                  <a:lnTo>
                    <a:pt x="1656" y="168"/>
                  </a:lnTo>
                  <a:lnTo>
                    <a:pt x="1668" y="168"/>
                  </a:lnTo>
                  <a:lnTo>
                    <a:pt x="1674" y="174"/>
                  </a:lnTo>
                  <a:lnTo>
                    <a:pt x="1674" y="180"/>
                  </a:lnTo>
                  <a:lnTo>
                    <a:pt x="1674" y="186"/>
                  </a:lnTo>
                  <a:lnTo>
                    <a:pt x="1680" y="186"/>
                  </a:lnTo>
                  <a:lnTo>
                    <a:pt x="1680" y="192"/>
                  </a:lnTo>
                  <a:lnTo>
                    <a:pt x="1686" y="192"/>
                  </a:lnTo>
                  <a:lnTo>
                    <a:pt x="1686" y="186"/>
                  </a:lnTo>
                  <a:lnTo>
                    <a:pt x="1680" y="186"/>
                  </a:lnTo>
                  <a:lnTo>
                    <a:pt x="1686" y="180"/>
                  </a:lnTo>
                  <a:lnTo>
                    <a:pt x="1692" y="180"/>
                  </a:lnTo>
                  <a:lnTo>
                    <a:pt x="1698" y="180"/>
                  </a:lnTo>
                  <a:lnTo>
                    <a:pt x="1704" y="180"/>
                  </a:lnTo>
                  <a:lnTo>
                    <a:pt x="1704" y="186"/>
                  </a:lnTo>
                  <a:lnTo>
                    <a:pt x="1710" y="186"/>
                  </a:lnTo>
                  <a:lnTo>
                    <a:pt x="1716" y="186"/>
                  </a:lnTo>
                  <a:lnTo>
                    <a:pt x="1716" y="192"/>
                  </a:lnTo>
                  <a:lnTo>
                    <a:pt x="1716" y="198"/>
                  </a:lnTo>
                  <a:lnTo>
                    <a:pt x="1722" y="192"/>
                  </a:lnTo>
                  <a:lnTo>
                    <a:pt x="1722" y="186"/>
                  </a:lnTo>
                  <a:lnTo>
                    <a:pt x="1728" y="192"/>
                  </a:lnTo>
                  <a:lnTo>
                    <a:pt x="1734" y="192"/>
                  </a:lnTo>
                  <a:lnTo>
                    <a:pt x="1734" y="186"/>
                  </a:lnTo>
                  <a:lnTo>
                    <a:pt x="1740" y="186"/>
                  </a:lnTo>
                  <a:lnTo>
                    <a:pt x="1740" y="192"/>
                  </a:lnTo>
                  <a:lnTo>
                    <a:pt x="1746" y="192"/>
                  </a:lnTo>
                  <a:lnTo>
                    <a:pt x="1758" y="192"/>
                  </a:lnTo>
                  <a:lnTo>
                    <a:pt x="1764" y="192"/>
                  </a:lnTo>
                  <a:lnTo>
                    <a:pt x="1764" y="198"/>
                  </a:lnTo>
                  <a:lnTo>
                    <a:pt x="1758" y="204"/>
                  </a:lnTo>
                  <a:lnTo>
                    <a:pt x="1752" y="210"/>
                  </a:lnTo>
                  <a:lnTo>
                    <a:pt x="1746" y="216"/>
                  </a:lnTo>
                  <a:lnTo>
                    <a:pt x="1746" y="222"/>
                  </a:lnTo>
                  <a:lnTo>
                    <a:pt x="1734" y="228"/>
                  </a:lnTo>
                  <a:lnTo>
                    <a:pt x="1734" y="234"/>
                  </a:lnTo>
                  <a:lnTo>
                    <a:pt x="1734" y="258"/>
                  </a:lnTo>
                  <a:lnTo>
                    <a:pt x="1740" y="330"/>
                  </a:lnTo>
                  <a:lnTo>
                    <a:pt x="1746" y="372"/>
                  </a:lnTo>
                  <a:lnTo>
                    <a:pt x="1788" y="426"/>
                  </a:lnTo>
                  <a:lnTo>
                    <a:pt x="1806" y="438"/>
                  </a:lnTo>
                  <a:lnTo>
                    <a:pt x="1794" y="480"/>
                  </a:lnTo>
                  <a:lnTo>
                    <a:pt x="1770" y="516"/>
                  </a:lnTo>
                  <a:lnTo>
                    <a:pt x="1746" y="546"/>
                  </a:lnTo>
                  <a:lnTo>
                    <a:pt x="1716" y="570"/>
                  </a:lnTo>
                  <a:lnTo>
                    <a:pt x="1680" y="594"/>
                  </a:lnTo>
                  <a:lnTo>
                    <a:pt x="1668" y="630"/>
                  </a:lnTo>
                  <a:lnTo>
                    <a:pt x="1680" y="684"/>
                  </a:lnTo>
                  <a:lnTo>
                    <a:pt x="1686" y="756"/>
                  </a:lnTo>
                  <a:lnTo>
                    <a:pt x="1662" y="870"/>
                  </a:lnTo>
                  <a:lnTo>
                    <a:pt x="1656" y="888"/>
                  </a:lnTo>
                  <a:lnTo>
                    <a:pt x="1650" y="972"/>
                  </a:lnTo>
                  <a:lnTo>
                    <a:pt x="1656" y="978"/>
                  </a:lnTo>
                  <a:lnTo>
                    <a:pt x="1650" y="984"/>
                  </a:lnTo>
                  <a:lnTo>
                    <a:pt x="1650" y="990"/>
                  </a:lnTo>
                  <a:lnTo>
                    <a:pt x="1650" y="1002"/>
                  </a:lnTo>
                  <a:lnTo>
                    <a:pt x="1656" y="1008"/>
                  </a:lnTo>
                  <a:lnTo>
                    <a:pt x="1656" y="1014"/>
                  </a:lnTo>
                  <a:lnTo>
                    <a:pt x="1662" y="1026"/>
                  </a:lnTo>
                  <a:lnTo>
                    <a:pt x="1650" y="1032"/>
                  </a:lnTo>
                  <a:lnTo>
                    <a:pt x="1638" y="1044"/>
                  </a:lnTo>
                  <a:lnTo>
                    <a:pt x="1626" y="1080"/>
                  </a:lnTo>
                  <a:lnTo>
                    <a:pt x="1614" y="1116"/>
                  </a:lnTo>
                  <a:lnTo>
                    <a:pt x="1614" y="1128"/>
                  </a:lnTo>
                  <a:lnTo>
                    <a:pt x="1626" y="1134"/>
                  </a:lnTo>
                  <a:lnTo>
                    <a:pt x="1644" y="1134"/>
                  </a:lnTo>
                  <a:lnTo>
                    <a:pt x="1662" y="1134"/>
                  </a:lnTo>
                  <a:lnTo>
                    <a:pt x="1680" y="1140"/>
                  </a:lnTo>
                  <a:lnTo>
                    <a:pt x="1698" y="1170"/>
                  </a:lnTo>
                  <a:lnTo>
                    <a:pt x="1704" y="1194"/>
                  </a:lnTo>
                  <a:lnTo>
                    <a:pt x="1692" y="1206"/>
                  </a:lnTo>
                  <a:lnTo>
                    <a:pt x="1662" y="1242"/>
                  </a:lnTo>
                  <a:lnTo>
                    <a:pt x="1632" y="1266"/>
                  </a:lnTo>
                  <a:lnTo>
                    <a:pt x="1620" y="1314"/>
                  </a:lnTo>
                  <a:lnTo>
                    <a:pt x="1584" y="1356"/>
                  </a:lnTo>
                  <a:lnTo>
                    <a:pt x="1578" y="1356"/>
                  </a:lnTo>
                  <a:lnTo>
                    <a:pt x="1578" y="1362"/>
                  </a:lnTo>
                  <a:lnTo>
                    <a:pt x="1572" y="1410"/>
                  </a:lnTo>
                  <a:lnTo>
                    <a:pt x="1584" y="1452"/>
                  </a:lnTo>
                  <a:lnTo>
                    <a:pt x="1608" y="1476"/>
                  </a:lnTo>
                  <a:lnTo>
                    <a:pt x="1596" y="1476"/>
                  </a:lnTo>
                  <a:lnTo>
                    <a:pt x="1584" y="1482"/>
                  </a:lnTo>
                  <a:lnTo>
                    <a:pt x="1560" y="1482"/>
                  </a:lnTo>
                  <a:lnTo>
                    <a:pt x="1536" y="1482"/>
                  </a:lnTo>
                  <a:lnTo>
                    <a:pt x="1524" y="1482"/>
                  </a:lnTo>
                  <a:lnTo>
                    <a:pt x="1506" y="1500"/>
                  </a:lnTo>
                  <a:lnTo>
                    <a:pt x="1482" y="1530"/>
                  </a:lnTo>
                  <a:lnTo>
                    <a:pt x="1452" y="1542"/>
                  </a:lnTo>
                  <a:lnTo>
                    <a:pt x="1446" y="1542"/>
                  </a:lnTo>
                  <a:lnTo>
                    <a:pt x="1440" y="1542"/>
                  </a:lnTo>
                  <a:lnTo>
                    <a:pt x="1440" y="1548"/>
                  </a:lnTo>
                  <a:lnTo>
                    <a:pt x="1434" y="1548"/>
                  </a:lnTo>
                  <a:lnTo>
                    <a:pt x="1428" y="1548"/>
                  </a:lnTo>
                  <a:lnTo>
                    <a:pt x="1428" y="1554"/>
                  </a:lnTo>
                  <a:lnTo>
                    <a:pt x="1422" y="1560"/>
                  </a:lnTo>
                  <a:lnTo>
                    <a:pt x="1416" y="1560"/>
                  </a:lnTo>
                  <a:lnTo>
                    <a:pt x="1410" y="1566"/>
                  </a:lnTo>
                  <a:lnTo>
                    <a:pt x="1410" y="1560"/>
                  </a:lnTo>
                  <a:lnTo>
                    <a:pt x="1404" y="1560"/>
                  </a:lnTo>
                  <a:lnTo>
                    <a:pt x="1392" y="1560"/>
                  </a:lnTo>
                  <a:lnTo>
                    <a:pt x="1386" y="1560"/>
                  </a:lnTo>
                  <a:lnTo>
                    <a:pt x="1380" y="1566"/>
                  </a:lnTo>
                  <a:lnTo>
                    <a:pt x="1374" y="1560"/>
                  </a:lnTo>
                  <a:lnTo>
                    <a:pt x="1368" y="1566"/>
                  </a:lnTo>
                  <a:lnTo>
                    <a:pt x="1362" y="1566"/>
                  </a:lnTo>
                  <a:lnTo>
                    <a:pt x="1362" y="1572"/>
                  </a:lnTo>
                  <a:lnTo>
                    <a:pt x="1356" y="1572"/>
                  </a:lnTo>
                  <a:lnTo>
                    <a:pt x="1356" y="1578"/>
                  </a:lnTo>
                  <a:lnTo>
                    <a:pt x="1350" y="1578"/>
                  </a:lnTo>
                  <a:lnTo>
                    <a:pt x="1350" y="1572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32" y="1584"/>
                  </a:lnTo>
                  <a:lnTo>
                    <a:pt x="1326" y="1590"/>
                  </a:lnTo>
                  <a:lnTo>
                    <a:pt x="1320" y="1584"/>
                  </a:lnTo>
                  <a:lnTo>
                    <a:pt x="1314" y="1590"/>
                  </a:lnTo>
                  <a:lnTo>
                    <a:pt x="1308" y="1596"/>
                  </a:lnTo>
                  <a:lnTo>
                    <a:pt x="1302" y="1596"/>
                  </a:lnTo>
                  <a:lnTo>
                    <a:pt x="1296" y="1596"/>
                  </a:lnTo>
                  <a:lnTo>
                    <a:pt x="1290" y="1596"/>
                  </a:lnTo>
                  <a:lnTo>
                    <a:pt x="1284" y="1596"/>
                  </a:lnTo>
                  <a:lnTo>
                    <a:pt x="1278" y="1602"/>
                  </a:lnTo>
                  <a:lnTo>
                    <a:pt x="1266" y="1602"/>
                  </a:lnTo>
                  <a:lnTo>
                    <a:pt x="1272" y="1608"/>
                  </a:lnTo>
                  <a:lnTo>
                    <a:pt x="1278" y="1608"/>
                  </a:lnTo>
                  <a:lnTo>
                    <a:pt x="1284" y="1608"/>
                  </a:lnTo>
                  <a:lnTo>
                    <a:pt x="1290" y="1614"/>
                  </a:lnTo>
                  <a:lnTo>
                    <a:pt x="1296" y="1620"/>
                  </a:lnTo>
                  <a:lnTo>
                    <a:pt x="1302" y="1626"/>
                  </a:lnTo>
                  <a:lnTo>
                    <a:pt x="1308" y="1632"/>
                  </a:lnTo>
                  <a:lnTo>
                    <a:pt x="1314" y="1638"/>
                  </a:lnTo>
                  <a:lnTo>
                    <a:pt x="1314" y="1644"/>
                  </a:lnTo>
                  <a:lnTo>
                    <a:pt x="1320" y="1644"/>
                  </a:lnTo>
                  <a:lnTo>
                    <a:pt x="1320" y="1650"/>
                  </a:lnTo>
                  <a:lnTo>
                    <a:pt x="1326" y="1656"/>
                  </a:lnTo>
                  <a:lnTo>
                    <a:pt x="1332" y="1668"/>
                  </a:lnTo>
                  <a:lnTo>
                    <a:pt x="1338" y="1680"/>
                  </a:lnTo>
                  <a:lnTo>
                    <a:pt x="1338" y="1698"/>
                  </a:lnTo>
                  <a:lnTo>
                    <a:pt x="1350" y="1710"/>
                  </a:lnTo>
                  <a:lnTo>
                    <a:pt x="1350" y="1716"/>
                  </a:lnTo>
                  <a:lnTo>
                    <a:pt x="1350" y="1722"/>
                  </a:lnTo>
                  <a:lnTo>
                    <a:pt x="1350" y="1728"/>
                  </a:lnTo>
                  <a:lnTo>
                    <a:pt x="1356" y="1728"/>
                  </a:lnTo>
                  <a:lnTo>
                    <a:pt x="1356" y="1734"/>
                  </a:lnTo>
                  <a:lnTo>
                    <a:pt x="1350" y="1734"/>
                  </a:lnTo>
                  <a:lnTo>
                    <a:pt x="1344" y="1740"/>
                  </a:lnTo>
                  <a:lnTo>
                    <a:pt x="1338" y="1740"/>
                  </a:lnTo>
                  <a:lnTo>
                    <a:pt x="1332" y="1746"/>
                  </a:lnTo>
                  <a:lnTo>
                    <a:pt x="1326" y="1746"/>
                  </a:lnTo>
                  <a:lnTo>
                    <a:pt x="1326" y="1752"/>
                  </a:lnTo>
                  <a:lnTo>
                    <a:pt x="1320" y="1752"/>
                  </a:lnTo>
                  <a:lnTo>
                    <a:pt x="1320" y="1758"/>
                  </a:lnTo>
                  <a:lnTo>
                    <a:pt x="1314" y="1758"/>
                  </a:lnTo>
                  <a:lnTo>
                    <a:pt x="1308" y="1758"/>
                  </a:lnTo>
                  <a:lnTo>
                    <a:pt x="1302" y="1758"/>
                  </a:lnTo>
                  <a:lnTo>
                    <a:pt x="1296" y="1758"/>
                  </a:lnTo>
                  <a:lnTo>
                    <a:pt x="1290" y="1764"/>
                  </a:lnTo>
                  <a:lnTo>
                    <a:pt x="1284" y="1770"/>
                  </a:lnTo>
                  <a:lnTo>
                    <a:pt x="1278" y="1770"/>
                  </a:lnTo>
                  <a:lnTo>
                    <a:pt x="1272" y="1770"/>
                  </a:lnTo>
                  <a:lnTo>
                    <a:pt x="1266" y="1770"/>
                  </a:lnTo>
                  <a:lnTo>
                    <a:pt x="1266" y="1776"/>
                  </a:lnTo>
                  <a:lnTo>
                    <a:pt x="1260" y="1776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4" name="Freeform 39">
              <a:extLst>
                <a:ext uri="{FF2B5EF4-FFF2-40B4-BE49-F238E27FC236}">
                  <a16:creationId xmlns:a16="http://schemas.microsoft.com/office/drawing/2014/main" id="{E01CDA8B-32C7-421A-B23E-968CAC7F78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2974" y="1759680"/>
              <a:ext cx="825155" cy="700024"/>
            </a:xfrm>
            <a:custGeom>
              <a:avLst/>
              <a:gdLst>
                <a:gd name="T0" fmla="*/ 60 w 1554"/>
                <a:gd name="T1" fmla="*/ 86 h 1320"/>
                <a:gd name="T2" fmla="*/ 66 w 1554"/>
                <a:gd name="T3" fmla="*/ 80 h 1320"/>
                <a:gd name="T4" fmla="*/ 61 w 1554"/>
                <a:gd name="T5" fmla="*/ 73 h 1320"/>
                <a:gd name="T6" fmla="*/ 57 w 1554"/>
                <a:gd name="T7" fmla="*/ 67 h 1320"/>
                <a:gd name="T8" fmla="*/ 60 w 1554"/>
                <a:gd name="T9" fmla="*/ 59 h 1320"/>
                <a:gd name="T10" fmla="*/ 56 w 1554"/>
                <a:gd name="T11" fmla="*/ 55 h 1320"/>
                <a:gd name="T12" fmla="*/ 45 w 1554"/>
                <a:gd name="T13" fmla="*/ 53 h 1320"/>
                <a:gd name="T14" fmla="*/ 42 w 1554"/>
                <a:gd name="T15" fmla="*/ 41 h 1320"/>
                <a:gd name="T16" fmla="*/ 37 w 1554"/>
                <a:gd name="T17" fmla="*/ 39 h 1320"/>
                <a:gd name="T18" fmla="*/ 31 w 1554"/>
                <a:gd name="T19" fmla="*/ 44 h 1320"/>
                <a:gd name="T20" fmla="*/ 37 w 1554"/>
                <a:gd name="T21" fmla="*/ 35 h 1320"/>
                <a:gd name="T22" fmla="*/ 30 w 1554"/>
                <a:gd name="T23" fmla="*/ 23 h 1320"/>
                <a:gd name="T24" fmla="*/ 21 w 1554"/>
                <a:gd name="T25" fmla="*/ 23 h 1320"/>
                <a:gd name="T26" fmla="*/ 15 w 1554"/>
                <a:gd name="T27" fmla="*/ 27 h 1320"/>
                <a:gd name="T28" fmla="*/ 11 w 1554"/>
                <a:gd name="T29" fmla="*/ 32 h 1320"/>
                <a:gd name="T30" fmla="*/ 6 w 1554"/>
                <a:gd name="T31" fmla="*/ 22 h 1320"/>
                <a:gd name="T32" fmla="*/ 3 w 1554"/>
                <a:gd name="T33" fmla="*/ 11 h 1320"/>
                <a:gd name="T34" fmla="*/ 24 w 1554"/>
                <a:gd name="T35" fmla="*/ 12 h 1320"/>
                <a:gd name="T36" fmla="*/ 33 w 1554"/>
                <a:gd name="T37" fmla="*/ 19 h 1320"/>
                <a:gd name="T38" fmla="*/ 49 w 1554"/>
                <a:gd name="T39" fmla="*/ 12 h 1320"/>
                <a:gd name="T40" fmla="*/ 58 w 1554"/>
                <a:gd name="T41" fmla="*/ 10 h 1320"/>
                <a:gd name="T42" fmla="*/ 68 w 1554"/>
                <a:gd name="T43" fmla="*/ 11 h 1320"/>
                <a:gd name="T44" fmla="*/ 79 w 1554"/>
                <a:gd name="T45" fmla="*/ 12 h 1320"/>
                <a:gd name="T46" fmla="*/ 96 w 1554"/>
                <a:gd name="T47" fmla="*/ 11 h 1320"/>
                <a:gd name="T48" fmla="*/ 107 w 1554"/>
                <a:gd name="T49" fmla="*/ 2 h 1320"/>
                <a:gd name="T50" fmla="*/ 117 w 1554"/>
                <a:gd name="T51" fmla="*/ 8 h 1320"/>
                <a:gd name="T52" fmla="*/ 126 w 1554"/>
                <a:gd name="T53" fmla="*/ 12 h 1320"/>
                <a:gd name="T54" fmla="*/ 134 w 1554"/>
                <a:gd name="T55" fmla="*/ 24 h 1320"/>
                <a:gd name="T56" fmla="*/ 133 w 1554"/>
                <a:gd name="T57" fmla="*/ 29 h 1320"/>
                <a:gd name="T58" fmla="*/ 129 w 1554"/>
                <a:gd name="T59" fmla="*/ 31 h 1320"/>
                <a:gd name="T60" fmla="*/ 125 w 1554"/>
                <a:gd name="T61" fmla="*/ 32 h 1320"/>
                <a:gd name="T62" fmla="*/ 115 w 1554"/>
                <a:gd name="T63" fmla="*/ 34 h 1320"/>
                <a:gd name="T64" fmla="*/ 113 w 1554"/>
                <a:gd name="T65" fmla="*/ 44 h 1320"/>
                <a:gd name="T66" fmla="*/ 111 w 1554"/>
                <a:gd name="T67" fmla="*/ 54 h 1320"/>
                <a:gd name="T68" fmla="*/ 107 w 1554"/>
                <a:gd name="T69" fmla="*/ 56 h 1320"/>
                <a:gd name="T70" fmla="*/ 102 w 1554"/>
                <a:gd name="T71" fmla="*/ 58 h 1320"/>
                <a:gd name="T72" fmla="*/ 99 w 1554"/>
                <a:gd name="T73" fmla="*/ 60 h 1320"/>
                <a:gd name="T74" fmla="*/ 93 w 1554"/>
                <a:gd name="T75" fmla="*/ 62 h 1320"/>
                <a:gd name="T76" fmla="*/ 87 w 1554"/>
                <a:gd name="T77" fmla="*/ 64 h 1320"/>
                <a:gd name="T78" fmla="*/ 84 w 1554"/>
                <a:gd name="T79" fmla="*/ 65 h 1320"/>
                <a:gd name="T80" fmla="*/ 81 w 1554"/>
                <a:gd name="T81" fmla="*/ 69 h 1320"/>
                <a:gd name="T82" fmla="*/ 83 w 1554"/>
                <a:gd name="T83" fmla="*/ 72 h 1320"/>
                <a:gd name="T84" fmla="*/ 92 w 1554"/>
                <a:gd name="T85" fmla="*/ 73 h 1320"/>
                <a:gd name="T86" fmla="*/ 93 w 1554"/>
                <a:gd name="T87" fmla="*/ 87 h 1320"/>
                <a:gd name="T88" fmla="*/ 104 w 1554"/>
                <a:gd name="T89" fmla="*/ 98 h 1320"/>
                <a:gd name="T90" fmla="*/ 108 w 1554"/>
                <a:gd name="T91" fmla="*/ 98 h 1320"/>
                <a:gd name="T92" fmla="*/ 112 w 1554"/>
                <a:gd name="T93" fmla="*/ 100 h 1320"/>
                <a:gd name="T94" fmla="*/ 118 w 1554"/>
                <a:gd name="T95" fmla="*/ 100 h 1320"/>
                <a:gd name="T96" fmla="*/ 122 w 1554"/>
                <a:gd name="T97" fmla="*/ 102 h 1320"/>
                <a:gd name="T98" fmla="*/ 118 w 1554"/>
                <a:gd name="T99" fmla="*/ 105 h 1320"/>
                <a:gd name="T100" fmla="*/ 114 w 1554"/>
                <a:gd name="T101" fmla="*/ 107 h 1320"/>
                <a:gd name="T102" fmla="*/ 113 w 1554"/>
                <a:gd name="T103" fmla="*/ 113 h 1320"/>
                <a:gd name="T104" fmla="*/ 104 w 1554"/>
                <a:gd name="T105" fmla="*/ 113 h 1320"/>
                <a:gd name="T106" fmla="*/ 93 w 1554"/>
                <a:gd name="T107" fmla="*/ 109 h 1320"/>
                <a:gd name="T108" fmla="*/ 96 w 1554"/>
                <a:gd name="T109" fmla="*/ 103 h 1320"/>
                <a:gd name="T110" fmla="*/ 95 w 1554"/>
                <a:gd name="T111" fmla="*/ 97 h 1320"/>
                <a:gd name="T112" fmla="*/ 87 w 1554"/>
                <a:gd name="T113" fmla="*/ 98 h 1320"/>
                <a:gd name="T114" fmla="*/ 81 w 1554"/>
                <a:gd name="T115" fmla="*/ 98 h 1320"/>
                <a:gd name="T116" fmla="*/ 78 w 1554"/>
                <a:gd name="T117" fmla="*/ 93 h 1320"/>
                <a:gd name="T118" fmla="*/ 65 w 1554"/>
                <a:gd name="T119" fmla="*/ 92 h 1320"/>
                <a:gd name="T120" fmla="*/ 59 w 1554"/>
                <a:gd name="T121" fmla="*/ 92 h 13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54"/>
                <a:gd name="T184" fmla="*/ 0 h 1320"/>
                <a:gd name="T185" fmla="*/ 1554 w 1554"/>
                <a:gd name="T186" fmla="*/ 1320 h 132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54" h="1320">
                  <a:moveTo>
                    <a:pt x="684" y="1068"/>
                  </a:moveTo>
                  <a:lnTo>
                    <a:pt x="684" y="1062"/>
                  </a:lnTo>
                  <a:lnTo>
                    <a:pt x="690" y="1056"/>
                  </a:lnTo>
                  <a:lnTo>
                    <a:pt x="690" y="1050"/>
                  </a:lnTo>
                  <a:lnTo>
                    <a:pt x="690" y="1044"/>
                  </a:lnTo>
                  <a:lnTo>
                    <a:pt x="690" y="1038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14"/>
                  </a:lnTo>
                  <a:lnTo>
                    <a:pt x="690" y="1008"/>
                  </a:lnTo>
                  <a:lnTo>
                    <a:pt x="696" y="996"/>
                  </a:lnTo>
                  <a:lnTo>
                    <a:pt x="714" y="996"/>
                  </a:lnTo>
                  <a:lnTo>
                    <a:pt x="714" y="990"/>
                  </a:lnTo>
                  <a:lnTo>
                    <a:pt x="732" y="984"/>
                  </a:lnTo>
                  <a:lnTo>
                    <a:pt x="744" y="978"/>
                  </a:lnTo>
                  <a:lnTo>
                    <a:pt x="762" y="966"/>
                  </a:lnTo>
                  <a:lnTo>
                    <a:pt x="762" y="960"/>
                  </a:lnTo>
                  <a:lnTo>
                    <a:pt x="768" y="954"/>
                  </a:lnTo>
                  <a:lnTo>
                    <a:pt x="774" y="948"/>
                  </a:lnTo>
                  <a:lnTo>
                    <a:pt x="774" y="942"/>
                  </a:lnTo>
                  <a:lnTo>
                    <a:pt x="774" y="924"/>
                  </a:lnTo>
                  <a:lnTo>
                    <a:pt x="768" y="918"/>
                  </a:lnTo>
                  <a:lnTo>
                    <a:pt x="756" y="918"/>
                  </a:lnTo>
                  <a:lnTo>
                    <a:pt x="744" y="918"/>
                  </a:lnTo>
                  <a:lnTo>
                    <a:pt x="732" y="924"/>
                  </a:lnTo>
                  <a:lnTo>
                    <a:pt x="726" y="912"/>
                  </a:lnTo>
                  <a:lnTo>
                    <a:pt x="720" y="912"/>
                  </a:lnTo>
                  <a:lnTo>
                    <a:pt x="720" y="900"/>
                  </a:lnTo>
                  <a:lnTo>
                    <a:pt x="720" y="870"/>
                  </a:lnTo>
                  <a:lnTo>
                    <a:pt x="696" y="876"/>
                  </a:lnTo>
                  <a:lnTo>
                    <a:pt x="690" y="852"/>
                  </a:lnTo>
                  <a:lnTo>
                    <a:pt x="702" y="852"/>
                  </a:lnTo>
                  <a:lnTo>
                    <a:pt x="702" y="840"/>
                  </a:lnTo>
                  <a:lnTo>
                    <a:pt x="708" y="834"/>
                  </a:lnTo>
                  <a:lnTo>
                    <a:pt x="702" y="822"/>
                  </a:lnTo>
                  <a:lnTo>
                    <a:pt x="660" y="822"/>
                  </a:lnTo>
                  <a:lnTo>
                    <a:pt x="654" y="822"/>
                  </a:lnTo>
                  <a:lnTo>
                    <a:pt x="642" y="822"/>
                  </a:lnTo>
                  <a:lnTo>
                    <a:pt x="642" y="810"/>
                  </a:lnTo>
                  <a:lnTo>
                    <a:pt x="642" y="798"/>
                  </a:lnTo>
                  <a:lnTo>
                    <a:pt x="642" y="792"/>
                  </a:lnTo>
                  <a:lnTo>
                    <a:pt x="648" y="780"/>
                  </a:lnTo>
                  <a:lnTo>
                    <a:pt x="654" y="774"/>
                  </a:lnTo>
                  <a:lnTo>
                    <a:pt x="660" y="774"/>
                  </a:lnTo>
                  <a:lnTo>
                    <a:pt x="672" y="762"/>
                  </a:lnTo>
                  <a:lnTo>
                    <a:pt x="672" y="756"/>
                  </a:lnTo>
                  <a:lnTo>
                    <a:pt x="678" y="750"/>
                  </a:lnTo>
                  <a:lnTo>
                    <a:pt x="684" y="750"/>
                  </a:lnTo>
                  <a:lnTo>
                    <a:pt x="690" y="744"/>
                  </a:lnTo>
                  <a:lnTo>
                    <a:pt x="696" y="732"/>
                  </a:lnTo>
                  <a:lnTo>
                    <a:pt x="696" y="726"/>
                  </a:lnTo>
                  <a:lnTo>
                    <a:pt x="702" y="714"/>
                  </a:lnTo>
                  <a:lnTo>
                    <a:pt x="696" y="708"/>
                  </a:lnTo>
                  <a:lnTo>
                    <a:pt x="690" y="690"/>
                  </a:lnTo>
                  <a:lnTo>
                    <a:pt x="696" y="678"/>
                  </a:lnTo>
                  <a:lnTo>
                    <a:pt x="708" y="672"/>
                  </a:lnTo>
                  <a:lnTo>
                    <a:pt x="708" y="660"/>
                  </a:lnTo>
                  <a:lnTo>
                    <a:pt x="702" y="660"/>
                  </a:lnTo>
                  <a:lnTo>
                    <a:pt x="696" y="660"/>
                  </a:lnTo>
                  <a:lnTo>
                    <a:pt x="690" y="654"/>
                  </a:lnTo>
                  <a:lnTo>
                    <a:pt x="684" y="654"/>
                  </a:lnTo>
                  <a:lnTo>
                    <a:pt x="690" y="606"/>
                  </a:lnTo>
                  <a:lnTo>
                    <a:pt x="660" y="606"/>
                  </a:lnTo>
                  <a:lnTo>
                    <a:pt x="660" y="612"/>
                  </a:lnTo>
                  <a:lnTo>
                    <a:pt x="648" y="612"/>
                  </a:lnTo>
                  <a:lnTo>
                    <a:pt x="642" y="636"/>
                  </a:lnTo>
                  <a:lnTo>
                    <a:pt x="636" y="636"/>
                  </a:lnTo>
                  <a:lnTo>
                    <a:pt x="630" y="648"/>
                  </a:lnTo>
                  <a:lnTo>
                    <a:pt x="612" y="648"/>
                  </a:lnTo>
                  <a:lnTo>
                    <a:pt x="606" y="636"/>
                  </a:lnTo>
                  <a:lnTo>
                    <a:pt x="600" y="630"/>
                  </a:lnTo>
                  <a:lnTo>
                    <a:pt x="588" y="606"/>
                  </a:lnTo>
                  <a:lnTo>
                    <a:pt x="552" y="606"/>
                  </a:lnTo>
                  <a:lnTo>
                    <a:pt x="552" y="612"/>
                  </a:lnTo>
                  <a:lnTo>
                    <a:pt x="540" y="612"/>
                  </a:lnTo>
                  <a:lnTo>
                    <a:pt x="540" y="606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16" y="612"/>
                  </a:lnTo>
                  <a:lnTo>
                    <a:pt x="516" y="582"/>
                  </a:lnTo>
                  <a:lnTo>
                    <a:pt x="522" y="576"/>
                  </a:lnTo>
                  <a:lnTo>
                    <a:pt x="528" y="576"/>
                  </a:lnTo>
                  <a:lnTo>
                    <a:pt x="528" y="552"/>
                  </a:lnTo>
                  <a:lnTo>
                    <a:pt x="522" y="540"/>
                  </a:lnTo>
                  <a:lnTo>
                    <a:pt x="510" y="528"/>
                  </a:lnTo>
                  <a:lnTo>
                    <a:pt x="486" y="510"/>
                  </a:lnTo>
                  <a:lnTo>
                    <a:pt x="480" y="498"/>
                  </a:lnTo>
                  <a:lnTo>
                    <a:pt x="480" y="474"/>
                  </a:lnTo>
                  <a:lnTo>
                    <a:pt x="492" y="468"/>
                  </a:lnTo>
                  <a:lnTo>
                    <a:pt x="486" y="450"/>
                  </a:lnTo>
                  <a:lnTo>
                    <a:pt x="474" y="456"/>
                  </a:lnTo>
                  <a:lnTo>
                    <a:pt x="468" y="456"/>
                  </a:lnTo>
                  <a:lnTo>
                    <a:pt x="462" y="456"/>
                  </a:lnTo>
                  <a:lnTo>
                    <a:pt x="456" y="468"/>
                  </a:lnTo>
                  <a:lnTo>
                    <a:pt x="456" y="474"/>
                  </a:lnTo>
                  <a:lnTo>
                    <a:pt x="450" y="480"/>
                  </a:lnTo>
                  <a:lnTo>
                    <a:pt x="444" y="450"/>
                  </a:lnTo>
                  <a:lnTo>
                    <a:pt x="438" y="450"/>
                  </a:lnTo>
                  <a:lnTo>
                    <a:pt x="432" y="450"/>
                  </a:lnTo>
                  <a:lnTo>
                    <a:pt x="420" y="450"/>
                  </a:lnTo>
                  <a:lnTo>
                    <a:pt x="420" y="456"/>
                  </a:lnTo>
                  <a:lnTo>
                    <a:pt x="414" y="456"/>
                  </a:lnTo>
                  <a:lnTo>
                    <a:pt x="408" y="468"/>
                  </a:lnTo>
                  <a:lnTo>
                    <a:pt x="402" y="468"/>
                  </a:lnTo>
                  <a:lnTo>
                    <a:pt x="396" y="474"/>
                  </a:lnTo>
                  <a:lnTo>
                    <a:pt x="390" y="492"/>
                  </a:lnTo>
                  <a:lnTo>
                    <a:pt x="384" y="504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54" y="510"/>
                  </a:lnTo>
                  <a:lnTo>
                    <a:pt x="360" y="480"/>
                  </a:lnTo>
                  <a:lnTo>
                    <a:pt x="360" y="474"/>
                  </a:lnTo>
                  <a:lnTo>
                    <a:pt x="378" y="456"/>
                  </a:lnTo>
                  <a:lnTo>
                    <a:pt x="384" y="450"/>
                  </a:lnTo>
                  <a:lnTo>
                    <a:pt x="396" y="444"/>
                  </a:lnTo>
                  <a:lnTo>
                    <a:pt x="402" y="438"/>
                  </a:lnTo>
                  <a:lnTo>
                    <a:pt x="408" y="438"/>
                  </a:lnTo>
                  <a:lnTo>
                    <a:pt x="408" y="426"/>
                  </a:lnTo>
                  <a:lnTo>
                    <a:pt x="414" y="420"/>
                  </a:lnTo>
                  <a:lnTo>
                    <a:pt x="426" y="420"/>
                  </a:lnTo>
                  <a:lnTo>
                    <a:pt x="426" y="408"/>
                  </a:lnTo>
                  <a:lnTo>
                    <a:pt x="420" y="390"/>
                  </a:lnTo>
                  <a:lnTo>
                    <a:pt x="408" y="384"/>
                  </a:lnTo>
                  <a:lnTo>
                    <a:pt x="378" y="378"/>
                  </a:lnTo>
                  <a:lnTo>
                    <a:pt x="354" y="366"/>
                  </a:lnTo>
                  <a:lnTo>
                    <a:pt x="342" y="360"/>
                  </a:lnTo>
                  <a:lnTo>
                    <a:pt x="342" y="348"/>
                  </a:lnTo>
                  <a:lnTo>
                    <a:pt x="336" y="330"/>
                  </a:lnTo>
                  <a:lnTo>
                    <a:pt x="348" y="306"/>
                  </a:lnTo>
                  <a:lnTo>
                    <a:pt x="360" y="294"/>
                  </a:lnTo>
                  <a:lnTo>
                    <a:pt x="360" y="282"/>
                  </a:lnTo>
                  <a:lnTo>
                    <a:pt x="342" y="270"/>
                  </a:lnTo>
                  <a:lnTo>
                    <a:pt x="342" y="264"/>
                  </a:lnTo>
                  <a:lnTo>
                    <a:pt x="330" y="264"/>
                  </a:lnTo>
                  <a:lnTo>
                    <a:pt x="312" y="270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88" y="270"/>
                  </a:lnTo>
                  <a:lnTo>
                    <a:pt x="282" y="270"/>
                  </a:lnTo>
                  <a:lnTo>
                    <a:pt x="276" y="264"/>
                  </a:lnTo>
                  <a:lnTo>
                    <a:pt x="270" y="264"/>
                  </a:lnTo>
                  <a:lnTo>
                    <a:pt x="252" y="270"/>
                  </a:lnTo>
                  <a:lnTo>
                    <a:pt x="246" y="270"/>
                  </a:lnTo>
                  <a:lnTo>
                    <a:pt x="240" y="270"/>
                  </a:lnTo>
                  <a:lnTo>
                    <a:pt x="228" y="270"/>
                  </a:lnTo>
                  <a:lnTo>
                    <a:pt x="216" y="276"/>
                  </a:lnTo>
                  <a:lnTo>
                    <a:pt x="210" y="270"/>
                  </a:lnTo>
                  <a:lnTo>
                    <a:pt x="204" y="270"/>
                  </a:lnTo>
                  <a:lnTo>
                    <a:pt x="198" y="276"/>
                  </a:lnTo>
                  <a:lnTo>
                    <a:pt x="192" y="276"/>
                  </a:lnTo>
                  <a:lnTo>
                    <a:pt x="186" y="282"/>
                  </a:lnTo>
                  <a:lnTo>
                    <a:pt x="180" y="288"/>
                  </a:lnTo>
                  <a:lnTo>
                    <a:pt x="174" y="300"/>
                  </a:lnTo>
                  <a:lnTo>
                    <a:pt x="168" y="306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8" y="330"/>
                  </a:lnTo>
                  <a:lnTo>
                    <a:pt x="162" y="336"/>
                  </a:lnTo>
                  <a:lnTo>
                    <a:pt x="156" y="342"/>
                  </a:lnTo>
                  <a:lnTo>
                    <a:pt x="156" y="348"/>
                  </a:lnTo>
                  <a:lnTo>
                    <a:pt x="156" y="354"/>
                  </a:lnTo>
                  <a:lnTo>
                    <a:pt x="150" y="366"/>
                  </a:lnTo>
                  <a:lnTo>
                    <a:pt x="150" y="372"/>
                  </a:lnTo>
                  <a:lnTo>
                    <a:pt x="144" y="366"/>
                  </a:lnTo>
                  <a:lnTo>
                    <a:pt x="132" y="366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20" y="348"/>
                  </a:lnTo>
                  <a:lnTo>
                    <a:pt x="102" y="330"/>
                  </a:lnTo>
                  <a:lnTo>
                    <a:pt x="96" y="318"/>
                  </a:lnTo>
                  <a:lnTo>
                    <a:pt x="96" y="282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0" y="258"/>
                  </a:lnTo>
                  <a:lnTo>
                    <a:pt x="84" y="252"/>
                  </a:lnTo>
                  <a:lnTo>
                    <a:pt x="66" y="258"/>
                  </a:lnTo>
                  <a:lnTo>
                    <a:pt x="60" y="246"/>
                  </a:lnTo>
                  <a:lnTo>
                    <a:pt x="30" y="252"/>
                  </a:lnTo>
                  <a:lnTo>
                    <a:pt x="18" y="246"/>
                  </a:lnTo>
                  <a:lnTo>
                    <a:pt x="0" y="240"/>
                  </a:lnTo>
                  <a:lnTo>
                    <a:pt x="0" y="234"/>
                  </a:lnTo>
                  <a:lnTo>
                    <a:pt x="0" y="210"/>
                  </a:lnTo>
                  <a:lnTo>
                    <a:pt x="6" y="204"/>
                  </a:lnTo>
                  <a:lnTo>
                    <a:pt x="18" y="192"/>
                  </a:lnTo>
                  <a:lnTo>
                    <a:pt x="18" y="144"/>
                  </a:lnTo>
                  <a:lnTo>
                    <a:pt x="24" y="126"/>
                  </a:lnTo>
                  <a:lnTo>
                    <a:pt x="36" y="126"/>
                  </a:lnTo>
                  <a:lnTo>
                    <a:pt x="54" y="120"/>
                  </a:lnTo>
                  <a:lnTo>
                    <a:pt x="54" y="126"/>
                  </a:lnTo>
                  <a:lnTo>
                    <a:pt x="132" y="114"/>
                  </a:lnTo>
                  <a:lnTo>
                    <a:pt x="144" y="120"/>
                  </a:lnTo>
                  <a:lnTo>
                    <a:pt x="150" y="132"/>
                  </a:lnTo>
                  <a:lnTo>
                    <a:pt x="180" y="126"/>
                  </a:lnTo>
                  <a:lnTo>
                    <a:pt x="210" y="120"/>
                  </a:lnTo>
                  <a:lnTo>
                    <a:pt x="240" y="120"/>
                  </a:lnTo>
                  <a:lnTo>
                    <a:pt x="258" y="120"/>
                  </a:lnTo>
                  <a:lnTo>
                    <a:pt x="270" y="126"/>
                  </a:lnTo>
                  <a:lnTo>
                    <a:pt x="276" y="132"/>
                  </a:lnTo>
                  <a:lnTo>
                    <a:pt x="282" y="138"/>
                  </a:lnTo>
                  <a:lnTo>
                    <a:pt x="282" y="156"/>
                  </a:lnTo>
                  <a:lnTo>
                    <a:pt x="288" y="186"/>
                  </a:lnTo>
                  <a:lnTo>
                    <a:pt x="312" y="192"/>
                  </a:lnTo>
                  <a:lnTo>
                    <a:pt x="318" y="198"/>
                  </a:lnTo>
                  <a:lnTo>
                    <a:pt x="324" y="204"/>
                  </a:lnTo>
                  <a:lnTo>
                    <a:pt x="330" y="210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66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86" y="210"/>
                  </a:lnTo>
                  <a:lnTo>
                    <a:pt x="498" y="198"/>
                  </a:lnTo>
                  <a:lnTo>
                    <a:pt x="504" y="174"/>
                  </a:lnTo>
                  <a:lnTo>
                    <a:pt x="516" y="162"/>
                  </a:lnTo>
                  <a:lnTo>
                    <a:pt x="516" y="138"/>
                  </a:lnTo>
                  <a:lnTo>
                    <a:pt x="522" y="132"/>
                  </a:lnTo>
                  <a:lnTo>
                    <a:pt x="564" y="132"/>
                  </a:lnTo>
                  <a:lnTo>
                    <a:pt x="564" y="114"/>
                  </a:lnTo>
                  <a:lnTo>
                    <a:pt x="582" y="114"/>
                  </a:lnTo>
                  <a:lnTo>
                    <a:pt x="594" y="114"/>
                  </a:lnTo>
                  <a:lnTo>
                    <a:pt x="606" y="114"/>
                  </a:lnTo>
                  <a:lnTo>
                    <a:pt x="612" y="114"/>
                  </a:lnTo>
                  <a:lnTo>
                    <a:pt x="630" y="114"/>
                  </a:lnTo>
                  <a:lnTo>
                    <a:pt x="636" y="114"/>
                  </a:lnTo>
                  <a:lnTo>
                    <a:pt x="648" y="114"/>
                  </a:lnTo>
                  <a:lnTo>
                    <a:pt x="654" y="114"/>
                  </a:lnTo>
                  <a:lnTo>
                    <a:pt x="660" y="120"/>
                  </a:lnTo>
                  <a:lnTo>
                    <a:pt x="672" y="120"/>
                  </a:lnTo>
                  <a:lnTo>
                    <a:pt x="684" y="120"/>
                  </a:lnTo>
                  <a:lnTo>
                    <a:pt x="690" y="120"/>
                  </a:lnTo>
                  <a:lnTo>
                    <a:pt x="702" y="120"/>
                  </a:lnTo>
                  <a:lnTo>
                    <a:pt x="708" y="120"/>
                  </a:lnTo>
                  <a:lnTo>
                    <a:pt x="726" y="126"/>
                  </a:lnTo>
                  <a:lnTo>
                    <a:pt x="732" y="126"/>
                  </a:lnTo>
                  <a:lnTo>
                    <a:pt x="738" y="126"/>
                  </a:lnTo>
                  <a:lnTo>
                    <a:pt x="750" y="126"/>
                  </a:lnTo>
                  <a:lnTo>
                    <a:pt x="756" y="126"/>
                  </a:lnTo>
                  <a:lnTo>
                    <a:pt x="768" y="126"/>
                  </a:lnTo>
                  <a:lnTo>
                    <a:pt x="780" y="126"/>
                  </a:lnTo>
                  <a:lnTo>
                    <a:pt x="786" y="120"/>
                  </a:lnTo>
                  <a:lnTo>
                    <a:pt x="792" y="120"/>
                  </a:lnTo>
                  <a:lnTo>
                    <a:pt x="810" y="120"/>
                  </a:lnTo>
                  <a:lnTo>
                    <a:pt x="822" y="120"/>
                  </a:lnTo>
                  <a:lnTo>
                    <a:pt x="846" y="126"/>
                  </a:lnTo>
                  <a:lnTo>
                    <a:pt x="858" y="126"/>
                  </a:lnTo>
                  <a:lnTo>
                    <a:pt x="870" y="132"/>
                  </a:lnTo>
                  <a:lnTo>
                    <a:pt x="882" y="132"/>
                  </a:lnTo>
                  <a:lnTo>
                    <a:pt x="894" y="132"/>
                  </a:lnTo>
                  <a:lnTo>
                    <a:pt x="900" y="132"/>
                  </a:lnTo>
                  <a:lnTo>
                    <a:pt x="912" y="132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36" y="132"/>
                  </a:lnTo>
                  <a:lnTo>
                    <a:pt x="960" y="132"/>
                  </a:lnTo>
                  <a:lnTo>
                    <a:pt x="966" y="144"/>
                  </a:lnTo>
                  <a:lnTo>
                    <a:pt x="972" y="144"/>
                  </a:lnTo>
                  <a:lnTo>
                    <a:pt x="1002" y="144"/>
                  </a:lnTo>
                  <a:lnTo>
                    <a:pt x="1020" y="144"/>
                  </a:lnTo>
                  <a:lnTo>
                    <a:pt x="1068" y="138"/>
                  </a:lnTo>
                  <a:lnTo>
                    <a:pt x="1110" y="132"/>
                  </a:lnTo>
                  <a:lnTo>
                    <a:pt x="1110" y="126"/>
                  </a:lnTo>
                  <a:lnTo>
                    <a:pt x="1116" y="120"/>
                  </a:lnTo>
                  <a:lnTo>
                    <a:pt x="1122" y="108"/>
                  </a:lnTo>
                  <a:lnTo>
                    <a:pt x="1134" y="96"/>
                  </a:lnTo>
                  <a:lnTo>
                    <a:pt x="1146" y="60"/>
                  </a:lnTo>
                  <a:lnTo>
                    <a:pt x="1158" y="54"/>
                  </a:lnTo>
                  <a:lnTo>
                    <a:pt x="1170" y="48"/>
                  </a:lnTo>
                  <a:lnTo>
                    <a:pt x="1188" y="42"/>
                  </a:lnTo>
                  <a:lnTo>
                    <a:pt x="1200" y="36"/>
                  </a:lnTo>
                  <a:lnTo>
                    <a:pt x="1212" y="36"/>
                  </a:lnTo>
                  <a:lnTo>
                    <a:pt x="1236" y="30"/>
                  </a:lnTo>
                  <a:lnTo>
                    <a:pt x="1236" y="24"/>
                  </a:lnTo>
                  <a:lnTo>
                    <a:pt x="1278" y="18"/>
                  </a:lnTo>
                  <a:lnTo>
                    <a:pt x="1290" y="18"/>
                  </a:lnTo>
                  <a:lnTo>
                    <a:pt x="1302" y="12"/>
                  </a:lnTo>
                  <a:lnTo>
                    <a:pt x="1314" y="0"/>
                  </a:lnTo>
                  <a:lnTo>
                    <a:pt x="1332" y="0"/>
                  </a:lnTo>
                  <a:lnTo>
                    <a:pt x="1338" y="24"/>
                  </a:lnTo>
                  <a:lnTo>
                    <a:pt x="1344" y="30"/>
                  </a:lnTo>
                  <a:lnTo>
                    <a:pt x="1350" y="42"/>
                  </a:lnTo>
                  <a:lnTo>
                    <a:pt x="1356" y="48"/>
                  </a:lnTo>
                  <a:lnTo>
                    <a:pt x="1356" y="78"/>
                  </a:lnTo>
                  <a:lnTo>
                    <a:pt x="1350" y="96"/>
                  </a:lnTo>
                  <a:lnTo>
                    <a:pt x="1338" y="108"/>
                  </a:lnTo>
                  <a:lnTo>
                    <a:pt x="1338" y="114"/>
                  </a:lnTo>
                  <a:lnTo>
                    <a:pt x="1338" y="120"/>
                  </a:lnTo>
                  <a:lnTo>
                    <a:pt x="1338" y="126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398" y="114"/>
                  </a:lnTo>
                  <a:lnTo>
                    <a:pt x="1416" y="120"/>
                  </a:lnTo>
                  <a:lnTo>
                    <a:pt x="1434" y="126"/>
                  </a:lnTo>
                  <a:lnTo>
                    <a:pt x="1458" y="132"/>
                  </a:lnTo>
                  <a:lnTo>
                    <a:pt x="1458" y="138"/>
                  </a:lnTo>
                  <a:lnTo>
                    <a:pt x="1512" y="138"/>
                  </a:lnTo>
                  <a:lnTo>
                    <a:pt x="1512" y="132"/>
                  </a:lnTo>
                  <a:lnTo>
                    <a:pt x="1524" y="138"/>
                  </a:lnTo>
                  <a:lnTo>
                    <a:pt x="1542" y="138"/>
                  </a:lnTo>
                  <a:lnTo>
                    <a:pt x="1542" y="150"/>
                  </a:lnTo>
                  <a:lnTo>
                    <a:pt x="1542" y="162"/>
                  </a:lnTo>
                  <a:lnTo>
                    <a:pt x="1548" y="174"/>
                  </a:lnTo>
                  <a:lnTo>
                    <a:pt x="1548" y="180"/>
                  </a:lnTo>
                  <a:lnTo>
                    <a:pt x="1554" y="222"/>
                  </a:lnTo>
                  <a:lnTo>
                    <a:pt x="1554" y="258"/>
                  </a:lnTo>
                  <a:lnTo>
                    <a:pt x="1554" y="276"/>
                  </a:lnTo>
                  <a:lnTo>
                    <a:pt x="1554" y="282"/>
                  </a:lnTo>
                  <a:lnTo>
                    <a:pt x="1554" y="294"/>
                  </a:lnTo>
                  <a:lnTo>
                    <a:pt x="1554" y="306"/>
                  </a:lnTo>
                  <a:lnTo>
                    <a:pt x="1554" y="324"/>
                  </a:lnTo>
                  <a:lnTo>
                    <a:pt x="1554" y="330"/>
                  </a:lnTo>
                  <a:lnTo>
                    <a:pt x="1548" y="330"/>
                  </a:lnTo>
                  <a:lnTo>
                    <a:pt x="1548" y="336"/>
                  </a:lnTo>
                  <a:lnTo>
                    <a:pt x="1548" y="342"/>
                  </a:lnTo>
                  <a:lnTo>
                    <a:pt x="1542" y="336"/>
                  </a:lnTo>
                  <a:lnTo>
                    <a:pt x="1542" y="330"/>
                  </a:lnTo>
                  <a:lnTo>
                    <a:pt x="1536" y="330"/>
                  </a:lnTo>
                  <a:lnTo>
                    <a:pt x="1530" y="330"/>
                  </a:lnTo>
                  <a:lnTo>
                    <a:pt x="1530" y="336"/>
                  </a:lnTo>
                  <a:lnTo>
                    <a:pt x="1536" y="342"/>
                  </a:lnTo>
                  <a:lnTo>
                    <a:pt x="1530" y="342"/>
                  </a:lnTo>
                  <a:lnTo>
                    <a:pt x="1518" y="348"/>
                  </a:lnTo>
                  <a:lnTo>
                    <a:pt x="1512" y="354"/>
                  </a:lnTo>
                  <a:lnTo>
                    <a:pt x="1506" y="354"/>
                  </a:lnTo>
                  <a:lnTo>
                    <a:pt x="1500" y="354"/>
                  </a:lnTo>
                  <a:lnTo>
                    <a:pt x="1494" y="354"/>
                  </a:lnTo>
                  <a:lnTo>
                    <a:pt x="1494" y="360"/>
                  </a:lnTo>
                  <a:lnTo>
                    <a:pt x="1488" y="360"/>
                  </a:lnTo>
                  <a:lnTo>
                    <a:pt x="1488" y="366"/>
                  </a:lnTo>
                  <a:lnTo>
                    <a:pt x="1488" y="372"/>
                  </a:lnTo>
                  <a:lnTo>
                    <a:pt x="1482" y="372"/>
                  </a:lnTo>
                  <a:lnTo>
                    <a:pt x="1476" y="372"/>
                  </a:lnTo>
                  <a:lnTo>
                    <a:pt x="1470" y="372"/>
                  </a:lnTo>
                  <a:lnTo>
                    <a:pt x="1470" y="378"/>
                  </a:lnTo>
                  <a:lnTo>
                    <a:pt x="1470" y="384"/>
                  </a:lnTo>
                  <a:lnTo>
                    <a:pt x="1470" y="390"/>
                  </a:lnTo>
                  <a:lnTo>
                    <a:pt x="1464" y="402"/>
                  </a:lnTo>
                  <a:lnTo>
                    <a:pt x="1446" y="402"/>
                  </a:lnTo>
                  <a:lnTo>
                    <a:pt x="1440" y="372"/>
                  </a:lnTo>
                  <a:lnTo>
                    <a:pt x="1410" y="372"/>
                  </a:lnTo>
                  <a:lnTo>
                    <a:pt x="1380" y="372"/>
                  </a:lnTo>
                  <a:lnTo>
                    <a:pt x="1374" y="372"/>
                  </a:lnTo>
                  <a:lnTo>
                    <a:pt x="1368" y="378"/>
                  </a:lnTo>
                  <a:lnTo>
                    <a:pt x="1362" y="378"/>
                  </a:lnTo>
                  <a:lnTo>
                    <a:pt x="1356" y="378"/>
                  </a:lnTo>
                  <a:lnTo>
                    <a:pt x="1350" y="384"/>
                  </a:lnTo>
                  <a:lnTo>
                    <a:pt x="1350" y="390"/>
                  </a:lnTo>
                  <a:lnTo>
                    <a:pt x="1344" y="390"/>
                  </a:lnTo>
                  <a:lnTo>
                    <a:pt x="1338" y="390"/>
                  </a:lnTo>
                  <a:lnTo>
                    <a:pt x="1332" y="390"/>
                  </a:lnTo>
                  <a:lnTo>
                    <a:pt x="1332" y="396"/>
                  </a:lnTo>
                  <a:lnTo>
                    <a:pt x="1332" y="390"/>
                  </a:lnTo>
                  <a:lnTo>
                    <a:pt x="1326" y="402"/>
                  </a:lnTo>
                  <a:lnTo>
                    <a:pt x="1320" y="402"/>
                  </a:lnTo>
                  <a:lnTo>
                    <a:pt x="1302" y="474"/>
                  </a:lnTo>
                  <a:lnTo>
                    <a:pt x="1308" y="480"/>
                  </a:lnTo>
                  <a:lnTo>
                    <a:pt x="1314" y="480"/>
                  </a:lnTo>
                  <a:lnTo>
                    <a:pt x="1308" y="498"/>
                  </a:lnTo>
                  <a:lnTo>
                    <a:pt x="1308" y="504"/>
                  </a:lnTo>
                  <a:lnTo>
                    <a:pt x="1314" y="510"/>
                  </a:lnTo>
                  <a:lnTo>
                    <a:pt x="1308" y="510"/>
                  </a:lnTo>
                  <a:lnTo>
                    <a:pt x="1308" y="516"/>
                  </a:lnTo>
                  <a:lnTo>
                    <a:pt x="1302" y="516"/>
                  </a:lnTo>
                  <a:lnTo>
                    <a:pt x="1296" y="510"/>
                  </a:lnTo>
                  <a:lnTo>
                    <a:pt x="1296" y="516"/>
                  </a:lnTo>
                  <a:lnTo>
                    <a:pt x="1290" y="540"/>
                  </a:lnTo>
                  <a:lnTo>
                    <a:pt x="1290" y="552"/>
                  </a:lnTo>
                  <a:lnTo>
                    <a:pt x="1284" y="558"/>
                  </a:lnTo>
                  <a:lnTo>
                    <a:pt x="1290" y="576"/>
                  </a:lnTo>
                  <a:lnTo>
                    <a:pt x="1290" y="600"/>
                  </a:lnTo>
                  <a:lnTo>
                    <a:pt x="1284" y="618"/>
                  </a:lnTo>
                  <a:lnTo>
                    <a:pt x="1290" y="624"/>
                  </a:lnTo>
                  <a:lnTo>
                    <a:pt x="1284" y="630"/>
                  </a:lnTo>
                  <a:lnTo>
                    <a:pt x="1278" y="630"/>
                  </a:lnTo>
                  <a:lnTo>
                    <a:pt x="1272" y="630"/>
                  </a:lnTo>
                  <a:lnTo>
                    <a:pt x="1266" y="636"/>
                  </a:lnTo>
                  <a:lnTo>
                    <a:pt x="1260" y="642"/>
                  </a:lnTo>
                  <a:lnTo>
                    <a:pt x="1260" y="636"/>
                  </a:lnTo>
                  <a:lnTo>
                    <a:pt x="1254" y="636"/>
                  </a:lnTo>
                  <a:lnTo>
                    <a:pt x="1248" y="636"/>
                  </a:lnTo>
                  <a:lnTo>
                    <a:pt x="1248" y="642"/>
                  </a:lnTo>
                  <a:lnTo>
                    <a:pt x="1242" y="642"/>
                  </a:lnTo>
                  <a:lnTo>
                    <a:pt x="1242" y="648"/>
                  </a:lnTo>
                  <a:lnTo>
                    <a:pt x="1236" y="654"/>
                  </a:lnTo>
                  <a:lnTo>
                    <a:pt x="1230" y="654"/>
                  </a:lnTo>
                  <a:lnTo>
                    <a:pt x="1224" y="654"/>
                  </a:lnTo>
                  <a:lnTo>
                    <a:pt x="1218" y="660"/>
                  </a:lnTo>
                  <a:lnTo>
                    <a:pt x="1212" y="660"/>
                  </a:lnTo>
                  <a:lnTo>
                    <a:pt x="1206" y="660"/>
                  </a:lnTo>
                  <a:lnTo>
                    <a:pt x="1200" y="660"/>
                  </a:lnTo>
                  <a:lnTo>
                    <a:pt x="1200" y="666"/>
                  </a:lnTo>
                  <a:lnTo>
                    <a:pt x="1194" y="666"/>
                  </a:lnTo>
                  <a:lnTo>
                    <a:pt x="1188" y="666"/>
                  </a:lnTo>
                  <a:lnTo>
                    <a:pt x="1182" y="672"/>
                  </a:lnTo>
                  <a:lnTo>
                    <a:pt x="1176" y="672"/>
                  </a:lnTo>
                  <a:lnTo>
                    <a:pt x="1170" y="672"/>
                  </a:lnTo>
                  <a:lnTo>
                    <a:pt x="1164" y="678"/>
                  </a:lnTo>
                  <a:lnTo>
                    <a:pt x="1170" y="678"/>
                  </a:lnTo>
                  <a:lnTo>
                    <a:pt x="1164" y="684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52" y="684"/>
                  </a:lnTo>
                  <a:lnTo>
                    <a:pt x="1152" y="690"/>
                  </a:lnTo>
                  <a:lnTo>
                    <a:pt x="1146" y="690"/>
                  </a:lnTo>
                  <a:lnTo>
                    <a:pt x="1140" y="690"/>
                  </a:lnTo>
                  <a:lnTo>
                    <a:pt x="1134" y="696"/>
                  </a:lnTo>
                  <a:lnTo>
                    <a:pt x="1128" y="696"/>
                  </a:lnTo>
                  <a:lnTo>
                    <a:pt x="1122" y="702"/>
                  </a:lnTo>
                  <a:lnTo>
                    <a:pt x="1116" y="702"/>
                  </a:lnTo>
                  <a:lnTo>
                    <a:pt x="1110" y="708"/>
                  </a:lnTo>
                  <a:lnTo>
                    <a:pt x="1104" y="708"/>
                  </a:lnTo>
                  <a:lnTo>
                    <a:pt x="1098" y="708"/>
                  </a:lnTo>
                  <a:lnTo>
                    <a:pt x="1092" y="708"/>
                  </a:lnTo>
                  <a:lnTo>
                    <a:pt x="1092" y="714"/>
                  </a:lnTo>
                  <a:lnTo>
                    <a:pt x="1086" y="720"/>
                  </a:lnTo>
                  <a:lnTo>
                    <a:pt x="1080" y="720"/>
                  </a:lnTo>
                  <a:lnTo>
                    <a:pt x="1074" y="720"/>
                  </a:lnTo>
                  <a:lnTo>
                    <a:pt x="1068" y="720"/>
                  </a:lnTo>
                  <a:lnTo>
                    <a:pt x="1062" y="720"/>
                  </a:lnTo>
                  <a:lnTo>
                    <a:pt x="1050" y="726"/>
                  </a:lnTo>
                  <a:lnTo>
                    <a:pt x="1044" y="726"/>
                  </a:lnTo>
                  <a:lnTo>
                    <a:pt x="1038" y="732"/>
                  </a:lnTo>
                  <a:lnTo>
                    <a:pt x="1026" y="732"/>
                  </a:lnTo>
                  <a:lnTo>
                    <a:pt x="1020" y="732"/>
                  </a:lnTo>
                  <a:lnTo>
                    <a:pt x="1014" y="738"/>
                  </a:lnTo>
                  <a:lnTo>
                    <a:pt x="1008" y="738"/>
                  </a:lnTo>
                  <a:lnTo>
                    <a:pt x="1002" y="738"/>
                  </a:lnTo>
                  <a:lnTo>
                    <a:pt x="996" y="738"/>
                  </a:lnTo>
                  <a:lnTo>
                    <a:pt x="990" y="738"/>
                  </a:lnTo>
                  <a:lnTo>
                    <a:pt x="990" y="732"/>
                  </a:lnTo>
                  <a:lnTo>
                    <a:pt x="984" y="732"/>
                  </a:lnTo>
                  <a:lnTo>
                    <a:pt x="978" y="738"/>
                  </a:lnTo>
                  <a:lnTo>
                    <a:pt x="978" y="744"/>
                  </a:lnTo>
                  <a:lnTo>
                    <a:pt x="984" y="744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8" y="756"/>
                  </a:lnTo>
                  <a:lnTo>
                    <a:pt x="972" y="756"/>
                  </a:lnTo>
                  <a:lnTo>
                    <a:pt x="972" y="762"/>
                  </a:lnTo>
                  <a:lnTo>
                    <a:pt x="966" y="768"/>
                  </a:lnTo>
                  <a:lnTo>
                    <a:pt x="966" y="762"/>
                  </a:lnTo>
                  <a:lnTo>
                    <a:pt x="960" y="762"/>
                  </a:lnTo>
                  <a:lnTo>
                    <a:pt x="954" y="768"/>
                  </a:lnTo>
                  <a:lnTo>
                    <a:pt x="954" y="774"/>
                  </a:lnTo>
                  <a:lnTo>
                    <a:pt x="948" y="774"/>
                  </a:lnTo>
                  <a:lnTo>
                    <a:pt x="948" y="780"/>
                  </a:lnTo>
                  <a:lnTo>
                    <a:pt x="948" y="786"/>
                  </a:lnTo>
                  <a:lnTo>
                    <a:pt x="942" y="786"/>
                  </a:lnTo>
                  <a:lnTo>
                    <a:pt x="942" y="792"/>
                  </a:lnTo>
                  <a:lnTo>
                    <a:pt x="936" y="792"/>
                  </a:lnTo>
                  <a:lnTo>
                    <a:pt x="942" y="798"/>
                  </a:lnTo>
                  <a:lnTo>
                    <a:pt x="942" y="804"/>
                  </a:lnTo>
                  <a:lnTo>
                    <a:pt x="942" y="810"/>
                  </a:lnTo>
                  <a:lnTo>
                    <a:pt x="948" y="810"/>
                  </a:lnTo>
                  <a:lnTo>
                    <a:pt x="942" y="816"/>
                  </a:lnTo>
                  <a:lnTo>
                    <a:pt x="948" y="816"/>
                  </a:lnTo>
                  <a:lnTo>
                    <a:pt x="948" y="822"/>
                  </a:lnTo>
                  <a:lnTo>
                    <a:pt x="954" y="822"/>
                  </a:lnTo>
                  <a:lnTo>
                    <a:pt x="960" y="828"/>
                  </a:lnTo>
                  <a:lnTo>
                    <a:pt x="960" y="834"/>
                  </a:lnTo>
                  <a:lnTo>
                    <a:pt x="966" y="834"/>
                  </a:lnTo>
                  <a:lnTo>
                    <a:pt x="960" y="840"/>
                  </a:lnTo>
                  <a:lnTo>
                    <a:pt x="966" y="846"/>
                  </a:lnTo>
                  <a:lnTo>
                    <a:pt x="966" y="840"/>
                  </a:lnTo>
                  <a:lnTo>
                    <a:pt x="972" y="840"/>
                  </a:lnTo>
                  <a:lnTo>
                    <a:pt x="990" y="840"/>
                  </a:lnTo>
                  <a:lnTo>
                    <a:pt x="1002" y="834"/>
                  </a:lnTo>
                  <a:lnTo>
                    <a:pt x="1020" y="828"/>
                  </a:lnTo>
                  <a:lnTo>
                    <a:pt x="1032" y="828"/>
                  </a:lnTo>
                  <a:lnTo>
                    <a:pt x="1050" y="828"/>
                  </a:lnTo>
                  <a:lnTo>
                    <a:pt x="1062" y="846"/>
                  </a:lnTo>
                  <a:lnTo>
                    <a:pt x="1074" y="876"/>
                  </a:lnTo>
                  <a:lnTo>
                    <a:pt x="1068" y="900"/>
                  </a:lnTo>
                  <a:lnTo>
                    <a:pt x="1074" y="912"/>
                  </a:lnTo>
                  <a:lnTo>
                    <a:pt x="1074" y="936"/>
                  </a:lnTo>
                  <a:lnTo>
                    <a:pt x="1068" y="942"/>
                  </a:lnTo>
                  <a:lnTo>
                    <a:pt x="1062" y="954"/>
                  </a:lnTo>
                  <a:lnTo>
                    <a:pt x="1056" y="978"/>
                  </a:lnTo>
                  <a:lnTo>
                    <a:pt x="1056" y="996"/>
                  </a:lnTo>
                  <a:lnTo>
                    <a:pt x="1068" y="990"/>
                  </a:lnTo>
                  <a:lnTo>
                    <a:pt x="1074" y="990"/>
                  </a:lnTo>
                  <a:lnTo>
                    <a:pt x="1074" y="1008"/>
                  </a:lnTo>
                  <a:lnTo>
                    <a:pt x="1080" y="1008"/>
                  </a:lnTo>
                  <a:lnTo>
                    <a:pt x="1092" y="1014"/>
                  </a:lnTo>
                  <a:lnTo>
                    <a:pt x="1110" y="1044"/>
                  </a:lnTo>
                  <a:lnTo>
                    <a:pt x="1110" y="1062"/>
                  </a:lnTo>
                  <a:lnTo>
                    <a:pt x="1128" y="1068"/>
                  </a:lnTo>
                  <a:lnTo>
                    <a:pt x="1128" y="1092"/>
                  </a:lnTo>
                  <a:lnTo>
                    <a:pt x="1134" y="1098"/>
                  </a:lnTo>
                  <a:lnTo>
                    <a:pt x="1158" y="1122"/>
                  </a:lnTo>
                  <a:lnTo>
                    <a:pt x="1188" y="1122"/>
                  </a:lnTo>
                  <a:lnTo>
                    <a:pt x="1188" y="1128"/>
                  </a:lnTo>
                  <a:lnTo>
                    <a:pt x="1200" y="1134"/>
                  </a:lnTo>
                  <a:lnTo>
                    <a:pt x="1206" y="1134"/>
                  </a:lnTo>
                  <a:lnTo>
                    <a:pt x="1206" y="1128"/>
                  </a:lnTo>
                  <a:lnTo>
                    <a:pt x="1212" y="1128"/>
                  </a:lnTo>
                  <a:lnTo>
                    <a:pt x="1218" y="1128"/>
                  </a:lnTo>
                  <a:lnTo>
                    <a:pt x="1224" y="1122"/>
                  </a:lnTo>
                  <a:lnTo>
                    <a:pt x="1224" y="1128"/>
                  </a:lnTo>
                  <a:lnTo>
                    <a:pt x="1230" y="1128"/>
                  </a:lnTo>
                  <a:lnTo>
                    <a:pt x="1236" y="1128"/>
                  </a:lnTo>
                  <a:lnTo>
                    <a:pt x="1236" y="1122"/>
                  </a:lnTo>
                  <a:lnTo>
                    <a:pt x="1242" y="1122"/>
                  </a:lnTo>
                  <a:lnTo>
                    <a:pt x="1248" y="1128"/>
                  </a:lnTo>
                  <a:lnTo>
                    <a:pt x="1254" y="1128"/>
                  </a:lnTo>
                  <a:lnTo>
                    <a:pt x="1260" y="1134"/>
                  </a:lnTo>
                  <a:lnTo>
                    <a:pt x="1260" y="1140"/>
                  </a:lnTo>
                  <a:lnTo>
                    <a:pt x="1266" y="1140"/>
                  </a:lnTo>
                  <a:lnTo>
                    <a:pt x="1272" y="1140"/>
                  </a:lnTo>
                  <a:lnTo>
                    <a:pt x="1278" y="1140"/>
                  </a:lnTo>
                  <a:lnTo>
                    <a:pt x="1284" y="1140"/>
                  </a:lnTo>
                  <a:lnTo>
                    <a:pt x="1290" y="1146"/>
                  </a:lnTo>
                  <a:lnTo>
                    <a:pt x="1290" y="1152"/>
                  </a:lnTo>
                  <a:lnTo>
                    <a:pt x="1296" y="1146"/>
                  </a:lnTo>
                  <a:lnTo>
                    <a:pt x="1296" y="1152"/>
                  </a:lnTo>
                  <a:lnTo>
                    <a:pt x="1308" y="1152"/>
                  </a:lnTo>
                  <a:lnTo>
                    <a:pt x="1314" y="1152"/>
                  </a:lnTo>
                  <a:lnTo>
                    <a:pt x="1320" y="1152"/>
                  </a:lnTo>
                  <a:lnTo>
                    <a:pt x="1332" y="1152"/>
                  </a:lnTo>
                  <a:lnTo>
                    <a:pt x="1338" y="1152"/>
                  </a:lnTo>
                  <a:lnTo>
                    <a:pt x="1344" y="1152"/>
                  </a:lnTo>
                  <a:lnTo>
                    <a:pt x="1344" y="1158"/>
                  </a:lnTo>
                  <a:lnTo>
                    <a:pt x="1350" y="1158"/>
                  </a:lnTo>
                  <a:lnTo>
                    <a:pt x="1356" y="1158"/>
                  </a:lnTo>
                  <a:lnTo>
                    <a:pt x="1362" y="1158"/>
                  </a:lnTo>
                  <a:lnTo>
                    <a:pt x="1368" y="1158"/>
                  </a:lnTo>
                  <a:lnTo>
                    <a:pt x="1374" y="1164"/>
                  </a:lnTo>
                  <a:lnTo>
                    <a:pt x="1380" y="1164"/>
                  </a:lnTo>
                  <a:lnTo>
                    <a:pt x="1386" y="1170"/>
                  </a:lnTo>
                  <a:lnTo>
                    <a:pt x="1392" y="1170"/>
                  </a:lnTo>
                  <a:lnTo>
                    <a:pt x="1398" y="1164"/>
                  </a:lnTo>
                  <a:lnTo>
                    <a:pt x="1404" y="1164"/>
                  </a:lnTo>
                  <a:lnTo>
                    <a:pt x="1410" y="1164"/>
                  </a:lnTo>
                  <a:lnTo>
                    <a:pt x="1416" y="1164"/>
                  </a:lnTo>
                  <a:lnTo>
                    <a:pt x="1416" y="1170"/>
                  </a:lnTo>
                  <a:lnTo>
                    <a:pt x="1422" y="1176"/>
                  </a:lnTo>
                  <a:lnTo>
                    <a:pt x="1416" y="1176"/>
                  </a:lnTo>
                  <a:lnTo>
                    <a:pt x="1416" y="1182"/>
                  </a:lnTo>
                  <a:lnTo>
                    <a:pt x="1410" y="1188"/>
                  </a:lnTo>
                  <a:lnTo>
                    <a:pt x="1404" y="1194"/>
                  </a:lnTo>
                  <a:lnTo>
                    <a:pt x="1404" y="1200"/>
                  </a:lnTo>
                  <a:lnTo>
                    <a:pt x="1404" y="1206"/>
                  </a:lnTo>
                  <a:lnTo>
                    <a:pt x="1398" y="1212"/>
                  </a:lnTo>
                  <a:lnTo>
                    <a:pt x="1398" y="1206"/>
                  </a:lnTo>
                  <a:lnTo>
                    <a:pt x="1392" y="1206"/>
                  </a:lnTo>
                  <a:lnTo>
                    <a:pt x="1386" y="1206"/>
                  </a:lnTo>
                  <a:lnTo>
                    <a:pt x="1380" y="1212"/>
                  </a:lnTo>
                  <a:lnTo>
                    <a:pt x="1374" y="1212"/>
                  </a:lnTo>
                  <a:lnTo>
                    <a:pt x="1368" y="1218"/>
                  </a:lnTo>
                  <a:lnTo>
                    <a:pt x="1362" y="1218"/>
                  </a:lnTo>
                  <a:lnTo>
                    <a:pt x="1362" y="1224"/>
                  </a:lnTo>
                  <a:lnTo>
                    <a:pt x="1356" y="1230"/>
                  </a:lnTo>
                  <a:lnTo>
                    <a:pt x="1350" y="1230"/>
                  </a:lnTo>
                  <a:lnTo>
                    <a:pt x="1344" y="1236"/>
                  </a:lnTo>
                  <a:lnTo>
                    <a:pt x="1338" y="1230"/>
                  </a:lnTo>
                  <a:lnTo>
                    <a:pt x="1332" y="1230"/>
                  </a:lnTo>
                  <a:lnTo>
                    <a:pt x="1326" y="1230"/>
                  </a:lnTo>
                  <a:lnTo>
                    <a:pt x="1320" y="1230"/>
                  </a:lnTo>
                  <a:lnTo>
                    <a:pt x="1314" y="1230"/>
                  </a:lnTo>
                  <a:lnTo>
                    <a:pt x="1296" y="1242"/>
                  </a:lnTo>
                  <a:lnTo>
                    <a:pt x="1296" y="1248"/>
                  </a:lnTo>
                  <a:lnTo>
                    <a:pt x="1290" y="1248"/>
                  </a:lnTo>
                  <a:lnTo>
                    <a:pt x="1290" y="1260"/>
                  </a:lnTo>
                  <a:lnTo>
                    <a:pt x="1278" y="1272"/>
                  </a:lnTo>
                  <a:lnTo>
                    <a:pt x="1278" y="1278"/>
                  </a:lnTo>
                  <a:lnTo>
                    <a:pt x="1278" y="1284"/>
                  </a:lnTo>
                  <a:lnTo>
                    <a:pt x="1278" y="1290"/>
                  </a:lnTo>
                  <a:lnTo>
                    <a:pt x="1284" y="1296"/>
                  </a:lnTo>
                  <a:lnTo>
                    <a:pt x="1302" y="1302"/>
                  </a:lnTo>
                  <a:lnTo>
                    <a:pt x="1308" y="1308"/>
                  </a:lnTo>
                  <a:lnTo>
                    <a:pt x="1308" y="1314"/>
                  </a:lnTo>
                  <a:lnTo>
                    <a:pt x="1302" y="1320"/>
                  </a:lnTo>
                  <a:lnTo>
                    <a:pt x="1278" y="1314"/>
                  </a:lnTo>
                  <a:lnTo>
                    <a:pt x="1266" y="1308"/>
                  </a:lnTo>
                  <a:lnTo>
                    <a:pt x="1260" y="1296"/>
                  </a:lnTo>
                  <a:lnTo>
                    <a:pt x="1236" y="1296"/>
                  </a:lnTo>
                  <a:lnTo>
                    <a:pt x="1224" y="1308"/>
                  </a:lnTo>
                  <a:lnTo>
                    <a:pt x="1218" y="1308"/>
                  </a:lnTo>
                  <a:lnTo>
                    <a:pt x="1218" y="1302"/>
                  </a:lnTo>
                  <a:lnTo>
                    <a:pt x="1212" y="1302"/>
                  </a:lnTo>
                  <a:lnTo>
                    <a:pt x="1206" y="1302"/>
                  </a:lnTo>
                  <a:lnTo>
                    <a:pt x="1170" y="1314"/>
                  </a:lnTo>
                  <a:lnTo>
                    <a:pt x="1134" y="1296"/>
                  </a:lnTo>
                  <a:lnTo>
                    <a:pt x="1122" y="1290"/>
                  </a:lnTo>
                  <a:lnTo>
                    <a:pt x="1104" y="1290"/>
                  </a:lnTo>
                  <a:lnTo>
                    <a:pt x="1098" y="1278"/>
                  </a:lnTo>
                  <a:lnTo>
                    <a:pt x="1092" y="1242"/>
                  </a:lnTo>
                  <a:lnTo>
                    <a:pt x="1086" y="1242"/>
                  </a:lnTo>
                  <a:lnTo>
                    <a:pt x="1086" y="1248"/>
                  </a:lnTo>
                  <a:lnTo>
                    <a:pt x="1086" y="1254"/>
                  </a:lnTo>
                  <a:lnTo>
                    <a:pt x="1080" y="1254"/>
                  </a:lnTo>
                  <a:lnTo>
                    <a:pt x="1080" y="1260"/>
                  </a:lnTo>
                  <a:lnTo>
                    <a:pt x="1074" y="1260"/>
                  </a:lnTo>
                  <a:lnTo>
                    <a:pt x="1068" y="1236"/>
                  </a:lnTo>
                  <a:lnTo>
                    <a:pt x="1068" y="1206"/>
                  </a:lnTo>
                  <a:lnTo>
                    <a:pt x="1080" y="1194"/>
                  </a:lnTo>
                  <a:lnTo>
                    <a:pt x="1086" y="1194"/>
                  </a:lnTo>
                  <a:lnTo>
                    <a:pt x="1092" y="1200"/>
                  </a:lnTo>
                  <a:lnTo>
                    <a:pt x="1098" y="1206"/>
                  </a:lnTo>
                  <a:lnTo>
                    <a:pt x="1104" y="1200"/>
                  </a:lnTo>
                  <a:lnTo>
                    <a:pt x="1104" y="1194"/>
                  </a:lnTo>
                  <a:lnTo>
                    <a:pt x="1110" y="1194"/>
                  </a:lnTo>
                  <a:lnTo>
                    <a:pt x="1110" y="1188"/>
                  </a:lnTo>
                  <a:lnTo>
                    <a:pt x="1116" y="1182"/>
                  </a:lnTo>
                  <a:lnTo>
                    <a:pt x="1110" y="1182"/>
                  </a:lnTo>
                  <a:lnTo>
                    <a:pt x="1110" y="1170"/>
                  </a:lnTo>
                  <a:lnTo>
                    <a:pt x="1110" y="1158"/>
                  </a:lnTo>
                  <a:lnTo>
                    <a:pt x="1110" y="1152"/>
                  </a:lnTo>
                  <a:lnTo>
                    <a:pt x="1104" y="1146"/>
                  </a:lnTo>
                  <a:lnTo>
                    <a:pt x="1098" y="1140"/>
                  </a:lnTo>
                  <a:lnTo>
                    <a:pt x="1098" y="1134"/>
                  </a:lnTo>
                  <a:lnTo>
                    <a:pt x="1098" y="1128"/>
                  </a:lnTo>
                  <a:lnTo>
                    <a:pt x="1092" y="1128"/>
                  </a:lnTo>
                  <a:lnTo>
                    <a:pt x="1092" y="1122"/>
                  </a:lnTo>
                  <a:lnTo>
                    <a:pt x="1092" y="1116"/>
                  </a:lnTo>
                  <a:lnTo>
                    <a:pt x="1092" y="1110"/>
                  </a:lnTo>
                  <a:lnTo>
                    <a:pt x="1056" y="1122"/>
                  </a:lnTo>
                  <a:lnTo>
                    <a:pt x="1038" y="1128"/>
                  </a:lnTo>
                  <a:lnTo>
                    <a:pt x="1032" y="1128"/>
                  </a:lnTo>
                  <a:lnTo>
                    <a:pt x="1026" y="1128"/>
                  </a:lnTo>
                  <a:lnTo>
                    <a:pt x="1020" y="1128"/>
                  </a:lnTo>
                  <a:lnTo>
                    <a:pt x="1014" y="1128"/>
                  </a:lnTo>
                  <a:lnTo>
                    <a:pt x="1014" y="1122"/>
                  </a:lnTo>
                  <a:lnTo>
                    <a:pt x="1008" y="1122"/>
                  </a:lnTo>
                  <a:lnTo>
                    <a:pt x="1002" y="1128"/>
                  </a:lnTo>
                  <a:lnTo>
                    <a:pt x="1002" y="1134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84" y="1140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66" y="1140"/>
                  </a:lnTo>
                  <a:lnTo>
                    <a:pt x="954" y="1140"/>
                  </a:lnTo>
                  <a:lnTo>
                    <a:pt x="954" y="1134"/>
                  </a:lnTo>
                  <a:lnTo>
                    <a:pt x="948" y="1134"/>
                  </a:lnTo>
                  <a:lnTo>
                    <a:pt x="942" y="1134"/>
                  </a:lnTo>
                  <a:lnTo>
                    <a:pt x="936" y="1134"/>
                  </a:lnTo>
                  <a:lnTo>
                    <a:pt x="930" y="1134"/>
                  </a:lnTo>
                  <a:lnTo>
                    <a:pt x="924" y="1134"/>
                  </a:lnTo>
                  <a:lnTo>
                    <a:pt x="918" y="1134"/>
                  </a:lnTo>
                  <a:lnTo>
                    <a:pt x="918" y="1128"/>
                  </a:lnTo>
                  <a:lnTo>
                    <a:pt x="918" y="1104"/>
                  </a:lnTo>
                  <a:lnTo>
                    <a:pt x="906" y="1104"/>
                  </a:lnTo>
                  <a:lnTo>
                    <a:pt x="900" y="1098"/>
                  </a:lnTo>
                  <a:lnTo>
                    <a:pt x="900" y="1092"/>
                  </a:lnTo>
                  <a:lnTo>
                    <a:pt x="900" y="1086"/>
                  </a:lnTo>
                  <a:lnTo>
                    <a:pt x="900" y="1080"/>
                  </a:lnTo>
                  <a:lnTo>
                    <a:pt x="894" y="1080"/>
                  </a:lnTo>
                  <a:lnTo>
                    <a:pt x="858" y="1074"/>
                  </a:lnTo>
                  <a:lnTo>
                    <a:pt x="852" y="1080"/>
                  </a:lnTo>
                  <a:lnTo>
                    <a:pt x="846" y="1086"/>
                  </a:lnTo>
                  <a:lnTo>
                    <a:pt x="840" y="1086"/>
                  </a:lnTo>
                  <a:lnTo>
                    <a:pt x="840" y="1092"/>
                  </a:lnTo>
                  <a:lnTo>
                    <a:pt x="834" y="1092"/>
                  </a:lnTo>
                  <a:lnTo>
                    <a:pt x="828" y="1098"/>
                  </a:lnTo>
                  <a:lnTo>
                    <a:pt x="822" y="1098"/>
                  </a:lnTo>
                  <a:lnTo>
                    <a:pt x="762" y="1074"/>
                  </a:lnTo>
                  <a:lnTo>
                    <a:pt x="756" y="1068"/>
                  </a:lnTo>
                  <a:lnTo>
                    <a:pt x="750" y="1068"/>
                  </a:lnTo>
                  <a:lnTo>
                    <a:pt x="744" y="1062"/>
                  </a:lnTo>
                  <a:lnTo>
                    <a:pt x="744" y="1068"/>
                  </a:lnTo>
                  <a:lnTo>
                    <a:pt x="744" y="1074"/>
                  </a:lnTo>
                  <a:lnTo>
                    <a:pt x="738" y="1074"/>
                  </a:lnTo>
                  <a:lnTo>
                    <a:pt x="738" y="1068"/>
                  </a:lnTo>
                  <a:lnTo>
                    <a:pt x="732" y="1068"/>
                  </a:lnTo>
                  <a:lnTo>
                    <a:pt x="726" y="1068"/>
                  </a:lnTo>
                  <a:lnTo>
                    <a:pt x="726" y="1074"/>
                  </a:lnTo>
                  <a:lnTo>
                    <a:pt x="720" y="1074"/>
                  </a:lnTo>
                  <a:lnTo>
                    <a:pt x="684" y="106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5" name="Freeform 40">
              <a:extLst>
                <a:ext uri="{FF2B5EF4-FFF2-40B4-BE49-F238E27FC236}">
                  <a16:creationId xmlns:a16="http://schemas.microsoft.com/office/drawing/2014/main" id="{37EC2F22-BDB9-4162-8FA4-08493F6898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3558" y="1520374"/>
              <a:ext cx="1057717" cy="1252440"/>
            </a:xfrm>
            <a:custGeom>
              <a:avLst/>
              <a:gdLst>
                <a:gd name="T0" fmla="*/ 98 w 1992"/>
                <a:gd name="T1" fmla="*/ 162 h 2358"/>
                <a:gd name="T2" fmla="*/ 93 w 1992"/>
                <a:gd name="T3" fmla="*/ 172 h 2358"/>
                <a:gd name="T4" fmla="*/ 82 w 1992"/>
                <a:gd name="T5" fmla="*/ 179 h 2358"/>
                <a:gd name="T6" fmla="*/ 70 w 1992"/>
                <a:gd name="T7" fmla="*/ 174 h 2358"/>
                <a:gd name="T8" fmla="*/ 62 w 1992"/>
                <a:gd name="T9" fmla="*/ 182 h 2358"/>
                <a:gd name="T10" fmla="*/ 45 w 1992"/>
                <a:gd name="T11" fmla="*/ 189 h 2358"/>
                <a:gd name="T12" fmla="*/ 24 w 1992"/>
                <a:gd name="T13" fmla="*/ 205 h 2358"/>
                <a:gd name="T14" fmla="*/ 17 w 1992"/>
                <a:gd name="T15" fmla="*/ 204 h 2358"/>
                <a:gd name="T16" fmla="*/ 7 w 1992"/>
                <a:gd name="T17" fmla="*/ 197 h 2358"/>
                <a:gd name="T18" fmla="*/ 1 w 1992"/>
                <a:gd name="T19" fmla="*/ 191 h 2358"/>
                <a:gd name="T20" fmla="*/ 4 w 1992"/>
                <a:gd name="T21" fmla="*/ 175 h 2358"/>
                <a:gd name="T22" fmla="*/ 7 w 1992"/>
                <a:gd name="T23" fmla="*/ 172 h 2358"/>
                <a:gd name="T24" fmla="*/ 11 w 1992"/>
                <a:gd name="T25" fmla="*/ 168 h 2358"/>
                <a:gd name="T26" fmla="*/ 5 w 1992"/>
                <a:gd name="T27" fmla="*/ 159 h 2358"/>
                <a:gd name="T28" fmla="*/ 10 w 1992"/>
                <a:gd name="T29" fmla="*/ 156 h 2358"/>
                <a:gd name="T30" fmla="*/ 15 w 1992"/>
                <a:gd name="T31" fmla="*/ 155 h 2358"/>
                <a:gd name="T32" fmla="*/ 24 w 1992"/>
                <a:gd name="T33" fmla="*/ 149 h 2358"/>
                <a:gd name="T34" fmla="*/ 38 w 1992"/>
                <a:gd name="T35" fmla="*/ 127 h 2358"/>
                <a:gd name="T36" fmla="*/ 38 w 1992"/>
                <a:gd name="T37" fmla="*/ 107 h 2358"/>
                <a:gd name="T38" fmla="*/ 45 w 1992"/>
                <a:gd name="T39" fmla="*/ 66 h 2358"/>
                <a:gd name="T40" fmla="*/ 47 w 1992"/>
                <a:gd name="T41" fmla="*/ 36 h 2358"/>
                <a:gd name="T42" fmla="*/ 51 w 1992"/>
                <a:gd name="T43" fmla="*/ 35 h 2358"/>
                <a:gd name="T44" fmla="*/ 55 w 1992"/>
                <a:gd name="T45" fmla="*/ 30 h 2358"/>
                <a:gd name="T46" fmla="*/ 56 w 1992"/>
                <a:gd name="T47" fmla="*/ 27 h 2358"/>
                <a:gd name="T48" fmla="*/ 60 w 1992"/>
                <a:gd name="T49" fmla="*/ 23 h 2358"/>
                <a:gd name="T50" fmla="*/ 63 w 1992"/>
                <a:gd name="T51" fmla="*/ 23 h 2358"/>
                <a:gd name="T52" fmla="*/ 70 w 1992"/>
                <a:gd name="T53" fmla="*/ 18 h 2358"/>
                <a:gd name="T54" fmla="*/ 71 w 1992"/>
                <a:gd name="T55" fmla="*/ 15 h 2358"/>
                <a:gd name="T56" fmla="*/ 72 w 1992"/>
                <a:gd name="T57" fmla="*/ 13 h 2358"/>
                <a:gd name="T58" fmla="*/ 77 w 1992"/>
                <a:gd name="T59" fmla="*/ 12 h 2358"/>
                <a:gd name="T60" fmla="*/ 83 w 1992"/>
                <a:gd name="T61" fmla="*/ 10 h 2358"/>
                <a:gd name="T62" fmla="*/ 87 w 1992"/>
                <a:gd name="T63" fmla="*/ 10 h 2358"/>
                <a:gd name="T64" fmla="*/ 89 w 1992"/>
                <a:gd name="T65" fmla="*/ 10 h 2358"/>
                <a:gd name="T66" fmla="*/ 93 w 1992"/>
                <a:gd name="T67" fmla="*/ 8 h 2358"/>
                <a:gd name="T68" fmla="*/ 95 w 1992"/>
                <a:gd name="T69" fmla="*/ 4 h 2358"/>
                <a:gd name="T70" fmla="*/ 99 w 1992"/>
                <a:gd name="T71" fmla="*/ 0 h 2358"/>
                <a:gd name="T72" fmla="*/ 111 w 1992"/>
                <a:gd name="T73" fmla="*/ 0 h 2358"/>
                <a:gd name="T74" fmla="*/ 121 w 1992"/>
                <a:gd name="T75" fmla="*/ 9 h 2358"/>
                <a:gd name="T76" fmla="*/ 128 w 1992"/>
                <a:gd name="T77" fmla="*/ 19 h 2358"/>
                <a:gd name="T78" fmla="*/ 138 w 1992"/>
                <a:gd name="T79" fmla="*/ 33 h 2358"/>
                <a:gd name="T80" fmla="*/ 142 w 1992"/>
                <a:gd name="T81" fmla="*/ 47 h 2358"/>
                <a:gd name="T82" fmla="*/ 145 w 1992"/>
                <a:gd name="T83" fmla="*/ 62 h 2358"/>
                <a:gd name="T84" fmla="*/ 145 w 1992"/>
                <a:gd name="T85" fmla="*/ 70 h 2358"/>
                <a:gd name="T86" fmla="*/ 147 w 1992"/>
                <a:gd name="T87" fmla="*/ 75 h 2358"/>
                <a:gd name="T88" fmla="*/ 153 w 1992"/>
                <a:gd name="T89" fmla="*/ 75 h 2358"/>
                <a:gd name="T90" fmla="*/ 160 w 1992"/>
                <a:gd name="T91" fmla="*/ 76 h 2358"/>
                <a:gd name="T92" fmla="*/ 164 w 1992"/>
                <a:gd name="T93" fmla="*/ 79 h 2358"/>
                <a:gd name="T94" fmla="*/ 168 w 1992"/>
                <a:gd name="T95" fmla="*/ 83 h 2358"/>
                <a:gd name="T96" fmla="*/ 172 w 1992"/>
                <a:gd name="T97" fmla="*/ 86 h 2358"/>
                <a:gd name="T98" fmla="*/ 170 w 1992"/>
                <a:gd name="T99" fmla="*/ 93 h 2358"/>
                <a:gd name="T100" fmla="*/ 170 w 1992"/>
                <a:gd name="T101" fmla="*/ 99 h 2358"/>
                <a:gd name="T102" fmla="*/ 169 w 1992"/>
                <a:gd name="T103" fmla="*/ 106 h 2358"/>
                <a:gd name="T104" fmla="*/ 166 w 1992"/>
                <a:gd name="T105" fmla="*/ 113 h 2358"/>
                <a:gd name="T106" fmla="*/ 170 w 1992"/>
                <a:gd name="T107" fmla="*/ 122 h 2358"/>
                <a:gd name="T108" fmla="*/ 159 w 1992"/>
                <a:gd name="T109" fmla="*/ 128 h 2358"/>
                <a:gd name="T110" fmla="*/ 148 w 1992"/>
                <a:gd name="T111" fmla="*/ 134 h 2358"/>
                <a:gd name="T112" fmla="*/ 139 w 1992"/>
                <a:gd name="T113" fmla="*/ 136 h 2358"/>
                <a:gd name="T114" fmla="*/ 132 w 1992"/>
                <a:gd name="T115" fmla="*/ 138 h 2358"/>
                <a:gd name="T116" fmla="*/ 128 w 1992"/>
                <a:gd name="T117" fmla="*/ 145 h 2358"/>
                <a:gd name="T118" fmla="*/ 124 w 1992"/>
                <a:gd name="T119" fmla="*/ 150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92"/>
                <a:gd name="T181" fmla="*/ 0 h 2358"/>
                <a:gd name="T182" fmla="*/ 1992 w 1992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92" h="2358">
                  <a:moveTo>
                    <a:pt x="1356" y="1782"/>
                  </a:moveTo>
                  <a:lnTo>
                    <a:pt x="1350" y="1788"/>
                  </a:lnTo>
                  <a:lnTo>
                    <a:pt x="1266" y="1788"/>
                  </a:lnTo>
                  <a:lnTo>
                    <a:pt x="1260" y="1800"/>
                  </a:lnTo>
                  <a:lnTo>
                    <a:pt x="1242" y="1806"/>
                  </a:lnTo>
                  <a:lnTo>
                    <a:pt x="1218" y="1812"/>
                  </a:lnTo>
                  <a:lnTo>
                    <a:pt x="1182" y="1812"/>
                  </a:lnTo>
                  <a:lnTo>
                    <a:pt x="1158" y="1806"/>
                  </a:lnTo>
                  <a:lnTo>
                    <a:pt x="1134" y="1800"/>
                  </a:lnTo>
                  <a:lnTo>
                    <a:pt x="1134" y="1806"/>
                  </a:lnTo>
                  <a:lnTo>
                    <a:pt x="1134" y="1830"/>
                  </a:lnTo>
                  <a:lnTo>
                    <a:pt x="1128" y="1842"/>
                  </a:lnTo>
                  <a:lnTo>
                    <a:pt x="1128" y="1854"/>
                  </a:lnTo>
                  <a:lnTo>
                    <a:pt x="1128" y="1860"/>
                  </a:lnTo>
                  <a:lnTo>
                    <a:pt x="1128" y="1866"/>
                  </a:lnTo>
                  <a:lnTo>
                    <a:pt x="1128" y="1872"/>
                  </a:lnTo>
                  <a:lnTo>
                    <a:pt x="1128" y="1884"/>
                  </a:lnTo>
                  <a:lnTo>
                    <a:pt x="1128" y="1890"/>
                  </a:lnTo>
                  <a:lnTo>
                    <a:pt x="1128" y="1896"/>
                  </a:lnTo>
                  <a:lnTo>
                    <a:pt x="1122" y="1902"/>
                  </a:lnTo>
                  <a:lnTo>
                    <a:pt x="1122" y="1920"/>
                  </a:lnTo>
                  <a:lnTo>
                    <a:pt x="1116" y="1920"/>
                  </a:lnTo>
                  <a:lnTo>
                    <a:pt x="1110" y="1926"/>
                  </a:lnTo>
                  <a:lnTo>
                    <a:pt x="1110" y="1932"/>
                  </a:lnTo>
                  <a:lnTo>
                    <a:pt x="1104" y="1938"/>
                  </a:lnTo>
                  <a:lnTo>
                    <a:pt x="1086" y="1962"/>
                  </a:lnTo>
                  <a:lnTo>
                    <a:pt x="1074" y="1974"/>
                  </a:lnTo>
                  <a:lnTo>
                    <a:pt x="1074" y="1980"/>
                  </a:lnTo>
                  <a:lnTo>
                    <a:pt x="1068" y="1986"/>
                  </a:lnTo>
                  <a:lnTo>
                    <a:pt x="1062" y="1998"/>
                  </a:lnTo>
                  <a:lnTo>
                    <a:pt x="1062" y="2004"/>
                  </a:lnTo>
                  <a:lnTo>
                    <a:pt x="1068" y="2004"/>
                  </a:lnTo>
                  <a:lnTo>
                    <a:pt x="1056" y="2034"/>
                  </a:lnTo>
                  <a:lnTo>
                    <a:pt x="1050" y="2076"/>
                  </a:lnTo>
                  <a:lnTo>
                    <a:pt x="1056" y="2100"/>
                  </a:lnTo>
                  <a:lnTo>
                    <a:pt x="1038" y="2106"/>
                  </a:lnTo>
                  <a:lnTo>
                    <a:pt x="1002" y="2106"/>
                  </a:lnTo>
                  <a:lnTo>
                    <a:pt x="978" y="2094"/>
                  </a:lnTo>
                  <a:lnTo>
                    <a:pt x="972" y="2082"/>
                  </a:lnTo>
                  <a:lnTo>
                    <a:pt x="966" y="2070"/>
                  </a:lnTo>
                  <a:lnTo>
                    <a:pt x="954" y="2064"/>
                  </a:lnTo>
                  <a:lnTo>
                    <a:pt x="942" y="2058"/>
                  </a:lnTo>
                  <a:lnTo>
                    <a:pt x="936" y="2058"/>
                  </a:lnTo>
                  <a:lnTo>
                    <a:pt x="918" y="2046"/>
                  </a:lnTo>
                  <a:lnTo>
                    <a:pt x="906" y="2028"/>
                  </a:lnTo>
                  <a:lnTo>
                    <a:pt x="900" y="2022"/>
                  </a:lnTo>
                  <a:lnTo>
                    <a:pt x="894" y="2022"/>
                  </a:lnTo>
                  <a:lnTo>
                    <a:pt x="882" y="2022"/>
                  </a:lnTo>
                  <a:lnTo>
                    <a:pt x="870" y="2016"/>
                  </a:lnTo>
                  <a:lnTo>
                    <a:pt x="864" y="2016"/>
                  </a:lnTo>
                  <a:lnTo>
                    <a:pt x="852" y="2010"/>
                  </a:lnTo>
                  <a:lnTo>
                    <a:pt x="846" y="2004"/>
                  </a:lnTo>
                  <a:lnTo>
                    <a:pt x="840" y="2004"/>
                  </a:lnTo>
                  <a:lnTo>
                    <a:pt x="828" y="1998"/>
                  </a:lnTo>
                  <a:lnTo>
                    <a:pt x="816" y="1998"/>
                  </a:lnTo>
                  <a:lnTo>
                    <a:pt x="810" y="1998"/>
                  </a:lnTo>
                  <a:lnTo>
                    <a:pt x="804" y="1998"/>
                  </a:lnTo>
                  <a:lnTo>
                    <a:pt x="798" y="1998"/>
                  </a:lnTo>
                  <a:lnTo>
                    <a:pt x="792" y="2004"/>
                  </a:lnTo>
                  <a:lnTo>
                    <a:pt x="786" y="2010"/>
                  </a:lnTo>
                  <a:lnTo>
                    <a:pt x="762" y="2010"/>
                  </a:lnTo>
                  <a:lnTo>
                    <a:pt x="756" y="2010"/>
                  </a:lnTo>
                  <a:lnTo>
                    <a:pt x="744" y="2022"/>
                  </a:lnTo>
                  <a:lnTo>
                    <a:pt x="738" y="2034"/>
                  </a:lnTo>
                  <a:lnTo>
                    <a:pt x="732" y="2040"/>
                  </a:lnTo>
                  <a:lnTo>
                    <a:pt x="732" y="2046"/>
                  </a:lnTo>
                  <a:lnTo>
                    <a:pt x="726" y="2058"/>
                  </a:lnTo>
                  <a:lnTo>
                    <a:pt x="720" y="2064"/>
                  </a:lnTo>
                  <a:lnTo>
                    <a:pt x="714" y="2070"/>
                  </a:lnTo>
                  <a:lnTo>
                    <a:pt x="708" y="2088"/>
                  </a:lnTo>
                  <a:lnTo>
                    <a:pt x="702" y="2100"/>
                  </a:lnTo>
                  <a:lnTo>
                    <a:pt x="690" y="2100"/>
                  </a:lnTo>
                  <a:lnTo>
                    <a:pt x="684" y="2094"/>
                  </a:lnTo>
                  <a:lnTo>
                    <a:pt x="666" y="2100"/>
                  </a:lnTo>
                  <a:lnTo>
                    <a:pt x="636" y="2106"/>
                  </a:lnTo>
                  <a:lnTo>
                    <a:pt x="636" y="2112"/>
                  </a:lnTo>
                  <a:lnTo>
                    <a:pt x="636" y="2118"/>
                  </a:lnTo>
                  <a:lnTo>
                    <a:pt x="636" y="2124"/>
                  </a:lnTo>
                  <a:lnTo>
                    <a:pt x="630" y="2124"/>
                  </a:lnTo>
                  <a:lnTo>
                    <a:pt x="630" y="2148"/>
                  </a:lnTo>
                  <a:lnTo>
                    <a:pt x="612" y="2160"/>
                  </a:lnTo>
                  <a:lnTo>
                    <a:pt x="576" y="2172"/>
                  </a:lnTo>
                  <a:lnTo>
                    <a:pt x="546" y="2172"/>
                  </a:lnTo>
                  <a:lnTo>
                    <a:pt x="516" y="2172"/>
                  </a:lnTo>
                  <a:lnTo>
                    <a:pt x="486" y="2172"/>
                  </a:lnTo>
                  <a:lnTo>
                    <a:pt x="462" y="2172"/>
                  </a:lnTo>
                  <a:lnTo>
                    <a:pt x="444" y="2196"/>
                  </a:lnTo>
                  <a:lnTo>
                    <a:pt x="432" y="2232"/>
                  </a:lnTo>
                  <a:lnTo>
                    <a:pt x="408" y="2238"/>
                  </a:lnTo>
                  <a:lnTo>
                    <a:pt x="390" y="2256"/>
                  </a:lnTo>
                  <a:lnTo>
                    <a:pt x="372" y="2274"/>
                  </a:lnTo>
                  <a:lnTo>
                    <a:pt x="360" y="2274"/>
                  </a:lnTo>
                  <a:lnTo>
                    <a:pt x="336" y="2328"/>
                  </a:lnTo>
                  <a:lnTo>
                    <a:pt x="324" y="2340"/>
                  </a:lnTo>
                  <a:lnTo>
                    <a:pt x="300" y="2346"/>
                  </a:lnTo>
                  <a:lnTo>
                    <a:pt x="294" y="2352"/>
                  </a:lnTo>
                  <a:lnTo>
                    <a:pt x="288" y="2352"/>
                  </a:lnTo>
                  <a:lnTo>
                    <a:pt x="282" y="2352"/>
                  </a:lnTo>
                  <a:lnTo>
                    <a:pt x="276" y="2352"/>
                  </a:lnTo>
                  <a:lnTo>
                    <a:pt x="270" y="2352"/>
                  </a:lnTo>
                  <a:lnTo>
                    <a:pt x="270" y="2346"/>
                  </a:lnTo>
                  <a:lnTo>
                    <a:pt x="264" y="2346"/>
                  </a:lnTo>
                  <a:lnTo>
                    <a:pt x="258" y="2352"/>
                  </a:lnTo>
                  <a:lnTo>
                    <a:pt x="252" y="2352"/>
                  </a:lnTo>
                  <a:lnTo>
                    <a:pt x="240" y="2352"/>
                  </a:lnTo>
                  <a:lnTo>
                    <a:pt x="228" y="2352"/>
                  </a:lnTo>
                  <a:lnTo>
                    <a:pt x="222" y="2352"/>
                  </a:lnTo>
                  <a:lnTo>
                    <a:pt x="216" y="2358"/>
                  </a:lnTo>
                  <a:lnTo>
                    <a:pt x="216" y="2352"/>
                  </a:lnTo>
                  <a:lnTo>
                    <a:pt x="210" y="2346"/>
                  </a:lnTo>
                  <a:lnTo>
                    <a:pt x="204" y="2346"/>
                  </a:lnTo>
                  <a:lnTo>
                    <a:pt x="198" y="2340"/>
                  </a:lnTo>
                  <a:lnTo>
                    <a:pt x="192" y="2340"/>
                  </a:lnTo>
                  <a:lnTo>
                    <a:pt x="186" y="2340"/>
                  </a:lnTo>
                  <a:lnTo>
                    <a:pt x="180" y="2340"/>
                  </a:lnTo>
                  <a:lnTo>
                    <a:pt x="174" y="2340"/>
                  </a:lnTo>
                  <a:lnTo>
                    <a:pt x="162" y="2328"/>
                  </a:lnTo>
                  <a:lnTo>
                    <a:pt x="156" y="2322"/>
                  </a:lnTo>
                  <a:lnTo>
                    <a:pt x="156" y="2316"/>
                  </a:lnTo>
                  <a:lnTo>
                    <a:pt x="156" y="2310"/>
                  </a:lnTo>
                  <a:lnTo>
                    <a:pt x="132" y="2286"/>
                  </a:lnTo>
                  <a:lnTo>
                    <a:pt x="120" y="2280"/>
                  </a:lnTo>
                  <a:lnTo>
                    <a:pt x="96" y="2274"/>
                  </a:lnTo>
                  <a:lnTo>
                    <a:pt x="84" y="2268"/>
                  </a:lnTo>
                  <a:lnTo>
                    <a:pt x="78" y="2268"/>
                  </a:lnTo>
                  <a:lnTo>
                    <a:pt x="78" y="2262"/>
                  </a:lnTo>
                  <a:lnTo>
                    <a:pt x="78" y="2256"/>
                  </a:lnTo>
                  <a:lnTo>
                    <a:pt x="78" y="2250"/>
                  </a:lnTo>
                  <a:lnTo>
                    <a:pt x="72" y="2250"/>
                  </a:lnTo>
                  <a:lnTo>
                    <a:pt x="66" y="2250"/>
                  </a:lnTo>
                  <a:lnTo>
                    <a:pt x="60" y="2250"/>
                  </a:lnTo>
                  <a:lnTo>
                    <a:pt x="48" y="2244"/>
                  </a:lnTo>
                  <a:lnTo>
                    <a:pt x="36" y="2238"/>
                  </a:lnTo>
                  <a:lnTo>
                    <a:pt x="36" y="2226"/>
                  </a:lnTo>
                  <a:lnTo>
                    <a:pt x="30" y="2226"/>
                  </a:lnTo>
                  <a:lnTo>
                    <a:pt x="30" y="2220"/>
                  </a:lnTo>
                  <a:lnTo>
                    <a:pt x="24" y="2208"/>
                  </a:lnTo>
                  <a:lnTo>
                    <a:pt x="18" y="2202"/>
                  </a:lnTo>
                  <a:lnTo>
                    <a:pt x="18" y="2196"/>
                  </a:lnTo>
                  <a:lnTo>
                    <a:pt x="12" y="2190"/>
                  </a:lnTo>
                  <a:lnTo>
                    <a:pt x="0" y="2190"/>
                  </a:lnTo>
                  <a:lnTo>
                    <a:pt x="6" y="2184"/>
                  </a:lnTo>
                  <a:lnTo>
                    <a:pt x="12" y="2178"/>
                  </a:lnTo>
                  <a:lnTo>
                    <a:pt x="18" y="2172"/>
                  </a:lnTo>
                  <a:lnTo>
                    <a:pt x="24" y="2166"/>
                  </a:lnTo>
                  <a:lnTo>
                    <a:pt x="30" y="2166"/>
                  </a:lnTo>
                  <a:lnTo>
                    <a:pt x="24" y="2160"/>
                  </a:lnTo>
                  <a:lnTo>
                    <a:pt x="30" y="2160"/>
                  </a:lnTo>
                  <a:lnTo>
                    <a:pt x="36" y="2154"/>
                  </a:lnTo>
                  <a:lnTo>
                    <a:pt x="36" y="2136"/>
                  </a:lnTo>
                  <a:lnTo>
                    <a:pt x="36" y="2118"/>
                  </a:lnTo>
                  <a:lnTo>
                    <a:pt x="48" y="2058"/>
                  </a:lnTo>
                  <a:lnTo>
                    <a:pt x="48" y="2022"/>
                  </a:lnTo>
                  <a:lnTo>
                    <a:pt x="48" y="2016"/>
                  </a:lnTo>
                  <a:lnTo>
                    <a:pt x="48" y="2010"/>
                  </a:lnTo>
                  <a:lnTo>
                    <a:pt x="48" y="2004"/>
                  </a:lnTo>
                  <a:lnTo>
                    <a:pt x="42" y="2004"/>
                  </a:lnTo>
                  <a:lnTo>
                    <a:pt x="42" y="1998"/>
                  </a:lnTo>
                  <a:lnTo>
                    <a:pt x="36" y="1992"/>
                  </a:lnTo>
                  <a:lnTo>
                    <a:pt x="42" y="1992"/>
                  </a:lnTo>
                  <a:lnTo>
                    <a:pt x="42" y="1986"/>
                  </a:lnTo>
                  <a:lnTo>
                    <a:pt x="48" y="1986"/>
                  </a:lnTo>
                  <a:lnTo>
                    <a:pt x="54" y="1986"/>
                  </a:lnTo>
                  <a:lnTo>
                    <a:pt x="60" y="1986"/>
                  </a:lnTo>
                  <a:lnTo>
                    <a:pt x="66" y="1980"/>
                  </a:lnTo>
                  <a:lnTo>
                    <a:pt x="72" y="1974"/>
                  </a:lnTo>
                  <a:lnTo>
                    <a:pt x="78" y="1974"/>
                  </a:lnTo>
                  <a:lnTo>
                    <a:pt x="84" y="1974"/>
                  </a:lnTo>
                  <a:lnTo>
                    <a:pt x="90" y="1974"/>
                  </a:lnTo>
                  <a:lnTo>
                    <a:pt x="96" y="1974"/>
                  </a:lnTo>
                  <a:lnTo>
                    <a:pt x="96" y="1968"/>
                  </a:lnTo>
                  <a:lnTo>
                    <a:pt x="102" y="1968"/>
                  </a:lnTo>
                  <a:lnTo>
                    <a:pt x="102" y="1962"/>
                  </a:lnTo>
                  <a:lnTo>
                    <a:pt x="108" y="1962"/>
                  </a:lnTo>
                  <a:lnTo>
                    <a:pt x="114" y="1956"/>
                  </a:lnTo>
                  <a:lnTo>
                    <a:pt x="120" y="1956"/>
                  </a:lnTo>
                  <a:lnTo>
                    <a:pt x="126" y="1950"/>
                  </a:lnTo>
                  <a:lnTo>
                    <a:pt x="132" y="1950"/>
                  </a:lnTo>
                  <a:lnTo>
                    <a:pt x="132" y="1944"/>
                  </a:lnTo>
                  <a:lnTo>
                    <a:pt x="126" y="1944"/>
                  </a:lnTo>
                  <a:lnTo>
                    <a:pt x="126" y="1938"/>
                  </a:lnTo>
                  <a:lnTo>
                    <a:pt x="126" y="1932"/>
                  </a:lnTo>
                  <a:lnTo>
                    <a:pt x="126" y="1926"/>
                  </a:lnTo>
                  <a:lnTo>
                    <a:pt x="114" y="1914"/>
                  </a:lnTo>
                  <a:lnTo>
                    <a:pt x="114" y="1896"/>
                  </a:lnTo>
                  <a:lnTo>
                    <a:pt x="108" y="1884"/>
                  </a:lnTo>
                  <a:lnTo>
                    <a:pt x="102" y="1872"/>
                  </a:lnTo>
                  <a:lnTo>
                    <a:pt x="96" y="1866"/>
                  </a:lnTo>
                  <a:lnTo>
                    <a:pt x="96" y="1860"/>
                  </a:lnTo>
                  <a:lnTo>
                    <a:pt x="90" y="1860"/>
                  </a:lnTo>
                  <a:lnTo>
                    <a:pt x="90" y="1854"/>
                  </a:lnTo>
                  <a:lnTo>
                    <a:pt x="84" y="1848"/>
                  </a:lnTo>
                  <a:lnTo>
                    <a:pt x="78" y="1842"/>
                  </a:lnTo>
                  <a:lnTo>
                    <a:pt x="72" y="1836"/>
                  </a:lnTo>
                  <a:lnTo>
                    <a:pt x="66" y="1830"/>
                  </a:lnTo>
                  <a:lnTo>
                    <a:pt x="60" y="1824"/>
                  </a:lnTo>
                  <a:lnTo>
                    <a:pt x="54" y="1824"/>
                  </a:lnTo>
                  <a:lnTo>
                    <a:pt x="48" y="1824"/>
                  </a:lnTo>
                  <a:lnTo>
                    <a:pt x="42" y="1818"/>
                  </a:lnTo>
                  <a:lnTo>
                    <a:pt x="54" y="1818"/>
                  </a:lnTo>
                  <a:lnTo>
                    <a:pt x="60" y="1812"/>
                  </a:lnTo>
                  <a:lnTo>
                    <a:pt x="66" y="1812"/>
                  </a:lnTo>
                  <a:lnTo>
                    <a:pt x="72" y="1812"/>
                  </a:lnTo>
                  <a:lnTo>
                    <a:pt x="78" y="1812"/>
                  </a:lnTo>
                  <a:lnTo>
                    <a:pt x="84" y="1812"/>
                  </a:lnTo>
                  <a:lnTo>
                    <a:pt x="90" y="1806"/>
                  </a:lnTo>
                  <a:lnTo>
                    <a:pt x="96" y="1800"/>
                  </a:lnTo>
                  <a:lnTo>
                    <a:pt x="102" y="1806"/>
                  </a:lnTo>
                  <a:lnTo>
                    <a:pt x="108" y="1800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26" y="1788"/>
                  </a:lnTo>
                  <a:lnTo>
                    <a:pt x="126" y="1794"/>
                  </a:lnTo>
                  <a:lnTo>
                    <a:pt x="132" y="1794"/>
                  </a:lnTo>
                  <a:lnTo>
                    <a:pt x="132" y="1788"/>
                  </a:lnTo>
                  <a:lnTo>
                    <a:pt x="138" y="1788"/>
                  </a:lnTo>
                  <a:lnTo>
                    <a:pt x="138" y="1782"/>
                  </a:lnTo>
                  <a:lnTo>
                    <a:pt x="144" y="1782"/>
                  </a:lnTo>
                  <a:lnTo>
                    <a:pt x="150" y="1776"/>
                  </a:lnTo>
                  <a:lnTo>
                    <a:pt x="156" y="1782"/>
                  </a:lnTo>
                  <a:lnTo>
                    <a:pt x="162" y="1776"/>
                  </a:lnTo>
                  <a:lnTo>
                    <a:pt x="168" y="1776"/>
                  </a:lnTo>
                  <a:lnTo>
                    <a:pt x="180" y="1776"/>
                  </a:lnTo>
                  <a:lnTo>
                    <a:pt x="186" y="1776"/>
                  </a:lnTo>
                  <a:lnTo>
                    <a:pt x="186" y="1782"/>
                  </a:lnTo>
                  <a:lnTo>
                    <a:pt x="192" y="1776"/>
                  </a:lnTo>
                  <a:lnTo>
                    <a:pt x="198" y="1776"/>
                  </a:lnTo>
                  <a:lnTo>
                    <a:pt x="204" y="1770"/>
                  </a:lnTo>
                  <a:lnTo>
                    <a:pt x="204" y="1764"/>
                  </a:lnTo>
                  <a:lnTo>
                    <a:pt x="210" y="1764"/>
                  </a:lnTo>
                  <a:lnTo>
                    <a:pt x="216" y="1764"/>
                  </a:lnTo>
                  <a:lnTo>
                    <a:pt x="216" y="1758"/>
                  </a:lnTo>
                  <a:lnTo>
                    <a:pt x="222" y="1758"/>
                  </a:lnTo>
                  <a:lnTo>
                    <a:pt x="228" y="1758"/>
                  </a:lnTo>
                  <a:lnTo>
                    <a:pt x="258" y="1746"/>
                  </a:lnTo>
                  <a:lnTo>
                    <a:pt x="282" y="1716"/>
                  </a:lnTo>
                  <a:lnTo>
                    <a:pt x="300" y="1698"/>
                  </a:lnTo>
                  <a:lnTo>
                    <a:pt x="312" y="1698"/>
                  </a:lnTo>
                  <a:lnTo>
                    <a:pt x="336" y="1698"/>
                  </a:lnTo>
                  <a:lnTo>
                    <a:pt x="360" y="1698"/>
                  </a:lnTo>
                  <a:lnTo>
                    <a:pt x="372" y="1692"/>
                  </a:lnTo>
                  <a:lnTo>
                    <a:pt x="384" y="1692"/>
                  </a:lnTo>
                  <a:lnTo>
                    <a:pt x="360" y="1668"/>
                  </a:lnTo>
                  <a:lnTo>
                    <a:pt x="348" y="1626"/>
                  </a:lnTo>
                  <a:lnTo>
                    <a:pt x="354" y="1578"/>
                  </a:lnTo>
                  <a:lnTo>
                    <a:pt x="354" y="1572"/>
                  </a:lnTo>
                  <a:lnTo>
                    <a:pt x="360" y="1572"/>
                  </a:lnTo>
                  <a:lnTo>
                    <a:pt x="396" y="1530"/>
                  </a:lnTo>
                  <a:lnTo>
                    <a:pt x="408" y="1482"/>
                  </a:lnTo>
                  <a:lnTo>
                    <a:pt x="438" y="1458"/>
                  </a:lnTo>
                  <a:lnTo>
                    <a:pt x="468" y="1422"/>
                  </a:lnTo>
                  <a:lnTo>
                    <a:pt x="480" y="1410"/>
                  </a:lnTo>
                  <a:lnTo>
                    <a:pt x="474" y="1386"/>
                  </a:lnTo>
                  <a:lnTo>
                    <a:pt x="456" y="1356"/>
                  </a:lnTo>
                  <a:lnTo>
                    <a:pt x="438" y="1350"/>
                  </a:lnTo>
                  <a:lnTo>
                    <a:pt x="420" y="1350"/>
                  </a:lnTo>
                  <a:lnTo>
                    <a:pt x="402" y="1350"/>
                  </a:lnTo>
                  <a:lnTo>
                    <a:pt x="390" y="1344"/>
                  </a:lnTo>
                  <a:lnTo>
                    <a:pt x="390" y="1332"/>
                  </a:lnTo>
                  <a:lnTo>
                    <a:pt x="402" y="1296"/>
                  </a:lnTo>
                  <a:lnTo>
                    <a:pt x="414" y="1260"/>
                  </a:lnTo>
                  <a:lnTo>
                    <a:pt x="426" y="1248"/>
                  </a:lnTo>
                  <a:lnTo>
                    <a:pt x="438" y="1242"/>
                  </a:lnTo>
                  <a:lnTo>
                    <a:pt x="432" y="1230"/>
                  </a:lnTo>
                  <a:lnTo>
                    <a:pt x="432" y="1224"/>
                  </a:lnTo>
                  <a:lnTo>
                    <a:pt x="426" y="1218"/>
                  </a:lnTo>
                  <a:lnTo>
                    <a:pt x="426" y="1206"/>
                  </a:lnTo>
                  <a:lnTo>
                    <a:pt x="426" y="1200"/>
                  </a:lnTo>
                  <a:lnTo>
                    <a:pt x="432" y="1194"/>
                  </a:lnTo>
                  <a:lnTo>
                    <a:pt x="426" y="1188"/>
                  </a:lnTo>
                  <a:lnTo>
                    <a:pt x="432" y="1104"/>
                  </a:lnTo>
                  <a:lnTo>
                    <a:pt x="438" y="1086"/>
                  </a:lnTo>
                  <a:lnTo>
                    <a:pt x="462" y="972"/>
                  </a:lnTo>
                  <a:lnTo>
                    <a:pt x="456" y="900"/>
                  </a:lnTo>
                  <a:lnTo>
                    <a:pt x="444" y="846"/>
                  </a:lnTo>
                  <a:lnTo>
                    <a:pt x="456" y="810"/>
                  </a:lnTo>
                  <a:lnTo>
                    <a:pt x="492" y="786"/>
                  </a:lnTo>
                  <a:lnTo>
                    <a:pt x="522" y="762"/>
                  </a:lnTo>
                  <a:lnTo>
                    <a:pt x="546" y="732"/>
                  </a:lnTo>
                  <a:lnTo>
                    <a:pt x="570" y="696"/>
                  </a:lnTo>
                  <a:lnTo>
                    <a:pt x="582" y="654"/>
                  </a:lnTo>
                  <a:lnTo>
                    <a:pt x="564" y="642"/>
                  </a:lnTo>
                  <a:lnTo>
                    <a:pt x="522" y="588"/>
                  </a:lnTo>
                  <a:lnTo>
                    <a:pt x="516" y="546"/>
                  </a:lnTo>
                  <a:lnTo>
                    <a:pt x="510" y="474"/>
                  </a:lnTo>
                  <a:lnTo>
                    <a:pt x="510" y="450"/>
                  </a:lnTo>
                  <a:lnTo>
                    <a:pt x="510" y="444"/>
                  </a:lnTo>
                  <a:lnTo>
                    <a:pt x="522" y="438"/>
                  </a:lnTo>
                  <a:lnTo>
                    <a:pt x="522" y="432"/>
                  </a:lnTo>
                  <a:lnTo>
                    <a:pt x="528" y="426"/>
                  </a:lnTo>
                  <a:lnTo>
                    <a:pt x="534" y="420"/>
                  </a:lnTo>
                  <a:lnTo>
                    <a:pt x="540" y="414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08"/>
                  </a:lnTo>
                  <a:lnTo>
                    <a:pt x="546" y="408"/>
                  </a:lnTo>
                  <a:lnTo>
                    <a:pt x="558" y="414"/>
                  </a:lnTo>
                  <a:lnTo>
                    <a:pt x="564" y="414"/>
                  </a:lnTo>
                  <a:lnTo>
                    <a:pt x="570" y="414"/>
                  </a:lnTo>
                  <a:lnTo>
                    <a:pt x="582" y="414"/>
                  </a:lnTo>
                  <a:lnTo>
                    <a:pt x="582" y="420"/>
                  </a:lnTo>
                  <a:lnTo>
                    <a:pt x="588" y="414"/>
                  </a:lnTo>
                  <a:lnTo>
                    <a:pt x="582" y="408"/>
                  </a:lnTo>
                  <a:lnTo>
                    <a:pt x="588" y="402"/>
                  </a:lnTo>
                  <a:lnTo>
                    <a:pt x="594" y="402"/>
                  </a:lnTo>
                  <a:lnTo>
                    <a:pt x="594" y="396"/>
                  </a:lnTo>
                  <a:lnTo>
                    <a:pt x="594" y="390"/>
                  </a:lnTo>
                  <a:lnTo>
                    <a:pt x="594" y="384"/>
                  </a:lnTo>
                  <a:lnTo>
                    <a:pt x="594" y="378"/>
                  </a:lnTo>
                  <a:lnTo>
                    <a:pt x="600" y="366"/>
                  </a:lnTo>
                  <a:lnTo>
                    <a:pt x="606" y="366"/>
                  </a:lnTo>
                  <a:lnTo>
                    <a:pt x="612" y="360"/>
                  </a:lnTo>
                  <a:lnTo>
                    <a:pt x="612" y="366"/>
                  </a:lnTo>
                  <a:lnTo>
                    <a:pt x="618" y="366"/>
                  </a:lnTo>
                  <a:lnTo>
                    <a:pt x="624" y="366"/>
                  </a:lnTo>
                  <a:lnTo>
                    <a:pt x="630" y="360"/>
                  </a:lnTo>
                  <a:lnTo>
                    <a:pt x="636" y="354"/>
                  </a:lnTo>
                  <a:lnTo>
                    <a:pt x="630" y="354"/>
                  </a:lnTo>
                  <a:lnTo>
                    <a:pt x="630" y="348"/>
                  </a:lnTo>
                  <a:lnTo>
                    <a:pt x="630" y="342"/>
                  </a:lnTo>
                  <a:lnTo>
                    <a:pt x="636" y="342"/>
                  </a:lnTo>
                  <a:lnTo>
                    <a:pt x="642" y="336"/>
                  </a:lnTo>
                  <a:lnTo>
                    <a:pt x="636" y="330"/>
                  </a:lnTo>
                  <a:lnTo>
                    <a:pt x="630" y="336"/>
                  </a:lnTo>
                  <a:lnTo>
                    <a:pt x="624" y="336"/>
                  </a:lnTo>
                  <a:lnTo>
                    <a:pt x="624" y="330"/>
                  </a:lnTo>
                  <a:lnTo>
                    <a:pt x="624" y="324"/>
                  </a:lnTo>
                  <a:lnTo>
                    <a:pt x="618" y="324"/>
                  </a:lnTo>
                  <a:lnTo>
                    <a:pt x="624" y="324"/>
                  </a:lnTo>
                  <a:lnTo>
                    <a:pt x="630" y="330"/>
                  </a:lnTo>
                  <a:lnTo>
                    <a:pt x="630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2" y="306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8" y="288"/>
                  </a:lnTo>
                  <a:lnTo>
                    <a:pt x="648" y="282"/>
                  </a:lnTo>
                  <a:lnTo>
                    <a:pt x="654" y="288"/>
                  </a:lnTo>
                  <a:lnTo>
                    <a:pt x="654" y="282"/>
                  </a:lnTo>
                  <a:lnTo>
                    <a:pt x="660" y="282"/>
                  </a:lnTo>
                  <a:lnTo>
                    <a:pt x="666" y="282"/>
                  </a:lnTo>
                  <a:lnTo>
                    <a:pt x="672" y="282"/>
                  </a:lnTo>
                  <a:lnTo>
                    <a:pt x="678" y="282"/>
                  </a:lnTo>
                  <a:lnTo>
                    <a:pt x="684" y="276"/>
                  </a:lnTo>
                  <a:lnTo>
                    <a:pt x="690" y="270"/>
                  </a:lnTo>
                  <a:lnTo>
                    <a:pt x="690" y="264"/>
                  </a:lnTo>
                  <a:lnTo>
                    <a:pt x="690" y="270"/>
                  </a:lnTo>
                  <a:lnTo>
                    <a:pt x="690" y="276"/>
                  </a:lnTo>
                  <a:lnTo>
                    <a:pt x="696" y="276"/>
                  </a:lnTo>
                  <a:lnTo>
                    <a:pt x="702" y="276"/>
                  </a:lnTo>
                  <a:lnTo>
                    <a:pt x="702" y="282"/>
                  </a:lnTo>
                  <a:lnTo>
                    <a:pt x="708" y="282"/>
                  </a:lnTo>
                  <a:lnTo>
                    <a:pt x="720" y="270"/>
                  </a:lnTo>
                  <a:lnTo>
                    <a:pt x="720" y="264"/>
                  </a:lnTo>
                  <a:lnTo>
                    <a:pt x="720" y="258"/>
                  </a:lnTo>
                  <a:lnTo>
                    <a:pt x="726" y="258"/>
                  </a:lnTo>
                  <a:lnTo>
                    <a:pt x="732" y="258"/>
                  </a:lnTo>
                  <a:lnTo>
                    <a:pt x="732" y="264"/>
                  </a:lnTo>
                  <a:lnTo>
                    <a:pt x="738" y="264"/>
                  </a:lnTo>
                  <a:lnTo>
                    <a:pt x="738" y="258"/>
                  </a:lnTo>
                  <a:lnTo>
                    <a:pt x="732" y="258"/>
                  </a:lnTo>
                  <a:lnTo>
                    <a:pt x="732" y="252"/>
                  </a:lnTo>
                  <a:lnTo>
                    <a:pt x="744" y="252"/>
                  </a:lnTo>
                  <a:lnTo>
                    <a:pt x="750" y="252"/>
                  </a:lnTo>
                  <a:lnTo>
                    <a:pt x="750" y="246"/>
                  </a:lnTo>
                  <a:lnTo>
                    <a:pt x="750" y="240"/>
                  </a:lnTo>
                  <a:lnTo>
                    <a:pt x="762" y="234"/>
                  </a:lnTo>
                  <a:lnTo>
                    <a:pt x="768" y="234"/>
                  </a:lnTo>
                  <a:lnTo>
                    <a:pt x="774" y="234"/>
                  </a:lnTo>
                  <a:lnTo>
                    <a:pt x="780" y="228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16"/>
                  </a:lnTo>
                  <a:lnTo>
                    <a:pt x="792" y="210"/>
                  </a:lnTo>
                  <a:lnTo>
                    <a:pt x="804" y="204"/>
                  </a:lnTo>
                  <a:lnTo>
                    <a:pt x="804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0" y="192"/>
                  </a:lnTo>
                  <a:lnTo>
                    <a:pt x="798" y="186"/>
                  </a:lnTo>
                  <a:lnTo>
                    <a:pt x="810" y="186"/>
                  </a:lnTo>
                  <a:lnTo>
                    <a:pt x="810" y="180"/>
                  </a:lnTo>
                  <a:lnTo>
                    <a:pt x="810" y="186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0" y="180"/>
                  </a:lnTo>
                  <a:lnTo>
                    <a:pt x="816" y="174"/>
                  </a:lnTo>
                  <a:lnTo>
                    <a:pt x="822" y="174"/>
                  </a:lnTo>
                  <a:lnTo>
                    <a:pt x="822" y="180"/>
                  </a:lnTo>
                  <a:lnTo>
                    <a:pt x="828" y="180"/>
                  </a:lnTo>
                  <a:lnTo>
                    <a:pt x="828" y="174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62"/>
                  </a:lnTo>
                  <a:lnTo>
                    <a:pt x="828" y="156"/>
                  </a:lnTo>
                  <a:lnTo>
                    <a:pt x="822" y="156"/>
                  </a:lnTo>
                  <a:lnTo>
                    <a:pt x="828" y="156"/>
                  </a:lnTo>
                  <a:lnTo>
                    <a:pt x="828" y="150"/>
                  </a:lnTo>
                  <a:lnTo>
                    <a:pt x="834" y="150"/>
                  </a:lnTo>
                  <a:lnTo>
                    <a:pt x="840" y="156"/>
                  </a:lnTo>
                  <a:lnTo>
                    <a:pt x="840" y="150"/>
                  </a:lnTo>
                  <a:lnTo>
                    <a:pt x="834" y="150"/>
                  </a:lnTo>
                  <a:lnTo>
                    <a:pt x="834" y="144"/>
                  </a:lnTo>
                  <a:lnTo>
                    <a:pt x="840" y="138"/>
                  </a:lnTo>
                  <a:lnTo>
                    <a:pt x="846" y="144"/>
                  </a:lnTo>
                  <a:lnTo>
                    <a:pt x="846" y="150"/>
                  </a:lnTo>
                  <a:lnTo>
                    <a:pt x="852" y="150"/>
                  </a:lnTo>
                  <a:lnTo>
                    <a:pt x="858" y="150"/>
                  </a:lnTo>
                  <a:lnTo>
                    <a:pt x="870" y="150"/>
                  </a:lnTo>
                  <a:lnTo>
                    <a:pt x="870" y="144"/>
                  </a:lnTo>
                  <a:lnTo>
                    <a:pt x="876" y="138"/>
                  </a:lnTo>
                  <a:lnTo>
                    <a:pt x="882" y="138"/>
                  </a:lnTo>
                  <a:lnTo>
                    <a:pt x="888" y="132"/>
                  </a:lnTo>
                  <a:lnTo>
                    <a:pt x="888" y="138"/>
                  </a:lnTo>
                  <a:lnTo>
                    <a:pt x="894" y="138"/>
                  </a:lnTo>
                  <a:lnTo>
                    <a:pt x="894" y="132"/>
                  </a:lnTo>
                  <a:lnTo>
                    <a:pt x="900" y="126"/>
                  </a:lnTo>
                  <a:lnTo>
                    <a:pt x="900" y="132"/>
                  </a:lnTo>
                  <a:lnTo>
                    <a:pt x="906" y="132"/>
                  </a:lnTo>
                  <a:lnTo>
                    <a:pt x="912" y="132"/>
                  </a:lnTo>
                  <a:lnTo>
                    <a:pt x="918" y="126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24" y="126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8" y="120"/>
                  </a:lnTo>
                  <a:lnTo>
                    <a:pt x="948" y="114"/>
                  </a:lnTo>
                  <a:lnTo>
                    <a:pt x="948" y="108"/>
                  </a:lnTo>
                  <a:lnTo>
                    <a:pt x="954" y="114"/>
                  </a:lnTo>
                  <a:lnTo>
                    <a:pt x="960" y="108"/>
                  </a:lnTo>
                  <a:lnTo>
                    <a:pt x="966" y="108"/>
                  </a:lnTo>
                  <a:lnTo>
                    <a:pt x="972" y="108"/>
                  </a:lnTo>
                  <a:lnTo>
                    <a:pt x="966" y="114"/>
                  </a:lnTo>
                  <a:lnTo>
                    <a:pt x="960" y="114"/>
                  </a:lnTo>
                  <a:lnTo>
                    <a:pt x="960" y="120"/>
                  </a:lnTo>
                  <a:lnTo>
                    <a:pt x="966" y="126"/>
                  </a:lnTo>
                  <a:lnTo>
                    <a:pt x="972" y="126"/>
                  </a:lnTo>
                  <a:lnTo>
                    <a:pt x="978" y="126"/>
                  </a:lnTo>
                  <a:lnTo>
                    <a:pt x="984" y="120"/>
                  </a:lnTo>
                  <a:lnTo>
                    <a:pt x="984" y="114"/>
                  </a:lnTo>
                  <a:lnTo>
                    <a:pt x="996" y="126"/>
                  </a:lnTo>
                  <a:lnTo>
                    <a:pt x="996" y="120"/>
                  </a:lnTo>
                  <a:lnTo>
                    <a:pt x="1002" y="120"/>
                  </a:lnTo>
                  <a:lnTo>
                    <a:pt x="996" y="114"/>
                  </a:lnTo>
                  <a:lnTo>
                    <a:pt x="1002" y="114"/>
                  </a:lnTo>
                  <a:lnTo>
                    <a:pt x="1008" y="114"/>
                  </a:lnTo>
                  <a:lnTo>
                    <a:pt x="1008" y="108"/>
                  </a:lnTo>
                  <a:lnTo>
                    <a:pt x="1014" y="108"/>
                  </a:lnTo>
                  <a:lnTo>
                    <a:pt x="1008" y="114"/>
                  </a:lnTo>
                  <a:lnTo>
                    <a:pt x="1008" y="120"/>
                  </a:lnTo>
                  <a:lnTo>
                    <a:pt x="1008" y="126"/>
                  </a:lnTo>
                  <a:lnTo>
                    <a:pt x="1014" y="126"/>
                  </a:lnTo>
                  <a:lnTo>
                    <a:pt x="1014" y="132"/>
                  </a:lnTo>
                  <a:lnTo>
                    <a:pt x="1020" y="132"/>
                  </a:lnTo>
                  <a:lnTo>
                    <a:pt x="1020" y="126"/>
                  </a:lnTo>
                  <a:lnTo>
                    <a:pt x="1020" y="120"/>
                  </a:lnTo>
                  <a:lnTo>
                    <a:pt x="1032" y="120"/>
                  </a:lnTo>
                  <a:lnTo>
                    <a:pt x="1038" y="120"/>
                  </a:lnTo>
                  <a:lnTo>
                    <a:pt x="1038" y="126"/>
                  </a:lnTo>
                  <a:lnTo>
                    <a:pt x="1044" y="132"/>
                  </a:lnTo>
                  <a:lnTo>
                    <a:pt x="1044" y="126"/>
                  </a:lnTo>
                  <a:lnTo>
                    <a:pt x="1050" y="120"/>
                  </a:lnTo>
                  <a:lnTo>
                    <a:pt x="1050" y="114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68" y="102"/>
                  </a:lnTo>
                  <a:lnTo>
                    <a:pt x="1074" y="96"/>
                  </a:lnTo>
                  <a:lnTo>
                    <a:pt x="1074" y="90"/>
                  </a:lnTo>
                  <a:lnTo>
                    <a:pt x="1068" y="90"/>
                  </a:lnTo>
                  <a:lnTo>
                    <a:pt x="1068" y="84"/>
                  </a:lnTo>
                  <a:lnTo>
                    <a:pt x="1080" y="84"/>
                  </a:lnTo>
                  <a:lnTo>
                    <a:pt x="1086" y="78"/>
                  </a:lnTo>
                  <a:lnTo>
                    <a:pt x="1086" y="72"/>
                  </a:lnTo>
                  <a:lnTo>
                    <a:pt x="1080" y="78"/>
                  </a:lnTo>
                  <a:lnTo>
                    <a:pt x="1080" y="72"/>
                  </a:lnTo>
                  <a:lnTo>
                    <a:pt x="1080" y="66"/>
                  </a:lnTo>
                  <a:lnTo>
                    <a:pt x="1074" y="66"/>
                  </a:lnTo>
                  <a:lnTo>
                    <a:pt x="1080" y="66"/>
                  </a:lnTo>
                  <a:lnTo>
                    <a:pt x="1080" y="60"/>
                  </a:lnTo>
                  <a:lnTo>
                    <a:pt x="1086" y="60"/>
                  </a:lnTo>
                  <a:lnTo>
                    <a:pt x="1086" y="54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2" y="42"/>
                  </a:lnTo>
                  <a:lnTo>
                    <a:pt x="1098" y="42"/>
                  </a:lnTo>
                  <a:lnTo>
                    <a:pt x="1104" y="36"/>
                  </a:lnTo>
                  <a:lnTo>
                    <a:pt x="1110" y="36"/>
                  </a:lnTo>
                  <a:lnTo>
                    <a:pt x="1110" y="30"/>
                  </a:lnTo>
                  <a:lnTo>
                    <a:pt x="1110" y="24"/>
                  </a:lnTo>
                  <a:lnTo>
                    <a:pt x="1116" y="24"/>
                  </a:lnTo>
                  <a:lnTo>
                    <a:pt x="1116" y="18"/>
                  </a:lnTo>
                  <a:lnTo>
                    <a:pt x="1122" y="18"/>
                  </a:lnTo>
                  <a:lnTo>
                    <a:pt x="1128" y="18"/>
                  </a:lnTo>
                  <a:lnTo>
                    <a:pt x="1134" y="12"/>
                  </a:lnTo>
                  <a:lnTo>
                    <a:pt x="1134" y="6"/>
                  </a:lnTo>
                  <a:lnTo>
                    <a:pt x="1140" y="6"/>
                  </a:lnTo>
                  <a:lnTo>
                    <a:pt x="1146" y="0"/>
                  </a:lnTo>
                  <a:lnTo>
                    <a:pt x="1152" y="0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70" y="0"/>
                  </a:lnTo>
                  <a:lnTo>
                    <a:pt x="1176" y="6"/>
                  </a:lnTo>
                  <a:lnTo>
                    <a:pt x="1182" y="6"/>
                  </a:lnTo>
                  <a:lnTo>
                    <a:pt x="1194" y="6"/>
                  </a:lnTo>
                  <a:lnTo>
                    <a:pt x="1200" y="6"/>
                  </a:lnTo>
                  <a:lnTo>
                    <a:pt x="1212" y="0"/>
                  </a:lnTo>
                  <a:lnTo>
                    <a:pt x="1212" y="6"/>
                  </a:lnTo>
                  <a:lnTo>
                    <a:pt x="1218" y="6"/>
                  </a:lnTo>
                  <a:lnTo>
                    <a:pt x="1266" y="6"/>
                  </a:lnTo>
                  <a:lnTo>
                    <a:pt x="1272" y="0"/>
                  </a:lnTo>
                  <a:lnTo>
                    <a:pt x="1278" y="6"/>
                  </a:lnTo>
                  <a:lnTo>
                    <a:pt x="1290" y="6"/>
                  </a:lnTo>
                  <a:lnTo>
                    <a:pt x="1296" y="6"/>
                  </a:lnTo>
                  <a:lnTo>
                    <a:pt x="1308" y="6"/>
                  </a:lnTo>
                  <a:lnTo>
                    <a:pt x="1314" y="6"/>
                  </a:lnTo>
                  <a:lnTo>
                    <a:pt x="1320" y="6"/>
                  </a:lnTo>
                  <a:lnTo>
                    <a:pt x="1326" y="12"/>
                  </a:lnTo>
                  <a:lnTo>
                    <a:pt x="1338" y="30"/>
                  </a:lnTo>
                  <a:lnTo>
                    <a:pt x="1344" y="36"/>
                  </a:lnTo>
                  <a:lnTo>
                    <a:pt x="1356" y="48"/>
                  </a:lnTo>
                  <a:lnTo>
                    <a:pt x="1362" y="60"/>
                  </a:lnTo>
                  <a:lnTo>
                    <a:pt x="1368" y="66"/>
                  </a:lnTo>
                  <a:lnTo>
                    <a:pt x="1374" y="72"/>
                  </a:lnTo>
                  <a:lnTo>
                    <a:pt x="1374" y="78"/>
                  </a:lnTo>
                  <a:lnTo>
                    <a:pt x="1398" y="108"/>
                  </a:lnTo>
                  <a:lnTo>
                    <a:pt x="1398" y="114"/>
                  </a:lnTo>
                  <a:lnTo>
                    <a:pt x="1404" y="114"/>
                  </a:lnTo>
                  <a:lnTo>
                    <a:pt x="1404" y="120"/>
                  </a:lnTo>
                  <a:lnTo>
                    <a:pt x="1410" y="132"/>
                  </a:lnTo>
                  <a:lnTo>
                    <a:pt x="1416" y="132"/>
                  </a:lnTo>
                  <a:lnTo>
                    <a:pt x="1416" y="138"/>
                  </a:lnTo>
                  <a:lnTo>
                    <a:pt x="1422" y="144"/>
                  </a:lnTo>
                  <a:lnTo>
                    <a:pt x="1428" y="150"/>
                  </a:lnTo>
                  <a:lnTo>
                    <a:pt x="1428" y="156"/>
                  </a:lnTo>
                  <a:lnTo>
                    <a:pt x="1458" y="192"/>
                  </a:lnTo>
                  <a:lnTo>
                    <a:pt x="1458" y="198"/>
                  </a:lnTo>
                  <a:lnTo>
                    <a:pt x="1464" y="204"/>
                  </a:lnTo>
                  <a:lnTo>
                    <a:pt x="1470" y="210"/>
                  </a:lnTo>
                  <a:lnTo>
                    <a:pt x="1476" y="216"/>
                  </a:lnTo>
                  <a:lnTo>
                    <a:pt x="1482" y="228"/>
                  </a:lnTo>
                  <a:lnTo>
                    <a:pt x="1488" y="234"/>
                  </a:lnTo>
                  <a:lnTo>
                    <a:pt x="1512" y="270"/>
                  </a:lnTo>
                  <a:lnTo>
                    <a:pt x="1512" y="276"/>
                  </a:lnTo>
                  <a:lnTo>
                    <a:pt x="1530" y="300"/>
                  </a:lnTo>
                  <a:lnTo>
                    <a:pt x="1536" y="306"/>
                  </a:lnTo>
                  <a:lnTo>
                    <a:pt x="1542" y="312"/>
                  </a:lnTo>
                  <a:lnTo>
                    <a:pt x="1542" y="318"/>
                  </a:lnTo>
                  <a:lnTo>
                    <a:pt x="1560" y="336"/>
                  </a:lnTo>
                  <a:lnTo>
                    <a:pt x="1566" y="348"/>
                  </a:lnTo>
                  <a:lnTo>
                    <a:pt x="1572" y="354"/>
                  </a:lnTo>
                  <a:lnTo>
                    <a:pt x="1578" y="360"/>
                  </a:lnTo>
                  <a:lnTo>
                    <a:pt x="1584" y="378"/>
                  </a:lnTo>
                  <a:lnTo>
                    <a:pt x="1590" y="378"/>
                  </a:lnTo>
                  <a:lnTo>
                    <a:pt x="1596" y="390"/>
                  </a:lnTo>
                  <a:lnTo>
                    <a:pt x="1602" y="396"/>
                  </a:lnTo>
                  <a:lnTo>
                    <a:pt x="1608" y="408"/>
                  </a:lnTo>
                  <a:lnTo>
                    <a:pt x="1614" y="408"/>
                  </a:lnTo>
                  <a:lnTo>
                    <a:pt x="1614" y="432"/>
                  </a:lnTo>
                  <a:lnTo>
                    <a:pt x="1620" y="438"/>
                  </a:lnTo>
                  <a:lnTo>
                    <a:pt x="1620" y="450"/>
                  </a:lnTo>
                  <a:lnTo>
                    <a:pt x="1620" y="462"/>
                  </a:lnTo>
                  <a:lnTo>
                    <a:pt x="1626" y="474"/>
                  </a:lnTo>
                  <a:lnTo>
                    <a:pt x="1626" y="480"/>
                  </a:lnTo>
                  <a:lnTo>
                    <a:pt x="1626" y="486"/>
                  </a:lnTo>
                  <a:lnTo>
                    <a:pt x="1632" y="522"/>
                  </a:lnTo>
                  <a:lnTo>
                    <a:pt x="1632" y="528"/>
                  </a:lnTo>
                  <a:lnTo>
                    <a:pt x="1632" y="534"/>
                  </a:lnTo>
                  <a:lnTo>
                    <a:pt x="1638" y="540"/>
                  </a:lnTo>
                  <a:lnTo>
                    <a:pt x="1638" y="558"/>
                  </a:lnTo>
                  <a:lnTo>
                    <a:pt x="1638" y="570"/>
                  </a:lnTo>
                  <a:lnTo>
                    <a:pt x="1644" y="582"/>
                  </a:lnTo>
                  <a:lnTo>
                    <a:pt x="1650" y="618"/>
                  </a:lnTo>
                  <a:lnTo>
                    <a:pt x="1650" y="624"/>
                  </a:lnTo>
                  <a:lnTo>
                    <a:pt x="1650" y="636"/>
                  </a:lnTo>
                  <a:lnTo>
                    <a:pt x="1656" y="642"/>
                  </a:lnTo>
                  <a:lnTo>
                    <a:pt x="1656" y="648"/>
                  </a:lnTo>
                  <a:lnTo>
                    <a:pt x="1656" y="654"/>
                  </a:lnTo>
                  <a:lnTo>
                    <a:pt x="1656" y="660"/>
                  </a:lnTo>
                  <a:lnTo>
                    <a:pt x="1662" y="696"/>
                  </a:lnTo>
                  <a:lnTo>
                    <a:pt x="1668" y="708"/>
                  </a:lnTo>
                  <a:lnTo>
                    <a:pt x="1668" y="714"/>
                  </a:lnTo>
                  <a:lnTo>
                    <a:pt x="1668" y="732"/>
                  </a:lnTo>
                  <a:lnTo>
                    <a:pt x="1668" y="744"/>
                  </a:lnTo>
                  <a:lnTo>
                    <a:pt x="1674" y="756"/>
                  </a:lnTo>
                  <a:lnTo>
                    <a:pt x="1680" y="762"/>
                  </a:lnTo>
                  <a:lnTo>
                    <a:pt x="1680" y="768"/>
                  </a:lnTo>
                  <a:lnTo>
                    <a:pt x="1680" y="774"/>
                  </a:lnTo>
                  <a:lnTo>
                    <a:pt x="1680" y="780"/>
                  </a:lnTo>
                  <a:lnTo>
                    <a:pt x="1674" y="786"/>
                  </a:lnTo>
                  <a:lnTo>
                    <a:pt x="1668" y="792"/>
                  </a:lnTo>
                  <a:lnTo>
                    <a:pt x="1668" y="798"/>
                  </a:lnTo>
                  <a:lnTo>
                    <a:pt x="1668" y="804"/>
                  </a:lnTo>
                  <a:lnTo>
                    <a:pt x="1674" y="804"/>
                  </a:lnTo>
                  <a:lnTo>
                    <a:pt x="1668" y="810"/>
                  </a:lnTo>
                  <a:lnTo>
                    <a:pt x="1674" y="810"/>
                  </a:lnTo>
                  <a:lnTo>
                    <a:pt x="1680" y="810"/>
                  </a:lnTo>
                  <a:lnTo>
                    <a:pt x="1680" y="816"/>
                  </a:lnTo>
                  <a:lnTo>
                    <a:pt x="1680" y="822"/>
                  </a:lnTo>
                  <a:lnTo>
                    <a:pt x="1674" y="822"/>
                  </a:lnTo>
                  <a:lnTo>
                    <a:pt x="1674" y="828"/>
                  </a:lnTo>
                  <a:lnTo>
                    <a:pt x="1668" y="828"/>
                  </a:lnTo>
                  <a:lnTo>
                    <a:pt x="1674" y="834"/>
                  </a:lnTo>
                  <a:lnTo>
                    <a:pt x="1668" y="834"/>
                  </a:lnTo>
                  <a:lnTo>
                    <a:pt x="1668" y="840"/>
                  </a:lnTo>
                  <a:lnTo>
                    <a:pt x="1674" y="840"/>
                  </a:lnTo>
                  <a:lnTo>
                    <a:pt x="1686" y="852"/>
                  </a:lnTo>
                  <a:lnTo>
                    <a:pt x="1692" y="858"/>
                  </a:lnTo>
                  <a:lnTo>
                    <a:pt x="1698" y="858"/>
                  </a:lnTo>
                  <a:lnTo>
                    <a:pt x="1698" y="864"/>
                  </a:lnTo>
                  <a:lnTo>
                    <a:pt x="1698" y="870"/>
                  </a:lnTo>
                  <a:lnTo>
                    <a:pt x="1704" y="864"/>
                  </a:lnTo>
                  <a:lnTo>
                    <a:pt x="1716" y="864"/>
                  </a:lnTo>
                  <a:lnTo>
                    <a:pt x="1722" y="864"/>
                  </a:lnTo>
                  <a:lnTo>
                    <a:pt x="1728" y="864"/>
                  </a:lnTo>
                  <a:lnTo>
                    <a:pt x="1734" y="864"/>
                  </a:lnTo>
                  <a:lnTo>
                    <a:pt x="1740" y="864"/>
                  </a:lnTo>
                  <a:lnTo>
                    <a:pt x="1746" y="876"/>
                  </a:lnTo>
                  <a:lnTo>
                    <a:pt x="1746" y="870"/>
                  </a:lnTo>
                  <a:lnTo>
                    <a:pt x="1740" y="864"/>
                  </a:lnTo>
                  <a:lnTo>
                    <a:pt x="1746" y="864"/>
                  </a:lnTo>
                  <a:lnTo>
                    <a:pt x="1752" y="870"/>
                  </a:lnTo>
                  <a:lnTo>
                    <a:pt x="1758" y="864"/>
                  </a:lnTo>
                  <a:lnTo>
                    <a:pt x="1764" y="864"/>
                  </a:lnTo>
                  <a:lnTo>
                    <a:pt x="1770" y="858"/>
                  </a:lnTo>
                  <a:lnTo>
                    <a:pt x="1782" y="864"/>
                  </a:lnTo>
                  <a:lnTo>
                    <a:pt x="1782" y="870"/>
                  </a:lnTo>
                  <a:lnTo>
                    <a:pt x="1788" y="864"/>
                  </a:lnTo>
                  <a:lnTo>
                    <a:pt x="1794" y="864"/>
                  </a:lnTo>
                  <a:lnTo>
                    <a:pt x="1800" y="870"/>
                  </a:lnTo>
                  <a:lnTo>
                    <a:pt x="1818" y="864"/>
                  </a:lnTo>
                  <a:lnTo>
                    <a:pt x="1824" y="870"/>
                  </a:lnTo>
                  <a:lnTo>
                    <a:pt x="1830" y="864"/>
                  </a:lnTo>
                  <a:lnTo>
                    <a:pt x="1836" y="864"/>
                  </a:lnTo>
                  <a:lnTo>
                    <a:pt x="1842" y="870"/>
                  </a:lnTo>
                  <a:lnTo>
                    <a:pt x="1842" y="876"/>
                  </a:lnTo>
                  <a:lnTo>
                    <a:pt x="1848" y="876"/>
                  </a:lnTo>
                  <a:lnTo>
                    <a:pt x="1848" y="870"/>
                  </a:lnTo>
                  <a:lnTo>
                    <a:pt x="1854" y="870"/>
                  </a:lnTo>
                  <a:lnTo>
                    <a:pt x="1860" y="870"/>
                  </a:lnTo>
                  <a:lnTo>
                    <a:pt x="1860" y="876"/>
                  </a:lnTo>
                  <a:lnTo>
                    <a:pt x="1866" y="876"/>
                  </a:lnTo>
                  <a:lnTo>
                    <a:pt x="1866" y="882"/>
                  </a:lnTo>
                  <a:lnTo>
                    <a:pt x="1872" y="882"/>
                  </a:lnTo>
                  <a:lnTo>
                    <a:pt x="1878" y="888"/>
                  </a:lnTo>
                  <a:lnTo>
                    <a:pt x="1890" y="888"/>
                  </a:lnTo>
                  <a:lnTo>
                    <a:pt x="1890" y="894"/>
                  </a:lnTo>
                  <a:lnTo>
                    <a:pt x="1890" y="900"/>
                  </a:lnTo>
                  <a:lnTo>
                    <a:pt x="1884" y="900"/>
                  </a:lnTo>
                  <a:lnTo>
                    <a:pt x="1884" y="906"/>
                  </a:lnTo>
                  <a:lnTo>
                    <a:pt x="1884" y="912"/>
                  </a:lnTo>
                  <a:lnTo>
                    <a:pt x="1890" y="912"/>
                  </a:lnTo>
                  <a:lnTo>
                    <a:pt x="1896" y="912"/>
                  </a:lnTo>
                  <a:lnTo>
                    <a:pt x="1902" y="912"/>
                  </a:lnTo>
                  <a:lnTo>
                    <a:pt x="1908" y="918"/>
                  </a:lnTo>
                  <a:lnTo>
                    <a:pt x="1908" y="924"/>
                  </a:lnTo>
                  <a:lnTo>
                    <a:pt x="1908" y="930"/>
                  </a:lnTo>
                  <a:lnTo>
                    <a:pt x="1908" y="936"/>
                  </a:lnTo>
                  <a:lnTo>
                    <a:pt x="1914" y="936"/>
                  </a:lnTo>
                  <a:lnTo>
                    <a:pt x="1914" y="942"/>
                  </a:lnTo>
                  <a:lnTo>
                    <a:pt x="1908" y="948"/>
                  </a:lnTo>
                  <a:lnTo>
                    <a:pt x="1914" y="948"/>
                  </a:lnTo>
                  <a:lnTo>
                    <a:pt x="1920" y="954"/>
                  </a:lnTo>
                  <a:lnTo>
                    <a:pt x="1926" y="954"/>
                  </a:lnTo>
                  <a:lnTo>
                    <a:pt x="1932" y="954"/>
                  </a:lnTo>
                  <a:lnTo>
                    <a:pt x="1938" y="954"/>
                  </a:lnTo>
                  <a:lnTo>
                    <a:pt x="1938" y="960"/>
                  </a:lnTo>
                  <a:lnTo>
                    <a:pt x="1944" y="966"/>
                  </a:lnTo>
                  <a:lnTo>
                    <a:pt x="1944" y="972"/>
                  </a:lnTo>
                  <a:lnTo>
                    <a:pt x="1944" y="978"/>
                  </a:lnTo>
                  <a:lnTo>
                    <a:pt x="1950" y="978"/>
                  </a:lnTo>
                  <a:lnTo>
                    <a:pt x="1950" y="984"/>
                  </a:lnTo>
                  <a:lnTo>
                    <a:pt x="1956" y="984"/>
                  </a:lnTo>
                  <a:lnTo>
                    <a:pt x="1962" y="984"/>
                  </a:lnTo>
                  <a:lnTo>
                    <a:pt x="1962" y="978"/>
                  </a:lnTo>
                  <a:lnTo>
                    <a:pt x="1968" y="978"/>
                  </a:lnTo>
                  <a:lnTo>
                    <a:pt x="1974" y="978"/>
                  </a:lnTo>
                  <a:lnTo>
                    <a:pt x="1980" y="972"/>
                  </a:lnTo>
                  <a:lnTo>
                    <a:pt x="1980" y="978"/>
                  </a:lnTo>
                  <a:lnTo>
                    <a:pt x="1980" y="984"/>
                  </a:lnTo>
                  <a:lnTo>
                    <a:pt x="1986" y="984"/>
                  </a:lnTo>
                  <a:lnTo>
                    <a:pt x="1992" y="990"/>
                  </a:lnTo>
                  <a:lnTo>
                    <a:pt x="1992" y="996"/>
                  </a:lnTo>
                  <a:lnTo>
                    <a:pt x="1992" y="1002"/>
                  </a:lnTo>
                  <a:lnTo>
                    <a:pt x="1974" y="1008"/>
                  </a:lnTo>
                  <a:lnTo>
                    <a:pt x="1974" y="1014"/>
                  </a:lnTo>
                  <a:lnTo>
                    <a:pt x="1974" y="1020"/>
                  </a:lnTo>
                  <a:lnTo>
                    <a:pt x="1974" y="1026"/>
                  </a:lnTo>
                  <a:lnTo>
                    <a:pt x="1968" y="1038"/>
                  </a:lnTo>
                  <a:lnTo>
                    <a:pt x="1968" y="1044"/>
                  </a:lnTo>
                  <a:lnTo>
                    <a:pt x="1974" y="1056"/>
                  </a:lnTo>
                  <a:lnTo>
                    <a:pt x="1968" y="1062"/>
                  </a:lnTo>
                  <a:lnTo>
                    <a:pt x="1962" y="1062"/>
                  </a:lnTo>
                  <a:lnTo>
                    <a:pt x="1956" y="1068"/>
                  </a:lnTo>
                  <a:lnTo>
                    <a:pt x="1956" y="1074"/>
                  </a:lnTo>
                  <a:lnTo>
                    <a:pt x="1956" y="1080"/>
                  </a:lnTo>
                  <a:lnTo>
                    <a:pt x="1956" y="1086"/>
                  </a:lnTo>
                  <a:lnTo>
                    <a:pt x="1956" y="1092"/>
                  </a:lnTo>
                  <a:lnTo>
                    <a:pt x="1962" y="1092"/>
                  </a:lnTo>
                  <a:lnTo>
                    <a:pt x="1962" y="1104"/>
                  </a:lnTo>
                  <a:lnTo>
                    <a:pt x="1968" y="1110"/>
                  </a:lnTo>
                  <a:lnTo>
                    <a:pt x="1968" y="1116"/>
                  </a:lnTo>
                  <a:lnTo>
                    <a:pt x="1974" y="1116"/>
                  </a:lnTo>
                  <a:lnTo>
                    <a:pt x="1974" y="1122"/>
                  </a:lnTo>
                  <a:lnTo>
                    <a:pt x="1980" y="1122"/>
                  </a:lnTo>
                  <a:lnTo>
                    <a:pt x="1974" y="1128"/>
                  </a:lnTo>
                  <a:lnTo>
                    <a:pt x="1968" y="1134"/>
                  </a:lnTo>
                  <a:lnTo>
                    <a:pt x="1962" y="1140"/>
                  </a:lnTo>
                  <a:lnTo>
                    <a:pt x="1962" y="1146"/>
                  </a:lnTo>
                  <a:lnTo>
                    <a:pt x="1968" y="1152"/>
                  </a:lnTo>
                  <a:lnTo>
                    <a:pt x="1968" y="1158"/>
                  </a:lnTo>
                  <a:lnTo>
                    <a:pt x="1962" y="1158"/>
                  </a:lnTo>
                  <a:lnTo>
                    <a:pt x="1962" y="1164"/>
                  </a:lnTo>
                  <a:lnTo>
                    <a:pt x="1956" y="1164"/>
                  </a:lnTo>
                  <a:lnTo>
                    <a:pt x="1956" y="1170"/>
                  </a:lnTo>
                  <a:lnTo>
                    <a:pt x="1944" y="1182"/>
                  </a:lnTo>
                  <a:lnTo>
                    <a:pt x="1944" y="1188"/>
                  </a:lnTo>
                  <a:lnTo>
                    <a:pt x="1950" y="1188"/>
                  </a:lnTo>
                  <a:lnTo>
                    <a:pt x="1944" y="1200"/>
                  </a:lnTo>
                  <a:lnTo>
                    <a:pt x="1944" y="1206"/>
                  </a:lnTo>
                  <a:lnTo>
                    <a:pt x="1944" y="1212"/>
                  </a:lnTo>
                  <a:lnTo>
                    <a:pt x="1944" y="1218"/>
                  </a:lnTo>
                  <a:lnTo>
                    <a:pt x="1944" y="1230"/>
                  </a:lnTo>
                  <a:lnTo>
                    <a:pt x="1944" y="1236"/>
                  </a:lnTo>
                  <a:lnTo>
                    <a:pt x="1944" y="1242"/>
                  </a:lnTo>
                  <a:lnTo>
                    <a:pt x="1938" y="1248"/>
                  </a:lnTo>
                  <a:lnTo>
                    <a:pt x="1938" y="1254"/>
                  </a:lnTo>
                  <a:lnTo>
                    <a:pt x="1932" y="1254"/>
                  </a:lnTo>
                  <a:lnTo>
                    <a:pt x="1926" y="1260"/>
                  </a:lnTo>
                  <a:lnTo>
                    <a:pt x="1920" y="1266"/>
                  </a:lnTo>
                  <a:lnTo>
                    <a:pt x="1914" y="1272"/>
                  </a:lnTo>
                  <a:lnTo>
                    <a:pt x="1908" y="1272"/>
                  </a:lnTo>
                  <a:lnTo>
                    <a:pt x="1908" y="1278"/>
                  </a:lnTo>
                  <a:lnTo>
                    <a:pt x="1914" y="1278"/>
                  </a:lnTo>
                  <a:lnTo>
                    <a:pt x="1914" y="1290"/>
                  </a:lnTo>
                  <a:lnTo>
                    <a:pt x="1920" y="1296"/>
                  </a:lnTo>
                  <a:lnTo>
                    <a:pt x="1938" y="1302"/>
                  </a:lnTo>
                  <a:lnTo>
                    <a:pt x="1944" y="1308"/>
                  </a:lnTo>
                  <a:lnTo>
                    <a:pt x="1950" y="1314"/>
                  </a:lnTo>
                  <a:lnTo>
                    <a:pt x="1956" y="1314"/>
                  </a:lnTo>
                  <a:lnTo>
                    <a:pt x="1962" y="1320"/>
                  </a:lnTo>
                  <a:lnTo>
                    <a:pt x="1962" y="1326"/>
                  </a:lnTo>
                  <a:lnTo>
                    <a:pt x="1968" y="1326"/>
                  </a:lnTo>
                  <a:lnTo>
                    <a:pt x="1968" y="1332"/>
                  </a:lnTo>
                  <a:lnTo>
                    <a:pt x="1968" y="1344"/>
                  </a:lnTo>
                  <a:lnTo>
                    <a:pt x="1968" y="1350"/>
                  </a:lnTo>
                  <a:lnTo>
                    <a:pt x="1968" y="1368"/>
                  </a:lnTo>
                  <a:lnTo>
                    <a:pt x="1962" y="1380"/>
                  </a:lnTo>
                  <a:lnTo>
                    <a:pt x="1968" y="1392"/>
                  </a:lnTo>
                  <a:lnTo>
                    <a:pt x="1962" y="1398"/>
                  </a:lnTo>
                  <a:lnTo>
                    <a:pt x="1956" y="1404"/>
                  </a:lnTo>
                  <a:lnTo>
                    <a:pt x="1950" y="1410"/>
                  </a:lnTo>
                  <a:lnTo>
                    <a:pt x="1944" y="1410"/>
                  </a:lnTo>
                  <a:lnTo>
                    <a:pt x="1932" y="1416"/>
                  </a:lnTo>
                  <a:lnTo>
                    <a:pt x="1926" y="1416"/>
                  </a:lnTo>
                  <a:lnTo>
                    <a:pt x="1896" y="1428"/>
                  </a:lnTo>
                  <a:lnTo>
                    <a:pt x="1884" y="1434"/>
                  </a:lnTo>
                  <a:lnTo>
                    <a:pt x="1878" y="1434"/>
                  </a:lnTo>
                  <a:lnTo>
                    <a:pt x="1866" y="1434"/>
                  </a:lnTo>
                  <a:lnTo>
                    <a:pt x="1854" y="1440"/>
                  </a:lnTo>
                  <a:lnTo>
                    <a:pt x="1848" y="1440"/>
                  </a:lnTo>
                  <a:lnTo>
                    <a:pt x="1842" y="1446"/>
                  </a:lnTo>
                  <a:lnTo>
                    <a:pt x="1842" y="1458"/>
                  </a:lnTo>
                  <a:lnTo>
                    <a:pt x="1836" y="1470"/>
                  </a:lnTo>
                  <a:lnTo>
                    <a:pt x="1830" y="1476"/>
                  </a:lnTo>
                  <a:lnTo>
                    <a:pt x="1824" y="1476"/>
                  </a:lnTo>
                  <a:lnTo>
                    <a:pt x="1806" y="1482"/>
                  </a:lnTo>
                  <a:lnTo>
                    <a:pt x="1800" y="1488"/>
                  </a:lnTo>
                  <a:lnTo>
                    <a:pt x="1794" y="1488"/>
                  </a:lnTo>
                  <a:lnTo>
                    <a:pt x="1788" y="1488"/>
                  </a:lnTo>
                  <a:lnTo>
                    <a:pt x="1776" y="1494"/>
                  </a:lnTo>
                  <a:lnTo>
                    <a:pt x="1764" y="1494"/>
                  </a:lnTo>
                  <a:lnTo>
                    <a:pt x="1758" y="1500"/>
                  </a:lnTo>
                  <a:lnTo>
                    <a:pt x="1746" y="1506"/>
                  </a:lnTo>
                  <a:lnTo>
                    <a:pt x="1728" y="1518"/>
                  </a:lnTo>
                  <a:lnTo>
                    <a:pt x="1716" y="1524"/>
                  </a:lnTo>
                  <a:lnTo>
                    <a:pt x="1710" y="1530"/>
                  </a:lnTo>
                  <a:lnTo>
                    <a:pt x="1704" y="1536"/>
                  </a:lnTo>
                  <a:lnTo>
                    <a:pt x="1698" y="1542"/>
                  </a:lnTo>
                  <a:lnTo>
                    <a:pt x="1692" y="1554"/>
                  </a:lnTo>
                  <a:lnTo>
                    <a:pt x="1686" y="1560"/>
                  </a:lnTo>
                  <a:lnTo>
                    <a:pt x="1680" y="1560"/>
                  </a:lnTo>
                  <a:lnTo>
                    <a:pt x="1674" y="1560"/>
                  </a:lnTo>
                  <a:lnTo>
                    <a:pt x="1656" y="1572"/>
                  </a:lnTo>
                  <a:lnTo>
                    <a:pt x="1650" y="1572"/>
                  </a:lnTo>
                  <a:lnTo>
                    <a:pt x="1644" y="1572"/>
                  </a:lnTo>
                  <a:lnTo>
                    <a:pt x="1638" y="1578"/>
                  </a:lnTo>
                  <a:lnTo>
                    <a:pt x="1632" y="1578"/>
                  </a:lnTo>
                  <a:lnTo>
                    <a:pt x="1626" y="1578"/>
                  </a:lnTo>
                  <a:lnTo>
                    <a:pt x="1620" y="1572"/>
                  </a:lnTo>
                  <a:lnTo>
                    <a:pt x="1614" y="1572"/>
                  </a:lnTo>
                  <a:lnTo>
                    <a:pt x="1608" y="1566"/>
                  </a:lnTo>
                  <a:lnTo>
                    <a:pt x="1602" y="1560"/>
                  </a:lnTo>
                  <a:lnTo>
                    <a:pt x="1596" y="1554"/>
                  </a:lnTo>
                  <a:lnTo>
                    <a:pt x="1590" y="1548"/>
                  </a:lnTo>
                  <a:lnTo>
                    <a:pt x="1578" y="1548"/>
                  </a:lnTo>
                  <a:lnTo>
                    <a:pt x="1572" y="1548"/>
                  </a:lnTo>
                  <a:lnTo>
                    <a:pt x="1566" y="1548"/>
                  </a:lnTo>
                  <a:lnTo>
                    <a:pt x="1554" y="1536"/>
                  </a:lnTo>
                  <a:lnTo>
                    <a:pt x="1548" y="1536"/>
                  </a:lnTo>
                  <a:lnTo>
                    <a:pt x="1542" y="1542"/>
                  </a:lnTo>
                  <a:lnTo>
                    <a:pt x="1536" y="1548"/>
                  </a:lnTo>
                  <a:lnTo>
                    <a:pt x="1536" y="1566"/>
                  </a:lnTo>
                  <a:lnTo>
                    <a:pt x="1530" y="1572"/>
                  </a:lnTo>
                  <a:lnTo>
                    <a:pt x="1524" y="1578"/>
                  </a:lnTo>
                  <a:lnTo>
                    <a:pt x="1518" y="1584"/>
                  </a:lnTo>
                  <a:lnTo>
                    <a:pt x="1512" y="1596"/>
                  </a:lnTo>
                  <a:lnTo>
                    <a:pt x="1506" y="1602"/>
                  </a:lnTo>
                  <a:lnTo>
                    <a:pt x="1506" y="1608"/>
                  </a:lnTo>
                  <a:lnTo>
                    <a:pt x="1506" y="1614"/>
                  </a:lnTo>
                  <a:lnTo>
                    <a:pt x="1500" y="1614"/>
                  </a:lnTo>
                  <a:lnTo>
                    <a:pt x="1500" y="1620"/>
                  </a:lnTo>
                  <a:lnTo>
                    <a:pt x="1500" y="1626"/>
                  </a:lnTo>
                  <a:lnTo>
                    <a:pt x="1494" y="1632"/>
                  </a:lnTo>
                  <a:lnTo>
                    <a:pt x="1488" y="1638"/>
                  </a:lnTo>
                  <a:lnTo>
                    <a:pt x="1482" y="1638"/>
                  </a:lnTo>
                  <a:lnTo>
                    <a:pt x="1482" y="1644"/>
                  </a:lnTo>
                  <a:lnTo>
                    <a:pt x="1482" y="1650"/>
                  </a:lnTo>
                  <a:lnTo>
                    <a:pt x="1482" y="1656"/>
                  </a:lnTo>
                  <a:lnTo>
                    <a:pt x="1476" y="1662"/>
                  </a:lnTo>
                  <a:lnTo>
                    <a:pt x="1470" y="1668"/>
                  </a:lnTo>
                  <a:lnTo>
                    <a:pt x="1464" y="1674"/>
                  </a:lnTo>
                  <a:lnTo>
                    <a:pt x="1464" y="1680"/>
                  </a:lnTo>
                  <a:lnTo>
                    <a:pt x="1458" y="1680"/>
                  </a:lnTo>
                  <a:lnTo>
                    <a:pt x="1452" y="1686"/>
                  </a:lnTo>
                  <a:lnTo>
                    <a:pt x="1446" y="1686"/>
                  </a:lnTo>
                  <a:lnTo>
                    <a:pt x="1440" y="1698"/>
                  </a:lnTo>
                  <a:lnTo>
                    <a:pt x="1440" y="1704"/>
                  </a:lnTo>
                  <a:lnTo>
                    <a:pt x="1434" y="1710"/>
                  </a:lnTo>
                  <a:lnTo>
                    <a:pt x="1434" y="1716"/>
                  </a:lnTo>
                  <a:lnTo>
                    <a:pt x="1428" y="1716"/>
                  </a:lnTo>
                  <a:lnTo>
                    <a:pt x="1428" y="1722"/>
                  </a:lnTo>
                  <a:lnTo>
                    <a:pt x="1428" y="1728"/>
                  </a:lnTo>
                  <a:lnTo>
                    <a:pt x="1422" y="1728"/>
                  </a:lnTo>
                  <a:lnTo>
                    <a:pt x="1422" y="1734"/>
                  </a:lnTo>
                  <a:lnTo>
                    <a:pt x="1416" y="1734"/>
                  </a:lnTo>
                  <a:lnTo>
                    <a:pt x="1410" y="1734"/>
                  </a:lnTo>
                  <a:lnTo>
                    <a:pt x="1392" y="1746"/>
                  </a:lnTo>
                  <a:lnTo>
                    <a:pt x="1386" y="1746"/>
                  </a:lnTo>
                  <a:lnTo>
                    <a:pt x="1368" y="1752"/>
                  </a:lnTo>
                  <a:lnTo>
                    <a:pt x="1362" y="1758"/>
                  </a:lnTo>
                  <a:lnTo>
                    <a:pt x="1362" y="1770"/>
                  </a:lnTo>
                  <a:lnTo>
                    <a:pt x="1356" y="178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graphicFrame>
        <p:nvGraphicFramePr>
          <p:cNvPr id="357" name="Group 76">
            <a:extLst>
              <a:ext uri="{FF2B5EF4-FFF2-40B4-BE49-F238E27FC236}">
                <a16:creationId xmlns:a16="http://schemas.microsoft.com/office/drawing/2014/main" id="{57830D68-CF73-4A3E-9D36-141B03AADBF7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41338" y="3402013"/>
          <a:ext cx="3735387" cy="1827306"/>
        </p:xfrm>
        <a:graphic>
          <a:graphicData uri="http://schemas.openxmlformats.org/drawingml/2006/table">
            <a:tbl>
              <a:tblPr/>
              <a:tblGrid>
                <a:gridCol w="1316931">
                  <a:extLst>
                    <a:ext uri="{9D8B030D-6E8A-4147-A177-3AD203B41FA5}">
                      <a16:colId xmlns:a16="http://schemas.microsoft.com/office/drawing/2014/main" val="2027704273"/>
                    </a:ext>
                  </a:extLst>
                </a:gridCol>
                <a:gridCol w="603796">
                  <a:extLst>
                    <a:ext uri="{9D8B030D-6E8A-4147-A177-3AD203B41FA5}">
                      <a16:colId xmlns:a16="http://schemas.microsoft.com/office/drawing/2014/main" val="3432768286"/>
                    </a:ext>
                  </a:extLst>
                </a:gridCol>
                <a:gridCol w="744015">
                  <a:extLst>
                    <a:ext uri="{9D8B030D-6E8A-4147-A177-3AD203B41FA5}">
                      <a16:colId xmlns:a16="http://schemas.microsoft.com/office/drawing/2014/main" val="3730294207"/>
                    </a:ext>
                  </a:extLst>
                </a:gridCol>
                <a:gridCol w="1070645">
                  <a:extLst>
                    <a:ext uri="{9D8B030D-6E8A-4147-A177-3AD203B41FA5}">
                      <a16:colId xmlns:a16="http://schemas.microsoft.com/office/drawing/2014/main" val="2258321117"/>
                    </a:ext>
                  </a:extLst>
                </a:gridCol>
              </a:tblGrid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apital</a:t>
                      </a:r>
                      <a:endParaRPr kumimoji="0" lang="en-SG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292929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SG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fia</a:t>
                      </a:r>
                      <a:endParaRPr kumimoji="0" lang="en-SG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703009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nd Are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8,735 km</a:t>
                      </a:r>
                      <a:r>
                        <a:rPr kumimoji="0" lang="en-US" altLang="en-US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12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603614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Population (2017E)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,512,286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6 of 37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505851"/>
                  </a:ext>
                </a:extLst>
              </a:tr>
              <a:tr h="203024">
                <a:tc row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Dem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0-14: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,150,398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46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130093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5-64: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,291,684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51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387564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65+: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+mn-cs"/>
                        </a:rPr>
                        <a:t>      70,205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[3%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38801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bour force 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3,011,263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4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797882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limate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oastal, rainforest, savann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3942226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op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Rock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32899"/>
                  </a:ext>
                </a:extLst>
              </a:tr>
            </a:tbl>
          </a:graphicData>
        </a:graphic>
      </p:graphicFrame>
      <p:pic>
        <p:nvPicPr>
          <p:cNvPr id="23609" name="Picture 13">
            <a:extLst>
              <a:ext uri="{FF2B5EF4-FFF2-40B4-BE49-F238E27FC236}">
                <a16:creationId xmlns:a16="http://schemas.microsoft.com/office/drawing/2014/main" id="{952964D5-F0ED-4CAE-B71C-DB4A723FA5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0" y="3006725"/>
            <a:ext cx="1116013" cy="155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9" name="TextBox 378">
            <a:extLst>
              <a:ext uri="{FF2B5EF4-FFF2-40B4-BE49-F238E27FC236}">
                <a16:creationId xmlns:a16="http://schemas.microsoft.com/office/drawing/2014/main" id="{1B3FD4BF-4685-4C74-821F-10048D6246BF}"/>
              </a:ext>
            </a:extLst>
          </p:cNvPr>
          <p:cNvSpPr txBox="1"/>
          <p:nvPr/>
        </p:nvSpPr>
        <p:spPr>
          <a:xfrm>
            <a:off x="6124575" y="957263"/>
            <a:ext cx="3475038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Competitive Advantages</a:t>
            </a: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455FE7A1-ADE5-4F7B-A489-00196671A53E}"/>
              </a:ext>
            </a:extLst>
          </p:cNvPr>
          <p:cNvSpPr/>
          <p:nvPr/>
        </p:nvSpPr>
        <p:spPr>
          <a:xfrm>
            <a:off x="4267248" y="1187511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dbl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N</a:t>
            </a:r>
            <a:r>
              <a:rPr kumimoji="0" lang="en-US" sz="1600" b="0" i="0" u="none" strike="no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6.2bn/$20.2m</a:t>
            </a:r>
            <a:endParaRPr kumimoji="0" lang="en-MY" sz="1600" b="0" i="0" u="none" strike="noStrike" kern="1200" cap="none" spc="-15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EBB25788-D073-4A78-9D6C-DF3836CFFFBB}"/>
              </a:ext>
            </a:extLst>
          </p:cNvPr>
          <p:cNvSpPr txBox="1"/>
          <p:nvPr/>
        </p:nvSpPr>
        <p:spPr>
          <a:xfrm>
            <a:off x="4267200" y="955675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IGR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 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(2017)</a:t>
            </a: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6F07DF39-553B-44F0-8864-1F897C2BD79A}"/>
              </a:ext>
            </a:extLst>
          </p:cNvPr>
          <p:cNvSpPr/>
          <p:nvPr/>
        </p:nvSpPr>
        <p:spPr>
          <a:xfrm>
            <a:off x="4267252" y="1809750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dbl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N</a:t>
            </a:r>
            <a:r>
              <a:rPr kumimoji="0" lang="en-US" sz="1600" b="0" i="0" u="none" strike="no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125.4bn/$411.1bn</a:t>
            </a:r>
            <a:endParaRPr kumimoji="0" lang="en-MY" sz="1600" b="0" i="0" u="none" strike="noStrike" kern="1200" cap="none" spc="-15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2508695A-2D2C-45A3-80FE-9C2CB18200C2}"/>
              </a:ext>
            </a:extLst>
          </p:cNvPr>
          <p:cNvSpPr txBox="1"/>
          <p:nvPr/>
        </p:nvSpPr>
        <p:spPr>
          <a:xfrm>
            <a:off x="4267200" y="1576388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Budget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 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(2018)</a:t>
            </a: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86A33ABE-3AE3-40A7-A6A6-1B757A6A9B0F}"/>
              </a:ext>
            </a:extLst>
          </p:cNvPr>
          <p:cNvSpPr/>
          <p:nvPr/>
        </p:nvSpPr>
        <p:spPr>
          <a:xfrm>
            <a:off x="4256076" y="2667155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dbl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N</a:t>
            </a:r>
            <a:r>
              <a:rPr kumimoji="0" lang="en-US" sz="1600" b="0" i="0" u="none" strike="no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918.3bn /$3bn</a:t>
            </a:r>
            <a:endParaRPr kumimoji="0" lang="en-MY" sz="1600" b="0" i="0" u="none" strike="noStrike" kern="1200" cap="none" spc="-15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1E919764-A18B-4532-A533-A84A31D7FEFE}"/>
              </a:ext>
            </a:extLst>
          </p:cNvPr>
          <p:cNvSpPr txBox="1"/>
          <p:nvPr/>
        </p:nvSpPr>
        <p:spPr>
          <a:xfrm>
            <a:off x="4256088" y="2185988"/>
            <a:ext cx="1811337" cy="50641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Househol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Consumption 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(2017)</a:t>
            </a:r>
          </a:p>
        </p:txBody>
      </p:sp>
      <p:sp>
        <p:nvSpPr>
          <p:cNvPr id="96" name="Plaque 95">
            <a:extLst>
              <a:ext uri="{FF2B5EF4-FFF2-40B4-BE49-F238E27FC236}">
                <a16:creationId xmlns:a16="http://schemas.microsoft.com/office/drawing/2014/main" id="{E3BE1182-17B4-4194-8641-F1EA2CCBB757}"/>
              </a:ext>
            </a:extLst>
          </p:cNvPr>
          <p:cNvSpPr/>
          <p:nvPr/>
        </p:nvSpPr>
        <p:spPr>
          <a:xfrm>
            <a:off x="5583996" y="2807593"/>
            <a:ext cx="483429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9 of 36</a:t>
            </a:r>
          </a:p>
        </p:txBody>
      </p:sp>
      <p:sp>
        <p:nvSpPr>
          <p:cNvPr id="99" name="Plaque 98">
            <a:extLst>
              <a:ext uri="{FF2B5EF4-FFF2-40B4-BE49-F238E27FC236}">
                <a16:creationId xmlns:a16="http://schemas.microsoft.com/office/drawing/2014/main" id="{8620E393-1C52-4CE1-9888-20922FA6DFEA}"/>
              </a:ext>
            </a:extLst>
          </p:cNvPr>
          <p:cNvSpPr/>
          <p:nvPr/>
        </p:nvSpPr>
        <p:spPr>
          <a:xfrm>
            <a:off x="5571332" y="1982093"/>
            <a:ext cx="496094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31 of 36</a:t>
            </a:r>
          </a:p>
        </p:txBody>
      </p:sp>
      <p:sp>
        <p:nvSpPr>
          <p:cNvPr id="100" name="Plaque 99">
            <a:extLst>
              <a:ext uri="{FF2B5EF4-FFF2-40B4-BE49-F238E27FC236}">
                <a16:creationId xmlns:a16="http://schemas.microsoft.com/office/drawing/2014/main" id="{3BFA6D28-9A42-4459-8BF1-090CE1B45216}"/>
              </a:ext>
            </a:extLst>
          </p:cNvPr>
          <p:cNvSpPr/>
          <p:nvPr/>
        </p:nvSpPr>
        <p:spPr>
          <a:xfrm>
            <a:off x="5638800" y="1333500"/>
            <a:ext cx="430213" cy="1539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6 of 36</a:t>
            </a:r>
          </a:p>
        </p:txBody>
      </p:sp>
      <p:sp>
        <p:nvSpPr>
          <p:cNvPr id="101" name="Pentagon 19">
            <a:extLst>
              <a:ext uri="{FF2B5EF4-FFF2-40B4-BE49-F238E27FC236}">
                <a16:creationId xmlns:a16="http://schemas.microsoft.com/office/drawing/2014/main" id="{CCD74FA4-19D0-4356-90C9-B3B49BCC3F54}"/>
              </a:ext>
            </a:extLst>
          </p:cNvPr>
          <p:cNvSpPr>
            <a:spLocks/>
          </p:cNvSpPr>
          <p:nvPr/>
        </p:nvSpPr>
        <p:spPr bwMode="auto">
          <a:xfrm>
            <a:off x="688340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0 of 37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12EE735-1E43-4799-A46A-5D0787F375CE}"/>
              </a:ext>
            </a:extLst>
          </p:cNvPr>
          <p:cNvSpPr/>
          <p:nvPr/>
        </p:nvSpPr>
        <p:spPr>
          <a:xfrm>
            <a:off x="6880225" y="5726113"/>
            <a:ext cx="642938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rting a Business</a:t>
            </a:r>
          </a:p>
        </p:txBody>
      </p:sp>
      <p:pic>
        <p:nvPicPr>
          <p:cNvPr id="23622" name="Picture 3">
            <a:extLst>
              <a:ext uri="{FF2B5EF4-FFF2-40B4-BE49-F238E27FC236}">
                <a16:creationId xmlns:a16="http://schemas.microsoft.com/office/drawing/2014/main" id="{53FAD0C6-8FFE-437B-B7E4-F2A938D3BE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350" y="5249863"/>
            <a:ext cx="41910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23" name="Freeform 15">
            <a:extLst>
              <a:ext uri="{FF2B5EF4-FFF2-40B4-BE49-F238E27FC236}">
                <a16:creationId xmlns:a16="http://schemas.microsoft.com/office/drawing/2014/main" id="{183A3C8B-011E-4D99-9165-3FF03A2D3207}"/>
              </a:ext>
            </a:extLst>
          </p:cNvPr>
          <p:cNvSpPr>
            <a:spLocks noEditPoints="1"/>
          </p:cNvSpPr>
          <p:nvPr/>
        </p:nvSpPr>
        <p:spPr bwMode="auto">
          <a:xfrm>
            <a:off x="9093200" y="5257800"/>
            <a:ext cx="276225" cy="347663"/>
          </a:xfrm>
          <a:custGeom>
            <a:avLst/>
            <a:gdLst>
              <a:gd name="T0" fmla="*/ 2147483646 w 3556"/>
              <a:gd name="T1" fmla="*/ 2147483646 h 3950"/>
              <a:gd name="T2" fmla="*/ 2147483646 w 3556"/>
              <a:gd name="T3" fmla="*/ 2147483646 h 3950"/>
              <a:gd name="T4" fmla="*/ 2147483646 w 3556"/>
              <a:gd name="T5" fmla="*/ 2147483646 h 3950"/>
              <a:gd name="T6" fmla="*/ 2147483646 w 3556"/>
              <a:gd name="T7" fmla="*/ 2147483646 h 3950"/>
              <a:gd name="T8" fmla="*/ 2147483646 w 3556"/>
              <a:gd name="T9" fmla="*/ 2147483646 h 3950"/>
              <a:gd name="T10" fmla="*/ 2147483646 w 3556"/>
              <a:gd name="T11" fmla="*/ 2147483646 h 3950"/>
              <a:gd name="T12" fmla="*/ 2147483646 w 3556"/>
              <a:gd name="T13" fmla="*/ 2147483646 h 3950"/>
              <a:gd name="T14" fmla="*/ 2147483646 w 3556"/>
              <a:gd name="T15" fmla="*/ 2147483646 h 3950"/>
              <a:gd name="T16" fmla="*/ 2147483646 w 3556"/>
              <a:gd name="T17" fmla="*/ 2147483646 h 3950"/>
              <a:gd name="T18" fmla="*/ 2147483646 w 3556"/>
              <a:gd name="T19" fmla="*/ 2147483646 h 3950"/>
              <a:gd name="T20" fmla="*/ 2147483646 w 3556"/>
              <a:gd name="T21" fmla="*/ 2147483646 h 3950"/>
              <a:gd name="T22" fmla="*/ 0 w 3556"/>
              <a:gd name="T23" fmla="*/ 2147483646 h 3950"/>
              <a:gd name="T24" fmla="*/ 2147483646 w 3556"/>
              <a:gd name="T25" fmla="*/ 2147483646 h 3950"/>
              <a:gd name="T26" fmla="*/ 2147483646 w 3556"/>
              <a:gd name="T27" fmla="*/ 2147483646 h 3950"/>
              <a:gd name="T28" fmla="*/ 2147483646 w 3556"/>
              <a:gd name="T29" fmla="*/ 2147483646 h 3950"/>
              <a:gd name="T30" fmla="*/ 2147483646 w 3556"/>
              <a:gd name="T31" fmla="*/ 2147483646 h 3950"/>
              <a:gd name="T32" fmla="*/ 2147483646 w 3556"/>
              <a:gd name="T33" fmla="*/ 2147483646 h 3950"/>
              <a:gd name="T34" fmla="*/ 2147483646 w 3556"/>
              <a:gd name="T35" fmla="*/ 2147483646 h 3950"/>
              <a:gd name="T36" fmla="*/ 2147483646 w 3556"/>
              <a:gd name="T37" fmla="*/ 2147483646 h 3950"/>
              <a:gd name="T38" fmla="*/ 2147483646 w 3556"/>
              <a:gd name="T39" fmla="*/ 2147483646 h 3950"/>
              <a:gd name="T40" fmla="*/ 2147483646 w 3556"/>
              <a:gd name="T41" fmla="*/ 2147483646 h 3950"/>
              <a:gd name="T42" fmla="*/ 2147483646 w 3556"/>
              <a:gd name="T43" fmla="*/ 2147483646 h 3950"/>
              <a:gd name="T44" fmla="*/ 2147483646 w 3556"/>
              <a:gd name="T45" fmla="*/ 2147483646 h 3950"/>
              <a:gd name="T46" fmla="*/ 2147483646 w 3556"/>
              <a:gd name="T47" fmla="*/ 2147483646 h 3950"/>
              <a:gd name="T48" fmla="*/ 2147483646 w 3556"/>
              <a:gd name="T49" fmla="*/ 2147483646 h 3950"/>
              <a:gd name="T50" fmla="*/ 2147483646 w 3556"/>
              <a:gd name="T51" fmla="*/ 2147483646 h 3950"/>
              <a:gd name="T52" fmla="*/ 2147483646 w 3556"/>
              <a:gd name="T53" fmla="*/ 2147483646 h 3950"/>
              <a:gd name="T54" fmla="*/ 2147483646 w 3556"/>
              <a:gd name="T55" fmla="*/ 2147483646 h 3950"/>
              <a:gd name="T56" fmla="*/ 2147483646 w 3556"/>
              <a:gd name="T57" fmla="*/ 2147483646 h 3950"/>
              <a:gd name="T58" fmla="*/ 2147483646 w 3556"/>
              <a:gd name="T59" fmla="*/ 2147483646 h 3950"/>
              <a:gd name="T60" fmla="*/ 2147483646 w 3556"/>
              <a:gd name="T61" fmla="*/ 2147483646 h 3950"/>
              <a:gd name="T62" fmla="*/ 2147483646 w 3556"/>
              <a:gd name="T63" fmla="*/ 2147483646 h 3950"/>
              <a:gd name="T64" fmla="*/ 2147483646 w 3556"/>
              <a:gd name="T65" fmla="*/ 2147483646 h 3950"/>
              <a:gd name="T66" fmla="*/ 2147483646 w 3556"/>
              <a:gd name="T67" fmla="*/ 2147483646 h 3950"/>
              <a:gd name="T68" fmla="*/ 2147483646 w 3556"/>
              <a:gd name="T69" fmla="*/ 2147483646 h 3950"/>
              <a:gd name="T70" fmla="*/ 2147483646 w 3556"/>
              <a:gd name="T71" fmla="*/ 2147483646 h 3950"/>
              <a:gd name="T72" fmla="*/ 2147483646 w 3556"/>
              <a:gd name="T73" fmla="*/ 2147483646 h 3950"/>
              <a:gd name="T74" fmla="*/ 2147483646 w 3556"/>
              <a:gd name="T75" fmla="*/ 2147483646 h 3950"/>
              <a:gd name="T76" fmla="*/ 2147483646 w 3556"/>
              <a:gd name="T77" fmla="*/ 2147483646 h 3950"/>
              <a:gd name="T78" fmla="*/ 2147483646 w 3556"/>
              <a:gd name="T79" fmla="*/ 2147483646 h 3950"/>
              <a:gd name="T80" fmla="*/ 2147483646 w 3556"/>
              <a:gd name="T81" fmla="*/ 0 h 3950"/>
              <a:gd name="T82" fmla="*/ 2147483646 w 3556"/>
              <a:gd name="T83" fmla="*/ 2147483646 h 3950"/>
              <a:gd name="T84" fmla="*/ 2147483646 w 3556"/>
              <a:gd name="T85" fmla="*/ 2147483646 h 3950"/>
              <a:gd name="T86" fmla="*/ 2147483646 w 3556"/>
              <a:gd name="T87" fmla="*/ 2147483646 h 395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556"/>
              <a:gd name="T133" fmla="*/ 0 h 3950"/>
              <a:gd name="T134" fmla="*/ 3556 w 3556"/>
              <a:gd name="T135" fmla="*/ 3950 h 395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556" h="3950">
                <a:moveTo>
                  <a:pt x="909" y="3917"/>
                </a:moveTo>
                <a:cubicBezTo>
                  <a:pt x="824" y="3832"/>
                  <a:pt x="894" y="3725"/>
                  <a:pt x="1036" y="3725"/>
                </a:cubicBezTo>
                <a:cubicBezTo>
                  <a:pt x="1119" y="3725"/>
                  <a:pt x="1129" y="3717"/>
                  <a:pt x="1129" y="3645"/>
                </a:cubicBezTo>
                <a:cubicBezTo>
                  <a:pt x="1129" y="3472"/>
                  <a:pt x="1135" y="3471"/>
                  <a:pt x="2192" y="3471"/>
                </a:cubicBezTo>
                <a:cubicBezTo>
                  <a:pt x="3086" y="3471"/>
                  <a:pt x="3155" y="3475"/>
                  <a:pt x="3199" y="3523"/>
                </a:cubicBezTo>
                <a:cubicBezTo>
                  <a:pt x="3225" y="3551"/>
                  <a:pt x="3246" y="3608"/>
                  <a:pt x="3246" y="3648"/>
                </a:cubicBezTo>
                <a:cubicBezTo>
                  <a:pt x="3246" y="3712"/>
                  <a:pt x="3259" y="3723"/>
                  <a:pt x="3349" y="3730"/>
                </a:cubicBezTo>
                <a:cubicBezTo>
                  <a:pt x="3470" y="3741"/>
                  <a:pt x="3530" y="3811"/>
                  <a:pt x="3482" y="3887"/>
                </a:cubicBezTo>
                <a:cubicBezTo>
                  <a:pt x="3453" y="3933"/>
                  <a:pt x="3356" y="3937"/>
                  <a:pt x="2197" y="3944"/>
                </a:cubicBezTo>
                <a:cubicBezTo>
                  <a:pt x="1245" y="3950"/>
                  <a:pt x="935" y="3943"/>
                  <a:pt x="909" y="3917"/>
                </a:cubicBezTo>
                <a:close/>
                <a:moveTo>
                  <a:pt x="87" y="3370"/>
                </a:moveTo>
                <a:cubicBezTo>
                  <a:pt x="24" y="3317"/>
                  <a:pt x="0" y="3272"/>
                  <a:pt x="0" y="3209"/>
                </a:cubicBezTo>
                <a:cubicBezTo>
                  <a:pt x="0" y="3132"/>
                  <a:pt x="86" y="3035"/>
                  <a:pt x="705" y="2414"/>
                </a:cubicBezTo>
                <a:lnTo>
                  <a:pt x="1411" y="1706"/>
                </a:lnTo>
                <a:lnTo>
                  <a:pt x="1235" y="1530"/>
                </a:lnTo>
                <a:lnTo>
                  <a:pt x="1059" y="1355"/>
                </a:lnTo>
                <a:lnTo>
                  <a:pt x="1510" y="903"/>
                </a:lnTo>
                <a:lnTo>
                  <a:pt x="1960" y="452"/>
                </a:lnTo>
                <a:lnTo>
                  <a:pt x="2135" y="624"/>
                </a:lnTo>
                <a:cubicBezTo>
                  <a:pt x="2305" y="793"/>
                  <a:pt x="2310" y="796"/>
                  <a:pt x="2374" y="751"/>
                </a:cubicBezTo>
                <a:cubicBezTo>
                  <a:pt x="2469" y="685"/>
                  <a:pt x="2547" y="695"/>
                  <a:pt x="2633" y="785"/>
                </a:cubicBezTo>
                <a:cubicBezTo>
                  <a:pt x="2720" y="875"/>
                  <a:pt x="2731" y="974"/>
                  <a:pt x="2662" y="1050"/>
                </a:cubicBezTo>
                <a:cubicBezTo>
                  <a:pt x="2616" y="1100"/>
                  <a:pt x="2624" y="1112"/>
                  <a:pt x="2823" y="1313"/>
                </a:cubicBezTo>
                <a:lnTo>
                  <a:pt x="3033" y="1524"/>
                </a:lnTo>
                <a:lnTo>
                  <a:pt x="2582" y="1975"/>
                </a:lnTo>
                <a:lnTo>
                  <a:pt x="2132" y="2427"/>
                </a:lnTo>
                <a:lnTo>
                  <a:pt x="1933" y="2229"/>
                </a:lnTo>
                <a:cubicBezTo>
                  <a:pt x="1824" y="2121"/>
                  <a:pt x="1722" y="2032"/>
                  <a:pt x="1707" y="2032"/>
                </a:cubicBezTo>
                <a:cubicBezTo>
                  <a:pt x="1693" y="2032"/>
                  <a:pt x="1362" y="2349"/>
                  <a:pt x="973" y="2737"/>
                </a:cubicBezTo>
                <a:cubicBezTo>
                  <a:pt x="584" y="3125"/>
                  <a:pt x="245" y="3443"/>
                  <a:pt x="220" y="3443"/>
                </a:cubicBezTo>
                <a:cubicBezTo>
                  <a:pt x="194" y="3443"/>
                  <a:pt x="135" y="3410"/>
                  <a:pt x="87" y="3370"/>
                </a:cubicBezTo>
                <a:close/>
                <a:moveTo>
                  <a:pt x="2258" y="2887"/>
                </a:moveTo>
                <a:cubicBezTo>
                  <a:pt x="2196" y="2865"/>
                  <a:pt x="2145" y="2792"/>
                  <a:pt x="2145" y="2725"/>
                </a:cubicBezTo>
                <a:cubicBezTo>
                  <a:pt x="2145" y="2686"/>
                  <a:pt x="2337" y="2474"/>
                  <a:pt x="2703" y="2109"/>
                </a:cubicBezTo>
                <a:cubicBezTo>
                  <a:pt x="3289" y="1523"/>
                  <a:pt x="3346" y="1485"/>
                  <a:pt x="3453" y="1604"/>
                </a:cubicBezTo>
                <a:cubicBezTo>
                  <a:pt x="3556" y="1717"/>
                  <a:pt x="3522" y="1766"/>
                  <a:pt x="2956" y="2331"/>
                </a:cubicBezTo>
                <a:cubicBezTo>
                  <a:pt x="2657" y="2630"/>
                  <a:pt x="2388" y="2880"/>
                  <a:pt x="2357" y="2888"/>
                </a:cubicBezTo>
                <a:cubicBezTo>
                  <a:pt x="2326" y="2895"/>
                  <a:pt x="2281" y="2895"/>
                  <a:pt x="2258" y="2887"/>
                </a:cubicBezTo>
                <a:close/>
                <a:moveTo>
                  <a:pt x="637" y="1282"/>
                </a:moveTo>
                <a:cubicBezTo>
                  <a:pt x="528" y="1172"/>
                  <a:pt x="568" y="1113"/>
                  <a:pt x="1137" y="544"/>
                </a:cubicBezTo>
                <a:cubicBezTo>
                  <a:pt x="1607" y="74"/>
                  <a:pt x="1693" y="0"/>
                  <a:pt x="1767" y="0"/>
                </a:cubicBezTo>
                <a:cubicBezTo>
                  <a:pt x="1862" y="0"/>
                  <a:pt x="1947" y="73"/>
                  <a:pt x="1947" y="156"/>
                </a:cubicBezTo>
                <a:cubicBezTo>
                  <a:pt x="1947" y="186"/>
                  <a:pt x="1715" y="442"/>
                  <a:pt x="1391" y="767"/>
                </a:cubicBezTo>
                <a:cubicBezTo>
                  <a:pt x="808" y="1353"/>
                  <a:pt x="749" y="1393"/>
                  <a:pt x="637" y="12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" name="Group 118">
            <a:extLst>
              <a:ext uri="{FF2B5EF4-FFF2-40B4-BE49-F238E27FC236}">
                <a16:creationId xmlns:a16="http://schemas.microsoft.com/office/drawing/2014/main" id="{FB3D6A90-C4FD-433A-A1C1-A4B3864804A5}"/>
              </a:ext>
            </a:extLst>
          </p:cNvPr>
          <p:cNvGrpSpPr/>
          <p:nvPr/>
        </p:nvGrpSpPr>
        <p:grpSpPr>
          <a:xfrm>
            <a:off x="8409631" y="5248358"/>
            <a:ext cx="346498" cy="347472"/>
            <a:chOff x="1468138" y="5997240"/>
            <a:chExt cx="283642" cy="307072"/>
          </a:xfrm>
          <a:solidFill>
            <a:schemeClr val="bg1"/>
          </a:solidFill>
        </p:grpSpPr>
        <p:sp>
          <p:nvSpPr>
            <p:cNvPr id="120" name="Freeform 16">
              <a:extLst>
                <a:ext uri="{FF2B5EF4-FFF2-40B4-BE49-F238E27FC236}">
                  <a16:creationId xmlns:a16="http://schemas.microsoft.com/office/drawing/2014/main" id="{D6134FC8-4249-4088-8AE8-003C8AAC7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6136" y="6255221"/>
              <a:ext cx="26428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1 w 349"/>
                <a:gd name="T25" fmla="*/ 226 h 350"/>
                <a:gd name="T26" fmla="*/ 225 w 349"/>
                <a:gd name="T27" fmla="*/ 213 h 350"/>
                <a:gd name="T28" fmla="*/ 234 w 349"/>
                <a:gd name="T29" fmla="*/ 194 h 350"/>
                <a:gd name="T30" fmla="*/ 237 w 349"/>
                <a:gd name="T31" fmla="*/ 175 h 350"/>
                <a:gd name="T32" fmla="*/ 235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5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4 w 349"/>
                <a:gd name="T47" fmla="*/ 3 h 350"/>
                <a:gd name="T48" fmla="*/ 234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8 w 349"/>
                <a:gd name="T55" fmla="*/ 63 h 350"/>
                <a:gd name="T56" fmla="*/ 325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5 w 349"/>
                <a:gd name="T65" fmla="*/ 210 h 350"/>
                <a:gd name="T66" fmla="*/ 335 w 349"/>
                <a:gd name="T67" fmla="*/ 243 h 350"/>
                <a:gd name="T68" fmla="*/ 319 w 349"/>
                <a:gd name="T69" fmla="*/ 273 h 350"/>
                <a:gd name="T70" fmla="*/ 297 w 349"/>
                <a:gd name="T71" fmla="*/ 299 h 350"/>
                <a:gd name="T72" fmla="*/ 272 w 349"/>
                <a:gd name="T73" fmla="*/ 319 h 350"/>
                <a:gd name="T74" fmla="*/ 242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39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29 w 349"/>
                <a:gd name="T89" fmla="*/ 273 h 350"/>
                <a:gd name="T90" fmla="*/ 14 w 349"/>
                <a:gd name="T91" fmla="*/ 243 h 350"/>
                <a:gd name="T92" fmla="*/ 3 w 349"/>
                <a:gd name="T93" fmla="*/ 210 h 350"/>
                <a:gd name="T94" fmla="*/ 0 w 349"/>
                <a:gd name="T95" fmla="*/ 175 h 350"/>
                <a:gd name="T96" fmla="*/ 3 w 349"/>
                <a:gd name="T97" fmla="*/ 140 h 350"/>
                <a:gd name="T98" fmla="*/ 14 w 349"/>
                <a:gd name="T99" fmla="*/ 107 h 350"/>
                <a:gd name="T100" fmla="*/ 29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39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1" y="226"/>
                  </a:lnTo>
                  <a:lnTo>
                    <a:pt x="225" y="213"/>
                  </a:lnTo>
                  <a:lnTo>
                    <a:pt x="234" y="194"/>
                  </a:lnTo>
                  <a:lnTo>
                    <a:pt x="237" y="175"/>
                  </a:lnTo>
                  <a:lnTo>
                    <a:pt x="235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5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4" y="3"/>
                  </a:lnTo>
                  <a:lnTo>
                    <a:pt x="234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8" y="63"/>
                  </a:lnTo>
                  <a:lnTo>
                    <a:pt x="325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5" y="210"/>
                  </a:lnTo>
                  <a:lnTo>
                    <a:pt x="335" y="243"/>
                  </a:lnTo>
                  <a:lnTo>
                    <a:pt x="319" y="273"/>
                  </a:lnTo>
                  <a:lnTo>
                    <a:pt x="297" y="299"/>
                  </a:lnTo>
                  <a:lnTo>
                    <a:pt x="272" y="319"/>
                  </a:lnTo>
                  <a:lnTo>
                    <a:pt x="242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39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29" y="273"/>
                  </a:lnTo>
                  <a:lnTo>
                    <a:pt x="14" y="243"/>
                  </a:lnTo>
                  <a:lnTo>
                    <a:pt x="3" y="210"/>
                  </a:lnTo>
                  <a:lnTo>
                    <a:pt x="0" y="175"/>
                  </a:lnTo>
                  <a:lnTo>
                    <a:pt x="3" y="140"/>
                  </a:lnTo>
                  <a:lnTo>
                    <a:pt x="14" y="107"/>
                  </a:lnTo>
                  <a:lnTo>
                    <a:pt x="29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39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1" name="Freeform 17">
              <a:extLst>
                <a:ext uri="{FF2B5EF4-FFF2-40B4-BE49-F238E27FC236}">
                  <a16:creationId xmlns:a16="http://schemas.microsoft.com/office/drawing/2014/main" id="{67A5F0B0-C078-4A85-9E32-409FF0B3D5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2133" y="6255221"/>
              <a:ext cx="26656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2 w 349"/>
                <a:gd name="T25" fmla="*/ 226 h 350"/>
                <a:gd name="T26" fmla="*/ 226 w 349"/>
                <a:gd name="T27" fmla="*/ 213 h 350"/>
                <a:gd name="T28" fmla="*/ 235 w 349"/>
                <a:gd name="T29" fmla="*/ 194 h 350"/>
                <a:gd name="T30" fmla="*/ 237 w 349"/>
                <a:gd name="T31" fmla="*/ 175 h 350"/>
                <a:gd name="T32" fmla="*/ 236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7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5 w 349"/>
                <a:gd name="T47" fmla="*/ 3 h 350"/>
                <a:gd name="T48" fmla="*/ 235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9 w 349"/>
                <a:gd name="T55" fmla="*/ 63 h 350"/>
                <a:gd name="T56" fmla="*/ 326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6 w 349"/>
                <a:gd name="T65" fmla="*/ 210 h 350"/>
                <a:gd name="T66" fmla="*/ 336 w 349"/>
                <a:gd name="T67" fmla="*/ 243 h 350"/>
                <a:gd name="T68" fmla="*/ 319 w 349"/>
                <a:gd name="T69" fmla="*/ 273 h 350"/>
                <a:gd name="T70" fmla="*/ 298 w 349"/>
                <a:gd name="T71" fmla="*/ 299 h 350"/>
                <a:gd name="T72" fmla="*/ 272 w 349"/>
                <a:gd name="T73" fmla="*/ 319 h 350"/>
                <a:gd name="T74" fmla="*/ 243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40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30 w 349"/>
                <a:gd name="T89" fmla="*/ 273 h 350"/>
                <a:gd name="T90" fmla="*/ 14 w 349"/>
                <a:gd name="T91" fmla="*/ 243 h 350"/>
                <a:gd name="T92" fmla="*/ 4 w 349"/>
                <a:gd name="T93" fmla="*/ 210 h 350"/>
                <a:gd name="T94" fmla="*/ 0 w 349"/>
                <a:gd name="T95" fmla="*/ 175 h 350"/>
                <a:gd name="T96" fmla="*/ 4 w 349"/>
                <a:gd name="T97" fmla="*/ 140 h 350"/>
                <a:gd name="T98" fmla="*/ 14 w 349"/>
                <a:gd name="T99" fmla="*/ 107 h 350"/>
                <a:gd name="T100" fmla="*/ 30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40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7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7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5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19" y="273"/>
                  </a:lnTo>
                  <a:lnTo>
                    <a:pt x="298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2" name="Freeform 18">
              <a:extLst>
                <a:ext uri="{FF2B5EF4-FFF2-40B4-BE49-F238E27FC236}">
                  <a16:creationId xmlns:a16="http://schemas.microsoft.com/office/drawing/2014/main" id="{BF1784DA-3E40-44FD-998D-DB1DD379C0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8357" y="6255221"/>
              <a:ext cx="26428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7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1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7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8 w 350"/>
                <a:gd name="T31" fmla="*/ 175 h 350"/>
                <a:gd name="T32" fmla="*/ 236 w 350"/>
                <a:gd name="T33" fmla="*/ 158 h 350"/>
                <a:gd name="T34" fmla="*/ 229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7 w 350"/>
                <a:gd name="T53" fmla="*/ 41 h 350"/>
                <a:gd name="T54" fmla="*/ 309 w 350"/>
                <a:gd name="T55" fmla="*/ 63 h 350"/>
                <a:gd name="T56" fmla="*/ 326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2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7 w 350"/>
                <a:gd name="T85" fmla="*/ 319 h 350"/>
                <a:gd name="T86" fmla="*/ 51 w 350"/>
                <a:gd name="T87" fmla="*/ 299 h 350"/>
                <a:gd name="T88" fmla="*/ 30 w 350"/>
                <a:gd name="T89" fmla="*/ 273 h 350"/>
                <a:gd name="T90" fmla="*/ 14 w 350"/>
                <a:gd name="T91" fmla="*/ 243 h 350"/>
                <a:gd name="T92" fmla="*/ 4 w 350"/>
                <a:gd name="T93" fmla="*/ 210 h 350"/>
                <a:gd name="T94" fmla="*/ 0 w 350"/>
                <a:gd name="T95" fmla="*/ 175 h 350"/>
                <a:gd name="T96" fmla="*/ 4 w 350"/>
                <a:gd name="T97" fmla="*/ 140 h 350"/>
                <a:gd name="T98" fmla="*/ 14 w 350"/>
                <a:gd name="T99" fmla="*/ 107 h 350"/>
                <a:gd name="T100" fmla="*/ 30 w 350"/>
                <a:gd name="T101" fmla="*/ 78 h 350"/>
                <a:gd name="T102" fmla="*/ 51 w 350"/>
                <a:gd name="T103" fmla="*/ 52 h 350"/>
                <a:gd name="T104" fmla="*/ 77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8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3" name="Freeform 19">
              <a:extLst>
                <a:ext uri="{FF2B5EF4-FFF2-40B4-BE49-F238E27FC236}">
                  <a16:creationId xmlns:a16="http://schemas.microsoft.com/office/drawing/2014/main" id="{FF26547B-24B3-4108-8095-A2794E966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4353" y="6255221"/>
              <a:ext cx="26656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8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3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8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9 w 350"/>
                <a:gd name="T31" fmla="*/ 175 h 350"/>
                <a:gd name="T32" fmla="*/ 236 w 350"/>
                <a:gd name="T33" fmla="*/ 158 h 350"/>
                <a:gd name="T34" fmla="*/ 231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8 w 350"/>
                <a:gd name="T53" fmla="*/ 41 h 350"/>
                <a:gd name="T54" fmla="*/ 309 w 350"/>
                <a:gd name="T55" fmla="*/ 63 h 350"/>
                <a:gd name="T56" fmla="*/ 327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3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8 w 350"/>
                <a:gd name="T85" fmla="*/ 319 h 350"/>
                <a:gd name="T86" fmla="*/ 53 w 350"/>
                <a:gd name="T87" fmla="*/ 299 h 350"/>
                <a:gd name="T88" fmla="*/ 31 w 350"/>
                <a:gd name="T89" fmla="*/ 273 h 350"/>
                <a:gd name="T90" fmla="*/ 15 w 350"/>
                <a:gd name="T91" fmla="*/ 243 h 350"/>
                <a:gd name="T92" fmla="*/ 5 w 350"/>
                <a:gd name="T93" fmla="*/ 210 h 350"/>
                <a:gd name="T94" fmla="*/ 0 w 350"/>
                <a:gd name="T95" fmla="*/ 175 h 350"/>
                <a:gd name="T96" fmla="*/ 5 w 350"/>
                <a:gd name="T97" fmla="*/ 140 h 350"/>
                <a:gd name="T98" fmla="*/ 15 w 350"/>
                <a:gd name="T99" fmla="*/ 107 h 350"/>
                <a:gd name="T100" fmla="*/ 31 w 350"/>
                <a:gd name="T101" fmla="*/ 78 h 350"/>
                <a:gd name="T102" fmla="*/ 53 w 350"/>
                <a:gd name="T103" fmla="*/ 52 h 350"/>
                <a:gd name="T104" fmla="*/ 78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8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3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8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9" y="175"/>
                  </a:lnTo>
                  <a:lnTo>
                    <a:pt x="236" y="158"/>
                  </a:lnTo>
                  <a:lnTo>
                    <a:pt x="231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8" y="41"/>
                  </a:lnTo>
                  <a:lnTo>
                    <a:pt x="309" y="63"/>
                  </a:lnTo>
                  <a:lnTo>
                    <a:pt x="327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3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8" y="319"/>
                  </a:lnTo>
                  <a:lnTo>
                    <a:pt x="53" y="299"/>
                  </a:lnTo>
                  <a:lnTo>
                    <a:pt x="31" y="273"/>
                  </a:lnTo>
                  <a:lnTo>
                    <a:pt x="15" y="243"/>
                  </a:lnTo>
                  <a:lnTo>
                    <a:pt x="5" y="210"/>
                  </a:lnTo>
                  <a:lnTo>
                    <a:pt x="0" y="175"/>
                  </a:lnTo>
                  <a:lnTo>
                    <a:pt x="5" y="140"/>
                  </a:lnTo>
                  <a:lnTo>
                    <a:pt x="15" y="107"/>
                  </a:lnTo>
                  <a:lnTo>
                    <a:pt x="31" y="78"/>
                  </a:lnTo>
                  <a:lnTo>
                    <a:pt x="53" y="52"/>
                  </a:lnTo>
                  <a:lnTo>
                    <a:pt x="78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4" name="Freeform 20">
              <a:extLst>
                <a:ext uri="{FF2B5EF4-FFF2-40B4-BE49-F238E27FC236}">
                  <a16:creationId xmlns:a16="http://schemas.microsoft.com/office/drawing/2014/main" id="{6F553FA1-4728-401A-8C20-F18E165CA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80832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2 h 111"/>
                <a:gd name="T10" fmla="*/ 168 w 171"/>
                <a:gd name="T11" fmla="*/ 37 h 111"/>
                <a:gd name="T12" fmla="*/ 171 w 171"/>
                <a:gd name="T13" fmla="*/ 55 h 111"/>
                <a:gd name="T14" fmla="*/ 168 w 171"/>
                <a:gd name="T15" fmla="*/ 72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8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8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2 h 111"/>
                <a:gd name="T34" fmla="*/ 0 w 171"/>
                <a:gd name="T35" fmla="*/ 55 h 111"/>
                <a:gd name="T36" fmla="*/ 2 w 171"/>
                <a:gd name="T37" fmla="*/ 37 h 111"/>
                <a:gd name="T38" fmla="*/ 10 w 171"/>
                <a:gd name="T39" fmla="*/ 22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2"/>
                  </a:lnTo>
                  <a:lnTo>
                    <a:pt x="168" y="37"/>
                  </a:lnTo>
                  <a:lnTo>
                    <a:pt x="171" y="55"/>
                  </a:lnTo>
                  <a:lnTo>
                    <a:pt x="168" y="72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8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8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2"/>
                  </a:lnTo>
                  <a:lnTo>
                    <a:pt x="0" y="55"/>
                  </a:lnTo>
                  <a:lnTo>
                    <a:pt x="2" y="37"/>
                  </a:lnTo>
                  <a:lnTo>
                    <a:pt x="10" y="22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5" name="Freeform 21">
              <a:extLst>
                <a:ext uri="{FF2B5EF4-FFF2-40B4-BE49-F238E27FC236}">
                  <a16:creationId xmlns:a16="http://schemas.microsoft.com/office/drawing/2014/main" id="{2A783787-5E9B-43C9-9BF4-073950C97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95860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3 h 111"/>
                <a:gd name="T10" fmla="*/ 168 w 171"/>
                <a:gd name="T11" fmla="*/ 38 h 111"/>
                <a:gd name="T12" fmla="*/ 171 w 171"/>
                <a:gd name="T13" fmla="*/ 55 h 111"/>
                <a:gd name="T14" fmla="*/ 168 w 171"/>
                <a:gd name="T15" fmla="*/ 74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9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9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4 h 111"/>
                <a:gd name="T34" fmla="*/ 0 w 171"/>
                <a:gd name="T35" fmla="*/ 55 h 111"/>
                <a:gd name="T36" fmla="*/ 2 w 171"/>
                <a:gd name="T37" fmla="*/ 38 h 111"/>
                <a:gd name="T38" fmla="*/ 10 w 171"/>
                <a:gd name="T39" fmla="*/ 23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3"/>
                  </a:lnTo>
                  <a:lnTo>
                    <a:pt x="168" y="38"/>
                  </a:lnTo>
                  <a:lnTo>
                    <a:pt x="171" y="55"/>
                  </a:lnTo>
                  <a:lnTo>
                    <a:pt x="168" y="74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9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9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4"/>
                  </a:lnTo>
                  <a:lnTo>
                    <a:pt x="0" y="55"/>
                  </a:lnTo>
                  <a:lnTo>
                    <a:pt x="2" y="38"/>
                  </a:lnTo>
                  <a:lnTo>
                    <a:pt x="10" y="23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6" name="Freeform 22">
              <a:extLst>
                <a:ext uri="{FF2B5EF4-FFF2-40B4-BE49-F238E27FC236}">
                  <a16:creationId xmlns:a16="http://schemas.microsoft.com/office/drawing/2014/main" id="{6465D05A-ED22-49B3-924E-6DFC4C8C8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8138" y="5997240"/>
              <a:ext cx="283642" cy="307072"/>
            </a:xfrm>
            <a:custGeom>
              <a:avLst/>
              <a:gdLst>
                <a:gd name="T0" fmla="*/ 185 w 3736"/>
                <a:gd name="T1" fmla="*/ 3069 h 3678"/>
                <a:gd name="T2" fmla="*/ 125 w 3736"/>
                <a:gd name="T3" fmla="*/ 3352 h 3678"/>
                <a:gd name="T4" fmla="*/ 325 w 3736"/>
                <a:gd name="T5" fmla="*/ 3554 h 3678"/>
                <a:gd name="T6" fmla="*/ 2002 w 3736"/>
                <a:gd name="T7" fmla="*/ 3518 h 3678"/>
                <a:gd name="T8" fmla="*/ 2140 w 3736"/>
                <a:gd name="T9" fmla="*/ 3266 h 3678"/>
                <a:gd name="T10" fmla="*/ 2002 w 3736"/>
                <a:gd name="T11" fmla="*/ 3013 h 3678"/>
                <a:gd name="T12" fmla="*/ 943 w 3736"/>
                <a:gd name="T13" fmla="*/ 2853 h 3678"/>
                <a:gd name="T14" fmla="*/ 2970 w 3736"/>
                <a:gd name="T15" fmla="*/ 2765 h 3678"/>
                <a:gd name="T16" fmla="*/ 3240 w 3736"/>
                <a:gd name="T17" fmla="*/ 2787 h 3678"/>
                <a:gd name="T18" fmla="*/ 3506 w 3736"/>
                <a:gd name="T19" fmla="*/ 2599 h 3678"/>
                <a:gd name="T20" fmla="*/ 302 w 3736"/>
                <a:gd name="T21" fmla="*/ 2099 h 3678"/>
                <a:gd name="T22" fmla="*/ 333 w 3736"/>
                <a:gd name="T23" fmla="*/ 2613 h 3678"/>
                <a:gd name="T24" fmla="*/ 3524 w 3736"/>
                <a:gd name="T25" fmla="*/ 1966 h 3678"/>
                <a:gd name="T26" fmla="*/ 3542 w 3736"/>
                <a:gd name="T27" fmla="*/ 2077 h 3678"/>
                <a:gd name="T28" fmla="*/ 3622 w 3736"/>
                <a:gd name="T29" fmla="*/ 1998 h 3678"/>
                <a:gd name="T30" fmla="*/ 893 w 3736"/>
                <a:gd name="T31" fmla="*/ 1458 h 3678"/>
                <a:gd name="T32" fmla="*/ 1843 w 3736"/>
                <a:gd name="T33" fmla="*/ 2616 h 3678"/>
                <a:gd name="T34" fmla="*/ 1132 w 3736"/>
                <a:gd name="T35" fmla="*/ 2414 h 3678"/>
                <a:gd name="T36" fmla="*/ 954 w 3736"/>
                <a:gd name="T37" fmla="*/ 2256 h 3678"/>
                <a:gd name="T38" fmla="*/ 1082 w 3736"/>
                <a:gd name="T39" fmla="*/ 2271 h 3678"/>
                <a:gd name="T40" fmla="*/ 1271 w 3736"/>
                <a:gd name="T41" fmla="*/ 1557 h 3678"/>
                <a:gd name="T42" fmla="*/ 1360 w 3736"/>
                <a:gd name="T43" fmla="*/ 1601 h 3678"/>
                <a:gd name="T44" fmla="*/ 1958 w 3736"/>
                <a:gd name="T45" fmla="*/ 2171 h 3678"/>
                <a:gd name="T46" fmla="*/ 1525 w 3736"/>
                <a:gd name="T47" fmla="*/ 1457 h 3678"/>
                <a:gd name="T48" fmla="*/ 2749 w 3736"/>
                <a:gd name="T49" fmla="*/ 361 h 3678"/>
                <a:gd name="T50" fmla="*/ 3541 w 3736"/>
                <a:gd name="T51" fmla="*/ 1844 h 3678"/>
                <a:gd name="T52" fmla="*/ 1658 w 3736"/>
                <a:gd name="T53" fmla="*/ 1439 h 3678"/>
                <a:gd name="T54" fmla="*/ 2419 w 3736"/>
                <a:gd name="T55" fmla="*/ 427 h 3678"/>
                <a:gd name="T56" fmla="*/ 2498 w 3736"/>
                <a:gd name="T57" fmla="*/ 124 h 3678"/>
                <a:gd name="T58" fmla="*/ 2441 w 3736"/>
                <a:gd name="T59" fmla="*/ 287 h 3678"/>
                <a:gd name="T60" fmla="*/ 2599 w 3736"/>
                <a:gd name="T61" fmla="*/ 347 h 3678"/>
                <a:gd name="T62" fmla="*/ 2672 w 3736"/>
                <a:gd name="T63" fmla="*/ 256 h 3678"/>
                <a:gd name="T64" fmla="*/ 2625 w 3736"/>
                <a:gd name="T65" fmla="*/ 136 h 3678"/>
                <a:gd name="T66" fmla="*/ 2665 w 3736"/>
                <a:gd name="T67" fmla="*/ 28 h 3678"/>
                <a:gd name="T68" fmla="*/ 3734 w 3736"/>
                <a:gd name="T69" fmla="*/ 1986 h 3678"/>
                <a:gd name="T70" fmla="*/ 3646 w 3736"/>
                <a:gd name="T71" fmla="*/ 2170 h 3678"/>
                <a:gd name="T72" fmla="*/ 3580 w 3736"/>
                <a:gd name="T73" fmla="*/ 2724 h 3678"/>
                <a:gd name="T74" fmla="*/ 3180 w 3736"/>
                <a:gd name="T75" fmla="*/ 2918 h 3678"/>
                <a:gd name="T76" fmla="*/ 2865 w 3736"/>
                <a:gd name="T77" fmla="*/ 2826 h 3678"/>
                <a:gd name="T78" fmla="*/ 2459 w 3736"/>
                <a:gd name="T79" fmla="*/ 2397 h 3678"/>
                <a:gd name="T80" fmla="*/ 3431 w 3736"/>
                <a:gd name="T81" fmla="*/ 2200 h 3678"/>
                <a:gd name="T82" fmla="*/ 3506 w 3736"/>
                <a:gd name="T83" fmla="*/ 2183 h 3678"/>
                <a:gd name="T84" fmla="*/ 1983 w 3736"/>
                <a:gd name="T85" fmla="*/ 1926 h 3678"/>
                <a:gd name="T86" fmla="*/ 2073 w 3736"/>
                <a:gd name="T87" fmla="*/ 2433 h 3678"/>
                <a:gd name="T88" fmla="*/ 2059 w 3736"/>
                <a:gd name="T89" fmla="*/ 2469 h 3678"/>
                <a:gd name="T90" fmla="*/ 2043 w 3736"/>
                <a:gd name="T91" fmla="*/ 2482 h 3678"/>
                <a:gd name="T92" fmla="*/ 2024 w 3736"/>
                <a:gd name="T93" fmla="*/ 2489 h 3678"/>
                <a:gd name="T94" fmla="*/ 1942 w 3736"/>
                <a:gd name="T95" fmla="*/ 2705 h 3678"/>
                <a:gd name="T96" fmla="*/ 1890 w 3736"/>
                <a:gd name="T97" fmla="*/ 2857 h 3678"/>
                <a:gd name="T98" fmla="*/ 2177 w 3736"/>
                <a:gd name="T99" fmla="*/ 3030 h 3678"/>
                <a:gd name="T100" fmla="*/ 2238 w 3736"/>
                <a:gd name="T101" fmla="*/ 3367 h 3678"/>
                <a:gd name="T102" fmla="*/ 2032 w 3736"/>
                <a:gd name="T103" fmla="*/ 3630 h 3678"/>
                <a:gd name="T104" fmla="*/ 311 w 3736"/>
                <a:gd name="T105" fmla="*/ 3666 h 3678"/>
                <a:gd name="T106" fmla="*/ 49 w 3736"/>
                <a:gd name="T107" fmla="*/ 3460 h 3678"/>
                <a:gd name="T108" fmla="*/ 28 w 3736"/>
                <a:gd name="T109" fmla="*/ 3116 h 3678"/>
                <a:gd name="T110" fmla="*/ 263 w 3736"/>
                <a:gd name="T111" fmla="*/ 2882 h 3678"/>
                <a:gd name="T112" fmla="*/ 317 w 3736"/>
                <a:gd name="T113" fmla="*/ 2724 h 3678"/>
                <a:gd name="T114" fmla="*/ 178 w 3736"/>
                <a:gd name="T115" fmla="*/ 2553 h 3678"/>
                <a:gd name="T116" fmla="*/ 284 w 3736"/>
                <a:gd name="T117" fmla="*/ 1975 h 3678"/>
                <a:gd name="T118" fmla="*/ 740 w 3736"/>
                <a:gd name="T119" fmla="*/ 1477 h 3678"/>
                <a:gd name="T120" fmla="*/ 963 w 3736"/>
                <a:gd name="T121" fmla="*/ 1310 h 3678"/>
                <a:gd name="T122" fmla="*/ 2410 w 3736"/>
                <a:gd name="T123" fmla="*/ 48 h 3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6" h="3678">
                  <a:moveTo>
                    <a:pt x="413" y="2964"/>
                  </a:moveTo>
                  <a:lnTo>
                    <a:pt x="367" y="2968"/>
                  </a:lnTo>
                  <a:lnTo>
                    <a:pt x="325" y="2978"/>
                  </a:lnTo>
                  <a:lnTo>
                    <a:pt x="286" y="2993"/>
                  </a:lnTo>
                  <a:lnTo>
                    <a:pt x="248" y="3013"/>
                  </a:lnTo>
                  <a:lnTo>
                    <a:pt x="215" y="3039"/>
                  </a:lnTo>
                  <a:lnTo>
                    <a:pt x="185" y="3069"/>
                  </a:lnTo>
                  <a:lnTo>
                    <a:pt x="160" y="3102"/>
                  </a:lnTo>
                  <a:lnTo>
                    <a:pt x="139" y="3139"/>
                  </a:lnTo>
                  <a:lnTo>
                    <a:pt x="125" y="3179"/>
                  </a:lnTo>
                  <a:lnTo>
                    <a:pt x="114" y="3222"/>
                  </a:lnTo>
                  <a:lnTo>
                    <a:pt x="111" y="3266"/>
                  </a:lnTo>
                  <a:lnTo>
                    <a:pt x="114" y="3310"/>
                  </a:lnTo>
                  <a:lnTo>
                    <a:pt x="125" y="3352"/>
                  </a:lnTo>
                  <a:lnTo>
                    <a:pt x="139" y="3393"/>
                  </a:lnTo>
                  <a:lnTo>
                    <a:pt x="160" y="3430"/>
                  </a:lnTo>
                  <a:lnTo>
                    <a:pt x="185" y="3464"/>
                  </a:lnTo>
                  <a:lnTo>
                    <a:pt x="215" y="3493"/>
                  </a:lnTo>
                  <a:lnTo>
                    <a:pt x="248" y="3518"/>
                  </a:lnTo>
                  <a:lnTo>
                    <a:pt x="286" y="3538"/>
                  </a:lnTo>
                  <a:lnTo>
                    <a:pt x="325" y="3554"/>
                  </a:lnTo>
                  <a:lnTo>
                    <a:pt x="367" y="3563"/>
                  </a:lnTo>
                  <a:lnTo>
                    <a:pt x="413" y="3567"/>
                  </a:lnTo>
                  <a:lnTo>
                    <a:pt x="1838" y="3567"/>
                  </a:lnTo>
                  <a:lnTo>
                    <a:pt x="1882" y="3563"/>
                  </a:lnTo>
                  <a:lnTo>
                    <a:pt x="1925" y="3554"/>
                  </a:lnTo>
                  <a:lnTo>
                    <a:pt x="1965" y="3538"/>
                  </a:lnTo>
                  <a:lnTo>
                    <a:pt x="2002" y="3518"/>
                  </a:lnTo>
                  <a:lnTo>
                    <a:pt x="2035" y="3493"/>
                  </a:lnTo>
                  <a:lnTo>
                    <a:pt x="2065" y="3464"/>
                  </a:lnTo>
                  <a:lnTo>
                    <a:pt x="2091" y="3430"/>
                  </a:lnTo>
                  <a:lnTo>
                    <a:pt x="2111" y="3393"/>
                  </a:lnTo>
                  <a:lnTo>
                    <a:pt x="2126" y="3352"/>
                  </a:lnTo>
                  <a:lnTo>
                    <a:pt x="2136" y="3310"/>
                  </a:lnTo>
                  <a:lnTo>
                    <a:pt x="2140" y="3266"/>
                  </a:lnTo>
                  <a:lnTo>
                    <a:pt x="2136" y="3222"/>
                  </a:lnTo>
                  <a:lnTo>
                    <a:pt x="2126" y="3179"/>
                  </a:lnTo>
                  <a:lnTo>
                    <a:pt x="2111" y="3139"/>
                  </a:lnTo>
                  <a:lnTo>
                    <a:pt x="2091" y="3102"/>
                  </a:lnTo>
                  <a:lnTo>
                    <a:pt x="2065" y="3069"/>
                  </a:lnTo>
                  <a:lnTo>
                    <a:pt x="2035" y="3039"/>
                  </a:lnTo>
                  <a:lnTo>
                    <a:pt x="2002" y="3013"/>
                  </a:lnTo>
                  <a:lnTo>
                    <a:pt x="1965" y="2993"/>
                  </a:lnTo>
                  <a:lnTo>
                    <a:pt x="1925" y="2978"/>
                  </a:lnTo>
                  <a:lnTo>
                    <a:pt x="1882" y="2968"/>
                  </a:lnTo>
                  <a:lnTo>
                    <a:pt x="1838" y="2964"/>
                  </a:lnTo>
                  <a:lnTo>
                    <a:pt x="413" y="2964"/>
                  </a:lnTo>
                  <a:close/>
                  <a:moveTo>
                    <a:pt x="943" y="2727"/>
                  </a:moveTo>
                  <a:lnTo>
                    <a:pt x="943" y="2853"/>
                  </a:lnTo>
                  <a:lnTo>
                    <a:pt x="1307" y="2853"/>
                  </a:lnTo>
                  <a:lnTo>
                    <a:pt x="1307" y="2727"/>
                  </a:lnTo>
                  <a:lnTo>
                    <a:pt x="943" y="2727"/>
                  </a:lnTo>
                  <a:close/>
                  <a:moveTo>
                    <a:pt x="3407" y="2328"/>
                  </a:moveTo>
                  <a:lnTo>
                    <a:pt x="2754" y="2590"/>
                  </a:lnTo>
                  <a:lnTo>
                    <a:pt x="2936" y="2741"/>
                  </a:lnTo>
                  <a:lnTo>
                    <a:pt x="2970" y="2765"/>
                  </a:lnTo>
                  <a:lnTo>
                    <a:pt x="3005" y="2783"/>
                  </a:lnTo>
                  <a:lnTo>
                    <a:pt x="3042" y="2797"/>
                  </a:lnTo>
                  <a:lnTo>
                    <a:pt x="3081" y="2806"/>
                  </a:lnTo>
                  <a:lnTo>
                    <a:pt x="3121" y="2809"/>
                  </a:lnTo>
                  <a:lnTo>
                    <a:pt x="3161" y="2808"/>
                  </a:lnTo>
                  <a:lnTo>
                    <a:pt x="3201" y="2800"/>
                  </a:lnTo>
                  <a:lnTo>
                    <a:pt x="3240" y="2787"/>
                  </a:lnTo>
                  <a:lnTo>
                    <a:pt x="3429" y="2711"/>
                  </a:lnTo>
                  <a:lnTo>
                    <a:pt x="3452" y="2700"/>
                  </a:lnTo>
                  <a:lnTo>
                    <a:pt x="3470" y="2684"/>
                  </a:lnTo>
                  <a:lnTo>
                    <a:pt x="3485" y="2666"/>
                  </a:lnTo>
                  <a:lnTo>
                    <a:pt x="3496" y="2646"/>
                  </a:lnTo>
                  <a:lnTo>
                    <a:pt x="3504" y="2623"/>
                  </a:lnTo>
                  <a:lnTo>
                    <a:pt x="3506" y="2599"/>
                  </a:lnTo>
                  <a:lnTo>
                    <a:pt x="3504" y="2575"/>
                  </a:lnTo>
                  <a:lnTo>
                    <a:pt x="3497" y="2551"/>
                  </a:lnTo>
                  <a:lnTo>
                    <a:pt x="3407" y="2328"/>
                  </a:lnTo>
                  <a:close/>
                  <a:moveTo>
                    <a:pt x="353" y="2073"/>
                  </a:moveTo>
                  <a:lnTo>
                    <a:pt x="333" y="2076"/>
                  </a:lnTo>
                  <a:lnTo>
                    <a:pt x="315" y="2085"/>
                  </a:lnTo>
                  <a:lnTo>
                    <a:pt x="302" y="2099"/>
                  </a:lnTo>
                  <a:lnTo>
                    <a:pt x="292" y="2116"/>
                  </a:lnTo>
                  <a:lnTo>
                    <a:pt x="289" y="2136"/>
                  </a:lnTo>
                  <a:lnTo>
                    <a:pt x="289" y="2553"/>
                  </a:lnTo>
                  <a:lnTo>
                    <a:pt x="292" y="2572"/>
                  </a:lnTo>
                  <a:lnTo>
                    <a:pt x="302" y="2590"/>
                  </a:lnTo>
                  <a:lnTo>
                    <a:pt x="315" y="2604"/>
                  </a:lnTo>
                  <a:lnTo>
                    <a:pt x="333" y="2613"/>
                  </a:lnTo>
                  <a:lnTo>
                    <a:pt x="353" y="2616"/>
                  </a:lnTo>
                  <a:lnTo>
                    <a:pt x="713" y="2616"/>
                  </a:lnTo>
                  <a:lnTo>
                    <a:pt x="713" y="2073"/>
                  </a:lnTo>
                  <a:lnTo>
                    <a:pt x="353" y="2073"/>
                  </a:lnTo>
                  <a:close/>
                  <a:moveTo>
                    <a:pt x="3562" y="1955"/>
                  </a:moveTo>
                  <a:lnTo>
                    <a:pt x="3542" y="1957"/>
                  </a:lnTo>
                  <a:lnTo>
                    <a:pt x="3524" y="1966"/>
                  </a:lnTo>
                  <a:lnTo>
                    <a:pt x="3511" y="1980"/>
                  </a:lnTo>
                  <a:lnTo>
                    <a:pt x="3502" y="1998"/>
                  </a:lnTo>
                  <a:lnTo>
                    <a:pt x="3498" y="2017"/>
                  </a:lnTo>
                  <a:lnTo>
                    <a:pt x="3502" y="2038"/>
                  </a:lnTo>
                  <a:lnTo>
                    <a:pt x="3511" y="2055"/>
                  </a:lnTo>
                  <a:lnTo>
                    <a:pt x="3524" y="2068"/>
                  </a:lnTo>
                  <a:lnTo>
                    <a:pt x="3542" y="2077"/>
                  </a:lnTo>
                  <a:lnTo>
                    <a:pt x="3562" y="2081"/>
                  </a:lnTo>
                  <a:lnTo>
                    <a:pt x="3582" y="2077"/>
                  </a:lnTo>
                  <a:lnTo>
                    <a:pt x="3599" y="2068"/>
                  </a:lnTo>
                  <a:lnTo>
                    <a:pt x="3613" y="2055"/>
                  </a:lnTo>
                  <a:lnTo>
                    <a:pt x="3622" y="2038"/>
                  </a:lnTo>
                  <a:lnTo>
                    <a:pt x="3625" y="2017"/>
                  </a:lnTo>
                  <a:lnTo>
                    <a:pt x="3622" y="1998"/>
                  </a:lnTo>
                  <a:lnTo>
                    <a:pt x="3613" y="1980"/>
                  </a:lnTo>
                  <a:lnTo>
                    <a:pt x="3599" y="1966"/>
                  </a:lnTo>
                  <a:lnTo>
                    <a:pt x="3582" y="1957"/>
                  </a:lnTo>
                  <a:lnTo>
                    <a:pt x="3562" y="1955"/>
                  </a:lnTo>
                  <a:close/>
                  <a:moveTo>
                    <a:pt x="950" y="1428"/>
                  </a:moveTo>
                  <a:lnTo>
                    <a:pt x="921" y="1441"/>
                  </a:lnTo>
                  <a:lnTo>
                    <a:pt x="893" y="1458"/>
                  </a:lnTo>
                  <a:lnTo>
                    <a:pt x="871" y="1481"/>
                  </a:lnTo>
                  <a:lnTo>
                    <a:pt x="851" y="1507"/>
                  </a:lnTo>
                  <a:lnTo>
                    <a:pt x="837" y="1536"/>
                  </a:lnTo>
                  <a:lnTo>
                    <a:pt x="828" y="1568"/>
                  </a:lnTo>
                  <a:lnTo>
                    <a:pt x="824" y="1601"/>
                  </a:lnTo>
                  <a:lnTo>
                    <a:pt x="824" y="2616"/>
                  </a:lnTo>
                  <a:lnTo>
                    <a:pt x="1843" y="2616"/>
                  </a:lnTo>
                  <a:lnTo>
                    <a:pt x="1843" y="2489"/>
                  </a:lnTo>
                  <a:lnTo>
                    <a:pt x="1556" y="2489"/>
                  </a:lnTo>
                  <a:lnTo>
                    <a:pt x="1468" y="2487"/>
                  </a:lnTo>
                  <a:lnTo>
                    <a:pt x="1382" y="2478"/>
                  </a:lnTo>
                  <a:lnTo>
                    <a:pt x="1297" y="2462"/>
                  </a:lnTo>
                  <a:lnTo>
                    <a:pt x="1213" y="2441"/>
                  </a:lnTo>
                  <a:lnTo>
                    <a:pt x="1132" y="2414"/>
                  </a:lnTo>
                  <a:lnTo>
                    <a:pt x="1050" y="2382"/>
                  </a:lnTo>
                  <a:lnTo>
                    <a:pt x="1026" y="2369"/>
                  </a:lnTo>
                  <a:lnTo>
                    <a:pt x="1005" y="2352"/>
                  </a:lnTo>
                  <a:lnTo>
                    <a:pt x="985" y="2331"/>
                  </a:lnTo>
                  <a:lnTo>
                    <a:pt x="971" y="2309"/>
                  </a:lnTo>
                  <a:lnTo>
                    <a:pt x="960" y="2284"/>
                  </a:lnTo>
                  <a:lnTo>
                    <a:pt x="954" y="2256"/>
                  </a:lnTo>
                  <a:lnTo>
                    <a:pt x="950" y="2228"/>
                  </a:lnTo>
                  <a:lnTo>
                    <a:pt x="950" y="1428"/>
                  </a:lnTo>
                  <a:close/>
                  <a:moveTo>
                    <a:pt x="1062" y="1419"/>
                  </a:moveTo>
                  <a:lnTo>
                    <a:pt x="1062" y="2228"/>
                  </a:lnTo>
                  <a:lnTo>
                    <a:pt x="1065" y="2245"/>
                  </a:lnTo>
                  <a:lnTo>
                    <a:pt x="1071" y="2259"/>
                  </a:lnTo>
                  <a:lnTo>
                    <a:pt x="1082" y="2271"/>
                  </a:lnTo>
                  <a:lnTo>
                    <a:pt x="1095" y="2280"/>
                  </a:lnTo>
                  <a:lnTo>
                    <a:pt x="1171" y="2311"/>
                  </a:lnTo>
                  <a:lnTo>
                    <a:pt x="1248" y="2335"/>
                  </a:lnTo>
                  <a:lnTo>
                    <a:pt x="1248" y="1601"/>
                  </a:lnTo>
                  <a:lnTo>
                    <a:pt x="1251" y="1584"/>
                  </a:lnTo>
                  <a:lnTo>
                    <a:pt x="1259" y="1568"/>
                  </a:lnTo>
                  <a:lnTo>
                    <a:pt x="1271" y="1557"/>
                  </a:lnTo>
                  <a:lnTo>
                    <a:pt x="1286" y="1549"/>
                  </a:lnTo>
                  <a:lnTo>
                    <a:pt x="1304" y="1545"/>
                  </a:lnTo>
                  <a:lnTo>
                    <a:pt x="1321" y="1549"/>
                  </a:lnTo>
                  <a:lnTo>
                    <a:pt x="1337" y="1557"/>
                  </a:lnTo>
                  <a:lnTo>
                    <a:pt x="1348" y="1568"/>
                  </a:lnTo>
                  <a:lnTo>
                    <a:pt x="1356" y="1584"/>
                  </a:lnTo>
                  <a:lnTo>
                    <a:pt x="1360" y="1601"/>
                  </a:lnTo>
                  <a:lnTo>
                    <a:pt x="1360" y="2361"/>
                  </a:lnTo>
                  <a:lnTo>
                    <a:pt x="1424" y="2370"/>
                  </a:lnTo>
                  <a:lnTo>
                    <a:pt x="1490" y="2376"/>
                  </a:lnTo>
                  <a:lnTo>
                    <a:pt x="1556" y="2378"/>
                  </a:lnTo>
                  <a:lnTo>
                    <a:pt x="1961" y="2378"/>
                  </a:lnTo>
                  <a:lnTo>
                    <a:pt x="1961" y="2221"/>
                  </a:lnTo>
                  <a:lnTo>
                    <a:pt x="1958" y="2171"/>
                  </a:lnTo>
                  <a:lnTo>
                    <a:pt x="1949" y="2123"/>
                  </a:lnTo>
                  <a:lnTo>
                    <a:pt x="1936" y="2076"/>
                  </a:lnTo>
                  <a:lnTo>
                    <a:pt x="1915" y="2031"/>
                  </a:lnTo>
                  <a:lnTo>
                    <a:pt x="1890" y="1988"/>
                  </a:lnTo>
                  <a:lnTo>
                    <a:pt x="1566" y="1500"/>
                  </a:lnTo>
                  <a:lnTo>
                    <a:pt x="1547" y="1477"/>
                  </a:lnTo>
                  <a:lnTo>
                    <a:pt x="1525" y="1457"/>
                  </a:lnTo>
                  <a:lnTo>
                    <a:pt x="1500" y="1441"/>
                  </a:lnTo>
                  <a:lnTo>
                    <a:pt x="1473" y="1428"/>
                  </a:lnTo>
                  <a:lnTo>
                    <a:pt x="1445" y="1422"/>
                  </a:lnTo>
                  <a:lnTo>
                    <a:pt x="1414" y="1419"/>
                  </a:lnTo>
                  <a:lnTo>
                    <a:pt x="1062" y="1419"/>
                  </a:lnTo>
                  <a:close/>
                  <a:moveTo>
                    <a:pt x="2753" y="353"/>
                  </a:moveTo>
                  <a:lnTo>
                    <a:pt x="2749" y="361"/>
                  </a:lnTo>
                  <a:lnTo>
                    <a:pt x="2571" y="659"/>
                  </a:lnTo>
                  <a:lnTo>
                    <a:pt x="3419" y="1917"/>
                  </a:lnTo>
                  <a:lnTo>
                    <a:pt x="3437" y="1895"/>
                  </a:lnTo>
                  <a:lnTo>
                    <a:pt x="3460" y="1876"/>
                  </a:lnTo>
                  <a:lnTo>
                    <a:pt x="3485" y="1861"/>
                  </a:lnTo>
                  <a:lnTo>
                    <a:pt x="3512" y="1850"/>
                  </a:lnTo>
                  <a:lnTo>
                    <a:pt x="3541" y="1844"/>
                  </a:lnTo>
                  <a:lnTo>
                    <a:pt x="2753" y="353"/>
                  </a:lnTo>
                  <a:close/>
                  <a:moveTo>
                    <a:pt x="2334" y="320"/>
                  </a:moveTo>
                  <a:lnTo>
                    <a:pt x="1562" y="1348"/>
                  </a:lnTo>
                  <a:lnTo>
                    <a:pt x="1590" y="1366"/>
                  </a:lnTo>
                  <a:lnTo>
                    <a:pt x="1616" y="1387"/>
                  </a:lnTo>
                  <a:lnTo>
                    <a:pt x="1638" y="1411"/>
                  </a:lnTo>
                  <a:lnTo>
                    <a:pt x="1658" y="1439"/>
                  </a:lnTo>
                  <a:lnTo>
                    <a:pt x="1827" y="1690"/>
                  </a:lnTo>
                  <a:lnTo>
                    <a:pt x="2555" y="467"/>
                  </a:lnTo>
                  <a:lnTo>
                    <a:pt x="2551" y="467"/>
                  </a:lnTo>
                  <a:lnTo>
                    <a:pt x="2515" y="465"/>
                  </a:lnTo>
                  <a:lnTo>
                    <a:pt x="2481" y="457"/>
                  </a:lnTo>
                  <a:lnTo>
                    <a:pt x="2448" y="444"/>
                  </a:lnTo>
                  <a:lnTo>
                    <a:pt x="2419" y="427"/>
                  </a:lnTo>
                  <a:lnTo>
                    <a:pt x="2391" y="405"/>
                  </a:lnTo>
                  <a:lnTo>
                    <a:pt x="2369" y="380"/>
                  </a:lnTo>
                  <a:lnTo>
                    <a:pt x="2349" y="351"/>
                  </a:lnTo>
                  <a:lnTo>
                    <a:pt x="2334" y="320"/>
                  </a:lnTo>
                  <a:close/>
                  <a:moveTo>
                    <a:pt x="2551" y="111"/>
                  </a:moveTo>
                  <a:lnTo>
                    <a:pt x="2523" y="115"/>
                  </a:lnTo>
                  <a:lnTo>
                    <a:pt x="2498" y="124"/>
                  </a:lnTo>
                  <a:lnTo>
                    <a:pt x="2475" y="138"/>
                  </a:lnTo>
                  <a:lnTo>
                    <a:pt x="2456" y="157"/>
                  </a:lnTo>
                  <a:lnTo>
                    <a:pt x="2441" y="180"/>
                  </a:lnTo>
                  <a:lnTo>
                    <a:pt x="2432" y="205"/>
                  </a:lnTo>
                  <a:lnTo>
                    <a:pt x="2429" y="234"/>
                  </a:lnTo>
                  <a:lnTo>
                    <a:pt x="2432" y="262"/>
                  </a:lnTo>
                  <a:lnTo>
                    <a:pt x="2441" y="287"/>
                  </a:lnTo>
                  <a:lnTo>
                    <a:pt x="2456" y="311"/>
                  </a:lnTo>
                  <a:lnTo>
                    <a:pt x="2475" y="329"/>
                  </a:lnTo>
                  <a:lnTo>
                    <a:pt x="2498" y="344"/>
                  </a:lnTo>
                  <a:lnTo>
                    <a:pt x="2523" y="353"/>
                  </a:lnTo>
                  <a:lnTo>
                    <a:pt x="2551" y="356"/>
                  </a:lnTo>
                  <a:lnTo>
                    <a:pt x="2576" y="354"/>
                  </a:lnTo>
                  <a:lnTo>
                    <a:pt x="2599" y="347"/>
                  </a:lnTo>
                  <a:lnTo>
                    <a:pt x="2619" y="336"/>
                  </a:lnTo>
                  <a:lnTo>
                    <a:pt x="2638" y="321"/>
                  </a:lnTo>
                  <a:lnTo>
                    <a:pt x="2653" y="303"/>
                  </a:lnTo>
                  <a:lnTo>
                    <a:pt x="2656" y="298"/>
                  </a:lnTo>
                  <a:lnTo>
                    <a:pt x="2657" y="297"/>
                  </a:lnTo>
                  <a:lnTo>
                    <a:pt x="2666" y="278"/>
                  </a:lnTo>
                  <a:lnTo>
                    <a:pt x="2672" y="256"/>
                  </a:lnTo>
                  <a:lnTo>
                    <a:pt x="2674" y="234"/>
                  </a:lnTo>
                  <a:lnTo>
                    <a:pt x="2672" y="210"/>
                  </a:lnTo>
                  <a:lnTo>
                    <a:pt x="2665" y="187"/>
                  </a:lnTo>
                  <a:lnTo>
                    <a:pt x="2661" y="180"/>
                  </a:lnTo>
                  <a:lnTo>
                    <a:pt x="2658" y="174"/>
                  </a:lnTo>
                  <a:lnTo>
                    <a:pt x="2643" y="153"/>
                  </a:lnTo>
                  <a:lnTo>
                    <a:pt x="2625" y="136"/>
                  </a:lnTo>
                  <a:lnTo>
                    <a:pt x="2603" y="123"/>
                  </a:lnTo>
                  <a:lnTo>
                    <a:pt x="2579" y="115"/>
                  </a:lnTo>
                  <a:lnTo>
                    <a:pt x="2551" y="111"/>
                  </a:lnTo>
                  <a:close/>
                  <a:moveTo>
                    <a:pt x="2551" y="0"/>
                  </a:moveTo>
                  <a:lnTo>
                    <a:pt x="2591" y="3"/>
                  </a:lnTo>
                  <a:lnTo>
                    <a:pt x="2630" y="12"/>
                  </a:lnTo>
                  <a:lnTo>
                    <a:pt x="2665" y="28"/>
                  </a:lnTo>
                  <a:lnTo>
                    <a:pt x="2696" y="50"/>
                  </a:lnTo>
                  <a:lnTo>
                    <a:pt x="2724" y="75"/>
                  </a:lnTo>
                  <a:lnTo>
                    <a:pt x="2747" y="106"/>
                  </a:lnTo>
                  <a:lnTo>
                    <a:pt x="2766" y="138"/>
                  </a:lnTo>
                  <a:lnTo>
                    <a:pt x="3713" y="1930"/>
                  </a:lnTo>
                  <a:lnTo>
                    <a:pt x="3726" y="1957"/>
                  </a:lnTo>
                  <a:lnTo>
                    <a:pt x="3734" y="1986"/>
                  </a:lnTo>
                  <a:lnTo>
                    <a:pt x="3736" y="2017"/>
                  </a:lnTo>
                  <a:lnTo>
                    <a:pt x="3733" y="2050"/>
                  </a:lnTo>
                  <a:lnTo>
                    <a:pt x="3725" y="2080"/>
                  </a:lnTo>
                  <a:lnTo>
                    <a:pt x="3711" y="2108"/>
                  </a:lnTo>
                  <a:lnTo>
                    <a:pt x="3693" y="2132"/>
                  </a:lnTo>
                  <a:lnTo>
                    <a:pt x="3672" y="2153"/>
                  </a:lnTo>
                  <a:lnTo>
                    <a:pt x="3646" y="2170"/>
                  </a:lnTo>
                  <a:lnTo>
                    <a:pt x="3617" y="2183"/>
                  </a:lnTo>
                  <a:lnTo>
                    <a:pt x="3617" y="2612"/>
                  </a:lnTo>
                  <a:lnTo>
                    <a:pt x="3617" y="2620"/>
                  </a:lnTo>
                  <a:lnTo>
                    <a:pt x="3616" y="2626"/>
                  </a:lnTo>
                  <a:lnTo>
                    <a:pt x="3609" y="2660"/>
                  </a:lnTo>
                  <a:lnTo>
                    <a:pt x="3597" y="2693"/>
                  </a:lnTo>
                  <a:lnTo>
                    <a:pt x="3580" y="2724"/>
                  </a:lnTo>
                  <a:lnTo>
                    <a:pt x="3559" y="2752"/>
                  </a:lnTo>
                  <a:lnTo>
                    <a:pt x="3533" y="2777"/>
                  </a:lnTo>
                  <a:lnTo>
                    <a:pt x="3504" y="2799"/>
                  </a:lnTo>
                  <a:lnTo>
                    <a:pt x="3471" y="2815"/>
                  </a:lnTo>
                  <a:lnTo>
                    <a:pt x="3282" y="2891"/>
                  </a:lnTo>
                  <a:lnTo>
                    <a:pt x="3231" y="2908"/>
                  </a:lnTo>
                  <a:lnTo>
                    <a:pt x="3180" y="2918"/>
                  </a:lnTo>
                  <a:lnTo>
                    <a:pt x="3127" y="2920"/>
                  </a:lnTo>
                  <a:lnTo>
                    <a:pt x="3081" y="2918"/>
                  </a:lnTo>
                  <a:lnTo>
                    <a:pt x="3034" y="2910"/>
                  </a:lnTo>
                  <a:lnTo>
                    <a:pt x="2989" y="2896"/>
                  </a:lnTo>
                  <a:lnTo>
                    <a:pt x="2946" y="2878"/>
                  </a:lnTo>
                  <a:lnTo>
                    <a:pt x="2904" y="2855"/>
                  </a:lnTo>
                  <a:lnTo>
                    <a:pt x="2865" y="2826"/>
                  </a:lnTo>
                  <a:lnTo>
                    <a:pt x="2454" y="2487"/>
                  </a:lnTo>
                  <a:lnTo>
                    <a:pt x="2442" y="2474"/>
                  </a:lnTo>
                  <a:lnTo>
                    <a:pt x="2436" y="2458"/>
                  </a:lnTo>
                  <a:lnTo>
                    <a:pt x="2433" y="2441"/>
                  </a:lnTo>
                  <a:lnTo>
                    <a:pt x="2438" y="2424"/>
                  </a:lnTo>
                  <a:lnTo>
                    <a:pt x="2447" y="2409"/>
                  </a:lnTo>
                  <a:lnTo>
                    <a:pt x="2459" y="2397"/>
                  </a:lnTo>
                  <a:lnTo>
                    <a:pt x="2475" y="2390"/>
                  </a:lnTo>
                  <a:lnTo>
                    <a:pt x="2492" y="2388"/>
                  </a:lnTo>
                  <a:lnTo>
                    <a:pt x="2509" y="2393"/>
                  </a:lnTo>
                  <a:lnTo>
                    <a:pt x="2525" y="2402"/>
                  </a:lnTo>
                  <a:lnTo>
                    <a:pt x="2656" y="2509"/>
                  </a:lnTo>
                  <a:lnTo>
                    <a:pt x="3418" y="2203"/>
                  </a:lnTo>
                  <a:lnTo>
                    <a:pt x="3431" y="2200"/>
                  </a:lnTo>
                  <a:lnTo>
                    <a:pt x="3446" y="2200"/>
                  </a:lnTo>
                  <a:lnTo>
                    <a:pt x="3460" y="2204"/>
                  </a:lnTo>
                  <a:lnTo>
                    <a:pt x="3472" y="2211"/>
                  </a:lnTo>
                  <a:lnTo>
                    <a:pt x="3482" y="2221"/>
                  </a:lnTo>
                  <a:lnTo>
                    <a:pt x="3490" y="2235"/>
                  </a:lnTo>
                  <a:lnTo>
                    <a:pt x="3506" y="2275"/>
                  </a:lnTo>
                  <a:lnTo>
                    <a:pt x="3506" y="2183"/>
                  </a:lnTo>
                  <a:lnTo>
                    <a:pt x="3478" y="2170"/>
                  </a:lnTo>
                  <a:lnTo>
                    <a:pt x="3452" y="2152"/>
                  </a:lnTo>
                  <a:lnTo>
                    <a:pt x="3429" y="2131"/>
                  </a:lnTo>
                  <a:lnTo>
                    <a:pt x="3411" y="2106"/>
                  </a:lnTo>
                  <a:lnTo>
                    <a:pt x="2507" y="766"/>
                  </a:lnTo>
                  <a:lnTo>
                    <a:pt x="1895" y="1794"/>
                  </a:lnTo>
                  <a:lnTo>
                    <a:pt x="1983" y="1926"/>
                  </a:lnTo>
                  <a:lnTo>
                    <a:pt x="2010" y="1971"/>
                  </a:lnTo>
                  <a:lnTo>
                    <a:pt x="2032" y="2018"/>
                  </a:lnTo>
                  <a:lnTo>
                    <a:pt x="2050" y="2067"/>
                  </a:lnTo>
                  <a:lnTo>
                    <a:pt x="2063" y="2117"/>
                  </a:lnTo>
                  <a:lnTo>
                    <a:pt x="2069" y="2168"/>
                  </a:lnTo>
                  <a:lnTo>
                    <a:pt x="2073" y="2221"/>
                  </a:lnTo>
                  <a:lnTo>
                    <a:pt x="2073" y="2433"/>
                  </a:lnTo>
                  <a:lnTo>
                    <a:pt x="2072" y="2441"/>
                  </a:lnTo>
                  <a:lnTo>
                    <a:pt x="2069" y="2452"/>
                  </a:lnTo>
                  <a:lnTo>
                    <a:pt x="2066" y="2460"/>
                  </a:lnTo>
                  <a:lnTo>
                    <a:pt x="2064" y="2463"/>
                  </a:lnTo>
                  <a:lnTo>
                    <a:pt x="2063" y="2465"/>
                  </a:lnTo>
                  <a:lnTo>
                    <a:pt x="2060" y="2469"/>
                  </a:lnTo>
                  <a:lnTo>
                    <a:pt x="2059" y="2469"/>
                  </a:lnTo>
                  <a:lnTo>
                    <a:pt x="2058" y="2471"/>
                  </a:lnTo>
                  <a:lnTo>
                    <a:pt x="2056" y="2473"/>
                  </a:lnTo>
                  <a:lnTo>
                    <a:pt x="2055" y="2474"/>
                  </a:lnTo>
                  <a:lnTo>
                    <a:pt x="2052" y="2477"/>
                  </a:lnTo>
                  <a:lnTo>
                    <a:pt x="2050" y="2478"/>
                  </a:lnTo>
                  <a:lnTo>
                    <a:pt x="2048" y="2480"/>
                  </a:lnTo>
                  <a:lnTo>
                    <a:pt x="2043" y="2482"/>
                  </a:lnTo>
                  <a:lnTo>
                    <a:pt x="2039" y="2485"/>
                  </a:lnTo>
                  <a:lnTo>
                    <a:pt x="2039" y="2485"/>
                  </a:lnTo>
                  <a:lnTo>
                    <a:pt x="2035" y="2486"/>
                  </a:lnTo>
                  <a:lnTo>
                    <a:pt x="2033" y="2487"/>
                  </a:lnTo>
                  <a:lnTo>
                    <a:pt x="2031" y="2488"/>
                  </a:lnTo>
                  <a:lnTo>
                    <a:pt x="2027" y="2488"/>
                  </a:lnTo>
                  <a:lnTo>
                    <a:pt x="2024" y="2489"/>
                  </a:lnTo>
                  <a:lnTo>
                    <a:pt x="2023" y="2489"/>
                  </a:lnTo>
                  <a:lnTo>
                    <a:pt x="2019" y="2489"/>
                  </a:lnTo>
                  <a:lnTo>
                    <a:pt x="2017" y="2489"/>
                  </a:lnTo>
                  <a:lnTo>
                    <a:pt x="1954" y="2489"/>
                  </a:lnTo>
                  <a:lnTo>
                    <a:pt x="1954" y="2672"/>
                  </a:lnTo>
                  <a:lnTo>
                    <a:pt x="1950" y="2689"/>
                  </a:lnTo>
                  <a:lnTo>
                    <a:pt x="1942" y="2705"/>
                  </a:lnTo>
                  <a:lnTo>
                    <a:pt x="1931" y="2716"/>
                  </a:lnTo>
                  <a:lnTo>
                    <a:pt x="1915" y="2724"/>
                  </a:lnTo>
                  <a:lnTo>
                    <a:pt x="1898" y="2727"/>
                  </a:lnTo>
                  <a:lnTo>
                    <a:pt x="1418" y="2727"/>
                  </a:lnTo>
                  <a:lnTo>
                    <a:pt x="1418" y="2853"/>
                  </a:lnTo>
                  <a:lnTo>
                    <a:pt x="1838" y="2853"/>
                  </a:lnTo>
                  <a:lnTo>
                    <a:pt x="1890" y="2857"/>
                  </a:lnTo>
                  <a:lnTo>
                    <a:pt x="1940" y="2866"/>
                  </a:lnTo>
                  <a:lnTo>
                    <a:pt x="1988" y="2882"/>
                  </a:lnTo>
                  <a:lnTo>
                    <a:pt x="2032" y="2902"/>
                  </a:lnTo>
                  <a:lnTo>
                    <a:pt x="2074" y="2927"/>
                  </a:lnTo>
                  <a:lnTo>
                    <a:pt x="2112" y="2958"/>
                  </a:lnTo>
                  <a:lnTo>
                    <a:pt x="2146" y="2992"/>
                  </a:lnTo>
                  <a:lnTo>
                    <a:pt x="2177" y="3030"/>
                  </a:lnTo>
                  <a:lnTo>
                    <a:pt x="2202" y="3072"/>
                  </a:lnTo>
                  <a:lnTo>
                    <a:pt x="2222" y="3116"/>
                  </a:lnTo>
                  <a:lnTo>
                    <a:pt x="2238" y="3164"/>
                  </a:lnTo>
                  <a:lnTo>
                    <a:pt x="2247" y="3214"/>
                  </a:lnTo>
                  <a:lnTo>
                    <a:pt x="2251" y="3266"/>
                  </a:lnTo>
                  <a:lnTo>
                    <a:pt x="2247" y="3317"/>
                  </a:lnTo>
                  <a:lnTo>
                    <a:pt x="2238" y="3367"/>
                  </a:lnTo>
                  <a:lnTo>
                    <a:pt x="2222" y="3415"/>
                  </a:lnTo>
                  <a:lnTo>
                    <a:pt x="2202" y="3460"/>
                  </a:lnTo>
                  <a:lnTo>
                    <a:pt x="2177" y="3501"/>
                  </a:lnTo>
                  <a:lnTo>
                    <a:pt x="2146" y="3540"/>
                  </a:lnTo>
                  <a:lnTo>
                    <a:pt x="2112" y="3574"/>
                  </a:lnTo>
                  <a:lnTo>
                    <a:pt x="2074" y="3604"/>
                  </a:lnTo>
                  <a:lnTo>
                    <a:pt x="2032" y="3630"/>
                  </a:lnTo>
                  <a:lnTo>
                    <a:pt x="1988" y="3651"/>
                  </a:lnTo>
                  <a:lnTo>
                    <a:pt x="1940" y="3666"/>
                  </a:lnTo>
                  <a:lnTo>
                    <a:pt x="1890" y="3676"/>
                  </a:lnTo>
                  <a:lnTo>
                    <a:pt x="1838" y="3678"/>
                  </a:lnTo>
                  <a:lnTo>
                    <a:pt x="413" y="3678"/>
                  </a:lnTo>
                  <a:lnTo>
                    <a:pt x="360" y="3676"/>
                  </a:lnTo>
                  <a:lnTo>
                    <a:pt x="311" y="3666"/>
                  </a:lnTo>
                  <a:lnTo>
                    <a:pt x="263" y="3651"/>
                  </a:lnTo>
                  <a:lnTo>
                    <a:pt x="219" y="3630"/>
                  </a:lnTo>
                  <a:lnTo>
                    <a:pt x="177" y="3604"/>
                  </a:lnTo>
                  <a:lnTo>
                    <a:pt x="138" y="3574"/>
                  </a:lnTo>
                  <a:lnTo>
                    <a:pt x="104" y="3540"/>
                  </a:lnTo>
                  <a:lnTo>
                    <a:pt x="74" y="3501"/>
                  </a:lnTo>
                  <a:lnTo>
                    <a:pt x="49" y="3460"/>
                  </a:lnTo>
                  <a:lnTo>
                    <a:pt x="28" y="3415"/>
                  </a:lnTo>
                  <a:lnTo>
                    <a:pt x="12" y="3367"/>
                  </a:lnTo>
                  <a:lnTo>
                    <a:pt x="3" y="3317"/>
                  </a:lnTo>
                  <a:lnTo>
                    <a:pt x="0" y="3266"/>
                  </a:lnTo>
                  <a:lnTo>
                    <a:pt x="3" y="3214"/>
                  </a:lnTo>
                  <a:lnTo>
                    <a:pt x="12" y="3164"/>
                  </a:lnTo>
                  <a:lnTo>
                    <a:pt x="28" y="3116"/>
                  </a:lnTo>
                  <a:lnTo>
                    <a:pt x="49" y="3072"/>
                  </a:lnTo>
                  <a:lnTo>
                    <a:pt x="74" y="3030"/>
                  </a:lnTo>
                  <a:lnTo>
                    <a:pt x="104" y="2992"/>
                  </a:lnTo>
                  <a:lnTo>
                    <a:pt x="138" y="2958"/>
                  </a:lnTo>
                  <a:lnTo>
                    <a:pt x="177" y="2927"/>
                  </a:lnTo>
                  <a:lnTo>
                    <a:pt x="219" y="2902"/>
                  </a:lnTo>
                  <a:lnTo>
                    <a:pt x="263" y="2882"/>
                  </a:lnTo>
                  <a:lnTo>
                    <a:pt x="311" y="2866"/>
                  </a:lnTo>
                  <a:lnTo>
                    <a:pt x="360" y="2857"/>
                  </a:lnTo>
                  <a:lnTo>
                    <a:pt x="413" y="2853"/>
                  </a:lnTo>
                  <a:lnTo>
                    <a:pt x="832" y="2853"/>
                  </a:lnTo>
                  <a:lnTo>
                    <a:pt x="832" y="2727"/>
                  </a:lnTo>
                  <a:lnTo>
                    <a:pt x="353" y="2727"/>
                  </a:lnTo>
                  <a:lnTo>
                    <a:pt x="317" y="2724"/>
                  </a:lnTo>
                  <a:lnTo>
                    <a:pt x="284" y="2714"/>
                  </a:lnTo>
                  <a:lnTo>
                    <a:pt x="255" y="2698"/>
                  </a:lnTo>
                  <a:lnTo>
                    <a:pt x="229" y="2676"/>
                  </a:lnTo>
                  <a:lnTo>
                    <a:pt x="209" y="2650"/>
                  </a:lnTo>
                  <a:lnTo>
                    <a:pt x="192" y="2621"/>
                  </a:lnTo>
                  <a:lnTo>
                    <a:pt x="181" y="2588"/>
                  </a:lnTo>
                  <a:lnTo>
                    <a:pt x="178" y="2553"/>
                  </a:lnTo>
                  <a:lnTo>
                    <a:pt x="178" y="2136"/>
                  </a:lnTo>
                  <a:lnTo>
                    <a:pt x="181" y="2101"/>
                  </a:lnTo>
                  <a:lnTo>
                    <a:pt x="192" y="2068"/>
                  </a:lnTo>
                  <a:lnTo>
                    <a:pt x="209" y="2039"/>
                  </a:lnTo>
                  <a:lnTo>
                    <a:pt x="229" y="2013"/>
                  </a:lnTo>
                  <a:lnTo>
                    <a:pt x="255" y="1991"/>
                  </a:lnTo>
                  <a:lnTo>
                    <a:pt x="284" y="1975"/>
                  </a:lnTo>
                  <a:lnTo>
                    <a:pt x="317" y="1965"/>
                  </a:lnTo>
                  <a:lnTo>
                    <a:pt x="353" y="1962"/>
                  </a:lnTo>
                  <a:lnTo>
                    <a:pt x="713" y="1962"/>
                  </a:lnTo>
                  <a:lnTo>
                    <a:pt x="713" y="1601"/>
                  </a:lnTo>
                  <a:lnTo>
                    <a:pt x="717" y="1558"/>
                  </a:lnTo>
                  <a:lnTo>
                    <a:pt x="726" y="1517"/>
                  </a:lnTo>
                  <a:lnTo>
                    <a:pt x="740" y="1477"/>
                  </a:lnTo>
                  <a:lnTo>
                    <a:pt x="761" y="1442"/>
                  </a:lnTo>
                  <a:lnTo>
                    <a:pt x="785" y="1409"/>
                  </a:lnTo>
                  <a:lnTo>
                    <a:pt x="814" y="1380"/>
                  </a:lnTo>
                  <a:lnTo>
                    <a:pt x="847" y="1355"/>
                  </a:lnTo>
                  <a:lnTo>
                    <a:pt x="883" y="1335"/>
                  </a:lnTo>
                  <a:lnTo>
                    <a:pt x="922" y="1321"/>
                  </a:lnTo>
                  <a:lnTo>
                    <a:pt x="963" y="1310"/>
                  </a:lnTo>
                  <a:lnTo>
                    <a:pt x="1007" y="1308"/>
                  </a:lnTo>
                  <a:lnTo>
                    <a:pt x="1414" y="1308"/>
                  </a:lnTo>
                  <a:lnTo>
                    <a:pt x="1452" y="1310"/>
                  </a:lnTo>
                  <a:lnTo>
                    <a:pt x="2359" y="101"/>
                  </a:lnTo>
                  <a:lnTo>
                    <a:pt x="2359" y="101"/>
                  </a:lnTo>
                  <a:lnTo>
                    <a:pt x="2382" y="73"/>
                  </a:lnTo>
                  <a:lnTo>
                    <a:pt x="2410" y="48"/>
                  </a:lnTo>
                  <a:lnTo>
                    <a:pt x="2441" y="27"/>
                  </a:lnTo>
                  <a:lnTo>
                    <a:pt x="2475" y="12"/>
                  </a:lnTo>
                  <a:lnTo>
                    <a:pt x="2513" y="3"/>
                  </a:lnTo>
                  <a:lnTo>
                    <a:pt x="2551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</p:grpSp>
      <p:sp>
        <p:nvSpPr>
          <p:cNvPr id="23625" name="TextBox 158">
            <a:extLst>
              <a:ext uri="{FF2B5EF4-FFF2-40B4-BE49-F238E27FC236}">
                <a16:creationId xmlns:a16="http://schemas.microsoft.com/office/drawing/2014/main" id="{E039C87F-72AD-4054-B63A-554ACFFB9E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4663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26" name="TextBox 159">
            <a:extLst>
              <a:ext uri="{FF2B5EF4-FFF2-40B4-BE49-F238E27FC236}">
                <a16:creationId xmlns:a16="http://schemas.microsoft.com/office/drawing/2014/main" id="{C89D28E8-6E73-4458-A352-42A749EC09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3488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27" name="TextBox 127">
            <a:extLst>
              <a:ext uri="{FF2B5EF4-FFF2-40B4-BE49-F238E27FC236}">
                <a16:creationId xmlns:a16="http://schemas.microsoft.com/office/drawing/2014/main" id="{D2C4F5E9-E854-4896-8355-45DEC69063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7813" y="6378575"/>
            <a:ext cx="426243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Sources: National Bureau of Statistics, World Bank Report on Doing Business in Nigeria 2018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climate-data.org, State Government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Exchange rate= $1/N305 (Central Bank of Nigeria)</a:t>
            </a:r>
          </a:p>
        </p:txBody>
      </p:sp>
      <p:sp>
        <p:nvSpPr>
          <p:cNvPr id="23628" name="TextBox 128">
            <a:extLst>
              <a:ext uri="{FF2B5EF4-FFF2-40B4-BE49-F238E27FC236}">
                <a16:creationId xmlns:a16="http://schemas.microsoft.com/office/drawing/2014/main" id="{409BCC6F-A5F0-4C79-BB4A-38A1ABC14F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91600" y="3640453"/>
            <a:ext cx="56778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Tourism</a:t>
            </a:r>
          </a:p>
        </p:txBody>
      </p:sp>
      <p:sp>
        <p:nvSpPr>
          <p:cNvPr id="23629" name="TextBox 129">
            <a:extLst>
              <a:ext uri="{FF2B5EF4-FFF2-40B4-BE49-F238E27FC236}">
                <a16:creationId xmlns:a16="http://schemas.microsoft.com/office/drawing/2014/main" id="{489E7B41-20C9-4493-8E7D-07238EB8FA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08592" y="3654980"/>
            <a:ext cx="73449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Shea</a:t>
            </a: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Butter</a:t>
            </a:r>
          </a:p>
        </p:txBody>
      </p:sp>
      <p:sp>
        <p:nvSpPr>
          <p:cNvPr id="23630" name="TextBox 130">
            <a:extLst>
              <a:ext uri="{FF2B5EF4-FFF2-40B4-BE49-F238E27FC236}">
                <a16:creationId xmlns:a16="http://schemas.microsoft.com/office/drawing/2014/main" id="{048DE5D8-5309-42DA-9D97-2935A10CB7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31" name="TextBox 131">
            <a:extLst>
              <a:ext uri="{FF2B5EF4-FFF2-40B4-BE49-F238E27FC236}">
                <a16:creationId xmlns:a16="http://schemas.microsoft.com/office/drawing/2014/main" id="{FF8B6C80-43E2-43AF-A364-A31845F05C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5388" y="3656613"/>
            <a:ext cx="51969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Timber</a:t>
            </a:r>
          </a:p>
        </p:txBody>
      </p:sp>
      <p:sp>
        <p:nvSpPr>
          <p:cNvPr id="23632" name="TextBox 132">
            <a:extLst>
              <a:ext uri="{FF2B5EF4-FFF2-40B4-BE49-F238E27FC236}">
                <a16:creationId xmlns:a16="http://schemas.microsoft.com/office/drawing/2014/main" id="{A1C640C1-61D1-4BA5-8A76-E684397E8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54896" y="3637238"/>
            <a:ext cx="54534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Sesame</a:t>
            </a:r>
          </a:p>
        </p:txBody>
      </p:sp>
      <p:sp>
        <p:nvSpPr>
          <p:cNvPr id="23638" name="TextBox 141">
            <a:extLst>
              <a:ext uri="{FF2B5EF4-FFF2-40B4-BE49-F238E27FC236}">
                <a16:creationId xmlns:a16="http://schemas.microsoft.com/office/drawing/2014/main" id="{EE481231-8673-4FD7-B5CC-900AEE7A9F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8233" y="3652271"/>
            <a:ext cx="38023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Rice</a:t>
            </a:r>
          </a:p>
        </p:txBody>
      </p:sp>
      <p:sp>
        <p:nvSpPr>
          <p:cNvPr id="23649" name="TextBox 165">
            <a:extLst>
              <a:ext uri="{FF2B5EF4-FFF2-40B4-BE49-F238E27FC236}">
                <a16:creationId xmlns:a16="http://schemas.microsoft.com/office/drawing/2014/main" id="{1242633E-9CB1-48ED-83F4-2223DFC7ED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05036" y="4469085"/>
            <a:ext cx="71526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Gemstones</a:t>
            </a:r>
          </a:p>
        </p:txBody>
      </p:sp>
      <p:sp>
        <p:nvSpPr>
          <p:cNvPr id="23650" name="TextBox 166">
            <a:extLst>
              <a:ext uri="{FF2B5EF4-FFF2-40B4-BE49-F238E27FC236}">
                <a16:creationId xmlns:a16="http://schemas.microsoft.com/office/drawing/2014/main" id="{6B51369B-8FA6-464A-B908-12B0FFE6B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07773" y="4458812"/>
            <a:ext cx="57579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Iron Ore</a:t>
            </a:r>
          </a:p>
        </p:txBody>
      </p:sp>
      <p:sp>
        <p:nvSpPr>
          <p:cNvPr id="23651" name="TextBox 167">
            <a:extLst>
              <a:ext uri="{FF2B5EF4-FFF2-40B4-BE49-F238E27FC236}">
                <a16:creationId xmlns:a16="http://schemas.microsoft.com/office/drawing/2014/main" id="{4F9404E1-8339-401B-8B10-4C7D1A8CEC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96936" y="4457881"/>
            <a:ext cx="56137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Bauxite </a:t>
            </a:r>
          </a:p>
        </p:txBody>
      </p:sp>
      <p:sp>
        <p:nvSpPr>
          <p:cNvPr id="23652" name="TextBox 168">
            <a:extLst>
              <a:ext uri="{FF2B5EF4-FFF2-40B4-BE49-F238E27FC236}">
                <a16:creationId xmlns:a16="http://schemas.microsoft.com/office/drawing/2014/main" id="{1C04917D-B2C3-4C21-8CC2-A45C349B4B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32131" y="4457133"/>
            <a:ext cx="35779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Salt</a:t>
            </a:r>
          </a:p>
        </p:txBody>
      </p:sp>
      <p:sp>
        <p:nvSpPr>
          <p:cNvPr id="23653" name="TextBox 169">
            <a:extLst>
              <a:ext uri="{FF2B5EF4-FFF2-40B4-BE49-F238E27FC236}">
                <a16:creationId xmlns:a16="http://schemas.microsoft.com/office/drawing/2014/main" id="{4BADA327-4F2D-4897-B7C0-4647A1484B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45960" y="4457973"/>
            <a:ext cx="47160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Hydro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8A28B48-1841-45BB-BFBC-EADE77B37C6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779712" y="2589213"/>
          <a:ext cx="1482725" cy="812800"/>
        </p:xfrm>
        <a:graphic>
          <a:graphicData uri="http://schemas.openxmlformats.org/drawingml/2006/table">
            <a:tbl>
              <a:tblPr/>
              <a:tblGrid>
                <a:gridCol w="11367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9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32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GB" sz="1000" b="1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Domestic</a:t>
                      </a:r>
                      <a:r>
                        <a:rPr lang="en-GB" sz="10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US" sz="1000" b="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International 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Railway</a:t>
                      </a:r>
                      <a:r>
                        <a:rPr lang="en-GB" sz="1000" b="1" kern="1200" baseline="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 Station</a:t>
                      </a:r>
                      <a:endParaRPr lang="en-GB" sz="1000" b="1" kern="1200" dirty="0">
                        <a:solidFill>
                          <a:srgbClr val="292929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32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Sea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7" name="TextBox 136">
            <a:extLst>
              <a:ext uri="{FF2B5EF4-FFF2-40B4-BE49-F238E27FC236}">
                <a16:creationId xmlns:a16="http://schemas.microsoft.com/office/drawing/2014/main" id="{2F4C4876-7073-4C13-A183-127A8909BDC0}"/>
              </a:ext>
            </a:extLst>
          </p:cNvPr>
          <p:cNvSpPr txBox="1"/>
          <p:nvPr/>
        </p:nvSpPr>
        <p:spPr>
          <a:xfrm>
            <a:off x="538163" y="5268913"/>
            <a:ext cx="373856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For further details</a:t>
            </a:r>
          </a:p>
        </p:txBody>
      </p:sp>
      <p:sp>
        <p:nvSpPr>
          <p:cNvPr id="23676" name="TextBox 156">
            <a:extLst>
              <a:ext uri="{FF2B5EF4-FFF2-40B4-BE49-F238E27FC236}">
                <a16:creationId xmlns:a16="http://schemas.microsoft.com/office/drawing/2014/main" id="{95D66AAF-6B48-4B9E-9E5B-F1BB063A89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6300" y="6342063"/>
            <a:ext cx="37306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Abbreviations: </a:t>
            </a:r>
            <a:r>
              <a:rPr kumimoji="0" lang="en-GB" alt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	NICPS</a:t>
            </a:r>
            <a: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: Nigerian Investment Certification Programme for States          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	</a:t>
            </a:r>
            <a:r>
              <a:rPr kumimoji="0" lang="en-GB" alt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IGR</a:t>
            </a:r>
            <a: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:     Internal Generated Revenue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D4E23C6-26A0-4545-B8F7-7007C8EEBFE4}"/>
              </a:ext>
            </a:extLst>
          </p:cNvPr>
          <p:cNvSpPr txBox="1"/>
          <p:nvPr/>
        </p:nvSpPr>
        <p:spPr>
          <a:xfrm>
            <a:off x="4338638" y="5265738"/>
            <a:ext cx="247491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Did you know?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sp>
        <p:nvSpPr>
          <p:cNvPr id="132" name="Text Placeholder 42">
            <a:extLst>
              <a:ext uri="{FF2B5EF4-FFF2-40B4-BE49-F238E27FC236}">
                <a16:creationId xmlns:a16="http://schemas.microsoft.com/office/drawing/2014/main" id="{D510D0DC-1548-4249-8DB1-9A1055126D07}"/>
              </a:ext>
            </a:extLst>
          </p:cNvPr>
          <p:cNvSpPr txBox="1">
            <a:spLocks/>
          </p:cNvSpPr>
          <p:nvPr/>
        </p:nvSpPr>
        <p:spPr>
          <a:xfrm>
            <a:off x="522288" y="5511800"/>
            <a:ext cx="3733800" cy="701675"/>
          </a:xfrm>
          <a:prstGeom prst="rect">
            <a:avLst/>
          </a:prstGeom>
        </p:spPr>
        <p:txBody>
          <a:bodyPr lIns="36576" tIns="0" rIns="36576" bIns="0"/>
          <a:lstStyle>
            <a:lvl1pPr marL="0" indent="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/>
              <a:buNone/>
              <a:defRPr sz="800" b="1" baseline="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6575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93763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 charset="0"/>
              <a:buChar char="►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50950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619250" indent="-188913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0764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25336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29908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34480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</a:rPr>
              <a:t>NIGERIAN INVESTMENT PROMOTION COMMISSION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Arial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hlinkClick r:id="rId7"/>
              </a:rPr>
              <a:t>statesco@nipc.gov.ng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Arial"/>
              <a:buNone/>
              <a:tabLst/>
              <a:defRPr/>
            </a:pPr>
            <a:endParaRPr kumimoji="0" lang="en-US" sz="5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</a:endParaRPr>
          </a:p>
          <a:p>
            <a:pPr lvl="0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000" kern="0" dirty="0">
                <a:solidFill>
                  <a:prstClr val="black"/>
                </a:solidFill>
              </a:rPr>
              <a:t>NASARAWA STATE MIN. OF COMMERCE, INDUSTRY &amp; COOPERATION</a:t>
            </a:r>
          </a:p>
          <a:p>
            <a:pPr lvl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 err="1">
                <a:solidFill>
                  <a:prstClr val="black"/>
                </a:solidFill>
                <a:hlinkClick r:id="rId8"/>
              </a:rPr>
              <a:t>mcicnasarawastate@gmail.com</a:t>
            </a:r>
            <a:r>
              <a:rPr lang="en-US" sz="1000" b="0" kern="0" dirty="0">
                <a:solidFill>
                  <a:prstClr val="black"/>
                </a:solidFill>
              </a:rPr>
              <a:t> 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</a:endParaRPr>
          </a:p>
        </p:txBody>
      </p:sp>
      <p:pic>
        <p:nvPicPr>
          <p:cNvPr id="142" name="Picture 141">
            <a:extLst>
              <a:ext uri="{FF2B5EF4-FFF2-40B4-BE49-F238E27FC236}">
                <a16:creationId xmlns:a16="http://schemas.microsoft.com/office/drawing/2014/main" id="{618B6872-D09F-461B-B1E7-564E6663A58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305800" y="3837388"/>
            <a:ext cx="475529" cy="506012"/>
          </a:xfrm>
          <a:prstGeom prst="rect">
            <a:avLst/>
          </a:prstGeom>
        </p:spPr>
      </p:pic>
      <p:pic>
        <p:nvPicPr>
          <p:cNvPr id="149" name="Picture 148">
            <a:extLst>
              <a:ext uri="{FF2B5EF4-FFF2-40B4-BE49-F238E27FC236}">
                <a16:creationId xmlns:a16="http://schemas.microsoft.com/office/drawing/2014/main" id="{097A6DFC-64DF-4F5D-876A-9B9CCCB13560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42182" r="36696" b="76796"/>
          <a:stretch/>
        </p:blipFill>
        <p:spPr>
          <a:xfrm>
            <a:off x="7566025" y="3904718"/>
            <a:ext cx="529501" cy="438682"/>
          </a:xfrm>
          <a:prstGeom prst="rect">
            <a:avLst/>
          </a:prstGeom>
        </p:spPr>
      </p:pic>
      <p:sp>
        <p:nvSpPr>
          <p:cNvPr id="144" name="TextBox 152">
            <a:extLst>
              <a:ext uri="{FF2B5EF4-FFF2-40B4-BE49-F238E27FC236}">
                <a16:creationId xmlns:a16="http://schemas.microsoft.com/office/drawing/2014/main" id="{C53ECC99-201F-4F50-BD09-4044FFD3B8E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4575" y="1117063"/>
            <a:ext cx="3562350" cy="1492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15888" indent="-11588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 algn="just" eaLnBrk="1" hangingPunct="1">
              <a:buFont typeface="Arial" panose="020B0604020202020204" pitchFamily="34" charset="0"/>
              <a:buChar char="•"/>
              <a:defRPr/>
            </a:pPr>
            <a:r>
              <a:rPr lang="en-MY" sz="1300" dirty="0">
                <a:solidFill>
                  <a:prstClr val="black"/>
                </a:solidFill>
                <a:latin typeface="Calibri" panose="020F0502020204030204" pitchFamily="34" charset="0"/>
                <a:cs typeface="Arial" charset="0"/>
              </a:rPr>
              <a:t>Location (proximity to FCT)</a:t>
            </a:r>
          </a:p>
          <a:p>
            <a:pPr lvl="0" algn="just" eaLnBrk="1" hangingPunct="1">
              <a:buFont typeface="Arial" panose="020B0604020202020204" pitchFamily="34" charset="0"/>
              <a:buChar char="•"/>
              <a:defRPr/>
            </a:pPr>
            <a:r>
              <a:rPr lang="en-MY" sz="1300" dirty="0">
                <a:solidFill>
                  <a:prstClr val="black"/>
                </a:solidFill>
                <a:latin typeface="Calibri" panose="020F0502020204030204" pitchFamily="34" charset="0"/>
                <a:cs typeface="Arial" charset="0"/>
              </a:rPr>
              <a:t>Huge minerals deposit (iron ore, gemstones and bauxite)</a:t>
            </a:r>
          </a:p>
          <a:p>
            <a:pPr lvl="0" algn="just" eaLnBrk="1" hangingPunct="1">
              <a:buFont typeface="Arial" panose="020B0604020202020204" pitchFamily="34" charset="0"/>
              <a:buChar char="•"/>
              <a:defRPr/>
            </a:pPr>
            <a:r>
              <a:rPr lang="en-US" sz="1300" dirty="0">
                <a:solidFill>
                  <a:prstClr val="black"/>
                </a:solidFill>
                <a:latin typeface="Calibri" panose="020F0502020204030204" pitchFamily="34" charset="0"/>
                <a:cs typeface="Arial" charset="0"/>
              </a:rPr>
              <a:t>Tourist attractions with array of hills, waterfalls and rocks</a:t>
            </a:r>
          </a:p>
          <a:p>
            <a:pPr lvl="0" algn="just" eaLnBrk="1" hangingPunct="1">
              <a:buFont typeface="Arial" panose="020B0604020202020204" pitchFamily="34" charset="0"/>
              <a:buChar char="•"/>
              <a:defRPr/>
            </a:pPr>
            <a:r>
              <a:rPr lang="en-US" sz="1300" dirty="0">
                <a:solidFill>
                  <a:prstClr val="black"/>
                </a:solidFill>
                <a:latin typeface="Calibri" panose="020F0502020204030204" pitchFamily="34" charset="0"/>
                <a:cs typeface="Arial" charset="0"/>
              </a:rPr>
              <a:t>Large producer of salt in Nigeria</a:t>
            </a:r>
          </a:p>
          <a:p>
            <a:pPr lvl="0" algn="just" eaLnBrk="1" hangingPunct="1">
              <a:buFont typeface="Arial" panose="020B0604020202020204" pitchFamily="34" charset="0"/>
              <a:buChar char="•"/>
              <a:defRPr/>
            </a:pPr>
            <a:r>
              <a:rPr lang="en-GB" sz="1300" dirty="0">
                <a:solidFill>
                  <a:prstClr val="black"/>
                </a:solidFill>
                <a:latin typeface="Calibri" panose="020F0502020204030204" pitchFamily="34" charset="0"/>
                <a:cs typeface="Arial" charset="0"/>
              </a:rPr>
              <a:t>Large arable land for agriculture</a:t>
            </a:r>
            <a:endParaRPr lang="en-US" sz="1300" dirty="0">
              <a:solidFill>
                <a:prstClr val="black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152" name="Oval 151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238751" y="3833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3" name="Oval 152">
            <a:extLst>
              <a:ext uri="{FF2B5EF4-FFF2-40B4-BE49-F238E27FC236}">
                <a16:creationId xmlns:a16="http://schemas.microsoft.com/office/drawing/2014/main" id="{FF015425-7997-4612-9D0E-1F6C433DFCC7}"/>
              </a:ext>
            </a:extLst>
          </p:cNvPr>
          <p:cNvSpPr/>
          <p:nvPr/>
        </p:nvSpPr>
        <p:spPr>
          <a:xfrm>
            <a:off x="6080877" y="3040856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4" name="Oval 153">
            <a:extLst>
              <a:ext uri="{FF2B5EF4-FFF2-40B4-BE49-F238E27FC236}">
                <a16:creationId xmlns:a16="http://schemas.microsoft.com/office/drawing/2014/main" id="{4C0B7457-CABD-4AC8-8A1A-1FD468581E4D}"/>
              </a:ext>
            </a:extLst>
          </p:cNvPr>
          <p:cNvSpPr/>
          <p:nvPr/>
        </p:nvSpPr>
        <p:spPr>
          <a:xfrm>
            <a:off x="6784796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5" name="Oval 154">
            <a:extLst>
              <a:ext uri="{FF2B5EF4-FFF2-40B4-BE49-F238E27FC236}">
                <a16:creationId xmlns:a16="http://schemas.microsoft.com/office/drawing/2014/main" id="{2D626A89-F50C-45A3-9271-5D3F2EEA9C83}"/>
              </a:ext>
            </a:extLst>
          </p:cNvPr>
          <p:cNvSpPr/>
          <p:nvPr/>
        </p:nvSpPr>
        <p:spPr>
          <a:xfrm>
            <a:off x="7518399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6" name="Oval 155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240713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7" name="Oval 156">
            <a:extLst>
              <a:ext uri="{FF2B5EF4-FFF2-40B4-BE49-F238E27FC236}">
                <a16:creationId xmlns:a16="http://schemas.microsoft.com/office/drawing/2014/main" id="{A62E850A-D87D-46D0-9257-0071E677FCF0}"/>
              </a:ext>
            </a:extLst>
          </p:cNvPr>
          <p:cNvSpPr/>
          <p:nvPr/>
        </p:nvSpPr>
        <p:spPr>
          <a:xfrm>
            <a:off x="8947150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8" name="Oval 157">
            <a:extLst>
              <a:ext uri="{FF2B5EF4-FFF2-40B4-BE49-F238E27FC236}">
                <a16:creationId xmlns:a16="http://schemas.microsoft.com/office/drawing/2014/main" id="{4D1FAA17-3EFF-404B-B4C4-B468BCE2E9A5}"/>
              </a:ext>
            </a:extLst>
          </p:cNvPr>
          <p:cNvSpPr/>
          <p:nvPr/>
        </p:nvSpPr>
        <p:spPr>
          <a:xfrm>
            <a:off x="6078265" y="3836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9" name="Oval 158">
            <a:extLst>
              <a:ext uri="{FF2B5EF4-FFF2-40B4-BE49-F238E27FC236}">
                <a16:creationId xmlns:a16="http://schemas.microsoft.com/office/drawing/2014/main" id="{E861211D-5D09-4577-8A09-FD96D972A5D4}"/>
              </a:ext>
            </a:extLst>
          </p:cNvPr>
          <p:cNvSpPr/>
          <p:nvPr/>
        </p:nvSpPr>
        <p:spPr>
          <a:xfrm>
            <a:off x="6780509" y="3833831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0" name="Oval 159">
            <a:extLst>
              <a:ext uri="{FF2B5EF4-FFF2-40B4-BE49-F238E27FC236}">
                <a16:creationId xmlns:a16="http://schemas.microsoft.com/office/drawing/2014/main" id="{3CBEFD1C-6360-47CD-AEDD-DFB49FC0E0C7}"/>
              </a:ext>
            </a:extLst>
          </p:cNvPr>
          <p:cNvSpPr/>
          <p:nvPr/>
        </p:nvSpPr>
        <p:spPr>
          <a:xfrm>
            <a:off x="7518603" y="3830834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1" name="Oval 160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953126" y="3843338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62" name="Picture 161" descr="rice.png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15867" r="20664"/>
          <a:stretch>
            <a:fillRect/>
          </a:stretch>
        </p:blipFill>
        <p:spPr>
          <a:xfrm>
            <a:off x="6107255" y="3084622"/>
            <a:ext cx="524341" cy="512146"/>
          </a:xfrm>
          <a:prstGeom prst="rect">
            <a:avLst/>
          </a:prstGeom>
        </p:spPr>
      </p:pic>
      <p:pic>
        <p:nvPicPr>
          <p:cNvPr id="163" name="Picture 162">
            <a:extLst>
              <a:ext uri="{FF2B5EF4-FFF2-40B4-BE49-F238E27FC236}">
                <a16:creationId xmlns:a16="http://schemas.microsoft.com/office/drawing/2014/main" id="{3882A221-E739-4026-BF50-6F53439CE9AC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062" t="1022" r="23384" b="72318"/>
          <a:stretch/>
        </p:blipFill>
        <p:spPr>
          <a:xfrm>
            <a:off x="8885584" y="3048436"/>
            <a:ext cx="739175" cy="715205"/>
          </a:xfrm>
          <a:prstGeom prst="rect">
            <a:avLst/>
          </a:prstGeom>
        </p:spPr>
      </p:pic>
      <p:sp>
        <p:nvSpPr>
          <p:cNvPr id="164" name="TextBox 163">
            <a:extLst>
              <a:ext uri="{FF2B5EF4-FFF2-40B4-BE49-F238E27FC236}">
                <a16:creationId xmlns:a16="http://schemas.microsoft.com/office/drawing/2014/main" id="{D0A41506-8873-4C2F-B45B-4459F0229CA3}"/>
              </a:ext>
            </a:extLst>
          </p:cNvPr>
          <p:cNvSpPr txBox="1"/>
          <p:nvPr/>
        </p:nvSpPr>
        <p:spPr>
          <a:xfrm>
            <a:off x="4374578" y="4541674"/>
            <a:ext cx="17988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te Investment Certification Process Not Started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256077" y="5438081"/>
            <a:ext cx="2568586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GB" sz="1300" dirty="0">
                <a:latin typeface="Calibri" panose="020F0502020204030204" pitchFamily="34" charset="0"/>
                <a:cs typeface="Calibri" panose="020F0502020204030204" pitchFamily="34" charset="0"/>
              </a:rPr>
              <a:t>The </a:t>
            </a:r>
            <a:r>
              <a:rPr lang="en-GB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Farin</a:t>
            </a:r>
            <a:r>
              <a:rPr lang="en-GB" sz="13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Ruwa</a:t>
            </a:r>
            <a:r>
              <a:rPr lang="en-GB" sz="1300" dirty="0">
                <a:latin typeface="Calibri" panose="020F0502020204030204" pitchFamily="34" charset="0"/>
                <a:cs typeface="Calibri" panose="020F0502020204030204" pitchFamily="34" charset="0"/>
              </a:rPr>
              <a:t> Water falls is about 150m high and 50m wide. It  is as spectacular as Canada’s Niagara and Zambia’s Victoria Falls.</a:t>
            </a:r>
            <a:endParaRPr lang="en-US" sz="13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13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97" r="7203" b="14378"/>
          <a:stretch/>
        </p:blipFill>
        <p:spPr>
          <a:xfrm>
            <a:off x="6162052" y="3915461"/>
            <a:ext cx="419665" cy="42124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1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00" t="2088" r="8969" b="16144"/>
          <a:stretch/>
        </p:blipFill>
        <p:spPr>
          <a:xfrm>
            <a:off x="8316841" y="3082962"/>
            <a:ext cx="439846" cy="43472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5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33" t="19117" r="5756" b="33494"/>
          <a:stretch/>
        </p:blipFill>
        <p:spPr>
          <a:xfrm>
            <a:off x="7542521" y="3177910"/>
            <a:ext cx="547068" cy="29557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1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9" t="1446" r="8487" b="15181"/>
          <a:stretch/>
        </p:blipFill>
        <p:spPr>
          <a:xfrm>
            <a:off x="6825141" y="3906509"/>
            <a:ext cx="453638" cy="452766"/>
          </a:xfrm>
          <a:prstGeom prst="rect">
            <a:avLst/>
          </a:prstGeom>
        </p:spPr>
      </p:pic>
      <p:pic>
        <p:nvPicPr>
          <p:cNvPr id="116" name="Picture 115">
            <a:extLst>
              <a:ext uri="{FF2B5EF4-FFF2-40B4-BE49-F238E27FC236}">
                <a16:creationId xmlns:a16="http://schemas.microsoft.com/office/drawing/2014/main" id="{481D6F50-C38F-4915-98EC-972C8FCE4422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0887" t="28654" r="5810" b="5147"/>
          <a:stretch/>
        </p:blipFill>
        <p:spPr>
          <a:xfrm>
            <a:off x="6782530" y="3100101"/>
            <a:ext cx="538859" cy="428216"/>
          </a:xfrm>
          <a:prstGeom prst="rect">
            <a:avLst/>
          </a:prstGeom>
        </p:spPr>
      </p:pic>
      <p:pic>
        <p:nvPicPr>
          <p:cNvPr id="117" name="Picture 116"/>
          <p:cNvPicPr>
            <a:picLocks noChangeAspect="1"/>
          </p:cNvPicPr>
          <p:nvPr/>
        </p:nvPicPr>
        <p:blipFill rotWithShape="1">
          <a:blip r:embed="rId1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15984" r="16046"/>
          <a:stretch/>
        </p:blipFill>
        <p:spPr>
          <a:xfrm>
            <a:off x="9023343" y="3945357"/>
            <a:ext cx="442925" cy="446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966413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Pentagon 19">
            <a:extLst>
              <a:ext uri="{FF2B5EF4-FFF2-40B4-BE49-F238E27FC236}">
                <a16:creationId xmlns:a16="http://schemas.microsoft.com/office/drawing/2014/main" id="{CAD93C59-72A9-4F6D-A654-02B9F8A5EFF9}"/>
              </a:ext>
            </a:extLst>
          </p:cNvPr>
          <p:cNvSpPr>
            <a:spLocks/>
          </p:cNvSpPr>
          <p:nvPr/>
        </p:nvSpPr>
        <p:spPr bwMode="auto">
          <a:xfrm>
            <a:off x="756602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1 of 37</a:t>
            </a:r>
          </a:p>
        </p:txBody>
      </p:sp>
      <p:sp>
        <p:nvSpPr>
          <p:cNvPr id="376" name="Pentagon 19">
            <a:extLst>
              <a:ext uri="{FF2B5EF4-FFF2-40B4-BE49-F238E27FC236}">
                <a16:creationId xmlns:a16="http://schemas.microsoft.com/office/drawing/2014/main" id="{1BDC5465-6022-4404-B4D8-ED55CF961B8A}"/>
              </a:ext>
            </a:extLst>
          </p:cNvPr>
          <p:cNvSpPr>
            <a:spLocks/>
          </p:cNvSpPr>
          <p:nvPr/>
        </p:nvSpPr>
        <p:spPr bwMode="auto">
          <a:xfrm>
            <a:off x="824865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 of 3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57F1EBC-D01A-4083-B657-63AFB1490839}"/>
              </a:ext>
            </a:extLst>
          </p:cNvPr>
          <p:cNvSpPr txBox="1"/>
          <p:nvPr/>
        </p:nvSpPr>
        <p:spPr>
          <a:xfrm>
            <a:off x="6122988" y="2749550"/>
            <a:ext cx="3475037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Investment Opportunit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D251BD-538A-4F4F-847E-620EEDA298A0}"/>
              </a:ext>
            </a:extLst>
          </p:cNvPr>
          <p:cNvSpPr txBox="1"/>
          <p:nvPr/>
        </p:nvSpPr>
        <p:spPr>
          <a:xfrm>
            <a:off x="6881813" y="4632911"/>
            <a:ext cx="2697162" cy="33855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Doing Business Ranking(2018)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1B8F13C-F732-4DA1-9250-DB02936E7688}"/>
              </a:ext>
            </a:extLst>
          </p:cNvPr>
          <p:cNvSpPr/>
          <p:nvPr/>
        </p:nvSpPr>
        <p:spPr>
          <a:xfrm>
            <a:off x="756602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egistering Propert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6BA1818-32ED-44D1-975C-958200BDD124}"/>
              </a:ext>
            </a:extLst>
          </p:cNvPr>
          <p:cNvSpPr/>
          <p:nvPr/>
        </p:nvSpPr>
        <p:spPr>
          <a:xfrm>
            <a:off x="8248650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ealing with Construction Permits</a:t>
            </a:r>
          </a:p>
        </p:txBody>
      </p:sp>
      <p:sp>
        <p:nvSpPr>
          <p:cNvPr id="23560" name="TextBox 174">
            <a:extLst>
              <a:ext uri="{FF2B5EF4-FFF2-40B4-BE49-F238E27FC236}">
                <a16:creationId xmlns:a16="http://schemas.microsoft.com/office/drawing/2014/main" id="{1573FD4E-62B9-45E8-8F28-CED990ED2D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0B63A6C-2A5E-4CA3-BC66-4CBC6008BC9A}"/>
              </a:ext>
            </a:extLst>
          </p:cNvPr>
          <p:cNvSpPr/>
          <p:nvPr/>
        </p:nvSpPr>
        <p:spPr>
          <a:xfrm>
            <a:off x="893127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nforcing Contracts</a:t>
            </a:r>
          </a:p>
        </p:txBody>
      </p:sp>
      <p:pic>
        <p:nvPicPr>
          <p:cNvPr id="23562" name="Picture 4">
            <a:extLst>
              <a:ext uri="{FF2B5EF4-FFF2-40B4-BE49-F238E27FC236}">
                <a16:creationId xmlns:a16="http://schemas.microsoft.com/office/drawing/2014/main" id="{7C8EEAB2-0239-4BB5-94B3-23E319AF1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513" y="5249863"/>
            <a:ext cx="439737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6" name="Pentagon 19">
            <a:extLst>
              <a:ext uri="{FF2B5EF4-FFF2-40B4-BE49-F238E27FC236}">
                <a16:creationId xmlns:a16="http://schemas.microsoft.com/office/drawing/2014/main" id="{5F8E9670-D71A-4765-B6B5-D711BC9AD6E1}"/>
              </a:ext>
            </a:extLst>
          </p:cNvPr>
          <p:cNvSpPr>
            <a:spLocks/>
          </p:cNvSpPr>
          <p:nvPr/>
        </p:nvSpPr>
        <p:spPr bwMode="auto">
          <a:xfrm>
            <a:off x="893127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9</a:t>
            </a:r>
            <a:r>
              <a:rPr kumimoji="0" lang="en-GB" sz="10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f 37</a:t>
            </a:r>
          </a:p>
        </p:txBody>
      </p:sp>
      <p:sp>
        <p:nvSpPr>
          <p:cNvPr id="23564" name="Title 3">
            <a:extLst>
              <a:ext uri="{FF2B5EF4-FFF2-40B4-BE49-F238E27FC236}">
                <a16:creationId xmlns:a16="http://schemas.microsoft.com/office/drawing/2014/main" id="{C62A749B-CFC7-4224-A789-D20A772AC33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en-GB" alt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iger State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6882DF2C-9120-4A66-8487-575D9494F4D6}"/>
              </a:ext>
            </a:extLst>
          </p:cNvPr>
          <p:cNvSpPr txBox="1"/>
          <p:nvPr/>
        </p:nvSpPr>
        <p:spPr>
          <a:xfrm rot="16200000">
            <a:off x="-2290084" y="3478372"/>
            <a:ext cx="5303837" cy="2743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prstClr val="white"/>
                </a:solidFill>
                <a:latin typeface="Calibri" panose="020F0502020204030204" pitchFamily="34" charset="0"/>
                <a:cs typeface="Arial" charset="0"/>
              </a:rPr>
              <a:t>Power State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grpSp>
        <p:nvGrpSpPr>
          <p:cNvPr id="23566" name="Group 9">
            <a:extLst>
              <a:ext uri="{FF2B5EF4-FFF2-40B4-BE49-F238E27FC236}">
                <a16:creationId xmlns:a16="http://schemas.microsoft.com/office/drawing/2014/main" id="{5B6131BD-3CE3-4FC4-B13A-FA9B797C1EF5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41338" y="963613"/>
            <a:ext cx="2897187" cy="2319337"/>
            <a:chOff x="770228" y="1459989"/>
            <a:chExt cx="4081047" cy="3267527"/>
          </a:xfrm>
        </p:grpSpPr>
        <p:sp>
          <p:nvSpPr>
            <p:cNvPr id="299" name="Freeform 4">
              <a:extLst>
                <a:ext uri="{FF2B5EF4-FFF2-40B4-BE49-F238E27FC236}">
                  <a16:creationId xmlns:a16="http://schemas.microsoft.com/office/drawing/2014/main" id="{B6150C82-CBE5-48B4-B60C-C210BB7B26A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91538" y="4349548"/>
              <a:ext cx="418167" cy="377968"/>
            </a:xfrm>
            <a:custGeom>
              <a:avLst/>
              <a:gdLst>
                <a:gd name="T0" fmla="*/ 12 w 786"/>
                <a:gd name="T1" fmla="*/ 19 h 714"/>
                <a:gd name="T2" fmla="*/ 22 w 786"/>
                <a:gd name="T3" fmla="*/ 18 h 714"/>
                <a:gd name="T4" fmla="*/ 27 w 786"/>
                <a:gd name="T5" fmla="*/ 17 h 714"/>
                <a:gd name="T6" fmla="*/ 30 w 786"/>
                <a:gd name="T7" fmla="*/ 14 h 714"/>
                <a:gd name="T8" fmla="*/ 37 w 786"/>
                <a:gd name="T9" fmla="*/ 16 h 714"/>
                <a:gd name="T10" fmla="*/ 43 w 786"/>
                <a:gd name="T11" fmla="*/ 13 h 714"/>
                <a:gd name="T12" fmla="*/ 48 w 786"/>
                <a:gd name="T13" fmla="*/ 8 h 714"/>
                <a:gd name="T14" fmla="*/ 55 w 786"/>
                <a:gd name="T15" fmla="*/ 4 h 714"/>
                <a:gd name="T16" fmla="*/ 66 w 786"/>
                <a:gd name="T17" fmla="*/ 0 h 714"/>
                <a:gd name="T18" fmla="*/ 63 w 786"/>
                <a:gd name="T19" fmla="*/ 12 h 714"/>
                <a:gd name="T20" fmla="*/ 59 w 786"/>
                <a:gd name="T21" fmla="*/ 19 h 714"/>
                <a:gd name="T22" fmla="*/ 57 w 786"/>
                <a:gd name="T23" fmla="*/ 29 h 714"/>
                <a:gd name="T24" fmla="*/ 59 w 786"/>
                <a:gd name="T25" fmla="*/ 36 h 714"/>
                <a:gd name="T26" fmla="*/ 66 w 786"/>
                <a:gd name="T27" fmla="*/ 35 h 714"/>
                <a:gd name="T28" fmla="*/ 64 w 786"/>
                <a:gd name="T29" fmla="*/ 41 h 714"/>
                <a:gd name="T30" fmla="*/ 64 w 786"/>
                <a:gd name="T31" fmla="*/ 48 h 714"/>
                <a:gd name="T32" fmla="*/ 63 w 786"/>
                <a:gd name="T33" fmla="*/ 56 h 714"/>
                <a:gd name="T34" fmla="*/ 60 w 786"/>
                <a:gd name="T35" fmla="*/ 60 h 714"/>
                <a:gd name="T36" fmla="*/ 57 w 786"/>
                <a:gd name="T37" fmla="*/ 58 h 714"/>
                <a:gd name="T38" fmla="*/ 54 w 786"/>
                <a:gd name="T39" fmla="*/ 54 h 714"/>
                <a:gd name="T40" fmla="*/ 53 w 786"/>
                <a:gd name="T41" fmla="*/ 51 h 714"/>
                <a:gd name="T42" fmla="*/ 51 w 786"/>
                <a:gd name="T43" fmla="*/ 53 h 714"/>
                <a:gd name="T44" fmla="*/ 49 w 786"/>
                <a:gd name="T45" fmla="*/ 54 h 714"/>
                <a:gd name="T46" fmla="*/ 47 w 786"/>
                <a:gd name="T47" fmla="*/ 50 h 714"/>
                <a:gd name="T48" fmla="*/ 48 w 786"/>
                <a:gd name="T49" fmla="*/ 54 h 714"/>
                <a:gd name="T50" fmla="*/ 47 w 786"/>
                <a:gd name="T51" fmla="*/ 54 h 714"/>
                <a:gd name="T52" fmla="*/ 46 w 786"/>
                <a:gd name="T53" fmla="*/ 59 h 714"/>
                <a:gd name="T54" fmla="*/ 47 w 786"/>
                <a:gd name="T55" fmla="*/ 62 h 714"/>
                <a:gd name="T56" fmla="*/ 42 w 786"/>
                <a:gd name="T57" fmla="*/ 62 h 714"/>
                <a:gd name="T58" fmla="*/ 39 w 786"/>
                <a:gd name="T59" fmla="*/ 57 h 714"/>
                <a:gd name="T60" fmla="*/ 40 w 786"/>
                <a:gd name="T61" fmla="*/ 54 h 714"/>
                <a:gd name="T62" fmla="*/ 43 w 786"/>
                <a:gd name="T63" fmla="*/ 55 h 714"/>
                <a:gd name="T64" fmla="*/ 40 w 786"/>
                <a:gd name="T65" fmla="*/ 53 h 714"/>
                <a:gd name="T66" fmla="*/ 38 w 786"/>
                <a:gd name="T67" fmla="*/ 57 h 714"/>
                <a:gd name="T68" fmla="*/ 37 w 786"/>
                <a:gd name="T69" fmla="*/ 57 h 714"/>
                <a:gd name="T70" fmla="*/ 37 w 786"/>
                <a:gd name="T71" fmla="*/ 60 h 714"/>
                <a:gd name="T72" fmla="*/ 33 w 786"/>
                <a:gd name="T73" fmla="*/ 56 h 714"/>
                <a:gd name="T74" fmla="*/ 32 w 786"/>
                <a:gd name="T75" fmla="*/ 58 h 714"/>
                <a:gd name="T76" fmla="*/ 26 w 786"/>
                <a:gd name="T77" fmla="*/ 54 h 714"/>
                <a:gd name="T78" fmla="*/ 26 w 786"/>
                <a:gd name="T79" fmla="*/ 54 h 714"/>
                <a:gd name="T80" fmla="*/ 24 w 786"/>
                <a:gd name="T81" fmla="*/ 51 h 714"/>
                <a:gd name="T82" fmla="*/ 22 w 786"/>
                <a:gd name="T83" fmla="*/ 51 h 714"/>
                <a:gd name="T84" fmla="*/ 20 w 786"/>
                <a:gd name="T85" fmla="*/ 50 h 714"/>
                <a:gd name="T86" fmla="*/ 20 w 786"/>
                <a:gd name="T87" fmla="*/ 48 h 714"/>
                <a:gd name="T88" fmla="*/ 18 w 786"/>
                <a:gd name="T89" fmla="*/ 47 h 714"/>
                <a:gd name="T90" fmla="*/ 15 w 786"/>
                <a:gd name="T91" fmla="*/ 45 h 714"/>
                <a:gd name="T92" fmla="*/ 11 w 786"/>
                <a:gd name="T93" fmla="*/ 39 h 714"/>
                <a:gd name="T94" fmla="*/ 12 w 786"/>
                <a:gd name="T95" fmla="*/ 36 h 714"/>
                <a:gd name="T96" fmla="*/ 7 w 786"/>
                <a:gd name="T97" fmla="*/ 33 h 714"/>
                <a:gd name="T98" fmla="*/ 5 w 786"/>
                <a:gd name="T99" fmla="*/ 28 h 714"/>
                <a:gd name="T100" fmla="*/ 7 w 786"/>
                <a:gd name="T101" fmla="*/ 30 h 714"/>
                <a:gd name="T102" fmla="*/ 4 w 786"/>
                <a:gd name="T103" fmla="*/ 24 h 714"/>
                <a:gd name="T104" fmla="*/ 2 w 786"/>
                <a:gd name="T105" fmla="*/ 20 h 714"/>
                <a:gd name="T106" fmla="*/ 0 w 786"/>
                <a:gd name="T107" fmla="*/ 15 h 714"/>
                <a:gd name="T108" fmla="*/ 4 w 786"/>
                <a:gd name="T109" fmla="*/ 16 h 714"/>
                <a:gd name="T110" fmla="*/ 55 w 786"/>
                <a:gd name="T111" fmla="*/ 60 h 714"/>
                <a:gd name="T112" fmla="*/ 47 w 786"/>
                <a:gd name="T113" fmla="*/ 60 h 714"/>
                <a:gd name="T114" fmla="*/ 51 w 786"/>
                <a:gd name="T115" fmla="*/ 54 h 714"/>
                <a:gd name="T116" fmla="*/ 54 w 786"/>
                <a:gd name="T117" fmla="*/ 56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86"/>
                <a:gd name="T178" fmla="*/ 0 h 714"/>
                <a:gd name="T179" fmla="*/ 786 w 786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86" h="714">
                  <a:moveTo>
                    <a:pt x="54" y="186"/>
                  </a:moveTo>
                  <a:lnTo>
                    <a:pt x="54" y="192"/>
                  </a:lnTo>
                  <a:lnTo>
                    <a:pt x="72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204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20" y="210"/>
                  </a:lnTo>
                  <a:lnTo>
                    <a:pt x="126" y="210"/>
                  </a:lnTo>
                  <a:lnTo>
                    <a:pt x="132" y="210"/>
                  </a:lnTo>
                  <a:lnTo>
                    <a:pt x="132" y="216"/>
                  </a:lnTo>
                  <a:lnTo>
                    <a:pt x="138" y="222"/>
                  </a:lnTo>
                  <a:lnTo>
                    <a:pt x="150" y="222"/>
                  </a:lnTo>
                  <a:lnTo>
                    <a:pt x="162" y="234"/>
                  </a:lnTo>
                  <a:lnTo>
                    <a:pt x="168" y="240"/>
                  </a:lnTo>
                  <a:lnTo>
                    <a:pt x="180" y="240"/>
                  </a:lnTo>
                  <a:lnTo>
                    <a:pt x="186" y="228"/>
                  </a:lnTo>
                  <a:lnTo>
                    <a:pt x="210" y="234"/>
                  </a:lnTo>
                  <a:lnTo>
                    <a:pt x="222" y="228"/>
                  </a:lnTo>
                  <a:lnTo>
                    <a:pt x="228" y="216"/>
                  </a:lnTo>
                  <a:lnTo>
                    <a:pt x="234" y="210"/>
                  </a:lnTo>
                  <a:lnTo>
                    <a:pt x="240" y="216"/>
                  </a:lnTo>
                  <a:lnTo>
                    <a:pt x="246" y="210"/>
                  </a:lnTo>
                  <a:lnTo>
                    <a:pt x="252" y="210"/>
                  </a:lnTo>
                  <a:lnTo>
                    <a:pt x="258" y="210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192"/>
                  </a:lnTo>
                  <a:lnTo>
                    <a:pt x="270" y="192"/>
                  </a:lnTo>
                  <a:lnTo>
                    <a:pt x="276" y="192"/>
                  </a:lnTo>
                  <a:lnTo>
                    <a:pt x="282" y="192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192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198"/>
                  </a:lnTo>
                  <a:lnTo>
                    <a:pt x="312" y="198"/>
                  </a:lnTo>
                  <a:lnTo>
                    <a:pt x="312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24" y="186"/>
                  </a:lnTo>
                  <a:lnTo>
                    <a:pt x="318" y="180"/>
                  </a:lnTo>
                  <a:lnTo>
                    <a:pt x="324" y="180"/>
                  </a:lnTo>
                  <a:lnTo>
                    <a:pt x="330" y="186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74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54" y="144"/>
                  </a:lnTo>
                  <a:lnTo>
                    <a:pt x="360" y="144"/>
                  </a:lnTo>
                  <a:lnTo>
                    <a:pt x="372" y="156"/>
                  </a:lnTo>
                  <a:lnTo>
                    <a:pt x="372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96" y="168"/>
                  </a:lnTo>
                  <a:lnTo>
                    <a:pt x="396" y="174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26" y="186"/>
                  </a:lnTo>
                  <a:lnTo>
                    <a:pt x="432" y="186"/>
                  </a:lnTo>
                  <a:lnTo>
                    <a:pt x="438" y="180"/>
                  </a:lnTo>
                  <a:lnTo>
                    <a:pt x="438" y="168"/>
                  </a:lnTo>
                  <a:lnTo>
                    <a:pt x="438" y="162"/>
                  </a:lnTo>
                  <a:lnTo>
                    <a:pt x="444" y="156"/>
                  </a:lnTo>
                  <a:lnTo>
                    <a:pt x="450" y="156"/>
                  </a:lnTo>
                  <a:lnTo>
                    <a:pt x="456" y="150"/>
                  </a:lnTo>
                  <a:lnTo>
                    <a:pt x="462" y="156"/>
                  </a:lnTo>
                  <a:lnTo>
                    <a:pt x="468" y="162"/>
                  </a:lnTo>
                  <a:lnTo>
                    <a:pt x="474" y="162"/>
                  </a:lnTo>
                  <a:lnTo>
                    <a:pt x="486" y="162"/>
                  </a:lnTo>
                  <a:lnTo>
                    <a:pt x="492" y="156"/>
                  </a:lnTo>
                  <a:lnTo>
                    <a:pt x="498" y="150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28" y="126"/>
                  </a:lnTo>
                  <a:lnTo>
                    <a:pt x="522" y="120"/>
                  </a:lnTo>
                  <a:lnTo>
                    <a:pt x="522" y="114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28" y="102"/>
                  </a:lnTo>
                  <a:lnTo>
                    <a:pt x="534" y="96"/>
                  </a:lnTo>
                  <a:lnTo>
                    <a:pt x="552" y="96"/>
                  </a:lnTo>
                  <a:lnTo>
                    <a:pt x="570" y="102"/>
                  </a:lnTo>
                  <a:lnTo>
                    <a:pt x="582" y="96"/>
                  </a:lnTo>
                  <a:lnTo>
                    <a:pt x="582" y="90"/>
                  </a:lnTo>
                  <a:lnTo>
                    <a:pt x="582" y="78"/>
                  </a:lnTo>
                  <a:lnTo>
                    <a:pt x="582" y="72"/>
                  </a:lnTo>
                  <a:lnTo>
                    <a:pt x="582" y="66"/>
                  </a:lnTo>
                  <a:lnTo>
                    <a:pt x="594" y="60"/>
                  </a:lnTo>
                  <a:lnTo>
                    <a:pt x="600" y="60"/>
                  </a:lnTo>
                  <a:lnTo>
                    <a:pt x="606" y="54"/>
                  </a:lnTo>
                  <a:lnTo>
                    <a:pt x="618" y="48"/>
                  </a:lnTo>
                  <a:lnTo>
                    <a:pt x="618" y="42"/>
                  </a:lnTo>
                  <a:lnTo>
                    <a:pt x="624" y="42"/>
                  </a:lnTo>
                  <a:lnTo>
                    <a:pt x="636" y="48"/>
                  </a:lnTo>
                  <a:lnTo>
                    <a:pt x="648" y="54"/>
                  </a:lnTo>
                  <a:lnTo>
                    <a:pt x="660" y="54"/>
                  </a:lnTo>
                  <a:lnTo>
                    <a:pt x="666" y="60"/>
                  </a:lnTo>
                  <a:lnTo>
                    <a:pt x="672" y="54"/>
                  </a:lnTo>
                  <a:lnTo>
                    <a:pt x="684" y="48"/>
                  </a:lnTo>
                  <a:lnTo>
                    <a:pt x="708" y="42"/>
                  </a:lnTo>
                  <a:lnTo>
                    <a:pt x="714" y="42"/>
                  </a:lnTo>
                  <a:lnTo>
                    <a:pt x="720" y="36"/>
                  </a:lnTo>
                  <a:lnTo>
                    <a:pt x="720" y="30"/>
                  </a:lnTo>
                  <a:lnTo>
                    <a:pt x="714" y="12"/>
                  </a:lnTo>
                  <a:lnTo>
                    <a:pt x="708" y="0"/>
                  </a:lnTo>
                  <a:lnTo>
                    <a:pt x="738" y="6"/>
                  </a:lnTo>
                  <a:lnTo>
                    <a:pt x="756" y="6"/>
                  </a:lnTo>
                  <a:lnTo>
                    <a:pt x="762" y="42"/>
                  </a:lnTo>
                  <a:lnTo>
                    <a:pt x="738" y="72"/>
                  </a:lnTo>
                  <a:lnTo>
                    <a:pt x="750" y="90"/>
                  </a:lnTo>
                  <a:lnTo>
                    <a:pt x="762" y="96"/>
                  </a:lnTo>
                  <a:lnTo>
                    <a:pt x="756" y="102"/>
                  </a:lnTo>
                  <a:lnTo>
                    <a:pt x="750" y="108"/>
                  </a:lnTo>
                  <a:lnTo>
                    <a:pt x="750" y="114"/>
                  </a:lnTo>
                  <a:lnTo>
                    <a:pt x="750" y="120"/>
                  </a:lnTo>
                  <a:lnTo>
                    <a:pt x="750" y="126"/>
                  </a:lnTo>
                  <a:lnTo>
                    <a:pt x="750" y="132"/>
                  </a:lnTo>
                  <a:lnTo>
                    <a:pt x="738" y="132"/>
                  </a:lnTo>
                  <a:lnTo>
                    <a:pt x="732" y="138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14" y="144"/>
                  </a:lnTo>
                  <a:lnTo>
                    <a:pt x="714" y="150"/>
                  </a:lnTo>
                  <a:lnTo>
                    <a:pt x="720" y="156"/>
                  </a:lnTo>
                  <a:lnTo>
                    <a:pt x="720" y="162"/>
                  </a:lnTo>
                  <a:lnTo>
                    <a:pt x="714" y="162"/>
                  </a:lnTo>
                  <a:lnTo>
                    <a:pt x="708" y="168"/>
                  </a:lnTo>
                  <a:lnTo>
                    <a:pt x="708" y="180"/>
                  </a:lnTo>
                  <a:lnTo>
                    <a:pt x="708" y="192"/>
                  </a:lnTo>
                  <a:lnTo>
                    <a:pt x="696" y="198"/>
                  </a:lnTo>
                  <a:lnTo>
                    <a:pt x="696" y="204"/>
                  </a:lnTo>
                  <a:lnTo>
                    <a:pt x="684" y="210"/>
                  </a:lnTo>
                  <a:lnTo>
                    <a:pt x="684" y="216"/>
                  </a:lnTo>
                  <a:lnTo>
                    <a:pt x="684" y="222"/>
                  </a:lnTo>
                  <a:lnTo>
                    <a:pt x="678" y="228"/>
                  </a:lnTo>
                  <a:lnTo>
                    <a:pt x="678" y="234"/>
                  </a:lnTo>
                  <a:lnTo>
                    <a:pt x="672" y="240"/>
                  </a:lnTo>
                  <a:lnTo>
                    <a:pt x="672" y="252"/>
                  </a:lnTo>
                  <a:lnTo>
                    <a:pt x="672" y="258"/>
                  </a:lnTo>
                  <a:lnTo>
                    <a:pt x="666" y="264"/>
                  </a:lnTo>
                  <a:lnTo>
                    <a:pt x="678" y="264"/>
                  </a:lnTo>
                  <a:lnTo>
                    <a:pt x="684" y="276"/>
                  </a:lnTo>
                  <a:lnTo>
                    <a:pt x="684" y="288"/>
                  </a:lnTo>
                  <a:lnTo>
                    <a:pt x="672" y="300"/>
                  </a:lnTo>
                  <a:lnTo>
                    <a:pt x="660" y="318"/>
                  </a:lnTo>
                  <a:lnTo>
                    <a:pt x="660" y="336"/>
                  </a:lnTo>
                  <a:lnTo>
                    <a:pt x="654" y="342"/>
                  </a:lnTo>
                  <a:lnTo>
                    <a:pt x="660" y="354"/>
                  </a:lnTo>
                  <a:lnTo>
                    <a:pt x="660" y="366"/>
                  </a:lnTo>
                  <a:lnTo>
                    <a:pt x="666" y="378"/>
                  </a:lnTo>
                  <a:lnTo>
                    <a:pt x="672" y="390"/>
                  </a:lnTo>
                  <a:lnTo>
                    <a:pt x="678" y="396"/>
                  </a:lnTo>
                  <a:lnTo>
                    <a:pt x="684" y="390"/>
                  </a:lnTo>
                  <a:lnTo>
                    <a:pt x="690" y="390"/>
                  </a:lnTo>
                  <a:lnTo>
                    <a:pt x="690" y="396"/>
                  </a:lnTo>
                  <a:lnTo>
                    <a:pt x="684" y="396"/>
                  </a:lnTo>
                  <a:lnTo>
                    <a:pt x="684" y="402"/>
                  </a:lnTo>
                  <a:lnTo>
                    <a:pt x="684" y="408"/>
                  </a:lnTo>
                  <a:lnTo>
                    <a:pt x="678" y="414"/>
                  </a:lnTo>
                  <a:lnTo>
                    <a:pt x="684" y="414"/>
                  </a:lnTo>
                  <a:lnTo>
                    <a:pt x="684" y="420"/>
                  </a:lnTo>
                  <a:lnTo>
                    <a:pt x="684" y="426"/>
                  </a:lnTo>
                  <a:lnTo>
                    <a:pt x="690" y="420"/>
                  </a:lnTo>
                  <a:lnTo>
                    <a:pt x="696" y="420"/>
                  </a:lnTo>
                  <a:lnTo>
                    <a:pt x="696" y="426"/>
                  </a:lnTo>
                  <a:lnTo>
                    <a:pt x="690" y="426"/>
                  </a:lnTo>
                  <a:lnTo>
                    <a:pt x="696" y="426"/>
                  </a:lnTo>
                  <a:lnTo>
                    <a:pt x="708" y="426"/>
                  </a:lnTo>
                  <a:lnTo>
                    <a:pt x="726" y="414"/>
                  </a:lnTo>
                  <a:lnTo>
                    <a:pt x="732" y="408"/>
                  </a:lnTo>
                  <a:lnTo>
                    <a:pt x="744" y="402"/>
                  </a:lnTo>
                  <a:lnTo>
                    <a:pt x="756" y="402"/>
                  </a:lnTo>
                  <a:lnTo>
                    <a:pt x="768" y="402"/>
                  </a:lnTo>
                  <a:lnTo>
                    <a:pt x="786" y="408"/>
                  </a:lnTo>
                  <a:lnTo>
                    <a:pt x="786" y="414"/>
                  </a:lnTo>
                  <a:lnTo>
                    <a:pt x="774" y="420"/>
                  </a:lnTo>
                  <a:lnTo>
                    <a:pt x="774" y="426"/>
                  </a:lnTo>
                  <a:lnTo>
                    <a:pt x="768" y="432"/>
                  </a:lnTo>
                  <a:lnTo>
                    <a:pt x="762" y="438"/>
                  </a:lnTo>
                  <a:lnTo>
                    <a:pt x="756" y="438"/>
                  </a:lnTo>
                  <a:lnTo>
                    <a:pt x="756" y="444"/>
                  </a:lnTo>
                  <a:lnTo>
                    <a:pt x="756" y="450"/>
                  </a:lnTo>
                  <a:lnTo>
                    <a:pt x="762" y="450"/>
                  </a:lnTo>
                  <a:lnTo>
                    <a:pt x="750" y="456"/>
                  </a:lnTo>
                  <a:lnTo>
                    <a:pt x="738" y="468"/>
                  </a:lnTo>
                  <a:lnTo>
                    <a:pt x="726" y="480"/>
                  </a:lnTo>
                  <a:lnTo>
                    <a:pt x="726" y="486"/>
                  </a:lnTo>
                  <a:lnTo>
                    <a:pt x="732" y="486"/>
                  </a:lnTo>
                  <a:lnTo>
                    <a:pt x="732" y="492"/>
                  </a:lnTo>
                  <a:lnTo>
                    <a:pt x="732" y="504"/>
                  </a:lnTo>
                  <a:lnTo>
                    <a:pt x="738" y="504"/>
                  </a:lnTo>
                  <a:lnTo>
                    <a:pt x="744" y="510"/>
                  </a:lnTo>
                  <a:lnTo>
                    <a:pt x="738" y="522"/>
                  </a:lnTo>
                  <a:lnTo>
                    <a:pt x="744" y="528"/>
                  </a:lnTo>
                  <a:lnTo>
                    <a:pt x="756" y="534"/>
                  </a:lnTo>
                  <a:lnTo>
                    <a:pt x="756" y="540"/>
                  </a:lnTo>
                  <a:lnTo>
                    <a:pt x="744" y="552"/>
                  </a:lnTo>
                  <a:lnTo>
                    <a:pt x="738" y="552"/>
                  </a:lnTo>
                  <a:lnTo>
                    <a:pt x="738" y="558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64"/>
                  </a:lnTo>
                  <a:lnTo>
                    <a:pt x="744" y="576"/>
                  </a:lnTo>
                  <a:lnTo>
                    <a:pt x="738" y="588"/>
                  </a:lnTo>
                  <a:lnTo>
                    <a:pt x="738" y="594"/>
                  </a:lnTo>
                  <a:lnTo>
                    <a:pt x="738" y="600"/>
                  </a:lnTo>
                  <a:lnTo>
                    <a:pt x="738" y="606"/>
                  </a:lnTo>
                  <a:lnTo>
                    <a:pt x="732" y="612"/>
                  </a:lnTo>
                  <a:lnTo>
                    <a:pt x="726" y="624"/>
                  </a:lnTo>
                  <a:lnTo>
                    <a:pt x="726" y="636"/>
                  </a:lnTo>
                  <a:lnTo>
                    <a:pt x="726" y="648"/>
                  </a:lnTo>
                  <a:lnTo>
                    <a:pt x="738" y="654"/>
                  </a:lnTo>
                  <a:lnTo>
                    <a:pt x="750" y="660"/>
                  </a:lnTo>
                  <a:lnTo>
                    <a:pt x="750" y="666"/>
                  </a:lnTo>
                  <a:lnTo>
                    <a:pt x="750" y="678"/>
                  </a:lnTo>
                  <a:lnTo>
                    <a:pt x="744" y="678"/>
                  </a:lnTo>
                  <a:lnTo>
                    <a:pt x="738" y="684"/>
                  </a:lnTo>
                  <a:lnTo>
                    <a:pt x="732" y="684"/>
                  </a:lnTo>
                  <a:lnTo>
                    <a:pt x="720" y="678"/>
                  </a:lnTo>
                  <a:lnTo>
                    <a:pt x="714" y="684"/>
                  </a:lnTo>
                  <a:lnTo>
                    <a:pt x="708" y="684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0" y="690"/>
                  </a:lnTo>
                  <a:lnTo>
                    <a:pt x="690" y="684"/>
                  </a:lnTo>
                  <a:lnTo>
                    <a:pt x="690" y="690"/>
                  </a:lnTo>
                  <a:lnTo>
                    <a:pt x="684" y="690"/>
                  </a:lnTo>
                  <a:lnTo>
                    <a:pt x="684" y="684"/>
                  </a:lnTo>
                  <a:lnTo>
                    <a:pt x="678" y="684"/>
                  </a:lnTo>
                  <a:lnTo>
                    <a:pt x="672" y="678"/>
                  </a:lnTo>
                  <a:lnTo>
                    <a:pt x="672" y="672"/>
                  </a:lnTo>
                  <a:lnTo>
                    <a:pt x="678" y="672"/>
                  </a:lnTo>
                  <a:lnTo>
                    <a:pt x="672" y="672"/>
                  </a:lnTo>
                  <a:lnTo>
                    <a:pt x="666" y="672"/>
                  </a:lnTo>
                  <a:lnTo>
                    <a:pt x="660" y="672"/>
                  </a:lnTo>
                  <a:lnTo>
                    <a:pt x="654" y="672"/>
                  </a:lnTo>
                  <a:lnTo>
                    <a:pt x="654" y="666"/>
                  </a:lnTo>
                  <a:lnTo>
                    <a:pt x="648" y="666"/>
                  </a:lnTo>
                  <a:lnTo>
                    <a:pt x="642" y="660"/>
                  </a:lnTo>
                  <a:lnTo>
                    <a:pt x="642" y="654"/>
                  </a:lnTo>
                  <a:lnTo>
                    <a:pt x="642" y="648"/>
                  </a:lnTo>
                  <a:lnTo>
                    <a:pt x="636" y="648"/>
                  </a:lnTo>
                  <a:lnTo>
                    <a:pt x="630" y="648"/>
                  </a:lnTo>
                  <a:lnTo>
                    <a:pt x="624" y="648"/>
                  </a:lnTo>
                  <a:lnTo>
                    <a:pt x="624" y="642"/>
                  </a:lnTo>
                  <a:lnTo>
                    <a:pt x="618" y="636"/>
                  </a:lnTo>
                  <a:lnTo>
                    <a:pt x="624" y="636"/>
                  </a:lnTo>
                  <a:lnTo>
                    <a:pt x="624" y="630"/>
                  </a:lnTo>
                  <a:lnTo>
                    <a:pt x="618" y="630"/>
                  </a:lnTo>
                  <a:lnTo>
                    <a:pt x="618" y="624"/>
                  </a:lnTo>
                  <a:lnTo>
                    <a:pt x="618" y="618"/>
                  </a:lnTo>
                  <a:lnTo>
                    <a:pt x="618" y="612"/>
                  </a:lnTo>
                  <a:lnTo>
                    <a:pt x="618" y="606"/>
                  </a:lnTo>
                  <a:lnTo>
                    <a:pt x="624" y="606"/>
                  </a:lnTo>
                  <a:lnTo>
                    <a:pt x="624" y="600"/>
                  </a:lnTo>
                  <a:lnTo>
                    <a:pt x="618" y="600"/>
                  </a:lnTo>
                  <a:lnTo>
                    <a:pt x="618" y="594"/>
                  </a:lnTo>
                  <a:lnTo>
                    <a:pt x="618" y="588"/>
                  </a:lnTo>
                  <a:lnTo>
                    <a:pt x="618" y="582"/>
                  </a:lnTo>
                  <a:lnTo>
                    <a:pt x="612" y="582"/>
                  </a:lnTo>
                  <a:lnTo>
                    <a:pt x="606" y="582"/>
                  </a:lnTo>
                  <a:lnTo>
                    <a:pt x="612" y="582"/>
                  </a:lnTo>
                  <a:lnTo>
                    <a:pt x="612" y="588"/>
                  </a:lnTo>
                  <a:lnTo>
                    <a:pt x="612" y="594"/>
                  </a:lnTo>
                  <a:lnTo>
                    <a:pt x="618" y="594"/>
                  </a:lnTo>
                  <a:lnTo>
                    <a:pt x="618" y="600"/>
                  </a:lnTo>
                  <a:lnTo>
                    <a:pt x="618" y="606"/>
                  </a:lnTo>
                  <a:lnTo>
                    <a:pt x="618" y="612"/>
                  </a:lnTo>
                  <a:lnTo>
                    <a:pt x="612" y="612"/>
                  </a:lnTo>
                  <a:lnTo>
                    <a:pt x="612" y="618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94" y="612"/>
                  </a:lnTo>
                  <a:lnTo>
                    <a:pt x="588" y="606"/>
                  </a:lnTo>
                  <a:lnTo>
                    <a:pt x="588" y="612"/>
                  </a:lnTo>
                  <a:lnTo>
                    <a:pt x="594" y="612"/>
                  </a:lnTo>
                  <a:lnTo>
                    <a:pt x="594" y="618"/>
                  </a:lnTo>
                  <a:lnTo>
                    <a:pt x="588" y="618"/>
                  </a:lnTo>
                  <a:lnTo>
                    <a:pt x="588" y="624"/>
                  </a:lnTo>
                  <a:lnTo>
                    <a:pt x="582" y="624"/>
                  </a:lnTo>
                  <a:lnTo>
                    <a:pt x="582" y="630"/>
                  </a:lnTo>
                  <a:lnTo>
                    <a:pt x="576" y="630"/>
                  </a:lnTo>
                  <a:lnTo>
                    <a:pt x="576" y="636"/>
                  </a:lnTo>
                  <a:lnTo>
                    <a:pt x="570" y="636"/>
                  </a:lnTo>
                  <a:lnTo>
                    <a:pt x="570" y="642"/>
                  </a:lnTo>
                  <a:lnTo>
                    <a:pt x="564" y="642"/>
                  </a:lnTo>
                  <a:lnTo>
                    <a:pt x="564" y="636"/>
                  </a:lnTo>
                  <a:lnTo>
                    <a:pt x="564" y="630"/>
                  </a:lnTo>
                  <a:lnTo>
                    <a:pt x="564" y="624"/>
                  </a:lnTo>
                  <a:lnTo>
                    <a:pt x="564" y="618"/>
                  </a:lnTo>
                  <a:lnTo>
                    <a:pt x="570" y="612"/>
                  </a:lnTo>
                  <a:lnTo>
                    <a:pt x="564" y="606"/>
                  </a:lnTo>
                  <a:lnTo>
                    <a:pt x="564" y="600"/>
                  </a:lnTo>
                  <a:lnTo>
                    <a:pt x="564" y="594"/>
                  </a:lnTo>
                  <a:lnTo>
                    <a:pt x="558" y="594"/>
                  </a:lnTo>
                  <a:lnTo>
                    <a:pt x="558" y="588"/>
                  </a:lnTo>
                  <a:lnTo>
                    <a:pt x="552" y="582"/>
                  </a:lnTo>
                  <a:lnTo>
                    <a:pt x="552" y="576"/>
                  </a:lnTo>
                  <a:lnTo>
                    <a:pt x="552" y="570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6" y="582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58" y="588"/>
                  </a:lnTo>
                  <a:lnTo>
                    <a:pt x="558" y="594"/>
                  </a:lnTo>
                  <a:lnTo>
                    <a:pt x="558" y="600"/>
                  </a:lnTo>
                  <a:lnTo>
                    <a:pt x="558" y="606"/>
                  </a:lnTo>
                  <a:lnTo>
                    <a:pt x="552" y="612"/>
                  </a:lnTo>
                  <a:lnTo>
                    <a:pt x="558" y="612"/>
                  </a:lnTo>
                  <a:lnTo>
                    <a:pt x="558" y="618"/>
                  </a:lnTo>
                  <a:lnTo>
                    <a:pt x="558" y="624"/>
                  </a:lnTo>
                  <a:lnTo>
                    <a:pt x="558" y="630"/>
                  </a:lnTo>
                  <a:lnTo>
                    <a:pt x="552" y="630"/>
                  </a:lnTo>
                  <a:lnTo>
                    <a:pt x="552" y="624"/>
                  </a:lnTo>
                  <a:lnTo>
                    <a:pt x="546" y="624"/>
                  </a:lnTo>
                  <a:lnTo>
                    <a:pt x="546" y="618"/>
                  </a:lnTo>
                  <a:lnTo>
                    <a:pt x="546" y="612"/>
                  </a:lnTo>
                  <a:lnTo>
                    <a:pt x="540" y="612"/>
                  </a:lnTo>
                  <a:lnTo>
                    <a:pt x="534" y="612"/>
                  </a:lnTo>
                  <a:lnTo>
                    <a:pt x="528" y="612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28" y="618"/>
                  </a:lnTo>
                  <a:lnTo>
                    <a:pt x="534" y="618"/>
                  </a:lnTo>
                  <a:lnTo>
                    <a:pt x="540" y="618"/>
                  </a:lnTo>
                  <a:lnTo>
                    <a:pt x="540" y="624"/>
                  </a:lnTo>
                  <a:lnTo>
                    <a:pt x="546" y="624"/>
                  </a:lnTo>
                  <a:lnTo>
                    <a:pt x="546" y="630"/>
                  </a:lnTo>
                  <a:lnTo>
                    <a:pt x="552" y="630"/>
                  </a:lnTo>
                  <a:lnTo>
                    <a:pt x="552" y="636"/>
                  </a:lnTo>
                  <a:lnTo>
                    <a:pt x="546" y="642"/>
                  </a:lnTo>
                  <a:lnTo>
                    <a:pt x="546" y="648"/>
                  </a:lnTo>
                  <a:lnTo>
                    <a:pt x="540" y="648"/>
                  </a:lnTo>
                  <a:lnTo>
                    <a:pt x="540" y="654"/>
                  </a:lnTo>
                  <a:lnTo>
                    <a:pt x="540" y="660"/>
                  </a:lnTo>
                  <a:lnTo>
                    <a:pt x="534" y="666"/>
                  </a:lnTo>
                  <a:lnTo>
                    <a:pt x="534" y="672"/>
                  </a:lnTo>
                  <a:lnTo>
                    <a:pt x="534" y="678"/>
                  </a:lnTo>
                  <a:lnTo>
                    <a:pt x="534" y="684"/>
                  </a:lnTo>
                  <a:lnTo>
                    <a:pt x="534" y="678"/>
                  </a:lnTo>
                  <a:lnTo>
                    <a:pt x="528" y="678"/>
                  </a:lnTo>
                  <a:lnTo>
                    <a:pt x="528" y="684"/>
                  </a:lnTo>
                  <a:lnTo>
                    <a:pt x="522" y="690"/>
                  </a:lnTo>
                  <a:lnTo>
                    <a:pt x="528" y="690"/>
                  </a:lnTo>
                  <a:lnTo>
                    <a:pt x="528" y="684"/>
                  </a:lnTo>
                  <a:lnTo>
                    <a:pt x="534" y="684"/>
                  </a:lnTo>
                  <a:lnTo>
                    <a:pt x="534" y="690"/>
                  </a:lnTo>
                  <a:lnTo>
                    <a:pt x="534" y="696"/>
                  </a:lnTo>
                  <a:lnTo>
                    <a:pt x="540" y="696"/>
                  </a:lnTo>
                  <a:lnTo>
                    <a:pt x="540" y="702"/>
                  </a:lnTo>
                  <a:lnTo>
                    <a:pt x="540" y="708"/>
                  </a:lnTo>
                  <a:lnTo>
                    <a:pt x="534" y="708"/>
                  </a:lnTo>
                  <a:lnTo>
                    <a:pt x="528" y="708"/>
                  </a:lnTo>
                  <a:lnTo>
                    <a:pt x="522" y="708"/>
                  </a:lnTo>
                  <a:lnTo>
                    <a:pt x="516" y="708"/>
                  </a:lnTo>
                  <a:lnTo>
                    <a:pt x="510" y="708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2" y="708"/>
                  </a:lnTo>
                  <a:lnTo>
                    <a:pt x="486" y="714"/>
                  </a:lnTo>
                  <a:lnTo>
                    <a:pt x="480" y="708"/>
                  </a:lnTo>
                  <a:lnTo>
                    <a:pt x="474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68" y="714"/>
                  </a:lnTo>
                  <a:lnTo>
                    <a:pt x="456" y="714"/>
                  </a:lnTo>
                  <a:lnTo>
                    <a:pt x="450" y="714"/>
                  </a:lnTo>
                  <a:lnTo>
                    <a:pt x="450" y="708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50" y="690"/>
                  </a:lnTo>
                  <a:lnTo>
                    <a:pt x="450" y="684"/>
                  </a:lnTo>
                  <a:lnTo>
                    <a:pt x="450" y="678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56" y="660"/>
                  </a:lnTo>
                  <a:lnTo>
                    <a:pt x="462" y="660"/>
                  </a:lnTo>
                  <a:lnTo>
                    <a:pt x="462" y="654"/>
                  </a:lnTo>
                  <a:lnTo>
                    <a:pt x="456" y="654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48"/>
                  </a:lnTo>
                  <a:lnTo>
                    <a:pt x="444" y="648"/>
                  </a:lnTo>
                  <a:lnTo>
                    <a:pt x="444" y="642"/>
                  </a:lnTo>
                  <a:lnTo>
                    <a:pt x="444" y="636"/>
                  </a:lnTo>
                  <a:lnTo>
                    <a:pt x="450" y="636"/>
                  </a:lnTo>
                  <a:lnTo>
                    <a:pt x="450" y="630"/>
                  </a:lnTo>
                  <a:lnTo>
                    <a:pt x="456" y="630"/>
                  </a:lnTo>
                  <a:lnTo>
                    <a:pt x="462" y="630"/>
                  </a:lnTo>
                  <a:lnTo>
                    <a:pt x="462" y="624"/>
                  </a:lnTo>
                  <a:lnTo>
                    <a:pt x="468" y="624"/>
                  </a:lnTo>
                  <a:lnTo>
                    <a:pt x="474" y="624"/>
                  </a:lnTo>
                  <a:lnTo>
                    <a:pt x="474" y="618"/>
                  </a:lnTo>
                  <a:lnTo>
                    <a:pt x="480" y="618"/>
                  </a:lnTo>
                  <a:lnTo>
                    <a:pt x="486" y="618"/>
                  </a:lnTo>
                  <a:lnTo>
                    <a:pt x="486" y="624"/>
                  </a:lnTo>
                  <a:lnTo>
                    <a:pt x="486" y="636"/>
                  </a:lnTo>
                  <a:lnTo>
                    <a:pt x="486" y="642"/>
                  </a:lnTo>
                  <a:lnTo>
                    <a:pt x="486" y="648"/>
                  </a:lnTo>
                  <a:lnTo>
                    <a:pt x="492" y="648"/>
                  </a:lnTo>
                  <a:lnTo>
                    <a:pt x="492" y="642"/>
                  </a:lnTo>
                  <a:lnTo>
                    <a:pt x="498" y="636"/>
                  </a:lnTo>
                  <a:lnTo>
                    <a:pt x="492" y="636"/>
                  </a:lnTo>
                  <a:lnTo>
                    <a:pt x="492" y="630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6" y="618"/>
                  </a:lnTo>
                  <a:lnTo>
                    <a:pt x="486" y="612"/>
                  </a:lnTo>
                  <a:lnTo>
                    <a:pt x="486" y="606"/>
                  </a:lnTo>
                  <a:lnTo>
                    <a:pt x="480" y="606"/>
                  </a:lnTo>
                  <a:lnTo>
                    <a:pt x="480" y="612"/>
                  </a:lnTo>
                  <a:lnTo>
                    <a:pt x="474" y="618"/>
                  </a:lnTo>
                  <a:lnTo>
                    <a:pt x="468" y="618"/>
                  </a:lnTo>
                  <a:lnTo>
                    <a:pt x="462" y="618"/>
                  </a:lnTo>
                  <a:lnTo>
                    <a:pt x="462" y="612"/>
                  </a:lnTo>
                  <a:lnTo>
                    <a:pt x="456" y="612"/>
                  </a:lnTo>
                  <a:lnTo>
                    <a:pt x="456" y="618"/>
                  </a:lnTo>
                  <a:lnTo>
                    <a:pt x="462" y="618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30"/>
                  </a:lnTo>
                  <a:lnTo>
                    <a:pt x="444" y="630"/>
                  </a:lnTo>
                  <a:lnTo>
                    <a:pt x="444" y="636"/>
                  </a:lnTo>
                  <a:lnTo>
                    <a:pt x="444" y="642"/>
                  </a:lnTo>
                  <a:lnTo>
                    <a:pt x="444" y="654"/>
                  </a:lnTo>
                  <a:lnTo>
                    <a:pt x="444" y="660"/>
                  </a:lnTo>
                  <a:lnTo>
                    <a:pt x="438" y="660"/>
                  </a:lnTo>
                  <a:lnTo>
                    <a:pt x="432" y="660"/>
                  </a:lnTo>
                  <a:lnTo>
                    <a:pt x="432" y="654"/>
                  </a:lnTo>
                  <a:lnTo>
                    <a:pt x="438" y="654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48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26" y="660"/>
                  </a:lnTo>
                  <a:lnTo>
                    <a:pt x="432" y="666"/>
                  </a:lnTo>
                  <a:lnTo>
                    <a:pt x="432" y="672"/>
                  </a:lnTo>
                  <a:lnTo>
                    <a:pt x="438" y="672"/>
                  </a:lnTo>
                  <a:lnTo>
                    <a:pt x="438" y="678"/>
                  </a:lnTo>
                  <a:lnTo>
                    <a:pt x="444" y="678"/>
                  </a:lnTo>
                  <a:lnTo>
                    <a:pt x="444" y="684"/>
                  </a:lnTo>
                  <a:lnTo>
                    <a:pt x="438" y="690"/>
                  </a:lnTo>
                  <a:lnTo>
                    <a:pt x="438" y="696"/>
                  </a:lnTo>
                  <a:lnTo>
                    <a:pt x="438" y="702"/>
                  </a:lnTo>
                  <a:lnTo>
                    <a:pt x="432" y="702"/>
                  </a:lnTo>
                  <a:lnTo>
                    <a:pt x="426" y="702"/>
                  </a:lnTo>
                  <a:lnTo>
                    <a:pt x="426" y="696"/>
                  </a:lnTo>
                  <a:lnTo>
                    <a:pt x="414" y="696"/>
                  </a:lnTo>
                  <a:lnTo>
                    <a:pt x="402" y="696"/>
                  </a:lnTo>
                  <a:lnTo>
                    <a:pt x="402" y="690"/>
                  </a:lnTo>
                  <a:lnTo>
                    <a:pt x="396" y="690"/>
                  </a:lnTo>
                  <a:lnTo>
                    <a:pt x="390" y="690"/>
                  </a:lnTo>
                  <a:lnTo>
                    <a:pt x="384" y="690"/>
                  </a:lnTo>
                  <a:lnTo>
                    <a:pt x="384" y="684"/>
                  </a:lnTo>
                  <a:lnTo>
                    <a:pt x="384" y="678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390" y="660"/>
                  </a:lnTo>
                  <a:lnTo>
                    <a:pt x="390" y="654"/>
                  </a:lnTo>
                  <a:lnTo>
                    <a:pt x="384" y="648"/>
                  </a:lnTo>
                  <a:lnTo>
                    <a:pt x="384" y="642"/>
                  </a:lnTo>
                  <a:lnTo>
                    <a:pt x="378" y="636"/>
                  </a:lnTo>
                  <a:lnTo>
                    <a:pt x="378" y="642"/>
                  </a:lnTo>
                  <a:lnTo>
                    <a:pt x="378" y="648"/>
                  </a:lnTo>
                  <a:lnTo>
                    <a:pt x="372" y="648"/>
                  </a:lnTo>
                  <a:lnTo>
                    <a:pt x="378" y="654"/>
                  </a:lnTo>
                  <a:lnTo>
                    <a:pt x="378" y="660"/>
                  </a:lnTo>
                  <a:lnTo>
                    <a:pt x="378" y="666"/>
                  </a:lnTo>
                  <a:lnTo>
                    <a:pt x="372" y="672"/>
                  </a:lnTo>
                  <a:lnTo>
                    <a:pt x="378" y="672"/>
                  </a:lnTo>
                  <a:lnTo>
                    <a:pt x="378" y="678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54" y="666"/>
                  </a:lnTo>
                  <a:lnTo>
                    <a:pt x="354" y="660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0" y="654"/>
                  </a:lnTo>
                  <a:lnTo>
                    <a:pt x="324" y="648"/>
                  </a:lnTo>
                  <a:lnTo>
                    <a:pt x="318" y="648"/>
                  </a:lnTo>
                  <a:lnTo>
                    <a:pt x="318" y="642"/>
                  </a:lnTo>
                  <a:lnTo>
                    <a:pt x="312" y="642"/>
                  </a:lnTo>
                  <a:lnTo>
                    <a:pt x="306" y="636"/>
                  </a:lnTo>
                  <a:lnTo>
                    <a:pt x="300" y="636"/>
                  </a:lnTo>
                  <a:lnTo>
                    <a:pt x="300" y="630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0" y="618"/>
                  </a:lnTo>
                  <a:lnTo>
                    <a:pt x="306" y="612"/>
                  </a:lnTo>
                  <a:lnTo>
                    <a:pt x="300" y="612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294" y="612"/>
                  </a:lnTo>
                  <a:lnTo>
                    <a:pt x="288" y="618"/>
                  </a:lnTo>
                  <a:lnTo>
                    <a:pt x="288" y="612"/>
                  </a:lnTo>
                  <a:lnTo>
                    <a:pt x="288" y="618"/>
                  </a:lnTo>
                  <a:lnTo>
                    <a:pt x="294" y="618"/>
                  </a:lnTo>
                  <a:lnTo>
                    <a:pt x="300" y="624"/>
                  </a:lnTo>
                  <a:lnTo>
                    <a:pt x="294" y="624"/>
                  </a:lnTo>
                  <a:lnTo>
                    <a:pt x="288" y="624"/>
                  </a:lnTo>
                  <a:lnTo>
                    <a:pt x="282" y="61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70" y="600"/>
                  </a:lnTo>
                  <a:lnTo>
                    <a:pt x="270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82" y="588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594"/>
                  </a:lnTo>
                  <a:lnTo>
                    <a:pt x="264" y="600"/>
                  </a:lnTo>
                  <a:lnTo>
                    <a:pt x="264" y="594"/>
                  </a:lnTo>
                  <a:lnTo>
                    <a:pt x="270" y="594"/>
                  </a:lnTo>
                  <a:lnTo>
                    <a:pt x="270" y="588"/>
                  </a:lnTo>
                  <a:lnTo>
                    <a:pt x="264" y="594"/>
                  </a:lnTo>
                  <a:lnTo>
                    <a:pt x="258" y="594"/>
                  </a:lnTo>
                  <a:lnTo>
                    <a:pt x="258" y="588"/>
                  </a:lnTo>
                  <a:lnTo>
                    <a:pt x="252" y="588"/>
                  </a:lnTo>
                  <a:lnTo>
                    <a:pt x="246" y="588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52" y="588"/>
                  </a:lnTo>
                  <a:lnTo>
                    <a:pt x="252" y="594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46" y="594"/>
                  </a:lnTo>
                  <a:lnTo>
                    <a:pt x="246" y="588"/>
                  </a:lnTo>
                  <a:lnTo>
                    <a:pt x="240" y="588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2" y="570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64"/>
                  </a:lnTo>
                  <a:lnTo>
                    <a:pt x="234" y="564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34" y="558"/>
                  </a:lnTo>
                  <a:lnTo>
                    <a:pt x="228" y="558"/>
                  </a:lnTo>
                  <a:lnTo>
                    <a:pt x="222" y="558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2" y="564"/>
                  </a:lnTo>
                  <a:lnTo>
                    <a:pt x="222" y="558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04" y="546"/>
                  </a:lnTo>
                  <a:lnTo>
                    <a:pt x="204" y="540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10" y="540"/>
                  </a:lnTo>
                  <a:lnTo>
                    <a:pt x="210" y="534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8"/>
                  </a:lnTo>
                  <a:lnTo>
                    <a:pt x="174" y="516"/>
                  </a:lnTo>
                  <a:lnTo>
                    <a:pt x="168" y="510"/>
                  </a:lnTo>
                  <a:lnTo>
                    <a:pt x="162" y="504"/>
                  </a:lnTo>
                  <a:lnTo>
                    <a:pt x="156" y="498"/>
                  </a:lnTo>
                  <a:lnTo>
                    <a:pt x="156" y="492"/>
                  </a:lnTo>
                  <a:lnTo>
                    <a:pt x="150" y="486"/>
                  </a:lnTo>
                  <a:lnTo>
                    <a:pt x="144" y="480"/>
                  </a:lnTo>
                  <a:lnTo>
                    <a:pt x="144" y="474"/>
                  </a:lnTo>
                  <a:lnTo>
                    <a:pt x="138" y="474"/>
                  </a:lnTo>
                  <a:lnTo>
                    <a:pt x="138" y="468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26" y="450"/>
                  </a:lnTo>
                  <a:lnTo>
                    <a:pt x="126" y="444"/>
                  </a:lnTo>
                  <a:lnTo>
                    <a:pt x="114" y="438"/>
                  </a:lnTo>
                  <a:lnTo>
                    <a:pt x="114" y="432"/>
                  </a:lnTo>
                  <a:lnTo>
                    <a:pt x="114" y="426"/>
                  </a:lnTo>
                  <a:lnTo>
                    <a:pt x="114" y="432"/>
                  </a:lnTo>
                  <a:lnTo>
                    <a:pt x="120" y="432"/>
                  </a:lnTo>
                  <a:lnTo>
                    <a:pt x="120" y="438"/>
                  </a:lnTo>
                  <a:lnTo>
                    <a:pt x="120" y="444"/>
                  </a:lnTo>
                  <a:lnTo>
                    <a:pt x="126" y="444"/>
                  </a:lnTo>
                  <a:lnTo>
                    <a:pt x="126" y="438"/>
                  </a:lnTo>
                  <a:lnTo>
                    <a:pt x="120" y="438"/>
                  </a:lnTo>
                  <a:lnTo>
                    <a:pt x="126" y="432"/>
                  </a:lnTo>
                  <a:lnTo>
                    <a:pt x="126" y="426"/>
                  </a:lnTo>
                  <a:lnTo>
                    <a:pt x="132" y="420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08" y="414"/>
                  </a:lnTo>
                  <a:lnTo>
                    <a:pt x="102" y="414"/>
                  </a:lnTo>
                  <a:lnTo>
                    <a:pt x="102" y="408"/>
                  </a:lnTo>
                  <a:lnTo>
                    <a:pt x="96" y="402"/>
                  </a:lnTo>
                  <a:lnTo>
                    <a:pt x="96" y="396"/>
                  </a:lnTo>
                  <a:lnTo>
                    <a:pt x="96" y="390"/>
                  </a:lnTo>
                  <a:lnTo>
                    <a:pt x="90" y="390"/>
                  </a:lnTo>
                  <a:lnTo>
                    <a:pt x="90" y="384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78" y="372"/>
                  </a:lnTo>
                  <a:lnTo>
                    <a:pt x="78" y="366"/>
                  </a:lnTo>
                  <a:lnTo>
                    <a:pt x="78" y="360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6" y="348"/>
                  </a:lnTo>
                  <a:lnTo>
                    <a:pt x="66" y="342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6" y="336"/>
                  </a:lnTo>
                  <a:lnTo>
                    <a:pt x="66" y="342"/>
                  </a:lnTo>
                  <a:lnTo>
                    <a:pt x="72" y="348"/>
                  </a:lnTo>
                  <a:lnTo>
                    <a:pt x="78" y="354"/>
                  </a:lnTo>
                  <a:lnTo>
                    <a:pt x="84" y="360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0" y="360"/>
                  </a:lnTo>
                  <a:lnTo>
                    <a:pt x="84" y="360"/>
                  </a:lnTo>
                  <a:lnTo>
                    <a:pt x="84" y="354"/>
                  </a:lnTo>
                  <a:lnTo>
                    <a:pt x="78" y="348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66" y="330"/>
                  </a:lnTo>
                  <a:lnTo>
                    <a:pt x="66" y="324"/>
                  </a:lnTo>
                  <a:lnTo>
                    <a:pt x="60" y="318"/>
                  </a:lnTo>
                  <a:lnTo>
                    <a:pt x="60" y="312"/>
                  </a:lnTo>
                  <a:lnTo>
                    <a:pt x="54" y="306"/>
                  </a:lnTo>
                  <a:lnTo>
                    <a:pt x="54" y="300"/>
                  </a:lnTo>
                  <a:lnTo>
                    <a:pt x="54" y="294"/>
                  </a:lnTo>
                  <a:lnTo>
                    <a:pt x="48" y="288"/>
                  </a:lnTo>
                  <a:lnTo>
                    <a:pt x="48" y="294"/>
                  </a:lnTo>
                  <a:lnTo>
                    <a:pt x="48" y="288"/>
                  </a:lnTo>
                  <a:lnTo>
                    <a:pt x="48" y="282"/>
                  </a:lnTo>
                  <a:lnTo>
                    <a:pt x="48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18" y="216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62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68"/>
                  </a:lnTo>
                  <a:lnTo>
                    <a:pt x="42" y="168"/>
                  </a:lnTo>
                  <a:lnTo>
                    <a:pt x="42" y="174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86"/>
                  </a:lnTo>
                  <a:close/>
                  <a:moveTo>
                    <a:pt x="642" y="660"/>
                  </a:moveTo>
                  <a:lnTo>
                    <a:pt x="642" y="666"/>
                  </a:lnTo>
                  <a:lnTo>
                    <a:pt x="648" y="666"/>
                  </a:lnTo>
                  <a:lnTo>
                    <a:pt x="648" y="672"/>
                  </a:lnTo>
                  <a:lnTo>
                    <a:pt x="648" y="678"/>
                  </a:lnTo>
                  <a:lnTo>
                    <a:pt x="654" y="678"/>
                  </a:lnTo>
                  <a:lnTo>
                    <a:pt x="654" y="684"/>
                  </a:lnTo>
                  <a:lnTo>
                    <a:pt x="660" y="684"/>
                  </a:lnTo>
                  <a:lnTo>
                    <a:pt x="660" y="690"/>
                  </a:lnTo>
                  <a:lnTo>
                    <a:pt x="654" y="690"/>
                  </a:lnTo>
                  <a:lnTo>
                    <a:pt x="648" y="690"/>
                  </a:lnTo>
                  <a:lnTo>
                    <a:pt x="636" y="696"/>
                  </a:lnTo>
                  <a:lnTo>
                    <a:pt x="630" y="696"/>
                  </a:lnTo>
                  <a:lnTo>
                    <a:pt x="624" y="696"/>
                  </a:lnTo>
                  <a:lnTo>
                    <a:pt x="618" y="696"/>
                  </a:lnTo>
                  <a:lnTo>
                    <a:pt x="612" y="696"/>
                  </a:lnTo>
                  <a:lnTo>
                    <a:pt x="594" y="696"/>
                  </a:lnTo>
                  <a:lnTo>
                    <a:pt x="588" y="696"/>
                  </a:lnTo>
                  <a:lnTo>
                    <a:pt x="582" y="696"/>
                  </a:lnTo>
                  <a:lnTo>
                    <a:pt x="570" y="702"/>
                  </a:lnTo>
                  <a:lnTo>
                    <a:pt x="564" y="702"/>
                  </a:lnTo>
                  <a:lnTo>
                    <a:pt x="558" y="702"/>
                  </a:lnTo>
                  <a:lnTo>
                    <a:pt x="552" y="702"/>
                  </a:lnTo>
                  <a:lnTo>
                    <a:pt x="552" y="696"/>
                  </a:lnTo>
                  <a:lnTo>
                    <a:pt x="546" y="696"/>
                  </a:lnTo>
                  <a:lnTo>
                    <a:pt x="546" y="690"/>
                  </a:lnTo>
                  <a:lnTo>
                    <a:pt x="552" y="684"/>
                  </a:lnTo>
                  <a:lnTo>
                    <a:pt x="552" y="678"/>
                  </a:lnTo>
                  <a:lnTo>
                    <a:pt x="558" y="672"/>
                  </a:lnTo>
                  <a:lnTo>
                    <a:pt x="558" y="666"/>
                  </a:lnTo>
                  <a:lnTo>
                    <a:pt x="564" y="666"/>
                  </a:lnTo>
                  <a:lnTo>
                    <a:pt x="570" y="666"/>
                  </a:lnTo>
                  <a:lnTo>
                    <a:pt x="570" y="654"/>
                  </a:lnTo>
                  <a:lnTo>
                    <a:pt x="570" y="648"/>
                  </a:lnTo>
                  <a:lnTo>
                    <a:pt x="582" y="642"/>
                  </a:lnTo>
                  <a:lnTo>
                    <a:pt x="582" y="636"/>
                  </a:lnTo>
                  <a:lnTo>
                    <a:pt x="588" y="636"/>
                  </a:lnTo>
                  <a:lnTo>
                    <a:pt x="588" y="630"/>
                  </a:lnTo>
                  <a:lnTo>
                    <a:pt x="594" y="624"/>
                  </a:lnTo>
                  <a:lnTo>
                    <a:pt x="594" y="618"/>
                  </a:lnTo>
                  <a:lnTo>
                    <a:pt x="600" y="618"/>
                  </a:lnTo>
                  <a:lnTo>
                    <a:pt x="600" y="612"/>
                  </a:lnTo>
                  <a:lnTo>
                    <a:pt x="606" y="612"/>
                  </a:lnTo>
                  <a:lnTo>
                    <a:pt x="606" y="618"/>
                  </a:lnTo>
                  <a:lnTo>
                    <a:pt x="612" y="618"/>
                  </a:lnTo>
                  <a:lnTo>
                    <a:pt x="618" y="618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18" y="636"/>
                  </a:lnTo>
                  <a:lnTo>
                    <a:pt x="618" y="642"/>
                  </a:lnTo>
                  <a:lnTo>
                    <a:pt x="618" y="648"/>
                  </a:lnTo>
                  <a:lnTo>
                    <a:pt x="624" y="648"/>
                  </a:lnTo>
                  <a:lnTo>
                    <a:pt x="630" y="648"/>
                  </a:lnTo>
                  <a:lnTo>
                    <a:pt x="636" y="654"/>
                  </a:lnTo>
                  <a:lnTo>
                    <a:pt x="642" y="654"/>
                  </a:lnTo>
                  <a:lnTo>
                    <a:pt x="642" y="66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00" name="Freeform 5">
              <a:extLst>
                <a:ext uri="{FF2B5EF4-FFF2-40B4-BE49-F238E27FC236}">
                  <a16:creationId xmlns:a16="http://schemas.microsoft.com/office/drawing/2014/main" id="{5577BDCA-F2C7-42E0-A391-018D79AA29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0384" y="4231013"/>
              <a:ext cx="404750" cy="480848"/>
            </a:xfrm>
            <a:custGeom>
              <a:avLst/>
              <a:gdLst>
                <a:gd name="T0" fmla="*/ 9 w 762"/>
                <a:gd name="T1" fmla="*/ 58 h 900"/>
                <a:gd name="T2" fmla="*/ 4 w 762"/>
                <a:gd name="T3" fmla="*/ 56 h 900"/>
                <a:gd name="T4" fmla="*/ 0 w 762"/>
                <a:gd name="T5" fmla="*/ 49 h 900"/>
                <a:gd name="T6" fmla="*/ 4 w 762"/>
                <a:gd name="T7" fmla="*/ 36 h 900"/>
                <a:gd name="T8" fmla="*/ 8 w 762"/>
                <a:gd name="T9" fmla="*/ 28 h 900"/>
                <a:gd name="T10" fmla="*/ 7 w 762"/>
                <a:gd name="T11" fmla="*/ 13 h 900"/>
                <a:gd name="T12" fmla="*/ 15 w 762"/>
                <a:gd name="T13" fmla="*/ 0 h 900"/>
                <a:gd name="T14" fmla="*/ 16 w 762"/>
                <a:gd name="T15" fmla="*/ 13 h 900"/>
                <a:gd name="T16" fmla="*/ 31 w 762"/>
                <a:gd name="T17" fmla="*/ 28 h 900"/>
                <a:gd name="T18" fmla="*/ 49 w 762"/>
                <a:gd name="T19" fmla="*/ 33 h 900"/>
                <a:gd name="T20" fmla="*/ 42 w 762"/>
                <a:gd name="T21" fmla="*/ 48 h 900"/>
                <a:gd name="T22" fmla="*/ 51 w 762"/>
                <a:gd name="T23" fmla="*/ 48 h 900"/>
                <a:gd name="T24" fmla="*/ 61 w 762"/>
                <a:gd name="T25" fmla="*/ 51 h 900"/>
                <a:gd name="T26" fmla="*/ 63 w 762"/>
                <a:gd name="T27" fmla="*/ 60 h 900"/>
                <a:gd name="T28" fmla="*/ 63 w 762"/>
                <a:gd name="T29" fmla="*/ 66 h 900"/>
                <a:gd name="T30" fmla="*/ 65 w 762"/>
                <a:gd name="T31" fmla="*/ 69 h 900"/>
                <a:gd name="T32" fmla="*/ 66 w 762"/>
                <a:gd name="T33" fmla="*/ 72 h 900"/>
                <a:gd name="T34" fmla="*/ 56 w 762"/>
                <a:gd name="T35" fmla="*/ 73 h 900"/>
                <a:gd name="T36" fmla="*/ 55 w 762"/>
                <a:gd name="T37" fmla="*/ 69 h 900"/>
                <a:gd name="T38" fmla="*/ 57 w 762"/>
                <a:gd name="T39" fmla="*/ 67 h 900"/>
                <a:gd name="T40" fmla="*/ 55 w 762"/>
                <a:gd name="T41" fmla="*/ 65 h 900"/>
                <a:gd name="T42" fmla="*/ 53 w 762"/>
                <a:gd name="T43" fmla="*/ 68 h 900"/>
                <a:gd name="T44" fmla="*/ 49 w 762"/>
                <a:gd name="T45" fmla="*/ 68 h 900"/>
                <a:gd name="T46" fmla="*/ 44 w 762"/>
                <a:gd name="T47" fmla="*/ 63 h 900"/>
                <a:gd name="T48" fmla="*/ 40 w 762"/>
                <a:gd name="T49" fmla="*/ 59 h 900"/>
                <a:gd name="T50" fmla="*/ 38 w 762"/>
                <a:gd name="T51" fmla="*/ 57 h 900"/>
                <a:gd name="T52" fmla="*/ 43 w 762"/>
                <a:gd name="T53" fmla="*/ 62 h 900"/>
                <a:gd name="T54" fmla="*/ 43 w 762"/>
                <a:gd name="T55" fmla="*/ 66 h 900"/>
                <a:gd name="T56" fmla="*/ 41 w 762"/>
                <a:gd name="T57" fmla="*/ 71 h 900"/>
                <a:gd name="T58" fmla="*/ 37 w 762"/>
                <a:gd name="T59" fmla="*/ 69 h 900"/>
                <a:gd name="T60" fmla="*/ 35 w 762"/>
                <a:gd name="T61" fmla="*/ 64 h 900"/>
                <a:gd name="T62" fmla="*/ 31 w 762"/>
                <a:gd name="T63" fmla="*/ 57 h 900"/>
                <a:gd name="T64" fmla="*/ 30 w 762"/>
                <a:gd name="T65" fmla="*/ 62 h 900"/>
                <a:gd name="T66" fmla="*/ 29 w 762"/>
                <a:gd name="T67" fmla="*/ 61 h 900"/>
                <a:gd name="T68" fmla="*/ 31 w 762"/>
                <a:gd name="T69" fmla="*/ 66 h 900"/>
                <a:gd name="T70" fmla="*/ 33 w 762"/>
                <a:gd name="T71" fmla="*/ 72 h 900"/>
                <a:gd name="T72" fmla="*/ 32 w 762"/>
                <a:gd name="T73" fmla="*/ 76 h 900"/>
                <a:gd name="T74" fmla="*/ 28 w 762"/>
                <a:gd name="T75" fmla="*/ 75 h 900"/>
                <a:gd name="T76" fmla="*/ 24 w 762"/>
                <a:gd name="T77" fmla="*/ 69 h 900"/>
                <a:gd name="T78" fmla="*/ 24 w 762"/>
                <a:gd name="T79" fmla="*/ 62 h 900"/>
                <a:gd name="T80" fmla="*/ 23 w 762"/>
                <a:gd name="T81" fmla="*/ 62 h 900"/>
                <a:gd name="T82" fmla="*/ 23 w 762"/>
                <a:gd name="T83" fmla="*/ 68 h 900"/>
                <a:gd name="T84" fmla="*/ 25 w 762"/>
                <a:gd name="T85" fmla="*/ 77 h 900"/>
                <a:gd name="T86" fmla="*/ 17 w 762"/>
                <a:gd name="T87" fmla="*/ 74 h 900"/>
                <a:gd name="T88" fmla="*/ 17 w 762"/>
                <a:gd name="T89" fmla="*/ 67 h 900"/>
                <a:gd name="T90" fmla="*/ 16 w 762"/>
                <a:gd name="T91" fmla="*/ 67 h 900"/>
                <a:gd name="T92" fmla="*/ 15 w 762"/>
                <a:gd name="T93" fmla="*/ 71 h 900"/>
                <a:gd name="T94" fmla="*/ 12 w 762"/>
                <a:gd name="T95" fmla="*/ 68 h 900"/>
                <a:gd name="T96" fmla="*/ 15 w 762"/>
                <a:gd name="T97" fmla="*/ 72 h 900"/>
                <a:gd name="T98" fmla="*/ 17 w 762"/>
                <a:gd name="T99" fmla="*/ 77 h 900"/>
                <a:gd name="T100" fmla="*/ 11 w 762"/>
                <a:gd name="T101" fmla="*/ 77 h 900"/>
                <a:gd name="T102" fmla="*/ 10 w 762"/>
                <a:gd name="T103" fmla="*/ 69 h 900"/>
                <a:gd name="T104" fmla="*/ 11 w 762"/>
                <a:gd name="T105" fmla="*/ 72 h 900"/>
                <a:gd name="T106" fmla="*/ 9 w 762"/>
                <a:gd name="T107" fmla="*/ 78 h 900"/>
                <a:gd name="T108" fmla="*/ 43 w 762"/>
                <a:gd name="T109" fmla="*/ 71 h 900"/>
                <a:gd name="T110" fmla="*/ 51 w 762"/>
                <a:gd name="T111" fmla="*/ 69 h 900"/>
                <a:gd name="T112" fmla="*/ 43 w 762"/>
                <a:gd name="T113" fmla="*/ 76 h 900"/>
                <a:gd name="T114" fmla="*/ 36 w 762"/>
                <a:gd name="T115" fmla="*/ 65 h 900"/>
                <a:gd name="T116" fmla="*/ 38 w 762"/>
                <a:gd name="T117" fmla="*/ 72 h 900"/>
                <a:gd name="T118" fmla="*/ 34 w 762"/>
                <a:gd name="T119" fmla="*/ 69 h 900"/>
                <a:gd name="T120" fmla="*/ 29 w 762"/>
                <a:gd name="T121" fmla="*/ 64 h 900"/>
                <a:gd name="T122" fmla="*/ 32 w 762"/>
                <a:gd name="T123" fmla="*/ 66 h 9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900"/>
                <a:gd name="T188" fmla="*/ 762 w 762"/>
                <a:gd name="T189" fmla="*/ 900 h 90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900">
                  <a:moveTo>
                    <a:pt x="90" y="768"/>
                  </a:moveTo>
                  <a:lnTo>
                    <a:pt x="102" y="756"/>
                  </a:lnTo>
                  <a:lnTo>
                    <a:pt x="102" y="750"/>
                  </a:lnTo>
                  <a:lnTo>
                    <a:pt x="90" y="744"/>
                  </a:lnTo>
                  <a:lnTo>
                    <a:pt x="84" y="738"/>
                  </a:lnTo>
                  <a:lnTo>
                    <a:pt x="90" y="726"/>
                  </a:lnTo>
                  <a:lnTo>
                    <a:pt x="84" y="720"/>
                  </a:lnTo>
                  <a:lnTo>
                    <a:pt x="78" y="720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72" y="702"/>
                  </a:lnTo>
                  <a:lnTo>
                    <a:pt x="72" y="696"/>
                  </a:lnTo>
                  <a:lnTo>
                    <a:pt x="84" y="684"/>
                  </a:lnTo>
                  <a:lnTo>
                    <a:pt x="96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102" y="654"/>
                  </a:lnTo>
                  <a:lnTo>
                    <a:pt x="108" y="654"/>
                  </a:lnTo>
                  <a:lnTo>
                    <a:pt x="114" y="648"/>
                  </a:lnTo>
                  <a:lnTo>
                    <a:pt x="120" y="642"/>
                  </a:lnTo>
                  <a:lnTo>
                    <a:pt x="120" y="636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14" y="618"/>
                  </a:lnTo>
                  <a:lnTo>
                    <a:pt x="102" y="618"/>
                  </a:lnTo>
                  <a:lnTo>
                    <a:pt x="90" y="618"/>
                  </a:lnTo>
                  <a:lnTo>
                    <a:pt x="78" y="624"/>
                  </a:lnTo>
                  <a:lnTo>
                    <a:pt x="72" y="630"/>
                  </a:lnTo>
                  <a:lnTo>
                    <a:pt x="54" y="642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42" y="642"/>
                  </a:lnTo>
                  <a:lnTo>
                    <a:pt x="42" y="636"/>
                  </a:lnTo>
                  <a:lnTo>
                    <a:pt x="36" y="636"/>
                  </a:lnTo>
                  <a:lnTo>
                    <a:pt x="30" y="642"/>
                  </a:lnTo>
                  <a:lnTo>
                    <a:pt x="30" y="636"/>
                  </a:lnTo>
                  <a:lnTo>
                    <a:pt x="30" y="630"/>
                  </a:lnTo>
                  <a:lnTo>
                    <a:pt x="24" y="630"/>
                  </a:lnTo>
                  <a:lnTo>
                    <a:pt x="30" y="624"/>
                  </a:lnTo>
                  <a:lnTo>
                    <a:pt x="30" y="618"/>
                  </a:lnTo>
                  <a:lnTo>
                    <a:pt x="30" y="612"/>
                  </a:lnTo>
                  <a:lnTo>
                    <a:pt x="36" y="612"/>
                  </a:lnTo>
                  <a:lnTo>
                    <a:pt x="36" y="606"/>
                  </a:lnTo>
                  <a:lnTo>
                    <a:pt x="30" y="606"/>
                  </a:lnTo>
                  <a:lnTo>
                    <a:pt x="24" y="612"/>
                  </a:lnTo>
                  <a:lnTo>
                    <a:pt x="18" y="606"/>
                  </a:lnTo>
                  <a:lnTo>
                    <a:pt x="12" y="594"/>
                  </a:lnTo>
                  <a:lnTo>
                    <a:pt x="6" y="582"/>
                  </a:lnTo>
                  <a:lnTo>
                    <a:pt x="6" y="570"/>
                  </a:lnTo>
                  <a:lnTo>
                    <a:pt x="0" y="558"/>
                  </a:lnTo>
                  <a:lnTo>
                    <a:pt x="6" y="552"/>
                  </a:lnTo>
                  <a:lnTo>
                    <a:pt x="6" y="534"/>
                  </a:lnTo>
                  <a:lnTo>
                    <a:pt x="18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12" y="480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54" y="408"/>
                  </a:lnTo>
                  <a:lnTo>
                    <a:pt x="54" y="396"/>
                  </a:lnTo>
                  <a:lnTo>
                    <a:pt x="54" y="384"/>
                  </a:lnTo>
                  <a:lnTo>
                    <a:pt x="60" y="378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66"/>
                  </a:lnTo>
                  <a:lnTo>
                    <a:pt x="60" y="360"/>
                  </a:lnTo>
                  <a:lnTo>
                    <a:pt x="66" y="360"/>
                  </a:lnTo>
                  <a:lnTo>
                    <a:pt x="72" y="354"/>
                  </a:lnTo>
                  <a:lnTo>
                    <a:pt x="78" y="354"/>
                  </a:lnTo>
                  <a:lnTo>
                    <a:pt x="84" y="348"/>
                  </a:lnTo>
                  <a:lnTo>
                    <a:pt x="96" y="348"/>
                  </a:lnTo>
                  <a:lnTo>
                    <a:pt x="96" y="342"/>
                  </a:lnTo>
                  <a:lnTo>
                    <a:pt x="96" y="336"/>
                  </a:lnTo>
                  <a:lnTo>
                    <a:pt x="96" y="330"/>
                  </a:lnTo>
                  <a:lnTo>
                    <a:pt x="96" y="324"/>
                  </a:lnTo>
                  <a:lnTo>
                    <a:pt x="102" y="318"/>
                  </a:lnTo>
                  <a:lnTo>
                    <a:pt x="108" y="312"/>
                  </a:lnTo>
                  <a:lnTo>
                    <a:pt x="96" y="306"/>
                  </a:lnTo>
                  <a:lnTo>
                    <a:pt x="84" y="288"/>
                  </a:lnTo>
                  <a:lnTo>
                    <a:pt x="108" y="258"/>
                  </a:lnTo>
                  <a:lnTo>
                    <a:pt x="102" y="222"/>
                  </a:lnTo>
                  <a:lnTo>
                    <a:pt x="84" y="222"/>
                  </a:lnTo>
                  <a:lnTo>
                    <a:pt x="54" y="216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2"/>
                  </a:lnTo>
                  <a:lnTo>
                    <a:pt x="72" y="192"/>
                  </a:lnTo>
                  <a:lnTo>
                    <a:pt x="84" y="186"/>
                  </a:lnTo>
                  <a:lnTo>
                    <a:pt x="90" y="186"/>
                  </a:lnTo>
                  <a:lnTo>
                    <a:pt x="90" y="174"/>
                  </a:lnTo>
                  <a:lnTo>
                    <a:pt x="84" y="162"/>
                  </a:lnTo>
                  <a:lnTo>
                    <a:pt x="84" y="150"/>
                  </a:lnTo>
                  <a:lnTo>
                    <a:pt x="84" y="126"/>
                  </a:lnTo>
                  <a:lnTo>
                    <a:pt x="84" y="114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8" y="96"/>
                  </a:lnTo>
                  <a:lnTo>
                    <a:pt x="120" y="90"/>
                  </a:lnTo>
                  <a:lnTo>
                    <a:pt x="126" y="78"/>
                  </a:lnTo>
                  <a:lnTo>
                    <a:pt x="138" y="66"/>
                  </a:lnTo>
                  <a:lnTo>
                    <a:pt x="138" y="48"/>
                  </a:lnTo>
                  <a:lnTo>
                    <a:pt x="138" y="42"/>
                  </a:lnTo>
                  <a:lnTo>
                    <a:pt x="126" y="30"/>
                  </a:lnTo>
                  <a:lnTo>
                    <a:pt x="120" y="18"/>
                  </a:lnTo>
                  <a:lnTo>
                    <a:pt x="132" y="12"/>
                  </a:lnTo>
                  <a:lnTo>
                    <a:pt x="144" y="0"/>
                  </a:lnTo>
                  <a:lnTo>
                    <a:pt x="150" y="6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6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74" y="66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68" y="72"/>
                  </a:lnTo>
                  <a:lnTo>
                    <a:pt x="156" y="150"/>
                  </a:lnTo>
                  <a:lnTo>
                    <a:pt x="168" y="144"/>
                  </a:lnTo>
                  <a:lnTo>
                    <a:pt x="180" y="150"/>
                  </a:lnTo>
                  <a:lnTo>
                    <a:pt x="186" y="150"/>
                  </a:lnTo>
                  <a:lnTo>
                    <a:pt x="186" y="144"/>
                  </a:lnTo>
                  <a:lnTo>
                    <a:pt x="192" y="150"/>
                  </a:lnTo>
                  <a:lnTo>
                    <a:pt x="222" y="150"/>
                  </a:lnTo>
                  <a:lnTo>
                    <a:pt x="222" y="168"/>
                  </a:lnTo>
                  <a:lnTo>
                    <a:pt x="222" y="186"/>
                  </a:lnTo>
                  <a:lnTo>
                    <a:pt x="234" y="198"/>
                  </a:lnTo>
                  <a:lnTo>
                    <a:pt x="234" y="234"/>
                  </a:lnTo>
                  <a:lnTo>
                    <a:pt x="228" y="270"/>
                  </a:lnTo>
                  <a:lnTo>
                    <a:pt x="246" y="282"/>
                  </a:lnTo>
                  <a:lnTo>
                    <a:pt x="258" y="294"/>
                  </a:lnTo>
                  <a:lnTo>
                    <a:pt x="270" y="300"/>
                  </a:lnTo>
                  <a:lnTo>
                    <a:pt x="294" y="300"/>
                  </a:lnTo>
                  <a:lnTo>
                    <a:pt x="288" y="306"/>
                  </a:lnTo>
                  <a:lnTo>
                    <a:pt x="300" y="312"/>
                  </a:lnTo>
                  <a:lnTo>
                    <a:pt x="306" y="318"/>
                  </a:lnTo>
                  <a:lnTo>
                    <a:pt x="324" y="324"/>
                  </a:lnTo>
                  <a:lnTo>
                    <a:pt x="354" y="318"/>
                  </a:lnTo>
                  <a:lnTo>
                    <a:pt x="354" y="312"/>
                  </a:lnTo>
                  <a:lnTo>
                    <a:pt x="366" y="312"/>
                  </a:lnTo>
                  <a:lnTo>
                    <a:pt x="384" y="312"/>
                  </a:lnTo>
                  <a:lnTo>
                    <a:pt x="390" y="306"/>
                  </a:lnTo>
                  <a:lnTo>
                    <a:pt x="396" y="306"/>
                  </a:lnTo>
                  <a:lnTo>
                    <a:pt x="408" y="306"/>
                  </a:lnTo>
                  <a:lnTo>
                    <a:pt x="426" y="312"/>
                  </a:lnTo>
                  <a:lnTo>
                    <a:pt x="456" y="324"/>
                  </a:lnTo>
                  <a:lnTo>
                    <a:pt x="504" y="330"/>
                  </a:lnTo>
                  <a:lnTo>
                    <a:pt x="510" y="336"/>
                  </a:lnTo>
                  <a:lnTo>
                    <a:pt x="534" y="336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58" y="330"/>
                  </a:lnTo>
                  <a:lnTo>
                    <a:pt x="564" y="330"/>
                  </a:lnTo>
                  <a:lnTo>
                    <a:pt x="570" y="354"/>
                  </a:lnTo>
                  <a:lnTo>
                    <a:pt x="564" y="378"/>
                  </a:lnTo>
                  <a:lnTo>
                    <a:pt x="558" y="396"/>
                  </a:lnTo>
                  <a:lnTo>
                    <a:pt x="546" y="414"/>
                  </a:lnTo>
                  <a:lnTo>
                    <a:pt x="546" y="438"/>
                  </a:lnTo>
                  <a:lnTo>
                    <a:pt x="540" y="456"/>
                  </a:lnTo>
                  <a:lnTo>
                    <a:pt x="540" y="474"/>
                  </a:lnTo>
                  <a:lnTo>
                    <a:pt x="528" y="480"/>
                  </a:lnTo>
                  <a:lnTo>
                    <a:pt x="522" y="492"/>
                  </a:lnTo>
                  <a:lnTo>
                    <a:pt x="504" y="498"/>
                  </a:lnTo>
                  <a:lnTo>
                    <a:pt x="498" y="498"/>
                  </a:lnTo>
                  <a:lnTo>
                    <a:pt x="492" y="504"/>
                  </a:lnTo>
                  <a:lnTo>
                    <a:pt x="486" y="510"/>
                  </a:lnTo>
                  <a:lnTo>
                    <a:pt x="480" y="510"/>
                  </a:lnTo>
                  <a:lnTo>
                    <a:pt x="480" y="516"/>
                  </a:lnTo>
                  <a:lnTo>
                    <a:pt x="474" y="522"/>
                  </a:lnTo>
                  <a:lnTo>
                    <a:pt x="474" y="528"/>
                  </a:lnTo>
                  <a:lnTo>
                    <a:pt x="474" y="534"/>
                  </a:lnTo>
                  <a:lnTo>
                    <a:pt x="480" y="540"/>
                  </a:lnTo>
                  <a:lnTo>
                    <a:pt x="492" y="540"/>
                  </a:lnTo>
                  <a:lnTo>
                    <a:pt x="498" y="546"/>
                  </a:lnTo>
                  <a:lnTo>
                    <a:pt x="504" y="552"/>
                  </a:lnTo>
                  <a:lnTo>
                    <a:pt x="510" y="552"/>
                  </a:lnTo>
                  <a:lnTo>
                    <a:pt x="516" y="558"/>
                  </a:lnTo>
                  <a:lnTo>
                    <a:pt x="528" y="558"/>
                  </a:lnTo>
                  <a:lnTo>
                    <a:pt x="534" y="552"/>
                  </a:lnTo>
                  <a:lnTo>
                    <a:pt x="540" y="552"/>
                  </a:lnTo>
                  <a:lnTo>
                    <a:pt x="546" y="552"/>
                  </a:lnTo>
                  <a:lnTo>
                    <a:pt x="558" y="546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70" y="546"/>
                  </a:lnTo>
                  <a:lnTo>
                    <a:pt x="570" y="540"/>
                  </a:lnTo>
                  <a:lnTo>
                    <a:pt x="570" y="546"/>
                  </a:lnTo>
                  <a:lnTo>
                    <a:pt x="576" y="546"/>
                  </a:lnTo>
                  <a:lnTo>
                    <a:pt x="582" y="546"/>
                  </a:lnTo>
                  <a:lnTo>
                    <a:pt x="588" y="540"/>
                  </a:lnTo>
                  <a:lnTo>
                    <a:pt x="594" y="546"/>
                  </a:lnTo>
                  <a:lnTo>
                    <a:pt x="606" y="546"/>
                  </a:lnTo>
                  <a:lnTo>
                    <a:pt x="612" y="546"/>
                  </a:lnTo>
                  <a:lnTo>
                    <a:pt x="612" y="552"/>
                  </a:lnTo>
                  <a:lnTo>
                    <a:pt x="618" y="552"/>
                  </a:lnTo>
                  <a:lnTo>
                    <a:pt x="624" y="552"/>
                  </a:lnTo>
                  <a:lnTo>
                    <a:pt x="630" y="552"/>
                  </a:lnTo>
                  <a:lnTo>
                    <a:pt x="648" y="546"/>
                  </a:lnTo>
                  <a:lnTo>
                    <a:pt x="654" y="546"/>
                  </a:lnTo>
                  <a:lnTo>
                    <a:pt x="654" y="552"/>
                  </a:lnTo>
                  <a:lnTo>
                    <a:pt x="660" y="558"/>
                  </a:lnTo>
                  <a:lnTo>
                    <a:pt x="666" y="564"/>
                  </a:lnTo>
                  <a:lnTo>
                    <a:pt x="672" y="564"/>
                  </a:lnTo>
                  <a:lnTo>
                    <a:pt x="678" y="564"/>
                  </a:lnTo>
                  <a:lnTo>
                    <a:pt x="696" y="576"/>
                  </a:lnTo>
                  <a:lnTo>
                    <a:pt x="696" y="582"/>
                  </a:lnTo>
                  <a:lnTo>
                    <a:pt x="708" y="588"/>
                  </a:lnTo>
                  <a:lnTo>
                    <a:pt x="708" y="594"/>
                  </a:lnTo>
                  <a:lnTo>
                    <a:pt x="720" y="606"/>
                  </a:lnTo>
                  <a:lnTo>
                    <a:pt x="720" y="618"/>
                  </a:lnTo>
                  <a:lnTo>
                    <a:pt x="720" y="624"/>
                  </a:lnTo>
                  <a:lnTo>
                    <a:pt x="726" y="630"/>
                  </a:lnTo>
                  <a:lnTo>
                    <a:pt x="732" y="636"/>
                  </a:lnTo>
                  <a:lnTo>
                    <a:pt x="732" y="642"/>
                  </a:lnTo>
                  <a:lnTo>
                    <a:pt x="732" y="648"/>
                  </a:lnTo>
                  <a:lnTo>
                    <a:pt x="726" y="654"/>
                  </a:lnTo>
                  <a:lnTo>
                    <a:pt x="720" y="660"/>
                  </a:lnTo>
                  <a:lnTo>
                    <a:pt x="714" y="666"/>
                  </a:lnTo>
                  <a:lnTo>
                    <a:pt x="714" y="672"/>
                  </a:lnTo>
                  <a:lnTo>
                    <a:pt x="714" y="678"/>
                  </a:lnTo>
                  <a:lnTo>
                    <a:pt x="720" y="678"/>
                  </a:lnTo>
                  <a:lnTo>
                    <a:pt x="720" y="684"/>
                  </a:lnTo>
                  <a:lnTo>
                    <a:pt x="714" y="690"/>
                  </a:lnTo>
                  <a:lnTo>
                    <a:pt x="714" y="696"/>
                  </a:lnTo>
                  <a:lnTo>
                    <a:pt x="714" y="702"/>
                  </a:lnTo>
                  <a:lnTo>
                    <a:pt x="714" y="708"/>
                  </a:lnTo>
                  <a:lnTo>
                    <a:pt x="720" y="708"/>
                  </a:lnTo>
                  <a:lnTo>
                    <a:pt x="720" y="720"/>
                  </a:lnTo>
                  <a:lnTo>
                    <a:pt x="720" y="726"/>
                  </a:lnTo>
                  <a:lnTo>
                    <a:pt x="726" y="726"/>
                  </a:lnTo>
                  <a:lnTo>
                    <a:pt x="726" y="732"/>
                  </a:lnTo>
                  <a:lnTo>
                    <a:pt x="732" y="732"/>
                  </a:lnTo>
                  <a:lnTo>
                    <a:pt x="732" y="738"/>
                  </a:lnTo>
                  <a:lnTo>
                    <a:pt x="726" y="738"/>
                  </a:lnTo>
                  <a:lnTo>
                    <a:pt x="720" y="738"/>
                  </a:lnTo>
                  <a:lnTo>
                    <a:pt x="720" y="744"/>
                  </a:lnTo>
                  <a:lnTo>
                    <a:pt x="720" y="750"/>
                  </a:lnTo>
                  <a:lnTo>
                    <a:pt x="714" y="750"/>
                  </a:lnTo>
                  <a:lnTo>
                    <a:pt x="714" y="756"/>
                  </a:lnTo>
                  <a:lnTo>
                    <a:pt x="720" y="756"/>
                  </a:lnTo>
                  <a:lnTo>
                    <a:pt x="714" y="762"/>
                  </a:lnTo>
                  <a:lnTo>
                    <a:pt x="720" y="762"/>
                  </a:lnTo>
                  <a:lnTo>
                    <a:pt x="726" y="768"/>
                  </a:lnTo>
                  <a:lnTo>
                    <a:pt x="726" y="774"/>
                  </a:lnTo>
                  <a:lnTo>
                    <a:pt x="732" y="774"/>
                  </a:lnTo>
                  <a:lnTo>
                    <a:pt x="732" y="780"/>
                  </a:lnTo>
                  <a:lnTo>
                    <a:pt x="726" y="780"/>
                  </a:lnTo>
                  <a:lnTo>
                    <a:pt x="726" y="786"/>
                  </a:lnTo>
                  <a:lnTo>
                    <a:pt x="720" y="786"/>
                  </a:lnTo>
                  <a:lnTo>
                    <a:pt x="726" y="786"/>
                  </a:lnTo>
                  <a:lnTo>
                    <a:pt x="732" y="780"/>
                  </a:lnTo>
                  <a:lnTo>
                    <a:pt x="738" y="780"/>
                  </a:lnTo>
                  <a:lnTo>
                    <a:pt x="744" y="780"/>
                  </a:lnTo>
                  <a:lnTo>
                    <a:pt x="744" y="786"/>
                  </a:lnTo>
                  <a:lnTo>
                    <a:pt x="750" y="786"/>
                  </a:lnTo>
                  <a:lnTo>
                    <a:pt x="744" y="786"/>
                  </a:lnTo>
                  <a:lnTo>
                    <a:pt x="744" y="792"/>
                  </a:lnTo>
                  <a:lnTo>
                    <a:pt x="744" y="786"/>
                  </a:lnTo>
                  <a:lnTo>
                    <a:pt x="738" y="792"/>
                  </a:lnTo>
                  <a:lnTo>
                    <a:pt x="744" y="792"/>
                  </a:lnTo>
                  <a:lnTo>
                    <a:pt x="750" y="792"/>
                  </a:lnTo>
                  <a:lnTo>
                    <a:pt x="750" y="786"/>
                  </a:lnTo>
                  <a:lnTo>
                    <a:pt x="756" y="786"/>
                  </a:lnTo>
                  <a:lnTo>
                    <a:pt x="756" y="792"/>
                  </a:lnTo>
                  <a:lnTo>
                    <a:pt x="762" y="792"/>
                  </a:lnTo>
                  <a:lnTo>
                    <a:pt x="756" y="798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0" y="810"/>
                  </a:lnTo>
                  <a:lnTo>
                    <a:pt x="756" y="810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6" y="816"/>
                  </a:lnTo>
                  <a:lnTo>
                    <a:pt x="750" y="816"/>
                  </a:lnTo>
                  <a:lnTo>
                    <a:pt x="738" y="810"/>
                  </a:lnTo>
                  <a:lnTo>
                    <a:pt x="732" y="810"/>
                  </a:lnTo>
                  <a:lnTo>
                    <a:pt x="732" y="816"/>
                  </a:lnTo>
                  <a:lnTo>
                    <a:pt x="726" y="810"/>
                  </a:lnTo>
                  <a:lnTo>
                    <a:pt x="714" y="816"/>
                  </a:lnTo>
                  <a:lnTo>
                    <a:pt x="708" y="816"/>
                  </a:lnTo>
                  <a:lnTo>
                    <a:pt x="702" y="816"/>
                  </a:lnTo>
                  <a:lnTo>
                    <a:pt x="696" y="816"/>
                  </a:lnTo>
                  <a:lnTo>
                    <a:pt x="690" y="822"/>
                  </a:lnTo>
                  <a:lnTo>
                    <a:pt x="684" y="822"/>
                  </a:lnTo>
                  <a:lnTo>
                    <a:pt x="678" y="822"/>
                  </a:lnTo>
                  <a:lnTo>
                    <a:pt x="672" y="822"/>
                  </a:lnTo>
                  <a:lnTo>
                    <a:pt x="666" y="822"/>
                  </a:lnTo>
                  <a:lnTo>
                    <a:pt x="666" y="828"/>
                  </a:lnTo>
                  <a:lnTo>
                    <a:pt x="654" y="828"/>
                  </a:lnTo>
                  <a:lnTo>
                    <a:pt x="648" y="828"/>
                  </a:lnTo>
                  <a:lnTo>
                    <a:pt x="642" y="828"/>
                  </a:lnTo>
                  <a:lnTo>
                    <a:pt x="630" y="828"/>
                  </a:lnTo>
                  <a:lnTo>
                    <a:pt x="624" y="822"/>
                  </a:lnTo>
                  <a:lnTo>
                    <a:pt x="618" y="822"/>
                  </a:lnTo>
                  <a:lnTo>
                    <a:pt x="612" y="822"/>
                  </a:lnTo>
                  <a:lnTo>
                    <a:pt x="606" y="822"/>
                  </a:lnTo>
                  <a:lnTo>
                    <a:pt x="600" y="822"/>
                  </a:lnTo>
                  <a:lnTo>
                    <a:pt x="594" y="822"/>
                  </a:lnTo>
                  <a:lnTo>
                    <a:pt x="594" y="816"/>
                  </a:lnTo>
                  <a:lnTo>
                    <a:pt x="594" y="810"/>
                  </a:lnTo>
                  <a:lnTo>
                    <a:pt x="600" y="804"/>
                  </a:lnTo>
                  <a:lnTo>
                    <a:pt x="600" y="798"/>
                  </a:lnTo>
                  <a:lnTo>
                    <a:pt x="600" y="792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2" y="786"/>
                  </a:lnTo>
                  <a:lnTo>
                    <a:pt x="618" y="786"/>
                  </a:lnTo>
                  <a:lnTo>
                    <a:pt x="624" y="786"/>
                  </a:lnTo>
                  <a:lnTo>
                    <a:pt x="624" y="780"/>
                  </a:lnTo>
                  <a:lnTo>
                    <a:pt x="630" y="780"/>
                  </a:lnTo>
                  <a:lnTo>
                    <a:pt x="630" y="774"/>
                  </a:lnTo>
                  <a:lnTo>
                    <a:pt x="636" y="774"/>
                  </a:lnTo>
                  <a:lnTo>
                    <a:pt x="642" y="780"/>
                  </a:lnTo>
                  <a:lnTo>
                    <a:pt x="642" y="786"/>
                  </a:lnTo>
                  <a:lnTo>
                    <a:pt x="642" y="792"/>
                  </a:lnTo>
                  <a:lnTo>
                    <a:pt x="648" y="792"/>
                  </a:lnTo>
                  <a:lnTo>
                    <a:pt x="648" y="786"/>
                  </a:lnTo>
                  <a:lnTo>
                    <a:pt x="642" y="786"/>
                  </a:lnTo>
                  <a:lnTo>
                    <a:pt x="642" y="780"/>
                  </a:lnTo>
                  <a:lnTo>
                    <a:pt x="642" y="774"/>
                  </a:lnTo>
                  <a:lnTo>
                    <a:pt x="648" y="768"/>
                  </a:lnTo>
                  <a:lnTo>
                    <a:pt x="642" y="768"/>
                  </a:lnTo>
                  <a:lnTo>
                    <a:pt x="648" y="768"/>
                  </a:lnTo>
                  <a:lnTo>
                    <a:pt x="648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66" y="762"/>
                  </a:lnTo>
                  <a:lnTo>
                    <a:pt x="672" y="756"/>
                  </a:lnTo>
                  <a:lnTo>
                    <a:pt x="666" y="756"/>
                  </a:lnTo>
                  <a:lnTo>
                    <a:pt x="660" y="756"/>
                  </a:lnTo>
                  <a:lnTo>
                    <a:pt x="660" y="750"/>
                  </a:lnTo>
                  <a:lnTo>
                    <a:pt x="654" y="750"/>
                  </a:lnTo>
                  <a:lnTo>
                    <a:pt x="648" y="750"/>
                  </a:lnTo>
                  <a:lnTo>
                    <a:pt x="648" y="756"/>
                  </a:lnTo>
                  <a:lnTo>
                    <a:pt x="642" y="756"/>
                  </a:lnTo>
                  <a:lnTo>
                    <a:pt x="642" y="750"/>
                  </a:lnTo>
                  <a:lnTo>
                    <a:pt x="642" y="744"/>
                  </a:lnTo>
                  <a:lnTo>
                    <a:pt x="642" y="750"/>
                  </a:lnTo>
                  <a:lnTo>
                    <a:pt x="636" y="750"/>
                  </a:lnTo>
                  <a:lnTo>
                    <a:pt x="636" y="744"/>
                  </a:lnTo>
                  <a:lnTo>
                    <a:pt x="630" y="744"/>
                  </a:lnTo>
                  <a:lnTo>
                    <a:pt x="630" y="738"/>
                  </a:lnTo>
                  <a:lnTo>
                    <a:pt x="630" y="744"/>
                  </a:lnTo>
                  <a:lnTo>
                    <a:pt x="630" y="750"/>
                  </a:lnTo>
                  <a:lnTo>
                    <a:pt x="636" y="750"/>
                  </a:lnTo>
                  <a:lnTo>
                    <a:pt x="636" y="756"/>
                  </a:lnTo>
                  <a:lnTo>
                    <a:pt x="630" y="756"/>
                  </a:lnTo>
                  <a:lnTo>
                    <a:pt x="636" y="762"/>
                  </a:lnTo>
                  <a:lnTo>
                    <a:pt x="630" y="762"/>
                  </a:lnTo>
                  <a:lnTo>
                    <a:pt x="624" y="762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24" y="786"/>
                  </a:lnTo>
                  <a:lnTo>
                    <a:pt x="618" y="786"/>
                  </a:lnTo>
                  <a:lnTo>
                    <a:pt x="618" y="78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12" y="774"/>
                  </a:lnTo>
                  <a:lnTo>
                    <a:pt x="612" y="780"/>
                  </a:lnTo>
                  <a:lnTo>
                    <a:pt x="606" y="780"/>
                  </a:lnTo>
                  <a:lnTo>
                    <a:pt x="600" y="780"/>
                  </a:lnTo>
                  <a:lnTo>
                    <a:pt x="600" y="774"/>
                  </a:lnTo>
                  <a:lnTo>
                    <a:pt x="594" y="768"/>
                  </a:lnTo>
                  <a:lnTo>
                    <a:pt x="594" y="762"/>
                  </a:lnTo>
                  <a:lnTo>
                    <a:pt x="594" y="756"/>
                  </a:lnTo>
                  <a:lnTo>
                    <a:pt x="594" y="762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594" y="780"/>
                  </a:lnTo>
                  <a:lnTo>
                    <a:pt x="588" y="780"/>
                  </a:lnTo>
                  <a:lnTo>
                    <a:pt x="582" y="780"/>
                  </a:lnTo>
                  <a:lnTo>
                    <a:pt x="576" y="780"/>
                  </a:lnTo>
                  <a:lnTo>
                    <a:pt x="570" y="780"/>
                  </a:lnTo>
                  <a:lnTo>
                    <a:pt x="564" y="780"/>
                  </a:lnTo>
                  <a:lnTo>
                    <a:pt x="564" y="786"/>
                  </a:lnTo>
                  <a:lnTo>
                    <a:pt x="558" y="786"/>
                  </a:lnTo>
                  <a:lnTo>
                    <a:pt x="552" y="786"/>
                  </a:lnTo>
                  <a:lnTo>
                    <a:pt x="552" y="780"/>
                  </a:lnTo>
                  <a:lnTo>
                    <a:pt x="552" y="774"/>
                  </a:lnTo>
                  <a:lnTo>
                    <a:pt x="552" y="768"/>
                  </a:lnTo>
                  <a:lnTo>
                    <a:pt x="546" y="768"/>
                  </a:lnTo>
                  <a:lnTo>
                    <a:pt x="540" y="762"/>
                  </a:lnTo>
                  <a:lnTo>
                    <a:pt x="540" y="756"/>
                  </a:lnTo>
                  <a:lnTo>
                    <a:pt x="534" y="756"/>
                  </a:lnTo>
                  <a:lnTo>
                    <a:pt x="534" y="750"/>
                  </a:lnTo>
                  <a:lnTo>
                    <a:pt x="534" y="744"/>
                  </a:lnTo>
                  <a:lnTo>
                    <a:pt x="528" y="738"/>
                  </a:lnTo>
                  <a:lnTo>
                    <a:pt x="522" y="738"/>
                  </a:lnTo>
                  <a:lnTo>
                    <a:pt x="522" y="732"/>
                  </a:lnTo>
                  <a:lnTo>
                    <a:pt x="510" y="726"/>
                  </a:lnTo>
                  <a:lnTo>
                    <a:pt x="510" y="720"/>
                  </a:lnTo>
                  <a:lnTo>
                    <a:pt x="504" y="720"/>
                  </a:lnTo>
                  <a:lnTo>
                    <a:pt x="504" y="714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8" y="702"/>
                  </a:lnTo>
                  <a:lnTo>
                    <a:pt x="498" y="696"/>
                  </a:lnTo>
                  <a:lnTo>
                    <a:pt x="492" y="690"/>
                  </a:lnTo>
                  <a:lnTo>
                    <a:pt x="492" y="684"/>
                  </a:lnTo>
                  <a:lnTo>
                    <a:pt x="486" y="684"/>
                  </a:lnTo>
                  <a:lnTo>
                    <a:pt x="486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74" y="678"/>
                  </a:lnTo>
                  <a:lnTo>
                    <a:pt x="468" y="678"/>
                  </a:lnTo>
                  <a:lnTo>
                    <a:pt x="462" y="678"/>
                  </a:lnTo>
                  <a:lnTo>
                    <a:pt x="462" y="672"/>
                  </a:lnTo>
                  <a:lnTo>
                    <a:pt x="456" y="672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44" y="666"/>
                  </a:lnTo>
                  <a:lnTo>
                    <a:pt x="438" y="660"/>
                  </a:lnTo>
                  <a:lnTo>
                    <a:pt x="438" y="648"/>
                  </a:lnTo>
                  <a:lnTo>
                    <a:pt x="438" y="642"/>
                  </a:lnTo>
                  <a:lnTo>
                    <a:pt x="438" y="636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36"/>
                  </a:lnTo>
                  <a:lnTo>
                    <a:pt x="420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60"/>
                  </a:lnTo>
                  <a:lnTo>
                    <a:pt x="432" y="666"/>
                  </a:lnTo>
                  <a:lnTo>
                    <a:pt x="438" y="666"/>
                  </a:lnTo>
                  <a:lnTo>
                    <a:pt x="438" y="672"/>
                  </a:lnTo>
                  <a:lnTo>
                    <a:pt x="444" y="672"/>
                  </a:lnTo>
                  <a:lnTo>
                    <a:pt x="444" y="678"/>
                  </a:lnTo>
                  <a:lnTo>
                    <a:pt x="450" y="678"/>
                  </a:lnTo>
                  <a:lnTo>
                    <a:pt x="456" y="678"/>
                  </a:lnTo>
                  <a:lnTo>
                    <a:pt x="456" y="684"/>
                  </a:lnTo>
                  <a:lnTo>
                    <a:pt x="462" y="684"/>
                  </a:lnTo>
                  <a:lnTo>
                    <a:pt x="468" y="684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80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86" y="708"/>
                  </a:lnTo>
                  <a:lnTo>
                    <a:pt x="492" y="714"/>
                  </a:lnTo>
                  <a:lnTo>
                    <a:pt x="492" y="720"/>
                  </a:lnTo>
                  <a:lnTo>
                    <a:pt x="492" y="726"/>
                  </a:lnTo>
                  <a:lnTo>
                    <a:pt x="498" y="732"/>
                  </a:lnTo>
                  <a:lnTo>
                    <a:pt x="492" y="738"/>
                  </a:lnTo>
                  <a:lnTo>
                    <a:pt x="492" y="744"/>
                  </a:lnTo>
                  <a:lnTo>
                    <a:pt x="492" y="750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68" y="738"/>
                  </a:lnTo>
                  <a:lnTo>
                    <a:pt x="468" y="744"/>
                  </a:lnTo>
                  <a:lnTo>
                    <a:pt x="474" y="750"/>
                  </a:lnTo>
                  <a:lnTo>
                    <a:pt x="480" y="756"/>
                  </a:lnTo>
                  <a:lnTo>
                    <a:pt x="486" y="756"/>
                  </a:lnTo>
                  <a:lnTo>
                    <a:pt x="492" y="762"/>
                  </a:lnTo>
                  <a:lnTo>
                    <a:pt x="498" y="768"/>
                  </a:lnTo>
                  <a:lnTo>
                    <a:pt x="492" y="774"/>
                  </a:lnTo>
                  <a:lnTo>
                    <a:pt x="492" y="780"/>
                  </a:lnTo>
                  <a:lnTo>
                    <a:pt x="498" y="780"/>
                  </a:lnTo>
                  <a:lnTo>
                    <a:pt x="492" y="786"/>
                  </a:lnTo>
                  <a:lnTo>
                    <a:pt x="492" y="792"/>
                  </a:lnTo>
                  <a:lnTo>
                    <a:pt x="492" y="79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0" y="810"/>
                  </a:lnTo>
                  <a:lnTo>
                    <a:pt x="480" y="804"/>
                  </a:lnTo>
                  <a:lnTo>
                    <a:pt x="474" y="804"/>
                  </a:lnTo>
                  <a:lnTo>
                    <a:pt x="474" y="798"/>
                  </a:lnTo>
                  <a:lnTo>
                    <a:pt x="474" y="804"/>
                  </a:lnTo>
                  <a:lnTo>
                    <a:pt x="468" y="804"/>
                  </a:lnTo>
                  <a:lnTo>
                    <a:pt x="468" y="810"/>
                  </a:lnTo>
                  <a:lnTo>
                    <a:pt x="462" y="810"/>
                  </a:lnTo>
                  <a:lnTo>
                    <a:pt x="456" y="810"/>
                  </a:lnTo>
                  <a:lnTo>
                    <a:pt x="450" y="810"/>
                  </a:lnTo>
                  <a:lnTo>
                    <a:pt x="450" y="816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50" y="822"/>
                  </a:lnTo>
                  <a:lnTo>
                    <a:pt x="450" y="816"/>
                  </a:lnTo>
                  <a:lnTo>
                    <a:pt x="444" y="816"/>
                  </a:lnTo>
                  <a:lnTo>
                    <a:pt x="438" y="810"/>
                  </a:lnTo>
                  <a:lnTo>
                    <a:pt x="432" y="810"/>
                  </a:lnTo>
                  <a:lnTo>
                    <a:pt x="426" y="804"/>
                  </a:lnTo>
                  <a:lnTo>
                    <a:pt x="426" y="798"/>
                  </a:lnTo>
                  <a:lnTo>
                    <a:pt x="420" y="798"/>
                  </a:lnTo>
                  <a:lnTo>
                    <a:pt x="426" y="798"/>
                  </a:lnTo>
                  <a:lnTo>
                    <a:pt x="426" y="792"/>
                  </a:lnTo>
                  <a:lnTo>
                    <a:pt x="426" y="786"/>
                  </a:lnTo>
                  <a:lnTo>
                    <a:pt x="432" y="786"/>
                  </a:lnTo>
                  <a:lnTo>
                    <a:pt x="432" y="780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0" y="756"/>
                  </a:lnTo>
                  <a:lnTo>
                    <a:pt x="420" y="750"/>
                  </a:lnTo>
                  <a:lnTo>
                    <a:pt x="414" y="750"/>
                  </a:lnTo>
                  <a:lnTo>
                    <a:pt x="420" y="750"/>
                  </a:lnTo>
                  <a:lnTo>
                    <a:pt x="420" y="744"/>
                  </a:lnTo>
                  <a:lnTo>
                    <a:pt x="414" y="744"/>
                  </a:lnTo>
                  <a:lnTo>
                    <a:pt x="414" y="738"/>
                  </a:lnTo>
                  <a:lnTo>
                    <a:pt x="414" y="732"/>
                  </a:lnTo>
                  <a:lnTo>
                    <a:pt x="408" y="732"/>
                  </a:lnTo>
                  <a:lnTo>
                    <a:pt x="408" y="726"/>
                  </a:lnTo>
                  <a:lnTo>
                    <a:pt x="402" y="726"/>
                  </a:lnTo>
                  <a:lnTo>
                    <a:pt x="396" y="726"/>
                  </a:lnTo>
                  <a:lnTo>
                    <a:pt x="390" y="726"/>
                  </a:lnTo>
                  <a:lnTo>
                    <a:pt x="390" y="720"/>
                  </a:lnTo>
                  <a:lnTo>
                    <a:pt x="390" y="714"/>
                  </a:lnTo>
                  <a:lnTo>
                    <a:pt x="384" y="708"/>
                  </a:lnTo>
                  <a:lnTo>
                    <a:pt x="384" y="702"/>
                  </a:lnTo>
                  <a:lnTo>
                    <a:pt x="378" y="702"/>
                  </a:lnTo>
                  <a:lnTo>
                    <a:pt x="378" y="696"/>
                  </a:lnTo>
                  <a:lnTo>
                    <a:pt x="378" y="690"/>
                  </a:lnTo>
                  <a:lnTo>
                    <a:pt x="372" y="684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66" y="666"/>
                  </a:lnTo>
                  <a:lnTo>
                    <a:pt x="366" y="660"/>
                  </a:lnTo>
                  <a:lnTo>
                    <a:pt x="366" y="654"/>
                  </a:lnTo>
                  <a:lnTo>
                    <a:pt x="360" y="648"/>
                  </a:lnTo>
                  <a:lnTo>
                    <a:pt x="360" y="654"/>
                  </a:lnTo>
                  <a:lnTo>
                    <a:pt x="360" y="660"/>
                  </a:lnTo>
                  <a:lnTo>
                    <a:pt x="360" y="666"/>
                  </a:lnTo>
                  <a:lnTo>
                    <a:pt x="360" y="672"/>
                  </a:lnTo>
                  <a:lnTo>
                    <a:pt x="360" y="678"/>
                  </a:lnTo>
                  <a:lnTo>
                    <a:pt x="366" y="678"/>
                  </a:lnTo>
                  <a:lnTo>
                    <a:pt x="366" y="684"/>
                  </a:lnTo>
                  <a:lnTo>
                    <a:pt x="366" y="690"/>
                  </a:lnTo>
                  <a:lnTo>
                    <a:pt x="372" y="696"/>
                  </a:lnTo>
                  <a:lnTo>
                    <a:pt x="372" y="702"/>
                  </a:lnTo>
                  <a:lnTo>
                    <a:pt x="372" y="708"/>
                  </a:lnTo>
                  <a:lnTo>
                    <a:pt x="372" y="714"/>
                  </a:lnTo>
                  <a:lnTo>
                    <a:pt x="366" y="714"/>
                  </a:lnTo>
                  <a:lnTo>
                    <a:pt x="360" y="714"/>
                  </a:lnTo>
                  <a:lnTo>
                    <a:pt x="354" y="714"/>
                  </a:lnTo>
                  <a:lnTo>
                    <a:pt x="348" y="714"/>
                  </a:lnTo>
                  <a:lnTo>
                    <a:pt x="348" y="708"/>
                  </a:lnTo>
                  <a:lnTo>
                    <a:pt x="342" y="708"/>
                  </a:lnTo>
                  <a:lnTo>
                    <a:pt x="342" y="702"/>
                  </a:lnTo>
                  <a:lnTo>
                    <a:pt x="342" y="696"/>
                  </a:lnTo>
                  <a:lnTo>
                    <a:pt x="336" y="696"/>
                  </a:lnTo>
                  <a:lnTo>
                    <a:pt x="336" y="690"/>
                  </a:lnTo>
                  <a:lnTo>
                    <a:pt x="336" y="684"/>
                  </a:lnTo>
                  <a:lnTo>
                    <a:pt x="330" y="684"/>
                  </a:lnTo>
                  <a:lnTo>
                    <a:pt x="330" y="678"/>
                  </a:lnTo>
                  <a:lnTo>
                    <a:pt x="324" y="672"/>
                  </a:lnTo>
                  <a:lnTo>
                    <a:pt x="324" y="666"/>
                  </a:lnTo>
                  <a:lnTo>
                    <a:pt x="318" y="666"/>
                  </a:lnTo>
                  <a:lnTo>
                    <a:pt x="318" y="672"/>
                  </a:lnTo>
                  <a:lnTo>
                    <a:pt x="324" y="672"/>
                  </a:lnTo>
                  <a:lnTo>
                    <a:pt x="324" y="678"/>
                  </a:lnTo>
                  <a:lnTo>
                    <a:pt x="324" y="684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30" y="696"/>
                  </a:lnTo>
                  <a:lnTo>
                    <a:pt x="336" y="702"/>
                  </a:lnTo>
                  <a:lnTo>
                    <a:pt x="342" y="708"/>
                  </a:lnTo>
                  <a:lnTo>
                    <a:pt x="342" y="714"/>
                  </a:lnTo>
                  <a:lnTo>
                    <a:pt x="348" y="720"/>
                  </a:lnTo>
                  <a:lnTo>
                    <a:pt x="342" y="720"/>
                  </a:lnTo>
                  <a:lnTo>
                    <a:pt x="336" y="720"/>
                  </a:lnTo>
                  <a:lnTo>
                    <a:pt x="330" y="720"/>
                  </a:lnTo>
                  <a:lnTo>
                    <a:pt x="330" y="726"/>
                  </a:lnTo>
                  <a:lnTo>
                    <a:pt x="336" y="726"/>
                  </a:lnTo>
                  <a:lnTo>
                    <a:pt x="330" y="732"/>
                  </a:lnTo>
                  <a:lnTo>
                    <a:pt x="330" y="738"/>
                  </a:lnTo>
                  <a:lnTo>
                    <a:pt x="330" y="744"/>
                  </a:lnTo>
                  <a:lnTo>
                    <a:pt x="336" y="744"/>
                  </a:lnTo>
                  <a:lnTo>
                    <a:pt x="342" y="744"/>
                  </a:lnTo>
                  <a:lnTo>
                    <a:pt x="348" y="744"/>
                  </a:lnTo>
                  <a:lnTo>
                    <a:pt x="348" y="750"/>
                  </a:lnTo>
                  <a:lnTo>
                    <a:pt x="354" y="750"/>
                  </a:lnTo>
                  <a:lnTo>
                    <a:pt x="360" y="756"/>
                  </a:lnTo>
                  <a:lnTo>
                    <a:pt x="360" y="762"/>
                  </a:lnTo>
                  <a:lnTo>
                    <a:pt x="366" y="762"/>
                  </a:lnTo>
                  <a:lnTo>
                    <a:pt x="366" y="768"/>
                  </a:lnTo>
                  <a:lnTo>
                    <a:pt x="366" y="774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72" y="792"/>
                  </a:lnTo>
                  <a:lnTo>
                    <a:pt x="372" y="798"/>
                  </a:lnTo>
                  <a:lnTo>
                    <a:pt x="372" y="804"/>
                  </a:lnTo>
                  <a:lnTo>
                    <a:pt x="378" y="804"/>
                  </a:lnTo>
                  <a:lnTo>
                    <a:pt x="378" y="810"/>
                  </a:lnTo>
                  <a:lnTo>
                    <a:pt x="378" y="816"/>
                  </a:lnTo>
                  <a:lnTo>
                    <a:pt x="372" y="816"/>
                  </a:lnTo>
                  <a:lnTo>
                    <a:pt x="378" y="816"/>
                  </a:lnTo>
                  <a:lnTo>
                    <a:pt x="378" y="822"/>
                  </a:lnTo>
                  <a:lnTo>
                    <a:pt x="378" y="828"/>
                  </a:lnTo>
                  <a:lnTo>
                    <a:pt x="378" y="834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0" y="864"/>
                  </a:lnTo>
                  <a:lnTo>
                    <a:pt x="384" y="864"/>
                  </a:lnTo>
                  <a:lnTo>
                    <a:pt x="384" y="870"/>
                  </a:lnTo>
                  <a:lnTo>
                    <a:pt x="378" y="864"/>
                  </a:lnTo>
                  <a:lnTo>
                    <a:pt x="372" y="864"/>
                  </a:lnTo>
                  <a:lnTo>
                    <a:pt x="366" y="858"/>
                  </a:lnTo>
                  <a:lnTo>
                    <a:pt x="366" y="852"/>
                  </a:lnTo>
                  <a:lnTo>
                    <a:pt x="360" y="852"/>
                  </a:lnTo>
                  <a:lnTo>
                    <a:pt x="360" y="858"/>
                  </a:lnTo>
                  <a:lnTo>
                    <a:pt x="366" y="858"/>
                  </a:lnTo>
                  <a:lnTo>
                    <a:pt x="366" y="864"/>
                  </a:lnTo>
                  <a:lnTo>
                    <a:pt x="360" y="864"/>
                  </a:lnTo>
                  <a:lnTo>
                    <a:pt x="354" y="864"/>
                  </a:lnTo>
                  <a:lnTo>
                    <a:pt x="354" y="870"/>
                  </a:lnTo>
                  <a:lnTo>
                    <a:pt x="354" y="864"/>
                  </a:lnTo>
                  <a:lnTo>
                    <a:pt x="348" y="864"/>
                  </a:lnTo>
                  <a:lnTo>
                    <a:pt x="342" y="864"/>
                  </a:lnTo>
                  <a:lnTo>
                    <a:pt x="342" y="858"/>
                  </a:lnTo>
                  <a:lnTo>
                    <a:pt x="336" y="858"/>
                  </a:lnTo>
                  <a:lnTo>
                    <a:pt x="330" y="858"/>
                  </a:lnTo>
                  <a:lnTo>
                    <a:pt x="324" y="858"/>
                  </a:lnTo>
                  <a:lnTo>
                    <a:pt x="318" y="858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0" y="852"/>
                  </a:lnTo>
                  <a:lnTo>
                    <a:pt x="294" y="852"/>
                  </a:lnTo>
                  <a:lnTo>
                    <a:pt x="294" y="846"/>
                  </a:lnTo>
                  <a:lnTo>
                    <a:pt x="288" y="840"/>
                  </a:lnTo>
                  <a:lnTo>
                    <a:pt x="288" y="828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2" y="816"/>
                  </a:lnTo>
                  <a:lnTo>
                    <a:pt x="282" y="810"/>
                  </a:lnTo>
                  <a:lnTo>
                    <a:pt x="276" y="810"/>
                  </a:lnTo>
                  <a:lnTo>
                    <a:pt x="276" y="804"/>
                  </a:lnTo>
                  <a:lnTo>
                    <a:pt x="276" y="798"/>
                  </a:lnTo>
                  <a:lnTo>
                    <a:pt x="276" y="792"/>
                  </a:lnTo>
                  <a:lnTo>
                    <a:pt x="270" y="786"/>
                  </a:lnTo>
                  <a:lnTo>
                    <a:pt x="270" y="780"/>
                  </a:lnTo>
                  <a:lnTo>
                    <a:pt x="270" y="774"/>
                  </a:lnTo>
                  <a:lnTo>
                    <a:pt x="264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64" y="750"/>
                  </a:lnTo>
                  <a:lnTo>
                    <a:pt x="264" y="744"/>
                  </a:lnTo>
                  <a:lnTo>
                    <a:pt x="264" y="738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26"/>
                  </a:lnTo>
                  <a:lnTo>
                    <a:pt x="276" y="720"/>
                  </a:lnTo>
                  <a:lnTo>
                    <a:pt x="282" y="720"/>
                  </a:lnTo>
                  <a:lnTo>
                    <a:pt x="282" y="714"/>
                  </a:lnTo>
                  <a:lnTo>
                    <a:pt x="282" y="708"/>
                  </a:lnTo>
                  <a:lnTo>
                    <a:pt x="276" y="708"/>
                  </a:lnTo>
                  <a:lnTo>
                    <a:pt x="276" y="702"/>
                  </a:lnTo>
                  <a:lnTo>
                    <a:pt x="270" y="702"/>
                  </a:lnTo>
                  <a:lnTo>
                    <a:pt x="270" y="696"/>
                  </a:lnTo>
                  <a:lnTo>
                    <a:pt x="264" y="690"/>
                  </a:lnTo>
                  <a:lnTo>
                    <a:pt x="258" y="690"/>
                  </a:lnTo>
                  <a:lnTo>
                    <a:pt x="258" y="684"/>
                  </a:lnTo>
                  <a:lnTo>
                    <a:pt x="252" y="684"/>
                  </a:lnTo>
                  <a:lnTo>
                    <a:pt x="252" y="678"/>
                  </a:lnTo>
                  <a:lnTo>
                    <a:pt x="246" y="678"/>
                  </a:lnTo>
                  <a:lnTo>
                    <a:pt x="240" y="678"/>
                  </a:lnTo>
                  <a:lnTo>
                    <a:pt x="240" y="684"/>
                  </a:lnTo>
                  <a:lnTo>
                    <a:pt x="246" y="684"/>
                  </a:lnTo>
                  <a:lnTo>
                    <a:pt x="252" y="690"/>
                  </a:lnTo>
                  <a:lnTo>
                    <a:pt x="258" y="690"/>
                  </a:lnTo>
                  <a:lnTo>
                    <a:pt x="258" y="696"/>
                  </a:lnTo>
                  <a:lnTo>
                    <a:pt x="258" y="702"/>
                  </a:lnTo>
                  <a:lnTo>
                    <a:pt x="264" y="702"/>
                  </a:lnTo>
                  <a:lnTo>
                    <a:pt x="270" y="708"/>
                  </a:lnTo>
                  <a:lnTo>
                    <a:pt x="270" y="714"/>
                  </a:lnTo>
                  <a:lnTo>
                    <a:pt x="270" y="720"/>
                  </a:lnTo>
                  <a:lnTo>
                    <a:pt x="276" y="720"/>
                  </a:lnTo>
                  <a:lnTo>
                    <a:pt x="270" y="720"/>
                  </a:lnTo>
                  <a:lnTo>
                    <a:pt x="270" y="726"/>
                  </a:lnTo>
                  <a:lnTo>
                    <a:pt x="264" y="726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52" y="738"/>
                  </a:lnTo>
                  <a:lnTo>
                    <a:pt x="252" y="744"/>
                  </a:lnTo>
                  <a:lnTo>
                    <a:pt x="252" y="750"/>
                  </a:lnTo>
                  <a:lnTo>
                    <a:pt x="252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58" y="774"/>
                  </a:lnTo>
                  <a:lnTo>
                    <a:pt x="258" y="780"/>
                  </a:lnTo>
                  <a:lnTo>
                    <a:pt x="264" y="786"/>
                  </a:lnTo>
                  <a:lnTo>
                    <a:pt x="264" y="792"/>
                  </a:lnTo>
                  <a:lnTo>
                    <a:pt x="264" y="798"/>
                  </a:lnTo>
                  <a:lnTo>
                    <a:pt x="270" y="810"/>
                  </a:lnTo>
                  <a:lnTo>
                    <a:pt x="270" y="816"/>
                  </a:lnTo>
                  <a:lnTo>
                    <a:pt x="270" y="822"/>
                  </a:lnTo>
                  <a:lnTo>
                    <a:pt x="276" y="822"/>
                  </a:lnTo>
                  <a:lnTo>
                    <a:pt x="276" y="828"/>
                  </a:lnTo>
                  <a:lnTo>
                    <a:pt x="276" y="834"/>
                  </a:lnTo>
                  <a:lnTo>
                    <a:pt x="276" y="840"/>
                  </a:lnTo>
                  <a:lnTo>
                    <a:pt x="276" y="846"/>
                  </a:lnTo>
                  <a:lnTo>
                    <a:pt x="282" y="852"/>
                  </a:lnTo>
                  <a:lnTo>
                    <a:pt x="282" y="858"/>
                  </a:lnTo>
                  <a:lnTo>
                    <a:pt x="294" y="864"/>
                  </a:lnTo>
                  <a:lnTo>
                    <a:pt x="300" y="870"/>
                  </a:lnTo>
                  <a:lnTo>
                    <a:pt x="300" y="876"/>
                  </a:lnTo>
                  <a:lnTo>
                    <a:pt x="288" y="876"/>
                  </a:lnTo>
                  <a:lnTo>
                    <a:pt x="282" y="876"/>
                  </a:lnTo>
                  <a:lnTo>
                    <a:pt x="276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2" y="882"/>
                  </a:lnTo>
                  <a:lnTo>
                    <a:pt x="246" y="882"/>
                  </a:lnTo>
                  <a:lnTo>
                    <a:pt x="240" y="882"/>
                  </a:lnTo>
                  <a:lnTo>
                    <a:pt x="234" y="882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204" y="876"/>
                  </a:lnTo>
                  <a:lnTo>
                    <a:pt x="198" y="876"/>
                  </a:lnTo>
                  <a:lnTo>
                    <a:pt x="198" y="870"/>
                  </a:lnTo>
                  <a:lnTo>
                    <a:pt x="198" y="852"/>
                  </a:lnTo>
                  <a:lnTo>
                    <a:pt x="198" y="846"/>
                  </a:lnTo>
                  <a:lnTo>
                    <a:pt x="204" y="846"/>
                  </a:lnTo>
                  <a:lnTo>
                    <a:pt x="198" y="840"/>
                  </a:lnTo>
                  <a:lnTo>
                    <a:pt x="198" y="834"/>
                  </a:lnTo>
                  <a:lnTo>
                    <a:pt x="198" y="828"/>
                  </a:lnTo>
                  <a:lnTo>
                    <a:pt x="198" y="822"/>
                  </a:lnTo>
                  <a:lnTo>
                    <a:pt x="198" y="816"/>
                  </a:lnTo>
                  <a:lnTo>
                    <a:pt x="198" y="810"/>
                  </a:lnTo>
                  <a:lnTo>
                    <a:pt x="192" y="810"/>
                  </a:lnTo>
                  <a:lnTo>
                    <a:pt x="192" y="804"/>
                  </a:lnTo>
                  <a:lnTo>
                    <a:pt x="192" y="798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2" y="774"/>
                  </a:lnTo>
                  <a:lnTo>
                    <a:pt x="192" y="768"/>
                  </a:lnTo>
                  <a:lnTo>
                    <a:pt x="198" y="768"/>
                  </a:lnTo>
                  <a:lnTo>
                    <a:pt x="198" y="762"/>
                  </a:lnTo>
                  <a:lnTo>
                    <a:pt x="198" y="756"/>
                  </a:lnTo>
                  <a:lnTo>
                    <a:pt x="204" y="756"/>
                  </a:lnTo>
                  <a:lnTo>
                    <a:pt x="204" y="750"/>
                  </a:lnTo>
                  <a:lnTo>
                    <a:pt x="210" y="744"/>
                  </a:lnTo>
                  <a:lnTo>
                    <a:pt x="210" y="738"/>
                  </a:lnTo>
                  <a:lnTo>
                    <a:pt x="210" y="732"/>
                  </a:lnTo>
                  <a:lnTo>
                    <a:pt x="210" y="726"/>
                  </a:lnTo>
                  <a:lnTo>
                    <a:pt x="210" y="720"/>
                  </a:lnTo>
                  <a:lnTo>
                    <a:pt x="204" y="714"/>
                  </a:lnTo>
                  <a:lnTo>
                    <a:pt x="204" y="720"/>
                  </a:lnTo>
                  <a:lnTo>
                    <a:pt x="204" y="732"/>
                  </a:lnTo>
                  <a:lnTo>
                    <a:pt x="204" y="738"/>
                  </a:lnTo>
                  <a:lnTo>
                    <a:pt x="198" y="738"/>
                  </a:lnTo>
                  <a:lnTo>
                    <a:pt x="198" y="744"/>
                  </a:lnTo>
                  <a:lnTo>
                    <a:pt x="198" y="750"/>
                  </a:lnTo>
                  <a:lnTo>
                    <a:pt x="192" y="756"/>
                  </a:lnTo>
                  <a:lnTo>
                    <a:pt x="186" y="762"/>
                  </a:lnTo>
                  <a:lnTo>
                    <a:pt x="186" y="768"/>
                  </a:lnTo>
                  <a:lnTo>
                    <a:pt x="186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98"/>
                  </a:lnTo>
                  <a:lnTo>
                    <a:pt x="186" y="804"/>
                  </a:lnTo>
                  <a:lnTo>
                    <a:pt x="186" y="810"/>
                  </a:lnTo>
                  <a:lnTo>
                    <a:pt x="192" y="816"/>
                  </a:lnTo>
                  <a:lnTo>
                    <a:pt x="192" y="828"/>
                  </a:lnTo>
                  <a:lnTo>
                    <a:pt x="192" y="834"/>
                  </a:lnTo>
                  <a:lnTo>
                    <a:pt x="186" y="834"/>
                  </a:lnTo>
                  <a:lnTo>
                    <a:pt x="186" y="828"/>
                  </a:lnTo>
                  <a:lnTo>
                    <a:pt x="180" y="822"/>
                  </a:lnTo>
                  <a:lnTo>
                    <a:pt x="180" y="816"/>
                  </a:lnTo>
                  <a:lnTo>
                    <a:pt x="180" y="810"/>
                  </a:lnTo>
                  <a:lnTo>
                    <a:pt x="174" y="810"/>
                  </a:lnTo>
                  <a:lnTo>
                    <a:pt x="174" y="804"/>
                  </a:lnTo>
                  <a:lnTo>
                    <a:pt x="174" y="798"/>
                  </a:lnTo>
                  <a:lnTo>
                    <a:pt x="174" y="792"/>
                  </a:lnTo>
                  <a:lnTo>
                    <a:pt x="168" y="786"/>
                  </a:lnTo>
                  <a:lnTo>
                    <a:pt x="168" y="780"/>
                  </a:lnTo>
                  <a:lnTo>
                    <a:pt x="162" y="780"/>
                  </a:lnTo>
                  <a:lnTo>
                    <a:pt x="168" y="774"/>
                  </a:lnTo>
                  <a:lnTo>
                    <a:pt x="168" y="768"/>
                  </a:lnTo>
                  <a:lnTo>
                    <a:pt x="174" y="768"/>
                  </a:lnTo>
                  <a:lnTo>
                    <a:pt x="168" y="768"/>
                  </a:lnTo>
                  <a:lnTo>
                    <a:pt x="162" y="774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50" y="774"/>
                  </a:lnTo>
                  <a:lnTo>
                    <a:pt x="144" y="774"/>
                  </a:lnTo>
                  <a:lnTo>
                    <a:pt x="144" y="768"/>
                  </a:lnTo>
                  <a:lnTo>
                    <a:pt x="144" y="762"/>
                  </a:lnTo>
                  <a:lnTo>
                    <a:pt x="138" y="756"/>
                  </a:lnTo>
                  <a:lnTo>
                    <a:pt x="132" y="756"/>
                  </a:lnTo>
                  <a:lnTo>
                    <a:pt x="138" y="756"/>
                  </a:lnTo>
                  <a:lnTo>
                    <a:pt x="138" y="762"/>
                  </a:lnTo>
                  <a:lnTo>
                    <a:pt x="138" y="768"/>
                  </a:lnTo>
                  <a:lnTo>
                    <a:pt x="144" y="768"/>
                  </a:lnTo>
                  <a:lnTo>
                    <a:pt x="144" y="774"/>
                  </a:lnTo>
                  <a:lnTo>
                    <a:pt x="150" y="780"/>
                  </a:lnTo>
                  <a:lnTo>
                    <a:pt x="156" y="780"/>
                  </a:lnTo>
                  <a:lnTo>
                    <a:pt x="156" y="786"/>
                  </a:lnTo>
                  <a:lnTo>
                    <a:pt x="162" y="786"/>
                  </a:lnTo>
                  <a:lnTo>
                    <a:pt x="168" y="792"/>
                  </a:lnTo>
                  <a:lnTo>
                    <a:pt x="168" y="798"/>
                  </a:lnTo>
                  <a:lnTo>
                    <a:pt x="168" y="804"/>
                  </a:lnTo>
                  <a:lnTo>
                    <a:pt x="174" y="810"/>
                  </a:lnTo>
                  <a:lnTo>
                    <a:pt x="174" y="816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68" y="828"/>
                  </a:lnTo>
                  <a:lnTo>
                    <a:pt x="168" y="834"/>
                  </a:lnTo>
                  <a:lnTo>
                    <a:pt x="174" y="840"/>
                  </a:lnTo>
                  <a:lnTo>
                    <a:pt x="180" y="840"/>
                  </a:lnTo>
                  <a:lnTo>
                    <a:pt x="180" y="846"/>
                  </a:lnTo>
                  <a:lnTo>
                    <a:pt x="186" y="846"/>
                  </a:lnTo>
                  <a:lnTo>
                    <a:pt x="186" y="852"/>
                  </a:lnTo>
                  <a:lnTo>
                    <a:pt x="186" y="858"/>
                  </a:lnTo>
                  <a:lnTo>
                    <a:pt x="186" y="864"/>
                  </a:lnTo>
                  <a:lnTo>
                    <a:pt x="192" y="864"/>
                  </a:lnTo>
                  <a:lnTo>
                    <a:pt x="192" y="870"/>
                  </a:lnTo>
                  <a:lnTo>
                    <a:pt x="192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6" y="888"/>
                  </a:lnTo>
                  <a:lnTo>
                    <a:pt x="180" y="888"/>
                  </a:lnTo>
                  <a:lnTo>
                    <a:pt x="174" y="888"/>
                  </a:lnTo>
                  <a:lnTo>
                    <a:pt x="168" y="894"/>
                  </a:lnTo>
                  <a:lnTo>
                    <a:pt x="162" y="894"/>
                  </a:lnTo>
                  <a:lnTo>
                    <a:pt x="156" y="894"/>
                  </a:lnTo>
                  <a:lnTo>
                    <a:pt x="150" y="894"/>
                  </a:lnTo>
                  <a:lnTo>
                    <a:pt x="144" y="894"/>
                  </a:lnTo>
                  <a:lnTo>
                    <a:pt x="144" y="900"/>
                  </a:lnTo>
                  <a:lnTo>
                    <a:pt x="138" y="894"/>
                  </a:lnTo>
                  <a:lnTo>
                    <a:pt x="138" y="900"/>
                  </a:lnTo>
                  <a:lnTo>
                    <a:pt x="132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6" y="882"/>
                  </a:lnTo>
                  <a:lnTo>
                    <a:pt x="126" y="876"/>
                  </a:lnTo>
                  <a:lnTo>
                    <a:pt x="120" y="876"/>
                  </a:lnTo>
                  <a:lnTo>
                    <a:pt x="126" y="870"/>
                  </a:lnTo>
                  <a:lnTo>
                    <a:pt x="126" y="864"/>
                  </a:lnTo>
                  <a:lnTo>
                    <a:pt x="126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26" y="828"/>
                  </a:lnTo>
                  <a:lnTo>
                    <a:pt x="126" y="822"/>
                  </a:lnTo>
                  <a:lnTo>
                    <a:pt x="126" y="816"/>
                  </a:lnTo>
                  <a:lnTo>
                    <a:pt x="126" y="810"/>
                  </a:lnTo>
                  <a:lnTo>
                    <a:pt x="126" y="804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20" y="792"/>
                  </a:lnTo>
                  <a:lnTo>
                    <a:pt x="114" y="792"/>
                  </a:lnTo>
                  <a:lnTo>
                    <a:pt x="114" y="786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96" y="780"/>
                  </a:lnTo>
                  <a:lnTo>
                    <a:pt x="96" y="774"/>
                  </a:lnTo>
                  <a:lnTo>
                    <a:pt x="90" y="774"/>
                  </a:lnTo>
                  <a:lnTo>
                    <a:pt x="90" y="768"/>
                  </a:lnTo>
                  <a:close/>
                  <a:moveTo>
                    <a:pt x="96" y="780"/>
                  </a:moveTo>
                  <a:lnTo>
                    <a:pt x="102" y="780"/>
                  </a:lnTo>
                  <a:lnTo>
                    <a:pt x="102" y="786"/>
                  </a:lnTo>
                  <a:lnTo>
                    <a:pt x="108" y="786"/>
                  </a:lnTo>
                  <a:lnTo>
                    <a:pt x="114" y="792"/>
                  </a:lnTo>
                  <a:lnTo>
                    <a:pt x="120" y="798"/>
                  </a:lnTo>
                  <a:lnTo>
                    <a:pt x="120" y="804"/>
                  </a:lnTo>
                  <a:lnTo>
                    <a:pt x="126" y="810"/>
                  </a:lnTo>
                  <a:lnTo>
                    <a:pt x="126" y="816"/>
                  </a:lnTo>
                  <a:lnTo>
                    <a:pt x="126" y="822"/>
                  </a:lnTo>
                  <a:lnTo>
                    <a:pt x="120" y="828"/>
                  </a:lnTo>
                  <a:lnTo>
                    <a:pt x="120" y="840"/>
                  </a:lnTo>
                  <a:lnTo>
                    <a:pt x="120" y="852"/>
                  </a:lnTo>
                  <a:lnTo>
                    <a:pt x="120" y="858"/>
                  </a:lnTo>
                  <a:lnTo>
                    <a:pt x="120" y="864"/>
                  </a:lnTo>
                  <a:lnTo>
                    <a:pt x="120" y="870"/>
                  </a:lnTo>
                  <a:lnTo>
                    <a:pt x="114" y="870"/>
                  </a:lnTo>
                  <a:lnTo>
                    <a:pt x="108" y="870"/>
                  </a:lnTo>
                  <a:lnTo>
                    <a:pt x="108" y="876"/>
                  </a:lnTo>
                  <a:lnTo>
                    <a:pt x="114" y="876"/>
                  </a:lnTo>
                  <a:lnTo>
                    <a:pt x="120" y="876"/>
                  </a:lnTo>
                  <a:lnTo>
                    <a:pt x="120" y="882"/>
                  </a:lnTo>
                  <a:lnTo>
                    <a:pt x="114" y="888"/>
                  </a:lnTo>
                  <a:lnTo>
                    <a:pt x="120" y="888"/>
                  </a:lnTo>
                  <a:lnTo>
                    <a:pt x="120" y="894"/>
                  </a:lnTo>
                  <a:lnTo>
                    <a:pt x="114" y="894"/>
                  </a:lnTo>
                  <a:lnTo>
                    <a:pt x="108" y="894"/>
                  </a:lnTo>
                  <a:lnTo>
                    <a:pt x="96" y="894"/>
                  </a:lnTo>
                  <a:lnTo>
                    <a:pt x="96" y="882"/>
                  </a:lnTo>
                  <a:lnTo>
                    <a:pt x="96" y="876"/>
                  </a:lnTo>
                  <a:lnTo>
                    <a:pt x="84" y="870"/>
                  </a:lnTo>
                  <a:lnTo>
                    <a:pt x="72" y="864"/>
                  </a:lnTo>
                  <a:lnTo>
                    <a:pt x="72" y="852"/>
                  </a:lnTo>
                  <a:lnTo>
                    <a:pt x="72" y="840"/>
                  </a:lnTo>
                  <a:lnTo>
                    <a:pt x="78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90" y="792"/>
                  </a:lnTo>
                  <a:lnTo>
                    <a:pt x="96" y="780"/>
                  </a:lnTo>
                  <a:close/>
                  <a:moveTo>
                    <a:pt x="492" y="810"/>
                  </a:moveTo>
                  <a:lnTo>
                    <a:pt x="498" y="810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510" y="792"/>
                  </a:lnTo>
                  <a:lnTo>
                    <a:pt x="516" y="786"/>
                  </a:lnTo>
                  <a:lnTo>
                    <a:pt x="522" y="780"/>
                  </a:lnTo>
                  <a:lnTo>
                    <a:pt x="522" y="774"/>
                  </a:lnTo>
                  <a:lnTo>
                    <a:pt x="528" y="768"/>
                  </a:lnTo>
                  <a:lnTo>
                    <a:pt x="528" y="762"/>
                  </a:lnTo>
                  <a:lnTo>
                    <a:pt x="534" y="762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46" y="780"/>
                  </a:lnTo>
                  <a:lnTo>
                    <a:pt x="552" y="786"/>
                  </a:lnTo>
                  <a:lnTo>
                    <a:pt x="558" y="786"/>
                  </a:lnTo>
                  <a:lnTo>
                    <a:pt x="564" y="786"/>
                  </a:lnTo>
                  <a:lnTo>
                    <a:pt x="576" y="786"/>
                  </a:lnTo>
                  <a:lnTo>
                    <a:pt x="582" y="786"/>
                  </a:lnTo>
                  <a:lnTo>
                    <a:pt x="588" y="786"/>
                  </a:lnTo>
                  <a:lnTo>
                    <a:pt x="594" y="786"/>
                  </a:lnTo>
                  <a:lnTo>
                    <a:pt x="588" y="792"/>
                  </a:lnTo>
                  <a:lnTo>
                    <a:pt x="588" y="798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82" y="822"/>
                  </a:lnTo>
                  <a:lnTo>
                    <a:pt x="588" y="828"/>
                  </a:lnTo>
                  <a:lnTo>
                    <a:pt x="588" y="834"/>
                  </a:lnTo>
                  <a:lnTo>
                    <a:pt x="582" y="840"/>
                  </a:lnTo>
                  <a:lnTo>
                    <a:pt x="570" y="840"/>
                  </a:lnTo>
                  <a:lnTo>
                    <a:pt x="558" y="846"/>
                  </a:lnTo>
                  <a:lnTo>
                    <a:pt x="552" y="846"/>
                  </a:lnTo>
                  <a:lnTo>
                    <a:pt x="534" y="852"/>
                  </a:lnTo>
                  <a:lnTo>
                    <a:pt x="522" y="858"/>
                  </a:lnTo>
                  <a:lnTo>
                    <a:pt x="510" y="858"/>
                  </a:lnTo>
                  <a:lnTo>
                    <a:pt x="498" y="864"/>
                  </a:lnTo>
                  <a:lnTo>
                    <a:pt x="474" y="864"/>
                  </a:lnTo>
                  <a:lnTo>
                    <a:pt x="468" y="858"/>
                  </a:lnTo>
                  <a:lnTo>
                    <a:pt x="468" y="852"/>
                  </a:lnTo>
                  <a:lnTo>
                    <a:pt x="468" y="846"/>
                  </a:lnTo>
                  <a:lnTo>
                    <a:pt x="474" y="840"/>
                  </a:lnTo>
                  <a:lnTo>
                    <a:pt x="474" y="834"/>
                  </a:lnTo>
                  <a:lnTo>
                    <a:pt x="480" y="828"/>
                  </a:lnTo>
                  <a:lnTo>
                    <a:pt x="492" y="822"/>
                  </a:lnTo>
                  <a:lnTo>
                    <a:pt x="492" y="810"/>
                  </a:lnTo>
                  <a:close/>
                  <a:moveTo>
                    <a:pt x="384" y="720"/>
                  </a:moveTo>
                  <a:lnTo>
                    <a:pt x="384" y="726"/>
                  </a:lnTo>
                  <a:lnTo>
                    <a:pt x="390" y="726"/>
                  </a:lnTo>
                  <a:lnTo>
                    <a:pt x="396" y="726"/>
                  </a:lnTo>
                  <a:lnTo>
                    <a:pt x="402" y="732"/>
                  </a:lnTo>
                  <a:lnTo>
                    <a:pt x="408" y="732"/>
                  </a:lnTo>
                  <a:lnTo>
                    <a:pt x="414" y="732"/>
                  </a:lnTo>
                  <a:lnTo>
                    <a:pt x="414" y="738"/>
                  </a:lnTo>
                  <a:lnTo>
                    <a:pt x="414" y="744"/>
                  </a:lnTo>
                  <a:lnTo>
                    <a:pt x="414" y="750"/>
                  </a:lnTo>
                  <a:lnTo>
                    <a:pt x="414" y="756"/>
                  </a:lnTo>
                  <a:lnTo>
                    <a:pt x="414" y="762"/>
                  </a:lnTo>
                  <a:lnTo>
                    <a:pt x="420" y="768"/>
                  </a:lnTo>
                  <a:lnTo>
                    <a:pt x="420" y="774"/>
                  </a:lnTo>
                  <a:lnTo>
                    <a:pt x="426" y="780"/>
                  </a:lnTo>
                  <a:lnTo>
                    <a:pt x="426" y="786"/>
                  </a:lnTo>
                  <a:lnTo>
                    <a:pt x="420" y="786"/>
                  </a:lnTo>
                  <a:lnTo>
                    <a:pt x="420" y="792"/>
                  </a:lnTo>
                  <a:lnTo>
                    <a:pt x="420" y="798"/>
                  </a:lnTo>
                  <a:lnTo>
                    <a:pt x="420" y="804"/>
                  </a:lnTo>
                  <a:lnTo>
                    <a:pt x="426" y="804"/>
                  </a:lnTo>
                  <a:lnTo>
                    <a:pt x="426" y="810"/>
                  </a:lnTo>
                  <a:lnTo>
                    <a:pt x="426" y="816"/>
                  </a:lnTo>
                  <a:lnTo>
                    <a:pt x="432" y="816"/>
                  </a:lnTo>
                  <a:lnTo>
                    <a:pt x="438" y="816"/>
                  </a:lnTo>
                  <a:lnTo>
                    <a:pt x="438" y="822"/>
                  </a:lnTo>
                  <a:lnTo>
                    <a:pt x="432" y="822"/>
                  </a:lnTo>
                  <a:lnTo>
                    <a:pt x="426" y="828"/>
                  </a:lnTo>
                  <a:lnTo>
                    <a:pt x="420" y="828"/>
                  </a:lnTo>
                  <a:lnTo>
                    <a:pt x="414" y="828"/>
                  </a:lnTo>
                  <a:lnTo>
                    <a:pt x="408" y="828"/>
                  </a:lnTo>
                  <a:lnTo>
                    <a:pt x="402" y="828"/>
                  </a:lnTo>
                  <a:lnTo>
                    <a:pt x="402" y="822"/>
                  </a:lnTo>
                  <a:lnTo>
                    <a:pt x="396" y="822"/>
                  </a:lnTo>
                  <a:lnTo>
                    <a:pt x="402" y="822"/>
                  </a:lnTo>
                  <a:lnTo>
                    <a:pt x="402" y="816"/>
                  </a:lnTo>
                  <a:lnTo>
                    <a:pt x="396" y="816"/>
                  </a:lnTo>
                  <a:lnTo>
                    <a:pt x="396" y="810"/>
                  </a:lnTo>
                  <a:lnTo>
                    <a:pt x="396" y="804"/>
                  </a:lnTo>
                  <a:lnTo>
                    <a:pt x="390" y="798"/>
                  </a:lnTo>
                  <a:lnTo>
                    <a:pt x="390" y="792"/>
                  </a:lnTo>
                  <a:lnTo>
                    <a:pt x="390" y="786"/>
                  </a:lnTo>
                  <a:lnTo>
                    <a:pt x="390" y="780"/>
                  </a:lnTo>
                  <a:lnTo>
                    <a:pt x="390" y="774"/>
                  </a:lnTo>
                  <a:lnTo>
                    <a:pt x="390" y="768"/>
                  </a:lnTo>
                  <a:lnTo>
                    <a:pt x="390" y="762"/>
                  </a:lnTo>
                  <a:lnTo>
                    <a:pt x="384" y="756"/>
                  </a:lnTo>
                  <a:lnTo>
                    <a:pt x="384" y="750"/>
                  </a:lnTo>
                  <a:lnTo>
                    <a:pt x="384" y="744"/>
                  </a:lnTo>
                  <a:lnTo>
                    <a:pt x="378" y="744"/>
                  </a:lnTo>
                  <a:lnTo>
                    <a:pt x="384" y="744"/>
                  </a:lnTo>
                  <a:lnTo>
                    <a:pt x="384" y="738"/>
                  </a:lnTo>
                  <a:lnTo>
                    <a:pt x="378" y="738"/>
                  </a:lnTo>
                  <a:lnTo>
                    <a:pt x="378" y="732"/>
                  </a:lnTo>
                  <a:lnTo>
                    <a:pt x="378" y="726"/>
                  </a:lnTo>
                  <a:lnTo>
                    <a:pt x="378" y="720"/>
                  </a:lnTo>
                  <a:lnTo>
                    <a:pt x="384" y="720"/>
                  </a:lnTo>
                  <a:close/>
                  <a:moveTo>
                    <a:pt x="330" y="738"/>
                  </a:moveTo>
                  <a:lnTo>
                    <a:pt x="336" y="732"/>
                  </a:lnTo>
                  <a:lnTo>
                    <a:pt x="336" y="726"/>
                  </a:lnTo>
                  <a:lnTo>
                    <a:pt x="342" y="720"/>
                  </a:lnTo>
                  <a:lnTo>
                    <a:pt x="348" y="720"/>
                  </a:lnTo>
                  <a:lnTo>
                    <a:pt x="360" y="720"/>
                  </a:lnTo>
                  <a:lnTo>
                    <a:pt x="366" y="726"/>
                  </a:lnTo>
                  <a:lnTo>
                    <a:pt x="372" y="732"/>
                  </a:lnTo>
                  <a:lnTo>
                    <a:pt x="372" y="738"/>
                  </a:lnTo>
                  <a:lnTo>
                    <a:pt x="366" y="750"/>
                  </a:lnTo>
                  <a:lnTo>
                    <a:pt x="372" y="756"/>
                  </a:lnTo>
                  <a:lnTo>
                    <a:pt x="372" y="762"/>
                  </a:lnTo>
                  <a:lnTo>
                    <a:pt x="372" y="768"/>
                  </a:lnTo>
                  <a:lnTo>
                    <a:pt x="372" y="774"/>
                  </a:lnTo>
                  <a:lnTo>
                    <a:pt x="372" y="780"/>
                  </a:lnTo>
                  <a:lnTo>
                    <a:pt x="372" y="774"/>
                  </a:lnTo>
                  <a:lnTo>
                    <a:pt x="366" y="768"/>
                  </a:lnTo>
                  <a:lnTo>
                    <a:pt x="366" y="762"/>
                  </a:lnTo>
                  <a:lnTo>
                    <a:pt x="366" y="756"/>
                  </a:lnTo>
                  <a:lnTo>
                    <a:pt x="360" y="756"/>
                  </a:lnTo>
                  <a:lnTo>
                    <a:pt x="360" y="750"/>
                  </a:lnTo>
                  <a:lnTo>
                    <a:pt x="354" y="750"/>
                  </a:lnTo>
                  <a:lnTo>
                    <a:pt x="348" y="744"/>
                  </a:lnTo>
                  <a:lnTo>
                    <a:pt x="342" y="744"/>
                  </a:lnTo>
                  <a:lnTo>
                    <a:pt x="336" y="744"/>
                  </a:lnTo>
                  <a:lnTo>
                    <a:pt x="330" y="73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01" name="Freeform 6">
              <a:extLst>
                <a:ext uri="{FF2B5EF4-FFF2-40B4-BE49-F238E27FC236}">
                  <a16:creationId xmlns:a16="http://schemas.microsoft.com/office/drawing/2014/main" id="{0656C385-F30A-4AC8-AE9F-B1F66208B38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3123" y="4163918"/>
              <a:ext cx="266107" cy="248252"/>
            </a:xfrm>
            <a:custGeom>
              <a:avLst/>
              <a:gdLst>
                <a:gd name="T0" fmla="*/ 33 w 504"/>
                <a:gd name="T1" fmla="*/ 41 h 468"/>
                <a:gd name="T2" fmla="*/ 26 w 504"/>
                <a:gd name="T3" fmla="*/ 39 h 468"/>
                <a:gd name="T4" fmla="*/ 21 w 504"/>
                <a:gd name="T5" fmla="*/ 38 h 468"/>
                <a:gd name="T6" fmla="*/ 18 w 504"/>
                <a:gd name="T7" fmla="*/ 38 h 468"/>
                <a:gd name="T8" fmla="*/ 15 w 504"/>
                <a:gd name="T9" fmla="*/ 39 h 468"/>
                <a:gd name="T10" fmla="*/ 12 w 504"/>
                <a:gd name="T11" fmla="*/ 38 h 468"/>
                <a:gd name="T12" fmla="*/ 9 w 504"/>
                <a:gd name="T13" fmla="*/ 37 h 468"/>
                <a:gd name="T14" fmla="*/ 7 w 504"/>
                <a:gd name="T15" fmla="*/ 32 h 468"/>
                <a:gd name="T16" fmla="*/ 6 w 504"/>
                <a:gd name="T17" fmla="*/ 26 h 468"/>
                <a:gd name="T18" fmla="*/ 3 w 504"/>
                <a:gd name="T19" fmla="*/ 24 h 468"/>
                <a:gd name="T20" fmla="*/ 1 w 504"/>
                <a:gd name="T21" fmla="*/ 24 h 468"/>
                <a:gd name="T22" fmla="*/ 2 w 504"/>
                <a:gd name="T23" fmla="*/ 18 h 468"/>
                <a:gd name="T24" fmla="*/ 1 w 504"/>
                <a:gd name="T25" fmla="*/ 17 h 468"/>
                <a:gd name="T26" fmla="*/ 0 w 504"/>
                <a:gd name="T27" fmla="*/ 17 h 468"/>
                <a:gd name="T28" fmla="*/ 0 w 504"/>
                <a:gd name="T29" fmla="*/ 15 h 468"/>
                <a:gd name="T30" fmla="*/ 2 w 504"/>
                <a:gd name="T31" fmla="*/ 12 h 468"/>
                <a:gd name="T32" fmla="*/ 4 w 504"/>
                <a:gd name="T33" fmla="*/ 10 h 468"/>
                <a:gd name="T34" fmla="*/ 6 w 504"/>
                <a:gd name="T35" fmla="*/ 8 h 468"/>
                <a:gd name="T36" fmla="*/ 8 w 504"/>
                <a:gd name="T37" fmla="*/ 8 h 468"/>
                <a:gd name="T38" fmla="*/ 10 w 504"/>
                <a:gd name="T39" fmla="*/ 9 h 468"/>
                <a:gd name="T40" fmla="*/ 12 w 504"/>
                <a:gd name="T41" fmla="*/ 10 h 468"/>
                <a:gd name="T42" fmla="*/ 12 w 504"/>
                <a:gd name="T43" fmla="*/ 11 h 468"/>
                <a:gd name="T44" fmla="*/ 14 w 504"/>
                <a:gd name="T45" fmla="*/ 8 h 468"/>
                <a:gd name="T46" fmla="*/ 15 w 504"/>
                <a:gd name="T47" fmla="*/ 7 h 468"/>
                <a:gd name="T48" fmla="*/ 17 w 504"/>
                <a:gd name="T49" fmla="*/ 6 h 468"/>
                <a:gd name="T50" fmla="*/ 19 w 504"/>
                <a:gd name="T51" fmla="*/ 3 h 468"/>
                <a:gd name="T52" fmla="*/ 20 w 504"/>
                <a:gd name="T53" fmla="*/ 2 h 468"/>
                <a:gd name="T54" fmla="*/ 22 w 504"/>
                <a:gd name="T55" fmla="*/ 1 h 468"/>
                <a:gd name="T56" fmla="*/ 27 w 504"/>
                <a:gd name="T57" fmla="*/ 1 h 468"/>
                <a:gd name="T58" fmla="*/ 30 w 504"/>
                <a:gd name="T59" fmla="*/ 2 h 468"/>
                <a:gd name="T60" fmla="*/ 31 w 504"/>
                <a:gd name="T61" fmla="*/ 2 h 468"/>
                <a:gd name="T62" fmla="*/ 34 w 504"/>
                <a:gd name="T63" fmla="*/ 0 h 468"/>
                <a:gd name="T64" fmla="*/ 37 w 504"/>
                <a:gd name="T65" fmla="*/ 1 h 468"/>
                <a:gd name="T66" fmla="*/ 41 w 504"/>
                <a:gd name="T67" fmla="*/ 2 h 468"/>
                <a:gd name="T68" fmla="*/ 42 w 504"/>
                <a:gd name="T69" fmla="*/ 4 h 468"/>
                <a:gd name="T70" fmla="*/ 42 w 504"/>
                <a:gd name="T71" fmla="*/ 10 h 468"/>
                <a:gd name="T72" fmla="*/ 41 w 504"/>
                <a:gd name="T73" fmla="*/ 14 h 468"/>
                <a:gd name="T74" fmla="*/ 42 w 504"/>
                <a:gd name="T75" fmla="*/ 15 h 468"/>
                <a:gd name="T76" fmla="*/ 44 w 504"/>
                <a:gd name="T77" fmla="*/ 18 h 468"/>
                <a:gd name="T78" fmla="*/ 43 w 504"/>
                <a:gd name="T79" fmla="*/ 19 h 468"/>
                <a:gd name="T80" fmla="*/ 42 w 504"/>
                <a:gd name="T81" fmla="*/ 21 h 468"/>
                <a:gd name="T82" fmla="*/ 42 w 504"/>
                <a:gd name="T83" fmla="*/ 23 h 468"/>
                <a:gd name="T84" fmla="*/ 39 w 504"/>
                <a:gd name="T85" fmla="*/ 27 h 468"/>
                <a:gd name="T86" fmla="*/ 38 w 504"/>
                <a:gd name="T87" fmla="*/ 29 h 468"/>
                <a:gd name="T88" fmla="*/ 38 w 504"/>
                <a:gd name="T89" fmla="*/ 31 h 468"/>
                <a:gd name="T90" fmla="*/ 36 w 504"/>
                <a:gd name="T91" fmla="*/ 32 h 468"/>
                <a:gd name="T92" fmla="*/ 35 w 504"/>
                <a:gd name="T93" fmla="*/ 34 h 468"/>
                <a:gd name="T94" fmla="*/ 34 w 504"/>
                <a:gd name="T95" fmla="*/ 38 h 46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04"/>
                <a:gd name="T145" fmla="*/ 0 h 468"/>
                <a:gd name="T146" fmla="*/ 504 w 504"/>
                <a:gd name="T147" fmla="*/ 468 h 46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04" h="468">
                  <a:moveTo>
                    <a:pt x="390" y="456"/>
                  </a:moveTo>
                  <a:lnTo>
                    <a:pt x="384" y="468"/>
                  </a:lnTo>
                  <a:lnTo>
                    <a:pt x="378" y="468"/>
                  </a:lnTo>
                  <a:lnTo>
                    <a:pt x="354" y="468"/>
                  </a:lnTo>
                  <a:lnTo>
                    <a:pt x="348" y="462"/>
                  </a:lnTo>
                  <a:lnTo>
                    <a:pt x="300" y="456"/>
                  </a:lnTo>
                  <a:lnTo>
                    <a:pt x="270" y="444"/>
                  </a:lnTo>
                  <a:lnTo>
                    <a:pt x="252" y="438"/>
                  </a:lnTo>
                  <a:lnTo>
                    <a:pt x="240" y="438"/>
                  </a:lnTo>
                  <a:lnTo>
                    <a:pt x="234" y="438"/>
                  </a:lnTo>
                  <a:lnTo>
                    <a:pt x="228" y="444"/>
                  </a:lnTo>
                  <a:lnTo>
                    <a:pt x="210" y="444"/>
                  </a:lnTo>
                  <a:lnTo>
                    <a:pt x="198" y="444"/>
                  </a:lnTo>
                  <a:lnTo>
                    <a:pt x="198" y="450"/>
                  </a:lnTo>
                  <a:lnTo>
                    <a:pt x="168" y="456"/>
                  </a:lnTo>
                  <a:lnTo>
                    <a:pt x="150" y="450"/>
                  </a:lnTo>
                  <a:lnTo>
                    <a:pt x="144" y="444"/>
                  </a:lnTo>
                  <a:lnTo>
                    <a:pt x="132" y="438"/>
                  </a:lnTo>
                  <a:lnTo>
                    <a:pt x="138" y="432"/>
                  </a:lnTo>
                  <a:lnTo>
                    <a:pt x="114" y="432"/>
                  </a:lnTo>
                  <a:lnTo>
                    <a:pt x="102" y="426"/>
                  </a:lnTo>
                  <a:lnTo>
                    <a:pt x="90" y="414"/>
                  </a:lnTo>
                  <a:lnTo>
                    <a:pt x="72" y="402"/>
                  </a:lnTo>
                  <a:lnTo>
                    <a:pt x="78" y="366"/>
                  </a:lnTo>
                  <a:lnTo>
                    <a:pt x="78" y="330"/>
                  </a:lnTo>
                  <a:lnTo>
                    <a:pt x="66" y="318"/>
                  </a:lnTo>
                  <a:lnTo>
                    <a:pt x="66" y="300"/>
                  </a:lnTo>
                  <a:lnTo>
                    <a:pt x="66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30" y="282"/>
                  </a:lnTo>
                  <a:lnTo>
                    <a:pt x="24" y="282"/>
                  </a:lnTo>
                  <a:lnTo>
                    <a:pt x="12" y="276"/>
                  </a:lnTo>
                  <a:lnTo>
                    <a:pt x="0" y="282"/>
                  </a:lnTo>
                  <a:lnTo>
                    <a:pt x="12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2" y="198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6" y="180"/>
                  </a:lnTo>
                  <a:lnTo>
                    <a:pt x="12" y="186"/>
                  </a:lnTo>
                  <a:lnTo>
                    <a:pt x="18" y="138"/>
                  </a:lnTo>
                  <a:lnTo>
                    <a:pt x="24" y="126"/>
                  </a:lnTo>
                  <a:lnTo>
                    <a:pt x="30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20" y="102"/>
                  </a:lnTo>
                  <a:lnTo>
                    <a:pt x="126" y="108"/>
                  </a:lnTo>
                  <a:lnTo>
                    <a:pt x="126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0"/>
                  </a:lnTo>
                  <a:lnTo>
                    <a:pt x="156" y="96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16" y="42"/>
                  </a:lnTo>
                  <a:lnTo>
                    <a:pt x="222" y="36"/>
                  </a:lnTo>
                  <a:lnTo>
                    <a:pt x="228" y="36"/>
                  </a:lnTo>
                  <a:lnTo>
                    <a:pt x="228" y="30"/>
                  </a:lnTo>
                  <a:lnTo>
                    <a:pt x="228" y="24"/>
                  </a:lnTo>
                  <a:lnTo>
                    <a:pt x="246" y="18"/>
                  </a:lnTo>
                  <a:lnTo>
                    <a:pt x="252" y="18"/>
                  </a:lnTo>
                  <a:lnTo>
                    <a:pt x="258" y="12"/>
                  </a:lnTo>
                  <a:lnTo>
                    <a:pt x="270" y="6"/>
                  </a:lnTo>
                  <a:lnTo>
                    <a:pt x="288" y="6"/>
                  </a:lnTo>
                  <a:lnTo>
                    <a:pt x="312" y="12"/>
                  </a:lnTo>
                  <a:lnTo>
                    <a:pt x="324" y="12"/>
                  </a:lnTo>
                  <a:lnTo>
                    <a:pt x="336" y="18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14" y="12"/>
                  </a:lnTo>
                  <a:lnTo>
                    <a:pt x="426" y="12"/>
                  </a:lnTo>
                  <a:lnTo>
                    <a:pt x="444" y="18"/>
                  </a:lnTo>
                  <a:lnTo>
                    <a:pt x="462" y="18"/>
                  </a:lnTo>
                  <a:lnTo>
                    <a:pt x="474" y="18"/>
                  </a:lnTo>
                  <a:lnTo>
                    <a:pt x="480" y="18"/>
                  </a:lnTo>
                  <a:lnTo>
                    <a:pt x="486" y="36"/>
                  </a:lnTo>
                  <a:lnTo>
                    <a:pt x="480" y="42"/>
                  </a:lnTo>
                  <a:lnTo>
                    <a:pt x="480" y="54"/>
                  </a:lnTo>
                  <a:lnTo>
                    <a:pt x="486" y="78"/>
                  </a:lnTo>
                  <a:lnTo>
                    <a:pt x="486" y="114"/>
                  </a:lnTo>
                  <a:lnTo>
                    <a:pt x="486" y="150"/>
                  </a:lnTo>
                  <a:lnTo>
                    <a:pt x="468" y="150"/>
                  </a:lnTo>
                  <a:lnTo>
                    <a:pt x="474" y="162"/>
                  </a:lnTo>
                  <a:lnTo>
                    <a:pt x="480" y="162"/>
                  </a:lnTo>
                  <a:lnTo>
                    <a:pt x="486" y="174"/>
                  </a:lnTo>
                  <a:lnTo>
                    <a:pt x="492" y="174"/>
                  </a:lnTo>
                  <a:lnTo>
                    <a:pt x="492" y="192"/>
                  </a:lnTo>
                  <a:lnTo>
                    <a:pt x="498" y="198"/>
                  </a:lnTo>
                  <a:lnTo>
                    <a:pt x="504" y="204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8" y="222"/>
                  </a:lnTo>
                  <a:lnTo>
                    <a:pt x="492" y="228"/>
                  </a:lnTo>
                  <a:lnTo>
                    <a:pt x="492" y="234"/>
                  </a:lnTo>
                  <a:lnTo>
                    <a:pt x="492" y="240"/>
                  </a:lnTo>
                  <a:lnTo>
                    <a:pt x="486" y="246"/>
                  </a:lnTo>
                  <a:lnTo>
                    <a:pt x="486" y="258"/>
                  </a:lnTo>
                  <a:lnTo>
                    <a:pt x="480" y="264"/>
                  </a:lnTo>
                  <a:lnTo>
                    <a:pt x="474" y="276"/>
                  </a:lnTo>
                  <a:lnTo>
                    <a:pt x="468" y="288"/>
                  </a:lnTo>
                  <a:lnTo>
                    <a:pt x="456" y="306"/>
                  </a:lnTo>
                  <a:lnTo>
                    <a:pt x="456" y="312"/>
                  </a:lnTo>
                  <a:lnTo>
                    <a:pt x="444" y="318"/>
                  </a:lnTo>
                  <a:lnTo>
                    <a:pt x="432" y="336"/>
                  </a:lnTo>
                  <a:lnTo>
                    <a:pt x="432" y="342"/>
                  </a:lnTo>
                  <a:lnTo>
                    <a:pt x="432" y="348"/>
                  </a:lnTo>
                  <a:lnTo>
                    <a:pt x="432" y="354"/>
                  </a:lnTo>
                  <a:lnTo>
                    <a:pt x="426" y="366"/>
                  </a:lnTo>
                  <a:lnTo>
                    <a:pt x="420" y="366"/>
                  </a:lnTo>
                  <a:lnTo>
                    <a:pt x="420" y="372"/>
                  </a:lnTo>
                  <a:lnTo>
                    <a:pt x="414" y="378"/>
                  </a:lnTo>
                  <a:lnTo>
                    <a:pt x="414" y="390"/>
                  </a:lnTo>
                  <a:lnTo>
                    <a:pt x="408" y="390"/>
                  </a:lnTo>
                  <a:lnTo>
                    <a:pt x="408" y="402"/>
                  </a:lnTo>
                  <a:lnTo>
                    <a:pt x="402" y="414"/>
                  </a:lnTo>
                  <a:lnTo>
                    <a:pt x="396" y="438"/>
                  </a:lnTo>
                  <a:lnTo>
                    <a:pt x="396" y="444"/>
                  </a:lnTo>
                  <a:lnTo>
                    <a:pt x="390" y="45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11" name="Freeform 7">
              <a:extLst>
                <a:ext uri="{FF2B5EF4-FFF2-40B4-BE49-F238E27FC236}">
                  <a16:creationId xmlns:a16="http://schemas.microsoft.com/office/drawing/2014/main" id="{0D8DE62D-4554-4314-9F3A-7208D89B4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90838" y="4128134"/>
              <a:ext cx="283995" cy="411516"/>
            </a:xfrm>
            <a:custGeom>
              <a:avLst/>
              <a:gdLst>
                <a:gd name="T0" fmla="*/ 39 w 534"/>
                <a:gd name="T1" fmla="*/ 35 h 774"/>
                <a:gd name="T2" fmla="*/ 35 w 534"/>
                <a:gd name="T3" fmla="*/ 31 h 774"/>
                <a:gd name="T4" fmla="*/ 32 w 534"/>
                <a:gd name="T5" fmla="*/ 29 h 774"/>
                <a:gd name="T6" fmla="*/ 32 w 534"/>
                <a:gd name="T7" fmla="*/ 31 h 774"/>
                <a:gd name="T8" fmla="*/ 29 w 534"/>
                <a:gd name="T9" fmla="*/ 33 h 774"/>
                <a:gd name="T10" fmla="*/ 27 w 534"/>
                <a:gd name="T11" fmla="*/ 36 h 774"/>
                <a:gd name="T12" fmla="*/ 30 w 534"/>
                <a:gd name="T13" fmla="*/ 38 h 774"/>
                <a:gd name="T14" fmla="*/ 29 w 534"/>
                <a:gd name="T15" fmla="*/ 40 h 774"/>
                <a:gd name="T16" fmla="*/ 25 w 534"/>
                <a:gd name="T17" fmla="*/ 40 h 774"/>
                <a:gd name="T18" fmla="*/ 23 w 534"/>
                <a:gd name="T19" fmla="*/ 42 h 774"/>
                <a:gd name="T20" fmla="*/ 22 w 534"/>
                <a:gd name="T21" fmla="*/ 47 h 774"/>
                <a:gd name="T22" fmla="*/ 22 w 534"/>
                <a:gd name="T23" fmla="*/ 51 h 774"/>
                <a:gd name="T24" fmla="*/ 22 w 534"/>
                <a:gd name="T25" fmla="*/ 54 h 774"/>
                <a:gd name="T26" fmla="*/ 21 w 534"/>
                <a:gd name="T27" fmla="*/ 56 h 774"/>
                <a:gd name="T28" fmla="*/ 19 w 534"/>
                <a:gd name="T29" fmla="*/ 58 h 774"/>
                <a:gd name="T30" fmla="*/ 20 w 534"/>
                <a:gd name="T31" fmla="*/ 59 h 774"/>
                <a:gd name="T32" fmla="*/ 19 w 534"/>
                <a:gd name="T33" fmla="*/ 62 h 774"/>
                <a:gd name="T34" fmla="*/ 19 w 534"/>
                <a:gd name="T35" fmla="*/ 64 h 774"/>
                <a:gd name="T36" fmla="*/ 20 w 534"/>
                <a:gd name="T37" fmla="*/ 66 h 774"/>
                <a:gd name="T38" fmla="*/ 17 w 534"/>
                <a:gd name="T39" fmla="*/ 66 h 774"/>
                <a:gd name="T40" fmla="*/ 16 w 534"/>
                <a:gd name="T41" fmla="*/ 65 h 774"/>
                <a:gd name="T42" fmla="*/ 13 w 534"/>
                <a:gd name="T43" fmla="*/ 65 h 774"/>
                <a:gd name="T44" fmla="*/ 11 w 534"/>
                <a:gd name="T45" fmla="*/ 65 h 774"/>
                <a:gd name="T46" fmla="*/ 8 w 534"/>
                <a:gd name="T47" fmla="*/ 65 h 774"/>
                <a:gd name="T48" fmla="*/ 8 w 534"/>
                <a:gd name="T49" fmla="*/ 64 h 774"/>
                <a:gd name="T50" fmla="*/ 5 w 534"/>
                <a:gd name="T51" fmla="*/ 65 h 774"/>
                <a:gd name="T52" fmla="*/ 3 w 534"/>
                <a:gd name="T53" fmla="*/ 65 h 774"/>
                <a:gd name="T54" fmla="*/ 0 w 534"/>
                <a:gd name="T55" fmla="*/ 64 h 774"/>
                <a:gd name="T56" fmla="*/ 0 w 534"/>
                <a:gd name="T57" fmla="*/ 62 h 774"/>
                <a:gd name="T58" fmla="*/ 3 w 534"/>
                <a:gd name="T59" fmla="*/ 60 h 774"/>
                <a:gd name="T60" fmla="*/ 6 w 534"/>
                <a:gd name="T61" fmla="*/ 57 h 774"/>
                <a:gd name="T62" fmla="*/ 8 w 534"/>
                <a:gd name="T63" fmla="*/ 50 h 774"/>
                <a:gd name="T64" fmla="*/ 6 w 534"/>
                <a:gd name="T65" fmla="*/ 45 h 774"/>
                <a:gd name="T66" fmla="*/ 8 w 534"/>
                <a:gd name="T67" fmla="*/ 41 h 774"/>
                <a:gd name="T68" fmla="*/ 9 w 534"/>
                <a:gd name="T69" fmla="*/ 38 h 774"/>
                <a:gd name="T70" fmla="*/ 10 w 534"/>
                <a:gd name="T71" fmla="*/ 36 h 774"/>
                <a:gd name="T72" fmla="*/ 12 w 534"/>
                <a:gd name="T73" fmla="*/ 33 h 774"/>
                <a:gd name="T74" fmla="*/ 14 w 534"/>
                <a:gd name="T75" fmla="*/ 29 h 774"/>
                <a:gd name="T76" fmla="*/ 16 w 534"/>
                <a:gd name="T77" fmla="*/ 26 h 774"/>
                <a:gd name="T78" fmla="*/ 16 w 534"/>
                <a:gd name="T79" fmla="*/ 24 h 774"/>
                <a:gd name="T80" fmla="*/ 16 w 534"/>
                <a:gd name="T81" fmla="*/ 21 h 774"/>
                <a:gd name="T82" fmla="*/ 13 w 534"/>
                <a:gd name="T83" fmla="*/ 19 h 774"/>
                <a:gd name="T84" fmla="*/ 14 w 534"/>
                <a:gd name="T85" fmla="*/ 10 h 774"/>
                <a:gd name="T86" fmla="*/ 14 w 534"/>
                <a:gd name="T87" fmla="*/ 7 h 774"/>
                <a:gd name="T88" fmla="*/ 8 w 534"/>
                <a:gd name="T89" fmla="*/ 7 h 774"/>
                <a:gd name="T90" fmla="*/ 7 w 534"/>
                <a:gd name="T91" fmla="*/ 3 h 774"/>
                <a:gd name="T92" fmla="*/ 11 w 534"/>
                <a:gd name="T93" fmla="*/ 1 h 774"/>
                <a:gd name="T94" fmla="*/ 12 w 534"/>
                <a:gd name="T95" fmla="*/ 0 h 774"/>
                <a:gd name="T96" fmla="*/ 16 w 534"/>
                <a:gd name="T97" fmla="*/ 2 h 774"/>
                <a:gd name="T98" fmla="*/ 20 w 534"/>
                <a:gd name="T99" fmla="*/ 2 h 774"/>
                <a:gd name="T100" fmla="*/ 23 w 534"/>
                <a:gd name="T101" fmla="*/ 3 h 774"/>
                <a:gd name="T102" fmla="*/ 23 w 534"/>
                <a:gd name="T103" fmla="*/ 10 h 774"/>
                <a:gd name="T104" fmla="*/ 29 w 534"/>
                <a:gd name="T105" fmla="*/ 12 h 774"/>
                <a:gd name="T106" fmla="*/ 35 w 534"/>
                <a:gd name="T107" fmla="*/ 12 h 774"/>
                <a:gd name="T108" fmla="*/ 38 w 534"/>
                <a:gd name="T109" fmla="*/ 17 h 774"/>
                <a:gd name="T110" fmla="*/ 40 w 534"/>
                <a:gd name="T111" fmla="*/ 19 h 774"/>
                <a:gd name="T112" fmla="*/ 44 w 534"/>
                <a:gd name="T113" fmla="*/ 23 h 774"/>
                <a:gd name="T114" fmla="*/ 44 w 534"/>
                <a:gd name="T115" fmla="*/ 30 h 774"/>
                <a:gd name="T116" fmla="*/ 46 w 534"/>
                <a:gd name="T117" fmla="*/ 36 h 774"/>
                <a:gd name="T118" fmla="*/ 41 w 534"/>
                <a:gd name="T119" fmla="*/ 37 h 77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34"/>
                <a:gd name="T181" fmla="*/ 0 h 774"/>
                <a:gd name="T182" fmla="*/ 534 w 534"/>
                <a:gd name="T183" fmla="*/ 774 h 77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34" h="774">
                  <a:moveTo>
                    <a:pt x="462" y="426"/>
                  </a:moveTo>
                  <a:lnTo>
                    <a:pt x="462" y="414"/>
                  </a:lnTo>
                  <a:lnTo>
                    <a:pt x="450" y="402"/>
                  </a:lnTo>
                  <a:lnTo>
                    <a:pt x="444" y="396"/>
                  </a:lnTo>
                  <a:lnTo>
                    <a:pt x="420" y="396"/>
                  </a:lnTo>
                  <a:lnTo>
                    <a:pt x="408" y="390"/>
                  </a:lnTo>
                  <a:lnTo>
                    <a:pt x="402" y="366"/>
                  </a:lnTo>
                  <a:lnTo>
                    <a:pt x="390" y="354"/>
                  </a:lnTo>
                  <a:lnTo>
                    <a:pt x="384" y="336"/>
                  </a:lnTo>
                  <a:lnTo>
                    <a:pt x="378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8" y="348"/>
                  </a:lnTo>
                  <a:lnTo>
                    <a:pt x="360" y="354"/>
                  </a:lnTo>
                  <a:lnTo>
                    <a:pt x="360" y="390"/>
                  </a:lnTo>
                  <a:lnTo>
                    <a:pt x="348" y="390"/>
                  </a:lnTo>
                  <a:lnTo>
                    <a:pt x="342" y="384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90"/>
                  </a:lnTo>
                  <a:lnTo>
                    <a:pt x="312" y="402"/>
                  </a:lnTo>
                  <a:lnTo>
                    <a:pt x="306" y="420"/>
                  </a:lnTo>
                  <a:lnTo>
                    <a:pt x="324" y="414"/>
                  </a:lnTo>
                  <a:lnTo>
                    <a:pt x="330" y="414"/>
                  </a:lnTo>
                  <a:lnTo>
                    <a:pt x="336" y="420"/>
                  </a:lnTo>
                  <a:lnTo>
                    <a:pt x="336" y="432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6"/>
                  </a:lnTo>
                  <a:lnTo>
                    <a:pt x="318" y="456"/>
                  </a:lnTo>
                  <a:lnTo>
                    <a:pt x="300" y="456"/>
                  </a:lnTo>
                  <a:lnTo>
                    <a:pt x="288" y="462"/>
                  </a:lnTo>
                  <a:lnTo>
                    <a:pt x="276" y="462"/>
                  </a:lnTo>
                  <a:lnTo>
                    <a:pt x="270" y="462"/>
                  </a:lnTo>
                  <a:lnTo>
                    <a:pt x="270" y="468"/>
                  </a:lnTo>
                  <a:lnTo>
                    <a:pt x="252" y="468"/>
                  </a:lnTo>
                  <a:lnTo>
                    <a:pt x="258" y="480"/>
                  </a:lnTo>
                  <a:lnTo>
                    <a:pt x="258" y="492"/>
                  </a:lnTo>
                  <a:lnTo>
                    <a:pt x="258" y="498"/>
                  </a:lnTo>
                  <a:lnTo>
                    <a:pt x="258" y="510"/>
                  </a:lnTo>
                  <a:lnTo>
                    <a:pt x="252" y="540"/>
                  </a:lnTo>
                  <a:lnTo>
                    <a:pt x="246" y="564"/>
                  </a:lnTo>
                  <a:lnTo>
                    <a:pt x="246" y="570"/>
                  </a:lnTo>
                  <a:lnTo>
                    <a:pt x="252" y="576"/>
                  </a:lnTo>
                  <a:lnTo>
                    <a:pt x="246" y="582"/>
                  </a:lnTo>
                  <a:lnTo>
                    <a:pt x="252" y="600"/>
                  </a:lnTo>
                  <a:lnTo>
                    <a:pt x="258" y="606"/>
                  </a:lnTo>
                  <a:lnTo>
                    <a:pt x="258" y="612"/>
                  </a:lnTo>
                  <a:lnTo>
                    <a:pt x="252" y="618"/>
                  </a:lnTo>
                  <a:lnTo>
                    <a:pt x="246" y="624"/>
                  </a:lnTo>
                  <a:lnTo>
                    <a:pt x="246" y="630"/>
                  </a:lnTo>
                  <a:lnTo>
                    <a:pt x="246" y="636"/>
                  </a:lnTo>
                  <a:lnTo>
                    <a:pt x="240" y="642"/>
                  </a:lnTo>
                  <a:lnTo>
                    <a:pt x="234" y="654"/>
                  </a:lnTo>
                  <a:lnTo>
                    <a:pt x="228" y="654"/>
                  </a:lnTo>
                  <a:lnTo>
                    <a:pt x="222" y="660"/>
                  </a:lnTo>
                  <a:lnTo>
                    <a:pt x="216" y="666"/>
                  </a:lnTo>
                  <a:lnTo>
                    <a:pt x="210" y="666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22" y="684"/>
                  </a:lnTo>
                  <a:lnTo>
                    <a:pt x="222" y="690"/>
                  </a:lnTo>
                  <a:lnTo>
                    <a:pt x="222" y="696"/>
                  </a:lnTo>
                  <a:lnTo>
                    <a:pt x="222" y="702"/>
                  </a:lnTo>
                  <a:lnTo>
                    <a:pt x="216" y="708"/>
                  </a:lnTo>
                  <a:lnTo>
                    <a:pt x="210" y="720"/>
                  </a:lnTo>
                  <a:lnTo>
                    <a:pt x="216" y="732"/>
                  </a:lnTo>
                  <a:lnTo>
                    <a:pt x="210" y="732"/>
                  </a:lnTo>
                  <a:lnTo>
                    <a:pt x="216" y="738"/>
                  </a:lnTo>
                  <a:lnTo>
                    <a:pt x="216" y="744"/>
                  </a:lnTo>
                  <a:lnTo>
                    <a:pt x="222" y="750"/>
                  </a:lnTo>
                  <a:lnTo>
                    <a:pt x="228" y="756"/>
                  </a:lnTo>
                  <a:lnTo>
                    <a:pt x="222" y="762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04" y="762"/>
                  </a:lnTo>
                  <a:lnTo>
                    <a:pt x="198" y="762"/>
                  </a:lnTo>
                  <a:lnTo>
                    <a:pt x="192" y="762"/>
                  </a:lnTo>
                  <a:lnTo>
                    <a:pt x="186" y="756"/>
                  </a:lnTo>
                  <a:lnTo>
                    <a:pt x="180" y="750"/>
                  </a:lnTo>
                  <a:lnTo>
                    <a:pt x="180" y="744"/>
                  </a:lnTo>
                  <a:lnTo>
                    <a:pt x="174" y="744"/>
                  </a:lnTo>
                  <a:lnTo>
                    <a:pt x="156" y="750"/>
                  </a:lnTo>
                  <a:lnTo>
                    <a:pt x="150" y="750"/>
                  </a:lnTo>
                  <a:lnTo>
                    <a:pt x="144" y="750"/>
                  </a:lnTo>
                  <a:lnTo>
                    <a:pt x="138" y="750"/>
                  </a:lnTo>
                  <a:lnTo>
                    <a:pt x="138" y="744"/>
                  </a:lnTo>
                  <a:lnTo>
                    <a:pt x="132" y="744"/>
                  </a:lnTo>
                  <a:lnTo>
                    <a:pt x="120" y="744"/>
                  </a:lnTo>
                  <a:lnTo>
                    <a:pt x="114" y="738"/>
                  </a:lnTo>
                  <a:lnTo>
                    <a:pt x="108" y="744"/>
                  </a:lnTo>
                  <a:lnTo>
                    <a:pt x="102" y="744"/>
                  </a:lnTo>
                  <a:lnTo>
                    <a:pt x="96" y="744"/>
                  </a:lnTo>
                  <a:lnTo>
                    <a:pt x="96" y="738"/>
                  </a:lnTo>
                  <a:lnTo>
                    <a:pt x="96" y="744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44"/>
                  </a:lnTo>
                  <a:lnTo>
                    <a:pt x="72" y="750"/>
                  </a:lnTo>
                  <a:lnTo>
                    <a:pt x="66" y="750"/>
                  </a:lnTo>
                  <a:lnTo>
                    <a:pt x="60" y="750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0"/>
                  </a:lnTo>
                  <a:lnTo>
                    <a:pt x="30" y="750"/>
                  </a:lnTo>
                  <a:lnTo>
                    <a:pt x="24" y="744"/>
                  </a:lnTo>
                  <a:lnTo>
                    <a:pt x="18" y="738"/>
                  </a:lnTo>
                  <a:lnTo>
                    <a:pt x="6" y="738"/>
                  </a:lnTo>
                  <a:lnTo>
                    <a:pt x="0" y="732"/>
                  </a:lnTo>
                  <a:lnTo>
                    <a:pt x="0" y="726"/>
                  </a:lnTo>
                  <a:lnTo>
                    <a:pt x="0" y="720"/>
                  </a:lnTo>
                  <a:lnTo>
                    <a:pt x="6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8" y="702"/>
                  </a:lnTo>
                  <a:lnTo>
                    <a:pt x="24" y="696"/>
                  </a:lnTo>
                  <a:lnTo>
                    <a:pt x="30" y="696"/>
                  </a:lnTo>
                  <a:lnTo>
                    <a:pt x="48" y="690"/>
                  </a:lnTo>
                  <a:lnTo>
                    <a:pt x="54" y="678"/>
                  </a:lnTo>
                  <a:lnTo>
                    <a:pt x="66" y="672"/>
                  </a:lnTo>
                  <a:lnTo>
                    <a:pt x="66" y="654"/>
                  </a:lnTo>
                  <a:lnTo>
                    <a:pt x="72" y="636"/>
                  </a:lnTo>
                  <a:lnTo>
                    <a:pt x="72" y="612"/>
                  </a:lnTo>
                  <a:lnTo>
                    <a:pt x="84" y="594"/>
                  </a:lnTo>
                  <a:lnTo>
                    <a:pt x="90" y="576"/>
                  </a:lnTo>
                  <a:lnTo>
                    <a:pt x="96" y="552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72" y="522"/>
                  </a:lnTo>
                  <a:lnTo>
                    <a:pt x="78" y="510"/>
                  </a:lnTo>
                  <a:lnTo>
                    <a:pt x="78" y="504"/>
                  </a:lnTo>
                  <a:lnTo>
                    <a:pt x="84" y="480"/>
                  </a:lnTo>
                  <a:lnTo>
                    <a:pt x="90" y="468"/>
                  </a:lnTo>
                  <a:lnTo>
                    <a:pt x="90" y="456"/>
                  </a:lnTo>
                  <a:lnTo>
                    <a:pt x="96" y="456"/>
                  </a:lnTo>
                  <a:lnTo>
                    <a:pt x="96" y="444"/>
                  </a:lnTo>
                  <a:lnTo>
                    <a:pt x="102" y="438"/>
                  </a:lnTo>
                  <a:lnTo>
                    <a:pt x="102" y="432"/>
                  </a:lnTo>
                  <a:lnTo>
                    <a:pt x="108" y="432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14" y="408"/>
                  </a:lnTo>
                  <a:lnTo>
                    <a:pt x="114" y="402"/>
                  </a:lnTo>
                  <a:lnTo>
                    <a:pt x="126" y="384"/>
                  </a:lnTo>
                  <a:lnTo>
                    <a:pt x="138" y="378"/>
                  </a:lnTo>
                  <a:lnTo>
                    <a:pt x="138" y="372"/>
                  </a:lnTo>
                  <a:lnTo>
                    <a:pt x="150" y="354"/>
                  </a:lnTo>
                  <a:lnTo>
                    <a:pt x="156" y="342"/>
                  </a:lnTo>
                  <a:lnTo>
                    <a:pt x="162" y="330"/>
                  </a:lnTo>
                  <a:lnTo>
                    <a:pt x="168" y="324"/>
                  </a:lnTo>
                  <a:lnTo>
                    <a:pt x="168" y="312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74" y="294"/>
                  </a:lnTo>
                  <a:lnTo>
                    <a:pt x="180" y="288"/>
                  </a:lnTo>
                  <a:lnTo>
                    <a:pt x="180" y="276"/>
                  </a:lnTo>
                  <a:lnTo>
                    <a:pt x="186" y="276"/>
                  </a:lnTo>
                  <a:lnTo>
                    <a:pt x="186" y="270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40"/>
                  </a:lnTo>
                  <a:lnTo>
                    <a:pt x="168" y="240"/>
                  </a:lnTo>
                  <a:lnTo>
                    <a:pt x="162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68" y="216"/>
                  </a:lnTo>
                  <a:lnTo>
                    <a:pt x="168" y="180"/>
                  </a:lnTo>
                  <a:lnTo>
                    <a:pt x="168" y="144"/>
                  </a:lnTo>
                  <a:lnTo>
                    <a:pt x="162" y="120"/>
                  </a:lnTo>
                  <a:lnTo>
                    <a:pt x="162" y="108"/>
                  </a:lnTo>
                  <a:lnTo>
                    <a:pt x="168" y="102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44" y="84"/>
                  </a:lnTo>
                  <a:lnTo>
                    <a:pt x="126" y="84"/>
                  </a:lnTo>
                  <a:lnTo>
                    <a:pt x="108" y="78"/>
                  </a:lnTo>
                  <a:lnTo>
                    <a:pt x="96" y="78"/>
                  </a:lnTo>
                  <a:lnTo>
                    <a:pt x="78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8" y="36"/>
                  </a:lnTo>
                  <a:lnTo>
                    <a:pt x="96" y="24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56" y="0"/>
                  </a:lnTo>
                  <a:lnTo>
                    <a:pt x="156" y="6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18"/>
                  </a:lnTo>
                  <a:lnTo>
                    <a:pt x="198" y="18"/>
                  </a:lnTo>
                  <a:lnTo>
                    <a:pt x="210" y="18"/>
                  </a:lnTo>
                  <a:lnTo>
                    <a:pt x="222" y="18"/>
                  </a:lnTo>
                  <a:lnTo>
                    <a:pt x="234" y="12"/>
                  </a:lnTo>
                  <a:lnTo>
                    <a:pt x="252" y="18"/>
                  </a:lnTo>
                  <a:lnTo>
                    <a:pt x="252" y="24"/>
                  </a:lnTo>
                  <a:lnTo>
                    <a:pt x="258" y="36"/>
                  </a:lnTo>
                  <a:lnTo>
                    <a:pt x="258" y="66"/>
                  </a:lnTo>
                  <a:lnTo>
                    <a:pt x="252" y="84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82" y="126"/>
                  </a:lnTo>
                  <a:lnTo>
                    <a:pt x="294" y="132"/>
                  </a:lnTo>
                  <a:lnTo>
                    <a:pt x="306" y="138"/>
                  </a:lnTo>
                  <a:lnTo>
                    <a:pt x="324" y="138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60" y="144"/>
                  </a:lnTo>
                  <a:lnTo>
                    <a:pt x="396" y="144"/>
                  </a:lnTo>
                  <a:lnTo>
                    <a:pt x="408" y="150"/>
                  </a:lnTo>
                  <a:lnTo>
                    <a:pt x="414" y="180"/>
                  </a:lnTo>
                  <a:lnTo>
                    <a:pt x="420" y="186"/>
                  </a:lnTo>
                  <a:lnTo>
                    <a:pt x="426" y="192"/>
                  </a:lnTo>
                  <a:lnTo>
                    <a:pt x="426" y="198"/>
                  </a:lnTo>
                  <a:lnTo>
                    <a:pt x="432" y="198"/>
                  </a:lnTo>
                  <a:lnTo>
                    <a:pt x="438" y="210"/>
                  </a:lnTo>
                  <a:lnTo>
                    <a:pt x="450" y="216"/>
                  </a:lnTo>
                  <a:lnTo>
                    <a:pt x="468" y="228"/>
                  </a:lnTo>
                  <a:lnTo>
                    <a:pt x="492" y="234"/>
                  </a:lnTo>
                  <a:lnTo>
                    <a:pt x="492" y="246"/>
                  </a:lnTo>
                  <a:lnTo>
                    <a:pt x="492" y="270"/>
                  </a:lnTo>
                  <a:lnTo>
                    <a:pt x="486" y="294"/>
                  </a:lnTo>
                  <a:lnTo>
                    <a:pt x="486" y="312"/>
                  </a:lnTo>
                  <a:lnTo>
                    <a:pt x="486" y="330"/>
                  </a:lnTo>
                  <a:lnTo>
                    <a:pt x="492" y="348"/>
                  </a:lnTo>
                  <a:lnTo>
                    <a:pt x="498" y="360"/>
                  </a:lnTo>
                  <a:lnTo>
                    <a:pt x="510" y="366"/>
                  </a:lnTo>
                  <a:lnTo>
                    <a:pt x="516" y="384"/>
                  </a:lnTo>
                  <a:lnTo>
                    <a:pt x="522" y="414"/>
                  </a:lnTo>
                  <a:lnTo>
                    <a:pt x="528" y="414"/>
                  </a:lnTo>
                  <a:lnTo>
                    <a:pt x="534" y="426"/>
                  </a:lnTo>
                  <a:lnTo>
                    <a:pt x="528" y="432"/>
                  </a:lnTo>
                  <a:lnTo>
                    <a:pt x="468" y="426"/>
                  </a:lnTo>
                  <a:lnTo>
                    <a:pt x="462" y="4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3" name="Freeform 8">
              <a:extLst>
                <a:ext uri="{FF2B5EF4-FFF2-40B4-BE49-F238E27FC236}">
                  <a16:creationId xmlns:a16="http://schemas.microsoft.com/office/drawing/2014/main" id="{D473457C-872E-4E31-888A-D60FD52063A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98175" y="4307054"/>
              <a:ext cx="295177" cy="348894"/>
            </a:xfrm>
            <a:custGeom>
              <a:avLst/>
              <a:gdLst>
                <a:gd name="T0" fmla="*/ 3 w 552"/>
                <a:gd name="T1" fmla="*/ 46 h 660"/>
                <a:gd name="T2" fmla="*/ 4 w 552"/>
                <a:gd name="T3" fmla="*/ 42 h 660"/>
                <a:gd name="T4" fmla="*/ 2 w 552"/>
                <a:gd name="T5" fmla="*/ 38 h 660"/>
                <a:gd name="T6" fmla="*/ 0 w 552"/>
                <a:gd name="T7" fmla="*/ 34 h 660"/>
                <a:gd name="T8" fmla="*/ 2 w 552"/>
                <a:gd name="T9" fmla="*/ 30 h 660"/>
                <a:gd name="T10" fmla="*/ 3 w 552"/>
                <a:gd name="T11" fmla="*/ 27 h 660"/>
                <a:gd name="T12" fmla="*/ 5 w 552"/>
                <a:gd name="T13" fmla="*/ 23 h 660"/>
                <a:gd name="T14" fmla="*/ 5 w 552"/>
                <a:gd name="T15" fmla="*/ 15 h 660"/>
                <a:gd name="T16" fmla="*/ 6 w 552"/>
                <a:gd name="T17" fmla="*/ 11 h 660"/>
                <a:gd name="T18" fmla="*/ 11 w 552"/>
                <a:gd name="T19" fmla="*/ 9 h 660"/>
                <a:gd name="T20" fmla="*/ 10 w 552"/>
                <a:gd name="T21" fmla="*/ 5 h 660"/>
                <a:gd name="T22" fmla="*/ 12 w 552"/>
                <a:gd name="T23" fmla="*/ 1 h 660"/>
                <a:gd name="T24" fmla="*/ 16 w 552"/>
                <a:gd name="T25" fmla="*/ 2 h 660"/>
                <a:gd name="T26" fmla="*/ 23 w 552"/>
                <a:gd name="T27" fmla="*/ 8 h 660"/>
                <a:gd name="T28" fmla="*/ 23 w 552"/>
                <a:gd name="T29" fmla="*/ 11 h 660"/>
                <a:gd name="T30" fmla="*/ 27 w 552"/>
                <a:gd name="T31" fmla="*/ 12 h 660"/>
                <a:gd name="T32" fmla="*/ 29 w 552"/>
                <a:gd name="T33" fmla="*/ 17 h 660"/>
                <a:gd name="T34" fmla="*/ 31 w 552"/>
                <a:gd name="T35" fmla="*/ 15 h 660"/>
                <a:gd name="T36" fmla="*/ 33 w 552"/>
                <a:gd name="T37" fmla="*/ 17 h 660"/>
                <a:gd name="T38" fmla="*/ 36 w 552"/>
                <a:gd name="T39" fmla="*/ 23 h 660"/>
                <a:gd name="T40" fmla="*/ 41 w 552"/>
                <a:gd name="T41" fmla="*/ 33 h 660"/>
                <a:gd name="T42" fmla="*/ 43 w 552"/>
                <a:gd name="T43" fmla="*/ 36 h 660"/>
                <a:gd name="T44" fmla="*/ 43 w 552"/>
                <a:gd name="T45" fmla="*/ 37 h 660"/>
                <a:gd name="T46" fmla="*/ 41 w 552"/>
                <a:gd name="T47" fmla="*/ 35 h 660"/>
                <a:gd name="T48" fmla="*/ 43 w 552"/>
                <a:gd name="T49" fmla="*/ 37 h 660"/>
                <a:gd name="T50" fmla="*/ 44 w 552"/>
                <a:gd name="T51" fmla="*/ 39 h 660"/>
                <a:gd name="T52" fmla="*/ 47 w 552"/>
                <a:gd name="T53" fmla="*/ 41 h 660"/>
                <a:gd name="T54" fmla="*/ 47 w 552"/>
                <a:gd name="T55" fmla="*/ 44 h 660"/>
                <a:gd name="T56" fmla="*/ 48 w 552"/>
                <a:gd name="T57" fmla="*/ 46 h 660"/>
                <a:gd name="T58" fmla="*/ 47 w 552"/>
                <a:gd name="T59" fmla="*/ 46 h 660"/>
                <a:gd name="T60" fmla="*/ 44 w 552"/>
                <a:gd name="T61" fmla="*/ 46 h 660"/>
                <a:gd name="T62" fmla="*/ 47 w 552"/>
                <a:gd name="T63" fmla="*/ 47 h 660"/>
                <a:gd name="T64" fmla="*/ 47 w 552"/>
                <a:gd name="T65" fmla="*/ 49 h 660"/>
                <a:gd name="T66" fmla="*/ 47 w 552"/>
                <a:gd name="T67" fmla="*/ 52 h 660"/>
                <a:gd name="T68" fmla="*/ 46 w 552"/>
                <a:gd name="T69" fmla="*/ 53 h 660"/>
                <a:gd name="T70" fmla="*/ 43 w 552"/>
                <a:gd name="T71" fmla="*/ 54 h 660"/>
                <a:gd name="T72" fmla="*/ 37 w 552"/>
                <a:gd name="T73" fmla="*/ 54 h 660"/>
                <a:gd name="T74" fmla="*/ 30 w 552"/>
                <a:gd name="T75" fmla="*/ 54 h 660"/>
                <a:gd name="T76" fmla="*/ 29 w 552"/>
                <a:gd name="T77" fmla="*/ 53 h 660"/>
                <a:gd name="T78" fmla="*/ 27 w 552"/>
                <a:gd name="T79" fmla="*/ 53 h 660"/>
                <a:gd name="T80" fmla="*/ 29 w 552"/>
                <a:gd name="T81" fmla="*/ 53 h 660"/>
                <a:gd name="T82" fmla="*/ 28 w 552"/>
                <a:gd name="T83" fmla="*/ 54 h 660"/>
                <a:gd name="T84" fmla="*/ 24 w 552"/>
                <a:gd name="T85" fmla="*/ 54 h 660"/>
                <a:gd name="T86" fmla="*/ 20 w 552"/>
                <a:gd name="T87" fmla="*/ 55 h 660"/>
                <a:gd name="T88" fmla="*/ 15 w 552"/>
                <a:gd name="T89" fmla="*/ 56 h 660"/>
                <a:gd name="T90" fmla="*/ 12 w 552"/>
                <a:gd name="T91" fmla="*/ 56 h 660"/>
                <a:gd name="T92" fmla="*/ 11 w 552"/>
                <a:gd name="T93" fmla="*/ 57 h 660"/>
                <a:gd name="T94" fmla="*/ 9 w 552"/>
                <a:gd name="T95" fmla="*/ 57 h 660"/>
                <a:gd name="T96" fmla="*/ 7 w 552"/>
                <a:gd name="T97" fmla="*/ 56 h 660"/>
                <a:gd name="T98" fmla="*/ 5 w 552"/>
                <a:gd name="T99" fmla="*/ 55 h 660"/>
                <a:gd name="T100" fmla="*/ 7 w 552"/>
                <a:gd name="T101" fmla="*/ 54 h 660"/>
                <a:gd name="T102" fmla="*/ 5 w 552"/>
                <a:gd name="T103" fmla="*/ 54 h 660"/>
                <a:gd name="T104" fmla="*/ 5 w 552"/>
                <a:gd name="T105" fmla="*/ 53 h 660"/>
                <a:gd name="T106" fmla="*/ 4 w 552"/>
                <a:gd name="T107" fmla="*/ 49 h 660"/>
                <a:gd name="T108" fmla="*/ 45 w 552"/>
                <a:gd name="T109" fmla="*/ 38 h 66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52"/>
                <a:gd name="T166" fmla="*/ 0 h 660"/>
                <a:gd name="T167" fmla="*/ 552 w 552"/>
                <a:gd name="T168" fmla="*/ 660 h 66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52" h="660">
                  <a:moveTo>
                    <a:pt x="36" y="564"/>
                  </a:moveTo>
                  <a:lnTo>
                    <a:pt x="36" y="558"/>
                  </a:lnTo>
                  <a:lnTo>
                    <a:pt x="36" y="552"/>
                  </a:lnTo>
                  <a:lnTo>
                    <a:pt x="42" y="546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34"/>
                  </a:lnTo>
                  <a:lnTo>
                    <a:pt x="36" y="528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54" y="510"/>
                  </a:lnTo>
                  <a:lnTo>
                    <a:pt x="54" y="504"/>
                  </a:lnTo>
                  <a:lnTo>
                    <a:pt x="54" y="498"/>
                  </a:lnTo>
                  <a:lnTo>
                    <a:pt x="48" y="492"/>
                  </a:lnTo>
                  <a:lnTo>
                    <a:pt x="42" y="486"/>
                  </a:lnTo>
                  <a:lnTo>
                    <a:pt x="42" y="480"/>
                  </a:lnTo>
                  <a:lnTo>
                    <a:pt x="42" y="468"/>
                  </a:lnTo>
                  <a:lnTo>
                    <a:pt x="30" y="456"/>
                  </a:lnTo>
                  <a:lnTo>
                    <a:pt x="30" y="450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2"/>
                  </a:lnTo>
                  <a:lnTo>
                    <a:pt x="18" y="426"/>
                  </a:lnTo>
                  <a:lnTo>
                    <a:pt x="24" y="420"/>
                  </a:lnTo>
                  <a:lnTo>
                    <a:pt x="18" y="414"/>
                  </a:lnTo>
                  <a:lnTo>
                    <a:pt x="12" y="408"/>
                  </a:lnTo>
                  <a:lnTo>
                    <a:pt x="12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6" y="384"/>
                  </a:lnTo>
                  <a:lnTo>
                    <a:pt x="12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8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36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54" y="270"/>
                  </a:lnTo>
                  <a:lnTo>
                    <a:pt x="48" y="264"/>
                  </a:lnTo>
                  <a:lnTo>
                    <a:pt x="42" y="246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8" y="204"/>
                  </a:lnTo>
                  <a:lnTo>
                    <a:pt x="54" y="174"/>
                  </a:lnTo>
                  <a:lnTo>
                    <a:pt x="54" y="162"/>
                  </a:lnTo>
                  <a:lnTo>
                    <a:pt x="54" y="156"/>
                  </a:lnTo>
                  <a:lnTo>
                    <a:pt x="54" y="144"/>
                  </a:lnTo>
                  <a:lnTo>
                    <a:pt x="48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72" y="126"/>
                  </a:lnTo>
                  <a:lnTo>
                    <a:pt x="84" y="126"/>
                  </a:lnTo>
                  <a:lnTo>
                    <a:pt x="96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2" y="84"/>
                  </a:lnTo>
                  <a:lnTo>
                    <a:pt x="126" y="78"/>
                  </a:lnTo>
                  <a:lnTo>
                    <a:pt x="120" y="78"/>
                  </a:lnTo>
                  <a:lnTo>
                    <a:pt x="102" y="84"/>
                  </a:lnTo>
                  <a:lnTo>
                    <a:pt x="108" y="66"/>
                  </a:lnTo>
                  <a:lnTo>
                    <a:pt x="114" y="54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8" y="4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6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74" y="0"/>
                  </a:lnTo>
                  <a:lnTo>
                    <a:pt x="180" y="0"/>
                  </a:lnTo>
                  <a:lnTo>
                    <a:pt x="186" y="18"/>
                  </a:lnTo>
                  <a:lnTo>
                    <a:pt x="198" y="30"/>
                  </a:lnTo>
                  <a:lnTo>
                    <a:pt x="204" y="54"/>
                  </a:lnTo>
                  <a:lnTo>
                    <a:pt x="216" y="60"/>
                  </a:lnTo>
                  <a:lnTo>
                    <a:pt x="240" y="60"/>
                  </a:lnTo>
                  <a:lnTo>
                    <a:pt x="246" y="66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2" y="120"/>
                  </a:lnTo>
                  <a:lnTo>
                    <a:pt x="25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6" y="126"/>
                  </a:lnTo>
                  <a:lnTo>
                    <a:pt x="282" y="120"/>
                  </a:lnTo>
                  <a:lnTo>
                    <a:pt x="282" y="126"/>
                  </a:lnTo>
                  <a:lnTo>
                    <a:pt x="294" y="126"/>
                  </a:lnTo>
                  <a:lnTo>
                    <a:pt x="300" y="132"/>
                  </a:lnTo>
                  <a:lnTo>
                    <a:pt x="306" y="144"/>
                  </a:lnTo>
                  <a:lnTo>
                    <a:pt x="312" y="144"/>
                  </a:lnTo>
                  <a:lnTo>
                    <a:pt x="312" y="150"/>
                  </a:lnTo>
                  <a:lnTo>
                    <a:pt x="312" y="162"/>
                  </a:lnTo>
                  <a:lnTo>
                    <a:pt x="312" y="174"/>
                  </a:lnTo>
                  <a:lnTo>
                    <a:pt x="324" y="180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30" y="192"/>
                  </a:lnTo>
                  <a:lnTo>
                    <a:pt x="336" y="198"/>
                  </a:lnTo>
                  <a:lnTo>
                    <a:pt x="342" y="192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54" y="180"/>
                  </a:lnTo>
                  <a:lnTo>
                    <a:pt x="354" y="174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84" y="192"/>
                  </a:lnTo>
                  <a:lnTo>
                    <a:pt x="390" y="204"/>
                  </a:lnTo>
                  <a:lnTo>
                    <a:pt x="390" y="210"/>
                  </a:lnTo>
                  <a:lnTo>
                    <a:pt x="390" y="216"/>
                  </a:lnTo>
                  <a:lnTo>
                    <a:pt x="384" y="234"/>
                  </a:lnTo>
                  <a:lnTo>
                    <a:pt x="390" y="240"/>
                  </a:lnTo>
                  <a:lnTo>
                    <a:pt x="408" y="252"/>
                  </a:lnTo>
                  <a:lnTo>
                    <a:pt x="414" y="264"/>
                  </a:lnTo>
                  <a:lnTo>
                    <a:pt x="408" y="300"/>
                  </a:lnTo>
                  <a:lnTo>
                    <a:pt x="414" y="312"/>
                  </a:lnTo>
                  <a:lnTo>
                    <a:pt x="426" y="336"/>
                  </a:lnTo>
                  <a:lnTo>
                    <a:pt x="438" y="354"/>
                  </a:lnTo>
                  <a:lnTo>
                    <a:pt x="444" y="366"/>
                  </a:lnTo>
                  <a:lnTo>
                    <a:pt x="456" y="366"/>
                  </a:lnTo>
                  <a:lnTo>
                    <a:pt x="474" y="378"/>
                  </a:lnTo>
                  <a:lnTo>
                    <a:pt x="474" y="384"/>
                  </a:lnTo>
                  <a:lnTo>
                    <a:pt x="480" y="390"/>
                  </a:lnTo>
                  <a:lnTo>
                    <a:pt x="486" y="396"/>
                  </a:lnTo>
                  <a:lnTo>
                    <a:pt x="486" y="402"/>
                  </a:lnTo>
                  <a:lnTo>
                    <a:pt x="480" y="408"/>
                  </a:lnTo>
                  <a:lnTo>
                    <a:pt x="486" y="408"/>
                  </a:lnTo>
                  <a:lnTo>
                    <a:pt x="486" y="414"/>
                  </a:lnTo>
                  <a:lnTo>
                    <a:pt x="492" y="414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32"/>
                  </a:lnTo>
                  <a:lnTo>
                    <a:pt x="498" y="438"/>
                  </a:lnTo>
                  <a:lnTo>
                    <a:pt x="492" y="432"/>
                  </a:lnTo>
                  <a:lnTo>
                    <a:pt x="486" y="426"/>
                  </a:lnTo>
                  <a:lnTo>
                    <a:pt x="486" y="420"/>
                  </a:lnTo>
                  <a:lnTo>
                    <a:pt x="486" y="414"/>
                  </a:lnTo>
                  <a:lnTo>
                    <a:pt x="480" y="414"/>
                  </a:lnTo>
                  <a:lnTo>
                    <a:pt x="480" y="408"/>
                  </a:lnTo>
                  <a:lnTo>
                    <a:pt x="474" y="408"/>
                  </a:lnTo>
                  <a:lnTo>
                    <a:pt x="468" y="408"/>
                  </a:lnTo>
                  <a:lnTo>
                    <a:pt x="468" y="402"/>
                  </a:lnTo>
                  <a:lnTo>
                    <a:pt x="462" y="402"/>
                  </a:lnTo>
                  <a:lnTo>
                    <a:pt x="462" y="408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80" y="426"/>
                  </a:lnTo>
                  <a:lnTo>
                    <a:pt x="486" y="426"/>
                  </a:lnTo>
                  <a:lnTo>
                    <a:pt x="486" y="432"/>
                  </a:lnTo>
                  <a:lnTo>
                    <a:pt x="492" y="438"/>
                  </a:lnTo>
                  <a:lnTo>
                    <a:pt x="498" y="438"/>
                  </a:lnTo>
                  <a:lnTo>
                    <a:pt x="504" y="444"/>
                  </a:lnTo>
                  <a:lnTo>
                    <a:pt x="510" y="444"/>
                  </a:lnTo>
                  <a:lnTo>
                    <a:pt x="510" y="450"/>
                  </a:lnTo>
                  <a:lnTo>
                    <a:pt x="510" y="456"/>
                  </a:lnTo>
                  <a:lnTo>
                    <a:pt x="516" y="456"/>
                  </a:lnTo>
                  <a:lnTo>
                    <a:pt x="516" y="462"/>
                  </a:lnTo>
                  <a:lnTo>
                    <a:pt x="522" y="462"/>
                  </a:lnTo>
                  <a:lnTo>
                    <a:pt x="522" y="468"/>
                  </a:lnTo>
                  <a:lnTo>
                    <a:pt x="528" y="468"/>
                  </a:lnTo>
                  <a:lnTo>
                    <a:pt x="534" y="468"/>
                  </a:lnTo>
                  <a:lnTo>
                    <a:pt x="534" y="474"/>
                  </a:lnTo>
                  <a:lnTo>
                    <a:pt x="540" y="474"/>
                  </a:lnTo>
                  <a:lnTo>
                    <a:pt x="540" y="480"/>
                  </a:lnTo>
                  <a:lnTo>
                    <a:pt x="546" y="486"/>
                  </a:lnTo>
                  <a:lnTo>
                    <a:pt x="546" y="492"/>
                  </a:lnTo>
                  <a:lnTo>
                    <a:pt x="546" y="498"/>
                  </a:lnTo>
                  <a:lnTo>
                    <a:pt x="546" y="504"/>
                  </a:lnTo>
                  <a:lnTo>
                    <a:pt x="540" y="504"/>
                  </a:lnTo>
                  <a:lnTo>
                    <a:pt x="546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10"/>
                  </a:lnTo>
                  <a:lnTo>
                    <a:pt x="552" y="516"/>
                  </a:lnTo>
                  <a:lnTo>
                    <a:pt x="552" y="522"/>
                  </a:lnTo>
                  <a:lnTo>
                    <a:pt x="552" y="528"/>
                  </a:lnTo>
                  <a:lnTo>
                    <a:pt x="552" y="534"/>
                  </a:lnTo>
                  <a:lnTo>
                    <a:pt x="552" y="540"/>
                  </a:lnTo>
                  <a:lnTo>
                    <a:pt x="546" y="540"/>
                  </a:lnTo>
                  <a:lnTo>
                    <a:pt x="546" y="546"/>
                  </a:lnTo>
                  <a:lnTo>
                    <a:pt x="546" y="540"/>
                  </a:lnTo>
                  <a:lnTo>
                    <a:pt x="546" y="534"/>
                  </a:lnTo>
                  <a:lnTo>
                    <a:pt x="540" y="534"/>
                  </a:lnTo>
                  <a:lnTo>
                    <a:pt x="540" y="528"/>
                  </a:lnTo>
                  <a:lnTo>
                    <a:pt x="534" y="528"/>
                  </a:lnTo>
                  <a:lnTo>
                    <a:pt x="528" y="528"/>
                  </a:lnTo>
                  <a:lnTo>
                    <a:pt x="522" y="528"/>
                  </a:lnTo>
                  <a:lnTo>
                    <a:pt x="516" y="528"/>
                  </a:lnTo>
                  <a:lnTo>
                    <a:pt x="510" y="528"/>
                  </a:lnTo>
                  <a:lnTo>
                    <a:pt x="510" y="534"/>
                  </a:lnTo>
                  <a:lnTo>
                    <a:pt x="510" y="528"/>
                  </a:lnTo>
                  <a:lnTo>
                    <a:pt x="516" y="528"/>
                  </a:lnTo>
                  <a:lnTo>
                    <a:pt x="522" y="528"/>
                  </a:lnTo>
                  <a:lnTo>
                    <a:pt x="528" y="528"/>
                  </a:lnTo>
                  <a:lnTo>
                    <a:pt x="534" y="534"/>
                  </a:lnTo>
                  <a:lnTo>
                    <a:pt x="540" y="534"/>
                  </a:lnTo>
                  <a:lnTo>
                    <a:pt x="540" y="540"/>
                  </a:lnTo>
                  <a:lnTo>
                    <a:pt x="540" y="546"/>
                  </a:lnTo>
                  <a:lnTo>
                    <a:pt x="546" y="546"/>
                  </a:lnTo>
                  <a:lnTo>
                    <a:pt x="546" y="552"/>
                  </a:lnTo>
                  <a:lnTo>
                    <a:pt x="552" y="552"/>
                  </a:lnTo>
                  <a:lnTo>
                    <a:pt x="552" y="558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0" y="576"/>
                  </a:lnTo>
                  <a:lnTo>
                    <a:pt x="540" y="582"/>
                  </a:lnTo>
                  <a:lnTo>
                    <a:pt x="540" y="588"/>
                  </a:lnTo>
                  <a:lnTo>
                    <a:pt x="534" y="594"/>
                  </a:lnTo>
                  <a:lnTo>
                    <a:pt x="534" y="600"/>
                  </a:lnTo>
                  <a:lnTo>
                    <a:pt x="528" y="600"/>
                  </a:lnTo>
                  <a:lnTo>
                    <a:pt x="522" y="594"/>
                  </a:lnTo>
                  <a:lnTo>
                    <a:pt x="528" y="600"/>
                  </a:lnTo>
                  <a:lnTo>
                    <a:pt x="534" y="600"/>
                  </a:lnTo>
                  <a:lnTo>
                    <a:pt x="534" y="606"/>
                  </a:lnTo>
                  <a:lnTo>
                    <a:pt x="528" y="606"/>
                  </a:lnTo>
                  <a:lnTo>
                    <a:pt x="528" y="612"/>
                  </a:lnTo>
                  <a:lnTo>
                    <a:pt x="522" y="612"/>
                  </a:lnTo>
                  <a:lnTo>
                    <a:pt x="522" y="618"/>
                  </a:lnTo>
                  <a:lnTo>
                    <a:pt x="522" y="624"/>
                  </a:lnTo>
                  <a:lnTo>
                    <a:pt x="510" y="624"/>
                  </a:lnTo>
                  <a:lnTo>
                    <a:pt x="498" y="624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0" y="624"/>
                  </a:lnTo>
                  <a:lnTo>
                    <a:pt x="474" y="624"/>
                  </a:lnTo>
                  <a:lnTo>
                    <a:pt x="468" y="618"/>
                  </a:lnTo>
                  <a:lnTo>
                    <a:pt x="456" y="618"/>
                  </a:lnTo>
                  <a:lnTo>
                    <a:pt x="450" y="618"/>
                  </a:lnTo>
                  <a:lnTo>
                    <a:pt x="426" y="618"/>
                  </a:lnTo>
                  <a:lnTo>
                    <a:pt x="420" y="618"/>
                  </a:lnTo>
                  <a:lnTo>
                    <a:pt x="414" y="618"/>
                  </a:lnTo>
                  <a:lnTo>
                    <a:pt x="408" y="618"/>
                  </a:lnTo>
                  <a:lnTo>
                    <a:pt x="396" y="618"/>
                  </a:lnTo>
                  <a:lnTo>
                    <a:pt x="366" y="618"/>
                  </a:lnTo>
                  <a:lnTo>
                    <a:pt x="348" y="624"/>
                  </a:lnTo>
                  <a:lnTo>
                    <a:pt x="342" y="624"/>
                  </a:lnTo>
                  <a:lnTo>
                    <a:pt x="342" y="618"/>
                  </a:lnTo>
                  <a:lnTo>
                    <a:pt x="336" y="618"/>
                  </a:lnTo>
                  <a:lnTo>
                    <a:pt x="336" y="612"/>
                  </a:lnTo>
                  <a:lnTo>
                    <a:pt x="342" y="612"/>
                  </a:lnTo>
                  <a:lnTo>
                    <a:pt x="348" y="612"/>
                  </a:lnTo>
                  <a:lnTo>
                    <a:pt x="342" y="612"/>
                  </a:lnTo>
                  <a:lnTo>
                    <a:pt x="336" y="612"/>
                  </a:lnTo>
                  <a:lnTo>
                    <a:pt x="336" y="606"/>
                  </a:lnTo>
                  <a:lnTo>
                    <a:pt x="330" y="606"/>
                  </a:lnTo>
                  <a:lnTo>
                    <a:pt x="330" y="600"/>
                  </a:lnTo>
                  <a:lnTo>
                    <a:pt x="324" y="600"/>
                  </a:lnTo>
                  <a:lnTo>
                    <a:pt x="324" y="606"/>
                  </a:lnTo>
                  <a:lnTo>
                    <a:pt x="318" y="606"/>
                  </a:lnTo>
                  <a:lnTo>
                    <a:pt x="318" y="612"/>
                  </a:lnTo>
                  <a:lnTo>
                    <a:pt x="312" y="612"/>
                  </a:lnTo>
                  <a:lnTo>
                    <a:pt x="306" y="606"/>
                  </a:lnTo>
                  <a:lnTo>
                    <a:pt x="306" y="612"/>
                  </a:lnTo>
                  <a:lnTo>
                    <a:pt x="312" y="612"/>
                  </a:lnTo>
                  <a:lnTo>
                    <a:pt x="318" y="612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30" y="606"/>
                  </a:lnTo>
                  <a:lnTo>
                    <a:pt x="336" y="612"/>
                  </a:lnTo>
                  <a:lnTo>
                    <a:pt x="336" y="618"/>
                  </a:lnTo>
                  <a:lnTo>
                    <a:pt x="330" y="618"/>
                  </a:lnTo>
                  <a:lnTo>
                    <a:pt x="336" y="618"/>
                  </a:lnTo>
                  <a:lnTo>
                    <a:pt x="336" y="624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288" y="624"/>
                  </a:lnTo>
                  <a:lnTo>
                    <a:pt x="282" y="624"/>
                  </a:lnTo>
                  <a:lnTo>
                    <a:pt x="270" y="630"/>
                  </a:lnTo>
                  <a:lnTo>
                    <a:pt x="264" y="630"/>
                  </a:lnTo>
                  <a:lnTo>
                    <a:pt x="258" y="630"/>
                  </a:lnTo>
                  <a:lnTo>
                    <a:pt x="252" y="630"/>
                  </a:lnTo>
                  <a:lnTo>
                    <a:pt x="246" y="630"/>
                  </a:lnTo>
                  <a:lnTo>
                    <a:pt x="240" y="630"/>
                  </a:lnTo>
                  <a:lnTo>
                    <a:pt x="228" y="636"/>
                  </a:lnTo>
                  <a:lnTo>
                    <a:pt x="222" y="636"/>
                  </a:lnTo>
                  <a:lnTo>
                    <a:pt x="210" y="636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42"/>
                  </a:lnTo>
                  <a:lnTo>
                    <a:pt x="186" y="642"/>
                  </a:lnTo>
                  <a:lnTo>
                    <a:pt x="180" y="642"/>
                  </a:lnTo>
                  <a:lnTo>
                    <a:pt x="168" y="642"/>
                  </a:lnTo>
                  <a:lnTo>
                    <a:pt x="162" y="642"/>
                  </a:lnTo>
                  <a:lnTo>
                    <a:pt x="162" y="648"/>
                  </a:lnTo>
                  <a:lnTo>
                    <a:pt x="156" y="648"/>
                  </a:lnTo>
                  <a:lnTo>
                    <a:pt x="150" y="648"/>
                  </a:lnTo>
                  <a:lnTo>
                    <a:pt x="144" y="648"/>
                  </a:lnTo>
                  <a:lnTo>
                    <a:pt x="138" y="648"/>
                  </a:lnTo>
                  <a:lnTo>
                    <a:pt x="132" y="648"/>
                  </a:lnTo>
                  <a:lnTo>
                    <a:pt x="126" y="642"/>
                  </a:lnTo>
                  <a:lnTo>
                    <a:pt x="126" y="636"/>
                  </a:lnTo>
                  <a:lnTo>
                    <a:pt x="120" y="636"/>
                  </a:lnTo>
                  <a:lnTo>
                    <a:pt x="126" y="642"/>
                  </a:lnTo>
                  <a:lnTo>
                    <a:pt x="126" y="648"/>
                  </a:lnTo>
                  <a:lnTo>
                    <a:pt x="132" y="648"/>
                  </a:lnTo>
                  <a:lnTo>
                    <a:pt x="126" y="654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54"/>
                  </a:lnTo>
                  <a:lnTo>
                    <a:pt x="108" y="660"/>
                  </a:lnTo>
                  <a:lnTo>
                    <a:pt x="108" y="654"/>
                  </a:lnTo>
                  <a:lnTo>
                    <a:pt x="102" y="654"/>
                  </a:lnTo>
                  <a:lnTo>
                    <a:pt x="102" y="660"/>
                  </a:lnTo>
                  <a:lnTo>
                    <a:pt x="108" y="660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0" y="660"/>
                  </a:lnTo>
                  <a:lnTo>
                    <a:pt x="90" y="654"/>
                  </a:lnTo>
                  <a:lnTo>
                    <a:pt x="84" y="648"/>
                  </a:lnTo>
                  <a:lnTo>
                    <a:pt x="84" y="642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72" y="636"/>
                  </a:lnTo>
                  <a:lnTo>
                    <a:pt x="78" y="636"/>
                  </a:lnTo>
                  <a:lnTo>
                    <a:pt x="72" y="636"/>
                  </a:lnTo>
                  <a:lnTo>
                    <a:pt x="66" y="636"/>
                  </a:lnTo>
                  <a:lnTo>
                    <a:pt x="60" y="636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60" y="618"/>
                  </a:lnTo>
                  <a:lnTo>
                    <a:pt x="66" y="618"/>
                  </a:lnTo>
                  <a:lnTo>
                    <a:pt x="72" y="618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2" y="612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12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54" y="618"/>
                  </a:lnTo>
                  <a:lnTo>
                    <a:pt x="54" y="624"/>
                  </a:lnTo>
                  <a:lnTo>
                    <a:pt x="48" y="618"/>
                  </a:lnTo>
                  <a:lnTo>
                    <a:pt x="42" y="618"/>
                  </a:lnTo>
                  <a:lnTo>
                    <a:pt x="42" y="612"/>
                  </a:lnTo>
                  <a:lnTo>
                    <a:pt x="48" y="606"/>
                  </a:lnTo>
                  <a:lnTo>
                    <a:pt x="54" y="606"/>
                  </a:lnTo>
                  <a:lnTo>
                    <a:pt x="54" y="600"/>
                  </a:lnTo>
                  <a:lnTo>
                    <a:pt x="54" y="594"/>
                  </a:lnTo>
                  <a:lnTo>
                    <a:pt x="54" y="588"/>
                  </a:lnTo>
                  <a:lnTo>
                    <a:pt x="48" y="588"/>
                  </a:lnTo>
                  <a:lnTo>
                    <a:pt x="48" y="582"/>
                  </a:lnTo>
                  <a:lnTo>
                    <a:pt x="42" y="582"/>
                  </a:lnTo>
                  <a:lnTo>
                    <a:pt x="42" y="570"/>
                  </a:lnTo>
                  <a:lnTo>
                    <a:pt x="42" y="564"/>
                  </a:lnTo>
                  <a:lnTo>
                    <a:pt x="36" y="564"/>
                  </a:lnTo>
                  <a:close/>
                  <a:moveTo>
                    <a:pt x="498" y="420"/>
                  </a:moveTo>
                  <a:lnTo>
                    <a:pt x="504" y="426"/>
                  </a:lnTo>
                  <a:lnTo>
                    <a:pt x="510" y="432"/>
                  </a:lnTo>
                  <a:lnTo>
                    <a:pt x="516" y="432"/>
                  </a:lnTo>
                  <a:lnTo>
                    <a:pt x="516" y="438"/>
                  </a:lnTo>
                  <a:lnTo>
                    <a:pt x="510" y="438"/>
                  </a:lnTo>
                  <a:lnTo>
                    <a:pt x="504" y="438"/>
                  </a:lnTo>
                  <a:lnTo>
                    <a:pt x="504" y="432"/>
                  </a:lnTo>
                  <a:lnTo>
                    <a:pt x="498" y="432"/>
                  </a:lnTo>
                  <a:lnTo>
                    <a:pt x="498" y="426"/>
                  </a:lnTo>
                  <a:lnTo>
                    <a:pt x="498" y="4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4" name="Freeform 9">
              <a:extLst>
                <a:ext uri="{FF2B5EF4-FFF2-40B4-BE49-F238E27FC236}">
                  <a16:creationId xmlns:a16="http://schemas.microsoft.com/office/drawing/2014/main" id="{E0116D32-BD2E-45EA-B818-A3082585D5F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3055" y="2468650"/>
              <a:ext cx="800556" cy="1207710"/>
            </a:xfrm>
            <a:custGeom>
              <a:avLst/>
              <a:gdLst>
                <a:gd name="T0" fmla="*/ 24 w 1506"/>
                <a:gd name="T1" fmla="*/ 190 h 2274"/>
                <a:gd name="T2" fmla="*/ 25 w 1506"/>
                <a:gd name="T3" fmla="*/ 180 h 2274"/>
                <a:gd name="T4" fmla="*/ 21 w 1506"/>
                <a:gd name="T5" fmla="*/ 174 h 2274"/>
                <a:gd name="T6" fmla="*/ 17 w 1506"/>
                <a:gd name="T7" fmla="*/ 170 h 2274"/>
                <a:gd name="T8" fmla="*/ 12 w 1506"/>
                <a:gd name="T9" fmla="*/ 168 h 2274"/>
                <a:gd name="T10" fmla="*/ 10 w 1506"/>
                <a:gd name="T11" fmla="*/ 173 h 2274"/>
                <a:gd name="T12" fmla="*/ 7 w 1506"/>
                <a:gd name="T13" fmla="*/ 174 h 2274"/>
                <a:gd name="T14" fmla="*/ 0 w 1506"/>
                <a:gd name="T15" fmla="*/ 163 h 2274"/>
                <a:gd name="T16" fmla="*/ 16 w 1506"/>
                <a:gd name="T17" fmla="*/ 140 h 2274"/>
                <a:gd name="T18" fmla="*/ 19 w 1506"/>
                <a:gd name="T19" fmla="*/ 137 h 2274"/>
                <a:gd name="T20" fmla="*/ 24 w 1506"/>
                <a:gd name="T21" fmla="*/ 126 h 2274"/>
                <a:gd name="T22" fmla="*/ 23 w 1506"/>
                <a:gd name="T23" fmla="*/ 105 h 2274"/>
                <a:gd name="T24" fmla="*/ 14 w 1506"/>
                <a:gd name="T25" fmla="*/ 86 h 2274"/>
                <a:gd name="T26" fmla="*/ 8 w 1506"/>
                <a:gd name="T27" fmla="*/ 84 h 2274"/>
                <a:gd name="T28" fmla="*/ 5 w 1506"/>
                <a:gd name="T29" fmla="*/ 79 h 2274"/>
                <a:gd name="T30" fmla="*/ 16 w 1506"/>
                <a:gd name="T31" fmla="*/ 71 h 2274"/>
                <a:gd name="T32" fmla="*/ 28 w 1506"/>
                <a:gd name="T33" fmla="*/ 55 h 2274"/>
                <a:gd name="T34" fmla="*/ 29 w 1506"/>
                <a:gd name="T35" fmla="*/ 48 h 2274"/>
                <a:gd name="T36" fmla="*/ 35 w 1506"/>
                <a:gd name="T37" fmla="*/ 50 h 2274"/>
                <a:gd name="T38" fmla="*/ 42 w 1506"/>
                <a:gd name="T39" fmla="*/ 47 h 2274"/>
                <a:gd name="T40" fmla="*/ 63 w 1506"/>
                <a:gd name="T41" fmla="*/ 34 h 2274"/>
                <a:gd name="T42" fmla="*/ 74 w 1506"/>
                <a:gd name="T43" fmla="*/ 27 h 2274"/>
                <a:gd name="T44" fmla="*/ 81 w 1506"/>
                <a:gd name="T45" fmla="*/ 20 h 2274"/>
                <a:gd name="T46" fmla="*/ 89 w 1506"/>
                <a:gd name="T47" fmla="*/ 20 h 2274"/>
                <a:gd name="T48" fmla="*/ 98 w 1506"/>
                <a:gd name="T49" fmla="*/ 27 h 2274"/>
                <a:gd name="T50" fmla="*/ 106 w 1506"/>
                <a:gd name="T51" fmla="*/ 17 h 2274"/>
                <a:gd name="T52" fmla="*/ 111 w 1506"/>
                <a:gd name="T53" fmla="*/ 8 h 2274"/>
                <a:gd name="T54" fmla="*/ 121 w 1506"/>
                <a:gd name="T55" fmla="*/ 2 h 2274"/>
                <a:gd name="T56" fmla="*/ 129 w 1506"/>
                <a:gd name="T57" fmla="*/ 5 h 2274"/>
                <a:gd name="T58" fmla="*/ 125 w 1506"/>
                <a:gd name="T59" fmla="*/ 12 h 2274"/>
                <a:gd name="T60" fmla="*/ 122 w 1506"/>
                <a:gd name="T61" fmla="*/ 20 h 2274"/>
                <a:gd name="T62" fmla="*/ 122 w 1506"/>
                <a:gd name="T63" fmla="*/ 27 h 2274"/>
                <a:gd name="T64" fmla="*/ 120 w 1506"/>
                <a:gd name="T65" fmla="*/ 36 h 2274"/>
                <a:gd name="T66" fmla="*/ 116 w 1506"/>
                <a:gd name="T67" fmla="*/ 43 h 2274"/>
                <a:gd name="T68" fmla="*/ 109 w 1506"/>
                <a:gd name="T69" fmla="*/ 47 h 2274"/>
                <a:gd name="T70" fmla="*/ 108 w 1506"/>
                <a:gd name="T71" fmla="*/ 54 h 2274"/>
                <a:gd name="T72" fmla="*/ 106 w 1506"/>
                <a:gd name="T73" fmla="*/ 59 h 2274"/>
                <a:gd name="T74" fmla="*/ 109 w 1506"/>
                <a:gd name="T75" fmla="*/ 64 h 2274"/>
                <a:gd name="T76" fmla="*/ 106 w 1506"/>
                <a:gd name="T77" fmla="*/ 70 h 2274"/>
                <a:gd name="T78" fmla="*/ 105 w 1506"/>
                <a:gd name="T79" fmla="*/ 75 h 2274"/>
                <a:gd name="T80" fmla="*/ 101 w 1506"/>
                <a:gd name="T81" fmla="*/ 78 h 2274"/>
                <a:gd name="T82" fmla="*/ 92 w 1506"/>
                <a:gd name="T83" fmla="*/ 81 h 2274"/>
                <a:gd name="T84" fmla="*/ 85 w 1506"/>
                <a:gd name="T85" fmla="*/ 85 h 2274"/>
                <a:gd name="T86" fmla="*/ 87 w 1506"/>
                <a:gd name="T87" fmla="*/ 91 h 2274"/>
                <a:gd name="T88" fmla="*/ 86 w 1506"/>
                <a:gd name="T89" fmla="*/ 98 h 2274"/>
                <a:gd name="T90" fmla="*/ 86 w 1506"/>
                <a:gd name="T91" fmla="*/ 103 h 2274"/>
                <a:gd name="T92" fmla="*/ 82 w 1506"/>
                <a:gd name="T93" fmla="*/ 111 h 2274"/>
                <a:gd name="T94" fmla="*/ 81 w 1506"/>
                <a:gd name="T95" fmla="*/ 116 h 2274"/>
                <a:gd name="T96" fmla="*/ 78 w 1506"/>
                <a:gd name="T97" fmla="*/ 120 h 2274"/>
                <a:gd name="T98" fmla="*/ 76 w 1506"/>
                <a:gd name="T99" fmla="*/ 126 h 2274"/>
                <a:gd name="T100" fmla="*/ 68 w 1506"/>
                <a:gd name="T101" fmla="*/ 129 h 2274"/>
                <a:gd name="T102" fmla="*/ 62 w 1506"/>
                <a:gd name="T103" fmla="*/ 131 h 2274"/>
                <a:gd name="T104" fmla="*/ 58 w 1506"/>
                <a:gd name="T105" fmla="*/ 136 h 2274"/>
                <a:gd name="T106" fmla="*/ 51 w 1506"/>
                <a:gd name="T107" fmla="*/ 138 h 2274"/>
                <a:gd name="T108" fmla="*/ 51 w 1506"/>
                <a:gd name="T109" fmla="*/ 147 h 2274"/>
                <a:gd name="T110" fmla="*/ 49 w 1506"/>
                <a:gd name="T111" fmla="*/ 159 h 2274"/>
                <a:gd name="T112" fmla="*/ 48 w 1506"/>
                <a:gd name="T113" fmla="*/ 166 h 2274"/>
                <a:gd name="T114" fmla="*/ 41 w 1506"/>
                <a:gd name="T115" fmla="*/ 174 h 2274"/>
                <a:gd name="T116" fmla="*/ 39 w 1506"/>
                <a:gd name="T117" fmla="*/ 181 h 2274"/>
                <a:gd name="T118" fmla="*/ 37 w 1506"/>
                <a:gd name="T119" fmla="*/ 190 h 2274"/>
                <a:gd name="T120" fmla="*/ 29 w 1506"/>
                <a:gd name="T121" fmla="*/ 198 h 22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06"/>
                <a:gd name="T184" fmla="*/ 0 h 2274"/>
                <a:gd name="T185" fmla="*/ 1506 w 1506"/>
                <a:gd name="T186" fmla="*/ 2274 h 227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06" h="2274">
                  <a:moveTo>
                    <a:pt x="330" y="2274"/>
                  </a:moveTo>
                  <a:lnTo>
                    <a:pt x="318" y="2262"/>
                  </a:lnTo>
                  <a:lnTo>
                    <a:pt x="312" y="2238"/>
                  </a:lnTo>
                  <a:lnTo>
                    <a:pt x="312" y="2232"/>
                  </a:lnTo>
                  <a:lnTo>
                    <a:pt x="294" y="2214"/>
                  </a:lnTo>
                  <a:lnTo>
                    <a:pt x="288" y="2208"/>
                  </a:lnTo>
                  <a:lnTo>
                    <a:pt x="288" y="2202"/>
                  </a:lnTo>
                  <a:lnTo>
                    <a:pt x="276" y="2196"/>
                  </a:lnTo>
                  <a:lnTo>
                    <a:pt x="276" y="2190"/>
                  </a:lnTo>
                  <a:lnTo>
                    <a:pt x="282" y="2190"/>
                  </a:lnTo>
                  <a:lnTo>
                    <a:pt x="282" y="2184"/>
                  </a:lnTo>
                  <a:lnTo>
                    <a:pt x="276" y="2172"/>
                  </a:lnTo>
                  <a:lnTo>
                    <a:pt x="276" y="2166"/>
                  </a:lnTo>
                  <a:lnTo>
                    <a:pt x="282" y="2166"/>
                  </a:lnTo>
                  <a:lnTo>
                    <a:pt x="282" y="2154"/>
                  </a:lnTo>
                  <a:lnTo>
                    <a:pt x="276" y="2136"/>
                  </a:lnTo>
                  <a:lnTo>
                    <a:pt x="276" y="2112"/>
                  </a:lnTo>
                  <a:lnTo>
                    <a:pt x="282" y="2088"/>
                  </a:lnTo>
                  <a:lnTo>
                    <a:pt x="282" y="2082"/>
                  </a:lnTo>
                  <a:lnTo>
                    <a:pt x="282" y="2076"/>
                  </a:lnTo>
                  <a:lnTo>
                    <a:pt x="282" y="2070"/>
                  </a:lnTo>
                  <a:lnTo>
                    <a:pt x="288" y="2070"/>
                  </a:lnTo>
                  <a:lnTo>
                    <a:pt x="288" y="2064"/>
                  </a:lnTo>
                  <a:lnTo>
                    <a:pt x="282" y="2052"/>
                  </a:lnTo>
                  <a:lnTo>
                    <a:pt x="282" y="2046"/>
                  </a:lnTo>
                  <a:lnTo>
                    <a:pt x="276" y="2040"/>
                  </a:lnTo>
                  <a:lnTo>
                    <a:pt x="270" y="2034"/>
                  </a:lnTo>
                  <a:lnTo>
                    <a:pt x="264" y="2022"/>
                  </a:lnTo>
                  <a:lnTo>
                    <a:pt x="258" y="2022"/>
                  </a:lnTo>
                  <a:lnTo>
                    <a:pt x="258" y="2016"/>
                  </a:lnTo>
                  <a:lnTo>
                    <a:pt x="252" y="2016"/>
                  </a:lnTo>
                  <a:lnTo>
                    <a:pt x="246" y="2016"/>
                  </a:lnTo>
                  <a:lnTo>
                    <a:pt x="240" y="2010"/>
                  </a:lnTo>
                  <a:lnTo>
                    <a:pt x="234" y="2004"/>
                  </a:lnTo>
                  <a:lnTo>
                    <a:pt x="228" y="2004"/>
                  </a:lnTo>
                  <a:lnTo>
                    <a:pt x="228" y="1998"/>
                  </a:lnTo>
                  <a:lnTo>
                    <a:pt x="228" y="1992"/>
                  </a:lnTo>
                  <a:lnTo>
                    <a:pt x="222" y="1992"/>
                  </a:lnTo>
                  <a:lnTo>
                    <a:pt x="222" y="1986"/>
                  </a:lnTo>
                  <a:lnTo>
                    <a:pt x="216" y="1986"/>
                  </a:lnTo>
                  <a:lnTo>
                    <a:pt x="210" y="1980"/>
                  </a:lnTo>
                  <a:lnTo>
                    <a:pt x="216" y="1974"/>
                  </a:lnTo>
                  <a:lnTo>
                    <a:pt x="210" y="1968"/>
                  </a:lnTo>
                  <a:lnTo>
                    <a:pt x="198" y="1956"/>
                  </a:lnTo>
                  <a:lnTo>
                    <a:pt x="192" y="1956"/>
                  </a:lnTo>
                  <a:lnTo>
                    <a:pt x="186" y="1956"/>
                  </a:lnTo>
                  <a:lnTo>
                    <a:pt x="180" y="1944"/>
                  </a:lnTo>
                  <a:lnTo>
                    <a:pt x="180" y="1938"/>
                  </a:lnTo>
                  <a:lnTo>
                    <a:pt x="174" y="1932"/>
                  </a:lnTo>
                  <a:lnTo>
                    <a:pt x="168" y="1932"/>
                  </a:lnTo>
                  <a:lnTo>
                    <a:pt x="162" y="1932"/>
                  </a:lnTo>
                  <a:lnTo>
                    <a:pt x="150" y="1932"/>
                  </a:lnTo>
                  <a:lnTo>
                    <a:pt x="150" y="1926"/>
                  </a:lnTo>
                  <a:lnTo>
                    <a:pt x="150" y="1932"/>
                  </a:lnTo>
                  <a:lnTo>
                    <a:pt x="144" y="1932"/>
                  </a:lnTo>
                  <a:lnTo>
                    <a:pt x="138" y="1932"/>
                  </a:lnTo>
                  <a:lnTo>
                    <a:pt x="132" y="1932"/>
                  </a:lnTo>
                  <a:lnTo>
                    <a:pt x="132" y="1938"/>
                  </a:lnTo>
                  <a:lnTo>
                    <a:pt x="126" y="1944"/>
                  </a:lnTo>
                  <a:lnTo>
                    <a:pt x="126" y="1956"/>
                  </a:lnTo>
                  <a:lnTo>
                    <a:pt x="120" y="1968"/>
                  </a:lnTo>
                  <a:lnTo>
                    <a:pt x="120" y="1974"/>
                  </a:lnTo>
                  <a:lnTo>
                    <a:pt x="120" y="1980"/>
                  </a:lnTo>
                  <a:lnTo>
                    <a:pt x="126" y="1980"/>
                  </a:lnTo>
                  <a:lnTo>
                    <a:pt x="120" y="1986"/>
                  </a:lnTo>
                  <a:lnTo>
                    <a:pt x="120" y="1992"/>
                  </a:lnTo>
                  <a:lnTo>
                    <a:pt x="114" y="1992"/>
                  </a:lnTo>
                  <a:lnTo>
                    <a:pt x="114" y="1986"/>
                  </a:lnTo>
                  <a:lnTo>
                    <a:pt x="108" y="1992"/>
                  </a:lnTo>
                  <a:lnTo>
                    <a:pt x="108" y="1998"/>
                  </a:lnTo>
                  <a:lnTo>
                    <a:pt x="114" y="2004"/>
                  </a:lnTo>
                  <a:lnTo>
                    <a:pt x="108" y="2004"/>
                  </a:lnTo>
                  <a:lnTo>
                    <a:pt x="102" y="2010"/>
                  </a:lnTo>
                  <a:lnTo>
                    <a:pt x="102" y="2004"/>
                  </a:lnTo>
                  <a:lnTo>
                    <a:pt x="90" y="2004"/>
                  </a:lnTo>
                  <a:lnTo>
                    <a:pt x="84" y="2004"/>
                  </a:lnTo>
                  <a:lnTo>
                    <a:pt x="78" y="1998"/>
                  </a:lnTo>
                  <a:lnTo>
                    <a:pt x="78" y="1992"/>
                  </a:lnTo>
                  <a:lnTo>
                    <a:pt x="78" y="1986"/>
                  </a:lnTo>
                  <a:lnTo>
                    <a:pt x="72" y="1986"/>
                  </a:lnTo>
                  <a:lnTo>
                    <a:pt x="66" y="1980"/>
                  </a:lnTo>
                  <a:lnTo>
                    <a:pt x="66" y="1968"/>
                  </a:lnTo>
                  <a:lnTo>
                    <a:pt x="60" y="1956"/>
                  </a:lnTo>
                  <a:lnTo>
                    <a:pt x="60" y="1950"/>
                  </a:lnTo>
                  <a:lnTo>
                    <a:pt x="48" y="1944"/>
                  </a:lnTo>
                  <a:lnTo>
                    <a:pt x="30" y="1926"/>
                  </a:lnTo>
                  <a:lnTo>
                    <a:pt x="12" y="1890"/>
                  </a:lnTo>
                  <a:lnTo>
                    <a:pt x="6" y="1872"/>
                  </a:lnTo>
                  <a:lnTo>
                    <a:pt x="0" y="1854"/>
                  </a:lnTo>
                  <a:lnTo>
                    <a:pt x="6" y="1824"/>
                  </a:lnTo>
                  <a:lnTo>
                    <a:pt x="30" y="1794"/>
                  </a:lnTo>
                  <a:lnTo>
                    <a:pt x="66" y="1752"/>
                  </a:lnTo>
                  <a:lnTo>
                    <a:pt x="72" y="1752"/>
                  </a:lnTo>
                  <a:lnTo>
                    <a:pt x="78" y="1746"/>
                  </a:lnTo>
                  <a:lnTo>
                    <a:pt x="84" y="1746"/>
                  </a:lnTo>
                  <a:lnTo>
                    <a:pt x="90" y="1746"/>
                  </a:lnTo>
                  <a:lnTo>
                    <a:pt x="138" y="1674"/>
                  </a:lnTo>
                  <a:lnTo>
                    <a:pt x="186" y="1620"/>
                  </a:lnTo>
                  <a:lnTo>
                    <a:pt x="186" y="1614"/>
                  </a:lnTo>
                  <a:lnTo>
                    <a:pt x="186" y="1608"/>
                  </a:lnTo>
                  <a:lnTo>
                    <a:pt x="192" y="1608"/>
                  </a:lnTo>
                  <a:lnTo>
                    <a:pt x="192" y="1614"/>
                  </a:lnTo>
                  <a:lnTo>
                    <a:pt x="198" y="1614"/>
                  </a:lnTo>
                  <a:lnTo>
                    <a:pt x="198" y="1608"/>
                  </a:lnTo>
                  <a:lnTo>
                    <a:pt x="198" y="1602"/>
                  </a:lnTo>
                  <a:lnTo>
                    <a:pt x="204" y="1602"/>
                  </a:lnTo>
                  <a:lnTo>
                    <a:pt x="204" y="1596"/>
                  </a:lnTo>
                  <a:lnTo>
                    <a:pt x="210" y="1590"/>
                  </a:lnTo>
                  <a:lnTo>
                    <a:pt x="216" y="1590"/>
                  </a:lnTo>
                  <a:lnTo>
                    <a:pt x="216" y="1584"/>
                  </a:lnTo>
                  <a:lnTo>
                    <a:pt x="222" y="1584"/>
                  </a:lnTo>
                  <a:lnTo>
                    <a:pt x="228" y="1572"/>
                  </a:lnTo>
                  <a:lnTo>
                    <a:pt x="222" y="1572"/>
                  </a:lnTo>
                  <a:lnTo>
                    <a:pt x="228" y="1566"/>
                  </a:lnTo>
                  <a:lnTo>
                    <a:pt x="228" y="1560"/>
                  </a:lnTo>
                  <a:lnTo>
                    <a:pt x="252" y="1548"/>
                  </a:lnTo>
                  <a:lnTo>
                    <a:pt x="276" y="1530"/>
                  </a:lnTo>
                  <a:lnTo>
                    <a:pt x="282" y="1512"/>
                  </a:lnTo>
                  <a:lnTo>
                    <a:pt x="282" y="1506"/>
                  </a:lnTo>
                  <a:lnTo>
                    <a:pt x="282" y="1494"/>
                  </a:lnTo>
                  <a:lnTo>
                    <a:pt x="282" y="1452"/>
                  </a:lnTo>
                  <a:lnTo>
                    <a:pt x="288" y="1440"/>
                  </a:lnTo>
                  <a:lnTo>
                    <a:pt x="294" y="1440"/>
                  </a:lnTo>
                  <a:lnTo>
                    <a:pt x="294" y="1428"/>
                  </a:lnTo>
                  <a:lnTo>
                    <a:pt x="324" y="1368"/>
                  </a:lnTo>
                  <a:lnTo>
                    <a:pt x="330" y="1362"/>
                  </a:lnTo>
                  <a:lnTo>
                    <a:pt x="330" y="1356"/>
                  </a:lnTo>
                  <a:lnTo>
                    <a:pt x="360" y="1338"/>
                  </a:lnTo>
                  <a:lnTo>
                    <a:pt x="366" y="1296"/>
                  </a:lnTo>
                  <a:lnTo>
                    <a:pt x="354" y="1278"/>
                  </a:lnTo>
                  <a:lnTo>
                    <a:pt x="336" y="1230"/>
                  </a:lnTo>
                  <a:lnTo>
                    <a:pt x="270" y="1212"/>
                  </a:lnTo>
                  <a:lnTo>
                    <a:pt x="264" y="1212"/>
                  </a:lnTo>
                  <a:lnTo>
                    <a:pt x="252" y="1200"/>
                  </a:lnTo>
                  <a:lnTo>
                    <a:pt x="234" y="1188"/>
                  </a:lnTo>
                  <a:lnTo>
                    <a:pt x="222" y="1182"/>
                  </a:lnTo>
                  <a:lnTo>
                    <a:pt x="228" y="1104"/>
                  </a:lnTo>
                  <a:lnTo>
                    <a:pt x="228" y="1098"/>
                  </a:lnTo>
                  <a:lnTo>
                    <a:pt x="198" y="1038"/>
                  </a:lnTo>
                  <a:lnTo>
                    <a:pt x="192" y="1032"/>
                  </a:lnTo>
                  <a:lnTo>
                    <a:pt x="180" y="1020"/>
                  </a:lnTo>
                  <a:lnTo>
                    <a:pt x="168" y="996"/>
                  </a:lnTo>
                  <a:lnTo>
                    <a:pt x="162" y="990"/>
                  </a:lnTo>
                  <a:lnTo>
                    <a:pt x="156" y="990"/>
                  </a:lnTo>
                  <a:lnTo>
                    <a:pt x="150" y="990"/>
                  </a:lnTo>
                  <a:lnTo>
                    <a:pt x="132" y="990"/>
                  </a:lnTo>
                  <a:lnTo>
                    <a:pt x="120" y="984"/>
                  </a:lnTo>
                  <a:lnTo>
                    <a:pt x="120" y="990"/>
                  </a:lnTo>
                  <a:lnTo>
                    <a:pt x="114" y="990"/>
                  </a:lnTo>
                  <a:lnTo>
                    <a:pt x="102" y="984"/>
                  </a:lnTo>
                  <a:lnTo>
                    <a:pt x="96" y="984"/>
                  </a:lnTo>
                  <a:lnTo>
                    <a:pt x="96" y="978"/>
                  </a:lnTo>
                  <a:lnTo>
                    <a:pt x="90" y="978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84" y="960"/>
                  </a:lnTo>
                  <a:lnTo>
                    <a:pt x="84" y="954"/>
                  </a:lnTo>
                  <a:lnTo>
                    <a:pt x="78" y="948"/>
                  </a:lnTo>
                  <a:lnTo>
                    <a:pt x="72" y="948"/>
                  </a:lnTo>
                  <a:lnTo>
                    <a:pt x="72" y="942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06"/>
                  </a:lnTo>
                  <a:lnTo>
                    <a:pt x="60" y="888"/>
                  </a:lnTo>
                  <a:lnTo>
                    <a:pt x="54" y="882"/>
                  </a:lnTo>
                  <a:lnTo>
                    <a:pt x="60" y="882"/>
                  </a:lnTo>
                  <a:lnTo>
                    <a:pt x="72" y="876"/>
                  </a:lnTo>
                  <a:lnTo>
                    <a:pt x="78" y="876"/>
                  </a:lnTo>
                  <a:lnTo>
                    <a:pt x="90" y="870"/>
                  </a:lnTo>
                  <a:lnTo>
                    <a:pt x="90" y="864"/>
                  </a:lnTo>
                  <a:lnTo>
                    <a:pt x="96" y="840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80" y="822"/>
                  </a:lnTo>
                  <a:lnTo>
                    <a:pt x="204" y="798"/>
                  </a:lnTo>
                  <a:lnTo>
                    <a:pt x="222" y="786"/>
                  </a:lnTo>
                  <a:lnTo>
                    <a:pt x="252" y="780"/>
                  </a:lnTo>
                  <a:lnTo>
                    <a:pt x="264" y="762"/>
                  </a:lnTo>
                  <a:lnTo>
                    <a:pt x="276" y="762"/>
                  </a:lnTo>
                  <a:lnTo>
                    <a:pt x="288" y="744"/>
                  </a:lnTo>
                  <a:lnTo>
                    <a:pt x="306" y="738"/>
                  </a:lnTo>
                  <a:lnTo>
                    <a:pt x="318" y="732"/>
                  </a:lnTo>
                  <a:lnTo>
                    <a:pt x="324" y="648"/>
                  </a:lnTo>
                  <a:lnTo>
                    <a:pt x="324" y="636"/>
                  </a:lnTo>
                  <a:lnTo>
                    <a:pt x="324" y="630"/>
                  </a:lnTo>
                  <a:lnTo>
                    <a:pt x="330" y="624"/>
                  </a:lnTo>
                  <a:lnTo>
                    <a:pt x="324" y="618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24" y="588"/>
                  </a:lnTo>
                  <a:lnTo>
                    <a:pt x="318" y="576"/>
                  </a:lnTo>
                  <a:lnTo>
                    <a:pt x="318" y="570"/>
                  </a:lnTo>
                  <a:lnTo>
                    <a:pt x="324" y="570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30" y="558"/>
                  </a:lnTo>
                  <a:lnTo>
                    <a:pt x="336" y="558"/>
                  </a:lnTo>
                  <a:lnTo>
                    <a:pt x="342" y="558"/>
                  </a:lnTo>
                  <a:lnTo>
                    <a:pt x="348" y="558"/>
                  </a:lnTo>
                  <a:lnTo>
                    <a:pt x="354" y="564"/>
                  </a:lnTo>
                  <a:lnTo>
                    <a:pt x="360" y="564"/>
                  </a:lnTo>
                  <a:lnTo>
                    <a:pt x="366" y="570"/>
                  </a:lnTo>
                  <a:lnTo>
                    <a:pt x="366" y="576"/>
                  </a:lnTo>
                  <a:lnTo>
                    <a:pt x="372" y="570"/>
                  </a:lnTo>
                  <a:lnTo>
                    <a:pt x="378" y="570"/>
                  </a:lnTo>
                  <a:lnTo>
                    <a:pt x="390" y="570"/>
                  </a:lnTo>
                  <a:lnTo>
                    <a:pt x="402" y="570"/>
                  </a:lnTo>
                  <a:lnTo>
                    <a:pt x="408" y="570"/>
                  </a:lnTo>
                  <a:lnTo>
                    <a:pt x="414" y="564"/>
                  </a:lnTo>
                  <a:lnTo>
                    <a:pt x="420" y="564"/>
                  </a:lnTo>
                  <a:lnTo>
                    <a:pt x="420" y="570"/>
                  </a:lnTo>
                  <a:lnTo>
                    <a:pt x="426" y="570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44" y="570"/>
                  </a:lnTo>
                  <a:lnTo>
                    <a:pt x="450" y="564"/>
                  </a:lnTo>
                  <a:lnTo>
                    <a:pt x="474" y="558"/>
                  </a:lnTo>
                  <a:lnTo>
                    <a:pt x="486" y="54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40" y="474"/>
                  </a:lnTo>
                  <a:lnTo>
                    <a:pt x="558" y="456"/>
                  </a:lnTo>
                  <a:lnTo>
                    <a:pt x="582" y="450"/>
                  </a:lnTo>
                  <a:lnTo>
                    <a:pt x="594" y="414"/>
                  </a:lnTo>
                  <a:lnTo>
                    <a:pt x="612" y="390"/>
                  </a:lnTo>
                  <a:lnTo>
                    <a:pt x="636" y="390"/>
                  </a:lnTo>
                  <a:lnTo>
                    <a:pt x="666" y="390"/>
                  </a:lnTo>
                  <a:lnTo>
                    <a:pt x="696" y="390"/>
                  </a:lnTo>
                  <a:lnTo>
                    <a:pt x="726" y="390"/>
                  </a:lnTo>
                  <a:lnTo>
                    <a:pt x="762" y="378"/>
                  </a:lnTo>
                  <a:lnTo>
                    <a:pt x="780" y="366"/>
                  </a:lnTo>
                  <a:lnTo>
                    <a:pt x="780" y="342"/>
                  </a:lnTo>
                  <a:lnTo>
                    <a:pt x="786" y="342"/>
                  </a:lnTo>
                  <a:lnTo>
                    <a:pt x="786" y="336"/>
                  </a:lnTo>
                  <a:lnTo>
                    <a:pt x="786" y="330"/>
                  </a:lnTo>
                  <a:lnTo>
                    <a:pt x="786" y="324"/>
                  </a:lnTo>
                  <a:lnTo>
                    <a:pt x="816" y="318"/>
                  </a:lnTo>
                  <a:lnTo>
                    <a:pt x="834" y="312"/>
                  </a:lnTo>
                  <a:lnTo>
                    <a:pt x="840" y="318"/>
                  </a:lnTo>
                  <a:lnTo>
                    <a:pt x="852" y="318"/>
                  </a:lnTo>
                  <a:lnTo>
                    <a:pt x="858" y="306"/>
                  </a:lnTo>
                  <a:lnTo>
                    <a:pt x="864" y="288"/>
                  </a:lnTo>
                  <a:lnTo>
                    <a:pt x="870" y="282"/>
                  </a:lnTo>
                  <a:lnTo>
                    <a:pt x="876" y="276"/>
                  </a:lnTo>
                  <a:lnTo>
                    <a:pt x="882" y="264"/>
                  </a:lnTo>
                  <a:lnTo>
                    <a:pt x="882" y="258"/>
                  </a:lnTo>
                  <a:lnTo>
                    <a:pt x="888" y="252"/>
                  </a:lnTo>
                  <a:lnTo>
                    <a:pt x="894" y="240"/>
                  </a:lnTo>
                  <a:lnTo>
                    <a:pt x="906" y="228"/>
                  </a:lnTo>
                  <a:lnTo>
                    <a:pt x="912" y="228"/>
                  </a:lnTo>
                  <a:lnTo>
                    <a:pt x="936" y="228"/>
                  </a:lnTo>
                  <a:lnTo>
                    <a:pt x="942" y="222"/>
                  </a:lnTo>
                  <a:lnTo>
                    <a:pt x="948" y="216"/>
                  </a:lnTo>
                  <a:lnTo>
                    <a:pt x="954" y="216"/>
                  </a:lnTo>
                  <a:lnTo>
                    <a:pt x="960" y="216"/>
                  </a:lnTo>
                  <a:lnTo>
                    <a:pt x="966" y="216"/>
                  </a:lnTo>
                  <a:lnTo>
                    <a:pt x="978" y="216"/>
                  </a:lnTo>
                  <a:lnTo>
                    <a:pt x="990" y="222"/>
                  </a:lnTo>
                  <a:lnTo>
                    <a:pt x="996" y="222"/>
                  </a:lnTo>
                  <a:lnTo>
                    <a:pt x="1002" y="228"/>
                  </a:lnTo>
                  <a:lnTo>
                    <a:pt x="1014" y="234"/>
                  </a:lnTo>
                  <a:lnTo>
                    <a:pt x="1020" y="234"/>
                  </a:lnTo>
                  <a:lnTo>
                    <a:pt x="1032" y="240"/>
                  </a:lnTo>
                  <a:lnTo>
                    <a:pt x="1044" y="240"/>
                  </a:lnTo>
                  <a:lnTo>
                    <a:pt x="1050" y="240"/>
                  </a:lnTo>
                  <a:lnTo>
                    <a:pt x="1056" y="246"/>
                  </a:lnTo>
                  <a:lnTo>
                    <a:pt x="1068" y="264"/>
                  </a:lnTo>
                  <a:lnTo>
                    <a:pt x="1086" y="276"/>
                  </a:lnTo>
                  <a:lnTo>
                    <a:pt x="1092" y="276"/>
                  </a:lnTo>
                  <a:lnTo>
                    <a:pt x="1104" y="282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8" y="312"/>
                  </a:lnTo>
                  <a:lnTo>
                    <a:pt x="1152" y="324"/>
                  </a:lnTo>
                  <a:lnTo>
                    <a:pt x="1188" y="324"/>
                  </a:lnTo>
                  <a:lnTo>
                    <a:pt x="1206" y="318"/>
                  </a:lnTo>
                  <a:lnTo>
                    <a:pt x="1200" y="294"/>
                  </a:lnTo>
                  <a:lnTo>
                    <a:pt x="1206" y="252"/>
                  </a:lnTo>
                  <a:lnTo>
                    <a:pt x="1218" y="222"/>
                  </a:lnTo>
                  <a:lnTo>
                    <a:pt x="1212" y="222"/>
                  </a:lnTo>
                  <a:lnTo>
                    <a:pt x="1212" y="216"/>
                  </a:lnTo>
                  <a:lnTo>
                    <a:pt x="1218" y="204"/>
                  </a:lnTo>
                  <a:lnTo>
                    <a:pt x="1224" y="198"/>
                  </a:lnTo>
                  <a:lnTo>
                    <a:pt x="1224" y="192"/>
                  </a:lnTo>
                  <a:lnTo>
                    <a:pt x="1236" y="180"/>
                  </a:lnTo>
                  <a:lnTo>
                    <a:pt x="1254" y="156"/>
                  </a:lnTo>
                  <a:lnTo>
                    <a:pt x="1260" y="150"/>
                  </a:lnTo>
                  <a:lnTo>
                    <a:pt x="1260" y="144"/>
                  </a:lnTo>
                  <a:lnTo>
                    <a:pt x="1266" y="138"/>
                  </a:lnTo>
                  <a:lnTo>
                    <a:pt x="1272" y="138"/>
                  </a:lnTo>
                  <a:lnTo>
                    <a:pt x="1272" y="120"/>
                  </a:lnTo>
                  <a:lnTo>
                    <a:pt x="1278" y="114"/>
                  </a:lnTo>
                  <a:lnTo>
                    <a:pt x="1278" y="108"/>
                  </a:lnTo>
                  <a:lnTo>
                    <a:pt x="1278" y="102"/>
                  </a:lnTo>
                  <a:lnTo>
                    <a:pt x="1278" y="90"/>
                  </a:lnTo>
                  <a:lnTo>
                    <a:pt x="1278" y="84"/>
                  </a:lnTo>
                  <a:lnTo>
                    <a:pt x="1278" y="78"/>
                  </a:lnTo>
                  <a:lnTo>
                    <a:pt x="1278" y="72"/>
                  </a:lnTo>
                  <a:lnTo>
                    <a:pt x="1278" y="60"/>
                  </a:lnTo>
                  <a:lnTo>
                    <a:pt x="1284" y="48"/>
                  </a:lnTo>
                  <a:lnTo>
                    <a:pt x="1284" y="24"/>
                  </a:lnTo>
                  <a:lnTo>
                    <a:pt x="1284" y="18"/>
                  </a:lnTo>
                  <a:lnTo>
                    <a:pt x="1308" y="24"/>
                  </a:lnTo>
                  <a:lnTo>
                    <a:pt x="1332" y="30"/>
                  </a:lnTo>
                  <a:lnTo>
                    <a:pt x="1368" y="30"/>
                  </a:lnTo>
                  <a:lnTo>
                    <a:pt x="1392" y="24"/>
                  </a:lnTo>
                  <a:lnTo>
                    <a:pt x="1410" y="18"/>
                  </a:lnTo>
                  <a:lnTo>
                    <a:pt x="1416" y="6"/>
                  </a:lnTo>
                  <a:lnTo>
                    <a:pt x="1500" y="6"/>
                  </a:lnTo>
                  <a:lnTo>
                    <a:pt x="1506" y="0"/>
                  </a:lnTo>
                  <a:lnTo>
                    <a:pt x="1506" y="6"/>
                  </a:lnTo>
                  <a:lnTo>
                    <a:pt x="1506" y="18"/>
                  </a:lnTo>
                  <a:lnTo>
                    <a:pt x="1506" y="24"/>
                  </a:lnTo>
                  <a:lnTo>
                    <a:pt x="1500" y="30"/>
                  </a:lnTo>
                  <a:lnTo>
                    <a:pt x="1500" y="42"/>
                  </a:lnTo>
                  <a:lnTo>
                    <a:pt x="1494" y="54"/>
                  </a:lnTo>
                  <a:lnTo>
                    <a:pt x="1488" y="60"/>
                  </a:lnTo>
                  <a:lnTo>
                    <a:pt x="1482" y="60"/>
                  </a:lnTo>
                  <a:lnTo>
                    <a:pt x="1476" y="66"/>
                  </a:lnTo>
                  <a:lnTo>
                    <a:pt x="1476" y="72"/>
                  </a:lnTo>
                  <a:lnTo>
                    <a:pt x="1476" y="78"/>
                  </a:lnTo>
                  <a:lnTo>
                    <a:pt x="1470" y="78"/>
                  </a:lnTo>
                  <a:lnTo>
                    <a:pt x="1464" y="90"/>
                  </a:lnTo>
                  <a:lnTo>
                    <a:pt x="1458" y="96"/>
                  </a:lnTo>
                  <a:lnTo>
                    <a:pt x="1458" y="102"/>
                  </a:lnTo>
                  <a:lnTo>
                    <a:pt x="1452" y="120"/>
                  </a:lnTo>
                  <a:lnTo>
                    <a:pt x="1452" y="132"/>
                  </a:lnTo>
                  <a:lnTo>
                    <a:pt x="1446" y="144"/>
                  </a:lnTo>
                  <a:lnTo>
                    <a:pt x="1446" y="150"/>
                  </a:lnTo>
                  <a:lnTo>
                    <a:pt x="1440" y="150"/>
                  </a:lnTo>
                  <a:lnTo>
                    <a:pt x="1434" y="156"/>
                  </a:lnTo>
                  <a:lnTo>
                    <a:pt x="1428" y="168"/>
                  </a:lnTo>
                  <a:lnTo>
                    <a:pt x="1422" y="168"/>
                  </a:lnTo>
                  <a:lnTo>
                    <a:pt x="1416" y="174"/>
                  </a:lnTo>
                  <a:lnTo>
                    <a:pt x="1410" y="186"/>
                  </a:lnTo>
                  <a:lnTo>
                    <a:pt x="1410" y="204"/>
                  </a:lnTo>
                  <a:lnTo>
                    <a:pt x="1404" y="210"/>
                  </a:lnTo>
                  <a:lnTo>
                    <a:pt x="1404" y="216"/>
                  </a:lnTo>
                  <a:lnTo>
                    <a:pt x="1410" y="228"/>
                  </a:lnTo>
                  <a:lnTo>
                    <a:pt x="1410" y="234"/>
                  </a:lnTo>
                  <a:lnTo>
                    <a:pt x="1410" y="240"/>
                  </a:lnTo>
                  <a:lnTo>
                    <a:pt x="1416" y="252"/>
                  </a:lnTo>
                  <a:lnTo>
                    <a:pt x="1416" y="258"/>
                  </a:lnTo>
                  <a:lnTo>
                    <a:pt x="1422" y="264"/>
                  </a:lnTo>
                  <a:lnTo>
                    <a:pt x="1422" y="270"/>
                  </a:lnTo>
                  <a:lnTo>
                    <a:pt x="1422" y="282"/>
                  </a:lnTo>
                  <a:lnTo>
                    <a:pt x="1416" y="288"/>
                  </a:lnTo>
                  <a:lnTo>
                    <a:pt x="1410" y="294"/>
                  </a:lnTo>
                  <a:lnTo>
                    <a:pt x="1404" y="300"/>
                  </a:lnTo>
                  <a:lnTo>
                    <a:pt x="1404" y="306"/>
                  </a:lnTo>
                  <a:lnTo>
                    <a:pt x="1398" y="324"/>
                  </a:lnTo>
                  <a:lnTo>
                    <a:pt x="1404" y="330"/>
                  </a:lnTo>
                  <a:lnTo>
                    <a:pt x="1404" y="342"/>
                  </a:lnTo>
                  <a:lnTo>
                    <a:pt x="1392" y="354"/>
                  </a:lnTo>
                  <a:lnTo>
                    <a:pt x="1392" y="360"/>
                  </a:lnTo>
                  <a:lnTo>
                    <a:pt x="1392" y="372"/>
                  </a:lnTo>
                  <a:lnTo>
                    <a:pt x="1392" y="384"/>
                  </a:lnTo>
                  <a:lnTo>
                    <a:pt x="1392" y="396"/>
                  </a:lnTo>
                  <a:lnTo>
                    <a:pt x="1392" y="408"/>
                  </a:lnTo>
                  <a:lnTo>
                    <a:pt x="1386" y="414"/>
                  </a:lnTo>
                  <a:lnTo>
                    <a:pt x="1380" y="420"/>
                  </a:lnTo>
                  <a:lnTo>
                    <a:pt x="1380" y="426"/>
                  </a:lnTo>
                  <a:lnTo>
                    <a:pt x="1368" y="432"/>
                  </a:lnTo>
                  <a:lnTo>
                    <a:pt x="1362" y="444"/>
                  </a:lnTo>
                  <a:lnTo>
                    <a:pt x="1362" y="450"/>
                  </a:lnTo>
                  <a:lnTo>
                    <a:pt x="1362" y="462"/>
                  </a:lnTo>
                  <a:lnTo>
                    <a:pt x="1362" y="468"/>
                  </a:lnTo>
                  <a:lnTo>
                    <a:pt x="1362" y="474"/>
                  </a:lnTo>
                  <a:lnTo>
                    <a:pt x="1356" y="474"/>
                  </a:lnTo>
                  <a:lnTo>
                    <a:pt x="1350" y="480"/>
                  </a:lnTo>
                  <a:lnTo>
                    <a:pt x="1344" y="486"/>
                  </a:lnTo>
                  <a:lnTo>
                    <a:pt x="1338" y="498"/>
                  </a:lnTo>
                  <a:lnTo>
                    <a:pt x="1332" y="510"/>
                  </a:lnTo>
                  <a:lnTo>
                    <a:pt x="1320" y="510"/>
                  </a:lnTo>
                  <a:lnTo>
                    <a:pt x="1314" y="516"/>
                  </a:lnTo>
                  <a:lnTo>
                    <a:pt x="1302" y="522"/>
                  </a:lnTo>
                  <a:lnTo>
                    <a:pt x="1296" y="522"/>
                  </a:lnTo>
                  <a:lnTo>
                    <a:pt x="1284" y="516"/>
                  </a:lnTo>
                  <a:lnTo>
                    <a:pt x="1278" y="516"/>
                  </a:lnTo>
                  <a:lnTo>
                    <a:pt x="1272" y="522"/>
                  </a:lnTo>
                  <a:lnTo>
                    <a:pt x="1266" y="522"/>
                  </a:lnTo>
                  <a:lnTo>
                    <a:pt x="1266" y="528"/>
                  </a:lnTo>
                  <a:lnTo>
                    <a:pt x="1254" y="540"/>
                  </a:lnTo>
                  <a:lnTo>
                    <a:pt x="1248" y="546"/>
                  </a:lnTo>
                  <a:lnTo>
                    <a:pt x="1242" y="558"/>
                  </a:lnTo>
                  <a:lnTo>
                    <a:pt x="1230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30" y="594"/>
                  </a:lnTo>
                  <a:lnTo>
                    <a:pt x="1230" y="600"/>
                  </a:lnTo>
                  <a:lnTo>
                    <a:pt x="1236" y="606"/>
                  </a:lnTo>
                  <a:lnTo>
                    <a:pt x="1242" y="606"/>
                  </a:lnTo>
                  <a:lnTo>
                    <a:pt x="1242" y="612"/>
                  </a:lnTo>
                  <a:lnTo>
                    <a:pt x="1242" y="618"/>
                  </a:lnTo>
                  <a:lnTo>
                    <a:pt x="1242" y="624"/>
                  </a:lnTo>
                  <a:lnTo>
                    <a:pt x="1236" y="630"/>
                  </a:lnTo>
                  <a:lnTo>
                    <a:pt x="1230" y="642"/>
                  </a:lnTo>
                  <a:lnTo>
                    <a:pt x="1230" y="648"/>
                  </a:lnTo>
                  <a:lnTo>
                    <a:pt x="1218" y="654"/>
                  </a:lnTo>
                  <a:lnTo>
                    <a:pt x="1212" y="654"/>
                  </a:lnTo>
                  <a:lnTo>
                    <a:pt x="1212" y="660"/>
                  </a:lnTo>
                  <a:lnTo>
                    <a:pt x="1212" y="666"/>
                  </a:lnTo>
                  <a:lnTo>
                    <a:pt x="1212" y="672"/>
                  </a:lnTo>
                  <a:lnTo>
                    <a:pt x="1212" y="678"/>
                  </a:lnTo>
                  <a:lnTo>
                    <a:pt x="1218" y="684"/>
                  </a:lnTo>
                  <a:lnTo>
                    <a:pt x="1218" y="690"/>
                  </a:lnTo>
                  <a:lnTo>
                    <a:pt x="1224" y="696"/>
                  </a:lnTo>
                  <a:lnTo>
                    <a:pt x="1230" y="702"/>
                  </a:lnTo>
                  <a:lnTo>
                    <a:pt x="1236" y="696"/>
                  </a:lnTo>
                  <a:lnTo>
                    <a:pt x="1242" y="702"/>
                  </a:lnTo>
                  <a:lnTo>
                    <a:pt x="1248" y="708"/>
                  </a:lnTo>
                  <a:lnTo>
                    <a:pt x="1254" y="714"/>
                  </a:lnTo>
                  <a:lnTo>
                    <a:pt x="1254" y="720"/>
                  </a:lnTo>
                  <a:lnTo>
                    <a:pt x="1260" y="720"/>
                  </a:lnTo>
                  <a:lnTo>
                    <a:pt x="1254" y="732"/>
                  </a:lnTo>
                  <a:lnTo>
                    <a:pt x="1248" y="738"/>
                  </a:lnTo>
                  <a:lnTo>
                    <a:pt x="1242" y="744"/>
                  </a:lnTo>
                  <a:lnTo>
                    <a:pt x="1236" y="750"/>
                  </a:lnTo>
                  <a:lnTo>
                    <a:pt x="1236" y="756"/>
                  </a:lnTo>
                  <a:lnTo>
                    <a:pt x="1236" y="762"/>
                  </a:lnTo>
                  <a:lnTo>
                    <a:pt x="1236" y="768"/>
                  </a:lnTo>
                  <a:lnTo>
                    <a:pt x="1236" y="780"/>
                  </a:lnTo>
                  <a:lnTo>
                    <a:pt x="1230" y="780"/>
                  </a:lnTo>
                  <a:lnTo>
                    <a:pt x="1230" y="786"/>
                  </a:lnTo>
                  <a:lnTo>
                    <a:pt x="1230" y="792"/>
                  </a:lnTo>
                  <a:lnTo>
                    <a:pt x="1230" y="804"/>
                  </a:lnTo>
                  <a:lnTo>
                    <a:pt x="1224" y="810"/>
                  </a:lnTo>
                  <a:lnTo>
                    <a:pt x="1218" y="816"/>
                  </a:lnTo>
                  <a:lnTo>
                    <a:pt x="1224" y="822"/>
                  </a:lnTo>
                  <a:lnTo>
                    <a:pt x="1224" y="828"/>
                  </a:lnTo>
                  <a:lnTo>
                    <a:pt x="1218" y="834"/>
                  </a:lnTo>
                  <a:lnTo>
                    <a:pt x="1224" y="834"/>
                  </a:lnTo>
                  <a:lnTo>
                    <a:pt x="1224" y="840"/>
                  </a:lnTo>
                  <a:lnTo>
                    <a:pt x="1224" y="846"/>
                  </a:lnTo>
                  <a:lnTo>
                    <a:pt x="1224" y="852"/>
                  </a:lnTo>
                  <a:lnTo>
                    <a:pt x="1218" y="858"/>
                  </a:lnTo>
                  <a:lnTo>
                    <a:pt x="1218" y="870"/>
                  </a:lnTo>
                  <a:lnTo>
                    <a:pt x="1212" y="870"/>
                  </a:lnTo>
                  <a:lnTo>
                    <a:pt x="1212" y="876"/>
                  </a:lnTo>
                  <a:lnTo>
                    <a:pt x="1206" y="888"/>
                  </a:lnTo>
                  <a:lnTo>
                    <a:pt x="1200" y="882"/>
                  </a:lnTo>
                  <a:lnTo>
                    <a:pt x="1194" y="888"/>
                  </a:lnTo>
                  <a:lnTo>
                    <a:pt x="1188" y="894"/>
                  </a:lnTo>
                  <a:lnTo>
                    <a:pt x="1182" y="894"/>
                  </a:lnTo>
                  <a:lnTo>
                    <a:pt x="1182" y="900"/>
                  </a:lnTo>
                  <a:lnTo>
                    <a:pt x="1176" y="900"/>
                  </a:lnTo>
                  <a:lnTo>
                    <a:pt x="1170" y="894"/>
                  </a:lnTo>
                  <a:lnTo>
                    <a:pt x="1164" y="900"/>
                  </a:lnTo>
                  <a:lnTo>
                    <a:pt x="1158" y="900"/>
                  </a:lnTo>
                  <a:lnTo>
                    <a:pt x="1152" y="900"/>
                  </a:lnTo>
                  <a:lnTo>
                    <a:pt x="1140" y="900"/>
                  </a:lnTo>
                  <a:lnTo>
                    <a:pt x="1134" y="900"/>
                  </a:lnTo>
                  <a:lnTo>
                    <a:pt x="1128" y="906"/>
                  </a:lnTo>
                  <a:lnTo>
                    <a:pt x="1110" y="906"/>
                  </a:lnTo>
                  <a:lnTo>
                    <a:pt x="1104" y="906"/>
                  </a:lnTo>
                  <a:lnTo>
                    <a:pt x="1098" y="906"/>
                  </a:lnTo>
                  <a:lnTo>
                    <a:pt x="1092" y="912"/>
                  </a:lnTo>
                  <a:lnTo>
                    <a:pt x="1080" y="918"/>
                  </a:lnTo>
                  <a:lnTo>
                    <a:pt x="1068" y="930"/>
                  </a:lnTo>
                  <a:lnTo>
                    <a:pt x="1062" y="930"/>
                  </a:lnTo>
                  <a:lnTo>
                    <a:pt x="1056" y="930"/>
                  </a:lnTo>
                  <a:lnTo>
                    <a:pt x="1050" y="930"/>
                  </a:lnTo>
                  <a:lnTo>
                    <a:pt x="1050" y="936"/>
                  </a:lnTo>
                  <a:lnTo>
                    <a:pt x="1038" y="942"/>
                  </a:lnTo>
                  <a:lnTo>
                    <a:pt x="1032" y="948"/>
                  </a:lnTo>
                  <a:lnTo>
                    <a:pt x="1026" y="954"/>
                  </a:lnTo>
                  <a:lnTo>
                    <a:pt x="1020" y="960"/>
                  </a:lnTo>
                  <a:lnTo>
                    <a:pt x="1014" y="966"/>
                  </a:lnTo>
                  <a:lnTo>
                    <a:pt x="1002" y="966"/>
                  </a:lnTo>
                  <a:lnTo>
                    <a:pt x="990" y="978"/>
                  </a:lnTo>
                  <a:lnTo>
                    <a:pt x="984" y="978"/>
                  </a:lnTo>
                  <a:lnTo>
                    <a:pt x="978" y="984"/>
                  </a:lnTo>
                  <a:lnTo>
                    <a:pt x="972" y="984"/>
                  </a:lnTo>
                  <a:lnTo>
                    <a:pt x="978" y="990"/>
                  </a:lnTo>
                  <a:lnTo>
                    <a:pt x="972" y="996"/>
                  </a:lnTo>
                  <a:lnTo>
                    <a:pt x="978" y="1002"/>
                  </a:lnTo>
                  <a:lnTo>
                    <a:pt x="1002" y="1002"/>
                  </a:lnTo>
                  <a:lnTo>
                    <a:pt x="1002" y="1008"/>
                  </a:lnTo>
                  <a:lnTo>
                    <a:pt x="1008" y="1020"/>
                  </a:lnTo>
                  <a:lnTo>
                    <a:pt x="1002" y="1026"/>
                  </a:lnTo>
                  <a:lnTo>
                    <a:pt x="1002" y="1032"/>
                  </a:lnTo>
                  <a:lnTo>
                    <a:pt x="1002" y="1050"/>
                  </a:lnTo>
                  <a:lnTo>
                    <a:pt x="1002" y="1056"/>
                  </a:lnTo>
                  <a:lnTo>
                    <a:pt x="1008" y="1062"/>
                  </a:lnTo>
                  <a:lnTo>
                    <a:pt x="1008" y="1074"/>
                  </a:lnTo>
                  <a:lnTo>
                    <a:pt x="1008" y="1086"/>
                  </a:lnTo>
                  <a:lnTo>
                    <a:pt x="996" y="1092"/>
                  </a:lnTo>
                  <a:lnTo>
                    <a:pt x="996" y="1098"/>
                  </a:lnTo>
                  <a:lnTo>
                    <a:pt x="996" y="1104"/>
                  </a:lnTo>
                  <a:lnTo>
                    <a:pt x="990" y="1110"/>
                  </a:lnTo>
                  <a:lnTo>
                    <a:pt x="990" y="1116"/>
                  </a:lnTo>
                  <a:lnTo>
                    <a:pt x="996" y="1122"/>
                  </a:lnTo>
                  <a:lnTo>
                    <a:pt x="990" y="1128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96" y="1140"/>
                  </a:lnTo>
                  <a:lnTo>
                    <a:pt x="996" y="1146"/>
                  </a:lnTo>
                  <a:lnTo>
                    <a:pt x="996" y="1152"/>
                  </a:lnTo>
                  <a:lnTo>
                    <a:pt x="996" y="1158"/>
                  </a:lnTo>
                  <a:lnTo>
                    <a:pt x="996" y="1164"/>
                  </a:lnTo>
                  <a:lnTo>
                    <a:pt x="996" y="1170"/>
                  </a:lnTo>
                  <a:lnTo>
                    <a:pt x="996" y="1176"/>
                  </a:lnTo>
                  <a:lnTo>
                    <a:pt x="990" y="1182"/>
                  </a:lnTo>
                  <a:lnTo>
                    <a:pt x="990" y="1188"/>
                  </a:lnTo>
                  <a:lnTo>
                    <a:pt x="984" y="1200"/>
                  </a:lnTo>
                  <a:lnTo>
                    <a:pt x="990" y="1206"/>
                  </a:lnTo>
                  <a:lnTo>
                    <a:pt x="990" y="1212"/>
                  </a:lnTo>
                  <a:lnTo>
                    <a:pt x="990" y="1218"/>
                  </a:lnTo>
                  <a:lnTo>
                    <a:pt x="978" y="1230"/>
                  </a:lnTo>
                  <a:lnTo>
                    <a:pt x="972" y="1236"/>
                  </a:lnTo>
                  <a:lnTo>
                    <a:pt x="972" y="1242"/>
                  </a:lnTo>
                  <a:lnTo>
                    <a:pt x="966" y="1248"/>
                  </a:lnTo>
                  <a:lnTo>
                    <a:pt x="960" y="1260"/>
                  </a:lnTo>
                  <a:lnTo>
                    <a:pt x="954" y="1266"/>
                  </a:lnTo>
                  <a:lnTo>
                    <a:pt x="942" y="1278"/>
                  </a:lnTo>
                  <a:lnTo>
                    <a:pt x="936" y="1278"/>
                  </a:lnTo>
                  <a:lnTo>
                    <a:pt x="936" y="1284"/>
                  </a:lnTo>
                  <a:lnTo>
                    <a:pt x="936" y="1296"/>
                  </a:lnTo>
                  <a:lnTo>
                    <a:pt x="936" y="1302"/>
                  </a:lnTo>
                  <a:lnTo>
                    <a:pt x="942" y="1302"/>
                  </a:lnTo>
                  <a:lnTo>
                    <a:pt x="942" y="1308"/>
                  </a:lnTo>
                  <a:lnTo>
                    <a:pt x="936" y="1314"/>
                  </a:lnTo>
                  <a:lnTo>
                    <a:pt x="930" y="1320"/>
                  </a:lnTo>
                  <a:lnTo>
                    <a:pt x="930" y="1326"/>
                  </a:lnTo>
                  <a:lnTo>
                    <a:pt x="930" y="1332"/>
                  </a:lnTo>
                  <a:lnTo>
                    <a:pt x="936" y="1338"/>
                  </a:lnTo>
                  <a:lnTo>
                    <a:pt x="936" y="1344"/>
                  </a:lnTo>
                  <a:lnTo>
                    <a:pt x="942" y="1356"/>
                  </a:lnTo>
                  <a:lnTo>
                    <a:pt x="948" y="1368"/>
                  </a:lnTo>
                  <a:lnTo>
                    <a:pt x="942" y="1380"/>
                  </a:lnTo>
                  <a:lnTo>
                    <a:pt x="936" y="1386"/>
                  </a:lnTo>
                  <a:lnTo>
                    <a:pt x="930" y="1392"/>
                  </a:lnTo>
                  <a:lnTo>
                    <a:pt x="924" y="1392"/>
                  </a:lnTo>
                  <a:lnTo>
                    <a:pt x="918" y="1386"/>
                  </a:lnTo>
                  <a:lnTo>
                    <a:pt x="912" y="1386"/>
                  </a:lnTo>
                  <a:lnTo>
                    <a:pt x="906" y="1386"/>
                  </a:lnTo>
                  <a:lnTo>
                    <a:pt x="900" y="1386"/>
                  </a:lnTo>
                  <a:lnTo>
                    <a:pt x="900" y="1392"/>
                  </a:lnTo>
                  <a:lnTo>
                    <a:pt x="894" y="1392"/>
                  </a:lnTo>
                  <a:lnTo>
                    <a:pt x="888" y="1392"/>
                  </a:lnTo>
                  <a:lnTo>
                    <a:pt x="888" y="1398"/>
                  </a:lnTo>
                  <a:lnTo>
                    <a:pt x="882" y="1404"/>
                  </a:lnTo>
                  <a:lnTo>
                    <a:pt x="882" y="1416"/>
                  </a:lnTo>
                  <a:lnTo>
                    <a:pt x="882" y="1428"/>
                  </a:lnTo>
                  <a:lnTo>
                    <a:pt x="882" y="1434"/>
                  </a:lnTo>
                  <a:lnTo>
                    <a:pt x="870" y="1440"/>
                  </a:lnTo>
                  <a:lnTo>
                    <a:pt x="864" y="1452"/>
                  </a:lnTo>
                  <a:lnTo>
                    <a:pt x="870" y="1452"/>
                  </a:lnTo>
                  <a:lnTo>
                    <a:pt x="864" y="1458"/>
                  </a:lnTo>
                  <a:lnTo>
                    <a:pt x="858" y="1464"/>
                  </a:lnTo>
                  <a:lnTo>
                    <a:pt x="852" y="1464"/>
                  </a:lnTo>
                  <a:lnTo>
                    <a:pt x="846" y="1458"/>
                  </a:lnTo>
                  <a:lnTo>
                    <a:pt x="840" y="1458"/>
                  </a:lnTo>
                  <a:lnTo>
                    <a:pt x="828" y="1470"/>
                  </a:lnTo>
                  <a:lnTo>
                    <a:pt x="810" y="1482"/>
                  </a:lnTo>
                  <a:lnTo>
                    <a:pt x="804" y="1488"/>
                  </a:lnTo>
                  <a:lnTo>
                    <a:pt x="798" y="1488"/>
                  </a:lnTo>
                  <a:lnTo>
                    <a:pt x="792" y="1488"/>
                  </a:lnTo>
                  <a:lnTo>
                    <a:pt x="786" y="1488"/>
                  </a:lnTo>
                  <a:lnTo>
                    <a:pt x="768" y="1482"/>
                  </a:lnTo>
                  <a:lnTo>
                    <a:pt x="762" y="1476"/>
                  </a:lnTo>
                  <a:lnTo>
                    <a:pt x="744" y="1476"/>
                  </a:lnTo>
                  <a:lnTo>
                    <a:pt x="738" y="1476"/>
                  </a:lnTo>
                  <a:lnTo>
                    <a:pt x="732" y="1476"/>
                  </a:lnTo>
                  <a:lnTo>
                    <a:pt x="726" y="1482"/>
                  </a:lnTo>
                  <a:lnTo>
                    <a:pt x="726" y="1488"/>
                  </a:lnTo>
                  <a:lnTo>
                    <a:pt x="726" y="1494"/>
                  </a:lnTo>
                  <a:lnTo>
                    <a:pt x="726" y="1500"/>
                  </a:lnTo>
                  <a:lnTo>
                    <a:pt x="720" y="1500"/>
                  </a:lnTo>
                  <a:lnTo>
                    <a:pt x="720" y="1506"/>
                  </a:lnTo>
                  <a:lnTo>
                    <a:pt x="714" y="1512"/>
                  </a:lnTo>
                  <a:lnTo>
                    <a:pt x="714" y="1518"/>
                  </a:lnTo>
                  <a:lnTo>
                    <a:pt x="708" y="1518"/>
                  </a:lnTo>
                  <a:lnTo>
                    <a:pt x="708" y="1530"/>
                  </a:lnTo>
                  <a:lnTo>
                    <a:pt x="708" y="1536"/>
                  </a:lnTo>
                  <a:lnTo>
                    <a:pt x="708" y="1542"/>
                  </a:lnTo>
                  <a:lnTo>
                    <a:pt x="696" y="1554"/>
                  </a:lnTo>
                  <a:lnTo>
                    <a:pt x="690" y="1560"/>
                  </a:lnTo>
                  <a:lnTo>
                    <a:pt x="684" y="1566"/>
                  </a:lnTo>
                  <a:lnTo>
                    <a:pt x="672" y="1566"/>
                  </a:lnTo>
                  <a:lnTo>
                    <a:pt x="666" y="1566"/>
                  </a:lnTo>
                  <a:lnTo>
                    <a:pt x="660" y="1566"/>
                  </a:lnTo>
                  <a:lnTo>
                    <a:pt x="654" y="1572"/>
                  </a:lnTo>
                  <a:lnTo>
                    <a:pt x="654" y="1578"/>
                  </a:lnTo>
                  <a:lnTo>
                    <a:pt x="642" y="1578"/>
                  </a:lnTo>
                  <a:lnTo>
                    <a:pt x="630" y="1572"/>
                  </a:lnTo>
                  <a:lnTo>
                    <a:pt x="624" y="1572"/>
                  </a:lnTo>
                  <a:lnTo>
                    <a:pt x="618" y="1578"/>
                  </a:lnTo>
                  <a:lnTo>
                    <a:pt x="612" y="1584"/>
                  </a:lnTo>
                  <a:lnTo>
                    <a:pt x="606" y="1584"/>
                  </a:lnTo>
                  <a:lnTo>
                    <a:pt x="600" y="1590"/>
                  </a:lnTo>
                  <a:lnTo>
                    <a:pt x="594" y="1590"/>
                  </a:lnTo>
                  <a:lnTo>
                    <a:pt x="588" y="1590"/>
                  </a:lnTo>
                  <a:lnTo>
                    <a:pt x="582" y="1590"/>
                  </a:lnTo>
                  <a:lnTo>
                    <a:pt x="582" y="1596"/>
                  </a:lnTo>
                  <a:lnTo>
                    <a:pt x="576" y="1614"/>
                  </a:lnTo>
                  <a:lnTo>
                    <a:pt x="570" y="1632"/>
                  </a:lnTo>
                  <a:lnTo>
                    <a:pt x="570" y="1638"/>
                  </a:lnTo>
                  <a:lnTo>
                    <a:pt x="576" y="1644"/>
                  </a:lnTo>
                  <a:lnTo>
                    <a:pt x="576" y="1650"/>
                  </a:lnTo>
                  <a:lnTo>
                    <a:pt x="582" y="1662"/>
                  </a:lnTo>
                  <a:lnTo>
                    <a:pt x="582" y="1668"/>
                  </a:lnTo>
                  <a:lnTo>
                    <a:pt x="588" y="1692"/>
                  </a:lnTo>
                  <a:lnTo>
                    <a:pt x="594" y="1728"/>
                  </a:lnTo>
                  <a:lnTo>
                    <a:pt x="594" y="1752"/>
                  </a:lnTo>
                  <a:lnTo>
                    <a:pt x="594" y="1764"/>
                  </a:lnTo>
                  <a:lnTo>
                    <a:pt x="582" y="1770"/>
                  </a:lnTo>
                  <a:lnTo>
                    <a:pt x="582" y="1782"/>
                  </a:lnTo>
                  <a:lnTo>
                    <a:pt x="576" y="1788"/>
                  </a:lnTo>
                  <a:lnTo>
                    <a:pt x="570" y="1794"/>
                  </a:lnTo>
                  <a:lnTo>
                    <a:pt x="564" y="1806"/>
                  </a:lnTo>
                  <a:lnTo>
                    <a:pt x="564" y="1812"/>
                  </a:lnTo>
                  <a:lnTo>
                    <a:pt x="558" y="1812"/>
                  </a:lnTo>
                  <a:lnTo>
                    <a:pt x="564" y="1824"/>
                  </a:lnTo>
                  <a:lnTo>
                    <a:pt x="564" y="1830"/>
                  </a:lnTo>
                  <a:lnTo>
                    <a:pt x="564" y="1842"/>
                  </a:lnTo>
                  <a:lnTo>
                    <a:pt x="564" y="1848"/>
                  </a:lnTo>
                  <a:lnTo>
                    <a:pt x="564" y="1854"/>
                  </a:lnTo>
                  <a:lnTo>
                    <a:pt x="570" y="1860"/>
                  </a:lnTo>
                  <a:lnTo>
                    <a:pt x="570" y="1866"/>
                  </a:lnTo>
                  <a:lnTo>
                    <a:pt x="570" y="1872"/>
                  </a:lnTo>
                  <a:lnTo>
                    <a:pt x="570" y="1878"/>
                  </a:lnTo>
                  <a:lnTo>
                    <a:pt x="564" y="1890"/>
                  </a:lnTo>
                  <a:lnTo>
                    <a:pt x="558" y="1896"/>
                  </a:lnTo>
                  <a:lnTo>
                    <a:pt x="552" y="1908"/>
                  </a:lnTo>
                  <a:lnTo>
                    <a:pt x="546" y="1914"/>
                  </a:lnTo>
                  <a:lnTo>
                    <a:pt x="540" y="1920"/>
                  </a:lnTo>
                  <a:lnTo>
                    <a:pt x="534" y="1932"/>
                  </a:lnTo>
                  <a:lnTo>
                    <a:pt x="528" y="1944"/>
                  </a:lnTo>
                  <a:lnTo>
                    <a:pt x="516" y="1950"/>
                  </a:lnTo>
                  <a:lnTo>
                    <a:pt x="510" y="1956"/>
                  </a:lnTo>
                  <a:lnTo>
                    <a:pt x="498" y="1962"/>
                  </a:lnTo>
                  <a:lnTo>
                    <a:pt x="492" y="1974"/>
                  </a:lnTo>
                  <a:lnTo>
                    <a:pt x="486" y="1980"/>
                  </a:lnTo>
                  <a:lnTo>
                    <a:pt x="480" y="1998"/>
                  </a:lnTo>
                  <a:lnTo>
                    <a:pt x="474" y="2004"/>
                  </a:lnTo>
                  <a:lnTo>
                    <a:pt x="474" y="2010"/>
                  </a:lnTo>
                  <a:lnTo>
                    <a:pt x="474" y="2016"/>
                  </a:lnTo>
                  <a:lnTo>
                    <a:pt x="468" y="2016"/>
                  </a:lnTo>
                  <a:lnTo>
                    <a:pt x="468" y="2028"/>
                  </a:lnTo>
                  <a:lnTo>
                    <a:pt x="462" y="2034"/>
                  </a:lnTo>
                  <a:lnTo>
                    <a:pt x="456" y="2040"/>
                  </a:lnTo>
                  <a:lnTo>
                    <a:pt x="456" y="2052"/>
                  </a:lnTo>
                  <a:lnTo>
                    <a:pt x="450" y="2058"/>
                  </a:lnTo>
                  <a:lnTo>
                    <a:pt x="450" y="2070"/>
                  </a:lnTo>
                  <a:lnTo>
                    <a:pt x="450" y="2076"/>
                  </a:lnTo>
                  <a:lnTo>
                    <a:pt x="450" y="2082"/>
                  </a:lnTo>
                  <a:lnTo>
                    <a:pt x="444" y="2088"/>
                  </a:lnTo>
                  <a:lnTo>
                    <a:pt x="438" y="2094"/>
                  </a:lnTo>
                  <a:lnTo>
                    <a:pt x="444" y="2100"/>
                  </a:lnTo>
                  <a:lnTo>
                    <a:pt x="444" y="2124"/>
                  </a:lnTo>
                  <a:lnTo>
                    <a:pt x="444" y="2142"/>
                  </a:lnTo>
                  <a:lnTo>
                    <a:pt x="444" y="2160"/>
                  </a:lnTo>
                  <a:lnTo>
                    <a:pt x="450" y="2166"/>
                  </a:lnTo>
                  <a:lnTo>
                    <a:pt x="456" y="2178"/>
                  </a:lnTo>
                  <a:lnTo>
                    <a:pt x="438" y="2184"/>
                  </a:lnTo>
                  <a:lnTo>
                    <a:pt x="432" y="2184"/>
                  </a:lnTo>
                  <a:lnTo>
                    <a:pt x="426" y="2190"/>
                  </a:lnTo>
                  <a:lnTo>
                    <a:pt x="408" y="2190"/>
                  </a:lnTo>
                  <a:lnTo>
                    <a:pt x="402" y="2196"/>
                  </a:lnTo>
                  <a:lnTo>
                    <a:pt x="396" y="2196"/>
                  </a:lnTo>
                  <a:lnTo>
                    <a:pt x="384" y="2208"/>
                  </a:lnTo>
                  <a:lnTo>
                    <a:pt x="378" y="2220"/>
                  </a:lnTo>
                  <a:lnTo>
                    <a:pt x="366" y="2232"/>
                  </a:lnTo>
                  <a:lnTo>
                    <a:pt x="366" y="2238"/>
                  </a:lnTo>
                  <a:lnTo>
                    <a:pt x="360" y="2238"/>
                  </a:lnTo>
                  <a:lnTo>
                    <a:pt x="360" y="2244"/>
                  </a:lnTo>
                  <a:lnTo>
                    <a:pt x="354" y="2244"/>
                  </a:lnTo>
                  <a:lnTo>
                    <a:pt x="330" y="227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5" name="Freeform 10">
              <a:extLst>
                <a:ext uri="{FF2B5EF4-FFF2-40B4-BE49-F238E27FC236}">
                  <a16:creationId xmlns:a16="http://schemas.microsoft.com/office/drawing/2014/main" id="{3AD2FC58-3490-4B7F-A8BE-621F3CDD69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1996" y="1931890"/>
              <a:ext cx="805029" cy="1037736"/>
            </a:xfrm>
            <a:custGeom>
              <a:avLst/>
              <a:gdLst>
                <a:gd name="T0" fmla="*/ 124 w 1512"/>
                <a:gd name="T1" fmla="*/ 76 h 1956"/>
                <a:gd name="T2" fmla="*/ 120 w 1512"/>
                <a:gd name="T3" fmla="*/ 80 h 1956"/>
                <a:gd name="T4" fmla="*/ 106 w 1512"/>
                <a:gd name="T5" fmla="*/ 84 h 1956"/>
                <a:gd name="T6" fmla="*/ 105 w 1512"/>
                <a:gd name="T7" fmla="*/ 91 h 1956"/>
                <a:gd name="T8" fmla="*/ 101 w 1512"/>
                <a:gd name="T9" fmla="*/ 99 h 1956"/>
                <a:gd name="T10" fmla="*/ 105 w 1512"/>
                <a:gd name="T11" fmla="*/ 107 h 1956"/>
                <a:gd name="T12" fmla="*/ 119 w 1512"/>
                <a:gd name="T13" fmla="*/ 116 h 1956"/>
                <a:gd name="T14" fmla="*/ 121 w 1512"/>
                <a:gd name="T15" fmla="*/ 128 h 1956"/>
                <a:gd name="T16" fmla="*/ 112 w 1512"/>
                <a:gd name="T17" fmla="*/ 136 h 1956"/>
                <a:gd name="T18" fmla="*/ 119 w 1512"/>
                <a:gd name="T19" fmla="*/ 143 h 1956"/>
                <a:gd name="T20" fmla="*/ 126 w 1512"/>
                <a:gd name="T21" fmla="*/ 148 h 1956"/>
                <a:gd name="T22" fmla="*/ 126 w 1512"/>
                <a:gd name="T23" fmla="*/ 160 h 1956"/>
                <a:gd name="T24" fmla="*/ 104 w 1512"/>
                <a:gd name="T25" fmla="*/ 170 h 1956"/>
                <a:gd name="T26" fmla="*/ 99 w 1512"/>
                <a:gd name="T27" fmla="*/ 164 h 1956"/>
                <a:gd name="T28" fmla="*/ 73 w 1512"/>
                <a:gd name="T29" fmla="*/ 152 h 1956"/>
                <a:gd name="T30" fmla="*/ 56 w 1512"/>
                <a:gd name="T31" fmla="*/ 165 h 1956"/>
                <a:gd name="T32" fmla="*/ 33 w 1512"/>
                <a:gd name="T33" fmla="*/ 162 h 1956"/>
                <a:gd name="T34" fmla="*/ 25 w 1512"/>
                <a:gd name="T35" fmla="*/ 155 h 1956"/>
                <a:gd name="T36" fmla="*/ 31 w 1512"/>
                <a:gd name="T37" fmla="*/ 142 h 1956"/>
                <a:gd name="T38" fmla="*/ 24 w 1512"/>
                <a:gd name="T39" fmla="*/ 137 h 1956"/>
                <a:gd name="T40" fmla="*/ 14 w 1512"/>
                <a:gd name="T41" fmla="*/ 136 h 1956"/>
                <a:gd name="T42" fmla="*/ 11 w 1512"/>
                <a:gd name="T43" fmla="*/ 125 h 1956"/>
                <a:gd name="T44" fmla="*/ 3 w 1512"/>
                <a:gd name="T45" fmla="*/ 116 h 1956"/>
                <a:gd name="T46" fmla="*/ 2 w 1512"/>
                <a:gd name="T47" fmla="*/ 106 h 1956"/>
                <a:gd name="T48" fmla="*/ 5 w 1512"/>
                <a:gd name="T49" fmla="*/ 101 h 1956"/>
                <a:gd name="T50" fmla="*/ 2 w 1512"/>
                <a:gd name="T51" fmla="*/ 95 h 1956"/>
                <a:gd name="T52" fmla="*/ 1 w 1512"/>
                <a:gd name="T53" fmla="*/ 88 h 1956"/>
                <a:gd name="T54" fmla="*/ 4 w 1512"/>
                <a:gd name="T55" fmla="*/ 80 h 1956"/>
                <a:gd name="T56" fmla="*/ 12 w 1512"/>
                <a:gd name="T57" fmla="*/ 73 h 1956"/>
                <a:gd name="T58" fmla="*/ 16 w 1512"/>
                <a:gd name="T59" fmla="*/ 68 h 1956"/>
                <a:gd name="T60" fmla="*/ 22 w 1512"/>
                <a:gd name="T61" fmla="*/ 66 h 1956"/>
                <a:gd name="T62" fmla="*/ 32 w 1512"/>
                <a:gd name="T63" fmla="*/ 65 h 1956"/>
                <a:gd name="T64" fmla="*/ 45 w 1512"/>
                <a:gd name="T65" fmla="*/ 66 h 1956"/>
                <a:gd name="T66" fmla="*/ 50 w 1512"/>
                <a:gd name="T67" fmla="*/ 70 h 1956"/>
                <a:gd name="T68" fmla="*/ 55 w 1512"/>
                <a:gd name="T69" fmla="*/ 70 h 1956"/>
                <a:gd name="T70" fmla="*/ 63 w 1512"/>
                <a:gd name="T71" fmla="*/ 71 h 1956"/>
                <a:gd name="T72" fmla="*/ 61 w 1512"/>
                <a:gd name="T73" fmla="*/ 75 h 1956"/>
                <a:gd name="T74" fmla="*/ 66 w 1512"/>
                <a:gd name="T75" fmla="*/ 84 h 1956"/>
                <a:gd name="T76" fmla="*/ 81 w 1512"/>
                <a:gd name="T77" fmla="*/ 85 h 1956"/>
                <a:gd name="T78" fmla="*/ 83 w 1512"/>
                <a:gd name="T79" fmla="*/ 79 h 1956"/>
                <a:gd name="T80" fmla="*/ 89 w 1512"/>
                <a:gd name="T81" fmla="*/ 77 h 1956"/>
                <a:gd name="T82" fmla="*/ 89 w 1512"/>
                <a:gd name="T83" fmla="*/ 73 h 1956"/>
                <a:gd name="T84" fmla="*/ 83 w 1512"/>
                <a:gd name="T85" fmla="*/ 72 h 1956"/>
                <a:gd name="T86" fmla="*/ 77 w 1512"/>
                <a:gd name="T87" fmla="*/ 70 h 1956"/>
                <a:gd name="T88" fmla="*/ 71 w 1512"/>
                <a:gd name="T89" fmla="*/ 70 h 1956"/>
                <a:gd name="T90" fmla="*/ 59 w 1512"/>
                <a:gd name="T91" fmla="*/ 58 h 1956"/>
                <a:gd name="T92" fmla="*/ 54 w 1512"/>
                <a:gd name="T93" fmla="*/ 45 h 1956"/>
                <a:gd name="T94" fmla="*/ 49 w 1512"/>
                <a:gd name="T95" fmla="*/ 42 h 1956"/>
                <a:gd name="T96" fmla="*/ 51 w 1512"/>
                <a:gd name="T97" fmla="*/ 39 h 1956"/>
                <a:gd name="T98" fmla="*/ 55 w 1512"/>
                <a:gd name="T99" fmla="*/ 36 h 1956"/>
                <a:gd name="T100" fmla="*/ 63 w 1512"/>
                <a:gd name="T101" fmla="*/ 34 h 1956"/>
                <a:gd name="T102" fmla="*/ 68 w 1512"/>
                <a:gd name="T103" fmla="*/ 32 h 1956"/>
                <a:gd name="T104" fmla="*/ 73 w 1512"/>
                <a:gd name="T105" fmla="*/ 29 h 1956"/>
                <a:gd name="T106" fmla="*/ 78 w 1512"/>
                <a:gd name="T107" fmla="*/ 27 h 1956"/>
                <a:gd name="T108" fmla="*/ 81 w 1512"/>
                <a:gd name="T109" fmla="*/ 17 h 1956"/>
                <a:gd name="T110" fmla="*/ 84 w 1512"/>
                <a:gd name="T111" fmla="*/ 6 h 1956"/>
                <a:gd name="T112" fmla="*/ 95 w 1512"/>
                <a:gd name="T113" fmla="*/ 6 h 1956"/>
                <a:gd name="T114" fmla="*/ 99 w 1512"/>
                <a:gd name="T115" fmla="*/ 3 h 1956"/>
                <a:gd name="T116" fmla="*/ 103 w 1512"/>
                <a:gd name="T117" fmla="*/ 0 h 1956"/>
                <a:gd name="T118" fmla="*/ 110 w 1512"/>
                <a:gd name="T119" fmla="*/ 4 h 1956"/>
                <a:gd name="T120" fmla="*/ 114 w 1512"/>
                <a:gd name="T121" fmla="*/ 33 h 1956"/>
                <a:gd name="T122" fmla="*/ 117 w 1512"/>
                <a:gd name="T123" fmla="*/ 41 h 1956"/>
                <a:gd name="T124" fmla="*/ 119 w 1512"/>
                <a:gd name="T125" fmla="*/ 62 h 195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12"/>
                <a:gd name="T190" fmla="*/ 0 h 1956"/>
                <a:gd name="T191" fmla="*/ 1512 w 1512"/>
                <a:gd name="T192" fmla="*/ 1956 h 195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12" h="1956">
                  <a:moveTo>
                    <a:pt x="1512" y="780"/>
                  </a:moveTo>
                  <a:lnTo>
                    <a:pt x="1482" y="786"/>
                  </a:lnTo>
                  <a:lnTo>
                    <a:pt x="1476" y="792"/>
                  </a:lnTo>
                  <a:lnTo>
                    <a:pt x="1476" y="798"/>
                  </a:lnTo>
                  <a:lnTo>
                    <a:pt x="1476" y="804"/>
                  </a:lnTo>
                  <a:lnTo>
                    <a:pt x="1476" y="816"/>
                  </a:lnTo>
                  <a:lnTo>
                    <a:pt x="1470" y="834"/>
                  </a:lnTo>
                  <a:lnTo>
                    <a:pt x="1464" y="840"/>
                  </a:lnTo>
                  <a:lnTo>
                    <a:pt x="1452" y="852"/>
                  </a:lnTo>
                  <a:lnTo>
                    <a:pt x="1440" y="864"/>
                  </a:lnTo>
                  <a:lnTo>
                    <a:pt x="1434" y="864"/>
                  </a:lnTo>
                  <a:lnTo>
                    <a:pt x="1434" y="870"/>
                  </a:lnTo>
                  <a:lnTo>
                    <a:pt x="1422" y="876"/>
                  </a:lnTo>
                  <a:lnTo>
                    <a:pt x="1410" y="894"/>
                  </a:lnTo>
                  <a:lnTo>
                    <a:pt x="1404" y="894"/>
                  </a:lnTo>
                  <a:lnTo>
                    <a:pt x="1404" y="900"/>
                  </a:lnTo>
                  <a:lnTo>
                    <a:pt x="1404" y="906"/>
                  </a:lnTo>
                  <a:lnTo>
                    <a:pt x="1410" y="918"/>
                  </a:lnTo>
                  <a:lnTo>
                    <a:pt x="1404" y="918"/>
                  </a:lnTo>
                  <a:lnTo>
                    <a:pt x="1392" y="924"/>
                  </a:lnTo>
                  <a:lnTo>
                    <a:pt x="1386" y="924"/>
                  </a:lnTo>
                  <a:lnTo>
                    <a:pt x="1380" y="924"/>
                  </a:lnTo>
                  <a:lnTo>
                    <a:pt x="1380" y="930"/>
                  </a:lnTo>
                  <a:lnTo>
                    <a:pt x="1374" y="930"/>
                  </a:lnTo>
                  <a:lnTo>
                    <a:pt x="1374" y="924"/>
                  </a:lnTo>
                  <a:lnTo>
                    <a:pt x="1374" y="918"/>
                  </a:lnTo>
                  <a:lnTo>
                    <a:pt x="1368" y="912"/>
                  </a:lnTo>
                  <a:lnTo>
                    <a:pt x="1368" y="906"/>
                  </a:lnTo>
                  <a:lnTo>
                    <a:pt x="1368" y="900"/>
                  </a:lnTo>
                  <a:lnTo>
                    <a:pt x="1368" y="894"/>
                  </a:lnTo>
                  <a:lnTo>
                    <a:pt x="1362" y="894"/>
                  </a:lnTo>
                  <a:lnTo>
                    <a:pt x="1326" y="894"/>
                  </a:lnTo>
                  <a:lnTo>
                    <a:pt x="1302" y="906"/>
                  </a:lnTo>
                  <a:lnTo>
                    <a:pt x="1284" y="918"/>
                  </a:lnTo>
                  <a:lnTo>
                    <a:pt x="1284" y="924"/>
                  </a:lnTo>
                  <a:lnTo>
                    <a:pt x="1278" y="930"/>
                  </a:lnTo>
                  <a:lnTo>
                    <a:pt x="1266" y="930"/>
                  </a:lnTo>
                  <a:lnTo>
                    <a:pt x="1236" y="954"/>
                  </a:lnTo>
                  <a:lnTo>
                    <a:pt x="1212" y="972"/>
                  </a:lnTo>
                  <a:lnTo>
                    <a:pt x="1218" y="996"/>
                  </a:lnTo>
                  <a:lnTo>
                    <a:pt x="1224" y="1008"/>
                  </a:lnTo>
                  <a:lnTo>
                    <a:pt x="1236" y="1014"/>
                  </a:lnTo>
                  <a:lnTo>
                    <a:pt x="1242" y="1026"/>
                  </a:lnTo>
                  <a:lnTo>
                    <a:pt x="1248" y="1038"/>
                  </a:lnTo>
                  <a:lnTo>
                    <a:pt x="1260" y="1050"/>
                  </a:lnTo>
                  <a:lnTo>
                    <a:pt x="1260" y="1056"/>
                  </a:lnTo>
                  <a:lnTo>
                    <a:pt x="1260" y="1074"/>
                  </a:lnTo>
                  <a:lnTo>
                    <a:pt x="1254" y="1074"/>
                  </a:lnTo>
                  <a:lnTo>
                    <a:pt x="1236" y="1056"/>
                  </a:lnTo>
                  <a:lnTo>
                    <a:pt x="1224" y="1050"/>
                  </a:lnTo>
                  <a:lnTo>
                    <a:pt x="1212" y="1050"/>
                  </a:lnTo>
                  <a:lnTo>
                    <a:pt x="1206" y="1050"/>
                  </a:lnTo>
                  <a:lnTo>
                    <a:pt x="1200" y="1056"/>
                  </a:lnTo>
                  <a:lnTo>
                    <a:pt x="1194" y="1062"/>
                  </a:lnTo>
                  <a:lnTo>
                    <a:pt x="1188" y="1068"/>
                  </a:lnTo>
                  <a:lnTo>
                    <a:pt x="1188" y="1074"/>
                  </a:lnTo>
                  <a:lnTo>
                    <a:pt x="1176" y="1086"/>
                  </a:lnTo>
                  <a:lnTo>
                    <a:pt x="1170" y="1086"/>
                  </a:lnTo>
                  <a:lnTo>
                    <a:pt x="1170" y="1092"/>
                  </a:lnTo>
                  <a:lnTo>
                    <a:pt x="1164" y="1098"/>
                  </a:lnTo>
                  <a:lnTo>
                    <a:pt x="1158" y="1110"/>
                  </a:lnTo>
                  <a:lnTo>
                    <a:pt x="1152" y="1116"/>
                  </a:lnTo>
                  <a:lnTo>
                    <a:pt x="1152" y="1122"/>
                  </a:lnTo>
                  <a:lnTo>
                    <a:pt x="1146" y="1128"/>
                  </a:lnTo>
                  <a:lnTo>
                    <a:pt x="1152" y="1140"/>
                  </a:lnTo>
                  <a:lnTo>
                    <a:pt x="1158" y="1140"/>
                  </a:lnTo>
                  <a:lnTo>
                    <a:pt x="1164" y="1146"/>
                  </a:lnTo>
                  <a:lnTo>
                    <a:pt x="1164" y="1152"/>
                  </a:lnTo>
                  <a:lnTo>
                    <a:pt x="1170" y="1164"/>
                  </a:lnTo>
                  <a:lnTo>
                    <a:pt x="1164" y="1176"/>
                  </a:lnTo>
                  <a:lnTo>
                    <a:pt x="1170" y="1182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82" y="1218"/>
                  </a:lnTo>
                  <a:lnTo>
                    <a:pt x="1188" y="1218"/>
                  </a:lnTo>
                  <a:lnTo>
                    <a:pt x="1194" y="1218"/>
                  </a:lnTo>
                  <a:lnTo>
                    <a:pt x="1194" y="1224"/>
                  </a:lnTo>
                  <a:lnTo>
                    <a:pt x="1200" y="1230"/>
                  </a:lnTo>
                  <a:lnTo>
                    <a:pt x="1200" y="1248"/>
                  </a:lnTo>
                  <a:lnTo>
                    <a:pt x="1212" y="1266"/>
                  </a:lnTo>
                  <a:lnTo>
                    <a:pt x="1218" y="1278"/>
                  </a:lnTo>
                  <a:lnTo>
                    <a:pt x="1224" y="1284"/>
                  </a:lnTo>
                  <a:lnTo>
                    <a:pt x="1236" y="1296"/>
                  </a:lnTo>
                  <a:lnTo>
                    <a:pt x="1242" y="1302"/>
                  </a:lnTo>
                  <a:lnTo>
                    <a:pt x="1242" y="1308"/>
                  </a:lnTo>
                  <a:lnTo>
                    <a:pt x="1272" y="1308"/>
                  </a:lnTo>
                  <a:lnTo>
                    <a:pt x="1296" y="1314"/>
                  </a:lnTo>
                  <a:lnTo>
                    <a:pt x="1320" y="1320"/>
                  </a:lnTo>
                  <a:lnTo>
                    <a:pt x="1338" y="1320"/>
                  </a:lnTo>
                  <a:lnTo>
                    <a:pt x="1356" y="1332"/>
                  </a:lnTo>
                  <a:lnTo>
                    <a:pt x="1368" y="1344"/>
                  </a:lnTo>
                  <a:lnTo>
                    <a:pt x="1374" y="1362"/>
                  </a:lnTo>
                  <a:lnTo>
                    <a:pt x="1368" y="1362"/>
                  </a:lnTo>
                  <a:lnTo>
                    <a:pt x="1368" y="1398"/>
                  </a:lnTo>
                  <a:lnTo>
                    <a:pt x="1368" y="1410"/>
                  </a:lnTo>
                  <a:lnTo>
                    <a:pt x="1368" y="1428"/>
                  </a:lnTo>
                  <a:lnTo>
                    <a:pt x="1368" y="1434"/>
                  </a:lnTo>
                  <a:lnTo>
                    <a:pt x="1368" y="1440"/>
                  </a:lnTo>
                  <a:lnTo>
                    <a:pt x="1374" y="1446"/>
                  </a:lnTo>
                  <a:lnTo>
                    <a:pt x="1374" y="1452"/>
                  </a:lnTo>
                  <a:lnTo>
                    <a:pt x="1380" y="1458"/>
                  </a:lnTo>
                  <a:lnTo>
                    <a:pt x="1386" y="1464"/>
                  </a:lnTo>
                  <a:lnTo>
                    <a:pt x="1386" y="1470"/>
                  </a:lnTo>
                  <a:lnTo>
                    <a:pt x="1380" y="1476"/>
                  </a:lnTo>
                  <a:lnTo>
                    <a:pt x="1374" y="1482"/>
                  </a:lnTo>
                  <a:lnTo>
                    <a:pt x="1362" y="1500"/>
                  </a:lnTo>
                  <a:lnTo>
                    <a:pt x="1362" y="1506"/>
                  </a:lnTo>
                  <a:lnTo>
                    <a:pt x="1362" y="1512"/>
                  </a:lnTo>
                  <a:lnTo>
                    <a:pt x="1362" y="1518"/>
                  </a:lnTo>
                  <a:lnTo>
                    <a:pt x="1362" y="1524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38" y="1548"/>
                  </a:lnTo>
                  <a:lnTo>
                    <a:pt x="1296" y="1548"/>
                  </a:lnTo>
                  <a:lnTo>
                    <a:pt x="1290" y="1554"/>
                  </a:lnTo>
                  <a:lnTo>
                    <a:pt x="1284" y="1560"/>
                  </a:lnTo>
                  <a:lnTo>
                    <a:pt x="1284" y="1566"/>
                  </a:lnTo>
                  <a:lnTo>
                    <a:pt x="1290" y="1578"/>
                  </a:lnTo>
                  <a:lnTo>
                    <a:pt x="1296" y="1590"/>
                  </a:lnTo>
                  <a:lnTo>
                    <a:pt x="1302" y="1590"/>
                  </a:lnTo>
                  <a:lnTo>
                    <a:pt x="1308" y="1596"/>
                  </a:lnTo>
                  <a:lnTo>
                    <a:pt x="1320" y="1602"/>
                  </a:lnTo>
                  <a:lnTo>
                    <a:pt x="1326" y="1602"/>
                  </a:lnTo>
                  <a:lnTo>
                    <a:pt x="1326" y="1608"/>
                  </a:lnTo>
                  <a:lnTo>
                    <a:pt x="1332" y="1614"/>
                  </a:lnTo>
                  <a:lnTo>
                    <a:pt x="1344" y="1620"/>
                  </a:lnTo>
                  <a:lnTo>
                    <a:pt x="1356" y="1626"/>
                  </a:lnTo>
                  <a:lnTo>
                    <a:pt x="1356" y="1632"/>
                  </a:lnTo>
                  <a:lnTo>
                    <a:pt x="1356" y="1638"/>
                  </a:lnTo>
                  <a:lnTo>
                    <a:pt x="1362" y="1644"/>
                  </a:lnTo>
                  <a:lnTo>
                    <a:pt x="1368" y="1644"/>
                  </a:lnTo>
                  <a:lnTo>
                    <a:pt x="1380" y="1650"/>
                  </a:lnTo>
                  <a:lnTo>
                    <a:pt x="1386" y="1650"/>
                  </a:lnTo>
                  <a:lnTo>
                    <a:pt x="1386" y="1656"/>
                  </a:lnTo>
                  <a:lnTo>
                    <a:pt x="1392" y="1656"/>
                  </a:lnTo>
                  <a:lnTo>
                    <a:pt x="1398" y="1662"/>
                  </a:lnTo>
                  <a:lnTo>
                    <a:pt x="1410" y="1674"/>
                  </a:lnTo>
                  <a:lnTo>
                    <a:pt x="1428" y="1680"/>
                  </a:lnTo>
                  <a:lnTo>
                    <a:pt x="1428" y="1686"/>
                  </a:lnTo>
                  <a:lnTo>
                    <a:pt x="1428" y="1698"/>
                  </a:lnTo>
                  <a:lnTo>
                    <a:pt x="1434" y="1704"/>
                  </a:lnTo>
                  <a:lnTo>
                    <a:pt x="1434" y="1710"/>
                  </a:lnTo>
                  <a:lnTo>
                    <a:pt x="1440" y="1710"/>
                  </a:lnTo>
                  <a:lnTo>
                    <a:pt x="1446" y="1710"/>
                  </a:lnTo>
                  <a:lnTo>
                    <a:pt x="1446" y="1716"/>
                  </a:lnTo>
                  <a:lnTo>
                    <a:pt x="1440" y="1722"/>
                  </a:lnTo>
                  <a:lnTo>
                    <a:pt x="1440" y="1728"/>
                  </a:lnTo>
                  <a:lnTo>
                    <a:pt x="1440" y="1734"/>
                  </a:lnTo>
                  <a:lnTo>
                    <a:pt x="1440" y="1740"/>
                  </a:lnTo>
                  <a:lnTo>
                    <a:pt x="1440" y="1746"/>
                  </a:lnTo>
                  <a:lnTo>
                    <a:pt x="1440" y="1788"/>
                  </a:lnTo>
                  <a:lnTo>
                    <a:pt x="1440" y="1800"/>
                  </a:lnTo>
                  <a:lnTo>
                    <a:pt x="1440" y="1806"/>
                  </a:lnTo>
                  <a:lnTo>
                    <a:pt x="1440" y="1836"/>
                  </a:lnTo>
                  <a:lnTo>
                    <a:pt x="1440" y="1848"/>
                  </a:lnTo>
                  <a:lnTo>
                    <a:pt x="1446" y="1848"/>
                  </a:lnTo>
                  <a:lnTo>
                    <a:pt x="1446" y="1854"/>
                  </a:lnTo>
                  <a:lnTo>
                    <a:pt x="1452" y="1848"/>
                  </a:lnTo>
                  <a:lnTo>
                    <a:pt x="1458" y="1854"/>
                  </a:lnTo>
                  <a:lnTo>
                    <a:pt x="1452" y="1860"/>
                  </a:lnTo>
                  <a:lnTo>
                    <a:pt x="1452" y="1866"/>
                  </a:lnTo>
                  <a:lnTo>
                    <a:pt x="1458" y="1872"/>
                  </a:lnTo>
                  <a:lnTo>
                    <a:pt x="1464" y="1884"/>
                  </a:lnTo>
                  <a:lnTo>
                    <a:pt x="1428" y="1878"/>
                  </a:lnTo>
                  <a:lnTo>
                    <a:pt x="1356" y="1890"/>
                  </a:lnTo>
                  <a:lnTo>
                    <a:pt x="1296" y="1926"/>
                  </a:lnTo>
                  <a:lnTo>
                    <a:pt x="1266" y="1944"/>
                  </a:lnTo>
                  <a:lnTo>
                    <a:pt x="1224" y="1944"/>
                  </a:lnTo>
                  <a:lnTo>
                    <a:pt x="1188" y="1956"/>
                  </a:lnTo>
                  <a:lnTo>
                    <a:pt x="1188" y="1950"/>
                  </a:lnTo>
                  <a:lnTo>
                    <a:pt x="1176" y="1944"/>
                  </a:lnTo>
                  <a:lnTo>
                    <a:pt x="1176" y="1938"/>
                  </a:lnTo>
                  <a:lnTo>
                    <a:pt x="1170" y="1938"/>
                  </a:lnTo>
                  <a:lnTo>
                    <a:pt x="1164" y="1932"/>
                  </a:lnTo>
                  <a:lnTo>
                    <a:pt x="1158" y="1926"/>
                  </a:lnTo>
                  <a:lnTo>
                    <a:pt x="1158" y="1920"/>
                  </a:lnTo>
                  <a:lnTo>
                    <a:pt x="1152" y="1920"/>
                  </a:lnTo>
                  <a:lnTo>
                    <a:pt x="1146" y="1914"/>
                  </a:lnTo>
                  <a:lnTo>
                    <a:pt x="1146" y="1908"/>
                  </a:lnTo>
                  <a:lnTo>
                    <a:pt x="1140" y="1908"/>
                  </a:lnTo>
                  <a:lnTo>
                    <a:pt x="1134" y="1902"/>
                  </a:lnTo>
                  <a:lnTo>
                    <a:pt x="1134" y="1896"/>
                  </a:lnTo>
                  <a:lnTo>
                    <a:pt x="1116" y="1896"/>
                  </a:lnTo>
                  <a:lnTo>
                    <a:pt x="1104" y="1884"/>
                  </a:lnTo>
                  <a:lnTo>
                    <a:pt x="1092" y="1860"/>
                  </a:lnTo>
                  <a:lnTo>
                    <a:pt x="1068" y="1854"/>
                  </a:lnTo>
                  <a:lnTo>
                    <a:pt x="1032" y="1842"/>
                  </a:lnTo>
                  <a:lnTo>
                    <a:pt x="1008" y="1836"/>
                  </a:lnTo>
                  <a:lnTo>
                    <a:pt x="978" y="1824"/>
                  </a:lnTo>
                  <a:lnTo>
                    <a:pt x="942" y="1818"/>
                  </a:lnTo>
                  <a:lnTo>
                    <a:pt x="924" y="1806"/>
                  </a:lnTo>
                  <a:lnTo>
                    <a:pt x="906" y="1788"/>
                  </a:lnTo>
                  <a:lnTo>
                    <a:pt x="894" y="1776"/>
                  </a:lnTo>
                  <a:lnTo>
                    <a:pt x="864" y="1758"/>
                  </a:lnTo>
                  <a:lnTo>
                    <a:pt x="834" y="1752"/>
                  </a:lnTo>
                  <a:lnTo>
                    <a:pt x="798" y="1746"/>
                  </a:lnTo>
                  <a:lnTo>
                    <a:pt x="792" y="1806"/>
                  </a:lnTo>
                  <a:lnTo>
                    <a:pt x="798" y="1812"/>
                  </a:lnTo>
                  <a:lnTo>
                    <a:pt x="810" y="1830"/>
                  </a:lnTo>
                  <a:lnTo>
                    <a:pt x="792" y="1842"/>
                  </a:lnTo>
                  <a:lnTo>
                    <a:pt x="768" y="1842"/>
                  </a:lnTo>
                  <a:lnTo>
                    <a:pt x="708" y="1848"/>
                  </a:lnTo>
                  <a:lnTo>
                    <a:pt x="690" y="1860"/>
                  </a:lnTo>
                  <a:lnTo>
                    <a:pt x="690" y="1866"/>
                  </a:lnTo>
                  <a:lnTo>
                    <a:pt x="678" y="1878"/>
                  </a:lnTo>
                  <a:lnTo>
                    <a:pt x="660" y="1884"/>
                  </a:lnTo>
                  <a:lnTo>
                    <a:pt x="660" y="1902"/>
                  </a:lnTo>
                  <a:lnTo>
                    <a:pt x="642" y="1902"/>
                  </a:lnTo>
                  <a:lnTo>
                    <a:pt x="582" y="1914"/>
                  </a:lnTo>
                  <a:lnTo>
                    <a:pt x="534" y="1908"/>
                  </a:lnTo>
                  <a:lnTo>
                    <a:pt x="510" y="1908"/>
                  </a:lnTo>
                  <a:lnTo>
                    <a:pt x="510" y="1896"/>
                  </a:lnTo>
                  <a:lnTo>
                    <a:pt x="492" y="1896"/>
                  </a:lnTo>
                  <a:lnTo>
                    <a:pt x="486" y="1902"/>
                  </a:lnTo>
                  <a:lnTo>
                    <a:pt x="474" y="1908"/>
                  </a:lnTo>
                  <a:lnTo>
                    <a:pt x="450" y="1908"/>
                  </a:lnTo>
                  <a:lnTo>
                    <a:pt x="432" y="1902"/>
                  </a:lnTo>
                  <a:lnTo>
                    <a:pt x="426" y="1896"/>
                  </a:lnTo>
                  <a:lnTo>
                    <a:pt x="402" y="1884"/>
                  </a:lnTo>
                  <a:lnTo>
                    <a:pt x="390" y="1872"/>
                  </a:lnTo>
                  <a:lnTo>
                    <a:pt x="384" y="1872"/>
                  </a:lnTo>
                  <a:lnTo>
                    <a:pt x="378" y="1872"/>
                  </a:lnTo>
                  <a:lnTo>
                    <a:pt x="378" y="1866"/>
                  </a:lnTo>
                  <a:lnTo>
                    <a:pt x="372" y="1860"/>
                  </a:lnTo>
                  <a:lnTo>
                    <a:pt x="372" y="1854"/>
                  </a:lnTo>
                  <a:lnTo>
                    <a:pt x="366" y="1842"/>
                  </a:lnTo>
                  <a:lnTo>
                    <a:pt x="366" y="1836"/>
                  </a:lnTo>
                  <a:lnTo>
                    <a:pt x="348" y="1830"/>
                  </a:lnTo>
                  <a:lnTo>
                    <a:pt x="348" y="1806"/>
                  </a:lnTo>
                  <a:lnTo>
                    <a:pt x="348" y="1800"/>
                  </a:lnTo>
                  <a:lnTo>
                    <a:pt x="348" y="1782"/>
                  </a:lnTo>
                  <a:lnTo>
                    <a:pt x="336" y="1788"/>
                  </a:lnTo>
                  <a:lnTo>
                    <a:pt x="312" y="1794"/>
                  </a:lnTo>
                  <a:lnTo>
                    <a:pt x="288" y="1788"/>
                  </a:lnTo>
                  <a:lnTo>
                    <a:pt x="264" y="1758"/>
                  </a:lnTo>
                  <a:lnTo>
                    <a:pt x="270" y="1758"/>
                  </a:lnTo>
                  <a:lnTo>
                    <a:pt x="270" y="1752"/>
                  </a:lnTo>
                  <a:lnTo>
                    <a:pt x="276" y="1752"/>
                  </a:lnTo>
                  <a:lnTo>
                    <a:pt x="282" y="1746"/>
                  </a:lnTo>
                  <a:lnTo>
                    <a:pt x="300" y="1746"/>
                  </a:lnTo>
                  <a:lnTo>
                    <a:pt x="312" y="1746"/>
                  </a:lnTo>
                  <a:lnTo>
                    <a:pt x="336" y="1710"/>
                  </a:lnTo>
                  <a:lnTo>
                    <a:pt x="342" y="1692"/>
                  </a:lnTo>
                  <a:lnTo>
                    <a:pt x="348" y="1680"/>
                  </a:lnTo>
                  <a:lnTo>
                    <a:pt x="342" y="1650"/>
                  </a:lnTo>
                  <a:lnTo>
                    <a:pt x="354" y="1644"/>
                  </a:lnTo>
                  <a:lnTo>
                    <a:pt x="354" y="1638"/>
                  </a:lnTo>
                  <a:lnTo>
                    <a:pt x="360" y="1632"/>
                  </a:lnTo>
                  <a:lnTo>
                    <a:pt x="354" y="1626"/>
                  </a:lnTo>
                  <a:lnTo>
                    <a:pt x="348" y="1626"/>
                  </a:lnTo>
                  <a:lnTo>
                    <a:pt x="348" y="1620"/>
                  </a:lnTo>
                  <a:lnTo>
                    <a:pt x="342" y="1620"/>
                  </a:lnTo>
                  <a:lnTo>
                    <a:pt x="348" y="1614"/>
                  </a:lnTo>
                  <a:lnTo>
                    <a:pt x="324" y="1566"/>
                  </a:lnTo>
                  <a:lnTo>
                    <a:pt x="318" y="1566"/>
                  </a:lnTo>
                  <a:lnTo>
                    <a:pt x="306" y="1572"/>
                  </a:lnTo>
                  <a:lnTo>
                    <a:pt x="300" y="1572"/>
                  </a:lnTo>
                  <a:lnTo>
                    <a:pt x="294" y="1578"/>
                  </a:lnTo>
                  <a:lnTo>
                    <a:pt x="288" y="1584"/>
                  </a:lnTo>
                  <a:lnTo>
                    <a:pt x="282" y="1584"/>
                  </a:lnTo>
                  <a:lnTo>
                    <a:pt x="282" y="1578"/>
                  </a:lnTo>
                  <a:lnTo>
                    <a:pt x="276" y="1578"/>
                  </a:lnTo>
                  <a:lnTo>
                    <a:pt x="270" y="1578"/>
                  </a:lnTo>
                  <a:lnTo>
                    <a:pt x="264" y="1578"/>
                  </a:lnTo>
                  <a:lnTo>
                    <a:pt x="258" y="1578"/>
                  </a:lnTo>
                  <a:lnTo>
                    <a:pt x="252" y="1578"/>
                  </a:lnTo>
                  <a:lnTo>
                    <a:pt x="252" y="1584"/>
                  </a:lnTo>
                  <a:lnTo>
                    <a:pt x="246" y="1584"/>
                  </a:lnTo>
                  <a:lnTo>
                    <a:pt x="210" y="1584"/>
                  </a:lnTo>
                  <a:lnTo>
                    <a:pt x="204" y="1584"/>
                  </a:lnTo>
                  <a:lnTo>
                    <a:pt x="192" y="1584"/>
                  </a:lnTo>
                  <a:lnTo>
                    <a:pt x="168" y="1596"/>
                  </a:lnTo>
                  <a:lnTo>
                    <a:pt x="156" y="1572"/>
                  </a:lnTo>
                  <a:lnTo>
                    <a:pt x="156" y="1566"/>
                  </a:lnTo>
                  <a:lnTo>
                    <a:pt x="156" y="1560"/>
                  </a:lnTo>
                  <a:lnTo>
                    <a:pt x="162" y="1548"/>
                  </a:lnTo>
                  <a:lnTo>
                    <a:pt x="162" y="1542"/>
                  </a:lnTo>
                  <a:lnTo>
                    <a:pt x="162" y="1536"/>
                  </a:lnTo>
                  <a:lnTo>
                    <a:pt x="168" y="1530"/>
                  </a:lnTo>
                  <a:lnTo>
                    <a:pt x="168" y="1524"/>
                  </a:lnTo>
                  <a:lnTo>
                    <a:pt x="168" y="1518"/>
                  </a:lnTo>
                  <a:lnTo>
                    <a:pt x="174" y="1518"/>
                  </a:lnTo>
                  <a:lnTo>
                    <a:pt x="174" y="1506"/>
                  </a:lnTo>
                  <a:lnTo>
                    <a:pt x="156" y="1470"/>
                  </a:lnTo>
                  <a:lnTo>
                    <a:pt x="138" y="1464"/>
                  </a:lnTo>
                  <a:lnTo>
                    <a:pt x="126" y="1446"/>
                  </a:lnTo>
                  <a:lnTo>
                    <a:pt x="126" y="1440"/>
                  </a:lnTo>
                  <a:lnTo>
                    <a:pt x="126" y="1434"/>
                  </a:lnTo>
                  <a:lnTo>
                    <a:pt x="120" y="1428"/>
                  </a:lnTo>
                  <a:lnTo>
                    <a:pt x="126" y="1398"/>
                  </a:lnTo>
                  <a:lnTo>
                    <a:pt x="120" y="1374"/>
                  </a:lnTo>
                  <a:lnTo>
                    <a:pt x="60" y="1374"/>
                  </a:lnTo>
                  <a:lnTo>
                    <a:pt x="60" y="1368"/>
                  </a:lnTo>
                  <a:lnTo>
                    <a:pt x="54" y="1362"/>
                  </a:lnTo>
                  <a:lnTo>
                    <a:pt x="48" y="1356"/>
                  </a:lnTo>
                  <a:lnTo>
                    <a:pt x="42" y="1356"/>
                  </a:lnTo>
                  <a:lnTo>
                    <a:pt x="42" y="1350"/>
                  </a:lnTo>
                  <a:lnTo>
                    <a:pt x="36" y="1344"/>
                  </a:lnTo>
                  <a:lnTo>
                    <a:pt x="36" y="1338"/>
                  </a:lnTo>
                  <a:lnTo>
                    <a:pt x="30" y="1332"/>
                  </a:lnTo>
                  <a:lnTo>
                    <a:pt x="30" y="1326"/>
                  </a:lnTo>
                  <a:lnTo>
                    <a:pt x="18" y="1326"/>
                  </a:lnTo>
                  <a:lnTo>
                    <a:pt x="18" y="1320"/>
                  </a:lnTo>
                  <a:lnTo>
                    <a:pt x="18" y="1326"/>
                  </a:lnTo>
                  <a:lnTo>
                    <a:pt x="6" y="1320"/>
                  </a:lnTo>
                  <a:lnTo>
                    <a:pt x="0" y="1314"/>
                  </a:lnTo>
                  <a:lnTo>
                    <a:pt x="12" y="1266"/>
                  </a:lnTo>
                  <a:lnTo>
                    <a:pt x="6" y="1242"/>
                  </a:lnTo>
                  <a:lnTo>
                    <a:pt x="12" y="1236"/>
                  </a:lnTo>
                  <a:lnTo>
                    <a:pt x="12" y="1230"/>
                  </a:lnTo>
                  <a:lnTo>
                    <a:pt x="18" y="1230"/>
                  </a:lnTo>
                  <a:lnTo>
                    <a:pt x="18" y="1224"/>
                  </a:lnTo>
                  <a:lnTo>
                    <a:pt x="24" y="1218"/>
                  </a:lnTo>
                  <a:lnTo>
                    <a:pt x="24" y="1212"/>
                  </a:lnTo>
                  <a:lnTo>
                    <a:pt x="30" y="1212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48" y="1188"/>
                  </a:lnTo>
                  <a:lnTo>
                    <a:pt x="48" y="1182"/>
                  </a:lnTo>
                  <a:lnTo>
                    <a:pt x="48" y="1176"/>
                  </a:lnTo>
                  <a:lnTo>
                    <a:pt x="48" y="1170"/>
                  </a:lnTo>
                  <a:lnTo>
                    <a:pt x="54" y="1170"/>
                  </a:lnTo>
                  <a:lnTo>
                    <a:pt x="60" y="1164"/>
                  </a:lnTo>
                  <a:lnTo>
                    <a:pt x="60" y="1158"/>
                  </a:lnTo>
                  <a:lnTo>
                    <a:pt x="66" y="1152"/>
                  </a:lnTo>
                  <a:lnTo>
                    <a:pt x="60" y="1140"/>
                  </a:lnTo>
                  <a:lnTo>
                    <a:pt x="60" y="1134"/>
                  </a:lnTo>
                  <a:lnTo>
                    <a:pt x="54" y="1134"/>
                  </a:lnTo>
                  <a:lnTo>
                    <a:pt x="54" y="1128"/>
                  </a:lnTo>
                  <a:lnTo>
                    <a:pt x="48" y="1122"/>
                  </a:lnTo>
                  <a:lnTo>
                    <a:pt x="48" y="1116"/>
                  </a:lnTo>
                  <a:lnTo>
                    <a:pt x="48" y="1110"/>
                  </a:lnTo>
                  <a:lnTo>
                    <a:pt x="42" y="1104"/>
                  </a:lnTo>
                  <a:lnTo>
                    <a:pt x="42" y="1098"/>
                  </a:lnTo>
                  <a:lnTo>
                    <a:pt x="36" y="1092"/>
                  </a:lnTo>
                  <a:lnTo>
                    <a:pt x="30" y="1092"/>
                  </a:lnTo>
                  <a:lnTo>
                    <a:pt x="24" y="1092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18" y="1080"/>
                  </a:lnTo>
                  <a:lnTo>
                    <a:pt x="18" y="1074"/>
                  </a:lnTo>
                  <a:lnTo>
                    <a:pt x="12" y="1068"/>
                  </a:lnTo>
                  <a:lnTo>
                    <a:pt x="6" y="1068"/>
                  </a:lnTo>
                  <a:lnTo>
                    <a:pt x="12" y="1056"/>
                  </a:lnTo>
                  <a:lnTo>
                    <a:pt x="6" y="1056"/>
                  </a:lnTo>
                  <a:lnTo>
                    <a:pt x="6" y="1050"/>
                  </a:lnTo>
                  <a:lnTo>
                    <a:pt x="6" y="1044"/>
                  </a:lnTo>
                  <a:lnTo>
                    <a:pt x="6" y="1026"/>
                  </a:lnTo>
                  <a:lnTo>
                    <a:pt x="12" y="1020"/>
                  </a:lnTo>
                  <a:lnTo>
                    <a:pt x="12" y="1014"/>
                  </a:lnTo>
                  <a:lnTo>
                    <a:pt x="18" y="1014"/>
                  </a:lnTo>
                  <a:lnTo>
                    <a:pt x="18" y="1008"/>
                  </a:lnTo>
                  <a:lnTo>
                    <a:pt x="18" y="1002"/>
                  </a:lnTo>
                  <a:lnTo>
                    <a:pt x="18" y="990"/>
                  </a:lnTo>
                  <a:lnTo>
                    <a:pt x="12" y="972"/>
                  </a:lnTo>
                  <a:lnTo>
                    <a:pt x="18" y="954"/>
                  </a:lnTo>
                  <a:lnTo>
                    <a:pt x="18" y="948"/>
                  </a:lnTo>
                  <a:lnTo>
                    <a:pt x="24" y="948"/>
                  </a:lnTo>
                  <a:lnTo>
                    <a:pt x="24" y="930"/>
                  </a:lnTo>
                  <a:lnTo>
                    <a:pt x="30" y="930"/>
                  </a:lnTo>
                  <a:lnTo>
                    <a:pt x="36" y="918"/>
                  </a:lnTo>
                  <a:lnTo>
                    <a:pt x="42" y="918"/>
                  </a:lnTo>
                  <a:lnTo>
                    <a:pt x="48" y="918"/>
                  </a:lnTo>
                  <a:lnTo>
                    <a:pt x="78" y="912"/>
                  </a:lnTo>
                  <a:lnTo>
                    <a:pt x="90" y="894"/>
                  </a:lnTo>
                  <a:lnTo>
                    <a:pt x="96" y="894"/>
                  </a:lnTo>
                  <a:lnTo>
                    <a:pt x="102" y="888"/>
                  </a:lnTo>
                  <a:lnTo>
                    <a:pt x="102" y="882"/>
                  </a:lnTo>
                  <a:lnTo>
                    <a:pt x="114" y="870"/>
                  </a:lnTo>
                  <a:lnTo>
                    <a:pt x="120" y="864"/>
                  </a:lnTo>
                  <a:lnTo>
                    <a:pt x="120" y="852"/>
                  </a:lnTo>
                  <a:lnTo>
                    <a:pt x="120" y="846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32" y="840"/>
                  </a:lnTo>
                  <a:lnTo>
                    <a:pt x="138" y="840"/>
                  </a:lnTo>
                  <a:lnTo>
                    <a:pt x="138" y="834"/>
                  </a:lnTo>
                  <a:lnTo>
                    <a:pt x="144" y="834"/>
                  </a:lnTo>
                  <a:lnTo>
                    <a:pt x="144" y="828"/>
                  </a:lnTo>
                  <a:lnTo>
                    <a:pt x="150" y="828"/>
                  </a:lnTo>
                  <a:lnTo>
                    <a:pt x="156" y="822"/>
                  </a:lnTo>
                  <a:lnTo>
                    <a:pt x="162" y="816"/>
                  </a:lnTo>
                  <a:lnTo>
                    <a:pt x="162" y="822"/>
                  </a:lnTo>
                  <a:lnTo>
                    <a:pt x="162" y="816"/>
                  </a:lnTo>
                  <a:lnTo>
                    <a:pt x="162" y="810"/>
                  </a:lnTo>
                  <a:lnTo>
                    <a:pt x="168" y="810"/>
                  </a:lnTo>
                  <a:lnTo>
                    <a:pt x="174" y="804"/>
                  </a:lnTo>
                  <a:lnTo>
                    <a:pt x="180" y="798"/>
                  </a:lnTo>
                  <a:lnTo>
                    <a:pt x="180" y="786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8" y="780"/>
                  </a:lnTo>
                  <a:lnTo>
                    <a:pt x="204" y="774"/>
                  </a:lnTo>
                  <a:lnTo>
                    <a:pt x="210" y="774"/>
                  </a:lnTo>
                  <a:lnTo>
                    <a:pt x="216" y="768"/>
                  </a:lnTo>
                  <a:lnTo>
                    <a:pt x="222" y="762"/>
                  </a:lnTo>
                  <a:lnTo>
                    <a:pt x="228" y="762"/>
                  </a:lnTo>
                  <a:lnTo>
                    <a:pt x="228" y="768"/>
                  </a:lnTo>
                  <a:lnTo>
                    <a:pt x="234" y="768"/>
                  </a:lnTo>
                  <a:lnTo>
                    <a:pt x="240" y="762"/>
                  </a:lnTo>
                  <a:lnTo>
                    <a:pt x="252" y="762"/>
                  </a:lnTo>
                  <a:lnTo>
                    <a:pt x="264" y="768"/>
                  </a:lnTo>
                  <a:lnTo>
                    <a:pt x="294" y="756"/>
                  </a:lnTo>
                  <a:lnTo>
                    <a:pt x="294" y="750"/>
                  </a:lnTo>
                  <a:lnTo>
                    <a:pt x="300" y="750"/>
                  </a:lnTo>
                  <a:lnTo>
                    <a:pt x="306" y="744"/>
                  </a:lnTo>
                  <a:lnTo>
                    <a:pt x="342" y="750"/>
                  </a:lnTo>
                  <a:lnTo>
                    <a:pt x="348" y="750"/>
                  </a:lnTo>
                  <a:lnTo>
                    <a:pt x="348" y="744"/>
                  </a:lnTo>
                  <a:lnTo>
                    <a:pt x="354" y="744"/>
                  </a:lnTo>
                  <a:lnTo>
                    <a:pt x="360" y="744"/>
                  </a:lnTo>
                  <a:lnTo>
                    <a:pt x="360" y="750"/>
                  </a:lnTo>
                  <a:lnTo>
                    <a:pt x="366" y="750"/>
                  </a:lnTo>
                  <a:lnTo>
                    <a:pt x="366" y="744"/>
                  </a:lnTo>
                  <a:lnTo>
                    <a:pt x="366" y="738"/>
                  </a:lnTo>
                  <a:lnTo>
                    <a:pt x="372" y="744"/>
                  </a:lnTo>
                  <a:lnTo>
                    <a:pt x="378" y="744"/>
                  </a:lnTo>
                  <a:lnTo>
                    <a:pt x="384" y="750"/>
                  </a:lnTo>
                  <a:lnTo>
                    <a:pt x="444" y="774"/>
                  </a:lnTo>
                  <a:lnTo>
                    <a:pt x="450" y="774"/>
                  </a:lnTo>
                  <a:lnTo>
                    <a:pt x="456" y="768"/>
                  </a:lnTo>
                  <a:lnTo>
                    <a:pt x="462" y="768"/>
                  </a:lnTo>
                  <a:lnTo>
                    <a:pt x="462" y="762"/>
                  </a:lnTo>
                  <a:lnTo>
                    <a:pt x="468" y="762"/>
                  </a:lnTo>
                  <a:lnTo>
                    <a:pt x="474" y="756"/>
                  </a:lnTo>
                  <a:lnTo>
                    <a:pt x="480" y="750"/>
                  </a:lnTo>
                  <a:lnTo>
                    <a:pt x="516" y="756"/>
                  </a:lnTo>
                  <a:lnTo>
                    <a:pt x="522" y="756"/>
                  </a:lnTo>
                  <a:lnTo>
                    <a:pt x="522" y="762"/>
                  </a:lnTo>
                  <a:lnTo>
                    <a:pt x="522" y="768"/>
                  </a:lnTo>
                  <a:lnTo>
                    <a:pt x="522" y="774"/>
                  </a:lnTo>
                  <a:lnTo>
                    <a:pt x="528" y="780"/>
                  </a:lnTo>
                  <a:lnTo>
                    <a:pt x="540" y="780"/>
                  </a:lnTo>
                  <a:lnTo>
                    <a:pt x="540" y="804"/>
                  </a:lnTo>
                  <a:lnTo>
                    <a:pt x="540" y="810"/>
                  </a:lnTo>
                  <a:lnTo>
                    <a:pt x="546" y="810"/>
                  </a:lnTo>
                  <a:lnTo>
                    <a:pt x="552" y="810"/>
                  </a:lnTo>
                  <a:lnTo>
                    <a:pt x="558" y="810"/>
                  </a:lnTo>
                  <a:lnTo>
                    <a:pt x="564" y="810"/>
                  </a:lnTo>
                  <a:lnTo>
                    <a:pt x="570" y="810"/>
                  </a:lnTo>
                  <a:lnTo>
                    <a:pt x="576" y="810"/>
                  </a:lnTo>
                  <a:lnTo>
                    <a:pt x="576" y="816"/>
                  </a:lnTo>
                  <a:lnTo>
                    <a:pt x="588" y="816"/>
                  </a:lnTo>
                  <a:lnTo>
                    <a:pt x="594" y="816"/>
                  </a:lnTo>
                  <a:lnTo>
                    <a:pt x="600" y="822"/>
                  </a:lnTo>
                  <a:lnTo>
                    <a:pt x="606" y="816"/>
                  </a:lnTo>
                  <a:lnTo>
                    <a:pt x="612" y="816"/>
                  </a:lnTo>
                  <a:lnTo>
                    <a:pt x="612" y="810"/>
                  </a:lnTo>
                  <a:lnTo>
                    <a:pt x="624" y="810"/>
                  </a:lnTo>
                  <a:lnTo>
                    <a:pt x="624" y="804"/>
                  </a:lnTo>
                  <a:lnTo>
                    <a:pt x="630" y="798"/>
                  </a:lnTo>
                  <a:lnTo>
                    <a:pt x="636" y="798"/>
                  </a:lnTo>
                  <a:lnTo>
                    <a:pt x="636" y="804"/>
                  </a:lnTo>
                  <a:lnTo>
                    <a:pt x="642" y="804"/>
                  </a:lnTo>
                  <a:lnTo>
                    <a:pt x="648" y="804"/>
                  </a:lnTo>
                  <a:lnTo>
                    <a:pt x="654" y="804"/>
                  </a:lnTo>
                  <a:lnTo>
                    <a:pt x="660" y="804"/>
                  </a:lnTo>
                  <a:lnTo>
                    <a:pt x="678" y="798"/>
                  </a:lnTo>
                  <a:lnTo>
                    <a:pt x="714" y="786"/>
                  </a:lnTo>
                  <a:lnTo>
                    <a:pt x="714" y="792"/>
                  </a:lnTo>
                  <a:lnTo>
                    <a:pt x="714" y="798"/>
                  </a:lnTo>
                  <a:lnTo>
                    <a:pt x="714" y="804"/>
                  </a:lnTo>
                  <a:lnTo>
                    <a:pt x="720" y="804"/>
                  </a:lnTo>
                  <a:lnTo>
                    <a:pt x="720" y="810"/>
                  </a:lnTo>
                  <a:lnTo>
                    <a:pt x="720" y="816"/>
                  </a:lnTo>
                  <a:lnTo>
                    <a:pt x="726" y="822"/>
                  </a:lnTo>
                  <a:lnTo>
                    <a:pt x="732" y="828"/>
                  </a:lnTo>
                  <a:lnTo>
                    <a:pt x="732" y="834"/>
                  </a:lnTo>
                  <a:lnTo>
                    <a:pt x="732" y="846"/>
                  </a:lnTo>
                  <a:lnTo>
                    <a:pt x="732" y="858"/>
                  </a:lnTo>
                  <a:lnTo>
                    <a:pt x="738" y="858"/>
                  </a:lnTo>
                  <a:lnTo>
                    <a:pt x="732" y="864"/>
                  </a:lnTo>
                  <a:lnTo>
                    <a:pt x="732" y="870"/>
                  </a:lnTo>
                  <a:lnTo>
                    <a:pt x="726" y="870"/>
                  </a:lnTo>
                  <a:lnTo>
                    <a:pt x="726" y="876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0" y="882"/>
                  </a:lnTo>
                  <a:lnTo>
                    <a:pt x="690" y="912"/>
                  </a:lnTo>
                  <a:lnTo>
                    <a:pt x="696" y="936"/>
                  </a:lnTo>
                  <a:lnTo>
                    <a:pt x="702" y="936"/>
                  </a:lnTo>
                  <a:lnTo>
                    <a:pt x="702" y="930"/>
                  </a:lnTo>
                  <a:lnTo>
                    <a:pt x="708" y="930"/>
                  </a:lnTo>
                  <a:lnTo>
                    <a:pt x="708" y="924"/>
                  </a:lnTo>
                  <a:lnTo>
                    <a:pt x="708" y="918"/>
                  </a:lnTo>
                  <a:lnTo>
                    <a:pt x="714" y="918"/>
                  </a:lnTo>
                  <a:lnTo>
                    <a:pt x="720" y="954"/>
                  </a:lnTo>
                  <a:lnTo>
                    <a:pt x="726" y="966"/>
                  </a:lnTo>
                  <a:lnTo>
                    <a:pt x="744" y="966"/>
                  </a:lnTo>
                  <a:lnTo>
                    <a:pt x="756" y="972"/>
                  </a:lnTo>
                  <a:lnTo>
                    <a:pt x="792" y="990"/>
                  </a:lnTo>
                  <a:lnTo>
                    <a:pt x="828" y="978"/>
                  </a:lnTo>
                  <a:lnTo>
                    <a:pt x="834" y="978"/>
                  </a:lnTo>
                  <a:lnTo>
                    <a:pt x="840" y="978"/>
                  </a:lnTo>
                  <a:lnTo>
                    <a:pt x="840" y="984"/>
                  </a:lnTo>
                  <a:lnTo>
                    <a:pt x="846" y="984"/>
                  </a:lnTo>
                  <a:lnTo>
                    <a:pt x="858" y="972"/>
                  </a:lnTo>
                  <a:lnTo>
                    <a:pt x="882" y="972"/>
                  </a:lnTo>
                  <a:lnTo>
                    <a:pt x="888" y="984"/>
                  </a:lnTo>
                  <a:lnTo>
                    <a:pt x="900" y="990"/>
                  </a:lnTo>
                  <a:lnTo>
                    <a:pt x="924" y="996"/>
                  </a:lnTo>
                  <a:lnTo>
                    <a:pt x="930" y="990"/>
                  </a:lnTo>
                  <a:lnTo>
                    <a:pt x="930" y="984"/>
                  </a:lnTo>
                  <a:lnTo>
                    <a:pt x="924" y="978"/>
                  </a:lnTo>
                  <a:lnTo>
                    <a:pt x="906" y="972"/>
                  </a:lnTo>
                  <a:lnTo>
                    <a:pt x="900" y="966"/>
                  </a:lnTo>
                  <a:lnTo>
                    <a:pt x="900" y="960"/>
                  </a:lnTo>
                  <a:lnTo>
                    <a:pt x="900" y="954"/>
                  </a:lnTo>
                  <a:lnTo>
                    <a:pt x="900" y="948"/>
                  </a:lnTo>
                  <a:lnTo>
                    <a:pt x="912" y="936"/>
                  </a:lnTo>
                  <a:lnTo>
                    <a:pt x="912" y="924"/>
                  </a:lnTo>
                  <a:lnTo>
                    <a:pt x="918" y="924"/>
                  </a:lnTo>
                  <a:lnTo>
                    <a:pt x="918" y="918"/>
                  </a:lnTo>
                  <a:lnTo>
                    <a:pt x="936" y="906"/>
                  </a:lnTo>
                  <a:lnTo>
                    <a:pt x="942" y="906"/>
                  </a:lnTo>
                  <a:lnTo>
                    <a:pt x="948" y="906"/>
                  </a:lnTo>
                  <a:lnTo>
                    <a:pt x="954" y="906"/>
                  </a:lnTo>
                  <a:lnTo>
                    <a:pt x="960" y="906"/>
                  </a:lnTo>
                  <a:lnTo>
                    <a:pt x="966" y="912"/>
                  </a:lnTo>
                  <a:lnTo>
                    <a:pt x="972" y="906"/>
                  </a:lnTo>
                  <a:lnTo>
                    <a:pt x="978" y="906"/>
                  </a:lnTo>
                  <a:lnTo>
                    <a:pt x="984" y="900"/>
                  </a:lnTo>
                  <a:lnTo>
                    <a:pt x="984" y="894"/>
                  </a:lnTo>
                  <a:lnTo>
                    <a:pt x="990" y="894"/>
                  </a:lnTo>
                  <a:lnTo>
                    <a:pt x="996" y="888"/>
                  </a:lnTo>
                  <a:lnTo>
                    <a:pt x="1002" y="888"/>
                  </a:lnTo>
                  <a:lnTo>
                    <a:pt x="1008" y="882"/>
                  </a:lnTo>
                  <a:lnTo>
                    <a:pt x="1014" y="882"/>
                  </a:lnTo>
                  <a:lnTo>
                    <a:pt x="1020" y="882"/>
                  </a:lnTo>
                  <a:lnTo>
                    <a:pt x="1020" y="888"/>
                  </a:lnTo>
                  <a:lnTo>
                    <a:pt x="1026" y="882"/>
                  </a:lnTo>
                  <a:lnTo>
                    <a:pt x="1026" y="876"/>
                  </a:lnTo>
                  <a:lnTo>
                    <a:pt x="1026" y="870"/>
                  </a:lnTo>
                  <a:lnTo>
                    <a:pt x="1032" y="864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44" y="852"/>
                  </a:lnTo>
                  <a:lnTo>
                    <a:pt x="1038" y="846"/>
                  </a:lnTo>
                  <a:lnTo>
                    <a:pt x="1038" y="840"/>
                  </a:lnTo>
                  <a:lnTo>
                    <a:pt x="1032" y="840"/>
                  </a:lnTo>
                  <a:lnTo>
                    <a:pt x="1026" y="840"/>
                  </a:lnTo>
                  <a:lnTo>
                    <a:pt x="1020" y="840"/>
                  </a:lnTo>
                  <a:lnTo>
                    <a:pt x="1014" y="846"/>
                  </a:lnTo>
                  <a:lnTo>
                    <a:pt x="1008" y="846"/>
                  </a:lnTo>
                  <a:lnTo>
                    <a:pt x="1002" y="840"/>
                  </a:lnTo>
                  <a:lnTo>
                    <a:pt x="996" y="840"/>
                  </a:lnTo>
                  <a:lnTo>
                    <a:pt x="990" y="834"/>
                  </a:lnTo>
                  <a:lnTo>
                    <a:pt x="984" y="834"/>
                  </a:lnTo>
                  <a:lnTo>
                    <a:pt x="978" y="834"/>
                  </a:lnTo>
                  <a:lnTo>
                    <a:pt x="972" y="834"/>
                  </a:lnTo>
                  <a:lnTo>
                    <a:pt x="966" y="834"/>
                  </a:lnTo>
                  <a:lnTo>
                    <a:pt x="966" y="828"/>
                  </a:lnTo>
                  <a:lnTo>
                    <a:pt x="960" y="828"/>
                  </a:lnTo>
                  <a:lnTo>
                    <a:pt x="954" y="828"/>
                  </a:lnTo>
                  <a:lnTo>
                    <a:pt x="942" y="828"/>
                  </a:lnTo>
                  <a:lnTo>
                    <a:pt x="936" y="828"/>
                  </a:lnTo>
                  <a:lnTo>
                    <a:pt x="930" y="828"/>
                  </a:lnTo>
                  <a:lnTo>
                    <a:pt x="918" y="828"/>
                  </a:lnTo>
                  <a:lnTo>
                    <a:pt x="918" y="822"/>
                  </a:lnTo>
                  <a:lnTo>
                    <a:pt x="912" y="828"/>
                  </a:lnTo>
                  <a:lnTo>
                    <a:pt x="912" y="822"/>
                  </a:lnTo>
                  <a:lnTo>
                    <a:pt x="906" y="816"/>
                  </a:lnTo>
                  <a:lnTo>
                    <a:pt x="900" y="816"/>
                  </a:lnTo>
                  <a:lnTo>
                    <a:pt x="894" y="816"/>
                  </a:lnTo>
                  <a:lnTo>
                    <a:pt x="888" y="816"/>
                  </a:lnTo>
                  <a:lnTo>
                    <a:pt x="882" y="816"/>
                  </a:lnTo>
                  <a:lnTo>
                    <a:pt x="882" y="810"/>
                  </a:lnTo>
                  <a:lnTo>
                    <a:pt x="876" y="804"/>
                  </a:lnTo>
                  <a:lnTo>
                    <a:pt x="870" y="804"/>
                  </a:lnTo>
                  <a:lnTo>
                    <a:pt x="864" y="798"/>
                  </a:lnTo>
                  <a:lnTo>
                    <a:pt x="858" y="798"/>
                  </a:lnTo>
                  <a:lnTo>
                    <a:pt x="858" y="804"/>
                  </a:lnTo>
                  <a:lnTo>
                    <a:pt x="852" y="804"/>
                  </a:lnTo>
                  <a:lnTo>
                    <a:pt x="846" y="804"/>
                  </a:lnTo>
                  <a:lnTo>
                    <a:pt x="846" y="798"/>
                  </a:lnTo>
                  <a:lnTo>
                    <a:pt x="840" y="804"/>
                  </a:lnTo>
                  <a:lnTo>
                    <a:pt x="834" y="804"/>
                  </a:lnTo>
                  <a:lnTo>
                    <a:pt x="828" y="804"/>
                  </a:lnTo>
                  <a:lnTo>
                    <a:pt x="828" y="810"/>
                  </a:lnTo>
                  <a:lnTo>
                    <a:pt x="822" y="810"/>
                  </a:lnTo>
                  <a:lnTo>
                    <a:pt x="810" y="804"/>
                  </a:lnTo>
                  <a:lnTo>
                    <a:pt x="810" y="798"/>
                  </a:lnTo>
                  <a:lnTo>
                    <a:pt x="780" y="798"/>
                  </a:lnTo>
                  <a:lnTo>
                    <a:pt x="756" y="774"/>
                  </a:lnTo>
                  <a:lnTo>
                    <a:pt x="750" y="768"/>
                  </a:lnTo>
                  <a:lnTo>
                    <a:pt x="750" y="744"/>
                  </a:lnTo>
                  <a:lnTo>
                    <a:pt x="732" y="738"/>
                  </a:lnTo>
                  <a:lnTo>
                    <a:pt x="732" y="720"/>
                  </a:lnTo>
                  <a:lnTo>
                    <a:pt x="714" y="690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6" y="666"/>
                  </a:lnTo>
                  <a:lnTo>
                    <a:pt x="690" y="666"/>
                  </a:lnTo>
                  <a:lnTo>
                    <a:pt x="678" y="672"/>
                  </a:lnTo>
                  <a:lnTo>
                    <a:pt x="678" y="654"/>
                  </a:lnTo>
                  <a:lnTo>
                    <a:pt x="684" y="630"/>
                  </a:lnTo>
                  <a:lnTo>
                    <a:pt x="690" y="618"/>
                  </a:lnTo>
                  <a:lnTo>
                    <a:pt x="696" y="612"/>
                  </a:lnTo>
                  <a:lnTo>
                    <a:pt x="696" y="588"/>
                  </a:lnTo>
                  <a:lnTo>
                    <a:pt x="690" y="576"/>
                  </a:lnTo>
                  <a:lnTo>
                    <a:pt x="696" y="552"/>
                  </a:lnTo>
                  <a:lnTo>
                    <a:pt x="684" y="522"/>
                  </a:lnTo>
                  <a:lnTo>
                    <a:pt x="672" y="504"/>
                  </a:lnTo>
                  <a:lnTo>
                    <a:pt x="654" y="504"/>
                  </a:lnTo>
                  <a:lnTo>
                    <a:pt x="642" y="504"/>
                  </a:lnTo>
                  <a:lnTo>
                    <a:pt x="624" y="510"/>
                  </a:lnTo>
                  <a:lnTo>
                    <a:pt x="612" y="516"/>
                  </a:lnTo>
                  <a:lnTo>
                    <a:pt x="594" y="516"/>
                  </a:lnTo>
                  <a:lnTo>
                    <a:pt x="588" y="516"/>
                  </a:lnTo>
                  <a:lnTo>
                    <a:pt x="588" y="522"/>
                  </a:lnTo>
                  <a:lnTo>
                    <a:pt x="582" y="516"/>
                  </a:lnTo>
                  <a:lnTo>
                    <a:pt x="588" y="510"/>
                  </a:lnTo>
                  <a:lnTo>
                    <a:pt x="582" y="510"/>
                  </a:lnTo>
                  <a:lnTo>
                    <a:pt x="582" y="504"/>
                  </a:lnTo>
                  <a:lnTo>
                    <a:pt x="576" y="498"/>
                  </a:lnTo>
                  <a:lnTo>
                    <a:pt x="570" y="498"/>
                  </a:lnTo>
                  <a:lnTo>
                    <a:pt x="570" y="492"/>
                  </a:lnTo>
                  <a:lnTo>
                    <a:pt x="564" y="492"/>
                  </a:lnTo>
                  <a:lnTo>
                    <a:pt x="570" y="486"/>
                  </a:lnTo>
                  <a:lnTo>
                    <a:pt x="564" y="486"/>
                  </a:lnTo>
                  <a:lnTo>
                    <a:pt x="564" y="480"/>
                  </a:lnTo>
                  <a:lnTo>
                    <a:pt x="564" y="474"/>
                  </a:lnTo>
                  <a:lnTo>
                    <a:pt x="558" y="468"/>
                  </a:lnTo>
                  <a:lnTo>
                    <a:pt x="564" y="468"/>
                  </a:lnTo>
                  <a:lnTo>
                    <a:pt x="564" y="462"/>
                  </a:lnTo>
                  <a:lnTo>
                    <a:pt x="570" y="462"/>
                  </a:lnTo>
                  <a:lnTo>
                    <a:pt x="570" y="456"/>
                  </a:lnTo>
                  <a:lnTo>
                    <a:pt x="570" y="450"/>
                  </a:lnTo>
                  <a:lnTo>
                    <a:pt x="576" y="450"/>
                  </a:lnTo>
                  <a:lnTo>
                    <a:pt x="576" y="444"/>
                  </a:lnTo>
                  <a:lnTo>
                    <a:pt x="582" y="438"/>
                  </a:lnTo>
                  <a:lnTo>
                    <a:pt x="588" y="438"/>
                  </a:lnTo>
                  <a:lnTo>
                    <a:pt x="588" y="444"/>
                  </a:lnTo>
                  <a:lnTo>
                    <a:pt x="594" y="438"/>
                  </a:lnTo>
                  <a:lnTo>
                    <a:pt x="594" y="432"/>
                  </a:lnTo>
                  <a:lnTo>
                    <a:pt x="600" y="432"/>
                  </a:lnTo>
                  <a:lnTo>
                    <a:pt x="600" y="426"/>
                  </a:lnTo>
                  <a:lnTo>
                    <a:pt x="600" y="420"/>
                  </a:lnTo>
                  <a:lnTo>
                    <a:pt x="606" y="420"/>
                  </a:lnTo>
                  <a:lnTo>
                    <a:pt x="600" y="420"/>
                  </a:lnTo>
                  <a:lnTo>
                    <a:pt x="600" y="414"/>
                  </a:lnTo>
                  <a:lnTo>
                    <a:pt x="606" y="408"/>
                  </a:lnTo>
                  <a:lnTo>
                    <a:pt x="612" y="408"/>
                  </a:lnTo>
                  <a:lnTo>
                    <a:pt x="612" y="414"/>
                  </a:lnTo>
                  <a:lnTo>
                    <a:pt x="618" y="414"/>
                  </a:lnTo>
                  <a:lnTo>
                    <a:pt x="624" y="414"/>
                  </a:lnTo>
                  <a:lnTo>
                    <a:pt x="630" y="414"/>
                  </a:lnTo>
                  <a:lnTo>
                    <a:pt x="636" y="414"/>
                  </a:lnTo>
                  <a:lnTo>
                    <a:pt x="642" y="408"/>
                  </a:lnTo>
                  <a:lnTo>
                    <a:pt x="648" y="408"/>
                  </a:lnTo>
                  <a:lnTo>
                    <a:pt x="660" y="408"/>
                  </a:lnTo>
                  <a:lnTo>
                    <a:pt x="666" y="402"/>
                  </a:lnTo>
                  <a:lnTo>
                    <a:pt x="672" y="402"/>
                  </a:lnTo>
                  <a:lnTo>
                    <a:pt x="684" y="396"/>
                  </a:lnTo>
                  <a:lnTo>
                    <a:pt x="690" y="396"/>
                  </a:lnTo>
                  <a:lnTo>
                    <a:pt x="696" y="396"/>
                  </a:lnTo>
                  <a:lnTo>
                    <a:pt x="702" y="396"/>
                  </a:lnTo>
                  <a:lnTo>
                    <a:pt x="708" y="396"/>
                  </a:lnTo>
                  <a:lnTo>
                    <a:pt x="714" y="390"/>
                  </a:lnTo>
                  <a:lnTo>
                    <a:pt x="714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32" y="384"/>
                  </a:lnTo>
                  <a:lnTo>
                    <a:pt x="738" y="378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56" y="372"/>
                  </a:lnTo>
                  <a:lnTo>
                    <a:pt x="762" y="366"/>
                  </a:lnTo>
                  <a:lnTo>
                    <a:pt x="768" y="366"/>
                  </a:lnTo>
                  <a:lnTo>
                    <a:pt x="774" y="366"/>
                  </a:lnTo>
                  <a:lnTo>
                    <a:pt x="774" y="360"/>
                  </a:lnTo>
                  <a:lnTo>
                    <a:pt x="780" y="366"/>
                  </a:lnTo>
                  <a:lnTo>
                    <a:pt x="786" y="366"/>
                  </a:lnTo>
                  <a:lnTo>
                    <a:pt x="786" y="360"/>
                  </a:lnTo>
                  <a:lnTo>
                    <a:pt x="792" y="354"/>
                  </a:lnTo>
                  <a:lnTo>
                    <a:pt x="786" y="354"/>
                  </a:lnTo>
                  <a:lnTo>
                    <a:pt x="792" y="348"/>
                  </a:lnTo>
                  <a:lnTo>
                    <a:pt x="798" y="348"/>
                  </a:lnTo>
                  <a:lnTo>
                    <a:pt x="804" y="348"/>
                  </a:lnTo>
                  <a:lnTo>
                    <a:pt x="810" y="342"/>
                  </a:lnTo>
                  <a:lnTo>
                    <a:pt x="816" y="342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28" y="336"/>
                  </a:lnTo>
                  <a:lnTo>
                    <a:pt x="834" y="336"/>
                  </a:lnTo>
                  <a:lnTo>
                    <a:pt x="840" y="336"/>
                  </a:lnTo>
                  <a:lnTo>
                    <a:pt x="846" y="330"/>
                  </a:lnTo>
                  <a:lnTo>
                    <a:pt x="852" y="330"/>
                  </a:lnTo>
                  <a:lnTo>
                    <a:pt x="858" y="330"/>
                  </a:lnTo>
                  <a:lnTo>
                    <a:pt x="864" y="324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0" y="312"/>
                  </a:lnTo>
                  <a:lnTo>
                    <a:pt x="876" y="312"/>
                  </a:lnTo>
                  <a:lnTo>
                    <a:pt x="882" y="312"/>
                  </a:lnTo>
                  <a:lnTo>
                    <a:pt x="882" y="318"/>
                  </a:lnTo>
                  <a:lnTo>
                    <a:pt x="888" y="312"/>
                  </a:lnTo>
                  <a:lnTo>
                    <a:pt x="894" y="306"/>
                  </a:lnTo>
                  <a:lnTo>
                    <a:pt x="900" y="306"/>
                  </a:lnTo>
                  <a:lnTo>
                    <a:pt x="906" y="306"/>
                  </a:lnTo>
                  <a:lnTo>
                    <a:pt x="912" y="300"/>
                  </a:lnTo>
                  <a:lnTo>
                    <a:pt x="906" y="294"/>
                  </a:lnTo>
                  <a:lnTo>
                    <a:pt x="912" y="276"/>
                  </a:lnTo>
                  <a:lnTo>
                    <a:pt x="912" y="252"/>
                  </a:lnTo>
                  <a:lnTo>
                    <a:pt x="906" y="234"/>
                  </a:lnTo>
                  <a:lnTo>
                    <a:pt x="912" y="228"/>
                  </a:lnTo>
                  <a:lnTo>
                    <a:pt x="912" y="216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24" y="192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36" y="186"/>
                  </a:lnTo>
                  <a:lnTo>
                    <a:pt x="930" y="180"/>
                  </a:lnTo>
                  <a:lnTo>
                    <a:pt x="930" y="174"/>
                  </a:lnTo>
                  <a:lnTo>
                    <a:pt x="936" y="156"/>
                  </a:lnTo>
                  <a:lnTo>
                    <a:pt x="930" y="156"/>
                  </a:lnTo>
                  <a:lnTo>
                    <a:pt x="924" y="150"/>
                  </a:lnTo>
                  <a:lnTo>
                    <a:pt x="942" y="78"/>
                  </a:lnTo>
                  <a:lnTo>
                    <a:pt x="948" y="78"/>
                  </a:lnTo>
                  <a:lnTo>
                    <a:pt x="954" y="66"/>
                  </a:lnTo>
                  <a:lnTo>
                    <a:pt x="954" y="72"/>
                  </a:lnTo>
                  <a:lnTo>
                    <a:pt x="954" y="66"/>
                  </a:lnTo>
                  <a:lnTo>
                    <a:pt x="960" y="66"/>
                  </a:lnTo>
                  <a:lnTo>
                    <a:pt x="966" y="66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54"/>
                  </a:lnTo>
                  <a:lnTo>
                    <a:pt x="990" y="54"/>
                  </a:lnTo>
                  <a:lnTo>
                    <a:pt x="996" y="48"/>
                  </a:lnTo>
                  <a:lnTo>
                    <a:pt x="1002" y="48"/>
                  </a:lnTo>
                  <a:lnTo>
                    <a:pt x="1032" y="48"/>
                  </a:lnTo>
                  <a:lnTo>
                    <a:pt x="1062" y="48"/>
                  </a:lnTo>
                  <a:lnTo>
                    <a:pt x="1068" y="78"/>
                  </a:lnTo>
                  <a:lnTo>
                    <a:pt x="1086" y="78"/>
                  </a:lnTo>
                  <a:lnTo>
                    <a:pt x="1092" y="66"/>
                  </a:lnTo>
                  <a:lnTo>
                    <a:pt x="1092" y="60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8" y="48"/>
                  </a:lnTo>
                  <a:lnTo>
                    <a:pt x="1104" y="48"/>
                  </a:lnTo>
                  <a:lnTo>
                    <a:pt x="1110" y="48"/>
                  </a:lnTo>
                  <a:lnTo>
                    <a:pt x="1110" y="42"/>
                  </a:lnTo>
                  <a:lnTo>
                    <a:pt x="1110" y="36"/>
                  </a:lnTo>
                  <a:lnTo>
                    <a:pt x="1116" y="36"/>
                  </a:lnTo>
                  <a:lnTo>
                    <a:pt x="1116" y="30"/>
                  </a:lnTo>
                  <a:lnTo>
                    <a:pt x="1122" y="30"/>
                  </a:lnTo>
                  <a:lnTo>
                    <a:pt x="1128" y="30"/>
                  </a:lnTo>
                  <a:lnTo>
                    <a:pt x="1134" y="30"/>
                  </a:lnTo>
                  <a:lnTo>
                    <a:pt x="1140" y="24"/>
                  </a:lnTo>
                  <a:lnTo>
                    <a:pt x="1152" y="18"/>
                  </a:lnTo>
                  <a:lnTo>
                    <a:pt x="1158" y="18"/>
                  </a:lnTo>
                  <a:lnTo>
                    <a:pt x="1152" y="12"/>
                  </a:lnTo>
                  <a:lnTo>
                    <a:pt x="1152" y="6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8"/>
                  </a:lnTo>
                  <a:lnTo>
                    <a:pt x="1170" y="12"/>
                  </a:lnTo>
                  <a:lnTo>
                    <a:pt x="1170" y="6"/>
                  </a:lnTo>
                  <a:lnTo>
                    <a:pt x="1176" y="6"/>
                  </a:lnTo>
                  <a:lnTo>
                    <a:pt x="1176" y="0"/>
                  </a:lnTo>
                  <a:lnTo>
                    <a:pt x="1182" y="6"/>
                  </a:lnTo>
                  <a:lnTo>
                    <a:pt x="1188" y="6"/>
                  </a:lnTo>
                  <a:lnTo>
                    <a:pt x="1188" y="0"/>
                  </a:lnTo>
                  <a:lnTo>
                    <a:pt x="1194" y="6"/>
                  </a:lnTo>
                  <a:lnTo>
                    <a:pt x="1200" y="12"/>
                  </a:lnTo>
                  <a:lnTo>
                    <a:pt x="1206" y="18"/>
                  </a:lnTo>
                  <a:lnTo>
                    <a:pt x="1212" y="18"/>
                  </a:lnTo>
                  <a:lnTo>
                    <a:pt x="1218" y="24"/>
                  </a:lnTo>
                  <a:lnTo>
                    <a:pt x="1236" y="36"/>
                  </a:lnTo>
                  <a:lnTo>
                    <a:pt x="1242" y="36"/>
                  </a:lnTo>
                  <a:lnTo>
                    <a:pt x="1248" y="42"/>
                  </a:lnTo>
                  <a:lnTo>
                    <a:pt x="1248" y="48"/>
                  </a:lnTo>
                  <a:lnTo>
                    <a:pt x="1260" y="48"/>
                  </a:lnTo>
                  <a:lnTo>
                    <a:pt x="1260" y="108"/>
                  </a:lnTo>
                  <a:lnTo>
                    <a:pt x="1266" y="168"/>
                  </a:lnTo>
                  <a:lnTo>
                    <a:pt x="1278" y="234"/>
                  </a:lnTo>
                  <a:lnTo>
                    <a:pt x="1284" y="240"/>
                  </a:lnTo>
                  <a:lnTo>
                    <a:pt x="1290" y="264"/>
                  </a:lnTo>
                  <a:lnTo>
                    <a:pt x="1296" y="288"/>
                  </a:lnTo>
                  <a:lnTo>
                    <a:pt x="1296" y="300"/>
                  </a:lnTo>
                  <a:lnTo>
                    <a:pt x="1296" y="312"/>
                  </a:lnTo>
                  <a:lnTo>
                    <a:pt x="1296" y="324"/>
                  </a:lnTo>
                  <a:lnTo>
                    <a:pt x="1296" y="354"/>
                  </a:lnTo>
                  <a:lnTo>
                    <a:pt x="1302" y="366"/>
                  </a:lnTo>
                  <a:lnTo>
                    <a:pt x="1308" y="372"/>
                  </a:lnTo>
                  <a:lnTo>
                    <a:pt x="1308" y="384"/>
                  </a:lnTo>
                  <a:lnTo>
                    <a:pt x="1314" y="390"/>
                  </a:lnTo>
                  <a:lnTo>
                    <a:pt x="1308" y="408"/>
                  </a:lnTo>
                  <a:lnTo>
                    <a:pt x="1314" y="408"/>
                  </a:lnTo>
                  <a:lnTo>
                    <a:pt x="1314" y="414"/>
                  </a:lnTo>
                  <a:lnTo>
                    <a:pt x="1308" y="420"/>
                  </a:lnTo>
                  <a:lnTo>
                    <a:pt x="1308" y="432"/>
                  </a:lnTo>
                  <a:lnTo>
                    <a:pt x="1320" y="432"/>
                  </a:lnTo>
                  <a:lnTo>
                    <a:pt x="1320" y="444"/>
                  </a:lnTo>
                  <a:lnTo>
                    <a:pt x="1332" y="444"/>
                  </a:lnTo>
                  <a:lnTo>
                    <a:pt x="1338" y="450"/>
                  </a:lnTo>
                  <a:lnTo>
                    <a:pt x="1344" y="456"/>
                  </a:lnTo>
                  <a:lnTo>
                    <a:pt x="1344" y="462"/>
                  </a:lnTo>
                  <a:lnTo>
                    <a:pt x="1344" y="474"/>
                  </a:lnTo>
                  <a:lnTo>
                    <a:pt x="1350" y="474"/>
                  </a:lnTo>
                  <a:lnTo>
                    <a:pt x="1368" y="504"/>
                  </a:lnTo>
                  <a:lnTo>
                    <a:pt x="1374" y="534"/>
                  </a:lnTo>
                  <a:lnTo>
                    <a:pt x="1380" y="558"/>
                  </a:lnTo>
                  <a:lnTo>
                    <a:pt x="1386" y="576"/>
                  </a:lnTo>
                  <a:lnTo>
                    <a:pt x="1386" y="600"/>
                  </a:lnTo>
                  <a:lnTo>
                    <a:pt x="1386" y="624"/>
                  </a:lnTo>
                  <a:lnTo>
                    <a:pt x="1386" y="648"/>
                  </a:lnTo>
                  <a:lnTo>
                    <a:pt x="1386" y="684"/>
                  </a:lnTo>
                  <a:lnTo>
                    <a:pt x="1380" y="684"/>
                  </a:lnTo>
                  <a:lnTo>
                    <a:pt x="1374" y="696"/>
                  </a:lnTo>
                  <a:lnTo>
                    <a:pt x="1368" y="702"/>
                  </a:lnTo>
                  <a:lnTo>
                    <a:pt x="1362" y="708"/>
                  </a:lnTo>
                  <a:lnTo>
                    <a:pt x="1356" y="714"/>
                  </a:lnTo>
                  <a:lnTo>
                    <a:pt x="1350" y="720"/>
                  </a:lnTo>
                  <a:lnTo>
                    <a:pt x="1338" y="720"/>
                  </a:lnTo>
                  <a:lnTo>
                    <a:pt x="1338" y="738"/>
                  </a:lnTo>
                  <a:lnTo>
                    <a:pt x="1362" y="750"/>
                  </a:lnTo>
                  <a:lnTo>
                    <a:pt x="1362" y="756"/>
                  </a:lnTo>
                  <a:lnTo>
                    <a:pt x="1374" y="756"/>
                  </a:lnTo>
                  <a:lnTo>
                    <a:pt x="1410" y="774"/>
                  </a:lnTo>
                  <a:lnTo>
                    <a:pt x="1446" y="774"/>
                  </a:lnTo>
                  <a:lnTo>
                    <a:pt x="1482" y="768"/>
                  </a:lnTo>
                  <a:lnTo>
                    <a:pt x="1500" y="774"/>
                  </a:lnTo>
                  <a:lnTo>
                    <a:pt x="1512" y="78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6" name="Freeform 11">
              <a:extLst>
                <a:ext uri="{FF2B5EF4-FFF2-40B4-BE49-F238E27FC236}">
                  <a16:creationId xmlns:a16="http://schemas.microsoft.com/office/drawing/2014/main" id="{1FF8E66F-B850-456A-B132-C45FEEDE95C6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2475" y="2345643"/>
              <a:ext cx="445003" cy="603855"/>
            </a:xfrm>
            <a:custGeom>
              <a:avLst/>
              <a:gdLst>
                <a:gd name="T0" fmla="*/ 47 w 840"/>
                <a:gd name="T1" fmla="*/ 98 h 1134"/>
                <a:gd name="T2" fmla="*/ 41 w 840"/>
                <a:gd name="T3" fmla="*/ 98 h 1134"/>
                <a:gd name="T4" fmla="*/ 37 w 840"/>
                <a:gd name="T5" fmla="*/ 98 h 1134"/>
                <a:gd name="T6" fmla="*/ 29 w 840"/>
                <a:gd name="T7" fmla="*/ 97 h 1134"/>
                <a:gd name="T8" fmla="*/ 27 w 840"/>
                <a:gd name="T9" fmla="*/ 94 h 1134"/>
                <a:gd name="T10" fmla="*/ 26 w 840"/>
                <a:gd name="T11" fmla="*/ 93 h 1134"/>
                <a:gd name="T12" fmla="*/ 26 w 840"/>
                <a:gd name="T13" fmla="*/ 83 h 1134"/>
                <a:gd name="T14" fmla="*/ 26 w 840"/>
                <a:gd name="T15" fmla="*/ 81 h 1134"/>
                <a:gd name="T16" fmla="*/ 23 w 840"/>
                <a:gd name="T17" fmla="*/ 77 h 1134"/>
                <a:gd name="T18" fmla="*/ 19 w 840"/>
                <a:gd name="T19" fmla="*/ 75 h 1134"/>
                <a:gd name="T20" fmla="*/ 16 w 840"/>
                <a:gd name="T21" fmla="*/ 72 h 1134"/>
                <a:gd name="T22" fmla="*/ 13 w 840"/>
                <a:gd name="T23" fmla="*/ 70 h 1134"/>
                <a:gd name="T24" fmla="*/ 17 w 840"/>
                <a:gd name="T25" fmla="*/ 67 h 1134"/>
                <a:gd name="T26" fmla="*/ 19 w 840"/>
                <a:gd name="T27" fmla="*/ 63 h 1134"/>
                <a:gd name="T28" fmla="*/ 20 w 840"/>
                <a:gd name="T29" fmla="*/ 59 h 1134"/>
                <a:gd name="T30" fmla="*/ 19 w 840"/>
                <a:gd name="T31" fmla="*/ 55 h 1134"/>
                <a:gd name="T32" fmla="*/ 17 w 840"/>
                <a:gd name="T33" fmla="*/ 47 h 1134"/>
                <a:gd name="T34" fmla="*/ 8 w 840"/>
                <a:gd name="T35" fmla="*/ 45 h 1134"/>
                <a:gd name="T36" fmla="*/ 4 w 840"/>
                <a:gd name="T37" fmla="*/ 39 h 1134"/>
                <a:gd name="T38" fmla="*/ 2 w 840"/>
                <a:gd name="T39" fmla="*/ 35 h 1134"/>
                <a:gd name="T40" fmla="*/ 0 w 840"/>
                <a:gd name="T41" fmla="*/ 31 h 1134"/>
                <a:gd name="T42" fmla="*/ 2 w 840"/>
                <a:gd name="T43" fmla="*/ 27 h 1134"/>
                <a:gd name="T44" fmla="*/ 5 w 840"/>
                <a:gd name="T45" fmla="*/ 24 h 1134"/>
                <a:gd name="T46" fmla="*/ 10 w 840"/>
                <a:gd name="T47" fmla="*/ 26 h 1134"/>
                <a:gd name="T48" fmla="*/ 7 w 840"/>
                <a:gd name="T49" fmla="*/ 20 h 1134"/>
                <a:gd name="T50" fmla="*/ 12 w 840"/>
                <a:gd name="T51" fmla="*/ 12 h 1134"/>
                <a:gd name="T52" fmla="*/ 19 w 840"/>
                <a:gd name="T53" fmla="*/ 10 h 1134"/>
                <a:gd name="T54" fmla="*/ 20 w 840"/>
                <a:gd name="T55" fmla="*/ 13 h 1134"/>
                <a:gd name="T56" fmla="*/ 22 w 840"/>
                <a:gd name="T57" fmla="*/ 11 h 1134"/>
                <a:gd name="T58" fmla="*/ 25 w 840"/>
                <a:gd name="T59" fmla="*/ 7 h 1134"/>
                <a:gd name="T60" fmla="*/ 29 w 840"/>
                <a:gd name="T61" fmla="*/ 2 h 1134"/>
                <a:gd name="T62" fmla="*/ 33 w 840"/>
                <a:gd name="T63" fmla="*/ 1 h 1134"/>
                <a:gd name="T64" fmla="*/ 37 w 840"/>
                <a:gd name="T65" fmla="*/ 2 h 1134"/>
                <a:gd name="T66" fmla="*/ 39 w 840"/>
                <a:gd name="T67" fmla="*/ 4 h 1134"/>
                <a:gd name="T68" fmla="*/ 43 w 840"/>
                <a:gd name="T69" fmla="*/ 5 h 1134"/>
                <a:gd name="T70" fmla="*/ 46 w 840"/>
                <a:gd name="T71" fmla="*/ 11 h 1134"/>
                <a:gd name="T72" fmla="*/ 49 w 840"/>
                <a:gd name="T73" fmla="*/ 12 h 1134"/>
                <a:gd name="T74" fmla="*/ 52 w 840"/>
                <a:gd name="T75" fmla="*/ 15 h 1134"/>
                <a:gd name="T76" fmla="*/ 54 w 840"/>
                <a:gd name="T77" fmla="*/ 18 h 1134"/>
                <a:gd name="T78" fmla="*/ 55 w 840"/>
                <a:gd name="T79" fmla="*/ 22 h 1134"/>
                <a:gd name="T80" fmla="*/ 56 w 840"/>
                <a:gd name="T81" fmla="*/ 26 h 1134"/>
                <a:gd name="T82" fmla="*/ 55 w 840"/>
                <a:gd name="T83" fmla="*/ 32 h 1134"/>
                <a:gd name="T84" fmla="*/ 55 w 840"/>
                <a:gd name="T85" fmla="*/ 36 h 1134"/>
                <a:gd name="T86" fmla="*/ 54 w 840"/>
                <a:gd name="T87" fmla="*/ 39 h 1134"/>
                <a:gd name="T88" fmla="*/ 56 w 840"/>
                <a:gd name="T89" fmla="*/ 39 h 1134"/>
                <a:gd name="T90" fmla="*/ 58 w 840"/>
                <a:gd name="T91" fmla="*/ 39 h 1134"/>
                <a:gd name="T92" fmla="*/ 61 w 840"/>
                <a:gd name="T93" fmla="*/ 39 h 1134"/>
                <a:gd name="T94" fmla="*/ 60 w 840"/>
                <a:gd name="T95" fmla="*/ 49 h 1134"/>
                <a:gd name="T96" fmla="*/ 59 w 840"/>
                <a:gd name="T97" fmla="*/ 53 h 1134"/>
                <a:gd name="T98" fmla="*/ 59 w 840"/>
                <a:gd name="T99" fmla="*/ 56 h 1134"/>
                <a:gd name="T100" fmla="*/ 60 w 840"/>
                <a:gd name="T101" fmla="*/ 59 h 1134"/>
                <a:gd name="T102" fmla="*/ 64 w 840"/>
                <a:gd name="T103" fmla="*/ 61 h 1134"/>
                <a:gd name="T104" fmla="*/ 69 w 840"/>
                <a:gd name="T105" fmla="*/ 63 h 1134"/>
                <a:gd name="T106" fmla="*/ 72 w 840"/>
                <a:gd name="T107" fmla="*/ 69 h 1134"/>
                <a:gd name="T108" fmla="*/ 72 w 840"/>
                <a:gd name="T109" fmla="*/ 73 h 1134"/>
                <a:gd name="T110" fmla="*/ 72 w 840"/>
                <a:gd name="T111" fmla="*/ 83 h 1134"/>
                <a:gd name="T112" fmla="*/ 63 w 840"/>
                <a:gd name="T113" fmla="*/ 88 h 1134"/>
                <a:gd name="T114" fmla="*/ 52 w 840"/>
                <a:gd name="T115" fmla="*/ 95 h 11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40"/>
                <a:gd name="T175" fmla="*/ 0 h 1134"/>
                <a:gd name="T176" fmla="*/ 840 w 840"/>
                <a:gd name="T177" fmla="*/ 1134 h 11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40" h="1134">
                  <a:moveTo>
                    <a:pt x="564" y="1110"/>
                  </a:moveTo>
                  <a:lnTo>
                    <a:pt x="564" y="1104"/>
                  </a:lnTo>
                  <a:lnTo>
                    <a:pt x="558" y="1104"/>
                  </a:lnTo>
                  <a:lnTo>
                    <a:pt x="552" y="1110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28" y="1128"/>
                  </a:lnTo>
                  <a:lnTo>
                    <a:pt x="498" y="1128"/>
                  </a:lnTo>
                  <a:lnTo>
                    <a:pt x="492" y="1128"/>
                  </a:lnTo>
                  <a:lnTo>
                    <a:pt x="486" y="1128"/>
                  </a:lnTo>
                  <a:lnTo>
                    <a:pt x="480" y="1128"/>
                  </a:lnTo>
                  <a:lnTo>
                    <a:pt x="474" y="1134"/>
                  </a:lnTo>
                  <a:lnTo>
                    <a:pt x="468" y="1134"/>
                  </a:lnTo>
                  <a:lnTo>
                    <a:pt x="462" y="1134"/>
                  </a:lnTo>
                  <a:lnTo>
                    <a:pt x="456" y="1134"/>
                  </a:lnTo>
                  <a:lnTo>
                    <a:pt x="456" y="1128"/>
                  </a:lnTo>
                  <a:lnTo>
                    <a:pt x="450" y="1122"/>
                  </a:lnTo>
                  <a:lnTo>
                    <a:pt x="426" y="1128"/>
                  </a:lnTo>
                  <a:lnTo>
                    <a:pt x="414" y="1128"/>
                  </a:lnTo>
                  <a:lnTo>
                    <a:pt x="348" y="1134"/>
                  </a:lnTo>
                  <a:lnTo>
                    <a:pt x="348" y="1128"/>
                  </a:lnTo>
                  <a:lnTo>
                    <a:pt x="342" y="1128"/>
                  </a:lnTo>
                  <a:lnTo>
                    <a:pt x="336" y="1122"/>
                  </a:lnTo>
                  <a:lnTo>
                    <a:pt x="330" y="1122"/>
                  </a:lnTo>
                  <a:lnTo>
                    <a:pt x="324" y="1116"/>
                  </a:lnTo>
                  <a:lnTo>
                    <a:pt x="324" y="1110"/>
                  </a:lnTo>
                  <a:lnTo>
                    <a:pt x="318" y="1110"/>
                  </a:lnTo>
                  <a:lnTo>
                    <a:pt x="318" y="1104"/>
                  </a:lnTo>
                  <a:lnTo>
                    <a:pt x="312" y="1092"/>
                  </a:lnTo>
                  <a:lnTo>
                    <a:pt x="306" y="1086"/>
                  </a:lnTo>
                  <a:lnTo>
                    <a:pt x="306" y="1080"/>
                  </a:lnTo>
                  <a:lnTo>
                    <a:pt x="312" y="1074"/>
                  </a:lnTo>
                  <a:lnTo>
                    <a:pt x="306" y="1068"/>
                  </a:lnTo>
                  <a:lnTo>
                    <a:pt x="300" y="1074"/>
                  </a:lnTo>
                  <a:lnTo>
                    <a:pt x="300" y="1068"/>
                  </a:lnTo>
                  <a:lnTo>
                    <a:pt x="294" y="1068"/>
                  </a:lnTo>
                  <a:lnTo>
                    <a:pt x="294" y="1056"/>
                  </a:lnTo>
                  <a:lnTo>
                    <a:pt x="294" y="1026"/>
                  </a:lnTo>
                  <a:lnTo>
                    <a:pt x="294" y="1020"/>
                  </a:lnTo>
                  <a:lnTo>
                    <a:pt x="294" y="1008"/>
                  </a:lnTo>
                  <a:lnTo>
                    <a:pt x="294" y="966"/>
                  </a:lnTo>
                  <a:lnTo>
                    <a:pt x="294" y="960"/>
                  </a:lnTo>
                  <a:lnTo>
                    <a:pt x="294" y="954"/>
                  </a:lnTo>
                  <a:lnTo>
                    <a:pt x="294" y="948"/>
                  </a:lnTo>
                  <a:lnTo>
                    <a:pt x="294" y="942"/>
                  </a:lnTo>
                  <a:lnTo>
                    <a:pt x="300" y="936"/>
                  </a:lnTo>
                  <a:lnTo>
                    <a:pt x="300" y="930"/>
                  </a:lnTo>
                  <a:lnTo>
                    <a:pt x="294" y="930"/>
                  </a:lnTo>
                  <a:lnTo>
                    <a:pt x="288" y="930"/>
                  </a:lnTo>
                  <a:lnTo>
                    <a:pt x="288" y="924"/>
                  </a:lnTo>
                  <a:lnTo>
                    <a:pt x="282" y="918"/>
                  </a:lnTo>
                  <a:lnTo>
                    <a:pt x="282" y="906"/>
                  </a:lnTo>
                  <a:lnTo>
                    <a:pt x="282" y="900"/>
                  </a:lnTo>
                  <a:lnTo>
                    <a:pt x="264" y="894"/>
                  </a:lnTo>
                  <a:lnTo>
                    <a:pt x="252" y="882"/>
                  </a:lnTo>
                  <a:lnTo>
                    <a:pt x="246" y="876"/>
                  </a:lnTo>
                  <a:lnTo>
                    <a:pt x="240" y="876"/>
                  </a:lnTo>
                  <a:lnTo>
                    <a:pt x="240" y="870"/>
                  </a:lnTo>
                  <a:lnTo>
                    <a:pt x="234" y="870"/>
                  </a:lnTo>
                  <a:lnTo>
                    <a:pt x="222" y="864"/>
                  </a:lnTo>
                  <a:lnTo>
                    <a:pt x="216" y="864"/>
                  </a:lnTo>
                  <a:lnTo>
                    <a:pt x="210" y="858"/>
                  </a:lnTo>
                  <a:lnTo>
                    <a:pt x="210" y="852"/>
                  </a:lnTo>
                  <a:lnTo>
                    <a:pt x="210" y="846"/>
                  </a:lnTo>
                  <a:lnTo>
                    <a:pt x="198" y="840"/>
                  </a:lnTo>
                  <a:lnTo>
                    <a:pt x="186" y="834"/>
                  </a:lnTo>
                  <a:lnTo>
                    <a:pt x="180" y="828"/>
                  </a:lnTo>
                  <a:lnTo>
                    <a:pt x="180" y="822"/>
                  </a:lnTo>
                  <a:lnTo>
                    <a:pt x="174" y="822"/>
                  </a:lnTo>
                  <a:lnTo>
                    <a:pt x="162" y="816"/>
                  </a:lnTo>
                  <a:lnTo>
                    <a:pt x="156" y="810"/>
                  </a:lnTo>
                  <a:lnTo>
                    <a:pt x="150" y="810"/>
                  </a:lnTo>
                  <a:lnTo>
                    <a:pt x="144" y="798"/>
                  </a:lnTo>
                  <a:lnTo>
                    <a:pt x="138" y="786"/>
                  </a:lnTo>
                  <a:lnTo>
                    <a:pt x="138" y="780"/>
                  </a:lnTo>
                  <a:lnTo>
                    <a:pt x="144" y="774"/>
                  </a:lnTo>
                  <a:lnTo>
                    <a:pt x="150" y="768"/>
                  </a:lnTo>
                  <a:lnTo>
                    <a:pt x="192" y="768"/>
                  </a:lnTo>
                  <a:lnTo>
                    <a:pt x="210" y="762"/>
                  </a:lnTo>
                  <a:lnTo>
                    <a:pt x="216" y="756"/>
                  </a:lnTo>
                  <a:lnTo>
                    <a:pt x="216" y="744"/>
                  </a:lnTo>
                  <a:lnTo>
                    <a:pt x="216" y="738"/>
                  </a:lnTo>
                  <a:lnTo>
                    <a:pt x="216" y="732"/>
                  </a:lnTo>
                  <a:lnTo>
                    <a:pt x="216" y="726"/>
                  </a:lnTo>
                  <a:lnTo>
                    <a:pt x="216" y="720"/>
                  </a:lnTo>
                  <a:lnTo>
                    <a:pt x="228" y="702"/>
                  </a:lnTo>
                  <a:lnTo>
                    <a:pt x="234" y="696"/>
                  </a:lnTo>
                  <a:lnTo>
                    <a:pt x="240" y="690"/>
                  </a:lnTo>
                  <a:lnTo>
                    <a:pt x="240" y="684"/>
                  </a:lnTo>
                  <a:lnTo>
                    <a:pt x="234" y="678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0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22" y="630"/>
                  </a:lnTo>
                  <a:lnTo>
                    <a:pt x="222" y="618"/>
                  </a:lnTo>
                  <a:lnTo>
                    <a:pt x="222" y="582"/>
                  </a:lnTo>
                  <a:lnTo>
                    <a:pt x="228" y="582"/>
                  </a:lnTo>
                  <a:lnTo>
                    <a:pt x="222" y="564"/>
                  </a:lnTo>
                  <a:lnTo>
                    <a:pt x="210" y="552"/>
                  </a:lnTo>
                  <a:lnTo>
                    <a:pt x="192" y="540"/>
                  </a:lnTo>
                  <a:lnTo>
                    <a:pt x="174" y="540"/>
                  </a:lnTo>
                  <a:lnTo>
                    <a:pt x="150" y="534"/>
                  </a:lnTo>
                  <a:lnTo>
                    <a:pt x="126" y="528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90" y="516"/>
                  </a:lnTo>
                  <a:lnTo>
                    <a:pt x="78" y="504"/>
                  </a:lnTo>
                  <a:lnTo>
                    <a:pt x="72" y="498"/>
                  </a:lnTo>
                  <a:lnTo>
                    <a:pt x="66" y="486"/>
                  </a:lnTo>
                  <a:lnTo>
                    <a:pt x="54" y="468"/>
                  </a:lnTo>
                  <a:lnTo>
                    <a:pt x="54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42" y="438"/>
                  </a:lnTo>
                  <a:lnTo>
                    <a:pt x="36" y="438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24" y="384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2" y="360"/>
                  </a:lnTo>
                  <a:lnTo>
                    <a:pt x="6" y="360"/>
                  </a:lnTo>
                  <a:lnTo>
                    <a:pt x="0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0"/>
                  </a:lnTo>
                  <a:lnTo>
                    <a:pt x="18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8" y="270"/>
                  </a:lnTo>
                  <a:lnTo>
                    <a:pt x="90" y="276"/>
                  </a:lnTo>
                  <a:lnTo>
                    <a:pt x="108" y="294"/>
                  </a:lnTo>
                  <a:lnTo>
                    <a:pt x="114" y="294"/>
                  </a:lnTo>
                  <a:lnTo>
                    <a:pt x="114" y="276"/>
                  </a:lnTo>
                  <a:lnTo>
                    <a:pt x="114" y="270"/>
                  </a:lnTo>
                  <a:lnTo>
                    <a:pt x="102" y="258"/>
                  </a:lnTo>
                  <a:lnTo>
                    <a:pt x="96" y="246"/>
                  </a:lnTo>
                  <a:lnTo>
                    <a:pt x="90" y="234"/>
                  </a:lnTo>
                  <a:lnTo>
                    <a:pt x="78" y="228"/>
                  </a:lnTo>
                  <a:lnTo>
                    <a:pt x="72" y="216"/>
                  </a:lnTo>
                  <a:lnTo>
                    <a:pt x="66" y="192"/>
                  </a:lnTo>
                  <a:lnTo>
                    <a:pt x="90" y="174"/>
                  </a:lnTo>
                  <a:lnTo>
                    <a:pt x="120" y="150"/>
                  </a:lnTo>
                  <a:lnTo>
                    <a:pt x="132" y="150"/>
                  </a:lnTo>
                  <a:lnTo>
                    <a:pt x="138" y="144"/>
                  </a:lnTo>
                  <a:lnTo>
                    <a:pt x="138" y="138"/>
                  </a:lnTo>
                  <a:lnTo>
                    <a:pt x="156" y="126"/>
                  </a:lnTo>
                  <a:lnTo>
                    <a:pt x="180" y="114"/>
                  </a:lnTo>
                  <a:lnTo>
                    <a:pt x="216" y="114"/>
                  </a:lnTo>
                  <a:lnTo>
                    <a:pt x="222" y="114"/>
                  </a:lnTo>
                  <a:lnTo>
                    <a:pt x="222" y="120"/>
                  </a:lnTo>
                  <a:lnTo>
                    <a:pt x="222" y="126"/>
                  </a:lnTo>
                  <a:lnTo>
                    <a:pt x="222" y="132"/>
                  </a:lnTo>
                  <a:lnTo>
                    <a:pt x="228" y="138"/>
                  </a:lnTo>
                  <a:lnTo>
                    <a:pt x="228" y="144"/>
                  </a:lnTo>
                  <a:lnTo>
                    <a:pt x="228" y="150"/>
                  </a:lnTo>
                  <a:lnTo>
                    <a:pt x="234" y="150"/>
                  </a:lnTo>
                  <a:lnTo>
                    <a:pt x="234" y="144"/>
                  </a:lnTo>
                  <a:lnTo>
                    <a:pt x="240" y="144"/>
                  </a:lnTo>
                  <a:lnTo>
                    <a:pt x="246" y="144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58" y="126"/>
                  </a:lnTo>
                  <a:lnTo>
                    <a:pt x="258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76" y="96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6" y="72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36"/>
                  </a:lnTo>
                  <a:lnTo>
                    <a:pt x="330" y="24"/>
                  </a:lnTo>
                  <a:lnTo>
                    <a:pt x="330" y="18"/>
                  </a:lnTo>
                  <a:lnTo>
                    <a:pt x="330" y="12"/>
                  </a:lnTo>
                  <a:lnTo>
                    <a:pt x="336" y="6"/>
                  </a:lnTo>
                  <a:lnTo>
                    <a:pt x="366" y="0"/>
                  </a:lnTo>
                  <a:lnTo>
                    <a:pt x="372" y="6"/>
                  </a:lnTo>
                  <a:lnTo>
                    <a:pt x="384" y="12"/>
                  </a:lnTo>
                  <a:lnTo>
                    <a:pt x="402" y="12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18"/>
                  </a:lnTo>
                  <a:lnTo>
                    <a:pt x="420" y="18"/>
                  </a:lnTo>
                  <a:lnTo>
                    <a:pt x="426" y="24"/>
                  </a:lnTo>
                  <a:lnTo>
                    <a:pt x="432" y="30"/>
                  </a:lnTo>
                  <a:lnTo>
                    <a:pt x="438" y="36"/>
                  </a:lnTo>
                  <a:lnTo>
                    <a:pt x="444" y="42"/>
                  </a:lnTo>
                  <a:lnTo>
                    <a:pt x="450" y="42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16" y="78"/>
                  </a:lnTo>
                  <a:lnTo>
                    <a:pt x="522" y="102"/>
                  </a:lnTo>
                  <a:lnTo>
                    <a:pt x="522" y="108"/>
                  </a:lnTo>
                  <a:lnTo>
                    <a:pt x="528" y="126"/>
                  </a:lnTo>
                  <a:lnTo>
                    <a:pt x="534" y="126"/>
                  </a:lnTo>
                  <a:lnTo>
                    <a:pt x="540" y="120"/>
                  </a:lnTo>
                  <a:lnTo>
                    <a:pt x="546" y="126"/>
                  </a:lnTo>
                  <a:lnTo>
                    <a:pt x="552" y="126"/>
                  </a:lnTo>
                  <a:lnTo>
                    <a:pt x="558" y="132"/>
                  </a:lnTo>
                  <a:lnTo>
                    <a:pt x="564" y="138"/>
                  </a:lnTo>
                  <a:lnTo>
                    <a:pt x="570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594" y="168"/>
                  </a:lnTo>
                  <a:lnTo>
                    <a:pt x="600" y="174"/>
                  </a:lnTo>
                  <a:lnTo>
                    <a:pt x="606" y="180"/>
                  </a:lnTo>
                  <a:lnTo>
                    <a:pt x="606" y="186"/>
                  </a:lnTo>
                  <a:lnTo>
                    <a:pt x="612" y="192"/>
                  </a:lnTo>
                  <a:lnTo>
                    <a:pt x="612" y="198"/>
                  </a:lnTo>
                  <a:lnTo>
                    <a:pt x="624" y="204"/>
                  </a:lnTo>
                  <a:lnTo>
                    <a:pt x="624" y="210"/>
                  </a:lnTo>
                  <a:lnTo>
                    <a:pt x="630" y="216"/>
                  </a:lnTo>
                  <a:lnTo>
                    <a:pt x="636" y="222"/>
                  </a:lnTo>
                  <a:lnTo>
                    <a:pt x="636" y="228"/>
                  </a:lnTo>
                  <a:lnTo>
                    <a:pt x="636" y="234"/>
                  </a:lnTo>
                  <a:lnTo>
                    <a:pt x="636" y="252"/>
                  </a:lnTo>
                  <a:lnTo>
                    <a:pt x="636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42" y="276"/>
                  </a:lnTo>
                  <a:lnTo>
                    <a:pt x="642" y="282"/>
                  </a:lnTo>
                  <a:lnTo>
                    <a:pt x="642" y="288"/>
                  </a:lnTo>
                  <a:lnTo>
                    <a:pt x="642" y="300"/>
                  </a:lnTo>
                  <a:lnTo>
                    <a:pt x="642" y="306"/>
                  </a:lnTo>
                  <a:lnTo>
                    <a:pt x="636" y="312"/>
                  </a:lnTo>
                  <a:lnTo>
                    <a:pt x="636" y="324"/>
                  </a:lnTo>
                  <a:lnTo>
                    <a:pt x="636" y="342"/>
                  </a:lnTo>
                  <a:lnTo>
                    <a:pt x="630" y="354"/>
                  </a:lnTo>
                  <a:lnTo>
                    <a:pt x="630" y="366"/>
                  </a:lnTo>
                  <a:lnTo>
                    <a:pt x="624" y="378"/>
                  </a:lnTo>
                  <a:lnTo>
                    <a:pt x="624" y="384"/>
                  </a:lnTo>
                  <a:lnTo>
                    <a:pt x="636" y="396"/>
                  </a:lnTo>
                  <a:lnTo>
                    <a:pt x="636" y="402"/>
                  </a:lnTo>
                  <a:lnTo>
                    <a:pt x="636" y="408"/>
                  </a:lnTo>
                  <a:lnTo>
                    <a:pt x="630" y="414"/>
                  </a:lnTo>
                  <a:lnTo>
                    <a:pt x="630" y="420"/>
                  </a:lnTo>
                  <a:lnTo>
                    <a:pt x="630" y="426"/>
                  </a:lnTo>
                  <a:lnTo>
                    <a:pt x="630" y="432"/>
                  </a:lnTo>
                  <a:lnTo>
                    <a:pt x="624" y="438"/>
                  </a:lnTo>
                  <a:lnTo>
                    <a:pt x="624" y="444"/>
                  </a:lnTo>
                  <a:lnTo>
                    <a:pt x="624" y="450"/>
                  </a:lnTo>
                  <a:lnTo>
                    <a:pt x="630" y="450"/>
                  </a:lnTo>
                  <a:lnTo>
                    <a:pt x="630" y="456"/>
                  </a:lnTo>
                  <a:lnTo>
                    <a:pt x="630" y="462"/>
                  </a:lnTo>
                  <a:lnTo>
                    <a:pt x="636" y="468"/>
                  </a:lnTo>
                  <a:lnTo>
                    <a:pt x="642" y="456"/>
                  </a:lnTo>
                  <a:lnTo>
                    <a:pt x="642" y="450"/>
                  </a:lnTo>
                  <a:lnTo>
                    <a:pt x="648" y="450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60" y="444"/>
                  </a:lnTo>
                  <a:lnTo>
                    <a:pt x="666" y="450"/>
                  </a:lnTo>
                  <a:lnTo>
                    <a:pt x="672" y="444"/>
                  </a:lnTo>
                  <a:lnTo>
                    <a:pt x="678" y="444"/>
                  </a:lnTo>
                  <a:lnTo>
                    <a:pt x="684" y="438"/>
                  </a:lnTo>
                  <a:lnTo>
                    <a:pt x="690" y="438"/>
                  </a:lnTo>
                  <a:lnTo>
                    <a:pt x="696" y="438"/>
                  </a:lnTo>
                  <a:lnTo>
                    <a:pt x="702" y="444"/>
                  </a:lnTo>
                  <a:lnTo>
                    <a:pt x="702" y="450"/>
                  </a:lnTo>
                  <a:lnTo>
                    <a:pt x="708" y="450"/>
                  </a:lnTo>
                  <a:lnTo>
                    <a:pt x="708" y="456"/>
                  </a:lnTo>
                  <a:lnTo>
                    <a:pt x="708" y="462"/>
                  </a:lnTo>
                  <a:lnTo>
                    <a:pt x="708" y="468"/>
                  </a:lnTo>
                  <a:lnTo>
                    <a:pt x="708" y="504"/>
                  </a:lnTo>
                  <a:lnTo>
                    <a:pt x="696" y="564"/>
                  </a:lnTo>
                  <a:lnTo>
                    <a:pt x="696" y="582"/>
                  </a:lnTo>
                  <a:lnTo>
                    <a:pt x="696" y="600"/>
                  </a:lnTo>
                  <a:lnTo>
                    <a:pt x="690" y="606"/>
                  </a:lnTo>
                  <a:lnTo>
                    <a:pt x="684" y="606"/>
                  </a:lnTo>
                  <a:lnTo>
                    <a:pt x="690" y="612"/>
                  </a:lnTo>
                  <a:lnTo>
                    <a:pt x="684" y="612"/>
                  </a:lnTo>
                  <a:lnTo>
                    <a:pt x="678" y="618"/>
                  </a:lnTo>
                  <a:lnTo>
                    <a:pt x="672" y="624"/>
                  </a:lnTo>
                  <a:lnTo>
                    <a:pt x="666" y="630"/>
                  </a:lnTo>
                  <a:lnTo>
                    <a:pt x="660" y="636"/>
                  </a:lnTo>
                  <a:lnTo>
                    <a:pt x="672" y="636"/>
                  </a:lnTo>
                  <a:lnTo>
                    <a:pt x="678" y="642"/>
                  </a:lnTo>
                  <a:lnTo>
                    <a:pt x="678" y="648"/>
                  </a:lnTo>
                  <a:lnTo>
                    <a:pt x="684" y="654"/>
                  </a:lnTo>
                  <a:lnTo>
                    <a:pt x="690" y="666"/>
                  </a:lnTo>
                  <a:lnTo>
                    <a:pt x="690" y="672"/>
                  </a:lnTo>
                  <a:lnTo>
                    <a:pt x="696" y="672"/>
                  </a:lnTo>
                  <a:lnTo>
                    <a:pt x="696" y="684"/>
                  </a:lnTo>
                  <a:lnTo>
                    <a:pt x="708" y="690"/>
                  </a:lnTo>
                  <a:lnTo>
                    <a:pt x="720" y="696"/>
                  </a:lnTo>
                  <a:lnTo>
                    <a:pt x="726" y="696"/>
                  </a:lnTo>
                  <a:lnTo>
                    <a:pt x="732" y="696"/>
                  </a:lnTo>
                  <a:lnTo>
                    <a:pt x="738" y="696"/>
                  </a:lnTo>
                  <a:lnTo>
                    <a:pt x="738" y="702"/>
                  </a:lnTo>
                  <a:lnTo>
                    <a:pt x="738" y="708"/>
                  </a:lnTo>
                  <a:lnTo>
                    <a:pt x="738" y="714"/>
                  </a:lnTo>
                  <a:lnTo>
                    <a:pt x="744" y="714"/>
                  </a:lnTo>
                  <a:lnTo>
                    <a:pt x="756" y="720"/>
                  </a:lnTo>
                  <a:lnTo>
                    <a:pt x="780" y="726"/>
                  </a:lnTo>
                  <a:lnTo>
                    <a:pt x="792" y="732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22" y="774"/>
                  </a:lnTo>
                  <a:lnTo>
                    <a:pt x="834" y="786"/>
                  </a:lnTo>
                  <a:lnTo>
                    <a:pt x="834" y="792"/>
                  </a:lnTo>
                  <a:lnTo>
                    <a:pt x="834" y="798"/>
                  </a:lnTo>
                  <a:lnTo>
                    <a:pt x="828" y="798"/>
                  </a:lnTo>
                  <a:lnTo>
                    <a:pt x="828" y="804"/>
                  </a:lnTo>
                  <a:lnTo>
                    <a:pt x="834" y="816"/>
                  </a:lnTo>
                  <a:lnTo>
                    <a:pt x="834" y="834"/>
                  </a:lnTo>
                  <a:lnTo>
                    <a:pt x="834" y="840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34" y="858"/>
                  </a:lnTo>
                  <a:lnTo>
                    <a:pt x="834" y="864"/>
                  </a:lnTo>
                  <a:lnTo>
                    <a:pt x="834" y="876"/>
                  </a:lnTo>
                  <a:lnTo>
                    <a:pt x="828" y="960"/>
                  </a:lnTo>
                  <a:lnTo>
                    <a:pt x="816" y="966"/>
                  </a:lnTo>
                  <a:lnTo>
                    <a:pt x="798" y="972"/>
                  </a:lnTo>
                  <a:lnTo>
                    <a:pt x="786" y="990"/>
                  </a:lnTo>
                  <a:lnTo>
                    <a:pt x="774" y="990"/>
                  </a:lnTo>
                  <a:lnTo>
                    <a:pt x="762" y="1008"/>
                  </a:lnTo>
                  <a:lnTo>
                    <a:pt x="732" y="1014"/>
                  </a:lnTo>
                  <a:lnTo>
                    <a:pt x="714" y="1026"/>
                  </a:lnTo>
                  <a:lnTo>
                    <a:pt x="690" y="1050"/>
                  </a:lnTo>
                  <a:lnTo>
                    <a:pt x="654" y="1056"/>
                  </a:lnTo>
                  <a:lnTo>
                    <a:pt x="630" y="1056"/>
                  </a:lnTo>
                  <a:lnTo>
                    <a:pt x="606" y="1068"/>
                  </a:lnTo>
                  <a:lnTo>
                    <a:pt x="600" y="1092"/>
                  </a:lnTo>
                  <a:lnTo>
                    <a:pt x="600" y="1098"/>
                  </a:lnTo>
                  <a:lnTo>
                    <a:pt x="588" y="1104"/>
                  </a:lnTo>
                  <a:lnTo>
                    <a:pt x="582" y="1104"/>
                  </a:lnTo>
                  <a:lnTo>
                    <a:pt x="570" y="1110"/>
                  </a:lnTo>
                  <a:lnTo>
                    <a:pt x="564" y="111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7" name="Freeform 12">
              <a:extLst>
                <a:ext uri="{FF2B5EF4-FFF2-40B4-BE49-F238E27FC236}">
                  <a16:creationId xmlns:a16="http://schemas.microsoft.com/office/drawing/2014/main" id="{6C93C114-E5D0-49BB-A44C-A127CE01CFE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810" y="2271838"/>
              <a:ext cx="923547" cy="845397"/>
            </a:xfrm>
            <a:custGeom>
              <a:avLst/>
              <a:gdLst>
                <a:gd name="T0" fmla="*/ 138 w 1740"/>
                <a:gd name="T1" fmla="*/ 134 h 1590"/>
                <a:gd name="T2" fmla="*/ 128 w 1740"/>
                <a:gd name="T3" fmla="*/ 131 h 1590"/>
                <a:gd name="T4" fmla="*/ 121 w 1740"/>
                <a:gd name="T5" fmla="*/ 130 h 1590"/>
                <a:gd name="T6" fmla="*/ 119 w 1740"/>
                <a:gd name="T7" fmla="*/ 134 h 1590"/>
                <a:gd name="T8" fmla="*/ 110 w 1740"/>
                <a:gd name="T9" fmla="*/ 132 h 1590"/>
                <a:gd name="T10" fmla="*/ 111 w 1740"/>
                <a:gd name="T11" fmla="*/ 127 h 1590"/>
                <a:gd name="T12" fmla="*/ 103 w 1740"/>
                <a:gd name="T13" fmla="*/ 117 h 1590"/>
                <a:gd name="T14" fmla="*/ 93 w 1740"/>
                <a:gd name="T15" fmla="*/ 123 h 1590"/>
                <a:gd name="T16" fmla="*/ 80 w 1740"/>
                <a:gd name="T17" fmla="*/ 118 h 1590"/>
                <a:gd name="T18" fmla="*/ 66 w 1740"/>
                <a:gd name="T19" fmla="*/ 117 h 1590"/>
                <a:gd name="T20" fmla="*/ 66 w 1740"/>
                <a:gd name="T21" fmla="*/ 110 h 1590"/>
                <a:gd name="T22" fmla="*/ 69 w 1740"/>
                <a:gd name="T23" fmla="*/ 107 h 1590"/>
                <a:gd name="T24" fmla="*/ 68 w 1740"/>
                <a:gd name="T25" fmla="*/ 102 h 1590"/>
                <a:gd name="T26" fmla="*/ 68 w 1740"/>
                <a:gd name="T27" fmla="*/ 96 h 1590"/>
                <a:gd name="T28" fmla="*/ 67 w 1740"/>
                <a:gd name="T29" fmla="*/ 82 h 1590"/>
                <a:gd name="T30" fmla="*/ 58 w 1740"/>
                <a:gd name="T31" fmla="*/ 82 h 1590"/>
                <a:gd name="T32" fmla="*/ 52 w 1740"/>
                <a:gd name="T33" fmla="*/ 82 h 1590"/>
                <a:gd name="T34" fmla="*/ 46 w 1740"/>
                <a:gd name="T35" fmla="*/ 80 h 1590"/>
                <a:gd name="T36" fmla="*/ 45 w 1740"/>
                <a:gd name="T37" fmla="*/ 74 h 1590"/>
                <a:gd name="T38" fmla="*/ 52 w 1740"/>
                <a:gd name="T39" fmla="*/ 70 h 1590"/>
                <a:gd name="T40" fmla="*/ 52 w 1740"/>
                <a:gd name="T41" fmla="*/ 64 h 1590"/>
                <a:gd name="T42" fmla="*/ 42 w 1740"/>
                <a:gd name="T43" fmla="*/ 53 h 1590"/>
                <a:gd name="T44" fmla="*/ 35 w 1740"/>
                <a:gd name="T45" fmla="*/ 52 h 1590"/>
                <a:gd name="T46" fmla="*/ 20 w 1740"/>
                <a:gd name="T47" fmla="*/ 51 h 1590"/>
                <a:gd name="T48" fmla="*/ 17 w 1740"/>
                <a:gd name="T49" fmla="*/ 56 h 1590"/>
                <a:gd name="T50" fmla="*/ 11 w 1740"/>
                <a:gd name="T51" fmla="*/ 61 h 1590"/>
                <a:gd name="T52" fmla="*/ 7 w 1740"/>
                <a:gd name="T53" fmla="*/ 63 h 1590"/>
                <a:gd name="T54" fmla="*/ 0 w 1740"/>
                <a:gd name="T55" fmla="*/ 55 h 1590"/>
                <a:gd name="T56" fmla="*/ 2 w 1740"/>
                <a:gd name="T57" fmla="*/ 50 h 1590"/>
                <a:gd name="T58" fmla="*/ 0 w 1740"/>
                <a:gd name="T59" fmla="*/ 44 h 1590"/>
                <a:gd name="T60" fmla="*/ 2 w 1740"/>
                <a:gd name="T61" fmla="*/ 38 h 1590"/>
                <a:gd name="T62" fmla="*/ 7 w 1740"/>
                <a:gd name="T63" fmla="*/ 35 h 1590"/>
                <a:gd name="T64" fmla="*/ 11 w 1740"/>
                <a:gd name="T65" fmla="*/ 30 h 1590"/>
                <a:gd name="T66" fmla="*/ 21 w 1740"/>
                <a:gd name="T67" fmla="*/ 26 h 1590"/>
                <a:gd name="T68" fmla="*/ 29 w 1740"/>
                <a:gd name="T69" fmla="*/ 25 h 1590"/>
                <a:gd name="T70" fmla="*/ 35 w 1740"/>
                <a:gd name="T71" fmla="*/ 21 h 1590"/>
                <a:gd name="T72" fmla="*/ 36 w 1740"/>
                <a:gd name="T73" fmla="*/ 16 h 1590"/>
                <a:gd name="T74" fmla="*/ 41 w 1740"/>
                <a:gd name="T75" fmla="*/ 11 h 1590"/>
                <a:gd name="T76" fmla="*/ 51 w 1740"/>
                <a:gd name="T77" fmla="*/ 9 h 1590"/>
                <a:gd name="T78" fmla="*/ 59 w 1740"/>
                <a:gd name="T79" fmla="*/ 21 h 1590"/>
                <a:gd name="T80" fmla="*/ 65 w 1740"/>
                <a:gd name="T81" fmla="*/ 13 h 1590"/>
                <a:gd name="T82" fmla="*/ 73 w 1740"/>
                <a:gd name="T83" fmla="*/ 8 h 1590"/>
                <a:gd name="T84" fmla="*/ 82 w 1740"/>
                <a:gd name="T85" fmla="*/ 12 h 1590"/>
                <a:gd name="T86" fmla="*/ 88 w 1740"/>
                <a:gd name="T87" fmla="*/ 12 h 1590"/>
                <a:gd name="T88" fmla="*/ 99 w 1740"/>
                <a:gd name="T89" fmla="*/ 7 h 1590"/>
                <a:gd name="T90" fmla="*/ 114 w 1740"/>
                <a:gd name="T91" fmla="*/ 0 h 1590"/>
                <a:gd name="T92" fmla="*/ 117 w 1740"/>
                <a:gd name="T93" fmla="*/ 10 h 1590"/>
                <a:gd name="T94" fmla="*/ 132 w 1740"/>
                <a:gd name="T95" fmla="*/ 17 h 1590"/>
                <a:gd name="T96" fmla="*/ 140 w 1740"/>
                <a:gd name="T97" fmla="*/ 25 h 1590"/>
                <a:gd name="T98" fmla="*/ 140 w 1740"/>
                <a:gd name="T99" fmla="*/ 33 h 1590"/>
                <a:gd name="T100" fmla="*/ 140 w 1740"/>
                <a:gd name="T101" fmla="*/ 44 h 1590"/>
                <a:gd name="T102" fmla="*/ 138 w 1740"/>
                <a:gd name="T103" fmla="*/ 48 h 1590"/>
                <a:gd name="T104" fmla="*/ 141 w 1740"/>
                <a:gd name="T105" fmla="*/ 49 h 1590"/>
                <a:gd name="T106" fmla="*/ 146 w 1740"/>
                <a:gd name="T107" fmla="*/ 50 h 1590"/>
                <a:gd name="T108" fmla="*/ 149 w 1740"/>
                <a:gd name="T109" fmla="*/ 59 h 1590"/>
                <a:gd name="T110" fmla="*/ 148 w 1740"/>
                <a:gd name="T111" fmla="*/ 67 h 1590"/>
                <a:gd name="T112" fmla="*/ 141 w 1740"/>
                <a:gd name="T113" fmla="*/ 78 h 1590"/>
                <a:gd name="T114" fmla="*/ 141 w 1740"/>
                <a:gd name="T115" fmla="*/ 91 h 1590"/>
                <a:gd name="T116" fmla="*/ 138 w 1740"/>
                <a:gd name="T117" fmla="*/ 102 h 1590"/>
                <a:gd name="T118" fmla="*/ 138 w 1740"/>
                <a:gd name="T119" fmla="*/ 110 h 1590"/>
                <a:gd name="T120" fmla="*/ 144 w 1740"/>
                <a:gd name="T121" fmla="*/ 118 h 1590"/>
                <a:gd name="T122" fmla="*/ 143 w 1740"/>
                <a:gd name="T123" fmla="*/ 125 h 159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740"/>
                <a:gd name="T187" fmla="*/ 0 h 1590"/>
                <a:gd name="T188" fmla="*/ 1740 w 1740"/>
                <a:gd name="T189" fmla="*/ 1590 h 159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740" h="1590">
                  <a:moveTo>
                    <a:pt x="1638" y="1458"/>
                  </a:moveTo>
                  <a:lnTo>
                    <a:pt x="1638" y="1482"/>
                  </a:lnTo>
                  <a:lnTo>
                    <a:pt x="1638" y="1500"/>
                  </a:lnTo>
                  <a:lnTo>
                    <a:pt x="1626" y="1500"/>
                  </a:lnTo>
                  <a:lnTo>
                    <a:pt x="1620" y="1500"/>
                  </a:lnTo>
                  <a:lnTo>
                    <a:pt x="1614" y="1500"/>
                  </a:lnTo>
                  <a:lnTo>
                    <a:pt x="1614" y="1506"/>
                  </a:lnTo>
                  <a:lnTo>
                    <a:pt x="1614" y="1512"/>
                  </a:lnTo>
                  <a:lnTo>
                    <a:pt x="1620" y="1518"/>
                  </a:lnTo>
                  <a:lnTo>
                    <a:pt x="1614" y="1524"/>
                  </a:lnTo>
                  <a:lnTo>
                    <a:pt x="1590" y="1536"/>
                  </a:lnTo>
                  <a:lnTo>
                    <a:pt x="1584" y="1566"/>
                  </a:lnTo>
                  <a:lnTo>
                    <a:pt x="1578" y="1590"/>
                  </a:lnTo>
                  <a:lnTo>
                    <a:pt x="1548" y="1590"/>
                  </a:lnTo>
                  <a:lnTo>
                    <a:pt x="1542" y="1584"/>
                  </a:lnTo>
                  <a:lnTo>
                    <a:pt x="1542" y="1572"/>
                  </a:lnTo>
                  <a:lnTo>
                    <a:pt x="1536" y="1566"/>
                  </a:lnTo>
                  <a:lnTo>
                    <a:pt x="1536" y="1554"/>
                  </a:lnTo>
                  <a:lnTo>
                    <a:pt x="1536" y="1548"/>
                  </a:lnTo>
                  <a:lnTo>
                    <a:pt x="1506" y="1530"/>
                  </a:lnTo>
                  <a:lnTo>
                    <a:pt x="1488" y="1506"/>
                  </a:lnTo>
                  <a:lnTo>
                    <a:pt x="1464" y="1500"/>
                  </a:lnTo>
                  <a:lnTo>
                    <a:pt x="1470" y="1494"/>
                  </a:lnTo>
                  <a:lnTo>
                    <a:pt x="1470" y="1488"/>
                  </a:lnTo>
                  <a:lnTo>
                    <a:pt x="1470" y="1482"/>
                  </a:lnTo>
                  <a:lnTo>
                    <a:pt x="1428" y="1464"/>
                  </a:lnTo>
                  <a:lnTo>
                    <a:pt x="1404" y="1470"/>
                  </a:lnTo>
                  <a:lnTo>
                    <a:pt x="1398" y="1470"/>
                  </a:lnTo>
                  <a:lnTo>
                    <a:pt x="1392" y="1476"/>
                  </a:lnTo>
                  <a:lnTo>
                    <a:pt x="1386" y="1476"/>
                  </a:lnTo>
                  <a:lnTo>
                    <a:pt x="1386" y="1482"/>
                  </a:lnTo>
                  <a:lnTo>
                    <a:pt x="1392" y="1482"/>
                  </a:lnTo>
                  <a:lnTo>
                    <a:pt x="1386" y="1488"/>
                  </a:lnTo>
                  <a:lnTo>
                    <a:pt x="1386" y="1494"/>
                  </a:lnTo>
                  <a:lnTo>
                    <a:pt x="1380" y="1494"/>
                  </a:lnTo>
                  <a:lnTo>
                    <a:pt x="1380" y="1500"/>
                  </a:lnTo>
                  <a:lnTo>
                    <a:pt x="1380" y="1512"/>
                  </a:lnTo>
                  <a:lnTo>
                    <a:pt x="1380" y="1518"/>
                  </a:lnTo>
                  <a:lnTo>
                    <a:pt x="1380" y="1524"/>
                  </a:lnTo>
                  <a:lnTo>
                    <a:pt x="1380" y="1530"/>
                  </a:lnTo>
                  <a:lnTo>
                    <a:pt x="1374" y="1536"/>
                  </a:lnTo>
                  <a:lnTo>
                    <a:pt x="1374" y="1542"/>
                  </a:lnTo>
                  <a:lnTo>
                    <a:pt x="1368" y="1542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44" y="1554"/>
                  </a:lnTo>
                  <a:lnTo>
                    <a:pt x="1332" y="1560"/>
                  </a:lnTo>
                  <a:lnTo>
                    <a:pt x="1302" y="1554"/>
                  </a:lnTo>
                  <a:lnTo>
                    <a:pt x="1290" y="1554"/>
                  </a:lnTo>
                  <a:lnTo>
                    <a:pt x="1278" y="1542"/>
                  </a:lnTo>
                  <a:lnTo>
                    <a:pt x="1272" y="1530"/>
                  </a:lnTo>
                  <a:lnTo>
                    <a:pt x="1272" y="1524"/>
                  </a:lnTo>
                  <a:lnTo>
                    <a:pt x="1272" y="1518"/>
                  </a:lnTo>
                  <a:lnTo>
                    <a:pt x="1266" y="1518"/>
                  </a:lnTo>
                  <a:lnTo>
                    <a:pt x="1266" y="1512"/>
                  </a:lnTo>
                  <a:lnTo>
                    <a:pt x="1266" y="1506"/>
                  </a:lnTo>
                  <a:lnTo>
                    <a:pt x="1272" y="1506"/>
                  </a:lnTo>
                  <a:lnTo>
                    <a:pt x="1272" y="1500"/>
                  </a:lnTo>
                  <a:lnTo>
                    <a:pt x="1278" y="1500"/>
                  </a:lnTo>
                  <a:lnTo>
                    <a:pt x="1278" y="1494"/>
                  </a:lnTo>
                  <a:lnTo>
                    <a:pt x="1278" y="1488"/>
                  </a:lnTo>
                  <a:lnTo>
                    <a:pt x="1284" y="1488"/>
                  </a:lnTo>
                  <a:lnTo>
                    <a:pt x="1284" y="1482"/>
                  </a:lnTo>
                  <a:lnTo>
                    <a:pt x="1290" y="1476"/>
                  </a:lnTo>
                  <a:lnTo>
                    <a:pt x="1284" y="1470"/>
                  </a:lnTo>
                  <a:lnTo>
                    <a:pt x="1278" y="1458"/>
                  </a:lnTo>
                  <a:lnTo>
                    <a:pt x="1278" y="1452"/>
                  </a:lnTo>
                  <a:lnTo>
                    <a:pt x="1260" y="1428"/>
                  </a:lnTo>
                  <a:lnTo>
                    <a:pt x="1254" y="1416"/>
                  </a:lnTo>
                  <a:lnTo>
                    <a:pt x="1254" y="1410"/>
                  </a:lnTo>
                  <a:lnTo>
                    <a:pt x="1248" y="1398"/>
                  </a:lnTo>
                  <a:lnTo>
                    <a:pt x="1242" y="1398"/>
                  </a:lnTo>
                  <a:lnTo>
                    <a:pt x="1236" y="1398"/>
                  </a:lnTo>
                  <a:lnTo>
                    <a:pt x="1218" y="1386"/>
                  </a:lnTo>
                  <a:lnTo>
                    <a:pt x="1212" y="1362"/>
                  </a:lnTo>
                  <a:lnTo>
                    <a:pt x="1200" y="1344"/>
                  </a:lnTo>
                  <a:lnTo>
                    <a:pt x="1188" y="1338"/>
                  </a:lnTo>
                  <a:lnTo>
                    <a:pt x="1164" y="1338"/>
                  </a:lnTo>
                  <a:lnTo>
                    <a:pt x="1158" y="1344"/>
                  </a:lnTo>
                  <a:lnTo>
                    <a:pt x="1152" y="1350"/>
                  </a:lnTo>
                  <a:lnTo>
                    <a:pt x="1152" y="1356"/>
                  </a:lnTo>
                  <a:lnTo>
                    <a:pt x="1140" y="1362"/>
                  </a:lnTo>
                  <a:lnTo>
                    <a:pt x="1134" y="1380"/>
                  </a:lnTo>
                  <a:lnTo>
                    <a:pt x="1116" y="1398"/>
                  </a:lnTo>
                  <a:lnTo>
                    <a:pt x="1110" y="1416"/>
                  </a:lnTo>
                  <a:lnTo>
                    <a:pt x="1086" y="1416"/>
                  </a:lnTo>
                  <a:lnTo>
                    <a:pt x="1080" y="1410"/>
                  </a:lnTo>
                  <a:lnTo>
                    <a:pt x="1074" y="1410"/>
                  </a:lnTo>
                  <a:lnTo>
                    <a:pt x="1074" y="1404"/>
                  </a:lnTo>
                  <a:lnTo>
                    <a:pt x="1062" y="1404"/>
                  </a:lnTo>
                  <a:lnTo>
                    <a:pt x="1062" y="1380"/>
                  </a:lnTo>
                  <a:lnTo>
                    <a:pt x="1038" y="1380"/>
                  </a:lnTo>
                  <a:lnTo>
                    <a:pt x="1026" y="1350"/>
                  </a:lnTo>
                  <a:lnTo>
                    <a:pt x="996" y="1326"/>
                  </a:lnTo>
                  <a:lnTo>
                    <a:pt x="966" y="1314"/>
                  </a:lnTo>
                  <a:lnTo>
                    <a:pt x="954" y="1320"/>
                  </a:lnTo>
                  <a:lnTo>
                    <a:pt x="942" y="1338"/>
                  </a:lnTo>
                  <a:lnTo>
                    <a:pt x="930" y="1338"/>
                  </a:lnTo>
                  <a:lnTo>
                    <a:pt x="924" y="1350"/>
                  </a:lnTo>
                  <a:lnTo>
                    <a:pt x="906" y="1356"/>
                  </a:lnTo>
                  <a:lnTo>
                    <a:pt x="846" y="1356"/>
                  </a:lnTo>
                  <a:lnTo>
                    <a:pt x="834" y="1368"/>
                  </a:lnTo>
                  <a:lnTo>
                    <a:pt x="810" y="1362"/>
                  </a:lnTo>
                  <a:lnTo>
                    <a:pt x="792" y="1362"/>
                  </a:lnTo>
                  <a:lnTo>
                    <a:pt x="780" y="1368"/>
                  </a:lnTo>
                  <a:lnTo>
                    <a:pt x="762" y="1368"/>
                  </a:lnTo>
                  <a:lnTo>
                    <a:pt x="762" y="1362"/>
                  </a:lnTo>
                  <a:lnTo>
                    <a:pt x="750" y="1362"/>
                  </a:lnTo>
                  <a:lnTo>
                    <a:pt x="750" y="1338"/>
                  </a:lnTo>
                  <a:lnTo>
                    <a:pt x="762" y="1338"/>
                  </a:lnTo>
                  <a:lnTo>
                    <a:pt x="762" y="1326"/>
                  </a:lnTo>
                  <a:lnTo>
                    <a:pt x="762" y="1314"/>
                  </a:lnTo>
                  <a:lnTo>
                    <a:pt x="732" y="1314"/>
                  </a:lnTo>
                  <a:lnTo>
                    <a:pt x="726" y="1308"/>
                  </a:lnTo>
                  <a:lnTo>
                    <a:pt x="732" y="1284"/>
                  </a:lnTo>
                  <a:lnTo>
                    <a:pt x="732" y="1278"/>
                  </a:lnTo>
                  <a:lnTo>
                    <a:pt x="738" y="1272"/>
                  </a:lnTo>
                  <a:lnTo>
                    <a:pt x="738" y="1266"/>
                  </a:lnTo>
                  <a:lnTo>
                    <a:pt x="744" y="1266"/>
                  </a:lnTo>
                  <a:lnTo>
                    <a:pt x="750" y="1272"/>
                  </a:lnTo>
                  <a:lnTo>
                    <a:pt x="756" y="1266"/>
                  </a:lnTo>
                  <a:lnTo>
                    <a:pt x="762" y="1266"/>
                  </a:lnTo>
                  <a:lnTo>
                    <a:pt x="768" y="1260"/>
                  </a:lnTo>
                  <a:lnTo>
                    <a:pt x="774" y="1260"/>
                  </a:lnTo>
                  <a:lnTo>
                    <a:pt x="780" y="1254"/>
                  </a:lnTo>
                  <a:lnTo>
                    <a:pt x="774" y="1254"/>
                  </a:lnTo>
                  <a:lnTo>
                    <a:pt x="768" y="1254"/>
                  </a:lnTo>
                  <a:lnTo>
                    <a:pt x="774" y="1248"/>
                  </a:lnTo>
                  <a:lnTo>
                    <a:pt x="774" y="1242"/>
                  </a:lnTo>
                  <a:lnTo>
                    <a:pt x="780" y="1236"/>
                  </a:lnTo>
                  <a:lnTo>
                    <a:pt x="786" y="1236"/>
                  </a:lnTo>
                  <a:lnTo>
                    <a:pt x="792" y="1230"/>
                  </a:lnTo>
                  <a:lnTo>
                    <a:pt x="792" y="1236"/>
                  </a:lnTo>
                  <a:lnTo>
                    <a:pt x="798" y="1236"/>
                  </a:lnTo>
                  <a:lnTo>
                    <a:pt x="798" y="1230"/>
                  </a:lnTo>
                  <a:lnTo>
                    <a:pt x="804" y="1230"/>
                  </a:lnTo>
                  <a:lnTo>
                    <a:pt x="804" y="1218"/>
                  </a:lnTo>
                  <a:lnTo>
                    <a:pt x="804" y="1206"/>
                  </a:lnTo>
                  <a:lnTo>
                    <a:pt x="792" y="1188"/>
                  </a:lnTo>
                  <a:lnTo>
                    <a:pt x="768" y="1182"/>
                  </a:lnTo>
                  <a:lnTo>
                    <a:pt x="768" y="1170"/>
                  </a:lnTo>
                  <a:lnTo>
                    <a:pt x="774" y="1170"/>
                  </a:lnTo>
                  <a:lnTo>
                    <a:pt x="780" y="1170"/>
                  </a:lnTo>
                  <a:lnTo>
                    <a:pt x="786" y="1170"/>
                  </a:lnTo>
                  <a:lnTo>
                    <a:pt x="780" y="1152"/>
                  </a:lnTo>
                  <a:lnTo>
                    <a:pt x="780" y="1146"/>
                  </a:lnTo>
                  <a:lnTo>
                    <a:pt x="744" y="1140"/>
                  </a:lnTo>
                  <a:lnTo>
                    <a:pt x="732" y="1128"/>
                  </a:lnTo>
                  <a:lnTo>
                    <a:pt x="720" y="1122"/>
                  </a:lnTo>
                  <a:lnTo>
                    <a:pt x="732" y="1116"/>
                  </a:lnTo>
                  <a:lnTo>
                    <a:pt x="750" y="1104"/>
                  </a:lnTo>
                  <a:lnTo>
                    <a:pt x="756" y="1116"/>
                  </a:lnTo>
                  <a:lnTo>
                    <a:pt x="774" y="1116"/>
                  </a:lnTo>
                  <a:lnTo>
                    <a:pt x="780" y="1104"/>
                  </a:lnTo>
                  <a:lnTo>
                    <a:pt x="780" y="1080"/>
                  </a:lnTo>
                  <a:lnTo>
                    <a:pt x="786" y="1080"/>
                  </a:lnTo>
                  <a:lnTo>
                    <a:pt x="786" y="1074"/>
                  </a:lnTo>
                  <a:lnTo>
                    <a:pt x="792" y="1074"/>
                  </a:lnTo>
                  <a:lnTo>
                    <a:pt x="786" y="1068"/>
                  </a:lnTo>
                  <a:lnTo>
                    <a:pt x="786" y="1062"/>
                  </a:lnTo>
                  <a:lnTo>
                    <a:pt x="786" y="1056"/>
                  </a:lnTo>
                  <a:lnTo>
                    <a:pt x="792" y="1050"/>
                  </a:lnTo>
                  <a:lnTo>
                    <a:pt x="786" y="1020"/>
                  </a:lnTo>
                  <a:lnTo>
                    <a:pt x="780" y="960"/>
                  </a:lnTo>
                  <a:lnTo>
                    <a:pt x="768" y="942"/>
                  </a:lnTo>
                  <a:lnTo>
                    <a:pt x="732" y="936"/>
                  </a:lnTo>
                  <a:lnTo>
                    <a:pt x="732" y="942"/>
                  </a:lnTo>
                  <a:lnTo>
                    <a:pt x="726" y="942"/>
                  </a:lnTo>
                  <a:lnTo>
                    <a:pt x="720" y="936"/>
                  </a:lnTo>
                  <a:lnTo>
                    <a:pt x="714" y="942"/>
                  </a:lnTo>
                  <a:lnTo>
                    <a:pt x="708" y="942"/>
                  </a:lnTo>
                  <a:lnTo>
                    <a:pt x="702" y="942"/>
                  </a:lnTo>
                  <a:lnTo>
                    <a:pt x="690" y="936"/>
                  </a:lnTo>
                  <a:lnTo>
                    <a:pt x="684" y="936"/>
                  </a:lnTo>
                  <a:lnTo>
                    <a:pt x="678" y="936"/>
                  </a:lnTo>
                  <a:lnTo>
                    <a:pt x="672" y="936"/>
                  </a:lnTo>
                  <a:lnTo>
                    <a:pt x="666" y="942"/>
                  </a:lnTo>
                  <a:lnTo>
                    <a:pt x="660" y="942"/>
                  </a:lnTo>
                  <a:lnTo>
                    <a:pt x="654" y="942"/>
                  </a:lnTo>
                  <a:lnTo>
                    <a:pt x="648" y="942"/>
                  </a:lnTo>
                  <a:lnTo>
                    <a:pt x="642" y="936"/>
                  </a:lnTo>
                  <a:lnTo>
                    <a:pt x="636" y="936"/>
                  </a:lnTo>
                  <a:lnTo>
                    <a:pt x="630" y="930"/>
                  </a:lnTo>
                  <a:lnTo>
                    <a:pt x="618" y="930"/>
                  </a:lnTo>
                  <a:lnTo>
                    <a:pt x="612" y="930"/>
                  </a:lnTo>
                  <a:lnTo>
                    <a:pt x="606" y="936"/>
                  </a:lnTo>
                  <a:lnTo>
                    <a:pt x="600" y="942"/>
                  </a:lnTo>
                  <a:lnTo>
                    <a:pt x="600" y="936"/>
                  </a:lnTo>
                  <a:lnTo>
                    <a:pt x="594" y="930"/>
                  </a:lnTo>
                  <a:lnTo>
                    <a:pt x="588" y="930"/>
                  </a:lnTo>
                  <a:lnTo>
                    <a:pt x="582" y="930"/>
                  </a:lnTo>
                  <a:lnTo>
                    <a:pt x="576" y="930"/>
                  </a:lnTo>
                  <a:lnTo>
                    <a:pt x="564" y="936"/>
                  </a:lnTo>
                  <a:lnTo>
                    <a:pt x="558" y="936"/>
                  </a:lnTo>
                  <a:lnTo>
                    <a:pt x="546" y="924"/>
                  </a:lnTo>
                  <a:lnTo>
                    <a:pt x="540" y="924"/>
                  </a:lnTo>
                  <a:lnTo>
                    <a:pt x="534" y="918"/>
                  </a:lnTo>
                  <a:lnTo>
                    <a:pt x="528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6" y="918"/>
                  </a:lnTo>
                  <a:lnTo>
                    <a:pt x="516" y="912"/>
                  </a:lnTo>
                  <a:lnTo>
                    <a:pt x="510" y="894"/>
                  </a:lnTo>
                  <a:lnTo>
                    <a:pt x="510" y="882"/>
                  </a:lnTo>
                  <a:lnTo>
                    <a:pt x="510" y="876"/>
                  </a:lnTo>
                  <a:lnTo>
                    <a:pt x="516" y="870"/>
                  </a:lnTo>
                  <a:lnTo>
                    <a:pt x="510" y="864"/>
                  </a:lnTo>
                  <a:lnTo>
                    <a:pt x="516" y="858"/>
                  </a:lnTo>
                  <a:lnTo>
                    <a:pt x="522" y="858"/>
                  </a:lnTo>
                  <a:lnTo>
                    <a:pt x="528" y="858"/>
                  </a:lnTo>
                  <a:lnTo>
                    <a:pt x="522" y="852"/>
                  </a:lnTo>
                  <a:lnTo>
                    <a:pt x="528" y="852"/>
                  </a:lnTo>
                  <a:lnTo>
                    <a:pt x="528" y="846"/>
                  </a:lnTo>
                  <a:lnTo>
                    <a:pt x="552" y="846"/>
                  </a:lnTo>
                  <a:lnTo>
                    <a:pt x="558" y="840"/>
                  </a:lnTo>
                  <a:lnTo>
                    <a:pt x="564" y="828"/>
                  </a:lnTo>
                  <a:lnTo>
                    <a:pt x="570" y="816"/>
                  </a:lnTo>
                  <a:lnTo>
                    <a:pt x="582" y="810"/>
                  </a:lnTo>
                  <a:lnTo>
                    <a:pt x="588" y="804"/>
                  </a:lnTo>
                  <a:lnTo>
                    <a:pt x="594" y="804"/>
                  </a:lnTo>
                  <a:lnTo>
                    <a:pt x="594" y="792"/>
                  </a:lnTo>
                  <a:lnTo>
                    <a:pt x="600" y="786"/>
                  </a:lnTo>
                  <a:lnTo>
                    <a:pt x="606" y="780"/>
                  </a:lnTo>
                  <a:lnTo>
                    <a:pt x="612" y="774"/>
                  </a:lnTo>
                  <a:lnTo>
                    <a:pt x="618" y="774"/>
                  </a:lnTo>
                  <a:lnTo>
                    <a:pt x="618" y="768"/>
                  </a:lnTo>
                  <a:lnTo>
                    <a:pt x="618" y="762"/>
                  </a:lnTo>
                  <a:lnTo>
                    <a:pt x="624" y="756"/>
                  </a:lnTo>
                  <a:lnTo>
                    <a:pt x="618" y="750"/>
                  </a:lnTo>
                  <a:lnTo>
                    <a:pt x="618" y="744"/>
                  </a:lnTo>
                  <a:lnTo>
                    <a:pt x="600" y="738"/>
                  </a:lnTo>
                  <a:lnTo>
                    <a:pt x="558" y="744"/>
                  </a:lnTo>
                  <a:lnTo>
                    <a:pt x="552" y="732"/>
                  </a:lnTo>
                  <a:lnTo>
                    <a:pt x="546" y="720"/>
                  </a:lnTo>
                  <a:lnTo>
                    <a:pt x="564" y="702"/>
                  </a:lnTo>
                  <a:lnTo>
                    <a:pt x="570" y="684"/>
                  </a:lnTo>
                  <a:lnTo>
                    <a:pt x="564" y="648"/>
                  </a:lnTo>
                  <a:lnTo>
                    <a:pt x="534" y="624"/>
                  </a:lnTo>
                  <a:lnTo>
                    <a:pt x="504" y="612"/>
                  </a:lnTo>
                  <a:lnTo>
                    <a:pt x="498" y="606"/>
                  </a:lnTo>
                  <a:lnTo>
                    <a:pt x="492" y="600"/>
                  </a:lnTo>
                  <a:lnTo>
                    <a:pt x="486" y="606"/>
                  </a:lnTo>
                  <a:lnTo>
                    <a:pt x="480" y="558"/>
                  </a:lnTo>
                  <a:lnTo>
                    <a:pt x="462" y="546"/>
                  </a:lnTo>
                  <a:lnTo>
                    <a:pt x="408" y="540"/>
                  </a:lnTo>
                  <a:lnTo>
                    <a:pt x="408" y="546"/>
                  </a:lnTo>
                  <a:lnTo>
                    <a:pt x="408" y="558"/>
                  </a:lnTo>
                  <a:lnTo>
                    <a:pt x="408" y="564"/>
                  </a:lnTo>
                  <a:lnTo>
                    <a:pt x="408" y="570"/>
                  </a:lnTo>
                  <a:lnTo>
                    <a:pt x="414" y="582"/>
                  </a:lnTo>
                  <a:lnTo>
                    <a:pt x="408" y="594"/>
                  </a:lnTo>
                  <a:lnTo>
                    <a:pt x="414" y="594"/>
                  </a:lnTo>
                  <a:lnTo>
                    <a:pt x="408" y="600"/>
                  </a:lnTo>
                  <a:lnTo>
                    <a:pt x="348" y="600"/>
                  </a:lnTo>
                  <a:lnTo>
                    <a:pt x="324" y="600"/>
                  </a:lnTo>
                  <a:lnTo>
                    <a:pt x="324" y="612"/>
                  </a:lnTo>
                  <a:lnTo>
                    <a:pt x="306" y="618"/>
                  </a:lnTo>
                  <a:lnTo>
                    <a:pt x="312" y="618"/>
                  </a:lnTo>
                  <a:lnTo>
                    <a:pt x="294" y="588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76"/>
                  </a:lnTo>
                  <a:lnTo>
                    <a:pt x="240" y="582"/>
                  </a:lnTo>
                  <a:lnTo>
                    <a:pt x="234" y="582"/>
                  </a:lnTo>
                  <a:lnTo>
                    <a:pt x="228" y="588"/>
                  </a:lnTo>
                  <a:lnTo>
                    <a:pt x="222" y="588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8" y="600"/>
                  </a:lnTo>
                  <a:lnTo>
                    <a:pt x="192" y="612"/>
                  </a:lnTo>
                  <a:lnTo>
                    <a:pt x="192" y="618"/>
                  </a:lnTo>
                  <a:lnTo>
                    <a:pt x="198" y="624"/>
                  </a:lnTo>
                  <a:lnTo>
                    <a:pt x="192" y="624"/>
                  </a:lnTo>
                  <a:lnTo>
                    <a:pt x="192" y="630"/>
                  </a:lnTo>
                  <a:lnTo>
                    <a:pt x="192" y="642"/>
                  </a:lnTo>
                  <a:lnTo>
                    <a:pt x="180" y="648"/>
                  </a:lnTo>
                  <a:lnTo>
                    <a:pt x="174" y="654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6"/>
                  </a:lnTo>
                  <a:lnTo>
                    <a:pt x="156" y="672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90"/>
                  </a:lnTo>
                  <a:lnTo>
                    <a:pt x="132" y="690"/>
                  </a:lnTo>
                  <a:lnTo>
                    <a:pt x="126" y="702"/>
                  </a:lnTo>
                  <a:lnTo>
                    <a:pt x="132" y="708"/>
                  </a:lnTo>
                  <a:lnTo>
                    <a:pt x="126" y="708"/>
                  </a:lnTo>
                  <a:lnTo>
                    <a:pt x="120" y="708"/>
                  </a:lnTo>
                  <a:lnTo>
                    <a:pt x="114" y="708"/>
                  </a:lnTo>
                  <a:lnTo>
                    <a:pt x="108" y="708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78" y="720"/>
                  </a:lnTo>
                  <a:lnTo>
                    <a:pt x="72" y="720"/>
                  </a:lnTo>
                  <a:lnTo>
                    <a:pt x="66" y="720"/>
                  </a:lnTo>
                  <a:lnTo>
                    <a:pt x="54" y="732"/>
                  </a:lnTo>
                  <a:lnTo>
                    <a:pt x="48" y="702"/>
                  </a:lnTo>
                  <a:lnTo>
                    <a:pt x="36" y="666"/>
                  </a:lnTo>
                  <a:lnTo>
                    <a:pt x="0" y="660"/>
                  </a:lnTo>
                  <a:lnTo>
                    <a:pt x="6" y="660"/>
                  </a:lnTo>
                  <a:lnTo>
                    <a:pt x="6" y="654"/>
                  </a:lnTo>
                  <a:lnTo>
                    <a:pt x="6" y="648"/>
                  </a:lnTo>
                  <a:lnTo>
                    <a:pt x="6" y="642"/>
                  </a:lnTo>
                  <a:lnTo>
                    <a:pt x="6" y="624"/>
                  </a:lnTo>
                  <a:lnTo>
                    <a:pt x="6" y="612"/>
                  </a:lnTo>
                  <a:lnTo>
                    <a:pt x="6" y="606"/>
                  </a:lnTo>
                  <a:lnTo>
                    <a:pt x="12" y="612"/>
                  </a:lnTo>
                  <a:lnTo>
                    <a:pt x="18" y="606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30" y="594"/>
                  </a:lnTo>
                  <a:lnTo>
                    <a:pt x="30" y="588"/>
                  </a:lnTo>
                  <a:lnTo>
                    <a:pt x="30" y="582"/>
                  </a:lnTo>
                  <a:lnTo>
                    <a:pt x="24" y="576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18" y="558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36" y="528"/>
                  </a:lnTo>
                  <a:lnTo>
                    <a:pt x="30" y="522"/>
                  </a:lnTo>
                  <a:lnTo>
                    <a:pt x="24" y="522"/>
                  </a:lnTo>
                  <a:lnTo>
                    <a:pt x="18" y="510"/>
                  </a:lnTo>
                  <a:lnTo>
                    <a:pt x="12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8" y="474"/>
                  </a:lnTo>
                  <a:lnTo>
                    <a:pt x="12" y="468"/>
                  </a:lnTo>
                  <a:lnTo>
                    <a:pt x="12" y="462"/>
                  </a:lnTo>
                  <a:lnTo>
                    <a:pt x="18" y="456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0" y="420"/>
                  </a:lnTo>
                  <a:lnTo>
                    <a:pt x="30" y="414"/>
                  </a:lnTo>
                  <a:lnTo>
                    <a:pt x="48" y="414"/>
                  </a:lnTo>
                  <a:lnTo>
                    <a:pt x="54" y="408"/>
                  </a:lnTo>
                  <a:lnTo>
                    <a:pt x="60" y="402"/>
                  </a:lnTo>
                  <a:lnTo>
                    <a:pt x="66" y="402"/>
                  </a:lnTo>
                  <a:lnTo>
                    <a:pt x="72" y="402"/>
                  </a:lnTo>
                  <a:lnTo>
                    <a:pt x="78" y="408"/>
                  </a:lnTo>
                  <a:lnTo>
                    <a:pt x="84" y="396"/>
                  </a:lnTo>
                  <a:lnTo>
                    <a:pt x="90" y="390"/>
                  </a:lnTo>
                  <a:lnTo>
                    <a:pt x="90" y="378"/>
                  </a:lnTo>
                  <a:lnTo>
                    <a:pt x="96" y="372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8" y="354"/>
                  </a:lnTo>
                  <a:lnTo>
                    <a:pt x="114" y="348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32" y="336"/>
                  </a:lnTo>
                  <a:lnTo>
                    <a:pt x="132" y="330"/>
                  </a:lnTo>
                  <a:lnTo>
                    <a:pt x="138" y="324"/>
                  </a:lnTo>
                  <a:lnTo>
                    <a:pt x="138" y="318"/>
                  </a:lnTo>
                  <a:lnTo>
                    <a:pt x="144" y="306"/>
                  </a:lnTo>
                  <a:lnTo>
                    <a:pt x="156" y="306"/>
                  </a:lnTo>
                  <a:lnTo>
                    <a:pt x="186" y="300"/>
                  </a:lnTo>
                  <a:lnTo>
                    <a:pt x="198" y="300"/>
                  </a:lnTo>
                  <a:lnTo>
                    <a:pt x="210" y="300"/>
                  </a:lnTo>
                  <a:lnTo>
                    <a:pt x="222" y="300"/>
                  </a:lnTo>
                  <a:lnTo>
                    <a:pt x="246" y="300"/>
                  </a:lnTo>
                  <a:lnTo>
                    <a:pt x="264" y="312"/>
                  </a:lnTo>
                  <a:lnTo>
                    <a:pt x="270" y="312"/>
                  </a:lnTo>
                  <a:lnTo>
                    <a:pt x="282" y="306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300" y="306"/>
                  </a:lnTo>
                  <a:lnTo>
                    <a:pt x="312" y="306"/>
                  </a:lnTo>
                  <a:lnTo>
                    <a:pt x="318" y="300"/>
                  </a:lnTo>
                  <a:lnTo>
                    <a:pt x="324" y="300"/>
                  </a:lnTo>
                  <a:lnTo>
                    <a:pt x="330" y="294"/>
                  </a:lnTo>
                  <a:lnTo>
                    <a:pt x="336" y="288"/>
                  </a:lnTo>
                  <a:lnTo>
                    <a:pt x="354" y="288"/>
                  </a:lnTo>
                  <a:lnTo>
                    <a:pt x="360" y="288"/>
                  </a:lnTo>
                  <a:lnTo>
                    <a:pt x="366" y="282"/>
                  </a:lnTo>
                  <a:lnTo>
                    <a:pt x="372" y="282"/>
                  </a:lnTo>
                  <a:lnTo>
                    <a:pt x="378" y="282"/>
                  </a:lnTo>
                  <a:lnTo>
                    <a:pt x="384" y="276"/>
                  </a:lnTo>
                  <a:lnTo>
                    <a:pt x="384" y="270"/>
                  </a:lnTo>
                  <a:lnTo>
                    <a:pt x="390" y="264"/>
                  </a:lnTo>
                  <a:lnTo>
                    <a:pt x="402" y="258"/>
                  </a:lnTo>
                  <a:lnTo>
                    <a:pt x="402" y="252"/>
                  </a:lnTo>
                  <a:lnTo>
                    <a:pt x="402" y="246"/>
                  </a:lnTo>
                  <a:lnTo>
                    <a:pt x="408" y="234"/>
                  </a:lnTo>
                  <a:lnTo>
                    <a:pt x="414" y="234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14" y="216"/>
                  </a:lnTo>
                  <a:lnTo>
                    <a:pt x="414" y="210"/>
                  </a:lnTo>
                  <a:lnTo>
                    <a:pt x="420" y="210"/>
                  </a:lnTo>
                  <a:lnTo>
                    <a:pt x="414" y="198"/>
                  </a:lnTo>
                  <a:lnTo>
                    <a:pt x="414" y="192"/>
                  </a:lnTo>
                  <a:lnTo>
                    <a:pt x="420" y="192"/>
                  </a:lnTo>
                  <a:lnTo>
                    <a:pt x="420" y="186"/>
                  </a:lnTo>
                  <a:lnTo>
                    <a:pt x="420" y="174"/>
                  </a:lnTo>
                  <a:lnTo>
                    <a:pt x="420" y="168"/>
                  </a:lnTo>
                  <a:lnTo>
                    <a:pt x="426" y="162"/>
                  </a:lnTo>
                  <a:lnTo>
                    <a:pt x="432" y="156"/>
                  </a:lnTo>
                  <a:lnTo>
                    <a:pt x="438" y="144"/>
                  </a:lnTo>
                  <a:lnTo>
                    <a:pt x="444" y="144"/>
                  </a:lnTo>
                  <a:lnTo>
                    <a:pt x="450" y="138"/>
                  </a:lnTo>
                  <a:lnTo>
                    <a:pt x="456" y="138"/>
                  </a:lnTo>
                  <a:lnTo>
                    <a:pt x="462" y="132"/>
                  </a:lnTo>
                  <a:lnTo>
                    <a:pt x="462" y="126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0"/>
                  </a:lnTo>
                  <a:lnTo>
                    <a:pt x="486" y="108"/>
                  </a:lnTo>
                  <a:lnTo>
                    <a:pt x="492" y="108"/>
                  </a:lnTo>
                  <a:lnTo>
                    <a:pt x="498" y="102"/>
                  </a:lnTo>
                  <a:lnTo>
                    <a:pt x="504" y="96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40" y="102"/>
                  </a:lnTo>
                  <a:lnTo>
                    <a:pt x="552" y="108"/>
                  </a:lnTo>
                  <a:lnTo>
                    <a:pt x="582" y="102"/>
                  </a:lnTo>
                  <a:lnTo>
                    <a:pt x="594" y="126"/>
                  </a:lnTo>
                  <a:lnTo>
                    <a:pt x="594" y="144"/>
                  </a:lnTo>
                  <a:lnTo>
                    <a:pt x="588" y="156"/>
                  </a:lnTo>
                  <a:lnTo>
                    <a:pt x="588" y="168"/>
                  </a:lnTo>
                  <a:lnTo>
                    <a:pt x="582" y="180"/>
                  </a:lnTo>
                  <a:lnTo>
                    <a:pt x="570" y="192"/>
                  </a:lnTo>
                  <a:lnTo>
                    <a:pt x="594" y="192"/>
                  </a:lnTo>
                  <a:lnTo>
                    <a:pt x="618" y="198"/>
                  </a:lnTo>
                  <a:lnTo>
                    <a:pt x="642" y="210"/>
                  </a:lnTo>
                  <a:lnTo>
                    <a:pt x="660" y="234"/>
                  </a:lnTo>
                  <a:lnTo>
                    <a:pt x="678" y="246"/>
                  </a:lnTo>
                  <a:lnTo>
                    <a:pt x="684" y="252"/>
                  </a:lnTo>
                  <a:lnTo>
                    <a:pt x="702" y="252"/>
                  </a:lnTo>
                  <a:lnTo>
                    <a:pt x="732" y="234"/>
                  </a:lnTo>
                  <a:lnTo>
                    <a:pt x="732" y="222"/>
                  </a:lnTo>
                  <a:lnTo>
                    <a:pt x="720" y="216"/>
                  </a:lnTo>
                  <a:lnTo>
                    <a:pt x="714" y="198"/>
                  </a:lnTo>
                  <a:lnTo>
                    <a:pt x="714" y="174"/>
                  </a:lnTo>
                  <a:lnTo>
                    <a:pt x="720" y="162"/>
                  </a:lnTo>
                  <a:lnTo>
                    <a:pt x="726" y="162"/>
                  </a:lnTo>
                  <a:lnTo>
                    <a:pt x="732" y="156"/>
                  </a:lnTo>
                  <a:lnTo>
                    <a:pt x="744" y="150"/>
                  </a:lnTo>
                  <a:lnTo>
                    <a:pt x="774" y="162"/>
                  </a:lnTo>
                  <a:lnTo>
                    <a:pt x="786" y="162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16" y="150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2" y="132"/>
                  </a:lnTo>
                  <a:lnTo>
                    <a:pt x="822" y="114"/>
                  </a:lnTo>
                  <a:lnTo>
                    <a:pt x="828" y="108"/>
                  </a:lnTo>
                  <a:lnTo>
                    <a:pt x="834" y="96"/>
                  </a:lnTo>
                  <a:lnTo>
                    <a:pt x="846" y="96"/>
                  </a:lnTo>
                  <a:lnTo>
                    <a:pt x="858" y="90"/>
                  </a:lnTo>
                  <a:lnTo>
                    <a:pt x="870" y="84"/>
                  </a:lnTo>
                  <a:lnTo>
                    <a:pt x="888" y="84"/>
                  </a:lnTo>
                  <a:lnTo>
                    <a:pt x="894" y="90"/>
                  </a:lnTo>
                  <a:lnTo>
                    <a:pt x="894" y="102"/>
                  </a:lnTo>
                  <a:lnTo>
                    <a:pt x="900" y="102"/>
                  </a:lnTo>
                  <a:lnTo>
                    <a:pt x="906" y="114"/>
                  </a:lnTo>
                  <a:lnTo>
                    <a:pt x="930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54" y="138"/>
                  </a:lnTo>
                  <a:lnTo>
                    <a:pt x="966" y="144"/>
                  </a:lnTo>
                  <a:lnTo>
                    <a:pt x="966" y="150"/>
                  </a:lnTo>
                  <a:lnTo>
                    <a:pt x="972" y="150"/>
                  </a:lnTo>
                  <a:lnTo>
                    <a:pt x="978" y="150"/>
                  </a:lnTo>
                  <a:lnTo>
                    <a:pt x="978" y="144"/>
                  </a:lnTo>
                  <a:lnTo>
                    <a:pt x="984" y="144"/>
                  </a:lnTo>
                  <a:lnTo>
                    <a:pt x="990" y="138"/>
                  </a:lnTo>
                  <a:lnTo>
                    <a:pt x="996" y="138"/>
                  </a:lnTo>
                  <a:lnTo>
                    <a:pt x="1002" y="138"/>
                  </a:lnTo>
                  <a:lnTo>
                    <a:pt x="1008" y="138"/>
                  </a:lnTo>
                  <a:lnTo>
                    <a:pt x="1026" y="132"/>
                  </a:lnTo>
                  <a:lnTo>
                    <a:pt x="1044" y="126"/>
                  </a:lnTo>
                  <a:lnTo>
                    <a:pt x="1056" y="120"/>
                  </a:lnTo>
                  <a:lnTo>
                    <a:pt x="1062" y="108"/>
                  </a:lnTo>
                  <a:lnTo>
                    <a:pt x="1056" y="102"/>
                  </a:lnTo>
                  <a:lnTo>
                    <a:pt x="1062" y="96"/>
                  </a:lnTo>
                  <a:lnTo>
                    <a:pt x="1074" y="90"/>
                  </a:lnTo>
                  <a:lnTo>
                    <a:pt x="1080" y="84"/>
                  </a:lnTo>
                  <a:lnTo>
                    <a:pt x="1128" y="84"/>
                  </a:lnTo>
                  <a:lnTo>
                    <a:pt x="1134" y="84"/>
                  </a:lnTo>
                  <a:lnTo>
                    <a:pt x="1140" y="78"/>
                  </a:lnTo>
                  <a:lnTo>
                    <a:pt x="1152" y="72"/>
                  </a:lnTo>
                  <a:lnTo>
                    <a:pt x="1164" y="66"/>
                  </a:lnTo>
                  <a:lnTo>
                    <a:pt x="1170" y="60"/>
                  </a:lnTo>
                  <a:lnTo>
                    <a:pt x="1188" y="48"/>
                  </a:lnTo>
                  <a:lnTo>
                    <a:pt x="1200" y="36"/>
                  </a:lnTo>
                  <a:lnTo>
                    <a:pt x="1218" y="24"/>
                  </a:lnTo>
                  <a:lnTo>
                    <a:pt x="1248" y="24"/>
                  </a:lnTo>
                  <a:lnTo>
                    <a:pt x="1272" y="24"/>
                  </a:lnTo>
                  <a:lnTo>
                    <a:pt x="1284" y="12"/>
                  </a:lnTo>
                  <a:lnTo>
                    <a:pt x="1302" y="0"/>
                  </a:lnTo>
                  <a:lnTo>
                    <a:pt x="1314" y="0"/>
                  </a:lnTo>
                  <a:lnTo>
                    <a:pt x="1326" y="18"/>
                  </a:lnTo>
                  <a:lnTo>
                    <a:pt x="1338" y="30"/>
                  </a:lnTo>
                  <a:lnTo>
                    <a:pt x="1338" y="54"/>
                  </a:lnTo>
                  <a:lnTo>
                    <a:pt x="1332" y="72"/>
                  </a:lnTo>
                  <a:lnTo>
                    <a:pt x="1326" y="72"/>
                  </a:lnTo>
                  <a:lnTo>
                    <a:pt x="1326" y="78"/>
                  </a:lnTo>
                  <a:lnTo>
                    <a:pt x="1326" y="102"/>
                  </a:lnTo>
                  <a:lnTo>
                    <a:pt x="1332" y="102"/>
                  </a:lnTo>
                  <a:lnTo>
                    <a:pt x="1332" y="108"/>
                  </a:lnTo>
                  <a:lnTo>
                    <a:pt x="1344" y="114"/>
                  </a:lnTo>
                  <a:lnTo>
                    <a:pt x="1350" y="114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404" y="132"/>
                  </a:lnTo>
                  <a:lnTo>
                    <a:pt x="1404" y="138"/>
                  </a:lnTo>
                  <a:lnTo>
                    <a:pt x="1410" y="150"/>
                  </a:lnTo>
                  <a:lnTo>
                    <a:pt x="1416" y="162"/>
                  </a:lnTo>
                  <a:lnTo>
                    <a:pt x="1428" y="168"/>
                  </a:lnTo>
                  <a:lnTo>
                    <a:pt x="1440" y="180"/>
                  </a:lnTo>
                  <a:lnTo>
                    <a:pt x="1476" y="174"/>
                  </a:lnTo>
                  <a:lnTo>
                    <a:pt x="1494" y="174"/>
                  </a:lnTo>
                  <a:lnTo>
                    <a:pt x="1512" y="192"/>
                  </a:lnTo>
                  <a:lnTo>
                    <a:pt x="1518" y="204"/>
                  </a:lnTo>
                  <a:lnTo>
                    <a:pt x="1530" y="216"/>
                  </a:lnTo>
                  <a:lnTo>
                    <a:pt x="1548" y="228"/>
                  </a:lnTo>
                  <a:lnTo>
                    <a:pt x="1548" y="234"/>
                  </a:lnTo>
                  <a:lnTo>
                    <a:pt x="1542" y="246"/>
                  </a:lnTo>
                  <a:lnTo>
                    <a:pt x="1560" y="246"/>
                  </a:lnTo>
                  <a:lnTo>
                    <a:pt x="1560" y="252"/>
                  </a:lnTo>
                  <a:lnTo>
                    <a:pt x="1566" y="258"/>
                  </a:lnTo>
                  <a:lnTo>
                    <a:pt x="1578" y="270"/>
                  </a:lnTo>
                  <a:lnTo>
                    <a:pt x="1596" y="270"/>
                  </a:lnTo>
                  <a:lnTo>
                    <a:pt x="1602" y="288"/>
                  </a:lnTo>
                  <a:lnTo>
                    <a:pt x="1608" y="306"/>
                  </a:lnTo>
                  <a:lnTo>
                    <a:pt x="1608" y="318"/>
                  </a:lnTo>
                  <a:lnTo>
                    <a:pt x="1608" y="324"/>
                  </a:lnTo>
                  <a:lnTo>
                    <a:pt x="1614" y="330"/>
                  </a:lnTo>
                  <a:lnTo>
                    <a:pt x="1614" y="336"/>
                  </a:lnTo>
                  <a:lnTo>
                    <a:pt x="1614" y="342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08" y="390"/>
                  </a:lnTo>
                  <a:lnTo>
                    <a:pt x="1602" y="390"/>
                  </a:lnTo>
                  <a:lnTo>
                    <a:pt x="1602" y="396"/>
                  </a:lnTo>
                  <a:lnTo>
                    <a:pt x="1584" y="420"/>
                  </a:lnTo>
                  <a:lnTo>
                    <a:pt x="1584" y="426"/>
                  </a:lnTo>
                  <a:lnTo>
                    <a:pt x="1602" y="474"/>
                  </a:lnTo>
                  <a:lnTo>
                    <a:pt x="1608" y="480"/>
                  </a:lnTo>
                  <a:lnTo>
                    <a:pt x="1608" y="486"/>
                  </a:lnTo>
                  <a:lnTo>
                    <a:pt x="1614" y="486"/>
                  </a:lnTo>
                  <a:lnTo>
                    <a:pt x="1608" y="504"/>
                  </a:lnTo>
                  <a:lnTo>
                    <a:pt x="1572" y="504"/>
                  </a:lnTo>
                  <a:lnTo>
                    <a:pt x="1560" y="510"/>
                  </a:lnTo>
                  <a:lnTo>
                    <a:pt x="1554" y="522"/>
                  </a:lnTo>
                  <a:lnTo>
                    <a:pt x="1560" y="552"/>
                  </a:lnTo>
                  <a:lnTo>
                    <a:pt x="1566" y="552"/>
                  </a:lnTo>
                  <a:lnTo>
                    <a:pt x="1566" y="558"/>
                  </a:lnTo>
                  <a:lnTo>
                    <a:pt x="1572" y="558"/>
                  </a:lnTo>
                  <a:lnTo>
                    <a:pt x="1578" y="558"/>
                  </a:lnTo>
                  <a:lnTo>
                    <a:pt x="1578" y="552"/>
                  </a:lnTo>
                  <a:lnTo>
                    <a:pt x="1584" y="552"/>
                  </a:lnTo>
                  <a:lnTo>
                    <a:pt x="1590" y="552"/>
                  </a:lnTo>
                  <a:lnTo>
                    <a:pt x="1590" y="546"/>
                  </a:lnTo>
                  <a:lnTo>
                    <a:pt x="1596" y="546"/>
                  </a:lnTo>
                  <a:lnTo>
                    <a:pt x="1602" y="552"/>
                  </a:lnTo>
                  <a:lnTo>
                    <a:pt x="1602" y="546"/>
                  </a:lnTo>
                  <a:lnTo>
                    <a:pt x="1608" y="546"/>
                  </a:lnTo>
                  <a:lnTo>
                    <a:pt x="1608" y="552"/>
                  </a:lnTo>
                  <a:lnTo>
                    <a:pt x="1614" y="552"/>
                  </a:lnTo>
                  <a:lnTo>
                    <a:pt x="1614" y="546"/>
                  </a:lnTo>
                  <a:lnTo>
                    <a:pt x="1620" y="552"/>
                  </a:lnTo>
                  <a:lnTo>
                    <a:pt x="1626" y="552"/>
                  </a:lnTo>
                  <a:lnTo>
                    <a:pt x="1626" y="558"/>
                  </a:lnTo>
                  <a:lnTo>
                    <a:pt x="1632" y="558"/>
                  </a:lnTo>
                  <a:lnTo>
                    <a:pt x="1638" y="558"/>
                  </a:lnTo>
                  <a:lnTo>
                    <a:pt x="1644" y="558"/>
                  </a:lnTo>
                  <a:lnTo>
                    <a:pt x="1650" y="558"/>
                  </a:lnTo>
                  <a:lnTo>
                    <a:pt x="1650" y="564"/>
                  </a:lnTo>
                  <a:lnTo>
                    <a:pt x="1656" y="564"/>
                  </a:lnTo>
                  <a:lnTo>
                    <a:pt x="1662" y="564"/>
                  </a:lnTo>
                  <a:lnTo>
                    <a:pt x="1668" y="564"/>
                  </a:lnTo>
                  <a:lnTo>
                    <a:pt x="1668" y="570"/>
                  </a:lnTo>
                  <a:lnTo>
                    <a:pt x="1674" y="570"/>
                  </a:lnTo>
                  <a:lnTo>
                    <a:pt x="1680" y="570"/>
                  </a:lnTo>
                  <a:lnTo>
                    <a:pt x="1686" y="576"/>
                  </a:lnTo>
                  <a:lnTo>
                    <a:pt x="1686" y="582"/>
                  </a:lnTo>
                  <a:lnTo>
                    <a:pt x="1710" y="588"/>
                  </a:lnTo>
                  <a:lnTo>
                    <a:pt x="1710" y="594"/>
                  </a:lnTo>
                  <a:lnTo>
                    <a:pt x="1704" y="600"/>
                  </a:lnTo>
                  <a:lnTo>
                    <a:pt x="1710" y="624"/>
                  </a:lnTo>
                  <a:lnTo>
                    <a:pt x="1698" y="672"/>
                  </a:lnTo>
                  <a:lnTo>
                    <a:pt x="1704" y="678"/>
                  </a:lnTo>
                  <a:lnTo>
                    <a:pt x="1716" y="684"/>
                  </a:lnTo>
                  <a:lnTo>
                    <a:pt x="1716" y="678"/>
                  </a:lnTo>
                  <a:lnTo>
                    <a:pt x="1716" y="684"/>
                  </a:lnTo>
                  <a:lnTo>
                    <a:pt x="1728" y="684"/>
                  </a:lnTo>
                  <a:lnTo>
                    <a:pt x="1728" y="690"/>
                  </a:lnTo>
                  <a:lnTo>
                    <a:pt x="1734" y="696"/>
                  </a:lnTo>
                  <a:lnTo>
                    <a:pt x="1734" y="702"/>
                  </a:lnTo>
                  <a:lnTo>
                    <a:pt x="1740" y="708"/>
                  </a:lnTo>
                  <a:lnTo>
                    <a:pt x="1740" y="714"/>
                  </a:lnTo>
                  <a:lnTo>
                    <a:pt x="1710" y="714"/>
                  </a:lnTo>
                  <a:lnTo>
                    <a:pt x="1710" y="756"/>
                  </a:lnTo>
                  <a:lnTo>
                    <a:pt x="1704" y="762"/>
                  </a:lnTo>
                  <a:lnTo>
                    <a:pt x="1698" y="762"/>
                  </a:lnTo>
                  <a:lnTo>
                    <a:pt x="1698" y="768"/>
                  </a:lnTo>
                  <a:lnTo>
                    <a:pt x="1698" y="774"/>
                  </a:lnTo>
                  <a:lnTo>
                    <a:pt x="1692" y="780"/>
                  </a:lnTo>
                  <a:lnTo>
                    <a:pt x="1692" y="786"/>
                  </a:lnTo>
                  <a:lnTo>
                    <a:pt x="1686" y="786"/>
                  </a:lnTo>
                  <a:lnTo>
                    <a:pt x="1668" y="798"/>
                  </a:lnTo>
                  <a:lnTo>
                    <a:pt x="1662" y="810"/>
                  </a:lnTo>
                  <a:lnTo>
                    <a:pt x="1650" y="810"/>
                  </a:lnTo>
                  <a:lnTo>
                    <a:pt x="1644" y="816"/>
                  </a:lnTo>
                  <a:lnTo>
                    <a:pt x="1638" y="816"/>
                  </a:lnTo>
                  <a:lnTo>
                    <a:pt x="1626" y="852"/>
                  </a:lnTo>
                  <a:lnTo>
                    <a:pt x="1620" y="888"/>
                  </a:lnTo>
                  <a:lnTo>
                    <a:pt x="1626" y="888"/>
                  </a:lnTo>
                  <a:lnTo>
                    <a:pt x="1638" y="912"/>
                  </a:lnTo>
                  <a:lnTo>
                    <a:pt x="1644" y="918"/>
                  </a:lnTo>
                  <a:lnTo>
                    <a:pt x="1650" y="966"/>
                  </a:lnTo>
                  <a:lnTo>
                    <a:pt x="1626" y="972"/>
                  </a:lnTo>
                  <a:lnTo>
                    <a:pt x="1608" y="978"/>
                  </a:lnTo>
                  <a:lnTo>
                    <a:pt x="1614" y="984"/>
                  </a:lnTo>
                  <a:lnTo>
                    <a:pt x="1620" y="984"/>
                  </a:lnTo>
                  <a:lnTo>
                    <a:pt x="1620" y="1020"/>
                  </a:lnTo>
                  <a:lnTo>
                    <a:pt x="1614" y="1038"/>
                  </a:lnTo>
                  <a:lnTo>
                    <a:pt x="1620" y="1044"/>
                  </a:lnTo>
                  <a:lnTo>
                    <a:pt x="1626" y="1056"/>
                  </a:lnTo>
                  <a:lnTo>
                    <a:pt x="1626" y="1074"/>
                  </a:lnTo>
                  <a:lnTo>
                    <a:pt x="1620" y="1080"/>
                  </a:lnTo>
                  <a:lnTo>
                    <a:pt x="1620" y="1104"/>
                  </a:lnTo>
                  <a:lnTo>
                    <a:pt x="1620" y="1110"/>
                  </a:lnTo>
                  <a:lnTo>
                    <a:pt x="1614" y="1116"/>
                  </a:lnTo>
                  <a:lnTo>
                    <a:pt x="1608" y="1140"/>
                  </a:lnTo>
                  <a:lnTo>
                    <a:pt x="1602" y="1146"/>
                  </a:lnTo>
                  <a:lnTo>
                    <a:pt x="1602" y="1164"/>
                  </a:lnTo>
                  <a:lnTo>
                    <a:pt x="1596" y="1170"/>
                  </a:lnTo>
                  <a:lnTo>
                    <a:pt x="1590" y="1164"/>
                  </a:lnTo>
                  <a:lnTo>
                    <a:pt x="1584" y="1164"/>
                  </a:lnTo>
                  <a:lnTo>
                    <a:pt x="1578" y="1164"/>
                  </a:lnTo>
                  <a:lnTo>
                    <a:pt x="1578" y="1188"/>
                  </a:lnTo>
                  <a:lnTo>
                    <a:pt x="1584" y="1194"/>
                  </a:lnTo>
                  <a:lnTo>
                    <a:pt x="1590" y="1194"/>
                  </a:lnTo>
                  <a:lnTo>
                    <a:pt x="1590" y="1212"/>
                  </a:lnTo>
                  <a:lnTo>
                    <a:pt x="1584" y="1212"/>
                  </a:lnTo>
                  <a:lnTo>
                    <a:pt x="1584" y="1224"/>
                  </a:lnTo>
                  <a:lnTo>
                    <a:pt x="1578" y="1224"/>
                  </a:lnTo>
                  <a:lnTo>
                    <a:pt x="1578" y="1236"/>
                  </a:lnTo>
                  <a:lnTo>
                    <a:pt x="1584" y="1254"/>
                  </a:lnTo>
                  <a:lnTo>
                    <a:pt x="1584" y="1260"/>
                  </a:lnTo>
                  <a:lnTo>
                    <a:pt x="1590" y="1260"/>
                  </a:lnTo>
                  <a:lnTo>
                    <a:pt x="1590" y="1266"/>
                  </a:lnTo>
                  <a:lnTo>
                    <a:pt x="1596" y="1284"/>
                  </a:lnTo>
                  <a:lnTo>
                    <a:pt x="1602" y="1278"/>
                  </a:lnTo>
                  <a:lnTo>
                    <a:pt x="1608" y="1284"/>
                  </a:lnTo>
                  <a:lnTo>
                    <a:pt x="1632" y="1350"/>
                  </a:lnTo>
                  <a:lnTo>
                    <a:pt x="1638" y="1356"/>
                  </a:lnTo>
                  <a:lnTo>
                    <a:pt x="1644" y="1356"/>
                  </a:lnTo>
                  <a:lnTo>
                    <a:pt x="1650" y="1356"/>
                  </a:lnTo>
                  <a:lnTo>
                    <a:pt x="1656" y="1356"/>
                  </a:lnTo>
                  <a:lnTo>
                    <a:pt x="1662" y="1362"/>
                  </a:lnTo>
                  <a:lnTo>
                    <a:pt x="1668" y="1356"/>
                  </a:lnTo>
                  <a:lnTo>
                    <a:pt x="1668" y="1380"/>
                  </a:lnTo>
                  <a:lnTo>
                    <a:pt x="1662" y="1392"/>
                  </a:lnTo>
                  <a:lnTo>
                    <a:pt x="1656" y="1404"/>
                  </a:lnTo>
                  <a:lnTo>
                    <a:pt x="1656" y="1410"/>
                  </a:lnTo>
                  <a:lnTo>
                    <a:pt x="1656" y="1416"/>
                  </a:lnTo>
                  <a:lnTo>
                    <a:pt x="1650" y="1422"/>
                  </a:lnTo>
                  <a:lnTo>
                    <a:pt x="1650" y="1428"/>
                  </a:lnTo>
                  <a:lnTo>
                    <a:pt x="1644" y="1428"/>
                  </a:lnTo>
                  <a:lnTo>
                    <a:pt x="1644" y="1434"/>
                  </a:lnTo>
                  <a:lnTo>
                    <a:pt x="1638" y="1434"/>
                  </a:lnTo>
                  <a:lnTo>
                    <a:pt x="1638" y="1440"/>
                  </a:lnTo>
                  <a:lnTo>
                    <a:pt x="1632" y="1440"/>
                  </a:lnTo>
                  <a:lnTo>
                    <a:pt x="1638" y="145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8" name="Freeform 13">
              <a:extLst>
                <a:ext uri="{FF2B5EF4-FFF2-40B4-BE49-F238E27FC236}">
                  <a16:creationId xmlns:a16="http://schemas.microsoft.com/office/drawing/2014/main" id="{66308D9B-1739-4227-AAC3-BB866CD1F5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63374" y="2969626"/>
              <a:ext cx="330956" cy="357840"/>
            </a:xfrm>
            <a:custGeom>
              <a:avLst/>
              <a:gdLst>
                <a:gd name="T0" fmla="*/ 11 w 624"/>
                <a:gd name="T1" fmla="*/ 59 h 672"/>
                <a:gd name="T2" fmla="*/ 4 w 624"/>
                <a:gd name="T3" fmla="*/ 58 h 672"/>
                <a:gd name="T4" fmla="*/ 3 w 624"/>
                <a:gd name="T5" fmla="*/ 58 h 672"/>
                <a:gd name="T6" fmla="*/ 2 w 624"/>
                <a:gd name="T7" fmla="*/ 11 h 672"/>
                <a:gd name="T8" fmla="*/ 13 w 624"/>
                <a:gd name="T9" fmla="*/ 11 h 672"/>
                <a:gd name="T10" fmla="*/ 14 w 624"/>
                <a:gd name="T11" fmla="*/ 11 h 672"/>
                <a:gd name="T12" fmla="*/ 15 w 624"/>
                <a:gd name="T13" fmla="*/ 12 h 672"/>
                <a:gd name="T14" fmla="*/ 18 w 624"/>
                <a:gd name="T15" fmla="*/ 14 h 672"/>
                <a:gd name="T16" fmla="*/ 21 w 624"/>
                <a:gd name="T17" fmla="*/ 16 h 672"/>
                <a:gd name="T18" fmla="*/ 22 w 624"/>
                <a:gd name="T19" fmla="*/ 18 h 672"/>
                <a:gd name="T20" fmla="*/ 23 w 624"/>
                <a:gd name="T21" fmla="*/ 19 h 672"/>
                <a:gd name="T22" fmla="*/ 24 w 624"/>
                <a:gd name="T23" fmla="*/ 19 h 672"/>
                <a:gd name="T24" fmla="*/ 26 w 624"/>
                <a:gd name="T25" fmla="*/ 19 h 672"/>
                <a:gd name="T26" fmla="*/ 27 w 624"/>
                <a:gd name="T27" fmla="*/ 18 h 672"/>
                <a:gd name="T28" fmla="*/ 29 w 624"/>
                <a:gd name="T29" fmla="*/ 15 h 672"/>
                <a:gd name="T30" fmla="*/ 30 w 624"/>
                <a:gd name="T31" fmla="*/ 14 h 672"/>
                <a:gd name="T32" fmla="*/ 31 w 624"/>
                <a:gd name="T33" fmla="*/ 12 h 672"/>
                <a:gd name="T34" fmla="*/ 32 w 624"/>
                <a:gd name="T35" fmla="*/ 12 h 672"/>
                <a:gd name="T36" fmla="*/ 33 w 624"/>
                <a:gd name="T37" fmla="*/ 10 h 672"/>
                <a:gd name="T38" fmla="*/ 34 w 624"/>
                <a:gd name="T39" fmla="*/ 8 h 672"/>
                <a:gd name="T40" fmla="*/ 34 w 624"/>
                <a:gd name="T41" fmla="*/ 6 h 672"/>
                <a:gd name="T42" fmla="*/ 35 w 624"/>
                <a:gd name="T43" fmla="*/ 4 h 672"/>
                <a:gd name="T44" fmla="*/ 42 w 624"/>
                <a:gd name="T45" fmla="*/ 3 h 672"/>
                <a:gd name="T46" fmla="*/ 44 w 624"/>
                <a:gd name="T47" fmla="*/ 2 h 672"/>
                <a:gd name="T48" fmla="*/ 46 w 624"/>
                <a:gd name="T49" fmla="*/ 0 h 672"/>
                <a:gd name="T50" fmla="*/ 51 w 624"/>
                <a:gd name="T51" fmla="*/ 3 h 672"/>
                <a:gd name="T52" fmla="*/ 54 w 624"/>
                <a:gd name="T53" fmla="*/ 6 h 672"/>
                <a:gd name="T54" fmla="*/ 54 w 624"/>
                <a:gd name="T55" fmla="*/ 8 h 672"/>
                <a:gd name="T56" fmla="*/ 52 w 624"/>
                <a:gd name="T57" fmla="*/ 9 h 672"/>
                <a:gd name="T58" fmla="*/ 49 w 624"/>
                <a:gd name="T59" fmla="*/ 11 h 672"/>
                <a:gd name="T60" fmla="*/ 48 w 624"/>
                <a:gd name="T61" fmla="*/ 14 h 672"/>
                <a:gd name="T62" fmla="*/ 46 w 624"/>
                <a:gd name="T63" fmla="*/ 22 h 672"/>
                <a:gd name="T64" fmla="*/ 45 w 624"/>
                <a:gd name="T65" fmla="*/ 39 h 672"/>
                <a:gd name="T66" fmla="*/ 43 w 624"/>
                <a:gd name="T67" fmla="*/ 43 h 672"/>
                <a:gd name="T68" fmla="*/ 39 w 624"/>
                <a:gd name="T69" fmla="*/ 50 h 672"/>
                <a:gd name="T70" fmla="*/ 36 w 624"/>
                <a:gd name="T71" fmla="*/ 53 h 672"/>
                <a:gd name="T72" fmla="*/ 32 w 624"/>
                <a:gd name="T73" fmla="*/ 56 h 672"/>
                <a:gd name="T74" fmla="*/ 30 w 624"/>
                <a:gd name="T75" fmla="*/ 58 h 672"/>
                <a:gd name="T76" fmla="*/ 20 w 624"/>
                <a:gd name="T77" fmla="*/ 59 h 672"/>
                <a:gd name="T78" fmla="*/ 15 w 624"/>
                <a:gd name="T79" fmla="*/ 59 h 67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24"/>
                <a:gd name="T121" fmla="*/ 0 h 672"/>
                <a:gd name="T122" fmla="*/ 624 w 624"/>
                <a:gd name="T123" fmla="*/ 672 h 67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24" h="672">
                  <a:moveTo>
                    <a:pt x="168" y="672"/>
                  </a:moveTo>
                  <a:lnTo>
                    <a:pt x="132" y="672"/>
                  </a:lnTo>
                  <a:lnTo>
                    <a:pt x="72" y="666"/>
                  </a:lnTo>
                  <a:lnTo>
                    <a:pt x="42" y="666"/>
                  </a:lnTo>
                  <a:lnTo>
                    <a:pt x="36" y="666"/>
                  </a:lnTo>
                  <a:lnTo>
                    <a:pt x="30" y="660"/>
                  </a:lnTo>
                  <a:lnTo>
                    <a:pt x="0" y="660"/>
                  </a:lnTo>
                  <a:lnTo>
                    <a:pt x="24" y="120"/>
                  </a:lnTo>
                  <a:lnTo>
                    <a:pt x="60" y="120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62" y="120"/>
                  </a:lnTo>
                  <a:lnTo>
                    <a:pt x="168" y="120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10" y="156"/>
                  </a:lnTo>
                  <a:lnTo>
                    <a:pt x="222" y="174"/>
                  </a:lnTo>
                  <a:lnTo>
                    <a:pt x="240" y="186"/>
                  </a:lnTo>
                  <a:lnTo>
                    <a:pt x="252" y="198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216"/>
                  </a:lnTo>
                  <a:lnTo>
                    <a:pt x="270" y="216"/>
                  </a:lnTo>
                  <a:lnTo>
                    <a:pt x="282" y="222"/>
                  </a:lnTo>
                  <a:lnTo>
                    <a:pt x="288" y="222"/>
                  </a:lnTo>
                  <a:lnTo>
                    <a:pt x="294" y="216"/>
                  </a:lnTo>
                  <a:lnTo>
                    <a:pt x="294" y="210"/>
                  </a:lnTo>
                  <a:lnTo>
                    <a:pt x="312" y="204"/>
                  </a:lnTo>
                  <a:lnTo>
                    <a:pt x="330" y="186"/>
                  </a:lnTo>
                  <a:lnTo>
                    <a:pt x="336" y="174"/>
                  </a:lnTo>
                  <a:lnTo>
                    <a:pt x="342" y="162"/>
                  </a:lnTo>
                  <a:lnTo>
                    <a:pt x="342" y="156"/>
                  </a:lnTo>
                  <a:lnTo>
                    <a:pt x="348" y="150"/>
                  </a:lnTo>
                  <a:lnTo>
                    <a:pt x="354" y="144"/>
                  </a:lnTo>
                  <a:lnTo>
                    <a:pt x="360" y="138"/>
                  </a:lnTo>
                  <a:lnTo>
                    <a:pt x="366" y="132"/>
                  </a:lnTo>
                  <a:lnTo>
                    <a:pt x="372" y="114"/>
                  </a:lnTo>
                  <a:lnTo>
                    <a:pt x="378" y="114"/>
                  </a:lnTo>
                  <a:lnTo>
                    <a:pt x="378" y="96"/>
                  </a:lnTo>
                  <a:lnTo>
                    <a:pt x="390" y="96"/>
                  </a:lnTo>
                  <a:lnTo>
                    <a:pt x="396" y="84"/>
                  </a:lnTo>
                  <a:lnTo>
                    <a:pt x="396" y="72"/>
                  </a:lnTo>
                  <a:lnTo>
                    <a:pt x="396" y="54"/>
                  </a:lnTo>
                  <a:lnTo>
                    <a:pt x="408" y="42"/>
                  </a:lnTo>
                  <a:lnTo>
                    <a:pt x="468" y="42"/>
                  </a:lnTo>
                  <a:lnTo>
                    <a:pt x="486" y="36"/>
                  </a:lnTo>
                  <a:lnTo>
                    <a:pt x="492" y="24"/>
                  </a:lnTo>
                  <a:lnTo>
                    <a:pt x="504" y="24"/>
                  </a:lnTo>
                  <a:lnTo>
                    <a:pt x="516" y="6"/>
                  </a:lnTo>
                  <a:lnTo>
                    <a:pt x="528" y="0"/>
                  </a:lnTo>
                  <a:lnTo>
                    <a:pt x="558" y="12"/>
                  </a:lnTo>
                  <a:lnTo>
                    <a:pt x="588" y="36"/>
                  </a:lnTo>
                  <a:lnTo>
                    <a:pt x="600" y="66"/>
                  </a:lnTo>
                  <a:lnTo>
                    <a:pt x="624" y="66"/>
                  </a:lnTo>
                  <a:lnTo>
                    <a:pt x="624" y="90"/>
                  </a:lnTo>
                  <a:lnTo>
                    <a:pt x="618" y="90"/>
                  </a:lnTo>
                  <a:lnTo>
                    <a:pt x="618" y="96"/>
                  </a:lnTo>
                  <a:lnTo>
                    <a:pt x="600" y="102"/>
                  </a:lnTo>
                  <a:lnTo>
                    <a:pt x="588" y="108"/>
                  </a:lnTo>
                  <a:lnTo>
                    <a:pt x="570" y="120"/>
                  </a:lnTo>
                  <a:lnTo>
                    <a:pt x="564" y="138"/>
                  </a:lnTo>
                  <a:lnTo>
                    <a:pt x="558" y="162"/>
                  </a:lnTo>
                  <a:lnTo>
                    <a:pt x="540" y="210"/>
                  </a:lnTo>
                  <a:lnTo>
                    <a:pt x="528" y="252"/>
                  </a:lnTo>
                  <a:lnTo>
                    <a:pt x="528" y="402"/>
                  </a:lnTo>
                  <a:lnTo>
                    <a:pt x="522" y="444"/>
                  </a:lnTo>
                  <a:lnTo>
                    <a:pt x="510" y="468"/>
                  </a:lnTo>
                  <a:lnTo>
                    <a:pt x="498" y="498"/>
                  </a:lnTo>
                  <a:lnTo>
                    <a:pt x="474" y="534"/>
                  </a:lnTo>
                  <a:lnTo>
                    <a:pt x="456" y="570"/>
                  </a:lnTo>
                  <a:lnTo>
                    <a:pt x="444" y="576"/>
                  </a:lnTo>
                  <a:lnTo>
                    <a:pt x="420" y="606"/>
                  </a:lnTo>
                  <a:lnTo>
                    <a:pt x="390" y="624"/>
                  </a:lnTo>
                  <a:lnTo>
                    <a:pt x="372" y="642"/>
                  </a:lnTo>
                  <a:lnTo>
                    <a:pt x="366" y="654"/>
                  </a:lnTo>
                  <a:lnTo>
                    <a:pt x="342" y="660"/>
                  </a:lnTo>
                  <a:lnTo>
                    <a:pt x="300" y="666"/>
                  </a:lnTo>
                  <a:lnTo>
                    <a:pt x="234" y="672"/>
                  </a:lnTo>
                  <a:lnTo>
                    <a:pt x="192" y="672"/>
                  </a:lnTo>
                  <a:lnTo>
                    <a:pt x="168" y="67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9" name="Freeform 14">
              <a:extLst>
                <a:ext uri="{FF2B5EF4-FFF2-40B4-BE49-F238E27FC236}">
                  <a16:creationId xmlns:a16="http://schemas.microsoft.com/office/drawing/2014/main" id="{2EA1E999-9CDF-4391-8BC9-7DE71AF9C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0460" y="2983045"/>
              <a:ext cx="905658" cy="561362"/>
            </a:xfrm>
            <a:custGeom>
              <a:avLst/>
              <a:gdLst>
                <a:gd name="T0" fmla="*/ 31 w 1704"/>
                <a:gd name="T1" fmla="*/ 78 h 1056"/>
                <a:gd name="T2" fmla="*/ 23 w 1704"/>
                <a:gd name="T3" fmla="*/ 78 h 1056"/>
                <a:gd name="T4" fmla="*/ 11 w 1704"/>
                <a:gd name="T5" fmla="*/ 79 h 1056"/>
                <a:gd name="T6" fmla="*/ 1 w 1704"/>
                <a:gd name="T7" fmla="*/ 81 h 1056"/>
                <a:gd name="T8" fmla="*/ 0 w 1704"/>
                <a:gd name="T9" fmla="*/ 62 h 1056"/>
                <a:gd name="T10" fmla="*/ 9 w 1704"/>
                <a:gd name="T11" fmla="*/ 56 h 1056"/>
                <a:gd name="T12" fmla="*/ 27 w 1704"/>
                <a:gd name="T13" fmla="*/ 48 h 1056"/>
                <a:gd name="T14" fmla="*/ 35 w 1704"/>
                <a:gd name="T15" fmla="*/ 20 h 1056"/>
                <a:gd name="T16" fmla="*/ 43 w 1704"/>
                <a:gd name="T17" fmla="*/ 6 h 1056"/>
                <a:gd name="T18" fmla="*/ 47 w 1704"/>
                <a:gd name="T19" fmla="*/ 7 h 1056"/>
                <a:gd name="T20" fmla="*/ 52 w 1704"/>
                <a:gd name="T21" fmla="*/ 0 h 1056"/>
                <a:gd name="T22" fmla="*/ 59 w 1704"/>
                <a:gd name="T23" fmla="*/ 5 h 1056"/>
                <a:gd name="T24" fmla="*/ 63 w 1704"/>
                <a:gd name="T25" fmla="*/ 12 h 1056"/>
                <a:gd name="T26" fmla="*/ 62 w 1704"/>
                <a:gd name="T27" fmla="*/ 15 h 1056"/>
                <a:gd name="T28" fmla="*/ 62 w 1704"/>
                <a:gd name="T29" fmla="*/ 18 h 1056"/>
                <a:gd name="T30" fmla="*/ 70 w 1704"/>
                <a:gd name="T31" fmla="*/ 18 h 1056"/>
                <a:gd name="T32" fmla="*/ 71 w 1704"/>
                <a:gd name="T33" fmla="*/ 14 h 1056"/>
                <a:gd name="T34" fmla="*/ 72 w 1704"/>
                <a:gd name="T35" fmla="*/ 12 h 1056"/>
                <a:gd name="T36" fmla="*/ 78 w 1704"/>
                <a:gd name="T37" fmla="*/ 14 h 1056"/>
                <a:gd name="T38" fmla="*/ 85 w 1704"/>
                <a:gd name="T39" fmla="*/ 21 h 1056"/>
                <a:gd name="T40" fmla="*/ 91 w 1704"/>
                <a:gd name="T41" fmla="*/ 15 h 1056"/>
                <a:gd name="T42" fmla="*/ 93 w 1704"/>
                <a:gd name="T43" fmla="*/ 10 h 1056"/>
                <a:gd name="T44" fmla="*/ 101 w 1704"/>
                <a:gd name="T45" fmla="*/ 14 h 1056"/>
                <a:gd name="T46" fmla="*/ 103 w 1704"/>
                <a:gd name="T47" fmla="*/ 19 h 1056"/>
                <a:gd name="T48" fmla="*/ 115 w 1704"/>
                <a:gd name="T49" fmla="*/ 20 h 1056"/>
                <a:gd name="T50" fmla="*/ 118 w 1704"/>
                <a:gd name="T51" fmla="*/ 23 h 1056"/>
                <a:gd name="T52" fmla="*/ 117 w 1704"/>
                <a:gd name="T53" fmla="*/ 27 h 1056"/>
                <a:gd name="T54" fmla="*/ 111 w 1704"/>
                <a:gd name="T55" fmla="*/ 33 h 1056"/>
                <a:gd name="T56" fmla="*/ 108 w 1704"/>
                <a:gd name="T57" fmla="*/ 36 h 1056"/>
                <a:gd name="T58" fmla="*/ 109 w 1704"/>
                <a:gd name="T59" fmla="*/ 40 h 1056"/>
                <a:gd name="T60" fmla="*/ 111 w 1704"/>
                <a:gd name="T61" fmla="*/ 43 h 1056"/>
                <a:gd name="T62" fmla="*/ 113 w 1704"/>
                <a:gd name="T63" fmla="*/ 50 h 1056"/>
                <a:gd name="T64" fmla="*/ 121 w 1704"/>
                <a:gd name="T65" fmla="*/ 55 h 1056"/>
                <a:gd name="T66" fmla="*/ 132 w 1704"/>
                <a:gd name="T67" fmla="*/ 52 h 1056"/>
                <a:gd name="T68" fmla="*/ 148 w 1704"/>
                <a:gd name="T69" fmla="*/ 58 h 1056"/>
                <a:gd name="T70" fmla="*/ 148 w 1704"/>
                <a:gd name="T71" fmla="*/ 61 h 1056"/>
                <a:gd name="T72" fmla="*/ 148 w 1704"/>
                <a:gd name="T73" fmla="*/ 64 h 1056"/>
                <a:gd name="T74" fmla="*/ 135 w 1704"/>
                <a:gd name="T75" fmla="*/ 61 h 1056"/>
                <a:gd name="T76" fmla="*/ 135 w 1704"/>
                <a:gd name="T77" fmla="*/ 66 h 1056"/>
                <a:gd name="T78" fmla="*/ 137 w 1704"/>
                <a:gd name="T79" fmla="*/ 71 h 1056"/>
                <a:gd name="T80" fmla="*/ 136 w 1704"/>
                <a:gd name="T81" fmla="*/ 79 h 1056"/>
                <a:gd name="T82" fmla="*/ 126 w 1704"/>
                <a:gd name="T83" fmla="*/ 84 h 1056"/>
                <a:gd name="T84" fmla="*/ 121 w 1704"/>
                <a:gd name="T85" fmla="*/ 79 h 1056"/>
                <a:gd name="T86" fmla="*/ 117 w 1704"/>
                <a:gd name="T87" fmla="*/ 75 h 1056"/>
                <a:gd name="T88" fmla="*/ 98 w 1704"/>
                <a:gd name="T89" fmla="*/ 74 h 1056"/>
                <a:gd name="T90" fmla="*/ 81 w 1704"/>
                <a:gd name="T91" fmla="*/ 75 h 1056"/>
                <a:gd name="T92" fmla="*/ 83 w 1704"/>
                <a:gd name="T93" fmla="*/ 88 h 1056"/>
                <a:gd name="T94" fmla="*/ 82 w 1704"/>
                <a:gd name="T95" fmla="*/ 91 h 1056"/>
                <a:gd name="T96" fmla="*/ 77 w 1704"/>
                <a:gd name="T97" fmla="*/ 90 h 1056"/>
                <a:gd name="T98" fmla="*/ 73 w 1704"/>
                <a:gd name="T99" fmla="*/ 86 h 1056"/>
                <a:gd name="T100" fmla="*/ 68 w 1704"/>
                <a:gd name="T101" fmla="*/ 85 h 1056"/>
                <a:gd name="T102" fmla="*/ 64 w 1704"/>
                <a:gd name="T103" fmla="*/ 83 h 1056"/>
                <a:gd name="T104" fmla="*/ 57 w 1704"/>
                <a:gd name="T105" fmla="*/ 81 h 1056"/>
                <a:gd name="T106" fmla="*/ 52 w 1704"/>
                <a:gd name="T107" fmla="*/ 80 h 1056"/>
                <a:gd name="T108" fmla="*/ 50 w 1704"/>
                <a:gd name="T109" fmla="*/ 80 h 1056"/>
                <a:gd name="T110" fmla="*/ 46 w 1704"/>
                <a:gd name="T111" fmla="*/ 79 h 1056"/>
                <a:gd name="T112" fmla="*/ 41 w 1704"/>
                <a:gd name="T113" fmla="*/ 78 h 10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04"/>
                <a:gd name="T172" fmla="*/ 0 h 1056"/>
                <a:gd name="T173" fmla="*/ 1704 w 1704"/>
                <a:gd name="T174" fmla="*/ 1056 h 10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04" h="1056">
                  <a:moveTo>
                    <a:pt x="450" y="888"/>
                  </a:moveTo>
                  <a:lnTo>
                    <a:pt x="420" y="888"/>
                  </a:lnTo>
                  <a:lnTo>
                    <a:pt x="414" y="888"/>
                  </a:lnTo>
                  <a:lnTo>
                    <a:pt x="396" y="888"/>
                  </a:lnTo>
                  <a:lnTo>
                    <a:pt x="372" y="888"/>
                  </a:lnTo>
                  <a:lnTo>
                    <a:pt x="366" y="888"/>
                  </a:lnTo>
                  <a:lnTo>
                    <a:pt x="360" y="888"/>
                  </a:lnTo>
                  <a:lnTo>
                    <a:pt x="348" y="888"/>
                  </a:lnTo>
                  <a:lnTo>
                    <a:pt x="330" y="894"/>
                  </a:lnTo>
                  <a:lnTo>
                    <a:pt x="324" y="894"/>
                  </a:lnTo>
                  <a:lnTo>
                    <a:pt x="312" y="888"/>
                  </a:lnTo>
                  <a:lnTo>
                    <a:pt x="300" y="888"/>
                  </a:lnTo>
                  <a:lnTo>
                    <a:pt x="282" y="888"/>
                  </a:lnTo>
                  <a:lnTo>
                    <a:pt x="270" y="888"/>
                  </a:lnTo>
                  <a:lnTo>
                    <a:pt x="240" y="882"/>
                  </a:lnTo>
                  <a:lnTo>
                    <a:pt x="222" y="882"/>
                  </a:lnTo>
                  <a:lnTo>
                    <a:pt x="198" y="882"/>
                  </a:lnTo>
                  <a:lnTo>
                    <a:pt x="174" y="894"/>
                  </a:lnTo>
                  <a:lnTo>
                    <a:pt x="162" y="900"/>
                  </a:lnTo>
                  <a:lnTo>
                    <a:pt x="144" y="906"/>
                  </a:lnTo>
                  <a:lnTo>
                    <a:pt x="126" y="912"/>
                  </a:lnTo>
                  <a:lnTo>
                    <a:pt x="102" y="924"/>
                  </a:lnTo>
                  <a:lnTo>
                    <a:pt x="78" y="930"/>
                  </a:lnTo>
                  <a:lnTo>
                    <a:pt x="72" y="936"/>
                  </a:lnTo>
                  <a:lnTo>
                    <a:pt x="30" y="954"/>
                  </a:lnTo>
                  <a:lnTo>
                    <a:pt x="12" y="966"/>
                  </a:lnTo>
                  <a:lnTo>
                    <a:pt x="12" y="954"/>
                  </a:lnTo>
                  <a:lnTo>
                    <a:pt x="12" y="930"/>
                  </a:lnTo>
                  <a:lnTo>
                    <a:pt x="12" y="894"/>
                  </a:lnTo>
                  <a:lnTo>
                    <a:pt x="30" y="828"/>
                  </a:lnTo>
                  <a:lnTo>
                    <a:pt x="36" y="798"/>
                  </a:lnTo>
                  <a:lnTo>
                    <a:pt x="18" y="774"/>
                  </a:lnTo>
                  <a:lnTo>
                    <a:pt x="18" y="756"/>
                  </a:lnTo>
                  <a:lnTo>
                    <a:pt x="6" y="738"/>
                  </a:lnTo>
                  <a:lnTo>
                    <a:pt x="0" y="714"/>
                  </a:lnTo>
                  <a:lnTo>
                    <a:pt x="12" y="678"/>
                  </a:lnTo>
                  <a:lnTo>
                    <a:pt x="18" y="678"/>
                  </a:lnTo>
                  <a:lnTo>
                    <a:pt x="24" y="672"/>
                  </a:lnTo>
                  <a:lnTo>
                    <a:pt x="30" y="666"/>
                  </a:lnTo>
                  <a:lnTo>
                    <a:pt x="42" y="648"/>
                  </a:lnTo>
                  <a:lnTo>
                    <a:pt x="66" y="648"/>
                  </a:lnTo>
                  <a:lnTo>
                    <a:pt x="108" y="648"/>
                  </a:lnTo>
                  <a:lnTo>
                    <a:pt x="174" y="642"/>
                  </a:lnTo>
                  <a:lnTo>
                    <a:pt x="216" y="636"/>
                  </a:lnTo>
                  <a:lnTo>
                    <a:pt x="240" y="630"/>
                  </a:lnTo>
                  <a:lnTo>
                    <a:pt x="246" y="618"/>
                  </a:lnTo>
                  <a:lnTo>
                    <a:pt x="264" y="600"/>
                  </a:lnTo>
                  <a:lnTo>
                    <a:pt x="294" y="582"/>
                  </a:lnTo>
                  <a:lnTo>
                    <a:pt x="318" y="552"/>
                  </a:lnTo>
                  <a:lnTo>
                    <a:pt x="330" y="546"/>
                  </a:lnTo>
                  <a:lnTo>
                    <a:pt x="348" y="510"/>
                  </a:lnTo>
                  <a:lnTo>
                    <a:pt x="372" y="474"/>
                  </a:lnTo>
                  <a:lnTo>
                    <a:pt x="384" y="444"/>
                  </a:lnTo>
                  <a:lnTo>
                    <a:pt x="396" y="420"/>
                  </a:lnTo>
                  <a:lnTo>
                    <a:pt x="402" y="378"/>
                  </a:lnTo>
                  <a:lnTo>
                    <a:pt x="402" y="228"/>
                  </a:lnTo>
                  <a:lnTo>
                    <a:pt x="414" y="186"/>
                  </a:lnTo>
                  <a:lnTo>
                    <a:pt x="432" y="138"/>
                  </a:lnTo>
                  <a:lnTo>
                    <a:pt x="438" y="114"/>
                  </a:lnTo>
                  <a:lnTo>
                    <a:pt x="444" y="96"/>
                  </a:lnTo>
                  <a:lnTo>
                    <a:pt x="462" y="84"/>
                  </a:lnTo>
                  <a:lnTo>
                    <a:pt x="474" y="78"/>
                  </a:lnTo>
                  <a:lnTo>
                    <a:pt x="492" y="72"/>
                  </a:lnTo>
                  <a:lnTo>
                    <a:pt x="492" y="66"/>
                  </a:lnTo>
                  <a:lnTo>
                    <a:pt x="498" y="66"/>
                  </a:lnTo>
                  <a:lnTo>
                    <a:pt x="510" y="66"/>
                  </a:lnTo>
                  <a:lnTo>
                    <a:pt x="510" y="72"/>
                  </a:lnTo>
                  <a:lnTo>
                    <a:pt x="516" y="72"/>
                  </a:lnTo>
                  <a:lnTo>
                    <a:pt x="522" y="78"/>
                  </a:lnTo>
                  <a:lnTo>
                    <a:pt x="546" y="78"/>
                  </a:lnTo>
                  <a:lnTo>
                    <a:pt x="552" y="60"/>
                  </a:lnTo>
                  <a:lnTo>
                    <a:pt x="570" y="42"/>
                  </a:lnTo>
                  <a:lnTo>
                    <a:pt x="576" y="24"/>
                  </a:lnTo>
                  <a:lnTo>
                    <a:pt x="588" y="18"/>
                  </a:lnTo>
                  <a:lnTo>
                    <a:pt x="588" y="12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624" y="0"/>
                  </a:lnTo>
                  <a:lnTo>
                    <a:pt x="636" y="6"/>
                  </a:lnTo>
                  <a:lnTo>
                    <a:pt x="648" y="24"/>
                  </a:lnTo>
                  <a:lnTo>
                    <a:pt x="654" y="48"/>
                  </a:lnTo>
                  <a:lnTo>
                    <a:pt x="672" y="60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0" y="72"/>
                  </a:lnTo>
                  <a:lnTo>
                    <a:pt x="690" y="78"/>
                  </a:lnTo>
                  <a:lnTo>
                    <a:pt x="696" y="90"/>
                  </a:lnTo>
                  <a:lnTo>
                    <a:pt x="714" y="114"/>
                  </a:lnTo>
                  <a:lnTo>
                    <a:pt x="714" y="120"/>
                  </a:lnTo>
                  <a:lnTo>
                    <a:pt x="720" y="132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20" y="150"/>
                  </a:lnTo>
                  <a:lnTo>
                    <a:pt x="714" y="150"/>
                  </a:lnTo>
                  <a:lnTo>
                    <a:pt x="714" y="156"/>
                  </a:lnTo>
                  <a:lnTo>
                    <a:pt x="714" y="162"/>
                  </a:lnTo>
                  <a:lnTo>
                    <a:pt x="708" y="162"/>
                  </a:lnTo>
                  <a:lnTo>
                    <a:pt x="708" y="168"/>
                  </a:lnTo>
                  <a:lnTo>
                    <a:pt x="702" y="168"/>
                  </a:lnTo>
                  <a:lnTo>
                    <a:pt x="702" y="174"/>
                  </a:lnTo>
                  <a:lnTo>
                    <a:pt x="702" y="180"/>
                  </a:lnTo>
                  <a:lnTo>
                    <a:pt x="708" y="180"/>
                  </a:lnTo>
                  <a:lnTo>
                    <a:pt x="708" y="186"/>
                  </a:lnTo>
                  <a:lnTo>
                    <a:pt x="708" y="192"/>
                  </a:lnTo>
                  <a:lnTo>
                    <a:pt x="714" y="204"/>
                  </a:lnTo>
                  <a:lnTo>
                    <a:pt x="726" y="216"/>
                  </a:lnTo>
                  <a:lnTo>
                    <a:pt x="738" y="216"/>
                  </a:lnTo>
                  <a:lnTo>
                    <a:pt x="768" y="222"/>
                  </a:lnTo>
                  <a:lnTo>
                    <a:pt x="780" y="216"/>
                  </a:lnTo>
                  <a:lnTo>
                    <a:pt x="792" y="204"/>
                  </a:lnTo>
                  <a:lnTo>
                    <a:pt x="798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6" y="192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6" y="174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22" y="156"/>
                  </a:lnTo>
                  <a:lnTo>
                    <a:pt x="822" y="150"/>
                  </a:lnTo>
                  <a:lnTo>
                    <a:pt x="828" y="144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8" y="138"/>
                  </a:lnTo>
                  <a:lnTo>
                    <a:pt x="834" y="132"/>
                  </a:lnTo>
                  <a:lnTo>
                    <a:pt x="840" y="132"/>
                  </a:lnTo>
                  <a:lnTo>
                    <a:pt x="864" y="126"/>
                  </a:lnTo>
                  <a:lnTo>
                    <a:pt x="906" y="144"/>
                  </a:lnTo>
                  <a:lnTo>
                    <a:pt x="906" y="150"/>
                  </a:lnTo>
                  <a:lnTo>
                    <a:pt x="906" y="156"/>
                  </a:lnTo>
                  <a:lnTo>
                    <a:pt x="900" y="162"/>
                  </a:lnTo>
                  <a:lnTo>
                    <a:pt x="924" y="168"/>
                  </a:lnTo>
                  <a:lnTo>
                    <a:pt x="942" y="192"/>
                  </a:lnTo>
                  <a:lnTo>
                    <a:pt x="972" y="210"/>
                  </a:lnTo>
                  <a:lnTo>
                    <a:pt x="972" y="216"/>
                  </a:lnTo>
                  <a:lnTo>
                    <a:pt x="972" y="228"/>
                  </a:lnTo>
                  <a:lnTo>
                    <a:pt x="978" y="234"/>
                  </a:lnTo>
                  <a:lnTo>
                    <a:pt x="978" y="246"/>
                  </a:lnTo>
                  <a:lnTo>
                    <a:pt x="984" y="252"/>
                  </a:lnTo>
                  <a:lnTo>
                    <a:pt x="1014" y="252"/>
                  </a:lnTo>
                  <a:lnTo>
                    <a:pt x="1020" y="228"/>
                  </a:lnTo>
                  <a:lnTo>
                    <a:pt x="1026" y="198"/>
                  </a:lnTo>
                  <a:lnTo>
                    <a:pt x="1050" y="186"/>
                  </a:lnTo>
                  <a:lnTo>
                    <a:pt x="1056" y="180"/>
                  </a:lnTo>
                  <a:lnTo>
                    <a:pt x="1050" y="174"/>
                  </a:lnTo>
                  <a:lnTo>
                    <a:pt x="1050" y="168"/>
                  </a:lnTo>
                  <a:lnTo>
                    <a:pt x="1050" y="162"/>
                  </a:lnTo>
                  <a:lnTo>
                    <a:pt x="1056" y="162"/>
                  </a:lnTo>
                  <a:lnTo>
                    <a:pt x="1062" y="162"/>
                  </a:lnTo>
                  <a:lnTo>
                    <a:pt x="1074" y="162"/>
                  </a:lnTo>
                  <a:lnTo>
                    <a:pt x="1074" y="144"/>
                  </a:lnTo>
                  <a:lnTo>
                    <a:pt x="1074" y="120"/>
                  </a:lnTo>
                  <a:lnTo>
                    <a:pt x="1092" y="120"/>
                  </a:lnTo>
                  <a:lnTo>
                    <a:pt x="1098" y="126"/>
                  </a:lnTo>
                  <a:lnTo>
                    <a:pt x="1134" y="132"/>
                  </a:lnTo>
                  <a:lnTo>
                    <a:pt x="1146" y="132"/>
                  </a:lnTo>
                  <a:lnTo>
                    <a:pt x="1158" y="150"/>
                  </a:lnTo>
                  <a:lnTo>
                    <a:pt x="1158" y="156"/>
                  </a:lnTo>
                  <a:lnTo>
                    <a:pt x="1158" y="162"/>
                  </a:lnTo>
                  <a:lnTo>
                    <a:pt x="1158" y="180"/>
                  </a:lnTo>
                  <a:lnTo>
                    <a:pt x="1158" y="186"/>
                  </a:lnTo>
                  <a:lnTo>
                    <a:pt x="1164" y="192"/>
                  </a:lnTo>
                  <a:lnTo>
                    <a:pt x="1176" y="198"/>
                  </a:lnTo>
                  <a:lnTo>
                    <a:pt x="1182" y="198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8"/>
                  </a:lnTo>
                  <a:lnTo>
                    <a:pt x="1188" y="234"/>
                  </a:lnTo>
                  <a:lnTo>
                    <a:pt x="1212" y="234"/>
                  </a:lnTo>
                  <a:lnTo>
                    <a:pt x="1242" y="234"/>
                  </a:lnTo>
                  <a:lnTo>
                    <a:pt x="1248" y="234"/>
                  </a:lnTo>
                  <a:lnTo>
                    <a:pt x="1278" y="240"/>
                  </a:lnTo>
                  <a:lnTo>
                    <a:pt x="1320" y="234"/>
                  </a:lnTo>
                  <a:lnTo>
                    <a:pt x="1332" y="228"/>
                  </a:lnTo>
                  <a:lnTo>
                    <a:pt x="1344" y="228"/>
                  </a:lnTo>
                  <a:lnTo>
                    <a:pt x="1350" y="234"/>
                  </a:lnTo>
                  <a:lnTo>
                    <a:pt x="1350" y="240"/>
                  </a:lnTo>
                  <a:lnTo>
                    <a:pt x="1356" y="246"/>
                  </a:lnTo>
                  <a:lnTo>
                    <a:pt x="1350" y="252"/>
                  </a:lnTo>
                  <a:lnTo>
                    <a:pt x="1356" y="264"/>
                  </a:lnTo>
                  <a:lnTo>
                    <a:pt x="1356" y="270"/>
                  </a:lnTo>
                  <a:lnTo>
                    <a:pt x="1356" y="276"/>
                  </a:lnTo>
                  <a:lnTo>
                    <a:pt x="1356" y="282"/>
                  </a:lnTo>
                  <a:lnTo>
                    <a:pt x="1356" y="288"/>
                  </a:lnTo>
                  <a:lnTo>
                    <a:pt x="1350" y="294"/>
                  </a:lnTo>
                  <a:lnTo>
                    <a:pt x="1344" y="300"/>
                  </a:lnTo>
                  <a:lnTo>
                    <a:pt x="1344" y="306"/>
                  </a:lnTo>
                  <a:lnTo>
                    <a:pt x="1338" y="312"/>
                  </a:lnTo>
                  <a:lnTo>
                    <a:pt x="1326" y="342"/>
                  </a:lnTo>
                  <a:lnTo>
                    <a:pt x="1320" y="348"/>
                  </a:lnTo>
                  <a:lnTo>
                    <a:pt x="1314" y="354"/>
                  </a:lnTo>
                  <a:lnTo>
                    <a:pt x="1290" y="354"/>
                  </a:lnTo>
                  <a:lnTo>
                    <a:pt x="1284" y="360"/>
                  </a:lnTo>
                  <a:lnTo>
                    <a:pt x="1278" y="378"/>
                  </a:lnTo>
                  <a:lnTo>
                    <a:pt x="1278" y="384"/>
                  </a:lnTo>
                  <a:lnTo>
                    <a:pt x="1272" y="390"/>
                  </a:lnTo>
                  <a:lnTo>
                    <a:pt x="1266" y="396"/>
                  </a:lnTo>
                  <a:lnTo>
                    <a:pt x="1260" y="396"/>
                  </a:lnTo>
                  <a:lnTo>
                    <a:pt x="1248" y="402"/>
                  </a:lnTo>
                  <a:lnTo>
                    <a:pt x="1242" y="408"/>
                  </a:lnTo>
                  <a:lnTo>
                    <a:pt x="1242" y="414"/>
                  </a:lnTo>
                  <a:lnTo>
                    <a:pt x="1242" y="420"/>
                  </a:lnTo>
                  <a:lnTo>
                    <a:pt x="1236" y="432"/>
                  </a:lnTo>
                  <a:lnTo>
                    <a:pt x="1242" y="432"/>
                  </a:lnTo>
                  <a:lnTo>
                    <a:pt x="1242" y="444"/>
                  </a:lnTo>
                  <a:lnTo>
                    <a:pt x="1242" y="456"/>
                  </a:lnTo>
                  <a:lnTo>
                    <a:pt x="1248" y="456"/>
                  </a:lnTo>
                  <a:lnTo>
                    <a:pt x="1254" y="462"/>
                  </a:lnTo>
                  <a:lnTo>
                    <a:pt x="1248" y="468"/>
                  </a:lnTo>
                  <a:lnTo>
                    <a:pt x="1254" y="468"/>
                  </a:lnTo>
                  <a:lnTo>
                    <a:pt x="1266" y="474"/>
                  </a:lnTo>
                  <a:lnTo>
                    <a:pt x="1266" y="480"/>
                  </a:lnTo>
                  <a:lnTo>
                    <a:pt x="1266" y="486"/>
                  </a:lnTo>
                  <a:lnTo>
                    <a:pt x="1272" y="486"/>
                  </a:lnTo>
                  <a:lnTo>
                    <a:pt x="1272" y="492"/>
                  </a:lnTo>
                  <a:lnTo>
                    <a:pt x="1290" y="510"/>
                  </a:lnTo>
                  <a:lnTo>
                    <a:pt x="1296" y="516"/>
                  </a:lnTo>
                  <a:lnTo>
                    <a:pt x="1302" y="540"/>
                  </a:lnTo>
                  <a:lnTo>
                    <a:pt x="1302" y="546"/>
                  </a:lnTo>
                  <a:lnTo>
                    <a:pt x="1302" y="558"/>
                  </a:lnTo>
                  <a:lnTo>
                    <a:pt x="1302" y="570"/>
                  </a:lnTo>
                  <a:lnTo>
                    <a:pt x="1302" y="576"/>
                  </a:lnTo>
                  <a:lnTo>
                    <a:pt x="1344" y="570"/>
                  </a:lnTo>
                  <a:lnTo>
                    <a:pt x="1350" y="582"/>
                  </a:lnTo>
                  <a:lnTo>
                    <a:pt x="1368" y="594"/>
                  </a:lnTo>
                  <a:lnTo>
                    <a:pt x="1374" y="600"/>
                  </a:lnTo>
                  <a:lnTo>
                    <a:pt x="1380" y="600"/>
                  </a:lnTo>
                  <a:lnTo>
                    <a:pt x="1380" y="618"/>
                  </a:lnTo>
                  <a:lnTo>
                    <a:pt x="1386" y="624"/>
                  </a:lnTo>
                  <a:lnTo>
                    <a:pt x="1404" y="624"/>
                  </a:lnTo>
                  <a:lnTo>
                    <a:pt x="1410" y="612"/>
                  </a:lnTo>
                  <a:lnTo>
                    <a:pt x="1428" y="606"/>
                  </a:lnTo>
                  <a:lnTo>
                    <a:pt x="1488" y="606"/>
                  </a:lnTo>
                  <a:lnTo>
                    <a:pt x="1506" y="606"/>
                  </a:lnTo>
                  <a:lnTo>
                    <a:pt x="1512" y="600"/>
                  </a:lnTo>
                  <a:lnTo>
                    <a:pt x="1524" y="594"/>
                  </a:lnTo>
                  <a:lnTo>
                    <a:pt x="1554" y="594"/>
                  </a:lnTo>
                  <a:lnTo>
                    <a:pt x="1578" y="606"/>
                  </a:lnTo>
                  <a:lnTo>
                    <a:pt x="1596" y="624"/>
                  </a:lnTo>
                  <a:lnTo>
                    <a:pt x="1650" y="642"/>
                  </a:lnTo>
                  <a:lnTo>
                    <a:pt x="1686" y="648"/>
                  </a:lnTo>
                  <a:lnTo>
                    <a:pt x="1698" y="654"/>
                  </a:lnTo>
                  <a:lnTo>
                    <a:pt x="1698" y="660"/>
                  </a:lnTo>
                  <a:lnTo>
                    <a:pt x="1692" y="666"/>
                  </a:lnTo>
                  <a:lnTo>
                    <a:pt x="1692" y="672"/>
                  </a:lnTo>
                  <a:lnTo>
                    <a:pt x="1698" y="678"/>
                  </a:lnTo>
                  <a:lnTo>
                    <a:pt x="1698" y="684"/>
                  </a:lnTo>
                  <a:lnTo>
                    <a:pt x="1692" y="684"/>
                  </a:lnTo>
                  <a:lnTo>
                    <a:pt x="1692" y="690"/>
                  </a:lnTo>
                  <a:lnTo>
                    <a:pt x="1698" y="696"/>
                  </a:lnTo>
                  <a:lnTo>
                    <a:pt x="1698" y="702"/>
                  </a:lnTo>
                  <a:lnTo>
                    <a:pt x="1698" y="708"/>
                  </a:lnTo>
                  <a:lnTo>
                    <a:pt x="1704" y="714"/>
                  </a:lnTo>
                  <a:lnTo>
                    <a:pt x="1704" y="720"/>
                  </a:lnTo>
                  <a:lnTo>
                    <a:pt x="1704" y="726"/>
                  </a:lnTo>
                  <a:lnTo>
                    <a:pt x="1704" y="732"/>
                  </a:lnTo>
                  <a:lnTo>
                    <a:pt x="1704" y="738"/>
                  </a:lnTo>
                  <a:lnTo>
                    <a:pt x="1698" y="726"/>
                  </a:lnTo>
                  <a:lnTo>
                    <a:pt x="1668" y="720"/>
                  </a:lnTo>
                  <a:lnTo>
                    <a:pt x="1626" y="714"/>
                  </a:lnTo>
                  <a:lnTo>
                    <a:pt x="1614" y="708"/>
                  </a:lnTo>
                  <a:lnTo>
                    <a:pt x="1578" y="696"/>
                  </a:lnTo>
                  <a:lnTo>
                    <a:pt x="1566" y="696"/>
                  </a:lnTo>
                  <a:lnTo>
                    <a:pt x="1548" y="702"/>
                  </a:lnTo>
                  <a:lnTo>
                    <a:pt x="1542" y="714"/>
                  </a:lnTo>
                  <a:lnTo>
                    <a:pt x="1536" y="732"/>
                  </a:lnTo>
                  <a:lnTo>
                    <a:pt x="1530" y="750"/>
                  </a:lnTo>
                  <a:lnTo>
                    <a:pt x="1536" y="750"/>
                  </a:lnTo>
                  <a:lnTo>
                    <a:pt x="1542" y="756"/>
                  </a:lnTo>
                  <a:lnTo>
                    <a:pt x="1542" y="762"/>
                  </a:lnTo>
                  <a:lnTo>
                    <a:pt x="1548" y="762"/>
                  </a:lnTo>
                  <a:lnTo>
                    <a:pt x="1554" y="762"/>
                  </a:lnTo>
                  <a:lnTo>
                    <a:pt x="1554" y="768"/>
                  </a:lnTo>
                  <a:lnTo>
                    <a:pt x="1560" y="774"/>
                  </a:lnTo>
                  <a:lnTo>
                    <a:pt x="1566" y="774"/>
                  </a:lnTo>
                  <a:lnTo>
                    <a:pt x="1584" y="792"/>
                  </a:lnTo>
                  <a:lnTo>
                    <a:pt x="1584" y="810"/>
                  </a:lnTo>
                  <a:lnTo>
                    <a:pt x="1572" y="816"/>
                  </a:lnTo>
                  <a:lnTo>
                    <a:pt x="1578" y="834"/>
                  </a:lnTo>
                  <a:lnTo>
                    <a:pt x="1578" y="846"/>
                  </a:lnTo>
                  <a:lnTo>
                    <a:pt x="1584" y="858"/>
                  </a:lnTo>
                  <a:lnTo>
                    <a:pt x="1590" y="864"/>
                  </a:lnTo>
                  <a:lnTo>
                    <a:pt x="1590" y="876"/>
                  </a:lnTo>
                  <a:lnTo>
                    <a:pt x="1578" y="888"/>
                  </a:lnTo>
                  <a:lnTo>
                    <a:pt x="1560" y="906"/>
                  </a:lnTo>
                  <a:lnTo>
                    <a:pt x="1536" y="930"/>
                  </a:lnTo>
                  <a:lnTo>
                    <a:pt x="1530" y="930"/>
                  </a:lnTo>
                  <a:lnTo>
                    <a:pt x="1506" y="942"/>
                  </a:lnTo>
                  <a:lnTo>
                    <a:pt x="1488" y="948"/>
                  </a:lnTo>
                  <a:lnTo>
                    <a:pt x="1476" y="954"/>
                  </a:lnTo>
                  <a:lnTo>
                    <a:pt x="1458" y="960"/>
                  </a:lnTo>
                  <a:lnTo>
                    <a:pt x="1452" y="966"/>
                  </a:lnTo>
                  <a:lnTo>
                    <a:pt x="1446" y="966"/>
                  </a:lnTo>
                  <a:lnTo>
                    <a:pt x="1434" y="972"/>
                  </a:lnTo>
                  <a:lnTo>
                    <a:pt x="1434" y="954"/>
                  </a:lnTo>
                  <a:lnTo>
                    <a:pt x="1422" y="942"/>
                  </a:lnTo>
                  <a:lnTo>
                    <a:pt x="1398" y="924"/>
                  </a:lnTo>
                  <a:lnTo>
                    <a:pt x="1398" y="912"/>
                  </a:lnTo>
                  <a:lnTo>
                    <a:pt x="1398" y="906"/>
                  </a:lnTo>
                  <a:lnTo>
                    <a:pt x="1398" y="900"/>
                  </a:lnTo>
                  <a:lnTo>
                    <a:pt x="1380" y="900"/>
                  </a:lnTo>
                  <a:lnTo>
                    <a:pt x="1380" y="894"/>
                  </a:lnTo>
                  <a:lnTo>
                    <a:pt x="1368" y="888"/>
                  </a:lnTo>
                  <a:lnTo>
                    <a:pt x="1362" y="882"/>
                  </a:lnTo>
                  <a:lnTo>
                    <a:pt x="1356" y="876"/>
                  </a:lnTo>
                  <a:lnTo>
                    <a:pt x="1350" y="864"/>
                  </a:lnTo>
                  <a:lnTo>
                    <a:pt x="1344" y="858"/>
                  </a:lnTo>
                  <a:lnTo>
                    <a:pt x="1314" y="870"/>
                  </a:lnTo>
                  <a:lnTo>
                    <a:pt x="1272" y="876"/>
                  </a:lnTo>
                  <a:lnTo>
                    <a:pt x="1218" y="870"/>
                  </a:lnTo>
                  <a:lnTo>
                    <a:pt x="1200" y="864"/>
                  </a:lnTo>
                  <a:lnTo>
                    <a:pt x="1182" y="864"/>
                  </a:lnTo>
                  <a:lnTo>
                    <a:pt x="1134" y="858"/>
                  </a:lnTo>
                  <a:lnTo>
                    <a:pt x="1110" y="840"/>
                  </a:lnTo>
                  <a:lnTo>
                    <a:pt x="1086" y="828"/>
                  </a:lnTo>
                  <a:lnTo>
                    <a:pt x="1044" y="816"/>
                  </a:lnTo>
                  <a:lnTo>
                    <a:pt x="1014" y="816"/>
                  </a:lnTo>
                  <a:lnTo>
                    <a:pt x="990" y="822"/>
                  </a:lnTo>
                  <a:lnTo>
                    <a:pt x="948" y="858"/>
                  </a:lnTo>
                  <a:lnTo>
                    <a:pt x="930" y="864"/>
                  </a:lnTo>
                  <a:lnTo>
                    <a:pt x="924" y="876"/>
                  </a:lnTo>
                  <a:lnTo>
                    <a:pt x="918" y="906"/>
                  </a:lnTo>
                  <a:lnTo>
                    <a:pt x="924" y="930"/>
                  </a:lnTo>
                  <a:lnTo>
                    <a:pt x="948" y="984"/>
                  </a:lnTo>
                  <a:lnTo>
                    <a:pt x="954" y="1008"/>
                  </a:lnTo>
                  <a:lnTo>
                    <a:pt x="948" y="1014"/>
                  </a:lnTo>
                  <a:lnTo>
                    <a:pt x="954" y="1014"/>
                  </a:lnTo>
                  <a:lnTo>
                    <a:pt x="954" y="1032"/>
                  </a:lnTo>
                  <a:lnTo>
                    <a:pt x="966" y="1044"/>
                  </a:lnTo>
                  <a:lnTo>
                    <a:pt x="960" y="1056"/>
                  </a:lnTo>
                  <a:lnTo>
                    <a:pt x="954" y="1056"/>
                  </a:lnTo>
                  <a:lnTo>
                    <a:pt x="948" y="1056"/>
                  </a:lnTo>
                  <a:lnTo>
                    <a:pt x="942" y="1056"/>
                  </a:lnTo>
                  <a:lnTo>
                    <a:pt x="936" y="1050"/>
                  </a:lnTo>
                  <a:lnTo>
                    <a:pt x="930" y="1044"/>
                  </a:lnTo>
                  <a:lnTo>
                    <a:pt x="924" y="1044"/>
                  </a:lnTo>
                  <a:lnTo>
                    <a:pt x="918" y="1038"/>
                  </a:lnTo>
                  <a:lnTo>
                    <a:pt x="912" y="1038"/>
                  </a:lnTo>
                  <a:lnTo>
                    <a:pt x="906" y="1032"/>
                  </a:lnTo>
                  <a:lnTo>
                    <a:pt x="900" y="1032"/>
                  </a:lnTo>
                  <a:lnTo>
                    <a:pt x="888" y="1026"/>
                  </a:lnTo>
                  <a:lnTo>
                    <a:pt x="882" y="1026"/>
                  </a:lnTo>
                  <a:lnTo>
                    <a:pt x="876" y="1026"/>
                  </a:lnTo>
                  <a:lnTo>
                    <a:pt x="864" y="1014"/>
                  </a:lnTo>
                  <a:lnTo>
                    <a:pt x="846" y="1008"/>
                  </a:lnTo>
                  <a:lnTo>
                    <a:pt x="840" y="996"/>
                  </a:lnTo>
                  <a:lnTo>
                    <a:pt x="840" y="990"/>
                  </a:lnTo>
                  <a:lnTo>
                    <a:pt x="834" y="990"/>
                  </a:lnTo>
                  <a:lnTo>
                    <a:pt x="828" y="990"/>
                  </a:lnTo>
                  <a:lnTo>
                    <a:pt x="816" y="990"/>
                  </a:lnTo>
                  <a:lnTo>
                    <a:pt x="810" y="990"/>
                  </a:lnTo>
                  <a:lnTo>
                    <a:pt x="804" y="984"/>
                  </a:lnTo>
                  <a:lnTo>
                    <a:pt x="792" y="978"/>
                  </a:lnTo>
                  <a:lnTo>
                    <a:pt x="786" y="972"/>
                  </a:lnTo>
                  <a:lnTo>
                    <a:pt x="780" y="972"/>
                  </a:lnTo>
                  <a:lnTo>
                    <a:pt x="768" y="966"/>
                  </a:lnTo>
                  <a:lnTo>
                    <a:pt x="762" y="966"/>
                  </a:lnTo>
                  <a:lnTo>
                    <a:pt x="756" y="966"/>
                  </a:lnTo>
                  <a:lnTo>
                    <a:pt x="750" y="966"/>
                  </a:lnTo>
                  <a:lnTo>
                    <a:pt x="744" y="966"/>
                  </a:lnTo>
                  <a:lnTo>
                    <a:pt x="738" y="960"/>
                  </a:lnTo>
                  <a:lnTo>
                    <a:pt x="732" y="954"/>
                  </a:lnTo>
                  <a:lnTo>
                    <a:pt x="720" y="954"/>
                  </a:lnTo>
                  <a:lnTo>
                    <a:pt x="714" y="948"/>
                  </a:lnTo>
                  <a:lnTo>
                    <a:pt x="708" y="948"/>
                  </a:lnTo>
                  <a:lnTo>
                    <a:pt x="696" y="948"/>
                  </a:lnTo>
                  <a:lnTo>
                    <a:pt x="684" y="942"/>
                  </a:lnTo>
                  <a:lnTo>
                    <a:pt x="678" y="936"/>
                  </a:lnTo>
                  <a:lnTo>
                    <a:pt x="660" y="930"/>
                  </a:lnTo>
                  <a:lnTo>
                    <a:pt x="642" y="924"/>
                  </a:lnTo>
                  <a:lnTo>
                    <a:pt x="636" y="924"/>
                  </a:lnTo>
                  <a:lnTo>
                    <a:pt x="630" y="924"/>
                  </a:lnTo>
                  <a:lnTo>
                    <a:pt x="618" y="924"/>
                  </a:lnTo>
                  <a:lnTo>
                    <a:pt x="618" y="918"/>
                  </a:lnTo>
                  <a:lnTo>
                    <a:pt x="606" y="918"/>
                  </a:lnTo>
                  <a:lnTo>
                    <a:pt x="600" y="918"/>
                  </a:lnTo>
                  <a:lnTo>
                    <a:pt x="594" y="918"/>
                  </a:lnTo>
                  <a:lnTo>
                    <a:pt x="594" y="912"/>
                  </a:lnTo>
                  <a:lnTo>
                    <a:pt x="588" y="912"/>
                  </a:lnTo>
                  <a:lnTo>
                    <a:pt x="582" y="912"/>
                  </a:lnTo>
                  <a:lnTo>
                    <a:pt x="582" y="918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58" y="918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12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00"/>
                  </a:lnTo>
                  <a:lnTo>
                    <a:pt x="516" y="900"/>
                  </a:lnTo>
                  <a:lnTo>
                    <a:pt x="510" y="900"/>
                  </a:lnTo>
                  <a:lnTo>
                    <a:pt x="486" y="894"/>
                  </a:lnTo>
                  <a:lnTo>
                    <a:pt x="474" y="888"/>
                  </a:lnTo>
                  <a:lnTo>
                    <a:pt x="468" y="888"/>
                  </a:lnTo>
                  <a:lnTo>
                    <a:pt x="450" y="88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0" name="Freeform 15">
              <a:extLst>
                <a:ext uri="{FF2B5EF4-FFF2-40B4-BE49-F238E27FC236}">
                  <a16:creationId xmlns:a16="http://schemas.microsoft.com/office/drawing/2014/main" id="{8B991D7A-45C6-40F6-A035-24DFC733305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382" y="2652043"/>
              <a:ext cx="724526" cy="695552"/>
            </a:xfrm>
            <a:custGeom>
              <a:avLst/>
              <a:gdLst>
                <a:gd name="T0" fmla="*/ 44 w 1362"/>
                <a:gd name="T1" fmla="*/ 106 h 1308"/>
                <a:gd name="T2" fmla="*/ 32 w 1362"/>
                <a:gd name="T3" fmla="*/ 109 h 1308"/>
                <a:gd name="T4" fmla="*/ 25 w 1362"/>
                <a:gd name="T5" fmla="*/ 105 h 1308"/>
                <a:gd name="T6" fmla="*/ 22 w 1362"/>
                <a:gd name="T7" fmla="*/ 97 h 1308"/>
                <a:gd name="T8" fmla="*/ 21 w 1362"/>
                <a:gd name="T9" fmla="*/ 95 h 1308"/>
                <a:gd name="T10" fmla="*/ 20 w 1362"/>
                <a:gd name="T11" fmla="*/ 90 h 1308"/>
                <a:gd name="T12" fmla="*/ 23 w 1362"/>
                <a:gd name="T13" fmla="*/ 87 h 1308"/>
                <a:gd name="T14" fmla="*/ 29 w 1362"/>
                <a:gd name="T15" fmla="*/ 81 h 1308"/>
                <a:gd name="T16" fmla="*/ 30 w 1362"/>
                <a:gd name="T17" fmla="*/ 78 h 1308"/>
                <a:gd name="T18" fmla="*/ 27 w 1362"/>
                <a:gd name="T19" fmla="*/ 75 h 1308"/>
                <a:gd name="T20" fmla="*/ 15 w 1362"/>
                <a:gd name="T21" fmla="*/ 73 h 1308"/>
                <a:gd name="T22" fmla="*/ 12 w 1362"/>
                <a:gd name="T23" fmla="*/ 69 h 1308"/>
                <a:gd name="T24" fmla="*/ 5 w 1362"/>
                <a:gd name="T25" fmla="*/ 65 h 1308"/>
                <a:gd name="T26" fmla="*/ 6 w 1362"/>
                <a:gd name="T27" fmla="*/ 62 h 1308"/>
                <a:gd name="T28" fmla="*/ 7 w 1362"/>
                <a:gd name="T29" fmla="*/ 56 h 1308"/>
                <a:gd name="T30" fmla="*/ 2 w 1362"/>
                <a:gd name="T31" fmla="*/ 49 h 1308"/>
                <a:gd name="T32" fmla="*/ 0 w 1362"/>
                <a:gd name="T33" fmla="*/ 44 h 1308"/>
                <a:gd name="T34" fmla="*/ 0 w 1362"/>
                <a:gd name="T35" fmla="*/ 39 h 1308"/>
                <a:gd name="T36" fmla="*/ 3 w 1362"/>
                <a:gd name="T37" fmla="*/ 35 h 1308"/>
                <a:gd name="T38" fmla="*/ 3 w 1362"/>
                <a:gd name="T39" fmla="*/ 28 h 1308"/>
                <a:gd name="T40" fmla="*/ 6 w 1362"/>
                <a:gd name="T41" fmla="*/ 18 h 1308"/>
                <a:gd name="T42" fmla="*/ 6 w 1362"/>
                <a:gd name="T43" fmla="*/ 8 h 1308"/>
                <a:gd name="T44" fmla="*/ 10 w 1362"/>
                <a:gd name="T45" fmla="*/ 5 h 1308"/>
                <a:gd name="T46" fmla="*/ 15 w 1362"/>
                <a:gd name="T47" fmla="*/ 0 h 1308"/>
                <a:gd name="T48" fmla="*/ 21 w 1362"/>
                <a:gd name="T49" fmla="*/ 7 h 1308"/>
                <a:gd name="T50" fmla="*/ 25 w 1362"/>
                <a:gd name="T51" fmla="*/ 15 h 1308"/>
                <a:gd name="T52" fmla="*/ 24 w 1362"/>
                <a:gd name="T53" fmla="*/ 19 h 1308"/>
                <a:gd name="T54" fmla="*/ 32 w 1362"/>
                <a:gd name="T55" fmla="*/ 19 h 1308"/>
                <a:gd name="T56" fmla="*/ 35 w 1362"/>
                <a:gd name="T57" fmla="*/ 20 h 1308"/>
                <a:gd name="T58" fmla="*/ 40 w 1362"/>
                <a:gd name="T59" fmla="*/ 23 h 1308"/>
                <a:gd name="T60" fmla="*/ 40 w 1362"/>
                <a:gd name="T61" fmla="*/ 26 h 1308"/>
                <a:gd name="T62" fmla="*/ 34 w 1362"/>
                <a:gd name="T63" fmla="*/ 35 h 1308"/>
                <a:gd name="T64" fmla="*/ 41 w 1362"/>
                <a:gd name="T65" fmla="*/ 37 h 1308"/>
                <a:gd name="T66" fmla="*/ 43 w 1362"/>
                <a:gd name="T67" fmla="*/ 44 h 1308"/>
                <a:gd name="T68" fmla="*/ 48 w 1362"/>
                <a:gd name="T69" fmla="*/ 47 h 1308"/>
                <a:gd name="T70" fmla="*/ 57 w 1362"/>
                <a:gd name="T71" fmla="*/ 48 h 1308"/>
                <a:gd name="T72" fmla="*/ 70 w 1362"/>
                <a:gd name="T73" fmla="*/ 44 h 1308"/>
                <a:gd name="T74" fmla="*/ 80 w 1362"/>
                <a:gd name="T75" fmla="*/ 34 h 1308"/>
                <a:gd name="T76" fmla="*/ 95 w 1362"/>
                <a:gd name="T77" fmla="*/ 41 h 1308"/>
                <a:gd name="T78" fmla="*/ 109 w 1362"/>
                <a:gd name="T79" fmla="*/ 47 h 1308"/>
                <a:gd name="T80" fmla="*/ 111 w 1362"/>
                <a:gd name="T81" fmla="*/ 50 h 1308"/>
                <a:gd name="T82" fmla="*/ 113 w 1362"/>
                <a:gd name="T83" fmla="*/ 53 h 1308"/>
                <a:gd name="T84" fmla="*/ 113 w 1362"/>
                <a:gd name="T85" fmla="*/ 55 h 1308"/>
                <a:gd name="T86" fmla="*/ 113 w 1362"/>
                <a:gd name="T87" fmla="*/ 59 h 1308"/>
                <a:gd name="T88" fmla="*/ 113 w 1362"/>
                <a:gd name="T89" fmla="*/ 62 h 1308"/>
                <a:gd name="T90" fmla="*/ 115 w 1362"/>
                <a:gd name="T91" fmla="*/ 65 h 1308"/>
                <a:gd name="T92" fmla="*/ 115 w 1362"/>
                <a:gd name="T93" fmla="*/ 67 h 1308"/>
                <a:gd name="T94" fmla="*/ 116 w 1362"/>
                <a:gd name="T95" fmla="*/ 69 h 1308"/>
                <a:gd name="T96" fmla="*/ 116 w 1362"/>
                <a:gd name="T97" fmla="*/ 71 h 1308"/>
                <a:gd name="T98" fmla="*/ 118 w 1362"/>
                <a:gd name="T99" fmla="*/ 75 h 1308"/>
                <a:gd name="T100" fmla="*/ 116 w 1362"/>
                <a:gd name="T101" fmla="*/ 77 h 1308"/>
                <a:gd name="T102" fmla="*/ 116 w 1362"/>
                <a:gd name="T103" fmla="*/ 79 h 1308"/>
                <a:gd name="T104" fmla="*/ 101 w 1362"/>
                <a:gd name="T105" fmla="*/ 87 h 1308"/>
                <a:gd name="T106" fmla="*/ 85 w 1362"/>
                <a:gd name="T107" fmla="*/ 103 h 1308"/>
                <a:gd name="T108" fmla="*/ 67 w 1362"/>
                <a:gd name="T109" fmla="*/ 114 h 130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62"/>
                <a:gd name="T166" fmla="*/ 0 h 1308"/>
                <a:gd name="T167" fmla="*/ 1362 w 1362"/>
                <a:gd name="T168" fmla="*/ 1308 h 130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62" h="1308">
                  <a:moveTo>
                    <a:pt x="684" y="1278"/>
                  </a:moveTo>
                  <a:lnTo>
                    <a:pt x="672" y="1272"/>
                  </a:lnTo>
                  <a:lnTo>
                    <a:pt x="636" y="1266"/>
                  </a:lnTo>
                  <a:lnTo>
                    <a:pt x="582" y="1248"/>
                  </a:lnTo>
                  <a:lnTo>
                    <a:pt x="564" y="1230"/>
                  </a:lnTo>
                  <a:lnTo>
                    <a:pt x="540" y="1218"/>
                  </a:lnTo>
                  <a:lnTo>
                    <a:pt x="510" y="1218"/>
                  </a:lnTo>
                  <a:lnTo>
                    <a:pt x="498" y="1224"/>
                  </a:lnTo>
                  <a:lnTo>
                    <a:pt x="492" y="1230"/>
                  </a:lnTo>
                  <a:lnTo>
                    <a:pt x="474" y="1230"/>
                  </a:lnTo>
                  <a:lnTo>
                    <a:pt x="414" y="1230"/>
                  </a:lnTo>
                  <a:lnTo>
                    <a:pt x="396" y="1236"/>
                  </a:lnTo>
                  <a:lnTo>
                    <a:pt x="390" y="1248"/>
                  </a:lnTo>
                  <a:lnTo>
                    <a:pt x="372" y="1248"/>
                  </a:lnTo>
                  <a:lnTo>
                    <a:pt x="366" y="1242"/>
                  </a:lnTo>
                  <a:lnTo>
                    <a:pt x="366" y="1224"/>
                  </a:lnTo>
                  <a:lnTo>
                    <a:pt x="360" y="1224"/>
                  </a:lnTo>
                  <a:lnTo>
                    <a:pt x="354" y="1218"/>
                  </a:lnTo>
                  <a:lnTo>
                    <a:pt x="336" y="1206"/>
                  </a:lnTo>
                  <a:lnTo>
                    <a:pt x="330" y="1194"/>
                  </a:lnTo>
                  <a:lnTo>
                    <a:pt x="288" y="1200"/>
                  </a:lnTo>
                  <a:lnTo>
                    <a:pt x="288" y="1194"/>
                  </a:lnTo>
                  <a:lnTo>
                    <a:pt x="288" y="1182"/>
                  </a:lnTo>
                  <a:lnTo>
                    <a:pt x="288" y="1170"/>
                  </a:lnTo>
                  <a:lnTo>
                    <a:pt x="288" y="1164"/>
                  </a:lnTo>
                  <a:lnTo>
                    <a:pt x="282" y="1140"/>
                  </a:lnTo>
                  <a:lnTo>
                    <a:pt x="276" y="1134"/>
                  </a:lnTo>
                  <a:lnTo>
                    <a:pt x="258" y="1116"/>
                  </a:lnTo>
                  <a:lnTo>
                    <a:pt x="258" y="1110"/>
                  </a:lnTo>
                  <a:lnTo>
                    <a:pt x="252" y="1110"/>
                  </a:lnTo>
                  <a:lnTo>
                    <a:pt x="252" y="1104"/>
                  </a:lnTo>
                  <a:lnTo>
                    <a:pt x="252" y="1098"/>
                  </a:lnTo>
                  <a:lnTo>
                    <a:pt x="240" y="1092"/>
                  </a:lnTo>
                  <a:lnTo>
                    <a:pt x="234" y="1092"/>
                  </a:lnTo>
                  <a:lnTo>
                    <a:pt x="240" y="1086"/>
                  </a:lnTo>
                  <a:lnTo>
                    <a:pt x="234" y="1080"/>
                  </a:lnTo>
                  <a:lnTo>
                    <a:pt x="228" y="1080"/>
                  </a:lnTo>
                  <a:lnTo>
                    <a:pt x="228" y="1068"/>
                  </a:lnTo>
                  <a:lnTo>
                    <a:pt x="228" y="1056"/>
                  </a:lnTo>
                  <a:lnTo>
                    <a:pt x="222" y="1056"/>
                  </a:lnTo>
                  <a:lnTo>
                    <a:pt x="228" y="1044"/>
                  </a:lnTo>
                  <a:lnTo>
                    <a:pt x="228" y="1038"/>
                  </a:lnTo>
                  <a:lnTo>
                    <a:pt x="228" y="1032"/>
                  </a:lnTo>
                  <a:lnTo>
                    <a:pt x="234" y="1026"/>
                  </a:lnTo>
                  <a:lnTo>
                    <a:pt x="246" y="1020"/>
                  </a:lnTo>
                  <a:lnTo>
                    <a:pt x="252" y="1020"/>
                  </a:lnTo>
                  <a:lnTo>
                    <a:pt x="258" y="1014"/>
                  </a:lnTo>
                  <a:lnTo>
                    <a:pt x="264" y="1008"/>
                  </a:lnTo>
                  <a:lnTo>
                    <a:pt x="264" y="1002"/>
                  </a:lnTo>
                  <a:lnTo>
                    <a:pt x="270" y="984"/>
                  </a:lnTo>
                  <a:lnTo>
                    <a:pt x="276" y="978"/>
                  </a:lnTo>
                  <a:lnTo>
                    <a:pt x="300" y="978"/>
                  </a:lnTo>
                  <a:lnTo>
                    <a:pt x="306" y="972"/>
                  </a:lnTo>
                  <a:lnTo>
                    <a:pt x="312" y="966"/>
                  </a:lnTo>
                  <a:lnTo>
                    <a:pt x="324" y="936"/>
                  </a:lnTo>
                  <a:lnTo>
                    <a:pt x="330" y="930"/>
                  </a:lnTo>
                  <a:lnTo>
                    <a:pt x="330" y="924"/>
                  </a:lnTo>
                  <a:lnTo>
                    <a:pt x="336" y="918"/>
                  </a:lnTo>
                  <a:lnTo>
                    <a:pt x="342" y="912"/>
                  </a:lnTo>
                  <a:lnTo>
                    <a:pt x="342" y="906"/>
                  </a:lnTo>
                  <a:lnTo>
                    <a:pt x="342" y="900"/>
                  </a:lnTo>
                  <a:lnTo>
                    <a:pt x="342" y="894"/>
                  </a:lnTo>
                  <a:lnTo>
                    <a:pt x="342" y="888"/>
                  </a:lnTo>
                  <a:lnTo>
                    <a:pt x="336" y="876"/>
                  </a:lnTo>
                  <a:lnTo>
                    <a:pt x="342" y="870"/>
                  </a:lnTo>
                  <a:lnTo>
                    <a:pt x="336" y="864"/>
                  </a:lnTo>
                  <a:lnTo>
                    <a:pt x="336" y="858"/>
                  </a:lnTo>
                  <a:lnTo>
                    <a:pt x="330" y="852"/>
                  </a:lnTo>
                  <a:lnTo>
                    <a:pt x="318" y="852"/>
                  </a:lnTo>
                  <a:lnTo>
                    <a:pt x="306" y="858"/>
                  </a:lnTo>
                  <a:lnTo>
                    <a:pt x="264" y="864"/>
                  </a:lnTo>
                  <a:lnTo>
                    <a:pt x="234" y="858"/>
                  </a:lnTo>
                  <a:lnTo>
                    <a:pt x="228" y="858"/>
                  </a:lnTo>
                  <a:lnTo>
                    <a:pt x="198" y="858"/>
                  </a:lnTo>
                  <a:lnTo>
                    <a:pt x="174" y="858"/>
                  </a:lnTo>
                  <a:lnTo>
                    <a:pt x="168" y="852"/>
                  </a:lnTo>
                  <a:lnTo>
                    <a:pt x="168" y="840"/>
                  </a:lnTo>
                  <a:lnTo>
                    <a:pt x="168" y="834"/>
                  </a:lnTo>
                  <a:lnTo>
                    <a:pt x="168" y="822"/>
                  </a:lnTo>
                  <a:lnTo>
                    <a:pt x="162" y="822"/>
                  </a:lnTo>
                  <a:lnTo>
                    <a:pt x="150" y="816"/>
                  </a:lnTo>
                  <a:lnTo>
                    <a:pt x="144" y="810"/>
                  </a:lnTo>
                  <a:lnTo>
                    <a:pt x="144" y="804"/>
                  </a:lnTo>
                  <a:lnTo>
                    <a:pt x="144" y="786"/>
                  </a:lnTo>
                  <a:lnTo>
                    <a:pt x="144" y="780"/>
                  </a:lnTo>
                  <a:lnTo>
                    <a:pt x="144" y="774"/>
                  </a:lnTo>
                  <a:lnTo>
                    <a:pt x="132" y="756"/>
                  </a:lnTo>
                  <a:lnTo>
                    <a:pt x="120" y="756"/>
                  </a:lnTo>
                  <a:lnTo>
                    <a:pt x="84" y="750"/>
                  </a:lnTo>
                  <a:lnTo>
                    <a:pt x="78" y="744"/>
                  </a:lnTo>
                  <a:lnTo>
                    <a:pt x="60" y="744"/>
                  </a:lnTo>
                  <a:lnTo>
                    <a:pt x="54" y="726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66" y="720"/>
                  </a:lnTo>
                  <a:lnTo>
                    <a:pt x="66" y="714"/>
                  </a:lnTo>
                  <a:lnTo>
                    <a:pt x="72" y="714"/>
                  </a:lnTo>
                  <a:lnTo>
                    <a:pt x="72" y="708"/>
                  </a:lnTo>
                  <a:lnTo>
                    <a:pt x="78" y="702"/>
                  </a:lnTo>
                  <a:lnTo>
                    <a:pt x="78" y="696"/>
                  </a:lnTo>
                  <a:lnTo>
                    <a:pt x="78" y="690"/>
                  </a:lnTo>
                  <a:lnTo>
                    <a:pt x="84" y="678"/>
                  </a:lnTo>
                  <a:lnTo>
                    <a:pt x="90" y="666"/>
                  </a:lnTo>
                  <a:lnTo>
                    <a:pt x="90" y="642"/>
                  </a:lnTo>
                  <a:lnTo>
                    <a:pt x="84" y="648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66" y="642"/>
                  </a:lnTo>
                  <a:lnTo>
                    <a:pt x="60" y="642"/>
                  </a:lnTo>
                  <a:lnTo>
                    <a:pt x="54" y="636"/>
                  </a:lnTo>
                  <a:lnTo>
                    <a:pt x="30" y="570"/>
                  </a:lnTo>
                  <a:lnTo>
                    <a:pt x="24" y="564"/>
                  </a:lnTo>
                  <a:lnTo>
                    <a:pt x="18" y="570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6"/>
                  </a:lnTo>
                  <a:lnTo>
                    <a:pt x="6" y="540"/>
                  </a:lnTo>
                  <a:lnTo>
                    <a:pt x="0" y="522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2" y="480"/>
                  </a:lnTo>
                  <a:lnTo>
                    <a:pt x="6" y="480"/>
                  </a:lnTo>
                  <a:lnTo>
                    <a:pt x="0" y="474"/>
                  </a:lnTo>
                  <a:lnTo>
                    <a:pt x="0" y="450"/>
                  </a:lnTo>
                  <a:lnTo>
                    <a:pt x="6" y="450"/>
                  </a:lnTo>
                  <a:lnTo>
                    <a:pt x="12" y="450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32"/>
                  </a:lnTo>
                  <a:lnTo>
                    <a:pt x="30" y="426"/>
                  </a:lnTo>
                  <a:lnTo>
                    <a:pt x="36" y="402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2" y="366"/>
                  </a:lnTo>
                  <a:lnTo>
                    <a:pt x="48" y="360"/>
                  </a:lnTo>
                  <a:lnTo>
                    <a:pt x="48" y="342"/>
                  </a:lnTo>
                  <a:lnTo>
                    <a:pt x="42" y="330"/>
                  </a:lnTo>
                  <a:lnTo>
                    <a:pt x="36" y="324"/>
                  </a:lnTo>
                  <a:lnTo>
                    <a:pt x="42" y="306"/>
                  </a:lnTo>
                  <a:lnTo>
                    <a:pt x="42" y="270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48" y="258"/>
                  </a:lnTo>
                  <a:lnTo>
                    <a:pt x="72" y="252"/>
                  </a:lnTo>
                  <a:lnTo>
                    <a:pt x="66" y="204"/>
                  </a:lnTo>
                  <a:lnTo>
                    <a:pt x="60" y="198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8" y="13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84" y="96"/>
                  </a:lnTo>
                  <a:lnTo>
                    <a:pt x="90" y="84"/>
                  </a:lnTo>
                  <a:lnTo>
                    <a:pt x="108" y="72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20" y="60"/>
                  </a:lnTo>
                  <a:lnTo>
                    <a:pt x="120" y="54"/>
                  </a:lnTo>
                  <a:lnTo>
                    <a:pt x="120" y="48"/>
                  </a:lnTo>
                  <a:lnTo>
                    <a:pt x="126" y="48"/>
                  </a:lnTo>
                  <a:lnTo>
                    <a:pt x="132" y="42"/>
                  </a:lnTo>
                  <a:lnTo>
                    <a:pt x="132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240" y="18"/>
                  </a:lnTo>
                  <a:lnTo>
                    <a:pt x="246" y="42"/>
                  </a:lnTo>
                  <a:lnTo>
                    <a:pt x="240" y="72"/>
                  </a:lnTo>
                  <a:lnTo>
                    <a:pt x="246" y="78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8" y="108"/>
                  </a:lnTo>
                  <a:lnTo>
                    <a:pt x="276" y="114"/>
                  </a:lnTo>
                  <a:lnTo>
                    <a:pt x="294" y="150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82" y="186"/>
                  </a:lnTo>
                  <a:lnTo>
                    <a:pt x="282" y="192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76" y="216"/>
                  </a:lnTo>
                  <a:lnTo>
                    <a:pt x="288" y="240"/>
                  </a:lnTo>
                  <a:lnTo>
                    <a:pt x="312" y="228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66" y="228"/>
                  </a:lnTo>
                  <a:lnTo>
                    <a:pt x="372" y="228"/>
                  </a:lnTo>
                  <a:lnTo>
                    <a:pt x="372" y="222"/>
                  </a:lnTo>
                  <a:lnTo>
                    <a:pt x="378" y="222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6" y="222"/>
                  </a:lnTo>
                  <a:lnTo>
                    <a:pt x="402" y="222"/>
                  </a:lnTo>
                  <a:lnTo>
                    <a:pt x="402" y="228"/>
                  </a:lnTo>
                  <a:lnTo>
                    <a:pt x="408" y="228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26" y="216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68" y="258"/>
                  </a:lnTo>
                  <a:lnTo>
                    <a:pt x="462" y="264"/>
                  </a:lnTo>
                  <a:lnTo>
                    <a:pt x="468" y="264"/>
                  </a:lnTo>
                  <a:lnTo>
                    <a:pt x="468" y="270"/>
                  </a:lnTo>
                  <a:lnTo>
                    <a:pt x="474" y="270"/>
                  </a:lnTo>
                  <a:lnTo>
                    <a:pt x="480" y="276"/>
                  </a:lnTo>
                  <a:lnTo>
                    <a:pt x="474" y="282"/>
                  </a:lnTo>
                  <a:lnTo>
                    <a:pt x="474" y="288"/>
                  </a:lnTo>
                  <a:lnTo>
                    <a:pt x="462" y="294"/>
                  </a:lnTo>
                  <a:lnTo>
                    <a:pt x="468" y="324"/>
                  </a:lnTo>
                  <a:lnTo>
                    <a:pt x="462" y="336"/>
                  </a:lnTo>
                  <a:lnTo>
                    <a:pt x="456" y="354"/>
                  </a:lnTo>
                  <a:lnTo>
                    <a:pt x="432" y="390"/>
                  </a:lnTo>
                  <a:lnTo>
                    <a:pt x="420" y="390"/>
                  </a:lnTo>
                  <a:lnTo>
                    <a:pt x="402" y="390"/>
                  </a:lnTo>
                  <a:lnTo>
                    <a:pt x="396" y="396"/>
                  </a:lnTo>
                  <a:lnTo>
                    <a:pt x="390" y="396"/>
                  </a:lnTo>
                  <a:lnTo>
                    <a:pt x="390" y="402"/>
                  </a:lnTo>
                  <a:lnTo>
                    <a:pt x="384" y="402"/>
                  </a:lnTo>
                  <a:lnTo>
                    <a:pt x="408" y="432"/>
                  </a:lnTo>
                  <a:lnTo>
                    <a:pt x="432" y="438"/>
                  </a:lnTo>
                  <a:lnTo>
                    <a:pt x="456" y="432"/>
                  </a:lnTo>
                  <a:lnTo>
                    <a:pt x="468" y="426"/>
                  </a:lnTo>
                  <a:lnTo>
                    <a:pt x="468" y="444"/>
                  </a:lnTo>
                  <a:lnTo>
                    <a:pt x="468" y="450"/>
                  </a:lnTo>
                  <a:lnTo>
                    <a:pt x="468" y="474"/>
                  </a:lnTo>
                  <a:lnTo>
                    <a:pt x="486" y="480"/>
                  </a:lnTo>
                  <a:lnTo>
                    <a:pt x="486" y="486"/>
                  </a:lnTo>
                  <a:lnTo>
                    <a:pt x="492" y="498"/>
                  </a:lnTo>
                  <a:lnTo>
                    <a:pt x="492" y="504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504" y="516"/>
                  </a:lnTo>
                  <a:lnTo>
                    <a:pt x="510" y="516"/>
                  </a:lnTo>
                  <a:lnTo>
                    <a:pt x="522" y="528"/>
                  </a:lnTo>
                  <a:lnTo>
                    <a:pt x="546" y="540"/>
                  </a:lnTo>
                  <a:lnTo>
                    <a:pt x="552" y="546"/>
                  </a:lnTo>
                  <a:lnTo>
                    <a:pt x="570" y="552"/>
                  </a:lnTo>
                  <a:lnTo>
                    <a:pt x="594" y="552"/>
                  </a:lnTo>
                  <a:lnTo>
                    <a:pt x="606" y="546"/>
                  </a:lnTo>
                  <a:lnTo>
                    <a:pt x="612" y="540"/>
                  </a:lnTo>
                  <a:lnTo>
                    <a:pt x="630" y="540"/>
                  </a:lnTo>
                  <a:lnTo>
                    <a:pt x="630" y="552"/>
                  </a:lnTo>
                  <a:lnTo>
                    <a:pt x="654" y="552"/>
                  </a:lnTo>
                  <a:lnTo>
                    <a:pt x="702" y="558"/>
                  </a:lnTo>
                  <a:lnTo>
                    <a:pt x="762" y="546"/>
                  </a:lnTo>
                  <a:lnTo>
                    <a:pt x="780" y="546"/>
                  </a:lnTo>
                  <a:lnTo>
                    <a:pt x="780" y="528"/>
                  </a:lnTo>
                  <a:lnTo>
                    <a:pt x="798" y="522"/>
                  </a:lnTo>
                  <a:lnTo>
                    <a:pt x="810" y="510"/>
                  </a:lnTo>
                  <a:lnTo>
                    <a:pt x="810" y="504"/>
                  </a:lnTo>
                  <a:lnTo>
                    <a:pt x="828" y="492"/>
                  </a:lnTo>
                  <a:lnTo>
                    <a:pt x="888" y="486"/>
                  </a:lnTo>
                  <a:lnTo>
                    <a:pt x="912" y="486"/>
                  </a:lnTo>
                  <a:lnTo>
                    <a:pt x="930" y="474"/>
                  </a:lnTo>
                  <a:lnTo>
                    <a:pt x="918" y="456"/>
                  </a:lnTo>
                  <a:lnTo>
                    <a:pt x="912" y="450"/>
                  </a:lnTo>
                  <a:lnTo>
                    <a:pt x="918" y="390"/>
                  </a:lnTo>
                  <a:lnTo>
                    <a:pt x="954" y="396"/>
                  </a:lnTo>
                  <a:lnTo>
                    <a:pt x="984" y="402"/>
                  </a:lnTo>
                  <a:lnTo>
                    <a:pt x="1014" y="420"/>
                  </a:lnTo>
                  <a:lnTo>
                    <a:pt x="1026" y="432"/>
                  </a:lnTo>
                  <a:lnTo>
                    <a:pt x="1044" y="450"/>
                  </a:lnTo>
                  <a:lnTo>
                    <a:pt x="1062" y="462"/>
                  </a:lnTo>
                  <a:lnTo>
                    <a:pt x="1098" y="468"/>
                  </a:lnTo>
                  <a:lnTo>
                    <a:pt x="1128" y="480"/>
                  </a:lnTo>
                  <a:lnTo>
                    <a:pt x="1152" y="486"/>
                  </a:lnTo>
                  <a:lnTo>
                    <a:pt x="1188" y="498"/>
                  </a:lnTo>
                  <a:lnTo>
                    <a:pt x="1212" y="504"/>
                  </a:lnTo>
                  <a:lnTo>
                    <a:pt x="1224" y="528"/>
                  </a:lnTo>
                  <a:lnTo>
                    <a:pt x="1236" y="540"/>
                  </a:lnTo>
                  <a:lnTo>
                    <a:pt x="1254" y="540"/>
                  </a:lnTo>
                  <a:lnTo>
                    <a:pt x="1254" y="546"/>
                  </a:lnTo>
                  <a:lnTo>
                    <a:pt x="1260" y="552"/>
                  </a:lnTo>
                  <a:lnTo>
                    <a:pt x="1266" y="552"/>
                  </a:lnTo>
                  <a:lnTo>
                    <a:pt x="1266" y="558"/>
                  </a:lnTo>
                  <a:lnTo>
                    <a:pt x="1272" y="564"/>
                  </a:lnTo>
                  <a:lnTo>
                    <a:pt x="1278" y="564"/>
                  </a:lnTo>
                  <a:lnTo>
                    <a:pt x="1278" y="570"/>
                  </a:lnTo>
                  <a:lnTo>
                    <a:pt x="1284" y="576"/>
                  </a:lnTo>
                  <a:lnTo>
                    <a:pt x="1290" y="582"/>
                  </a:lnTo>
                  <a:lnTo>
                    <a:pt x="1296" y="582"/>
                  </a:lnTo>
                  <a:lnTo>
                    <a:pt x="1296" y="588"/>
                  </a:lnTo>
                  <a:lnTo>
                    <a:pt x="1308" y="594"/>
                  </a:lnTo>
                  <a:lnTo>
                    <a:pt x="1308" y="600"/>
                  </a:lnTo>
                  <a:lnTo>
                    <a:pt x="1308" y="606"/>
                  </a:lnTo>
                  <a:lnTo>
                    <a:pt x="1314" y="612"/>
                  </a:lnTo>
                  <a:lnTo>
                    <a:pt x="1308" y="618"/>
                  </a:lnTo>
                  <a:lnTo>
                    <a:pt x="1314" y="618"/>
                  </a:lnTo>
                  <a:lnTo>
                    <a:pt x="1314" y="624"/>
                  </a:lnTo>
                  <a:lnTo>
                    <a:pt x="1308" y="624"/>
                  </a:lnTo>
                  <a:lnTo>
                    <a:pt x="1302" y="630"/>
                  </a:lnTo>
                  <a:lnTo>
                    <a:pt x="1302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296" y="654"/>
                  </a:lnTo>
                  <a:lnTo>
                    <a:pt x="1302" y="660"/>
                  </a:lnTo>
                  <a:lnTo>
                    <a:pt x="1302" y="666"/>
                  </a:lnTo>
                  <a:lnTo>
                    <a:pt x="1308" y="666"/>
                  </a:lnTo>
                  <a:lnTo>
                    <a:pt x="1308" y="672"/>
                  </a:lnTo>
                  <a:lnTo>
                    <a:pt x="1308" y="678"/>
                  </a:lnTo>
                  <a:lnTo>
                    <a:pt x="1308" y="684"/>
                  </a:lnTo>
                  <a:lnTo>
                    <a:pt x="1308" y="690"/>
                  </a:lnTo>
                  <a:lnTo>
                    <a:pt x="1302" y="696"/>
                  </a:lnTo>
                  <a:lnTo>
                    <a:pt x="1302" y="702"/>
                  </a:lnTo>
                  <a:lnTo>
                    <a:pt x="1308" y="702"/>
                  </a:lnTo>
                  <a:lnTo>
                    <a:pt x="1302" y="708"/>
                  </a:lnTo>
                  <a:lnTo>
                    <a:pt x="1308" y="714"/>
                  </a:lnTo>
                  <a:lnTo>
                    <a:pt x="1308" y="720"/>
                  </a:lnTo>
                  <a:lnTo>
                    <a:pt x="1308" y="726"/>
                  </a:lnTo>
                  <a:lnTo>
                    <a:pt x="1308" y="732"/>
                  </a:lnTo>
                  <a:lnTo>
                    <a:pt x="1314" y="732"/>
                  </a:lnTo>
                  <a:lnTo>
                    <a:pt x="1314" y="738"/>
                  </a:lnTo>
                  <a:lnTo>
                    <a:pt x="1320" y="744"/>
                  </a:lnTo>
                  <a:lnTo>
                    <a:pt x="1326" y="750"/>
                  </a:lnTo>
                  <a:lnTo>
                    <a:pt x="1320" y="750"/>
                  </a:lnTo>
                  <a:lnTo>
                    <a:pt x="1320" y="756"/>
                  </a:lnTo>
                  <a:lnTo>
                    <a:pt x="1314" y="756"/>
                  </a:lnTo>
                  <a:lnTo>
                    <a:pt x="1314" y="762"/>
                  </a:lnTo>
                  <a:lnTo>
                    <a:pt x="1314" y="768"/>
                  </a:lnTo>
                  <a:lnTo>
                    <a:pt x="1320" y="768"/>
                  </a:lnTo>
                  <a:lnTo>
                    <a:pt x="1320" y="762"/>
                  </a:lnTo>
                  <a:lnTo>
                    <a:pt x="1320" y="768"/>
                  </a:lnTo>
                  <a:lnTo>
                    <a:pt x="1326" y="774"/>
                  </a:lnTo>
                  <a:lnTo>
                    <a:pt x="1332" y="774"/>
                  </a:lnTo>
                  <a:lnTo>
                    <a:pt x="1332" y="780"/>
                  </a:lnTo>
                  <a:lnTo>
                    <a:pt x="1332" y="786"/>
                  </a:lnTo>
                  <a:lnTo>
                    <a:pt x="1332" y="792"/>
                  </a:lnTo>
                  <a:lnTo>
                    <a:pt x="1338" y="786"/>
                  </a:lnTo>
                  <a:lnTo>
                    <a:pt x="1338" y="792"/>
                  </a:lnTo>
                  <a:lnTo>
                    <a:pt x="1344" y="798"/>
                  </a:lnTo>
                  <a:lnTo>
                    <a:pt x="1344" y="804"/>
                  </a:lnTo>
                  <a:lnTo>
                    <a:pt x="1344" y="810"/>
                  </a:lnTo>
                  <a:lnTo>
                    <a:pt x="1344" y="816"/>
                  </a:lnTo>
                  <a:lnTo>
                    <a:pt x="1344" y="822"/>
                  </a:lnTo>
                  <a:lnTo>
                    <a:pt x="1338" y="828"/>
                  </a:lnTo>
                  <a:lnTo>
                    <a:pt x="1332" y="828"/>
                  </a:lnTo>
                  <a:lnTo>
                    <a:pt x="1338" y="840"/>
                  </a:lnTo>
                  <a:lnTo>
                    <a:pt x="1344" y="846"/>
                  </a:lnTo>
                  <a:lnTo>
                    <a:pt x="1344" y="852"/>
                  </a:lnTo>
                  <a:lnTo>
                    <a:pt x="1350" y="852"/>
                  </a:lnTo>
                  <a:lnTo>
                    <a:pt x="1356" y="858"/>
                  </a:lnTo>
                  <a:lnTo>
                    <a:pt x="1362" y="858"/>
                  </a:lnTo>
                  <a:lnTo>
                    <a:pt x="1362" y="870"/>
                  </a:lnTo>
                  <a:lnTo>
                    <a:pt x="1356" y="870"/>
                  </a:lnTo>
                  <a:lnTo>
                    <a:pt x="1356" y="876"/>
                  </a:lnTo>
                  <a:lnTo>
                    <a:pt x="1350" y="876"/>
                  </a:lnTo>
                  <a:lnTo>
                    <a:pt x="1344" y="876"/>
                  </a:lnTo>
                  <a:lnTo>
                    <a:pt x="1344" y="882"/>
                  </a:lnTo>
                  <a:lnTo>
                    <a:pt x="1338" y="882"/>
                  </a:lnTo>
                  <a:lnTo>
                    <a:pt x="1338" y="888"/>
                  </a:lnTo>
                  <a:lnTo>
                    <a:pt x="1338" y="894"/>
                  </a:lnTo>
                  <a:lnTo>
                    <a:pt x="1344" y="900"/>
                  </a:lnTo>
                  <a:lnTo>
                    <a:pt x="1344" y="906"/>
                  </a:lnTo>
                  <a:lnTo>
                    <a:pt x="1338" y="906"/>
                  </a:lnTo>
                  <a:lnTo>
                    <a:pt x="1332" y="912"/>
                  </a:lnTo>
                  <a:lnTo>
                    <a:pt x="1332" y="918"/>
                  </a:lnTo>
                  <a:lnTo>
                    <a:pt x="1326" y="918"/>
                  </a:lnTo>
                  <a:lnTo>
                    <a:pt x="1332" y="924"/>
                  </a:lnTo>
                  <a:lnTo>
                    <a:pt x="1284" y="942"/>
                  </a:lnTo>
                  <a:lnTo>
                    <a:pt x="1236" y="948"/>
                  </a:lnTo>
                  <a:lnTo>
                    <a:pt x="1194" y="966"/>
                  </a:lnTo>
                  <a:lnTo>
                    <a:pt x="1170" y="1002"/>
                  </a:lnTo>
                  <a:lnTo>
                    <a:pt x="1134" y="1020"/>
                  </a:lnTo>
                  <a:lnTo>
                    <a:pt x="1116" y="1032"/>
                  </a:lnTo>
                  <a:lnTo>
                    <a:pt x="1098" y="1050"/>
                  </a:lnTo>
                  <a:lnTo>
                    <a:pt x="1074" y="1074"/>
                  </a:lnTo>
                  <a:lnTo>
                    <a:pt x="1008" y="1134"/>
                  </a:lnTo>
                  <a:lnTo>
                    <a:pt x="990" y="1158"/>
                  </a:lnTo>
                  <a:lnTo>
                    <a:pt x="978" y="1182"/>
                  </a:lnTo>
                  <a:lnTo>
                    <a:pt x="960" y="1194"/>
                  </a:lnTo>
                  <a:lnTo>
                    <a:pt x="942" y="1212"/>
                  </a:lnTo>
                  <a:lnTo>
                    <a:pt x="912" y="1242"/>
                  </a:lnTo>
                  <a:lnTo>
                    <a:pt x="888" y="1254"/>
                  </a:lnTo>
                  <a:lnTo>
                    <a:pt x="864" y="1278"/>
                  </a:lnTo>
                  <a:lnTo>
                    <a:pt x="828" y="1296"/>
                  </a:lnTo>
                  <a:lnTo>
                    <a:pt x="774" y="1308"/>
                  </a:lnTo>
                  <a:lnTo>
                    <a:pt x="732" y="1302"/>
                  </a:lnTo>
                  <a:lnTo>
                    <a:pt x="702" y="1284"/>
                  </a:lnTo>
                  <a:lnTo>
                    <a:pt x="684" y="127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1" name="Freeform 16">
              <a:extLst>
                <a:ext uri="{FF2B5EF4-FFF2-40B4-BE49-F238E27FC236}">
                  <a16:creationId xmlns:a16="http://schemas.microsoft.com/office/drawing/2014/main" id="{D8D8591A-D9DB-4301-BEBD-D8F5A26DA9E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3001" y="2929369"/>
              <a:ext cx="914601" cy="1037736"/>
            </a:xfrm>
            <a:custGeom>
              <a:avLst/>
              <a:gdLst>
                <a:gd name="T0" fmla="*/ 144 w 1722"/>
                <a:gd name="T1" fmla="*/ 131 h 1956"/>
                <a:gd name="T2" fmla="*/ 142 w 1722"/>
                <a:gd name="T3" fmla="*/ 139 h 1956"/>
                <a:gd name="T4" fmla="*/ 137 w 1722"/>
                <a:gd name="T5" fmla="*/ 143 h 1956"/>
                <a:gd name="T6" fmla="*/ 133 w 1722"/>
                <a:gd name="T7" fmla="*/ 147 h 1956"/>
                <a:gd name="T8" fmla="*/ 132 w 1722"/>
                <a:gd name="T9" fmla="*/ 152 h 1956"/>
                <a:gd name="T10" fmla="*/ 130 w 1722"/>
                <a:gd name="T11" fmla="*/ 159 h 1956"/>
                <a:gd name="T12" fmla="*/ 127 w 1722"/>
                <a:gd name="T13" fmla="*/ 164 h 1956"/>
                <a:gd name="T14" fmla="*/ 123 w 1722"/>
                <a:gd name="T15" fmla="*/ 168 h 1956"/>
                <a:gd name="T16" fmla="*/ 117 w 1722"/>
                <a:gd name="T17" fmla="*/ 169 h 1956"/>
                <a:gd name="T18" fmla="*/ 110 w 1722"/>
                <a:gd name="T19" fmla="*/ 168 h 1956"/>
                <a:gd name="T20" fmla="*/ 104 w 1722"/>
                <a:gd name="T21" fmla="*/ 166 h 1956"/>
                <a:gd name="T22" fmla="*/ 101 w 1722"/>
                <a:gd name="T23" fmla="*/ 159 h 1956"/>
                <a:gd name="T24" fmla="*/ 95 w 1722"/>
                <a:gd name="T25" fmla="*/ 156 h 1956"/>
                <a:gd name="T26" fmla="*/ 89 w 1722"/>
                <a:gd name="T27" fmla="*/ 151 h 1956"/>
                <a:gd name="T28" fmla="*/ 87 w 1722"/>
                <a:gd name="T29" fmla="*/ 144 h 1956"/>
                <a:gd name="T30" fmla="*/ 82 w 1722"/>
                <a:gd name="T31" fmla="*/ 141 h 1956"/>
                <a:gd name="T32" fmla="*/ 76 w 1722"/>
                <a:gd name="T33" fmla="*/ 134 h 1956"/>
                <a:gd name="T34" fmla="*/ 74 w 1722"/>
                <a:gd name="T35" fmla="*/ 143 h 1956"/>
                <a:gd name="T36" fmla="*/ 68 w 1722"/>
                <a:gd name="T37" fmla="*/ 147 h 1956"/>
                <a:gd name="T38" fmla="*/ 54 w 1722"/>
                <a:gd name="T39" fmla="*/ 144 h 1956"/>
                <a:gd name="T40" fmla="*/ 51 w 1722"/>
                <a:gd name="T41" fmla="*/ 142 h 1956"/>
                <a:gd name="T42" fmla="*/ 42 w 1722"/>
                <a:gd name="T43" fmla="*/ 151 h 1956"/>
                <a:gd name="T44" fmla="*/ 33 w 1722"/>
                <a:gd name="T45" fmla="*/ 154 h 1956"/>
                <a:gd name="T46" fmla="*/ 31 w 1722"/>
                <a:gd name="T47" fmla="*/ 159 h 1956"/>
                <a:gd name="T48" fmla="*/ 29 w 1722"/>
                <a:gd name="T49" fmla="*/ 166 h 1956"/>
                <a:gd name="T50" fmla="*/ 25 w 1722"/>
                <a:gd name="T51" fmla="*/ 169 h 1956"/>
                <a:gd name="T52" fmla="*/ 27 w 1722"/>
                <a:gd name="T53" fmla="*/ 154 h 1956"/>
                <a:gd name="T54" fmla="*/ 37 w 1722"/>
                <a:gd name="T55" fmla="*/ 133 h 1956"/>
                <a:gd name="T56" fmla="*/ 36 w 1722"/>
                <a:gd name="T57" fmla="*/ 109 h 1956"/>
                <a:gd name="T58" fmla="*/ 27 w 1722"/>
                <a:gd name="T59" fmla="*/ 101 h 1956"/>
                <a:gd name="T60" fmla="*/ 5 w 1722"/>
                <a:gd name="T61" fmla="*/ 98 h 1956"/>
                <a:gd name="T62" fmla="*/ 2 w 1722"/>
                <a:gd name="T63" fmla="*/ 93 h 1956"/>
                <a:gd name="T64" fmla="*/ 12 w 1722"/>
                <a:gd name="T65" fmla="*/ 82 h 1956"/>
                <a:gd name="T66" fmla="*/ 9 w 1722"/>
                <a:gd name="T67" fmla="*/ 74 h 1956"/>
                <a:gd name="T68" fmla="*/ 23 w 1722"/>
                <a:gd name="T69" fmla="*/ 72 h 1956"/>
                <a:gd name="T70" fmla="*/ 22 w 1722"/>
                <a:gd name="T71" fmla="*/ 67 h 1956"/>
                <a:gd name="T72" fmla="*/ 48 w 1722"/>
                <a:gd name="T73" fmla="*/ 57 h 1956"/>
                <a:gd name="T74" fmla="*/ 78 w 1722"/>
                <a:gd name="T75" fmla="*/ 34 h 1956"/>
                <a:gd name="T76" fmla="*/ 81 w 1722"/>
                <a:gd name="T77" fmla="*/ 31 h 1956"/>
                <a:gd name="T78" fmla="*/ 80 w 1722"/>
                <a:gd name="T79" fmla="*/ 26 h 1956"/>
                <a:gd name="T80" fmla="*/ 78 w 1722"/>
                <a:gd name="T81" fmla="*/ 21 h 1956"/>
                <a:gd name="T82" fmla="*/ 77 w 1722"/>
                <a:gd name="T83" fmla="*/ 18 h 1956"/>
                <a:gd name="T84" fmla="*/ 77 w 1722"/>
                <a:gd name="T85" fmla="*/ 12 h 1956"/>
                <a:gd name="T86" fmla="*/ 77 w 1722"/>
                <a:gd name="T87" fmla="*/ 7 h 1956"/>
                <a:gd name="T88" fmla="*/ 102 w 1722"/>
                <a:gd name="T89" fmla="*/ 2 h 1956"/>
                <a:gd name="T90" fmla="*/ 115 w 1722"/>
                <a:gd name="T91" fmla="*/ 3 h 1956"/>
                <a:gd name="T92" fmla="*/ 123 w 1722"/>
                <a:gd name="T93" fmla="*/ 3 h 1956"/>
                <a:gd name="T94" fmla="*/ 125 w 1722"/>
                <a:gd name="T95" fmla="*/ 9 h 1956"/>
                <a:gd name="T96" fmla="*/ 133 w 1722"/>
                <a:gd name="T97" fmla="*/ 13 h 1956"/>
                <a:gd name="T98" fmla="*/ 149 w 1722"/>
                <a:gd name="T99" fmla="*/ 37 h 1956"/>
                <a:gd name="T100" fmla="*/ 141 w 1722"/>
                <a:gd name="T101" fmla="*/ 57 h 1956"/>
                <a:gd name="T102" fmla="*/ 135 w 1722"/>
                <a:gd name="T103" fmla="*/ 63 h 1956"/>
                <a:gd name="T104" fmla="*/ 124 w 1722"/>
                <a:gd name="T105" fmla="*/ 77 h 1956"/>
                <a:gd name="T106" fmla="*/ 123 w 1722"/>
                <a:gd name="T107" fmla="*/ 96 h 1956"/>
                <a:gd name="T108" fmla="*/ 127 w 1722"/>
                <a:gd name="T109" fmla="*/ 97 h 1956"/>
                <a:gd name="T110" fmla="*/ 129 w 1722"/>
                <a:gd name="T111" fmla="*/ 92 h 1956"/>
                <a:gd name="T112" fmla="*/ 134 w 1722"/>
                <a:gd name="T113" fmla="*/ 94 h 1956"/>
                <a:gd name="T114" fmla="*/ 138 w 1722"/>
                <a:gd name="T115" fmla="*/ 99 h 1956"/>
                <a:gd name="T116" fmla="*/ 142 w 1722"/>
                <a:gd name="T117" fmla="*/ 104 h 1956"/>
                <a:gd name="T118" fmla="*/ 141 w 1722"/>
                <a:gd name="T119" fmla="*/ 115 h 19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722"/>
                <a:gd name="T181" fmla="*/ 0 h 1956"/>
                <a:gd name="T182" fmla="*/ 1722 w 1722"/>
                <a:gd name="T183" fmla="*/ 1956 h 19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722" h="1956">
                  <a:moveTo>
                    <a:pt x="1686" y="1404"/>
                  </a:moveTo>
                  <a:lnTo>
                    <a:pt x="1680" y="1416"/>
                  </a:lnTo>
                  <a:lnTo>
                    <a:pt x="1674" y="1422"/>
                  </a:lnTo>
                  <a:lnTo>
                    <a:pt x="1674" y="1428"/>
                  </a:lnTo>
                  <a:lnTo>
                    <a:pt x="1668" y="1428"/>
                  </a:lnTo>
                  <a:lnTo>
                    <a:pt x="1668" y="1434"/>
                  </a:lnTo>
                  <a:lnTo>
                    <a:pt x="1662" y="1446"/>
                  </a:lnTo>
                  <a:lnTo>
                    <a:pt x="1656" y="1464"/>
                  </a:lnTo>
                  <a:lnTo>
                    <a:pt x="1656" y="1476"/>
                  </a:lnTo>
                  <a:lnTo>
                    <a:pt x="1656" y="1488"/>
                  </a:lnTo>
                  <a:lnTo>
                    <a:pt x="1662" y="1500"/>
                  </a:lnTo>
                  <a:lnTo>
                    <a:pt x="1662" y="1506"/>
                  </a:lnTo>
                  <a:lnTo>
                    <a:pt x="1662" y="1524"/>
                  </a:lnTo>
                  <a:lnTo>
                    <a:pt x="1668" y="1542"/>
                  </a:lnTo>
                  <a:lnTo>
                    <a:pt x="1674" y="1560"/>
                  </a:lnTo>
                  <a:lnTo>
                    <a:pt x="1680" y="1578"/>
                  </a:lnTo>
                  <a:lnTo>
                    <a:pt x="1686" y="1578"/>
                  </a:lnTo>
                  <a:lnTo>
                    <a:pt x="1686" y="1584"/>
                  </a:lnTo>
                  <a:lnTo>
                    <a:pt x="1686" y="1590"/>
                  </a:lnTo>
                  <a:lnTo>
                    <a:pt x="1686" y="1596"/>
                  </a:lnTo>
                  <a:lnTo>
                    <a:pt x="1680" y="1596"/>
                  </a:lnTo>
                  <a:lnTo>
                    <a:pt x="1674" y="1602"/>
                  </a:lnTo>
                  <a:lnTo>
                    <a:pt x="1662" y="1602"/>
                  </a:lnTo>
                  <a:lnTo>
                    <a:pt x="1638" y="1596"/>
                  </a:lnTo>
                  <a:lnTo>
                    <a:pt x="1632" y="1596"/>
                  </a:lnTo>
                  <a:lnTo>
                    <a:pt x="1626" y="1602"/>
                  </a:lnTo>
                  <a:lnTo>
                    <a:pt x="1620" y="1602"/>
                  </a:lnTo>
                  <a:lnTo>
                    <a:pt x="1614" y="1602"/>
                  </a:lnTo>
                  <a:lnTo>
                    <a:pt x="1602" y="1602"/>
                  </a:lnTo>
                  <a:lnTo>
                    <a:pt x="1602" y="1608"/>
                  </a:lnTo>
                  <a:lnTo>
                    <a:pt x="1602" y="1620"/>
                  </a:lnTo>
                  <a:lnTo>
                    <a:pt x="1596" y="1620"/>
                  </a:lnTo>
                  <a:lnTo>
                    <a:pt x="1590" y="1620"/>
                  </a:lnTo>
                  <a:lnTo>
                    <a:pt x="1584" y="1626"/>
                  </a:lnTo>
                  <a:lnTo>
                    <a:pt x="1584" y="1632"/>
                  </a:lnTo>
                  <a:lnTo>
                    <a:pt x="1578" y="1644"/>
                  </a:lnTo>
                  <a:lnTo>
                    <a:pt x="1572" y="1644"/>
                  </a:lnTo>
                  <a:lnTo>
                    <a:pt x="1566" y="1644"/>
                  </a:lnTo>
                  <a:lnTo>
                    <a:pt x="1566" y="1650"/>
                  </a:lnTo>
                  <a:lnTo>
                    <a:pt x="1560" y="1650"/>
                  </a:lnTo>
                  <a:lnTo>
                    <a:pt x="1554" y="1650"/>
                  </a:lnTo>
                  <a:lnTo>
                    <a:pt x="1548" y="1650"/>
                  </a:lnTo>
                  <a:lnTo>
                    <a:pt x="1548" y="1656"/>
                  </a:lnTo>
                  <a:lnTo>
                    <a:pt x="1542" y="1668"/>
                  </a:lnTo>
                  <a:lnTo>
                    <a:pt x="1542" y="1674"/>
                  </a:lnTo>
                  <a:lnTo>
                    <a:pt x="1542" y="1692"/>
                  </a:lnTo>
                  <a:lnTo>
                    <a:pt x="1536" y="1698"/>
                  </a:lnTo>
                  <a:lnTo>
                    <a:pt x="1530" y="1698"/>
                  </a:lnTo>
                  <a:lnTo>
                    <a:pt x="1524" y="1698"/>
                  </a:lnTo>
                  <a:lnTo>
                    <a:pt x="1518" y="1704"/>
                  </a:lnTo>
                  <a:lnTo>
                    <a:pt x="1512" y="1710"/>
                  </a:lnTo>
                  <a:lnTo>
                    <a:pt x="1506" y="1722"/>
                  </a:lnTo>
                  <a:lnTo>
                    <a:pt x="1500" y="1728"/>
                  </a:lnTo>
                  <a:lnTo>
                    <a:pt x="1500" y="1734"/>
                  </a:lnTo>
                  <a:lnTo>
                    <a:pt x="1512" y="1734"/>
                  </a:lnTo>
                  <a:lnTo>
                    <a:pt x="1518" y="1740"/>
                  </a:lnTo>
                  <a:lnTo>
                    <a:pt x="1518" y="1746"/>
                  </a:lnTo>
                  <a:lnTo>
                    <a:pt x="1518" y="1752"/>
                  </a:lnTo>
                  <a:lnTo>
                    <a:pt x="1518" y="1758"/>
                  </a:lnTo>
                  <a:lnTo>
                    <a:pt x="1524" y="1758"/>
                  </a:lnTo>
                  <a:lnTo>
                    <a:pt x="1524" y="1764"/>
                  </a:lnTo>
                  <a:lnTo>
                    <a:pt x="1530" y="1770"/>
                  </a:lnTo>
                  <a:lnTo>
                    <a:pt x="1518" y="1770"/>
                  </a:lnTo>
                  <a:lnTo>
                    <a:pt x="1512" y="1782"/>
                  </a:lnTo>
                  <a:lnTo>
                    <a:pt x="1512" y="1788"/>
                  </a:lnTo>
                  <a:lnTo>
                    <a:pt x="1518" y="1788"/>
                  </a:lnTo>
                  <a:lnTo>
                    <a:pt x="1524" y="1800"/>
                  </a:lnTo>
                  <a:lnTo>
                    <a:pt x="1524" y="1806"/>
                  </a:lnTo>
                  <a:lnTo>
                    <a:pt x="1518" y="1812"/>
                  </a:lnTo>
                  <a:lnTo>
                    <a:pt x="1512" y="1818"/>
                  </a:lnTo>
                  <a:lnTo>
                    <a:pt x="1506" y="1818"/>
                  </a:lnTo>
                  <a:lnTo>
                    <a:pt x="1500" y="1824"/>
                  </a:lnTo>
                  <a:lnTo>
                    <a:pt x="1500" y="1836"/>
                  </a:lnTo>
                  <a:lnTo>
                    <a:pt x="1500" y="1842"/>
                  </a:lnTo>
                  <a:lnTo>
                    <a:pt x="1500" y="1848"/>
                  </a:lnTo>
                  <a:lnTo>
                    <a:pt x="1500" y="1854"/>
                  </a:lnTo>
                  <a:lnTo>
                    <a:pt x="1494" y="1860"/>
                  </a:lnTo>
                  <a:lnTo>
                    <a:pt x="1488" y="1860"/>
                  </a:lnTo>
                  <a:lnTo>
                    <a:pt x="1488" y="1866"/>
                  </a:lnTo>
                  <a:lnTo>
                    <a:pt x="1482" y="1872"/>
                  </a:lnTo>
                  <a:lnTo>
                    <a:pt x="1482" y="1878"/>
                  </a:lnTo>
                  <a:lnTo>
                    <a:pt x="1482" y="1884"/>
                  </a:lnTo>
                  <a:lnTo>
                    <a:pt x="1476" y="1890"/>
                  </a:lnTo>
                  <a:lnTo>
                    <a:pt x="1470" y="1890"/>
                  </a:lnTo>
                  <a:lnTo>
                    <a:pt x="1470" y="1896"/>
                  </a:lnTo>
                  <a:lnTo>
                    <a:pt x="1464" y="1896"/>
                  </a:lnTo>
                  <a:lnTo>
                    <a:pt x="1458" y="1896"/>
                  </a:lnTo>
                  <a:lnTo>
                    <a:pt x="1452" y="1896"/>
                  </a:lnTo>
                  <a:lnTo>
                    <a:pt x="1440" y="1890"/>
                  </a:lnTo>
                  <a:lnTo>
                    <a:pt x="1434" y="1896"/>
                  </a:lnTo>
                  <a:lnTo>
                    <a:pt x="1428" y="1896"/>
                  </a:lnTo>
                  <a:lnTo>
                    <a:pt x="1422" y="1896"/>
                  </a:lnTo>
                  <a:lnTo>
                    <a:pt x="1422" y="1902"/>
                  </a:lnTo>
                  <a:lnTo>
                    <a:pt x="1416" y="1902"/>
                  </a:lnTo>
                  <a:lnTo>
                    <a:pt x="1422" y="1914"/>
                  </a:lnTo>
                  <a:lnTo>
                    <a:pt x="1422" y="1932"/>
                  </a:lnTo>
                  <a:lnTo>
                    <a:pt x="1416" y="1938"/>
                  </a:lnTo>
                  <a:lnTo>
                    <a:pt x="1422" y="1938"/>
                  </a:lnTo>
                  <a:lnTo>
                    <a:pt x="1404" y="1938"/>
                  </a:lnTo>
                  <a:lnTo>
                    <a:pt x="1392" y="1944"/>
                  </a:lnTo>
                  <a:lnTo>
                    <a:pt x="1386" y="1944"/>
                  </a:lnTo>
                  <a:lnTo>
                    <a:pt x="1374" y="1944"/>
                  </a:lnTo>
                  <a:lnTo>
                    <a:pt x="1368" y="1950"/>
                  </a:lnTo>
                  <a:lnTo>
                    <a:pt x="1374" y="1956"/>
                  </a:lnTo>
                  <a:lnTo>
                    <a:pt x="1368" y="1956"/>
                  </a:lnTo>
                  <a:lnTo>
                    <a:pt x="1356" y="1956"/>
                  </a:lnTo>
                  <a:lnTo>
                    <a:pt x="1350" y="1956"/>
                  </a:lnTo>
                  <a:lnTo>
                    <a:pt x="1350" y="1950"/>
                  </a:lnTo>
                  <a:lnTo>
                    <a:pt x="1344" y="1944"/>
                  </a:lnTo>
                  <a:lnTo>
                    <a:pt x="1332" y="1938"/>
                  </a:lnTo>
                  <a:lnTo>
                    <a:pt x="1326" y="1938"/>
                  </a:lnTo>
                  <a:lnTo>
                    <a:pt x="1320" y="1938"/>
                  </a:lnTo>
                  <a:lnTo>
                    <a:pt x="1314" y="1944"/>
                  </a:lnTo>
                  <a:lnTo>
                    <a:pt x="1308" y="1944"/>
                  </a:lnTo>
                  <a:lnTo>
                    <a:pt x="1302" y="1944"/>
                  </a:lnTo>
                  <a:lnTo>
                    <a:pt x="1296" y="1938"/>
                  </a:lnTo>
                  <a:lnTo>
                    <a:pt x="1284" y="1938"/>
                  </a:lnTo>
                  <a:lnTo>
                    <a:pt x="1278" y="1938"/>
                  </a:lnTo>
                  <a:lnTo>
                    <a:pt x="1272" y="1938"/>
                  </a:lnTo>
                  <a:lnTo>
                    <a:pt x="1266" y="1932"/>
                  </a:lnTo>
                  <a:lnTo>
                    <a:pt x="1260" y="1932"/>
                  </a:lnTo>
                  <a:lnTo>
                    <a:pt x="1254" y="1920"/>
                  </a:lnTo>
                  <a:lnTo>
                    <a:pt x="1248" y="1920"/>
                  </a:lnTo>
                  <a:lnTo>
                    <a:pt x="1242" y="1920"/>
                  </a:lnTo>
                  <a:lnTo>
                    <a:pt x="1236" y="1926"/>
                  </a:lnTo>
                  <a:lnTo>
                    <a:pt x="1236" y="1932"/>
                  </a:lnTo>
                  <a:lnTo>
                    <a:pt x="1230" y="1932"/>
                  </a:lnTo>
                  <a:lnTo>
                    <a:pt x="1224" y="1932"/>
                  </a:lnTo>
                  <a:lnTo>
                    <a:pt x="1218" y="1938"/>
                  </a:lnTo>
                  <a:lnTo>
                    <a:pt x="1212" y="1932"/>
                  </a:lnTo>
                  <a:lnTo>
                    <a:pt x="1206" y="1926"/>
                  </a:lnTo>
                  <a:lnTo>
                    <a:pt x="1206" y="1908"/>
                  </a:lnTo>
                  <a:lnTo>
                    <a:pt x="1206" y="1884"/>
                  </a:lnTo>
                  <a:lnTo>
                    <a:pt x="1206" y="1866"/>
                  </a:lnTo>
                  <a:lnTo>
                    <a:pt x="1212" y="1848"/>
                  </a:lnTo>
                  <a:lnTo>
                    <a:pt x="1212" y="1842"/>
                  </a:lnTo>
                  <a:lnTo>
                    <a:pt x="1206" y="1836"/>
                  </a:lnTo>
                  <a:lnTo>
                    <a:pt x="1200" y="1830"/>
                  </a:lnTo>
                  <a:lnTo>
                    <a:pt x="1194" y="1824"/>
                  </a:lnTo>
                  <a:lnTo>
                    <a:pt x="1188" y="1824"/>
                  </a:lnTo>
                  <a:lnTo>
                    <a:pt x="1182" y="1824"/>
                  </a:lnTo>
                  <a:lnTo>
                    <a:pt x="1176" y="1824"/>
                  </a:lnTo>
                  <a:lnTo>
                    <a:pt x="1170" y="1818"/>
                  </a:lnTo>
                  <a:lnTo>
                    <a:pt x="1164" y="1830"/>
                  </a:lnTo>
                  <a:lnTo>
                    <a:pt x="1152" y="1836"/>
                  </a:lnTo>
                  <a:lnTo>
                    <a:pt x="1146" y="1842"/>
                  </a:lnTo>
                  <a:lnTo>
                    <a:pt x="1140" y="1842"/>
                  </a:lnTo>
                  <a:lnTo>
                    <a:pt x="1134" y="1842"/>
                  </a:lnTo>
                  <a:lnTo>
                    <a:pt x="1128" y="1842"/>
                  </a:lnTo>
                  <a:lnTo>
                    <a:pt x="1116" y="1836"/>
                  </a:lnTo>
                  <a:lnTo>
                    <a:pt x="1110" y="1842"/>
                  </a:lnTo>
                  <a:lnTo>
                    <a:pt x="1092" y="1830"/>
                  </a:lnTo>
                  <a:lnTo>
                    <a:pt x="1092" y="1824"/>
                  </a:lnTo>
                  <a:lnTo>
                    <a:pt x="1092" y="1806"/>
                  </a:lnTo>
                  <a:lnTo>
                    <a:pt x="1092" y="1800"/>
                  </a:lnTo>
                  <a:lnTo>
                    <a:pt x="1092" y="1794"/>
                  </a:lnTo>
                  <a:lnTo>
                    <a:pt x="1086" y="1788"/>
                  </a:lnTo>
                  <a:lnTo>
                    <a:pt x="1080" y="1794"/>
                  </a:lnTo>
                  <a:lnTo>
                    <a:pt x="1074" y="1788"/>
                  </a:lnTo>
                  <a:lnTo>
                    <a:pt x="1068" y="1770"/>
                  </a:lnTo>
                  <a:lnTo>
                    <a:pt x="1056" y="1764"/>
                  </a:lnTo>
                  <a:lnTo>
                    <a:pt x="1050" y="1764"/>
                  </a:lnTo>
                  <a:lnTo>
                    <a:pt x="1044" y="1764"/>
                  </a:lnTo>
                  <a:lnTo>
                    <a:pt x="1038" y="1758"/>
                  </a:lnTo>
                  <a:lnTo>
                    <a:pt x="1032" y="1752"/>
                  </a:lnTo>
                  <a:lnTo>
                    <a:pt x="1032" y="1746"/>
                  </a:lnTo>
                  <a:lnTo>
                    <a:pt x="1032" y="1740"/>
                  </a:lnTo>
                  <a:lnTo>
                    <a:pt x="1032" y="1734"/>
                  </a:lnTo>
                  <a:lnTo>
                    <a:pt x="1026" y="1734"/>
                  </a:lnTo>
                  <a:lnTo>
                    <a:pt x="1032" y="1728"/>
                  </a:lnTo>
                  <a:lnTo>
                    <a:pt x="1032" y="1722"/>
                  </a:lnTo>
                  <a:lnTo>
                    <a:pt x="1044" y="1686"/>
                  </a:lnTo>
                  <a:lnTo>
                    <a:pt x="1044" y="1680"/>
                  </a:lnTo>
                  <a:lnTo>
                    <a:pt x="1032" y="1674"/>
                  </a:lnTo>
                  <a:lnTo>
                    <a:pt x="1026" y="1674"/>
                  </a:lnTo>
                  <a:lnTo>
                    <a:pt x="1026" y="1668"/>
                  </a:lnTo>
                  <a:lnTo>
                    <a:pt x="1020" y="1662"/>
                  </a:lnTo>
                  <a:lnTo>
                    <a:pt x="1014" y="1668"/>
                  </a:lnTo>
                  <a:lnTo>
                    <a:pt x="1008" y="1662"/>
                  </a:lnTo>
                  <a:lnTo>
                    <a:pt x="1002" y="1662"/>
                  </a:lnTo>
                  <a:lnTo>
                    <a:pt x="1002" y="1668"/>
                  </a:lnTo>
                  <a:lnTo>
                    <a:pt x="996" y="1668"/>
                  </a:lnTo>
                  <a:lnTo>
                    <a:pt x="996" y="1662"/>
                  </a:lnTo>
                  <a:lnTo>
                    <a:pt x="984" y="1662"/>
                  </a:lnTo>
                  <a:lnTo>
                    <a:pt x="984" y="1656"/>
                  </a:lnTo>
                  <a:lnTo>
                    <a:pt x="978" y="1650"/>
                  </a:lnTo>
                  <a:lnTo>
                    <a:pt x="978" y="1644"/>
                  </a:lnTo>
                  <a:lnTo>
                    <a:pt x="966" y="1650"/>
                  </a:lnTo>
                  <a:lnTo>
                    <a:pt x="960" y="1638"/>
                  </a:lnTo>
                  <a:lnTo>
                    <a:pt x="954" y="1632"/>
                  </a:lnTo>
                  <a:lnTo>
                    <a:pt x="948" y="1632"/>
                  </a:lnTo>
                  <a:lnTo>
                    <a:pt x="942" y="1626"/>
                  </a:lnTo>
                  <a:lnTo>
                    <a:pt x="942" y="1614"/>
                  </a:lnTo>
                  <a:lnTo>
                    <a:pt x="930" y="1608"/>
                  </a:lnTo>
                  <a:lnTo>
                    <a:pt x="924" y="1614"/>
                  </a:lnTo>
                  <a:lnTo>
                    <a:pt x="912" y="1608"/>
                  </a:lnTo>
                  <a:lnTo>
                    <a:pt x="888" y="1590"/>
                  </a:lnTo>
                  <a:lnTo>
                    <a:pt x="894" y="1578"/>
                  </a:lnTo>
                  <a:lnTo>
                    <a:pt x="894" y="1572"/>
                  </a:lnTo>
                  <a:lnTo>
                    <a:pt x="894" y="1566"/>
                  </a:lnTo>
                  <a:lnTo>
                    <a:pt x="894" y="1548"/>
                  </a:lnTo>
                  <a:lnTo>
                    <a:pt x="888" y="1548"/>
                  </a:lnTo>
                  <a:lnTo>
                    <a:pt x="882" y="1542"/>
                  </a:lnTo>
                  <a:lnTo>
                    <a:pt x="876" y="1542"/>
                  </a:lnTo>
                  <a:lnTo>
                    <a:pt x="876" y="1536"/>
                  </a:lnTo>
                  <a:lnTo>
                    <a:pt x="870" y="1542"/>
                  </a:lnTo>
                  <a:lnTo>
                    <a:pt x="870" y="1554"/>
                  </a:lnTo>
                  <a:lnTo>
                    <a:pt x="870" y="1566"/>
                  </a:lnTo>
                  <a:lnTo>
                    <a:pt x="870" y="1578"/>
                  </a:lnTo>
                  <a:lnTo>
                    <a:pt x="870" y="1584"/>
                  </a:lnTo>
                  <a:lnTo>
                    <a:pt x="864" y="1584"/>
                  </a:lnTo>
                  <a:lnTo>
                    <a:pt x="870" y="1602"/>
                  </a:lnTo>
                  <a:lnTo>
                    <a:pt x="864" y="1608"/>
                  </a:lnTo>
                  <a:lnTo>
                    <a:pt x="870" y="1614"/>
                  </a:lnTo>
                  <a:lnTo>
                    <a:pt x="864" y="1644"/>
                  </a:lnTo>
                  <a:lnTo>
                    <a:pt x="858" y="1650"/>
                  </a:lnTo>
                  <a:lnTo>
                    <a:pt x="858" y="1656"/>
                  </a:lnTo>
                  <a:lnTo>
                    <a:pt x="852" y="1662"/>
                  </a:lnTo>
                  <a:lnTo>
                    <a:pt x="852" y="1680"/>
                  </a:lnTo>
                  <a:lnTo>
                    <a:pt x="846" y="1686"/>
                  </a:lnTo>
                  <a:lnTo>
                    <a:pt x="834" y="1692"/>
                  </a:lnTo>
                  <a:lnTo>
                    <a:pt x="828" y="1692"/>
                  </a:lnTo>
                  <a:lnTo>
                    <a:pt x="822" y="1698"/>
                  </a:lnTo>
                  <a:lnTo>
                    <a:pt x="822" y="1704"/>
                  </a:lnTo>
                  <a:lnTo>
                    <a:pt x="816" y="1704"/>
                  </a:lnTo>
                  <a:lnTo>
                    <a:pt x="804" y="1692"/>
                  </a:lnTo>
                  <a:lnTo>
                    <a:pt x="786" y="1698"/>
                  </a:lnTo>
                  <a:lnTo>
                    <a:pt x="780" y="1698"/>
                  </a:lnTo>
                  <a:lnTo>
                    <a:pt x="756" y="1698"/>
                  </a:lnTo>
                  <a:lnTo>
                    <a:pt x="744" y="1698"/>
                  </a:lnTo>
                  <a:lnTo>
                    <a:pt x="738" y="1698"/>
                  </a:lnTo>
                  <a:lnTo>
                    <a:pt x="732" y="1704"/>
                  </a:lnTo>
                  <a:lnTo>
                    <a:pt x="726" y="1704"/>
                  </a:lnTo>
                  <a:lnTo>
                    <a:pt x="678" y="1710"/>
                  </a:lnTo>
                  <a:lnTo>
                    <a:pt x="642" y="1710"/>
                  </a:lnTo>
                  <a:lnTo>
                    <a:pt x="618" y="1680"/>
                  </a:lnTo>
                  <a:lnTo>
                    <a:pt x="618" y="1674"/>
                  </a:lnTo>
                  <a:lnTo>
                    <a:pt x="618" y="1668"/>
                  </a:lnTo>
                  <a:lnTo>
                    <a:pt x="624" y="1662"/>
                  </a:lnTo>
                  <a:lnTo>
                    <a:pt x="624" y="1656"/>
                  </a:lnTo>
                  <a:lnTo>
                    <a:pt x="624" y="1650"/>
                  </a:lnTo>
                  <a:lnTo>
                    <a:pt x="618" y="1650"/>
                  </a:lnTo>
                  <a:lnTo>
                    <a:pt x="618" y="1644"/>
                  </a:lnTo>
                  <a:lnTo>
                    <a:pt x="618" y="1638"/>
                  </a:lnTo>
                  <a:lnTo>
                    <a:pt x="618" y="1632"/>
                  </a:lnTo>
                  <a:lnTo>
                    <a:pt x="618" y="1626"/>
                  </a:lnTo>
                  <a:lnTo>
                    <a:pt x="612" y="1626"/>
                  </a:lnTo>
                  <a:lnTo>
                    <a:pt x="612" y="1620"/>
                  </a:lnTo>
                  <a:lnTo>
                    <a:pt x="606" y="1614"/>
                  </a:lnTo>
                  <a:lnTo>
                    <a:pt x="594" y="1626"/>
                  </a:lnTo>
                  <a:lnTo>
                    <a:pt x="594" y="1632"/>
                  </a:lnTo>
                  <a:lnTo>
                    <a:pt x="588" y="1638"/>
                  </a:lnTo>
                  <a:lnTo>
                    <a:pt x="582" y="1638"/>
                  </a:lnTo>
                  <a:lnTo>
                    <a:pt x="564" y="1656"/>
                  </a:lnTo>
                  <a:lnTo>
                    <a:pt x="558" y="1662"/>
                  </a:lnTo>
                  <a:lnTo>
                    <a:pt x="552" y="1662"/>
                  </a:lnTo>
                  <a:lnTo>
                    <a:pt x="540" y="1674"/>
                  </a:lnTo>
                  <a:lnTo>
                    <a:pt x="534" y="1680"/>
                  </a:lnTo>
                  <a:lnTo>
                    <a:pt x="522" y="1692"/>
                  </a:lnTo>
                  <a:lnTo>
                    <a:pt x="516" y="1704"/>
                  </a:lnTo>
                  <a:lnTo>
                    <a:pt x="510" y="1704"/>
                  </a:lnTo>
                  <a:lnTo>
                    <a:pt x="504" y="1704"/>
                  </a:lnTo>
                  <a:lnTo>
                    <a:pt x="486" y="1722"/>
                  </a:lnTo>
                  <a:lnTo>
                    <a:pt x="480" y="1740"/>
                  </a:lnTo>
                  <a:lnTo>
                    <a:pt x="474" y="1740"/>
                  </a:lnTo>
                  <a:lnTo>
                    <a:pt x="468" y="1746"/>
                  </a:lnTo>
                  <a:lnTo>
                    <a:pt x="456" y="1758"/>
                  </a:lnTo>
                  <a:lnTo>
                    <a:pt x="444" y="1770"/>
                  </a:lnTo>
                  <a:lnTo>
                    <a:pt x="438" y="1782"/>
                  </a:lnTo>
                  <a:lnTo>
                    <a:pt x="426" y="1788"/>
                  </a:lnTo>
                  <a:lnTo>
                    <a:pt x="420" y="1788"/>
                  </a:lnTo>
                  <a:lnTo>
                    <a:pt x="420" y="1782"/>
                  </a:lnTo>
                  <a:lnTo>
                    <a:pt x="414" y="1782"/>
                  </a:lnTo>
                  <a:lnTo>
                    <a:pt x="390" y="1782"/>
                  </a:lnTo>
                  <a:lnTo>
                    <a:pt x="390" y="1776"/>
                  </a:lnTo>
                  <a:lnTo>
                    <a:pt x="384" y="1776"/>
                  </a:lnTo>
                  <a:lnTo>
                    <a:pt x="378" y="1776"/>
                  </a:lnTo>
                  <a:lnTo>
                    <a:pt x="372" y="1776"/>
                  </a:lnTo>
                  <a:lnTo>
                    <a:pt x="366" y="1770"/>
                  </a:lnTo>
                  <a:lnTo>
                    <a:pt x="366" y="1776"/>
                  </a:lnTo>
                  <a:lnTo>
                    <a:pt x="360" y="1788"/>
                  </a:lnTo>
                  <a:lnTo>
                    <a:pt x="360" y="1794"/>
                  </a:lnTo>
                  <a:lnTo>
                    <a:pt x="360" y="1800"/>
                  </a:lnTo>
                  <a:lnTo>
                    <a:pt x="354" y="1806"/>
                  </a:lnTo>
                  <a:lnTo>
                    <a:pt x="354" y="1812"/>
                  </a:lnTo>
                  <a:lnTo>
                    <a:pt x="354" y="1824"/>
                  </a:lnTo>
                  <a:lnTo>
                    <a:pt x="348" y="1830"/>
                  </a:lnTo>
                  <a:lnTo>
                    <a:pt x="354" y="1836"/>
                  </a:lnTo>
                  <a:lnTo>
                    <a:pt x="348" y="1842"/>
                  </a:lnTo>
                  <a:lnTo>
                    <a:pt x="354" y="1848"/>
                  </a:lnTo>
                  <a:lnTo>
                    <a:pt x="348" y="1854"/>
                  </a:lnTo>
                  <a:lnTo>
                    <a:pt x="354" y="1854"/>
                  </a:lnTo>
                  <a:lnTo>
                    <a:pt x="348" y="1860"/>
                  </a:lnTo>
                  <a:lnTo>
                    <a:pt x="348" y="1866"/>
                  </a:lnTo>
                  <a:lnTo>
                    <a:pt x="342" y="1866"/>
                  </a:lnTo>
                  <a:lnTo>
                    <a:pt x="342" y="1872"/>
                  </a:lnTo>
                  <a:lnTo>
                    <a:pt x="342" y="1878"/>
                  </a:lnTo>
                  <a:lnTo>
                    <a:pt x="342" y="1884"/>
                  </a:lnTo>
                  <a:lnTo>
                    <a:pt x="336" y="1896"/>
                  </a:lnTo>
                  <a:lnTo>
                    <a:pt x="330" y="1914"/>
                  </a:lnTo>
                  <a:lnTo>
                    <a:pt x="324" y="1920"/>
                  </a:lnTo>
                  <a:lnTo>
                    <a:pt x="324" y="1926"/>
                  </a:lnTo>
                  <a:lnTo>
                    <a:pt x="318" y="1944"/>
                  </a:lnTo>
                  <a:lnTo>
                    <a:pt x="318" y="1950"/>
                  </a:lnTo>
                  <a:lnTo>
                    <a:pt x="312" y="1956"/>
                  </a:lnTo>
                  <a:lnTo>
                    <a:pt x="312" y="1950"/>
                  </a:lnTo>
                  <a:lnTo>
                    <a:pt x="306" y="1950"/>
                  </a:lnTo>
                  <a:lnTo>
                    <a:pt x="306" y="1956"/>
                  </a:lnTo>
                  <a:lnTo>
                    <a:pt x="300" y="1950"/>
                  </a:lnTo>
                  <a:lnTo>
                    <a:pt x="294" y="1956"/>
                  </a:lnTo>
                  <a:lnTo>
                    <a:pt x="288" y="1950"/>
                  </a:lnTo>
                  <a:lnTo>
                    <a:pt x="288" y="1944"/>
                  </a:lnTo>
                  <a:lnTo>
                    <a:pt x="282" y="1938"/>
                  </a:lnTo>
                  <a:lnTo>
                    <a:pt x="282" y="1932"/>
                  </a:lnTo>
                  <a:lnTo>
                    <a:pt x="282" y="1890"/>
                  </a:lnTo>
                  <a:lnTo>
                    <a:pt x="288" y="1860"/>
                  </a:lnTo>
                  <a:lnTo>
                    <a:pt x="294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300" y="1818"/>
                  </a:lnTo>
                  <a:lnTo>
                    <a:pt x="306" y="1794"/>
                  </a:lnTo>
                  <a:lnTo>
                    <a:pt x="306" y="1788"/>
                  </a:lnTo>
                  <a:lnTo>
                    <a:pt x="306" y="1782"/>
                  </a:lnTo>
                  <a:lnTo>
                    <a:pt x="312" y="1776"/>
                  </a:lnTo>
                  <a:lnTo>
                    <a:pt x="306" y="1776"/>
                  </a:lnTo>
                  <a:lnTo>
                    <a:pt x="312" y="1770"/>
                  </a:lnTo>
                  <a:lnTo>
                    <a:pt x="312" y="1740"/>
                  </a:lnTo>
                  <a:lnTo>
                    <a:pt x="318" y="1722"/>
                  </a:lnTo>
                  <a:lnTo>
                    <a:pt x="312" y="1722"/>
                  </a:lnTo>
                  <a:lnTo>
                    <a:pt x="300" y="1716"/>
                  </a:lnTo>
                  <a:lnTo>
                    <a:pt x="306" y="1716"/>
                  </a:lnTo>
                  <a:lnTo>
                    <a:pt x="312" y="1710"/>
                  </a:lnTo>
                  <a:lnTo>
                    <a:pt x="324" y="1674"/>
                  </a:lnTo>
                  <a:lnTo>
                    <a:pt x="366" y="1590"/>
                  </a:lnTo>
                  <a:lnTo>
                    <a:pt x="408" y="1548"/>
                  </a:lnTo>
                  <a:lnTo>
                    <a:pt x="426" y="1530"/>
                  </a:lnTo>
                  <a:lnTo>
                    <a:pt x="432" y="1500"/>
                  </a:lnTo>
                  <a:lnTo>
                    <a:pt x="426" y="1494"/>
                  </a:lnTo>
                  <a:lnTo>
                    <a:pt x="426" y="1482"/>
                  </a:lnTo>
                  <a:lnTo>
                    <a:pt x="432" y="1464"/>
                  </a:lnTo>
                  <a:lnTo>
                    <a:pt x="438" y="1428"/>
                  </a:lnTo>
                  <a:lnTo>
                    <a:pt x="462" y="1398"/>
                  </a:lnTo>
                  <a:lnTo>
                    <a:pt x="468" y="1362"/>
                  </a:lnTo>
                  <a:lnTo>
                    <a:pt x="462" y="1314"/>
                  </a:lnTo>
                  <a:lnTo>
                    <a:pt x="444" y="1284"/>
                  </a:lnTo>
                  <a:lnTo>
                    <a:pt x="432" y="1260"/>
                  </a:lnTo>
                  <a:lnTo>
                    <a:pt x="426" y="1260"/>
                  </a:lnTo>
                  <a:lnTo>
                    <a:pt x="420" y="1254"/>
                  </a:lnTo>
                  <a:lnTo>
                    <a:pt x="408" y="1260"/>
                  </a:lnTo>
                  <a:lnTo>
                    <a:pt x="402" y="1260"/>
                  </a:lnTo>
                  <a:lnTo>
                    <a:pt x="402" y="1254"/>
                  </a:lnTo>
                  <a:lnTo>
                    <a:pt x="396" y="1254"/>
                  </a:lnTo>
                  <a:lnTo>
                    <a:pt x="396" y="1248"/>
                  </a:lnTo>
                  <a:lnTo>
                    <a:pt x="384" y="1248"/>
                  </a:lnTo>
                  <a:lnTo>
                    <a:pt x="372" y="1230"/>
                  </a:lnTo>
                  <a:lnTo>
                    <a:pt x="360" y="1212"/>
                  </a:lnTo>
                  <a:lnTo>
                    <a:pt x="348" y="1188"/>
                  </a:lnTo>
                  <a:lnTo>
                    <a:pt x="324" y="1170"/>
                  </a:lnTo>
                  <a:lnTo>
                    <a:pt x="318" y="1170"/>
                  </a:lnTo>
                  <a:lnTo>
                    <a:pt x="312" y="1158"/>
                  </a:lnTo>
                  <a:lnTo>
                    <a:pt x="312" y="1152"/>
                  </a:lnTo>
                  <a:lnTo>
                    <a:pt x="306" y="1146"/>
                  </a:lnTo>
                  <a:lnTo>
                    <a:pt x="270" y="1122"/>
                  </a:lnTo>
                  <a:lnTo>
                    <a:pt x="240" y="1122"/>
                  </a:lnTo>
                  <a:lnTo>
                    <a:pt x="180" y="1116"/>
                  </a:lnTo>
                  <a:lnTo>
                    <a:pt x="174" y="1122"/>
                  </a:lnTo>
                  <a:lnTo>
                    <a:pt x="174" y="1128"/>
                  </a:lnTo>
                  <a:lnTo>
                    <a:pt x="168" y="1122"/>
                  </a:lnTo>
                  <a:lnTo>
                    <a:pt x="162" y="1116"/>
                  </a:lnTo>
                  <a:lnTo>
                    <a:pt x="144" y="1122"/>
                  </a:lnTo>
                  <a:lnTo>
                    <a:pt x="120" y="1122"/>
                  </a:lnTo>
                  <a:lnTo>
                    <a:pt x="54" y="1134"/>
                  </a:lnTo>
                  <a:lnTo>
                    <a:pt x="24" y="1152"/>
                  </a:lnTo>
                  <a:lnTo>
                    <a:pt x="6" y="1146"/>
                  </a:lnTo>
                  <a:lnTo>
                    <a:pt x="0" y="1134"/>
                  </a:lnTo>
                  <a:lnTo>
                    <a:pt x="0" y="1128"/>
                  </a:lnTo>
                  <a:lnTo>
                    <a:pt x="18" y="1110"/>
                  </a:lnTo>
                  <a:lnTo>
                    <a:pt x="24" y="1104"/>
                  </a:lnTo>
                  <a:lnTo>
                    <a:pt x="24" y="1098"/>
                  </a:lnTo>
                  <a:lnTo>
                    <a:pt x="30" y="1086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24" y="1074"/>
                  </a:lnTo>
                  <a:lnTo>
                    <a:pt x="18" y="1068"/>
                  </a:lnTo>
                  <a:lnTo>
                    <a:pt x="24" y="1062"/>
                  </a:lnTo>
                  <a:lnTo>
                    <a:pt x="42" y="1056"/>
                  </a:lnTo>
                  <a:lnTo>
                    <a:pt x="54" y="1050"/>
                  </a:lnTo>
                  <a:lnTo>
                    <a:pt x="72" y="1044"/>
                  </a:lnTo>
                  <a:lnTo>
                    <a:pt x="96" y="1032"/>
                  </a:lnTo>
                  <a:lnTo>
                    <a:pt x="102" y="1032"/>
                  </a:lnTo>
                  <a:lnTo>
                    <a:pt x="126" y="1008"/>
                  </a:lnTo>
                  <a:lnTo>
                    <a:pt x="144" y="990"/>
                  </a:lnTo>
                  <a:lnTo>
                    <a:pt x="156" y="978"/>
                  </a:lnTo>
                  <a:lnTo>
                    <a:pt x="156" y="966"/>
                  </a:lnTo>
                  <a:lnTo>
                    <a:pt x="150" y="960"/>
                  </a:lnTo>
                  <a:lnTo>
                    <a:pt x="144" y="948"/>
                  </a:lnTo>
                  <a:lnTo>
                    <a:pt x="144" y="936"/>
                  </a:lnTo>
                  <a:lnTo>
                    <a:pt x="138" y="918"/>
                  </a:lnTo>
                  <a:lnTo>
                    <a:pt x="150" y="912"/>
                  </a:lnTo>
                  <a:lnTo>
                    <a:pt x="150" y="894"/>
                  </a:lnTo>
                  <a:lnTo>
                    <a:pt x="132" y="876"/>
                  </a:lnTo>
                  <a:lnTo>
                    <a:pt x="126" y="876"/>
                  </a:lnTo>
                  <a:lnTo>
                    <a:pt x="120" y="870"/>
                  </a:lnTo>
                  <a:lnTo>
                    <a:pt x="120" y="864"/>
                  </a:lnTo>
                  <a:lnTo>
                    <a:pt x="114" y="864"/>
                  </a:lnTo>
                  <a:lnTo>
                    <a:pt x="108" y="864"/>
                  </a:lnTo>
                  <a:lnTo>
                    <a:pt x="108" y="858"/>
                  </a:lnTo>
                  <a:lnTo>
                    <a:pt x="102" y="852"/>
                  </a:lnTo>
                  <a:lnTo>
                    <a:pt x="96" y="852"/>
                  </a:lnTo>
                  <a:lnTo>
                    <a:pt x="102" y="834"/>
                  </a:lnTo>
                  <a:lnTo>
                    <a:pt x="108" y="816"/>
                  </a:lnTo>
                  <a:lnTo>
                    <a:pt x="114" y="804"/>
                  </a:lnTo>
                  <a:lnTo>
                    <a:pt x="132" y="798"/>
                  </a:lnTo>
                  <a:lnTo>
                    <a:pt x="144" y="798"/>
                  </a:lnTo>
                  <a:lnTo>
                    <a:pt x="180" y="810"/>
                  </a:lnTo>
                  <a:lnTo>
                    <a:pt x="192" y="816"/>
                  </a:lnTo>
                  <a:lnTo>
                    <a:pt x="234" y="822"/>
                  </a:lnTo>
                  <a:lnTo>
                    <a:pt x="264" y="828"/>
                  </a:lnTo>
                  <a:lnTo>
                    <a:pt x="270" y="840"/>
                  </a:lnTo>
                  <a:lnTo>
                    <a:pt x="270" y="834"/>
                  </a:lnTo>
                  <a:lnTo>
                    <a:pt x="270" y="828"/>
                  </a:lnTo>
                  <a:lnTo>
                    <a:pt x="270" y="822"/>
                  </a:lnTo>
                  <a:lnTo>
                    <a:pt x="270" y="816"/>
                  </a:lnTo>
                  <a:lnTo>
                    <a:pt x="264" y="810"/>
                  </a:lnTo>
                  <a:lnTo>
                    <a:pt x="264" y="804"/>
                  </a:lnTo>
                  <a:lnTo>
                    <a:pt x="264" y="798"/>
                  </a:lnTo>
                  <a:lnTo>
                    <a:pt x="258" y="792"/>
                  </a:lnTo>
                  <a:lnTo>
                    <a:pt x="258" y="786"/>
                  </a:lnTo>
                  <a:lnTo>
                    <a:pt x="264" y="786"/>
                  </a:lnTo>
                  <a:lnTo>
                    <a:pt x="264" y="780"/>
                  </a:lnTo>
                  <a:lnTo>
                    <a:pt x="258" y="774"/>
                  </a:lnTo>
                  <a:lnTo>
                    <a:pt x="258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82" y="762"/>
                  </a:lnTo>
                  <a:lnTo>
                    <a:pt x="312" y="780"/>
                  </a:lnTo>
                  <a:lnTo>
                    <a:pt x="354" y="786"/>
                  </a:lnTo>
                  <a:lnTo>
                    <a:pt x="408" y="774"/>
                  </a:lnTo>
                  <a:lnTo>
                    <a:pt x="444" y="756"/>
                  </a:lnTo>
                  <a:lnTo>
                    <a:pt x="468" y="732"/>
                  </a:lnTo>
                  <a:lnTo>
                    <a:pt x="492" y="720"/>
                  </a:lnTo>
                  <a:lnTo>
                    <a:pt x="522" y="690"/>
                  </a:lnTo>
                  <a:lnTo>
                    <a:pt x="540" y="672"/>
                  </a:lnTo>
                  <a:lnTo>
                    <a:pt x="558" y="660"/>
                  </a:lnTo>
                  <a:lnTo>
                    <a:pt x="570" y="636"/>
                  </a:lnTo>
                  <a:lnTo>
                    <a:pt x="588" y="612"/>
                  </a:lnTo>
                  <a:lnTo>
                    <a:pt x="654" y="552"/>
                  </a:lnTo>
                  <a:lnTo>
                    <a:pt x="678" y="528"/>
                  </a:lnTo>
                  <a:lnTo>
                    <a:pt x="696" y="510"/>
                  </a:lnTo>
                  <a:lnTo>
                    <a:pt x="714" y="498"/>
                  </a:lnTo>
                  <a:lnTo>
                    <a:pt x="750" y="480"/>
                  </a:lnTo>
                  <a:lnTo>
                    <a:pt x="774" y="444"/>
                  </a:lnTo>
                  <a:lnTo>
                    <a:pt x="816" y="426"/>
                  </a:lnTo>
                  <a:lnTo>
                    <a:pt x="864" y="420"/>
                  </a:lnTo>
                  <a:lnTo>
                    <a:pt x="912" y="402"/>
                  </a:lnTo>
                  <a:lnTo>
                    <a:pt x="906" y="396"/>
                  </a:lnTo>
                  <a:lnTo>
                    <a:pt x="912" y="396"/>
                  </a:lnTo>
                  <a:lnTo>
                    <a:pt x="912" y="390"/>
                  </a:lnTo>
                  <a:lnTo>
                    <a:pt x="918" y="384"/>
                  </a:lnTo>
                  <a:lnTo>
                    <a:pt x="924" y="384"/>
                  </a:lnTo>
                  <a:lnTo>
                    <a:pt x="924" y="378"/>
                  </a:lnTo>
                  <a:lnTo>
                    <a:pt x="918" y="372"/>
                  </a:lnTo>
                  <a:lnTo>
                    <a:pt x="918" y="366"/>
                  </a:lnTo>
                  <a:lnTo>
                    <a:pt x="918" y="360"/>
                  </a:lnTo>
                  <a:lnTo>
                    <a:pt x="924" y="360"/>
                  </a:lnTo>
                  <a:lnTo>
                    <a:pt x="924" y="354"/>
                  </a:lnTo>
                  <a:lnTo>
                    <a:pt x="930" y="354"/>
                  </a:lnTo>
                  <a:lnTo>
                    <a:pt x="936" y="354"/>
                  </a:lnTo>
                  <a:lnTo>
                    <a:pt x="936" y="348"/>
                  </a:lnTo>
                  <a:lnTo>
                    <a:pt x="942" y="348"/>
                  </a:lnTo>
                  <a:lnTo>
                    <a:pt x="942" y="336"/>
                  </a:lnTo>
                  <a:lnTo>
                    <a:pt x="936" y="336"/>
                  </a:lnTo>
                  <a:lnTo>
                    <a:pt x="930" y="330"/>
                  </a:lnTo>
                  <a:lnTo>
                    <a:pt x="924" y="330"/>
                  </a:lnTo>
                  <a:lnTo>
                    <a:pt x="924" y="324"/>
                  </a:lnTo>
                  <a:lnTo>
                    <a:pt x="918" y="318"/>
                  </a:lnTo>
                  <a:lnTo>
                    <a:pt x="912" y="306"/>
                  </a:lnTo>
                  <a:lnTo>
                    <a:pt x="918" y="306"/>
                  </a:lnTo>
                  <a:lnTo>
                    <a:pt x="924" y="300"/>
                  </a:lnTo>
                  <a:lnTo>
                    <a:pt x="924" y="294"/>
                  </a:lnTo>
                  <a:lnTo>
                    <a:pt x="924" y="288"/>
                  </a:lnTo>
                  <a:lnTo>
                    <a:pt x="924" y="282"/>
                  </a:lnTo>
                  <a:lnTo>
                    <a:pt x="924" y="276"/>
                  </a:lnTo>
                  <a:lnTo>
                    <a:pt x="918" y="270"/>
                  </a:lnTo>
                  <a:lnTo>
                    <a:pt x="918" y="264"/>
                  </a:lnTo>
                  <a:lnTo>
                    <a:pt x="912" y="270"/>
                  </a:lnTo>
                  <a:lnTo>
                    <a:pt x="912" y="264"/>
                  </a:lnTo>
                  <a:lnTo>
                    <a:pt x="912" y="258"/>
                  </a:lnTo>
                  <a:lnTo>
                    <a:pt x="912" y="252"/>
                  </a:lnTo>
                  <a:lnTo>
                    <a:pt x="906" y="252"/>
                  </a:lnTo>
                  <a:lnTo>
                    <a:pt x="900" y="246"/>
                  </a:lnTo>
                  <a:lnTo>
                    <a:pt x="900" y="240"/>
                  </a:lnTo>
                  <a:lnTo>
                    <a:pt x="900" y="246"/>
                  </a:lnTo>
                  <a:lnTo>
                    <a:pt x="894" y="246"/>
                  </a:lnTo>
                  <a:lnTo>
                    <a:pt x="894" y="240"/>
                  </a:lnTo>
                  <a:lnTo>
                    <a:pt x="894" y="234"/>
                  </a:lnTo>
                  <a:lnTo>
                    <a:pt x="900" y="234"/>
                  </a:lnTo>
                  <a:lnTo>
                    <a:pt x="900" y="228"/>
                  </a:lnTo>
                  <a:lnTo>
                    <a:pt x="906" y="228"/>
                  </a:lnTo>
                  <a:lnTo>
                    <a:pt x="900" y="222"/>
                  </a:lnTo>
                  <a:lnTo>
                    <a:pt x="894" y="216"/>
                  </a:lnTo>
                  <a:lnTo>
                    <a:pt x="894" y="210"/>
                  </a:lnTo>
                  <a:lnTo>
                    <a:pt x="888" y="210"/>
                  </a:lnTo>
                  <a:lnTo>
                    <a:pt x="888" y="204"/>
                  </a:lnTo>
                  <a:lnTo>
                    <a:pt x="888" y="198"/>
                  </a:lnTo>
                  <a:lnTo>
                    <a:pt x="888" y="192"/>
                  </a:lnTo>
                  <a:lnTo>
                    <a:pt x="882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82" y="174"/>
                  </a:lnTo>
                  <a:lnTo>
                    <a:pt x="888" y="168"/>
                  </a:lnTo>
                  <a:lnTo>
                    <a:pt x="888" y="162"/>
                  </a:lnTo>
                  <a:lnTo>
                    <a:pt x="888" y="156"/>
                  </a:lnTo>
                  <a:lnTo>
                    <a:pt x="888" y="150"/>
                  </a:lnTo>
                  <a:lnTo>
                    <a:pt x="888" y="144"/>
                  </a:lnTo>
                  <a:lnTo>
                    <a:pt x="882" y="144"/>
                  </a:lnTo>
                  <a:lnTo>
                    <a:pt x="882" y="138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76" y="120"/>
                  </a:lnTo>
                  <a:lnTo>
                    <a:pt x="882" y="114"/>
                  </a:lnTo>
                  <a:lnTo>
                    <a:pt x="882" y="108"/>
                  </a:lnTo>
                  <a:lnTo>
                    <a:pt x="888" y="102"/>
                  </a:lnTo>
                  <a:lnTo>
                    <a:pt x="894" y="102"/>
                  </a:lnTo>
                  <a:lnTo>
                    <a:pt x="894" y="96"/>
                  </a:lnTo>
                  <a:lnTo>
                    <a:pt x="888" y="96"/>
                  </a:lnTo>
                  <a:lnTo>
                    <a:pt x="894" y="90"/>
                  </a:lnTo>
                  <a:lnTo>
                    <a:pt x="888" y="84"/>
                  </a:lnTo>
                  <a:lnTo>
                    <a:pt x="888" y="78"/>
                  </a:lnTo>
                  <a:lnTo>
                    <a:pt x="924" y="66"/>
                  </a:lnTo>
                  <a:lnTo>
                    <a:pt x="966" y="66"/>
                  </a:lnTo>
                  <a:lnTo>
                    <a:pt x="996" y="48"/>
                  </a:lnTo>
                  <a:lnTo>
                    <a:pt x="1056" y="12"/>
                  </a:lnTo>
                  <a:lnTo>
                    <a:pt x="1128" y="0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0" y="18"/>
                  </a:lnTo>
                  <a:lnTo>
                    <a:pt x="1176" y="24"/>
                  </a:lnTo>
                  <a:lnTo>
                    <a:pt x="1182" y="24"/>
                  </a:lnTo>
                  <a:lnTo>
                    <a:pt x="1188" y="30"/>
                  </a:lnTo>
                  <a:lnTo>
                    <a:pt x="1194" y="30"/>
                  </a:lnTo>
                  <a:lnTo>
                    <a:pt x="1194" y="36"/>
                  </a:lnTo>
                  <a:lnTo>
                    <a:pt x="1260" y="30"/>
                  </a:lnTo>
                  <a:lnTo>
                    <a:pt x="1272" y="30"/>
                  </a:lnTo>
                  <a:lnTo>
                    <a:pt x="1296" y="24"/>
                  </a:lnTo>
                  <a:lnTo>
                    <a:pt x="1302" y="30"/>
                  </a:lnTo>
                  <a:lnTo>
                    <a:pt x="1302" y="36"/>
                  </a:lnTo>
                  <a:lnTo>
                    <a:pt x="1308" y="36"/>
                  </a:lnTo>
                  <a:lnTo>
                    <a:pt x="1314" y="36"/>
                  </a:lnTo>
                  <a:lnTo>
                    <a:pt x="1320" y="36"/>
                  </a:lnTo>
                  <a:lnTo>
                    <a:pt x="1326" y="30"/>
                  </a:lnTo>
                  <a:lnTo>
                    <a:pt x="1332" y="30"/>
                  </a:lnTo>
                  <a:lnTo>
                    <a:pt x="1338" y="30"/>
                  </a:lnTo>
                  <a:lnTo>
                    <a:pt x="1344" y="30"/>
                  </a:lnTo>
                  <a:lnTo>
                    <a:pt x="1374" y="30"/>
                  </a:lnTo>
                  <a:lnTo>
                    <a:pt x="1386" y="30"/>
                  </a:lnTo>
                  <a:lnTo>
                    <a:pt x="1392" y="24"/>
                  </a:lnTo>
                  <a:lnTo>
                    <a:pt x="1398" y="12"/>
                  </a:lnTo>
                  <a:lnTo>
                    <a:pt x="1404" y="6"/>
                  </a:lnTo>
                  <a:lnTo>
                    <a:pt x="1410" y="6"/>
                  </a:lnTo>
                  <a:lnTo>
                    <a:pt x="1410" y="12"/>
                  </a:lnTo>
                  <a:lnTo>
                    <a:pt x="1416" y="18"/>
                  </a:lnTo>
                  <a:lnTo>
                    <a:pt x="1416" y="36"/>
                  </a:lnTo>
                  <a:lnTo>
                    <a:pt x="1434" y="54"/>
                  </a:lnTo>
                  <a:lnTo>
                    <a:pt x="1434" y="60"/>
                  </a:lnTo>
                  <a:lnTo>
                    <a:pt x="1434" y="66"/>
                  </a:lnTo>
                  <a:lnTo>
                    <a:pt x="1434" y="72"/>
                  </a:lnTo>
                  <a:lnTo>
                    <a:pt x="1428" y="72"/>
                  </a:lnTo>
                  <a:lnTo>
                    <a:pt x="1428" y="78"/>
                  </a:lnTo>
                  <a:lnTo>
                    <a:pt x="1434" y="78"/>
                  </a:lnTo>
                  <a:lnTo>
                    <a:pt x="1440" y="84"/>
                  </a:lnTo>
                  <a:lnTo>
                    <a:pt x="1440" y="90"/>
                  </a:lnTo>
                  <a:lnTo>
                    <a:pt x="1440" y="96"/>
                  </a:lnTo>
                  <a:lnTo>
                    <a:pt x="1446" y="96"/>
                  </a:lnTo>
                  <a:lnTo>
                    <a:pt x="1446" y="108"/>
                  </a:lnTo>
                  <a:lnTo>
                    <a:pt x="1452" y="108"/>
                  </a:lnTo>
                  <a:lnTo>
                    <a:pt x="1452" y="114"/>
                  </a:lnTo>
                  <a:lnTo>
                    <a:pt x="1458" y="114"/>
                  </a:lnTo>
                  <a:lnTo>
                    <a:pt x="1470" y="120"/>
                  </a:lnTo>
                  <a:lnTo>
                    <a:pt x="1476" y="120"/>
                  </a:lnTo>
                  <a:lnTo>
                    <a:pt x="1476" y="114"/>
                  </a:lnTo>
                  <a:lnTo>
                    <a:pt x="1488" y="120"/>
                  </a:lnTo>
                  <a:lnTo>
                    <a:pt x="1506" y="120"/>
                  </a:lnTo>
                  <a:lnTo>
                    <a:pt x="1512" y="120"/>
                  </a:lnTo>
                  <a:lnTo>
                    <a:pt x="1518" y="120"/>
                  </a:lnTo>
                  <a:lnTo>
                    <a:pt x="1524" y="126"/>
                  </a:lnTo>
                  <a:lnTo>
                    <a:pt x="1536" y="150"/>
                  </a:lnTo>
                  <a:lnTo>
                    <a:pt x="1548" y="162"/>
                  </a:lnTo>
                  <a:lnTo>
                    <a:pt x="1554" y="168"/>
                  </a:lnTo>
                  <a:lnTo>
                    <a:pt x="1584" y="228"/>
                  </a:lnTo>
                  <a:lnTo>
                    <a:pt x="1584" y="234"/>
                  </a:lnTo>
                  <a:lnTo>
                    <a:pt x="1578" y="312"/>
                  </a:lnTo>
                  <a:lnTo>
                    <a:pt x="1590" y="318"/>
                  </a:lnTo>
                  <a:lnTo>
                    <a:pt x="1608" y="330"/>
                  </a:lnTo>
                  <a:lnTo>
                    <a:pt x="1620" y="342"/>
                  </a:lnTo>
                  <a:lnTo>
                    <a:pt x="1626" y="342"/>
                  </a:lnTo>
                  <a:lnTo>
                    <a:pt x="1692" y="360"/>
                  </a:lnTo>
                  <a:lnTo>
                    <a:pt x="1710" y="408"/>
                  </a:lnTo>
                  <a:lnTo>
                    <a:pt x="1722" y="426"/>
                  </a:lnTo>
                  <a:lnTo>
                    <a:pt x="1716" y="468"/>
                  </a:lnTo>
                  <a:lnTo>
                    <a:pt x="1686" y="486"/>
                  </a:lnTo>
                  <a:lnTo>
                    <a:pt x="1686" y="492"/>
                  </a:lnTo>
                  <a:lnTo>
                    <a:pt x="1680" y="498"/>
                  </a:lnTo>
                  <a:lnTo>
                    <a:pt x="1650" y="558"/>
                  </a:lnTo>
                  <a:lnTo>
                    <a:pt x="1650" y="570"/>
                  </a:lnTo>
                  <a:lnTo>
                    <a:pt x="1644" y="570"/>
                  </a:lnTo>
                  <a:lnTo>
                    <a:pt x="1638" y="582"/>
                  </a:lnTo>
                  <a:lnTo>
                    <a:pt x="1638" y="624"/>
                  </a:lnTo>
                  <a:lnTo>
                    <a:pt x="1638" y="636"/>
                  </a:lnTo>
                  <a:lnTo>
                    <a:pt x="1638" y="642"/>
                  </a:lnTo>
                  <a:lnTo>
                    <a:pt x="1632" y="660"/>
                  </a:lnTo>
                  <a:lnTo>
                    <a:pt x="1608" y="678"/>
                  </a:lnTo>
                  <a:lnTo>
                    <a:pt x="1584" y="690"/>
                  </a:lnTo>
                  <a:lnTo>
                    <a:pt x="1584" y="696"/>
                  </a:lnTo>
                  <a:lnTo>
                    <a:pt x="1578" y="702"/>
                  </a:lnTo>
                  <a:lnTo>
                    <a:pt x="1584" y="702"/>
                  </a:lnTo>
                  <a:lnTo>
                    <a:pt x="1578" y="714"/>
                  </a:lnTo>
                  <a:lnTo>
                    <a:pt x="1572" y="714"/>
                  </a:lnTo>
                  <a:lnTo>
                    <a:pt x="1572" y="720"/>
                  </a:lnTo>
                  <a:lnTo>
                    <a:pt x="1566" y="720"/>
                  </a:lnTo>
                  <a:lnTo>
                    <a:pt x="1560" y="726"/>
                  </a:lnTo>
                  <a:lnTo>
                    <a:pt x="1560" y="732"/>
                  </a:lnTo>
                  <a:lnTo>
                    <a:pt x="1554" y="732"/>
                  </a:lnTo>
                  <a:lnTo>
                    <a:pt x="1554" y="738"/>
                  </a:lnTo>
                  <a:lnTo>
                    <a:pt x="1554" y="744"/>
                  </a:lnTo>
                  <a:lnTo>
                    <a:pt x="1548" y="744"/>
                  </a:lnTo>
                  <a:lnTo>
                    <a:pt x="1548" y="738"/>
                  </a:lnTo>
                  <a:lnTo>
                    <a:pt x="1542" y="738"/>
                  </a:lnTo>
                  <a:lnTo>
                    <a:pt x="1542" y="744"/>
                  </a:lnTo>
                  <a:lnTo>
                    <a:pt x="1542" y="750"/>
                  </a:lnTo>
                  <a:lnTo>
                    <a:pt x="1494" y="804"/>
                  </a:lnTo>
                  <a:lnTo>
                    <a:pt x="1446" y="876"/>
                  </a:lnTo>
                  <a:lnTo>
                    <a:pt x="1440" y="876"/>
                  </a:lnTo>
                  <a:lnTo>
                    <a:pt x="1434" y="876"/>
                  </a:lnTo>
                  <a:lnTo>
                    <a:pt x="1428" y="882"/>
                  </a:lnTo>
                  <a:lnTo>
                    <a:pt x="1422" y="882"/>
                  </a:lnTo>
                  <a:lnTo>
                    <a:pt x="1386" y="924"/>
                  </a:lnTo>
                  <a:lnTo>
                    <a:pt x="1362" y="954"/>
                  </a:lnTo>
                  <a:lnTo>
                    <a:pt x="1356" y="984"/>
                  </a:lnTo>
                  <a:lnTo>
                    <a:pt x="1362" y="1002"/>
                  </a:lnTo>
                  <a:lnTo>
                    <a:pt x="1368" y="1020"/>
                  </a:lnTo>
                  <a:lnTo>
                    <a:pt x="1386" y="1056"/>
                  </a:lnTo>
                  <a:lnTo>
                    <a:pt x="1404" y="1074"/>
                  </a:lnTo>
                  <a:lnTo>
                    <a:pt x="1416" y="1080"/>
                  </a:lnTo>
                  <a:lnTo>
                    <a:pt x="1416" y="1086"/>
                  </a:lnTo>
                  <a:lnTo>
                    <a:pt x="1422" y="1098"/>
                  </a:lnTo>
                  <a:lnTo>
                    <a:pt x="1422" y="1110"/>
                  </a:lnTo>
                  <a:lnTo>
                    <a:pt x="1428" y="1116"/>
                  </a:lnTo>
                  <a:lnTo>
                    <a:pt x="1434" y="1116"/>
                  </a:lnTo>
                  <a:lnTo>
                    <a:pt x="1434" y="1122"/>
                  </a:lnTo>
                  <a:lnTo>
                    <a:pt x="1434" y="1128"/>
                  </a:lnTo>
                  <a:lnTo>
                    <a:pt x="1440" y="1134"/>
                  </a:lnTo>
                  <a:lnTo>
                    <a:pt x="1446" y="1134"/>
                  </a:lnTo>
                  <a:lnTo>
                    <a:pt x="1458" y="1134"/>
                  </a:lnTo>
                  <a:lnTo>
                    <a:pt x="1458" y="1140"/>
                  </a:lnTo>
                  <a:lnTo>
                    <a:pt x="1464" y="1134"/>
                  </a:lnTo>
                  <a:lnTo>
                    <a:pt x="1470" y="1134"/>
                  </a:lnTo>
                  <a:lnTo>
                    <a:pt x="1464" y="1128"/>
                  </a:lnTo>
                  <a:lnTo>
                    <a:pt x="1464" y="1122"/>
                  </a:lnTo>
                  <a:lnTo>
                    <a:pt x="1470" y="1116"/>
                  </a:lnTo>
                  <a:lnTo>
                    <a:pt x="1470" y="1122"/>
                  </a:lnTo>
                  <a:lnTo>
                    <a:pt x="1476" y="1122"/>
                  </a:lnTo>
                  <a:lnTo>
                    <a:pt x="1476" y="1116"/>
                  </a:lnTo>
                  <a:lnTo>
                    <a:pt x="1482" y="1110"/>
                  </a:lnTo>
                  <a:lnTo>
                    <a:pt x="1476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82" y="1086"/>
                  </a:lnTo>
                  <a:lnTo>
                    <a:pt x="1482" y="1074"/>
                  </a:lnTo>
                  <a:lnTo>
                    <a:pt x="1488" y="1068"/>
                  </a:lnTo>
                  <a:lnTo>
                    <a:pt x="1488" y="1062"/>
                  </a:lnTo>
                  <a:lnTo>
                    <a:pt x="1494" y="1062"/>
                  </a:lnTo>
                  <a:lnTo>
                    <a:pt x="1500" y="1062"/>
                  </a:lnTo>
                  <a:lnTo>
                    <a:pt x="1506" y="1062"/>
                  </a:lnTo>
                  <a:lnTo>
                    <a:pt x="1506" y="1056"/>
                  </a:lnTo>
                  <a:lnTo>
                    <a:pt x="1506" y="1062"/>
                  </a:lnTo>
                  <a:lnTo>
                    <a:pt x="1518" y="1062"/>
                  </a:lnTo>
                  <a:lnTo>
                    <a:pt x="1524" y="1062"/>
                  </a:lnTo>
                  <a:lnTo>
                    <a:pt x="1530" y="1062"/>
                  </a:lnTo>
                  <a:lnTo>
                    <a:pt x="1536" y="1068"/>
                  </a:lnTo>
                  <a:lnTo>
                    <a:pt x="1536" y="1074"/>
                  </a:lnTo>
                  <a:lnTo>
                    <a:pt x="1542" y="1086"/>
                  </a:lnTo>
                  <a:lnTo>
                    <a:pt x="1548" y="1086"/>
                  </a:lnTo>
                  <a:lnTo>
                    <a:pt x="1554" y="1086"/>
                  </a:lnTo>
                  <a:lnTo>
                    <a:pt x="1566" y="1098"/>
                  </a:lnTo>
                  <a:lnTo>
                    <a:pt x="1572" y="1104"/>
                  </a:lnTo>
                  <a:lnTo>
                    <a:pt x="1566" y="1110"/>
                  </a:lnTo>
                  <a:lnTo>
                    <a:pt x="1572" y="1116"/>
                  </a:lnTo>
                  <a:lnTo>
                    <a:pt x="1578" y="1116"/>
                  </a:lnTo>
                  <a:lnTo>
                    <a:pt x="1578" y="1122"/>
                  </a:lnTo>
                  <a:lnTo>
                    <a:pt x="1584" y="1122"/>
                  </a:lnTo>
                  <a:lnTo>
                    <a:pt x="1584" y="1128"/>
                  </a:lnTo>
                  <a:lnTo>
                    <a:pt x="1584" y="1134"/>
                  </a:lnTo>
                  <a:lnTo>
                    <a:pt x="1590" y="1134"/>
                  </a:lnTo>
                  <a:lnTo>
                    <a:pt x="1596" y="1140"/>
                  </a:lnTo>
                  <a:lnTo>
                    <a:pt x="1602" y="1146"/>
                  </a:lnTo>
                  <a:lnTo>
                    <a:pt x="1608" y="1146"/>
                  </a:lnTo>
                  <a:lnTo>
                    <a:pt x="1614" y="1146"/>
                  </a:lnTo>
                  <a:lnTo>
                    <a:pt x="1614" y="1152"/>
                  </a:lnTo>
                  <a:lnTo>
                    <a:pt x="1620" y="1152"/>
                  </a:lnTo>
                  <a:lnTo>
                    <a:pt x="1626" y="1164"/>
                  </a:lnTo>
                  <a:lnTo>
                    <a:pt x="1632" y="1170"/>
                  </a:lnTo>
                  <a:lnTo>
                    <a:pt x="1638" y="1176"/>
                  </a:lnTo>
                  <a:lnTo>
                    <a:pt x="1638" y="1182"/>
                  </a:lnTo>
                  <a:lnTo>
                    <a:pt x="1644" y="1194"/>
                  </a:lnTo>
                  <a:lnTo>
                    <a:pt x="1644" y="1200"/>
                  </a:lnTo>
                  <a:lnTo>
                    <a:pt x="1638" y="1200"/>
                  </a:lnTo>
                  <a:lnTo>
                    <a:pt x="1638" y="1206"/>
                  </a:lnTo>
                  <a:lnTo>
                    <a:pt x="1638" y="1212"/>
                  </a:lnTo>
                  <a:lnTo>
                    <a:pt x="1638" y="1218"/>
                  </a:lnTo>
                  <a:lnTo>
                    <a:pt x="1632" y="1242"/>
                  </a:lnTo>
                  <a:lnTo>
                    <a:pt x="1632" y="1266"/>
                  </a:lnTo>
                  <a:lnTo>
                    <a:pt x="1638" y="1284"/>
                  </a:lnTo>
                  <a:lnTo>
                    <a:pt x="1638" y="1296"/>
                  </a:lnTo>
                  <a:lnTo>
                    <a:pt x="1632" y="1296"/>
                  </a:lnTo>
                  <a:lnTo>
                    <a:pt x="1632" y="1302"/>
                  </a:lnTo>
                  <a:lnTo>
                    <a:pt x="1638" y="1314"/>
                  </a:lnTo>
                  <a:lnTo>
                    <a:pt x="1638" y="1320"/>
                  </a:lnTo>
                  <a:lnTo>
                    <a:pt x="1632" y="1320"/>
                  </a:lnTo>
                  <a:lnTo>
                    <a:pt x="1632" y="1326"/>
                  </a:lnTo>
                  <a:lnTo>
                    <a:pt x="1644" y="1332"/>
                  </a:lnTo>
                  <a:lnTo>
                    <a:pt x="1644" y="1338"/>
                  </a:lnTo>
                  <a:lnTo>
                    <a:pt x="1650" y="1344"/>
                  </a:lnTo>
                  <a:lnTo>
                    <a:pt x="1668" y="1362"/>
                  </a:lnTo>
                  <a:lnTo>
                    <a:pt x="1668" y="1368"/>
                  </a:lnTo>
                  <a:lnTo>
                    <a:pt x="1674" y="1392"/>
                  </a:lnTo>
                  <a:lnTo>
                    <a:pt x="1686" y="140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2" name="Freeform 17">
              <a:extLst>
                <a:ext uri="{FF2B5EF4-FFF2-40B4-BE49-F238E27FC236}">
                  <a16:creationId xmlns:a16="http://schemas.microsoft.com/office/drawing/2014/main" id="{9F9DF7AF-2203-4CCB-AF1B-32CDAF87CC5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416927"/>
              <a:ext cx="816209" cy="574781"/>
            </a:xfrm>
            <a:custGeom>
              <a:avLst/>
              <a:gdLst>
                <a:gd name="T0" fmla="*/ 115 w 1536"/>
                <a:gd name="T1" fmla="*/ 89 h 1080"/>
                <a:gd name="T2" fmla="*/ 113 w 1536"/>
                <a:gd name="T3" fmla="*/ 92 h 1080"/>
                <a:gd name="T4" fmla="*/ 107 w 1536"/>
                <a:gd name="T5" fmla="*/ 93 h 1080"/>
                <a:gd name="T6" fmla="*/ 108 w 1536"/>
                <a:gd name="T7" fmla="*/ 90 h 1080"/>
                <a:gd name="T8" fmla="*/ 105 w 1536"/>
                <a:gd name="T9" fmla="*/ 87 h 1080"/>
                <a:gd name="T10" fmla="*/ 102 w 1536"/>
                <a:gd name="T11" fmla="*/ 85 h 1080"/>
                <a:gd name="T12" fmla="*/ 89 w 1536"/>
                <a:gd name="T13" fmla="*/ 80 h 1080"/>
                <a:gd name="T14" fmla="*/ 85 w 1536"/>
                <a:gd name="T15" fmla="*/ 82 h 1080"/>
                <a:gd name="T16" fmla="*/ 82 w 1536"/>
                <a:gd name="T17" fmla="*/ 80 h 1080"/>
                <a:gd name="T18" fmla="*/ 80 w 1536"/>
                <a:gd name="T19" fmla="*/ 75 h 1080"/>
                <a:gd name="T20" fmla="*/ 75 w 1536"/>
                <a:gd name="T21" fmla="*/ 72 h 1080"/>
                <a:gd name="T22" fmla="*/ 61 w 1536"/>
                <a:gd name="T23" fmla="*/ 70 h 1080"/>
                <a:gd name="T24" fmla="*/ 62 w 1536"/>
                <a:gd name="T25" fmla="*/ 72 h 1080"/>
                <a:gd name="T26" fmla="*/ 58 w 1536"/>
                <a:gd name="T27" fmla="*/ 75 h 1080"/>
                <a:gd name="T28" fmla="*/ 49 w 1536"/>
                <a:gd name="T29" fmla="*/ 76 h 1080"/>
                <a:gd name="T30" fmla="*/ 41 w 1536"/>
                <a:gd name="T31" fmla="*/ 79 h 1080"/>
                <a:gd name="T32" fmla="*/ 41 w 1536"/>
                <a:gd name="T33" fmla="*/ 77 h 1080"/>
                <a:gd name="T34" fmla="*/ 39 w 1536"/>
                <a:gd name="T35" fmla="*/ 74 h 1080"/>
                <a:gd name="T36" fmla="*/ 28 w 1536"/>
                <a:gd name="T37" fmla="*/ 78 h 1080"/>
                <a:gd name="T38" fmla="*/ 18 w 1536"/>
                <a:gd name="T39" fmla="*/ 85 h 1080"/>
                <a:gd name="T40" fmla="*/ 18 w 1536"/>
                <a:gd name="T41" fmla="*/ 77 h 1080"/>
                <a:gd name="T42" fmla="*/ 19 w 1536"/>
                <a:gd name="T43" fmla="*/ 69 h 1080"/>
                <a:gd name="T44" fmla="*/ 16 w 1536"/>
                <a:gd name="T45" fmla="*/ 69 h 1080"/>
                <a:gd name="T46" fmla="*/ 11 w 1536"/>
                <a:gd name="T47" fmla="*/ 69 h 1080"/>
                <a:gd name="T48" fmla="*/ 5 w 1536"/>
                <a:gd name="T49" fmla="*/ 68 h 1080"/>
                <a:gd name="T50" fmla="*/ 1 w 1536"/>
                <a:gd name="T51" fmla="*/ 63 h 1080"/>
                <a:gd name="T52" fmla="*/ 3 w 1536"/>
                <a:gd name="T53" fmla="*/ 59 h 1080"/>
                <a:gd name="T54" fmla="*/ 9 w 1536"/>
                <a:gd name="T55" fmla="*/ 54 h 1080"/>
                <a:gd name="T56" fmla="*/ 15 w 1536"/>
                <a:gd name="T57" fmla="*/ 47 h 1080"/>
                <a:gd name="T58" fmla="*/ 17 w 1536"/>
                <a:gd name="T59" fmla="*/ 40 h 1080"/>
                <a:gd name="T60" fmla="*/ 12 w 1536"/>
                <a:gd name="T61" fmla="*/ 33 h 1080"/>
                <a:gd name="T62" fmla="*/ 10 w 1536"/>
                <a:gd name="T63" fmla="*/ 21 h 1080"/>
                <a:gd name="T64" fmla="*/ 6 w 1536"/>
                <a:gd name="T65" fmla="*/ 14 h 1080"/>
                <a:gd name="T66" fmla="*/ 7 w 1536"/>
                <a:gd name="T67" fmla="*/ 9 h 1080"/>
                <a:gd name="T68" fmla="*/ 12 w 1536"/>
                <a:gd name="T69" fmla="*/ 7 h 1080"/>
                <a:gd name="T70" fmla="*/ 16 w 1536"/>
                <a:gd name="T71" fmla="*/ 8 h 1080"/>
                <a:gd name="T72" fmla="*/ 19 w 1536"/>
                <a:gd name="T73" fmla="*/ 8 h 1080"/>
                <a:gd name="T74" fmla="*/ 22 w 1536"/>
                <a:gd name="T75" fmla="*/ 9 h 1080"/>
                <a:gd name="T76" fmla="*/ 29 w 1536"/>
                <a:gd name="T77" fmla="*/ 12 h 1080"/>
                <a:gd name="T78" fmla="*/ 33 w 1536"/>
                <a:gd name="T79" fmla="*/ 13 h 1080"/>
                <a:gd name="T80" fmla="*/ 38 w 1536"/>
                <a:gd name="T81" fmla="*/ 15 h 1080"/>
                <a:gd name="T82" fmla="*/ 42 w 1536"/>
                <a:gd name="T83" fmla="*/ 17 h 1080"/>
                <a:gd name="T84" fmla="*/ 47 w 1536"/>
                <a:gd name="T85" fmla="*/ 19 h 1080"/>
                <a:gd name="T86" fmla="*/ 51 w 1536"/>
                <a:gd name="T87" fmla="*/ 21 h 1080"/>
                <a:gd name="T88" fmla="*/ 50 w 1536"/>
                <a:gd name="T89" fmla="*/ 15 h 1080"/>
                <a:gd name="T90" fmla="*/ 56 w 1536"/>
                <a:gd name="T91" fmla="*/ 0 h 1080"/>
                <a:gd name="T92" fmla="*/ 74 w 1536"/>
                <a:gd name="T93" fmla="*/ 5 h 1080"/>
                <a:gd name="T94" fmla="*/ 87 w 1536"/>
                <a:gd name="T95" fmla="*/ 6 h 1080"/>
                <a:gd name="T96" fmla="*/ 92 w 1536"/>
                <a:gd name="T97" fmla="*/ 11 h 1080"/>
                <a:gd name="T98" fmla="*/ 95 w 1536"/>
                <a:gd name="T99" fmla="*/ 15 h 1080"/>
                <a:gd name="T100" fmla="*/ 93 w 1536"/>
                <a:gd name="T101" fmla="*/ 20 h 1080"/>
                <a:gd name="T102" fmla="*/ 108 w 1536"/>
                <a:gd name="T103" fmla="*/ 18 h 1080"/>
                <a:gd name="T104" fmla="*/ 120 w 1536"/>
                <a:gd name="T105" fmla="*/ 21 h 1080"/>
                <a:gd name="T106" fmla="*/ 127 w 1536"/>
                <a:gd name="T107" fmla="*/ 29 h 1080"/>
                <a:gd name="T108" fmla="*/ 130 w 1536"/>
                <a:gd name="T109" fmla="*/ 30 h 1080"/>
                <a:gd name="T110" fmla="*/ 130 w 1536"/>
                <a:gd name="T111" fmla="*/ 49 h 1080"/>
                <a:gd name="T112" fmla="*/ 120 w 1536"/>
                <a:gd name="T113" fmla="*/ 69 h 1080"/>
                <a:gd name="T114" fmla="*/ 119 w 1536"/>
                <a:gd name="T115" fmla="*/ 74 h 1080"/>
                <a:gd name="T116" fmla="*/ 118 w 1536"/>
                <a:gd name="T117" fmla="*/ 80 h 108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536"/>
                <a:gd name="T178" fmla="*/ 0 h 1080"/>
                <a:gd name="T179" fmla="*/ 1536 w 1536"/>
                <a:gd name="T180" fmla="*/ 1080 h 108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536" h="1080">
                  <a:moveTo>
                    <a:pt x="1350" y="1020"/>
                  </a:moveTo>
                  <a:lnTo>
                    <a:pt x="1350" y="1026"/>
                  </a:lnTo>
                  <a:lnTo>
                    <a:pt x="1344" y="1026"/>
                  </a:lnTo>
                  <a:lnTo>
                    <a:pt x="1338" y="1032"/>
                  </a:lnTo>
                  <a:lnTo>
                    <a:pt x="1332" y="1026"/>
                  </a:lnTo>
                  <a:lnTo>
                    <a:pt x="1326" y="1026"/>
                  </a:lnTo>
                  <a:lnTo>
                    <a:pt x="1320" y="1020"/>
                  </a:lnTo>
                  <a:lnTo>
                    <a:pt x="1314" y="1026"/>
                  </a:lnTo>
                  <a:lnTo>
                    <a:pt x="1314" y="1032"/>
                  </a:lnTo>
                  <a:lnTo>
                    <a:pt x="1308" y="1038"/>
                  </a:lnTo>
                  <a:lnTo>
                    <a:pt x="1308" y="1044"/>
                  </a:lnTo>
                  <a:lnTo>
                    <a:pt x="1308" y="1050"/>
                  </a:lnTo>
                  <a:lnTo>
                    <a:pt x="1308" y="1056"/>
                  </a:lnTo>
                  <a:lnTo>
                    <a:pt x="1308" y="1062"/>
                  </a:lnTo>
                  <a:lnTo>
                    <a:pt x="1296" y="1068"/>
                  </a:lnTo>
                  <a:lnTo>
                    <a:pt x="1284" y="1074"/>
                  </a:lnTo>
                  <a:lnTo>
                    <a:pt x="1272" y="1080"/>
                  </a:lnTo>
                  <a:lnTo>
                    <a:pt x="1260" y="1080"/>
                  </a:lnTo>
                  <a:lnTo>
                    <a:pt x="1254" y="1074"/>
                  </a:lnTo>
                  <a:lnTo>
                    <a:pt x="1236" y="1074"/>
                  </a:lnTo>
                  <a:lnTo>
                    <a:pt x="1230" y="1074"/>
                  </a:lnTo>
                  <a:lnTo>
                    <a:pt x="1236" y="1074"/>
                  </a:lnTo>
                  <a:lnTo>
                    <a:pt x="1236" y="1068"/>
                  </a:lnTo>
                  <a:lnTo>
                    <a:pt x="1236" y="1062"/>
                  </a:lnTo>
                  <a:lnTo>
                    <a:pt x="1236" y="1056"/>
                  </a:lnTo>
                  <a:lnTo>
                    <a:pt x="1242" y="1050"/>
                  </a:lnTo>
                  <a:lnTo>
                    <a:pt x="1242" y="1044"/>
                  </a:lnTo>
                  <a:lnTo>
                    <a:pt x="1242" y="1038"/>
                  </a:lnTo>
                  <a:lnTo>
                    <a:pt x="1248" y="1032"/>
                  </a:lnTo>
                  <a:lnTo>
                    <a:pt x="1236" y="1026"/>
                  </a:lnTo>
                  <a:lnTo>
                    <a:pt x="1218" y="1020"/>
                  </a:lnTo>
                  <a:lnTo>
                    <a:pt x="1224" y="1014"/>
                  </a:lnTo>
                  <a:lnTo>
                    <a:pt x="1218" y="1008"/>
                  </a:lnTo>
                  <a:lnTo>
                    <a:pt x="1218" y="1002"/>
                  </a:lnTo>
                  <a:lnTo>
                    <a:pt x="1212" y="1008"/>
                  </a:lnTo>
                  <a:lnTo>
                    <a:pt x="1206" y="1002"/>
                  </a:lnTo>
                  <a:lnTo>
                    <a:pt x="1212" y="1002"/>
                  </a:lnTo>
                  <a:lnTo>
                    <a:pt x="1212" y="996"/>
                  </a:lnTo>
                  <a:lnTo>
                    <a:pt x="1200" y="990"/>
                  </a:lnTo>
                  <a:lnTo>
                    <a:pt x="1200" y="984"/>
                  </a:lnTo>
                  <a:lnTo>
                    <a:pt x="1188" y="984"/>
                  </a:lnTo>
                  <a:lnTo>
                    <a:pt x="1176" y="978"/>
                  </a:lnTo>
                  <a:lnTo>
                    <a:pt x="1164" y="960"/>
                  </a:lnTo>
                  <a:lnTo>
                    <a:pt x="1152" y="936"/>
                  </a:lnTo>
                  <a:lnTo>
                    <a:pt x="1146" y="936"/>
                  </a:lnTo>
                  <a:lnTo>
                    <a:pt x="1128" y="900"/>
                  </a:lnTo>
                  <a:lnTo>
                    <a:pt x="1038" y="912"/>
                  </a:lnTo>
                  <a:lnTo>
                    <a:pt x="1038" y="918"/>
                  </a:lnTo>
                  <a:lnTo>
                    <a:pt x="1032" y="924"/>
                  </a:lnTo>
                  <a:lnTo>
                    <a:pt x="1026" y="918"/>
                  </a:lnTo>
                  <a:lnTo>
                    <a:pt x="1020" y="924"/>
                  </a:lnTo>
                  <a:lnTo>
                    <a:pt x="1008" y="936"/>
                  </a:lnTo>
                  <a:lnTo>
                    <a:pt x="990" y="936"/>
                  </a:lnTo>
                  <a:lnTo>
                    <a:pt x="990" y="942"/>
                  </a:lnTo>
                  <a:lnTo>
                    <a:pt x="996" y="942"/>
                  </a:lnTo>
                  <a:lnTo>
                    <a:pt x="984" y="948"/>
                  </a:lnTo>
                  <a:lnTo>
                    <a:pt x="972" y="948"/>
                  </a:lnTo>
                  <a:lnTo>
                    <a:pt x="960" y="948"/>
                  </a:lnTo>
                  <a:lnTo>
                    <a:pt x="948" y="942"/>
                  </a:lnTo>
                  <a:lnTo>
                    <a:pt x="948" y="936"/>
                  </a:lnTo>
                  <a:lnTo>
                    <a:pt x="942" y="936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30" y="924"/>
                  </a:lnTo>
                  <a:lnTo>
                    <a:pt x="936" y="918"/>
                  </a:lnTo>
                  <a:lnTo>
                    <a:pt x="918" y="918"/>
                  </a:lnTo>
                  <a:lnTo>
                    <a:pt x="918" y="900"/>
                  </a:lnTo>
                  <a:lnTo>
                    <a:pt x="924" y="900"/>
                  </a:lnTo>
                  <a:lnTo>
                    <a:pt x="924" y="894"/>
                  </a:lnTo>
                  <a:lnTo>
                    <a:pt x="924" y="870"/>
                  </a:lnTo>
                  <a:lnTo>
                    <a:pt x="924" y="864"/>
                  </a:lnTo>
                  <a:lnTo>
                    <a:pt x="918" y="858"/>
                  </a:lnTo>
                  <a:lnTo>
                    <a:pt x="918" y="852"/>
                  </a:lnTo>
                  <a:lnTo>
                    <a:pt x="906" y="840"/>
                  </a:lnTo>
                  <a:lnTo>
                    <a:pt x="894" y="834"/>
                  </a:lnTo>
                  <a:lnTo>
                    <a:pt x="876" y="822"/>
                  </a:lnTo>
                  <a:lnTo>
                    <a:pt x="870" y="828"/>
                  </a:lnTo>
                  <a:lnTo>
                    <a:pt x="858" y="816"/>
                  </a:lnTo>
                  <a:lnTo>
                    <a:pt x="810" y="798"/>
                  </a:lnTo>
                  <a:lnTo>
                    <a:pt x="774" y="792"/>
                  </a:lnTo>
                  <a:lnTo>
                    <a:pt x="732" y="798"/>
                  </a:lnTo>
                  <a:lnTo>
                    <a:pt x="726" y="804"/>
                  </a:lnTo>
                  <a:lnTo>
                    <a:pt x="714" y="810"/>
                  </a:lnTo>
                  <a:lnTo>
                    <a:pt x="702" y="810"/>
                  </a:lnTo>
                  <a:lnTo>
                    <a:pt x="690" y="810"/>
                  </a:lnTo>
                  <a:lnTo>
                    <a:pt x="696" y="816"/>
                  </a:lnTo>
                  <a:lnTo>
                    <a:pt x="696" y="822"/>
                  </a:lnTo>
                  <a:lnTo>
                    <a:pt x="702" y="822"/>
                  </a:lnTo>
                  <a:lnTo>
                    <a:pt x="708" y="822"/>
                  </a:lnTo>
                  <a:lnTo>
                    <a:pt x="708" y="828"/>
                  </a:lnTo>
                  <a:lnTo>
                    <a:pt x="708" y="834"/>
                  </a:lnTo>
                  <a:lnTo>
                    <a:pt x="714" y="834"/>
                  </a:lnTo>
                  <a:lnTo>
                    <a:pt x="708" y="846"/>
                  </a:lnTo>
                  <a:lnTo>
                    <a:pt x="708" y="852"/>
                  </a:lnTo>
                  <a:lnTo>
                    <a:pt x="702" y="852"/>
                  </a:lnTo>
                  <a:lnTo>
                    <a:pt x="696" y="858"/>
                  </a:lnTo>
                  <a:lnTo>
                    <a:pt x="690" y="864"/>
                  </a:lnTo>
                  <a:lnTo>
                    <a:pt x="666" y="870"/>
                  </a:lnTo>
                  <a:lnTo>
                    <a:pt x="660" y="876"/>
                  </a:lnTo>
                  <a:lnTo>
                    <a:pt x="642" y="876"/>
                  </a:lnTo>
                  <a:lnTo>
                    <a:pt x="606" y="882"/>
                  </a:lnTo>
                  <a:lnTo>
                    <a:pt x="588" y="882"/>
                  </a:lnTo>
                  <a:lnTo>
                    <a:pt x="582" y="876"/>
                  </a:lnTo>
                  <a:lnTo>
                    <a:pt x="576" y="876"/>
                  </a:lnTo>
                  <a:lnTo>
                    <a:pt x="564" y="876"/>
                  </a:lnTo>
                  <a:lnTo>
                    <a:pt x="552" y="882"/>
                  </a:lnTo>
                  <a:lnTo>
                    <a:pt x="540" y="894"/>
                  </a:lnTo>
                  <a:lnTo>
                    <a:pt x="534" y="906"/>
                  </a:lnTo>
                  <a:lnTo>
                    <a:pt x="528" y="912"/>
                  </a:lnTo>
                  <a:lnTo>
                    <a:pt x="516" y="924"/>
                  </a:lnTo>
                  <a:lnTo>
                    <a:pt x="486" y="930"/>
                  </a:lnTo>
                  <a:lnTo>
                    <a:pt x="474" y="912"/>
                  </a:lnTo>
                  <a:lnTo>
                    <a:pt x="474" y="906"/>
                  </a:lnTo>
                  <a:lnTo>
                    <a:pt x="468" y="906"/>
                  </a:lnTo>
                  <a:lnTo>
                    <a:pt x="468" y="900"/>
                  </a:lnTo>
                  <a:lnTo>
                    <a:pt x="462" y="894"/>
                  </a:lnTo>
                  <a:lnTo>
                    <a:pt x="456" y="894"/>
                  </a:lnTo>
                  <a:lnTo>
                    <a:pt x="462" y="888"/>
                  </a:lnTo>
                  <a:lnTo>
                    <a:pt x="468" y="888"/>
                  </a:lnTo>
                  <a:lnTo>
                    <a:pt x="462" y="882"/>
                  </a:lnTo>
                  <a:lnTo>
                    <a:pt x="462" y="876"/>
                  </a:lnTo>
                  <a:lnTo>
                    <a:pt x="456" y="870"/>
                  </a:lnTo>
                  <a:lnTo>
                    <a:pt x="456" y="864"/>
                  </a:lnTo>
                  <a:lnTo>
                    <a:pt x="450" y="858"/>
                  </a:lnTo>
                  <a:lnTo>
                    <a:pt x="444" y="858"/>
                  </a:lnTo>
                  <a:lnTo>
                    <a:pt x="444" y="852"/>
                  </a:lnTo>
                  <a:lnTo>
                    <a:pt x="438" y="852"/>
                  </a:lnTo>
                  <a:lnTo>
                    <a:pt x="438" y="858"/>
                  </a:lnTo>
                  <a:lnTo>
                    <a:pt x="402" y="870"/>
                  </a:lnTo>
                  <a:lnTo>
                    <a:pt x="390" y="882"/>
                  </a:lnTo>
                  <a:lnTo>
                    <a:pt x="384" y="900"/>
                  </a:lnTo>
                  <a:lnTo>
                    <a:pt x="342" y="900"/>
                  </a:lnTo>
                  <a:lnTo>
                    <a:pt x="324" y="900"/>
                  </a:lnTo>
                  <a:lnTo>
                    <a:pt x="294" y="906"/>
                  </a:lnTo>
                  <a:lnTo>
                    <a:pt x="282" y="948"/>
                  </a:lnTo>
                  <a:lnTo>
                    <a:pt x="282" y="978"/>
                  </a:lnTo>
                  <a:lnTo>
                    <a:pt x="270" y="1008"/>
                  </a:lnTo>
                  <a:lnTo>
                    <a:pt x="240" y="1014"/>
                  </a:lnTo>
                  <a:lnTo>
                    <a:pt x="216" y="996"/>
                  </a:lnTo>
                  <a:lnTo>
                    <a:pt x="204" y="984"/>
                  </a:lnTo>
                  <a:lnTo>
                    <a:pt x="192" y="966"/>
                  </a:lnTo>
                  <a:lnTo>
                    <a:pt x="186" y="948"/>
                  </a:lnTo>
                  <a:lnTo>
                    <a:pt x="174" y="948"/>
                  </a:lnTo>
                  <a:lnTo>
                    <a:pt x="174" y="936"/>
                  </a:lnTo>
                  <a:lnTo>
                    <a:pt x="186" y="924"/>
                  </a:lnTo>
                  <a:lnTo>
                    <a:pt x="198" y="906"/>
                  </a:lnTo>
                  <a:lnTo>
                    <a:pt x="204" y="888"/>
                  </a:lnTo>
                  <a:lnTo>
                    <a:pt x="222" y="870"/>
                  </a:lnTo>
                  <a:lnTo>
                    <a:pt x="234" y="858"/>
                  </a:lnTo>
                  <a:lnTo>
                    <a:pt x="234" y="852"/>
                  </a:lnTo>
                  <a:lnTo>
                    <a:pt x="222" y="852"/>
                  </a:lnTo>
                  <a:lnTo>
                    <a:pt x="228" y="810"/>
                  </a:lnTo>
                  <a:lnTo>
                    <a:pt x="222" y="798"/>
                  </a:lnTo>
                  <a:lnTo>
                    <a:pt x="216" y="798"/>
                  </a:lnTo>
                  <a:lnTo>
                    <a:pt x="216" y="792"/>
                  </a:lnTo>
                  <a:lnTo>
                    <a:pt x="210" y="792"/>
                  </a:lnTo>
                  <a:lnTo>
                    <a:pt x="204" y="798"/>
                  </a:lnTo>
                  <a:lnTo>
                    <a:pt x="204" y="792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0" y="786"/>
                  </a:lnTo>
                  <a:lnTo>
                    <a:pt x="174" y="792"/>
                  </a:lnTo>
                  <a:lnTo>
                    <a:pt x="162" y="792"/>
                  </a:lnTo>
                  <a:lnTo>
                    <a:pt x="156" y="792"/>
                  </a:lnTo>
                  <a:lnTo>
                    <a:pt x="156" y="798"/>
                  </a:lnTo>
                  <a:lnTo>
                    <a:pt x="138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6" y="804"/>
                  </a:lnTo>
                  <a:lnTo>
                    <a:pt x="102" y="810"/>
                  </a:lnTo>
                  <a:lnTo>
                    <a:pt x="90" y="810"/>
                  </a:lnTo>
                  <a:lnTo>
                    <a:pt x="72" y="798"/>
                  </a:lnTo>
                  <a:lnTo>
                    <a:pt x="66" y="780"/>
                  </a:lnTo>
                  <a:lnTo>
                    <a:pt x="60" y="780"/>
                  </a:lnTo>
                  <a:lnTo>
                    <a:pt x="60" y="768"/>
                  </a:lnTo>
                  <a:lnTo>
                    <a:pt x="54" y="768"/>
                  </a:lnTo>
                  <a:lnTo>
                    <a:pt x="24" y="756"/>
                  </a:lnTo>
                  <a:lnTo>
                    <a:pt x="18" y="744"/>
                  </a:lnTo>
                  <a:lnTo>
                    <a:pt x="12" y="738"/>
                  </a:lnTo>
                  <a:lnTo>
                    <a:pt x="18" y="732"/>
                  </a:lnTo>
                  <a:lnTo>
                    <a:pt x="12" y="726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8" y="696"/>
                  </a:lnTo>
                  <a:lnTo>
                    <a:pt x="24" y="708"/>
                  </a:lnTo>
                  <a:lnTo>
                    <a:pt x="36" y="702"/>
                  </a:lnTo>
                  <a:lnTo>
                    <a:pt x="36" y="678"/>
                  </a:lnTo>
                  <a:lnTo>
                    <a:pt x="36" y="660"/>
                  </a:lnTo>
                  <a:lnTo>
                    <a:pt x="42" y="654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72" y="624"/>
                  </a:lnTo>
                  <a:lnTo>
                    <a:pt x="90" y="618"/>
                  </a:lnTo>
                  <a:lnTo>
                    <a:pt x="102" y="618"/>
                  </a:lnTo>
                  <a:lnTo>
                    <a:pt x="114" y="612"/>
                  </a:lnTo>
                  <a:lnTo>
                    <a:pt x="138" y="606"/>
                  </a:lnTo>
                  <a:lnTo>
                    <a:pt x="144" y="606"/>
                  </a:lnTo>
                  <a:lnTo>
                    <a:pt x="150" y="594"/>
                  </a:lnTo>
                  <a:lnTo>
                    <a:pt x="156" y="576"/>
                  </a:lnTo>
                  <a:lnTo>
                    <a:pt x="168" y="552"/>
                  </a:lnTo>
                  <a:lnTo>
                    <a:pt x="168" y="540"/>
                  </a:lnTo>
                  <a:lnTo>
                    <a:pt x="180" y="522"/>
                  </a:lnTo>
                  <a:lnTo>
                    <a:pt x="186" y="498"/>
                  </a:lnTo>
                  <a:lnTo>
                    <a:pt x="198" y="480"/>
                  </a:lnTo>
                  <a:lnTo>
                    <a:pt x="204" y="486"/>
                  </a:lnTo>
                  <a:lnTo>
                    <a:pt x="210" y="480"/>
                  </a:lnTo>
                  <a:lnTo>
                    <a:pt x="204" y="474"/>
                  </a:lnTo>
                  <a:lnTo>
                    <a:pt x="198" y="462"/>
                  </a:lnTo>
                  <a:lnTo>
                    <a:pt x="192" y="456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50"/>
                  </a:lnTo>
                  <a:lnTo>
                    <a:pt x="132" y="426"/>
                  </a:lnTo>
                  <a:lnTo>
                    <a:pt x="132" y="396"/>
                  </a:lnTo>
                  <a:lnTo>
                    <a:pt x="132" y="378"/>
                  </a:lnTo>
                  <a:lnTo>
                    <a:pt x="126" y="348"/>
                  </a:lnTo>
                  <a:lnTo>
                    <a:pt x="132" y="312"/>
                  </a:lnTo>
                  <a:lnTo>
                    <a:pt x="126" y="288"/>
                  </a:lnTo>
                  <a:lnTo>
                    <a:pt x="138" y="282"/>
                  </a:lnTo>
                  <a:lnTo>
                    <a:pt x="126" y="264"/>
                  </a:lnTo>
                  <a:lnTo>
                    <a:pt x="126" y="258"/>
                  </a:lnTo>
                  <a:lnTo>
                    <a:pt x="120" y="246"/>
                  </a:lnTo>
                  <a:lnTo>
                    <a:pt x="126" y="234"/>
                  </a:lnTo>
                  <a:lnTo>
                    <a:pt x="114" y="228"/>
                  </a:lnTo>
                  <a:lnTo>
                    <a:pt x="114" y="222"/>
                  </a:lnTo>
                  <a:lnTo>
                    <a:pt x="96" y="204"/>
                  </a:lnTo>
                  <a:lnTo>
                    <a:pt x="84" y="180"/>
                  </a:lnTo>
                  <a:lnTo>
                    <a:pt x="78" y="168"/>
                  </a:lnTo>
                  <a:lnTo>
                    <a:pt x="72" y="162"/>
                  </a:lnTo>
                  <a:lnTo>
                    <a:pt x="66" y="144"/>
                  </a:lnTo>
                  <a:lnTo>
                    <a:pt x="60" y="138"/>
                  </a:lnTo>
                  <a:lnTo>
                    <a:pt x="66" y="126"/>
                  </a:lnTo>
                  <a:lnTo>
                    <a:pt x="66" y="114"/>
                  </a:lnTo>
                  <a:lnTo>
                    <a:pt x="72" y="114"/>
                  </a:lnTo>
                  <a:lnTo>
                    <a:pt x="72" y="108"/>
                  </a:lnTo>
                  <a:lnTo>
                    <a:pt x="78" y="102"/>
                  </a:lnTo>
                  <a:lnTo>
                    <a:pt x="78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120" y="78"/>
                  </a:lnTo>
                  <a:lnTo>
                    <a:pt x="144" y="84"/>
                  </a:lnTo>
                  <a:lnTo>
                    <a:pt x="150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74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92" y="102"/>
                  </a:lnTo>
                  <a:lnTo>
                    <a:pt x="198" y="96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16" y="96"/>
                  </a:lnTo>
                  <a:lnTo>
                    <a:pt x="222" y="96"/>
                  </a:lnTo>
                  <a:lnTo>
                    <a:pt x="228" y="96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94" y="114"/>
                  </a:lnTo>
                  <a:lnTo>
                    <a:pt x="312" y="120"/>
                  </a:lnTo>
                  <a:lnTo>
                    <a:pt x="318" y="126"/>
                  </a:lnTo>
                  <a:lnTo>
                    <a:pt x="330" y="132"/>
                  </a:lnTo>
                  <a:lnTo>
                    <a:pt x="342" y="132"/>
                  </a:lnTo>
                  <a:lnTo>
                    <a:pt x="348" y="132"/>
                  </a:lnTo>
                  <a:lnTo>
                    <a:pt x="354" y="138"/>
                  </a:lnTo>
                  <a:lnTo>
                    <a:pt x="366" y="138"/>
                  </a:lnTo>
                  <a:lnTo>
                    <a:pt x="372" y="144"/>
                  </a:lnTo>
                  <a:lnTo>
                    <a:pt x="378" y="150"/>
                  </a:lnTo>
                  <a:lnTo>
                    <a:pt x="384" y="150"/>
                  </a:lnTo>
                  <a:lnTo>
                    <a:pt x="390" y="150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14" y="156"/>
                  </a:lnTo>
                  <a:lnTo>
                    <a:pt x="420" y="156"/>
                  </a:lnTo>
                  <a:lnTo>
                    <a:pt x="426" y="162"/>
                  </a:lnTo>
                  <a:lnTo>
                    <a:pt x="438" y="168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62" y="174"/>
                  </a:lnTo>
                  <a:lnTo>
                    <a:pt x="468" y="174"/>
                  </a:lnTo>
                  <a:lnTo>
                    <a:pt x="474" y="174"/>
                  </a:lnTo>
                  <a:lnTo>
                    <a:pt x="474" y="180"/>
                  </a:lnTo>
                  <a:lnTo>
                    <a:pt x="480" y="192"/>
                  </a:lnTo>
                  <a:lnTo>
                    <a:pt x="498" y="198"/>
                  </a:lnTo>
                  <a:lnTo>
                    <a:pt x="510" y="210"/>
                  </a:lnTo>
                  <a:lnTo>
                    <a:pt x="516" y="210"/>
                  </a:lnTo>
                  <a:lnTo>
                    <a:pt x="522" y="210"/>
                  </a:lnTo>
                  <a:lnTo>
                    <a:pt x="534" y="216"/>
                  </a:lnTo>
                  <a:lnTo>
                    <a:pt x="540" y="216"/>
                  </a:lnTo>
                  <a:lnTo>
                    <a:pt x="546" y="222"/>
                  </a:lnTo>
                  <a:lnTo>
                    <a:pt x="552" y="222"/>
                  </a:lnTo>
                  <a:lnTo>
                    <a:pt x="558" y="228"/>
                  </a:lnTo>
                  <a:lnTo>
                    <a:pt x="564" y="228"/>
                  </a:lnTo>
                  <a:lnTo>
                    <a:pt x="570" y="234"/>
                  </a:lnTo>
                  <a:lnTo>
                    <a:pt x="576" y="240"/>
                  </a:lnTo>
                  <a:lnTo>
                    <a:pt x="582" y="240"/>
                  </a:lnTo>
                  <a:lnTo>
                    <a:pt x="588" y="240"/>
                  </a:lnTo>
                  <a:lnTo>
                    <a:pt x="594" y="240"/>
                  </a:lnTo>
                  <a:lnTo>
                    <a:pt x="600" y="228"/>
                  </a:lnTo>
                  <a:lnTo>
                    <a:pt x="588" y="216"/>
                  </a:lnTo>
                  <a:lnTo>
                    <a:pt x="588" y="198"/>
                  </a:lnTo>
                  <a:lnTo>
                    <a:pt x="582" y="198"/>
                  </a:lnTo>
                  <a:lnTo>
                    <a:pt x="588" y="192"/>
                  </a:lnTo>
                  <a:lnTo>
                    <a:pt x="582" y="168"/>
                  </a:lnTo>
                  <a:lnTo>
                    <a:pt x="558" y="114"/>
                  </a:lnTo>
                  <a:lnTo>
                    <a:pt x="552" y="90"/>
                  </a:lnTo>
                  <a:lnTo>
                    <a:pt x="558" y="60"/>
                  </a:lnTo>
                  <a:lnTo>
                    <a:pt x="564" y="48"/>
                  </a:lnTo>
                  <a:lnTo>
                    <a:pt x="582" y="42"/>
                  </a:lnTo>
                  <a:lnTo>
                    <a:pt x="624" y="6"/>
                  </a:lnTo>
                  <a:lnTo>
                    <a:pt x="648" y="0"/>
                  </a:lnTo>
                  <a:lnTo>
                    <a:pt x="678" y="0"/>
                  </a:lnTo>
                  <a:lnTo>
                    <a:pt x="720" y="12"/>
                  </a:lnTo>
                  <a:lnTo>
                    <a:pt x="744" y="24"/>
                  </a:lnTo>
                  <a:lnTo>
                    <a:pt x="768" y="42"/>
                  </a:lnTo>
                  <a:lnTo>
                    <a:pt x="816" y="48"/>
                  </a:lnTo>
                  <a:lnTo>
                    <a:pt x="834" y="48"/>
                  </a:lnTo>
                  <a:lnTo>
                    <a:pt x="852" y="54"/>
                  </a:lnTo>
                  <a:lnTo>
                    <a:pt x="906" y="60"/>
                  </a:lnTo>
                  <a:lnTo>
                    <a:pt x="948" y="54"/>
                  </a:lnTo>
                  <a:lnTo>
                    <a:pt x="978" y="42"/>
                  </a:lnTo>
                  <a:lnTo>
                    <a:pt x="984" y="48"/>
                  </a:lnTo>
                  <a:lnTo>
                    <a:pt x="990" y="60"/>
                  </a:lnTo>
                  <a:lnTo>
                    <a:pt x="996" y="66"/>
                  </a:lnTo>
                  <a:lnTo>
                    <a:pt x="1002" y="72"/>
                  </a:lnTo>
                  <a:lnTo>
                    <a:pt x="1014" y="78"/>
                  </a:lnTo>
                  <a:lnTo>
                    <a:pt x="1014" y="84"/>
                  </a:lnTo>
                  <a:lnTo>
                    <a:pt x="1032" y="84"/>
                  </a:lnTo>
                  <a:lnTo>
                    <a:pt x="1032" y="90"/>
                  </a:lnTo>
                  <a:lnTo>
                    <a:pt x="1032" y="96"/>
                  </a:lnTo>
                  <a:lnTo>
                    <a:pt x="1032" y="108"/>
                  </a:lnTo>
                  <a:lnTo>
                    <a:pt x="1056" y="126"/>
                  </a:lnTo>
                  <a:lnTo>
                    <a:pt x="1068" y="138"/>
                  </a:lnTo>
                  <a:lnTo>
                    <a:pt x="1068" y="156"/>
                  </a:lnTo>
                  <a:lnTo>
                    <a:pt x="1080" y="150"/>
                  </a:lnTo>
                  <a:lnTo>
                    <a:pt x="1086" y="150"/>
                  </a:lnTo>
                  <a:lnTo>
                    <a:pt x="1092" y="156"/>
                  </a:lnTo>
                  <a:lnTo>
                    <a:pt x="1092" y="162"/>
                  </a:lnTo>
                  <a:lnTo>
                    <a:pt x="1092" y="168"/>
                  </a:lnTo>
                  <a:lnTo>
                    <a:pt x="1098" y="168"/>
                  </a:lnTo>
                  <a:lnTo>
                    <a:pt x="1092" y="180"/>
                  </a:lnTo>
                  <a:lnTo>
                    <a:pt x="1092" y="186"/>
                  </a:lnTo>
                  <a:lnTo>
                    <a:pt x="1086" y="192"/>
                  </a:lnTo>
                  <a:lnTo>
                    <a:pt x="1068" y="210"/>
                  </a:lnTo>
                  <a:lnTo>
                    <a:pt x="1068" y="216"/>
                  </a:lnTo>
                  <a:lnTo>
                    <a:pt x="1074" y="228"/>
                  </a:lnTo>
                  <a:lnTo>
                    <a:pt x="1092" y="234"/>
                  </a:lnTo>
                  <a:lnTo>
                    <a:pt x="1122" y="216"/>
                  </a:lnTo>
                  <a:lnTo>
                    <a:pt x="1188" y="204"/>
                  </a:lnTo>
                  <a:lnTo>
                    <a:pt x="1212" y="204"/>
                  </a:lnTo>
                  <a:lnTo>
                    <a:pt x="1230" y="198"/>
                  </a:lnTo>
                  <a:lnTo>
                    <a:pt x="1236" y="204"/>
                  </a:lnTo>
                  <a:lnTo>
                    <a:pt x="1242" y="210"/>
                  </a:lnTo>
                  <a:lnTo>
                    <a:pt x="1242" y="204"/>
                  </a:lnTo>
                  <a:lnTo>
                    <a:pt x="1248" y="198"/>
                  </a:lnTo>
                  <a:lnTo>
                    <a:pt x="1308" y="204"/>
                  </a:lnTo>
                  <a:lnTo>
                    <a:pt x="1338" y="204"/>
                  </a:lnTo>
                  <a:lnTo>
                    <a:pt x="1374" y="228"/>
                  </a:lnTo>
                  <a:lnTo>
                    <a:pt x="1380" y="234"/>
                  </a:lnTo>
                  <a:lnTo>
                    <a:pt x="1380" y="240"/>
                  </a:lnTo>
                  <a:lnTo>
                    <a:pt x="1386" y="252"/>
                  </a:lnTo>
                  <a:lnTo>
                    <a:pt x="1392" y="252"/>
                  </a:lnTo>
                  <a:lnTo>
                    <a:pt x="1416" y="270"/>
                  </a:lnTo>
                  <a:lnTo>
                    <a:pt x="1428" y="294"/>
                  </a:lnTo>
                  <a:lnTo>
                    <a:pt x="1440" y="312"/>
                  </a:lnTo>
                  <a:lnTo>
                    <a:pt x="1452" y="330"/>
                  </a:lnTo>
                  <a:lnTo>
                    <a:pt x="1464" y="330"/>
                  </a:lnTo>
                  <a:lnTo>
                    <a:pt x="1464" y="336"/>
                  </a:lnTo>
                  <a:lnTo>
                    <a:pt x="1470" y="336"/>
                  </a:lnTo>
                  <a:lnTo>
                    <a:pt x="1470" y="342"/>
                  </a:lnTo>
                  <a:lnTo>
                    <a:pt x="1476" y="342"/>
                  </a:lnTo>
                  <a:lnTo>
                    <a:pt x="1488" y="336"/>
                  </a:lnTo>
                  <a:lnTo>
                    <a:pt x="1494" y="342"/>
                  </a:lnTo>
                  <a:lnTo>
                    <a:pt x="1500" y="342"/>
                  </a:lnTo>
                  <a:lnTo>
                    <a:pt x="1512" y="366"/>
                  </a:lnTo>
                  <a:lnTo>
                    <a:pt x="1530" y="396"/>
                  </a:lnTo>
                  <a:lnTo>
                    <a:pt x="1536" y="444"/>
                  </a:lnTo>
                  <a:lnTo>
                    <a:pt x="1530" y="480"/>
                  </a:lnTo>
                  <a:lnTo>
                    <a:pt x="1506" y="510"/>
                  </a:lnTo>
                  <a:lnTo>
                    <a:pt x="1500" y="546"/>
                  </a:lnTo>
                  <a:lnTo>
                    <a:pt x="1494" y="564"/>
                  </a:lnTo>
                  <a:lnTo>
                    <a:pt x="1494" y="576"/>
                  </a:lnTo>
                  <a:lnTo>
                    <a:pt x="1500" y="582"/>
                  </a:lnTo>
                  <a:lnTo>
                    <a:pt x="1494" y="612"/>
                  </a:lnTo>
                  <a:lnTo>
                    <a:pt x="1476" y="630"/>
                  </a:lnTo>
                  <a:lnTo>
                    <a:pt x="1434" y="672"/>
                  </a:lnTo>
                  <a:lnTo>
                    <a:pt x="1392" y="756"/>
                  </a:lnTo>
                  <a:lnTo>
                    <a:pt x="1380" y="792"/>
                  </a:lnTo>
                  <a:lnTo>
                    <a:pt x="1374" y="798"/>
                  </a:lnTo>
                  <a:lnTo>
                    <a:pt x="1368" y="798"/>
                  </a:lnTo>
                  <a:lnTo>
                    <a:pt x="1380" y="804"/>
                  </a:lnTo>
                  <a:lnTo>
                    <a:pt x="1386" y="804"/>
                  </a:lnTo>
                  <a:lnTo>
                    <a:pt x="1380" y="822"/>
                  </a:lnTo>
                  <a:lnTo>
                    <a:pt x="1380" y="852"/>
                  </a:lnTo>
                  <a:lnTo>
                    <a:pt x="1374" y="858"/>
                  </a:lnTo>
                  <a:lnTo>
                    <a:pt x="1380" y="858"/>
                  </a:lnTo>
                  <a:lnTo>
                    <a:pt x="1374" y="864"/>
                  </a:lnTo>
                  <a:lnTo>
                    <a:pt x="1374" y="870"/>
                  </a:lnTo>
                  <a:lnTo>
                    <a:pt x="1374" y="876"/>
                  </a:lnTo>
                  <a:lnTo>
                    <a:pt x="1368" y="900"/>
                  </a:lnTo>
                  <a:lnTo>
                    <a:pt x="1362" y="906"/>
                  </a:lnTo>
                  <a:lnTo>
                    <a:pt x="1362" y="918"/>
                  </a:lnTo>
                  <a:lnTo>
                    <a:pt x="1362" y="924"/>
                  </a:lnTo>
                  <a:lnTo>
                    <a:pt x="1356" y="942"/>
                  </a:lnTo>
                  <a:lnTo>
                    <a:pt x="1350" y="972"/>
                  </a:lnTo>
                  <a:lnTo>
                    <a:pt x="1350" y="1014"/>
                  </a:lnTo>
                  <a:lnTo>
                    <a:pt x="1350" y="102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3" name="Freeform 18">
              <a:extLst>
                <a:ext uri="{FF2B5EF4-FFF2-40B4-BE49-F238E27FC236}">
                  <a16:creationId xmlns:a16="http://schemas.microsoft.com/office/drawing/2014/main" id="{EC11F2E0-3C06-46E2-8AD2-66EBE00FFE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32346" y="3837389"/>
              <a:ext cx="556811" cy="818559"/>
            </a:xfrm>
            <a:custGeom>
              <a:avLst/>
              <a:gdLst>
                <a:gd name="T0" fmla="*/ 12 w 1044"/>
                <a:gd name="T1" fmla="*/ 95 h 1542"/>
                <a:gd name="T2" fmla="*/ 7 w 1044"/>
                <a:gd name="T3" fmla="*/ 93 h 1542"/>
                <a:gd name="T4" fmla="*/ 0 w 1044"/>
                <a:gd name="T5" fmla="*/ 88 h 1542"/>
                <a:gd name="T6" fmla="*/ 3 w 1044"/>
                <a:gd name="T7" fmla="*/ 74 h 1542"/>
                <a:gd name="T8" fmla="*/ 4 w 1044"/>
                <a:gd name="T9" fmla="*/ 59 h 1542"/>
                <a:gd name="T10" fmla="*/ 7 w 1044"/>
                <a:gd name="T11" fmla="*/ 52 h 1542"/>
                <a:gd name="T12" fmla="*/ 20 w 1044"/>
                <a:gd name="T13" fmla="*/ 50 h 1542"/>
                <a:gd name="T14" fmla="*/ 24 w 1044"/>
                <a:gd name="T15" fmla="*/ 46 h 1542"/>
                <a:gd name="T16" fmla="*/ 29 w 1044"/>
                <a:gd name="T17" fmla="*/ 33 h 1542"/>
                <a:gd name="T18" fmla="*/ 32 w 1044"/>
                <a:gd name="T19" fmla="*/ 26 h 1542"/>
                <a:gd name="T20" fmla="*/ 30 w 1044"/>
                <a:gd name="T21" fmla="*/ 20 h 1542"/>
                <a:gd name="T22" fmla="*/ 26 w 1044"/>
                <a:gd name="T23" fmla="*/ 17 h 1542"/>
                <a:gd name="T24" fmla="*/ 28 w 1044"/>
                <a:gd name="T25" fmla="*/ 12 h 1542"/>
                <a:gd name="T26" fmla="*/ 44 w 1044"/>
                <a:gd name="T27" fmla="*/ 5 h 1542"/>
                <a:gd name="T28" fmla="*/ 57 w 1044"/>
                <a:gd name="T29" fmla="*/ 2 h 1542"/>
                <a:gd name="T30" fmla="*/ 65 w 1044"/>
                <a:gd name="T31" fmla="*/ 12 h 1542"/>
                <a:gd name="T32" fmla="*/ 81 w 1044"/>
                <a:gd name="T33" fmla="*/ 9 h 1542"/>
                <a:gd name="T34" fmla="*/ 91 w 1044"/>
                <a:gd name="T35" fmla="*/ 20 h 1542"/>
                <a:gd name="T36" fmla="*/ 89 w 1044"/>
                <a:gd name="T37" fmla="*/ 28 h 1542"/>
                <a:gd name="T38" fmla="*/ 83 w 1044"/>
                <a:gd name="T39" fmla="*/ 33 h 1542"/>
                <a:gd name="T40" fmla="*/ 74 w 1044"/>
                <a:gd name="T41" fmla="*/ 42 h 1542"/>
                <a:gd name="T42" fmla="*/ 58 w 1044"/>
                <a:gd name="T43" fmla="*/ 57 h 1542"/>
                <a:gd name="T44" fmla="*/ 54 w 1044"/>
                <a:gd name="T45" fmla="*/ 65 h 1542"/>
                <a:gd name="T46" fmla="*/ 59 w 1044"/>
                <a:gd name="T47" fmla="*/ 74 h 1542"/>
                <a:gd name="T48" fmla="*/ 55 w 1044"/>
                <a:gd name="T49" fmla="*/ 84 h 1542"/>
                <a:gd name="T50" fmla="*/ 52 w 1044"/>
                <a:gd name="T51" fmla="*/ 98 h 1542"/>
                <a:gd name="T52" fmla="*/ 47 w 1044"/>
                <a:gd name="T53" fmla="*/ 105 h 1542"/>
                <a:gd name="T54" fmla="*/ 42 w 1044"/>
                <a:gd name="T55" fmla="*/ 111 h 1542"/>
                <a:gd name="T56" fmla="*/ 43 w 1044"/>
                <a:gd name="T57" fmla="*/ 120 h 1542"/>
                <a:gd name="T58" fmla="*/ 45 w 1044"/>
                <a:gd name="T59" fmla="*/ 125 h 1542"/>
                <a:gd name="T60" fmla="*/ 44 w 1044"/>
                <a:gd name="T61" fmla="*/ 130 h 1542"/>
                <a:gd name="T62" fmla="*/ 45 w 1044"/>
                <a:gd name="T63" fmla="*/ 131 h 1542"/>
                <a:gd name="T64" fmla="*/ 48 w 1044"/>
                <a:gd name="T65" fmla="*/ 133 h 1542"/>
                <a:gd name="T66" fmla="*/ 39 w 1044"/>
                <a:gd name="T67" fmla="*/ 133 h 1542"/>
                <a:gd name="T68" fmla="*/ 42 w 1044"/>
                <a:gd name="T69" fmla="*/ 132 h 1542"/>
                <a:gd name="T70" fmla="*/ 38 w 1044"/>
                <a:gd name="T71" fmla="*/ 133 h 1542"/>
                <a:gd name="T72" fmla="*/ 37 w 1044"/>
                <a:gd name="T73" fmla="*/ 129 h 1542"/>
                <a:gd name="T74" fmla="*/ 40 w 1044"/>
                <a:gd name="T75" fmla="*/ 125 h 1542"/>
                <a:gd name="T76" fmla="*/ 40 w 1044"/>
                <a:gd name="T77" fmla="*/ 120 h 1542"/>
                <a:gd name="T78" fmla="*/ 40 w 1044"/>
                <a:gd name="T79" fmla="*/ 117 h 1542"/>
                <a:gd name="T80" fmla="*/ 37 w 1044"/>
                <a:gd name="T81" fmla="*/ 120 h 1542"/>
                <a:gd name="T82" fmla="*/ 34 w 1044"/>
                <a:gd name="T83" fmla="*/ 122 h 1542"/>
                <a:gd name="T84" fmla="*/ 36 w 1044"/>
                <a:gd name="T85" fmla="*/ 120 h 1542"/>
                <a:gd name="T86" fmla="*/ 30 w 1044"/>
                <a:gd name="T87" fmla="*/ 120 h 1542"/>
                <a:gd name="T88" fmla="*/ 31 w 1044"/>
                <a:gd name="T89" fmla="*/ 113 h 1542"/>
                <a:gd name="T90" fmla="*/ 29 w 1044"/>
                <a:gd name="T91" fmla="*/ 112 h 1542"/>
                <a:gd name="T92" fmla="*/ 31 w 1044"/>
                <a:gd name="T93" fmla="*/ 117 h 1542"/>
                <a:gd name="T94" fmla="*/ 27 w 1044"/>
                <a:gd name="T95" fmla="*/ 116 h 1542"/>
                <a:gd name="T96" fmla="*/ 25 w 1044"/>
                <a:gd name="T97" fmla="*/ 112 h 1542"/>
                <a:gd name="T98" fmla="*/ 21 w 1044"/>
                <a:gd name="T99" fmla="*/ 109 h 1542"/>
                <a:gd name="T100" fmla="*/ 21 w 1044"/>
                <a:gd name="T101" fmla="*/ 113 h 1542"/>
                <a:gd name="T102" fmla="*/ 40 w 1044"/>
                <a:gd name="T103" fmla="*/ 120 h 1542"/>
                <a:gd name="T104" fmla="*/ 40 w 1044"/>
                <a:gd name="T105" fmla="*/ 121 h 1542"/>
                <a:gd name="T106" fmla="*/ 40 w 1044"/>
                <a:gd name="T107" fmla="*/ 116 h 1542"/>
                <a:gd name="T108" fmla="*/ 38 w 1044"/>
                <a:gd name="T109" fmla="*/ 120 h 1542"/>
                <a:gd name="T110" fmla="*/ 23 w 1044"/>
                <a:gd name="T111" fmla="*/ 110 h 1542"/>
                <a:gd name="T112" fmla="*/ 37 w 1044"/>
                <a:gd name="T113" fmla="*/ 124 h 1542"/>
                <a:gd name="T114" fmla="*/ 40 w 1044"/>
                <a:gd name="T115" fmla="*/ 125 h 1542"/>
                <a:gd name="T116" fmla="*/ 38 w 1044"/>
                <a:gd name="T117" fmla="*/ 128 h 1542"/>
                <a:gd name="T118" fmla="*/ 25 w 1044"/>
                <a:gd name="T119" fmla="*/ 117 h 1542"/>
                <a:gd name="T120" fmla="*/ 27 w 1044"/>
                <a:gd name="T121" fmla="*/ 127 h 1542"/>
                <a:gd name="T122" fmla="*/ 24 w 1044"/>
                <a:gd name="T123" fmla="*/ 113 h 15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4"/>
                <a:gd name="T187" fmla="*/ 0 h 1542"/>
                <a:gd name="T188" fmla="*/ 1044 w 1044"/>
                <a:gd name="T189" fmla="*/ 1542 h 154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4" h="1542">
                  <a:moveTo>
                    <a:pt x="234" y="1278"/>
                  </a:moveTo>
                  <a:lnTo>
                    <a:pt x="228" y="1272"/>
                  </a:lnTo>
                  <a:lnTo>
                    <a:pt x="222" y="1266"/>
                  </a:lnTo>
                  <a:lnTo>
                    <a:pt x="222" y="1260"/>
                  </a:lnTo>
                  <a:lnTo>
                    <a:pt x="204" y="1248"/>
                  </a:lnTo>
                  <a:lnTo>
                    <a:pt x="192" y="1248"/>
                  </a:lnTo>
                  <a:lnTo>
                    <a:pt x="186" y="1236"/>
                  </a:lnTo>
                  <a:lnTo>
                    <a:pt x="174" y="1218"/>
                  </a:lnTo>
                  <a:lnTo>
                    <a:pt x="162" y="1194"/>
                  </a:lnTo>
                  <a:lnTo>
                    <a:pt x="156" y="1182"/>
                  </a:lnTo>
                  <a:lnTo>
                    <a:pt x="162" y="1146"/>
                  </a:lnTo>
                  <a:lnTo>
                    <a:pt x="156" y="1134"/>
                  </a:lnTo>
                  <a:lnTo>
                    <a:pt x="138" y="1122"/>
                  </a:lnTo>
                  <a:lnTo>
                    <a:pt x="132" y="1116"/>
                  </a:lnTo>
                  <a:lnTo>
                    <a:pt x="138" y="1098"/>
                  </a:lnTo>
                  <a:lnTo>
                    <a:pt x="138" y="1092"/>
                  </a:lnTo>
                  <a:lnTo>
                    <a:pt x="138" y="1086"/>
                  </a:lnTo>
                  <a:lnTo>
                    <a:pt x="132" y="1074"/>
                  </a:lnTo>
                  <a:lnTo>
                    <a:pt x="126" y="1074"/>
                  </a:lnTo>
                  <a:lnTo>
                    <a:pt x="126" y="1068"/>
                  </a:lnTo>
                  <a:lnTo>
                    <a:pt x="120" y="1062"/>
                  </a:lnTo>
                  <a:lnTo>
                    <a:pt x="120" y="1056"/>
                  </a:lnTo>
                  <a:lnTo>
                    <a:pt x="114" y="1050"/>
                  </a:lnTo>
                  <a:lnTo>
                    <a:pt x="108" y="1050"/>
                  </a:lnTo>
                  <a:lnTo>
                    <a:pt x="102" y="1056"/>
                  </a:lnTo>
                  <a:lnTo>
                    <a:pt x="102" y="1062"/>
                  </a:lnTo>
                  <a:lnTo>
                    <a:pt x="96" y="1062"/>
                  </a:lnTo>
                  <a:lnTo>
                    <a:pt x="96" y="1068"/>
                  </a:lnTo>
                  <a:lnTo>
                    <a:pt x="96" y="1074"/>
                  </a:lnTo>
                  <a:lnTo>
                    <a:pt x="90" y="1074"/>
                  </a:lnTo>
                  <a:lnTo>
                    <a:pt x="84" y="1080"/>
                  </a:lnTo>
                  <a:lnTo>
                    <a:pt x="78" y="1074"/>
                  </a:lnTo>
                  <a:lnTo>
                    <a:pt x="72" y="1074"/>
                  </a:lnTo>
                  <a:lnTo>
                    <a:pt x="72" y="1068"/>
                  </a:lnTo>
                  <a:lnTo>
                    <a:pt x="72" y="1062"/>
                  </a:lnTo>
                  <a:lnTo>
                    <a:pt x="60" y="1056"/>
                  </a:lnTo>
                  <a:lnTo>
                    <a:pt x="60" y="1044"/>
                  </a:lnTo>
                  <a:lnTo>
                    <a:pt x="60" y="1032"/>
                  </a:lnTo>
                  <a:lnTo>
                    <a:pt x="60" y="1026"/>
                  </a:lnTo>
                  <a:lnTo>
                    <a:pt x="54" y="1026"/>
                  </a:lnTo>
                  <a:lnTo>
                    <a:pt x="48" y="1014"/>
                  </a:lnTo>
                  <a:lnTo>
                    <a:pt x="42" y="1008"/>
                  </a:lnTo>
                  <a:lnTo>
                    <a:pt x="30" y="1008"/>
                  </a:lnTo>
                  <a:lnTo>
                    <a:pt x="30" y="1002"/>
                  </a:lnTo>
                  <a:lnTo>
                    <a:pt x="24" y="1008"/>
                  </a:lnTo>
                  <a:lnTo>
                    <a:pt x="12" y="1008"/>
                  </a:lnTo>
                  <a:lnTo>
                    <a:pt x="6" y="1008"/>
                  </a:lnTo>
                  <a:lnTo>
                    <a:pt x="0" y="1008"/>
                  </a:lnTo>
                  <a:lnTo>
                    <a:pt x="0" y="1002"/>
                  </a:lnTo>
                  <a:lnTo>
                    <a:pt x="6" y="990"/>
                  </a:lnTo>
                  <a:lnTo>
                    <a:pt x="6" y="984"/>
                  </a:lnTo>
                  <a:lnTo>
                    <a:pt x="0" y="978"/>
                  </a:lnTo>
                  <a:lnTo>
                    <a:pt x="6" y="972"/>
                  </a:lnTo>
                  <a:lnTo>
                    <a:pt x="12" y="972"/>
                  </a:lnTo>
                  <a:lnTo>
                    <a:pt x="72" y="978"/>
                  </a:lnTo>
                  <a:lnTo>
                    <a:pt x="78" y="972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30"/>
                  </a:lnTo>
                  <a:lnTo>
                    <a:pt x="54" y="912"/>
                  </a:lnTo>
                  <a:lnTo>
                    <a:pt x="42" y="906"/>
                  </a:lnTo>
                  <a:lnTo>
                    <a:pt x="36" y="894"/>
                  </a:lnTo>
                  <a:lnTo>
                    <a:pt x="30" y="876"/>
                  </a:lnTo>
                  <a:lnTo>
                    <a:pt x="30" y="858"/>
                  </a:lnTo>
                  <a:lnTo>
                    <a:pt x="30" y="840"/>
                  </a:lnTo>
                  <a:lnTo>
                    <a:pt x="36" y="816"/>
                  </a:lnTo>
                  <a:lnTo>
                    <a:pt x="36" y="792"/>
                  </a:lnTo>
                  <a:lnTo>
                    <a:pt x="36" y="780"/>
                  </a:lnTo>
                  <a:lnTo>
                    <a:pt x="12" y="774"/>
                  </a:lnTo>
                  <a:lnTo>
                    <a:pt x="24" y="756"/>
                  </a:lnTo>
                  <a:lnTo>
                    <a:pt x="24" y="744"/>
                  </a:lnTo>
                  <a:lnTo>
                    <a:pt x="30" y="738"/>
                  </a:lnTo>
                  <a:lnTo>
                    <a:pt x="30" y="732"/>
                  </a:lnTo>
                  <a:lnTo>
                    <a:pt x="36" y="720"/>
                  </a:lnTo>
                  <a:lnTo>
                    <a:pt x="42" y="714"/>
                  </a:lnTo>
                  <a:lnTo>
                    <a:pt x="54" y="708"/>
                  </a:lnTo>
                  <a:lnTo>
                    <a:pt x="60" y="702"/>
                  </a:lnTo>
                  <a:lnTo>
                    <a:pt x="48" y="690"/>
                  </a:lnTo>
                  <a:lnTo>
                    <a:pt x="48" y="684"/>
                  </a:lnTo>
                  <a:lnTo>
                    <a:pt x="48" y="678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66"/>
                  </a:lnTo>
                  <a:lnTo>
                    <a:pt x="72" y="654"/>
                  </a:lnTo>
                  <a:lnTo>
                    <a:pt x="72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84" y="630"/>
                  </a:lnTo>
                  <a:lnTo>
                    <a:pt x="90" y="630"/>
                  </a:lnTo>
                  <a:lnTo>
                    <a:pt x="96" y="630"/>
                  </a:lnTo>
                  <a:lnTo>
                    <a:pt x="96" y="624"/>
                  </a:lnTo>
                  <a:lnTo>
                    <a:pt x="90" y="624"/>
                  </a:lnTo>
                  <a:lnTo>
                    <a:pt x="84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90" y="600"/>
                  </a:lnTo>
                  <a:lnTo>
                    <a:pt x="84" y="600"/>
                  </a:lnTo>
                  <a:lnTo>
                    <a:pt x="78" y="594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126" y="564"/>
                  </a:lnTo>
                  <a:lnTo>
                    <a:pt x="144" y="564"/>
                  </a:lnTo>
                  <a:lnTo>
                    <a:pt x="156" y="582"/>
                  </a:lnTo>
                  <a:lnTo>
                    <a:pt x="162" y="600"/>
                  </a:lnTo>
                  <a:lnTo>
                    <a:pt x="180" y="588"/>
                  </a:lnTo>
                  <a:lnTo>
                    <a:pt x="192" y="588"/>
                  </a:lnTo>
                  <a:lnTo>
                    <a:pt x="198" y="588"/>
                  </a:lnTo>
                  <a:lnTo>
                    <a:pt x="210" y="582"/>
                  </a:lnTo>
                  <a:lnTo>
                    <a:pt x="216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58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46" y="558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58" y="570"/>
                  </a:lnTo>
                  <a:lnTo>
                    <a:pt x="264" y="570"/>
                  </a:lnTo>
                  <a:lnTo>
                    <a:pt x="270" y="564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46"/>
                  </a:lnTo>
                  <a:lnTo>
                    <a:pt x="276" y="540"/>
                  </a:lnTo>
                  <a:lnTo>
                    <a:pt x="276" y="534"/>
                  </a:lnTo>
                  <a:lnTo>
                    <a:pt x="276" y="528"/>
                  </a:lnTo>
                  <a:lnTo>
                    <a:pt x="282" y="528"/>
                  </a:lnTo>
                  <a:lnTo>
                    <a:pt x="282" y="522"/>
                  </a:lnTo>
                  <a:lnTo>
                    <a:pt x="282" y="516"/>
                  </a:lnTo>
                  <a:lnTo>
                    <a:pt x="282" y="510"/>
                  </a:lnTo>
                  <a:lnTo>
                    <a:pt x="282" y="504"/>
                  </a:lnTo>
                  <a:lnTo>
                    <a:pt x="282" y="492"/>
                  </a:lnTo>
                  <a:lnTo>
                    <a:pt x="288" y="486"/>
                  </a:lnTo>
                  <a:lnTo>
                    <a:pt x="300" y="480"/>
                  </a:lnTo>
                  <a:lnTo>
                    <a:pt x="306" y="462"/>
                  </a:lnTo>
                  <a:lnTo>
                    <a:pt x="318" y="444"/>
                  </a:lnTo>
                  <a:lnTo>
                    <a:pt x="330" y="444"/>
                  </a:lnTo>
                  <a:lnTo>
                    <a:pt x="330" y="432"/>
                  </a:lnTo>
                  <a:lnTo>
                    <a:pt x="342" y="432"/>
                  </a:lnTo>
                  <a:lnTo>
                    <a:pt x="354" y="402"/>
                  </a:lnTo>
                  <a:lnTo>
                    <a:pt x="348" y="390"/>
                  </a:lnTo>
                  <a:lnTo>
                    <a:pt x="336" y="384"/>
                  </a:lnTo>
                  <a:lnTo>
                    <a:pt x="336" y="360"/>
                  </a:lnTo>
                  <a:lnTo>
                    <a:pt x="336" y="354"/>
                  </a:lnTo>
                  <a:lnTo>
                    <a:pt x="336" y="342"/>
                  </a:lnTo>
                  <a:lnTo>
                    <a:pt x="342" y="336"/>
                  </a:lnTo>
                  <a:lnTo>
                    <a:pt x="342" y="324"/>
                  </a:lnTo>
                  <a:lnTo>
                    <a:pt x="372" y="324"/>
                  </a:lnTo>
                  <a:lnTo>
                    <a:pt x="378" y="324"/>
                  </a:lnTo>
                  <a:lnTo>
                    <a:pt x="378" y="318"/>
                  </a:lnTo>
                  <a:lnTo>
                    <a:pt x="372" y="312"/>
                  </a:lnTo>
                  <a:lnTo>
                    <a:pt x="378" y="312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84" y="300"/>
                  </a:lnTo>
                  <a:lnTo>
                    <a:pt x="384" y="294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66" y="294"/>
                  </a:lnTo>
                  <a:lnTo>
                    <a:pt x="366" y="288"/>
                  </a:lnTo>
                  <a:lnTo>
                    <a:pt x="372" y="288"/>
                  </a:lnTo>
                  <a:lnTo>
                    <a:pt x="372" y="282"/>
                  </a:lnTo>
                  <a:lnTo>
                    <a:pt x="366" y="276"/>
                  </a:lnTo>
                  <a:lnTo>
                    <a:pt x="360" y="270"/>
                  </a:lnTo>
                  <a:lnTo>
                    <a:pt x="360" y="264"/>
                  </a:lnTo>
                  <a:lnTo>
                    <a:pt x="354" y="264"/>
                  </a:lnTo>
                  <a:lnTo>
                    <a:pt x="348" y="258"/>
                  </a:lnTo>
                  <a:lnTo>
                    <a:pt x="354" y="258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40"/>
                  </a:lnTo>
                  <a:lnTo>
                    <a:pt x="354" y="240"/>
                  </a:lnTo>
                  <a:lnTo>
                    <a:pt x="342" y="234"/>
                  </a:lnTo>
                  <a:lnTo>
                    <a:pt x="342" y="228"/>
                  </a:lnTo>
                  <a:lnTo>
                    <a:pt x="348" y="228"/>
                  </a:lnTo>
                  <a:lnTo>
                    <a:pt x="342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6" y="216"/>
                  </a:lnTo>
                  <a:lnTo>
                    <a:pt x="330" y="222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24" y="210"/>
                  </a:lnTo>
                  <a:lnTo>
                    <a:pt x="318" y="210"/>
                  </a:lnTo>
                  <a:lnTo>
                    <a:pt x="318" y="204"/>
                  </a:lnTo>
                  <a:lnTo>
                    <a:pt x="312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294" y="192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300" y="174"/>
                  </a:lnTo>
                  <a:lnTo>
                    <a:pt x="300" y="168"/>
                  </a:lnTo>
                  <a:lnTo>
                    <a:pt x="300" y="162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88" y="150"/>
                  </a:lnTo>
                  <a:lnTo>
                    <a:pt x="288" y="144"/>
                  </a:lnTo>
                  <a:lnTo>
                    <a:pt x="282" y="144"/>
                  </a:lnTo>
                  <a:lnTo>
                    <a:pt x="282" y="138"/>
                  </a:lnTo>
                  <a:lnTo>
                    <a:pt x="312" y="132"/>
                  </a:lnTo>
                  <a:lnTo>
                    <a:pt x="324" y="120"/>
                  </a:lnTo>
                  <a:lnTo>
                    <a:pt x="330" y="114"/>
                  </a:lnTo>
                  <a:lnTo>
                    <a:pt x="336" y="102"/>
                  </a:lnTo>
                  <a:lnTo>
                    <a:pt x="348" y="90"/>
                  </a:lnTo>
                  <a:lnTo>
                    <a:pt x="360" y="84"/>
                  </a:lnTo>
                  <a:lnTo>
                    <a:pt x="372" y="84"/>
                  </a:lnTo>
                  <a:lnTo>
                    <a:pt x="378" y="84"/>
                  </a:lnTo>
                  <a:lnTo>
                    <a:pt x="384" y="90"/>
                  </a:lnTo>
                  <a:lnTo>
                    <a:pt x="402" y="90"/>
                  </a:lnTo>
                  <a:lnTo>
                    <a:pt x="438" y="84"/>
                  </a:lnTo>
                  <a:lnTo>
                    <a:pt x="456" y="84"/>
                  </a:lnTo>
                  <a:lnTo>
                    <a:pt x="462" y="78"/>
                  </a:lnTo>
                  <a:lnTo>
                    <a:pt x="486" y="72"/>
                  </a:lnTo>
                  <a:lnTo>
                    <a:pt x="492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04" y="54"/>
                  </a:lnTo>
                  <a:lnTo>
                    <a:pt x="510" y="42"/>
                  </a:lnTo>
                  <a:lnTo>
                    <a:pt x="504" y="42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498" y="30"/>
                  </a:lnTo>
                  <a:lnTo>
                    <a:pt x="492" y="30"/>
                  </a:lnTo>
                  <a:lnTo>
                    <a:pt x="492" y="24"/>
                  </a:lnTo>
                  <a:lnTo>
                    <a:pt x="486" y="18"/>
                  </a:lnTo>
                  <a:lnTo>
                    <a:pt x="498" y="18"/>
                  </a:lnTo>
                  <a:lnTo>
                    <a:pt x="510" y="18"/>
                  </a:lnTo>
                  <a:lnTo>
                    <a:pt x="522" y="12"/>
                  </a:lnTo>
                  <a:lnTo>
                    <a:pt x="528" y="6"/>
                  </a:lnTo>
                  <a:lnTo>
                    <a:pt x="570" y="0"/>
                  </a:lnTo>
                  <a:lnTo>
                    <a:pt x="606" y="6"/>
                  </a:lnTo>
                  <a:lnTo>
                    <a:pt x="654" y="24"/>
                  </a:lnTo>
                  <a:lnTo>
                    <a:pt x="666" y="36"/>
                  </a:lnTo>
                  <a:lnTo>
                    <a:pt x="672" y="30"/>
                  </a:lnTo>
                  <a:lnTo>
                    <a:pt x="690" y="42"/>
                  </a:lnTo>
                  <a:lnTo>
                    <a:pt x="702" y="48"/>
                  </a:lnTo>
                  <a:lnTo>
                    <a:pt x="714" y="60"/>
                  </a:lnTo>
                  <a:lnTo>
                    <a:pt x="714" y="66"/>
                  </a:lnTo>
                  <a:lnTo>
                    <a:pt x="720" y="72"/>
                  </a:lnTo>
                  <a:lnTo>
                    <a:pt x="720" y="78"/>
                  </a:lnTo>
                  <a:lnTo>
                    <a:pt x="720" y="102"/>
                  </a:lnTo>
                  <a:lnTo>
                    <a:pt x="720" y="108"/>
                  </a:lnTo>
                  <a:lnTo>
                    <a:pt x="714" y="108"/>
                  </a:lnTo>
                  <a:lnTo>
                    <a:pt x="714" y="126"/>
                  </a:lnTo>
                  <a:lnTo>
                    <a:pt x="732" y="126"/>
                  </a:lnTo>
                  <a:lnTo>
                    <a:pt x="726" y="132"/>
                  </a:lnTo>
                  <a:lnTo>
                    <a:pt x="738" y="132"/>
                  </a:lnTo>
                  <a:lnTo>
                    <a:pt x="738" y="138"/>
                  </a:lnTo>
                  <a:lnTo>
                    <a:pt x="738" y="144"/>
                  </a:lnTo>
                  <a:lnTo>
                    <a:pt x="744" y="144"/>
                  </a:lnTo>
                  <a:lnTo>
                    <a:pt x="744" y="150"/>
                  </a:lnTo>
                  <a:lnTo>
                    <a:pt x="756" y="156"/>
                  </a:lnTo>
                  <a:lnTo>
                    <a:pt x="768" y="156"/>
                  </a:lnTo>
                  <a:lnTo>
                    <a:pt x="780" y="156"/>
                  </a:lnTo>
                  <a:lnTo>
                    <a:pt x="792" y="150"/>
                  </a:lnTo>
                  <a:lnTo>
                    <a:pt x="786" y="150"/>
                  </a:lnTo>
                  <a:lnTo>
                    <a:pt x="786" y="144"/>
                  </a:lnTo>
                  <a:lnTo>
                    <a:pt x="804" y="144"/>
                  </a:lnTo>
                  <a:lnTo>
                    <a:pt x="816" y="132"/>
                  </a:lnTo>
                  <a:lnTo>
                    <a:pt x="822" y="126"/>
                  </a:lnTo>
                  <a:lnTo>
                    <a:pt x="828" y="132"/>
                  </a:lnTo>
                  <a:lnTo>
                    <a:pt x="834" y="126"/>
                  </a:lnTo>
                  <a:lnTo>
                    <a:pt x="834" y="120"/>
                  </a:lnTo>
                  <a:lnTo>
                    <a:pt x="924" y="108"/>
                  </a:lnTo>
                  <a:lnTo>
                    <a:pt x="942" y="144"/>
                  </a:lnTo>
                  <a:lnTo>
                    <a:pt x="948" y="144"/>
                  </a:lnTo>
                  <a:lnTo>
                    <a:pt x="960" y="168"/>
                  </a:lnTo>
                  <a:lnTo>
                    <a:pt x="972" y="186"/>
                  </a:lnTo>
                  <a:lnTo>
                    <a:pt x="984" y="192"/>
                  </a:lnTo>
                  <a:lnTo>
                    <a:pt x="996" y="192"/>
                  </a:lnTo>
                  <a:lnTo>
                    <a:pt x="996" y="198"/>
                  </a:lnTo>
                  <a:lnTo>
                    <a:pt x="1008" y="204"/>
                  </a:lnTo>
                  <a:lnTo>
                    <a:pt x="1008" y="210"/>
                  </a:lnTo>
                  <a:lnTo>
                    <a:pt x="1002" y="210"/>
                  </a:lnTo>
                  <a:lnTo>
                    <a:pt x="1008" y="216"/>
                  </a:lnTo>
                  <a:lnTo>
                    <a:pt x="1014" y="210"/>
                  </a:lnTo>
                  <a:lnTo>
                    <a:pt x="1014" y="216"/>
                  </a:lnTo>
                  <a:lnTo>
                    <a:pt x="1020" y="222"/>
                  </a:lnTo>
                  <a:lnTo>
                    <a:pt x="1014" y="228"/>
                  </a:lnTo>
                  <a:lnTo>
                    <a:pt x="1032" y="234"/>
                  </a:lnTo>
                  <a:lnTo>
                    <a:pt x="1044" y="240"/>
                  </a:lnTo>
                  <a:lnTo>
                    <a:pt x="1038" y="246"/>
                  </a:lnTo>
                  <a:lnTo>
                    <a:pt x="1038" y="252"/>
                  </a:lnTo>
                  <a:lnTo>
                    <a:pt x="1038" y="258"/>
                  </a:lnTo>
                  <a:lnTo>
                    <a:pt x="1032" y="264"/>
                  </a:lnTo>
                  <a:lnTo>
                    <a:pt x="1032" y="270"/>
                  </a:lnTo>
                  <a:lnTo>
                    <a:pt x="1032" y="276"/>
                  </a:lnTo>
                  <a:lnTo>
                    <a:pt x="1032" y="282"/>
                  </a:lnTo>
                  <a:lnTo>
                    <a:pt x="1026" y="282"/>
                  </a:lnTo>
                  <a:lnTo>
                    <a:pt x="1026" y="288"/>
                  </a:lnTo>
                  <a:lnTo>
                    <a:pt x="1026" y="294"/>
                  </a:lnTo>
                  <a:lnTo>
                    <a:pt x="1026" y="300"/>
                  </a:lnTo>
                  <a:lnTo>
                    <a:pt x="1026" y="306"/>
                  </a:lnTo>
                  <a:lnTo>
                    <a:pt x="1020" y="318"/>
                  </a:lnTo>
                  <a:lnTo>
                    <a:pt x="1020" y="324"/>
                  </a:lnTo>
                  <a:lnTo>
                    <a:pt x="1014" y="324"/>
                  </a:lnTo>
                  <a:lnTo>
                    <a:pt x="1014" y="330"/>
                  </a:lnTo>
                  <a:lnTo>
                    <a:pt x="1014" y="336"/>
                  </a:lnTo>
                  <a:lnTo>
                    <a:pt x="1008" y="366"/>
                  </a:lnTo>
                  <a:lnTo>
                    <a:pt x="1002" y="366"/>
                  </a:lnTo>
                  <a:lnTo>
                    <a:pt x="984" y="354"/>
                  </a:lnTo>
                  <a:lnTo>
                    <a:pt x="978" y="354"/>
                  </a:lnTo>
                  <a:lnTo>
                    <a:pt x="972" y="354"/>
                  </a:lnTo>
                  <a:lnTo>
                    <a:pt x="966" y="348"/>
                  </a:lnTo>
                  <a:lnTo>
                    <a:pt x="954" y="348"/>
                  </a:lnTo>
                  <a:lnTo>
                    <a:pt x="948" y="348"/>
                  </a:lnTo>
                  <a:lnTo>
                    <a:pt x="948" y="360"/>
                  </a:lnTo>
                  <a:lnTo>
                    <a:pt x="948" y="366"/>
                  </a:lnTo>
                  <a:lnTo>
                    <a:pt x="948" y="372"/>
                  </a:lnTo>
                  <a:lnTo>
                    <a:pt x="948" y="378"/>
                  </a:lnTo>
                  <a:lnTo>
                    <a:pt x="948" y="384"/>
                  </a:lnTo>
                  <a:lnTo>
                    <a:pt x="942" y="384"/>
                  </a:lnTo>
                  <a:lnTo>
                    <a:pt x="942" y="390"/>
                  </a:lnTo>
                  <a:lnTo>
                    <a:pt x="936" y="390"/>
                  </a:lnTo>
                  <a:lnTo>
                    <a:pt x="942" y="390"/>
                  </a:lnTo>
                  <a:lnTo>
                    <a:pt x="936" y="396"/>
                  </a:lnTo>
                  <a:lnTo>
                    <a:pt x="930" y="402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2" y="432"/>
                  </a:lnTo>
                  <a:lnTo>
                    <a:pt x="900" y="450"/>
                  </a:lnTo>
                  <a:lnTo>
                    <a:pt x="894" y="456"/>
                  </a:lnTo>
                  <a:lnTo>
                    <a:pt x="888" y="456"/>
                  </a:lnTo>
                  <a:lnTo>
                    <a:pt x="882" y="456"/>
                  </a:lnTo>
                  <a:lnTo>
                    <a:pt x="876" y="456"/>
                  </a:lnTo>
                  <a:lnTo>
                    <a:pt x="864" y="462"/>
                  </a:lnTo>
                  <a:lnTo>
                    <a:pt x="852" y="474"/>
                  </a:lnTo>
                  <a:lnTo>
                    <a:pt x="846" y="480"/>
                  </a:lnTo>
                  <a:lnTo>
                    <a:pt x="840" y="486"/>
                  </a:lnTo>
                  <a:lnTo>
                    <a:pt x="834" y="498"/>
                  </a:lnTo>
                  <a:lnTo>
                    <a:pt x="828" y="510"/>
                  </a:lnTo>
                  <a:lnTo>
                    <a:pt x="816" y="522"/>
                  </a:lnTo>
                  <a:lnTo>
                    <a:pt x="798" y="540"/>
                  </a:lnTo>
                  <a:lnTo>
                    <a:pt x="780" y="558"/>
                  </a:lnTo>
                  <a:lnTo>
                    <a:pt x="774" y="558"/>
                  </a:lnTo>
                  <a:lnTo>
                    <a:pt x="756" y="576"/>
                  </a:lnTo>
                  <a:lnTo>
                    <a:pt x="732" y="600"/>
                  </a:lnTo>
                  <a:lnTo>
                    <a:pt x="726" y="600"/>
                  </a:lnTo>
                  <a:lnTo>
                    <a:pt x="720" y="606"/>
                  </a:lnTo>
                  <a:lnTo>
                    <a:pt x="714" y="612"/>
                  </a:lnTo>
                  <a:lnTo>
                    <a:pt x="690" y="630"/>
                  </a:lnTo>
                  <a:lnTo>
                    <a:pt x="678" y="636"/>
                  </a:lnTo>
                  <a:lnTo>
                    <a:pt x="672" y="642"/>
                  </a:lnTo>
                  <a:lnTo>
                    <a:pt x="660" y="660"/>
                  </a:lnTo>
                  <a:lnTo>
                    <a:pt x="642" y="666"/>
                  </a:lnTo>
                  <a:lnTo>
                    <a:pt x="636" y="678"/>
                  </a:lnTo>
                  <a:lnTo>
                    <a:pt x="630" y="678"/>
                  </a:lnTo>
                  <a:lnTo>
                    <a:pt x="630" y="684"/>
                  </a:lnTo>
                  <a:lnTo>
                    <a:pt x="630" y="690"/>
                  </a:lnTo>
                  <a:lnTo>
                    <a:pt x="636" y="696"/>
                  </a:lnTo>
                  <a:lnTo>
                    <a:pt x="642" y="696"/>
                  </a:lnTo>
                  <a:lnTo>
                    <a:pt x="648" y="702"/>
                  </a:lnTo>
                  <a:lnTo>
                    <a:pt x="648" y="708"/>
                  </a:lnTo>
                  <a:lnTo>
                    <a:pt x="642" y="708"/>
                  </a:lnTo>
                  <a:lnTo>
                    <a:pt x="636" y="714"/>
                  </a:lnTo>
                  <a:lnTo>
                    <a:pt x="636" y="720"/>
                  </a:lnTo>
                  <a:lnTo>
                    <a:pt x="642" y="726"/>
                  </a:lnTo>
                  <a:lnTo>
                    <a:pt x="636" y="738"/>
                  </a:lnTo>
                  <a:lnTo>
                    <a:pt x="618" y="756"/>
                  </a:lnTo>
                  <a:lnTo>
                    <a:pt x="612" y="750"/>
                  </a:lnTo>
                  <a:lnTo>
                    <a:pt x="612" y="756"/>
                  </a:lnTo>
                  <a:lnTo>
                    <a:pt x="618" y="762"/>
                  </a:lnTo>
                  <a:lnTo>
                    <a:pt x="618" y="768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36" y="786"/>
                  </a:lnTo>
                  <a:lnTo>
                    <a:pt x="642" y="792"/>
                  </a:lnTo>
                  <a:lnTo>
                    <a:pt x="642" y="798"/>
                  </a:lnTo>
                  <a:lnTo>
                    <a:pt x="648" y="804"/>
                  </a:lnTo>
                  <a:lnTo>
                    <a:pt x="654" y="810"/>
                  </a:lnTo>
                  <a:lnTo>
                    <a:pt x="660" y="816"/>
                  </a:lnTo>
                  <a:lnTo>
                    <a:pt x="666" y="816"/>
                  </a:lnTo>
                  <a:lnTo>
                    <a:pt x="666" y="822"/>
                  </a:lnTo>
                  <a:lnTo>
                    <a:pt x="672" y="828"/>
                  </a:lnTo>
                  <a:lnTo>
                    <a:pt x="672" y="840"/>
                  </a:lnTo>
                  <a:lnTo>
                    <a:pt x="672" y="846"/>
                  </a:lnTo>
                  <a:lnTo>
                    <a:pt x="666" y="852"/>
                  </a:lnTo>
                  <a:lnTo>
                    <a:pt x="660" y="864"/>
                  </a:lnTo>
                  <a:lnTo>
                    <a:pt x="654" y="876"/>
                  </a:lnTo>
                  <a:lnTo>
                    <a:pt x="648" y="882"/>
                  </a:lnTo>
                  <a:lnTo>
                    <a:pt x="642" y="888"/>
                  </a:lnTo>
                  <a:lnTo>
                    <a:pt x="642" y="894"/>
                  </a:lnTo>
                  <a:lnTo>
                    <a:pt x="642" y="906"/>
                  </a:lnTo>
                  <a:lnTo>
                    <a:pt x="630" y="918"/>
                  </a:lnTo>
                  <a:lnTo>
                    <a:pt x="630" y="924"/>
                  </a:lnTo>
                  <a:lnTo>
                    <a:pt x="624" y="930"/>
                  </a:lnTo>
                  <a:lnTo>
                    <a:pt x="630" y="936"/>
                  </a:lnTo>
                  <a:lnTo>
                    <a:pt x="630" y="942"/>
                  </a:lnTo>
                  <a:lnTo>
                    <a:pt x="630" y="948"/>
                  </a:lnTo>
                  <a:lnTo>
                    <a:pt x="630" y="954"/>
                  </a:lnTo>
                  <a:lnTo>
                    <a:pt x="630" y="960"/>
                  </a:lnTo>
                  <a:lnTo>
                    <a:pt x="624" y="966"/>
                  </a:lnTo>
                  <a:lnTo>
                    <a:pt x="618" y="990"/>
                  </a:lnTo>
                  <a:lnTo>
                    <a:pt x="618" y="1008"/>
                  </a:lnTo>
                  <a:lnTo>
                    <a:pt x="612" y="1026"/>
                  </a:lnTo>
                  <a:lnTo>
                    <a:pt x="612" y="1038"/>
                  </a:lnTo>
                  <a:lnTo>
                    <a:pt x="612" y="1050"/>
                  </a:lnTo>
                  <a:lnTo>
                    <a:pt x="612" y="1056"/>
                  </a:lnTo>
                  <a:lnTo>
                    <a:pt x="612" y="1062"/>
                  </a:lnTo>
                  <a:lnTo>
                    <a:pt x="612" y="1068"/>
                  </a:lnTo>
                  <a:lnTo>
                    <a:pt x="612" y="1086"/>
                  </a:lnTo>
                  <a:lnTo>
                    <a:pt x="612" y="1092"/>
                  </a:lnTo>
                  <a:lnTo>
                    <a:pt x="606" y="1098"/>
                  </a:lnTo>
                  <a:lnTo>
                    <a:pt x="600" y="1110"/>
                  </a:lnTo>
                  <a:lnTo>
                    <a:pt x="600" y="1116"/>
                  </a:lnTo>
                  <a:lnTo>
                    <a:pt x="594" y="1122"/>
                  </a:lnTo>
                  <a:lnTo>
                    <a:pt x="594" y="1128"/>
                  </a:lnTo>
                  <a:lnTo>
                    <a:pt x="588" y="1134"/>
                  </a:lnTo>
                  <a:lnTo>
                    <a:pt x="582" y="1140"/>
                  </a:lnTo>
                  <a:lnTo>
                    <a:pt x="570" y="1140"/>
                  </a:lnTo>
                  <a:lnTo>
                    <a:pt x="564" y="1146"/>
                  </a:lnTo>
                  <a:lnTo>
                    <a:pt x="570" y="1146"/>
                  </a:lnTo>
                  <a:lnTo>
                    <a:pt x="564" y="1152"/>
                  </a:lnTo>
                  <a:lnTo>
                    <a:pt x="558" y="1158"/>
                  </a:lnTo>
                  <a:lnTo>
                    <a:pt x="552" y="1164"/>
                  </a:lnTo>
                  <a:lnTo>
                    <a:pt x="552" y="1170"/>
                  </a:lnTo>
                  <a:lnTo>
                    <a:pt x="546" y="1176"/>
                  </a:lnTo>
                  <a:lnTo>
                    <a:pt x="546" y="1182"/>
                  </a:lnTo>
                  <a:lnTo>
                    <a:pt x="546" y="1188"/>
                  </a:lnTo>
                  <a:lnTo>
                    <a:pt x="540" y="1188"/>
                  </a:lnTo>
                  <a:lnTo>
                    <a:pt x="540" y="1194"/>
                  </a:lnTo>
                  <a:lnTo>
                    <a:pt x="528" y="1206"/>
                  </a:lnTo>
                  <a:lnTo>
                    <a:pt x="528" y="1212"/>
                  </a:lnTo>
                  <a:lnTo>
                    <a:pt x="534" y="1212"/>
                  </a:lnTo>
                  <a:lnTo>
                    <a:pt x="540" y="1218"/>
                  </a:lnTo>
                  <a:lnTo>
                    <a:pt x="534" y="1218"/>
                  </a:lnTo>
                  <a:lnTo>
                    <a:pt x="528" y="1218"/>
                  </a:lnTo>
                  <a:lnTo>
                    <a:pt x="528" y="1224"/>
                  </a:lnTo>
                  <a:lnTo>
                    <a:pt x="522" y="1230"/>
                  </a:lnTo>
                  <a:lnTo>
                    <a:pt x="516" y="1236"/>
                  </a:lnTo>
                  <a:lnTo>
                    <a:pt x="522" y="1236"/>
                  </a:lnTo>
                  <a:lnTo>
                    <a:pt x="516" y="1242"/>
                  </a:lnTo>
                  <a:lnTo>
                    <a:pt x="510" y="1242"/>
                  </a:lnTo>
                  <a:lnTo>
                    <a:pt x="504" y="1248"/>
                  </a:lnTo>
                  <a:lnTo>
                    <a:pt x="510" y="1260"/>
                  </a:lnTo>
                  <a:lnTo>
                    <a:pt x="504" y="1266"/>
                  </a:lnTo>
                  <a:lnTo>
                    <a:pt x="492" y="1266"/>
                  </a:lnTo>
                  <a:lnTo>
                    <a:pt x="486" y="1272"/>
                  </a:lnTo>
                  <a:lnTo>
                    <a:pt x="486" y="1278"/>
                  </a:lnTo>
                  <a:lnTo>
                    <a:pt x="480" y="1278"/>
                  </a:lnTo>
                  <a:lnTo>
                    <a:pt x="480" y="1284"/>
                  </a:lnTo>
                  <a:lnTo>
                    <a:pt x="480" y="1290"/>
                  </a:lnTo>
                  <a:lnTo>
                    <a:pt x="480" y="1296"/>
                  </a:lnTo>
                  <a:lnTo>
                    <a:pt x="492" y="1302"/>
                  </a:lnTo>
                  <a:lnTo>
                    <a:pt x="492" y="1308"/>
                  </a:lnTo>
                  <a:lnTo>
                    <a:pt x="492" y="1320"/>
                  </a:lnTo>
                  <a:lnTo>
                    <a:pt x="492" y="1332"/>
                  </a:lnTo>
                  <a:lnTo>
                    <a:pt x="498" y="1344"/>
                  </a:lnTo>
                  <a:lnTo>
                    <a:pt x="498" y="1350"/>
                  </a:lnTo>
                  <a:lnTo>
                    <a:pt x="498" y="1356"/>
                  </a:lnTo>
                  <a:lnTo>
                    <a:pt x="504" y="1362"/>
                  </a:lnTo>
                  <a:lnTo>
                    <a:pt x="498" y="1362"/>
                  </a:lnTo>
                  <a:lnTo>
                    <a:pt x="498" y="1368"/>
                  </a:lnTo>
                  <a:lnTo>
                    <a:pt x="492" y="1368"/>
                  </a:lnTo>
                  <a:lnTo>
                    <a:pt x="492" y="1374"/>
                  </a:lnTo>
                  <a:lnTo>
                    <a:pt x="492" y="1380"/>
                  </a:lnTo>
                  <a:lnTo>
                    <a:pt x="498" y="1380"/>
                  </a:lnTo>
                  <a:lnTo>
                    <a:pt x="504" y="1380"/>
                  </a:lnTo>
                  <a:lnTo>
                    <a:pt x="498" y="1386"/>
                  </a:lnTo>
                  <a:lnTo>
                    <a:pt x="498" y="1392"/>
                  </a:lnTo>
                  <a:lnTo>
                    <a:pt x="498" y="1398"/>
                  </a:lnTo>
                  <a:lnTo>
                    <a:pt x="498" y="1404"/>
                  </a:lnTo>
                  <a:lnTo>
                    <a:pt x="498" y="1410"/>
                  </a:lnTo>
                  <a:lnTo>
                    <a:pt x="498" y="1416"/>
                  </a:lnTo>
                  <a:lnTo>
                    <a:pt x="492" y="1416"/>
                  </a:lnTo>
                  <a:lnTo>
                    <a:pt x="498" y="1416"/>
                  </a:lnTo>
                  <a:lnTo>
                    <a:pt x="504" y="1416"/>
                  </a:lnTo>
                  <a:lnTo>
                    <a:pt x="504" y="1422"/>
                  </a:lnTo>
                  <a:lnTo>
                    <a:pt x="510" y="1428"/>
                  </a:lnTo>
                  <a:lnTo>
                    <a:pt x="510" y="1434"/>
                  </a:lnTo>
                  <a:lnTo>
                    <a:pt x="510" y="1440"/>
                  </a:lnTo>
                  <a:lnTo>
                    <a:pt x="516" y="1446"/>
                  </a:lnTo>
                  <a:lnTo>
                    <a:pt x="516" y="1452"/>
                  </a:lnTo>
                  <a:lnTo>
                    <a:pt x="516" y="1458"/>
                  </a:lnTo>
                  <a:lnTo>
                    <a:pt x="516" y="1464"/>
                  </a:lnTo>
                  <a:lnTo>
                    <a:pt x="516" y="1482"/>
                  </a:lnTo>
                  <a:lnTo>
                    <a:pt x="516" y="1488"/>
                  </a:lnTo>
                  <a:lnTo>
                    <a:pt x="522" y="1488"/>
                  </a:lnTo>
                  <a:lnTo>
                    <a:pt x="522" y="1494"/>
                  </a:lnTo>
                  <a:lnTo>
                    <a:pt x="522" y="1500"/>
                  </a:lnTo>
                  <a:lnTo>
                    <a:pt x="516" y="1506"/>
                  </a:lnTo>
                  <a:lnTo>
                    <a:pt x="510" y="1500"/>
                  </a:lnTo>
                  <a:lnTo>
                    <a:pt x="504" y="1500"/>
                  </a:lnTo>
                  <a:lnTo>
                    <a:pt x="504" y="1494"/>
                  </a:lnTo>
                  <a:lnTo>
                    <a:pt x="504" y="1488"/>
                  </a:lnTo>
                  <a:lnTo>
                    <a:pt x="504" y="1482"/>
                  </a:lnTo>
                  <a:lnTo>
                    <a:pt x="504" y="1488"/>
                  </a:lnTo>
                  <a:lnTo>
                    <a:pt x="504" y="1494"/>
                  </a:lnTo>
                  <a:lnTo>
                    <a:pt x="504" y="1500"/>
                  </a:lnTo>
                  <a:lnTo>
                    <a:pt x="498" y="1500"/>
                  </a:lnTo>
                  <a:lnTo>
                    <a:pt x="492" y="1500"/>
                  </a:lnTo>
                  <a:lnTo>
                    <a:pt x="492" y="1494"/>
                  </a:lnTo>
                  <a:lnTo>
                    <a:pt x="492" y="1488"/>
                  </a:lnTo>
                  <a:lnTo>
                    <a:pt x="492" y="1494"/>
                  </a:lnTo>
                  <a:lnTo>
                    <a:pt x="492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00"/>
                  </a:lnTo>
                  <a:lnTo>
                    <a:pt x="510" y="1500"/>
                  </a:lnTo>
                  <a:lnTo>
                    <a:pt x="510" y="1506"/>
                  </a:lnTo>
                  <a:lnTo>
                    <a:pt x="516" y="1506"/>
                  </a:lnTo>
                  <a:lnTo>
                    <a:pt x="510" y="1506"/>
                  </a:lnTo>
                  <a:lnTo>
                    <a:pt x="510" y="1512"/>
                  </a:lnTo>
                  <a:lnTo>
                    <a:pt x="516" y="1506"/>
                  </a:lnTo>
                  <a:lnTo>
                    <a:pt x="522" y="1506"/>
                  </a:lnTo>
                  <a:lnTo>
                    <a:pt x="528" y="1506"/>
                  </a:lnTo>
                  <a:lnTo>
                    <a:pt x="528" y="1500"/>
                  </a:lnTo>
                  <a:lnTo>
                    <a:pt x="534" y="1500"/>
                  </a:lnTo>
                  <a:lnTo>
                    <a:pt x="534" y="1506"/>
                  </a:lnTo>
                  <a:lnTo>
                    <a:pt x="540" y="1512"/>
                  </a:lnTo>
                  <a:lnTo>
                    <a:pt x="540" y="1518"/>
                  </a:lnTo>
                  <a:lnTo>
                    <a:pt x="546" y="1518"/>
                  </a:lnTo>
                  <a:lnTo>
                    <a:pt x="540" y="1518"/>
                  </a:lnTo>
                  <a:lnTo>
                    <a:pt x="540" y="1524"/>
                  </a:lnTo>
                  <a:lnTo>
                    <a:pt x="534" y="1524"/>
                  </a:lnTo>
                  <a:lnTo>
                    <a:pt x="540" y="1524"/>
                  </a:lnTo>
                  <a:lnTo>
                    <a:pt x="546" y="1524"/>
                  </a:lnTo>
                  <a:lnTo>
                    <a:pt x="546" y="1530"/>
                  </a:lnTo>
                  <a:lnTo>
                    <a:pt x="540" y="1530"/>
                  </a:lnTo>
                  <a:lnTo>
                    <a:pt x="540" y="1536"/>
                  </a:lnTo>
                  <a:lnTo>
                    <a:pt x="534" y="1542"/>
                  </a:lnTo>
                  <a:lnTo>
                    <a:pt x="528" y="1542"/>
                  </a:lnTo>
                  <a:lnTo>
                    <a:pt x="522" y="1542"/>
                  </a:lnTo>
                  <a:lnTo>
                    <a:pt x="516" y="1542"/>
                  </a:lnTo>
                  <a:lnTo>
                    <a:pt x="510" y="1542"/>
                  </a:lnTo>
                  <a:lnTo>
                    <a:pt x="504" y="1542"/>
                  </a:lnTo>
                  <a:lnTo>
                    <a:pt x="492" y="1542"/>
                  </a:lnTo>
                  <a:lnTo>
                    <a:pt x="486" y="1536"/>
                  </a:lnTo>
                  <a:lnTo>
                    <a:pt x="480" y="1536"/>
                  </a:lnTo>
                  <a:lnTo>
                    <a:pt x="468" y="1536"/>
                  </a:lnTo>
                  <a:lnTo>
                    <a:pt x="468" y="1542"/>
                  </a:lnTo>
                  <a:lnTo>
                    <a:pt x="462" y="1542"/>
                  </a:lnTo>
                  <a:lnTo>
                    <a:pt x="456" y="1542"/>
                  </a:lnTo>
                  <a:lnTo>
                    <a:pt x="450" y="1542"/>
                  </a:lnTo>
                  <a:lnTo>
                    <a:pt x="444" y="1542"/>
                  </a:lnTo>
                  <a:lnTo>
                    <a:pt x="444" y="1536"/>
                  </a:lnTo>
                  <a:lnTo>
                    <a:pt x="450" y="1536"/>
                  </a:lnTo>
                  <a:lnTo>
                    <a:pt x="456" y="1536"/>
                  </a:lnTo>
                  <a:lnTo>
                    <a:pt x="450" y="1536"/>
                  </a:lnTo>
                  <a:lnTo>
                    <a:pt x="444" y="1536"/>
                  </a:lnTo>
                  <a:lnTo>
                    <a:pt x="444" y="1530"/>
                  </a:lnTo>
                  <a:lnTo>
                    <a:pt x="450" y="1530"/>
                  </a:lnTo>
                  <a:lnTo>
                    <a:pt x="456" y="1524"/>
                  </a:lnTo>
                  <a:lnTo>
                    <a:pt x="456" y="1518"/>
                  </a:lnTo>
                  <a:lnTo>
                    <a:pt x="462" y="1518"/>
                  </a:lnTo>
                  <a:lnTo>
                    <a:pt x="462" y="1524"/>
                  </a:lnTo>
                  <a:lnTo>
                    <a:pt x="468" y="1524"/>
                  </a:lnTo>
                  <a:lnTo>
                    <a:pt x="474" y="1524"/>
                  </a:lnTo>
                  <a:lnTo>
                    <a:pt x="474" y="1518"/>
                  </a:lnTo>
                  <a:lnTo>
                    <a:pt x="480" y="1518"/>
                  </a:lnTo>
                  <a:lnTo>
                    <a:pt x="474" y="1518"/>
                  </a:lnTo>
                  <a:lnTo>
                    <a:pt x="474" y="1524"/>
                  </a:lnTo>
                  <a:lnTo>
                    <a:pt x="468" y="1524"/>
                  </a:lnTo>
                  <a:lnTo>
                    <a:pt x="462" y="1518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62" y="1512"/>
                  </a:lnTo>
                  <a:lnTo>
                    <a:pt x="462" y="1506"/>
                  </a:lnTo>
                  <a:lnTo>
                    <a:pt x="456" y="1506"/>
                  </a:lnTo>
                  <a:lnTo>
                    <a:pt x="456" y="1512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50" y="1518"/>
                  </a:lnTo>
                  <a:lnTo>
                    <a:pt x="444" y="1518"/>
                  </a:lnTo>
                  <a:lnTo>
                    <a:pt x="444" y="1524"/>
                  </a:lnTo>
                  <a:lnTo>
                    <a:pt x="438" y="1524"/>
                  </a:lnTo>
                  <a:lnTo>
                    <a:pt x="438" y="1530"/>
                  </a:lnTo>
                  <a:lnTo>
                    <a:pt x="432" y="1530"/>
                  </a:lnTo>
                  <a:lnTo>
                    <a:pt x="432" y="1536"/>
                  </a:lnTo>
                  <a:lnTo>
                    <a:pt x="426" y="1530"/>
                  </a:lnTo>
                  <a:lnTo>
                    <a:pt x="420" y="1530"/>
                  </a:lnTo>
                  <a:lnTo>
                    <a:pt x="414" y="1530"/>
                  </a:lnTo>
                  <a:lnTo>
                    <a:pt x="414" y="1524"/>
                  </a:lnTo>
                  <a:lnTo>
                    <a:pt x="408" y="1518"/>
                  </a:lnTo>
                  <a:lnTo>
                    <a:pt x="414" y="1512"/>
                  </a:lnTo>
                  <a:lnTo>
                    <a:pt x="408" y="1512"/>
                  </a:lnTo>
                  <a:lnTo>
                    <a:pt x="408" y="1506"/>
                  </a:lnTo>
                  <a:lnTo>
                    <a:pt x="408" y="1500"/>
                  </a:lnTo>
                  <a:lnTo>
                    <a:pt x="408" y="1494"/>
                  </a:lnTo>
                  <a:lnTo>
                    <a:pt x="408" y="1488"/>
                  </a:lnTo>
                  <a:lnTo>
                    <a:pt x="408" y="1494"/>
                  </a:lnTo>
                  <a:lnTo>
                    <a:pt x="414" y="1494"/>
                  </a:lnTo>
                  <a:lnTo>
                    <a:pt x="420" y="1494"/>
                  </a:lnTo>
                  <a:lnTo>
                    <a:pt x="420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82"/>
                  </a:lnTo>
                  <a:lnTo>
                    <a:pt x="426" y="1476"/>
                  </a:lnTo>
                  <a:lnTo>
                    <a:pt x="432" y="1476"/>
                  </a:lnTo>
                  <a:lnTo>
                    <a:pt x="432" y="1470"/>
                  </a:lnTo>
                  <a:lnTo>
                    <a:pt x="438" y="1470"/>
                  </a:lnTo>
                  <a:lnTo>
                    <a:pt x="444" y="1464"/>
                  </a:lnTo>
                  <a:lnTo>
                    <a:pt x="450" y="1458"/>
                  </a:lnTo>
                  <a:lnTo>
                    <a:pt x="456" y="1458"/>
                  </a:lnTo>
                  <a:lnTo>
                    <a:pt x="462" y="1452"/>
                  </a:lnTo>
                  <a:lnTo>
                    <a:pt x="468" y="1452"/>
                  </a:lnTo>
                  <a:lnTo>
                    <a:pt x="468" y="1446"/>
                  </a:lnTo>
                  <a:lnTo>
                    <a:pt x="462" y="1440"/>
                  </a:lnTo>
                  <a:lnTo>
                    <a:pt x="456" y="1434"/>
                  </a:lnTo>
                  <a:lnTo>
                    <a:pt x="456" y="1428"/>
                  </a:lnTo>
                  <a:lnTo>
                    <a:pt x="456" y="1422"/>
                  </a:lnTo>
                  <a:lnTo>
                    <a:pt x="456" y="1416"/>
                  </a:lnTo>
                  <a:lnTo>
                    <a:pt x="450" y="1410"/>
                  </a:lnTo>
                  <a:lnTo>
                    <a:pt x="444" y="1410"/>
                  </a:lnTo>
                  <a:lnTo>
                    <a:pt x="450" y="1410"/>
                  </a:lnTo>
                  <a:lnTo>
                    <a:pt x="450" y="1404"/>
                  </a:lnTo>
                  <a:lnTo>
                    <a:pt x="456" y="1404"/>
                  </a:lnTo>
                  <a:lnTo>
                    <a:pt x="462" y="1404"/>
                  </a:lnTo>
                  <a:lnTo>
                    <a:pt x="468" y="1398"/>
                  </a:lnTo>
                  <a:lnTo>
                    <a:pt x="462" y="1398"/>
                  </a:lnTo>
                  <a:lnTo>
                    <a:pt x="462" y="1392"/>
                  </a:lnTo>
                  <a:lnTo>
                    <a:pt x="456" y="1392"/>
                  </a:lnTo>
                  <a:lnTo>
                    <a:pt x="456" y="1386"/>
                  </a:lnTo>
                  <a:lnTo>
                    <a:pt x="462" y="1386"/>
                  </a:lnTo>
                  <a:lnTo>
                    <a:pt x="468" y="1386"/>
                  </a:lnTo>
                  <a:lnTo>
                    <a:pt x="474" y="1386"/>
                  </a:lnTo>
                  <a:lnTo>
                    <a:pt x="468" y="1386"/>
                  </a:lnTo>
                  <a:lnTo>
                    <a:pt x="462" y="1386"/>
                  </a:lnTo>
                  <a:lnTo>
                    <a:pt x="456" y="1380"/>
                  </a:lnTo>
                  <a:lnTo>
                    <a:pt x="456" y="1374"/>
                  </a:lnTo>
                  <a:lnTo>
                    <a:pt x="462" y="1374"/>
                  </a:lnTo>
                  <a:lnTo>
                    <a:pt x="462" y="1368"/>
                  </a:lnTo>
                  <a:lnTo>
                    <a:pt x="456" y="1374"/>
                  </a:lnTo>
                  <a:lnTo>
                    <a:pt x="456" y="1368"/>
                  </a:lnTo>
                  <a:lnTo>
                    <a:pt x="456" y="1362"/>
                  </a:lnTo>
                  <a:lnTo>
                    <a:pt x="450" y="1362"/>
                  </a:lnTo>
                  <a:lnTo>
                    <a:pt x="450" y="1356"/>
                  </a:lnTo>
                  <a:lnTo>
                    <a:pt x="450" y="1350"/>
                  </a:lnTo>
                  <a:lnTo>
                    <a:pt x="450" y="1344"/>
                  </a:lnTo>
                  <a:lnTo>
                    <a:pt x="456" y="1344"/>
                  </a:lnTo>
                  <a:lnTo>
                    <a:pt x="456" y="1338"/>
                  </a:lnTo>
                  <a:lnTo>
                    <a:pt x="462" y="1338"/>
                  </a:lnTo>
                  <a:lnTo>
                    <a:pt x="462" y="1332"/>
                  </a:lnTo>
                  <a:lnTo>
                    <a:pt x="456" y="1332"/>
                  </a:lnTo>
                  <a:lnTo>
                    <a:pt x="456" y="1326"/>
                  </a:lnTo>
                  <a:lnTo>
                    <a:pt x="450" y="1326"/>
                  </a:lnTo>
                  <a:lnTo>
                    <a:pt x="444" y="1326"/>
                  </a:lnTo>
                  <a:lnTo>
                    <a:pt x="444" y="1332"/>
                  </a:lnTo>
                  <a:lnTo>
                    <a:pt x="438" y="1332"/>
                  </a:lnTo>
                  <a:lnTo>
                    <a:pt x="438" y="1338"/>
                  </a:lnTo>
                  <a:lnTo>
                    <a:pt x="432" y="1338"/>
                  </a:lnTo>
                  <a:lnTo>
                    <a:pt x="432" y="1344"/>
                  </a:lnTo>
                  <a:lnTo>
                    <a:pt x="432" y="1350"/>
                  </a:lnTo>
                  <a:lnTo>
                    <a:pt x="426" y="1356"/>
                  </a:lnTo>
                  <a:lnTo>
                    <a:pt x="426" y="1368"/>
                  </a:lnTo>
                  <a:lnTo>
                    <a:pt x="426" y="1374"/>
                  </a:lnTo>
                  <a:lnTo>
                    <a:pt x="426" y="1380"/>
                  </a:lnTo>
                  <a:lnTo>
                    <a:pt x="432" y="1386"/>
                  </a:lnTo>
                  <a:lnTo>
                    <a:pt x="432" y="1392"/>
                  </a:lnTo>
                  <a:lnTo>
                    <a:pt x="432" y="1398"/>
                  </a:lnTo>
                  <a:lnTo>
                    <a:pt x="426" y="1398"/>
                  </a:lnTo>
                  <a:lnTo>
                    <a:pt x="420" y="1398"/>
                  </a:lnTo>
                  <a:lnTo>
                    <a:pt x="414" y="1398"/>
                  </a:lnTo>
                  <a:lnTo>
                    <a:pt x="420" y="1398"/>
                  </a:lnTo>
                  <a:lnTo>
                    <a:pt x="414" y="1404"/>
                  </a:lnTo>
                  <a:lnTo>
                    <a:pt x="420" y="1404"/>
                  </a:lnTo>
                  <a:lnTo>
                    <a:pt x="414" y="1404"/>
                  </a:lnTo>
                  <a:lnTo>
                    <a:pt x="408" y="1404"/>
                  </a:lnTo>
                  <a:lnTo>
                    <a:pt x="402" y="1410"/>
                  </a:lnTo>
                  <a:lnTo>
                    <a:pt x="402" y="1404"/>
                  </a:lnTo>
                  <a:lnTo>
                    <a:pt x="396" y="1404"/>
                  </a:lnTo>
                  <a:lnTo>
                    <a:pt x="390" y="1404"/>
                  </a:lnTo>
                  <a:lnTo>
                    <a:pt x="384" y="1404"/>
                  </a:lnTo>
                  <a:lnTo>
                    <a:pt x="384" y="1398"/>
                  </a:lnTo>
                  <a:lnTo>
                    <a:pt x="384" y="1392"/>
                  </a:lnTo>
                  <a:lnTo>
                    <a:pt x="390" y="1392"/>
                  </a:lnTo>
                  <a:lnTo>
                    <a:pt x="390" y="1386"/>
                  </a:lnTo>
                  <a:lnTo>
                    <a:pt x="390" y="1380"/>
                  </a:lnTo>
                  <a:lnTo>
                    <a:pt x="396" y="1380"/>
                  </a:lnTo>
                  <a:lnTo>
                    <a:pt x="402" y="1380"/>
                  </a:lnTo>
                  <a:lnTo>
                    <a:pt x="408" y="1380"/>
                  </a:lnTo>
                  <a:lnTo>
                    <a:pt x="408" y="1374"/>
                  </a:lnTo>
                  <a:lnTo>
                    <a:pt x="414" y="1374"/>
                  </a:lnTo>
                  <a:lnTo>
                    <a:pt x="414" y="1368"/>
                  </a:lnTo>
                  <a:lnTo>
                    <a:pt x="414" y="1362"/>
                  </a:lnTo>
                  <a:lnTo>
                    <a:pt x="414" y="1368"/>
                  </a:lnTo>
                  <a:lnTo>
                    <a:pt x="414" y="1374"/>
                  </a:lnTo>
                  <a:lnTo>
                    <a:pt x="408" y="1374"/>
                  </a:lnTo>
                  <a:lnTo>
                    <a:pt x="402" y="1380"/>
                  </a:lnTo>
                  <a:lnTo>
                    <a:pt x="396" y="1380"/>
                  </a:lnTo>
                  <a:lnTo>
                    <a:pt x="396" y="1374"/>
                  </a:lnTo>
                  <a:lnTo>
                    <a:pt x="390" y="1374"/>
                  </a:lnTo>
                  <a:lnTo>
                    <a:pt x="390" y="1368"/>
                  </a:lnTo>
                  <a:lnTo>
                    <a:pt x="384" y="1368"/>
                  </a:lnTo>
                  <a:lnTo>
                    <a:pt x="384" y="1374"/>
                  </a:lnTo>
                  <a:lnTo>
                    <a:pt x="378" y="1374"/>
                  </a:lnTo>
                  <a:lnTo>
                    <a:pt x="378" y="1380"/>
                  </a:lnTo>
                  <a:lnTo>
                    <a:pt x="372" y="1380"/>
                  </a:lnTo>
                  <a:lnTo>
                    <a:pt x="366" y="1386"/>
                  </a:lnTo>
                  <a:lnTo>
                    <a:pt x="360" y="1386"/>
                  </a:lnTo>
                  <a:lnTo>
                    <a:pt x="354" y="1386"/>
                  </a:lnTo>
                  <a:lnTo>
                    <a:pt x="354" y="1380"/>
                  </a:lnTo>
                  <a:lnTo>
                    <a:pt x="348" y="1380"/>
                  </a:lnTo>
                  <a:lnTo>
                    <a:pt x="342" y="1380"/>
                  </a:lnTo>
                  <a:lnTo>
                    <a:pt x="342" y="1374"/>
                  </a:lnTo>
                  <a:lnTo>
                    <a:pt x="336" y="1368"/>
                  </a:lnTo>
                  <a:lnTo>
                    <a:pt x="342" y="1368"/>
                  </a:lnTo>
                  <a:lnTo>
                    <a:pt x="342" y="1362"/>
                  </a:lnTo>
                  <a:lnTo>
                    <a:pt x="348" y="1362"/>
                  </a:lnTo>
                  <a:lnTo>
                    <a:pt x="354" y="1362"/>
                  </a:lnTo>
                  <a:lnTo>
                    <a:pt x="354" y="1356"/>
                  </a:lnTo>
                  <a:lnTo>
                    <a:pt x="348" y="1356"/>
                  </a:lnTo>
                  <a:lnTo>
                    <a:pt x="348" y="1350"/>
                  </a:lnTo>
                  <a:lnTo>
                    <a:pt x="348" y="1344"/>
                  </a:lnTo>
                  <a:lnTo>
                    <a:pt x="354" y="1338"/>
                  </a:lnTo>
                  <a:lnTo>
                    <a:pt x="354" y="1332"/>
                  </a:lnTo>
                  <a:lnTo>
                    <a:pt x="354" y="1326"/>
                  </a:lnTo>
                  <a:lnTo>
                    <a:pt x="354" y="1320"/>
                  </a:lnTo>
                  <a:lnTo>
                    <a:pt x="354" y="1314"/>
                  </a:lnTo>
                  <a:lnTo>
                    <a:pt x="354" y="1308"/>
                  </a:lnTo>
                  <a:lnTo>
                    <a:pt x="348" y="1308"/>
                  </a:lnTo>
                  <a:lnTo>
                    <a:pt x="348" y="1302"/>
                  </a:lnTo>
                  <a:lnTo>
                    <a:pt x="342" y="1296"/>
                  </a:lnTo>
                  <a:lnTo>
                    <a:pt x="336" y="1296"/>
                  </a:lnTo>
                  <a:lnTo>
                    <a:pt x="336" y="1290"/>
                  </a:lnTo>
                  <a:lnTo>
                    <a:pt x="330" y="1290"/>
                  </a:lnTo>
                  <a:lnTo>
                    <a:pt x="324" y="1290"/>
                  </a:lnTo>
                  <a:lnTo>
                    <a:pt x="324" y="1284"/>
                  </a:lnTo>
                  <a:lnTo>
                    <a:pt x="318" y="1284"/>
                  </a:lnTo>
                  <a:lnTo>
                    <a:pt x="318" y="1278"/>
                  </a:lnTo>
                  <a:lnTo>
                    <a:pt x="312" y="1278"/>
                  </a:lnTo>
                  <a:lnTo>
                    <a:pt x="312" y="1272"/>
                  </a:lnTo>
                  <a:lnTo>
                    <a:pt x="312" y="1278"/>
                  </a:lnTo>
                  <a:lnTo>
                    <a:pt x="318" y="1284"/>
                  </a:lnTo>
                  <a:lnTo>
                    <a:pt x="324" y="1290"/>
                  </a:lnTo>
                  <a:lnTo>
                    <a:pt x="330" y="1290"/>
                  </a:lnTo>
                  <a:lnTo>
                    <a:pt x="330" y="1296"/>
                  </a:lnTo>
                  <a:lnTo>
                    <a:pt x="336" y="1296"/>
                  </a:lnTo>
                  <a:lnTo>
                    <a:pt x="336" y="1302"/>
                  </a:lnTo>
                  <a:lnTo>
                    <a:pt x="342" y="1302"/>
                  </a:lnTo>
                  <a:lnTo>
                    <a:pt x="348" y="1302"/>
                  </a:lnTo>
                  <a:lnTo>
                    <a:pt x="348" y="1308"/>
                  </a:lnTo>
                  <a:lnTo>
                    <a:pt x="348" y="1314"/>
                  </a:lnTo>
                  <a:lnTo>
                    <a:pt x="354" y="1314"/>
                  </a:lnTo>
                  <a:lnTo>
                    <a:pt x="354" y="1320"/>
                  </a:lnTo>
                  <a:lnTo>
                    <a:pt x="354" y="1326"/>
                  </a:lnTo>
                  <a:lnTo>
                    <a:pt x="348" y="1326"/>
                  </a:lnTo>
                  <a:lnTo>
                    <a:pt x="348" y="1332"/>
                  </a:lnTo>
                  <a:lnTo>
                    <a:pt x="348" y="1338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2" y="1350"/>
                  </a:lnTo>
                  <a:lnTo>
                    <a:pt x="336" y="1350"/>
                  </a:lnTo>
                  <a:lnTo>
                    <a:pt x="330" y="1350"/>
                  </a:lnTo>
                  <a:lnTo>
                    <a:pt x="330" y="1356"/>
                  </a:lnTo>
                  <a:lnTo>
                    <a:pt x="330" y="1350"/>
                  </a:lnTo>
                  <a:lnTo>
                    <a:pt x="324" y="1350"/>
                  </a:lnTo>
                  <a:lnTo>
                    <a:pt x="318" y="1344"/>
                  </a:lnTo>
                  <a:lnTo>
                    <a:pt x="318" y="1350"/>
                  </a:lnTo>
                  <a:lnTo>
                    <a:pt x="312" y="1344"/>
                  </a:lnTo>
                  <a:lnTo>
                    <a:pt x="312" y="1338"/>
                  </a:lnTo>
                  <a:lnTo>
                    <a:pt x="306" y="1338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6" y="1326"/>
                  </a:lnTo>
                  <a:lnTo>
                    <a:pt x="306" y="1320"/>
                  </a:lnTo>
                  <a:lnTo>
                    <a:pt x="306" y="1326"/>
                  </a:lnTo>
                  <a:lnTo>
                    <a:pt x="312" y="1326"/>
                  </a:lnTo>
                  <a:lnTo>
                    <a:pt x="312" y="1320"/>
                  </a:lnTo>
                  <a:lnTo>
                    <a:pt x="306" y="1320"/>
                  </a:lnTo>
                  <a:lnTo>
                    <a:pt x="300" y="1320"/>
                  </a:lnTo>
                  <a:lnTo>
                    <a:pt x="294" y="1320"/>
                  </a:lnTo>
                  <a:lnTo>
                    <a:pt x="294" y="1314"/>
                  </a:lnTo>
                  <a:lnTo>
                    <a:pt x="288" y="1314"/>
                  </a:lnTo>
                  <a:lnTo>
                    <a:pt x="288" y="1308"/>
                  </a:lnTo>
                  <a:lnTo>
                    <a:pt x="288" y="1302"/>
                  </a:lnTo>
                  <a:lnTo>
                    <a:pt x="294" y="1302"/>
                  </a:lnTo>
                  <a:lnTo>
                    <a:pt x="294" y="1296"/>
                  </a:lnTo>
                  <a:lnTo>
                    <a:pt x="288" y="1296"/>
                  </a:lnTo>
                  <a:lnTo>
                    <a:pt x="288" y="1290"/>
                  </a:lnTo>
                  <a:lnTo>
                    <a:pt x="288" y="1296"/>
                  </a:lnTo>
                  <a:lnTo>
                    <a:pt x="294" y="1302"/>
                  </a:lnTo>
                  <a:lnTo>
                    <a:pt x="288" y="1302"/>
                  </a:lnTo>
                  <a:lnTo>
                    <a:pt x="282" y="1296"/>
                  </a:lnTo>
                  <a:lnTo>
                    <a:pt x="276" y="1296"/>
                  </a:lnTo>
                  <a:lnTo>
                    <a:pt x="276" y="1290"/>
                  </a:lnTo>
                  <a:lnTo>
                    <a:pt x="270" y="1290"/>
                  </a:lnTo>
                  <a:lnTo>
                    <a:pt x="264" y="1284"/>
                  </a:lnTo>
                  <a:lnTo>
                    <a:pt x="264" y="1278"/>
                  </a:lnTo>
                  <a:lnTo>
                    <a:pt x="264" y="1272"/>
                  </a:lnTo>
                  <a:lnTo>
                    <a:pt x="264" y="1266"/>
                  </a:lnTo>
                  <a:lnTo>
                    <a:pt x="258" y="1266"/>
                  </a:lnTo>
                  <a:lnTo>
                    <a:pt x="252" y="1266"/>
                  </a:lnTo>
                  <a:lnTo>
                    <a:pt x="246" y="1260"/>
                  </a:lnTo>
                  <a:lnTo>
                    <a:pt x="240" y="1254"/>
                  </a:lnTo>
                  <a:lnTo>
                    <a:pt x="240" y="1260"/>
                  </a:lnTo>
                  <a:lnTo>
                    <a:pt x="240" y="1266"/>
                  </a:lnTo>
                  <a:lnTo>
                    <a:pt x="240" y="1272"/>
                  </a:lnTo>
                  <a:lnTo>
                    <a:pt x="246" y="1272"/>
                  </a:lnTo>
                  <a:lnTo>
                    <a:pt x="246" y="1278"/>
                  </a:lnTo>
                  <a:lnTo>
                    <a:pt x="246" y="1284"/>
                  </a:lnTo>
                  <a:lnTo>
                    <a:pt x="252" y="1284"/>
                  </a:lnTo>
                  <a:lnTo>
                    <a:pt x="252" y="1290"/>
                  </a:lnTo>
                  <a:lnTo>
                    <a:pt x="258" y="1296"/>
                  </a:lnTo>
                  <a:lnTo>
                    <a:pt x="264" y="1302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58" y="1314"/>
                  </a:lnTo>
                  <a:lnTo>
                    <a:pt x="258" y="1308"/>
                  </a:lnTo>
                  <a:lnTo>
                    <a:pt x="252" y="1308"/>
                  </a:lnTo>
                  <a:lnTo>
                    <a:pt x="252" y="1302"/>
                  </a:lnTo>
                  <a:lnTo>
                    <a:pt x="246" y="1302"/>
                  </a:lnTo>
                  <a:lnTo>
                    <a:pt x="246" y="1296"/>
                  </a:lnTo>
                  <a:lnTo>
                    <a:pt x="240" y="1296"/>
                  </a:lnTo>
                  <a:lnTo>
                    <a:pt x="240" y="1290"/>
                  </a:lnTo>
                  <a:lnTo>
                    <a:pt x="234" y="1284"/>
                  </a:lnTo>
                  <a:lnTo>
                    <a:pt x="234" y="1278"/>
                  </a:lnTo>
                  <a:close/>
                  <a:moveTo>
                    <a:pt x="444" y="1332"/>
                  </a:moveTo>
                  <a:lnTo>
                    <a:pt x="450" y="1326"/>
                  </a:lnTo>
                  <a:lnTo>
                    <a:pt x="456" y="1326"/>
                  </a:lnTo>
                  <a:lnTo>
                    <a:pt x="456" y="1332"/>
                  </a:lnTo>
                  <a:lnTo>
                    <a:pt x="456" y="1338"/>
                  </a:lnTo>
                  <a:lnTo>
                    <a:pt x="450" y="1338"/>
                  </a:lnTo>
                  <a:lnTo>
                    <a:pt x="444" y="1338"/>
                  </a:lnTo>
                  <a:lnTo>
                    <a:pt x="444" y="1332"/>
                  </a:lnTo>
                  <a:close/>
                  <a:moveTo>
                    <a:pt x="444" y="1368"/>
                  </a:moveTo>
                  <a:lnTo>
                    <a:pt x="456" y="1368"/>
                  </a:lnTo>
                  <a:lnTo>
                    <a:pt x="456" y="1374"/>
                  </a:lnTo>
                  <a:lnTo>
                    <a:pt x="444" y="1374"/>
                  </a:lnTo>
                  <a:lnTo>
                    <a:pt x="444" y="1368"/>
                  </a:lnTo>
                  <a:close/>
                  <a:moveTo>
                    <a:pt x="444" y="1386"/>
                  </a:moveTo>
                  <a:lnTo>
                    <a:pt x="444" y="1380"/>
                  </a:lnTo>
                  <a:lnTo>
                    <a:pt x="444" y="1374"/>
                  </a:lnTo>
                  <a:lnTo>
                    <a:pt x="444" y="1380"/>
                  </a:lnTo>
                  <a:lnTo>
                    <a:pt x="450" y="1380"/>
                  </a:lnTo>
                  <a:lnTo>
                    <a:pt x="456" y="1380"/>
                  </a:lnTo>
                  <a:lnTo>
                    <a:pt x="456" y="1386"/>
                  </a:lnTo>
                  <a:lnTo>
                    <a:pt x="456" y="1392"/>
                  </a:lnTo>
                  <a:lnTo>
                    <a:pt x="462" y="1392"/>
                  </a:lnTo>
                  <a:lnTo>
                    <a:pt x="462" y="1398"/>
                  </a:lnTo>
                  <a:lnTo>
                    <a:pt x="462" y="1404"/>
                  </a:lnTo>
                  <a:lnTo>
                    <a:pt x="456" y="1404"/>
                  </a:lnTo>
                  <a:lnTo>
                    <a:pt x="450" y="1404"/>
                  </a:lnTo>
                  <a:lnTo>
                    <a:pt x="450" y="1398"/>
                  </a:lnTo>
                  <a:lnTo>
                    <a:pt x="444" y="1398"/>
                  </a:lnTo>
                  <a:lnTo>
                    <a:pt x="444" y="1392"/>
                  </a:lnTo>
                  <a:lnTo>
                    <a:pt x="444" y="1386"/>
                  </a:lnTo>
                  <a:close/>
                  <a:moveTo>
                    <a:pt x="438" y="1362"/>
                  </a:moveTo>
                  <a:lnTo>
                    <a:pt x="444" y="1356"/>
                  </a:lnTo>
                  <a:lnTo>
                    <a:pt x="450" y="1356"/>
                  </a:lnTo>
                  <a:lnTo>
                    <a:pt x="450" y="1362"/>
                  </a:lnTo>
                  <a:lnTo>
                    <a:pt x="450" y="1368"/>
                  </a:lnTo>
                  <a:lnTo>
                    <a:pt x="444" y="1368"/>
                  </a:lnTo>
                  <a:lnTo>
                    <a:pt x="444" y="1362"/>
                  </a:lnTo>
                  <a:lnTo>
                    <a:pt x="438" y="1362"/>
                  </a:lnTo>
                  <a:close/>
                  <a:moveTo>
                    <a:pt x="438" y="1350"/>
                  </a:moveTo>
                  <a:lnTo>
                    <a:pt x="438" y="1344"/>
                  </a:lnTo>
                  <a:lnTo>
                    <a:pt x="438" y="1338"/>
                  </a:lnTo>
                  <a:lnTo>
                    <a:pt x="444" y="1338"/>
                  </a:lnTo>
                  <a:lnTo>
                    <a:pt x="450" y="1338"/>
                  </a:lnTo>
                  <a:lnTo>
                    <a:pt x="456" y="1338"/>
                  </a:lnTo>
                  <a:lnTo>
                    <a:pt x="450" y="1344"/>
                  </a:lnTo>
                  <a:lnTo>
                    <a:pt x="444" y="1350"/>
                  </a:lnTo>
                  <a:lnTo>
                    <a:pt x="438" y="1350"/>
                  </a:lnTo>
                  <a:close/>
                  <a:moveTo>
                    <a:pt x="432" y="1380"/>
                  </a:moveTo>
                  <a:lnTo>
                    <a:pt x="432" y="1368"/>
                  </a:lnTo>
                  <a:lnTo>
                    <a:pt x="432" y="1362"/>
                  </a:lnTo>
                  <a:lnTo>
                    <a:pt x="432" y="1356"/>
                  </a:lnTo>
                  <a:lnTo>
                    <a:pt x="438" y="1356"/>
                  </a:lnTo>
                  <a:lnTo>
                    <a:pt x="438" y="1362"/>
                  </a:lnTo>
                  <a:lnTo>
                    <a:pt x="438" y="1368"/>
                  </a:lnTo>
                  <a:lnTo>
                    <a:pt x="438" y="1374"/>
                  </a:lnTo>
                  <a:lnTo>
                    <a:pt x="438" y="1380"/>
                  </a:lnTo>
                  <a:lnTo>
                    <a:pt x="438" y="1386"/>
                  </a:lnTo>
                  <a:lnTo>
                    <a:pt x="438" y="1380"/>
                  </a:lnTo>
                  <a:lnTo>
                    <a:pt x="432" y="1380"/>
                  </a:lnTo>
                  <a:close/>
                  <a:moveTo>
                    <a:pt x="246" y="1272"/>
                  </a:moveTo>
                  <a:lnTo>
                    <a:pt x="252" y="1272"/>
                  </a:lnTo>
                  <a:lnTo>
                    <a:pt x="252" y="1278"/>
                  </a:lnTo>
                  <a:lnTo>
                    <a:pt x="246" y="1278"/>
                  </a:lnTo>
                  <a:lnTo>
                    <a:pt x="246" y="1272"/>
                  </a:lnTo>
                  <a:close/>
                  <a:moveTo>
                    <a:pt x="426" y="1416"/>
                  </a:moveTo>
                  <a:lnTo>
                    <a:pt x="432" y="1410"/>
                  </a:lnTo>
                  <a:lnTo>
                    <a:pt x="438" y="1410"/>
                  </a:lnTo>
                  <a:lnTo>
                    <a:pt x="438" y="1416"/>
                  </a:lnTo>
                  <a:lnTo>
                    <a:pt x="438" y="1422"/>
                  </a:lnTo>
                  <a:lnTo>
                    <a:pt x="432" y="1422"/>
                  </a:lnTo>
                  <a:lnTo>
                    <a:pt x="426" y="1422"/>
                  </a:lnTo>
                  <a:lnTo>
                    <a:pt x="426" y="1416"/>
                  </a:lnTo>
                  <a:close/>
                  <a:moveTo>
                    <a:pt x="246" y="1266"/>
                  </a:moveTo>
                  <a:lnTo>
                    <a:pt x="252" y="1266"/>
                  </a:lnTo>
                  <a:lnTo>
                    <a:pt x="258" y="1272"/>
                  </a:lnTo>
                  <a:lnTo>
                    <a:pt x="258" y="1278"/>
                  </a:lnTo>
                  <a:lnTo>
                    <a:pt x="258" y="1284"/>
                  </a:lnTo>
                  <a:lnTo>
                    <a:pt x="252" y="1284"/>
                  </a:lnTo>
                  <a:lnTo>
                    <a:pt x="252" y="1278"/>
                  </a:lnTo>
                  <a:lnTo>
                    <a:pt x="252" y="1272"/>
                  </a:lnTo>
                  <a:lnTo>
                    <a:pt x="252" y="1266"/>
                  </a:lnTo>
                  <a:lnTo>
                    <a:pt x="246" y="1266"/>
                  </a:lnTo>
                  <a:close/>
                  <a:moveTo>
                    <a:pt x="408" y="1458"/>
                  </a:moveTo>
                  <a:lnTo>
                    <a:pt x="408" y="1452"/>
                  </a:lnTo>
                  <a:lnTo>
                    <a:pt x="414" y="1452"/>
                  </a:lnTo>
                  <a:lnTo>
                    <a:pt x="414" y="1446"/>
                  </a:lnTo>
                  <a:lnTo>
                    <a:pt x="414" y="1440"/>
                  </a:lnTo>
                  <a:lnTo>
                    <a:pt x="420" y="1440"/>
                  </a:lnTo>
                  <a:lnTo>
                    <a:pt x="420" y="1434"/>
                  </a:lnTo>
                  <a:lnTo>
                    <a:pt x="420" y="1428"/>
                  </a:lnTo>
                  <a:lnTo>
                    <a:pt x="420" y="1422"/>
                  </a:lnTo>
                  <a:lnTo>
                    <a:pt x="426" y="1422"/>
                  </a:lnTo>
                  <a:lnTo>
                    <a:pt x="432" y="1428"/>
                  </a:lnTo>
                  <a:lnTo>
                    <a:pt x="438" y="1428"/>
                  </a:lnTo>
                  <a:lnTo>
                    <a:pt x="438" y="1434"/>
                  </a:lnTo>
                  <a:lnTo>
                    <a:pt x="438" y="1428"/>
                  </a:lnTo>
                  <a:lnTo>
                    <a:pt x="438" y="1422"/>
                  </a:lnTo>
                  <a:lnTo>
                    <a:pt x="444" y="1416"/>
                  </a:lnTo>
                  <a:lnTo>
                    <a:pt x="444" y="1410"/>
                  </a:lnTo>
                  <a:lnTo>
                    <a:pt x="450" y="1416"/>
                  </a:lnTo>
                  <a:lnTo>
                    <a:pt x="456" y="1416"/>
                  </a:lnTo>
                  <a:lnTo>
                    <a:pt x="456" y="1422"/>
                  </a:lnTo>
                  <a:lnTo>
                    <a:pt x="456" y="1428"/>
                  </a:lnTo>
                  <a:lnTo>
                    <a:pt x="456" y="1434"/>
                  </a:lnTo>
                  <a:lnTo>
                    <a:pt x="456" y="1440"/>
                  </a:lnTo>
                  <a:lnTo>
                    <a:pt x="462" y="1440"/>
                  </a:lnTo>
                  <a:lnTo>
                    <a:pt x="462" y="1446"/>
                  </a:lnTo>
                  <a:lnTo>
                    <a:pt x="462" y="1452"/>
                  </a:lnTo>
                  <a:lnTo>
                    <a:pt x="456" y="1452"/>
                  </a:lnTo>
                  <a:lnTo>
                    <a:pt x="450" y="1452"/>
                  </a:lnTo>
                  <a:lnTo>
                    <a:pt x="444" y="1446"/>
                  </a:lnTo>
                  <a:lnTo>
                    <a:pt x="444" y="1452"/>
                  </a:lnTo>
                  <a:lnTo>
                    <a:pt x="450" y="1452"/>
                  </a:lnTo>
                  <a:lnTo>
                    <a:pt x="450" y="1458"/>
                  </a:lnTo>
                  <a:lnTo>
                    <a:pt x="444" y="1458"/>
                  </a:lnTo>
                  <a:lnTo>
                    <a:pt x="438" y="1464"/>
                  </a:lnTo>
                  <a:lnTo>
                    <a:pt x="438" y="1458"/>
                  </a:lnTo>
                  <a:lnTo>
                    <a:pt x="432" y="1458"/>
                  </a:lnTo>
                  <a:lnTo>
                    <a:pt x="426" y="1458"/>
                  </a:lnTo>
                  <a:lnTo>
                    <a:pt x="432" y="1458"/>
                  </a:lnTo>
                  <a:lnTo>
                    <a:pt x="438" y="1464"/>
                  </a:lnTo>
                  <a:lnTo>
                    <a:pt x="432" y="1464"/>
                  </a:lnTo>
                  <a:lnTo>
                    <a:pt x="432" y="1470"/>
                  </a:lnTo>
                  <a:lnTo>
                    <a:pt x="426" y="1470"/>
                  </a:lnTo>
                  <a:lnTo>
                    <a:pt x="420" y="1476"/>
                  </a:lnTo>
                  <a:lnTo>
                    <a:pt x="420" y="1470"/>
                  </a:lnTo>
                  <a:lnTo>
                    <a:pt x="414" y="1470"/>
                  </a:lnTo>
                  <a:lnTo>
                    <a:pt x="414" y="1464"/>
                  </a:lnTo>
                  <a:lnTo>
                    <a:pt x="414" y="1458"/>
                  </a:lnTo>
                  <a:lnTo>
                    <a:pt x="408" y="1458"/>
                  </a:lnTo>
                  <a:close/>
                  <a:moveTo>
                    <a:pt x="270" y="1326"/>
                  </a:moveTo>
                  <a:lnTo>
                    <a:pt x="270" y="1320"/>
                  </a:lnTo>
                  <a:lnTo>
                    <a:pt x="276" y="1320"/>
                  </a:lnTo>
                  <a:lnTo>
                    <a:pt x="282" y="1326"/>
                  </a:lnTo>
                  <a:lnTo>
                    <a:pt x="288" y="1326"/>
                  </a:lnTo>
                  <a:lnTo>
                    <a:pt x="288" y="1332"/>
                  </a:lnTo>
                  <a:lnTo>
                    <a:pt x="288" y="1338"/>
                  </a:lnTo>
                  <a:lnTo>
                    <a:pt x="288" y="1344"/>
                  </a:lnTo>
                  <a:lnTo>
                    <a:pt x="282" y="1344"/>
                  </a:lnTo>
                  <a:lnTo>
                    <a:pt x="282" y="1338"/>
                  </a:lnTo>
                  <a:lnTo>
                    <a:pt x="276" y="1338"/>
                  </a:lnTo>
                  <a:lnTo>
                    <a:pt x="276" y="1332"/>
                  </a:lnTo>
                  <a:lnTo>
                    <a:pt x="270" y="1332"/>
                  </a:lnTo>
                  <a:lnTo>
                    <a:pt x="270" y="1326"/>
                  </a:lnTo>
                  <a:close/>
                  <a:moveTo>
                    <a:pt x="288" y="1458"/>
                  </a:moveTo>
                  <a:lnTo>
                    <a:pt x="294" y="1458"/>
                  </a:lnTo>
                  <a:lnTo>
                    <a:pt x="294" y="1452"/>
                  </a:lnTo>
                  <a:lnTo>
                    <a:pt x="294" y="1446"/>
                  </a:lnTo>
                  <a:lnTo>
                    <a:pt x="300" y="1446"/>
                  </a:lnTo>
                  <a:lnTo>
                    <a:pt x="300" y="1440"/>
                  </a:lnTo>
                  <a:lnTo>
                    <a:pt x="306" y="1440"/>
                  </a:lnTo>
                  <a:lnTo>
                    <a:pt x="306" y="1446"/>
                  </a:lnTo>
                  <a:lnTo>
                    <a:pt x="312" y="1452"/>
                  </a:lnTo>
                  <a:lnTo>
                    <a:pt x="306" y="1452"/>
                  </a:lnTo>
                  <a:lnTo>
                    <a:pt x="306" y="1458"/>
                  </a:lnTo>
                  <a:lnTo>
                    <a:pt x="312" y="1464"/>
                  </a:lnTo>
                  <a:lnTo>
                    <a:pt x="306" y="1464"/>
                  </a:lnTo>
                  <a:lnTo>
                    <a:pt x="306" y="1470"/>
                  </a:lnTo>
                  <a:lnTo>
                    <a:pt x="300" y="1476"/>
                  </a:lnTo>
                  <a:lnTo>
                    <a:pt x="294" y="1476"/>
                  </a:lnTo>
                  <a:lnTo>
                    <a:pt x="294" y="1470"/>
                  </a:lnTo>
                  <a:lnTo>
                    <a:pt x="288" y="1470"/>
                  </a:lnTo>
                  <a:lnTo>
                    <a:pt x="288" y="1464"/>
                  </a:lnTo>
                  <a:lnTo>
                    <a:pt x="288" y="1458"/>
                  </a:lnTo>
                  <a:close/>
                  <a:moveTo>
                    <a:pt x="270" y="1296"/>
                  </a:moveTo>
                  <a:lnTo>
                    <a:pt x="276" y="1296"/>
                  </a:lnTo>
                  <a:lnTo>
                    <a:pt x="282" y="1296"/>
                  </a:lnTo>
                  <a:lnTo>
                    <a:pt x="288" y="1296"/>
                  </a:lnTo>
                  <a:lnTo>
                    <a:pt x="288" y="1302"/>
                  </a:lnTo>
                  <a:lnTo>
                    <a:pt x="282" y="1308"/>
                  </a:lnTo>
                  <a:lnTo>
                    <a:pt x="276" y="1308"/>
                  </a:lnTo>
                  <a:lnTo>
                    <a:pt x="276" y="1302"/>
                  </a:lnTo>
                  <a:lnTo>
                    <a:pt x="270" y="12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4" name="Freeform 19">
              <a:extLst>
                <a:ext uri="{FF2B5EF4-FFF2-40B4-BE49-F238E27FC236}">
                  <a16:creationId xmlns:a16="http://schemas.microsoft.com/office/drawing/2014/main" id="{5B9020B8-E1C1-4611-A248-9642BBD69C9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7043" y="3765821"/>
              <a:ext cx="333193" cy="398097"/>
            </a:xfrm>
            <a:custGeom>
              <a:avLst/>
              <a:gdLst>
                <a:gd name="T0" fmla="*/ 30 w 624"/>
                <a:gd name="T1" fmla="*/ 61 h 750"/>
                <a:gd name="T2" fmla="*/ 27 w 624"/>
                <a:gd name="T3" fmla="*/ 62 h 750"/>
                <a:gd name="T4" fmla="*/ 23 w 624"/>
                <a:gd name="T5" fmla="*/ 59 h 750"/>
                <a:gd name="T6" fmla="*/ 20 w 624"/>
                <a:gd name="T7" fmla="*/ 58 h 750"/>
                <a:gd name="T8" fmla="*/ 19 w 624"/>
                <a:gd name="T9" fmla="*/ 56 h 750"/>
                <a:gd name="T10" fmla="*/ 17 w 624"/>
                <a:gd name="T11" fmla="*/ 55 h 750"/>
                <a:gd name="T12" fmla="*/ 16 w 624"/>
                <a:gd name="T13" fmla="*/ 51 h 750"/>
                <a:gd name="T14" fmla="*/ 14 w 624"/>
                <a:gd name="T15" fmla="*/ 48 h 750"/>
                <a:gd name="T16" fmla="*/ 12 w 624"/>
                <a:gd name="T17" fmla="*/ 46 h 750"/>
                <a:gd name="T18" fmla="*/ 12 w 624"/>
                <a:gd name="T19" fmla="*/ 44 h 750"/>
                <a:gd name="T20" fmla="*/ 11 w 624"/>
                <a:gd name="T21" fmla="*/ 41 h 750"/>
                <a:gd name="T22" fmla="*/ 8 w 624"/>
                <a:gd name="T23" fmla="*/ 38 h 750"/>
                <a:gd name="T24" fmla="*/ 6 w 624"/>
                <a:gd name="T25" fmla="*/ 38 h 750"/>
                <a:gd name="T26" fmla="*/ 6 w 624"/>
                <a:gd name="T27" fmla="*/ 35 h 750"/>
                <a:gd name="T28" fmla="*/ 7 w 624"/>
                <a:gd name="T29" fmla="*/ 31 h 750"/>
                <a:gd name="T30" fmla="*/ 10 w 624"/>
                <a:gd name="T31" fmla="*/ 27 h 750"/>
                <a:gd name="T32" fmla="*/ 8 w 624"/>
                <a:gd name="T33" fmla="*/ 23 h 750"/>
                <a:gd name="T34" fmla="*/ 6 w 624"/>
                <a:gd name="T35" fmla="*/ 23 h 750"/>
                <a:gd name="T36" fmla="*/ 3 w 624"/>
                <a:gd name="T37" fmla="*/ 22 h 750"/>
                <a:gd name="T38" fmla="*/ 0 w 624"/>
                <a:gd name="T39" fmla="*/ 22 h 750"/>
                <a:gd name="T40" fmla="*/ 0 w 624"/>
                <a:gd name="T41" fmla="*/ 19 h 750"/>
                <a:gd name="T42" fmla="*/ 1 w 624"/>
                <a:gd name="T43" fmla="*/ 18 h 750"/>
                <a:gd name="T44" fmla="*/ 2 w 624"/>
                <a:gd name="T45" fmla="*/ 14 h 750"/>
                <a:gd name="T46" fmla="*/ 4 w 624"/>
                <a:gd name="T47" fmla="*/ 17 h 750"/>
                <a:gd name="T48" fmla="*/ 6 w 624"/>
                <a:gd name="T49" fmla="*/ 17 h 750"/>
                <a:gd name="T50" fmla="*/ 7 w 624"/>
                <a:gd name="T51" fmla="*/ 17 h 750"/>
                <a:gd name="T52" fmla="*/ 9 w 624"/>
                <a:gd name="T53" fmla="*/ 15 h 750"/>
                <a:gd name="T54" fmla="*/ 10 w 624"/>
                <a:gd name="T55" fmla="*/ 14 h 750"/>
                <a:gd name="T56" fmla="*/ 11 w 624"/>
                <a:gd name="T57" fmla="*/ 12 h 750"/>
                <a:gd name="T58" fmla="*/ 13 w 624"/>
                <a:gd name="T59" fmla="*/ 12 h 750"/>
                <a:gd name="T60" fmla="*/ 18 w 624"/>
                <a:gd name="T61" fmla="*/ 10 h 750"/>
                <a:gd name="T62" fmla="*/ 22 w 624"/>
                <a:gd name="T63" fmla="*/ 4 h 750"/>
                <a:gd name="T64" fmla="*/ 24 w 624"/>
                <a:gd name="T65" fmla="*/ 4 h 750"/>
                <a:gd name="T66" fmla="*/ 26 w 624"/>
                <a:gd name="T67" fmla="*/ 2 h 750"/>
                <a:gd name="T68" fmla="*/ 29 w 624"/>
                <a:gd name="T69" fmla="*/ 0 h 750"/>
                <a:gd name="T70" fmla="*/ 32 w 624"/>
                <a:gd name="T71" fmla="*/ 2 h 750"/>
                <a:gd name="T72" fmla="*/ 34 w 624"/>
                <a:gd name="T73" fmla="*/ 5 h 750"/>
                <a:gd name="T74" fmla="*/ 35 w 624"/>
                <a:gd name="T75" fmla="*/ 8 h 750"/>
                <a:gd name="T76" fmla="*/ 39 w 624"/>
                <a:gd name="T77" fmla="*/ 11 h 750"/>
                <a:gd name="T78" fmla="*/ 42 w 624"/>
                <a:gd name="T79" fmla="*/ 14 h 750"/>
                <a:gd name="T80" fmla="*/ 46 w 624"/>
                <a:gd name="T81" fmla="*/ 12 h 750"/>
                <a:gd name="T82" fmla="*/ 49 w 624"/>
                <a:gd name="T83" fmla="*/ 12 h 750"/>
                <a:gd name="T84" fmla="*/ 51 w 624"/>
                <a:gd name="T85" fmla="*/ 12 h 750"/>
                <a:gd name="T86" fmla="*/ 53 w 624"/>
                <a:gd name="T87" fmla="*/ 12 h 750"/>
                <a:gd name="T88" fmla="*/ 53 w 624"/>
                <a:gd name="T89" fmla="*/ 17 h 750"/>
                <a:gd name="T90" fmla="*/ 51 w 624"/>
                <a:gd name="T91" fmla="*/ 20 h 750"/>
                <a:gd name="T92" fmla="*/ 49 w 624"/>
                <a:gd name="T93" fmla="*/ 26 h 750"/>
                <a:gd name="T94" fmla="*/ 47 w 624"/>
                <a:gd name="T95" fmla="*/ 26 h 750"/>
                <a:gd name="T96" fmla="*/ 44 w 624"/>
                <a:gd name="T97" fmla="*/ 26 h 750"/>
                <a:gd name="T98" fmla="*/ 43 w 624"/>
                <a:gd name="T99" fmla="*/ 27 h 750"/>
                <a:gd name="T100" fmla="*/ 45 w 624"/>
                <a:gd name="T101" fmla="*/ 32 h 750"/>
                <a:gd name="T102" fmla="*/ 44 w 624"/>
                <a:gd name="T103" fmla="*/ 43 h 750"/>
                <a:gd name="T104" fmla="*/ 44 w 624"/>
                <a:gd name="T105" fmla="*/ 47 h 750"/>
                <a:gd name="T106" fmla="*/ 44 w 624"/>
                <a:gd name="T107" fmla="*/ 54 h 750"/>
                <a:gd name="T108" fmla="*/ 41 w 624"/>
                <a:gd name="T109" fmla="*/ 60 h 750"/>
                <a:gd name="T110" fmla="*/ 42 w 624"/>
                <a:gd name="T111" fmla="*/ 62 h 750"/>
                <a:gd name="T112" fmla="*/ 43 w 624"/>
                <a:gd name="T113" fmla="*/ 65 h 750"/>
                <a:gd name="T114" fmla="*/ 39 w 624"/>
                <a:gd name="T115" fmla="*/ 63 h 750"/>
                <a:gd name="T116" fmla="*/ 35 w 624"/>
                <a:gd name="T117" fmla="*/ 62 h 75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24"/>
                <a:gd name="T178" fmla="*/ 0 h 750"/>
                <a:gd name="T179" fmla="*/ 624 w 624"/>
                <a:gd name="T180" fmla="*/ 750 h 75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24" h="750">
                  <a:moveTo>
                    <a:pt x="390" y="702"/>
                  </a:moveTo>
                  <a:lnTo>
                    <a:pt x="372" y="696"/>
                  </a:lnTo>
                  <a:lnTo>
                    <a:pt x="360" y="702"/>
                  </a:lnTo>
                  <a:lnTo>
                    <a:pt x="348" y="702"/>
                  </a:lnTo>
                  <a:lnTo>
                    <a:pt x="336" y="702"/>
                  </a:lnTo>
                  <a:lnTo>
                    <a:pt x="330" y="702"/>
                  </a:lnTo>
                  <a:lnTo>
                    <a:pt x="318" y="708"/>
                  </a:lnTo>
                  <a:lnTo>
                    <a:pt x="306" y="708"/>
                  </a:lnTo>
                  <a:lnTo>
                    <a:pt x="294" y="690"/>
                  </a:lnTo>
                  <a:lnTo>
                    <a:pt x="294" y="684"/>
                  </a:lnTo>
                  <a:lnTo>
                    <a:pt x="276" y="684"/>
                  </a:lnTo>
                  <a:lnTo>
                    <a:pt x="270" y="678"/>
                  </a:lnTo>
                  <a:lnTo>
                    <a:pt x="240" y="672"/>
                  </a:lnTo>
                  <a:lnTo>
                    <a:pt x="234" y="672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6"/>
                  </a:lnTo>
                  <a:lnTo>
                    <a:pt x="216" y="660"/>
                  </a:lnTo>
                  <a:lnTo>
                    <a:pt x="216" y="654"/>
                  </a:lnTo>
                  <a:lnTo>
                    <a:pt x="216" y="642"/>
                  </a:lnTo>
                  <a:lnTo>
                    <a:pt x="210" y="642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36"/>
                  </a:lnTo>
                  <a:lnTo>
                    <a:pt x="192" y="624"/>
                  </a:lnTo>
                  <a:lnTo>
                    <a:pt x="186" y="612"/>
                  </a:lnTo>
                  <a:lnTo>
                    <a:pt x="186" y="600"/>
                  </a:lnTo>
                  <a:lnTo>
                    <a:pt x="186" y="588"/>
                  </a:lnTo>
                  <a:lnTo>
                    <a:pt x="180" y="582"/>
                  </a:lnTo>
                  <a:lnTo>
                    <a:pt x="180" y="570"/>
                  </a:lnTo>
                  <a:lnTo>
                    <a:pt x="174" y="558"/>
                  </a:lnTo>
                  <a:lnTo>
                    <a:pt x="162" y="558"/>
                  </a:lnTo>
                  <a:lnTo>
                    <a:pt x="144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38" y="534"/>
                  </a:lnTo>
                  <a:lnTo>
                    <a:pt x="138" y="528"/>
                  </a:lnTo>
                  <a:lnTo>
                    <a:pt x="132" y="522"/>
                  </a:lnTo>
                  <a:lnTo>
                    <a:pt x="144" y="522"/>
                  </a:lnTo>
                  <a:lnTo>
                    <a:pt x="144" y="510"/>
                  </a:lnTo>
                  <a:lnTo>
                    <a:pt x="144" y="504"/>
                  </a:lnTo>
                  <a:lnTo>
                    <a:pt x="138" y="492"/>
                  </a:lnTo>
                  <a:lnTo>
                    <a:pt x="138" y="474"/>
                  </a:lnTo>
                  <a:lnTo>
                    <a:pt x="126" y="468"/>
                  </a:lnTo>
                  <a:lnTo>
                    <a:pt x="120" y="456"/>
                  </a:lnTo>
                  <a:lnTo>
                    <a:pt x="114" y="450"/>
                  </a:lnTo>
                  <a:lnTo>
                    <a:pt x="108" y="438"/>
                  </a:lnTo>
                  <a:lnTo>
                    <a:pt x="96" y="432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60" y="426"/>
                  </a:lnTo>
                  <a:lnTo>
                    <a:pt x="66" y="420"/>
                  </a:lnTo>
                  <a:lnTo>
                    <a:pt x="66" y="408"/>
                  </a:lnTo>
                  <a:lnTo>
                    <a:pt x="72" y="408"/>
                  </a:lnTo>
                  <a:lnTo>
                    <a:pt x="72" y="384"/>
                  </a:lnTo>
                  <a:lnTo>
                    <a:pt x="72" y="366"/>
                  </a:lnTo>
                  <a:lnTo>
                    <a:pt x="78" y="354"/>
                  </a:lnTo>
                  <a:lnTo>
                    <a:pt x="84" y="354"/>
                  </a:lnTo>
                  <a:lnTo>
                    <a:pt x="90" y="348"/>
                  </a:lnTo>
                  <a:lnTo>
                    <a:pt x="102" y="336"/>
                  </a:lnTo>
                  <a:lnTo>
                    <a:pt x="114" y="324"/>
                  </a:lnTo>
                  <a:lnTo>
                    <a:pt x="120" y="312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20" y="276"/>
                  </a:lnTo>
                  <a:lnTo>
                    <a:pt x="96" y="270"/>
                  </a:lnTo>
                  <a:lnTo>
                    <a:pt x="84" y="270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72" y="264"/>
                  </a:lnTo>
                  <a:lnTo>
                    <a:pt x="60" y="252"/>
                  </a:lnTo>
                  <a:lnTo>
                    <a:pt x="42" y="252"/>
                  </a:lnTo>
                  <a:lnTo>
                    <a:pt x="42" y="258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18" y="252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42" y="156"/>
                  </a:lnTo>
                  <a:lnTo>
                    <a:pt x="48" y="198"/>
                  </a:lnTo>
                  <a:lnTo>
                    <a:pt x="48" y="204"/>
                  </a:lnTo>
                  <a:lnTo>
                    <a:pt x="54" y="198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204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192"/>
                  </a:lnTo>
                  <a:lnTo>
                    <a:pt x="96" y="186"/>
                  </a:lnTo>
                  <a:lnTo>
                    <a:pt x="102" y="180"/>
                  </a:lnTo>
                  <a:lnTo>
                    <a:pt x="102" y="174"/>
                  </a:lnTo>
                  <a:lnTo>
                    <a:pt x="108" y="168"/>
                  </a:lnTo>
                  <a:lnTo>
                    <a:pt x="108" y="162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0"/>
                  </a:lnTo>
                  <a:lnTo>
                    <a:pt x="132" y="144"/>
                  </a:lnTo>
                  <a:lnTo>
                    <a:pt x="138" y="138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0" y="132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74" y="126"/>
                  </a:lnTo>
                  <a:lnTo>
                    <a:pt x="204" y="120"/>
                  </a:lnTo>
                  <a:lnTo>
                    <a:pt x="210" y="78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54"/>
                  </a:lnTo>
                  <a:lnTo>
                    <a:pt x="276" y="54"/>
                  </a:lnTo>
                  <a:lnTo>
                    <a:pt x="276" y="48"/>
                  </a:lnTo>
                  <a:lnTo>
                    <a:pt x="282" y="48"/>
                  </a:lnTo>
                  <a:lnTo>
                    <a:pt x="288" y="42"/>
                  </a:lnTo>
                  <a:lnTo>
                    <a:pt x="294" y="42"/>
                  </a:lnTo>
                  <a:lnTo>
                    <a:pt x="294" y="18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0"/>
                  </a:lnTo>
                  <a:lnTo>
                    <a:pt x="336" y="0"/>
                  </a:lnTo>
                  <a:lnTo>
                    <a:pt x="342" y="0"/>
                  </a:lnTo>
                  <a:lnTo>
                    <a:pt x="354" y="6"/>
                  </a:lnTo>
                  <a:lnTo>
                    <a:pt x="366" y="18"/>
                  </a:lnTo>
                  <a:lnTo>
                    <a:pt x="378" y="36"/>
                  </a:lnTo>
                  <a:lnTo>
                    <a:pt x="390" y="42"/>
                  </a:lnTo>
                  <a:lnTo>
                    <a:pt x="390" y="48"/>
                  </a:lnTo>
                  <a:lnTo>
                    <a:pt x="396" y="60"/>
                  </a:lnTo>
                  <a:lnTo>
                    <a:pt x="402" y="72"/>
                  </a:lnTo>
                  <a:lnTo>
                    <a:pt x="408" y="78"/>
                  </a:lnTo>
                  <a:lnTo>
                    <a:pt x="402" y="84"/>
                  </a:lnTo>
                  <a:lnTo>
                    <a:pt x="408" y="90"/>
                  </a:lnTo>
                  <a:lnTo>
                    <a:pt x="414" y="102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50" y="126"/>
                  </a:lnTo>
                  <a:lnTo>
                    <a:pt x="456" y="126"/>
                  </a:lnTo>
                  <a:lnTo>
                    <a:pt x="462" y="144"/>
                  </a:lnTo>
                  <a:lnTo>
                    <a:pt x="480" y="156"/>
                  </a:lnTo>
                  <a:lnTo>
                    <a:pt x="492" y="156"/>
                  </a:lnTo>
                  <a:lnTo>
                    <a:pt x="516" y="150"/>
                  </a:lnTo>
                  <a:lnTo>
                    <a:pt x="516" y="144"/>
                  </a:lnTo>
                  <a:lnTo>
                    <a:pt x="516" y="138"/>
                  </a:lnTo>
                  <a:lnTo>
                    <a:pt x="528" y="138"/>
                  </a:lnTo>
                  <a:lnTo>
                    <a:pt x="546" y="144"/>
                  </a:lnTo>
                  <a:lnTo>
                    <a:pt x="546" y="138"/>
                  </a:lnTo>
                  <a:lnTo>
                    <a:pt x="552" y="138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76" y="138"/>
                  </a:lnTo>
                  <a:lnTo>
                    <a:pt x="582" y="138"/>
                  </a:lnTo>
                  <a:lnTo>
                    <a:pt x="588" y="138"/>
                  </a:lnTo>
                  <a:lnTo>
                    <a:pt x="594" y="138"/>
                  </a:lnTo>
                  <a:lnTo>
                    <a:pt x="594" y="144"/>
                  </a:lnTo>
                  <a:lnTo>
                    <a:pt x="600" y="138"/>
                  </a:lnTo>
                  <a:lnTo>
                    <a:pt x="606" y="138"/>
                  </a:lnTo>
                  <a:lnTo>
                    <a:pt x="606" y="144"/>
                  </a:lnTo>
                  <a:lnTo>
                    <a:pt x="612" y="144"/>
                  </a:lnTo>
                  <a:lnTo>
                    <a:pt x="618" y="156"/>
                  </a:lnTo>
                  <a:lnTo>
                    <a:pt x="612" y="198"/>
                  </a:lnTo>
                  <a:lnTo>
                    <a:pt x="624" y="198"/>
                  </a:lnTo>
                  <a:lnTo>
                    <a:pt x="624" y="204"/>
                  </a:lnTo>
                  <a:lnTo>
                    <a:pt x="612" y="216"/>
                  </a:lnTo>
                  <a:lnTo>
                    <a:pt x="594" y="234"/>
                  </a:lnTo>
                  <a:lnTo>
                    <a:pt x="588" y="252"/>
                  </a:lnTo>
                  <a:lnTo>
                    <a:pt x="576" y="270"/>
                  </a:lnTo>
                  <a:lnTo>
                    <a:pt x="564" y="282"/>
                  </a:lnTo>
                  <a:lnTo>
                    <a:pt x="564" y="294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8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34" y="294"/>
                  </a:lnTo>
                  <a:lnTo>
                    <a:pt x="522" y="300"/>
                  </a:lnTo>
                  <a:lnTo>
                    <a:pt x="510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498" y="324"/>
                  </a:lnTo>
                  <a:lnTo>
                    <a:pt x="504" y="336"/>
                  </a:lnTo>
                  <a:lnTo>
                    <a:pt x="510" y="348"/>
                  </a:lnTo>
                  <a:lnTo>
                    <a:pt x="516" y="366"/>
                  </a:lnTo>
                  <a:lnTo>
                    <a:pt x="522" y="432"/>
                  </a:lnTo>
                  <a:lnTo>
                    <a:pt x="522" y="456"/>
                  </a:lnTo>
                  <a:lnTo>
                    <a:pt x="504" y="492"/>
                  </a:lnTo>
                  <a:lnTo>
                    <a:pt x="504" y="498"/>
                  </a:lnTo>
                  <a:lnTo>
                    <a:pt x="498" y="504"/>
                  </a:lnTo>
                  <a:lnTo>
                    <a:pt x="498" y="522"/>
                  </a:lnTo>
                  <a:lnTo>
                    <a:pt x="504" y="534"/>
                  </a:lnTo>
                  <a:lnTo>
                    <a:pt x="510" y="546"/>
                  </a:lnTo>
                  <a:lnTo>
                    <a:pt x="516" y="558"/>
                  </a:lnTo>
                  <a:lnTo>
                    <a:pt x="516" y="588"/>
                  </a:lnTo>
                  <a:lnTo>
                    <a:pt x="516" y="600"/>
                  </a:lnTo>
                  <a:lnTo>
                    <a:pt x="510" y="618"/>
                  </a:lnTo>
                  <a:lnTo>
                    <a:pt x="504" y="636"/>
                  </a:lnTo>
                  <a:lnTo>
                    <a:pt x="504" y="642"/>
                  </a:lnTo>
                  <a:lnTo>
                    <a:pt x="474" y="654"/>
                  </a:lnTo>
                  <a:lnTo>
                    <a:pt x="474" y="690"/>
                  </a:lnTo>
                  <a:lnTo>
                    <a:pt x="474" y="696"/>
                  </a:lnTo>
                  <a:lnTo>
                    <a:pt x="480" y="702"/>
                  </a:lnTo>
                  <a:lnTo>
                    <a:pt x="486" y="708"/>
                  </a:lnTo>
                  <a:lnTo>
                    <a:pt x="492" y="708"/>
                  </a:lnTo>
                  <a:lnTo>
                    <a:pt x="498" y="726"/>
                  </a:lnTo>
                  <a:lnTo>
                    <a:pt x="504" y="726"/>
                  </a:lnTo>
                  <a:lnTo>
                    <a:pt x="504" y="738"/>
                  </a:lnTo>
                  <a:lnTo>
                    <a:pt x="498" y="744"/>
                  </a:lnTo>
                  <a:lnTo>
                    <a:pt x="486" y="750"/>
                  </a:lnTo>
                  <a:lnTo>
                    <a:pt x="474" y="744"/>
                  </a:lnTo>
                  <a:lnTo>
                    <a:pt x="462" y="744"/>
                  </a:lnTo>
                  <a:lnTo>
                    <a:pt x="456" y="732"/>
                  </a:lnTo>
                  <a:lnTo>
                    <a:pt x="444" y="732"/>
                  </a:lnTo>
                  <a:lnTo>
                    <a:pt x="432" y="726"/>
                  </a:lnTo>
                  <a:lnTo>
                    <a:pt x="420" y="720"/>
                  </a:lnTo>
                  <a:lnTo>
                    <a:pt x="408" y="708"/>
                  </a:lnTo>
                  <a:lnTo>
                    <a:pt x="402" y="708"/>
                  </a:lnTo>
                  <a:lnTo>
                    <a:pt x="390" y="70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5" name="Freeform 20">
              <a:extLst>
                <a:ext uri="{FF2B5EF4-FFF2-40B4-BE49-F238E27FC236}">
                  <a16:creationId xmlns:a16="http://schemas.microsoft.com/office/drawing/2014/main" id="{B8342C3B-ECEC-465F-AAFF-4815B8AC392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870937"/>
              <a:ext cx="313067" cy="377968"/>
            </a:xfrm>
            <a:custGeom>
              <a:avLst/>
              <a:gdLst>
                <a:gd name="T0" fmla="*/ 15 w 588"/>
                <a:gd name="T1" fmla="*/ 59 h 714"/>
                <a:gd name="T2" fmla="*/ 14 w 588"/>
                <a:gd name="T3" fmla="*/ 58 h 714"/>
                <a:gd name="T4" fmla="*/ 9 w 588"/>
                <a:gd name="T5" fmla="*/ 54 h 714"/>
                <a:gd name="T6" fmla="*/ 4 w 588"/>
                <a:gd name="T7" fmla="*/ 54 h 714"/>
                <a:gd name="T8" fmla="*/ 0 w 588"/>
                <a:gd name="T9" fmla="*/ 50 h 714"/>
                <a:gd name="T10" fmla="*/ 0 w 588"/>
                <a:gd name="T11" fmla="*/ 44 h 714"/>
                <a:gd name="T12" fmla="*/ 4 w 588"/>
                <a:gd name="T13" fmla="*/ 46 h 714"/>
                <a:gd name="T14" fmla="*/ 7 w 588"/>
                <a:gd name="T15" fmla="*/ 47 h 714"/>
                <a:gd name="T16" fmla="*/ 10 w 588"/>
                <a:gd name="T17" fmla="*/ 46 h 714"/>
                <a:gd name="T18" fmla="*/ 8 w 588"/>
                <a:gd name="T19" fmla="*/ 44 h 714"/>
                <a:gd name="T20" fmla="*/ 10 w 588"/>
                <a:gd name="T21" fmla="*/ 39 h 714"/>
                <a:gd name="T22" fmla="*/ 11 w 588"/>
                <a:gd name="T23" fmla="*/ 34 h 714"/>
                <a:gd name="T24" fmla="*/ 9 w 588"/>
                <a:gd name="T25" fmla="*/ 28 h 714"/>
                <a:gd name="T26" fmla="*/ 11 w 588"/>
                <a:gd name="T27" fmla="*/ 22 h 714"/>
                <a:gd name="T28" fmla="*/ 10 w 588"/>
                <a:gd name="T29" fmla="*/ 12 h 714"/>
                <a:gd name="T30" fmla="*/ 9 w 588"/>
                <a:gd name="T31" fmla="*/ 9 h 714"/>
                <a:gd name="T32" fmla="*/ 12 w 588"/>
                <a:gd name="T33" fmla="*/ 8 h 714"/>
                <a:gd name="T34" fmla="*/ 14 w 588"/>
                <a:gd name="T35" fmla="*/ 7 h 714"/>
                <a:gd name="T36" fmla="*/ 17 w 588"/>
                <a:gd name="T37" fmla="*/ 10 h 714"/>
                <a:gd name="T38" fmla="*/ 23 w 588"/>
                <a:gd name="T39" fmla="*/ 14 h 714"/>
                <a:gd name="T40" fmla="*/ 28 w 588"/>
                <a:gd name="T41" fmla="*/ 4 h 714"/>
                <a:gd name="T42" fmla="*/ 35 w 588"/>
                <a:gd name="T43" fmla="*/ 2 h 714"/>
                <a:gd name="T44" fmla="*/ 38 w 588"/>
                <a:gd name="T45" fmla="*/ 0 h 714"/>
                <a:gd name="T46" fmla="*/ 40 w 588"/>
                <a:gd name="T47" fmla="*/ 2 h 714"/>
                <a:gd name="T48" fmla="*/ 39 w 588"/>
                <a:gd name="T49" fmla="*/ 4 h 714"/>
                <a:gd name="T50" fmla="*/ 41 w 588"/>
                <a:gd name="T51" fmla="*/ 5 h 714"/>
                <a:gd name="T52" fmla="*/ 42 w 588"/>
                <a:gd name="T53" fmla="*/ 7 h 714"/>
                <a:gd name="T54" fmla="*/ 43 w 588"/>
                <a:gd name="T55" fmla="*/ 9 h 714"/>
                <a:gd name="T56" fmla="*/ 43 w 588"/>
                <a:gd name="T57" fmla="*/ 10 h 714"/>
                <a:gd name="T58" fmla="*/ 43 w 588"/>
                <a:gd name="T59" fmla="*/ 12 h 714"/>
                <a:gd name="T60" fmla="*/ 44 w 588"/>
                <a:gd name="T61" fmla="*/ 12 h 714"/>
                <a:gd name="T62" fmla="*/ 46 w 588"/>
                <a:gd name="T63" fmla="*/ 13 h 714"/>
                <a:gd name="T64" fmla="*/ 47 w 588"/>
                <a:gd name="T65" fmla="*/ 14 h 714"/>
                <a:gd name="T66" fmla="*/ 48 w 588"/>
                <a:gd name="T67" fmla="*/ 15 h 714"/>
                <a:gd name="T68" fmla="*/ 49 w 588"/>
                <a:gd name="T69" fmla="*/ 15 h 714"/>
                <a:gd name="T70" fmla="*/ 48 w 588"/>
                <a:gd name="T71" fmla="*/ 17 h 714"/>
                <a:gd name="T72" fmla="*/ 49 w 588"/>
                <a:gd name="T73" fmla="*/ 19 h 714"/>
                <a:gd name="T74" fmla="*/ 49 w 588"/>
                <a:gd name="T75" fmla="*/ 20 h 714"/>
                <a:gd name="T76" fmla="*/ 51 w 588"/>
                <a:gd name="T77" fmla="*/ 21 h 714"/>
                <a:gd name="T78" fmla="*/ 50 w 588"/>
                <a:gd name="T79" fmla="*/ 22 h 714"/>
                <a:gd name="T80" fmla="*/ 47 w 588"/>
                <a:gd name="T81" fmla="*/ 23 h 714"/>
                <a:gd name="T82" fmla="*/ 47 w 588"/>
                <a:gd name="T83" fmla="*/ 26 h 714"/>
                <a:gd name="T84" fmla="*/ 47 w 588"/>
                <a:gd name="T85" fmla="*/ 32 h 714"/>
                <a:gd name="T86" fmla="*/ 44 w 588"/>
                <a:gd name="T87" fmla="*/ 35 h 714"/>
                <a:gd name="T88" fmla="*/ 42 w 588"/>
                <a:gd name="T89" fmla="*/ 39 h 714"/>
                <a:gd name="T90" fmla="*/ 42 w 588"/>
                <a:gd name="T91" fmla="*/ 41 h 714"/>
                <a:gd name="T92" fmla="*/ 42 w 588"/>
                <a:gd name="T93" fmla="*/ 42 h 714"/>
                <a:gd name="T94" fmla="*/ 41 w 588"/>
                <a:gd name="T95" fmla="*/ 44 h 714"/>
                <a:gd name="T96" fmla="*/ 39 w 588"/>
                <a:gd name="T97" fmla="*/ 43 h 714"/>
                <a:gd name="T98" fmla="*/ 37 w 588"/>
                <a:gd name="T99" fmla="*/ 44 h 714"/>
                <a:gd name="T100" fmla="*/ 35 w 588"/>
                <a:gd name="T101" fmla="*/ 46 h 714"/>
                <a:gd name="T102" fmla="*/ 31 w 588"/>
                <a:gd name="T103" fmla="*/ 45 h 714"/>
                <a:gd name="T104" fmla="*/ 24 w 588"/>
                <a:gd name="T105" fmla="*/ 45 h 714"/>
                <a:gd name="T106" fmla="*/ 25 w 588"/>
                <a:gd name="T107" fmla="*/ 47 h 714"/>
                <a:gd name="T108" fmla="*/ 25 w 588"/>
                <a:gd name="T109" fmla="*/ 49 h 714"/>
                <a:gd name="T110" fmla="*/ 25 w 588"/>
                <a:gd name="T111" fmla="*/ 50 h 714"/>
                <a:gd name="T112" fmla="*/ 24 w 588"/>
                <a:gd name="T113" fmla="*/ 51 h 714"/>
                <a:gd name="T114" fmla="*/ 22 w 588"/>
                <a:gd name="T115" fmla="*/ 53 h 714"/>
                <a:gd name="T116" fmla="*/ 23 w 588"/>
                <a:gd name="T117" fmla="*/ 56 h 714"/>
                <a:gd name="T118" fmla="*/ 20 w 588"/>
                <a:gd name="T119" fmla="*/ 58 h 714"/>
                <a:gd name="T120" fmla="*/ 19 w 588"/>
                <a:gd name="T121" fmla="*/ 62 h 7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8"/>
                <a:gd name="T184" fmla="*/ 0 h 714"/>
                <a:gd name="T185" fmla="*/ 588 w 588"/>
                <a:gd name="T186" fmla="*/ 714 h 7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8" h="714">
                  <a:moveTo>
                    <a:pt x="216" y="714"/>
                  </a:moveTo>
                  <a:lnTo>
                    <a:pt x="198" y="702"/>
                  </a:lnTo>
                  <a:lnTo>
                    <a:pt x="186" y="696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74" y="678"/>
                  </a:lnTo>
                  <a:lnTo>
                    <a:pt x="168" y="672"/>
                  </a:lnTo>
                  <a:lnTo>
                    <a:pt x="162" y="666"/>
                  </a:lnTo>
                  <a:lnTo>
                    <a:pt x="156" y="636"/>
                  </a:lnTo>
                  <a:lnTo>
                    <a:pt x="144" y="630"/>
                  </a:lnTo>
                  <a:lnTo>
                    <a:pt x="108" y="630"/>
                  </a:lnTo>
                  <a:lnTo>
                    <a:pt x="102" y="624"/>
                  </a:lnTo>
                  <a:lnTo>
                    <a:pt x="96" y="624"/>
                  </a:lnTo>
                  <a:lnTo>
                    <a:pt x="72" y="624"/>
                  </a:lnTo>
                  <a:lnTo>
                    <a:pt x="54" y="624"/>
                  </a:lnTo>
                  <a:lnTo>
                    <a:pt x="42" y="618"/>
                  </a:lnTo>
                  <a:lnTo>
                    <a:pt x="30" y="612"/>
                  </a:lnTo>
                  <a:lnTo>
                    <a:pt x="6" y="606"/>
                  </a:lnTo>
                  <a:lnTo>
                    <a:pt x="0" y="606"/>
                  </a:lnTo>
                  <a:lnTo>
                    <a:pt x="0" y="570"/>
                  </a:lnTo>
                  <a:lnTo>
                    <a:pt x="6" y="552"/>
                  </a:lnTo>
                  <a:lnTo>
                    <a:pt x="6" y="522"/>
                  </a:lnTo>
                  <a:lnTo>
                    <a:pt x="0" y="510"/>
                  </a:lnTo>
                  <a:lnTo>
                    <a:pt x="0" y="504"/>
                  </a:lnTo>
                  <a:lnTo>
                    <a:pt x="12" y="510"/>
                  </a:lnTo>
                  <a:lnTo>
                    <a:pt x="18" y="510"/>
                  </a:lnTo>
                  <a:lnTo>
                    <a:pt x="30" y="522"/>
                  </a:lnTo>
                  <a:lnTo>
                    <a:pt x="42" y="528"/>
                  </a:lnTo>
                  <a:lnTo>
                    <a:pt x="54" y="534"/>
                  </a:lnTo>
                  <a:lnTo>
                    <a:pt x="66" y="534"/>
                  </a:lnTo>
                  <a:lnTo>
                    <a:pt x="72" y="546"/>
                  </a:lnTo>
                  <a:lnTo>
                    <a:pt x="84" y="546"/>
                  </a:lnTo>
                  <a:lnTo>
                    <a:pt x="96" y="552"/>
                  </a:lnTo>
                  <a:lnTo>
                    <a:pt x="108" y="546"/>
                  </a:lnTo>
                  <a:lnTo>
                    <a:pt x="114" y="540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90" y="504"/>
                  </a:lnTo>
                  <a:lnTo>
                    <a:pt x="84" y="498"/>
                  </a:lnTo>
                  <a:lnTo>
                    <a:pt x="84" y="492"/>
                  </a:lnTo>
                  <a:lnTo>
                    <a:pt x="84" y="456"/>
                  </a:lnTo>
                  <a:lnTo>
                    <a:pt x="114" y="444"/>
                  </a:lnTo>
                  <a:lnTo>
                    <a:pt x="114" y="438"/>
                  </a:lnTo>
                  <a:lnTo>
                    <a:pt x="120" y="420"/>
                  </a:lnTo>
                  <a:lnTo>
                    <a:pt x="126" y="402"/>
                  </a:lnTo>
                  <a:lnTo>
                    <a:pt x="126" y="390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14" y="336"/>
                  </a:lnTo>
                  <a:lnTo>
                    <a:pt x="108" y="324"/>
                  </a:lnTo>
                  <a:lnTo>
                    <a:pt x="108" y="306"/>
                  </a:lnTo>
                  <a:lnTo>
                    <a:pt x="114" y="300"/>
                  </a:lnTo>
                  <a:lnTo>
                    <a:pt x="114" y="294"/>
                  </a:lnTo>
                  <a:lnTo>
                    <a:pt x="132" y="258"/>
                  </a:lnTo>
                  <a:lnTo>
                    <a:pt x="132" y="234"/>
                  </a:lnTo>
                  <a:lnTo>
                    <a:pt x="126" y="168"/>
                  </a:lnTo>
                  <a:lnTo>
                    <a:pt x="120" y="150"/>
                  </a:lnTo>
                  <a:lnTo>
                    <a:pt x="114" y="138"/>
                  </a:lnTo>
                  <a:lnTo>
                    <a:pt x="108" y="126"/>
                  </a:lnTo>
                  <a:lnTo>
                    <a:pt x="108" y="120"/>
                  </a:lnTo>
                  <a:lnTo>
                    <a:pt x="108" y="114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20" y="96"/>
                  </a:lnTo>
                  <a:lnTo>
                    <a:pt x="132" y="102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56" y="90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96"/>
                  </a:lnTo>
                  <a:lnTo>
                    <a:pt x="186" y="96"/>
                  </a:lnTo>
                  <a:lnTo>
                    <a:pt x="192" y="114"/>
                  </a:lnTo>
                  <a:lnTo>
                    <a:pt x="204" y="132"/>
                  </a:lnTo>
                  <a:lnTo>
                    <a:pt x="216" y="144"/>
                  </a:lnTo>
                  <a:lnTo>
                    <a:pt x="240" y="162"/>
                  </a:lnTo>
                  <a:lnTo>
                    <a:pt x="270" y="156"/>
                  </a:lnTo>
                  <a:lnTo>
                    <a:pt x="282" y="126"/>
                  </a:lnTo>
                  <a:lnTo>
                    <a:pt x="282" y="96"/>
                  </a:lnTo>
                  <a:lnTo>
                    <a:pt x="294" y="54"/>
                  </a:lnTo>
                  <a:lnTo>
                    <a:pt x="324" y="48"/>
                  </a:lnTo>
                  <a:lnTo>
                    <a:pt x="342" y="48"/>
                  </a:lnTo>
                  <a:lnTo>
                    <a:pt x="384" y="48"/>
                  </a:lnTo>
                  <a:lnTo>
                    <a:pt x="390" y="30"/>
                  </a:lnTo>
                  <a:lnTo>
                    <a:pt x="402" y="18"/>
                  </a:lnTo>
                  <a:lnTo>
                    <a:pt x="438" y="6"/>
                  </a:lnTo>
                  <a:lnTo>
                    <a:pt x="438" y="0"/>
                  </a:lnTo>
                  <a:lnTo>
                    <a:pt x="444" y="0"/>
                  </a:lnTo>
                  <a:lnTo>
                    <a:pt x="444" y="6"/>
                  </a:lnTo>
                  <a:lnTo>
                    <a:pt x="450" y="6"/>
                  </a:lnTo>
                  <a:lnTo>
                    <a:pt x="456" y="12"/>
                  </a:lnTo>
                  <a:lnTo>
                    <a:pt x="456" y="18"/>
                  </a:lnTo>
                  <a:lnTo>
                    <a:pt x="462" y="24"/>
                  </a:lnTo>
                  <a:lnTo>
                    <a:pt x="462" y="30"/>
                  </a:lnTo>
                  <a:lnTo>
                    <a:pt x="468" y="36"/>
                  </a:lnTo>
                  <a:lnTo>
                    <a:pt x="462" y="36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74" y="60"/>
                  </a:lnTo>
                  <a:lnTo>
                    <a:pt x="486" y="78"/>
                  </a:lnTo>
                  <a:lnTo>
                    <a:pt x="486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8" y="102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498" y="114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504" y="126"/>
                  </a:lnTo>
                  <a:lnTo>
                    <a:pt x="498" y="132"/>
                  </a:lnTo>
                  <a:lnTo>
                    <a:pt x="504" y="138"/>
                  </a:lnTo>
                  <a:lnTo>
                    <a:pt x="504" y="132"/>
                  </a:lnTo>
                  <a:lnTo>
                    <a:pt x="510" y="132"/>
                  </a:lnTo>
                  <a:lnTo>
                    <a:pt x="510" y="138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56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6" y="168"/>
                  </a:lnTo>
                  <a:lnTo>
                    <a:pt x="552" y="168"/>
                  </a:lnTo>
                  <a:lnTo>
                    <a:pt x="546" y="168"/>
                  </a:lnTo>
                  <a:lnTo>
                    <a:pt x="546" y="174"/>
                  </a:lnTo>
                  <a:lnTo>
                    <a:pt x="558" y="180"/>
                  </a:lnTo>
                  <a:lnTo>
                    <a:pt x="564" y="180"/>
                  </a:lnTo>
                  <a:lnTo>
                    <a:pt x="564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52" y="198"/>
                  </a:lnTo>
                  <a:lnTo>
                    <a:pt x="558" y="204"/>
                  </a:lnTo>
                  <a:lnTo>
                    <a:pt x="564" y="204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22"/>
                  </a:lnTo>
                  <a:lnTo>
                    <a:pt x="576" y="228"/>
                  </a:lnTo>
                  <a:lnTo>
                    <a:pt x="570" y="228"/>
                  </a:lnTo>
                  <a:lnTo>
                    <a:pt x="570" y="234"/>
                  </a:lnTo>
                  <a:lnTo>
                    <a:pt x="576" y="234"/>
                  </a:lnTo>
                  <a:lnTo>
                    <a:pt x="582" y="234"/>
                  </a:lnTo>
                  <a:lnTo>
                    <a:pt x="588" y="234"/>
                  </a:lnTo>
                  <a:lnTo>
                    <a:pt x="588" y="240"/>
                  </a:lnTo>
                  <a:lnTo>
                    <a:pt x="588" y="246"/>
                  </a:lnTo>
                  <a:lnTo>
                    <a:pt x="588" y="252"/>
                  </a:lnTo>
                  <a:lnTo>
                    <a:pt x="582" y="252"/>
                  </a:lnTo>
                  <a:lnTo>
                    <a:pt x="576" y="252"/>
                  </a:lnTo>
                  <a:lnTo>
                    <a:pt x="582" y="258"/>
                  </a:lnTo>
                  <a:lnTo>
                    <a:pt x="582" y="264"/>
                  </a:lnTo>
                  <a:lnTo>
                    <a:pt x="576" y="264"/>
                  </a:lnTo>
                  <a:lnTo>
                    <a:pt x="546" y="264"/>
                  </a:lnTo>
                  <a:lnTo>
                    <a:pt x="546" y="276"/>
                  </a:lnTo>
                  <a:lnTo>
                    <a:pt x="540" y="282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40" y="324"/>
                  </a:lnTo>
                  <a:lnTo>
                    <a:pt x="552" y="330"/>
                  </a:lnTo>
                  <a:lnTo>
                    <a:pt x="558" y="342"/>
                  </a:lnTo>
                  <a:lnTo>
                    <a:pt x="546" y="372"/>
                  </a:lnTo>
                  <a:lnTo>
                    <a:pt x="534" y="372"/>
                  </a:lnTo>
                  <a:lnTo>
                    <a:pt x="534" y="384"/>
                  </a:lnTo>
                  <a:lnTo>
                    <a:pt x="522" y="384"/>
                  </a:lnTo>
                  <a:lnTo>
                    <a:pt x="510" y="402"/>
                  </a:lnTo>
                  <a:lnTo>
                    <a:pt x="504" y="420"/>
                  </a:lnTo>
                  <a:lnTo>
                    <a:pt x="492" y="426"/>
                  </a:lnTo>
                  <a:lnTo>
                    <a:pt x="486" y="432"/>
                  </a:lnTo>
                  <a:lnTo>
                    <a:pt x="486" y="444"/>
                  </a:lnTo>
                  <a:lnTo>
                    <a:pt x="486" y="450"/>
                  </a:lnTo>
                  <a:lnTo>
                    <a:pt x="486" y="456"/>
                  </a:lnTo>
                  <a:lnTo>
                    <a:pt x="486" y="462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80" y="474"/>
                  </a:lnTo>
                  <a:lnTo>
                    <a:pt x="480" y="480"/>
                  </a:lnTo>
                  <a:lnTo>
                    <a:pt x="480" y="486"/>
                  </a:lnTo>
                  <a:lnTo>
                    <a:pt x="480" y="492"/>
                  </a:lnTo>
                  <a:lnTo>
                    <a:pt x="480" y="498"/>
                  </a:lnTo>
                  <a:lnTo>
                    <a:pt x="474" y="504"/>
                  </a:lnTo>
                  <a:lnTo>
                    <a:pt x="468" y="510"/>
                  </a:lnTo>
                  <a:lnTo>
                    <a:pt x="462" y="510"/>
                  </a:lnTo>
                  <a:lnTo>
                    <a:pt x="456" y="504"/>
                  </a:lnTo>
                  <a:lnTo>
                    <a:pt x="456" y="498"/>
                  </a:lnTo>
                  <a:lnTo>
                    <a:pt x="450" y="498"/>
                  </a:lnTo>
                  <a:lnTo>
                    <a:pt x="444" y="498"/>
                  </a:lnTo>
                  <a:lnTo>
                    <a:pt x="438" y="498"/>
                  </a:lnTo>
                  <a:lnTo>
                    <a:pt x="432" y="498"/>
                  </a:lnTo>
                  <a:lnTo>
                    <a:pt x="426" y="504"/>
                  </a:lnTo>
                  <a:lnTo>
                    <a:pt x="426" y="510"/>
                  </a:lnTo>
                  <a:lnTo>
                    <a:pt x="420" y="516"/>
                  </a:lnTo>
                  <a:lnTo>
                    <a:pt x="414" y="522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84" y="528"/>
                  </a:lnTo>
                  <a:lnTo>
                    <a:pt x="366" y="540"/>
                  </a:lnTo>
                  <a:lnTo>
                    <a:pt x="360" y="522"/>
                  </a:lnTo>
                  <a:lnTo>
                    <a:pt x="348" y="504"/>
                  </a:lnTo>
                  <a:lnTo>
                    <a:pt x="330" y="504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34"/>
                  </a:lnTo>
                  <a:lnTo>
                    <a:pt x="288" y="540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2" y="540"/>
                  </a:lnTo>
                  <a:lnTo>
                    <a:pt x="282" y="546"/>
                  </a:lnTo>
                  <a:lnTo>
                    <a:pt x="288" y="552"/>
                  </a:lnTo>
                  <a:lnTo>
                    <a:pt x="294" y="564"/>
                  </a:lnTo>
                  <a:lnTo>
                    <a:pt x="300" y="564"/>
                  </a:lnTo>
                  <a:lnTo>
                    <a:pt x="300" y="570"/>
                  </a:lnTo>
                  <a:lnTo>
                    <a:pt x="294" y="570"/>
                  </a:lnTo>
                  <a:lnTo>
                    <a:pt x="288" y="570"/>
                  </a:lnTo>
                  <a:lnTo>
                    <a:pt x="288" y="576"/>
                  </a:lnTo>
                  <a:lnTo>
                    <a:pt x="288" y="582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606"/>
                  </a:lnTo>
                  <a:lnTo>
                    <a:pt x="264" y="612"/>
                  </a:lnTo>
                  <a:lnTo>
                    <a:pt x="258" y="612"/>
                  </a:lnTo>
                  <a:lnTo>
                    <a:pt x="252" y="612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52" y="630"/>
                  </a:lnTo>
                  <a:lnTo>
                    <a:pt x="264" y="642"/>
                  </a:lnTo>
                  <a:lnTo>
                    <a:pt x="258" y="648"/>
                  </a:lnTo>
                  <a:lnTo>
                    <a:pt x="246" y="654"/>
                  </a:lnTo>
                  <a:lnTo>
                    <a:pt x="240" y="660"/>
                  </a:lnTo>
                  <a:lnTo>
                    <a:pt x="234" y="672"/>
                  </a:lnTo>
                  <a:lnTo>
                    <a:pt x="234" y="678"/>
                  </a:lnTo>
                  <a:lnTo>
                    <a:pt x="228" y="684"/>
                  </a:lnTo>
                  <a:lnTo>
                    <a:pt x="228" y="696"/>
                  </a:lnTo>
                  <a:lnTo>
                    <a:pt x="216" y="71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6" name="Freeform 21">
              <a:extLst>
                <a:ext uri="{FF2B5EF4-FFF2-40B4-BE49-F238E27FC236}">
                  <a16:creationId xmlns:a16="http://schemas.microsoft.com/office/drawing/2014/main" id="{DCB1E808-522D-4C19-B741-CC5DD56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4178" y="3866464"/>
              <a:ext cx="250453" cy="371259"/>
            </a:xfrm>
            <a:custGeom>
              <a:avLst/>
              <a:gdLst>
                <a:gd name="T0" fmla="*/ 0 w 468"/>
                <a:gd name="T1" fmla="*/ 61 h 696"/>
                <a:gd name="T2" fmla="*/ 1 w 468"/>
                <a:gd name="T3" fmla="*/ 58 h 696"/>
                <a:gd name="T4" fmla="*/ 2 w 468"/>
                <a:gd name="T5" fmla="*/ 54 h 696"/>
                <a:gd name="T6" fmla="*/ 3 w 468"/>
                <a:gd name="T7" fmla="*/ 51 h 696"/>
                <a:gd name="T8" fmla="*/ 4 w 468"/>
                <a:gd name="T9" fmla="*/ 48 h 696"/>
                <a:gd name="T10" fmla="*/ 6 w 468"/>
                <a:gd name="T11" fmla="*/ 44 h 696"/>
                <a:gd name="T12" fmla="*/ 5 w 468"/>
                <a:gd name="T13" fmla="*/ 41 h 696"/>
                <a:gd name="T14" fmla="*/ 7 w 468"/>
                <a:gd name="T15" fmla="*/ 38 h 696"/>
                <a:gd name="T16" fmla="*/ 8 w 468"/>
                <a:gd name="T17" fmla="*/ 36 h 696"/>
                <a:gd name="T18" fmla="*/ 7 w 468"/>
                <a:gd name="T19" fmla="*/ 33 h 696"/>
                <a:gd name="T20" fmla="*/ 6 w 468"/>
                <a:gd name="T21" fmla="*/ 29 h 696"/>
                <a:gd name="T22" fmla="*/ 4 w 468"/>
                <a:gd name="T23" fmla="*/ 22 h 696"/>
                <a:gd name="T24" fmla="*/ 2 w 468"/>
                <a:gd name="T25" fmla="*/ 14 h 696"/>
                <a:gd name="T26" fmla="*/ 12 w 468"/>
                <a:gd name="T27" fmla="*/ 11 h 696"/>
                <a:gd name="T28" fmla="*/ 14 w 468"/>
                <a:gd name="T29" fmla="*/ 2 h 696"/>
                <a:gd name="T30" fmla="*/ 16 w 468"/>
                <a:gd name="T31" fmla="*/ 0 h 696"/>
                <a:gd name="T32" fmla="*/ 17 w 468"/>
                <a:gd name="T33" fmla="*/ 0 h 696"/>
                <a:gd name="T34" fmla="*/ 18 w 468"/>
                <a:gd name="T35" fmla="*/ 1 h 696"/>
                <a:gd name="T36" fmla="*/ 17 w 468"/>
                <a:gd name="T37" fmla="*/ 2 h 696"/>
                <a:gd name="T38" fmla="*/ 17 w 468"/>
                <a:gd name="T39" fmla="*/ 4 h 696"/>
                <a:gd name="T40" fmla="*/ 17 w 468"/>
                <a:gd name="T41" fmla="*/ 6 h 696"/>
                <a:gd name="T42" fmla="*/ 20 w 468"/>
                <a:gd name="T43" fmla="*/ 6 h 696"/>
                <a:gd name="T44" fmla="*/ 22 w 468"/>
                <a:gd name="T45" fmla="*/ 5 h 696"/>
                <a:gd name="T46" fmla="*/ 24 w 468"/>
                <a:gd name="T47" fmla="*/ 7 h 696"/>
                <a:gd name="T48" fmla="*/ 28 w 468"/>
                <a:gd name="T49" fmla="*/ 7 h 696"/>
                <a:gd name="T50" fmla="*/ 28 w 468"/>
                <a:gd name="T51" fmla="*/ 11 h 696"/>
                <a:gd name="T52" fmla="*/ 25 w 468"/>
                <a:gd name="T53" fmla="*/ 14 h 696"/>
                <a:gd name="T54" fmla="*/ 23 w 468"/>
                <a:gd name="T55" fmla="*/ 15 h 696"/>
                <a:gd name="T56" fmla="*/ 23 w 468"/>
                <a:gd name="T57" fmla="*/ 19 h 696"/>
                <a:gd name="T58" fmla="*/ 23 w 468"/>
                <a:gd name="T59" fmla="*/ 21 h 696"/>
                <a:gd name="T60" fmla="*/ 24 w 468"/>
                <a:gd name="T61" fmla="*/ 21 h 696"/>
                <a:gd name="T62" fmla="*/ 27 w 468"/>
                <a:gd name="T63" fmla="*/ 23 h 696"/>
                <a:gd name="T64" fmla="*/ 29 w 468"/>
                <a:gd name="T65" fmla="*/ 24 h 696"/>
                <a:gd name="T66" fmla="*/ 29 w 468"/>
                <a:gd name="T67" fmla="*/ 28 h 696"/>
                <a:gd name="T68" fmla="*/ 29 w 468"/>
                <a:gd name="T69" fmla="*/ 29 h 696"/>
                <a:gd name="T70" fmla="*/ 29 w 468"/>
                <a:gd name="T71" fmla="*/ 32 h 696"/>
                <a:gd name="T72" fmla="*/ 32 w 468"/>
                <a:gd name="T73" fmla="*/ 32 h 696"/>
                <a:gd name="T74" fmla="*/ 33 w 468"/>
                <a:gd name="T75" fmla="*/ 35 h 696"/>
                <a:gd name="T76" fmla="*/ 34 w 468"/>
                <a:gd name="T77" fmla="*/ 38 h 696"/>
                <a:gd name="T78" fmla="*/ 35 w 468"/>
                <a:gd name="T79" fmla="*/ 39 h 696"/>
                <a:gd name="T80" fmla="*/ 36 w 468"/>
                <a:gd name="T81" fmla="*/ 40 h 696"/>
                <a:gd name="T82" fmla="*/ 37 w 468"/>
                <a:gd name="T83" fmla="*/ 41 h 696"/>
                <a:gd name="T84" fmla="*/ 38 w 468"/>
                <a:gd name="T85" fmla="*/ 42 h 696"/>
                <a:gd name="T86" fmla="*/ 41 w 468"/>
                <a:gd name="T87" fmla="*/ 44 h 696"/>
                <a:gd name="T88" fmla="*/ 40 w 468"/>
                <a:gd name="T89" fmla="*/ 44 h 696"/>
                <a:gd name="T90" fmla="*/ 37 w 468"/>
                <a:gd name="T91" fmla="*/ 45 h 696"/>
                <a:gd name="T92" fmla="*/ 36 w 468"/>
                <a:gd name="T93" fmla="*/ 48 h 696"/>
                <a:gd name="T94" fmla="*/ 34 w 468"/>
                <a:gd name="T95" fmla="*/ 49 h 696"/>
                <a:gd name="T96" fmla="*/ 32 w 468"/>
                <a:gd name="T97" fmla="*/ 51 h 696"/>
                <a:gd name="T98" fmla="*/ 31 w 468"/>
                <a:gd name="T99" fmla="*/ 51 h 696"/>
                <a:gd name="T100" fmla="*/ 26 w 468"/>
                <a:gd name="T101" fmla="*/ 49 h 696"/>
                <a:gd name="T102" fmla="*/ 23 w 468"/>
                <a:gd name="T103" fmla="*/ 51 h 696"/>
                <a:gd name="T104" fmla="*/ 21 w 468"/>
                <a:gd name="T105" fmla="*/ 51 h 696"/>
                <a:gd name="T106" fmla="*/ 20 w 468"/>
                <a:gd name="T107" fmla="*/ 52 h 696"/>
                <a:gd name="T108" fmla="*/ 17 w 468"/>
                <a:gd name="T109" fmla="*/ 55 h 696"/>
                <a:gd name="T110" fmla="*/ 15 w 468"/>
                <a:gd name="T111" fmla="*/ 56 h 696"/>
                <a:gd name="T112" fmla="*/ 15 w 468"/>
                <a:gd name="T113" fmla="*/ 59 h 696"/>
                <a:gd name="T114" fmla="*/ 14 w 468"/>
                <a:gd name="T115" fmla="*/ 59 h 696"/>
                <a:gd name="T116" fmla="*/ 12 w 468"/>
                <a:gd name="T117" fmla="*/ 59 h 696"/>
                <a:gd name="T118" fmla="*/ 11 w 468"/>
                <a:gd name="T119" fmla="*/ 57 h 696"/>
                <a:gd name="T120" fmla="*/ 9 w 468"/>
                <a:gd name="T121" fmla="*/ 57 h 696"/>
                <a:gd name="T122" fmla="*/ 6 w 468"/>
                <a:gd name="T123" fmla="*/ 58 h 696"/>
                <a:gd name="T124" fmla="*/ 4 w 468"/>
                <a:gd name="T125" fmla="*/ 60 h 69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8"/>
                <a:gd name="T190" fmla="*/ 0 h 696"/>
                <a:gd name="T191" fmla="*/ 468 w 468"/>
                <a:gd name="T192" fmla="*/ 696 h 69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8" h="696">
                  <a:moveTo>
                    <a:pt x="30" y="696"/>
                  </a:moveTo>
                  <a:lnTo>
                    <a:pt x="18" y="696"/>
                  </a:lnTo>
                  <a:lnTo>
                    <a:pt x="6" y="696"/>
                  </a:lnTo>
                  <a:lnTo>
                    <a:pt x="0" y="690"/>
                  </a:lnTo>
                  <a:lnTo>
                    <a:pt x="6" y="678"/>
                  </a:lnTo>
                  <a:lnTo>
                    <a:pt x="12" y="666"/>
                  </a:lnTo>
                  <a:lnTo>
                    <a:pt x="18" y="654"/>
                  </a:lnTo>
                  <a:lnTo>
                    <a:pt x="18" y="642"/>
                  </a:lnTo>
                  <a:lnTo>
                    <a:pt x="18" y="618"/>
                  </a:lnTo>
                  <a:lnTo>
                    <a:pt x="24" y="606"/>
                  </a:lnTo>
                  <a:lnTo>
                    <a:pt x="30" y="594"/>
                  </a:lnTo>
                  <a:lnTo>
                    <a:pt x="30" y="582"/>
                  </a:lnTo>
                  <a:lnTo>
                    <a:pt x="36" y="576"/>
                  </a:lnTo>
                  <a:lnTo>
                    <a:pt x="42" y="564"/>
                  </a:lnTo>
                  <a:lnTo>
                    <a:pt x="48" y="546"/>
                  </a:lnTo>
                  <a:lnTo>
                    <a:pt x="48" y="528"/>
                  </a:lnTo>
                  <a:lnTo>
                    <a:pt x="60" y="516"/>
                  </a:lnTo>
                  <a:lnTo>
                    <a:pt x="66" y="504"/>
                  </a:lnTo>
                  <a:lnTo>
                    <a:pt x="66" y="492"/>
                  </a:lnTo>
                  <a:lnTo>
                    <a:pt x="60" y="480"/>
                  </a:lnTo>
                  <a:lnTo>
                    <a:pt x="54" y="468"/>
                  </a:lnTo>
                  <a:lnTo>
                    <a:pt x="60" y="456"/>
                  </a:lnTo>
                  <a:lnTo>
                    <a:pt x="72" y="450"/>
                  </a:lnTo>
                  <a:lnTo>
                    <a:pt x="84" y="438"/>
                  </a:lnTo>
                  <a:lnTo>
                    <a:pt x="90" y="426"/>
                  </a:lnTo>
                  <a:lnTo>
                    <a:pt x="90" y="420"/>
                  </a:lnTo>
                  <a:lnTo>
                    <a:pt x="90" y="408"/>
                  </a:lnTo>
                  <a:lnTo>
                    <a:pt x="90" y="402"/>
                  </a:lnTo>
                  <a:lnTo>
                    <a:pt x="84" y="396"/>
                  </a:lnTo>
                  <a:lnTo>
                    <a:pt x="78" y="378"/>
                  </a:lnTo>
                  <a:lnTo>
                    <a:pt x="72" y="360"/>
                  </a:lnTo>
                  <a:lnTo>
                    <a:pt x="66" y="348"/>
                  </a:lnTo>
                  <a:lnTo>
                    <a:pt x="72" y="336"/>
                  </a:lnTo>
                  <a:lnTo>
                    <a:pt x="66" y="306"/>
                  </a:lnTo>
                  <a:lnTo>
                    <a:pt x="54" y="276"/>
                  </a:lnTo>
                  <a:lnTo>
                    <a:pt x="42" y="252"/>
                  </a:lnTo>
                  <a:lnTo>
                    <a:pt x="36" y="222"/>
                  </a:lnTo>
                  <a:lnTo>
                    <a:pt x="30" y="192"/>
                  </a:lnTo>
                  <a:lnTo>
                    <a:pt x="24" y="162"/>
                  </a:lnTo>
                  <a:lnTo>
                    <a:pt x="42" y="174"/>
                  </a:lnTo>
                  <a:lnTo>
                    <a:pt x="120" y="138"/>
                  </a:lnTo>
                  <a:lnTo>
                    <a:pt x="132" y="126"/>
                  </a:lnTo>
                  <a:lnTo>
                    <a:pt x="120" y="54"/>
                  </a:lnTo>
                  <a:lnTo>
                    <a:pt x="156" y="30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0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8" y="18"/>
                  </a:lnTo>
                  <a:lnTo>
                    <a:pt x="198" y="24"/>
                  </a:lnTo>
                  <a:lnTo>
                    <a:pt x="198" y="30"/>
                  </a:lnTo>
                  <a:lnTo>
                    <a:pt x="198" y="42"/>
                  </a:lnTo>
                  <a:lnTo>
                    <a:pt x="198" y="48"/>
                  </a:lnTo>
                  <a:lnTo>
                    <a:pt x="192" y="60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28" y="60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34" y="60"/>
                  </a:lnTo>
                  <a:lnTo>
                    <a:pt x="252" y="60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312" y="84"/>
                  </a:lnTo>
                  <a:lnTo>
                    <a:pt x="318" y="96"/>
                  </a:lnTo>
                  <a:lnTo>
                    <a:pt x="318" y="102"/>
                  </a:lnTo>
                  <a:lnTo>
                    <a:pt x="312" y="120"/>
                  </a:lnTo>
                  <a:lnTo>
                    <a:pt x="306" y="132"/>
                  </a:lnTo>
                  <a:lnTo>
                    <a:pt x="294" y="144"/>
                  </a:lnTo>
                  <a:lnTo>
                    <a:pt x="282" y="156"/>
                  </a:lnTo>
                  <a:lnTo>
                    <a:pt x="276" y="162"/>
                  </a:lnTo>
                  <a:lnTo>
                    <a:pt x="270" y="162"/>
                  </a:lnTo>
                  <a:lnTo>
                    <a:pt x="264" y="174"/>
                  </a:lnTo>
                  <a:lnTo>
                    <a:pt x="264" y="192"/>
                  </a:lnTo>
                  <a:lnTo>
                    <a:pt x="264" y="216"/>
                  </a:lnTo>
                  <a:lnTo>
                    <a:pt x="258" y="216"/>
                  </a:lnTo>
                  <a:lnTo>
                    <a:pt x="258" y="228"/>
                  </a:lnTo>
                  <a:lnTo>
                    <a:pt x="252" y="234"/>
                  </a:lnTo>
                  <a:lnTo>
                    <a:pt x="258" y="240"/>
                  </a:lnTo>
                  <a:lnTo>
                    <a:pt x="264" y="240"/>
                  </a:lnTo>
                  <a:lnTo>
                    <a:pt x="270" y="240"/>
                  </a:lnTo>
                  <a:lnTo>
                    <a:pt x="276" y="240"/>
                  </a:lnTo>
                  <a:lnTo>
                    <a:pt x="288" y="240"/>
                  </a:lnTo>
                  <a:lnTo>
                    <a:pt x="300" y="246"/>
                  </a:lnTo>
                  <a:lnTo>
                    <a:pt x="306" y="258"/>
                  </a:lnTo>
                  <a:lnTo>
                    <a:pt x="312" y="264"/>
                  </a:lnTo>
                  <a:lnTo>
                    <a:pt x="318" y="276"/>
                  </a:lnTo>
                  <a:lnTo>
                    <a:pt x="330" y="282"/>
                  </a:lnTo>
                  <a:lnTo>
                    <a:pt x="330" y="300"/>
                  </a:lnTo>
                  <a:lnTo>
                    <a:pt x="336" y="312"/>
                  </a:lnTo>
                  <a:lnTo>
                    <a:pt x="336" y="318"/>
                  </a:lnTo>
                  <a:lnTo>
                    <a:pt x="336" y="330"/>
                  </a:lnTo>
                  <a:lnTo>
                    <a:pt x="324" y="330"/>
                  </a:lnTo>
                  <a:lnTo>
                    <a:pt x="330" y="336"/>
                  </a:lnTo>
                  <a:lnTo>
                    <a:pt x="330" y="342"/>
                  </a:lnTo>
                  <a:lnTo>
                    <a:pt x="336" y="348"/>
                  </a:lnTo>
                  <a:lnTo>
                    <a:pt x="330" y="360"/>
                  </a:lnTo>
                  <a:lnTo>
                    <a:pt x="336" y="372"/>
                  </a:lnTo>
                  <a:lnTo>
                    <a:pt x="354" y="366"/>
                  </a:lnTo>
                  <a:lnTo>
                    <a:pt x="366" y="366"/>
                  </a:lnTo>
                  <a:lnTo>
                    <a:pt x="372" y="378"/>
                  </a:lnTo>
                  <a:lnTo>
                    <a:pt x="372" y="390"/>
                  </a:lnTo>
                  <a:lnTo>
                    <a:pt x="378" y="396"/>
                  </a:lnTo>
                  <a:lnTo>
                    <a:pt x="378" y="408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44"/>
                  </a:lnTo>
                  <a:lnTo>
                    <a:pt x="390" y="444"/>
                  </a:lnTo>
                  <a:lnTo>
                    <a:pt x="396" y="444"/>
                  </a:lnTo>
                  <a:lnTo>
                    <a:pt x="402" y="450"/>
                  </a:lnTo>
                  <a:lnTo>
                    <a:pt x="408" y="450"/>
                  </a:lnTo>
                  <a:lnTo>
                    <a:pt x="408" y="462"/>
                  </a:lnTo>
                  <a:lnTo>
                    <a:pt x="408" y="468"/>
                  </a:lnTo>
                  <a:lnTo>
                    <a:pt x="414" y="474"/>
                  </a:lnTo>
                  <a:lnTo>
                    <a:pt x="420" y="474"/>
                  </a:lnTo>
                  <a:lnTo>
                    <a:pt x="420" y="480"/>
                  </a:lnTo>
                  <a:lnTo>
                    <a:pt x="426" y="480"/>
                  </a:lnTo>
                  <a:lnTo>
                    <a:pt x="432" y="480"/>
                  </a:lnTo>
                  <a:lnTo>
                    <a:pt x="462" y="486"/>
                  </a:lnTo>
                  <a:lnTo>
                    <a:pt x="468" y="492"/>
                  </a:lnTo>
                  <a:lnTo>
                    <a:pt x="468" y="498"/>
                  </a:lnTo>
                  <a:lnTo>
                    <a:pt x="462" y="498"/>
                  </a:lnTo>
                  <a:lnTo>
                    <a:pt x="456" y="498"/>
                  </a:lnTo>
                  <a:lnTo>
                    <a:pt x="456" y="504"/>
                  </a:lnTo>
                  <a:lnTo>
                    <a:pt x="456" y="510"/>
                  </a:lnTo>
                  <a:lnTo>
                    <a:pt x="450" y="516"/>
                  </a:lnTo>
                  <a:lnTo>
                    <a:pt x="426" y="516"/>
                  </a:lnTo>
                  <a:lnTo>
                    <a:pt x="408" y="528"/>
                  </a:lnTo>
                  <a:lnTo>
                    <a:pt x="408" y="546"/>
                  </a:lnTo>
                  <a:lnTo>
                    <a:pt x="414" y="552"/>
                  </a:lnTo>
                  <a:lnTo>
                    <a:pt x="408" y="558"/>
                  </a:lnTo>
                  <a:lnTo>
                    <a:pt x="402" y="564"/>
                  </a:lnTo>
                  <a:lnTo>
                    <a:pt x="384" y="564"/>
                  </a:lnTo>
                  <a:lnTo>
                    <a:pt x="372" y="564"/>
                  </a:lnTo>
                  <a:lnTo>
                    <a:pt x="372" y="576"/>
                  </a:lnTo>
                  <a:lnTo>
                    <a:pt x="366" y="576"/>
                  </a:lnTo>
                  <a:lnTo>
                    <a:pt x="366" y="582"/>
                  </a:lnTo>
                  <a:lnTo>
                    <a:pt x="360" y="582"/>
                  </a:lnTo>
                  <a:lnTo>
                    <a:pt x="348" y="576"/>
                  </a:lnTo>
                  <a:lnTo>
                    <a:pt x="336" y="570"/>
                  </a:lnTo>
                  <a:lnTo>
                    <a:pt x="324" y="570"/>
                  </a:lnTo>
                  <a:lnTo>
                    <a:pt x="300" y="564"/>
                  </a:lnTo>
                  <a:lnTo>
                    <a:pt x="282" y="564"/>
                  </a:lnTo>
                  <a:lnTo>
                    <a:pt x="270" y="570"/>
                  </a:lnTo>
                  <a:lnTo>
                    <a:pt x="264" y="576"/>
                  </a:lnTo>
                  <a:lnTo>
                    <a:pt x="258" y="576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34" y="594"/>
                  </a:lnTo>
                  <a:lnTo>
                    <a:pt x="228" y="600"/>
                  </a:lnTo>
                  <a:lnTo>
                    <a:pt x="210" y="618"/>
                  </a:lnTo>
                  <a:lnTo>
                    <a:pt x="210" y="624"/>
                  </a:lnTo>
                  <a:lnTo>
                    <a:pt x="192" y="630"/>
                  </a:lnTo>
                  <a:lnTo>
                    <a:pt x="186" y="630"/>
                  </a:lnTo>
                  <a:lnTo>
                    <a:pt x="180" y="636"/>
                  </a:lnTo>
                  <a:lnTo>
                    <a:pt x="174" y="642"/>
                  </a:lnTo>
                  <a:lnTo>
                    <a:pt x="168" y="642"/>
                  </a:lnTo>
                  <a:lnTo>
                    <a:pt x="168" y="654"/>
                  </a:lnTo>
                  <a:lnTo>
                    <a:pt x="168" y="678"/>
                  </a:lnTo>
                  <a:lnTo>
                    <a:pt x="162" y="684"/>
                  </a:lnTo>
                  <a:lnTo>
                    <a:pt x="156" y="684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72"/>
                  </a:lnTo>
                  <a:lnTo>
                    <a:pt x="138" y="672"/>
                  </a:lnTo>
                  <a:lnTo>
                    <a:pt x="138" y="666"/>
                  </a:lnTo>
                  <a:lnTo>
                    <a:pt x="132" y="660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48"/>
                  </a:lnTo>
                  <a:lnTo>
                    <a:pt x="102" y="654"/>
                  </a:lnTo>
                  <a:lnTo>
                    <a:pt x="90" y="654"/>
                  </a:lnTo>
                  <a:lnTo>
                    <a:pt x="84" y="654"/>
                  </a:lnTo>
                  <a:lnTo>
                    <a:pt x="72" y="660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36" y="684"/>
                  </a:lnTo>
                  <a:lnTo>
                    <a:pt x="30" y="6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7" name="Freeform 22">
              <a:extLst>
                <a:ext uri="{FF2B5EF4-FFF2-40B4-BE49-F238E27FC236}">
                  <a16:creationId xmlns:a16="http://schemas.microsoft.com/office/drawing/2014/main" id="{2F7A477D-6CF8-44B3-8B32-64EE03DC4D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2895" y="3967106"/>
              <a:ext cx="610479" cy="507686"/>
            </a:xfrm>
            <a:custGeom>
              <a:avLst/>
              <a:gdLst>
                <a:gd name="T0" fmla="*/ 87 w 1146"/>
                <a:gd name="T1" fmla="*/ 56 h 954"/>
                <a:gd name="T2" fmla="*/ 83 w 1146"/>
                <a:gd name="T3" fmla="*/ 66 h 954"/>
                <a:gd name="T4" fmla="*/ 74 w 1146"/>
                <a:gd name="T5" fmla="*/ 69 h 954"/>
                <a:gd name="T6" fmla="*/ 67 w 1146"/>
                <a:gd name="T7" fmla="*/ 75 h 954"/>
                <a:gd name="T8" fmla="*/ 59 w 1146"/>
                <a:gd name="T9" fmla="*/ 78 h 954"/>
                <a:gd name="T10" fmla="*/ 52 w 1146"/>
                <a:gd name="T11" fmla="*/ 77 h 954"/>
                <a:gd name="T12" fmla="*/ 48 w 1146"/>
                <a:gd name="T13" fmla="*/ 79 h 954"/>
                <a:gd name="T14" fmla="*/ 41 w 1146"/>
                <a:gd name="T15" fmla="*/ 82 h 954"/>
                <a:gd name="T16" fmla="*/ 29 w 1146"/>
                <a:gd name="T17" fmla="*/ 78 h 954"/>
                <a:gd name="T18" fmla="*/ 28 w 1146"/>
                <a:gd name="T19" fmla="*/ 76 h 954"/>
                <a:gd name="T20" fmla="*/ 28 w 1146"/>
                <a:gd name="T21" fmla="*/ 72 h 954"/>
                <a:gd name="T22" fmla="*/ 28 w 1146"/>
                <a:gd name="T23" fmla="*/ 74 h 954"/>
                <a:gd name="T24" fmla="*/ 21 w 1146"/>
                <a:gd name="T25" fmla="*/ 74 h 954"/>
                <a:gd name="T26" fmla="*/ 20 w 1146"/>
                <a:gd name="T27" fmla="*/ 67 h 954"/>
                <a:gd name="T28" fmla="*/ 23 w 1146"/>
                <a:gd name="T29" fmla="*/ 64 h 954"/>
                <a:gd name="T30" fmla="*/ 28 w 1146"/>
                <a:gd name="T31" fmla="*/ 65 h 954"/>
                <a:gd name="T32" fmla="*/ 32 w 1146"/>
                <a:gd name="T33" fmla="*/ 62 h 954"/>
                <a:gd name="T34" fmla="*/ 31 w 1146"/>
                <a:gd name="T35" fmla="*/ 56 h 954"/>
                <a:gd name="T36" fmla="*/ 36 w 1146"/>
                <a:gd name="T37" fmla="*/ 54 h 954"/>
                <a:gd name="T38" fmla="*/ 38 w 1146"/>
                <a:gd name="T39" fmla="*/ 54 h 954"/>
                <a:gd name="T40" fmla="*/ 32 w 1146"/>
                <a:gd name="T41" fmla="*/ 54 h 954"/>
                <a:gd name="T42" fmla="*/ 29 w 1146"/>
                <a:gd name="T43" fmla="*/ 59 h 954"/>
                <a:gd name="T44" fmla="*/ 26 w 1146"/>
                <a:gd name="T45" fmla="*/ 59 h 954"/>
                <a:gd name="T46" fmla="*/ 25 w 1146"/>
                <a:gd name="T47" fmla="*/ 61 h 954"/>
                <a:gd name="T48" fmla="*/ 20 w 1146"/>
                <a:gd name="T49" fmla="*/ 61 h 954"/>
                <a:gd name="T50" fmla="*/ 11 w 1146"/>
                <a:gd name="T51" fmla="*/ 54 h 954"/>
                <a:gd name="T52" fmla="*/ 14 w 1146"/>
                <a:gd name="T53" fmla="*/ 50 h 954"/>
                <a:gd name="T54" fmla="*/ 21 w 1146"/>
                <a:gd name="T55" fmla="*/ 51 h 954"/>
                <a:gd name="T56" fmla="*/ 24 w 1146"/>
                <a:gd name="T57" fmla="*/ 50 h 954"/>
                <a:gd name="T58" fmla="*/ 28 w 1146"/>
                <a:gd name="T59" fmla="*/ 48 h 954"/>
                <a:gd name="T60" fmla="*/ 30 w 1146"/>
                <a:gd name="T61" fmla="*/ 49 h 954"/>
                <a:gd name="T62" fmla="*/ 26 w 1146"/>
                <a:gd name="T63" fmla="*/ 47 h 954"/>
                <a:gd name="T64" fmla="*/ 20 w 1146"/>
                <a:gd name="T65" fmla="*/ 50 h 954"/>
                <a:gd name="T66" fmla="*/ 20 w 1146"/>
                <a:gd name="T67" fmla="*/ 44 h 954"/>
                <a:gd name="T68" fmla="*/ 19 w 1146"/>
                <a:gd name="T69" fmla="*/ 46 h 954"/>
                <a:gd name="T70" fmla="*/ 15 w 1146"/>
                <a:gd name="T71" fmla="*/ 49 h 954"/>
                <a:gd name="T72" fmla="*/ 8 w 1146"/>
                <a:gd name="T73" fmla="*/ 48 h 954"/>
                <a:gd name="T74" fmla="*/ 6 w 1146"/>
                <a:gd name="T75" fmla="*/ 41 h 954"/>
                <a:gd name="T76" fmla="*/ 10 w 1146"/>
                <a:gd name="T77" fmla="*/ 41 h 954"/>
                <a:gd name="T78" fmla="*/ 9 w 1146"/>
                <a:gd name="T79" fmla="*/ 39 h 954"/>
                <a:gd name="T80" fmla="*/ 14 w 1146"/>
                <a:gd name="T81" fmla="*/ 35 h 954"/>
                <a:gd name="T82" fmla="*/ 19 w 1146"/>
                <a:gd name="T83" fmla="*/ 32 h 954"/>
                <a:gd name="T84" fmla="*/ 20 w 1146"/>
                <a:gd name="T85" fmla="*/ 29 h 954"/>
                <a:gd name="T86" fmla="*/ 27 w 1146"/>
                <a:gd name="T87" fmla="*/ 27 h 954"/>
                <a:gd name="T88" fmla="*/ 33 w 1146"/>
                <a:gd name="T89" fmla="*/ 28 h 954"/>
                <a:gd name="T90" fmla="*/ 44 w 1146"/>
                <a:gd name="T91" fmla="*/ 27 h 954"/>
                <a:gd name="T92" fmla="*/ 52 w 1146"/>
                <a:gd name="T93" fmla="*/ 41 h 954"/>
                <a:gd name="T94" fmla="*/ 61 w 1146"/>
                <a:gd name="T95" fmla="*/ 40 h 954"/>
                <a:gd name="T96" fmla="*/ 69 w 1146"/>
                <a:gd name="T97" fmla="*/ 34 h 954"/>
                <a:gd name="T98" fmla="*/ 62 w 1146"/>
                <a:gd name="T99" fmla="*/ 12 h 954"/>
                <a:gd name="T100" fmla="*/ 74 w 1146"/>
                <a:gd name="T101" fmla="*/ 8 h 954"/>
                <a:gd name="T102" fmla="*/ 87 w 1146"/>
                <a:gd name="T103" fmla="*/ 1 h 954"/>
                <a:gd name="T104" fmla="*/ 99 w 1146"/>
                <a:gd name="T105" fmla="*/ 12 h 954"/>
                <a:gd name="T106" fmla="*/ 98 w 1146"/>
                <a:gd name="T107" fmla="*/ 27 h 954"/>
                <a:gd name="T108" fmla="*/ 16 w 1146"/>
                <a:gd name="T109" fmla="*/ 33 h 954"/>
                <a:gd name="T110" fmla="*/ 11 w 1146"/>
                <a:gd name="T111" fmla="*/ 36 h 954"/>
                <a:gd name="T112" fmla="*/ 5 w 1146"/>
                <a:gd name="T113" fmla="*/ 41 h 954"/>
                <a:gd name="T114" fmla="*/ 2 w 1146"/>
                <a:gd name="T115" fmla="*/ 36 h 954"/>
                <a:gd name="T116" fmla="*/ 5 w 1146"/>
                <a:gd name="T117" fmla="*/ 26 h 954"/>
                <a:gd name="T118" fmla="*/ 10 w 1146"/>
                <a:gd name="T119" fmla="*/ 20 h 954"/>
                <a:gd name="T120" fmla="*/ 13 w 1146"/>
                <a:gd name="T121" fmla="*/ 20 h 954"/>
                <a:gd name="T122" fmla="*/ 15 w 1146"/>
                <a:gd name="T123" fmla="*/ 27 h 95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46"/>
                <a:gd name="T187" fmla="*/ 0 h 954"/>
                <a:gd name="T188" fmla="*/ 1146 w 1146"/>
                <a:gd name="T189" fmla="*/ 954 h 95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46" h="954">
                  <a:moveTo>
                    <a:pt x="1056" y="498"/>
                  </a:moveTo>
                  <a:lnTo>
                    <a:pt x="1044" y="510"/>
                  </a:lnTo>
                  <a:lnTo>
                    <a:pt x="1032" y="516"/>
                  </a:lnTo>
                  <a:lnTo>
                    <a:pt x="1038" y="528"/>
                  </a:lnTo>
                  <a:lnTo>
                    <a:pt x="1050" y="540"/>
                  </a:lnTo>
                  <a:lnTo>
                    <a:pt x="1050" y="546"/>
                  </a:lnTo>
                  <a:lnTo>
                    <a:pt x="1050" y="564"/>
                  </a:lnTo>
                  <a:lnTo>
                    <a:pt x="1038" y="576"/>
                  </a:lnTo>
                  <a:lnTo>
                    <a:pt x="1032" y="588"/>
                  </a:lnTo>
                  <a:lnTo>
                    <a:pt x="1020" y="594"/>
                  </a:lnTo>
                  <a:lnTo>
                    <a:pt x="1008" y="594"/>
                  </a:lnTo>
                  <a:lnTo>
                    <a:pt x="1002" y="600"/>
                  </a:lnTo>
                  <a:lnTo>
                    <a:pt x="996" y="612"/>
                  </a:lnTo>
                  <a:lnTo>
                    <a:pt x="996" y="624"/>
                  </a:lnTo>
                  <a:lnTo>
                    <a:pt x="996" y="648"/>
                  </a:lnTo>
                  <a:lnTo>
                    <a:pt x="996" y="660"/>
                  </a:lnTo>
                  <a:lnTo>
                    <a:pt x="1002" y="672"/>
                  </a:lnTo>
                  <a:lnTo>
                    <a:pt x="1002" y="684"/>
                  </a:lnTo>
                  <a:lnTo>
                    <a:pt x="996" y="684"/>
                  </a:lnTo>
                  <a:lnTo>
                    <a:pt x="984" y="690"/>
                  </a:lnTo>
                  <a:lnTo>
                    <a:pt x="972" y="690"/>
                  </a:lnTo>
                  <a:lnTo>
                    <a:pt x="966" y="696"/>
                  </a:lnTo>
                  <a:lnTo>
                    <a:pt x="966" y="702"/>
                  </a:lnTo>
                  <a:lnTo>
                    <a:pt x="966" y="714"/>
                  </a:lnTo>
                  <a:lnTo>
                    <a:pt x="972" y="726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2" y="756"/>
                  </a:lnTo>
                  <a:lnTo>
                    <a:pt x="966" y="756"/>
                  </a:lnTo>
                  <a:lnTo>
                    <a:pt x="942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18" y="768"/>
                  </a:lnTo>
                  <a:lnTo>
                    <a:pt x="906" y="768"/>
                  </a:lnTo>
                  <a:lnTo>
                    <a:pt x="894" y="762"/>
                  </a:lnTo>
                  <a:lnTo>
                    <a:pt x="882" y="756"/>
                  </a:lnTo>
                  <a:lnTo>
                    <a:pt x="876" y="756"/>
                  </a:lnTo>
                  <a:lnTo>
                    <a:pt x="876" y="762"/>
                  </a:lnTo>
                  <a:lnTo>
                    <a:pt x="864" y="768"/>
                  </a:lnTo>
                  <a:lnTo>
                    <a:pt x="858" y="774"/>
                  </a:lnTo>
                  <a:lnTo>
                    <a:pt x="852" y="774"/>
                  </a:lnTo>
                  <a:lnTo>
                    <a:pt x="840" y="780"/>
                  </a:lnTo>
                  <a:lnTo>
                    <a:pt x="840" y="786"/>
                  </a:lnTo>
                  <a:lnTo>
                    <a:pt x="840" y="792"/>
                  </a:lnTo>
                  <a:lnTo>
                    <a:pt x="840" y="804"/>
                  </a:lnTo>
                  <a:lnTo>
                    <a:pt x="840" y="810"/>
                  </a:lnTo>
                  <a:lnTo>
                    <a:pt x="828" y="816"/>
                  </a:lnTo>
                  <a:lnTo>
                    <a:pt x="810" y="810"/>
                  </a:lnTo>
                  <a:lnTo>
                    <a:pt x="792" y="810"/>
                  </a:lnTo>
                  <a:lnTo>
                    <a:pt x="786" y="816"/>
                  </a:lnTo>
                  <a:lnTo>
                    <a:pt x="780" y="816"/>
                  </a:lnTo>
                  <a:lnTo>
                    <a:pt x="780" y="822"/>
                  </a:lnTo>
                  <a:lnTo>
                    <a:pt x="780" y="828"/>
                  </a:lnTo>
                  <a:lnTo>
                    <a:pt x="780" y="834"/>
                  </a:lnTo>
                  <a:lnTo>
                    <a:pt x="786" y="840"/>
                  </a:lnTo>
                  <a:lnTo>
                    <a:pt x="786" y="846"/>
                  </a:lnTo>
                  <a:lnTo>
                    <a:pt x="786" y="852"/>
                  </a:lnTo>
                  <a:lnTo>
                    <a:pt x="780" y="858"/>
                  </a:lnTo>
                  <a:lnTo>
                    <a:pt x="768" y="858"/>
                  </a:lnTo>
                  <a:lnTo>
                    <a:pt x="762" y="864"/>
                  </a:lnTo>
                  <a:lnTo>
                    <a:pt x="756" y="864"/>
                  </a:lnTo>
                  <a:lnTo>
                    <a:pt x="750" y="870"/>
                  </a:lnTo>
                  <a:lnTo>
                    <a:pt x="744" y="876"/>
                  </a:lnTo>
                  <a:lnTo>
                    <a:pt x="732" y="876"/>
                  </a:lnTo>
                  <a:lnTo>
                    <a:pt x="726" y="876"/>
                  </a:lnTo>
                  <a:lnTo>
                    <a:pt x="720" y="870"/>
                  </a:lnTo>
                  <a:lnTo>
                    <a:pt x="714" y="864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6" y="876"/>
                  </a:lnTo>
                  <a:lnTo>
                    <a:pt x="696" y="882"/>
                  </a:lnTo>
                  <a:lnTo>
                    <a:pt x="696" y="894"/>
                  </a:lnTo>
                  <a:lnTo>
                    <a:pt x="690" y="900"/>
                  </a:lnTo>
                  <a:lnTo>
                    <a:pt x="684" y="900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54" y="888"/>
                  </a:lnTo>
                  <a:lnTo>
                    <a:pt x="654" y="882"/>
                  </a:lnTo>
                  <a:lnTo>
                    <a:pt x="642" y="876"/>
                  </a:lnTo>
                  <a:lnTo>
                    <a:pt x="636" y="876"/>
                  </a:lnTo>
                  <a:lnTo>
                    <a:pt x="630" y="876"/>
                  </a:lnTo>
                  <a:lnTo>
                    <a:pt x="630" y="870"/>
                  </a:lnTo>
                  <a:lnTo>
                    <a:pt x="618" y="858"/>
                  </a:lnTo>
                  <a:lnTo>
                    <a:pt x="612" y="858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06" y="876"/>
                  </a:lnTo>
                  <a:lnTo>
                    <a:pt x="606" y="882"/>
                  </a:lnTo>
                  <a:lnTo>
                    <a:pt x="606" y="888"/>
                  </a:lnTo>
                  <a:lnTo>
                    <a:pt x="600" y="894"/>
                  </a:lnTo>
                  <a:lnTo>
                    <a:pt x="594" y="894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76" y="894"/>
                  </a:lnTo>
                  <a:lnTo>
                    <a:pt x="582" y="900"/>
                  </a:lnTo>
                  <a:lnTo>
                    <a:pt x="576" y="906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64" y="918"/>
                  </a:lnTo>
                  <a:lnTo>
                    <a:pt x="558" y="918"/>
                  </a:lnTo>
                  <a:lnTo>
                    <a:pt x="558" y="912"/>
                  </a:lnTo>
                  <a:lnTo>
                    <a:pt x="552" y="906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06"/>
                  </a:lnTo>
                  <a:lnTo>
                    <a:pt x="534" y="906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0" y="924"/>
                  </a:lnTo>
                  <a:lnTo>
                    <a:pt x="504" y="924"/>
                  </a:lnTo>
                  <a:lnTo>
                    <a:pt x="498" y="930"/>
                  </a:lnTo>
                  <a:lnTo>
                    <a:pt x="492" y="924"/>
                  </a:lnTo>
                  <a:lnTo>
                    <a:pt x="486" y="930"/>
                  </a:lnTo>
                  <a:lnTo>
                    <a:pt x="480" y="942"/>
                  </a:lnTo>
                  <a:lnTo>
                    <a:pt x="468" y="948"/>
                  </a:lnTo>
                  <a:lnTo>
                    <a:pt x="444" y="942"/>
                  </a:lnTo>
                  <a:lnTo>
                    <a:pt x="438" y="954"/>
                  </a:lnTo>
                  <a:lnTo>
                    <a:pt x="426" y="954"/>
                  </a:lnTo>
                  <a:lnTo>
                    <a:pt x="420" y="948"/>
                  </a:lnTo>
                  <a:lnTo>
                    <a:pt x="408" y="936"/>
                  </a:lnTo>
                  <a:lnTo>
                    <a:pt x="396" y="936"/>
                  </a:lnTo>
                  <a:lnTo>
                    <a:pt x="390" y="930"/>
                  </a:lnTo>
                  <a:lnTo>
                    <a:pt x="390" y="924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66" y="924"/>
                  </a:lnTo>
                  <a:lnTo>
                    <a:pt x="360" y="924"/>
                  </a:lnTo>
                  <a:lnTo>
                    <a:pt x="348" y="918"/>
                  </a:lnTo>
                  <a:lnTo>
                    <a:pt x="342" y="906"/>
                  </a:lnTo>
                  <a:lnTo>
                    <a:pt x="336" y="906"/>
                  </a:lnTo>
                  <a:lnTo>
                    <a:pt x="330" y="906"/>
                  </a:lnTo>
                  <a:lnTo>
                    <a:pt x="312" y="906"/>
                  </a:lnTo>
                  <a:lnTo>
                    <a:pt x="312" y="900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888"/>
                  </a:lnTo>
                  <a:lnTo>
                    <a:pt x="312" y="882"/>
                  </a:lnTo>
                  <a:lnTo>
                    <a:pt x="306" y="876"/>
                  </a:lnTo>
                  <a:lnTo>
                    <a:pt x="312" y="876"/>
                  </a:lnTo>
                  <a:lnTo>
                    <a:pt x="312" y="870"/>
                  </a:lnTo>
                  <a:lnTo>
                    <a:pt x="318" y="876"/>
                  </a:lnTo>
                  <a:lnTo>
                    <a:pt x="318" y="870"/>
                  </a:lnTo>
                  <a:lnTo>
                    <a:pt x="324" y="876"/>
                  </a:lnTo>
                  <a:lnTo>
                    <a:pt x="330" y="876"/>
                  </a:lnTo>
                  <a:lnTo>
                    <a:pt x="336" y="876"/>
                  </a:lnTo>
                  <a:lnTo>
                    <a:pt x="342" y="876"/>
                  </a:lnTo>
                  <a:lnTo>
                    <a:pt x="336" y="876"/>
                  </a:lnTo>
                  <a:lnTo>
                    <a:pt x="330" y="870"/>
                  </a:lnTo>
                  <a:lnTo>
                    <a:pt x="324" y="870"/>
                  </a:lnTo>
                  <a:lnTo>
                    <a:pt x="318" y="870"/>
                  </a:lnTo>
                  <a:lnTo>
                    <a:pt x="312" y="870"/>
                  </a:lnTo>
                  <a:lnTo>
                    <a:pt x="318" y="864"/>
                  </a:lnTo>
                  <a:lnTo>
                    <a:pt x="318" y="858"/>
                  </a:lnTo>
                  <a:lnTo>
                    <a:pt x="318" y="852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6" y="846"/>
                  </a:lnTo>
                  <a:lnTo>
                    <a:pt x="312" y="828"/>
                  </a:lnTo>
                  <a:lnTo>
                    <a:pt x="312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06" y="816"/>
                  </a:lnTo>
                  <a:lnTo>
                    <a:pt x="306" y="810"/>
                  </a:lnTo>
                  <a:lnTo>
                    <a:pt x="306" y="816"/>
                  </a:lnTo>
                  <a:lnTo>
                    <a:pt x="312" y="822"/>
                  </a:lnTo>
                  <a:lnTo>
                    <a:pt x="306" y="822"/>
                  </a:lnTo>
                  <a:lnTo>
                    <a:pt x="306" y="828"/>
                  </a:lnTo>
                  <a:lnTo>
                    <a:pt x="306" y="834"/>
                  </a:lnTo>
                  <a:lnTo>
                    <a:pt x="300" y="840"/>
                  </a:lnTo>
                  <a:lnTo>
                    <a:pt x="300" y="846"/>
                  </a:lnTo>
                  <a:lnTo>
                    <a:pt x="306" y="852"/>
                  </a:lnTo>
                  <a:lnTo>
                    <a:pt x="306" y="858"/>
                  </a:lnTo>
                  <a:lnTo>
                    <a:pt x="312" y="858"/>
                  </a:lnTo>
                  <a:lnTo>
                    <a:pt x="312" y="864"/>
                  </a:lnTo>
                  <a:lnTo>
                    <a:pt x="306" y="864"/>
                  </a:lnTo>
                  <a:lnTo>
                    <a:pt x="300" y="864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82" y="870"/>
                  </a:lnTo>
                  <a:lnTo>
                    <a:pt x="276" y="870"/>
                  </a:lnTo>
                  <a:lnTo>
                    <a:pt x="270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8" y="870"/>
                  </a:lnTo>
                  <a:lnTo>
                    <a:pt x="252" y="870"/>
                  </a:lnTo>
                  <a:lnTo>
                    <a:pt x="252" y="864"/>
                  </a:lnTo>
                  <a:lnTo>
                    <a:pt x="246" y="858"/>
                  </a:lnTo>
                  <a:lnTo>
                    <a:pt x="246" y="852"/>
                  </a:lnTo>
                  <a:lnTo>
                    <a:pt x="246" y="846"/>
                  </a:lnTo>
                  <a:lnTo>
                    <a:pt x="246" y="840"/>
                  </a:lnTo>
                  <a:lnTo>
                    <a:pt x="246" y="834"/>
                  </a:lnTo>
                  <a:lnTo>
                    <a:pt x="246" y="828"/>
                  </a:lnTo>
                  <a:lnTo>
                    <a:pt x="246" y="822"/>
                  </a:lnTo>
                  <a:lnTo>
                    <a:pt x="240" y="816"/>
                  </a:lnTo>
                  <a:lnTo>
                    <a:pt x="240" y="810"/>
                  </a:lnTo>
                  <a:lnTo>
                    <a:pt x="240" y="804"/>
                  </a:lnTo>
                  <a:lnTo>
                    <a:pt x="240" y="798"/>
                  </a:lnTo>
                  <a:lnTo>
                    <a:pt x="234" y="798"/>
                  </a:lnTo>
                  <a:lnTo>
                    <a:pt x="234" y="792"/>
                  </a:lnTo>
                  <a:lnTo>
                    <a:pt x="234" y="786"/>
                  </a:lnTo>
                  <a:lnTo>
                    <a:pt x="234" y="780"/>
                  </a:lnTo>
                  <a:lnTo>
                    <a:pt x="228" y="780"/>
                  </a:lnTo>
                  <a:lnTo>
                    <a:pt x="228" y="774"/>
                  </a:lnTo>
                  <a:lnTo>
                    <a:pt x="228" y="768"/>
                  </a:lnTo>
                  <a:lnTo>
                    <a:pt x="222" y="762"/>
                  </a:lnTo>
                  <a:lnTo>
                    <a:pt x="222" y="756"/>
                  </a:lnTo>
                  <a:lnTo>
                    <a:pt x="222" y="750"/>
                  </a:lnTo>
                  <a:lnTo>
                    <a:pt x="222" y="744"/>
                  </a:lnTo>
                  <a:lnTo>
                    <a:pt x="222" y="738"/>
                  </a:lnTo>
                  <a:lnTo>
                    <a:pt x="216" y="732"/>
                  </a:lnTo>
                  <a:lnTo>
                    <a:pt x="222" y="732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32"/>
                  </a:lnTo>
                  <a:lnTo>
                    <a:pt x="246" y="732"/>
                  </a:lnTo>
                  <a:lnTo>
                    <a:pt x="246" y="738"/>
                  </a:lnTo>
                  <a:lnTo>
                    <a:pt x="252" y="738"/>
                  </a:lnTo>
                  <a:lnTo>
                    <a:pt x="258" y="738"/>
                  </a:lnTo>
                  <a:lnTo>
                    <a:pt x="258" y="732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8" y="732"/>
                  </a:lnTo>
                  <a:lnTo>
                    <a:pt x="294" y="732"/>
                  </a:lnTo>
                  <a:lnTo>
                    <a:pt x="300" y="732"/>
                  </a:lnTo>
                  <a:lnTo>
                    <a:pt x="300" y="738"/>
                  </a:lnTo>
                  <a:lnTo>
                    <a:pt x="306" y="738"/>
                  </a:lnTo>
                  <a:lnTo>
                    <a:pt x="306" y="744"/>
                  </a:lnTo>
                  <a:lnTo>
                    <a:pt x="306" y="750"/>
                  </a:lnTo>
                  <a:lnTo>
                    <a:pt x="312" y="750"/>
                  </a:lnTo>
                  <a:lnTo>
                    <a:pt x="312" y="756"/>
                  </a:lnTo>
                  <a:lnTo>
                    <a:pt x="318" y="756"/>
                  </a:lnTo>
                  <a:lnTo>
                    <a:pt x="318" y="750"/>
                  </a:lnTo>
                  <a:lnTo>
                    <a:pt x="312" y="750"/>
                  </a:lnTo>
                  <a:lnTo>
                    <a:pt x="312" y="744"/>
                  </a:lnTo>
                  <a:lnTo>
                    <a:pt x="318" y="738"/>
                  </a:lnTo>
                  <a:lnTo>
                    <a:pt x="324" y="738"/>
                  </a:lnTo>
                  <a:lnTo>
                    <a:pt x="330" y="738"/>
                  </a:lnTo>
                  <a:lnTo>
                    <a:pt x="336" y="738"/>
                  </a:lnTo>
                  <a:lnTo>
                    <a:pt x="342" y="738"/>
                  </a:lnTo>
                  <a:lnTo>
                    <a:pt x="348" y="732"/>
                  </a:lnTo>
                  <a:lnTo>
                    <a:pt x="354" y="732"/>
                  </a:lnTo>
                  <a:lnTo>
                    <a:pt x="360" y="732"/>
                  </a:lnTo>
                  <a:lnTo>
                    <a:pt x="360" y="726"/>
                  </a:lnTo>
                  <a:lnTo>
                    <a:pt x="366" y="726"/>
                  </a:lnTo>
                  <a:lnTo>
                    <a:pt x="366" y="720"/>
                  </a:lnTo>
                  <a:lnTo>
                    <a:pt x="366" y="714"/>
                  </a:lnTo>
                  <a:lnTo>
                    <a:pt x="360" y="708"/>
                  </a:lnTo>
                  <a:lnTo>
                    <a:pt x="354" y="708"/>
                  </a:lnTo>
                  <a:lnTo>
                    <a:pt x="348" y="702"/>
                  </a:lnTo>
                  <a:lnTo>
                    <a:pt x="354" y="702"/>
                  </a:lnTo>
                  <a:lnTo>
                    <a:pt x="354" y="696"/>
                  </a:lnTo>
                  <a:lnTo>
                    <a:pt x="348" y="696"/>
                  </a:lnTo>
                  <a:lnTo>
                    <a:pt x="348" y="690"/>
                  </a:lnTo>
                  <a:lnTo>
                    <a:pt x="342" y="690"/>
                  </a:lnTo>
                  <a:lnTo>
                    <a:pt x="342" y="684"/>
                  </a:lnTo>
                  <a:lnTo>
                    <a:pt x="342" y="678"/>
                  </a:lnTo>
                  <a:lnTo>
                    <a:pt x="342" y="666"/>
                  </a:lnTo>
                  <a:lnTo>
                    <a:pt x="342" y="660"/>
                  </a:lnTo>
                  <a:lnTo>
                    <a:pt x="348" y="654"/>
                  </a:lnTo>
                  <a:lnTo>
                    <a:pt x="348" y="642"/>
                  </a:lnTo>
                  <a:lnTo>
                    <a:pt x="354" y="642"/>
                  </a:lnTo>
                  <a:lnTo>
                    <a:pt x="360" y="642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66" y="642"/>
                  </a:lnTo>
                  <a:lnTo>
                    <a:pt x="372" y="642"/>
                  </a:lnTo>
                  <a:lnTo>
                    <a:pt x="378" y="642"/>
                  </a:lnTo>
                  <a:lnTo>
                    <a:pt x="384" y="642"/>
                  </a:lnTo>
                  <a:lnTo>
                    <a:pt x="390" y="642"/>
                  </a:lnTo>
                  <a:lnTo>
                    <a:pt x="396" y="642"/>
                  </a:lnTo>
                  <a:lnTo>
                    <a:pt x="396" y="636"/>
                  </a:lnTo>
                  <a:lnTo>
                    <a:pt x="402" y="636"/>
                  </a:lnTo>
                  <a:lnTo>
                    <a:pt x="408" y="636"/>
                  </a:lnTo>
                  <a:lnTo>
                    <a:pt x="402" y="636"/>
                  </a:lnTo>
                  <a:lnTo>
                    <a:pt x="402" y="630"/>
                  </a:lnTo>
                  <a:lnTo>
                    <a:pt x="408" y="630"/>
                  </a:lnTo>
                  <a:lnTo>
                    <a:pt x="408" y="624"/>
                  </a:lnTo>
                  <a:lnTo>
                    <a:pt x="408" y="618"/>
                  </a:lnTo>
                  <a:lnTo>
                    <a:pt x="414" y="618"/>
                  </a:lnTo>
                  <a:lnTo>
                    <a:pt x="420" y="618"/>
                  </a:lnTo>
                  <a:lnTo>
                    <a:pt x="426" y="624"/>
                  </a:lnTo>
                  <a:lnTo>
                    <a:pt x="432" y="624"/>
                  </a:lnTo>
                  <a:lnTo>
                    <a:pt x="438" y="624"/>
                  </a:lnTo>
                  <a:lnTo>
                    <a:pt x="438" y="618"/>
                  </a:lnTo>
                  <a:lnTo>
                    <a:pt x="444" y="618"/>
                  </a:lnTo>
                  <a:lnTo>
                    <a:pt x="450" y="618"/>
                  </a:lnTo>
                  <a:lnTo>
                    <a:pt x="444" y="618"/>
                  </a:lnTo>
                  <a:lnTo>
                    <a:pt x="438" y="618"/>
                  </a:lnTo>
                  <a:lnTo>
                    <a:pt x="438" y="612"/>
                  </a:lnTo>
                  <a:lnTo>
                    <a:pt x="438" y="618"/>
                  </a:lnTo>
                  <a:lnTo>
                    <a:pt x="432" y="624"/>
                  </a:lnTo>
                  <a:lnTo>
                    <a:pt x="426" y="618"/>
                  </a:lnTo>
                  <a:lnTo>
                    <a:pt x="420" y="612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402" y="624"/>
                  </a:lnTo>
                  <a:lnTo>
                    <a:pt x="396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78" y="630"/>
                  </a:lnTo>
                  <a:lnTo>
                    <a:pt x="378" y="636"/>
                  </a:lnTo>
                  <a:lnTo>
                    <a:pt x="372" y="630"/>
                  </a:lnTo>
                  <a:lnTo>
                    <a:pt x="366" y="630"/>
                  </a:lnTo>
                  <a:lnTo>
                    <a:pt x="360" y="630"/>
                  </a:lnTo>
                  <a:lnTo>
                    <a:pt x="354" y="630"/>
                  </a:lnTo>
                  <a:lnTo>
                    <a:pt x="354" y="636"/>
                  </a:lnTo>
                  <a:lnTo>
                    <a:pt x="348" y="636"/>
                  </a:lnTo>
                  <a:lnTo>
                    <a:pt x="348" y="642"/>
                  </a:lnTo>
                  <a:lnTo>
                    <a:pt x="342" y="642"/>
                  </a:lnTo>
                  <a:lnTo>
                    <a:pt x="342" y="648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6" y="660"/>
                  </a:lnTo>
                  <a:lnTo>
                    <a:pt x="336" y="666"/>
                  </a:lnTo>
                  <a:lnTo>
                    <a:pt x="330" y="672"/>
                  </a:lnTo>
                  <a:lnTo>
                    <a:pt x="330" y="678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24" y="696"/>
                  </a:lnTo>
                  <a:lnTo>
                    <a:pt x="324" y="702"/>
                  </a:lnTo>
                  <a:lnTo>
                    <a:pt x="318" y="702"/>
                  </a:lnTo>
                  <a:lnTo>
                    <a:pt x="318" y="708"/>
                  </a:lnTo>
                  <a:lnTo>
                    <a:pt x="312" y="708"/>
                  </a:lnTo>
                  <a:lnTo>
                    <a:pt x="312" y="702"/>
                  </a:lnTo>
                  <a:lnTo>
                    <a:pt x="306" y="702"/>
                  </a:lnTo>
                  <a:lnTo>
                    <a:pt x="300" y="702"/>
                  </a:lnTo>
                  <a:lnTo>
                    <a:pt x="294" y="696"/>
                  </a:lnTo>
                  <a:lnTo>
                    <a:pt x="288" y="696"/>
                  </a:lnTo>
                  <a:lnTo>
                    <a:pt x="282" y="690"/>
                  </a:lnTo>
                  <a:lnTo>
                    <a:pt x="288" y="684"/>
                  </a:lnTo>
                  <a:lnTo>
                    <a:pt x="294" y="684"/>
                  </a:lnTo>
                  <a:lnTo>
                    <a:pt x="294" y="678"/>
                  </a:lnTo>
                  <a:lnTo>
                    <a:pt x="300" y="678"/>
                  </a:lnTo>
                  <a:lnTo>
                    <a:pt x="294" y="678"/>
                  </a:lnTo>
                  <a:lnTo>
                    <a:pt x="294" y="672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94" y="672"/>
                  </a:lnTo>
                  <a:lnTo>
                    <a:pt x="288" y="678"/>
                  </a:lnTo>
                  <a:lnTo>
                    <a:pt x="282" y="684"/>
                  </a:lnTo>
                  <a:lnTo>
                    <a:pt x="282" y="678"/>
                  </a:lnTo>
                  <a:lnTo>
                    <a:pt x="276" y="678"/>
                  </a:lnTo>
                  <a:lnTo>
                    <a:pt x="282" y="684"/>
                  </a:lnTo>
                  <a:lnTo>
                    <a:pt x="282" y="690"/>
                  </a:lnTo>
                  <a:lnTo>
                    <a:pt x="282" y="696"/>
                  </a:lnTo>
                  <a:lnTo>
                    <a:pt x="288" y="702"/>
                  </a:lnTo>
                  <a:lnTo>
                    <a:pt x="294" y="708"/>
                  </a:lnTo>
                  <a:lnTo>
                    <a:pt x="294" y="714"/>
                  </a:lnTo>
                  <a:lnTo>
                    <a:pt x="288" y="714"/>
                  </a:lnTo>
                  <a:lnTo>
                    <a:pt x="282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64" y="714"/>
                  </a:lnTo>
                  <a:lnTo>
                    <a:pt x="258" y="714"/>
                  </a:lnTo>
                  <a:lnTo>
                    <a:pt x="252" y="714"/>
                  </a:lnTo>
                  <a:lnTo>
                    <a:pt x="246" y="714"/>
                  </a:lnTo>
                  <a:lnTo>
                    <a:pt x="240" y="714"/>
                  </a:lnTo>
                  <a:lnTo>
                    <a:pt x="240" y="708"/>
                  </a:lnTo>
                  <a:lnTo>
                    <a:pt x="234" y="708"/>
                  </a:lnTo>
                  <a:lnTo>
                    <a:pt x="228" y="708"/>
                  </a:lnTo>
                  <a:lnTo>
                    <a:pt x="222" y="702"/>
                  </a:lnTo>
                  <a:lnTo>
                    <a:pt x="216" y="702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2" y="690"/>
                  </a:lnTo>
                  <a:lnTo>
                    <a:pt x="186" y="690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68" y="684"/>
                  </a:lnTo>
                  <a:lnTo>
                    <a:pt x="168" y="678"/>
                  </a:lnTo>
                  <a:lnTo>
                    <a:pt x="156" y="672"/>
                  </a:lnTo>
                  <a:lnTo>
                    <a:pt x="150" y="660"/>
                  </a:lnTo>
                  <a:lnTo>
                    <a:pt x="126" y="630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12"/>
                  </a:lnTo>
                  <a:lnTo>
                    <a:pt x="126" y="606"/>
                  </a:lnTo>
                  <a:lnTo>
                    <a:pt x="126" y="600"/>
                  </a:lnTo>
                  <a:lnTo>
                    <a:pt x="132" y="594"/>
                  </a:lnTo>
                  <a:lnTo>
                    <a:pt x="138" y="594"/>
                  </a:lnTo>
                  <a:lnTo>
                    <a:pt x="144" y="588"/>
                  </a:lnTo>
                  <a:lnTo>
                    <a:pt x="144" y="582"/>
                  </a:lnTo>
                  <a:lnTo>
                    <a:pt x="150" y="582"/>
                  </a:lnTo>
                  <a:lnTo>
                    <a:pt x="150" y="576"/>
                  </a:lnTo>
                  <a:lnTo>
                    <a:pt x="156" y="576"/>
                  </a:lnTo>
                  <a:lnTo>
                    <a:pt x="156" y="582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8" y="576"/>
                  </a:lnTo>
                  <a:lnTo>
                    <a:pt x="174" y="576"/>
                  </a:lnTo>
                  <a:lnTo>
                    <a:pt x="180" y="582"/>
                  </a:lnTo>
                  <a:lnTo>
                    <a:pt x="192" y="582"/>
                  </a:lnTo>
                  <a:lnTo>
                    <a:pt x="198" y="582"/>
                  </a:lnTo>
                  <a:lnTo>
                    <a:pt x="204" y="582"/>
                  </a:lnTo>
                  <a:lnTo>
                    <a:pt x="210" y="582"/>
                  </a:lnTo>
                  <a:lnTo>
                    <a:pt x="216" y="588"/>
                  </a:lnTo>
                  <a:lnTo>
                    <a:pt x="222" y="588"/>
                  </a:lnTo>
                  <a:lnTo>
                    <a:pt x="234" y="588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46" y="594"/>
                  </a:lnTo>
                  <a:lnTo>
                    <a:pt x="252" y="588"/>
                  </a:lnTo>
                  <a:lnTo>
                    <a:pt x="258" y="588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52" y="600"/>
                  </a:lnTo>
                  <a:lnTo>
                    <a:pt x="246" y="600"/>
                  </a:lnTo>
                  <a:lnTo>
                    <a:pt x="246" y="606"/>
                  </a:lnTo>
                  <a:lnTo>
                    <a:pt x="246" y="600"/>
                  </a:lnTo>
                  <a:lnTo>
                    <a:pt x="252" y="600"/>
                  </a:lnTo>
                  <a:lnTo>
                    <a:pt x="258" y="594"/>
                  </a:lnTo>
                  <a:lnTo>
                    <a:pt x="264" y="594"/>
                  </a:lnTo>
                  <a:lnTo>
                    <a:pt x="264" y="588"/>
                  </a:lnTo>
                  <a:lnTo>
                    <a:pt x="270" y="588"/>
                  </a:lnTo>
                  <a:lnTo>
                    <a:pt x="270" y="582"/>
                  </a:lnTo>
                  <a:lnTo>
                    <a:pt x="270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76" y="564"/>
                  </a:lnTo>
                  <a:lnTo>
                    <a:pt x="270" y="558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58"/>
                  </a:lnTo>
                  <a:lnTo>
                    <a:pt x="282" y="558"/>
                  </a:lnTo>
                  <a:lnTo>
                    <a:pt x="288" y="558"/>
                  </a:lnTo>
                  <a:lnTo>
                    <a:pt x="294" y="558"/>
                  </a:lnTo>
                  <a:lnTo>
                    <a:pt x="300" y="558"/>
                  </a:lnTo>
                  <a:lnTo>
                    <a:pt x="306" y="558"/>
                  </a:lnTo>
                  <a:lnTo>
                    <a:pt x="312" y="558"/>
                  </a:lnTo>
                  <a:lnTo>
                    <a:pt x="318" y="558"/>
                  </a:lnTo>
                  <a:lnTo>
                    <a:pt x="318" y="564"/>
                  </a:lnTo>
                  <a:lnTo>
                    <a:pt x="324" y="564"/>
                  </a:lnTo>
                  <a:lnTo>
                    <a:pt x="324" y="570"/>
                  </a:lnTo>
                  <a:lnTo>
                    <a:pt x="330" y="570"/>
                  </a:lnTo>
                  <a:lnTo>
                    <a:pt x="336" y="570"/>
                  </a:lnTo>
                  <a:lnTo>
                    <a:pt x="342" y="570"/>
                  </a:lnTo>
                  <a:lnTo>
                    <a:pt x="348" y="570"/>
                  </a:lnTo>
                  <a:lnTo>
                    <a:pt x="354" y="570"/>
                  </a:lnTo>
                  <a:lnTo>
                    <a:pt x="360" y="570"/>
                  </a:lnTo>
                  <a:lnTo>
                    <a:pt x="366" y="570"/>
                  </a:lnTo>
                  <a:lnTo>
                    <a:pt x="360" y="570"/>
                  </a:lnTo>
                  <a:lnTo>
                    <a:pt x="360" y="564"/>
                  </a:lnTo>
                  <a:lnTo>
                    <a:pt x="354" y="564"/>
                  </a:lnTo>
                  <a:lnTo>
                    <a:pt x="348" y="564"/>
                  </a:lnTo>
                  <a:lnTo>
                    <a:pt x="342" y="564"/>
                  </a:lnTo>
                  <a:lnTo>
                    <a:pt x="342" y="570"/>
                  </a:lnTo>
                  <a:lnTo>
                    <a:pt x="336" y="564"/>
                  </a:lnTo>
                  <a:lnTo>
                    <a:pt x="336" y="570"/>
                  </a:lnTo>
                  <a:lnTo>
                    <a:pt x="336" y="564"/>
                  </a:lnTo>
                  <a:lnTo>
                    <a:pt x="330" y="564"/>
                  </a:lnTo>
                  <a:lnTo>
                    <a:pt x="324" y="558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18" y="558"/>
                  </a:lnTo>
                  <a:lnTo>
                    <a:pt x="312" y="552"/>
                  </a:lnTo>
                  <a:lnTo>
                    <a:pt x="312" y="558"/>
                  </a:lnTo>
                  <a:lnTo>
                    <a:pt x="312" y="552"/>
                  </a:lnTo>
                  <a:lnTo>
                    <a:pt x="306" y="552"/>
                  </a:lnTo>
                  <a:lnTo>
                    <a:pt x="300" y="546"/>
                  </a:lnTo>
                  <a:lnTo>
                    <a:pt x="294" y="546"/>
                  </a:lnTo>
                  <a:lnTo>
                    <a:pt x="288" y="546"/>
                  </a:lnTo>
                  <a:lnTo>
                    <a:pt x="282" y="546"/>
                  </a:lnTo>
                  <a:lnTo>
                    <a:pt x="276" y="546"/>
                  </a:lnTo>
                  <a:lnTo>
                    <a:pt x="276" y="552"/>
                  </a:lnTo>
                  <a:lnTo>
                    <a:pt x="270" y="552"/>
                  </a:lnTo>
                  <a:lnTo>
                    <a:pt x="270" y="558"/>
                  </a:lnTo>
                  <a:lnTo>
                    <a:pt x="270" y="564"/>
                  </a:lnTo>
                  <a:lnTo>
                    <a:pt x="264" y="570"/>
                  </a:lnTo>
                  <a:lnTo>
                    <a:pt x="258" y="576"/>
                  </a:lnTo>
                  <a:lnTo>
                    <a:pt x="258" y="582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34" y="576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16" y="552"/>
                  </a:lnTo>
                  <a:lnTo>
                    <a:pt x="216" y="546"/>
                  </a:lnTo>
                  <a:lnTo>
                    <a:pt x="216" y="540"/>
                  </a:lnTo>
                  <a:lnTo>
                    <a:pt x="222" y="534"/>
                  </a:lnTo>
                  <a:lnTo>
                    <a:pt x="222" y="528"/>
                  </a:lnTo>
                  <a:lnTo>
                    <a:pt x="228" y="522"/>
                  </a:lnTo>
                  <a:lnTo>
                    <a:pt x="228" y="516"/>
                  </a:lnTo>
                  <a:lnTo>
                    <a:pt x="228" y="510"/>
                  </a:lnTo>
                  <a:lnTo>
                    <a:pt x="234" y="510"/>
                  </a:lnTo>
                  <a:lnTo>
                    <a:pt x="240" y="516"/>
                  </a:lnTo>
                  <a:lnTo>
                    <a:pt x="246" y="522"/>
                  </a:lnTo>
                  <a:lnTo>
                    <a:pt x="246" y="516"/>
                  </a:lnTo>
                  <a:lnTo>
                    <a:pt x="240" y="516"/>
                  </a:lnTo>
                  <a:lnTo>
                    <a:pt x="240" y="510"/>
                  </a:lnTo>
                  <a:lnTo>
                    <a:pt x="234" y="510"/>
                  </a:lnTo>
                  <a:lnTo>
                    <a:pt x="234" y="504"/>
                  </a:lnTo>
                  <a:lnTo>
                    <a:pt x="228" y="504"/>
                  </a:lnTo>
                  <a:lnTo>
                    <a:pt x="222" y="504"/>
                  </a:lnTo>
                  <a:lnTo>
                    <a:pt x="222" y="498"/>
                  </a:lnTo>
                  <a:lnTo>
                    <a:pt x="222" y="504"/>
                  </a:lnTo>
                  <a:lnTo>
                    <a:pt x="222" y="510"/>
                  </a:lnTo>
                  <a:lnTo>
                    <a:pt x="222" y="516"/>
                  </a:lnTo>
                  <a:lnTo>
                    <a:pt x="216" y="522"/>
                  </a:lnTo>
                  <a:lnTo>
                    <a:pt x="216" y="528"/>
                  </a:lnTo>
                  <a:lnTo>
                    <a:pt x="210" y="528"/>
                  </a:lnTo>
                  <a:lnTo>
                    <a:pt x="216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04" y="546"/>
                  </a:lnTo>
                  <a:lnTo>
                    <a:pt x="204" y="552"/>
                  </a:lnTo>
                  <a:lnTo>
                    <a:pt x="204" y="558"/>
                  </a:lnTo>
                  <a:lnTo>
                    <a:pt x="204" y="564"/>
                  </a:lnTo>
                  <a:lnTo>
                    <a:pt x="198" y="570"/>
                  </a:lnTo>
                  <a:lnTo>
                    <a:pt x="192" y="564"/>
                  </a:lnTo>
                  <a:lnTo>
                    <a:pt x="186" y="564"/>
                  </a:lnTo>
                  <a:lnTo>
                    <a:pt x="180" y="564"/>
                  </a:lnTo>
                  <a:lnTo>
                    <a:pt x="174" y="564"/>
                  </a:lnTo>
                  <a:lnTo>
                    <a:pt x="168" y="564"/>
                  </a:lnTo>
                  <a:lnTo>
                    <a:pt x="162" y="564"/>
                  </a:lnTo>
                  <a:lnTo>
                    <a:pt x="156" y="570"/>
                  </a:lnTo>
                  <a:lnTo>
                    <a:pt x="150" y="570"/>
                  </a:lnTo>
                  <a:lnTo>
                    <a:pt x="150" y="564"/>
                  </a:lnTo>
                  <a:lnTo>
                    <a:pt x="150" y="570"/>
                  </a:lnTo>
                  <a:lnTo>
                    <a:pt x="150" y="576"/>
                  </a:lnTo>
                  <a:lnTo>
                    <a:pt x="144" y="576"/>
                  </a:lnTo>
                  <a:lnTo>
                    <a:pt x="138" y="576"/>
                  </a:lnTo>
                  <a:lnTo>
                    <a:pt x="132" y="582"/>
                  </a:lnTo>
                  <a:lnTo>
                    <a:pt x="126" y="582"/>
                  </a:lnTo>
                  <a:lnTo>
                    <a:pt x="120" y="582"/>
                  </a:lnTo>
                  <a:lnTo>
                    <a:pt x="114" y="576"/>
                  </a:lnTo>
                  <a:lnTo>
                    <a:pt x="108" y="564"/>
                  </a:lnTo>
                  <a:lnTo>
                    <a:pt x="102" y="558"/>
                  </a:lnTo>
                  <a:lnTo>
                    <a:pt x="96" y="552"/>
                  </a:lnTo>
                  <a:lnTo>
                    <a:pt x="90" y="546"/>
                  </a:lnTo>
                  <a:lnTo>
                    <a:pt x="90" y="540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2"/>
                  </a:lnTo>
                  <a:lnTo>
                    <a:pt x="78" y="516"/>
                  </a:lnTo>
                  <a:lnTo>
                    <a:pt x="72" y="510"/>
                  </a:lnTo>
                  <a:lnTo>
                    <a:pt x="66" y="504"/>
                  </a:lnTo>
                  <a:lnTo>
                    <a:pt x="66" y="498"/>
                  </a:lnTo>
                  <a:lnTo>
                    <a:pt x="66" y="492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6" y="474"/>
                  </a:lnTo>
                  <a:lnTo>
                    <a:pt x="72" y="474"/>
                  </a:lnTo>
                  <a:lnTo>
                    <a:pt x="72" y="468"/>
                  </a:lnTo>
                  <a:lnTo>
                    <a:pt x="78" y="462"/>
                  </a:lnTo>
                  <a:lnTo>
                    <a:pt x="78" y="456"/>
                  </a:lnTo>
                  <a:lnTo>
                    <a:pt x="84" y="456"/>
                  </a:lnTo>
                  <a:lnTo>
                    <a:pt x="84" y="450"/>
                  </a:lnTo>
                  <a:lnTo>
                    <a:pt x="84" y="444"/>
                  </a:lnTo>
                  <a:lnTo>
                    <a:pt x="90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02" y="450"/>
                  </a:lnTo>
                  <a:lnTo>
                    <a:pt x="108" y="450"/>
                  </a:lnTo>
                  <a:lnTo>
                    <a:pt x="108" y="456"/>
                  </a:lnTo>
                  <a:lnTo>
                    <a:pt x="108" y="462"/>
                  </a:lnTo>
                  <a:lnTo>
                    <a:pt x="114" y="462"/>
                  </a:lnTo>
                  <a:lnTo>
                    <a:pt x="114" y="468"/>
                  </a:lnTo>
                  <a:lnTo>
                    <a:pt x="114" y="474"/>
                  </a:lnTo>
                  <a:lnTo>
                    <a:pt x="114" y="480"/>
                  </a:lnTo>
                  <a:lnTo>
                    <a:pt x="114" y="486"/>
                  </a:lnTo>
                  <a:lnTo>
                    <a:pt x="120" y="486"/>
                  </a:lnTo>
                  <a:lnTo>
                    <a:pt x="126" y="486"/>
                  </a:lnTo>
                  <a:lnTo>
                    <a:pt x="132" y="486"/>
                  </a:lnTo>
                  <a:lnTo>
                    <a:pt x="126" y="480"/>
                  </a:lnTo>
                  <a:lnTo>
                    <a:pt x="120" y="480"/>
                  </a:lnTo>
                  <a:lnTo>
                    <a:pt x="114" y="480"/>
                  </a:lnTo>
                  <a:lnTo>
                    <a:pt x="120" y="480"/>
                  </a:lnTo>
                  <a:lnTo>
                    <a:pt x="120" y="474"/>
                  </a:lnTo>
                  <a:lnTo>
                    <a:pt x="120" y="468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108" y="450"/>
                  </a:lnTo>
                  <a:lnTo>
                    <a:pt x="108" y="444"/>
                  </a:lnTo>
                  <a:lnTo>
                    <a:pt x="114" y="438"/>
                  </a:lnTo>
                  <a:lnTo>
                    <a:pt x="120" y="438"/>
                  </a:lnTo>
                  <a:lnTo>
                    <a:pt x="120" y="432"/>
                  </a:lnTo>
                  <a:lnTo>
                    <a:pt x="132" y="426"/>
                  </a:lnTo>
                  <a:lnTo>
                    <a:pt x="138" y="420"/>
                  </a:lnTo>
                  <a:lnTo>
                    <a:pt x="144" y="420"/>
                  </a:lnTo>
                  <a:lnTo>
                    <a:pt x="144" y="414"/>
                  </a:lnTo>
                  <a:lnTo>
                    <a:pt x="144" y="420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6" y="414"/>
                  </a:lnTo>
                  <a:lnTo>
                    <a:pt x="162" y="414"/>
                  </a:lnTo>
                  <a:lnTo>
                    <a:pt x="162" y="408"/>
                  </a:lnTo>
                  <a:lnTo>
                    <a:pt x="168" y="408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86" y="396"/>
                  </a:lnTo>
                  <a:lnTo>
                    <a:pt x="186" y="390"/>
                  </a:lnTo>
                  <a:lnTo>
                    <a:pt x="192" y="390"/>
                  </a:lnTo>
                  <a:lnTo>
                    <a:pt x="198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210" y="378"/>
                  </a:lnTo>
                  <a:lnTo>
                    <a:pt x="210" y="372"/>
                  </a:lnTo>
                  <a:lnTo>
                    <a:pt x="216" y="372"/>
                  </a:lnTo>
                  <a:lnTo>
                    <a:pt x="222" y="366"/>
                  </a:lnTo>
                  <a:lnTo>
                    <a:pt x="228" y="360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6" y="348"/>
                  </a:lnTo>
                  <a:lnTo>
                    <a:pt x="252" y="348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0" y="342"/>
                  </a:lnTo>
                  <a:lnTo>
                    <a:pt x="234" y="342"/>
                  </a:lnTo>
                  <a:lnTo>
                    <a:pt x="228" y="336"/>
                  </a:lnTo>
                  <a:lnTo>
                    <a:pt x="222" y="336"/>
                  </a:lnTo>
                  <a:lnTo>
                    <a:pt x="216" y="336"/>
                  </a:lnTo>
                  <a:lnTo>
                    <a:pt x="222" y="324"/>
                  </a:lnTo>
                  <a:lnTo>
                    <a:pt x="222" y="318"/>
                  </a:lnTo>
                  <a:lnTo>
                    <a:pt x="222" y="312"/>
                  </a:lnTo>
                  <a:lnTo>
                    <a:pt x="234" y="318"/>
                  </a:lnTo>
                  <a:lnTo>
                    <a:pt x="246" y="318"/>
                  </a:lnTo>
                  <a:lnTo>
                    <a:pt x="258" y="318"/>
                  </a:lnTo>
                  <a:lnTo>
                    <a:pt x="270" y="312"/>
                  </a:lnTo>
                  <a:lnTo>
                    <a:pt x="276" y="312"/>
                  </a:lnTo>
                  <a:lnTo>
                    <a:pt x="288" y="324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94" y="306"/>
                  </a:lnTo>
                  <a:lnTo>
                    <a:pt x="300" y="300"/>
                  </a:lnTo>
                  <a:lnTo>
                    <a:pt x="306" y="306"/>
                  </a:lnTo>
                  <a:lnTo>
                    <a:pt x="312" y="318"/>
                  </a:lnTo>
                  <a:lnTo>
                    <a:pt x="318" y="312"/>
                  </a:lnTo>
                  <a:lnTo>
                    <a:pt x="324" y="312"/>
                  </a:lnTo>
                  <a:lnTo>
                    <a:pt x="330" y="312"/>
                  </a:lnTo>
                  <a:lnTo>
                    <a:pt x="342" y="306"/>
                  </a:lnTo>
                  <a:lnTo>
                    <a:pt x="348" y="306"/>
                  </a:lnTo>
                  <a:lnTo>
                    <a:pt x="348" y="312"/>
                  </a:lnTo>
                  <a:lnTo>
                    <a:pt x="348" y="318"/>
                  </a:lnTo>
                  <a:lnTo>
                    <a:pt x="354" y="318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60" y="336"/>
                  </a:lnTo>
                  <a:lnTo>
                    <a:pt x="366" y="330"/>
                  </a:lnTo>
                  <a:lnTo>
                    <a:pt x="378" y="324"/>
                  </a:lnTo>
                  <a:lnTo>
                    <a:pt x="384" y="324"/>
                  </a:lnTo>
                  <a:lnTo>
                    <a:pt x="384" y="318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6"/>
                  </a:lnTo>
                  <a:lnTo>
                    <a:pt x="402" y="306"/>
                  </a:lnTo>
                  <a:lnTo>
                    <a:pt x="408" y="306"/>
                  </a:lnTo>
                  <a:lnTo>
                    <a:pt x="414" y="300"/>
                  </a:lnTo>
                  <a:lnTo>
                    <a:pt x="420" y="300"/>
                  </a:lnTo>
                  <a:lnTo>
                    <a:pt x="426" y="300"/>
                  </a:lnTo>
                  <a:lnTo>
                    <a:pt x="432" y="300"/>
                  </a:lnTo>
                  <a:lnTo>
                    <a:pt x="444" y="288"/>
                  </a:lnTo>
                  <a:lnTo>
                    <a:pt x="450" y="294"/>
                  </a:lnTo>
                  <a:lnTo>
                    <a:pt x="468" y="300"/>
                  </a:lnTo>
                  <a:lnTo>
                    <a:pt x="498" y="312"/>
                  </a:lnTo>
                  <a:lnTo>
                    <a:pt x="504" y="324"/>
                  </a:lnTo>
                  <a:lnTo>
                    <a:pt x="516" y="330"/>
                  </a:lnTo>
                  <a:lnTo>
                    <a:pt x="516" y="336"/>
                  </a:lnTo>
                  <a:lnTo>
                    <a:pt x="540" y="342"/>
                  </a:lnTo>
                  <a:lnTo>
                    <a:pt x="558" y="372"/>
                  </a:lnTo>
                  <a:lnTo>
                    <a:pt x="594" y="384"/>
                  </a:lnTo>
                  <a:lnTo>
                    <a:pt x="606" y="402"/>
                  </a:lnTo>
                  <a:lnTo>
                    <a:pt x="600" y="420"/>
                  </a:lnTo>
                  <a:lnTo>
                    <a:pt x="588" y="444"/>
                  </a:lnTo>
                  <a:lnTo>
                    <a:pt x="588" y="450"/>
                  </a:lnTo>
                  <a:lnTo>
                    <a:pt x="588" y="456"/>
                  </a:lnTo>
                  <a:lnTo>
                    <a:pt x="594" y="456"/>
                  </a:lnTo>
                  <a:lnTo>
                    <a:pt x="594" y="462"/>
                  </a:lnTo>
                  <a:lnTo>
                    <a:pt x="594" y="468"/>
                  </a:lnTo>
                  <a:lnTo>
                    <a:pt x="594" y="474"/>
                  </a:lnTo>
                  <a:lnTo>
                    <a:pt x="600" y="474"/>
                  </a:lnTo>
                  <a:lnTo>
                    <a:pt x="606" y="480"/>
                  </a:lnTo>
                  <a:lnTo>
                    <a:pt x="606" y="486"/>
                  </a:lnTo>
                  <a:lnTo>
                    <a:pt x="612" y="486"/>
                  </a:lnTo>
                  <a:lnTo>
                    <a:pt x="618" y="486"/>
                  </a:lnTo>
                  <a:lnTo>
                    <a:pt x="624" y="486"/>
                  </a:lnTo>
                  <a:lnTo>
                    <a:pt x="636" y="486"/>
                  </a:lnTo>
                  <a:lnTo>
                    <a:pt x="642" y="486"/>
                  </a:lnTo>
                  <a:lnTo>
                    <a:pt x="648" y="480"/>
                  </a:lnTo>
                  <a:lnTo>
                    <a:pt x="654" y="474"/>
                  </a:lnTo>
                  <a:lnTo>
                    <a:pt x="660" y="468"/>
                  </a:lnTo>
                  <a:lnTo>
                    <a:pt x="666" y="468"/>
                  </a:lnTo>
                  <a:lnTo>
                    <a:pt x="684" y="468"/>
                  </a:lnTo>
                  <a:lnTo>
                    <a:pt x="696" y="468"/>
                  </a:lnTo>
                  <a:lnTo>
                    <a:pt x="696" y="462"/>
                  </a:lnTo>
                  <a:lnTo>
                    <a:pt x="702" y="456"/>
                  </a:lnTo>
                  <a:lnTo>
                    <a:pt x="708" y="450"/>
                  </a:lnTo>
                  <a:lnTo>
                    <a:pt x="714" y="450"/>
                  </a:lnTo>
                  <a:lnTo>
                    <a:pt x="720" y="450"/>
                  </a:lnTo>
                  <a:lnTo>
                    <a:pt x="720" y="438"/>
                  </a:lnTo>
                  <a:lnTo>
                    <a:pt x="726" y="432"/>
                  </a:lnTo>
                  <a:lnTo>
                    <a:pt x="738" y="420"/>
                  </a:lnTo>
                  <a:lnTo>
                    <a:pt x="744" y="420"/>
                  </a:lnTo>
                  <a:lnTo>
                    <a:pt x="750" y="414"/>
                  </a:lnTo>
                  <a:lnTo>
                    <a:pt x="762" y="408"/>
                  </a:lnTo>
                  <a:lnTo>
                    <a:pt x="768" y="408"/>
                  </a:lnTo>
                  <a:lnTo>
                    <a:pt x="768" y="402"/>
                  </a:lnTo>
                  <a:lnTo>
                    <a:pt x="780" y="396"/>
                  </a:lnTo>
                  <a:lnTo>
                    <a:pt x="786" y="396"/>
                  </a:lnTo>
                  <a:lnTo>
                    <a:pt x="786" y="390"/>
                  </a:lnTo>
                  <a:lnTo>
                    <a:pt x="792" y="384"/>
                  </a:lnTo>
                  <a:lnTo>
                    <a:pt x="792" y="378"/>
                  </a:lnTo>
                  <a:lnTo>
                    <a:pt x="798" y="366"/>
                  </a:lnTo>
                  <a:lnTo>
                    <a:pt x="804" y="360"/>
                  </a:lnTo>
                  <a:lnTo>
                    <a:pt x="816" y="342"/>
                  </a:lnTo>
                  <a:lnTo>
                    <a:pt x="816" y="312"/>
                  </a:lnTo>
                  <a:lnTo>
                    <a:pt x="804" y="300"/>
                  </a:lnTo>
                  <a:lnTo>
                    <a:pt x="798" y="288"/>
                  </a:lnTo>
                  <a:lnTo>
                    <a:pt x="762" y="264"/>
                  </a:lnTo>
                  <a:lnTo>
                    <a:pt x="738" y="234"/>
                  </a:lnTo>
                  <a:lnTo>
                    <a:pt x="738" y="222"/>
                  </a:lnTo>
                  <a:lnTo>
                    <a:pt x="744" y="210"/>
                  </a:lnTo>
                  <a:lnTo>
                    <a:pt x="732" y="174"/>
                  </a:lnTo>
                  <a:lnTo>
                    <a:pt x="714" y="156"/>
                  </a:lnTo>
                  <a:lnTo>
                    <a:pt x="708" y="144"/>
                  </a:lnTo>
                  <a:lnTo>
                    <a:pt x="714" y="126"/>
                  </a:lnTo>
                  <a:lnTo>
                    <a:pt x="720" y="114"/>
                  </a:lnTo>
                  <a:lnTo>
                    <a:pt x="732" y="102"/>
                  </a:lnTo>
                  <a:lnTo>
                    <a:pt x="744" y="102"/>
                  </a:lnTo>
                  <a:lnTo>
                    <a:pt x="762" y="108"/>
                  </a:lnTo>
                  <a:lnTo>
                    <a:pt x="774" y="114"/>
                  </a:lnTo>
                  <a:lnTo>
                    <a:pt x="780" y="138"/>
                  </a:lnTo>
                  <a:lnTo>
                    <a:pt x="786" y="144"/>
                  </a:lnTo>
                  <a:lnTo>
                    <a:pt x="798" y="138"/>
                  </a:lnTo>
                  <a:lnTo>
                    <a:pt x="804" y="132"/>
                  </a:lnTo>
                  <a:lnTo>
                    <a:pt x="816" y="120"/>
                  </a:lnTo>
                  <a:lnTo>
                    <a:pt x="816" y="108"/>
                  </a:lnTo>
                  <a:lnTo>
                    <a:pt x="828" y="102"/>
                  </a:lnTo>
                  <a:lnTo>
                    <a:pt x="828" y="96"/>
                  </a:lnTo>
                  <a:lnTo>
                    <a:pt x="840" y="96"/>
                  </a:lnTo>
                  <a:lnTo>
                    <a:pt x="840" y="84"/>
                  </a:lnTo>
                  <a:lnTo>
                    <a:pt x="852" y="90"/>
                  </a:lnTo>
                  <a:lnTo>
                    <a:pt x="852" y="96"/>
                  </a:lnTo>
                  <a:lnTo>
                    <a:pt x="870" y="90"/>
                  </a:lnTo>
                  <a:lnTo>
                    <a:pt x="894" y="78"/>
                  </a:lnTo>
                  <a:lnTo>
                    <a:pt x="912" y="78"/>
                  </a:lnTo>
                  <a:lnTo>
                    <a:pt x="942" y="66"/>
                  </a:lnTo>
                  <a:lnTo>
                    <a:pt x="942" y="60"/>
                  </a:lnTo>
                  <a:lnTo>
                    <a:pt x="954" y="48"/>
                  </a:lnTo>
                  <a:lnTo>
                    <a:pt x="966" y="30"/>
                  </a:lnTo>
                  <a:lnTo>
                    <a:pt x="978" y="30"/>
                  </a:lnTo>
                  <a:lnTo>
                    <a:pt x="978" y="24"/>
                  </a:lnTo>
                  <a:lnTo>
                    <a:pt x="984" y="12"/>
                  </a:lnTo>
                  <a:lnTo>
                    <a:pt x="990" y="12"/>
                  </a:lnTo>
                  <a:lnTo>
                    <a:pt x="996" y="12"/>
                  </a:lnTo>
                  <a:lnTo>
                    <a:pt x="1014" y="6"/>
                  </a:lnTo>
                  <a:lnTo>
                    <a:pt x="1026" y="6"/>
                  </a:lnTo>
                  <a:lnTo>
                    <a:pt x="1044" y="6"/>
                  </a:lnTo>
                  <a:lnTo>
                    <a:pt x="1050" y="6"/>
                  </a:lnTo>
                  <a:lnTo>
                    <a:pt x="1056" y="6"/>
                  </a:lnTo>
                  <a:lnTo>
                    <a:pt x="1062" y="6"/>
                  </a:lnTo>
                  <a:lnTo>
                    <a:pt x="1068" y="6"/>
                  </a:lnTo>
                  <a:lnTo>
                    <a:pt x="1074" y="6"/>
                  </a:lnTo>
                  <a:lnTo>
                    <a:pt x="1080" y="6"/>
                  </a:lnTo>
                  <a:lnTo>
                    <a:pt x="1086" y="0"/>
                  </a:lnTo>
                  <a:lnTo>
                    <a:pt x="1092" y="30"/>
                  </a:lnTo>
                  <a:lnTo>
                    <a:pt x="1098" y="60"/>
                  </a:lnTo>
                  <a:lnTo>
                    <a:pt x="1110" y="84"/>
                  </a:lnTo>
                  <a:lnTo>
                    <a:pt x="1122" y="114"/>
                  </a:lnTo>
                  <a:lnTo>
                    <a:pt x="1128" y="144"/>
                  </a:lnTo>
                  <a:lnTo>
                    <a:pt x="1122" y="156"/>
                  </a:lnTo>
                  <a:lnTo>
                    <a:pt x="1128" y="168"/>
                  </a:lnTo>
                  <a:lnTo>
                    <a:pt x="1134" y="186"/>
                  </a:lnTo>
                  <a:lnTo>
                    <a:pt x="1140" y="204"/>
                  </a:lnTo>
                  <a:lnTo>
                    <a:pt x="1146" y="210"/>
                  </a:lnTo>
                  <a:lnTo>
                    <a:pt x="1146" y="216"/>
                  </a:lnTo>
                  <a:lnTo>
                    <a:pt x="1146" y="228"/>
                  </a:lnTo>
                  <a:lnTo>
                    <a:pt x="1146" y="234"/>
                  </a:lnTo>
                  <a:lnTo>
                    <a:pt x="1140" y="246"/>
                  </a:lnTo>
                  <a:lnTo>
                    <a:pt x="1128" y="258"/>
                  </a:lnTo>
                  <a:lnTo>
                    <a:pt x="1116" y="264"/>
                  </a:lnTo>
                  <a:lnTo>
                    <a:pt x="1110" y="276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2" y="312"/>
                  </a:lnTo>
                  <a:lnTo>
                    <a:pt x="1116" y="324"/>
                  </a:lnTo>
                  <a:lnTo>
                    <a:pt x="1104" y="336"/>
                  </a:lnTo>
                  <a:lnTo>
                    <a:pt x="1104" y="354"/>
                  </a:lnTo>
                  <a:lnTo>
                    <a:pt x="1098" y="372"/>
                  </a:lnTo>
                  <a:lnTo>
                    <a:pt x="1092" y="384"/>
                  </a:lnTo>
                  <a:lnTo>
                    <a:pt x="1086" y="390"/>
                  </a:lnTo>
                  <a:lnTo>
                    <a:pt x="1086" y="402"/>
                  </a:lnTo>
                  <a:lnTo>
                    <a:pt x="1080" y="414"/>
                  </a:lnTo>
                  <a:lnTo>
                    <a:pt x="1074" y="426"/>
                  </a:lnTo>
                  <a:lnTo>
                    <a:pt x="1074" y="450"/>
                  </a:lnTo>
                  <a:lnTo>
                    <a:pt x="1074" y="462"/>
                  </a:lnTo>
                  <a:lnTo>
                    <a:pt x="1068" y="474"/>
                  </a:lnTo>
                  <a:lnTo>
                    <a:pt x="1062" y="486"/>
                  </a:lnTo>
                  <a:lnTo>
                    <a:pt x="1056" y="498"/>
                  </a:lnTo>
                  <a:close/>
                  <a:moveTo>
                    <a:pt x="186" y="378"/>
                  </a:moveTo>
                  <a:lnTo>
                    <a:pt x="186" y="384"/>
                  </a:lnTo>
                  <a:lnTo>
                    <a:pt x="180" y="390"/>
                  </a:lnTo>
                  <a:lnTo>
                    <a:pt x="174" y="396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14"/>
                  </a:lnTo>
                  <a:lnTo>
                    <a:pt x="126" y="414"/>
                  </a:lnTo>
                  <a:lnTo>
                    <a:pt x="120" y="414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2" y="426"/>
                  </a:lnTo>
                  <a:lnTo>
                    <a:pt x="102" y="432"/>
                  </a:lnTo>
                  <a:lnTo>
                    <a:pt x="96" y="432"/>
                  </a:lnTo>
                  <a:lnTo>
                    <a:pt x="90" y="432"/>
                  </a:lnTo>
                  <a:lnTo>
                    <a:pt x="84" y="438"/>
                  </a:lnTo>
                  <a:lnTo>
                    <a:pt x="78" y="438"/>
                  </a:lnTo>
                  <a:lnTo>
                    <a:pt x="78" y="444"/>
                  </a:lnTo>
                  <a:lnTo>
                    <a:pt x="72" y="444"/>
                  </a:lnTo>
                  <a:lnTo>
                    <a:pt x="72" y="450"/>
                  </a:lnTo>
                  <a:lnTo>
                    <a:pt x="66" y="456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48" y="468"/>
                  </a:lnTo>
                  <a:lnTo>
                    <a:pt x="42" y="468"/>
                  </a:lnTo>
                  <a:lnTo>
                    <a:pt x="42" y="462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8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0" y="396"/>
                  </a:lnTo>
                  <a:lnTo>
                    <a:pt x="6" y="384"/>
                  </a:lnTo>
                  <a:lnTo>
                    <a:pt x="18" y="372"/>
                  </a:lnTo>
                  <a:lnTo>
                    <a:pt x="30" y="348"/>
                  </a:lnTo>
                  <a:lnTo>
                    <a:pt x="30" y="342"/>
                  </a:lnTo>
                  <a:lnTo>
                    <a:pt x="42" y="330"/>
                  </a:lnTo>
                  <a:lnTo>
                    <a:pt x="42" y="324"/>
                  </a:lnTo>
                  <a:lnTo>
                    <a:pt x="48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60" y="282"/>
                  </a:lnTo>
                  <a:lnTo>
                    <a:pt x="60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2" y="258"/>
                  </a:lnTo>
                  <a:lnTo>
                    <a:pt x="84" y="246"/>
                  </a:lnTo>
                  <a:lnTo>
                    <a:pt x="90" y="234"/>
                  </a:lnTo>
                  <a:lnTo>
                    <a:pt x="96" y="234"/>
                  </a:lnTo>
                  <a:lnTo>
                    <a:pt x="96" y="228"/>
                  </a:lnTo>
                  <a:lnTo>
                    <a:pt x="102" y="222"/>
                  </a:lnTo>
                  <a:lnTo>
                    <a:pt x="102" y="228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14" y="228"/>
                  </a:lnTo>
                  <a:lnTo>
                    <a:pt x="114" y="234"/>
                  </a:lnTo>
                  <a:lnTo>
                    <a:pt x="120" y="228"/>
                  </a:lnTo>
                  <a:lnTo>
                    <a:pt x="120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26" y="228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8" y="234"/>
                  </a:lnTo>
                  <a:lnTo>
                    <a:pt x="144" y="234"/>
                  </a:lnTo>
                  <a:lnTo>
                    <a:pt x="144" y="228"/>
                  </a:lnTo>
                  <a:lnTo>
                    <a:pt x="150" y="228"/>
                  </a:lnTo>
                  <a:lnTo>
                    <a:pt x="156" y="228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46"/>
                  </a:lnTo>
                  <a:lnTo>
                    <a:pt x="162" y="240"/>
                  </a:lnTo>
                  <a:lnTo>
                    <a:pt x="162" y="246"/>
                  </a:lnTo>
                  <a:lnTo>
                    <a:pt x="162" y="258"/>
                  </a:lnTo>
                  <a:lnTo>
                    <a:pt x="162" y="264"/>
                  </a:lnTo>
                  <a:lnTo>
                    <a:pt x="156" y="270"/>
                  </a:lnTo>
                  <a:lnTo>
                    <a:pt x="162" y="270"/>
                  </a:lnTo>
                  <a:lnTo>
                    <a:pt x="162" y="282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86" y="288"/>
                  </a:lnTo>
                  <a:lnTo>
                    <a:pt x="186" y="294"/>
                  </a:lnTo>
                  <a:lnTo>
                    <a:pt x="180" y="300"/>
                  </a:lnTo>
                  <a:lnTo>
                    <a:pt x="174" y="318"/>
                  </a:lnTo>
                  <a:lnTo>
                    <a:pt x="174" y="324"/>
                  </a:lnTo>
                  <a:lnTo>
                    <a:pt x="168" y="330"/>
                  </a:lnTo>
                  <a:lnTo>
                    <a:pt x="168" y="342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74" y="360"/>
                  </a:lnTo>
                  <a:lnTo>
                    <a:pt x="180" y="366"/>
                  </a:lnTo>
                  <a:lnTo>
                    <a:pt x="186" y="3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8" name="Freeform 23">
              <a:extLst>
                <a:ext uri="{FF2B5EF4-FFF2-40B4-BE49-F238E27FC236}">
                  <a16:creationId xmlns:a16="http://schemas.microsoft.com/office/drawing/2014/main" id="{A539A33E-3F6E-4AF7-BD88-1853165307F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6312" y="3604793"/>
              <a:ext cx="581410" cy="621747"/>
            </a:xfrm>
            <a:custGeom>
              <a:avLst/>
              <a:gdLst>
                <a:gd name="T0" fmla="*/ 90 w 1092"/>
                <a:gd name="T1" fmla="*/ 60 h 1170"/>
                <a:gd name="T2" fmla="*/ 83 w 1092"/>
                <a:gd name="T3" fmla="*/ 62 h 1170"/>
                <a:gd name="T4" fmla="*/ 72 w 1092"/>
                <a:gd name="T5" fmla="*/ 68 h 1170"/>
                <a:gd name="T6" fmla="*/ 68 w 1092"/>
                <a:gd name="T7" fmla="*/ 71 h 1170"/>
                <a:gd name="T8" fmla="*/ 61 w 1092"/>
                <a:gd name="T9" fmla="*/ 69 h 1170"/>
                <a:gd name="T10" fmla="*/ 64 w 1092"/>
                <a:gd name="T11" fmla="*/ 82 h 1170"/>
                <a:gd name="T12" fmla="*/ 67 w 1092"/>
                <a:gd name="T13" fmla="*/ 93 h 1170"/>
                <a:gd name="T14" fmla="*/ 62 w 1092"/>
                <a:gd name="T15" fmla="*/ 96 h 1170"/>
                <a:gd name="T16" fmla="*/ 59 w 1092"/>
                <a:gd name="T17" fmla="*/ 99 h 1170"/>
                <a:gd name="T18" fmla="*/ 53 w 1092"/>
                <a:gd name="T19" fmla="*/ 101 h 1170"/>
                <a:gd name="T20" fmla="*/ 50 w 1092"/>
                <a:gd name="T21" fmla="*/ 100 h 1170"/>
                <a:gd name="T22" fmla="*/ 50 w 1092"/>
                <a:gd name="T23" fmla="*/ 93 h 1170"/>
                <a:gd name="T24" fmla="*/ 37 w 1092"/>
                <a:gd name="T25" fmla="*/ 85 h 1170"/>
                <a:gd name="T26" fmla="*/ 32 w 1092"/>
                <a:gd name="T27" fmla="*/ 86 h 1170"/>
                <a:gd name="T28" fmla="*/ 29 w 1092"/>
                <a:gd name="T29" fmla="*/ 88 h 1170"/>
                <a:gd name="T30" fmla="*/ 27 w 1092"/>
                <a:gd name="T31" fmla="*/ 86 h 1170"/>
                <a:gd name="T32" fmla="*/ 23 w 1092"/>
                <a:gd name="T33" fmla="*/ 87 h 1170"/>
                <a:gd name="T34" fmla="*/ 17 w 1092"/>
                <a:gd name="T35" fmla="*/ 87 h 1170"/>
                <a:gd name="T36" fmla="*/ 18 w 1092"/>
                <a:gd name="T37" fmla="*/ 89 h 1170"/>
                <a:gd name="T38" fmla="*/ 16 w 1092"/>
                <a:gd name="T39" fmla="*/ 92 h 1170"/>
                <a:gd name="T40" fmla="*/ 12 w 1092"/>
                <a:gd name="T41" fmla="*/ 89 h 1170"/>
                <a:gd name="T42" fmla="*/ 13 w 1092"/>
                <a:gd name="T43" fmla="*/ 84 h 1170"/>
                <a:gd name="T44" fmla="*/ 12 w 1092"/>
                <a:gd name="T45" fmla="*/ 80 h 1170"/>
                <a:gd name="T46" fmla="*/ 10 w 1092"/>
                <a:gd name="T47" fmla="*/ 80 h 1170"/>
                <a:gd name="T48" fmla="*/ 8 w 1092"/>
                <a:gd name="T49" fmla="*/ 79 h 1170"/>
                <a:gd name="T50" fmla="*/ 6 w 1092"/>
                <a:gd name="T51" fmla="*/ 78 h 1170"/>
                <a:gd name="T52" fmla="*/ 6 w 1092"/>
                <a:gd name="T53" fmla="*/ 77 h 1170"/>
                <a:gd name="T54" fmla="*/ 4 w 1092"/>
                <a:gd name="T55" fmla="*/ 75 h 1170"/>
                <a:gd name="T56" fmla="*/ 0 w 1092"/>
                <a:gd name="T57" fmla="*/ 72 h 1170"/>
                <a:gd name="T58" fmla="*/ 0 w 1092"/>
                <a:gd name="T59" fmla="*/ 69 h 1170"/>
                <a:gd name="T60" fmla="*/ 3 w 1092"/>
                <a:gd name="T61" fmla="*/ 67 h 1170"/>
                <a:gd name="T62" fmla="*/ 6 w 1092"/>
                <a:gd name="T63" fmla="*/ 62 h 1170"/>
                <a:gd name="T64" fmla="*/ 8 w 1092"/>
                <a:gd name="T65" fmla="*/ 58 h 1170"/>
                <a:gd name="T66" fmla="*/ 5 w 1092"/>
                <a:gd name="T67" fmla="*/ 54 h 1170"/>
                <a:gd name="T68" fmla="*/ 6 w 1092"/>
                <a:gd name="T69" fmla="*/ 50 h 1170"/>
                <a:gd name="T70" fmla="*/ 8 w 1092"/>
                <a:gd name="T71" fmla="*/ 46 h 1170"/>
                <a:gd name="T72" fmla="*/ 10 w 1092"/>
                <a:gd name="T73" fmla="*/ 43 h 1170"/>
                <a:gd name="T74" fmla="*/ 14 w 1092"/>
                <a:gd name="T75" fmla="*/ 38 h 1170"/>
                <a:gd name="T76" fmla="*/ 31 w 1092"/>
                <a:gd name="T77" fmla="*/ 40 h 1170"/>
                <a:gd name="T78" fmla="*/ 30 w 1092"/>
                <a:gd name="T79" fmla="*/ 46 h 1170"/>
                <a:gd name="T80" fmla="*/ 36 w 1092"/>
                <a:gd name="T81" fmla="*/ 47 h 1170"/>
                <a:gd name="T82" fmla="*/ 41 w 1092"/>
                <a:gd name="T83" fmla="*/ 44 h 1170"/>
                <a:gd name="T84" fmla="*/ 43 w 1092"/>
                <a:gd name="T85" fmla="*/ 39 h 1170"/>
                <a:gd name="T86" fmla="*/ 44 w 1092"/>
                <a:gd name="T87" fmla="*/ 35 h 1170"/>
                <a:gd name="T88" fmla="*/ 44 w 1092"/>
                <a:gd name="T89" fmla="*/ 29 h 1170"/>
                <a:gd name="T90" fmla="*/ 48 w 1092"/>
                <a:gd name="T91" fmla="*/ 24 h 1170"/>
                <a:gd name="T92" fmla="*/ 49 w 1092"/>
                <a:gd name="T93" fmla="*/ 19 h 1170"/>
                <a:gd name="T94" fmla="*/ 51 w 1092"/>
                <a:gd name="T95" fmla="*/ 14 h 1170"/>
                <a:gd name="T96" fmla="*/ 54 w 1092"/>
                <a:gd name="T97" fmla="*/ 10 h 1170"/>
                <a:gd name="T98" fmla="*/ 53 w 1092"/>
                <a:gd name="T99" fmla="*/ 7 h 1170"/>
                <a:gd name="T100" fmla="*/ 55 w 1092"/>
                <a:gd name="T101" fmla="*/ 3 h 1170"/>
                <a:gd name="T102" fmla="*/ 58 w 1092"/>
                <a:gd name="T103" fmla="*/ 0 h 1170"/>
                <a:gd name="T104" fmla="*/ 65 w 1092"/>
                <a:gd name="T105" fmla="*/ 2 h 1170"/>
                <a:gd name="T106" fmla="*/ 61 w 1092"/>
                <a:gd name="T107" fmla="*/ 6 h 1170"/>
                <a:gd name="T108" fmla="*/ 67 w 1092"/>
                <a:gd name="T109" fmla="*/ 7 h 1170"/>
                <a:gd name="T110" fmla="*/ 71 w 1092"/>
                <a:gd name="T111" fmla="*/ 6 h 1170"/>
                <a:gd name="T112" fmla="*/ 75 w 1092"/>
                <a:gd name="T113" fmla="*/ 9 h 1170"/>
                <a:gd name="T114" fmla="*/ 82 w 1092"/>
                <a:gd name="T115" fmla="*/ 12 h 1170"/>
                <a:gd name="T116" fmla="*/ 84 w 1092"/>
                <a:gd name="T117" fmla="*/ 17 h 1170"/>
                <a:gd name="T118" fmla="*/ 94 w 1092"/>
                <a:gd name="T119" fmla="*/ 23 h 1170"/>
                <a:gd name="T120" fmla="*/ 94 w 1092"/>
                <a:gd name="T121" fmla="*/ 34 h 1170"/>
                <a:gd name="T122" fmla="*/ 90 w 1092"/>
                <a:gd name="T123" fmla="*/ 41 h 1170"/>
                <a:gd name="T124" fmla="*/ 91 w 1092"/>
                <a:gd name="T125" fmla="*/ 51 h 11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92"/>
                <a:gd name="T190" fmla="*/ 0 h 1170"/>
                <a:gd name="T191" fmla="*/ 1092 w 1092"/>
                <a:gd name="T192" fmla="*/ 1170 h 117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92" h="1170">
                  <a:moveTo>
                    <a:pt x="1056" y="654"/>
                  </a:moveTo>
                  <a:lnTo>
                    <a:pt x="1062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0"/>
                  </a:lnTo>
                  <a:lnTo>
                    <a:pt x="1038" y="690"/>
                  </a:lnTo>
                  <a:lnTo>
                    <a:pt x="1032" y="690"/>
                  </a:lnTo>
                  <a:lnTo>
                    <a:pt x="1026" y="690"/>
                  </a:lnTo>
                  <a:lnTo>
                    <a:pt x="1020" y="690"/>
                  </a:lnTo>
                  <a:lnTo>
                    <a:pt x="1002" y="690"/>
                  </a:lnTo>
                  <a:lnTo>
                    <a:pt x="990" y="690"/>
                  </a:lnTo>
                  <a:lnTo>
                    <a:pt x="972" y="696"/>
                  </a:lnTo>
                  <a:lnTo>
                    <a:pt x="966" y="696"/>
                  </a:lnTo>
                  <a:lnTo>
                    <a:pt x="960" y="696"/>
                  </a:lnTo>
                  <a:lnTo>
                    <a:pt x="954" y="708"/>
                  </a:lnTo>
                  <a:lnTo>
                    <a:pt x="954" y="714"/>
                  </a:lnTo>
                  <a:lnTo>
                    <a:pt x="942" y="714"/>
                  </a:lnTo>
                  <a:lnTo>
                    <a:pt x="930" y="732"/>
                  </a:lnTo>
                  <a:lnTo>
                    <a:pt x="918" y="744"/>
                  </a:lnTo>
                  <a:lnTo>
                    <a:pt x="918" y="750"/>
                  </a:lnTo>
                  <a:lnTo>
                    <a:pt x="888" y="762"/>
                  </a:lnTo>
                  <a:lnTo>
                    <a:pt x="870" y="762"/>
                  </a:lnTo>
                  <a:lnTo>
                    <a:pt x="846" y="774"/>
                  </a:lnTo>
                  <a:lnTo>
                    <a:pt x="828" y="780"/>
                  </a:lnTo>
                  <a:lnTo>
                    <a:pt x="828" y="774"/>
                  </a:lnTo>
                  <a:lnTo>
                    <a:pt x="816" y="768"/>
                  </a:lnTo>
                  <a:lnTo>
                    <a:pt x="816" y="780"/>
                  </a:lnTo>
                  <a:lnTo>
                    <a:pt x="804" y="780"/>
                  </a:lnTo>
                  <a:lnTo>
                    <a:pt x="804" y="786"/>
                  </a:lnTo>
                  <a:lnTo>
                    <a:pt x="792" y="792"/>
                  </a:lnTo>
                  <a:lnTo>
                    <a:pt x="792" y="804"/>
                  </a:lnTo>
                  <a:lnTo>
                    <a:pt x="780" y="816"/>
                  </a:lnTo>
                  <a:lnTo>
                    <a:pt x="774" y="822"/>
                  </a:lnTo>
                  <a:lnTo>
                    <a:pt x="762" y="828"/>
                  </a:lnTo>
                  <a:lnTo>
                    <a:pt x="756" y="822"/>
                  </a:lnTo>
                  <a:lnTo>
                    <a:pt x="750" y="798"/>
                  </a:lnTo>
                  <a:lnTo>
                    <a:pt x="738" y="792"/>
                  </a:lnTo>
                  <a:lnTo>
                    <a:pt x="720" y="786"/>
                  </a:lnTo>
                  <a:lnTo>
                    <a:pt x="708" y="786"/>
                  </a:lnTo>
                  <a:lnTo>
                    <a:pt x="696" y="798"/>
                  </a:lnTo>
                  <a:lnTo>
                    <a:pt x="690" y="810"/>
                  </a:lnTo>
                  <a:lnTo>
                    <a:pt x="684" y="828"/>
                  </a:lnTo>
                  <a:lnTo>
                    <a:pt x="690" y="840"/>
                  </a:lnTo>
                  <a:lnTo>
                    <a:pt x="708" y="858"/>
                  </a:lnTo>
                  <a:lnTo>
                    <a:pt x="720" y="894"/>
                  </a:lnTo>
                  <a:lnTo>
                    <a:pt x="714" y="906"/>
                  </a:lnTo>
                  <a:lnTo>
                    <a:pt x="714" y="918"/>
                  </a:lnTo>
                  <a:lnTo>
                    <a:pt x="738" y="948"/>
                  </a:lnTo>
                  <a:lnTo>
                    <a:pt x="774" y="972"/>
                  </a:lnTo>
                  <a:lnTo>
                    <a:pt x="780" y="984"/>
                  </a:lnTo>
                  <a:lnTo>
                    <a:pt x="792" y="996"/>
                  </a:lnTo>
                  <a:lnTo>
                    <a:pt x="792" y="1026"/>
                  </a:lnTo>
                  <a:lnTo>
                    <a:pt x="780" y="1044"/>
                  </a:lnTo>
                  <a:lnTo>
                    <a:pt x="774" y="1050"/>
                  </a:lnTo>
                  <a:lnTo>
                    <a:pt x="768" y="1062"/>
                  </a:lnTo>
                  <a:lnTo>
                    <a:pt x="768" y="1068"/>
                  </a:lnTo>
                  <a:lnTo>
                    <a:pt x="762" y="1074"/>
                  </a:lnTo>
                  <a:lnTo>
                    <a:pt x="762" y="1080"/>
                  </a:lnTo>
                  <a:lnTo>
                    <a:pt x="756" y="1080"/>
                  </a:lnTo>
                  <a:lnTo>
                    <a:pt x="744" y="1086"/>
                  </a:lnTo>
                  <a:lnTo>
                    <a:pt x="744" y="1092"/>
                  </a:lnTo>
                  <a:lnTo>
                    <a:pt x="738" y="1092"/>
                  </a:lnTo>
                  <a:lnTo>
                    <a:pt x="726" y="1098"/>
                  </a:lnTo>
                  <a:lnTo>
                    <a:pt x="720" y="1104"/>
                  </a:lnTo>
                  <a:lnTo>
                    <a:pt x="714" y="1104"/>
                  </a:lnTo>
                  <a:lnTo>
                    <a:pt x="702" y="1116"/>
                  </a:lnTo>
                  <a:lnTo>
                    <a:pt x="696" y="1122"/>
                  </a:lnTo>
                  <a:lnTo>
                    <a:pt x="696" y="1134"/>
                  </a:lnTo>
                  <a:lnTo>
                    <a:pt x="690" y="1134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72" y="1146"/>
                  </a:lnTo>
                  <a:lnTo>
                    <a:pt x="672" y="1152"/>
                  </a:lnTo>
                  <a:lnTo>
                    <a:pt x="660" y="1152"/>
                  </a:lnTo>
                  <a:lnTo>
                    <a:pt x="642" y="1152"/>
                  </a:lnTo>
                  <a:lnTo>
                    <a:pt x="636" y="1152"/>
                  </a:lnTo>
                  <a:lnTo>
                    <a:pt x="630" y="1158"/>
                  </a:lnTo>
                  <a:lnTo>
                    <a:pt x="624" y="1164"/>
                  </a:lnTo>
                  <a:lnTo>
                    <a:pt x="618" y="1170"/>
                  </a:lnTo>
                  <a:lnTo>
                    <a:pt x="612" y="1170"/>
                  </a:lnTo>
                  <a:lnTo>
                    <a:pt x="600" y="1170"/>
                  </a:lnTo>
                  <a:lnTo>
                    <a:pt x="594" y="1170"/>
                  </a:lnTo>
                  <a:lnTo>
                    <a:pt x="588" y="1170"/>
                  </a:lnTo>
                  <a:lnTo>
                    <a:pt x="582" y="1170"/>
                  </a:lnTo>
                  <a:lnTo>
                    <a:pt x="582" y="1164"/>
                  </a:lnTo>
                  <a:lnTo>
                    <a:pt x="576" y="1158"/>
                  </a:lnTo>
                  <a:lnTo>
                    <a:pt x="570" y="1158"/>
                  </a:lnTo>
                  <a:lnTo>
                    <a:pt x="570" y="1152"/>
                  </a:lnTo>
                  <a:lnTo>
                    <a:pt x="570" y="1146"/>
                  </a:lnTo>
                  <a:lnTo>
                    <a:pt x="570" y="1140"/>
                  </a:lnTo>
                  <a:lnTo>
                    <a:pt x="564" y="1140"/>
                  </a:lnTo>
                  <a:lnTo>
                    <a:pt x="564" y="1134"/>
                  </a:lnTo>
                  <a:lnTo>
                    <a:pt x="564" y="1128"/>
                  </a:lnTo>
                  <a:lnTo>
                    <a:pt x="576" y="1104"/>
                  </a:lnTo>
                  <a:lnTo>
                    <a:pt x="582" y="1086"/>
                  </a:lnTo>
                  <a:lnTo>
                    <a:pt x="570" y="1068"/>
                  </a:lnTo>
                  <a:lnTo>
                    <a:pt x="534" y="1056"/>
                  </a:lnTo>
                  <a:lnTo>
                    <a:pt x="516" y="1026"/>
                  </a:lnTo>
                  <a:lnTo>
                    <a:pt x="492" y="1020"/>
                  </a:lnTo>
                  <a:lnTo>
                    <a:pt x="492" y="1014"/>
                  </a:lnTo>
                  <a:lnTo>
                    <a:pt x="480" y="1008"/>
                  </a:lnTo>
                  <a:lnTo>
                    <a:pt x="474" y="996"/>
                  </a:lnTo>
                  <a:lnTo>
                    <a:pt x="444" y="984"/>
                  </a:lnTo>
                  <a:lnTo>
                    <a:pt x="426" y="978"/>
                  </a:lnTo>
                  <a:lnTo>
                    <a:pt x="420" y="972"/>
                  </a:lnTo>
                  <a:lnTo>
                    <a:pt x="408" y="984"/>
                  </a:lnTo>
                  <a:lnTo>
                    <a:pt x="402" y="984"/>
                  </a:lnTo>
                  <a:lnTo>
                    <a:pt x="396" y="984"/>
                  </a:lnTo>
                  <a:lnTo>
                    <a:pt x="390" y="984"/>
                  </a:lnTo>
                  <a:lnTo>
                    <a:pt x="384" y="990"/>
                  </a:lnTo>
                  <a:lnTo>
                    <a:pt x="378" y="990"/>
                  </a:lnTo>
                  <a:lnTo>
                    <a:pt x="372" y="990"/>
                  </a:lnTo>
                  <a:lnTo>
                    <a:pt x="372" y="996"/>
                  </a:lnTo>
                  <a:lnTo>
                    <a:pt x="366" y="996"/>
                  </a:lnTo>
                  <a:lnTo>
                    <a:pt x="360" y="1002"/>
                  </a:lnTo>
                  <a:lnTo>
                    <a:pt x="360" y="1008"/>
                  </a:lnTo>
                  <a:lnTo>
                    <a:pt x="354" y="1008"/>
                  </a:lnTo>
                  <a:lnTo>
                    <a:pt x="342" y="1014"/>
                  </a:lnTo>
                  <a:lnTo>
                    <a:pt x="336" y="1020"/>
                  </a:lnTo>
                  <a:lnTo>
                    <a:pt x="336" y="1014"/>
                  </a:lnTo>
                  <a:lnTo>
                    <a:pt x="330" y="1014"/>
                  </a:lnTo>
                  <a:lnTo>
                    <a:pt x="330" y="1008"/>
                  </a:lnTo>
                  <a:lnTo>
                    <a:pt x="330" y="1002"/>
                  </a:lnTo>
                  <a:lnTo>
                    <a:pt x="324" y="1002"/>
                  </a:lnTo>
                  <a:lnTo>
                    <a:pt x="324" y="996"/>
                  </a:lnTo>
                  <a:lnTo>
                    <a:pt x="324" y="990"/>
                  </a:lnTo>
                  <a:lnTo>
                    <a:pt x="318" y="990"/>
                  </a:lnTo>
                  <a:lnTo>
                    <a:pt x="306" y="996"/>
                  </a:lnTo>
                  <a:lnTo>
                    <a:pt x="300" y="996"/>
                  </a:lnTo>
                  <a:lnTo>
                    <a:pt x="294" y="996"/>
                  </a:lnTo>
                  <a:lnTo>
                    <a:pt x="288" y="1002"/>
                  </a:lnTo>
                  <a:lnTo>
                    <a:pt x="282" y="990"/>
                  </a:lnTo>
                  <a:lnTo>
                    <a:pt x="276" y="984"/>
                  </a:lnTo>
                  <a:lnTo>
                    <a:pt x="270" y="990"/>
                  </a:lnTo>
                  <a:lnTo>
                    <a:pt x="270" y="996"/>
                  </a:lnTo>
                  <a:lnTo>
                    <a:pt x="270" y="1002"/>
                  </a:lnTo>
                  <a:lnTo>
                    <a:pt x="264" y="1008"/>
                  </a:lnTo>
                  <a:lnTo>
                    <a:pt x="252" y="996"/>
                  </a:lnTo>
                  <a:lnTo>
                    <a:pt x="246" y="996"/>
                  </a:lnTo>
                  <a:lnTo>
                    <a:pt x="234" y="1002"/>
                  </a:lnTo>
                  <a:lnTo>
                    <a:pt x="222" y="1002"/>
                  </a:lnTo>
                  <a:lnTo>
                    <a:pt x="210" y="1002"/>
                  </a:lnTo>
                  <a:lnTo>
                    <a:pt x="198" y="996"/>
                  </a:lnTo>
                  <a:lnTo>
                    <a:pt x="198" y="1002"/>
                  </a:lnTo>
                  <a:lnTo>
                    <a:pt x="198" y="1008"/>
                  </a:lnTo>
                  <a:lnTo>
                    <a:pt x="192" y="1020"/>
                  </a:lnTo>
                  <a:lnTo>
                    <a:pt x="198" y="1020"/>
                  </a:lnTo>
                  <a:lnTo>
                    <a:pt x="204" y="1020"/>
                  </a:lnTo>
                  <a:lnTo>
                    <a:pt x="210" y="1026"/>
                  </a:lnTo>
                  <a:lnTo>
                    <a:pt x="216" y="1026"/>
                  </a:lnTo>
                  <a:lnTo>
                    <a:pt x="216" y="1032"/>
                  </a:lnTo>
                  <a:lnTo>
                    <a:pt x="210" y="1032"/>
                  </a:lnTo>
                  <a:lnTo>
                    <a:pt x="210" y="1038"/>
                  </a:lnTo>
                  <a:lnTo>
                    <a:pt x="204" y="1038"/>
                  </a:lnTo>
                  <a:lnTo>
                    <a:pt x="204" y="1044"/>
                  </a:lnTo>
                  <a:lnTo>
                    <a:pt x="198" y="1044"/>
                  </a:lnTo>
                  <a:lnTo>
                    <a:pt x="192" y="1044"/>
                  </a:lnTo>
                  <a:lnTo>
                    <a:pt x="186" y="1050"/>
                  </a:lnTo>
                  <a:lnTo>
                    <a:pt x="186" y="1056"/>
                  </a:lnTo>
                  <a:lnTo>
                    <a:pt x="180" y="1056"/>
                  </a:lnTo>
                  <a:lnTo>
                    <a:pt x="180" y="1062"/>
                  </a:lnTo>
                  <a:lnTo>
                    <a:pt x="174" y="1062"/>
                  </a:lnTo>
                  <a:lnTo>
                    <a:pt x="168" y="1062"/>
                  </a:lnTo>
                  <a:lnTo>
                    <a:pt x="162" y="1062"/>
                  </a:lnTo>
                  <a:lnTo>
                    <a:pt x="156" y="1050"/>
                  </a:lnTo>
                  <a:lnTo>
                    <a:pt x="150" y="1044"/>
                  </a:lnTo>
                  <a:lnTo>
                    <a:pt x="150" y="1038"/>
                  </a:lnTo>
                  <a:lnTo>
                    <a:pt x="144" y="1032"/>
                  </a:lnTo>
                  <a:lnTo>
                    <a:pt x="144" y="1026"/>
                  </a:lnTo>
                  <a:lnTo>
                    <a:pt x="144" y="1014"/>
                  </a:lnTo>
                  <a:lnTo>
                    <a:pt x="150" y="1008"/>
                  </a:lnTo>
                  <a:lnTo>
                    <a:pt x="150" y="1002"/>
                  </a:lnTo>
                  <a:lnTo>
                    <a:pt x="156" y="984"/>
                  </a:lnTo>
                  <a:lnTo>
                    <a:pt x="162" y="978"/>
                  </a:lnTo>
                  <a:lnTo>
                    <a:pt x="162" y="972"/>
                  </a:lnTo>
                  <a:lnTo>
                    <a:pt x="150" y="966"/>
                  </a:lnTo>
                  <a:lnTo>
                    <a:pt x="144" y="966"/>
                  </a:lnTo>
                  <a:lnTo>
                    <a:pt x="138" y="966"/>
                  </a:lnTo>
                  <a:lnTo>
                    <a:pt x="138" y="954"/>
                  </a:lnTo>
                  <a:lnTo>
                    <a:pt x="132" y="954"/>
                  </a:lnTo>
                  <a:lnTo>
                    <a:pt x="138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8" y="924"/>
                  </a:lnTo>
                  <a:lnTo>
                    <a:pt x="132" y="930"/>
                  </a:lnTo>
                  <a:lnTo>
                    <a:pt x="132" y="924"/>
                  </a:lnTo>
                  <a:lnTo>
                    <a:pt x="126" y="918"/>
                  </a:lnTo>
                  <a:lnTo>
                    <a:pt x="132" y="918"/>
                  </a:lnTo>
                  <a:lnTo>
                    <a:pt x="132" y="912"/>
                  </a:lnTo>
                  <a:lnTo>
                    <a:pt x="126" y="912"/>
                  </a:lnTo>
                  <a:lnTo>
                    <a:pt x="120" y="912"/>
                  </a:lnTo>
                  <a:lnTo>
                    <a:pt x="120" y="918"/>
                  </a:lnTo>
                  <a:lnTo>
                    <a:pt x="114" y="918"/>
                  </a:lnTo>
                  <a:lnTo>
                    <a:pt x="114" y="912"/>
                  </a:lnTo>
                  <a:lnTo>
                    <a:pt x="108" y="912"/>
                  </a:lnTo>
                  <a:lnTo>
                    <a:pt x="102" y="912"/>
                  </a:lnTo>
                  <a:lnTo>
                    <a:pt x="108" y="906"/>
                  </a:lnTo>
                  <a:lnTo>
                    <a:pt x="102" y="906"/>
                  </a:lnTo>
                  <a:lnTo>
                    <a:pt x="96" y="906"/>
                  </a:lnTo>
                  <a:lnTo>
                    <a:pt x="96" y="912"/>
                  </a:lnTo>
                  <a:lnTo>
                    <a:pt x="90" y="918"/>
                  </a:lnTo>
                  <a:lnTo>
                    <a:pt x="90" y="912"/>
                  </a:lnTo>
                  <a:lnTo>
                    <a:pt x="84" y="912"/>
                  </a:lnTo>
                  <a:lnTo>
                    <a:pt x="84" y="918"/>
                  </a:lnTo>
                  <a:lnTo>
                    <a:pt x="78" y="918"/>
                  </a:lnTo>
                  <a:lnTo>
                    <a:pt x="78" y="912"/>
                  </a:lnTo>
                  <a:lnTo>
                    <a:pt x="78" y="906"/>
                  </a:lnTo>
                  <a:lnTo>
                    <a:pt x="72" y="900"/>
                  </a:lnTo>
                  <a:lnTo>
                    <a:pt x="78" y="900"/>
                  </a:lnTo>
                  <a:lnTo>
                    <a:pt x="72" y="900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8" y="888"/>
                  </a:lnTo>
                  <a:lnTo>
                    <a:pt x="72" y="888"/>
                  </a:lnTo>
                  <a:lnTo>
                    <a:pt x="72" y="882"/>
                  </a:lnTo>
                  <a:lnTo>
                    <a:pt x="66" y="876"/>
                  </a:lnTo>
                  <a:lnTo>
                    <a:pt x="60" y="882"/>
                  </a:lnTo>
                  <a:lnTo>
                    <a:pt x="54" y="876"/>
                  </a:lnTo>
                  <a:lnTo>
                    <a:pt x="54" y="882"/>
                  </a:lnTo>
                  <a:lnTo>
                    <a:pt x="48" y="882"/>
                  </a:lnTo>
                  <a:lnTo>
                    <a:pt x="42" y="870"/>
                  </a:lnTo>
                  <a:lnTo>
                    <a:pt x="42" y="864"/>
                  </a:lnTo>
                  <a:lnTo>
                    <a:pt x="36" y="858"/>
                  </a:lnTo>
                  <a:lnTo>
                    <a:pt x="36" y="852"/>
                  </a:lnTo>
                  <a:lnTo>
                    <a:pt x="30" y="852"/>
                  </a:lnTo>
                  <a:lnTo>
                    <a:pt x="30" y="846"/>
                  </a:lnTo>
                  <a:lnTo>
                    <a:pt x="24" y="846"/>
                  </a:lnTo>
                  <a:lnTo>
                    <a:pt x="18" y="840"/>
                  </a:lnTo>
                  <a:lnTo>
                    <a:pt x="12" y="834"/>
                  </a:lnTo>
                  <a:lnTo>
                    <a:pt x="0" y="828"/>
                  </a:lnTo>
                  <a:lnTo>
                    <a:pt x="0" y="822"/>
                  </a:lnTo>
                  <a:lnTo>
                    <a:pt x="0" y="816"/>
                  </a:lnTo>
                  <a:lnTo>
                    <a:pt x="0" y="810"/>
                  </a:lnTo>
                  <a:lnTo>
                    <a:pt x="6" y="804"/>
                  </a:lnTo>
                  <a:lnTo>
                    <a:pt x="12" y="804"/>
                  </a:lnTo>
                  <a:lnTo>
                    <a:pt x="12" y="798"/>
                  </a:lnTo>
                  <a:lnTo>
                    <a:pt x="12" y="792"/>
                  </a:lnTo>
                  <a:lnTo>
                    <a:pt x="6" y="792"/>
                  </a:lnTo>
                  <a:lnTo>
                    <a:pt x="6" y="786"/>
                  </a:lnTo>
                  <a:lnTo>
                    <a:pt x="6" y="780"/>
                  </a:lnTo>
                  <a:lnTo>
                    <a:pt x="18" y="780"/>
                  </a:lnTo>
                  <a:lnTo>
                    <a:pt x="18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0" y="774"/>
                  </a:lnTo>
                  <a:lnTo>
                    <a:pt x="36" y="768"/>
                  </a:lnTo>
                  <a:lnTo>
                    <a:pt x="42" y="768"/>
                  </a:lnTo>
                  <a:lnTo>
                    <a:pt x="60" y="750"/>
                  </a:lnTo>
                  <a:lnTo>
                    <a:pt x="60" y="744"/>
                  </a:lnTo>
                  <a:lnTo>
                    <a:pt x="54" y="738"/>
                  </a:lnTo>
                  <a:lnTo>
                    <a:pt x="60" y="732"/>
                  </a:lnTo>
                  <a:lnTo>
                    <a:pt x="54" y="732"/>
                  </a:lnTo>
                  <a:lnTo>
                    <a:pt x="60" y="726"/>
                  </a:lnTo>
                  <a:lnTo>
                    <a:pt x="66" y="720"/>
                  </a:lnTo>
                  <a:lnTo>
                    <a:pt x="72" y="714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84" y="696"/>
                  </a:lnTo>
                  <a:lnTo>
                    <a:pt x="90" y="684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66"/>
                  </a:lnTo>
                  <a:lnTo>
                    <a:pt x="90" y="660"/>
                  </a:lnTo>
                  <a:lnTo>
                    <a:pt x="84" y="654"/>
                  </a:lnTo>
                  <a:lnTo>
                    <a:pt x="84" y="648"/>
                  </a:lnTo>
                  <a:lnTo>
                    <a:pt x="78" y="636"/>
                  </a:lnTo>
                  <a:lnTo>
                    <a:pt x="66" y="630"/>
                  </a:lnTo>
                  <a:lnTo>
                    <a:pt x="66" y="624"/>
                  </a:lnTo>
                  <a:lnTo>
                    <a:pt x="60" y="624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60" y="600"/>
                  </a:lnTo>
                  <a:lnTo>
                    <a:pt x="66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6" y="588"/>
                  </a:lnTo>
                  <a:lnTo>
                    <a:pt x="66" y="582"/>
                  </a:lnTo>
                  <a:lnTo>
                    <a:pt x="72" y="582"/>
                  </a:lnTo>
                  <a:lnTo>
                    <a:pt x="78" y="576"/>
                  </a:lnTo>
                  <a:lnTo>
                    <a:pt x="72" y="576"/>
                  </a:lnTo>
                  <a:lnTo>
                    <a:pt x="66" y="570"/>
                  </a:lnTo>
                  <a:lnTo>
                    <a:pt x="72" y="564"/>
                  </a:lnTo>
                  <a:lnTo>
                    <a:pt x="78" y="558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90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102" y="516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0" y="504"/>
                  </a:lnTo>
                  <a:lnTo>
                    <a:pt x="120" y="498"/>
                  </a:lnTo>
                  <a:lnTo>
                    <a:pt x="120" y="492"/>
                  </a:lnTo>
                  <a:lnTo>
                    <a:pt x="126" y="480"/>
                  </a:lnTo>
                  <a:lnTo>
                    <a:pt x="132" y="474"/>
                  </a:lnTo>
                  <a:lnTo>
                    <a:pt x="132" y="468"/>
                  </a:lnTo>
                  <a:lnTo>
                    <a:pt x="138" y="462"/>
                  </a:lnTo>
                  <a:lnTo>
                    <a:pt x="138" y="456"/>
                  </a:lnTo>
                  <a:lnTo>
                    <a:pt x="138" y="450"/>
                  </a:lnTo>
                  <a:lnTo>
                    <a:pt x="144" y="444"/>
                  </a:lnTo>
                  <a:lnTo>
                    <a:pt x="162" y="438"/>
                  </a:lnTo>
                  <a:lnTo>
                    <a:pt x="186" y="438"/>
                  </a:lnTo>
                  <a:lnTo>
                    <a:pt x="210" y="444"/>
                  </a:lnTo>
                  <a:lnTo>
                    <a:pt x="276" y="450"/>
                  </a:lnTo>
                  <a:lnTo>
                    <a:pt x="342" y="450"/>
                  </a:lnTo>
                  <a:lnTo>
                    <a:pt x="348" y="450"/>
                  </a:lnTo>
                  <a:lnTo>
                    <a:pt x="354" y="450"/>
                  </a:lnTo>
                  <a:lnTo>
                    <a:pt x="360" y="456"/>
                  </a:lnTo>
                  <a:lnTo>
                    <a:pt x="354" y="462"/>
                  </a:lnTo>
                  <a:lnTo>
                    <a:pt x="354" y="468"/>
                  </a:lnTo>
                  <a:lnTo>
                    <a:pt x="354" y="474"/>
                  </a:lnTo>
                  <a:lnTo>
                    <a:pt x="348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48" y="498"/>
                  </a:lnTo>
                  <a:lnTo>
                    <a:pt x="342" y="510"/>
                  </a:lnTo>
                  <a:lnTo>
                    <a:pt x="348" y="528"/>
                  </a:lnTo>
                  <a:lnTo>
                    <a:pt x="348" y="534"/>
                  </a:lnTo>
                  <a:lnTo>
                    <a:pt x="354" y="552"/>
                  </a:lnTo>
                  <a:lnTo>
                    <a:pt x="366" y="546"/>
                  </a:lnTo>
                  <a:lnTo>
                    <a:pt x="372" y="540"/>
                  </a:lnTo>
                  <a:lnTo>
                    <a:pt x="384" y="540"/>
                  </a:lnTo>
                  <a:lnTo>
                    <a:pt x="396" y="534"/>
                  </a:lnTo>
                  <a:lnTo>
                    <a:pt x="402" y="534"/>
                  </a:lnTo>
                  <a:lnTo>
                    <a:pt x="414" y="546"/>
                  </a:lnTo>
                  <a:lnTo>
                    <a:pt x="432" y="540"/>
                  </a:lnTo>
                  <a:lnTo>
                    <a:pt x="450" y="534"/>
                  </a:lnTo>
                  <a:lnTo>
                    <a:pt x="450" y="528"/>
                  </a:lnTo>
                  <a:lnTo>
                    <a:pt x="456" y="528"/>
                  </a:lnTo>
                  <a:lnTo>
                    <a:pt x="456" y="522"/>
                  </a:lnTo>
                  <a:lnTo>
                    <a:pt x="456" y="516"/>
                  </a:lnTo>
                  <a:lnTo>
                    <a:pt x="462" y="516"/>
                  </a:lnTo>
                  <a:lnTo>
                    <a:pt x="468" y="510"/>
                  </a:lnTo>
                  <a:lnTo>
                    <a:pt x="468" y="504"/>
                  </a:lnTo>
                  <a:lnTo>
                    <a:pt x="474" y="504"/>
                  </a:lnTo>
                  <a:lnTo>
                    <a:pt x="480" y="504"/>
                  </a:lnTo>
                  <a:lnTo>
                    <a:pt x="486" y="498"/>
                  </a:lnTo>
                  <a:lnTo>
                    <a:pt x="492" y="498"/>
                  </a:lnTo>
                  <a:lnTo>
                    <a:pt x="486" y="480"/>
                  </a:lnTo>
                  <a:lnTo>
                    <a:pt x="492" y="462"/>
                  </a:lnTo>
                  <a:lnTo>
                    <a:pt x="498" y="444"/>
                  </a:lnTo>
                  <a:lnTo>
                    <a:pt x="498" y="426"/>
                  </a:lnTo>
                  <a:lnTo>
                    <a:pt x="498" y="420"/>
                  </a:lnTo>
                  <a:lnTo>
                    <a:pt x="504" y="426"/>
                  </a:lnTo>
                  <a:lnTo>
                    <a:pt x="504" y="420"/>
                  </a:lnTo>
                  <a:lnTo>
                    <a:pt x="510" y="420"/>
                  </a:lnTo>
                  <a:lnTo>
                    <a:pt x="510" y="414"/>
                  </a:lnTo>
                  <a:lnTo>
                    <a:pt x="510" y="408"/>
                  </a:lnTo>
                  <a:lnTo>
                    <a:pt x="504" y="402"/>
                  </a:lnTo>
                  <a:lnTo>
                    <a:pt x="504" y="396"/>
                  </a:lnTo>
                  <a:lnTo>
                    <a:pt x="504" y="384"/>
                  </a:lnTo>
                  <a:lnTo>
                    <a:pt x="504" y="378"/>
                  </a:lnTo>
                  <a:lnTo>
                    <a:pt x="504" y="360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510" y="348"/>
                  </a:lnTo>
                  <a:lnTo>
                    <a:pt x="510" y="336"/>
                  </a:lnTo>
                  <a:lnTo>
                    <a:pt x="516" y="330"/>
                  </a:lnTo>
                  <a:lnTo>
                    <a:pt x="522" y="324"/>
                  </a:lnTo>
                  <a:lnTo>
                    <a:pt x="528" y="318"/>
                  </a:lnTo>
                  <a:lnTo>
                    <a:pt x="534" y="312"/>
                  </a:lnTo>
                  <a:lnTo>
                    <a:pt x="534" y="300"/>
                  </a:lnTo>
                  <a:lnTo>
                    <a:pt x="540" y="294"/>
                  </a:lnTo>
                  <a:lnTo>
                    <a:pt x="546" y="288"/>
                  </a:lnTo>
                  <a:lnTo>
                    <a:pt x="552" y="276"/>
                  </a:lnTo>
                  <a:lnTo>
                    <a:pt x="558" y="264"/>
                  </a:lnTo>
                  <a:lnTo>
                    <a:pt x="558" y="258"/>
                  </a:lnTo>
                  <a:lnTo>
                    <a:pt x="558" y="252"/>
                  </a:lnTo>
                  <a:lnTo>
                    <a:pt x="558" y="246"/>
                  </a:lnTo>
                  <a:lnTo>
                    <a:pt x="564" y="246"/>
                  </a:lnTo>
                  <a:lnTo>
                    <a:pt x="564" y="240"/>
                  </a:lnTo>
                  <a:lnTo>
                    <a:pt x="570" y="234"/>
                  </a:lnTo>
                  <a:lnTo>
                    <a:pt x="564" y="216"/>
                  </a:lnTo>
                  <a:lnTo>
                    <a:pt x="564" y="210"/>
                  </a:lnTo>
                  <a:lnTo>
                    <a:pt x="570" y="210"/>
                  </a:lnTo>
                  <a:lnTo>
                    <a:pt x="570" y="204"/>
                  </a:lnTo>
                  <a:lnTo>
                    <a:pt x="570" y="198"/>
                  </a:lnTo>
                  <a:lnTo>
                    <a:pt x="582" y="180"/>
                  </a:lnTo>
                  <a:lnTo>
                    <a:pt x="582" y="174"/>
                  </a:lnTo>
                  <a:lnTo>
                    <a:pt x="582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606" y="150"/>
                  </a:lnTo>
                  <a:lnTo>
                    <a:pt x="612" y="150"/>
                  </a:lnTo>
                  <a:lnTo>
                    <a:pt x="618" y="150"/>
                  </a:lnTo>
                  <a:lnTo>
                    <a:pt x="624" y="138"/>
                  </a:lnTo>
                  <a:lnTo>
                    <a:pt x="618" y="132"/>
                  </a:lnTo>
                  <a:lnTo>
                    <a:pt x="618" y="126"/>
                  </a:lnTo>
                  <a:lnTo>
                    <a:pt x="618" y="120"/>
                  </a:lnTo>
                  <a:lnTo>
                    <a:pt x="618" y="114"/>
                  </a:lnTo>
                  <a:lnTo>
                    <a:pt x="612" y="108"/>
                  </a:lnTo>
                  <a:lnTo>
                    <a:pt x="612" y="102"/>
                  </a:lnTo>
                  <a:lnTo>
                    <a:pt x="618" y="90"/>
                  </a:lnTo>
                  <a:lnTo>
                    <a:pt x="624" y="84"/>
                  </a:lnTo>
                  <a:lnTo>
                    <a:pt x="618" y="84"/>
                  </a:lnTo>
                  <a:lnTo>
                    <a:pt x="618" y="78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0" y="72"/>
                  </a:lnTo>
                  <a:lnTo>
                    <a:pt x="600" y="66"/>
                  </a:lnTo>
                  <a:lnTo>
                    <a:pt x="600" y="60"/>
                  </a:lnTo>
                  <a:lnTo>
                    <a:pt x="600" y="48"/>
                  </a:lnTo>
                  <a:lnTo>
                    <a:pt x="612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36"/>
                  </a:lnTo>
                  <a:lnTo>
                    <a:pt x="630" y="30"/>
                  </a:lnTo>
                  <a:lnTo>
                    <a:pt x="636" y="24"/>
                  </a:lnTo>
                  <a:lnTo>
                    <a:pt x="642" y="24"/>
                  </a:lnTo>
                  <a:lnTo>
                    <a:pt x="648" y="24"/>
                  </a:lnTo>
                  <a:lnTo>
                    <a:pt x="648" y="18"/>
                  </a:lnTo>
                  <a:lnTo>
                    <a:pt x="654" y="12"/>
                  </a:lnTo>
                  <a:lnTo>
                    <a:pt x="660" y="0"/>
                  </a:lnTo>
                  <a:lnTo>
                    <a:pt x="678" y="0"/>
                  </a:lnTo>
                  <a:lnTo>
                    <a:pt x="696" y="0"/>
                  </a:lnTo>
                  <a:lnTo>
                    <a:pt x="702" y="0"/>
                  </a:lnTo>
                  <a:lnTo>
                    <a:pt x="714" y="0"/>
                  </a:lnTo>
                  <a:lnTo>
                    <a:pt x="720" y="6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44" y="24"/>
                  </a:lnTo>
                  <a:lnTo>
                    <a:pt x="744" y="30"/>
                  </a:lnTo>
                  <a:lnTo>
                    <a:pt x="732" y="42"/>
                  </a:lnTo>
                  <a:lnTo>
                    <a:pt x="726" y="42"/>
                  </a:lnTo>
                  <a:lnTo>
                    <a:pt x="720" y="42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54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90"/>
                  </a:lnTo>
                  <a:lnTo>
                    <a:pt x="726" y="84"/>
                  </a:lnTo>
                  <a:lnTo>
                    <a:pt x="738" y="84"/>
                  </a:lnTo>
                  <a:lnTo>
                    <a:pt x="750" y="96"/>
                  </a:lnTo>
                  <a:lnTo>
                    <a:pt x="768" y="96"/>
                  </a:lnTo>
                  <a:lnTo>
                    <a:pt x="768" y="90"/>
                  </a:lnTo>
                  <a:lnTo>
                    <a:pt x="774" y="84"/>
                  </a:lnTo>
                  <a:lnTo>
                    <a:pt x="780" y="78"/>
                  </a:lnTo>
                  <a:lnTo>
                    <a:pt x="786" y="78"/>
                  </a:lnTo>
                  <a:lnTo>
                    <a:pt x="792" y="72"/>
                  </a:lnTo>
                  <a:lnTo>
                    <a:pt x="804" y="72"/>
                  </a:lnTo>
                  <a:lnTo>
                    <a:pt x="804" y="66"/>
                  </a:lnTo>
                  <a:lnTo>
                    <a:pt x="810" y="66"/>
                  </a:lnTo>
                  <a:lnTo>
                    <a:pt x="810" y="72"/>
                  </a:lnTo>
                  <a:lnTo>
                    <a:pt x="816" y="66"/>
                  </a:lnTo>
                  <a:lnTo>
                    <a:pt x="828" y="66"/>
                  </a:lnTo>
                  <a:lnTo>
                    <a:pt x="834" y="72"/>
                  </a:lnTo>
                  <a:lnTo>
                    <a:pt x="840" y="72"/>
                  </a:lnTo>
                  <a:lnTo>
                    <a:pt x="840" y="78"/>
                  </a:lnTo>
                  <a:lnTo>
                    <a:pt x="840" y="84"/>
                  </a:lnTo>
                  <a:lnTo>
                    <a:pt x="852" y="84"/>
                  </a:lnTo>
                  <a:lnTo>
                    <a:pt x="858" y="96"/>
                  </a:lnTo>
                  <a:lnTo>
                    <a:pt x="864" y="108"/>
                  </a:lnTo>
                  <a:lnTo>
                    <a:pt x="876" y="114"/>
                  </a:lnTo>
                  <a:lnTo>
                    <a:pt x="894" y="114"/>
                  </a:lnTo>
                  <a:lnTo>
                    <a:pt x="906" y="114"/>
                  </a:lnTo>
                  <a:lnTo>
                    <a:pt x="906" y="126"/>
                  </a:lnTo>
                  <a:lnTo>
                    <a:pt x="912" y="144"/>
                  </a:lnTo>
                  <a:lnTo>
                    <a:pt x="930" y="138"/>
                  </a:lnTo>
                  <a:lnTo>
                    <a:pt x="936" y="138"/>
                  </a:lnTo>
                  <a:lnTo>
                    <a:pt x="942" y="144"/>
                  </a:lnTo>
                  <a:lnTo>
                    <a:pt x="948" y="150"/>
                  </a:lnTo>
                  <a:lnTo>
                    <a:pt x="954" y="156"/>
                  </a:lnTo>
                  <a:lnTo>
                    <a:pt x="954" y="168"/>
                  </a:lnTo>
                  <a:lnTo>
                    <a:pt x="954" y="174"/>
                  </a:lnTo>
                  <a:lnTo>
                    <a:pt x="960" y="180"/>
                  </a:lnTo>
                  <a:lnTo>
                    <a:pt x="966" y="186"/>
                  </a:lnTo>
                  <a:lnTo>
                    <a:pt x="960" y="186"/>
                  </a:lnTo>
                  <a:lnTo>
                    <a:pt x="966" y="192"/>
                  </a:lnTo>
                  <a:lnTo>
                    <a:pt x="966" y="198"/>
                  </a:lnTo>
                  <a:lnTo>
                    <a:pt x="978" y="204"/>
                  </a:lnTo>
                  <a:lnTo>
                    <a:pt x="1050" y="186"/>
                  </a:lnTo>
                  <a:lnTo>
                    <a:pt x="1056" y="198"/>
                  </a:lnTo>
                  <a:lnTo>
                    <a:pt x="1068" y="210"/>
                  </a:lnTo>
                  <a:lnTo>
                    <a:pt x="1074" y="216"/>
                  </a:lnTo>
                  <a:lnTo>
                    <a:pt x="1080" y="252"/>
                  </a:lnTo>
                  <a:lnTo>
                    <a:pt x="1086" y="270"/>
                  </a:lnTo>
                  <a:lnTo>
                    <a:pt x="1092" y="282"/>
                  </a:lnTo>
                  <a:lnTo>
                    <a:pt x="1086" y="300"/>
                  </a:lnTo>
                  <a:lnTo>
                    <a:pt x="1074" y="330"/>
                  </a:lnTo>
                  <a:lnTo>
                    <a:pt x="1068" y="336"/>
                  </a:lnTo>
                  <a:lnTo>
                    <a:pt x="1062" y="348"/>
                  </a:lnTo>
                  <a:lnTo>
                    <a:pt x="1062" y="360"/>
                  </a:lnTo>
                  <a:lnTo>
                    <a:pt x="1068" y="378"/>
                  </a:lnTo>
                  <a:lnTo>
                    <a:pt x="1074" y="390"/>
                  </a:lnTo>
                  <a:lnTo>
                    <a:pt x="1068" y="396"/>
                  </a:lnTo>
                  <a:lnTo>
                    <a:pt x="1068" y="408"/>
                  </a:lnTo>
                  <a:lnTo>
                    <a:pt x="1062" y="414"/>
                  </a:lnTo>
                  <a:lnTo>
                    <a:pt x="1050" y="432"/>
                  </a:lnTo>
                  <a:lnTo>
                    <a:pt x="1044" y="450"/>
                  </a:lnTo>
                  <a:lnTo>
                    <a:pt x="1038" y="456"/>
                  </a:lnTo>
                  <a:lnTo>
                    <a:pt x="1026" y="468"/>
                  </a:lnTo>
                  <a:lnTo>
                    <a:pt x="1026" y="474"/>
                  </a:lnTo>
                  <a:lnTo>
                    <a:pt x="1026" y="480"/>
                  </a:lnTo>
                  <a:lnTo>
                    <a:pt x="1032" y="492"/>
                  </a:lnTo>
                  <a:lnTo>
                    <a:pt x="1044" y="504"/>
                  </a:lnTo>
                  <a:lnTo>
                    <a:pt x="1044" y="516"/>
                  </a:lnTo>
                  <a:lnTo>
                    <a:pt x="1038" y="528"/>
                  </a:lnTo>
                  <a:lnTo>
                    <a:pt x="1032" y="546"/>
                  </a:lnTo>
                  <a:lnTo>
                    <a:pt x="1032" y="570"/>
                  </a:lnTo>
                  <a:lnTo>
                    <a:pt x="1050" y="594"/>
                  </a:lnTo>
                  <a:lnTo>
                    <a:pt x="1056" y="624"/>
                  </a:lnTo>
                  <a:lnTo>
                    <a:pt x="1056" y="65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9" name="Freeform 24">
              <a:extLst>
                <a:ext uri="{FF2B5EF4-FFF2-40B4-BE49-F238E27FC236}">
                  <a16:creationId xmlns:a16="http://schemas.microsoft.com/office/drawing/2014/main" id="{CAE689DA-332A-4F73-BDE6-8865C9170AA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84829" y="3213406"/>
              <a:ext cx="851989" cy="744754"/>
            </a:xfrm>
            <a:custGeom>
              <a:avLst/>
              <a:gdLst>
                <a:gd name="T0" fmla="*/ 116 w 1602"/>
                <a:gd name="T1" fmla="*/ 91 h 1404"/>
                <a:gd name="T2" fmla="*/ 111 w 1602"/>
                <a:gd name="T3" fmla="*/ 95 h 1404"/>
                <a:gd name="T4" fmla="*/ 102 w 1602"/>
                <a:gd name="T5" fmla="*/ 101 h 1404"/>
                <a:gd name="T6" fmla="*/ 99 w 1602"/>
                <a:gd name="T7" fmla="*/ 103 h 1404"/>
                <a:gd name="T8" fmla="*/ 96 w 1602"/>
                <a:gd name="T9" fmla="*/ 106 h 1404"/>
                <a:gd name="T10" fmla="*/ 93 w 1602"/>
                <a:gd name="T11" fmla="*/ 108 h 1404"/>
                <a:gd name="T12" fmla="*/ 88 w 1602"/>
                <a:gd name="T13" fmla="*/ 106 h 1404"/>
                <a:gd name="T14" fmla="*/ 86 w 1602"/>
                <a:gd name="T15" fmla="*/ 108 h 1404"/>
                <a:gd name="T16" fmla="*/ 81 w 1602"/>
                <a:gd name="T17" fmla="*/ 119 h 1404"/>
                <a:gd name="T18" fmla="*/ 71 w 1602"/>
                <a:gd name="T19" fmla="*/ 109 h 1404"/>
                <a:gd name="T20" fmla="*/ 72 w 1602"/>
                <a:gd name="T21" fmla="*/ 101 h 1404"/>
                <a:gd name="T22" fmla="*/ 74 w 1602"/>
                <a:gd name="T23" fmla="*/ 93 h 1404"/>
                <a:gd name="T24" fmla="*/ 73 w 1602"/>
                <a:gd name="T25" fmla="*/ 82 h 1404"/>
                <a:gd name="T26" fmla="*/ 64 w 1602"/>
                <a:gd name="T27" fmla="*/ 79 h 1404"/>
                <a:gd name="T28" fmla="*/ 59 w 1602"/>
                <a:gd name="T29" fmla="*/ 75 h 1404"/>
                <a:gd name="T30" fmla="*/ 54 w 1602"/>
                <a:gd name="T31" fmla="*/ 71 h 1404"/>
                <a:gd name="T32" fmla="*/ 51 w 1602"/>
                <a:gd name="T33" fmla="*/ 70 h 1404"/>
                <a:gd name="T34" fmla="*/ 45 w 1602"/>
                <a:gd name="T35" fmla="*/ 71 h 1404"/>
                <a:gd name="T36" fmla="*/ 43 w 1602"/>
                <a:gd name="T37" fmla="*/ 68 h 1404"/>
                <a:gd name="T38" fmla="*/ 43 w 1602"/>
                <a:gd name="T39" fmla="*/ 64 h 1404"/>
                <a:gd name="T40" fmla="*/ 36 w 1602"/>
                <a:gd name="T41" fmla="*/ 66 h 1404"/>
                <a:gd name="T42" fmla="*/ 31 w 1602"/>
                <a:gd name="T43" fmla="*/ 55 h 1404"/>
                <a:gd name="T44" fmla="*/ 25 w 1602"/>
                <a:gd name="T45" fmla="*/ 53 h 1404"/>
                <a:gd name="T46" fmla="*/ 19 w 1602"/>
                <a:gd name="T47" fmla="*/ 51 h 1404"/>
                <a:gd name="T48" fmla="*/ 17 w 1602"/>
                <a:gd name="T49" fmla="*/ 43 h 1404"/>
                <a:gd name="T50" fmla="*/ 17 w 1602"/>
                <a:gd name="T51" fmla="*/ 39 h 1404"/>
                <a:gd name="T52" fmla="*/ 12 w 1602"/>
                <a:gd name="T53" fmla="*/ 39 h 1404"/>
                <a:gd name="T54" fmla="*/ 10 w 1602"/>
                <a:gd name="T55" fmla="*/ 35 h 1404"/>
                <a:gd name="T56" fmla="*/ 5 w 1602"/>
                <a:gd name="T57" fmla="*/ 30 h 1404"/>
                <a:gd name="T58" fmla="*/ 3 w 1602"/>
                <a:gd name="T59" fmla="*/ 27 h 1404"/>
                <a:gd name="T60" fmla="*/ 2 w 1602"/>
                <a:gd name="T61" fmla="*/ 25 h 1404"/>
                <a:gd name="T62" fmla="*/ 0 w 1602"/>
                <a:gd name="T63" fmla="*/ 22 h 1404"/>
                <a:gd name="T64" fmla="*/ 8 w 1602"/>
                <a:gd name="T65" fmla="*/ 14 h 1404"/>
                <a:gd name="T66" fmla="*/ 16 w 1602"/>
                <a:gd name="T67" fmla="*/ 16 h 1404"/>
                <a:gd name="T68" fmla="*/ 31 w 1602"/>
                <a:gd name="T69" fmla="*/ 18 h 1404"/>
                <a:gd name="T70" fmla="*/ 43 w 1602"/>
                <a:gd name="T71" fmla="*/ 17 h 1404"/>
                <a:gd name="T72" fmla="*/ 47 w 1602"/>
                <a:gd name="T73" fmla="*/ 6 h 1404"/>
                <a:gd name="T74" fmla="*/ 52 w 1602"/>
                <a:gd name="T75" fmla="*/ 0 h 1404"/>
                <a:gd name="T76" fmla="*/ 55 w 1602"/>
                <a:gd name="T77" fmla="*/ 3 h 1404"/>
                <a:gd name="T78" fmla="*/ 59 w 1602"/>
                <a:gd name="T79" fmla="*/ 9 h 1404"/>
                <a:gd name="T80" fmla="*/ 62 w 1602"/>
                <a:gd name="T81" fmla="*/ 16 h 1404"/>
                <a:gd name="T82" fmla="*/ 66 w 1602"/>
                <a:gd name="T83" fmla="*/ 20 h 1404"/>
                <a:gd name="T84" fmla="*/ 70 w 1602"/>
                <a:gd name="T85" fmla="*/ 25 h 1404"/>
                <a:gd name="T86" fmla="*/ 74 w 1602"/>
                <a:gd name="T87" fmla="*/ 30 h 1404"/>
                <a:gd name="T88" fmla="*/ 76 w 1602"/>
                <a:gd name="T89" fmla="*/ 27 h 1404"/>
                <a:gd name="T90" fmla="*/ 78 w 1602"/>
                <a:gd name="T91" fmla="*/ 27 h 1404"/>
                <a:gd name="T92" fmla="*/ 78 w 1602"/>
                <a:gd name="T93" fmla="*/ 23 h 1404"/>
                <a:gd name="T94" fmla="*/ 82 w 1602"/>
                <a:gd name="T95" fmla="*/ 20 h 1404"/>
                <a:gd name="T96" fmla="*/ 82 w 1602"/>
                <a:gd name="T97" fmla="*/ 18 h 1404"/>
                <a:gd name="T98" fmla="*/ 90 w 1602"/>
                <a:gd name="T99" fmla="*/ 24 h 1404"/>
                <a:gd name="T100" fmla="*/ 90 w 1602"/>
                <a:gd name="T101" fmla="*/ 45 h 1404"/>
                <a:gd name="T102" fmla="*/ 104 w 1602"/>
                <a:gd name="T103" fmla="*/ 41 h 1404"/>
                <a:gd name="T104" fmla="*/ 117 w 1602"/>
                <a:gd name="T105" fmla="*/ 39 h 1404"/>
                <a:gd name="T106" fmla="*/ 125 w 1602"/>
                <a:gd name="T107" fmla="*/ 39 h 1404"/>
                <a:gd name="T108" fmla="*/ 127 w 1602"/>
                <a:gd name="T109" fmla="*/ 43 h 1404"/>
                <a:gd name="T110" fmla="*/ 131 w 1602"/>
                <a:gd name="T111" fmla="*/ 53 h 1404"/>
                <a:gd name="T112" fmla="*/ 133 w 1602"/>
                <a:gd name="T113" fmla="*/ 60 h 1404"/>
                <a:gd name="T114" fmla="*/ 138 w 1602"/>
                <a:gd name="T115" fmla="*/ 73 h 1404"/>
                <a:gd name="T116" fmla="*/ 136 w 1602"/>
                <a:gd name="T117" fmla="*/ 80 h 1404"/>
                <a:gd name="T118" fmla="*/ 129 w 1602"/>
                <a:gd name="T119" fmla="*/ 87 h 1404"/>
                <a:gd name="T120" fmla="*/ 123 w 1602"/>
                <a:gd name="T121" fmla="*/ 95 h 14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02"/>
                <a:gd name="T184" fmla="*/ 0 h 1404"/>
                <a:gd name="T185" fmla="*/ 1602 w 1602"/>
                <a:gd name="T186" fmla="*/ 1404 h 14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02" h="1404">
                  <a:moveTo>
                    <a:pt x="1392" y="1080"/>
                  </a:moveTo>
                  <a:lnTo>
                    <a:pt x="1380" y="1074"/>
                  </a:lnTo>
                  <a:lnTo>
                    <a:pt x="1368" y="1056"/>
                  </a:lnTo>
                  <a:lnTo>
                    <a:pt x="1356" y="1044"/>
                  </a:lnTo>
                  <a:lnTo>
                    <a:pt x="1344" y="1038"/>
                  </a:lnTo>
                  <a:lnTo>
                    <a:pt x="1338" y="1038"/>
                  </a:lnTo>
                  <a:lnTo>
                    <a:pt x="1332" y="1038"/>
                  </a:lnTo>
                  <a:lnTo>
                    <a:pt x="1326" y="1044"/>
                  </a:lnTo>
                  <a:lnTo>
                    <a:pt x="1320" y="1044"/>
                  </a:lnTo>
                  <a:lnTo>
                    <a:pt x="1314" y="1044"/>
                  </a:lnTo>
                  <a:lnTo>
                    <a:pt x="1296" y="1056"/>
                  </a:lnTo>
                  <a:lnTo>
                    <a:pt x="1296" y="1080"/>
                  </a:lnTo>
                  <a:lnTo>
                    <a:pt x="1290" y="1080"/>
                  </a:lnTo>
                  <a:lnTo>
                    <a:pt x="1284" y="1086"/>
                  </a:lnTo>
                  <a:lnTo>
                    <a:pt x="1278" y="1086"/>
                  </a:lnTo>
                  <a:lnTo>
                    <a:pt x="1278" y="1092"/>
                  </a:lnTo>
                  <a:lnTo>
                    <a:pt x="1272" y="1092"/>
                  </a:lnTo>
                  <a:lnTo>
                    <a:pt x="1266" y="1086"/>
                  </a:lnTo>
                  <a:lnTo>
                    <a:pt x="1260" y="1086"/>
                  </a:lnTo>
                  <a:lnTo>
                    <a:pt x="1260" y="1098"/>
                  </a:lnTo>
                  <a:lnTo>
                    <a:pt x="1248" y="1098"/>
                  </a:lnTo>
                  <a:lnTo>
                    <a:pt x="1212" y="1116"/>
                  </a:lnTo>
                  <a:lnTo>
                    <a:pt x="1206" y="1158"/>
                  </a:lnTo>
                  <a:lnTo>
                    <a:pt x="1176" y="1164"/>
                  </a:lnTo>
                  <a:lnTo>
                    <a:pt x="1158" y="1164"/>
                  </a:lnTo>
                  <a:lnTo>
                    <a:pt x="1152" y="1164"/>
                  </a:lnTo>
                  <a:lnTo>
                    <a:pt x="1152" y="1170"/>
                  </a:lnTo>
                  <a:lnTo>
                    <a:pt x="1152" y="1176"/>
                  </a:lnTo>
                  <a:lnTo>
                    <a:pt x="1146" y="1176"/>
                  </a:lnTo>
                  <a:lnTo>
                    <a:pt x="1140" y="1176"/>
                  </a:lnTo>
                  <a:lnTo>
                    <a:pt x="1134" y="1182"/>
                  </a:lnTo>
                  <a:lnTo>
                    <a:pt x="1134" y="1188"/>
                  </a:lnTo>
                  <a:lnTo>
                    <a:pt x="1128" y="1194"/>
                  </a:lnTo>
                  <a:lnTo>
                    <a:pt x="1122" y="1194"/>
                  </a:lnTo>
                  <a:lnTo>
                    <a:pt x="1116" y="1194"/>
                  </a:lnTo>
                  <a:lnTo>
                    <a:pt x="1110" y="1200"/>
                  </a:lnTo>
                  <a:lnTo>
                    <a:pt x="1110" y="1206"/>
                  </a:lnTo>
                  <a:lnTo>
                    <a:pt x="1104" y="1212"/>
                  </a:lnTo>
                  <a:lnTo>
                    <a:pt x="1104" y="1218"/>
                  </a:lnTo>
                  <a:lnTo>
                    <a:pt x="1098" y="1224"/>
                  </a:lnTo>
                  <a:lnTo>
                    <a:pt x="1092" y="1230"/>
                  </a:lnTo>
                  <a:lnTo>
                    <a:pt x="1086" y="1230"/>
                  </a:lnTo>
                  <a:lnTo>
                    <a:pt x="1080" y="1230"/>
                  </a:lnTo>
                  <a:lnTo>
                    <a:pt x="1080" y="1242"/>
                  </a:lnTo>
                  <a:lnTo>
                    <a:pt x="1074" y="1242"/>
                  </a:lnTo>
                  <a:lnTo>
                    <a:pt x="1068" y="1242"/>
                  </a:lnTo>
                  <a:lnTo>
                    <a:pt x="1068" y="1236"/>
                  </a:lnTo>
                  <a:lnTo>
                    <a:pt x="1062" y="1242"/>
                  </a:lnTo>
                  <a:lnTo>
                    <a:pt x="1056" y="1236"/>
                  </a:lnTo>
                  <a:lnTo>
                    <a:pt x="1050" y="1242"/>
                  </a:lnTo>
                  <a:lnTo>
                    <a:pt x="1050" y="1236"/>
                  </a:lnTo>
                  <a:lnTo>
                    <a:pt x="1044" y="1194"/>
                  </a:lnTo>
                  <a:lnTo>
                    <a:pt x="1032" y="1194"/>
                  </a:lnTo>
                  <a:lnTo>
                    <a:pt x="1032" y="1200"/>
                  </a:lnTo>
                  <a:lnTo>
                    <a:pt x="1026" y="1200"/>
                  </a:lnTo>
                  <a:lnTo>
                    <a:pt x="1014" y="1218"/>
                  </a:lnTo>
                  <a:lnTo>
                    <a:pt x="1014" y="1224"/>
                  </a:lnTo>
                  <a:lnTo>
                    <a:pt x="1014" y="1236"/>
                  </a:lnTo>
                  <a:lnTo>
                    <a:pt x="1014" y="1242"/>
                  </a:lnTo>
                  <a:lnTo>
                    <a:pt x="1008" y="1242"/>
                  </a:lnTo>
                  <a:lnTo>
                    <a:pt x="1002" y="1236"/>
                  </a:lnTo>
                  <a:lnTo>
                    <a:pt x="1002" y="1230"/>
                  </a:lnTo>
                  <a:lnTo>
                    <a:pt x="996" y="1236"/>
                  </a:lnTo>
                  <a:lnTo>
                    <a:pt x="990" y="1236"/>
                  </a:lnTo>
                  <a:lnTo>
                    <a:pt x="990" y="1230"/>
                  </a:lnTo>
                  <a:lnTo>
                    <a:pt x="984" y="1236"/>
                  </a:lnTo>
                  <a:lnTo>
                    <a:pt x="978" y="1248"/>
                  </a:lnTo>
                  <a:lnTo>
                    <a:pt x="972" y="1254"/>
                  </a:lnTo>
                  <a:lnTo>
                    <a:pt x="966" y="1260"/>
                  </a:lnTo>
                  <a:lnTo>
                    <a:pt x="930" y="1284"/>
                  </a:lnTo>
                  <a:lnTo>
                    <a:pt x="942" y="1356"/>
                  </a:lnTo>
                  <a:lnTo>
                    <a:pt x="930" y="1368"/>
                  </a:lnTo>
                  <a:lnTo>
                    <a:pt x="852" y="1404"/>
                  </a:lnTo>
                  <a:lnTo>
                    <a:pt x="834" y="1392"/>
                  </a:lnTo>
                  <a:lnTo>
                    <a:pt x="834" y="1362"/>
                  </a:lnTo>
                  <a:lnTo>
                    <a:pt x="828" y="1332"/>
                  </a:lnTo>
                  <a:lnTo>
                    <a:pt x="810" y="1308"/>
                  </a:lnTo>
                  <a:lnTo>
                    <a:pt x="810" y="1284"/>
                  </a:lnTo>
                  <a:lnTo>
                    <a:pt x="816" y="1266"/>
                  </a:lnTo>
                  <a:lnTo>
                    <a:pt x="822" y="1254"/>
                  </a:lnTo>
                  <a:lnTo>
                    <a:pt x="822" y="1242"/>
                  </a:lnTo>
                  <a:lnTo>
                    <a:pt x="810" y="1230"/>
                  </a:lnTo>
                  <a:lnTo>
                    <a:pt x="804" y="1218"/>
                  </a:lnTo>
                  <a:lnTo>
                    <a:pt x="804" y="1212"/>
                  </a:lnTo>
                  <a:lnTo>
                    <a:pt x="804" y="1206"/>
                  </a:lnTo>
                  <a:lnTo>
                    <a:pt x="816" y="1194"/>
                  </a:lnTo>
                  <a:lnTo>
                    <a:pt x="822" y="1188"/>
                  </a:lnTo>
                  <a:lnTo>
                    <a:pt x="828" y="1170"/>
                  </a:lnTo>
                  <a:lnTo>
                    <a:pt x="840" y="1152"/>
                  </a:lnTo>
                  <a:lnTo>
                    <a:pt x="846" y="1146"/>
                  </a:lnTo>
                  <a:lnTo>
                    <a:pt x="846" y="1134"/>
                  </a:lnTo>
                  <a:lnTo>
                    <a:pt x="852" y="1128"/>
                  </a:lnTo>
                  <a:lnTo>
                    <a:pt x="846" y="1116"/>
                  </a:lnTo>
                  <a:lnTo>
                    <a:pt x="840" y="1098"/>
                  </a:lnTo>
                  <a:lnTo>
                    <a:pt x="840" y="1086"/>
                  </a:lnTo>
                  <a:lnTo>
                    <a:pt x="846" y="1074"/>
                  </a:lnTo>
                  <a:lnTo>
                    <a:pt x="852" y="1068"/>
                  </a:lnTo>
                  <a:lnTo>
                    <a:pt x="864" y="1038"/>
                  </a:lnTo>
                  <a:lnTo>
                    <a:pt x="870" y="1020"/>
                  </a:lnTo>
                  <a:lnTo>
                    <a:pt x="864" y="1008"/>
                  </a:lnTo>
                  <a:lnTo>
                    <a:pt x="858" y="990"/>
                  </a:lnTo>
                  <a:lnTo>
                    <a:pt x="852" y="954"/>
                  </a:lnTo>
                  <a:lnTo>
                    <a:pt x="846" y="948"/>
                  </a:lnTo>
                  <a:lnTo>
                    <a:pt x="834" y="936"/>
                  </a:lnTo>
                  <a:lnTo>
                    <a:pt x="828" y="924"/>
                  </a:lnTo>
                  <a:lnTo>
                    <a:pt x="756" y="942"/>
                  </a:lnTo>
                  <a:lnTo>
                    <a:pt x="744" y="936"/>
                  </a:lnTo>
                  <a:lnTo>
                    <a:pt x="744" y="930"/>
                  </a:lnTo>
                  <a:lnTo>
                    <a:pt x="738" y="924"/>
                  </a:lnTo>
                  <a:lnTo>
                    <a:pt x="744" y="924"/>
                  </a:lnTo>
                  <a:lnTo>
                    <a:pt x="738" y="918"/>
                  </a:lnTo>
                  <a:lnTo>
                    <a:pt x="732" y="912"/>
                  </a:lnTo>
                  <a:lnTo>
                    <a:pt x="732" y="906"/>
                  </a:lnTo>
                  <a:lnTo>
                    <a:pt x="732" y="894"/>
                  </a:lnTo>
                  <a:lnTo>
                    <a:pt x="726" y="888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6"/>
                  </a:lnTo>
                  <a:lnTo>
                    <a:pt x="690" y="882"/>
                  </a:lnTo>
                  <a:lnTo>
                    <a:pt x="684" y="864"/>
                  </a:lnTo>
                  <a:lnTo>
                    <a:pt x="684" y="852"/>
                  </a:lnTo>
                  <a:lnTo>
                    <a:pt x="672" y="852"/>
                  </a:lnTo>
                  <a:lnTo>
                    <a:pt x="654" y="852"/>
                  </a:lnTo>
                  <a:lnTo>
                    <a:pt x="642" y="846"/>
                  </a:lnTo>
                  <a:lnTo>
                    <a:pt x="636" y="834"/>
                  </a:lnTo>
                  <a:lnTo>
                    <a:pt x="630" y="822"/>
                  </a:lnTo>
                  <a:lnTo>
                    <a:pt x="618" y="822"/>
                  </a:lnTo>
                  <a:lnTo>
                    <a:pt x="618" y="816"/>
                  </a:lnTo>
                  <a:lnTo>
                    <a:pt x="618" y="810"/>
                  </a:lnTo>
                  <a:lnTo>
                    <a:pt x="612" y="810"/>
                  </a:lnTo>
                  <a:lnTo>
                    <a:pt x="606" y="804"/>
                  </a:lnTo>
                  <a:lnTo>
                    <a:pt x="594" y="804"/>
                  </a:lnTo>
                  <a:lnTo>
                    <a:pt x="588" y="810"/>
                  </a:lnTo>
                  <a:lnTo>
                    <a:pt x="588" y="804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70" y="810"/>
                  </a:lnTo>
                  <a:lnTo>
                    <a:pt x="564" y="816"/>
                  </a:lnTo>
                  <a:lnTo>
                    <a:pt x="558" y="816"/>
                  </a:lnTo>
                  <a:lnTo>
                    <a:pt x="552" y="822"/>
                  </a:lnTo>
                  <a:lnTo>
                    <a:pt x="546" y="828"/>
                  </a:lnTo>
                  <a:lnTo>
                    <a:pt x="546" y="834"/>
                  </a:lnTo>
                  <a:lnTo>
                    <a:pt x="528" y="834"/>
                  </a:lnTo>
                  <a:lnTo>
                    <a:pt x="516" y="822"/>
                  </a:lnTo>
                  <a:lnTo>
                    <a:pt x="504" y="822"/>
                  </a:lnTo>
                  <a:lnTo>
                    <a:pt x="492" y="82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6" y="792"/>
                  </a:lnTo>
                  <a:lnTo>
                    <a:pt x="492" y="786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504" y="780"/>
                  </a:lnTo>
                  <a:lnTo>
                    <a:pt x="510" y="780"/>
                  </a:lnTo>
                  <a:lnTo>
                    <a:pt x="522" y="768"/>
                  </a:lnTo>
                  <a:lnTo>
                    <a:pt x="522" y="762"/>
                  </a:lnTo>
                  <a:lnTo>
                    <a:pt x="504" y="756"/>
                  </a:lnTo>
                  <a:lnTo>
                    <a:pt x="498" y="756"/>
                  </a:lnTo>
                  <a:lnTo>
                    <a:pt x="498" y="744"/>
                  </a:lnTo>
                  <a:lnTo>
                    <a:pt x="492" y="738"/>
                  </a:lnTo>
                  <a:lnTo>
                    <a:pt x="480" y="738"/>
                  </a:lnTo>
                  <a:lnTo>
                    <a:pt x="474" y="738"/>
                  </a:lnTo>
                  <a:lnTo>
                    <a:pt x="456" y="738"/>
                  </a:lnTo>
                  <a:lnTo>
                    <a:pt x="438" y="738"/>
                  </a:lnTo>
                  <a:lnTo>
                    <a:pt x="432" y="750"/>
                  </a:lnTo>
                  <a:lnTo>
                    <a:pt x="426" y="756"/>
                  </a:lnTo>
                  <a:lnTo>
                    <a:pt x="426" y="762"/>
                  </a:lnTo>
                  <a:lnTo>
                    <a:pt x="420" y="762"/>
                  </a:lnTo>
                  <a:lnTo>
                    <a:pt x="408" y="744"/>
                  </a:lnTo>
                  <a:lnTo>
                    <a:pt x="408" y="732"/>
                  </a:lnTo>
                  <a:lnTo>
                    <a:pt x="390" y="714"/>
                  </a:lnTo>
                  <a:lnTo>
                    <a:pt x="384" y="702"/>
                  </a:lnTo>
                  <a:lnTo>
                    <a:pt x="384" y="690"/>
                  </a:lnTo>
                  <a:lnTo>
                    <a:pt x="372" y="690"/>
                  </a:lnTo>
                  <a:lnTo>
                    <a:pt x="366" y="660"/>
                  </a:lnTo>
                  <a:lnTo>
                    <a:pt x="354" y="630"/>
                  </a:lnTo>
                  <a:lnTo>
                    <a:pt x="348" y="630"/>
                  </a:lnTo>
                  <a:lnTo>
                    <a:pt x="336" y="630"/>
                  </a:lnTo>
                  <a:lnTo>
                    <a:pt x="330" y="630"/>
                  </a:lnTo>
                  <a:lnTo>
                    <a:pt x="318" y="630"/>
                  </a:lnTo>
                  <a:lnTo>
                    <a:pt x="312" y="624"/>
                  </a:lnTo>
                  <a:lnTo>
                    <a:pt x="306" y="624"/>
                  </a:lnTo>
                  <a:lnTo>
                    <a:pt x="294" y="618"/>
                  </a:lnTo>
                  <a:lnTo>
                    <a:pt x="288" y="612"/>
                  </a:lnTo>
                  <a:lnTo>
                    <a:pt x="276" y="600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58" y="588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8"/>
                  </a:lnTo>
                  <a:lnTo>
                    <a:pt x="216" y="582"/>
                  </a:lnTo>
                  <a:lnTo>
                    <a:pt x="210" y="588"/>
                  </a:lnTo>
                  <a:lnTo>
                    <a:pt x="198" y="582"/>
                  </a:lnTo>
                  <a:lnTo>
                    <a:pt x="180" y="582"/>
                  </a:lnTo>
                  <a:lnTo>
                    <a:pt x="174" y="552"/>
                  </a:lnTo>
                  <a:lnTo>
                    <a:pt x="168" y="504"/>
                  </a:lnTo>
                  <a:lnTo>
                    <a:pt x="186" y="504"/>
                  </a:lnTo>
                  <a:lnTo>
                    <a:pt x="192" y="504"/>
                  </a:lnTo>
                  <a:lnTo>
                    <a:pt x="192" y="498"/>
                  </a:lnTo>
                  <a:lnTo>
                    <a:pt x="192" y="492"/>
                  </a:lnTo>
                  <a:lnTo>
                    <a:pt x="192" y="486"/>
                  </a:lnTo>
                  <a:lnTo>
                    <a:pt x="198" y="486"/>
                  </a:lnTo>
                  <a:lnTo>
                    <a:pt x="198" y="480"/>
                  </a:lnTo>
                  <a:lnTo>
                    <a:pt x="204" y="474"/>
                  </a:lnTo>
                  <a:lnTo>
                    <a:pt x="210" y="468"/>
                  </a:lnTo>
                  <a:lnTo>
                    <a:pt x="198" y="462"/>
                  </a:lnTo>
                  <a:lnTo>
                    <a:pt x="192" y="444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32"/>
                  </a:lnTo>
                  <a:lnTo>
                    <a:pt x="168" y="438"/>
                  </a:lnTo>
                  <a:lnTo>
                    <a:pt x="150" y="450"/>
                  </a:lnTo>
                  <a:lnTo>
                    <a:pt x="144" y="456"/>
                  </a:lnTo>
                  <a:lnTo>
                    <a:pt x="132" y="456"/>
                  </a:lnTo>
                  <a:lnTo>
                    <a:pt x="126" y="468"/>
                  </a:lnTo>
                  <a:lnTo>
                    <a:pt x="114" y="468"/>
                  </a:lnTo>
                  <a:lnTo>
                    <a:pt x="108" y="468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14"/>
                  </a:lnTo>
                  <a:lnTo>
                    <a:pt x="108" y="396"/>
                  </a:lnTo>
                  <a:lnTo>
                    <a:pt x="120" y="396"/>
                  </a:lnTo>
                  <a:lnTo>
                    <a:pt x="126" y="384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84" y="354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0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60" y="318"/>
                  </a:lnTo>
                  <a:lnTo>
                    <a:pt x="42" y="324"/>
                  </a:lnTo>
                  <a:lnTo>
                    <a:pt x="36" y="318"/>
                  </a:lnTo>
                  <a:lnTo>
                    <a:pt x="36" y="312"/>
                  </a:lnTo>
                  <a:lnTo>
                    <a:pt x="36" y="306"/>
                  </a:lnTo>
                  <a:lnTo>
                    <a:pt x="36" y="300"/>
                  </a:lnTo>
                  <a:lnTo>
                    <a:pt x="30" y="300"/>
                  </a:lnTo>
                  <a:lnTo>
                    <a:pt x="30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24" y="276"/>
                  </a:lnTo>
                  <a:lnTo>
                    <a:pt x="18" y="276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18" y="234"/>
                  </a:lnTo>
                  <a:lnTo>
                    <a:pt x="30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42" y="192"/>
                  </a:lnTo>
                  <a:lnTo>
                    <a:pt x="66" y="186"/>
                  </a:lnTo>
                  <a:lnTo>
                    <a:pt x="90" y="156"/>
                  </a:lnTo>
                  <a:lnTo>
                    <a:pt x="102" y="144"/>
                  </a:lnTo>
                  <a:lnTo>
                    <a:pt x="138" y="150"/>
                  </a:lnTo>
                  <a:lnTo>
                    <a:pt x="162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0" y="180"/>
                  </a:lnTo>
                  <a:lnTo>
                    <a:pt x="174" y="180"/>
                  </a:lnTo>
                  <a:lnTo>
                    <a:pt x="180" y="186"/>
                  </a:lnTo>
                  <a:lnTo>
                    <a:pt x="186" y="186"/>
                  </a:lnTo>
                  <a:lnTo>
                    <a:pt x="198" y="192"/>
                  </a:lnTo>
                  <a:lnTo>
                    <a:pt x="216" y="198"/>
                  </a:lnTo>
                  <a:lnTo>
                    <a:pt x="252" y="204"/>
                  </a:lnTo>
                  <a:lnTo>
                    <a:pt x="258" y="210"/>
                  </a:lnTo>
                  <a:lnTo>
                    <a:pt x="306" y="216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84" y="210"/>
                  </a:lnTo>
                  <a:lnTo>
                    <a:pt x="408" y="222"/>
                  </a:lnTo>
                  <a:lnTo>
                    <a:pt x="438" y="228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86" y="222"/>
                  </a:lnTo>
                  <a:lnTo>
                    <a:pt x="492" y="210"/>
                  </a:lnTo>
                  <a:lnTo>
                    <a:pt x="492" y="198"/>
                  </a:lnTo>
                  <a:lnTo>
                    <a:pt x="486" y="180"/>
                  </a:lnTo>
                  <a:lnTo>
                    <a:pt x="492" y="162"/>
                  </a:lnTo>
                  <a:lnTo>
                    <a:pt x="510" y="96"/>
                  </a:lnTo>
                  <a:lnTo>
                    <a:pt x="516" y="84"/>
                  </a:lnTo>
                  <a:lnTo>
                    <a:pt x="522" y="84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34" y="72"/>
                  </a:lnTo>
                  <a:lnTo>
                    <a:pt x="534" y="60"/>
                  </a:lnTo>
                  <a:lnTo>
                    <a:pt x="540" y="36"/>
                  </a:lnTo>
                  <a:lnTo>
                    <a:pt x="546" y="6"/>
                  </a:lnTo>
                  <a:lnTo>
                    <a:pt x="558" y="6"/>
                  </a:lnTo>
                  <a:lnTo>
                    <a:pt x="564" y="0"/>
                  </a:lnTo>
                  <a:lnTo>
                    <a:pt x="582" y="0"/>
                  </a:lnTo>
                  <a:lnTo>
                    <a:pt x="588" y="0"/>
                  </a:lnTo>
                  <a:lnTo>
                    <a:pt x="594" y="6"/>
                  </a:lnTo>
                  <a:lnTo>
                    <a:pt x="600" y="12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24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36" y="36"/>
                  </a:lnTo>
                  <a:lnTo>
                    <a:pt x="642" y="36"/>
                  </a:lnTo>
                  <a:lnTo>
                    <a:pt x="642" y="42"/>
                  </a:lnTo>
                  <a:lnTo>
                    <a:pt x="648" y="54"/>
                  </a:lnTo>
                  <a:lnTo>
                    <a:pt x="660" y="72"/>
                  </a:lnTo>
                  <a:lnTo>
                    <a:pt x="666" y="78"/>
                  </a:lnTo>
                  <a:lnTo>
                    <a:pt x="672" y="90"/>
                  </a:lnTo>
                  <a:lnTo>
                    <a:pt x="678" y="102"/>
                  </a:lnTo>
                  <a:lnTo>
                    <a:pt x="678" y="114"/>
                  </a:lnTo>
                  <a:lnTo>
                    <a:pt x="684" y="132"/>
                  </a:lnTo>
                  <a:lnTo>
                    <a:pt x="684" y="144"/>
                  </a:lnTo>
                  <a:lnTo>
                    <a:pt x="690" y="162"/>
                  </a:lnTo>
                  <a:lnTo>
                    <a:pt x="696" y="168"/>
                  </a:lnTo>
                  <a:lnTo>
                    <a:pt x="696" y="180"/>
                  </a:lnTo>
                  <a:lnTo>
                    <a:pt x="702" y="186"/>
                  </a:lnTo>
                  <a:lnTo>
                    <a:pt x="708" y="186"/>
                  </a:lnTo>
                  <a:lnTo>
                    <a:pt x="714" y="198"/>
                  </a:lnTo>
                  <a:lnTo>
                    <a:pt x="720" y="198"/>
                  </a:lnTo>
                  <a:lnTo>
                    <a:pt x="732" y="204"/>
                  </a:lnTo>
                  <a:lnTo>
                    <a:pt x="738" y="210"/>
                  </a:lnTo>
                  <a:lnTo>
                    <a:pt x="738" y="216"/>
                  </a:lnTo>
                  <a:lnTo>
                    <a:pt x="744" y="222"/>
                  </a:lnTo>
                  <a:lnTo>
                    <a:pt x="750" y="228"/>
                  </a:lnTo>
                  <a:lnTo>
                    <a:pt x="756" y="228"/>
                  </a:lnTo>
                  <a:lnTo>
                    <a:pt x="768" y="240"/>
                  </a:lnTo>
                  <a:lnTo>
                    <a:pt x="774" y="252"/>
                  </a:lnTo>
                  <a:lnTo>
                    <a:pt x="780" y="258"/>
                  </a:lnTo>
                  <a:lnTo>
                    <a:pt x="786" y="258"/>
                  </a:lnTo>
                  <a:lnTo>
                    <a:pt x="798" y="264"/>
                  </a:lnTo>
                  <a:lnTo>
                    <a:pt x="798" y="270"/>
                  </a:lnTo>
                  <a:lnTo>
                    <a:pt x="798" y="276"/>
                  </a:lnTo>
                  <a:lnTo>
                    <a:pt x="810" y="288"/>
                  </a:lnTo>
                  <a:lnTo>
                    <a:pt x="816" y="288"/>
                  </a:lnTo>
                  <a:lnTo>
                    <a:pt x="816" y="300"/>
                  </a:lnTo>
                  <a:lnTo>
                    <a:pt x="816" y="306"/>
                  </a:lnTo>
                  <a:lnTo>
                    <a:pt x="822" y="318"/>
                  </a:lnTo>
                  <a:lnTo>
                    <a:pt x="828" y="324"/>
                  </a:lnTo>
                  <a:lnTo>
                    <a:pt x="834" y="330"/>
                  </a:lnTo>
                  <a:lnTo>
                    <a:pt x="846" y="336"/>
                  </a:lnTo>
                  <a:lnTo>
                    <a:pt x="846" y="342"/>
                  </a:lnTo>
                  <a:lnTo>
                    <a:pt x="852" y="348"/>
                  </a:lnTo>
                  <a:lnTo>
                    <a:pt x="852" y="354"/>
                  </a:lnTo>
                  <a:lnTo>
                    <a:pt x="858" y="354"/>
                  </a:lnTo>
                  <a:lnTo>
                    <a:pt x="858" y="348"/>
                  </a:lnTo>
                  <a:lnTo>
                    <a:pt x="864" y="342"/>
                  </a:lnTo>
                  <a:lnTo>
                    <a:pt x="864" y="336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76" y="306"/>
                  </a:lnTo>
                  <a:lnTo>
                    <a:pt x="870" y="300"/>
                  </a:lnTo>
                  <a:lnTo>
                    <a:pt x="870" y="294"/>
                  </a:lnTo>
                  <a:lnTo>
                    <a:pt x="876" y="294"/>
                  </a:lnTo>
                  <a:lnTo>
                    <a:pt x="882" y="300"/>
                  </a:lnTo>
                  <a:lnTo>
                    <a:pt x="888" y="300"/>
                  </a:lnTo>
                  <a:lnTo>
                    <a:pt x="888" y="306"/>
                  </a:lnTo>
                  <a:lnTo>
                    <a:pt x="894" y="300"/>
                  </a:lnTo>
                  <a:lnTo>
                    <a:pt x="900" y="294"/>
                  </a:lnTo>
                  <a:lnTo>
                    <a:pt x="894" y="288"/>
                  </a:lnTo>
                  <a:lnTo>
                    <a:pt x="888" y="282"/>
                  </a:lnTo>
                  <a:lnTo>
                    <a:pt x="888" y="276"/>
                  </a:lnTo>
                  <a:lnTo>
                    <a:pt x="894" y="276"/>
                  </a:lnTo>
                  <a:lnTo>
                    <a:pt x="900" y="276"/>
                  </a:lnTo>
                  <a:lnTo>
                    <a:pt x="900" y="270"/>
                  </a:lnTo>
                  <a:lnTo>
                    <a:pt x="906" y="264"/>
                  </a:lnTo>
                  <a:lnTo>
                    <a:pt x="906" y="258"/>
                  </a:lnTo>
                  <a:lnTo>
                    <a:pt x="918" y="264"/>
                  </a:lnTo>
                  <a:lnTo>
                    <a:pt x="918" y="258"/>
                  </a:lnTo>
                  <a:lnTo>
                    <a:pt x="924" y="252"/>
                  </a:lnTo>
                  <a:lnTo>
                    <a:pt x="930" y="252"/>
                  </a:lnTo>
                  <a:lnTo>
                    <a:pt x="930" y="246"/>
                  </a:lnTo>
                  <a:lnTo>
                    <a:pt x="936" y="234"/>
                  </a:lnTo>
                  <a:lnTo>
                    <a:pt x="942" y="228"/>
                  </a:lnTo>
                  <a:lnTo>
                    <a:pt x="942" y="222"/>
                  </a:lnTo>
                  <a:lnTo>
                    <a:pt x="948" y="222"/>
                  </a:lnTo>
                  <a:lnTo>
                    <a:pt x="948" y="216"/>
                  </a:lnTo>
                  <a:lnTo>
                    <a:pt x="942" y="216"/>
                  </a:lnTo>
                  <a:lnTo>
                    <a:pt x="936" y="216"/>
                  </a:lnTo>
                  <a:lnTo>
                    <a:pt x="936" y="210"/>
                  </a:lnTo>
                  <a:lnTo>
                    <a:pt x="942" y="210"/>
                  </a:lnTo>
                  <a:lnTo>
                    <a:pt x="972" y="210"/>
                  </a:lnTo>
                  <a:lnTo>
                    <a:pt x="1032" y="216"/>
                  </a:lnTo>
                  <a:lnTo>
                    <a:pt x="1068" y="216"/>
                  </a:lnTo>
                  <a:lnTo>
                    <a:pt x="1056" y="234"/>
                  </a:lnTo>
                  <a:lnTo>
                    <a:pt x="1050" y="240"/>
                  </a:lnTo>
                  <a:lnTo>
                    <a:pt x="1044" y="246"/>
                  </a:lnTo>
                  <a:lnTo>
                    <a:pt x="1038" y="246"/>
                  </a:lnTo>
                  <a:lnTo>
                    <a:pt x="1026" y="282"/>
                  </a:lnTo>
                  <a:lnTo>
                    <a:pt x="1032" y="306"/>
                  </a:lnTo>
                  <a:lnTo>
                    <a:pt x="1044" y="324"/>
                  </a:lnTo>
                  <a:lnTo>
                    <a:pt x="1044" y="342"/>
                  </a:lnTo>
                  <a:lnTo>
                    <a:pt x="1062" y="366"/>
                  </a:lnTo>
                  <a:lnTo>
                    <a:pt x="1056" y="396"/>
                  </a:lnTo>
                  <a:lnTo>
                    <a:pt x="1038" y="462"/>
                  </a:lnTo>
                  <a:lnTo>
                    <a:pt x="1038" y="498"/>
                  </a:lnTo>
                  <a:lnTo>
                    <a:pt x="1038" y="522"/>
                  </a:lnTo>
                  <a:lnTo>
                    <a:pt x="1038" y="534"/>
                  </a:lnTo>
                  <a:lnTo>
                    <a:pt x="1056" y="522"/>
                  </a:lnTo>
                  <a:lnTo>
                    <a:pt x="1098" y="504"/>
                  </a:lnTo>
                  <a:lnTo>
                    <a:pt x="1104" y="498"/>
                  </a:lnTo>
                  <a:lnTo>
                    <a:pt x="1128" y="492"/>
                  </a:lnTo>
                  <a:lnTo>
                    <a:pt x="1152" y="480"/>
                  </a:lnTo>
                  <a:lnTo>
                    <a:pt x="1170" y="474"/>
                  </a:lnTo>
                  <a:lnTo>
                    <a:pt x="1188" y="468"/>
                  </a:lnTo>
                  <a:lnTo>
                    <a:pt x="1200" y="462"/>
                  </a:lnTo>
                  <a:lnTo>
                    <a:pt x="1224" y="450"/>
                  </a:lnTo>
                  <a:lnTo>
                    <a:pt x="1248" y="450"/>
                  </a:lnTo>
                  <a:lnTo>
                    <a:pt x="1266" y="450"/>
                  </a:lnTo>
                  <a:lnTo>
                    <a:pt x="1296" y="456"/>
                  </a:lnTo>
                  <a:lnTo>
                    <a:pt x="1308" y="456"/>
                  </a:lnTo>
                  <a:lnTo>
                    <a:pt x="1326" y="456"/>
                  </a:lnTo>
                  <a:lnTo>
                    <a:pt x="1338" y="456"/>
                  </a:lnTo>
                  <a:lnTo>
                    <a:pt x="1350" y="462"/>
                  </a:lnTo>
                  <a:lnTo>
                    <a:pt x="1356" y="462"/>
                  </a:lnTo>
                  <a:lnTo>
                    <a:pt x="1374" y="456"/>
                  </a:lnTo>
                  <a:lnTo>
                    <a:pt x="1386" y="456"/>
                  </a:lnTo>
                  <a:lnTo>
                    <a:pt x="1392" y="456"/>
                  </a:lnTo>
                  <a:lnTo>
                    <a:pt x="1398" y="456"/>
                  </a:lnTo>
                  <a:lnTo>
                    <a:pt x="1422" y="456"/>
                  </a:lnTo>
                  <a:lnTo>
                    <a:pt x="1440" y="456"/>
                  </a:lnTo>
                  <a:lnTo>
                    <a:pt x="1446" y="456"/>
                  </a:lnTo>
                  <a:lnTo>
                    <a:pt x="1476" y="456"/>
                  </a:lnTo>
                  <a:lnTo>
                    <a:pt x="1470" y="468"/>
                  </a:lnTo>
                  <a:lnTo>
                    <a:pt x="1470" y="474"/>
                  </a:lnTo>
                  <a:lnTo>
                    <a:pt x="1470" y="486"/>
                  </a:lnTo>
                  <a:lnTo>
                    <a:pt x="1464" y="492"/>
                  </a:lnTo>
                  <a:lnTo>
                    <a:pt x="1464" y="498"/>
                  </a:lnTo>
                  <a:lnTo>
                    <a:pt x="1458" y="498"/>
                  </a:lnTo>
                  <a:lnTo>
                    <a:pt x="1458" y="510"/>
                  </a:lnTo>
                  <a:lnTo>
                    <a:pt x="1452" y="522"/>
                  </a:lnTo>
                  <a:lnTo>
                    <a:pt x="1458" y="528"/>
                  </a:lnTo>
                  <a:lnTo>
                    <a:pt x="1464" y="546"/>
                  </a:lnTo>
                  <a:lnTo>
                    <a:pt x="1470" y="552"/>
                  </a:lnTo>
                  <a:lnTo>
                    <a:pt x="1476" y="564"/>
                  </a:lnTo>
                  <a:lnTo>
                    <a:pt x="1488" y="588"/>
                  </a:lnTo>
                  <a:lnTo>
                    <a:pt x="1506" y="606"/>
                  </a:lnTo>
                  <a:lnTo>
                    <a:pt x="1506" y="612"/>
                  </a:lnTo>
                  <a:lnTo>
                    <a:pt x="1518" y="618"/>
                  </a:lnTo>
                  <a:lnTo>
                    <a:pt x="1512" y="630"/>
                  </a:lnTo>
                  <a:lnTo>
                    <a:pt x="1518" y="642"/>
                  </a:lnTo>
                  <a:lnTo>
                    <a:pt x="1518" y="648"/>
                  </a:lnTo>
                  <a:lnTo>
                    <a:pt x="1530" y="666"/>
                  </a:lnTo>
                  <a:lnTo>
                    <a:pt x="1518" y="672"/>
                  </a:lnTo>
                  <a:lnTo>
                    <a:pt x="1524" y="696"/>
                  </a:lnTo>
                  <a:lnTo>
                    <a:pt x="1518" y="732"/>
                  </a:lnTo>
                  <a:lnTo>
                    <a:pt x="1524" y="762"/>
                  </a:lnTo>
                  <a:lnTo>
                    <a:pt x="1524" y="780"/>
                  </a:lnTo>
                  <a:lnTo>
                    <a:pt x="1524" y="810"/>
                  </a:lnTo>
                  <a:lnTo>
                    <a:pt x="1530" y="834"/>
                  </a:lnTo>
                  <a:lnTo>
                    <a:pt x="1536" y="846"/>
                  </a:lnTo>
                  <a:lnTo>
                    <a:pt x="1542" y="846"/>
                  </a:lnTo>
                  <a:lnTo>
                    <a:pt x="1584" y="840"/>
                  </a:lnTo>
                  <a:lnTo>
                    <a:pt x="1590" y="846"/>
                  </a:lnTo>
                  <a:lnTo>
                    <a:pt x="1596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90" y="864"/>
                  </a:lnTo>
                  <a:lnTo>
                    <a:pt x="1578" y="882"/>
                  </a:lnTo>
                  <a:lnTo>
                    <a:pt x="1572" y="906"/>
                  </a:lnTo>
                  <a:lnTo>
                    <a:pt x="1560" y="924"/>
                  </a:lnTo>
                  <a:lnTo>
                    <a:pt x="1560" y="936"/>
                  </a:lnTo>
                  <a:lnTo>
                    <a:pt x="1548" y="960"/>
                  </a:lnTo>
                  <a:lnTo>
                    <a:pt x="1542" y="978"/>
                  </a:lnTo>
                  <a:lnTo>
                    <a:pt x="1536" y="990"/>
                  </a:lnTo>
                  <a:lnTo>
                    <a:pt x="1530" y="990"/>
                  </a:lnTo>
                  <a:lnTo>
                    <a:pt x="1506" y="996"/>
                  </a:lnTo>
                  <a:lnTo>
                    <a:pt x="1494" y="1002"/>
                  </a:lnTo>
                  <a:lnTo>
                    <a:pt x="1482" y="1002"/>
                  </a:lnTo>
                  <a:lnTo>
                    <a:pt x="1464" y="1008"/>
                  </a:lnTo>
                  <a:lnTo>
                    <a:pt x="1446" y="1026"/>
                  </a:lnTo>
                  <a:lnTo>
                    <a:pt x="1440" y="1026"/>
                  </a:lnTo>
                  <a:lnTo>
                    <a:pt x="1434" y="1038"/>
                  </a:lnTo>
                  <a:lnTo>
                    <a:pt x="1428" y="1044"/>
                  </a:lnTo>
                  <a:lnTo>
                    <a:pt x="1428" y="1062"/>
                  </a:lnTo>
                  <a:lnTo>
                    <a:pt x="1428" y="1086"/>
                  </a:lnTo>
                  <a:lnTo>
                    <a:pt x="1416" y="1092"/>
                  </a:lnTo>
                  <a:lnTo>
                    <a:pt x="1410" y="1080"/>
                  </a:lnTo>
                  <a:lnTo>
                    <a:pt x="1392" y="108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0" name="Freeform 25">
              <a:extLst>
                <a:ext uri="{FF2B5EF4-FFF2-40B4-BE49-F238E27FC236}">
                  <a16:creationId xmlns:a16="http://schemas.microsoft.com/office/drawing/2014/main" id="{39FDFF90-5ACF-4D65-81AD-C44D2CBE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70228" y="3063559"/>
              <a:ext cx="644023" cy="704498"/>
            </a:xfrm>
            <a:custGeom>
              <a:avLst/>
              <a:gdLst>
                <a:gd name="T0" fmla="*/ 74 w 1212"/>
                <a:gd name="T1" fmla="*/ 113 h 1326"/>
                <a:gd name="T2" fmla="*/ 60 w 1212"/>
                <a:gd name="T3" fmla="*/ 116 h 1326"/>
                <a:gd name="T4" fmla="*/ 62 w 1212"/>
                <a:gd name="T5" fmla="*/ 110 h 1326"/>
                <a:gd name="T6" fmla="*/ 60 w 1212"/>
                <a:gd name="T7" fmla="*/ 105 h 1326"/>
                <a:gd name="T8" fmla="*/ 52 w 1212"/>
                <a:gd name="T9" fmla="*/ 96 h 1326"/>
                <a:gd name="T10" fmla="*/ 47 w 1212"/>
                <a:gd name="T11" fmla="*/ 98 h 1326"/>
                <a:gd name="T12" fmla="*/ 44 w 1212"/>
                <a:gd name="T13" fmla="*/ 93 h 1326"/>
                <a:gd name="T14" fmla="*/ 40 w 1212"/>
                <a:gd name="T15" fmla="*/ 96 h 1326"/>
                <a:gd name="T16" fmla="*/ 35 w 1212"/>
                <a:gd name="T17" fmla="*/ 102 h 1326"/>
                <a:gd name="T18" fmla="*/ 27 w 1212"/>
                <a:gd name="T19" fmla="*/ 100 h 1326"/>
                <a:gd name="T20" fmla="*/ 23 w 1212"/>
                <a:gd name="T21" fmla="*/ 96 h 1326"/>
                <a:gd name="T22" fmla="*/ 20 w 1212"/>
                <a:gd name="T23" fmla="*/ 90 h 1326"/>
                <a:gd name="T24" fmla="*/ 18 w 1212"/>
                <a:gd name="T25" fmla="*/ 89 h 1326"/>
                <a:gd name="T26" fmla="*/ 18 w 1212"/>
                <a:gd name="T27" fmla="*/ 85 h 1326"/>
                <a:gd name="T28" fmla="*/ 19 w 1212"/>
                <a:gd name="T29" fmla="*/ 83 h 1326"/>
                <a:gd name="T30" fmla="*/ 19 w 1212"/>
                <a:gd name="T31" fmla="*/ 82 h 1326"/>
                <a:gd name="T32" fmla="*/ 20 w 1212"/>
                <a:gd name="T33" fmla="*/ 79 h 1326"/>
                <a:gd name="T34" fmla="*/ 19 w 1212"/>
                <a:gd name="T35" fmla="*/ 75 h 1326"/>
                <a:gd name="T36" fmla="*/ 17 w 1212"/>
                <a:gd name="T37" fmla="*/ 77 h 1326"/>
                <a:gd name="T38" fmla="*/ 14 w 1212"/>
                <a:gd name="T39" fmla="*/ 76 h 1326"/>
                <a:gd name="T40" fmla="*/ 12 w 1212"/>
                <a:gd name="T41" fmla="*/ 71 h 1326"/>
                <a:gd name="T42" fmla="*/ 8 w 1212"/>
                <a:gd name="T43" fmla="*/ 69 h 1326"/>
                <a:gd name="T44" fmla="*/ 0 w 1212"/>
                <a:gd name="T45" fmla="*/ 72 h 1326"/>
                <a:gd name="T46" fmla="*/ 2 w 1212"/>
                <a:gd name="T47" fmla="*/ 67 h 1326"/>
                <a:gd name="T48" fmla="*/ 3 w 1212"/>
                <a:gd name="T49" fmla="*/ 61 h 1326"/>
                <a:gd name="T50" fmla="*/ 4 w 1212"/>
                <a:gd name="T51" fmla="*/ 56 h 1326"/>
                <a:gd name="T52" fmla="*/ 4 w 1212"/>
                <a:gd name="T53" fmla="*/ 52 h 1326"/>
                <a:gd name="T54" fmla="*/ 2 w 1212"/>
                <a:gd name="T55" fmla="*/ 47 h 1326"/>
                <a:gd name="T56" fmla="*/ 2 w 1212"/>
                <a:gd name="T57" fmla="*/ 42 h 1326"/>
                <a:gd name="T58" fmla="*/ 5 w 1212"/>
                <a:gd name="T59" fmla="*/ 39 h 1326"/>
                <a:gd name="T60" fmla="*/ 5 w 1212"/>
                <a:gd name="T61" fmla="*/ 35 h 1326"/>
                <a:gd name="T62" fmla="*/ 7 w 1212"/>
                <a:gd name="T63" fmla="*/ 31 h 1326"/>
                <a:gd name="T64" fmla="*/ 14 w 1212"/>
                <a:gd name="T65" fmla="*/ 31 h 1326"/>
                <a:gd name="T66" fmla="*/ 18 w 1212"/>
                <a:gd name="T67" fmla="*/ 27 h 1326"/>
                <a:gd name="T68" fmla="*/ 22 w 1212"/>
                <a:gd name="T69" fmla="*/ 24 h 1326"/>
                <a:gd name="T70" fmla="*/ 27 w 1212"/>
                <a:gd name="T71" fmla="*/ 20 h 1326"/>
                <a:gd name="T72" fmla="*/ 35 w 1212"/>
                <a:gd name="T73" fmla="*/ 21 h 1326"/>
                <a:gd name="T74" fmla="*/ 61 w 1212"/>
                <a:gd name="T75" fmla="*/ 8 h 1326"/>
                <a:gd name="T76" fmla="*/ 73 w 1212"/>
                <a:gd name="T77" fmla="*/ 4 h 1326"/>
                <a:gd name="T78" fmla="*/ 86 w 1212"/>
                <a:gd name="T79" fmla="*/ 12 h 1326"/>
                <a:gd name="T80" fmla="*/ 92 w 1212"/>
                <a:gd name="T81" fmla="*/ 13 h 1326"/>
                <a:gd name="T82" fmla="*/ 86 w 1212"/>
                <a:gd name="T83" fmla="*/ 18 h 1326"/>
                <a:gd name="T84" fmla="*/ 88 w 1212"/>
                <a:gd name="T85" fmla="*/ 33 h 1326"/>
                <a:gd name="T86" fmla="*/ 97 w 1212"/>
                <a:gd name="T87" fmla="*/ 49 h 1326"/>
                <a:gd name="T88" fmla="*/ 102 w 1212"/>
                <a:gd name="T89" fmla="*/ 57 h 1326"/>
                <a:gd name="T90" fmla="*/ 104 w 1212"/>
                <a:gd name="T91" fmla="*/ 67 h 1326"/>
                <a:gd name="T92" fmla="*/ 101 w 1212"/>
                <a:gd name="T93" fmla="*/ 69 h 1326"/>
                <a:gd name="T94" fmla="*/ 97 w 1212"/>
                <a:gd name="T95" fmla="*/ 69 h 1326"/>
                <a:gd name="T96" fmla="*/ 96 w 1212"/>
                <a:gd name="T97" fmla="*/ 71 h 1326"/>
                <a:gd name="T98" fmla="*/ 93 w 1212"/>
                <a:gd name="T99" fmla="*/ 70 h 1326"/>
                <a:gd name="T100" fmla="*/ 86 w 1212"/>
                <a:gd name="T101" fmla="*/ 69 h 1326"/>
                <a:gd name="T102" fmla="*/ 82 w 1212"/>
                <a:gd name="T103" fmla="*/ 73 h 1326"/>
                <a:gd name="T104" fmla="*/ 79 w 1212"/>
                <a:gd name="T105" fmla="*/ 74 h 1326"/>
                <a:gd name="T106" fmla="*/ 78 w 1212"/>
                <a:gd name="T107" fmla="*/ 79 h 1326"/>
                <a:gd name="T108" fmla="*/ 78 w 1212"/>
                <a:gd name="T109" fmla="*/ 83 h 1326"/>
                <a:gd name="T110" fmla="*/ 82 w 1212"/>
                <a:gd name="T111" fmla="*/ 87 h 1326"/>
                <a:gd name="T112" fmla="*/ 83 w 1212"/>
                <a:gd name="T113" fmla="*/ 90 h 1326"/>
                <a:gd name="T114" fmla="*/ 82 w 1212"/>
                <a:gd name="T115" fmla="*/ 94 h 1326"/>
                <a:gd name="T116" fmla="*/ 82 w 1212"/>
                <a:gd name="T117" fmla="*/ 98 h 1326"/>
                <a:gd name="T118" fmla="*/ 82 w 1212"/>
                <a:gd name="T119" fmla="*/ 104 h 1326"/>
                <a:gd name="T120" fmla="*/ 78 w 1212"/>
                <a:gd name="T121" fmla="*/ 110 h 132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12"/>
                <a:gd name="T184" fmla="*/ 0 h 1326"/>
                <a:gd name="T185" fmla="*/ 1212 w 1212"/>
                <a:gd name="T186" fmla="*/ 1326 h 132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12" h="1326">
                  <a:moveTo>
                    <a:pt x="906" y="1290"/>
                  </a:moveTo>
                  <a:lnTo>
                    <a:pt x="906" y="1296"/>
                  </a:lnTo>
                  <a:lnTo>
                    <a:pt x="900" y="1296"/>
                  </a:lnTo>
                  <a:lnTo>
                    <a:pt x="876" y="1290"/>
                  </a:lnTo>
                  <a:lnTo>
                    <a:pt x="870" y="1290"/>
                  </a:lnTo>
                  <a:lnTo>
                    <a:pt x="864" y="1296"/>
                  </a:lnTo>
                  <a:lnTo>
                    <a:pt x="852" y="1296"/>
                  </a:lnTo>
                  <a:lnTo>
                    <a:pt x="840" y="1302"/>
                  </a:lnTo>
                  <a:lnTo>
                    <a:pt x="834" y="1308"/>
                  </a:lnTo>
                  <a:lnTo>
                    <a:pt x="822" y="1320"/>
                  </a:lnTo>
                  <a:lnTo>
                    <a:pt x="816" y="1320"/>
                  </a:lnTo>
                  <a:lnTo>
                    <a:pt x="732" y="1320"/>
                  </a:lnTo>
                  <a:lnTo>
                    <a:pt x="696" y="1320"/>
                  </a:lnTo>
                  <a:lnTo>
                    <a:pt x="690" y="1326"/>
                  </a:lnTo>
                  <a:lnTo>
                    <a:pt x="678" y="1326"/>
                  </a:lnTo>
                  <a:lnTo>
                    <a:pt x="672" y="1308"/>
                  </a:lnTo>
                  <a:lnTo>
                    <a:pt x="696" y="1302"/>
                  </a:lnTo>
                  <a:lnTo>
                    <a:pt x="708" y="1296"/>
                  </a:lnTo>
                  <a:lnTo>
                    <a:pt x="720" y="1284"/>
                  </a:lnTo>
                  <a:lnTo>
                    <a:pt x="714" y="1278"/>
                  </a:lnTo>
                  <a:lnTo>
                    <a:pt x="714" y="1266"/>
                  </a:lnTo>
                  <a:lnTo>
                    <a:pt x="708" y="1260"/>
                  </a:lnTo>
                  <a:lnTo>
                    <a:pt x="708" y="1254"/>
                  </a:lnTo>
                  <a:lnTo>
                    <a:pt x="708" y="1248"/>
                  </a:lnTo>
                  <a:lnTo>
                    <a:pt x="702" y="1236"/>
                  </a:lnTo>
                  <a:lnTo>
                    <a:pt x="702" y="1230"/>
                  </a:lnTo>
                  <a:lnTo>
                    <a:pt x="702" y="1218"/>
                  </a:lnTo>
                  <a:lnTo>
                    <a:pt x="696" y="1200"/>
                  </a:lnTo>
                  <a:lnTo>
                    <a:pt x="696" y="1182"/>
                  </a:lnTo>
                  <a:lnTo>
                    <a:pt x="666" y="1182"/>
                  </a:lnTo>
                  <a:lnTo>
                    <a:pt x="672" y="1134"/>
                  </a:lnTo>
                  <a:lnTo>
                    <a:pt x="666" y="1128"/>
                  </a:lnTo>
                  <a:lnTo>
                    <a:pt x="660" y="1092"/>
                  </a:lnTo>
                  <a:lnTo>
                    <a:pt x="654" y="1098"/>
                  </a:lnTo>
                  <a:lnTo>
                    <a:pt x="594" y="1098"/>
                  </a:lnTo>
                  <a:lnTo>
                    <a:pt x="576" y="1098"/>
                  </a:lnTo>
                  <a:lnTo>
                    <a:pt x="570" y="1104"/>
                  </a:lnTo>
                  <a:lnTo>
                    <a:pt x="564" y="1110"/>
                  </a:lnTo>
                  <a:lnTo>
                    <a:pt x="558" y="1110"/>
                  </a:lnTo>
                  <a:lnTo>
                    <a:pt x="552" y="1110"/>
                  </a:lnTo>
                  <a:lnTo>
                    <a:pt x="546" y="1110"/>
                  </a:lnTo>
                  <a:lnTo>
                    <a:pt x="546" y="1116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10" y="1128"/>
                  </a:lnTo>
                  <a:lnTo>
                    <a:pt x="522" y="1104"/>
                  </a:lnTo>
                  <a:lnTo>
                    <a:pt x="510" y="1098"/>
                  </a:lnTo>
                  <a:lnTo>
                    <a:pt x="510" y="1074"/>
                  </a:lnTo>
                  <a:lnTo>
                    <a:pt x="504" y="1068"/>
                  </a:lnTo>
                  <a:lnTo>
                    <a:pt x="498" y="1068"/>
                  </a:lnTo>
                  <a:lnTo>
                    <a:pt x="492" y="1068"/>
                  </a:lnTo>
                  <a:lnTo>
                    <a:pt x="474" y="1080"/>
                  </a:lnTo>
                  <a:lnTo>
                    <a:pt x="474" y="1086"/>
                  </a:lnTo>
                  <a:lnTo>
                    <a:pt x="474" y="1092"/>
                  </a:lnTo>
                  <a:lnTo>
                    <a:pt x="468" y="1098"/>
                  </a:lnTo>
                  <a:lnTo>
                    <a:pt x="462" y="1104"/>
                  </a:lnTo>
                  <a:lnTo>
                    <a:pt x="456" y="1110"/>
                  </a:lnTo>
                  <a:lnTo>
                    <a:pt x="456" y="1122"/>
                  </a:lnTo>
                  <a:lnTo>
                    <a:pt x="456" y="1128"/>
                  </a:lnTo>
                  <a:lnTo>
                    <a:pt x="450" y="1140"/>
                  </a:lnTo>
                  <a:lnTo>
                    <a:pt x="444" y="1146"/>
                  </a:lnTo>
                  <a:lnTo>
                    <a:pt x="426" y="1170"/>
                  </a:lnTo>
                  <a:lnTo>
                    <a:pt x="408" y="1176"/>
                  </a:lnTo>
                  <a:lnTo>
                    <a:pt x="402" y="1170"/>
                  </a:lnTo>
                  <a:lnTo>
                    <a:pt x="396" y="1170"/>
                  </a:lnTo>
                  <a:lnTo>
                    <a:pt x="396" y="1158"/>
                  </a:lnTo>
                  <a:lnTo>
                    <a:pt x="384" y="1152"/>
                  </a:lnTo>
                  <a:lnTo>
                    <a:pt x="372" y="1140"/>
                  </a:lnTo>
                  <a:lnTo>
                    <a:pt x="354" y="1140"/>
                  </a:lnTo>
                  <a:lnTo>
                    <a:pt x="306" y="1146"/>
                  </a:lnTo>
                  <a:lnTo>
                    <a:pt x="294" y="1134"/>
                  </a:lnTo>
                  <a:lnTo>
                    <a:pt x="294" y="1128"/>
                  </a:lnTo>
                  <a:lnTo>
                    <a:pt x="288" y="1122"/>
                  </a:lnTo>
                  <a:lnTo>
                    <a:pt x="276" y="1122"/>
                  </a:lnTo>
                  <a:lnTo>
                    <a:pt x="276" y="1110"/>
                  </a:lnTo>
                  <a:lnTo>
                    <a:pt x="276" y="1104"/>
                  </a:lnTo>
                  <a:lnTo>
                    <a:pt x="270" y="1098"/>
                  </a:lnTo>
                  <a:lnTo>
                    <a:pt x="264" y="1086"/>
                  </a:lnTo>
                  <a:lnTo>
                    <a:pt x="264" y="1074"/>
                  </a:lnTo>
                  <a:lnTo>
                    <a:pt x="258" y="1068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34" y="1038"/>
                  </a:lnTo>
                  <a:lnTo>
                    <a:pt x="228" y="1038"/>
                  </a:lnTo>
                  <a:lnTo>
                    <a:pt x="222" y="1038"/>
                  </a:lnTo>
                  <a:lnTo>
                    <a:pt x="216" y="1038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0"/>
                  </a:lnTo>
                  <a:lnTo>
                    <a:pt x="204" y="1014"/>
                  </a:lnTo>
                  <a:lnTo>
                    <a:pt x="204" y="1008"/>
                  </a:lnTo>
                  <a:lnTo>
                    <a:pt x="198" y="1002"/>
                  </a:lnTo>
                  <a:lnTo>
                    <a:pt x="198" y="996"/>
                  </a:lnTo>
                  <a:lnTo>
                    <a:pt x="198" y="990"/>
                  </a:lnTo>
                  <a:lnTo>
                    <a:pt x="204" y="990"/>
                  </a:lnTo>
                  <a:lnTo>
                    <a:pt x="204" y="984"/>
                  </a:lnTo>
                  <a:lnTo>
                    <a:pt x="210" y="978"/>
                  </a:lnTo>
                  <a:lnTo>
                    <a:pt x="210" y="972"/>
                  </a:lnTo>
                  <a:lnTo>
                    <a:pt x="210" y="966"/>
                  </a:lnTo>
                  <a:lnTo>
                    <a:pt x="216" y="960"/>
                  </a:lnTo>
                  <a:lnTo>
                    <a:pt x="216" y="954"/>
                  </a:lnTo>
                  <a:lnTo>
                    <a:pt x="210" y="954"/>
                  </a:lnTo>
                  <a:lnTo>
                    <a:pt x="204" y="954"/>
                  </a:lnTo>
                  <a:lnTo>
                    <a:pt x="216" y="954"/>
                  </a:lnTo>
                  <a:lnTo>
                    <a:pt x="216" y="948"/>
                  </a:lnTo>
                  <a:lnTo>
                    <a:pt x="210" y="948"/>
                  </a:lnTo>
                  <a:lnTo>
                    <a:pt x="210" y="942"/>
                  </a:lnTo>
                  <a:lnTo>
                    <a:pt x="216" y="942"/>
                  </a:lnTo>
                  <a:lnTo>
                    <a:pt x="222" y="942"/>
                  </a:lnTo>
                  <a:lnTo>
                    <a:pt x="222" y="936"/>
                  </a:lnTo>
                  <a:lnTo>
                    <a:pt x="216" y="936"/>
                  </a:lnTo>
                  <a:lnTo>
                    <a:pt x="210" y="936"/>
                  </a:lnTo>
                  <a:lnTo>
                    <a:pt x="210" y="930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22" y="918"/>
                  </a:lnTo>
                  <a:lnTo>
                    <a:pt x="228" y="912"/>
                  </a:lnTo>
                  <a:lnTo>
                    <a:pt x="228" y="906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2" y="888"/>
                  </a:lnTo>
                  <a:lnTo>
                    <a:pt x="222" y="882"/>
                  </a:lnTo>
                  <a:lnTo>
                    <a:pt x="222" y="876"/>
                  </a:lnTo>
                  <a:lnTo>
                    <a:pt x="222" y="858"/>
                  </a:lnTo>
                  <a:lnTo>
                    <a:pt x="216" y="858"/>
                  </a:lnTo>
                  <a:lnTo>
                    <a:pt x="216" y="852"/>
                  </a:lnTo>
                  <a:lnTo>
                    <a:pt x="210" y="852"/>
                  </a:lnTo>
                  <a:lnTo>
                    <a:pt x="210" y="840"/>
                  </a:lnTo>
                  <a:lnTo>
                    <a:pt x="198" y="840"/>
                  </a:lnTo>
                  <a:lnTo>
                    <a:pt x="198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0" y="894"/>
                  </a:lnTo>
                  <a:lnTo>
                    <a:pt x="180" y="906"/>
                  </a:lnTo>
                  <a:lnTo>
                    <a:pt x="156" y="912"/>
                  </a:lnTo>
                  <a:lnTo>
                    <a:pt x="156" y="894"/>
                  </a:lnTo>
                  <a:lnTo>
                    <a:pt x="156" y="882"/>
                  </a:lnTo>
                  <a:lnTo>
                    <a:pt x="156" y="876"/>
                  </a:lnTo>
                  <a:lnTo>
                    <a:pt x="150" y="876"/>
                  </a:lnTo>
                  <a:lnTo>
                    <a:pt x="144" y="876"/>
                  </a:lnTo>
                  <a:lnTo>
                    <a:pt x="138" y="870"/>
                  </a:lnTo>
                  <a:lnTo>
                    <a:pt x="132" y="864"/>
                  </a:lnTo>
                  <a:lnTo>
                    <a:pt x="138" y="840"/>
                  </a:lnTo>
                  <a:lnTo>
                    <a:pt x="132" y="840"/>
                  </a:lnTo>
                  <a:lnTo>
                    <a:pt x="138" y="810"/>
                  </a:lnTo>
                  <a:lnTo>
                    <a:pt x="144" y="804"/>
                  </a:lnTo>
                  <a:lnTo>
                    <a:pt x="144" y="798"/>
                  </a:lnTo>
                  <a:lnTo>
                    <a:pt x="156" y="798"/>
                  </a:lnTo>
                  <a:lnTo>
                    <a:pt x="156" y="792"/>
                  </a:lnTo>
                  <a:lnTo>
                    <a:pt x="120" y="792"/>
                  </a:lnTo>
                  <a:lnTo>
                    <a:pt x="108" y="786"/>
                  </a:lnTo>
                  <a:lnTo>
                    <a:pt x="96" y="786"/>
                  </a:lnTo>
                  <a:lnTo>
                    <a:pt x="96" y="780"/>
                  </a:lnTo>
                  <a:lnTo>
                    <a:pt x="78" y="780"/>
                  </a:lnTo>
                  <a:lnTo>
                    <a:pt x="72" y="804"/>
                  </a:lnTo>
                  <a:lnTo>
                    <a:pt x="60" y="816"/>
                  </a:lnTo>
                  <a:lnTo>
                    <a:pt x="36" y="828"/>
                  </a:lnTo>
                  <a:lnTo>
                    <a:pt x="18" y="840"/>
                  </a:lnTo>
                  <a:lnTo>
                    <a:pt x="0" y="822"/>
                  </a:lnTo>
                  <a:lnTo>
                    <a:pt x="6" y="816"/>
                  </a:lnTo>
                  <a:lnTo>
                    <a:pt x="12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18" y="786"/>
                  </a:lnTo>
                  <a:lnTo>
                    <a:pt x="24" y="780"/>
                  </a:lnTo>
                  <a:lnTo>
                    <a:pt x="24" y="768"/>
                  </a:lnTo>
                  <a:lnTo>
                    <a:pt x="24" y="762"/>
                  </a:lnTo>
                  <a:lnTo>
                    <a:pt x="24" y="750"/>
                  </a:lnTo>
                  <a:lnTo>
                    <a:pt x="36" y="714"/>
                  </a:lnTo>
                  <a:lnTo>
                    <a:pt x="36" y="708"/>
                  </a:lnTo>
                  <a:lnTo>
                    <a:pt x="42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6" y="690"/>
                  </a:lnTo>
                  <a:lnTo>
                    <a:pt x="42" y="684"/>
                  </a:lnTo>
                  <a:lnTo>
                    <a:pt x="42" y="672"/>
                  </a:lnTo>
                  <a:lnTo>
                    <a:pt x="42" y="666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48" y="648"/>
                  </a:lnTo>
                  <a:lnTo>
                    <a:pt x="54" y="642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54" y="612"/>
                  </a:lnTo>
                  <a:lnTo>
                    <a:pt x="48" y="606"/>
                  </a:lnTo>
                  <a:lnTo>
                    <a:pt x="48" y="600"/>
                  </a:lnTo>
                  <a:lnTo>
                    <a:pt x="42" y="600"/>
                  </a:lnTo>
                  <a:lnTo>
                    <a:pt x="36" y="594"/>
                  </a:lnTo>
                  <a:lnTo>
                    <a:pt x="36" y="588"/>
                  </a:lnTo>
                  <a:lnTo>
                    <a:pt x="30" y="582"/>
                  </a:lnTo>
                  <a:lnTo>
                    <a:pt x="30" y="570"/>
                  </a:lnTo>
                  <a:lnTo>
                    <a:pt x="18" y="552"/>
                  </a:lnTo>
                  <a:lnTo>
                    <a:pt x="18" y="546"/>
                  </a:lnTo>
                  <a:lnTo>
                    <a:pt x="18" y="540"/>
                  </a:lnTo>
                  <a:lnTo>
                    <a:pt x="18" y="528"/>
                  </a:lnTo>
                  <a:lnTo>
                    <a:pt x="18" y="522"/>
                  </a:lnTo>
                  <a:lnTo>
                    <a:pt x="24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30" y="474"/>
                  </a:lnTo>
                  <a:lnTo>
                    <a:pt x="36" y="474"/>
                  </a:lnTo>
                  <a:lnTo>
                    <a:pt x="42" y="468"/>
                  </a:lnTo>
                  <a:lnTo>
                    <a:pt x="48" y="468"/>
                  </a:lnTo>
                  <a:lnTo>
                    <a:pt x="48" y="462"/>
                  </a:lnTo>
                  <a:lnTo>
                    <a:pt x="48" y="456"/>
                  </a:lnTo>
                  <a:lnTo>
                    <a:pt x="54" y="450"/>
                  </a:lnTo>
                  <a:lnTo>
                    <a:pt x="60" y="438"/>
                  </a:lnTo>
                  <a:lnTo>
                    <a:pt x="54" y="438"/>
                  </a:lnTo>
                  <a:lnTo>
                    <a:pt x="54" y="432"/>
                  </a:ln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54" y="402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6" y="384"/>
                  </a:lnTo>
                  <a:lnTo>
                    <a:pt x="72" y="372"/>
                  </a:lnTo>
                  <a:lnTo>
                    <a:pt x="78" y="366"/>
                  </a:lnTo>
                  <a:lnTo>
                    <a:pt x="84" y="360"/>
                  </a:lnTo>
                  <a:lnTo>
                    <a:pt x="102" y="360"/>
                  </a:lnTo>
                  <a:lnTo>
                    <a:pt x="114" y="36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8" y="360"/>
                  </a:lnTo>
                  <a:lnTo>
                    <a:pt x="156" y="360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74" y="342"/>
                  </a:lnTo>
                  <a:lnTo>
                    <a:pt x="180" y="342"/>
                  </a:lnTo>
                  <a:lnTo>
                    <a:pt x="186" y="336"/>
                  </a:lnTo>
                  <a:lnTo>
                    <a:pt x="192" y="330"/>
                  </a:lnTo>
                  <a:lnTo>
                    <a:pt x="204" y="312"/>
                  </a:lnTo>
                  <a:lnTo>
                    <a:pt x="210" y="312"/>
                  </a:lnTo>
                  <a:lnTo>
                    <a:pt x="216" y="306"/>
                  </a:lnTo>
                  <a:lnTo>
                    <a:pt x="216" y="300"/>
                  </a:lnTo>
                  <a:lnTo>
                    <a:pt x="222" y="288"/>
                  </a:lnTo>
                  <a:lnTo>
                    <a:pt x="234" y="288"/>
                  </a:lnTo>
                  <a:lnTo>
                    <a:pt x="240" y="282"/>
                  </a:lnTo>
                  <a:lnTo>
                    <a:pt x="246" y="282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70" y="270"/>
                  </a:lnTo>
                  <a:lnTo>
                    <a:pt x="276" y="264"/>
                  </a:lnTo>
                  <a:lnTo>
                    <a:pt x="282" y="26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8" y="234"/>
                  </a:lnTo>
                  <a:lnTo>
                    <a:pt x="330" y="234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72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14" y="240"/>
                  </a:lnTo>
                  <a:lnTo>
                    <a:pt x="444" y="216"/>
                  </a:lnTo>
                  <a:lnTo>
                    <a:pt x="480" y="204"/>
                  </a:lnTo>
                  <a:lnTo>
                    <a:pt x="600" y="150"/>
                  </a:lnTo>
                  <a:lnTo>
                    <a:pt x="648" y="126"/>
                  </a:lnTo>
                  <a:lnTo>
                    <a:pt x="702" y="96"/>
                  </a:lnTo>
                  <a:lnTo>
                    <a:pt x="708" y="54"/>
                  </a:lnTo>
                  <a:lnTo>
                    <a:pt x="720" y="24"/>
                  </a:lnTo>
                  <a:lnTo>
                    <a:pt x="738" y="12"/>
                  </a:lnTo>
                  <a:lnTo>
                    <a:pt x="768" y="0"/>
                  </a:lnTo>
                  <a:lnTo>
                    <a:pt x="792" y="6"/>
                  </a:lnTo>
                  <a:lnTo>
                    <a:pt x="804" y="12"/>
                  </a:lnTo>
                  <a:lnTo>
                    <a:pt x="834" y="48"/>
                  </a:lnTo>
                  <a:lnTo>
                    <a:pt x="834" y="60"/>
                  </a:lnTo>
                  <a:lnTo>
                    <a:pt x="852" y="84"/>
                  </a:lnTo>
                  <a:lnTo>
                    <a:pt x="864" y="96"/>
                  </a:lnTo>
                  <a:lnTo>
                    <a:pt x="888" y="102"/>
                  </a:lnTo>
                  <a:lnTo>
                    <a:pt x="978" y="120"/>
                  </a:lnTo>
                  <a:lnTo>
                    <a:pt x="984" y="126"/>
                  </a:lnTo>
                  <a:lnTo>
                    <a:pt x="984" y="132"/>
                  </a:lnTo>
                  <a:lnTo>
                    <a:pt x="996" y="138"/>
                  </a:lnTo>
                  <a:lnTo>
                    <a:pt x="1038" y="126"/>
                  </a:lnTo>
                  <a:lnTo>
                    <a:pt x="1056" y="114"/>
                  </a:lnTo>
                  <a:lnTo>
                    <a:pt x="1068" y="126"/>
                  </a:lnTo>
                  <a:lnTo>
                    <a:pt x="1074" y="132"/>
                  </a:lnTo>
                  <a:lnTo>
                    <a:pt x="1068" y="138"/>
                  </a:lnTo>
                  <a:lnTo>
                    <a:pt x="1056" y="150"/>
                  </a:lnTo>
                  <a:lnTo>
                    <a:pt x="1038" y="162"/>
                  </a:lnTo>
                  <a:lnTo>
                    <a:pt x="1038" y="168"/>
                  </a:lnTo>
                  <a:lnTo>
                    <a:pt x="1020" y="174"/>
                  </a:lnTo>
                  <a:lnTo>
                    <a:pt x="1014" y="180"/>
                  </a:lnTo>
                  <a:lnTo>
                    <a:pt x="1008" y="186"/>
                  </a:lnTo>
                  <a:lnTo>
                    <a:pt x="1002" y="198"/>
                  </a:lnTo>
                  <a:lnTo>
                    <a:pt x="984" y="204"/>
                  </a:lnTo>
                  <a:lnTo>
                    <a:pt x="984" y="246"/>
                  </a:lnTo>
                  <a:lnTo>
                    <a:pt x="978" y="270"/>
                  </a:lnTo>
                  <a:lnTo>
                    <a:pt x="990" y="306"/>
                  </a:lnTo>
                  <a:lnTo>
                    <a:pt x="990" y="324"/>
                  </a:lnTo>
                  <a:lnTo>
                    <a:pt x="1002" y="336"/>
                  </a:lnTo>
                  <a:lnTo>
                    <a:pt x="1020" y="372"/>
                  </a:lnTo>
                  <a:lnTo>
                    <a:pt x="1014" y="378"/>
                  </a:lnTo>
                  <a:lnTo>
                    <a:pt x="1014" y="384"/>
                  </a:lnTo>
                  <a:lnTo>
                    <a:pt x="1020" y="384"/>
                  </a:lnTo>
                  <a:lnTo>
                    <a:pt x="1020" y="396"/>
                  </a:lnTo>
                  <a:lnTo>
                    <a:pt x="1062" y="468"/>
                  </a:lnTo>
                  <a:lnTo>
                    <a:pt x="1092" y="522"/>
                  </a:lnTo>
                  <a:lnTo>
                    <a:pt x="1110" y="546"/>
                  </a:lnTo>
                  <a:lnTo>
                    <a:pt x="1122" y="564"/>
                  </a:lnTo>
                  <a:lnTo>
                    <a:pt x="1134" y="576"/>
                  </a:lnTo>
                  <a:lnTo>
                    <a:pt x="1146" y="582"/>
                  </a:lnTo>
                  <a:lnTo>
                    <a:pt x="1146" y="588"/>
                  </a:lnTo>
                  <a:lnTo>
                    <a:pt x="1164" y="600"/>
                  </a:lnTo>
                  <a:lnTo>
                    <a:pt x="1170" y="612"/>
                  </a:lnTo>
                  <a:lnTo>
                    <a:pt x="1170" y="624"/>
                  </a:lnTo>
                  <a:lnTo>
                    <a:pt x="1176" y="654"/>
                  </a:lnTo>
                  <a:lnTo>
                    <a:pt x="1176" y="666"/>
                  </a:lnTo>
                  <a:lnTo>
                    <a:pt x="1182" y="684"/>
                  </a:lnTo>
                  <a:lnTo>
                    <a:pt x="1194" y="696"/>
                  </a:lnTo>
                  <a:lnTo>
                    <a:pt x="1212" y="696"/>
                  </a:lnTo>
                  <a:lnTo>
                    <a:pt x="1206" y="762"/>
                  </a:lnTo>
                  <a:lnTo>
                    <a:pt x="1200" y="768"/>
                  </a:lnTo>
                  <a:lnTo>
                    <a:pt x="1194" y="768"/>
                  </a:lnTo>
                  <a:lnTo>
                    <a:pt x="1194" y="774"/>
                  </a:lnTo>
                  <a:lnTo>
                    <a:pt x="1188" y="774"/>
                  </a:lnTo>
                  <a:lnTo>
                    <a:pt x="1182" y="780"/>
                  </a:lnTo>
                  <a:lnTo>
                    <a:pt x="1176" y="780"/>
                  </a:lnTo>
                  <a:lnTo>
                    <a:pt x="1170" y="780"/>
                  </a:lnTo>
                  <a:lnTo>
                    <a:pt x="1164" y="786"/>
                  </a:lnTo>
                  <a:lnTo>
                    <a:pt x="1158" y="786"/>
                  </a:lnTo>
                  <a:lnTo>
                    <a:pt x="1152" y="786"/>
                  </a:lnTo>
                  <a:lnTo>
                    <a:pt x="1140" y="786"/>
                  </a:lnTo>
                  <a:lnTo>
                    <a:pt x="1134" y="786"/>
                  </a:lnTo>
                  <a:lnTo>
                    <a:pt x="1134" y="780"/>
                  </a:lnTo>
                  <a:lnTo>
                    <a:pt x="1122" y="780"/>
                  </a:lnTo>
                  <a:lnTo>
                    <a:pt x="1116" y="786"/>
                  </a:lnTo>
                  <a:lnTo>
                    <a:pt x="1116" y="792"/>
                  </a:lnTo>
                  <a:lnTo>
                    <a:pt x="1122" y="804"/>
                  </a:lnTo>
                  <a:lnTo>
                    <a:pt x="1128" y="804"/>
                  </a:lnTo>
                  <a:lnTo>
                    <a:pt x="1128" y="816"/>
                  </a:lnTo>
                  <a:lnTo>
                    <a:pt x="1122" y="822"/>
                  </a:lnTo>
                  <a:lnTo>
                    <a:pt x="1116" y="816"/>
                  </a:lnTo>
                  <a:lnTo>
                    <a:pt x="1110" y="816"/>
                  </a:lnTo>
                  <a:lnTo>
                    <a:pt x="1104" y="816"/>
                  </a:lnTo>
                  <a:lnTo>
                    <a:pt x="1098" y="816"/>
                  </a:lnTo>
                  <a:lnTo>
                    <a:pt x="1098" y="822"/>
                  </a:lnTo>
                  <a:lnTo>
                    <a:pt x="1092" y="834"/>
                  </a:lnTo>
                  <a:lnTo>
                    <a:pt x="1092" y="840"/>
                  </a:lnTo>
                  <a:lnTo>
                    <a:pt x="1074" y="840"/>
                  </a:lnTo>
                  <a:lnTo>
                    <a:pt x="1074" y="828"/>
                  </a:lnTo>
                  <a:lnTo>
                    <a:pt x="1062" y="804"/>
                  </a:lnTo>
                  <a:lnTo>
                    <a:pt x="1056" y="792"/>
                  </a:lnTo>
                  <a:lnTo>
                    <a:pt x="1056" y="786"/>
                  </a:lnTo>
                  <a:lnTo>
                    <a:pt x="1026" y="780"/>
                  </a:lnTo>
                  <a:lnTo>
                    <a:pt x="1026" y="768"/>
                  </a:lnTo>
                  <a:lnTo>
                    <a:pt x="1008" y="768"/>
                  </a:lnTo>
                  <a:lnTo>
                    <a:pt x="1002" y="780"/>
                  </a:lnTo>
                  <a:lnTo>
                    <a:pt x="996" y="792"/>
                  </a:lnTo>
                  <a:lnTo>
                    <a:pt x="978" y="798"/>
                  </a:lnTo>
                  <a:lnTo>
                    <a:pt x="972" y="810"/>
                  </a:lnTo>
                  <a:lnTo>
                    <a:pt x="972" y="822"/>
                  </a:lnTo>
                  <a:lnTo>
                    <a:pt x="978" y="828"/>
                  </a:lnTo>
                  <a:lnTo>
                    <a:pt x="978" y="834"/>
                  </a:lnTo>
                  <a:lnTo>
                    <a:pt x="960" y="840"/>
                  </a:lnTo>
                  <a:lnTo>
                    <a:pt x="936" y="840"/>
                  </a:lnTo>
                  <a:lnTo>
                    <a:pt x="918" y="846"/>
                  </a:lnTo>
                  <a:lnTo>
                    <a:pt x="912" y="840"/>
                  </a:lnTo>
                  <a:lnTo>
                    <a:pt x="912" y="834"/>
                  </a:lnTo>
                  <a:lnTo>
                    <a:pt x="906" y="834"/>
                  </a:lnTo>
                  <a:lnTo>
                    <a:pt x="906" y="840"/>
                  </a:lnTo>
                  <a:lnTo>
                    <a:pt x="900" y="846"/>
                  </a:lnTo>
                  <a:lnTo>
                    <a:pt x="906" y="852"/>
                  </a:lnTo>
                  <a:lnTo>
                    <a:pt x="900" y="864"/>
                  </a:lnTo>
                  <a:lnTo>
                    <a:pt x="900" y="876"/>
                  </a:lnTo>
                  <a:lnTo>
                    <a:pt x="900" y="882"/>
                  </a:lnTo>
                  <a:lnTo>
                    <a:pt x="894" y="888"/>
                  </a:lnTo>
                  <a:lnTo>
                    <a:pt x="900" y="900"/>
                  </a:lnTo>
                  <a:lnTo>
                    <a:pt x="900" y="906"/>
                  </a:lnTo>
                  <a:lnTo>
                    <a:pt x="894" y="906"/>
                  </a:lnTo>
                  <a:lnTo>
                    <a:pt x="894" y="912"/>
                  </a:lnTo>
                  <a:lnTo>
                    <a:pt x="900" y="918"/>
                  </a:lnTo>
                  <a:lnTo>
                    <a:pt x="900" y="924"/>
                  </a:lnTo>
                  <a:lnTo>
                    <a:pt x="900" y="948"/>
                  </a:lnTo>
                  <a:lnTo>
                    <a:pt x="888" y="948"/>
                  </a:lnTo>
                  <a:lnTo>
                    <a:pt x="888" y="954"/>
                  </a:lnTo>
                  <a:lnTo>
                    <a:pt x="894" y="954"/>
                  </a:lnTo>
                  <a:lnTo>
                    <a:pt x="900" y="960"/>
                  </a:lnTo>
                  <a:lnTo>
                    <a:pt x="900" y="972"/>
                  </a:lnTo>
                  <a:lnTo>
                    <a:pt x="906" y="984"/>
                  </a:lnTo>
                  <a:lnTo>
                    <a:pt x="912" y="984"/>
                  </a:lnTo>
                  <a:lnTo>
                    <a:pt x="918" y="990"/>
                  </a:lnTo>
                  <a:lnTo>
                    <a:pt x="936" y="990"/>
                  </a:lnTo>
                  <a:lnTo>
                    <a:pt x="936" y="996"/>
                  </a:lnTo>
                  <a:lnTo>
                    <a:pt x="942" y="996"/>
                  </a:lnTo>
                  <a:lnTo>
                    <a:pt x="942" y="1002"/>
                  </a:lnTo>
                  <a:lnTo>
                    <a:pt x="942" y="1008"/>
                  </a:lnTo>
                  <a:lnTo>
                    <a:pt x="948" y="1008"/>
                  </a:lnTo>
                  <a:lnTo>
                    <a:pt x="948" y="1014"/>
                  </a:lnTo>
                  <a:lnTo>
                    <a:pt x="948" y="1020"/>
                  </a:lnTo>
                  <a:lnTo>
                    <a:pt x="954" y="1032"/>
                  </a:lnTo>
                  <a:lnTo>
                    <a:pt x="948" y="1038"/>
                  </a:lnTo>
                  <a:lnTo>
                    <a:pt x="954" y="1044"/>
                  </a:lnTo>
                  <a:lnTo>
                    <a:pt x="954" y="1056"/>
                  </a:lnTo>
                  <a:lnTo>
                    <a:pt x="960" y="1056"/>
                  </a:lnTo>
                  <a:lnTo>
                    <a:pt x="960" y="1062"/>
                  </a:lnTo>
                  <a:lnTo>
                    <a:pt x="954" y="1068"/>
                  </a:lnTo>
                  <a:lnTo>
                    <a:pt x="948" y="1074"/>
                  </a:lnTo>
                  <a:lnTo>
                    <a:pt x="948" y="1080"/>
                  </a:lnTo>
                  <a:lnTo>
                    <a:pt x="948" y="1086"/>
                  </a:lnTo>
                  <a:lnTo>
                    <a:pt x="942" y="1092"/>
                  </a:lnTo>
                  <a:lnTo>
                    <a:pt x="942" y="1098"/>
                  </a:lnTo>
                  <a:lnTo>
                    <a:pt x="942" y="1104"/>
                  </a:lnTo>
                  <a:lnTo>
                    <a:pt x="942" y="1110"/>
                  </a:lnTo>
                  <a:lnTo>
                    <a:pt x="936" y="1116"/>
                  </a:lnTo>
                  <a:lnTo>
                    <a:pt x="936" y="1122"/>
                  </a:lnTo>
                  <a:lnTo>
                    <a:pt x="936" y="1128"/>
                  </a:lnTo>
                  <a:lnTo>
                    <a:pt x="936" y="1134"/>
                  </a:lnTo>
                  <a:lnTo>
                    <a:pt x="942" y="1146"/>
                  </a:lnTo>
                  <a:lnTo>
                    <a:pt x="936" y="1158"/>
                  </a:lnTo>
                  <a:lnTo>
                    <a:pt x="936" y="1170"/>
                  </a:lnTo>
                  <a:lnTo>
                    <a:pt x="936" y="1194"/>
                  </a:lnTo>
                  <a:lnTo>
                    <a:pt x="930" y="1200"/>
                  </a:lnTo>
                  <a:lnTo>
                    <a:pt x="930" y="1212"/>
                  </a:lnTo>
                  <a:lnTo>
                    <a:pt x="918" y="1218"/>
                  </a:lnTo>
                  <a:lnTo>
                    <a:pt x="918" y="1230"/>
                  </a:lnTo>
                  <a:lnTo>
                    <a:pt x="906" y="1230"/>
                  </a:lnTo>
                  <a:lnTo>
                    <a:pt x="900" y="1254"/>
                  </a:lnTo>
                  <a:lnTo>
                    <a:pt x="900" y="1260"/>
                  </a:lnTo>
                  <a:lnTo>
                    <a:pt x="900" y="1266"/>
                  </a:lnTo>
                  <a:lnTo>
                    <a:pt x="900" y="1272"/>
                  </a:lnTo>
                  <a:lnTo>
                    <a:pt x="900" y="1278"/>
                  </a:lnTo>
                  <a:lnTo>
                    <a:pt x="900" y="1284"/>
                  </a:lnTo>
                  <a:lnTo>
                    <a:pt x="906" y="129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1" name="Freeform 26">
              <a:extLst>
                <a:ext uri="{FF2B5EF4-FFF2-40B4-BE49-F238E27FC236}">
                  <a16:creationId xmlns:a16="http://schemas.microsoft.com/office/drawing/2014/main" id="{25725EFE-FE00-49A8-A87A-6752B785C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79173" y="3477313"/>
              <a:ext cx="650731" cy="559125"/>
            </a:xfrm>
            <a:custGeom>
              <a:avLst/>
              <a:gdLst>
                <a:gd name="T0" fmla="*/ 95 w 1224"/>
                <a:gd name="T1" fmla="*/ 89 h 1050"/>
                <a:gd name="T2" fmla="*/ 90 w 1224"/>
                <a:gd name="T3" fmla="*/ 84 h 1050"/>
                <a:gd name="T4" fmla="*/ 84 w 1224"/>
                <a:gd name="T5" fmla="*/ 83 h 1050"/>
                <a:gd name="T6" fmla="*/ 82 w 1224"/>
                <a:gd name="T7" fmla="*/ 80 h 1050"/>
                <a:gd name="T8" fmla="*/ 85 w 1224"/>
                <a:gd name="T9" fmla="*/ 77 h 1050"/>
                <a:gd name="T10" fmla="*/ 81 w 1224"/>
                <a:gd name="T11" fmla="*/ 76 h 1050"/>
                <a:gd name="T12" fmla="*/ 77 w 1224"/>
                <a:gd name="T13" fmla="*/ 77 h 1050"/>
                <a:gd name="T14" fmla="*/ 78 w 1224"/>
                <a:gd name="T15" fmla="*/ 73 h 1050"/>
                <a:gd name="T16" fmla="*/ 59 w 1224"/>
                <a:gd name="T17" fmla="*/ 71 h 1050"/>
                <a:gd name="T18" fmla="*/ 41 w 1224"/>
                <a:gd name="T19" fmla="*/ 73 h 1050"/>
                <a:gd name="T20" fmla="*/ 33 w 1224"/>
                <a:gd name="T21" fmla="*/ 71 h 1050"/>
                <a:gd name="T22" fmla="*/ 30 w 1224"/>
                <a:gd name="T23" fmla="*/ 75 h 1050"/>
                <a:gd name="T24" fmla="*/ 27 w 1224"/>
                <a:gd name="T25" fmla="*/ 80 h 1050"/>
                <a:gd name="T26" fmla="*/ 12 w 1224"/>
                <a:gd name="T27" fmla="*/ 81 h 1050"/>
                <a:gd name="T28" fmla="*/ 9 w 1224"/>
                <a:gd name="T29" fmla="*/ 84 h 1050"/>
                <a:gd name="T30" fmla="*/ 6 w 1224"/>
                <a:gd name="T31" fmla="*/ 83 h 1050"/>
                <a:gd name="T32" fmla="*/ 1 w 1224"/>
                <a:gd name="T33" fmla="*/ 83 h 1050"/>
                <a:gd name="T34" fmla="*/ 3 w 1224"/>
                <a:gd name="T35" fmla="*/ 77 h 1050"/>
                <a:gd name="T36" fmla="*/ 5 w 1224"/>
                <a:gd name="T37" fmla="*/ 70 h 1050"/>
                <a:gd name="T38" fmla="*/ 2 w 1224"/>
                <a:gd name="T39" fmla="*/ 65 h 1050"/>
                <a:gd name="T40" fmla="*/ 3 w 1224"/>
                <a:gd name="T41" fmla="*/ 58 h 1050"/>
                <a:gd name="T42" fmla="*/ 4 w 1224"/>
                <a:gd name="T43" fmla="*/ 51 h 1050"/>
                <a:gd name="T44" fmla="*/ 3 w 1224"/>
                <a:gd name="T45" fmla="*/ 47 h 1050"/>
                <a:gd name="T46" fmla="*/ 4 w 1224"/>
                <a:gd name="T47" fmla="*/ 39 h 1050"/>
                <a:gd name="T48" fmla="*/ 6 w 1224"/>
                <a:gd name="T49" fmla="*/ 29 h 1050"/>
                <a:gd name="T50" fmla="*/ 3 w 1224"/>
                <a:gd name="T51" fmla="*/ 22 h 1050"/>
                <a:gd name="T52" fmla="*/ 2 w 1224"/>
                <a:gd name="T53" fmla="*/ 14 h 1050"/>
                <a:gd name="T54" fmla="*/ 0 w 1224"/>
                <a:gd name="T55" fmla="*/ 6 h 1050"/>
                <a:gd name="T56" fmla="*/ 9 w 1224"/>
                <a:gd name="T57" fmla="*/ 1 h 1050"/>
                <a:gd name="T58" fmla="*/ 11 w 1224"/>
                <a:gd name="T59" fmla="*/ 8 h 1050"/>
                <a:gd name="T60" fmla="*/ 15 w 1224"/>
                <a:gd name="T61" fmla="*/ 9 h 1050"/>
                <a:gd name="T62" fmla="*/ 18 w 1224"/>
                <a:gd name="T63" fmla="*/ 8 h 1050"/>
                <a:gd name="T64" fmla="*/ 18 w 1224"/>
                <a:gd name="T65" fmla="*/ 13 h 1050"/>
                <a:gd name="T66" fmla="*/ 17 w 1224"/>
                <a:gd name="T67" fmla="*/ 15 h 1050"/>
                <a:gd name="T68" fmla="*/ 17 w 1224"/>
                <a:gd name="T69" fmla="*/ 17 h 1050"/>
                <a:gd name="T70" fmla="*/ 17 w 1224"/>
                <a:gd name="T71" fmla="*/ 21 h 1050"/>
                <a:gd name="T72" fmla="*/ 21 w 1224"/>
                <a:gd name="T73" fmla="*/ 25 h 1050"/>
                <a:gd name="T74" fmla="*/ 24 w 1224"/>
                <a:gd name="T75" fmla="*/ 31 h 1050"/>
                <a:gd name="T76" fmla="*/ 35 w 1224"/>
                <a:gd name="T77" fmla="*/ 34 h 1050"/>
                <a:gd name="T78" fmla="*/ 40 w 1224"/>
                <a:gd name="T79" fmla="*/ 27 h 1050"/>
                <a:gd name="T80" fmla="*/ 46 w 1224"/>
                <a:gd name="T81" fmla="*/ 30 h 1050"/>
                <a:gd name="T82" fmla="*/ 51 w 1224"/>
                <a:gd name="T83" fmla="*/ 27 h 1050"/>
                <a:gd name="T84" fmla="*/ 59 w 1224"/>
                <a:gd name="T85" fmla="*/ 39 h 1050"/>
                <a:gd name="T86" fmla="*/ 59 w 1224"/>
                <a:gd name="T87" fmla="*/ 45 h 1050"/>
                <a:gd name="T88" fmla="*/ 72 w 1224"/>
                <a:gd name="T89" fmla="*/ 45 h 1050"/>
                <a:gd name="T90" fmla="*/ 79 w 1224"/>
                <a:gd name="T91" fmla="*/ 44 h 1050"/>
                <a:gd name="T92" fmla="*/ 87 w 1224"/>
                <a:gd name="T93" fmla="*/ 48 h 1050"/>
                <a:gd name="T94" fmla="*/ 93 w 1224"/>
                <a:gd name="T95" fmla="*/ 50 h 1050"/>
                <a:gd name="T96" fmla="*/ 98 w 1224"/>
                <a:gd name="T97" fmla="*/ 51 h 1050"/>
                <a:gd name="T98" fmla="*/ 106 w 1224"/>
                <a:gd name="T99" fmla="*/ 50 h 1050"/>
                <a:gd name="T100" fmla="*/ 104 w 1224"/>
                <a:gd name="T101" fmla="*/ 54 h 1050"/>
                <a:gd name="T102" fmla="*/ 104 w 1224"/>
                <a:gd name="T103" fmla="*/ 60 h 1050"/>
                <a:gd name="T104" fmla="*/ 101 w 1224"/>
                <a:gd name="T105" fmla="*/ 63 h 1050"/>
                <a:gd name="T106" fmla="*/ 98 w 1224"/>
                <a:gd name="T107" fmla="*/ 66 h 1050"/>
                <a:gd name="T108" fmla="*/ 95 w 1224"/>
                <a:gd name="T109" fmla="*/ 68 h 1050"/>
                <a:gd name="T110" fmla="*/ 93 w 1224"/>
                <a:gd name="T111" fmla="*/ 72 h 1050"/>
                <a:gd name="T112" fmla="*/ 98 w 1224"/>
                <a:gd name="T113" fmla="*/ 75 h 1050"/>
                <a:gd name="T114" fmla="*/ 102 w 1224"/>
                <a:gd name="T115" fmla="*/ 77 h 1050"/>
                <a:gd name="T116" fmla="*/ 107 w 1224"/>
                <a:gd name="T117" fmla="*/ 76 h 1050"/>
                <a:gd name="T118" fmla="*/ 104 w 1224"/>
                <a:gd name="T119" fmla="*/ 84 h 1050"/>
                <a:gd name="T120" fmla="*/ 103 w 1224"/>
                <a:gd name="T121" fmla="*/ 87 h 1050"/>
                <a:gd name="T122" fmla="*/ 104 w 1224"/>
                <a:gd name="T123" fmla="*/ 91 h 105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24"/>
                <a:gd name="T187" fmla="*/ 0 h 1050"/>
                <a:gd name="T188" fmla="*/ 1224 w 1224"/>
                <a:gd name="T189" fmla="*/ 1050 h 105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24" h="1050">
                  <a:moveTo>
                    <a:pt x="1128" y="1032"/>
                  </a:moveTo>
                  <a:lnTo>
                    <a:pt x="1122" y="1026"/>
                  </a:lnTo>
                  <a:lnTo>
                    <a:pt x="1116" y="1026"/>
                  </a:lnTo>
                  <a:lnTo>
                    <a:pt x="1110" y="1026"/>
                  </a:lnTo>
                  <a:lnTo>
                    <a:pt x="1104" y="1026"/>
                  </a:lnTo>
                  <a:lnTo>
                    <a:pt x="1104" y="1020"/>
                  </a:lnTo>
                  <a:lnTo>
                    <a:pt x="1098" y="1020"/>
                  </a:lnTo>
                  <a:lnTo>
                    <a:pt x="1092" y="1020"/>
                  </a:lnTo>
                  <a:lnTo>
                    <a:pt x="1086" y="1020"/>
                  </a:lnTo>
                  <a:lnTo>
                    <a:pt x="1080" y="1014"/>
                  </a:lnTo>
                  <a:lnTo>
                    <a:pt x="1068" y="1014"/>
                  </a:lnTo>
                  <a:lnTo>
                    <a:pt x="1062" y="1014"/>
                  </a:lnTo>
                  <a:lnTo>
                    <a:pt x="1062" y="1008"/>
                  </a:lnTo>
                  <a:lnTo>
                    <a:pt x="1062" y="990"/>
                  </a:lnTo>
                  <a:lnTo>
                    <a:pt x="1062" y="984"/>
                  </a:lnTo>
                  <a:lnTo>
                    <a:pt x="1062" y="972"/>
                  </a:lnTo>
                  <a:lnTo>
                    <a:pt x="1044" y="966"/>
                  </a:lnTo>
                  <a:lnTo>
                    <a:pt x="1026" y="966"/>
                  </a:lnTo>
                  <a:lnTo>
                    <a:pt x="1014" y="966"/>
                  </a:lnTo>
                  <a:lnTo>
                    <a:pt x="996" y="966"/>
                  </a:lnTo>
                  <a:lnTo>
                    <a:pt x="996" y="972"/>
                  </a:lnTo>
                  <a:lnTo>
                    <a:pt x="990" y="972"/>
                  </a:lnTo>
                  <a:lnTo>
                    <a:pt x="984" y="966"/>
                  </a:lnTo>
                  <a:lnTo>
                    <a:pt x="978" y="966"/>
                  </a:lnTo>
                  <a:lnTo>
                    <a:pt x="978" y="960"/>
                  </a:lnTo>
                  <a:lnTo>
                    <a:pt x="972" y="954"/>
                  </a:lnTo>
                  <a:lnTo>
                    <a:pt x="966" y="954"/>
                  </a:lnTo>
                  <a:lnTo>
                    <a:pt x="960" y="954"/>
                  </a:lnTo>
                  <a:lnTo>
                    <a:pt x="954" y="954"/>
                  </a:lnTo>
                  <a:lnTo>
                    <a:pt x="954" y="948"/>
                  </a:lnTo>
                  <a:lnTo>
                    <a:pt x="942" y="942"/>
                  </a:lnTo>
                  <a:lnTo>
                    <a:pt x="936" y="942"/>
                  </a:lnTo>
                  <a:lnTo>
                    <a:pt x="936" y="936"/>
                  </a:lnTo>
                  <a:lnTo>
                    <a:pt x="936" y="930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42" y="918"/>
                  </a:lnTo>
                  <a:lnTo>
                    <a:pt x="948" y="918"/>
                  </a:lnTo>
                  <a:lnTo>
                    <a:pt x="960" y="918"/>
                  </a:lnTo>
                  <a:lnTo>
                    <a:pt x="966" y="912"/>
                  </a:lnTo>
                  <a:lnTo>
                    <a:pt x="978" y="906"/>
                  </a:lnTo>
                  <a:lnTo>
                    <a:pt x="978" y="900"/>
                  </a:lnTo>
                  <a:lnTo>
                    <a:pt x="978" y="894"/>
                  </a:lnTo>
                  <a:lnTo>
                    <a:pt x="978" y="888"/>
                  </a:lnTo>
                  <a:lnTo>
                    <a:pt x="972" y="888"/>
                  </a:lnTo>
                  <a:lnTo>
                    <a:pt x="978" y="888"/>
                  </a:lnTo>
                  <a:lnTo>
                    <a:pt x="978" y="882"/>
                  </a:lnTo>
                  <a:lnTo>
                    <a:pt x="972" y="876"/>
                  </a:lnTo>
                  <a:lnTo>
                    <a:pt x="966" y="870"/>
                  </a:lnTo>
                  <a:lnTo>
                    <a:pt x="954" y="876"/>
                  </a:lnTo>
                  <a:lnTo>
                    <a:pt x="948" y="876"/>
                  </a:lnTo>
                  <a:lnTo>
                    <a:pt x="942" y="870"/>
                  </a:lnTo>
                  <a:lnTo>
                    <a:pt x="936" y="876"/>
                  </a:lnTo>
                  <a:lnTo>
                    <a:pt x="930" y="876"/>
                  </a:lnTo>
                  <a:lnTo>
                    <a:pt x="924" y="882"/>
                  </a:lnTo>
                  <a:lnTo>
                    <a:pt x="912" y="888"/>
                  </a:lnTo>
                  <a:lnTo>
                    <a:pt x="906" y="894"/>
                  </a:lnTo>
                  <a:lnTo>
                    <a:pt x="900" y="900"/>
                  </a:lnTo>
                  <a:lnTo>
                    <a:pt x="894" y="888"/>
                  </a:lnTo>
                  <a:lnTo>
                    <a:pt x="888" y="894"/>
                  </a:lnTo>
                  <a:lnTo>
                    <a:pt x="882" y="888"/>
                  </a:lnTo>
                  <a:lnTo>
                    <a:pt x="876" y="894"/>
                  </a:lnTo>
                  <a:lnTo>
                    <a:pt x="876" y="888"/>
                  </a:lnTo>
                  <a:lnTo>
                    <a:pt x="876" y="882"/>
                  </a:lnTo>
                  <a:lnTo>
                    <a:pt x="876" y="876"/>
                  </a:lnTo>
                  <a:lnTo>
                    <a:pt x="870" y="858"/>
                  </a:lnTo>
                  <a:lnTo>
                    <a:pt x="864" y="858"/>
                  </a:lnTo>
                  <a:lnTo>
                    <a:pt x="870" y="852"/>
                  </a:lnTo>
                  <a:lnTo>
                    <a:pt x="870" y="846"/>
                  </a:lnTo>
                  <a:lnTo>
                    <a:pt x="876" y="846"/>
                  </a:lnTo>
                  <a:lnTo>
                    <a:pt x="882" y="846"/>
                  </a:lnTo>
                  <a:lnTo>
                    <a:pt x="888" y="840"/>
                  </a:lnTo>
                  <a:lnTo>
                    <a:pt x="894" y="834"/>
                  </a:lnTo>
                  <a:lnTo>
                    <a:pt x="894" y="828"/>
                  </a:lnTo>
                  <a:lnTo>
                    <a:pt x="894" y="816"/>
                  </a:lnTo>
                  <a:lnTo>
                    <a:pt x="858" y="810"/>
                  </a:lnTo>
                  <a:lnTo>
                    <a:pt x="858" y="816"/>
                  </a:lnTo>
                  <a:lnTo>
                    <a:pt x="852" y="816"/>
                  </a:lnTo>
                  <a:lnTo>
                    <a:pt x="780" y="816"/>
                  </a:lnTo>
                  <a:lnTo>
                    <a:pt x="750" y="816"/>
                  </a:lnTo>
                  <a:lnTo>
                    <a:pt x="684" y="816"/>
                  </a:lnTo>
                  <a:lnTo>
                    <a:pt x="636" y="816"/>
                  </a:lnTo>
                  <a:lnTo>
                    <a:pt x="612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0" y="816"/>
                  </a:lnTo>
                  <a:lnTo>
                    <a:pt x="480" y="822"/>
                  </a:lnTo>
                  <a:lnTo>
                    <a:pt x="480" y="834"/>
                  </a:lnTo>
                  <a:lnTo>
                    <a:pt x="474" y="840"/>
                  </a:lnTo>
                  <a:lnTo>
                    <a:pt x="468" y="840"/>
                  </a:lnTo>
                  <a:lnTo>
                    <a:pt x="432" y="840"/>
                  </a:lnTo>
                  <a:lnTo>
                    <a:pt x="426" y="834"/>
                  </a:lnTo>
                  <a:lnTo>
                    <a:pt x="420" y="834"/>
                  </a:lnTo>
                  <a:lnTo>
                    <a:pt x="420" y="828"/>
                  </a:lnTo>
                  <a:lnTo>
                    <a:pt x="414" y="822"/>
                  </a:lnTo>
                  <a:lnTo>
                    <a:pt x="408" y="822"/>
                  </a:lnTo>
                  <a:lnTo>
                    <a:pt x="396" y="822"/>
                  </a:lnTo>
                  <a:lnTo>
                    <a:pt x="396" y="816"/>
                  </a:lnTo>
                  <a:lnTo>
                    <a:pt x="384" y="816"/>
                  </a:lnTo>
                  <a:lnTo>
                    <a:pt x="372" y="810"/>
                  </a:lnTo>
                  <a:lnTo>
                    <a:pt x="372" y="804"/>
                  </a:lnTo>
                  <a:lnTo>
                    <a:pt x="366" y="804"/>
                  </a:lnTo>
                  <a:lnTo>
                    <a:pt x="360" y="804"/>
                  </a:lnTo>
                  <a:lnTo>
                    <a:pt x="348" y="828"/>
                  </a:lnTo>
                  <a:lnTo>
                    <a:pt x="348" y="834"/>
                  </a:lnTo>
                  <a:lnTo>
                    <a:pt x="348" y="852"/>
                  </a:lnTo>
                  <a:lnTo>
                    <a:pt x="348" y="858"/>
                  </a:lnTo>
                  <a:lnTo>
                    <a:pt x="342" y="864"/>
                  </a:lnTo>
                  <a:lnTo>
                    <a:pt x="342" y="870"/>
                  </a:lnTo>
                  <a:lnTo>
                    <a:pt x="330" y="876"/>
                  </a:lnTo>
                  <a:lnTo>
                    <a:pt x="324" y="888"/>
                  </a:lnTo>
                  <a:lnTo>
                    <a:pt x="324" y="894"/>
                  </a:lnTo>
                  <a:lnTo>
                    <a:pt x="330" y="900"/>
                  </a:lnTo>
                  <a:lnTo>
                    <a:pt x="330" y="906"/>
                  </a:lnTo>
                  <a:lnTo>
                    <a:pt x="324" y="906"/>
                  </a:lnTo>
                  <a:lnTo>
                    <a:pt x="318" y="912"/>
                  </a:lnTo>
                  <a:lnTo>
                    <a:pt x="312" y="918"/>
                  </a:lnTo>
                  <a:lnTo>
                    <a:pt x="306" y="924"/>
                  </a:lnTo>
                  <a:lnTo>
                    <a:pt x="288" y="924"/>
                  </a:lnTo>
                  <a:lnTo>
                    <a:pt x="282" y="924"/>
                  </a:lnTo>
                  <a:lnTo>
                    <a:pt x="276" y="930"/>
                  </a:lnTo>
                  <a:lnTo>
                    <a:pt x="270" y="930"/>
                  </a:lnTo>
                  <a:lnTo>
                    <a:pt x="264" y="930"/>
                  </a:lnTo>
                  <a:lnTo>
                    <a:pt x="198" y="930"/>
                  </a:lnTo>
                  <a:lnTo>
                    <a:pt x="132" y="930"/>
                  </a:lnTo>
                  <a:lnTo>
                    <a:pt x="132" y="936"/>
                  </a:lnTo>
                  <a:lnTo>
                    <a:pt x="132" y="942"/>
                  </a:lnTo>
                  <a:lnTo>
                    <a:pt x="132" y="948"/>
                  </a:lnTo>
                  <a:lnTo>
                    <a:pt x="126" y="948"/>
                  </a:lnTo>
                  <a:lnTo>
                    <a:pt x="120" y="948"/>
                  </a:lnTo>
                  <a:lnTo>
                    <a:pt x="120" y="954"/>
                  </a:lnTo>
                  <a:lnTo>
                    <a:pt x="114" y="954"/>
                  </a:lnTo>
                  <a:lnTo>
                    <a:pt x="114" y="960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02" y="966"/>
                  </a:lnTo>
                  <a:lnTo>
                    <a:pt x="102" y="972"/>
                  </a:lnTo>
                  <a:lnTo>
                    <a:pt x="96" y="972"/>
                  </a:lnTo>
                  <a:lnTo>
                    <a:pt x="96" y="966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78" y="960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60"/>
                  </a:lnTo>
                  <a:lnTo>
                    <a:pt x="54" y="966"/>
                  </a:lnTo>
                  <a:lnTo>
                    <a:pt x="48" y="966"/>
                  </a:lnTo>
                  <a:lnTo>
                    <a:pt x="42" y="966"/>
                  </a:lnTo>
                  <a:lnTo>
                    <a:pt x="36" y="966"/>
                  </a:lnTo>
                  <a:lnTo>
                    <a:pt x="30" y="966"/>
                  </a:lnTo>
                  <a:lnTo>
                    <a:pt x="24" y="960"/>
                  </a:lnTo>
                  <a:lnTo>
                    <a:pt x="18" y="960"/>
                  </a:lnTo>
                  <a:lnTo>
                    <a:pt x="12" y="960"/>
                  </a:lnTo>
                  <a:lnTo>
                    <a:pt x="12" y="948"/>
                  </a:lnTo>
                  <a:lnTo>
                    <a:pt x="18" y="942"/>
                  </a:lnTo>
                  <a:lnTo>
                    <a:pt x="18" y="936"/>
                  </a:lnTo>
                  <a:lnTo>
                    <a:pt x="18" y="930"/>
                  </a:lnTo>
                  <a:lnTo>
                    <a:pt x="18" y="924"/>
                  </a:lnTo>
                  <a:lnTo>
                    <a:pt x="18" y="912"/>
                  </a:lnTo>
                  <a:lnTo>
                    <a:pt x="24" y="906"/>
                  </a:lnTo>
                  <a:lnTo>
                    <a:pt x="30" y="900"/>
                  </a:lnTo>
                  <a:lnTo>
                    <a:pt x="36" y="894"/>
                  </a:lnTo>
                  <a:lnTo>
                    <a:pt x="36" y="882"/>
                  </a:lnTo>
                  <a:lnTo>
                    <a:pt x="30" y="876"/>
                  </a:lnTo>
                  <a:lnTo>
                    <a:pt x="30" y="870"/>
                  </a:lnTo>
                  <a:lnTo>
                    <a:pt x="24" y="858"/>
                  </a:lnTo>
                  <a:lnTo>
                    <a:pt x="24" y="846"/>
                  </a:lnTo>
                  <a:lnTo>
                    <a:pt x="36" y="822"/>
                  </a:lnTo>
                  <a:lnTo>
                    <a:pt x="42" y="816"/>
                  </a:lnTo>
                  <a:lnTo>
                    <a:pt x="48" y="816"/>
                  </a:lnTo>
                  <a:lnTo>
                    <a:pt x="60" y="804"/>
                  </a:lnTo>
                  <a:lnTo>
                    <a:pt x="60" y="786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54" y="762"/>
                  </a:lnTo>
                  <a:lnTo>
                    <a:pt x="42" y="762"/>
                  </a:lnTo>
                  <a:lnTo>
                    <a:pt x="36" y="762"/>
                  </a:lnTo>
                  <a:lnTo>
                    <a:pt x="30" y="762"/>
                  </a:lnTo>
                  <a:lnTo>
                    <a:pt x="30" y="756"/>
                  </a:lnTo>
                  <a:lnTo>
                    <a:pt x="24" y="750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702"/>
                  </a:lnTo>
                  <a:lnTo>
                    <a:pt x="36" y="684"/>
                  </a:lnTo>
                  <a:lnTo>
                    <a:pt x="36" y="678"/>
                  </a:lnTo>
                  <a:lnTo>
                    <a:pt x="36" y="666"/>
                  </a:lnTo>
                  <a:lnTo>
                    <a:pt x="36" y="654"/>
                  </a:lnTo>
                  <a:lnTo>
                    <a:pt x="18" y="654"/>
                  </a:lnTo>
                  <a:lnTo>
                    <a:pt x="18" y="648"/>
                  </a:lnTo>
                  <a:lnTo>
                    <a:pt x="18" y="618"/>
                  </a:lnTo>
                  <a:lnTo>
                    <a:pt x="18" y="612"/>
                  </a:lnTo>
                  <a:lnTo>
                    <a:pt x="24" y="612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54" y="588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76"/>
                  </a:lnTo>
                  <a:lnTo>
                    <a:pt x="48" y="564"/>
                  </a:lnTo>
                  <a:lnTo>
                    <a:pt x="42" y="564"/>
                  </a:lnTo>
                  <a:lnTo>
                    <a:pt x="36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6" y="540"/>
                  </a:lnTo>
                  <a:lnTo>
                    <a:pt x="48" y="534"/>
                  </a:lnTo>
                  <a:lnTo>
                    <a:pt x="54" y="528"/>
                  </a:lnTo>
                  <a:lnTo>
                    <a:pt x="60" y="504"/>
                  </a:lnTo>
                  <a:lnTo>
                    <a:pt x="60" y="492"/>
                  </a:lnTo>
                  <a:lnTo>
                    <a:pt x="54" y="492"/>
                  </a:lnTo>
                  <a:lnTo>
                    <a:pt x="54" y="480"/>
                  </a:lnTo>
                  <a:lnTo>
                    <a:pt x="48" y="456"/>
                  </a:lnTo>
                  <a:lnTo>
                    <a:pt x="42" y="450"/>
                  </a:lnTo>
                  <a:lnTo>
                    <a:pt x="36" y="444"/>
                  </a:lnTo>
                  <a:lnTo>
                    <a:pt x="36" y="420"/>
                  </a:lnTo>
                  <a:lnTo>
                    <a:pt x="36" y="408"/>
                  </a:lnTo>
                  <a:lnTo>
                    <a:pt x="36" y="37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60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6" y="300"/>
                  </a:lnTo>
                  <a:lnTo>
                    <a:pt x="60" y="294"/>
                  </a:lnTo>
                  <a:lnTo>
                    <a:pt x="60" y="288"/>
                  </a:lnTo>
                  <a:lnTo>
                    <a:pt x="54" y="282"/>
                  </a:lnTo>
                  <a:lnTo>
                    <a:pt x="42" y="276"/>
                  </a:lnTo>
                  <a:lnTo>
                    <a:pt x="36" y="276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0" y="252"/>
                  </a:lnTo>
                  <a:lnTo>
                    <a:pt x="24" y="246"/>
                  </a:lnTo>
                  <a:lnTo>
                    <a:pt x="24" y="240"/>
                  </a:lnTo>
                  <a:lnTo>
                    <a:pt x="24" y="228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62"/>
                  </a:lnTo>
                  <a:lnTo>
                    <a:pt x="24" y="144"/>
                  </a:lnTo>
                  <a:lnTo>
                    <a:pt x="24" y="132"/>
                  </a:lnTo>
                  <a:lnTo>
                    <a:pt x="24" y="114"/>
                  </a:lnTo>
                  <a:lnTo>
                    <a:pt x="24" y="102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18" y="48"/>
                  </a:lnTo>
                  <a:lnTo>
                    <a:pt x="42" y="36"/>
                  </a:lnTo>
                  <a:lnTo>
                    <a:pt x="54" y="24"/>
                  </a:lnTo>
                  <a:lnTo>
                    <a:pt x="60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10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14" y="60"/>
                  </a:lnTo>
                  <a:lnTo>
                    <a:pt x="120" y="60"/>
                  </a:lnTo>
                  <a:lnTo>
                    <a:pt x="114" y="84"/>
                  </a:lnTo>
                  <a:lnTo>
                    <a:pt x="120" y="90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38" y="114"/>
                  </a:lnTo>
                  <a:lnTo>
                    <a:pt x="138" y="132"/>
                  </a:lnTo>
                  <a:lnTo>
                    <a:pt x="162" y="126"/>
                  </a:lnTo>
                  <a:lnTo>
                    <a:pt x="162" y="114"/>
                  </a:lnTo>
                  <a:lnTo>
                    <a:pt x="174" y="108"/>
                  </a:lnTo>
                  <a:lnTo>
                    <a:pt x="174" y="102"/>
                  </a:lnTo>
                  <a:lnTo>
                    <a:pt x="180" y="96"/>
                  </a:lnTo>
                  <a:lnTo>
                    <a:pt x="180" y="60"/>
                  </a:lnTo>
                  <a:lnTo>
                    <a:pt x="192" y="60"/>
                  </a:lnTo>
                  <a:lnTo>
                    <a:pt x="192" y="72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04" y="108"/>
                  </a:lnTo>
                  <a:lnTo>
                    <a:pt x="204" y="114"/>
                  </a:lnTo>
                  <a:lnTo>
                    <a:pt x="204" y="120"/>
                  </a:lnTo>
                  <a:lnTo>
                    <a:pt x="204" y="126"/>
                  </a:lnTo>
                  <a:lnTo>
                    <a:pt x="210" y="126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8" y="174"/>
                  </a:lnTo>
                  <a:lnTo>
                    <a:pt x="198" y="180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86" y="204"/>
                  </a:lnTo>
                  <a:lnTo>
                    <a:pt x="186" y="210"/>
                  </a:lnTo>
                  <a:lnTo>
                    <a:pt x="180" y="210"/>
                  </a:lnTo>
                  <a:lnTo>
                    <a:pt x="180" y="216"/>
                  </a:lnTo>
                  <a:lnTo>
                    <a:pt x="180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92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8" y="258"/>
                  </a:lnTo>
                  <a:lnTo>
                    <a:pt x="204" y="258"/>
                  </a:lnTo>
                  <a:lnTo>
                    <a:pt x="210" y="258"/>
                  </a:lnTo>
                  <a:lnTo>
                    <a:pt x="216" y="258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34" y="276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46" y="306"/>
                  </a:lnTo>
                  <a:lnTo>
                    <a:pt x="252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42"/>
                  </a:lnTo>
                  <a:lnTo>
                    <a:pt x="270" y="342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88" y="366"/>
                  </a:lnTo>
                  <a:lnTo>
                    <a:pt x="336" y="360"/>
                  </a:lnTo>
                  <a:lnTo>
                    <a:pt x="354" y="360"/>
                  </a:lnTo>
                  <a:lnTo>
                    <a:pt x="366" y="372"/>
                  </a:lnTo>
                  <a:lnTo>
                    <a:pt x="378" y="378"/>
                  </a:lnTo>
                  <a:lnTo>
                    <a:pt x="378" y="390"/>
                  </a:lnTo>
                  <a:lnTo>
                    <a:pt x="384" y="390"/>
                  </a:lnTo>
                  <a:lnTo>
                    <a:pt x="390" y="396"/>
                  </a:lnTo>
                  <a:lnTo>
                    <a:pt x="408" y="390"/>
                  </a:lnTo>
                  <a:lnTo>
                    <a:pt x="426" y="366"/>
                  </a:lnTo>
                  <a:lnTo>
                    <a:pt x="432" y="360"/>
                  </a:lnTo>
                  <a:lnTo>
                    <a:pt x="438" y="348"/>
                  </a:lnTo>
                  <a:lnTo>
                    <a:pt x="438" y="342"/>
                  </a:lnTo>
                  <a:lnTo>
                    <a:pt x="438" y="330"/>
                  </a:lnTo>
                  <a:lnTo>
                    <a:pt x="444" y="324"/>
                  </a:lnTo>
                  <a:lnTo>
                    <a:pt x="450" y="318"/>
                  </a:lnTo>
                  <a:lnTo>
                    <a:pt x="456" y="312"/>
                  </a:lnTo>
                  <a:lnTo>
                    <a:pt x="456" y="306"/>
                  </a:lnTo>
                  <a:lnTo>
                    <a:pt x="456" y="300"/>
                  </a:lnTo>
                  <a:lnTo>
                    <a:pt x="474" y="288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92" y="294"/>
                  </a:lnTo>
                  <a:lnTo>
                    <a:pt x="492" y="318"/>
                  </a:lnTo>
                  <a:lnTo>
                    <a:pt x="504" y="324"/>
                  </a:lnTo>
                  <a:lnTo>
                    <a:pt x="492" y="348"/>
                  </a:lnTo>
                  <a:lnTo>
                    <a:pt x="522" y="348"/>
                  </a:lnTo>
                  <a:lnTo>
                    <a:pt x="528" y="342"/>
                  </a:lnTo>
                  <a:lnTo>
                    <a:pt x="528" y="336"/>
                  </a:lnTo>
                  <a:lnTo>
                    <a:pt x="528" y="330"/>
                  </a:lnTo>
                  <a:lnTo>
                    <a:pt x="534" y="330"/>
                  </a:lnTo>
                  <a:lnTo>
                    <a:pt x="540" y="330"/>
                  </a:lnTo>
                  <a:lnTo>
                    <a:pt x="546" y="330"/>
                  </a:lnTo>
                  <a:lnTo>
                    <a:pt x="552" y="324"/>
                  </a:lnTo>
                  <a:lnTo>
                    <a:pt x="558" y="318"/>
                  </a:lnTo>
                  <a:lnTo>
                    <a:pt x="576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8" y="348"/>
                  </a:lnTo>
                  <a:lnTo>
                    <a:pt x="654" y="354"/>
                  </a:lnTo>
                  <a:lnTo>
                    <a:pt x="648" y="402"/>
                  </a:lnTo>
                  <a:lnTo>
                    <a:pt x="678" y="402"/>
                  </a:lnTo>
                  <a:lnTo>
                    <a:pt x="678" y="420"/>
                  </a:lnTo>
                  <a:lnTo>
                    <a:pt x="684" y="438"/>
                  </a:lnTo>
                  <a:lnTo>
                    <a:pt x="684" y="450"/>
                  </a:lnTo>
                  <a:lnTo>
                    <a:pt x="684" y="456"/>
                  </a:lnTo>
                  <a:lnTo>
                    <a:pt x="690" y="468"/>
                  </a:lnTo>
                  <a:lnTo>
                    <a:pt x="690" y="474"/>
                  </a:lnTo>
                  <a:lnTo>
                    <a:pt x="690" y="480"/>
                  </a:lnTo>
                  <a:lnTo>
                    <a:pt x="696" y="486"/>
                  </a:lnTo>
                  <a:lnTo>
                    <a:pt x="696" y="498"/>
                  </a:lnTo>
                  <a:lnTo>
                    <a:pt x="702" y="504"/>
                  </a:lnTo>
                  <a:lnTo>
                    <a:pt x="690" y="516"/>
                  </a:lnTo>
                  <a:lnTo>
                    <a:pt x="678" y="522"/>
                  </a:lnTo>
                  <a:lnTo>
                    <a:pt x="654" y="528"/>
                  </a:lnTo>
                  <a:lnTo>
                    <a:pt x="660" y="546"/>
                  </a:lnTo>
                  <a:lnTo>
                    <a:pt x="672" y="546"/>
                  </a:lnTo>
                  <a:lnTo>
                    <a:pt x="678" y="540"/>
                  </a:lnTo>
                  <a:lnTo>
                    <a:pt x="714" y="540"/>
                  </a:lnTo>
                  <a:lnTo>
                    <a:pt x="798" y="540"/>
                  </a:lnTo>
                  <a:lnTo>
                    <a:pt x="804" y="540"/>
                  </a:lnTo>
                  <a:lnTo>
                    <a:pt x="816" y="528"/>
                  </a:lnTo>
                  <a:lnTo>
                    <a:pt x="822" y="522"/>
                  </a:lnTo>
                  <a:lnTo>
                    <a:pt x="834" y="516"/>
                  </a:lnTo>
                  <a:lnTo>
                    <a:pt x="846" y="516"/>
                  </a:lnTo>
                  <a:lnTo>
                    <a:pt x="852" y="510"/>
                  </a:lnTo>
                  <a:lnTo>
                    <a:pt x="858" y="510"/>
                  </a:lnTo>
                  <a:lnTo>
                    <a:pt x="882" y="516"/>
                  </a:lnTo>
                  <a:lnTo>
                    <a:pt x="888" y="516"/>
                  </a:lnTo>
                  <a:lnTo>
                    <a:pt x="888" y="510"/>
                  </a:lnTo>
                  <a:lnTo>
                    <a:pt x="894" y="510"/>
                  </a:lnTo>
                  <a:lnTo>
                    <a:pt x="906" y="504"/>
                  </a:lnTo>
                  <a:lnTo>
                    <a:pt x="918" y="498"/>
                  </a:lnTo>
                  <a:lnTo>
                    <a:pt x="930" y="492"/>
                  </a:lnTo>
                  <a:lnTo>
                    <a:pt x="936" y="492"/>
                  </a:lnTo>
                  <a:lnTo>
                    <a:pt x="948" y="492"/>
                  </a:lnTo>
                  <a:lnTo>
                    <a:pt x="954" y="528"/>
                  </a:lnTo>
                  <a:lnTo>
                    <a:pt x="954" y="564"/>
                  </a:lnTo>
                  <a:lnTo>
                    <a:pt x="972" y="564"/>
                  </a:lnTo>
                  <a:lnTo>
                    <a:pt x="978" y="558"/>
                  </a:lnTo>
                  <a:lnTo>
                    <a:pt x="990" y="552"/>
                  </a:lnTo>
                  <a:lnTo>
                    <a:pt x="1002" y="540"/>
                  </a:lnTo>
                  <a:lnTo>
                    <a:pt x="1026" y="534"/>
                  </a:lnTo>
                  <a:lnTo>
                    <a:pt x="1032" y="540"/>
                  </a:lnTo>
                  <a:lnTo>
                    <a:pt x="1044" y="546"/>
                  </a:lnTo>
                  <a:lnTo>
                    <a:pt x="1062" y="552"/>
                  </a:lnTo>
                  <a:lnTo>
                    <a:pt x="1068" y="552"/>
                  </a:lnTo>
                  <a:lnTo>
                    <a:pt x="1068" y="570"/>
                  </a:lnTo>
                  <a:lnTo>
                    <a:pt x="1068" y="576"/>
                  </a:lnTo>
                  <a:lnTo>
                    <a:pt x="1068" y="582"/>
                  </a:lnTo>
                  <a:lnTo>
                    <a:pt x="1068" y="588"/>
                  </a:lnTo>
                  <a:lnTo>
                    <a:pt x="1068" y="594"/>
                  </a:lnTo>
                  <a:lnTo>
                    <a:pt x="1080" y="600"/>
                  </a:lnTo>
                  <a:lnTo>
                    <a:pt x="1086" y="606"/>
                  </a:lnTo>
                  <a:lnTo>
                    <a:pt x="1092" y="594"/>
                  </a:lnTo>
                  <a:lnTo>
                    <a:pt x="1104" y="588"/>
                  </a:lnTo>
                  <a:lnTo>
                    <a:pt x="1116" y="588"/>
                  </a:lnTo>
                  <a:lnTo>
                    <a:pt x="1122" y="588"/>
                  </a:lnTo>
                  <a:lnTo>
                    <a:pt x="1122" y="594"/>
                  </a:lnTo>
                  <a:lnTo>
                    <a:pt x="1128" y="594"/>
                  </a:lnTo>
                  <a:lnTo>
                    <a:pt x="1134" y="594"/>
                  </a:lnTo>
                  <a:lnTo>
                    <a:pt x="1140" y="594"/>
                  </a:lnTo>
                  <a:lnTo>
                    <a:pt x="1146" y="588"/>
                  </a:lnTo>
                  <a:lnTo>
                    <a:pt x="1158" y="582"/>
                  </a:lnTo>
                  <a:lnTo>
                    <a:pt x="1164" y="576"/>
                  </a:lnTo>
                  <a:lnTo>
                    <a:pt x="1176" y="576"/>
                  </a:lnTo>
                  <a:lnTo>
                    <a:pt x="1194" y="576"/>
                  </a:lnTo>
                  <a:lnTo>
                    <a:pt x="1218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24" y="594"/>
                  </a:lnTo>
                  <a:lnTo>
                    <a:pt x="1212" y="600"/>
                  </a:lnTo>
                  <a:lnTo>
                    <a:pt x="1206" y="606"/>
                  </a:lnTo>
                  <a:lnTo>
                    <a:pt x="1200" y="606"/>
                  </a:lnTo>
                  <a:lnTo>
                    <a:pt x="1200" y="612"/>
                  </a:lnTo>
                  <a:lnTo>
                    <a:pt x="1194" y="612"/>
                  </a:lnTo>
                  <a:lnTo>
                    <a:pt x="1194" y="618"/>
                  </a:lnTo>
                  <a:lnTo>
                    <a:pt x="1194" y="624"/>
                  </a:lnTo>
                  <a:lnTo>
                    <a:pt x="1194" y="630"/>
                  </a:lnTo>
                  <a:lnTo>
                    <a:pt x="1194" y="648"/>
                  </a:lnTo>
                  <a:lnTo>
                    <a:pt x="1194" y="660"/>
                  </a:lnTo>
                  <a:lnTo>
                    <a:pt x="1194" y="666"/>
                  </a:lnTo>
                  <a:lnTo>
                    <a:pt x="1194" y="672"/>
                  </a:lnTo>
                  <a:lnTo>
                    <a:pt x="1194" y="678"/>
                  </a:lnTo>
                  <a:lnTo>
                    <a:pt x="1188" y="684"/>
                  </a:lnTo>
                  <a:lnTo>
                    <a:pt x="1188" y="690"/>
                  </a:lnTo>
                  <a:lnTo>
                    <a:pt x="1188" y="696"/>
                  </a:lnTo>
                  <a:lnTo>
                    <a:pt x="1188" y="702"/>
                  </a:lnTo>
                  <a:lnTo>
                    <a:pt x="1188" y="708"/>
                  </a:lnTo>
                  <a:lnTo>
                    <a:pt x="1188" y="714"/>
                  </a:lnTo>
                  <a:lnTo>
                    <a:pt x="1182" y="720"/>
                  </a:lnTo>
                  <a:lnTo>
                    <a:pt x="1170" y="720"/>
                  </a:lnTo>
                  <a:lnTo>
                    <a:pt x="1158" y="726"/>
                  </a:lnTo>
                  <a:lnTo>
                    <a:pt x="1152" y="726"/>
                  </a:lnTo>
                  <a:lnTo>
                    <a:pt x="1152" y="732"/>
                  </a:lnTo>
                  <a:lnTo>
                    <a:pt x="1146" y="738"/>
                  </a:lnTo>
                  <a:lnTo>
                    <a:pt x="1140" y="738"/>
                  </a:lnTo>
                  <a:lnTo>
                    <a:pt x="1140" y="744"/>
                  </a:lnTo>
                  <a:lnTo>
                    <a:pt x="1134" y="744"/>
                  </a:lnTo>
                  <a:lnTo>
                    <a:pt x="1128" y="744"/>
                  </a:lnTo>
                  <a:lnTo>
                    <a:pt x="1122" y="750"/>
                  </a:lnTo>
                  <a:lnTo>
                    <a:pt x="1128" y="750"/>
                  </a:lnTo>
                  <a:lnTo>
                    <a:pt x="1122" y="756"/>
                  </a:lnTo>
                  <a:lnTo>
                    <a:pt x="1116" y="756"/>
                  </a:lnTo>
                  <a:lnTo>
                    <a:pt x="1110" y="762"/>
                  </a:lnTo>
                  <a:lnTo>
                    <a:pt x="1104" y="762"/>
                  </a:lnTo>
                  <a:lnTo>
                    <a:pt x="1104" y="768"/>
                  </a:lnTo>
                  <a:lnTo>
                    <a:pt x="1098" y="768"/>
                  </a:lnTo>
                  <a:lnTo>
                    <a:pt x="1098" y="774"/>
                  </a:lnTo>
                  <a:lnTo>
                    <a:pt x="1092" y="774"/>
                  </a:lnTo>
                  <a:lnTo>
                    <a:pt x="1092" y="780"/>
                  </a:lnTo>
                  <a:lnTo>
                    <a:pt x="1086" y="780"/>
                  </a:lnTo>
                  <a:lnTo>
                    <a:pt x="1086" y="786"/>
                  </a:lnTo>
                  <a:lnTo>
                    <a:pt x="1080" y="786"/>
                  </a:lnTo>
                  <a:lnTo>
                    <a:pt x="1080" y="792"/>
                  </a:lnTo>
                  <a:lnTo>
                    <a:pt x="1080" y="798"/>
                  </a:lnTo>
                  <a:lnTo>
                    <a:pt x="1080" y="804"/>
                  </a:lnTo>
                  <a:lnTo>
                    <a:pt x="1086" y="810"/>
                  </a:lnTo>
                  <a:lnTo>
                    <a:pt x="1080" y="816"/>
                  </a:lnTo>
                  <a:lnTo>
                    <a:pt x="1080" y="822"/>
                  </a:lnTo>
                  <a:lnTo>
                    <a:pt x="1074" y="822"/>
                  </a:lnTo>
                  <a:lnTo>
                    <a:pt x="1068" y="828"/>
                  </a:lnTo>
                  <a:lnTo>
                    <a:pt x="1074" y="828"/>
                  </a:lnTo>
                  <a:lnTo>
                    <a:pt x="1074" y="834"/>
                  </a:lnTo>
                  <a:lnTo>
                    <a:pt x="1080" y="846"/>
                  </a:lnTo>
                  <a:lnTo>
                    <a:pt x="1086" y="846"/>
                  </a:lnTo>
                  <a:lnTo>
                    <a:pt x="1092" y="852"/>
                  </a:lnTo>
                  <a:lnTo>
                    <a:pt x="1092" y="858"/>
                  </a:lnTo>
                  <a:lnTo>
                    <a:pt x="1098" y="858"/>
                  </a:lnTo>
                  <a:lnTo>
                    <a:pt x="1110" y="864"/>
                  </a:lnTo>
                  <a:lnTo>
                    <a:pt x="1116" y="864"/>
                  </a:lnTo>
                  <a:lnTo>
                    <a:pt x="1122" y="864"/>
                  </a:lnTo>
                  <a:lnTo>
                    <a:pt x="1128" y="864"/>
                  </a:lnTo>
                  <a:lnTo>
                    <a:pt x="1134" y="876"/>
                  </a:lnTo>
                  <a:lnTo>
                    <a:pt x="1140" y="882"/>
                  </a:lnTo>
                  <a:lnTo>
                    <a:pt x="1140" y="888"/>
                  </a:lnTo>
                  <a:lnTo>
                    <a:pt x="1152" y="918"/>
                  </a:lnTo>
                  <a:lnTo>
                    <a:pt x="1158" y="894"/>
                  </a:lnTo>
                  <a:lnTo>
                    <a:pt x="1164" y="888"/>
                  </a:lnTo>
                  <a:lnTo>
                    <a:pt x="1164" y="882"/>
                  </a:lnTo>
                  <a:lnTo>
                    <a:pt x="1176" y="864"/>
                  </a:lnTo>
                  <a:lnTo>
                    <a:pt x="1182" y="858"/>
                  </a:lnTo>
                  <a:lnTo>
                    <a:pt x="1188" y="846"/>
                  </a:lnTo>
                  <a:lnTo>
                    <a:pt x="1200" y="840"/>
                  </a:lnTo>
                  <a:lnTo>
                    <a:pt x="1212" y="840"/>
                  </a:lnTo>
                  <a:lnTo>
                    <a:pt x="1218" y="846"/>
                  </a:lnTo>
                  <a:lnTo>
                    <a:pt x="1224" y="858"/>
                  </a:lnTo>
                  <a:lnTo>
                    <a:pt x="1224" y="864"/>
                  </a:lnTo>
                  <a:lnTo>
                    <a:pt x="1224" y="876"/>
                  </a:lnTo>
                  <a:lnTo>
                    <a:pt x="1212" y="912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00" y="930"/>
                  </a:lnTo>
                  <a:lnTo>
                    <a:pt x="1200" y="942"/>
                  </a:lnTo>
                  <a:lnTo>
                    <a:pt x="1194" y="948"/>
                  </a:lnTo>
                  <a:lnTo>
                    <a:pt x="1194" y="960"/>
                  </a:lnTo>
                  <a:lnTo>
                    <a:pt x="1194" y="966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70" y="984"/>
                  </a:lnTo>
                  <a:lnTo>
                    <a:pt x="1164" y="984"/>
                  </a:lnTo>
                  <a:lnTo>
                    <a:pt x="1158" y="984"/>
                  </a:lnTo>
                  <a:lnTo>
                    <a:pt x="1146" y="984"/>
                  </a:lnTo>
                  <a:lnTo>
                    <a:pt x="1140" y="990"/>
                  </a:lnTo>
                  <a:lnTo>
                    <a:pt x="1140" y="996"/>
                  </a:lnTo>
                  <a:lnTo>
                    <a:pt x="1152" y="996"/>
                  </a:lnTo>
                  <a:lnTo>
                    <a:pt x="1176" y="1002"/>
                  </a:lnTo>
                  <a:lnTo>
                    <a:pt x="1194" y="1008"/>
                  </a:lnTo>
                  <a:lnTo>
                    <a:pt x="1206" y="1008"/>
                  </a:lnTo>
                  <a:lnTo>
                    <a:pt x="1218" y="1014"/>
                  </a:lnTo>
                  <a:lnTo>
                    <a:pt x="1212" y="1038"/>
                  </a:lnTo>
                  <a:lnTo>
                    <a:pt x="1212" y="1044"/>
                  </a:lnTo>
                  <a:lnTo>
                    <a:pt x="1206" y="1044"/>
                  </a:lnTo>
                  <a:lnTo>
                    <a:pt x="1206" y="1050"/>
                  </a:lnTo>
                  <a:lnTo>
                    <a:pt x="1194" y="1050"/>
                  </a:lnTo>
                  <a:lnTo>
                    <a:pt x="1188" y="1044"/>
                  </a:lnTo>
                  <a:lnTo>
                    <a:pt x="1158" y="1020"/>
                  </a:lnTo>
                  <a:lnTo>
                    <a:pt x="1152" y="1020"/>
                  </a:lnTo>
                  <a:lnTo>
                    <a:pt x="1140" y="1020"/>
                  </a:lnTo>
                  <a:lnTo>
                    <a:pt x="1134" y="1020"/>
                  </a:lnTo>
                  <a:lnTo>
                    <a:pt x="1134" y="1026"/>
                  </a:lnTo>
                  <a:lnTo>
                    <a:pt x="1134" y="1032"/>
                  </a:lnTo>
                  <a:lnTo>
                    <a:pt x="1128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2" name="Freeform 27">
              <a:extLst>
                <a:ext uri="{FF2B5EF4-FFF2-40B4-BE49-F238E27FC236}">
                  <a16:creationId xmlns:a16="http://schemas.microsoft.com/office/drawing/2014/main" id="{CE95C9DF-B651-4085-946F-65424BC51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2063" y="3421400"/>
              <a:ext cx="342138" cy="377969"/>
            </a:xfrm>
            <a:custGeom>
              <a:avLst/>
              <a:gdLst>
                <a:gd name="T0" fmla="*/ 43 w 642"/>
                <a:gd name="T1" fmla="*/ 41 h 708"/>
                <a:gd name="T2" fmla="*/ 39 w 642"/>
                <a:gd name="T3" fmla="*/ 41 h 708"/>
                <a:gd name="T4" fmla="*/ 38 w 642"/>
                <a:gd name="T5" fmla="*/ 47 h 708"/>
                <a:gd name="T6" fmla="*/ 38 w 642"/>
                <a:gd name="T7" fmla="*/ 49 h 708"/>
                <a:gd name="T8" fmla="*/ 38 w 642"/>
                <a:gd name="T9" fmla="*/ 50 h 708"/>
                <a:gd name="T10" fmla="*/ 36 w 642"/>
                <a:gd name="T11" fmla="*/ 52 h 708"/>
                <a:gd name="T12" fmla="*/ 35 w 642"/>
                <a:gd name="T13" fmla="*/ 53 h 708"/>
                <a:gd name="T14" fmla="*/ 33 w 642"/>
                <a:gd name="T15" fmla="*/ 55 h 708"/>
                <a:gd name="T16" fmla="*/ 32 w 642"/>
                <a:gd name="T17" fmla="*/ 56 h 708"/>
                <a:gd name="T18" fmla="*/ 31 w 642"/>
                <a:gd name="T19" fmla="*/ 59 h 708"/>
                <a:gd name="T20" fmla="*/ 26 w 642"/>
                <a:gd name="T21" fmla="*/ 59 h 708"/>
                <a:gd name="T22" fmla="*/ 23 w 642"/>
                <a:gd name="T23" fmla="*/ 61 h 708"/>
                <a:gd name="T24" fmla="*/ 20 w 642"/>
                <a:gd name="T25" fmla="*/ 61 h 708"/>
                <a:gd name="T26" fmla="*/ 17 w 642"/>
                <a:gd name="T27" fmla="*/ 59 h 708"/>
                <a:gd name="T28" fmla="*/ 15 w 642"/>
                <a:gd name="T29" fmla="*/ 56 h 708"/>
                <a:gd name="T30" fmla="*/ 9 w 642"/>
                <a:gd name="T31" fmla="*/ 58 h 708"/>
                <a:gd name="T32" fmla="*/ 6 w 642"/>
                <a:gd name="T33" fmla="*/ 52 h 708"/>
                <a:gd name="T34" fmla="*/ 2 w 642"/>
                <a:gd name="T35" fmla="*/ 53 h 708"/>
                <a:gd name="T36" fmla="*/ 1 w 642"/>
                <a:gd name="T37" fmla="*/ 51 h 708"/>
                <a:gd name="T38" fmla="*/ 4 w 642"/>
                <a:gd name="T39" fmla="*/ 47 h 708"/>
                <a:gd name="T40" fmla="*/ 5 w 642"/>
                <a:gd name="T41" fmla="*/ 41 h 708"/>
                <a:gd name="T42" fmla="*/ 5 w 642"/>
                <a:gd name="T43" fmla="*/ 38 h 708"/>
                <a:gd name="T44" fmla="*/ 5 w 642"/>
                <a:gd name="T45" fmla="*/ 35 h 708"/>
                <a:gd name="T46" fmla="*/ 6 w 642"/>
                <a:gd name="T47" fmla="*/ 33 h 708"/>
                <a:gd name="T48" fmla="*/ 5 w 642"/>
                <a:gd name="T49" fmla="*/ 29 h 708"/>
                <a:gd name="T50" fmla="*/ 4 w 642"/>
                <a:gd name="T51" fmla="*/ 28 h 708"/>
                <a:gd name="T52" fmla="*/ 1 w 642"/>
                <a:gd name="T53" fmla="*/ 26 h 708"/>
                <a:gd name="T54" fmla="*/ 1 w 642"/>
                <a:gd name="T55" fmla="*/ 24 h 708"/>
                <a:gd name="T56" fmla="*/ 1 w 642"/>
                <a:gd name="T57" fmla="*/ 20 h 708"/>
                <a:gd name="T58" fmla="*/ 1 w 642"/>
                <a:gd name="T59" fmla="*/ 16 h 708"/>
                <a:gd name="T60" fmla="*/ 2 w 642"/>
                <a:gd name="T61" fmla="*/ 14 h 708"/>
                <a:gd name="T62" fmla="*/ 8 w 642"/>
                <a:gd name="T63" fmla="*/ 14 h 708"/>
                <a:gd name="T64" fmla="*/ 9 w 642"/>
                <a:gd name="T65" fmla="*/ 10 h 708"/>
                <a:gd name="T66" fmla="*/ 15 w 642"/>
                <a:gd name="T67" fmla="*/ 9 h 708"/>
                <a:gd name="T68" fmla="*/ 18 w 642"/>
                <a:gd name="T69" fmla="*/ 14 h 708"/>
                <a:gd name="T70" fmla="*/ 20 w 642"/>
                <a:gd name="T71" fmla="*/ 12 h 708"/>
                <a:gd name="T72" fmla="*/ 20 w 642"/>
                <a:gd name="T73" fmla="*/ 11 h 708"/>
                <a:gd name="T74" fmla="*/ 21 w 642"/>
                <a:gd name="T75" fmla="*/ 9 h 708"/>
                <a:gd name="T76" fmla="*/ 24 w 642"/>
                <a:gd name="T77" fmla="*/ 9 h 708"/>
                <a:gd name="T78" fmla="*/ 27 w 642"/>
                <a:gd name="T79" fmla="*/ 8 h 708"/>
                <a:gd name="T80" fmla="*/ 33 w 642"/>
                <a:gd name="T81" fmla="*/ 2 h 708"/>
                <a:gd name="T82" fmla="*/ 42 w 642"/>
                <a:gd name="T83" fmla="*/ 2 h 708"/>
                <a:gd name="T84" fmla="*/ 49 w 642"/>
                <a:gd name="T85" fmla="*/ 1 h 708"/>
                <a:gd name="T86" fmla="*/ 53 w 642"/>
                <a:gd name="T87" fmla="*/ 4 h 708"/>
                <a:gd name="T88" fmla="*/ 55 w 642"/>
                <a:gd name="T89" fmla="*/ 4 h 708"/>
                <a:gd name="T90" fmla="*/ 55 w 642"/>
                <a:gd name="T91" fmla="*/ 7 h 708"/>
                <a:gd name="T92" fmla="*/ 52 w 642"/>
                <a:gd name="T93" fmla="*/ 9 h 708"/>
                <a:gd name="T94" fmla="*/ 49 w 642"/>
                <a:gd name="T95" fmla="*/ 12 h 708"/>
                <a:gd name="T96" fmla="*/ 47 w 642"/>
                <a:gd name="T97" fmla="*/ 14 h 708"/>
                <a:gd name="T98" fmla="*/ 47 w 642"/>
                <a:gd name="T99" fmla="*/ 17 h 708"/>
                <a:gd name="T100" fmla="*/ 45 w 642"/>
                <a:gd name="T101" fmla="*/ 26 h 708"/>
                <a:gd name="T102" fmla="*/ 50 w 642"/>
                <a:gd name="T103" fmla="*/ 37 h 70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42"/>
                <a:gd name="T157" fmla="*/ 0 h 708"/>
                <a:gd name="T158" fmla="*/ 642 w 642"/>
                <a:gd name="T159" fmla="*/ 708 h 70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42" h="708">
                  <a:moveTo>
                    <a:pt x="576" y="468"/>
                  </a:moveTo>
                  <a:lnTo>
                    <a:pt x="564" y="468"/>
                  </a:lnTo>
                  <a:lnTo>
                    <a:pt x="516" y="468"/>
                  </a:lnTo>
                  <a:lnTo>
                    <a:pt x="498" y="474"/>
                  </a:lnTo>
                  <a:lnTo>
                    <a:pt x="492" y="468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68" y="474"/>
                  </a:lnTo>
                  <a:lnTo>
                    <a:pt x="456" y="468"/>
                  </a:lnTo>
                  <a:lnTo>
                    <a:pt x="444" y="474"/>
                  </a:lnTo>
                  <a:lnTo>
                    <a:pt x="438" y="492"/>
                  </a:lnTo>
                  <a:lnTo>
                    <a:pt x="438" y="504"/>
                  </a:lnTo>
                  <a:lnTo>
                    <a:pt x="432" y="516"/>
                  </a:lnTo>
                  <a:lnTo>
                    <a:pt x="432" y="528"/>
                  </a:lnTo>
                  <a:lnTo>
                    <a:pt x="432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52"/>
                  </a:lnTo>
                  <a:lnTo>
                    <a:pt x="432" y="558"/>
                  </a:lnTo>
                  <a:lnTo>
                    <a:pt x="438" y="564"/>
                  </a:lnTo>
                  <a:lnTo>
                    <a:pt x="444" y="564"/>
                  </a:lnTo>
                  <a:lnTo>
                    <a:pt x="438" y="564"/>
                  </a:lnTo>
                  <a:lnTo>
                    <a:pt x="438" y="570"/>
                  </a:lnTo>
                  <a:lnTo>
                    <a:pt x="432" y="570"/>
                  </a:lnTo>
                  <a:lnTo>
                    <a:pt x="432" y="576"/>
                  </a:lnTo>
                  <a:lnTo>
                    <a:pt x="426" y="588"/>
                  </a:lnTo>
                  <a:lnTo>
                    <a:pt x="420" y="594"/>
                  </a:lnTo>
                  <a:lnTo>
                    <a:pt x="420" y="600"/>
                  </a:lnTo>
                  <a:lnTo>
                    <a:pt x="414" y="600"/>
                  </a:lnTo>
                  <a:lnTo>
                    <a:pt x="414" y="606"/>
                  </a:lnTo>
                  <a:lnTo>
                    <a:pt x="408" y="606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396" y="612"/>
                  </a:lnTo>
                  <a:lnTo>
                    <a:pt x="390" y="612"/>
                  </a:lnTo>
                  <a:lnTo>
                    <a:pt x="390" y="618"/>
                  </a:lnTo>
                  <a:lnTo>
                    <a:pt x="384" y="618"/>
                  </a:lnTo>
                  <a:lnTo>
                    <a:pt x="378" y="618"/>
                  </a:lnTo>
                  <a:lnTo>
                    <a:pt x="378" y="624"/>
                  </a:lnTo>
                  <a:lnTo>
                    <a:pt x="384" y="630"/>
                  </a:lnTo>
                  <a:lnTo>
                    <a:pt x="384" y="636"/>
                  </a:lnTo>
                  <a:lnTo>
                    <a:pt x="378" y="630"/>
                  </a:lnTo>
                  <a:lnTo>
                    <a:pt x="372" y="636"/>
                  </a:lnTo>
                  <a:lnTo>
                    <a:pt x="372" y="642"/>
                  </a:lnTo>
                  <a:lnTo>
                    <a:pt x="366" y="642"/>
                  </a:lnTo>
                  <a:lnTo>
                    <a:pt x="360" y="654"/>
                  </a:lnTo>
                  <a:lnTo>
                    <a:pt x="354" y="666"/>
                  </a:lnTo>
                  <a:lnTo>
                    <a:pt x="354" y="672"/>
                  </a:lnTo>
                  <a:lnTo>
                    <a:pt x="354" y="678"/>
                  </a:lnTo>
                  <a:lnTo>
                    <a:pt x="354" y="684"/>
                  </a:lnTo>
                  <a:lnTo>
                    <a:pt x="348" y="678"/>
                  </a:lnTo>
                  <a:lnTo>
                    <a:pt x="324" y="678"/>
                  </a:lnTo>
                  <a:lnTo>
                    <a:pt x="306" y="678"/>
                  </a:lnTo>
                  <a:lnTo>
                    <a:pt x="294" y="678"/>
                  </a:lnTo>
                  <a:lnTo>
                    <a:pt x="288" y="684"/>
                  </a:lnTo>
                  <a:lnTo>
                    <a:pt x="276" y="690"/>
                  </a:lnTo>
                  <a:lnTo>
                    <a:pt x="270" y="696"/>
                  </a:lnTo>
                  <a:lnTo>
                    <a:pt x="264" y="696"/>
                  </a:lnTo>
                  <a:lnTo>
                    <a:pt x="258" y="696"/>
                  </a:lnTo>
                  <a:lnTo>
                    <a:pt x="252" y="696"/>
                  </a:lnTo>
                  <a:lnTo>
                    <a:pt x="252" y="690"/>
                  </a:lnTo>
                  <a:lnTo>
                    <a:pt x="246" y="690"/>
                  </a:lnTo>
                  <a:lnTo>
                    <a:pt x="234" y="690"/>
                  </a:lnTo>
                  <a:lnTo>
                    <a:pt x="222" y="696"/>
                  </a:lnTo>
                  <a:lnTo>
                    <a:pt x="216" y="708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8" y="690"/>
                  </a:lnTo>
                  <a:lnTo>
                    <a:pt x="198" y="684"/>
                  </a:lnTo>
                  <a:lnTo>
                    <a:pt x="198" y="678"/>
                  </a:lnTo>
                  <a:lnTo>
                    <a:pt x="198" y="672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74" y="648"/>
                  </a:lnTo>
                  <a:lnTo>
                    <a:pt x="162" y="642"/>
                  </a:lnTo>
                  <a:lnTo>
                    <a:pt x="156" y="636"/>
                  </a:lnTo>
                  <a:lnTo>
                    <a:pt x="132" y="642"/>
                  </a:lnTo>
                  <a:lnTo>
                    <a:pt x="120" y="654"/>
                  </a:lnTo>
                  <a:lnTo>
                    <a:pt x="108" y="660"/>
                  </a:lnTo>
                  <a:lnTo>
                    <a:pt x="102" y="666"/>
                  </a:lnTo>
                  <a:lnTo>
                    <a:pt x="84" y="666"/>
                  </a:lnTo>
                  <a:lnTo>
                    <a:pt x="84" y="630"/>
                  </a:lnTo>
                  <a:lnTo>
                    <a:pt x="78" y="594"/>
                  </a:lnTo>
                  <a:lnTo>
                    <a:pt x="66" y="594"/>
                  </a:lnTo>
                  <a:lnTo>
                    <a:pt x="60" y="594"/>
                  </a:lnTo>
                  <a:lnTo>
                    <a:pt x="48" y="600"/>
                  </a:lnTo>
                  <a:lnTo>
                    <a:pt x="36" y="606"/>
                  </a:lnTo>
                  <a:lnTo>
                    <a:pt x="24" y="612"/>
                  </a:lnTo>
                  <a:lnTo>
                    <a:pt x="18" y="612"/>
                  </a:lnTo>
                  <a:lnTo>
                    <a:pt x="12" y="606"/>
                  </a:lnTo>
                  <a:lnTo>
                    <a:pt x="12" y="600"/>
                  </a:lnTo>
                  <a:lnTo>
                    <a:pt x="12" y="594"/>
                  </a:lnTo>
                  <a:lnTo>
                    <a:pt x="12" y="588"/>
                  </a:lnTo>
                  <a:lnTo>
                    <a:pt x="12" y="582"/>
                  </a:lnTo>
                  <a:lnTo>
                    <a:pt x="12" y="576"/>
                  </a:lnTo>
                  <a:lnTo>
                    <a:pt x="18" y="552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42" y="534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48" y="492"/>
                  </a:lnTo>
                  <a:lnTo>
                    <a:pt x="48" y="480"/>
                  </a:lnTo>
                  <a:lnTo>
                    <a:pt x="54" y="468"/>
                  </a:lnTo>
                  <a:lnTo>
                    <a:pt x="48" y="456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66" y="390"/>
                  </a:lnTo>
                  <a:lnTo>
                    <a:pt x="72" y="384"/>
                  </a:lnTo>
                  <a:lnTo>
                    <a:pt x="72" y="378"/>
                  </a:lnTo>
                  <a:lnTo>
                    <a:pt x="66" y="378"/>
                  </a:lnTo>
                  <a:lnTo>
                    <a:pt x="66" y="366"/>
                  </a:lnTo>
                  <a:lnTo>
                    <a:pt x="60" y="360"/>
                  </a:lnTo>
                  <a:lnTo>
                    <a:pt x="66" y="354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48" y="312"/>
                  </a:lnTo>
                  <a:lnTo>
                    <a:pt x="30" y="312"/>
                  </a:lnTo>
                  <a:lnTo>
                    <a:pt x="24" y="306"/>
                  </a:lnTo>
                  <a:lnTo>
                    <a:pt x="18" y="306"/>
                  </a:lnTo>
                  <a:lnTo>
                    <a:pt x="12" y="294"/>
                  </a:lnTo>
                  <a:lnTo>
                    <a:pt x="12" y="282"/>
                  </a:lnTo>
                  <a:lnTo>
                    <a:pt x="6" y="276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12" y="270"/>
                  </a:lnTo>
                  <a:lnTo>
                    <a:pt x="12" y="246"/>
                  </a:lnTo>
                  <a:lnTo>
                    <a:pt x="12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8" y="174"/>
                  </a:lnTo>
                  <a:lnTo>
                    <a:pt x="12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48" y="162"/>
                  </a:lnTo>
                  <a:lnTo>
                    <a:pt x="72" y="162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84" y="132"/>
                  </a:lnTo>
                  <a:lnTo>
                    <a:pt x="90" y="120"/>
                  </a:lnTo>
                  <a:lnTo>
                    <a:pt x="108" y="114"/>
                  </a:lnTo>
                  <a:lnTo>
                    <a:pt x="114" y="102"/>
                  </a:lnTo>
                  <a:lnTo>
                    <a:pt x="120" y="90"/>
                  </a:lnTo>
                  <a:lnTo>
                    <a:pt x="138" y="90"/>
                  </a:lnTo>
                  <a:lnTo>
                    <a:pt x="138" y="102"/>
                  </a:lnTo>
                  <a:lnTo>
                    <a:pt x="168" y="108"/>
                  </a:lnTo>
                  <a:lnTo>
                    <a:pt x="168" y="114"/>
                  </a:lnTo>
                  <a:lnTo>
                    <a:pt x="174" y="126"/>
                  </a:lnTo>
                  <a:lnTo>
                    <a:pt x="186" y="150"/>
                  </a:lnTo>
                  <a:lnTo>
                    <a:pt x="186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34" y="144"/>
                  </a:lnTo>
                  <a:lnTo>
                    <a:pt x="240" y="138"/>
                  </a:lnTo>
                  <a:lnTo>
                    <a:pt x="240" y="126"/>
                  </a:lnTo>
                  <a:lnTo>
                    <a:pt x="234" y="126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34" y="102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82" y="102"/>
                  </a:lnTo>
                  <a:lnTo>
                    <a:pt x="288" y="102"/>
                  </a:lnTo>
                  <a:lnTo>
                    <a:pt x="294" y="102"/>
                  </a:lnTo>
                  <a:lnTo>
                    <a:pt x="300" y="96"/>
                  </a:lnTo>
                  <a:lnTo>
                    <a:pt x="306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84"/>
                  </a:lnTo>
                  <a:lnTo>
                    <a:pt x="324" y="18"/>
                  </a:lnTo>
                  <a:lnTo>
                    <a:pt x="360" y="18"/>
                  </a:lnTo>
                  <a:lnTo>
                    <a:pt x="378" y="18"/>
                  </a:lnTo>
                  <a:lnTo>
                    <a:pt x="378" y="30"/>
                  </a:lnTo>
                  <a:lnTo>
                    <a:pt x="390" y="30"/>
                  </a:lnTo>
                  <a:lnTo>
                    <a:pt x="432" y="30"/>
                  </a:lnTo>
                  <a:lnTo>
                    <a:pt x="456" y="24"/>
                  </a:lnTo>
                  <a:lnTo>
                    <a:pt x="480" y="24"/>
                  </a:lnTo>
                  <a:lnTo>
                    <a:pt x="498" y="30"/>
                  </a:lnTo>
                  <a:lnTo>
                    <a:pt x="522" y="18"/>
                  </a:lnTo>
                  <a:lnTo>
                    <a:pt x="528" y="0"/>
                  </a:lnTo>
                  <a:lnTo>
                    <a:pt x="558" y="6"/>
                  </a:lnTo>
                  <a:lnTo>
                    <a:pt x="558" y="12"/>
                  </a:lnTo>
                  <a:lnTo>
                    <a:pt x="570" y="18"/>
                  </a:lnTo>
                  <a:lnTo>
                    <a:pt x="576" y="24"/>
                  </a:lnTo>
                  <a:lnTo>
                    <a:pt x="588" y="36"/>
                  </a:lnTo>
                  <a:lnTo>
                    <a:pt x="594" y="48"/>
                  </a:lnTo>
                  <a:lnTo>
                    <a:pt x="606" y="48"/>
                  </a:lnTo>
                  <a:lnTo>
                    <a:pt x="606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42"/>
                  </a:lnTo>
                  <a:lnTo>
                    <a:pt x="636" y="42"/>
                  </a:lnTo>
                  <a:lnTo>
                    <a:pt x="636" y="48"/>
                  </a:lnTo>
                  <a:lnTo>
                    <a:pt x="642" y="54"/>
                  </a:lnTo>
                  <a:lnTo>
                    <a:pt x="636" y="60"/>
                  </a:lnTo>
                  <a:lnTo>
                    <a:pt x="636" y="66"/>
                  </a:lnTo>
                  <a:lnTo>
                    <a:pt x="636" y="78"/>
                  </a:lnTo>
                  <a:lnTo>
                    <a:pt x="624" y="84"/>
                  </a:lnTo>
                  <a:lnTo>
                    <a:pt x="618" y="90"/>
                  </a:lnTo>
                  <a:lnTo>
                    <a:pt x="612" y="90"/>
                  </a:lnTo>
                  <a:lnTo>
                    <a:pt x="600" y="102"/>
                  </a:lnTo>
                  <a:lnTo>
                    <a:pt x="594" y="108"/>
                  </a:lnTo>
                  <a:lnTo>
                    <a:pt x="582" y="114"/>
                  </a:lnTo>
                  <a:lnTo>
                    <a:pt x="570" y="132"/>
                  </a:lnTo>
                  <a:lnTo>
                    <a:pt x="564" y="132"/>
                  </a:lnTo>
                  <a:lnTo>
                    <a:pt x="564" y="138"/>
                  </a:lnTo>
                  <a:lnTo>
                    <a:pt x="558" y="144"/>
                  </a:lnTo>
                  <a:lnTo>
                    <a:pt x="558" y="150"/>
                  </a:lnTo>
                  <a:lnTo>
                    <a:pt x="552" y="150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0" y="162"/>
                  </a:lnTo>
                  <a:lnTo>
                    <a:pt x="534" y="168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6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28" y="234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16" y="294"/>
                  </a:lnTo>
                  <a:lnTo>
                    <a:pt x="516" y="312"/>
                  </a:lnTo>
                  <a:lnTo>
                    <a:pt x="528" y="318"/>
                  </a:lnTo>
                  <a:lnTo>
                    <a:pt x="540" y="360"/>
                  </a:lnTo>
                  <a:lnTo>
                    <a:pt x="558" y="408"/>
                  </a:lnTo>
                  <a:lnTo>
                    <a:pt x="570" y="426"/>
                  </a:lnTo>
                  <a:lnTo>
                    <a:pt x="576" y="432"/>
                  </a:lnTo>
                  <a:lnTo>
                    <a:pt x="576" y="438"/>
                  </a:lnTo>
                  <a:lnTo>
                    <a:pt x="576" y="444"/>
                  </a:lnTo>
                  <a:lnTo>
                    <a:pt x="576" y="46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3" name="Freeform 28">
              <a:extLst>
                <a:ext uri="{FF2B5EF4-FFF2-40B4-BE49-F238E27FC236}">
                  <a16:creationId xmlns:a16="http://schemas.microsoft.com/office/drawing/2014/main" id="{CF9B4F31-BF73-448E-83AA-188F6CF1BDC5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4879" y="3432583"/>
              <a:ext cx="324248" cy="270616"/>
            </a:xfrm>
            <a:custGeom>
              <a:avLst/>
              <a:gdLst>
                <a:gd name="T0" fmla="*/ 5 w 606"/>
                <a:gd name="T1" fmla="*/ 36 h 510"/>
                <a:gd name="T2" fmla="*/ 4 w 606"/>
                <a:gd name="T3" fmla="*/ 34 h 510"/>
                <a:gd name="T4" fmla="*/ 0 w 606"/>
                <a:gd name="T5" fmla="*/ 25 h 510"/>
                <a:gd name="T6" fmla="*/ 1 w 606"/>
                <a:gd name="T7" fmla="*/ 20 h 510"/>
                <a:gd name="T8" fmla="*/ 2 w 606"/>
                <a:gd name="T9" fmla="*/ 15 h 510"/>
                <a:gd name="T10" fmla="*/ 2 w 606"/>
                <a:gd name="T11" fmla="*/ 13 h 510"/>
                <a:gd name="T12" fmla="*/ 3 w 606"/>
                <a:gd name="T13" fmla="*/ 12 h 510"/>
                <a:gd name="T14" fmla="*/ 4 w 606"/>
                <a:gd name="T15" fmla="*/ 11 h 510"/>
                <a:gd name="T16" fmla="*/ 4 w 606"/>
                <a:gd name="T17" fmla="*/ 10 h 510"/>
                <a:gd name="T18" fmla="*/ 7 w 606"/>
                <a:gd name="T19" fmla="*/ 8 h 510"/>
                <a:gd name="T20" fmla="*/ 9 w 606"/>
                <a:gd name="T21" fmla="*/ 6 h 510"/>
                <a:gd name="T22" fmla="*/ 11 w 606"/>
                <a:gd name="T23" fmla="*/ 4 h 510"/>
                <a:gd name="T24" fmla="*/ 12 w 606"/>
                <a:gd name="T25" fmla="*/ 3 h 510"/>
                <a:gd name="T26" fmla="*/ 13 w 606"/>
                <a:gd name="T27" fmla="*/ 4 h 510"/>
                <a:gd name="T28" fmla="*/ 15 w 606"/>
                <a:gd name="T29" fmla="*/ 2 h 510"/>
                <a:gd name="T30" fmla="*/ 17 w 606"/>
                <a:gd name="T31" fmla="*/ 2 h 510"/>
                <a:gd name="T32" fmla="*/ 19 w 606"/>
                <a:gd name="T33" fmla="*/ 5 h 510"/>
                <a:gd name="T34" fmla="*/ 22 w 606"/>
                <a:gd name="T35" fmla="*/ 5 h 510"/>
                <a:gd name="T36" fmla="*/ 25 w 606"/>
                <a:gd name="T37" fmla="*/ 6 h 510"/>
                <a:gd name="T38" fmla="*/ 29 w 606"/>
                <a:gd name="T39" fmla="*/ 1 h 510"/>
                <a:gd name="T40" fmla="*/ 38 w 606"/>
                <a:gd name="T41" fmla="*/ 0 h 510"/>
                <a:gd name="T42" fmla="*/ 38 w 606"/>
                <a:gd name="T43" fmla="*/ 5 h 510"/>
                <a:gd name="T44" fmla="*/ 41 w 606"/>
                <a:gd name="T45" fmla="*/ 4 h 510"/>
                <a:gd name="T46" fmla="*/ 45 w 606"/>
                <a:gd name="T47" fmla="*/ 2 h 510"/>
                <a:gd name="T48" fmla="*/ 46 w 606"/>
                <a:gd name="T49" fmla="*/ 2 h 510"/>
                <a:gd name="T50" fmla="*/ 47 w 606"/>
                <a:gd name="T51" fmla="*/ 5 h 510"/>
                <a:gd name="T52" fmla="*/ 45 w 606"/>
                <a:gd name="T53" fmla="*/ 6 h 510"/>
                <a:gd name="T54" fmla="*/ 45 w 606"/>
                <a:gd name="T55" fmla="*/ 7 h 510"/>
                <a:gd name="T56" fmla="*/ 43 w 606"/>
                <a:gd name="T57" fmla="*/ 8 h 510"/>
                <a:gd name="T58" fmla="*/ 45 w 606"/>
                <a:gd name="T59" fmla="*/ 15 h 510"/>
                <a:gd name="T60" fmla="*/ 49 w 606"/>
                <a:gd name="T61" fmla="*/ 15 h 510"/>
                <a:gd name="T62" fmla="*/ 51 w 606"/>
                <a:gd name="T63" fmla="*/ 15 h 510"/>
                <a:gd name="T64" fmla="*/ 53 w 606"/>
                <a:gd name="T65" fmla="*/ 16 h 510"/>
                <a:gd name="T66" fmla="*/ 52 w 606"/>
                <a:gd name="T67" fmla="*/ 20 h 510"/>
                <a:gd name="T68" fmla="*/ 48 w 606"/>
                <a:gd name="T69" fmla="*/ 23 h 510"/>
                <a:gd name="T70" fmla="*/ 45 w 606"/>
                <a:gd name="T71" fmla="*/ 25 h 510"/>
                <a:gd name="T72" fmla="*/ 44 w 606"/>
                <a:gd name="T73" fmla="*/ 28 h 510"/>
                <a:gd name="T74" fmla="*/ 43 w 606"/>
                <a:gd name="T75" fmla="*/ 33 h 510"/>
                <a:gd name="T76" fmla="*/ 39 w 606"/>
                <a:gd name="T77" fmla="*/ 38 h 510"/>
                <a:gd name="T78" fmla="*/ 37 w 606"/>
                <a:gd name="T79" fmla="*/ 41 h 510"/>
                <a:gd name="T80" fmla="*/ 31 w 606"/>
                <a:gd name="T81" fmla="*/ 44 h 510"/>
                <a:gd name="T82" fmla="*/ 28 w 606"/>
                <a:gd name="T83" fmla="*/ 43 h 510"/>
                <a:gd name="T84" fmla="*/ 28 w 606"/>
                <a:gd name="T85" fmla="*/ 41 h 510"/>
                <a:gd name="T86" fmla="*/ 28 w 606"/>
                <a:gd name="T87" fmla="*/ 40 h 510"/>
                <a:gd name="T88" fmla="*/ 27 w 606"/>
                <a:gd name="T89" fmla="*/ 38 h 510"/>
                <a:gd name="T90" fmla="*/ 27 w 606"/>
                <a:gd name="T91" fmla="*/ 36 h 510"/>
                <a:gd name="T92" fmla="*/ 24 w 606"/>
                <a:gd name="T93" fmla="*/ 35 h 510"/>
                <a:gd name="T94" fmla="*/ 16 w 606"/>
                <a:gd name="T95" fmla="*/ 34 h 510"/>
                <a:gd name="T96" fmla="*/ 13 w 606"/>
                <a:gd name="T97" fmla="*/ 34 h 510"/>
                <a:gd name="T98" fmla="*/ 9 w 606"/>
                <a:gd name="T99" fmla="*/ 36 h 510"/>
                <a:gd name="T100" fmla="*/ 8 w 606"/>
                <a:gd name="T101" fmla="*/ 38 h 510"/>
                <a:gd name="T102" fmla="*/ 7 w 606"/>
                <a:gd name="T103" fmla="*/ 39 h 51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06"/>
                <a:gd name="T157" fmla="*/ 0 h 510"/>
                <a:gd name="T158" fmla="*/ 606 w 606"/>
                <a:gd name="T159" fmla="*/ 510 h 51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06" h="510">
                  <a:moveTo>
                    <a:pt x="60" y="450"/>
                  </a:move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42" y="390"/>
                  </a:lnTo>
                  <a:lnTo>
                    <a:pt x="24" y="342"/>
                  </a:lnTo>
                  <a:lnTo>
                    <a:pt x="12" y="300"/>
                  </a:lnTo>
                  <a:lnTo>
                    <a:pt x="0" y="294"/>
                  </a:lnTo>
                  <a:lnTo>
                    <a:pt x="0" y="276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24" y="192"/>
                  </a:lnTo>
                  <a:lnTo>
                    <a:pt x="24" y="180"/>
                  </a:lnTo>
                  <a:lnTo>
                    <a:pt x="24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6" y="96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108" y="66"/>
                  </a:lnTo>
                  <a:lnTo>
                    <a:pt x="120" y="60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36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62" y="36"/>
                  </a:lnTo>
                  <a:lnTo>
                    <a:pt x="162" y="30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0" y="54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46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76" y="66"/>
                  </a:lnTo>
                  <a:lnTo>
                    <a:pt x="312" y="66"/>
                  </a:lnTo>
                  <a:lnTo>
                    <a:pt x="318" y="60"/>
                  </a:lnTo>
                  <a:lnTo>
                    <a:pt x="330" y="12"/>
                  </a:lnTo>
                  <a:lnTo>
                    <a:pt x="414" y="6"/>
                  </a:lnTo>
                  <a:lnTo>
                    <a:pt x="420" y="0"/>
                  </a:lnTo>
                  <a:lnTo>
                    <a:pt x="426" y="6"/>
                  </a:lnTo>
                  <a:lnTo>
                    <a:pt x="426" y="12"/>
                  </a:lnTo>
                  <a:lnTo>
                    <a:pt x="426" y="54"/>
                  </a:lnTo>
                  <a:lnTo>
                    <a:pt x="432" y="54"/>
                  </a:lnTo>
                  <a:lnTo>
                    <a:pt x="444" y="54"/>
                  </a:lnTo>
                  <a:lnTo>
                    <a:pt x="450" y="42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86" y="24"/>
                  </a:lnTo>
                  <a:lnTo>
                    <a:pt x="504" y="18"/>
                  </a:lnTo>
                  <a:lnTo>
                    <a:pt x="510" y="12"/>
                  </a:lnTo>
                  <a:lnTo>
                    <a:pt x="516" y="18"/>
                  </a:lnTo>
                  <a:lnTo>
                    <a:pt x="522" y="24"/>
                  </a:lnTo>
                  <a:lnTo>
                    <a:pt x="510" y="30"/>
                  </a:lnTo>
                  <a:lnTo>
                    <a:pt x="516" y="48"/>
                  </a:lnTo>
                  <a:lnTo>
                    <a:pt x="528" y="54"/>
                  </a:lnTo>
                  <a:lnTo>
                    <a:pt x="522" y="60"/>
                  </a:lnTo>
                  <a:lnTo>
                    <a:pt x="516" y="66"/>
                  </a:lnTo>
                  <a:lnTo>
                    <a:pt x="516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0" y="84"/>
                  </a:lnTo>
                  <a:lnTo>
                    <a:pt x="510" y="90"/>
                  </a:lnTo>
                  <a:lnTo>
                    <a:pt x="504" y="90"/>
                  </a:lnTo>
                  <a:lnTo>
                    <a:pt x="486" y="90"/>
                  </a:lnTo>
                  <a:lnTo>
                    <a:pt x="492" y="138"/>
                  </a:lnTo>
                  <a:lnTo>
                    <a:pt x="498" y="168"/>
                  </a:lnTo>
                  <a:lnTo>
                    <a:pt x="516" y="168"/>
                  </a:lnTo>
                  <a:lnTo>
                    <a:pt x="528" y="174"/>
                  </a:lnTo>
                  <a:lnTo>
                    <a:pt x="534" y="168"/>
                  </a:lnTo>
                  <a:lnTo>
                    <a:pt x="558" y="174"/>
                  </a:lnTo>
                  <a:lnTo>
                    <a:pt x="564" y="168"/>
                  </a:lnTo>
                  <a:lnTo>
                    <a:pt x="570" y="168"/>
                  </a:lnTo>
                  <a:lnTo>
                    <a:pt x="576" y="174"/>
                  </a:lnTo>
                  <a:lnTo>
                    <a:pt x="588" y="168"/>
                  </a:lnTo>
                  <a:lnTo>
                    <a:pt x="594" y="168"/>
                  </a:lnTo>
                  <a:lnTo>
                    <a:pt x="594" y="186"/>
                  </a:lnTo>
                  <a:lnTo>
                    <a:pt x="606" y="198"/>
                  </a:lnTo>
                  <a:lnTo>
                    <a:pt x="600" y="210"/>
                  </a:lnTo>
                  <a:lnTo>
                    <a:pt x="588" y="234"/>
                  </a:lnTo>
                  <a:lnTo>
                    <a:pt x="564" y="246"/>
                  </a:lnTo>
                  <a:lnTo>
                    <a:pt x="546" y="258"/>
                  </a:lnTo>
                  <a:lnTo>
                    <a:pt x="540" y="270"/>
                  </a:lnTo>
                  <a:lnTo>
                    <a:pt x="534" y="294"/>
                  </a:lnTo>
                  <a:lnTo>
                    <a:pt x="528" y="300"/>
                  </a:lnTo>
                  <a:lnTo>
                    <a:pt x="516" y="294"/>
                  </a:lnTo>
                  <a:lnTo>
                    <a:pt x="510" y="300"/>
                  </a:lnTo>
                  <a:lnTo>
                    <a:pt x="498" y="318"/>
                  </a:lnTo>
                  <a:lnTo>
                    <a:pt x="492" y="324"/>
                  </a:lnTo>
                  <a:lnTo>
                    <a:pt x="486" y="336"/>
                  </a:lnTo>
                  <a:lnTo>
                    <a:pt x="486" y="354"/>
                  </a:lnTo>
                  <a:lnTo>
                    <a:pt x="486" y="384"/>
                  </a:lnTo>
                  <a:lnTo>
                    <a:pt x="474" y="408"/>
                  </a:lnTo>
                  <a:lnTo>
                    <a:pt x="450" y="426"/>
                  </a:lnTo>
                  <a:lnTo>
                    <a:pt x="444" y="444"/>
                  </a:lnTo>
                  <a:lnTo>
                    <a:pt x="426" y="474"/>
                  </a:lnTo>
                  <a:lnTo>
                    <a:pt x="420" y="486"/>
                  </a:lnTo>
                  <a:lnTo>
                    <a:pt x="414" y="486"/>
                  </a:lnTo>
                  <a:lnTo>
                    <a:pt x="414" y="498"/>
                  </a:lnTo>
                  <a:lnTo>
                    <a:pt x="378" y="504"/>
                  </a:lnTo>
                  <a:lnTo>
                    <a:pt x="348" y="510"/>
                  </a:lnTo>
                  <a:lnTo>
                    <a:pt x="330" y="510"/>
                  </a:lnTo>
                  <a:lnTo>
                    <a:pt x="324" y="504"/>
                  </a:lnTo>
                  <a:lnTo>
                    <a:pt x="318" y="504"/>
                  </a:lnTo>
                  <a:lnTo>
                    <a:pt x="312" y="504"/>
                  </a:lnTo>
                  <a:lnTo>
                    <a:pt x="312" y="498"/>
                  </a:lnTo>
                  <a:lnTo>
                    <a:pt x="312" y="486"/>
                  </a:lnTo>
                  <a:lnTo>
                    <a:pt x="312" y="480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56"/>
                  </a:lnTo>
                  <a:lnTo>
                    <a:pt x="312" y="450"/>
                  </a:lnTo>
                  <a:lnTo>
                    <a:pt x="306" y="444"/>
                  </a:lnTo>
                  <a:lnTo>
                    <a:pt x="306" y="438"/>
                  </a:lnTo>
                  <a:lnTo>
                    <a:pt x="300" y="426"/>
                  </a:lnTo>
                  <a:lnTo>
                    <a:pt x="300" y="420"/>
                  </a:lnTo>
                  <a:lnTo>
                    <a:pt x="294" y="414"/>
                  </a:lnTo>
                  <a:lnTo>
                    <a:pt x="294" y="408"/>
                  </a:lnTo>
                  <a:lnTo>
                    <a:pt x="270" y="408"/>
                  </a:lnTo>
                  <a:lnTo>
                    <a:pt x="246" y="408"/>
                  </a:lnTo>
                  <a:lnTo>
                    <a:pt x="222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56" y="402"/>
                  </a:lnTo>
                  <a:lnTo>
                    <a:pt x="144" y="396"/>
                  </a:lnTo>
                  <a:lnTo>
                    <a:pt x="126" y="396"/>
                  </a:lnTo>
                  <a:lnTo>
                    <a:pt x="108" y="408"/>
                  </a:lnTo>
                  <a:lnTo>
                    <a:pt x="102" y="414"/>
                  </a:lnTo>
                  <a:lnTo>
                    <a:pt x="102" y="420"/>
                  </a:lnTo>
                  <a:lnTo>
                    <a:pt x="96" y="426"/>
                  </a:lnTo>
                  <a:lnTo>
                    <a:pt x="96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78" y="450"/>
                  </a:lnTo>
                  <a:lnTo>
                    <a:pt x="60" y="45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4" name="Freeform 29">
              <a:extLst>
                <a:ext uri="{FF2B5EF4-FFF2-40B4-BE49-F238E27FC236}">
                  <a16:creationId xmlns:a16="http://schemas.microsoft.com/office/drawing/2014/main" id="{B6AC2B96-1504-4082-8778-17130FDA021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401" y="3537698"/>
              <a:ext cx="559048" cy="641876"/>
            </a:xfrm>
            <a:custGeom>
              <a:avLst/>
              <a:gdLst>
                <a:gd name="T0" fmla="*/ 39 w 1056"/>
                <a:gd name="T1" fmla="*/ 94 h 1206"/>
                <a:gd name="T2" fmla="*/ 35 w 1056"/>
                <a:gd name="T3" fmla="*/ 103 h 1206"/>
                <a:gd name="T4" fmla="*/ 29 w 1056"/>
                <a:gd name="T5" fmla="*/ 99 h 1206"/>
                <a:gd name="T6" fmla="*/ 23 w 1056"/>
                <a:gd name="T7" fmla="*/ 94 h 1206"/>
                <a:gd name="T8" fmla="*/ 21 w 1056"/>
                <a:gd name="T9" fmla="*/ 91 h 1206"/>
                <a:gd name="T10" fmla="*/ 18 w 1056"/>
                <a:gd name="T11" fmla="*/ 89 h 1206"/>
                <a:gd name="T12" fmla="*/ 15 w 1056"/>
                <a:gd name="T13" fmla="*/ 86 h 1206"/>
                <a:gd name="T14" fmla="*/ 11 w 1056"/>
                <a:gd name="T15" fmla="*/ 83 h 1206"/>
                <a:gd name="T16" fmla="*/ 8 w 1056"/>
                <a:gd name="T17" fmla="*/ 81 h 1206"/>
                <a:gd name="T18" fmla="*/ 6 w 1056"/>
                <a:gd name="T19" fmla="*/ 79 h 1206"/>
                <a:gd name="T20" fmla="*/ 13 w 1056"/>
                <a:gd name="T21" fmla="*/ 78 h 1206"/>
                <a:gd name="T22" fmla="*/ 8 w 1056"/>
                <a:gd name="T23" fmla="*/ 75 h 1206"/>
                <a:gd name="T24" fmla="*/ 13 w 1056"/>
                <a:gd name="T25" fmla="*/ 71 h 1206"/>
                <a:gd name="T26" fmla="*/ 10 w 1056"/>
                <a:gd name="T27" fmla="*/ 63 h 1206"/>
                <a:gd name="T28" fmla="*/ 6 w 1056"/>
                <a:gd name="T29" fmla="*/ 66 h 1206"/>
                <a:gd name="T30" fmla="*/ 1 w 1056"/>
                <a:gd name="T31" fmla="*/ 63 h 1206"/>
                <a:gd name="T32" fmla="*/ 1 w 1056"/>
                <a:gd name="T33" fmla="*/ 59 h 1206"/>
                <a:gd name="T34" fmla="*/ 3 w 1056"/>
                <a:gd name="T35" fmla="*/ 57 h 1206"/>
                <a:gd name="T36" fmla="*/ 6 w 1056"/>
                <a:gd name="T37" fmla="*/ 55 h 1206"/>
                <a:gd name="T38" fmla="*/ 10 w 1056"/>
                <a:gd name="T39" fmla="*/ 51 h 1206"/>
                <a:gd name="T40" fmla="*/ 11 w 1056"/>
                <a:gd name="T41" fmla="*/ 46 h 1206"/>
                <a:gd name="T42" fmla="*/ 14 w 1056"/>
                <a:gd name="T43" fmla="*/ 42 h 1206"/>
                <a:gd name="T44" fmla="*/ 15 w 1056"/>
                <a:gd name="T45" fmla="*/ 36 h 1206"/>
                <a:gd name="T46" fmla="*/ 17 w 1056"/>
                <a:gd name="T47" fmla="*/ 34 h 1206"/>
                <a:gd name="T48" fmla="*/ 20 w 1056"/>
                <a:gd name="T49" fmla="*/ 31 h 1206"/>
                <a:gd name="T50" fmla="*/ 21 w 1056"/>
                <a:gd name="T51" fmla="*/ 29 h 1206"/>
                <a:gd name="T52" fmla="*/ 23 w 1056"/>
                <a:gd name="T53" fmla="*/ 22 h 1206"/>
                <a:gd name="T54" fmla="*/ 35 w 1056"/>
                <a:gd name="T55" fmla="*/ 22 h 1206"/>
                <a:gd name="T56" fmla="*/ 41 w 1056"/>
                <a:gd name="T57" fmla="*/ 18 h 1206"/>
                <a:gd name="T58" fmla="*/ 54 w 1056"/>
                <a:gd name="T59" fmla="*/ 20 h 1206"/>
                <a:gd name="T60" fmla="*/ 54 w 1056"/>
                <a:gd name="T61" fmla="*/ 26 h 1206"/>
                <a:gd name="T62" fmla="*/ 64 w 1056"/>
                <a:gd name="T63" fmla="*/ 25 h 1206"/>
                <a:gd name="T64" fmla="*/ 71 w 1056"/>
                <a:gd name="T65" fmla="*/ 10 h 1206"/>
                <a:gd name="T66" fmla="*/ 80 w 1056"/>
                <a:gd name="T67" fmla="*/ 1 h 1206"/>
                <a:gd name="T68" fmla="*/ 86 w 1056"/>
                <a:gd name="T69" fmla="*/ 2 h 1206"/>
                <a:gd name="T70" fmla="*/ 91 w 1056"/>
                <a:gd name="T71" fmla="*/ 13 h 1206"/>
                <a:gd name="T72" fmla="*/ 88 w 1056"/>
                <a:gd name="T73" fmla="*/ 17 h 1206"/>
                <a:gd name="T74" fmla="*/ 89 w 1056"/>
                <a:gd name="T75" fmla="*/ 21 h 1206"/>
                <a:gd name="T76" fmla="*/ 86 w 1056"/>
                <a:gd name="T77" fmla="*/ 25 h 1206"/>
                <a:gd name="T78" fmla="*/ 85 w 1056"/>
                <a:gd name="T79" fmla="*/ 31 h 1206"/>
                <a:gd name="T80" fmla="*/ 83 w 1056"/>
                <a:gd name="T81" fmla="*/ 36 h 1206"/>
                <a:gd name="T82" fmla="*/ 80 w 1056"/>
                <a:gd name="T83" fmla="*/ 42 h 1206"/>
                <a:gd name="T84" fmla="*/ 80 w 1056"/>
                <a:gd name="T85" fmla="*/ 47 h 1206"/>
                <a:gd name="T86" fmla="*/ 77 w 1056"/>
                <a:gd name="T87" fmla="*/ 55 h 1206"/>
                <a:gd name="T88" fmla="*/ 75 w 1056"/>
                <a:gd name="T89" fmla="*/ 57 h 1206"/>
                <a:gd name="T90" fmla="*/ 66 w 1056"/>
                <a:gd name="T91" fmla="*/ 57 h 1206"/>
                <a:gd name="T92" fmla="*/ 66 w 1056"/>
                <a:gd name="T93" fmla="*/ 51 h 1206"/>
                <a:gd name="T94" fmla="*/ 48 w 1056"/>
                <a:gd name="T95" fmla="*/ 50 h 1206"/>
                <a:gd name="T96" fmla="*/ 46 w 1056"/>
                <a:gd name="T97" fmla="*/ 55 h 1206"/>
                <a:gd name="T98" fmla="*/ 42 w 1056"/>
                <a:gd name="T99" fmla="*/ 59 h 1206"/>
                <a:gd name="T100" fmla="*/ 41 w 1056"/>
                <a:gd name="T101" fmla="*/ 62 h 1206"/>
                <a:gd name="T102" fmla="*/ 43 w 1056"/>
                <a:gd name="T103" fmla="*/ 67 h 1206"/>
                <a:gd name="T104" fmla="*/ 42 w 1056"/>
                <a:gd name="T105" fmla="*/ 72 h 1206"/>
                <a:gd name="T106" fmla="*/ 39 w 1056"/>
                <a:gd name="T107" fmla="*/ 77 h 1206"/>
                <a:gd name="T108" fmla="*/ 36 w 1056"/>
                <a:gd name="T109" fmla="*/ 80 h 1206"/>
                <a:gd name="T110" fmla="*/ 37 w 1056"/>
                <a:gd name="T111" fmla="*/ 83 h 1206"/>
                <a:gd name="T112" fmla="*/ 40 w 1056"/>
                <a:gd name="T113" fmla="*/ 87 h 1206"/>
                <a:gd name="T114" fmla="*/ 42 w 1056"/>
                <a:gd name="T115" fmla="*/ 89 h 12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56"/>
                <a:gd name="T175" fmla="*/ 0 h 1206"/>
                <a:gd name="T176" fmla="*/ 1056 w 1056"/>
                <a:gd name="T177" fmla="*/ 1206 h 12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56" h="1206">
                  <a:moveTo>
                    <a:pt x="492" y="1032"/>
                  </a:moveTo>
                  <a:lnTo>
                    <a:pt x="486" y="1038"/>
                  </a:lnTo>
                  <a:lnTo>
                    <a:pt x="486" y="1044"/>
                  </a:lnTo>
                  <a:lnTo>
                    <a:pt x="480" y="1044"/>
                  </a:lnTo>
                  <a:lnTo>
                    <a:pt x="474" y="1056"/>
                  </a:lnTo>
                  <a:lnTo>
                    <a:pt x="462" y="1068"/>
                  </a:lnTo>
                  <a:lnTo>
                    <a:pt x="456" y="1080"/>
                  </a:lnTo>
                  <a:lnTo>
                    <a:pt x="450" y="1080"/>
                  </a:lnTo>
                  <a:lnTo>
                    <a:pt x="450" y="1086"/>
                  </a:lnTo>
                  <a:lnTo>
                    <a:pt x="450" y="1092"/>
                  </a:lnTo>
                  <a:lnTo>
                    <a:pt x="444" y="1104"/>
                  </a:lnTo>
                  <a:lnTo>
                    <a:pt x="444" y="1116"/>
                  </a:lnTo>
                  <a:lnTo>
                    <a:pt x="438" y="1128"/>
                  </a:lnTo>
                  <a:lnTo>
                    <a:pt x="432" y="1134"/>
                  </a:lnTo>
                  <a:lnTo>
                    <a:pt x="432" y="1140"/>
                  </a:lnTo>
                  <a:lnTo>
                    <a:pt x="420" y="1152"/>
                  </a:lnTo>
                  <a:lnTo>
                    <a:pt x="420" y="1158"/>
                  </a:lnTo>
                  <a:lnTo>
                    <a:pt x="408" y="1182"/>
                  </a:lnTo>
                  <a:lnTo>
                    <a:pt x="396" y="1194"/>
                  </a:lnTo>
                  <a:lnTo>
                    <a:pt x="390" y="1206"/>
                  </a:lnTo>
                  <a:lnTo>
                    <a:pt x="390" y="1200"/>
                  </a:lnTo>
                  <a:lnTo>
                    <a:pt x="384" y="1194"/>
                  </a:lnTo>
                  <a:lnTo>
                    <a:pt x="378" y="1188"/>
                  </a:lnTo>
                  <a:lnTo>
                    <a:pt x="366" y="1176"/>
                  </a:lnTo>
                  <a:lnTo>
                    <a:pt x="366" y="1170"/>
                  </a:lnTo>
                  <a:lnTo>
                    <a:pt x="348" y="1152"/>
                  </a:lnTo>
                  <a:lnTo>
                    <a:pt x="336" y="1140"/>
                  </a:lnTo>
                  <a:lnTo>
                    <a:pt x="330" y="1134"/>
                  </a:lnTo>
                  <a:lnTo>
                    <a:pt x="324" y="1128"/>
                  </a:lnTo>
                  <a:lnTo>
                    <a:pt x="318" y="1122"/>
                  </a:lnTo>
                  <a:lnTo>
                    <a:pt x="312" y="1116"/>
                  </a:lnTo>
                  <a:lnTo>
                    <a:pt x="306" y="1110"/>
                  </a:lnTo>
                  <a:lnTo>
                    <a:pt x="300" y="1104"/>
                  </a:lnTo>
                  <a:lnTo>
                    <a:pt x="294" y="1098"/>
                  </a:lnTo>
                  <a:lnTo>
                    <a:pt x="276" y="1080"/>
                  </a:lnTo>
                  <a:lnTo>
                    <a:pt x="270" y="1080"/>
                  </a:lnTo>
                  <a:lnTo>
                    <a:pt x="270" y="1074"/>
                  </a:lnTo>
                  <a:lnTo>
                    <a:pt x="264" y="1068"/>
                  </a:lnTo>
                  <a:lnTo>
                    <a:pt x="258" y="1062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40" y="1050"/>
                  </a:lnTo>
                  <a:lnTo>
                    <a:pt x="234" y="1044"/>
                  </a:lnTo>
                  <a:lnTo>
                    <a:pt x="228" y="1044"/>
                  </a:lnTo>
                  <a:lnTo>
                    <a:pt x="222" y="1038"/>
                  </a:lnTo>
                  <a:lnTo>
                    <a:pt x="222" y="1032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6"/>
                  </a:lnTo>
                  <a:lnTo>
                    <a:pt x="204" y="1020"/>
                  </a:lnTo>
                  <a:lnTo>
                    <a:pt x="204" y="1014"/>
                  </a:lnTo>
                  <a:lnTo>
                    <a:pt x="198" y="1014"/>
                  </a:lnTo>
                  <a:lnTo>
                    <a:pt x="192" y="1014"/>
                  </a:lnTo>
                  <a:lnTo>
                    <a:pt x="192" y="1008"/>
                  </a:lnTo>
                  <a:lnTo>
                    <a:pt x="186" y="1008"/>
                  </a:lnTo>
                  <a:lnTo>
                    <a:pt x="186" y="1002"/>
                  </a:lnTo>
                  <a:lnTo>
                    <a:pt x="180" y="1002"/>
                  </a:lnTo>
                  <a:lnTo>
                    <a:pt x="174" y="996"/>
                  </a:lnTo>
                  <a:lnTo>
                    <a:pt x="168" y="996"/>
                  </a:lnTo>
                  <a:lnTo>
                    <a:pt x="168" y="990"/>
                  </a:lnTo>
                  <a:lnTo>
                    <a:pt x="162" y="990"/>
                  </a:lnTo>
                  <a:lnTo>
                    <a:pt x="162" y="984"/>
                  </a:lnTo>
                  <a:lnTo>
                    <a:pt x="150" y="978"/>
                  </a:lnTo>
                  <a:lnTo>
                    <a:pt x="144" y="972"/>
                  </a:lnTo>
                  <a:lnTo>
                    <a:pt x="138" y="972"/>
                  </a:lnTo>
                  <a:lnTo>
                    <a:pt x="138" y="966"/>
                  </a:lnTo>
                  <a:lnTo>
                    <a:pt x="132" y="966"/>
                  </a:lnTo>
                  <a:lnTo>
                    <a:pt x="126" y="960"/>
                  </a:lnTo>
                  <a:lnTo>
                    <a:pt x="126" y="954"/>
                  </a:lnTo>
                  <a:lnTo>
                    <a:pt x="120" y="954"/>
                  </a:lnTo>
                  <a:lnTo>
                    <a:pt x="114" y="948"/>
                  </a:lnTo>
                  <a:lnTo>
                    <a:pt x="108" y="948"/>
                  </a:lnTo>
                  <a:lnTo>
                    <a:pt x="108" y="942"/>
                  </a:lnTo>
                  <a:lnTo>
                    <a:pt x="102" y="942"/>
                  </a:lnTo>
                  <a:lnTo>
                    <a:pt x="96" y="942"/>
                  </a:lnTo>
                  <a:lnTo>
                    <a:pt x="96" y="936"/>
                  </a:lnTo>
                  <a:lnTo>
                    <a:pt x="90" y="936"/>
                  </a:lnTo>
                  <a:lnTo>
                    <a:pt x="90" y="930"/>
                  </a:lnTo>
                  <a:lnTo>
                    <a:pt x="84" y="930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18"/>
                  </a:lnTo>
                  <a:lnTo>
                    <a:pt x="66" y="918"/>
                  </a:lnTo>
                  <a:lnTo>
                    <a:pt x="66" y="912"/>
                  </a:lnTo>
                  <a:lnTo>
                    <a:pt x="66" y="906"/>
                  </a:lnTo>
                  <a:lnTo>
                    <a:pt x="72" y="906"/>
                  </a:lnTo>
                  <a:lnTo>
                    <a:pt x="84" y="906"/>
                  </a:lnTo>
                  <a:lnTo>
                    <a:pt x="90" y="906"/>
                  </a:lnTo>
                  <a:lnTo>
                    <a:pt x="120" y="930"/>
                  </a:lnTo>
                  <a:lnTo>
                    <a:pt x="126" y="936"/>
                  </a:lnTo>
                  <a:lnTo>
                    <a:pt x="138" y="936"/>
                  </a:lnTo>
                  <a:lnTo>
                    <a:pt x="138" y="930"/>
                  </a:lnTo>
                  <a:lnTo>
                    <a:pt x="144" y="930"/>
                  </a:lnTo>
                  <a:lnTo>
                    <a:pt x="144" y="924"/>
                  </a:lnTo>
                  <a:lnTo>
                    <a:pt x="150" y="900"/>
                  </a:lnTo>
                  <a:lnTo>
                    <a:pt x="138" y="894"/>
                  </a:lnTo>
                  <a:lnTo>
                    <a:pt x="126" y="894"/>
                  </a:lnTo>
                  <a:lnTo>
                    <a:pt x="108" y="888"/>
                  </a:lnTo>
                  <a:lnTo>
                    <a:pt x="84" y="882"/>
                  </a:lnTo>
                  <a:lnTo>
                    <a:pt x="72" y="882"/>
                  </a:lnTo>
                  <a:lnTo>
                    <a:pt x="72" y="876"/>
                  </a:lnTo>
                  <a:lnTo>
                    <a:pt x="78" y="870"/>
                  </a:lnTo>
                  <a:lnTo>
                    <a:pt x="90" y="870"/>
                  </a:lnTo>
                  <a:lnTo>
                    <a:pt x="96" y="870"/>
                  </a:lnTo>
                  <a:lnTo>
                    <a:pt x="102" y="870"/>
                  </a:lnTo>
                  <a:lnTo>
                    <a:pt x="114" y="870"/>
                  </a:lnTo>
                  <a:lnTo>
                    <a:pt x="120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34"/>
                  </a:lnTo>
                  <a:lnTo>
                    <a:pt x="132" y="828"/>
                  </a:lnTo>
                  <a:lnTo>
                    <a:pt x="132" y="816"/>
                  </a:lnTo>
                  <a:lnTo>
                    <a:pt x="150" y="816"/>
                  </a:lnTo>
                  <a:lnTo>
                    <a:pt x="150" y="804"/>
                  </a:lnTo>
                  <a:lnTo>
                    <a:pt x="144" y="798"/>
                  </a:lnTo>
                  <a:lnTo>
                    <a:pt x="156" y="762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32"/>
                  </a:lnTo>
                  <a:lnTo>
                    <a:pt x="144" y="726"/>
                  </a:lnTo>
                  <a:lnTo>
                    <a:pt x="132" y="726"/>
                  </a:lnTo>
                  <a:lnTo>
                    <a:pt x="120" y="732"/>
                  </a:lnTo>
                  <a:lnTo>
                    <a:pt x="114" y="744"/>
                  </a:lnTo>
                  <a:lnTo>
                    <a:pt x="108" y="750"/>
                  </a:lnTo>
                  <a:lnTo>
                    <a:pt x="96" y="768"/>
                  </a:lnTo>
                  <a:lnTo>
                    <a:pt x="96" y="774"/>
                  </a:lnTo>
                  <a:lnTo>
                    <a:pt x="90" y="780"/>
                  </a:lnTo>
                  <a:lnTo>
                    <a:pt x="84" y="804"/>
                  </a:lnTo>
                  <a:lnTo>
                    <a:pt x="72" y="774"/>
                  </a:lnTo>
                  <a:lnTo>
                    <a:pt x="72" y="768"/>
                  </a:lnTo>
                  <a:lnTo>
                    <a:pt x="66" y="762"/>
                  </a:lnTo>
                  <a:lnTo>
                    <a:pt x="60" y="750"/>
                  </a:lnTo>
                  <a:lnTo>
                    <a:pt x="54" y="750"/>
                  </a:lnTo>
                  <a:lnTo>
                    <a:pt x="48" y="750"/>
                  </a:lnTo>
                  <a:lnTo>
                    <a:pt x="42" y="750"/>
                  </a:lnTo>
                  <a:lnTo>
                    <a:pt x="30" y="744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12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2" y="702"/>
                  </a:lnTo>
                  <a:lnTo>
                    <a:pt x="18" y="696"/>
                  </a:lnTo>
                  <a:lnTo>
                    <a:pt x="12" y="690"/>
                  </a:lnTo>
                  <a:lnTo>
                    <a:pt x="12" y="684"/>
                  </a:lnTo>
                  <a:lnTo>
                    <a:pt x="12" y="678"/>
                  </a:lnTo>
                  <a:lnTo>
                    <a:pt x="12" y="672"/>
                  </a:lnTo>
                  <a:lnTo>
                    <a:pt x="18" y="672"/>
                  </a:lnTo>
                  <a:lnTo>
                    <a:pt x="18" y="666"/>
                  </a:lnTo>
                  <a:lnTo>
                    <a:pt x="24" y="666"/>
                  </a:lnTo>
                  <a:lnTo>
                    <a:pt x="24" y="660"/>
                  </a:lnTo>
                  <a:lnTo>
                    <a:pt x="30" y="660"/>
                  </a:lnTo>
                  <a:lnTo>
                    <a:pt x="30" y="654"/>
                  </a:lnTo>
                  <a:lnTo>
                    <a:pt x="36" y="654"/>
                  </a:lnTo>
                  <a:lnTo>
                    <a:pt x="36" y="648"/>
                  </a:lnTo>
                  <a:lnTo>
                    <a:pt x="42" y="648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60" y="630"/>
                  </a:lnTo>
                  <a:lnTo>
                    <a:pt x="66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78" y="624"/>
                  </a:lnTo>
                  <a:lnTo>
                    <a:pt x="84" y="618"/>
                  </a:lnTo>
                  <a:lnTo>
                    <a:pt x="84" y="612"/>
                  </a:lnTo>
                  <a:lnTo>
                    <a:pt x="90" y="612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20" y="588"/>
                  </a:lnTo>
                  <a:lnTo>
                    <a:pt x="120" y="582"/>
                  </a:lnTo>
                  <a:lnTo>
                    <a:pt x="120" y="576"/>
                  </a:lnTo>
                  <a:lnTo>
                    <a:pt x="120" y="570"/>
                  </a:lnTo>
                  <a:lnTo>
                    <a:pt x="126" y="564"/>
                  </a:lnTo>
                  <a:lnTo>
                    <a:pt x="126" y="558"/>
                  </a:lnTo>
                  <a:lnTo>
                    <a:pt x="126" y="552"/>
                  </a:lnTo>
                  <a:lnTo>
                    <a:pt x="126" y="546"/>
                  </a:lnTo>
                  <a:lnTo>
                    <a:pt x="126" y="534"/>
                  </a:lnTo>
                  <a:lnTo>
                    <a:pt x="126" y="516"/>
                  </a:lnTo>
                  <a:lnTo>
                    <a:pt x="126" y="510"/>
                  </a:lnTo>
                  <a:lnTo>
                    <a:pt x="126" y="504"/>
                  </a:lnTo>
                  <a:lnTo>
                    <a:pt x="126" y="498"/>
                  </a:lnTo>
                  <a:lnTo>
                    <a:pt x="132" y="498"/>
                  </a:lnTo>
                  <a:lnTo>
                    <a:pt x="132" y="492"/>
                  </a:lnTo>
                  <a:lnTo>
                    <a:pt x="138" y="492"/>
                  </a:lnTo>
                  <a:lnTo>
                    <a:pt x="144" y="486"/>
                  </a:lnTo>
                  <a:lnTo>
                    <a:pt x="156" y="480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6" y="462"/>
                  </a:lnTo>
                  <a:lnTo>
                    <a:pt x="156" y="456"/>
                  </a:lnTo>
                  <a:lnTo>
                    <a:pt x="156" y="450"/>
                  </a:lnTo>
                  <a:lnTo>
                    <a:pt x="162" y="438"/>
                  </a:lnTo>
                  <a:lnTo>
                    <a:pt x="168" y="426"/>
                  </a:lnTo>
                  <a:lnTo>
                    <a:pt x="174" y="426"/>
                  </a:lnTo>
                  <a:lnTo>
                    <a:pt x="174" y="420"/>
                  </a:lnTo>
                  <a:lnTo>
                    <a:pt x="180" y="414"/>
                  </a:lnTo>
                  <a:lnTo>
                    <a:pt x="186" y="420"/>
                  </a:lnTo>
                  <a:lnTo>
                    <a:pt x="186" y="414"/>
                  </a:lnTo>
                  <a:lnTo>
                    <a:pt x="180" y="408"/>
                  </a:lnTo>
                  <a:lnTo>
                    <a:pt x="180" y="402"/>
                  </a:lnTo>
                  <a:lnTo>
                    <a:pt x="186" y="402"/>
                  </a:lnTo>
                  <a:lnTo>
                    <a:pt x="192" y="402"/>
                  </a:lnTo>
                  <a:lnTo>
                    <a:pt x="192" y="396"/>
                  </a:lnTo>
                  <a:lnTo>
                    <a:pt x="198" y="396"/>
                  </a:lnTo>
                  <a:lnTo>
                    <a:pt x="204" y="396"/>
                  </a:lnTo>
                  <a:lnTo>
                    <a:pt x="210" y="396"/>
                  </a:lnTo>
                  <a:lnTo>
                    <a:pt x="210" y="390"/>
                  </a:lnTo>
                  <a:lnTo>
                    <a:pt x="216" y="390"/>
                  </a:lnTo>
                  <a:lnTo>
                    <a:pt x="216" y="384"/>
                  </a:lnTo>
                  <a:lnTo>
                    <a:pt x="222" y="384"/>
                  </a:lnTo>
                  <a:lnTo>
                    <a:pt x="222" y="378"/>
                  </a:lnTo>
                  <a:lnTo>
                    <a:pt x="228" y="372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0" y="348"/>
                  </a:lnTo>
                  <a:lnTo>
                    <a:pt x="234" y="342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46" y="330"/>
                  </a:lnTo>
                  <a:lnTo>
                    <a:pt x="246" y="324"/>
                  </a:lnTo>
                  <a:lnTo>
                    <a:pt x="234" y="318"/>
                  </a:lnTo>
                  <a:lnTo>
                    <a:pt x="234" y="312"/>
                  </a:lnTo>
                  <a:lnTo>
                    <a:pt x="234" y="300"/>
                  </a:lnTo>
                  <a:lnTo>
                    <a:pt x="240" y="288"/>
                  </a:lnTo>
                  <a:lnTo>
                    <a:pt x="240" y="276"/>
                  </a:lnTo>
                  <a:lnTo>
                    <a:pt x="246" y="258"/>
                  </a:lnTo>
                  <a:lnTo>
                    <a:pt x="258" y="252"/>
                  </a:lnTo>
                  <a:lnTo>
                    <a:pt x="270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294" y="252"/>
                  </a:lnTo>
                  <a:lnTo>
                    <a:pt x="300" y="258"/>
                  </a:lnTo>
                  <a:lnTo>
                    <a:pt x="318" y="252"/>
                  </a:lnTo>
                  <a:lnTo>
                    <a:pt x="366" y="252"/>
                  </a:lnTo>
                  <a:lnTo>
                    <a:pt x="378" y="252"/>
                  </a:lnTo>
                  <a:lnTo>
                    <a:pt x="396" y="252"/>
                  </a:lnTo>
                  <a:lnTo>
                    <a:pt x="408" y="252"/>
                  </a:lnTo>
                  <a:lnTo>
                    <a:pt x="408" y="246"/>
                  </a:lnTo>
                  <a:lnTo>
                    <a:pt x="414" y="240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20" y="216"/>
                  </a:lnTo>
                  <a:lnTo>
                    <a:pt x="426" y="210"/>
                  </a:lnTo>
                  <a:lnTo>
                    <a:pt x="444" y="198"/>
                  </a:lnTo>
                  <a:lnTo>
                    <a:pt x="462" y="198"/>
                  </a:lnTo>
                  <a:lnTo>
                    <a:pt x="474" y="204"/>
                  </a:lnTo>
                  <a:lnTo>
                    <a:pt x="498" y="198"/>
                  </a:lnTo>
                  <a:lnTo>
                    <a:pt x="498" y="204"/>
                  </a:lnTo>
                  <a:lnTo>
                    <a:pt x="540" y="210"/>
                  </a:lnTo>
                  <a:lnTo>
                    <a:pt x="564" y="210"/>
                  </a:lnTo>
                  <a:lnTo>
                    <a:pt x="588" y="210"/>
                  </a:lnTo>
                  <a:lnTo>
                    <a:pt x="612" y="210"/>
                  </a:lnTo>
                  <a:lnTo>
                    <a:pt x="612" y="216"/>
                  </a:lnTo>
                  <a:lnTo>
                    <a:pt x="618" y="222"/>
                  </a:lnTo>
                  <a:lnTo>
                    <a:pt x="618" y="228"/>
                  </a:lnTo>
                  <a:lnTo>
                    <a:pt x="624" y="240"/>
                  </a:lnTo>
                  <a:lnTo>
                    <a:pt x="624" y="246"/>
                  </a:lnTo>
                  <a:lnTo>
                    <a:pt x="630" y="252"/>
                  </a:lnTo>
                  <a:lnTo>
                    <a:pt x="630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0" y="282"/>
                  </a:lnTo>
                  <a:lnTo>
                    <a:pt x="630" y="288"/>
                  </a:lnTo>
                  <a:lnTo>
                    <a:pt x="630" y="300"/>
                  </a:lnTo>
                  <a:lnTo>
                    <a:pt x="630" y="306"/>
                  </a:lnTo>
                  <a:lnTo>
                    <a:pt x="636" y="306"/>
                  </a:lnTo>
                  <a:lnTo>
                    <a:pt x="642" y="306"/>
                  </a:lnTo>
                  <a:lnTo>
                    <a:pt x="648" y="312"/>
                  </a:lnTo>
                  <a:lnTo>
                    <a:pt x="666" y="312"/>
                  </a:lnTo>
                  <a:lnTo>
                    <a:pt x="696" y="306"/>
                  </a:lnTo>
                  <a:lnTo>
                    <a:pt x="732" y="300"/>
                  </a:lnTo>
                  <a:lnTo>
                    <a:pt x="732" y="288"/>
                  </a:lnTo>
                  <a:lnTo>
                    <a:pt x="738" y="288"/>
                  </a:lnTo>
                  <a:lnTo>
                    <a:pt x="744" y="276"/>
                  </a:lnTo>
                  <a:lnTo>
                    <a:pt x="762" y="246"/>
                  </a:lnTo>
                  <a:lnTo>
                    <a:pt x="768" y="228"/>
                  </a:lnTo>
                  <a:lnTo>
                    <a:pt x="792" y="210"/>
                  </a:lnTo>
                  <a:lnTo>
                    <a:pt x="804" y="186"/>
                  </a:lnTo>
                  <a:lnTo>
                    <a:pt x="804" y="156"/>
                  </a:lnTo>
                  <a:lnTo>
                    <a:pt x="804" y="138"/>
                  </a:lnTo>
                  <a:lnTo>
                    <a:pt x="810" y="126"/>
                  </a:lnTo>
                  <a:lnTo>
                    <a:pt x="816" y="120"/>
                  </a:lnTo>
                  <a:lnTo>
                    <a:pt x="828" y="102"/>
                  </a:lnTo>
                  <a:lnTo>
                    <a:pt x="834" y="96"/>
                  </a:lnTo>
                  <a:lnTo>
                    <a:pt x="846" y="102"/>
                  </a:lnTo>
                  <a:lnTo>
                    <a:pt x="852" y="96"/>
                  </a:lnTo>
                  <a:lnTo>
                    <a:pt x="858" y="72"/>
                  </a:lnTo>
                  <a:lnTo>
                    <a:pt x="864" y="60"/>
                  </a:lnTo>
                  <a:lnTo>
                    <a:pt x="882" y="48"/>
                  </a:lnTo>
                  <a:lnTo>
                    <a:pt x="906" y="36"/>
                  </a:lnTo>
                  <a:lnTo>
                    <a:pt x="918" y="12"/>
                  </a:lnTo>
                  <a:lnTo>
                    <a:pt x="924" y="0"/>
                  </a:lnTo>
                  <a:lnTo>
                    <a:pt x="930" y="6"/>
                  </a:lnTo>
                  <a:lnTo>
                    <a:pt x="942" y="12"/>
                  </a:lnTo>
                  <a:lnTo>
                    <a:pt x="948" y="12"/>
                  </a:lnTo>
                  <a:lnTo>
                    <a:pt x="954" y="18"/>
                  </a:lnTo>
                  <a:lnTo>
                    <a:pt x="966" y="18"/>
                  </a:lnTo>
                  <a:lnTo>
                    <a:pt x="972" y="18"/>
                  </a:lnTo>
                  <a:lnTo>
                    <a:pt x="984" y="18"/>
                  </a:lnTo>
                  <a:lnTo>
                    <a:pt x="990" y="18"/>
                  </a:lnTo>
                  <a:lnTo>
                    <a:pt x="1002" y="48"/>
                  </a:lnTo>
                  <a:lnTo>
                    <a:pt x="1008" y="78"/>
                  </a:lnTo>
                  <a:lnTo>
                    <a:pt x="1020" y="78"/>
                  </a:lnTo>
                  <a:lnTo>
                    <a:pt x="1020" y="90"/>
                  </a:lnTo>
                  <a:lnTo>
                    <a:pt x="1026" y="102"/>
                  </a:lnTo>
                  <a:lnTo>
                    <a:pt x="1044" y="120"/>
                  </a:lnTo>
                  <a:lnTo>
                    <a:pt x="1044" y="132"/>
                  </a:lnTo>
                  <a:lnTo>
                    <a:pt x="1056" y="150"/>
                  </a:lnTo>
                  <a:lnTo>
                    <a:pt x="1050" y="150"/>
                  </a:lnTo>
                  <a:lnTo>
                    <a:pt x="1044" y="156"/>
                  </a:lnTo>
                  <a:lnTo>
                    <a:pt x="1044" y="162"/>
                  </a:lnTo>
                  <a:lnTo>
                    <a:pt x="1038" y="162"/>
                  </a:lnTo>
                  <a:lnTo>
                    <a:pt x="1032" y="162"/>
                  </a:lnTo>
                  <a:lnTo>
                    <a:pt x="1026" y="168"/>
                  </a:lnTo>
                  <a:lnTo>
                    <a:pt x="1014" y="174"/>
                  </a:lnTo>
                  <a:lnTo>
                    <a:pt x="1014" y="186"/>
                  </a:lnTo>
                  <a:lnTo>
                    <a:pt x="1014" y="192"/>
                  </a:lnTo>
                  <a:lnTo>
                    <a:pt x="1014" y="198"/>
                  </a:lnTo>
                  <a:lnTo>
                    <a:pt x="1020" y="204"/>
                  </a:lnTo>
                  <a:lnTo>
                    <a:pt x="1026" y="204"/>
                  </a:lnTo>
                  <a:lnTo>
                    <a:pt x="1032" y="204"/>
                  </a:lnTo>
                  <a:lnTo>
                    <a:pt x="1032" y="210"/>
                  </a:lnTo>
                  <a:lnTo>
                    <a:pt x="1038" y="210"/>
                  </a:lnTo>
                  <a:lnTo>
                    <a:pt x="1032" y="216"/>
                  </a:lnTo>
                  <a:lnTo>
                    <a:pt x="1026" y="228"/>
                  </a:lnTo>
                  <a:lnTo>
                    <a:pt x="1026" y="234"/>
                  </a:lnTo>
                  <a:lnTo>
                    <a:pt x="1032" y="240"/>
                  </a:lnTo>
                  <a:lnTo>
                    <a:pt x="1032" y="246"/>
                  </a:lnTo>
                  <a:lnTo>
                    <a:pt x="1032" y="252"/>
                  </a:lnTo>
                  <a:lnTo>
                    <a:pt x="1032" y="258"/>
                  </a:lnTo>
                  <a:lnTo>
                    <a:pt x="1038" y="264"/>
                  </a:lnTo>
                  <a:lnTo>
                    <a:pt x="1032" y="276"/>
                  </a:lnTo>
                  <a:lnTo>
                    <a:pt x="1026" y="276"/>
                  </a:lnTo>
                  <a:lnTo>
                    <a:pt x="1020" y="276"/>
                  </a:lnTo>
                  <a:lnTo>
                    <a:pt x="996" y="282"/>
                  </a:lnTo>
                  <a:lnTo>
                    <a:pt x="996" y="288"/>
                  </a:lnTo>
                  <a:lnTo>
                    <a:pt x="996" y="294"/>
                  </a:lnTo>
                  <a:lnTo>
                    <a:pt x="996" y="300"/>
                  </a:lnTo>
                  <a:lnTo>
                    <a:pt x="996" y="306"/>
                  </a:lnTo>
                  <a:lnTo>
                    <a:pt x="984" y="324"/>
                  </a:lnTo>
                  <a:lnTo>
                    <a:pt x="984" y="330"/>
                  </a:lnTo>
                  <a:lnTo>
                    <a:pt x="984" y="336"/>
                  </a:lnTo>
                  <a:lnTo>
                    <a:pt x="978" y="336"/>
                  </a:lnTo>
                  <a:lnTo>
                    <a:pt x="978" y="342"/>
                  </a:lnTo>
                  <a:lnTo>
                    <a:pt x="984" y="360"/>
                  </a:lnTo>
                  <a:lnTo>
                    <a:pt x="978" y="366"/>
                  </a:lnTo>
                  <a:lnTo>
                    <a:pt x="978" y="372"/>
                  </a:lnTo>
                  <a:lnTo>
                    <a:pt x="972" y="372"/>
                  </a:lnTo>
                  <a:lnTo>
                    <a:pt x="972" y="378"/>
                  </a:lnTo>
                  <a:lnTo>
                    <a:pt x="972" y="384"/>
                  </a:lnTo>
                  <a:lnTo>
                    <a:pt x="972" y="390"/>
                  </a:lnTo>
                  <a:lnTo>
                    <a:pt x="966" y="402"/>
                  </a:lnTo>
                  <a:lnTo>
                    <a:pt x="960" y="414"/>
                  </a:lnTo>
                  <a:lnTo>
                    <a:pt x="954" y="420"/>
                  </a:lnTo>
                  <a:lnTo>
                    <a:pt x="948" y="426"/>
                  </a:lnTo>
                  <a:lnTo>
                    <a:pt x="948" y="438"/>
                  </a:lnTo>
                  <a:lnTo>
                    <a:pt x="942" y="444"/>
                  </a:lnTo>
                  <a:lnTo>
                    <a:pt x="936" y="450"/>
                  </a:lnTo>
                  <a:lnTo>
                    <a:pt x="930" y="456"/>
                  </a:lnTo>
                  <a:lnTo>
                    <a:pt x="924" y="462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18" y="522"/>
                  </a:lnTo>
                  <a:lnTo>
                    <a:pt x="918" y="528"/>
                  </a:lnTo>
                  <a:lnTo>
                    <a:pt x="924" y="534"/>
                  </a:lnTo>
                  <a:lnTo>
                    <a:pt x="924" y="540"/>
                  </a:lnTo>
                  <a:lnTo>
                    <a:pt x="924" y="546"/>
                  </a:lnTo>
                  <a:lnTo>
                    <a:pt x="918" y="546"/>
                  </a:lnTo>
                  <a:lnTo>
                    <a:pt x="918" y="552"/>
                  </a:lnTo>
                  <a:lnTo>
                    <a:pt x="912" y="546"/>
                  </a:lnTo>
                  <a:lnTo>
                    <a:pt x="912" y="552"/>
                  </a:lnTo>
                  <a:lnTo>
                    <a:pt x="912" y="570"/>
                  </a:lnTo>
                  <a:lnTo>
                    <a:pt x="906" y="588"/>
                  </a:lnTo>
                  <a:lnTo>
                    <a:pt x="900" y="606"/>
                  </a:lnTo>
                  <a:lnTo>
                    <a:pt x="906" y="624"/>
                  </a:lnTo>
                  <a:lnTo>
                    <a:pt x="900" y="624"/>
                  </a:lnTo>
                  <a:lnTo>
                    <a:pt x="894" y="630"/>
                  </a:lnTo>
                  <a:lnTo>
                    <a:pt x="888" y="630"/>
                  </a:lnTo>
                  <a:lnTo>
                    <a:pt x="882" y="630"/>
                  </a:lnTo>
                  <a:lnTo>
                    <a:pt x="882" y="636"/>
                  </a:lnTo>
                  <a:lnTo>
                    <a:pt x="876" y="642"/>
                  </a:lnTo>
                  <a:lnTo>
                    <a:pt x="870" y="642"/>
                  </a:lnTo>
                  <a:lnTo>
                    <a:pt x="870" y="648"/>
                  </a:lnTo>
                  <a:lnTo>
                    <a:pt x="870" y="654"/>
                  </a:lnTo>
                  <a:lnTo>
                    <a:pt x="864" y="654"/>
                  </a:lnTo>
                  <a:lnTo>
                    <a:pt x="864" y="660"/>
                  </a:lnTo>
                  <a:lnTo>
                    <a:pt x="846" y="666"/>
                  </a:lnTo>
                  <a:lnTo>
                    <a:pt x="828" y="672"/>
                  </a:lnTo>
                  <a:lnTo>
                    <a:pt x="816" y="660"/>
                  </a:lnTo>
                  <a:lnTo>
                    <a:pt x="810" y="660"/>
                  </a:lnTo>
                  <a:lnTo>
                    <a:pt x="798" y="666"/>
                  </a:lnTo>
                  <a:lnTo>
                    <a:pt x="786" y="666"/>
                  </a:lnTo>
                  <a:lnTo>
                    <a:pt x="780" y="672"/>
                  </a:lnTo>
                  <a:lnTo>
                    <a:pt x="768" y="678"/>
                  </a:lnTo>
                  <a:lnTo>
                    <a:pt x="762" y="660"/>
                  </a:lnTo>
                  <a:lnTo>
                    <a:pt x="762" y="654"/>
                  </a:lnTo>
                  <a:lnTo>
                    <a:pt x="756" y="636"/>
                  </a:lnTo>
                  <a:lnTo>
                    <a:pt x="762" y="624"/>
                  </a:lnTo>
                  <a:lnTo>
                    <a:pt x="756" y="606"/>
                  </a:lnTo>
                  <a:lnTo>
                    <a:pt x="756" y="600"/>
                  </a:lnTo>
                  <a:lnTo>
                    <a:pt x="762" y="594"/>
                  </a:lnTo>
                  <a:lnTo>
                    <a:pt x="768" y="600"/>
                  </a:lnTo>
                  <a:lnTo>
                    <a:pt x="768" y="594"/>
                  </a:lnTo>
                  <a:lnTo>
                    <a:pt x="768" y="588"/>
                  </a:lnTo>
                  <a:lnTo>
                    <a:pt x="774" y="582"/>
                  </a:lnTo>
                  <a:lnTo>
                    <a:pt x="768" y="576"/>
                  </a:lnTo>
                  <a:lnTo>
                    <a:pt x="762" y="576"/>
                  </a:lnTo>
                  <a:lnTo>
                    <a:pt x="756" y="576"/>
                  </a:lnTo>
                  <a:lnTo>
                    <a:pt x="690" y="576"/>
                  </a:lnTo>
                  <a:lnTo>
                    <a:pt x="624" y="570"/>
                  </a:lnTo>
                  <a:lnTo>
                    <a:pt x="600" y="564"/>
                  </a:lnTo>
                  <a:lnTo>
                    <a:pt x="576" y="564"/>
                  </a:lnTo>
                  <a:lnTo>
                    <a:pt x="558" y="570"/>
                  </a:lnTo>
                  <a:lnTo>
                    <a:pt x="552" y="576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46" y="594"/>
                  </a:lnTo>
                  <a:lnTo>
                    <a:pt x="546" y="600"/>
                  </a:lnTo>
                  <a:lnTo>
                    <a:pt x="540" y="606"/>
                  </a:lnTo>
                  <a:lnTo>
                    <a:pt x="534" y="618"/>
                  </a:lnTo>
                  <a:lnTo>
                    <a:pt x="534" y="624"/>
                  </a:lnTo>
                  <a:lnTo>
                    <a:pt x="534" y="630"/>
                  </a:lnTo>
                  <a:lnTo>
                    <a:pt x="534" y="636"/>
                  </a:lnTo>
                  <a:lnTo>
                    <a:pt x="528" y="636"/>
                  </a:lnTo>
                  <a:lnTo>
                    <a:pt x="516" y="642"/>
                  </a:lnTo>
                  <a:lnTo>
                    <a:pt x="516" y="648"/>
                  </a:lnTo>
                  <a:lnTo>
                    <a:pt x="510" y="648"/>
                  </a:lnTo>
                  <a:lnTo>
                    <a:pt x="504" y="654"/>
                  </a:lnTo>
                  <a:lnTo>
                    <a:pt x="492" y="666"/>
                  </a:lnTo>
                  <a:lnTo>
                    <a:pt x="492" y="672"/>
                  </a:lnTo>
                  <a:lnTo>
                    <a:pt x="492" y="684"/>
                  </a:lnTo>
                  <a:lnTo>
                    <a:pt x="486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92" y="702"/>
                  </a:lnTo>
                  <a:lnTo>
                    <a:pt x="486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74" y="720"/>
                  </a:lnTo>
                  <a:lnTo>
                    <a:pt x="480" y="726"/>
                  </a:lnTo>
                  <a:lnTo>
                    <a:pt x="474" y="726"/>
                  </a:lnTo>
                  <a:lnTo>
                    <a:pt x="474" y="738"/>
                  </a:lnTo>
                  <a:lnTo>
                    <a:pt x="474" y="744"/>
                  </a:lnTo>
                  <a:lnTo>
                    <a:pt x="474" y="750"/>
                  </a:lnTo>
                  <a:lnTo>
                    <a:pt x="480" y="750"/>
                  </a:lnTo>
                  <a:lnTo>
                    <a:pt x="480" y="756"/>
                  </a:lnTo>
                  <a:lnTo>
                    <a:pt x="492" y="762"/>
                  </a:lnTo>
                  <a:lnTo>
                    <a:pt x="498" y="774"/>
                  </a:lnTo>
                  <a:lnTo>
                    <a:pt x="498" y="780"/>
                  </a:lnTo>
                  <a:lnTo>
                    <a:pt x="504" y="786"/>
                  </a:lnTo>
                  <a:lnTo>
                    <a:pt x="510" y="792"/>
                  </a:lnTo>
                  <a:lnTo>
                    <a:pt x="504" y="798"/>
                  </a:lnTo>
                  <a:lnTo>
                    <a:pt x="504" y="804"/>
                  </a:lnTo>
                  <a:lnTo>
                    <a:pt x="504" y="810"/>
                  </a:lnTo>
                  <a:lnTo>
                    <a:pt x="498" y="822"/>
                  </a:lnTo>
                  <a:lnTo>
                    <a:pt x="492" y="828"/>
                  </a:lnTo>
                  <a:lnTo>
                    <a:pt x="492" y="834"/>
                  </a:lnTo>
                  <a:lnTo>
                    <a:pt x="486" y="840"/>
                  </a:lnTo>
                  <a:lnTo>
                    <a:pt x="480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74" y="858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876"/>
                  </a:lnTo>
                  <a:lnTo>
                    <a:pt x="456" y="894"/>
                  </a:lnTo>
                  <a:lnTo>
                    <a:pt x="450" y="894"/>
                  </a:lnTo>
                  <a:lnTo>
                    <a:pt x="444" y="900"/>
                  </a:lnTo>
                  <a:lnTo>
                    <a:pt x="444" y="894"/>
                  </a:lnTo>
                  <a:lnTo>
                    <a:pt x="438" y="894"/>
                  </a:lnTo>
                  <a:lnTo>
                    <a:pt x="432" y="900"/>
                  </a:lnTo>
                  <a:lnTo>
                    <a:pt x="432" y="906"/>
                  </a:lnTo>
                  <a:lnTo>
                    <a:pt x="420" y="906"/>
                  </a:lnTo>
                  <a:lnTo>
                    <a:pt x="420" y="912"/>
                  </a:lnTo>
                  <a:lnTo>
                    <a:pt x="420" y="918"/>
                  </a:lnTo>
                  <a:lnTo>
                    <a:pt x="426" y="918"/>
                  </a:lnTo>
                  <a:lnTo>
                    <a:pt x="426" y="924"/>
                  </a:lnTo>
                  <a:lnTo>
                    <a:pt x="426" y="930"/>
                  </a:lnTo>
                  <a:lnTo>
                    <a:pt x="420" y="930"/>
                  </a:lnTo>
                  <a:lnTo>
                    <a:pt x="414" y="936"/>
                  </a:lnTo>
                  <a:lnTo>
                    <a:pt x="414" y="942"/>
                  </a:lnTo>
                  <a:lnTo>
                    <a:pt x="414" y="948"/>
                  </a:lnTo>
                  <a:lnTo>
                    <a:pt x="414" y="954"/>
                  </a:lnTo>
                  <a:lnTo>
                    <a:pt x="426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44" y="972"/>
                  </a:lnTo>
                  <a:lnTo>
                    <a:pt x="444" y="978"/>
                  </a:lnTo>
                  <a:lnTo>
                    <a:pt x="450" y="978"/>
                  </a:lnTo>
                  <a:lnTo>
                    <a:pt x="450" y="984"/>
                  </a:lnTo>
                  <a:lnTo>
                    <a:pt x="456" y="990"/>
                  </a:lnTo>
                  <a:lnTo>
                    <a:pt x="456" y="996"/>
                  </a:lnTo>
                  <a:lnTo>
                    <a:pt x="462" y="1008"/>
                  </a:lnTo>
                  <a:lnTo>
                    <a:pt x="468" y="1008"/>
                  </a:lnTo>
                  <a:lnTo>
                    <a:pt x="468" y="1002"/>
                  </a:lnTo>
                  <a:lnTo>
                    <a:pt x="474" y="1008"/>
                  </a:lnTo>
                  <a:lnTo>
                    <a:pt x="480" y="1002"/>
                  </a:lnTo>
                  <a:lnTo>
                    <a:pt x="486" y="1008"/>
                  </a:lnTo>
                  <a:lnTo>
                    <a:pt x="486" y="1014"/>
                  </a:lnTo>
                  <a:lnTo>
                    <a:pt x="492" y="1014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86" y="1026"/>
                  </a:lnTo>
                  <a:lnTo>
                    <a:pt x="492" y="1026"/>
                  </a:lnTo>
                  <a:lnTo>
                    <a:pt x="486" y="1026"/>
                  </a:lnTo>
                  <a:lnTo>
                    <a:pt x="492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5" name="Freeform 30">
              <a:extLst>
                <a:ext uri="{FF2B5EF4-FFF2-40B4-BE49-F238E27FC236}">
                  <a16:creationId xmlns:a16="http://schemas.microsoft.com/office/drawing/2014/main" id="{85C7B827-0C1A-4D72-AEBD-F01CFE7EC12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3645" y="3904484"/>
              <a:ext cx="559048" cy="111825"/>
            </a:xfrm>
            <a:custGeom>
              <a:avLst/>
              <a:gdLst>
                <a:gd name="T0" fmla="*/ 69 w 1056"/>
                <a:gd name="T1" fmla="*/ 7 h 210"/>
                <a:gd name="T2" fmla="*/ 63 w 1056"/>
                <a:gd name="T3" fmla="*/ 5 h 210"/>
                <a:gd name="T4" fmla="*/ 57 w 1056"/>
                <a:gd name="T5" fmla="*/ 5 h 210"/>
                <a:gd name="T6" fmla="*/ 54 w 1056"/>
                <a:gd name="T7" fmla="*/ 6 h 210"/>
                <a:gd name="T8" fmla="*/ 51 w 1056"/>
                <a:gd name="T9" fmla="*/ 7 h 210"/>
                <a:gd name="T10" fmla="*/ 46 w 1056"/>
                <a:gd name="T11" fmla="*/ 9 h 210"/>
                <a:gd name="T12" fmla="*/ 42 w 1056"/>
                <a:gd name="T13" fmla="*/ 8 h 210"/>
                <a:gd name="T14" fmla="*/ 42 w 1056"/>
                <a:gd name="T15" fmla="*/ 5 h 210"/>
                <a:gd name="T16" fmla="*/ 41 w 1056"/>
                <a:gd name="T17" fmla="*/ 7 h 210"/>
                <a:gd name="T18" fmla="*/ 38 w 1056"/>
                <a:gd name="T19" fmla="*/ 10 h 210"/>
                <a:gd name="T20" fmla="*/ 37 w 1056"/>
                <a:gd name="T21" fmla="*/ 12 h 210"/>
                <a:gd name="T22" fmla="*/ 37 w 1056"/>
                <a:gd name="T23" fmla="*/ 15 h 210"/>
                <a:gd name="T24" fmla="*/ 37 w 1056"/>
                <a:gd name="T25" fmla="*/ 16 h 210"/>
                <a:gd name="T26" fmla="*/ 38 w 1056"/>
                <a:gd name="T27" fmla="*/ 16 h 210"/>
                <a:gd name="T28" fmla="*/ 34 w 1056"/>
                <a:gd name="T29" fmla="*/ 16 h 210"/>
                <a:gd name="T30" fmla="*/ 26 w 1056"/>
                <a:gd name="T31" fmla="*/ 16 h 210"/>
                <a:gd name="T32" fmla="*/ 20 w 1056"/>
                <a:gd name="T33" fmla="*/ 17 h 210"/>
                <a:gd name="T34" fmla="*/ 13 w 1056"/>
                <a:gd name="T35" fmla="*/ 17 h 210"/>
                <a:gd name="T36" fmla="*/ 6 w 1056"/>
                <a:gd name="T37" fmla="*/ 17 h 210"/>
                <a:gd name="T38" fmla="*/ 1 w 1056"/>
                <a:gd name="T39" fmla="*/ 18 h 210"/>
                <a:gd name="T40" fmla="*/ 3 w 1056"/>
                <a:gd name="T41" fmla="*/ 14 h 210"/>
                <a:gd name="T42" fmla="*/ 8 w 1056"/>
                <a:gd name="T43" fmla="*/ 15 h 210"/>
                <a:gd name="T44" fmla="*/ 11 w 1056"/>
                <a:gd name="T45" fmla="*/ 12 h 210"/>
                <a:gd name="T46" fmla="*/ 26 w 1056"/>
                <a:gd name="T47" fmla="*/ 10 h 210"/>
                <a:gd name="T48" fmla="*/ 29 w 1056"/>
                <a:gd name="T49" fmla="*/ 5 h 210"/>
                <a:gd name="T50" fmla="*/ 34 w 1056"/>
                <a:gd name="T51" fmla="*/ 1 h 210"/>
                <a:gd name="T52" fmla="*/ 41 w 1056"/>
                <a:gd name="T53" fmla="*/ 3 h 210"/>
                <a:gd name="T54" fmla="*/ 73 w 1056"/>
                <a:gd name="T55" fmla="*/ 1 h 210"/>
                <a:gd name="T56" fmla="*/ 75 w 1056"/>
                <a:gd name="T57" fmla="*/ 4 h 210"/>
                <a:gd name="T58" fmla="*/ 85 w 1056"/>
                <a:gd name="T59" fmla="*/ 15 h 210"/>
                <a:gd name="T60" fmla="*/ 91 w 1056"/>
                <a:gd name="T61" fmla="*/ 18 h 210"/>
                <a:gd name="T62" fmla="*/ 85 w 1056"/>
                <a:gd name="T63" fmla="*/ 18 h 210"/>
                <a:gd name="T64" fmla="*/ 79 w 1056"/>
                <a:gd name="T65" fmla="*/ 16 h 210"/>
                <a:gd name="T66" fmla="*/ 74 w 1056"/>
                <a:gd name="T67" fmla="*/ 16 h 210"/>
                <a:gd name="T68" fmla="*/ 69 w 1056"/>
                <a:gd name="T69" fmla="*/ 15 h 210"/>
                <a:gd name="T70" fmla="*/ 65 w 1056"/>
                <a:gd name="T71" fmla="*/ 14 h 210"/>
                <a:gd name="T72" fmla="*/ 59 w 1056"/>
                <a:gd name="T73" fmla="*/ 15 h 210"/>
                <a:gd name="T74" fmla="*/ 54 w 1056"/>
                <a:gd name="T75" fmla="*/ 15 h 210"/>
                <a:gd name="T76" fmla="*/ 49 w 1056"/>
                <a:gd name="T77" fmla="*/ 15 h 210"/>
                <a:gd name="T78" fmla="*/ 42 w 1056"/>
                <a:gd name="T79" fmla="*/ 15 h 210"/>
                <a:gd name="T80" fmla="*/ 38 w 1056"/>
                <a:gd name="T81" fmla="*/ 16 h 210"/>
                <a:gd name="T82" fmla="*/ 41 w 1056"/>
                <a:gd name="T83" fmla="*/ 14 h 210"/>
                <a:gd name="T84" fmla="*/ 42 w 1056"/>
                <a:gd name="T85" fmla="*/ 13 h 210"/>
                <a:gd name="T86" fmla="*/ 45 w 1056"/>
                <a:gd name="T87" fmla="*/ 13 h 210"/>
                <a:gd name="T88" fmla="*/ 48 w 1056"/>
                <a:gd name="T89" fmla="*/ 12 h 210"/>
                <a:gd name="T90" fmla="*/ 51 w 1056"/>
                <a:gd name="T91" fmla="*/ 11 h 210"/>
                <a:gd name="T92" fmla="*/ 54 w 1056"/>
                <a:gd name="T93" fmla="*/ 9 h 210"/>
                <a:gd name="T94" fmla="*/ 57 w 1056"/>
                <a:gd name="T95" fmla="*/ 8 h 210"/>
                <a:gd name="T96" fmla="*/ 60 w 1056"/>
                <a:gd name="T97" fmla="*/ 5 h 210"/>
                <a:gd name="T98" fmla="*/ 65 w 1056"/>
                <a:gd name="T99" fmla="*/ 5 h 210"/>
                <a:gd name="T100" fmla="*/ 72 w 1056"/>
                <a:gd name="T101" fmla="*/ 7 h 210"/>
                <a:gd name="T102" fmla="*/ 77 w 1056"/>
                <a:gd name="T103" fmla="*/ 11 h 210"/>
                <a:gd name="T104" fmla="*/ 69 w 1056"/>
                <a:gd name="T105" fmla="*/ 10 h 210"/>
                <a:gd name="T106" fmla="*/ 72 w 1056"/>
                <a:gd name="T107" fmla="*/ 12 h 210"/>
                <a:gd name="T108" fmla="*/ 78 w 1056"/>
                <a:gd name="T109" fmla="*/ 15 h 210"/>
                <a:gd name="T110" fmla="*/ 84 w 1056"/>
                <a:gd name="T111" fmla="*/ 14 h 210"/>
                <a:gd name="T112" fmla="*/ 84 w 1056"/>
                <a:gd name="T113" fmla="*/ 14 h 210"/>
                <a:gd name="T114" fmla="*/ 78 w 1056"/>
                <a:gd name="T115" fmla="*/ 13 h 210"/>
                <a:gd name="T116" fmla="*/ 76 w 1056"/>
                <a:gd name="T117" fmla="*/ 14 h 210"/>
                <a:gd name="T118" fmla="*/ 38 w 1056"/>
                <a:gd name="T119" fmla="*/ 12 h 210"/>
                <a:gd name="T120" fmla="*/ 41 w 1056"/>
                <a:gd name="T121" fmla="*/ 12 h 210"/>
                <a:gd name="T122" fmla="*/ 40 w 1056"/>
                <a:gd name="T123" fmla="*/ 14 h 2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6"/>
                <a:gd name="T187" fmla="*/ 0 h 210"/>
                <a:gd name="T188" fmla="*/ 1056 w 1056"/>
                <a:gd name="T189" fmla="*/ 210 h 21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6" h="210">
                  <a:moveTo>
                    <a:pt x="870" y="90"/>
                  </a:moveTo>
                  <a:lnTo>
                    <a:pt x="864" y="90"/>
                  </a:lnTo>
                  <a:lnTo>
                    <a:pt x="852" y="84"/>
                  </a:lnTo>
                  <a:lnTo>
                    <a:pt x="846" y="84"/>
                  </a:lnTo>
                  <a:lnTo>
                    <a:pt x="846" y="78"/>
                  </a:lnTo>
                  <a:lnTo>
                    <a:pt x="840" y="78"/>
                  </a:lnTo>
                  <a:lnTo>
                    <a:pt x="834" y="78"/>
                  </a:lnTo>
                  <a:lnTo>
                    <a:pt x="834" y="72"/>
                  </a:lnTo>
                  <a:lnTo>
                    <a:pt x="804" y="78"/>
                  </a:lnTo>
                  <a:lnTo>
                    <a:pt x="798" y="78"/>
                  </a:lnTo>
                  <a:lnTo>
                    <a:pt x="792" y="72"/>
                  </a:lnTo>
                  <a:lnTo>
                    <a:pt x="780" y="60"/>
                  </a:lnTo>
                  <a:lnTo>
                    <a:pt x="768" y="54"/>
                  </a:lnTo>
                  <a:lnTo>
                    <a:pt x="756" y="54"/>
                  </a:lnTo>
                  <a:lnTo>
                    <a:pt x="750" y="54"/>
                  </a:lnTo>
                  <a:lnTo>
                    <a:pt x="750" y="48"/>
                  </a:lnTo>
                  <a:lnTo>
                    <a:pt x="744" y="48"/>
                  </a:lnTo>
                  <a:lnTo>
                    <a:pt x="738" y="48"/>
                  </a:lnTo>
                  <a:lnTo>
                    <a:pt x="732" y="48"/>
                  </a:lnTo>
                  <a:lnTo>
                    <a:pt x="732" y="54"/>
                  </a:lnTo>
                  <a:lnTo>
                    <a:pt x="726" y="48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48"/>
                  </a:lnTo>
                  <a:lnTo>
                    <a:pt x="702" y="48"/>
                  </a:lnTo>
                  <a:lnTo>
                    <a:pt x="696" y="48"/>
                  </a:lnTo>
                  <a:lnTo>
                    <a:pt x="684" y="48"/>
                  </a:lnTo>
                  <a:lnTo>
                    <a:pt x="678" y="48"/>
                  </a:lnTo>
                  <a:lnTo>
                    <a:pt x="672" y="48"/>
                  </a:lnTo>
                  <a:lnTo>
                    <a:pt x="666" y="54"/>
                  </a:lnTo>
                  <a:lnTo>
                    <a:pt x="660" y="54"/>
                  </a:lnTo>
                  <a:lnTo>
                    <a:pt x="660" y="48"/>
                  </a:lnTo>
                  <a:lnTo>
                    <a:pt x="654" y="48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42" y="54"/>
                  </a:lnTo>
                  <a:lnTo>
                    <a:pt x="63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30" y="66"/>
                  </a:lnTo>
                  <a:lnTo>
                    <a:pt x="624" y="66"/>
                  </a:lnTo>
                  <a:lnTo>
                    <a:pt x="618" y="66"/>
                  </a:lnTo>
                  <a:lnTo>
                    <a:pt x="618" y="72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6" y="84"/>
                  </a:lnTo>
                  <a:lnTo>
                    <a:pt x="600" y="84"/>
                  </a:lnTo>
                  <a:lnTo>
                    <a:pt x="594" y="90"/>
                  </a:lnTo>
                  <a:lnTo>
                    <a:pt x="588" y="90"/>
                  </a:lnTo>
                  <a:lnTo>
                    <a:pt x="588" y="84"/>
                  </a:lnTo>
                  <a:lnTo>
                    <a:pt x="582" y="84"/>
                  </a:lnTo>
                  <a:lnTo>
                    <a:pt x="576" y="84"/>
                  </a:lnTo>
                  <a:lnTo>
                    <a:pt x="570" y="84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58" y="96"/>
                  </a:lnTo>
                  <a:lnTo>
                    <a:pt x="552" y="96"/>
                  </a:lnTo>
                  <a:lnTo>
                    <a:pt x="546" y="102"/>
                  </a:lnTo>
                  <a:lnTo>
                    <a:pt x="540" y="102"/>
                  </a:lnTo>
                  <a:lnTo>
                    <a:pt x="534" y="102"/>
                  </a:lnTo>
                  <a:lnTo>
                    <a:pt x="528" y="102"/>
                  </a:lnTo>
                  <a:lnTo>
                    <a:pt x="528" y="108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16" y="102"/>
                  </a:lnTo>
                  <a:lnTo>
                    <a:pt x="510" y="102"/>
                  </a:lnTo>
                  <a:lnTo>
                    <a:pt x="504" y="102"/>
                  </a:lnTo>
                  <a:lnTo>
                    <a:pt x="498" y="102"/>
                  </a:lnTo>
                  <a:lnTo>
                    <a:pt x="498" y="96"/>
                  </a:lnTo>
                  <a:lnTo>
                    <a:pt x="492" y="96"/>
                  </a:lnTo>
                  <a:lnTo>
                    <a:pt x="492" y="90"/>
                  </a:lnTo>
                  <a:lnTo>
                    <a:pt x="492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498" y="66"/>
                  </a:lnTo>
                  <a:lnTo>
                    <a:pt x="504" y="60"/>
                  </a:lnTo>
                  <a:lnTo>
                    <a:pt x="498" y="60"/>
                  </a:lnTo>
                  <a:lnTo>
                    <a:pt x="498" y="54"/>
                  </a:lnTo>
                  <a:lnTo>
                    <a:pt x="492" y="54"/>
                  </a:lnTo>
                  <a:lnTo>
                    <a:pt x="492" y="60"/>
                  </a:lnTo>
                  <a:lnTo>
                    <a:pt x="486" y="60"/>
                  </a:lnTo>
                  <a:lnTo>
                    <a:pt x="486" y="66"/>
                  </a:lnTo>
                  <a:lnTo>
                    <a:pt x="480" y="66"/>
                  </a:lnTo>
                  <a:lnTo>
                    <a:pt x="474" y="72"/>
                  </a:lnTo>
                  <a:lnTo>
                    <a:pt x="474" y="66"/>
                  </a:lnTo>
                  <a:lnTo>
                    <a:pt x="474" y="72"/>
                  </a:lnTo>
                  <a:lnTo>
                    <a:pt x="468" y="72"/>
                  </a:lnTo>
                  <a:lnTo>
                    <a:pt x="468" y="78"/>
                  </a:lnTo>
                  <a:lnTo>
                    <a:pt x="468" y="84"/>
                  </a:lnTo>
                  <a:lnTo>
                    <a:pt x="462" y="90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0" y="84"/>
                  </a:lnTo>
                  <a:lnTo>
                    <a:pt x="450" y="90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44" y="102"/>
                  </a:lnTo>
                  <a:lnTo>
                    <a:pt x="444" y="108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38" y="126"/>
                  </a:lnTo>
                  <a:lnTo>
                    <a:pt x="438" y="132"/>
                  </a:lnTo>
                  <a:lnTo>
                    <a:pt x="438" y="138"/>
                  </a:lnTo>
                  <a:lnTo>
                    <a:pt x="438" y="144"/>
                  </a:lnTo>
                  <a:lnTo>
                    <a:pt x="432" y="144"/>
                  </a:lnTo>
                  <a:lnTo>
                    <a:pt x="432" y="150"/>
                  </a:lnTo>
                  <a:lnTo>
                    <a:pt x="432" y="144"/>
                  </a:lnTo>
                  <a:lnTo>
                    <a:pt x="426" y="144"/>
                  </a:lnTo>
                  <a:lnTo>
                    <a:pt x="426" y="150"/>
                  </a:lnTo>
                  <a:lnTo>
                    <a:pt x="426" y="156"/>
                  </a:lnTo>
                  <a:lnTo>
                    <a:pt x="432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2"/>
                  </a:lnTo>
                  <a:lnTo>
                    <a:pt x="432" y="168"/>
                  </a:lnTo>
                  <a:lnTo>
                    <a:pt x="426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44" y="168"/>
                  </a:lnTo>
                  <a:lnTo>
                    <a:pt x="444" y="174"/>
                  </a:lnTo>
                  <a:lnTo>
                    <a:pt x="444" y="180"/>
                  </a:lnTo>
                  <a:lnTo>
                    <a:pt x="444" y="186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2" y="192"/>
                  </a:lnTo>
                  <a:lnTo>
                    <a:pt x="426" y="192"/>
                  </a:lnTo>
                  <a:lnTo>
                    <a:pt x="420" y="186"/>
                  </a:lnTo>
                  <a:lnTo>
                    <a:pt x="414" y="186"/>
                  </a:lnTo>
                  <a:lnTo>
                    <a:pt x="408" y="186"/>
                  </a:lnTo>
                  <a:lnTo>
                    <a:pt x="402" y="186"/>
                  </a:lnTo>
                  <a:lnTo>
                    <a:pt x="396" y="186"/>
                  </a:lnTo>
                  <a:lnTo>
                    <a:pt x="390" y="186"/>
                  </a:lnTo>
                  <a:lnTo>
                    <a:pt x="384" y="186"/>
                  </a:lnTo>
                  <a:lnTo>
                    <a:pt x="378" y="186"/>
                  </a:lnTo>
                  <a:lnTo>
                    <a:pt x="372" y="186"/>
                  </a:lnTo>
                  <a:lnTo>
                    <a:pt x="354" y="186"/>
                  </a:lnTo>
                  <a:lnTo>
                    <a:pt x="342" y="186"/>
                  </a:lnTo>
                  <a:lnTo>
                    <a:pt x="324" y="186"/>
                  </a:lnTo>
                  <a:lnTo>
                    <a:pt x="312" y="186"/>
                  </a:lnTo>
                  <a:lnTo>
                    <a:pt x="306" y="186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82" y="186"/>
                  </a:lnTo>
                  <a:lnTo>
                    <a:pt x="270" y="186"/>
                  </a:lnTo>
                  <a:lnTo>
                    <a:pt x="264" y="186"/>
                  </a:lnTo>
                  <a:lnTo>
                    <a:pt x="258" y="192"/>
                  </a:lnTo>
                  <a:lnTo>
                    <a:pt x="258" y="186"/>
                  </a:lnTo>
                  <a:lnTo>
                    <a:pt x="246" y="186"/>
                  </a:lnTo>
                  <a:lnTo>
                    <a:pt x="240" y="186"/>
                  </a:lnTo>
                  <a:lnTo>
                    <a:pt x="234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2"/>
                  </a:lnTo>
                  <a:lnTo>
                    <a:pt x="204" y="192"/>
                  </a:lnTo>
                  <a:lnTo>
                    <a:pt x="198" y="192"/>
                  </a:lnTo>
                  <a:lnTo>
                    <a:pt x="192" y="192"/>
                  </a:lnTo>
                  <a:lnTo>
                    <a:pt x="180" y="192"/>
                  </a:lnTo>
                  <a:lnTo>
                    <a:pt x="168" y="192"/>
                  </a:lnTo>
                  <a:lnTo>
                    <a:pt x="162" y="192"/>
                  </a:lnTo>
                  <a:lnTo>
                    <a:pt x="150" y="192"/>
                  </a:lnTo>
                  <a:lnTo>
                    <a:pt x="138" y="192"/>
                  </a:lnTo>
                  <a:lnTo>
                    <a:pt x="132" y="192"/>
                  </a:lnTo>
                  <a:lnTo>
                    <a:pt x="120" y="192"/>
                  </a:lnTo>
                  <a:lnTo>
                    <a:pt x="114" y="192"/>
                  </a:lnTo>
                  <a:lnTo>
                    <a:pt x="108" y="192"/>
                  </a:lnTo>
                  <a:lnTo>
                    <a:pt x="102" y="192"/>
                  </a:lnTo>
                  <a:lnTo>
                    <a:pt x="90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2" y="198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36" y="198"/>
                  </a:lnTo>
                  <a:lnTo>
                    <a:pt x="30" y="204"/>
                  </a:lnTo>
                  <a:lnTo>
                    <a:pt x="24" y="204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6" y="210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54" y="156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56"/>
                  </a:lnTo>
                  <a:lnTo>
                    <a:pt x="78" y="162"/>
                  </a:lnTo>
                  <a:lnTo>
                    <a:pt x="84" y="162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9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0" y="126"/>
                  </a:lnTo>
                  <a:lnTo>
                    <a:pt x="276" y="120"/>
                  </a:lnTo>
                  <a:lnTo>
                    <a:pt x="282" y="120"/>
                  </a:lnTo>
                  <a:lnTo>
                    <a:pt x="300" y="120"/>
                  </a:lnTo>
                  <a:lnTo>
                    <a:pt x="306" y="114"/>
                  </a:lnTo>
                  <a:lnTo>
                    <a:pt x="312" y="108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8"/>
                  </a:lnTo>
                  <a:lnTo>
                    <a:pt x="342" y="30"/>
                  </a:lnTo>
                  <a:lnTo>
                    <a:pt x="342" y="24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8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24"/>
                  </a:lnTo>
                  <a:lnTo>
                    <a:pt x="414" y="30"/>
                  </a:lnTo>
                  <a:lnTo>
                    <a:pt x="420" y="30"/>
                  </a:lnTo>
                  <a:lnTo>
                    <a:pt x="42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74" y="30"/>
                  </a:lnTo>
                  <a:lnTo>
                    <a:pt x="474" y="18"/>
                  </a:lnTo>
                  <a:lnTo>
                    <a:pt x="474" y="12"/>
                  </a:lnTo>
                  <a:lnTo>
                    <a:pt x="480" y="12"/>
                  </a:lnTo>
                  <a:lnTo>
                    <a:pt x="486" y="12"/>
                  </a:lnTo>
                  <a:lnTo>
                    <a:pt x="606" y="12"/>
                  </a:lnTo>
                  <a:lnTo>
                    <a:pt x="630" y="12"/>
                  </a:lnTo>
                  <a:lnTo>
                    <a:pt x="678" y="12"/>
                  </a:lnTo>
                  <a:lnTo>
                    <a:pt x="744" y="12"/>
                  </a:lnTo>
                  <a:lnTo>
                    <a:pt x="774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2" y="6"/>
                  </a:lnTo>
                  <a:lnTo>
                    <a:pt x="888" y="12"/>
                  </a:lnTo>
                  <a:lnTo>
                    <a:pt x="888" y="24"/>
                  </a:lnTo>
                  <a:lnTo>
                    <a:pt x="888" y="30"/>
                  </a:lnTo>
                  <a:lnTo>
                    <a:pt x="882" y="36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64" y="42"/>
                  </a:lnTo>
                  <a:lnTo>
                    <a:pt x="864" y="48"/>
                  </a:lnTo>
                  <a:lnTo>
                    <a:pt x="858" y="54"/>
                  </a:lnTo>
                  <a:lnTo>
                    <a:pt x="864" y="54"/>
                  </a:lnTo>
                  <a:lnTo>
                    <a:pt x="870" y="72"/>
                  </a:lnTo>
                  <a:lnTo>
                    <a:pt x="870" y="78"/>
                  </a:lnTo>
                  <a:lnTo>
                    <a:pt x="870" y="84"/>
                  </a:lnTo>
                  <a:lnTo>
                    <a:pt x="870" y="90"/>
                  </a:lnTo>
                  <a:close/>
                  <a:moveTo>
                    <a:pt x="972" y="156"/>
                  </a:moveTo>
                  <a:lnTo>
                    <a:pt x="972" y="162"/>
                  </a:lnTo>
                  <a:lnTo>
                    <a:pt x="978" y="162"/>
                  </a:lnTo>
                  <a:lnTo>
                    <a:pt x="984" y="168"/>
                  </a:lnTo>
                  <a:lnTo>
                    <a:pt x="990" y="168"/>
                  </a:lnTo>
                  <a:lnTo>
                    <a:pt x="990" y="162"/>
                  </a:lnTo>
                  <a:lnTo>
                    <a:pt x="1008" y="162"/>
                  </a:lnTo>
                  <a:lnTo>
                    <a:pt x="1020" y="162"/>
                  </a:lnTo>
                  <a:lnTo>
                    <a:pt x="1038" y="162"/>
                  </a:lnTo>
                  <a:lnTo>
                    <a:pt x="1056" y="168"/>
                  </a:lnTo>
                  <a:lnTo>
                    <a:pt x="1056" y="180"/>
                  </a:lnTo>
                  <a:lnTo>
                    <a:pt x="1056" y="186"/>
                  </a:lnTo>
                  <a:lnTo>
                    <a:pt x="1056" y="204"/>
                  </a:lnTo>
                  <a:lnTo>
                    <a:pt x="1050" y="204"/>
                  </a:lnTo>
                  <a:lnTo>
                    <a:pt x="1044" y="204"/>
                  </a:lnTo>
                  <a:lnTo>
                    <a:pt x="1038" y="204"/>
                  </a:lnTo>
                  <a:lnTo>
                    <a:pt x="1032" y="204"/>
                  </a:lnTo>
                  <a:lnTo>
                    <a:pt x="1026" y="204"/>
                  </a:lnTo>
                  <a:lnTo>
                    <a:pt x="1020" y="204"/>
                  </a:lnTo>
                  <a:lnTo>
                    <a:pt x="1014" y="204"/>
                  </a:lnTo>
                  <a:lnTo>
                    <a:pt x="1008" y="204"/>
                  </a:lnTo>
                  <a:lnTo>
                    <a:pt x="1002" y="204"/>
                  </a:lnTo>
                  <a:lnTo>
                    <a:pt x="996" y="204"/>
                  </a:lnTo>
                  <a:lnTo>
                    <a:pt x="984" y="204"/>
                  </a:lnTo>
                  <a:lnTo>
                    <a:pt x="984" y="198"/>
                  </a:lnTo>
                  <a:lnTo>
                    <a:pt x="978" y="198"/>
                  </a:lnTo>
                  <a:lnTo>
                    <a:pt x="966" y="198"/>
                  </a:lnTo>
                  <a:lnTo>
                    <a:pt x="948" y="192"/>
                  </a:lnTo>
                  <a:lnTo>
                    <a:pt x="942" y="192"/>
                  </a:lnTo>
                  <a:lnTo>
                    <a:pt x="936" y="192"/>
                  </a:lnTo>
                  <a:lnTo>
                    <a:pt x="924" y="192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12" y="186"/>
                  </a:lnTo>
                  <a:lnTo>
                    <a:pt x="906" y="186"/>
                  </a:lnTo>
                  <a:lnTo>
                    <a:pt x="900" y="186"/>
                  </a:lnTo>
                  <a:lnTo>
                    <a:pt x="894" y="186"/>
                  </a:lnTo>
                  <a:lnTo>
                    <a:pt x="888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76" y="180"/>
                  </a:lnTo>
                  <a:lnTo>
                    <a:pt x="870" y="180"/>
                  </a:lnTo>
                  <a:lnTo>
                    <a:pt x="864" y="180"/>
                  </a:lnTo>
                  <a:lnTo>
                    <a:pt x="858" y="180"/>
                  </a:lnTo>
                  <a:lnTo>
                    <a:pt x="852" y="180"/>
                  </a:lnTo>
                  <a:lnTo>
                    <a:pt x="852" y="174"/>
                  </a:lnTo>
                  <a:lnTo>
                    <a:pt x="846" y="174"/>
                  </a:lnTo>
                  <a:lnTo>
                    <a:pt x="840" y="174"/>
                  </a:lnTo>
                  <a:lnTo>
                    <a:pt x="834" y="174"/>
                  </a:lnTo>
                  <a:lnTo>
                    <a:pt x="828" y="174"/>
                  </a:lnTo>
                  <a:lnTo>
                    <a:pt x="822" y="174"/>
                  </a:lnTo>
                  <a:lnTo>
                    <a:pt x="816" y="174"/>
                  </a:lnTo>
                  <a:lnTo>
                    <a:pt x="810" y="168"/>
                  </a:lnTo>
                  <a:lnTo>
                    <a:pt x="804" y="168"/>
                  </a:lnTo>
                  <a:lnTo>
                    <a:pt x="798" y="168"/>
                  </a:lnTo>
                  <a:lnTo>
                    <a:pt x="792" y="168"/>
                  </a:lnTo>
                  <a:lnTo>
                    <a:pt x="786" y="168"/>
                  </a:lnTo>
                  <a:lnTo>
                    <a:pt x="780" y="168"/>
                  </a:lnTo>
                  <a:lnTo>
                    <a:pt x="774" y="168"/>
                  </a:lnTo>
                  <a:lnTo>
                    <a:pt x="768" y="168"/>
                  </a:lnTo>
                  <a:lnTo>
                    <a:pt x="762" y="168"/>
                  </a:lnTo>
                  <a:lnTo>
                    <a:pt x="756" y="168"/>
                  </a:lnTo>
                  <a:lnTo>
                    <a:pt x="750" y="168"/>
                  </a:lnTo>
                  <a:lnTo>
                    <a:pt x="750" y="162"/>
                  </a:lnTo>
                  <a:lnTo>
                    <a:pt x="744" y="168"/>
                  </a:lnTo>
                  <a:lnTo>
                    <a:pt x="738" y="162"/>
                  </a:lnTo>
                  <a:lnTo>
                    <a:pt x="732" y="162"/>
                  </a:lnTo>
                  <a:lnTo>
                    <a:pt x="726" y="162"/>
                  </a:lnTo>
                  <a:lnTo>
                    <a:pt x="714" y="162"/>
                  </a:lnTo>
                  <a:lnTo>
                    <a:pt x="702" y="162"/>
                  </a:lnTo>
                  <a:lnTo>
                    <a:pt x="696" y="168"/>
                  </a:lnTo>
                  <a:lnTo>
                    <a:pt x="690" y="168"/>
                  </a:lnTo>
                  <a:lnTo>
                    <a:pt x="684" y="168"/>
                  </a:lnTo>
                  <a:lnTo>
                    <a:pt x="678" y="168"/>
                  </a:lnTo>
                  <a:lnTo>
                    <a:pt x="672" y="168"/>
                  </a:lnTo>
                  <a:lnTo>
                    <a:pt x="666" y="168"/>
                  </a:lnTo>
                  <a:lnTo>
                    <a:pt x="660" y="168"/>
                  </a:lnTo>
                  <a:lnTo>
                    <a:pt x="654" y="168"/>
                  </a:lnTo>
                  <a:lnTo>
                    <a:pt x="648" y="174"/>
                  </a:lnTo>
                  <a:lnTo>
                    <a:pt x="648" y="168"/>
                  </a:lnTo>
                  <a:lnTo>
                    <a:pt x="642" y="174"/>
                  </a:lnTo>
                  <a:lnTo>
                    <a:pt x="636" y="174"/>
                  </a:lnTo>
                  <a:lnTo>
                    <a:pt x="630" y="174"/>
                  </a:lnTo>
                  <a:lnTo>
                    <a:pt x="624" y="174"/>
                  </a:lnTo>
                  <a:lnTo>
                    <a:pt x="618" y="174"/>
                  </a:lnTo>
                  <a:lnTo>
                    <a:pt x="612" y="174"/>
                  </a:lnTo>
                  <a:lnTo>
                    <a:pt x="606" y="174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74"/>
                  </a:lnTo>
                  <a:lnTo>
                    <a:pt x="582" y="174"/>
                  </a:lnTo>
                  <a:lnTo>
                    <a:pt x="576" y="174"/>
                  </a:lnTo>
                  <a:lnTo>
                    <a:pt x="570" y="174"/>
                  </a:lnTo>
                  <a:lnTo>
                    <a:pt x="564" y="174"/>
                  </a:lnTo>
                  <a:lnTo>
                    <a:pt x="558" y="174"/>
                  </a:lnTo>
                  <a:lnTo>
                    <a:pt x="552" y="174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0" y="174"/>
                  </a:lnTo>
                  <a:lnTo>
                    <a:pt x="504" y="174"/>
                  </a:lnTo>
                  <a:lnTo>
                    <a:pt x="498" y="174"/>
                  </a:lnTo>
                  <a:lnTo>
                    <a:pt x="492" y="174"/>
                  </a:lnTo>
                  <a:lnTo>
                    <a:pt x="486" y="174"/>
                  </a:lnTo>
                  <a:lnTo>
                    <a:pt x="480" y="174"/>
                  </a:lnTo>
                  <a:lnTo>
                    <a:pt x="474" y="174"/>
                  </a:lnTo>
                  <a:lnTo>
                    <a:pt x="468" y="174"/>
                  </a:lnTo>
                  <a:lnTo>
                    <a:pt x="462" y="174"/>
                  </a:lnTo>
                  <a:lnTo>
                    <a:pt x="456" y="174"/>
                  </a:lnTo>
                  <a:lnTo>
                    <a:pt x="450" y="180"/>
                  </a:lnTo>
                  <a:lnTo>
                    <a:pt x="450" y="186"/>
                  </a:lnTo>
                  <a:lnTo>
                    <a:pt x="450" y="192"/>
                  </a:lnTo>
                  <a:lnTo>
                    <a:pt x="444" y="192"/>
                  </a:lnTo>
                  <a:lnTo>
                    <a:pt x="444" y="186"/>
                  </a:lnTo>
                  <a:lnTo>
                    <a:pt x="444" y="180"/>
                  </a:lnTo>
                  <a:lnTo>
                    <a:pt x="450" y="180"/>
                  </a:lnTo>
                  <a:lnTo>
                    <a:pt x="450" y="174"/>
                  </a:lnTo>
                  <a:lnTo>
                    <a:pt x="450" y="168"/>
                  </a:lnTo>
                  <a:lnTo>
                    <a:pt x="450" y="162"/>
                  </a:lnTo>
                  <a:lnTo>
                    <a:pt x="456" y="162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62" y="162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74" y="168"/>
                  </a:lnTo>
                  <a:lnTo>
                    <a:pt x="480" y="168"/>
                  </a:lnTo>
                  <a:lnTo>
                    <a:pt x="480" y="162"/>
                  </a:lnTo>
                  <a:lnTo>
                    <a:pt x="480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56"/>
                  </a:lnTo>
                  <a:lnTo>
                    <a:pt x="492" y="156"/>
                  </a:lnTo>
                  <a:lnTo>
                    <a:pt x="486" y="150"/>
                  </a:lnTo>
                  <a:lnTo>
                    <a:pt x="492" y="150"/>
                  </a:lnTo>
                  <a:lnTo>
                    <a:pt x="498" y="150"/>
                  </a:lnTo>
                  <a:lnTo>
                    <a:pt x="498" y="156"/>
                  </a:lnTo>
                  <a:lnTo>
                    <a:pt x="504" y="156"/>
                  </a:lnTo>
                  <a:lnTo>
                    <a:pt x="504" y="162"/>
                  </a:lnTo>
                  <a:lnTo>
                    <a:pt x="504" y="156"/>
                  </a:lnTo>
                  <a:lnTo>
                    <a:pt x="510" y="156"/>
                  </a:lnTo>
                  <a:lnTo>
                    <a:pt x="510" y="150"/>
                  </a:lnTo>
                  <a:lnTo>
                    <a:pt x="516" y="150"/>
                  </a:lnTo>
                  <a:lnTo>
                    <a:pt x="522" y="150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28" y="150"/>
                  </a:lnTo>
                  <a:lnTo>
                    <a:pt x="528" y="144"/>
                  </a:lnTo>
                  <a:lnTo>
                    <a:pt x="540" y="144"/>
                  </a:lnTo>
                  <a:lnTo>
                    <a:pt x="546" y="144"/>
                  </a:lnTo>
                  <a:lnTo>
                    <a:pt x="552" y="138"/>
                  </a:lnTo>
                  <a:lnTo>
                    <a:pt x="552" y="132"/>
                  </a:lnTo>
                  <a:lnTo>
                    <a:pt x="558" y="132"/>
                  </a:lnTo>
                  <a:lnTo>
                    <a:pt x="558" y="126"/>
                  </a:lnTo>
                  <a:lnTo>
                    <a:pt x="558" y="120"/>
                  </a:lnTo>
                  <a:lnTo>
                    <a:pt x="558" y="114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6" y="114"/>
                  </a:lnTo>
                  <a:lnTo>
                    <a:pt x="582" y="120"/>
                  </a:lnTo>
                  <a:lnTo>
                    <a:pt x="588" y="120"/>
                  </a:lnTo>
                  <a:lnTo>
                    <a:pt x="588" y="126"/>
                  </a:lnTo>
                  <a:lnTo>
                    <a:pt x="588" y="120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600" y="114"/>
                  </a:lnTo>
                  <a:lnTo>
                    <a:pt x="606" y="114"/>
                  </a:lnTo>
                  <a:lnTo>
                    <a:pt x="618" y="114"/>
                  </a:lnTo>
                  <a:lnTo>
                    <a:pt x="618" y="108"/>
                  </a:lnTo>
                  <a:lnTo>
                    <a:pt x="624" y="108"/>
                  </a:lnTo>
                  <a:lnTo>
                    <a:pt x="624" y="102"/>
                  </a:lnTo>
                  <a:lnTo>
                    <a:pt x="630" y="102"/>
                  </a:lnTo>
                  <a:lnTo>
                    <a:pt x="636" y="102"/>
                  </a:lnTo>
                  <a:lnTo>
                    <a:pt x="636" y="108"/>
                  </a:lnTo>
                  <a:lnTo>
                    <a:pt x="642" y="108"/>
                  </a:lnTo>
                  <a:lnTo>
                    <a:pt x="648" y="108"/>
                  </a:lnTo>
                  <a:lnTo>
                    <a:pt x="648" y="102"/>
                  </a:lnTo>
                  <a:lnTo>
                    <a:pt x="654" y="102"/>
                  </a:lnTo>
                  <a:lnTo>
                    <a:pt x="660" y="102"/>
                  </a:lnTo>
                  <a:lnTo>
                    <a:pt x="660" y="96"/>
                  </a:lnTo>
                  <a:lnTo>
                    <a:pt x="660" y="90"/>
                  </a:lnTo>
                  <a:lnTo>
                    <a:pt x="666" y="90"/>
                  </a:lnTo>
                  <a:lnTo>
                    <a:pt x="666" y="84"/>
                  </a:lnTo>
                  <a:lnTo>
                    <a:pt x="672" y="78"/>
                  </a:lnTo>
                  <a:lnTo>
                    <a:pt x="672" y="72"/>
                  </a:lnTo>
                  <a:lnTo>
                    <a:pt x="678" y="66"/>
                  </a:lnTo>
                  <a:lnTo>
                    <a:pt x="684" y="66"/>
                  </a:lnTo>
                  <a:lnTo>
                    <a:pt x="684" y="60"/>
                  </a:lnTo>
                  <a:lnTo>
                    <a:pt x="690" y="60"/>
                  </a:lnTo>
                  <a:lnTo>
                    <a:pt x="696" y="60"/>
                  </a:lnTo>
                  <a:lnTo>
                    <a:pt x="702" y="60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66"/>
                  </a:lnTo>
                  <a:lnTo>
                    <a:pt x="720" y="66"/>
                  </a:lnTo>
                  <a:lnTo>
                    <a:pt x="720" y="60"/>
                  </a:lnTo>
                  <a:lnTo>
                    <a:pt x="726" y="60"/>
                  </a:lnTo>
                  <a:lnTo>
                    <a:pt x="732" y="60"/>
                  </a:lnTo>
                  <a:lnTo>
                    <a:pt x="744" y="60"/>
                  </a:lnTo>
                  <a:lnTo>
                    <a:pt x="750" y="54"/>
                  </a:lnTo>
                  <a:lnTo>
                    <a:pt x="762" y="60"/>
                  </a:lnTo>
                  <a:lnTo>
                    <a:pt x="774" y="60"/>
                  </a:lnTo>
                  <a:lnTo>
                    <a:pt x="774" y="66"/>
                  </a:lnTo>
                  <a:lnTo>
                    <a:pt x="780" y="72"/>
                  </a:lnTo>
                  <a:lnTo>
                    <a:pt x="786" y="78"/>
                  </a:lnTo>
                  <a:lnTo>
                    <a:pt x="792" y="78"/>
                  </a:lnTo>
                  <a:lnTo>
                    <a:pt x="810" y="84"/>
                  </a:lnTo>
                  <a:lnTo>
                    <a:pt x="822" y="84"/>
                  </a:lnTo>
                  <a:lnTo>
                    <a:pt x="828" y="84"/>
                  </a:lnTo>
                  <a:lnTo>
                    <a:pt x="834" y="84"/>
                  </a:lnTo>
                  <a:lnTo>
                    <a:pt x="840" y="96"/>
                  </a:lnTo>
                  <a:lnTo>
                    <a:pt x="846" y="102"/>
                  </a:lnTo>
                  <a:lnTo>
                    <a:pt x="858" y="102"/>
                  </a:lnTo>
                  <a:lnTo>
                    <a:pt x="864" y="102"/>
                  </a:lnTo>
                  <a:lnTo>
                    <a:pt x="876" y="96"/>
                  </a:lnTo>
                  <a:lnTo>
                    <a:pt x="882" y="102"/>
                  </a:lnTo>
                  <a:lnTo>
                    <a:pt x="888" y="108"/>
                  </a:lnTo>
                  <a:lnTo>
                    <a:pt x="888" y="114"/>
                  </a:lnTo>
                  <a:lnTo>
                    <a:pt x="888" y="120"/>
                  </a:lnTo>
                  <a:lnTo>
                    <a:pt x="888" y="126"/>
                  </a:lnTo>
                  <a:lnTo>
                    <a:pt x="888" y="132"/>
                  </a:lnTo>
                  <a:lnTo>
                    <a:pt x="882" y="132"/>
                  </a:lnTo>
                  <a:lnTo>
                    <a:pt x="864" y="126"/>
                  </a:lnTo>
                  <a:lnTo>
                    <a:pt x="852" y="120"/>
                  </a:lnTo>
                  <a:lnTo>
                    <a:pt x="840" y="126"/>
                  </a:lnTo>
                  <a:lnTo>
                    <a:pt x="834" y="120"/>
                  </a:lnTo>
                  <a:lnTo>
                    <a:pt x="828" y="120"/>
                  </a:lnTo>
                  <a:lnTo>
                    <a:pt x="822" y="120"/>
                  </a:lnTo>
                  <a:lnTo>
                    <a:pt x="810" y="114"/>
                  </a:lnTo>
                  <a:lnTo>
                    <a:pt x="804" y="114"/>
                  </a:lnTo>
                  <a:lnTo>
                    <a:pt x="798" y="114"/>
                  </a:lnTo>
                  <a:lnTo>
                    <a:pt x="792" y="114"/>
                  </a:lnTo>
                  <a:lnTo>
                    <a:pt x="786" y="114"/>
                  </a:lnTo>
                  <a:lnTo>
                    <a:pt x="780" y="114"/>
                  </a:lnTo>
                  <a:lnTo>
                    <a:pt x="780" y="126"/>
                  </a:lnTo>
                  <a:lnTo>
                    <a:pt x="786" y="126"/>
                  </a:lnTo>
                  <a:lnTo>
                    <a:pt x="798" y="126"/>
                  </a:lnTo>
                  <a:lnTo>
                    <a:pt x="804" y="126"/>
                  </a:lnTo>
                  <a:lnTo>
                    <a:pt x="822" y="132"/>
                  </a:lnTo>
                  <a:lnTo>
                    <a:pt x="828" y="132"/>
                  </a:lnTo>
                  <a:lnTo>
                    <a:pt x="834" y="132"/>
                  </a:lnTo>
                  <a:lnTo>
                    <a:pt x="840" y="144"/>
                  </a:lnTo>
                  <a:lnTo>
                    <a:pt x="846" y="150"/>
                  </a:lnTo>
                  <a:lnTo>
                    <a:pt x="858" y="150"/>
                  </a:lnTo>
                  <a:lnTo>
                    <a:pt x="864" y="162"/>
                  </a:lnTo>
                  <a:lnTo>
                    <a:pt x="870" y="162"/>
                  </a:lnTo>
                  <a:lnTo>
                    <a:pt x="876" y="168"/>
                  </a:lnTo>
                  <a:lnTo>
                    <a:pt x="888" y="168"/>
                  </a:lnTo>
                  <a:lnTo>
                    <a:pt x="894" y="174"/>
                  </a:lnTo>
                  <a:lnTo>
                    <a:pt x="900" y="174"/>
                  </a:lnTo>
                  <a:lnTo>
                    <a:pt x="918" y="174"/>
                  </a:lnTo>
                  <a:lnTo>
                    <a:pt x="924" y="174"/>
                  </a:lnTo>
                  <a:lnTo>
                    <a:pt x="930" y="174"/>
                  </a:lnTo>
                  <a:lnTo>
                    <a:pt x="942" y="174"/>
                  </a:lnTo>
                  <a:lnTo>
                    <a:pt x="954" y="174"/>
                  </a:lnTo>
                  <a:lnTo>
                    <a:pt x="960" y="174"/>
                  </a:lnTo>
                  <a:lnTo>
                    <a:pt x="966" y="174"/>
                  </a:lnTo>
                  <a:lnTo>
                    <a:pt x="966" y="168"/>
                  </a:lnTo>
                  <a:lnTo>
                    <a:pt x="972" y="162"/>
                  </a:lnTo>
                  <a:lnTo>
                    <a:pt x="972" y="156"/>
                  </a:lnTo>
                  <a:close/>
                  <a:moveTo>
                    <a:pt x="942" y="174"/>
                  </a:moveTo>
                  <a:lnTo>
                    <a:pt x="936" y="174"/>
                  </a:lnTo>
                  <a:lnTo>
                    <a:pt x="936" y="168"/>
                  </a:lnTo>
                  <a:lnTo>
                    <a:pt x="936" y="162"/>
                  </a:lnTo>
                  <a:lnTo>
                    <a:pt x="948" y="162"/>
                  </a:lnTo>
                  <a:lnTo>
                    <a:pt x="948" y="156"/>
                  </a:lnTo>
                  <a:lnTo>
                    <a:pt x="954" y="156"/>
                  </a:lnTo>
                  <a:lnTo>
                    <a:pt x="960" y="156"/>
                  </a:lnTo>
                  <a:lnTo>
                    <a:pt x="966" y="156"/>
                  </a:lnTo>
                  <a:lnTo>
                    <a:pt x="966" y="162"/>
                  </a:lnTo>
                  <a:lnTo>
                    <a:pt x="960" y="168"/>
                  </a:lnTo>
                  <a:lnTo>
                    <a:pt x="942" y="174"/>
                  </a:lnTo>
                  <a:close/>
                  <a:moveTo>
                    <a:pt x="900" y="168"/>
                  </a:moveTo>
                  <a:lnTo>
                    <a:pt x="894" y="168"/>
                  </a:lnTo>
                  <a:lnTo>
                    <a:pt x="882" y="156"/>
                  </a:lnTo>
                  <a:lnTo>
                    <a:pt x="882" y="150"/>
                  </a:lnTo>
                  <a:lnTo>
                    <a:pt x="888" y="156"/>
                  </a:lnTo>
                  <a:lnTo>
                    <a:pt x="894" y="150"/>
                  </a:lnTo>
                  <a:lnTo>
                    <a:pt x="900" y="150"/>
                  </a:lnTo>
                  <a:lnTo>
                    <a:pt x="906" y="150"/>
                  </a:lnTo>
                  <a:lnTo>
                    <a:pt x="912" y="150"/>
                  </a:lnTo>
                  <a:lnTo>
                    <a:pt x="924" y="150"/>
                  </a:lnTo>
                  <a:lnTo>
                    <a:pt x="924" y="156"/>
                  </a:lnTo>
                  <a:lnTo>
                    <a:pt x="924" y="162"/>
                  </a:lnTo>
                  <a:lnTo>
                    <a:pt x="924" y="168"/>
                  </a:lnTo>
                  <a:lnTo>
                    <a:pt x="918" y="168"/>
                  </a:lnTo>
                  <a:lnTo>
                    <a:pt x="906" y="168"/>
                  </a:lnTo>
                  <a:lnTo>
                    <a:pt x="900" y="168"/>
                  </a:lnTo>
                  <a:close/>
                  <a:moveTo>
                    <a:pt x="870" y="162"/>
                  </a:moveTo>
                  <a:lnTo>
                    <a:pt x="876" y="162"/>
                  </a:lnTo>
                  <a:lnTo>
                    <a:pt x="876" y="168"/>
                  </a:lnTo>
                  <a:lnTo>
                    <a:pt x="870" y="168"/>
                  </a:lnTo>
                  <a:lnTo>
                    <a:pt x="870" y="162"/>
                  </a:lnTo>
                  <a:close/>
                  <a:moveTo>
                    <a:pt x="450" y="162"/>
                  </a:moveTo>
                  <a:lnTo>
                    <a:pt x="444" y="162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2" y="150"/>
                  </a:lnTo>
                  <a:lnTo>
                    <a:pt x="438" y="150"/>
                  </a:lnTo>
                  <a:lnTo>
                    <a:pt x="438" y="144"/>
                  </a:lnTo>
                  <a:lnTo>
                    <a:pt x="438" y="150"/>
                  </a:lnTo>
                  <a:lnTo>
                    <a:pt x="444" y="150"/>
                  </a:lnTo>
                  <a:lnTo>
                    <a:pt x="450" y="150"/>
                  </a:lnTo>
                  <a:lnTo>
                    <a:pt x="450" y="156"/>
                  </a:lnTo>
                  <a:lnTo>
                    <a:pt x="456" y="156"/>
                  </a:lnTo>
                  <a:lnTo>
                    <a:pt x="456" y="150"/>
                  </a:lnTo>
                  <a:lnTo>
                    <a:pt x="456" y="156"/>
                  </a:lnTo>
                  <a:lnTo>
                    <a:pt x="462" y="150"/>
                  </a:lnTo>
                  <a:lnTo>
                    <a:pt x="462" y="144"/>
                  </a:lnTo>
                  <a:lnTo>
                    <a:pt x="468" y="144"/>
                  </a:lnTo>
                  <a:lnTo>
                    <a:pt x="468" y="150"/>
                  </a:lnTo>
                  <a:lnTo>
                    <a:pt x="474" y="150"/>
                  </a:lnTo>
                  <a:lnTo>
                    <a:pt x="480" y="150"/>
                  </a:lnTo>
                  <a:lnTo>
                    <a:pt x="480" y="156"/>
                  </a:lnTo>
                  <a:lnTo>
                    <a:pt x="480" y="162"/>
                  </a:lnTo>
                  <a:lnTo>
                    <a:pt x="474" y="162"/>
                  </a:lnTo>
                  <a:lnTo>
                    <a:pt x="474" y="168"/>
                  </a:lnTo>
                  <a:lnTo>
                    <a:pt x="474" y="162"/>
                  </a:lnTo>
                  <a:lnTo>
                    <a:pt x="468" y="162"/>
                  </a:lnTo>
                  <a:lnTo>
                    <a:pt x="462" y="162"/>
                  </a:lnTo>
                  <a:lnTo>
                    <a:pt x="456" y="162"/>
                  </a:lnTo>
                  <a:lnTo>
                    <a:pt x="450" y="16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6" name="Freeform 31">
              <a:extLst>
                <a:ext uri="{FF2B5EF4-FFF2-40B4-BE49-F238E27FC236}">
                  <a16:creationId xmlns:a16="http://schemas.microsoft.com/office/drawing/2014/main" id="{0989F057-38E8-4AA5-8B73-27F6355E235C}"/>
                </a:ext>
              </a:extLst>
            </p:cNvPr>
            <p:cNvSpPr>
              <a:spLocks/>
            </p:cNvSpPr>
            <p:nvPr/>
          </p:nvSpPr>
          <p:spPr bwMode="gray">
            <a:xfrm>
              <a:off x="792590" y="2728084"/>
              <a:ext cx="1182944" cy="740282"/>
            </a:xfrm>
            <a:custGeom>
              <a:avLst/>
              <a:gdLst>
                <a:gd name="T0" fmla="*/ 138 w 2226"/>
                <a:gd name="T1" fmla="*/ 121 h 1392"/>
                <a:gd name="T2" fmla="*/ 133 w 2226"/>
                <a:gd name="T3" fmla="*/ 119 h 1392"/>
                <a:gd name="T4" fmla="*/ 128 w 2226"/>
                <a:gd name="T5" fmla="*/ 117 h 1392"/>
                <a:gd name="T6" fmla="*/ 119 w 2226"/>
                <a:gd name="T7" fmla="*/ 116 h 1392"/>
                <a:gd name="T8" fmla="*/ 101 w 2226"/>
                <a:gd name="T9" fmla="*/ 116 h 1392"/>
                <a:gd name="T10" fmla="*/ 94 w 2226"/>
                <a:gd name="T11" fmla="*/ 104 h 1392"/>
                <a:gd name="T12" fmla="*/ 82 w 2226"/>
                <a:gd name="T13" fmla="*/ 83 h 1392"/>
                <a:gd name="T14" fmla="*/ 87 w 2226"/>
                <a:gd name="T15" fmla="*/ 69 h 1392"/>
                <a:gd name="T16" fmla="*/ 82 w 2226"/>
                <a:gd name="T17" fmla="*/ 65 h 1392"/>
                <a:gd name="T18" fmla="*/ 59 w 2226"/>
                <a:gd name="T19" fmla="*/ 57 h 1392"/>
                <a:gd name="T20" fmla="*/ 29 w 2226"/>
                <a:gd name="T21" fmla="*/ 77 h 1392"/>
                <a:gd name="T22" fmla="*/ 20 w 2226"/>
                <a:gd name="T23" fmla="*/ 78 h 1392"/>
                <a:gd name="T24" fmla="*/ 15 w 2226"/>
                <a:gd name="T25" fmla="*/ 82 h 1392"/>
                <a:gd name="T26" fmla="*/ 8 w 2226"/>
                <a:gd name="T27" fmla="*/ 86 h 1392"/>
                <a:gd name="T28" fmla="*/ 1 w 2226"/>
                <a:gd name="T29" fmla="*/ 88 h 1392"/>
                <a:gd name="T30" fmla="*/ 0 w 2226"/>
                <a:gd name="T31" fmla="*/ 82 h 1392"/>
                <a:gd name="T32" fmla="*/ 0 w 2226"/>
                <a:gd name="T33" fmla="*/ 76 h 1392"/>
                <a:gd name="T34" fmla="*/ 2 w 2226"/>
                <a:gd name="T35" fmla="*/ 70 h 1392"/>
                <a:gd name="T36" fmla="*/ 3 w 2226"/>
                <a:gd name="T37" fmla="*/ 65 h 1392"/>
                <a:gd name="T38" fmla="*/ 2 w 2226"/>
                <a:gd name="T39" fmla="*/ 63 h 1392"/>
                <a:gd name="T40" fmla="*/ 9 w 2226"/>
                <a:gd name="T41" fmla="*/ 60 h 1392"/>
                <a:gd name="T42" fmla="*/ 17 w 2226"/>
                <a:gd name="T43" fmla="*/ 59 h 1392"/>
                <a:gd name="T44" fmla="*/ 22 w 2226"/>
                <a:gd name="T45" fmla="*/ 51 h 1392"/>
                <a:gd name="T46" fmla="*/ 23 w 2226"/>
                <a:gd name="T47" fmla="*/ 43 h 1392"/>
                <a:gd name="T48" fmla="*/ 27 w 2226"/>
                <a:gd name="T49" fmla="*/ 34 h 1392"/>
                <a:gd name="T50" fmla="*/ 30 w 2226"/>
                <a:gd name="T51" fmla="*/ 27 h 1392"/>
                <a:gd name="T52" fmla="*/ 33 w 2226"/>
                <a:gd name="T53" fmla="*/ 22 h 1392"/>
                <a:gd name="T54" fmla="*/ 42 w 2226"/>
                <a:gd name="T55" fmla="*/ 17 h 1392"/>
                <a:gd name="T56" fmla="*/ 47 w 2226"/>
                <a:gd name="T57" fmla="*/ 14 h 1392"/>
                <a:gd name="T58" fmla="*/ 49 w 2226"/>
                <a:gd name="T59" fmla="*/ 5 h 1392"/>
                <a:gd name="T60" fmla="*/ 53 w 2226"/>
                <a:gd name="T61" fmla="*/ 0 h 1392"/>
                <a:gd name="T62" fmla="*/ 55 w 2226"/>
                <a:gd name="T63" fmla="*/ 4 h 1392"/>
                <a:gd name="T64" fmla="*/ 59 w 2226"/>
                <a:gd name="T65" fmla="*/ 7 h 1392"/>
                <a:gd name="T66" fmla="*/ 63 w 2226"/>
                <a:gd name="T67" fmla="*/ 7 h 1392"/>
                <a:gd name="T68" fmla="*/ 66 w 2226"/>
                <a:gd name="T69" fmla="*/ 9 h 1392"/>
                <a:gd name="T70" fmla="*/ 67 w 2226"/>
                <a:gd name="T71" fmla="*/ 12 h 1392"/>
                <a:gd name="T72" fmla="*/ 67 w 2226"/>
                <a:gd name="T73" fmla="*/ 13 h 1392"/>
                <a:gd name="T74" fmla="*/ 70 w 2226"/>
                <a:gd name="T75" fmla="*/ 15 h 1392"/>
                <a:gd name="T76" fmla="*/ 74 w 2226"/>
                <a:gd name="T77" fmla="*/ 17 h 1392"/>
                <a:gd name="T78" fmla="*/ 78 w 2226"/>
                <a:gd name="T79" fmla="*/ 18 h 1392"/>
                <a:gd name="T80" fmla="*/ 97 w 2226"/>
                <a:gd name="T81" fmla="*/ 40 h 1392"/>
                <a:gd name="T82" fmla="*/ 102 w 2226"/>
                <a:gd name="T83" fmla="*/ 44 h 1392"/>
                <a:gd name="T84" fmla="*/ 110 w 2226"/>
                <a:gd name="T85" fmla="*/ 49 h 1392"/>
                <a:gd name="T86" fmla="*/ 113 w 2226"/>
                <a:gd name="T87" fmla="*/ 53 h 1392"/>
                <a:gd name="T88" fmla="*/ 118 w 2226"/>
                <a:gd name="T89" fmla="*/ 57 h 1392"/>
                <a:gd name="T90" fmla="*/ 124 w 2226"/>
                <a:gd name="T91" fmla="*/ 54 h 1392"/>
                <a:gd name="T92" fmla="*/ 133 w 2226"/>
                <a:gd name="T93" fmla="*/ 58 h 1392"/>
                <a:gd name="T94" fmla="*/ 137 w 2226"/>
                <a:gd name="T95" fmla="*/ 64 h 1392"/>
                <a:gd name="T96" fmla="*/ 145 w 2226"/>
                <a:gd name="T97" fmla="*/ 65 h 1392"/>
                <a:gd name="T98" fmla="*/ 152 w 2226"/>
                <a:gd name="T99" fmla="*/ 67 h 1392"/>
                <a:gd name="T100" fmla="*/ 161 w 2226"/>
                <a:gd name="T101" fmla="*/ 72 h 1392"/>
                <a:gd name="T102" fmla="*/ 168 w 2226"/>
                <a:gd name="T103" fmla="*/ 76 h 1392"/>
                <a:gd name="T104" fmla="*/ 177 w 2226"/>
                <a:gd name="T105" fmla="*/ 78 h 1392"/>
                <a:gd name="T106" fmla="*/ 184 w 2226"/>
                <a:gd name="T107" fmla="*/ 78 h 1392"/>
                <a:gd name="T108" fmla="*/ 190 w 2226"/>
                <a:gd name="T109" fmla="*/ 81 h 1392"/>
                <a:gd name="T110" fmla="*/ 192 w 2226"/>
                <a:gd name="T111" fmla="*/ 86 h 1392"/>
                <a:gd name="T112" fmla="*/ 187 w 2226"/>
                <a:gd name="T113" fmla="*/ 99 h 1392"/>
                <a:gd name="T114" fmla="*/ 165 w 2226"/>
                <a:gd name="T115" fmla="*/ 97 h 1392"/>
                <a:gd name="T116" fmla="*/ 155 w 2226"/>
                <a:gd name="T117" fmla="*/ 92 h 1392"/>
                <a:gd name="T118" fmla="*/ 146 w 2226"/>
                <a:gd name="T119" fmla="*/ 102 h 1392"/>
                <a:gd name="T120" fmla="*/ 149 w 2226"/>
                <a:gd name="T121" fmla="*/ 106 h 1392"/>
                <a:gd name="T122" fmla="*/ 151 w 2226"/>
                <a:gd name="T123" fmla="*/ 108 h 1392"/>
                <a:gd name="T124" fmla="*/ 157 w 2226"/>
                <a:gd name="T125" fmla="*/ 113 h 13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1392"/>
                <a:gd name="T191" fmla="*/ 2226 w 2226"/>
                <a:gd name="T192" fmla="*/ 1392 h 13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1392">
                  <a:moveTo>
                    <a:pt x="1782" y="1326"/>
                  </a:moveTo>
                  <a:lnTo>
                    <a:pt x="1776" y="1332"/>
                  </a:lnTo>
                  <a:lnTo>
                    <a:pt x="1692" y="1338"/>
                  </a:lnTo>
                  <a:lnTo>
                    <a:pt x="1680" y="1386"/>
                  </a:lnTo>
                  <a:lnTo>
                    <a:pt x="1674" y="1392"/>
                  </a:lnTo>
                  <a:lnTo>
                    <a:pt x="1638" y="1392"/>
                  </a:lnTo>
                  <a:lnTo>
                    <a:pt x="1620" y="1392"/>
                  </a:lnTo>
                  <a:lnTo>
                    <a:pt x="1614" y="1392"/>
                  </a:lnTo>
                  <a:lnTo>
                    <a:pt x="1608" y="1386"/>
                  </a:lnTo>
                  <a:lnTo>
                    <a:pt x="1584" y="1386"/>
                  </a:lnTo>
                  <a:lnTo>
                    <a:pt x="1578" y="1386"/>
                  </a:lnTo>
                  <a:lnTo>
                    <a:pt x="1572" y="1380"/>
                  </a:lnTo>
                  <a:lnTo>
                    <a:pt x="1578" y="1356"/>
                  </a:lnTo>
                  <a:lnTo>
                    <a:pt x="1572" y="1356"/>
                  </a:lnTo>
                  <a:lnTo>
                    <a:pt x="1560" y="1350"/>
                  </a:lnTo>
                  <a:lnTo>
                    <a:pt x="1554" y="1350"/>
                  </a:lnTo>
                  <a:lnTo>
                    <a:pt x="1542" y="1350"/>
                  </a:lnTo>
                  <a:lnTo>
                    <a:pt x="1530" y="1350"/>
                  </a:lnTo>
                  <a:lnTo>
                    <a:pt x="1524" y="1356"/>
                  </a:lnTo>
                  <a:lnTo>
                    <a:pt x="1524" y="1362"/>
                  </a:lnTo>
                  <a:lnTo>
                    <a:pt x="1512" y="1374"/>
                  </a:lnTo>
                  <a:lnTo>
                    <a:pt x="1506" y="1374"/>
                  </a:lnTo>
                  <a:lnTo>
                    <a:pt x="1500" y="1368"/>
                  </a:lnTo>
                  <a:lnTo>
                    <a:pt x="1500" y="1362"/>
                  </a:lnTo>
                  <a:lnTo>
                    <a:pt x="1488" y="1362"/>
                  </a:lnTo>
                  <a:lnTo>
                    <a:pt x="1482" y="1356"/>
                  </a:lnTo>
                  <a:lnTo>
                    <a:pt x="1482" y="1350"/>
                  </a:lnTo>
                  <a:lnTo>
                    <a:pt x="1476" y="1350"/>
                  </a:lnTo>
                  <a:lnTo>
                    <a:pt x="1470" y="1344"/>
                  </a:lnTo>
                  <a:lnTo>
                    <a:pt x="1464" y="1344"/>
                  </a:lnTo>
                  <a:lnTo>
                    <a:pt x="1452" y="1350"/>
                  </a:lnTo>
                  <a:lnTo>
                    <a:pt x="1452" y="1356"/>
                  </a:lnTo>
                  <a:lnTo>
                    <a:pt x="1440" y="1356"/>
                  </a:lnTo>
                  <a:lnTo>
                    <a:pt x="1434" y="1344"/>
                  </a:lnTo>
                  <a:lnTo>
                    <a:pt x="1422" y="1332"/>
                  </a:lnTo>
                  <a:lnTo>
                    <a:pt x="1416" y="1326"/>
                  </a:lnTo>
                  <a:lnTo>
                    <a:pt x="1404" y="1320"/>
                  </a:lnTo>
                  <a:lnTo>
                    <a:pt x="1404" y="1314"/>
                  </a:lnTo>
                  <a:lnTo>
                    <a:pt x="1374" y="1308"/>
                  </a:lnTo>
                  <a:lnTo>
                    <a:pt x="1368" y="1326"/>
                  </a:lnTo>
                  <a:lnTo>
                    <a:pt x="1344" y="1338"/>
                  </a:lnTo>
                  <a:lnTo>
                    <a:pt x="1326" y="1332"/>
                  </a:lnTo>
                  <a:lnTo>
                    <a:pt x="1302" y="1332"/>
                  </a:lnTo>
                  <a:lnTo>
                    <a:pt x="1278" y="1338"/>
                  </a:lnTo>
                  <a:lnTo>
                    <a:pt x="1236" y="1338"/>
                  </a:lnTo>
                  <a:lnTo>
                    <a:pt x="1224" y="1338"/>
                  </a:lnTo>
                  <a:lnTo>
                    <a:pt x="1224" y="1326"/>
                  </a:lnTo>
                  <a:lnTo>
                    <a:pt x="1206" y="1326"/>
                  </a:lnTo>
                  <a:lnTo>
                    <a:pt x="1170" y="1326"/>
                  </a:lnTo>
                  <a:lnTo>
                    <a:pt x="1152" y="1326"/>
                  </a:lnTo>
                  <a:lnTo>
                    <a:pt x="1140" y="1314"/>
                  </a:lnTo>
                  <a:lnTo>
                    <a:pt x="1134" y="1296"/>
                  </a:lnTo>
                  <a:lnTo>
                    <a:pt x="1134" y="1284"/>
                  </a:lnTo>
                  <a:lnTo>
                    <a:pt x="1128" y="1254"/>
                  </a:lnTo>
                  <a:lnTo>
                    <a:pt x="1128" y="1242"/>
                  </a:lnTo>
                  <a:lnTo>
                    <a:pt x="1122" y="1230"/>
                  </a:lnTo>
                  <a:lnTo>
                    <a:pt x="1104" y="1218"/>
                  </a:lnTo>
                  <a:lnTo>
                    <a:pt x="1104" y="1212"/>
                  </a:lnTo>
                  <a:lnTo>
                    <a:pt x="1092" y="1206"/>
                  </a:lnTo>
                  <a:lnTo>
                    <a:pt x="1080" y="1194"/>
                  </a:lnTo>
                  <a:lnTo>
                    <a:pt x="1068" y="1176"/>
                  </a:lnTo>
                  <a:lnTo>
                    <a:pt x="1050" y="1152"/>
                  </a:lnTo>
                  <a:lnTo>
                    <a:pt x="1020" y="1098"/>
                  </a:lnTo>
                  <a:lnTo>
                    <a:pt x="978" y="1026"/>
                  </a:lnTo>
                  <a:lnTo>
                    <a:pt x="978" y="1014"/>
                  </a:lnTo>
                  <a:lnTo>
                    <a:pt x="972" y="1014"/>
                  </a:lnTo>
                  <a:lnTo>
                    <a:pt x="972" y="1008"/>
                  </a:lnTo>
                  <a:lnTo>
                    <a:pt x="978" y="1002"/>
                  </a:lnTo>
                  <a:lnTo>
                    <a:pt x="960" y="966"/>
                  </a:lnTo>
                  <a:lnTo>
                    <a:pt x="948" y="954"/>
                  </a:lnTo>
                  <a:lnTo>
                    <a:pt x="948" y="936"/>
                  </a:lnTo>
                  <a:lnTo>
                    <a:pt x="936" y="900"/>
                  </a:lnTo>
                  <a:lnTo>
                    <a:pt x="942" y="876"/>
                  </a:lnTo>
                  <a:lnTo>
                    <a:pt x="942" y="834"/>
                  </a:lnTo>
                  <a:lnTo>
                    <a:pt x="960" y="828"/>
                  </a:lnTo>
                  <a:lnTo>
                    <a:pt x="966" y="816"/>
                  </a:lnTo>
                  <a:lnTo>
                    <a:pt x="972" y="810"/>
                  </a:lnTo>
                  <a:lnTo>
                    <a:pt x="978" y="804"/>
                  </a:lnTo>
                  <a:lnTo>
                    <a:pt x="996" y="798"/>
                  </a:lnTo>
                  <a:lnTo>
                    <a:pt x="996" y="792"/>
                  </a:lnTo>
                  <a:lnTo>
                    <a:pt x="1014" y="780"/>
                  </a:lnTo>
                  <a:lnTo>
                    <a:pt x="1026" y="768"/>
                  </a:lnTo>
                  <a:lnTo>
                    <a:pt x="1032" y="762"/>
                  </a:lnTo>
                  <a:lnTo>
                    <a:pt x="1026" y="756"/>
                  </a:lnTo>
                  <a:lnTo>
                    <a:pt x="1014" y="744"/>
                  </a:lnTo>
                  <a:lnTo>
                    <a:pt x="996" y="756"/>
                  </a:lnTo>
                  <a:lnTo>
                    <a:pt x="954" y="768"/>
                  </a:lnTo>
                  <a:lnTo>
                    <a:pt x="942" y="762"/>
                  </a:lnTo>
                  <a:lnTo>
                    <a:pt x="942" y="756"/>
                  </a:lnTo>
                  <a:lnTo>
                    <a:pt x="936" y="750"/>
                  </a:lnTo>
                  <a:lnTo>
                    <a:pt x="846" y="732"/>
                  </a:lnTo>
                  <a:lnTo>
                    <a:pt x="822" y="726"/>
                  </a:lnTo>
                  <a:lnTo>
                    <a:pt x="810" y="714"/>
                  </a:lnTo>
                  <a:lnTo>
                    <a:pt x="792" y="690"/>
                  </a:lnTo>
                  <a:lnTo>
                    <a:pt x="792" y="678"/>
                  </a:lnTo>
                  <a:lnTo>
                    <a:pt x="762" y="642"/>
                  </a:lnTo>
                  <a:lnTo>
                    <a:pt x="750" y="636"/>
                  </a:lnTo>
                  <a:lnTo>
                    <a:pt x="726" y="630"/>
                  </a:lnTo>
                  <a:lnTo>
                    <a:pt x="696" y="642"/>
                  </a:lnTo>
                  <a:lnTo>
                    <a:pt x="678" y="654"/>
                  </a:lnTo>
                  <a:lnTo>
                    <a:pt x="666" y="684"/>
                  </a:lnTo>
                  <a:lnTo>
                    <a:pt x="660" y="726"/>
                  </a:lnTo>
                  <a:lnTo>
                    <a:pt x="606" y="756"/>
                  </a:lnTo>
                  <a:lnTo>
                    <a:pt x="558" y="780"/>
                  </a:lnTo>
                  <a:lnTo>
                    <a:pt x="438" y="834"/>
                  </a:lnTo>
                  <a:lnTo>
                    <a:pt x="402" y="846"/>
                  </a:lnTo>
                  <a:lnTo>
                    <a:pt x="372" y="870"/>
                  </a:lnTo>
                  <a:lnTo>
                    <a:pt x="360" y="876"/>
                  </a:lnTo>
                  <a:lnTo>
                    <a:pt x="354" y="876"/>
                  </a:lnTo>
                  <a:lnTo>
                    <a:pt x="330" y="882"/>
                  </a:lnTo>
                  <a:lnTo>
                    <a:pt x="306" y="882"/>
                  </a:lnTo>
                  <a:lnTo>
                    <a:pt x="300" y="876"/>
                  </a:lnTo>
                  <a:lnTo>
                    <a:pt x="294" y="876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76" y="864"/>
                  </a:lnTo>
                  <a:lnTo>
                    <a:pt x="270" y="870"/>
                  </a:lnTo>
                  <a:lnTo>
                    <a:pt x="264" y="870"/>
                  </a:lnTo>
                  <a:lnTo>
                    <a:pt x="240" y="894"/>
                  </a:lnTo>
                  <a:lnTo>
                    <a:pt x="234" y="894"/>
                  </a:lnTo>
                  <a:lnTo>
                    <a:pt x="228" y="900"/>
                  </a:lnTo>
                  <a:lnTo>
                    <a:pt x="222" y="906"/>
                  </a:lnTo>
                  <a:lnTo>
                    <a:pt x="210" y="912"/>
                  </a:lnTo>
                  <a:lnTo>
                    <a:pt x="204" y="912"/>
                  </a:lnTo>
                  <a:lnTo>
                    <a:pt x="198" y="912"/>
                  </a:lnTo>
                  <a:lnTo>
                    <a:pt x="192" y="918"/>
                  </a:lnTo>
                  <a:lnTo>
                    <a:pt x="180" y="918"/>
                  </a:lnTo>
                  <a:lnTo>
                    <a:pt x="174" y="930"/>
                  </a:lnTo>
                  <a:lnTo>
                    <a:pt x="174" y="936"/>
                  </a:lnTo>
                  <a:lnTo>
                    <a:pt x="168" y="942"/>
                  </a:lnTo>
                  <a:lnTo>
                    <a:pt x="162" y="942"/>
                  </a:lnTo>
                  <a:lnTo>
                    <a:pt x="150" y="960"/>
                  </a:lnTo>
                  <a:lnTo>
                    <a:pt x="144" y="966"/>
                  </a:lnTo>
                  <a:lnTo>
                    <a:pt x="138" y="972"/>
                  </a:lnTo>
                  <a:lnTo>
                    <a:pt x="132" y="972"/>
                  </a:lnTo>
                  <a:lnTo>
                    <a:pt x="126" y="984"/>
                  </a:lnTo>
                  <a:lnTo>
                    <a:pt x="120" y="984"/>
                  </a:lnTo>
                  <a:lnTo>
                    <a:pt x="114" y="990"/>
                  </a:lnTo>
                  <a:lnTo>
                    <a:pt x="96" y="990"/>
                  </a:lnTo>
                  <a:lnTo>
                    <a:pt x="90" y="990"/>
                  </a:lnTo>
                  <a:lnTo>
                    <a:pt x="78" y="990"/>
                  </a:lnTo>
                  <a:lnTo>
                    <a:pt x="72" y="990"/>
                  </a:lnTo>
                  <a:lnTo>
                    <a:pt x="60" y="990"/>
                  </a:lnTo>
                  <a:lnTo>
                    <a:pt x="42" y="990"/>
                  </a:lnTo>
                  <a:lnTo>
                    <a:pt x="36" y="996"/>
                  </a:lnTo>
                  <a:lnTo>
                    <a:pt x="30" y="1002"/>
                  </a:lnTo>
                  <a:lnTo>
                    <a:pt x="24" y="1014"/>
                  </a:lnTo>
                  <a:lnTo>
                    <a:pt x="24" y="1020"/>
                  </a:lnTo>
                  <a:lnTo>
                    <a:pt x="18" y="1020"/>
                  </a:lnTo>
                  <a:lnTo>
                    <a:pt x="12" y="1014"/>
                  </a:lnTo>
                  <a:lnTo>
                    <a:pt x="12" y="1008"/>
                  </a:lnTo>
                  <a:lnTo>
                    <a:pt x="12" y="990"/>
                  </a:lnTo>
                  <a:lnTo>
                    <a:pt x="12" y="984"/>
                  </a:lnTo>
                  <a:lnTo>
                    <a:pt x="12" y="972"/>
                  </a:lnTo>
                  <a:lnTo>
                    <a:pt x="12" y="966"/>
                  </a:lnTo>
                  <a:lnTo>
                    <a:pt x="6" y="966"/>
                  </a:lnTo>
                  <a:lnTo>
                    <a:pt x="6" y="960"/>
                  </a:lnTo>
                  <a:lnTo>
                    <a:pt x="6" y="954"/>
                  </a:lnTo>
                  <a:lnTo>
                    <a:pt x="6" y="948"/>
                  </a:lnTo>
                  <a:lnTo>
                    <a:pt x="6" y="942"/>
                  </a:lnTo>
                  <a:lnTo>
                    <a:pt x="12" y="930"/>
                  </a:lnTo>
                  <a:lnTo>
                    <a:pt x="6" y="924"/>
                  </a:lnTo>
                  <a:lnTo>
                    <a:pt x="6" y="918"/>
                  </a:lnTo>
                  <a:lnTo>
                    <a:pt x="6" y="912"/>
                  </a:lnTo>
                  <a:lnTo>
                    <a:pt x="6" y="906"/>
                  </a:lnTo>
                  <a:lnTo>
                    <a:pt x="6" y="900"/>
                  </a:lnTo>
                  <a:lnTo>
                    <a:pt x="0" y="894"/>
                  </a:lnTo>
                  <a:lnTo>
                    <a:pt x="0" y="888"/>
                  </a:lnTo>
                  <a:lnTo>
                    <a:pt x="0" y="882"/>
                  </a:lnTo>
                  <a:lnTo>
                    <a:pt x="6" y="876"/>
                  </a:lnTo>
                  <a:lnTo>
                    <a:pt x="6" y="870"/>
                  </a:lnTo>
                  <a:lnTo>
                    <a:pt x="18" y="864"/>
                  </a:lnTo>
                  <a:lnTo>
                    <a:pt x="18" y="858"/>
                  </a:lnTo>
                  <a:lnTo>
                    <a:pt x="18" y="846"/>
                  </a:lnTo>
                  <a:lnTo>
                    <a:pt x="18" y="834"/>
                  </a:lnTo>
                  <a:lnTo>
                    <a:pt x="18" y="828"/>
                  </a:lnTo>
                  <a:lnTo>
                    <a:pt x="24" y="828"/>
                  </a:lnTo>
                  <a:lnTo>
                    <a:pt x="24" y="810"/>
                  </a:lnTo>
                  <a:lnTo>
                    <a:pt x="24" y="804"/>
                  </a:lnTo>
                  <a:lnTo>
                    <a:pt x="18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24" y="792"/>
                  </a:lnTo>
                  <a:lnTo>
                    <a:pt x="30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6" y="762"/>
                  </a:lnTo>
                  <a:lnTo>
                    <a:pt x="36" y="756"/>
                  </a:lnTo>
                  <a:lnTo>
                    <a:pt x="30" y="756"/>
                  </a:lnTo>
                  <a:lnTo>
                    <a:pt x="30" y="750"/>
                  </a:lnTo>
                  <a:lnTo>
                    <a:pt x="36" y="750"/>
                  </a:lnTo>
                  <a:lnTo>
                    <a:pt x="36" y="744"/>
                  </a:lnTo>
                  <a:lnTo>
                    <a:pt x="30" y="744"/>
                  </a:lnTo>
                  <a:lnTo>
                    <a:pt x="30" y="738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0" y="732"/>
                  </a:lnTo>
                  <a:lnTo>
                    <a:pt x="36" y="726"/>
                  </a:lnTo>
                  <a:lnTo>
                    <a:pt x="30" y="726"/>
                  </a:lnTo>
                  <a:lnTo>
                    <a:pt x="24" y="726"/>
                  </a:lnTo>
                  <a:lnTo>
                    <a:pt x="30" y="720"/>
                  </a:lnTo>
                  <a:lnTo>
                    <a:pt x="30" y="714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696"/>
                  </a:lnTo>
                  <a:lnTo>
                    <a:pt x="66" y="702"/>
                  </a:lnTo>
                  <a:lnTo>
                    <a:pt x="78" y="702"/>
                  </a:lnTo>
                  <a:lnTo>
                    <a:pt x="84" y="702"/>
                  </a:lnTo>
                  <a:lnTo>
                    <a:pt x="96" y="696"/>
                  </a:lnTo>
                  <a:lnTo>
                    <a:pt x="102" y="690"/>
                  </a:lnTo>
                  <a:lnTo>
                    <a:pt x="102" y="684"/>
                  </a:lnTo>
                  <a:lnTo>
                    <a:pt x="114" y="684"/>
                  </a:lnTo>
                  <a:lnTo>
                    <a:pt x="144" y="684"/>
                  </a:lnTo>
                  <a:lnTo>
                    <a:pt x="150" y="690"/>
                  </a:lnTo>
                  <a:lnTo>
                    <a:pt x="162" y="696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6" y="690"/>
                  </a:lnTo>
                  <a:lnTo>
                    <a:pt x="192" y="690"/>
                  </a:lnTo>
                  <a:lnTo>
                    <a:pt x="198" y="684"/>
                  </a:lnTo>
                  <a:lnTo>
                    <a:pt x="204" y="684"/>
                  </a:lnTo>
                  <a:lnTo>
                    <a:pt x="210" y="684"/>
                  </a:lnTo>
                  <a:lnTo>
                    <a:pt x="222" y="678"/>
                  </a:lnTo>
                  <a:lnTo>
                    <a:pt x="228" y="678"/>
                  </a:lnTo>
                  <a:lnTo>
                    <a:pt x="228" y="660"/>
                  </a:lnTo>
                  <a:lnTo>
                    <a:pt x="234" y="642"/>
                  </a:lnTo>
                  <a:lnTo>
                    <a:pt x="246" y="618"/>
                  </a:lnTo>
                  <a:lnTo>
                    <a:pt x="252" y="618"/>
                  </a:lnTo>
                  <a:lnTo>
                    <a:pt x="252" y="600"/>
                  </a:lnTo>
                  <a:lnTo>
                    <a:pt x="252" y="588"/>
                  </a:lnTo>
                  <a:lnTo>
                    <a:pt x="252" y="582"/>
                  </a:lnTo>
                  <a:lnTo>
                    <a:pt x="258" y="576"/>
                  </a:lnTo>
                  <a:lnTo>
                    <a:pt x="270" y="564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70" y="522"/>
                  </a:lnTo>
                  <a:lnTo>
                    <a:pt x="270" y="510"/>
                  </a:lnTo>
                  <a:lnTo>
                    <a:pt x="270" y="498"/>
                  </a:lnTo>
                  <a:lnTo>
                    <a:pt x="258" y="468"/>
                  </a:lnTo>
                  <a:lnTo>
                    <a:pt x="252" y="456"/>
                  </a:lnTo>
                  <a:lnTo>
                    <a:pt x="258" y="444"/>
                  </a:lnTo>
                  <a:lnTo>
                    <a:pt x="264" y="432"/>
                  </a:lnTo>
                  <a:lnTo>
                    <a:pt x="270" y="426"/>
                  </a:lnTo>
                  <a:lnTo>
                    <a:pt x="276" y="420"/>
                  </a:lnTo>
                  <a:lnTo>
                    <a:pt x="288" y="420"/>
                  </a:lnTo>
                  <a:lnTo>
                    <a:pt x="288" y="414"/>
                  </a:lnTo>
                  <a:lnTo>
                    <a:pt x="294" y="414"/>
                  </a:lnTo>
                  <a:lnTo>
                    <a:pt x="306" y="390"/>
                  </a:lnTo>
                  <a:lnTo>
                    <a:pt x="312" y="384"/>
                  </a:lnTo>
                  <a:lnTo>
                    <a:pt x="318" y="378"/>
                  </a:lnTo>
                  <a:lnTo>
                    <a:pt x="318" y="372"/>
                  </a:lnTo>
                  <a:lnTo>
                    <a:pt x="324" y="366"/>
                  </a:lnTo>
                  <a:lnTo>
                    <a:pt x="330" y="354"/>
                  </a:lnTo>
                  <a:lnTo>
                    <a:pt x="336" y="348"/>
                  </a:lnTo>
                  <a:lnTo>
                    <a:pt x="336" y="330"/>
                  </a:lnTo>
                  <a:lnTo>
                    <a:pt x="342" y="324"/>
                  </a:lnTo>
                  <a:lnTo>
                    <a:pt x="342" y="318"/>
                  </a:lnTo>
                  <a:lnTo>
                    <a:pt x="348" y="318"/>
                  </a:lnTo>
                  <a:lnTo>
                    <a:pt x="360" y="318"/>
                  </a:lnTo>
                  <a:lnTo>
                    <a:pt x="372" y="318"/>
                  </a:lnTo>
                  <a:lnTo>
                    <a:pt x="384" y="306"/>
                  </a:lnTo>
                  <a:lnTo>
                    <a:pt x="396" y="300"/>
                  </a:lnTo>
                  <a:lnTo>
                    <a:pt x="396" y="294"/>
                  </a:lnTo>
                  <a:lnTo>
                    <a:pt x="396" y="288"/>
                  </a:lnTo>
                  <a:lnTo>
                    <a:pt x="390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2"/>
                  </a:lnTo>
                  <a:lnTo>
                    <a:pt x="378" y="246"/>
                  </a:lnTo>
                  <a:lnTo>
                    <a:pt x="384" y="228"/>
                  </a:lnTo>
                  <a:lnTo>
                    <a:pt x="390" y="216"/>
                  </a:lnTo>
                  <a:lnTo>
                    <a:pt x="402" y="210"/>
                  </a:lnTo>
                  <a:lnTo>
                    <a:pt x="408" y="210"/>
                  </a:lnTo>
                  <a:lnTo>
                    <a:pt x="420" y="204"/>
                  </a:lnTo>
                  <a:lnTo>
                    <a:pt x="444" y="198"/>
                  </a:lnTo>
                  <a:lnTo>
                    <a:pt x="462" y="192"/>
                  </a:lnTo>
                  <a:lnTo>
                    <a:pt x="474" y="186"/>
                  </a:lnTo>
                  <a:lnTo>
                    <a:pt x="480" y="192"/>
                  </a:lnTo>
                  <a:lnTo>
                    <a:pt x="492" y="192"/>
                  </a:lnTo>
                  <a:lnTo>
                    <a:pt x="498" y="192"/>
                  </a:lnTo>
                  <a:lnTo>
                    <a:pt x="504" y="192"/>
                  </a:lnTo>
                  <a:lnTo>
                    <a:pt x="510" y="192"/>
                  </a:lnTo>
                  <a:lnTo>
                    <a:pt x="516" y="186"/>
                  </a:lnTo>
                  <a:lnTo>
                    <a:pt x="522" y="180"/>
                  </a:lnTo>
                  <a:lnTo>
                    <a:pt x="522" y="174"/>
                  </a:lnTo>
                  <a:lnTo>
                    <a:pt x="528" y="168"/>
                  </a:lnTo>
                  <a:lnTo>
                    <a:pt x="534" y="168"/>
                  </a:lnTo>
                  <a:lnTo>
                    <a:pt x="534" y="156"/>
                  </a:lnTo>
                  <a:lnTo>
                    <a:pt x="534" y="150"/>
                  </a:lnTo>
                  <a:lnTo>
                    <a:pt x="552" y="138"/>
                  </a:lnTo>
                  <a:lnTo>
                    <a:pt x="558" y="126"/>
                  </a:lnTo>
                  <a:lnTo>
                    <a:pt x="558" y="114"/>
                  </a:lnTo>
                  <a:lnTo>
                    <a:pt x="564" y="102"/>
                  </a:lnTo>
                  <a:lnTo>
                    <a:pt x="564" y="96"/>
                  </a:lnTo>
                  <a:lnTo>
                    <a:pt x="564" y="90"/>
                  </a:lnTo>
                  <a:lnTo>
                    <a:pt x="564" y="72"/>
                  </a:lnTo>
                  <a:lnTo>
                    <a:pt x="564" y="60"/>
                  </a:lnTo>
                  <a:lnTo>
                    <a:pt x="564" y="54"/>
                  </a:lnTo>
                  <a:lnTo>
                    <a:pt x="570" y="42"/>
                  </a:lnTo>
                  <a:lnTo>
                    <a:pt x="576" y="42"/>
                  </a:lnTo>
                  <a:lnTo>
                    <a:pt x="582" y="36"/>
                  </a:lnTo>
                  <a:lnTo>
                    <a:pt x="594" y="36"/>
                  </a:lnTo>
                  <a:lnTo>
                    <a:pt x="594" y="30"/>
                  </a:lnTo>
                  <a:lnTo>
                    <a:pt x="600" y="24"/>
                  </a:lnTo>
                  <a:lnTo>
                    <a:pt x="600" y="12"/>
                  </a:lnTo>
                  <a:lnTo>
                    <a:pt x="606" y="6"/>
                  </a:lnTo>
                  <a:lnTo>
                    <a:pt x="606" y="0"/>
                  </a:lnTo>
                  <a:lnTo>
                    <a:pt x="612" y="0"/>
                  </a:lnTo>
                  <a:lnTo>
                    <a:pt x="618" y="0"/>
                  </a:lnTo>
                  <a:lnTo>
                    <a:pt x="624" y="6"/>
                  </a:lnTo>
                  <a:lnTo>
                    <a:pt x="624" y="12"/>
                  </a:lnTo>
                  <a:lnTo>
                    <a:pt x="624" y="18"/>
                  </a:lnTo>
                  <a:lnTo>
                    <a:pt x="624" y="24"/>
                  </a:lnTo>
                  <a:lnTo>
                    <a:pt x="624" y="30"/>
                  </a:lnTo>
                  <a:lnTo>
                    <a:pt x="630" y="30"/>
                  </a:lnTo>
                  <a:lnTo>
                    <a:pt x="630" y="36"/>
                  </a:lnTo>
                  <a:lnTo>
                    <a:pt x="630" y="42"/>
                  </a:lnTo>
                  <a:lnTo>
                    <a:pt x="630" y="48"/>
                  </a:lnTo>
                  <a:lnTo>
                    <a:pt x="636" y="54"/>
                  </a:lnTo>
                  <a:lnTo>
                    <a:pt x="642" y="48"/>
                  </a:lnTo>
                  <a:lnTo>
                    <a:pt x="648" y="48"/>
                  </a:lnTo>
                  <a:lnTo>
                    <a:pt x="648" y="60"/>
                  </a:lnTo>
                  <a:lnTo>
                    <a:pt x="654" y="66"/>
                  </a:lnTo>
                  <a:lnTo>
                    <a:pt x="660" y="72"/>
                  </a:lnTo>
                  <a:lnTo>
                    <a:pt x="666" y="72"/>
                  </a:lnTo>
                  <a:lnTo>
                    <a:pt x="666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72" y="66"/>
                  </a:lnTo>
                  <a:lnTo>
                    <a:pt x="678" y="66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6" y="66"/>
                  </a:lnTo>
                  <a:lnTo>
                    <a:pt x="696" y="72"/>
                  </a:lnTo>
                  <a:lnTo>
                    <a:pt x="702" y="72"/>
                  </a:lnTo>
                  <a:lnTo>
                    <a:pt x="708" y="72"/>
                  </a:lnTo>
                  <a:lnTo>
                    <a:pt x="720" y="66"/>
                  </a:lnTo>
                  <a:lnTo>
                    <a:pt x="726" y="78"/>
                  </a:lnTo>
                  <a:lnTo>
                    <a:pt x="744" y="84"/>
                  </a:lnTo>
                  <a:lnTo>
                    <a:pt x="744" y="90"/>
                  </a:lnTo>
                  <a:lnTo>
                    <a:pt x="744" y="96"/>
                  </a:lnTo>
                  <a:lnTo>
                    <a:pt x="738" y="96"/>
                  </a:lnTo>
                  <a:lnTo>
                    <a:pt x="738" y="102"/>
                  </a:lnTo>
                  <a:lnTo>
                    <a:pt x="732" y="102"/>
                  </a:lnTo>
                  <a:lnTo>
                    <a:pt x="732" y="108"/>
                  </a:lnTo>
                  <a:lnTo>
                    <a:pt x="738" y="108"/>
                  </a:lnTo>
                  <a:lnTo>
                    <a:pt x="744" y="114"/>
                  </a:lnTo>
                  <a:lnTo>
                    <a:pt x="750" y="108"/>
                  </a:lnTo>
                  <a:lnTo>
                    <a:pt x="756" y="108"/>
                  </a:lnTo>
                  <a:lnTo>
                    <a:pt x="762" y="108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80" y="120"/>
                  </a:lnTo>
                  <a:lnTo>
                    <a:pt x="774" y="120"/>
                  </a:lnTo>
                  <a:lnTo>
                    <a:pt x="768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74" y="138"/>
                  </a:lnTo>
                  <a:lnTo>
                    <a:pt x="774" y="132"/>
                  </a:lnTo>
                  <a:lnTo>
                    <a:pt x="780" y="132"/>
                  </a:lnTo>
                  <a:lnTo>
                    <a:pt x="786" y="132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44"/>
                  </a:lnTo>
                  <a:lnTo>
                    <a:pt x="786" y="150"/>
                  </a:lnTo>
                  <a:lnTo>
                    <a:pt x="780" y="150"/>
                  </a:lnTo>
                  <a:lnTo>
                    <a:pt x="774" y="150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74" y="162"/>
                  </a:lnTo>
                  <a:lnTo>
                    <a:pt x="780" y="162"/>
                  </a:lnTo>
                  <a:lnTo>
                    <a:pt x="786" y="168"/>
                  </a:lnTo>
                  <a:lnTo>
                    <a:pt x="792" y="162"/>
                  </a:lnTo>
                  <a:lnTo>
                    <a:pt x="798" y="168"/>
                  </a:lnTo>
                  <a:lnTo>
                    <a:pt x="798" y="174"/>
                  </a:lnTo>
                  <a:lnTo>
                    <a:pt x="804" y="168"/>
                  </a:lnTo>
                  <a:lnTo>
                    <a:pt x="810" y="168"/>
                  </a:lnTo>
                  <a:lnTo>
                    <a:pt x="810" y="174"/>
                  </a:lnTo>
                  <a:lnTo>
                    <a:pt x="816" y="168"/>
                  </a:lnTo>
                  <a:lnTo>
                    <a:pt x="822" y="162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74"/>
                  </a:lnTo>
                  <a:lnTo>
                    <a:pt x="834" y="192"/>
                  </a:lnTo>
                  <a:lnTo>
                    <a:pt x="834" y="198"/>
                  </a:lnTo>
                  <a:lnTo>
                    <a:pt x="840" y="192"/>
                  </a:lnTo>
                  <a:lnTo>
                    <a:pt x="846" y="192"/>
                  </a:lnTo>
                  <a:lnTo>
                    <a:pt x="852" y="186"/>
                  </a:lnTo>
                  <a:lnTo>
                    <a:pt x="858" y="192"/>
                  </a:lnTo>
                  <a:lnTo>
                    <a:pt x="864" y="192"/>
                  </a:lnTo>
                  <a:lnTo>
                    <a:pt x="870" y="198"/>
                  </a:lnTo>
                  <a:lnTo>
                    <a:pt x="876" y="180"/>
                  </a:lnTo>
                  <a:lnTo>
                    <a:pt x="882" y="180"/>
                  </a:lnTo>
                  <a:lnTo>
                    <a:pt x="888" y="180"/>
                  </a:lnTo>
                  <a:lnTo>
                    <a:pt x="894" y="186"/>
                  </a:lnTo>
                  <a:lnTo>
                    <a:pt x="888" y="198"/>
                  </a:lnTo>
                  <a:lnTo>
                    <a:pt x="894" y="204"/>
                  </a:lnTo>
                  <a:lnTo>
                    <a:pt x="906" y="210"/>
                  </a:lnTo>
                  <a:lnTo>
                    <a:pt x="918" y="246"/>
                  </a:lnTo>
                  <a:lnTo>
                    <a:pt x="930" y="258"/>
                  </a:lnTo>
                  <a:lnTo>
                    <a:pt x="942" y="282"/>
                  </a:lnTo>
                  <a:lnTo>
                    <a:pt x="966" y="288"/>
                  </a:lnTo>
                  <a:lnTo>
                    <a:pt x="972" y="300"/>
                  </a:lnTo>
                  <a:lnTo>
                    <a:pt x="972" y="318"/>
                  </a:lnTo>
                  <a:lnTo>
                    <a:pt x="996" y="336"/>
                  </a:lnTo>
                  <a:lnTo>
                    <a:pt x="1050" y="390"/>
                  </a:lnTo>
                  <a:lnTo>
                    <a:pt x="1116" y="462"/>
                  </a:lnTo>
                  <a:lnTo>
                    <a:pt x="1122" y="468"/>
                  </a:lnTo>
                  <a:lnTo>
                    <a:pt x="1128" y="474"/>
                  </a:lnTo>
                  <a:lnTo>
                    <a:pt x="1140" y="474"/>
                  </a:lnTo>
                  <a:lnTo>
                    <a:pt x="1152" y="486"/>
                  </a:lnTo>
                  <a:lnTo>
                    <a:pt x="1152" y="492"/>
                  </a:lnTo>
                  <a:lnTo>
                    <a:pt x="1158" y="492"/>
                  </a:lnTo>
                  <a:lnTo>
                    <a:pt x="1164" y="492"/>
                  </a:lnTo>
                  <a:lnTo>
                    <a:pt x="1170" y="504"/>
                  </a:lnTo>
                  <a:lnTo>
                    <a:pt x="1176" y="504"/>
                  </a:lnTo>
                  <a:lnTo>
                    <a:pt x="1176" y="510"/>
                  </a:lnTo>
                  <a:lnTo>
                    <a:pt x="1200" y="516"/>
                  </a:lnTo>
                  <a:lnTo>
                    <a:pt x="1200" y="522"/>
                  </a:lnTo>
                  <a:lnTo>
                    <a:pt x="1212" y="534"/>
                  </a:lnTo>
                  <a:lnTo>
                    <a:pt x="1218" y="540"/>
                  </a:lnTo>
                  <a:lnTo>
                    <a:pt x="1224" y="552"/>
                  </a:lnTo>
                  <a:lnTo>
                    <a:pt x="1230" y="552"/>
                  </a:lnTo>
                  <a:lnTo>
                    <a:pt x="1242" y="552"/>
                  </a:lnTo>
                  <a:lnTo>
                    <a:pt x="1248" y="558"/>
                  </a:lnTo>
                  <a:lnTo>
                    <a:pt x="1254" y="558"/>
                  </a:lnTo>
                  <a:lnTo>
                    <a:pt x="1260" y="564"/>
                  </a:lnTo>
                  <a:lnTo>
                    <a:pt x="1266" y="564"/>
                  </a:lnTo>
                  <a:lnTo>
                    <a:pt x="1272" y="564"/>
                  </a:lnTo>
                  <a:lnTo>
                    <a:pt x="1284" y="564"/>
                  </a:lnTo>
                  <a:lnTo>
                    <a:pt x="1290" y="570"/>
                  </a:lnTo>
                  <a:lnTo>
                    <a:pt x="1296" y="576"/>
                  </a:lnTo>
                  <a:lnTo>
                    <a:pt x="1302" y="588"/>
                  </a:lnTo>
                  <a:lnTo>
                    <a:pt x="1296" y="594"/>
                  </a:lnTo>
                  <a:lnTo>
                    <a:pt x="1296" y="600"/>
                  </a:lnTo>
                  <a:lnTo>
                    <a:pt x="1296" y="606"/>
                  </a:lnTo>
                  <a:lnTo>
                    <a:pt x="1290" y="612"/>
                  </a:lnTo>
                  <a:lnTo>
                    <a:pt x="1290" y="624"/>
                  </a:lnTo>
                  <a:lnTo>
                    <a:pt x="1290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308" y="654"/>
                  </a:lnTo>
                  <a:lnTo>
                    <a:pt x="1320" y="654"/>
                  </a:lnTo>
                  <a:lnTo>
                    <a:pt x="1326" y="660"/>
                  </a:lnTo>
                  <a:lnTo>
                    <a:pt x="1338" y="654"/>
                  </a:lnTo>
                  <a:lnTo>
                    <a:pt x="1344" y="654"/>
                  </a:lnTo>
                  <a:lnTo>
                    <a:pt x="1356" y="654"/>
                  </a:lnTo>
                  <a:lnTo>
                    <a:pt x="1362" y="648"/>
                  </a:lnTo>
                  <a:lnTo>
                    <a:pt x="1368" y="642"/>
                  </a:lnTo>
                  <a:lnTo>
                    <a:pt x="1374" y="636"/>
                  </a:lnTo>
                  <a:lnTo>
                    <a:pt x="1380" y="636"/>
                  </a:lnTo>
                  <a:lnTo>
                    <a:pt x="1392" y="636"/>
                  </a:lnTo>
                  <a:lnTo>
                    <a:pt x="1398" y="636"/>
                  </a:lnTo>
                  <a:lnTo>
                    <a:pt x="1404" y="636"/>
                  </a:lnTo>
                  <a:lnTo>
                    <a:pt x="1410" y="630"/>
                  </a:lnTo>
                  <a:lnTo>
                    <a:pt x="1410" y="624"/>
                  </a:lnTo>
                  <a:lnTo>
                    <a:pt x="1422" y="618"/>
                  </a:lnTo>
                  <a:lnTo>
                    <a:pt x="1428" y="618"/>
                  </a:lnTo>
                  <a:lnTo>
                    <a:pt x="1440" y="612"/>
                  </a:lnTo>
                  <a:lnTo>
                    <a:pt x="1446" y="612"/>
                  </a:lnTo>
                  <a:lnTo>
                    <a:pt x="1458" y="612"/>
                  </a:lnTo>
                  <a:lnTo>
                    <a:pt x="1470" y="624"/>
                  </a:lnTo>
                  <a:lnTo>
                    <a:pt x="1488" y="642"/>
                  </a:lnTo>
                  <a:lnTo>
                    <a:pt x="1500" y="648"/>
                  </a:lnTo>
                  <a:lnTo>
                    <a:pt x="1512" y="654"/>
                  </a:lnTo>
                  <a:lnTo>
                    <a:pt x="1518" y="660"/>
                  </a:lnTo>
                  <a:lnTo>
                    <a:pt x="1524" y="660"/>
                  </a:lnTo>
                  <a:lnTo>
                    <a:pt x="1530" y="660"/>
                  </a:lnTo>
                  <a:lnTo>
                    <a:pt x="1536" y="666"/>
                  </a:lnTo>
                  <a:lnTo>
                    <a:pt x="1542" y="672"/>
                  </a:lnTo>
                  <a:lnTo>
                    <a:pt x="1548" y="672"/>
                  </a:lnTo>
                  <a:lnTo>
                    <a:pt x="1554" y="684"/>
                  </a:lnTo>
                  <a:lnTo>
                    <a:pt x="1554" y="690"/>
                  </a:lnTo>
                  <a:lnTo>
                    <a:pt x="1566" y="702"/>
                  </a:lnTo>
                  <a:lnTo>
                    <a:pt x="1572" y="720"/>
                  </a:lnTo>
                  <a:lnTo>
                    <a:pt x="1572" y="726"/>
                  </a:lnTo>
                  <a:lnTo>
                    <a:pt x="1578" y="732"/>
                  </a:lnTo>
                  <a:lnTo>
                    <a:pt x="1584" y="738"/>
                  </a:lnTo>
                  <a:lnTo>
                    <a:pt x="1590" y="738"/>
                  </a:lnTo>
                  <a:lnTo>
                    <a:pt x="1596" y="738"/>
                  </a:lnTo>
                  <a:lnTo>
                    <a:pt x="1602" y="744"/>
                  </a:lnTo>
                  <a:lnTo>
                    <a:pt x="1608" y="744"/>
                  </a:lnTo>
                  <a:lnTo>
                    <a:pt x="1614" y="744"/>
                  </a:lnTo>
                  <a:lnTo>
                    <a:pt x="1626" y="744"/>
                  </a:lnTo>
                  <a:lnTo>
                    <a:pt x="1638" y="744"/>
                  </a:lnTo>
                  <a:lnTo>
                    <a:pt x="1650" y="744"/>
                  </a:lnTo>
                  <a:lnTo>
                    <a:pt x="1662" y="744"/>
                  </a:lnTo>
                  <a:lnTo>
                    <a:pt x="1668" y="744"/>
                  </a:lnTo>
                  <a:lnTo>
                    <a:pt x="1674" y="744"/>
                  </a:lnTo>
                  <a:lnTo>
                    <a:pt x="1686" y="744"/>
                  </a:lnTo>
                  <a:lnTo>
                    <a:pt x="1698" y="750"/>
                  </a:lnTo>
                  <a:lnTo>
                    <a:pt x="1704" y="750"/>
                  </a:lnTo>
                  <a:lnTo>
                    <a:pt x="1716" y="756"/>
                  </a:lnTo>
                  <a:lnTo>
                    <a:pt x="1722" y="756"/>
                  </a:lnTo>
                  <a:lnTo>
                    <a:pt x="1728" y="756"/>
                  </a:lnTo>
                  <a:lnTo>
                    <a:pt x="1734" y="762"/>
                  </a:lnTo>
                  <a:lnTo>
                    <a:pt x="1740" y="768"/>
                  </a:lnTo>
                  <a:lnTo>
                    <a:pt x="1758" y="780"/>
                  </a:lnTo>
                  <a:lnTo>
                    <a:pt x="1770" y="780"/>
                  </a:lnTo>
                  <a:lnTo>
                    <a:pt x="1776" y="780"/>
                  </a:lnTo>
                  <a:lnTo>
                    <a:pt x="1782" y="780"/>
                  </a:lnTo>
                  <a:lnTo>
                    <a:pt x="1800" y="798"/>
                  </a:lnTo>
                  <a:lnTo>
                    <a:pt x="1818" y="810"/>
                  </a:lnTo>
                  <a:lnTo>
                    <a:pt x="1830" y="816"/>
                  </a:lnTo>
                  <a:lnTo>
                    <a:pt x="1836" y="822"/>
                  </a:lnTo>
                  <a:lnTo>
                    <a:pt x="1836" y="828"/>
                  </a:lnTo>
                  <a:lnTo>
                    <a:pt x="1842" y="828"/>
                  </a:lnTo>
                  <a:lnTo>
                    <a:pt x="1848" y="834"/>
                  </a:lnTo>
                  <a:lnTo>
                    <a:pt x="1854" y="840"/>
                  </a:lnTo>
                  <a:lnTo>
                    <a:pt x="1860" y="846"/>
                  </a:lnTo>
                  <a:lnTo>
                    <a:pt x="1872" y="852"/>
                  </a:lnTo>
                  <a:lnTo>
                    <a:pt x="1884" y="852"/>
                  </a:lnTo>
                  <a:lnTo>
                    <a:pt x="1896" y="852"/>
                  </a:lnTo>
                  <a:lnTo>
                    <a:pt x="1902" y="846"/>
                  </a:lnTo>
                  <a:lnTo>
                    <a:pt x="1908" y="852"/>
                  </a:lnTo>
                  <a:lnTo>
                    <a:pt x="1920" y="858"/>
                  </a:lnTo>
                  <a:lnTo>
                    <a:pt x="1926" y="870"/>
                  </a:lnTo>
                  <a:lnTo>
                    <a:pt x="1938" y="888"/>
                  </a:lnTo>
                  <a:lnTo>
                    <a:pt x="1944" y="900"/>
                  </a:lnTo>
                  <a:lnTo>
                    <a:pt x="1950" y="900"/>
                  </a:lnTo>
                  <a:lnTo>
                    <a:pt x="1962" y="906"/>
                  </a:lnTo>
                  <a:lnTo>
                    <a:pt x="1968" y="906"/>
                  </a:lnTo>
                  <a:lnTo>
                    <a:pt x="1980" y="906"/>
                  </a:lnTo>
                  <a:lnTo>
                    <a:pt x="1998" y="906"/>
                  </a:lnTo>
                  <a:lnTo>
                    <a:pt x="2010" y="900"/>
                  </a:lnTo>
                  <a:lnTo>
                    <a:pt x="2022" y="900"/>
                  </a:lnTo>
                  <a:lnTo>
                    <a:pt x="2028" y="900"/>
                  </a:lnTo>
                  <a:lnTo>
                    <a:pt x="2034" y="906"/>
                  </a:lnTo>
                  <a:lnTo>
                    <a:pt x="2046" y="906"/>
                  </a:lnTo>
                  <a:lnTo>
                    <a:pt x="2052" y="900"/>
                  </a:lnTo>
                  <a:lnTo>
                    <a:pt x="2058" y="900"/>
                  </a:lnTo>
                  <a:lnTo>
                    <a:pt x="2064" y="900"/>
                  </a:lnTo>
                  <a:lnTo>
                    <a:pt x="2070" y="900"/>
                  </a:lnTo>
                  <a:lnTo>
                    <a:pt x="2076" y="900"/>
                  </a:lnTo>
                  <a:lnTo>
                    <a:pt x="2076" y="906"/>
                  </a:lnTo>
                  <a:lnTo>
                    <a:pt x="2088" y="906"/>
                  </a:lnTo>
                  <a:lnTo>
                    <a:pt x="2106" y="900"/>
                  </a:lnTo>
                  <a:lnTo>
                    <a:pt x="2118" y="900"/>
                  </a:lnTo>
                  <a:lnTo>
                    <a:pt x="2130" y="900"/>
                  </a:lnTo>
                  <a:lnTo>
                    <a:pt x="2142" y="900"/>
                  </a:lnTo>
                  <a:lnTo>
                    <a:pt x="2148" y="906"/>
                  </a:lnTo>
                  <a:lnTo>
                    <a:pt x="2154" y="906"/>
                  </a:lnTo>
                  <a:lnTo>
                    <a:pt x="2160" y="906"/>
                  </a:lnTo>
                  <a:lnTo>
                    <a:pt x="2166" y="906"/>
                  </a:lnTo>
                  <a:lnTo>
                    <a:pt x="2178" y="918"/>
                  </a:lnTo>
                  <a:lnTo>
                    <a:pt x="2178" y="924"/>
                  </a:lnTo>
                  <a:lnTo>
                    <a:pt x="2184" y="924"/>
                  </a:lnTo>
                  <a:lnTo>
                    <a:pt x="2190" y="924"/>
                  </a:lnTo>
                  <a:lnTo>
                    <a:pt x="2196" y="924"/>
                  </a:lnTo>
                  <a:lnTo>
                    <a:pt x="2202" y="918"/>
                  </a:lnTo>
                  <a:lnTo>
                    <a:pt x="2208" y="918"/>
                  </a:lnTo>
                  <a:lnTo>
                    <a:pt x="2214" y="918"/>
                  </a:lnTo>
                  <a:lnTo>
                    <a:pt x="2226" y="918"/>
                  </a:lnTo>
                  <a:lnTo>
                    <a:pt x="2220" y="948"/>
                  </a:lnTo>
                  <a:lnTo>
                    <a:pt x="2214" y="972"/>
                  </a:lnTo>
                  <a:lnTo>
                    <a:pt x="2214" y="984"/>
                  </a:lnTo>
                  <a:lnTo>
                    <a:pt x="2208" y="990"/>
                  </a:lnTo>
                  <a:lnTo>
                    <a:pt x="2208" y="996"/>
                  </a:lnTo>
                  <a:lnTo>
                    <a:pt x="2202" y="996"/>
                  </a:lnTo>
                  <a:lnTo>
                    <a:pt x="2196" y="996"/>
                  </a:lnTo>
                  <a:lnTo>
                    <a:pt x="2190" y="1008"/>
                  </a:lnTo>
                  <a:lnTo>
                    <a:pt x="2172" y="1074"/>
                  </a:lnTo>
                  <a:lnTo>
                    <a:pt x="2166" y="1092"/>
                  </a:lnTo>
                  <a:lnTo>
                    <a:pt x="2172" y="1110"/>
                  </a:lnTo>
                  <a:lnTo>
                    <a:pt x="2172" y="1122"/>
                  </a:lnTo>
                  <a:lnTo>
                    <a:pt x="2166" y="1134"/>
                  </a:lnTo>
                  <a:lnTo>
                    <a:pt x="2148" y="1140"/>
                  </a:lnTo>
                  <a:lnTo>
                    <a:pt x="2148" y="1134"/>
                  </a:lnTo>
                  <a:lnTo>
                    <a:pt x="2118" y="1140"/>
                  </a:lnTo>
                  <a:lnTo>
                    <a:pt x="2088" y="1134"/>
                  </a:lnTo>
                  <a:lnTo>
                    <a:pt x="2064" y="1122"/>
                  </a:lnTo>
                  <a:lnTo>
                    <a:pt x="2034" y="1122"/>
                  </a:lnTo>
                  <a:lnTo>
                    <a:pt x="2022" y="1128"/>
                  </a:lnTo>
                  <a:lnTo>
                    <a:pt x="1986" y="1128"/>
                  </a:lnTo>
                  <a:lnTo>
                    <a:pt x="1938" y="1122"/>
                  </a:lnTo>
                  <a:lnTo>
                    <a:pt x="1932" y="1116"/>
                  </a:lnTo>
                  <a:lnTo>
                    <a:pt x="1896" y="1110"/>
                  </a:lnTo>
                  <a:lnTo>
                    <a:pt x="1878" y="1104"/>
                  </a:lnTo>
                  <a:lnTo>
                    <a:pt x="1866" y="1098"/>
                  </a:lnTo>
                  <a:lnTo>
                    <a:pt x="1860" y="1098"/>
                  </a:lnTo>
                  <a:lnTo>
                    <a:pt x="1854" y="1092"/>
                  </a:lnTo>
                  <a:lnTo>
                    <a:pt x="1860" y="1092"/>
                  </a:lnTo>
                  <a:lnTo>
                    <a:pt x="1860" y="1086"/>
                  </a:lnTo>
                  <a:lnTo>
                    <a:pt x="1854" y="1086"/>
                  </a:lnTo>
                  <a:lnTo>
                    <a:pt x="1842" y="1080"/>
                  </a:lnTo>
                  <a:lnTo>
                    <a:pt x="1818" y="1062"/>
                  </a:lnTo>
                  <a:lnTo>
                    <a:pt x="1782" y="1056"/>
                  </a:lnTo>
                  <a:lnTo>
                    <a:pt x="1770" y="1068"/>
                  </a:lnTo>
                  <a:lnTo>
                    <a:pt x="1746" y="1098"/>
                  </a:lnTo>
                  <a:lnTo>
                    <a:pt x="1722" y="1104"/>
                  </a:lnTo>
                  <a:lnTo>
                    <a:pt x="1710" y="1122"/>
                  </a:lnTo>
                  <a:lnTo>
                    <a:pt x="1710" y="1128"/>
                  </a:lnTo>
                  <a:lnTo>
                    <a:pt x="1710" y="1140"/>
                  </a:lnTo>
                  <a:lnTo>
                    <a:pt x="1698" y="1146"/>
                  </a:lnTo>
                  <a:lnTo>
                    <a:pt x="1686" y="1152"/>
                  </a:lnTo>
                  <a:lnTo>
                    <a:pt x="1680" y="1164"/>
                  </a:lnTo>
                  <a:lnTo>
                    <a:pt x="1680" y="1170"/>
                  </a:lnTo>
                  <a:lnTo>
                    <a:pt x="1686" y="1170"/>
                  </a:lnTo>
                  <a:lnTo>
                    <a:pt x="1686" y="1176"/>
                  </a:lnTo>
                  <a:lnTo>
                    <a:pt x="1698" y="1188"/>
                  </a:lnTo>
                  <a:lnTo>
                    <a:pt x="1704" y="1188"/>
                  </a:lnTo>
                  <a:lnTo>
                    <a:pt x="1698" y="1194"/>
                  </a:lnTo>
                  <a:lnTo>
                    <a:pt x="1704" y="1194"/>
                  </a:lnTo>
                  <a:lnTo>
                    <a:pt x="1704" y="1200"/>
                  </a:lnTo>
                  <a:lnTo>
                    <a:pt x="1704" y="1206"/>
                  </a:lnTo>
                  <a:lnTo>
                    <a:pt x="1704" y="1212"/>
                  </a:lnTo>
                  <a:lnTo>
                    <a:pt x="1704" y="1218"/>
                  </a:lnTo>
                  <a:lnTo>
                    <a:pt x="1710" y="1218"/>
                  </a:lnTo>
                  <a:lnTo>
                    <a:pt x="1710" y="1212"/>
                  </a:lnTo>
                  <a:lnTo>
                    <a:pt x="1716" y="1212"/>
                  </a:lnTo>
                  <a:lnTo>
                    <a:pt x="1716" y="1218"/>
                  </a:lnTo>
                  <a:lnTo>
                    <a:pt x="1716" y="1224"/>
                  </a:lnTo>
                  <a:lnTo>
                    <a:pt x="1716" y="1230"/>
                  </a:lnTo>
                  <a:lnTo>
                    <a:pt x="1722" y="1236"/>
                  </a:lnTo>
                  <a:lnTo>
                    <a:pt x="1740" y="1230"/>
                  </a:lnTo>
                  <a:lnTo>
                    <a:pt x="1734" y="1236"/>
                  </a:lnTo>
                  <a:lnTo>
                    <a:pt x="1734" y="1242"/>
                  </a:lnTo>
                  <a:lnTo>
                    <a:pt x="1734" y="1248"/>
                  </a:lnTo>
                  <a:lnTo>
                    <a:pt x="1734" y="1254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52" y="1266"/>
                  </a:lnTo>
                  <a:lnTo>
                    <a:pt x="1764" y="1266"/>
                  </a:lnTo>
                  <a:lnTo>
                    <a:pt x="1788" y="1260"/>
                  </a:lnTo>
                  <a:lnTo>
                    <a:pt x="1800" y="1260"/>
                  </a:lnTo>
                  <a:lnTo>
                    <a:pt x="1806" y="1272"/>
                  </a:lnTo>
                  <a:lnTo>
                    <a:pt x="1806" y="1296"/>
                  </a:lnTo>
                  <a:lnTo>
                    <a:pt x="1800" y="1308"/>
                  </a:lnTo>
                  <a:lnTo>
                    <a:pt x="1788" y="1308"/>
                  </a:lnTo>
                  <a:lnTo>
                    <a:pt x="1782" y="132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7" name="Freeform 32">
              <a:extLst>
                <a:ext uri="{FF2B5EF4-FFF2-40B4-BE49-F238E27FC236}">
                  <a16:creationId xmlns:a16="http://schemas.microsoft.com/office/drawing/2014/main" id="{1EF84438-BF7A-47D2-9156-E231EA2A279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3295" y="2316568"/>
              <a:ext cx="1290281" cy="1084704"/>
            </a:xfrm>
            <a:custGeom>
              <a:avLst/>
              <a:gdLst>
                <a:gd name="T0" fmla="*/ 177 w 2430"/>
                <a:gd name="T1" fmla="*/ 169 h 2040"/>
                <a:gd name="T2" fmla="*/ 174 w 2430"/>
                <a:gd name="T3" fmla="*/ 173 h 2040"/>
                <a:gd name="T4" fmla="*/ 169 w 2430"/>
                <a:gd name="T5" fmla="*/ 171 h 2040"/>
                <a:gd name="T6" fmla="*/ 160 w 2430"/>
                <a:gd name="T7" fmla="*/ 163 h 2040"/>
                <a:gd name="T8" fmla="*/ 154 w 2430"/>
                <a:gd name="T9" fmla="*/ 149 h 2040"/>
                <a:gd name="T10" fmla="*/ 144 w 2430"/>
                <a:gd name="T11" fmla="*/ 147 h 2040"/>
                <a:gd name="T12" fmla="*/ 133 w 2430"/>
                <a:gd name="T13" fmla="*/ 146 h 2040"/>
                <a:gd name="T14" fmla="*/ 121 w 2430"/>
                <a:gd name="T15" fmla="*/ 145 h 2040"/>
                <a:gd name="T16" fmla="*/ 110 w 2430"/>
                <a:gd name="T17" fmla="*/ 137 h 2040"/>
                <a:gd name="T18" fmla="*/ 97 w 2430"/>
                <a:gd name="T19" fmla="*/ 131 h 2040"/>
                <a:gd name="T20" fmla="*/ 87 w 2430"/>
                <a:gd name="T21" fmla="*/ 125 h 2040"/>
                <a:gd name="T22" fmla="*/ 75 w 2430"/>
                <a:gd name="T23" fmla="*/ 122 h 2040"/>
                <a:gd name="T24" fmla="*/ 65 w 2430"/>
                <a:gd name="T25" fmla="*/ 122 h 2040"/>
                <a:gd name="T26" fmla="*/ 59 w 2430"/>
                <a:gd name="T27" fmla="*/ 115 h 2040"/>
                <a:gd name="T28" fmla="*/ 50 w 2430"/>
                <a:gd name="T29" fmla="*/ 107 h 2040"/>
                <a:gd name="T30" fmla="*/ 28 w 2430"/>
                <a:gd name="T31" fmla="*/ 84 h 2040"/>
                <a:gd name="T32" fmla="*/ 22 w 2430"/>
                <a:gd name="T33" fmla="*/ 82 h 2040"/>
                <a:gd name="T34" fmla="*/ 20 w 2430"/>
                <a:gd name="T35" fmla="*/ 79 h 2040"/>
                <a:gd name="T36" fmla="*/ 16 w 2430"/>
                <a:gd name="T37" fmla="*/ 76 h 2040"/>
                <a:gd name="T38" fmla="*/ 11 w 2430"/>
                <a:gd name="T39" fmla="*/ 74 h 2040"/>
                <a:gd name="T40" fmla="*/ 7 w 2430"/>
                <a:gd name="T41" fmla="*/ 69 h 2040"/>
                <a:gd name="T42" fmla="*/ 0 w 2430"/>
                <a:gd name="T43" fmla="*/ 60 h 2040"/>
                <a:gd name="T44" fmla="*/ 10 w 2430"/>
                <a:gd name="T45" fmla="*/ 53 h 2040"/>
                <a:gd name="T46" fmla="*/ 15 w 2430"/>
                <a:gd name="T47" fmla="*/ 40 h 2040"/>
                <a:gd name="T48" fmla="*/ 9 w 2430"/>
                <a:gd name="T49" fmla="*/ 29 h 2040"/>
                <a:gd name="T50" fmla="*/ 7 w 2430"/>
                <a:gd name="T51" fmla="*/ 16 h 2040"/>
                <a:gd name="T52" fmla="*/ 18 w 2430"/>
                <a:gd name="T53" fmla="*/ 21 h 2040"/>
                <a:gd name="T54" fmla="*/ 48 w 2430"/>
                <a:gd name="T55" fmla="*/ 27 h 2040"/>
                <a:gd name="T56" fmla="*/ 62 w 2430"/>
                <a:gd name="T57" fmla="*/ 25 h 2040"/>
                <a:gd name="T58" fmla="*/ 59 w 2430"/>
                <a:gd name="T59" fmla="*/ 42 h 2040"/>
                <a:gd name="T60" fmla="*/ 54 w 2430"/>
                <a:gd name="T61" fmla="*/ 65 h 2040"/>
                <a:gd name="T62" fmla="*/ 65 w 2430"/>
                <a:gd name="T63" fmla="*/ 60 h 2040"/>
                <a:gd name="T64" fmla="*/ 68 w 2430"/>
                <a:gd name="T65" fmla="*/ 40 h 2040"/>
                <a:gd name="T66" fmla="*/ 75 w 2430"/>
                <a:gd name="T67" fmla="*/ 36 h 2040"/>
                <a:gd name="T68" fmla="*/ 83 w 2430"/>
                <a:gd name="T69" fmla="*/ 29 h 2040"/>
                <a:gd name="T70" fmla="*/ 81 w 2430"/>
                <a:gd name="T71" fmla="*/ 17 h 2040"/>
                <a:gd name="T72" fmla="*/ 66 w 2430"/>
                <a:gd name="T73" fmla="*/ 7 h 2040"/>
                <a:gd name="T74" fmla="*/ 80 w 2430"/>
                <a:gd name="T75" fmla="*/ 5 h 2040"/>
                <a:gd name="T76" fmla="*/ 89 w 2430"/>
                <a:gd name="T77" fmla="*/ 1 h 2040"/>
                <a:gd name="T78" fmla="*/ 101 w 2430"/>
                <a:gd name="T79" fmla="*/ 10 h 2040"/>
                <a:gd name="T80" fmla="*/ 103 w 2430"/>
                <a:gd name="T81" fmla="*/ 18 h 2040"/>
                <a:gd name="T82" fmla="*/ 110 w 2430"/>
                <a:gd name="T83" fmla="*/ 23 h 2040"/>
                <a:gd name="T84" fmla="*/ 121 w 2430"/>
                <a:gd name="T85" fmla="*/ 20 h 2040"/>
                <a:gd name="T86" fmla="*/ 129 w 2430"/>
                <a:gd name="T87" fmla="*/ 15 h 2040"/>
                <a:gd name="T88" fmla="*/ 142 w 2430"/>
                <a:gd name="T89" fmla="*/ 23 h 2040"/>
                <a:gd name="T90" fmla="*/ 141 w 2430"/>
                <a:gd name="T91" fmla="*/ 30 h 2040"/>
                <a:gd name="T92" fmla="*/ 140 w 2430"/>
                <a:gd name="T93" fmla="*/ 38 h 2040"/>
                <a:gd name="T94" fmla="*/ 139 w 2430"/>
                <a:gd name="T95" fmla="*/ 46 h 2040"/>
                <a:gd name="T96" fmla="*/ 147 w 2430"/>
                <a:gd name="T97" fmla="*/ 54 h 2040"/>
                <a:gd name="T98" fmla="*/ 152 w 2430"/>
                <a:gd name="T99" fmla="*/ 50 h 2040"/>
                <a:gd name="T100" fmla="*/ 159 w 2430"/>
                <a:gd name="T101" fmla="*/ 43 h 2040"/>
                <a:gd name="T102" fmla="*/ 174 w 2430"/>
                <a:gd name="T103" fmla="*/ 41 h 2040"/>
                <a:gd name="T104" fmla="*/ 190 w 2430"/>
                <a:gd name="T105" fmla="*/ 57 h 2040"/>
                <a:gd name="T106" fmla="*/ 187 w 2430"/>
                <a:gd name="T107" fmla="*/ 66 h 2040"/>
                <a:gd name="T108" fmla="*/ 183 w 2430"/>
                <a:gd name="T109" fmla="*/ 72 h 2040"/>
                <a:gd name="T110" fmla="*/ 194 w 2430"/>
                <a:gd name="T111" fmla="*/ 73 h 2040"/>
                <a:gd name="T112" fmla="*/ 202 w 2430"/>
                <a:gd name="T113" fmla="*/ 74 h 2040"/>
                <a:gd name="T114" fmla="*/ 204 w 2430"/>
                <a:gd name="T115" fmla="*/ 89 h 2040"/>
                <a:gd name="T116" fmla="*/ 208 w 2430"/>
                <a:gd name="T117" fmla="*/ 99 h 2040"/>
                <a:gd name="T118" fmla="*/ 203 w 2430"/>
                <a:gd name="T119" fmla="*/ 103 h 2040"/>
                <a:gd name="T120" fmla="*/ 209 w 2430"/>
                <a:gd name="T121" fmla="*/ 111 h 2040"/>
                <a:gd name="T122" fmla="*/ 204 w 2430"/>
                <a:gd name="T123" fmla="*/ 124 h 2040"/>
                <a:gd name="T124" fmla="*/ 190 w 2430"/>
                <a:gd name="T125" fmla="*/ 117 h 20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30"/>
                <a:gd name="T190" fmla="*/ 0 h 2040"/>
                <a:gd name="T191" fmla="*/ 2430 w 2430"/>
                <a:gd name="T192" fmla="*/ 2040 h 20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30" h="2040">
                  <a:moveTo>
                    <a:pt x="2076" y="1896"/>
                  </a:moveTo>
                  <a:lnTo>
                    <a:pt x="2070" y="1896"/>
                  </a:lnTo>
                  <a:lnTo>
                    <a:pt x="2070" y="1902"/>
                  </a:lnTo>
                  <a:lnTo>
                    <a:pt x="2076" y="1902"/>
                  </a:lnTo>
                  <a:lnTo>
                    <a:pt x="2082" y="1902"/>
                  </a:lnTo>
                  <a:lnTo>
                    <a:pt x="2082" y="1908"/>
                  </a:lnTo>
                  <a:lnTo>
                    <a:pt x="2076" y="1908"/>
                  </a:lnTo>
                  <a:lnTo>
                    <a:pt x="2076" y="1914"/>
                  </a:lnTo>
                  <a:lnTo>
                    <a:pt x="2070" y="1920"/>
                  </a:lnTo>
                  <a:lnTo>
                    <a:pt x="2064" y="1932"/>
                  </a:lnTo>
                  <a:lnTo>
                    <a:pt x="2064" y="1938"/>
                  </a:lnTo>
                  <a:lnTo>
                    <a:pt x="2058" y="1938"/>
                  </a:lnTo>
                  <a:lnTo>
                    <a:pt x="2052" y="1944"/>
                  </a:lnTo>
                  <a:lnTo>
                    <a:pt x="2052" y="1950"/>
                  </a:lnTo>
                  <a:lnTo>
                    <a:pt x="2040" y="1944"/>
                  </a:lnTo>
                  <a:lnTo>
                    <a:pt x="2040" y="1950"/>
                  </a:lnTo>
                  <a:lnTo>
                    <a:pt x="2034" y="1956"/>
                  </a:lnTo>
                  <a:lnTo>
                    <a:pt x="2034" y="1962"/>
                  </a:lnTo>
                  <a:lnTo>
                    <a:pt x="2028" y="1962"/>
                  </a:lnTo>
                  <a:lnTo>
                    <a:pt x="2022" y="1962"/>
                  </a:lnTo>
                  <a:lnTo>
                    <a:pt x="2022" y="1968"/>
                  </a:lnTo>
                  <a:lnTo>
                    <a:pt x="2028" y="1974"/>
                  </a:lnTo>
                  <a:lnTo>
                    <a:pt x="2034" y="1980"/>
                  </a:lnTo>
                  <a:lnTo>
                    <a:pt x="2028" y="1986"/>
                  </a:lnTo>
                  <a:lnTo>
                    <a:pt x="2022" y="1992"/>
                  </a:lnTo>
                  <a:lnTo>
                    <a:pt x="2022" y="1986"/>
                  </a:lnTo>
                  <a:lnTo>
                    <a:pt x="2016" y="1986"/>
                  </a:lnTo>
                  <a:lnTo>
                    <a:pt x="2010" y="1980"/>
                  </a:lnTo>
                  <a:lnTo>
                    <a:pt x="2004" y="1980"/>
                  </a:lnTo>
                  <a:lnTo>
                    <a:pt x="2004" y="1986"/>
                  </a:lnTo>
                  <a:lnTo>
                    <a:pt x="2010" y="1992"/>
                  </a:lnTo>
                  <a:lnTo>
                    <a:pt x="2010" y="1998"/>
                  </a:lnTo>
                  <a:lnTo>
                    <a:pt x="2004" y="2004"/>
                  </a:lnTo>
                  <a:lnTo>
                    <a:pt x="1998" y="2004"/>
                  </a:lnTo>
                  <a:lnTo>
                    <a:pt x="1998" y="2022"/>
                  </a:lnTo>
                  <a:lnTo>
                    <a:pt x="1998" y="2028"/>
                  </a:lnTo>
                  <a:lnTo>
                    <a:pt x="1992" y="2034"/>
                  </a:lnTo>
                  <a:lnTo>
                    <a:pt x="1992" y="2040"/>
                  </a:lnTo>
                  <a:lnTo>
                    <a:pt x="1986" y="2040"/>
                  </a:lnTo>
                  <a:lnTo>
                    <a:pt x="1986" y="2034"/>
                  </a:lnTo>
                  <a:lnTo>
                    <a:pt x="1980" y="2028"/>
                  </a:lnTo>
                  <a:lnTo>
                    <a:pt x="1980" y="2022"/>
                  </a:lnTo>
                  <a:lnTo>
                    <a:pt x="1968" y="2016"/>
                  </a:lnTo>
                  <a:lnTo>
                    <a:pt x="1962" y="2010"/>
                  </a:lnTo>
                  <a:lnTo>
                    <a:pt x="1956" y="2004"/>
                  </a:lnTo>
                  <a:lnTo>
                    <a:pt x="1950" y="1992"/>
                  </a:lnTo>
                  <a:lnTo>
                    <a:pt x="1950" y="1986"/>
                  </a:lnTo>
                  <a:lnTo>
                    <a:pt x="1950" y="1974"/>
                  </a:lnTo>
                  <a:lnTo>
                    <a:pt x="1944" y="1974"/>
                  </a:lnTo>
                  <a:lnTo>
                    <a:pt x="1932" y="1962"/>
                  </a:lnTo>
                  <a:lnTo>
                    <a:pt x="1932" y="1956"/>
                  </a:lnTo>
                  <a:lnTo>
                    <a:pt x="1932" y="1950"/>
                  </a:lnTo>
                  <a:lnTo>
                    <a:pt x="1920" y="1944"/>
                  </a:lnTo>
                  <a:lnTo>
                    <a:pt x="1914" y="1944"/>
                  </a:lnTo>
                  <a:lnTo>
                    <a:pt x="1908" y="1938"/>
                  </a:lnTo>
                  <a:lnTo>
                    <a:pt x="1902" y="1926"/>
                  </a:lnTo>
                  <a:lnTo>
                    <a:pt x="1890" y="1914"/>
                  </a:lnTo>
                  <a:lnTo>
                    <a:pt x="1884" y="1914"/>
                  </a:lnTo>
                  <a:lnTo>
                    <a:pt x="1878" y="1908"/>
                  </a:lnTo>
                  <a:lnTo>
                    <a:pt x="1872" y="1902"/>
                  </a:lnTo>
                  <a:lnTo>
                    <a:pt x="1872" y="1896"/>
                  </a:lnTo>
                  <a:lnTo>
                    <a:pt x="1866" y="1890"/>
                  </a:lnTo>
                  <a:lnTo>
                    <a:pt x="1854" y="1884"/>
                  </a:lnTo>
                  <a:lnTo>
                    <a:pt x="1848" y="1884"/>
                  </a:lnTo>
                  <a:lnTo>
                    <a:pt x="1842" y="1872"/>
                  </a:lnTo>
                  <a:lnTo>
                    <a:pt x="1836" y="1872"/>
                  </a:lnTo>
                  <a:lnTo>
                    <a:pt x="1830" y="1866"/>
                  </a:lnTo>
                  <a:lnTo>
                    <a:pt x="1830" y="1854"/>
                  </a:lnTo>
                  <a:lnTo>
                    <a:pt x="1824" y="1848"/>
                  </a:lnTo>
                  <a:lnTo>
                    <a:pt x="1818" y="1830"/>
                  </a:lnTo>
                  <a:lnTo>
                    <a:pt x="1818" y="1818"/>
                  </a:lnTo>
                  <a:lnTo>
                    <a:pt x="1812" y="1800"/>
                  </a:lnTo>
                  <a:lnTo>
                    <a:pt x="1812" y="1788"/>
                  </a:lnTo>
                  <a:lnTo>
                    <a:pt x="1806" y="1776"/>
                  </a:lnTo>
                  <a:lnTo>
                    <a:pt x="1800" y="1764"/>
                  </a:lnTo>
                  <a:lnTo>
                    <a:pt x="1794" y="1758"/>
                  </a:lnTo>
                  <a:lnTo>
                    <a:pt x="1782" y="1740"/>
                  </a:lnTo>
                  <a:lnTo>
                    <a:pt x="1776" y="1728"/>
                  </a:lnTo>
                  <a:lnTo>
                    <a:pt x="1776" y="1722"/>
                  </a:lnTo>
                  <a:lnTo>
                    <a:pt x="1770" y="1722"/>
                  </a:lnTo>
                  <a:lnTo>
                    <a:pt x="1770" y="1716"/>
                  </a:lnTo>
                  <a:lnTo>
                    <a:pt x="1764" y="1716"/>
                  </a:lnTo>
                  <a:lnTo>
                    <a:pt x="1758" y="1710"/>
                  </a:lnTo>
                  <a:lnTo>
                    <a:pt x="1752" y="1704"/>
                  </a:lnTo>
                  <a:lnTo>
                    <a:pt x="1746" y="1704"/>
                  </a:lnTo>
                  <a:lnTo>
                    <a:pt x="1740" y="1704"/>
                  </a:lnTo>
                  <a:lnTo>
                    <a:pt x="1734" y="1704"/>
                  </a:lnTo>
                  <a:lnTo>
                    <a:pt x="1734" y="1698"/>
                  </a:lnTo>
                  <a:lnTo>
                    <a:pt x="1728" y="1692"/>
                  </a:lnTo>
                  <a:lnTo>
                    <a:pt x="1722" y="1686"/>
                  </a:lnTo>
                  <a:lnTo>
                    <a:pt x="1716" y="1686"/>
                  </a:lnTo>
                  <a:lnTo>
                    <a:pt x="1698" y="1686"/>
                  </a:lnTo>
                  <a:lnTo>
                    <a:pt x="1692" y="1692"/>
                  </a:lnTo>
                  <a:lnTo>
                    <a:pt x="1680" y="1692"/>
                  </a:lnTo>
                  <a:lnTo>
                    <a:pt x="1668" y="1692"/>
                  </a:lnTo>
                  <a:lnTo>
                    <a:pt x="1662" y="1692"/>
                  </a:lnTo>
                  <a:lnTo>
                    <a:pt x="1656" y="1692"/>
                  </a:lnTo>
                  <a:lnTo>
                    <a:pt x="1650" y="1698"/>
                  </a:lnTo>
                  <a:lnTo>
                    <a:pt x="1644" y="1698"/>
                  </a:lnTo>
                  <a:lnTo>
                    <a:pt x="1638" y="1698"/>
                  </a:lnTo>
                  <a:lnTo>
                    <a:pt x="1632" y="1698"/>
                  </a:lnTo>
                  <a:lnTo>
                    <a:pt x="1632" y="1692"/>
                  </a:lnTo>
                  <a:lnTo>
                    <a:pt x="1620" y="1680"/>
                  </a:lnTo>
                  <a:lnTo>
                    <a:pt x="1614" y="1680"/>
                  </a:lnTo>
                  <a:lnTo>
                    <a:pt x="1608" y="1680"/>
                  </a:lnTo>
                  <a:lnTo>
                    <a:pt x="1602" y="1680"/>
                  </a:lnTo>
                  <a:lnTo>
                    <a:pt x="1596" y="1674"/>
                  </a:lnTo>
                  <a:lnTo>
                    <a:pt x="1584" y="1674"/>
                  </a:lnTo>
                  <a:lnTo>
                    <a:pt x="1572" y="1674"/>
                  </a:lnTo>
                  <a:lnTo>
                    <a:pt x="1560" y="1674"/>
                  </a:lnTo>
                  <a:lnTo>
                    <a:pt x="1542" y="1680"/>
                  </a:lnTo>
                  <a:lnTo>
                    <a:pt x="1530" y="1680"/>
                  </a:lnTo>
                  <a:lnTo>
                    <a:pt x="1530" y="1674"/>
                  </a:lnTo>
                  <a:lnTo>
                    <a:pt x="1524" y="1674"/>
                  </a:lnTo>
                  <a:lnTo>
                    <a:pt x="1518" y="1674"/>
                  </a:lnTo>
                  <a:lnTo>
                    <a:pt x="1512" y="1674"/>
                  </a:lnTo>
                  <a:lnTo>
                    <a:pt x="1506" y="1674"/>
                  </a:lnTo>
                  <a:lnTo>
                    <a:pt x="1500" y="1680"/>
                  </a:lnTo>
                  <a:lnTo>
                    <a:pt x="1488" y="1680"/>
                  </a:lnTo>
                  <a:lnTo>
                    <a:pt x="1482" y="1674"/>
                  </a:lnTo>
                  <a:lnTo>
                    <a:pt x="1476" y="1674"/>
                  </a:lnTo>
                  <a:lnTo>
                    <a:pt x="1464" y="1674"/>
                  </a:lnTo>
                  <a:lnTo>
                    <a:pt x="1452" y="1680"/>
                  </a:lnTo>
                  <a:lnTo>
                    <a:pt x="1434" y="1680"/>
                  </a:lnTo>
                  <a:lnTo>
                    <a:pt x="1422" y="1680"/>
                  </a:lnTo>
                  <a:lnTo>
                    <a:pt x="1416" y="1680"/>
                  </a:lnTo>
                  <a:lnTo>
                    <a:pt x="1404" y="1674"/>
                  </a:lnTo>
                  <a:lnTo>
                    <a:pt x="1398" y="1674"/>
                  </a:lnTo>
                  <a:lnTo>
                    <a:pt x="1392" y="1662"/>
                  </a:lnTo>
                  <a:lnTo>
                    <a:pt x="1380" y="1644"/>
                  </a:lnTo>
                  <a:lnTo>
                    <a:pt x="1374" y="1632"/>
                  </a:lnTo>
                  <a:lnTo>
                    <a:pt x="1362" y="1626"/>
                  </a:lnTo>
                  <a:lnTo>
                    <a:pt x="1356" y="1620"/>
                  </a:lnTo>
                  <a:lnTo>
                    <a:pt x="1350" y="1626"/>
                  </a:lnTo>
                  <a:lnTo>
                    <a:pt x="1338" y="1626"/>
                  </a:lnTo>
                  <a:lnTo>
                    <a:pt x="1326" y="1626"/>
                  </a:lnTo>
                  <a:lnTo>
                    <a:pt x="1314" y="1620"/>
                  </a:lnTo>
                  <a:lnTo>
                    <a:pt x="1308" y="1614"/>
                  </a:lnTo>
                  <a:lnTo>
                    <a:pt x="1302" y="1608"/>
                  </a:lnTo>
                  <a:lnTo>
                    <a:pt x="1296" y="1602"/>
                  </a:lnTo>
                  <a:lnTo>
                    <a:pt x="1290" y="1602"/>
                  </a:lnTo>
                  <a:lnTo>
                    <a:pt x="1290" y="1596"/>
                  </a:lnTo>
                  <a:lnTo>
                    <a:pt x="1284" y="1590"/>
                  </a:lnTo>
                  <a:lnTo>
                    <a:pt x="1272" y="1584"/>
                  </a:lnTo>
                  <a:lnTo>
                    <a:pt x="1254" y="1572"/>
                  </a:lnTo>
                  <a:lnTo>
                    <a:pt x="1236" y="1554"/>
                  </a:lnTo>
                  <a:lnTo>
                    <a:pt x="1230" y="1554"/>
                  </a:lnTo>
                  <a:lnTo>
                    <a:pt x="1224" y="1554"/>
                  </a:lnTo>
                  <a:lnTo>
                    <a:pt x="1212" y="1554"/>
                  </a:lnTo>
                  <a:lnTo>
                    <a:pt x="1194" y="1542"/>
                  </a:lnTo>
                  <a:lnTo>
                    <a:pt x="1188" y="1536"/>
                  </a:lnTo>
                  <a:lnTo>
                    <a:pt x="1182" y="1530"/>
                  </a:lnTo>
                  <a:lnTo>
                    <a:pt x="1176" y="1530"/>
                  </a:lnTo>
                  <a:lnTo>
                    <a:pt x="1170" y="1530"/>
                  </a:lnTo>
                  <a:lnTo>
                    <a:pt x="1158" y="1524"/>
                  </a:lnTo>
                  <a:lnTo>
                    <a:pt x="1152" y="1524"/>
                  </a:lnTo>
                  <a:lnTo>
                    <a:pt x="1140" y="1518"/>
                  </a:lnTo>
                  <a:lnTo>
                    <a:pt x="1128" y="1518"/>
                  </a:lnTo>
                  <a:lnTo>
                    <a:pt x="1122" y="1518"/>
                  </a:lnTo>
                  <a:lnTo>
                    <a:pt x="1116" y="1518"/>
                  </a:lnTo>
                  <a:lnTo>
                    <a:pt x="1104" y="1518"/>
                  </a:lnTo>
                  <a:lnTo>
                    <a:pt x="1092" y="1518"/>
                  </a:lnTo>
                  <a:lnTo>
                    <a:pt x="1080" y="1518"/>
                  </a:lnTo>
                  <a:lnTo>
                    <a:pt x="1068" y="1518"/>
                  </a:lnTo>
                  <a:lnTo>
                    <a:pt x="1062" y="1518"/>
                  </a:lnTo>
                  <a:lnTo>
                    <a:pt x="1056" y="1518"/>
                  </a:lnTo>
                  <a:lnTo>
                    <a:pt x="1050" y="1512"/>
                  </a:lnTo>
                  <a:lnTo>
                    <a:pt x="1044" y="1512"/>
                  </a:lnTo>
                  <a:lnTo>
                    <a:pt x="1038" y="1512"/>
                  </a:lnTo>
                  <a:lnTo>
                    <a:pt x="1032" y="1506"/>
                  </a:lnTo>
                  <a:lnTo>
                    <a:pt x="1026" y="1500"/>
                  </a:lnTo>
                  <a:lnTo>
                    <a:pt x="1026" y="1494"/>
                  </a:lnTo>
                  <a:lnTo>
                    <a:pt x="1020" y="1476"/>
                  </a:lnTo>
                  <a:lnTo>
                    <a:pt x="1008" y="1464"/>
                  </a:lnTo>
                  <a:lnTo>
                    <a:pt x="1008" y="1458"/>
                  </a:lnTo>
                  <a:lnTo>
                    <a:pt x="1002" y="1446"/>
                  </a:lnTo>
                  <a:lnTo>
                    <a:pt x="996" y="1446"/>
                  </a:lnTo>
                  <a:lnTo>
                    <a:pt x="990" y="1440"/>
                  </a:lnTo>
                  <a:lnTo>
                    <a:pt x="984" y="1434"/>
                  </a:lnTo>
                  <a:lnTo>
                    <a:pt x="978" y="1434"/>
                  </a:lnTo>
                  <a:lnTo>
                    <a:pt x="972" y="1434"/>
                  </a:lnTo>
                  <a:lnTo>
                    <a:pt x="966" y="1428"/>
                  </a:lnTo>
                  <a:lnTo>
                    <a:pt x="954" y="1422"/>
                  </a:lnTo>
                  <a:lnTo>
                    <a:pt x="942" y="1416"/>
                  </a:lnTo>
                  <a:lnTo>
                    <a:pt x="924" y="1398"/>
                  </a:lnTo>
                  <a:lnTo>
                    <a:pt x="912" y="1386"/>
                  </a:lnTo>
                  <a:lnTo>
                    <a:pt x="900" y="1386"/>
                  </a:lnTo>
                  <a:lnTo>
                    <a:pt x="894" y="1386"/>
                  </a:lnTo>
                  <a:lnTo>
                    <a:pt x="882" y="1392"/>
                  </a:lnTo>
                  <a:lnTo>
                    <a:pt x="876" y="1392"/>
                  </a:lnTo>
                  <a:lnTo>
                    <a:pt x="864" y="1398"/>
                  </a:lnTo>
                  <a:lnTo>
                    <a:pt x="864" y="1404"/>
                  </a:lnTo>
                  <a:lnTo>
                    <a:pt x="858" y="1410"/>
                  </a:lnTo>
                  <a:lnTo>
                    <a:pt x="852" y="1410"/>
                  </a:lnTo>
                  <a:lnTo>
                    <a:pt x="846" y="1410"/>
                  </a:lnTo>
                  <a:lnTo>
                    <a:pt x="834" y="1410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10" y="1428"/>
                  </a:lnTo>
                  <a:lnTo>
                    <a:pt x="798" y="1428"/>
                  </a:lnTo>
                  <a:lnTo>
                    <a:pt x="792" y="1428"/>
                  </a:lnTo>
                  <a:lnTo>
                    <a:pt x="780" y="1434"/>
                  </a:lnTo>
                  <a:lnTo>
                    <a:pt x="774" y="1428"/>
                  </a:lnTo>
                  <a:lnTo>
                    <a:pt x="762" y="1428"/>
                  </a:lnTo>
                  <a:lnTo>
                    <a:pt x="756" y="1422"/>
                  </a:lnTo>
                  <a:lnTo>
                    <a:pt x="750" y="1416"/>
                  </a:lnTo>
                  <a:lnTo>
                    <a:pt x="744" y="1410"/>
                  </a:lnTo>
                  <a:lnTo>
                    <a:pt x="744" y="1398"/>
                  </a:lnTo>
                  <a:lnTo>
                    <a:pt x="744" y="1386"/>
                  </a:lnTo>
                  <a:lnTo>
                    <a:pt x="750" y="1380"/>
                  </a:lnTo>
                  <a:lnTo>
                    <a:pt x="750" y="1374"/>
                  </a:lnTo>
                  <a:lnTo>
                    <a:pt x="750" y="1368"/>
                  </a:lnTo>
                  <a:lnTo>
                    <a:pt x="756" y="1362"/>
                  </a:lnTo>
                  <a:lnTo>
                    <a:pt x="750" y="1350"/>
                  </a:lnTo>
                  <a:lnTo>
                    <a:pt x="744" y="1344"/>
                  </a:lnTo>
                  <a:lnTo>
                    <a:pt x="738" y="1338"/>
                  </a:lnTo>
                  <a:lnTo>
                    <a:pt x="726" y="1338"/>
                  </a:lnTo>
                  <a:lnTo>
                    <a:pt x="720" y="1338"/>
                  </a:lnTo>
                  <a:lnTo>
                    <a:pt x="714" y="1338"/>
                  </a:lnTo>
                  <a:lnTo>
                    <a:pt x="708" y="1332"/>
                  </a:lnTo>
                  <a:lnTo>
                    <a:pt x="702" y="1332"/>
                  </a:lnTo>
                  <a:lnTo>
                    <a:pt x="696" y="1326"/>
                  </a:lnTo>
                  <a:lnTo>
                    <a:pt x="684" y="1326"/>
                  </a:lnTo>
                  <a:lnTo>
                    <a:pt x="678" y="1326"/>
                  </a:lnTo>
                  <a:lnTo>
                    <a:pt x="672" y="1314"/>
                  </a:lnTo>
                  <a:lnTo>
                    <a:pt x="666" y="1308"/>
                  </a:lnTo>
                  <a:lnTo>
                    <a:pt x="654" y="1296"/>
                  </a:lnTo>
                  <a:lnTo>
                    <a:pt x="654" y="1290"/>
                  </a:lnTo>
                  <a:lnTo>
                    <a:pt x="630" y="1284"/>
                  </a:lnTo>
                  <a:lnTo>
                    <a:pt x="630" y="1278"/>
                  </a:lnTo>
                  <a:lnTo>
                    <a:pt x="624" y="1278"/>
                  </a:lnTo>
                  <a:lnTo>
                    <a:pt x="618" y="1266"/>
                  </a:lnTo>
                  <a:lnTo>
                    <a:pt x="612" y="1266"/>
                  </a:lnTo>
                  <a:lnTo>
                    <a:pt x="606" y="1266"/>
                  </a:lnTo>
                  <a:lnTo>
                    <a:pt x="606" y="1260"/>
                  </a:lnTo>
                  <a:lnTo>
                    <a:pt x="594" y="1248"/>
                  </a:lnTo>
                  <a:lnTo>
                    <a:pt x="582" y="1248"/>
                  </a:lnTo>
                  <a:lnTo>
                    <a:pt x="576" y="1242"/>
                  </a:lnTo>
                  <a:lnTo>
                    <a:pt x="570" y="1236"/>
                  </a:lnTo>
                  <a:lnTo>
                    <a:pt x="504" y="1164"/>
                  </a:lnTo>
                  <a:lnTo>
                    <a:pt x="450" y="1110"/>
                  </a:lnTo>
                  <a:lnTo>
                    <a:pt x="426" y="1092"/>
                  </a:lnTo>
                  <a:lnTo>
                    <a:pt x="426" y="1074"/>
                  </a:lnTo>
                  <a:lnTo>
                    <a:pt x="420" y="1062"/>
                  </a:lnTo>
                  <a:lnTo>
                    <a:pt x="396" y="1056"/>
                  </a:lnTo>
                  <a:lnTo>
                    <a:pt x="384" y="1032"/>
                  </a:lnTo>
                  <a:lnTo>
                    <a:pt x="372" y="1020"/>
                  </a:lnTo>
                  <a:lnTo>
                    <a:pt x="360" y="984"/>
                  </a:lnTo>
                  <a:lnTo>
                    <a:pt x="348" y="978"/>
                  </a:lnTo>
                  <a:lnTo>
                    <a:pt x="342" y="972"/>
                  </a:lnTo>
                  <a:lnTo>
                    <a:pt x="348" y="960"/>
                  </a:lnTo>
                  <a:lnTo>
                    <a:pt x="342" y="954"/>
                  </a:lnTo>
                  <a:lnTo>
                    <a:pt x="336" y="954"/>
                  </a:lnTo>
                  <a:lnTo>
                    <a:pt x="330" y="954"/>
                  </a:lnTo>
                  <a:lnTo>
                    <a:pt x="324" y="972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0" y="966"/>
                  </a:lnTo>
                  <a:lnTo>
                    <a:pt x="294" y="966"/>
                  </a:lnTo>
                  <a:lnTo>
                    <a:pt x="288" y="972"/>
                  </a:lnTo>
                  <a:lnTo>
                    <a:pt x="288" y="966"/>
                  </a:lnTo>
                  <a:lnTo>
                    <a:pt x="282" y="948"/>
                  </a:lnTo>
                  <a:lnTo>
                    <a:pt x="282" y="942"/>
                  </a:lnTo>
                  <a:lnTo>
                    <a:pt x="276" y="942"/>
                  </a:lnTo>
                  <a:lnTo>
                    <a:pt x="276" y="936"/>
                  </a:lnTo>
                  <a:lnTo>
                    <a:pt x="270" y="942"/>
                  </a:lnTo>
                  <a:lnTo>
                    <a:pt x="264" y="948"/>
                  </a:lnTo>
                  <a:lnTo>
                    <a:pt x="264" y="942"/>
                  </a:lnTo>
                  <a:lnTo>
                    <a:pt x="258" y="942"/>
                  </a:lnTo>
                  <a:lnTo>
                    <a:pt x="252" y="948"/>
                  </a:lnTo>
                  <a:lnTo>
                    <a:pt x="252" y="942"/>
                  </a:lnTo>
                  <a:lnTo>
                    <a:pt x="246" y="936"/>
                  </a:lnTo>
                  <a:lnTo>
                    <a:pt x="240" y="942"/>
                  </a:lnTo>
                  <a:lnTo>
                    <a:pt x="234" y="936"/>
                  </a:lnTo>
                  <a:lnTo>
                    <a:pt x="228" y="936"/>
                  </a:lnTo>
                  <a:lnTo>
                    <a:pt x="222" y="936"/>
                  </a:lnTo>
                  <a:lnTo>
                    <a:pt x="222" y="930"/>
                  </a:lnTo>
                  <a:lnTo>
                    <a:pt x="222" y="924"/>
                  </a:lnTo>
                  <a:lnTo>
                    <a:pt x="228" y="924"/>
                  </a:lnTo>
                  <a:lnTo>
                    <a:pt x="234" y="924"/>
                  </a:lnTo>
                  <a:lnTo>
                    <a:pt x="240" y="924"/>
                  </a:lnTo>
                  <a:lnTo>
                    <a:pt x="240" y="918"/>
                  </a:lnTo>
                  <a:lnTo>
                    <a:pt x="246" y="918"/>
                  </a:lnTo>
                  <a:lnTo>
                    <a:pt x="246" y="912"/>
                  </a:lnTo>
                  <a:lnTo>
                    <a:pt x="240" y="906"/>
                  </a:lnTo>
                  <a:lnTo>
                    <a:pt x="234" y="906"/>
                  </a:lnTo>
                  <a:lnTo>
                    <a:pt x="228" y="906"/>
                  </a:lnTo>
                  <a:lnTo>
                    <a:pt x="228" y="912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8" y="894"/>
                  </a:lnTo>
                  <a:lnTo>
                    <a:pt x="234" y="894"/>
                  </a:lnTo>
                  <a:lnTo>
                    <a:pt x="228" y="888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198" y="888"/>
                  </a:lnTo>
                  <a:lnTo>
                    <a:pt x="192" y="882"/>
                  </a:lnTo>
                  <a:lnTo>
                    <a:pt x="186" y="882"/>
                  </a:lnTo>
                  <a:lnTo>
                    <a:pt x="186" y="876"/>
                  </a:lnTo>
                  <a:lnTo>
                    <a:pt x="192" y="876"/>
                  </a:lnTo>
                  <a:lnTo>
                    <a:pt x="192" y="870"/>
                  </a:lnTo>
                  <a:lnTo>
                    <a:pt x="198" y="870"/>
                  </a:lnTo>
                  <a:lnTo>
                    <a:pt x="198" y="864"/>
                  </a:lnTo>
                  <a:lnTo>
                    <a:pt x="198" y="858"/>
                  </a:lnTo>
                  <a:lnTo>
                    <a:pt x="180" y="852"/>
                  </a:lnTo>
                  <a:lnTo>
                    <a:pt x="174" y="840"/>
                  </a:lnTo>
                  <a:lnTo>
                    <a:pt x="162" y="846"/>
                  </a:lnTo>
                  <a:lnTo>
                    <a:pt x="156" y="846"/>
                  </a:lnTo>
                  <a:lnTo>
                    <a:pt x="150" y="846"/>
                  </a:lnTo>
                  <a:lnTo>
                    <a:pt x="150" y="840"/>
                  </a:lnTo>
                  <a:lnTo>
                    <a:pt x="138" y="834"/>
                  </a:lnTo>
                  <a:lnTo>
                    <a:pt x="132" y="834"/>
                  </a:lnTo>
                  <a:lnTo>
                    <a:pt x="132" y="840"/>
                  </a:lnTo>
                  <a:lnTo>
                    <a:pt x="126" y="840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58"/>
                  </a:lnTo>
                  <a:lnTo>
                    <a:pt x="120" y="846"/>
                  </a:lnTo>
                  <a:lnTo>
                    <a:pt x="114" y="846"/>
                  </a:lnTo>
                  <a:lnTo>
                    <a:pt x="108" y="840"/>
                  </a:lnTo>
                  <a:lnTo>
                    <a:pt x="102" y="834"/>
                  </a:lnTo>
                  <a:lnTo>
                    <a:pt x="102" y="822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78" y="804"/>
                  </a:lnTo>
                  <a:lnTo>
                    <a:pt x="78" y="798"/>
                  </a:lnTo>
                  <a:lnTo>
                    <a:pt x="78" y="792"/>
                  </a:lnTo>
                  <a:lnTo>
                    <a:pt x="78" y="786"/>
                  </a:lnTo>
                  <a:lnTo>
                    <a:pt x="78" y="780"/>
                  </a:lnTo>
                  <a:lnTo>
                    <a:pt x="72" y="774"/>
                  </a:lnTo>
                  <a:lnTo>
                    <a:pt x="66" y="774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60" y="762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6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2" y="666"/>
                  </a:lnTo>
                  <a:lnTo>
                    <a:pt x="18" y="648"/>
                  </a:lnTo>
                  <a:lnTo>
                    <a:pt x="24" y="636"/>
                  </a:lnTo>
                  <a:lnTo>
                    <a:pt x="30" y="630"/>
                  </a:lnTo>
                  <a:lnTo>
                    <a:pt x="30" y="624"/>
                  </a:lnTo>
                  <a:lnTo>
                    <a:pt x="30" y="612"/>
                  </a:lnTo>
                  <a:lnTo>
                    <a:pt x="30" y="606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66" y="582"/>
                  </a:lnTo>
                  <a:lnTo>
                    <a:pt x="72" y="588"/>
                  </a:lnTo>
                  <a:lnTo>
                    <a:pt x="84" y="594"/>
                  </a:lnTo>
                  <a:lnTo>
                    <a:pt x="90" y="600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14" y="612"/>
                  </a:lnTo>
                  <a:lnTo>
                    <a:pt x="120" y="612"/>
                  </a:lnTo>
                  <a:lnTo>
                    <a:pt x="126" y="618"/>
                  </a:lnTo>
                  <a:lnTo>
                    <a:pt x="138" y="594"/>
                  </a:lnTo>
                  <a:lnTo>
                    <a:pt x="138" y="582"/>
                  </a:lnTo>
                  <a:lnTo>
                    <a:pt x="138" y="570"/>
                  </a:lnTo>
                  <a:lnTo>
                    <a:pt x="138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50" y="528"/>
                  </a:lnTo>
                  <a:lnTo>
                    <a:pt x="156" y="510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62"/>
                  </a:lnTo>
                  <a:lnTo>
                    <a:pt x="168" y="450"/>
                  </a:lnTo>
                  <a:lnTo>
                    <a:pt x="168" y="444"/>
                  </a:lnTo>
                  <a:lnTo>
                    <a:pt x="162" y="432"/>
                  </a:lnTo>
                  <a:lnTo>
                    <a:pt x="162" y="426"/>
                  </a:lnTo>
                  <a:lnTo>
                    <a:pt x="156" y="420"/>
                  </a:lnTo>
                  <a:lnTo>
                    <a:pt x="144" y="414"/>
                  </a:lnTo>
                  <a:lnTo>
                    <a:pt x="132" y="402"/>
                  </a:lnTo>
                  <a:lnTo>
                    <a:pt x="126" y="390"/>
                  </a:lnTo>
                  <a:lnTo>
                    <a:pt x="120" y="384"/>
                  </a:lnTo>
                  <a:lnTo>
                    <a:pt x="120" y="372"/>
                  </a:lnTo>
                  <a:lnTo>
                    <a:pt x="114" y="360"/>
                  </a:lnTo>
                  <a:lnTo>
                    <a:pt x="108" y="360"/>
                  </a:lnTo>
                  <a:lnTo>
                    <a:pt x="108" y="354"/>
                  </a:lnTo>
                  <a:lnTo>
                    <a:pt x="102" y="348"/>
                  </a:lnTo>
                  <a:lnTo>
                    <a:pt x="102" y="342"/>
                  </a:lnTo>
                  <a:lnTo>
                    <a:pt x="108" y="330"/>
                  </a:lnTo>
                  <a:lnTo>
                    <a:pt x="114" y="312"/>
                  </a:lnTo>
                  <a:lnTo>
                    <a:pt x="114" y="300"/>
                  </a:lnTo>
                  <a:lnTo>
                    <a:pt x="120" y="288"/>
                  </a:lnTo>
                  <a:lnTo>
                    <a:pt x="120" y="282"/>
                  </a:lnTo>
                  <a:lnTo>
                    <a:pt x="114" y="270"/>
                  </a:lnTo>
                  <a:lnTo>
                    <a:pt x="114" y="258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84" y="222"/>
                  </a:lnTo>
                  <a:lnTo>
                    <a:pt x="84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84" y="186"/>
                  </a:lnTo>
                  <a:lnTo>
                    <a:pt x="84" y="180"/>
                  </a:lnTo>
                  <a:lnTo>
                    <a:pt x="108" y="174"/>
                  </a:lnTo>
                  <a:lnTo>
                    <a:pt x="132" y="186"/>
                  </a:lnTo>
                  <a:lnTo>
                    <a:pt x="138" y="192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56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74" y="204"/>
                  </a:lnTo>
                  <a:lnTo>
                    <a:pt x="180" y="216"/>
                  </a:lnTo>
                  <a:lnTo>
                    <a:pt x="186" y="228"/>
                  </a:lnTo>
                  <a:lnTo>
                    <a:pt x="192" y="234"/>
                  </a:lnTo>
                  <a:lnTo>
                    <a:pt x="198" y="234"/>
                  </a:lnTo>
                  <a:lnTo>
                    <a:pt x="204" y="240"/>
                  </a:lnTo>
                  <a:lnTo>
                    <a:pt x="210" y="240"/>
                  </a:lnTo>
                  <a:lnTo>
                    <a:pt x="216" y="240"/>
                  </a:lnTo>
                  <a:lnTo>
                    <a:pt x="222" y="240"/>
                  </a:lnTo>
                  <a:lnTo>
                    <a:pt x="228" y="246"/>
                  </a:lnTo>
                  <a:lnTo>
                    <a:pt x="234" y="246"/>
                  </a:lnTo>
                  <a:lnTo>
                    <a:pt x="240" y="246"/>
                  </a:lnTo>
                  <a:lnTo>
                    <a:pt x="252" y="252"/>
                  </a:lnTo>
                  <a:lnTo>
                    <a:pt x="330" y="246"/>
                  </a:lnTo>
                  <a:lnTo>
                    <a:pt x="360" y="228"/>
                  </a:lnTo>
                  <a:lnTo>
                    <a:pt x="396" y="228"/>
                  </a:lnTo>
                  <a:lnTo>
                    <a:pt x="402" y="240"/>
                  </a:lnTo>
                  <a:lnTo>
                    <a:pt x="432" y="240"/>
                  </a:lnTo>
                  <a:lnTo>
                    <a:pt x="450" y="258"/>
                  </a:lnTo>
                  <a:lnTo>
                    <a:pt x="468" y="258"/>
                  </a:lnTo>
                  <a:lnTo>
                    <a:pt x="474" y="294"/>
                  </a:lnTo>
                  <a:lnTo>
                    <a:pt x="558" y="318"/>
                  </a:lnTo>
                  <a:lnTo>
                    <a:pt x="588" y="318"/>
                  </a:lnTo>
                  <a:lnTo>
                    <a:pt x="588" y="312"/>
                  </a:lnTo>
                  <a:lnTo>
                    <a:pt x="594" y="306"/>
                  </a:lnTo>
                  <a:lnTo>
                    <a:pt x="600" y="306"/>
                  </a:lnTo>
                  <a:lnTo>
                    <a:pt x="612" y="300"/>
                  </a:lnTo>
                  <a:lnTo>
                    <a:pt x="618" y="300"/>
                  </a:lnTo>
                  <a:lnTo>
                    <a:pt x="630" y="300"/>
                  </a:lnTo>
                  <a:lnTo>
                    <a:pt x="642" y="306"/>
                  </a:lnTo>
                  <a:lnTo>
                    <a:pt x="660" y="306"/>
                  </a:lnTo>
                  <a:lnTo>
                    <a:pt x="666" y="306"/>
                  </a:lnTo>
                  <a:lnTo>
                    <a:pt x="672" y="306"/>
                  </a:lnTo>
                  <a:lnTo>
                    <a:pt x="684" y="300"/>
                  </a:lnTo>
                  <a:lnTo>
                    <a:pt x="696" y="294"/>
                  </a:lnTo>
                  <a:lnTo>
                    <a:pt x="702" y="288"/>
                  </a:lnTo>
                  <a:lnTo>
                    <a:pt x="714" y="282"/>
                  </a:lnTo>
                  <a:lnTo>
                    <a:pt x="714" y="288"/>
                  </a:lnTo>
                  <a:lnTo>
                    <a:pt x="726" y="300"/>
                  </a:lnTo>
                  <a:lnTo>
                    <a:pt x="732" y="306"/>
                  </a:lnTo>
                  <a:lnTo>
                    <a:pt x="732" y="318"/>
                  </a:lnTo>
                  <a:lnTo>
                    <a:pt x="732" y="330"/>
                  </a:lnTo>
                  <a:lnTo>
                    <a:pt x="726" y="342"/>
                  </a:lnTo>
                  <a:lnTo>
                    <a:pt x="720" y="354"/>
                  </a:lnTo>
                  <a:lnTo>
                    <a:pt x="720" y="360"/>
                  </a:lnTo>
                  <a:lnTo>
                    <a:pt x="714" y="372"/>
                  </a:lnTo>
                  <a:lnTo>
                    <a:pt x="714" y="378"/>
                  </a:lnTo>
                  <a:lnTo>
                    <a:pt x="714" y="408"/>
                  </a:lnTo>
                  <a:lnTo>
                    <a:pt x="708" y="420"/>
                  </a:lnTo>
                  <a:lnTo>
                    <a:pt x="714" y="432"/>
                  </a:lnTo>
                  <a:lnTo>
                    <a:pt x="708" y="450"/>
                  </a:lnTo>
                  <a:lnTo>
                    <a:pt x="708" y="468"/>
                  </a:lnTo>
                  <a:lnTo>
                    <a:pt x="696" y="480"/>
                  </a:lnTo>
                  <a:lnTo>
                    <a:pt x="684" y="486"/>
                  </a:lnTo>
                  <a:lnTo>
                    <a:pt x="672" y="492"/>
                  </a:lnTo>
                  <a:lnTo>
                    <a:pt x="660" y="498"/>
                  </a:lnTo>
                  <a:lnTo>
                    <a:pt x="654" y="510"/>
                  </a:lnTo>
                  <a:lnTo>
                    <a:pt x="648" y="516"/>
                  </a:lnTo>
                  <a:lnTo>
                    <a:pt x="642" y="522"/>
                  </a:lnTo>
                  <a:lnTo>
                    <a:pt x="630" y="522"/>
                  </a:lnTo>
                  <a:lnTo>
                    <a:pt x="624" y="528"/>
                  </a:lnTo>
                  <a:lnTo>
                    <a:pt x="618" y="540"/>
                  </a:lnTo>
                  <a:lnTo>
                    <a:pt x="618" y="558"/>
                  </a:lnTo>
                  <a:lnTo>
                    <a:pt x="612" y="576"/>
                  </a:lnTo>
                  <a:lnTo>
                    <a:pt x="612" y="684"/>
                  </a:lnTo>
                  <a:lnTo>
                    <a:pt x="618" y="696"/>
                  </a:lnTo>
                  <a:lnTo>
                    <a:pt x="636" y="696"/>
                  </a:lnTo>
                  <a:lnTo>
                    <a:pt x="636" y="720"/>
                  </a:lnTo>
                  <a:lnTo>
                    <a:pt x="636" y="732"/>
                  </a:lnTo>
                  <a:lnTo>
                    <a:pt x="618" y="750"/>
                  </a:lnTo>
                  <a:lnTo>
                    <a:pt x="606" y="762"/>
                  </a:lnTo>
                  <a:lnTo>
                    <a:pt x="600" y="774"/>
                  </a:lnTo>
                  <a:lnTo>
                    <a:pt x="594" y="798"/>
                  </a:lnTo>
                  <a:lnTo>
                    <a:pt x="606" y="798"/>
                  </a:lnTo>
                  <a:lnTo>
                    <a:pt x="660" y="792"/>
                  </a:lnTo>
                  <a:lnTo>
                    <a:pt x="696" y="798"/>
                  </a:lnTo>
                  <a:lnTo>
                    <a:pt x="720" y="798"/>
                  </a:lnTo>
                  <a:lnTo>
                    <a:pt x="720" y="786"/>
                  </a:lnTo>
                  <a:lnTo>
                    <a:pt x="720" y="774"/>
                  </a:lnTo>
                  <a:lnTo>
                    <a:pt x="702" y="762"/>
                  </a:lnTo>
                  <a:lnTo>
                    <a:pt x="702" y="750"/>
                  </a:lnTo>
                  <a:lnTo>
                    <a:pt x="702" y="726"/>
                  </a:lnTo>
                  <a:lnTo>
                    <a:pt x="714" y="714"/>
                  </a:lnTo>
                  <a:lnTo>
                    <a:pt x="720" y="702"/>
                  </a:lnTo>
                  <a:lnTo>
                    <a:pt x="720" y="696"/>
                  </a:lnTo>
                  <a:lnTo>
                    <a:pt x="744" y="690"/>
                  </a:lnTo>
                  <a:lnTo>
                    <a:pt x="744" y="696"/>
                  </a:lnTo>
                  <a:lnTo>
                    <a:pt x="756" y="696"/>
                  </a:lnTo>
                  <a:lnTo>
                    <a:pt x="762" y="690"/>
                  </a:lnTo>
                  <a:lnTo>
                    <a:pt x="768" y="690"/>
                  </a:lnTo>
                  <a:lnTo>
                    <a:pt x="774" y="696"/>
                  </a:lnTo>
                  <a:lnTo>
                    <a:pt x="780" y="696"/>
                  </a:lnTo>
                  <a:lnTo>
                    <a:pt x="786" y="696"/>
                  </a:lnTo>
                  <a:lnTo>
                    <a:pt x="804" y="684"/>
                  </a:lnTo>
                  <a:lnTo>
                    <a:pt x="810" y="684"/>
                  </a:lnTo>
                  <a:lnTo>
                    <a:pt x="810" y="654"/>
                  </a:lnTo>
                  <a:lnTo>
                    <a:pt x="816" y="588"/>
                  </a:lnTo>
                  <a:lnTo>
                    <a:pt x="804" y="582"/>
                  </a:lnTo>
                  <a:lnTo>
                    <a:pt x="798" y="552"/>
                  </a:lnTo>
                  <a:lnTo>
                    <a:pt x="798" y="480"/>
                  </a:lnTo>
                  <a:lnTo>
                    <a:pt x="780" y="468"/>
                  </a:lnTo>
                  <a:lnTo>
                    <a:pt x="780" y="462"/>
                  </a:lnTo>
                  <a:lnTo>
                    <a:pt x="774" y="450"/>
                  </a:lnTo>
                  <a:lnTo>
                    <a:pt x="762" y="444"/>
                  </a:lnTo>
                  <a:lnTo>
                    <a:pt x="762" y="438"/>
                  </a:lnTo>
                  <a:lnTo>
                    <a:pt x="768" y="432"/>
                  </a:lnTo>
                  <a:lnTo>
                    <a:pt x="774" y="426"/>
                  </a:lnTo>
                  <a:lnTo>
                    <a:pt x="780" y="426"/>
                  </a:lnTo>
                  <a:lnTo>
                    <a:pt x="780" y="414"/>
                  </a:lnTo>
                  <a:lnTo>
                    <a:pt x="834" y="414"/>
                  </a:lnTo>
                  <a:lnTo>
                    <a:pt x="834" y="426"/>
                  </a:lnTo>
                  <a:lnTo>
                    <a:pt x="840" y="432"/>
                  </a:lnTo>
                  <a:lnTo>
                    <a:pt x="846" y="432"/>
                  </a:lnTo>
                  <a:lnTo>
                    <a:pt x="852" y="432"/>
                  </a:lnTo>
                  <a:lnTo>
                    <a:pt x="858" y="432"/>
                  </a:lnTo>
                  <a:lnTo>
                    <a:pt x="870" y="432"/>
                  </a:lnTo>
                  <a:lnTo>
                    <a:pt x="870" y="426"/>
                  </a:lnTo>
                  <a:lnTo>
                    <a:pt x="870" y="420"/>
                  </a:lnTo>
                  <a:lnTo>
                    <a:pt x="876" y="420"/>
                  </a:lnTo>
                  <a:lnTo>
                    <a:pt x="882" y="420"/>
                  </a:lnTo>
                  <a:lnTo>
                    <a:pt x="894" y="414"/>
                  </a:lnTo>
                  <a:lnTo>
                    <a:pt x="900" y="414"/>
                  </a:lnTo>
                  <a:lnTo>
                    <a:pt x="906" y="408"/>
                  </a:lnTo>
                  <a:lnTo>
                    <a:pt x="918" y="408"/>
                  </a:lnTo>
                  <a:lnTo>
                    <a:pt x="924" y="402"/>
                  </a:lnTo>
                  <a:lnTo>
                    <a:pt x="930" y="384"/>
                  </a:lnTo>
                  <a:lnTo>
                    <a:pt x="948" y="396"/>
                  </a:lnTo>
                  <a:lnTo>
                    <a:pt x="954" y="384"/>
                  </a:lnTo>
                  <a:lnTo>
                    <a:pt x="960" y="384"/>
                  </a:lnTo>
                  <a:lnTo>
                    <a:pt x="972" y="384"/>
                  </a:lnTo>
                  <a:lnTo>
                    <a:pt x="978" y="378"/>
                  </a:lnTo>
                  <a:lnTo>
                    <a:pt x="972" y="366"/>
                  </a:lnTo>
                  <a:lnTo>
                    <a:pt x="966" y="342"/>
                  </a:lnTo>
                  <a:lnTo>
                    <a:pt x="960" y="330"/>
                  </a:lnTo>
                  <a:lnTo>
                    <a:pt x="942" y="324"/>
                  </a:lnTo>
                  <a:lnTo>
                    <a:pt x="936" y="318"/>
                  </a:lnTo>
                  <a:lnTo>
                    <a:pt x="936" y="294"/>
                  </a:lnTo>
                  <a:lnTo>
                    <a:pt x="942" y="294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282"/>
                  </a:lnTo>
                  <a:lnTo>
                    <a:pt x="954" y="276"/>
                  </a:lnTo>
                  <a:lnTo>
                    <a:pt x="960" y="276"/>
                  </a:lnTo>
                  <a:lnTo>
                    <a:pt x="966" y="276"/>
                  </a:lnTo>
                  <a:lnTo>
                    <a:pt x="960" y="258"/>
                  </a:lnTo>
                  <a:lnTo>
                    <a:pt x="954" y="240"/>
                  </a:lnTo>
                  <a:lnTo>
                    <a:pt x="948" y="204"/>
                  </a:lnTo>
                  <a:lnTo>
                    <a:pt x="954" y="204"/>
                  </a:lnTo>
                  <a:lnTo>
                    <a:pt x="960" y="198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00" y="186"/>
                  </a:lnTo>
                  <a:lnTo>
                    <a:pt x="876" y="180"/>
                  </a:lnTo>
                  <a:lnTo>
                    <a:pt x="858" y="180"/>
                  </a:lnTo>
                  <a:lnTo>
                    <a:pt x="852" y="168"/>
                  </a:lnTo>
                  <a:lnTo>
                    <a:pt x="834" y="156"/>
                  </a:lnTo>
                  <a:lnTo>
                    <a:pt x="822" y="156"/>
                  </a:lnTo>
                  <a:lnTo>
                    <a:pt x="804" y="156"/>
                  </a:lnTo>
                  <a:lnTo>
                    <a:pt x="804" y="150"/>
                  </a:lnTo>
                  <a:lnTo>
                    <a:pt x="792" y="144"/>
                  </a:lnTo>
                  <a:lnTo>
                    <a:pt x="762" y="138"/>
                  </a:lnTo>
                  <a:lnTo>
                    <a:pt x="768" y="120"/>
                  </a:lnTo>
                  <a:lnTo>
                    <a:pt x="756" y="120"/>
                  </a:lnTo>
                  <a:lnTo>
                    <a:pt x="744" y="108"/>
                  </a:lnTo>
                  <a:lnTo>
                    <a:pt x="744" y="96"/>
                  </a:lnTo>
                  <a:lnTo>
                    <a:pt x="762" y="84"/>
                  </a:lnTo>
                  <a:lnTo>
                    <a:pt x="768" y="84"/>
                  </a:lnTo>
                  <a:lnTo>
                    <a:pt x="768" y="72"/>
                  </a:lnTo>
                  <a:lnTo>
                    <a:pt x="780" y="66"/>
                  </a:lnTo>
                  <a:lnTo>
                    <a:pt x="798" y="54"/>
                  </a:lnTo>
                  <a:lnTo>
                    <a:pt x="792" y="54"/>
                  </a:lnTo>
                  <a:lnTo>
                    <a:pt x="798" y="36"/>
                  </a:lnTo>
                  <a:lnTo>
                    <a:pt x="804" y="36"/>
                  </a:lnTo>
                  <a:lnTo>
                    <a:pt x="816" y="30"/>
                  </a:lnTo>
                  <a:lnTo>
                    <a:pt x="828" y="30"/>
                  </a:lnTo>
                  <a:lnTo>
                    <a:pt x="846" y="12"/>
                  </a:lnTo>
                  <a:lnTo>
                    <a:pt x="876" y="0"/>
                  </a:lnTo>
                  <a:lnTo>
                    <a:pt x="882" y="6"/>
                  </a:lnTo>
                  <a:lnTo>
                    <a:pt x="900" y="6"/>
                  </a:lnTo>
                  <a:lnTo>
                    <a:pt x="912" y="36"/>
                  </a:lnTo>
                  <a:lnTo>
                    <a:pt x="918" y="42"/>
                  </a:lnTo>
                  <a:lnTo>
                    <a:pt x="924" y="54"/>
                  </a:lnTo>
                  <a:lnTo>
                    <a:pt x="930" y="54"/>
                  </a:lnTo>
                  <a:lnTo>
                    <a:pt x="930" y="78"/>
                  </a:lnTo>
                  <a:lnTo>
                    <a:pt x="954" y="72"/>
                  </a:lnTo>
                  <a:lnTo>
                    <a:pt x="954" y="60"/>
                  </a:lnTo>
                  <a:lnTo>
                    <a:pt x="966" y="66"/>
                  </a:lnTo>
                  <a:lnTo>
                    <a:pt x="966" y="78"/>
                  </a:lnTo>
                  <a:lnTo>
                    <a:pt x="960" y="84"/>
                  </a:lnTo>
                  <a:lnTo>
                    <a:pt x="954" y="102"/>
                  </a:lnTo>
                  <a:lnTo>
                    <a:pt x="972" y="102"/>
                  </a:lnTo>
                  <a:lnTo>
                    <a:pt x="978" y="84"/>
                  </a:lnTo>
                  <a:lnTo>
                    <a:pt x="984" y="72"/>
                  </a:lnTo>
                  <a:lnTo>
                    <a:pt x="990" y="72"/>
                  </a:lnTo>
                  <a:lnTo>
                    <a:pt x="996" y="18"/>
                  </a:lnTo>
                  <a:lnTo>
                    <a:pt x="990" y="12"/>
                  </a:lnTo>
                  <a:lnTo>
                    <a:pt x="1014" y="12"/>
                  </a:lnTo>
                  <a:lnTo>
                    <a:pt x="1026" y="12"/>
                  </a:lnTo>
                  <a:lnTo>
                    <a:pt x="1026" y="24"/>
                  </a:lnTo>
                  <a:lnTo>
                    <a:pt x="1050" y="24"/>
                  </a:lnTo>
                  <a:lnTo>
                    <a:pt x="1050" y="36"/>
                  </a:lnTo>
                  <a:lnTo>
                    <a:pt x="1062" y="66"/>
                  </a:lnTo>
                  <a:lnTo>
                    <a:pt x="1074" y="66"/>
                  </a:lnTo>
                  <a:lnTo>
                    <a:pt x="1080" y="60"/>
                  </a:lnTo>
                  <a:lnTo>
                    <a:pt x="1074" y="24"/>
                  </a:lnTo>
                  <a:lnTo>
                    <a:pt x="1086" y="18"/>
                  </a:lnTo>
                  <a:lnTo>
                    <a:pt x="1086" y="12"/>
                  </a:lnTo>
                  <a:lnTo>
                    <a:pt x="1104" y="6"/>
                  </a:lnTo>
                  <a:lnTo>
                    <a:pt x="1122" y="0"/>
                  </a:lnTo>
                  <a:lnTo>
                    <a:pt x="1134" y="6"/>
                  </a:lnTo>
                  <a:lnTo>
                    <a:pt x="1134" y="42"/>
                  </a:lnTo>
                  <a:lnTo>
                    <a:pt x="1140" y="72"/>
                  </a:lnTo>
                  <a:lnTo>
                    <a:pt x="1158" y="114"/>
                  </a:lnTo>
                  <a:lnTo>
                    <a:pt x="1170" y="114"/>
                  </a:lnTo>
                  <a:lnTo>
                    <a:pt x="1170" y="126"/>
                  </a:lnTo>
                  <a:lnTo>
                    <a:pt x="1182" y="126"/>
                  </a:lnTo>
                  <a:lnTo>
                    <a:pt x="1182" y="138"/>
                  </a:lnTo>
                  <a:lnTo>
                    <a:pt x="1194" y="144"/>
                  </a:lnTo>
                  <a:lnTo>
                    <a:pt x="1194" y="156"/>
                  </a:lnTo>
                  <a:lnTo>
                    <a:pt x="1188" y="156"/>
                  </a:lnTo>
                  <a:lnTo>
                    <a:pt x="1194" y="162"/>
                  </a:lnTo>
                  <a:lnTo>
                    <a:pt x="1194" y="168"/>
                  </a:lnTo>
                  <a:lnTo>
                    <a:pt x="1188" y="168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82" y="180"/>
                  </a:lnTo>
                  <a:lnTo>
                    <a:pt x="1188" y="186"/>
                  </a:lnTo>
                  <a:lnTo>
                    <a:pt x="1188" y="192"/>
                  </a:lnTo>
                  <a:lnTo>
                    <a:pt x="1182" y="198"/>
                  </a:lnTo>
                  <a:lnTo>
                    <a:pt x="1182" y="204"/>
                  </a:lnTo>
                  <a:lnTo>
                    <a:pt x="1182" y="210"/>
                  </a:lnTo>
                  <a:lnTo>
                    <a:pt x="1188" y="210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2"/>
                  </a:lnTo>
                  <a:lnTo>
                    <a:pt x="1194" y="264"/>
                  </a:lnTo>
                  <a:lnTo>
                    <a:pt x="1200" y="264"/>
                  </a:lnTo>
                  <a:lnTo>
                    <a:pt x="1212" y="264"/>
                  </a:lnTo>
                  <a:lnTo>
                    <a:pt x="1212" y="258"/>
                  </a:lnTo>
                  <a:lnTo>
                    <a:pt x="1224" y="258"/>
                  </a:lnTo>
                  <a:lnTo>
                    <a:pt x="1248" y="252"/>
                  </a:lnTo>
                  <a:lnTo>
                    <a:pt x="1248" y="264"/>
                  </a:lnTo>
                  <a:lnTo>
                    <a:pt x="1254" y="264"/>
                  </a:lnTo>
                  <a:lnTo>
                    <a:pt x="1254" y="270"/>
                  </a:lnTo>
                  <a:lnTo>
                    <a:pt x="1260" y="270"/>
                  </a:lnTo>
                  <a:lnTo>
                    <a:pt x="1266" y="270"/>
                  </a:lnTo>
                  <a:lnTo>
                    <a:pt x="1272" y="270"/>
                  </a:lnTo>
                  <a:lnTo>
                    <a:pt x="1272" y="264"/>
                  </a:lnTo>
                  <a:lnTo>
                    <a:pt x="1272" y="258"/>
                  </a:lnTo>
                  <a:lnTo>
                    <a:pt x="1278" y="258"/>
                  </a:lnTo>
                  <a:lnTo>
                    <a:pt x="1278" y="252"/>
                  </a:lnTo>
                  <a:lnTo>
                    <a:pt x="1290" y="252"/>
                  </a:lnTo>
                  <a:lnTo>
                    <a:pt x="1296" y="246"/>
                  </a:lnTo>
                  <a:lnTo>
                    <a:pt x="1308" y="246"/>
                  </a:lnTo>
                  <a:lnTo>
                    <a:pt x="1308" y="240"/>
                  </a:lnTo>
                  <a:lnTo>
                    <a:pt x="1320" y="240"/>
                  </a:lnTo>
                  <a:lnTo>
                    <a:pt x="1326" y="246"/>
                  </a:lnTo>
                  <a:lnTo>
                    <a:pt x="1338" y="246"/>
                  </a:lnTo>
                  <a:lnTo>
                    <a:pt x="1338" y="240"/>
                  </a:lnTo>
                  <a:lnTo>
                    <a:pt x="1350" y="240"/>
                  </a:lnTo>
                  <a:lnTo>
                    <a:pt x="1386" y="234"/>
                  </a:lnTo>
                  <a:lnTo>
                    <a:pt x="1398" y="228"/>
                  </a:lnTo>
                  <a:lnTo>
                    <a:pt x="1404" y="216"/>
                  </a:lnTo>
                  <a:lnTo>
                    <a:pt x="1416" y="204"/>
                  </a:lnTo>
                  <a:lnTo>
                    <a:pt x="1434" y="192"/>
                  </a:lnTo>
                  <a:lnTo>
                    <a:pt x="1446" y="198"/>
                  </a:lnTo>
                  <a:lnTo>
                    <a:pt x="1446" y="204"/>
                  </a:lnTo>
                  <a:lnTo>
                    <a:pt x="1452" y="210"/>
                  </a:lnTo>
                  <a:lnTo>
                    <a:pt x="1464" y="222"/>
                  </a:lnTo>
                  <a:lnTo>
                    <a:pt x="1464" y="228"/>
                  </a:lnTo>
                  <a:lnTo>
                    <a:pt x="1464" y="234"/>
                  </a:lnTo>
                  <a:lnTo>
                    <a:pt x="1470" y="240"/>
                  </a:lnTo>
                  <a:lnTo>
                    <a:pt x="1476" y="228"/>
                  </a:lnTo>
                  <a:lnTo>
                    <a:pt x="1476" y="222"/>
                  </a:lnTo>
                  <a:lnTo>
                    <a:pt x="1482" y="210"/>
                  </a:lnTo>
                  <a:lnTo>
                    <a:pt x="1488" y="192"/>
                  </a:lnTo>
                  <a:lnTo>
                    <a:pt x="1488" y="186"/>
                  </a:lnTo>
                  <a:lnTo>
                    <a:pt x="1488" y="180"/>
                  </a:lnTo>
                  <a:lnTo>
                    <a:pt x="1500" y="180"/>
                  </a:lnTo>
                  <a:lnTo>
                    <a:pt x="1500" y="174"/>
                  </a:lnTo>
                  <a:lnTo>
                    <a:pt x="1518" y="162"/>
                  </a:lnTo>
                  <a:lnTo>
                    <a:pt x="1536" y="150"/>
                  </a:lnTo>
                  <a:lnTo>
                    <a:pt x="1554" y="168"/>
                  </a:lnTo>
                  <a:lnTo>
                    <a:pt x="1572" y="180"/>
                  </a:lnTo>
                  <a:lnTo>
                    <a:pt x="1596" y="216"/>
                  </a:lnTo>
                  <a:lnTo>
                    <a:pt x="1602" y="216"/>
                  </a:lnTo>
                  <a:lnTo>
                    <a:pt x="1614" y="228"/>
                  </a:lnTo>
                  <a:lnTo>
                    <a:pt x="1614" y="234"/>
                  </a:lnTo>
                  <a:lnTo>
                    <a:pt x="1620" y="240"/>
                  </a:lnTo>
                  <a:lnTo>
                    <a:pt x="1620" y="246"/>
                  </a:lnTo>
                  <a:lnTo>
                    <a:pt x="1626" y="252"/>
                  </a:lnTo>
                  <a:lnTo>
                    <a:pt x="1632" y="258"/>
                  </a:lnTo>
                  <a:lnTo>
                    <a:pt x="1632" y="264"/>
                  </a:lnTo>
                  <a:lnTo>
                    <a:pt x="1638" y="264"/>
                  </a:lnTo>
                  <a:lnTo>
                    <a:pt x="1638" y="270"/>
                  </a:lnTo>
                  <a:lnTo>
                    <a:pt x="1638" y="276"/>
                  </a:lnTo>
                  <a:lnTo>
                    <a:pt x="1638" y="282"/>
                  </a:lnTo>
                  <a:lnTo>
                    <a:pt x="1644" y="288"/>
                  </a:lnTo>
                  <a:lnTo>
                    <a:pt x="1644" y="294"/>
                  </a:lnTo>
                  <a:lnTo>
                    <a:pt x="1644" y="300"/>
                  </a:lnTo>
                  <a:lnTo>
                    <a:pt x="1644" y="306"/>
                  </a:lnTo>
                  <a:lnTo>
                    <a:pt x="1650" y="306"/>
                  </a:lnTo>
                  <a:lnTo>
                    <a:pt x="1650" y="312"/>
                  </a:lnTo>
                  <a:lnTo>
                    <a:pt x="1650" y="318"/>
                  </a:lnTo>
                  <a:lnTo>
                    <a:pt x="1650" y="324"/>
                  </a:lnTo>
                  <a:lnTo>
                    <a:pt x="1644" y="330"/>
                  </a:lnTo>
                  <a:lnTo>
                    <a:pt x="1626" y="330"/>
                  </a:lnTo>
                  <a:lnTo>
                    <a:pt x="1626" y="336"/>
                  </a:lnTo>
                  <a:lnTo>
                    <a:pt x="1626" y="342"/>
                  </a:lnTo>
                  <a:lnTo>
                    <a:pt x="1626" y="348"/>
                  </a:lnTo>
                  <a:lnTo>
                    <a:pt x="1620" y="354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14" y="390"/>
                  </a:lnTo>
                  <a:lnTo>
                    <a:pt x="1614" y="396"/>
                  </a:lnTo>
                  <a:lnTo>
                    <a:pt x="1614" y="402"/>
                  </a:lnTo>
                  <a:lnTo>
                    <a:pt x="1614" y="408"/>
                  </a:lnTo>
                  <a:lnTo>
                    <a:pt x="1614" y="414"/>
                  </a:lnTo>
                  <a:lnTo>
                    <a:pt x="1602" y="420"/>
                  </a:lnTo>
                  <a:lnTo>
                    <a:pt x="1602" y="426"/>
                  </a:lnTo>
                  <a:lnTo>
                    <a:pt x="1608" y="432"/>
                  </a:lnTo>
                  <a:lnTo>
                    <a:pt x="1614" y="426"/>
                  </a:lnTo>
                  <a:lnTo>
                    <a:pt x="1620" y="438"/>
                  </a:lnTo>
                  <a:lnTo>
                    <a:pt x="1626" y="438"/>
                  </a:lnTo>
                  <a:lnTo>
                    <a:pt x="1632" y="444"/>
                  </a:lnTo>
                  <a:lnTo>
                    <a:pt x="1626" y="456"/>
                  </a:lnTo>
                  <a:lnTo>
                    <a:pt x="1626" y="468"/>
                  </a:lnTo>
                  <a:lnTo>
                    <a:pt x="1620" y="474"/>
                  </a:lnTo>
                  <a:lnTo>
                    <a:pt x="1614" y="474"/>
                  </a:lnTo>
                  <a:lnTo>
                    <a:pt x="1614" y="486"/>
                  </a:lnTo>
                  <a:lnTo>
                    <a:pt x="1614" y="492"/>
                  </a:lnTo>
                  <a:lnTo>
                    <a:pt x="1620" y="492"/>
                  </a:lnTo>
                  <a:lnTo>
                    <a:pt x="1626" y="498"/>
                  </a:lnTo>
                  <a:lnTo>
                    <a:pt x="1626" y="504"/>
                  </a:lnTo>
                  <a:lnTo>
                    <a:pt x="1626" y="510"/>
                  </a:lnTo>
                  <a:lnTo>
                    <a:pt x="1620" y="516"/>
                  </a:lnTo>
                  <a:lnTo>
                    <a:pt x="1620" y="522"/>
                  </a:lnTo>
                  <a:lnTo>
                    <a:pt x="1614" y="522"/>
                  </a:lnTo>
                  <a:lnTo>
                    <a:pt x="1608" y="528"/>
                  </a:lnTo>
                  <a:lnTo>
                    <a:pt x="1602" y="522"/>
                  </a:lnTo>
                  <a:lnTo>
                    <a:pt x="1602" y="528"/>
                  </a:lnTo>
                  <a:lnTo>
                    <a:pt x="1602" y="540"/>
                  </a:lnTo>
                  <a:lnTo>
                    <a:pt x="1602" y="558"/>
                  </a:lnTo>
                  <a:lnTo>
                    <a:pt x="1602" y="564"/>
                  </a:lnTo>
                  <a:lnTo>
                    <a:pt x="1602" y="570"/>
                  </a:lnTo>
                  <a:lnTo>
                    <a:pt x="1602" y="576"/>
                  </a:lnTo>
                  <a:lnTo>
                    <a:pt x="1596" y="576"/>
                  </a:lnTo>
                  <a:lnTo>
                    <a:pt x="1632" y="582"/>
                  </a:lnTo>
                  <a:lnTo>
                    <a:pt x="1644" y="618"/>
                  </a:lnTo>
                  <a:lnTo>
                    <a:pt x="1650" y="648"/>
                  </a:lnTo>
                  <a:lnTo>
                    <a:pt x="1662" y="636"/>
                  </a:lnTo>
                  <a:lnTo>
                    <a:pt x="1668" y="636"/>
                  </a:lnTo>
                  <a:lnTo>
                    <a:pt x="1674" y="636"/>
                  </a:lnTo>
                  <a:lnTo>
                    <a:pt x="1680" y="630"/>
                  </a:lnTo>
                  <a:lnTo>
                    <a:pt x="1686" y="630"/>
                  </a:lnTo>
                  <a:lnTo>
                    <a:pt x="1692" y="630"/>
                  </a:lnTo>
                  <a:lnTo>
                    <a:pt x="1698" y="630"/>
                  </a:lnTo>
                  <a:lnTo>
                    <a:pt x="1704" y="630"/>
                  </a:lnTo>
                  <a:lnTo>
                    <a:pt x="1704" y="624"/>
                  </a:lnTo>
                  <a:lnTo>
                    <a:pt x="1710" y="624"/>
                  </a:lnTo>
                  <a:lnTo>
                    <a:pt x="1716" y="624"/>
                  </a:lnTo>
                  <a:lnTo>
                    <a:pt x="1722" y="624"/>
                  </a:lnTo>
                  <a:lnTo>
                    <a:pt x="1728" y="624"/>
                  </a:lnTo>
                  <a:lnTo>
                    <a:pt x="1722" y="618"/>
                  </a:lnTo>
                  <a:lnTo>
                    <a:pt x="1728" y="606"/>
                  </a:lnTo>
                  <a:lnTo>
                    <a:pt x="1734" y="606"/>
                  </a:lnTo>
                  <a:lnTo>
                    <a:pt x="1740" y="600"/>
                  </a:lnTo>
                  <a:lnTo>
                    <a:pt x="1746" y="594"/>
                  </a:lnTo>
                  <a:lnTo>
                    <a:pt x="1752" y="588"/>
                  </a:lnTo>
                  <a:lnTo>
                    <a:pt x="1752" y="582"/>
                  </a:lnTo>
                  <a:lnTo>
                    <a:pt x="1758" y="576"/>
                  </a:lnTo>
                  <a:lnTo>
                    <a:pt x="1764" y="576"/>
                  </a:lnTo>
                  <a:lnTo>
                    <a:pt x="1770" y="570"/>
                  </a:lnTo>
                  <a:lnTo>
                    <a:pt x="1776" y="564"/>
                  </a:lnTo>
                  <a:lnTo>
                    <a:pt x="1788" y="558"/>
                  </a:lnTo>
                  <a:lnTo>
                    <a:pt x="1788" y="546"/>
                  </a:lnTo>
                  <a:lnTo>
                    <a:pt x="1788" y="540"/>
                  </a:lnTo>
                  <a:lnTo>
                    <a:pt x="1794" y="540"/>
                  </a:lnTo>
                  <a:lnTo>
                    <a:pt x="1788" y="534"/>
                  </a:lnTo>
                  <a:lnTo>
                    <a:pt x="1788" y="528"/>
                  </a:lnTo>
                  <a:lnTo>
                    <a:pt x="1794" y="516"/>
                  </a:lnTo>
                  <a:lnTo>
                    <a:pt x="1800" y="510"/>
                  </a:lnTo>
                  <a:lnTo>
                    <a:pt x="1812" y="510"/>
                  </a:lnTo>
                  <a:lnTo>
                    <a:pt x="1818" y="504"/>
                  </a:lnTo>
                  <a:lnTo>
                    <a:pt x="1824" y="504"/>
                  </a:lnTo>
                  <a:lnTo>
                    <a:pt x="1830" y="498"/>
                  </a:lnTo>
                  <a:lnTo>
                    <a:pt x="1836" y="498"/>
                  </a:lnTo>
                  <a:lnTo>
                    <a:pt x="1848" y="492"/>
                  </a:lnTo>
                  <a:lnTo>
                    <a:pt x="1848" y="480"/>
                  </a:lnTo>
                  <a:lnTo>
                    <a:pt x="1854" y="480"/>
                  </a:lnTo>
                  <a:lnTo>
                    <a:pt x="1890" y="504"/>
                  </a:lnTo>
                  <a:lnTo>
                    <a:pt x="1908" y="534"/>
                  </a:lnTo>
                  <a:lnTo>
                    <a:pt x="1902" y="534"/>
                  </a:lnTo>
                  <a:lnTo>
                    <a:pt x="1920" y="528"/>
                  </a:lnTo>
                  <a:lnTo>
                    <a:pt x="1920" y="516"/>
                  </a:lnTo>
                  <a:lnTo>
                    <a:pt x="1944" y="516"/>
                  </a:lnTo>
                  <a:lnTo>
                    <a:pt x="2004" y="516"/>
                  </a:lnTo>
                  <a:lnTo>
                    <a:pt x="2010" y="510"/>
                  </a:lnTo>
                  <a:lnTo>
                    <a:pt x="2004" y="510"/>
                  </a:lnTo>
                  <a:lnTo>
                    <a:pt x="2010" y="498"/>
                  </a:lnTo>
                  <a:lnTo>
                    <a:pt x="2004" y="486"/>
                  </a:lnTo>
                  <a:lnTo>
                    <a:pt x="2004" y="480"/>
                  </a:lnTo>
                  <a:lnTo>
                    <a:pt x="2004" y="474"/>
                  </a:lnTo>
                  <a:lnTo>
                    <a:pt x="2004" y="462"/>
                  </a:lnTo>
                  <a:lnTo>
                    <a:pt x="2004" y="456"/>
                  </a:lnTo>
                  <a:lnTo>
                    <a:pt x="2058" y="462"/>
                  </a:lnTo>
                  <a:lnTo>
                    <a:pt x="2076" y="474"/>
                  </a:lnTo>
                  <a:lnTo>
                    <a:pt x="2082" y="522"/>
                  </a:lnTo>
                  <a:lnTo>
                    <a:pt x="2088" y="516"/>
                  </a:lnTo>
                  <a:lnTo>
                    <a:pt x="2094" y="522"/>
                  </a:lnTo>
                  <a:lnTo>
                    <a:pt x="2100" y="528"/>
                  </a:lnTo>
                  <a:lnTo>
                    <a:pt x="2130" y="540"/>
                  </a:lnTo>
                  <a:lnTo>
                    <a:pt x="2160" y="564"/>
                  </a:lnTo>
                  <a:lnTo>
                    <a:pt x="2166" y="600"/>
                  </a:lnTo>
                  <a:lnTo>
                    <a:pt x="2160" y="618"/>
                  </a:lnTo>
                  <a:lnTo>
                    <a:pt x="2142" y="636"/>
                  </a:lnTo>
                  <a:lnTo>
                    <a:pt x="2148" y="648"/>
                  </a:lnTo>
                  <a:lnTo>
                    <a:pt x="2154" y="660"/>
                  </a:lnTo>
                  <a:lnTo>
                    <a:pt x="2196" y="654"/>
                  </a:lnTo>
                  <a:lnTo>
                    <a:pt x="2214" y="660"/>
                  </a:lnTo>
                  <a:lnTo>
                    <a:pt x="2214" y="666"/>
                  </a:lnTo>
                  <a:lnTo>
                    <a:pt x="2220" y="672"/>
                  </a:lnTo>
                  <a:lnTo>
                    <a:pt x="2214" y="678"/>
                  </a:lnTo>
                  <a:lnTo>
                    <a:pt x="2214" y="684"/>
                  </a:lnTo>
                  <a:lnTo>
                    <a:pt x="2214" y="690"/>
                  </a:lnTo>
                  <a:lnTo>
                    <a:pt x="2208" y="690"/>
                  </a:lnTo>
                  <a:lnTo>
                    <a:pt x="2202" y="696"/>
                  </a:lnTo>
                  <a:lnTo>
                    <a:pt x="2196" y="702"/>
                  </a:lnTo>
                  <a:lnTo>
                    <a:pt x="2190" y="708"/>
                  </a:lnTo>
                  <a:lnTo>
                    <a:pt x="2190" y="720"/>
                  </a:lnTo>
                  <a:lnTo>
                    <a:pt x="2184" y="720"/>
                  </a:lnTo>
                  <a:lnTo>
                    <a:pt x="2178" y="726"/>
                  </a:lnTo>
                  <a:lnTo>
                    <a:pt x="2166" y="732"/>
                  </a:lnTo>
                  <a:lnTo>
                    <a:pt x="2160" y="744"/>
                  </a:lnTo>
                  <a:lnTo>
                    <a:pt x="2154" y="756"/>
                  </a:lnTo>
                  <a:lnTo>
                    <a:pt x="2148" y="762"/>
                  </a:lnTo>
                  <a:lnTo>
                    <a:pt x="2124" y="762"/>
                  </a:lnTo>
                  <a:lnTo>
                    <a:pt x="2124" y="768"/>
                  </a:lnTo>
                  <a:lnTo>
                    <a:pt x="2118" y="768"/>
                  </a:lnTo>
                  <a:lnTo>
                    <a:pt x="2124" y="774"/>
                  </a:lnTo>
                  <a:lnTo>
                    <a:pt x="2118" y="774"/>
                  </a:lnTo>
                  <a:lnTo>
                    <a:pt x="2112" y="774"/>
                  </a:lnTo>
                  <a:lnTo>
                    <a:pt x="2106" y="780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06" y="798"/>
                  </a:lnTo>
                  <a:lnTo>
                    <a:pt x="2106" y="810"/>
                  </a:lnTo>
                  <a:lnTo>
                    <a:pt x="2112" y="828"/>
                  </a:lnTo>
                  <a:lnTo>
                    <a:pt x="2112" y="834"/>
                  </a:lnTo>
                  <a:lnTo>
                    <a:pt x="2112" y="840"/>
                  </a:lnTo>
                  <a:lnTo>
                    <a:pt x="2112" y="834"/>
                  </a:lnTo>
                  <a:lnTo>
                    <a:pt x="2124" y="834"/>
                  </a:lnTo>
                  <a:lnTo>
                    <a:pt x="2130" y="834"/>
                  </a:lnTo>
                  <a:lnTo>
                    <a:pt x="2136" y="840"/>
                  </a:lnTo>
                  <a:lnTo>
                    <a:pt x="2142" y="840"/>
                  </a:lnTo>
                  <a:lnTo>
                    <a:pt x="2154" y="852"/>
                  </a:lnTo>
                  <a:lnTo>
                    <a:pt x="2160" y="852"/>
                  </a:lnTo>
                  <a:lnTo>
                    <a:pt x="2172" y="846"/>
                  </a:lnTo>
                  <a:lnTo>
                    <a:pt x="2178" y="846"/>
                  </a:lnTo>
                  <a:lnTo>
                    <a:pt x="2184" y="846"/>
                  </a:lnTo>
                  <a:lnTo>
                    <a:pt x="2190" y="846"/>
                  </a:lnTo>
                  <a:lnTo>
                    <a:pt x="2196" y="852"/>
                  </a:lnTo>
                  <a:lnTo>
                    <a:pt x="2196" y="858"/>
                  </a:lnTo>
                  <a:lnTo>
                    <a:pt x="2202" y="852"/>
                  </a:lnTo>
                  <a:lnTo>
                    <a:pt x="2208" y="846"/>
                  </a:lnTo>
                  <a:lnTo>
                    <a:pt x="2214" y="846"/>
                  </a:lnTo>
                  <a:lnTo>
                    <a:pt x="2226" y="846"/>
                  </a:lnTo>
                  <a:lnTo>
                    <a:pt x="2232" y="852"/>
                  </a:lnTo>
                  <a:lnTo>
                    <a:pt x="2238" y="852"/>
                  </a:lnTo>
                  <a:lnTo>
                    <a:pt x="2244" y="858"/>
                  </a:lnTo>
                  <a:lnTo>
                    <a:pt x="2250" y="858"/>
                  </a:lnTo>
                  <a:lnTo>
                    <a:pt x="2256" y="858"/>
                  </a:lnTo>
                  <a:lnTo>
                    <a:pt x="2262" y="858"/>
                  </a:lnTo>
                  <a:lnTo>
                    <a:pt x="2268" y="852"/>
                  </a:lnTo>
                  <a:lnTo>
                    <a:pt x="2274" y="852"/>
                  </a:lnTo>
                  <a:lnTo>
                    <a:pt x="2280" y="852"/>
                  </a:lnTo>
                  <a:lnTo>
                    <a:pt x="2286" y="852"/>
                  </a:lnTo>
                  <a:lnTo>
                    <a:pt x="2298" y="858"/>
                  </a:lnTo>
                  <a:lnTo>
                    <a:pt x="2304" y="858"/>
                  </a:lnTo>
                  <a:lnTo>
                    <a:pt x="2310" y="858"/>
                  </a:lnTo>
                  <a:lnTo>
                    <a:pt x="2316" y="852"/>
                  </a:lnTo>
                  <a:lnTo>
                    <a:pt x="2322" y="858"/>
                  </a:lnTo>
                  <a:lnTo>
                    <a:pt x="2328" y="858"/>
                  </a:lnTo>
                  <a:lnTo>
                    <a:pt x="2328" y="852"/>
                  </a:lnTo>
                  <a:lnTo>
                    <a:pt x="2364" y="858"/>
                  </a:lnTo>
                  <a:lnTo>
                    <a:pt x="2376" y="876"/>
                  </a:lnTo>
                  <a:lnTo>
                    <a:pt x="2382" y="936"/>
                  </a:lnTo>
                  <a:lnTo>
                    <a:pt x="2388" y="966"/>
                  </a:lnTo>
                  <a:lnTo>
                    <a:pt x="2382" y="972"/>
                  </a:lnTo>
                  <a:lnTo>
                    <a:pt x="2382" y="978"/>
                  </a:lnTo>
                  <a:lnTo>
                    <a:pt x="2382" y="984"/>
                  </a:lnTo>
                  <a:lnTo>
                    <a:pt x="2388" y="990"/>
                  </a:lnTo>
                  <a:lnTo>
                    <a:pt x="2382" y="990"/>
                  </a:lnTo>
                  <a:lnTo>
                    <a:pt x="2382" y="996"/>
                  </a:lnTo>
                  <a:lnTo>
                    <a:pt x="2376" y="996"/>
                  </a:lnTo>
                  <a:lnTo>
                    <a:pt x="2376" y="1020"/>
                  </a:lnTo>
                  <a:lnTo>
                    <a:pt x="2370" y="1032"/>
                  </a:lnTo>
                  <a:lnTo>
                    <a:pt x="2352" y="1032"/>
                  </a:lnTo>
                  <a:lnTo>
                    <a:pt x="2346" y="1020"/>
                  </a:lnTo>
                  <a:lnTo>
                    <a:pt x="2328" y="1032"/>
                  </a:lnTo>
                  <a:lnTo>
                    <a:pt x="2316" y="1038"/>
                  </a:lnTo>
                  <a:lnTo>
                    <a:pt x="2328" y="1044"/>
                  </a:lnTo>
                  <a:lnTo>
                    <a:pt x="2340" y="1056"/>
                  </a:lnTo>
                  <a:lnTo>
                    <a:pt x="2376" y="1062"/>
                  </a:lnTo>
                  <a:lnTo>
                    <a:pt x="2376" y="1068"/>
                  </a:lnTo>
                  <a:lnTo>
                    <a:pt x="2382" y="1086"/>
                  </a:lnTo>
                  <a:lnTo>
                    <a:pt x="2376" y="1086"/>
                  </a:lnTo>
                  <a:lnTo>
                    <a:pt x="2370" y="1086"/>
                  </a:lnTo>
                  <a:lnTo>
                    <a:pt x="2364" y="1086"/>
                  </a:lnTo>
                  <a:lnTo>
                    <a:pt x="2364" y="1098"/>
                  </a:lnTo>
                  <a:lnTo>
                    <a:pt x="2388" y="1104"/>
                  </a:lnTo>
                  <a:lnTo>
                    <a:pt x="2400" y="1122"/>
                  </a:lnTo>
                  <a:lnTo>
                    <a:pt x="2400" y="1134"/>
                  </a:lnTo>
                  <a:lnTo>
                    <a:pt x="2400" y="1146"/>
                  </a:lnTo>
                  <a:lnTo>
                    <a:pt x="2394" y="1146"/>
                  </a:lnTo>
                  <a:lnTo>
                    <a:pt x="2394" y="1152"/>
                  </a:lnTo>
                  <a:lnTo>
                    <a:pt x="2388" y="1152"/>
                  </a:lnTo>
                  <a:lnTo>
                    <a:pt x="2388" y="1146"/>
                  </a:lnTo>
                  <a:lnTo>
                    <a:pt x="2382" y="1152"/>
                  </a:lnTo>
                  <a:lnTo>
                    <a:pt x="2376" y="1152"/>
                  </a:lnTo>
                  <a:lnTo>
                    <a:pt x="2370" y="1158"/>
                  </a:lnTo>
                  <a:lnTo>
                    <a:pt x="2370" y="1164"/>
                  </a:lnTo>
                  <a:lnTo>
                    <a:pt x="2364" y="1170"/>
                  </a:lnTo>
                  <a:lnTo>
                    <a:pt x="2370" y="1170"/>
                  </a:lnTo>
                  <a:lnTo>
                    <a:pt x="2376" y="1170"/>
                  </a:lnTo>
                  <a:lnTo>
                    <a:pt x="2370" y="1176"/>
                  </a:lnTo>
                  <a:lnTo>
                    <a:pt x="2364" y="1176"/>
                  </a:lnTo>
                  <a:lnTo>
                    <a:pt x="2358" y="1182"/>
                  </a:lnTo>
                  <a:lnTo>
                    <a:pt x="2352" y="1182"/>
                  </a:lnTo>
                  <a:lnTo>
                    <a:pt x="2346" y="1188"/>
                  </a:lnTo>
                  <a:lnTo>
                    <a:pt x="2340" y="1182"/>
                  </a:lnTo>
                  <a:lnTo>
                    <a:pt x="2334" y="1182"/>
                  </a:lnTo>
                  <a:lnTo>
                    <a:pt x="2334" y="1188"/>
                  </a:lnTo>
                  <a:lnTo>
                    <a:pt x="2328" y="1194"/>
                  </a:lnTo>
                  <a:lnTo>
                    <a:pt x="2328" y="1200"/>
                  </a:lnTo>
                  <a:lnTo>
                    <a:pt x="2322" y="1224"/>
                  </a:lnTo>
                  <a:lnTo>
                    <a:pt x="2328" y="1230"/>
                  </a:lnTo>
                  <a:lnTo>
                    <a:pt x="2358" y="1230"/>
                  </a:lnTo>
                  <a:lnTo>
                    <a:pt x="2358" y="1242"/>
                  </a:lnTo>
                  <a:lnTo>
                    <a:pt x="2358" y="1254"/>
                  </a:lnTo>
                  <a:lnTo>
                    <a:pt x="2346" y="1254"/>
                  </a:lnTo>
                  <a:lnTo>
                    <a:pt x="2346" y="1278"/>
                  </a:lnTo>
                  <a:lnTo>
                    <a:pt x="2358" y="1278"/>
                  </a:lnTo>
                  <a:lnTo>
                    <a:pt x="2358" y="1284"/>
                  </a:lnTo>
                  <a:lnTo>
                    <a:pt x="2376" y="1284"/>
                  </a:lnTo>
                  <a:lnTo>
                    <a:pt x="2388" y="1278"/>
                  </a:lnTo>
                  <a:lnTo>
                    <a:pt x="2406" y="1278"/>
                  </a:lnTo>
                  <a:lnTo>
                    <a:pt x="2430" y="1284"/>
                  </a:lnTo>
                  <a:lnTo>
                    <a:pt x="2430" y="1302"/>
                  </a:lnTo>
                  <a:lnTo>
                    <a:pt x="2430" y="1314"/>
                  </a:lnTo>
                  <a:lnTo>
                    <a:pt x="2424" y="1326"/>
                  </a:lnTo>
                  <a:lnTo>
                    <a:pt x="2412" y="1326"/>
                  </a:lnTo>
                  <a:lnTo>
                    <a:pt x="2412" y="1344"/>
                  </a:lnTo>
                  <a:lnTo>
                    <a:pt x="2406" y="1344"/>
                  </a:lnTo>
                  <a:lnTo>
                    <a:pt x="2400" y="1362"/>
                  </a:lnTo>
                  <a:lnTo>
                    <a:pt x="2394" y="1368"/>
                  </a:lnTo>
                  <a:lnTo>
                    <a:pt x="2388" y="1374"/>
                  </a:lnTo>
                  <a:lnTo>
                    <a:pt x="2382" y="1380"/>
                  </a:lnTo>
                  <a:lnTo>
                    <a:pt x="2376" y="1386"/>
                  </a:lnTo>
                  <a:lnTo>
                    <a:pt x="2376" y="1392"/>
                  </a:lnTo>
                  <a:lnTo>
                    <a:pt x="2370" y="1404"/>
                  </a:lnTo>
                  <a:lnTo>
                    <a:pt x="2364" y="1416"/>
                  </a:lnTo>
                  <a:lnTo>
                    <a:pt x="2346" y="1434"/>
                  </a:lnTo>
                  <a:lnTo>
                    <a:pt x="2328" y="1440"/>
                  </a:lnTo>
                  <a:lnTo>
                    <a:pt x="2328" y="1446"/>
                  </a:lnTo>
                  <a:lnTo>
                    <a:pt x="2322" y="1452"/>
                  </a:lnTo>
                  <a:lnTo>
                    <a:pt x="2316" y="1452"/>
                  </a:lnTo>
                  <a:lnTo>
                    <a:pt x="2304" y="1446"/>
                  </a:lnTo>
                  <a:lnTo>
                    <a:pt x="2298" y="1446"/>
                  </a:lnTo>
                  <a:lnTo>
                    <a:pt x="2298" y="1434"/>
                  </a:lnTo>
                  <a:lnTo>
                    <a:pt x="2292" y="1434"/>
                  </a:lnTo>
                  <a:lnTo>
                    <a:pt x="2286" y="1428"/>
                  </a:lnTo>
                  <a:lnTo>
                    <a:pt x="2274" y="1416"/>
                  </a:lnTo>
                  <a:lnTo>
                    <a:pt x="2256" y="1404"/>
                  </a:lnTo>
                  <a:lnTo>
                    <a:pt x="2244" y="1386"/>
                  </a:lnTo>
                  <a:lnTo>
                    <a:pt x="2220" y="1368"/>
                  </a:lnTo>
                  <a:lnTo>
                    <a:pt x="2208" y="1362"/>
                  </a:lnTo>
                  <a:lnTo>
                    <a:pt x="2202" y="1350"/>
                  </a:lnTo>
                  <a:lnTo>
                    <a:pt x="2196" y="1350"/>
                  </a:lnTo>
                  <a:lnTo>
                    <a:pt x="2190" y="1356"/>
                  </a:lnTo>
                  <a:lnTo>
                    <a:pt x="2184" y="1356"/>
                  </a:lnTo>
                  <a:lnTo>
                    <a:pt x="2094" y="1350"/>
                  </a:lnTo>
                  <a:lnTo>
                    <a:pt x="2058" y="1350"/>
                  </a:lnTo>
                  <a:lnTo>
                    <a:pt x="2034" y="1890"/>
                  </a:lnTo>
                  <a:lnTo>
                    <a:pt x="2064" y="1890"/>
                  </a:lnTo>
                  <a:lnTo>
                    <a:pt x="2070" y="1896"/>
                  </a:lnTo>
                  <a:lnTo>
                    <a:pt x="2076" y="1896"/>
                  </a:lnTo>
                  <a:close/>
                </a:path>
              </a:pathLst>
            </a:custGeom>
            <a:solidFill>
              <a:srgbClr val="2A4F1D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8" name="Freeform 33">
              <a:extLst>
                <a:ext uri="{FF2B5EF4-FFF2-40B4-BE49-F238E27FC236}">
                  <a16:creationId xmlns:a16="http://schemas.microsoft.com/office/drawing/2014/main" id="{0E96F118-1F4D-4E52-AF27-149259451CD6}"/>
                </a:ext>
              </a:extLst>
            </p:cNvPr>
            <p:cNvSpPr>
              <a:spLocks/>
            </p:cNvSpPr>
            <p:nvPr/>
          </p:nvSpPr>
          <p:spPr bwMode="gray">
            <a:xfrm>
              <a:off x="1266662" y="1459989"/>
              <a:ext cx="903421" cy="778302"/>
            </a:xfrm>
            <a:custGeom>
              <a:avLst/>
              <a:gdLst>
                <a:gd name="T0" fmla="*/ 143 w 1698"/>
                <a:gd name="T1" fmla="*/ 43 h 1464"/>
                <a:gd name="T2" fmla="*/ 131 w 1698"/>
                <a:gd name="T3" fmla="*/ 44 h 1464"/>
                <a:gd name="T4" fmla="*/ 126 w 1698"/>
                <a:gd name="T5" fmla="*/ 41 h 1464"/>
                <a:gd name="T6" fmla="*/ 119 w 1698"/>
                <a:gd name="T7" fmla="*/ 45 h 1464"/>
                <a:gd name="T8" fmla="*/ 111 w 1698"/>
                <a:gd name="T9" fmla="*/ 46 h 1464"/>
                <a:gd name="T10" fmla="*/ 107 w 1698"/>
                <a:gd name="T11" fmla="*/ 50 h 1464"/>
                <a:gd name="T12" fmla="*/ 107 w 1698"/>
                <a:gd name="T13" fmla="*/ 60 h 1464"/>
                <a:gd name="T14" fmla="*/ 104 w 1698"/>
                <a:gd name="T15" fmla="*/ 62 h 1464"/>
                <a:gd name="T16" fmla="*/ 97 w 1698"/>
                <a:gd name="T17" fmla="*/ 59 h 1464"/>
                <a:gd name="T18" fmla="*/ 92 w 1698"/>
                <a:gd name="T19" fmla="*/ 59 h 1464"/>
                <a:gd name="T20" fmla="*/ 90 w 1698"/>
                <a:gd name="T21" fmla="*/ 62 h 1464"/>
                <a:gd name="T22" fmla="*/ 93 w 1698"/>
                <a:gd name="T23" fmla="*/ 77 h 1464"/>
                <a:gd name="T24" fmla="*/ 85 w 1698"/>
                <a:gd name="T25" fmla="*/ 88 h 1464"/>
                <a:gd name="T26" fmla="*/ 70 w 1698"/>
                <a:gd name="T27" fmla="*/ 89 h 1464"/>
                <a:gd name="T28" fmla="*/ 65 w 1698"/>
                <a:gd name="T29" fmla="*/ 88 h 1464"/>
                <a:gd name="T30" fmla="*/ 50 w 1698"/>
                <a:gd name="T31" fmla="*/ 88 h 1464"/>
                <a:gd name="T32" fmla="*/ 48 w 1698"/>
                <a:gd name="T33" fmla="*/ 107 h 1464"/>
                <a:gd name="T34" fmla="*/ 47 w 1698"/>
                <a:gd name="T35" fmla="*/ 120 h 1464"/>
                <a:gd name="T36" fmla="*/ 43 w 1698"/>
                <a:gd name="T37" fmla="*/ 121 h 1464"/>
                <a:gd name="T38" fmla="*/ 40 w 1698"/>
                <a:gd name="T39" fmla="*/ 120 h 1464"/>
                <a:gd name="T40" fmla="*/ 35 w 1698"/>
                <a:gd name="T41" fmla="*/ 122 h 1464"/>
                <a:gd name="T42" fmla="*/ 29 w 1698"/>
                <a:gd name="T43" fmla="*/ 123 h 1464"/>
                <a:gd name="T44" fmla="*/ 24 w 1698"/>
                <a:gd name="T45" fmla="*/ 125 h 1464"/>
                <a:gd name="T46" fmla="*/ 20 w 1698"/>
                <a:gd name="T47" fmla="*/ 125 h 1464"/>
                <a:gd name="T48" fmla="*/ 18 w 1698"/>
                <a:gd name="T49" fmla="*/ 122 h 1464"/>
                <a:gd name="T50" fmla="*/ 26 w 1698"/>
                <a:gd name="T51" fmla="*/ 108 h 1464"/>
                <a:gd name="T52" fmla="*/ 24 w 1698"/>
                <a:gd name="T53" fmla="*/ 89 h 1464"/>
                <a:gd name="T54" fmla="*/ 28 w 1698"/>
                <a:gd name="T55" fmla="*/ 85 h 1464"/>
                <a:gd name="T56" fmla="*/ 32 w 1698"/>
                <a:gd name="T57" fmla="*/ 80 h 1464"/>
                <a:gd name="T58" fmla="*/ 36 w 1698"/>
                <a:gd name="T59" fmla="*/ 86 h 1464"/>
                <a:gd name="T60" fmla="*/ 39 w 1698"/>
                <a:gd name="T61" fmla="*/ 80 h 1464"/>
                <a:gd name="T62" fmla="*/ 41 w 1698"/>
                <a:gd name="T63" fmla="*/ 73 h 1464"/>
                <a:gd name="T64" fmla="*/ 38 w 1698"/>
                <a:gd name="T65" fmla="*/ 64 h 1464"/>
                <a:gd name="T66" fmla="*/ 39 w 1698"/>
                <a:gd name="T67" fmla="*/ 59 h 1464"/>
                <a:gd name="T68" fmla="*/ 32 w 1698"/>
                <a:gd name="T69" fmla="*/ 54 h 1464"/>
                <a:gd name="T70" fmla="*/ 32 w 1698"/>
                <a:gd name="T71" fmla="*/ 45 h 1464"/>
                <a:gd name="T72" fmla="*/ 31 w 1698"/>
                <a:gd name="T73" fmla="*/ 41 h 1464"/>
                <a:gd name="T74" fmla="*/ 24 w 1698"/>
                <a:gd name="T75" fmla="*/ 43 h 1464"/>
                <a:gd name="T76" fmla="*/ 17 w 1698"/>
                <a:gd name="T77" fmla="*/ 40 h 1464"/>
                <a:gd name="T78" fmla="*/ 11 w 1698"/>
                <a:gd name="T79" fmla="*/ 38 h 1464"/>
                <a:gd name="T80" fmla="*/ 2 w 1698"/>
                <a:gd name="T81" fmla="*/ 36 h 1464"/>
                <a:gd name="T82" fmla="*/ 0 w 1698"/>
                <a:gd name="T83" fmla="*/ 24 h 1464"/>
                <a:gd name="T84" fmla="*/ 11 w 1698"/>
                <a:gd name="T85" fmla="*/ 18 h 1464"/>
                <a:gd name="T86" fmla="*/ 19 w 1698"/>
                <a:gd name="T87" fmla="*/ 10 h 1464"/>
                <a:gd name="T88" fmla="*/ 28 w 1698"/>
                <a:gd name="T89" fmla="*/ 9 h 1464"/>
                <a:gd name="T90" fmla="*/ 40 w 1698"/>
                <a:gd name="T91" fmla="*/ 6 h 1464"/>
                <a:gd name="T92" fmla="*/ 49 w 1698"/>
                <a:gd name="T93" fmla="*/ 8 h 1464"/>
                <a:gd name="T94" fmla="*/ 56 w 1698"/>
                <a:gd name="T95" fmla="*/ 8 h 1464"/>
                <a:gd name="T96" fmla="*/ 64 w 1698"/>
                <a:gd name="T97" fmla="*/ 7 h 1464"/>
                <a:gd name="T98" fmla="*/ 74 w 1698"/>
                <a:gd name="T99" fmla="*/ 1 h 1464"/>
                <a:gd name="T100" fmla="*/ 83 w 1698"/>
                <a:gd name="T101" fmla="*/ 3 h 1464"/>
                <a:gd name="T102" fmla="*/ 99 w 1698"/>
                <a:gd name="T103" fmla="*/ 9 h 1464"/>
                <a:gd name="T104" fmla="*/ 112 w 1698"/>
                <a:gd name="T105" fmla="*/ 14 h 1464"/>
                <a:gd name="T106" fmla="*/ 119 w 1698"/>
                <a:gd name="T107" fmla="*/ 12 h 1464"/>
                <a:gd name="T108" fmla="*/ 128 w 1698"/>
                <a:gd name="T109" fmla="*/ 17 h 1464"/>
                <a:gd name="T110" fmla="*/ 141 w 1698"/>
                <a:gd name="T111" fmla="*/ 29 h 1464"/>
                <a:gd name="T112" fmla="*/ 145 w 1698"/>
                <a:gd name="T113" fmla="*/ 35 h 14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98"/>
                <a:gd name="T172" fmla="*/ 0 h 1464"/>
                <a:gd name="T173" fmla="*/ 1698 w 1698"/>
                <a:gd name="T174" fmla="*/ 1464 h 14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98" h="1464">
                  <a:moveTo>
                    <a:pt x="1698" y="462"/>
                  </a:moveTo>
                  <a:lnTo>
                    <a:pt x="1686" y="468"/>
                  </a:lnTo>
                  <a:lnTo>
                    <a:pt x="1680" y="474"/>
                  </a:lnTo>
                  <a:lnTo>
                    <a:pt x="1674" y="480"/>
                  </a:lnTo>
                  <a:lnTo>
                    <a:pt x="1668" y="480"/>
                  </a:lnTo>
                  <a:lnTo>
                    <a:pt x="1662" y="486"/>
                  </a:lnTo>
                  <a:lnTo>
                    <a:pt x="1656" y="492"/>
                  </a:lnTo>
                  <a:lnTo>
                    <a:pt x="1644" y="498"/>
                  </a:lnTo>
                  <a:lnTo>
                    <a:pt x="1626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0" y="516"/>
                  </a:lnTo>
                  <a:lnTo>
                    <a:pt x="1590" y="522"/>
                  </a:lnTo>
                  <a:lnTo>
                    <a:pt x="1566" y="522"/>
                  </a:lnTo>
                  <a:lnTo>
                    <a:pt x="1506" y="510"/>
                  </a:lnTo>
                  <a:lnTo>
                    <a:pt x="1500" y="510"/>
                  </a:lnTo>
                  <a:lnTo>
                    <a:pt x="1488" y="504"/>
                  </a:lnTo>
                  <a:lnTo>
                    <a:pt x="1482" y="498"/>
                  </a:lnTo>
                  <a:lnTo>
                    <a:pt x="1476" y="498"/>
                  </a:lnTo>
                  <a:lnTo>
                    <a:pt x="1476" y="492"/>
                  </a:lnTo>
                  <a:lnTo>
                    <a:pt x="1470" y="492"/>
                  </a:lnTo>
                  <a:lnTo>
                    <a:pt x="1464" y="486"/>
                  </a:lnTo>
                  <a:lnTo>
                    <a:pt x="1452" y="486"/>
                  </a:lnTo>
                  <a:lnTo>
                    <a:pt x="1446" y="474"/>
                  </a:lnTo>
                  <a:lnTo>
                    <a:pt x="1434" y="468"/>
                  </a:lnTo>
                  <a:lnTo>
                    <a:pt x="1416" y="468"/>
                  </a:lnTo>
                  <a:lnTo>
                    <a:pt x="1392" y="468"/>
                  </a:lnTo>
                  <a:lnTo>
                    <a:pt x="1374" y="474"/>
                  </a:lnTo>
                  <a:lnTo>
                    <a:pt x="1368" y="474"/>
                  </a:lnTo>
                  <a:lnTo>
                    <a:pt x="1368" y="486"/>
                  </a:lnTo>
                  <a:lnTo>
                    <a:pt x="1368" y="498"/>
                  </a:lnTo>
                  <a:lnTo>
                    <a:pt x="1368" y="522"/>
                  </a:lnTo>
                  <a:lnTo>
                    <a:pt x="1368" y="534"/>
                  </a:lnTo>
                  <a:lnTo>
                    <a:pt x="1362" y="546"/>
                  </a:lnTo>
                  <a:lnTo>
                    <a:pt x="1356" y="546"/>
                  </a:lnTo>
                  <a:lnTo>
                    <a:pt x="1344" y="540"/>
                  </a:lnTo>
                  <a:lnTo>
                    <a:pt x="1338" y="534"/>
                  </a:lnTo>
                  <a:lnTo>
                    <a:pt x="1308" y="522"/>
                  </a:lnTo>
                  <a:lnTo>
                    <a:pt x="1296" y="522"/>
                  </a:lnTo>
                  <a:lnTo>
                    <a:pt x="1278" y="528"/>
                  </a:lnTo>
                  <a:lnTo>
                    <a:pt x="1260" y="534"/>
                  </a:lnTo>
                  <a:lnTo>
                    <a:pt x="1242" y="546"/>
                  </a:lnTo>
                  <a:lnTo>
                    <a:pt x="1236" y="552"/>
                  </a:lnTo>
                  <a:lnTo>
                    <a:pt x="1224" y="558"/>
                  </a:lnTo>
                  <a:lnTo>
                    <a:pt x="1218" y="558"/>
                  </a:lnTo>
                  <a:lnTo>
                    <a:pt x="1218" y="564"/>
                  </a:lnTo>
                  <a:lnTo>
                    <a:pt x="1224" y="570"/>
                  </a:lnTo>
                  <a:lnTo>
                    <a:pt x="1224" y="582"/>
                  </a:lnTo>
                  <a:lnTo>
                    <a:pt x="1224" y="594"/>
                  </a:lnTo>
                  <a:lnTo>
                    <a:pt x="1212" y="618"/>
                  </a:lnTo>
                  <a:lnTo>
                    <a:pt x="1212" y="624"/>
                  </a:lnTo>
                  <a:lnTo>
                    <a:pt x="1212" y="630"/>
                  </a:lnTo>
                  <a:lnTo>
                    <a:pt x="1212" y="636"/>
                  </a:lnTo>
                  <a:lnTo>
                    <a:pt x="1218" y="654"/>
                  </a:lnTo>
                  <a:lnTo>
                    <a:pt x="1224" y="672"/>
                  </a:lnTo>
                  <a:lnTo>
                    <a:pt x="1230" y="696"/>
                  </a:lnTo>
                  <a:lnTo>
                    <a:pt x="1236" y="708"/>
                  </a:lnTo>
                  <a:lnTo>
                    <a:pt x="1236" y="714"/>
                  </a:lnTo>
                  <a:lnTo>
                    <a:pt x="1236" y="720"/>
                  </a:lnTo>
                  <a:lnTo>
                    <a:pt x="1218" y="726"/>
                  </a:lnTo>
                  <a:lnTo>
                    <a:pt x="1212" y="726"/>
                  </a:lnTo>
                  <a:lnTo>
                    <a:pt x="1206" y="726"/>
                  </a:lnTo>
                  <a:lnTo>
                    <a:pt x="1194" y="720"/>
                  </a:lnTo>
                  <a:lnTo>
                    <a:pt x="1194" y="714"/>
                  </a:lnTo>
                  <a:lnTo>
                    <a:pt x="1176" y="714"/>
                  </a:lnTo>
                  <a:lnTo>
                    <a:pt x="1164" y="708"/>
                  </a:lnTo>
                  <a:lnTo>
                    <a:pt x="1158" y="708"/>
                  </a:lnTo>
                  <a:lnTo>
                    <a:pt x="1140" y="702"/>
                  </a:lnTo>
                  <a:lnTo>
                    <a:pt x="1134" y="696"/>
                  </a:lnTo>
                  <a:lnTo>
                    <a:pt x="1128" y="690"/>
                  </a:lnTo>
                  <a:lnTo>
                    <a:pt x="1116" y="678"/>
                  </a:lnTo>
                  <a:lnTo>
                    <a:pt x="1110" y="678"/>
                  </a:lnTo>
                  <a:lnTo>
                    <a:pt x="1104" y="672"/>
                  </a:lnTo>
                  <a:lnTo>
                    <a:pt x="1092" y="672"/>
                  </a:lnTo>
                  <a:lnTo>
                    <a:pt x="1086" y="672"/>
                  </a:lnTo>
                  <a:lnTo>
                    <a:pt x="1080" y="672"/>
                  </a:lnTo>
                  <a:lnTo>
                    <a:pt x="1074" y="672"/>
                  </a:lnTo>
                  <a:lnTo>
                    <a:pt x="1068" y="672"/>
                  </a:lnTo>
                  <a:lnTo>
                    <a:pt x="1062" y="678"/>
                  </a:lnTo>
                  <a:lnTo>
                    <a:pt x="1056" y="678"/>
                  </a:lnTo>
                  <a:lnTo>
                    <a:pt x="1056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6"/>
                  </a:lnTo>
                  <a:lnTo>
                    <a:pt x="1032" y="708"/>
                  </a:lnTo>
                  <a:lnTo>
                    <a:pt x="1026" y="708"/>
                  </a:lnTo>
                  <a:lnTo>
                    <a:pt x="1032" y="714"/>
                  </a:lnTo>
                  <a:lnTo>
                    <a:pt x="1026" y="720"/>
                  </a:lnTo>
                  <a:lnTo>
                    <a:pt x="1020" y="720"/>
                  </a:lnTo>
                  <a:lnTo>
                    <a:pt x="1014" y="732"/>
                  </a:lnTo>
                  <a:lnTo>
                    <a:pt x="1014" y="744"/>
                  </a:lnTo>
                  <a:lnTo>
                    <a:pt x="1038" y="810"/>
                  </a:lnTo>
                  <a:lnTo>
                    <a:pt x="1050" y="834"/>
                  </a:lnTo>
                  <a:lnTo>
                    <a:pt x="1056" y="858"/>
                  </a:lnTo>
                  <a:lnTo>
                    <a:pt x="1062" y="876"/>
                  </a:lnTo>
                  <a:lnTo>
                    <a:pt x="1068" y="882"/>
                  </a:lnTo>
                  <a:lnTo>
                    <a:pt x="1062" y="972"/>
                  </a:lnTo>
                  <a:lnTo>
                    <a:pt x="1056" y="972"/>
                  </a:lnTo>
                  <a:lnTo>
                    <a:pt x="1050" y="996"/>
                  </a:lnTo>
                  <a:lnTo>
                    <a:pt x="1044" y="1014"/>
                  </a:lnTo>
                  <a:lnTo>
                    <a:pt x="1008" y="1014"/>
                  </a:lnTo>
                  <a:lnTo>
                    <a:pt x="1008" y="1008"/>
                  </a:lnTo>
                  <a:lnTo>
                    <a:pt x="990" y="1008"/>
                  </a:lnTo>
                  <a:lnTo>
                    <a:pt x="972" y="1014"/>
                  </a:lnTo>
                  <a:lnTo>
                    <a:pt x="948" y="1020"/>
                  </a:lnTo>
                  <a:lnTo>
                    <a:pt x="918" y="1026"/>
                  </a:lnTo>
                  <a:lnTo>
                    <a:pt x="840" y="1032"/>
                  </a:lnTo>
                  <a:lnTo>
                    <a:pt x="834" y="1032"/>
                  </a:lnTo>
                  <a:lnTo>
                    <a:pt x="834" y="1026"/>
                  </a:lnTo>
                  <a:lnTo>
                    <a:pt x="822" y="1026"/>
                  </a:lnTo>
                  <a:lnTo>
                    <a:pt x="816" y="1032"/>
                  </a:lnTo>
                  <a:lnTo>
                    <a:pt x="804" y="1032"/>
                  </a:lnTo>
                  <a:lnTo>
                    <a:pt x="798" y="1026"/>
                  </a:lnTo>
                  <a:lnTo>
                    <a:pt x="780" y="1026"/>
                  </a:lnTo>
                  <a:lnTo>
                    <a:pt x="762" y="1026"/>
                  </a:lnTo>
                  <a:lnTo>
                    <a:pt x="756" y="1026"/>
                  </a:lnTo>
                  <a:lnTo>
                    <a:pt x="750" y="1026"/>
                  </a:lnTo>
                  <a:lnTo>
                    <a:pt x="756" y="1020"/>
                  </a:lnTo>
                  <a:lnTo>
                    <a:pt x="750" y="1020"/>
                  </a:lnTo>
                  <a:lnTo>
                    <a:pt x="744" y="1014"/>
                  </a:lnTo>
                  <a:lnTo>
                    <a:pt x="684" y="1020"/>
                  </a:lnTo>
                  <a:lnTo>
                    <a:pt x="648" y="1020"/>
                  </a:lnTo>
                  <a:lnTo>
                    <a:pt x="630" y="1020"/>
                  </a:lnTo>
                  <a:lnTo>
                    <a:pt x="618" y="1020"/>
                  </a:lnTo>
                  <a:lnTo>
                    <a:pt x="606" y="1014"/>
                  </a:lnTo>
                  <a:lnTo>
                    <a:pt x="582" y="1014"/>
                  </a:lnTo>
                  <a:lnTo>
                    <a:pt x="576" y="1014"/>
                  </a:lnTo>
                  <a:lnTo>
                    <a:pt x="570" y="1014"/>
                  </a:lnTo>
                  <a:lnTo>
                    <a:pt x="564" y="1020"/>
                  </a:lnTo>
                  <a:lnTo>
                    <a:pt x="558" y="1026"/>
                  </a:lnTo>
                  <a:lnTo>
                    <a:pt x="552" y="1032"/>
                  </a:lnTo>
                  <a:lnTo>
                    <a:pt x="552" y="1038"/>
                  </a:lnTo>
                  <a:lnTo>
                    <a:pt x="558" y="1194"/>
                  </a:lnTo>
                  <a:lnTo>
                    <a:pt x="558" y="1206"/>
                  </a:lnTo>
                  <a:lnTo>
                    <a:pt x="552" y="1218"/>
                  </a:lnTo>
                  <a:lnTo>
                    <a:pt x="552" y="1236"/>
                  </a:lnTo>
                  <a:lnTo>
                    <a:pt x="546" y="1272"/>
                  </a:lnTo>
                  <a:lnTo>
                    <a:pt x="546" y="1308"/>
                  </a:lnTo>
                  <a:lnTo>
                    <a:pt x="540" y="1332"/>
                  </a:lnTo>
                  <a:lnTo>
                    <a:pt x="546" y="1356"/>
                  </a:lnTo>
                  <a:lnTo>
                    <a:pt x="546" y="1362"/>
                  </a:lnTo>
                  <a:lnTo>
                    <a:pt x="546" y="1374"/>
                  </a:lnTo>
                  <a:lnTo>
                    <a:pt x="546" y="1380"/>
                  </a:lnTo>
                  <a:lnTo>
                    <a:pt x="540" y="1380"/>
                  </a:lnTo>
                  <a:lnTo>
                    <a:pt x="522" y="1380"/>
                  </a:lnTo>
                  <a:lnTo>
                    <a:pt x="516" y="1380"/>
                  </a:lnTo>
                  <a:lnTo>
                    <a:pt x="516" y="1386"/>
                  </a:lnTo>
                  <a:lnTo>
                    <a:pt x="516" y="1392"/>
                  </a:lnTo>
                  <a:lnTo>
                    <a:pt x="510" y="1392"/>
                  </a:lnTo>
                  <a:lnTo>
                    <a:pt x="504" y="1386"/>
                  </a:lnTo>
                  <a:lnTo>
                    <a:pt x="498" y="1392"/>
                  </a:lnTo>
                  <a:lnTo>
                    <a:pt x="492" y="1398"/>
                  </a:lnTo>
                  <a:lnTo>
                    <a:pt x="486" y="1398"/>
                  </a:lnTo>
                  <a:lnTo>
                    <a:pt x="486" y="1392"/>
                  </a:lnTo>
                  <a:lnTo>
                    <a:pt x="486" y="1380"/>
                  </a:lnTo>
                  <a:lnTo>
                    <a:pt x="486" y="1374"/>
                  </a:lnTo>
                  <a:lnTo>
                    <a:pt x="480" y="1374"/>
                  </a:lnTo>
                  <a:lnTo>
                    <a:pt x="474" y="1374"/>
                  </a:lnTo>
                  <a:lnTo>
                    <a:pt x="468" y="1380"/>
                  </a:lnTo>
                  <a:lnTo>
                    <a:pt x="462" y="1380"/>
                  </a:lnTo>
                  <a:lnTo>
                    <a:pt x="456" y="1380"/>
                  </a:lnTo>
                  <a:lnTo>
                    <a:pt x="450" y="1386"/>
                  </a:lnTo>
                  <a:lnTo>
                    <a:pt x="444" y="1386"/>
                  </a:lnTo>
                  <a:lnTo>
                    <a:pt x="444" y="1392"/>
                  </a:lnTo>
                  <a:lnTo>
                    <a:pt x="432" y="1398"/>
                  </a:lnTo>
                  <a:lnTo>
                    <a:pt x="426" y="1404"/>
                  </a:lnTo>
                  <a:lnTo>
                    <a:pt x="420" y="1404"/>
                  </a:lnTo>
                  <a:lnTo>
                    <a:pt x="408" y="1404"/>
                  </a:lnTo>
                  <a:lnTo>
                    <a:pt x="378" y="1410"/>
                  </a:lnTo>
                  <a:lnTo>
                    <a:pt x="372" y="1410"/>
                  </a:lnTo>
                  <a:lnTo>
                    <a:pt x="360" y="1410"/>
                  </a:lnTo>
                  <a:lnTo>
                    <a:pt x="354" y="1416"/>
                  </a:lnTo>
                  <a:lnTo>
                    <a:pt x="348" y="1416"/>
                  </a:lnTo>
                  <a:lnTo>
                    <a:pt x="342" y="1410"/>
                  </a:lnTo>
                  <a:lnTo>
                    <a:pt x="336" y="1410"/>
                  </a:lnTo>
                  <a:lnTo>
                    <a:pt x="336" y="1416"/>
                  </a:lnTo>
                  <a:lnTo>
                    <a:pt x="330" y="1422"/>
                  </a:lnTo>
                  <a:lnTo>
                    <a:pt x="324" y="1422"/>
                  </a:lnTo>
                  <a:lnTo>
                    <a:pt x="318" y="1422"/>
                  </a:lnTo>
                  <a:lnTo>
                    <a:pt x="312" y="1428"/>
                  </a:lnTo>
                  <a:lnTo>
                    <a:pt x="312" y="1434"/>
                  </a:lnTo>
                  <a:lnTo>
                    <a:pt x="300" y="1428"/>
                  </a:lnTo>
                  <a:lnTo>
                    <a:pt x="288" y="1434"/>
                  </a:lnTo>
                  <a:lnTo>
                    <a:pt x="282" y="1440"/>
                  </a:lnTo>
                  <a:lnTo>
                    <a:pt x="282" y="1446"/>
                  </a:lnTo>
                  <a:lnTo>
                    <a:pt x="276" y="1446"/>
                  </a:lnTo>
                  <a:lnTo>
                    <a:pt x="276" y="1452"/>
                  </a:lnTo>
                  <a:lnTo>
                    <a:pt x="270" y="1452"/>
                  </a:lnTo>
                  <a:lnTo>
                    <a:pt x="258" y="1464"/>
                  </a:lnTo>
                  <a:lnTo>
                    <a:pt x="240" y="1458"/>
                  </a:lnTo>
                  <a:lnTo>
                    <a:pt x="234" y="1452"/>
                  </a:lnTo>
                  <a:lnTo>
                    <a:pt x="234" y="1446"/>
                  </a:lnTo>
                  <a:lnTo>
                    <a:pt x="228" y="1446"/>
                  </a:lnTo>
                  <a:lnTo>
                    <a:pt x="222" y="1440"/>
                  </a:lnTo>
                  <a:lnTo>
                    <a:pt x="216" y="1440"/>
                  </a:lnTo>
                  <a:lnTo>
                    <a:pt x="210" y="1428"/>
                  </a:lnTo>
                  <a:lnTo>
                    <a:pt x="210" y="1422"/>
                  </a:lnTo>
                  <a:lnTo>
                    <a:pt x="198" y="1416"/>
                  </a:lnTo>
                  <a:lnTo>
                    <a:pt x="204" y="1410"/>
                  </a:lnTo>
                  <a:lnTo>
                    <a:pt x="210" y="1404"/>
                  </a:lnTo>
                  <a:lnTo>
                    <a:pt x="210" y="1398"/>
                  </a:lnTo>
                  <a:lnTo>
                    <a:pt x="252" y="1368"/>
                  </a:lnTo>
                  <a:lnTo>
                    <a:pt x="276" y="1350"/>
                  </a:lnTo>
                  <a:lnTo>
                    <a:pt x="300" y="1338"/>
                  </a:lnTo>
                  <a:lnTo>
                    <a:pt x="294" y="1314"/>
                  </a:lnTo>
                  <a:lnTo>
                    <a:pt x="288" y="1308"/>
                  </a:lnTo>
                  <a:lnTo>
                    <a:pt x="300" y="1266"/>
                  </a:lnTo>
                  <a:lnTo>
                    <a:pt x="300" y="1242"/>
                  </a:lnTo>
                  <a:lnTo>
                    <a:pt x="300" y="1206"/>
                  </a:lnTo>
                  <a:lnTo>
                    <a:pt x="300" y="1164"/>
                  </a:lnTo>
                  <a:lnTo>
                    <a:pt x="294" y="1134"/>
                  </a:lnTo>
                  <a:lnTo>
                    <a:pt x="282" y="1086"/>
                  </a:lnTo>
                  <a:lnTo>
                    <a:pt x="276" y="1074"/>
                  </a:lnTo>
                  <a:lnTo>
                    <a:pt x="276" y="1056"/>
                  </a:lnTo>
                  <a:lnTo>
                    <a:pt x="270" y="1038"/>
                  </a:lnTo>
                  <a:lnTo>
                    <a:pt x="270" y="1020"/>
                  </a:lnTo>
                  <a:lnTo>
                    <a:pt x="282" y="1020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94" y="1002"/>
                  </a:lnTo>
                  <a:lnTo>
                    <a:pt x="306" y="996"/>
                  </a:lnTo>
                  <a:lnTo>
                    <a:pt x="312" y="990"/>
                  </a:lnTo>
                  <a:lnTo>
                    <a:pt x="318" y="990"/>
                  </a:lnTo>
                  <a:lnTo>
                    <a:pt x="324" y="984"/>
                  </a:lnTo>
                  <a:lnTo>
                    <a:pt x="324" y="978"/>
                  </a:lnTo>
                  <a:lnTo>
                    <a:pt x="324" y="972"/>
                  </a:lnTo>
                  <a:lnTo>
                    <a:pt x="324" y="954"/>
                  </a:lnTo>
                  <a:lnTo>
                    <a:pt x="336" y="948"/>
                  </a:lnTo>
                  <a:lnTo>
                    <a:pt x="342" y="936"/>
                  </a:lnTo>
                  <a:lnTo>
                    <a:pt x="348" y="924"/>
                  </a:lnTo>
                  <a:lnTo>
                    <a:pt x="354" y="924"/>
                  </a:lnTo>
                  <a:lnTo>
                    <a:pt x="372" y="924"/>
                  </a:lnTo>
                  <a:lnTo>
                    <a:pt x="372" y="930"/>
                  </a:lnTo>
                  <a:lnTo>
                    <a:pt x="378" y="930"/>
                  </a:lnTo>
                  <a:lnTo>
                    <a:pt x="378" y="936"/>
                  </a:lnTo>
                  <a:lnTo>
                    <a:pt x="384" y="936"/>
                  </a:lnTo>
                  <a:lnTo>
                    <a:pt x="384" y="942"/>
                  </a:lnTo>
                  <a:lnTo>
                    <a:pt x="402" y="942"/>
                  </a:lnTo>
                  <a:lnTo>
                    <a:pt x="402" y="996"/>
                  </a:lnTo>
                  <a:lnTo>
                    <a:pt x="414" y="996"/>
                  </a:lnTo>
                  <a:lnTo>
                    <a:pt x="420" y="996"/>
                  </a:lnTo>
                  <a:lnTo>
                    <a:pt x="426" y="996"/>
                  </a:lnTo>
                  <a:lnTo>
                    <a:pt x="432" y="996"/>
                  </a:lnTo>
                  <a:lnTo>
                    <a:pt x="438" y="996"/>
                  </a:lnTo>
                  <a:lnTo>
                    <a:pt x="438" y="942"/>
                  </a:lnTo>
                  <a:lnTo>
                    <a:pt x="444" y="930"/>
                  </a:lnTo>
                  <a:lnTo>
                    <a:pt x="444" y="924"/>
                  </a:lnTo>
                  <a:lnTo>
                    <a:pt x="444" y="918"/>
                  </a:lnTo>
                  <a:lnTo>
                    <a:pt x="462" y="918"/>
                  </a:lnTo>
                  <a:lnTo>
                    <a:pt x="474" y="906"/>
                  </a:lnTo>
                  <a:lnTo>
                    <a:pt x="480" y="900"/>
                  </a:lnTo>
                  <a:lnTo>
                    <a:pt x="486" y="888"/>
                  </a:lnTo>
                  <a:lnTo>
                    <a:pt x="492" y="876"/>
                  </a:lnTo>
                  <a:lnTo>
                    <a:pt x="492" y="858"/>
                  </a:lnTo>
                  <a:lnTo>
                    <a:pt x="480" y="858"/>
                  </a:lnTo>
                  <a:lnTo>
                    <a:pt x="474" y="840"/>
                  </a:lnTo>
                  <a:lnTo>
                    <a:pt x="450" y="834"/>
                  </a:lnTo>
                  <a:lnTo>
                    <a:pt x="438" y="816"/>
                  </a:lnTo>
                  <a:lnTo>
                    <a:pt x="432" y="792"/>
                  </a:lnTo>
                  <a:lnTo>
                    <a:pt x="432" y="786"/>
                  </a:lnTo>
                  <a:lnTo>
                    <a:pt x="432" y="774"/>
                  </a:lnTo>
                  <a:lnTo>
                    <a:pt x="432" y="762"/>
                  </a:lnTo>
                  <a:lnTo>
                    <a:pt x="438" y="750"/>
                  </a:lnTo>
                  <a:lnTo>
                    <a:pt x="438" y="738"/>
                  </a:lnTo>
                  <a:lnTo>
                    <a:pt x="444" y="732"/>
                  </a:lnTo>
                  <a:lnTo>
                    <a:pt x="450" y="732"/>
                  </a:lnTo>
                  <a:lnTo>
                    <a:pt x="456" y="732"/>
                  </a:lnTo>
                  <a:lnTo>
                    <a:pt x="456" y="726"/>
                  </a:lnTo>
                  <a:lnTo>
                    <a:pt x="456" y="714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44" y="684"/>
                  </a:lnTo>
                  <a:lnTo>
                    <a:pt x="438" y="666"/>
                  </a:lnTo>
                  <a:lnTo>
                    <a:pt x="426" y="666"/>
                  </a:lnTo>
                  <a:lnTo>
                    <a:pt x="432" y="666"/>
                  </a:lnTo>
                  <a:lnTo>
                    <a:pt x="420" y="666"/>
                  </a:lnTo>
                  <a:lnTo>
                    <a:pt x="414" y="660"/>
                  </a:lnTo>
                  <a:lnTo>
                    <a:pt x="396" y="654"/>
                  </a:lnTo>
                  <a:lnTo>
                    <a:pt x="384" y="642"/>
                  </a:lnTo>
                  <a:lnTo>
                    <a:pt x="366" y="624"/>
                  </a:lnTo>
                  <a:lnTo>
                    <a:pt x="354" y="606"/>
                  </a:lnTo>
                  <a:lnTo>
                    <a:pt x="342" y="588"/>
                  </a:lnTo>
                  <a:lnTo>
                    <a:pt x="342" y="582"/>
                  </a:lnTo>
                  <a:lnTo>
                    <a:pt x="360" y="564"/>
                  </a:lnTo>
                  <a:lnTo>
                    <a:pt x="372" y="540"/>
                  </a:lnTo>
                  <a:lnTo>
                    <a:pt x="366" y="528"/>
                  </a:lnTo>
                  <a:lnTo>
                    <a:pt x="366" y="522"/>
                  </a:lnTo>
                  <a:lnTo>
                    <a:pt x="372" y="516"/>
                  </a:lnTo>
                  <a:lnTo>
                    <a:pt x="384" y="504"/>
                  </a:lnTo>
                  <a:lnTo>
                    <a:pt x="378" y="492"/>
                  </a:lnTo>
                  <a:lnTo>
                    <a:pt x="378" y="486"/>
                  </a:lnTo>
                  <a:lnTo>
                    <a:pt x="378" y="480"/>
                  </a:lnTo>
                  <a:lnTo>
                    <a:pt x="378" y="474"/>
                  </a:lnTo>
                  <a:lnTo>
                    <a:pt x="378" y="468"/>
                  </a:lnTo>
                  <a:lnTo>
                    <a:pt x="366" y="468"/>
                  </a:lnTo>
                  <a:lnTo>
                    <a:pt x="360" y="474"/>
                  </a:lnTo>
                  <a:lnTo>
                    <a:pt x="354" y="480"/>
                  </a:lnTo>
                  <a:lnTo>
                    <a:pt x="348" y="486"/>
                  </a:lnTo>
                  <a:lnTo>
                    <a:pt x="348" y="492"/>
                  </a:lnTo>
                  <a:lnTo>
                    <a:pt x="336" y="510"/>
                  </a:lnTo>
                  <a:lnTo>
                    <a:pt x="300" y="516"/>
                  </a:lnTo>
                  <a:lnTo>
                    <a:pt x="300" y="510"/>
                  </a:lnTo>
                  <a:lnTo>
                    <a:pt x="282" y="504"/>
                  </a:lnTo>
                  <a:lnTo>
                    <a:pt x="282" y="498"/>
                  </a:lnTo>
                  <a:lnTo>
                    <a:pt x="264" y="486"/>
                  </a:lnTo>
                  <a:lnTo>
                    <a:pt x="258" y="492"/>
                  </a:lnTo>
                  <a:lnTo>
                    <a:pt x="234" y="492"/>
                  </a:lnTo>
                  <a:lnTo>
                    <a:pt x="222" y="486"/>
                  </a:lnTo>
                  <a:lnTo>
                    <a:pt x="204" y="480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92" y="462"/>
                  </a:lnTo>
                  <a:lnTo>
                    <a:pt x="186" y="462"/>
                  </a:lnTo>
                  <a:lnTo>
                    <a:pt x="180" y="468"/>
                  </a:lnTo>
                  <a:lnTo>
                    <a:pt x="150" y="450"/>
                  </a:lnTo>
                  <a:lnTo>
                    <a:pt x="144" y="438"/>
                  </a:lnTo>
                  <a:lnTo>
                    <a:pt x="138" y="438"/>
                  </a:lnTo>
                  <a:lnTo>
                    <a:pt x="132" y="432"/>
                  </a:lnTo>
                  <a:lnTo>
                    <a:pt x="126" y="432"/>
                  </a:lnTo>
                  <a:lnTo>
                    <a:pt x="120" y="432"/>
                  </a:lnTo>
                  <a:lnTo>
                    <a:pt x="102" y="426"/>
                  </a:lnTo>
                  <a:lnTo>
                    <a:pt x="96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2" y="414"/>
                  </a:lnTo>
                  <a:lnTo>
                    <a:pt x="60" y="414"/>
                  </a:lnTo>
                  <a:lnTo>
                    <a:pt x="30" y="414"/>
                  </a:lnTo>
                  <a:lnTo>
                    <a:pt x="24" y="414"/>
                  </a:lnTo>
                  <a:lnTo>
                    <a:pt x="12" y="414"/>
                  </a:lnTo>
                  <a:lnTo>
                    <a:pt x="0" y="420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0" y="336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30" y="270"/>
                  </a:lnTo>
                  <a:lnTo>
                    <a:pt x="42" y="270"/>
                  </a:lnTo>
                  <a:lnTo>
                    <a:pt x="54" y="264"/>
                  </a:lnTo>
                  <a:lnTo>
                    <a:pt x="78" y="240"/>
                  </a:lnTo>
                  <a:lnTo>
                    <a:pt x="102" y="216"/>
                  </a:lnTo>
                  <a:lnTo>
                    <a:pt x="114" y="210"/>
                  </a:lnTo>
                  <a:lnTo>
                    <a:pt x="120" y="204"/>
                  </a:lnTo>
                  <a:lnTo>
                    <a:pt x="126" y="198"/>
                  </a:lnTo>
                  <a:lnTo>
                    <a:pt x="138" y="18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38"/>
                  </a:lnTo>
                  <a:lnTo>
                    <a:pt x="210" y="126"/>
                  </a:lnTo>
                  <a:lnTo>
                    <a:pt x="216" y="120"/>
                  </a:lnTo>
                  <a:lnTo>
                    <a:pt x="222" y="120"/>
                  </a:lnTo>
                  <a:lnTo>
                    <a:pt x="258" y="114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300" y="102"/>
                  </a:lnTo>
                  <a:lnTo>
                    <a:pt x="312" y="102"/>
                  </a:lnTo>
                  <a:lnTo>
                    <a:pt x="318" y="102"/>
                  </a:lnTo>
                  <a:lnTo>
                    <a:pt x="348" y="96"/>
                  </a:lnTo>
                  <a:lnTo>
                    <a:pt x="366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408" y="84"/>
                  </a:lnTo>
                  <a:lnTo>
                    <a:pt x="420" y="84"/>
                  </a:lnTo>
                  <a:lnTo>
                    <a:pt x="462" y="72"/>
                  </a:lnTo>
                  <a:lnTo>
                    <a:pt x="474" y="72"/>
                  </a:lnTo>
                  <a:lnTo>
                    <a:pt x="474" y="78"/>
                  </a:lnTo>
                  <a:lnTo>
                    <a:pt x="492" y="90"/>
                  </a:lnTo>
                  <a:lnTo>
                    <a:pt x="498" y="90"/>
                  </a:lnTo>
                  <a:lnTo>
                    <a:pt x="522" y="96"/>
                  </a:lnTo>
                  <a:lnTo>
                    <a:pt x="540" y="96"/>
                  </a:lnTo>
                  <a:lnTo>
                    <a:pt x="546" y="96"/>
                  </a:lnTo>
                  <a:lnTo>
                    <a:pt x="558" y="96"/>
                  </a:lnTo>
                  <a:lnTo>
                    <a:pt x="564" y="96"/>
                  </a:lnTo>
                  <a:lnTo>
                    <a:pt x="576" y="96"/>
                  </a:lnTo>
                  <a:lnTo>
                    <a:pt x="588" y="96"/>
                  </a:lnTo>
                  <a:lnTo>
                    <a:pt x="612" y="90"/>
                  </a:lnTo>
                  <a:lnTo>
                    <a:pt x="624" y="90"/>
                  </a:lnTo>
                  <a:lnTo>
                    <a:pt x="636" y="90"/>
                  </a:lnTo>
                  <a:lnTo>
                    <a:pt x="642" y="90"/>
                  </a:lnTo>
                  <a:lnTo>
                    <a:pt x="648" y="96"/>
                  </a:lnTo>
                  <a:lnTo>
                    <a:pt x="660" y="96"/>
                  </a:lnTo>
                  <a:lnTo>
                    <a:pt x="666" y="96"/>
                  </a:lnTo>
                  <a:lnTo>
                    <a:pt x="672" y="96"/>
                  </a:lnTo>
                  <a:lnTo>
                    <a:pt x="684" y="96"/>
                  </a:lnTo>
                  <a:lnTo>
                    <a:pt x="708" y="96"/>
                  </a:lnTo>
                  <a:lnTo>
                    <a:pt x="714" y="96"/>
                  </a:lnTo>
                  <a:lnTo>
                    <a:pt x="726" y="96"/>
                  </a:lnTo>
                  <a:lnTo>
                    <a:pt x="738" y="84"/>
                  </a:lnTo>
                  <a:lnTo>
                    <a:pt x="744" y="78"/>
                  </a:lnTo>
                  <a:lnTo>
                    <a:pt x="756" y="66"/>
                  </a:lnTo>
                  <a:lnTo>
                    <a:pt x="774" y="42"/>
                  </a:lnTo>
                  <a:lnTo>
                    <a:pt x="780" y="30"/>
                  </a:lnTo>
                  <a:lnTo>
                    <a:pt x="816" y="24"/>
                  </a:lnTo>
                  <a:lnTo>
                    <a:pt x="840" y="18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64" y="6"/>
                  </a:lnTo>
                  <a:lnTo>
                    <a:pt x="870" y="6"/>
                  </a:lnTo>
                  <a:lnTo>
                    <a:pt x="894" y="0"/>
                  </a:lnTo>
                  <a:lnTo>
                    <a:pt x="900" y="6"/>
                  </a:lnTo>
                  <a:lnTo>
                    <a:pt x="930" y="18"/>
                  </a:lnTo>
                  <a:lnTo>
                    <a:pt x="942" y="24"/>
                  </a:lnTo>
                  <a:lnTo>
                    <a:pt x="954" y="30"/>
                  </a:lnTo>
                  <a:lnTo>
                    <a:pt x="1026" y="60"/>
                  </a:lnTo>
                  <a:lnTo>
                    <a:pt x="1032" y="60"/>
                  </a:lnTo>
                  <a:lnTo>
                    <a:pt x="1038" y="66"/>
                  </a:lnTo>
                  <a:lnTo>
                    <a:pt x="1068" y="72"/>
                  </a:lnTo>
                  <a:lnTo>
                    <a:pt x="1098" y="84"/>
                  </a:lnTo>
                  <a:lnTo>
                    <a:pt x="1122" y="90"/>
                  </a:lnTo>
                  <a:lnTo>
                    <a:pt x="1122" y="96"/>
                  </a:lnTo>
                  <a:lnTo>
                    <a:pt x="1140" y="102"/>
                  </a:lnTo>
                  <a:lnTo>
                    <a:pt x="1182" y="114"/>
                  </a:lnTo>
                  <a:lnTo>
                    <a:pt x="1188" y="114"/>
                  </a:lnTo>
                  <a:lnTo>
                    <a:pt x="1200" y="120"/>
                  </a:lnTo>
                  <a:lnTo>
                    <a:pt x="1212" y="126"/>
                  </a:lnTo>
                  <a:lnTo>
                    <a:pt x="1224" y="126"/>
                  </a:lnTo>
                  <a:lnTo>
                    <a:pt x="1248" y="138"/>
                  </a:lnTo>
                  <a:lnTo>
                    <a:pt x="1272" y="150"/>
                  </a:lnTo>
                  <a:lnTo>
                    <a:pt x="1284" y="156"/>
                  </a:lnTo>
                  <a:lnTo>
                    <a:pt x="1290" y="162"/>
                  </a:lnTo>
                  <a:lnTo>
                    <a:pt x="1296" y="162"/>
                  </a:lnTo>
                  <a:lnTo>
                    <a:pt x="1308" y="156"/>
                  </a:lnTo>
                  <a:lnTo>
                    <a:pt x="1320" y="150"/>
                  </a:lnTo>
                  <a:lnTo>
                    <a:pt x="1326" y="150"/>
                  </a:lnTo>
                  <a:lnTo>
                    <a:pt x="1338" y="144"/>
                  </a:lnTo>
                  <a:lnTo>
                    <a:pt x="1362" y="144"/>
                  </a:lnTo>
                  <a:lnTo>
                    <a:pt x="1368" y="144"/>
                  </a:lnTo>
                  <a:lnTo>
                    <a:pt x="1374" y="144"/>
                  </a:lnTo>
                  <a:lnTo>
                    <a:pt x="1386" y="150"/>
                  </a:lnTo>
                  <a:lnTo>
                    <a:pt x="1392" y="150"/>
                  </a:lnTo>
                  <a:lnTo>
                    <a:pt x="1398" y="150"/>
                  </a:lnTo>
                  <a:lnTo>
                    <a:pt x="1416" y="162"/>
                  </a:lnTo>
                  <a:lnTo>
                    <a:pt x="1458" y="186"/>
                  </a:lnTo>
                  <a:lnTo>
                    <a:pt x="1464" y="186"/>
                  </a:lnTo>
                  <a:lnTo>
                    <a:pt x="1470" y="192"/>
                  </a:lnTo>
                  <a:lnTo>
                    <a:pt x="1482" y="204"/>
                  </a:lnTo>
                  <a:lnTo>
                    <a:pt x="1512" y="234"/>
                  </a:lnTo>
                  <a:lnTo>
                    <a:pt x="1554" y="276"/>
                  </a:lnTo>
                  <a:lnTo>
                    <a:pt x="1560" y="276"/>
                  </a:lnTo>
                  <a:lnTo>
                    <a:pt x="1566" y="282"/>
                  </a:lnTo>
                  <a:lnTo>
                    <a:pt x="1578" y="294"/>
                  </a:lnTo>
                  <a:lnTo>
                    <a:pt x="1602" y="318"/>
                  </a:lnTo>
                  <a:lnTo>
                    <a:pt x="1614" y="330"/>
                  </a:lnTo>
                  <a:lnTo>
                    <a:pt x="1620" y="336"/>
                  </a:lnTo>
                  <a:lnTo>
                    <a:pt x="1626" y="342"/>
                  </a:lnTo>
                  <a:lnTo>
                    <a:pt x="1632" y="354"/>
                  </a:lnTo>
                  <a:lnTo>
                    <a:pt x="1644" y="366"/>
                  </a:lnTo>
                  <a:lnTo>
                    <a:pt x="1650" y="378"/>
                  </a:lnTo>
                  <a:lnTo>
                    <a:pt x="1650" y="384"/>
                  </a:lnTo>
                  <a:lnTo>
                    <a:pt x="1656" y="384"/>
                  </a:lnTo>
                  <a:lnTo>
                    <a:pt x="1662" y="402"/>
                  </a:lnTo>
                  <a:lnTo>
                    <a:pt x="1668" y="408"/>
                  </a:lnTo>
                  <a:lnTo>
                    <a:pt x="1674" y="426"/>
                  </a:lnTo>
                  <a:lnTo>
                    <a:pt x="1686" y="438"/>
                  </a:lnTo>
                  <a:lnTo>
                    <a:pt x="1698" y="46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9" name="Freeform 34">
              <a:extLst>
                <a:ext uri="{FF2B5EF4-FFF2-40B4-BE49-F238E27FC236}">
                  <a16:creationId xmlns:a16="http://schemas.microsoft.com/office/drawing/2014/main" id="{94603F24-8CF7-4226-A433-00D18CA7D9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1988" y="1681402"/>
              <a:ext cx="869877" cy="1060101"/>
            </a:xfrm>
            <a:custGeom>
              <a:avLst/>
              <a:gdLst>
                <a:gd name="T0" fmla="*/ 4 w 1638"/>
                <a:gd name="T1" fmla="*/ 111 h 1998"/>
                <a:gd name="T2" fmla="*/ 6 w 1638"/>
                <a:gd name="T3" fmla="*/ 87 h 1998"/>
                <a:gd name="T4" fmla="*/ 10 w 1638"/>
                <a:gd name="T5" fmla="*/ 80 h 1998"/>
                <a:gd name="T6" fmla="*/ 10 w 1638"/>
                <a:gd name="T7" fmla="*/ 71 h 1998"/>
                <a:gd name="T8" fmla="*/ 9 w 1638"/>
                <a:gd name="T9" fmla="*/ 56 h 1998"/>
                <a:gd name="T10" fmla="*/ 8 w 1638"/>
                <a:gd name="T11" fmla="*/ 40 h 1998"/>
                <a:gd name="T12" fmla="*/ 20 w 1638"/>
                <a:gd name="T13" fmla="*/ 30 h 1998"/>
                <a:gd name="T14" fmla="*/ 30 w 1638"/>
                <a:gd name="T15" fmla="*/ 19 h 1998"/>
                <a:gd name="T16" fmla="*/ 35 w 1638"/>
                <a:gd name="T17" fmla="*/ 2 h 1998"/>
                <a:gd name="T18" fmla="*/ 47 w 1638"/>
                <a:gd name="T19" fmla="*/ 2 h 1998"/>
                <a:gd name="T20" fmla="*/ 56 w 1638"/>
                <a:gd name="T21" fmla="*/ 7 h 1998"/>
                <a:gd name="T22" fmla="*/ 67 w 1638"/>
                <a:gd name="T23" fmla="*/ 5 h 1998"/>
                <a:gd name="T24" fmla="*/ 65 w 1638"/>
                <a:gd name="T25" fmla="*/ 15 h 1998"/>
                <a:gd name="T26" fmla="*/ 74 w 1638"/>
                <a:gd name="T27" fmla="*/ 24 h 1998"/>
                <a:gd name="T28" fmla="*/ 73 w 1638"/>
                <a:gd name="T29" fmla="*/ 33 h 1998"/>
                <a:gd name="T30" fmla="*/ 74 w 1638"/>
                <a:gd name="T31" fmla="*/ 44 h 1998"/>
                <a:gd name="T32" fmla="*/ 68 w 1638"/>
                <a:gd name="T33" fmla="*/ 45 h 1998"/>
                <a:gd name="T34" fmla="*/ 63 w 1638"/>
                <a:gd name="T35" fmla="*/ 50 h 1998"/>
                <a:gd name="T36" fmla="*/ 61 w 1638"/>
                <a:gd name="T37" fmla="*/ 62 h 1998"/>
                <a:gd name="T38" fmla="*/ 53 w 1638"/>
                <a:gd name="T39" fmla="*/ 86 h 1998"/>
                <a:gd name="T40" fmla="*/ 59 w 1638"/>
                <a:gd name="T41" fmla="*/ 90 h 1998"/>
                <a:gd name="T42" fmla="*/ 65 w 1638"/>
                <a:gd name="T43" fmla="*/ 86 h 1998"/>
                <a:gd name="T44" fmla="*/ 74 w 1638"/>
                <a:gd name="T45" fmla="*/ 84 h 1998"/>
                <a:gd name="T46" fmla="*/ 79 w 1638"/>
                <a:gd name="T47" fmla="*/ 85 h 1998"/>
                <a:gd name="T48" fmla="*/ 84 w 1638"/>
                <a:gd name="T49" fmla="*/ 84 h 1998"/>
                <a:gd name="T50" fmla="*/ 91 w 1638"/>
                <a:gd name="T51" fmla="*/ 84 h 1998"/>
                <a:gd name="T52" fmla="*/ 94 w 1638"/>
                <a:gd name="T53" fmla="*/ 81 h 1998"/>
                <a:gd name="T54" fmla="*/ 100 w 1638"/>
                <a:gd name="T55" fmla="*/ 81 h 1998"/>
                <a:gd name="T56" fmla="*/ 102 w 1638"/>
                <a:gd name="T57" fmla="*/ 84 h 1998"/>
                <a:gd name="T58" fmla="*/ 108 w 1638"/>
                <a:gd name="T59" fmla="*/ 85 h 1998"/>
                <a:gd name="T60" fmla="*/ 113 w 1638"/>
                <a:gd name="T61" fmla="*/ 88 h 1998"/>
                <a:gd name="T62" fmla="*/ 116 w 1638"/>
                <a:gd name="T63" fmla="*/ 88 h 1998"/>
                <a:gd name="T64" fmla="*/ 123 w 1638"/>
                <a:gd name="T65" fmla="*/ 87 h 1998"/>
                <a:gd name="T66" fmla="*/ 128 w 1638"/>
                <a:gd name="T67" fmla="*/ 86 h 1998"/>
                <a:gd name="T68" fmla="*/ 132 w 1638"/>
                <a:gd name="T69" fmla="*/ 90 h 1998"/>
                <a:gd name="T70" fmla="*/ 138 w 1638"/>
                <a:gd name="T71" fmla="*/ 96 h 1998"/>
                <a:gd name="T72" fmla="*/ 138 w 1638"/>
                <a:gd name="T73" fmla="*/ 110 h 1998"/>
                <a:gd name="T74" fmla="*/ 137 w 1638"/>
                <a:gd name="T75" fmla="*/ 118 h 1998"/>
                <a:gd name="T76" fmla="*/ 133 w 1638"/>
                <a:gd name="T77" fmla="*/ 124 h 1998"/>
                <a:gd name="T78" fmla="*/ 122 w 1638"/>
                <a:gd name="T79" fmla="*/ 125 h 1998"/>
                <a:gd name="T80" fmla="*/ 116 w 1638"/>
                <a:gd name="T81" fmla="*/ 127 h 1998"/>
                <a:gd name="T82" fmla="*/ 108 w 1638"/>
                <a:gd name="T83" fmla="*/ 123 h 1998"/>
                <a:gd name="T84" fmla="*/ 109 w 1638"/>
                <a:gd name="T85" fmla="*/ 119 h 1998"/>
                <a:gd name="T86" fmla="*/ 104 w 1638"/>
                <a:gd name="T87" fmla="*/ 104 h 1998"/>
                <a:gd name="T88" fmla="*/ 94 w 1638"/>
                <a:gd name="T89" fmla="*/ 105 h 1998"/>
                <a:gd name="T90" fmla="*/ 88 w 1638"/>
                <a:gd name="T91" fmla="*/ 109 h 1998"/>
                <a:gd name="T92" fmla="*/ 76 w 1638"/>
                <a:gd name="T93" fmla="*/ 107 h 1998"/>
                <a:gd name="T94" fmla="*/ 72 w 1638"/>
                <a:gd name="T95" fmla="*/ 114 h 1998"/>
                <a:gd name="T96" fmla="*/ 86 w 1638"/>
                <a:gd name="T97" fmla="*/ 121 h 1998"/>
                <a:gd name="T98" fmla="*/ 87 w 1638"/>
                <a:gd name="T99" fmla="*/ 129 h 1998"/>
                <a:gd name="T100" fmla="*/ 86 w 1638"/>
                <a:gd name="T101" fmla="*/ 137 h 1998"/>
                <a:gd name="T102" fmla="*/ 79 w 1638"/>
                <a:gd name="T103" fmla="*/ 141 h 1998"/>
                <a:gd name="T104" fmla="*/ 73 w 1638"/>
                <a:gd name="T105" fmla="*/ 144 h 1998"/>
                <a:gd name="T106" fmla="*/ 72 w 1638"/>
                <a:gd name="T107" fmla="*/ 164 h 1998"/>
                <a:gd name="T108" fmla="*/ 68 w 1638"/>
                <a:gd name="T109" fmla="*/ 172 h 1998"/>
                <a:gd name="T110" fmla="*/ 59 w 1638"/>
                <a:gd name="T111" fmla="*/ 164 h 1998"/>
                <a:gd name="T112" fmla="*/ 65 w 1638"/>
                <a:gd name="T113" fmla="*/ 146 h 1998"/>
                <a:gd name="T114" fmla="*/ 69 w 1638"/>
                <a:gd name="T115" fmla="*/ 133 h 1998"/>
                <a:gd name="T116" fmla="*/ 61 w 1638"/>
                <a:gd name="T117" fmla="*/ 131 h 1998"/>
                <a:gd name="T118" fmla="*/ 43 w 1638"/>
                <a:gd name="T119" fmla="*/ 125 h 1998"/>
                <a:gd name="T120" fmla="*/ 23 w 1638"/>
                <a:gd name="T121" fmla="*/ 125 h 1998"/>
                <a:gd name="T122" fmla="*/ 17 w 1638"/>
                <a:gd name="T123" fmla="*/ 121 h 19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638"/>
                <a:gd name="T187" fmla="*/ 0 h 1998"/>
                <a:gd name="T188" fmla="*/ 1638 w 1638"/>
                <a:gd name="T189" fmla="*/ 1998 h 19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638" h="1998">
                  <a:moveTo>
                    <a:pt x="144" y="1380"/>
                  </a:moveTo>
                  <a:lnTo>
                    <a:pt x="150" y="1368"/>
                  </a:lnTo>
                  <a:lnTo>
                    <a:pt x="150" y="1362"/>
                  </a:lnTo>
                  <a:lnTo>
                    <a:pt x="150" y="1356"/>
                  </a:lnTo>
                  <a:lnTo>
                    <a:pt x="144" y="1356"/>
                  </a:lnTo>
                  <a:lnTo>
                    <a:pt x="138" y="1356"/>
                  </a:lnTo>
                  <a:lnTo>
                    <a:pt x="126" y="1356"/>
                  </a:lnTo>
                  <a:lnTo>
                    <a:pt x="114" y="1344"/>
                  </a:lnTo>
                  <a:lnTo>
                    <a:pt x="84" y="1320"/>
                  </a:lnTo>
                  <a:lnTo>
                    <a:pt x="54" y="1296"/>
                  </a:lnTo>
                  <a:lnTo>
                    <a:pt x="48" y="1290"/>
                  </a:lnTo>
                  <a:lnTo>
                    <a:pt x="42" y="1278"/>
                  </a:lnTo>
                  <a:lnTo>
                    <a:pt x="30" y="1272"/>
                  </a:lnTo>
                  <a:lnTo>
                    <a:pt x="0" y="1248"/>
                  </a:lnTo>
                  <a:lnTo>
                    <a:pt x="6" y="1230"/>
                  </a:lnTo>
                  <a:lnTo>
                    <a:pt x="12" y="1194"/>
                  </a:lnTo>
                  <a:lnTo>
                    <a:pt x="18" y="1170"/>
                  </a:lnTo>
                  <a:lnTo>
                    <a:pt x="30" y="1134"/>
                  </a:lnTo>
                  <a:lnTo>
                    <a:pt x="36" y="1086"/>
                  </a:lnTo>
                  <a:lnTo>
                    <a:pt x="42" y="1050"/>
                  </a:lnTo>
                  <a:lnTo>
                    <a:pt x="48" y="1044"/>
                  </a:lnTo>
                  <a:lnTo>
                    <a:pt x="54" y="1026"/>
                  </a:lnTo>
                  <a:lnTo>
                    <a:pt x="60" y="1014"/>
                  </a:lnTo>
                  <a:lnTo>
                    <a:pt x="66" y="1002"/>
                  </a:lnTo>
                  <a:lnTo>
                    <a:pt x="66" y="996"/>
                  </a:lnTo>
                  <a:lnTo>
                    <a:pt x="72" y="996"/>
                  </a:lnTo>
                  <a:lnTo>
                    <a:pt x="72" y="990"/>
                  </a:lnTo>
                  <a:lnTo>
                    <a:pt x="78" y="990"/>
                  </a:lnTo>
                  <a:lnTo>
                    <a:pt x="90" y="978"/>
                  </a:lnTo>
                  <a:lnTo>
                    <a:pt x="96" y="966"/>
                  </a:lnTo>
                  <a:lnTo>
                    <a:pt x="102" y="966"/>
                  </a:lnTo>
                  <a:lnTo>
                    <a:pt x="114" y="954"/>
                  </a:lnTo>
                  <a:lnTo>
                    <a:pt x="120" y="954"/>
                  </a:lnTo>
                  <a:lnTo>
                    <a:pt x="120" y="948"/>
                  </a:lnTo>
                  <a:lnTo>
                    <a:pt x="114" y="930"/>
                  </a:lnTo>
                  <a:lnTo>
                    <a:pt x="114" y="924"/>
                  </a:lnTo>
                  <a:lnTo>
                    <a:pt x="108" y="918"/>
                  </a:lnTo>
                  <a:lnTo>
                    <a:pt x="102" y="912"/>
                  </a:lnTo>
                  <a:lnTo>
                    <a:pt x="90" y="906"/>
                  </a:lnTo>
                  <a:lnTo>
                    <a:pt x="84" y="900"/>
                  </a:lnTo>
                  <a:lnTo>
                    <a:pt x="84" y="888"/>
                  </a:lnTo>
                  <a:lnTo>
                    <a:pt x="84" y="882"/>
                  </a:lnTo>
                  <a:lnTo>
                    <a:pt x="78" y="858"/>
                  </a:lnTo>
                  <a:lnTo>
                    <a:pt x="78" y="852"/>
                  </a:lnTo>
                  <a:lnTo>
                    <a:pt x="84" y="846"/>
                  </a:lnTo>
                  <a:lnTo>
                    <a:pt x="84" y="840"/>
                  </a:lnTo>
                  <a:lnTo>
                    <a:pt x="96" y="828"/>
                  </a:lnTo>
                  <a:lnTo>
                    <a:pt x="114" y="816"/>
                  </a:lnTo>
                  <a:lnTo>
                    <a:pt x="114" y="810"/>
                  </a:lnTo>
                  <a:lnTo>
                    <a:pt x="114" y="804"/>
                  </a:lnTo>
                  <a:lnTo>
                    <a:pt x="108" y="780"/>
                  </a:lnTo>
                  <a:lnTo>
                    <a:pt x="96" y="756"/>
                  </a:lnTo>
                  <a:lnTo>
                    <a:pt x="96" y="750"/>
                  </a:lnTo>
                  <a:lnTo>
                    <a:pt x="90" y="720"/>
                  </a:lnTo>
                  <a:lnTo>
                    <a:pt x="90" y="708"/>
                  </a:lnTo>
                  <a:lnTo>
                    <a:pt x="90" y="690"/>
                  </a:lnTo>
                  <a:lnTo>
                    <a:pt x="96" y="672"/>
                  </a:lnTo>
                  <a:lnTo>
                    <a:pt x="90" y="666"/>
                  </a:lnTo>
                  <a:lnTo>
                    <a:pt x="96" y="666"/>
                  </a:lnTo>
                  <a:lnTo>
                    <a:pt x="102" y="642"/>
                  </a:lnTo>
                  <a:lnTo>
                    <a:pt x="108" y="624"/>
                  </a:lnTo>
                  <a:lnTo>
                    <a:pt x="102" y="618"/>
                  </a:lnTo>
                  <a:lnTo>
                    <a:pt x="102" y="588"/>
                  </a:lnTo>
                  <a:lnTo>
                    <a:pt x="102" y="564"/>
                  </a:lnTo>
                  <a:lnTo>
                    <a:pt x="102" y="546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0"/>
                  </a:lnTo>
                  <a:lnTo>
                    <a:pt x="96" y="498"/>
                  </a:lnTo>
                  <a:lnTo>
                    <a:pt x="96" y="486"/>
                  </a:lnTo>
                  <a:lnTo>
                    <a:pt x="96" y="474"/>
                  </a:lnTo>
                  <a:lnTo>
                    <a:pt x="96" y="462"/>
                  </a:lnTo>
                  <a:lnTo>
                    <a:pt x="114" y="450"/>
                  </a:lnTo>
                  <a:lnTo>
                    <a:pt x="126" y="438"/>
                  </a:lnTo>
                  <a:lnTo>
                    <a:pt x="132" y="432"/>
                  </a:lnTo>
                  <a:lnTo>
                    <a:pt x="144" y="426"/>
                  </a:lnTo>
                  <a:lnTo>
                    <a:pt x="144" y="420"/>
                  </a:lnTo>
                  <a:lnTo>
                    <a:pt x="156" y="414"/>
                  </a:lnTo>
                  <a:lnTo>
                    <a:pt x="162" y="408"/>
                  </a:lnTo>
                  <a:lnTo>
                    <a:pt x="180" y="396"/>
                  </a:lnTo>
                  <a:lnTo>
                    <a:pt x="210" y="372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34" y="348"/>
                  </a:lnTo>
                  <a:lnTo>
                    <a:pt x="240" y="348"/>
                  </a:lnTo>
                  <a:lnTo>
                    <a:pt x="246" y="342"/>
                  </a:lnTo>
                  <a:lnTo>
                    <a:pt x="276" y="318"/>
                  </a:lnTo>
                  <a:lnTo>
                    <a:pt x="282" y="312"/>
                  </a:lnTo>
                  <a:lnTo>
                    <a:pt x="288" y="306"/>
                  </a:lnTo>
                  <a:lnTo>
                    <a:pt x="300" y="288"/>
                  </a:lnTo>
                  <a:lnTo>
                    <a:pt x="306" y="276"/>
                  </a:lnTo>
                  <a:lnTo>
                    <a:pt x="324" y="246"/>
                  </a:lnTo>
                  <a:lnTo>
                    <a:pt x="330" y="240"/>
                  </a:lnTo>
                  <a:lnTo>
                    <a:pt x="336" y="234"/>
                  </a:lnTo>
                  <a:lnTo>
                    <a:pt x="342" y="228"/>
                  </a:lnTo>
                  <a:lnTo>
                    <a:pt x="342" y="216"/>
                  </a:lnTo>
                  <a:lnTo>
                    <a:pt x="354" y="204"/>
                  </a:lnTo>
                  <a:lnTo>
                    <a:pt x="360" y="204"/>
                  </a:lnTo>
                  <a:lnTo>
                    <a:pt x="366" y="186"/>
                  </a:lnTo>
                  <a:lnTo>
                    <a:pt x="384" y="162"/>
                  </a:lnTo>
                  <a:lnTo>
                    <a:pt x="390" y="144"/>
                  </a:lnTo>
                  <a:lnTo>
                    <a:pt x="396" y="114"/>
                  </a:lnTo>
                  <a:lnTo>
                    <a:pt x="396" y="102"/>
                  </a:lnTo>
                  <a:lnTo>
                    <a:pt x="402" y="90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08" y="36"/>
                  </a:lnTo>
                  <a:lnTo>
                    <a:pt x="408" y="24"/>
                  </a:lnTo>
                  <a:lnTo>
                    <a:pt x="408" y="6"/>
                  </a:lnTo>
                  <a:lnTo>
                    <a:pt x="420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68" y="0"/>
                  </a:lnTo>
                  <a:lnTo>
                    <a:pt x="480" y="0"/>
                  </a:lnTo>
                  <a:lnTo>
                    <a:pt x="492" y="0"/>
                  </a:lnTo>
                  <a:lnTo>
                    <a:pt x="498" y="0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8" y="18"/>
                  </a:lnTo>
                  <a:lnTo>
                    <a:pt x="534" y="18"/>
                  </a:lnTo>
                  <a:lnTo>
                    <a:pt x="540" y="18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8" y="36"/>
                  </a:lnTo>
                  <a:lnTo>
                    <a:pt x="588" y="54"/>
                  </a:lnTo>
                  <a:lnTo>
                    <a:pt x="594" y="48"/>
                  </a:lnTo>
                  <a:lnTo>
                    <a:pt x="600" y="48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12" y="66"/>
                  </a:lnTo>
                  <a:lnTo>
                    <a:pt x="630" y="72"/>
                  </a:lnTo>
                  <a:lnTo>
                    <a:pt x="642" y="78"/>
                  </a:lnTo>
                  <a:lnTo>
                    <a:pt x="666" y="78"/>
                  </a:lnTo>
                  <a:lnTo>
                    <a:pt x="672" y="72"/>
                  </a:lnTo>
                  <a:lnTo>
                    <a:pt x="690" y="84"/>
                  </a:lnTo>
                  <a:lnTo>
                    <a:pt x="690" y="90"/>
                  </a:lnTo>
                  <a:lnTo>
                    <a:pt x="708" y="96"/>
                  </a:lnTo>
                  <a:lnTo>
                    <a:pt x="708" y="102"/>
                  </a:lnTo>
                  <a:lnTo>
                    <a:pt x="744" y="96"/>
                  </a:lnTo>
                  <a:lnTo>
                    <a:pt x="756" y="78"/>
                  </a:lnTo>
                  <a:lnTo>
                    <a:pt x="756" y="72"/>
                  </a:lnTo>
                  <a:lnTo>
                    <a:pt x="762" y="66"/>
                  </a:lnTo>
                  <a:lnTo>
                    <a:pt x="768" y="60"/>
                  </a:lnTo>
                  <a:lnTo>
                    <a:pt x="774" y="54"/>
                  </a:lnTo>
                  <a:lnTo>
                    <a:pt x="786" y="54"/>
                  </a:lnTo>
                  <a:lnTo>
                    <a:pt x="786" y="60"/>
                  </a:lnTo>
                  <a:lnTo>
                    <a:pt x="786" y="66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92" y="90"/>
                  </a:lnTo>
                  <a:lnTo>
                    <a:pt x="780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26"/>
                  </a:lnTo>
                  <a:lnTo>
                    <a:pt x="768" y="150"/>
                  </a:lnTo>
                  <a:lnTo>
                    <a:pt x="750" y="168"/>
                  </a:lnTo>
                  <a:lnTo>
                    <a:pt x="750" y="174"/>
                  </a:lnTo>
                  <a:lnTo>
                    <a:pt x="762" y="192"/>
                  </a:lnTo>
                  <a:lnTo>
                    <a:pt x="774" y="210"/>
                  </a:lnTo>
                  <a:lnTo>
                    <a:pt x="792" y="228"/>
                  </a:lnTo>
                  <a:lnTo>
                    <a:pt x="804" y="240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40" y="252"/>
                  </a:lnTo>
                  <a:lnTo>
                    <a:pt x="834" y="252"/>
                  </a:lnTo>
                  <a:lnTo>
                    <a:pt x="846" y="252"/>
                  </a:lnTo>
                  <a:lnTo>
                    <a:pt x="852" y="270"/>
                  </a:lnTo>
                  <a:lnTo>
                    <a:pt x="858" y="282"/>
                  </a:lnTo>
                  <a:lnTo>
                    <a:pt x="858" y="288"/>
                  </a:lnTo>
                  <a:lnTo>
                    <a:pt x="864" y="300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58" y="318"/>
                  </a:lnTo>
                  <a:lnTo>
                    <a:pt x="852" y="318"/>
                  </a:lnTo>
                  <a:lnTo>
                    <a:pt x="846" y="324"/>
                  </a:lnTo>
                  <a:lnTo>
                    <a:pt x="846" y="336"/>
                  </a:lnTo>
                  <a:lnTo>
                    <a:pt x="840" y="348"/>
                  </a:lnTo>
                  <a:lnTo>
                    <a:pt x="840" y="360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46" y="402"/>
                  </a:lnTo>
                  <a:lnTo>
                    <a:pt x="858" y="420"/>
                  </a:lnTo>
                  <a:lnTo>
                    <a:pt x="882" y="426"/>
                  </a:lnTo>
                  <a:lnTo>
                    <a:pt x="888" y="444"/>
                  </a:lnTo>
                  <a:lnTo>
                    <a:pt x="900" y="444"/>
                  </a:lnTo>
                  <a:lnTo>
                    <a:pt x="900" y="462"/>
                  </a:lnTo>
                  <a:lnTo>
                    <a:pt x="894" y="474"/>
                  </a:lnTo>
                  <a:lnTo>
                    <a:pt x="888" y="486"/>
                  </a:lnTo>
                  <a:lnTo>
                    <a:pt x="882" y="492"/>
                  </a:lnTo>
                  <a:lnTo>
                    <a:pt x="870" y="504"/>
                  </a:lnTo>
                  <a:lnTo>
                    <a:pt x="852" y="504"/>
                  </a:lnTo>
                  <a:lnTo>
                    <a:pt x="852" y="510"/>
                  </a:lnTo>
                  <a:lnTo>
                    <a:pt x="852" y="516"/>
                  </a:lnTo>
                  <a:lnTo>
                    <a:pt x="846" y="528"/>
                  </a:lnTo>
                  <a:lnTo>
                    <a:pt x="846" y="582"/>
                  </a:lnTo>
                  <a:lnTo>
                    <a:pt x="840" y="582"/>
                  </a:lnTo>
                  <a:lnTo>
                    <a:pt x="834" y="582"/>
                  </a:lnTo>
                  <a:lnTo>
                    <a:pt x="828" y="582"/>
                  </a:lnTo>
                  <a:lnTo>
                    <a:pt x="822" y="582"/>
                  </a:lnTo>
                  <a:lnTo>
                    <a:pt x="810" y="582"/>
                  </a:lnTo>
                  <a:lnTo>
                    <a:pt x="810" y="528"/>
                  </a:lnTo>
                  <a:lnTo>
                    <a:pt x="792" y="528"/>
                  </a:lnTo>
                  <a:lnTo>
                    <a:pt x="792" y="522"/>
                  </a:lnTo>
                  <a:lnTo>
                    <a:pt x="786" y="522"/>
                  </a:lnTo>
                  <a:lnTo>
                    <a:pt x="786" y="516"/>
                  </a:lnTo>
                  <a:lnTo>
                    <a:pt x="780" y="516"/>
                  </a:lnTo>
                  <a:lnTo>
                    <a:pt x="780" y="510"/>
                  </a:lnTo>
                  <a:lnTo>
                    <a:pt x="762" y="510"/>
                  </a:lnTo>
                  <a:lnTo>
                    <a:pt x="756" y="510"/>
                  </a:lnTo>
                  <a:lnTo>
                    <a:pt x="750" y="522"/>
                  </a:lnTo>
                  <a:lnTo>
                    <a:pt x="744" y="534"/>
                  </a:lnTo>
                  <a:lnTo>
                    <a:pt x="732" y="540"/>
                  </a:lnTo>
                  <a:lnTo>
                    <a:pt x="732" y="558"/>
                  </a:lnTo>
                  <a:lnTo>
                    <a:pt x="732" y="564"/>
                  </a:lnTo>
                  <a:lnTo>
                    <a:pt x="732" y="570"/>
                  </a:lnTo>
                  <a:lnTo>
                    <a:pt x="726" y="576"/>
                  </a:lnTo>
                  <a:lnTo>
                    <a:pt x="720" y="576"/>
                  </a:lnTo>
                  <a:lnTo>
                    <a:pt x="714" y="582"/>
                  </a:lnTo>
                  <a:lnTo>
                    <a:pt x="702" y="588"/>
                  </a:lnTo>
                  <a:lnTo>
                    <a:pt x="696" y="594"/>
                  </a:lnTo>
                  <a:lnTo>
                    <a:pt x="690" y="600"/>
                  </a:lnTo>
                  <a:lnTo>
                    <a:pt x="690" y="606"/>
                  </a:lnTo>
                  <a:lnTo>
                    <a:pt x="678" y="606"/>
                  </a:lnTo>
                  <a:lnTo>
                    <a:pt x="678" y="624"/>
                  </a:lnTo>
                  <a:lnTo>
                    <a:pt x="684" y="642"/>
                  </a:lnTo>
                  <a:lnTo>
                    <a:pt x="684" y="660"/>
                  </a:lnTo>
                  <a:lnTo>
                    <a:pt x="690" y="672"/>
                  </a:lnTo>
                  <a:lnTo>
                    <a:pt x="702" y="720"/>
                  </a:lnTo>
                  <a:lnTo>
                    <a:pt x="708" y="750"/>
                  </a:lnTo>
                  <a:lnTo>
                    <a:pt x="708" y="792"/>
                  </a:lnTo>
                  <a:lnTo>
                    <a:pt x="708" y="828"/>
                  </a:lnTo>
                  <a:lnTo>
                    <a:pt x="708" y="852"/>
                  </a:lnTo>
                  <a:lnTo>
                    <a:pt x="696" y="894"/>
                  </a:lnTo>
                  <a:lnTo>
                    <a:pt x="702" y="900"/>
                  </a:lnTo>
                  <a:lnTo>
                    <a:pt x="708" y="924"/>
                  </a:lnTo>
                  <a:lnTo>
                    <a:pt x="684" y="936"/>
                  </a:lnTo>
                  <a:lnTo>
                    <a:pt x="660" y="954"/>
                  </a:lnTo>
                  <a:lnTo>
                    <a:pt x="618" y="984"/>
                  </a:lnTo>
                  <a:lnTo>
                    <a:pt x="618" y="990"/>
                  </a:lnTo>
                  <a:lnTo>
                    <a:pt x="612" y="996"/>
                  </a:lnTo>
                  <a:lnTo>
                    <a:pt x="606" y="1002"/>
                  </a:lnTo>
                  <a:lnTo>
                    <a:pt x="618" y="1008"/>
                  </a:lnTo>
                  <a:lnTo>
                    <a:pt x="618" y="1014"/>
                  </a:lnTo>
                  <a:lnTo>
                    <a:pt x="624" y="1026"/>
                  </a:lnTo>
                  <a:lnTo>
                    <a:pt x="630" y="1026"/>
                  </a:lnTo>
                  <a:lnTo>
                    <a:pt x="636" y="1032"/>
                  </a:lnTo>
                  <a:lnTo>
                    <a:pt x="642" y="1032"/>
                  </a:lnTo>
                  <a:lnTo>
                    <a:pt x="642" y="1038"/>
                  </a:lnTo>
                  <a:lnTo>
                    <a:pt x="648" y="1044"/>
                  </a:lnTo>
                  <a:lnTo>
                    <a:pt x="666" y="1050"/>
                  </a:lnTo>
                  <a:lnTo>
                    <a:pt x="678" y="1038"/>
                  </a:lnTo>
                  <a:lnTo>
                    <a:pt x="684" y="1038"/>
                  </a:lnTo>
                  <a:lnTo>
                    <a:pt x="684" y="1032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20"/>
                  </a:lnTo>
                  <a:lnTo>
                    <a:pt x="708" y="1014"/>
                  </a:lnTo>
                  <a:lnTo>
                    <a:pt x="720" y="1020"/>
                  </a:lnTo>
                  <a:lnTo>
                    <a:pt x="720" y="1014"/>
                  </a:lnTo>
                  <a:lnTo>
                    <a:pt x="726" y="1008"/>
                  </a:lnTo>
                  <a:lnTo>
                    <a:pt x="732" y="1008"/>
                  </a:lnTo>
                  <a:lnTo>
                    <a:pt x="738" y="1008"/>
                  </a:lnTo>
                  <a:lnTo>
                    <a:pt x="744" y="1002"/>
                  </a:lnTo>
                  <a:lnTo>
                    <a:pt x="744" y="996"/>
                  </a:lnTo>
                  <a:lnTo>
                    <a:pt x="750" y="996"/>
                  </a:lnTo>
                  <a:lnTo>
                    <a:pt x="756" y="1002"/>
                  </a:lnTo>
                  <a:lnTo>
                    <a:pt x="762" y="1002"/>
                  </a:lnTo>
                  <a:lnTo>
                    <a:pt x="768" y="996"/>
                  </a:lnTo>
                  <a:lnTo>
                    <a:pt x="780" y="996"/>
                  </a:lnTo>
                  <a:lnTo>
                    <a:pt x="786" y="996"/>
                  </a:lnTo>
                  <a:lnTo>
                    <a:pt x="816" y="990"/>
                  </a:lnTo>
                  <a:lnTo>
                    <a:pt x="828" y="990"/>
                  </a:lnTo>
                  <a:lnTo>
                    <a:pt x="834" y="990"/>
                  </a:lnTo>
                  <a:lnTo>
                    <a:pt x="840" y="984"/>
                  </a:lnTo>
                  <a:lnTo>
                    <a:pt x="852" y="978"/>
                  </a:lnTo>
                  <a:lnTo>
                    <a:pt x="852" y="972"/>
                  </a:lnTo>
                  <a:lnTo>
                    <a:pt x="858" y="972"/>
                  </a:lnTo>
                  <a:lnTo>
                    <a:pt x="864" y="966"/>
                  </a:lnTo>
                  <a:lnTo>
                    <a:pt x="870" y="966"/>
                  </a:lnTo>
                  <a:lnTo>
                    <a:pt x="876" y="966"/>
                  </a:lnTo>
                  <a:lnTo>
                    <a:pt x="882" y="960"/>
                  </a:lnTo>
                  <a:lnTo>
                    <a:pt x="888" y="960"/>
                  </a:lnTo>
                  <a:lnTo>
                    <a:pt x="894" y="960"/>
                  </a:lnTo>
                  <a:lnTo>
                    <a:pt x="894" y="966"/>
                  </a:lnTo>
                  <a:lnTo>
                    <a:pt x="894" y="978"/>
                  </a:lnTo>
                  <a:lnTo>
                    <a:pt x="894" y="984"/>
                  </a:lnTo>
                  <a:lnTo>
                    <a:pt x="900" y="984"/>
                  </a:lnTo>
                  <a:lnTo>
                    <a:pt x="906" y="978"/>
                  </a:lnTo>
                  <a:lnTo>
                    <a:pt x="912" y="972"/>
                  </a:lnTo>
                  <a:lnTo>
                    <a:pt x="918" y="978"/>
                  </a:lnTo>
                  <a:lnTo>
                    <a:pt x="924" y="978"/>
                  </a:lnTo>
                  <a:lnTo>
                    <a:pt x="924" y="972"/>
                  </a:lnTo>
                  <a:lnTo>
                    <a:pt x="924" y="966"/>
                  </a:lnTo>
                  <a:lnTo>
                    <a:pt x="930" y="966"/>
                  </a:lnTo>
                  <a:lnTo>
                    <a:pt x="948" y="966"/>
                  </a:lnTo>
                  <a:lnTo>
                    <a:pt x="954" y="966"/>
                  </a:lnTo>
                  <a:lnTo>
                    <a:pt x="954" y="960"/>
                  </a:lnTo>
                  <a:lnTo>
                    <a:pt x="960" y="960"/>
                  </a:lnTo>
                  <a:lnTo>
                    <a:pt x="966" y="960"/>
                  </a:lnTo>
                  <a:lnTo>
                    <a:pt x="966" y="966"/>
                  </a:lnTo>
                  <a:lnTo>
                    <a:pt x="978" y="972"/>
                  </a:lnTo>
                  <a:lnTo>
                    <a:pt x="978" y="978"/>
                  </a:lnTo>
                  <a:lnTo>
                    <a:pt x="978" y="984"/>
                  </a:lnTo>
                  <a:lnTo>
                    <a:pt x="984" y="978"/>
                  </a:lnTo>
                  <a:lnTo>
                    <a:pt x="990" y="978"/>
                  </a:lnTo>
                  <a:lnTo>
                    <a:pt x="996" y="984"/>
                  </a:lnTo>
                  <a:lnTo>
                    <a:pt x="1002" y="990"/>
                  </a:lnTo>
                  <a:lnTo>
                    <a:pt x="1008" y="972"/>
                  </a:lnTo>
                  <a:lnTo>
                    <a:pt x="1026" y="972"/>
                  </a:lnTo>
                  <a:lnTo>
                    <a:pt x="1032" y="972"/>
                  </a:lnTo>
                  <a:lnTo>
                    <a:pt x="1038" y="972"/>
                  </a:lnTo>
                  <a:lnTo>
                    <a:pt x="1050" y="972"/>
                  </a:lnTo>
                  <a:lnTo>
                    <a:pt x="1056" y="972"/>
                  </a:lnTo>
                  <a:lnTo>
                    <a:pt x="1062" y="966"/>
                  </a:lnTo>
                  <a:lnTo>
                    <a:pt x="1074" y="966"/>
                  </a:lnTo>
                  <a:lnTo>
                    <a:pt x="1074" y="960"/>
                  </a:lnTo>
                  <a:lnTo>
                    <a:pt x="1080" y="954"/>
                  </a:lnTo>
                  <a:lnTo>
                    <a:pt x="1080" y="948"/>
                  </a:lnTo>
                  <a:lnTo>
                    <a:pt x="1074" y="948"/>
                  </a:lnTo>
                  <a:lnTo>
                    <a:pt x="1068" y="948"/>
                  </a:lnTo>
                  <a:lnTo>
                    <a:pt x="1062" y="942"/>
                  </a:lnTo>
                  <a:lnTo>
                    <a:pt x="1068" y="936"/>
                  </a:lnTo>
                  <a:lnTo>
                    <a:pt x="1074" y="936"/>
                  </a:lnTo>
                  <a:lnTo>
                    <a:pt x="1080" y="936"/>
                  </a:lnTo>
                  <a:lnTo>
                    <a:pt x="1086" y="942"/>
                  </a:lnTo>
                  <a:lnTo>
                    <a:pt x="1092" y="942"/>
                  </a:lnTo>
                  <a:lnTo>
                    <a:pt x="1098" y="948"/>
                  </a:lnTo>
                  <a:lnTo>
                    <a:pt x="1104" y="954"/>
                  </a:lnTo>
                  <a:lnTo>
                    <a:pt x="1110" y="954"/>
                  </a:lnTo>
                  <a:lnTo>
                    <a:pt x="1116" y="948"/>
                  </a:lnTo>
                  <a:lnTo>
                    <a:pt x="1122" y="942"/>
                  </a:lnTo>
                  <a:lnTo>
                    <a:pt x="1128" y="942"/>
                  </a:lnTo>
                  <a:lnTo>
                    <a:pt x="1134" y="942"/>
                  </a:lnTo>
                  <a:lnTo>
                    <a:pt x="1140" y="948"/>
                  </a:lnTo>
                  <a:lnTo>
                    <a:pt x="1146" y="942"/>
                  </a:lnTo>
                  <a:lnTo>
                    <a:pt x="1152" y="942"/>
                  </a:lnTo>
                  <a:lnTo>
                    <a:pt x="1152" y="930"/>
                  </a:lnTo>
                  <a:lnTo>
                    <a:pt x="1164" y="936"/>
                  </a:lnTo>
                  <a:lnTo>
                    <a:pt x="1158" y="942"/>
                  </a:lnTo>
                  <a:lnTo>
                    <a:pt x="1158" y="948"/>
                  </a:lnTo>
                  <a:lnTo>
                    <a:pt x="1146" y="954"/>
                  </a:lnTo>
                  <a:lnTo>
                    <a:pt x="1152" y="954"/>
                  </a:lnTo>
                  <a:lnTo>
                    <a:pt x="1158" y="954"/>
                  </a:lnTo>
                  <a:lnTo>
                    <a:pt x="1158" y="948"/>
                  </a:lnTo>
                  <a:lnTo>
                    <a:pt x="1164" y="948"/>
                  </a:lnTo>
                  <a:lnTo>
                    <a:pt x="1170" y="948"/>
                  </a:lnTo>
                  <a:lnTo>
                    <a:pt x="1176" y="954"/>
                  </a:lnTo>
                  <a:lnTo>
                    <a:pt x="1176" y="966"/>
                  </a:lnTo>
                  <a:lnTo>
                    <a:pt x="1182" y="972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88" y="984"/>
                  </a:lnTo>
                  <a:lnTo>
                    <a:pt x="1194" y="984"/>
                  </a:lnTo>
                  <a:lnTo>
                    <a:pt x="1200" y="984"/>
                  </a:lnTo>
                  <a:lnTo>
                    <a:pt x="1212" y="984"/>
                  </a:lnTo>
                  <a:lnTo>
                    <a:pt x="1218" y="990"/>
                  </a:lnTo>
                  <a:lnTo>
                    <a:pt x="1224" y="990"/>
                  </a:lnTo>
                  <a:lnTo>
                    <a:pt x="1224" y="984"/>
                  </a:lnTo>
                  <a:lnTo>
                    <a:pt x="1230" y="990"/>
                  </a:lnTo>
                  <a:lnTo>
                    <a:pt x="1236" y="984"/>
                  </a:lnTo>
                  <a:lnTo>
                    <a:pt x="1242" y="984"/>
                  </a:lnTo>
                  <a:lnTo>
                    <a:pt x="1248" y="990"/>
                  </a:lnTo>
                  <a:lnTo>
                    <a:pt x="1254" y="990"/>
                  </a:lnTo>
                  <a:lnTo>
                    <a:pt x="1254" y="996"/>
                  </a:lnTo>
                  <a:lnTo>
                    <a:pt x="1254" y="1002"/>
                  </a:lnTo>
                  <a:lnTo>
                    <a:pt x="1254" y="1008"/>
                  </a:lnTo>
                  <a:lnTo>
                    <a:pt x="1260" y="1014"/>
                  </a:lnTo>
                  <a:lnTo>
                    <a:pt x="1266" y="1014"/>
                  </a:lnTo>
                  <a:lnTo>
                    <a:pt x="1272" y="1014"/>
                  </a:lnTo>
                  <a:lnTo>
                    <a:pt x="1278" y="1020"/>
                  </a:lnTo>
                  <a:lnTo>
                    <a:pt x="1284" y="1020"/>
                  </a:lnTo>
                  <a:lnTo>
                    <a:pt x="1290" y="1014"/>
                  </a:lnTo>
                  <a:lnTo>
                    <a:pt x="1290" y="1008"/>
                  </a:lnTo>
                  <a:lnTo>
                    <a:pt x="1296" y="1008"/>
                  </a:lnTo>
                  <a:lnTo>
                    <a:pt x="1302" y="1014"/>
                  </a:lnTo>
                  <a:lnTo>
                    <a:pt x="1308" y="1014"/>
                  </a:lnTo>
                  <a:lnTo>
                    <a:pt x="1314" y="1008"/>
                  </a:lnTo>
                  <a:lnTo>
                    <a:pt x="1320" y="1008"/>
                  </a:lnTo>
                  <a:lnTo>
                    <a:pt x="1320" y="1002"/>
                  </a:lnTo>
                  <a:lnTo>
                    <a:pt x="1320" y="996"/>
                  </a:lnTo>
                  <a:lnTo>
                    <a:pt x="1332" y="1002"/>
                  </a:lnTo>
                  <a:lnTo>
                    <a:pt x="1332" y="1008"/>
                  </a:lnTo>
                  <a:lnTo>
                    <a:pt x="1326" y="1014"/>
                  </a:lnTo>
                  <a:lnTo>
                    <a:pt x="1332" y="1014"/>
                  </a:lnTo>
                  <a:lnTo>
                    <a:pt x="1338" y="1014"/>
                  </a:lnTo>
                  <a:lnTo>
                    <a:pt x="1338" y="1008"/>
                  </a:lnTo>
                  <a:lnTo>
                    <a:pt x="1344" y="1008"/>
                  </a:lnTo>
                  <a:lnTo>
                    <a:pt x="1350" y="1008"/>
                  </a:lnTo>
                  <a:lnTo>
                    <a:pt x="1356" y="1014"/>
                  </a:lnTo>
                  <a:lnTo>
                    <a:pt x="1356" y="1008"/>
                  </a:lnTo>
                  <a:lnTo>
                    <a:pt x="1362" y="1014"/>
                  </a:lnTo>
                  <a:lnTo>
                    <a:pt x="1392" y="1014"/>
                  </a:lnTo>
                  <a:lnTo>
                    <a:pt x="1398" y="1014"/>
                  </a:lnTo>
                  <a:lnTo>
                    <a:pt x="1404" y="1008"/>
                  </a:lnTo>
                  <a:lnTo>
                    <a:pt x="1404" y="1014"/>
                  </a:lnTo>
                  <a:lnTo>
                    <a:pt x="1410" y="1008"/>
                  </a:lnTo>
                  <a:lnTo>
                    <a:pt x="1416" y="1008"/>
                  </a:lnTo>
                  <a:lnTo>
                    <a:pt x="1422" y="1002"/>
                  </a:lnTo>
                  <a:lnTo>
                    <a:pt x="1428" y="1002"/>
                  </a:lnTo>
                  <a:lnTo>
                    <a:pt x="1428" y="996"/>
                  </a:lnTo>
                  <a:lnTo>
                    <a:pt x="1428" y="990"/>
                  </a:lnTo>
                  <a:lnTo>
                    <a:pt x="1440" y="1002"/>
                  </a:lnTo>
                  <a:lnTo>
                    <a:pt x="1446" y="1002"/>
                  </a:lnTo>
                  <a:lnTo>
                    <a:pt x="1452" y="1002"/>
                  </a:lnTo>
                  <a:lnTo>
                    <a:pt x="1446" y="996"/>
                  </a:lnTo>
                  <a:lnTo>
                    <a:pt x="1452" y="996"/>
                  </a:lnTo>
                  <a:lnTo>
                    <a:pt x="1458" y="996"/>
                  </a:lnTo>
                  <a:lnTo>
                    <a:pt x="1464" y="996"/>
                  </a:lnTo>
                  <a:lnTo>
                    <a:pt x="1464" y="1002"/>
                  </a:lnTo>
                  <a:lnTo>
                    <a:pt x="1476" y="1014"/>
                  </a:lnTo>
                  <a:lnTo>
                    <a:pt x="1476" y="1008"/>
                  </a:lnTo>
                  <a:lnTo>
                    <a:pt x="1482" y="1008"/>
                  </a:lnTo>
                  <a:lnTo>
                    <a:pt x="1488" y="1020"/>
                  </a:lnTo>
                  <a:lnTo>
                    <a:pt x="1494" y="1020"/>
                  </a:lnTo>
                  <a:lnTo>
                    <a:pt x="1500" y="1014"/>
                  </a:lnTo>
                  <a:lnTo>
                    <a:pt x="1500" y="1020"/>
                  </a:lnTo>
                  <a:lnTo>
                    <a:pt x="1506" y="1026"/>
                  </a:lnTo>
                  <a:lnTo>
                    <a:pt x="1512" y="1032"/>
                  </a:lnTo>
                  <a:lnTo>
                    <a:pt x="1518" y="1032"/>
                  </a:lnTo>
                  <a:lnTo>
                    <a:pt x="1518" y="1038"/>
                  </a:lnTo>
                  <a:lnTo>
                    <a:pt x="1518" y="1044"/>
                  </a:lnTo>
                  <a:lnTo>
                    <a:pt x="1524" y="1044"/>
                  </a:lnTo>
                  <a:lnTo>
                    <a:pt x="1524" y="1050"/>
                  </a:lnTo>
                  <a:lnTo>
                    <a:pt x="1530" y="1056"/>
                  </a:lnTo>
                  <a:lnTo>
                    <a:pt x="1548" y="1062"/>
                  </a:lnTo>
                  <a:lnTo>
                    <a:pt x="1560" y="1074"/>
                  </a:lnTo>
                  <a:lnTo>
                    <a:pt x="1560" y="1080"/>
                  </a:lnTo>
                  <a:lnTo>
                    <a:pt x="1560" y="1086"/>
                  </a:lnTo>
                  <a:lnTo>
                    <a:pt x="1566" y="1086"/>
                  </a:lnTo>
                  <a:lnTo>
                    <a:pt x="1572" y="1098"/>
                  </a:lnTo>
                  <a:lnTo>
                    <a:pt x="1572" y="1104"/>
                  </a:lnTo>
                  <a:lnTo>
                    <a:pt x="1584" y="1110"/>
                  </a:lnTo>
                  <a:lnTo>
                    <a:pt x="1590" y="1116"/>
                  </a:lnTo>
                  <a:lnTo>
                    <a:pt x="1596" y="1116"/>
                  </a:lnTo>
                  <a:lnTo>
                    <a:pt x="1608" y="1122"/>
                  </a:lnTo>
                  <a:lnTo>
                    <a:pt x="1620" y="1140"/>
                  </a:lnTo>
                  <a:lnTo>
                    <a:pt x="1626" y="1158"/>
                  </a:lnTo>
                  <a:lnTo>
                    <a:pt x="1638" y="1200"/>
                  </a:lnTo>
                  <a:lnTo>
                    <a:pt x="1638" y="1218"/>
                  </a:lnTo>
                  <a:lnTo>
                    <a:pt x="1620" y="1230"/>
                  </a:lnTo>
                  <a:lnTo>
                    <a:pt x="1554" y="1230"/>
                  </a:lnTo>
                  <a:lnTo>
                    <a:pt x="1560" y="1248"/>
                  </a:lnTo>
                  <a:lnTo>
                    <a:pt x="1584" y="1260"/>
                  </a:lnTo>
                  <a:lnTo>
                    <a:pt x="1584" y="1266"/>
                  </a:lnTo>
                  <a:lnTo>
                    <a:pt x="1578" y="1272"/>
                  </a:lnTo>
                  <a:lnTo>
                    <a:pt x="1572" y="1272"/>
                  </a:lnTo>
                  <a:lnTo>
                    <a:pt x="1566" y="1278"/>
                  </a:lnTo>
                  <a:lnTo>
                    <a:pt x="1566" y="1284"/>
                  </a:lnTo>
                  <a:lnTo>
                    <a:pt x="1560" y="1290"/>
                  </a:lnTo>
                  <a:lnTo>
                    <a:pt x="1554" y="1290"/>
                  </a:lnTo>
                  <a:lnTo>
                    <a:pt x="1554" y="1296"/>
                  </a:lnTo>
                  <a:lnTo>
                    <a:pt x="1554" y="1302"/>
                  </a:lnTo>
                  <a:lnTo>
                    <a:pt x="1560" y="1332"/>
                  </a:lnTo>
                  <a:lnTo>
                    <a:pt x="1566" y="1356"/>
                  </a:lnTo>
                  <a:lnTo>
                    <a:pt x="1572" y="1356"/>
                  </a:lnTo>
                  <a:lnTo>
                    <a:pt x="1572" y="1362"/>
                  </a:lnTo>
                  <a:lnTo>
                    <a:pt x="1578" y="1362"/>
                  </a:lnTo>
                  <a:lnTo>
                    <a:pt x="1560" y="1374"/>
                  </a:lnTo>
                  <a:lnTo>
                    <a:pt x="1560" y="1380"/>
                  </a:lnTo>
                  <a:lnTo>
                    <a:pt x="1548" y="1380"/>
                  </a:lnTo>
                  <a:lnTo>
                    <a:pt x="1548" y="1386"/>
                  </a:lnTo>
                  <a:lnTo>
                    <a:pt x="1548" y="1392"/>
                  </a:lnTo>
                  <a:lnTo>
                    <a:pt x="1542" y="1410"/>
                  </a:lnTo>
                  <a:lnTo>
                    <a:pt x="1536" y="1422"/>
                  </a:lnTo>
                  <a:lnTo>
                    <a:pt x="1536" y="1428"/>
                  </a:lnTo>
                  <a:lnTo>
                    <a:pt x="1530" y="1440"/>
                  </a:lnTo>
                  <a:lnTo>
                    <a:pt x="1524" y="1434"/>
                  </a:lnTo>
                  <a:lnTo>
                    <a:pt x="1524" y="1428"/>
                  </a:lnTo>
                  <a:lnTo>
                    <a:pt x="1524" y="1422"/>
                  </a:lnTo>
                  <a:lnTo>
                    <a:pt x="1512" y="1410"/>
                  </a:lnTo>
                  <a:lnTo>
                    <a:pt x="1506" y="1404"/>
                  </a:lnTo>
                  <a:lnTo>
                    <a:pt x="1506" y="1398"/>
                  </a:lnTo>
                  <a:lnTo>
                    <a:pt x="1494" y="1392"/>
                  </a:lnTo>
                  <a:lnTo>
                    <a:pt x="1476" y="1404"/>
                  </a:lnTo>
                  <a:lnTo>
                    <a:pt x="1464" y="1416"/>
                  </a:lnTo>
                  <a:lnTo>
                    <a:pt x="1458" y="1428"/>
                  </a:lnTo>
                  <a:lnTo>
                    <a:pt x="1446" y="1434"/>
                  </a:lnTo>
                  <a:lnTo>
                    <a:pt x="1410" y="1440"/>
                  </a:lnTo>
                  <a:lnTo>
                    <a:pt x="1398" y="1440"/>
                  </a:lnTo>
                  <a:lnTo>
                    <a:pt x="1398" y="1446"/>
                  </a:lnTo>
                  <a:lnTo>
                    <a:pt x="1386" y="1446"/>
                  </a:lnTo>
                  <a:lnTo>
                    <a:pt x="1380" y="1440"/>
                  </a:lnTo>
                  <a:lnTo>
                    <a:pt x="1368" y="1440"/>
                  </a:lnTo>
                  <a:lnTo>
                    <a:pt x="1368" y="1446"/>
                  </a:lnTo>
                  <a:lnTo>
                    <a:pt x="1356" y="1446"/>
                  </a:lnTo>
                  <a:lnTo>
                    <a:pt x="1350" y="1452"/>
                  </a:lnTo>
                  <a:lnTo>
                    <a:pt x="1338" y="1452"/>
                  </a:lnTo>
                  <a:lnTo>
                    <a:pt x="1338" y="1458"/>
                  </a:lnTo>
                  <a:lnTo>
                    <a:pt x="1332" y="1458"/>
                  </a:lnTo>
                  <a:lnTo>
                    <a:pt x="1332" y="1464"/>
                  </a:lnTo>
                  <a:lnTo>
                    <a:pt x="1332" y="1470"/>
                  </a:lnTo>
                  <a:lnTo>
                    <a:pt x="1326" y="1470"/>
                  </a:lnTo>
                  <a:lnTo>
                    <a:pt x="1320" y="1470"/>
                  </a:lnTo>
                  <a:lnTo>
                    <a:pt x="1314" y="1470"/>
                  </a:lnTo>
                  <a:lnTo>
                    <a:pt x="1314" y="1464"/>
                  </a:lnTo>
                  <a:lnTo>
                    <a:pt x="1308" y="1464"/>
                  </a:lnTo>
                  <a:lnTo>
                    <a:pt x="1308" y="1452"/>
                  </a:lnTo>
                  <a:lnTo>
                    <a:pt x="1284" y="1458"/>
                  </a:lnTo>
                  <a:lnTo>
                    <a:pt x="1272" y="1458"/>
                  </a:lnTo>
                  <a:lnTo>
                    <a:pt x="1272" y="1464"/>
                  </a:lnTo>
                  <a:lnTo>
                    <a:pt x="1260" y="1464"/>
                  </a:lnTo>
                  <a:lnTo>
                    <a:pt x="1254" y="1464"/>
                  </a:lnTo>
                  <a:lnTo>
                    <a:pt x="1242" y="1422"/>
                  </a:lnTo>
                  <a:lnTo>
                    <a:pt x="1242" y="1416"/>
                  </a:lnTo>
                  <a:lnTo>
                    <a:pt x="1242" y="1410"/>
                  </a:lnTo>
                  <a:lnTo>
                    <a:pt x="1248" y="1410"/>
                  </a:lnTo>
                  <a:lnTo>
                    <a:pt x="1242" y="1410"/>
                  </a:lnTo>
                  <a:lnTo>
                    <a:pt x="1242" y="1404"/>
                  </a:lnTo>
                  <a:lnTo>
                    <a:pt x="1242" y="1398"/>
                  </a:lnTo>
                  <a:lnTo>
                    <a:pt x="1248" y="1392"/>
                  </a:lnTo>
                  <a:lnTo>
                    <a:pt x="1248" y="1386"/>
                  </a:lnTo>
                  <a:lnTo>
                    <a:pt x="1242" y="1380"/>
                  </a:lnTo>
                  <a:lnTo>
                    <a:pt x="1248" y="1380"/>
                  </a:lnTo>
                  <a:lnTo>
                    <a:pt x="1248" y="1374"/>
                  </a:lnTo>
                  <a:lnTo>
                    <a:pt x="1248" y="1368"/>
                  </a:lnTo>
                  <a:lnTo>
                    <a:pt x="1254" y="1368"/>
                  </a:lnTo>
                  <a:lnTo>
                    <a:pt x="1254" y="1362"/>
                  </a:lnTo>
                  <a:lnTo>
                    <a:pt x="1248" y="1356"/>
                  </a:lnTo>
                  <a:lnTo>
                    <a:pt x="1254" y="1356"/>
                  </a:lnTo>
                  <a:lnTo>
                    <a:pt x="1254" y="1344"/>
                  </a:lnTo>
                  <a:lnTo>
                    <a:pt x="1242" y="1338"/>
                  </a:lnTo>
                  <a:lnTo>
                    <a:pt x="1242" y="1326"/>
                  </a:lnTo>
                  <a:lnTo>
                    <a:pt x="1230" y="1326"/>
                  </a:lnTo>
                  <a:lnTo>
                    <a:pt x="1230" y="1314"/>
                  </a:lnTo>
                  <a:lnTo>
                    <a:pt x="1218" y="1314"/>
                  </a:lnTo>
                  <a:lnTo>
                    <a:pt x="1200" y="1272"/>
                  </a:lnTo>
                  <a:lnTo>
                    <a:pt x="1194" y="1242"/>
                  </a:lnTo>
                  <a:lnTo>
                    <a:pt x="1194" y="1206"/>
                  </a:lnTo>
                  <a:lnTo>
                    <a:pt x="1182" y="1200"/>
                  </a:lnTo>
                  <a:lnTo>
                    <a:pt x="1164" y="1206"/>
                  </a:lnTo>
                  <a:lnTo>
                    <a:pt x="1146" y="1212"/>
                  </a:lnTo>
                  <a:lnTo>
                    <a:pt x="1146" y="1218"/>
                  </a:lnTo>
                  <a:lnTo>
                    <a:pt x="1134" y="1224"/>
                  </a:lnTo>
                  <a:lnTo>
                    <a:pt x="1140" y="1260"/>
                  </a:lnTo>
                  <a:lnTo>
                    <a:pt x="1134" y="1266"/>
                  </a:lnTo>
                  <a:lnTo>
                    <a:pt x="1122" y="1266"/>
                  </a:lnTo>
                  <a:lnTo>
                    <a:pt x="1110" y="1236"/>
                  </a:lnTo>
                  <a:lnTo>
                    <a:pt x="1110" y="1224"/>
                  </a:lnTo>
                  <a:lnTo>
                    <a:pt x="1086" y="1224"/>
                  </a:lnTo>
                  <a:lnTo>
                    <a:pt x="1086" y="1212"/>
                  </a:lnTo>
                  <a:lnTo>
                    <a:pt x="1074" y="1212"/>
                  </a:lnTo>
                  <a:lnTo>
                    <a:pt x="1050" y="1212"/>
                  </a:lnTo>
                  <a:lnTo>
                    <a:pt x="1056" y="1218"/>
                  </a:lnTo>
                  <a:lnTo>
                    <a:pt x="1050" y="1272"/>
                  </a:lnTo>
                  <a:lnTo>
                    <a:pt x="1044" y="1272"/>
                  </a:lnTo>
                  <a:lnTo>
                    <a:pt x="1038" y="1284"/>
                  </a:lnTo>
                  <a:lnTo>
                    <a:pt x="1032" y="1302"/>
                  </a:lnTo>
                  <a:lnTo>
                    <a:pt x="1014" y="1302"/>
                  </a:lnTo>
                  <a:lnTo>
                    <a:pt x="1020" y="1284"/>
                  </a:lnTo>
                  <a:lnTo>
                    <a:pt x="1026" y="1278"/>
                  </a:lnTo>
                  <a:lnTo>
                    <a:pt x="1026" y="1266"/>
                  </a:lnTo>
                  <a:lnTo>
                    <a:pt x="1014" y="1260"/>
                  </a:lnTo>
                  <a:lnTo>
                    <a:pt x="1014" y="1272"/>
                  </a:lnTo>
                  <a:lnTo>
                    <a:pt x="990" y="1278"/>
                  </a:lnTo>
                  <a:lnTo>
                    <a:pt x="990" y="1254"/>
                  </a:lnTo>
                  <a:lnTo>
                    <a:pt x="984" y="1254"/>
                  </a:lnTo>
                  <a:lnTo>
                    <a:pt x="978" y="1242"/>
                  </a:lnTo>
                  <a:lnTo>
                    <a:pt x="972" y="1236"/>
                  </a:lnTo>
                  <a:lnTo>
                    <a:pt x="960" y="1206"/>
                  </a:lnTo>
                  <a:lnTo>
                    <a:pt x="942" y="1206"/>
                  </a:lnTo>
                  <a:lnTo>
                    <a:pt x="936" y="1200"/>
                  </a:lnTo>
                  <a:lnTo>
                    <a:pt x="906" y="1212"/>
                  </a:lnTo>
                  <a:lnTo>
                    <a:pt x="888" y="1230"/>
                  </a:lnTo>
                  <a:lnTo>
                    <a:pt x="876" y="1230"/>
                  </a:lnTo>
                  <a:lnTo>
                    <a:pt x="864" y="1236"/>
                  </a:lnTo>
                  <a:lnTo>
                    <a:pt x="858" y="1236"/>
                  </a:lnTo>
                  <a:lnTo>
                    <a:pt x="852" y="1254"/>
                  </a:lnTo>
                  <a:lnTo>
                    <a:pt x="858" y="1254"/>
                  </a:lnTo>
                  <a:lnTo>
                    <a:pt x="840" y="1266"/>
                  </a:lnTo>
                  <a:lnTo>
                    <a:pt x="828" y="1272"/>
                  </a:lnTo>
                  <a:lnTo>
                    <a:pt x="828" y="1284"/>
                  </a:lnTo>
                  <a:lnTo>
                    <a:pt x="822" y="1284"/>
                  </a:lnTo>
                  <a:lnTo>
                    <a:pt x="804" y="1296"/>
                  </a:lnTo>
                  <a:lnTo>
                    <a:pt x="804" y="1308"/>
                  </a:lnTo>
                  <a:lnTo>
                    <a:pt x="816" y="1320"/>
                  </a:lnTo>
                  <a:lnTo>
                    <a:pt x="828" y="1320"/>
                  </a:lnTo>
                  <a:lnTo>
                    <a:pt x="822" y="1338"/>
                  </a:lnTo>
                  <a:lnTo>
                    <a:pt x="852" y="1344"/>
                  </a:lnTo>
                  <a:lnTo>
                    <a:pt x="864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94" y="1356"/>
                  </a:lnTo>
                  <a:lnTo>
                    <a:pt x="912" y="1368"/>
                  </a:lnTo>
                  <a:lnTo>
                    <a:pt x="918" y="1380"/>
                  </a:lnTo>
                  <a:lnTo>
                    <a:pt x="936" y="1380"/>
                  </a:lnTo>
                  <a:lnTo>
                    <a:pt x="960" y="1386"/>
                  </a:lnTo>
                  <a:lnTo>
                    <a:pt x="990" y="1386"/>
                  </a:lnTo>
                  <a:lnTo>
                    <a:pt x="990" y="1392"/>
                  </a:lnTo>
                  <a:lnTo>
                    <a:pt x="1020" y="1398"/>
                  </a:lnTo>
                  <a:lnTo>
                    <a:pt x="1014" y="1404"/>
                  </a:lnTo>
                  <a:lnTo>
                    <a:pt x="1008" y="1404"/>
                  </a:lnTo>
                  <a:lnTo>
                    <a:pt x="1014" y="1440"/>
                  </a:lnTo>
                  <a:lnTo>
                    <a:pt x="1020" y="1458"/>
                  </a:lnTo>
                  <a:lnTo>
                    <a:pt x="1026" y="1476"/>
                  </a:lnTo>
                  <a:lnTo>
                    <a:pt x="1020" y="1476"/>
                  </a:lnTo>
                  <a:lnTo>
                    <a:pt x="1014" y="1476"/>
                  </a:lnTo>
                  <a:lnTo>
                    <a:pt x="1014" y="1482"/>
                  </a:lnTo>
                  <a:lnTo>
                    <a:pt x="1014" y="1488"/>
                  </a:lnTo>
                  <a:lnTo>
                    <a:pt x="1002" y="1488"/>
                  </a:lnTo>
                  <a:lnTo>
                    <a:pt x="1002" y="1494"/>
                  </a:lnTo>
                  <a:lnTo>
                    <a:pt x="996" y="1494"/>
                  </a:lnTo>
                  <a:lnTo>
                    <a:pt x="996" y="1518"/>
                  </a:lnTo>
                  <a:lnTo>
                    <a:pt x="1002" y="1524"/>
                  </a:lnTo>
                  <a:lnTo>
                    <a:pt x="1020" y="1530"/>
                  </a:lnTo>
                  <a:lnTo>
                    <a:pt x="1026" y="1542"/>
                  </a:lnTo>
                  <a:lnTo>
                    <a:pt x="1032" y="1566"/>
                  </a:lnTo>
                  <a:lnTo>
                    <a:pt x="1038" y="1578"/>
                  </a:lnTo>
                  <a:lnTo>
                    <a:pt x="1032" y="1584"/>
                  </a:lnTo>
                  <a:lnTo>
                    <a:pt x="1020" y="1584"/>
                  </a:lnTo>
                  <a:lnTo>
                    <a:pt x="1014" y="1584"/>
                  </a:lnTo>
                  <a:lnTo>
                    <a:pt x="1008" y="1596"/>
                  </a:lnTo>
                  <a:lnTo>
                    <a:pt x="990" y="1584"/>
                  </a:lnTo>
                  <a:lnTo>
                    <a:pt x="984" y="1602"/>
                  </a:lnTo>
                  <a:lnTo>
                    <a:pt x="978" y="1608"/>
                  </a:lnTo>
                  <a:lnTo>
                    <a:pt x="966" y="1608"/>
                  </a:lnTo>
                  <a:lnTo>
                    <a:pt x="960" y="1614"/>
                  </a:lnTo>
                  <a:lnTo>
                    <a:pt x="954" y="1614"/>
                  </a:lnTo>
                  <a:lnTo>
                    <a:pt x="942" y="1620"/>
                  </a:lnTo>
                  <a:lnTo>
                    <a:pt x="936" y="1620"/>
                  </a:lnTo>
                  <a:lnTo>
                    <a:pt x="930" y="1620"/>
                  </a:lnTo>
                  <a:lnTo>
                    <a:pt x="930" y="1626"/>
                  </a:lnTo>
                  <a:lnTo>
                    <a:pt x="930" y="1632"/>
                  </a:lnTo>
                  <a:lnTo>
                    <a:pt x="918" y="1632"/>
                  </a:lnTo>
                  <a:lnTo>
                    <a:pt x="912" y="1632"/>
                  </a:lnTo>
                  <a:lnTo>
                    <a:pt x="906" y="1632"/>
                  </a:lnTo>
                  <a:lnTo>
                    <a:pt x="900" y="1632"/>
                  </a:lnTo>
                  <a:lnTo>
                    <a:pt x="894" y="1626"/>
                  </a:lnTo>
                  <a:lnTo>
                    <a:pt x="894" y="1614"/>
                  </a:lnTo>
                  <a:lnTo>
                    <a:pt x="840" y="1614"/>
                  </a:lnTo>
                  <a:lnTo>
                    <a:pt x="840" y="1626"/>
                  </a:lnTo>
                  <a:lnTo>
                    <a:pt x="834" y="1626"/>
                  </a:lnTo>
                  <a:lnTo>
                    <a:pt x="828" y="1632"/>
                  </a:lnTo>
                  <a:lnTo>
                    <a:pt x="822" y="1638"/>
                  </a:lnTo>
                  <a:lnTo>
                    <a:pt x="822" y="1644"/>
                  </a:lnTo>
                  <a:lnTo>
                    <a:pt x="834" y="1650"/>
                  </a:lnTo>
                  <a:lnTo>
                    <a:pt x="840" y="1662"/>
                  </a:lnTo>
                  <a:lnTo>
                    <a:pt x="840" y="1668"/>
                  </a:lnTo>
                  <a:lnTo>
                    <a:pt x="858" y="1680"/>
                  </a:lnTo>
                  <a:lnTo>
                    <a:pt x="858" y="1752"/>
                  </a:lnTo>
                  <a:lnTo>
                    <a:pt x="864" y="1782"/>
                  </a:lnTo>
                  <a:lnTo>
                    <a:pt x="876" y="1788"/>
                  </a:lnTo>
                  <a:lnTo>
                    <a:pt x="870" y="1854"/>
                  </a:lnTo>
                  <a:lnTo>
                    <a:pt x="870" y="1884"/>
                  </a:lnTo>
                  <a:lnTo>
                    <a:pt x="864" y="1884"/>
                  </a:lnTo>
                  <a:lnTo>
                    <a:pt x="846" y="1896"/>
                  </a:lnTo>
                  <a:lnTo>
                    <a:pt x="840" y="1896"/>
                  </a:lnTo>
                  <a:lnTo>
                    <a:pt x="834" y="1896"/>
                  </a:lnTo>
                  <a:lnTo>
                    <a:pt x="828" y="1890"/>
                  </a:lnTo>
                  <a:lnTo>
                    <a:pt x="822" y="1890"/>
                  </a:lnTo>
                  <a:lnTo>
                    <a:pt x="816" y="1896"/>
                  </a:lnTo>
                  <a:lnTo>
                    <a:pt x="804" y="1896"/>
                  </a:lnTo>
                  <a:lnTo>
                    <a:pt x="804" y="1890"/>
                  </a:lnTo>
                  <a:lnTo>
                    <a:pt x="780" y="1896"/>
                  </a:lnTo>
                  <a:lnTo>
                    <a:pt x="780" y="1902"/>
                  </a:lnTo>
                  <a:lnTo>
                    <a:pt x="774" y="1914"/>
                  </a:lnTo>
                  <a:lnTo>
                    <a:pt x="762" y="1926"/>
                  </a:lnTo>
                  <a:lnTo>
                    <a:pt x="762" y="1950"/>
                  </a:lnTo>
                  <a:lnTo>
                    <a:pt x="762" y="1962"/>
                  </a:lnTo>
                  <a:lnTo>
                    <a:pt x="780" y="1974"/>
                  </a:lnTo>
                  <a:lnTo>
                    <a:pt x="780" y="1986"/>
                  </a:lnTo>
                  <a:lnTo>
                    <a:pt x="780" y="1998"/>
                  </a:lnTo>
                  <a:lnTo>
                    <a:pt x="756" y="1998"/>
                  </a:lnTo>
                  <a:lnTo>
                    <a:pt x="720" y="1992"/>
                  </a:lnTo>
                  <a:lnTo>
                    <a:pt x="666" y="1998"/>
                  </a:lnTo>
                  <a:lnTo>
                    <a:pt x="654" y="1998"/>
                  </a:lnTo>
                  <a:lnTo>
                    <a:pt x="660" y="1974"/>
                  </a:lnTo>
                  <a:lnTo>
                    <a:pt x="666" y="1962"/>
                  </a:lnTo>
                  <a:lnTo>
                    <a:pt x="678" y="1950"/>
                  </a:lnTo>
                  <a:lnTo>
                    <a:pt x="696" y="1932"/>
                  </a:lnTo>
                  <a:lnTo>
                    <a:pt x="696" y="1920"/>
                  </a:lnTo>
                  <a:lnTo>
                    <a:pt x="696" y="1896"/>
                  </a:lnTo>
                  <a:lnTo>
                    <a:pt x="678" y="1896"/>
                  </a:lnTo>
                  <a:lnTo>
                    <a:pt x="672" y="1884"/>
                  </a:lnTo>
                  <a:lnTo>
                    <a:pt x="672" y="1776"/>
                  </a:lnTo>
                  <a:lnTo>
                    <a:pt x="678" y="1758"/>
                  </a:lnTo>
                  <a:lnTo>
                    <a:pt x="678" y="1740"/>
                  </a:lnTo>
                  <a:lnTo>
                    <a:pt x="684" y="1728"/>
                  </a:lnTo>
                  <a:lnTo>
                    <a:pt x="690" y="1722"/>
                  </a:lnTo>
                  <a:lnTo>
                    <a:pt x="702" y="1722"/>
                  </a:lnTo>
                  <a:lnTo>
                    <a:pt x="708" y="1716"/>
                  </a:lnTo>
                  <a:lnTo>
                    <a:pt x="714" y="1710"/>
                  </a:lnTo>
                  <a:lnTo>
                    <a:pt x="720" y="1698"/>
                  </a:lnTo>
                  <a:lnTo>
                    <a:pt x="732" y="1692"/>
                  </a:lnTo>
                  <a:lnTo>
                    <a:pt x="744" y="1686"/>
                  </a:lnTo>
                  <a:lnTo>
                    <a:pt x="756" y="1680"/>
                  </a:lnTo>
                  <a:lnTo>
                    <a:pt x="768" y="1668"/>
                  </a:lnTo>
                  <a:lnTo>
                    <a:pt x="768" y="1650"/>
                  </a:lnTo>
                  <a:lnTo>
                    <a:pt x="774" y="1632"/>
                  </a:lnTo>
                  <a:lnTo>
                    <a:pt x="768" y="1620"/>
                  </a:lnTo>
                  <a:lnTo>
                    <a:pt x="774" y="1608"/>
                  </a:lnTo>
                  <a:lnTo>
                    <a:pt x="774" y="1578"/>
                  </a:lnTo>
                  <a:lnTo>
                    <a:pt x="774" y="1572"/>
                  </a:lnTo>
                  <a:lnTo>
                    <a:pt x="780" y="1560"/>
                  </a:lnTo>
                  <a:lnTo>
                    <a:pt x="780" y="1554"/>
                  </a:lnTo>
                  <a:lnTo>
                    <a:pt x="786" y="1542"/>
                  </a:lnTo>
                  <a:lnTo>
                    <a:pt x="792" y="1530"/>
                  </a:lnTo>
                  <a:lnTo>
                    <a:pt x="792" y="1518"/>
                  </a:lnTo>
                  <a:lnTo>
                    <a:pt x="792" y="1506"/>
                  </a:lnTo>
                  <a:lnTo>
                    <a:pt x="786" y="1500"/>
                  </a:lnTo>
                  <a:lnTo>
                    <a:pt x="774" y="1488"/>
                  </a:lnTo>
                  <a:lnTo>
                    <a:pt x="774" y="1482"/>
                  </a:lnTo>
                  <a:lnTo>
                    <a:pt x="762" y="1488"/>
                  </a:lnTo>
                  <a:lnTo>
                    <a:pt x="756" y="1494"/>
                  </a:lnTo>
                  <a:lnTo>
                    <a:pt x="744" y="1500"/>
                  </a:lnTo>
                  <a:lnTo>
                    <a:pt x="732" y="1506"/>
                  </a:lnTo>
                  <a:lnTo>
                    <a:pt x="726" y="1506"/>
                  </a:lnTo>
                  <a:lnTo>
                    <a:pt x="720" y="1506"/>
                  </a:lnTo>
                  <a:lnTo>
                    <a:pt x="702" y="1506"/>
                  </a:lnTo>
                  <a:lnTo>
                    <a:pt x="690" y="1500"/>
                  </a:lnTo>
                  <a:lnTo>
                    <a:pt x="678" y="1500"/>
                  </a:lnTo>
                  <a:lnTo>
                    <a:pt x="672" y="1500"/>
                  </a:lnTo>
                  <a:lnTo>
                    <a:pt x="660" y="1506"/>
                  </a:lnTo>
                  <a:lnTo>
                    <a:pt x="654" y="1506"/>
                  </a:lnTo>
                  <a:lnTo>
                    <a:pt x="648" y="1512"/>
                  </a:lnTo>
                  <a:lnTo>
                    <a:pt x="648" y="1518"/>
                  </a:lnTo>
                  <a:lnTo>
                    <a:pt x="618" y="1518"/>
                  </a:lnTo>
                  <a:lnTo>
                    <a:pt x="534" y="1494"/>
                  </a:lnTo>
                  <a:lnTo>
                    <a:pt x="528" y="1458"/>
                  </a:lnTo>
                  <a:lnTo>
                    <a:pt x="510" y="1458"/>
                  </a:lnTo>
                  <a:lnTo>
                    <a:pt x="492" y="1440"/>
                  </a:lnTo>
                  <a:lnTo>
                    <a:pt x="462" y="1440"/>
                  </a:lnTo>
                  <a:lnTo>
                    <a:pt x="456" y="1428"/>
                  </a:lnTo>
                  <a:lnTo>
                    <a:pt x="420" y="1428"/>
                  </a:lnTo>
                  <a:lnTo>
                    <a:pt x="390" y="1446"/>
                  </a:lnTo>
                  <a:lnTo>
                    <a:pt x="312" y="1452"/>
                  </a:lnTo>
                  <a:lnTo>
                    <a:pt x="300" y="1446"/>
                  </a:lnTo>
                  <a:lnTo>
                    <a:pt x="294" y="1446"/>
                  </a:lnTo>
                  <a:lnTo>
                    <a:pt x="288" y="1446"/>
                  </a:lnTo>
                  <a:lnTo>
                    <a:pt x="282" y="1440"/>
                  </a:lnTo>
                  <a:lnTo>
                    <a:pt x="276" y="1440"/>
                  </a:lnTo>
                  <a:lnTo>
                    <a:pt x="270" y="1440"/>
                  </a:lnTo>
                  <a:lnTo>
                    <a:pt x="264" y="1440"/>
                  </a:lnTo>
                  <a:lnTo>
                    <a:pt x="258" y="1434"/>
                  </a:lnTo>
                  <a:lnTo>
                    <a:pt x="252" y="1434"/>
                  </a:lnTo>
                  <a:lnTo>
                    <a:pt x="246" y="1428"/>
                  </a:lnTo>
                  <a:lnTo>
                    <a:pt x="240" y="1416"/>
                  </a:lnTo>
                  <a:lnTo>
                    <a:pt x="234" y="1404"/>
                  </a:lnTo>
                  <a:lnTo>
                    <a:pt x="228" y="1398"/>
                  </a:lnTo>
                  <a:lnTo>
                    <a:pt x="222" y="1398"/>
                  </a:lnTo>
                  <a:lnTo>
                    <a:pt x="216" y="1404"/>
                  </a:lnTo>
                  <a:lnTo>
                    <a:pt x="210" y="1404"/>
                  </a:lnTo>
                  <a:lnTo>
                    <a:pt x="204" y="1404"/>
                  </a:lnTo>
                  <a:lnTo>
                    <a:pt x="204" y="1398"/>
                  </a:lnTo>
                  <a:lnTo>
                    <a:pt x="198" y="1392"/>
                  </a:lnTo>
                  <a:lnTo>
                    <a:pt x="192" y="1386"/>
                  </a:lnTo>
                  <a:lnTo>
                    <a:pt x="168" y="1374"/>
                  </a:lnTo>
                  <a:lnTo>
                    <a:pt x="144" y="13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0" name="Freeform 35">
              <a:extLst>
                <a:ext uri="{FF2B5EF4-FFF2-40B4-BE49-F238E27FC236}">
                  <a16:creationId xmlns:a16="http://schemas.microsoft.com/office/drawing/2014/main" id="{F64BF16E-9D62-438E-A1CC-CD4088AC7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2895" y="1706004"/>
              <a:ext cx="767013" cy="785011"/>
            </a:xfrm>
            <a:custGeom>
              <a:avLst/>
              <a:gdLst>
                <a:gd name="T0" fmla="*/ 102 w 1440"/>
                <a:gd name="T1" fmla="*/ 104 h 1476"/>
                <a:gd name="T2" fmla="*/ 99 w 1440"/>
                <a:gd name="T3" fmla="*/ 108 h 1476"/>
                <a:gd name="T4" fmla="*/ 98 w 1440"/>
                <a:gd name="T5" fmla="*/ 112 h 1476"/>
                <a:gd name="T6" fmla="*/ 96 w 1440"/>
                <a:gd name="T7" fmla="*/ 116 h 1476"/>
                <a:gd name="T8" fmla="*/ 91 w 1440"/>
                <a:gd name="T9" fmla="*/ 118 h 1476"/>
                <a:gd name="T10" fmla="*/ 87 w 1440"/>
                <a:gd name="T11" fmla="*/ 120 h 1476"/>
                <a:gd name="T12" fmla="*/ 75 w 1440"/>
                <a:gd name="T13" fmla="*/ 120 h 1476"/>
                <a:gd name="T14" fmla="*/ 72 w 1440"/>
                <a:gd name="T15" fmla="*/ 123 h 1476"/>
                <a:gd name="T16" fmla="*/ 69 w 1440"/>
                <a:gd name="T17" fmla="*/ 128 h 1476"/>
                <a:gd name="T18" fmla="*/ 67 w 1440"/>
                <a:gd name="T19" fmla="*/ 127 h 1476"/>
                <a:gd name="T20" fmla="*/ 66 w 1440"/>
                <a:gd name="T21" fmla="*/ 123 h 1476"/>
                <a:gd name="T22" fmla="*/ 63 w 1440"/>
                <a:gd name="T23" fmla="*/ 119 h 1476"/>
                <a:gd name="T24" fmla="*/ 54 w 1440"/>
                <a:gd name="T25" fmla="*/ 114 h 1476"/>
                <a:gd name="T26" fmla="*/ 55 w 1440"/>
                <a:gd name="T27" fmla="*/ 106 h 1476"/>
                <a:gd name="T28" fmla="*/ 60 w 1440"/>
                <a:gd name="T29" fmla="*/ 100 h 1476"/>
                <a:gd name="T30" fmla="*/ 55 w 1440"/>
                <a:gd name="T31" fmla="*/ 91 h 1476"/>
                <a:gd name="T32" fmla="*/ 51 w 1440"/>
                <a:gd name="T33" fmla="*/ 86 h 1476"/>
                <a:gd name="T34" fmla="*/ 47 w 1440"/>
                <a:gd name="T35" fmla="*/ 85 h 1476"/>
                <a:gd name="T36" fmla="*/ 44 w 1440"/>
                <a:gd name="T37" fmla="*/ 82 h 1476"/>
                <a:gd name="T38" fmla="*/ 41 w 1440"/>
                <a:gd name="T39" fmla="*/ 83 h 1476"/>
                <a:gd name="T40" fmla="*/ 36 w 1440"/>
                <a:gd name="T41" fmla="*/ 83 h 1476"/>
                <a:gd name="T42" fmla="*/ 33 w 1440"/>
                <a:gd name="T43" fmla="*/ 83 h 1476"/>
                <a:gd name="T44" fmla="*/ 30 w 1440"/>
                <a:gd name="T45" fmla="*/ 83 h 1476"/>
                <a:gd name="T46" fmla="*/ 27 w 1440"/>
                <a:gd name="T47" fmla="*/ 83 h 1476"/>
                <a:gd name="T48" fmla="*/ 24 w 1440"/>
                <a:gd name="T49" fmla="*/ 82 h 1476"/>
                <a:gd name="T50" fmla="*/ 21 w 1440"/>
                <a:gd name="T51" fmla="*/ 80 h 1476"/>
                <a:gd name="T52" fmla="*/ 18 w 1440"/>
                <a:gd name="T53" fmla="*/ 79 h 1476"/>
                <a:gd name="T54" fmla="*/ 17 w 1440"/>
                <a:gd name="T55" fmla="*/ 78 h 1476"/>
                <a:gd name="T56" fmla="*/ 12 w 1440"/>
                <a:gd name="T57" fmla="*/ 78 h 1476"/>
                <a:gd name="T58" fmla="*/ 12 w 1440"/>
                <a:gd name="T59" fmla="*/ 78 h 1476"/>
                <a:gd name="T60" fmla="*/ 7 w 1440"/>
                <a:gd name="T61" fmla="*/ 80 h 1476"/>
                <a:gd name="T62" fmla="*/ 3 w 1440"/>
                <a:gd name="T63" fmla="*/ 81 h 1476"/>
                <a:gd name="T64" fmla="*/ 0 w 1440"/>
                <a:gd name="T65" fmla="*/ 76 h 1476"/>
                <a:gd name="T66" fmla="*/ 1 w 1440"/>
                <a:gd name="T67" fmla="*/ 50 h 1476"/>
                <a:gd name="T68" fmla="*/ 8 w 1440"/>
                <a:gd name="T69" fmla="*/ 48 h 1476"/>
                <a:gd name="T70" fmla="*/ 20 w 1440"/>
                <a:gd name="T71" fmla="*/ 49 h 1476"/>
                <a:gd name="T72" fmla="*/ 26 w 1440"/>
                <a:gd name="T73" fmla="*/ 50 h 1476"/>
                <a:gd name="T74" fmla="*/ 44 w 1440"/>
                <a:gd name="T75" fmla="*/ 47 h 1476"/>
                <a:gd name="T76" fmla="*/ 41 w 1440"/>
                <a:gd name="T77" fmla="*/ 24 h 1476"/>
                <a:gd name="T78" fmla="*/ 44 w 1440"/>
                <a:gd name="T79" fmla="*/ 20 h 1476"/>
                <a:gd name="T80" fmla="*/ 47 w 1440"/>
                <a:gd name="T81" fmla="*/ 18 h 1476"/>
                <a:gd name="T82" fmla="*/ 54 w 1440"/>
                <a:gd name="T83" fmla="*/ 21 h 1476"/>
                <a:gd name="T84" fmla="*/ 61 w 1440"/>
                <a:gd name="T85" fmla="*/ 23 h 1476"/>
                <a:gd name="T86" fmla="*/ 59 w 1440"/>
                <a:gd name="T87" fmla="*/ 14 h 1476"/>
                <a:gd name="T88" fmla="*/ 61 w 1440"/>
                <a:gd name="T89" fmla="*/ 8 h 1476"/>
                <a:gd name="T90" fmla="*/ 71 w 1440"/>
                <a:gd name="T91" fmla="*/ 7 h 1476"/>
                <a:gd name="T92" fmla="*/ 75 w 1440"/>
                <a:gd name="T93" fmla="*/ 0 h 1476"/>
                <a:gd name="T94" fmla="*/ 82 w 1440"/>
                <a:gd name="T95" fmla="*/ 3 h 1476"/>
                <a:gd name="T96" fmla="*/ 93 w 1440"/>
                <a:gd name="T97" fmla="*/ 5 h 1476"/>
                <a:gd name="T98" fmla="*/ 100 w 1440"/>
                <a:gd name="T99" fmla="*/ 1 h 1476"/>
                <a:gd name="T100" fmla="*/ 104 w 1440"/>
                <a:gd name="T101" fmla="*/ 4 h 1476"/>
                <a:gd name="T102" fmla="*/ 110 w 1440"/>
                <a:gd name="T103" fmla="*/ 10 h 1476"/>
                <a:gd name="T104" fmla="*/ 115 w 1440"/>
                <a:gd name="T105" fmla="*/ 23 h 1476"/>
                <a:gd name="T106" fmla="*/ 117 w 1440"/>
                <a:gd name="T107" fmla="*/ 42 h 1476"/>
                <a:gd name="T108" fmla="*/ 121 w 1440"/>
                <a:gd name="T109" fmla="*/ 52 h 1476"/>
                <a:gd name="T110" fmla="*/ 118 w 1440"/>
                <a:gd name="T111" fmla="*/ 62 h 1476"/>
                <a:gd name="T112" fmla="*/ 124 w 1440"/>
                <a:gd name="T113" fmla="*/ 66 h 1476"/>
                <a:gd name="T114" fmla="*/ 121 w 1440"/>
                <a:gd name="T115" fmla="*/ 71 h 1476"/>
                <a:gd name="T116" fmla="*/ 115 w 1440"/>
                <a:gd name="T117" fmla="*/ 76 h 1476"/>
                <a:gd name="T118" fmla="*/ 109 w 1440"/>
                <a:gd name="T119" fmla="*/ 76 h 1476"/>
                <a:gd name="T120" fmla="*/ 105 w 1440"/>
                <a:gd name="T121" fmla="*/ 86 h 1476"/>
                <a:gd name="T122" fmla="*/ 107 w 1440"/>
                <a:gd name="T123" fmla="*/ 97 h 147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40"/>
                <a:gd name="T187" fmla="*/ 0 h 1476"/>
                <a:gd name="T188" fmla="*/ 1440 w 1440"/>
                <a:gd name="T189" fmla="*/ 1476 h 147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40" h="1476">
                  <a:moveTo>
                    <a:pt x="1212" y="1164"/>
                  </a:moveTo>
                  <a:lnTo>
                    <a:pt x="1206" y="1170"/>
                  </a:lnTo>
                  <a:lnTo>
                    <a:pt x="1200" y="1176"/>
                  </a:lnTo>
                  <a:lnTo>
                    <a:pt x="1194" y="1176"/>
                  </a:lnTo>
                  <a:lnTo>
                    <a:pt x="1188" y="1188"/>
                  </a:lnTo>
                  <a:lnTo>
                    <a:pt x="1182" y="1194"/>
                  </a:lnTo>
                  <a:lnTo>
                    <a:pt x="1176" y="1194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64" y="1206"/>
                  </a:lnTo>
                  <a:lnTo>
                    <a:pt x="1158" y="1206"/>
                  </a:lnTo>
                  <a:lnTo>
                    <a:pt x="1152" y="1212"/>
                  </a:lnTo>
                  <a:lnTo>
                    <a:pt x="1146" y="1212"/>
                  </a:lnTo>
                  <a:lnTo>
                    <a:pt x="1140" y="1224"/>
                  </a:lnTo>
                  <a:lnTo>
                    <a:pt x="1134" y="1230"/>
                  </a:lnTo>
                  <a:lnTo>
                    <a:pt x="1128" y="1236"/>
                  </a:lnTo>
                  <a:lnTo>
                    <a:pt x="1128" y="1242"/>
                  </a:lnTo>
                  <a:lnTo>
                    <a:pt x="1128" y="1254"/>
                  </a:lnTo>
                  <a:lnTo>
                    <a:pt x="1128" y="1260"/>
                  </a:lnTo>
                  <a:lnTo>
                    <a:pt x="1122" y="1260"/>
                  </a:lnTo>
                  <a:lnTo>
                    <a:pt x="1122" y="1266"/>
                  </a:lnTo>
                  <a:lnTo>
                    <a:pt x="1128" y="1278"/>
                  </a:lnTo>
                  <a:lnTo>
                    <a:pt x="1122" y="1278"/>
                  </a:lnTo>
                  <a:lnTo>
                    <a:pt x="1122" y="1284"/>
                  </a:lnTo>
                  <a:lnTo>
                    <a:pt x="1128" y="1290"/>
                  </a:lnTo>
                  <a:lnTo>
                    <a:pt x="1122" y="1296"/>
                  </a:lnTo>
                  <a:lnTo>
                    <a:pt x="1122" y="1302"/>
                  </a:lnTo>
                  <a:lnTo>
                    <a:pt x="1116" y="1302"/>
                  </a:lnTo>
                  <a:lnTo>
                    <a:pt x="1110" y="1314"/>
                  </a:lnTo>
                  <a:lnTo>
                    <a:pt x="1110" y="1320"/>
                  </a:lnTo>
                  <a:lnTo>
                    <a:pt x="1110" y="1326"/>
                  </a:lnTo>
                  <a:lnTo>
                    <a:pt x="1098" y="1332"/>
                  </a:lnTo>
                  <a:lnTo>
                    <a:pt x="1092" y="1338"/>
                  </a:lnTo>
                  <a:lnTo>
                    <a:pt x="1092" y="1344"/>
                  </a:lnTo>
                  <a:lnTo>
                    <a:pt x="1086" y="1350"/>
                  </a:lnTo>
                  <a:lnTo>
                    <a:pt x="1080" y="1350"/>
                  </a:lnTo>
                  <a:lnTo>
                    <a:pt x="1074" y="1350"/>
                  </a:lnTo>
                  <a:lnTo>
                    <a:pt x="1068" y="1356"/>
                  </a:lnTo>
                  <a:lnTo>
                    <a:pt x="1062" y="1356"/>
                  </a:lnTo>
                  <a:lnTo>
                    <a:pt x="1044" y="1356"/>
                  </a:lnTo>
                  <a:lnTo>
                    <a:pt x="1038" y="1362"/>
                  </a:lnTo>
                  <a:lnTo>
                    <a:pt x="1032" y="1368"/>
                  </a:lnTo>
                  <a:lnTo>
                    <a:pt x="1026" y="1368"/>
                  </a:lnTo>
                  <a:lnTo>
                    <a:pt x="1020" y="1374"/>
                  </a:lnTo>
                  <a:lnTo>
                    <a:pt x="1008" y="1374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74"/>
                  </a:lnTo>
                  <a:lnTo>
                    <a:pt x="978" y="1380"/>
                  </a:lnTo>
                  <a:lnTo>
                    <a:pt x="972" y="1380"/>
                  </a:lnTo>
                  <a:lnTo>
                    <a:pt x="954" y="1368"/>
                  </a:lnTo>
                  <a:lnTo>
                    <a:pt x="930" y="1368"/>
                  </a:lnTo>
                  <a:lnTo>
                    <a:pt x="918" y="1368"/>
                  </a:lnTo>
                  <a:lnTo>
                    <a:pt x="906" y="1368"/>
                  </a:lnTo>
                  <a:lnTo>
                    <a:pt x="894" y="1368"/>
                  </a:lnTo>
                  <a:lnTo>
                    <a:pt x="864" y="1374"/>
                  </a:lnTo>
                  <a:lnTo>
                    <a:pt x="852" y="1374"/>
                  </a:lnTo>
                  <a:lnTo>
                    <a:pt x="846" y="1386"/>
                  </a:lnTo>
                  <a:lnTo>
                    <a:pt x="846" y="1392"/>
                  </a:lnTo>
                  <a:lnTo>
                    <a:pt x="840" y="1398"/>
                  </a:lnTo>
                  <a:lnTo>
                    <a:pt x="840" y="1404"/>
                  </a:lnTo>
                  <a:lnTo>
                    <a:pt x="834" y="1416"/>
                  </a:lnTo>
                  <a:lnTo>
                    <a:pt x="828" y="1416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04" y="1428"/>
                  </a:lnTo>
                  <a:lnTo>
                    <a:pt x="804" y="1434"/>
                  </a:lnTo>
                  <a:lnTo>
                    <a:pt x="804" y="1440"/>
                  </a:lnTo>
                  <a:lnTo>
                    <a:pt x="798" y="1446"/>
                  </a:lnTo>
                  <a:lnTo>
                    <a:pt x="798" y="1458"/>
                  </a:lnTo>
                  <a:lnTo>
                    <a:pt x="792" y="1464"/>
                  </a:lnTo>
                  <a:lnTo>
                    <a:pt x="786" y="1476"/>
                  </a:lnTo>
                  <a:lnTo>
                    <a:pt x="780" y="1470"/>
                  </a:lnTo>
                  <a:lnTo>
                    <a:pt x="774" y="1470"/>
                  </a:lnTo>
                  <a:lnTo>
                    <a:pt x="768" y="1470"/>
                  </a:lnTo>
                  <a:lnTo>
                    <a:pt x="762" y="1476"/>
                  </a:lnTo>
                  <a:lnTo>
                    <a:pt x="762" y="1470"/>
                  </a:lnTo>
                  <a:lnTo>
                    <a:pt x="762" y="1464"/>
                  </a:lnTo>
                  <a:lnTo>
                    <a:pt x="762" y="1458"/>
                  </a:lnTo>
                  <a:lnTo>
                    <a:pt x="756" y="1458"/>
                  </a:lnTo>
                  <a:lnTo>
                    <a:pt x="756" y="1452"/>
                  </a:lnTo>
                  <a:lnTo>
                    <a:pt x="756" y="1446"/>
                  </a:lnTo>
                  <a:lnTo>
                    <a:pt x="756" y="1440"/>
                  </a:lnTo>
                  <a:lnTo>
                    <a:pt x="750" y="1434"/>
                  </a:lnTo>
                  <a:lnTo>
                    <a:pt x="750" y="1428"/>
                  </a:lnTo>
                  <a:lnTo>
                    <a:pt x="750" y="1422"/>
                  </a:lnTo>
                  <a:lnTo>
                    <a:pt x="750" y="1416"/>
                  </a:lnTo>
                  <a:lnTo>
                    <a:pt x="744" y="1416"/>
                  </a:lnTo>
                  <a:lnTo>
                    <a:pt x="744" y="1410"/>
                  </a:lnTo>
                  <a:lnTo>
                    <a:pt x="738" y="1404"/>
                  </a:lnTo>
                  <a:lnTo>
                    <a:pt x="732" y="1398"/>
                  </a:lnTo>
                  <a:lnTo>
                    <a:pt x="732" y="1392"/>
                  </a:lnTo>
                  <a:lnTo>
                    <a:pt x="726" y="1386"/>
                  </a:lnTo>
                  <a:lnTo>
                    <a:pt x="726" y="1380"/>
                  </a:lnTo>
                  <a:lnTo>
                    <a:pt x="714" y="1368"/>
                  </a:lnTo>
                  <a:lnTo>
                    <a:pt x="708" y="1368"/>
                  </a:lnTo>
                  <a:lnTo>
                    <a:pt x="684" y="1332"/>
                  </a:lnTo>
                  <a:lnTo>
                    <a:pt x="666" y="1320"/>
                  </a:lnTo>
                  <a:lnTo>
                    <a:pt x="648" y="1302"/>
                  </a:lnTo>
                  <a:lnTo>
                    <a:pt x="630" y="1314"/>
                  </a:lnTo>
                  <a:lnTo>
                    <a:pt x="624" y="1314"/>
                  </a:lnTo>
                  <a:lnTo>
                    <a:pt x="624" y="1308"/>
                  </a:lnTo>
                  <a:lnTo>
                    <a:pt x="618" y="1308"/>
                  </a:lnTo>
                  <a:lnTo>
                    <a:pt x="612" y="1284"/>
                  </a:lnTo>
                  <a:lnTo>
                    <a:pt x="606" y="1254"/>
                  </a:lnTo>
                  <a:lnTo>
                    <a:pt x="606" y="1248"/>
                  </a:lnTo>
                  <a:lnTo>
                    <a:pt x="606" y="1242"/>
                  </a:lnTo>
                  <a:lnTo>
                    <a:pt x="612" y="1242"/>
                  </a:lnTo>
                  <a:lnTo>
                    <a:pt x="618" y="1236"/>
                  </a:lnTo>
                  <a:lnTo>
                    <a:pt x="618" y="1230"/>
                  </a:lnTo>
                  <a:lnTo>
                    <a:pt x="624" y="1224"/>
                  </a:lnTo>
                  <a:lnTo>
                    <a:pt x="630" y="1224"/>
                  </a:lnTo>
                  <a:lnTo>
                    <a:pt x="636" y="1218"/>
                  </a:lnTo>
                  <a:lnTo>
                    <a:pt x="636" y="1212"/>
                  </a:lnTo>
                  <a:lnTo>
                    <a:pt x="612" y="1200"/>
                  </a:lnTo>
                  <a:lnTo>
                    <a:pt x="606" y="1182"/>
                  </a:lnTo>
                  <a:lnTo>
                    <a:pt x="672" y="1182"/>
                  </a:lnTo>
                  <a:lnTo>
                    <a:pt x="690" y="1170"/>
                  </a:lnTo>
                  <a:lnTo>
                    <a:pt x="690" y="1152"/>
                  </a:lnTo>
                  <a:lnTo>
                    <a:pt x="678" y="1110"/>
                  </a:lnTo>
                  <a:lnTo>
                    <a:pt x="672" y="1092"/>
                  </a:lnTo>
                  <a:lnTo>
                    <a:pt x="660" y="1074"/>
                  </a:lnTo>
                  <a:lnTo>
                    <a:pt x="648" y="1068"/>
                  </a:lnTo>
                  <a:lnTo>
                    <a:pt x="642" y="1068"/>
                  </a:lnTo>
                  <a:lnTo>
                    <a:pt x="636" y="1062"/>
                  </a:lnTo>
                  <a:lnTo>
                    <a:pt x="624" y="1056"/>
                  </a:lnTo>
                  <a:lnTo>
                    <a:pt x="624" y="1050"/>
                  </a:lnTo>
                  <a:lnTo>
                    <a:pt x="618" y="1038"/>
                  </a:lnTo>
                  <a:lnTo>
                    <a:pt x="612" y="1038"/>
                  </a:lnTo>
                  <a:lnTo>
                    <a:pt x="612" y="1032"/>
                  </a:lnTo>
                  <a:lnTo>
                    <a:pt x="612" y="1026"/>
                  </a:lnTo>
                  <a:lnTo>
                    <a:pt x="600" y="1014"/>
                  </a:lnTo>
                  <a:lnTo>
                    <a:pt x="582" y="1008"/>
                  </a:lnTo>
                  <a:lnTo>
                    <a:pt x="576" y="1002"/>
                  </a:lnTo>
                  <a:lnTo>
                    <a:pt x="576" y="996"/>
                  </a:lnTo>
                  <a:lnTo>
                    <a:pt x="570" y="996"/>
                  </a:lnTo>
                  <a:lnTo>
                    <a:pt x="570" y="990"/>
                  </a:lnTo>
                  <a:lnTo>
                    <a:pt x="570" y="984"/>
                  </a:lnTo>
                  <a:lnTo>
                    <a:pt x="564" y="984"/>
                  </a:lnTo>
                  <a:lnTo>
                    <a:pt x="558" y="978"/>
                  </a:lnTo>
                  <a:lnTo>
                    <a:pt x="552" y="972"/>
                  </a:lnTo>
                  <a:lnTo>
                    <a:pt x="552" y="966"/>
                  </a:lnTo>
                  <a:lnTo>
                    <a:pt x="546" y="972"/>
                  </a:lnTo>
                  <a:lnTo>
                    <a:pt x="540" y="972"/>
                  </a:lnTo>
                  <a:lnTo>
                    <a:pt x="534" y="960"/>
                  </a:lnTo>
                  <a:lnTo>
                    <a:pt x="528" y="960"/>
                  </a:lnTo>
                  <a:lnTo>
                    <a:pt x="528" y="966"/>
                  </a:lnTo>
                  <a:lnTo>
                    <a:pt x="516" y="954"/>
                  </a:lnTo>
                  <a:lnTo>
                    <a:pt x="516" y="948"/>
                  </a:lnTo>
                  <a:lnTo>
                    <a:pt x="510" y="948"/>
                  </a:lnTo>
                  <a:lnTo>
                    <a:pt x="504" y="948"/>
                  </a:lnTo>
                  <a:lnTo>
                    <a:pt x="498" y="948"/>
                  </a:lnTo>
                  <a:lnTo>
                    <a:pt x="504" y="954"/>
                  </a:lnTo>
                  <a:lnTo>
                    <a:pt x="498" y="954"/>
                  </a:lnTo>
                  <a:lnTo>
                    <a:pt x="492" y="954"/>
                  </a:lnTo>
                  <a:lnTo>
                    <a:pt x="480" y="942"/>
                  </a:lnTo>
                  <a:lnTo>
                    <a:pt x="480" y="948"/>
                  </a:lnTo>
                  <a:lnTo>
                    <a:pt x="480" y="954"/>
                  </a:lnTo>
                  <a:lnTo>
                    <a:pt x="474" y="954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56" y="966"/>
                  </a:lnTo>
                  <a:lnTo>
                    <a:pt x="456" y="960"/>
                  </a:lnTo>
                  <a:lnTo>
                    <a:pt x="450" y="966"/>
                  </a:lnTo>
                  <a:lnTo>
                    <a:pt x="444" y="966"/>
                  </a:lnTo>
                  <a:lnTo>
                    <a:pt x="414" y="966"/>
                  </a:lnTo>
                  <a:lnTo>
                    <a:pt x="408" y="960"/>
                  </a:lnTo>
                  <a:lnTo>
                    <a:pt x="408" y="966"/>
                  </a:lnTo>
                  <a:lnTo>
                    <a:pt x="402" y="960"/>
                  </a:lnTo>
                  <a:lnTo>
                    <a:pt x="396" y="960"/>
                  </a:lnTo>
                  <a:lnTo>
                    <a:pt x="390" y="960"/>
                  </a:lnTo>
                  <a:lnTo>
                    <a:pt x="390" y="966"/>
                  </a:lnTo>
                  <a:lnTo>
                    <a:pt x="384" y="966"/>
                  </a:lnTo>
                  <a:lnTo>
                    <a:pt x="378" y="966"/>
                  </a:lnTo>
                  <a:lnTo>
                    <a:pt x="384" y="960"/>
                  </a:lnTo>
                  <a:lnTo>
                    <a:pt x="384" y="954"/>
                  </a:lnTo>
                  <a:lnTo>
                    <a:pt x="372" y="948"/>
                  </a:lnTo>
                  <a:lnTo>
                    <a:pt x="372" y="954"/>
                  </a:lnTo>
                  <a:lnTo>
                    <a:pt x="372" y="960"/>
                  </a:lnTo>
                  <a:lnTo>
                    <a:pt x="366" y="960"/>
                  </a:lnTo>
                  <a:lnTo>
                    <a:pt x="360" y="966"/>
                  </a:lnTo>
                  <a:lnTo>
                    <a:pt x="354" y="966"/>
                  </a:lnTo>
                  <a:lnTo>
                    <a:pt x="348" y="960"/>
                  </a:lnTo>
                  <a:lnTo>
                    <a:pt x="342" y="960"/>
                  </a:lnTo>
                  <a:lnTo>
                    <a:pt x="342" y="966"/>
                  </a:lnTo>
                  <a:lnTo>
                    <a:pt x="336" y="972"/>
                  </a:lnTo>
                  <a:lnTo>
                    <a:pt x="330" y="972"/>
                  </a:lnTo>
                  <a:lnTo>
                    <a:pt x="324" y="966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6" y="954"/>
                  </a:lnTo>
                  <a:lnTo>
                    <a:pt x="306" y="948"/>
                  </a:lnTo>
                  <a:lnTo>
                    <a:pt x="306" y="942"/>
                  </a:lnTo>
                  <a:lnTo>
                    <a:pt x="300" y="942"/>
                  </a:lnTo>
                  <a:lnTo>
                    <a:pt x="294" y="936"/>
                  </a:lnTo>
                  <a:lnTo>
                    <a:pt x="288" y="936"/>
                  </a:lnTo>
                  <a:lnTo>
                    <a:pt x="282" y="942"/>
                  </a:lnTo>
                  <a:lnTo>
                    <a:pt x="276" y="936"/>
                  </a:lnTo>
                  <a:lnTo>
                    <a:pt x="276" y="942"/>
                  </a:lnTo>
                  <a:lnTo>
                    <a:pt x="270" y="942"/>
                  </a:lnTo>
                  <a:lnTo>
                    <a:pt x="264" y="936"/>
                  </a:lnTo>
                  <a:lnTo>
                    <a:pt x="252" y="936"/>
                  </a:lnTo>
                  <a:lnTo>
                    <a:pt x="246" y="936"/>
                  </a:lnTo>
                  <a:lnTo>
                    <a:pt x="240" y="936"/>
                  </a:lnTo>
                  <a:lnTo>
                    <a:pt x="234" y="936"/>
                  </a:lnTo>
                  <a:lnTo>
                    <a:pt x="240" y="924"/>
                  </a:lnTo>
                  <a:lnTo>
                    <a:pt x="234" y="924"/>
                  </a:lnTo>
                  <a:lnTo>
                    <a:pt x="228" y="918"/>
                  </a:lnTo>
                  <a:lnTo>
                    <a:pt x="228" y="906"/>
                  </a:lnTo>
                  <a:lnTo>
                    <a:pt x="222" y="900"/>
                  </a:lnTo>
                  <a:lnTo>
                    <a:pt x="216" y="900"/>
                  </a:lnTo>
                  <a:lnTo>
                    <a:pt x="210" y="900"/>
                  </a:lnTo>
                  <a:lnTo>
                    <a:pt x="210" y="906"/>
                  </a:lnTo>
                  <a:lnTo>
                    <a:pt x="204" y="906"/>
                  </a:lnTo>
                  <a:lnTo>
                    <a:pt x="198" y="906"/>
                  </a:lnTo>
                  <a:lnTo>
                    <a:pt x="210" y="900"/>
                  </a:lnTo>
                  <a:lnTo>
                    <a:pt x="210" y="894"/>
                  </a:lnTo>
                  <a:lnTo>
                    <a:pt x="216" y="888"/>
                  </a:lnTo>
                  <a:lnTo>
                    <a:pt x="204" y="882"/>
                  </a:lnTo>
                  <a:lnTo>
                    <a:pt x="204" y="894"/>
                  </a:lnTo>
                  <a:lnTo>
                    <a:pt x="198" y="894"/>
                  </a:lnTo>
                  <a:lnTo>
                    <a:pt x="192" y="900"/>
                  </a:lnTo>
                  <a:lnTo>
                    <a:pt x="186" y="894"/>
                  </a:lnTo>
                  <a:lnTo>
                    <a:pt x="180" y="894"/>
                  </a:lnTo>
                  <a:lnTo>
                    <a:pt x="174" y="894"/>
                  </a:lnTo>
                  <a:lnTo>
                    <a:pt x="168" y="900"/>
                  </a:lnTo>
                  <a:lnTo>
                    <a:pt x="162" y="906"/>
                  </a:lnTo>
                  <a:lnTo>
                    <a:pt x="156" y="906"/>
                  </a:lnTo>
                  <a:lnTo>
                    <a:pt x="150" y="900"/>
                  </a:lnTo>
                  <a:lnTo>
                    <a:pt x="144" y="894"/>
                  </a:lnTo>
                  <a:lnTo>
                    <a:pt x="138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0" y="888"/>
                  </a:lnTo>
                  <a:lnTo>
                    <a:pt x="114" y="894"/>
                  </a:lnTo>
                  <a:lnTo>
                    <a:pt x="120" y="900"/>
                  </a:lnTo>
                  <a:lnTo>
                    <a:pt x="126" y="900"/>
                  </a:lnTo>
                  <a:lnTo>
                    <a:pt x="132" y="900"/>
                  </a:lnTo>
                  <a:lnTo>
                    <a:pt x="132" y="906"/>
                  </a:lnTo>
                  <a:lnTo>
                    <a:pt x="126" y="912"/>
                  </a:lnTo>
                  <a:lnTo>
                    <a:pt x="126" y="918"/>
                  </a:lnTo>
                  <a:lnTo>
                    <a:pt x="114" y="918"/>
                  </a:lnTo>
                  <a:lnTo>
                    <a:pt x="108" y="924"/>
                  </a:lnTo>
                  <a:lnTo>
                    <a:pt x="102" y="924"/>
                  </a:lnTo>
                  <a:lnTo>
                    <a:pt x="90" y="924"/>
                  </a:lnTo>
                  <a:lnTo>
                    <a:pt x="84" y="924"/>
                  </a:lnTo>
                  <a:lnTo>
                    <a:pt x="78" y="924"/>
                  </a:lnTo>
                  <a:lnTo>
                    <a:pt x="60" y="924"/>
                  </a:lnTo>
                  <a:lnTo>
                    <a:pt x="54" y="942"/>
                  </a:lnTo>
                  <a:lnTo>
                    <a:pt x="48" y="936"/>
                  </a:lnTo>
                  <a:lnTo>
                    <a:pt x="42" y="930"/>
                  </a:lnTo>
                  <a:lnTo>
                    <a:pt x="36" y="930"/>
                  </a:lnTo>
                  <a:lnTo>
                    <a:pt x="30" y="936"/>
                  </a:lnTo>
                  <a:lnTo>
                    <a:pt x="30" y="930"/>
                  </a:lnTo>
                  <a:lnTo>
                    <a:pt x="30" y="924"/>
                  </a:lnTo>
                  <a:lnTo>
                    <a:pt x="18" y="918"/>
                  </a:lnTo>
                  <a:lnTo>
                    <a:pt x="18" y="912"/>
                  </a:lnTo>
                  <a:lnTo>
                    <a:pt x="12" y="912"/>
                  </a:lnTo>
                  <a:lnTo>
                    <a:pt x="6" y="912"/>
                  </a:lnTo>
                  <a:lnTo>
                    <a:pt x="6" y="900"/>
                  </a:lnTo>
                  <a:lnTo>
                    <a:pt x="6" y="894"/>
                  </a:lnTo>
                  <a:lnTo>
                    <a:pt x="0" y="870"/>
                  </a:lnTo>
                  <a:lnTo>
                    <a:pt x="6" y="846"/>
                  </a:lnTo>
                  <a:lnTo>
                    <a:pt x="6" y="810"/>
                  </a:lnTo>
                  <a:lnTo>
                    <a:pt x="12" y="774"/>
                  </a:lnTo>
                  <a:lnTo>
                    <a:pt x="12" y="756"/>
                  </a:lnTo>
                  <a:lnTo>
                    <a:pt x="18" y="744"/>
                  </a:lnTo>
                  <a:lnTo>
                    <a:pt x="18" y="732"/>
                  </a:lnTo>
                  <a:lnTo>
                    <a:pt x="12" y="576"/>
                  </a:lnTo>
                  <a:lnTo>
                    <a:pt x="12" y="570"/>
                  </a:lnTo>
                  <a:lnTo>
                    <a:pt x="18" y="564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42" y="552"/>
                  </a:lnTo>
                  <a:lnTo>
                    <a:pt x="66" y="552"/>
                  </a:lnTo>
                  <a:lnTo>
                    <a:pt x="78" y="558"/>
                  </a:lnTo>
                  <a:lnTo>
                    <a:pt x="90" y="558"/>
                  </a:lnTo>
                  <a:lnTo>
                    <a:pt x="108" y="558"/>
                  </a:lnTo>
                  <a:lnTo>
                    <a:pt x="144" y="558"/>
                  </a:lnTo>
                  <a:lnTo>
                    <a:pt x="204" y="552"/>
                  </a:lnTo>
                  <a:lnTo>
                    <a:pt x="210" y="558"/>
                  </a:lnTo>
                  <a:lnTo>
                    <a:pt x="216" y="558"/>
                  </a:lnTo>
                  <a:lnTo>
                    <a:pt x="210" y="564"/>
                  </a:lnTo>
                  <a:lnTo>
                    <a:pt x="216" y="564"/>
                  </a:lnTo>
                  <a:lnTo>
                    <a:pt x="222" y="564"/>
                  </a:lnTo>
                  <a:lnTo>
                    <a:pt x="240" y="564"/>
                  </a:lnTo>
                  <a:lnTo>
                    <a:pt x="258" y="564"/>
                  </a:lnTo>
                  <a:lnTo>
                    <a:pt x="264" y="570"/>
                  </a:lnTo>
                  <a:lnTo>
                    <a:pt x="276" y="570"/>
                  </a:lnTo>
                  <a:lnTo>
                    <a:pt x="282" y="564"/>
                  </a:lnTo>
                  <a:lnTo>
                    <a:pt x="294" y="564"/>
                  </a:lnTo>
                  <a:lnTo>
                    <a:pt x="294" y="570"/>
                  </a:lnTo>
                  <a:lnTo>
                    <a:pt x="300" y="570"/>
                  </a:lnTo>
                  <a:lnTo>
                    <a:pt x="378" y="564"/>
                  </a:lnTo>
                  <a:lnTo>
                    <a:pt x="408" y="558"/>
                  </a:lnTo>
                  <a:lnTo>
                    <a:pt x="432" y="552"/>
                  </a:lnTo>
                  <a:lnTo>
                    <a:pt x="450" y="546"/>
                  </a:lnTo>
                  <a:lnTo>
                    <a:pt x="468" y="546"/>
                  </a:lnTo>
                  <a:lnTo>
                    <a:pt x="468" y="552"/>
                  </a:lnTo>
                  <a:lnTo>
                    <a:pt x="504" y="552"/>
                  </a:lnTo>
                  <a:lnTo>
                    <a:pt x="510" y="534"/>
                  </a:lnTo>
                  <a:lnTo>
                    <a:pt x="516" y="510"/>
                  </a:lnTo>
                  <a:lnTo>
                    <a:pt x="522" y="510"/>
                  </a:lnTo>
                  <a:lnTo>
                    <a:pt x="528" y="420"/>
                  </a:lnTo>
                  <a:lnTo>
                    <a:pt x="522" y="414"/>
                  </a:lnTo>
                  <a:lnTo>
                    <a:pt x="516" y="396"/>
                  </a:lnTo>
                  <a:lnTo>
                    <a:pt x="510" y="372"/>
                  </a:lnTo>
                  <a:lnTo>
                    <a:pt x="498" y="348"/>
                  </a:lnTo>
                  <a:lnTo>
                    <a:pt x="474" y="282"/>
                  </a:lnTo>
                  <a:lnTo>
                    <a:pt x="474" y="270"/>
                  </a:lnTo>
                  <a:lnTo>
                    <a:pt x="480" y="258"/>
                  </a:lnTo>
                  <a:lnTo>
                    <a:pt x="486" y="258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92" y="246"/>
                  </a:lnTo>
                  <a:lnTo>
                    <a:pt x="504" y="234"/>
                  </a:lnTo>
                  <a:lnTo>
                    <a:pt x="510" y="228"/>
                  </a:lnTo>
                  <a:lnTo>
                    <a:pt x="516" y="228"/>
                  </a:lnTo>
                  <a:lnTo>
                    <a:pt x="516" y="222"/>
                  </a:lnTo>
                  <a:lnTo>
                    <a:pt x="516" y="216"/>
                  </a:lnTo>
                  <a:lnTo>
                    <a:pt x="522" y="216"/>
                  </a:lnTo>
                  <a:lnTo>
                    <a:pt x="528" y="210"/>
                  </a:lnTo>
                  <a:lnTo>
                    <a:pt x="534" y="210"/>
                  </a:lnTo>
                  <a:lnTo>
                    <a:pt x="540" y="210"/>
                  </a:lnTo>
                  <a:lnTo>
                    <a:pt x="546" y="210"/>
                  </a:lnTo>
                  <a:lnTo>
                    <a:pt x="552" y="210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16"/>
                  </a:lnTo>
                  <a:lnTo>
                    <a:pt x="588" y="228"/>
                  </a:lnTo>
                  <a:lnTo>
                    <a:pt x="594" y="234"/>
                  </a:lnTo>
                  <a:lnTo>
                    <a:pt x="600" y="240"/>
                  </a:lnTo>
                  <a:lnTo>
                    <a:pt x="618" y="246"/>
                  </a:lnTo>
                  <a:lnTo>
                    <a:pt x="624" y="246"/>
                  </a:lnTo>
                  <a:lnTo>
                    <a:pt x="636" y="252"/>
                  </a:lnTo>
                  <a:lnTo>
                    <a:pt x="654" y="252"/>
                  </a:lnTo>
                  <a:lnTo>
                    <a:pt x="654" y="258"/>
                  </a:lnTo>
                  <a:lnTo>
                    <a:pt x="666" y="264"/>
                  </a:lnTo>
                  <a:lnTo>
                    <a:pt x="672" y="264"/>
                  </a:lnTo>
                  <a:lnTo>
                    <a:pt x="678" y="264"/>
                  </a:lnTo>
                  <a:lnTo>
                    <a:pt x="696" y="258"/>
                  </a:lnTo>
                  <a:lnTo>
                    <a:pt x="696" y="252"/>
                  </a:lnTo>
                  <a:lnTo>
                    <a:pt x="696" y="246"/>
                  </a:lnTo>
                  <a:lnTo>
                    <a:pt x="690" y="234"/>
                  </a:lnTo>
                  <a:lnTo>
                    <a:pt x="684" y="210"/>
                  </a:lnTo>
                  <a:lnTo>
                    <a:pt x="678" y="192"/>
                  </a:lnTo>
                  <a:lnTo>
                    <a:pt x="672" y="174"/>
                  </a:lnTo>
                  <a:lnTo>
                    <a:pt x="672" y="168"/>
                  </a:lnTo>
                  <a:lnTo>
                    <a:pt x="672" y="162"/>
                  </a:lnTo>
                  <a:lnTo>
                    <a:pt x="672" y="156"/>
                  </a:lnTo>
                  <a:lnTo>
                    <a:pt x="684" y="132"/>
                  </a:lnTo>
                  <a:lnTo>
                    <a:pt x="684" y="120"/>
                  </a:lnTo>
                  <a:lnTo>
                    <a:pt x="684" y="108"/>
                  </a:lnTo>
                  <a:lnTo>
                    <a:pt x="678" y="102"/>
                  </a:lnTo>
                  <a:lnTo>
                    <a:pt x="678" y="96"/>
                  </a:lnTo>
                  <a:lnTo>
                    <a:pt x="684" y="96"/>
                  </a:lnTo>
                  <a:lnTo>
                    <a:pt x="696" y="90"/>
                  </a:lnTo>
                  <a:lnTo>
                    <a:pt x="702" y="84"/>
                  </a:lnTo>
                  <a:lnTo>
                    <a:pt x="720" y="72"/>
                  </a:lnTo>
                  <a:lnTo>
                    <a:pt x="738" y="66"/>
                  </a:lnTo>
                  <a:lnTo>
                    <a:pt x="756" y="60"/>
                  </a:lnTo>
                  <a:lnTo>
                    <a:pt x="768" y="60"/>
                  </a:lnTo>
                  <a:lnTo>
                    <a:pt x="798" y="72"/>
                  </a:lnTo>
                  <a:lnTo>
                    <a:pt x="804" y="78"/>
                  </a:lnTo>
                  <a:lnTo>
                    <a:pt x="816" y="84"/>
                  </a:lnTo>
                  <a:lnTo>
                    <a:pt x="822" y="84"/>
                  </a:lnTo>
                  <a:lnTo>
                    <a:pt x="828" y="72"/>
                  </a:lnTo>
                  <a:lnTo>
                    <a:pt x="828" y="60"/>
                  </a:lnTo>
                  <a:lnTo>
                    <a:pt x="828" y="36"/>
                  </a:lnTo>
                  <a:lnTo>
                    <a:pt x="828" y="24"/>
                  </a:lnTo>
                  <a:lnTo>
                    <a:pt x="828" y="12"/>
                  </a:lnTo>
                  <a:lnTo>
                    <a:pt x="834" y="12"/>
                  </a:lnTo>
                  <a:lnTo>
                    <a:pt x="852" y="6"/>
                  </a:lnTo>
                  <a:lnTo>
                    <a:pt x="876" y="6"/>
                  </a:lnTo>
                  <a:lnTo>
                    <a:pt x="894" y="6"/>
                  </a:lnTo>
                  <a:lnTo>
                    <a:pt x="906" y="12"/>
                  </a:lnTo>
                  <a:lnTo>
                    <a:pt x="912" y="24"/>
                  </a:lnTo>
                  <a:lnTo>
                    <a:pt x="924" y="24"/>
                  </a:lnTo>
                  <a:lnTo>
                    <a:pt x="930" y="30"/>
                  </a:lnTo>
                  <a:lnTo>
                    <a:pt x="936" y="30"/>
                  </a:lnTo>
                  <a:lnTo>
                    <a:pt x="936" y="36"/>
                  </a:lnTo>
                  <a:lnTo>
                    <a:pt x="942" y="36"/>
                  </a:lnTo>
                  <a:lnTo>
                    <a:pt x="948" y="42"/>
                  </a:lnTo>
                  <a:lnTo>
                    <a:pt x="960" y="48"/>
                  </a:lnTo>
                  <a:lnTo>
                    <a:pt x="966" y="48"/>
                  </a:lnTo>
                  <a:lnTo>
                    <a:pt x="1026" y="60"/>
                  </a:lnTo>
                  <a:lnTo>
                    <a:pt x="1050" y="60"/>
                  </a:lnTo>
                  <a:lnTo>
                    <a:pt x="1050" y="54"/>
                  </a:lnTo>
                  <a:lnTo>
                    <a:pt x="1062" y="54"/>
                  </a:lnTo>
                  <a:lnTo>
                    <a:pt x="1074" y="48"/>
                  </a:lnTo>
                  <a:lnTo>
                    <a:pt x="1086" y="42"/>
                  </a:lnTo>
                  <a:lnTo>
                    <a:pt x="1104" y="36"/>
                  </a:lnTo>
                  <a:lnTo>
                    <a:pt x="1116" y="30"/>
                  </a:lnTo>
                  <a:lnTo>
                    <a:pt x="1122" y="24"/>
                  </a:lnTo>
                  <a:lnTo>
                    <a:pt x="1128" y="18"/>
                  </a:lnTo>
                  <a:lnTo>
                    <a:pt x="1134" y="18"/>
                  </a:lnTo>
                  <a:lnTo>
                    <a:pt x="1140" y="12"/>
                  </a:lnTo>
                  <a:lnTo>
                    <a:pt x="1146" y="6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24"/>
                  </a:lnTo>
                  <a:lnTo>
                    <a:pt x="1176" y="36"/>
                  </a:lnTo>
                  <a:lnTo>
                    <a:pt x="1188" y="42"/>
                  </a:lnTo>
                  <a:lnTo>
                    <a:pt x="1200" y="54"/>
                  </a:lnTo>
                  <a:lnTo>
                    <a:pt x="1224" y="84"/>
                  </a:lnTo>
                  <a:lnTo>
                    <a:pt x="1224" y="90"/>
                  </a:lnTo>
                  <a:lnTo>
                    <a:pt x="1236" y="96"/>
                  </a:lnTo>
                  <a:lnTo>
                    <a:pt x="1236" y="108"/>
                  </a:lnTo>
                  <a:lnTo>
                    <a:pt x="1248" y="114"/>
                  </a:lnTo>
                  <a:lnTo>
                    <a:pt x="1254" y="114"/>
                  </a:lnTo>
                  <a:lnTo>
                    <a:pt x="1260" y="114"/>
                  </a:lnTo>
                  <a:lnTo>
                    <a:pt x="1296" y="114"/>
                  </a:lnTo>
                  <a:lnTo>
                    <a:pt x="1302" y="114"/>
                  </a:lnTo>
                  <a:lnTo>
                    <a:pt x="1320" y="108"/>
                  </a:lnTo>
                  <a:lnTo>
                    <a:pt x="1326" y="108"/>
                  </a:lnTo>
                  <a:lnTo>
                    <a:pt x="1326" y="138"/>
                  </a:lnTo>
                  <a:lnTo>
                    <a:pt x="1326" y="210"/>
                  </a:lnTo>
                  <a:lnTo>
                    <a:pt x="1320" y="252"/>
                  </a:lnTo>
                  <a:lnTo>
                    <a:pt x="1320" y="270"/>
                  </a:lnTo>
                  <a:lnTo>
                    <a:pt x="1320" y="288"/>
                  </a:lnTo>
                  <a:lnTo>
                    <a:pt x="1320" y="318"/>
                  </a:lnTo>
                  <a:lnTo>
                    <a:pt x="1326" y="354"/>
                  </a:lnTo>
                  <a:lnTo>
                    <a:pt x="1326" y="372"/>
                  </a:lnTo>
                  <a:lnTo>
                    <a:pt x="1332" y="420"/>
                  </a:lnTo>
                  <a:lnTo>
                    <a:pt x="1332" y="450"/>
                  </a:lnTo>
                  <a:lnTo>
                    <a:pt x="1338" y="480"/>
                  </a:lnTo>
                  <a:lnTo>
                    <a:pt x="1344" y="486"/>
                  </a:lnTo>
                  <a:lnTo>
                    <a:pt x="1338" y="492"/>
                  </a:lnTo>
                  <a:lnTo>
                    <a:pt x="1344" y="492"/>
                  </a:lnTo>
                  <a:lnTo>
                    <a:pt x="1344" y="498"/>
                  </a:lnTo>
                  <a:lnTo>
                    <a:pt x="1350" y="498"/>
                  </a:lnTo>
                  <a:lnTo>
                    <a:pt x="1350" y="522"/>
                  </a:lnTo>
                  <a:lnTo>
                    <a:pt x="1362" y="564"/>
                  </a:lnTo>
                  <a:lnTo>
                    <a:pt x="1368" y="582"/>
                  </a:lnTo>
                  <a:lnTo>
                    <a:pt x="1380" y="600"/>
                  </a:lnTo>
                  <a:lnTo>
                    <a:pt x="1386" y="636"/>
                  </a:lnTo>
                  <a:lnTo>
                    <a:pt x="1380" y="660"/>
                  </a:lnTo>
                  <a:lnTo>
                    <a:pt x="1380" y="678"/>
                  </a:lnTo>
                  <a:lnTo>
                    <a:pt x="1380" y="684"/>
                  </a:lnTo>
                  <a:lnTo>
                    <a:pt x="1374" y="684"/>
                  </a:lnTo>
                  <a:lnTo>
                    <a:pt x="1368" y="690"/>
                  </a:lnTo>
                  <a:lnTo>
                    <a:pt x="1356" y="702"/>
                  </a:lnTo>
                  <a:lnTo>
                    <a:pt x="1350" y="708"/>
                  </a:lnTo>
                  <a:lnTo>
                    <a:pt x="1356" y="714"/>
                  </a:lnTo>
                  <a:lnTo>
                    <a:pt x="1368" y="726"/>
                  </a:lnTo>
                  <a:lnTo>
                    <a:pt x="1380" y="738"/>
                  </a:lnTo>
                  <a:lnTo>
                    <a:pt x="1386" y="744"/>
                  </a:lnTo>
                  <a:lnTo>
                    <a:pt x="1392" y="744"/>
                  </a:lnTo>
                  <a:lnTo>
                    <a:pt x="1410" y="750"/>
                  </a:lnTo>
                  <a:lnTo>
                    <a:pt x="1416" y="756"/>
                  </a:lnTo>
                  <a:lnTo>
                    <a:pt x="1422" y="756"/>
                  </a:lnTo>
                  <a:lnTo>
                    <a:pt x="1422" y="762"/>
                  </a:lnTo>
                  <a:lnTo>
                    <a:pt x="1428" y="774"/>
                  </a:lnTo>
                  <a:lnTo>
                    <a:pt x="1428" y="780"/>
                  </a:lnTo>
                  <a:lnTo>
                    <a:pt x="1434" y="780"/>
                  </a:lnTo>
                  <a:lnTo>
                    <a:pt x="1440" y="798"/>
                  </a:lnTo>
                  <a:lnTo>
                    <a:pt x="1422" y="816"/>
                  </a:lnTo>
                  <a:lnTo>
                    <a:pt x="1386" y="810"/>
                  </a:lnTo>
                  <a:lnTo>
                    <a:pt x="1380" y="816"/>
                  </a:lnTo>
                  <a:lnTo>
                    <a:pt x="1374" y="840"/>
                  </a:lnTo>
                  <a:lnTo>
                    <a:pt x="1350" y="852"/>
                  </a:lnTo>
                  <a:lnTo>
                    <a:pt x="1350" y="858"/>
                  </a:lnTo>
                  <a:lnTo>
                    <a:pt x="1350" y="864"/>
                  </a:lnTo>
                  <a:lnTo>
                    <a:pt x="1344" y="864"/>
                  </a:lnTo>
                  <a:lnTo>
                    <a:pt x="1338" y="870"/>
                  </a:lnTo>
                  <a:lnTo>
                    <a:pt x="1332" y="876"/>
                  </a:lnTo>
                  <a:lnTo>
                    <a:pt x="1314" y="876"/>
                  </a:lnTo>
                  <a:lnTo>
                    <a:pt x="1314" y="870"/>
                  </a:lnTo>
                  <a:lnTo>
                    <a:pt x="1308" y="870"/>
                  </a:lnTo>
                  <a:lnTo>
                    <a:pt x="1302" y="864"/>
                  </a:lnTo>
                  <a:lnTo>
                    <a:pt x="1296" y="864"/>
                  </a:lnTo>
                  <a:lnTo>
                    <a:pt x="1284" y="870"/>
                  </a:lnTo>
                  <a:lnTo>
                    <a:pt x="1266" y="870"/>
                  </a:lnTo>
                  <a:lnTo>
                    <a:pt x="1260" y="870"/>
                  </a:lnTo>
                  <a:lnTo>
                    <a:pt x="1248" y="876"/>
                  </a:lnTo>
                  <a:lnTo>
                    <a:pt x="1236" y="876"/>
                  </a:lnTo>
                  <a:lnTo>
                    <a:pt x="1230" y="882"/>
                  </a:lnTo>
                  <a:lnTo>
                    <a:pt x="1224" y="894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18" y="942"/>
                  </a:lnTo>
                  <a:lnTo>
                    <a:pt x="1212" y="948"/>
                  </a:lnTo>
                  <a:lnTo>
                    <a:pt x="1200" y="984"/>
                  </a:lnTo>
                  <a:lnTo>
                    <a:pt x="1194" y="1008"/>
                  </a:lnTo>
                  <a:lnTo>
                    <a:pt x="1218" y="1038"/>
                  </a:lnTo>
                  <a:lnTo>
                    <a:pt x="1224" y="1044"/>
                  </a:lnTo>
                  <a:lnTo>
                    <a:pt x="1224" y="1062"/>
                  </a:lnTo>
                  <a:lnTo>
                    <a:pt x="1236" y="1080"/>
                  </a:lnTo>
                  <a:lnTo>
                    <a:pt x="1236" y="1086"/>
                  </a:lnTo>
                  <a:lnTo>
                    <a:pt x="1230" y="1092"/>
                  </a:lnTo>
                  <a:lnTo>
                    <a:pt x="1224" y="1110"/>
                  </a:lnTo>
                  <a:lnTo>
                    <a:pt x="1218" y="1122"/>
                  </a:lnTo>
                  <a:lnTo>
                    <a:pt x="1224" y="1140"/>
                  </a:lnTo>
                  <a:lnTo>
                    <a:pt x="1218" y="1146"/>
                  </a:lnTo>
                  <a:lnTo>
                    <a:pt x="1218" y="1152"/>
                  </a:lnTo>
                  <a:lnTo>
                    <a:pt x="1212" y="116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1" name="Freeform 36">
              <a:extLst>
                <a:ext uri="{FF2B5EF4-FFF2-40B4-BE49-F238E27FC236}">
                  <a16:creationId xmlns:a16="http://schemas.microsoft.com/office/drawing/2014/main" id="{B9C0D6BE-CB1C-4E69-B224-1ABF097AA8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90208" y="1647855"/>
              <a:ext cx="742415" cy="758173"/>
            </a:xfrm>
            <a:custGeom>
              <a:avLst/>
              <a:gdLst>
                <a:gd name="T0" fmla="*/ 75 w 1398"/>
                <a:gd name="T1" fmla="*/ 48 h 1428"/>
                <a:gd name="T2" fmla="*/ 68 w 1398"/>
                <a:gd name="T3" fmla="*/ 54 h 1428"/>
                <a:gd name="T4" fmla="*/ 57 w 1398"/>
                <a:gd name="T5" fmla="*/ 59 h 1428"/>
                <a:gd name="T6" fmla="*/ 55 w 1398"/>
                <a:gd name="T7" fmla="*/ 68 h 1428"/>
                <a:gd name="T8" fmla="*/ 55 w 1398"/>
                <a:gd name="T9" fmla="*/ 77 h 1428"/>
                <a:gd name="T10" fmla="*/ 57 w 1398"/>
                <a:gd name="T11" fmla="*/ 81 h 1428"/>
                <a:gd name="T12" fmla="*/ 56 w 1398"/>
                <a:gd name="T13" fmla="*/ 86 h 1428"/>
                <a:gd name="T14" fmla="*/ 57 w 1398"/>
                <a:gd name="T15" fmla="*/ 89 h 1428"/>
                <a:gd name="T16" fmla="*/ 58 w 1398"/>
                <a:gd name="T17" fmla="*/ 92 h 1428"/>
                <a:gd name="T18" fmla="*/ 58 w 1398"/>
                <a:gd name="T19" fmla="*/ 96 h 1428"/>
                <a:gd name="T20" fmla="*/ 49 w 1398"/>
                <a:gd name="T21" fmla="*/ 100 h 1428"/>
                <a:gd name="T22" fmla="*/ 47 w 1398"/>
                <a:gd name="T23" fmla="*/ 108 h 1428"/>
                <a:gd name="T24" fmla="*/ 48 w 1398"/>
                <a:gd name="T25" fmla="*/ 113 h 1428"/>
                <a:gd name="T26" fmla="*/ 43 w 1398"/>
                <a:gd name="T27" fmla="*/ 114 h 1428"/>
                <a:gd name="T28" fmla="*/ 39 w 1398"/>
                <a:gd name="T29" fmla="*/ 113 h 1428"/>
                <a:gd name="T30" fmla="*/ 33 w 1398"/>
                <a:gd name="T31" fmla="*/ 109 h 1428"/>
                <a:gd name="T32" fmla="*/ 29 w 1398"/>
                <a:gd name="T33" fmla="*/ 114 h 1428"/>
                <a:gd name="T34" fmla="*/ 22 w 1398"/>
                <a:gd name="T35" fmla="*/ 115 h 1428"/>
                <a:gd name="T36" fmla="*/ 21 w 1398"/>
                <a:gd name="T37" fmla="*/ 121 h 1428"/>
                <a:gd name="T38" fmla="*/ 12 w 1398"/>
                <a:gd name="T39" fmla="*/ 119 h 1428"/>
                <a:gd name="T40" fmla="*/ 9 w 1398"/>
                <a:gd name="T41" fmla="*/ 113 h 1428"/>
                <a:gd name="T42" fmla="*/ 2 w 1398"/>
                <a:gd name="T43" fmla="*/ 109 h 1428"/>
                <a:gd name="T44" fmla="*/ 4 w 1398"/>
                <a:gd name="T45" fmla="*/ 103 h 1428"/>
                <a:gd name="T46" fmla="*/ 2 w 1398"/>
                <a:gd name="T47" fmla="*/ 91 h 1428"/>
                <a:gd name="T48" fmla="*/ 6 w 1398"/>
                <a:gd name="T49" fmla="*/ 85 h 1428"/>
                <a:gd name="T50" fmla="*/ 10 w 1398"/>
                <a:gd name="T51" fmla="*/ 85 h 1428"/>
                <a:gd name="T52" fmla="*/ 15 w 1398"/>
                <a:gd name="T53" fmla="*/ 82 h 1428"/>
                <a:gd name="T54" fmla="*/ 20 w 1398"/>
                <a:gd name="T55" fmla="*/ 77 h 1428"/>
                <a:gd name="T56" fmla="*/ 16 w 1398"/>
                <a:gd name="T57" fmla="*/ 73 h 1428"/>
                <a:gd name="T58" fmla="*/ 16 w 1398"/>
                <a:gd name="T59" fmla="*/ 69 h 1428"/>
                <a:gd name="T60" fmla="*/ 14 w 1398"/>
                <a:gd name="T61" fmla="*/ 54 h 1428"/>
                <a:gd name="T62" fmla="*/ 12 w 1398"/>
                <a:gd name="T63" fmla="*/ 48 h 1428"/>
                <a:gd name="T64" fmla="*/ 11 w 1398"/>
                <a:gd name="T65" fmla="*/ 31 h 1428"/>
                <a:gd name="T66" fmla="*/ 14 w 1398"/>
                <a:gd name="T67" fmla="*/ 18 h 1428"/>
                <a:gd name="T68" fmla="*/ 19 w 1398"/>
                <a:gd name="T69" fmla="*/ 15 h 1428"/>
                <a:gd name="T70" fmla="*/ 26 w 1398"/>
                <a:gd name="T71" fmla="*/ 13 h 1428"/>
                <a:gd name="T72" fmla="*/ 34 w 1398"/>
                <a:gd name="T73" fmla="*/ 12 h 1428"/>
                <a:gd name="T74" fmla="*/ 39 w 1398"/>
                <a:gd name="T75" fmla="*/ 9 h 1428"/>
                <a:gd name="T76" fmla="*/ 43 w 1398"/>
                <a:gd name="T77" fmla="*/ 7 h 1428"/>
                <a:gd name="T78" fmla="*/ 48 w 1398"/>
                <a:gd name="T79" fmla="*/ 3 h 1428"/>
                <a:gd name="T80" fmla="*/ 54 w 1398"/>
                <a:gd name="T81" fmla="*/ 0 h 1428"/>
                <a:gd name="T82" fmla="*/ 58 w 1398"/>
                <a:gd name="T83" fmla="*/ 0 h 1428"/>
                <a:gd name="T84" fmla="*/ 66 w 1398"/>
                <a:gd name="T85" fmla="*/ 2 h 1428"/>
                <a:gd name="T86" fmla="*/ 70 w 1398"/>
                <a:gd name="T87" fmla="*/ 3 h 1428"/>
                <a:gd name="T88" fmla="*/ 75 w 1398"/>
                <a:gd name="T89" fmla="*/ 6 h 1428"/>
                <a:gd name="T90" fmla="*/ 80 w 1398"/>
                <a:gd name="T91" fmla="*/ 9 h 1428"/>
                <a:gd name="T92" fmla="*/ 83 w 1398"/>
                <a:gd name="T93" fmla="*/ 12 h 1428"/>
                <a:gd name="T94" fmla="*/ 87 w 1398"/>
                <a:gd name="T95" fmla="*/ 15 h 1428"/>
                <a:gd name="T96" fmla="*/ 94 w 1398"/>
                <a:gd name="T97" fmla="*/ 15 h 1428"/>
                <a:gd name="T98" fmla="*/ 99 w 1398"/>
                <a:gd name="T99" fmla="*/ 21 h 1428"/>
                <a:gd name="T100" fmla="*/ 103 w 1398"/>
                <a:gd name="T101" fmla="*/ 23 h 1428"/>
                <a:gd name="T102" fmla="*/ 110 w 1398"/>
                <a:gd name="T103" fmla="*/ 26 h 1428"/>
                <a:gd name="T104" fmla="*/ 116 w 1398"/>
                <a:gd name="T105" fmla="*/ 27 h 1428"/>
                <a:gd name="T106" fmla="*/ 120 w 1398"/>
                <a:gd name="T107" fmla="*/ 27 h 1428"/>
                <a:gd name="T108" fmla="*/ 116 w 1398"/>
                <a:gd name="T109" fmla="*/ 35 h 1428"/>
                <a:gd name="T110" fmla="*/ 104 w 1398"/>
                <a:gd name="T111" fmla="*/ 37 h 1428"/>
                <a:gd name="T112" fmla="*/ 97 w 1398"/>
                <a:gd name="T113" fmla="*/ 34 h 1428"/>
                <a:gd name="T114" fmla="*/ 91 w 1398"/>
                <a:gd name="T115" fmla="*/ 29 h 1428"/>
                <a:gd name="T116" fmla="*/ 75 w 1398"/>
                <a:gd name="T117" fmla="*/ 29 h 1428"/>
                <a:gd name="T118" fmla="*/ 72 w 1398"/>
                <a:gd name="T119" fmla="*/ 39 h 1428"/>
                <a:gd name="T120" fmla="*/ 80 w 1398"/>
                <a:gd name="T121" fmla="*/ 41 h 142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98"/>
                <a:gd name="T184" fmla="*/ 0 h 1428"/>
                <a:gd name="T185" fmla="*/ 1398 w 1398"/>
                <a:gd name="T186" fmla="*/ 1428 h 142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98" h="1428">
                  <a:moveTo>
                    <a:pt x="924" y="474"/>
                  </a:moveTo>
                  <a:lnTo>
                    <a:pt x="900" y="480"/>
                  </a:lnTo>
                  <a:lnTo>
                    <a:pt x="864" y="486"/>
                  </a:lnTo>
                  <a:lnTo>
                    <a:pt x="864" y="504"/>
                  </a:lnTo>
                  <a:lnTo>
                    <a:pt x="858" y="522"/>
                  </a:lnTo>
                  <a:lnTo>
                    <a:pt x="864" y="528"/>
                  </a:lnTo>
                  <a:lnTo>
                    <a:pt x="864" y="552"/>
                  </a:lnTo>
                  <a:lnTo>
                    <a:pt x="852" y="552"/>
                  </a:lnTo>
                  <a:lnTo>
                    <a:pt x="846" y="564"/>
                  </a:lnTo>
                  <a:lnTo>
                    <a:pt x="840" y="582"/>
                  </a:lnTo>
                  <a:lnTo>
                    <a:pt x="834" y="594"/>
                  </a:lnTo>
                  <a:lnTo>
                    <a:pt x="828" y="606"/>
                  </a:lnTo>
                  <a:lnTo>
                    <a:pt x="828" y="618"/>
                  </a:lnTo>
                  <a:lnTo>
                    <a:pt x="786" y="630"/>
                  </a:lnTo>
                  <a:lnTo>
                    <a:pt x="774" y="636"/>
                  </a:lnTo>
                  <a:lnTo>
                    <a:pt x="762" y="642"/>
                  </a:lnTo>
                  <a:lnTo>
                    <a:pt x="744" y="648"/>
                  </a:lnTo>
                  <a:lnTo>
                    <a:pt x="714" y="660"/>
                  </a:lnTo>
                  <a:lnTo>
                    <a:pt x="696" y="666"/>
                  </a:lnTo>
                  <a:lnTo>
                    <a:pt x="666" y="672"/>
                  </a:lnTo>
                  <a:lnTo>
                    <a:pt x="654" y="684"/>
                  </a:lnTo>
                  <a:lnTo>
                    <a:pt x="648" y="684"/>
                  </a:lnTo>
                  <a:lnTo>
                    <a:pt x="642" y="696"/>
                  </a:lnTo>
                  <a:lnTo>
                    <a:pt x="636" y="696"/>
                  </a:lnTo>
                  <a:lnTo>
                    <a:pt x="630" y="714"/>
                  </a:lnTo>
                  <a:lnTo>
                    <a:pt x="624" y="738"/>
                  </a:lnTo>
                  <a:lnTo>
                    <a:pt x="624" y="762"/>
                  </a:lnTo>
                  <a:lnTo>
                    <a:pt x="630" y="780"/>
                  </a:lnTo>
                  <a:lnTo>
                    <a:pt x="636" y="804"/>
                  </a:lnTo>
                  <a:lnTo>
                    <a:pt x="642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6" y="834"/>
                  </a:lnTo>
                  <a:lnTo>
                    <a:pt x="636" y="870"/>
                  </a:lnTo>
                  <a:lnTo>
                    <a:pt x="636" y="882"/>
                  </a:lnTo>
                  <a:lnTo>
                    <a:pt x="636" y="906"/>
                  </a:lnTo>
                  <a:lnTo>
                    <a:pt x="630" y="906"/>
                  </a:lnTo>
                  <a:lnTo>
                    <a:pt x="636" y="918"/>
                  </a:lnTo>
                  <a:lnTo>
                    <a:pt x="642" y="918"/>
                  </a:lnTo>
                  <a:lnTo>
                    <a:pt x="642" y="930"/>
                  </a:lnTo>
                  <a:lnTo>
                    <a:pt x="648" y="936"/>
                  </a:lnTo>
                  <a:lnTo>
                    <a:pt x="654" y="936"/>
                  </a:lnTo>
                  <a:lnTo>
                    <a:pt x="654" y="942"/>
                  </a:lnTo>
                  <a:lnTo>
                    <a:pt x="654" y="948"/>
                  </a:lnTo>
                  <a:lnTo>
                    <a:pt x="648" y="954"/>
                  </a:lnTo>
                  <a:lnTo>
                    <a:pt x="648" y="960"/>
                  </a:lnTo>
                  <a:lnTo>
                    <a:pt x="648" y="966"/>
                  </a:lnTo>
                  <a:lnTo>
                    <a:pt x="648" y="972"/>
                  </a:lnTo>
                  <a:lnTo>
                    <a:pt x="648" y="990"/>
                  </a:lnTo>
                  <a:lnTo>
                    <a:pt x="654" y="996"/>
                  </a:lnTo>
                  <a:lnTo>
                    <a:pt x="648" y="1002"/>
                  </a:lnTo>
                  <a:lnTo>
                    <a:pt x="648" y="1008"/>
                  </a:lnTo>
                  <a:lnTo>
                    <a:pt x="654" y="1014"/>
                  </a:lnTo>
                  <a:lnTo>
                    <a:pt x="654" y="1020"/>
                  </a:lnTo>
                  <a:lnTo>
                    <a:pt x="654" y="1026"/>
                  </a:lnTo>
                  <a:lnTo>
                    <a:pt x="660" y="1026"/>
                  </a:lnTo>
                  <a:lnTo>
                    <a:pt x="660" y="1032"/>
                  </a:lnTo>
                  <a:lnTo>
                    <a:pt x="660" y="1038"/>
                  </a:lnTo>
                  <a:lnTo>
                    <a:pt x="666" y="1044"/>
                  </a:lnTo>
                  <a:lnTo>
                    <a:pt x="672" y="1050"/>
                  </a:lnTo>
                  <a:lnTo>
                    <a:pt x="672" y="1056"/>
                  </a:lnTo>
                  <a:lnTo>
                    <a:pt x="672" y="1062"/>
                  </a:lnTo>
                  <a:lnTo>
                    <a:pt x="672" y="1068"/>
                  </a:lnTo>
                  <a:lnTo>
                    <a:pt x="672" y="1074"/>
                  </a:lnTo>
                  <a:lnTo>
                    <a:pt x="678" y="1074"/>
                  </a:lnTo>
                  <a:lnTo>
                    <a:pt x="678" y="1080"/>
                  </a:lnTo>
                  <a:lnTo>
                    <a:pt x="678" y="1086"/>
                  </a:lnTo>
                  <a:lnTo>
                    <a:pt x="672" y="1092"/>
                  </a:lnTo>
                  <a:lnTo>
                    <a:pt x="672" y="1098"/>
                  </a:lnTo>
                  <a:lnTo>
                    <a:pt x="672" y="1104"/>
                  </a:lnTo>
                  <a:lnTo>
                    <a:pt x="666" y="1116"/>
                  </a:lnTo>
                  <a:lnTo>
                    <a:pt x="624" y="1122"/>
                  </a:lnTo>
                  <a:lnTo>
                    <a:pt x="576" y="1134"/>
                  </a:lnTo>
                  <a:lnTo>
                    <a:pt x="570" y="1140"/>
                  </a:lnTo>
                  <a:lnTo>
                    <a:pt x="570" y="1146"/>
                  </a:lnTo>
                  <a:lnTo>
                    <a:pt x="564" y="1146"/>
                  </a:lnTo>
                  <a:lnTo>
                    <a:pt x="564" y="1152"/>
                  </a:lnTo>
                  <a:lnTo>
                    <a:pt x="564" y="1164"/>
                  </a:lnTo>
                  <a:lnTo>
                    <a:pt x="564" y="1170"/>
                  </a:lnTo>
                  <a:lnTo>
                    <a:pt x="564" y="1176"/>
                  </a:lnTo>
                  <a:lnTo>
                    <a:pt x="546" y="1176"/>
                  </a:lnTo>
                  <a:lnTo>
                    <a:pt x="540" y="1212"/>
                  </a:lnTo>
                  <a:lnTo>
                    <a:pt x="540" y="1230"/>
                  </a:lnTo>
                  <a:lnTo>
                    <a:pt x="546" y="1242"/>
                  </a:lnTo>
                  <a:lnTo>
                    <a:pt x="546" y="1254"/>
                  </a:lnTo>
                  <a:lnTo>
                    <a:pt x="558" y="1266"/>
                  </a:lnTo>
                  <a:lnTo>
                    <a:pt x="576" y="1272"/>
                  </a:lnTo>
                  <a:lnTo>
                    <a:pt x="570" y="1278"/>
                  </a:lnTo>
                  <a:lnTo>
                    <a:pt x="576" y="1284"/>
                  </a:lnTo>
                  <a:lnTo>
                    <a:pt x="570" y="1296"/>
                  </a:lnTo>
                  <a:lnTo>
                    <a:pt x="558" y="1302"/>
                  </a:lnTo>
                  <a:lnTo>
                    <a:pt x="540" y="1308"/>
                  </a:lnTo>
                  <a:lnTo>
                    <a:pt x="522" y="1314"/>
                  </a:lnTo>
                  <a:lnTo>
                    <a:pt x="516" y="1314"/>
                  </a:lnTo>
                  <a:lnTo>
                    <a:pt x="510" y="1314"/>
                  </a:lnTo>
                  <a:lnTo>
                    <a:pt x="504" y="1314"/>
                  </a:lnTo>
                  <a:lnTo>
                    <a:pt x="498" y="1320"/>
                  </a:lnTo>
                  <a:lnTo>
                    <a:pt x="492" y="1320"/>
                  </a:lnTo>
                  <a:lnTo>
                    <a:pt x="492" y="1326"/>
                  </a:lnTo>
                  <a:lnTo>
                    <a:pt x="486" y="1326"/>
                  </a:lnTo>
                  <a:lnTo>
                    <a:pt x="480" y="1326"/>
                  </a:lnTo>
                  <a:lnTo>
                    <a:pt x="480" y="1320"/>
                  </a:lnTo>
                  <a:lnTo>
                    <a:pt x="468" y="1314"/>
                  </a:lnTo>
                  <a:lnTo>
                    <a:pt x="462" y="1308"/>
                  </a:lnTo>
                  <a:lnTo>
                    <a:pt x="456" y="1302"/>
                  </a:lnTo>
                  <a:lnTo>
                    <a:pt x="444" y="1296"/>
                  </a:lnTo>
                  <a:lnTo>
                    <a:pt x="420" y="1290"/>
                  </a:lnTo>
                  <a:lnTo>
                    <a:pt x="414" y="1278"/>
                  </a:lnTo>
                  <a:lnTo>
                    <a:pt x="408" y="1278"/>
                  </a:lnTo>
                  <a:lnTo>
                    <a:pt x="408" y="1266"/>
                  </a:lnTo>
                  <a:lnTo>
                    <a:pt x="402" y="1260"/>
                  </a:lnTo>
                  <a:lnTo>
                    <a:pt x="384" y="1260"/>
                  </a:lnTo>
                  <a:lnTo>
                    <a:pt x="372" y="1266"/>
                  </a:lnTo>
                  <a:lnTo>
                    <a:pt x="360" y="1272"/>
                  </a:lnTo>
                  <a:lnTo>
                    <a:pt x="348" y="1272"/>
                  </a:lnTo>
                  <a:lnTo>
                    <a:pt x="342" y="1284"/>
                  </a:lnTo>
                  <a:lnTo>
                    <a:pt x="336" y="1290"/>
                  </a:lnTo>
                  <a:lnTo>
                    <a:pt x="336" y="1308"/>
                  </a:lnTo>
                  <a:lnTo>
                    <a:pt x="336" y="1314"/>
                  </a:lnTo>
                  <a:lnTo>
                    <a:pt x="336" y="1320"/>
                  </a:lnTo>
                  <a:lnTo>
                    <a:pt x="330" y="1326"/>
                  </a:lnTo>
                  <a:lnTo>
                    <a:pt x="330" y="1332"/>
                  </a:lnTo>
                  <a:lnTo>
                    <a:pt x="330" y="1338"/>
                  </a:lnTo>
                  <a:lnTo>
                    <a:pt x="300" y="1338"/>
                  </a:lnTo>
                  <a:lnTo>
                    <a:pt x="288" y="1338"/>
                  </a:lnTo>
                  <a:lnTo>
                    <a:pt x="258" y="1326"/>
                  </a:lnTo>
                  <a:lnTo>
                    <a:pt x="246" y="1332"/>
                  </a:lnTo>
                  <a:lnTo>
                    <a:pt x="240" y="1338"/>
                  </a:lnTo>
                  <a:lnTo>
                    <a:pt x="234" y="1338"/>
                  </a:lnTo>
                  <a:lnTo>
                    <a:pt x="228" y="1350"/>
                  </a:lnTo>
                  <a:lnTo>
                    <a:pt x="228" y="1374"/>
                  </a:lnTo>
                  <a:lnTo>
                    <a:pt x="234" y="1392"/>
                  </a:lnTo>
                  <a:lnTo>
                    <a:pt x="246" y="1398"/>
                  </a:lnTo>
                  <a:lnTo>
                    <a:pt x="246" y="1410"/>
                  </a:lnTo>
                  <a:lnTo>
                    <a:pt x="216" y="1428"/>
                  </a:lnTo>
                  <a:lnTo>
                    <a:pt x="198" y="1428"/>
                  </a:lnTo>
                  <a:lnTo>
                    <a:pt x="192" y="1422"/>
                  </a:lnTo>
                  <a:lnTo>
                    <a:pt x="174" y="1410"/>
                  </a:lnTo>
                  <a:lnTo>
                    <a:pt x="156" y="1386"/>
                  </a:lnTo>
                  <a:lnTo>
                    <a:pt x="132" y="1374"/>
                  </a:lnTo>
                  <a:lnTo>
                    <a:pt x="108" y="1368"/>
                  </a:lnTo>
                  <a:lnTo>
                    <a:pt x="84" y="1368"/>
                  </a:lnTo>
                  <a:lnTo>
                    <a:pt x="96" y="1356"/>
                  </a:lnTo>
                  <a:lnTo>
                    <a:pt x="102" y="1344"/>
                  </a:lnTo>
                  <a:lnTo>
                    <a:pt x="102" y="1332"/>
                  </a:lnTo>
                  <a:lnTo>
                    <a:pt x="108" y="1320"/>
                  </a:lnTo>
                  <a:lnTo>
                    <a:pt x="108" y="1302"/>
                  </a:lnTo>
                  <a:lnTo>
                    <a:pt x="96" y="1278"/>
                  </a:lnTo>
                  <a:lnTo>
                    <a:pt x="66" y="1284"/>
                  </a:lnTo>
                  <a:lnTo>
                    <a:pt x="54" y="1278"/>
                  </a:lnTo>
                  <a:lnTo>
                    <a:pt x="36" y="1278"/>
                  </a:lnTo>
                  <a:lnTo>
                    <a:pt x="18" y="1284"/>
                  </a:lnTo>
                  <a:lnTo>
                    <a:pt x="18" y="1272"/>
                  </a:lnTo>
                  <a:lnTo>
                    <a:pt x="24" y="1260"/>
                  </a:lnTo>
                  <a:lnTo>
                    <a:pt x="24" y="1254"/>
                  </a:lnTo>
                  <a:lnTo>
                    <a:pt x="30" y="1248"/>
                  </a:lnTo>
                  <a:lnTo>
                    <a:pt x="24" y="1230"/>
                  </a:lnTo>
                  <a:lnTo>
                    <a:pt x="30" y="1218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30" y="1170"/>
                  </a:lnTo>
                  <a:lnTo>
                    <a:pt x="30" y="1152"/>
                  </a:lnTo>
                  <a:lnTo>
                    <a:pt x="24" y="1146"/>
                  </a:lnTo>
                  <a:lnTo>
                    <a:pt x="0" y="1116"/>
                  </a:lnTo>
                  <a:lnTo>
                    <a:pt x="6" y="1092"/>
                  </a:lnTo>
                  <a:lnTo>
                    <a:pt x="18" y="1056"/>
                  </a:lnTo>
                  <a:lnTo>
                    <a:pt x="24" y="1050"/>
                  </a:lnTo>
                  <a:lnTo>
                    <a:pt x="24" y="1038"/>
                  </a:lnTo>
                  <a:lnTo>
                    <a:pt x="24" y="1026"/>
                  </a:lnTo>
                  <a:lnTo>
                    <a:pt x="30" y="1002"/>
                  </a:lnTo>
                  <a:lnTo>
                    <a:pt x="36" y="990"/>
                  </a:lnTo>
                  <a:lnTo>
                    <a:pt x="42" y="984"/>
                  </a:lnTo>
                  <a:lnTo>
                    <a:pt x="54" y="984"/>
                  </a:lnTo>
                  <a:lnTo>
                    <a:pt x="66" y="978"/>
                  </a:lnTo>
                  <a:lnTo>
                    <a:pt x="72" y="978"/>
                  </a:lnTo>
                  <a:lnTo>
                    <a:pt x="90" y="978"/>
                  </a:lnTo>
                  <a:lnTo>
                    <a:pt x="102" y="972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78"/>
                  </a:lnTo>
                  <a:lnTo>
                    <a:pt x="120" y="984"/>
                  </a:lnTo>
                  <a:lnTo>
                    <a:pt x="138" y="984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6" y="972"/>
                  </a:lnTo>
                  <a:lnTo>
                    <a:pt x="156" y="966"/>
                  </a:lnTo>
                  <a:lnTo>
                    <a:pt x="156" y="960"/>
                  </a:lnTo>
                  <a:lnTo>
                    <a:pt x="180" y="948"/>
                  </a:lnTo>
                  <a:lnTo>
                    <a:pt x="186" y="924"/>
                  </a:lnTo>
                  <a:lnTo>
                    <a:pt x="192" y="918"/>
                  </a:lnTo>
                  <a:lnTo>
                    <a:pt x="228" y="924"/>
                  </a:lnTo>
                  <a:lnTo>
                    <a:pt x="246" y="906"/>
                  </a:lnTo>
                  <a:lnTo>
                    <a:pt x="240" y="888"/>
                  </a:lnTo>
                  <a:lnTo>
                    <a:pt x="234" y="888"/>
                  </a:lnTo>
                  <a:lnTo>
                    <a:pt x="234" y="882"/>
                  </a:lnTo>
                  <a:lnTo>
                    <a:pt x="228" y="870"/>
                  </a:lnTo>
                  <a:lnTo>
                    <a:pt x="228" y="864"/>
                  </a:lnTo>
                  <a:lnTo>
                    <a:pt x="222" y="864"/>
                  </a:lnTo>
                  <a:lnTo>
                    <a:pt x="216" y="858"/>
                  </a:lnTo>
                  <a:lnTo>
                    <a:pt x="198" y="852"/>
                  </a:lnTo>
                  <a:lnTo>
                    <a:pt x="192" y="852"/>
                  </a:lnTo>
                  <a:lnTo>
                    <a:pt x="186" y="846"/>
                  </a:lnTo>
                  <a:lnTo>
                    <a:pt x="174" y="834"/>
                  </a:lnTo>
                  <a:lnTo>
                    <a:pt x="162" y="822"/>
                  </a:lnTo>
                  <a:lnTo>
                    <a:pt x="156" y="816"/>
                  </a:lnTo>
                  <a:lnTo>
                    <a:pt x="162" y="810"/>
                  </a:lnTo>
                  <a:lnTo>
                    <a:pt x="174" y="798"/>
                  </a:lnTo>
                  <a:lnTo>
                    <a:pt x="180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68"/>
                  </a:lnTo>
                  <a:lnTo>
                    <a:pt x="192" y="744"/>
                  </a:lnTo>
                  <a:lnTo>
                    <a:pt x="186" y="708"/>
                  </a:lnTo>
                  <a:lnTo>
                    <a:pt x="174" y="690"/>
                  </a:lnTo>
                  <a:lnTo>
                    <a:pt x="168" y="672"/>
                  </a:lnTo>
                  <a:lnTo>
                    <a:pt x="156" y="630"/>
                  </a:lnTo>
                  <a:lnTo>
                    <a:pt x="156" y="606"/>
                  </a:lnTo>
                  <a:lnTo>
                    <a:pt x="150" y="606"/>
                  </a:lnTo>
                  <a:lnTo>
                    <a:pt x="150" y="600"/>
                  </a:lnTo>
                  <a:lnTo>
                    <a:pt x="144" y="600"/>
                  </a:lnTo>
                  <a:lnTo>
                    <a:pt x="150" y="594"/>
                  </a:lnTo>
                  <a:lnTo>
                    <a:pt x="144" y="588"/>
                  </a:lnTo>
                  <a:lnTo>
                    <a:pt x="138" y="558"/>
                  </a:lnTo>
                  <a:lnTo>
                    <a:pt x="138" y="528"/>
                  </a:lnTo>
                  <a:lnTo>
                    <a:pt x="132" y="480"/>
                  </a:lnTo>
                  <a:lnTo>
                    <a:pt x="132" y="462"/>
                  </a:lnTo>
                  <a:lnTo>
                    <a:pt x="126" y="426"/>
                  </a:lnTo>
                  <a:lnTo>
                    <a:pt x="126" y="396"/>
                  </a:lnTo>
                  <a:lnTo>
                    <a:pt x="126" y="378"/>
                  </a:lnTo>
                  <a:lnTo>
                    <a:pt x="126" y="360"/>
                  </a:lnTo>
                  <a:lnTo>
                    <a:pt x="132" y="318"/>
                  </a:lnTo>
                  <a:lnTo>
                    <a:pt x="132" y="24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2" y="210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92" y="198"/>
                  </a:lnTo>
                  <a:lnTo>
                    <a:pt x="198" y="198"/>
                  </a:lnTo>
                  <a:lnTo>
                    <a:pt x="216" y="180"/>
                  </a:lnTo>
                  <a:lnTo>
                    <a:pt x="222" y="174"/>
                  </a:lnTo>
                  <a:lnTo>
                    <a:pt x="222" y="168"/>
                  </a:lnTo>
                  <a:lnTo>
                    <a:pt x="228" y="168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44"/>
                  </a:lnTo>
                  <a:lnTo>
                    <a:pt x="258" y="144"/>
                  </a:lnTo>
                  <a:lnTo>
                    <a:pt x="276" y="150"/>
                  </a:lnTo>
                  <a:lnTo>
                    <a:pt x="300" y="150"/>
                  </a:lnTo>
                  <a:lnTo>
                    <a:pt x="312" y="150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8" y="156"/>
                  </a:lnTo>
                  <a:lnTo>
                    <a:pt x="354" y="150"/>
                  </a:lnTo>
                  <a:lnTo>
                    <a:pt x="372" y="144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08" y="126"/>
                  </a:lnTo>
                  <a:lnTo>
                    <a:pt x="414" y="120"/>
                  </a:lnTo>
                  <a:lnTo>
                    <a:pt x="420" y="120"/>
                  </a:lnTo>
                  <a:lnTo>
                    <a:pt x="426" y="120"/>
                  </a:lnTo>
                  <a:lnTo>
                    <a:pt x="432" y="114"/>
                  </a:lnTo>
                  <a:lnTo>
                    <a:pt x="450" y="102"/>
                  </a:lnTo>
                  <a:lnTo>
                    <a:pt x="456" y="96"/>
                  </a:lnTo>
                  <a:lnTo>
                    <a:pt x="468" y="90"/>
                  </a:lnTo>
                  <a:lnTo>
                    <a:pt x="474" y="90"/>
                  </a:lnTo>
                  <a:lnTo>
                    <a:pt x="480" y="84"/>
                  </a:lnTo>
                  <a:lnTo>
                    <a:pt x="486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504" y="72"/>
                  </a:lnTo>
                  <a:lnTo>
                    <a:pt x="510" y="66"/>
                  </a:lnTo>
                  <a:lnTo>
                    <a:pt x="516" y="66"/>
                  </a:lnTo>
                  <a:lnTo>
                    <a:pt x="522" y="60"/>
                  </a:lnTo>
                  <a:lnTo>
                    <a:pt x="552" y="42"/>
                  </a:lnTo>
                  <a:lnTo>
                    <a:pt x="558" y="36"/>
                  </a:lnTo>
                  <a:lnTo>
                    <a:pt x="576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94" y="18"/>
                  </a:lnTo>
                  <a:lnTo>
                    <a:pt x="600" y="12"/>
                  </a:lnTo>
                  <a:lnTo>
                    <a:pt x="612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6"/>
                  </a:lnTo>
                  <a:lnTo>
                    <a:pt x="648" y="6"/>
                  </a:lnTo>
                  <a:lnTo>
                    <a:pt x="660" y="6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38" y="18"/>
                  </a:lnTo>
                  <a:lnTo>
                    <a:pt x="744" y="18"/>
                  </a:lnTo>
                  <a:lnTo>
                    <a:pt x="756" y="18"/>
                  </a:lnTo>
                  <a:lnTo>
                    <a:pt x="762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80" y="24"/>
                  </a:lnTo>
                  <a:lnTo>
                    <a:pt x="792" y="24"/>
                  </a:lnTo>
                  <a:lnTo>
                    <a:pt x="792" y="30"/>
                  </a:lnTo>
                  <a:lnTo>
                    <a:pt x="810" y="30"/>
                  </a:lnTo>
                  <a:lnTo>
                    <a:pt x="822" y="36"/>
                  </a:lnTo>
                  <a:lnTo>
                    <a:pt x="834" y="42"/>
                  </a:lnTo>
                  <a:lnTo>
                    <a:pt x="840" y="48"/>
                  </a:lnTo>
                  <a:lnTo>
                    <a:pt x="846" y="54"/>
                  </a:lnTo>
                  <a:lnTo>
                    <a:pt x="852" y="60"/>
                  </a:lnTo>
                  <a:lnTo>
                    <a:pt x="858" y="66"/>
                  </a:lnTo>
                  <a:lnTo>
                    <a:pt x="864" y="66"/>
                  </a:lnTo>
                  <a:lnTo>
                    <a:pt x="864" y="72"/>
                  </a:lnTo>
                  <a:lnTo>
                    <a:pt x="876" y="78"/>
                  </a:lnTo>
                  <a:lnTo>
                    <a:pt x="900" y="84"/>
                  </a:lnTo>
                  <a:lnTo>
                    <a:pt x="906" y="90"/>
                  </a:lnTo>
                  <a:lnTo>
                    <a:pt x="912" y="90"/>
                  </a:lnTo>
                  <a:lnTo>
                    <a:pt x="912" y="96"/>
                  </a:lnTo>
                  <a:lnTo>
                    <a:pt x="924" y="108"/>
                  </a:lnTo>
                  <a:lnTo>
                    <a:pt x="930" y="108"/>
                  </a:lnTo>
                  <a:lnTo>
                    <a:pt x="936" y="114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60" y="138"/>
                  </a:lnTo>
                  <a:lnTo>
                    <a:pt x="966" y="144"/>
                  </a:lnTo>
                  <a:lnTo>
                    <a:pt x="972" y="156"/>
                  </a:lnTo>
                  <a:lnTo>
                    <a:pt x="978" y="162"/>
                  </a:lnTo>
                  <a:lnTo>
                    <a:pt x="984" y="162"/>
                  </a:lnTo>
                  <a:lnTo>
                    <a:pt x="990" y="168"/>
                  </a:lnTo>
                  <a:lnTo>
                    <a:pt x="996" y="174"/>
                  </a:lnTo>
                  <a:lnTo>
                    <a:pt x="1002" y="180"/>
                  </a:lnTo>
                  <a:lnTo>
                    <a:pt x="1008" y="180"/>
                  </a:lnTo>
                  <a:lnTo>
                    <a:pt x="1020" y="180"/>
                  </a:lnTo>
                  <a:lnTo>
                    <a:pt x="1038" y="174"/>
                  </a:lnTo>
                  <a:lnTo>
                    <a:pt x="1050" y="174"/>
                  </a:lnTo>
                  <a:lnTo>
                    <a:pt x="1056" y="174"/>
                  </a:lnTo>
                  <a:lnTo>
                    <a:pt x="1068" y="180"/>
                  </a:lnTo>
                  <a:lnTo>
                    <a:pt x="1080" y="180"/>
                  </a:lnTo>
                  <a:lnTo>
                    <a:pt x="1086" y="186"/>
                  </a:lnTo>
                  <a:lnTo>
                    <a:pt x="1098" y="192"/>
                  </a:lnTo>
                  <a:lnTo>
                    <a:pt x="1116" y="204"/>
                  </a:lnTo>
                  <a:lnTo>
                    <a:pt x="1122" y="210"/>
                  </a:lnTo>
                  <a:lnTo>
                    <a:pt x="1134" y="222"/>
                  </a:lnTo>
                  <a:lnTo>
                    <a:pt x="1146" y="234"/>
                  </a:lnTo>
                  <a:lnTo>
                    <a:pt x="1146" y="240"/>
                  </a:lnTo>
                  <a:lnTo>
                    <a:pt x="1152" y="246"/>
                  </a:lnTo>
                  <a:lnTo>
                    <a:pt x="1152" y="252"/>
                  </a:lnTo>
                  <a:lnTo>
                    <a:pt x="1152" y="258"/>
                  </a:lnTo>
                  <a:lnTo>
                    <a:pt x="1164" y="258"/>
                  </a:lnTo>
                  <a:lnTo>
                    <a:pt x="1170" y="264"/>
                  </a:lnTo>
                  <a:lnTo>
                    <a:pt x="1182" y="270"/>
                  </a:lnTo>
                  <a:lnTo>
                    <a:pt x="1188" y="270"/>
                  </a:lnTo>
                  <a:lnTo>
                    <a:pt x="1194" y="270"/>
                  </a:lnTo>
                  <a:lnTo>
                    <a:pt x="1206" y="276"/>
                  </a:lnTo>
                  <a:lnTo>
                    <a:pt x="1224" y="282"/>
                  </a:lnTo>
                  <a:lnTo>
                    <a:pt x="1236" y="282"/>
                  </a:lnTo>
                  <a:lnTo>
                    <a:pt x="1242" y="288"/>
                  </a:lnTo>
                  <a:lnTo>
                    <a:pt x="1254" y="288"/>
                  </a:lnTo>
                  <a:lnTo>
                    <a:pt x="1266" y="294"/>
                  </a:lnTo>
                  <a:lnTo>
                    <a:pt x="1272" y="294"/>
                  </a:lnTo>
                  <a:lnTo>
                    <a:pt x="1284" y="300"/>
                  </a:lnTo>
                  <a:lnTo>
                    <a:pt x="1290" y="300"/>
                  </a:lnTo>
                  <a:lnTo>
                    <a:pt x="1296" y="300"/>
                  </a:lnTo>
                  <a:lnTo>
                    <a:pt x="1302" y="306"/>
                  </a:lnTo>
                  <a:lnTo>
                    <a:pt x="1326" y="312"/>
                  </a:lnTo>
                  <a:lnTo>
                    <a:pt x="1338" y="312"/>
                  </a:lnTo>
                  <a:lnTo>
                    <a:pt x="1338" y="318"/>
                  </a:lnTo>
                  <a:lnTo>
                    <a:pt x="1344" y="318"/>
                  </a:lnTo>
                  <a:lnTo>
                    <a:pt x="1350" y="318"/>
                  </a:lnTo>
                  <a:lnTo>
                    <a:pt x="1362" y="324"/>
                  </a:lnTo>
                  <a:lnTo>
                    <a:pt x="1368" y="318"/>
                  </a:lnTo>
                  <a:lnTo>
                    <a:pt x="1374" y="318"/>
                  </a:lnTo>
                  <a:lnTo>
                    <a:pt x="1386" y="318"/>
                  </a:lnTo>
                  <a:lnTo>
                    <a:pt x="1398" y="324"/>
                  </a:lnTo>
                  <a:lnTo>
                    <a:pt x="1398" y="342"/>
                  </a:lnTo>
                  <a:lnTo>
                    <a:pt x="1356" y="342"/>
                  </a:lnTo>
                  <a:lnTo>
                    <a:pt x="1350" y="348"/>
                  </a:lnTo>
                  <a:lnTo>
                    <a:pt x="1350" y="372"/>
                  </a:lnTo>
                  <a:lnTo>
                    <a:pt x="1338" y="384"/>
                  </a:lnTo>
                  <a:lnTo>
                    <a:pt x="1332" y="408"/>
                  </a:lnTo>
                  <a:lnTo>
                    <a:pt x="1320" y="420"/>
                  </a:lnTo>
                  <a:lnTo>
                    <a:pt x="1254" y="426"/>
                  </a:lnTo>
                  <a:lnTo>
                    <a:pt x="1248" y="432"/>
                  </a:lnTo>
                  <a:lnTo>
                    <a:pt x="1230" y="432"/>
                  </a:lnTo>
                  <a:lnTo>
                    <a:pt x="1212" y="432"/>
                  </a:lnTo>
                  <a:lnTo>
                    <a:pt x="1212" y="426"/>
                  </a:lnTo>
                  <a:lnTo>
                    <a:pt x="1200" y="426"/>
                  </a:lnTo>
                  <a:lnTo>
                    <a:pt x="1182" y="414"/>
                  </a:lnTo>
                  <a:lnTo>
                    <a:pt x="1182" y="420"/>
                  </a:lnTo>
                  <a:lnTo>
                    <a:pt x="1164" y="420"/>
                  </a:lnTo>
                  <a:lnTo>
                    <a:pt x="1158" y="414"/>
                  </a:lnTo>
                  <a:lnTo>
                    <a:pt x="1152" y="408"/>
                  </a:lnTo>
                  <a:lnTo>
                    <a:pt x="1146" y="402"/>
                  </a:lnTo>
                  <a:lnTo>
                    <a:pt x="1122" y="396"/>
                  </a:lnTo>
                  <a:lnTo>
                    <a:pt x="1116" y="366"/>
                  </a:lnTo>
                  <a:lnTo>
                    <a:pt x="1116" y="348"/>
                  </a:lnTo>
                  <a:lnTo>
                    <a:pt x="1110" y="342"/>
                  </a:lnTo>
                  <a:lnTo>
                    <a:pt x="1104" y="336"/>
                  </a:lnTo>
                  <a:lnTo>
                    <a:pt x="1092" y="330"/>
                  </a:lnTo>
                  <a:lnTo>
                    <a:pt x="1074" y="330"/>
                  </a:lnTo>
                  <a:lnTo>
                    <a:pt x="1044" y="330"/>
                  </a:lnTo>
                  <a:lnTo>
                    <a:pt x="1014" y="336"/>
                  </a:lnTo>
                  <a:lnTo>
                    <a:pt x="984" y="342"/>
                  </a:lnTo>
                  <a:lnTo>
                    <a:pt x="978" y="330"/>
                  </a:lnTo>
                  <a:lnTo>
                    <a:pt x="966" y="324"/>
                  </a:lnTo>
                  <a:lnTo>
                    <a:pt x="888" y="336"/>
                  </a:lnTo>
                  <a:lnTo>
                    <a:pt x="888" y="330"/>
                  </a:lnTo>
                  <a:lnTo>
                    <a:pt x="870" y="336"/>
                  </a:lnTo>
                  <a:lnTo>
                    <a:pt x="858" y="336"/>
                  </a:lnTo>
                  <a:lnTo>
                    <a:pt x="852" y="354"/>
                  </a:lnTo>
                  <a:lnTo>
                    <a:pt x="852" y="402"/>
                  </a:lnTo>
                  <a:lnTo>
                    <a:pt x="840" y="414"/>
                  </a:lnTo>
                  <a:lnTo>
                    <a:pt x="834" y="420"/>
                  </a:lnTo>
                  <a:lnTo>
                    <a:pt x="834" y="444"/>
                  </a:lnTo>
                  <a:lnTo>
                    <a:pt x="834" y="450"/>
                  </a:lnTo>
                  <a:lnTo>
                    <a:pt x="852" y="456"/>
                  </a:lnTo>
                  <a:lnTo>
                    <a:pt x="864" y="462"/>
                  </a:lnTo>
                  <a:lnTo>
                    <a:pt x="894" y="456"/>
                  </a:lnTo>
                  <a:lnTo>
                    <a:pt x="900" y="468"/>
                  </a:lnTo>
                  <a:lnTo>
                    <a:pt x="918" y="462"/>
                  </a:lnTo>
                  <a:lnTo>
                    <a:pt x="924" y="468"/>
                  </a:lnTo>
                  <a:lnTo>
                    <a:pt x="924" y="47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2" name="Freeform 37">
              <a:extLst>
                <a:ext uri="{FF2B5EF4-FFF2-40B4-BE49-F238E27FC236}">
                  <a16:creationId xmlns:a16="http://schemas.microsoft.com/office/drawing/2014/main" id="{DED8A1FF-B656-4D37-BD26-5B0A7B1A4A6D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441" y="1898343"/>
              <a:ext cx="567992" cy="686605"/>
            </a:xfrm>
            <a:custGeom>
              <a:avLst/>
              <a:gdLst>
                <a:gd name="T0" fmla="*/ 79 w 1068"/>
                <a:gd name="T1" fmla="*/ 72 h 1290"/>
                <a:gd name="T2" fmla="*/ 75 w 1068"/>
                <a:gd name="T3" fmla="*/ 73 h 1290"/>
                <a:gd name="T4" fmla="*/ 72 w 1068"/>
                <a:gd name="T5" fmla="*/ 76 h 1290"/>
                <a:gd name="T6" fmla="*/ 70 w 1068"/>
                <a:gd name="T7" fmla="*/ 78 h 1290"/>
                <a:gd name="T8" fmla="*/ 67 w 1068"/>
                <a:gd name="T9" fmla="*/ 82 h 1290"/>
                <a:gd name="T10" fmla="*/ 61 w 1068"/>
                <a:gd name="T11" fmla="*/ 86 h 1290"/>
                <a:gd name="T12" fmla="*/ 60 w 1068"/>
                <a:gd name="T13" fmla="*/ 93 h 1290"/>
                <a:gd name="T14" fmla="*/ 59 w 1068"/>
                <a:gd name="T15" fmla="*/ 97 h 1290"/>
                <a:gd name="T16" fmla="*/ 61 w 1068"/>
                <a:gd name="T17" fmla="*/ 101 h 1290"/>
                <a:gd name="T18" fmla="*/ 63 w 1068"/>
                <a:gd name="T19" fmla="*/ 104 h 1290"/>
                <a:gd name="T20" fmla="*/ 62 w 1068"/>
                <a:gd name="T21" fmla="*/ 108 h 1290"/>
                <a:gd name="T22" fmla="*/ 60 w 1068"/>
                <a:gd name="T23" fmla="*/ 111 h 1290"/>
                <a:gd name="T24" fmla="*/ 56 w 1068"/>
                <a:gd name="T25" fmla="*/ 111 h 1290"/>
                <a:gd name="T26" fmla="*/ 53 w 1068"/>
                <a:gd name="T27" fmla="*/ 110 h 1290"/>
                <a:gd name="T28" fmla="*/ 50 w 1068"/>
                <a:gd name="T29" fmla="*/ 109 h 1290"/>
                <a:gd name="T30" fmla="*/ 47 w 1068"/>
                <a:gd name="T31" fmla="*/ 110 h 1290"/>
                <a:gd name="T32" fmla="*/ 51 w 1068"/>
                <a:gd name="T33" fmla="*/ 104 h 1290"/>
                <a:gd name="T34" fmla="*/ 50 w 1068"/>
                <a:gd name="T35" fmla="*/ 95 h 1290"/>
                <a:gd name="T36" fmla="*/ 51 w 1068"/>
                <a:gd name="T37" fmla="*/ 90 h 1290"/>
                <a:gd name="T38" fmla="*/ 47 w 1068"/>
                <a:gd name="T39" fmla="*/ 84 h 1290"/>
                <a:gd name="T40" fmla="*/ 42 w 1068"/>
                <a:gd name="T41" fmla="*/ 78 h 1290"/>
                <a:gd name="T42" fmla="*/ 33 w 1068"/>
                <a:gd name="T43" fmla="*/ 73 h 1290"/>
                <a:gd name="T44" fmla="*/ 26 w 1068"/>
                <a:gd name="T45" fmla="*/ 68 h 1290"/>
                <a:gd name="T46" fmla="*/ 22 w 1068"/>
                <a:gd name="T47" fmla="*/ 63 h 1290"/>
                <a:gd name="T48" fmla="*/ 11 w 1068"/>
                <a:gd name="T49" fmla="*/ 67 h 1290"/>
                <a:gd name="T50" fmla="*/ 0 w 1068"/>
                <a:gd name="T51" fmla="*/ 68 h 1290"/>
                <a:gd name="T52" fmla="*/ 2 w 1068"/>
                <a:gd name="T53" fmla="*/ 59 h 1290"/>
                <a:gd name="T54" fmla="*/ 12 w 1068"/>
                <a:gd name="T55" fmla="*/ 55 h 1290"/>
                <a:gd name="T56" fmla="*/ 12 w 1068"/>
                <a:gd name="T57" fmla="*/ 51 h 1290"/>
                <a:gd name="T58" fmla="*/ 10 w 1068"/>
                <a:gd name="T59" fmla="*/ 47 h 1290"/>
                <a:gd name="T60" fmla="*/ 9 w 1068"/>
                <a:gd name="T61" fmla="*/ 42 h 1290"/>
                <a:gd name="T62" fmla="*/ 8 w 1068"/>
                <a:gd name="T63" fmla="*/ 38 h 1290"/>
                <a:gd name="T64" fmla="*/ 8 w 1068"/>
                <a:gd name="T65" fmla="*/ 29 h 1290"/>
                <a:gd name="T66" fmla="*/ 10 w 1068"/>
                <a:gd name="T67" fmla="*/ 18 h 1290"/>
                <a:gd name="T68" fmla="*/ 25 w 1068"/>
                <a:gd name="T69" fmla="*/ 12 h 1290"/>
                <a:gd name="T70" fmla="*/ 27 w 1068"/>
                <a:gd name="T71" fmla="*/ 4 h 1290"/>
                <a:gd name="T72" fmla="*/ 35 w 1068"/>
                <a:gd name="T73" fmla="*/ 6 h 1290"/>
                <a:gd name="T74" fmla="*/ 39 w 1068"/>
                <a:gd name="T75" fmla="*/ 8 h 1290"/>
                <a:gd name="T76" fmla="*/ 41 w 1068"/>
                <a:gd name="T77" fmla="*/ 3 h 1290"/>
                <a:gd name="T78" fmla="*/ 45 w 1068"/>
                <a:gd name="T79" fmla="*/ 0 h 1290"/>
                <a:gd name="T80" fmla="*/ 51 w 1068"/>
                <a:gd name="T81" fmla="*/ 0 h 1290"/>
                <a:gd name="T82" fmla="*/ 56 w 1068"/>
                <a:gd name="T83" fmla="*/ 4 h 1290"/>
                <a:gd name="T84" fmla="*/ 62 w 1068"/>
                <a:gd name="T85" fmla="*/ 12 h 1290"/>
                <a:gd name="T86" fmla="*/ 58 w 1068"/>
                <a:gd name="T87" fmla="*/ 17 h 1290"/>
                <a:gd name="T88" fmla="*/ 60 w 1068"/>
                <a:gd name="T89" fmla="*/ 18 h 1290"/>
                <a:gd name="T90" fmla="*/ 64 w 1068"/>
                <a:gd name="T91" fmla="*/ 16 h 1290"/>
                <a:gd name="T92" fmla="*/ 68 w 1068"/>
                <a:gd name="T93" fmla="*/ 18 h 1290"/>
                <a:gd name="T94" fmla="*/ 71 w 1068"/>
                <a:gd name="T95" fmla="*/ 27 h 1290"/>
                <a:gd name="T96" fmla="*/ 74 w 1068"/>
                <a:gd name="T97" fmla="*/ 30 h 1290"/>
                <a:gd name="T98" fmla="*/ 82 w 1068"/>
                <a:gd name="T99" fmla="*/ 30 h 1290"/>
                <a:gd name="T100" fmla="*/ 87 w 1068"/>
                <a:gd name="T101" fmla="*/ 35 h 1290"/>
                <a:gd name="T102" fmla="*/ 85 w 1068"/>
                <a:gd name="T103" fmla="*/ 42 h 1290"/>
                <a:gd name="T104" fmla="*/ 81 w 1068"/>
                <a:gd name="T105" fmla="*/ 46 h 1290"/>
                <a:gd name="T106" fmla="*/ 86 w 1068"/>
                <a:gd name="T107" fmla="*/ 50 h 1290"/>
                <a:gd name="T108" fmla="*/ 89 w 1068"/>
                <a:gd name="T109" fmla="*/ 58 h 1290"/>
                <a:gd name="T110" fmla="*/ 92 w 1068"/>
                <a:gd name="T111" fmla="*/ 61 h 1290"/>
                <a:gd name="T112" fmla="*/ 86 w 1068"/>
                <a:gd name="T113" fmla="*/ 66 h 1290"/>
                <a:gd name="T114" fmla="*/ 85 w 1068"/>
                <a:gd name="T115" fmla="*/ 70 h 129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68"/>
                <a:gd name="T175" fmla="*/ 0 h 1290"/>
                <a:gd name="T176" fmla="*/ 1068 w 1068"/>
                <a:gd name="T177" fmla="*/ 1290 h 129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68" h="1290">
                  <a:moveTo>
                    <a:pt x="978" y="804"/>
                  </a:moveTo>
                  <a:lnTo>
                    <a:pt x="972" y="810"/>
                  </a:lnTo>
                  <a:lnTo>
                    <a:pt x="966" y="810"/>
                  </a:lnTo>
                  <a:lnTo>
                    <a:pt x="966" y="816"/>
                  </a:lnTo>
                  <a:lnTo>
                    <a:pt x="936" y="828"/>
                  </a:lnTo>
                  <a:lnTo>
                    <a:pt x="924" y="822"/>
                  </a:lnTo>
                  <a:lnTo>
                    <a:pt x="912" y="822"/>
                  </a:lnTo>
                  <a:lnTo>
                    <a:pt x="906" y="828"/>
                  </a:lnTo>
                  <a:lnTo>
                    <a:pt x="900" y="828"/>
                  </a:lnTo>
                  <a:lnTo>
                    <a:pt x="900" y="822"/>
                  </a:lnTo>
                  <a:lnTo>
                    <a:pt x="894" y="822"/>
                  </a:lnTo>
                  <a:lnTo>
                    <a:pt x="888" y="828"/>
                  </a:lnTo>
                  <a:lnTo>
                    <a:pt x="882" y="834"/>
                  </a:lnTo>
                  <a:lnTo>
                    <a:pt x="876" y="834"/>
                  </a:lnTo>
                  <a:lnTo>
                    <a:pt x="870" y="840"/>
                  </a:lnTo>
                  <a:lnTo>
                    <a:pt x="864" y="840"/>
                  </a:lnTo>
                  <a:lnTo>
                    <a:pt x="864" y="846"/>
                  </a:lnTo>
                  <a:lnTo>
                    <a:pt x="858" y="846"/>
                  </a:lnTo>
                  <a:lnTo>
                    <a:pt x="852" y="846"/>
                  </a:lnTo>
                  <a:lnTo>
                    <a:pt x="852" y="858"/>
                  </a:lnTo>
                  <a:lnTo>
                    <a:pt x="846" y="864"/>
                  </a:lnTo>
                  <a:lnTo>
                    <a:pt x="840" y="870"/>
                  </a:lnTo>
                  <a:lnTo>
                    <a:pt x="834" y="870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34" y="876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10" y="894"/>
                  </a:lnTo>
                  <a:lnTo>
                    <a:pt x="810" y="900"/>
                  </a:lnTo>
                  <a:lnTo>
                    <a:pt x="804" y="900"/>
                  </a:lnTo>
                  <a:lnTo>
                    <a:pt x="798" y="900"/>
                  </a:lnTo>
                  <a:lnTo>
                    <a:pt x="798" y="906"/>
                  </a:lnTo>
                  <a:lnTo>
                    <a:pt x="792" y="906"/>
                  </a:lnTo>
                  <a:lnTo>
                    <a:pt x="792" y="912"/>
                  </a:lnTo>
                  <a:lnTo>
                    <a:pt x="792" y="924"/>
                  </a:lnTo>
                  <a:lnTo>
                    <a:pt x="786" y="930"/>
                  </a:lnTo>
                  <a:lnTo>
                    <a:pt x="774" y="942"/>
                  </a:lnTo>
                  <a:lnTo>
                    <a:pt x="774" y="948"/>
                  </a:lnTo>
                  <a:lnTo>
                    <a:pt x="768" y="954"/>
                  </a:lnTo>
                  <a:lnTo>
                    <a:pt x="762" y="954"/>
                  </a:lnTo>
                  <a:lnTo>
                    <a:pt x="750" y="972"/>
                  </a:lnTo>
                  <a:lnTo>
                    <a:pt x="720" y="978"/>
                  </a:lnTo>
                  <a:lnTo>
                    <a:pt x="714" y="978"/>
                  </a:lnTo>
                  <a:lnTo>
                    <a:pt x="708" y="978"/>
                  </a:lnTo>
                  <a:lnTo>
                    <a:pt x="702" y="990"/>
                  </a:lnTo>
                  <a:lnTo>
                    <a:pt x="696" y="990"/>
                  </a:lnTo>
                  <a:lnTo>
                    <a:pt x="696" y="1008"/>
                  </a:lnTo>
                  <a:lnTo>
                    <a:pt x="690" y="1008"/>
                  </a:lnTo>
                  <a:lnTo>
                    <a:pt x="690" y="1014"/>
                  </a:lnTo>
                  <a:lnTo>
                    <a:pt x="684" y="1032"/>
                  </a:lnTo>
                  <a:lnTo>
                    <a:pt x="690" y="1050"/>
                  </a:lnTo>
                  <a:lnTo>
                    <a:pt x="690" y="1062"/>
                  </a:lnTo>
                  <a:lnTo>
                    <a:pt x="690" y="1068"/>
                  </a:lnTo>
                  <a:lnTo>
                    <a:pt x="690" y="1074"/>
                  </a:lnTo>
                  <a:lnTo>
                    <a:pt x="684" y="1074"/>
                  </a:lnTo>
                  <a:lnTo>
                    <a:pt x="684" y="1080"/>
                  </a:lnTo>
                  <a:lnTo>
                    <a:pt x="678" y="1086"/>
                  </a:lnTo>
                  <a:lnTo>
                    <a:pt x="678" y="1104"/>
                  </a:lnTo>
                  <a:lnTo>
                    <a:pt x="678" y="1110"/>
                  </a:lnTo>
                  <a:lnTo>
                    <a:pt x="678" y="1116"/>
                  </a:lnTo>
                  <a:lnTo>
                    <a:pt x="684" y="1116"/>
                  </a:lnTo>
                  <a:lnTo>
                    <a:pt x="678" y="1128"/>
                  </a:lnTo>
                  <a:lnTo>
                    <a:pt x="684" y="1128"/>
                  </a:lnTo>
                  <a:lnTo>
                    <a:pt x="690" y="1134"/>
                  </a:lnTo>
                  <a:lnTo>
                    <a:pt x="690" y="1140"/>
                  </a:lnTo>
                  <a:lnTo>
                    <a:pt x="696" y="1140"/>
                  </a:lnTo>
                  <a:lnTo>
                    <a:pt x="696" y="1146"/>
                  </a:lnTo>
                  <a:lnTo>
                    <a:pt x="696" y="1152"/>
                  </a:lnTo>
                  <a:lnTo>
                    <a:pt x="702" y="1152"/>
                  </a:lnTo>
                  <a:lnTo>
                    <a:pt x="708" y="1152"/>
                  </a:lnTo>
                  <a:lnTo>
                    <a:pt x="714" y="1158"/>
                  </a:lnTo>
                  <a:lnTo>
                    <a:pt x="714" y="1164"/>
                  </a:lnTo>
                  <a:lnTo>
                    <a:pt x="720" y="1170"/>
                  </a:lnTo>
                  <a:lnTo>
                    <a:pt x="720" y="1176"/>
                  </a:lnTo>
                  <a:lnTo>
                    <a:pt x="720" y="1182"/>
                  </a:lnTo>
                  <a:lnTo>
                    <a:pt x="726" y="1188"/>
                  </a:lnTo>
                  <a:lnTo>
                    <a:pt x="726" y="1194"/>
                  </a:lnTo>
                  <a:lnTo>
                    <a:pt x="732" y="1194"/>
                  </a:lnTo>
                  <a:lnTo>
                    <a:pt x="732" y="1200"/>
                  </a:lnTo>
                  <a:lnTo>
                    <a:pt x="738" y="1212"/>
                  </a:lnTo>
                  <a:lnTo>
                    <a:pt x="732" y="1218"/>
                  </a:lnTo>
                  <a:lnTo>
                    <a:pt x="732" y="1224"/>
                  </a:lnTo>
                  <a:lnTo>
                    <a:pt x="726" y="1230"/>
                  </a:lnTo>
                  <a:lnTo>
                    <a:pt x="720" y="1230"/>
                  </a:lnTo>
                  <a:lnTo>
                    <a:pt x="720" y="1236"/>
                  </a:lnTo>
                  <a:lnTo>
                    <a:pt x="720" y="1242"/>
                  </a:lnTo>
                  <a:lnTo>
                    <a:pt x="720" y="1248"/>
                  </a:lnTo>
                  <a:lnTo>
                    <a:pt x="714" y="1248"/>
                  </a:lnTo>
                  <a:lnTo>
                    <a:pt x="714" y="1254"/>
                  </a:lnTo>
                  <a:lnTo>
                    <a:pt x="708" y="1260"/>
                  </a:lnTo>
                  <a:lnTo>
                    <a:pt x="702" y="1272"/>
                  </a:lnTo>
                  <a:lnTo>
                    <a:pt x="696" y="1272"/>
                  </a:lnTo>
                  <a:lnTo>
                    <a:pt x="696" y="1278"/>
                  </a:lnTo>
                  <a:lnTo>
                    <a:pt x="690" y="1284"/>
                  </a:lnTo>
                  <a:lnTo>
                    <a:pt x="690" y="1290"/>
                  </a:lnTo>
                  <a:lnTo>
                    <a:pt x="684" y="1290"/>
                  </a:lnTo>
                  <a:lnTo>
                    <a:pt x="660" y="1284"/>
                  </a:lnTo>
                  <a:lnTo>
                    <a:pt x="660" y="1278"/>
                  </a:lnTo>
                  <a:lnTo>
                    <a:pt x="654" y="1272"/>
                  </a:lnTo>
                  <a:lnTo>
                    <a:pt x="648" y="1272"/>
                  </a:lnTo>
                  <a:lnTo>
                    <a:pt x="642" y="1272"/>
                  </a:lnTo>
                  <a:lnTo>
                    <a:pt x="642" y="1266"/>
                  </a:lnTo>
                  <a:lnTo>
                    <a:pt x="636" y="1266"/>
                  </a:lnTo>
                  <a:lnTo>
                    <a:pt x="630" y="1266"/>
                  </a:lnTo>
                  <a:lnTo>
                    <a:pt x="624" y="1266"/>
                  </a:lnTo>
                  <a:lnTo>
                    <a:pt x="624" y="1260"/>
                  </a:lnTo>
                  <a:lnTo>
                    <a:pt x="618" y="1260"/>
                  </a:lnTo>
                  <a:lnTo>
                    <a:pt x="612" y="1260"/>
                  </a:lnTo>
                  <a:lnTo>
                    <a:pt x="606" y="1260"/>
                  </a:lnTo>
                  <a:lnTo>
                    <a:pt x="600" y="1260"/>
                  </a:lnTo>
                  <a:lnTo>
                    <a:pt x="600" y="1254"/>
                  </a:lnTo>
                  <a:lnTo>
                    <a:pt x="594" y="1254"/>
                  </a:lnTo>
                  <a:lnTo>
                    <a:pt x="588" y="1248"/>
                  </a:lnTo>
                  <a:lnTo>
                    <a:pt x="588" y="1254"/>
                  </a:lnTo>
                  <a:lnTo>
                    <a:pt x="582" y="1254"/>
                  </a:lnTo>
                  <a:lnTo>
                    <a:pt x="582" y="1248"/>
                  </a:lnTo>
                  <a:lnTo>
                    <a:pt x="576" y="1248"/>
                  </a:lnTo>
                  <a:lnTo>
                    <a:pt x="576" y="1254"/>
                  </a:lnTo>
                  <a:lnTo>
                    <a:pt x="570" y="1248"/>
                  </a:lnTo>
                  <a:lnTo>
                    <a:pt x="564" y="1248"/>
                  </a:lnTo>
                  <a:lnTo>
                    <a:pt x="564" y="1254"/>
                  </a:lnTo>
                  <a:lnTo>
                    <a:pt x="558" y="1254"/>
                  </a:lnTo>
                  <a:lnTo>
                    <a:pt x="552" y="1254"/>
                  </a:lnTo>
                  <a:lnTo>
                    <a:pt x="552" y="1260"/>
                  </a:lnTo>
                  <a:lnTo>
                    <a:pt x="546" y="1260"/>
                  </a:lnTo>
                  <a:lnTo>
                    <a:pt x="540" y="1260"/>
                  </a:lnTo>
                  <a:lnTo>
                    <a:pt x="540" y="1254"/>
                  </a:lnTo>
                  <a:lnTo>
                    <a:pt x="534" y="1254"/>
                  </a:lnTo>
                  <a:lnTo>
                    <a:pt x="528" y="1224"/>
                  </a:lnTo>
                  <a:lnTo>
                    <a:pt x="534" y="1212"/>
                  </a:lnTo>
                  <a:lnTo>
                    <a:pt x="546" y="1206"/>
                  </a:lnTo>
                  <a:lnTo>
                    <a:pt x="582" y="1206"/>
                  </a:lnTo>
                  <a:lnTo>
                    <a:pt x="588" y="1188"/>
                  </a:lnTo>
                  <a:lnTo>
                    <a:pt x="582" y="1188"/>
                  </a:lnTo>
                  <a:lnTo>
                    <a:pt x="582" y="1182"/>
                  </a:lnTo>
                  <a:lnTo>
                    <a:pt x="576" y="1176"/>
                  </a:lnTo>
                  <a:lnTo>
                    <a:pt x="558" y="1128"/>
                  </a:lnTo>
                  <a:lnTo>
                    <a:pt x="558" y="1122"/>
                  </a:lnTo>
                  <a:lnTo>
                    <a:pt x="576" y="1098"/>
                  </a:lnTo>
                  <a:lnTo>
                    <a:pt x="576" y="1092"/>
                  </a:lnTo>
                  <a:lnTo>
                    <a:pt x="582" y="1092"/>
                  </a:lnTo>
                  <a:lnTo>
                    <a:pt x="582" y="1086"/>
                  </a:lnTo>
                  <a:lnTo>
                    <a:pt x="582" y="1080"/>
                  </a:lnTo>
                  <a:lnTo>
                    <a:pt x="582" y="1074"/>
                  </a:lnTo>
                  <a:lnTo>
                    <a:pt x="588" y="1074"/>
                  </a:lnTo>
                  <a:lnTo>
                    <a:pt x="588" y="1062"/>
                  </a:lnTo>
                  <a:lnTo>
                    <a:pt x="588" y="1056"/>
                  </a:lnTo>
                  <a:lnTo>
                    <a:pt x="588" y="1044"/>
                  </a:lnTo>
                  <a:lnTo>
                    <a:pt x="588" y="1038"/>
                  </a:lnTo>
                  <a:lnTo>
                    <a:pt x="588" y="1032"/>
                  </a:lnTo>
                  <a:lnTo>
                    <a:pt x="582" y="1026"/>
                  </a:lnTo>
                  <a:lnTo>
                    <a:pt x="582" y="1020"/>
                  </a:lnTo>
                  <a:lnTo>
                    <a:pt x="582" y="1008"/>
                  </a:lnTo>
                  <a:lnTo>
                    <a:pt x="576" y="990"/>
                  </a:lnTo>
                  <a:lnTo>
                    <a:pt x="570" y="972"/>
                  </a:lnTo>
                  <a:lnTo>
                    <a:pt x="552" y="972"/>
                  </a:lnTo>
                  <a:lnTo>
                    <a:pt x="540" y="960"/>
                  </a:lnTo>
                  <a:lnTo>
                    <a:pt x="534" y="954"/>
                  </a:lnTo>
                  <a:lnTo>
                    <a:pt x="534" y="948"/>
                  </a:lnTo>
                  <a:lnTo>
                    <a:pt x="516" y="948"/>
                  </a:lnTo>
                  <a:lnTo>
                    <a:pt x="522" y="936"/>
                  </a:lnTo>
                  <a:lnTo>
                    <a:pt x="522" y="930"/>
                  </a:lnTo>
                  <a:lnTo>
                    <a:pt x="504" y="918"/>
                  </a:lnTo>
                  <a:lnTo>
                    <a:pt x="492" y="906"/>
                  </a:lnTo>
                  <a:lnTo>
                    <a:pt x="486" y="894"/>
                  </a:lnTo>
                  <a:lnTo>
                    <a:pt x="468" y="876"/>
                  </a:lnTo>
                  <a:lnTo>
                    <a:pt x="450" y="876"/>
                  </a:lnTo>
                  <a:lnTo>
                    <a:pt x="414" y="882"/>
                  </a:lnTo>
                  <a:lnTo>
                    <a:pt x="402" y="870"/>
                  </a:lnTo>
                  <a:lnTo>
                    <a:pt x="390" y="864"/>
                  </a:lnTo>
                  <a:lnTo>
                    <a:pt x="384" y="852"/>
                  </a:lnTo>
                  <a:lnTo>
                    <a:pt x="378" y="840"/>
                  </a:lnTo>
                  <a:lnTo>
                    <a:pt x="378" y="834"/>
                  </a:lnTo>
                  <a:lnTo>
                    <a:pt x="360" y="822"/>
                  </a:lnTo>
                  <a:lnTo>
                    <a:pt x="342" y="828"/>
                  </a:lnTo>
                  <a:lnTo>
                    <a:pt x="324" y="816"/>
                  </a:lnTo>
                  <a:lnTo>
                    <a:pt x="318" y="816"/>
                  </a:lnTo>
                  <a:lnTo>
                    <a:pt x="306" y="810"/>
                  </a:lnTo>
                  <a:lnTo>
                    <a:pt x="306" y="804"/>
                  </a:lnTo>
                  <a:lnTo>
                    <a:pt x="300" y="804"/>
                  </a:lnTo>
                  <a:lnTo>
                    <a:pt x="300" y="780"/>
                  </a:lnTo>
                  <a:lnTo>
                    <a:pt x="300" y="774"/>
                  </a:lnTo>
                  <a:lnTo>
                    <a:pt x="306" y="774"/>
                  </a:lnTo>
                  <a:lnTo>
                    <a:pt x="312" y="756"/>
                  </a:lnTo>
                  <a:lnTo>
                    <a:pt x="312" y="732"/>
                  </a:lnTo>
                  <a:lnTo>
                    <a:pt x="300" y="720"/>
                  </a:lnTo>
                  <a:lnTo>
                    <a:pt x="288" y="702"/>
                  </a:lnTo>
                  <a:lnTo>
                    <a:pt x="276" y="702"/>
                  </a:lnTo>
                  <a:lnTo>
                    <a:pt x="258" y="714"/>
                  </a:lnTo>
                  <a:lnTo>
                    <a:pt x="246" y="726"/>
                  </a:lnTo>
                  <a:lnTo>
                    <a:pt x="222" y="726"/>
                  </a:lnTo>
                  <a:lnTo>
                    <a:pt x="192" y="726"/>
                  </a:lnTo>
                  <a:lnTo>
                    <a:pt x="174" y="738"/>
                  </a:lnTo>
                  <a:lnTo>
                    <a:pt x="162" y="750"/>
                  </a:lnTo>
                  <a:lnTo>
                    <a:pt x="144" y="762"/>
                  </a:lnTo>
                  <a:lnTo>
                    <a:pt x="138" y="768"/>
                  </a:lnTo>
                  <a:lnTo>
                    <a:pt x="126" y="774"/>
                  </a:lnTo>
                  <a:lnTo>
                    <a:pt x="114" y="780"/>
                  </a:lnTo>
                  <a:lnTo>
                    <a:pt x="108" y="786"/>
                  </a:lnTo>
                  <a:lnTo>
                    <a:pt x="102" y="786"/>
                  </a:lnTo>
                  <a:lnTo>
                    <a:pt x="54" y="786"/>
                  </a:lnTo>
                  <a:lnTo>
                    <a:pt x="48" y="792"/>
                  </a:lnTo>
                  <a:lnTo>
                    <a:pt x="36" y="798"/>
                  </a:lnTo>
                  <a:lnTo>
                    <a:pt x="18" y="792"/>
                  </a:lnTo>
                  <a:lnTo>
                    <a:pt x="6" y="780"/>
                  </a:lnTo>
                  <a:lnTo>
                    <a:pt x="6" y="768"/>
                  </a:lnTo>
                  <a:lnTo>
                    <a:pt x="0" y="756"/>
                  </a:lnTo>
                  <a:lnTo>
                    <a:pt x="0" y="738"/>
                  </a:lnTo>
                  <a:lnTo>
                    <a:pt x="6" y="702"/>
                  </a:lnTo>
                  <a:lnTo>
                    <a:pt x="24" y="702"/>
                  </a:lnTo>
                  <a:lnTo>
                    <a:pt x="24" y="696"/>
                  </a:lnTo>
                  <a:lnTo>
                    <a:pt x="24" y="690"/>
                  </a:lnTo>
                  <a:lnTo>
                    <a:pt x="24" y="678"/>
                  </a:lnTo>
                  <a:lnTo>
                    <a:pt x="24" y="672"/>
                  </a:lnTo>
                  <a:lnTo>
                    <a:pt x="30" y="672"/>
                  </a:lnTo>
                  <a:lnTo>
                    <a:pt x="30" y="666"/>
                  </a:lnTo>
                  <a:lnTo>
                    <a:pt x="36" y="660"/>
                  </a:lnTo>
                  <a:lnTo>
                    <a:pt x="84" y="648"/>
                  </a:lnTo>
                  <a:lnTo>
                    <a:pt x="126" y="642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32" y="618"/>
                  </a:lnTo>
                  <a:lnTo>
                    <a:pt x="138" y="612"/>
                  </a:lnTo>
                  <a:lnTo>
                    <a:pt x="138" y="606"/>
                  </a:lnTo>
                  <a:lnTo>
                    <a:pt x="138" y="600"/>
                  </a:lnTo>
                  <a:lnTo>
                    <a:pt x="132" y="600"/>
                  </a:lnTo>
                  <a:lnTo>
                    <a:pt x="132" y="594"/>
                  </a:lnTo>
                  <a:lnTo>
                    <a:pt x="132" y="588"/>
                  </a:lnTo>
                  <a:lnTo>
                    <a:pt x="132" y="582"/>
                  </a:lnTo>
                  <a:lnTo>
                    <a:pt x="132" y="576"/>
                  </a:lnTo>
                  <a:lnTo>
                    <a:pt x="126" y="570"/>
                  </a:lnTo>
                  <a:lnTo>
                    <a:pt x="120" y="564"/>
                  </a:lnTo>
                  <a:lnTo>
                    <a:pt x="120" y="558"/>
                  </a:lnTo>
                  <a:lnTo>
                    <a:pt x="120" y="552"/>
                  </a:lnTo>
                  <a:lnTo>
                    <a:pt x="114" y="552"/>
                  </a:lnTo>
                  <a:lnTo>
                    <a:pt x="114" y="546"/>
                  </a:lnTo>
                  <a:lnTo>
                    <a:pt x="114" y="540"/>
                  </a:lnTo>
                  <a:lnTo>
                    <a:pt x="108" y="534"/>
                  </a:lnTo>
                  <a:lnTo>
                    <a:pt x="108" y="528"/>
                  </a:lnTo>
                  <a:lnTo>
                    <a:pt x="114" y="522"/>
                  </a:lnTo>
                  <a:lnTo>
                    <a:pt x="108" y="516"/>
                  </a:lnTo>
                  <a:lnTo>
                    <a:pt x="108" y="498"/>
                  </a:lnTo>
                  <a:lnTo>
                    <a:pt x="108" y="492"/>
                  </a:lnTo>
                  <a:lnTo>
                    <a:pt x="108" y="486"/>
                  </a:lnTo>
                  <a:lnTo>
                    <a:pt x="108" y="480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08" y="462"/>
                  </a:lnTo>
                  <a:lnTo>
                    <a:pt x="102" y="456"/>
                  </a:lnTo>
                  <a:lnTo>
                    <a:pt x="102" y="444"/>
                  </a:lnTo>
                  <a:lnTo>
                    <a:pt x="96" y="444"/>
                  </a:lnTo>
                  <a:lnTo>
                    <a:pt x="90" y="432"/>
                  </a:lnTo>
                  <a:lnTo>
                    <a:pt x="96" y="432"/>
                  </a:lnTo>
                  <a:lnTo>
                    <a:pt x="96" y="408"/>
                  </a:lnTo>
                  <a:lnTo>
                    <a:pt x="96" y="396"/>
                  </a:lnTo>
                  <a:lnTo>
                    <a:pt x="96" y="360"/>
                  </a:lnTo>
                  <a:lnTo>
                    <a:pt x="96" y="354"/>
                  </a:lnTo>
                  <a:lnTo>
                    <a:pt x="102" y="354"/>
                  </a:lnTo>
                  <a:lnTo>
                    <a:pt x="102" y="348"/>
                  </a:lnTo>
                  <a:lnTo>
                    <a:pt x="96" y="330"/>
                  </a:lnTo>
                  <a:lnTo>
                    <a:pt x="90" y="306"/>
                  </a:lnTo>
                  <a:lnTo>
                    <a:pt x="84" y="288"/>
                  </a:lnTo>
                  <a:lnTo>
                    <a:pt x="84" y="264"/>
                  </a:lnTo>
                  <a:lnTo>
                    <a:pt x="90" y="240"/>
                  </a:lnTo>
                  <a:lnTo>
                    <a:pt x="96" y="222"/>
                  </a:lnTo>
                  <a:lnTo>
                    <a:pt x="102" y="222"/>
                  </a:lnTo>
                  <a:lnTo>
                    <a:pt x="108" y="210"/>
                  </a:lnTo>
                  <a:lnTo>
                    <a:pt x="114" y="210"/>
                  </a:lnTo>
                  <a:lnTo>
                    <a:pt x="126" y="198"/>
                  </a:lnTo>
                  <a:lnTo>
                    <a:pt x="156" y="192"/>
                  </a:lnTo>
                  <a:lnTo>
                    <a:pt x="174" y="186"/>
                  </a:lnTo>
                  <a:lnTo>
                    <a:pt x="204" y="174"/>
                  </a:lnTo>
                  <a:lnTo>
                    <a:pt x="222" y="168"/>
                  </a:lnTo>
                  <a:lnTo>
                    <a:pt x="234" y="162"/>
                  </a:lnTo>
                  <a:lnTo>
                    <a:pt x="246" y="156"/>
                  </a:lnTo>
                  <a:lnTo>
                    <a:pt x="288" y="144"/>
                  </a:lnTo>
                  <a:lnTo>
                    <a:pt x="288" y="132"/>
                  </a:lnTo>
                  <a:lnTo>
                    <a:pt x="294" y="120"/>
                  </a:lnTo>
                  <a:lnTo>
                    <a:pt x="300" y="108"/>
                  </a:lnTo>
                  <a:lnTo>
                    <a:pt x="306" y="90"/>
                  </a:lnTo>
                  <a:lnTo>
                    <a:pt x="312" y="78"/>
                  </a:lnTo>
                  <a:lnTo>
                    <a:pt x="324" y="78"/>
                  </a:lnTo>
                  <a:lnTo>
                    <a:pt x="324" y="54"/>
                  </a:lnTo>
                  <a:lnTo>
                    <a:pt x="318" y="48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60" y="6"/>
                  </a:lnTo>
                  <a:lnTo>
                    <a:pt x="384" y="0"/>
                  </a:lnTo>
                  <a:lnTo>
                    <a:pt x="390" y="6"/>
                  </a:lnTo>
                  <a:lnTo>
                    <a:pt x="390" y="18"/>
                  </a:lnTo>
                  <a:lnTo>
                    <a:pt x="390" y="54"/>
                  </a:lnTo>
                  <a:lnTo>
                    <a:pt x="396" y="66"/>
                  </a:lnTo>
                  <a:lnTo>
                    <a:pt x="414" y="84"/>
                  </a:lnTo>
                  <a:lnTo>
                    <a:pt x="426" y="90"/>
                  </a:lnTo>
                  <a:lnTo>
                    <a:pt x="432" y="96"/>
                  </a:lnTo>
                  <a:lnTo>
                    <a:pt x="426" y="102"/>
                  </a:lnTo>
                  <a:lnTo>
                    <a:pt x="438" y="102"/>
                  </a:lnTo>
                  <a:lnTo>
                    <a:pt x="444" y="108"/>
                  </a:lnTo>
                  <a:lnTo>
                    <a:pt x="444" y="102"/>
                  </a:lnTo>
                  <a:lnTo>
                    <a:pt x="450" y="90"/>
                  </a:lnTo>
                  <a:lnTo>
                    <a:pt x="450" y="84"/>
                  </a:lnTo>
                  <a:lnTo>
                    <a:pt x="450" y="78"/>
                  </a:lnTo>
                  <a:lnTo>
                    <a:pt x="456" y="72"/>
                  </a:lnTo>
                  <a:lnTo>
                    <a:pt x="462" y="66"/>
                  </a:lnTo>
                  <a:lnTo>
                    <a:pt x="462" y="60"/>
                  </a:lnTo>
                  <a:lnTo>
                    <a:pt x="462" y="54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74" y="24"/>
                  </a:lnTo>
                  <a:lnTo>
                    <a:pt x="480" y="18"/>
                  </a:lnTo>
                  <a:lnTo>
                    <a:pt x="486" y="12"/>
                  </a:lnTo>
                  <a:lnTo>
                    <a:pt x="492" y="12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2" y="6"/>
                  </a:lnTo>
                  <a:lnTo>
                    <a:pt x="534" y="6"/>
                  </a:lnTo>
                  <a:lnTo>
                    <a:pt x="540" y="6"/>
                  </a:lnTo>
                  <a:lnTo>
                    <a:pt x="546" y="6"/>
                  </a:lnTo>
                  <a:lnTo>
                    <a:pt x="564" y="0"/>
                  </a:lnTo>
                  <a:lnTo>
                    <a:pt x="570" y="0"/>
                  </a:lnTo>
                  <a:lnTo>
                    <a:pt x="576" y="6"/>
                  </a:lnTo>
                  <a:lnTo>
                    <a:pt x="582" y="6"/>
                  </a:lnTo>
                  <a:lnTo>
                    <a:pt x="594" y="6"/>
                  </a:lnTo>
                  <a:lnTo>
                    <a:pt x="600" y="6"/>
                  </a:lnTo>
                  <a:lnTo>
                    <a:pt x="606" y="6"/>
                  </a:lnTo>
                  <a:lnTo>
                    <a:pt x="624" y="0"/>
                  </a:lnTo>
                  <a:lnTo>
                    <a:pt x="636" y="0"/>
                  </a:lnTo>
                  <a:lnTo>
                    <a:pt x="636" y="6"/>
                  </a:lnTo>
                  <a:lnTo>
                    <a:pt x="654" y="18"/>
                  </a:lnTo>
                  <a:lnTo>
                    <a:pt x="654" y="30"/>
                  </a:lnTo>
                  <a:lnTo>
                    <a:pt x="642" y="42"/>
                  </a:lnTo>
                  <a:lnTo>
                    <a:pt x="630" y="66"/>
                  </a:lnTo>
                  <a:lnTo>
                    <a:pt x="636" y="84"/>
                  </a:lnTo>
                  <a:lnTo>
                    <a:pt x="636" y="96"/>
                  </a:lnTo>
                  <a:lnTo>
                    <a:pt x="648" y="102"/>
                  </a:lnTo>
                  <a:lnTo>
                    <a:pt x="672" y="114"/>
                  </a:lnTo>
                  <a:lnTo>
                    <a:pt x="702" y="120"/>
                  </a:lnTo>
                  <a:lnTo>
                    <a:pt x="714" y="126"/>
                  </a:lnTo>
                  <a:lnTo>
                    <a:pt x="720" y="144"/>
                  </a:lnTo>
                  <a:lnTo>
                    <a:pt x="720" y="156"/>
                  </a:lnTo>
                  <a:lnTo>
                    <a:pt x="708" y="156"/>
                  </a:lnTo>
                  <a:lnTo>
                    <a:pt x="702" y="162"/>
                  </a:lnTo>
                  <a:lnTo>
                    <a:pt x="702" y="174"/>
                  </a:lnTo>
                  <a:lnTo>
                    <a:pt x="696" y="174"/>
                  </a:lnTo>
                  <a:lnTo>
                    <a:pt x="690" y="180"/>
                  </a:lnTo>
                  <a:lnTo>
                    <a:pt x="678" y="186"/>
                  </a:lnTo>
                  <a:lnTo>
                    <a:pt x="672" y="192"/>
                  </a:lnTo>
                  <a:lnTo>
                    <a:pt x="654" y="210"/>
                  </a:lnTo>
                  <a:lnTo>
                    <a:pt x="654" y="216"/>
                  </a:lnTo>
                  <a:lnTo>
                    <a:pt x="648" y="246"/>
                  </a:lnTo>
                  <a:lnTo>
                    <a:pt x="660" y="246"/>
                  </a:lnTo>
                  <a:lnTo>
                    <a:pt x="666" y="234"/>
                  </a:lnTo>
                  <a:lnTo>
                    <a:pt x="678" y="240"/>
                  </a:lnTo>
                  <a:lnTo>
                    <a:pt x="684" y="228"/>
                  </a:lnTo>
                  <a:lnTo>
                    <a:pt x="690" y="210"/>
                  </a:lnTo>
                  <a:lnTo>
                    <a:pt x="696" y="204"/>
                  </a:lnTo>
                  <a:lnTo>
                    <a:pt x="702" y="204"/>
                  </a:lnTo>
                  <a:lnTo>
                    <a:pt x="708" y="192"/>
                  </a:lnTo>
                  <a:lnTo>
                    <a:pt x="714" y="192"/>
                  </a:lnTo>
                  <a:lnTo>
                    <a:pt x="714" y="186"/>
                  </a:lnTo>
                  <a:lnTo>
                    <a:pt x="726" y="186"/>
                  </a:lnTo>
                  <a:lnTo>
                    <a:pt x="732" y="186"/>
                  </a:lnTo>
                  <a:lnTo>
                    <a:pt x="738" y="186"/>
                  </a:lnTo>
                  <a:lnTo>
                    <a:pt x="744" y="216"/>
                  </a:lnTo>
                  <a:lnTo>
                    <a:pt x="750" y="210"/>
                  </a:lnTo>
                  <a:lnTo>
                    <a:pt x="750" y="204"/>
                  </a:lnTo>
                  <a:lnTo>
                    <a:pt x="756" y="192"/>
                  </a:lnTo>
                  <a:lnTo>
                    <a:pt x="762" y="192"/>
                  </a:lnTo>
                  <a:lnTo>
                    <a:pt x="768" y="192"/>
                  </a:lnTo>
                  <a:lnTo>
                    <a:pt x="780" y="186"/>
                  </a:lnTo>
                  <a:lnTo>
                    <a:pt x="786" y="204"/>
                  </a:lnTo>
                  <a:lnTo>
                    <a:pt x="774" y="210"/>
                  </a:lnTo>
                  <a:lnTo>
                    <a:pt x="774" y="234"/>
                  </a:lnTo>
                  <a:lnTo>
                    <a:pt x="780" y="246"/>
                  </a:lnTo>
                  <a:lnTo>
                    <a:pt x="804" y="264"/>
                  </a:lnTo>
                  <a:lnTo>
                    <a:pt x="816" y="276"/>
                  </a:lnTo>
                  <a:lnTo>
                    <a:pt x="822" y="288"/>
                  </a:lnTo>
                  <a:lnTo>
                    <a:pt x="822" y="312"/>
                  </a:lnTo>
                  <a:lnTo>
                    <a:pt x="816" y="312"/>
                  </a:lnTo>
                  <a:lnTo>
                    <a:pt x="810" y="318"/>
                  </a:lnTo>
                  <a:lnTo>
                    <a:pt x="810" y="348"/>
                  </a:lnTo>
                  <a:lnTo>
                    <a:pt x="816" y="348"/>
                  </a:lnTo>
                  <a:lnTo>
                    <a:pt x="816" y="342"/>
                  </a:lnTo>
                  <a:lnTo>
                    <a:pt x="834" y="342"/>
                  </a:lnTo>
                  <a:lnTo>
                    <a:pt x="834" y="348"/>
                  </a:lnTo>
                  <a:lnTo>
                    <a:pt x="846" y="348"/>
                  </a:lnTo>
                  <a:lnTo>
                    <a:pt x="846" y="342"/>
                  </a:lnTo>
                  <a:lnTo>
                    <a:pt x="882" y="342"/>
                  </a:lnTo>
                  <a:lnTo>
                    <a:pt x="894" y="366"/>
                  </a:lnTo>
                  <a:lnTo>
                    <a:pt x="900" y="372"/>
                  </a:lnTo>
                  <a:lnTo>
                    <a:pt x="906" y="384"/>
                  </a:lnTo>
                  <a:lnTo>
                    <a:pt x="924" y="384"/>
                  </a:lnTo>
                  <a:lnTo>
                    <a:pt x="930" y="372"/>
                  </a:lnTo>
                  <a:lnTo>
                    <a:pt x="936" y="372"/>
                  </a:lnTo>
                  <a:lnTo>
                    <a:pt x="942" y="348"/>
                  </a:lnTo>
                  <a:lnTo>
                    <a:pt x="954" y="348"/>
                  </a:lnTo>
                  <a:lnTo>
                    <a:pt x="954" y="342"/>
                  </a:lnTo>
                  <a:lnTo>
                    <a:pt x="984" y="342"/>
                  </a:lnTo>
                  <a:lnTo>
                    <a:pt x="978" y="390"/>
                  </a:lnTo>
                  <a:lnTo>
                    <a:pt x="984" y="390"/>
                  </a:lnTo>
                  <a:lnTo>
                    <a:pt x="990" y="396"/>
                  </a:lnTo>
                  <a:lnTo>
                    <a:pt x="996" y="396"/>
                  </a:lnTo>
                  <a:lnTo>
                    <a:pt x="1002" y="396"/>
                  </a:lnTo>
                  <a:lnTo>
                    <a:pt x="1002" y="408"/>
                  </a:lnTo>
                  <a:lnTo>
                    <a:pt x="990" y="414"/>
                  </a:lnTo>
                  <a:lnTo>
                    <a:pt x="984" y="426"/>
                  </a:lnTo>
                  <a:lnTo>
                    <a:pt x="990" y="444"/>
                  </a:lnTo>
                  <a:lnTo>
                    <a:pt x="996" y="450"/>
                  </a:lnTo>
                  <a:lnTo>
                    <a:pt x="990" y="462"/>
                  </a:lnTo>
                  <a:lnTo>
                    <a:pt x="990" y="468"/>
                  </a:lnTo>
                  <a:lnTo>
                    <a:pt x="984" y="480"/>
                  </a:lnTo>
                  <a:lnTo>
                    <a:pt x="978" y="486"/>
                  </a:lnTo>
                  <a:lnTo>
                    <a:pt x="972" y="486"/>
                  </a:lnTo>
                  <a:lnTo>
                    <a:pt x="966" y="492"/>
                  </a:lnTo>
                  <a:lnTo>
                    <a:pt x="966" y="498"/>
                  </a:lnTo>
                  <a:lnTo>
                    <a:pt x="954" y="510"/>
                  </a:lnTo>
                  <a:lnTo>
                    <a:pt x="948" y="510"/>
                  </a:lnTo>
                  <a:lnTo>
                    <a:pt x="942" y="516"/>
                  </a:lnTo>
                  <a:lnTo>
                    <a:pt x="936" y="528"/>
                  </a:lnTo>
                  <a:lnTo>
                    <a:pt x="936" y="534"/>
                  </a:lnTo>
                  <a:lnTo>
                    <a:pt x="936" y="546"/>
                  </a:lnTo>
                  <a:lnTo>
                    <a:pt x="936" y="558"/>
                  </a:lnTo>
                  <a:lnTo>
                    <a:pt x="948" y="558"/>
                  </a:lnTo>
                  <a:lnTo>
                    <a:pt x="954" y="558"/>
                  </a:lnTo>
                  <a:lnTo>
                    <a:pt x="996" y="558"/>
                  </a:lnTo>
                  <a:lnTo>
                    <a:pt x="1002" y="570"/>
                  </a:lnTo>
                  <a:lnTo>
                    <a:pt x="996" y="576"/>
                  </a:lnTo>
                  <a:lnTo>
                    <a:pt x="996" y="588"/>
                  </a:lnTo>
                  <a:lnTo>
                    <a:pt x="984" y="588"/>
                  </a:lnTo>
                  <a:lnTo>
                    <a:pt x="990" y="612"/>
                  </a:lnTo>
                  <a:lnTo>
                    <a:pt x="1014" y="606"/>
                  </a:lnTo>
                  <a:lnTo>
                    <a:pt x="1014" y="636"/>
                  </a:lnTo>
                  <a:lnTo>
                    <a:pt x="1014" y="648"/>
                  </a:lnTo>
                  <a:lnTo>
                    <a:pt x="1020" y="648"/>
                  </a:lnTo>
                  <a:lnTo>
                    <a:pt x="1026" y="660"/>
                  </a:lnTo>
                  <a:lnTo>
                    <a:pt x="1038" y="654"/>
                  </a:lnTo>
                  <a:lnTo>
                    <a:pt x="1050" y="654"/>
                  </a:lnTo>
                  <a:lnTo>
                    <a:pt x="1062" y="654"/>
                  </a:lnTo>
                  <a:lnTo>
                    <a:pt x="1068" y="660"/>
                  </a:lnTo>
                  <a:lnTo>
                    <a:pt x="1068" y="678"/>
                  </a:lnTo>
                  <a:lnTo>
                    <a:pt x="1068" y="684"/>
                  </a:lnTo>
                  <a:lnTo>
                    <a:pt x="1062" y="690"/>
                  </a:lnTo>
                  <a:lnTo>
                    <a:pt x="1056" y="696"/>
                  </a:lnTo>
                  <a:lnTo>
                    <a:pt x="1056" y="702"/>
                  </a:lnTo>
                  <a:lnTo>
                    <a:pt x="1038" y="714"/>
                  </a:lnTo>
                  <a:lnTo>
                    <a:pt x="1026" y="720"/>
                  </a:lnTo>
                  <a:lnTo>
                    <a:pt x="1008" y="726"/>
                  </a:lnTo>
                  <a:lnTo>
                    <a:pt x="1008" y="732"/>
                  </a:lnTo>
                  <a:lnTo>
                    <a:pt x="990" y="732"/>
                  </a:lnTo>
                  <a:lnTo>
                    <a:pt x="984" y="744"/>
                  </a:lnTo>
                  <a:lnTo>
                    <a:pt x="990" y="750"/>
                  </a:lnTo>
                  <a:lnTo>
                    <a:pt x="984" y="762"/>
                  </a:lnTo>
                  <a:lnTo>
                    <a:pt x="984" y="768"/>
                  </a:lnTo>
                  <a:lnTo>
                    <a:pt x="984" y="774"/>
                  </a:lnTo>
                  <a:lnTo>
                    <a:pt x="984" y="780"/>
                  </a:lnTo>
                  <a:lnTo>
                    <a:pt x="984" y="786"/>
                  </a:lnTo>
                  <a:lnTo>
                    <a:pt x="984" y="792"/>
                  </a:lnTo>
                  <a:lnTo>
                    <a:pt x="978" y="798"/>
                  </a:lnTo>
                  <a:lnTo>
                    <a:pt x="978" y="80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3" name="Freeform 38">
              <a:extLst>
                <a:ext uri="{FF2B5EF4-FFF2-40B4-BE49-F238E27FC236}">
                  <a16:creationId xmlns:a16="http://schemas.microsoft.com/office/drawing/2014/main" id="{819B99CE-D972-4530-8964-A992C1EC87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2825" y="1634436"/>
              <a:ext cx="959326" cy="959458"/>
            </a:xfrm>
            <a:custGeom>
              <a:avLst/>
              <a:gdLst>
                <a:gd name="T0" fmla="*/ 105 w 1806"/>
                <a:gd name="T1" fmla="*/ 155 h 1806"/>
                <a:gd name="T2" fmla="*/ 103 w 1806"/>
                <a:gd name="T3" fmla="*/ 155 h 1806"/>
                <a:gd name="T4" fmla="*/ 103 w 1806"/>
                <a:gd name="T5" fmla="*/ 150 h 1806"/>
                <a:gd name="T6" fmla="*/ 104 w 1806"/>
                <a:gd name="T7" fmla="*/ 141 h 1806"/>
                <a:gd name="T8" fmla="*/ 104 w 1806"/>
                <a:gd name="T9" fmla="*/ 136 h 1806"/>
                <a:gd name="T10" fmla="*/ 100 w 1806"/>
                <a:gd name="T11" fmla="*/ 131 h 1806"/>
                <a:gd name="T12" fmla="*/ 96 w 1806"/>
                <a:gd name="T13" fmla="*/ 127 h 1806"/>
                <a:gd name="T14" fmla="*/ 91 w 1806"/>
                <a:gd name="T15" fmla="*/ 121 h 1806"/>
                <a:gd name="T16" fmla="*/ 87 w 1806"/>
                <a:gd name="T17" fmla="*/ 120 h 1806"/>
                <a:gd name="T18" fmla="*/ 81 w 1806"/>
                <a:gd name="T19" fmla="*/ 117 h 1806"/>
                <a:gd name="T20" fmla="*/ 65 w 1806"/>
                <a:gd name="T21" fmla="*/ 113 h 1806"/>
                <a:gd name="T22" fmla="*/ 69 w 1806"/>
                <a:gd name="T23" fmla="*/ 105 h 1806"/>
                <a:gd name="T24" fmla="*/ 66 w 1806"/>
                <a:gd name="T25" fmla="*/ 89 h 1806"/>
                <a:gd name="T26" fmla="*/ 63 w 1806"/>
                <a:gd name="T27" fmla="*/ 84 h 1806"/>
                <a:gd name="T28" fmla="*/ 62 w 1806"/>
                <a:gd name="T29" fmla="*/ 74 h 1806"/>
                <a:gd name="T30" fmla="*/ 58 w 1806"/>
                <a:gd name="T31" fmla="*/ 52 h 1806"/>
                <a:gd name="T32" fmla="*/ 53 w 1806"/>
                <a:gd name="T33" fmla="*/ 49 h 1806"/>
                <a:gd name="T34" fmla="*/ 51 w 1806"/>
                <a:gd name="T35" fmla="*/ 36 h 1806"/>
                <a:gd name="T36" fmla="*/ 43 w 1806"/>
                <a:gd name="T37" fmla="*/ 32 h 1806"/>
                <a:gd name="T38" fmla="*/ 33 w 1806"/>
                <a:gd name="T39" fmla="*/ 30 h 1806"/>
                <a:gd name="T40" fmla="*/ 30 w 1806"/>
                <a:gd name="T41" fmla="*/ 21 h 1806"/>
                <a:gd name="T42" fmla="*/ 17 w 1806"/>
                <a:gd name="T43" fmla="*/ 25 h 1806"/>
                <a:gd name="T44" fmla="*/ 4 w 1806"/>
                <a:gd name="T45" fmla="*/ 33 h 1806"/>
                <a:gd name="T46" fmla="*/ 7 w 1806"/>
                <a:gd name="T47" fmla="*/ 26 h 1806"/>
                <a:gd name="T48" fmla="*/ 11 w 1806"/>
                <a:gd name="T49" fmla="*/ 20 h 1806"/>
                <a:gd name="T50" fmla="*/ 18 w 1806"/>
                <a:gd name="T51" fmla="*/ 12 h 1806"/>
                <a:gd name="T52" fmla="*/ 26 w 1806"/>
                <a:gd name="T53" fmla="*/ 8 h 1806"/>
                <a:gd name="T54" fmla="*/ 35 w 1806"/>
                <a:gd name="T55" fmla="*/ 6 h 1806"/>
                <a:gd name="T56" fmla="*/ 44 w 1806"/>
                <a:gd name="T57" fmla="*/ 5 h 1806"/>
                <a:gd name="T58" fmla="*/ 54 w 1806"/>
                <a:gd name="T59" fmla="*/ 2 h 1806"/>
                <a:gd name="T60" fmla="*/ 65 w 1806"/>
                <a:gd name="T61" fmla="*/ 0 h 1806"/>
                <a:gd name="T62" fmla="*/ 76 w 1806"/>
                <a:gd name="T63" fmla="*/ 0 h 1806"/>
                <a:gd name="T64" fmla="*/ 85 w 1806"/>
                <a:gd name="T65" fmla="*/ 0 h 1806"/>
                <a:gd name="T66" fmla="*/ 97 w 1806"/>
                <a:gd name="T67" fmla="*/ 0 h 1806"/>
                <a:gd name="T68" fmla="*/ 108 w 1806"/>
                <a:gd name="T69" fmla="*/ 3 h 1806"/>
                <a:gd name="T70" fmla="*/ 115 w 1806"/>
                <a:gd name="T71" fmla="*/ 5 h 1806"/>
                <a:gd name="T72" fmla="*/ 123 w 1806"/>
                <a:gd name="T73" fmla="*/ 7 h 1806"/>
                <a:gd name="T74" fmla="*/ 133 w 1806"/>
                <a:gd name="T75" fmla="*/ 14 h 1806"/>
                <a:gd name="T76" fmla="*/ 138 w 1806"/>
                <a:gd name="T77" fmla="*/ 16 h 1806"/>
                <a:gd name="T78" fmla="*/ 140 w 1806"/>
                <a:gd name="T79" fmla="*/ 14 h 1806"/>
                <a:gd name="T80" fmla="*/ 145 w 1806"/>
                <a:gd name="T81" fmla="*/ 16 h 1806"/>
                <a:gd name="T82" fmla="*/ 147 w 1806"/>
                <a:gd name="T83" fmla="*/ 16 h 1806"/>
                <a:gd name="T84" fmla="*/ 150 w 1806"/>
                <a:gd name="T85" fmla="*/ 17 h 1806"/>
                <a:gd name="T86" fmla="*/ 152 w 1806"/>
                <a:gd name="T87" fmla="*/ 18 h 1806"/>
                <a:gd name="T88" fmla="*/ 155 w 1806"/>
                <a:gd name="T89" fmla="*/ 37 h 1806"/>
                <a:gd name="T90" fmla="*/ 146 w 1806"/>
                <a:gd name="T91" fmla="*/ 66 h 1806"/>
                <a:gd name="T92" fmla="*/ 143 w 1806"/>
                <a:gd name="T93" fmla="*/ 88 h 1806"/>
                <a:gd name="T94" fmla="*/ 144 w 1806"/>
                <a:gd name="T95" fmla="*/ 98 h 1806"/>
                <a:gd name="T96" fmla="*/ 137 w 1806"/>
                <a:gd name="T97" fmla="*/ 118 h 1806"/>
                <a:gd name="T98" fmla="*/ 132 w 1806"/>
                <a:gd name="T99" fmla="*/ 129 h 1806"/>
                <a:gd name="T100" fmla="*/ 124 w 1806"/>
                <a:gd name="T101" fmla="*/ 135 h 1806"/>
                <a:gd name="T102" fmla="*/ 119 w 1806"/>
                <a:gd name="T103" fmla="*/ 136 h 1806"/>
                <a:gd name="T104" fmla="*/ 116 w 1806"/>
                <a:gd name="T105" fmla="*/ 137 h 1806"/>
                <a:gd name="T106" fmla="*/ 112 w 1806"/>
                <a:gd name="T107" fmla="*/ 139 h 1806"/>
                <a:gd name="T108" fmla="*/ 112 w 1806"/>
                <a:gd name="T109" fmla="*/ 141 h 1806"/>
                <a:gd name="T110" fmla="*/ 116 w 1806"/>
                <a:gd name="T111" fmla="*/ 146 h 1806"/>
                <a:gd name="T112" fmla="*/ 116 w 1806"/>
                <a:gd name="T113" fmla="*/ 151 h 1806"/>
                <a:gd name="T114" fmla="*/ 113 w 1806"/>
                <a:gd name="T115" fmla="*/ 153 h 18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6"/>
                <a:gd name="T175" fmla="*/ 0 h 1806"/>
                <a:gd name="T176" fmla="*/ 1806 w 1806"/>
                <a:gd name="T177" fmla="*/ 1806 h 18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6" h="1806">
                  <a:moveTo>
                    <a:pt x="1260" y="1776"/>
                  </a:moveTo>
                  <a:lnTo>
                    <a:pt x="1254" y="1776"/>
                  </a:lnTo>
                  <a:lnTo>
                    <a:pt x="1248" y="1776"/>
                  </a:lnTo>
                  <a:lnTo>
                    <a:pt x="1242" y="1782"/>
                  </a:lnTo>
                  <a:lnTo>
                    <a:pt x="1236" y="1782"/>
                  </a:lnTo>
                  <a:lnTo>
                    <a:pt x="1230" y="1788"/>
                  </a:lnTo>
                  <a:lnTo>
                    <a:pt x="1224" y="1782"/>
                  </a:lnTo>
                  <a:lnTo>
                    <a:pt x="1218" y="1782"/>
                  </a:lnTo>
                  <a:lnTo>
                    <a:pt x="1218" y="1788"/>
                  </a:lnTo>
                  <a:lnTo>
                    <a:pt x="1212" y="1788"/>
                  </a:lnTo>
                  <a:lnTo>
                    <a:pt x="1206" y="1788"/>
                  </a:lnTo>
                  <a:lnTo>
                    <a:pt x="1206" y="1794"/>
                  </a:lnTo>
                  <a:lnTo>
                    <a:pt x="1200" y="1806"/>
                  </a:lnTo>
                  <a:lnTo>
                    <a:pt x="1194" y="1800"/>
                  </a:lnTo>
                  <a:lnTo>
                    <a:pt x="1194" y="1794"/>
                  </a:lnTo>
                  <a:lnTo>
                    <a:pt x="1194" y="1788"/>
                  </a:lnTo>
                  <a:lnTo>
                    <a:pt x="1188" y="1788"/>
                  </a:lnTo>
                  <a:lnTo>
                    <a:pt x="1188" y="1782"/>
                  </a:lnTo>
                  <a:lnTo>
                    <a:pt x="1188" y="1776"/>
                  </a:lnTo>
                  <a:lnTo>
                    <a:pt x="1194" y="1770"/>
                  </a:lnTo>
                  <a:lnTo>
                    <a:pt x="1194" y="1764"/>
                  </a:lnTo>
                  <a:lnTo>
                    <a:pt x="1194" y="1758"/>
                  </a:lnTo>
                  <a:lnTo>
                    <a:pt x="1194" y="1752"/>
                  </a:lnTo>
                  <a:lnTo>
                    <a:pt x="1200" y="1746"/>
                  </a:lnTo>
                  <a:lnTo>
                    <a:pt x="1200" y="1740"/>
                  </a:lnTo>
                  <a:lnTo>
                    <a:pt x="1200" y="1734"/>
                  </a:lnTo>
                  <a:lnTo>
                    <a:pt x="1188" y="1722"/>
                  </a:lnTo>
                  <a:lnTo>
                    <a:pt x="1188" y="1716"/>
                  </a:lnTo>
                  <a:lnTo>
                    <a:pt x="1194" y="1704"/>
                  </a:lnTo>
                  <a:lnTo>
                    <a:pt x="1194" y="1692"/>
                  </a:lnTo>
                  <a:lnTo>
                    <a:pt x="1200" y="1680"/>
                  </a:lnTo>
                  <a:lnTo>
                    <a:pt x="1200" y="1662"/>
                  </a:lnTo>
                  <a:lnTo>
                    <a:pt x="1200" y="1650"/>
                  </a:lnTo>
                  <a:lnTo>
                    <a:pt x="1206" y="1644"/>
                  </a:lnTo>
                  <a:lnTo>
                    <a:pt x="1206" y="1638"/>
                  </a:lnTo>
                  <a:lnTo>
                    <a:pt x="1206" y="1626"/>
                  </a:lnTo>
                  <a:lnTo>
                    <a:pt x="1206" y="1620"/>
                  </a:lnTo>
                  <a:lnTo>
                    <a:pt x="1206" y="1614"/>
                  </a:lnTo>
                  <a:lnTo>
                    <a:pt x="1200" y="1608"/>
                  </a:lnTo>
                  <a:lnTo>
                    <a:pt x="1200" y="1602"/>
                  </a:lnTo>
                  <a:lnTo>
                    <a:pt x="1200" y="1596"/>
                  </a:lnTo>
                  <a:lnTo>
                    <a:pt x="1200" y="1590"/>
                  </a:lnTo>
                  <a:lnTo>
                    <a:pt x="1200" y="1572"/>
                  </a:lnTo>
                  <a:lnTo>
                    <a:pt x="1200" y="1566"/>
                  </a:lnTo>
                  <a:lnTo>
                    <a:pt x="1200" y="1560"/>
                  </a:lnTo>
                  <a:lnTo>
                    <a:pt x="1194" y="1554"/>
                  </a:lnTo>
                  <a:lnTo>
                    <a:pt x="1188" y="1548"/>
                  </a:lnTo>
                  <a:lnTo>
                    <a:pt x="1188" y="1542"/>
                  </a:lnTo>
                  <a:lnTo>
                    <a:pt x="1176" y="1536"/>
                  </a:lnTo>
                  <a:lnTo>
                    <a:pt x="1176" y="1530"/>
                  </a:lnTo>
                  <a:lnTo>
                    <a:pt x="1170" y="1524"/>
                  </a:lnTo>
                  <a:lnTo>
                    <a:pt x="1170" y="1518"/>
                  </a:lnTo>
                  <a:lnTo>
                    <a:pt x="1164" y="1512"/>
                  </a:lnTo>
                  <a:lnTo>
                    <a:pt x="1158" y="1506"/>
                  </a:lnTo>
                  <a:lnTo>
                    <a:pt x="1152" y="1500"/>
                  </a:lnTo>
                  <a:lnTo>
                    <a:pt x="1146" y="1494"/>
                  </a:lnTo>
                  <a:lnTo>
                    <a:pt x="1140" y="1488"/>
                  </a:lnTo>
                  <a:lnTo>
                    <a:pt x="1134" y="1482"/>
                  </a:lnTo>
                  <a:lnTo>
                    <a:pt x="1128" y="1476"/>
                  </a:lnTo>
                  <a:lnTo>
                    <a:pt x="1122" y="1470"/>
                  </a:lnTo>
                  <a:lnTo>
                    <a:pt x="1116" y="1464"/>
                  </a:lnTo>
                  <a:lnTo>
                    <a:pt x="1110" y="1464"/>
                  </a:lnTo>
                  <a:lnTo>
                    <a:pt x="1104" y="1458"/>
                  </a:lnTo>
                  <a:lnTo>
                    <a:pt x="1098" y="1464"/>
                  </a:lnTo>
                  <a:lnTo>
                    <a:pt x="1092" y="1464"/>
                  </a:lnTo>
                  <a:lnTo>
                    <a:pt x="1086" y="1446"/>
                  </a:lnTo>
                  <a:lnTo>
                    <a:pt x="1086" y="1440"/>
                  </a:lnTo>
                  <a:lnTo>
                    <a:pt x="1080" y="1416"/>
                  </a:lnTo>
                  <a:lnTo>
                    <a:pt x="1068" y="1404"/>
                  </a:lnTo>
                  <a:lnTo>
                    <a:pt x="1062" y="1398"/>
                  </a:lnTo>
                  <a:lnTo>
                    <a:pt x="1056" y="1398"/>
                  </a:lnTo>
                  <a:lnTo>
                    <a:pt x="1050" y="1398"/>
                  </a:lnTo>
                  <a:lnTo>
                    <a:pt x="1044" y="1398"/>
                  </a:lnTo>
                  <a:lnTo>
                    <a:pt x="1044" y="1392"/>
                  </a:lnTo>
                  <a:lnTo>
                    <a:pt x="1038" y="1392"/>
                  </a:lnTo>
                  <a:lnTo>
                    <a:pt x="1032" y="1392"/>
                  </a:lnTo>
                  <a:lnTo>
                    <a:pt x="1020" y="1386"/>
                  </a:lnTo>
                  <a:lnTo>
                    <a:pt x="1014" y="1386"/>
                  </a:lnTo>
                  <a:lnTo>
                    <a:pt x="1014" y="1380"/>
                  </a:lnTo>
                  <a:lnTo>
                    <a:pt x="1008" y="1380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62"/>
                  </a:lnTo>
                  <a:lnTo>
                    <a:pt x="984" y="1356"/>
                  </a:lnTo>
                  <a:lnTo>
                    <a:pt x="978" y="1356"/>
                  </a:lnTo>
                  <a:lnTo>
                    <a:pt x="972" y="1356"/>
                  </a:lnTo>
                  <a:lnTo>
                    <a:pt x="966" y="1356"/>
                  </a:lnTo>
                  <a:lnTo>
                    <a:pt x="966" y="1350"/>
                  </a:lnTo>
                  <a:lnTo>
                    <a:pt x="948" y="1350"/>
                  </a:lnTo>
                  <a:lnTo>
                    <a:pt x="936" y="1344"/>
                  </a:lnTo>
                  <a:lnTo>
                    <a:pt x="930" y="1338"/>
                  </a:lnTo>
                  <a:lnTo>
                    <a:pt x="918" y="1332"/>
                  </a:lnTo>
                  <a:lnTo>
                    <a:pt x="900" y="1326"/>
                  </a:lnTo>
                  <a:lnTo>
                    <a:pt x="864" y="1332"/>
                  </a:lnTo>
                  <a:lnTo>
                    <a:pt x="828" y="1332"/>
                  </a:lnTo>
                  <a:lnTo>
                    <a:pt x="792" y="1314"/>
                  </a:lnTo>
                  <a:lnTo>
                    <a:pt x="780" y="1314"/>
                  </a:lnTo>
                  <a:lnTo>
                    <a:pt x="780" y="1308"/>
                  </a:lnTo>
                  <a:lnTo>
                    <a:pt x="756" y="1296"/>
                  </a:lnTo>
                  <a:lnTo>
                    <a:pt x="756" y="1278"/>
                  </a:lnTo>
                  <a:lnTo>
                    <a:pt x="768" y="1278"/>
                  </a:lnTo>
                  <a:lnTo>
                    <a:pt x="774" y="1272"/>
                  </a:lnTo>
                  <a:lnTo>
                    <a:pt x="780" y="1266"/>
                  </a:lnTo>
                  <a:lnTo>
                    <a:pt x="786" y="1260"/>
                  </a:lnTo>
                  <a:lnTo>
                    <a:pt x="792" y="1254"/>
                  </a:lnTo>
                  <a:lnTo>
                    <a:pt x="798" y="1242"/>
                  </a:lnTo>
                  <a:lnTo>
                    <a:pt x="804" y="1242"/>
                  </a:lnTo>
                  <a:lnTo>
                    <a:pt x="804" y="1206"/>
                  </a:lnTo>
                  <a:lnTo>
                    <a:pt x="804" y="1182"/>
                  </a:lnTo>
                  <a:lnTo>
                    <a:pt x="804" y="1158"/>
                  </a:lnTo>
                  <a:lnTo>
                    <a:pt x="804" y="1134"/>
                  </a:lnTo>
                  <a:lnTo>
                    <a:pt x="798" y="1116"/>
                  </a:lnTo>
                  <a:lnTo>
                    <a:pt x="792" y="1092"/>
                  </a:lnTo>
                  <a:lnTo>
                    <a:pt x="786" y="1062"/>
                  </a:lnTo>
                  <a:lnTo>
                    <a:pt x="768" y="1032"/>
                  </a:lnTo>
                  <a:lnTo>
                    <a:pt x="762" y="1032"/>
                  </a:lnTo>
                  <a:lnTo>
                    <a:pt x="762" y="1020"/>
                  </a:lnTo>
                  <a:lnTo>
                    <a:pt x="762" y="1014"/>
                  </a:lnTo>
                  <a:lnTo>
                    <a:pt x="756" y="1008"/>
                  </a:lnTo>
                  <a:lnTo>
                    <a:pt x="750" y="1002"/>
                  </a:lnTo>
                  <a:lnTo>
                    <a:pt x="738" y="1002"/>
                  </a:lnTo>
                  <a:lnTo>
                    <a:pt x="738" y="990"/>
                  </a:lnTo>
                  <a:lnTo>
                    <a:pt x="726" y="990"/>
                  </a:lnTo>
                  <a:lnTo>
                    <a:pt x="726" y="978"/>
                  </a:lnTo>
                  <a:lnTo>
                    <a:pt x="732" y="972"/>
                  </a:lnTo>
                  <a:lnTo>
                    <a:pt x="732" y="966"/>
                  </a:lnTo>
                  <a:lnTo>
                    <a:pt x="726" y="966"/>
                  </a:lnTo>
                  <a:lnTo>
                    <a:pt x="732" y="948"/>
                  </a:lnTo>
                  <a:lnTo>
                    <a:pt x="726" y="942"/>
                  </a:lnTo>
                  <a:lnTo>
                    <a:pt x="726" y="930"/>
                  </a:lnTo>
                  <a:lnTo>
                    <a:pt x="720" y="924"/>
                  </a:lnTo>
                  <a:lnTo>
                    <a:pt x="714" y="912"/>
                  </a:lnTo>
                  <a:lnTo>
                    <a:pt x="714" y="882"/>
                  </a:lnTo>
                  <a:lnTo>
                    <a:pt x="714" y="870"/>
                  </a:lnTo>
                  <a:lnTo>
                    <a:pt x="714" y="858"/>
                  </a:lnTo>
                  <a:lnTo>
                    <a:pt x="714" y="846"/>
                  </a:lnTo>
                  <a:lnTo>
                    <a:pt x="708" y="822"/>
                  </a:lnTo>
                  <a:lnTo>
                    <a:pt x="702" y="798"/>
                  </a:lnTo>
                  <a:lnTo>
                    <a:pt x="696" y="792"/>
                  </a:lnTo>
                  <a:lnTo>
                    <a:pt x="684" y="726"/>
                  </a:lnTo>
                  <a:lnTo>
                    <a:pt x="678" y="666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66" y="600"/>
                  </a:lnTo>
                  <a:lnTo>
                    <a:pt x="660" y="594"/>
                  </a:lnTo>
                  <a:lnTo>
                    <a:pt x="654" y="594"/>
                  </a:lnTo>
                  <a:lnTo>
                    <a:pt x="636" y="582"/>
                  </a:lnTo>
                  <a:lnTo>
                    <a:pt x="630" y="576"/>
                  </a:lnTo>
                  <a:lnTo>
                    <a:pt x="624" y="576"/>
                  </a:lnTo>
                  <a:lnTo>
                    <a:pt x="618" y="570"/>
                  </a:lnTo>
                  <a:lnTo>
                    <a:pt x="612" y="564"/>
                  </a:lnTo>
                  <a:lnTo>
                    <a:pt x="606" y="558"/>
                  </a:lnTo>
                  <a:lnTo>
                    <a:pt x="606" y="564"/>
                  </a:lnTo>
                  <a:lnTo>
                    <a:pt x="600" y="564"/>
                  </a:lnTo>
                  <a:lnTo>
                    <a:pt x="594" y="558"/>
                  </a:lnTo>
                  <a:lnTo>
                    <a:pt x="594" y="540"/>
                  </a:lnTo>
                  <a:lnTo>
                    <a:pt x="594" y="528"/>
                  </a:lnTo>
                  <a:lnTo>
                    <a:pt x="594" y="516"/>
                  </a:lnTo>
                  <a:lnTo>
                    <a:pt x="594" y="510"/>
                  </a:lnTo>
                  <a:lnTo>
                    <a:pt x="594" y="492"/>
                  </a:lnTo>
                  <a:lnTo>
                    <a:pt x="594" y="456"/>
                  </a:lnTo>
                  <a:lnTo>
                    <a:pt x="588" y="414"/>
                  </a:lnTo>
                  <a:lnTo>
                    <a:pt x="588" y="408"/>
                  </a:lnTo>
                  <a:lnTo>
                    <a:pt x="582" y="396"/>
                  </a:lnTo>
                  <a:lnTo>
                    <a:pt x="582" y="384"/>
                  </a:lnTo>
                  <a:lnTo>
                    <a:pt x="582" y="372"/>
                  </a:lnTo>
                  <a:lnTo>
                    <a:pt x="564" y="372"/>
                  </a:lnTo>
                  <a:lnTo>
                    <a:pt x="552" y="366"/>
                  </a:lnTo>
                  <a:lnTo>
                    <a:pt x="552" y="372"/>
                  </a:lnTo>
                  <a:lnTo>
                    <a:pt x="498" y="372"/>
                  </a:lnTo>
                  <a:lnTo>
                    <a:pt x="498" y="366"/>
                  </a:lnTo>
                  <a:lnTo>
                    <a:pt x="474" y="360"/>
                  </a:lnTo>
                  <a:lnTo>
                    <a:pt x="456" y="354"/>
                  </a:lnTo>
                  <a:lnTo>
                    <a:pt x="438" y="348"/>
                  </a:lnTo>
                  <a:lnTo>
                    <a:pt x="426" y="354"/>
                  </a:lnTo>
                  <a:lnTo>
                    <a:pt x="408" y="360"/>
                  </a:lnTo>
                  <a:lnTo>
                    <a:pt x="378" y="360"/>
                  </a:lnTo>
                  <a:lnTo>
                    <a:pt x="378" y="354"/>
                  </a:lnTo>
                  <a:lnTo>
                    <a:pt x="378" y="348"/>
                  </a:lnTo>
                  <a:lnTo>
                    <a:pt x="378" y="342"/>
                  </a:lnTo>
                  <a:lnTo>
                    <a:pt x="390" y="330"/>
                  </a:lnTo>
                  <a:lnTo>
                    <a:pt x="396" y="312"/>
                  </a:lnTo>
                  <a:lnTo>
                    <a:pt x="396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8"/>
                  </a:lnTo>
                  <a:lnTo>
                    <a:pt x="372" y="234"/>
                  </a:lnTo>
                  <a:lnTo>
                    <a:pt x="354" y="234"/>
                  </a:lnTo>
                  <a:lnTo>
                    <a:pt x="342" y="246"/>
                  </a:lnTo>
                  <a:lnTo>
                    <a:pt x="330" y="252"/>
                  </a:lnTo>
                  <a:lnTo>
                    <a:pt x="318" y="252"/>
                  </a:lnTo>
                  <a:lnTo>
                    <a:pt x="276" y="258"/>
                  </a:lnTo>
                  <a:lnTo>
                    <a:pt x="276" y="264"/>
                  </a:lnTo>
                  <a:lnTo>
                    <a:pt x="252" y="270"/>
                  </a:lnTo>
                  <a:lnTo>
                    <a:pt x="240" y="270"/>
                  </a:lnTo>
                  <a:lnTo>
                    <a:pt x="228" y="276"/>
                  </a:lnTo>
                  <a:lnTo>
                    <a:pt x="210" y="282"/>
                  </a:lnTo>
                  <a:lnTo>
                    <a:pt x="198" y="288"/>
                  </a:lnTo>
                  <a:lnTo>
                    <a:pt x="186" y="294"/>
                  </a:lnTo>
                  <a:lnTo>
                    <a:pt x="174" y="330"/>
                  </a:lnTo>
                  <a:lnTo>
                    <a:pt x="162" y="342"/>
                  </a:lnTo>
                  <a:lnTo>
                    <a:pt x="156" y="354"/>
                  </a:lnTo>
                  <a:lnTo>
                    <a:pt x="150" y="360"/>
                  </a:lnTo>
                  <a:lnTo>
                    <a:pt x="150" y="366"/>
                  </a:lnTo>
                  <a:lnTo>
                    <a:pt x="108" y="372"/>
                  </a:lnTo>
                  <a:lnTo>
                    <a:pt x="60" y="378"/>
                  </a:lnTo>
                  <a:lnTo>
                    <a:pt x="42" y="378"/>
                  </a:lnTo>
                  <a:lnTo>
                    <a:pt x="12" y="378"/>
                  </a:lnTo>
                  <a:lnTo>
                    <a:pt x="6" y="378"/>
                  </a:lnTo>
                  <a:lnTo>
                    <a:pt x="0" y="366"/>
                  </a:lnTo>
                  <a:lnTo>
                    <a:pt x="12" y="360"/>
                  </a:lnTo>
                  <a:lnTo>
                    <a:pt x="24" y="348"/>
                  </a:lnTo>
                  <a:lnTo>
                    <a:pt x="30" y="342"/>
                  </a:lnTo>
                  <a:lnTo>
                    <a:pt x="36" y="330"/>
                  </a:lnTo>
                  <a:lnTo>
                    <a:pt x="72" y="300"/>
                  </a:lnTo>
                  <a:lnTo>
                    <a:pt x="78" y="294"/>
                  </a:lnTo>
                  <a:lnTo>
                    <a:pt x="78" y="288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96" y="270"/>
                  </a:lnTo>
                  <a:lnTo>
                    <a:pt x="102" y="264"/>
                  </a:lnTo>
                  <a:lnTo>
                    <a:pt x="108" y="258"/>
                  </a:lnTo>
                  <a:lnTo>
                    <a:pt x="114" y="246"/>
                  </a:lnTo>
                  <a:lnTo>
                    <a:pt x="120" y="240"/>
                  </a:lnTo>
                  <a:lnTo>
                    <a:pt x="126" y="234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0" y="210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86" y="174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22" y="138"/>
                  </a:lnTo>
                  <a:lnTo>
                    <a:pt x="234" y="132"/>
                  </a:lnTo>
                  <a:lnTo>
                    <a:pt x="246" y="126"/>
                  </a:lnTo>
                  <a:lnTo>
                    <a:pt x="246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88" y="102"/>
                  </a:lnTo>
                  <a:lnTo>
                    <a:pt x="300" y="96"/>
                  </a:lnTo>
                  <a:lnTo>
                    <a:pt x="306" y="90"/>
                  </a:lnTo>
                  <a:lnTo>
                    <a:pt x="318" y="90"/>
                  </a:lnTo>
                  <a:lnTo>
                    <a:pt x="324" y="84"/>
                  </a:lnTo>
                  <a:lnTo>
                    <a:pt x="348" y="72"/>
                  </a:lnTo>
                  <a:lnTo>
                    <a:pt x="354" y="72"/>
                  </a:lnTo>
                  <a:lnTo>
                    <a:pt x="384" y="66"/>
                  </a:lnTo>
                  <a:lnTo>
                    <a:pt x="390" y="66"/>
                  </a:lnTo>
                  <a:lnTo>
                    <a:pt x="396" y="66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66"/>
                  </a:lnTo>
                  <a:lnTo>
                    <a:pt x="438" y="66"/>
                  </a:lnTo>
                  <a:lnTo>
                    <a:pt x="468" y="66"/>
                  </a:lnTo>
                  <a:lnTo>
                    <a:pt x="480" y="66"/>
                  </a:lnTo>
                  <a:lnTo>
                    <a:pt x="486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22" y="60"/>
                  </a:lnTo>
                  <a:lnTo>
                    <a:pt x="534" y="54"/>
                  </a:lnTo>
                  <a:lnTo>
                    <a:pt x="564" y="42"/>
                  </a:lnTo>
                  <a:lnTo>
                    <a:pt x="570" y="42"/>
                  </a:lnTo>
                  <a:lnTo>
                    <a:pt x="582" y="36"/>
                  </a:lnTo>
                  <a:lnTo>
                    <a:pt x="588" y="36"/>
                  </a:lnTo>
                  <a:lnTo>
                    <a:pt x="600" y="30"/>
                  </a:lnTo>
                  <a:lnTo>
                    <a:pt x="606" y="30"/>
                  </a:lnTo>
                  <a:lnTo>
                    <a:pt x="618" y="24"/>
                  </a:lnTo>
                  <a:lnTo>
                    <a:pt x="642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72" y="12"/>
                  </a:lnTo>
                  <a:lnTo>
                    <a:pt x="696" y="12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50" y="6"/>
                  </a:lnTo>
                  <a:lnTo>
                    <a:pt x="768" y="6"/>
                  </a:lnTo>
                  <a:lnTo>
                    <a:pt x="774" y="6"/>
                  </a:lnTo>
                  <a:lnTo>
                    <a:pt x="786" y="6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6" y="6"/>
                  </a:lnTo>
                  <a:lnTo>
                    <a:pt x="846" y="6"/>
                  </a:lnTo>
                  <a:lnTo>
                    <a:pt x="852" y="0"/>
                  </a:lnTo>
                  <a:lnTo>
                    <a:pt x="876" y="0"/>
                  </a:lnTo>
                  <a:lnTo>
                    <a:pt x="876" y="6"/>
                  </a:lnTo>
                  <a:lnTo>
                    <a:pt x="888" y="0"/>
                  </a:lnTo>
                  <a:lnTo>
                    <a:pt x="900" y="0"/>
                  </a:lnTo>
                  <a:lnTo>
                    <a:pt x="906" y="0"/>
                  </a:lnTo>
                  <a:lnTo>
                    <a:pt x="912" y="0"/>
                  </a:lnTo>
                  <a:lnTo>
                    <a:pt x="948" y="0"/>
                  </a:lnTo>
                  <a:lnTo>
                    <a:pt x="954" y="0"/>
                  </a:lnTo>
                  <a:lnTo>
                    <a:pt x="972" y="0"/>
                  </a:lnTo>
                  <a:lnTo>
                    <a:pt x="978" y="0"/>
                  </a:lnTo>
                  <a:lnTo>
                    <a:pt x="996" y="0"/>
                  </a:lnTo>
                  <a:lnTo>
                    <a:pt x="1032" y="0"/>
                  </a:lnTo>
                  <a:lnTo>
                    <a:pt x="1044" y="0"/>
                  </a:lnTo>
                  <a:lnTo>
                    <a:pt x="1050" y="0"/>
                  </a:lnTo>
                  <a:lnTo>
                    <a:pt x="1056" y="6"/>
                  </a:lnTo>
                  <a:lnTo>
                    <a:pt x="1056" y="0"/>
                  </a:lnTo>
                  <a:lnTo>
                    <a:pt x="1074" y="0"/>
                  </a:lnTo>
                  <a:lnTo>
                    <a:pt x="1098" y="6"/>
                  </a:lnTo>
                  <a:lnTo>
                    <a:pt x="1116" y="6"/>
                  </a:lnTo>
                  <a:lnTo>
                    <a:pt x="1140" y="12"/>
                  </a:lnTo>
                  <a:lnTo>
                    <a:pt x="1152" y="12"/>
                  </a:lnTo>
                  <a:lnTo>
                    <a:pt x="1158" y="12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6" y="12"/>
                  </a:lnTo>
                  <a:lnTo>
                    <a:pt x="1194" y="18"/>
                  </a:lnTo>
                  <a:lnTo>
                    <a:pt x="1206" y="18"/>
                  </a:lnTo>
                  <a:lnTo>
                    <a:pt x="1242" y="36"/>
                  </a:lnTo>
                  <a:lnTo>
                    <a:pt x="1248" y="36"/>
                  </a:lnTo>
                  <a:lnTo>
                    <a:pt x="1254" y="36"/>
                  </a:lnTo>
                  <a:lnTo>
                    <a:pt x="1260" y="42"/>
                  </a:lnTo>
                  <a:lnTo>
                    <a:pt x="1272" y="48"/>
                  </a:lnTo>
                  <a:lnTo>
                    <a:pt x="1278" y="48"/>
                  </a:lnTo>
                  <a:lnTo>
                    <a:pt x="1284" y="48"/>
                  </a:lnTo>
                  <a:lnTo>
                    <a:pt x="1290" y="54"/>
                  </a:lnTo>
                  <a:lnTo>
                    <a:pt x="1308" y="60"/>
                  </a:lnTo>
                  <a:lnTo>
                    <a:pt x="1326" y="60"/>
                  </a:lnTo>
                  <a:lnTo>
                    <a:pt x="1338" y="66"/>
                  </a:lnTo>
                  <a:lnTo>
                    <a:pt x="1344" y="66"/>
                  </a:lnTo>
                  <a:lnTo>
                    <a:pt x="1350" y="66"/>
                  </a:lnTo>
                  <a:lnTo>
                    <a:pt x="1356" y="66"/>
                  </a:lnTo>
                  <a:lnTo>
                    <a:pt x="1362" y="72"/>
                  </a:lnTo>
                  <a:lnTo>
                    <a:pt x="1368" y="72"/>
                  </a:lnTo>
                  <a:lnTo>
                    <a:pt x="1380" y="72"/>
                  </a:lnTo>
                  <a:lnTo>
                    <a:pt x="1386" y="72"/>
                  </a:lnTo>
                  <a:lnTo>
                    <a:pt x="1422" y="84"/>
                  </a:lnTo>
                  <a:lnTo>
                    <a:pt x="1428" y="84"/>
                  </a:lnTo>
                  <a:lnTo>
                    <a:pt x="1446" y="90"/>
                  </a:lnTo>
                  <a:lnTo>
                    <a:pt x="1458" y="102"/>
                  </a:lnTo>
                  <a:lnTo>
                    <a:pt x="1494" y="126"/>
                  </a:lnTo>
                  <a:lnTo>
                    <a:pt x="1500" y="132"/>
                  </a:lnTo>
                  <a:lnTo>
                    <a:pt x="1512" y="138"/>
                  </a:lnTo>
                  <a:lnTo>
                    <a:pt x="1512" y="144"/>
                  </a:lnTo>
                  <a:lnTo>
                    <a:pt x="1518" y="150"/>
                  </a:lnTo>
                  <a:lnTo>
                    <a:pt x="1530" y="156"/>
                  </a:lnTo>
                  <a:lnTo>
                    <a:pt x="1530" y="162"/>
                  </a:lnTo>
                  <a:lnTo>
                    <a:pt x="1548" y="168"/>
                  </a:lnTo>
                  <a:lnTo>
                    <a:pt x="1566" y="180"/>
                  </a:lnTo>
                  <a:lnTo>
                    <a:pt x="1578" y="186"/>
                  </a:lnTo>
                  <a:lnTo>
                    <a:pt x="1578" y="180"/>
                  </a:lnTo>
                  <a:lnTo>
                    <a:pt x="1584" y="186"/>
                  </a:lnTo>
                  <a:lnTo>
                    <a:pt x="1584" y="174"/>
                  </a:lnTo>
                  <a:lnTo>
                    <a:pt x="1590" y="174"/>
                  </a:lnTo>
                  <a:lnTo>
                    <a:pt x="1590" y="180"/>
                  </a:lnTo>
                  <a:lnTo>
                    <a:pt x="1596" y="180"/>
                  </a:lnTo>
                  <a:lnTo>
                    <a:pt x="1596" y="174"/>
                  </a:lnTo>
                  <a:lnTo>
                    <a:pt x="1602" y="174"/>
                  </a:lnTo>
                  <a:lnTo>
                    <a:pt x="1608" y="174"/>
                  </a:lnTo>
                  <a:lnTo>
                    <a:pt x="1614" y="180"/>
                  </a:lnTo>
                  <a:lnTo>
                    <a:pt x="1620" y="174"/>
                  </a:lnTo>
                  <a:lnTo>
                    <a:pt x="1614" y="168"/>
                  </a:lnTo>
                  <a:lnTo>
                    <a:pt x="1614" y="162"/>
                  </a:lnTo>
                  <a:lnTo>
                    <a:pt x="1620" y="162"/>
                  </a:lnTo>
                  <a:lnTo>
                    <a:pt x="1626" y="162"/>
                  </a:lnTo>
                  <a:lnTo>
                    <a:pt x="1632" y="162"/>
                  </a:lnTo>
                  <a:lnTo>
                    <a:pt x="1638" y="168"/>
                  </a:lnTo>
                  <a:lnTo>
                    <a:pt x="1644" y="168"/>
                  </a:lnTo>
                  <a:lnTo>
                    <a:pt x="1650" y="174"/>
                  </a:lnTo>
                  <a:lnTo>
                    <a:pt x="1656" y="168"/>
                  </a:lnTo>
                  <a:lnTo>
                    <a:pt x="1668" y="168"/>
                  </a:lnTo>
                  <a:lnTo>
                    <a:pt x="1674" y="174"/>
                  </a:lnTo>
                  <a:lnTo>
                    <a:pt x="1674" y="180"/>
                  </a:lnTo>
                  <a:lnTo>
                    <a:pt x="1674" y="186"/>
                  </a:lnTo>
                  <a:lnTo>
                    <a:pt x="1680" y="186"/>
                  </a:lnTo>
                  <a:lnTo>
                    <a:pt x="1680" y="192"/>
                  </a:lnTo>
                  <a:lnTo>
                    <a:pt x="1686" y="192"/>
                  </a:lnTo>
                  <a:lnTo>
                    <a:pt x="1686" y="186"/>
                  </a:lnTo>
                  <a:lnTo>
                    <a:pt x="1680" y="186"/>
                  </a:lnTo>
                  <a:lnTo>
                    <a:pt x="1686" y="180"/>
                  </a:lnTo>
                  <a:lnTo>
                    <a:pt x="1692" y="180"/>
                  </a:lnTo>
                  <a:lnTo>
                    <a:pt x="1698" y="180"/>
                  </a:lnTo>
                  <a:lnTo>
                    <a:pt x="1704" y="180"/>
                  </a:lnTo>
                  <a:lnTo>
                    <a:pt x="1704" y="186"/>
                  </a:lnTo>
                  <a:lnTo>
                    <a:pt x="1710" y="186"/>
                  </a:lnTo>
                  <a:lnTo>
                    <a:pt x="1716" y="186"/>
                  </a:lnTo>
                  <a:lnTo>
                    <a:pt x="1716" y="192"/>
                  </a:lnTo>
                  <a:lnTo>
                    <a:pt x="1716" y="198"/>
                  </a:lnTo>
                  <a:lnTo>
                    <a:pt x="1722" y="192"/>
                  </a:lnTo>
                  <a:lnTo>
                    <a:pt x="1722" y="186"/>
                  </a:lnTo>
                  <a:lnTo>
                    <a:pt x="1728" y="192"/>
                  </a:lnTo>
                  <a:lnTo>
                    <a:pt x="1734" y="192"/>
                  </a:lnTo>
                  <a:lnTo>
                    <a:pt x="1734" y="186"/>
                  </a:lnTo>
                  <a:lnTo>
                    <a:pt x="1740" y="186"/>
                  </a:lnTo>
                  <a:lnTo>
                    <a:pt x="1740" y="192"/>
                  </a:lnTo>
                  <a:lnTo>
                    <a:pt x="1746" y="192"/>
                  </a:lnTo>
                  <a:lnTo>
                    <a:pt x="1758" y="192"/>
                  </a:lnTo>
                  <a:lnTo>
                    <a:pt x="1764" y="192"/>
                  </a:lnTo>
                  <a:lnTo>
                    <a:pt x="1764" y="198"/>
                  </a:lnTo>
                  <a:lnTo>
                    <a:pt x="1758" y="204"/>
                  </a:lnTo>
                  <a:lnTo>
                    <a:pt x="1752" y="210"/>
                  </a:lnTo>
                  <a:lnTo>
                    <a:pt x="1746" y="216"/>
                  </a:lnTo>
                  <a:lnTo>
                    <a:pt x="1746" y="222"/>
                  </a:lnTo>
                  <a:lnTo>
                    <a:pt x="1734" y="228"/>
                  </a:lnTo>
                  <a:lnTo>
                    <a:pt x="1734" y="234"/>
                  </a:lnTo>
                  <a:lnTo>
                    <a:pt x="1734" y="258"/>
                  </a:lnTo>
                  <a:lnTo>
                    <a:pt x="1740" y="330"/>
                  </a:lnTo>
                  <a:lnTo>
                    <a:pt x="1746" y="372"/>
                  </a:lnTo>
                  <a:lnTo>
                    <a:pt x="1788" y="426"/>
                  </a:lnTo>
                  <a:lnTo>
                    <a:pt x="1806" y="438"/>
                  </a:lnTo>
                  <a:lnTo>
                    <a:pt x="1794" y="480"/>
                  </a:lnTo>
                  <a:lnTo>
                    <a:pt x="1770" y="516"/>
                  </a:lnTo>
                  <a:lnTo>
                    <a:pt x="1746" y="546"/>
                  </a:lnTo>
                  <a:lnTo>
                    <a:pt x="1716" y="570"/>
                  </a:lnTo>
                  <a:lnTo>
                    <a:pt x="1680" y="594"/>
                  </a:lnTo>
                  <a:lnTo>
                    <a:pt x="1668" y="630"/>
                  </a:lnTo>
                  <a:lnTo>
                    <a:pt x="1680" y="684"/>
                  </a:lnTo>
                  <a:lnTo>
                    <a:pt x="1686" y="756"/>
                  </a:lnTo>
                  <a:lnTo>
                    <a:pt x="1662" y="870"/>
                  </a:lnTo>
                  <a:lnTo>
                    <a:pt x="1656" y="888"/>
                  </a:lnTo>
                  <a:lnTo>
                    <a:pt x="1650" y="972"/>
                  </a:lnTo>
                  <a:lnTo>
                    <a:pt x="1656" y="978"/>
                  </a:lnTo>
                  <a:lnTo>
                    <a:pt x="1650" y="984"/>
                  </a:lnTo>
                  <a:lnTo>
                    <a:pt x="1650" y="990"/>
                  </a:lnTo>
                  <a:lnTo>
                    <a:pt x="1650" y="1002"/>
                  </a:lnTo>
                  <a:lnTo>
                    <a:pt x="1656" y="1008"/>
                  </a:lnTo>
                  <a:lnTo>
                    <a:pt x="1656" y="1014"/>
                  </a:lnTo>
                  <a:lnTo>
                    <a:pt x="1662" y="1026"/>
                  </a:lnTo>
                  <a:lnTo>
                    <a:pt x="1650" y="1032"/>
                  </a:lnTo>
                  <a:lnTo>
                    <a:pt x="1638" y="1044"/>
                  </a:lnTo>
                  <a:lnTo>
                    <a:pt x="1626" y="1080"/>
                  </a:lnTo>
                  <a:lnTo>
                    <a:pt x="1614" y="1116"/>
                  </a:lnTo>
                  <a:lnTo>
                    <a:pt x="1614" y="1128"/>
                  </a:lnTo>
                  <a:lnTo>
                    <a:pt x="1626" y="1134"/>
                  </a:lnTo>
                  <a:lnTo>
                    <a:pt x="1644" y="1134"/>
                  </a:lnTo>
                  <a:lnTo>
                    <a:pt x="1662" y="1134"/>
                  </a:lnTo>
                  <a:lnTo>
                    <a:pt x="1680" y="1140"/>
                  </a:lnTo>
                  <a:lnTo>
                    <a:pt x="1698" y="1170"/>
                  </a:lnTo>
                  <a:lnTo>
                    <a:pt x="1704" y="1194"/>
                  </a:lnTo>
                  <a:lnTo>
                    <a:pt x="1692" y="1206"/>
                  </a:lnTo>
                  <a:lnTo>
                    <a:pt x="1662" y="1242"/>
                  </a:lnTo>
                  <a:lnTo>
                    <a:pt x="1632" y="1266"/>
                  </a:lnTo>
                  <a:lnTo>
                    <a:pt x="1620" y="1314"/>
                  </a:lnTo>
                  <a:lnTo>
                    <a:pt x="1584" y="1356"/>
                  </a:lnTo>
                  <a:lnTo>
                    <a:pt x="1578" y="1356"/>
                  </a:lnTo>
                  <a:lnTo>
                    <a:pt x="1578" y="1362"/>
                  </a:lnTo>
                  <a:lnTo>
                    <a:pt x="1572" y="1410"/>
                  </a:lnTo>
                  <a:lnTo>
                    <a:pt x="1584" y="1452"/>
                  </a:lnTo>
                  <a:lnTo>
                    <a:pt x="1608" y="1476"/>
                  </a:lnTo>
                  <a:lnTo>
                    <a:pt x="1596" y="1476"/>
                  </a:lnTo>
                  <a:lnTo>
                    <a:pt x="1584" y="1482"/>
                  </a:lnTo>
                  <a:lnTo>
                    <a:pt x="1560" y="1482"/>
                  </a:lnTo>
                  <a:lnTo>
                    <a:pt x="1536" y="1482"/>
                  </a:lnTo>
                  <a:lnTo>
                    <a:pt x="1524" y="1482"/>
                  </a:lnTo>
                  <a:lnTo>
                    <a:pt x="1506" y="1500"/>
                  </a:lnTo>
                  <a:lnTo>
                    <a:pt x="1482" y="1530"/>
                  </a:lnTo>
                  <a:lnTo>
                    <a:pt x="1452" y="1542"/>
                  </a:lnTo>
                  <a:lnTo>
                    <a:pt x="1446" y="1542"/>
                  </a:lnTo>
                  <a:lnTo>
                    <a:pt x="1440" y="1542"/>
                  </a:lnTo>
                  <a:lnTo>
                    <a:pt x="1440" y="1548"/>
                  </a:lnTo>
                  <a:lnTo>
                    <a:pt x="1434" y="1548"/>
                  </a:lnTo>
                  <a:lnTo>
                    <a:pt x="1428" y="1548"/>
                  </a:lnTo>
                  <a:lnTo>
                    <a:pt x="1428" y="1554"/>
                  </a:lnTo>
                  <a:lnTo>
                    <a:pt x="1422" y="1560"/>
                  </a:lnTo>
                  <a:lnTo>
                    <a:pt x="1416" y="1560"/>
                  </a:lnTo>
                  <a:lnTo>
                    <a:pt x="1410" y="1566"/>
                  </a:lnTo>
                  <a:lnTo>
                    <a:pt x="1410" y="1560"/>
                  </a:lnTo>
                  <a:lnTo>
                    <a:pt x="1404" y="1560"/>
                  </a:lnTo>
                  <a:lnTo>
                    <a:pt x="1392" y="1560"/>
                  </a:lnTo>
                  <a:lnTo>
                    <a:pt x="1386" y="1560"/>
                  </a:lnTo>
                  <a:lnTo>
                    <a:pt x="1380" y="1566"/>
                  </a:lnTo>
                  <a:lnTo>
                    <a:pt x="1374" y="1560"/>
                  </a:lnTo>
                  <a:lnTo>
                    <a:pt x="1368" y="1566"/>
                  </a:lnTo>
                  <a:lnTo>
                    <a:pt x="1362" y="1566"/>
                  </a:lnTo>
                  <a:lnTo>
                    <a:pt x="1362" y="1572"/>
                  </a:lnTo>
                  <a:lnTo>
                    <a:pt x="1356" y="1572"/>
                  </a:lnTo>
                  <a:lnTo>
                    <a:pt x="1356" y="1578"/>
                  </a:lnTo>
                  <a:lnTo>
                    <a:pt x="1350" y="1578"/>
                  </a:lnTo>
                  <a:lnTo>
                    <a:pt x="1350" y="1572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32" y="1584"/>
                  </a:lnTo>
                  <a:lnTo>
                    <a:pt x="1326" y="1590"/>
                  </a:lnTo>
                  <a:lnTo>
                    <a:pt x="1320" y="1584"/>
                  </a:lnTo>
                  <a:lnTo>
                    <a:pt x="1314" y="1590"/>
                  </a:lnTo>
                  <a:lnTo>
                    <a:pt x="1308" y="1596"/>
                  </a:lnTo>
                  <a:lnTo>
                    <a:pt x="1302" y="1596"/>
                  </a:lnTo>
                  <a:lnTo>
                    <a:pt x="1296" y="1596"/>
                  </a:lnTo>
                  <a:lnTo>
                    <a:pt x="1290" y="1596"/>
                  </a:lnTo>
                  <a:lnTo>
                    <a:pt x="1284" y="1596"/>
                  </a:lnTo>
                  <a:lnTo>
                    <a:pt x="1278" y="1602"/>
                  </a:lnTo>
                  <a:lnTo>
                    <a:pt x="1266" y="1602"/>
                  </a:lnTo>
                  <a:lnTo>
                    <a:pt x="1272" y="1608"/>
                  </a:lnTo>
                  <a:lnTo>
                    <a:pt x="1278" y="1608"/>
                  </a:lnTo>
                  <a:lnTo>
                    <a:pt x="1284" y="1608"/>
                  </a:lnTo>
                  <a:lnTo>
                    <a:pt x="1290" y="1614"/>
                  </a:lnTo>
                  <a:lnTo>
                    <a:pt x="1296" y="1620"/>
                  </a:lnTo>
                  <a:lnTo>
                    <a:pt x="1302" y="1626"/>
                  </a:lnTo>
                  <a:lnTo>
                    <a:pt x="1308" y="1632"/>
                  </a:lnTo>
                  <a:lnTo>
                    <a:pt x="1314" y="1638"/>
                  </a:lnTo>
                  <a:lnTo>
                    <a:pt x="1314" y="1644"/>
                  </a:lnTo>
                  <a:lnTo>
                    <a:pt x="1320" y="1644"/>
                  </a:lnTo>
                  <a:lnTo>
                    <a:pt x="1320" y="1650"/>
                  </a:lnTo>
                  <a:lnTo>
                    <a:pt x="1326" y="1656"/>
                  </a:lnTo>
                  <a:lnTo>
                    <a:pt x="1332" y="1668"/>
                  </a:lnTo>
                  <a:lnTo>
                    <a:pt x="1338" y="1680"/>
                  </a:lnTo>
                  <a:lnTo>
                    <a:pt x="1338" y="1698"/>
                  </a:lnTo>
                  <a:lnTo>
                    <a:pt x="1350" y="1710"/>
                  </a:lnTo>
                  <a:lnTo>
                    <a:pt x="1350" y="1716"/>
                  </a:lnTo>
                  <a:lnTo>
                    <a:pt x="1350" y="1722"/>
                  </a:lnTo>
                  <a:lnTo>
                    <a:pt x="1350" y="1728"/>
                  </a:lnTo>
                  <a:lnTo>
                    <a:pt x="1356" y="1728"/>
                  </a:lnTo>
                  <a:lnTo>
                    <a:pt x="1356" y="1734"/>
                  </a:lnTo>
                  <a:lnTo>
                    <a:pt x="1350" y="1734"/>
                  </a:lnTo>
                  <a:lnTo>
                    <a:pt x="1344" y="1740"/>
                  </a:lnTo>
                  <a:lnTo>
                    <a:pt x="1338" y="1740"/>
                  </a:lnTo>
                  <a:lnTo>
                    <a:pt x="1332" y="1746"/>
                  </a:lnTo>
                  <a:lnTo>
                    <a:pt x="1326" y="1746"/>
                  </a:lnTo>
                  <a:lnTo>
                    <a:pt x="1326" y="1752"/>
                  </a:lnTo>
                  <a:lnTo>
                    <a:pt x="1320" y="1752"/>
                  </a:lnTo>
                  <a:lnTo>
                    <a:pt x="1320" y="1758"/>
                  </a:lnTo>
                  <a:lnTo>
                    <a:pt x="1314" y="1758"/>
                  </a:lnTo>
                  <a:lnTo>
                    <a:pt x="1308" y="1758"/>
                  </a:lnTo>
                  <a:lnTo>
                    <a:pt x="1302" y="1758"/>
                  </a:lnTo>
                  <a:lnTo>
                    <a:pt x="1296" y="1758"/>
                  </a:lnTo>
                  <a:lnTo>
                    <a:pt x="1290" y="1764"/>
                  </a:lnTo>
                  <a:lnTo>
                    <a:pt x="1284" y="1770"/>
                  </a:lnTo>
                  <a:lnTo>
                    <a:pt x="1278" y="1770"/>
                  </a:lnTo>
                  <a:lnTo>
                    <a:pt x="1272" y="1770"/>
                  </a:lnTo>
                  <a:lnTo>
                    <a:pt x="1266" y="1770"/>
                  </a:lnTo>
                  <a:lnTo>
                    <a:pt x="1266" y="1776"/>
                  </a:lnTo>
                  <a:lnTo>
                    <a:pt x="1260" y="1776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4" name="Freeform 39">
              <a:extLst>
                <a:ext uri="{FF2B5EF4-FFF2-40B4-BE49-F238E27FC236}">
                  <a16:creationId xmlns:a16="http://schemas.microsoft.com/office/drawing/2014/main" id="{E01CDA8B-32C7-421A-B23E-968CAC7F78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2974" y="1759680"/>
              <a:ext cx="825155" cy="700024"/>
            </a:xfrm>
            <a:custGeom>
              <a:avLst/>
              <a:gdLst>
                <a:gd name="T0" fmla="*/ 60 w 1554"/>
                <a:gd name="T1" fmla="*/ 86 h 1320"/>
                <a:gd name="T2" fmla="*/ 66 w 1554"/>
                <a:gd name="T3" fmla="*/ 80 h 1320"/>
                <a:gd name="T4" fmla="*/ 61 w 1554"/>
                <a:gd name="T5" fmla="*/ 73 h 1320"/>
                <a:gd name="T6" fmla="*/ 57 w 1554"/>
                <a:gd name="T7" fmla="*/ 67 h 1320"/>
                <a:gd name="T8" fmla="*/ 60 w 1554"/>
                <a:gd name="T9" fmla="*/ 59 h 1320"/>
                <a:gd name="T10" fmla="*/ 56 w 1554"/>
                <a:gd name="T11" fmla="*/ 55 h 1320"/>
                <a:gd name="T12" fmla="*/ 45 w 1554"/>
                <a:gd name="T13" fmla="*/ 53 h 1320"/>
                <a:gd name="T14" fmla="*/ 42 w 1554"/>
                <a:gd name="T15" fmla="*/ 41 h 1320"/>
                <a:gd name="T16" fmla="*/ 37 w 1554"/>
                <a:gd name="T17" fmla="*/ 39 h 1320"/>
                <a:gd name="T18" fmla="*/ 31 w 1554"/>
                <a:gd name="T19" fmla="*/ 44 h 1320"/>
                <a:gd name="T20" fmla="*/ 37 w 1554"/>
                <a:gd name="T21" fmla="*/ 35 h 1320"/>
                <a:gd name="T22" fmla="*/ 30 w 1554"/>
                <a:gd name="T23" fmla="*/ 23 h 1320"/>
                <a:gd name="T24" fmla="*/ 21 w 1554"/>
                <a:gd name="T25" fmla="*/ 23 h 1320"/>
                <a:gd name="T26" fmla="*/ 15 w 1554"/>
                <a:gd name="T27" fmla="*/ 27 h 1320"/>
                <a:gd name="T28" fmla="*/ 11 w 1554"/>
                <a:gd name="T29" fmla="*/ 32 h 1320"/>
                <a:gd name="T30" fmla="*/ 6 w 1554"/>
                <a:gd name="T31" fmla="*/ 22 h 1320"/>
                <a:gd name="T32" fmla="*/ 3 w 1554"/>
                <a:gd name="T33" fmla="*/ 11 h 1320"/>
                <a:gd name="T34" fmla="*/ 24 w 1554"/>
                <a:gd name="T35" fmla="*/ 12 h 1320"/>
                <a:gd name="T36" fmla="*/ 33 w 1554"/>
                <a:gd name="T37" fmla="*/ 19 h 1320"/>
                <a:gd name="T38" fmla="*/ 49 w 1554"/>
                <a:gd name="T39" fmla="*/ 12 h 1320"/>
                <a:gd name="T40" fmla="*/ 58 w 1554"/>
                <a:gd name="T41" fmla="*/ 10 h 1320"/>
                <a:gd name="T42" fmla="*/ 68 w 1554"/>
                <a:gd name="T43" fmla="*/ 11 h 1320"/>
                <a:gd name="T44" fmla="*/ 79 w 1554"/>
                <a:gd name="T45" fmla="*/ 12 h 1320"/>
                <a:gd name="T46" fmla="*/ 96 w 1554"/>
                <a:gd name="T47" fmla="*/ 11 h 1320"/>
                <a:gd name="T48" fmla="*/ 107 w 1554"/>
                <a:gd name="T49" fmla="*/ 2 h 1320"/>
                <a:gd name="T50" fmla="*/ 117 w 1554"/>
                <a:gd name="T51" fmla="*/ 8 h 1320"/>
                <a:gd name="T52" fmla="*/ 126 w 1554"/>
                <a:gd name="T53" fmla="*/ 12 h 1320"/>
                <a:gd name="T54" fmla="*/ 134 w 1554"/>
                <a:gd name="T55" fmla="*/ 24 h 1320"/>
                <a:gd name="T56" fmla="*/ 133 w 1554"/>
                <a:gd name="T57" fmla="*/ 29 h 1320"/>
                <a:gd name="T58" fmla="*/ 129 w 1554"/>
                <a:gd name="T59" fmla="*/ 31 h 1320"/>
                <a:gd name="T60" fmla="*/ 125 w 1554"/>
                <a:gd name="T61" fmla="*/ 32 h 1320"/>
                <a:gd name="T62" fmla="*/ 115 w 1554"/>
                <a:gd name="T63" fmla="*/ 34 h 1320"/>
                <a:gd name="T64" fmla="*/ 113 w 1554"/>
                <a:gd name="T65" fmla="*/ 44 h 1320"/>
                <a:gd name="T66" fmla="*/ 111 w 1554"/>
                <a:gd name="T67" fmla="*/ 54 h 1320"/>
                <a:gd name="T68" fmla="*/ 107 w 1554"/>
                <a:gd name="T69" fmla="*/ 56 h 1320"/>
                <a:gd name="T70" fmla="*/ 102 w 1554"/>
                <a:gd name="T71" fmla="*/ 58 h 1320"/>
                <a:gd name="T72" fmla="*/ 99 w 1554"/>
                <a:gd name="T73" fmla="*/ 60 h 1320"/>
                <a:gd name="T74" fmla="*/ 93 w 1554"/>
                <a:gd name="T75" fmla="*/ 62 h 1320"/>
                <a:gd name="T76" fmla="*/ 87 w 1554"/>
                <a:gd name="T77" fmla="*/ 64 h 1320"/>
                <a:gd name="T78" fmla="*/ 84 w 1554"/>
                <a:gd name="T79" fmla="*/ 65 h 1320"/>
                <a:gd name="T80" fmla="*/ 81 w 1554"/>
                <a:gd name="T81" fmla="*/ 69 h 1320"/>
                <a:gd name="T82" fmla="*/ 83 w 1554"/>
                <a:gd name="T83" fmla="*/ 72 h 1320"/>
                <a:gd name="T84" fmla="*/ 92 w 1554"/>
                <a:gd name="T85" fmla="*/ 73 h 1320"/>
                <a:gd name="T86" fmla="*/ 93 w 1554"/>
                <a:gd name="T87" fmla="*/ 87 h 1320"/>
                <a:gd name="T88" fmla="*/ 104 w 1554"/>
                <a:gd name="T89" fmla="*/ 98 h 1320"/>
                <a:gd name="T90" fmla="*/ 108 w 1554"/>
                <a:gd name="T91" fmla="*/ 98 h 1320"/>
                <a:gd name="T92" fmla="*/ 112 w 1554"/>
                <a:gd name="T93" fmla="*/ 100 h 1320"/>
                <a:gd name="T94" fmla="*/ 118 w 1554"/>
                <a:gd name="T95" fmla="*/ 100 h 1320"/>
                <a:gd name="T96" fmla="*/ 122 w 1554"/>
                <a:gd name="T97" fmla="*/ 102 h 1320"/>
                <a:gd name="T98" fmla="*/ 118 w 1554"/>
                <a:gd name="T99" fmla="*/ 105 h 1320"/>
                <a:gd name="T100" fmla="*/ 114 w 1554"/>
                <a:gd name="T101" fmla="*/ 107 h 1320"/>
                <a:gd name="T102" fmla="*/ 113 w 1554"/>
                <a:gd name="T103" fmla="*/ 113 h 1320"/>
                <a:gd name="T104" fmla="*/ 104 w 1554"/>
                <a:gd name="T105" fmla="*/ 113 h 1320"/>
                <a:gd name="T106" fmla="*/ 93 w 1554"/>
                <a:gd name="T107" fmla="*/ 109 h 1320"/>
                <a:gd name="T108" fmla="*/ 96 w 1554"/>
                <a:gd name="T109" fmla="*/ 103 h 1320"/>
                <a:gd name="T110" fmla="*/ 95 w 1554"/>
                <a:gd name="T111" fmla="*/ 97 h 1320"/>
                <a:gd name="T112" fmla="*/ 87 w 1554"/>
                <a:gd name="T113" fmla="*/ 98 h 1320"/>
                <a:gd name="T114" fmla="*/ 81 w 1554"/>
                <a:gd name="T115" fmla="*/ 98 h 1320"/>
                <a:gd name="T116" fmla="*/ 78 w 1554"/>
                <a:gd name="T117" fmla="*/ 93 h 1320"/>
                <a:gd name="T118" fmla="*/ 65 w 1554"/>
                <a:gd name="T119" fmla="*/ 92 h 1320"/>
                <a:gd name="T120" fmla="*/ 59 w 1554"/>
                <a:gd name="T121" fmla="*/ 92 h 13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54"/>
                <a:gd name="T184" fmla="*/ 0 h 1320"/>
                <a:gd name="T185" fmla="*/ 1554 w 1554"/>
                <a:gd name="T186" fmla="*/ 1320 h 132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54" h="1320">
                  <a:moveTo>
                    <a:pt x="684" y="1068"/>
                  </a:moveTo>
                  <a:lnTo>
                    <a:pt x="684" y="1062"/>
                  </a:lnTo>
                  <a:lnTo>
                    <a:pt x="690" y="1056"/>
                  </a:lnTo>
                  <a:lnTo>
                    <a:pt x="690" y="1050"/>
                  </a:lnTo>
                  <a:lnTo>
                    <a:pt x="690" y="1044"/>
                  </a:lnTo>
                  <a:lnTo>
                    <a:pt x="690" y="1038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14"/>
                  </a:lnTo>
                  <a:lnTo>
                    <a:pt x="690" y="1008"/>
                  </a:lnTo>
                  <a:lnTo>
                    <a:pt x="696" y="996"/>
                  </a:lnTo>
                  <a:lnTo>
                    <a:pt x="714" y="996"/>
                  </a:lnTo>
                  <a:lnTo>
                    <a:pt x="714" y="990"/>
                  </a:lnTo>
                  <a:lnTo>
                    <a:pt x="732" y="984"/>
                  </a:lnTo>
                  <a:lnTo>
                    <a:pt x="744" y="978"/>
                  </a:lnTo>
                  <a:lnTo>
                    <a:pt x="762" y="966"/>
                  </a:lnTo>
                  <a:lnTo>
                    <a:pt x="762" y="960"/>
                  </a:lnTo>
                  <a:lnTo>
                    <a:pt x="768" y="954"/>
                  </a:lnTo>
                  <a:lnTo>
                    <a:pt x="774" y="948"/>
                  </a:lnTo>
                  <a:lnTo>
                    <a:pt x="774" y="942"/>
                  </a:lnTo>
                  <a:lnTo>
                    <a:pt x="774" y="924"/>
                  </a:lnTo>
                  <a:lnTo>
                    <a:pt x="768" y="918"/>
                  </a:lnTo>
                  <a:lnTo>
                    <a:pt x="756" y="918"/>
                  </a:lnTo>
                  <a:lnTo>
                    <a:pt x="744" y="918"/>
                  </a:lnTo>
                  <a:lnTo>
                    <a:pt x="732" y="924"/>
                  </a:lnTo>
                  <a:lnTo>
                    <a:pt x="726" y="912"/>
                  </a:lnTo>
                  <a:lnTo>
                    <a:pt x="720" y="912"/>
                  </a:lnTo>
                  <a:lnTo>
                    <a:pt x="720" y="900"/>
                  </a:lnTo>
                  <a:lnTo>
                    <a:pt x="720" y="870"/>
                  </a:lnTo>
                  <a:lnTo>
                    <a:pt x="696" y="876"/>
                  </a:lnTo>
                  <a:lnTo>
                    <a:pt x="690" y="852"/>
                  </a:lnTo>
                  <a:lnTo>
                    <a:pt x="702" y="852"/>
                  </a:lnTo>
                  <a:lnTo>
                    <a:pt x="702" y="840"/>
                  </a:lnTo>
                  <a:lnTo>
                    <a:pt x="708" y="834"/>
                  </a:lnTo>
                  <a:lnTo>
                    <a:pt x="702" y="822"/>
                  </a:lnTo>
                  <a:lnTo>
                    <a:pt x="660" y="822"/>
                  </a:lnTo>
                  <a:lnTo>
                    <a:pt x="654" y="822"/>
                  </a:lnTo>
                  <a:lnTo>
                    <a:pt x="642" y="822"/>
                  </a:lnTo>
                  <a:lnTo>
                    <a:pt x="642" y="810"/>
                  </a:lnTo>
                  <a:lnTo>
                    <a:pt x="642" y="798"/>
                  </a:lnTo>
                  <a:lnTo>
                    <a:pt x="642" y="792"/>
                  </a:lnTo>
                  <a:lnTo>
                    <a:pt x="648" y="780"/>
                  </a:lnTo>
                  <a:lnTo>
                    <a:pt x="654" y="774"/>
                  </a:lnTo>
                  <a:lnTo>
                    <a:pt x="660" y="774"/>
                  </a:lnTo>
                  <a:lnTo>
                    <a:pt x="672" y="762"/>
                  </a:lnTo>
                  <a:lnTo>
                    <a:pt x="672" y="756"/>
                  </a:lnTo>
                  <a:lnTo>
                    <a:pt x="678" y="750"/>
                  </a:lnTo>
                  <a:lnTo>
                    <a:pt x="684" y="750"/>
                  </a:lnTo>
                  <a:lnTo>
                    <a:pt x="690" y="744"/>
                  </a:lnTo>
                  <a:lnTo>
                    <a:pt x="696" y="732"/>
                  </a:lnTo>
                  <a:lnTo>
                    <a:pt x="696" y="726"/>
                  </a:lnTo>
                  <a:lnTo>
                    <a:pt x="702" y="714"/>
                  </a:lnTo>
                  <a:lnTo>
                    <a:pt x="696" y="708"/>
                  </a:lnTo>
                  <a:lnTo>
                    <a:pt x="690" y="690"/>
                  </a:lnTo>
                  <a:lnTo>
                    <a:pt x="696" y="678"/>
                  </a:lnTo>
                  <a:lnTo>
                    <a:pt x="708" y="672"/>
                  </a:lnTo>
                  <a:lnTo>
                    <a:pt x="708" y="660"/>
                  </a:lnTo>
                  <a:lnTo>
                    <a:pt x="702" y="660"/>
                  </a:lnTo>
                  <a:lnTo>
                    <a:pt x="696" y="660"/>
                  </a:lnTo>
                  <a:lnTo>
                    <a:pt x="690" y="654"/>
                  </a:lnTo>
                  <a:lnTo>
                    <a:pt x="684" y="654"/>
                  </a:lnTo>
                  <a:lnTo>
                    <a:pt x="690" y="606"/>
                  </a:lnTo>
                  <a:lnTo>
                    <a:pt x="660" y="606"/>
                  </a:lnTo>
                  <a:lnTo>
                    <a:pt x="660" y="612"/>
                  </a:lnTo>
                  <a:lnTo>
                    <a:pt x="648" y="612"/>
                  </a:lnTo>
                  <a:lnTo>
                    <a:pt x="642" y="636"/>
                  </a:lnTo>
                  <a:lnTo>
                    <a:pt x="636" y="636"/>
                  </a:lnTo>
                  <a:lnTo>
                    <a:pt x="630" y="648"/>
                  </a:lnTo>
                  <a:lnTo>
                    <a:pt x="612" y="648"/>
                  </a:lnTo>
                  <a:lnTo>
                    <a:pt x="606" y="636"/>
                  </a:lnTo>
                  <a:lnTo>
                    <a:pt x="600" y="630"/>
                  </a:lnTo>
                  <a:lnTo>
                    <a:pt x="588" y="606"/>
                  </a:lnTo>
                  <a:lnTo>
                    <a:pt x="552" y="606"/>
                  </a:lnTo>
                  <a:lnTo>
                    <a:pt x="552" y="612"/>
                  </a:lnTo>
                  <a:lnTo>
                    <a:pt x="540" y="612"/>
                  </a:lnTo>
                  <a:lnTo>
                    <a:pt x="540" y="606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16" y="612"/>
                  </a:lnTo>
                  <a:lnTo>
                    <a:pt x="516" y="582"/>
                  </a:lnTo>
                  <a:lnTo>
                    <a:pt x="522" y="576"/>
                  </a:lnTo>
                  <a:lnTo>
                    <a:pt x="528" y="576"/>
                  </a:lnTo>
                  <a:lnTo>
                    <a:pt x="528" y="552"/>
                  </a:lnTo>
                  <a:lnTo>
                    <a:pt x="522" y="540"/>
                  </a:lnTo>
                  <a:lnTo>
                    <a:pt x="510" y="528"/>
                  </a:lnTo>
                  <a:lnTo>
                    <a:pt x="486" y="510"/>
                  </a:lnTo>
                  <a:lnTo>
                    <a:pt x="480" y="498"/>
                  </a:lnTo>
                  <a:lnTo>
                    <a:pt x="480" y="474"/>
                  </a:lnTo>
                  <a:lnTo>
                    <a:pt x="492" y="468"/>
                  </a:lnTo>
                  <a:lnTo>
                    <a:pt x="486" y="450"/>
                  </a:lnTo>
                  <a:lnTo>
                    <a:pt x="474" y="456"/>
                  </a:lnTo>
                  <a:lnTo>
                    <a:pt x="468" y="456"/>
                  </a:lnTo>
                  <a:lnTo>
                    <a:pt x="462" y="456"/>
                  </a:lnTo>
                  <a:lnTo>
                    <a:pt x="456" y="468"/>
                  </a:lnTo>
                  <a:lnTo>
                    <a:pt x="456" y="474"/>
                  </a:lnTo>
                  <a:lnTo>
                    <a:pt x="450" y="480"/>
                  </a:lnTo>
                  <a:lnTo>
                    <a:pt x="444" y="450"/>
                  </a:lnTo>
                  <a:lnTo>
                    <a:pt x="438" y="450"/>
                  </a:lnTo>
                  <a:lnTo>
                    <a:pt x="432" y="450"/>
                  </a:lnTo>
                  <a:lnTo>
                    <a:pt x="420" y="450"/>
                  </a:lnTo>
                  <a:lnTo>
                    <a:pt x="420" y="456"/>
                  </a:lnTo>
                  <a:lnTo>
                    <a:pt x="414" y="456"/>
                  </a:lnTo>
                  <a:lnTo>
                    <a:pt x="408" y="468"/>
                  </a:lnTo>
                  <a:lnTo>
                    <a:pt x="402" y="468"/>
                  </a:lnTo>
                  <a:lnTo>
                    <a:pt x="396" y="474"/>
                  </a:lnTo>
                  <a:lnTo>
                    <a:pt x="390" y="492"/>
                  </a:lnTo>
                  <a:lnTo>
                    <a:pt x="384" y="504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54" y="510"/>
                  </a:lnTo>
                  <a:lnTo>
                    <a:pt x="360" y="480"/>
                  </a:lnTo>
                  <a:lnTo>
                    <a:pt x="360" y="474"/>
                  </a:lnTo>
                  <a:lnTo>
                    <a:pt x="378" y="456"/>
                  </a:lnTo>
                  <a:lnTo>
                    <a:pt x="384" y="450"/>
                  </a:lnTo>
                  <a:lnTo>
                    <a:pt x="396" y="444"/>
                  </a:lnTo>
                  <a:lnTo>
                    <a:pt x="402" y="438"/>
                  </a:lnTo>
                  <a:lnTo>
                    <a:pt x="408" y="438"/>
                  </a:lnTo>
                  <a:lnTo>
                    <a:pt x="408" y="426"/>
                  </a:lnTo>
                  <a:lnTo>
                    <a:pt x="414" y="420"/>
                  </a:lnTo>
                  <a:lnTo>
                    <a:pt x="426" y="420"/>
                  </a:lnTo>
                  <a:lnTo>
                    <a:pt x="426" y="408"/>
                  </a:lnTo>
                  <a:lnTo>
                    <a:pt x="420" y="390"/>
                  </a:lnTo>
                  <a:lnTo>
                    <a:pt x="408" y="384"/>
                  </a:lnTo>
                  <a:lnTo>
                    <a:pt x="378" y="378"/>
                  </a:lnTo>
                  <a:lnTo>
                    <a:pt x="354" y="366"/>
                  </a:lnTo>
                  <a:lnTo>
                    <a:pt x="342" y="360"/>
                  </a:lnTo>
                  <a:lnTo>
                    <a:pt x="342" y="348"/>
                  </a:lnTo>
                  <a:lnTo>
                    <a:pt x="336" y="330"/>
                  </a:lnTo>
                  <a:lnTo>
                    <a:pt x="348" y="306"/>
                  </a:lnTo>
                  <a:lnTo>
                    <a:pt x="360" y="294"/>
                  </a:lnTo>
                  <a:lnTo>
                    <a:pt x="360" y="282"/>
                  </a:lnTo>
                  <a:lnTo>
                    <a:pt x="342" y="270"/>
                  </a:lnTo>
                  <a:lnTo>
                    <a:pt x="342" y="264"/>
                  </a:lnTo>
                  <a:lnTo>
                    <a:pt x="330" y="264"/>
                  </a:lnTo>
                  <a:lnTo>
                    <a:pt x="312" y="270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88" y="270"/>
                  </a:lnTo>
                  <a:lnTo>
                    <a:pt x="282" y="270"/>
                  </a:lnTo>
                  <a:lnTo>
                    <a:pt x="276" y="264"/>
                  </a:lnTo>
                  <a:lnTo>
                    <a:pt x="270" y="264"/>
                  </a:lnTo>
                  <a:lnTo>
                    <a:pt x="252" y="270"/>
                  </a:lnTo>
                  <a:lnTo>
                    <a:pt x="246" y="270"/>
                  </a:lnTo>
                  <a:lnTo>
                    <a:pt x="240" y="270"/>
                  </a:lnTo>
                  <a:lnTo>
                    <a:pt x="228" y="270"/>
                  </a:lnTo>
                  <a:lnTo>
                    <a:pt x="216" y="276"/>
                  </a:lnTo>
                  <a:lnTo>
                    <a:pt x="210" y="270"/>
                  </a:lnTo>
                  <a:lnTo>
                    <a:pt x="204" y="270"/>
                  </a:lnTo>
                  <a:lnTo>
                    <a:pt x="198" y="276"/>
                  </a:lnTo>
                  <a:lnTo>
                    <a:pt x="192" y="276"/>
                  </a:lnTo>
                  <a:lnTo>
                    <a:pt x="186" y="282"/>
                  </a:lnTo>
                  <a:lnTo>
                    <a:pt x="180" y="288"/>
                  </a:lnTo>
                  <a:lnTo>
                    <a:pt x="174" y="300"/>
                  </a:lnTo>
                  <a:lnTo>
                    <a:pt x="168" y="306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8" y="330"/>
                  </a:lnTo>
                  <a:lnTo>
                    <a:pt x="162" y="336"/>
                  </a:lnTo>
                  <a:lnTo>
                    <a:pt x="156" y="342"/>
                  </a:lnTo>
                  <a:lnTo>
                    <a:pt x="156" y="348"/>
                  </a:lnTo>
                  <a:lnTo>
                    <a:pt x="156" y="354"/>
                  </a:lnTo>
                  <a:lnTo>
                    <a:pt x="150" y="366"/>
                  </a:lnTo>
                  <a:lnTo>
                    <a:pt x="150" y="372"/>
                  </a:lnTo>
                  <a:lnTo>
                    <a:pt x="144" y="366"/>
                  </a:lnTo>
                  <a:lnTo>
                    <a:pt x="132" y="366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20" y="348"/>
                  </a:lnTo>
                  <a:lnTo>
                    <a:pt x="102" y="330"/>
                  </a:lnTo>
                  <a:lnTo>
                    <a:pt x="96" y="318"/>
                  </a:lnTo>
                  <a:lnTo>
                    <a:pt x="96" y="282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0" y="258"/>
                  </a:lnTo>
                  <a:lnTo>
                    <a:pt x="84" y="252"/>
                  </a:lnTo>
                  <a:lnTo>
                    <a:pt x="66" y="258"/>
                  </a:lnTo>
                  <a:lnTo>
                    <a:pt x="60" y="246"/>
                  </a:lnTo>
                  <a:lnTo>
                    <a:pt x="30" y="252"/>
                  </a:lnTo>
                  <a:lnTo>
                    <a:pt x="18" y="246"/>
                  </a:lnTo>
                  <a:lnTo>
                    <a:pt x="0" y="240"/>
                  </a:lnTo>
                  <a:lnTo>
                    <a:pt x="0" y="234"/>
                  </a:lnTo>
                  <a:lnTo>
                    <a:pt x="0" y="210"/>
                  </a:lnTo>
                  <a:lnTo>
                    <a:pt x="6" y="204"/>
                  </a:lnTo>
                  <a:lnTo>
                    <a:pt x="18" y="192"/>
                  </a:lnTo>
                  <a:lnTo>
                    <a:pt x="18" y="144"/>
                  </a:lnTo>
                  <a:lnTo>
                    <a:pt x="24" y="126"/>
                  </a:lnTo>
                  <a:lnTo>
                    <a:pt x="36" y="126"/>
                  </a:lnTo>
                  <a:lnTo>
                    <a:pt x="54" y="120"/>
                  </a:lnTo>
                  <a:lnTo>
                    <a:pt x="54" y="126"/>
                  </a:lnTo>
                  <a:lnTo>
                    <a:pt x="132" y="114"/>
                  </a:lnTo>
                  <a:lnTo>
                    <a:pt x="144" y="120"/>
                  </a:lnTo>
                  <a:lnTo>
                    <a:pt x="150" y="132"/>
                  </a:lnTo>
                  <a:lnTo>
                    <a:pt x="180" y="126"/>
                  </a:lnTo>
                  <a:lnTo>
                    <a:pt x="210" y="120"/>
                  </a:lnTo>
                  <a:lnTo>
                    <a:pt x="240" y="120"/>
                  </a:lnTo>
                  <a:lnTo>
                    <a:pt x="258" y="120"/>
                  </a:lnTo>
                  <a:lnTo>
                    <a:pt x="270" y="126"/>
                  </a:lnTo>
                  <a:lnTo>
                    <a:pt x="276" y="132"/>
                  </a:lnTo>
                  <a:lnTo>
                    <a:pt x="282" y="138"/>
                  </a:lnTo>
                  <a:lnTo>
                    <a:pt x="282" y="156"/>
                  </a:lnTo>
                  <a:lnTo>
                    <a:pt x="288" y="186"/>
                  </a:lnTo>
                  <a:lnTo>
                    <a:pt x="312" y="192"/>
                  </a:lnTo>
                  <a:lnTo>
                    <a:pt x="318" y="198"/>
                  </a:lnTo>
                  <a:lnTo>
                    <a:pt x="324" y="204"/>
                  </a:lnTo>
                  <a:lnTo>
                    <a:pt x="330" y="210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66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86" y="210"/>
                  </a:lnTo>
                  <a:lnTo>
                    <a:pt x="498" y="198"/>
                  </a:lnTo>
                  <a:lnTo>
                    <a:pt x="504" y="174"/>
                  </a:lnTo>
                  <a:lnTo>
                    <a:pt x="516" y="162"/>
                  </a:lnTo>
                  <a:lnTo>
                    <a:pt x="516" y="138"/>
                  </a:lnTo>
                  <a:lnTo>
                    <a:pt x="522" y="132"/>
                  </a:lnTo>
                  <a:lnTo>
                    <a:pt x="564" y="132"/>
                  </a:lnTo>
                  <a:lnTo>
                    <a:pt x="564" y="114"/>
                  </a:lnTo>
                  <a:lnTo>
                    <a:pt x="582" y="114"/>
                  </a:lnTo>
                  <a:lnTo>
                    <a:pt x="594" y="114"/>
                  </a:lnTo>
                  <a:lnTo>
                    <a:pt x="606" y="114"/>
                  </a:lnTo>
                  <a:lnTo>
                    <a:pt x="612" y="114"/>
                  </a:lnTo>
                  <a:lnTo>
                    <a:pt x="630" y="114"/>
                  </a:lnTo>
                  <a:lnTo>
                    <a:pt x="636" y="114"/>
                  </a:lnTo>
                  <a:lnTo>
                    <a:pt x="648" y="114"/>
                  </a:lnTo>
                  <a:lnTo>
                    <a:pt x="654" y="114"/>
                  </a:lnTo>
                  <a:lnTo>
                    <a:pt x="660" y="120"/>
                  </a:lnTo>
                  <a:lnTo>
                    <a:pt x="672" y="120"/>
                  </a:lnTo>
                  <a:lnTo>
                    <a:pt x="684" y="120"/>
                  </a:lnTo>
                  <a:lnTo>
                    <a:pt x="690" y="120"/>
                  </a:lnTo>
                  <a:lnTo>
                    <a:pt x="702" y="120"/>
                  </a:lnTo>
                  <a:lnTo>
                    <a:pt x="708" y="120"/>
                  </a:lnTo>
                  <a:lnTo>
                    <a:pt x="726" y="126"/>
                  </a:lnTo>
                  <a:lnTo>
                    <a:pt x="732" y="126"/>
                  </a:lnTo>
                  <a:lnTo>
                    <a:pt x="738" y="126"/>
                  </a:lnTo>
                  <a:lnTo>
                    <a:pt x="750" y="126"/>
                  </a:lnTo>
                  <a:lnTo>
                    <a:pt x="756" y="126"/>
                  </a:lnTo>
                  <a:lnTo>
                    <a:pt x="768" y="126"/>
                  </a:lnTo>
                  <a:lnTo>
                    <a:pt x="780" y="126"/>
                  </a:lnTo>
                  <a:lnTo>
                    <a:pt x="786" y="120"/>
                  </a:lnTo>
                  <a:lnTo>
                    <a:pt x="792" y="120"/>
                  </a:lnTo>
                  <a:lnTo>
                    <a:pt x="810" y="120"/>
                  </a:lnTo>
                  <a:lnTo>
                    <a:pt x="822" y="120"/>
                  </a:lnTo>
                  <a:lnTo>
                    <a:pt x="846" y="126"/>
                  </a:lnTo>
                  <a:lnTo>
                    <a:pt x="858" y="126"/>
                  </a:lnTo>
                  <a:lnTo>
                    <a:pt x="870" y="132"/>
                  </a:lnTo>
                  <a:lnTo>
                    <a:pt x="882" y="132"/>
                  </a:lnTo>
                  <a:lnTo>
                    <a:pt x="894" y="132"/>
                  </a:lnTo>
                  <a:lnTo>
                    <a:pt x="900" y="132"/>
                  </a:lnTo>
                  <a:lnTo>
                    <a:pt x="912" y="132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36" y="132"/>
                  </a:lnTo>
                  <a:lnTo>
                    <a:pt x="960" y="132"/>
                  </a:lnTo>
                  <a:lnTo>
                    <a:pt x="966" y="144"/>
                  </a:lnTo>
                  <a:lnTo>
                    <a:pt x="972" y="144"/>
                  </a:lnTo>
                  <a:lnTo>
                    <a:pt x="1002" y="144"/>
                  </a:lnTo>
                  <a:lnTo>
                    <a:pt x="1020" y="144"/>
                  </a:lnTo>
                  <a:lnTo>
                    <a:pt x="1068" y="138"/>
                  </a:lnTo>
                  <a:lnTo>
                    <a:pt x="1110" y="132"/>
                  </a:lnTo>
                  <a:lnTo>
                    <a:pt x="1110" y="126"/>
                  </a:lnTo>
                  <a:lnTo>
                    <a:pt x="1116" y="120"/>
                  </a:lnTo>
                  <a:lnTo>
                    <a:pt x="1122" y="108"/>
                  </a:lnTo>
                  <a:lnTo>
                    <a:pt x="1134" y="96"/>
                  </a:lnTo>
                  <a:lnTo>
                    <a:pt x="1146" y="60"/>
                  </a:lnTo>
                  <a:lnTo>
                    <a:pt x="1158" y="54"/>
                  </a:lnTo>
                  <a:lnTo>
                    <a:pt x="1170" y="48"/>
                  </a:lnTo>
                  <a:lnTo>
                    <a:pt x="1188" y="42"/>
                  </a:lnTo>
                  <a:lnTo>
                    <a:pt x="1200" y="36"/>
                  </a:lnTo>
                  <a:lnTo>
                    <a:pt x="1212" y="36"/>
                  </a:lnTo>
                  <a:lnTo>
                    <a:pt x="1236" y="30"/>
                  </a:lnTo>
                  <a:lnTo>
                    <a:pt x="1236" y="24"/>
                  </a:lnTo>
                  <a:lnTo>
                    <a:pt x="1278" y="18"/>
                  </a:lnTo>
                  <a:lnTo>
                    <a:pt x="1290" y="18"/>
                  </a:lnTo>
                  <a:lnTo>
                    <a:pt x="1302" y="12"/>
                  </a:lnTo>
                  <a:lnTo>
                    <a:pt x="1314" y="0"/>
                  </a:lnTo>
                  <a:lnTo>
                    <a:pt x="1332" y="0"/>
                  </a:lnTo>
                  <a:lnTo>
                    <a:pt x="1338" y="24"/>
                  </a:lnTo>
                  <a:lnTo>
                    <a:pt x="1344" y="30"/>
                  </a:lnTo>
                  <a:lnTo>
                    <a:pt x="1350" y="42"/>
                  </a:lnTo>
                  <a:lnTo>
                    <a:pt x="1356" y="48"/>
                  </a:lnTo>
                  <a:lnTo>
                    <a:pt x="1356" y="78"/>
                  </a:lnTo>
                  <a:lnTo>
                    <a:pt x="1350" y="96"/>
                  </a:lnTo>
                  <a:lnTo>
                    <a:pt x="1338" y="108"/>
                  </a:lnTo>
                  <a:lnTo>
                    <a:pt x="1338" y="114"/>
                  </a:lnTo>
                  <a:lnTo>
                    <a:pt x="1338" y="120"/>
                  </a:lnTo>
                  <a:lnTo>
                    <a:pt x="1338" y="126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398" y="114"/>
                  </a:lnTo>
                  <a:lnTo>
                    <a:pt x="1416" y="120"/>
                  </a:lnTo>
                  <a:lnTo>
                    <a:pt x="1434" y="126"/>
                  </a:lnTo>
                  <a:lnTo>
                    <a:pt x="1458" y="132"/>
                  </a:lnTo>
                  <a:lnTo>
                    <a:pt x="1458" y="138"/>
                  </a:lnTo>
                  <a:lnTo>
                    <a:pt x="1512" y="138"/>
                  </a:lnTo>
                  <a:lnTo>
                    <a:pt x="1512" y="132"/>
                  </a:lnTo>
                  <a:lnTo>
                    <a:pt x="1524" y="138"/>
                  </a:lnTo>
                  <a:lnTo>
                    <a:pt x="1542" y="138"/>
                  </a:lnTo>
                  <a:lnTo>
                    <a:pt x="1542" y="150"/>
                  </a:lnTo>
                  <a:lnTo>
                    <a:pt x="1542" y="162"/>
                  </a:lnTo>
                  <a:lnTo>
                    <a:pt x="1548" y="174"/>
                  </a:lnTo>
                  <a:lnTo>
                    <a:pt x="1548" y="180"/>
                  </a:lnTo>
                  <a:lnTo>
                    <a:pt x="1554" y="222"/>
                  </a:lnTo>
                  <a:lnTo>
                    <a:pt x="1554" y="258"/>
                  </a:lnTo>
                  <a:lnTo>
                    <a:pt x="1554" y="276"/>
                  </a:lnTo>
                  <a:lnTo>
                    <a:pt x="1554" y="282"/>
                  </a:lnTo>
                  <a:lnTo>
                    <a:pt x="1554" y="294"/>
                  </a:lnTo>
                  <a:lnTo>
                    <a:pt x="1554" y="306"/>
                  </a:lnTo>
                  <a:lnTo>
                    <a:pt x="1554" y="324"/>
                  </a:lnTo>
                  <a:lnTo>
                    <a:pt x="1554" y="330"/>
                  </a:lnTo>
                  <a:lnTo>
                    <a:pt x="1548" y="330"/>
                  </a:lnTo>
                  <a:lnTo>
                    <a:pt x="1548" y="336"/>
                  </a:lnTo>
                  <a:lnTo>
                    <a:pt x="1548" y="342"/>
                  </a:lnTo>
                  <a:lnTo>
                    <a:pt x="1542" y="336"/>
                  </a:lnTo>
                  <a:lnTo>
                    <a:pt x="1542" y="330"/>
                  </a:lnTo>
                  <a:lnTo>
                    <a:pt x="1536" y="330"/>
                  </a:lnTo>
                  <a:lnTo>
                    <a:pt x="1530" y="330"/>
                  </a:lnTo>
                  <a:lnTo>
                    <a:pt x="1530" y="336"/>
                  </a:lnTo>
                  <a:lnTo>
                    <a:pt x="1536" y="342"/>
                  </a:lnTo>
                  <a:lnTo>
                    <a:pt x="1530" y="342"/>
                  </a:lnTo>
                  <a:lnTo>
                    <a:pt x="1518" y="348"/>
                  </a:lnTo>
                  <a:lnTo>
                    <a:pt x="1512" y="354"/>
                  </a:lnTo>
                  <a:lnTo>
                    <a:pt x="1506" y="354"/>
                  </a:lnTo>
                  <a:lnTo>
                    <a:pt x="1500" y="354"/>
                  </a:lnTo>
                  <a:lnTo>
                    <a:pt x="1494" y="354"/>
                  </a:lnTo>
                  <a:lnTo>
                    <a:pt x="1494" y="360"/>
                  </a:lnTo>
                  <a:lnTo>
                    <a:pt x="1488" y="360"/>
                  </a:lnTo>
                  <a:lnTo>
                    <a:pt x="1488" y="366"/>
                  </a:lnTo>
                  <a:lnTo>
                    <a:pt x="1488" y="372"/>
                  </a:lnTo>
                  <a:lnTo>
                    <a:pt x="1482" y="372"/>
                  </a:lnTo>
                  <a:lnTo>
                    <a:pt x="1476" y="372"/>
                  </a:lnTo>
                  <a:lnTo>
                    <a:pt x="1470" y="372"/>
                  </a:lnTo>
                  <a:lnTo>
                    <a:pt x="1470" y="378"/>
                  </a:lnTo>
                  <a:lnTo>
                    <a:pt x="1470" y="384"/>
                  </a:lnTo>
                  <a:lnTo>
                    <a:pt x="1470" y="390"/>
                  </a:lnTo>
                  <a:lnTo>
                    <a:pt x="1464" y="402"/>
                  </a:lnTo>
                  <a:lnTo>
                    <a:pt x="1446" y="402"/>
                  </a:lnTo>
                  <a:lnTo>
                    <a:pt x="1440" y="372"/>
                  </a:lnTo>
                  <a:lnTo>
                    <a:pt x="1410" y="372"/>
                  </a:lnTo>
                  <a:lnTo>
                    <a:pt x="1380" y="372"/>
                  </a:lnTo>
                  <a:lnTo>
                    <a:pt x="1374" y="372"/>
                  </a:lnTo>
                  <a:lnTo>
                    <a:pt x="1368" y="378"/>
                  </a:lnTo>
                  <a:lnTo>
                    <a:pt x="1362" y="378"/>
                  </a:lnTo>
                  <a:lnTo>
                    <a:pt x="1356" y="378"/>
                  </a:lnTo>
                  <a:lnTo>
                    <a:pt x="1350" y="384"/>
                  </a:lnTo>
                  <a:lnTo>
                    <a:pt x="1350" y="390"/>
                  </a:lnTo>
                  <a:lnTo>
                    <a:pt x="1344" y="390"/>
                  </a:lnTo>
                  <a:lnTo>
                    <a:pt x="1338" y="390"/>
                  </a:lnTo>
                  <a:lnTo>
                    <a:pt x="1332" y="390"/>
                  </a:lnTo>
                  <a:lnTo>
                    <a:pt x="1332" y="396"/>
                  </a:lnTo>
                  <a:lnTo>
                    <a:pt x="1332" y="390"/>
                  </a:lnTo>
                  <a:lnTo>
                    <a:pt x="1326" y="402"/>
                  </a:lnTo>
                  <a:lnTo>
                    <a:pt x="1320" y="402"/>
                  </a:lnTo>
                  <a:lnTo>
                    <a:pt x="1302" y="474"/>
                  </a:lnTo>
                  <a:lnTo>
                    <a:pt x="1308" y="480"/>
                  </a:lnTo>
                  <a:lnTo>
                    <a:pt x="1314" y="480"/>
                  </a:lnTo>
                  <a:lnTo>
                    <a:pt x="1308" y="498"/>
                  </a:lnTo>
                  <a:lnTo>
                    <a:pt x="1308" y="504"/>
                  </a:lnTo>
                  <a:lnTo>
                    <a:pt x="1314" y="510"/>
                  </a:lnTo>
                  <a:lnTo>
                    <a:pt x="1308" y="510"/>
                  </a:lnTo>
                  <a:lnTo>
                    <a:pt x="1308" y="516"/>
                  </a:lnTo>
                  <a:lnTo>
                    <a:pt x="1302" y="516"/>
                  </a:lnTo>
                  <a:lnTo>
                    <a:pt x="1296" y="510"/>
                  </a:lnTo>
                  <a:lnTo>
                    <a:pt x="1296" y="516"/>
                  </a:lnTo>
                  <a:lnTo>
                    <a:pt x="1290" y="540"/>
                  </a:lnTo>
                  <a:lnTo>
                    <a:pt x="1290" y="552"/>
                  </a:lnTo>
                  <a:lnTo>
                    <a:pt x="1284" y="558"/>
                  </a:lnTo>
                  <a:lnTo>
                    <a:pt x="1290" y="576"/>
                  </a:lnTo>
                  <a:lnTo>
                    <a:pt x="1290" y="600"/>
                  </a:lnTo>
                  <a:lnTo>
                    <a:pt x="1284" y="618"/>
                  </a:lnTo>
                  <a:lnTo>
                    <a:pt x="1290" y="624"/>
                  </a:lnTo>
                  <a:lnTo>
                    <a:pt x="1284" y="630"/>
                  </a:lnTo>
                  <a:lnTo>
                    <a:pt x="1278" y="630"/>
                  </a:lnTo>
                  <a:lnTo>
                    <a:pt x="1272" y="630"/>
                  </a:lnTo>
                  <a:lnTo>
                    <a:pt x="1266" y="636"/>
                  </a:lnTo>
                  <a:lnTo>
                    <a:pt x="1260" y="642"/>
                  </a:lnTo>
                  <a:lnTo>
                    <a:pt x="1260" y="636"/>
                  </a:lnTo>
                  <a:lnTo>
                    <a:pt x="1254" y="636"/>
                  </a:lnTo>
                  <a:lnTo>
                    <a:pt x="1248" y="636"/>
                  </a:lnTo>
                  <a:lnTo>
                    <a:pt x="1248" y="642"/>
                  </a:lnTo>
                  <a:lnTo>
                    <a:pt x="1242" y="642"/>
                  </a:lnTo>
                  <a:lnTo>
                    <a:pt x="1242" y="648"/>
                  </a:lnTo>
                  <a:lnTo>
                    <a:pt x="1236" y="654"/>
                  </a:lnTo>
                  <a:lnTo>
                    <a:pt x="1230" y="654"/>
                  </a:lnTo>
                  <a:lnTo>
                    <a:pt x="1224" y="654"/>
                  </a:lnTo>
                  <a:lnTo>
                    <a:pt x="1218" y="660"/>
                  </a:lnTo>
                  <a:lnTo>
                    <a:pt x="1212" y="660"/>
                  </a:lnTo>
                  <a:lnTo>
                    <a:pt x="1206" y="660"/>
                  </a:lnTo>
                  <a:lnTo>
                    <a:pt x="1200" y="660"/>
                  </a:lnTo>
                  <a:lnTo>
                    <a:pt x="1200" y="666"/>
                  </a:lnTo>
                  <a:lnTo>
                    <a:pt x="1194" y="666"/>
                  </a:lnTo>
                  <a:lnTo>
                    <a:pt x="1188" y="666"/>
                  </a:lnTo>
                  <a:lnTo>
                    <a:pt x="1182" y="672"/>
                  </a:lnTo>
                  <a:lnTo>
                    <a:pt x="1176" y="672"/>
                  </a:lnTo>
                  <a:lnTo>
                    <a:pt x="1170" y="672"/>
                  </a:lnTo>
                  <a:lnTo>
                    <a:pt x="1164" y="678"/>
                  </a:lnTo>
                  <a:lnTo>
                    <a:pt x="1170" y="678"/>
                  </a:lnTo>
                  <a:lnTo>
                    <a:pt x="1164" y="684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52" y="684"/>
                  </a:lnTo>
                  <a:lnTo>
                    <a:pt x="1152" y="690"/>
                  </a:lnTo>
                  <a:lnTo>
                    <a:pt x="1146" y="690"/>
                  </a:lnTo>
                  <a:lnTo>
                    <a:pt x="1140" y="690"/>
                  </a:lnTo>
                  <a:lnTo>
                    <a:pt x="1134" y="696"/>
                  </a:lnTo>
                  <a:lnTo>
                    <a:pt x="1128" y="696"/>
                  </a:lnTo>
                  <a:lnTo>
                    <a:pt x="1122" y="702"/>
                  </a:lnTo>
                  <a:lnTo>
                    <a:pt x="1116" y="702"/>
                  </a:lnTo>
                  <a:lnTo>
                    <a:pt x="1110" y="708"/>
                  </a:lnTo>
                  <a:lnTo>
                    <a:pt x="1104" y="708"/>
                  </a:lnTo>
                  <a:lnTo>
                    <a:pt x="1098" y="708"/>
                  </a:lnTo>
                  <a:lnTo>
                    <a:pt x="1092" y="708"/>
                  </a:lnTo>
                  <a:lnTo>
                    <a:pt x="1092" y="714"/>
                  </a:lnTo>
                  <a:lnTo>
                    <a:pt x="1086" y="720"/>
                  </a:lnTo>
                  <a:lnTo>
                    <a:pt x="1080" y="720"/>
                  </a:lnTo>
                  <a:lnTo>
                    <a:pt x="1074" y="720"/>
                  </a:lnTo>
                  <a:lnTo>
                    <a:pt x="1068" y="720"/>
                  </a:lnTo>
                  <a:lnTo>
                    <a:pt x="1062" y="720"/>
                  </a:lnTo>
                  <a:lnTo>
                    <a:pt x="1050" y="726"/>
                  </a:lnTo>
                  <a:lnTo>
                    <a:pt x="1044" y="726"/>
                  </a:lnTo>
                  <a:lnTo>
                    <a:pt x="1038" y="732"/>
                  </a:lnTo>
                  <a:lnTo>
                    <a:pt x="1026" y="732"/>
                  </a:lnTo>
                  <a:lnTo>
                    <a:pt x="1020" y="732"/>
                  </a:lnTo>
                  <a:lnTo>
                    <a:pt x="1014" y="738"/>
                  </a:lnTo>
                  <a:lnTo>
                    <a:pt x="1008" y="738"/>
                  </a:lnTo>
                  <a:lnTo>
                    <a:pt x="1002" y="738"/>
                  </a:lnTo>
                  <a:lnTo>
                    <a:pt x="996" y="738"/>
                  </a:lnTo>
                  <a:lnTo>
                    <a:pt x="990" y="738"/>
                  </a:lnTo>
                  <a:lnTo>
                    <a:pt x="990" y="732"/>
                  </a:lnTo>
                  <a:lnTo>
                    <a:pt x="984" y="732"/>
                  </a:lnTo>
                  <a:lnTo>
                    <a:pt x="978" y="738"/>
                  </a:lnTo>
                  <a:lnTo>
                    <a:pt x="978" y="744"/>
                  </a:lnTo>
                  <a:lnTo>
                    <a:pt x="984" y="744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8" y="756"/>
                  </a:lnTo>
                  <a:lnTo>
                    <a:pt x="972" y="756"/>
                  </a:lnTo>
                  <a:lnTo>
                    <a:pt x="972" y="762"/>
                  </a:lnTo>
                  <a:lnTo>
                    <a:pt x="966" y="768"/>
                  </a:lnTo>
                  <a:lnTo>
                    <a:pt x="966" y="762"/>
                  </a:lnTo>
                  <a:lnTo>
                    <a:pt x="960" y="762"/>
                  </a:lnTo>
                  <a:lnTo>
                    <a:pt x="954" y="768"/>
                  </a:lnTo>
                  <a:lnTo>
                    <a:pt x="954" y="774"/>
                  </a:lnTo>
                  <a:lnTo>
                    <a:pt x="948" y="774"/>
                  </a:lnTo>
                  <a:lnTo>
                    <a:pt x="948" y="780"/>
                  </a:lnTo>
                  <a:lnTo>
                    <a:pt x="948" y="786"/>
                  </a:lnTo>
                  <a:lnTo>
                    <a:pt x="942" y="786"/>
                  </a:lnTo>
                  <a:lnTo>
                    <a:pt x="942" y="792"/>
                  </a:lnTo>
                  <a:lnTo>
                    <a:pt x="936" y="792"/>
                  </a:lnTo>
                  <a:lnTo>
                    <a:pt x="942" y="798"/>
                  </a:lnTo>
                  <a:lnTo>
                    <a:pt x="942" y="804"/>
                  </a:lnTo>
                  <a:lnTo>
                    <a:pt x="942" y="810"/>
                  </a:lnTo>
                  <a:lnTo>
                    <a:pt x="948" y="810"/>
                  </a:lnTo>
                  <a:lnTo>
                    <a:pt x="942" y="816"/>
                  </a:lnTo>
                  <a:lnTo>
                    <a:pt x="948" y="816"/>
                  </a:lnTo>
                  <a:lnTo>
                    <a:pt x="948" y="822"/>
                  </a:lnTo>
                  <a:lnTo>
                    <a:pt x="954" y="822"/>
                  </a:lnTo>
                  <a:lnTo>
                    <a:pt x="960" y="828"/>
                  </a:lnTo>
                  <a:lnTo>
                    <a:pt x="960" y="834"/>
                  </a:lnTo>
                  <a:lnTo>
                    <a:pt x="966" y="834"/>
                  </a:lnTo>
                  <a:lnTo>
                    <a:pt x="960" y="840"/>
                  </a:lnTo>
                  <a:lnTo>
                    <a:pt x="966" y="846"/>
                  </a:lnTo>
                  <a:lnTo>
                    <a:pt x="966" y="840"/>
                  </a:lnTo>
                  <a:lnTo>
                    <a:pt x="972" y="840"/>
                  </a:lnTo>
                  <a:lnTo>
                    <a:pt x="990" y="840"/>
                  </a:lnTo>
                  <a:lnTo>
                    <a:pt x="1002" y="834"/>
                  </a:lnTo>
                  <a:lnTo>
                    <a:pt x="1020" y="828"/>
                  </a:lnTo>
                  <a:lnTo>
                    <a:pt x="1032" y="828"/>
                  </a:lnTo>
                  <a:lnTo>
                    <a:pt x="1050" y="828"/>
                  </a:lnTo>
                  <a:lnTo>
                    <a:pt x="1062" y="846"/>
                  </a:lnTo>
                  <a:lnTo>
                    <a:pt x="1074" y="876"/>
                  </a:lnTo>
                  <a:lnTo>
                    <a:pt x="1068" y="900"/>
                  </a:lnTo>
                  <a:lnTo>
                    <a:pt x="1074" y="912"/>
                  </a:lnTo>
                  <a:lnTo>
                    <a:pt x="1074" y="936"/>
                  </a:lnTo>
                  <a:lnTo>
                    <a:pt x="1068" y="942"/>
                  </a:lnTo>
                  <a:lnTo>
                    <a:pt x="1062" y="954"/>
                  </a:lnTo>
                  <a:lnTo>
                    <a:pt x="1056" y="978"/>
                  </a:lnTo>
                  <a:lnTo>
                    <a:pt x="1056" y="996"/>
                  </a:lnTo>
                  <a:lnTo>
                    <a:pt x="1068" y="990"/>
                  </a:lnTo>
                  <a:lnTo>
                    <a:pt x="1074" y="990"/>
                  </a:lnTo>
                  <a:lnTo>
                    <a:pt x="1074" y="1008"/>
                  </a:lnTo>
                  <a:lnTo>
                    <a:pt x="1080" y="1008"/>
                  </a:lnTo>
                  <a:lnTo>
                    <a:pt x="1092" y="1014"/>
                  </a:lnTo>
                  <a:lnTo>
                    <a:pt x="1110" y="1044"/>
                  </a:lnTo>
                  <a:lnTo>
                    <a:pt x="1110" y="1062"/>
                  </a:lnTo>
                  <a:lnTo>
                    <a:pt x="1128" y="1068"/>
                  </a:lnTo>
                  <a:lnTo>
                    <a:pt x="1128" y="1092"/>
                  </a:lnTo>
                  <a:lnTo>
                    <a:pt x="1134" y="1098"/>
                  </a:lnTo>
                  <a:lnTo>
                    <a:pt x="1158" y="1122"/>
                  </a:lnTo>
                  <a:lnTo>
                    <a:pt x="1188" y="1122"/>
                  </a:lnTo>
                  <a:lnTo>
                    <a:pt x="1188" y="1128"/>
                  </a:lnTo>
                  <a:lnTo>
                    <a:pt x="1200" y="1134"/>
                  </a:lnTo>
                  <a:lnTo>
                    <a:pt x="1206" y="1134"/>
                  </a:lnTo>
                  <a:lnTo>
                    <a:pt x="1206" y="1128"/>
                  </a:lnTo>
                  <a:lnTo>
                    <a:pt x="1212" y="1128"/>
                  </a:lnTo>
                  <a:lnTo>
                    <a:pt x="1218" y="1128"/>
                  </a:lnTo>
                  <a:lnTo>
                    <a:pt x="1224" y="1122"/>
                  </a:lnTo>
                  <a:lnTo>
                    <a:pt x="1224" y="1128"/>
                  </a:lnTo>
                  <a:lnTo>
                    <a:pt x="1230" y="1128"/>
                  </a:lnTo>
                  <a:lnTo>
                    <a:pt x="1236" y="1128"/>
                  </a:lnTo>
                  <a:lnTo>
                    <a:pt x="1236" y="1122"/>
                  </a:lnTo>
                  <a:lnTo>
                    <a:pt x="1242" y="1122"/>
                  </a:lnTo>
                  <a:lnTo>
                    <a:pt x="1248" y="1128"/>
                  </a:lnTo>
                  <a:lnTo>
                    <a:pt x="1254" y="1128"/>
                  </a:lnTo>
                  <a:lnTo>
                    <a:pt x="1260" y="1134"/>
                  </a:lnTo>
                  <a:lnTo>
                    <a:pt x="1260" y="1140"/>
                  </a:lnTo>
                  <a:lnTo>
                    <a:pt x="1266" y="1140"/>
                  </a:lnTo>
                  <a:lnTo>
                    <a:pt x="1272" y="1140"/>
                  </a:lnTo>
                  <a:lnTo>
                    <a:pt x="1278" y="1140"/>
                  </a:lnTo>
                  <a:lnTo>
                    <a:pt x="1284" y="1140"/>
                  </a:lnTo>
                  <a:lnTo>
                    <a:pt x="1290" y="1146"/>
                  </a:lnTo>
                  <a:lnTo>
                    <a:pt x="1290" y="1152"/>
                  </a:lnTo>
                  <a:lnTo>
                    <a:pt x="1296" y="1146"/>
                  </a:lnTo>
                  <a:lnTo>
                    <a:pt x="1296" y="1152"/>
                  </a:lnTo>
                  <a:lnTo>
                    <a:pt x="1308" y="1152"/>
                  </a:lnTo>
                  <a:lnTo>
                    <a:pt x="1314" y="1152"/>
                  </a:lnTo>
                  <a:lnTo>
                    <a:pt x="1320" y="1152"/>
                  </a:lnTo>
                  <a:lnTo>
                    <a:pt x="1332" y="1152"/>
                  </a:lnTo>
                  <a:lnTo>
                    <a:pt x="1338" y="1152"/>
                  </a:lnTo>
                  <a:lnTo>
                    <a:pt x="1344" y="1152"/>
                  </a:lnTo>
                  <a:lnTo>
                    <a:pt x="1344" y="1158"/>
                  </a:lnTo>
                  <a:lnTo>
                    <a:pt x="1350" y="1158"/>
                  </a:lnTo>
                  <a:lnTo>
                    <a:pt x="1356" y="1158"/>
                  </a:lnTo>
                  <a:lnTo>
                    <a:pt x="1362" y="1158"/>
                  </a:lnTo>
                  <a:lnTo>
                    <a:pt x="1368" y="1158"/>
                  </a:lnTo>
                  <a:lnTo>
                    <a:pt x="1374" y="1164"/>
                  </a:lnTo>
                  <a:lnTo>
                    <a:pt x="1380" y="1164"/>
                  </a:lnTo>
                  <a:lnTo>
                    <a:pt x="1386" y="1170"/>
                  </a:lnTo>
                  <a:lnTo>
                    <a:pt x="1392" y="1170"/>
                  </a:lnTo>
                  <a:lnTo>
                    <a:pt x="1398" y="1164"/>
                  </a:lnTo>
                  <a:lnTo>
                    <a:pt x="1404" y="1164"/>
                  </a:lnTo>
                  <a:lnTo>
                    <a:pt x="1410" y="1164"/>
                  </a:lnTo>
                  <a:lnTo>
                    <a:pt x="1416" y="1164"/>
                  </a:lnTo>
                  <a:lnTo>
                    <a:pt x="1416" y="1170"/>
                  </a:lnTo>
                  <a:lnTo>
                    <a:pt x="1422" y="1176"/>
                  </a:lnTo>
                  <a:lnTo>
                    <a:pt x="1416" y="1176"/>
                  </a:lnTo>
                  <a:lnTo>
                    <a:pt x="1416" y="1182"/>
                  </a:lnTo>
                  <a:lnTo>
                    <a:pt x="1410" y="1188"/>
                  </a:lnTo>
                  <a:lnTo>
                    <a:pt x="1404" y="1194"/>
                  </a:lnTo>
                  <a:lnTo>
                    <a:pt x="1404" y="1200"/>
                  </a:lnTo>
                  <a:lnTo>
                    <a:pt x="1404" y="1206"/>
                  </a:lnTo>
                  <a:lnTo>
                    <a:pt x="1398" y="1212"/>
                  </a:lnTo>
                  <a:lnTo>
                    <a:pt x="1398" y="1206"/>
                  </a:lnTo>
                  <a:lnTo>
                    <a:pt x="1392" y="1206"/>
                  </a:lnTo>
                  <a:lnTo>
                    <a:pt x="1386" y="1206"/>
                  </a:lnTo>
                  <a:lnTo>
                    <a:pt x="1380" y="1212"/>
                  </a:lnTo>
                  <a:lnTo>
                    <a:pt x="1374" y="1212"/>
                  </a:lnTo>
                  <a:lnTo>
                    <a:pt x="1368" y="1218"/>
                  </a:lnTo>
                  <a:lnTo>
                    <a:pt x="1362" y="1218"/>
                  </a:lnTo>
                  <a:lnTo>
                    <a:pt x="1362" y="1224"/>
                  </a:lnTo>
                  <a:lnTo>
                    <a:pt x="1356" y="1230"/>
                  </a:lnTo>
                  <a:lnTo>
                    <a:pt x="1350" y="1230"/>
                  </a:lnTo>
                  <a:lnTo>
                    <a:pt x="1344" y="1236"/>
                  </a:lnTo>
                  <a:lnTo>
                    <a:pt x="1338" y="1230"/>
                  </a:lnTo>
                  <a:lnTo>
                    <a:pt x="1332" y="1230"/>
                  </a:lnTo>
                  <a:lnTo>
                    <a:pt x="1326" y="1230"/>
                  </a:lnTo>
                  <a:lnTo>
                    <a:pt x="1320" y="1230"/>
                  </a:lnTo>
                  <a:lnTo>
                    <a:pt x="1314" y="1230"/>
                  </a:lnTo>
                  <a:lnTo>
                    <a:pt x="1296" y="1242"/>
                  </a:lnTo>
                  <a:lnTo>
                    <a:pt x="1296" y="1248"/>
                  </a:lnTo>
                  <a:lnTo>
                    <a:pt x="1290" y="1248"/>
                  </a:lnTo>
                  <a:lnTo>
                    <a:pt x="1290" y="1260"/>
                  </a:lnTo>
                  <a:lnTo>
                    <a:pt x="1278" y="1272"/>
                  </a:lnTo>
                  <a:lnTo>
                    <a:pt x="1278" y="1278"/>
                  </a:lnTo>
                  <a:lnTo>
                    <a:pt x="1278" y="1284"/>
                  </a:lnTo>
                  <a:lnTo>
                    <a:pt x="1278" y="1290"/>
                  </a:lnTo>
                  <a:lnTo>
                    <a:pt x="1284" y="1296"/>
                  </a:lnTo>
                  <a:lnTo>
                    <a:pt x="1302" y="1302"/>
                  </a:lnTo>
                  <a:lnTo>
                    <a:pt x="1308" y="1308"/>
                  </a:lnTo>
                  <a:lnTo>
                    <a:pt x="1308" y="1314"/>
                  </a:lnTo>
                  <a:lnTo>
                    <a:pt x="1302" y="1320"/>
                  </a:lnTo>
                  <a:lnTo>
                    <a:pt x="1278" y="1314"/>
                  </a:lnTo>
                  <a:lnTo>
                    <a:pt x="1266" y="1308"/>
                  </a:lnTo>
                  <a:lnTo>
                    <a:pt x="1260" y="1296"/>
                  </a:lnTo>
                  <a:lnTo>
                    <a:pt x="1236" y="1296"/>
                  </a:lnTo>
                  <a:lnTo>
                    <a:pt x="1224" y="1308"/>
                  </a:lnTo>
                  <a:lnTo>
                    <a:pt x="1218" y="1308"/>
                  </a:lnTo>
                  <a:lnTo>
                    <a:pt x="1218" y="1302"/>
                  </a:lnTo>
                  <a:lnTo>
                    <a:pt x="1212" y="1302"/>
                  </a:lnTo>
                  <a:lnTo>
                    <a:pt x="1206" y="1302"/>
                  </a:lnTo>
                  <a:lnTo>
                    <a:pt x="1170" y="1314"/>
                  </a:lnTo>
                  <a:lnTo>
                    <a:pt x="1134" y="1296"/>
                  </a:lnTo>
                  <a:lnTo>
                    <a:pt x="1122" y="1290"/>
                  </a:lnTo>
                  <a:lnTo>
                    <a:pt x="1104" y="1290"/>
                  </a:lnTo>
                  <a:lnTo>
                    <a:pt x="1098" y="1278"/>
                  </a:lnTo>
                  <a:lnTo>
                    <a:pt x="1092" y="1242"/>
                  </a:lnTo>
                  <a:lnTo>
                    <a:pt x="1086" y="1242"/>
                  </a:lnTo>
                  <a:lnTo>
                    <a:pt x="1086" y="1248"/>
                  </a:lnTo>
                  <a:lnTo>
                    <a:pt x="1086" y="1254"/>
                  </a:lnTo>
                  <a:lnTo>
                    <a:pt x="1080" y="1254"/>
                  </a:lnTo>
                  <a:lnTo>
                    <a:pt x="1080" y="1260"/>
                  </a:lnTo>
                  <a:lnTo>
                    <a:pt x="1074" y="1260"/>
                  </a:lnTo>
                  <a:lnTo>
                    <a:pt x="1068" y="1236"/>
                  </a:lnTo>
                  <a:lnTo>
                    <a:pt x="1068" y="1206"/>
                  </a:lnTo>
                  <a:lnTo>
                    <a:pt x="1080" y="1194"/>
                  </a:lnTo>
                  <a:lnTo>
                    <a:pt x="1086" y="1194"/>
                  </a:lnTo>
                  <a:lnTo>
                    <a:pt x="1092" y="1200"/>
                  </a:lnTo>
                  <a:lnTo>
                    <a:pt x="1098" y="1206"/>
                  </a:lnTo>
                  <a:lnTo>
                    <a:pt x="1104" y="1200"/>
                  </a:lnTo>
                  <a:lnTo>
                    <a:pt x="1104" y="1194"/>
                  </a:lnTo>
                  <a:lnTo>
                    <a:pt x="1110" y="1194"/>
                  </a:lnTo>
                  <a:lnTo>
                    <a:pt x="1110" y="1188"/>
                  </a:lnTo>
                  <a:lnTo>
                    <a:pt x="1116" y="1182"/>
                  </a:lnTo>
                  <a:lnTo>
                    <a:pt x="1110" y="1182"/>
                  </a:lnTo>
                  <a:lnTo>
                    <a:pt x="1110" y="1170"/>
                  </a:lnTo>
                  <a:lnTo>
                    <a:pt x="1110" y="1158"/>
                  </a:lnTo>
                  <a:lnTo>
                    <a:pt x="1110" y="1152"/>
                  </a:lnTo>
                  <a:lnTo>
                    <a:pt x="1104" y="1146"/>
                  </a:lnTo>
                  <a:lnTo>
                    <a:pt x="1098" y="1140"/>
                  </a:lnTo>
                  <a:lnTo>
                    <a:pt x="1098" y="1134"/>
                  </a:lnTo>
                  <a:lnTo>
                    <a:pt x="1098" y="1128"/>
                  </a:lnTo>
                  <a:lnTo>
                    <a:pt x="1092" y="1128"/>
                  </a:lnTo>
                  <a:lnTo>
                    <a:pt x="1092" y="1122"/>
                  </a:lnTo>
                  <a:lnTo>
                    <a:pt x="1092" y="1116"/>
                  </a:lnTo>
                  <a:lnTo>
                    <a:pt x="1092" y="1110"/>
                  </a:lnTo>
                  <a:lnTo>
                    <a:pt x="1056" y="1122"/>
                  </a:lnTo>
                  <a:lnTo>
                    <a:pt x="1038" y="1128"/>
                  </a:lnTo>
                  <a:lnTo>
                    <a:pt x="1032" y="1128"/>
                  </a:lnTo>
                  <a:lnTo>
                    <a:pt x="1026" y="1128"/>
                  </a:lnTo>
                  <a:lnTo>
                    <a:pt x="1020" y="1128"/>
                  </a:lnTo>
                  <a:lnTo>
                    <a:pt x="1014" y="1128"/>
                  </a:lnTo>
                  <a:lnTo>
                    <a:pt x="1014" y="1122"/>
                  </a:lnTo>
                  <a:lnTo>
                    <a:pt x="1008" y="1122"/>
                  </a:lnTo>
                  <a:lnTo>
                    <a:pt x="1002" y="1128"/>
                  </a:lnTo>
                  <a:lnTo>
                    <a:pt x="1002" y="1134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84" y="1140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66" y="1140"/>
                  </a:lnTo>
                  <a:lnTo>
                    <a:pt x="954" y="1140"/>
                  </a:lnTo>
                  <a:lnTo>
                    <a:pt x="954" y="1134"/>
                  </a:lnTo>
                  <a:lnTo>
                    <a:pt x="948" y="1134"/>
                  </a:lnTo>
                  <a:lnTo>
                    <a:pt x="942" y="1134"/>
                  </a:lnTo>
                  <a:lnTo>
                    <a:pt x="936" y="1134"/>
                  </a:lnTo>
                  <a:lnTo>
                    <a:pt x="930" y="1134"/>
                  </a:lnTo>
                  <a:lnTo>
                    <a:pt x="924" y="1134"/>
                  </a:lnTo>
                  <a:lnTo>
                    <a:pt x="918" y="1134"/>
                  </a:lnTo>
                  <a:lnTo>
                    <a:pt x="918" y="1128"/>
                  </a:lnTo>
                  <a:lnTo>
                    <a:pt x="918" y="1104"/>
                  </a:lnTo>
                  <a:lnTo>
                    <a:pt x="906" y="1104"/>
                  </a:lnTo>
                  <a:lnTo>
                    <a:pt x="900" y="1098"/>
                  </a:lnTo>
                  <a:lnTo>
                    <a:pt x="900" y="1092"/>
                  </a:lnTo>
                  <a:lnTo>
                    <a:pt x="900" y="1086"/>
                  </a:lnTo>
                  <a:lnTo>
                    <a:pt x="900" y="1080"/>
                  </a:lnTo>
                  <a:lnTo>
                    <a:pt x="894" y="1080"/>
                  </a:lnTo>
                  <a:lnTo>
                    <a:pt x="858" y="1074"/>
                  </a:lnTo>
                  <a:lnTo>
                    <a:pt x="852" y="1080"/>
                  </a:lnTo>
                  <a:lnTo>
                    <a:pt x="846" y="1086"/>
                  </a:lnTo>
                  <a:lnTo>
                    <a:pt x="840" y="1086"/>
                  </a:lnTo>
                  <a:lnTo>
                    <a:pt x="840" y="1092"/>
                  </a:lnTo>
                  <a:lnTo>
                    <a:pt x="834" y="1092"/>
                  </a:lnTo>
                  <a:lnTo>
                    <a:pt x="828" y="1098"/>
                  </a:lnTo>
                  <a:lnTo>
                    <a:pt x="822" y="1098"/>
                  </a:lnTo>
                  <a:lnTo>
                    <a:pt x="762" y="1074"/>
                  </a:lnTo>
                  <a:lnTo>
                    <a:pt x="756" y="1068"/>
                  </a:lnTo>
                  <a:lnTo>
                    <a:pt x="750" y="1068"/>
                  </a:lnTo>
                  <a:lnTo>
                    <a:pt x="744" y="1062"/>
                  </a:lnTo>
                  <a:lnTo>
                    <a:pt x="744" y="1068"/>
                  </a:lnTo>
                  <a:lnTo>
                    <a:pt x="744" y="1074"/>
                  </a:lnTo>
                  <a:lnTo>
                    <a:pt x="738" y="1074"/>
                  </a:lnTo>
                  <a:lnTo>
                    <a:pt x="738" y="1068"/>
                  </a:lnTo>
                  <a:lnTo>
                    <a:pt x="732" y="1068"/>
                  </a:lnTo>
                  <a:lnTo>
                    <a:pt x="726" y="1068"/>
                  </a:lnTo>
                  <a:lnTo>
                    <a:pt x="726" y="1074"/>
                  </a:lnTo>
                  <a:lnTo>
                    <a:pt x="720" y="1074"/>
                  </a:lnTo>
                  <a:lnTo>
                    <a:pt x="684" y="106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5" name="Freeform 40">
              <a:extLst>
                <a:ext uri="{FF2B5EF4-FFF2-40B4-BE49-F238E27FC236}">
                  <a16:creationId xmlns:a16="http://schemas.microsoft.com/office/drawing/2014/main" id="{37EC2F22-BDB9-4162-8FA4-08493F6898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3558" y="1520374"/>
              <a:ext cx="1057717" cy="1252440"/>
            </a:xfrm>
            <a:custGeom>
              <a:avLst/>
              <a:gdLst>
                <a:gd name="T0" fmla="*/ 98 w 1992"/>
                <a:gd name="T1" fmla="*/ 162 h 2358"/>
                <a:gd name="T2" fmla="*/ 93 w 1992"/>
                <a:gd name="T3" fmla="*/ 172 h 2358"/>
                <a:gd name="T4" fmla="*/ 82 w 1992"/>
                <a:gd name="T5" fmla="*/ 179 h 2358"/>
                <a:gd name="T6" fmla="*/ 70 w 1992"/>
                <a:gd name="T7" fmla="*/ 174 h 2358"/>
                <a:gd name="T8" fmla="*/ 62 w 1992"/>
                <a:gd name="T9" fmla="*/ 182 h 2358"/>
                <a:gd name="T10" fmla="*/ 45 w 1992"/>
                <a:gd name="T11" fmla="*/ 189 h 2358"/>
                <a:gd name="T12" fmla="*/ 24 w 1992"/>
                <a:gd name="T13" fmla="*/ 205 h 2358"/>
                <a:gd name="T14" fmla="*/ 17 w 1992"/>
                <a:gd name="T15" fmla="*/ 204 h 2358"/>
                <a:gd name="T16" fmla="*/ 7 w 1992"/>
                <a:gd name="T17" fmla="*/ 197 h 2358"/>
                <a:gd name="T18" fmla="*/ 1 w 1992"/>
                <a:gd name="T19" fmla="*/ 191 h 2358"/>
                <a:gd name="T20" fmla="*/ 4 w 1992"/>
                <a:gd name="T21" fmla="*/ 175 h 2358"/>
                <a:gd name="T22" fmla="*/ 7 w 1992"/>
                <a:gd name="T23" fmla="*/ 172 h 2358"/>
                <a:gd name="T24" fmla="*/ 11 w 1992"/>
                <a:gd name="T25" fmla="*/ 168 h 2358"/>
                <a:gd name="T26" fmla="*/ 5 w 1992"/>
                <a:gd name="T27" fmla="*/ 159 h 2358"/>
                <a:gd name="T28" fmla="*/ 10 w 1992"/>
                <a:gd name="T29" fmla="*/ 156 h 2358"/>
                <a:gd name="T30" fmla="*/ 15 w 1992"/>
                <a:gd name="T31" fmla="*/ 155 h 2358"/>
                <a:gd name="T32" fmla="*/ 24 w 1992"/>
                <a:gd name="T33" fmla="*/ 149 h 2358"/>
                <a:gd name="T34" fmla="*/ 38 w 1992"/>
                <a:gd name="T35" fmla="*/ 127 h 2358"/>
                <a:gd name="T36" fmla="*/ 38 w 1992"/>
                <a:gd name="T37" fmla="*/ 107 h 2358"/>
                <a:gd name="T38" fmla="*/ 45 w 1992"/>
                <a:gd name="T39" fmla="*/ 66 h 2358"/>
                <a:gd name="T40" fmla="*/ 47 w 1992"/>
                <a:gd name="T41" fmla="*/ 36 h 2358"/>
                <a:gd name="T42" fmla="*/ 51 w 1992"/>
                <a:gd name="T43" fmla="*/ 35 h 2358"/>
                <a:gd name="T44" fmla="*/ 55 w 1992"/>
                <a:gd name="T45" fmla="*/ 30 h 2358"/>
                <a:gd name="T46" fmla="*/ 56 w 1992"/>
                <a:gd name="T47" fmla="*/ 27 h 2358"/>
                <a:gd name="T48" fmla="*/ 60 w 1992"/>
                <a:gd name="T49" fmla="*/ 23 h 2358"/>
                <a:gd name="T50" fmla="*/ 63 w 1992"/>
                <a:gd name="T51" fmla="*/ 23 h 2358"/>
                <a:gd name="T52" fmla="*/ 70 w 1992"/>
                <a:gd name="T53" fmla="*/ 18 h 2358"/>
                <a:gd name="T54" fmla="*/ 71 w 1992"/>
                <a:gd name="T55" fmla="*/ 15 h 2358"/>
                <a:gd name="T56" fmla="*/ 72 w 1992"/>
                <a:gd name="T57" fmla="*/ 13 h 2358"/>
                <a:gd name="T58" fmla="*/ 77 w 1992"/>
                <a:gd name="T59" fmla="*/ 12 h 2358"/>
                <a:gd name="T60" fmla="*/ 83 w 1992"/>
                <a:gd name="T61" fmla="*/ 10 h 2358"/>
                <a:gd name="T62" fmla="*/ 87 w 1992"/>
                <a:gd name="T63" fmla="*/ 10 h 2358"/>
                <a:gd name="T64" fmla="*/ 89 w 1992"/>
                <a:gd name="T65" fmla="*/ 10 h 2358"/>
                <a:gd name="T66" fmla="*/ 93 w 1992"/>
                <a:gd name="T67" fmla="*/ 8 h 2358"/>
                <a:gd name="T68" fmla="*/ 95 w 1992"/>
                <a:gd name="T69" fmla="*/ 4 h 2358"/>
                <a:gd name="T70" fmla="*/ 99 w 1992"/>
                <a:gd name="T71" fmla="*/ 0 h 2358"/>
                <a:gd name="T72" fmla="*/ 111 w 1992"/>
                <a:gd name="T73" fmla="*/ 0 h 2358"/>
                <a:gd name="T74" fmla="*/ 121 w 1992"/>
                <a:gd name="T75" fmla="*/ 9 h 2358"/>
                <a:gd name="T76" fmla="*/ 128 w 1992"/>
                <a:gd name="T77" fmla="*/ 19 h 2358"/>
                <a:gd name="T78" fmla="*/ 138 w 1992"/>
                <a:gd name="T79" fmla="*/ 33 h 2358"/>
                <a:gd name="T80" fmla="*/ 142 w 1992"/>
                <a:gd name="T81" fmla="*/ 47 h 2358"/>
                <a:gd name="T82" fmla="*/ 145 w 1992"/>
                <a:gd name="T83" fmla="*/ 62 h 2358"/>
                <a:gd name="T84" fmla="*/ 145 w 1992"/>
                <a:gd name="T85" fmla="*/ 70 h 2358"/>
                <a:gd name="T86" fmla="*/ 147 w 1992"/>
                <a:gd name="T87" fmla="*/ 75 h 2358"/>
                <a:gd name="T88" fmla="*/ 153 w 1992"/>
                <a:gd name="T89" fmla="*/ 75 h 2358"/>
                <a:gd name="T90" fmla="*/ 160 w 1992"/>
                <a:gd name="T91" fmla="*/ 76 h 2358"/>
                <a:gd name="T92" fmla="*/ 164 w 1992"/>
                <a:gd name="T93" fmla="*/ 79 h 2358"/>
                <a:gd name="T94" fmla="*/ 168 w 1992"/>
                <a:gd name="T95" fmla="*/ 83 h 2358"/>
                <a:gd name="T96" fmla="*/ 172 w 1992"/>
                <a:gd name="T97" fmla="*/ 86 h 2358"/>
                <a:gd name="T98" fmla="*/ 170 w 1992"/>
                <a:gd name="T99" fmla="*/ 93 h 2358"/>
                <a:gd name="T100" fmla="*/ 170 w 1992"/>
                <a:gd name="T101" fmla="*/ 99 h 2358"/>
                <a:gd name="T102" fmla="*/ 169 w 1992"/>
                <a:gd name="T103" fmla="*/ 106 h 2358"/>
                <a:gd name="T104" fmla="*/ 166 w 1992"/>
                <a:gd name="T105" fmla="*/ 113 h 2358"/>
                <a:gd name="T106" fmla="*/ 170 w 1992"/>
                <a:gd name="T107" fmla="*/ 122 h 2358"/>
                <a:gd name="T108" fmla="*/ 159 w 1992"/>
                <a:gd name="T109" fmla="*/ 128 h 2358"/>
                <a:gd name="T110" fmla="*/ 148 w 1992"/>
                <a:gd name="T111" fmla="*/ 134 h 2358"/>
                <a:gd name="T112" fmla="*/ 139 w 1992"/>
                <a:gd name="T113" fmla="*/ 136 h 2358"/>
                <a:gd name="T114" fmla="*/ 132 w 1992"/>
                <a:gd name="T115" fmla="*/ 138 h 2358"/>
                <a:gd name="T116" fmla="*/ 128 w 1992"/>
                <a:gd name="T117" fmla="*/ 145 h 2358"/>
                <a:gd name="T118" fmla="*/ 124 w 1992"/>
                <a:gd name="T119" fmla="*/ 150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92"/>
                <a:gd name="T181" fmla="*/ 0 h 2358"/>
                <a:gd name="T182" fmla="*/ 1992 w 1992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92" h="2358">
                  <a:moveTo>
                    <a:pt x="1356" y="1782"/>
                  </a:moveTo>
                  <a:lnTo>
                    <a:pt x="1350" y="1788"/>
                  </a:lnTo>
                  <a:lnTo>
                    <a:pt x="1266" y="1788"/>
                  </a:lnTo>
                  <a:lnTo>
                    <a:pt x="1260" y="1800"/>
                  </a:lnTo>
                  <a:lnTo>
                    <a:pt x="1242" y="1806"/>
                  </a:lnTo>
                  <a:lnTo>
                    <a:pt x="1218" y="1812"/>
                  </a:lnTo>
                  <a:lnTo>
                    <a:pt x="1182" y="1812"/>
                  </a:lnTo>
                  <a:lnTo>
                    <a:pt x="1158" y="1806"/>
                  </a:lnTo>
                  <a:lnTo>
                    <a:pt x="1134" y="1800"/>
                  </a:lnTo>
                  <a:lnTo>
                    <a:pt x="1134" y="1806"/>
                  </a:lnTo>
                  <a:lnTo>
                    <a:pt x="1134" y="1830"/>
                  </a:lnTo>
                  <a:lnTo>
                    <a:pt x="1128" y="1842"/>
                  </a:lnTo>
                  <a:lnTo>
                    <a:pt x="1128" y="1854"/>
                  </a:lnTo>
                  <a:lnTo>
                    <a:pt x="1128" y="1860"/>
                  </a:lnTo>
                  <a:lnTo>
                    <a:pt x="1128" y="1866"/>
                  </a:lnTo>
                  <a:lnTo>
                    <a:pt x="1128" y="1872"/>
                  </a:lnTo>
                  <a:lnTo>
                    <a:pt x="1128" y="1884"/>
                  </a:lnTo>
                  <a:lnTo>
                    <a:pt x="1128" y="1890"/>
                  </a:lnTo>
                  <a:lnTo>
                    <a:pt x="1128" y="1896"/>
                  </a:lnTo>
                  <a:lnTo>
                    <a:pt x="1122" y="1902"/>
                  </a:lnTo>
                  <a:lnTo>
                    <a:pt x="1122" y="1920"/>
                  </a:lnTo>
                  <a:lnTo>
                    <a:pt x="1116" y="1920"/>
                  </a:lnTo>
                  <a:lnTo>
                    <a:pt x="1110" y="1926"/>
                  </a:lnTo>
                  <a:lnTo>
                    <a:pt x="1110" y="1932"/>
                  </a:lnTo>
                  <a:lnTo>
                    <a:pt x="1104" y="1938"/>
                  </a:lnTo>
                  <a:lnTo>
                    <a:pt x="1086" y="1962"/>
                  </a:lnTo>
                  <a:lnTo>
                    <a:pt x="1074" y="1974"/>
                  </a:lnTo>
                  <a:lnTo>
                    <a:pt x="1074" y="1980"/>
                  </a:lnTo>
                  <a:lnTo>
                    <a:pt x="1068" y="1986"/>
                  </a:lnTo>
                  <a:lnTo>
                    <a:pt x="1062" y="1998"/>
                  </a:lnTo>
                  <a:lnTo>
                    <a:pt x="1062" y="2004"/>
                  </a:lnTo>
                  <a:lnTo>
                    <a:pt x="1068" y="2004"/>
                  </a:lnTo>
                  <a:lnTo>
                    <a:pt x="1056" y="2034"/>
                  </a:lnTo>
                  <a:lnTo>
                    <a:pt x="1050" y="2076"/>
                  </a:lnTo>
                  <a:lnTo>
                    <a:pt x="1056" y="2100"/>
                  </a:lnTo>
                  <a:lnTo>
                    <a:pt x="1038" y="2106"/>
                  </a:lnTo>
                  <a:lnTo>
                    <a:pt x="1002" y="2106"/>
                  </a:lnTo>
                  <a:lnTo>
                    <a:pt x="978" y="2094"/>
                  </a:lnTo>
                  <a:lnTo>
                    <a:pt x="972" y="2082"/>
                  </a:lnTo>
                  <a:lnTo>
                    <a:pt x="966" y="2070"/>
                  </a:lnTo>
                  <a:lnTo>
                    <a:pt x="954" y="2064"/>
                  </a:lnTo>
                  <a:lnTo>
                    <a:pt x="942" y="2058"/>
                  </a:lnTo>
                  <a:lnTo>
                    <a:pt x="936" y="2058"/>
                  </a:lnTo>
                  <a:lnTo>
                    <a:pt x="918" y="2046"/>
                  </a:lnTo>
                  <a:lnTo>
                    <a:pt x="906" y="2028"/>
                  </a:lnTo>
                  <a:lnTo>
                    <a:pt x="900" y="2022"/>
                  </a:lnTo>
                  <a:lnTo>
                    <a:pt x="894" y="2022"/>
                  </a:lnTo>
                  <a:lnTo>
                    <a:pt x="882" y="2022"/>
                  </a:lnTo>
                  <a:lnTo>
                    <a:pt x="870" y="2016"/>
                  </a:lnTo>
                  <a:lnTo>
                    <a:pt x="864" y="2016"/>
                  </a:lnTo>
                  <a:lnTo>
                    <a:pt x="852" y="2010"/>
                  </a:lnTo>
                  <a:lnTo>
                    <a:pt x="846" y="2004"/>
                  </a:lnTo>
                  <a:lnTo>
                    <a:pt x="840" y="2004"/>
                  </a:lnTo>
                  <a:lnTo>
                    <a:pt x="828" y="1998"/>
                  </a:lnTo>
                  <a:lnTo>
                    <a:pt x="816" y="1998"/>
                  </a:lnTo>
                  <a:lnTo>
                    <a:pt x="810" y="1998"/>
                  </a:lnTo>
                  <a:lnTo>
                    <a:pt x="804" y="1998"/>
                  </a:lnTo>
                  <a:lnTo>
                    <a:pt x="798" y="1998"/>
                  </a:lnTo>
                  <a:lnTo>
                    <a:pt x="792" y="2004"/>
                  </a:lnTo>
                  <a:lnTo>
                    <a:pt x="786" y="2010"/>
                  </a:lnTo>
                  <a:lnTo>
                    <a:pt x="762" y="2010"/>
                  </a:lnTo>
                  <a:lnTo>
                    <a:pt x="756" y="2010"/>
                  </a:lnTo>
                  <a:lnTo>
                    <a:pt x="744" y="2022"/>
                  </a:lnTo>
                  <a:lnTo>
                    <a:pt x="738" y="2034"/>
                  </a:lnTo>
                  <a:lnTo>
                    <a:pt x="732" y="2040"/>
                  </a:lnTo>
                  <a:lnTo>
                    <a:pt x="732" y="2046"/>
                  </a:lnTo>
                  <a:lnTo>
                    <a:pt x="726" y="2058"/>
                  </a:lnTo>
                  <a:lnTo>
                    <a:pt x="720" y="2064"/>
                  </a:lnTo>
                  <a:lnTo>
                    <a:pt x="714" y="2070"/>
                  </a:lnTo>
                  <a:lnTo>
                    <a:pt x="708" y="2088"/>
                  </a:lnTo>
                  <a:lnTo>
                    <a:pt x="702" y="2100"/>
                  </a:lnTo>
                  <a:lnTo>
                    <a:pt x="690" y="2100"/>
                  </a:lnTo>
                  <a:lnTo>
                    <a:pt x="684" y="2094"/>
                  </a:lnTo>
                  <a:lnTo>
                    <a:pt x="666" y="2100"/>
                  </a:lnTo>
                  <a:lnTo>
                    <a:pt x="636" y="2106"/>
                  </a:lnTo>
                  <a:lnTo>
                    <a:pt x="636" y="2112"/>
                  </a:lnTo>
                  <a:lnTo>
                    <a:pt x="636" y="2118"/>
                  </a:lnTo>
                  <a:lnTo>
                    <a:pt x="636" y="2124"/>
                  </a:lnTo>
                  <a:lnTo>
                    <a:pt x="630" y="2124"/>
                  </a:lnTo>
                  <a:lnTo>
                    <a:pt x="630" y="2148"/>
                  </a:lnTo>
                  <a:lnTo>
                    <a:pt x="612" y="2160"/>
                  </a:lnTo>
                  <a:lnTo>
                    <a:pt x="576" y="2172"/>
                  </a:lnTo>
                  <a:lnTo>
                    <a:pt x="546" y="2172"/>
                  </a:lnTo>
                  <a:lnTo>
                    <a:pt x="516" y="2172"/>
                  </a:lnTo>
                  <a:lnTo>
                    <a:pt x="486" y="2172"/>
                  </a:lnTo>
                  <a:lnTo>
                    <a:pt x="462" y="2172"/>
                  </a:lnTo>
                  <a:lnTo>
                    <a:pt x="444" y="2196"/>
                  </a:lnTo>
                  <a:lnTo>
                    <a:pt x="432" y="2232"/>
                  </a:lnTo>
                  <a:lnTo>
                    <a:pt x="408" y="2238"/>
                  </a:lnTo>
                  <a:lnTo>
                    <a:pt x="390" y="2256"/>
                  </a:lnTo>
                  <a:lnTo>
                    <a:pt x="372" y="2274"/>
                  </a:lnTo>
                  <a:lnTo>
                    <a:pt x="360" y="2274"/>
                  </a:lnTo>
                  <a:lnTo>
                    <a:pt x="336" y="2328"/>
                  </a:lnTo>
                  <a:lnTo>
                    <a:pt x="324" y="2340"/>
                  </a:lnTo>
                  <a:lnTo>
                    <a:pt x="300" y="2346"/>
                  </a:lnTo>
                  <a:lnTo>
                    <a:pt x="294" y="2352"/>
                  </a:lnTo>
                  <a:lnTo>
                    <a:pt x="288" y="2352"/>
                  </a:lnTo>
                  <a:lnTo>
                    <a:pt x="282" y="2352"/>
                  </a:lnTo>
                  <a:lnTo>
                    <a:pt x="276" y="2352"/>
                  </a:lnTo>
                  <a:lnTo>
                    <a:pt x="270" y="2352"/>
                  </a:lnTo>
                  <a:lnTo>
                    <a:pt x="270" y="2346"/>
                  </a:lnTo>
                  <a:lnTo>
                    <a:pt x="264" y="2346"/>
                  </a:lnTo>
                  <a:lnTo>
                    <a:pt x="258" y="2352"/>
                  </a:lnTo>
                  <a:lnTo>
                    <a:pt x="252" y="2352"/>
                  </a:lnTo>
                  <a:lnTo>
                    <a:pt x="240" y="2352"/>
                  </a:lnTo>
                  <a:lnTo>
                    <a:pt x="228" y="2352"/>
                  </a:lnTo>
                  <a:lnTo>
                    <a:pt x="222" y="2352"/>
                  </a:lnTo>
                  <a:lnTo>
                    <a:pt x="216" y="2358"/>
                  </a:lnTo>
                  <a:lnTo>
                    <a:pt x="216" y="2352"/>
                  </a:lnTo>
                  <a:lnTo>
                    <a:pt x="210" y="2346"/>
                  </a:lnTo>
                  <a:lnTo>
                    <a:pt x="204" y="2346"/>
                  </a:lnTo>
                  <a:lnTo>
                    <a:pt x="198" y="2340"/>
                  </a:lnTo>
                  <a:lnTo>
                    <a:pt x="192" y="2340"/>
                  </a:lnTo>
                  <a:lnTo>
                    <a:pt x="186" y="2340"/>
                  </a:lnTo>
                  <a:lnTo>
                    <a:pt x="180" y="2340"/>
                  </a:lnTo>
                  <a:lnTo>
                    <a:pt x="174" y="2340"/>
                  </a:lnTo>
                  <a:lnTo>
                    <a:pt x="162" y="2328"/>
                  </a:lnTo>
                  <a:lnTo>
                    <a:pt x="156" y="2322"/>
                  </a:lnTo>
                  <a:lnTo>
                    <a:pt x="156" y="2316"/>
                  </a:lnTo>
                  <a:lnTo>
                    <a:pt x="156" y="2310"/>
                  </a:lnTo>
                  <a:lnTo>
                    <a:pt x="132" y="2286"/>
                  </a:lnTo>
                  <a:lnTo>
                    <a:pt x="120" y="2280"/>
                  </a:lnTo>
                  <a:lnTo>
                    <a:pt x="96" y="2274"/>
                  </a:lnTo>
                  <a:lnTo>
                    <a:pt x="84" y="2268"/>
                  </a:lnTo>
                  <a:lnTo>
                    <a:pt x="78" y="2268"/>
                  </a:lnTo>
                  <a:lnTo>
                    <a:pt x="78" y="2262"/>
                  </a:lnTo>
                  <a:lnTo>
                    <a:pt x="78" y="2256"/>
                  </a:lnTo>
                  <a:lnTo>
                    <a:pt x="78" y="2250"/>
                  </a:lnTo>
                  <a:lnTo>
                    <a:pt x="72" y="2250"/>
                  </a:lnTo>
                  <a:lnTo>
                    <a:pt x="66" y="2250"/>
                  </a:lnTo>
                  <a:lnTo>
                    <a:pt x="60" y="2250"/>
                  </a:lnTo>
                  <a:lnTo>
                    <a:pt x="48" y="2244"/>
                  </a:lnTo>
                  <a:lnTo>
                    <a:pt x="36" y="2238"/>
                  </a:lnTo>
                  <a:lnTo>
                    <a:pt x="36" y="2226"/>
                  </a:lnTo>
                  <a:lnTo>
                    <a:pt x="30" y="2226"/>
                  </a:lnTo>
                  <a:lnTo>
                    <a:pt x="30" y="2220"/>
                  </a:lnTo>
                  <a:lnTo>
                    <a:pt x="24" y="2208"/>
                  </a:lnTo>
                  <a:lnTo>
                    <a:pt x="18" y="2202"/>
                  </a:lnTo>
                  <a:lnTo>
                    <a:pt x="18" y="2196"/>
                  </a:lnTo>
                  <a:lnTo>
                    <a:pt x="12" y="2190"/>
                  </a:lnTo>
                  <a:lnTo>
                    <a:pt x="0" y="2190"/>
                  </a:lnTo>
                  <a:lnTo>
                    <a:pt x="6" y="2184"/>
                  </a:lnTo>
                  <a:lnTo>
                    <a:pt x="12" y="2178"/>
                  </a:lnTo>
                  <a:lnTo>
                    <a:pt x="18" y="2172"/>
                  </a:lnTo>
                  <a:lnTo>
                    <a:pt x="24" y="2166"/>
                  </a:lnTo>
                  <a:lnTo>
                    <a:pt x="30" y="2166"/>
                  </a:lnTo>
                  <a:lnTo>
                    <a:pt x="24" y="2160"/>
                  </a:lnTo>
                  <a:lnTo>
                    <a:pt x="30" y="2160"/>
                  </a:lnTo>
                  <a:lnTo>
                    <a:pt x="36" y="2154"/>
                  </a:lnTo>
                  <a:lnTo>
                    <a:pt x="36" y="2136"/>
                  </a:lnTo>
                  <a:lnTo>
                    <a:pt x="36" y="2118"/>
                  </a:lnTo>
                  <a:lnTo>
                    <a:pt x="48" y="2058"/>
                  </a:lnTo>
                  <a:lnTo>
                    <a:pt x="48" y="2022"/>
                  </a:lnTo>
                  <a:lnTo>
                    <a:pt x="48" y="2016"/>
                  </a:lnTo>
                  <a:lnTo>
                    <a:pt x="48" y="2010"/>
                  </a:lnTo>
                  <a:lnTo>
                    <a:pt x="48" y="2004"/>
                  </a:lnTo>
                  <a:lnTo>
                    <a:pt x="42" y="2004"/>
                  </a:lnTo>
                  <a:lnTo>
                    <a:pt x="42" y="1998"/>
                  </a:lnTo>
                  <a:lnTo>
                    <a:pt x="36" y="1992"/>
                  </a:lnTo>
                  <a:lnTo>
                    <a:pt x="42" y="1992"/>
                  </a:lnTo>
                  <a:lnTo>
                    <a:pt x="42" y="1986"/>
                  </a:lnTo>
                  <a:lnTo>
                    <a:pt x="48" y="1986"/>
                  </a:lnTo>
                  <a:lnTo>
                    <a:pt x="54" y="1986"/>
                  </a:lnTo>
                  <a:lnTo>
                    <a:pt x="60" y="1986"/>
                  </a:lnTo>
                  <a:lnTo>
                    <a:pt x="66" y="1980"/>
                  </a:lnTo>
                  <a:lnTo>
                    <a:pt x="72" y="1974"/>
                  </a:lnTo>
                  <a:lnTo>
                    <a:pt x="78" y="1974"/>
                  </a:lnTo>
                  <a:lnTo>
                    <a:pt x="84" y="1974"/>
                  </a:lnTo>
                  <a:lnTo>
                    <a:pt x="90" y="1974"/>
                  </a:lnTo>
                  <a:lnTo>
                    <a:pt x="96" y="1974"/>
                  </a:lnTo>
                  <a:lnTo>
                    <a:pt x="96" y="1968"/>
                  </a:lnTo>
                  <a:lnTo>
                    <a:pt x="102" y="1968"/>
                  </a:lnTo>
                  <a:lnTo>
                    <a:pt x="102" y="1962"/>
                  </a:lnTo>
                  <a:lnTo>
                    <a:pt x="108" y="1962"/>
                  </a:lnTo>
                  <a:lnTo>
                    <a:pt x="114" y="1956"/>
                  </a:lnTo>
                  <a:lnTo>
                    <a:pt x="120" y="1956"/>
                  </a:lnTo>
                  <a:lnTo>
                    <a:pt x="126" y="1950"/>
                  </a:lnTo>
                  <a:lnTo>
                    <a:pt x="132" y="1950"/>
                  </a:lnTo>
                  <a:lnTo>
                    <a:pt x="132" y="1944"/>
                  </a:lnTo>
                  <a:lnTo>
                    <a:pt x="126" y="1944"/>
                  </a:lnTo>
                  <a:lnTo>
                    <a:pt x="126" y="1938"/>
                  </a:lnTo>
                  <a:lnTo>
                    <a:pt x="126" y="1932"/>
                  </a:lnTo>
                  <a:lnTo>
                    <a:pt x="126" y="1926"/>
                  </a:lnTo>
                  <a:lnTo>
                    <a:pt x="114" y="1914"/>
                  </a:lnTo>
                  <a:lnTo>
                    <a:pt x="114" y="1896"/>
                  </a:lnTo>
                  <a:lnTo>
                    <a:pt x="108" y="1884"/>
                  </a:lnTo>
                  <a:lnTo>
                    <a:pt x="102" y="1872"/>
                  </a:lnTo>
                  <a:lnTo>
                    <a:pt x="96" y="1866"/>
                  </a:lnTo>
                  <a:lnTo>
                    <a:pt x="96" y="1860"/>
                  </a:lnTo>
                  <a:lnTo>
                    <a:pt x="90" y="1860"/>
                  </a:lnTo>
                  <a:lnTo>
                    <a:pt x="90" y="1854"/>
                  </a:lnTo>
                  <a:lnTo>
                    <a:pt x="84" y="1848"/>
                  </a:lnTo>
                  <a:lnTo>
                    <a:pt x="78" y="1842"/>
                  </a:lnTo>
                  <a:lnTo>
                    <a:pt x="72" y="1836"/>
                  </a:lnTo>
                  <a:lnTo>
                    <a:pt x="66" y="1830"/>
                  </a:lnTo>
                  <a:lnTo>
                    <a:pt x="60" y="1824"/>
                  </a:lnTo>
                  <a:lnTo>
                    <a:pt x="54" y="1824"/>
                  </a:lnTo>
                  <a:lnTo>
                    <a:pt x="48" y="1824"/>
                  </a:lnTo>
                  <a:lnTo>
                    <a:pt x="42" y="1818"/>
                  </a:lnTo>
                  <a:lnTo>
                    <a:pt x="54" y="1818"/>
                  </a:lnTo>
                  <a:lnTo>
                    <a:pt x="60" y="1812"/>
                  </a:lnTo>
                  <a:lnTo>
                    <a:pt x="66" y="1812"/>
                  </a:lnTo>
                  <a:lnTo>
                    <a:pt x="72" y="1812"/>
                  </a:lnTo>
                  <a:lnTo>
                    <a:pt x="78" y="1812"/>
                  </a:lnTo>
                  <a:lnTo>
                    <a:pt x="84" y="1812"/>
                  </a:lnTo>
                  <a:lnTo>
                    <a:pt x="90" y="1806"/>
                  </a:lnTo>
                  <a:lnTo>
                    <a:pt x="96" y="1800"/>
                  </a:lnTo>
                  <a:lnTo>
                    <a:pt x="102" y="1806"/>
                  </a:lnTo>
                  <a:lnTo>
                    <a:pt x="108" y="1800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26" y="1788"/>
                  </a:lnTo>
                  <a:lnTo>
                    <a:pt x="126" y="1794"/>
                  </a:lnTo>
                  <a:lnTo>
                    <a:pt x="132" y="1794"/>
                  </a:lnTo>
                  <a:lnTo>
                    <a:pt x="132" y="1788"/>
                  </a:lnTo>
                  <a:lnTo>
                    <a:pt x="138" y="1788"/>
                  </a:lnTo>
                  <a:lnTo>
                    <a:pt x="138" y="1782"/>
                  </a:lnTo>
                  <a:lnTo>
                    <a:pt x="144" y="1782"/>
                  </a:lnTo>
                  <a:lnTo>
                    <a:pt x="150" y="1776"/>
                  </a:lnTo>
                  <a:lnTo>
                    <a:pt x="156" y="1782"/>
                  </a:lnTo>
                  <a:lnTo>
                    <a:pt x="162" y="1776"/>
                  </a:lnTo>
                  <a:lnTo>
                    <a:pt x="168" y="1776"/>
                  </a:lnTo>
                  <a:lnTo>
                    <a:pt x="180" y="1776"/>
                  </a:lnTo>
                  <a:lnTo>
                    <a:pt x="186" y="1776"/>
                  </a:lnTo>
                  <a:lnTo>
                    <a:pt x="186" y="1782"/>
                  </a:lnTo>
                  <a:lnTo>
                    <a:pt x="192" y="1776"/>
                  </a:lnTo>
                  <a:lnTo>
                    <a:pt x="198" y="1776"/>
                  </a:lnTo>
                  <a:lnTo>
                    <a:pt x="204" y="1770"/>
                  </a:lnTo>
                  <a:lnTo>
                    <a:pt x="204" y="1764"/>
                  </a:lnTo>
                  <a:lnTo>
                    <a:pt x="210" y="1764"/>
                  </a:lnTo>
                  <a:lnTo>
                    <a:pt x="216" y="1764"/>
                  </a:lnTo>
                  <a:lnTo>
                    <a:pt x="216" y="1758"/>
                  </a:lnTo>
                  <a:lnTo>
                    <a:pt x="222" y="1758"/>
                  </a:lnTo>
                  <a:lnTo>
                    <a:pt x="228" y="1758"/>
                  </a:lnTo>
                  <a:lnTo>
                    <a:pt x="258" y="1746"/>
                  </a:lnTo>
                  <a:lnTo>
                    <a:pt x="282" y="1716"/>
                  </a:lnTo>
                  <a:lnTo>
                    <a:pt x="300" y="1698"/>
                  </a:lnTo>
                  <a:lnTo>
                    <a:pt x="312" y="1698"/>
                  </a:lnTo>
                  <a:lnTo>
                    <a:pt x="336" y="1698"/>
                  </a:lnTo>
                  <a:lnTo>
                    <a:pt x="360" y="1698"/>
                  </a:lnTo>
                  <a:lnTo>
                    <a:pt x="372" y="1692"/>
                  </a:lnTo>
                  <a:lnTo>
                    <a:pt x="384" y="1692"/>
                  </a:lnTo>
                  <a:lnTo>
                    <a:pt x="360" y="1668"/>
                  </a:lnTo>
                  <a:lnTo>
                    <a:pt x="348" y="1626"/>
                  </a:lnTo>
                  <a:lnTo>
                    <a:pt x="354" y="1578"/>
                  </a:lnTo>
                  <a:lnTo>
                    <a:pt x="354" y="1572"/>
                  </a:lnTo>
                  <a:lnTo>
                    <a:pt x="360" y="1572"/>
                  </a:lnTo>
                  <a:lnTo>
                    <a:pt x="396" y="1530"/>
                  </a:lnTo>
                  <a:lnTo>
                    <a:pt x="408" y="1482"/>
                  </a:lnTo>
                  <a:lnTo>
                    <a:pt x="438" y="1458"/>
                  </a:lnTo>
                  <a:lnTo>
                    <a:pt x="468" y="1422"/>
                  </a:lnTo>
                  <a:lnTo>
                    <a:pt x="480" y="1410"/>
                  </a:lnTo>
                  <a:lnTo>
                    <a:pt x="474" y="1386"/>
                  </a:lnTo>
                  <a:lnTo>
                    <a:pt x="456" y="1356"/>
                  </a:lnTo>
                  <a:lnTo>
                    <a:pt x="438" y="1350"/>
                  </a:lnTo>
                  <a:lnTo>
                    <a:pt x="420" y="1350"/>
                  </a:lnTo>
                  <a:lnTo>
                    <a:pt x="402" y="1350"/>
                  </a:lnTo>
                  <a:lnTo>
                    <a:pt x="390" y="1344"/>
                  </a:lnTo>
                  <a:lnTo>
                    <a:pt x="390" y="1332"/>
                  </a:lnTo>
                  <a:lnTo>
                    <a:pt x="402" y="1296"/>
                  </a:lnTo>
                  <a:lnTo>
                    <a:pt x="414" y="1260"/>
                  </a:lnTo>
                  <a:lnTo>
                    <a:pt x="426" y="1248"/>
                  </a:lnTo>
                  <a:lnTo>
                    <a:pt x="438" y="1242"/>
                  </a:lnTo>
                  <a:lnTo>
                    <a:pt x="432" y="1230"/>
                  </a:lnTo>
                  <a:lnTo>
                    <a:pt x="432" y="1224"/>
                  </a:lnTo>
                  <a:lnTo>
                    <a:pt x="426" y="1218"/>
                  </a:lnTo>
                  <a:lnTo>
                    <a:pt x="426" y="1206"/>
                  </a:lnTo>
                  <a:lnTo>
                    <a:pt x="426" y="1200"/>
                  </a:lnTo>
                  <a:lnTo>
                    <a:pt x="432" y="1194"/>
                  </a:lnTo>
                  <a:lnTo>
                    <a:pt x="426" y="1188"/>
                  </a:lnTo>
                  <a:lnTo>
                    <a:pt x="432" y="1104"/>
                  </a:lnTo>
                  <a:lnTo>
                    <a:pt x="438" y="1086"/>
                  </a:lnTo>
                  <a:lnTo>
                    <a:pt x="462" y="972"/>
                  </a:lnTo>
                  <a:lnTo>
                    <a:pt x="456" y="900"/>
                  </a:lnTo>
                  <a:lnTo>
                    <a:pt x="444" y="846"/>
                  </a:lnTo>
                  <a:lnTo>
                    <a:pt x="456" y="810"/>
                  </a:lnTo>
                  <a:lnTo>
                    <a:pt x="492" y="786"/>
                  </a:lnTo>
                  <a:lnTo>
                    <a:pt x="522" y="762"/>
                  </a:lnTo>
                  <a:lnTo>
                    <a:pt x="546" y="732"/>
                  </a:lnTo>
                  <a:lnTo>
                    <a:pt x="570" y="696"/>
                  </a:lnTo>
                  <a:lnTo>
                    <a:pt x="582" y="654"/>
                  </a:lnTo>
                  <a:lnTo>
                    <a:pt x="564" y="642"/>
                  </a:lnTo>
                  <a:lnTo>
                    <a:pt x="522" y="588"/>
                  </a:lnTo>
                  <a:lnTo>
                    <a:pt x="516" y="546"/>
                  </a:lnTo>
                  <a:lnTo>
                    <a:pt x="510" y="474"/>
                  </a:lnTo>
                  <a:lnTo>
                    <a:pt x="510" y="450"/>
                  </a:lnTo>
                  <a:lnTo>
                    <a:pt x="510" y="444"/>
                  </a:lnTo>
                  <a:lnTo>
                    <a:pt x="522" y="438"/>
                  </a:lnTo>
                  <a:lnTo>
                    <a:pt x="522" y="432"/>
                  </a:lnTo>
                  <a:lnTo>
                    <a:pt x="528" y="426"/>
                  </a:lnTo>
                  <a:lnTo>
                    <a:pt x="534" y="420"/>
                  </a:lnTo>
                  <a:lnTo>
                    <a:pt x="540" y="414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08"/>
                  </a:lnTo>
                  <a:lnTo>
                    <a:pt x="546" y="408"/>
                  </a:lnTo>
                  <a:lnTo>
                    <a:pt x="558" y="414"/>
                  </a:lnTo>
                  <a:lnTo>
                    <a:pt x="564" y="414"/>
                  </a:lnTo>
                  <a:lnTo>
                    <a:pt x="570" y="414"/>
                  </a:lnTo>
                  <a:lnTo>
                    <a:pt x="582" y="414"/>
                  </a:lnTo>
                  <a:lnTo>
                    <a:pt x="582" y="420"/>
                  </a:lnTo>
                  <a:lnTo>
                    <a:pt x="588" y="414"/>
                  </a:lnTo>
                  <a:lnTo>
                    <a:pt x="582" y="408"/>
                  </a:lnTo>
                  <a:lnTo>
                    <a:pt x="588" y="402"/>
                  </a:lnTo>
                  <a:lnTo>
                    <a:pt x="594" y="402"/>
                  </a:lnTo>
                  <a:lnTo>
                    <a:pt x="594" y="396"/>
                  </a:lnTo>
                  <a:lnTo>
                    <a:pt x="594" y="390"/>
                  </a:lnTo>
                  <a:lnTo>
                    <a:pt x="594" y="384"/>
                  </a:lnTo>
                  <a:lnTo>
                    <a:pt x="594" y="378"/>
                  </a:lnTo>
                  <a:lnTo>
                    <a:pt x="600" y="366"/>
                  </a:lnTo>
                  <a:lnTo>
                    <a:pt x="606" y="366"/>
                  </a:lnTo>
                  <a:lnTo>
                    <a:pt x="612" y="360"/>
                  </a:lnTo>
                  <a:lnTo>
                    <a:pt x="612" y="366"/>
                  </a:lnTo>
                  <a:lnTo>
                    <a:pt x="618" y="366"/>
                  </a:lnTo>
                  <a:lnTo>
                    <a:pt x="624" y="366"/>
                  </a:lnTo>
                  <a:lnTo>
                    <a:pt x="630" y="360"/>
                  </a:lnTo>
                  <a:lnTo>
                    <a:pt x="636" y="354"/>
                  </a:lnTo>
                  <a:lnTo>
                    <a:pt x="630" y="354"/>
                  </a:lnTo>
                  <a:lnTo>
                    <a:pt x="630" y="348"/>
                  </a:lnTo>
                  <a:lnTo>
                    <a:pt x="630" y="342"/>
                  </a:lnTo>
                  <a:lnTo>
                    <a:pt x="636" y="342"/>
                  </a:lnTo>
                  <a:lnTo>
                    <a:pt x="642" y="336"/>
                  </a:lnTo>
                  <a:lnTo>
                    <a:pt x="636" y="330"/>
                  </a:lnTo>
                  <a:lnTo>
                    <a:pt x="630" y="336"/>
                  </a:lnTo>
                  <a:lnTo>
                    <a:pt x="624" y="336"/>
                  </a:lnTo>
                  <a:lnTo>
                    <a:pt x="624" y="330"/>
                  </a:lnTo>
                  <a:lnTo>
                    <a:pt x="624" y="324"/>
                  </a:lnTo>
                  <a:lnTo>
                    <a:pt x="618" y="324"/>
                  </a:lnTo>
                  <a:lnTo>
                    <a:pt x="624" y="324"/>
                  </a:lnTo>
                  <a:lnTo>
                    <a:pt x="630" y="330"/>
                  </a:lnTo>
                  <a:lnTo>
                    <a:pt x="630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2" y="306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8" y="288"/>
                  </a:lnTo>
                  <a:lnTo>
                    <a:pt x="648" y="282"/>
                  </a:lnTo>
                  <a:lnTo>
                    <a:pt x="654" y="288"/>
                  </a:lnTo>
                  <a:lnTo>
                    <a:pt x="654" y="282"/>
                  </a:lnTo>
                  <a:lnTo>
                    <a:pt x="660" y="282"/>
                  </a:lnTo>
                  <a:lnTo>
                    <a:pt x="666" y="282"/>
                  </a:lnTo>
                  <a:lnTo>
                    <a:pt x="672" y="282"/>
                  </a:lnTo>
                  <a:lnTo>
                    <a:pt x="678" y="282"/>
                  </a:lnTo>
                  <a:lnTo>
                    <a:pt x="684" y="276"/>
                  </a:lnTo>
                  <a:lnTo>
                    <a:pt x="690" y="270"/>
                  </a:lnTo>
                  <a:lnTo>
                    <a:pt x="690" y="264"/>
                  </a:lnTo>
                  <a:lnTo>
                    <a:pt x="690" y="270"/>
                  </a:lnTo>
                  <a:lnTo>
                    <a:pt x="690" y="276"/>
                  </a:lnTo>
                  <a:lnTo>
                    <a:pt x="696" y="276"/>
                  </a:lnTo>
                  <a:lnTo>
                    <a:pt x="702" y="276"/>
                  </a:lnTo>
                  <a:lnTo>
                    <a:pt x="702" y="282"/>
                  </a:lnTo>
                  <a:lnTo>
                    <a:pt x="708" y="282"/>
                  </a:lnTo>
                  <a:lnTo>
                    <a:pt x="720" y="270"/>
                  </a:lnTo>
                  <a:lnTo>
                    <a:pt x="720" y="264"/>
                  </a:lnTo>
                  <a:lnTo>
                    <a:pt x="720" y="258"/>
                  </a:lnTo>
                  <a:lnTo>
                    <a:pt x="726" y="258"/>
                  </a:lnTo>
                  <a:lnTo>
                    <a:pt x="732" y="258"/>
                  </a:lnTo>
                  <a:lnTo>
                    <a:pt x="732" y="264"/>
                  </a:lnTo>
                  <a:lnTo>
                    <a:pt x="738" y="264"/>
                  </a:lnTo>
                  <a:lnTo>
                    <a:pt x="738" y="258"/>
                  </a:lnTo>
                  <a:lnTo>
                    <a:pt x="732" y="258"/>
                  </a:lnTo>
                  <a:lnTo>
                    <a:pt x="732" y="252"/>
                  </a:lnTo>
                  <a:lnTo>
                    <a:pt x="744" y="252"/>
                  </a:lnTo>
                  <a:lnTo>
                    <a:pt x="750" y="252"/>
                  </a:lnTo>
                  <a:lnTo>
                    <a:pt x="750" y="246"/>
                  </a:lnTo>
                  <a:lnTo>
                    <a:pt x="750" y="240"/>
                  </a:lnTo>
                  <a:lnTo>
                    <a:pt x="762" y="234"/>
                  </a:lnTo>
                  <a:lnTo>
                    <a:pt x="768" y="234"/>
                  </a:lnTo>
                  <a:lnTo>
                    <a:pt x="774" y="234"/>
                  </a:lnTo>
                  <a:lnTo>
                    <a:pt x="780" y="228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16"/>
                  </a:lnTo>
                  <a:lnTo>
                    <a:pt x="792" y="210"/>
                  </a:lnTo>
                  <a:lnTo>
                    <a:pt x="804" y="204"/>
                  </a:lnTo>
                  <a:lnTo>
                    <a:pt x="804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0" y="192"/>
                  </a:lnTo>
                  <a:lnTo>
                    <a:pt x="798" y="186"/>
                  </a:lnTo>
                  <a:lnTo>
                    <a:pt x="810" y="186"/>
                  </a:lnTo>
                  <a:lnTo>
                    <a:pt x="810" y="180"/>
                  </a:lnTo>
                  <a:lnTo>
                    <a:pt x="810" y="186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0" y="180"/>
                  </a:lnTo>
                  <a:lnTo>
                    <a:pt x="816" y="174"/>
                  </a:lnTo>
                  <a:lnTo>
                    <a:pt x="822" y="174"/>
                  </a:lnTo>
                  <a:lnTo>
                    <a:pt x="822" y="180"/>
                  </a:lnTo>
                  <a:lnTo>
                    <a:pt x="828" y="180"/>
                  </a:lnTo>
                  <a:lnTo>
                    <a:pt x="828" y="174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62"/>
                  </a:lnTo>
                  <a:lnTo>
                    <a:pt x="828" y="156"/>
                  </a:lnTo>
                  <a:lnTo>
                    <a:pt x="822" y="156"/>
                  </a:lnTo>
                  <a:lnTo>
                    <a:pt x="828" y="156"/>
                  </a:lnTo>
                  <a:lnTo>
                    <a:pt x="828" y="150"/>
                  </a:lnTo>
                  <a:lnTo>
                    <a:pt x="834" y="150"/>
                  </a:lnTo>
                  <a:lnTo>
                    <a:pt x="840" y="156"/>
                  </a:lnTo>
                  <a:lnTo>
                    <a:pt x="840" y="150"/>
                  </a:lnTo>
                  <a:lnTo>
                    <a:pt x="834" y="150"/>
                  </a:lnTo>
                  <a:lnTo>
                    <a:pt x="834" y="144"/>
                  </a:lnTo>
                  <a:lnTo>
                    <a:pt x="840" y="138"/>
                  </a:lnTo>
                  <a:lnTo>
                    <a:pt x="846" y="144"/>
                  </a:lnTo>
                  <a:lnTo>
                    <a:pt x="846" y="150"/>
                  </a:lnTo>
                  <a:lnTo>
                    <a:pt x="852" y="150"/>
                  </a:lnTo>
                  <a:lnTo>
                    <a:pt x="858" y="150"/>
                  </a:lnTo>
                  <a:lnTo>
                    <a:pt x="870" y="150"/>
                  </a:lnTo>
                  <a:lnTo>
                    <a:pt x="870" y="144"/>
                  </a:lnTo>
                  <a:lnTo>
                    <a:pt x="876" y="138"/>
                  </a:lnTo>
                  <a:lnTo>
                    <a:pt x="882" y="138"/>
                  </a:lnTo>
                  <a:lnTo>
                    <a:pt x="888" y="132"/>
                  </a:lnTo>
                  <a:lnTo>
                    <a:pt x="888" y="138"/>
                  </a:lnTo>
                  <a:lnTo>
                    <a:pt x="894" y="138"/>
                  </a:lnTo>
                  <a:lnTo>
                    <a:pt x="894" y="132"/>
                  </a:lnTo>
                  <a:lnTo>
                    <a:pt x="900" y="126"/>
                  </a:lnTo>
                  <a:lnTo>
                    <a:pt x="900" y="132"/>
                  </a:lnTo>
                  <a:lnTo>
                    <a:pt x="906" y="132"/>
                  </a:lnTo>
                  <a:lnTo>
                    <a:pt x="912" y="132"/>
                  </a:lnTo>
                  <a:lnTo>
                    <a:pt x="918" y="126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24" y="126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8" y="120"/>
                  </a:lnTo>
                  <a:lnTo>
                    <a:pt x="948" y="114"/>
                  </a:lnTo>
                  <a:lnTo>
                    <a:pt x="948" y="108"/>
                  </a:lnTo>
                  <a:lnTo>
                    <a:pt x="954" y="114"/>
                  </a:lnTo>
                  <a:lnTo>
                    <a:pt x="960" y="108"/>
                  </a:lnTo>
                  <a:lnTo>
                    <a:pt x="966" y="108"/>
                  </a:lnTo>
                  <a:lnTo>
                    <a:pt x="972" y="108"/>
                  </a:lnTo>
                  <a:lnTo>
                    <a:pt x="966" y="114"/>
                  </a:lnTo>
                  <a:lnTo>
                    <a:pt x="960" y="114"/>
                  </a:lnTo>
                  <a:lnTo>
                    <a:pt x="960" y="120"/>
                  </a:lnTo>
                  <a:lnTo>
                    <a:pt x="966" y="126"/>
                  </a:lnTo>
                  <a:lnTo>
                    <a:pt x="972" y="126"/>
                  </a:lnTo>
                  <a:lnTo>
                    <a:pt x="978" y="126"/>
                  </a:lnTo>
                  <a:lnTo>
                    <a:pt x="984" y="120"/>
                  </a:lnTo>
                  <a:lnTo>
                    <a:pt x="984" y="114"/>
                  </a:lnTo>
                  <a:lnTo>
                    <a:pt x="996" y="126"/>
                  </a:lnTo>
                  <a:lnTo>
                    <a:pt x="996" y="120"/>
                  </a:lnTo>
                  <a:lnTo>
                    <a:pt x="1002" y="120"/>
                  </a:lnTo>
                  <a:lnTo>
                    <a:pt x="996" y="114"/>
                  </a:lnTo>
                  <a:lnTo>
                    <a:pt x="1002" y="114"/>
                  </a:lnTo>
                  <a:lnTo>
                    <a:pt x="1008" y="114"/>
                  </a:lnTo>
                  <a:lnTo>
                    <a:pt x="1008" y="108"/>
                  </a:lnTo>
                  <a:lnTo>
                    <a:pt x="1014" y="108"/>
                  </a:lnTo>
                  <a:lnTo>
                    <a:pt x="1008" y="114"/>
                  </a:lnTo>
                  <a:lnTo>
                    <a:pt x="1008" y="120"/>
                  </a:lnTo>
                  <a:lnTo>
                    <a:pt x="1008" y="126"/>
                  </a:lnTo>
                  <a:lnTo>
                    <a:pt x="1014" y="126"/>
                  </a:lnTo>
                  <a:lnTo>
                    <a:pt x="1014" y="132"/>
                  </a:lnTo>
                  <a:lnTo>
                    <a:pt x="1020" y="132"/>
                  </a:lnTo>
                  <a:lnTo>
                    <a:pt x="1020" y="126"/>
                  </a:lnTo>
                  <a:lnTo>
                    <a:pt x="1020" y="120"/>
                  </a:lnTo>
                  <a:lnTo>
                    <a:pt x="1032" y="120"/>
                  </a:lnTo>
                  <a:lnTo>
                    <a:pt x="1038" y="120"/>
                  </a:lnTo>
                  <a:lnTo>
                    <a:pt x="1038" y="126"/>
                  </a:lnTo>
                  <a:lnTo>
                    <a:pt x="1044" y="132"/>
                  </a:lnTo>
                  <a:lnTo>
                    <a:pt x="1044" y="126"/>
                  </a:lnTo>
                  <a:lnTo>
                    <a:pt x="1050" y="120"/>
                  </a:lnTo>
                  <a:lnTo>
                    <a:pt x="1050" y="114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68" y="102"/>
                  </a:lnTo>
                  <a:lnTo>
                    <a:pt x="1074" y="96"/>
                  </a:lnTo>
                  <a:lnTo>
                    <a:pt x="1074" y="90"/>
                  </a:lnTo>
                  <a:lnTo>
                    <a:pt x="1068" y="90"/>
                  </a:lnTo>
                  <a:lnTo>
                    <a:pt x="1068" y="84"/>
                  </a:lnTo>
                  <a:lnTo>
                    <a:pt x="1080" y="84"/>
                  </a:lnTo>
                  <a:lnTo>
                    <a:pt x="1086" y="78"/>
                  </a:lnTo>
                  <a:lnTo>
                    <a:pt x="1086" y="72"/>
                  </a:lnTo>
                  <a:lnTo>
                    <a:pt x="1080" y="78"/>
                  </a:lnTo>
                  <a:lnTo>
                    <a:pt x="1080" y="72"/>
                  </a:lnTo>
                  <a:lnTo>
                    <a:pt x="1080" y="66"/>
                  </a:lnTo>
                  <a:lnTo>
                    <a:pt x="1074" y="66"/>
                  </a:lnTo>
                  <a:lnTo>
                    <a:pt x="1080" y="66"/>
                  </a:lnTo>
                  <a:lnTo>
                    <a:pt x="1080" y="60"/>
                  </a:lnTo>
                  <a:lnTo>
                    <a:pt x="1086" y="60"/>
                  </a:lnTo>
                  <a:lnTo>
                    <a:pt x="1086" y="54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2" y="42"/>
                  </a:lnTo>
                  <a:lnTo>
                    <a:pt x="1098" y="42"/>
                  </a:lnTo>
                  <a:lnTo>
                    <a:pt x="1104" y="36"/>
                  </a:lnTo>
                  <a:lnTo>
                    <a:pt x="1110" y="36"/>
                  </a:lnTo>
                  <a:lnTo>
                    <a:pt x="1110" y="30"/>
                  </a:lnTo>
                  <a:lnTo>
                    <a:pt x="1110" y="24"/>
                  </a:lnTo>
                  <a:lnTo>
                    <a:pt x="1116" y="24"/>
                  </a:lnTo>
                  <a:lnTo>
                    <a:pt x="1116" y="18"/>
                  </a:lnTo>
                  <a:lnTo>
                    <a:pt x="1122" y="18"/>
                  </a:lnTo>
                  <a:lnTo>
                    <a:pt x="1128" y="18"/>
                  </a:lnTo>
                  <a:lnTo>
                    <a:pt x="1134" y="12"/>
                  </a:lnTo>
                  <a:lnTo>
                    <a:pt x="1134" y="6"/>
                  </a:lnTo>
                  <a:lnTo>
                    <a:pt x="1140" y="6"/>
                  </a:lnTo>
                  <a:lnTo>
                    <a:pt x="1146" y="0"/>
                  </a:lnTo>
                  <a:lnTo>
                    <a:pt x="1152" y="0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70" y="0"/>
                  </a:lnTo>
                  <a:lnTo>
                    <a:pt x="1176" y="6"/>
                  </a:lnTo>
                  <a:lnTo>
                    <a:pt x="1182" y="6"/>
                  </a:lnTo>
                  <a:lnTo>
                    <a:pt x="1194" y="6"/>
                  </a:lnTo>
                  <a:lnTo>
                    <a:pt x="1200" y="6"/>
                  </a:lnTo>
                  <a:lnTo>
                    <a:pt x="1212" y="0"/>
                  </a:lnTo>
                  <a:lnTo>
                    <a:pt x="1212" y="6"/>
                  </a:lnTo>
                  <a:lnTo>
                    <a:pt x="1218" y="6"/>
                  </a:lnTo>
                  <a:lnTo>
                    <a:pt x="1266" y="6"/>
                  </a:lnTo>
                  <a:lnTo>
                    <a:pt x="1272" y="0"/>
                  </a:lnTo>
                  <a:lnTo>
                    <a:pt x="1278" y="6"/>
                  </a:lnTo>
                  <a:lnTo>
                    <a:pt x="1290" y="6"/>
                  </a:lnTo>
                  <a:lnTo>
                    <a:pt x="1296" y="6"/>
                  </a:lnTo>
                  <a:lnTo>
                    <a:pt x="1308" y="6"/>
                  </a:lnTo>
                  <a:lnTo>
                    <a:pt x="1314" y="6"/>
                  </a:lnTo>
                  <a:lnTo>
                    <a:pt x="1320" y="6"/>
                  </a:lnTo>
                  <a:lnTo>
                    <a:pt x="1326" y="12"/>
                  </a:lnTo>
                  <a:lnTo>
                    <a:pt x="1338" y="30"/>
                  </a:lnTo>
                  <a:lnTo>
                    <a:pt x="1344" y="36"/>
                  </a:lnTo>
                  <a:lnTo>
                    <a:pt x="1356" y="48"/>
                  </a:lnTo>
                  <a:lnTo>
                    <a:pt x="1362" y="60"/>
                  </a:lnTo>
                  <a:lnTo>
                    <a:pt x="1368" y="66"/>
                  </a:lnTo>
                  <a:lnTo>
                    <a:pt x="1374" y="72"/>
                  </a:lnTo>
                  <a:lnTo>
                    <a:pt x="1374" y="78"/>
                  </a:lnTo>
                  <a:lnTo>
                    <a:pt x="1398" y="108"/>
                  </a:lnTo>
                  <a:lnTo>
                    <a:pt x="1398" y="114"/>
                  </a:lnTo>
                  <a:lnTo>
                    <a:pt x="1404" y="114"/>
                  </a:lnTo>
                  <a:lnTo>
                    <a:pt x="1404" y="120"/>
                  </a:lnTo>
                  <a:lnTo>
                    <a:pt x="1410" y="132"/>
                  </a:lnTo>
                  <a:lnTo>
                    <a:pt x="1416" y="132"/>
                  </a:lnTo>
                  <a:lnTo>
                    <a:pt x="1416" y="138"/>
                  </a:lnTo>
                  <a:lnTo>
                    <a:pt x="1422" y="144"/>
                  </a:lnTo>
                  <a:lnTo>
                    <a:pt x="1428" y="150"/>
                  </a:lnTo>
                  <a:lnTo>
                    <a:pt x="1428" y="156"/>
                  </a:lnTo>
                  <a:lnTo>
                    <a:pt x="1458" y="192"/>
                  </a:lnTo>
                  <a:lnTo>
                    <a:pt x="1458" y="198"/>
                  </a:lnTo>
                  <a:lnTo>
                    <a:pt x="1464" y="204"/>
                  </a:lnTo>
                  <a:lnTo>
                    <a:pt x="1470" y="210"/>
                  </a:lnTo>
                  <a:lnTo>
                    <a:pt x="1476" y="216"/>
                  </a:lnTo>
                  <a:lnTo>
                    <a:pt x="1482" y="228"/>
                  </a:lnTo>
                  <a:lnTo>
                    <a:pt x="1488" y="234"/>
                  </a:lnTo>
                  <a:lnTo>
                    <a:pt x="1512" y="270"/>
                  </a:lnTo>
                  <a:lnTo>
                    <a:pt x="1512" y="276"/>
                  </a:lnTo>
                  <a:lnTo>
                    <a:pt x="1530" y="300"/>
                  </a:lnTo>
                  <a:lnTo>
                    <a:pt x="1536" y="306"/>
                  </a:lnTo>
                  <a:lnTo>
                    <a:pt x="1542" y="312"/>
                  </a:lnTo>
                  <a:lnTo>
                    <a:pt x="1542" y="318"/>
                  </a:lnTo>
                  <a:lnTo>
                    <a:pt x="1560" y="336"/>
                  </a:lnTo>
                  <a:lnTo>
                    <a:pt x="1566" y="348"/>
                  </a:lnTo>
                  <a:lnTo>
                    <a:pt x="1572" y="354"/>
                  </a:lnTo>
                  <a:lnTo>
                    <a:pt x="1578" y="360"/>
                  </a:lnTo>
                  <a:lnTo>
                    <a:pt x="1584" y="378"/>
                  </a:lnTo>
                  <a:lnTo>
                    <a:pt x="1590" y="378"/>
                  </a:lnTo>
                  <a:lnTo>
                    <a:pt x="1596" y="390"/>
                  </a:lnTo>
                  <a:lnTo>
                    <a:pt x="1602" y="396"/>
                  </a:lnTo>
                  <a:lnTo>
                    <a:pt x="1608" y="408"/>
                  </a:lnTo>
                  <a:lnTo>
                    <a:pt x="1614" y="408"/>
                  </a:lnTo>
                  <a:lnTo>
                    <a:pt x="1614" y="432"/>
                  </a:lnTo>
                  <a:lnTo>
                    <a:pt x="1620" y="438"/>
                  </a:lnTo>
                  <a:lnTo>
                    <a:pt x="1620" y="450"/>
                  </a:lnTo>
                  <a:lnTo>
                    <a:pt x="1620" y="462"/>
                  </a:lnTo>
                  <a:lnTo>
                    <a:pt x="1626" y="474"/>
                  </a:lnTo>
                  <a:lnTo>
                    <a:pt x="1626" y="480"/>
                  </a:lnTo>
                  <a:lnTo>
                    <a:pt x="1626" y="486"/>
                  </a:lnTo>
                  <a:lnTo>
                    <a:pt x="1632" y="522"/>
                  </a:lnTo>
                  <a:lnTo>
                    <a:pt x="1632" y="528"/>
                  </a:lnTo>
                  <a:lnTo>
                    <a:pt x="1632" y="534"/>
                  </a:lnTo>
                  <a:lnTo>
                    <a:pt x="1638" y="540"/>
                  </a:lnTo>
                  <a:lnTo>
                    <a:pt x="1638" y="558"/>
                  </a:lnTo>
                  <a:lnTo>
                    <a:pt x="1638" y="570"/>
                  </a:lnTo>
                  <a:lnTo>
                    <a:pt x="1644" y="582"/>
                  </a:lnTo>
                  <a:lnTo>
                    <a:pt x="1650" y="618"/>
                  </a:lnTo>
                  <a:lnTo>
                    <a:pt x="1650" y="624"/>
                  </a:lnTo>
                  <a:lnTo>
                    <a:pt x="1650" y="636"/>
                  </a:lnTo>
                  <a:lnTo>
                    <a:pt x="1656" y="642"/>
                  </a:lnTo>
                  <a:lnTo>
                    <a:pt x="1656" y="648"/>
                  </a:lnTo>
                  <a:lnTo>
                    <a:pt x="1656" y="654"/>
                  </a:lnTo>
                  <a:lnTo>
                    <a:pt x="1656" y="660"/>
                  </a:lnTo>
                  <a:lnTo>
                    <a:pt x="1662" y="696"/>
                  </a:lnTo>
                  <a:lnTo>
                    <a:pt x="1668" y="708"/>
                  </a:lnTo>
                  <a:lnTo>
                    <a:pt x="1668" y="714"/>
                  </a:lnTo>
                  <a:lnTo>
                    <a:pt x="1668" y="732"/>
                  </a:lnTo>
                  <a:lnTo>
                    <a:pt x="1668" y="744"/>
                  </a:lnTo>
                  <a:lnTo>
                    <a:pt x="1674" y="756"/>
                  </a:lnTo>
                  <a:lnTo>
                    <a:pt x="1680" y="762"/>
                  </a:lnTo>
                  <a:lnTo>
                    <a:pt x="1680" y="768"/>
                  </a:lnTo>
                  <a:lnTo>
                    <a:pt x="1680" y="774"/>
                  </a:lnTo>
                  <a:lnTo>
                    <a:pt x="1680" y="780"/>
                  </a:lnTo>
                  <a:lnTo>
                    <a:pt x="1674" y="786"/>
                  </a:lnTo>
                  <a:lnTo>
                    <a:pt x="1668" y="792"/>
                  </a:lnTo>
                  <a:lnTo>
                    <a:pt x="1668" y="798"/>
                  </a:lnTo>
                  <a:lnTo>
                    <a:pt x="1668" y="804"/>
                  </a:lnTo>
                  <a:lnTo>
                    <a:pt x="1674" y="804"/>
                  </a:lnTo>
                  <a:lnTo>
                    <a:pt x="1668" y="810"/>
                  </a:lnTo>
                  <a:lnTo>
                    <a:pt x="1674" y="810"/>
                  </a:lnTo>
                  <a:lnTo>
                    <a:pt x="1680" y="810"/>
                  </a:lnTo>
                  <a:lnTo>
                    <a:pt x="1680" y="816"/>
                  </a:lnTo>
                  <a:lnTo>
                    <a:pt x="1680" y="822"/>
                  </a:lnTo>
                  <a:lnTo>
                    <a:pt x="1674" y="822"/>
                  </a:lnTo>
                  <a:lnTo>
                    <a:pt x="1674" y="828"/>
                  </a:lnTo>
                  <a:lnTo>
                    <a:pt x="1668" y="828"/>
                  </a:lnTo>
                  <a:lnTo>
                    <a:pt x="1674" y="834"/>
                  </a:lnTo>
                  <a:lnTo>
                    <a:pt x="1668" y="834"/>
                  </a:lnTo>
                  <a:lnTo>
                    <a:pt x="1668" y="840"/>
                  </a:lnTo>
                  <a:lnTo>
                    <a:pt x="1674" y="840"/>
                  </a:lnTo>
                  <a:lnTo>
                    <a:pt x="1686" y="852"/>
                  </a:lnTo>
                  <a:lnTo>
                    <a:pt x="1692" y="858"/>
                  </a:lnTo>
                  <a:lnTo>
                    <a:pt x="1698" y="858"/>
                  </a:lnTo>
                  <a:lnTo>
                    <a:pt x="1698" y="864"/>
                  </a:lnTo>
                  <a:lnTo>
                    <a:pt x="1698" y="870"/>
                  </a:lnTo>
                  <a:lnTo>
                    <a:pt x="1704" y="864"/>
                  </a:lnTo>
                  <a:lnTo>
                    <a:pt x="1716" y="864"/>
                  </a:lnTo>
                  <a:lnTo>
                    <a:pt x="1722" y="864"/>
                  </a:lnTo>
                  <a:lnTo>
                    <a:pt x="1728" y="864"/>
                  </a:lnTo>
                  <a:lnTo>
                    <a:pt x="1734" y="864"/>
                  </a:lnTo>
                  <a:lnTo>
                    <a:pt x="1740" y="864"/>
                  </a:lnTo>
                  <a:lnTo>
                    <a:pt x="1746" y="876"/>
                  </a:lnTo>
                  <a:lnTo>
                    <a:pt x="1746" y="870"/>
                  </a:lnTo>
                  <a:lnTo>
                    <a:pt x="1740" y="864"/>
                  </a:lnTo>
                  <a:lnTo>
                    <a:pt x="1746" y="864"/>
                  </a:lnTo>
                  <a:lnTo>
                    <a:pt x="1752" y="870"/>
                  </a:lnTo>
                  <a:lnTo>
                    <a:pt x="1758" y="864"/>
                  </a:lnTo>
                  <a:lnTo>
                    <a:pt x="1764" y="864"/>
                  </a:lnTo>
                  <a:lnTo>
                    <a:pt x="1770" y="858"/>
                  </a:lnTo>
                  <a:lnTo>
                    <a:pt x="1782" y="864"/>
                  </a:lnTo>
                  <a:lnTo>
                    <a:pt x="1782" y="870"/>
                  </a:lnTo>
                  <a:lnTo>
                    <a:pt x="1788" y="864"/>
                  </a:lnTo>
                  <a:lnTo>
                    <a:pt x="1794" y="864"/>
                  </a:lnTo>
                  <a:lnTo>
                    <a:pt x="1800" y="870"/>
                  </a:lnTo>
                  <a:lnTo>
                    <a:pt x="1818" y="864"/>
                  </a:lnTo>
                  <a:lnTo>
                    <a:pt x="1824" y="870"/>
                  </a:lnTo>
                  <a:lnTo>
                    <a:pt x="1830" y="864"/>
                  </a:lnTo>
                  <a:lnTo>
                    <a:pt x="1836" y="864"/>
                  </a:lnTo>
                  <a:lnTo>
                    <a:pt x="1842" y="870"/>
                  </a:lnTo>
                  <a:lnTo>
                    <a:pt x="1842" y="876"/>
                  </a:lnTo>
                  <a:lnTo>
                    <a:pt x="1848" y="876"/>
                  </a:lnTo>
                  <a:lnTo>
                    <a:pt x="1848" y="870"/>
                  </a:lnTo>
                  <a:lnTo>
                    <a:pt x="1854" y="870"/>
                  </a:lnTo>
                  <a:lnTo>
                    <a:pt x="1860" y="870"/>
                  </a:lnTo>
                  <a:lnTo>
                    <a:pt x="1860" y="876"/>
                  </a:lnTo>
                  <a:lnTo>
                    <a:pt x="1866" y="876"/>
                  </a:lnTo>
                  <a:lnTo>
                    <a:pt x="1866" y="882"/>
                  </a:lnTo>
                  <a:lnTo>
                    <a:pt x="1872" y="882"/>
                  </a:lnTo>
                  <a:lnTo>
                    <a:pt x="1878" y="888"/>
                  </a:lnTo>
                  <a:lnTo>
                    <a:pt x="1890" y="888"/>
                  </a:lnTo>
                  <a:lnTo>
                    <a:pt x="1890" y="894"/>
                  </a:lnTo>
                  <a:lnTo>
                    <a:pt x="1890" y="900"/>
                  </a:lnTo>
                  <a:lnTo>
                    <a:pt x="1884" y="900"/>
                  </a:lnTo>
                  <a:lnTo>
                    <a:pt x="1884" y="906"/>
                  </a:lnTo>
                  <a:lnTo>
                    <a:pt x="1884" y="912"/>
                  </a:lnTo>
                  <a:lnTo>
                    <a:pt x="1890" y="912"/>
                  </a:lnTo>
                  <a:lnTo>
                    <a:pt x="1896" y="912"/>
                  </a:lnTo>
                  <a:lnTo>
                    <a:pt x="1902" y="912"/>
                  </a:lnTo>
                  <a:lnTo>
                    <a:pt x="1908" y="918"/>
                  </a:lnTo>
                  <a:lnTo>
                    <a:pt x="1908" y="924"/>
                  </a:lnTo>
                  <a:lnTo>
                    <a:pt x="1908" y="930"/>
                  </a:lnTo>
                  <a:lnTo>
                    <a:pt x="1908" y="936"/>
                  </a:lnTo>
                  <a:lnTo>
                    <a:pt x="1914" y="936"/>
                  </a:lnTo>
                  <a:lnTo>
                    <a:pt x="1914" y="942"/>
                  </a:lnTo>
                  <a:lnTo>
                    <a:pt x="1908" y="948"/>
                  </a:lnTo>
                  <a:lnTo>
                    <a:pt x="1914" y="948"/>
                  </a:lnTo>
                  <a:lnTo>
                    <a:pt x="1920" y="954"/>
                  </a:lnTo>
                  <a:lnTo>
                    <a:pt x="1926" y="954"/>
                  </a:lnTo>
                  <a:lnTo>
                    <a:pt x="1932" y="954"/>
                  </a:lnTo>
                  <a:lnTo>
                    <a:pt x="1938" y="954"/>
                  </a:lnTo>
                  <a:lnTo>
                    <a:pt x="1938" y="960"/>
                  </a:lnTo>
                  <a:lnTo>
                    <a:pt x="1944" y="966"/>
                  </a:lnTo>
                  <a:lnTo>
                    <a:pt x="1944" y="972"/>
                  </a:lnTo>
                  <a:lnTo>
                    <a:pt x="1944" y="978"/>
                  </a:lnTo>
                  <a:lnTo>
                    <a:pt x="1950" y="978"/>
                  </a:lnTo>
                  <a:lnTo>
                    <a:pt x="1950" y="984"/>
                  </a:lnTo>
                  <a:lnTo>
                    <a:pt x="1956" y="984"/>
                  </a:lnTo>
                  <a:lnTo>
                    <a:pt x="1962" y="984"/>
                  </a:lnTo>
                  <a:lnTo>
                    <a:pt x="1962" y="978"/>
                  </a:lnTo>
                  <a:lnTo>
                    <a:pt x="1968" y="978"/>
                  </a:lnTo>
                  <a:lnTo>
                    <a:pt x="1974" y="978"/>
                  </a:lnTo>
                  <a:lnTo>
                    <a:pt x="1980" y="972"/>
                  </a:lnTo>
                  <a:lnTo>
                    <a:pt x="1980" y="978"/>
                  </a:lnTo>
                  <a:lnTo>
                    <a:pt x="1980" y="984"/>
                  </a:lnTo>
                  <a:lnTo>
                    <a:pt x="1986" y="984"/>
                  </a:lnTo>
                  <a:lnTo>
                    <a:pt x="1992" y="990"/>
                  </a:lnTo>
                  <a:lnTo>
                    <a:pt x="1992" y="996"/>
                  </a:lnTo>
                  <a:lnTo>
                    <a:pt x="1992" y="1002"/>
                  </a:lnTo>
                  <a:lnTo>
                    <a:pt x="1974" y="1008"/>
                  </a:lnTo>
                  <a:lnTo>
                    <a:pt x="1974" y="1014"/>
                  </a:lnTo>
                  <a:lnTo>
                    <a:pt x="1974" y="1020"/>
                  </a:lnTo>
                  <a:lnTo>
                    <a:pt x="1974" y="1026"/>
                  </a:lnTo>
                  <a:lnTo>
                    <a:pt x="1968" y="1038"/>
                  </a:lnTo>
                  <a:lnTo>
                    <a:pt x="1968" y="1044"/>
                  </a:lnTo>
                  <a:lnTo>
                    <a:pt x="1974" y="1056"/>
                  </a:lnTo>
                  <a:lnTo>
                    <a:pt x="1968" y="1062"/>
                  </a:lnTo>
                  <a:lnTo>
                    <a:pt x="1962" y="1062"/>
                  </a:lnTo>
                  <a:lnTo>
                    <a:pt x="1956" y="1068"/>
                  </a:lnTo>
                  <a:lnTo>
                    <a:pt x="1956" y="1074"/>
                  </a:lnTo>
                  <a:lnTo>
                    <a:pt x="1956" y="1080"/>
                  </a:lnTo>
                  <a:lnTo>
                    <a:pt x="1956" y="1086"/>
                  </a:lnTo>
                  <a:lnTo>
                    <a:pt x="1956" y="1092"/>
                  </a:lnTo>
                  <a:lnTo>
                    <a:pt x="1962" y="1092"/>
                  </a:lnTo>
                  <a:lnTo>
                    <a:pt x="1962" y="1104"/>
                  </a:lnTo>
                  <a:lnTo>
                    <a:pt x="1968" y="1110"/>
                  </a:lnTo>
                  <a:lnTo>
                    <a:pt x="1968" y="1116"/>
                  </a:lnTo>
                  <a:lnTo>
                    <a:pt x="1974" y="1116"/>
                  </a:lnTo>
                  <a:lnTo>
                    <a:pt x="1974" y="1122"/>
                  </a:lnTo>
                  <a:lnTo>
                    <a:pt x="1980" y="1122"/>
                  </a:lnTo>
                  <a:lnTo>
                    <a:pt x="1974" y="1128"/>
                  </a:lnTo>
                  <a:lnTo>
                    <a:pt x="1968" y="1134"/>
                  </a:lnTo>
                  <a:lnTo>
                    <a:pt x="1962" y="1140"/>
                  </a:lnTo>
                  <a:lnTo>
                    <a:pt x="1962" y="1146"/>
                  </a:lnTo>
                  <a:lnTo>
                    <a:pt x="1968" y="1152"/>
                  </a:lnTo>
                  <a:lnTo>
                    <a:pt x="1968" y="1158"/>
                  </a:lnTo>
                  <a:lnTo>
                    <a:pt x="1962" y="1158"/>
                  </a:lnTo>
                  <a:lnTo>
                    <a:pt x="1962" y="1164"/>
                  </a:lnTo>
                  <a:lnTo>
                    <a:pt x="1956" y="1164"/>
                  </a:lnTo>
                  <a:lnTo>
                    <a:pt x="1956" y="1170"/>
                  </a:lnTo>
                  <a:lnTo>
                    <a:pt x="1944" y="1182"/>
                  </a:lnTo>
                  <a:lnTo>
                    <a:pt x="1944" y="1188"/>
                  </a:lnTo>
                  <a:lnTo>
                    <a:pt x="1950" y="1188"/>
                  </a:lnTo>
                  <a:lnTo>
                    <a:pt x="1944" y="1200"/>
                  </a:lnTo>
                  <a:lnTo>
                    <a:pt x="1944" y="1206"/>
                  </a:lnTo>
                  <a:lnTo>
                    <a:pt x="1944" y="1212"/>
                  </a:lnTo>
                  <a:lnTo>
                    <a:pt x="1944" y="1218"/>
                  </a:lnTo>
                  <a:lnTo>
                    <a:pt x="1944" y="1230"/>
                  </a:lnTo>
                  <a:lnTo>
                    <a:pt x="1944" y="1236"/>
                  </a:lnTo>
                  <a:lnTo>
                    <a:pt x="1944" y="1242"/>
                  </a:lnTo>
                  <a:lnTo>
                    <a:pt x="1938" y="1248"/>
                  </a:lnTo>
                  <a:lnTo>
                    <a:pt x="1938" y="1254"/>
                  </a:lnTo>
                  <a:lnTo>
                    <a:pt x="1932" y="1254"/>
                  </a:lnTo>
                  <a:lnTo>
                    <a:pt x="1926" y="1260"/>
                  </a:lnTo>
                  <a:lnTo>
                    <a:pt x="1920" y="1266"/>
                  </a:lnTo>
                  <a:lnTo>
                    <a:pt x="1914" y="1272"/>
                  </a:lnTo>
                  <a:lnTo>
                    <a:pt x="1908" y="1272"/>
                  </a:lnTo>
                  <a:lnTo>
                    <a:pt x="1908" y="1278"/>
                  </a:lnTo>
                  <a:lnTo>
                    <a:pt x="1914" y="1278"/>
                  </a:lnTo>
                  <a:lnTo>
                    <a:pt x="1914" y="1290"/>
                  </a:lnTo>
                  <a:lnTo>
                    <a:pt x="1920" y="1296"/>
                  </a:lnTo>
                  <a:lnTo>
                    <a:pt x="1938" y="1302"/>
                  </a:lnTo>
                  <a:lnTo>
                    <a:pt x="1944" y="1308"/>
                  </a:lnTo>
                  <a:lnTo>
                    <a:pt x="1950" y="1314"/>
                  </a:lnTo>
                  <a:lnTo>
                    <a:pt x="1956" y="1314"/>
                  </a:lnTo>
                  <a:lnTo>
                    <a:pt x="1962" y="1320"/>
                  </a:lnTo>
                  <a:lnTo>
                    <a:pt x="1962" y="1326"/>
                  </a:lnTo>
                  <a:lnTo>
                    <a:pt x="1968" y="1326"/>
                  </a:lnTo>
                  <a:lnTo>
                    <a:pt x="1968" y="1332"/>
                  </a:lnTo>
                  <a:lnTo>
                    <a:pt x="1968" y="1344"/>
                  </a:lnTo>
                  <a:lnTo>
                    <a:pt x="1968" y="1350"/>
                  </a:lnTo>
                  <a:lnTo>
                    <a:pt x="1968" y="1368"/>
                  </a:lnTo>
                  <a:lnTo>
                    <a:pt x="1962" y="1380"/>
                  </a:lnTo>
                  <a:lnTo>
                    <a:pt x="1968" y="1392"/>
                  </a:lnTo>
                  <a:lnTo>
                    <a:pt x="1962" y="1398"/>
                  </a:lnTo>
                  <a:lnTo>
                    <a:pt x="1956" y="1404"/>
                  </a:lnTo>
                  <a:lnTo>
                    <a:pt x="1950" y="1410"/>
                  </a:lnTo>
                  <a:lnTo>
                    <a:pt x="1944" y="1410"/>
                  </a:lnTo>
                  <a:lnTo>
                    <a:pt x="1932" y="1416"/>
                  </a:lnTo>
                  <a:lnTo>
                    <a:pt x="1926" y="1416"/>
                  </a:lnTo>
                  <a:lnTo>
                    <a:pt x="1896" y="1428"/>
                  </a:lnTo>
                  <a:lnTo>
                    <a:pt x="1884" y="1434"/>
                  </a:lnTo>
                  <a:lnTo>
                    <a:pt x="1878" y="1434"/>
                  </a:lnTo>
                  <a:lnTo>
                    <a:pt x="1866" y="1434"/>
                  </a:lnTo>
                  <a:lnTo>
                    <a:pt x="1854" y="1440"/>
                  </a:lnTo>
                  <a:lnTo>
                    <a:pt x="1848" y="1440"/>
                  </a:lnTo>
                  <a:lnTo>
                    <a:pt x="1842" y="1446"/>
                  </a:lnTo>
                  <a:lnTo>
                    <a:pt x="1842" y="1458"/>
                  </a:lnTo>
                  <a:lnTo>
                    <a:pt x="1836" y="1470"/>
                  </a:lnTo>
                  <a:lnTo>
                    <a:pt x="1830" y="1476"/>
                  </a:lnTo>
                  <a:lnTo>
                    <a:pt x="1824" y="1476"/>
                  </a:lnTo>
                  <a:lnTo>
                    <a:pt x="1806" y="1482"/>
                  </a:lnTo>
                  <a:lnTo>
                    <a:pt x="1800" y="1488"/>
                  </a:lnTo>
                  <a:lnTo>
                    <a:pt x="1794" y="1488"/>
                  </a:lnTo>
                  <a:lnTo>
                    <a:pt x="1788" y="1488"/>
                  </a:lnTo>
                  <a:lnTo>
                    <a:pt x="1776" y="1494"/>
                  </a:lnTo>
                  <a:lnTo>
                    <a:pt x="1764" y="1494"/>
                  </a:lnTo>
                  <a:lnTo>
                    <a:pt x="1758" y="1500"/>
                  </a:lnTo>
                  <a:lnTo>
                    <a:pt x="1746" y="1506"/>
                  </a:lnTo>
                  <a:lnTo>
                    <a:pt x="1728" y="1518"/>
                  </a:lnTo>
                  <a:lnTo>
                    <a:pt x="1716" y="1524"/>
                  </a:lnTo>
                  <a:lnTo>
                    <a:pt x="1710" y="1530"/>
                  </a:lnTo>
                  <a:lnTo>
                    <a:pt x="1704" y="1536"/>
                  </a:lnTo>
                  <a:lnTo>
                    <a:pt x="1698" y="1542"/>
                  </a:lnTo>
                  <a:lnTo>
                    <a:pt x="1692" y="1554"/>
                  </a:lnTo>
                  <a:lnTo>
                    <a:pt x="1686" y="1560"/>
                  </a:lnTo>
                  <a:lnTo>
                    <a:pt x="1680" y="1560"/>
                  </a:lnTo>
                  <a:lnTo>
                    <a:pt x="1674" y="1560"/>
                  </a:lnTo>
                  <a:lnTo>
                    <a:pt x="1656" y="1572"/>
                  </a:lnTo>
                  <a:lnTo>
                    <a:pt x="1650" y="1572"/>
                  </a:lnTo>
                  <a:lnTo>
                    <a:pt x="1644" y="1572"/>
                  </a:lnTo>
                  <a:lnTo>
                    <a:pt x="1638" y="1578"/>
                  </a:lnTo>
                  <a:lnTo>
                    <a:pt x="1632" y="1578"/>
                  </a:lnTo>
                  <a:lnTo>
                    <a:pt x="1626" y="1578"/>
                  </a:lnTo>
                  <a:lnTo>
                    <a:pt x="1620" y="1572"/>
                  </a:lnTo>
                  <a:lnTo>
                    <a:pt x="1614" y="1572"/>
                  </a:lnTo>
                  <a:lnTo>
                    <a:pt x="1608" y="1566"/>
                  </a:lnTo>
                  <a:lnTo>
                    <a:pt x="1602" y="1560"/>
                  </a:lnTo>
                  <a:lnTo>
                    <a:pt x="1596" y="1554"/>
                  </a:lnTo>
                  <a:lnTo>
                    <a:pt x="1590" y="1548"/>
                  </a:lnTo>
                  <a:lnTo>
                    <a:pt x="1578" y="1548"/>
                  </a:lnTo>
                  <a:lnTo>
                    <a:pt x="1572" y="1548"/>
                  </a:lnTo>
                  <a:lnTo>
                    <a:pt x="1566" y="1548"/>
                  </a:lnTo>
                  <a:lnTo>
                    <a:pt x="1554" y="1536"/>
                  </a:lnTo>
                  <a:lnTo>
                    <a:pt x="1548" y="1536"/>
                  </a:lnTo>
                  <a:lnTo>
                    <a:pt x="1542" y="1542"/>
                  </a:lnTo>
                  <a:lnTo>
                    <a:pt x="1536" y="1548"/>
                  </a:lnTo>
                  <a:lnTo>
                    <a:pt x="1536" y="1566"/>
                  </a:lnTo>
                  <a:lnTo>
                    <a:pt x="1530" y="1572"/>
                  </a:lnTo>
                  <a:lnTo>
                    <a:pt x="1524" y="1578"/>
                  </a:lnTo>
                  <a:lnTo>
                    <a:pt x="1518" y="1584"/>
                  </a:lnTo>
                  <a:lnTo>
                    <a:pt x="1512" y="1596"/>
                  </a:lnTo>
                  <a:lnTo>
                    <a:pt x="1506" y="1602"/>
                  </a:lnTo>
                  <a:lnTo>
                    <a:pt x="1506" y="1608"/>
                  </a:lnTo>
                  <a:lnTo>
                    <a:pt x="1506" y="1614"/>
                  </a:lnTo>
                  <a:lnTo>
                    <a:pt x="1500" y="1614"/>
                  </a:lnTo>
                  <a:lnTo>
                    <a:pt x="1500" y="1620"/>
                  </a:lnTo>
                  <a:lnTo>
                    <a:pt x="1500" y="1626"/>
                  </a:lnTo>
                  <a:lnTo>
                    <a:pt x="1494" y="1632"/>
                  </a:lnTo>
                  <a:lnTo>
                    <a:pt x="1488" y="1638"/>
                  </a:lnTo>
                  <a:lnTo>
                    <a:pt x="1482" y="1638"/>
                  </a:lnTo>
                  <a:lnTo>
                    <a:pt x="1482" y="1644"/>
                  </a:lnTo>
                  <a:lnTo>
                    <a:pt x="1482" y="1650"/>
                  </a:lnTo>
                  <a:lnTo>
                    <a:pt x="1482" y="1656"/>
                  </a:lnTo>
                  <a:lnTo>
                    <a:pt x="1476" y="1662"/>
                  </a:lnTo>
                  <a:lnTo>
                    <a:pt x="1470" y="1668"/>
                  </a:lnTo>
                  <a:lnTo>
                    <a:pt x="1464" y="1674"/>
                  </a:lnTo>
                  <a:lnTo>
                    <a:pt x="1464" y="1680"/>
                  </a:lnTo>
                  <a:lnTo>
                    <a:pt x="1458" y="1680"/>
                  </a:lnTo>
                  <a:lnTo>
                    <a:pt x="1452" y="1686"/>
                  </a:lnTo>
                  <a:lnTo>
                    <a:pt x="1446" y="1686"/>
                  </a:lnTo>
                  <a:lnTo>
                    <a:pt x="1440" y="1698"/>
                  </a:lnTo>
                  <a:lnTo>
                    <a:pt x="1440" y="1704"/>
                  </a:lnTo>
                  <a:lnTo>
                    <a:pt x="1434" y="1710"/>
                  </a:lnTo>
                  <a:lnTo>
                    <a:pt x="1434" y="1716"/>
                  </a:lnTo>
                  <a:lnTo>
                    <a:pt x="1428" y="1716"/>
                  </a:lnTo>
                  <a:lnTo>
                    <a:pt x="1428" y="1722"/>
                  </a:lnTo>
                  <a:lnTo>
                    <a:pt x="1428" y="1728"/>
                  </a:lnTo>
                  <a:lnTo>
                    <a:pt x="1422" y="1728"/>
                  </a:lnTo>
                  <a:lnTo>
                    <a:pt x="1422" y="1734"/>
                  </a:lnTo>
                  <a:lnTo>
                    <a:pt x="1416" y="1734"/>
                  </a:lnTo>
                  <a:lnTo>
                    <a:pt x="1410" y="1734"/>
                  </a:lnTo>
                  <a:lnTo>
                    <a:pt x="1392" y="1746"/>
                  </a:lnTo>
                  <a:lnTo>
                    <a:pt x="1386" y="1746"/>
                  </a:lnTo>
                  <a:lnTo>
                    <a:pt x="1368" y="1752"/>
                  </a:lnTo>
                  <a:lnTo>
                    <a:pt x="1362" y="1758"/>
                  </a:lnTo>
                  <a:lnTo>
                    <a:pt x="1362" y="1770"/>
                  </a:lnTo>
                  <a:lnTo>
                    <a:pt x="1356" y="178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graphicFrame>
        <p:nvGraphicFramePr>
          <p:cNvPr id="357" name="Group 76">
            <a:extLst>
              <a:ext uri="{FF2B5EF4-FFF2-40B4-BE49-F238E27FC236}">
                <a16:creationId xmlns:a16="http://schemas.microsoft.com/office/drawing/2014/main" id="{57830D68-CF73-4A3E-9D36-141B03AADBF7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41338" y="3402013"/>
          <a:ext cx="3735387" cy="1827306"/>
        </p:xfrm>
        <a:graphic>
          <a:graphicData uri="http://schemas.openxmlformats.org/drawingml/2006/table">
            <a:tbl>
              <a:tblPr/>
              <a:tblGrid>
                <a:gridCol w="1316931">
                  <a:extLst>
                    <a:ext uri="{9D8B030D-6E8A-4147-A177-3AD203B41FA5}">
                      <a16:colId xmlns:a16="http://schemas.microsoft.com/office/drawing/2014/main" val="2027704273"/>
                    </a:ext>
                  </a:extLst>
                </a:gridCol>
                <a:gridCol w="603796">
                  <a:extLst>
                    <a:ext uri="{9D8B030D-6E8A-4147-A177-3AD203B41FA5}">
                      <a16:colId xmlns:a16="http://schemas.microsoft.com/office/drawing/2014/main" val="3432768286"/>
                    </a:ext>
                  </a:extLst>
                </a:gridCol>
                <a:gridCol w="744015">
                  <a:extLst>
                    <a:ext uri="{9D8B030D-6E8A-4147-A177-3AD203B41FA5}">
                      <a16:colId xmlns:a16="http://schemas.microsoft.com/office/drawing/2014/main" val="3730294207"/>
                    </a:ext>
                  </a:extLst>
                </a:gridCol>
                <a:gridCol w="1070645">
                  <a:extLst>
                    <a:ext uri="{9D8B030D-6E8A-4147-A177-3AD203B41FA5}">
                      <a16:colId xmlns:a16="http://schemas.microsoft.com/office/drawing/2014/main" val="2258321117"/>
                    </a:ext>
                  </a:extLst>
                </a:gridCol>
              </a:tblGrid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apital</a:t>
                      </a:r>
                      <a:endParaRPr kumimoji="0" lang="en-SG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292929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SG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Minna</a:t>
                      </a:r>
                      <a:endParaRPr kumimoji="0" lang="en-SG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703009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nd Are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68,925 km</a:t>
                      </a:r>
                      <a:r>
                        <a:rPr kumimoji="0" lang="en-US" altLang="en-US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2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603614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Population (2017E)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5, 524,931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12of 37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505851"/>
                  </a:ext>
                </a:extLst>
              </a:tr>
              <a:tr h="203024">
                <a:tc row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Dem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0-14: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,595,142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8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130093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5-64: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,780,044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50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387564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65+: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+mn-cs"/>
                        </a:rPr>
                        <a:t>   149,745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[3%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38801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bour force 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,808,755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22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797882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limate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ropical savann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3942226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op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Rock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32899"/>
                  </a:ext>
                </a:extLst>
              </a:tr>
            </a:tbl>
          </a:graphicData>
        </a:graphic>
      </p:graphicFrame>
      <p:pic>
        <p:nvPicPr>
          <p:cNvPr id="23609" name="Picture 13">
            <a:extLst>
              <a:ext uri="{FF2B5EF4-FFF2-40B4-BE49-F238E27FC236}">
                <a16:creationId xmlns:a16="http://schemas.microsoft.com/office/drawing/2014/main" id="{952964D5-F0ED-4CAE-B71C-DB4A723FA5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0" y="3006725"/>
            <a:ext cx="1116013" cy="155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9" name="TextBox 378">
            <a:extLst>
              <a:ext uri="{FF2B5EF4-FFF2-40B4-BE49-F238E27FC236}">
                <a16:creationId xmlns:a16="http://schemas.microsoft.com/office/drawing/2014/main" id="{1B3FD4BF-4685-4C74-821F-10048D6246BF}"/>
              </a:ext>
            </a:extLst>
          </p:cNvPr>
          <p:cNvSpPr txBox="1"/>
          <p:nvPr/>
        </p:nvSpPr>
        <p:spPr>
          <a:xfrm>
            <a:off x="6124575" y="957263"/>
            <a:ext cx="3475038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Competitive Advantages</a:t>
            </a: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455FE7A1-ADE5-4F7B-A489-00196671A53E}"/>
              </a:ext>
            </a:extLst>
          </p:cNvPr>
          <p:cNvSpPr/>
          <p:nvPr/>
        </p:nvSpPr>
        <p:spPr>
          <a:xfrm>
            <a:off x="4267248" y="1187511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dbl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N</a:t>
            </a:r>
            <a:r>
              <a:rPr kumimoji="0" lang="en-US" sz="1600" b="0" i="0" u="none" strike="no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6.5bn/$21.4m</a:t>
            </a:r>
            <a:endParaRPr kumimoji="0" lang="en-MY" sz="1600" b="0" i="0" u="none" strike="noStrike" kern="1200" cap="none" spc="-15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EBB25788-D073-4A78-9D6C-DF3836CFFFBB}"/>
              </a:ext>
            </a:extLst>
          </p:cNvPr>
          <p:cNvSpPr txBox="1"/>
          <p:nvPr/>
        </p:nvSpPr>
        <p:spPr>
          <a:xfrm>
            <a:off x="4267200" y="955675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IGR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 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(2017)</a:t>
            </a: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6F07DF39-553B-44F0-8864-1F897C2BD79A}"/>
              </a:ext>
            </a:extLst>
          </p:cNvPr>
          <p:cNvSpPr/>
          <p:nvPr/>
        </p:nvSpPr>
        <p:spPr>
          <a:xfrm>
            <a:off x="4267252" y="1809750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dbl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N</a:t>
            </a:r>
            <a:r>
              <a:rPr kumimoji="0" lang="en-US" sz="1600" b="0" i="0" u="none" strike="no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128bn/$1.1bn</a:t>
            </a:r>
            <a:endParaRPr kumimoji="0" lang="en-MY" sz="1600" b="0" i="0" u="none" strike="noStrike" kern="1200" cap="none" spc="-15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2508695A-2D2C-45A3-80FE-9C2CB18200C2}"/>
              </a:ext>
            </a:extLst>
          </p:cNvPr>
          <p:cNvSpPr txBox="1"/>
          <p:nvPr/>
        </p:nvSpPr>
        <p:spPr>
          <a:xfrm>
            <a:off x="4267200" y="1576388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Budget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 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(2018)</a:t>
            </a: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86A33ABE-3AE3-40A7-A6A6-1B757A6A9B0F}"/>
              </a:ext>
            </a:extLst>
          </p:cNvPr>
          <p:cNvSpPr/>
          <p:nvPr/>
        </p:nvSpPr>
        <p:spPr>
          <a:xfrm>
            <a:off x="4256076" y="2667155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dbl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N</a:t>
            </a:r>
            <a:r>
              <a:rPr kumimoji="0" lang="en-US" sz="1600" b="0" i="0" u="none" strike="no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1.9tn /$6.1m</a:t>
            </a:r>
            <a:endParaRPr kumimoji="0" lang="en-MY" sz="1600" b="0" i="0" u="none" strike="noStrike" kern="1200" cap="none" spc="-15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1E919764-A18B-4532-A533-A84A31D7FEFE}"/>
              </a:ext>
            </a:extLst>
          </p:cNvPr>
          <p:cNvSpPr txBox="1"/>
          <p:nvPr/>
        </p:nvSpPr>
        <p:spPr>
          <a:xfrm>
            <a:off x="4256088" y="2185988"/>
            <a:ext cx="1811337" cy="50641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Househol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Consumption 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(2017)</a:t>
            </a:r>
          </a:p>
        </p:txBody>
      </p:sp>
      <p:sp>
        <p:nvSpPr>
          <p:cNvPr id="96" name="Plaque 95">
            <a:extLst>
              <a:ext uri="{FF2B5EF4-FFF2-40B4-BE49-F238E27FC236}">
                <a16:creationId xmlns:a16="http://schemas.microsoft.com/office/drawing/2014/main" id="{E3BE1182-17B4-4194-8641-F1EA2CCBB757}"/>
              </a:ext>
            </a:extLst>
          </p:cNvPr>
          <p:cNvSpPr/>
          <p:nvPr/>
        </p:nvSpPr>
        <p:spPr>
          <a:xfrm>
            <a:off x="5571331" y="2816721"/>
            <a:ext cx="496094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4 of 36</a:t>
            </a:r>
          </a:p>
        </p:txBody>
      </p:sp>
      <p:sp>
        <p:nvSpPr>
          <p:cNvPr id="99" name="Plaque 98">
            <a:extLst>
              <a:ext uri="{FF2B5EF4-FFF2-40B4-BE49-F238E27FC236}">
                <a16:creationId xmlns:a16="http://schemas.microsoft.com/office/drawing/2014/main" id="{8620E393-1C52-4CE1-9888-20922FA6DFEA}"/>
              </a:ext>
            </a:extLst>
          </p:cNvPr>
          <p:cNvSpPr/>
          <p:nvPr/>
        </p:nvSpPr>
        <p:spPr>
          <a:xfrm>
            <a:off x="5583996" y="1964234"/>
            <a:ext cx="483429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30 of 36</a:t>
            </a:r>
          </a:p>
        </p:txBody>
      </p:sp>
      <p:sp>
        <p:nvSpPr>
          <p:cNvPr id="100" name="Plaque 99">
            <a:extLst>
              <a:ext uri="{FF2B5EF4-FFF2-40B4-BE49-F238E27FC236}">
                <a16:creationId xmlns:a16="http://schemas.microsoft.com/office/drawing/2014/main" id="{3BFA6D28-9A42-4459-8BF1-090CE1B45216}"/>
              </a:ext>
            </a:extLst>
          </p:cNvPr>
          <p:cNvSpPr/>
          <p:nvPr/>
        </p:nvSpPr>
        <p:spPr>
          <a:xfrm>
            <a:off x="5638800" y="1333500"/>
            <a:ext cx="430213" cy="1539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23of 36</a:t>
            </a:r>
          </a:p>
        </p:txBody>
      </p:sp>
      <p:sp>
        <p:nvSpPr>
          <p:cNvPr id="101" name="Pentagon 19">
            <a:extLst>
              <a:ext uri="{FF2B5EF4-FFF2-40B4-BE49-F238E27FC236}">
                <a16:creationId xmlns:a16="http://schemas.microsoft.com/office/drawing/2014/main" id="{CCD74FA4-19D0-4356-90C9-B3B49BCC3F54}"/>
              </a:ext>
            </a:extLst>
          </p:cNvPr>
          <p:cNvSpPr>
            <a:spLocks/>
          </p:cNvSpPr>
          <p:nvPr/>
        </p:nvSpPr>
        <p:spPr bwMode="auto">
          <a:xfrm>
            <a:off x="688340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7 of 37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12EE735-1E43-4799-A46A-5D0787F375CE}"/>
              </a:ext>
            </a:extLst>
          </p:cNvPr>
          <p:cNvSpPr/>
          <p:nvPr/>
        </p:nvSpPr>
        <p:spPr>
          <a:xfrm>
            <a:off x="6880225" y="5726113"/>
            <a:ext cx="642938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rting a Business</a:t>
            </a:r>
          </a:p>
        </p:txBody>
      </p:sp>
      <p:pic>
        <p:nvPicPr>
          <p:cNvPr id="23622" name="Picture 3">
            <a:extLst>
              <a:ext uri="{FF2B5EF4-FFF2-40B4-BE49-F238E27FC236}">
                <a16:creationId xmlns:a16="http://schemas.microsoft.com/office/drawing/2014/main" id="{53FAD0C6-8FFE-437B-B7E4-F2A938D3BE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350" y="5249863"/>
            <a:ext cx="41910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23" name="Freeform 15">
            <a:extLst>
              <a:ext uri="{FF2B5EF4-FFF2-40B4-BE49-F238E27FC236}">
                <a16:creationId xmlns:a16="http://schemas.microsoft.com/office/drawing/2014/main" id="{183A3C8B-011E-4D99-9165-3FF03A2D3207}"/>
              </a:ext>
            </a:extLst>
          </p:cNvPr>
          <p:cNvSpPr>
            <a:spLocks noEditPoints="1"/>
          </p:cNvSpPr>
          <p:nvPr/>
        </p:nvSpPr>
        <p:spPr bwMode="auto">
          <a:xfrm>
            <a:off x="9093200" y="5257800"/>
            <a:ext cx="276225" cy="347663"/>
          </a:xfrm>
          <a:custGeom>
            <a:avLst/>
            <a:gdLst>
              <a:gd name="T0" fmla="*/ 2147483646 w 3556"/>
              <a:gd name="T1" fmla="*/ 2147483646 h 3950"/>
              <a:gd name="T2" fmla="*/ 2147483646 w 3556"/>
              <a:gd name="T3" fmla="*/ 2147483646 h 3950"/>
              <a:gd name="T4" fmla="*/ 2147483646 w 3556"/>
              <a:gd name="T5" fmla="*/ 2147483646 h 3950"/>
              <a:gd name="T6" fmla="*/ 2147483646 w 3556"/>
              <a:gd name="T7" fmla="*/ 2147483646 h 3950"/>
              <a:gd name="T8" fmla="*/ 2147483646 w 3556"/>
              <a:gd name="T9" fmla="*/ 2147483646 h 3950"/>
              <a:gd name="T10" fmla="*/ 2147483646 w 3556"/>
              <a:gd name="T11" fmla="*/ 2147483646 h 3950"/>
              <a:gd name="T12" fmla="*/ 2147483646 w 3556"/>
              <a:gd name="T13" fmla="*/ 2147483646 h 3950"/>
              <a:gd name="T14" fmla="*/ 2147483646 w 3556"/>
              <a:gd name="T15" fmla="*/ 2147483646 h 3950"/>
              <a:gd name="T16" fmla="*/ 2147483646 w 3556"/>
              <a:gd name="T17" fmla="*/ 2147483646 h 3950"/>
              <a:gd name="T18" fmla="*/ 2147483646 w 3556"/>
              <a:gd name="T19" fmla="*/ 2147483646 h 3950"/>
              <a:gd name="T20" fmla="*/ 2147483646 w 3556"/>
              <a:gd name="T21" fmla="*/ 2147483646 h 3950"/>
              <a:gd name="T22" fmla="*/ 0 w 3556"/>
              <a:gd name="T23" fmla="*/ 2147483646 h 3950"/>
              <a:gd name="T24" fmla="*/ 2147483646 w 3556"/>
              <a:gd name="T25" fmla="*/ 2147483646 h 3950"/>
              <a:gd name="T26" fmla="*/ 2147483646 w 3556"/>
              <a:gd name="T27" fmla="*/ 2147483646 h 3950"/>
              <a:gd name="T28" fmla="*/ 2147483646 w 3556"/>
              <a:gd name="T29" fmla="*/ 2147483646 h 3950"/>
              <a:gd name="T30" fmla="*/ 2147483646 w 3556"/>
              <a:gd name="T31" fmla="*/ 2147483646 h 3950"/>
              <a:gd name="T32" fmla="*/ 2147483646 w 3556"/>
              <a:gd name="T33" fmla="*/ 2147483646 h 3950"/>
              <a:gd name="T34" fmla="*/ 2147483646 w 3556"/>
              <a:gd name="T35" fmla="*/ 2147483646 h 3950"/>
              <a:gd name="T36" fmla="*/ 2147483646 w 3556"/>
              <a:gd name="T37" fmla="*/ 2147483646 h 3950"/>
              <a:gd name="T38" fmla="*/ 2147483646 w 3556"/>
              <a:gd name="T39" fmla="*/ 2147483646 h 3950"/>
              <a:gd name="T40" fmla="*/ 2147483646 w 3556"/>
              <a:gd name="T41" fmla="*/ 2147483646 h 3950"/>
              <a:gd name="T42" fmla="*/ 2147483646 w 3556"/>
              <a:gd name="T43" fmla="*/ 2147483646 h 3950"/>
              <a:gd name="T44" fmla="*/ 2147483646 w 3556"/>
              <a:gd name="T45" fmla="*/ 2147483646 h 3950"/>
              <a:gd name="T46" fmla="*/ 2147483646 w 3556"/>
              <a:gd name="T47" fmla="*/ 2147483646 h 3950"/>
              <a:gd name="T48" fmla="*/ 2147483646 w 3556"/>
              <a:gd name="T49" fmla="*/ 2147483646 h 3950"/>
              <a:gd name="T50" fmla="*/ 2147483646 w 3556"/>
              <a:gd name="T51" fmla="*/ 2147483646 h 3950"/>
              <a:gd name="T52" fmla="*/ 2147483646 w 3556"/>
              <a:gd name="T53" fmla="*/ 2147483646 h 3950"/>
              <a:gd name="T54" fmla="*/ 2147483646 w 3556"/>
              <a:gd name="T55" fmla="*/ 2147483646 h 3950"/>
              <a:gd name="T56" fmla="*/ 2147483646 w 3556"/>
              <a:gd name="T57" fmla="*/ 2147483646 h 3950"/>
              <a:gd name="T58" fmla="*/ 2147483646 w 3556"/>
              <a:gd name="T59" fmla="*/ 2147483646 h 3950"/>
              <a:gd name="T60" fmla="*/ 2147483646 w 3556"/>
              <a:gd name="T61" fmla="*/ 2147483646 h 3950"/>
              <a:gd name="T62" fmla="*/ 2147483646 w 3556"/>
              <a:gd name="T63" fmla="*/ 2147483646 h 3950"/>
              <a:gd name="T64" fmla="*/ 2147483646 w 3556"/>
              <a:gd name="T65" fmla="*/ 2147483646 h 3950"/>
              <a:gd name="T66" fmla="*/ 2147483646 w 3556"/>
              <a:gd name="T67" fmla="*/ 2147483646 h 3950"/>
              <a:gd name="T68" fmla="*/ 2147483646 w 3556"/>
              <a:gd name="T69" fmla="*/ 2147483646 h 3950"/>
              <a:gd name="T70" fmla="*/ 2147483646 w 3556"/>
              <a:gd name="T71" fmla="*/ 2147483646 h 3950"/>
              <a:gd name="T72" fmla="*/ 2147483646 w 3556"/>
              <a:gd name="T73" fmla="*/ 2147483646 h 3950"/>
              <a:gd name="T74" fmla="*/ 2147483646 w 3556"/>
              <a:gd name="T75" fmla="*/ 2147483646 h 3950"/>
              <a:gd name="T76" fmla="*/ 2147483646 w 3556"/>
              <a:gd name="T77" fmla="*/ 2147483646 h 3950"/>
              <a:gd name="T78" fmla="*/ 2147483646 w 3556"/>
              <a:gd name="T79" fmla="*/ 2147483646 h 3950"/>
              <a:gd name="T80" fmla="*/ 2147483646 w 3556"/>
              <a:gd name="T81" fmla="*/ 0 h 3950"/>
              <a:gd name="T82" fmla="*/ 2147483646 w 3556"/>
              <a:gd name="T83" fmla="*/ 2147483646 h 3950"/>
              <a:gd name="T84" fmla="*/ 2147483646 w 3556"/>
              <a:gd name="T85" fmla="*/ 2147483646 h 3950"/>
              <a:gd name="T86" fmla="*/ 2147483646 w 3556"/>
              <a:gd name="T87" fmla="*/ 2147483646 h 395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556"/>
              <a:gd name="T133" fmla="*/ 0 h 3950"/>
              <a:gd name="T134" fmla="*/ 3556 w 3556"/>
              <a:gd name="T135" fmla="*/ 3950 h 395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556" h="3950">
                <a:moveTo>
                  <a:pt x="909" y="3917"/>
                </a:moveTo>
                <a:cubicBezTo>
                  <a:pt x="824" y="3832"/>
                  <a:pt x="894" y="3725"/>
                  <a:pt x="1036" y="3725"/>
                </a:cubicBezTo>
                <a:cubicBezTo>
                  <a:pt x="1119" y="3725"/>
                  <a:pt x="1129" y="3717"/>
                  <a:pt x="1129" y="3645"/>
                </a:cubicBezTo>
                <a:cubicBezTo>
                  <a:pt x="1129" y="3472"/>
                  <a:pt x="1135" y="3471"/>
                  <a:pt x="2192" y="3471"/>
                </a:cubicBezTo>
                <a:cubicBezTo>
                  <a:pt x="3086" y="3471"/>
                  <a:pt x="3155" y="3475"/>
                  <a:pt x="3199" y="3523"/>
                </a:cubicBezTo>
                <a:cubicBezTo>
                  <a:pt x="3225" y="3551"/>
                  <a:pt x="3246" y="3608"/>
                  <a:pt x="3246" y="3648"/>
                </a:cubicBezTo>
                <a:cubicBezTo>
                  <a:pt x="3246" y="3712"/>
                  <a:pt x="3259" y="3723"/>
                  <a:pt x="3349" y="3730"/>
                </a:cubicBezTo>
                <a:cubicBezTo>
                  <a:pt x="3470" y="3741"/>
                  <a:pt x="3530" y="3811"/>
                  <a:pt x="3482" y="3887"/>
                </a:cubicBezTo>
                <a:cubicBezTo>
                  <a:pt x="3453" y="3933"/>
                  <a:pt x="3356" y="3937"/>
                  <a:pt x="2197" y="3944"/>
                </a:cubicBezTo>
                <a:cubicBezTo>
                  <a:pt x="1245" y="3950"/>
                  <a:pt x="935" y="3943"/>
                  <a:pt x="909" y="3917"/>
                </a:cubicBezTo>
                <a:close/>
                <a:moveTo>
                  <a:pt x="87" y="3370"/>
                </a:moveTo>
                <a:cubicBezTo>
                  <a:pt x="24" y="3317"/>
                  <a:pt x="0" y="3272"/>
                  <a:pt x="0" y="3209"/>
                </a:cubicBezTo>
                <a:cubicBezTo>
                  <a:pt x="0" y="3132"/>
                  <a:pt x="86" y="3035"/>
                  <a:pt x="705" y="2414"/>
                </a:cubicBezTo>
                <a:lnTo>
                  <a:pt x="1411" y="1706"/>
                </a:lnTo>
                <a:lnTo>
                  <a:pt x="1235" y="1530"/>
                </a:lnTo>
                <a:lnTo>
                  <a:pt x="1059" y="1355"/>
                </a:lnTo>
                <a:lnTo>
                  <a:pt x="1510" y="903"/>
                </a:lnTo>
                <a:lnTo>
                  <a:pt x="1960" y="452"/>
                </a:lnTo>
                <a:lnTo>
                  <a:pt x="2135" y="624"/>
                </a:lnTo>
                <a:cubicBezTo>
                  <a:pt x="2305" y="793"/>
                  <a:pt x="2310" y="796"/>
                  <a:pt x="2374" y="751"/>
                </a:cubicBezTo>
                <a:cubicBezTo>
                  <a:pt x="2469" y="685"/>
                  <a:pt x="2547" y="695"/>
                  <a:pt x="2633" y="785"/>
                </a:cubicBezTo>
                <a:cubicBezTo>
                  <a:pt x="2720" y="875"/>
                  <a:pt x="2731" y="974"/>
                  <a:pt x="2662" y="1050"/>
                </a:cubicBezTo>
                <a:cubicBezTo>
                  <a:pt x="2616" y="1100"/>
                  <a:pt x="2624" y="1112"/>
                  <a:pt x="2823" y="1313"/>
                </a:cubicBezTo>
                <a:lnTo>
                  <a:pt x="3033" y="1524"/>
                </a:lnTo>
                <a:lnTo>
                  <a:pt x="2582" y="1975"/>
                </a:lnTo>
                <a:lnTo>
                  <a:pt x="2132" y="2427"/>
                </a:lnTo>
                <a:lnTo>
                  <a:pt x="1933" y="2229"/>
                </a:lnTo>
                <a:cubicBezTo>
                  <a:pt x="1824" y="2121"/>
                  <a:pt x="1722" y="2032"/>
                  <a:pt x="1707" y="2032"/>
                </a:cubicBezTo>
                <a:cubicBezTo>
                  <a:pt x="1693" y="2032"/>
                  <a:pt x="1362" y="2349"/>
                  <a:pt x="973" y="2737"/>
                </a:cubicBezTo>
                <a:cubicBezTo>
                  <a:pt x="584" y="3125"/>
                  <a:pt x="245" y="3443"/>
                  <a:pt x="220" y="3443"/>
                </a:cubicBezTo>
                <a:cubicBezTo>
                  <a:pt x="194" y="3443"/>
                  <a:pt x="135" y="3410"/>
                  <a:pt x="87" y="3370"/>
                </a:cubicBezTo>
                <a:close/>
                <a:moveTo>
                  <a:pt x="2258" y="2887"/>
                </a:moveTo>
                <a:cubicBezTo>
                  <a:pt x="2196" y="2865"/>
                  <a:pt x="2145" y="2792"/>
                  <a:pt x="2145" y="2725"/>
                </a:cubicBezTo>
                <a:cubicBezTo>
                  <a:pt x="2145" y="2686"/>
                  <a:pt x="2337" y="2474"/>
                  <a:pt x="2703" y="2109"/>
                </a:cubicBezTo>
                <a:cubicBezTo>
                  <a:pt x="3289" y="1523"/>
                  <a:pt x="3346" y="1485"/>
                  <a:pt x="3453" y="1604"/>
                </a:cubicBezTo>
                <a:cubicBezTo>
                  <a:pt x="3556" y="1717"/>
                  <a:pt x="3522" y="1766"/>
                  <a:pt x="2956" y="2331"/>
                </a:cubicBezTo>
                <a:cubicBezTo>
                  <a:pt x="2657" y="2630"/>
                  <a:pt x="2388" y="2880"/>
                  <a:pt x="2357" y="2888"/>
                </a:cubicBezTo>
                <a:cubicBezTo>
                  <a:pt x="2326" y="2895"/>
                  <a:pt x="2281" y="2895"/>
                  <a:pt x="2258" y="2887"/>
                </a:cubicBezTo>
                <a:close/>
                <a:moveTo>
                  <a:pt x="637" y="1282"/>
                </a:moveTo>
                <a:cubicBezTo>
                  <a:pt x="528" y="1172"/>
                  <a:pt x="568" y="1113"/>
                  <a:pt x="1137" y="544"/>
                </a:cubicBezTo>
                <a:cubicBezTo>
                  <a:pt x="1607" y="74"/>
                  <a:pt x="1693" y="0"/>
                  <a:pt x="1767" y="0"/>
                </a:cubicBezTo>
                <a:cubicBezTo>
                  <a:pt x="1862" y="0"/>
                  <a:pt x="1947" y="73"/>
                  <a:pt x="1947" y="156"/>
                </a:cubicBezTo>
                <a:cubicBezTo>
                  <a:pt x="1947" y="186"/>
                  <a:pt x="1715" y="442"/>
                  <a:pt x="1391" y="767"/>
                </a:cubicBezTo>
                <a:cubicBezTo>
                  <a:pt x="808" y="1353"/>
                  <a:pt x="749" y="1393"/>
                  <a:pt x="637" y="12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" name="Group 118">
            <a:extLst>
              <a:ext uri="{FF2B5EF4-FFF2-40B4-BE49-F238E27FC236}">
                <a16:creationId xmlns:a16="http://schemas.microsoft.com/office/drawing/2014/main" id="{FB3D6A90-C4FD-433A-A1C1-A4B3864804A5}"/>
              </a:ext>
            </a:extLst>
          </p:cNvPr>
          <p:cNvGrpSpPr/>
          <p:nvPr/>
        </p:nvGrpSpPr>
        <p:grpSpPr>
          <a:xfrm>
            <a:off x="8409631" y="5248358"/>
            <a:ext cx="346498" cy="347472"/>
            <a:chOff x="1468138" y="5997240"/>
            <a:chExt cx="283642" cy="307072"/>
          </a:xfrm>
          <a:solidFill>
            <a:schemeClr val="bg1"/>
          </a:solidFill>
        </p:grpSpPr>
        <p:sp>
          <p:nvSpPr>
            <p:cNvPr id="120" name="Freeform 16">
              <a:extLst>
                <a:ext uri="{FF2B5EF4-FFF2-40B4-BE49-F238E27FC236}">
                  <a16:creationId xmlns:a16="http://schemas.microsoft.com/office/drawing/2014/main" id="{D6134FC8-4249-4088-8AE8-003C8AAC7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6136" y="6255221"/>
              <a:ext cx="26428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1 w 349"/>
                <a:gd name="T25" fmla="*/ 226 h 350"/>
                <a:gd name="T26" fmla="*/ 225 w 349"/>
                <a:gd name="T27" fmla="*/ 213 h 350"/>
                <a:gd name="T28" fmla="*/ 234 w 349"/>
                <a:gd name="T29" fmla="*/ 194 h 350"/>
                <a:gd name="T30" fmla="*/ 237 w 349"/>
                <a:gd name="T31" fmla="*/ 175 h 350"/>
                <a:gd name="T32" fmla="*/ 235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5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4 w 349"/>
                <a:gd name="T47" fmla="*/ 3 h 350"/>
                <a:gd name="T48" fmla="*/ 234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8 w 349"/>
                <a:gd name="T55" fmla="*/ 63 h 350"/>
                <a:gd name="T56" fmla="*/ 325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5 w 349"/>
                <a:gd name="T65" fmla="*/ 210 h 350"/>
                <a:gd name="T66" fmla="*/ 335 w 349"/>
                <a:gd name="T67" fmla="*/ 243 h 350"/>
                <a:gd name="T68" fmla="*/ 319 w 349"/>
                <a:gd name="T69" fmla="*/ 273 h 350"/>
                <a:gd name="T70" fmla="*/ 297 w 349"/>
                <a:gd name="T71" fmla="*/ 299 h 350"/>
                <a:gd name="T72" fmla="*/ 272 w 349"/>
                <a:gd name="T73" fmla="*/ 319 h 350"/>
                <a:gd name="T74" fmla="*/ 242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39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29 w 349"/>
                <a:gd name="T89" fmla="*/ 273 h 350"/>
                <a:gd name="T90" fmla="*/ 14 w 349"/>
                <a:gd name="T91" fmla="*/ 243 h 350"/>
                <a:gd name="T92" fmla="*/ 3 w 349"/>
                <a:gd name="T93" fmla="*/ 210 h 350"/>
                <a:gd name="T94" fmla="*/ 0 w 349"/>
                <a:gd name="T95" fmla="*/ 175 h 350"/>
                <a:gd name="T96" fmla="*/ 3 w 349"/>
                <a:gd name="T97" fmla="*/ 140 h 350"/>
                <a:gd name="T98" fmla="*/ 14 w 349"/>
                <a:gd name="T99" fmla="*/ 107 h 350"/>
                <a:gd name="T100" fmla="*/ 29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39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1" y="226"/>
                  </a:lnTo>
                  <a:lnTo>
                    <a:pt x="225" y="213"/>
                  </a:lnTo>
                  <a:lnTo>
                    <a:pt x="234" y="194"/>
                  </a:lnTo>
                  <a:lnTo>
                    <a:pt x="237" y="175"/>
                  </a:lnTo>
                  <a:lnTo>
                    <a:pt x="235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5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4" y="3"/>
                  </a:lnTo>
                  <a:lnTo>
                    <a:pt x="234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8" y="63"/>
                  </a:lnTo>
                  <a:lnTo>
                    <a:pt x="325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5" y="210"/>
                  </a:lnTo>
                  <a:lnTo>
                    <a:pt x="335" y="243"/>
                  </a:lnTo>
                  <a:lnTo>
                    <a:pt x="319" y="273"/>
                  </a:lnTo>
                  <a:lnTo>
                    <a:pt x="297" y="299"/>
                  </a:lnTo>
                  <a:lnTo>
                    <a:pt x="272" y="319"/>
                  </a:lnTo>
                  <a:lnTo>
                    <a:pt x="242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39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29" y="273"/>
                  </a:lnTo>
                  <a:lnTo>
                    <a:pt x="14" y="243"/>
                  </a:lnTo>
                  <a:lnTo>
                    <a:pt x="3" y="210"/>
                  </a:lnTo>
                  <a:lnTo>
                    <a:pt x="0" y="175"/>
                  </a:lnTo>
                  <a:lnTo>
                    <a:pt x="3" y="140"/>
                  </a:lnTo>
                  <a:lnTo>
                    <a:pt x="14" y="107"/>
                  </a:lnTo>
                  <a:lnTo>
                    <a:pt x="29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39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1" name="Freeform 17">
              <a:extLst>
                <a:ext uri="{FF2B5EF4-FFF2-40B4-BE49-F238E27FC236}">
                  <a16:creationId xmlns:a16="http://schemas.microsoft.com/office/drawing/2014/main" id="{67A5F0B0-C078-4A85-9E32-409FF0B3D5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2133" y="6255221"/>
              <a:ext cx="26656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2 w 349"/>
                <a:gd name="T25" fmla="*/ 226 h 350"/>
                <a:gd name="T26" fmla="*/ 226 w 349"/>
                <a:gd name="T27" fmla="*/ 213 h 350"/>
                <a:gd name="T28" fmla="*/ 235 w 349"/>
                <a:gd name="T29" fmla="*/ 194 h 350"/>
                <a:gd name="T30" fmla="*/ 237 w 349"/>
                <a:gd name="T31" fmla="*/ 175 h 350"/>
                <a:gd name="T32" fmla="*/ 236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7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5 w 349"/>
                <a:gd name="T47" fmla="*/ 3 h 350"/>
                <a:gd name="T48" fmla="*/ 235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9 w 349"/>
                <a:gd name="T55" fmla="*/ 63 h 350"/>
                <a:gd name="T56" fmla="*/ 326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6 w 349"/>
                <a:gd name="T65" fmla="*/ 210 h 350"/>
                <a:gd name="T66" fmla="*/ 336 w 349"/>
                <a:gd name="T67" fmla="*/ 243 h 350"/>
                <a:gd name="T68" fmla="*/ 319 w 349"/>
                <a:gd name="T69" fmla="*/ 273 h 350"/>
                <a:gd name="T70" fmla="*/ 298 w 349"/>
                <a:gd name="T71" fmla="*/ 299 h 350"/>
                <a:gd name="T72" fmla="*/ 272 w 349"/>
                <a:gd name="T73" fmla="*/ 319 h 350"/>
                <a:gd name="T74" fmla="*/ 243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40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30 w 349"/>
                <a:gd name="T89" fmla="*/ 273 h 350"/>
                <a:gd name="T90" fmla="*/ 14 w 349"/>
                <a:gd name="T91" fmla="*/ 243 h 350"/>
                <a:gd name="T92" fmla="*/ 4 w 349"/>
                <a:gd name="T93" fmla="*/ 210 h 350"/>
                <a:gd name="T94" fmla="*/ 0 w 349"/>
                <a:gd name="T95" fmla="*/ 175 h 350"/>
                <a:gd name="T96" fmla="*/ 4 w 349"/>
                <a:gd name="T97" fmla="*/ 140 h 350"/>
                <a:gd name="T98" fmla="*/ 14 w 349"/>
                <a:gd name="T99" fmla="*/ 107 h 350"/>
                <a:gd name="T100" fmla="*/ 30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40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7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7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5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19" y="273"/>
                  </a:lnTo>
                  <a:lnTo>
                    <a:pt x="298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2" name="Freeform 18">
              <a:extLst>
                <a:ext uri="{FF2B5EF4-FFF2-40B4-BE49-F238E27FC236}">
                  <a16:creationId xmlns:a16="http://schemas.microsoft.com/office/drawing/2014/main" id="{BF1784DA-3E40-44FD-998D-DB1DD379C0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8357" y="6255221"/>
              <a:ext cx="26428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7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1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7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8 w 350"/>
                <a:gd name="T31" fmla="*/ 175 h 350"/>
                <a:gd name="T32" fmla="*/ 236 w 350"/>
                <a:gd name="T33" fmla="*/ 158 h 350"/>
                <a:gd name="T34" fmla="*/ 229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7 w 350"/>
                <a:gd name="T53" fmla="*/ 41 h 350"/>
                <a:gd name="T54" fmla="*/ 309 w 350"/>
                <a:gd name="T55" fmla="*/ 63 h 350"/>
                <a:gd name="T56" fmla="*/ 326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2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7 w 350"/>
                <a:gd name="T85" fmla="*/ 319 h 350"/>
                <a:gd name="T86" fmla="*/ 51 w 350"/>
                <a:gd name="T87" fmla="*/ 299 h 350"/>
                <a:gd name="T88" fmla="*/ 30 w 350"/>
                <a:gd name="T89" fmla="*/ 273 h 350"/>
                <a:gd name="T90" fmla="*/ 14 w 350"/>
                <a:gd name="T91" fmla="*/ 243 h 350"/>
                <a:gd name="T92" fmla="*/ 4 w 350"/>
                <a:gd name="T93" fmla="*/ 210 h 350"/>
                <a:gd name="T94" fmla="*/ 0 w 350"/>
                <a:gd name="T95" fmla="*/ 175 h 350"/>
                <a:gd name="T96" fmla="*/ 4 w 350"/>
                <a:gd name="T97" fmla="*/ 140 h 350"/>
                <a:gd name="T98" fmla="*/ 14 w 350"/>
                <a:gd name="T99" fmla="*/ 107 h 350"/>
                <a:gd name="T100" fmla="*/ 30 w 350"/>
                <a:gd name="T101" fmla="*/ 78 h 350"/>
                <a:gd name="T102" fmla="*/ 51 w 350"/>
                <a:gd name="T103" fmla="*/ 52 h 350"/>
                <a:gd name="T104" fmla="*/ 77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8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3" name="Freeform 19">
              <a:extLst>
                <a:ext uri="{FF2B5EF4-FFF2-40B4-BE49-F238E27FC236}">
                  <a16:creationId xmlns:a16="http://schemas.microsoft.com/office/drawing/2014/main" id="{FF26547B-24B3-4108-8095-A2794E966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4353" y="6255221"/>
              <a:ext cx="26656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8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3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8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9 w 350"/>
                <a:gd name="T31" fmla="*/ 175 h 350"/>
                <a:gd name="T32" fmla="*/ 236 w 350"/>
                <a:gd name="T33" fmla="*/ 158 h 350"/>
                <a:gd name="T34" fmla="*/ 231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8 w 350"/>
                <a:gd name="T53" fmla="*/ 41 h 350"/>
                <a:gd name="T54" fmla="*/ 309 w 350"/>
                <a:gd name="T55" fmla="*/ 63 h 350"/>
                <a:gd name="T56" fmla="*/ 327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3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8 w 350"/>
                <a:gd name="T85" fmla="*/ 319 h 350"/>
                <a:gd name="T86" fmla="*/ 53 w 350"/>
                <a:gd name="T87" fmla="*/ 299 h 350"/>
                <a:gd name="T88" fmla="*/ 31 w 350"/>
                <a:gd name="T89" fmla="*/ 273 h 350"/>
                <a:gd name="T90" fmla="*/ 15 w 350"/>
                <a:gd name="T91" fmla="*/ 243 h 350"/>
                <a:gd name="T92" fmla="*/ 5 w 350"/>
                <a:gd name="T93" fmla="*/ 210 h 350"/>
                <a:gd name="T94" fmla="*/ 0 w 350"/>
                <a:gd name="T95" fmla="*/ 175 h 350"/>
                <a:gd name="T96" fmla="*/ 5 w 350"/>
                <a:gd name="T97" fmla="*/ 140 h 350"/>
                <a:gd name="T98" fmla="*/ 15 w 350"/>
                <a:gd name="T99" fmla="*/ 107 h 350"/>
                <a:gd name="T100" fmla="*/ 31 w 350"/>
                <a:gd name="T101" fmla="*/ 78 h 350"/>
                <a:gd name="T102" fmla="*/ 53 w 350"/>
                <a:gd name="T103" fmla="*/ 52 h 350"/>
                <a:gd name="T104" fmla="*/ 78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8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3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8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9" y="175"/>
                  </a:lnTo>
                  <a:lnTo>
                    <a:pt x="236" y="158"/>
                  </a:lnTo>
                  <a:lnTo>
                    <a:pt x="231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8" y="41"/>
                  </a:lnTo>
                  <a:lnTo>
                    <a:pt x="309" y="63"/>
                  </a:lnTo>
                  <a:lnTo>
                    <a:pt x="327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3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8" y="319"/>
                  </a:lnTo>
                  <a:lnTo>
                    <a:pt x="53" y="299"/>
                  </a:lnTo>
                  <a:lnTo>
                    <a:pt x="31" y="273"/>
                  </a:lnTo>
                  <a:lnTo>
                    <a:pt x="15" y="243"/>
                  </a:lnTo>
                  <a:lnTo>
                    <a:pt x="5" y="210"/>
                  </a:lnTo>
                  <a:lnTo>
                    <a:pt x="0" y="175"/>
                  </a:lnTo>
                  <a:lnTo>
                    <a:pt x="5" y="140"/>
                  </a:lnTo>
                  <a:lnTo>
                    <a:pt x="15" y="107"/>
                  </a:lnTo>
                  <a:lnTo>
                    <a:pt x="31" y="78"/>
                  </a:lnTo>
                  <a:lnTo>
                    <a:pt x="53" y="52"/>
                  </a:lnTo>
                  <a:lnTo>
                    <a:pt x="78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4" name="Freeform 20">
              <a:extLst>
                <a:ext uri="{FF2B5EF4-FFF2-40B4-BE49-F238E27FC236}">
                  <a16:creationId xmlns:a16="http://schemas.microsoft.com/office/drawing/2014/main" id="{6F553FA1-4728-401A-8C20-F18E165CA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80832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2 h 111"/>
                <a:gd name="T10" fmla="*/ 168 w 171"/>
                <a:gd name="T11" fmla="*/ 37 h 111"/>
                <a:gd name="T12" fmla="*/ 171 w 171"/>
                <a:gd name="T13" fmla="*/ 55 h 111"/>
                <a:gd name="T14" fmla="*/ 168 w 171"/>
                <a:gd name="T15" fmla="*/ 72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8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8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2 h 111"/>
                <a:gd name="T34" fmla="*/ 0 w 171"/>
                <a:gd name="T35" fmla="*/ 55 h 111"/>
                <a:gd name="T36" fmla="*/ 2 w 171"/>
                <a:gd name="T37" fmla="*/ 37 h 111"/>
                <a:gd name="T38" fmla="*/ 10 w 171"/>
                <a:gd name="T39" fmla="*/ 22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2"/>
                  </a:lnTo>
                  <a:lnTo>
                    <a:pt x="168" y="37"/>
                  </a:lnTo>
                  <a:lnTo>
                    <a:pt x="171" y="55"/>
                  </a:lnTo>
                  <a:lnTo>
                    <a:pt x="168" y="72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8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8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2"/>
                  </a:lnTo>
                  <a:lnTo>
                    <a:pt x="0" y="55"/>
                  </a:lnTo>
                  <a:lnTo>
                    <a:pt x="2" y="37"/>
                  </a:lnTo>
                  <a:lnTo>
                    <a:pt x="10" y="22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5" name="Freeform 21">
              <a:extLst>
                <a:ext uri="{FF2B5EF4-FFF2-40B4-BE49-F238E27FC236}">
                  <a16:creationId xmlns:a16="http://schemas.microsoft.com/office/drawing/2014/main" id="{2A783787-5E9B-43C9-9BF4-073950C97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95860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3 h 111"/>
                <a:gd name="T10" fmla="*/ 168 w 171"/>
                <a:gd name="T11" fmla="*/ 38 h 111"/>
                <a:gd name="T12" fmla="*/ 171 w 171"/>
                <a:gd name="T13" fmla="*/ 55 h 111"/>
                <a:gd name="T14" fmla="*/ 168 w 171"/>
                <a:gd name="T15" fmla="*/ 74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9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9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4 h 111"/>
                <a:gd name="T34" fmla="*/ 0 w 171"/>
                <a:gd name="T35" fmla="*/ 55 h 111"/>
                <a:gd name="T36" fmla="*/ 2 w 171"/>
                <a:gd name="T37" fmla="*/ 38 h 111"/>
                <a:gd name="T38" fmla="*/ 10 w 171"/>
                <a:gd name="T39" fmla="*/ 23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3"/>
                  </a:lnTo>
                  <a:lnTo>
                    <a:pt x="168" y="38"/>
                  </a:lnTo>
                  <a:lnTo>
                    <a:pt x="171" y="55"/>
                  </a:lnTo>
                  <a:lnTo>
                    <a:pt x="168" y="74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9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9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4"/>
                  </a:lnTo>
                  <a:lnTo>
                    <a:pt x="0" y="55"/>
                  </a:lnTo>
                  <a:lnTo>
                    <a:pt x="2" y="38"/>
                  </a:lnTo>
                  <a:lnTo>
                    <a:pt x="10" y="23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6" name="Freeform 22">
              <a:extLst>
                <a:ext uri="{FF2B5EF4-FFF2-40B4-BE49-F238E27FC236}">
                  <a16:creationId xmlns:a16="http://schemas.microsoft.com/office/drawing/2014/main" id="{6465D05A-ED22-49B3-924E-6DFC4C8C8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8138" y="5997240"/>
              <a:ext cx="283642" cy="307072"/>
            </a:xfrm>
            <a:custGeom>
              <a:avLst/>
              <a:gdLst>
                <a:gd name="T0" fmla="*/ 185 w 3736"/>
                <a:gd name="T1" fmla="*/ 3069 h 3678"/>
                <a:gd name="T2" fmla="*/ 125 w 3736"/>
                <a:gd name="T3" fmla="*/ 3352 h 3678"/>
                <a:gd name="T4" fmla="*/ 325 w 3736"/>
                <a:gd name="T5" fmla="*/ 3554 h 3678"/>
                <a:gd name="T6" fmla="*/ 2002 w 3736"/>
                <a:gd name="T7" fmla="*/ 3518 h 3678"/>
                <a:gd name="T8" fmla="*/ 2140 w 3736"/>
                <a:gd name="T9" fmla="*/ 3266 h 3678"/>
                <a:gd name="T10" fmla="*/ 2002 w 3736"/>
                <a:gd name="T11" fmla="*/ 3013 h 3678"/>
                <a:gd name="T12" fmla="*/ 943 w 3736"/>
                <a:gd name="T13" fmla="*/ 2853 h 3678"/>
                <a:gd name="T14" fmla="*/ 2970 w 3736"/>
                <a:gd name="T15" fmla="*/ 2765 h 3678"/>
                <a:gd name="T16" fmla="*/ 3240 w 3736"/>
                <a:gd name="T17" fmla="*/ 2787 h 3678"/>
                <a:gd name="T18" fmla="*/ 3506 w 3736"/>
                <a:gd name="T19" fmla="*/ 2599 h 3678"/>
                <a:gd name="T20" fmla="*/ 302 w 3736"/>
                <a:gd name="T21" fmla="*/ 2099 h 3678"/>
                <a:gd name="T22" fmla="*/ 333 w 3736"/>
                <a:gd name="T23" fmla="*/ 2613 h 3678"/>
                <a:gd name="T24" fmla="*/ 3524 w 3736"/>
                <a:gd name="T25" fmla="*/ 1966 h 3678"/>
                <a:gd name="T26" fmla="*/ 3542 w 3736"/>
                <a:gd name="T27" fmla="*/ 2077 h 3678"/>
                <a:gd name="T28" fmla="*/ 3622 w 3736"/>
                <a:gd name="T29" fmla="*/ 1998 h 3678"/>
                <a:gd name="T30" fmla="*/ 893 w 3736"/>
                <a:gd name="T31" fmla="*/ 1458 h 3678"/>
                <a:gd name="T32" fmla="*/ 1843 w 3736"/>
                <a:gd name="T33" fmla="*/ 2616 h 3678"/>
                <a:gd name="T34" fmla="*/ 1132 w 3736"/>
                <a:gd name="T35" fmla="*/ 2414 h 3678"/>
                <a:gd name="T36" fmla="*/ 954 w 3736"/>
                <a:gd name="T37" fmla="*/ 2256 h 3678"/>
                <a:gd name="T38" fmla="*/ 1082 w 3736"/>
                <a:gd name="T39" fmla="*/ 2271 h 3678"/>
                <a:gd name="T40" fmla="*/ 1271 w 3736"/>
                <a:gd name="T41" fmla="*/ 1557 h 3678"/>
                <a:gd name="T42" fmla="*/ 1360 w 3736"/>
                <a:gd name="T43" fmla="*/ 1601 h 3678"/>
                <a:gd name="T44" fmla="*/ 1958 w 3736"/>
                <a:gd name="T45" fmla="*/ 2171 h 3678"/>
                <a:gd name="T46" fmla="*/ 1525 w 3736"/>
                <a:gd name="T47" fmla="*/ 1457 h 3678"/>
                <a:gd name="T48" fmla="*/ 2749 w 3736"/>
                <a:gd name="T49" fmla="*/ 361 h 3678"/>
                <a:gd name="T50" fmla="*/ 3541 w 3736"/>
                <a:gd name="T51" fmla="*/ 1844 h 3678"/>
                <a:gd name="T52" fmla="*/ 1658 w 3736"/>
                <a:gd name="T53" fmla="*/ 1439 h 3678"/>
                <a:gd name="T54" fmla="*/ 2419 w 3736"/>
                <a:gd name="T55" fmla="*/ 427 h 3678"/>
                <a:gd name="T56" fmla="*/ 2498 w 3736"/>
                <a:gd name="T57" fmla="*/ 124 h 3678"/>
                <a:gd name="T58" fmla="*/ 2441 w 3736"/>
                <a:gd name="T59" fmla="*/ 287 h 3678"/>
                <a:gd name="T60" fmla="*/ 2599 w 3736"/>
                <a:gd name="T61" fmla="*/ 347 h 3678"/>
                <a:gd name="T62" fmla="*/ 2672 w 3736"/>
                <a:gd name="T63" fmla="*/ 256 h 3678"/>
                <a:gd name="T64" fmla="*/ 2625 w 3736"/>
                <a:gd name="T65" fmla="*/ 136 h 3678"/>
                <a:gd name="T66" fmla="*/ 2665 w 3736"/>
                <a:gd name="T67" fmla="*/ 28 h 3678"/>
                <a:gd name="T68" fmla="*/ 3734 w 3736"/>
                <a:gd name="T69" fmla="*/ 1986 h 3678"/>
                <a:gd name="T70" fmla="*/ 3646 w 3736"/>
                <a:gd name="T71" fmla="*/ 2170 h 3678"/>
                <a:gd name="T72" fmla="*/ 3580 w 3736"/>
                <a:gd name="T73" fmla="*/ 2724 h 3678"/>
                <a:gd name="T74" fmla="*/ 3180 w 3736"/>
                <a:gd name="T75" fmla="*/ 2918 h 3678"/>
                <a:gd name="T76" fmla="*/ 2865 w 3736"/>
                <a:gd name="T77" fmla="*/ 2826 h 3678"/>
                <a:gd name="T78" fmla="*/ 2459 w 3736"/>
                <a:gd name="T79" fmla="*/ 2397 h 3678"/>
                <a:gd name="T80" fmla="*/ 3431 w 3736"/>
                <a:gd name="T81" fmla="*/ 2200 h 3678"/>
                <a:gd name="T82" fmla="*/ 3506 w 3736"/>
                <a:gd name="T83" fmla="*/ 2183 h 3678"/>
                <a:gd name="T84" fmla="*/ 1983 w 3736"/>
                <a:gd name="T85" fmla="*/ 1926 h 3678"/>
                <a:gd name="T86" fmla="*/ 2073 w 3736"/>
                <a:gd name="T87" fmla="*/ 2433 h 3678"/>
                <a:gd name="T88" fmla="*/ 2059 w 3736"/>
                <a:gd name="T89" fmla="*/ 2469 h 3678"/>
                <a:gd name="T90" fmla="*/ 2043 w 3736"/>
                <a:gd name="T91" fmla="*/ 2482 h 3678"/>
                <a:gd name="T92" fmla="*/ 2024 w 3736"/>
                <a:gd name="T93" fmla="*/ 2489 h 3678"/>
                <a:gd name="T94" fmla="*/ 1942 w 3736"/>
                <a:gd name="T95" fmla="*/ 2705 h 3678"/>
                <a:gd name="T96" fmla="*/ 1890 w 3736"/>
                <a:gd name="T97" fmla="*/ 2857 h 3678"/>
                <a:gd name="T98" fmla="*/ 2177 w 3736"/>
                <a:gd name="T99" fmla="*/ 3030 h 3678"/>
                <a:gd name="T100" fmla="*/ 2238 w 3736"/>
                <a:gd name="T101" fmla="*/ 3367 h 3678"/>
                <a:gd name="T102" fmla="*/ 2032 w 3736"/>
                <a:gd name="T103" fmla="*/ 3630 h 3678"/>
                <a:gd name="T104" fmla="*/ 311 w 3736"/>
                <a:gd name="T105" fmla="*/ 3666 h 3678"/>
                <a:gd name="T106" fmla="*/ 49 w 3736"/>
                <a:gd name="T107" fmla="*/ 3460 h 3678"/>
                <a:gd name="T108" fmla="*/ 28 w 3736"/>
                <a:gd name="T109" fmla="*/ 3116 h 3678"/>
                <a:gd name="T110" fmla="*/ 263 w 3736"/>
                <a:gd name="T111" fmla="*/ 2882 h 3678"/>
                <a:gd name="T112" fmla="*/ 317 w 3736"/>
                <a:gd name="T113" fmla="*/ 2724 h 3678"/>
                <a:gd name="T114" fmla="*/ 178 w 3736"/>
                <a:gd name="T115" fmla="*/ 2553 h 3678"/>
                <a:gd name="T116" fmla="*/ 284 w 3736"/>
                <a:gd name="T117" fmla="*/ 1975 h 3678"/>
                <a:gd name="T118" fmla="*/ 740 w 3736"/>
                <a:gd name="T119" fmla="*/ 1477 h 3678"/>
                <a:gd name="T120" fmla="*/ 963 w 3736"/>
                <a:gd name="T121" fmla="*/ 1310 h 3678"/>
                <a:gd name="T122" fmla="*/ 2410 w 3736"/>
                <a:gd name="T123" fmla="*/ 48 h 3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6" h="3678">
                  <a:moveTo>
                    <a:pt x="413" y="2964"/>
                  </a:moveTo>
                  <a:lnTo>
                    <a:pt x="367" y="2968"/>
                  </a:lnTo>
                  <a:lnTo>
                    <a:pt x="325" y="2978"/>
                  </a:lnTo>
                  <a:lnTo>
                    <a:pt x="286" y="2993"/>
                  </a:lnTo>
                  <a:lnTo>
                    <a:pt x="248" y="3013"/>
                  </a:lnTo>
                  <a:lnTo>
                    <a:pt x="215" y="3039"/>
                  </a:lnTo>
                  <a:lnTo>
                    <a:pt x="185" y="3069"/>
                  </a:lnTo>
                  <a:lnTo>
                    <a:pt x="160" y="3102"/>
                  </a:lnTo>
                  <a:lnTo>
                    <a:pt x="139" y="3139"/>
                  </a:lnTo>
                  <a:lnTo>
                    <a:pt x="125" y="3179"/>
                  </a:lnTo>
                  <a:lnTo>
                    <a:pt x="114" y="3222"/>
                  </a:lnTo>
                  <a:lnTo>
                    <a:pt x="111" y="3266"/>
                  </a:lnTo>
                  <a:lnTo>
                    <a:pt x="114" y="3310"/>
                  </a:lnTo>
                  <a:lnTo>
                    <a:pt x="125" y="3352"/>
                  </a:lnTo>
                  <a:lnTo>
                    <a:pt x="139" y="3393"/>
                  </a:lnTo>
                  <a:lnTo>
                    <a:pt x="160" y="3430"/>
                  </a:lnTo>
                  <a:lnTo>
                    <a:pt x="185" y="3464"/>
                  </a:lnTo>
                  <a:lnTo>
                    <a:pt x="215" y="3493"/>
                  </a:lnTo>
                  <a:lnTo>
                    <a:pt x="248" y="3518"/>
                  </a:lnTo>
                  <a:lnTo>
                    <a:pt x="286" y="3538"/>
                  </a:lnTo>
                  <a:lnTo>
                    <a:pt x="325" y="3554"/>
                  </a:lnTo>
                  <a:lnTo>
                    <a:pt x="367" y="3563"/>
                  </a:lnTo>
                  <a:lnTo>
                    <a:pt x="413" y="3567"/>
                  </a:lnTo>
                  <a:lnTo>
                    <a:pt x="1838" y="3567"/>
                  </a:lnTo>
                  <a:lnTo>
                    <a:pt x="1882" y="3563"/>
                  </a:lnTo>
                  <a:lnTo>
                    <a:pt x="1925" y="3554"/>
                  </a:lnTo>
                  <a:lnTo>
                    <a:pt x="1965" y="3538"/>
                  </a:lnTo>
                  <a:lnTo>
                    <a:pt x="2002" y="3518"/>
                  </a:lnTo>
                  <a:lnTo>
                    <a:pt x="2035" y="3493"/>
                  </a:lnTo>
                  <a:lnTo>
                    <a:pt x="2065" y="3464"/>
                  </a:lnTo>
                  <a:lnTo>
                    <a:pt x="2091" y="3430"/>
                  </a:lnTo>
                  <a:lnTo>
                    <a:pt x="2111" y="3393"/>
                  </a:lnTo>
                  <a:lnTo>
                    <a:pt x="2126" y="3352"/>
                  </a:lnTo>
                  <a:lnTo>
                    <a:pt x="2136" y="3310"/>
                  </a:lnTo>
                  <a:lnTo>
                    <a:pt x="2140" y="3266"/>
                  </a:lnTo>
                  <a:lnTo>
                    <a:pt x="2136" y="3222"/>
                  </a:lnTo>
                  <a:lnTo>
                    <a:pt x="2126" y="3179"/>
                  </a:lnTo>
                  <a:lnTo>
                    <a:pt x="2111" y="3139"/>
                  </a:lnTo>
                  <a:lnTo>
                    <a:pt x="2091" y="3102"/>
                  </a:lnTo>
                  <a:lnTo>
                    <a:pt x="2065" y="3069"/>
                  </a:lnTo>
                  <a:lnTo>
                    <a:pt x="2035" y="3039"/>
                  </a:lnTo>
                  <a:lnTo>
                    <a:pt x="2002" y="3013"/>
                  </a:lnTo>
                  <a:lnTo>
                    <a:pt x="1965" y="2993"/>
                  </a:lnTo>
                  <a:lnTo>
                    <a:pt x="1925" y="2978"/>
                  </a:lnTo>
                  <a:lnTo>
                    <a:pt x="1882" y="2968"/>
                  </a:lnTo>
                  <a:lnTo>
                    <a:pt x="1838" y="2964"/>
                  </a:lnTo>
                  <a:lnTo>
                    <a:pt x="413" y="2964"/>
                  </a:lnTo>
                  <a:close/>
                  <a:moveTo>
                    <a:pt x="943" y="2727"/>
                  </a:moveTo>
                  <a:lnTo>
                    <a:pt x="943" y="2853"/>
                  </a:lnTo>
                  <a:lnTo>
                    <a:pt x="1307" y="2853"/>
                  </a:lnTo>
                  <a:lnTo>
                    <a:pt x="1307" y="2727"/>
                  </a:lnTo>
                  <a:lnTo>
                    <a:pt x="943" y="2727"/>
                  </a:lnTo>
                  <a:close/>
                  <a:moveTo>
                    <a:pt x="3407" y="2328"/>
                  </a:moveTo>
                  <a:lnTo>
                    <a:pt x="2754" y="2590"/>
                  </a:lnTo>
                  <a:lnTo>
                    <a:pt x="2936" y="2741"/>
                  </a:lnTo>
                  <a:lnTo>
                    <a:pt x="2970" y="2765"/>
                  </a:lnTo>
                  <a:lnTo>
                    <a:pt x="3005" y="2783"/>
                  </a:lnTo>
                  <a:lnTo>
                    <a:pt x="3042" y="2797"/>
                  </a:lnTo>
                  <a:lnTo>
                    <a:pt x="3081" y="2806"/>
                  </a:lnTo>
                  <a:lnTo>
                    <a:pt x="3121" y="2809"/>
                  </a:lnTo>
                  <a:lnTo>
                    <a:pt x="3161" y="2808"/>
                  </a:lnTo>
                  <a:lnTo>
                    <a:pt x="3201" y="2800"/>
                  </a:lnTo>
                  <a:lnTo>
                    <a:pt x="3240" y="2787"/>
                  </a:lnTo>
                  <a:lnTo>
                    <a:pt x="3429" y="2711"/>
                  </a:lnTo>
                  <a:lnTo>
                    <a:pt x="3452" y="2700"/>
                  </a:lnTo>
                  <a:lnTo>
                    <a:pt x="3470" y="2684"/>
                  </a:lnTo>
                  <a:lnTo>
                    <a:pt x="3485" y="2666"/>
                  </a:lnTo>
                  <a:lnTo>
                    <a:pt x="3496" y="2646"/>
                  </a:lnTo>
                  <a:lnTo>
                    <a:pt x="3504" y="2623"/>
                  </a:lnTo>
                  <a:lnTo>
                    <a:pt x="3506" y="2599"/>
                  </a:lnTo>
                  <a:lnTo>
                    <a:pt x="3504" y="2575"/>
                  </a:lnTo>
                  <a:lnTo>
                    <a:pt x="3497" y="2551"/>
                  </a:lnTo>
                  <a:lnTo>
                    <a:pt x="3407" y="2328"/>
                  </a:lnTo>
                  <a:close/>
                  <a:moveTo>
                    <a:pt x="353" y="2073"/>
                  </a:moveTo>
                  <a:lnTo>
                    <a:pt x="333" y="2076"/>
                  </a:lnTo>
                  <a:lnTo>
                    <a:pt x="315" y="2085"/>
                  </a:lnTo>
                  <a:lnTo>
                    <a:pt x="302" y="2099"/>
                  </a:lnTo>
                  <a:lnTo>
                    <a:pt x="292" y="2116"/>
                  </a:lnTo>
                  <a:lnTo>
                    <a:pt x="289" y="2136"/>
                  </a:lnTo>
                  <a:lnTo>
                    <a:pt x="289" y="2553"/>
                  </a:lnTo>
                  <a:lnTo>
                    <a:pt x="292" y="2572"/>
                  </a:lnTo>
                  <a:lnTo>
                    <a:pt x="302" y="2590"/>
                  </a:lnTo>
                  <a:lnTo>
                    <a:pt x="315" y="2604"/>
                  </a:lnTo>
                  <a:lnTo>
                    <a:pt x="333" y="2613"/>
                  </a:lnTo>
                  <a:lnTo>
                    <a:pt x="353" y="2616"/>
                  </a:lnTo>
                  <a:lnTo>
                    <a:pt x="713" y="2616"/>
                  </a:lnTo>
                  <a:lnTo>
                    <a:pt x="713" y="2073"/>
                  </a:lnTo>
                  <a:lnTo>
                    <a:pt x="353" y="2073"/>
                  </a:lnTo>
                  <a:close/>
                  <a:moveTo>
                    <a:pt x="3562" y="1955"/>
                  </a:moveTo>
                  <a:lnTo>
                    <a:pt x="3542" y="1957"/>
                  </a:lnTo>
                  <a:lnTo>
                    <a:pt x="3524" y="1966"/>
                  </a:lnTo>
                  <a:lnTo>
                    <a:pt x="3511" y="1980"/>
                  </a:lnTo>
                  <a:lnTo>
                    <a:pt x="3502" y="1998"/>
                  </a:lnTo>
                  <a:lnTo>
                    <a:pt x="3498" y="2017"/>
                  </a:lnTo>
                  <a:lnTo>
                    <a:pt x="3502" y="2038"/>
                  </a:lnTo>
                  <a:lnTo>
                    <a:pt x="3511" y="2055"/>
                  </a:lnTo>
                  <a:lnTo>
                    <a:pt x="3524" y="2068"/>
                  </a:lnTo>
                  <a:lnTo>
                    <a:pt x="3542" y="2077"/>
                  </a:lnTo>
                  <a:lnTo>
                    <a:pt x="3562" y="2081"/>
                  </a:lnTo>
                  <a:lnTo>
                    <a:pt x="3582" y="2077"/>
                  </a:lnTo>
                  <a:lnTo>
                    <a:pt x="3599" y="2068"/>
                  </a:lnTo>
                  <a:lnTo>
                    <a:pt x="3613" y="2055"/>
                  </a:lnTo>
                  <a:lnTo>
                    <a:pt x="3622" y="2038"/>
                  </a:lnTo>
                  <a:lnTo>
                    <a:pt x="3625" y="2017"/>
                  </a:lnTo>
                  <a:lnTo>
                    <a:pt x="3622" y="1998"/>
                  </a:lnTo>
                  <a:lnTo>
                    <a:pt x="3613" y="1980"/>
                  </a:lnTo>
                  <a:lnTo>
                    <a:pt x="3599" y="1966"/>
                  </a:lnTo>
                  <a:lnTo>
                    <a:pt x="3582" y="1957"/>
                  </a:lnTo>
                  <a:lnTo>
                    <a:pt x="3562" y="1955"/>
                  </a:lnTo>
                  <a:close/>
                  <a:moveTo>
                    <a:pt x="950" y="1428"/>
                  </a:moveTo>
                  <a:lnTo>
                    <a:pt x="921" y="1441"/>
                  </a:lnTo>
                  <a:lnTo>
                    <a:pt x="893" y="1458"/>
                  </a:lnTo>
                  <a:lnTo>
                    <a:pt x="871" y="1481"/>
                  </a:lnTo>
                  <a:lnTo>
                    <a:pt x="851" y="1507"/>
                  </a:lnTo>
                  <a:lnTo>
                    <a:pt x="837" y="1536"/>
                  </a:lnTo>
                  <a:lnTo>
                    <a:pt x="828" y="1568"/>
                  </a:lnTo>
                  <a:lnTo>
                    <a:pt x="824" y="1601"/>
                  </a:lnTo>
                  <a:lnTo>
                    <a:pt x="824" y="2616"/>
                  </a:lnTo>
                  <a:lnTo>
                    <a:pt x="1843" y="2616"/>
                  </a:lnTo>
                  <a:lnTo>
                    <a:pt x="1843" y="2489"/>
                  </a:lnTo>
                  <a:lnTo>
                    <a:pt x="1556" y="2489"/>
                  </a:lnTo>
                  <a:lnTo>
                    <a:pt x="1468" y="2487"/>
                  </a:lnTo>
                  <a:lnTo>
                    <a:pt x="1382" y="2478"/>
                  </a:lnTo>
                  <a:lnTo>
                    <a:pt x="1297" y="2462"/>
                  </a:lnTo>
                  <a:lnTo>
                    <a:pt x="1213" y="2441"/>
                  </a:lnTo>
                  <a:lnTo>
                    <a:pt x="1132" y="2414"/>
                  </a:lnTo>
                  <a:lnTo>
                    <a:pt x="1050" y="2382"/>
                  </a:lnTo>
                  <a:lnTo>
                    <a:pt x="1026" y="2369"/>
                  </a:lnTo>
                  <a:lnTo>
                    <a:pt x="1005" y="2352"/>
                  </a:lnTo>
                  <a:lnTo>
                    <a:pt x="985" y="2331"/>
                  </a:lnTo>
                  <a:lnTo>
                    <a:pt x="971" y="2309"/>
                  </a:lnTo>
                  <a:lnTo>
                    <a:pt x="960" y="2284"/>
                  </a:lnTo>
                  <a:lnTo>
                    <a:pt x="954" y="2256"/>
                  </a:lnTo>
                  <a:lnTo>
                    <a:pt x="950" y="2228"/>
                  </a:lnTo>
                  <a:lnTo>
                    <a:pt x="950" y="1428"/>
                  </a:lnTo>
                  <a:close/>
                  <a:moveTo>
                    <a:pt x="1062" y="1419"/>
                  </a:moveTo>
                  <a:lnTo>
                    <a:pt x="1062" y="2228"/>
                  </a:lnTo>
                  <a:lnTo>
                    <a:pt x="1065" y="2245"/>
                  </a:lnTo>
                  <a:lnTo>
                    <a:pt x="1071" y="2259"/>
                  </a:lnTo>
                  <a:lnTo>
                    <a:pt x="1082" y="2271"/>
                  </a:lnTo>
                  <a:lnTo>
                    <a:pt x="1095" y="2280"/>
                  </a:lnTo>
                  <a:lnTo>
                    <a:pt x="1171" y="2311"/>
                  </a:lnTo>
                  <a:lnTo>
                    <a:pt x="1248" y="2335"/>
                  </a:lnTo>
                  <a:lnTo>
                    <a:pt x="1248" y="1601"/>
                  </a:lnTo>
                  <a:lnTo>
                    <a:pt x="1251" y="1584"/>
                  </a:lnTo>
                  <a:lnTo>
                    <a:pt x="1259" y="1568"/>
                  </a:lnTo>
                  <a:lnTo>
                    <a:pt x="1271" y="1557"/>
                  </a:lnTo>
                  <a:lnTo>
                    <a:pt x="1286" y="1549"/>
                  </a:lnTo>
                  <a:lnTo>
                    <a:pt x="1304" y="1545"/>
                  </a:lnTo>
                  <a:lnTo>
                    <a:pt x="1321" y="1549"/>
                  </a:lnTo>
                  <a:lnTo>
                    <a:pt x="1337" y="1557"/>
                  </a:lnTo>
                  <a:lnTo>
                    <a:pt x="1348" y="1568"/>
                  </a:lnTo>
                  <a:lnTo>
                    <a:pt x="1356" y="1584"/>
                  </a:lnTo>
                  <a:lnTo>
                    <a:pt x="1360" y="1601"/>
                  </a:lnTo>
                  <a:lnTo>
                    <a:pt x="1360" y="2361"/>
                  </a:lnTo>
                  <a:lnTo>
                    <a:pt x="1424" y="2370"/>
                  </a:lnTo>
                  <a:lnTo>
                    <a:pt x="1490" y="2376"/>
                  </a:lnTo>
                  <a:lnTo>
                    <a:pt x="1556" y="2378"/>
                  </a:lnTo>
                  <a:lnTo>
                    <a:pt x="1961" y="2378"/>
                  </a:lnTo>
                  <a:lnTo>
                    <a:pt x="1961" y="2221"/>
                  </a:lnTo>
                  <a:lnTo>
                    <a:pt x="1958" y="2171"/>
                  </a:lnTo>
                  <a:lnTo>
                    <a:pt x="1949" y="2123"/>
                  </a:lnTo>
                  <a:lnTo>
                    <a:pt x="1936" y="2076"/>
                  </a:lnTo>
                  <a:lnTo>
                    <a:pt x="1915" y="2031"/>
                  </a:lnTo>
                  <a:lnTo>
                    <a:pt x="1890" y="1988"/>
                  </a:lnTo>
                  <a:lnTo>
                    <a:pt x="1566" y="1500"/>
                  </a:lnTo>
                  <a:lnTo>
                    <a:pt x="1547" y="1477"/>
                  </a:lnTo>
                  <a:lnTo>
                    <a:pt x="1525" y="1457"/>
                  </a:lnTo>
                  <a:lnTo>
                    <a:pt x="1500" y="1441"/>
                  </a:lnTo>
                  <a:lnTo>
                    <a:pt x="1473" y="1428"/>
                  </a:lnTo>
                  <a:lnTo>
                    <a:pt x="1445" y="1422"/>
                  </a:lnTo>
                  <a:lnTo>
                    <a:pt x="1414" y="1419"/>
                  </a:lnTo>
                  <a:lnTo>
                    <a:pt x="1062" y="1419"/>
                  </a:lnTo>
                  <a:close/>
                  <a:moveTo>
                    <a:pt x="2753" y="353"/>
                  </a:moveTo>
                  <a:lnTo>
                    <a:pt x="2749" y="361"/>
                  </a:lnTo>
                  <a:lnTo>
                    <a:pt x="2571" y="659"/>
                  </a:lnTo>
                  <a:lnTo>
                    <a:pt x="3419" y="1917"/>
                  </a:lnTo>
                  <a:lnTo>
                    <a:pt x="3437" y="1895"/>
                  </a:lnTo>
                  <a:lnTo>
                    <a:pt x="3460" y="1876"/>
                  </a:lnTo>
                  <a:lnTo>
                    <a:pt x="3485" y="1861"/>
                  </a:lnTo>
                  <a:lnTo>
                    <a:pt x="3512" y="1850"/>
                  </a:lnTo>
                  <a:lnTo>
                    <a:pt x="3541" y="1844"/>
                  </a:lnTo>
                  <a:lnTo>
                    <a:pt x="2753" y="353"/>
                  </a:lnTo>
                  <a:close/>
                  <a:moveTo>
                    <a:pt x="2334" y="320"/>
                  </a:moveTo>
                  <a:lnTo>
                    <a:pt x="1562" y="1348"/>
                  </a:lnTo>
                  <a:lnTo>
                    <a:pt x="1590" y="1366"/>
                  </a:lnTo>
                  <a:lnTo>
                    <a:pt x="1616" y="1387"/>
                  </a:lnTo>
                  <a:lnTo>
                    <a:pt x="1638" y="1411"/>
                  </a:lnTo>
                  <a:lnTo>
                    <a:pt x="1658" y="1439"/>
                  </a:lnTo>
                  <a:lnTo>
                    <a:pt x="1827" y="1690"/>
                  </a:lnTo>
                  <a:lnTo>
                    <a:pt x="2555" y="467"/>
                  </a:lnTo>
                  <a:lnTo>
                    <a:pt x="2551" y="467"/>
                  </a:lnTo>
                  <a:lnTo>
                    <a:pt x="2515" y="465"/>
                  </a:lnTo>
                  <a:lnTo>
                    <a:pt x="2481" y="457"/>
                  </a:lnTo>
                  <a:lnTo>
                    <a:pt x="2448" y="444"/>
                  </a:lnTo>
                  <a:lnTo>
                    <a:pt x="2419" y="427"/>
                  </a:lnTo>
                  <a:lnTo>
                    <a:pt x="2391" y="405"/>
                  </a:lnTo>
                  <a:lnTo>
                    <a:pt x="2369" y="380"/>
                  </a:lnTo>
                  <a:lnTo>
                    <a:pt x="2349" y="351"/>
                  </a:lnTo>
                  <a:lnTo>
                    <a:pt x="2334" y="320"/>
                  </a:lnTo>
                  <a:close/>
                  <a:moveTo>
                    <a:pt x="2551" y="111"/>
                  </a:moveTo>
                  <a:lnTo>
                    <a:pt x="2523" y="115"/>
                  </a:lnTo>
                  <a:lnTo>
                    <a:pt x="2498" y="124"/>
                  </a:lnTo>
                  <a:lnTo>
                    <a:pt x="2475" y="138"/>
                  </a:lnTo>
                  <a:lnTo>
                    <a:pt x="2456" y="157"/>
                  </a:lnTo>
                  <a:lnTo>
                    <a:pt x="2441" y="180"/>
                  </a:lnTo>
                  <a:lnTo>
                    <a:pt x="2432" y="205"/>
                  </a:lnTo>
                  <a:lnTo>
                    <a:pt x="2429" y="234"/>
                  </a:lnTo>
                  <a:lnTo>
                    <a:pt x="2432" y="262"/>
                  </a:lnTo>
                  <a:lnTo>
                    <a:pt x="2441" y="287"/>
                  </a:lnTo>
                  <a:lnTo>
                    <a:pt x="2456" y="311"/>
                  </a:lnTo>
                  <a:lnTo>
                    <a:pt x="2475" y="329"/>
                  </a:lnTo>
                  <a:lnTo>
                    <a:pt x="2498" y="344"/>
                  </a:lnTo>
                  <a:lnTo>
                    <a:pt x="2523" y="353"/>
                  </a:lnTo>
                  <a:lnTo>
                    <a:pt x="2551" y="356"/>
                  </a:lnTo>
                  <a:lnTo>
                    <a:pt x="2576" y="354"/>
                  </a:lnTo>
                  <a:lnTo>
                    <a:pt x="2599" y="347"/>
                  </a:lnTo>
                  <a:lnTo>
                    <a:pt x="2619" y="336"/>
                  </a:lnTo>
                  <a:lnTo>
                    <a:pt x="2638" y="321"/>
                  </a:lnTo>
                  <a:lnTo>
                    <a:pt x="2653" y="303"/>
                  </a:lnTo>
                  <a:lnTo>
                    <a:pt x="2656" y="298"/>
                  </a:lnTo>
                  <a:lnTo>
                    <a:pt x="2657" y="297"/>
                  </a:lnTo>
                  <a:lnTo>
                    <a:pt x="2666" y="278"/>
                  </a:lnTo>
                  <a:lnTo>
                    <a:pt x="2672" y="256"/>
                  </a:lnTo>
                  <a:lnTo>
                    <a:pt x="2674" y="234"/>
                  </a:lnTo>
                  <a:lnTo>
                    <a:pt x="2672" y="210"/>
                  </a:lnTo>
                  <a:lnTo>
                    <a:pt x="2665" y="187"/>
                  </a:lnTo>
                  <a:lnTo>
                    <a:pt x="2661" y="180"/>
                  </a:lnTo>
                  <a:lnTo>
                    <a:pt x="2658" y="174"/>
                  </a:lnTo>
                  <a:lnTo>
                    <a:pt x="2643" y="153"/>
                  </a:lnTo>
                  <a:lnTo>
                    <a:pt x="2625" y="136"/>
                  </a:lnTo>
                  <a:lnTo>
                    <a:pt x="2603" y="123"/>
                  </a:lnTo>
                  <a:lnTo>
                    <a:pt x="2579" y="115"/>
                  </a:lnTo>
                  <a:lnTo>
                    <a:pt x="2551" y="111"/>
                  </a:lnTo>
                  <a:close/>
                  <a:moveTo>
                    <a:pt x="2551" y="0"/>
                  </a:moveTo>
                  <a:lnTo>
                    <a:pt x="2591" y="3"/>
                  </a:lnTo>
                  <a:lnTo>
                    <a:pt x="2630" y="12"/>
                  </a:lnTo>
                  <a:lnTo>
                    <a:pt x="2665" y="28"/>
                  </a:lnTo>
                  <a:lnTo>
                    <a:pt x="2696" y="50"/>
                  </a:lnTo>
                  <a:lnTo>
                    <a:pt x="2724" y="75"/>
                  </a:lnTo>
                  <a:lnTo>
                    <a:pt x="2747" y="106"/>
                  </a:lnTo>
                  <a:lnTo>
                    <a:pt x="2766" y="138"/>
                  </a:lnTo>
                  <a:lnTo>
                    <a:pt x="3713" y="1930"/>
                  </a:lnTo>
                  <a:lnTo>
                    <a:pt x="3726" y="1957"/>
                  </a:lnTo>
                  <a:lnTo>
                    <a:pt x="3734" y="1986"/>
                  </a:lnTo>
                  <a:lnTo>
                    <a:pt x="3736" y="2017"/>
                  </a:lnTo>
                  <a:lnTo>
                    <a:pt x="3733" y="2050"/>
                  </a:lnTo>
                  <a:lnTo>
                    <a:pt x="3725" y="2080"/>
                  </a:lnTo>
                  <a:lnTo>
                    <a:pt x="3711" y="2108"/>
                  </a:lnTo>
                  <a:lnTo>
                    <a:pt x="3693" y="2132"/>
                  </a:lnTo>
                  <a:lnTo>
                    <a:pt x="3672" y="2153"/>
                  </a:lnTo>
                  <a:lnTo>
                    <a:pt x="3646" y="2170"/>
                  </a:lnTo>
                  <a:lnTo>
                    <a:pt x="3617" y="2183"/>
                  </a:lnTo>
                  <a:lnTo>
                    <a:pt x="3617" y="2612"/>
                  </a:lnTo>
                  <a:lnTo>
                    <a:pt x="3617" y="2620"/>
                  </a:lnTo>
                  <a:lnTo>
                    <a:pt x="3616" y="2626"/>
                  </a:lnTo>
                  <a:lnTo>
                    <a:pt x="3609" y="2660"/>
                  </a:lnTo>
                  <a:lnTo>
                    <a:pt x="3597" y="2693"/>
                  </a:lnTo>
                  <a:lnTo>
                    <a:pt x="3580" y="2724"/>
                  </a:lnTo>
                  <a:lnTo>
                    <a:pt x="3559" y="2752"/>
                  </a:lnTo>
                  <a:lnTo>
                    <a:pt x="3533" y="2777"/>
                  </a:lnTo>
                  <a:lnTo>
                    <a:pt x="3504" y="2799"/>
                  </a:lnTo>
                  <a:lnTo>
                    <a:pt x="3471" y="2815"/>
                  </a:lnTo>
                  <a:lnTo>
                    <a:pt x="3282" y="2891"/>
                  </a:lnTo>
                  <a:lnTo>
                    <a:pt x="3231" y="2908"/>
                  </a:lnTo>
                  <a:lnTo>
                    <a:pt x="3180" y="2918"/>
                  </a:lnTo>
                  <a:lnTo>
                    <a:pt x="3127" y="2920"/>
                  </a:lnTo>
                  <a:lnTo>
                    <a:pt x="3081" y="2918"/>
                  </a:lnTo>
                  <a:lnTo>
                    <a:pt x="3034" y="2910"/>
                  </a:lnTo>
                  <a:lnTo>
                    <a:pt x="2989" y="2896"/>
                  </a:lnTo>
                  <a:lnTo>
                    <a:pt x="2946" y="2878"/>
                  </a:lnTo>
                  <a:lnTo>
                    <a:pt x="2904" y="2855"/>
                  </a:lnTo>
                  <a:lnTo>
                    <a:pt x="2865" y="2826"/>
                  </a:lnTo>
                  <a:lnTo>
                    <a:pt x="2454" y="2487"/>
                  </a:lnTo>
                  <a:lnTo>
                    <a:pt x="2442" y="2474"/>
                  </a:lnTo>
                  <a:lnTo>
                    <a:pt x="2436" y="2458"/>
                  </a:lnTo>
                  <a:lnTo>
                    <a:pt x="2433" y="2441"/>
                  </a:lnTo>
                  <a:lnTo>
                    <a:pt x="2438" y="2424"/>
                  </a:lnTo>
                  <a:lnTo>
                    <a:pt x="2447" y="2409"/>
                  </a:lnTo>
                  <a:lnTo>
                    <a:pt x="2459" y="2397"/>
                  </a:lnTo>
                  <a:lnTo>
                    <a:pt x="2475" y="2390"/>
                  </a:lnTo>
                  <a:lnTo>
                    <a:pt x="2492" y="2388"/>
                  </a:lnTo>
                  <a:lnTo>
                    <a:pt x="2509" y="2393"/>
                  </a:lnTo>
                  <a:lnTo>
                    <a:pt x="2525" y="2402"/>
                  </a:lnTo>
                  <a:lnTo>
                    <a:pt x="2656" y="2509"/>
                  </a:lnTo>
                  <a:lnTo>
                    <a:pt x="3418" y="2203"/>
                  </a:lnTo>
                  <a:lnTo>
                    <a:pt x="3431" y="2200"/>
                  </a:lnTo>
                  <a:lnTo>
                    <a:pt x="3446" y="2200"/>
                  </a:lnTo>
                  <a:lnTo>
                    <a:pt x="3460" y="2204"/>
                  </a:lnTo>
                  <a:lnTo>
                    <a:pt x="3472" y="2211"/>
                  </a:lnTo>
                  <a:lnTo>
                    <a:pt x="3482" y="2221"/>
                  </a:lnTo>
                  <a:lnTo>
                    <a:pt x="3490" y="2235"/>
                  </a:lnTo>
                  <a:lnTo>
                    <a:pt x="3506" y="2275"/>
                  </a:lnTo>
                  <a:lnTo>
                    <a:pt x="3506" y="2183"/>
                  </a:lnTo>
                  <a:lnTo>
                    <a:pt x="3478" y="2170"/>
                  </a:lnTo>
                  <a:lnTo>
                    <a:pt x="3452" y="2152"/>
                  </a:lnTo>
                  <a:lnTo>
                    <a:pt x="3429" y="2131"/>
                  </a:lnTo>
                  <a:lnTo>
                    <a:pt x="3411" y="2106"/>
                  </a:lnTo>
                  <a:lnTo>
                    <a:pt x="2507" y="766"/>
                  </a:lnTo>
                  <a:lnTo>
                    <a:pt x="1895" y="1794"/>
                  </a:lnTo>
                  <a:lnTo>
                    <a:pt x="1983" y="1926"/>
                  </a:lnTo>
                  <a:lnTo>
                    <a:pt x="2010" y="1971"/>
                  </a:lnTo>
                  <a:lnTo>
                    <a:pt x="2032" y="2018"/>
                  </a:lnTo>
                  <a:lnTo>
                    <a:pt x="2050" y="2067"/>
                  </a:lnTo>
                  <a:lnTo>
                    <a:pt x="2063" y="2117"/>
                  </a:lnTo>
                  <a:lnTo>
                    <a:pt x="2069" y="2168"/>
                  </a:lnTo>
                  <a:lnTo>
                    <a:pt x="2073" y="2221"/>
                  </a:lnTo>
                  <a:lnTo>
                    <a:pt x="2073" y="2433"/>
                  </a:lnTo>
                  <a:lnTo>
                    <a:pt x="2072" y="2441"/>
                  </a:lnTo>
                  <a:lnTo>
                    <a:pt x="2069" y="2452"/>
                  </a:lnTo>
                  <a:lnTo>
                    <a:pt x="2066" y="2460"/>
                  </a:lnTo>
                  <a:lnTo>
                    <a:pt x="2064" y="2463"/>
                  </a:lnTo>
                  <a:lnTo>
                    <a:pt x="2063" y="2465"/>
                  </a:lnTo>
                  <a:lnTo>
                    <a:pt x="2060" y="2469"/>
                  </a:lnTo>
                  <a:lnTo>
                    <a:pt x="2059" y="2469"/>
                  </a:lnTo>
                  <a:lnTo>
                    <a:pt x="2058" y="2471"/>
                  </a:lnTo>
                  <a:lnTo>
                    <a:pt x="2056" y="2473"/>
                  </a:lnTo>
                  <a:lnTo>
                    <a:pt x="2055" y="2474"/>
                  </a:lnTo>
                  <a:lnTo>
                    <a:pt x="2052" y="2477"/>
                  </a:lnTo>
                  <a:lnTo>
                    <a:pt x="2050" y="2478"/>
                  </a:lnTo>
                  <a:lnTo>
                    <a:pt x="2048" y="2480"/>
                  </a:lnTo>
                  <a:lnTo>
                    <a:pt x="2043" y="2482"/>
                  </a:lnTo>
                  <a:lnTo>
                    <a:pt x="2039" y="2485"/>
                  </a:lnTo>
                  <a:lnTo>
                    <a:pt x="2039" y="2485"/>
                  </a:lnTo>
                  <a:lnTo>
                    <a:pt x="2035" y="2486"/>
                  </a:lnTo>
                  <a:lnTo>
                    <a:pt x="2033" y="2487"/>
                  </a:lnTo>
                  <a:lnTo>
                    <a:pt x="2031" y="2488"/>
                  </a:lnTo>
                  <a:lnTo>
                    <a:pt x="2027" y="2488"/>
                  </a:lnTo>
                  <a:lnTo>
                    <a:pt x="2024" y="2489"/>
                  </a:lnTo>
                  <a:lnTo>
                    <a:pt x="2023" y="2489"/>
                  </a:lnTo>
                  <a:lnTo>
                    <a:pt x="2019" y="2489"/>
                  </a:lnTo>
                  <a:lnTo>
                    <a:pt x="2017" y="2489"/>
                  </a:lnTo>
                  <a:lnTo>
                    <a:pt x="1954" y="2489"/>
                  </a:lnTo>
                  <a:lnTo>
                    <a:pt x="1954" y="2672"/>
                  </a:lnTo>
                  <a:lnTo>
                    <a:pt x="1950" y="2689"/>
                  </a:lnTo>
                  <a:lnTo>
                    <a:pt x="1942" y="2705"/>
                  </a:lnTo>
                  <a:lnTo>
                    <a:pt x="1931" y="2716"/>
                  </a:lnTo>
                  <a:lnTo>
                    <a:pt x="1915" y="2724"/>
                  </a:lnTo>
                  <a:lnTo>
                    <a:pt x="1898" y="2727"/>
                  </a:lnTo>
                  <a:lnTo>
                    <a:pt x="1418" y="2727"/>
                  </a:lnTo>
                  <a:lnTo>
                    <a:pt x="1418" y="2853"/>
                  </a:lnTo>
                  <a:lnTo>
                    <a:pt x="1838" y="2853"/>
                  </a:lnTo>
                  <a:lnTo>
                    <a:pt x="1890" y="2857"/>
                  </a:lnTo>
                  <a:lnTo>
                    <a:pt x="1940" y="2866"/>
                  </a:lnTo>
                  <a:lnTo>
                    <a:pt x="1988" y="2882"/>
                  </a:lnTo>
                  <a:lnTo>
                    <a:pt x="2032" y="2902"/>
                  </a:lnTo>
                  <a:lnTo>
                    <a:pt x="2074" y="2927"/>
                  </a:lnTo>
                  <a:lnTo>
                    <a:pt x="2112" y="2958"/>
                  </a:lnTo>
                  <a:lnTo>
                    <a:pt x="2146" y="2992"/>
                  </a:lnTo>
                  <a:lnTo>
                    <a:pt x="2177" y="3030"/>
                  </a:lnTo>
                  <a:lnTo>
                    <a:pt x="2202" y="3072"/>
                  </a:lnTo>
                  <a:lnTo>
                    <a:pt x="2222" y="3116"/>
                  </a:lnTo>
                  <a:lnTo>
                    <a:pt x="2238" y="3164"/>
                  </a:lnTo>
                  <a:lnTo>
                    <a:pt x="2247" y="3214"/>
                  </a:lnTo>
                  <a:lnTo>
                    <a:pt x="2251" y="3266"/>
                  </a:lnTo>
                  <a:lnTo>
                    <a:pt x="2247" y="3317"/>
                  </a:lnTo>
                  <a:lnTo>
                    <a:pt x="2238" y="3367"/>
                  </a:lnTo>
                  <a:lnTo>
                    <a:pt x="2222" y="3415"/>
                  </a:lnTo>
                  <a:lnTo>
                    <a:pt x="2202" y="3460"/>
                  </a:lnTo>
                  <a:lnTo>
                    <a:pt x="2177" y="3501"/>
                  </a:lnTo>
                  <a:lnTo>
                    <a:pt x="2146" y="3540"/>
                  </a:lnTo>
                  <a:lnTo>
                    <a:pt x="2112" y="3574"/>
                  </a:lnTo>
                  <a:lnTo>
                    <a:pt x="2074" y="3604"/>
                  </a:lnTo>
                  <a:lnTo>
                    <a:pt x="2032" y="3630"/>
                  </a:lnTo>
                  <a:lnTo>
                    <a:pt x="1988" y="3651"/>
                  </a:lnTo>
                  <a:lnTo>
                    <a:pt x="1940" y="3666"/>
                  </a:lnTo>
                  <a:lnTo>
                    <a:pt x="1890" y="3676"/>
                  </a:lnTo>
                  <a:lnTo>
                    <a:pt x="1838" y="3678"/>
                  </a:lnTo>
                  <a:lnTo>
                    <a:pt x="413" y="3678"/>
                  </a:lnTo>
                  <a:lnTo>
                    <a:pt x="360" y="3676"/>
                  </a:lnTo>
                  <a:lnTo>
                    <a:pt x="311" y="3666"/>
                  </a:lnTo>
                  <a:lnTo>
                    <a:pt x="263" y="3651"/>
                  </a:lnTo>
                  <a:lnTo>
                    <a:pt x="219" y="3630"/>
                  </a:lnTo>
                  <a:lnTo>
                    <a:pt x="177" y="3604"/>
                  </a:lnTo>
                  <a:lnTo>
                    <a:pt x="138" y="3574"/>
                  </a:lnTo>
                  <a:lnTo>
                    <a:pt x="104" y="3540"/>
                  </a:lnTo>
                  <a:lnTo>
                    <a:pt x="74" y="3501"/>
                  </a:lnTo>
                  <a:lnTo>
                    <a:pt x="49" y="3460"/>
                  </a:lnTo>
                  <a:lnTo>
                    <a:pt x="28" y="3415"/>
                  </a:lnTo>
                  <a:lnTo>
                    <a:pt x="12" y="3367"/>
                  </a:lnTo>
                  <a:lnTo>
                    <a:pt x="3" y="3317"/>
                  </a:lnTo>
                  <a:lnTo>
                    <a:pt x="0" y="3266"/>
                  </a:lnTo>
                  <a:lnTo>
                    <a:pt x="3" y="3214"/>
                  </a:lnTo>
                  <a:lnTo>
                    <a:pt x="12" y="3164"/>
                  </a:lnTo>
                  <a:lnTo>
                    <a:pt x="28" y="3116"/>
                  </a:lnTo>
                  <a:lnTo>
                    <a:pt x="49" y="3072"/>
                  </a:lnTo>
                  <a:lnTo>
                    <a:pt x="74" y="3030"/>
                  </a:lnTo>
                  <a:lnTo>
                    <a:pt x="104" y="2992"/>
                  </a:lnTo>
                  <a:lnTo>
                    <a:pt x="138" y="2958"/>
                  </a:lnTo>
                  <a:lnTo>
                    <a:pt x="177" y="2927"/>
                  </a:lnTo>
                  <a:lnTo>
                    <a:pt x="219" y="2902"/>
                  </a:lnTo>
                  <a:lnTo>
                    <a:pt x="263" y="2882"/>
                  </a:lnTo>
                  <a:lnTo>
                    <a:pt x="311" y="2866"/>
                  </a:lnTo>
                  <a:lnTo>
                    <a:pt x="360" y="2857"/>
                  </a:lnTo>
                  <a:lnTo>
                    <a:pt x="413" y="2853"/>
                  </a:lnTo>
                  <a:lnTo>
                    <a:pt x="832" y="2853"/>
                  </a:lnTo>
                  <a:lnTo>
                    <a:pt x="832" y="2727"/>
                  </a:lnTo>
                  <a:lnTo>
                    <a:pt x="353" y="2727"/>
                  </a:lnTo>
                  <a:lnTo>
                    <a:pt x="317" y="2724"/>
                  </a:lnTo>
                  <a:lnTo>
                    <a:pt x="284" y="2714"/>
                  </a:lnTo>
                  <a:lnTo>
                    <a:pt x="255" y="2698"/>
                  </a:lnTo>
                  <a:lnTo>
                    <a:pt x="229" y="2676"/>
                  </a:lnTo>
                  <a:lnTo>
                    <a:pt x="209" y="2650"/>
                  </a:lnTo>
                  <a:lnTo>
                    <a:pt x="192" y="2621"/>
                  </a:lnTo>
                  <a:lnTo>
                    <a:pt x="181" y="2588"/>
                  </a:lnTo>
                  <a:lnTo>
                    <a:pt x="178" y="2553"/>
                  </a:lnTo>
                  <a:lnTo>
                    <a:pt x="178" y="2136"/>
                  </a:lnTo>
                  <a:lnTo>
                    <a:pt x="181" y="2101"/>
                  </a:lnTo>
                  <a:lnTo>
                    <a:pt x="192" y="2068"/>
                  </a:lnTo>
                  <a:lnTo>
                    <a:pt x="209" y="2039"/>
                  </a:lnTo>
                  <a:lnTo>
                    <a:pt x="229" y="2013"/>
                  </a:lnTo>
                  <a:lnTo>
                    <a:pt x="255" y="1991"/>
                  </a:lnTo>
                  <a:lnTo>
                    <a:pt x="284" y="1975"/>
                  </a:lnTo>
                  <a:lnTo>
                    <a:pt x="317" y="1965"/>
                  </a:lnTo>
                  <a:lnTo>
                    <a:pt x="353" y="1962"/>
                  </a:lnTo>
                  <a:lnTo>
                    <a:pt x="713" y="1962"/>
                  </a:lnTo>
                  <a:lnTo>
                    <a:pt x="713" y="1601"/>
                  </a:lnTo>
                  <a:lnTo>
                    <a:pt x="717" y="1558"/>
                  </a:lnTo>
                  <a:lnTo>
                    <a:pt x="726" y="1517"/>
                  </a:lnTo>
                  <a:lnTo>
                    <a:pt x="740" y="1477"/>
                  </a:lnTo>
                  <a:lnTo>
                    <a:pt x="761" y="1442"/>
                  </a:lnTo>
                  <a:lnTo>
                    <a:pt x="785" y="1409"/>
                  </a:lnTo>
                  <a:lnTo>
                    <a:pt x="814" y="1380"/>
                  </a:lnTo>
                  <a:lnTo>
                    <a:pt x="847" y="1355"/>
                  </a:lnTo>
                  <a:lnTo>
                    <a:pt x="883" y="1335"/>
                  </a:lnTo>
                  <a:lnTo>
                    <a:pt x="922" y="1321"/>
                  </a:lnTo>
                  <a:lnTo>
                    <a:pt x="963" y="1310"/>
                  </a:lnTo>
                  <a:lnTo>
                    <a:pt x="1007" y="1308"/>
                  </a:lnTo>
                  <a:lnTo>
                    <a:pt x="1414" y="1308"/>
                  </a:lnTo>
                  <a:lnTo>
                    <a:pt x="1452" y="1310"/>
                  </a:lnTo>
                  <a:lnTo>
                    <a:pt x="2359" y="101"/>
                  </a:lnTo>
                  <a:lnTo>
                    <a:pt x="2359" y="101"/>
                  </a:lnTo>
                  <a:lnTo>
                    <a:pt x="2382" y="73"/>
                  </a:lnTo>
                  <a:lnTo>
                    <a:pt x="2410" y="48"/>
                  </a:lnTo>
                  <a:lnTo>
                    <a:pt x="2441" y="27"/>
                  </a:lnTo>
                  <a:lnTo>
                    <a:pt x="2475" y="12"/>
                  </a:lnTo>
                  <a:lnTo>
                    <a:pt x="2513" y="3"/>
                  </a:lnTo>
                  <a:lnTo>
                    <a:pt x="2551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</p:grpSp>
      <p:sp>
        <p:nvSpPr>
          <p:cNvPr id="23625" name="TextBox 158">
            <a:extLst>
              <a:ext uri="{FF2B5EF4-FFF2-40B4-BE49-F238E27FC236}">
                <a16:creationId xmlns:a16="http://schemas.microsoft.com/office/drawing/2014/main" id="{E039C87F-72AD-4054-B63A-554ACFFB9E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4663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26" name="TextBox 159">
            <a:extLst>
              <a:ext uri="{FF2B5EF4-FFF2-40B4-BE49-F238E27FC236}">
                <a16:creationId xmlns:a16="http://schemas.microsoft.com/office/drawing/2014/main" id="{C89D28E8-6E73-4458-A352-42A749EC09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3488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27" name="TextBox 127">
            <a:extLst>
              <a:ext uri="{FF2B5EF4-FFF2-40B4-BE49-F238E27FC236}">
                <a16:creationId xmlns:a16="http://schemas.microsoft.com/office/drawing/2014/main" id="{D2C4F5E9-E854-4896-8355-45DEC69063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7813" y="6378575"/>
            <a:ext cx="426243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Sources: National Bureau of Statistics, World Bank Report on Doing Business in Nigeria 2018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climate-data.org, State Government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Exchange rate= $1/N305 (Central Bank of Nigeria)</a:t>
            </a:r>
          </a:p>
        </p:txBody>
      </p:sp>
      <p:sp>
        <p:nvSpPr>
          <p:cNvPr id="23628" name="TextBox 128">
            <a:extLst>
              <a:ext uri="{FF2B5EF4-FFF2-40B4-BE49-F238E27FC236}">
                <a16:creationId xmlns:a16="http://schemas.microsoft.com/office/drawing/2014/main" id="{409BCC6F-A5F0-4C79-BB4A-38A1ABC14F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99047" y="3649889"/>
            <a:ext cx="56778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Tourism</a:t>
            </a:r>
          </a:p>
        </p:txBody>
      </p:sp>
      <p:sp>
        <p:nvSpPr>
          <p:cNvPr id="23629" name="TextBox 129">
            <a:extLst>
              <a:ext uri="{FF2B5EF4-FFF2-40B4-BE49-F238E27FC236}">
                <a16:creationId xmlns:a16="http://schemas.microsoft.com/office/drawing/2014/main" id="{489E7B41-20C9-4493-8E7D-07238EB8FA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2892" y="3654980"/>
            <a:ext cx="64953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River Port</a:t>
            </a:r>
          </a:p>
        </p:txBody>
      </p:sp>
      <p:sp>
        <p:nvSpPr>
          <p:cNvPr id="23630" name="TextBox 130">
            <a:extLst>
              <a:ext uri="{FF2B5EF4-FFF2-40B4-BE49-F238E27FC236}">
                <a16:creationId xmlns:a16="http://schemas.microsoft.com/office/drawing/2014/main" id="{048DE5D8-5309-42DA-9D97-2935A10CB7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31" name="TextBox 131">
            <a:extLst>
              <a:ext uri="{FF2B5EF4-FFF2-40B4-BE49-F238E27FC236}">
                <a16:creationId xmlns:a16="http://schemas.microsoft.com/office/drawing/2014/main" id="{FF8B6C80-43E2-43AF-A364-A31845F05C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5388" y="3656613"/>
            <a:ext cx="37061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Fish</a:t>
            </a:r>
          </a:p>
        </p:txBody>
      </p:sp>
      <p:sp>
        <p:nvSpPr>
          <p:cNvPr id="23632" name="TextBox 132">
            <a:extLst>
              <a:ext uri="{FF2B5EF4-FFF2-40B4-BE49-F238E27FC236}">
                <a16:creationId xmlns:a16="http://schemas.microsoft.com/office/drawing/2014/main" id="{A1C640C1-61D1-4BA5-8A76-E684397E8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46689" y="3650683"/>
            <a:ext cx="40588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Gold</a:t>
            </a:r>
          </a:p>
        </p:txBody>
      </p:sp>
      <p:sp>
        <p:nvSpPr>
          <p:cNvPr id="23638" name="TextBox 141">
            <a:extLst>
              <a:ext uri="{FF2B5EF4-FFF2-40B4-BE49-F238E27FC236}">
                <a16:creationId xmlns:a16="http://schemas.microsoft.com/office/drawing/2014/main" id="{EE481231-8673-4FD7-B5CC-900AEE7A9F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8233" y="3652271"/>
            <a:ext cx="38023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Rice</a:t>
            </a:r>
          </a:p>
        </p:txBody>
      </p:sp>
      <p:sp>
        <p:nvSpPr>
          <p:cNvPr id="23649" name="TextBox 165">
            <a:extLst>
              <a:ext uri="{FF2B5EF4-FFF2-40B4-BE49-F238E27FC236}">
                <a16:creationId xmlns:a16="http://schemas.microsoft.com/office/drawing/2014/main" id="{1242633E-9CB1-48ED-83F4-2223DFC7ED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81236" y="4459560"/>
            <a:ext cx="60946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Shea Nut</a:t>
            </a:r>
          </a:p>
        </p:txBody>
      </p:sp>
      <p:sp>
        <p:nvSpPr>
          <p:cNvPr id="23650" name="TextBox 166">
            <a:extLst>
              <a:ext uri="{FF2B5EF4-FFF2-40B4-BE49-F238E27FC236}">
                <a16:creationId xmlns:a16="http://schemas.microsoft.com/office/drawing/2014/main" id="{6B51369B-8FA6-464A-B908-12B0FFE6B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96861" y="4458812"/>
            <a:ext cx="822661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Hydro Power </a:t>
            </a:r>
          </a:p>
        </p:txBody>
      </p:sp>
      <p:sp>
        <p:nvSpPr>
          <p:cNvPr id="23651" name="TextBox 167">
            <a:extLst>
              <a:ext uri="{FF2B5EF4-FFF2-40B4-BE49-F238E27FC236}">
                <a16:creationId xmlns:a16="http://schemas.microsoft.com/office/drawing/2014/main" id="{4F9404E1-8339-401B-8B10-4C7D1A8CEC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40748" y="4457881"/>
            <a:ext cx="97494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altLang="en-US" sz="900" dirty="0">
                <a:solidFill>
                  <a:prstClr val="black"/>
                </a:solidFill>
                <a:latin typeface="Calibri" panose="020F0502020204030204" pitchFamily="34" charset="0"/>
              </a:rPr>
              <a:t>Waste to Wealth</a:t>
            </a:r>
            <a:endParaRPr kumimoji="0" lang="en-GB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52" name="TextBox 168">
            <a:extLst>
              <a:ext uri="{FF2B5EF4-FFF2-40B4-BE49-F238E27FC236}">
                <a16:creationId xmlns:a16="http://schemas.microsoft.com/office/drawing/2014/main" id="{1C04917D-B2C3-4C21-8CC2-A45C349B4B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65456" y="4457133"/>
            <a:ext cx="62068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Feed Mill</a:t>
            </a:r>
          </a:p>
        </p:txBody>
      </p:sp>
      <p:sp>
        <p:nvSpPr>
          <p:cNvPr id="23653" name="TextBox 169">
            <a:extLst>
              <a:ext uri="{FF2B5EF4-FFF2-40B4-BE49-F238E27FC236}">
                <a16:creationId xmlns:a16="http://schemas.microsoft.com/office/drawing/2014/main" id="{4BADA327-4F2D-4897-B7C0-4647A1484B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3926" y="4457973"/>
            <a:ext cx="388248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Yam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8A28B48-1841-45BB-BFBC-EADE77B37C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0227459"/>
              </p:ext>
            </p:extLst>
          </p:nvPr>
        </p:nvGraphicFramePr>
        <p:xfrm>
          <a:off x="2779712" y="2589213"/>
          <a:ext cx="1482725" cy="812800"/>
        </p:xfrm>
        <a:graphic>
          <a:graphicData uri="http://schemas.openxmlformats.org/drawingml/2006/table">
            <a:tbl>
              <a:tblPr/>
              <a:tblGrid>
                <a:gridCol w="11367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9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32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GB" sz="1000" b="1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Domestic</a:t>
                      </a:r>
                      <a:r>
                        <a:rPr lang="en-GB" sz="10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US" sz="1000" b="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International 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Railway</a:t>
                      </a:r>
                      <a:r>
                        <a:rPr lang="en-GB" sz="1000" b="1" kern="1200" baseline="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 Station</a:t>
                      </a:r>
                      <a:endParaRPr lang="en-GB" sz="1000" b="1" kern="1200" dirty="0">
                        <a:solidFill>
                          <a:srgbClr val="292929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32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Sea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7" name="TextBox 136">
            <a:extLst>
              <a:ext uri="{FF2B5EF4-FFF2-40B4-BE49-F238E27FC236}">
                <a16:creationId xmlns:a16="http://schemas.microsoft.com/office/drawing/2014/main" id="{2F4C4876-7073-4C13-A183-127A8909BDC0}"/>
              </a:ext>
            </a:extLst>
          </p:cNvPr>
          <p:cNvSpPr txBox="1"/>
          <p:nvPr/>
        </p:nvSpPr>
        <p:spPr>
          <a:xfrm>
            <a:off x="538163" y="5268913"/>
            <a:ext cx="373856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For further details</a:t>
            </a:r>
          </a:p>
        </p:txBody>
      </p:sp>
      <p:sp>
        <p:nvSpPr>
          <p:cNvPr id="23676" name="TextBox 156">
            <a:extLst>
              <a:ext uri="{FF2B5EF4-FFF2-40B4-BE49-F238E27FC236}">
                <a16:creationId xmlns:a16="http://schemas.microsoft.com/office/drawing/2014/main" id="{95D66AAF-6B48-4B9E-9E5B-F1BB063A89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6300" y="6342063"/>
            <a:ext cx="37306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Abbreviations: </a:t>
            </a:r>
            <a:r>
              <a:rPr kumimoji="0" lang="en-GB" alt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	NICPS</a:t>
            </a:r>
            <a: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: Nigerian Investment Certification Programme for States         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	</a:t>
            </a:r>
            <a:r>
              <a:rPr kumimoji="0" lang="en-GB" alt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IGR</a:t>
            </a:r>
            <a: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:     Internal Generated Revenue</a:t>
            </a:r>
          </a:p>
        </p:txBody>
      </p:sp>
      <p:sp>
        <p:nvSpPr>
          <p:cNvPr id="23677" name="TextBox 150">
            <a:extLst>
              <a:ext uri="{FF2B5EF4-FFF2-40B4-BE49-F238E27FC236}">
                <a16:creationId xmlns:a16="http://schemas.microsoft.com/office/drawing/2014/main" id="{0C3C74AA-958A-427A-94BC-BA3C6F707F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8638" y="5489575"/>
            <a:ext cx="2465387" cy="792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300" dirty="0">
                <a:latin typeface="Calibri" panose="020F0502020204030204" pitchFamily="34" charset="0"/>
                <a:cs typeface="Calibri" panose="020F0502020204030204" pitchFamily="34" charset="0"/>
              </a:rPr>
              <a:t>Governor General of Nigeria, Lord Lugard amalgamated the Northern and Southern Protectorates at </a:t>
            </a:r>
            <a:r>
              <a:rPr lang="en-GB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Zungeru</a:t>
            </a:r>
            <a:r>
              <a:rPr lang="en-GB" sz="1300" dirty="0">
                <a:latin typeface="Calibri" panose="020F0502020204030204" pitchFamily="34" charset="0"/>
                <a:cs typeface="Calibri" panose="020F0502020204030204" pitchFamily="34" charset="0"/>
              </a:rPr>
              <a:t>, Niger state in 1914.</a:t>
            </a:r>
            <a:endParaRPr kumimoji="0" lang="en-MY" alt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678" name="TextBox 152">
            <a:extLst>
              <a:ext uri="{FF2B5EF4-FFF2-40B4-BE49-F238E27FC236}">
                <a16:creationId xmlns:a16="http://schemas.microsoft.com/office/drawing/2014/main" id="{BFAF6896-F732-45FC-AC47-950DF99D9E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51562" y="1148564"/>
            <a:ext cx="3684068" cy="1615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15888" indent="-11588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15888" marR="0" lvl="0" indent="-11588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MY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Arial" charset="0"/>
              </a:rPr>
              <a:t>2</a:t>
            </a:r>
            <a:r>
              <a:rPr kumimoji="0" lang="en-MY" sz="11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Arial" charset="0"/>
              </a:rPr>
              <a:t>nd</a:t>
            </a:r>
            <a:r>
              <a:rPr lang="en-MY" sz="1100" dirty="0">
                <a:solidFill>
                  <a:prstClr val="black"/>
                </a:solidFill>
                <a:latin typeface="Calibri" panose="020F0502020204030204" pitchFamily="34" charset="0"/>
                <a:cs typeface="Arial" charset="0"/>
              </a:rPr>
              <a:t> l</a:t>
            </a:r>
            <a:r>
              <a:rPr kumimoji="0" lang="en-MY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Arial" charset="0"/>
              </a:rPr>
              <a:t>argest</a:t>
            </a:r>
            <a:r>
              <a:rPr kumimoji="0" lang="en-MY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Arial" charset="0"/>
              </a:rPr>
              <a:t> state in Nigeria</a:t>
            </a:r>
            <a:endParaRPr lang="en-MY" sz="1100" dirty="0">
              <a:solidFill>
                <a:prstClr val="black"/>
              </a:solidFill>
              <a:latin typeface="Calibri" panose="020F0502020204030204" pitchFamily="34" charset="0"/>
              <a:cs typeface="Arial" charset="0"/>
            </a:endParaRPr>
          </a:p>
          <a:p>
            <a:pPr marL="115888" marR="0" lvl="0" indent="-11588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MY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Arial" charset="0"/>
              </a:rPr>
              <a:t>&gt;70% of land is arable and cultivable</a:t>
            </a:r>
          </a:p>
          <a:p>
            <a:pPr marL="115888" marR="0" lvl="0" indent="-11588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MY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Arial" charset="0"/>
              </a:rPr>
              <a:t>Home to all 3 hydro dams in Nigeria (70% output of the Nation’s power sector)</a:t>
            </a:r>
          </a:p>
          <a:p>
            <a:pPr marL="115888" marR="0" lvl="0" indent="-11588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MY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Arial" charset="0"/>
              </a:rPr>
              <a:t>Largest number of tourist sites in Nigeria (60+)</a:t>
            </a:r>
          </a:p>
          <a:p>
            <a:pPr lvl="0" eaLnBrk="1" hangingPunct="1">
              <a:buFont typeface="Arial" panose="020B0604020202020204" pitchFamily="34" charset="0"/>
              <a:buChar char="•"/>
              <a:defRPr/>
            </a:pPr>
            <a:r>
              <a:rPr lang="en-GB" sz="1100" dirty="0">
                <a:solidFill>
                  <a:prstClr val="black"/>
                </a:solidFill>
                <a:latin typeface="Calibri" panose="020F0502020204030204" pitchFamily="34" charset="0"/>
                <a:cs typeface="Arial" charset="0"/>
              </a:rPr>
              <a:t>Produces and exports about 57% of the world’s Shea butter.</a:t>
            </a:r>
          </a:p>
          <a:p>
            <a:pPr lvl="0" eaLnBrk="1" hangingPunct="1">
              <a:buFont typeface="Arial" panose="020B0604020202020204" pitchFamily="34" charset="0"/>
              <a:buChar char="•"/>
              <a:defRPr/>
            </a:pPr>
            <a:r>
              <a:rPr lang="en-GB" sz="1100" dirty="0" err="1"/>
              <a:t>Baro's</a:t>
            </a:r>
            <a:r>
              <a:rPr lang="en-GB" sz="1100" dirty="0"/>
              <a:t> port served as a trade link between the North and other parts of the country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D4E23C6-26A0-4545-B8F7-7007C8EEBFE4}"/>
              </a:ext>
            </a:extLst>
          </p:cNvPr>
          <p:cNvSpPr txBox="1"/>
          <p:nvPr/>
        </p:nvSpPr>
        <p:spPr>
          <a:xfrm>
            <a:off x="4338638" y="5265738"/>
            <a:ext cx="247491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Did you know?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sp>
        <p:nvSpPr>
          <p:cNvPr id="132" name="Text Placeholder 42">
            <a:extLst>
              <a:ext uri="{FF2B5EF4-FFF2-40B4-BE49-F238E27FC236}">
                <a16:creationId xmlns:a16="http://schemas.microsoft.com/office/drawing/2014/main" id="{D510D0DC-1548-4249-8DB1-9A1055126D07}"/>
              </a:ext>
            </a:extLst>
          </p:cNvPr>
          <p:cNvSpPr txBox="1">
            <a:spLocks/>
          </p:cNvSpPr>
          <p:nvPr/>
        </p:nvSpPr>
        <p:spPr>
          <a:xfrm>
            <a:off x="522288" y="5511800"/>
            <a:ext cx="3733800" cy="701675"/>
          </a:xfrm>
          <a:prstGeom prst="rect">
            <a:avLst/>
          </a:prstGeom>
        </p:spPr>
        <p:txBody>
          <a:bodyPr lIns="36576" tIns="0" rIns="36576" bIns="0"/>
          <a:lstStyle>
            <a:lvl1pPr marL="0" indent="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/>
              <a:buNone/>
              <a:defRPr sz="800" b="1" baseline="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6575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93763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 charset="0"/>
              <a:buChar char="►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50950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619250" indent="-188913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0764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25336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29908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34480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</a:rPr>
              <a:t>NIGERIAN INVESTMENT PROMOTION COMMISSION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Arial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hlinkClick r:id="rId7"/>
              </a:rPr>
              <a:t>statesco@nipc.gov.ng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Arial"/>
              <a:buNone/>
              <a:tabLst/>
              <a:defRPr/>
            </a:pPr>
            <a:endParaRPr kumimoji="0" lang="en-US" sz="5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</a:endParaRPr>
          </a:p>
          <a:p>
            <a:pPr lvl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</a:rPr>
              <a:t>NIGER STATE </a:t>
            </a:r>
            <a:r>
              <a:rPr lang="en-GB" sz="1000" kern="0" dirty="0">
                <a:solidFill>
                  <a:prstClr val="black"/>
                </a:solidFill>
              </a:rPr>
              <a:t>ONE STOP INVESTMENT </a:t>
            </a:r>
            <a:r>
              <a:rPr lang="en-GB" sz="1000" kern="0" dirty="0" err="1">
                <a:solidFill>
                  <a:prstClr val="black"/>
                </a:solidFill>
              </a:rPr>
              <a:t>CENTER</a:t>
            </a:r>
            <a:r>
              <a:rPr lang="en-GB" sz="1000" kern="0" dirty="0">
                <a:solidFill>
                  <a:prstClr val="black"/>
                </a:solidFill>
              </a:rPr>
              <a:t> (OSIC)</a:t>
            </a:r>
          </a:p>
          <a:p>
            <a:pPr lvl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>
                <a:solidFill>
                  <a:prstClr val="black"/>
                </a:solidFill>
                <a:hlinkClick r:id="rId8"/>
              </a:rPr>
              <a:t>sarkibello65@gmail.com</a:t>
            </a:r>
            <a:r>
              <a:rPr lang="en-US" sz="1000" b="0" kern="0" dirty="0">
                <a:solidFill>
                  <a:prstClr val="black"/>
                </a:solidFill>
              </a:rPr>
              <a:t> 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</a:endParaRPr>
          </a:p>
        </p:txBody>
      </p:sp>
      <p:pic>
        <p:nvPicPr>
          <p:cNvPr id="135" name="Picture 134"/>
          <p:cNvPicPr>
            <a:picLocks noChangeAspect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894103" y="3159125"/>
            <a:ext cx="341060" cy="329595"/>
          </a:xfrm>
          <a:prstGeom prst="rect">
            <a:avLst/>
          </a:prstGeom>
        </p:spPr>
      </p:pic>
      <p:pic>
        <p:nvPicPr>
          <p:cNvPr id="136" name="Picture 135">
            <a:extLst>
              <a:ext uri="{FF2B5EF4-FFF2-40B4-BE49-F238E27FC236}">
                <a16:creationId xmlns:a16="http://schemas.microsoft.com/office/drawing/2014/main" id="{9793C388-C61C-45EC-BF8F-149315464127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47" t="15869" r="6216" b="22345"/>
          <a:stretch/>
        </p:blipFill>
        <p:spPr>
          <a:xfrm>
            <a:off x="8299499" y="3142984"/>
            <a:ext cx="514001" cy="375677"/>
          </a:xfrm>
          <a:prstGeom prst="rect">
            <a:avLst/>
          </a:prstGeom>
        </p:spPr>
      </p:pic>
      <p:pic>
        <p:nvPicPr>
          <p:cNvPr id="139" name="Picture 138">
            <a:extLst>
              <a:ext uri="{FF2B5EF4-FFF2-40B4-BE49-F238E27FC236}">
                <a16:creationId xmlns:a16="http://schemas.microsoft.com/office/drawing/2014/main" id="{4B46F167-F671-4481-8707-DCA507B058A7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16" t="17956" b="25500"/>
          <a:stretch/>
        </p:blipFill>
        <p:spPr>
          <a:xfrm>
            <a:off x="7568335" y="3125880"/>
            <a:ext cx="490682" cy="437875"/>
          </a:xfrm>
          <a:prstGeom prst="rect">
            <a:avLst/>
          </a:prstGeom>
        </p:spPr>
      </p:pic>
      <p:pic>
        <p:nvPicPr>
          <p:cNvPr id="142" name="Picture 141" descr="Power.jpg"/>
          <p:cNvPicPr>
            <a:picLocks noChangeAspect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12320" t="35282" r="71508" b="46256"/>
          <a:stretch>
            <a:fillRect/>
          </a:stretch>
        </p:blipFill>
        <p:spPr>
          <a:xfrm>
            <a:off x="6856827" y="3915742"/>
            <a:ext cx="471073" cy="427658"/>
          </a:xfrm>
          <a:prstGeom prst="rect">
            <a:avLst/>
          </a:prstGeom>
        </p:spPr>
      </p:pic>
      <p:pic>
        <p:nvPicPr>
          <p:cNvPr id="149" name="Picture 148">
            <a:extLst>
              <a:ext uri="{FF2B5EF4-FFF2-40B4-BE49-F238E27FC236}">
                <a16:creationId xmlns:a16="http://schemas.microsoft.com/office/drawing/2014/main" id="{F9088E82-D250-4DE2-9DF4-B28BB0A1F6D4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7173" y="3890203"/>
            <a:ext cx="465678" cy="453197"/>
          </a:xfrm>
          <a:prstGeom prst="rect">
            <a:avLst/>
          </a:prstGeom>
        </p:spPr>
      </p:pic>
      <p:pic>
        <p:nvPicPr>
          <p:cNvPr id="150" name="Picture 149">
            <a:extLst>
              <a:ext uri="{FF2B5EF4-FFF2-40B4-BE49-F238E27FC236}">
                <a16:creationId xmlns:a16="http://schemas.microsoft.com/office/drawing/2014/main" id="{481D6F50-C38F-4915-98EC-972C8FCE4422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0887" t="28654" r="5810" b="5147"/>
          <a:stretch/>
        </p:blipFill>
        <p:spPr>
          <a:xfrm>
            <a:off x="8986141" y="3915184"/>
            <a:ext cx="538859" cy="428216"/>
          </a:xfrm>
          <a:prstGeom prst="rect">
            <a:avLst/>
          </a:prstGeom>
        </p:spPr>
      </p:pic>
      <p:pic>
        <p:nvPicPr>
          <p:cNvPr id="151" name="Picture 150">
            <a:extLst>
              <a:ext uri="{FF2B5EF4-FFF2-40B4-BE49-F238E27FC236}">
                <a16:creationId xmlns:a16="http://schemas.microsoft.com/office/drawing/2014/main" id="{3882A221-E739-4026-BF50-6F53439CE9AC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062" t="1022" r="23384" b="72318"/>
          <a:stretch/>
        </p:blipFill>
        <p:spPr>
          <a:xfrm>
            <a:off x="8987241" y="3109200"/>
            <a:ext cx="610888" cy="649432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2457" y="3103563"/>
            <a:ext cx="579437" cy="566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7" name="Picture 166">
            <a:extLst>
              <a:ext uri="{FF2B5EF4-FFF2-40B4-BE49-F238E27FC236}">
                <a16:creationId xmlns:a16="http://schemas.microsoft.com/office/drawing/2014/main" id="{3882A221-E739-4026-BF50-6F53439CE9AC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062" t="1022" r="23384" b="72318"/>
          <a:stretch/>
        </p:blipFill>
        <p:spPr>
          <a:xfrm>
            <a:off x="8885584" y="3048436"/>
            <a:ext cx="739175" cy="715205"/>
          </a:xfrm>
          <a:prstGeom prst="rect">
            <a:avLst/>
          </a:prstGeom>
        </p:spPr>
      </p:pic>
      <p:sp>
        <p:nvSpPr>
          <p:cNvPr id="169" name="Oval 168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238751" y="3833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0" name="Oval 169">
            <a:extLst>
              <a:ext uri="{FF2B5EF4-FFF2-40B4-BE49-F238E27FC236}">
                <a16:creationId xmlns:a16="http://schemas.microsoft.com/office/drawing/2014/main" id="{FF015425-7997-4612-9D0E-1F6C433DFCC7}"/>
              </a:ext>
            </a:extLst>
          </p:cNvPr>
          <p:cNvSpPr/>
          <p:nvPr/>
        </p:nvSpPr>
        <p:spPr>
          <a:xfrm>
            <a:off x="6080877" y="3040856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1" name="Oval 170">
            <a:extLst>
              <a:ext uri="{FF2B5EF4-FFF2-40B4-BE49-F238E27FC236}">
                <a16:creationId xmlns:a16="http://schemas.microsoft.com/office/drawing/2014/main" id="{4C0B7457-CABD-4AC8-8A1A-1FD468581E4D}"/>
              </a:ext>
            </a:extLst>
          </p:cNvPr>
          <p:cNvSpPr/>
          <p:nvPr/>
        </p:nvSpPr>
        <p:spPr>
          <a:xfrm>
            <a:off x="6784796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2" name="Oval 171">
            <a:extLst>
              <a:ext uri="{FF2B5EF4-FFF2-40B4-BE49-F238E27FC236}">
                <a16:creationId xmlns:a16="http://schemas.microsoft.com/office/drawing/2014/main" id="{2D626A89-F50C-45A3-9271-5D3F2EEA9C83}"/>
              </a:ext>
            </a:extLst>
          </p:cNvPr>
          <p:cNvSpPr/>
          <p:nvPr/>
        </p:nvSpPr>
        <p:spPr>
          <a:xfrm>
            <a:off x="7518399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3" name="Oval 172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240713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4" name="Oval 173">
            <a:extLst>
              <a:ext uri="{FF2B5EF4-FFF2-40B4-BE49-F238E27FC236}">
                <a16:creationId xmlns:a16="http://schemas.microsoft.com/office/drawing/2014/main" id="{A62E850A-D87D-46D0-9257-0071E677FCF0}"/>
              </a:ext>
            </a:extLst>
          </p:cNvPr>
          <p:cNvSpPr/>
          <p:nvPr/>
        </p:nvSpPr>
        <p:spPr>
          <a:xfrm>
            <a:off x="8947150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5" name="Oval 174">
            <a:extLst>
              <a:ext uri="{FF2B5EF4-FFF2-40B4-BE49-F238E27FC236}">
                <a16:creationId xmlns:a16="http://schemas.microsoft.com/office/drawing/2014/main" id="{4D1FAA17-3EFF-404B-B4C4-B468BCE2E9A5}"/>
              </a:ext>
            </a:extLst>
          </p:cNvPr>
          <p:cNvSpPr/>
          <p:nvPr/>
        </p:nvSpPr>
        <p:spPr>
          <a:xfrm>
            <a:off x="6078265" y="3836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6" name="Oval 175">
            <a:extLst>
              <a:ext uri="{FF2B5EF4-FFF2-40B4-BE49-F238E27FC236}">
                <a16:creationId xmlns:a16="http://schemas.microsoft.com/office/drawing/2014/main" id="{E861211D-5D09-4577-8A09-FD96D972A5D4}"/>
              </a:ext>
            </a:extLst>
          </p:cNvPr>
          <p:cNvSpPr/>
          <p:nvPr/>
        </p:nvSpPr>
        <p:spPr>
          <a:xfrm>
            <a:off x="6780509" y="3833831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7" name="Oval 176">
            <a:extLst>
              <a:ext uri="{FF2B5EF4-FFF2-40B4-BE49-F238E27FC236}">
                <a16:creationId xmlns:a16="http://schemas.microsoft.com/office/drawing/2014/main" id="{3CBEFD1C-6360-47CD-AEDD-DFB49FC0E0C7}"/>
              </a:ext>
            </a:extLst>
          </p:cNvPr>
          <p:cNvSpPr/>
          <p:nvPr/>
        </p:nvSpPr>
        <p:spPr>
          <a:xfrm>
            <a:off x="7518603" y="3830834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8" name="Oval 177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953126" y="3843338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D0A41506-8873-4C2F-B45B-4459F0229CA3}"/>
              </a:ext>
            </a:extLst>
          </p:cNvPr>
          <p:cNvSpPr txBox="1"/>
          <p:nvPr/>
        </p:nvSpPr>
        <p:spPr>
          <a:xfrm>
            <a:off x="4374578" y="4541674"/>
            <a:ext cx="17988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te Investment Certification Process Not Started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191026" y="3917689"/>
            <a:ext cx="396274" cy="43285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11522" t="2583" r="9387"/>
          <a:stretch/>
        </p:blipFill>
        <p:spPr>
          <a:xfrm>
            <a:off x="7524520" y="3884942"/>
            <a:ext cx="534497" cy="487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33705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Pentagon 19">
            <a:extLst>
              <a:ext uri="{FF2B5EF4-FFF2-40B4-BE49-F238E27FC236}">
                <a16:creationId xmlns:a16="http://schemas.microsoft.com/office/drawing/2014/main" id="{CAD93C59-72A9-4F6D-A654-02B9F8A5EFF9}"/>
              </a:ext>
            </a:extLst>
          </p:cNvPr>
          <p:cNvSpPr>
            <a:spLocks/>
          </p:cNvSpPr>
          <p:nvPr/>
        </p:nvSpPr>
        <p:spPr bwMode="auto">
          <a:xfrm>
            <a:off x="756602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34 of 37</a:t>
            </a:r>
          </a:p>
        </p:txBody>
      </p:sp>
      <p:sp>
        <p:nvSpPr>
          <p:cNvPr id="376" name="Pentagon 19">
            <a:extLst>
              <a:ext uri="{FF2B5EF4-FFF2-40B4-BE49-F238E27FC236}">
                <a16:creationId xmlns:a16="http://schemas.microsoft.com/office/drawing/2014/main" id="{1BDC5465-6022-4404-B4D8-ED55CF961B8A}"/>
              </a:ext>
            </a:extLst>
          </p:cNvPr>
          <p:cNvSpPr>
            <a:spLocks/>
          </p:cNvSpPr>
          <p:nvPr/>
        </p:nvSpPr>
        <p:spPr bwMode="auto">
          <a:xfrm>
            <a:off x="824865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3 of 3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57F1EBC-D01A-4083-B657-63AFB1490839}"/>
              </a:ext>
            </a:extLst>
          </p:cNvPr>
          <p:cNvSpPr txBox="1"/>
          <p:nvPr/>
        </p:nvSpPr>
        <p:spPr>
          <a:xfrm>
            <a:off x="6122988" y="2768600"/>
            <a:ext cx="3475037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nvestment Opportunit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D251BD-538A-4F4F-847E-620EEDA298A0}"/>
              </a:ext>
            </a:extLst>
          </p:cNvPr>
          <p:cNvSpPr txBox="1"/>
          <p:nvPr/>
        </p:nvSpPr>
        <p:spPr>
          <a:xfrm>
            <a:off x="6962461" y="4582670"/>
            <a:ext cx="2605989" cy="33855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wrap="square" anchor="ctr" anchorCtr="1">
            <a:spAutoFit/>
          </a:bodyPr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oing Business Ranking(2018)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1B8F13C-F732-4DA1-9250-DB02936E7688}"/>
              </a:ext>
            </a:extLst>
          </p:cNvPr>
          <p:cNvSpPr/>
          <p:nvPr/>
        </p:nvSpPr>
        <p:spPr>
          <a:xfrm>
            <a:off x="756602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Registering Propert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6BA1818-32ED-44D1-975C-958200BDD124}"/>
              </a:ext>
            </a:extLst>
          </p:cNvPr>
          <p:cNvSpPr/>
          <p:nvPr/>
        </p:nvSpPr>
        <p:spPr>
          <a:xfrm>
            <a:off x="8248650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Dealing with Construction Permits</a:t>
            </a:r>
          </a:p>
        </p:txBody>
      </p:sp>
      <p:sp>
        <p:nvSpPr>
          <p:cNvPr id="23560" name="TextBox 174">
            <a:extLst>
              <a:ext uri="{FF2B5EF4-FFF2-40B4-BE49-F238E27FC236}">
                <a16:creationId xmlns:a16="http://schemas.microsoft.com/office/drawing/2014/main" id="{1573FD4E-62B9-45E8-8F28-CED990ED2D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0B63A6C-2A5E-4CA3-BC66-4CBC6008BC9A}"/>
              </a:ext>
            </a:extLst>
          </p:cNvPr>
          <p:cNvSpPr/>
          <p:nvPr/>
        </p:nvSpPr>
        <p:spPr>
          <a:xfrm>
            <a:off x="893127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Enforcing Contracts</a:t>
            </a:r>
          </a:p>
        </p:txBody>
      </p:sp>
      <p:pic>
        <p:nvPicPr>
          <p:cNvPr id="23562" name="Picture 4">
            <a:extLst>
              <a:ext uri="{FF2B5EF4-FFF2-40B4-BE49-F238E27FC236}">
                <a16:creationId xmlns:a16="http://schemas.microsoft.com/office/drawing/2014/main" id="{7C8EEAB2-0239-4BB5-94B3-23E319AF1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513" y="5249863"/>
            <a:ext cx="439737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6" name="Pentagon 19">
            <a:extLst>
              <a:ext uri="{FF2B5EF4-FFF2-40B4-BE49-F238E27FC236}">
                <a16:creationId xmlns:a16="http://schemas.microsoft.com/office/drawing/2014/main" id="{5F8E9670-D71A-4765-B6B5-D711BC9AD6E1}"/>
              </a:ext>
            </a:extLst>
          </p:cNvPr>
          <p:cNvSpPr>
            <a:spLocks/>
          </p:cNvSpPr>
          <p:nvPr/>
        </p:nvSpPr>
        <p:spPr bwMode="auto">
          <a:xfrm>
            <a:off x="893127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32</a:t>
            </a:r>
            <a:r>
              <a:rPr lang="en-GB" sz="1000" baseline="3000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of 37</a:t>
            </a:r>
          </a:p>
        </p:txBody>
      </p:sp>
      <p:sp>
        <p:nvSpPr>
          <p:cNvPr id="23564" name="Title 3">
            <a:extLst>
              <a:ext uri="{FF2B5EF4-FFF2-40B4-BE49-F238E27FC236}">
                <a16:creationId xmlns:a16="http://schemas.microsoft.com/office/drawing/2014/main" id="{C62A749B-CFC7-4224-A789-D20A772AC33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/>
              <a:t>Abia State</a:t>
            </a:r>
            <a:endParaRPr lang="en-GB" altLang="en-US" dirty="0"/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6882DF2C-9120-4A66-8487-575D9494F4D6}"/>
              </a:ext>
            </a:extLst>
          </p:cNvPr>
          <p:cNvSpPr txBox="1"/>
          <p:nvPr/>
        </p:nvSpPr>
        <p:spPr>
          <a:xfrm rot="16200000">
            <a:off x="-2290084" y="3478372"/>
            <a:ext cx="5303837" cy="2743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God’s own State</a:t>
            </a:r>
          </a:p>
        </p:txBody>
      </p:sp>
      <p:grpSp>
        <p:nvGrpSpPr>
          <p:cNvPr id="23566" name="Group 9">
            <a:extLst>
              <a:ext uri="{FF2B5EF4-FFF2-40B4-BE49-F238E27FC236}">
                <a16:creationId xmlns:a16="http://schemas.microsoft.com/office/drawing/2014/main" id="{5B6131BD-3CE3-4FC4-B13A-FA9B797C1EF5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41338" y="963613"/>
            <a:ext cx="2897187" cy="2319337"/>
            <a:chOff x="770228" y="1459989"/>
            <a:chExt cx="4081047" cy="3267527"/>
          </a:xfrm>
        </p:grpSpPr>
        <p:sp>
          <p:nvSpPr>
            <p:cNvPr id="299" name="Freeform 4">
              <a:extLst>
                <a:ext uri="{FF2B5EF4-FFF2-40B4-BE49-F238E27FC236}">
                  <a16:creationId xmlns:a16="http://schemas.microsoft.com/office/drawing/2014/main" id="{B6150C82-CBE5-48B4-B60C-C210BB7B26A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91538" y="4349548"/>
              <a:ext cx="418167" cy="377968"/>
            </a:xfrm>
            <a:custGeom>
              <a:avLst/>
              <a:gdLst>
                <a:gd name="T0" fmla="*/ 12 w 786"/>
                <a:gd name="T1" fmla="*/ 19 h 714"/>
                <a:gd name="T2" fmla="*/ 22 w 786"/>
                <a:gd name="T3" fmla="*/ 18 h 714"/>
                <a:gd name="T4" fmla="*/ 27 w 786"/>
                <a:gd name="T5" fmla="*/ 17 h 714"/>
                <a:gd name="T6" fmla="*/ 30 w 786"/>
                <a:gd name="T7" fmla="*/ 14 h 714"/>
                <a:gd name="T8" fmla="*/ 37 w 786"/>
                <a:gd name="T9" fmla="*/ 16 h 714"/>
                <a:gd name="T10" fmla="*/ 43 w 786"/>
                <a:gd name="T11" fmla="*/ 13 h 714"/>
                <a:gd name="T12" fmla="*/ 48 w 786"/>
                <a:gd name="T13" fmla="*/ 8 h 714"/>
                <a:gd name="T14" fmla="*/ 55 w 786"/>
                <a:gd name="T15" fmla="*/ 4 h 714"/>
                <a:gd name="T16" fmla="*/ 66 w 786"/>
                <a:gd name="T17" fmla="*/ 0 h 714"/>
                <a:gd name="T18" fmla="*/ 63 w 786"/>
                <a:gd name="T19" fmla="*/ 12 h 714"/>
                <a:gd name="T20" fmla="*/ 59 w 786"/>
                <a:gd name="T21" fmla="*/ 19 h 714"/>
                <a:gd name="T22" fmla="*/ 57 w 786"/>
                <a:gd name="T23" fmla="*/ 29 h 714"/>
                <a:gd name="T24" fmla="*/ 59 w 786"/>
                <a:gd name="T25" fmla="*/ 36 h 714"/>
                <a:gd name="T26" fmla="*/ 66 w 786"/>
                <a:gd name="T27" fmla="*/ 35 h 714"/>
                <a:gd name="T28" fmla="*/ 64 w 786"/>
                <a:gd name="T29" fmla="*/ 41 h 714"/>
                <a:gd name="T30" fmla="*/ 64 w 786"/>
                <a:gd name="T31" fmla="*/ 48 h 714"/>
                <a:gd name="T32" fmla="*/ 63 w 786"/>
                <a:gd name="T33" fmla="*/ 56 h 714"/>
                <a:gd name="T34" fmla="*/ 60 w 786"/>
                <a:gd name="T35" fmla="*/ 60 h 714"/>
                <a:gd name="T36" fmla="*/ 57 w 786"/>
                <a:gd name="T37" fmla="*/ 58 h 714"/>
                <a:gd name="T38" fmla="*/ 54 w 786"/>
                <a:gd name="T39" fmla="*/ 54 h 714"/>
                <a:gd name="T40" fmla="*/ 53 w 786"/>
                <a:gd name="T41" fmla="*/ 51 h 714"/>
                <a:gd name="T42" fmla="*/ 51 w 786"/>
                <a:gd name="T43" fmla="*/ 53 h 714"/>
                <a:gd name="T44" fmla="*/ 49 w 786"/>
                <a:gd name="T45" fmla="*/ 54 h 714"/>
                <a:gd name="T46" fmla="*/ 47 w 786"/>
                <a:gd name="T47" fmla="*/ 50 h 714"/>
                <a:gd name="T48" fmla="*/ 48 w 786"/>
                <a:gd name="T49" fmla="*/ 54 h 714"/>
                <a:gd name="T50" fmla="*/ 47 w 786"/>
                <a:gd name="T51" fmla="*/ 54 h 714"/>
                <a:gd name="T52" fmla="*/ 46 w 786"/>
                <a:gd name="T53" fmla="*/ 59 h 714"/>
                <a:gd name="T54" fmla="*/ 47 w 786"/>
                <a:gd name="T55" fmla="*/ 62 h 714"/>
                <a:gd name="T56" fmla="*/ 42 w 786"/>
                <a:gd name="T57" fmla="*/ 62 h 714"/>
                <a:gd name="T58" fmla="*/ 39 w 786"/>
                <a:gd name="T59" fmla="*/ 57 h 714"/>
                <a:gd name="T60" fmla="*/ 40 w 786"/>
                <a:gd name="T61" fmla="*/ 54 h 714"/>
                <a:gd name="T62" fmla="*/ 43 w 786"/>
                <a:gd name="T63" fmla="*/ 55 h 714"/>
                <a:gd name="T64" fmla="*/ 40 w 786"/>
                <a:gd name="T65" fmla="*/ 53 h 714"/>
                <a:gd name="T66" fmla="*/ 38 w 786"/>
                <a:gd name="T67" fmla="*/ 57 h 714"/>
                <a:gd name="T68" fmla="*/ 37 w 786"/>
                <a:gd name="T69" fmla="*/ 57 h 714"/>
                <a:gd name="T70" fmla="*/ 37 w 786"/>
                <a:gd name="T71" fmla="*/ 60 h 714"/>
                <a:gd name="T72" fmla="*/ 33 w 786"/>
                <a:gd name="T73" fmla="*/ 56 h 714"/>
                <a:gd name="T74" fmla="*/ 32 w 786"/>
                <a:gd name="T75" fmla="*/ 58 h 714"/>
                <a:gd name="T76" fmla="*/ 26 w 786"/>
                <a:gd name="T77" fmla="*/ 54 h 714"/>
                <a:gd name="T78" fmla="*/ 26 w 786"/>
                <a:gd name="T79" fmla="*/ 54 h 714"/>
                <a:gd name="T80" fmla="*/ 24 w 786"/>
                <a:gd name="T81" fmla="*/ 51 h 714"/>
                <a:gd name="T82" fmla="*/ 22 w 786"/>
                <a:gd name="T83" fmla="*/ 51 h 714"/>
                <a:gd name="T84" fmla="*/ 20 w 786"/>
                <a:gd name="T85" fmla="*/ 50 h 714"/>
                <a:gd name="T86" fmla="*/ 20 w 786"/>
                <a:gd name="T87" fmla="*/ 48 h 714"/>
                <a:gd name="T88" fmla="*/ 18 w 786"/>
                <a:gd name="T89" fmla="*/ 47 h 714"/>
                <a:gd name="T90" fmla="*/ 15 w 786"/>
                <a:gd name="T91" fmla="*/ 45 h 714"/>
                <a:gd name="T92" fmla="*/ 11 w 786"/>
                <a:gd name="T93" fmla="*/ 39 h 714"/>
                <a:gd name="T94" fmla="*/ 12 w 786"/>
                <a:gd name="T95" fmla="*/ 36 h 714"/>
                <a:gd name="T96" fmla="*/ 7 w 786"/>
                <a:gd name="T97" fmla="*/ 33 h 714"/>
                <a:gd name="T98" fmla="*/ 5 w 786"/>
                <a:gd name="T99" fmla="*/ 28 h 714"/>
                <a:gd name="T100" fmla="*/ 7 w 786"/>
                <a:gd name="T101" fmla="*/ 30 h 714"/>
                <a:gd name="T102" fmla="*/ 4 w 786"/>
                <a:gd name="T103" fmla="*/ 24 h 714"/>
                <a:gd name="T104" fmla="*/ 2 w 786"/>
                <a:gd name="T105" fmla="*/ 20 h 714"/>
                <a:gd name="T106" fmla="*/ 0 w 786"/>
                <a:gd name="T107" fmla="*/ 15 h 714"/>
                <a:gd name="T108" fmla="*/ 4 w 786"/>
                <a:gd name="T109" fmla="*/ 16 h 714"/>
                <a:gd name="T110" fmla="*/ 55 w 786"/>
                <a:gd name="T111" fmla="*/ 60 h 714"/>
                <a:gd name="T112" fmla="*/ 47 w 786"/>
                <a:gd name="T113" fmla="*/ 60 h 714"/>
                <a:gd name="T114" fmla="*/ 51 w 786"/>
                <a:gd name="T115" fmla="*/ 54 h 714"/>
                <a:gd name="T116" fmla="*/ 54 w 786"/>
                <a:gd name="T117" fmla="*/ 56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86"/>
                <a:gd name="T178" fmla="*/ 0 h 714"/>
                <a:gd name="T179" fmla="*/ 786 w 786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86" h="714">
                  <a:moveTo>
                    <a:pt x="54" y="186"/>
                  </a:moveTo>
                  <a:lnTo>
                    <a:pt x="54" y="192"/>
                  </a:lnTo>
                  <a:lnTo>
                    <a:pt x="72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204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20" y="210"/>
                  </a:lnTo>
                  <a:lnTo>
                    <a:pt x="126" y="210"/>
                  </a:lnTo>
                  <a:lnTo>
                    <a:pt x="132" y="210"/>
                  </a:lnTo>
                  <a:lnTo>
                    <a:pt x="132" y="216"/>
                  </a:lnTo>
                  <a:lnTo>
                    <a:pt x="138" y="222"/>
                  </a:lnTo>
                  <a:lnTo>
                    <a:pt x="150" y="222"/>
                  </a:lnTo>
                  <a:lnTo>
                    <a:pt x="162" y="234"/>
                  </a:lnTo>
                  <a:lnTo>
                    <a:pt x="168" y="240"/>
                  </a:lnTo>
                  <a:lnTo>
                    <a:pt x="180" y="240"/>
                  </a:lnTo>
                  <a:lnTo>
                    <a:pt x="186" y="228"/>
                  </a:lnTo>
                  <a:lnTo>
                    <a:pt x="210" y="234"/>
                  </a:lnTo>
                  <a:lnTo>
                    <a:pt x="222" y="228"/>
                  </a:lnTo>
                  <a:lnTo>
                    <a:pt x="228" y="216"/>
                  </a:lnTo>
                  <a:lnTo>
                    <a:pt x="234" y="210"/>
                  </a:lnTo>
                  <a:lnTo>
                    <a:pt x="240" y="216"/>
                  </a:lnTo>
                  <a:lnTo>
                    <a:pt x="246" y="210"/>
                  </a:lnTo>
                  <a:lnTo>
                    <a:pt x="252" y="210"/>
                  </a:lnTo>
                  <a:lnTo>
                    <a:pt x="258" y="210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192"/>
                  </a:lnTo>
                  <a:lnTo>
                    <a:pt x="270" y="192"/>
                  </a:lnTo>
                  <a:lnTo>
                    <a:pt x="276" y="192"/>
                  </a:lnTo>
                  <a:lnTo>
                    <a:pt x="282" y="192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192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198"/>
                  </a:lnTo>
                  <a:lnTo>
                    <a:pt x="312" y="198"/>
                  </a:lnTo>
                  <a:lnTo>
                    <a:pt x="312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24" y="186"/>
                  </a:lnTo>
                  <a:lnTo>
                    <a:pt x="318" y="180"/>
                  </a:lnTo>
                  <a:lnTo>
                    <a:pt x="324" y="180"/>
                  </a:lnTo>
                  <a:lnTo>
                    <a:pt x="330" y="186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74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54" y="144"/>
                  </a:lnTo>
                  <a:lnTo>
                    <a:pt x="360" y="144"/>
                  </a:lnTo>
                  <a:lnTo>
                    <a:pt x="372" y="156"/>
                  </a:lnTo>
                  <a:lnTo>
                    <a:pt x="372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96" y="168"/>
                  </a:lnTo>
                  <a:lnTo>
                    <a:pt x="396" y="174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26" y="186"/>
                  </a:lnTo>
                  <a:lnTo>
                    <a:pt x="432" y="186"/>
                  </a:lnTo>
                  <a:lnTo>
                    <a:pt x="438" y="180"/>
                  </a:lnTo>
                  <a:lnTo>
                    <a:pt x="438" y="168"/>
                  </a:lnTo>
                  <a:lnTo>
                    <a:pt x="438" y="162"/>
                  </a:lnTo>
                  <a:lnTo>
                    <a:pt x="444" y="156"/>
                  </a:lnTo>
                  <a:lnTo>
                    <a:pt x="450" y="156"/>
                  </a:lnTo>
                  <a:lnTo>
                    <a:pt x="456" y="150"/>
                  </a:lnTo>
                  <a:lnTo>
                    <a:pt x="462" y="156"/>
                  </a:lnTo>
                  <a:lnTo>
                    <a:pt x="468" y="162"/>
                  </a:lnTo>
                  <a:lnTo>
                    <a:pt x="474" y="162"/>
                  </a:lnTo>
                  <a:lnTo>
                    <a:pt x="486" y="162"/>
                  </a:lnTo>
                  <a:lnTo>
                    <a:pt x="492" y="156"/>
                  </a:lnTo>
                  <a:lnTo>
                    <a:pt x="498" y="150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28" y="126"/>
                  </a:lnTo>
                  <a:lnTo>
                    <a:pt x="522" y="120"/>
                  </a:lnTo>
                  <a:lnTo>
                    <a:pt x="522" y="114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28" y="102"/>
                  </a:lnTo>
                  <a:lnTo>
                    <a:pt x="534" y="96"/>
                  </a:lnTo>
                  <a:lnTo>
                    <a:pt x="552" y="96"/>
                  </a:lnTo>
                  <a:lnTo>
                    <a:pt x="570" y="102"/>
                  </a:lnTo>
                  <a:lnTo>
                    <a:pt x="582" y="96"/>
                  </a:lnTo>
                  <a:lnTo>
                    <a:pt x="582" y="90"/>
                  </a:lnTo>
                  <a:lnTo>
                    <a:pt x="582" y="78"/>
                  </a:lnTo>
                  <a:lnTo>
                    <a:pt x="582" y="72"/>
                  </a:lnTo>
                  <a:lnTo>
                    <a:pt x="582" y="66"/>
                  </a:lnTo>
                  <a:lnTo>
                    <a:pt x="594" y="60"/>
                  </a:lnTo>
                  <a:lnTo>
                    <a:pt x="600" y="60"/>
                  </a:lnTo>
                  <a:lnTo>
                    <a:pt x="606" y="54"/>
                  </a:lnTo>
                  <a:lnTo>
                    <a:pt x="618" y="48"/>
                  </a:lnTo>
                  <a:lnTo>
                    <a:pt x="618" y="42"/>
                  </a:lnTo>
                  <a:lnTo>
                    <a:pt x="624" y="42"/>
                  </a:lnTo>
                  <a:lnTo>
                    <a:pt x="636" y="48"/>
                  </a:lnTo>
                  <a:lnTo>
                    <a:pt x="648" y="54"/>
                  </a:lnTo>
                  <a:lnTo>
                    <a:pt x="660" y="54"/>
                  </a:lnTo>
                  <a:lnTo>
                    <a:pt x="666" y="60"/>
                  </a:lnTo>
                  <a:lnTo>
                    <a:pt x="672" y="54"/>
                  </a:lnTo>
                  <a:lnTo>
                    <a:pt x="684" y="48"/>
                  </a:lnTo>
                  <a:lnTo>
                    <a:pt x="708" y="42"/>
                  </a:lnTo>
                  <a:lnTo>
                    <a:pt x="714" y="42"/>
                  </a:lnTo>
                  <a:lnTo>
                    <a:pt x="720" y="36"/>
                  </a:lnTo>
                  <a:lnTo>
                    <a:pt x="720" y="30"/>
                  </a:lnTo>
                  <a:lnTo>
                    <a:pt x="714" y="12"/>
                  </a:lnTo>
                  <a:lnTo>
                    <a:pt x="708" y="0"/>
                  </a:lnTo>
                  <a:lnTo>
                    <a:pt x="738" y="6"/>
                  </a:lnTo>
                  <a:lnTo>
                    <a:pt x="756" y="6"/>
                  </a:lnTo>
                  <a:lnTo>
                    <a:pt x="762" y="42"/>
                  </a:lnTo>
                  <a:lnTo>
                    <a:pt x="738" y="72"/>
                  </a:lnTo>
                  <a:lnTo>
                    <a:pt x="750" y="90"/>
                  </a:lnTo>
                  <a:lnTo>
                    <a:pt x="762" y="96"/>
                  </a:lnTo>
                  <a:lnTo>
                    <a:pt x="756" y="102"/>
                  </a:lnTo>
                  <a:lnTo>
                    <a:pt x="750" y="108"/>
                  </a:lnTo>
                  <a:lnTo>
                    <a:pt x="750" y="114"/>
                  </a:lnTo>
                  <a:lnTo>
                    <a:pt x="750" y="120"/>
                  </a:lnTo>
                  <a:lnTo>
                    <a:pt x="750" y="126"/>
                  </a:lnTo>
                  <a:lnTo>
                    <a:pt x="750" y="132"/>
                  </a:lnTo>
                  <a:lnTo>
                    <a:pt x="738" y="132"/>
                  </a:lnTo>
                  <a:lnTo>
                    <a:pt x="732" y="138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14" y="144"/>
                  </a:lnTo>
                  <a:lnTo>
                    <a:pt x="714" y="150"/>
                  </a:lnTo>
                  <a:lnTo>
                    <a:pt x="720" y="156"/>
                  </a:lnTo>
                  <a:lnTo>
                    <a:pt x="720" y="162"/>
                  </a:lnTo>
                  <a:lnTo>
                    <a:pt x="714" y="162"/>
                  </a:lnTo>
                  <a:lnTo>
                    <a:pt x="708" y="168"/>
                  </a:lnTo>
                  <a:lnTo>
                    <a:pt x="708" y="180"/>
                  </a:lnTo>
                  <a:lnTo>
                    <a:pt x="708" y="192"/>
                  </a:lnTo>
                  <a:lnTo>
                    <a:pt x="696" y="198"/>
                  </a:lnTo>
                  <a:lnTo>
                    <a:pt x="696" y="204"/>
                  </a:lnTo>
                  <a:lnTo>
                    <a:pt x="684" y="210"/>
                  </a:lnTo>
                  <a:lnTo>
                    <a:pt x="684" y="216"/>
                  </a:lnTo>
                  <a:lnTo>
                    <a:pt x="684" y="222"/>
                  </a:lnTo>
                  <a:lnTo>
                    <a:pt x="678" y="228"/>
                  </a:lnTo>
                  <a:lnTo>
                    <a:pt x="678" y="234"/>
                  </a:lnTo>
                  <a:lnTo>
                    <a:pt x="672" y="240"/>
                  </a:lnTo>
                  <a:lnTo>
                    <a:pt x="672" y="252"/>
                  </a:lnTo>
                  <a:lnTo>
                    <a:pt x="672" y="258"/>
                  </a:lnTo>
                  <a:lnTo>
                    <a:pt x="666" y="264"/>
                  </a:lnTo>
                  <a:lnTo>
                    <a:pt x="678" y="264"/>
                  </a:lnTo>
                  <a:lnTo>
                    <a:pt x="684" y="276"/>
                  </a:lnTo>
                  <a:lnTo>
                    <a:pt x="684" y="288"/>
                  </a:lnTo>
                  <a:lnTo>
                    <a:pt x="672" y="300"/>
                  </a:lnTo>
                  <a:lnTo>
                    <a:pt x="660" y="318"/>
                  </a:lnTo>
                  <a:lnTo>
                    <a:pt x="660" y="336"/>
                  </a:lnTo>
                  <a:lnTo>
                    <a:pt x="654" y="342"/>
                  </a:lnTo>
                  <a:lnTo>
                    <a:pt x="660" y="354"/>
                  </a:lnTo>
                  <a:lnTo>
                    <a:pt x="660" y="366"/>
                  </a:lnTo>
                  <a:lnTo>
                    <a:pt x="666" y="378"/>
                  </a:lnTo>
                  <a:lnTo>
                    <a:pt x="672" y="390"/>
                  </a:lnTo>
                  <a:lnTo>
                    <a:pt x="678" y="396"/>
                  </a:lnTo>
                  <a:lnTo>
                    <a:pt x="684" y="390"/>
                  </a:lnTo>
                  <a:lnTo>
                    <a:pt x="690" y="390"/>
                  </a:lnTo>
                  <a:lnTo>
                    <a:pt x="690" y="396"/>
                  </a:lnTo>
                  <a:lnTo>
                    <a:pt x="684" y="396"/>
                  </a:lnTo>
                  <a:lnTo>
                    <a:pt x="684" y="402"/>
                  </a:lnTo>
                  <a:lnTo>
                    <a:pt x="684" y="408"/>
                  </a:lnTo>
                  <a:lnTo>
                    <a:pt x="678" y="414"/>
                  </a:lnTo>
                  <a:lnTo>
                    <a:pt x="684" y="414"/>
                  </a:lnTo>
                  <a:lnTo>
                    <a:pt x="684" y="420"/>
                  </a:lnTo>
                  <a:lnTo>
                    <a:pt x="684" y="426"/>
                  </a:lnTo>
                  <a:lnTo>
                    <a:pt x="690" y="420"/>
                  </a:lnTo>
                  <a:lnTo>
                    <a:pt x="696" y="420"/>
                  </a:lnTo>
                  <a:lnTo>
                    <a:pt x="696" y="426"/>
                  </a:lnTo>
                  <a:lnTo>
                    <a:pt x="690" y="426"/>
                  </a:lnTo>
                  <a:lnTo>
                    <a:pt x="696" y="426"/>
                  </a:lnTo>
                  <a:lnTo>
                    <a:pt x="708" y="426"/>
                  </a:lnTo>
                  <a:lnTo>
                    <a:pt x="726" y="414"/>
                  </a:lnTo>
                  <a:lnTo>
                    <a:pt x="732" y="408"/>
                  </a:lnTo>
                  <a:lnTo>
                    <a:pt x="744" y="402"/>
                  </a:lnTo>
                  <a:lnTo>
                    <a:pt x="756" y="402"/>
                  </a:lnTo>
                  <a:lnTo>
                    <a:pt x="768" y="402"/>
                  </a:lnTo>
                  <a:lnTo>
                    <a:pt x="786" y="408"/>
                  </a:lnTo>
                  <a:lnTo>
                    <a:pt x="786" y="414"/>
                  </a:lnTo>
                  <a:lnTo>
                    <a:pt x="774" y="420"/>
                  </a:lnTo>
                  <a:lnTo>
                    <a:pt x="774" y="426"/>
                  </a:lnTo>
                  <a:lnTo>
                    <a:pt x="768" y="432"/>
                  </a:lnTo>
                  <a:lnTo>
                    <a:pt x="762" y="438"/>
                  </a:lnTo>
                  <a:lnTo>
                    <a:pt x="756" y="438"/>
                  </a:lnTo>
                  <a:lnTo>
                    <a:pt x="756" y="444"/>
                  </a:lnTo>
                  <a:lnTo>
                    <a:pt x="756" y="450"/>
                  </a:lnTo>
                  <a:lnTo>
                    <a:pt x="762" y="450"/>
                  </a:lnTo>
                  <a:lnTo>
                    <a:pt x="750" y="456"/>
                  </a:lnTo>
                  <a:lnTo>
                    <a:pt x="738" y="468"/>
                  </a:lnTo>
                  <a:lnTo>
                    <a:pt x="726" y="480"/>
                  </a:lnTo>
                  <a:lnTo>
                    <a:pt x="726" y="486"/>
                  </a:lnTo>
                  <a:lnTo>
                    <a:pt x="732" y="486"/>
                  </a:lnTo>
                  <a:lnTo>
                    <a:pt x="732" y="492"/>
                  </a:lnTo>
                  <a:lnTo>
                    <a:pt x="732" y="504"/>
                  </a:lnTo>
                  <a:lnTo>
                    <a:pt x="738" y="504"/>
                  </a:lnTo>
                  <a:lnTo>
                    <a:pt x="744" y="510"/>
                  </a:lnTo>
                  <a:lnTo>
                    <a:pt x="738" y="522"/>
                  </a:lnTo>
                  <a:lnTo>
                    <a:pt x="744" y="528"/>
                  </a:lnTo>
                  <a:lnTo>
                    <a:pt x="756" y="534"/>
                  </a:lnTo>
                  <a:lnTo>
                    <a:pt x="756" y="540"/>
                  </a:lnTo>
                  <a:lnTo>
                    <a:pt x="744" y="552"/>
                  </a:lnTo>
                  <a:lnTo>
                    <a:pt x="738" y="552"/>
                  </a:lnTo>
                  <a:lnTo>
                    <a:pt x="738" y="558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64"/>
                  </a:lnTo>
                  <a:lnTo>
                    <a:pt x="744" y="576"/>
                  </a:lnTo>
                  <a:lnTo>
                    <a:pt x="738" y="588"/>
                  </a:lnTo>
                  <a:lnTo>
                    <a:pt x="738" y="594"/>
                  </a:lnTo>
                  <a:lnTo>
                    <a:pt x="738" y="600"/>
                  </a:lnTo>
                  <a:lnTo>
                    <a:pt x="738" y="606"/>
                  </a:lnTo>
                  <a:lnTo>
                    <a:pt x="732" y="612"/>
                  </a:lnTo>
                  <a:lnTo>
                    <a:pt x="726" y="624"/>
                  </a:lnTo>
                  <a:lnTo>
                    <a:pt x="726" y="636"/>
                  </a:lnTo>
                  <a:lnTo>
                    <a:pt x="726" y="648"/>
                  </a:lnTo>
                  <a:lnTo>
                    <a:pt x="738" y="654"/>
                  </a:lnTo>
                  <a:lnTo>
                    <a:pt x="750" y="660"/>
                  </a:lnTo>
                  <a:lnTo>
                    <a:pt x="750" y="666"/>
                  </a:lnTo>
                  <a:lnTo>
                    <a:pt x="750" y="678"/>
                  </a:lnTo>
                  <a:lnTo>
                    <a:pt x="744" y="678"/>
                  </a:lnTo>
                  <a:lnTo>
                    <a:pt x="738" y="684"/>
                  </a:lnTo>
                  <a:lnTo>
                    <a:pt x="732" y="684"/>
                  </a:lnTo>
                  <a:lnTo>
                    <a:pt x="720" y="678"/>
                  </a:lnTo>
                  <a:lnTo>
                    <a:pt x="714" y="684"/>
                  </a:lnTo>
                  <a:lnTo>
                    <a:pt x="708" y="684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0" y="690"/>
                  </a:lnTo>
                  <a:lnTo>
                    <a:pt x="690" y="684"/>
                  </a:lnTo>
                  <a:lnTo>
                    <a:pt x="690" y="690"/>
                  </a:lnTo>
                  <a:lnTo>
                    <a:pt x="684" y="690"/>
                  </a:lnTo>
                  <a:lnTo>
                    <a:pt x="684" y="684"/>
                  </a:lnTo>
                  <a:lnTo>
                    <a:pt x="678" y="684"/>
                  </a:lnTo>
                  <a:lnTo>
                    <a:pt x="672" y="678"/>
                  </a:lnTo>
                  <a:lnTo>
                    <a:pt x="672" y="672"/>
                  </a:lnTo>
                  <a:lnTo>
                    <a:pt x="678" y="672"/>
                  </a:lnTo>
                  <a:lnTo>
                    <a:pt x="672" y="672"/>
                  </a:lnTo>
                  <a:lnTo>
                    <a:pt x="666" y="672"/>
                  </a:lnTo>
                  <a:lnTo>
                    <a:pt x="660" y="672"/>
                  </a:lnTo>
                  <a:lnTo>
                    <a:pt x="654" y="672"/>
                  </a:lnTo>
                  <a:lnTo>
                    <a:pt x="654" y="666"/>
                  </a:lnTo>
                  <a:lnTo>
                    <a:pt x="648" y="666"/>
                  </a:lnTo>
                  <a:lnTo>
                    <a:pt x="642" y="660"/>
                  </a:lnTo>
                  <a:lnTo>
                    <a:pt x="642" y="654"/>
                  </a:lnTo>
                  <a:lnTo>
                    <a:pt x="642" y="648"/>
                  </a:lnTo>
                  <a:lnTo>
                    <a:pt x="636" y="648"/>
                  </a:lnTo>
                  <a:lnTo>
                    <a:pt x="630" y="648"/>
                  </a:lnTo>
                  <a:lnTo>
                    <a:pt x="624" y="648"/>
                  </a:lnTo>
                  <a:lnTo>
                    <a:pt x="624" y="642"/>
                  </a:lnTo>
                  <a:lnTo>
                    <a:pt x="618" y="636"/>
                  </a:lnTo>
                  <a:lnTo>
                    <a:pt x="624" y="636"/>
                  </a:lnTo>
                  <a:lnTo>
                    <a:pt x="624" y="630"/>
                  </a:lnTo>
                  <a:lnTo>
                    <a:pt x="618" y="630"/>
                  </a:lnTo>
                  <a:lnTo>
                    <a:pt x="618" y="624"/>
                  </a:lnTo>
                  <a:lnTo>
                    <a:pt x="618" y="618"/>
                  </a:lnTo>
                  <a:lnTo>
                    <a:pt x="618" y="612"/>
                  </a:lnTo>
                  <a:lnTo>
                    <a:pt x="618" y="606"/>
                  </a:lnTo>
                  <a:lnTo>
                    <a:pt x="624" y="606"/>
                  </a:lnTo>
                  <a:lnTo>
                    <a:pt x="624" y="600"/>
                  </a:lnTo>
                  <a:lnTo>
                    <a:pt x="618" y="600"/>
                  </a:lnTo>
                  <a:lnTo>
                    <a:pt x="618" y="594"/>
                  </a:lnTo>
                  <a:lnTo>
                    <a:pt x="618" y="588"/>
                  </a:lnTo>
                  <a:lnTo>
                    <a:pt x="618" y="582"/>
                  </a:lnTo>
                  <a:lnTo>
                    <a:pt x="612" y="582"/>
                  </a:lnTo>
                  <a:lnTo>
                    <a:pt x="606" y="582"/>
                  </a:lnTo>
                  <a:lnTo>
                    <a:pt x="612" y="582"/>
                  </a:lnTo>
                  <a:lnTo>
                    <a:pt x="612" y="588"/>
                  </a:lnTo>
                  <a:lnTo>
                    <a:pt x="612" y="594"/>
                  </a:lnTo>
                  <a:lnTo>
                    <a:pt x="618" y="594"/>
                  </a:lnTo>
                  <a:lnTo>
                    <a:pt x="618" y="600"/>
                  </a:lnTo>
                  <a:lnTo>
                    <a:pt x="618" y="606"/>
                  </a:lnTo>
                  <a:lnTo>
                    <a:pt x="618" y="612"/>
                  </a:lnTo>
                  <a:lnTo>
                    <a:pt x="612" y="612"/>
                  </a:lnTo>
                  <a:lnTo>
                    <a:pt x="612" y="618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94" y="612"/>
                  </a:lnTo>
                  <a:lnTo>
                    <a:pt x="588" y="606"/>
                  </a:lnTo>
                  <a:lnTo>
                    <a:pt x="588" y="612"/>
                  </a:lnTo>
                  <a:lnTo>
                    <a:pt x="594" y="612"/>
                  </a:lnTo>
                  <a:lnTo>
                    <a:pt x="594" y="618"/>
                  </a:lnTo>
                  <a:lnTo>
                    <a:pt x="588" y="618"/>
                  </a:lnTo>
                  <a:lnTo>
                    <a:pt x="588" y="624"/>
                  </a:lnTo>
                  <a:lnTo>
                    <a:pt x="582" y="624"/>
                  </a:lnTo>
                  <a:lnTo>
                    <a:pt x="582" y="630"/>
                  </a:lnTo>
                  <a:lnTo>
                    <a:pt x="576" y="630"/>
                  </a:lnTo>
                  <a:lnTo>
                    <a:pt x="576" y="636"/>
                  </a:lnTo>
                  <a:lnTo>
                    <a:pt x="570" y="636"/>
                  </a:lnTo>
                  <a:lnTo>
                    <a:pt x="570" y="642"/>
                  </a:lnTo>
                  <a:lnTo>
                    <a:pt x="564" y="642"/>
                  </a:lnTo>
                  <a:lnTo>
                    <a:pt x="564" y="636"/>
                  </a:lnTo>
                  <a:lnTo>
                    <a:pt x="564" y="630"/>
                  </a:lnTo>
                  <a:lnTo>
                    <a:pt x="564" y="624"/>
                  </a:lnTo>
                  <a:lnTo>
                    <a:pt x="564" y="618"/>
                  </a:lnTo>
                  <a:lnTo>
                    <a:pt x="570" y="612"/>
                  </a:lnTo>
                  <a:lnTo>
                    <a:pt x="564" y="606"/>
                  </a:lnTo>
                  <a:lnTo>
                    <a:pt x="564" y="600"/>
                  </a:lnTo>
                  <a:lnTo>
                    <a:pt x="564" y="594"/>
                  </a:lnTo>
                  <a:lnTo>
                    <a:pt x="558" y="594"/>
                  </a:lnTo>
                  <a:lnTo>
                    <a:pt x="558" y="588"/>
                  </a:lnTo>
                  <a:lnTo>
                    <a:pt x="552" y="582"/>
                  </a:lnTo>
                  <a:lnTo>
                    <a:pt x="552" y="576"/>
                  </a:lnTo>
                  <a:lnTo>
                    <a:pt x="552" y="570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6" y="582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58" y="588"/>
                  </a:lnTo>
                  <a:lnTo>
                    <a:pt x="558" y="594"/>
                  </a:lnTo>
                  <a:lnTo>
                    <a:pt x="558" y="600"/>
                  </a:lnTo>
                  <a:lnTo>
                    <a:pt x="558" y="606"/>
                  </a:lnTo>
                  <a:lnTo>
                    <a:pt x="552" y="612"/>
                  </a:lnTo>
                  <a:lnTo>
                    <a:pt x="558" y="612"/>
                  </a:lnTo>
                  <a:lnTo>
                    <a:pt x="558" y="618"/>
                  </a:lnTo>
                  <a:lnTo>
                    <a:pt x="558" y="624"/>
                  </a:lnTo>
                  <a:lnTo>
                    <a:pt x="558" y="630"/>
                  </a:lnTo>
                  <a:lnTo>
                    <a:pt x="552" y="630"/>
                  </a:lnTo>
                  <a:lnTo>
                    <a:pt x="552" y="624"/>
                  </a:lnTo>
                  <a:lnTo>
                    <a:pt x="546" y="624"/>
                  </a:lnTo>
                  <a:lnTo>
                    <a:pt x="546" y="618"/>
                  </a:lnTo>
                  <a:lnTo>
                    <a:pt x="546" y="612"/>
                  </a:lnTo>
                  <a:lnTo>
                    <a:pt x="540" y="612"/>
                  </a:lnTo>
                  <a:lnTo>
                    <a:pt x="534" y="612"/>
                  </a:lnTo>
                  <a:lnTo>
                    <a:pt x="528" y="612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28" y="618"/>
                  </a:lnTo>
                  <a:lnTo>
                    <a:pt x="534" y="618"/>
                  </a:lnTo>
                  <a:lnTo>
                    <a:pt x="540" y="618"/>
                  </a:lnTo>
                  <a:lnTo>
                    <a:pt x="540" y="624"/>
                  </a:lnTo>
                  <a:lnTo>
                    <a:pt x="546" y="624"/>
                  </a:lnTo>
                  <a:lnTo>
                    <a:pt x="546" y="630"/>
                  </a:lnTo>
                  <a:lnTo>
                    <a:pt x="552" y="630"/>
                  </a:lnTo>
                  <a:lnTo>
                    <a:pt x="552" y="636"/>
                  </a:lnTo>
                  <a:lnTo>
                    <a:pt x="546" y="642"/>
                  </a:lnTo>
                  <a:lnTo>
                    <a:pt x="546" y="648"/>
                  </a:lnTo>
                  <a:lnTo>
                    <a:pt x="540" y="648"/>
                  </a:lnTo>
                  <a:lnTo>
                    <a:pt x="540" y="654"/>
                  </a:lnTo>
                  <a:lnTo>
                    <a:pt x="540" y="660"/>
                  </a:lnTo>
                  <a:lnTo>
                    <a:pt x="534" y="666"/>
                  </a:lnTo>
                  <a:lnTo>
                    <a:pt x="534" y="672"/>
                  </a:lnTo>
                  <a:lnTo>
                    <a:pt x="534" y="678"/>
                  </a:lnTo>
                  <a:lnTo>
                    <a:pt x="534" y="684"/>
                  </a:lnTo>
                  <a:lnTo>
                    <a:pt x="534" y="678"/>
                  </a:lnTo>
                  <a:lnTo>
                    <a:pt x="528" y="678"/>
                  </a:lnTo>
                  <a:lnTo>
                    <a:pt x="528" y="684"/>
                  </a:lnTo>
                  <a:lnTo>
                    <a:pt x="522" y="690"/>
                  </a:lnTo>
                  <a:lnTo>
                    <a:pt x="528" y="690"/>
                  </a:lnTo>
                  <a:lnTo>
                    <a:pt x="528" y="684"/>
                  </a:lnTo>
                  <a:lnTo>
                    <a:pt x="534" y="684"/>
                  </a:lnTo>
                  <a:lnTo>
                    <a:pt x="534" y="690"/>
                  </a:lnTo>
                  <a:lnTo>
                    <a:pt x="534" y="696"/>
                  </a:lnTo>
                  <a:lnTo>
                    <a:pt x="540" y="696"/>
                  </a:lnTo>
                  <a:lnTo>
                    <a:pt x="540" y="702"/>
                  </a:lnTo>
                  <a:lnTo>
                    <a:pt x="540" y="708"/>
                  </a:lnTo>
                  <a:lnTo>
                    <a:pt x="534" y="708"/>
                  </a:lnTo>
                  <a:lnTo>
                    <a:pt x="528" y="708"/>
                  </a:lnTo>
                  <a:lnTo>
                    <a:pt x="522" y="708"/>
                  </a:lnTo>
                  <a:lnTo>
                    <a:pt x="516" y="708"/>
                  </a:lnTo>
                  <a:lnTo>
                    <a:pt x="510" y="708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2" y="708"/>
                  </a:lnTo>
                  <a:lnTo>
                    <a:pt x="486" y="714"/>
                  </a:lnTo>
                  <a:lnTo>
                    <a:pt x="480" y="708"/>
                  </a:lnTo>
                  <a:lnTo>
                    <a:pt x="474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68" y="714"/>
                  </a:lnTo>
                  <a:lnTo>
                    <a:pt x="456" y="714"/>
                  </a:lnTo>
                  <a:lnTo>
                    <a:pt x="450" y="714"/>
                  </a:lnTo>
                  <a:lnTo>
                    <a:pt x="450" y="708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50" y="690"/>
                  </a:lnTo>
                  <a:lnTo>
                    <a:pt x="450" y="684"/>
                  </a:lnTo>
                  <a:lnTo>
                    <a:pt x="450" y="678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56" y="660"/>
                  </a:lnTo>
                  <a:lnTo>
                    <a:pt x="462" y="660"/>
                  </a:lnTo>
                  <a:lnTo>
                    <a:pt x="462" y="654"/>
                  </a:lnTo>
                  <a:lnTo>
                    <a:pt x="456" y="654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48"/>
                  </a:lnTo>
                  <a:lnTo>
                    <a:pt x="444" y="648"/>
                  </a:lnTo>
                  <a:lnTo>
                    <a:pt x="444" y="642"/>
                  </a:lnTo>
                  <a:lnTo>
                    <a:pt x="444" y="636"/>
                  </a:lnTo>
                  <a:lnTo>
                    <a:pt x="450" y="636"/>
                  </a:lnTo>
                  <a:lnTo>
                    <a:pt x="450" y="630"/>
                  </a:lnTo>
                  <a:lnTo>
                    <a:pt x="456" y="630"/>
                  </a:lnTo>
                  <a:lnTo>
                    <a:pt x="462" y="630"/>
                  </a:lnTo>
                  <a:lnTo>
                    <a:pt x="462" y="624"/>
                  </a:lnTo>
                  <a:lnTo>
                    <a:pt x="468" y="624"/>
                  </a:lnTo>
                  <a:lnTo>
                    <a:pt x="474" y="624"/>
                  </a:lnTo>
                  <a:lnTo>
                    <a:pt x="474" y="618"/>
                  </a:lnTo>
                  <a:lnTo>
                    <a:pt x="480" y="618"/>
                  </a:lnTo>
                  <a:lnTo>
                    <a:pt x="486" y="618"/>
                  </a:lnTo>
                  <a:lnTo>
                    <a:pt x="486" y="624"/>
                  </a:lnTo>
                  <a:lnTo>
                    <a:pt x="486" y="636"/>
                  </a:lnTo>
                  <a:lnTo>
                    <a:pt x="486" y="642"/>
                  </a:lnTo>
                  <a:lnTo>
                    <a:pt x="486" y="648"/>
                  </a:lnTo>
                  <a:lnTo>
                    <a:pt x="492" y="648"/>
                  </a:lnTo>
                  <a:lnTo>
                    <a:pt x="492" y="642"/>
                  </a:lnTo>
                  <a:lnTo>
                    <a:pt x="498" y="636"/>
                  </a:lnTo>
                  <a:lnTo>
                    <a:pt x="492" y="636"/>
                  </a:lnTo>
                  <a:lnTo>
                    <a:pt x="492" y="630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6" y="618"/>
                  </a:lnTo>
                  <a:lnTo>
                    <a:pt x="486" y="612"/>
                  </a:lnTo>
                  <a:lnTo>
                    <a:pt x="486" y="606"/>
                  </a:lnTo>
                  <a:lnTo>
                    <a:pt x="480" y="606"/>
                  </a:lnTo>
                  <a:lnTo>
                    <a:pt x="480" y="612"/>
                  </a:lnTo>
                  <a:lnTo>
                    <a:pt x="474" y="618"/>
                  </a:lnTo>
                  <a:lnTo>
                    <a:pt x="468" y="618"/>
                  </a:lnTo>
                  <a:lnTo>
                    <a:pt x="462" y="618"/>
                  </a:lnTo>
                  <a:lnTo>
                    <a:pt x="462" y="612"/>
                  </a:lnTo>
                  <a:lnTo>
                    <a:pt x="456" y="612"/>
                  </a:lnTo>
                  <a:lnTo>
                    <a:pt x="456" y="618"/>
                  </a:lnTo>
                  <a:lnTo>
                    <a:pt x="462" y="618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30"/>
                  </a:lnTo>
                  <a:lnTo>
                    <a:pt x="444" y="630"/>
                  </a:lnTo>
                  <a:lnTo>
                    <a:pt x="444" y="636"/>
                  </a:lnTo>
                  <a:lnTo>
                    <a:pt x="444" y="642"/>
                  </a:lnTo>
                  <a:lnTo>
                    <a:pt x="444" y="654"/>
                  </a:lnTo>
                  <a:lnTo>
                    <a:pt x="444" y="660"/>
                  </a:lnTo>
                  <a:lnTo>
                    <a:pt x="438" y="660"/>
                  </a:lnTo>
                  <a:lnTo>
                    <a:pt x="432" y="660"/>
                  </a:lnTo>
                  <a:lnTo>
                    <a:pt x="432" y="654"/>
                  </a:lnTo>
                  <a:lnTo>
                    <a:pt x="438" y="654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48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26" y="660"/>
                  </a:lnTo>
                  <a:lnTo>
                    <a:pt x="432" y="666"/>
                  </a:lnTo>
                  <a:lnTo>
                    <a:pt x="432" y="672"/>
                  </a:lnTo>
                  <a:lnTo>
                    <a:pt x="438" y="672"/>
                  </a:lnTo>
                  <a:lnTo>
                    <a:pt x="438" y="678"/>
                  </a:lnTo>
                  <a:lnTo>
                    <a:pt x="444" y="678"/>
                  </a:lnTo>
                  <a:lnTo>
                    <a:pt x="444" y="684"/>
                  </a:lnTo>
                  <a:lnTo>
                    <a:pt x="438" y="690"/>
                  </a:lnTo>
                  <a:lnTo>
                    <a:pt x="438" y="696"/>
                  </a:lnTo>
                  <a:lnTo>
                    <a:pt x="438" y="702"/>
                  </a:lnTo>
                  <a:lnTo>
                    <a:pt x="432" y="702"/>
                  </a:lnTo>
                  <a:lnTo>
                    <a:pt x="426" y="702"/>
                  </a:lnTo>
                  <a:lnTo>
                    <a:pt x="426" y="696"/>
                  </a:lnTo>
                  <a:lnTo>
                    <a:pt x="414" y="696"/>
                  </a:lnTo>
                  <a:lnTo>
                    <a:pt x="402" y="696"/>
                  </a:lnTo>
                  <a:lnTo>
                    <a:pt x="402" y="690"/>
                  </a:lnTo>
                  <a:lnTo>
                    <a:pt x="396" y="690"/>
                  </a:lnTo>
                  <a:lnTo>
                    <a:pt x="390" y="690"/>
                  </a:lnTo>
                  <a:lnTo>
                    <a:pt x="384" y="690"/>
                  </a:lnTo>
                  <a:lnTo>
                    <a:pt x="384" y="684"/>
                  </a:lnTo>
                  <a:lnTo>
                    <a:pt x="384" y="678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390" y="660"/>
                  </a:lnTo>
                  <a:lnTo>
                    <a:pt x="390" y="654"/>
                  </a:lnTo>
                  <a:lnTo>
                    <a:pt x="384" y="648"/>
                  </a:lnTo>
                  <a:lnTo>
                    <a:pt x="384" y="642"/>
                  </a:lnTo>
                  <a:lnTo>
                    <a:pt x="378" y="636"/>
                  </a:lnTo>
                  <a:lnTo>
                    <a:pt x="378" y="642"/>
                  </a:lnTo>
                  <a:lnTo>
                    <a:pt x="378" y="648"/>
                  </a:lnTo>
                  <a:lnTo>
                    <a:pt x="372" y="648"/>
                  </a:lnTo>
                  <a:lnTo>
                    <a:pt x="378" y="654"/>
                  </a:lnTo>
                  <a:lnTo>
                    <a:pt x="378" y="660"/>
                  </a:lnTo>
                  <a:lnTo>
                    <a:pt x="378" y="666"/>
                  </a:lnTo>
                  <a:lnTo>
                    <a:pt x="372" y="672"/>
                  </a:lnTo>
                  <a:lnTo>
                    <a:pt x="378" y="672"/>
                  </a:lnTo>
                  <a:lnTo>
                    <a:pt x="378" y="678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54" y="666"/>
                  </a:lnTo>
                  <a:lnTo>
                    <a:pt x="354" y="660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0" y="654"/>
                  </a:lnTo>
                  <a:lnTo>
                    <a:pt x="324" y="648"/>
                  </a:lnTo>
                  <a:lnTo>
                    <a:pt x="318" y="648"/>
                  </a:lnTo>
                  <a:lnTo>
                    <a:pt x="318" y="642"/>
                  </a:lnTo>
                  <a:lnTo>
                    <a:pt x="312" y="642"/>
                  </a:lnTo>
                  <a:lnTo>
                    <a:pt x="306" y="636"/>
                  </a:lnTo>
                  <a:lnTo>
                    <a:pt x="300" y="636"/>
                  </a:lnTo>
                  <a:lnTo>
                    <a:pt x="300" y="630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0" y="618"/>
                  </a:lnTo>
                  <a:lnTo>
                    <a:pt x="306" y="612"/>
                  </a:lnTo>
                  <a:lnTo>
                    <a:pt x="300" y="612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294" y="612"/>
                  </a:lnTo>
                  <a:lnTo>
                    <a:pt x="288" y="618"/>
                  </a:lnTo>
                  <a:lnTo>
                    <a:pt x="288" y="612"/>
                  </a:lnTo>
                  <a:lnTo>
                    <a:pt x="288" y="618"/>
                  </a:lnTo>
                  <a:lnTo>
                    <a:pt x="294" y="618"/>
                  </a:lnTo>
                  <a:lnTo>
                    <a:pt x="300" y="624"/>
                  </a:lnTo>
                  <a:lnTo>
                    <a:pt x="294" y="624"/>
                  </a:lnTo>
                  <a:lnTo>
                    <a:pt x="288" y="624"/>
                  </a:lnTo>
                  <a:lnTo>
                    <a:pt x="282" y="61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70" y="600"/>
                  </a:lnTo>
                  <a:lnTo>
                    <a:pt x="270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82" y="588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594"/>
                  </a:lnTo>
                  <a:lnTo>
                    <a:pt x="264" y="600"/>
                  </a:lnTo>
                  <a:lnTo>
                    <a:pt x="264" y="594"/>
                  </a:lnTo>
                  <a:lnTo>
                    <a:pt x="270" y="594"/>
                  </a:lnTo>
                  <a:lnTo>
                    <a:pt x="270" y="588"/>
                  </a:lnTo>
                  <a:lnTo>
                    <a:pt x="264" y="594"/>
                  </a:lnTo>
                  <a:lnTo>
                    <a:pt x="258" y="594"/>
                  </a:lnTo>
                  <a:lnTo>
                    <a:pt x="258" y="588"/>
                  </a:lnTo>
                  <a:lnTo>
                    <a:pt x="252" y="588"/>
                  </a:lnTo>
                  <a:lnTo>
                    <a:pt x="246" y="588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52" y="588"/>
                  </a:lnTo>
                  <a:lnTo>
                    <a:pt x="252" y="594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46" y="594"/>
                  </a:lnTo>
                  <a:lnTo>
                    <a:pt x="246" y="588"/>
                  </a:lnTo>
                  <a:lnTo>
                    <a:pt x="240" y="588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2" y="570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64"/>
                  </a:lnTo>
                  <a:lnTo>
                    <a:pt x="234" y="564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34" y="558"/>
                  </a:lnTo>
                  <a:lnTo>
                    <a:pt x="228" y="558"/>
                  </a:lnTo>
                  <a:lnTo>
                    <a:pt x="222" y="558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2" y="564"/>
                  </a:lnTo>
                  <a:lnTo>
                    <a:pt x="222" y="558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04" y="546"/>
                  </a:lnTo>
                  <a:lnTo>
                    <a:pt x="204" y="540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10" y="540"/>
                  </a:lnTo>
                  <a:lnTo>
                    <a:pt x="210" y="534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8"/>
                  </a:lnTo>
                  <a:lnTo>
                    <a:pt x="174" y="516"/>
                  </a:lnTo>
                  <a:lnTo>
                    <a:pt x="168" y="510"/>
                  </a:lnTo>
                  <a:lnTo>
                    <a:pt x="162" y="504"/>
                  </a:lnTo>
                  <a:lnTo>
                    <a:pt x="156" y="498"/>
                  </a:lnTo>
                  <a:lnTo>
                    <a:pt x="156" y="492"/>
                  </a:lnTo>
                  <a:lnTo>
                    <a:pt x="150" y="486"/>
                  </a:lnTo>
                  <a:lnTo>
                    <a:pt x="144" y="480"/>
                  </a:lnTo>
                  <a:lnTo>
                    <a:pt x="144" y="474"/>
                  </a:lnTo>
                  <a:lnTo>
                    <a:pt x="138" y="474"/>
                  </a:lnTo>
                  <a:lnTo>
                    <a:pt x="138" y="468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26" y="450"/>
                  </a:lnTo>
                  <a:lnTo>
                    <a:pt x="126" y="444"/>
                  </a:lnTo>
                  <a:lnTo>
                    <a:pt x="114" y="438"/>
                  </a:lnTo>
                  <a:lnTo>
                    <a:pt x="114" y="432"/>
                  </a:lnTo>
                  <a:lnTo>
                    <a:pt x="114" y="426"/>
                  </a:lnTo>
                  <a:lnTo>
                    <a:pt x="114" y="432"/>
                  </a:lnTo>
                  <a:lnTo>
                    <a:pt x="120" y="432"/>
                  </a:lnTo>
                  <a:lnTo>
                    <a:pt x="120" y="438"/>
                  </a:lnTo>
                  <a:lnTo>
                    <a:pt x="120" y="444"/>
                  </a:lnTo>
                  <a:lnTo>
                    <a:pt x="126" y="444"/>
                  </a:lnTo>
                  <a:lnTo>
                    <a:pt x="126" y="438"/>
                  </a:lnTo>
                  <a:lnTo>
                    <a:pt x="120" y="438"/>
                  </a:lnTo>
                  <a:lnTo>
                    <a:pt x="126" y="432"/>
                  </a:lnTo>
                  <a:lnTo>
                    <a:pt x="126" y="426"/>
                  </a:lnTo>
                  <a:lnTo>
                    <a:pt x="132" y="420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08" y="414"/>
                  </a:lnTo>
                  <a:lnTo>
                    <a:pt x="102" y="414"/>
                  </a:lnTo>
                  <a:lnTo>
                    <a:pt x="102" y="408"/>
                  </a:lnTo>
                  <a:lnTo>
                    <a:pt x="96" y="402"/>
                  </a:lnTo>
                  <a:lnTo>
                    <a:pt x="96" y="396"/>
                  </a:lnTo>
                  <a:lnTo>
                    <a:pt x="96" y="390"/>
                  </a:lnTo>
                  <a:lnTo>
                    <a:pt x="90" y="390"/>
                  </a:lnTo>
                  <a:lnTo>
                    <a:pt x="90" y="384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78" y="372"/>
                  </a:lnTo>
                  <a:lnTo>
                    <a:pt x="78" y="366"/>
                  </a:lnTo>
                  <a:lnTo>
                    <a:pt x="78" y="360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6" y="348"/>
                  </a:lnTo>
                  <a:lnTo>
                    <a:pt x="66" y="342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6" y="336"/>
                  </a:lnTo>
                  <a:lnTo>
                    <a:pt x="66" y="342"/>
                  </a:lnTo>
                  <a:lnTo>
                    <a:pt x="72" y="348"/>
                  </a:lnTo>
                  <a:lnTo>
                    <a:pt x="78" y="354"/>
                  </a:lnTo>
                  <a:lnTo>
                    <a:pt x="84" y="360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0" y="360"/>
                  </a:lnTo>
                  <a:lnTo>
                    <a:pt x="84" y="360"/>
                  </a:lnTo>
                  <a:lnTo>
                    <a:pt x="84" y="354"/>
                  </a:lnTo>
                  <a:lnTo>
                    <a:pt x="78" y="348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66" y="330"/>
                  </a:lnTo>
                  <a:lnTo>
                    <a:pt x="66" y="324"/>
                  </a:lnTo>
                  <a:lnTo>
                    <a:pt x="60" y="318"/>
                  </a:lnTo>
                  <a:lnTo>
                    <a:pt x="60" y="312"/>
                  </a:lnTo>
                  <a:lnTo>
                    <a:pt x="54" y="306"/>
                  </a:lnTo>
                  <a:lnTo>
                    <a:pt x="54" y="300"/>
                  </a:lnTo>
                  <a:lnTo>
                    <a:pt x="54" y="294"/>
                  </a:lnTo>
                  <a:lnTo>
                    <a:pt x="48" y="288"/>
                  </a:lnTo>
                  <a:lnTo>
                    <a:pt x="48" y="294"/>
                  </a:lnTo>
                  <a:lnTo>
                    <a:pt x="48" y="288"/>
                  </a:lnTo>
                  <a:lnTo>
                    <a:pt x="48" y="282"/>
                  </a:lnTo>
                  <a:lnTo>
                    <a:pt x="48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18" y="216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62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68"/>
                  </a:lnTo>
                  <a:lnTo>
                    <a:pt x="42" y="168"/>
                  </a:lnTo>
                  <a:lnTo>
                    <a:pt x="42" y="174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86"/>
                  </a:lnTo>
                  <a:close/>
                  <a:moveTo>
                    <a:pt x="642" y="660"/>
                  </a:moveTo>
                  <a:lnTo>
                    <a:pt x="642" y="666"/>
                  </a:lnTo>
                  <a:lnTo>
                    <a:pt x="648" y="666"/>
                  </a:lnTo>
                  <a:lnTo>
                    <a:pt x="648" y="672"/>
                  </a:lnTo>
                  <a:lnTo>
                    <a:pt x="648" y="678"/>
                  </a:lnTo>
                  <a:lnTo>
                    <a:pt x="654" y="678"/>
                  </a:lnTo>
                  <a:lnTo>
                    <a:pt x="654" y="684"/>
                  </a:lnTo>
                  <a:lnTo>
                    <a:pt x="660" y="684"/>
                  </a:lnTo>
                  <a:lnTo>
                    <a:pt x="660" y="690"/>
                  </a:lnTo>
                  <a:lnTo>
                    <a:pt x="654" y="690"/>
                  </a:lnTo>
                  <a:lnTo>
                    <a:pt x="648" y="690"/>
                  </a:lnTo>
                  <a:lnTo>
                    <a:pt x="636" y="696"/>
                  </a:lnTo>
                  <a:lnTo>
                    <a:pt x="630" y="696"/>
                  </a:lnTo>
                  <a:lnTo>
                    <a:pt x="624" y="696"/>
                  </a:lnTo>
                  <a:lnTo>
                    <a:pt x="618" y="696"/>
                  </a:lnTo>
                  <a:lnTo>
                    <a:pt x="612" y="696"/>
                  </a:lnTo>
                  <a:lnTo>
                    <a:pt x="594" y="696"/>
                  </a:lnTo>
                  <a:lnTo>
                    <a:pt x="588" y="696"/>
                  </a:lnTo>
                  <a:lnTo>
                    <a:pt x="582" y="696"/>
                  </a:lnTo>
                  <a:lnTo>
                    <a:pt x="570" y="702"/>
                  </a:lnTo>
                  <a:lnTo>
                    <a:pt x="564" y="702"/>
                  </a:lnTo>
                  <a:lnTo>
                    <a:pt x="558" y="702"/>
                  </a:lnTo>
                  <a:lnTo>
                    <a:pt x="552" y="702"/>
                  </a:lnTo>
                  <a:lnTo>
                    <a:pt x="552" y="696"/>
                  </a:lnTo>
                  <a:lnTo>
                    <a:pt x="546" y="696"/>
                  </a:lnTo>
                  <a:lnTo>
                    <a:pt x="546" y="690"/>
                  </a:lnTo>
                  <a:lnTo>
                    <a:pt x="552" y="684"/>
                  </a:lnTo>
                  <a:lnTo>
                    <a:pt x="552" y="678"/>
                  </a:lnTo>
                  <a:lnTo>
                    <a:pt x="558" y="672"/>
                  </a:lnTo>
                  <a:lnTo>
                    <a:pt x="558" y="666"/>
                  </a:lnTo>
                  <a:lnTo>
                    <a:pt x="564" y="666"/>
                  </a:lnTo>
                  <a:lnTo>
                    <a:pt x="570" y="666"/>
                  </a:lnTo>
                  <a:lnTo>
                    <a:pt x="570" y="654"/>
                  </a:lnTo>
                  <a:lnTo>
                    <a:pt x="570" y="648"/>
                  </a:lnTo>
                  <a:lnTo>
                    <a:pt x="582" y="642"/>
                  </a:lnTo>
                  <a:lnTo>
                    <a:pt x="582" y="636"/>
                  </a:lnTo>
                  <a:lnTo>
                    <a:pt x="588" y="636"/>
                  </a:lnTo>
                  <a:lnTo>
                    <a:pt x="588" y="630"/>
                  </a:lnTo>
                  <a:lnTo>
                    <a:pt x="594" y="624"/>
                  </a:lnTo>
                  <a:lnTo>
                    <a:pt x="594" y="618"/>
                  </a:lnTo>
                  <a:lnTo>
                    <a:pt x="600" y="618"/>
                  </a:lnTo>
                  <a:lnTo>
                    <a:pt x="600" y="612"/>
                  </a:lnTo>
                  <a:lnTo>
                    <a:pt x="606" y="612"/>
                  </a:lnTo>
                  <a:lnTo>
                    <a:pt x="606" y="618"/>
                  </a:lnTo>
                  <a:lnTo>
                    <a:pt x="612" y="618"/>
                  </a:lnTo>
                  <a:lnTo>
                    <a:pt x="618" y="618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18" y="636"/>
                  </a:lnTo>
                  <a:lnTo>
                    <a:pt x="618" y="642"/>
                  </a:lnTo>
                  <a:lnTo>
                    <a:pt x="618" y="648"/>
                  </a:lnTo>
                  <a:lnTo>
                    <a:pt x="624" y="648"/>
                  </a:lnTo>
                  <a:lnTo>
                    <a:pt x="630" y="648"/>
                  </a:lnTo>
                  <a:lnTo>
                    <a:pt x="636" y="654"/>
                  </a:lnTo>
                  <a:lnTo>
                    <a:pt x="642" y="654"/>
                  </a:lnTo>
                  <a:lnTo>
                    <a:pt x="642" y="66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0" name="Freeform 5">
              <a:extLst>
                <a:ext uri="{FF2B5EF4-FFF2-40B4-BE49-F238E27FC236}">
                  <a16:creationId xmlns:a16="http://schemas.microsoft.com/office/drawing/2014/main" id="{5577BDCA-F2C7-42E0-A391-018D79AA29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0384" y="4231013"/>
              <a:ext cx="404750" cy="480848"/>
            </a:xfrm>
            <a:custGeom>
              <a:avLst/>
              <a:gdLst>
                <a:gd name="T0" fmla="*/ 9 w 762"/>
                <a:gd name="T1" fmla="*/ 58 h 900"/>
                <a:gd name="T2" fmla="*/ 4 w 762"/>
                <a:gd name="T3" fmla="*/ 56 h 900"/>
                <a:gd name="T4" fmla="*/ 0 w 762"/>
                <a:gd name="T5" fmla="*/ 49 h 900"/>
                <a:gd name="T6" fmla="*/ 4 w 762"/>
                <a:gd name="T7" fmla="*/ 36 h 900"/>
                <a:gd name="T8" fmla="*/ 8 w 762"/>
                <a:gd name="T9" fmla="*/ 28 h 900"/>
                <a:gd name="T10" fmla="*/ 7 w 762"/>
                <a:gd name="T11" fmla="*/ 13 h 900"/>
                <a:gd name="T12" fmla="*/ 15 w 762"/>
                <a:gd name="T13" fmla="*/ 0 h 900"/>
                <a:gd name="T14" fmla="*/ 16 w 762"/>
                <a:gd name="T15" fmla="*/ 13 h 900"/>
                <a:gd name="T16" fmla="*/ 31 w 762"/>
                <a:gd name="T17" fmla="*/ 28 h 900"/>
                <a:gd name="T18" fmla="*/ 49 w 762"/>
                <a:gd name="T19" fmla="*/ 33 h 900"/>
                <a:gd name="T20" fmla="*/ 42 w 762"/>
                <a:gd name="T21" fmla="*/ 48 h 900"/>
                <a:gd name="T22" fmla="*/ 51 w 762"/>
                <a:gd name="T23" fmla="*/ 48 h 900"/>
                <a:gd name="T24" fmla="*/ 61 w 762"/>
                <a:gd name="T25" fmla="*/ 51 h 900"/>
                <a:gd name="T26" fmla="*/ 63 w 762"/>
                <a:gd name="T27" fmla="*/ 60 h 900"/>
                <a:gd name="T28" fmla="*/ 63 w 762"/>
                <a:gd name="T29" fmla="*/ 66 h 900"/>
                <a:gd name="T30" fmla="*/ 65 w 762"/>
                <a:gd name="T31" fmla="*/ 69 h 900"/>
                <a:gd name="T32" fmla="*/ 66 w 762"/>
                <a:gd name="T33" fmla="*/ 72 h 900"/>
                <a:gd name="T34" fmla="*/ 56 w 762"/>
                <a:gd name="T35" fmla="*/ 73 h 900"/>
                <a:gd name="T36" fmla="*/ 55 w 762"/>
                <a:gd name="T37" fmla="*/ 69 h 900"/>
                <a:gd name="T38" fmla="*/ 57 w 762"/>
                <a:gd name="T39" fmla="*/ 67 h 900"/>
                <a:gd name="T40" fmla="*/ 55 w 762"/>
                <a:gd name="T41" fmla="*/ 65 h 900"/>
                <a:gd name="T42" fmla="*/ 53 w 762"/>
                <a:gd name="T43" fmla="*/ 68 h 900"/>
                <a:gd name="T44" fmla="*/ 49 w 762"/>
                <a:gd name="T45" fmla="*/ 68 h 900"/>
                <a:gd name="T46" fmla="*/ 44 w 762"/>
                <a:gd name="T47" fmla="*/ 63 h 900"/>
                <a:gd name="T48" fmla="*/ 40 w 762"/>
                <a:gd name="T49" fmla="*/ 59 h 900"/>
                <a:gd name="T50" fmla="*/ 38 w 762"/>
                <a:gd name="T51" fmla="*/ 57 h 900"/>
                <a:gd name="T52" fmla="*/ 43 w 762"/>
                <a:gd name="T53" fmla="*/ 62 h 900"/>
                <a:gd name="T54" fmla="*/ 43 w 762"/>
                <a:gd name="T55" fmla="*/ 66 h 900"/>
                <a:gd name="T56" fmla="*/ 41 w 762"/>
                <a:gd name="T57" fmla="*/ 71 h 900"/>
                <a:gd name="T58" fmla="*/ 37 w 762"/>
                <a:gd name="T59" fmla="*/ 69 h 900"/>
                <a:gd name="T60" fmla="*/ 35 w 762"/>
                <a:gd name="T61" fmla="*/ 64 h 900"/>
                <a:gd name="T62" fmla="*/ 31 w 762"/>
                <a:gd name="T63" fmla="*/ 57 h 900"/>
                <a:gd name="T64" fmla="*/ 30 w 762"/>
                <a:gd name="T65" fmla="*/ 62 h 900"/>
                <a:gd name="T66" fmla="*/ 29 w 762"/>
                <a:gd name="T67" fmla="*/ 61 h 900"/>
                <a:gd name="T68" fmla="*/ 31 w 762"/>
                <a:gd name="T69" fmla="*/ 66 h 900"/>
                <a:gd name="T70" fmla="*/ 33 w 762"/>
                <a:gd name="T71" fmla="*/ 72 h 900"/>
                <a:gd name="T72" fmla="*/ 32 w 762"/>
                <a:gd name="T73" fmla="*/ 76 h 900"/>
                <a:gd name="T74" fmla="*/ 28 w 762"/>
                <a:gd name="T75" fmla="*/ 75 h 900"/>
                <a:gd name="T76" fmla="*/ 24 w 762"/>
                <a:gd name="T77" fmla="*/ 69 h 900"/>
                <a:gd name="T78" fmla="*/ 24 w 762"/>
                <a:gd name="T79" fmla="*/ 62 h 900"/>
                <a:gd name="T80" fmla="*/ 23 w 762"/>
                <a:gd name="T81" fmla="*/ 62 h 900"/>
                <a:gd name="T82" fmla="*/ 23 w 762"/>
                <a:gd name="T83" fmla="*/ 68 h 900"/>
                <a:gd name="T84" fmla="*/ 25 w 762"/>
                <a:gd name="T85" fmla="*/ 77 h 900"/>
                <a:gd name="T86" fmla="*/ 17 w 762"/>
                <a:gd name="T87" fmla="*/ 74 h 900"/>
                <a:gd name="T88" fmla="*/ 17 w 762"/>
                <a:gd name="T89" fmla="*/ 67 h 900"/>
                <a:gd name="T90" fmla="*/ 16 w 762"/>
                <a:gd name="T91" fmla="*/ 67 h 900"/>
                <a:gd name="T92" fmla="*/ 15 w 762"/>
                <a:gd name="T93" fmla="*/ 71 h 900"/>
                <a:gd name="T94" fmla="*/ 12 w 762"/>
                <a:gd name="T95" fmla="*/ 68 h 900"/>
                <a:gd name="T96" fmla="*/ 15 w 762"/>
                <a:gd name="T97" fmla="*/ 72 h 900"/>
                <a:gd name="T98" fmla="*/ 17 w 762"/>
                <a:gd name="T99" fmla="*/ 77 h 900"/>
                <a:gd name="T100" fmla="*/ 11 w 762"/>
                <a:gd name="T101" fmla="*/ 77 h 900"/>
                <a:gd name="T102" fmla="*/ 10 w 762"/>
                <a:gd name="T103" fmla="*/ 69 h 900"/>
                <a:gd name="T104" fmla="*/ 11 w 762"/>
                <a:gd name="T105" fmla="*/ 72 h 900"/>
                <a:gd name="T106" fmla="*/ 9 w 762"/>
                <a:gd name="T107" fmla="*/ 78 h 900"/>
                <a:gd name="T108" fmla="*/ 43 w 762"/>
                <a:gd name="T109" fmla="*/ 71 h 900"/>
                <a:gd name="T110" fmla="*/ 51 w 762"/>
                <a:gd name="T111" fmla="*/ 69 h 900"/>
                <a:gd name="T112" fmla="*/ 43 w 762"/>
                <a:gd name="T113" fmla="*/ 76 h 900"/>
                <a:gd name="T114" fmla="*/ 36 w 762"/>
                <a:gd name="T115" fmla="*/ 65 h 900"/>
                <a:gd name="T116" fmla="*/ 38 w 762"/>
                <a:gd name="T117" fmla="*/ 72 h 900"/>
                <a:gd name="T118" fmla="*/ 34 w 762"/>
                <a:gd name="T119" fmla="*/ 69 h 900"/>
                <a:gd name="T120" fmla="*/ 29 w 762"/>
                <a:gd name="T121" fmla="*/ 64 h 900"/>
                <a:gd name="T122" fmla="*/ 32 w 762"/>
                <a:gd name="T123" fmla="*/ 66 h 9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900"/>
                <a:gd name="T188" fmla="*/ 762 w 762"/>
                <a:gd name="T189" fmla="*/ 900 h 90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900">
                  <a:moveTo>
                    <a:pt x="90" y="768"/>
                  </a:moveTo>
                  <a:lnTo>
                    <a:pt x="102" y="756"/>
                  </a:lnTo>
                  <a:lnTo>
                    <a:pt x="102" y="750"/>
                  </a:lnTo>
                  <a:lnTo>
                    <a:pt x="90" y="744"/>
                  </a:lnTo>
                  <a:lnTo>
                    <a:pt x="84" y="738"/>
                  </a:lnTo>
                  <a:lnTo>
                    <a:pt x="90" y="726"/>
                  </a:lnTo>
                  <a:lnTo>
                    <a:pt x="84" y="720"/>
                  </a:lnTo>
                  <a:lnTo>
                    <a:pt x="78" y="720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72" y="702"/>
                  </a:lnTo>
                  <a:lnTo>
                    <a:pt x="72" y="696"/>
                  </a:lnTo>
                  <a:lnTo>
                    <a:pt x="84" y="684"/>
                  </a:lnTo>
                  <a:lnTo>
                    <a:pt x="96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102" y="654"/>
                  </a:lnTo>
                  <a:lnTo>
                    <a:pt x="108" y="654"/>
                  </a:lnTo>
                  <a:lnTo>
                    <a:pt x="114" y="648"/>
                  </a:lnTo>
                  <a:lnTo>
                    <a:pt x="120" y="642"/>
                  </a:lnTo>
                  <a:lnTo>
                    <a:pt x="120" y="636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14" y="618"/>
                  </a:lnTo>
                  <a:lnTo>
                    <a:pt x="102" y="618"/>
                  </a:lnTo>
                  <a:lnTo>
                    <a:pt x="90" y="618"/>
                  </a:lnTo>
                  <a:lnTo>
                    <a:pt x="78" y="624"/>
                  </a:lnTo>
                  <a:lnTo>
                    <a:pt x="72" y="630"/>
                  </a:lnTo>
                  <a:lnTo>
                    <a:pt x="54" y="642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42" y="642"/>
                  </a:lnTo>
                  <a:lnTo>
                    <a:pt x="42" y="636"/>
                  </a:lnTo>
                  <a:lnTo>
                    <a:pt x="36" y="636"/>
                  </a:lnTo>
                  <a:lnTo>
                    <a:pt x="30" y="642"/>
                  </a:lnTo>
                  <a:lnTo>
                    <a:pt x="30" y="636"/>
                  </a:lnTo>
                  <a:lnTo>
                    <a:pt x="30" y="630"/>
                  </a:lnTo>
                  <a:lnTo>
                    <a:pt x="24" y="630"/>
                  </a:lnTo>
                  <a:lnTo>
                    <a:pt x="30" y="624"/>
                  </a:lnTo>
                  <a:lnTo>
                    <a:pt x="30" y="618"/>
                  </a:lnTo>
                  <a:lnTo>
                    <a:pt x="30" y="612"/>
                  </a:lnTo>
                  <a:lnTo>
                    <a:pt x="36" y="612"/>
                  </a:lnTo>
                  <a:lnTo>
                    <a:pt x="36" y="606"/>
                  </a:lnTo>
                  <a:lnTo>
                    <a:pt x="30" y="606"/>
                  </a:lnTo>
                  <a:lnTo>
                    <a:pt x="24" y="612"/>
                  </a:lnTo>
                  <a:lnTo>
                    <a:pt x="18" y="606"/>
                  </a:lnTo>
                  <a:lnTo>
                    <a:pt x="12" y="594"/>
                  </a:lnTo>
                  <a:lnTo>
                    <a:pt x="6" y="582"/>
                  </a:lnTo>
                  <a:lnTo>
                    <a:pt x="6" y="570"/>
                  </a:lnTo>
                  <a:lnTo>
                    <a:pt x="0" y="558"/>
                  </a:lnTo>
                  <a:lnTo>
                    <a:pt x="6" y="552"/>
                  </a:lnTo>
                  <a:lnTo>
                    <a:pt x="6" y="534"/>
                  </a:lnTo>
                  <a:lnTo>
                    <a:pt x="18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12" y="480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54" y="408"/>
                  </a:lnTo>
                  <a:lnTo>
                    <a:pt x="54" y="396"/>
                  </a:lnTo>
                  <a:lnTo>
                    <a:pt x="54" y="384"/>
                  </a:lnTo>
                  <a:lnTo>
                    <a:pt x="60" y="378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66"/>
                  </a:lnTo>
                  <a:lnTo>
                    <a:pt x="60" y="360"/>
                  </a:lnTo>
                  <a:lnTo>
                    <a:pt x="66" y="360"/>
                  </a:lnTo>
                  <a:lnTo>
                    <a:pt x="72" y="354"/>
                  </a:lnTo>
                  <a:lnTo>
                    <a:pt x="78" y="354"/>
                  </a:lnTo>
                  <a:lnTo>
                    <a:pt x="84" y="348"/>
                  </a:lnTo>
                  <a:lnTo>
                    <a:pt x="96" y="348"/>
                  </a:lnTo>
                  <a:lnTo>
                    <a:pt x="96" y="342"/>
                  </a:lnTo>
                  <a:lnTo>
                    <a:pt x="96" y="336"/>
                  </a:lnTo>
                  <a:lnTo>
                    <a:pt x="96" y="330"/>
                  </a:lnTo>
                  <a:lnTo>
                    <a:pt x="96" y="324"/>
                  </a:lnTo>
                  <a:lnTo>
                    <a:pt x="102" y="318"/>
                  </a:lnTo>
                  <a:lnTo>
                    <a:pt x="108" y="312"/>
                  </a:lnTo>
                  <a:lnTo>
                    <a:pt x="96" y="306"/>
                  </a:lnTo>
                  <a:lnTo>
                    <a:pt x="84" y="288"/>
                  </a:lnTo>
                  <a:lnTo>
                    <a:pt x="108" y="258"/>
                  </a:lnTo>
                  <a:lnTo>
                    <a:pt x="102" y="222"/>
                  </a:lnTo>
                  <a:lnTo>
                    <a:pt x="84" y="222"/>
                  </a:lnTo>
                  <a:lnTo>
                    <a:pt x="54" y="216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2"/>
                  </a:lnTo>
                  <a:lnTo>
                    <a:pt x="72" y="192"/>
                  </a:lnTo>
                  <a:lnTo>
                    <a:pt x="84" y="186"/>
                  </a:lnTo>
                  <a:lnTo>
                    <a:pt x="90" y="186"/>
                  </a:lnTo>
                  <a:lnTo>
                    <a:pt x="90" y="174"/>
                  </a:lnTo>
                  <a:lnTo>
                    <a:pt x="84" y="162"/>
                  </a:lnTo>
                  <a:lnTo>
                    <a:pt x="84" y="150"/>
                  </a:lnTo>
                  <a:lnTo>
                    <a:pt x="84" y="126"/>
                  </a:lnTo>
                  <a:lnTo>
                    <a:pt x="84" y="114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8" y="96"/>
                  </a:lnTo>
                  <a:lnTo>
                    <a:pt x="120" y="90"/>
                  </a:lnTo>
                  <a:lnTo>
                    <a:pt x="126" y="78"/>
                  </a:lnTo>
                  <a:lnTo>
                    <a:pt x="138" y="66"/>
                  </a:lnTo>
                  <a:lnTo>
                    <a:pt x="138" y="48"/>
                  </a:lnTo>
                  <a:lnTo>
                    <a:pt x="138" y="42"/>
                  </a:lnTo>
                  <a:lnTo>
                    <a:pt x="126" y="30"/>
                  </a:lnTo>
                  <a:lnTo>
                    <a:pt x="120" y="18"/>
                  </a:lnTo>
                  <a:lnTo>
                    <a:pt x="132" y="12"/>
                  </a:lnTo>
                  <a:lnTo>
                    <a:pt x="144" y="0"/>
                  </a:lnTo>
                  <a:lnTo>
                    <a:pt x="150" y="6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6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74" y="66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68" y="72"/>
                  </a:lnTo>
                  <a:lnTo>
                    <a:pt x="156" y="150"/>
                  </a:lnTo>
                  <a:lnTo>
                    <a:pt x="168" y="144"/>
                  </a:lnTo>
                  <a:lnTo>
                    <a:pt x="180" y="150"/>
                  </a:lnTo>
                  <a:lnTo>
                    <a:pt x="186" y="150"/>
                  </a:lnTo>
                  <a:lnTo>
                    <a:pt x="186" y="144"/>
                  </a:lnTo>
                  <a:lnTo>
                    <a:pt x="192" y="150"/>
                  </a:lnTo>
                  <a:lnTo>
                    <a:pt x="222" y="150"/>
                  </a:lnTo>
                  <a:lnTo>
                    <a:pt x="222" y="168"/>
                  </a:lnTo>
                  <a:lnTo>
                    <a:pt x="222" y="186"/>
                  </a:lnTo>
                  <a:lnTo>
                    <a:pt x="234" y="198"/>
                  </a:lnTo>
                  <a:lnTo>
                    <a:pt x="234" y="234"/>
                  </a:lnTo>
                  <a:lnTo>
                    <a:pt x="228" y="270"/>
                  </a:lnTo>
                  <a:lnTo>
                    <a:pt x="246" y="282"/>
                  </a:lnTo>
                  <a:lnTo>
                    <a:pt x="258" y="294"/>
                  </a:lnTo>
                  <a:lnTo>
                    <a:pt x="270" y="300"/>
                  </a:lnTo>
                  <a:lnTo>
                    <a:pt x="294" y="300"/>
                  </a:lnTo>
                  <a:lnTo>
                    <a:pt x="288" y="306"/>
                  </a:lnTo>
                  <a:lnTo>
                    <a:pt x="300" y="312"/>
                  </a:lnTo>
                  <a:lnTo>
                    <a:pt x="306" y="318"/>
                  </a:lnTo>
                  <a:lnTo>
                    <a:pt x="324" y="324"/>
                  </a:lnTo>
                  <a:lnTo>
                    <a:pt x="354" y="318"/>
                  </a:lnTo>
                  <a:lnTo>
                    <a:pt x="354" y="312"/>
                  </a:lnTo>
                  <a:lnTo>
                    <a:pt x="366" y="312"/>
                  </a:lnTo>
                  <a:lnTo>
                    <a:pt x="384" y="312"/>
                  </a:lnTo>
                  <a:lnTo>
                    <a:pt x="390" y="306"/>
                  </a:lnTo>
                  <a:lnTo>
                    <a:pt x="396" y="306"/>
                  </a:lnTo>
                  <a:lnTo>
                    <a:pt x="408" y="306"/>
                  </a:lnTo>
                  <a:lnTo>
                    <a:pt x="426" y="312"/>
                  </a:lnTo>
                  <a:lnTo>
                    <a:pt x="456" y="324"/>
                  </a:lnTo>
                  <a:lnTo>
                    <a:pt x="504" y="330"/>
                  </a:lnTo>
                  <a:lnTo>
                    <a:pt x="510" y="336"/>
                  </a:lnTo>
                  <a:lnTo>
                    <a:pt x="534" y="336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58" y="330"/>
                  </a:lnTo>
                  <a:lnTo>
                    <a:pt x="564" y="330"/>
                  </a:lnTo>
                  <a:lnTo>
                    <a:pt x="570" y="354"/>
                  </a:lnTo>
                  <a:lnTo>
                    <a:pt x="564" y="378"/>
                  </a:lnTo>
                  <a:lnTo>
                    <a:pt x="558" y="396"/>
                  </a:lnTo>
                  <a:lnTo>
                    <a:pt x="546" y="414"/>
                  </a:lnTo>
                  <a:lnTo>
                    <a:pt x="546" y="438"/>
                  </a:lnTo>
                  <a:lnTo>
                    <a:pt x="540" y="456"/>
                  </a:lnTo>
                  <a:lnTo>
                    <a:pt x="540" y="474"/>
                  </a:lnTo>
                  <a:lnTo>
                    <a:pt x="528" y="480"/>
                  </a:lnTo>
                  <a:lnTo>
                    <a:pt x="522" y="492"/>
                  </a:lnTo>
                  <a:lnTo>
                    <a:pt x="504" y="498"/>
                  </a:lnTo>
                  <a:lnTo>
                    <a:pt x="498" y="498"/>
                  </a:lnTo>
                  <a:lnTo>
                    <a:pt x="492" y="504"/>
                  </a:lnTo>
                  <a:lnTo>
                    <a:pt x="486" y="510"/>
                  </a:lnTo>
                  <a:lnTo>
                    <a:pt x="480" y="510"/>
                  </a:lnTo>
                  <a:lnTo>
                    <a:pt x="480" y="516"/>
                  </a:lnTo>
                  <a:lnTo>
                    <a:pt x="474" y="522"/>
                  </a:lnTo>
                  <a:lnTo>
                    <a:pt x="474" y="528"/>
                  </a:lnTo>
                  <a:lnTo>
                    <a:pt x="474" y="534"/>
                  </a:lnTo>
                  <a:lnTo>
                    <a:pt x="480" y="540"/>
                  </a:lnTo>
                  <a:lnTo>
                    <a:pt x="492" y="540"/>
                  </a:lnTo>
                  <a:lnTo>
                    <a:pt x="498" y="546"/>
                  </a:lnTo>
                  <a:lnTo>
                    <a:pt x="504" y="552"/>
                  </a:lnTo>
                  <a:lnTo>
                    <a:pt x="510" y="552"/>
                  </a:lnTo>
                  <a:lnTo>
                    <a:pt x="516" y="558"/>
                  </a:lnTo>
                  <a:lnTo>
                    <a:pt x="528" y="558"/>
                  </a:lnTo>
                  <a:lnTo>
                    <a:pt x="534" y="552"/>
                  </a:lnTo>
                  <a:lnTo>
                    <a:pt x="540" y="552"/>
                  </a:lnTo>
                  <a:lnTo>
                    <a:pt x="546" y="552"/>
                  </a:lnTo>
                  <a:lnTo>
                    <a:pt x="558" y="546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70" y="546"/>
                  </a:lnTo>
                  <a:lnTo>
                    <a:pt x="570" y="540"/>
                  </a:lnTo>
                  <a:lnTo>
                    <a:pt x="570" y="546"/>
                  </a:lnTo>
                  <a:lnTo>
                    <a:pt x="576" y="546"/>
                  </a:lnTo>
                  <a:lnTo>
                    <a:pt x="582" y="546"/>
                  </a:lnTo>
                  <a:lnTo>
                    <a:pt x="588" y="540"/>
                  </a:lnTo>
                  <a:lnTo>
                    <a:pt x="594" y="546"/>
                  </a:lnTo>
                  <a:lnTo>
                    <a:pt x="606" y="546"/>
                  </a:lnTo>
                  <a:lnTo>
                    <a:pt x="612" y="546"/>
                  </a:lnTo>
                  <a:lnTo>
                    <a:pt x="612" y="552"/>
                  </a:lnTo>
                  <a:lnTo>
                    <a:pt x="618" y="552"/>
                  </a:lnTo>
                  <a:lnTo>
                    <a:pt x="624" y="552"/>
                  </a:lnTo>
                  <a:lnTo>
                    <a:pt x="630" y="552"/>
                  </a:lnTo>
                  <a:lnTo>
                    <a:pt x="648" y="546"/>
                  </a:lnTo>
                  <a:lnTo>
                    <a:pt x="654" y="546"/>
                  </a:lnTo>
                  <a:lnTo>
                    <a:pt x="654" y="552"/>
                  </a:lnTo>
                  <a:lnTo>
                    <a:pt x="660" y="558"/>
                  </a:lnTo>
                  <a:lnTo>
                    <a:pt x="666" y="564"/>
                  </a:lnTo>
                  <a:lnTo>
                    <a:pt x="672" y="564"/>
                  </a:lnTo>
                  <a:lnTo>
                    <a:pt x="678" y="564"/>
                  </a:lnTo>
                  <a:lnTo>
                    <a:pt x="696" y="576"/>
                  </a:lnTo>
                  <a:lnTo>
                    <a:pt x="696" y="582"/>
                  </a:lnTo>
                  <a:lnTo>
                    <a:pt x="708" y="588"/>
                  </a:lnTo>
                  <a:lnTo>
                    <a:pt x="708" y="594"/>
                  </a:lnTo>
                  <a:lnTo>
                    <a:pt x="720" y="606"/>
                  </a:lnTo>
                  <a:lnTo>
                    <a:pt x="720" y="618"/>
                  </a:lnTo>
                  <a:lnTo>
                    <a:pt x="720" y="624"/>
                  </a:lnTo>
                  <a:lnTo>
                    <a:pt x="726" y="630"/>
                  </a:lnTo>
                  <a:lnTo>
                    <a:pt x="732" y="636"/>
                  </a:lnTo>
                  <a:lnTo>
                    <a:pt x="732" y="642"/>
                  </a:lnTo>
                  <a:lnTo>
                    <a:pt x="732" y="648"/>
                  </a:lnTo>
                  <a:lnTo>
                    <a:pt x="726" y="654"/>
                  </a:lnTo>
                  <a:lnTo>
                    <a:pt x="720" y="660"/>
                  </a:lnTo>
                  <a:lnTo>
                    <a:pt x="714" y="666"/>
                  </a:lnTo>
                  <a:lnTo>
                    <a:pt x="714" y="672"/>
                  </a:lnTo>
                  <a:lnTo>
                    <a:pt x="714" y="678"/>
                  </a:lnTo>
                  <a:lnTo>
                    <a:pt x="720" y="678"/>
                  </a:lnTo>
                  <a:lnTo>
                    <a:pt x="720" y="684"/>
                  </a:lnTo>
                  <a:lnTo>
                    <a:pt x="714" y="690"/>
                  </a:lnTo>
                  <a:lnTo>
                    <a:pt x="714" y="696"/>
                  </a:lnTo>
                  <a:lnTo>
                    <a:pt x="714" y="702"/>
                  </a:lnTo>
                  <a:lnTo>
                    <a:pt x="714" y="708"/>
                  </a:lnTo>
                  <a:lnTo>
                    <a:pt x="720" y="708"/>
                  </a:lnTo>
                  <a:lnTo>
                    <a:pt x="720" y="720"/>
                  </a:lnTo>
                  <a:lnTo>
                    <a:pt x="720" y="726"/>
                  </a:lnTo>
                  <a:lnTo>
                    <a:pt x="726" y="726"/>
                  </a:lnTo>
                  <a:lnTo>
                    <a:pt x="726" y="732"/>
                  </a:lnTo>
                  <a:lnTo>
                    <a:pt x="732" y="732"/>
                  </a:lnTo>
                  <a:lnTo>
                    <a:pt x="732" y="738"/>
                  </a:lnTo>
                  <a:lnTo>
                    <a:pt x="726" y="738"/>
                  </a:lnTo>
                  <a:lnTo>
                    <a:pt x="720" y="738"/>
                  </a:lnTo>
                  <a:lnTo>
                    <a:pt x="720" y="744"/>
                  </a:lnTo>
                  <a:lnTo>
                    <a:pt x="720" y="750"/>
                  </a:lnTo>
                  <a:lnTo>
                    <a:pt x="714" y="750"/>
                  </a:lnTo>
                  <a:lnTo>
                    <a:pt x="714" y="756"/>
                  </a:lnTo>
                  <a:lnTo>
                    <a:pt x="720" y="756"/>
                  </a:lnTo>
                  <a:lnTo>
                    <a:pt x="714" y="762"/>
                  </a:lnTo>
                  <a:lnTo>
                    <a:pt x="720" y="762"/>
                  </a:lnTo>
                  <a:lnTo>
                    <a:pt x="726" y="768"/>
                  </a:lnTo>
                  <a:lnTo>
                    <a:pt x="726" y="774"/>
                  </a:lnTo>
                  <a:lnTo>
                    <a:pt x="732" y="774"/>
                  </a:lnTo>
                  <a:lnTo>
                    <a:pt x="732" y="780"/>
                  </a:lnTo>
                  <a:lnTo>
                    <a:pt x="726" y="780"/>
                  </a:lnTo>
                  <a:lnTo>
                    <a:pt x="726" y="786"/>
                  </a:lnTo>
                  <a:lnTo>
                    <a:pt x="720" y="786"/>
                  </a:lnTo>
                  <a:lnTo>
                    <a:pt x="726" y="786"/>
                  </a:lnTo>
                  <a:lnTo>
                    <a:pt x="732" y="780"/>
                  </a:lnTo>
                  <a:lnTo>
                    <a:pt x="738" y="780"/>
                  </a:lnTo>
                  <a:lnTo>
                    <a:pt x="744" y="780"/>
                  </a:lnTo>
                  <a:lnTo>
                    <a:pt x="744" y="786"/>
                  </a:lnTo>
                  <a:lnTo>
                    <a:pt x="750" y="786"/>
                  </a:lnTo>
                  <a:lnTo>
                    <a:pt x="744" y="786"/>
                  </a:lnTo>
                  <a:lnTo>
                    <a:pt x="744" y="792"/>
                  </a:lnTo>
                  <a:lnTo>
                    <a:pt x="744" y="786"/>
                  </a:lnTo>
                  <a:lnTo>
                    <a:pt x="738" y="792"/>
                  </a:lnTo>
                  <a:lnTo>
                    <a:pt x="744" y="792"/>
                  </a:lnTo>
                  <a:lnTo>
                    <a:pt x="750" y="792"/>
                  </a:lnTo>
                  <a:lnTo>
                    <a:pt x="750" y="786"/>
                  </a:lnTo>
                  <a:lnTo>
                    <a:pt x="756" y="786"/>
                  </a:lnTo>
                  <a:lnTo>
                    <a:pt x="756" y="792"/>
                  </a:lnTo>
                  <a:lnTo>
                    <a:pt x="762" y="792"/>
                  </a:lnTo>
                  <a:lnTo>
                    <a:pt x="756" y="798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0" y="810"/>
                  </a:lnTo>
                  <a:lnTo>
                    <a:pt x="756" y="810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6" y="816"/>
                  </a:lnTo>
                  <a:lnTo>
                    <a:pt x="750" y="816"/>
                  </a:lnTo>
                  <a:lnTo>
                    <a:pt x="738" y="810"/>
                  </a:lnTo>
                  <a:lnTo>
                    <a:pt x="732" y="810"/>
                  </a:lnTo>
                  <a:lnTo>
                    <a:pt x="732" y="816"/>
                  </a:lnTo>
                  <a:lnTo>
                    <a:pt x="726" y="810"/>
                  </a:lnTo>
                  <a:lnTo>
                    <a:pt x="714" y="816"/>
                  </a:lnTo>
                  <a:lnTo>
                    <a:pt x="708" y="816"/>
                  </a:lnTo>
                  <a:lnTo>
                    <a:pt x="702" y="816"/>
                  </a:lnTo>
                  <a:lnTo>
                    <a:pt x="696" y="816"/>
                  </a:lnTo>
                  <a:lnTo>
                    <a:pt x="690" y="822"/>
                  </a:lnTo>
                  <a:lnTo>
                    <a:pt x="684" y="822"/>
                  </a:lnTo>
                  <a:lnTo>
                    <a:pt x="678" y="822"/>
                  </a:lnTo>
                  <a:lnTo>
                    <a:pt x="672" y="822"/>
                  </a:lnTo>
                  <a:lnTo>
                    <a:pt x="666" y="822"/>
                  </a:lnTo>
                  <a:lnTo>
                    <a:pt x="666" y="828"/>
                  </a:lnTo>
                  <a:lnTo>
                    <a:pt x="654" y="828"/>
                  </a:lnTo>
                  <a:lnTo>
                    <a:pt x="648" y="828"/>
                  </a:lnTo>
                  <a:lnTo>
                    <a:pt x="642" y="828"/>
                  </a:lnTo>
                  <a:lnTo>
                    <a:pt x="630" y="828"/>
                  </a:lnTo>
                  <a:lnTo>
                    <a:pt x="624" y="822"/>
                  </a:lnTo>
                  <a:lnTo>
                    <a:pt x="618" y="822"/>
                  </a:lnTo>
                  <a:lnTo>
                    <a:pt x="612" y="822"/>
                  </a:lnTo>
                  <a:lnTo>
                    <a:pt x="606" y="822"/>
                  </a:lnTo>
                  <a:lnTo>
                    <a:pt x="600" y="822"/>
                  </a:lnTo>
                  <a:lnTo>
                    <a:pt x="594" y="822"/>
                  </a:lnTo>
                  <a:lnTo>
                    <a:pt x="594" y="816"/>
                  </a:lnTo>
                  <a:lnTo>
                    <a:pt x="594" y="810"/>
                  </a:lnTo>
                  <a:lnTo>
                    <a:pt x="600" y="804"/>
                  </a:lnTo>
                  <a:lnTo>
                    <a:pt x="600" y="798"/>
                  </a:lnTo>
                  <a:lnTo>
                    <a:pt x="600" y="792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2" y="786"/>
                  </a:lnTo>
                  <a:lnTo>
                    <a:pt x="618" y="786"/>
                  </a:lnTo>
                  <a:lnTo>
                    <a:pt x="624" y="786"/>
                  </a:lnTo>
                  <a:lnTo>
                    <a:pt x="624" y="780"/>
                  </a:lnTo>
                  <a:lnTo>
                    <a:pt x="630" y="780"/>
                  </a:lnTo>
                  <a:lnTo>
                    <a:pt x="630" y="774"/>
                  </a:lnTo>
                  <a:lnTo>
                    <a:pt x="636" y="774"/>
                  </a:lnTo>
                  <a:lnTo>
                    <a:pt x="642" y="780"/>
                  </a:lnTo>
                  <a:lnTo>
                    <a:pt x="642" y="786"/>
                  </a:lnTo>
                  <a:lnTo>
                    <a:pt x="642" y="792"/>
                  </a:lnTo>
                  <a:lnTo>
                    <a:pt x="648" y="792"/>
                  </a:lnTo>
                  <a:lnTo>
                    <a:pt x="648" y="786"/>
                  </a:lnTo>
                  <a:lnTo>
                    <a:pt x="642" y="786"/>
                  </a:lnTo>
                  <a:lnTo>
                    <a:pt x="642" y="780"/>
                  </a:lnTo>
                  <a:lnTo>
                    <a:pt x="642" y="774"/>
                  </a:lnTo>
                  <a:lnTo>
                    <a:pt x="648" y="768"/>
                  </a:lnTo>
                  <a:lnTo>
                    <a:pt x="642" y="768"/>
                  </a:lnTo>
                  <a:lnTo>
                    <a:pt x="648" y="768"/>
                  </a:lnTo>
                  <a:lnTo>
                    <a:pt x="648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66" y="762"/>
                  </a:lnTo>
                  <a:lnTo>
                    <a:pt x="672" y="756"/>
                  </a:lnTo>
                  <a:lnTo>
                    <a:pt x="666" y="756"/>
                  </a:lnTo>
                  <a:lnTo>
                    <a:pt x="660" y="756"/>
                  </a:lnTo>
                  <a:lnTo>
                    <a:pt x="660" y="750"/>
                  </a:lnTo>
                  <a:lnTo>
                    <a:pt x="654" y="750"/>
                  </a:lnTo>
                  <a:lnTo>
                    <a:pt x="648" y="750"/>
                  </a:lnTo>
                  <a:lnTo>
                    <a:pt x="648" y="756"/>
                  </a:lnTo>
                  <a:lnTo>
                    <a:pt x="642" y="756"/>
                  </a:lnTo>
                  <a:lnTo>
                    <a:pt x="642" y="750"/>
                  </a:lnTo>
                  <a:lnTo>
                    <a:pt x="642" y="744"/>
                  </a:lnTo>
                  <a:lnTo>
                    <a:pt x="642" y="750"/>
                  </a:lnTo>
                  <a:lnTo>
                    <a:pt x="636" y="750"/>
                  </a:lnTo>
                  <a:lnTo>
                    <a:pt x="636" y="744"/>
                  </a:lnTo>
                  <a:lnTo>
                    <a:pt x="630" y="744"/>
                  </a:lnTo>
                  <a:lnTo>
                    <a:pt x="630" y="738"/>
                  </a:lnTo>
                  <a:lnTo>
                    <a:pt x="630" y="744"/>
                  </a:lnTo>
                  <a:lnTo>
                    <a:pt x="630" y="750"/>
                  </a:lnTo>
                  <a:lnTo>
                    <a:pt x="636" y="750"/>
                  </a:lnTo>
                  <a:lnTo>
                    <a:pt x="636" y="756"/>
                  </a:lnTo>
                  <a:lnTo>
                    <a:pt x="630" y="756"/>
                  </a:lnTo>
                  <a:lnTo>
                    <a:pt x="636" y="762"/>
                  </a:lnTo>
                  <a:lnTo>
                    <a:pt x="630" y="762"/>
                  </a:lnTo>
                  <a:lnTo>
                    <a:pt x="624" y="762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24" y="786"/>
                  </a:lnTo>
                  <a:lnTo>
                    <a:pt x="618" y="786"/>
                  </a:lnTo>
                  <a:lnTo>
                    <a:pt x="618" y="78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12" y="774"/>
                  </a:lnTo>
                  <a:lnTo>
                    <a:pt x="612" y="780"/>
                  </a:lnTo>
                  <a:lnTo>
                    <a:pt x="606" y="780"/>
                  </a:lnTo>
                  <a:lnTo>
                    <a:pt x="600" y="780"/>
                  </a:lnTo>
                  <a:lnTo>
                    <a:pt x="600" y="774"/>
                  </a:lnTo>
                  <a:lnTo>
                    <a:pt x="594" y="768"/>
                  </a:lnTo>
                  <a:lnTo>
                    <a:pt x="594" y="762"/>
                  </a:lnTo>
                  <a:lnTo>
                    <a:pt x="594" y="756"/>
                  </a:lnTo>
                  <a:lnTo>
                    <a:pt x="594" y="762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594" y="780"/>
                  </a:lnTo>
                  <a:lnTo>
                    <a:pt x="588" y="780"/>
                  </a:lnTo>
                  <a:lnTo>
                    <a:pt x="582" y="780"/>
                  </a:lnTo>
                  <a:lnTo>
                    <a:pt x="576" y="780"/>
                  </a:lnTo>
                  <a:lnTo>
                    <a:pt x="570" y="780"/>
                  </a:lnTo>
                  <a:lnTo>
                    <a:pt x="564" y="780"/>
                  </a:lnTo>
                  <a:lnTo>
                    <a:pt x="564" y="786"/>
                  </a:lnTo>
                  <a:lnTo>
                    <a:pt x="558" y="786"/>
                  </a:lnTo>
                  <a:lnTo>
                    <a:pt x="552" y="786"/>
                  </a:lnTo>
                  <a:lnTo>
                    <a:pt x="552" y="780"/>
                  </a:lnTo>
                  <a:lnTo>
                    <a:pt x="552" y="774"/>
                  </a:lnTo>
                  <a:lnTo>
                    <a:pt x="552" y="768"/>
                  </a:lnTo>
                  <a:lnTo>
                    <a:pt x="546" y="768"/>
                  </a:lnTo>
                  <a:lnTo>
                    <a:pt x="540" y="762"/>
                  </a:lnTo>
                  <a:lnTo>
                    <a:pt x="540" y="756"/>
                  </a:lnTo>
                  <a:lnTo>
                    <a:pt x="534" y="756"/>
                  </a:lnTo>
                  <a:lnTo>
                    <a:pt x="534" y="750"/>
                  </a:lnTo>
                  <a:lnTo>
                    <a:pt x="534" y="744"/>
                  </a:lnTo>
                  <a:lnTo>
                    <a:pt x="528" y="738"/>
                  </a:lnTo>
                  <a:lnTo>
                    <a:pt x="522" y="738"/>
                  </a:lnTo>
                  <a:lnTo>
                    <a:pt x="522" y="732"/>
                  </a:lnTo>
                  <a:lnTo>
                    <a:pt x="510" y="726"/>
                  </a:lnTo>
                  <a:lnTo>
                    <a:pt x="510" y="720"/>
                  </a:lnTo>
                  <a:lnTo>
                    <a:pt x="504" y="720"/>
                  </a:lnTo>
                  <a:lnTo>
                    <a:pt x="504" y="714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8" y="702"/>
                  </a:lnTo>
                  <a:lnTo>
                    <a:pt x="498" y="696"/>
                  </a:lnTo>
                  <a:lnTo>
                    <a:pt x="492" y="690"/>
                  </a:lnTo>
                  <a:lnTo>
                    <a:pt x="492" y="684"/>
                  </a:lnTo>
                  <a:lnTo>
                    <a:pt x="486" y="684"/>
                  </a:lnTo>
                  <a:lnTo>
                    <a:pt x="486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74" y="678"/>
                  </a:lnTo>
                  <a:lnTo>
                    <a:pt x="468" y="678"/>
                  </a:lnTo>
                  <a:lnTo>
                    <a:pt x="462" y="678"/>
                  </a:lnTo>
                  <a:lnTo>
                    <a:pt x="462" y="672"/>
                  </a:lnTo>
                  <a:lnTo>
                    <a:pt x="456" y="672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44" y="666"/>
                  </a:lnTo>
                  <a:lnTo>
                    <a:pt x="438" y="660"/>
                  </a:lnTo>
                  <a:lnTo>
                    <a:pt x="438" y="648"/>
                  </a:lnTo>
                  <a:lnTo>
                    <a:pt x="438" y="642"/>
                  </a:lnTo>
                  <a:lnTo>
                    <a:pt x="438" y="636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36"/>
                  </a:lnTo>
                  <a:lnTo>
                    <a:pt x="420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60"/>
                  </a:lnTo>
                  <a:lnTo>
                    <a:pt x="432" y="666"/>
                  </a:lnTo>
                  <a:lnTo>
                    <a:pt x="438" y="666"/>
                  </a:lnTo>
                  <a:lnTo>
                    <a:pt x="438" y="672"/>
                  </a:lnTo>
                  <a:lnTo>
                    <a:pt x="444" y="672"/>
                  </a:lnTo>
                  <a:lnTo>
                    <a:pt x="444" y="678"/>
                  </a:lnTo>
                  <a:lnTo>
                    <a:pt x="450" y="678"/>
                  </a:lnTo>
                  <a:lnTo>
                    <a:pt x="456" y="678"/>
                  </a:lnTo>
                  <a:lnTo>
                    <a:pt x="456" y="684"/>
                  </a:lnTo>
                  <a:lnTo>
                    <a:pt x="462" y="684"/>
                  </a:lnTo>
                  <a:lnTo>
                    <a:pt x="468" y="684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80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86" y="708"/>
                  </a:lnTo>
                  <a:lnTo>
                    <a:pt x="492" y="714"/>
                  </a:lnTo>
                  <a:lnTo>
                    <a:pt x="492" y="720"/>
                  </a:lnTo>
                  <a:lnTo>
                    <a:pt x="492" y="726"/>
                  </a:lnTo>
                  <a:lnTo>
                    <a:pt x="498" y="732"/>
                  </a:lnTo>
                  <a:lnTo>
                    <a:pt x="492" y="738"/>
                  </a:lnTo>
                  <a:lnTo>
                    <a:pt x="492" y="744"/>
                  </a:lnTo>
                  <a:lnTo>
                    <a:pt x="492" y="750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68" y="738"/>
                  </a:lnTo>
                  <a:lnTo>
                    <a:pt x="468" y="744"/>
                  </a:lnTo>
                  <a:lnTo>
                    <a:pt x="474" y="750"/>
                  </a:lnTo>
                  <a:lnTo>
                    <a:pt x="480" y="756"/>
                  </a:lnTo>
                  <a:lnTo>
                    <a:pt x="486" y="756"/>
                  </a:lnTo>
                  <a:lnTo>
                    <a:pt x="492" y="762"/>
                  </a:lnTo>
                  <a:lnTo>
                    <a:pt x="498" y="768"/>
                  </a:lnTo>
                  <a:lnTo>
                    <a:pt x="492" y="774"/>
                  </a:lnTo>
                  <a:lnTo>
                    <a:pt x="492" y="780"/>
                  </a:lnTo>
                  <a:lnTo>
                    <a:pt x="498" y="780"/>
                  </a:lnTo>
                  <a:lnTo>
                    <a:pt x="492" y="786"/>
                  </a:lnTo>
                  <a:lnTo>
                    <a:pt x="492" y="792"/>
                  </a:lnTo>
                  <a:lnTo>
                    <a:pt x="492" y="79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0" y="810"/>
                  </a:lnTo>
                  <a:lnTo>
                    <a:pt x="480" y="804"/>
                  </a:lnTo>
                  <a:lnTo>
                    <a:pt x="474" y="804"/>
                  </a:lnTo>
                  <a:lnTo>
                    <a:pt x="474" y="798"/>
                  </a:lnTo>
                  <a:lnTo>
                    <a:pt x="474" y="804"/>
                  </a:lnTo>
                  <a:lnTo>
                    <a:pt x="468" y="804"/>
                  </a:lnTo>
                  <a:lnTo>
                    <a:pt x="468" y="810"/>
                  </a:lnTo>
                  <a:lnTo>
                    <a:pt x="462" y="810"/>
                  </a:lnTo>
                  <a:lnTo>
                    <a:pt x="456" y="810"/>
                  </a:lnTo>
                  <a:lnTo>
                    <a:pt x="450" y="810"/>
                  </a:lnTo>
                  <a:lnTo>
                    <a:pt x="450" y="816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50" y="822"/>
                  </a:lnTo>
                  <a:lnTo>
                    <a:pt x="450" y="816"/>
                  </a:lnTo>
                  <a:lnTo>
                    <a:pt x="444" y="816"/>
                  </a:lnTo>
                  <a:lnTo>
                    <a:pt x="438" y="810"/>
                  </a:lnTo>
                  <a:lnTo>
                    <a:pt x="432" y="810"/>
                  </a:lnTo>
                  <a:lnTo>
                    <a:pt x="426" y="804"/>
                  </a:lnTo>
                  <a:lnTo>
                    <a:pt x="426" y="798"/>
                  </a:lnTo>
                  <a:lnTo>
                    <a:pt x="420" y="798"/>
                  </a:lnTo>
                  <a:lnTo>
                    <a:pt x="426" y="798"/>
                  </a:lnTo>
                  <a:lnTo>
                    <a:pt x="426" y="792"/>
                  </a:lnTo>
                  <a:lnTo>
                    <a:pt x="426" y="786"/>
                  </a:lnTo>
                  <a:lnTo>
                    <a:pt x="432" y="786"/>
                  </a:lnTo>
                  <a:lnTo>
                    <a:pt x="432" y="780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0" y="756"/>
                  </a:lnTo>
                  <a:lnTo>
                    <a:pt x="420" y="750"/>
                  </a:lnTo>
                  <a:lnTo>
                    <a:pt x="414" y="750"/>
                  </a:lnTo>
                  <a:lnTo>
                    <a:pt x="420" y="750"/>
                  </a:lnTo>
                  <a:lnTo>
                    <a:pt x="420" y="744"/>
                  </a:lnTo>
                  <a:lnTo>
                    <a:pt x="414" y="744"/>
                  </a:lnTo>
                  <a:lnTo>
                    <a:pt x="414" y="738"/>
                  </a:lnTo>
                  <a:lnTo>
                    <a:pt x="414" y="732"/>
                  </a:lnTo>
                  <a:lnTo>
                    <a:pt x="408" y="732"/>
                  </a:lnTo>
                  <a:lnTo>
                    <a:pt x="408" y="726"/>
                  </a:lnTo>
                  <a:lnTo>
                    <a:pt x="402" y="726"/>
                  </a:lnTo>
                  <a:lnTo>
                    <a:pt x="396" y="726"/>
                  </a:lnTo>
                  <a:lnTo>
                    <a:pt x="390" y="726"/>
                  </a:lnTo>
                  <a:lnTo>
                    <a:pt x="390" y="720"/>
                  </a:lnTo>
                  <a:lnTo>
                    <a:pt x="390" y="714"/>
                  </a:lnTo>
                  <a:lnTo>
                    <a:pt x="384" y="708"/>
                  </a:lnTo>
                  <a:lnTo>
                    <a:pt x="384" y="702"/>
                  </a:lnTo>
                  <a:lnTo>
                    <a:pt x="378" y="702"/>
                  </a:lnTo>
                  <a:lnTo>
                    <a:pt x="378" y="696"/>
                  </a:lnTo>
                  <a:lnTo>
                    <a:pt x="378" y="690"/>
                  </a:lnTo>
                  <a:lnTo>
                    <a:pt x="372" y="684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66" y="666"/>
                  </a:lnTo>
                  <a:lnTo>
                    <a:pt x="366" y="660"/>
                  </a:lnTo>
                  <a:lnTo>
                    <a:pt x="366" y="654"/>
                  </a:lnTo>
                  <a:lnTo>
                    <a:pt x="360" y="648"/>
                  </a:lnTo>
                  <a:lnTo>
                    <a:pt x="360" y="654"/>
                  </a:lnTo>
                  <a:lnTo>
                    <a:pt x="360" y="660"/>
                  </a:lnTo>
                  <a:lnTo>
                    <a:pt x="360" y="666"/>
                  </a:lnTo>
                  <a:lnTo>
                    <a:pt x="360" y="672"/>
                  </a:lnTo>
                  <a:lnTo>
                    <a:pt x="360" y="678"/>
                  </a:lnTo>
                  <a:lnTo>
                    <a:pt x="366" y="678"/>
                  </a:lnTo>
                  <a:lnTo>
                    <a:pt x="366" y="684"/>
                  </a:lnTo>
                  <a:lnTo>
                    <a:pt x="366" y="690"/>
                  </a:lnTo>
                  <a:lnTo>
                    <a:pt x="372" y="696"/>
                  </a:lnTo>
                  <a:lnTo>
                    <a:pt x="372" y="702"/>
                  </a:lnTo>
                  <a:lnTo>
                    <a:pt x="372" y="708"/>
                  </a:lnTo>
                  <a:lnTo>
                    <a:pt x="372" y="714"/>
                  </a:lnTo>
                  <a:lnTo>
                    <a:pt x="366" y="714"/>
                  </a:lnTo>
                  <a:lnTo>
                    <a:pt x="360" y="714"/>
                  </a:lnTo>
                  <a:lnTo>
                    <a:pt x="354" y="714"/>
                  </a:lnTo>
                  <a:lnTo>
                    <a:pt x="348" y="714"/>
                  </a:lnTo>
                  <a:lnTo>
                    <a:pt x="348" y="708"/>
                  </a:lnTo>
                  <a:lnTo>
                    <a:pt x="342" y="708"/>
                  </a:lnTo>
                  <a:lnTo>
                    <a:pt x="342" y="702"/>
                  </a:lnTo>
                  <a:lnTo>
                    <a:pt x="342" y="696"/>
                  </a:lnTo>
                  <a:lnTo>
                    <a:pt x="336" y="696"/>
                  </a:lnTo>
                  <a:lnTo>
                    <a:pt x="336" y="690"/>
                  </a:lnTo>
                  <a:lnTo>
                    <a:pt x="336" y="684"/>
                  </a:lnTo>
                  <a:lnTo>
                    <a:pt x="330" y="684"/>
                  </a:lnTo>
                  <a:lnTo>
                    <a:pt x="330" y="678"/>
                  </a:lnTo>
                  <a:lnTo>
                    <a:pt x="324" y="672"/>
                  </a:lnTo>
                  <a:lnTo>
                    <a:pt x="324" y="666"/>
                  </a:lnTo>
                  <a:lnTo>
                    <a:pt x="318" y="666"/>
                  </a:lnTo>
                  <a:lnTo>
                    <a:pt x="318" y="672"/>
                  </a:lnTo>
                  <a:lnTo>
                    <a:pt x="324" y="672"/>
                  </a:lnTo>
                  <a:lnTo>
                    <a:pt x="324" y="678"/>
                  </a:lnTo>
                  <a:lnTo>
                    <a:pt x="324" y="684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30" y="696"/>
                  </a:lnTo>
                  <a:lnTo>
                    <a:pt x="336" y="702"/>
                  </a:lnTo>
                  <a:lnTo>
                    <a:pt x="342" y="708"/>
                  </a:lnTo>
                  <a:lnTo>
                    <a:pt x="342" y="714"/>
                  </a:lnTo>
                  <a:lnTo>
                    <a:pt x="348" y="720"/>
                  </a:lnTo>
                  <a:lnTo>
                    <a:pt x="342" y="720"/>
                  </a:lnTo>
                  <a:lnTo>
                    <a:pt x="336" y="720"/>
                  </a:lnTo>
                  <a:lnTo>
                    <a:pt x="330" y="720"/>
                  </a:lnTo>
                  <a:lnTo>
                    <a:pt x="330" y="726"/>
                  </a:lnTo>
                  <a:lnTo>
                    <a:pt x="336" y="726"/>
                  </a:lnTo>
                  <a:lnTo>
                    <a:pt x="330" y="732"/>
                  </a:lnTo>
                  <a:lnTo>
                    <a:pt x="330" y="738"/>
                  </a:lnTo>
                  <a:lnTo>
                    <a:pt x="330" y="744"/>
                  </a:lnTo>
                  <a:lnTo>
                    <a:pt x="336" y="744"/>
                  </a:lnTo>
                  <a:lnTo>
                    <a:pt x="342" y="744"/>
                  </a:lnTo>
                  <a:lnTo>
                    <a:pt x="348" y="744"/>
                  </a:lnTo>
                  <a:lnTo>
                    <a:pt x="348" y="750"/>
                  </a:lnTo>
                  <a:lnTo>
                    <a:pt x="354" y="750"/>
                  </a:lnTo>
                  <a:lnTo>
                    <a:pt x="360" y="756"/>
                  </a:lnTo>
                  <a:lnTo>
                    <a:pt x="360" y="762"/>
                  </a:lnTo>
                  <a:lnTo>
                    <a:pt x="366" y="762"/>
                  </a:lnTo>
                  <a:lnTo>
                    <a:pt x="366" y="768"/>
                  </a:lnTo>
                  <a:lnTo>
                    <a:pt x="366" y="774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72" y="792"/>
                  </a:lnTo>
                  <a:lnTo>
                    <a:pt x="372" y="798"/>
                  </a:lnTo>
                  <a:lnTo>
                    <a:pt x="372" y="804"/>
                  </a:lnTo>
                  <a:lnTo>
                    <a:pt x="378" y="804"/>
                  </a:lnTo>
                  <a:lnTo>
                    <a:pt x="378" y="810"/>
                  </a:lnTo>
                  <a:lnTo>
                    <a:pt x="378" y="816"/>
                  </a:lnTo>
                  <a:lnTo>
                    <a:pt x="372" y="816"/>
                  </a:lnTo>
                  <a:lnTo>
                    <a:pt x="378" y="816"/>
                  </a:lnTo>
                  <a:lnTo>
                    <a:pt x="378" y="822"/>
                  </a:lnTo>
                  <a:lnTo>
                    <a:pt x="378" y="828"/>
                  </a:lnTo>
                  <a:lnTo>
                    <a:pt x="378" y="834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0" y="864"/>
                  </a:lnTo>
                  <a:lnTo>
                    <a:pt x="384" y="864"/>
                  </a:lnTo>
                  <a:lnTo>
                    <a:pt x="384" y="870"/>
                  </a:lnTo>
                  <a:lnTo>
                    <a:pt x="378" y="864"/>
                  </a:lnTo>
                  <a:lnTo>
                    <a:pt x="372" y="864"/>
                  </a:lnTo>
                  <a:lnTo>
                    <a:pt x="366" y="858"/>
                  </a:lnTo>
                  <a:lnTo>
                    <a:pt x="366" y="852"/>
                  </a:lnTo>
                  <a:lnTo>
                    <a:pt x="360" y="852"/>
                  </a:lnTo>
                  <a:lnTo>
                    <a:pt x="360" y="858"/>
                  </a:lnTo>
                  <a:lnTo>
                    <a:pt x="366" y="858"/>
                  </a:lnTo>
                  <a:lnTo>
                    <a:pt x="366" y="864"/>
                  </a:lnTo>
                  <a:lnTo>
                    <a:pt x="360" y="864"/>
                  </a:lnTo>
                  <a:lnTo>
                    <a:pt x="354" y="864"/>
                  </a:lnTo>
                  <a:lnTo>
                    <a:pt x="354" y="870"/>
                  </a:lnTo>
                  <a:lnTo>
                    <a:pt x="354" y="864"/>
                  </a:lnTo>
                  <a:lnTo>
                    <a:pt x="348" y="864"/>
                  </a:lnTo>
                  <a:lnTo>
                    <a:pt x="342" y="864"/>
                  </a:lnTo>
                  <a:lnTo>
                    <a:pt x="342" y="858"/>
                  </a:lnTo>
                  <a:lnTo>
                    <a:pt x="336" y="858"/>
                  </a:lnTo>
                  <a:lnTo>
                    <a:pt x="330" y="858"/>
                  </a:lnTo>
                  <a:lnTo>
                    <a:pt x="324" y="858"/>
                  </a:lnTo>
                  <a:lnTo>
                    <a:pt x="318" y="858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0" y="852"/>
                  </a:lnTo>
                  <a:lnTo>
                    <a:pt x="294" y="852"/>
                  </a:lnTo>
                  <a:lnTo>
                    <a:pt x="294" y="846"/>
                  </a:lnTo>
                  <a:lnTo>
                    <a:pt x="288" y="840"/>
                  </a:lnTo>
                  <a:lnTo>
                    <a:pt x="288" y="828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2" y="816"/>
                  </a:lnTo>
                  <a:lnTo>
                    <a:pt x="282" y="810"/>
                  </a:lnTo>
                  <a:lnTo>
                    <a:pt x="276" y="810"/>
                  </a:lnTo>
                  <a:lnTo>
                    <a:pt x="276" y="804"/>
                  </a:lnTo>
                  <a:lnTo>
                    <a:pt x="276" y="798"/>
                  </a:lnTo>
                  <a:lnTo>
                    <a:pt x="276" y="792"/>
                  </a:lnTo>
                  <a:lnTo>
                    <a:pt x="270" y="786"/>
                  </a:lnTo>
                  <a:lnTo>
                    <a:pt x="270" y="780"/>
                  </a:lnTo>
                  <a:lnTo>
                    <a:pt x="270" y="774"/>
                  </a:lnTo>
                  <a:lnTo>
                    <a:pt x="264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64" y="750"/>
                  </a:lnTo>
                  <a:lnTo>
                    <a:pt x="264" y="744"/>
                  </a:lnTo>
                  <a:lnTo>
                    <a:pt x="264" y="738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26"/>
                  </a:lnTo>
                  <a:lnTo>
                    <a:pt x="276" y="720"/>
                  </a:lnTo>
                  <a:lnTo>
                    <a:pt x="282" y="720"/>
                  </a:lnTo>
                  <a:lnTo>
                    <a:pt x="282" y="714"/>
                  </a:lnTo>
                  <a:lnTo>
                    <a:pt x="282" y="708"/>
                  </a:lnTo>
                  <a:lnTo>
                    <a:pt x="276" y="708"/>
                  </a:lnTo>
                  <a:lnTo>
                    <a:pt x="276" y="702"/>
                  </a:lnTo>
                  <a:lnTo>
                    <a:pt x="270" y="702"/>
                  </a:lnTo>
                  <a:lnTo>
                    <a:pt x="270" y="696"/>
                  </a:lnTo>
                  <a:lnTo>
                    <a:pt x="264" y="690"/>
                  </a:lnTo>
                  <a:lnTo>
                    <a:pt x="258" y="690"/>
                  </a:lnTo>
                  <a:lnTo>
                    <a:pt x="258" y="684"/>
                  </a:lnTo>
                  <a:lnTo>
                    <a:pt x="252" y="684"/>
                  </a:lnTo>
                  <a:lnTo>
                    <a:pt x="252" y="678"/>
                  </a:lnTo>
                  <a:lnTo>
                    <a:pt x="246" y="678"/>
                  </a:lnTo>
                  <a:lnTo>
                    <a:pt x="240" y="678"/>
                  </a:lnTo>
                  <a:lnTo>
                    <a:pt x="240" y="684"/>
                  </a:lnTo>
                  <a:lnTo>
                    <a:pt x="246" y="684"/>
                  </a:lnTo>
                  <a:lnTo>
                    <a:pt x="252" y="690"/>
                  </a:lnTo>
                  <a:lnTo>
                    <a:pt x="258" y="690"/>
                  </a:lnTo>
                  <a:lnTo>
                    <a:pt x="258" y="696"/>
                  </a:lnTo>
                  <a:lnTo>
                    <a:pt x="258" y="702"/>
                  </a:lnTo>
                  <a:lnTo>
                    <a:pt x="264" y="702"/>
                  </a:lnTo>
                  <a:lnTo>
                    <a:pt x="270" y="708"/>
                  </a:lnTo>
                  <a:lnTo>
                    <a:pt x="270" y="714"/>
                  </a:lnTo>
                  <a:lnTo>
                    <a:pt x="270" y="720"/>
                  </a:lnTo>
                  <a:lnTo>
                    <a:pt x="276" y="720"/>
                  </a:lnTo>
                  <a:lnTo>
                    <a:pt x="270" y="720"/>
                  </a:lnTo>
                  <a:lnTo>
                    <a:pt x="270" y="726"/>
                  </a:lnTo>
                  <a:lnTo>
                    <a:pt x="264" y="726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52" y="738"/>
                  </a:lnTo>
                  <a:lnTo>
                    <a:pt x="252" y="744"/>
                  </a:lnTo>
                  <a:lnTo>
                    <a:pt x="252" y="750"/>
                  </a:lnTo>
                  <a:lnTo>
                    <a:pt x="252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58" y="774"/>
                  </a:lnTo>
                  <a:lnTo>
                    <a:pt x="258" y="780"/>
                  </a:lnTo>
                  <a:lnTo>
                    <a:pt x="264" y="786"/>
                  </a:lnTo>
                  <a:lnTo>
                    <a:pt x="264" y="792"/>
                  </a:lnTo>
                  <a:lnTo>
                    <a:pt x="264" y="798"/>
                  </a:lnTo>
                  <a:lnTo>
                    <a:pt x="270" y="810"/>
                  </a:lnTo>
                  <a:lnTo>
                    <a:pt x="270" y="816"/>
                  </a:lnTo>
                  <a:lnTo>
                    <a:pt x="270" y="822"/>
                  </a:lnTo>
                  <a:lnTo>
                    <a:pt x="276" y="822"/>
                  </a:lnTo>
                  <a:lnTo>
                    <a:pt x="276" y="828"/>
                  </a:lnTo>
                  <a:lnTo>
                    <a:pt x="276" y="834"/>
                  </a:lnTo>
                  <a:lnTo>
                    <a:pt x="276" y="840"/>
                  </a:lnTo>
                  <a:lnTo>
                    <a:pt x="276" y="846"/>
                  </a:lnTo>
                  <a:lnTo>
                    <a:pt x="282" y="852"/>
                  </a:lnTo>
                  <a:lnTo>
                    <a:pt x="282" y="858"/>
                  </a:lnTo>
                  <a:lnTo>
                    <a:pt x="294" y="864"/>
                  </a:lnTo>
                  <a:lnTo>
                    <a:pt x="300" y="870"/>
                  </a:lnTo>
                  <a:lnTo>
                    <a:pt x="300" y="876"/>
                  </a:lnTo>
                  <a:lnTo>
                    <a:pt x="288" y="876"/>
                  </a:lnTo>
                  <a:lnTo>
                    <a:pt x="282" y="876"/>
                  </a:lnTo>
                  <a:lnTo>
                    <a:pt x="276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2" y="882"/>
                  </a:lnTo>
                  <a:lnTo>
                    <a:pt x="246" y="882"/>
                  </a:lnTo>
                  <a:lnTo>
                    <a:pt x="240" y="882"/>
                  </a:lnTo>
                  <a:lnTo>
                    <a:pt x="234" y="882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204" y="876"/>
                  </a:lnTo>
                  <a:lnTo>
                    <a:pt x="198" y="876"/>
                  </a:lnTo>
                  <a:lnTo>
                    <a:pt x="198" y="870"/>
                  </a:lnTo>
                  <a:lnTo>
                    <a:pt x="198" y="852"/>
                  </a:lnTo>
                  <a:lnTo>
                    <a:pt x="198" y="846"/>
                  </a:lnTo>
                  <a:lnTo>
                    <a:pt x="204" y="846"/>
                  </a:lnTo>
                  <a:lnTo>
                    <a:pt x="198" y="840"/>
                  </a:lnTo>
                  <a:lnTo>
                    <a:pt x="198" y="834"/>
                  </a:lnTo>
                  <a:lnTo>
                    <a:pt x="198" y="828"/>
                  </a:lnTo>
                  <a:lnTo>
                    <a:pt x="198" y="822"/>
                  </a:lnTo>
                  <a:lnTo>
                    <a:pt x="198" y="816"/>
                  </a:lnTo>
                  <a:lnTo>
                    <a:pt x="198" y="810"/>
                  </a:lnTo>
                  <a:lnTo>
                    <a:pt x="192" y="810"/>
                  </a:lnTo>
                  <a:lnTo>
                    <a:pt x="192" y="804"/>
                  </a:lnTo>
                  <a:lnTo>
                    <a:pt x="192" y="798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2" y="774"/>
                  </a:lnTo>
                  <a:lnTo>
                    <a:pt x="192" y="768"/>
                  </a:lnTo>
                  <a:lnTo>
                    <a:pt x="198" y="768"/>
                  </a:lnTo>
                  <a:lnTo>
                    <a:pt x="198" y="762"/>
                  </a:lnTo>
                  <a:lnTo>
                    <a:pt x="198" y="756"/>
                  </a:lnTo>
                  <a:lnTo>
                    <a:pt x="204" y="756"/>
                  </a:lnTo>
                  <a:lnTo>
                    <a:pt x="204" y="750"/>
                  </a:lnTo>
                  <a:lnTo>
                    <a:pt x="210" y="744"/>
                  </a:lnTo>
                  <a:lnTo>
                    <a:pt x="210" y="738"/>
                  </a:lnTo>
                  <a:lnTo>
                    <a:pt x="210" y="732"/>
                  </a:lnTo>
                  <a:lnTo>
                    <a:pt x="210" y="726"/>
                  </a:lnTo>
                  <a:lnTo>
                    <a:pt x="210" y="720"/>
                  </a:lnTo>
                  <a:lnTo>
                    <a:pt x="204" y="714"/>
                  </a:lnTo>
                  <a:lnTo>
                    <a:pt x="204" y="720"/>
                  </a:lnTo>
                  <a:lnTo>
                    <a:pt x="204" y="732"/>
                  </a:lnTo>
                  <a:lnTo>
                    <a:pt x="204" y="738"/>
                  </a:lnTo>
                  <a:lnTo>
                    <a:pt x="198" y="738"/>
                  </a:lnTo>
                  <a:lnTo>
                    <a:pt x="198" y="744"/>
                  </a:lnTo>
                  <a:lnTo>
                    <a:pt x="198" y="750"/>
                  </a:lnTo>
                  <a:lnTo>
                    <a:pt x="192" y="756"/>
                  </a:lnTo>
                  <a:lnTo>
                    <a:pt x="186" y="762"/>
                  </a:lnTo>
                  <a:lnTo>
                    <a:pt x="186" y="768"/>
                  </a:lnTo>
                  <a:lnTo>
                    <a:pt x="186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98"/>
                  </a:lnTo>
                  <a:lnTo>
                    <a:pt x="186" y="804"/>
                  </a:lnTo>
                  <a:lnTo>
                    <a:pt x="186" y="810"/>
                  </a:lnTo>
                  <a:lnTo>
                    <a:pt x="192" y="816"/>
                  </a:lnTo>
                  <a:lnTo>
                    <a:pt x="192" y="828"/>
                  </a:lnTo>
                  <a:lnTo>
                    <a:pt x="192" y="834"/>
                  </a:lnTo>
                  <a:lnTo>
                    <a:pt x="186" y="834"/>
                  </a:lnTo>
                  <a:lnTo>
                    <a:pt x="186" y="828"/>
                  </a:lnTo>
                  <a:lnTo>
                    <a:pt x="180" y="822"/>
                  </a:lnTo>
                  <a:lnTo>
                    <a:pt x="180" y="816"/>
                  </a:lnTo>
                  <a:lnTo>
                    <a:pt x="180" y="810"/>
                  </a:lnTo>
                  <a:lnTo>
                    <a:pt x="174" y="810"/>
                  </a:lnTo>
                  <a:lnTo>
                    <a:pt x="174" y="804"/>
                  </a:lnTo>
                  <a:lnTo>
                    <a:pt x="174" y="798"/>
                  </a:lnTo>
                  <a:lnTo>
                    <a:pt x="174" y="792"/>
                  </a:lnTo>
                  <a:lnTo>
                    <a:pt x="168" y="786"/>
                  </a:lnTo>
                  <a:lnTo>
                    <a:pt x="168" y="780"/>
                  </a:lnTo>
                  <a:lnTo>
                    <a:pt x="162" y="780"/>
                  </a:lnTo>
                  <a:lnTo>
                    <a:pt x="168" y="774"/>
                  </a:lnTo>
                  <a:lnTo>
                    <a:pt x="168" y="768"/>
                  </a:lnTo>
                  <a:lnTo>
                    <a:pt x="174" y="768"/>
                  </a:lnTo>
                  <a:lnTo>
                    <a:pt x="168" y="768"/>
                  </a:lnTo>
                  <a:lnTo>
                    <a:pt x="162" y="774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50" y="774"/>
                  </a:lnTo>
                  <a:lnTo>
                    <a:pt x="144" y="774"/>
                  </a:lnTo>
                  <a:lnTo>
                    <a:pt x="144" y="768"/>
                  </a:lnTo>
                  <a:lnTo>
                    <a:pt x="144" y="762"/>
                  </a:lnTo>
                  <a:lnTo>
                    <a:pt x="138" y="756"/>
                  </a:lnTo>
                  <a:lnTo>
                    <a:pt x="132" y="756"/>
                  </a:lnTo>
                  <a:lnTo>
                    <a:pt x="138" y="756"/>
                  </a:lnTo>
                  <a:lnTo>
                    <a:pt x="138" y="762"/>
                  </a:lnTo>
                  <a:lnTo>
                    <a:pt x="138" y="768"/>
                  </a:lnTo>
                  <a:lnTo>
                    <a:pt x="144" y="768"/>
                  </a:lnTo>
                  <a:lnTo>
                    <a:pt x="144" y="774"/>
                  </a:lnTo>
                  <a:lnTo>
                    <a:pt x="150" y="780"/>
                  </a:lnTo>
                  <a:lnTo>
                    <a:pt x="156" y="780"/>
                  </a:lnTo>
                  <a:lnTo>
                    <a:pt x="156" y="786"/>
                  </a:lnTo>
                  <a:lnTo>
                    <a:pt x="162" y="786"/>
                  </a:lnTo>
                  <a:lnTo>
                    <a:pt x="168" y="792"/>
                  </a:lnTo>
                  <a:lnTo>
                    <a:pt x="168" y="798"/>
                  </a:lnTo>
                  <a:lnTo>
                    <a:pt x="168" y="804"/>
                  </a:lnTo>
                  <a:lnTo>
                    <a:pt x="174" y="810"/>
                  </a:lnTo>
                  <a:lnTo>
                    <a:pt x="174" y="816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68" y="828"/>
                  </a:lnTo>
                  <a:lnTo>
                    <a:pt x="168" y="834"/>
                  </a:lnTo>
                  <a:lnTo>
                    <a:pt x="174" y="840"/>
                  </a:lnTo>
                  <a:lnTo>
                    <a:pt x="180" y="840"/>
                  </a:lnTo>
                  <a:lnTo>
                    <a:pt x="180" y="846"/>
                  </a:lnTo>
                  <a:lnTo>
                    <a:pt x="186" y="846"/>
                  </a:lnTo>
                  <a:lnTo>
                    <a:pt x="186" y="852"/>
                  </a:lnTo>
                  <a:lnTo>
                    <a:pt x="186" y="858"/>
                  </a:lnTo>
                  <a:lnTo>
                    <a:pt x="186" y="864"/>
                  </a:lnTo>
                  <a:lnTo>
                    <a:pt x="192" y="864"/>
                  </a:lnTo>
                  <a:lnTo>
                    <a:pt x="192" y="870"/>
                  </a:lnTo>
                  <a:lnTo>
                    <a:pt x="192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6" y="888"/>
                  </a:lnTo>
                  <a:lnTo>
                    <a:pt x="180" y="888"/>
                  </a:lnTo>
                  <a:lnTo>
                    <a:pt x="174" y="888"/>
                  </a:lnTo>
                  <a:lnTo>
                    <a:pt x="168" y="894"/>
                  </a:lnTo>
                  <a:lnTo>
                    <a:pt x="162" y="894"/>
                  </a:lnTo>
                  <a:lnTo>
                    <a:pt x="156" y="894"/>
                  </a:lnTo>
                  <a:lnTo>
                    <a:pt x="150" y="894"/>
                  </a:lnTo>
                  <a:lnTo>
                    <a:pt x="144" y="894"/>
                  </a:lnTo>
                  <a:lnTo>
                    <a:pt x="144" y="900"/>
                  </a:lnTo>
                  <a:lnTo>
                    <a:pt x="138" y="894"/>
                  </a:lnTo>
                  <a:lnTo>
                    <a:pt x="138" y="900"/>
                  </a:lnTo>
                  <a:lnTo>
                    <a:pt x="132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6" y="882"/>
                  </a:lnTo>
                  <a:lnTo>
                    <a:pt x="126" y="876"/>
                  </a:lnTo>
                  <a:lnTo>
                    <a:pt x="120" y="876"/>
                  </a:lnTo>
                  <a:lnTo>
                    <a:pt x="126" y="870"/>
                  </a:lnTo>
                  <a:lnTo>
                    <a:pt x="126" y="864"/>
                  </a:lnTo>
                  <a:lnTo>
                    <a:pt x="126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26" y="828"/>
                  </a:lnTo>
                  <a:lnTo>
                    <a:pt x="126" y="822"/>
                  </a:lnTo>
                  <a:lnTo>
                    <a:pt x="126" y="816"/>
                  </a:lnTo>
                  <a:lnTo>
                    <a:pt x="126" y="810"/>
                  </a:lnTo>
                  <a:lnTo>
                    <a:pt x="126" y="804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20" y="792"/>
                  </a:lnTo>
                  <a:lnTo>
                    <a:pt x="114" y="792"/>
                  </a:lnTo>
                  <a:lnTo>
                    <a:pt x="114" y="786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96" y="780"/>
                  </a:lnTo>
                  <a:lnTo>
                    <a:pt x="96" y="774"/>
                  </a:lnTo>
                  <a:lnTo>
                    <a:pt x="90" y="774"/>
                  </a:lnTo>
                  <a:lnTo>
                    <a:pt x="90" y="768"/>
                  </a:lnTo>
                  <a:close/>
                  <a:moveTo>
                    <a:pt x="96" y="780"/>
                  </a:moveTo>
                  <a:lnTo>
                    <a:pt x="102" y="780"/>
                  </a:lnTo>
                  <a:lnTo>
                    <a:pt x="102" y="786"/>
                  </a:lnTo>
                  <a:lnTo>
                    <a:pt x="108" y="786"/>
                  </a:lnTo>
                  <a:lnTo>
                    <a:pt x="114" y="792"/>
                  </a:lnTo>
                  <a:lnTo>
                    <a:pt x="120" y="798"/>
                  </a:lnTo>
                  <a:lnTo>
                    <a:pt x="120" y="804"/>
                  </a:lnTo>
                  <a:lnTo>
                    <a:pt x="126" y="810"/>
                  </a:lnTo>
                  <a:lnTo>
                    <a:pt x="126" y="816"/>
                  </a:lnTo>
                  <a:lnTo>
                    <a:pt x="126" y="822"/>
                  </a:lnTo>
                  <a:lnTo>
                    <a:pt x="120" y="828"/>
                  </a:lnTo>
                  <a:lnTo>
                    <a:pt x="120" y="840"/>
                  </a:lnTo>
                  <a:lnTo>
                    <a:pt x="120" y="852"/>
                  </a:lnTo>
                  <a:lnTo>
                    <a:pt x="120" y="858"/>
                  </a:lnTo>
                  <a:lnTo>
                    <a:pt x="120" y="864"/>
                  </a:lnTo>
                  <a:lnTo>
                    <a:pt x="120" y="870"/>
                  </a:lnTo>
                  <a:lnTo>
                    <a:pt x="114" y="870"/>
                  </a:lnTo>
                  <a:lnTo>
                    <a:pt x="108" y="870"/>
                  </a:lnTo>
                  <a:lnTo>
                    <a:pt x="108" y="876"/>
                  </a:lnTo>
                  <a:lnTo>
                    <a:pt x="114" y="876"/>
                  </a:lnTo>
                  <a:lnTo>
                    <a:pt x="120" y="876"/>
                  </a:lnTo>
                  <a:lnTo>
                    <a:pt x="120" y="882"/>
                  </a:lnTo>
                  <a:lnTo>
                    <a:pt x="114" y="888"/>
                  </a:lnTo>
                  <a:lnTo>
                    <a:pt x="120" y="888"/>
                  </a:lnTo>
                  <a:lnTo>
                    <a:pt x="120" y="894"/>
                  </a:lnTo>
                  <a:lnTo>
                    <a:pt x="114" y="894"/>
                  </a:lnTo>
                  <a:lnTo>
                    <a:pt x="108" y="894"/>
                  </a:lnTo>
                  <a:lnTo>
                    <a:pt x="96" y="894"/>
                  </a:lnTo>
                  <a:lnTo>
                    <a:pt x="96" y="882"/>
                  </a:lnTo>
                  <a:lnTo>
                    <a:pt x="96" y="876"/>
                  </a:lnTo>
                  <a:lnTo>
                    <a:pt x="84" y="870"/>
                  </a:lnTo>
                  <a:lnTo>
                    <a:pt x="72" y="864"/>
                  </a:lnTo>
                  <a:lnTo>
                    <a:pt x="72" y="852"/>
                  </a:lnTo>
                  <a:lnTo>
                    <a:pt x="72" y="840"/>
                  </a:lnTo>
                  <a:lnTo>
                    <a:pt x="78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90" y="792"/>
                  </a:lnTo>
                  <a:lnTo>
                    <a:pt x="96" y="780"/>
                  </a:lnTo>
                  <a:close/>
                  <a:moveTo>
                    <a:pt x="492" y="810"/>
                  </a:moveTo>
                  <a:lnTo>
                    <a:pt x="498" y="810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510" y="792"/>
                  </a:lnTo>
                  <a:lnTo>
                    <a:pt x="516" y="786"/>
                  </a:lnTo>
                  <a:lnTo>
                    <a:pt x="522" y="780"/>
                  </a:lnTo>
                  <a:lnTo>
                    <a:pt x="522" y="774"/>
                  </a:lnTo>
                  <a:lnTo>
                    <a:pt x="528" y="768"/>
                  </a:lnTo>
                  <a:lnTo>
                    <a:pt x="528" y="762"/>
                  </a:lnTo>
                  <a:lnTo>
                    <a:pt x="534" y="762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46" y="780"/>
                  </a:lnTo>
                  <a:lnTo>
                    <a:pt x="552" y="786"/>
                  </a:lnTo>
                  <a:lnTo>
                    <a:pt x="558" y="786"/>
                  </a:lnTo>
                  <a:lnTo>
                    <a:pt x="564" y="786"/>
                  </a:lnTo>
                  <a:lnTo>
                    <a:pt x="576" y="786"/>
                  </a:lnTo>
                  <a:lnTo>
                    <a:pt x="582" y="786"/>
                  </a:lnTo>
                  <a:lnTo>
                    <a:pt x="588" y="786"/>
                  </a:lnTo>
                  <a:lnTo>
                    <a:pt x="594" y="786"/>
                  </a:lnTo>
                  <a:lnTo>
                    <a:pt x="588" y="792"/>
                  </a:lnTo>
                  <a:lnTo>
                    <a:pt x="588" y="798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82" y="822"/>
                  </a:lnTo>
                  <a:lnTo>
                    <a:pt x="588" y="828"/>
                  </a:lnTo>
                  <a:lnTo>
                    <a:pt x="588" y="834"/>
                  </a:lnTo>
                  <a:lnTo>
                    <a:pt x="582" y="840"/>
                  </a:lnTo>
                  <a:lnTo>
                    <a:pt x="570" y="840"/>
                  </a:lnTo>
                  <a:lnTo>
                    <a:pt x="558" y="846"/>
                  </a:lnTo>
                  <a:lnTo>
                    <a:pt x="552" y="846"/>
                  </a:lnTo>
                  <a:lnTo>
                    <a:pt x="534" y="852"/>
                  </a:lnTo>
                  <a:lnTo>
                    <a:pt x="522" y="858"/>
                  </a:lnTo>
                  <a:lnTo>
                    <a:pt x="510" y="858"/>
                  </a:lnTo>
                  <a:lnTo>
                    <a:pt x="498" y="864"/>
                  </a:lnTo>
                  <a:lnTo>
                    <a:pt x="474" y="864"/>
                  </a:lnTo>
                  <a:lnTo>
                    <a:pt x="468" y="858"/>
                  </a:lnTo>
                  <a:lnTo>
                    <a:pt x="468" y="852"/>
                  </a:lnTo>
                  <a:lnTo>
                    <a:pt x="468" y="846"/>
                  </a:lnTo>
                  <a:lnTo>
                    <a:pt x="474" y="840"/>
                  </a:lnTo>
                  <a:lnTo>
                    <a:pt x="474" y="834"/>
                  </a:lnTo>
                  <a:lnTo>
                    <a:pt x="480" y="828"/>
                  </a:lnTo>
                  <a:lnTo>
                    <a:pt x="492" y="822"/>
                  </a:lnTo>
                  <a:lnTo>
                    <a:pt x="492" y="810"/>
                  </a:lnTo>
                  <a:close/>
                  <a:moveTo>
                    <a:pt x="384" y="720"/>
                  </a:moveTo>
                  <a:lnTo>
                    <a:pt x="384" y="726"/>
                  </a:lnTo>
                  <a:lnTo>
                    <a:pt x="390" y="726"/>
                  </a:lnTo>
                  <a:lnTo>
                    <a:pt x="396" y="726"/>
                  </a:lnTo>
                  <a:lnTo>
                    <a:pt x="402" y="732"/>
                  </a:lnTo>
                  <a:lnTo>
                    <a:pt x="408" y="732"/>
                  </a:lnTo>
                  <a:lnTo>
                    <a:pt x="414" y="732"/>
                  </a:lnTo>
                  <a:lnTo>
                    <a:pt x="414" y="738"/>
                  </a:lnTo>
                  <a:lnTo>
                    <a:pt x="414" y="744"/>
                  </a:lnTo>
                  <a:lnTo>
                    <a:pt x="414" y="750"/>
                  </a:lnTo>
                  <a:lnTo>
                    <a:pt x="414" y="756"/>
                  </a:lnTo>
                  <a:lnTo>
                    <a:pt x="414" y="762"/>
                  </a:lnTo>
                  <a:lnTo>
                    <a:pt x="420" y="768"/>
                  </a:lnTo>
                  <a:lnTo>
                    <a:pt x="420" y="774"/>
                  </a:lnTo>
                  <a:lnTo>
                    <a:pt x="426" y="780"/>
                  </a:lnTo>
                  <a:lnTo>
                    <a:pt x="426" y="786"/>
                  </a:lnTo>
                  <a:lnTo>
                    <a:pt x="420" y="786"/>
                  </a:lnTo>
                  <a:lnTo>
                    <a:pt x="420" y="792"/>
                  </a:lnTo>
                  <a:lnTo>
                    <a:pt x="420" y="798"/>
                  </a:lnTo>
                  <a:lnTo>
                    <a:pt x="420" y="804"/>
                  </a:lnTo>
                  <a:lnTo>
                    <a:pt x="426" y="804"/>
                  </a:lnTo>
                  <a:lnTo>
                    <a:pt x="426" y="810"/>
                  </a:lnTo>
                  <a:lnTo>
                    <a:pt x="426" y="816"/>
                  </a:lnTo>
                  <a:lnTo>
                    <a:pt x="432" y="816"/>
                  </a:lnTo>
                  <a:lnTo>
                    <a:pt x="438" y="816"/>
                  </a:lnTo>
                  <a:lnTo>
                    <a:pt x="438" y="822"/>
                  </a:lnTo>
                  <a:lnTo>
                    <a:pt x="432" y="822"/>
                  </a:lnTo>
                  <a:lnTo>
                    <a:pt x="426" y="828"/>
                  </a:lnTo>
                  <a:lnTo>
                    <a:pt x="420" y="828"/>
                  </a:lnTo>
                  <a:lnTo>
                    <a:pt x="414" y="828"/>
                  </a:lnTo>
                  <a:lnTo>
                    <a:pt x="408" y="828"/>
                  </a:lnTo>
                  <a:lnTo>
                    <a:pt x="402" y="828"/>
                  </a:lnTo>
                  <a:lnTo>
                    <a:pt x="402" y="822"/>
                  </a:lnTo>
                  <a:lnTo>
                    <a:pt x="396" y="822"/>
                  </a:lnTo>
                  <a:lnTo>
                    <a:pt x="402" y="822"/>
                  </a:lnTo>
                  <a:lnTo>
                    <a:pt x="402" y="816"/>
                  </a:lnTo>
                  <a:lnTo>
                    <a:pt x="396" y="816"/>
                  </a:lnTo>
                  <a:lnTo>
                    <a:pt x="396" y="810"/>
                  </a:lnTo>
                  <a:lnTo>
                    <a:pt x="396" y="804"/>
                  </a:lnTo>
                  <a:lnTo>
                    <a:pt x="390" y="798"/>
                  </a:lnTo>
                  <a:lnTo>
                    <a:pt x="390" y="792"/>
                  </a:lnTo>
                  <a:lnTo>
                    <a:pt x="390" y="786"/>
                  </a:lnTo>
                  <a:lnTo>
                    <a:pt x="390" y="780"/>
                  </a:lnTo>
                  <a:lnTo>
                    <a:pt x="390" y="774"/>
                  </a:lnTo>
                  <a:lnTo>
                    <a:pt x="390" y="768"/>
                  </a:lnTo>
                  <a:lnTo>
                    <a:pt x="390" y="762"/>
                  </a:lnTo>
                  <a:lnTo>
                    <a:pt x="384" y="756"/>
                  </a:lnTo>
                  <a:lnTo>
                    <a:pt x="384" y="750"/>
                  </a:lnTo>
                  <a:lnTo>
                    <a:pt x="384" y="744"/>
                  </a:lnTo>
                  <a:lnTo>
                    <a:pt x="378" y="744"/>
                  </a:lnTo>
                  <a:lnTo>
                    <a:pt x="384" y="744"/>
                  </a:lnTo>
                  <a:lnTo>
                    <a:pt x="384" y="738"/>
                  </a:lnTo>
                  <a:lnTo>
                    <a:pt x="378" y="738"/>
                  </a:lnTo>
                  <a:lnTo>
                    <a:pt x="378" y="732"/>
                  </a:lnTo>
                  <a:lnTo>
                    <a:pt x="378" y="726"/>
                  </a:lnTo>
                  <a:lnTo>
                    <a:pt x="378" y="720"/>
                  </a:lnTo>
                  <a:lnTo>
                    <a:pt x="384" y="720"/>
                  </a:lnTo>
                  <a:close/>
                  <a:moveTo>
                    <a:pt x="330" y="738"/>
                  </a:moveTo>
                  <a:lnTo>
                    <a:pt x="336" y="732"/>
                  </a:lnTo>
                  <a:lnTo>
                    <a:pt x="336" y="726"/>
                  </a:lnTo>
                  <a:lnTo>
                    <a:pt x="342" y="720"/>
                  </a:lnTo>
                  <a:lnTo>
                    <a:pt x="348" y="720"/>
                  </a:lnTo>
                  <a:lnTo>
                    <a:pt x="360" y="720"/>
                  </a:lnTo>
                  <a:lnTo>
                    <a:pt x="366" y="726"/>
                  </a:lnTo>
                  <a:lnTo>
                    <a:pt x="372" y="732"/>
                  </a:lnTo>
                  <a:lnTo>
                    <a:pt x="372" y="738"/>
                  </a:lnTo>
                  <a:lnTo>
                    <a:pt x="366" y="750"/>
                  </a:lnTo>
                  <a:lnTo>
                    <a:pt x="372" y="756"/>
                  </a:lnTo>
                  <a:lnTo>
                    <a:pt x="372" y="762"/>
                  </a:lnTo>
                  <a:lnTo>
                    <a:pt x="372" y="768"/>
                  </a:lnTo>
                  <a:lnTo>
                    <a:pt x="372" y="774"/>
                  </a:lnTo>
                  <a:lnTo>
                    <a:pt x="372" y="780"/>
                  </a:lnTo>
                  <a:lnTo>
                    <a:pt x="372" y="774"/>
                  </a:lnTo>
                  <a:lnTo>
                    <a:pt x="366" y="768"/>
                  </a:lnTo>
                  <a:lnTo>
                    <a:pt x="366" y="762"/>
                  </a:lnTo>
                  <a:lnTo>
                    <a:pt x="366" y="756"/>
                  </a:lnTo>
                  <a:lnTo>
                    <a:pt x="360" y="756"/>
                  </a:lnTo>
                  <a:lnTo>
                    <a:pt x="360" y="750"/>
                  </a:lnTo>
                  <a:lnTo>
                    <a:pt x="354" y="750"/>
                  </a:lnTo>
                  <a:lnTo>
                    <a:pt x="348" y="744"/>
                  </a:lnTo>
                  <a:lnTo>
                    <a:pt x="342" y="744"/>
                  </a:lnTo>
                  <a:lnTo>
                    <a:pt x="336" y="744"/>
                  </a:lnTo>
                  <a:lnTo>
                    <a:pt x="330" y="73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1" name="Freeform 6">
              <a:extLst>
                <a:ext uri="{FF2B5EF4-FFF2-40B4-BE49-F238E27FC236}">
                  <a16:creationId xmlns:a16="http://schemas.microsoft.com/office/drawing/2014/main" id="{0656C385-F30A-4AC8-AE9F-B1F66208B38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3123" y="4163918"/>
              <a:ext cx="266107" cy="248252"/>
            </a:xfrm>
            <a:custGeom>
              <a:avLst/>
              <a:gdLst>
                <a:gd name="T0" fmla="*/ 33 w 504"/>
                <a:gd name="T1" fmla="*/ 41 h 468"/>
                <a:gd name="T2" fmla="*/ 26 w 504"/>
                <a:gd name="T3" fmla="*/ 39 h 468"/>
                <a:gd name="T4" fmla="*/ 21 w 504"/>
                <a:gd name="T5" fmla="*/ 38 h 468"/>
                <a:gd name="T6" fmla="*/ 18 w 504"/>
                <a:gd name="T7" fmla="*/ 38 h 468"/>
                <a:gd name="T8" fmla="*/ 15 w 504"/>
                <a:gd name="T9" fmla="*/ 39 h 468"/>
                <a:gd name="T10" fmla="*/ 12 w 504"/>
                <a:gd name="T11" fmla="*/ 38 h 468"/>
                <a:gd name="T12" fmla="*/ 9 w 504"/>
                <a:gd name="T13" fmla="*/ 37 h 468"/>
                <a:gd name="T14" fmla="*/ 7 w 504"/>
                <a:gd name="T15" fmla="*/ 32 h 468"/>
                <a:gd name="T16" fmla="*/ 6 w 504"/>
                <a:gd name="T17" fmla="*/ 26 h 468"/>
                <a:gd name="T18" fmla="*/ 3 w 504"/>
                <a:gd name="T19" fmla="*/ 24 h 468"/>
                <a:gd name="T20" fmla="*/ 1 w 504"/>
                <a:gd name="T21" fmla="*/ 24 h 468"/>
                <a:gd name="T22" fmla="*/ 2 w 504"/>
                <a:gd name="T23" fmla="*/ 18 h 468"/>
                <a:gd name="T24" fmla="*/ 1 w 504"/>
                <a:gd name="T25" fmla="*/ 17 h 468"/>
                <a:gd name="T26" fmla="*/ 0 w 504"/>
                <a:gd name="T27" fmla="*/ 17 h 468"/>
                <a:gd name="T28" fmla="*/ 0 w 504"/>
                <a:gd name="T29" fmla="*/ 15 h 468"/>
                <a:gd name="T30" fmla="*/ 2 w 504"/>
                <a:gd name="T31" fmla="*/ 12 h 468"/>
                <a:gd name="T32" fmla="*/ 4 w 504"/>
                <a:gd name="T33" fmla="*/ 10 h 468"/>
                <a:gd name="T34" fmla="*/ 6 w 504"/>
                <a:gd name="T35" fmla="*/ 8 h 468"/>
                <a:gd name="T36" fmla="*/ 8 w 504"/>
                <a:gd name="T37" fmla="*/ 8 h 468"/>
                <a:gd name="T38" fmla="*/ 10 w 504"/>
                <a:gd name="T39" fmla="*/ 9 h 468"/>
                <a:gd name="T40" fmla="*/ 12 w 504"/>
                <a:gd name="T41" fmla="*/ 10 h 468"/>
                <a:gd name="T42" fmla="*/ 12 w 504"/>
                <a:gd name="T43" fmla="*/ 11 h 468"/>
                <a:gd name="T44" fmla="*/ 14 w 504"/>
                <a:gd name="T45" fmla="*/ 8 h 468"/>
                <a:gd name="T46" fmla="*/ 15 w 504"/>
                <a:gd name="T47" fmla="*/ 7 h 468"/>
                <a:gd name="T48" fmla="*/ 17 w 504"/>
                <a:gd name="T49" fmla="*/ 6 h 468"/>
                <a:gd name="T50" fmla="*/ 19 w 504"/>
                <a:gd name="T51" fmla="*/ 3 h 468"/>
                <a:gd name="T52" fmla="*/ 20 w 504"/>
                <a:gd name="T53" fmla="*/ 2 h 468"/>
                <a:gd name="T54" fmla="*/ 22 w 504"/>
                <a:gd name="T55" fmla="*/ 1 h 468"/>
                <a:gd name="T56" fmla="*/ 27 w 504"/>
                <a:gd name="T57" fmla="*/ 1 h 468"/>
                <a:gd name="T58" fmla="*/ 30 w 504"/>
                <a:gd name="T59" fmla="*/ 2 h 468"/>
                <a:gd name="T60" fmla="*/ 31 w 504"/>
                <a:gd name="T61" fmla="*/ 2 h 468"/>
                <a:gd name="T62" fmla="*/ 34 w 504"/>
                <a:gd name="T63" fmla="*/ 0 h 468"/>
                <a:gd name="T64" fmla="*/ 37 w 504"/>
                <a:gd name="T65" fmla="*/ 1 h 468"/>
                <a:gd name="T66" fmla="*/ 41 w 504"/>
                <a:gd name="T67" fmla="*/ 2 h 468"/>
                <a:gd name="T68" fmla="*/ 42 w 504"/>
                <a:gd name="T69" fmla="*/ 4 h 468"/>
                <a:gd name="T70" fmla="*/ 42 w 504"/>
                <a:gd name="T71" fmla="*/ 10 h 468"/>
                <a:gd name="T72" fmla="*/ 41 w 504"/>
                <a:gd name="T73" fmla="*/ 14 h 468"/>
                <a:gd name="T74" fmla="*/ 42 w 504"/>
                <a:gd name="T75" fmla="*/ 15 h 468"/>
                <a:gd name="T76" fmla="*/ 44 w 504"/>
                <a:gd name="T77" fmla="*/ 18 h 468"/>
                <a:gd name="T78" fmla="*/ 43 w 504"/>
                <a:gd name="T79" fmla="*/ 19 h 468"/>
                <a:gd name="T80" fmla="*/ 42 w 504"/>
                <a:gd name="T81" fmla="*/ 21 h 468"/>
                <a:gd name="T82" fmla="*/ 42 w 504"/>
                <a:gd name="T83" fmla="*/ 23 h 468"/>
                <a:gd name="T84" fmla="*/ 39 w 504"/>
                <a:gd name="T85" fmla="*/ 27 h 468"/>
                <a:gd name="T86" fmla="*/ 38 w 504"/>
                <a:gd name="T87" fmla="*/ 29 h 468"/>
                <a:gd name="T88" fmla="*/ 38 w 504"/>
                <a:gd name="T89" fmla="*/ 31 h 468"/>
                <a:gd name="T90" fmla="*/ 36 w 504"/>
                <a:gd name="T91" fmla="*/ 32 h 468"/>
                <a:gd name="T92" fmla="*/ 35 w 504"/>
                <a:gd name="T93" fmla="*/ 34 h 468"/>
                <a:gd name="T94" fmla="*/ 34 w 504"/>
                <a:gd name="T95" fmla="*/ 38 h 46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04"/>
                <a:gd name="T145" fmla="*/ 0 h 468"/>
                <a:gd name="T146" fmla="*/ 504 w 504"/>
                <a:gd name="T147" fmla="*/ 468 h 46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04" h="468">
                  <a:moveTo>
                    <a:pt x="390" y="456"/>
                  </a:moveTo>
                  <a:lnTo>
                    <a:pt x="384" y="468"/>
                  </a:lnTo>
                  <a:lnTo>
                    <a:pt x="378" y="468"/>
                  </a:lnTo>
                  <a:lnTo>
                    <a:pt x="354" y="468"/>
                  </a:lnTo>
                  <a:lnTo>
                    <a:pt x="348" y="462"/>
                  </a:lnTo>
                  <a:lnTo>
                    <a:pt x="300" y="456"/>
                  </a:lnTo>
                  <a:lnTo>
                    <a:pt x="270" y="444"/>
                  </a:lnTo>
                  <a:lnTo>
                    <a:pt x="252" y="438"/>
                  </a:lnTo>
                  <a:lnTo>
                    <a:pt x="240" y="438"/>
                  </a:lnTo>
                  <a:lnTo>
                    <a:pt x="234" y="438"/>
                  </a:lnTo>
                  <a:lnTo>
                    <a:pt x="228" y="444"/>
                  </a:lnTo>
                  <a:lnTo>
                    <a:pt x="210" y="444"/>
                  </a:lnTo>
                  <a:lnTo>
                    <a:pt x="198" y="444"/>
                  </a:lnTo>
                  <a:lnTo>
                    <a:pt x="198" y="450"/>
                  </a:lnTo>
                  <a:lnTo>
                    <a:pt x="168" y="456"/>
                  </a:lnTo>
                  <a:lnTo>
                    <a:pt x="150" y="450"/>
                  </a:lnTo>
                  <a:lnTo>
                    <a:pt x="144" y="444"/>
                  </a:lnTo>
                  <a:lnTo>
                    <a:pt x="132" y="438"/>
                  </a:lnTo>
                  <a:lnTo>
                    <a:pt x="138" y="432"/>
                  </a:lnTo>
                  <a:lnTo>
                    <a:pt x="114" y="432"/>
                  </a:lnTo>
                  <a:lnTo>
                    <a:pt x="102" y="426"/>
                  </a:lnTo>
                  <a:lnTo>
                    <a:pt x="90" y="414"/>
                  </a:lnTo>
                  <a:lnTo>
                    <a:pt x="72" y="402"/>
                  </a:lnTo>
                  <a:lnTo>
                    <a:pt x="78" y="366"/>
                  </a:lnTo>
                  <a:lnTo>
                    <a:pt x="78" y="330"/>
                  </a:lnTo>
                  <a:lnTo>
                    <a:pt x="66" y="318"/>
                  </a:lnTo>
                  <a:lnTo>
                    <a:pt x="66" y="300"/>
                  </a:lnTo>
                  <a:lnTo>
                    <a:pt x="66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30" y="282"/>
                  </a:lnTo>
                  <a:lnTo>
                    <a:pt x="24" y="282"/>
                  </a:lnTo>
                  <a:lnTo>
                    <a:pt x="12" y="276"/>
                  </a:lnTo>
                  <a:lnTo>
                    <a:pt x="0" y="282"/>
                  </a:lnTo>
                  <a:lnTo>
                    <a:pt x="12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2" y="198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6" y="180"/>
                  </a:lnTo>
                  <a:lnTo>
                    <a:pt x="12" y="186"/>
                  </a:lnTo>
                  <a:lnTo>
                    <a:pt x="18" y="138"/>
                  </a:lnTo>
                  <a:lnTo>
                    <a:pt x="24" y="126"/>
                  </a:lnTo>
                  <a:lnTo>
                    <a:pt x="30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20" y="102"/>
                  </a:lnTo>
                  <a:lnTo>
                    <a:pt x="126" y="108"/>
                  </a:lnTo>
                  <a:lnTo>
                    <a:pt x="126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0"/>
                  </a:lnTo>
                  <a:lnTo>
                    <a:pt x="156" y="96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16" y="42"/>
                  </a:lnTo>
                  <a:lnTo>
                    <a:pt x="222" y="36"/>
                  </a:lnTo>
                  <a:lnTo>
                    <a:pt x="228" y="36"/>
                  </a:lnTo>
                  <a:lnTo>
                    <a:pt x="228" y="30"/>
                  </a:lnTo>
                  <a:lnTo>
                    <a:pt x="228" y="24"/>
                  </a:lnTo>
                  <a:lnTo>
                    <a:pt x="246" y="18"/>
                  </a:lnTo>
                  <a:lnTo>
                    <a:pt x="252" y="18"/>
                  </a:lnTo>
                  <a:lnTo>
                    <a:pt x="258" y="12"/>
                  </a:lnTo>
                  <a:lnTo>
                    <a:pt x="270" y="6"/>
                  </a:lnTo>
                  <a:lnTo>
                    <a:pt x="288" y="6"/>
                  </a:lnTo>
                  <a:lnTo>
                    <a:pt x="312" y="12"/>
                  </a:lnTo>
                  <a:lnTo>
                    <a:pt x="324" y="12"/>
                  </a:lnTo>
                  <a:lnTo>
                    <a:pt x="336" y="18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14" y="12"/>
                  </a:lnTo>
                  <a:lnTo>
                    <a:pt x="426" y="12"/>
                  </a:lnTo>
                  <a:lnTo>
                    <a:pt x="444" y="18"/>
                  </a:lnTo>
                  <a:lnTo>
                    <a:pt x="462" y="18"/>
                  </a:lnTo>
                  <a:lnTo>
                    <a:pt x="474" y="18"/>
                  </a:lnTo>
                  <a:lnTo>
                    <a:pt x="480" y="18"/>
                  </a:lnTo>
                  <a:lnTo>
                    <a:pt x="486" y="36"/>
                  </a:lnTo>
                  <a:lnTo>
                    <a:pt x="480" y="42"/>
                  </a:lnTo>
                  <a:lnTo>
                    <a:pt x="480" y="54"/>
                  </a:lnTo>
                  <a:lnTo>
                    <a:pt x="486" y="78"/>
                  </a:lnTo>
                  <a:lnTo>
                    <a:pt x="486" y="114"/>
                  </a:lnTo>
                  <a:lnTo>
                    <a:pt x="486" y="150"/>
                  </a:lnTo>
                  <a:lnTo>
                    <a:pt x="468" y="150"/>
                  </a:lnTo>
                  <a:lnTo>
                    <a:pt x="474" y="162"/>
                  </a:lnTo>
                  <a:lnTo>
                    <a:pt x="480" y="162"/>
                  </a:lnTo>
                  <a:lnTo>
                    <a:pt x="486" y="174"/>
                  </a:lnTo>
                  <a:lnTo>
                    <a:pt x="492" y="174"/>
                  </a:lnTo>
                  <a:lnTo>
                    <a:pt x="492" y="192"/>
                  </a:lnTo>
                  <a:lnTo>
                    <a:pt x="498" y="198"/>
                  </a:lnTo>
                  <a:lnTo>
                    <a:pt x="504" y="204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8" y="222"/>
                  </a:lnTo>
                  <a:lnTo>
                    <a:pt x="492" y="228"/>
                  </a:lnTo>
                  <a:lnTo>
                    <a:pt x="492" y="234"/>
                  </a:lnTo>
                  <a:lnTo>
                    <a:pt x="492" y="240"/>
                  </a:lnTo>
                  <a:lnTo>
                    <a:pt x="486" y="246"/>
                  </a:lnTo>
                  <a:lnTo>
                    <a:pt x="486" y="258"/>
                  </a:lnTo>
                  <a:lnTo>
                    <a:pt x="480" y="264"/>
                  </a:lnTo>
                  <a:lnTo>
                    <a:pt x="474" y="276"/>
                  </a:lnTo>
                  <a:lnTo>
                    <a:pt x="468" y="288"/>
                  </a:lnTo>
                  <a:lnTo>
                    <a:pt x="456" y="306"/>
                  </a:lnTo>
                  <a:lnTo>
                    <a:pt x="456" y="312"/>
                  </a:lnTo>
                  <a:lnTo>
                    <a:pt x="444" y="318"/>
                  </a:lnTo>
                  <a:lnTo>
                    <a:pt x="432" y="336"/>
                  </a:lnTo>
                  <a:lnTo>
                    <a:pt x="432" y="342"/>
                  </a:lnTo>
                  <a:lnTo>
                    <a:pt x="432" y="348"/>
                  </a:lnTo>
                  <a:lnTo>
                    <a:pt x="432" y="354"/>
                  </a:lnTo>
                  <a:lnTo>
                    <a:pt x="426" y="366"/>
                  </a:lnTo>
                  <a:lnTo>
                    <a:pt x="420" y="366"/>
                  </a:lnTo>
                  <a:lnTo>
                    <a:pt x="420" y="372"/>
                  </a:lnTo>
                  <a:lnTo>
                    <a:pt x="414" y="378"/>
                  </a:lnTo>
                  <a:lnTo>
                    <a:pt x="414" y="390"/>
                  </a:lnTo>
                  <a:lnTo>
                    <a:pt x="408" y="390"/>
                  </a:lnTo>
                  <a:lnTo>
                    <a:pt x="408" y="402"/>
                  </a:lnTo>
                  <a:lnTo>
                    <a:pt x="402" y="414"/>
                  </a:lnTo>
                  <a:lnTo>
                    <a:pt x="396" y="438"/>
                  </a:lnTo>
                  <a:lnTo>
                    <a:pt x="396" y="444"/>
                  </a:lnTo>
                  <a:lnTo>
                    <a:pt x="390" y="45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11" name="Freeform 7">
              <a:extLst>
                <a:ext uri="{FF2B5EF4-FFF2-40B4-BE49-F238E27FC236}">
                  <a16:creationId xmlns:a16="http://schemas.microsoft.com/office/drawing/2014/main" id="{0D8DE62D-4554-4314-9F3A-7208D89B4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90838" y="4128134"/>
              <a:ext cx="283995" cy="411516"/>
            </a:xfrm>
            <a:custGeom>
              <a:avLst/>
              <a:gdLst>
                <a:gd name="T0" fmla="*/ 39 w 534"/>
                <a:gd name="T1" fmla="*/ 35 h 774"/>
                <a:gd name="T2" fmla="*/ 35 w 534"/>
                <a:gd name="T3" fmla="*/ 31 h 774"/>
                <a:gd name="T4" fmla="*/ 32 w 534"/>
                <a:gd name="T5" fmla="*/ 29 h 774"/>
                <a:gd name="T6" fmla="*/ 32 w 534"/>
                <a:gd name="T7" fmla="*/ 31 h 774"/>
                <a:gd name="T8" fmla="*/ 29 w 534"/>
                <a:gd name="T9" fmla="*/ 33 h 774"/>
                <a:gd name="T10" fmla="*/ 27 w 534"/>
                <a:gd name="T11" fmla="*/ 36 h 774"/>
                <a:gd name="T12" fmla="*/ 30 w 534"/>
                <a:gd name="T13" fmla="*/ 38 h 774"/>
                <a:gd name="T14" fmla="*/ 29 w 534"/>
                <a:gd name="T15" fmla="*/ 40 h 774"/>
                <a:gd name="T16" fmla="*/ 25 w 534"/>
                <a:gd name="T17" fmla="*/ 40 h 774"/>
                <a:gd name="T18" fmla="*/ 23 w 534"/>
                <a:gd name="T19" fmla="*/ 42 h 774"/>
                <a:gd name="T20" fmla="*/ 22 w 534"/>
                <a:gd name="T21" fmla="*/ 47 h 774"/>
                <a:gd name="T22" fmla="*/ 22 w 534"/>
                <a:gd name="T23" fmla="*/ 51 h 774"/>
                <a:gd name="T24" fmla="*/ 22 w 534"/>
                <a:gd name="T25" fmla="*/ 54 h 774"/>
                <a:gd name="T26" fmla="*/ 21 w 534"/>
                <a:gd name="T27" fmla="*/ 56 h 774"/>
                <a:gd name="T28" fmla="*/ 19 w 534"/>
                <a:gd name="T29" fmla="*/ 58 h 774"/>
                <a:gd name="T30" fmla="*/ 20 w 534"/>
                <a:gd name="T31" fmla="*/ 59 h 774"/>
                <a:gd name="T32" fmla="*/ 19 w 534"/>
                <a:gd name="T33" fmla="*/ 62 h 774"/>
                <a:gd name="T34" fmla="*/ 19 w 534"/>
                <a:gd name="T35" fmla="*/ 64 h 774"/>
                <a:gd name="T36" fmla="*/ 20 w 534"/>
                <a:gd name="T37" fmla="*/ 66 h 774"/>
                <a:gd name="T38" fmla="*/ 17 w 534"/>
                <a:gd name="T39" fmla="*/ 66 h 774"/>
                <a:gd name="T40" fmla="*/ 16 w 534"/>
                <a:gd name="T41" fmla="*/ 65 h 774"/>
                <a:gd name="T42" fmla="*/ 13 w 534"/>
                <a:gd name="T43" fmla="*/ 65 h 774"/>
                <a:gd name="T44" fmla="*/ 11 w 534"/>
                <a:gd name="T45" fmla="*/ 65 h 774"/>
                <a:gd name="T46" fmla="*/ 8 w 534"/>
                <a:gd name="T47" fmla="*/ 65 h 774"/>
                <a:gd name="T48" fmla="*/ 8 w 534"/>
                <a:gd name="T49" fmla="*/ 64 h 774"/>
                <a:gd name="T50" fmla="*/ 5 w 534"/>
                <a:gd name="T51" fmla="*/ 65 h 774"/>
                <a:gd name="T52" fmla="*/ 3 w 534"/>
                <a:gd name="T53" fmla="*/ 65 h 774"/>
                <a:gd name="T54" fmla="*/ 0 w 534"/>
                <a:gd name="T55" fmla="*/ 64 h 774"/>
                <a:gd name="T56" fmla="*/ 0 w 534"/>
                <a:gd name="T57" fmla="*/ 62 h 774"/>
                <a:gd name="T58" fmla="*/ 3 w 534"/>
                <a:gd name="T59" fmla="*/ 60 h 774"/>
                <a:gd name="T60" fmla="*/ 6 w 534"/>
                <a:gd name="T61" fmla="*/ 57 h 774"/>
                <a:gd name="T62" fmla="*/ 8 w 534"/>
                <a:gd name="T63" fmla="*/ 50 h 774"/>
                <a:gd name="T64" fmla="*/ 6 w 534"/>
                <a:gd name="T65" fmla="*/ 45 h 774"/>
                <a:gd name="T66" fmla="*/ 8 w 534"/>
                <a:gd name="T67" fmla="*/ 41 h 774"/>
                <a:gd name="T68" fmla="*/ 9 w 534"/>
                <a:gd name="T69" fmla="*/ 38 h 774"/>
                <a:gd name="T70" fmla="*/ 10 w 534"/>
                <a:gd name="T71" fmla="*/ 36 h 774"/>
                <a:gd name="T72" fmla="*/ 12 w 534"/>
                <a:gd name="T73" fmla="*/ 33 h 774"/>
                <a:gd name="T74" fmla="*/ 14 w 534"/>
                <a:gd name="T75" fmla="*/ 29 h 774"/>
                <a:gd name="T76" fmla="*/ 16 w 534"/>
                <a:gd name="T77" fmla="*/ 26 h 774"/>
                <a:gd name="T78" fmla="*/ 16 w 534"/>
                <a:gd name="T79" fmla="*/ 24 h 774"/>
                <a:gd name="T80" fmla="*/ 16 w 534"/>
                <a:gd name="T81" fmla="*/ 21 h 774"/>
                <a:gd name="T82" fmla="*/ 13 w 534"/>
                <a:gd name="T83" fmla="*/ 19 h 774"/>
                <a:gd name="T84" fmla="*/ 14 w 534"/>
                <a:gd name="T85" fmla="*/ 10 h 774"/>
                <a:gd name="T86" fmla="*/ 14 w 534"/>
                <a:gd name="T87" fmla="*/ 7 h 774"/>
                <a:gd name="T88" fmla="*/ 8 w 534"/>
                <a:gd name="T89" fmla="*/ 7 h 774"/>
                <a:gd name="T90" fmla="*/ 7 w 534"/>
                <a:gd name="T91" fmla="*/ 3 h 774"/>
                <a:gd name="T92" fmla="*/ 11 w 534"/>
                <a:gd name="T93" fmla="*/ 1 h 774"/>
                <a:gd name="T94" fmla="*/ 12 w 534"/>
                <a:gd name="T95" fmla="*/ 0 h 774"/>
                <a:gd name="T96" fmla="*/ 16 w 534"/>
                <a:gd name="T97" fmla="*/ 2 h 774"/>
                <a:gd name="T98" fmla="*/ 20 w 534"/>
                <a:gd name="T99" fmla="*/ 2 h 774"/>
                <a:gd name="T100" fmla="*/ 23 w 534"/>
                <a:gd name="T101" fmla="*/ 3 h 774"/>
                <a:gd name="T102" fmla="*/ 23 w 534"/>
                <a:gd name="T103" fmla="*/ 10 h 774"/>
                <a:gd name="T104" fmla="*/ 29 w 534"/>
                <a:gd name="T105" fmla="*/ 12 h 774"/>
                <a:gd name="T106" fmla="*/ 35 w 534"/>
                <a:gd name="T107" fmla="*/ 12 h 774"/>
                <a:gd name="T108" fmla="*/ 38 w 534"/>
                <a:gd name="T109" fmla="*/ 17 h 774"/>
                <a:gd name="T110" fmla="*/ 40 w 534"/>
                <a:gd name="T111" fmla="*/ 19 h 774"/>
                <a:gd name="T112" fmla="*/ 44 w 534"/>
                <a:gd name="T113" fmla="*/ 23 h 774"/>
                <a:gd name="T114" fmla="*/ 44 w 534"/>
                <a:gd name="T115" fmla="*/ 30 h 774"/>
                <a:gd name="T116" fmla="*/ 46 w 534"/>
                <a:gd name="T117" fmla="*/ 36 h 774"/>
                <a:gd name="T118" fmla="*/ 41 w 534"/>
                <a:gd name="T119" fmla="*/ 37 h 77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34"/>
                <a:gd name="T181" fmla="*/ 0 h 774"/>
                <a:gd name="T182" fmla="*/ 534 w 534"/>
                <a:gd name="T183" fmla="*/ 774 h 77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34" h="774">
                  <a:moveTo>
                    <a:pt x="462" y="426"/>
                  </a:moveTo>
                  <a:lnTo>
                    <a:pt x="462" y="414"/>
                  </a:lnTo>
                  <a:lnTo>
                    <a:pt x="450" y="402"/>
                  </a:lnTo>
                  <a:lnTo>
                    <a:pt x="444" y="396"/>
                  </a:lnTo>
                  <a:lnTo>
                    <a:pt x="420" y="396"/>
                  </a:lnTo>
                  <a:lnTo>
                    <a:pt x="408" y="390"/>
                  </a:lnTo>
                  <a:lnTo>
                    <a:pt x="402" y="366"/>
                  </a:lnTo>
                  <a:lnTo>
                    <a:pt x="390" y="354"/>
                  </a:lnTo>
                  <a:lnTo>
                    <a:pt x="384" y="336"/>
                  </a:lnTo>
                  <a:lnTo>
                    <a:pt x="378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8" y="348"/>
                  </a:lnTo>
                  <a:lnTo>
                    <a:pt x="360" y="354"/>
                  </a:lnTo>
                  <a:lnTo>
                    <a:pt x="360" y="390"/>
                  </a:lnTo>
                  <a:lnTo>
                    <a:pt x="348" y="390"/>
                  </a:lnTo>
                  <a:lnTo>
                    <a:pt x="342" y="384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90"/>
                  </a:lnTo>
                  <a:lnTo>
                    <a:pt x="312" y="402"/>
                  </a:lnTo>
                  <a:lnTo>
                    <a:pt x="306" y="420"/>
                  </a:lnTo>
                  <a:lnTo>
                    <a:pt x="324" y="414"/>
                  </a:lnTo>
                  <a:lnTo>
                    <a:pt x="330" y="414"/>
                  </a:lnTo>
                  <a:lnTo>
                    <a:pt x="336" y="420"/>
                  </a:lnTo>
                  <a:lnTo>
                    <a:pt x="336" y="432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6"/>
                  </a:lnTo>
                  <a:lnTo>
                    <a:pt x="318" y="456"/>
                  </a:lnTo>
                  <a:lnTo>
                    <a:pt x="300" y="456"/>
                  </a:lnTo>
                  <a:lnTo>
                    <a:pt x="288" y="462"/>
                  </a:lnTo>
                  <a:lnTo>
                    <a:pt x="276" y="462"/>
                  </a:lnTo>
                  <a:lnTo>
                    <a:pt x="270" y="462"/>
                  </a:lnTo>
                  <a:lnTo>
                    <a:pt x="270" y="468"/>
                  </a:lnTo>
                  <a:lnTo>
                    <a:pt x="252" y="468"/>
                  </a:lnTo>
                  <a:lnTo>
                    <a:pt x="258" y="480"/>
                  </a:lnTo>
                  <a:lnTo>
                    <a:pt x="258" y="492"/>
                  </a:lnTo>
                  <a:lnTo>
                    <a:pt x="258" y="498"/>
                  </a:lnTo>
                  <a:lnTo>
                    <a:pt x="258" y="510"/>
                  </a:lnTo>
                  <a:lnTo>
                    <a:pt x="252" y="540"/>
                  </a:lnTo>
                  <a:lnTo>
                    <a:pt x="246" y="564"/>
                  </a:lnTo>
                  <a:lnTo>
                    <a:pt x="246" y="570"/>
                  </a:lnTo>
                  <a:lnTo>
                    <a:pt x="252" y="576"/>
                  </a:lnTo>
                  <a:lnTo>
                    <a:pt x="246" y="582"/>
                  </a:lnTo>
                  <a:lnTo>
                    <a:pt x="252" y="600"/>
                  </a:lnTo>
                  <a:lnTo>
                    <a:pt x="258" y="606"/>
                  </a:lnTo>
                  <a:lnTo>
                    <a:pt x="258" y="612"/>
                  </a:lnTo>
                  <a:lnTo>
                    <a:pt x="252" y="618"/>
                  </a:lnTo>
                  <a:lnTo>
                    <a:pt x="246" y="624"/>
                  </a:lnTo>
                  <a:lnTo>
                    <a:pt x="246" y="630"/>
                  </a:lnTo>
                  <a:lnTo>
                    <a:pt x="246" y="636"/>
                  </a:lnTo>
                  <a:lnTo>
                    <a:pt x="240" y="642"/>
                  </a:lnTo>
                  <a:lnTo>
                    <a:pt x="234" y="654"/>
                  </a:lnTo>
                  <a:lnTo>
                    <a:pt x="228" y="654"/>
                  </a:lnTo>
                  <a:lnTo>
                    <a:pt x="222" y="660"/>
                  </a:lnTo>
                  <a:lnTo>
                    <a:pt x="216" y="666"/>
                  </a:lnTo>
                  <a:lnTo>
                    <a:pt x="210" y="666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22" y="684"/>
                  </a:lnTo>
                  <a:lnTo>
                    <a:pt x="222" y="690"/>
                  </a:lnTo>
                  <a:lnTo>
                    <a:pt x="222" y="696"/>
                  </a:lnTo>
                  <a:lnTo>
                    <a:pt x="222" y="702"/>
                  </a:lnTo>
                  <a:lnTo>
                    <a:pt x="216" y="708"/>
                  </a:lnTo>
                  <a:lnTo>
                    <a:pt x="210" y="720"/>
                  </a:lnTo>
                  <a:lnTo>
                    <a:pt x="216" y="732"/>
                  </a:lnTo>
                  <a:lnTo>
                    <a:pt x="210" y="732"/>
                  </a:lnTo>
                  <a:lnTo>
                    <a:pt x="216" y="738"/>
                  </a:lnTo>
                  <a:lnTo>
                    <a:pt x="216" y="744"/>
                  </a:lnTo>
                  <a:lnTo>
                    <a:pt x="222" y="750"/>
                  </a:lnTo>
                  <a:lnTo>
                    <a:pt x="228" y="756"/>
                  </a:lnTo>
                  <a:lnTo>
                    <a:pt x="222" y="762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04" y="762"/>
                  </a:lnTo>
                  <a:lnTo>
                    <a:pt x="198" y="762"/>
                  </a:lnTo>
                  <a:lnTo>
                    <a:pt x="192" y="762"/>
                  </a:lnTo>
                  <a:lnTo>
                    <a:pt x="186" y="756"/>
                  </a:lnTo>
                  <a:lnTo>
                    <a:pt x="180" y="750"/>
                  </a:lnTo>
                  <a:lnTo>
                    <a:pt x="180" y="744"/>
                  </a:lnTo>
                  <a:lnTo>
                    <a:pt x="174" y="744"/>
                  </a:lnTo>
                  <a:lnTo>
                    <a:pt x="156" y="750"/>
                  </a:lnTo>
                  <a:lnTo>
                    <a:pt x="150" y="750"/>
                  </a:lnTo>
                  <a:lnTo>
                    <a:pt x="144" y="750"/>
                  </a:lnTo>
                  <a:lnTo>
                    <a:pt x="138" y="750"/>
                  </a:lnTo>
                  <a:lnTo>
                    <a:pt x="138" y="744"/>
                  </a:lnTo>
                  <a:lnTo>
                    <a:pt x="132" y="744"/>
                  </a:lnTo>
                  <a:lnTo>
                    <a:pt x="120" y="744"/>
                  </a:lnTo>
                  <a:lnTo>
                    <a:pt x="114" y="738"/>
                  </a:lnTo>
                  <a:lnTo>
                    <a:pt x="108" y="744"/>
                  </a:lnTo>
                  <a:lnTo>
                    <a:pt x="102" y="744"/>
                  </a:lnTo>
                  <a:lnTo>
                    <a:pt x="96" y="744"/>
                  </a:lnTo>
                  <a:lnTo>
                    <a:pt x="96" y="738"/>
                  </a:lnTo>
                  <a:lnTo>
                    <a:pt x="96" y="744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44"/>
                  </a:lnTo>
                  <a:lnTo>
                    <a:pt x="72" y="750"/>
                  </a:lnTo>
                  <a:lnTo>
                    <a:pt x="66" y="750"/>
                  </a:lnTo>
                  <a:lnTo>
                    <a:pt x="60" y="750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0"/>
                  </a:lnTo>
                  <a:lnTo>
                    <a:pt x="30" y="750"/>
                  </a:lnTo>
                  <a:lnTo>
                    <a:pt x="24" y="744"/>
                  </a:lnTo>
                  <a:lnTo>
                    <a:pt x="18" y="738"/>
                  </a:lnTo>
                  <a:lnTo>
                    <a:pt x="6" y="738"/>
                  </a:lnTo>
                  <a:lnTo>
                    <a:pt x="0" y="732"/>
                  </a:lnTo>
                  <a:lnTo>
                    <a:pt x="0" y="726"/>
                  </a:lnTo>
                  <a:lnTo>
                    <a:pt x="0" y="720"/>
                  </a:lnTo>
                  <a:lnTo>
                    <a:pt x="6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8" y="702"/>
                  </a:lnTo>
                  <a:lnTo>
                    <a:pt x="24" y="696"/>
                  </a:lnTo>
                  <a:lnTo>
                    <a:pt x="30" y="696"/>
                  </a:lnTo>
                  <a:lnTo>
                    <a:pt x="48" y="690"/>
                  </a:lnTo>
                  <a:lnTo>
                    <a:pt x="54" y="678"/>
                  </a:lnTo>
                  <a:lnTo>
                    <a:pt x="66" y="672"/>
                  </a:lnTo>
                  <a:lnTo>
                    <a:pt x="66" y="654"/>
                  </a:lnTo>
                  <a:lnTo>
                    <a:pt x="72" y="636"/>
                  </a:lnTo>
                  <a:lnTo>
                    <a:pt x="72" y="612"/>
                  </a:lnTo>
                  <a:lnTo>
                    <a:pt x="84" y="594"/>
                  </a:lnTo>
                  <a:lnTo>
                    <a:pt x="90" y="576"/>
                  </a:lnTo>
                  <a:lnTo>
                    <a:pt x="96" y="552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72" y="522"/>
                  </a:lnTo>
                  <a:lnTo>
                    <a:pt x="78" y="510"/>
                  </a:lnTo>
                  <a:lnTo>
                    <a:pt x="78" y="504"/>
                  </a:lnTo>
                  <a:lnTo>
                    <a:pt x="84" y="480"/>
                  </a:lnTo>
                  <a:lnTo>
                    <a:pt x="90" y="468"/>
                  </a:lnTo>
                  <a:lnTo>
                    <a:pt x="90" y="456"/>
                  </a:lnTo>
                  <a:lnTo>
                    <a:pt x="96" y="456"/>
                  </a:lnTo>
                  <a:lnTo>
                    <a:pt x="96" y="444"/>
                  </a:lnTo>
                  <a:lnTo>
                    <a:pt x="102" y="438"/>
                  </a:lnTo>
                  <a:lnTo>
                    <a:pt x="102" y="432"/>
                  </a:lnTo>
                  <a:lnTo>
                    <a:pt x="108" y="432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14" y="408"/>
                  </a:lnTo>
                  <a:lnTo>
                    <a:pt x="114" y="402"/>
                  </a:lnTo>
                  <a:lnTo>
                    <a:pt x="126" y="384"/>
                  </a:lnTo>
                  <a:lnTo>
                    <a:pt x="138" y="378"/>
                  </a:lnTo>
                  <a:lnTo>
                    <a:pt x="138" y="372"/>
                  </a:lnTo>
                  <a:lnTo>
                    <a:pt x="150" y="354"/>
                  </a:lnTo>
                  <a:lnTo>
                    <a:pt x="156" y="342"/>
                  </a:lnTo>
                  <a:lnTo>
                    <a:pt x="162" y="330"/>
                  </a:lnTo>
                  <a:lnTo>
                    <a:pt x="168" y="324"/>
                  </a:lnTo>
                  <a:lnTo>
                    <a:pt x="168" y="312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74" y="294"/>
                  </a:lnTo>
                  <a:lnTo>
                    <a:pt x="180" y="288"/>
                  </a:lnTo>
                  <a:lnTo>
                    <a:pt x="180" y="276"/>
                  </a:lnTo>
                  <a:lnTo>
                    <a:pt x="186" y="276"/>
                  </a:lnTo>
                  <a:lnTo>
                    <a:pt x="186" y="270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40"/>
                  </a:lnTo>
                  <a:lnTo>
                    <a:pt x="168" y="240"/>
                  </a:lnTo>
                  <a:lnTo>
                    <a:pt x="162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68" y="216"/>
                  </a:lnTo>
                  <a:lnTo>
                    <a:pt x="168" y="180"/>
                  </a:lnTo>
                  <a:lnTo>
                    <a:pt x="168" y="144"/>
                  </a:lnTo>
                  <a:lnTo>
                    <a:pt x="162" y="120"/>
                  </a:lnTo>
                  <a:lnTo>
                    <a:pt x="162" y="108"/>
                  </a:lnTo>
                  <a:lnTo>
                    <a:pt x="168" y="102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44" y="84"/>
                  </a:lnTo>
                  <a:lnTo>
                    <a:pt x="126" y="84"/>
                  </a:lnTo>
                  <a:lnTo>
                    <a:pt x="108" y="78"/>
                  </a:lnTo>
                  <a:lnTo>
                    <a:pt x="96" y="78"/>
                  </a:lnTo>
                  <a:lnTo>
                    <a:pt x="78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8" y="36"/>
                  </a:lnTo>
                  <a:lnTo>
                    <a:pt x="96" y="24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56" y="0"/>
                  </a:lnTo>
                  <a:lnTo>
                    <a:pt x="156" y="6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18"/>
                  </a:lnTo>
                  <a:lnTo>
                    <a:pt x="198" y="18"/>
                  </a:lnTo>
                  <a:lnTo>
                    <a:pt x="210" y="18"/>
                  </a:lnTo>
                  <a:lnTo>
                    <a:pt x="222" y="18"/>
                  </a:lnTo>
                  <a:lnTo>
                    <a:pt x="234" y="12"/>
                  </a:lnTo>
                  <a:lnTo>
                    <a:pt x="252" y="18"/>
                  </a:lnTo>
                  <a:lnTo>
                    <a:pt x="252" y="24"/>
                  </a:lnTo>
                  <a:lnTo>
                    <a:pt x="258" y="36"/>
                  </a:lnTo>
                  <a:lnTo>
                    <a:pt x="258" y="66"/>
                  </a:lnTo>
                  <a:lnTo>
                    <a:pt x="252" y="84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82" y="126"/>
                  </a:lnTo>
                  <a:lnTo>
                    <a:pt x="294" y="132"/>
                  </a:lnTo>
                  <a:lnTo>
                    <a:pt x="306" y="138"/>
                  </a:lnTo>
                  <a:lnTo>
                    <a:pt x="324" y="138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60" y="144"/>
                  </a:lnTo>
                  <a:lnTo>
                    <a:pt x="396" y="144"/>
                  </a:lnTo>
                  <a:lnTo>
                    <a:pt x="408" y="150"/>
                  </a:lnTo>
                  <a:lnTo>
                    <a:pt x="414" y="180"/>
                  </a:lnTo>
                  <a:lnTo>
                    <a:pt x="420" y="186"/>
                  </a:lnTo>
                  <a:lnTo>
                    <a:pt x="426" y="192"/>
                  </a:lnTo>
                  <a:lnTo>
                    <a:pt x="426" y="198"/>
                  </a:lnTo>
                  <a:lnTo>
                    <a:pt x="432" y="198"/>
                  </a:lnTo>
                  <a:lnTo>
                    <a:pt x="438" y="210"/>
                  </a:lnTo>
                  <a:lnTo>
                    <a:pt x="450" y="216"/>
                  </a:lnTo>
                  <a:lnTo>
                    <a:pt x="468" y="228"/>
                  </a:lnTo>
                  <a:lnTo>
                    <a:pt x="492" y="234"/>
                  </a:lnTo>
                  <a:lnTo>
                    <a:pt x="492" y="246"/>
                  </a:lnTo>
                  <a:lnTo>
                    <a:pt x="492" y="270"/>
                  </a:lnTo>
                  <a:lnTo>
                    <a:pt x="486" y="294"/>
                  </a:lnTo>
                  <a:lnTo>
                    <a:pt x="486" y="312"/>
                  </a:lnTo>
                  <a:lnTo>
                    <a:pt x="486" y="330"/>
                  </a:lnTo>
                  <a:lnTo>
                    <a:pt x="492" y="348"/>
                  </a:lnTo>
                  <a:lnTo>
                    <a:pt x="498" y="360"/>
                  </a:lnTo>
                  <a:lnTo>
                    <a:pt x="510" y="366"/>
                  </a:lnTo>
                  <a:lnTo>
                    <a:pt x="516" y="384"/>
                  </a:lnTo>
                  <a:lnTo>
                    <a:pt x="522" y="414"/>
                  </a:lnTo>
                  <a:lnTo>
                    <a:pt x="528" y="414"/>
                  </a:lnTo>
                  <a:lnTo>
                    <a:pt x="534" y="426"/>
                  </a:lnTo>
                  <a:lnTo>
                    <a:pt x="528" y="432"/>
                  </a:lnTo>
                  <a:lnTo>
                    <a:pt x="468" y="426"/>
                  </a:lnTo>
                  <a:lnTo>
                    <a:pt x="462" y="426"/>
                  </a:lnTo>
                  <a:close/>
                </a:path>
              </a:pathLst>
            </a:custGeom>
            <a:solidFill>
              <a:srgbClr val="2A4F1D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3" name="Freeform 8">
              <a:extLst>
                <a:ext uri="{FF2B5EF4-FFF2-40B4-BE49-F238E27FC236}">
                  <a16:creationId xmlns:a16="http://schemas.microsoft.com/office/drawing/2014/main" id="{D473457C-872E-4E31-888A-D60FD52063A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98175" y="4307054"/>
              <a:ext cx="295177" cy="348894"/>
            </a:xfrm>
            <a:custGeom>
              <a:avLst/>
              <a:gdLst>
                <a:gd name="T0" fmla="*/ 3 w 552"/>
                <a:gd name="T1" fmla="*/ 46 h 660"/>
                <a:gd name="T2" fmla="*/ 4 w 552"/>
                <a:gd name="T3" fmla="*/ 42 h 660"/>
                <a:gd name="T4" fmla="*/ 2 w 552"/>
                <a:gd name="T5" fmla="*/ 38 h 660"/>
                <a:gd name="T6" fmla="*/ 0 w 552"/>
                <a:gd name="T7" fmla="*/ 34 h 660"/>
                <a:gd name="T8" fmla="*/ 2 w 552"/>
                <a:gd name="T9" fmla="*/ 30 h 660"/>
                <a:gd name="T10" fmla="*/ 3 w 552"/>
                <a:gd name="T11" fmla="*/ 27 h 660"/>
                <a:gd name="T12" fmla="*/ 5 w 552"/>
                <a:gd name="T13" fmla="*/ 23 h 660"/>
                <a:gd name="T14" fmla="*/ 5 w 552"/>
                <a:gd name="T15" fmla="*/ 15 h 660"/>
                <a:gd name="T16" fmla="*/ 6 w 552"/>
                <a:gd name="T17" fmla="*/ 11 h 660"/>
                <a:gd name="T18" fmla="*/ 11 w 552"/>
                <a:gd name="T19" fmla="*/ 9 h 660"/>
                <a:gd name="T20" fmla="*/ 10 w 552"/>
                <a:gd name="T21" fmla="*/ 5 h 660"/>
                <a:gd name="T22" fmla="*/ 12 w 552"/>
                <a:gd name="T23" fmla="*/ 1 h 660"/>
                <a:gd name="T24" fmla="*/ 16 w 552"/>
                <a:gd name="T25" fmla="*/ 2 h 660"/>
                <a:gd name="T26" fmla="*/ 23 w 552"/>
                <a:gd name="T27" fmla="*/ 8 h 660"/>
                <a:gd name="T28" fmla="*/ 23 w 552"/>
                <a:gd name="T29" fmla="*/ 11 h 660"/>
                <a:gd name="T30" fmla="*/ 27 w 552"/>
                <a:gd name="T31" fmla="*/ 12 h 660"/>
                <a:gd name="T32" fmla="*/ 29 w 552"/>
                <a:gd name="T33" fmla="*/ 17 h 660"/>
                <a:gd name="T34" fmla="*/ 31 w 552"/>
                <a:gd name="T35" fmla="*/ 15 h 660"/>
                <a:gd name="T36" fmla="*/ 33 w 552"/>
                <a:gd name="T37" fmla="*/ 17 h 660"/>
                <a:gd name="T38" fmla="*/ 36 w 552"/>
                <a:gd name="T39" fmla="*/ 23 h 660"/>
                <a:gd name="T40" fmla="*/ 41 w 552"/>
                <a:gd name="T41" fmla="*/ 33 h 660"/>
                <a:gd name="T42" fmla="*/ 43 w 552"/>
                <a:gd name="T43" fmla="*/ 36 h 660"/>
                <a:gd name="T44" fmla="*/ 43 w 552"/>
                <a:gd name="T45" fmla="*/ 37 h 660"/>
                <a:gd name="T46" fmla="*/ 41 w 552"/>
                <a:gd name="T47" fmla="*/ 35 h 660"/>
                <a:gd name="T48" fmla="*/ 43 w 552"/>
                <a:gd name="T49" fmla="*/ 37 h 660"/>
                <a:gd name="T50" fmla="*/ 44 w 552"/>
                <a:gd name="T51" fmla="*/ 39 h 660"/>
                <a:gd name="T52" fmla="*/ 47 w 552"/>
                <a:gd name="T53" fmla="*/ 41 h 660"/>
                <a:gd name="T54" fmla="*/ 47 w 552"/>
                <a:gd name="T55" fmla="*/ 44 h 660"/>
                <a:gd name="T56" fmla="*/ 48 w 552"/>
                <a:gd name="T57" fmla="*/ 46 h 660"/>
                <a:gd name="T58" fmla="*/ 47 w 552"/>
                <a:gd name="T59" fmla="*/ 46 h 660"/>
                <a:gd name="T60" fmla="*/ 44 w 552"/>
                <a:gd name="T61" fmla="*/ 46 h 660"/>
                <a:gd name="T62" fmla="*/ 47 w 552"/>
                <a:gd name="T63" fmla="*/ 47 h 660"/>
                <a:gd name="T64" fmla="*/ 47 w 552"/>
                <a:gd name="T65" fmla="*/ 49 h 660"/>
                <a:gd name="T66" fmla="*/ 47 w 552"/>
                <a:gd name="T67" fmla="*/ 52 h 660"/>
                <a:gd name="T68" fmla="*/ 46 w 552"/>
                <a:gd name="T69" fmla="*/ 53 h 660"/>
                <a:gd name="T70" fmla="*/ 43 w 552"/>
                <a:gd name="T71" fmla="*/ 54 h 660"/>
                <a:gd name="T72" fmla="*/ 37 w 552"/>
                <a:gd name="T73" fmla="*/ 54 h 660"/>
                <a:gd name="T74" fmla="*/ 30 w 552"/>
                <a:gd name="T75" fmla="*/ 54 h 660"/>
                <a:gd name="T76" fmla="*/ 29 w 552"/>
                <a:gd name="T77" fmla="*/ 53 h 660"/>
                <a:gd name="T78" fmla="*/ 27 w 552"/>
                <a:gd name="T79" fmla="*/ 53 h 660"/>
                <a:gd name="T80" fmla="*/ 29 w 552"/>
                <a:gd name="T81" fmla="*/ 53 h 660"/>
                <a:gd name="T82" fmla="*/ 28 w 552"/>
                <a:gd name="T83" fmla="*/ 54 h 660"/>
                <a:gd name="T84" fmla="*/ 24 w 552"/>
                <a:gd name="T85" fmla="*/ 54 h 660"/>
                <a:gd name="T86" fmla="*/ 20 w 552"/>
                <a:gd name="T87" fmla="*/ 55 h 660"/>
                <a:gd name="T88" fmla="*/ 15 w 552"/>
                <a:gd name="T89" fmla="*/ 56 h 660"/>
                <a:gd name="T90" fmla="*/ 12 w 552"/>
                <a:gd name="T91" fmla="*/ 56 h 660"/>
                <a:gd name="T92" fmla="*/ 11 w 552"/>
                <a:gd name="T93" fmla="*/ 57 h 660"/>
                <a:gd name="T94" fmla="*/ 9 w 552"/>
                <a:gd name="T95" fmla="*/ 57 h 660"/>
                <a:gd name="T96" fmla="*/ 7 w 552"/>
                <a:gd name="T97" fmla="*/ 56 h 660"/>
                <a:gd name="T98" fmla="*/ 5 w 552"/>
                <a:gd name="T99" fmla="*/ 55 h 660"/>
                <a:gd name="T100" fmla="*/ 7 w 552"/>
                <a:gd name="T101" fmla="*/ 54 h 660"/>
                <a:gd name="T102" fmla="*/ 5 w 552"/>
                <a:gd name="T103" fmla="*/ 54 h 660"/>
                <a:gd name="T104" fmla="*/ 5 w 552"/>
                <a:gd name="T105" fmla="*/ 53 h 660"/>
                <a:gd name="T106" fmla="*/ 4 w 552"/>
                <a:gd name="T107" fmla="*/ 49 h 660"/>
                <a:gd name="T108" fmla="*/ 45 w 552"/>
                <a:gd name="T109" fmla="*/ 38 h 66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52"/>
                <a:gd name="T166" fmla="*/ 0 h 660"/>
                <a:gd name="T167" fmla="*/ 552 w 552"/>
                <a:gd name="T168" fmla="*/ 660 h 66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52" h="660">
                  <a:moveTo>
                    <a:pt x="36" y="564"/>
                  </a:moveTo>
                  <a:lnTo>
                    <a:pt x="36" y="558"/>
                  </a:lnTo>
                  <a:lnTo>
                    <a:pt x="36" y="552"/>
                  </a:lnTo>
                  <a:lnTo>
                    <a:pt x="42" y="546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34"/>
                  </a:lnTo>
                  <a:lnTo>
                    <a:pt x="36" y="528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54" y="510"/>
                  </a:lnTo>
                  <a:lnTo>
                    <a:pt x="54" y="504"/>
                  </a:lnTo>
                  <a:lnTo>
                    <a:pt x="54" y="498"/>
                  </a:lnTo>
                  <a:lnTo>
                    <a:pt x="48" y="492"/>
                  </a:lnTo>
                  <a:lnTo>
                    <a:pt x="42" y="486"/>
                  </a:lnTo>
                  <a:lnTo>
                    <a:pt x="42" y="480"/>
                  </a:lnTo>
                  <a:lnTo>
                    <a:pt x="42" y="468"/>
                  </a:lnTo>
                  <a:lnTo>
                    <a:pt x="30" y="456"/>
                  </a:lnTo>
                  <a:lnTo>
                    <a:pt x="30" y="450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2"/>
                  </a:lnTo>
                  <a:lnTo>
                    <a:pt x="18" y="426"/>
                  </a:lnTo>
                  <a:lnTo>
                    <a:pt x="24" y="420"/>
                  </a:lnTo>
                  <a:lnTo>
                    <a:pt x="18" y="414"/>
                  </a:lnTo>
                  <a:lnTo>
                    <a:pt x="12" y="408"/>
                  </a:lnTo>
                  <a:lnTo>
                    <a:pt x="12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6" y="384"/>
                  </a:lnTo>
                  <a:lnTo>
                    <a:pt x="12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8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36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54" y="270"/>
                  </a:lnTo>
                  <a:lnTo>
                    <a:pt x="48" y="264"/>
                  </a:lnTo>
                  <a:lnTo>
                    <a:pt x="42" y="246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8" y="204"/>
                  </a:lnTo>
                  <a:lnTo>
                    <a:pt x="54" y="174"/>
                  </a:lnTo>
                  <a:lnTo>
                    <a:pt x="54" y="162"/>
                  </a:lnTo>
                  <a:lnTo>
                    <a:pt x="54" y="156"/>
                  </a:lnTo>
                  <a:lnTo>
                    <a:pt x="54" y="144"/>
                  </a:lnTo>
                  <a:lnTo>
                    <a:pt x="48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72" y="126"/>
                  </a:lnTo>
                  <a:lnTo>
                    <a:pt x="84" y="126"/>
                  </a:lnTo>
                  <a:lnTo>
                    <a:pt x="96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2" y="84"/>
                  </a:lnTo>
                  <a:lnTo>
                    <a:pt x="126" y="78"/>
                  </a:lnTo>
                  <a:lnTo>
                    <a:pt x="120" y="78"/>
                  </a:lnTo>
                  <a:lnTo>
                    <a:pt x="102" y="84"/>
                  </a:lnTo>
                  <a:lnTo>
                    <a:pt x="108" y="66"/>
                  </a:lnTo>
                  <a:lnTo>
                    <a:pt x="114" y="54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8" y="4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6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74" y="0"/>
                  </a:lnTo>
                  <a:lnTo>
                    <a:pt x="180" y="0"/>
                  </a:lnTo>
                  <a:lnTo>
                    <a:pt x="186" y="18"/>
                  </a:lnTo>
                  <a:lnTo>
                    <a:pt x="198" y="30"/>
                  </a:lnTo>
                  <a:lnTo>
                    <a:pt x="204" y="54"/>
                  </a:lnTo>
                  <a:lnTo>
                    <a:pt x="216" y="60"/>
                  </a:lnTo>
                  <a:lnTo>
                    <a:pt x="240" y="60"/>
                  </a:lnTo>
                  <a:lnTo>
                    <a:pt x="246" y="66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2" y="120"/>
                  </a:lnTo>
                  <a:lnTo>
                    <a:pt x="25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6" y="126"/>
                  </a:lnTo>
                  <a:lnTo>
                    <a:pt x="282" y="120"/>
                  </a:lnTo>
                  <a:lnTo>
                    <a:pt x="282" y="126"/>
                  </a:lnTo>
                  <a:lnTo>
                    <a:pt x="294" y="126"/>
                  </a:lnTo>
                  <a:lnTo>
                    <a:pt x="300" y="132"/>
                  </a:lnTo>
                  <a:lnTo>
                    <a:pt x="306" y="144"/>
                  </a:lnTo>
                  <a:lnTo>
                    <a:pt x="312" y="144"/>
                  </a:lnTo>
                  <a:lnTo>
                    <a:pt x="312" y="150"/>
                  </a:lnTo>
                  <a:lnTo>
                    <a:pt x="312" y="162"/>
                  </a:lnTo>
                  <a:lnTo>
                    <a:pt x="312" y="174"/>
                  </a:lnTo>
                  <a:lnTo>
                    <a:pt x="324" y="180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30" y="192"/>
                  </a:lnTo>
                  <a:lnTo>
                    <a:pt x="336" y="198"/>
                  </a:lnTo>
                  <a:lnTo>
                    <a:pt x="342" y="192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54" y="180"/>
                  </a:lnTo>
                  <a:lnTo>
                    <a:pt x="354" y="174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84" y="192"/>
                  </a:lnTo>
                  <a:lnTo>
                    <a:pt x="390" y="204"/>
                  </a:lnTo>
                  <a:lnTo>
                    <a:pt x="390" y="210"/>
                  </a:lnTo>
                  <a:lnTo>
                    <a:pt x="390" y="216"/>
                  </a:lnTo>
                  <a:lnTo>
                    <a:pt x="384" y="234"/>
                  </a:lnTo>
                  <a:lnTo>
                    <a:pt x="390" y="240"/>
                  </a:lnTo>
                  <a:lnTo>
                    <a:pt x="408" y="252"/>
                  </a:lnTo>
                  <a:lnTo>
                    <a:pt x="414" y="264"/>
                  </a:lnTo>
                  <a:lnTo>
                    <a:pt x="408" y="300"/>
                  </a:lnTo>
                  <a:lnTo>
                    <a:pt x="414" y="312"/>
                  </a:lnTo>
                  <a:lnTo>
                    <a:pt x="426" y="336"/>
                  </a:lnTo>
                  <a:lnTo>
                    <a:pt x="438" y="354"/>
                  </a:lnTo>
                  <a:lnTo>
                    <a:pt x="444" y="366"/>
                  </a:lnTo>
                  <a:lnTo>
                    <a:pt x="456" y="366"/>
                  </a:lnTo>
                  <a:lnTo>
                    <a:pt x="474" y="378"/>
                  </a:lnTo>
                  <a:lnTo>
                    <a:pt x="474" y="384"/>
                  </a:lnTo>
                  <a:lnTo>
                    <a:pt x="480" y="390"/>
                  </a:lnTo>
                  <a:lnTo>
                    <a:pt x="486" y="396"/>
                  </a:lnTo>
                  <a:lnTo>
                    <a:pt x="486" y="402"/>
                  </a:lnTo>
                  <a:lnTo>
                    <a:pt x="480" y="408"/>
                  </a:lnTo>
                  <a:lnTo>
                    <a:pt x="486" y="408"/>
                  </a:lnTo>
                  <a:lnTo>
                    <a:pt x="486" y="414"/>
                  </a:lnTo>
                  <a:lnTo>
                    <a:pt x="492" y="414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32"/>
                  </a:lnTo>
                  <a:lnTo>
                    <a:pt x="498" y="438"/>
                  </a:lnTo>
                  <a:lnTo>
                    <a:pt x="492" y="432"/>
                  </a:lnTo>
                  <a:lnTo>
                    <a:pt x="486" y="426"/>
                  </a:lnTo>
                  <a:lnTo>
                    <a:pt x="486" y="420"/>
                  </a:lnTo>
                  <a:lnTo>
                    <a:pt x="486" y="414"/>
                  </a:lnTo>
                  <a:lnTo>
                    <a:pt x="480" y="414"/>
                  </a:lnTo>
                  <a:lnTo>
                    <a:pt x="480" y="408"/>
                  </a:lnTo>
                  <a:lnTo>
                    <a:pt x="474" y="408"/>
                  </a:lnTo>
                  <a:lnTo>
                    <a:pt x="468" y="408"/>
                  </a:lnTo>
                  <a:lnTo>
                    <a:pt x="468" y="402"/>
                  </a:lnTo>
                  <a:lnTo>
                    <a:pt x="462" y="402"/>
                  </a:lnTo>
                  <a:lnTo>
                    <a:pt x="462" y="408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80" y="426"/>
                  </a:lnTo>
                  <a:lnTo>
                    <a:pt x="486" y="426"/>
                  </a:lnTo>
                  <a:lnTo>
                    <a:pt x="486" y="432"/>
                  </a:lnTo>
                  <a:lnTo>
                    <a:pt x="492" y="438"/>
                  </a:lnTo>
                  <a:lnTo>
                    <a:pt x="498" y="438"/>
                  </a:lnTo>
                  <a:lnTo>
                    <a:pt x="504" y="444"/>
                  </a:lnTo>
                  <a:lnTo>
                    <a:pt x="510" y="444"/>
                  </a:lnTo>
                  <a:lnTo>
                    <a:pt x="510" y="450"/>
                  </a:lnTo>
                  <a:lnTo>
                    <a:pt x="510" y="456"/>
                  </a:lnTo>
                  <a:lnTo>
                    <a:pt x="516" y="456"/>
                  </a:lnTo>
                  <a:lnTo>
                    <a:pt x="516" y="462"/>
                  </a:lnTo>
                  <a:lnTo>
                    <a:pt x="522" y="462"/>
                  </a:lnTo>
                  <a:lnTo>
                    <a:pt x="522" y="468"/>
                  </a:lnTo>
                  <a:lnTo>
                    <a:pt x="528" y="468"/>
                  </a:lnTo>
                  <a:lnTo>
                    <a:pt x="534" y="468"/>
                  </a:lnTo>
                  <a:lnTo>
                    <a:pt x="534" y="474"/>
                  </a:lnTo>
                  <a:lnTo>
                    <a:pt x="540" y="474"/>
                  </a:lnTo>
                  <a:lnTo>
                    <a:pt x="540" y="480"/>
                  </a:lnTo>
                  <a:lnTo>
                    <a:pt x="546" y="486"/>
                  </a:lnTo>
                  <a:lnTo>
                    <a:pt x="546" y="492"/>
                  </a:lnTo>
                  <a:lnTo>
                    <a:pt x="546" y="498"/>
                  </a:lnTo>
                  <a:lnTo>
                    <a:pt x="546" y="504"/>
                  </a:lnTo>
                  <a:lnTo>
                    <a:pt x="540" y="504"/>
                  </a:lnTo>
                  <a:lnTo>
                    <a:pt x="546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10"/>
                  </a:lnTo>
                  <a:lnTo>
                    <a:pt x="552" y="516"/>
                  </a:lnTo>
                  <a:lnTo>
                    <a:pt x="552" y="522"/>
                  </a:lnTo>
                  <a:lnTo>
                    <a:pt x="552" y="528"/>
                  </a:lnTo>
                  <a:lnTo>
                    <a:pt x="552" y="534"/>
                  </a:lnTo>
                  <a:lnTo>
                    <a:pt x="552" y="540"/>
                  </a:lnTo>
                  <a:lnTo>
                    <a:pt x="546" y="540"/>
                  </a:lnTo>
                  <a:lnTo>
                    <a:pt x="546" y="546"/>
                  </a:lnTo>
                  <a:lnTo>
                    <a:pt x="546" y="540"/>
                  </a:lnTo>
                  <a:lnTo>
                    <a:pt x="546" y="534"/>
                  </a:lnTo>
                  <a:lnTo>
                    <a:pt x="540" y="534"/>
                  </a:lnTo>
                  <a:lnTo>
                    <a:pt x="540" y="528"/>
                  </a:lnTo>
                  <a:lnTo>
                    <a:pt x="534" y="528"/>
                  </a:lnTo>
                  <a:lnTo>
                    <a:pt x="528" y="528"/>
                  </a:lnTo>
                  <a:lnTo>
                    <a:pt x="522" y="528"/>
                  </a:lnTo>
                  <a:lnTo>
                    <a:pt x="516" y="528"/>
                  </a:lnTo>
                  <a:lnTo>
                    <a:pt x="510" y="528"/>
                  </a:lnTo>
                  <a:lnTo>
                    <a:pt x="510" y="534"/>
                  </a:lnTo>
                  <a:lnTo>
                    <a:pt x="510" y="528"/>
                  </a:lnTo>
                  <a:lnTo>
                    <a:pt x="516" y="528"/>
                  </a:lnTo>
                  <a:lnTo>
                    <a:pt x="522" y="528"/>
                  </a:lnTo>
                  <a:lnTo>
                    <a:pt x="528" y="528"/>
                  </a:lnTo>
                  <a:lnTo>
                    <a:pt x="534" y="534"/>
                  </a:lnTo>
                  <a:lnTo>
                    <a:pt x="540" y="534"/>
                  </a:lnTo>
                  <a:lnTo>
                    <a:pt x="540" y="540"/>
                  </a:lnTo>
                  <a:lnTo>
                    <a:pt x="540" y="546"/>
                  </a:lnTo>
                  <a:lnTo>
                    <a:pt x="546" y="546"/>
                  </a:lnTo>
                  <a:lnTo>
                    <a:pt x="546" y="552"/>
                  </a:lnTo>
                  <a:lnTo>
                    <a:pt x="552" y="552"/>
                  </a:lnTo>
                  <a:lnTo>
                    <a:pt x="552" y="558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0" y="576"/>
                  </a:lnTo>
                  <a:lnTo>
                    <a:pt x="540" y="582"/>
                  </a:lnTo>
                  <a:lnTo>
                    <a:pt x="540" y="588"/>
                  </a:lnTo>
                  <a:lnTo>
                    <a:pt x="534" y="594"/>
                  </a:lnTo>
                  <a:lnTo>
                    <a:pt x="534" y="600"/>
                  </a:lnTo>
                  <a:lnTo>
                    <a:pt x="528" y="600"/>
                  </a:lnTo>
                  <a:lnTo>
                    <a:pt x="522" y="594"/>
                  </a:lnTo>
                  <a:lnTo>
                    <a:pt x="528" y="600"/>
                  </a:lnTo>
                  <a:lnTo>
                    <a:pt x="534" y="600"/>
                  </a:lnTo>
                  <a:lnTo>
                    <a:pt x="534" y="606"/>
                  </a:lnTo>
                  <a:lnTo>
                    <a:pt x="528" y="606"/>
                  </a:lnTo>
                  <a:lnTo>
                    <a:pt x="528" y="612"/>
                  </a:lnTo>
                  <a:lnTo>
                    <a:pt x="522" y="612"/>
                  </a:lnTo>
                  <a:lnTo>
                    <a:pt x="522" y="618"/>
                  </a:lnTo>
                  <a:lnTo>
                    <a:pt x="522" y="624"/>
                  </a:lnTo>
                  <a:lnTo>
                    <a:pt x="510" y="624"/>
                  </a:lnTo>
                  <a:lnTo>
                    <a:pt x="498" y="624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0" y="624"/>
                  </a:lnTo>
                  <a:lnTo>
                    <a:pt x="474" y="624"/>
                  </a:lnTo>
                  <a:lnTo>
                    <a:pt x="468" y="618"/>
                  </a:lnTo>
                  <a:lnTo>
                    <a:pt x="456" y="618"/>
                  </a:lnTo>
                  <a:lnTo>
                    <a:pt x="450" y="618"/>
                  </a:lnTo>
                  <a:lnTo>
                    <a:pt x="426" y="618"/>
                  </a:lnTo>
                  <a:lnTo>
                    <a:pt x="420" y="618"/>
                  </a:lnTo>
                  <a:lnTo>
                    <a:pt x="414" y="618"/>
                  </a:lnTo>
                  <a:lnTo>
                    <a:pt x="408" y="618"/>
                  </a:lnTo>
                  <a:lnTo>
                    <a:pt x="396" y="618"/>
                  </a:lnTo>
                  <a:lnTo>
                    <a:pt x="366" y="618"/>
                  </a:lnTo>
                  <a:lnTo>
                    <a:pt x="348" y="624"/>
                  </a:lnTo>
                  <a:lnTo>
                    <a:pt x="342" y="624"/>
                  </a:lnTo>
                  <a:lnTo>
                    <a:pt x="342" y="618"/>
                  </a:lnTo>
                  <a:lnTo>
                    <a:pt x="336" y="618"/>
                  </a:lnTo>
                  <a:lnTo>
                    <a:pt x="336" y="612"/>
                  </a:lnTo>
                  <a:lnTo>
                    <a:pt x="342" y="612"/>
                  </a:lnTo>
                  <a:lnTo>
                    <a:pt x="348" y="612"/>
                  </a:lnTo>
                  <a:lnTo>
                    <a:pt x="342" y="612"/>
                  </a:lnTo>
                  <a:lnTo>
                    <a:pt x="336" y="612"/>
                  </a:lnTo>
                  <a:lnTo>
                    <a:pt x="336" y="606"/>
                  </a:lnTo>
                  <a:lnTo>
                    <a:pt x="330" y="606"/>
                  </a:lnTo>
                  <a:lnTo>
                    <a:pt x="330" y="600"/>
                  </a:lnTo>
                  <a:lnTo>
                    <a:pt x="324" y="600"/>
                  </a:lnTo>
                  <a:lnTo>
                    <a:pt x="324" y="606"/>
                  </a:lnTo>
                  <a:lnTo>
                    <a:pt x="318" y="606"/>
                  </a:lnTo>
                  <a:lnTo>
                    <a:pt x="318" y="612"/>
                  </a:lnTo>
                  <a:lnTo>
                    <a:pt x="312" y="612"/>
                  </a:lnTo>
                  <a:lnTo>
                    <a:pt x="306" y="606"/>
                  </a:lnTo>
                  <a:lnTo>
                    <a:pt x="306" y="612"/>
                  </a:lnTo>
                  <a:lnTo>
                    <a:pt x="312" y="612"/>
                  </a:lnTo>
                  <a:lnTo>
                    <a:pt x="318" y="612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30" y="606"/>
                  </a:lnTo>
                  <a:lnTo>
                    <a:pt x="336" y="612"/>
                  </a:lnTo>
                  <a:lnTo>
                    <a:pt x="336" y="618"/>
                  </a:lnTo>
                  <a:lnTo>
                    <a:pt x="330" y="618"/>
                  </a:lnTo>
                  <a:lnTo>
                    <a:pt x="336" y="618"/>
                  </a:lnTo>
                  <a:lnTo>
                    <a:pt x="336" y="624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288" y="624"/>
                  </a:lnTo>
                  <a:lnTo>
                    <a:pt x="282" y="624"/>
                  </a:lnTo>
                  <a:lnTo>
                    <a:pt x="270" y="630"/>
                  </a:lnTo>
                  <a:lnTo>
                    <a:pt x="264" y="630"/>
                  </a:lnTo>
                  <a:lnTo>
                    <a:pt x="258" y="630"/>
                  </a:lnTo>
                  <a:lnTo>
                    <a:pt x="252" y="630"/>
                  </a:lnTo>
                  <a:lnTo>
                    <a:pt x="246" y="630"/>
                  </a:lnTo>
                  <a:lnTo>
                    <a:pt x="240" y="630"/>
                  </a:lnTo>
                  <a:lnTo>
                    <a:pt x="228" y="636"/>
                  </a:lnTo>
                  <a:lnTo>
                    <a:pt x="222" y="636"/>
                  </a:lnTo>
                  <a:lnTo>
                    <a:pt x="210" y="636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42"/>
                  </a:lnTo>
                  <a:lnTo>
                    <a:pt x="186" y="642"/>
                  </a:lnTo>
                  <a:lnTo>
                    <a:pt x="180" y="642"/>
                  </a:lnTo>
                  <a:lnTo>
                    <a:pt x="168" y="642"/>
                  </a:lnTo>
                  <a:lnTo>
                    <a:pt x="162" y="642"/>
                  </a:lnTo>
                  <a:lnTo>
                    <a:pt x="162" y="648"/>
                  </a:lnTo>
                  <a:lnTo>
                    <a:pt x="156" y="648"/>
                  </a:lnTo>
                  <a:lnTo>
                    <a:pt x="150" y="648"/>
                  </a:lnTo>
                  <a:lnTo>
                    <a:pt x="144" y="648"/>
                  </a:lnTo>
                  <a:lnTo>
                    <a:pt x="138" y="648"/>
                  </a:lnTo>
                  <a:lnTo>
                    <a:pt x="132" y="648"/>
                  </a:lnTo>
                  <a:lnTo>
                    <a:pt x="126" y="642"/>
                  </a:lnTo>
                  <a:lnTo>
                    <a:pt x="126" y="636"/>
                  </a:lnTo>
                  <a:lnTo>
                    <a:pt x="120" y="636"/>
                  </a:lnTo>
                  <a:lnTo>
                    <a:pt x="126" y="642"/>
                  </a:lnTo>
                  <a:lnTo>
                    <a:pt x="126" y="648"/>
                  </a:lnTo>
                  <a:lnTo>
                    <a:pt x="132" y="648"/>
                  </a:lnTo>
                  <a:lnTo>
                    <a:pt x="126" y="654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54"/>
                  </a:lnTo>
                  <a:lnTo>
                    <a:pt x="108" y="660"/>
                  </a:lnTo>
                  <a:lnTo>
                    <a:pt x="108" y="654"/>
                  </a:lnTo>
                  <a:lnTo>
                    <a:pt x="102" y="654"/>
                  </a:lnTo>
                  <a:lnTo>
                    <a:pt x="102" y="660"/>
                  </a:lnTo>
                  <a:lnTo>
                    <a:pt x="108" y="660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0" y="660"/>
                  </a:lnTo>
                  <a:lnTo>
                    <a:pt x="90" y="654"/>
                  </a:lnTo>
                  <a:lnTo>
                    <a:pt x="84" y="648"/>
                  </a:lnTo>
                  <a:lnTo>
                    <a:pt x="84" y="642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72" y="636"/>
                  </a:lnTo>
                  <a:lnTo>
                    <a:pt x="78" y="636"/>
                  </a:lnTo>
                  <a:lnTo>
                    <a:pt x="72" y="636"/>
                  </a:lnTo>
                  <a:lnTo>
                    <a:pt x="66" y="636"/>
                  </a:lnTo>
                  <a:lnTo>
                    <a:pt x="60" y="636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60" y="618"/>
                  </a:lnTo>
                  <a:lnTo>
                    <a:pt x="66" y="618"/>
                  </a:lnTo>
                  <a:lnTo>
                    <a:pt x="72" y="618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2" y="612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12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54" y="618"/>
                  </a:lnTo>
                  <a:lnTo>
                    <a:pt x="54" y="624"/>
                  </a:lnTo>
                  <a:lnTo>
                    <a:pt x="48" y="618"/>
                  </a:lnTo>
                  <a:lnTo>
                    <a:pt x="42" y="618"/>
                  </a:lnTo>
                  <a:lnTo>
                    <a:pt x="42" y="612"/>
                  </a:lnTo>
                  <a:lnTo>
                    <a:pt x="48" y="606"/>
                  </a:lnTo>
                  <a:lnTo>
                    <a:pt x="54" y="606"/>
                  </a:lnTo>
                  <a:lnTo>
                    <a:pt x="54" y="600"/>
                  </a:lnTo>
                  <a:lnTo>
                    <a:pt x="54" y="594"/>
                  </a:lnTo>
                  <a:lnTo>
                    <a:pt x="54" y="588"/>
                  </a:lnTo>
                  <a:lnTo>
                    <a:pt x="48" y="588"/>
                  </a:lnTo>
                  <a:lnTo>
                    <a:pt x="48" y="582"/>
                  </a:lnTo>
                  <a:lnTo>
                    <a:pt x="42" y="582"/>
                  </a:lnTo>
                  <a:lnTo>
                    <a:pt x="42" y="570"/>
                  </a:lnTo>
                  <a:lnTo>
                    <a:pt x="42" y="564"/>
                  </a:lnTo>
                  <a:lnTo>
                    <a:pt x="36" y="564"/>
                  </a:lnTo>
                  <a:close/>
                  <a:moveTo>
                    <a:pt x="498" y="420"/>
                  </a:moveTo>
                  <a:lnTo>
                    <a:pt x="504" y="426"/>
                  </a:lnTo>
                  <a:lnTo>
                    <a:pt x="510" y="432"/>
                  </a:lnTo>
                  <a:lnTo>
                    <a:pt x="516" y="432"/>
                  </a:lnTo>
                  <a:lnTo>
                    <a:pt x="516" y="438"/>
                  </a:lnTo>
                  <a:lnTo>
                    <a:pt x="510" y="438"/>
                  </a:lnTo>
                  <a:lnTo>
                    <a:pt x="504" y="438"/>
                  </a:lnTo>
                  <a:lnTo>
                    <a:pt x="504" y="432"/>
                  </a:lnTo>
                  <a:lnTo>
                    <a:pt x="498" y="432"/>
                  </a:lnTo>
                  <a:lnTo>
                    <a:pt x="498" y="426"/>
                  </a:lnTo>
                  <a:lnTo>
                    <a:pt x="498" y="4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4" name="Freeform 9">
              <a:extLst>
                <a:ext uri="{FF2B5EF4-FFF2-40B4-BE49-F238E27FC236}">
                  <a16:creationId xmlns:a16="http://schemas.microsoft.com/office/drawing/2014/main" id="{E0116D32-BD2E-45EA-B818-A3082585D5F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3055" y="2468650"/>
              <a:ext cx="800556" cy="1207710"/>
            </a:xfrm>
            <a:custGeom>
              <a:avLst/>
              <a:gdLst>
                <a:gd name="T0" fmla="*/ 24 w 1506"/>
                <a:gd name="T1" fmla="*/ 190 h 2274"/>
                <a:gd name="T2" fmla="*/ 25 w 1506"/>
                <a:gd name="T3" fmla="*/ 180 h 2274"/>
                <a:gd name="T4" fmla="*/ 21 w 1506"/>
                <a:gd name="T5" fmla="*/ 174 h 2274"/>
                <a:gd name="T6" fmla="*/ 17 w 1506"/>
                <a:gd name="T7" fmla="*/ 170 h 2274"/>
                <a:gd name="T8" fmla="*/ 12 w 1506"/>
                <a:gd name="T9" fmla="*/ 168 h 2274"/>
                <a:gd name="T10" fmla="*/ 10 w 1506"/>
                <a:gd name="T11" fmla="*/ 173 h 2274"/>
                <a:gd name="T12" fmla="*/ 7 w 1506"/>
                <a:gd name="T13" fmla="*/ 174 h 2274"/>
                <a:gd name="T14" fmla="*/ 0 w 1506"/>
                <a:gd name="T15" fmla="*/ 163 h 2274"/>
                <a:gd name="T16" fmla="*/ 16 w 1506"/>
                <a:gd name="T17" fmla="*/ 140 h 2274"/>
                <a:gd name="T18" fmla="*/ 19 w 1506"/>
                <a:gd name="T19" fmla="*/ 137 h 2274"/>
                <a:gd name="T20" fmla="*/ 24 w 1506"/>
                <a:gd name="T21" fmla="*/ 126 h 2274"/>
                <a:gd name="T22" fmla="*/ 23 w 1506"/>
                <a:gd name="T23" fmla="*/ 105 h 2274"/>
                <a:gd name="T24" fmla="*/ 14 w 1506"/>
                <a:gd name="T25" fmla="*/ 86 h 2274"/>
                <a:gd name="T26" fmla="*/ 8 w 1506"/>
                <a:gd name="T27" fmla="*/ 84 h 2274"/>
                <a:gd name="T28" fmla="*/ 5 w 1506"/>
                <a:gd name="T29" fmla="*/ 79 h 2274"/>
                <a:gd name="T30" fmla="*/ 16 w 1506"/>
                <a:gd name="T31" fmla="*/ 71 h 2274"/>
                <a:gd name="T32" fmla="*/ 28 w 1506"/>
                <a:gd name="T33" fmla="*/ 55 h 2274"/>
                <a:gd name="T34" fmla="*/ 29 w 1506"/>
                <a:gd name="T35" fmla="*/ 48 h 2274"/>
                <a:gd name="T36" fmla="*/ 35 w 1506"/>
                <a:gd name="T37" fmla="*/ 50 h 2274"/>
                <a:gd name="T38" fmla="*/ 42 w 1506"/>
                <a:gd name="T39" fmla="*/ 47 h 2274"/>
                <a:gd name="T40" fmla="*/ 63 w 1506"/>
                <a:gd name="T41" fmla="*/ 34 h 2274"/>
                <a:gd name="T42" fmla="*/ 74 w 1506"/>
                <a:gd name="T43" fmla="*/ 27 h 2274"/>
                <a:gd name="T44" fmla="*/ 81 w 1506"/>
                <a:gd name="T45" fmla="*/ 20 h 2274"/>
                <a:gd name="T46" fmla="*/ 89 w 1506"/>
                <a:gd name="T47" fmla="*/ 20 h 2274"/>
                <a:gd name="T48" fmla="*/ 98 w 1506"/>
                <a:gd name="T49" fmla="*/ 27 h 2274"/>
                <a:gd name="T50" fmla="*/ 106 w 1506"/>
                <a:gd name="T51" fmla="*/ 17 h 2274"/>
                <a:gd name="T52" fmla="*/ 111 w 1506"/>
                <a:gd name="T53" fmla="*/ 8 h 2274"/>
                <a:gd name="T54" fmla="*/ 121 w 1506"/>
                <a:gd name="T55" fmla="*/ 2 h 2274"/>
                <a:gd name="T56" fmla="*/ 129 w 1506"/>
                <a:gd name="T57" fmla="*/ 5 h 2274"/>
                <a:gd name="T58" fmla="*/ 125 w 1506"/>
                <a:gd name="T59" fmla="*/ 12 h 2274"/>
                <a:gd name="T60" fmla="*/ 122 w 1506"/>
                <a:gd name="T61" fmla="*/ 20 h 2274"/>
                <a:gd name="T62" fmla="*/ 122 w 1506"/>
                <a:gd name="T63" fmla="*/ 27 h 2274"/>
                <a:gd name="T64" fmla="*/ 120 w 1506"/>
                <a:gd name="T65" fmla="*/ 36 h 2274"/>
                <a:gd name="T66" fmla="*/ 116 w 1506"/>
                <a:gd name="T67" fmla="*/ 43 h 2274"/>
                <a:gd name="T68" fmla="*/ 109 w 1506"/>
                <a:gd name="T69" fmla="*/ 47 h 2274"/>
                <a:gd name="T70" fmla="*/ 108 w 1506"/>
                <a:gd name="T71" fmla="*/ 54 h 2274"/>
                <a:gd name="T72" fmla="*/ 106 w 1506"/>
                <a:gd name="T73" fmla="*/ 59 h 2274"/>
                <a:gd name="T74" fmla="*/ 109 w 1506"/>
                <a:gd name="T75" fmla="*/ 64 h 2274"/>
                <a:gd name="T76" fmla="*/ 106 w 1506"/>
                <a:gd name="T77" fmla="*/ 70 h 2274"/>
                <a:gd name="T78" fmla="*/ 105 w 1506"/>
                <a:gd name="T79" fmla="*/ 75 h 2274"/>
                <a:gd name="T80" fmla="*/ 101 w 1506"/>
                <a:gd name="T81" fmla="*/ 78 h 2274"/>
                <a:gd name="T82" fmla="*/ 92 w 1506"/>
                <a:gd name="T83" fmla="*/ 81 h 2274"/>
                <a:gd name="T84" fmla="*/ 85 w 1506"/>
                <a:gd name="T85" fmla="*/ 85 h 2274"/>
                <a:gd name="T86" fmla="*/ 87 w 1506"/>
                <a:gd name="T87" fmla="*/ 91 h 2274"/>
                <a:gd name="T88" fmla="*/ 86 w 1506"/>
                <a:gd name="T89" fmla="*/ 98 h 2274"/>
                <a:gd name="T90" fmla="*/ 86 w 1506"/>
                <a:gd name="T91" fmla="*/ 103 h 2274"/>
                <a:gd name="T92" fmla="*/ 82 w 1506"/>
                <a:gd name="T93" fmla="*/ 111 h 2274"/>
                <a:gd name="T94" fmla="*/ 81 w 1506"/>
                <a:gd name="T95" fmla="*/ 116 h 2274"/>
                <a:gd name="T96" fmla="*/ 78 w 1506"/>
                <a:gd name="T97" fmla="*/ 120 h 2274"/>
                <a:gd name="T98" fmla="*/ 76 w 1506"/>
                <a:gd name="T99" fmla="*/ 126 h 2274"/>
                <a:gd name="T100" fmla="*/ 68 w 1506"/>
                <a:gd name="T101" fmla="*/ 129 h 2274"/>
                <a:gd name="T102" fmla="*/ 62 w 1506"/>
                <a:gd name="T103" fmla="*/ 131 h 2274"/>
                <a:gd name="T104" fmla="*/ 58 w 1506"/>
                <a:gd name="T105" fmla="*/ 136 h 2274"/>
                <a:gd name="T106" fmla="*/ 51 w 1506"/>
                <a:gd name="T107" fmla="*/ 138 h 2274"/>
                <a:gd name="T108" fmla="*/ 51 w 1506"/>
                <a:gd name="T109" fmla="*/ 147 h 2274"/>
                <a:gd name="T110" fmla="*/ 49 w 1506"/>
                <a:gd name="T111" fmla="*/ 159 h 2274"/>
                <a:gd name="T112" fmla="*/ 48 w 1506"/>
                <a:gd name="T113" fmla="*/ 166 h 2274"/>
                <a:gd name="T114" fmla="*/ 41 w 1506"/>
                <a:gd name="T115" fmla="*/ 174 h 2274"/>
                <a:gd name="T116" fmla="*/ 39 w 1506"/>
                <a:gd name="T117" fmla="*/ 181 h 2274"/>
                <a:gd name="T118" fmla="*/ 37 w 1506"/>
                <a:gd name="T119" fmla="*/ 190 h 2274"/>
                <a:gd name="T120" fmla="*/ 29 w 1506"/>
                <a:gd name="T121" fmla="*/ 198 h 22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06"/>
                <a:gd name="T184" fmla="*/ 0 h 2274"/>
                <a:gd name="T185" fmla="*/ 1506 w 1506"/>
                <a:gd name="T186" fmla="*/ 2274 h 227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06" h="2274">
                  <a:moveTo>
                    <a:pt x="330" y="2274"/>
                  </a:moveTo>
                  <a:lnTo>
                    <a:pt x="318" y="2262"/>
                  </a:lnTo>
                  <a:lnTo>
                    <a:pt x="312" y="2238"/>
                  </a:lnTo>
                  <a:lnTo>
                    <a:pt x="312" y="2232"/>
                  </a:lnTo>
                  <a:lnTo>
                    <a:pt x="294" y="2214"/>
                  </a:lnTo>
                  <a:lnTo>
                    <a:pt x="288" y="2208"/>
                  </a:lnTo>
                  <a:lnTo>
                    <a:pt x="288" y="2202"/>
                  </a:lnTo>
                  <a:lnTo>
                    <a:pt x="276" y="2196"/>
                  </a:lnTo>
                  <a:lnTo>
                    <a:pt x="276" y="2190"/>
                  </a:lnTo>
                  <a:lnTo>
                    <a:pt x="282" y="2190"/>
                  </a:lnTo>
                  <a:lnTo>
                    <a:pt x="282" y="2184"/>
                  </a:lnTo>
                  <a:lnTo>
                    <a:pt x="276" y="2172"/>
                  </a:lnTo>
                  <a:lnTo>
                    <a:pt x="276" y="2166"/>
                  </a:lnTo>
                  <a:lnTo>
                    <a:pt x="282" y="2166"/>
                  </a:lnTo>
                  <a:lnTo>
                    <a:pt x="282" y="2154"/>
                  </a:lnTo>
                  <a:lnTo>
                    <a:pt x="276" y="2136"/>
                  </a:lnTo>
                  <a:lnTo>
                    <a:pt x="276" y="2112"/>
                  </a:lnTo>
                  <a:lnTo>
                    <a:pt x="282" y="2088"/>
                  </a:lnTo>
                  <a:lnTo>
                    <a:pt x="282" y="2082"/>
                  </a:lnTo>
                  <a:lnTo>
                    <a:pt x="282" y="2076"/>
                  </a:lnTo>
                  <a:lnTo>
                    <a:pt x="282" y="2070"/>
                  </a:lnTo>
                  <a:lnTo>
                    <a:pt x="288" y="2070"/>
                  </a:lnTo>
                  <a:lnTo>
                    <a:pt x="288" y="2064"/>
                  </a:lnTo>
                  <a:lnTo>
                    <a:pt x="282" y="2052"/>
                  </a:lnTo>
                  <a:lnTo>
                    <a:pt x="282" y="2046"/>
                  </a:lnTo>
                  <a:lnTo>
                    <a:pt x="276" y="2040"/>
                  </a:lnTo>
                  <a:lnTo>
                    <a:pt x="270" y="2034"/>
                  </a:lnTo>
                  <a:lnTo>
                    <a:pt x="264" y="2022"/>
                  </a:lnTo>
                  <a:lnTo>
                    <a:pt x="258" y="2022"/>
                  </a:lnTo>
                  <a:lnTo>
                    <a:pt x="258" y="2016"/>
                  </a:lnTo>
                  <a:lnTo>
                    <a:pt x="252" y="2016"/>
                  </a:lnTo>
                  <a:lnTo>
                    <a:pt x="246" y="2016"/>
                  </a:lnTo>
                  <a:lnTo>
                    <a:pt x="240" y="2010"/>
                  </a:lnTo>
                  <a:lnTo>
                    <a:pt x="234" y="2004"/>
                  </a:lnTo>
                  <a:lnTo>
                    <a:pt x="228" y="2004"/>
                  </a:lnTo>
                  <a:lnTo>
                    <a:pt x="228" y="1998"/>
                  </a:lnTo>
                  <a:lnTo>
                    <a:pt x="228" y="1992"/>
                  </a:lnTo>
                  <a:lnTo>
                    <a:pt x="222" y="1992"/>
                  </a:lnTo>
                  <a:lnTo>
                    <a:pt x="222" y="1986"/>
                  </a:lnTo>
                  <a:lnTo>
                    <a:pt x="216" y="1986"/>
                  </a:lnTo>
                  <a:lnTo>
                    <a:pt x="210" y="1980"/>
                  </a:lnTo>
                  <a:lnTo>
                    <a:pt x="216" y="1974"/>
                  </a:lnTo>
                  <a:lnTo>
                    <a:pt x="210" y="1968"/>
                  </a:lnTo>
                  <a:lnTo>
                    <a:pt x="198" y="1956"/>
                  </a:lnTo>
                  <a:lnTo>
                    <a:pt x="192" y="1956"/>
                  </a:lnTo>
                  <a:lnTo>
                    <a:pt x="186" y="1956"/>
                  </a:lnTo>
                  <a:lnTo>
                    <a:pt x="180" y="1944"/>
                  </a:lnTo>
                  <a:lnTo>
                    <a:pt x="180" y="1938"/>
                  </a:lnTo>
                  <a:lnTo>
                    <a:pt x="174" y="1932"/>
                  </a:lnTo>
                  <a:lnTo>
                    <a:pt x="168" y="1932"/>
                  </a:lnTo>
                  <a:lnTo>
                    <a:pt x="162" y="1932"/>
                  </a:lnTo>
                  <a:lnTo>
                    <a:pt x="150" y="1932"/>
                  </a:lnTo>
                  <a:lnTo>
                    <a:pt x="150" y="1926"/>
                  </a:lnTo>
                  <a:lnTo>
                    <a:pt x="150" y="1932"/>
                  </a:lnTo>
                  <a:lnTo>
                    <a:pt x="144" y="1932"/>
                  </a:lnTo>
                  <a:lnTo>
                    <a:pt x="138" y="1932"/>
                  </a:lnTo>
                  <a:lnTo>
                    <a:pt x="132" y="1932"/>
                  </a:lnTo>
                  <a:lnTo>
                    <a:pt x="132" y="1938"/>
                  </a:lnTo>
                  <a:lnTo>
                    <a:pt x="126" y="1944"/>
                  </a:lnTo>
                  <a:lnTo>
                    <a:pt x="126" y="1956"/>
                  </a:lnTo>
                  <a:lnTo>
                    <a:pt x="120" y="1968"/>
                  </a:lnTo>
                  <a:lnTo>
                    <a:pt x="120" y="1974"/>
                  </a:lnTo>
                  <a:lnTo>
                    <a:pt x="120" y="1980"/>
                  </a:lnTo>
                  <a:lnTo>
                    <a:pt x="126" y="1980"/>
                  </a:lnTo>
                  <a:lnTo>
                    <a:pt x="120" y="1986"/>
                  </a:lnTo>
                  <a:lnTo>
                    <a:pt x="120" y="1992"/>
                  </a:lnTo>
                  <a:lnTo>
                    <a:pt x="114" y="1992"/>
                  </a:lnTo>
                  <a:lnTo>
                    <a:pt x="114" y="1986"/>
                  </a:lnTo>
                  <a:lnTo>
                    <a:pt x="108" y="1992"/>
                  </a:lnTo>
                  <a:lnTo>
                    <a:pt x="108" y="1998"/>
                  </a:lnTo>
                  <a:lnTo>
                    <a:pt x="114" y="2004"/>
                  </a:lnTo>
                  <a:lnTo>
                    <a:pt x="108" y="2004"/>
                  </a:lnTo>
                  <a:lnTo>
                    <a:pt x="102" y="2010"/>
                  </a:lnTo>
                  <a:lnTo>
                    <a:pt x="102" y="2004"/>
                  </a:lnTo>
                  <a:lnTo>
                    <a:pt x="90" y="2004"/>
                  </a:lnTo>
                  <a:lnTo>
                    <a:pt x="84" y="2004"/>
                  </a:lnTo>
                  <a:lnTo>
                    <a:pt x="78" y="1998"/>
                  </a:lnTo>
                  <a:lnTo>
                    <a:pt x="78" y="1992"/>
                  </a:lnTo>
                  <a:lnTo>
                    <a:pt x="78" y="1986"/>
                  </a:lnTo>
                  <a:lnTo>
                    <a:pt x="72" y="1986"/>
                  </a:lnTo>
                  <a:lnTo>
                    <a:pt x="66" y="1980"/>
                  </a:lnTo>
                  <a:lnTo>
                    <a:pt x="66" y="1968"/>
                  </a:lnTo>
                  <a:lnTo>
                    <a:pt x="60" y="1956"/>
                  </a:lnTo>
                  <a:lnTo>
                    <a:pt x="60" y="1950"/>
                  </a:lnTo>
                  <a:lnTo>
                    <a:pt x="48" y="1944"/>
                  </a:lnTo>
                  <a:lnTo>
                    <a:pt x="30" y="1926"/>
                  </a:lnTo>
                  <a:lnTo>
                    <a:pt x="12" y="1890"/>
                  </a:lnTo>
                  <a:lnTo>
                    <a:pt x="6" y="1872"/>
                  </a:lnTo>
                  <a:lnTo>
                    <a:pt x="0" y="1854"/>
                  </a:lnTo>
                  <a:lnTo>
                    <a:pt x="6" y="1824"/>
                  </a:lnTo>
                  <a:lnTo>
                    <a:pt x="30" y="1794"/>
                  </a:lnTo>
                  <a:lnTo>
                    <a:pt x="66" y="1752"/>
                  </a:lnTo>
                  <a:lnTo>
                    <a:pt x="72" y="1752"/>
                  </a:lnTo>
                  <a:lnTo>
                    <a:pt x="78" y="1746"/>
                  </a:lnTo>
                  <a:lnTo>
                    <a:pt x="84" y="1746"/>
                  </a:lnTo>
                  <a:lnTo>
                    <a:pt x="90" y="1746"/>
                  </a:lnTo>
                  <a:lnTo>
                    <a:pt x="138" y="1674"/>
                  </a:lnTo>
                  <a:lnTo>
                    <a:pt x="186" y="1620"/>
                  </a:lnTo>
                  <a:lnTo>
                    <a:pt x="186" y="1614"/>
                  </a:lnTo>
                  <a:lnTo>
                    <a:pt x="186" y="1608"/>
                  </a:lnTo>
                  <a:lnTo>
                    <a:pt x="192" y="1608"/>
                  </a:lnTo>
                  <a:lnTo>
                    <a:pt x="192" y="1614"/>
                  </a:lnTo>
                  <a:lnTo>
                    <a:pt x="198" y="1614"/>
                  </a:lnTo>
                  <a:lnTo>
                    <a:pt x="198" y="1608"/>
                  </a:lnTo>
                  <a:lnTo>
                    <a:pt x="198" y="1602"/>
                  </a:lnTo>
                  <a:lnTo>
                    <a:pt x="204" y="1602"/>
                  </a:lnTo>
                  <a:lnTo>
                    <a:pt x="204" y="1596"/>
                  </a:lnTo>
                  <a:lnTo>
                    <a:pt x="210" y="1590"/>
                  </a:lnTo>
                  <a:lnTo>
                    <a:pt x="216" y="1590"/>
                  </a:lnTo>
                  <a:lnTo>
                    <a:pt x="216" y="1584"/>
                  </a:lnTo>
                  <a:lnTo>
                    <a:pt x="222" y="1584"/>
                  </a:lnTo>
                  <a:lnTo>
                    <a:pt x="228" y="1572"/>
                  </a:lnTo>
                  <a:lnTo>
                    <a:pt x="222" y="1572"/>
                  </a:lnTo>
                  <a:lnTo>
                    <a:pt x="228" y="1566"/>
                  </a:lnTo>
                  <a:lnTo>
                    <a:pt x="228" y="1560"/>
                  </a:lnTo>
                  <a:lnTo>
                    <a:pt x="252" y="1548"/>
                  </a:lnTo>
                  <a:lnTo>
                    <a:pt x="276" y="1530"/>
                  </a:lnTo>
                  <a:lnTo>
                    <a:pt x="282" y="1512"/>
                  </a:lnTo>
                  <a:lnTo>
                    <a:pt x="282" y="1506"/>
                  </a:lnTo>
                  <a:lnTo>
                    <a:pt x="282" y="1494"/>
                  </a:lnTo>
                  <a:lnTo>
                    <a:pt x="282" y="1452"/>
                  </a:lnTo>
                  <a:lnTo>
                    <a:pt x="288" y="1440"/>
                  </a:lnTo>
                  <a:lnTo>
                    <a:pt x="294" y="1440"/>
                  </a:lnTo>
                  <a:lnTo>
                    <a:pt x="294" y="1428"/>
                  </a:lnTo>
                  <a:lnTo>
                    <a:pt x="324" y="1368"/>
                  </a:lnTo>
                  <a:lnTo>
                    <a:pt x="330" y="1362"/>
                  </a:lnTo>
                  <a:lnTo>
                    <a:pt x="330" y="1356"/>
                  </a:lnTo>
                  <a:lnTo>
                    <a:pt x="360" y="1338"/>
                  </a:lnTo>
                  <a:lnTo>
                    <a:pt x="366" y="1296"/>
                  </a:lnTo>
                  <a:lnTo>
                    <a:pt x="354" y="1278"/>
                  </a:lnTo>
                  <a:lnTo>
                    <a:pt x="336" y="1230"/>
                  </a:lnTo>
                  <a:lnTo>
                    <a:pt x="270" y="1212"/>
                  </a:lnTo>
                  <a:lnTo>
                    <a:pt x="264" y="1212"/>
                  </a:lnTo>
                  <a:lnTo>
                    <a:pt x="252" y="1200"/>
                  </a:lnTo>
                  <a:lnTo>
                    <a:pt x="234" y="1188"/>
                  </a:lnTo>
                  <a:lnTo>
                    <a:pt x="222" y="1182"/>
                  </a:lnTo>
                  <a:lnTo>
                    <a:pt x="228" y="1104"/>
                  </a:lnTo>
                  <a:lnTo>
                    <a:pt x="228" y="1098"/>
                  </a:lnTo>
                  <a:lnTo>
                    <a:pt x="198" y="1038"/>
                  </a:lnTo>
                  <a:lnTo>
                    <a:pt x="192" y="1032"/>
                  </a:lnTo>
                  <a:lnTo>
                    <a:pt x="180" y="1020"/>
                  </a:lnTo>
                  <a:lnTo>
                    <a:pt x="168" y="996"/>
                  </a:lnTo>
                  <a:lnTo>
                    <a:pt x="162" y="990"/>
                  </a:lnTo>
                  <a:lnTo>
                    <a:pt x="156" y="990"/>
                  </a:lnTo>
                  <a:lnTo>
                    <a:pt x="150" y="990"/>
                  </a:lnTo>
                  <a:lnTo>
                    <a:pt x="132" y="990"/>
                  </a:lnTo>
                  <a:lnTo>
                    <a:pt x="120" y="984"/>
                  </a:lnTo>
                  <a:lnTo>
                    <a:pt x="120" y="990"/>
                  </a:lnTo>
                  <a:lnTo>
                    <a:pt x="114" y="990"/>
                  </a:lnTo>
                  <a:lnTo>
                    <a:pt x="102" y="984"/>
                  </a:lnTo>
                  <a:lnTo>
                    <a:pt x="96" y="984"/>
                  </a:lnTo>
                  <a:lnTo>
                    <a:pt x="96" y="978"/>
                  </a:lnTo>
                  <a:lnTo>
                    <a:pt x="90" y="978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84" y="960"/>
                  </a:lnTo>
                  <a:lnTo>
                    <a:pt x="84" y="954"/>
                  </a:lnTo>
                  <a:lnTo>
                    <a:pt x="78" y="948"/>
                  </a:lnTo>
                  <a:lnTo>
                    <a:pt x="72" y="948"/>
                  </a:lnTo>
                  <a:lnTo>
                    <a:pt x="72" y="942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06"/>
                  </a:lnTo>
                  <a:lnTo>
                    <a:pt x="60" y="888"/>
                  </a:lnTo>
                  <a:lnTo>
                    <a:pt x="54" y="882"/>
                  </a:lnTo>
                  <a:lnTo>
                    <a:pt x="60" y="882"/>
                  </a:lnTo>
                  <a:lnTo>
                    <a:pt x="72" y="876"/>
                  </a:lnTo>
                  <a:lnTo>
                    <a:pt x="78" y="876"/>
                  </a:lnTo>
                  <a:lnTo>
                    <a:pt x="90" y="870"/>
                  </a:lnTo>
                  <a:lnTo>
                    <a:pt x="90" y="864"/>
                  </a:lnTo>
                  <a:lnTo>
                    <a:pt x="96" y="840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80" y="822"/>
                  </a:lnTo>
                  <a:lnTo>
                    <a:pt x="204" y="798"/>
                  </a:lnTo>
                  <a:lnTo>
                    <a:pt x="222" y="786"/>
                  </a:lnTo>
                  <a:lnTo>
                    <a:pt x="252" y="780"/>
                  </a:lnTo>
                  <a:lnTo>
                    <a:pt x="264" y="762"/>
                  </a:lnTo>
                  <a:lnTo>
                    <a:pt x="276" y="762"/>
                  </a:lnTo>
                  <a:lnTo>
                    <a:pt x="288" y="744"/>
                  </a:lnTo>
                  <a:lnTo>
                    <a:pt x="306" y="738"/>
                  </a:lnTo>
                  <a:lnTo>
                    <a:pt x="318" y="732"/>
                  </a:lnTo>
                  <a:lnTo>
                    <a:pt x="324" y="648"/>
                  </a:lnTo>
                  <a:lnTo>
                    <a:pt x="324" y="636"/>
                  </a:lnTo>
                  <a:lnTo>
                    <a:pt x="324" y="630"/>
                  </a:lnTo>
                  <a:lnTo>
                    <a:pt x="330" y="624"/>
                  </a:lnTo>
                  <a:lnTo>
                    <a:pt x="324" y="618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24" y="588"/>
                  </a:lnTo>
                  <a:lnTo>
                    <a:pt x="318" y="576"/>
                  </a:lnTo>
                  <a:lnTo>
                    <a:pt x="318" y="570"/>
                  </a:lnTo>
                  <a:lnTo>
                    <a:pt x="324" y="570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30" y="558"/>
                  </a:lnTo>
                  <a:lnTo>
                    <a:pt x="336" y="558"/>
                  </a:lnTo>
                  <a:lnTo>
                    <a:pt x="342" y="558"/>
                  </a:lnTo>
                  <a:lnTo>
                    <a:pt x="348" y="558"/>
                  </a:lnTo>
                  <a:lnTo>
                    <a:pt x="354" y="564"/>
                  </a:lnTo>
                  <a:lnTo>
                    <a:pt x="360" y="564"/>
                  </a:lnTo>
                  <a:lnTo>
                    <a:pt x="366" y="570"/>
                  </a:lnTo>
                  <a:lnTo>
                    <a:pt x="366" y="576"/>
                  </a:lnTo>
                  <a:lnTo>
                    <a:pt x="372" y="570"/>
                  </a:lnTo>
                  <a:lnTo>
                    <a:pt x="378" y="570"/>
                  </a:lnTo>
                  <a:lnTo>
                    <a:pt x="390" y="570"/>
                  </a:lnTo>
                  <a:lnTo>
                    <a:pt x="402" y="570"/>
                  </a:lnTo>
                  <a:lnTo>
                    <a:pt x="408" y="570"/>
                  </a:lnTo>
                  <a:lnTo>
                    <a:pt x="414" y="564"/>
                  </a:lnTo>
                  <a:lnTo>
                    <a:pt x="420" y="564"/>
                  </a:lnTo>
                  <a:lnTo>
                    <a:pt x="420" y="570"/>
                  </a:lnTo>
                  <a:lnTo>
                    <a:pt x="426" y="570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44" y="570"/>
                  </a:lnTo>
                  <a:lnTo>
                    <a:pt x="450" y="564"/>
                  </a:lnTo>
                  <a:lnTo>
                    <a:pt x="474" y="558"/>
                  </a:lnTo>
                  <a:lnTo>
                    <a:pt x="486" y="54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40" y="474"/>
                  </a:lnTo>
                  <a:lnTo>
                    <a:pt x="558" y="456"/>
                  </a:lnTo>
                  <a:lnTo>
                    <a:pt x="582" y="450"/>
                  </a:lnTo>
                  <a:lnTo>
                    <a:pt x="594" y="414"/>
                  </a:lnTo>
                  <a:lnTo>
                    <a:pt x="612" y="390"/>
                  </a:lnTo>
                  <a:lnTo>
                    <a:pt x="636" y="390"/>
                  </a:lnTo>
                  <a:lnTo>
                    <a:pt x="666" y="390"/>
                  </a:lnTo>
                  <a:lnTo>
                    <a:pt x="696" y="390"/>
                  </a:lnTo>
                  <a:lnTo>
                    <a:pt x="726" y="390"/>
                  </a:lnTo>
                  <a:lnTo>
                    <a:pt x="762" y="378"/>
                  </a:lnTo>
                  <a:lnTo>
                    <a:pt x="780" y="366"/>
                  </a:lnTo>
                  <a:lnTo>
                    <a:pt x="780" y="342"/>
                  </a:lnTo>
                  <a:lnTo>
                    <a:pt x="786" y="342"/>
                  </a:lnTo>
                  <a:lnTo>
                    <a:pt x="786" y="336"/>
                  </a:lnTo>
                  <a:lnTo>
                    <a:pt x="786" y="330"/>
                  </a:lnTo>
                  <a:lnTo>
                    <a:pt x="786" y="324"/>
                  </a:lnTo>
                  <a:lnTo>
                    <a:pt x="816" y="318"/>
                  </a:lnTo>
                  <a:lnTo>
                    <a:pt x="834" y="312"/>
                  </a:lnTo>
                  <a:lnTo>
                    <a:pt x="840" y="318"/>
                  </a:lnTo>
                  <a:lnTo>
                    <a:pt x="852" y="318"/>
                  </a:lnTo>
                  <a:lnTo>
                    <a:pt x="858" y="306"/>
                  </a:lnTo>
                  <a:lnTo>
                    <a:pt x="864" y="288"/>
                  </a:lnTo>
                  <a:lnTo>
                    <a:pt x="870" y="282"/>
                  </a:lnTo>
                  <a:lnTo>
                    <a:pt x="876" y="276"/>
                  </a:lnTo>
                  <a:lnTo>
                    <a:pt x="882" y="264"/>
                  </a:lnTo>
                  <a:lnTo>
                    <a:pt x="882" y="258"/>
                  </a:lnTo>
                  <a:lnTo>
                    <a:pt x="888" y="252"/>
                  </a:lnTo>
                  <a:lnTo>
                    <a:pt x="894" y="240"/>
                  </a:lnTo>
                  <a:lnTo>
                    <a:pt x="906" y="228"/>
                  </a:lnTo>
                  <a:lnTo>
                    <a:pt x="912" y="228"/>
                  </a:lnTo>
                  <a:lnTo>
                    <a:pt x="936" y="228"/>
                  </a:lnTo>
                  <a:lnTo>
                    <a:pt x="942" y="222"/>
                  </a:lnTo>
                  <a:lnTo>
                    <a:pt x="948" y="216"/>
                  </a:lnTo>
                  <a:lnTo>
                    <a:pt x="954" y="216"/>
                  </a:lnTo>
                  <a:lnTo>
                    <a:pt x="960" y="216"/>
                  </a:lnTo>
                  <a:lnTo>
                    <a:pt x="966" y="216"/>
                  </a:lnTo>
                  <a:lnTo>
                    <a:pt x="978" y="216"/>
                  </a:lnTo>
                  <a:lnTo>
                    <a:pt x="990" y="222"/>
                  </a:lnTo>
                  <a:lnTo>
                    <a:pt x="996" y="222"/>
                  </a:lnTo>
                  <a:lnTo>
                    <a:pt x="1002" y="228"/>
                  </a:lnTo>
                  <a:lnTo>
                    <a:pt x="1014" y="234"/>
                  </a:lnTo>
                  <a:lnTo>
                    <a:pt x="1020" y="234"/>
                  </a:lnTo>
                  <a:lnTo>
                    <a:pt x="1032" y="240"/>
                  </a:lnTo>
                  <a:lnTo>
                    <a:pt x="1044" y="240"/>
                  </a:lnTo>
                  <a:lnTo>
                    <a:pt x="1050" y="240"/>
                  </a:lnTo>
                  <a:lnTo>
                    <a:pt x="1056" y="246"/>
                  </a:lnTo>
                  <a:lnTo>
                    <a:pt x="1068" y="264"/>
                  </a:lnTo>
                  <a:lnTo>
                    <a:pt x="1086" y="276"/>
                  </a:lnTo>
                  <a:lnTo>
                    <a:pt x="1092" y="276"/>
                  </a:lnTo>
                  <a:lnTo>
                    <a:pt x="1104" y="282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8" y="312"/>
                  </a:lnTo>
                  <a:lnTo>
                    <a:pt x="1152" y="324"/>
                  </a:lnTo>
                  <a:lnTo>
                    <a:pt x="1188" y="324"/>
                  </a:lnTo>
                  <a:lnTo>
                    <a:pt x="1206" y="318"/>
                  </a:lnTo>
                  <a:lnTo>
                    <a:pt x="1200" y="294"/>
                  </a:lnTo>
                  <a:lnTo>
                    <a:pt x="1206" y="252"/>
                  </a:lnTo>
                  <a:lnTo>
                    <a:pt x="1218" y="222"/>
                  </a:lnTo>
                  <a:lnTo>
                    <a:pt x="1212" y="222"/>
                  </a:lnTo>
                  <a:lnTo>
                    <a:pt x="1212" y="216"/>
                  </a:lnTo>
                  <a:lnTo>
                    <a:pt x="1218" y="204"/>
                  </a:lnTo>
                  <a:lnTo>
                    <a:pt x="1224" y="198"/>
                  </a:lnTo>
                  <a:lnTo>
                    <a:pt x="1224" y="192"/>
                  </a:lnTo>
                  <a:lnTo>
                    <a:pt x="1236" y="180"/>
                  </a:lnTo>
                  <a:lnTo>
                    <a:pt x="1254" y="156"/>
                  </a:lnTo>
                  <a:lnTo>
                    <a:pt x="1260" y="150"/>
                  </a:lnTo>
                  <a:lnTo>
                    <a:pt x="1260" y="144"/>
                  </a:lnTo>
                  <a:lnTo>
                    <a:pt x="1266" y="138"/>
                  </a:lnTo>
                  <a:lnTo>
                    <a:pt x="1272" y="138"/>
                  </a:lnTo>
                  <a:lnTo>
                    <a:pt x="1272" y="120"/>
                  </a:lnTo>
                  <a:lnTo>
                    <a:pt x="1278" y="114"/>
                  </a:lnTo>
                  <a:lnTo>
                    <a:pt x="1278" y="108"/>
                  </a:lnTo>
                  <a:lnTo>
                    <a:pt x="1278" y="102"/>
                  </a:lnTo>
                  <a:lnTo>
                    <a:pt x="1278" y="90"/>
                  </a:lnTo>
                  <a:lnTo>
                    <a:pt x="1278" y="84"/>
                  </a:lnTo>
                  <a:lnTo>
                    <a:pt x="1278" y="78"/>
                  </a:lnTo>
                  <a:lnTo>
                    <a:pt x="1278" y="72"/>
                  </a:lnTo>
                  <a:lnTo>
                    <a:pt x="1278" y="60"/>
                  </a:lnTo>
                  <a:lnTo>
                    <a:pt x="1284" y="48"/>
                  </a:lnTo>
                  <a:lnTo>
                    <a:pt x="1284" y="24"/>
                  </a:lnTo>
                  <a:lnTo>
                    <a:pt x="1284" y="18"/>
                  </a:lnTo>
                  <a:lnTo>
                    <a:pt x="1308" y="24"/>
                  </a:lnTo>
                  <a:lnTo>
                    <a:pt x="1332" y="30"/>
                  </a:lnTo>
                  <a:lnTo>
                    <a:pt x="1368" y="30"/>
                  </a:lnTo>
                  <a:lnTo>
                    <a:pt x="1392" y="24"/>
                  </a:lnTo>
                  <a:lnTo>
                    <a:pt x="1410" y="18"/>
                  </a:lnTo>
                  <a:lnTo>
                    <a:pt x="1416" y="6"/>
                  </a:lnTo>
                  <a:lnTo>
                    <a:pt x="1500" y="6"/>
                  </a:lnTo>
                  <a:lnTo>
                    <a:pt x="1506" y="0"/>
                  </a:lnTo>
                  <a:lnTo>
                    <a:pt x="1506" y="6"/>
                  </a:lnTo>
                  <a:lnTo>
                    <a:pt x="1506" y="18"/>
                  </a:lnTo>
                  <a:lnTo>
                    <a:pt x="1506" y="24"/>
                  </a:lnTo>
                  <a:lnTo>
                    <a:pt x="1500" y="30"/>
                  </a:lnTo>
                  <a:lnTo>
                    <a:pt x="1500" y="42"/>
                  </a:lnTo>
                  <a:lnTo>
                    <a:pt x="1494" y="54"/>
                  </a:lnTo>
                  <a:lnTo>
                    <a:pt x="1488" y="60"/>
                  </a:lnTo>
                  <a:lnTo>
                    <a:pt x="1482" y="60"/>
                  </a:lnTo>
                  <a:lnTo>
                    <a:pt x="1476" y="66"/>
                  </a:lnTo>
                  <a:lnTo>
                    <a:pt x="1476" y="72"/>
                  </a:lnTo>
                  <a:lnTo>
                    <a:pt x="1476" y="78"/>
                  </a:lnTo>
                  <a:lnTo>
                    <a:pt x="1470" y="78"/>
                  </a:lnTo>
                  <a:lnTo>
                    <a:pt x="1464" y="90"/>
                  </a:lnTo>
                  <a:lnTo>
                    <a:pt x="1458" y="96"/>
                  </a:lnTo>
                  <a:lnTo>
                    <a:pt x="1458" y="102"/>
                  </a:lnTo>
                  <a:lnTo>
                    <a:pt x="1452" y="120"/>
                  </a:lnTo>
                  <a:lnTo>
                    <a:pt x="1452" y="132"/>
                  </a:lnTo>
                  <a:lnTo>
                    <a:pt x="1446" y="144"/>
                  </a:lnTo>
                  <a:lnTo>
                    <a:pt x="1446" y="150"/>
                  </a:lnTo>
                  <a:lnTo>
                    <a:pt x="1440" y="150"/>
                  </a:lnTo>
                  <a:lnTo>
                    <a:pt x="1434" y="156"/>
                  </a:lnTo>
                  <a:lnTo>
                    <a:pt x="1428" y="168"/>
                  </a:lnTo>
                  <a:lnTo>
                    <a:pt x="1422" y="168"/>
                  </a:lnTo>
                  <a:lnTo>
                    <a:pt x="1416" y="174"/>
                  </a:lnTo>
                  <a:lnTo>
                    <a:pt x="1410" y="186"/>
                  </a:lnTo>
                  <a:lnTo>
                    <a:pt x="1410" y="204"/>
                  </a:lnTo>
                  <a:lnTo>
                    <a:pt x="1404" y="210"/>
                  </a:lnTo>
                  <a:lnTo>
                    <a:pt x="1404" y="216"/>
                  </a:lnTo>
                  <a:lnTo>
                    <a:pt x="1410" y="228"/>
                  </a:lnTo>
                  <a:lnTo>
                    <a:pt x="1410" y="234"/>
                  </a:lnTo>
                  <a:lnTo>
                    <a:pt x="1410" y="240"/>
                  </a:lnTo>
                  <a:lnTo>
                    <a:pt x="1416" y="252"/>
                  </a:lnTo>
                  <a:lnTo>
                    <a:pt x="1416" y="258"/>
                  </a:lnTo>
                  <a:lnTo>
                    <a:pt x="1422" y="264"/>
                  </a:lnTo>
                  <a:lnTo>
                    <a:pt x="1422" y="270"/>
                  </a:lnTo>
                  <a:lnTo>
                    <a:pt x="1422" y="282"/>
                  </a:lnTo>
                  <a:lnTo>
                    <a:pt x="1416" y="288"/>
                  </a:lnTo>
                  <a:lnTo>
                    <a:pt x="1410" y="294"/>
                  </a:lnTo>
                  <a:lnTo>
                    <a:pt x="1404" y="300"/>
                  </a:lnTo>
                  <a:lnTo>
                    <a:pt x="1404" y="306"/>
                  </a:lnTo>
                  <a:lnTo>
                    <a:pt x="1398" y="324"/>
                  </a:lnTo>
                  <a:lnTo>
                    <a:pt x="1404" y="330"/>
                  </a:lnTo>
                  <a:lnTo>
                    <a:pt x="1404" y="342"/>
                  </a:lnTo>
                  <a:lnTo>
                    <a:pt x="1392" y="354"/>
                  </a:lnTo>
                  <a:lnTo>
                    <a:pt x="1392" y="360"/>
                  </a:lnTo>
                  <a:lnTo>
                    <a:pt x="1392" y="372"/>
                  </a:lnTo>
                  <a:lnTo>
                    <a:pt x="1392" y="384"/>
                  </a:lnTo>
                  <a:lnTo>
                    <a:pt x="1392" y="396"/>
                  </a:lnTo>
                  <a:lnTo>
                    <a:pt x="1392" y="408"/>
                  </a:lnTo>
                  <a:lnTo>
                    <a:pt x="1386" y="414"/>
                  </a:lnTo>
                  <a:lnTo>
                    <a:pt x="1380" y="420"/>
                  </a:lnTo>
                  <a:lnTo>
                    <a:pt x="1380" y="426"/>
                  </a:lnTo>
                  <a:lnTo>
                    <a:pt x="1368" y="432"/>
                  </a:lnTo>
                  <a:lnTo>
                    <a:pt x="1362" y="444"/>
                  </a:lnTo>
                  <a:lnTo>
                    <a:pt x="1362" y="450"/>
                  </a:lnTo>
                  <a:lnTo>
                    <a:pt x="1362" y="462"/>
                  </a:lnTo>
                  <a:lnTo>
                    <a:pt x="1362" y="468"/>
                  </a:lnTo>
                  <a:lnTo>
                    <a:pt x="1362" y="474"/>
                  </a:lnTo>
                  <a:lnTo>
                    <a:pt x="1356" y="474"/>
                  </a:lnTo>
                  <a:lnTo>
                    <a:pt x="1350" y="480"/>
                  </a:lnTo>
                  <a:lnTo>
                    <a:pt x="1344" y="486"/>
                  </a:lnTo>
                  <a:lnTo>
                    <a:pt x="1338" y="498"/>
                  </a:lnTo>
                  <a:lnTo>
                    <a:pt x="1332" y="510"/>
                  </a:lnTo>
                  <a:lnTo>
                    <a:pt x="1320" y="510"/>
                  </a:lnTo>
                  <a:lnTo>
                    <a:pt x="1314" y="516"/>
                  </a:lnTo>
                  <a:lnTo>
                    <a:pt x="1302" y="522"/>
                  </a:lnTo>
                  <a:lnTo>
                    <a:pt x="1296" y="522"/>
                  </a:lnTo>
                  <a:lnTo>
                    <a:pt x="1284" y="516"/>
                  </a:lnTo>
                  <a:lnTo>
                    <a:pt x="1278" y="516"/>
                  </a:lnTo>
                  <a:lnTo>
                    <a:pt x="1272" y="522"/>
                  </a:lnTo>
                  <a:lnTo>
                    <a:pt x="1266" y="522"/>
                  </a:lnTo>
                  <a:lnTo>
                    <a:pt x="1266" y="528"/>
                  </a:lnTo>
                  <a:lnTo>
                    <a:pt x="1254" y="540"/>
                  </a:lnTo>
                  <a:lnTo>
                    <a:pt x="1248" y="546"/>
                  </a:lnTo>
                  <a:lnTo>
                    <a:pt x="1242" y="558"/>
                  </a:lnTo>
                  <a:lnTo>
                    <a:pt x="1230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30" y="594"/>
                  </a:lnTo>
                  <a:lnTo>
                    <a:pt x="1230" y="600"/>
                  </a:lnTo>
                  <a:lnTo>
                    <a:pt x="1236" y="606"/>
                  </a:lnTo>
                  <a:lnTo>
                    <a:pt x="1242" y="606"/>
                  </a:lnTo>
                  <a:lnTo>
                    <a:pt x="1242" y="612"/>
                  </a:lnTo>
                  <a:lnTo>
                    <a:pt x="1242" y="618"/>
                  </a:lnTo>
                  <a:lnTo>
                    <a:pt x="1242" y="624"/>
                  </a:lnTo>
                  <a:lnTo>
                    <a:pt x="1236" y="630"/>
                  </a:lnTo>
                  <a:lnTo>
                    <a:pt x="1230" y="642"/>
                  </a:lnTo>
                  <a:lnTo>
                    <a:pt x="1230" y="648"/>
                  </a:lnTo>
                  <a:lnTo>
                    <a:pt x="1218" y="654"/>
                  </a:lnTo>
                  <a:lnTo>
                    <a:pt x="1212" y="654"/>
                  </a:lnTo>
                  <a:lnTo>
                    <a:pt x="1212" y="660"/>
                  </a:lnTo>
                  <a:lnTo>
                    <a:pt x="1212" y="666"/>
                  </a:lnTo>
                  <a:lnTo>
                    <a:pt x="1212" y="672"/>
                  </a:lnTo>
                  <a:lnTo>
                    <a:pt x="1212" y="678"/>
                  </a:lnTo>
                  <a:lnTo>
                    <a:pt x="1218" y="684"/>
                  </a:lnTo>
                  <a:lnTo>
                    <a:pt x="1218" y="690"/>
                  </a:lnTo>
                  <a:lnTo>
                    <a:pt x="1224" y="696"/>
                  </a:lnTo>
                  <a:lnTo>
                    <a:pt x="1230" y="702"/>
                  </a:lnTo>
                  <a:lnTo>
                    <a:pt x="1236" y="696"/>
                  </a:lnTo>
                  <a:lnTo>
                    <a:pt x="1242" y="702"/>
                  </a:lnTo>
                  <a:lnTo>
                    <a:pt x="1248" y="708"/>
                  </a:lnTo>
                  <a:lnTo>
                    <a:pt x="1254" y="714"/>
                  </a:lnTo>
                  <a:lnTo>
                    <a:pt x="1254" y="720"/>
                  </a:lnTo>
                  <a:lnTo>
                    <a:pt x="1260" y="720"/>
                  </a:lnTo>
                  <a:lnTo>
                    <a:pt x="1254" y="732"/>
                  </a:lnTo>
                  <a:lnTo>
                    <a:pt x="1248" y="738"/>
                  </a:lnTo>
                  <a:lnTo>
                    <a:pt x="1242" y="744"/>
                  </a:lnTo>
                  <a:lnTo>
                    <a:pt x="1236" y="750"/>
                  </a:lnTo>
                  <a:lnTo>
                    <a:pt x="1236" y="756"/>
                  </a:lnTo>
                  <a:lnTo>
                    <a:pt x="1236" y="762"/>
                  </a:lnTo>
                  <a:lnTo>
                    <a:pt x="1236" y="768"/>
                  </a:lnTo>
                  <a:lnTo>
                    <a:pt x="1236" y="780"/>
                  </a:lnTo>
                  <a:lnTo>
                    <a:pt x="1230" y="780"/>
                  </a:lnTo>
                  <a:lnTo>
                    <a:pt x="1230" y="786"/>
                  </a:lnTo>
                  <a:lnTo>
                    <a:pt x="1230" y="792"/>
                  </a:lnTo>
                  <a:lnTo>
                    <a:pt x="1230" y="804"/>
                  </a:lnTo>
                  <a:lnTo>
                    <a:pt x="1224" y="810"/>
                  </a:lnTo>
                  <a:lnTo>
                    <a:pt x="1218" y="816"/>
                  </a:lnTo>
                  <a:lnTo>
                    <a:pt x="1224" y="822"/>
                  </a:lnTo>
                  <a:lnTo>
                    <a:pt x="1224" y="828"/>
                  </a:lnTo>
                  <a:lnTo>
                    <a:pt x="1218" y="834"/>
                  </a:lnTo>
                  <a:lnTo>
                    <a:pt x="1224" y="834"/>
                  </a:lnTo>
                  <a:lnTo>
                    <a:pt x="1224" y="840"/>
                  </a:lnTo>
                  <a:lnTo>
                    <a:pt x="1224" y="846"/>
                  </a:lnTo>
                  <a:lnTo>
                    <a:pt x="1224" y="852"/>
                  </a:lnTo>
                  <a:lnTo>
                    <a:pt x="1218" y="858"/>
                  </a:lnTo>
                  <a:lnTo>
                    <a:pt x="1218" y="870"/>
                  </a:lnTo>
                  <a:lnTo>
                    <a:pt x="1212" y="870"/>
                  </a:lnTo>
                  <a:lnTo>
                    <a:pt x="1212" y="876"/>
                  </a:lnTo>
                  <a:lnTo>
                    <a:pt x="1206" y="888"/>
                  </a:lnTo>
                  <a:lnTo>
                    <a:pt x="1200" y="882"/>
                  </a:lnTo>
                  <a:lnTo>
                    <a:pt x="1194" y="888"/>
                  </a:lnTo>
                  <a:lnTo>
                    <a:pt x="1188" y="894"/>
                  </a:lnTo>
                  <a:lnTo>
                    <a:pt x="1182" y="894"/>
                  </a:lnTo>
                  <a:lnTo>
                    <a:pt x="1182" y="900"/>
                  </a:lnTo>
                  <a:lnTo>
                    <a:pt x="1176" y="900"/>
                  </a:lnTo>
                  <a:lnTo>
                    <a:pt x="1170" y="894"/>
                  </a:lnTo>
                  <a:lnTo>
                    <a:pt x="1164" y="900"/>
                  </a:lnTo>
                  <a:lnTo>
                    <a:pt x="1158" y="900"/>
                  </a:lnTo>
                  <a:lnTo>
                    <a:pt x="1152" y="900"/>
                  </a:lnTo>
                  <a:lnTo>
                    <a:pt x="1140" y="900"/>
                  </a:lnTo>
                  <a:lnTo>
                    <a:pt x="1134" y="900"/>
                  </a:lnTo>
                  <a:lnTo>
                    <a:pt x="1128" y="906"/>
                  </a:lnTo>
                  <a:lnTo>
                    <a:pt x="1110" y="906"/>
                  </a:lnTo>
                  <a:lnTo>
                    <a:pt x="1104" y="906"/>
                  </a:lnTo>
                  <a:lnTo>
                    <a:pt x="1098" y="906"/>
                  </a:lnTo>
                  <a:lnTo>
                    <a:pt x="1092" y="912"/>
                  </a:lnTo>
                  <a:lnTo>
                    <a:pt x="1080" y="918"/>
                  </a:lnTo>
                  <a:lnTo>
                    <a:pt x="1068" y="930"/>
                  </a:lnTo>
                  <a:lnTo>
                    <a:pt x="1062" y="930"/>
                  </a:lnTo>
                  <a:lnTo>
                    <a:pt x="1056" y="930"/>
                  </a:lnTo>
                  <a:lnTo>
                    <a:pt x="1050" y="930"/>
                  </a:lnTo>
                  <a:lnTo>
                    <a:pt x="1050" y="936"/>
                  </a:lnTo>
                  <a:lnTo>
                    <a:pt x="1038" y="942"/>
                  </a:lnTo>
                  <a:lnTo>
                    <a:pt x="1032" y="948"/>
                  </a:lnTo>
                  <a:lnTo>
                    <a:pt x="1026" y="954"/>
                  </a:lnTo>
                  <a:lnTo>
                    <a:pt x="1020" y="960"/>
                  </a:lnTo>
                  <a:lnTo>
                    <a:pt x="1014" y="966"/>
                  </a:lnTo>
                  <a:lnTo>
                    <a:pt x="1002" y="966"/>
                  </a:lnTo>
                  <a:lnTo>
                    <a:pt x="990" y="978"/>
                  </a:lnTo>
                  <a:lnTo>
                    <a:pt x="984" y="978"/>
                  </a:lnTo>
                  <a:lnTo>
                    <a:pt x="978" y="984"/>
                  </a:lnTo>
                  <a:lnTo>
                    <a:pt x="972" y="984"/>
                  </a:lnTo>
                  <a:lnTo>
                    <a:pt x="978" y="990"/>
                  </a:lnTo>
                  <a:lnTo>
                    <a:pt x="972" y="996"/>
                  </a:lnTo>
                  <a:lnTo>
                    <a:pt x="978" y="1002"/>
                  </a:lnTo>
                  <a:lnTo>
                    <a:pt x="1002" y="1002"/>
                  </a:lnTo>
                  <a:lnTo>
                    <a:pt x="1002" y="1008"/>
                  </a:lnTo>
                  <a:lnTo>
                    <a:pt x="1008" y="1020"/>
                  </a:lnTo>
                  <a:lnTo>
                    <a:pt x="1002" y="1026"/>
                  </a:lnTo>
                  <a:lnTo>
                    <a:pt x="1002" y="1032"/>
                  </a:lnTo>
                  <a:lnTo>
                    <a:pt x="1002" y="1050"/>
                  </a:lnTo>
                  <a:lnTo>
                    <a:pt x="1002" y="1056"/>
                  </a:lnTo>
                  <a:lnTo>
                    <a:pt x="1008" y="1062"/>
                  </a:lnTo>
                  <a:lnTo>
                    <a:pt x="1008" y="1074"/>
                  </a:lnTo>
                  <a:lnTo>
                    <a:pt x="1008" y="1086"/>
                  </a:lnTo>
                  <a:lnTo>
                    <a:pt x="996" y="1092"/>
                  </a:lnTo>
                  <a:lnTo>
                    <a:pt x="996" y="1098"/>
                  </a:lnTo>
                  <a:lnTo>
                    <a:pt x="996" y="1104"/>
                  </a:lnTo>
                  <a:lnTo>
                    <a:pt x="990" y="1110"/>
                  </a:lnTo>
                  <a:lnTo>
                    <a:pt x="990" y="1116"/>
                  </a:lnTo>
                  <a:lnTo>
                    <a:pt x="996" y="1122"/>
                  </a:lnTo>
                  <a:lnTo>
                    <a:pt x="990" y="1128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96" y="1140"/>
                  </a:lnTo>
                  <a:lnTo>
                    <a:pt x="996" y="1146"/>
                  </a:lnTo>
                  <a:lnTo>
                    <a:pt x="996" y="1152"/>
                  </a:lnTo>
                  <a:lnTo>
                    <a:pt x="996" y="1158"/>
                  </a:lnTo>
                  <a:lnTo>
                    <a:pt x="996" y="1164"/>
                  </a:lnTo>
                  <a:lnTo>
                    <a:pt x="996" y="1170"/>
                  </a:lnTo>
                  <a:lnTo>
                    <a:pt x="996" y="1176"/>
                  </a:lnTo>
                  <a:lnTo>
                    <a:pt x="990" y="1182"/>
                  </a:lnTo>
                  <a:lnTo>
                    <a:pt x="990" y="1188"/>
                  </a:lnTo>
                  <a:lnTo>
                    <a:pt x="984" y="1200"/>
                  </a:lnTo>
                  <a:lnTo>
                    <a:pt x="990" y="1206"/>
                  </a:lnTo>
                  <a:lnTo>
                    <a:pt x="990" y="1212"/>
                  </a:lnTo>
                  <a:lnTo>
                    <a:pt x="990" y="1218"/>
                  </a:lnTo>
                  <a:lnTo>
                    <a:pt x="978" y="1230"/>
                  </a:lnTo>
                  <a:lnTo>
                    <a:pt x="972" y="1236"/>
                  </a:lnTo>
                  <a:lnTo>
                    <a:pt x="972" y="1242"/>
                  </a:lnTo>
                  <a:lnTo>
                    <a:pt x="966" y="1248"/>
                  </a:lnTo>
                  <a:lnTo>
                    <a:pt x="960" y="1260"/>
                  </a:lnTo>
                  <a:lnTo>
                    <a:pt x="954" y="1266"/>
                  </a:lnTo>
                  <a:lnTo>
                    <a:pt x="942" y="1278"/>
                  </a:lnTo>
                  <a:lnTo>
                    <a:pt x="936" y="1278"/>
                  </a:lnTo>
                  <a:lnTo>
                    <a:pt x="936" y="1284"/>
                  </a:lnTo>
                  <a:lnTo>
                    <a:pt x="936" y="1296"/>
                  </a:lnTo>
                  <a:lnTo>
                    <a:pt x="936" y="1302"/>
                  </a:lnTo>
                  <a:lnTo>
                    <a:pt x="942" y="1302"/>
                  </a:lnTo>
                  <a:lnTo>
                    <a:pt x="942" y="1308"/>
                  </a:lnTo>
                  <a:lnTo>
                    <a:pt x="936" y="1314"/>
                  </a:lnTo>
                  <a:lnTo>
                    <a:pt x="930" y="1320"/>
                  </a:lnTo>
                  <a:lnTo>
                    <a:pt x="930" y="1326"/>
                  </a:lnTo>
                  <a:lnTo>
                    <a:pt x="930" y="1332"/>
                  </a:lnTo>
                  <a:lnTo>
                    <a:pt x="936" y="1338"/>
                  </a:lnTo>
                  <a:lnTo>
                    <a:pt x="936" y="1344"/>
                  </a:lnTo>
                  <a:lnTo>
                    <a:pt x="942" y="1356"/>
                  </a:lnTo>
                  <a:lnTo>
                    <a:pt x="948" y="1368"/>
                  </a:lnTo>
                  <a:lnTo>
                    <a:pt x="942" y="1380"/>
                  </a:lnTo>
                  <a:lnTo>
                    <a:pt x="936" y="1386"/>
                  </a:lnTo>
                  <a:lnTo>
                    <a:pt x="930" y="1392"/>
                  </a:lnTo>
                  <a:lnTo>
                    <a:pt x="924" y="1392"/>
                  </a:lnTo>
                  <a:lnTo>
                    <a:pt x="918" y="1386"/>
                  </a:lnTo>
                  <a:lnTo>
                    <a:pt x="912" y="1386"/>
                  </a:lnTo>
                  <a:lnTo>
                    <a:pt x="906" y="1386"/>
                  </a:lnTo>
                  <a:lnTo>
                    <a:pt x="900" y="1386"/>
                  </a:lnTo>
                  <a:lnTo>
                    <a:pt x="900" y="1392"/>
                  </a:lnTo>
                  <a:lnTo>
                    <a:pt x="894" y="1392"/>
                  </a:lnTo>
                  <a:lnTo>
                    <a:pt x="888" y="1392"/>
                  </a:lnTo>
                  <a:lnTo>
                    <a:pt x="888" y="1398"/>
                  </a:lnTo>
                  <a:lnTo>
                    <a:pt x="882" y="1404"/>
                  </a:lnTo>
                  <a:lnTo>
                    <a:pt x="882" y="1416"/>
                  </a:lnTo>
                  <a:lnTo>
                    <a:pt x="882" y="1428"/>
                  </a:lnTo>
                  <a:lnTo>
                    <a:pt x="882" y="1434"/>
                  </a:lnTo>
                  <a:lnTo>
                    <a:pt x="870" y="1440"/>
                  </a:lnTo>
                  <a:lnTo>
                    <a:pt x="864" y="1452"/>
                  </a:lnTo>
                  <a:lnTo>
                    <a:pt x="870" y="1452"/>
                  </a:lnTo>
                  <a:lnTo>
                    <a:pt x="864" y="1458"/>
                  </a:lnTo>
                  <a:lnTo>
                    <a:pt x="858" y="1464"/>
                  </a:lnTo>
                  <a:lnTo>
                    <a:pt x="852" y="1464"/>
                  </a:lnTo>
                  <a:lnTo>
                    <a:pt x="846" y="1458"/>
                  </a:lnTo>
                  <a:lnTo>
                    <a:pt x="840" y="1458"/>
                  </a:lnTo>
                  <a:lnTo>
                    <a:pt x="828" y="1470"/>
                  </a:lnTo>
                  <a:lnTo>
                    <a:pt x="810" y="1482"/>
                  </a:lnTo>
                  <a:lnTo>
                    <a:pt x="804" y="1488"/>
                  </a:lnTo>
                  <a:lnTo>
                    <a:pt x="798" y="1488"/>
                  </a:lnTo>
                  <a:lnTo>
                    <a:pt x="792" y="1488"/>
                  </a:lnTo>
                  <a:lnTo>
                    <a:pt x="786" y="1488"/>
                  </a:lnTo>
                  <a:lnTo>
                    <a:pt x="768" y="1482"/>
                  </a:lnTo>
                  <a:lnTo>
                    <a:pt x="762" y="1476"/>
                  </a:lnTo>
                  <a:lnTo>
                    <a:pt x="744" y="1476"/>
                  </a:lnTo>
                  <a:lnTo>
                    <a:pt x="738" y="1476"/>
                  </a:lnTo>
                  <a:lnTo>
                    <a:pt x="732" y="1476"/>
                  </a:lnTo>
                  <a:lnTo>
                    <a:pt x="726" y="1482"/>
                  </a:lnTo>
                  <a:lnTo>
                    <a:pt x="726" y="1488"/>
                  </a:lnTo>
                  <a:lnTo>
                    <a:pt x="726" y="1494"/>
                  </a:lnTo>
                  <a:lnTo>
                    <a:pt x="726" y="1500"/>
                  </a:lnTo>
                  <a:lnTo>
                    <a:pt x="720" y="1500"/>
                  </a:lnTo>
                  <a:lnTo>
                    <a:pt x="720" y="1506"/>
                  </a:lnTo>
                  <a:lnTo>
                    <a:pt x="714" y="1512"/>
                  </a:lnTo>
                  <a:lnTo>
                    <a:pt x="714" y="1518"/>
                  </a:lnTo>
                  <a:lnTo>
                    <a:pt x="708" y="1518"/>
                  </a:lnTo>
                  <a:lnTo>
                    <a:pt x="708" y="1530"/>
                  </a:lnTo>
                  <a:lnTo>
                    <a:pt x="708" y="1536"/>
                  </a:lnTo>
                  <a:lnTo>
                    <a:pt x="708" y="1542"/>
                  </a:lnTo>
                  <a:lnTo>
                    <a:pt x="696" y="1554"/>
                  </a:lnTo>
                  <a:lnTo>
                    <a:pt x="690" y="1560"/>
                  </a:lnTo>
                  <a:lnTo>
                    <a:pt x="684" y="1566"/>
                  </a:lnTo>
                  <a:lnTo>
                    <a:pt x="672" y="1566"/>
                  </a:lnTo>
                  <a:lnTo>
                    <a:pt x="666" y="1566"/>
                  </a:lnTo>
                  <a:lnTo>
                    <a:pt x="660" y="1566"/>
                  </a:lnTo>
                  <a:lnTo>
                    <a:pt x="654" y="1572"/>
                  </a:lnTo>
                  <a:lnTo>
                    <a:pt x="654" y="1578"/>
                  </a:lnTo>
                  <a:lnTo>
                    <a:pt x="642" y="1578"/>
                  </a:lnTo>
                  <a:lnTo>
                    <a:pt x="630" y="1572"/>
                  </a:lnTo>
                  <a:lnTo>
                    <a:pt x="624" y="1572"/>
                  </a:lnTo>
                  <a:lnTo>
                    <a:pt x="618" y="1578"/>
                  </a:lnTo>
                  <a:lnTo>
                    <a:pt x="612" y="1584"/>
                  </a:lnTo>
                  <a:lnTo>
                    <a:pt x="606" y="1584"/>
                  </a:lnTo>
                  <a:lnTo>
                    <a:pt x="600" y="1590"/>
                  </a:lnTo>
                  <a:lnTo>
                    <a:pt x="594" y="1590"/>
                  </a:lnTo>
                  <a:lnTo>
                    <a:pt x="588" y="1590"/>
                  </a:lnTo>
                  <a:lnTo>
                    <a:pt x="582" y="1590"/>
                  </a:lnTo>
                  <a:lnTo>
                    <a:pt x="582" y="1596"/>
                  </a:lnTo>
                  <a:lnTo>
                    <a:pt x="576" y="1614"/>
                  </a:lnTo>
                  <a:lnTo>
                    <a:pt x="570" y="1632"/>
                  </a:lnTo>
                  <a:lnTo>
                    <a:pt x="570" y="1638"/>
                  </a:lnTo>
                  <a:lnTo>
                    <a:pt x="576" y="1644"/>
                  </a:lnTo>
                  <a:lnTo>
                    <a:pt x="576" y="1650"/>
                  </a:lnTo>
                  <a:lnTo>
                    <a:pt x="582" y="1662"/>
                  </a:lnTo>
                  <a:lnTo>
                    <a:pt x="582" y="1668"/>
                  </a:lnTo>
                  <a:lnTo>
                    <a:pt x="588" y="1692"/>
                  </a:lnTo>
                  <a:lnTo>
                    <a:pt x="594" y="1728"/>
                  </a:lnTo>
                  <a:lnTo>
                    <a:pt x="594" y="1752"/>
                  </a:lnTo>
                  <a:lnTo>
                    <a:pt x="594" y="1764"/>
                  </a:lnTo>
                  <a:lnTo>
                    <a:pt x="582" y="1770"/>
                  </a:lnTo>
                  <a:lnTo>
                    <a:pt x="582" y="1782"/>
                  </a:lnTo>
                  <a:lnTo>
                    <a:pt x="576" y="1788"/>
                  </a:lnTo>
                  <a:lnTo>
                    <a:pt x="570" y="1794"/>
                  </a:lnTo>
                  <a:lnTo>
                    <a:pt x="564" y="1806"/>
                  </a:lnTo>
                  <a:lnTo>
                    <a:pt x="564" y="1812"/>
                  </a:lnTo>
                  <a:lnTo>
                    <a:pt x="558" y="1812"/>
                  </a:lnTo>
                  <a:lnTo>
                    <a:pt x="564" y="1824"/>
                  </a:lnTo>
                  <a:lnTo>
                    <a:pt x="564" y="1830"/>
                  </a:lnTo>
                  <a:lnTo>
                    <a:pt x="564" y="1842"/>
                  </a:lnTo>
                  <a:lnTo>
                    <a:pt x="564" y="1848"/>
                  </a:lnTo>
                  <a:lnTo>
                    <a:pt x="564" y="1854"/>
                  </a:lnTo>
                  <a:lnTo>
                    <a:pt x="570" y="1860"/>
                  </a:lnTo>
                  <a:lnTo>
                    <a:pt x="570" y="1866"/>
                  </a:lnTo>
                  <a:lnTo>
                    <a:pt x="570" y="1872"/>
                  </a:lnTo>
                  <a:lnTo>
                    <a:pt x="570" y="1878"/>
                  </a:lnTo>
                  <a:lnTo>
                    <a:pt x="564" y="1890"/>
                  </a:lnTo>
                  <a:lnTo>
                    <a:pt x="558" y="1896"/>
                  </a:lnTo>
                  <a:lnTo>
                    <a:pt x="552" y="1908"/>
                  </a:lnTo>
                  <a:lnTo>
                    <a:pt x="546" y="1914"/>
                  </a:lnTo>
                  <a:lnTo>
                    <a:pt x="540" y="1920"/>
                  </a:lnTo>
                  <a:lnTo>
                    <a:pt x="534" y="1932"/>
                  </a:lnTo>
                  <a:lnTo>
                    <a:pt x="528" y="1944"/>
                  </a:lnTo>
                  <a:lnTo>
                    <a:pt x="516" y="1950"/>
                  </a:lnTo>
                  <a:lnTo>
                    <a:pt x="510" y="1956"/>
                  </a:lnTo>
                  <a:lnTo>
                    <a:pt x="498" y="1962"/>
                  </a:lnTo>
                  <a:lnTo>
                    <a:pt x="492" y="1974"/>
                  </a:lnTo>
                  <a:lnTo>
                    <a:pt x="486" y="1980"/>
                  </a:lnTo>
                  <a:lnTo>
                    <a:pt x="480" y="1998"/>
                  </a:lnTo>
                  <a:lnTo>
                    <a:pt x="474" y="2004"/>
                  </a:lnTo>
                  <a:lnTo>
                    <a:pt x="474" y="2010"/>
                  </a:lnTo>
                  <a:lnTo>
                    <a:pt x="474" y="2016"/>
                  </a:lnTo>
                  <a:lnTo>
                    <a:pt x="468" y="2016"/>
                  </a:lnTo>
                  <a:lnTo>
                    <a:pt x="468" y="2028"/>
                  </a:lnTo>
                  <a:lnTo>
                    <a:pt x="462" y="2034"/>
                  </a:lnTo>
                  <a:lnTo>
                    <a:pt x="456" y="2040"/>
                  </a:lnTo>
                  <a:lnTo>
                    <a:pt x="456" y="2052"/>
                  </a:lnTo>
                  <a:lnTo>
                    <a:pt x="450" y="2058"/>
                  </a:lnTo>
                  <a:lnTo>
                    <a:pt x="450" y="2070"/>
                  </a:lnTo>
                  <a:lnTo>
                    <a:pt x="450" y="2076"/>
                  </a:lnTo>
                  <a:lnTo>
                    <a:pt x="450" y="2082"/>
                  </a:lnTo>
                  <a:lnTo>
                    <a:pt x="444" y="2088"/>
                  </a:lnTo>
                  <a:lnTo>
                    <a:pt x="438" y="2094"/>
                  </a:lnTo>
                  <a:lnTo>
                    <a:pt x="444" y="2100"/>
                  </a:lnTo>
                  <a:lnTo>
                    <a:pt x="444" y="2124"/>
                  </a:lnTo>
                  <a:lnTo>
                    <a:pt x="444" y="2142"/>
                  </a:lnTo>
                  <a:lnTo>
                    <a:pt x="444" y="2160"/>
                  </a:lnTo>
                  <a:lnTo>
                    <a:pt x="450" y="2166"/>
                  </a:lnTo>
                  <a:lnTo>
                    <a:pt x="456" y="2178"/>
                  </a:lnTo>
                  <a:lnTo>
                    <a:pt x="438" y="2184"/>
                  </a:lnTo>
                  <a:lnTo>
                    <a:pt x="432" y="2184"/>
                  </a:lnTo>
                  <a:lnTo>
                    <a:pt x="426" y="2190"/>
                  </a:lnTo>
                  <a:lnTo>
                    <a:pt x="408" y="2190"/>
                  </a:lnTo>
                  <a:lnTo>
                    <a:pt x="402" y="2196"/>
                  </a:lnTo>
                  <a:lnTo>
                    <a:pt x="396" y="2196"/>
                  </a:lnTo>
                  <a:lnTo>
                    <a:pt x="384" y="2208"/>
                  </a:lnTo>
                  <a:lnTo>
                    <a:pt x="378" y="2220"/>
                  </a:lnTo>
                  <a:lnTo>
                    <a:pt x="366" y="2232"/>
                  </a:lnTo>
                  <a:lnTo>
                    <a:pt x="366" y="2238"/>
                  </a:lnTo>
                  <a:lnTo>
                    <a:pt x="360" y="2238"/>
                  </a:lnTo>
                  <a:lnTo>
                    <a:pt x="360" y="2244"/>
                  </a:lnTo>
                  <a:lnTo>
                    <a:pt x="354" y="2244"/>
                  </a:lnTo>
                  <a:lnTo>
                    <a:pt x="330" y="227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5" name="Freeform 10">
              <a:extLst>
                <a:ext uri="{FF2B5EF4-FFF2-40B4-BE49-F238E27FC236}">
                  <a16:creationId xmlns:a16="http://schemas.microsoft.com/office/drawing/2014/main" id="{3AD2FC58-3490-4B7F-A8BE-621F3CDD69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1996" y="1931890"/>
              <a:ext cx="805029" cy="1037736"/>
            </a:xfrm>
            <a:custGeom>
              <a:avLst/>
              <a:gdLst>
                <a:gd name="T0" fmla="*/ 124 w 1512"/>
                <a:gd name="T1" fmla="*/ 76 h 1956"/>
                <a:gd name="T2" fmla="*/ 120 w 1512"/>
                <a:gd name="T3" fmla="*/ 80 h 1956"/>
                <a:gd name="T4" fmla="*/ 106 w 1512"/>
                <a:gd name="T5" fmla="*/ 84 h 1956"/>
                <a:gd name="T6" fmla="*/ 105 w 1512"/>
                <a:gd name="T7" fmla="*/ 91 h 1956"/>
                <a:gd name="T8" fmla="*/ 101 w 1512"/>
                <a:gd name="T9" fmla="*/ 99 h 1956"/>
                <a:gd name="T10" fmla="*/ 105 w 1512"/>
                <a:gd name="T11" fmla="*/ 107 h 1956"/>
                <a:gd name="T12" fmla="*/ 119 w 1512"/>
                <a:gd name="T13" fmla="*/ 116 h 1956"/>
                <a:gd name="T14" fmla="*/ 121 w 1512"/>
                <a:gd name="T15" fmla="*/ 128 h 1956"/>
                <a:gd name="T16" fmla="*/ 112 w 1512"/>
                <a:gd name="T17" fmla="*/ 136 h 1956"/>
                <a:gd name="T18" fmla="*/ 119 w 1512"/>
                <a:gd name="T19" fmla="*/ 143 h 1956"/>
                <a:gd name="T20" fmla="*/ 126 w 1512"/>
                <a:gd name="T21" fmla="*/ 148 h 1956"/>
                <a:gd name="T22" fmla="*/ 126 w 1512"/>
                <a:gd name="T23" fmla="*/ 160 h 1956"/>
                <a:gd name="T24" fmla="*/ 104 w 1512"/>
                <a:gd name="T25" fmla="*/ 170 h 1956"/>
                <a:gd name="T26" fmla="*/ 99 w 1512"/>
                <a:gd name="T27" fmla="*/ 164 h 1956"/>
                <a:gd name="T28" fmla="*/ 73 w 1512"/>
                <a:gd name="T29" fmla="*/ 152 h 1956"/>
                <a:gd name="T30" fmla="*/ 56 w 1512"/>
                <a:gd name="T31" fmla="*/ 165 h 1956"/>
                <a:gd name="T32" fmla="*/ 33 w 1512"/>
                <a:gd name="T33" fmla="*/ 162 h 1956"/>
                <a:gd name="T34" fmla="*/ 25 w 1512"/>
                <a:gd name="T35" fmla="*/ 155 h 1956"/>
                <a:gd name="T36" fmla="*/ 31 w 1512"/>
                <a:gd name="T37" fmla="*/ 142 h 1956"/>
                <a:gd name="T38" fmla="*/ 24 w 1512"/>
                <a:gd name="T39" fmla="*/ 137 h 1956"/>
                <a:gd name="T40" fmla="*/ 14 w 1512"/>
                <a:gd name="T41" fmla="*/ 136 h 1956"/>
                <a:gd name="T42" fmla="*/ 11 w 1512"/>
                <a:gd name="T43" fmla="*/ 125 h 1956"/>
                <a:gd name="T44" fmla="*/ 3 w 1512"/>
                <a:gd name="T45" fmla="*/ 116 h 1956"/>
                <a:gd name="T46" fmla="*/ 2 w 1512"/>
                <a:gd name="T47" fmla="*/ 106 h 1956"/>
                <a:gd name="T48" fmla="*/ 5 w 1512"/>
                <a:gd name="T49" fmla="*/ 101 h 1956"/>
                <a:gd name="T50" fmla="*/ 2 w 1512"/>
                <a:gd name="T51" fmla="*/ 95 h 1956"/>
                <a:gd name="T52" fmla="*/ 1 w 1512"/>
                <a:gd name="T53" fmla="*/ 88 h 1956"/>
                <a:gd name="T54" fmla="*/ 4 w 1512"/>
                <a:gd name="T55" fmla="*/ 80 h 1956"/>
                <a:gd name="T56" fmla="*/ 12 w 1512"/>
                <a:gd name="T57" fmla="*/ 73 h 1956"/>
                <a:gd name="T58" fmla="*/ 16 w 1512"/>
                <a:gd name="T59" fmla="*/ 68 h 1956"/>
                <a:gd name="T60" fmla="*/ 22 w 1512"/>
                <a:gd name="T61" fmla="*/ 66 h 1956"/>
                <a:gd name="T62" fmla="*/ 32 w 1512"/>
                <a:gd name="T63" fmla="*/ 65 h 1956"/>
                <a:gd name="T64" fmla="*/ 45 w 1512"/>
                <a:gd name="T65" fmla="*/ 66 h 1956"/>
                <a:gd name="T66" fmla="*/ 50 w 1512"/>
                <a:gd name="T67" fmla="*/ 70 h 1956"/>
                <a:gd name="T68" fmla="*/ 55 w 1512"/>
                <a:gd name="T69" fmla="*/ 70 h 1956"/>
                <a:gd name="T70" fmla="*/ 63 w 1512"/>
                <a:gd name="T71" fmla="*/ 71 h 1956"/>
                <a:gd name="T72" fmla="*/ 61 w 1512"/>
                <a:gd name="T73" fmla="*/ 75 h 1956"/>
                <a:gd name="T74" fmla="*/ 66 w 1512"/>
                <a:gd name="T75" fmla="*/ 84 h 1956"/>
                <a:gd name="T76" fmla="*/ 81 w 1512"/>
                <a:gd name="T77" fmla="*/ 85 h 1956"/>
                <a:gd name="T78" fmla="*/ 83 w 1512"/>
                <a:gd name="T79" fmla="*/ 79 h 1956"/>
                <a:gd name="T80" fmla="*/ 89 w 1512"/>
                <a:gd name="T81" fmla="*/ 77 h 1956"/>
                <a:gd name="T82" fmla="*/ 89 w 1512"/>
                <a:gd name="T83" fmla="*/ 73 h 1956"/>
                <a:gd name="T84" fmla="*/ 83 w 1512"/>
                <a:gd name="T85" fmla="*/ 72 h 1956"/>
                <a:gd name="T86" fmla="*/ 77 w 1512"/>
                <a:gd name="T87" fmla="*/ 70 h 1956"/>
                <a:gd name="T88" fmla="*/ 71 w 1512"/>
                <a:gd name="T89" fmla="*/ 70 h 1956"/>
                <a:gd name="T90" fmla="*/ 59 w 1512"/>
                <a:gd name="T91" fmla="*/ 58 h 1956"/>
                <a:gd name="T92" fmla="*/ 54 w 1512"/>
                <a:gd name="T93" fmla="*/ 45 h 1956"/>
                <a:gd name="T94" fmla="*/ 49 w 1512"/>
                <a:gd name="T95" fmla="*/ 42 h 1956"/>
                <a:gd name="T96" fmla="*/ 51 w 1512"/>
                <a:gd name="T97" fmla="*/ 39 h 1956"/>
                <a:gd name="T98" fmla="*/ 55 w 1512"/>
                <a:gd name="T99" fmla="*/ 36 h 1956"/>
                <a:gd name="T100" fmla="*/ 63 w 1512"/>
                <a:gd name="T101" fmla="*/ 34 h 1956"/>
                <a:gd name="T102" fmla="*/ 68 w 1512"/>
                <a:gd name="T103" fmla="*/ 32 h 1956"/>
                <a:gd name="T104" fmla="*/ 73 w 1512"/>
                <a:gd name="T105" fmla="*/ 29 h 1956"/>
                <a:gd name="T106" fmla="*/ 78 w 1512"/>
                <a:gd name="T107" fmla="*/ 27 h 1956"/>
                <a:gd name="T108" fmla="*/ 81 w 1512"/>
                <a:gd name="T109" fmla="*/ 17 h 1956"/>
                <a:gd name="T110" fmla="*/ 84 w 1512"/>
                <a:gd name="T111" fmla="*/ 6 h 1956"/>
                <a:gd name="T112" fmla="*/ 95 w 1512"/>
                <a:gd name="T113" fmla="*/ 6 h 1956"/>
                <a:gd name="T114" fmla="*/ 99 w 1512"/>
                <a:gd name="T115" fmla="*/ 3 h 1956"/>
                <a:gd name="T116" fmla="*/ 103 w 1512"/>
                <a:gd name="T117" fmla="*/ 0 h 1956"/>
                <a:gd name="T118" fmla="*/ 110 w 1512"/>
                <a:gd name="T119" fmla="*/ 4 h 1956"/>
                <a:gd name="T120" fmla="*/ 114 w 1512"/>
                <a:gd name="T121" fmla="*/ 33 h 1956"/>
                <a:gd name="T122" fmla="*/ 117 w 1512"/>
                <a:gd name="T123" fmla="*/ 41 h 1956"/>
                <a:gd name="T124" fmla="*/ 119 w 1512"/>
                <a:gd name="T125" fmla="*/ 62 h 195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12"/>
                <a:gd name="T190" fmla="*/ 0 h 1956"/>
                <a:gd name="T191" fmla="*/ 1512 w 1512"/>
                <a:gd name="T192" fmla="*/ 1956 h 195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12" h="1956">
                  <a:moveTo>
                    <a:pt x="1512" y="780"/>
                  </a:moveTo>
                  <a:lnTo>
                    <a:pt x="1482" y="786"/>
                  </a:lnTo>
                  <a:lnTo>
                    <a:pt x="1476" y="792"/>
                  </a:lnTo>
                  <a:lnTo>
                    <a:pt x="1476" y="798"/>
                  </a:lnTo>
                  <a:lnTo>
                    <a:pt x="1476" y="804"/>
                  </a:lnTo>
                  <a:lnTo>
                    <a:pt x="1476" y="816"/>
                  </a:lnTo>
                  <a:lnTo>
                    <a:pt x="1470" y="834"/>
                  </a:lnTo>
                  <a:lnTo>
                    <a:pt x="1464" y="840"/>
                  </a:lnTo>
                  <a:lnTo>
                    <a:pt x="1452" y="852"/>
                  </a:lnTo>
                  <a:lnTo>
                    <a:pt x="1440" y="864"/>
                  </a:lnTo>
                  <a:lnTo>
                    <a:pt x="1434" y="864"/>
                  </a:lnTo>
                  <a:lnTo>
                    <a:pt x="1434" y="870"/>
                  </a:lnTo>
                  <a:lnTo>
                    <a:pt x="1422" y="876"/>
                  </a:lnTo>
                  <a:lnTo>
                    <a:pt x="1410" y="894"/>
                  </a:lnTo>
                  <a:lnTo>
                    <a:pt x="1404" y="894"/>
                  </a:lnTo>
                  <a:lnTo>
                    <a:pt x="1404" y="900"/>
                  </a:lnTo>
                  <a:lnTo>
                    <a:pt x="1404" y="906"/>
                  </a:lnTo>
                  <a:lnTo>
                    <a:pt x="1410" y="918"/>
                  </a:lnTo>
                  <a:lnTo>
                    <a:pt x="1404" y="918"/>
                  </a:lnTo>
                  <a:lnTo>
                    <a:pt x="1392" y="924"/>
                  </a:lnTo>
                  <a:lnTo>
                    <a:pt x="1386" y="924"/>
                  </a:lnTo>
                  <a:lnTo>
                    <a:pt x="1380" y="924"/>
                  </a:lnTo>
                  <a:lnTo>
                    <a:pt x="1380" y="930"/>
                  </a:lnTo>
                  <a:lnTo>
                    <a:pt x="1374" y="930"/>
                  </a:lnTo>
                  <a:lnTo>
                    <a:pt x="1374" y="924"/>
                  </a:lnTo>
                  <a:lnTo>
                    <a:pt x="1374" y="918"/>
                  </a:lnTo>
                  <a:lnTo>
                    <a:pt x="1368" y="912"/>
                  </a:lnTo>
                  <a:lnTo>
                    <a:pt x="1368" y="906"/>
                  </a:lnTo>
                  <a:lnTo>
                    <a:pt x="1368" y="900"/>
                  </a:lnTo>
                  <a:lnTo>
                    <a:pt x="1368" y="894"/>
                  </a:lnTo>
                  <a:lnTo>
                    <a:pt x="1362" y="894"/>
                  </a:lnTo>
                  <a:lnTo>
                    <a:pt x="1326" y="894"/>
                  </a:lnTo>
                  <a:lnTo>
                    <a:pt x="1302" y="906"/>
                  </a:lnTo>
                  <a:lnTo>
                    <a:pt x="1284" y="918"/>
                  </a:lnTo>
                  <a:lnTo>
                    <a:pt x="1284" y="924"/>
                  </a:lnTo>
                  <a:lnTo>
                    <a:pt x="1278" y="930"/>
                  </a:lnTo>
                  <a:lnTo>
                    <a:pt x="1266" y="930"/>
                  </a:lnTo>
                  <a:lnTo>
                    <a:pt x="1236" y="954"/>
                  </a:lnTo>
                  <a:lnTo>
                    <a:pt x="1212" y="972"/>
                  </a:lnTo>
                  <a:lnTo>
                    <a:pt x="1218" y="996"/>
                  </a:lnTo>
                  <a:lnTo>
                    <a:pt x="1224" y="1008"/>
                  </a:lnTo>
                  <a:lnTo>
                    <a:pt x="1236" y="1014"/>
                  </a:lnTo>
                  <a:lnTo>
                    <a:pt x="1242" y="1026"/>
                  </a:lnTo>
                  <a:lnTo>
                    <a:pt x="1248" y="1038"/>
                  </a:lnTo>
                  <a:lnTo>
                    <a:pt x="1260" y="1050"/>
                  </a:lnTo>
                  <a:lnTo>
                    <a:pt x="1260" y="1056"/>
                  </a:lnTo>
                  <a:lnTo>
                    <a:pt x="1260" y="1074"/>
                  </a:lnTo>
                  <a:lnTo>
                    <a:pt x="1254" y="1074"/>
                  </a:lnTo>
                  <a:lnTo>
                    <a:pt x="1236" y="1056"/>
                  </a:lnTo>
                  <a:lnTo>
                    <a:pt x="1224" y="1050"/>
                  </a:lnTo>
                  <a:lnTo>
                    <a:pt x="1212" y="1050"/>
                  </a:lnTo>
                  <a:lnTo>
                    <a:pt x="1206" y="1050"/>
                  </a:lnTo>
                  <a:lnTo>
                    <a:pt x="1200" y="1056"/>
                  </a:lnTo>
                  <a:lnTo>
                    <a:pt x="1194" y="1062"/>
                  </a:lnTo>
                  <a:lnTo>
                    <a:pt x="1188" y="1068"/>
                  </a:lnTo>
                  <a:lnTo>
                    <a:pt x="1188" y="1074"/>
                  </a:lnTo>
                  <a:lnTo>
                    <a:pt x="1176" y="1086"/>
                  </a:lnTo>
                  <a:lnTo>
                    <a:pt x="1170" y="1086"/>
                  </a:lnTo>
                  <a:lnTo>
                    <a:pt x="1170" y="1092"/>
                  </a:lnTo>
                  <a:lnTo>
                    <a:pt x="1164" y="1098"/>
                  </a:lnTo>
                  <a:lnTo>
                    <a:pt x="1158" y="1110"/>
                  </a:lnTo>
                  <a:lnTo>
                    <a:pt x="1152" y="1116"/>
                  </a:lnTo>
                  <a:lnTo>
                    <a:pt x="1152" y="1122"/>
                  </a:lnTo>
                  <a:lnTo>
                    <a:pt x="1146" y="1128"/>
                  </a:lnTo>
                  <a:lnTo>
                    <a:pt x="1152" y="1140"/>
                  </a:lnTo>
                  <a:lnTo>
                    <a:pt x="1158" y="1140"/>
                  </a:lnTo>
                  <a:lnTo>
                    <a:pt x="1164" y="1146"/>
                  </a:lnTo>
                  <a:lnTo>
                    <a:pt x="1164" y="1152"/>
                  </a:lnTo>
                  <a:lnTo>
                    <a:pt x="1170" y="1164"/>
                  </a:lnTo>
                  <a:lnTo>
                    <a:pt x="1164" y="1176"/>
                  </a:lnTo>
                  <a:lnTo>
                    <a:pt x="1170" y="1182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82" y="1218"/>
                  </a:lnTo>
                  <a:lnTo>
                    <a:pt x="1188" y="1218"/>
                  </a:lnTo>
                  <a:lnTo>
                    <a:pt x="1194" y="1218"/>
                  </a:lnTo>
                  <a:lnTo>
                    <a:pt x="1194" y="1224"/>
                  </a:lnTo>
                  <a:lnTo>
                    <a:pt x="1200" y="1230"/>
                  </a:lnTo>
                  <a:lnTo>
                    <a:pt x="1200" y="1248"/>
                  </a:lnTo>
                  <a:lnTo>
                    <a:pt x="1212" y="1266"/>
                  </a:lnTo>
                  <a:lnTo>
                    <a:pt x="1218" y="1278"/>
                  </a:lnTo>
                  <a:lnTo>
                    <a:pt x="1224" y="1284"/>
                  </a:lnTo>
                  <a:lnTo>
                    <a:pt x="1236" y="1296"/>
                  </a:lnTo>
                  <a:lnTo>
                    <a:pt x="1242" y="1302"/>
                  </a:lnTo>
                  <a:lnTo>
                    <a:pt x="1242" y="1308"/>
                  </a:lnTo>
                  <a:lnTo>
                    <a:pt x="1272" y="1308"/>
                  </a:lnTo>
                  <a:lnTo>
                    <a:pt x="1296" y="1314"/>
                  </a:lnTo>
                  <a:lnTo>
                    <a:pt x="1320" y="1320"/>
                  </a:lnTo>
                  <a:lnTo>
                    <a:pt x="1338" y="1320"/>
                  </a:lnTo>
                  <a:lnTo>
                    <a:pt x="1356" y="1332"/>
                  </a:lnTo>
                  <a:lnTo>
                    <a:pt x="1368" y="1344"/>
                  </a:lnTo>
                  <a:lnTo>
                    <a:pt x="1374" y="1362"/>
                  </a:lnTo>
                  <a:lnTo>
                    <a:pt x="1368" y="1362"/>
                  </a:lnTo>
                  <a:lnTo>
                    <a:pt x="1368" y="1398"/>
                  </a:lnTo>
                  <a:lnTo>
                    <a:pt x="1368" y="1410"/>
                  </a:lnTo>
                  <a:lnTo>
                    <a:pt x="1368" y="1428"/>
                  </a:lnTo>
                  <a:lnTo>
                    <a:pt x="1368" y="1434"/>
                  </a:lnTo>
                  <a:lnTo>
                    <a:pt x="1368" y="1440"/>
                  </a:lnTo>
                  <a:lnTo>
                    <a:pt x="1374" y="1446"/>
                  </a:lnTo>
                  <a:lnTo>
                    <a:pt x="1374" y="1452"/>
                  </a:lnTo>
                  <a:lnTo>
                    <a:pt x="1380" y="1458"/>
                  </a:lnTo>
                  <a:lnTo>
                    <a:pt x="1386" y="1464"/>
                  </a:lnTo>
                  <a:lnTo>
                    <a:pt x="1386" y="1470"/>
                  </a:lnTo>
                  <a:lnTo>
                    <a:pt x="1380" y="1476"/>
                  </a:lnTo>
                  <a:lnTo>
                    <a:pt x="1374" y="1482"/>
                  </a:lnTo>
                  <a:lnTo>
                    <a:pt x="1362" y="1500"/>
                  </a:lnTo>
                  <a:lnTo>
                    <a:pt x="1362" y="1506"/>
                  </a:lnTo>
                  <a:lnTo>
                    <a:pt x="1362" y="1512"/>
                  </a:lnTo>
                  <a:lnTo>
                    <a:pt x="1362" y="1518"/>
                  </a:lnTo>
                  <a:lnTo>
                    <a:pt x="1362" y="1524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38" y="1548"/>
                  </a:lnTo>
                  <a:lnTo>
                    <a:pt x="1296" y="1548"/>
                  </a:lnTo>
                  <a:lnTo>
                    <a:pt x="1290" y="1554"/>
                  </a:lnTo>
                  <a:lnTo>
                    <a:pt x="1284" y="1560"/>
                  </a:lnTo>
                  <a:lnTo>
                    <a:pt x="1284" y="1566"/>
                  </a:lnTo>
                  <a:lnTo>
                    <a:pt x="1290" y="1578"/>
                  </a:lnTo>
                  <a:lnTo>
                    <a:pt x="1296" y="1590"/>
                  </a:lnTo>
                  <a:lnTo>
                    <a:pt x="1302" y="1590"/>
                  </a:lnTo>
                  <a:lnTo>
                    <a:pt x="1308" y="1596"/>
                  </a:lnTo>
                  <a:lnTo>
                    <a:pt x="1320" y="1602"/>
                  </a:lnTo>
                  <a:lnTo>
                    <a:pt x="1326" y="1602"/>
                  </a:lnTo>
                  <a:lnTo>
                    <a:pt x="1326" y="1608"/>
                  </a:lnTo>
                  <a:lnTo>
                    <a:pt x="1332" y="1614"/>
                  </a:lnTo>
                  <a:lnTo>
                    <a:pt x="1344" y="1620"/>
                  </a:lnTo>
                  <a:lnTo>
                    <a:pt x="1356" y="1626"/>
                  </a:lnTo>
                  <a:lnTo>
                    <a:pt x="1356" y="1632"/>
                  </a:lnTo>
                  <a:lnTo>
                    <a:pt x="1356" y="1638"/>
                  </a:lnTo>
                  <a:lnTo>
                    <a:pt x="1362" y="1644"/>
                  </a:lnTo>
                  <a:lnTo>
                    <a:pt x="1368" y="1644"/>
                  </a:lnTo>
                  <a:lnTo>
                    <a:pt x="1380" y="1650"/>
                  </a:lnTo>
                  <a:lnTo>
                    <a:pt x="1386" y="1650"/>
                  </a:lnTo>
                  <a:lnTo>
                    <a:pt x="1386" y="1656"/>
                  </a:lnTo>
                  <a:lnTo>
                    <a:pt x="1392" y="1656"/>
                  </a:lnTo>
                  <a:lnTo>
                    <a:pt x="1398" y="1662"/>
                  </a:lnTo>
                  <a:lnTo>
                    <a:pt x="1410" y="1674"/>
                  </a:lnTo>
                  <a:lnTo>
                    <a:pt x="1428" y="1680"/>
                  </a:lnTo>
                  <a:lnTo>
                    <a:pt x="1428" y="1686"/>
                  </a:lnTo>
                  <a:lnTo>
                    <a:pt x="1428" y="1698"/>
                  </a:lnTo>
                  <a:lnTo>
                    <a:pt x="1434" y="1704"/>
                  </a:lnTo>
                  <a:lnTo>
                    <a:pt x="1434" y="1710"/>
                  </a:lnTo>
                  <a:lnTo>
                    <a:pt x="1440" y="1710"/>
                  </a:lnTo>
                  <a:lnTo>
                    <a:pt x="1446" y="1710"/>
                  </a:lnTo>
                  <a:lnTo>
                    <a:pt x="1446" y="1716"/>
                  </a:lnTo>
                  <a:lnTo>
                    <a:pt x="1440" y="1722"/>
                  </a:lnTo>
                  <a:lnTo>
                    <a:pt x="1440" y="1728"/>
                  </a:lnTo>
                  <a:lnTo>
                    <a:pt x="1440" y="1734"/>
                  </a:lnTo>
                  <a:lnTo>
                    <a:pt x="1440" y="1740"/>
                  </a:lnTo>
                  <a:lnTo>
                    <a:pt x="1440" y="1746"/>
                  </a:lnTo>
                  <a:lnTo>
                    <a:pt x="1440" y="1788"/>
                  </a:lnTo>
                  <a:lnTo>
                    <a:pt x="1440" y="1800"/>
                  </a:lnTo>
                  <a:lnTo>
                    <a:pt x="1440" y="1806"/>
                  </a:lnTo>
                  <a:lnTo>
                    <a:pt x="1440" y="1836"/>
                  </a:lnTo>
                  <a:lnTo>
                    <a:pt x="1440" y="1848"/>
                  </a:lnTo>
                  <a:lnTo>
                    <a:pt x="1446" y="1848"/>
                  </a:lnTo>
                  <a:lnTo>
                    <a:pt x="1446" y="1854"/>
                  </a:lnTo>
                  <a:lnTo>
                    <a:pt x="1452" y="1848"/>
                  </a:lnTo>
                  <a:lnTo>
                    <a:pt x="1458" y="1854"/>
                  </a:lnTo>
                  <a:lnTo>
                    <a:pt x="1452" y="1860"/>
                  </a:lnTo>
                  <a:lnTo>
                    <a:pt x="1452" y="1866"/>
                  </a:lnTo>
                  <a:lnTo>
                    <a:pt x="1458" y="1872"/>
                  </a:lnTo>
                  <a:lnTo>
                    <a:pt x="1464" y="1884"/>
                  </a:lnTo>
                  <a:lnTo>
                    <a:pt x="1428" y="1878"/>
                  </a:lnTo>
                  <a:lnTo>
                    <a:pt x="1356" y="1890"/>
                  </a:lnTo>
                  <a:lnTo>
                    <a:pt x="1296" y="1926"/>
                  </a:lnTo>
                  <a:lnTo>
                    <a:pt x="1266" y="1944"/>
                  </a:lnTo>
                  <a:lnTo>
                    <a:pt x="1224" y="1944"/>
                  </a:lnTo>
                  <a:lnTo>
                    <a:pt x="1188" y="1956"/>
                  </a:lnTo>
                  <a:lnTo>
                    <a:pt x="1188" y="1950"/>
                  </a:lnTo>
                  <a:lnTo>
                    <a:pt x="1176" y="1944"/>
                  </a:lnTo>
                  <a:lnTo>
                    <a:pt x="1176" y="1938"/>
                  </a:lnTo>
                  <a:lnTo>
                    <a:pt x="1170" y="1938"/>
                  </a:lnTo>
                  <a:lnTo>
                    <a:pt x="1164" y="1932"/>
                  </a:lnTo>
                  <a:lnTo>
                    <a:pt x="1158" y="1926"/>
                  </a:lnTo>
                  <a:lnTo>
                    <a:pt x="1158" y="1920"/>
                  </a:lnTo>
                  <a:lnTo>
                    <a:pt x="1152" y="1920"/>
                  </a:lnTo>
                  <a:lnTo>
                    <a:pt x="1146" y="1914"/>
                  </a:lnTo>
                  <a:lnTo>
                    <a:pt x="1146" y="1908"/>
                  </a:lnTo>
                  <a:lnTo>
                    <a:pt x="1140" y="1908"/>
                  </a:lnTo>
                  <a:lnTo>
                    <a:pt x="1134" y="1902"/>
                  </a:lnTo>
                  <a:lnTo>
                    <a:pt x="1134" y="1896"/>
                  </a:lnTo>
                  <a:lnTo>
                    <a:pt x="1116" y="1896"/>
                  </a:lnTo>
                  <a:lnTo>
                    <a:pt x="1104" y="1884"/>
                  </a:lnTo>
                  <a:lnTo>
                    <a:pt x="1092" y="1860"/>
                  </a:lnTo>
                  <a:lnTo>
                    <a:pt x="1068" y="1854"/>
                  </a:lnTo>
                  <a:lnTo>
                    <a:pt x="1032" y="1842"/>
                  </a:lnTo>
                  <a:lnTo>
                    <a:pt x="1008" y="1836"/>
                  </a:lnTo>
                  <a:lnTo>
                    <a:pt x="978" y="1824"/>
                  </a:lnTo>
                  <a:lnTo>
                    <a:pt x="942" y="1818"/>
                  </a:lnTo>
                  <a:lnTo>
                    <a:pt x="924" y="1806"/>
                  </a:lnTo>
                  <a:lnTo>
                    <a:pt x="906" y="1788"/>
                  </a:lnTo>
                  <a:lnTo>
                    <a:pt x="894" y="1776"/>
                  </a:lnTo>
                  <a:lnTo>
                    <a:pt x="864" y="1758"/>
                  </a:lnTo>
                  <a:lnTo>
                    <a:pt x="834" y="1752"/>
                  </a:lnTo>
                  <a:lnTo>
                    <a:pt x="798" y="1746"/>
                  </a:lnTo>
                  <a:lnTo>
                    <a:pt x="792" y="1806"/>
                  </a:lnTo>
                  <a:lnTo>
                    <a:pt x="798" y="1812"/>
                  </a:lnTo>
                  <a:lnTo>
                    <a:pt x="810" y="1830"/>
                  </a:lnTo>
                  <a:lnTo>
                    <a:pt x="792" y="1842"/>
                  </a:lnTo>
                  <a:lnTo>
                    <a:pt x="768" y="1842"/>
                  </a:lnTo>
                  <a:lnTo>
                    <a:pt x="708" y="1848"/>
                  </a:lnTo>
                  <a:lnTo>
                    <a:pt x="690" y="1860"/>
                  </a:lnTo>
                  <a:lnTo>
                    <a:pt x="690" y="1866"/>
                  </a:lnTo>
                  <a:lnTo>
                    <a:pt x="678" y="1878"/>
                  </a:lnTo>
                  <a:lnTo>
                    <a:pt x="660" y="1884"/>
                  </a:lnTo>
                  <a:lnTo>
                    <a:pt x="660" y="1902"/>
                  </a:lnTo>
                  <a:lnTo>
                    <a:pt x="642" y="1902"/>
                  </a:lnTo>
                  <a:lnTo>
                    <a:pt x="582" y="1914"/>
                  </a:lnTo>
                  <a:lnTo>
                    <a:pt x="534" y="1908"/>
                  </a:lnTo>
                  <a:lnTo>
                    <a:pt x="510" y="1908"/>
                  </a:lnTo>
                  <a:lnTo>
                    <a:pt x="510" y="1896"/>
                  </a:lnTo>
                  <a:lnTo>
                    <a:pt x="492" y="1896"/>
                  </a:lnTo>
                  <a:lnTo>
                    <a:pt x="486" y="1902"/>
                  </a:lnTo>
                  <a:lnTo>
                    <a:pt x="474" y="1908"/>
                  </a:lnTo>
                  <a:lnTo>
                    <a:pt x="450" y="1908"/>
                  </a:lnTo>
                  <a:lnTo>
                    <a:pt x="432" y="1902"/>
                  </a:lnTo>
                  <a:lnTo>
                    <a:pt x="426" y="1896"/>
                  </a:lnTo>
                  <a:lnTo>
                    <a:pt x="402" y="1884"/>
                  </a:lnTo>
                  <a:lnTo>
                    <a:pt x="390" y="1872"/>
                  </a:lnTo>
                  <a:lnTo>
                    <a:pt x="384" y="1872"/>
                  </a:lnTo>
                  <a:lnTo>
                    <a:pt x="378" y="1872"/>
                  </a:lnTo>
                  <a:lnTo>
                    <a:pt x="378" y="1866"/>
                  </a:lnTo>
                  <a:lnTo>
                    <a:pt x="372" y="1860"/>
                  </a:lnTo>
                  <a:lnTo>
                    <a:pt x="372" y="1854"/>
                  </a:lnTo>
                  <a:lnTo>
                    <a:pt x="366" y="1842"/>
                  </a:lnTo>
                  <a:lnTo>
                    <a:pt x="366" y="1836"/>
                  </a:lnTo>
                  <a:lnTo>
                    <a:pt x="348" y="1830"/>
                  </a:lnTo>
                  <a:lnTo>
                    <a:pt x="348" y="1806"/>
                  </a:lnTo>
                  <a:lnTo>
                    <a:pt x="348" y="1800"/>
                  </a:lnTo>
                  <a:lnTo>
                    <a:pt x="348" y="1782"/>
                  </a:lnTo>
                  <a:lnTo>
                    <a:pt x="336" y="1788"/>
                  </a:lnTo>
                  <a:lnTo>
                    <a:pt x="312" y="1794"/>
                  </a:lnTo>
                  <a:lnTo>
                    <a:pt x="288" y="1788"/>
                  </a:lnTo>
                  <a:lnTo>
                    <a:pt x="264" y="1758"/>
                  </a:lnTo>
                  <a:lnTo>
                    <a:pt x="270" y="1758"/>
                  </a:lnTo>
                  <a:lnTo>
                    <a:pt x="270" y="1752"/>
                  </a:lnTo>
                  <a:lnTo>
                    <a:pt x="276" y="1752"/>
                  </a:lnTo>
                  <a:lnTo>
                    <a:pt x="282" y="1746"/>
                  </a:lnTo>
                  <a:lnTo>
                    <a:pt x="300" y="1746"/>
                  </a:lnTo>
                  <a:lnTo>
                    <a:pt x="312" y="1746"/>
                  </a:lnTo>
                  <a:lnTo>
                    <a:pt x="336" y="1710"/>
                  </a:lnTo>
                  <a:lnTo>
                    <a:pt x="342" y="1692"/>
                  </a:lnTo>
                  <a:lnTo>
                    <a:pt x="348" y="1680"/>
                  </a:lnTo>
                  <a:lnTo>
                    <a:pt x="342" y="1650"/>
                  </a:lnTo>
                  <a:lnTo>
                    <a:pt x="354" y="1644"/>
                  </a:lnTo>
                  <a:lnTo>
                    <a:pt x="354" y="1638"/>
                  </a:lnTo>
                  <a:lnTo>
                    <a:pt x="360" y="1632"/>
                  </a:lnTo>
                  <a:lnTo>
                    <a:pt x="354" y="1626"/>
                  </a:lnTo>
                  <a:lnTo>
                    <a:pt x="348" y="1626"/>
                  </a:lnTo>
                  <a:lnTo>
                    <a:pt x="348" y="1620"/>
                  </a:lnTo>
                  <a:lnTo>
                    <a:pt x="342" y="1620"/>
                  </a:lnTo>
                  <a:lnTo>
                    <a:pt x="348" y="1614"/>
                  </a:lnTo>
                  <a:lnTo>
                    <a:pt x="324" y="1566"/>
                  </a:lnTo>
                  <a:lnTo>
                    <a:pt x="318" y="1566"/>
                  </a:lnTo>
                  <a:lnTo>
                    <a:pt x="306" y="1572"/>
                  </a:lnTo>
                  <a:lnTo>
                    <a:pt x="300" y="1572"/>
                  </a:lnTo>
                  <a:lnTo>
                    <a:pt x="294" y="1578"/>
                  </a:lnTo>
                  <a:lnTo>
                    <a:pt x="288" y="1584"/>
                  </a:lnTo>
                  <a:lnTo>
                    <a:pt x="282" y="1584"/>
                  </a:lnTo>
                  <a:lnTo>
                    <a:pt x="282" y="1578"/>
                  </a:lnTo>
                  <a:lnTo>
                    <a:pt x="276" y="1578"/>
                  </a:lnTo>
                  <a:lnTo>
                    <a:pt x="270" y="1578"/>
                  </a:lnTo>
                  <a:lnTo>
                    <a:pt x="264" y="1578"/>
                  </a:lnTo>
                  <a:lnTo>
                    <a:pt x="258" y="1578"/>
                  </a:lnTo>
                  <a:lnTo>
                    <a:pt x="252" y="1578"/>
                  </a:lnTo>
                  <a:lnTo>
                    <a:pt x="252" y="1584"/>
                  </a:lnTo>
                  <a:lnTo>
                    <a:pt x="246" y="1584"/>
                  </a:lnTo>
                  <a:lnTo>
                    <a:pt x="210" y="1584"/>
                  </a:lnTo>
                  <a:lnTo>
                    <a:pt x="204" y="1584"/>
                  </a:lnTo>
                  <a:lnTo>
                    <a:pt x="192" y="1584"/>
                  </a:lnTo>
                  <a:lnTo>
                    <a:pt x="168" y="1596"/>
                  </a:lnTo>
                  <a:lnTo>
                    <a:pt x="156" y="1572"/>
                  </a:lnTo>
                  <a:lnTo>
                    <a:pt x="156" y="1566"/>
                  </a:lnTo>
                  <a:lnTo>
                    <a:pt x="156" y="1560"/>
                  </a:lnTo>
                  <a:lnTo>
                    <a:pt x="162" y="1548"/>
                  </a:lnTo>
                  <a:lnTo>
                    <a:pt x="162" y="1542"/>
                  </a:lnTo>
                  <a:lnTo>
                    <a:pt x="162" y="1536"/>
                  </a:lnTo>
                  <a:lnTo>
                    <a:pt x="168" y="1530"/>
                  </a:lnTo>
                  <a:lnTo>
                    <a:pt x="168" y="1524"/>
                  </a:lnTo>
                  <a:lnTo>
                    <a:pt x="168" y="1518"/>
                  </a:lnTo>
                  <a:lnTo>
                    <a:pt x="174" y="1518"/>
                  </a:lnTo>
                  <a:lnTo>
                    <a:pt x="174" y="1506"/>
                  </a:lnTo>
                  <a:lnTo>
                    <a:pt x="156" y="1470"/>
                  </a:lnTo>
                  <a:lnTo>
                    <a:pt x="138" y="1464"/>
                  </a:lnTo>
                  <a:lnTo>
                    <a:pt x="126" y="1446"/>
                  </a:lnTo>
                  <a:lnTo>
                    <a:pt x="126" y="1440"/>
                  </a:lnTo>
                  <a:lnTo>
                    <a:pt x="126" y="1434"/>
                  </a:lnTo>
                  <a:lnTo>
                    <a:pt x="120" y="1428"/>
                  </a:lnTo>
                  <a:lnTo>
                    <a:pt x="126" y="1398"/>
                  </a:lnTo>
                  <a:lnTo>
                    <a:pt x="120" y="1374"/>
                  </a:lnTo>
                  <a:lnTo>
                    <a:pt x="60" y="1374"/>
                  </a:lnTo>
                  <a:lnTo>
                    <a:pt x="60" y="1368"/>
                  </a:lnTo>
                  <a:lnTo>
                    <a:pt x="54" y="1362"/>
                  </a:lnTo>
                  <a:lnTo>
                    <a:pt x="48" y="1356"/>
                  </a:lnTo>
                  <a:lnTo>
                    <a:pt x="42" y="1356"/>
                  </a:lnTo>
                  <a:lnTo>
                    <a:pt x="42" y="1350"/>
                  </a:lnTo>
                  <a:lnTo>
                    <a:pt x="36" y="1344"/>
                  </a:lnTo>
                  <a:lnTo>
                    <a:pt x="36" y="1338"/>
                  </a:lnTo>
                  <a:lnTo>
                    <a:pt x="30" y="1332"/>
                  </a:lnTo>
                  <a:lnTo>
                    <a:pt x="30" y="1326"/>
                  </a:lnTo>
                  <a:lnTo>
                    <a:pt x="18" y="1326"/>
                  </a:lnTo>
                  <a:lnTo>
                    <a:pt x="18" y="1320"/>
                  </a:lnTo>
                  <a:lnTo>
                    <a:pt x="18" y="1326"/>
                  </a:lnTo>
                  <a:lnTo>
                    <a:pt x="6" y="1320"/>
                  </a:lnTo>
                  <a:lnTo>
                    <a:pt x="0" y="1314"/>
                  </a:lnTo>
                  <a:lnTo>
                    <a:pt x="12" y="1266"/>
                  </a:lnTo>
                  <a:lnTo>
                    <a:pt x="6" y="1242"/>
                  </a:lnTo>
                  <a:lnTo>
                    <a:pt x="12" y="1236"/>
                  </a:lnTo>
                  <a:lnTo>
                    <a:pt x="12" y="1230"/>
                  </a:lnTo>
                  <a:lnTo>
                    <a:pt x="18" y="1230"/>
                  </a:lnTo>
                  <a:lnTo>
                    <a:pt x="18" y="1224"/>
                  </a:lnTo>
                  <a:lnTo>
                    <a:pt x="24" y="1218"/>
                  </a:lnTo>
                  <a:lnTo>
                    <a:pt x="24" y="1212"/>
                  </a:lnTo>
                  <a:lnTo>
                    <a:pt x="30" y="1212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48" y="1188"/>
                  </a:lnTo>
                  <a:lnTo>
                    <a:pt x="48" y="1182"/>
                  </a:lnTo>
                  <a:lnTo>
                    <a:pt x="48" y="1176"/>
                  </a:lnTo>
                  <a:lnTo>
                    <a:pt x="48" y="1170"/>
                  </a:lnTo>
                  <a:lnTo>
                    <a:pt x="54" y="1170"/>
                  </a:lnTo>
                  <a:lnTo>
                    <a:pt x="60" y="1164"/>
                  </a:lnTo>
                  <a:lnTo>
                    <a:pt x="60" y="1158"/>
                  </a:lnTo>
                  <a:lnTo>
                    <a:pt x="66" y="1152"/>
                  </a:lnTo>
                  <a:lnTo>
                    <a:pt x="60" y="1140"/>
                  </a:lnTo>
                  <a:lnTo>
                    <a:pt x="60" y="1134"/>
                  </a:lnTo>
                  <a:lnTo>
                    <a:pt x="54" y="1134"/>
                  </a:lnTo>
                  <a:lnTo>
                    <a:pt x="54" y="1128"/>
                  </a:lnTo>
                  <a:lnTo>
                    <a:pt x="48" y="1122"/>
                  </a:lnTo>
                  <a:lnTo>
                    <a:pt x="48" y="1116"/>
                  </a:lnTo>
                  <a:lnTo>
                    <a:pt x="48" y="1110"/>
                  </a:lnTo>
                  <a:lnTo>
                    <a:pt x="42" y="1104"/>
                  </a:lnTo>
                  <a:lnTo>
                    <a:pt x="42" y="1098"/>
                  </a:lnTo>
                  <a:lnTo>
                    <a:pt x="36" y="1092"/>
                  </a:lnTo>
                  <a:lnTo>
                    <a:pt x="30" y="1092"/>
                  </a:lnTo>
                  <a:lnTo>
                    <a:pt x="24" y="1092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18" y="1080"/>
                  </a:lnTo>
                  <a:lnTo>
                    <a:pt x="18" y="1074"/>
                  </a:lnTo>
                  <a:lnTo>
                    <a:pt x="12" y="1068"/>
                  </a:lnTo>
                  <a:lnTo>
                    <a:pt x="6" y="1068"/>
                  </a:lnTo>
                  <a:lnTo>
                    <a:pt x="12" y="1056"/>
                  </a:lnTo>
                  <a:lnTo>
                    <a:pt x="6" y="1056"/>
                  </a:lnTo>
                  <a:lnTo>
                    <a:pt x="6" y="1050"/>
                  </a:lnTo>
                  <a:lnTo>
                    <a:pt x="6" y="1044"/>
                  </a:lnTo>
                  <a:lnTo>
                    <a:pt x="6" y="1026"/>
                  </a:lnTo>
                  <a:lnTo>
                    <a:pt x="12" y="1020"/>
                  </a:lnTo>
                  <a:lnTo>
                    <a:pt x="12" y="1014"/>
                  </a:lnTo>
                  <a:lnTo>
                    <a:pt x="18" y="1014"/>
                  </a:lnTo>
                  <a:lnTo>
                    <a:pt x="18" y="1008"/>
                  </a:lnTo>
                  <a:lnTo>
                    <a:pt x="18" y="1002"/>
                  </a:lnTo>
                  <a:lnTo>
                    <a:pt x="18" y="990"/>
                  </a:lnTo>
                  <a:lnTo>
                    <a:pt x="12" y="972"/>
                  </a:lnTo>
                  <a:lnTo>
                    <a:pt x="18" y="954"/>
                  </a:lnTo>
                  <a:lnTo>
                    <a:pt x="18" y="948"/>
                  </a:lnTo>
                  <a:lnTo>
                    <a:pt x="24" y="948"/>
                  </a:lnTo>
                  <a:lnTo>
                    <a:pt x="24" y="930"/>
                  </a:lnTo>
                  <a:lnTo>
                    <a:pt x="30" y="930"/>
                  </a:lnTo>
                  <a:lnTo>
                    <a:pt x="36" y="918"/>
                  </a:lnTo>
                  <a:lnTo>
                    <a:pt x="42" y="918"/>
                  </a:lnTo>
                  <a:lnTo>
                    <a:pt x="48" y="918"/>
                  </a:lnTo>
                  <a:lnTo>
                    <a:pt x="78" y="912"/>
                  </a:lnTo>
                  <a:lnTo>
                    <a:pt x="90" y="894"/>
                  </a:lnTo>
                  <a:lnTo>
                    <a:pt x="96" y="894"/>
                  </a:lnTo>
                  <a:lnTo>
                    <a:pt x="102" y="888"/>
                  </a:lnTo>
                  <a:lnTo>
                    <a:pt x="102" y="882"/>
                  </a:lnTo>
                  <a:lnTo>
                    <a:pt x="114" y="870"/>
                  </a:lnTo>
                  <a:lnTo>
                    <a:pt x="120" y="864"/>
                  </a:lnTo>
                  <a:lnTo>
                    <a:pt x="120" y="852"/>
                  </a:lnTo>
                  <a:lnTo>
                    <a:pt x="120" y="846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32" y="840"/>
                  </a:lnTo>
                  <a:lnTo>
                    <a:pt x="138" y="840"/>
                  </a:lnTo>
                  <a:lnTo>
                    <a:pt x="138" y="834"/>
                  </a:lnTo>
                  <a:lnTo>
                    <a:pt x="144" y="834"/>
                  </a:lnTo>
                  <a:lnTo>
                    <a:pt x="144" y="828"/>
                  </a:lnTo>
                  <a:lnTo>
                    <a:pt x="150" y="828"/>
                  </a:lnTo>
                  <a:lnTo>
                    <a:pt x="156" y="822"/>
                  </a:lnTo>
                  <a:lnTo>
                    <a:pt x="162" y="816"/>
                  </a:lnTo>
                  <a:lnTo>
                    <a:pt x="162" y="822"/>
                  </a:lnTo>
                  <a:lnTo>
                    <a:pt x="162" y="816"/>
                  </a:lnTo>
                  <a:lnTo>
                    <a:pt x="162" y="810"/>
                  </a:lnTo>
                  <a:lnTo>
                    <a:pt x="168" y="810"/>
                  </a:lnTo>
                  <a:lnTo>
                    <a:pt x="174" y="804"/>
                  </a:lnTo>
                  <a:lnTo>
                    <a:pt x="180" y="798"/>
                  </a:lnTo>
                  <a:lnTo>
                    <a:pt x="180" y="786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8" y="780"/>
                  </a:lnTo>
                  <a:lnTo>
                    <a:pt x="204" y="774"/>
                  </a:lnTo>
                  <a:lnTo>
                    <a:pt x="210" y="774"/>
                  </a:lnTo>
                  <a:lnTo>
                    <a:pt x="216" y="768"/>
                  </a:lnTo>
                  <a:lnTo>
                    <a:pt x="222" y="762"/>
                  </a:lnTo>
                  <a:lnTo>
                    <a:pt x="228" y="762"/>
                  </a:lnTo>
                  <a:lnTo>
                    <a:pt x="228" y="768"/>
                  </a:lnTo>
                  <a:lnTo>
                    <a:pt x="234" y="768"/>
                  </a:lnTo>
                  <a:lnTo>
                    <a:pt x="240" y="762"/>
                  </a:lnTo>
                  <a:lnTo>
                    <a:pt x="252" y="762"/>
                  </a:lnTo>
                  <a:lnTo>
                    <a:pt x="264" y="768"/>
                  </a:lnTo>
                  <a:lnTo>
                    <a:pt x="294" y="756"/>
                  </a:lnTo>
                  <a:lnTo>
                    <a:pt x="294" y="750"/>
                  </a:lnTo>
                  <a:lnTo>
                    <a:pt x="300" y="750"/>
                  </a:lnTo>
                  <a:lnTo>
                    <a:pt x="306" y="744"/>
                  </a:lnTo>
                  <a:lnTo>
                    <a:pt x="342" y="750"/>
                  </a:lnTo>
                  <a:lnTo>
                    <a:pt x="348" y="750"/>
                  </a:lnTo>
                  <a:lnTo>
                    <a:pt x="348" y="744"/>
                  </a:lnTo>
                  <a:lnTo>
                    <a:pt x="354" y="744"/>
                  </a:lnTo>
                  <a:lnTo>
                    <a:pt x="360" y="744"/>
                  </a:lnTo>
                  <a:lnTo>
                    <a:pt x="360" y="750"/>
                  </a:lnTo>
                  <a:lnTo>
                    <a:pt x="366" y="750"/>
                  </a:lnTo>
                  <a:lnTo>
                    <a:pt x="366" y="744"/>
                  </a:lnTo>
                  <a:lnTo>
                    <a:pt x="366" y="738"/>
                  </a:lnTo>
                  <a:lnTo>
                    <a:pt x="372" y="744"/>
                  </a:lnTo>
                  <a:lnTo>
                    <a:pt x="378" y="744"/>
                  </a:lnTo>
                  <a:lnTo>
                    <a:pt x="384" y="750"/>
                  </a:lnTo>
                  <a:lnTo>
                    <a:pt x="444" y="774"/>
                  </a:lnTo>
                  <a:lnTo>
                    <a:pt x="450" y="774"/>
                  </a:lnTo>
                  <a:lnTo>
                    <a:pt x="456" y="768"/>
                  </a:lnTo>
                  <a:lnTo>
                    <a:pt x="462" y="768"/>
                  </a:lnTo>
                  <a:lnTo>
                    <a:pt x="462" y="762"/>
                  </a:lnTo>
                  <a:lnTo>
                    <a:pt x="468" y="762"/>
                  </a:lnTo>
                  <a:lnTo>
                    <a:pt x="474" y="756"/>
                  </a:lnTo>
                  <a:lnTo>
                    <a:pt x="480" y="750"/>
                  </a:lnTo>
                  <a:lnTo>
                    <a:pt x="516" y="756"/>
                  </a:lnTo>
                  <a:lnTo>
                    <a:pt x="522" y="756"/>
                  </a:lnTo>
                  <a:lnTo>
                    <a:pt x="522" y="762"/>
                  </a:lnTo>
                  <a:lnTo>
                    <a:pt x="522" y="768"/>
                  </a:lnTo>
                  <a:lnTo>
                    <a:pt x="522" y="774"/>
                  </a:lnTo>
                  <a:lnTo>
                    <a:pt x="528" y="780"/>
                  </a:lnTo>
                  <a:lnTo>
                    <a:pt x="540" y="780"/>
                  </a:lnTo>
                  <a:lnTo>
                    <a:pt x="540" y="804"/>
                  </a:lnTo>
                  <a:lnTo>
                    <a:pt x="540" y="810"/>
                  </a:lnTo>
                  <a:lnTo>
                    <a:pt x="546" y="810"/>
                  </a:lnTo>
                  <a:lnTo>
                    <a:pt x="552" y="810"/>
                  </a:lnTo>
                  <a:lnTo>
                    <a:pt x="558" y="810"/>
                  </a:lnTo>
                  <a:lnTo>
                    <a:pt x="564" y="810"/>
                  </a:lnTo>
                  <a:lnTo>
                    <a:pt x="570" y="810"/>
                  </a:lnTo>
                  <a:lnTo>
                    <a:pt x="576" y="810"/>
                  </a:lnTo>
                  <a:lnTo>
                    <a:pt x="576" y="816"/>
                  </a:lnTo>
                  <a:lnTo>
                    <a:pt x="588" y="816"/>
                  </a:lnTo>
                  <a:lnTo>
                    <a:pt x="594" y="816"/>
                  </a:lnTo>
                  <a:lnTo>
                    <a:pt x="600" y="822"/>
                  </a:lnTo>
                  <a:lnTo>
                    <a:pt x="606" y="816"/>
                  </a:lnTo>
                  <a:lnTo>
                    <a:pt x="612" y="816"/>
                  </a:lnTo>
                  <a:lnTo>
                    <a:pt x="612" y="810"/>
                  </a:lnTo>
                  <a:lnTo>
                    <a:pt x="624" y="810"/>
                  </a:lnTo>
                  <a:lnTo>
                    <a:pt x="624" y="804"/>
                  </a:lnTo>
                  <a:lnTo>
                    <a:pt x="630" y="798"/>
                  </a:lnTo>
                  <a:lnTo>
                    <a:pt x="636" y="798"/>
                  </a:lnTo>
                  <a:lnTo>
                    <a:pt x="636" y="804"/>
                  </a:lnTo>
                  <a:lnTo>
                    <a:pt x="642" y="804"/>
                  </a:lnTo>
                  <a:lnTo>
                    <a:pt x="648" y="804"/>
                  </a:lnTo>
                  <a:lnTo>
                    <a:pt x="654" y="804"/>
                  </a:lnTo>
                  <a:lnTo>
                    <a:pt x="660" y="804"/>
                  </a:lnTo>
                  <a:lnTo>
                    <a:pt x="678" y="798"/>
                  </a:lnTo>
                  <a:lnTo>
                    <a:pt x="714" y="786"/>
                  </a:lnTo>
                  <a:lnTo>
                    <a:pt x="714" y="792"/>
                  </a:lnTo>
                  <a:lnTo>
                    <a:pt x="714" y="798"/>
                  </a:lnTo>
                  <a:lnTo>
                    <a:pt x="714" y="804"/>
                  </a:lnTo>
                  <a:lnTo>
                    <a:pt x="720" y="804"/>
                  </a:lnTo>
                  <a:lnTo>
                    <a:pt x="720" y="810"/>
                  </a:lnTo>
                  <a:lnTo>
                    <a:pt x="720" y="816"/>
                  </a:lnTo>
                  <a:lnTo>
                    <a:pt x="726" y="822"/>
                  </a:lnTo>
                  <a:lnTo>
                    <a:pt x="732" y="828"/>
                  </a:lnTo>
                  <a:lnTo>
                    <a:pt x="732" y="834"/>
                  </a:lnTo>
                  <a:lnTo>
                    <a:pt x="732" y="846"/>
                  </a:lnTo>
                  <a:lnTo>
                    <a:pt x="732" y="858"/>
                  </a:lnTo>
                  <a:lnTo>
                    <a:pt x="738" y="858"/>
                  </a:lnTo>
                  <a:lnTo>
                    <a:pt x="732" y="864"/>
                  </a:lnTo>
                  <a:lnTo>
                    <a:pt x="732" y="870"/>
                  </a:lnTo>
                  <a:lnTo>
                    <a:pt x="726" y="870"/>
                  </a:lnTo>
                  <a:lnTo>
                    <a:pt x="726" y="876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0" y="882"/>
                  </a:lnTo>
                  <a:lnTo>
                    <a:pt x="690" y="912"/>
                  </a:lnTo>
                  <a:lnTo>
                    <a:pt x="696" y="936"/>
                  </a:lnTo>
                  <a:lnTo>
                    <a:pt x="702" y="936"/>
                  </a:lnTo>
                  <a:lnTo>
                    <a:pt x="702" y="930"/>
                  </a:lnTo>
                  <a:lnTo>
                    <a:pt x="708" y="930"/>
                  </a:lnTo>
                  <a:lnTo>
                    <a:pt x="708" y="924"/>
                  </a:lnTo>
                  <a:lnTo>
                    <a:pt x="708" y="918"/>
                  </a:lnTo>
                  <a:lnTo>
                    <a:pt x="714" y="918"/>
                  </a:lnTo>
                  <a:lnTo>
                    <a:pt x="720" y="954"/>
                  </a:lnTo>
                  <a:lnTo>
                    <a:pt x="726" y="966"/>
                  </a:lnTo>
                  <a:lnTo>
                    <a:pt x="744" y="966"/>
                  </a:lnTo>
                  <a:lnTo>
                    <a:pt x="756" y="972"/>
                  </a:lnTo>
                  <a:lnTo>
                    <a:pt x="792" y="990"/>
                  </a:lnTo>
                  <a:lnTo>
                    <a:pt x="828" y="978"/>
                  </a:lnTo>
                  <a:lnTo>
                    <a:pt x="834" y="978"/>
                  </a:lnTo>
                  <a:lnTo>
                    <a:pt x="840" y="978"/>
                  </a:lnTo>
                  <a:lnTo>
                    <a:pt x="840" y="984"/>
                  </a:lnTo>
                  <a:lnTo>
                    <a:pt x="846" y="984"/>
                  </a:lnTo>
                  <a:lnTo>
                    <a:pt x="858" y="972"/>
                  </a:lnTo>
                  <a:lnTo>
                    <a:pt x="882" y="972"/>
                  </a:lnTo>
                  <a:lnTo>
                    <a:pt x="888" y="984"/>
                  </a:lnTo>
                  <a:lnTo>
                    <a:pt x="900" y="990"/>
                  </a:lnTo>
                  <a:lnTo>
                    <a:pt x="924" y="996"/>
                  </a:lnTo>
                  <a:lnTo>
                    <a:pt x="930" y="990"/>
                  </a:lnTo>
                  <a:lnTo>
                    <a:pt x="930" y="984"/>
                  </a:lnTo>
                  <a:lnTo>
                    <a:pt x="924" y="978"/>
                  </a:lnTo>
                  <a:lnTo>
                    <a:pt x="906" y="972"/>
                  </a:lnTo>
                  <a:lnTo>
                    <a:pt x="900" y="966"/>
                  </a:lnTo>
                  <a:lnTo>
                    <a:pt x="900" y="960"/>
                  </a:lnTo>
                  <a:lnTo>
                    <a:pt x="900" y="954"/>
                  </a:lnTo>
                  <a:lnTo>
                    <a:pt x="900" y="948"/>
                  </a:lnTo>
                  <a:lnTo>
                    <a:pt x="912" y="936"/>
                  </a:lnTo>
                  <a:lnTo>
                    <a:pt x="912" y="924"/>
                  </a:lnTo>
                  <a:lnTo>
                    <a:pt x="918" y="924"/>
                  </a:lnTo>
                  <a:lnTo>
                    <a:pt x="918" y="918"/>
                  </a:lnTo>
                  <a:lnTo>
                    <a:pt x="936" y="906"/>
                  </a:lnTo>
                  <a:lnTo>
                    <a:pt x="942" y="906"/>
                  </a:lnTo>
                  <a:lnTo>
                    <a:pt x="948" y="906"/>
                  </a:lnTo>
                  <a:lnTo>
                    <a:pt x="954" y="906"/>
                  </a:lnTo>
                  <a:lnTo>
                    <a:pt x="960" y="906"/>
                  </a:lnTo>
                  <a:lnTo>
                    <a:pt x="966" y="912"/>
                  </a:lnTo>
                  <a:lnTo>
                    <a:pt x="972" y="906"/>
                  </a:lnTo>
                  <a:lnTo>
                    <a:pt x="978" y="906"/>
                  </a:lnTo>
                  <a:lnTo>
                    <a:pt x="984" y="900"/>
                  </a:lnTo>
                  <a:lnTo>
                    <a:pt x="984" y="894"/>
                  </a:lnTo>
                  <a:lnTo>
                    <a:pt x="990" y="894"/>
                  </a:lnTo>
                  <a:lnTo>
                    <a:pt x="996" y="888"/>
                  </a:lnTo>
                  <a:lnTo>
                    <a:pt x="1002" y="888"/>
                  </a:lnTo>
                  <a:lnTo>
                    <a:pt x="1008" y="882"/>
                  </a:lnTo>
                  <a:lnTo>
                    <a:pt x="1014" y="882"/>
                  </a:lnTo>
                  <a:lnTo>
                    <a:pt x="1020" y="882"/>
                  </a:lnTo>
                  <a:lnTo>
                    <a:pt x="1020" y="888"/>
                  </a:lnTo>
                  <a:lnTo>
                    <a:pt x="1026" y="882"/>
                  </a:lnTo>
                  <a:lnTo>
                    <a:pt x="1026" y="876"/>
                  </a:lnTo>
                  <a:lnTo>
                    <a:pt x="1026" y="870"/>
                  </a:lnTo>
                  <a:lnTo>
                    <a:pt x="1032" y="864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44" y="852"/>
                  </a:lnTo>
                  <a:lnTo>
                    <a:pt x="1038" y="846"/>
                  </a:lnTo>
                  <a:lnTo>
                    <a:pt x="1038" y="840"/>
                  </a:lnTo>
                  <a:lnTo>
                    <a:pt x="1032" y="840"/>
                  </a:lnTo>
                  <a:lnTo>
                    <a:pt x="1026" y="840"/>
                  </a:lnTo>
                  <a:lnTo>
                    <a:pt x="1020" y="840"/>
                  </a:lnTo>
                  <a:lnTo>
                    <a:pt x="1014" y="846"/>
                  </a:lnTo>
                  <a:lnTo>
                    <a:pt x="1008" y="846"/>
                  </a:lnTo>
                  <a:lnTo>
                    <a:pt x="1002" y="840"/>
                  </a:lnTo>
                  <a:lnTo>
                    <a:pt x="996" y="840"/>
                  </a:lnTo>
                  <a:lnTo>
                    <a:pt x="990" y="834"/>
                  </a:lnTo>
                  <a:lnTo>
                    <a:pt x="984" y="834"/>
                  </a:lnTo>
                  <a:lnTo>
                    <a:pt x="978" y="834"/>
                  </a:lnTo>
                  <a:lnTo>
                    <a:pt x="972" y="834"/>
                  </a:lnTo>
                  <a:lnTo>
                    <a:pt x="966" y="834"/>
                  </a:lnTo>
                  <a:lnTo>
                    <a:pt x="966" y="828"/>
                  </a:lnTo>
                  <a:lnTo>
                    <a:pt x="960" y="828"/>
                  </a:lnTo>
                  <a:lnTo>
                    <a:pt x="954" y="828"/>
                  </a:lnTo>
                  <a:lnTo>
                    <a:pt x="942" y="828"/>
                  </a:lnTo>
                  <a:lnTo>
                    <a:pt x="936" y="828"/>
                  </a:lnTo>
                  <a:lnTo>
                    <a:pt x="930" y="828"/>
                  </a:lnTo>
                  <a:lnTo>
                    <a:pt x="918" y="828"/>
                  </a:lnTo>
                  <a:lnTo>
                    <a:pt x="918" y="822"/>
                  </a:lnTo>
                  <a:lnTo>
                    <a:pt x="912" y="828"/>
                  </a:lnTo>
                  <a:lnTo>
                    <a:pt x="912" y="822"/>
                  </a:lnTo>
                  <a:lnTo>
                    <a:pt x="906" y="816"/>
                  </a:lnTo>
                  <a:lnTo>
                    <a:pt x="900" y="816"/>
                  </a:lnTo>
                  <a:lnTo>
                    <a:pt x="894" y="816"/>
                  </a:lnTo>
                  <a:lnTo>
                    <a:pt x="888" y="816"/>
                  </a:lnTo>
                  <a:lnTo>
                    <a:pt x="882" y="816"/>
                  </a:lnTo>
                  <a:lnTo>
                    <a:pt x="882" y="810"/>
                  </a:lnTo>
                  <a:lnTo>
                    <a:pt x="876" y="804"/>
                  </a:lnTo>
                  <a:lnTo>
                    <a:pt x="870" y="804"/>
                  </a:lnTo>
                  <a:lnTo>
                    <a:pt x="864" y="798"/>
                  </a:lnTo>
                  <a:lnTo>
                    <a:pt x="858" y="798"/>
                  </a:lnTo>
                  <a:lnTo>
                    <a:pt x="858" y="804"/>
                  </a:lnTo>
                  <a:lnTo>
                    <a:pt x="852" y="804"/>
                  </a:lnTo>
                  <a:lnTo>
                    <a:pt x="846" y="804"/>
                  </a:lnTo>
                  <a:lnTo>
                    <a:pt x="846" y="798"/>
                  </a:lnTo>
                  <a:lnTo>
                    <a:pt x="840" y="804"/>
                  </a:lnTo>
                  <a:lnTo>
                    <a:pt x="834" y="804"/>
                  </a:lnTo>
                  <a:lnTo>
                    <a:pt x="828" y="804"/>
                  </a:lnTo>
                  <a:lnTo>
                    <a:pt x="828" y="810"/>
                  </a:lnTo>
                  <a:lnTo>
                    <a:pt x="822" y="810"/>
                  </a:lnTo>
                  <a:lnTo>
                    <a:pt x="810" y="804"/>
                  </a:lnTo>
                  <a:lnTo>
                    <a:pt x="810" y="798"/>
                  </a:lnTo>
                  <a:lnTo>
                    <a:pt x="780" y="798"/>
                  </a:lnTo>
                  <a:lnTo>
                    <a:pt x="756" y="774"/>
                  </a:lnTo>
                  <a:lnTo>
                    <a:pt x="750" y="768"/>
                  </a:lnTo>
                  <a:lnTo>
                    <a:pt x="750" y="744"/>
                  </a:lnTo>
                  <a:lnTo>
                    <a:pt x="732" y="738"/>
                  </a:lnTo>
                  <a:lnTo>
                    <a:pt x="732" y="720"/>
                  </a:lnTo>
                  <a:lnTo>
                    <a:pt x="714" y="690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6" y="666"/>
                  </a:lnTo>
                  <a:lnTo>
                    <a:pt x="690" y="666"/>
                  </a:lnTo>
                  <a:lnTo>
                    <a:pt x="678" y="672"/>
                  </a:lnTo>
                  <a:lnTo>
                    <a:pt x="678" y="654"/>
                  </a:lnTo>
                  <a:lnTo>
                    <a:pt x="684" y="630"/>
                  </a:lnTo>
                  <a:lnTo>
                    <a:pt x="690" y="618"/>
                  </a:lnTo>
                  <a:lnTo>
                    <a:pt x="696" y="612"/>
                  </a:lnTo>
                  <a:lnTo>
                    <a:pt x="696" y="588"/>
                  </a:lnTo>
                  <a:lnTo>
                    <a:pt x="690" y="576"/>
                  </a:lnTo>
                  <a:lnTo>
                    <a:pt x="696" y="552"/>
                  </a:lnTo>
                  <a:lnTo>
                    <a:pt x="684" y="522"/>
                  </a:lnTo>
                  <a:lnTo>
                    <a:pt x="672" y="504"/>
                  </a:lnTo>
                  <a:lnTo>
                    <a:pt x="654" y="504"/>
                  </a:lnTo>
                  <a:lnTo>
                    <a:pt x="642" y="504"/>
                  </a:lnTo>
                  <a:lnTo>
                    <a:pt x="624" y="510"/>
                  </a:lnTo>
                  <a:lnTo>
                    <a:pt x="612" y="516"/>
                  </a:lnTo>
                  <a:lnTo>
                    <a:pt x="594" y="516"/>
                  </a:lnTo>
                  <a:lnTo>
                    <a:pt x="588" y="516"/>
                  </a:lnTo>
                  <a:lnTo>
                    <a:pt x="588" y="522"/>
                  </a:lnTo>
                  <a:lnTo>
                    <a:pt x="582" y="516"/>
                  </a:lnTo>
                  <a:lnTo>
                    <a:pt x="588" y="510"/>
                  </a:lnTo>
                  <a:lnTo>
                    <a:pt x="582" y="510"/>
                  </a:lnTo>
                  <a:lnTo>
                    <a:pt x="582" y="504"/>
                  </a:lnTo>
                  <a:lnTo>
                    <a:pt x="576" y="498"/>
                  </a:lnTo>
                  <a:lnTo>
                    <a:pt x="570" y="498"/>
                  </a:lnTo>
                  <a:lnTo>
                    <a:pt x="570" y="492"/>
                  </a:lnTo>
                  <a:lnTo>
                    <a:pt x="564" y="492"/>
                  </a:lnTo>
                  <a:lnTo>
                    <a:pt x="570" y="486"/>
                  </a:lnTo>
                  <a:lnTo>
                    <a:pt x="564" y="486"/>
                  </a:lnTo>
                  <a:lnTo>
                    <a:pt x="564" y="480"/>
                  </a:lnTo>
                  <a:lnTo>
                    <a:pt x="564" y="474"/>
                  </a:lnTo>
                  <a:lnTo>
                    <a:pt x="558" y="468"/>
                  </a:lnTo>
                  <a:lnTo>
                    <a:pt x="564" y="468"/>
                  </a:lnTo>
                  <a:lnTo>
                    <a:pt x="564" y="462"/>
                  </a:lnTo>
                  <a:lnTo>
                    <a:pt x="570" y="462"/>
                  </a:lnTo>
                  <a:lnTo>
                    <a:pt x="570" y="456"/>
                  </a:lnTo>
                  <a:lnTo>
                    <a:pt x="570" y="450"/>
                  </a:lnTo>
                  <a:lnTo>
                    <a:pt x="576" y="450"/>
                  </a:lnTo>
                  <a:lnTo>
                    <a:pt x="576" y="444"/>
                  </a:lnTo>
                  <a:lnTo>
                    <a:pt x="582" y="438"/>
                  </a:lnTo>
                  <a:lnTo>
                    <a:pt x="588" y="438"/>
                  </a:lnTo>
                  <a:lnTo>
                    <a:pt x="588" y="444"/>
                  </a:lnTo>
                  <a:lnTo>
                    <a:pt x="594" y="438"/>
                  </a:lnTo>
                  <a:lnTo>
                    <a:pt x="594" y="432"/>
                  </a:lnTo>
                  <a:lnTo>
                    <a:pt x="600" y="432"/>
                  </a:lnTo>
                  <a:lnTo>
                    <a:pt x="600" y="426"/>
                  </a:lnTo>
                  <a:lnTo>
                    <a:pt x="600" y="420"/>
                  </a:lnTo>
                  <a:lnTo>
                    <a:pt x="606" y="420"/>
                  </a:lnTo>
                  <a:lnTo>
                    <a:pt x="600" y="420"/>
                  </a:lnTo>
                  <a:lnTo>
                    <a:pt x="600" y="414"/>
                  </a:lnTo>
                  <a:lnTo>
                    <a:pt x="606" y="408"/>
                  </a:lnTo>
                  <a:lnTo>
                    <a:pt x="612" y="408"/>
                  </a:lnTo>
                  <a:lnTo>
                    <a:pt x="612" y="414"/>
                  </a:lnTo>
                  <a:lnTo>
                    <a:pt x="618" y="414"/>
                  </a:lnTo>
                  <a:lnTo>
                    <a:pt x="624" y="414"/>
                  </a:lnTo>
                  <a:lnTo>
                    <a:pt x="630" y="414"/>
                  </a:lnTo>
                  <a:lnTo>
                    <a:pt x="636" y="414"/>
                  </a:lnTo>
                  <a:lnTo>
                    <a:pt x="642" y="408"/>
                  </a:lnTo>
                  <a:lnTo>
                    <a:pt x="648" y="408"/>
                  </a:lnTo>
                  <a:lnTo>
                    <a:pt x="660" y="408"/>
                  </a:lnTo>
                  <a:lnTo>
                    <a:pt x="666" y="402"/>
                  </a:lnTo>
                  <a:lnTo>
                    <a:pt x="672" y="402"/>
                  </a:lnTo>
                  <a:lnTo>
                    <a:pt x="684" y="396"/>
                  </a:lnTo>
                  <a:lnTo>
                    <a:pt x="690" y="396"/>
                  </a:lnTo>
                  <a:lnTo>
                    <a:pt x="696" y="396"/>
                  </a:lnTo>
                  <a:lnTo>
                    <a:pt x="702" y="396"/>
                  </a:lnTo>
                  <a:lnTo>
                    <a:pt x="708" y="396"/>
                  </a:lnTo>
                  <a:lnTo>
                    <a:pt x="714" y="390"/>
                  </a:lnTo>
                  <a:lnTo>
                    <a:pt x="714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32" y="384"/>
                  </a:lnTo>
                  <a:lnTo>
                    <a:pt x="738" y="378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56" y="372"/>
                  </a:lnTo>
                  <a:lnTo>
                    <a:pt x="762" y="366"/>
                  </a:lnTo>
                  <a:lnTo>
                    <a:pt x="768" y="366"/>
                  </a:lnTo>
                  <a:lnTo>
                    <a:pt x="774" y="366"/>
                  </a:lnTo>
                  <a:lnTo>
                    <a:pt x="774" y="360"/>
                  </a:lnTo>
                  <a:lnTo>
                    <a:pt x="780" y="366"/>
                  </a:lnTo>
                  <a:lnTo>
                    <a:pt x="786" y="366"/>
                  </a:lnTo>
                  <a:lnTo>
                    <a:pt x="786" y="360"/>
                  </a:lnTo>
                  <a:lnTo>
                    <a:pt x="792" y="354"/>
                  </a:lnTo>
                  <a:lnTo>
                    <a:pt x="786" y="354"/>
                  </a:lnTo>
                  <a:lnTo>
                    <a:pt x="792" y="348"/>
                  </a:lnTo>
                  <a:lnTo>
                    <a:pt x="798" y="348"/>
                  </a:lnTo>
                  <a:lnTo>
                    <a:pt x="804" y="348"/>
                  </a:lnTo>
                  <a:lnTo>
                    <a:pt x="810" y="342"/>
                  </a:lnTo>
                  <a:lnTo>
                    <a:pt x="816" y="342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28" y="336"/>
                  </a:lnTo>
                  <a:lnTo>
                    <a:pt x="834" y="336"/>
                  </a:lnTo>
                  <a:lnTo>
                    <a:pt x="840" y="336"/>
                  </a:lnTo>
                  <a:lnTo>
                    <a:pt x="846" y="330"/>
                  </a:lnTo>
                  <a:lnTo>
                    <a:pt x="852" y="330"/>
                  </a:lnTo>
                  <a:lnTo>
                    <a:pt x="858" y="330"/>
                  </a:lnTo>
                  <a:lnTo>
                    <a:pt x="864" y="324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0" y="312"/>
                  </a:lnTo>
                  <a:lnTo>
                    <a:pt x="876" y="312"/>
                  </a:lnTo>
                  <a:lnTo>
                    <a:pt x="882" y="312"/>
                  </a:lnTo>
                  <a:lnTo>
                    <a:pt x="882" y="318"/>
                  </a:lnTo>
                  <a:lnTo>
                    <a:pt x="888" y="312"/>
                  </a:lnTo>
                  <a:lnTo>
                    <a:pt x="894" y="306"/>
                  </a:lnTo>
                  <a:lnTo>
                    <a:pt x="900" y="306"/>
                  </a:lnTo>
                  <a:lnTo>
                    <a:pt x="906" y="306"/>
                  </a:lnTo>
                  <a:lnTo>
                    <a:pt x="912" y="300"/>
                  </a:lnTo>
                  <a:lnTo>
                    <a:pt x="906" y="294"/>
                  </a:lnTo>
                  <a:lnTo>
                    <a:pt x="912" y="276"/>
                  </a:lnTo>
                  <a:lnTo>
                    <a:pt x="912" y="252"/>
                  </a:lnTo>
                  <a:lnTo>
                    <a:pt x="906" y="234"/>
                  </a:lnTo>
                  <a:lnTo>
                    <a:pt x="912" y="228"/>
                  </a:lnTo>
                  <a:lnTo>
                    <a:pt x="912" y="216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24" y="192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36" y="186"/>
                  </a:lnTo>
                  <a:lnTo>
                    <a:pt x="930" y="180"/>
                  </a:lnTo>
                  <a:lnTo>
                    <a:pt x="930" y="174"/>
                  </a:lnTo>
                  <a:lnTo>
                    <a:pt x="936" y="156"/>
                  </a:lnTo>
                  <a:lnTo>
                    <a:pt x="930" y="156"/>
                  </a:lnTo>
                  <a:lnTo>
                    <a:pt x="924" y="150"/>
                  </a:lnTo>
                  <a:lnTo>
                    <a:pt x="942" y="78"/>
                  </a:lnTo>
                  <a:lnTo>
                    <a:pt x="948" y="78"/>
                  </a:lnTo>
                  <a:lnTo>
                    <a:pt x="954" y="66"/>
                  </a:lnTo>
                  <a:lnTo>
                    <a:pt x="954" y="72"/>
                  </a:lnTo>
                  <a:lnTo>
                    <a:pt x="954" y="66"/>
                  </a:lnTo>
                  <a:lnTo>
                    <a:pt x="960" y="66"/>
                  </a:lnTo>
                  <a:lnTo>
                    <a:pt x="966" y="66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54"/>
                  </a:lnTo>
                  <a:lnTo>
                    <a:pt x="990" y="54"/>
                  </a:lnTo>
                  <a:lnTo>
                    <a:pt x="996" y="48"/>
                  </a:lnTo>
                  <a:lnTo>
                    <a:pt x="1002" y="48"/>
                  </a:lnTo>
                  <a:lnTo>
                    <a:pt x="1032" y="48"/>
                  </a:lnTo>
                  <a:lnTo>
                    <a:pt x="1062" y="48"/>
                  </a:lnTo>
                  <a:lnTo>
                    <a:pt x="1068" y="78"/>
                  </a:lnTo>
                  <a:lnTo>
                    <a:pt x="1086" y="78"/>
                  </a:lnTo>
                  <a:lnTo>
                    <a:pt x="1092" y="66"/>
                  </a:lnTo>
                  <a:lnTo>
                    <a:pt x="1092" y="60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8" y="48"/>
                  </a:lnTo>
                  <a:lnTo>
                    <a:pt x="1104" y="48"/>
                  </a:lnTo>
                  <a:lnTo>
                    <a:pt x="1110" y="48"/>
                  </a:lnTo>
                  <a:lnTo>
                    <a:pt x="1110" y="42"/>
                  </a:lnTo>
                  <a:lnTo>
                    <a:pt x="1110" y="36"/>
                  </a:lnTo>
                  <a:lnTo>
                    <a:pt x="1116" y="36"/>
                  </a:lnTo>
                  <a:lnTo>
                    <a:pt x="1116" y="30"/>
                  </a:lnTo>
                  <a:lnTo>
                    <a:pt x="1122" y="30"/>
                  </a:lnTo>
                  <a:lnTo>
                    <a:pt x="1128" y="30"/>
                  </a:lnTo>
                  <a:lnTo>
                    <a:pt x="1134" y="30"/>
                  </a:lnTo>
                  <a:lnTo>
                    <a:pt x="1140" y="24"/>
                  </a:lnTo>
                  <a:lnTo>
                    <a:pt x="1152" y="18"/>
                  </a:lnTo>
                  <a:lnTo>
                    <a:pt x="1158" y="18"/>
                  </a:lnTo>
                  <a:lnTo>
                    <a:pt x="1152" y="12"/>
                  </a:lnTo>
                  <a:lnTo>
                    <a:pt x="1152" y="6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8"/>
                  </a:lnTo>
                  <a:lnTo>
                    <a:pt x="1170" y="12"/>
                  </a:lnTo>
                  <a:lnTo>
                    <a:pt x="1170" y="6"/>
                  </a:lnTo>
                  <a:lnTo>
                    <a:pt x="1176" y="6"/>
                  </a:lnTo>
                  <a:lnTo>
                    <a:pt x="1176" y="0"/>
                  </a:lnTo>
                  <a:lnTo>
                    <a:pt x="1182" y="6"/>
                  </a:lnTo>
                  <a:lnTo>
                    <a:pt x="1188" y="6"/>
                  </a:lnTo>
                  <a:lnTo>
                    <a:pt x="1188" y="0"/>
                  </a:lnTo>
                  <a:lnTo>
                    <a:pt x="1194" y="6"/>
                  </a:lnTo>
                  <a:lnTo>
                    <a:pt x="1200" y="12"/>
                  </a:lnTo>
                  <a:lnTo>
                    <a:pt x="1206" y="18"/>
                  </a:lnTo>
                  <a:lnTo>
                    <a:pt x="1212" y="18"/>
                  </a:lnTo>
                  <a:lnTo>
                    <a:pt x="1218" y="24"/>
                  </a:lnTo>
                  <a:lnTo>
                    <a:pt x="1236" y="36"/>
                  </a:lnTo>
                  <a:lnTo>
                    <a:pt x="1242" y="36"/>
                  </a:lnTo>
                  <a:lnTo>
                    <a:pt x="1248" y="42"/>
                  </a:lnTo>
                  <a:lnTo>
                    <a:pt x="1248" y="48"/>
                  </a:lnTo>
                  <a:lnTo>
                    <a:pt x="1260" y="48"/>
                  </a:lnTo>
                  <a:lnTo>
                    <a:pt x="1260" y="108"/>
                  </a:lnTo>
                  <a:lnTo>
                    <a:pt x="1266" y="168"/>
                  </a:lnTo>
                  <a:lnTo>
                    <a:pt x="1278" y="234"/>
                  </a:lnTo>
                  <a:lnTo>
                    <a:pt x="1284" y="240"/>
                  </a:lnTo>
                  <a:lnTo>
                    <a:pt x="1290" y="264"/>
                  </a:lnTo>
                  <a:lnTo>
                    <a:pt x="1296" y="288"/>
                  </a:lnTo>
                  <a:lnTo>
                    <a:pt x="1296" y="300"/>
                  </a:lnTo>
                  <a:lnTo>
                    <a:pt x="1296" y="312"/>
                  </a:lnTo>
                  <a:lnTo>
                    <a:pt x="1296" y="324"/>
                  </a:lnTo>
                  <a:lnTo>
                    <a:pt x="1296" y="354"/>
                  </a:lnTo>
                  <a:lnTo>
                    <a:pt x="1302" y="366"/>
                  </a:lnTo>
                  <a:lnTo>
                    <a:pt x="1308" y="372"/>
                  </a:lnTo>
                  <a:lnTo>
                    <a:pt x="1308" y="384"/>
                  </a:lnTo>
                  <a:lnTo>
                    <a:pt x="1314" y="390"/>
                  </a:lnTo>
                  <a:lnTo>
                    <a:pt x="1308" y="408"/>
                  </a:lnTo>
                  <a:lnTo>
                    <a:pt x="1314" y="408"/>
                  </a:lnTo>
                  <a:lnTo>
                    <a:pt x="1314" y="414"/>
                  </a:lnTo>
                  <a:lnTo>
                    <a:pt x="1308" y="420"/>
                  </a:lnTo>
                  <a:lnTo>
                    <a:pt x="1308" y="432"/>
                  </a:lnTo>
                  <a:lnTo>
                    <a:pt x="1320" y="432"/>
                  </a:lnTo>
                  <a:lnTo>
                    <a:pt x="1320" y="444"/>
                  </a:lnTo>
                  <a:lnTo>
                    <a:pt x="1332" y="444"/>
                  </a:lnTo>
                  <a:lnTo>
                    <a:pt x="1338" y="450"/>
                  </a:lnTo>
                  <a:lnTo>
                    <a:pt x="1344" y="456"/>
                  </a:lnTo>
                  <a:lnTo>
                    <a:pt x="1344" y="462"/>
                  </a:lnTo>
                  <a:lnTo>
                    <a:pt x="1344" y="474"/>
                  </a:lnTo>
                  <a:lnTo>
                    <a:pt x="1350" y="474"/>
                  </a:lnTo>
                  <a:lnTo>
                    <a:pt x="1368" y="504"/>
                  </a:lnTo>
                  <a:lnTo>
                    <a:pt x="1374" y="534"/>
                  </a:lnTo>
                  <a:lnTo>
                    <a:pt x="1380" y="558"/>
                  </a:lnTo>
                  <a:lnTo>
                    <a:pt x="1386" y="576"/>
                  </a:lnTo>
                  <a:lnTo>
                    <a:pt x="1386" y="600"/>
                  </a:lnTo>
                  <a:lnTo>
                    <a:pt x="1386" y="624"/>
                  </a:lnTo>
                  <a:lnTo>
                    <a:pt x="1386" y="648"/>
                  </a:lnTo>
                  <a:lnTo>
                    <a:pt x="1386" y="684"/>
                  </a:lnTo>
                  <a:lnTo>
                    <a:pt x="1380" y="684"/>
                  </a:lnTo>
                  <a:lnTo>
                    <a:pt x="1374" y="696"/>
                  </a:lnTo>
                  <a:lnTo>
                    <a:pt x="1368" y="702"/>
                  </a:lnTo>
                  <a:lnTo>
                    <a:pt x="1362" y="708"/>
                  </a:lnTo>
                  <a:lnTo>
                    <a:pt x="1356" y="714"/>
                  </a:lnTo>
                  <a:lnTo>
                    <a:pt x="1350" y="720"/>
                  </a:lnTo>
                  <a:lnTo>
                    <a:pt x="1338" y="720"/>
                  </a:lnTo>
                  <a:lnTo>
                    <a:pt x="1338" y="738"/>
                  </a:lnTo>
                  <a:lnTo>
                    <a:pt x="1362" y="750"/>
                  </a:lnTo>
                  <a:lnTo>
                    <a:pt x="1362" y="756"/>
                  </a:lnTo>
                  <a:lnTo>
                    <a:pt x="1374" y="756"/>
                  </a:lnTo>
                  <a:lnTo>
                    <a:pt x="1410" y="774"/>
                  </a:lnTo>
                  <a:lnTo>
                    <a:pt x="1446" y="774"/>
                  </a:lnTo>
                  <a:lnTo>
                    <a:pt x="1482" y="768"/>
                  </a:lnTo>
                  <a:lnTo>
                    <a:pt x="1500" y="774"/>
                  </a:lnTo>
                  <a:lnTo>
                    <a:pt x="1512" y="78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6" name="Freeform 11">
              <a:extLst>
                <a:ext uri="{FF2B5EF4-FFF2-40B4-BE49-F238E27FC236}">
                  <a16:creationId xmlns:a16="http://schemas.microsoft.com/office/drawing/2014/main" id="{1FF8E66F-B850-456A-B132-C45FEEDE95C6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2475" y="2345643"/>
              <a:ext cx="445003" cy="603855"/>
            </a:xfrm>
            <a:custGeom>
              <a:avLst/>
              <a:gdLst>
                <a:gd name="T0" fmla="*/ 47 w 840"/>
                <a:gd name="T1" fmla="*/ 98 h 1134"/>
                <a:gd name="T2" fmla="*/ 41 w 840"/>
                <a:gd name="T3" fmla="*/ 98 h 1134"/>
                <a:gd name="T4" fmla="*/ 37 w 840"/>
                <a:gd name="T5" fmla="*/ 98 h 1134"/>
                <a:gd name="T6" fmla="*/ 29 w 840"/>
                <a:gd name="T7" fmla="*/ 97 h 1134"/>
                <a:gd name="T8" fmla="*/ 27 w 840"/>
                <a:gd name="T9" fmla="*/ 94 h 1134"/>
                <a:gd name="T10" fmla="*/ 26 w 840"/>
                <a:gd name="T11" fmla="*/ 93 h 1134"/>
                <a:gd name="T12" fmla="*/ 26 w 840"/>
                <a:gd name="T13" fmla="*/ 83 h 1134"/>
                <a:gd name="T14" fmla="*/ 26 w 840"/>
                <a:gd name="T15" fmla="*/ 81 h 1134"/>
                <a:gd name="T16" fmla="*/ 23 w 840"/>
                <a:gd name="T17" fmla="*/ 77 h 1134"/>
                <a:gd name="T18" fmla="*/ 19 w 840"/>
                <a:gd name="T19" fmla="*/ 75 h 1134"/>
                <a:gd name="T20" fmla="*/ 16 w 840"/>
                <a:gd name="T21" fmla="*/ 72 h 1134"/>
                <a:gd name="T22" fmla="*/ 13 w 840"/>
                <a:gd name="T23" fmla="*/ 70 h 1134"/>
                <a:gd name="T24" fmla="*/ 17 w 840"/>
                <a:gd name="T25" fmla="*/ 67 h 1134"/>
                <a:gd name="T26" fmla="*/ 19 w 840"/>
                <a:gd name="T27" fmla="*/ 63 h 1134"/>
                <a:gd name="T28" fmla="*/ 20 w 840"/>
                <a:gd name="T29" fmla="*/ 59 h 1134"/>
                <a:gd name="T30" fmla="*/ 19 w 840"/>
                <a:gd name="T31" fmla="*/ 55 h 1134"/>
                <a:gd name="T32" fmla="*/ 17 w 840"/>
                <a:gd name="T33" fmla="*/ 47 h 1134"/>
                <a:gd name="T34" fmla="*/ 8 w 840"/>
                <a:gd name="T35" fmla="*/ 45 h 1134"/>
                <a:gd name="T36" fmla="*/ 4 w 840"/>
                <a:gd name="T37" fmla="*/ 39 h 1134"/>
                <a:gd name="T38" fmla="*/ 2 w 840"/>
                <a:gd name="T39" fmla="*/ 35 h 1134"/>
                <a:gd name="T40" fmla="*/ 0 w 840"/>
                <a:gd name="T41" fmla="*/ 31 h 1134"/>
                <a:gd name="T42" fmla="*/ 2 w 840"/>
                <a:gd name="T43" fmla="*/ 27 h 1134"/>
                <a:gd name="T44" fmla="*/ 5 w 840"/>
                <a:gd name="T45" fmla="*/ 24 h 1134"/>
                <a:gd name="T46" fmla="*/ 10 w 840"/>
                <a:gd name="T47" fmla="*/ 26 h 1134"/>
                <a:gd name="T48" fmla="*/ 7 w 840"/>
                <a:gd name="T49" fmla="*/ 20 h 1134"/>
                <a:gd name="T50" fmla="*/ 12 w 840"/>
                <a:gd name="T51" fmla="*/ 12 h 1134"/>
                <a:gd name="T52" fmla="*/ 19 w 840"/>
                <a:gd name="T53" fmla="*/ 10 h 1134"/>
                <a:gd name="T54" fmla="*/ 20 w 840"/>
                <a:gd name="T55" fmla="*/ 13 h 1134"/>
                <a:gd name="T56" fmla="*/ 22 w 840"/>
                <a:gd name="T57" fmla="*/ 11 h 1134"/>
                <a:gd name="T58" fmla="*/ 25 w 840"/>
                <a:gd name="T59" fmla="*/ 7 h 1134"/>
                <a:gd name="T60" fmla="*/ 29 w 840"/>
                <a:gd name="T61" fmla="*/ 2 h 1134"/>
                <a:gd name="T62" fmla="*/ 33 w 840"/>
                <a:gd name="T63" fmla="*/ 1 h 1134"/>
                <a:gd name="T64" fmla="*/ 37 w 840"/>
                <a:gd name="T65" fmla="*/ 2 h 1134"/>
                <a:gd name="T66" fmla="*/ 39 w 840"/>
                <a:gd name="T67" fmla="*/ 4 h 1134"/>
                <a:gd name="T68" fmla="*/ 43 w 840"/>
                <a:gd name="T69" fmla="*/ 5 h 1134"/>
                <a:gd name="T70" fmla="*/ 46 w 840"/>
                <a:gd name="T71" fmla="*/ 11 h 1134"/>
                <a:gd name="T72" fmla="*/ 49 w 840"/>
                <a:gd name="T73" fmla="*/ 12 h 1134"/>
                <a:gd name="T74" fmla="*/ 52 w 840"/>
                <a:gd name="T75" fmla="*/ 15 h 1134"/>
                <a:gd name="T76" fmla="*/ 54 w 840"/>
                <a:gd name="T77" fmla="*/ 18 h 1134"/>
                <a:gd name="T78" fmla="*/ 55 w 840"/>
                <a:gd name="T79" fmla="*/ 22 h 1134"/>
                <a:gd name="T80" fmla="*/ 56 w 840"/>
                <a:gd name="T81" fmla="*/ 26 h 1134"/>
                <a:gd name="T82" fmla="*/ 55 w 840"/>
                <a:gd name="T83" fmla="*/ 32 h 1134"/>
                <a:gd name="T84" fmla="*/ 55 w 840"/>
                <a:gd name="T85" fmla="*/ 36 h 1134"/>
                <a:gd name="T86" fmla="*/ 54 w 840"/>
                <a:gd name="T87" fmla="*/ 39 h 1134"/>
                <a:gd name="T88" fmla="*/ 56 w 840"/>
                <a:gd name="T89" fmla="*/ 39 h 1134"/>
                <a:gd name="T90" fmla="*/ 58 w 840"/>
                <a:gd name="T91" fmla="*/ 39 h 1134"/>
                <a:gd name="T92" fmla="*/ 61 w 840"/>
                <a:gd name="T93" fmla="*/ 39 h 1134"/>
                <a:gd name="T94" fmla="*/ 60 w 840"/>
                <a:gd name="T95" fmla="*/ 49 h 1134"/>
                <a:gd name="T96" fmla="*/ 59 w 840"/>
                <a:gd name="T97" fmla="*/ 53 h 1134"/>
                <a:gd name="T98" fmla="*/ 59 w 840"/>
                <a:gd name="T99" fmla="*/ 56 h 1134"/>
                <a:gd name="T100" fmla="*/ 60 w 840"/>
                <a:gd name="T101" fmla="*/ 59 h 1134"/>
                <a:gd name="T102" fmla="*/ 64 w 840"/>
                <a:gd name="T103" fmla="*/ 61 h 1134"/>
                <a:gd name="T104" fmla="*/ 69 w 840"/>
                <a:gd name="T105" fmla="*/ 63 h 1134"/>
                <a:gd name="T106" fmla="*/ 72 w 840"/>
                <a:gd name="T107" fmla="*/ 69 h 1134"/>
                <a:gd name="T108" fmla="*/ 72 w 840"/>
                <a:gd name="T109" fmla="*/ 73 h 1134"/>
                <a:gd name="T110" fmla="*/ 72 w 840"/>
                <a:gd name="T111" fmla="*/ 83 h 1134"/>
                <a:gd name="T112" fmla="*/ 63 w 840"/>
                <a:gd name="T113" fmla="*/ 88 h 1134"/>
                <a:gd name="T114" fmla="*/ 52 w 840"/>
                <a:gd name="T115" fmla="*/ 95 h 11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40"/>
                <a:gd name="T175" fmla="*/ 0 h 1134"/>
                <a:gd name="T176" fmla="*/ 840 w 840"/>
                <a:gd name="T177" fmla="*/ 1134 h 11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40" h="1134">
                  <a:moveTo>
                    <a:pt x="564" y="1110"/>
                  </a:moveTo>
                  <a:lnTo>
                    <a:pt x="564" y="1104"/>
                  </a:lnTo>
                  <a:lnTo>
                    <a:pt x="558" y="1104"/>
                  </a:lnTo>
                  <a:lnTo>
                    <a:pt x="552" y="1110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28" y="1128"/>
                  </a:lnTo>
                  <a:lnTo>
                    <a:pt x="498" y="1128"/>
                  </a:lnTo>
                  <a:lnTo>
                    <a:pt x="492" y="1128"/>
                  </a:lnTo>
                  <a:lnTo>
                    <a:pt x="486" y="1128"/>
                  </a:lnTo>
                  <a:lnTo>
                    <a:pt x="480" y="1128"/>
                  </a:lnTo>
                  <a:lnTo>
                    <a:pt x="474" y="1134"/>
                  </a:lnTo>
                  <a:lnTo>
                    <a:pt x="468" y="1134"/>
                  </a:lnTo>
                  <a:lnTo>
                    <a:pt x="462" y="1134"/>
                  </a:lnTo>
                  <a:lnTo>
                    <a:pt x="456" y="1134"/>
                  </a:lnTo>
                  <a:lnTo>
                    <a:pt x="456" y="1128"/>
                  </a:lnTo>
                  <a:lnTo>
                    <a:pt x="450" y="1122"/>
                  </a:lnTo>
                  <a:lnTo>
                    <a:pt x="426" y="1128"/>
                  </a:lnTo>
                  <a:lnTo>
                    <a:pt x="414" y="1128"/>
                  </a:lnTo>
                  <a:lnTo>
                    <a:pt x="348" y="1134"/>
                  </a:lnTo>
                  <a:lnTo>
                    <a:pt x="348" y="1128"/>
                  </a:lnTo>
                  <a:lnTo>
                    <a:pt x="342" y="1128"/>
                  </a:lnTo>
                  <a:lnTo>
                    <a:pt x="336" y="1122"/>
                  </a:lnTo>
                  <a:lnTo>
                    <a:pt x="330" y="1122"/>
                  </a:lnTo>
                  <a:lnTo>
                    <a:pt x="324" y="1116"/>
                  </a:lnTo>
                  <a:lnTo>
                    <a:pt x="324" y="1110"/>
                  </a:lnTo>
                  <a:lnTo>
                    <a:pt x="318" y="1110"/>
                  </a:lnTo>
                  <a:lnTo>
                    <a:pt x="318" y="1104"/>
                  </a:lnTo>
                  <a:lnTo>
                    <a:pt x="312" y="1092"/>
                  </a:lnTo>
                  <a:lnTo>
                    <a:pt x="306" y="1086"/>
                  </a:lnTo>
                  <a:lnTo>
                    <a:pt x="306" y="1080"/>
                  </a:lnTo>
                  <a:lnTo>
                    <a:pt x="312" y="1074"/>
                  </a:lnTo>
                  <a:lnTo>
                    <a:pt x="306" y="1068"/>
                  </a:lnTo>
                  <a:lnTo>
                    <a:pt x="300" y="1074"/>
                  </a:lnTo>
                  <a:lnTo>
                    <a:pt x="300" y="1068"/>
                  </a:lnTo>
                  <a:lnTo>
                    <a:pt x="294" y="1068"/>
                  </a:lnTo>
                  <a:lnTo>
                    <a:pt x="294" y="1056"/>
                  </a:lnTo>
                  <a:lnTo>
                    <a:pt x="294" y="1026"/>
                  </a:lnTo>
                  <a:lnTo>
                    <a:pt x="294" y="1020"/>
                  </a:lnTo>
                  <a:lnTo>
                    <a:pt x="294" y="1008"/>
                  </a:lnTo>
                  <a:lnTo>
                    <a:pt x="294" y="966"/>
                  </a:lnTo>
                  <a:lnTo>
                    <a:pt x="294" y="960"/>
                  </a:lnTo>
                  <a:lnTo>
                    <a:pt x="294" y="954"/>
                  </a:lnTo>
                  <a:lnTo>
                    <a:pt x="294" y="948"/>
                  </a:lnTo>
                  <a:lnTo>
                    <a:pt x="294" y="942"/>
                  </a:lnTo>
                  <a:lnTo>
                    <a:pt x="300" y="936"/>
                  </a:lnTo>
                  <a:lnTo>
                    <a:pt x="300" y="930"/>
                  </a:lnTo>
                  <a:lnTo>
                    <a:pt x="294" y="930"/>
                  </a:lnTo>
                  <a:lnTo>
                    <a:pt x="288" y="930"/>
                  </a:lnTo>
                  <a:lnTo>
                    <a:pt x="288" y="924"/>
                  </a:lnTo>
                  <a:lnTo>
                    <a:pt x="282" y="918"/>
                  </a:lnTo>
                  <a:lnTo>
                    <a:pt x="282" y="906"/>
                  </a:lnTo>
                  <a:lnTo>
                    <a:pt x="282" y="900"/>
                  </a:lnTo>
                  <a:lnTo>
                    <a:pt x="264" y="894"/>
                  </a:lnTo>
                  <a:lnTo>
                    <a:pt x="252" y="882"/>
                  </a:lnTo>
                  <a:lnTo>
                    <a:pt x="246" y="876"/>
                  </a:lnTo>
                  <a:lnTo>
                    <a:pt x="240" y="876"/>
                  </a:lnTo>
                  <a:lnTo>
                    <a:pt x="240" y="870"/>
                  </a:lnTo>
                  <a:lnTo>
                    <a:pt x="234" y="870"/>
                  </a:lnTo>
                  <a:lnTo>
                    <a:pt x="222" y="864"/>
                  </a:lnTo>
                  <a:lnTo>
                    <a:pt x="216" y="864"/>
                  </a:lnTo>
                  <a:lnTo>
                    <a:pt x="210" y="858"/>
                  </a:lnTo>
                  <a:lnTo>
                    <a:pt x="210" y="852"/>
                  </a:lnTo>
                  <a:lnTo>
                    <a:pt x="210" y="846"/>
                  </a:lnTo>
                  <a:lnTo>
                    <a:pt x="198" y="840"/>
                  </a:lnTo>
                  <a:lnTo>
                    <a:pt x="186" y="834"/>
                  </a:lnTo>
                  <a:lnTo>
                    <a:pt x="180" y="828"/>
                  </a:lnTo>
                  <a:lnTo>
                    <a:pt x="180" y="822"/>
                  </a:lnTo>
                  <a:lnTo>
                    <a:pt x="174" y="822"/>
                  </a:lnTo>
                  <a:lnTo>
                    <a:pt x="162" y="816"/>
                  </a:lnTo>
                  <a:lnTo>
                    <a:pt x="156" y="810"/>
                  </a:lnTo>
                  <a:lnTo>
                    <a:pt x="150" y="810"/>
                  </a:lnTo>
                  <a:lnTo>
                    <a:pt x="144" y="798"/>
                  </a:lnTo>
                  <a:lnTo>
                    <a:pt x="138" y="786"/>
                  </a:lnTo>
                  <a:lnTo>
                    <a:pt x="138" y="780"/>
                  </a:lnTo>
                  <a:lnTo>
                    <a:pt x="144" y="774"/>
                  </a:lnTo>
                  <a:lnTo>
                    <a:pt x="150" y="768"/>
                  </a:lnTo>
                  <a:lnTo>
                    <a:pt x="192" y="768"/>
                  </a:lnTo>
                  <a:lnTo>
                    <a:pt x="210" y="762"/>
                  </a:lnTo>
                  <a:lnTo>
                    <a:pt x="216" y="756"/>
                  </a:lnTo>
                  <a:lnTo>
                    <a:pt x="216" y="744"/>
                  </a:lnTo>
                  <a:lnTo>
                    <a:pt x="216" y="738"/>
                  </a:lnTo>
                  <a:lnTo>
                    <a:pt x="216" y="732"/>
                  </a:lnTo>
                  <a:lnTo>
                    <a:pt x="216" y="726"/>
                  </a:lnTo>
                  <a:lnTo>
                    <a:pt x="216" y="720"/>
                  </a:lnTo>
                  <a:lnTo>
                    <a:pt x="228" y="702"/>
                  </a:lnTo>
                  <a:lnTo>
                    <a:pt x="234" y="696"/>
                  </a:lnTo>
                  <a:lnTo>
                    <a:pt x="240" y="690"/>
                  </a:lnTo>
                  <a:lnTo>
                    <a:pt x="240" y="684"/>
                  </a:lnTo>
                  <a:lnTo>
                    <a:pt x="234" y="678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0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22" y="630"/>
                  </a:lnTo>
                  <a:lnTo>
                    <a:pt x="222" y="618"/>
                  </a:lnTo>
                  <a:lnTo>
                    <a:pt x="222" y="582"/>
                  </a:lnTo>
                  <a:lnTo>
                    <a:pt x="228" y="582"/>
                  </a:lnTo>
                  <a:lnTo>
                    <a:pt x="222" y="564"/>
                  </a:lnTo>
                  <a:lnTo>
                    <a:pt x="210" y="552"/>
                  </a:lnTo>
                  <a:lnTo>
                    <a:pt x="192" y="540"/>
                  </a:lnTo>
                  <a:lnTo>
                    <a:pt x="174" y="540"/>
                  </a:lnTo>
                  <a:lnTo>
                    <a:pt x="150" y="534"/>
                  </a:lnTo>
                  <a:lnTo>
                    <a:pt x="126" y="528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90" y="516"/>
                  </a:lnTo>
                  <a:lnTo>
                    <a:pt x="78" y="504"/>
                  </a:lnTo>
                  <a:lnTo>
                    <a:pt x="72" y="498"/>
                  </a:lnTo>
                  <a:lnTo>
                    <a:pt x="66" y="486"/>
                  </a:lnTo>
                  <a:lnTo>
                    <a:pt x="54" y="468"/>
                  </a:lnTo>
                  <a:lnTo>
                    <a:pt x="54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42" y="438"/>
                  </a:lnTo>
                  <a:lnTo>
                    <a:pt x="36" y="438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24" y="384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2" y="360"/>
                  </a:lnTo>
                  <a:lnTo>
                    <a:pt x="6" y="360"/>
                  </a:lnTo>
                  <a:lnTo>
                    <a:pt x="0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0"/>
                  </a:lnTo>
                  <a:lnTo>
                    <a:pt x="18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8" y="270"/>
                  </a:lnTo>
                  <a:lnTo>
                    <a:pt x="90" y="276"/>
                  </a:lnTo>
                  <a:lnTo>
                    <a:pt x="108" y="294"/>
                  </a:lnTo>
                  <a:lnTo>
                    <a:pt x="114" y="294"/>
                  </a:lnTo>
                  <a:lnTo>
                    <a:pt x="114" y="276"/>
                  </a:lnTo>
                  <a:lnTo>
                    <a:pt x="114" y="270"/>
                  </a:lnTo>
                  <a:lnTo>
                    <a:pt x="102" y="258"/>
                  </a:lnTo>
                  <a:lnTo>
                    <a:pt x="96" y="246"/>
                  </a:lnTo>
                  <a:lnTo>
                    <a:pt x="90" y="234"/>
                  </a:lnTo>
                  <a:lnTo>
                    <a:pt x="78" y="228"/>
                  </a:lnTo>
                  <a:lnTo>
                    <a:pt x="72" y="216"/>
                  </a:lnTo>
                  <a:lnTo>
                    <a:pt x="66" y="192"/>
                  </a:lnTo>
                  <a:lnTo>
                    <a:pt x="90" y="174"/>
                  </a:lnTo>
                  <a:lnTo>
                    <a:pt x="120" y="150"/>
                  </a:lnTo>
                  <a:lnTo>
                    <a:pt x="132" y="150"/>
                  </a:lnTo>
                  <a:lnTo>
                    <a:pt x="138" y="144"/>
                  </a:lnTo>
                  <a:lnTo>
                    <a:pt x="138" y="138"/>
                  </a:lnTo>
                  <a:lnTo>
                    <a:pt x="156" y="126"/>
                  </a:lnTo>
                  <a:lnTo>
                    <a:pt x="180" y="114"/>
                  </a:lnTo>
                  <a:lnTo>
                    <a:pt x="216" y="114"/>
                  </a:lnTo>
                  <a:lnTo>
                    <a:pt x="222" y="114"/>
                  </a:lnTo>
                  <a:lnTo>
                    <a:pt x="222" y="120"/>
                  </a:lnTo>
                  <a:lnTo>
                    <a:pt x="222" y="126"/>
                  </a:lnTo>
                  <a:lnTo>
                    <a:pt x="222" y="132"/>
                  </a:lnTo>
                  <a:lnTo>
                    <a:pt x="228" y="138"/>
                  </a:lnTo>
                  <a:lnTo>
                    <a:pt x="228" y="144"/>
                  </a:lnTo>
                  <a:lnTo>
                    <a:pt x="228" y="150"/>
                  </a:lnTo>
                  <a:lnTo>
                    <a:pt x="234" y="150"/>
                  </a:lnTo>
                  <a:lnTo>
                    <a:pt x="234" y="144"/>
                  </a:lnTo>
                  <a:lnTo>
                    <a:pt x="240" y="144"/>
                  </a:lnTo>
                  <a:lnTo>
                    <a:pt x="246" y="144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58" y="126"/>
                  </a:lnTo>
                  <a:lnTo>
                    <a:pt x="258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76" y="96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6" y="72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36"/>
                  </a:lnTo>
                  <a:lnTo>
                    <a:pt x="330" y="24"/>
                  </a:lnTo>
                  <a:lnTo>
                    <a:pt x="330" y="18"/>
                  </a:lnTo>
                  <a:lnTo>
                    <a:pt x="330" y="12"/>
                  </a:lnTo>
                  <a:lnTo>
                    <a:pt x="336" y="6"/>
                  </a:lnTo>
                  <a:lnTo>
                    <a:pt x="366" y="0"/>
                  </a:lnTo>
                  <a:lnTo>
                    <a:pt x="372" y="6"/>
                  </a:lnTo>
                  <a:lnTo>
                    <a:pt x="384" y="12"/>
                  </a:lnTo>
                  <a:lnTo>
                    <a:pt x="402" y="12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18"/>
                  </a:lnTo>
                  <a:lnTo>
                    <a:pt x="420" y="18"/>
                  </a:lnTo>
                  <a:lnTo>
                    <a:pt x="426" y="24"/>
                  </a:lnTo>
                  <a:lnTo>
                    <a:pt x="432" y="30"/>
                  </a:lnTo>
                  <a:lnTo>
                    <a:pt x="438" y="36"/>
                  </a:lnTo>
                  <a:lnTo>
                    <a:pt x="444" y="42"/>
                  </a:lnTo>
                  <a:lnTo>
                    <a:pt x="450" y="42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16" y="78"/>
                  </a:lnTo>
                  <a:lnTo>
                    <a:pt x="522" y="102"/>
                  </a:lnTo>
                  <a:lnTo>
                    <a:pt x="522" y="108"/>
                  </a:lnTo>
                  <a:lnTo>
                    <a:pt x="528" y="126"/>
                  </a:lnTo>
                  <a:lnTo>
                    <a:pt x="534" y="126"/>
                  </a:lnTo>
                  <a:lnTo>
                    <a:pt x="540" y="120"/>
                  </a:lnTo>
                  <a:lnTo>
                    <a:pt x="546" y="126"/>
                  </a:lnTo>
                  <a:lnTo>
                    <a:pt x="552" y="126"/>
                  </a:lnTo>
                  <a:lnTo>
                    <a:pt x="558" y="132"/>
                  </a:lnTo>
                  <a:lnTo>
                    <a:pt x="564" y="138"/>
                  </a:lnTo>
                  <a:lnTo>
                    <a:pt x="570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594" y="168"/>
                  </a:lnTo>
                  <a:lnTo>
                    <a:pt x="600" y="174"/>
                  </a:lnTo>
                  <a:lnTo>
                    <a:pt x="606" y="180"/>
                  </a:lnTo>
                  <a:lnTo>
                    <a:pt x="606" y="186"/>
                  </a:lnTo>
                  <a:lnTo>
                    <a:pt x="612" y="192"/>
                  </a:lnTo>
                  <a:lnTo>
                    <a:pt x="612" y="198"/>
                  </a:lnTo>
                  <a:lnTo>
                    <a:pt x="624" y="204"/>
                  </a:lnTo>
                  <a:lnTo>
                    <a:pt x="624" y="210"/>
                  </a:lnTo>
                  <a:lnTo>
                    <a:pt x="630" y="216"/>
                  </a:lnTo>
                  <a:lnTo>
                    <a:pt x="636" y="222"/>
                  </a:lnTo>
                  <a:lnTo>
                    <a:pt x="636" y="228"/>
                  </a:lnTo>
                  <a:lnTo>
                    <a:pt x="636" y="234"/>
                  </a:lnTo>
                  <a:lnTo>
                    <a:pt x="636" y="252"/>
                  </a:lnTo>
                  <a:lnTo>
                    <a:pt x="636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42" y="276"/>
                  </a:lnTo>
                  <a:lnTo>
                    <a:pt x="642" y="282"/>
                  </a:lnTo>
                  <a:lnTo>
                    <a:pt x="642" y="288"/>
                  </a:lnTo>
                  <a:lnTo>
                    <a:pt x="642" y="300"/>
                  </a:lnTo>
                  <a:lnTo>
                    <a:pt x="642" y="306"/>
                  </a:lnTo>
                  <a:lnTo>
                    <a:pt x="636" y="312"/>
                  </a:lnTo>
                  <a:lnTo>
                    <a:pt x="636" y="324"/>
                  </a:lnTo>
                  <a:lnTo>
                    <a:pt x="636" y="342"/>
                  </a:lnTo>
                  <a:lnTo>
                    <a:pt x="630" y="354"/>
                  </a:lnTo>
                  <a:lnTo>
                    <a:pt x="630" y="366"/>
                  </a:lnTo>
                  <a:lnTo>
                    <a:pt x="624" y="378"/>
                  </a:lnTo>
                  <a:lnTo>
                    <a:pt x="624" y="384"/>
                  </a:lnTo>
                  <a:lnTo>
                    <a:pt x="636" y="396"/>
                  </a:lnTo>
                  <a:lnTo>
                    <a:pt x="636" y="402"/>
                  </a:lnTo>
                  <a:lnTo>
                    <a:pt x="636" y="408"/>
                  </a:lnTo>
                  <a:lnTo>
                    <a:pt x="630" y="414"/>
                  </a:lnTo>
                  <a:lnTo>
                    <a:pt x="630" y="420"/>
                  </a:lnTo>
                  <a:lnTo>
                    <a:pt x="630" y="426"/>
                  </a:lnTo>
                  <a:lnTo>
                    <a:pt x="630" y="432"/>
                  </a:lnTo>
                  <a:lnTo>
                    <a:pt x="624" y="438"/>
                  </a:lnTo>
                  <a:lnTo>
                    <a:pt x="624" y="444"/>
                  </a:lnTo>
                  <a:lnTo>
                    <a:pt x="624" y="450"/>
                  </a:lnTo>
                  <a:lnTo>
                    <a:pt x="630" y="450"/>
                  </a:lnTo>
                  <a:lnTo>
                    <a:pt x="630" y="456"/>
                  </a:lnTo>
                  <a:lnTo>
                    <a:pt x="630" y="462"/>
                  </a:lnTo>
                  <a:lnTo>
                    <a:pt x="636" y="468"/>
                  </a:lnTo>
                  <a:lnTo>
                    <a:pt x="642" y="456"/>
                  </a:lnTo>
                  <a:lnTo>
                    <a:pt x="642" y="450"/>
                  </a:lnTo>
                  <a:lnTo>
                    <a:pt x="648" y="450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60" y="444"/>
                  </a:lnTo>
                  <a:lnTo>
                    <a:pt x="666" y="450"/>
                  </a:lnTo>
                  <a:lnTo>
                    <a:pt x="672" y="444"/>
                  </a:lnTo>
                  <a:lnTo>
                    <a:pt x="678" y="444"/>
                  </a:lnTo>
                  <a:lnTo>
                    <a:pt x="684" y="438"/>
                  </a:lnTo>
                  <a:lnTo>
                    <a:pt x="690" y="438"/>
                  </a:lnTo>
                  <a:lnTo>
                    <a:pt x="696" y="438"/>
                  </a:lnTo>
                  <a:lnTo>
                    <a:pt x="702" y="444"/>
                  </a:lnTo>
                  <a:lnTo>
                    <a:pt x="702" y="450"/>
                  </a:lnTo>
                  <a:lnTo>
                    <a:pt x="708" y="450"/>
                  </a:lnTo>
                  <a:lnTo>
                    <a:pt x="708" y="456"/>
                  </a:lnTo>
                  <a:lnTo>
                    <a:pt x="708" y="462"/>
                  </a:lnTo>
                  <a:lnTo>
                    <a:pt x="708" y="468"/>
                  </a:lnTo>
                  <a:lnTo>
                    <a:pt x="708" y="504"/>
                  </a:lnTo>
                  <a:lnTo>
                    <a:pt x="696" y="564"/>
                  </a:lnTo>
                  <a:lnTo>
                    <a:pt x="696" y="582"/>
                  </a:lnTo>
                  <a:lnTo>
                    <a:pt x="696" y="600"/>
                  </a:lnTo>
                  <a:lnTo>
                    <a:pt x="690" y="606"/>
                  </a:lnTo>
                  <a:lnTo>
                    <a:pt x="684" y="606"/>
                  </a:lnTo>
                  <a:lnTo>
                    <a:pt x="690" y="612"/>
                  </a:lnTo>
                  <a:lnTo>
                    <a:pt x="684" y="612"/>
                  </a:lnTo>
                  <a:lnTo>
                    <a:pt x="678" y="618"/>
                  </a:lnTo>
                  <a:lnTo>
                    <a:pt x="672" y="624"/>
                  </a:lnTo>
                  <a:lnTo>
                    <a:pt x="666" y="630"/>
                  </a:lnTo>
                  <a:lnTo>
                    <a:pt x="660" y="636"/>
                  </a:lnTo>
                  <a:lnTo>
                    <a:pt x="672" y="636"/>
                  </a:lnTo>
                  <a:lnTo>
                    <a:pt x="678" y="642"/>
                  </a:lnTo>
                  <a:lnTo>
                    <a:pt x="678" y="648"/>
                  </a:lnTo>
                  <a:lnTo>
                    <a:pt x="684" y="654"/>
                  </a:lnTo>
                  <a:lnTo>
                    <a:pt x="690" y="666"/>
                  </a:lnTo>
                  <a:lnTo>
                    <a:pt x="690" y="672"/>
                  </a:lnTo>
                  <a:lnTo>
                    <a:pt x="696" y="672"/>
                  </a:lnTo>
                  <a:lnTo>
                    <a:pt x="696" y="684"/>
                  </a:lnTo>
                  <a:lnTo>
                    <a:pt x="708" y="690"/>
                  </a:lnTo>
                  <a:lnTo>
                    <a:pt x="720" y="696"/>
                  </a:lnTo>
                  <a:lnTo>
                    <a:pt x="726" y="696"/>
                  </a:lnTo>
                  <a:lnTo>
                    <a:pt x="732" y="696"/>
                  </a:lnTo>
                  <a:lnTo>
                    <a:pt x="738" y="696"/>
                  </a:lnTo>
                  <a:lnTo>
                    <a:pt x="738" y="702"/>
                  </a:lnTo>
                  <a:lnTo>
                    <a:pt x="738" y="708"/>
                  </a:lnTo>
                  <a:lnTo>
                    <a:pt x="738" y="714"/>
                  </a:lnTo>
                  <a:lnTo>
                    <a:pt x="744" y="714"/>
                  </a:lnTo>
                  <a:lnTo>
                    <a:pt x="756" y="720"/>
                  </a:lnTo>
                  <a:lnTo>
                    <a:pt x="780" y="726"/>
                  </a:lnTo>
                  <a:lnTo>
                    <a:pt x="792" y="732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22" y="774"/>
                  </a:lnTo>
                  <a:lnTo>
                    <a:pt x="834" y="786"/>
                  </a:lnTo>
                  <a:lnTo>
                    <a:pt x="834" y="792"/>
                  </a:lnTo>
                  <a:lnTo>
                    <a:pt x="834" y="798"/>
                  </a:lnTo>
                  <a:lnTo>
                    <a:pt x="828" y="798"/>
                  </a:lnTo>
                  <a:lnTo>
                    <a:pt x="828" y="804"/>
                  </a:lnTo>
                  <a:lnTo>
                    <a:pt x="834" y="816"/>
                  </a:lnTo>
                  <a:lnTo>
                    <a:pt x="834" y="834"/>
                  </a:lnTo>
                  <a:lnTo>
                    <a:pt x="834" y="840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34" y="858"/>
                  </a:lnTo>
                  <a:lnTo>
                    <a:pt x="834" y="864"/>
                  </a:lnTo>
                  <a:lnTo>
                    <a:pt x="834" y="876"/>
                  </a:lnTo>
                  <a:lnTo>
                    <a:pt x="828" y="960"/>
                  </a:lnTo>
                  <a:lnTo>
                    <a:pt x="816" y="966"/>
                  </a:lnTo>
                  <a:lnTo>
                    <a:pt x="798" y="972"/>
                  </a:lnTo>
                  <a:lnTo>
                    <a:pt x="786" y="990"/>
                  </a:lnTo>
                  <a:lnTo>
                    <a:pt x="774" y="990"/>
                  </a:lnTo>
                  <a:lnTo>
                    <a:pt x="762" y="1008"/>
                  </a:lnTo>
                  <a:lnTo>
                    <a:pt x="732" y="1014"/>
                  </a:lnTo>
                  <a:lnTo>
                    <a:pt x="714" y="1026"/>
                  </a:lnTo>
                  <a:lnTo>
                    <a:pt x="690" y="1050"/>
                  </a:lnTo>
                  <a:lnTo>
                    <a:pt x="654" y="1056"/>
                  </a:lnTo>
                  <a:lnTo>
                    <a:pt x="630" y="1056"/>
                  </a:lnTo>
                  <a:lnTo>
                    <a:pt x="606" y="1068"/>
                  </a:lnTo>
                  <a:lnTo>
                    <a:pt x="600" y="1092"/>
                  </a:lnTo>
                  <a:lnTo>
                    <a:pt x="600" y="1098"/>
                  </a:lnTo>
                  <a:lnTo>
                    <a:pt x="588" y="1104"/>
                  </a:lnTo>
                  <a:lnTo>
                    <a:pt x="582" y="1104"/>
                  </a:lnTo>
                  <a:lnTo>
                    <a:pt x="570" y="1110"/>
                  </a:lnTo>
                  <a:lnTo>
                    <a:pt x="564" y="111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7" name="Freeform 12">
              <a:extLst>
                <a:ext uri="{FF2B5EF4-FFF2-40B4-BE49-F238E27FC236}">
                  <a16:creationId xmlns:a16="http://schemas.microsoft.com/office/drawing/2014/main" id="{6C93C114-E5D0-49BB-A44C-A127CE01CFE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810" y="2271838"/>
              <a:ext cx="923547" cy="845397"/>
            </a:xfrm>
            <a:custGeom>
              <a:avLst/>
              <a:gdLst>
                <a:gd name="T0" fmla="*/ 138 w 1740"/>
                <a:gd name="T1" fmla="*/ 134 h 1590"/>
                <a:gd name="T2" fmla="*/ 128 w 1740"/>
                <a:gd name="T3" fmla="*/ 131 h 1590"/>
                <a:gd name="T4" fmla="*/ 121 w 1740"/>
                <a:gd name="T5" fmla="*/ 130 h 1590"/>
                <a:gd name="T6" fmla="*/ 119 w 1740"/>
                <a:gd name="T7" fmla="*/ 134 h 1590"/>
                <a:gd name="T8" fmla="*/ 110 w 1740"/>
                <a:gd name="T9" fmla="*/ 132 h 1590"/>
                <a:gd name="T10" fmla="*/ 111 w 1740"/>
                <a:gd name="T11" fmla="*/ 127 h 1590"/>
                <a:gd name="T12" fmla="*/ 103 w 1740"/>
                <a:gd name="T13" fmla="*/ 117 h 1590"/>
                <a:gd name="T14" fmla="*/ 93 w 1740"/>
                <a:gd name="T15" fmla="*/ 123 h 1590"/>
                <a:gd name="T16" fmla="*/ 80 w 1740"/>
                <a:gd name="T17" fmla="*/ 118 h 1590"/>
                <a:gd name="T18" fmla="*/ 66 w 1740"/>
                <a:gd name="T19" fmla="*/ 117 h 1590"/>
                <a:gd name="T20" fmla="*/ 66 w 1740"/>
                <a:gd name="T21" fmla="*/ 110 h 1590"/>
                <a:gd name="T22" fmla="*/ 69 w 1740"/>
                <a:gd name="T23" fmla="*/ 107 h 1590"/>
                <a:gd name="T24" fmla="*/ 68 w 1740"/>
                <a:gd name="T25" fmla="*/ 102 h 1590"/>
                <a:gd name="T26" fmla="*/ 68 w 1740"/>
                <a:gd name="T27" fmla="*/ 96 h 1590"/>
                <a:gd name="T28" fmla="*/ 67 w 1740"/>
                <a:gd name="T29" fmla="*/ 82 h 1590"/>
                <a:gd name="T30" fmla="*/ 58 w 1740"/>
                <a:gd name="T31" fmla="*/ 82 h 1590"/>
                <a:gd name="T32" fmla="*/ 52 w 1740"/>
                <a:gd name="T33" fmla="*/ 82 h 1590"/>
                <a:gd name="T34" fmla="*/ 46 w 1740"/>
                <a:gd name="T35" fmla="*/ 80 h 1590"/>
                <a:gd name="T36" fmla="*/ 45 w 1740"/>
                <a:gd name="T37" fmla="*/ 74 h 1590"/>
                <a:gd name="T38" fmla="*/ 52 w 1740"/>
                <a:gd name="T39" fmla="*/ 70 h 1590"/>
                <a:gd name="T40" fmla="*/ 52 w 1740"/>
                <a:gd name="T41" fmla="*/ 64 h 1590"/>
                <a:gd name="T42" fmla="*/ 42 w 1740"/>
                <a:gd name="T43" fmla="*/ 53 h 1590"/>
                <a:gd name="T44" fmla="*/ 35 w 1740"/>
                <a:gd name="T45" fmla="*/ 52 h 1590"/>
                <a:gd name="T46" fmla="*/ 20 w 1740"/>
                <a:gd name="T47" fmla="*/ 51 h 1590"/>
                <a:gd name="T48" fmla="*/ 17 w 1740"/>
                <a:gd name="T49" fmla="*/ 56 h 1590"/>
                <a:gd name="T50" fmla="*/ 11 w 1740"/>
                <a:gd name="T51" fmla="*/ 61 h 1590"/>
                <a:gd name="T52" fmla="*/ 7 w 1740"/>
                <a:gd name="T53" fmla="*/ 63 h 1590"/>
                <a:gd name="T54" fmla="*/ 0 w 1740"/>
                <a:gd name="T55" fmla="*/ 55 h 1590"/>
                <a:gd name="T56" fmla="*/ 2 w 1740"/>
                <a:gd name="T57" fmla="*/ 50 h 1590"/>
                <a:gd name="T58" fmla="*/ 0 w 1740"/>
                <a:gd name="T59" fmla="*/ 44 h 1590"/>
                <a:gd name="T60" fmla="*/ 2 w 1740"/>
                <a:gd name="T61" fmla="*/ 38 h 1590"/>
                <a:gd name="T62" fmla="*/ 7 w 1740"/>
                <a:gd name="T63" fmla="*/ 35 h 1590"/>
                <a:gd name="T64" fmla="*/ 11 w 1740"/>
                <a:gd name="T65" fmla="*/ 30 h 1590"/>
                <a:gd name="T66" fmla="*/ 21 w 1740"/>
                <a:gd name="T67" fmla="*/ 26 h 1590"/>
                <a:gd name="T68" fmla="*/ 29 w 1740"/>
                <a:gd name="T69" fmla="*/ 25 h 1590"/>
                <a:gd name="T70" fmla="*/ 35 w 1740"/>
                <a:gd name="T71" fmla="*/ 21 h 1590"/>
                <a:gd name="T72" fmla="*/ 36 w 1740"/>
                <a:gd name="T73" fmla="*/ 16 h 1590"/>
                <a:gd name="T74" fmla="*/ 41 w 1740"/>
                <a:gd name="T75" fmla="*/ 11 h 1590"/>
                <a:gd name="T76" fmla="*/ 51 w 1740"/>
                <a:gd name="T77" fmla="*/ 9 h 1590"/>
                <a:gd name="T78" fmla="*/ 59 w 1740"/>
                <a:gd name="T79" fmla="*/ 21 h 1590"/>
                <a:gd name="T80" fmla="*/ 65 w 1740"/>
                <a:gd name="T81" fmla="*/ 13 h 1590"/>
                <a:gd name="T82" fmla="*/ 73 w 1740"/>
                <a:gd name="T83" fmla="*/ 8 h 1590"/>
                <a:gd name="T84" fmla="*/ 82 w 1740"/>
                <a:gd name="T85" fmla="*/ 12 h 1590"/>
                <a:gd name="T86" fmla="*/ 88 w 1740"/>
                <a:gd name="T87" fmla="*/ 12 h 1590"/>
                <a:gd name="T88" fmla="*/ 99 w 1740"/>
                <a:gd name="T89" fmla="*/ 7 h 1590"/>
                <a:gd name="T90" fmla="*/ 114 w 1740"/>
                <a:gd name="T91" fmla="*/ 0 h 1590"/>
                <a:gd name="T92" fmla="*/ 117 w 1740"/>
                <a:gd name="T93" fmla="*/ 10 h 1590"/>
                <a:gd name="T94" fmla="*/ 132 w 1740"/>
                <a:gd name="T95" fmla="*/ 17 h 1590"/>
                <a:gd name="T96" fmla="*/ 140 w 1740"/>
                <a:gd name="T97" fmla="*/ 25 h 1590"/>
                <a:gd name="T98" fmla="*/ 140 w 1740"/>
                <a:gd name="T99" fmla="*/ 33 h 1590"/>
                <a:gd name="T100" fmla="*/ 140 w 1740"/>
                <a:gd name="T101" fmla="*/ 44 h 1590"/>
                <a:gd name="T102" fmla="*/ 138 w 1740"/>
                <a:gd name="T103" fmla="*/ 48 h 1590"/>
                <a:gd name="T104" fmla="*/ 141 w 1740"/>
                <a:gd name="T105" fmla="*/ 49 h 1590"/>
                <a:gd name="T106" fmla="*/ 146 w 1740"/>
                <a:gd name="T107" fmla="*/ 50 h 1590"/>
                <a:gd name="T108" fmla="*/ 149 w 1740"/>
                <a:gd name="T109" fmla="*/ 59 h 1590"/>
                <a:gd name="T110" fmla="*/ 148 w 1740"/>
                <a:gd name="T111" fmla="*/ 67 h 1590"/>
                <a:gd name="T112" fmla="*/ 141 w 1740"/>
                <a:gd name="T113" fmla="*/ 78 h 1590"/>
                <a:gd name="T114" fmla="*/ 141 w 1740"/>
                <a:gd name="T115" fmla="*/ 91 h 1590"/>
                <a:gd name="T116" fmla="*/ 138 w 1740"/>
                <a:gd name="T117" fmla="*/ 102 h 1590"/>
                <a:gd name="T118" fmla="*/ 138 w 1740"/>
                <a:gd name="T119" fmla="*/ 110 h 1590"/>
                <a:gd name="T120" fmla="*/ 144 w 1740"/>
                <a:gd name="T121" fmla="*/ 118 h 1590"/>
                <a:gd name="T122" fmla="*/ 143 w 1740"/>
                <a:gd name="T123" fmla="*/ 125 h 159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740"/>
                <a:gd name="T187" fmla="*/ 0 h 1590"/>
                <a:gd name="T188" fmla="*/ 1740 w 1740"/>
                <a:gd name="T189" fmla="*/ 1590 h 159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740" h="1590">
                  <a:moveTo>
                    <a:pt x="1638" y="1458"/>
                  </a:moveTo>
                  <a:lnTo>
                    <a:pt x="1638" y="1482"/>
                  </a:lnTo>
                  <a:lnTo>
                    <a:pt x="1638" y="1500"/>
                  </a:lnTo>
                  <a:lnTo>
                    <a:pt x="1626" y="1500"/>
                  </a:lnTo>
                  <a:lnTo>
                    <a:pt x="1620" y="1500"/>
                  </a:lnTo>
                  <a:lnTo>
                    <a:pt x="1614" y="1500"/>
                  </a:lnTo>
                  <a:lnTo>
                    <a:pt x="1614" y="1506"/>
                  </a:lnTo>
                  <a:lnTo>
                    <a:pt x="1614" y="1512"/>
                  </a:lnTo>
                  <a:lnTo>
                    <a:pt x="1620" y="1518"/>
                  </a:lnTo>
                  <a:lnTo>
                    <a:pt x="1614" y="1524"/>
                  </a:lnTo>
                  <a:lnTo>
                    <a:pt x="1590" y="1536"/>
                  </a:lnTo>
                  <a:lnTo>
                    <a:pt x="1584" y="1566"/>
                  </a:lnTo>
                  <a:lnTo>
                    <a:pt x="1578" y="1590"/>
                  </a:lnTo>
                  <a:lnTo>
                    <a:pt x="1548" y="1590"/>
                  </a:lnTo>
                  <a:lnTo>
                    <a:pt x="1542" y="1584"/>
                  </a:lnTo>
                  <a:lnTo>
                    <a:pt x="1542" y="1572"/>
                  </a:lnTo>
                  <a:lnTo>
                    <a:pt x="1536" y="1566"/>
                  </a:lnTo>
                  <a:lnTo>
                    <a:pt x="1536" y="1554"/>
                  </a:lnTo>
                  <a:lnTo>
                    <a:pt x="1536" y="1548"/>
                  </a:lnTo>
                  <a:lnTo>
                    <a:pt x="1506" y="1530"/>
                  </a:lnTo>
                  <a:lnTo>
                    <a:pt x="1488" y="1506"/>
                  </a:lnTo>
                  <a:lnTo>
                    <a:pt x="1464" y="1500"/>
                  </a:lnTo>
                  <a:lnTo>
                    <a:pt x="1470" y="1494"/>
                  </a:lnTo>
                  <a:lnTo>
                    <a:pt x="1470" y="1488"/>
                  </a:lnTo>
                  <a:lnTo>
                    <a:pt x="1470" y="1482"/>
                  </a:lnTo>
                  <a:lnTo>
                    <a:pt x="1428" y="1464"/>
                  </a:lnTo>
                  <a:lnTo>
                    <a:pt x="1404" y="1470"/>
                  </a:lnTo>
                  <a:lnTo>
                    <a:pt x="1398" y="1470"/>
                  </a:lnTo>
                  <a:lnTo>
                    <a:pt x="1392" y="1476"/>
                  </a:lnTo>
                  <a:lnTo>
                    <a:pt x="1386" y="1476"/>
                  </a:lnTo>
                  <a:lnTo>
                    <a:pt x="1386" y="1482"/>
                  </a:lnTo>
                  <a:lnTo>
                    <a:pt x="1392" y="1482"/>
                  </a:lnTo>
                  <a:lnTo>
                    <a:pt x="1386" y="1488"/>
                  </a:lnTo>
                  <a:lnTo>
                    <a:pt x="1386" y="1494"/>
                  </a:lnTo>
                  <a:lnTo>
                    <a:pt x="1380" y="1494"/>
                  </a:lnTo>
                  <a:lnTo>
                    <a:pt x="1380" y="1500"/>
                  </a:lnTo>
                  <a:lnTo>
                    <a:pt x="1380" y="1512"/>
                  </a:lnTo>
                  <a:lnTo>
                    <a:pt x="1380" y="1518"/>
                  </a:lnTo>
                  <a:lnTo>
                    <a:pt x="1380" y="1524"/>
                  </a:lnTo>
                  <a:lnTo>
                    <a:pt x="1380" y="1530"/>
                  </a:lnTo>
                  <a:lnTo>
                    <a:pt x="1374" y="1536"/>
                  </a:lnTo>
                  <a:lnTo>
                    <a:pt x="1374" y="1542"/>
                  </a:lnTo>
                  <a:lnTo>
                    <a:pt x="1368" y="1542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44" y="1554"/>
                  </a:lnTo>
                  <a:lnTo>
                    <a:pt x="1332" y="1560"/>
                  </a:lnTo>
                  <a:lnTo>
                    <a:pt x="1302" y="1554"/>
                  </a:lnTo>
                  <a:lnTo>
                    <a:pt x="1290" y="1554"/>
                  </a:lnTo>
                  <a:lnTo>
                    <a:pt x="1278" y="1542"/>
                  </a:lnTo>
                  <a:lnTo>
                    <a:pt x="1272" y="1530"/>
                  </a:lnTo>
                  <a:lnTo>
                    <a:pt x="1272" y="1524"/>
                  </a:lnTo>
                  <a:lnTo>
                    <a:pt x="1272" y="1518"/>
                  </a:lnTo>
                  <a:lnTo>
                    <a:pt x="1266" y="1518"/>
                  </a:lnTo>
                  <a:lnTo>
                    <a:pt x="1266" y="1512"/>
                  </a:lnTo>
                  <a:lnTo>
                    <a:pt x="1266" y="1506"/>
                  </a:lnTo>
                  <a:lnTo>
                    <a:pt x="1272" y="1506"/>
                  </a:lnTo>
                  <a:lnTo>
                    <a:pt x="1272" y="1500"/>
                  </a:lnTo>
                  <a:lnTo>
                    <a:pt x="1278" y="1500"/>
                  </a:lnTo>
                  <a:lnTo>
                    <a:pt x="1278" y="1494"/>
                  </a:lnTo>
                  <a:lnTo>
                    <a:pt x="1278" y="1488"/>
                  </a:lnTo>
                  <a:lnTo>
                    <a:pt x="1284" y="1488"/>
                  </a:lnTo>
                  <a:lnTo>
                    <a:pt x="1284" y="1482"/>
                  </a:lnTo>
                  <a:lnTo>
                    <a:pt x="1290" y="1476"/>
                  </a:lnTo>
                  <a:lnTo>
                    <a:pt x="1284" y="1470"/>
                  </a:lnTo>
                  <a:lnTo>
                    <a:pt x="1278" y="1458"/>
                  </a:lnTo>
                  <a:lnTo>
                    <a:pt x="1278" y="1452"/>
                  </a:lnTo>
                  <a:lnTo>
                    <a:pt x="1260" y="1428"/>
                  </a:lnTo>
                  <a:lnTo>
                    <a:pt x="1254" y="1416"/>
                  </a:lnTo>
                  <a:lnTo>
                    <a:pt x="1254" y="1410"/>
                  </a:lnTo>
                  <a:lnTo>
                    <a:pt x="1248" y="1398"/>
                  </a:lnTo>
                  <a:lnTo>
                    <a:pt x="1242" y="1398"/>
                  </a:lnTo>
                  <a:lnTo>
                    <a:pt x="1236" y="1398"/>
                  </a:lnTo>
                  <a:lnTo>
                    <a:pt x="1218" y="1386"/>
                  </a:lnTo>
                  <a:lnTo>
                    <a:pt x="1212" y="1362"/>
                  </a:lnTo>
                  <a:lnTo>
                    <a:pt x="1200" y="1344"/>
                  </a:lnTo>
                  <a:lnTo>
                    <a:pt x="1188" y="1338"/>
                  </a:lnTo>
                  <a:lnTo>
                    <a:pt x="1164" y="1338"/>
                  </a:lnTo>
                  <a:lnTo>
                    <a:pt x="1158" y="1344"/>
                  </a:lnTo>
                  <a:lnTo>
                    <a:pt x="1152" y="1350"/>
                  </a:lnTo>
                  <a:lnTo>
                    <a:pt x="1152" y="1356"/>
                  </a:lnTo>
                  <a:lnTo>
                    <a:pt x="1140" y="1362"/>
                  </a:lnTo>
                  <a:lnTo>
                    <a:pt x="1134" y="1380"/>
                  </a:lnTo>
                  <a:lnTo>
                    <a:pt x="1116" y="1398"/>
                  </a:lnTo>
                  <a:lnTo>
                    <a:pt x="1110" y="1416"/>
                  </a:lnTo>
                  <a:lnTo>
                    <a:pt x="1086" y="1416"/>
                  </a:lnTo>
                  <a:lnTo>
                    <a:pt x="1080" y="1410"/>
                  </a:lnTo>
                  <a:lnTo>
                    <a:pt x="1074" y="1410"/>
                  </a:lnTo>
                  <a:lnTo>
                    <a:pt x="1074" y="1404"/>
                  </a:lnTo>
                  <a:lnTo>
                    <a:pt x="1062" y="1404"/>
                  </a:lnTo>
                  <a:lnTo>
                    <a:pt x="1062" y="1380"/>
                  </a:lnTo>
                  <a:lnTo>
                    <a:pt x="1038" y="1380"/>
                  </a:lnTo>
                  <a:lnTo>
                    <a:pt x="1026" y="1350"/>
                  </a:lnTo>
                  <a:lnTo>
                    <a:pt x="996" y="1326"/>
                  </a:lnTo>
                  <a:lnTo>
                    <a:pt x="966" y="1314"/>
                  </a:lnTo>
                  <a:lnTo>
                    <a:pt x="954" y="1320"/>
                  </a:lnTo>
                  <a:lnTo>
                    <a:pt x="942" y="1338"/>
                  </a:lnTo>
                  <a:lnTo>
                    <a:pt x="930" y="1338"/>
                  </a:lnTo>
                  <a:lnTo>
                    <a:pt x="924" y="1350"/>
                  </a:lnTo>
                  <a:lnTo>
                    <a:pt x="906" y="1356"/>
                  </a:lnTo>
                  <a:lnTo>
                    <a:pt x="846" y="1356"/>
                  </a:lnTo>
                  <a:lnTo>
                    <a:pt x="834" y="1368"/>
                  </a:lnTo>
                  <a:lnTo>
                    <a:pt x="810" y="1362"/>
                  </a:lnTo>
                  <a:lnTo>
                    <a:pt x="792" y="1362"/>
                  </a:lnTo>
                  <a:lnTo>
                    <a:pt x="780" y="1368"/>
                  </a:lnTo>
                  <a:lnTo>
                    <a:pt x="762" y="1368"/>
                  </a:lnTo>
                  <a:lnTo>
                    <a:pt x="762" y="1362"/>
                  </a:lnTo>
                  <a:lnTo>
                    <a:pt x="750" y="1362"/>
                  </a:lnTo>
                  <a:lnTo>
                    <a:pt x="750" y="1338"/>
                  </a:lnTo>
                  <a:lnTo>
                    <a:pt x="762" y="1338"/>
                  </a:lnTo>
                  <a:lnTo>
                    <a:pt x="762" y="1326"/>
                  </a:lnTo>
                  <a:lnTo>
                    <a:pt x="762" y="1314"/>
                  </a:lnTo>
                  <a:lnTo>
                    <a:pt x="732" y="1314"/>
                  </a:lnTo>
                  <a:lnTo>
                    <a:pt x="726" y="1308"/>
                  </a:lnTo>
                  <a:lnTo>
                    <a:pt x="732" y="1284"/>
                  </a:lnTo>
                  <a:lnTo>
                    <a:pt x="732" y="1278"/>
                  </a:lnTo>
                  <a:lnTo>
                    <a:pt x="738" y="1272"/>
                  </a:lnTo>
                  <a:lnTo>
                    <a:pt x="738" y="1266"/>
                  </a:lnTo>
                  <a:lnTo>
                    <a:pt x="744" y="1266"/>
                  </a:lnTo>
                  <a:lnTo>
                    <a:pt x="750" y="1272"/>
                  </a:lnTo>
                  <a:lnTo>
                    <a:pt x="756" y="1266"/>
                  </a:lnTo>
                  <a:lnTo>
                    <a:pt x="762" y="1266"/>
                  </a:lnTo>
                  <a:lnTo>
                    <a:pt x="768" y="1260"/>
                  </a:lnTo>
                  <a:lnTo>
                    <a:pt x="774" y="1260"/>
                  </a:lnTo>
                  <a:lnTo>
                    <a:pt x="780" y="1254"/>
                  </a:lnTo>
                  <a:lnTo>
                    <a:pt x="774" y="1254"/>
                  </a:lnTo>
                  <a:lnTo>
                    <a:pt x="768" y="1254"/>
                  </a:lnTo>
                  <a:lnTo>
                    <a:pt x="774" y="1248"/>
                  </a:lnTo>
                  <a:lnTo>
                    <a:pt x="774" y="1242"/>
                  </a:lnTo>
                  <a:lnTo>
                    <a:pt x="780" y="1236"/>
                  </a:lnTo>
                  <a:lnTo>
                    <a:pt x="786" y="1236"/>
                  </a:lnTo>
                  <a:lnTo>
                    <a:pt x="792" y="1230"/>
                  </a:lnTo>
                  <a:lnTo>
                    <a:pt x="792" y="1236"/>
                  </a:lnTo>
                  <a:lnTo>
                    <a:pt x="798" y="1236"/>
                  </a:lnTo>
                  <a:lnTo>
                    <a:pt x="798" y="1230"/>
                  </a:lnTo>
                  <a:lnTo>
                    <a:pt x="804" y="1230"/>
                  </a:lnTo>
                  <a:lnTo>
                    <a:pt x="804" y="1218"/>
                  </a:lnTo>
                  <a:lnTo>
                    <a:pt x="804" y="1206"/>
                  </a:lnTo>
                  <a:lnTo>
                    <a:pt x="792" y="1188"/>
                  </a:lnTo>
                  <a:lnTo>
                    <a:pt x="768" y="1182"/>
                  </a:lnTo>
                  <a:lnTo>
                    <a:pt x="768" y="1170"/>
                  </a:lnTo>
                  <a:lnTo>
                    <a:pt x="774" y="1170"/>
                  </a:lnTo>
                  <a:lnTo>
                    <a:pt x="780" y="1170"/>
                  </a:lnTo>
                  <a:lnTo>
                    <a:pt x="786" y="1170"/>
                  </a:lnTo>
                  <a:lnTo>
                    <a:pt x="780" y="1152"/>
                  </a:lnTo>
                  <a:lnTo>
                    <a:pt x="780" y="1146"/>
                  </a:lnTo>
                  <a:lnTo>
                    <a:pt x="744" y="1140"/>
                  </a:lnTo>
                  <a:lnTo>
                    <a:pt x="732" y="1128"/>
                  </a:lnTo>
                  <a:lnTo>
                    <a:pt x="720" y="1122"/>
                  </a:lnTo>
                  <a:lnTo>
                    <a:pt x="732" y="1116"/>
                  </a:lnTo>
                  <a:lnTo>
                    <a:pt x="750" y="1104"/>
                  </a:lnTo>
                  <a:lnTo>
                    <a:pt x="756" y="1116"/>
                  </a:lnTo>
                  <a:lnTo>
                    <a:pt x="774" y="1116"/>
                  </a:lnTo>
                  <a:lnTo>
                    <a:pt x="780" y="1104"/>
                  </a:lnTo>
                  <a:lnTo>
                    <a:pt x="780" y="1080"/>
                  </a:lnTo>
                  <a:lnTo>
                    <a:pt x="786" y="1080"/>
                  </a:lnTo>
                  <a:lnTo>
                    <a:pt x="786" y="1074"/>
                  </a:lnTo>
                  <a:lnTo>
                    <a:pt x="792" y="1074"/>
                  </a:lnTo>
                  <a:lnTo>
                    <a:pt x="786" y="1068"/>
                  </a:lnTo>
                  <a:lnTo>
                    <a:pt x="786" y="1062"/>
                  </a:lnTo>
                  <a:lnTo>
                    <a:pt x="786" y="1056"/>
                  </a:lnTo>
                  <a:lnTo>
                    <a:pt x="792" y="1050"/>
                  </a:lnTo>
                  <a:lnTo>
                    <a:pt x="786" y="1020"/>
                  </a:lnTo>
                  <a:lnTo>
                    <a:pt x="780" y="960"/>
                  </a:lnTo>
                  <a:lnTo>
                    <a:pt x="768" y="942"/>
                  </a:lnTo>
                  <a:lnTo>
                    <a:pt x="732" y="936"/>
                  </a:lnTo>
                  <a:lnTo>
                    <a:pt x="732" y="942"/>
                  </a:lnTo>
                  <a:lnTo>
                    <a:pt x="726" y="942"/>
                  </a:lnTo>
                  <a:lnTo>
                    <a:pt x="720" y="936"/>
                  </a:lnTo>
                  <a:lnTo>
                    <a:pt x="714" y="942"/>
                  </a:lnTo>
                  <a:lnTo>
                    <a:pt x="708" y="942"/>
                  </a:lnTo>
                  <a:lnTo>
                    <a:pt x="702" y="942"/>
                  </a:lnTo>
                  <a:lnTo>
                    <a:pt x="690" y="936"/>
                  </a:lnTo>
                  <a:lnTo>
                    <a:pt x="684" y="936"/>
                  </a:lnTo>
                  <a:lnTo>
                    <a:pt x="678" y="936"/>
                  </a:lnTo>
                  <a:lnTo>
                    <a:pt x="672" y="936"/>
                  </a:lnTo>
                  <a:lnTo>
                    <a:pt x="666" y="942"/>
                  </a:lnTo>
                  <a:lnTo>
                    <a:pt x="660" y="942"/>
                  </a:lnTo>
                  <a:lnTo>
                    <a:pt x="654" y="942"/>
                  </a:lnTo>
                  <a:lnTo>
                    <a:pt x="648" y="942"/>
                  </a:lnTo>
                  <a:lnTo>
                    <a:pt x="642" y="936"/>
                  </a:lnTo>
                  <a:lnTo>
                    <a:pt x="636" y="936"/>
                  </a:lnTo>
                  <a:lnTo>
                    <a:pt x="630" y="930"/>
                  </a:lnTo>
                  <a:lnTo>
                    <a:pt x="618" y="930"/>
                  </a:lnTo>
                  <a:lnTo>
                    <a:pt x="612" y="930"/>
                  </a:lnTo>
                  <a:lnTo>
                    <a:pt x="606" y="936"/>
                  </a:lnTo>
                  <a:lnTo>
                    <a:pt x="600" y="942"/>
                  </a:lnTo>
                  <a:lnTo>
                    <a:pt x="600" y="936"/>
                  </a:lnTo>
                  <a:lnTo>
                    <a:pt x="594" y="930"/>
                  </a:lnTo>
                  <a:lnTo>
                    <a:pt x="588" y="930"/>
                  </a:lnTo>
                  <a:lnTo>
                    <a:pt x="582" y="930"/>
                  </a:lnTo>
                  <a:lnTo>
                    <a:pt x="576" y="930"/>
                  </a:lnTo>
                  <a:lnTo>
                    <a:pt x="564" y="936"/>
                  </a:lnTo>
                  <a:lnTo>
                    <a:pt x="558" y="936"/>
                  </a:lnTo>
                  <a:lnTo>
                    <a:pt x="546" y="924"/>
                  </a:lnTo>
                  <a:lnTo>
                    <a:pt x="540" y="924"/>
                  </a:lnTo>
                  <a:lnTo>
                    <a:pt x="534" y="918"/>
                  </a:lnTo>
                  <a:lnTo>
                    <a:pt x="528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6" y="918"/>
                  </a:lnTo>
                  <a:lnTo>
                    <a:pt x="516" y="912"/>
                  </a:lnTo>
                  <a:lnTo>
                    <a:pt x="510" y="894"/>
                  </a:lnTo>
                  <a:lnTo>
                    <a:pt x="510" y="882"/>
                  </a:lnTo>
                  <a:lnTo>
                    <a:pt x="510" y="876"/>
                  </a:lnTo>
                  <a:lnTo>
                    <a:pt x="516" y="870"/>
                  </a:lnTo>
                  <a:lnTo>
                    <a:pt x="510" y="864"/>
                  </a:lnTo>
                  <a:lnTo>
                    <a:pt x="516" y="858"/>
                  </a:lnTo>
                  <a:lnTo>
                    <a:pt x="522" y="858"/>
                  </a:lnTo>
                  <a:lnTo>
                    <a:pt x="528" y="858"/>
                  </a:lnTo>
                  <a:lnTo>
                    <a:pt x="522" y="852"/>
                  </a:lnTo>
                  <a:lnTo>
                    <a:pt x="528" y="852"/>
                  </a:lnTo>
                  <a:lnTo>
                    <a:pt x="528" y="846"/>
                  </a:lnTo>
                  <a:lnTo>
                    <a:pt x="552" y="846"/>
                  </a:lnTo>
                  <a:lnTo>
                    <a:pt x="558" y="840"/>
                  </a:lnTo>
                  <a:lnTo>
                    <a:pt x="564" y="828"/>
                  </a:lnTo>
                  <a:lnTo>
                    <a:pt x="570" y="816"/>
                  </a:lnTo>
                  <a:lnTo>
                    <a:pt x="582" y="810"/>
                  </a:lnTo>
                  <a:lnTo>
                    <a:pt x="588" y="804"/>
                  </a:lnTo>
                  <a:lnTo>
                    <a:pt x="594" y="804"/>
                  </a:lnTo>
                  <a:lnTo>
                    <a:pt x="594" y="792"/>
                  </a:lnTo>
                  <a:lnTo>
                    <a:pt x="600" y="786"/>
                  </a:lnTo>
                  <a:lnTo>
                    <a:pt x="606" y="780"/>
                  </a:lnTo>
                  <a:lnTo>
                    <a:pt x="612" y="774"/>
                  </a:lnTo>
                  <a:lnTo>
                    <a:pt x="618" y="774"/>
                  </a:lnTo>
                  <a:lnTo>
                    <a:pt x="618" y="768"/>
                  </a:lnTo>
                  <a:lnTo>
                    <a:pt x="618" y="762"/>
                  </a:lnTo>
                  <a:lnTo>
                    <a:pt x="624" y="756"/>
                  </a:lnTo>
                  <a:lnTo>
                    <a:pt x="618" y="750"/>
                  </a:lnTo>
                  <a:lnTo>
                    <a:pt x="618" y="744"/>
                  </a:lnTo>
                  <a:lnTo>
                    <a:pt x="600" y="738"/>
                  </a:lnTo>
                  <a:lnTo>
                    <a:pt x="558" y="744"/>
                  </a:lnTo>
                  <a:lnTo>
                    <a:pt x="552" y="732"/>
                  </a:lnTo>
                  <a:lnTo>
                    <a:pt x="546" y="720"/>
                  </a:lnTo>
                  <a:lnTo>
                    <a:pt x="564" y="702"/>
                  </a:lnTo>
                  <a:lnTo>
                    <a:pt x="570" y="684"/>
                  </a:lnTo>
                  <a:lnTo>
                    <a:pt x="564" y="648"/>
                  </a:lnTo>
                  <a:lnTo>
                    <a:pt x="534" y="624"/>
                  </a:lnTo>
                  <a:lnTo>
                    <a:pt x="504" y="612"/>
                  </a:lnTo>
                  <a:lnTo>
                    <a:pt x="498" y="606"/>
                  </a:lnTo>
                  <a:lnTo>
                    <a:pt x="492" y="600"/>
                  </a:lnTo>
                  <a:lnTo>
                    <a:pt x="486" y="606"/>
                  </a:lnTo>
                  <a:lnTo>
                    <a:pt x="480" y="558"/>
                  </a:lnTo>
                  <a:lnTo>
                    <a:pt x="462" y="546"/>
                  </a:lnTo>
                  <a:lnTo>
                    <a:pt x="408" y="540"/>
                  </a:lnTo>
                  <a:lnTo>
                    <a:pt x="408" y="546"/>
                  </a:lnTo>
                  <a:lnTo>
                    <a:pt x="408" y="558"/>
                  </a:lnTo>
                  <a:lnTo>
                    <a:pt x="408" y="564"/>
                  </a:lnTo>
                  <a:lnTo>
                    <a:pt x="408" y="570"/>
                  </a:lnTo>
                  <a:lnTo>
                    <a:pt x="414" y="582"/>
                  </a:lnTo>
                  <a:lnTo>
                    <a:pt x="408" y="594"/>
                  </a:lnTo>
                  <a:lnTo>
                    <a:pt x="414" y="594"/>
                  </a:lnTo>
                  <a:lnTo>
                    <a:pt x="408" y="600"/>
                  </a:lnTo>
                  <a:lnTo>
                    <a:pt x="348" y="600"/>
                  </a:lnTo>
                  <a:lnTo>
                    <a:pt x="324" y="600"/>
                  </a:lnTo>
                  <a:lnTo>
                    <a:pt x="324" y="612"/>
                  </a:lnTo>
                  <a:lnTo>
                    <a:pt x="306" y="618"/>
                  </a:lnTo>
                  <a:lnTo>
                    <a:pt x="312" y="618"/>
                  </a:lnTo>
                  <a:lnTo>
                    <a:pt x="294" y="588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76"/>
                  </a:lnTo>
                  <a:lnTo>
                    <a:pt x="240" y="582"/>
                  </a:lnTo>
                  <a:lnTo>
                    <a:pt x="234" y="582"/>
                  </a:lnTo>
                  <a:lnTo>
                    <a:pt x="228" y="588"/>
                  </a:lnTo>
                  <a:lnTo>
                    <a:pt x="222" y="588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8" y="600"/>
                  </a:lnTo>
                  <a:lnTo>
                    <a:pt x="192" y="612"/>
                  </a:lnTo>
                  <a:lnTo>
                    <a:pt x="192" y="618"/>
                  </a:lnTo>
                  <a:lnTo>
                    <a:pt x="198" y="624"/>
                  </a:lnTo>
                  <a:lnTo>
                    <a:pt x="192" y="624"/>
                  </a:lnTo>
                  <a:lnTo>
                    <a:pt x="192" y="630"/>
                  </a:lnTo>
                  <a:lnTo>
                    <a:pt x="192" y="642"/>
                  </a:lnTo>
                  <a:lnTo>
                    <a:pt x="180" y="648"/>
                  </a:lnTo>
                  <a:lnTo>
                    <a:pt x="174" y="654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6"/>
                  </a:lnTo>
                  <a:lnTo>
                    <a:pt x="156" y="672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90"/>
                  </a:lnTo>
                  <a:lnTo>
                    <a:pt x="132" y="690"/>
                  </a:lnTo>
                  <a:lnTo>
                    <a:pt x="126" y="702"/>
                  </a:lnTo>
                  <a:lnTo>
                    <a:pt x="132" y="708"/>
                  </a:lnTo>
                  <a:lnTo>
                    <a:pt x="126" y="708"/>
                  </a:lnTo>
                  <a:lnTo>
                    <a:pt x="120" y="708"/>
                  </a:lnTo>
                  <a:lnTo>
                    <a:pt x="114" y="708"/>
                  </a:lnTo>
                  <a:lnTo>
                    <a:pt x="108" y="708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78" y="720"/>
                  </a:lnTo>
                  <a:lnTo>
                    <a:pt x="72" y="720"/>
                  </a:lnTo>
                  <a:lnTo>
                    <a:pt x="66" y="720"/>
                  </a:lnTo>
                  <a:lnTo>
                    <a:pt x="54" y="732"/>
                  </a:lnTo>
                  <a:lnTo>
                    <a:pt x="48" y="702"/>
                  </a:lnTo>
                  <a:lnTo>
                    <a:pt x="36" y="666"/>
                  </a:lnTo>
                  <a:lnTo>
                    <a:pt x="0" y="660"/>
                  </a:lnTo>
                  <a:lnTo>
                    <a:pt x="6" y="660"/>
                  </a:lnTo>
                  <a:lnTo>
                    <a:pt x="6" y="654"/>
                  </a:lnTo>
                  <a:lnTo>
                    <a:pt x="6" y="648"/>
                  </a:lnTo>
                  <a:lnTo>
                    <a:pt x="6" y="642"/>
                  </a:lnTo>
                  <a:lnTo>
                    <a:pt x="6" y="624"/>
                  </a:lnTo>
                  <a:lnTo>
                    <a:pt x="6" y="612"/>
                  </a:lnTo>
                  <a:lnTo>
                    <a:pt x="6" y="606"/>
                  </a:lnTo>
                  <a:lnTo>
                    <a:pt x="12" y="612"/>
                  </a:lnTo>
                  <a:lnTo>
                    <a:pt x="18" y="606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30" y="594"/>
                  </a:lnTo>
                  <a:lnTo>
                    <a:pt x="30" y="588"/>
                  </a:lnTo>
                  <a:lnTo>
                    <a:pt x="30" y="582"/>
                  </a:lnTo>
                  <a:lnTo>
                    <a:pt x="24" y="576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18" y="558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36" y="528"/>
                  </a:lnTo>
                  <a:lnTo>
                    <a:pt x="30" y="522"/>
                  </a:lnTo>
                  <a:lnTo>
                    <a:pt x="24" y="522"/>
                  </a:lnTo>
                  <a:lnTo>
                    <a:pt x="18" y="510"/>
                  </a:lnTo>
                  <a:lnTo>
                    <a:pt x="12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8" y="474"/>
                  </a:lnTo>
                  <a:lnTo>
                    <a:pt x="12" y="468"/>
                  </a:lnTo>
                  <a:lnTo>
                    <a:pt x="12" y="462"/>
                  </a:lnTo>
                  <a:lnTo>
                    <a:pt x="18" y="456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0" y="420"/>
                  </a:lnTo>
                  <a:lnTo>
                    <a:pt x="30" y="414"/>
                  </a:lnTo>
                  <a:lnTo>
                    <a:pt x="48" y="414"/>
                  </a:lnTo>
                  <a:lnTo>
                    <a:pt x="54" y="408"/>
                  </a:lnTo>
                  <a:lnTo>
                    <a:pt x="60" y="402"/>
                  </a:lnTo>
                  <a:lnTo>
                    <a:pt x="66" y="402"/>
                  </a:lnTo>
                  <a:lnTo>
                    <a:pt x="72" y="402"/>
                  </a:lnTo>
                  <a:lnTo>
                    <a:pt x="78" y="408"/>
                  </a:lnTo>
                  <a:lnTo>
                    <a:pt x="84" y="396"/>
                  </a:lnTo>
                  <a:lnTo>
                    <a:pt x="90" y="390"/>
                  </a:lnTo>
                  <a:lnTo>
                    <a:pt x="90" y="378"/>
                  </a:lnTo>
                  <a:lnTo>
                    <a:pt x="96" y="372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8" y="354"/>
                  </a:lnTo>
                  <a:lnTo>
                    <a:pt x="114" y="348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32" y="336"/>
                  </a:lnTo>
                  <a:lnTo>
                    <a:pt x="132" y="330"/>
                  </a:lnTo>
                  <a:lnTo>
                    <a:pt x="138" y="324"/>
                  </a:lnTo>
                  <a:lnTo>
                    <a:pt x="138" y="318"/>
                  </a:lnTo>
                  <a:lnTo>
                    <a:pt x="144" y="306"/>
                  </a:lnTo>
                  <a:lnTo>
                    <a:pt x="156" y="306"/>
                  </a:lnTo>
                  <a:lnTo>
                    <a:pt x="186" y="300"/>
                  </a:lnTo>
                  <a:lnTo>
                    <a:pt x="198" y="300"/>
                  </a:lnTo>
                  <a:lnTo>
                    <a:pt x="210" y="300"/>
                  </a:lnTo>
                  <a:lnTo>
                    <a:pt x="222" y="300"/>
                  </a:lnTo>
                  <a:lnTo>
                    <a:pt x="246" y="300"/>
                  </a:lnTo>
                  <a:lnTo>
                    <a:pt x="264" y="312"/>
                  </a:lnTo>
                  <a:lnTo>
                    <a:pt x="270" y="312"/>
                  </a:lnTo>
                  <a:lnTo>
                    <a:pt x="282" y="306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300" y="306"/>
                  </a:lnTo>
                  <a:lnTo>
                    <a:pt x="312" y="306"/>
                  </a:lnTo>
                  <a:lnTo>
                    <a:pt x="318" y="300"/>
                  </a:lnTo>
                  <a:lnTo>
                    <a:pt x="324" y="300"/>
                  </a:lnTo>
                  <a:lnTo>
                    <a:pt x="330" y="294"/>
                  </a:lnTo>
                  <a:lnTo>
                    <a:pt x="336" y="288"/>
                  </a:lnTo>
                  <a:lnTo>
                    <a:pt x="354" y="288"/>
                  </a:lnTo>
                  <a:lnTo>
                    <a:pt x="360" y="288"/>
                  </a:lnTo>
                  <a:lnTo>
                    <a:pt x="366" y="282"/>
                  </a:lnTo>
                  <a:lnTo>
                    <a:pt x="372" y="282"/>
                  </a:lnTo>
                  <a:lnTo>
                    <a:pt x="378" y="282"/>
                  </a:lnTo>
                  <a:lnTo>
                    <a:pt x="384" y="276"/>
                  </a:lnTo>
                  <a:lnTo>
                    <a:pt x="384" y="270"/>
                  </a:lnTo>
                  <a:lnTo>
                    <a:pt x="390" y="264"/>
                  </a:lnTo>
                  <a:lnTo>
                    <a:pt x="402" y="258"/>
                  </a:lnTo>
                  <a:lnTo>
                    <a:pt x="402" y="252"/>
                  </a:lnTo>
                  <a:lnTo>
                    <a:pt x="402" y="246"/>
                  </a:lnTo>
                  <a:lnTo>
                    <a:pt x="408" y="234"/>
                  </a:lnTo>
                  <a:lnTo>
                    <a:pt x="414" y="234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14" y="216"/>
                  </a:lnTo>
                  <a:lnTo>
                    <a:pt x="414" y="210"/>
                  </a:lnTo>
                  <a:lnTo>
                    <a:pt x="420" y="210"/>
                  </a:lnTo>
                  <a:lnTo>
                    <a:pt x="414" y="198"/>
                  </a:lnTo>
                  <a:lnTo>
                    <a:pt x="414" y="192"/>
                  </a:lnTo>
                  <a:lnTo>
                    <a:pt x="420" y="192"/>
                  </a:lnTo>
                  <a:lnTo>
                    <a:pt x="420" y="186"/>
                  </a:lnTo>
                  <a:lnTo>
                    <a:pt x="420" y="174"/>
                  </a:lnTo>
                  <a:lnTo>
                    <a:pt x="420" y="168"/>
                  </a:lnTo>
                  <a:lnTo>
                    <a:pt x="426" y="162"/>
                  </a:lnTo>
                  <a:lnTo>
                    <a:pt x="432" y="156"/>
                  </a:lnTo>
                  <a:lnTo>
                    <a:pt x="438" y="144"/>
                  </a:lnTo>
                  <a:lnTo>
                    <a:pt x="444" y="144"/>
                  </a:lnTo>
                  <a:lnTo>
                    <a:pt x="450" y="138"/>
                  </a:lnTo>
                  <a:lnTo>
                    <a:pt x="456" y="138"/>
                  </a:lnTo>
                  <a:lnTo>
                    <a:pt x="462" y="132"/>
                  </a:lnTo>
                  <a:lnTo>
                    <a:pt x="462" y="126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0"/>
                  </a:lnTo>
                  <a:lnTo>
                    <a:pt x="486" y="108"/>
                  </a:lnTo>
                  <a:lnTo>
                    <a:pt x="492" y="108"/>
                  </a:lnTo>
                  <a:lnTo>
                    <a:pt x="498" y="102"/>
                  </a:lnTo>
                  <a:lnTo>
                    <a:pt x="504" y="96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40" y="102"/>
                  </a:lnTo>
                  <a:lnTo>
                    <a:pt x="552" y="108"/>
                  </a:lnTo>
                  <a:lnTo>
                    <a:pt x="582" y="102"/>
                  </a:lnTo>
                  <a:lnTo>
                    <a:pt x="594" y="126"/>
                  </a:lnTo>
                  <a:lnTo>
                    <a:pt x="594" y="144"/>
                  </a:lnTo>
                  <a:lnTo>
                    <a:pt x="588" y="156"/>
                  </a:lnTo>
                  <a:lnTo>
                    <a:pt x="588" y="168"/>
                  </a:lnTo>
                  <a:lnTo>
                    <a:pt x="582" y="180"/>
                  </a:lnTo>
                  <a:lnTo>
                    <a:pt x="570" y="192"/>
                  </a:lnTo>
                  <a:lnTo>
                    <a:pt x="594" y="192"/>
                  </a:lnTo>
                  <a:lnTo>
                    <a:pt x="618" y="198"/>
                  </a:lnTo>
                  <a:lnTo>
                    <a:pt x="642" y="210"/>
                  </a:lnTo>
                  <a:lnTo>
                    <a:pt x="660" y="234"/>
                  </a:lnTo>
                  <a:lnTo>
                    <a:pt x="678" y="246"/>
                  </a:lnTo>
                  <a:lnTo>
                    <a:pt x="684" y="252"/>
                  </a:lnTo>
                  <a:lnTo>
                    <a:pt x="702" y="252"/>
                  </a:lnTo>
                  <a:lnTo>
                    <a:pt x="732" y="234"/>
                  </a:lnTo>
                  <a:lnTo>
                    <a:pt x="732" y="222"/>
                  </a:lnTo>
                  <a:lnTo>
                    <a:pt x="720" y="216"/>
                  </a:lnTo>
                  <a:lnTo>
                    <a:pt x="714" y="198"/>
                  </a:lnTo>
                  <a:lnTo>
                    <a:pt x="714" y="174"/>
                  </a:lnTo>
                  <a:lnTo>
                    <a:pt x="720" y="162"/>
                  </a:lnTo>
                  <a:lnTo>
                    <a:pt x="726" y="162"/>
                  </a:lnTo>
                  <a:lnTo>
                    <a:pt x="732" y="156"/>
                  </a:lnTo>
                  <a:lnTo>
                    <a:pt x="744" y="150"/>
                  </a:lnTo>
                  <a:lnTo>
                    <a:pt x="774" y="162"/>
                  </a:lnTo>
                  <a:lnTo>
                    <a:pt x="786" y="162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16" y="150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2" y="132"/>
                  </a:lnTo>
                  <a:lnTo>
                    <a:pt x="822" y="114"/>
                  </a:lnTo>
                  <a:lnTo>
                    <a:pt x="828" y="108"/>
                  </a:lnTo>
                  <a:lnTo>
                    <a:pt x="834" y="96"/>
                  </a:lnTo>
                  <a:lnTo>
                    <a:pt x="846" y="96"/>
                  </a:lnTo>
                  <a:lnTo>
                    <a:pt x="858" y="90"/>
                  </a:lnTo>
                  <a:lnTo>
                    <a:pt x="870" y="84"/>
                  </a:lnTo>
                  <a:lnTo>
                    <a:pt x="888" y="84"/>
                  </a:lnTo>
                  <a:lnTo>
                    <a:pt x="894" y="90"/>
                  </a:lnTo>
                  <a:lnTo>
                    <a:pt x="894" y="102"/>
                  </a:lnTo>
                  <a:lnTo>
                    <a:pt x="900" y="102"/>
                  </a:lnTo>
                  <a:lnTo>
                    <a:pt x="906" y="114"/>
                  </a:lnTo>
                  <a:lnTo>
                    <a:pt x="930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54" y="138"/>
                  </a:lnTo>
                  <a:lnTo>
                    <a:pt x="966" y="144"/>
                  </a:lnTo>
                  <a:lnTo>
                    <a:pt x="966" y="150"/>
                  </a:lnTo>
                  <a:lnTo>
                    <a:pt x="972" y="150"/>
                  </a:lnTo>
                  <a:lnTo>
                    <a:pt x="978" y="150"/>
                  </a:lnTo>
                  <a:lnTo>
                    <a:pt x="978" y="144"/>
                  </a:lnTo>
                  <a:lnTo>
                    <a:pt x="984" y="144"/>
                  </a:lnTo>
                  <a:lnTo>
                    <a:pt x="990" y="138"/>
                  </a:lnTo>
                  <a:lnTo>
                    <a:pt x="996" y="138"/>
                  </a:lnTo>
                  <a:lnTo>
                    <a:pt x="1002" y="138"/>
                  </a:lnTo>
                  <a:lnTo>
                    <a:pt x="1008" y="138"/>
                  </a:lnTo>
                  <a:lnTo>
                    <a:pt x="1026" y="132"/>
                  </a:lnTo>
                  <a:lnTo>
                    <a:pt x="1044" y="126"/>
                  </a:lnTo>
                  <a:lnTo>
                    <a:pt x="1056" y="120"/>
                  </a:lnTo>
                  <a:lnTo>
                    <a:pt x="1062" y="108"/>
                  </a:lnTo>
                  <a:lnTo>
                    <a:pt x="1056" y="102"/>
                  </a:lnTo>
                  <a:lnTo>
                    <a:pt x="1062" y="96"/>
                  </a:lnTo>
                  <a:lnTo>
                    <a:pt x="1074" y="90"/>
                  </a:lnTo>
                  <a:lnTo>
                    <a:pt x="1080" y="84"/>
                  </a:lnTo>
                  <a:lnTo>
                    <a:pt x="1128" y="84"/>
                  </a:lnTo>
                  <a:lnTo>
                    <a:pt x="1134" y="84"/>
                  </a:lnTo>
                  <a:lnTo>
                    <a:pt x="1140" y="78"/>
                  </a:lnTo>
                  <a:lnTo>
                    <a:pt x="1152" y="72"/>
                  </a:lnTo>
                  <a:lnTo>
                    <a:pt x="1164" y="66"/>
                  </a:lnTo>
                  <a:lnTo>
                    <a:pt x="1170" y="60"/>
                  </a:lnTo>
                  <a:lnTo>
                    <a:pt x="1188" y="48"/>
                  </a:lnTo>
                  <a:lnTo>
                    <a:pt x="1200" y="36"/>
                  </a:lnTo>
                  <a:lnTo>
                    <a:pt x="1218" y="24"/>
                  </a:lnTo>
                  <a:lnTo>
                    <a:pt x="1248" y="24"/>
                  </a:lnTo>
                  <a:lnTo>
                    <a:pt x="1272" y="24"/>
                  </a:lnTo>
                  <a:lnTo>
                    <a:pt x="1284" y="12"/>
                  </a:lnTo>
                  <a:lnTo>
                    <a:pt x="1302" y="0"/>
                  </a:lnTo>
                  <a:lnTo>
                    <a:pt x="1314" y="0"/>
                  </a:lnTo>
                  <a:lnTo>
                    <a:pt x="1326" y="18"/>
                  </a:lnTo>
                  <a:lnTo>
                    <a:pt x="1338" y="30"/>
                  </a:lnTo>
                  <a:lnTo>
                    <a:pt x="1338" y="54"/>
                  </a:lnTo>
                  <a:lnTo>
                    <a:pt x="1332" y="72"/>
                  </a:lnTo>
                  <a:lnTo>
                    <a:pt x="1326" y="72"/>
                  </a:lnTo>
                  <a:lnTo>
                    <a:pt x="1326" y="78"/>
                  </a:lnTo>
                  <a:lnTo>
                    <a:pt x="1326" y="102"/>
                  </a:lnTo>
                  <a:lnTo>
                    <a:pt x="1332" y="102"/>
                  </a:lnTo>
                  <a:lnTo>
                    <a:pt x="1332" y="108"/>
                  </a:lnTo>
                  <a:lnTo>
                    <a:pt x="1344" y="114"/>
                  </a:lnTo>
                  <a:lnTo>
                    <a:pt x="1350" y="114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404" y="132"/>
                  </a:lnTo>
                  <a:lnTo>
                    <a:pt x="1404" y="138"/>
                  </a:lnTo>
                  <a:lnTo>
                    <a:pt x="1410" y="150"/>
                  </a:lnTo>
                  <a:lnTo>
                    <a:pt x="1416" y="162"/>
                  </a:lnTo>
                  <a:lnTo>
                    <a:pt x="1428" y="168"/>
                  </a:lnTo>
                  <a:lnTo>
                    <a:pt x="1440" y="180"/>
                  </a:lnTo>
                  <a:lnTo>
                    <a:pt x="1476" y="174"/>
                  </a:lnTo>
                  <a:lnTo>
                    <a:pt x="1494" y="174"/>
                  </a:lnTo>
                  <a:lnTo>
                    <a:pt x="1512" y="192"/>
                  </a:lnTo>
                  <a:lnTo>
                    <a:pt x="1518" y="204"/>
                  </a:lnTo>
                  <a:lnTo>
                    <a:pt x="1530" y="216"/>
                  </a:lnTo>
                  <a:lnTo>
                    <a:pt x="1548" y="228"/>
                  </a:lnTo>
                  <a:lnTo>
                    <a:pt x="1548" y="234"/>
                  </a:lnTo>
                  <a:lnTo>
                    <a:pt x="1542" y="246"/>
                  </a:lnTo>
                  <a:lnTo>
                    <a:pt x="1560" y="246"/>
                  </a:lnTo>
                  <a:lnTo>
                    <a:pt x="1560" y="252"/>
                  </a:lnTo>
                  <a:lnTo>
                    <a:pt x="1566" y="258"/>
                  </a:lnTo>
                  <a:lnTo>
                    <a:pt x="1578" y="270"/>
                  </a:lnTo>
                  <a:lnTo>
                    <a:pt x="1596" y="270"/>
                  </a:lnTo>
                  <a:lnTo>
                    <a:pt x="1602" y="288"/>
                  </a:lnTo>
                  <a:lnTo>
                    <a:pt x="1608" y="306"/>
                  </a:lnTo>
                  <a:lnTo>
                    <a:pt x="1608" y="318"/>
                  </a:lnTo>
                  <a:lnTo>
                    <a:pt x="1608" y="324"/>
                  </a:lnTo>
                  <a:lnTo>
                    <a:pt x="1614" y="330"/>
                  </a:lnTo>
                  <a:lnTo>
                    <a:pt x="1614" y="336"/>
                  </a:lnTo>
                  <a:lnTo>
                    <a:pt x="1614" y="342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08" y="390"/>
                  </a:lnTo>
                  <a:lnTo>
                    <a:pt x="1602" y="390"/>
                  </a:lnTo>
                  <a:lnTo>
                    <a:pt x="1602" y="396"/>
                  </a:lnTo>
                  <a:lnTo>
                    <a:pt x="1584" y="420"/>
                  </a:lnTo>
                  <a:lnTo>
                    <a:pt x="1584" y="426"/>
                  </a:lnTo>
                  <a:lnTo>
                    <a:pt x="1602" y="474"/>
                  </a:lnTo>
                  <a:lnTo>
                    <a:pt x="1608" y="480"/>
                  </a:lnTo>
                  <a:lnTo>
                    <a:pt x="1608" y="486"/>
                  </a:lnTo>
                  <a:lnTo>
                    <a:pt x="1614" y="486"/>
                  </a:lnTo>
                  <a:lnTo>
                    <a:pt x="1608" y="504"/>
                  </a:lnTo>
                  <a:lnTo>
                    <a:pt x="1572" y="504"/>
                  </a:lnTo>
                  <a:lnTo>
                    <a:pt x="1560" y="510"/>
                  </a:lnTo>
                  <a:lnTo>
                    <a:pt x="1554" y="522"/>
                  </a:lnTo>
                  <a:lnTo>
                    <a:pt x="1560" y="552"/>
                  </a:lnTo>
                  <a:lnTo>
                    <a:pt x="1566" y="552"/>
                  </a:lnTo>
                  <a:lnTo>
                    <a:pt x="1566" y="558"/>
                  </a:lnTo>
                  <a:lnTo>
                    <a:pt x="1572" y="558"/>
                  </a:lnTo>
                  <a:lnTo>
                    <a:pt x="1578" y="558"/>
                  </a:lnTo>
                  <a:lnTo>
                    <a:pt x="1578" y="552"/>
                  </a:lnTo>
                  <a:lnTo>
                    <a:pt x="1584" y="552"/>
                  </a:lnTo>
                  <a:lnTo>
                    <a:pt x="1590" y="552"/>
                  </a:lnTo>
                  <a:lnTo>
                    <a:pt x="1590" y="546"/>
                  </a:lnTo>
                  <a:lnTo>
                    <a:pt x="1596" y="546"/>
                  </a:lnTo>
                  <a:lnTo>
                    <a:pt x="1602" y="552"/>
                  </a:lnTo>
                  <a:lnTo>
                    <a:pt x="1602" y="546"/>
                  </a:lnTo>
                  <a:lnTo>
                    <a:pt x="1608" y="546"/>
                  </a:lnTo>
                  <a:lnTo>
                    <a:pt x="1608" y="552"/>
                  </a:lnTo>
                  <a:lnTo>
                    <a:pt x="1614" y="552"/>
                  </a:lnTo>
                  <a:lnTo>
                    <a:pt x="1614" y="546"/>
                  </a:lnTo>
                  <a:lnTo>
                    <a:pt x="1620" y="552"/>
                  </a:lnTo>
                  <a:lnTo>
                    <a:pt x="1626" y="552"/>
                  </a:lnTo>
                  <a:lnTo>
                    <a:pt x="1626" y="558"/>
                  </a:lnTo>
                  <a:lnTo>
                    <a:pt x="1632" y="558"/>
                  </a:lnTo>
                  <a:lnTo>
                    <a:pt x="1638" y="558"/>
                  </a:lnTo>
                  <a:lnTo>
                    <a:pt x="1644" y="558"/>
                  </a:lnTo>
                  <a:lnTo>
                    <a:pt x="1650" y="558"/>
                  </a:lnTo>
                  <a:lnTo>
                    <a:pt x="1650" y="564"/>
                  </a:lnTo>
                  <a:lnTo>
                    <a:pt x="1656" y="564"/>
                  </a:lnTo>
                  <a:lnTo>
                    <a:pt x="1662" y="564"/>
                  </a:lnTo>
                  <a:lnTo>
                    <a:pt x="1668" y="564"/>
                  </a:lnTo>
                  <a:lnTo>
                    <a:pt x="1668" y="570"/>
                  </a:lnTo>
                  <a:lnTo>
                    <a:pt x="1674" y="570"/>
                  </a:lnTo>
                  <a:lnTo>
                    <a:pt x="1680" y="570"/>
                  </a:lnTo>
                  <a:lnTo>
                    <a:pt x="1686" y="576"/>
                  </a:lnTo>
                  <a:lnTo>
                    <a:pt x="1686" y="582"/>
                  </a:lnTo>
                  <a:lnTo>
                    <a:pt x="1710" y="588"/>
                  </a:lnTo>
                  <a:lnTo>
                    <a:pt x="1710" y="594"/>
                  </a:lnTo>
                  <a:lnTo>
                    <a:pt x="1704" y="600"/>
                  </a:lnTo>
                  <a:lnTo>
                    <a:pt x="1710" y="624"/>
                  </a:lnTo>
                  <a:lnTo>
                    <a:pt x="1698" y="672"/>
                  </a:lnTo>
                  <a:lnTo>
                    <a:pt x="1704" y="678"/>
                  </a:lnTo>
                  <a:lnTo>
                    <a:pt x="1716" y="684"/>
                  </a:lnTo>
                  <a:lnTo>
                    <a:pt x="1716" y="678"/>
                  </a:lnTo>
                  <a:lnTo>
                    <a:pt x="1716" y="684"/>
                  </a:lnTo>
                  <a:lnTo>
                    <a:pt x="1728" y="684"/>
                  </a:lnTo>
                  <a:lnTo>
                    <a:pt x="1728" y="690"/>
                  </a:lnTo>
                  <a:lnTo>
                    <a:pt x="1734" y="696"/>
                  </a:lnTo>
                  <a:lnTo>
                    <a:pt x="1734" y="702"/>
                  </a:lnTo>
                  <a:lnTo>
                    <a:pt x="1740" y="708"/>
                  </a:lnTo>
                  <a:lnTo>
                    <a:pt x="1740" y="714"/>
                  </a:lnTo>
                  <a:lnTo>
                    <a:pt x="1710" y="714"/>
                  </a:lnTo>
                  <a:lnTo>
                    <a:pt x="1710" y="756"/>
                  </a:lnTo>
                  <a:lnTo>
                    <a:pt x="1704" y="762"/>
                  </a:lnTo>
                  <a:lnTo>
                    <a:pt x="1698" y="762"/>
                  </a:lnTo>
                  <a:lnTo>
                    <a:pt x="1698" y="768"/>
                  </a:lnTo>
                  <a:lnTo>
                    <a:pt x="1698" y="774"/>
                  </a:lnTo>
                  <a:lnTo>
                    <a:pt x="1692" y="780"/>
                  </a:lnTo>
                  <a:lnTo>
                    <a:pt x="1692" y="786"/>
                  </a:lnTo>
                  <a:lnTo>
                    <a:pt x="1686" y="786"/>
                  </a:lnTo>
                  <a:lnTo>
                    <a:pt x="1668" y="798"/>
                  </a:lnTo>
                  <a:lnTo>
                    <a:pt x="1662" y="810"/>
                  </a:lnTo>
                  <a:lnTo>
                    <a:pt x="1650" y="810"/>
                  </a:lnTo>
                  <a:lnTo>
                    <a:pt x="1644" y="816"/>
                  </a:lnTo>
                  <a:lnTo>
                    <a:pt x="1638" y="816"/>
                  </a:lnTo>
                  <a:lnTo>
                    <a:pt x="1626" y="852"/>
                  </a:lnTo>
                  <a:lnTo>
                    <a:pt x="1620" y="888"/>
                  </a:lnTo>
                  <a:lnTo>
                    <a:pt x="1626" y="888"/>
                  </a:lnTo>
                  <a:lnTo>
                    <a:pt x="1638" y="912"/>
                  </a:lnTo>
                  <a:lnTo>
                    <a:pt x="1644" y="918"/>
                  </a:lnTo>
                  <a:lnTo>
                    <a:pt x="1650" y="966"/>
                  </a:lnTo>
                  <a:lnTo>
                    <a:pt x="1626" y="972"/>
                  </a:lnTo>
                  <a:lnTo>
                    <a:pt x="1608" y="978"/>
                  </a:lnTo>
                  <a:lnTo>
                    <a:pt x="1614" y="984"/>
                  </a:lnTo>
                  <a:lnTo>
                    <a:pt x="1620" y="984"/>
                  </a:lnTo>
                  <a:lnTo>
                    <a:pt x="1620" y="1020"/>
                  </a:lnTo>
                  <a:lnTo>
                    <a:pt x="1614" y="1038"/>
                  </a:lnTo>
                  <a:lnTo>
                    <a:pt x="1620" y="1044"/>
                  </a:lnTo>
                  <a:lnTo>
                    <a:pt x="1626" y="1056"/>
                  </a:lnTo>
                  <a:lnTo>
                    <a:pt x="1626" y="1074"/>
                  </a:lnTo>
                  <a:lnTo>
                    <a:pt x="1620" y="1080"/>
                  </a:lnTo>
                  <a:lnTo>
                    <a:pt x="1620" y="1104"/>
                  </a:lnTo>
                  <a:lnTo>
                    <a:pt x="1620" y="1110"/>
                  </a:lnTo>
                  <a:lnTo>
                    <a:pt x="1614" y="1116"/>
                  </a:lnTo>
                  <a:lnTo>
                    <a:pt x="1608" y="1140"/>
                  </a:lnTo>
                  <a:lnTo>
                    <a:pt x="1602" y="1146"/>
                  </a:lnTo>
                  <a:lnTo>
                    <a:pt x="1602" y="1164"/>
                  </a:lnTo>
                  <a:lnTo>
                    <a:pt x="1596" y="1170"/>
                  </a:lnTo>
                  <a:lnTo>
                    <a:pt x="1590" y="1164"/>
                  </a:lnTo>
                  <a:lnTo>
                    <a:pt x="1584" y="1164"/>
                  </a:lnTo>
                  <a:lnTo>
                    <a:pt x="1578" y="1164"/>
                  </a:lnTo>
                  <a:lnTo>
                    <a:pt x="1578" y="1188"/>
                  </a:lnTo>
                  <a:lnTo>
                    <a:pt x="1584" y="1194"/>
                  </a:lnTo>
                  <a:lnTo>
                    <a:pt x="1590" y="1194"/>
                  </a:lnTo>
                  <a:lnTo>
                    <a:pt x="1590" y="1212"/>
                  </a:lnTo>
                  <a:lnTo>
                    <a:pt x="1584" y="1212"/>
                  </a:lnTo>
                  <a:lnTo>
                    <a:pt x="1584" y="1224"/>
                  </a:lnTo>
                  <a:lnTo>
                    <a:pt x="1578" y="1224"/>
                  </a:lnTo>
                  <a:lnTo>
                    <a:pt x="1578" y="1236"/>
                  </a:lnTo>
                  <a:lnTo>
                    <a:pt x="1584" y="1254"/>
                  </a:lnTo>
                  <a:lnTo>
                    <a:pt x="1584" y="1260"/>
                  </a:lnTo>
                  <a:lnTo>
                    <a:pt x="1590" y="1260"/>
                  </a:lnTo>
                  <a:lnTo>
                    <a:pt x="1590" y="1266"/>
                  </a:lnTo>
                  <a:lnTo>
                    <a:pt x="1596" y="1284"/>
                  </a:lnTo>
                  <a:lnTo>
                    <a:pt x="1602" y="1278"/>
                  </a:lnTo>
                  <a:lnTo>
                    <a:pt x="1608" y="1284"/>
                  </a:lnTo>
                  <a:lnTo>
                    <a:pt x="1632" y="1350"/>
                  </a:lnTo>
                  <a:lnTo>
                    <a:pt x="1638" y="1356"/>
                  </a:lnTo>
                  <a:lnTo>
                    <a:pt x="1644" y="1356"/>
                  </a:lnTo>
                  <a:lnTo>
                    <a:pt x="1650" y="1356"/>
                  </a:lnTo>
                  <a:lnTo>
                    <a:pt x="1656" y="1356"/>
                  </a:lnTo>
                  <a:lnTo>
                    <a:pt x="1662" y="1362"/>
                  </a:lnTo>
                  <a:lnTo>
                    <a:pt x="1668" y="1356"/>
                  </a:lnTo>
                  <a:lnTo>
                    <a:pt x="1668" y="1380"/>
                  </a:lnTo>
                  <a:lnTo>
                    <a:pt x="1662" y="1392"/>
                  </a:lnTo>
                  <a:lnTo>
                    <a:pt x="1656" y="1404"/>
                  </a:lnTo>
                  <a:lnTo>
                    <a:pt x="1656" y="1410"/>
                  </a:lnTo>
                  <a:lnTo>
                    <a:pt x="1656" y="1416"/>
                  </a:lnTo>
                  <a:lnTo>
                    <a:pt x="1650" y="1422"/>
                  </a:lnTo>
                  <a:lnTo>
                    <a:pt x="1650" y="1428"/>
                  </a:lnTo>
                  <a:lnTo>
                    <a:pt x="1644" y="1428"/>
                  </a:lnTo>
                  <a:lnTo>
                    <a:pt x="1644" y="1434"/>
                  </a:lnTo>
                  <a:lnTo>
                    <a:pt x="1638" y="1434"/>
                  </a:lnTo>
                  <a:lnTo>
                    <a:pt x="1638" y="1440"/>
                  </a:lnTo>
                  <a:lnTo>
                    <a:pt x="1632" y="1440"/>
                  </a:lnTo>
                  <a:lnTo>
                    <a:pt x="1638" y="145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8" name="Freeform 13">
              <a:extLst>
                <a:ext uri="{FF2B5EF4-FFF2-40B4-BE49-F238E27FC236}">
                  <a16:creationId xmlns:a16="http://schemas.microsoft.com/office/drawing/2014/main" id="{66308D9B-1739-4227-AAC3-BB866CD1F5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63374" y="2969626"/>
              <a:ext cx="330956" cy="357840"/>
            </a:xfrm>
            <a:custGeom>
              <a:avLst/>
              <a:gdLst>
                <a:gd name="T0" fmla="*/ 11 w 624"/>
                <a:gd name="T1" fmla="*/ 59 h 672"/>
                <a:gd name="T2" fmla="*/ 4 w 624"/>
                <a:gd name="T3" fmla="*/ 58 h 672"/>
                <a:gd name="T4" fmla="*/ 3 w 624"/>
                <a:gd name="T5" fmla="*/ 58 h 672"/>
                <a:gd name="T6" fmla="*/ 2 w 624"/>
                <a:gd name="T7" fmla="*/ 11 h 672"/>
                <a:gd name="T8" fmla="*/ 13 w 624"/>
                <a:gd name="T9" fmla="*/ 11 h 672"/>
                <a:gd name="T10" fmla="*/ 14 w 624"/>
                <a:gd name="T11" fmla="*/ 11 h 672"/>
                <a:gd name="T12" fmla="*/ 15 w 624"/>
                <a:gd name="T13" fmla="*/ 12 h 672"/>
                <a:gd name="T14" fmla="*/ 18 w 624"/>
                <a:gd name="T15" fmla="*/ 14 h 672"/>
                <a:gd name="T16" fmla="*/ 21 w 624"/>
                <a:gd name="T17" fmla="*/ 16 h 672"/>
                <a:gd name="T18" fmla="*/ 22 w 624"/>
                <a:gd name="T19" fmla="*/ 18 h 672"/>
                <a:gd name="T20" fmla="*/ 23 w 624"/>
                <a:gd name="T21" fmla="*/ 19 h 672"/>
                <a:gd name="T22" fmla="*/ 24 w 624"/>
                <a:gd name="T23" fmla="*/ 19 h 672"/>
                <a:gd name="T24" fmla="*/ 26 w 624"/>
                <a:gd name="T25" fmla="*/ 19 h 672"/>
                <a:gd name="T26" fmla="*/ 27 w 624"/>
                <a:gd name="T27" fmla="*/ 18 h 672"/>
                <a:gd name="T28" fmla="*/ 29 w 624"/>
                <a:gd name="T29" fmla="*/ 15 h 672"/>
                <a:gd name="T30" fmla="*/ 30 w 624"/>
                <a:gd name="T31" fmla="*/ 14 h 672"/>
                <a:gd name="T32" fmla="*/ 31 w 624"/>
                <a:gd name="T33" fmla="*/ 12 h 672"/>
                <a:gd name="T34" fmla="*/ 32 w 624"/>
                <a:gd name="T35" fmla="*/ 12 h 672"/>
                <a:gd name="T36" fmla="*/ 33 w 624"/>
                <a:gd name="T37" fmla="*/ 10 h 672"/>
                <a:gd name="T38" fmla="*/ 34 w 624"/>
                <a:gd name="T39" fmla="*/ 8 h 672"/>
                <a:gd name="T40" fmla="*/ 34 w 624"/>
                <a:gd name="T41" fmla="*/ 6 h 672"/>
                <a:gd name="T42" fmla="*/ 35 w 624"/>
                <a:gd name="T43" fmla="*/ 4 h 672"/>
                <a:gd name="T44" fmla="*/ 42 w 624"/>
                <a:gd name="T45" fmla="*/ 3 h 672"/>
                <a:gd name="T46" fmla="*/ 44 w 624"/>
                <a:gd name="T47" fmla="*/ 2 h 672"/>
                <a:gd name="T48" fmla="*/ 46 w 624"/>
                <a:gd name="T49" fmla="*/ 0 h 672"/>
                <a:gd name="T50" fmla="*/ 51 w 624"/>
                <a:gd name="T51" fmla="*/ 3 h 672"/>
                <a:gd name="T52" fmla="*/ 54 w 624"/>
                <a:gd name="T53" fmla="*/ 6 h 672"/>
                <a:gd name="T54" fmla="*/ 54 w 624"/>
                <a:gd name="T55" fmla="*/ 8 h 672"/>
                <a:gd name="T56" fmla="*/ 52 w 624"/>
                <a:gd name="T57" fmla="*/ 9 h 672"/>
                <a:gd name="T58" fmla="*/ 49 w 624"/>
                <a:gd name="T59" fmla="*/ 11 h 672"/>
                <a:gd name="T60" fmla="*/ 48 w 624"/>
                <a:gd name="T61" fmla="*/ 14 h 672"/>
                <a:gd name="T62" fmla="*/ 46 w 624"/>
                <a:gd name="T63" fmla="*/ 22 h 672"/>
                <a:gd name="T64" fmla="*/ 45 w 624"/>
                <a:gd name="T65" fmla="*/ 39 h 672"/>
                <a:gd name="T66" fmla="*/ 43 w 624"/>
                <a:gd name="T67" fmla="*/ 43 h 672"/>
                <a:gd name="T68" fmla="*/ 39 w 624"/>
                <a:gd name="T69" fmla="*/ 50 h 672"/>
                <a:gd name="T70" fmla="*/ 36 w 624"/>
                <a:gd name="T71" fmla="*/ 53 h 672"/>
                <a:gd name="T72" fmla="*/ 32 w 624"/>
                <a:gd name="T73" fmla="*/ 56 h 672"/>
                <a:gd name="T74" fmla="*/ 30 w 624"/>
                <a:gd name="T75" fmla="*/ 58 h 672"/>
                <a:gd name="T76" fmla="*/ 20 w 624"/>
                <a:gd name="T77" fmla="*/ 59 h 672"/>
                <a:gd name="T78" fmla="*/ 15 w 624"/>
                <a:gd name="T79" fmla="*/ 59 h 67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24"/>
                <a:gd name="T121" fmla="*/ 0 h 672"/>
                <a:gd name="T122" fmla="*/ 624 w 624"/>
                <a:gd name="T123" fmla="*/ 672 h 67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24" h="672">
                  <a:moveTo>
                    <a:pt x="168" y="672"/>
                  </a:moveTo>
                  <a:lnTo>
                    <a:pt x="132" y="672"/>
                  </a:lnTo>
                  <a:lnTo>
                    <a:pt x="72" y="666"/>
                  </a:lnTo>
                  <a:lnTo>
                    <a:pt x="42" y="666"/>
                  </a:lnTo>
                  <a:lnTo>
                    <a:pt x="36" y="666"/>
                  </a:lnTo>
                  <a:lnTo>
                    <a:pt x="30" y="660"/>
                  </a:lnTo>
                  <a:lnTo>
                    <a:pt x="0" y="660"/>
                  </a:lnTo>
                  <a:lnTo>
                    <a:pt x="24" y="120"/>
                  </a:lnTo>
                  <a:lnTo>
                    <a:pt x="60" y="120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62" y="120"/>
                  </a:lnTo>
                  <a:lnTo>
                    <a:pt x="168" y="120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10" y="156"/>
                  </a:lnTo>
                  <a:lnTo>
                    <a:pt x="222" y="174"/>
                  </a:lnTo>
                  <a:lnTo>
                    <a:pt x="240" y="186"/>
                  </a:lnTo>
                  <a:lnTo>
                    <a:pt x="252" y="198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216"/>
                  </a:lnTo>
                  <a:lnTo>
                    <a:pt x="270" y="216"/>
                  </a:lnTo>
                  <a:lnTo>
                    <a:pt x="282" y="222"/>
                  </a:lnTo>
                  <a:lnTo>
                    <a:pt x="288" y="222"/>
                  </a:lnTo>
                  <a:lnTo>
                    <a:pt x="294" y="216"/>
                  </a:lnTo>
                  <a:lnTo>
                    <a:pt x="294" y="210"/>
                  </a:lnTo>
                  <a:lnTo>
                    <a:pt x="312" y="204"/>
                  </a:lnTo>
                  <a:lnTo>
                    <a:pt x="330" y="186"/>
                  </a:lnTo>
                  <a:lnTo>
                    <a:pt x="336" y="174"/>
                  </a:lnTo>
                  <a:lnTo>
                    <a:pt x="342" y="162"/>
                  </a:lnTo>
                  <a:lnTo>
                    <a:pt x="342" y="156"/>
                  </a:lnTo>
                  <a:lnTo>
                    <a:pt x="348" y="150"/>
                  </a:lnTo>
                  <a:lnTo>
                    <a:pt x="354" y="144"/>
                  </a:lnTo>
                  <a:lnTo>
                    <a:pt x="360" y="138"/>
                  </a:lnTo>
                  <a:lnTo>
                    <a:pt x="366" y="132"/>
                  </a:lnTo>
                  <a:lnTo>
                    <a:pt x="372" y="114"/>
                  </a:lnTo>
                  <a:lnTo>
                    <a:pt x="378" y="114"/>
                  </a:lnTo>
                  <a:lnTo>
                    <a:pt x="378" y="96"/>
                  </a:lnTo>
                  <a:lnTo>
                    <a:pt x="390" y="96"/>
                  </a:lnTo>
                  <a:lnTo>
                    <a:pt x="396" y="84"/>
                  </a:lnTo>
                  <a:lnTo>
                    <a:pt x="396" y="72"/>
                  </a:lnTo>
                  <a:lnTo>
                    <a:pt x="396" y="54"/>
                  </a:lnTo>
                  <a:lnTo>
                    <a:pt x="408" y="42"/>
                  </a:lnTo>
                  <a:lnTo>
                    <a:pt x="468" y="42"/>
                  </a:lnTo>
                  <a:lnTo>
                    <a:pt x="486" y="36"/>
                  </a:lnTo>
                  <a:lnTo>
                    <a:pt x="492" y="24"/>
                  </a:lnTo>
                  <a:lnTo>
                    <a:pt x="504" y="24"/>
                  </a:lnTo>
                  <a:lnTo>
                    <a:pt x="516" y="6"/>
                  </a:lnTo>
                  <a:lnTo>
                    <a:pt x="528" y="0"/>
                  </a:lnTo>
                  <a:lnTo>
                    <a:pt x="558" y="12"/>
                  </a:lnTo>
                  <a:lnTo>
                    <a:pt x="588" y="36"/>
                  </a:lnTo>
                  <a:lnTo>
                    <a:pt x="600" y="66"/>
                  </a:lnTo>
                  <a:lnTo>
                    <a:pt x="624" y="66"/>
                  </a:lnTo>
                  <a:lnTo>
                    <a:pt x="624" y="90"/>
                  </a:lnTo>
                  <a:lnTo>
                    <a:pt x="618" y="90"/>
                  </a:lnTo>
                  <a:lnTo>
                    <a:pt x="618" y="96"/>
                  </a:lnTo>
                  <a:lnTo>
                    <a:pt x="600" y="102"/>
                  </a:lnTo>
                  <a:lnTo>
                    <a:pt x="588" y="108"/>
                  </a:lnTo>
                  <a:lnTo>
                    <a:pt x="570" y="120"/>
                  </a:lnTo>
                  <a:lnTo>
                    <a:pt x="564" y="138"/>
                  </a:lnTo>
                  <a:lnTo>
                    <a:pt x="558" y="162"/>
                  </a:lnTo>
                  <a:lnTo>
                    <a:pt x="540" y="210"/>
                  </a:lnTo>
                  <a:lnTo>
                    <a:pt x="528" y="252"/>
                  </a:lnTo>
                  <a:lnTo>
                    <a:pt x="528" y="402"/>
                  </a:lnTo>
                  <a:lnTo>
                    <a:pt x="522" y="444"/>
                  </a:lnTo>
                  <a:lnTo>
                    <a:pt x="510" y="468"/>
                  </a:lnTo>
                  <a:lnTo>
                    <a:pt x="498" y="498"/>
                  </a:lnTo>
                  <a:lnTo>
                    <a:pt x="474" y="534"/>
                  </a:lnTo>
                  <a:lnTo>
                    <a:pt x="456" y="570"/>
                  </a:lnTo>
                  <a:lnTo>
                    <a:pt x="444" y="576"/>
                  </a:lnTo>
                  <a:lnTo>
                    <a:pt x="420" y="606"/>
                  </a:lnTo>
                  <a:lnTo>
                    <a:pt x="390" y="624"/>
                  </a:lnTo>
                  <a:lnTo>
                    <a:pt x="372" y="642"/>
                  </a:lnTo>
                  <a:lnTo>
                    <a:pt x="366" y="654"/>
                  </a:lnTo>
                  <a:lnTo>
                    <a:pt x="342" y="660"/>
                  </a:lnTo>
                  <a:lnTo>
                    <a:pt x="300" y="666"/>
                  </a:lnTo>
                  <a:lnTo>
                    <a:pt x="234" y="672"/>
                  </a:lnTo>
                  <a:lnTo>
                    <a:pt x="192" y="672"/>
                  </a:lnTo>
                  <a:lnTo>
                    <a:pt x="168" y="67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9" name="Freeform 14">
              <a:extLst>
                <a:ext uri="{FF2B5EF4-FFF2-40B4-BE49-F238E27FC236}">
                  <a16:creationId xmlns:a16="http://schemas.microsoft.com/office/drawing/2014/main" id="{2EA1E999-9CDF-4391-8BC9-7DE71AF9C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0460" y="2983045"/>
              <a:ext cx="905658" cy="561362"/>
            </a:xfrm>
            <a:custGeom>
              <a:avLst/>
              <a:gdLst>
                <a:gd name="T0" fmla="*/ 31 w 1704"/>
                <a:gd name="T1" fmla="*/ 78 h 1056"/>
                <a:gd name="T2" fmla="*/ 23 w 1704"/>
                <a:gd name="T3" fmla="*/ 78 h 1056"/>
                <a:gd name="T4" fmla="*/ 11 w 1704"/>
                <a:gd name="T5" fmla="*/ 79 h 1056"/>
                <a:gd name="T6" fmla="*/ 1 w 1704"/>
                <a:gd name="T7" fmla="*/ 81 h 1056"/>
                <a:gd name="T8" fmla="*/ 0 w 1704"/>
                <a:gd name="T9" fmla="*/ 62 h 1056"/>
                <a:gd name="T10" fmla="*/ 9 w 1704"/>
                <a:gd name="T11" fmla="*/ 56 h 1056"/>
                <a:gd name="T12" fmla="*/ 27 w 1704"/>
                <a:gd name="T13" fmla="*/ 48 h 1056"/>
                <a:gd name="T14" fmla="*/ 35 w 1704"/>
                <a:gd name="T15" fmla="*/ 20 h 1056"/>
                <a:gd name="T16" fmla="*/ 43 w 1704"/>
                <a:gd name="T17" fmla="*/ 6 h 1056"/>
                <a:gd name="T18" fmla="*/ 47 w 1704"/>
                <a:gd name="T19" fmla="*/ 7 h 1056"/>
                <a:gd name="T20" fmla="*/ 52 w 1704"/>
                <a:gd name="T21" fmla="*/ 0 h 1056"/>
                <a:gd name="T22" fmla="*/ 59 w 1704"/>
                <a:gd name="T23" fmla="*/ 5 h 1056"/>
                <a:gd name="T24" fmla="*/ 63 w 1704"/>
                <a:gd name="T25" fmla="*/ 12 h 1056"/>
                <a:gd name="T26" fmla="*/ 62 w 1704"/>
                <a:gd name="T27" fmla="*/ 15 h 1056"/>
                <a:gd name="T28" fmla="*/ 62 w 1704"/>
                <a:gd name="T29" fmla="*/ 18 h 1056"/>
                <a:gd name="T30" fmla="*/ 70 w 1704"/>
                <a:gd name="T31" fmla="*/ 18 h 1056"/>
                <a:gd name="T32" fmla="*/ 71 w 1704"/>
                <a:gd name="T33" fmla="*/ 14 h 1056"/>
                <a:gd name="T34" fmla="*/ 72 w 1704"/>
                <a:gd name="T35" fmla="*/ 12 h 1056"/>
                <a:gd name="T36" fmla="*/ 78 w 1704"/>
                <a:gd name="T37" fmla="*/ 14 h 1056"/>
                <a:gd name="T38" fmla="*/ 85 w 1704"/>
                <a:gd name="T39" fmla="*/ 21 h 1056"/>
                <a:gd name="T40" fmla="*/ 91 w 1704"/>
                <a:gd name="T41" fmla="*/ 15 h 1056"/>
                <a:gd name="T42" fmla="*/ 93 w 1704"/>
                <a:gd name="T43" fmla="*/ 10 h 1056"/>
                <a:gd name="T44" fmla="*/ 101 w 1704"/>
                <a:gd name="T45" fmla="*/ 14 h 1056"/>
                <a:gd name="T46" fmla="*/ 103 w 1704"/>
                <a:gd name="T47" fmla="*/ 19 h 1056"/>
                <a:gd name="T48" fmla="*/ 115 w 1704"/>
                <a:gd name="T49" fmla="*/ 20 h 1056"/>
                <a:gd name="T50" fmla="*/ 118 w 1704"/>
                <a:gd name="T51" fmla="*/ 23 h 1056"/>
                <a:gd name="T52" fmla="*/ 117 w 1704"/>
                <a:gd name="T53" fmla="*/ 27 h 1056"/>
                <a:gd name="T54" fmla="*/ 111 w 1704"/>
                <a:gd name="T55" fmla="*/ 33 h 1056"/>
                <a:gd name="T56" fmla="*/ 108 w 1704"/>
                <a:gd name="T57" fmla="*/ 36 h 1056"/>
                <a:gd name="T58" fmla="*/ 109 w 1704"/>
                <a:gd name="T59" fmla="*/ 40 h 1056"/>
                <a:gd name="T60" fmla="*/ 111 w 1704"/>
                <a:gd name="T61" fmla="*/ 43 h 1056"/>
                <a:gd name="T62" fmla="*/ 113 w 1704"/>
                <a:gd name="T63" fmla="*/ 50 h 1056"/>
                <a:gd name="T64" fmla="*/ 121 w 1704"/>
                <a:gd name="T65" fmla="*/ 55 h 1056"/>
                <a:gd name="T66" fmla="*/ 132 w 1704"/>
                <a:gd name="T67" fmla="*/ 52 h 1056"/>
                <a:gd name="T68" fmla="*/ 148 w 1704"/>
                <a:gd name="T69" fmla="*/ 58 h 1056"/>
                <a:gd name="T70" fmla="*/ 148 w 1704"/>
                <a:gd name="T71" fmla="*/ 61 h 1056"/>
                <a:gd name="T72" fmla="*/ 148 w 1704"/>
                <a:gd name="T73" fmla="*/ 64 h 1056"/>
                <a:gd name="T74" fmla="*/ 135 w 1704"/>
                <a:gd name="T75" fmla="*/ 61 h 1056"/>
                <a:gd name="T76" fmla="*/ 135 w 1704"/>
                <a:gd name="T77" fmla="*/ 66 h 1056"/>
                <a:gd name="T78" fmla="*/ 137 w 1704"/>
                <a:gd name="T79" fmla="*/ 71 h 1056"/>
                <a:gd name="T80" fmla="*/ 136 w 1704"/>
                <a:gd name="T81" fmla="*/ 79 h 1056"/>
                <a:gd name="T82" fmla="*/ 126 w 1704"/>
                <a:gd name="T83" fmla="*/ 84 h 1056"/>
                <a:gd name="T84" fmla="*/ 121 w 1704"/>
                <a:gd name="T85" fmla="*/ 79 h 1056"/>
                <a:gd name="T86" fmla="*/ 117 w 1704"/>
                <a:gd name="T87" fmla="*/ 75 h 1056"/>
                <a:gd name="T88" fmla="*/ 98 w 1704"/>
                <a:gd name="T89" fmla="*/ 74 h 1056"/>
                <a:gd name="T90" fmla="*/ 81 w 1704"/>
                <a:gd name="T91" fmla="*/ 75 h 1056"/>
                <a:gd name="T92" fmla="*/ 83 w 1704"/>
                <a:gd name="T93" fmla="*/ 88 h 1056"/>
                <a:gd name="T94" fmla="*/ 82 w 1704"/>
                <a:gd name="T95" fmla="*/ 91 h 1056"/>
                <a:gd name="T96" fmla="*/ 77 w 1704"/>
                <a:gd name="T97" fmla="*/ 90 h 1056"/>
                <a:gd name="T98" fmla="*/ 73 w 1704"/>
                <a:gd name="T99" fmla="*/ 86 h 1056"/>
                <a:gd name="T100" fmla="*/ 68 w 1704"/>
                <a:gd name="T101" fmla="*/ 85 h 1056"/>
                <a:gd name="T102" fmla="*/ 64 w 1704"/>
                <a:gd name="T103" fmla="*/ 83 h 1056"/>
                <a:gd name="T104" fmla="*/ 57 w 1704"/>
                <a:gd name="T105" fmla="*/ 81 h 1056"/>
                <a:gd name="T106" fmla="*/ 52 w 1704"/>
                <a:gd name="T107" fmla="*/ 80 h 1056"/>
                <a:gd name="T108" fmla="*/ 50 w 1704"/>
                <a:gd name="T109" fmla="*/ 80 h 1056"/>
                <a:gd name="T110" fmla="*/ 46 w 1704"/>
                <a:gd name="T111" fmla="*/ 79 h 1056"/>
                <a:gd name="T112" fmla="*/ 41 w 1704"/>
                <a:gd name="T113" fmla="*/ 78 h 10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04"/>
                <a:gd name="T172" fmla="*/ 0 h 1056"/>
                <a:gd name="T173" fmla="*/ 1704 w 1704"/>
                <a:gd name="T174" fmla="*/ 1056 h 10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04" h="1056">
                  <a:moveTo>
                    <a:pt x="450" y="888"/>
                  </a:moveTo>
                  <a:lnTo>
                    <a:pt x="420" y="888"/>
                  </a:lnTo>
                  <a:lnTo>
                    <a:pt x="414" y="888"/>
                  </a:lnTo>
                  <a:lnTo>
                    <a:pt x="396" y="888"/>
                  </a:lnTo>
                  <a:lnTo>
                    <a:pt x="372" y="888"/>
                  </a:lnTo>
                  <a:lnTo>
                    <a:pt x="366" y="888"/>
                  </a:lnTo>
                  <a:lnTo>
                    <a:pt x="360" y="888"/>
                  </a:lnTo>
                  <a:lnTo>
                    <a:pt x="348" y="888"/>
                  </a:lnTo>
                  <a:lnTo>
                    <a:pt x="330" y="894"/>
                  </a:lnTo>
                  <a:lnTo>
                    <a:pt x="324" y="894"/>
                  </a:lnTo>
                  <a:lnTo>
                    <a:pt x="312" y="888"/>
                  </a:lnTo>
                  <a:lnTo>
                    <a:pt x="300" y="888"/>
                  </a:lnTo>
                  <a:lnTo>
                    <a:pt x="282" y="888"/>
                  </a:lnTo>
                  <a:lnTo>
                    <a:pt x="270" y="888"/>
                  </a:lnTo>
                  <a:lnTo>
                    <a:pt x="240" y="882"/>
                  </a:lnTo>
                  <a:lnTo>
                    <a:pt x="222" y="882"/>
                  </a:lnTo>
                  <a:lnTo>
                    <a:pt x="198" y="882"/>
                  </a:lnTo>
                  <a:lnTo>
                    <a:pt x="174" y="894"/>
                  </a:lnTo>
                  <a:lnTo>
                    <a:pt x="162" y="900"/>
                  </a:lnTo>
                  <a:lnTo>
                    <a:pt x="144" y="906"/>
                  </a:lnTo>
                  <a:lnTo>
                    <a:pt x="126" y="912"/>
                  </a:lnTo>
                  <a:lnTo>
                    <a:pt x="102" y="924"/>
                  </a:lnTo>
                  <a:lnTo>
                    <a:pt x="78" y="930"/>
                  </a:lnTo>
                  <a:lnTo>
                    <a:pt x="72" y="936"/>
                  </a:lnTo>
                  <a:lnTo>
                    <a:pt x="30" y="954"/>
                  </a:lnTo>
                  <a:lnTo>
                    <a:pt x="12" y="966"/>
                  </a:lnTo>
                  <a:lnTo>
                    <a:pt x="12" y="954"/>
                  </a:lnTo>
                  <a:lnTo>
                    <a:pt x="12" y="930"/>
                  </a:lnTo>
                  <a:lnTo>
                    <a:pt x="12" y="894"/>
                  </a:lnTo>
                  <a:lnTo>
                    <a:pt x="30" y="828"/>
                  </a:lnTo>
                  <a:lnTo>
                    <a:pt x="36" y="798"/>
                  </a:lnTo>
                  <a:lnTo>
                    <a:pt x="18" y="774"/>
                  </a:lnTo>
                  <a:lnTo>
                    <a:pt x="18" y="756"/>
                  </a:lnTo>
                  <a:lnTo>
                    <a:pt x="6" y="738"/>
                  </a:lnTo>
                  <a:lnTo>
                    <a:pt x="0" y="714"/>
                  </a:lnTo>
                  <a:lnTo>
                    <a:pt x="12" y="678"/>
                  </a:lnTo>
                  <a:lnTo>
                    <a:pt x="18" y="678"/>
                  </a:lnTo>
                  <a:lnTo>
                    <a:pt x="24" y="672"/>
                  </a:lnTo>
                  <a:lnTo>
                    <a:pt x="30" y="666"/>
                  </a:lnTo>
                  <a:lnTo>
                    <a:pt x="42" y="648"/>
                  </a:lnTo>
                  <a:lnTo>
                    <a:pt x="66" y="648"/>
                  </a:lnTo>
                  <a:lnTo>
                    <a:pt x="108" y="648"/>
                  </a:lnTo>
                  <a:lnTo>
                    <a:pt x="174" y="642"/>
                  </a:lnTo>
                  <a:lnTo>
                    <a:pt x="216" y="636"/>
                  </a:lnTo>
                  <a:lnTo>
                    <a:pt x="240" y="630"/>
                  </a:lnTo>
                  <a:lnTo>
                    <a:pt x="246" y="618"/>
                  </a:lnTo>
                  <a:lnTo>
                    <a:pt x="264" y="600"/>
                  </a:lnTo>
                  <a:lnTo>
                    <a:pt x="294" y="582"/>
                  </a:lnTo>
                  <a:lnTo>
                    <a:pt x="318" y="552"/>
                  </a:lnTo>
                  <a:lnTo>
                    <a:pt x="330" y="546"/>
                  </a:lnTo>
                  <a:lnTo>
                    <a:pt x="348" y="510"/>
                  </a:lnTo>
                  <a:lnTo>
                    <a:pt x="372" y="474"/>
                  </a:lnTo>
                  <a:lnTo>
                    <a:pt x="384" y="444"/>
                  </a:lnTo>
                  <a:lnTo>
                    <a:pt x="396" y="420"/>
                  </a:lnTo>
                  <a:lnTo>
                    <a:pt x="402" y="378"/>
                  </a:lnTo>
                  <a:lnTo>
                    <a:pt x="402" y="228"/>
                  </a:lnTo>
                  <a:lnTo>
                    <a:pt x="414" y="186"/>
                  </a:lnTo>
                  <a:lnTo>
                    <a:pt x="432" y="138"/>
                  </a:lnTo>
                  <a:lnTo>
                    <a:pt x="438" y="114"/>
                  </a:lnTo>
                  <a:lnTo>
                    <a:pt x="444" y="96"/>
                  </a:lnTo>
                  <a:lnTo>
                    <a:pt x="462" y="84"/>
                  </a:lnTo>
                  <a:lnTo>
                    <a:pt x="474" y="78"/>
                  </a:lnTo>
                  <a:lnTo>
                    <a:pt x="492" y="72"/>
                  </a:lnTo>
                  <a:lnTo>
                    <a:pt x="492" y="66"/>
                  </a:lnTo>
                  <a:lnTo>
                    <a:pt x="498" y="66"/>
                  </a:lnTo>
                  <a:lnTo>
                    <a:pt x="510" y="66"/>
                  </a:lnTo>
                  <a:lnTo>
                    <a:pt x="510" y="72"/>
                  </a:lnTo>
                  <a:lnTo>
                    <a:pt x="516" y="72"/>
                  </a:lnTo>
                  <a:lnTo>
                    <a:pt x="522" y="78"/>
                  </a:lnTo>
                  <a:lnTo>
                    <a:pt x="546" y="78"/>
                  </a:lnTo>
                  <a:lnTo>
                    <a:pt x="552" y="60"/>
                  </a:lnTo>
                  <a:lnTo>
                    <a:pt x="570" y="42"/>
                  </a:lnTo>
                  <a:lnTo>
                    <a:pt x="576" y="24"/>
                  </a:lnTo>
                  <a:lnTo>
                    <a:pt x="588" y="18"/>
                  </a:lnTo>
                  <a:lnTo>
                    <a:pt x="588" y="12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624" y="0"/>
                  </a:lnTo>
                  <a:lnTo>
                    <a:pt x="636" y="6"/>
                  </a:lnTo>
                  <a:lnTo>
                    <a:pt x="648" y="24"/>
                  </a:lnTo>
                  <a:lnTo>
                    <a:pt x="654" y="48"/>
                  </a:lnTo>
                  <a:lnTo>
                    <a:pt x="672" y="60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0" y="72"/>
                  </a:lnTo>
                  <a:lnTo>
                    <a:pt x="690" y="78"/>
                  </a:lnTo>
                  <a:lnTo>
                    <a:pt x="696" y="90"/>
                  </a:lnTo>
                  <a:lnTo>
                    <a:pt x="714" y="114"/>
                  </a:lnTo>
                  <a:lnTo>
                    <a:pt x="714" y="120"/>
                  </a:lnTo>
                  <a:lnTo>
                    <a:pt x="720" y="132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20" y="150"/>
                  </a:lnTo>
                  <a:lnTo>
                    <a:pt x="714" y="150"/>
                  </a:lnTo>
                  <a:lnTo>
                    <a:pt x="714" y="156"/>
                  </a:lnTo>
                  <a:lnTo>
                    <a:pt x="714" y="162"/>
                  </a:lnTo>
                  <a:lnTo>
                    <a:pt x="708" y="162"/>
                  </a:lnTo>
                  <a:lnTo>
                    <a:pt x="708" y="168"/>
                  </a:lnTo>
                  <a:lnTo>
                    <a:pt x="702" y="168"/>
                  </a:lnTo>
                  <a:lnTo>
                    <a:pt x="702" y="174"/>
                  </a:lnTo>
                  <a:lnTo>
                    <a:pt x="702" y="180"/>
                  </a:lnTo>
                  <a:lnTo>
                    <a:pt x="708" y="180"/>
                  </a:lnTo>
                  <a:lnTo>
                    <a:pt x="708" y="186"/>
                  </a:lnTo>
                  <a:lnTo>
                    <a:pt x="708" y="192"/>
                  </a:lnTo>
                  <a:lnTo>
                    <a:pt x="714" y="204"/>
                  </a:lnTo>
                  <a:lnTo>
                    <a:pt x="726" y="216"/>
                  </a:lnTo>
                  <a:lnTo>
                    <a:pt x="738" y="216"/>
                  </a:lnTo>
                  <a:lnTo>
                    <a:pt x="768" y="222"/>
                  </a:lnTo>
                  <a:lnTo>
                    <a:pt x="780" y="216"/>
                  </a:lnTo>
                  <a:lnTo>
                    <a:pt x="792" y="204"/>
                  </a:lnTo>
                  <a:lnTo>
                    <a:pt x="798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6" y="192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6" y="174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22" y="156"/>
                  </a:lnTo>
                  <a:lnTo>
                    <a:pt x="822" y="150"/>
                  </a:lnTo>
                  <a:lnTo>
                    <a:pt x="828" y="144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8" y="138"/>
                  </a:lnTo>
                  <a:lnTo>
                    <a:pt x="834" y="132"/>
                  </a:lnTo>
                  <a:lnTo>
                    <a:pt x="840" y="132"/>
                  </a:lnTo>
                  <a:lnTo>
                    <a:pt x="864" y="126"/>
                  </a:lnTo>
                  <a:lnTo>
                    <a:pt x="906" y="144"/>
                  </a:lnTo>
                  <a:lnTo>
                    <a:pt x="906" y="150"/>
                  </a:lnTo>
                  <a:lnTo>
                    <a:pt x="906" y="156"/>
                  </a:lnTo>
                  <a:lnTo>
                    <a:pt x="900" y="162"/>
                  </a:lnTo>
                  <a:lnTo>
                    <a:pt x="924" y="168"/>
                  </a:lnTo>
                  <a:lnTo>
                    <a:pt x="942" y="192"/>
                  </a:lnTo>
                  <a:lnTo>
                    <a:pt x="972" y="210"/>
                  </a:lnTo>
                  <a:lnTo>
                    <a:pt x="972" y="216"/>
                  </a:lnTo>
                  <a:lnTo>
                    <a:pt x="972" y="228"/>
                  </a:lnTo>
                  <a:lnTo>
                    <a:pt x="978" y="234"/>
                  </a:lnTo>
                  <a:lnTo>
                    <a:pt x="978" y="246"/>
                  </a:lnTo>
                  <a:lnTo>
                    <a:pt x="984" y="252"/>
                  </a:lnTo>
                  <a:lnTo>
                    <a:pt x="1014" y="252"/>
                  </a:lnTo>
                  <a:lnTo>
                    <a:pt x="1020" y="228"/>
                  </a:lnTo>
                  <a:lnTo>
                    <a:pt x="1026" y="198"/>
                  </a:lnTo>
                  <a:lnTo>
                    <a:pt x="1050" y="186"/>
                  </a:lnTo>
                  <a:lnTo>
                    <a:pt x="1056" y="180"/>
                  </a:lnTo>
                  <a:lnTo>
                    <a:pt x="1050" y="174"/>
                  </a:lnTo>
                  <a:lnTo>
                    <a:pt x="1050" y="168"/>
                  </a:lnTo>
                  <a:lnTo>
                    <a:pt x="1050" y="162"/>
                  </a:lnTo>
                  <a:lnTo>
                    <a:pt x="1056" y="162"/>
                  </a:lnTo>
                  <a:lnTo>
                    <a:pt x="1062" y="162"/>
                  </a:lnTo>
                  <a:lnTo>
                    <a:pt x="1074" y="162"/>
                  </a:lnTo>
                  <a:lnTo>
                    <a:pt x="1074" y="144"/>
                  </a:lnTo>
                  <a:lnTo>
                    <a:pt x="1074" y="120"/>
                  </a:lnTo>
                  <a:lnTo>
                    <a:pt x="1092" y="120"/>
                  </a:lnTo>
                  <a:lnTo>
                    <a:pt x="1098" y="126"/>
                  </a:lnTo>
                  <a:lnTo>
                    <a:pt x="1134" y="132"/>
                  </a:lnTo>
                  <a:lnTo>
                    <a:pt x="1146" y="132"/>
                  </a:lnTo>
                  <a:lnTo>
                    <a:pt x="1158" y="150"/>
                  </a:lnTo>
                  <a:lnTo>
                    <a:pt x="1158" y="156"/>
                  </a:lnTo>
                  <a:lnTo>
                    <a:pt x="1158" y="162"/>
                  </a:lnTo>
                  <a:lnTo>
                    <a:pt x="1158" y="180"/>
                  </a:lnTo>
                  <a:lnTo>
                    <a:pt x="1158" y="186"/>
                  </a:lnTo>
                  <a:lnTo>
                    <a:pt x="1164" y="192"/>
                  </a:lnTo>
                  <a:lnTo>
                    <a:pt x="1176" y="198"/>
                  </a:lnTo>
                  <a:lnTo>
                    <a:pt x="1182" y="198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8"/>
                  </a:lnTo>
                  <a:lnTo>
                    <a:pt x="1188" y="234"/>
                  </a:lnTo>
                  <a:lnTo>
                    <a:pt x="1212" y="234"/>
                  </a:lnTo>
                  <a:lnTo>
                    <a:pt x="1242" y="234"/>
                  </a:lnTo>
                  <a:lnTo>
                    <a:pt x="1248" y="234"/>
                  </a:lnTo>
                  <a:lnTo>
                    <a:pt x="1278" y="240"/>
                  </a:lnTo>
                  <a:lnTo>
                    <a:pt x="1320" y="234"/>
                  </a:lnTo>
                  <a:lnTo>
                    <a:pt x="1332" y="228"/>
                  </a:lnTo>
                  <a:lnTo>
                    <a:pt x="1344" y="228"/>
                  </a:lnTo>
                  <a:lnTo>
                    <a:pt x="1350" y="234"/>
                  </a:lnTo>
                  <a:lnTo>
                    <a:pt x="1350" y="240"/>
                  </a:lnTo>
                  <a:lnTo>
                    <a:pt x="1356" y="246"/>
                  </a:lnTo>
                  <a:lnTo>
                    <a:pt x="1350" y="252"/>
                  </a:lnTo>
                  <a:lnTo>
                    <a:pt x="1356" y="264"/>
                  </a:lnTo>
                  <a:lnTo>
                    <a:pt x="1356" y="270"/>
                  </a:lnTo>
                  <a:lnTo>
                    <a:pt x="1356" y="276"/>
                  </a:lnTo>
                  <a:lnTo>
                    <a:pt x="1356" y="282"/>
                  </a:lnTo>
                  <a:lnTo>
                    <a:pt x="1356" y="288"/>
                  </a:lnTo>
                  <a:lnTo>
                    <a:pt x="1350" y="294"/>
                  </a:lnTo>
                  <a:lnTo>
                    <a:pt x="1344" y="300"/>
                  </a:lnTo>
                  <a:lnTo>
                    <a:pt x="1344" y="306"/>
                  </a:lnTo>
                  <a:lnTo>
                    <a:pt x="1338" y="312"/>
                  </a:lnTo>
                  <a:lnTo>
                    <a:pt x="1326" y="342"/>
                  </a:lnTo>
                  <a:lnTo>
                    <a:pt x="1320" y="348"/>
                  </a:lnTo>
                  <a:lnTo>
                    <a:pt x="1314" y="354"/>
                  </a:lnTo>
                  <a:lnTo>
                    <a:pt x="1290" y="354"/>
                  </a:lnTo>
                  <a:lnTo>
                    <a:pt x="1284" y="360"/>
                  </a:lnTo>
                  <a:lnTo>
                    <a:pt x="1278" y="378"/>
                  </a:lnTo>
                  <a:lnTo>
                    <a:pt x="1278" y="384"/>
                  </a:lnTo>
                  <a:lnTo>
                    <a:pt x="1272" y="390"/>
                  </a:lnTo>
                  <a:lnTo>
                    <a:pt x="1266" y="396"/>
                  </a:lnTo>
                  <a:lnTo>
                    <a:pt x="1260" y="396"/>
                  </a:lnTo>
                  <a:lnTo>
                    <a:pt x="1248" y="402"/>
                  </a:lnTo>
                  <a:lnTo>
                    <a:pt x="1242" y="408"/>
                  </a:lnTo>
                  <a:lnTo>
                    <a:pt x="1242" y="414"/>
                  </a:lnTo>
                  <a:lnTo>
                    <a:pt x="1242" y="420"/>
                  </a:lnTo>
                  <a:lnTo>
                    <a:pt x="1236" y="432"/>
                  </a:lnTo>
                  <a:lnTo>
                    <a:pt x="1242" y="432"/>
                  </a:lnTo>
                  <a:lnTo>
                    <a:pt x="1242" y="444"/>
                  </a:lnTo>
                  <a:lnTo>
                    <a:pt x="1242" y="456"/>
                  </a:lnTo>
                  <a:lnTo>
                    <a:pt x="1248" y="456"/>
                  </a:lnTo>
                  <a:lnTo>
                    <a:pt x="1254" y="462"/>
                  </a:lnTo>
                  <a:lnTo>
                    <a:pt x="1248" y="468"/>
                  </a:lnTo>
                  <a:lnTo>
                    <a:pt x="1254" y="468"/>
                  </a:lnTo>
                  <a:lnTo>
                    <a:pt x="1266" y="474"/>
                  </a:lnTo>
                  <a:lnTo>
                    <a:pt x="1266" y="480"/>
                  </a:lnTo>
                  <a:lnTo>
                    <a:pt x="1266" y="486"/>
                  </a:lnTo>
                  <a:lnTo>
                    <a:pt x="1272" y="486"/>
                  </a:lnTo>
                  <a:lnTo>
                    <a:pt x="1272" y="492"/>
                  </a:lnTo>
                  <a:lnTo>
                    <a:pt x="1290" y="510"/>
                  </a:lnTo>
                  <a:lnTo>
                    <a:pt x="1296" y="516"/>
                  </a:lnTo>
                  <a:lnTo>
                    <a:pt x="1302" y="540"/>
                  </a:lnTo>
                  <a:lnTo>
                    <a:pt x="1302" y="546"/>
                  </a:lnTo>
                  <a:lnTo>
                    <a:pt x="1302" y="558"/>
                  </a:lnTo>
                  <a:lnTo>
                    <a:pt x="1302" y="570"/>
                  </a:lnTo>
                  <a:lnTo>
                    <a:pt x="1302" y="576"/>
                  </a:lnTo>
                  <a:lnTo>
                    <a:pt x="1344" y="570"/>
                  </a:lnTo>
                  <a:lnTo>
                    <a:pt x="1350" y="582"/>
                  </a:lnTo>
                  <a:lnTo>
                    <a:pt x="1368" y="594"/>
                  </a:lnTo>
                  <a:lnTo>
                    <a:pt x="1374" y="600"/>
                  </a:lnTo>
                  <a:lnTo>
                    <a:pt x="1380" y="600"/>
                  </a:lnTo>
                  <a:lnTo>
                    <a:pt x="1380" y="618"/>
                  </a:lnTo>
                  <a:lnTo>
                    <a:pt x="1386" y="624"/>
                  </a:lnTo>
                  <a:lnTo>
                    <a:pt x="1404" y="624"/>
                  </a:lnTo>
                  <a:lnTo>
                    <a:pt x="1410" y="612"/>
                  </a:lnTo>
                  <a:lnTo>
                    <a:pt x="1428" y="606"/>
                  </a:lnTo>
                  <a:lnTo>
                    <a:pt x="1488" y="606"/>
                  </a:lnTo>
                  <a:lnTo>
                    <a:pt x="1506" y="606"/>
                  </a:lnTo>
                  <a:lnTo>
                    <a:pt x="1512" y="600"/>
                  </a:lnTo>
                  <a:lnTo>
                    <a:pt x="1524" y="594"/>
                  </a:lnTo>
                  <a:lnTo>
                    <a:pt x="1554" y="594"/>
                  </a:lnTo>
                  <a:lnTo>
                    <a:pt x="1578" y="606"/>
                  </a:lnTo>
                  <a:lnTo>
                    <a:pt x="1596" y="624"/>
                  </a:lnTo>
                  <a:lnTo>
                    <a:pt x="1650" y="642"/>
                  </a:lnTo>
                  <a:lnTo>
                    <a:pt x="1686" y="648"/>
                  </a:lnTo>
                  <a:lnTo>
                    <a:pt x="1698" y="654"/>
                  </a:lnTo>
                  <a:lnTo>
                    <a:pt x="1698" y="660"/>
                  </a:lnTo>
                  <a:lnTo>
                    <a:pt x="1692" y="666"/>
                  </a:lnTo>
                  <a:lnTo>
                    <a:pt x="1692" y="672"/>
                  </a:lnTo>
                  <a:lnTo>
                    <a:pt x="1698" y="678"/>
                  </a:lnTo>
                  <a:lnTo>
                    <a:pt x="1698" y="684"/>
                  </a:lnTo>
                  <a:lnTo>
                    <a:pt x="1692" y="684"/>
                  </a:lnTo>
                  <a:lnTo>
                    <a:pt x="1692" y="690"/>
                  </a:lnTo>
                  <a:lnTo>
                    <a:pt x="1698" y="696"/>
                  </a:lnTo>
                  <a:lnTo>
                    <a:pt x="1698" y="702"/>
                  </a:lnTo>
                  <a:lnTo>
                    <a:pt x="1698" y="708"/>
                  </a:lnTo>
                  <a:lnTo>
                    <a:pt x="1704" y="714"/>
                  </a:lnTo>
                  <a:lnTo>
                    <a:pt x="1704" y="720"/>
                  </a:lnTo>
                  <a:lnTo>
                    <a:pt x="1704" y="726"/>
                  </a:lnTo>
                  <a:lnTo>
                    <a:pt x="1704" y="732"/>
                  </a:lnTo>
                  <a:lnTo>
                    <a:pt x="1704" y="738"/>
                  </a:lnTo>
                  <a:lnTo>
                    <a:pt x="1698" y="726"/>
                  </a:lnTo>
                  <a:lnTo>
                    <a:pt x="1668" y="720"/>
                  </a:lnTo>
                  <a:lnTo>
                    <a:pt x="1626" y="714"/>
                  </a:lnTo>
                  <a:lnTo>
                    <a:pt x="1614" y="708"/>
                  </a:lnTo>
                  <a:lnTo>
                    <a:pt x="1578" y="696"/>
                  </a:lnTo>
                  <a:lnTo>
                    <a:pt x="1566" y="696"/>
                  </a:lnTo>
                  <a:lnTo>
                    <a:pt x="1548" y="702"/>
                  </a:lnTo>
                  <a:lnTo>
                    <a:pt x="1542" y="714"/>
                  </a:lnTo>
                  <a:lnTo>
                    <a:pt x="1536" y="732"/>
                  </a:lnTo>
                  <a:lnTo>
                    <a:pt x="1530" y="750"/>
                  </a:lnTo>
                  <a:lnTo>
                    <a:pt x="1536" y="750"/>
                  </a:lnTo>
                  <a:lnTo>
                    <a:pt x="1542" y="756"/>
                  </a:lnTo>
                  <a:lnTo>
                    <a:pt x="1542" y="762"/>
                  </a:lnTo>
                  <a:lnTo>
                    <a:pt x="1548" y="762"/>
                  </a:lnTo>
                  <a:lnTo>
                    <a:pt x="1554" y="762"/>
                  </a:lnTo>
                  <a:lnTo>
                    <a:pt x="1554" y="768"/>
                  </a:lnTo>
                  <a:lnTo>
                    <a:pt x="1560" y="774"/>
                  </a:lnTo>
                  <a:lnTo>
                    <a:pt x="1566" y="774"/>
                  </a:lnTo>
                  <a:lnTo>
                    <a:pt x="1584" y="792"/>
                  </a:lnTo>
                  <a:lnTo>
                    <a:pt x="1584" y="810"/>
                  </a:lnTo>
                  <a:lnTo>
                    <a:pt x="1572" y="816"/>
                  </a:lnTo>
                  <a:lnTo>
                    <a:pt x="1578" y="834"/>
                  </a:lnTo>
                  <a:lnTo>
                    <a:pt x="1578" y="846"/>
                  </a:lnTo>
                  <a:lnTo>
                    <a:pt x="1584" y="858"/>
                  </a:lnTo>
                  <a:lnTo>
                    <a:pt x="1590" y="864"/>
                  </a:lnTo>
                  <a:lnTo>
                    <a:pt x="1590" y="876"/>
                  </a:lnTo>
                  <a:lnTo>
                    <a:pt x="1578" y="888"/>
                  </a:lnTo>
                  <a:lnTo>
                    <a:pt x="1560" y="906"/>
                  </a:lnTo>
                  <a:lnTo>
                    <a:pt x="1536" y="930"/>
                  </a:lnTo>
                  <a:lnTo>
                    <a:pt x="1530" y="930"/>
                  </a:lnTo>
                  <a:lnTo>
                    <a:pt x="1506" y="942"/>
                  </a:lnTo>
                  <a:lnTo>
                    <a:pt x="1488" y="948"/>
                  </a:lnTo>
                  <a:lnTo>
                    <a:pt x="1476" y="954"/>
                  </a:lnTo>
                  <a:lnTo>
                    <a:pt x="1458" y="960"/>
                  </a:lnTo>
                  <a:lnTo>
                    <a:pt x="1452" y="966"/>
                  </a:lnTo>
                  <a:lnTo>
                    <a:pt x="1446" y="966"/>
                  </a:lnTo>
                  <a:lnTo>
                    <a:pt x="1434" y="972"/>
                  </a:lnTo>
                  <a:lnTo>
                    <a:pt x="1434" y="954"/>
                  </a:lnTo>
                  <a:lnTo>
                    <a:pt x="1422" y="942"/>
                  </a:lnTo>
                  <a:lnTo>
                    <a:pt x="1398" y="924"/>
                  </a:lnTo>
                  <a:lnTo>
                    <a:pt x="1398" y="912"/>
                  </a:lnTo>
                  <a:lnTo>
                    <a:pt x="1398" y="906"/>
                  </a:lnTo>
                  <a:lnTo>
                    <a:pt x="1398" y="900"/>
                  </a:lnTo>
                  <a:lnTo>
                    <a:pt x="1380" y="900"/>
                  </a:lnTo>
                  <a:lnTo>
                    <a:pt x="1380" y="894"/>
                  </a:lnTo>
                  <a:lnTo>
                    <a:pt x="1368" y="888"/>
                  </a:lnTo>
                  <a:lnTo>
                    <a:pt x="1362" y="882"/>
                  </a:lnTo>
                  <a:lnTo>
                    <a:pt x="1356" y="876"/>
                  </a:lnTo>
                  <a:lnTo>
                    <a:pt x="1350" y="864"/>
                  </a:lnTo>
                  <a:lnTo>
                    <a:pt x="1344" y="858"/>
                  </a:lnTo>
                  <a:lnTo>
                    <a:pt x="1314" y="870"/>
                  </a:lnTo>
                  <a:lnTo>
                    <a:pt x="1272" y="876"/>
                  </a:lnTo>
                  <a:lnTo>
                    <a:pt x="1218" y="870"/>
                  </a:lnTo>
                  <a:lnTo>
                    <a:pt x="1200" y="864"/>
                  </a:lnTo>
                  <a:lnTo>
                    <a:pt x="1182" y="864"/>
                  </a:lnTo>
                  <a:lnTo>
                    <a:pt x="1134" y="858"/>
                  </a:lnTo>
                  <a:lnTo>
                    <a:pt x="1110" y="840"/>
                  </a:lnTo>
                  <a:lnTo>
                    <a:pt x="1086" y="828"/>
                  </a:lnTo>
                  <a:lnTo>
                    <a:pt x="1044" y="816"/>
                  </a:lnTo>
                  <a:lnTo>
                    <a:pt x="1014" y="816"/>
                  </a:lnTo>
                  <a:lnTo>
                    <a:pt x="990" y="822"/>
                  </a:lnTo>
                  <a:lnTo>
                    <a:pt x="948" y="858"/>
                  </a:lnTo>
                  <a:lnTo>
                    <a:pt x="930" y="864"/>
                  </a:lnTo>
                  <a:lnTo>
                    <a:pt x="924" y="876"/>
                  </a:lnTo>
                  <a:lnTo>
                    <a:pt x="918" y="906"/>
                  </a:lnTo>
                  <a:lnTo>
                    <a:pt x="924" y="930"/>
                  </a:lnTo>
                  <a:lnTo>
                    <a:pt x="948" y="984"/>
                  </a:lnTo>
                  <a:lnTo>
                    <a:pt x="954" y="1008"/>
                  </a:lnTo>
                  <a:lnTo>
                    <a:pt x="948" y="1014"/>
                  </a:lnTo>
                  <a:lnTo>
                    <a:pt x="954" y="1014"/>
                  </a:lnTo>
                  <a:lnTo>
                    <a:pt x="954" y="1032"/>
                  </a:lnTo>
                  <a:lnTo>
                    <a:pt x="966" y="1044"/>
                  </a:lnTo>
                  <a:lnTo>
                    <a:pt x="960" y="1056"/>
                  </a:lnTo>
                  <a:lnTo>
                    <a:pt x="954" y="1056"/>
                  </a:lnTo>
                  <a:lnTo>
                    <a:pt x="948" y="1056"/>
                  </a:lnTo>
                  <a:lnTo>
                    <a:pt x="942" y="1056"/>
                  </a:lnTo>
                  <a:lnTo>
                    <a:pt x="936" y="1050"/>
                  </a:lnTo>
                  <a:lnTo>
                    <a:pt x="930" y="1044"/>
                  </a:lnTo>
                  <a:lnTo>
                    <a:pt x="924" y="1044"/>
                  </a:lnTo>
                  <a:lnTo>
                    <a:pt x="918" y="1038"/>
                  </a:lnTo>
                  <a:lnTo>
                    <a:pt x="912" y="1038"/>
                  </a:lnTo>
                  <a:lnTo>
                    <a:pt x="906" y="1032"/>
                  </a:lnTo>
                  <a:lnTo>
                    <a:pt x="900" y="1032"/>
                  </a:lnTo>
                  <a:lnTo>
                    <a:pt x="888" y="1026"/>
                  </a:lnTo>
                  <a:lnTo>
                    <a:pt x="882" y="1026"/>
                  </a:lnTo>
                  <a:lnTo>
                    <a:pt x="876" y="1026"/>
                  </a:lnTo>
                  <a:lnTo>
                    <a:pt x="864" y="1014"/>
                  </a:lnTo>
                  <a:lnTo>
                    <a:pt x="846" y="1008"/>
                  </a:lnTo>
                  <a:lnTo>
                    <a:pt x="840" y="996"/>
                  </a:lnTo>
                  <a:lnTo>
                    <a:pt x="840" y="990"/>
                  </a:lnTo>
                  <a:lnTo>
                    <a:pt x="834" y="990"/>
                  </a:lnTo>
                  <a:lnTo>
                    <a:pt x="828" y="990"/>
                  </a:lnTo>
                  <a:lnTo>
                    <a:pt x="816" y="990"/>
                  </a:lnTo>
                  <a:lnTo>
                    <a:pt x="810" y="990"/>
                  </a:lnTo>
                  <a:lnTo>
                    <a:pt x="804" y="984"/>
                  </a:lnTo>
                  <a:lnTo>
                    <a:pt x="792" y="978"/>
                  </a:lnTo>
                  <a:lnTo>
                    <a:pt x="786" y="972"/>
                  </a:lnTo>
                  <a:lnTo>
                    <a:pt x="780" y="972"/>
                  </a:lnTo>
                  <a:lnTo>
                    <a:pt x="768" y="966"/>
                  </a:lnTo>
                  <a:lnTo>
                    <a:pt x="762" y="966"/>
                  </a:lnTo>
                  <a:lnTo>
                    <a:pt x="756" y="966"/>
                  </a:lnTo>
                  <a:lnTo>
                    <a:pt x="750" y="966"/>
                  </a:lnTo>
                  <a:lnTo>
                    <a:pt x="744" y="966"/>
                  </a:lnTo>
                  <a:lnTo>
                    <a:pt x="738" y="960"/>
                  </a:lnTo>
                  <a:lnTo>
                    <a:pt x="732" y="954"/>
                  </a:lnTo>
                  <a:lnTo>
                    <a:pt x="720" y="954"/>
                  </a:lnTo>
                  <a:lnTo>
                    <a:pt x="714" y="948"/>
                  </a:lnTo>
                  <a:lnTo>
                    <a:pt x="708" y="948"/>
                  </a:lnTo>
                  <a:lnTo>
                    <a:pt x="696" y="948"/>
                  </a:lnTo>
                  <a:lnTo>
                    <a:pt x="684" y="942"/>
                  </a:lnTo>
                  <a:lnTo>
                    <a:pt x="678" y="936"/>
                  </a:lnTo>
                  <a:lnTo>
                    <a:pt x="660" y="930"/>
                  </a:lnTo>
                  <a:lnTo>
                    <a:pt x="642" y="924"/>
                  </a:lnTo>
                  <a:lnTo>
                    <a:pt x="636" y="924"/>
                  </a:lnTo>
                  <a:lnTo>
                    <a:pt x="630" y="924"/>
                  </a:lnTo>
                  <a:lnTo>
                    <a:pt x="618" y="924"/>
                  </a:lnTo>
                  <a:lnTo>
                    <a:pt x="618" y="918"/>
                  </a:lnTo>
                  <a:lnTo>
                    <a:pt x="606" y="918"/>
                  </a:lnTo>
                  <a:lnTo>
                    <a:pt x="600" y="918"/>
                  </a:lnTo>
                  <a:lnTo>
                    <a:pt x="594" y="918"/>
                  </a:lnTo>
                  <a:lnTo>
                    <a:pt x="594" y="912"/>
                  </a:lnTo>
                  <a:lnTo>
                    <a:pt x="588" y="912"/>
                  </a:lnTo>
                  <a:lnTo>
                    <a:pt x="582" y="912"/>
                  </a:lnTo>
                  <a:lnTo>
                    <a:pt x="582" y="918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58" y="918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12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00"/>
                  </a:lnTo>
                  <a:lnTo>
                    <a:pt x="516" y="900"/>
                  </a:lnTo>
                  <a:lnTo>
                    <a:pt x="510" y="900"/>
                  </a:lnTo>
                  <a:lnTo>
                    <a:pt x="486" y="894"/>
                  </a:lnTo>
                  <a:lnTo>
                    <a:pt x="474" y="888"/>
                  </a:lnTo>
                  <a:lnTo>
                    <a:pt x="468" y="888"/>
                  </a:lnTo>
                  <a:lnTo>
                    <a:pt x="450" y="88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0" name="Freeform 15">
              <a:extLst>
                <a:ext uri="{FF2B5EF4-FFF2-40B4-BE49-F238E27FC236}">
                  <a16:creationId xmlns:a16="http://schemas.microsoft.com/office/drawing/2014/main" id="{8B991D7A-45C6-40F6-A035-24DFC733305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382" y="2652043"/>
              <a:ext cx="724526" cy="695552"/>
            </a:xfrm>
            <a:custGeom>
              <a:avLst/>
              <a:gdLst>
                <a:gd name="T0" fmla="*/ 44 w 1362"/>
                <a:gd name="T1" fmla="*/ 106 h 1308"/>
                <a:gd name="T2" fmla="*/ 32 w 1362"/>
                <a:gd name="T3" fmla="*/ 109 h 1308"/>
                <a:gd name="T4" fmla="*/ 25 w 1362"/>
                <a:gd name="T5" fmla="*/ 105 h 1308"/>
                <a:gd name="T6" fmla="*/ 22 w 1362"/>
                <a:gd name="T7" fmla="*/ 97 h 1308"/>
                <a:gd name="T8" fmla="*/ 21 w 1362"/>
                <a:gd name="T9" fmla="*/ 95 h 1308"/>
                <a:gd name="T10" fmla="*/ 20 w 1362"/>
                <a:gd name="T11" fmla="*/ 90 h 1308"/>
                <a:gd name="T12" fmla="*/ 23 w 1362"/>
                <a:gd name="T13" fmla="*/ 87 h 1308"/>
                <a:gd name="T14" fmla="*/ 29 w 1362"/>
                <a:gd name="T15" fmla="*/ 81 h 1308"/>
                <a:gd name="T16" fmla="*/ 30 w 1362"/>
                <a:gd name="T17" fmla="*/ 78 h 1308"/>
                <a:gd name="T18" fmla="*/ 27 w 1362"/>
                <a:gd name="T19" fmla="*/ 75 h 1308"/>
                <a:gd name="T20" fmla="*/ 15 w 1362"/>
                <a:gd name="T21" fmla="*/ 73 h 1308"/>
                <a:gd name="T22" fmla="*/ 12 w 1362"/>
                <a:gd name="T23" fmla="*/ 69 h 1308"/>
                <a:gd name="T24" fmla="*/ 5 w 1362"/>
                <a:gd name="T25" fmla="*/ 65 h 1308"/>
                <a:gd name="T26" fmla="*/ 6 w 1362"/>
                <a:gd name="T27" fmla="*/ 62 h 1308"/>
                <a:gd name="T28" fmla="*/ 7 w 1362"/>
                <a:gd name="T29" fmla="*/ 56 h 1308"/>
                <a:gd name="T30" fmla="*/ 2 w 1362"/>
                <a:gd name="T31" fmla="*/ 49 h 1308"/>
                <a:gd name="T32" fmla="*/ 0 w 1362"/>
                <a:gd name="T33" fmla="*/ 44 h 1308"/>
                <a:gd name="T34" fmla="*/ 0 w 1362"/>
                <a:gd name="T35" fmla="*/ 39 h 1308"/>
                <a:gd name="T36" fmla="*/ 3 w 1362"/>
                <a:gd name="T37" fmla="*/ 35 h 1308"/>
                <a:gd name="T38" fmla="*/ 3 w 1362"/>
                <a:gd name="T39" fmla="*/ 28 h 1308"/>
                <a:gd name="T40" fmla="*/ 6 w 1362"/>
                <a:gd name="T41" fmla="*/ 18 h 1308"/>
                <a:gd name="T42" fmla="*/ 6 w 1362"/>
                <a:gd name="T43" fmla="*/ 8 h 1308"/>
                <a:gd name="T44" fmla="*/ 10 w 1362"/>
                <a:gd name="T45" fmla="*/ 5 h 1308"/>
                <a:gd name="T46" fmla="*/ 15 w 1362"/>
                <a:gd name="T47" fmla="*/ 0 h 1308"/>
                <a:gd name="T48" fmla="*/ 21 w 1362"/>
                <a:gd name="T49" fmla="*/ 7 h 1308"/>
                <a:gd name="T50" fmla="*/ 25 w 1362"/>
                <a:gd name="T51" fmla="*/ 15 h 1308"/>
                <a:gd name="T52" fmla="*/ 24 w 1362"/>
                <a:gd name="T53" fmla="*/ 19 h 1308"/>
                <a:gd name="T54" fmla="*/ 32 w 1362"/>
                <a:gd name="T55" fmla="*/ 19 h 1308"/>
                <a:gd name="T56" fmla="*/ 35 w 1362"/>
                <a:gd name="T57" fmla="*/ 20 h 1308"/>
                <a:gd name="T58" fmla="*/ 40 w 1362"/>
                <a:gd name="T59" fmla="*/ 23 h 1308"/>
                <a:gd name="T60" fmla="*/ 40 w 1362"/>
                <a:gd name="T61" fmla="*/ 26 h 1308"/>
                <a:gd name="T62" fmla="*/ 34 w 1362"/>
                <a:gd name="T63" fmla="*/ 35 h 1308"/>
                <a:gd name="T64" fmla="*/ 41 w 1362"/>
                <a:gd name="T65" fmla="*/ 37 h 1308"/>
                <a:gd name="T66" fmla="*/ 43 w 1362"/>
                <a:gd name="T67" fmla="*/ 44 h 1308"/>
                <a:gd name="T68" fmla="*/ 48 w 1362"/>
                <a:gd name="T69" fmla="*/ 47 h 1308"/>
                <a:gd name="T70" fmla="*/ 57 w 1362"/>
                <a:gd name="T71" fmla="*/ 48 h 1308"/>
                <a:gd name="T72" fmla="*/ 70 w 1362"/>
                <a:gd name="T73" fmla="*/ 44 h 1308"/>
                <a:gd name="T74" fmla="*/ 80 w 1362"/>
                <a:gd name="T75" fmla="*/ 34 h 1308"/>
                <a:gd name="T76" fmla="*/ 95 w 1362"/>
                <a:gd name="T77" fmla="*/ 41 h 1308"/>
                <a:gd name="T78" fmla="*/ 109 w 1362"/>
                <a:gd name="T79" fmla="*/ 47 h 1308"/>
                <a:gd name="T80" fmla="*/ 111 w 1362"/>
                <a:gd name="T81" fmla="*/ 50 h 1308"/>
                <a:gd name="T82" fmla="*/ 113 w 1362"/>
                <a:gd name="T83" fmla="*/ 53 h 1308"/>
                <a:gd name="T84" fmla="*/ 113 w 1362"/>
                <a:gd name="T85" fmla="*/ 55 h 1308"/>
                <a:gd name="T86" fmla="*/ 113 w 1362"/>
                <a:gd name="T87" fmla="*/ 59 h 1308"/>
                <a:gd name="T88" fmla="*/ 113 w 1362"/>
                <a:gd name="T89" fmla="*/ 62 h 1308"/>
                <a:gd name="T90" fmla="*/ 115 w 1362"/>
                <a:gd name="T91" fmla="*/ 65 h 1308"/>
                <a:gd name="T92" fmla="*/ 115 w 1362"/>
                <a:gd name="T93" fmla="*/ 67 h 1308"/>
                <a:gd name="T94" fmla="*/ 116 w 1362"/>
                <a:gd name="T95" fmla="*/ 69 h 1308"/>
                <a:gd name="T96" fmla="*/ 116 w 1362"/>
                <a:gd name="T97" fmla="*/ 71 h 1308"/>
                <a:gd name="T98" fmla="*/ 118 w 1362"/>
                <a:gd name="T99" fmla="*/ 75 h 1308"/>
                <a:gd name="T100" fmla="*/ 116 w 1362"/>
                <a:gd name="T101" fmla="*/ 77 h 1308"/>
                <a:gd name="T102" fmla="*/ 116 w 1362"/>
                <a:gd name="T103" fmla="*/ 79 h 1308"/>
                <a:gd name="T104" fmla="*/ 101 w 1362"/>
                <a:gd name="T105" fmla="*/ 87 h 1308"/>
                <a:gd name="T106" fmla="*/ 85 w 1362"/>
                <a:gd name="T107" fmla="*/ 103 h 1308"/>
                <a:gd name="T108" fmla="*/ 67 w 1362"/>
                <a:gd name="T109" fmla="*/ 114 h 130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62"/>
                <a:gd name="T166" fmla="*/ 0 h 1308"/>
                <a:gd name="T167" fmla="*/ 1362 w 1362"/>
                <a:gd name="T168" fmla="*/ 1308 h 130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62" h="1308">
                  <a:moveTo>
                    <a:pt x="684" y="1278"/>
                  </a:moveTo>
                  <a:lnTo>
                    <a:pt x="672" y="1272"/>
                  </a:lnTo>
                  <a:lnTo>
                    <a:pt x="636" y="1266"/>
                  </a:lnTo>
                  <a:lnTo>
                    <a:pt x="582" y="1248"/>
                  </a:lnTo>
                  <a:lnTo>
                    <a:pt x="564" y="1230"/>
                  </a:lnTo>
                  <a:lnTo>
                    <a:pt x="540" y="1218"/>
                  </a:lnTo>
                  <a:lnTo>
                    <a:pt x="510" y="1218"/>
                  </a:lnTo>
                  <a:lnTo>
                    <a:pt x="498" y="1224"/>
                  </a:lnTo>
                  <a:lnTo>
                    <a:pt x="492" y="1230"/>
                  </a:lnTo>
                  <a:lnTo>
                    <a:pt x="474" y="1230"/>
                  </a:lnTo>
                  <a:lnTo>
                    <a:pt x="414" y="1230"/>
                  </a:lnTo>
                  <a:lnTo>
                    <a:pt x="396" y="1236"/>
                  </a:lnTo>
                  <a:lnTo>
                    <a:pt x="390" y="1248"/>
                  </a:lnTo>
                  <a:lnTo>
                    <a:pt x="372" y="1248"/>
                  </a:lnTo>
                  <a:lnTo>
                    <a:pt x="366" y="1242"/>
                  </a:lnTo>
                  <a:lnTo>
                    <a:pt x="366" y="1224"/>
                  </a:lnTo>
                  <a:lnTo>
                    <a:pt x="360" y="1224"/>
                  </a:lnTo>
                  <a:lnTo>
                    <a:pt x="354" y="1218"/>
                  </a:lnTo>
                  <a:lnTo>
                    <a:pt x="336" y="1206"/>
                  </a:lnTo>
                  <a:lnTo>
                    <a:pt x="330" y="1194"/>
                  </a:lnTo>
                  <a:lnTo>
                    <a:pt x="288" y="1200"/>
                  </a:lnTo>
                  <a:lnTo>
                    <a:pt x="288" y="1194"/>
                  </a:lnTo>
                  <a:lnTo>
                    <a:pt x="288" y="1182"/>
                  </a:lnTo>
                  <a:lnTo>
                    <a:pt x="288" y="1170"/>
                  </a:lnTo>
                  <a:lnTo>
                    <a:pt x="288" y="1164"/>
                  </a:lnTo>
                  <a:lnTo>
                    <a:pt x="282" y="1140"/>
                  </a:lnTo>
                  <a:lnTo>
                    <a:pt x="276" y="1134"/>
                  </a:lnTo>
                  <a:lnTo>
                    <a:pt x="258" y="1116"/>
                  </a:lnTo>
                  <a:lnTo>
                    <a:pt x="258" y="1110"/>
                  </a:lnTo>
                  <a:lnTo>
                    <a:pt x="252" y="1110"/>
                  </a:lnTo>
                  <a:lnTo>
                    <a:pt x="252" y="1104"/>
                  </a:lnTo>
                  <a:lnTo>
                    <a:pt x="252" y="1098"/>
                  </a:lnTo>
                  <a:lnTo>
                    <a:pt x="240" y="1092"/>
                  </a:lnTo>
                  <a:lnTo>
                    <a:pt x="234" y="1092"/>
                  </a:lnTo>
                  <a:lnTo>
                    <a:pt x="240" y="1086"/>
                  </a:lnTo>
                  <a:lnTo>
                    <a:pt x="234" y="1080"/>
                  </a:lnTo>
                  <a:lnTo>
                    <a:pt x="228" y="1080"/>
                  </a:lnTo>
                  <a:lnTo>
                    <a:pt x="228" y="1068"/>
                  </a:lnTo>
                  <a:lnTo>
                    <a:pt x="228" y="1056"/>
                  </a:lnTo>
                  <a:lnTo>
                    <a:pt x="222" y="1056"/>
                  </a:lnTo>
                  <a:lnTo>
                    <a:pt x="228" y="1044"/>
                  </a:lnTo>
                  <a:lnTo>
                    <a:pt x="228" y="1038"/>
                  </a:lnTo>
                  <a:lnTo>
                    <a:pt x="228" y="1032"/>
                  </a:lnTo>
                  <a:lnTo>
                    <a:pt x="234" y="1026"/>
                  </a:lnTo>
                  <a:lnTo>
                    <a:pt x="246" y="1020"/>
                  </a:lnTo>
                  <a:lnTo>
                    <a:pt x="252" y="1020"/>
                  </a:lnTo>
                  <a:lnTo>
                    <a:pt x="258" y="1014"/>
                  </a:lnTo>
                  <a:lnTo>
                    <a:pt x="264" y="1008"/>
                  </a:lnTo>
                  <a:lnTo>
                    <a:pt x="264" y="1002"/>
                  </a:lnTo>
                  <a:lnTo>
                    <a:pt x="270" y="984"/>
                  </a:lnTo>
                  <a:lnTo>
                    <a:pt x="276" y="978"/>
                  </a:lnTo>
                  <a:lnTo>
                    <a:pt x="300" y="978"/>
                  </a:lnTo>
                  <a:lnTo>
                    <a:pt x="306" y="972"/>
                  </a:lnTo>
                  <a:lnTo>
                    <a:pt x="312" y="966"/>
                  </a:lnTo>
                  <a:lnTo>
                    <a:pt x="324" y="936"/>
                  </a:lnTo>
                  <a:lnTo>
                    <a:pt x="330" y="930"/>
                  </a:lnTo>
                  <a:lnTo>
                    <a:pt x="330" y="924"/>
                  </a:lnTo>
                  <a:lnTo>
                    <a:pt x="336" y="918"/>
                  </a:lnTo>
                  <a:lnTo>
                    <a:pt x="342" y="912"/>
                  </a:lnTo>
                  <a:lnTo>
                    <a:pt x="342" y="906"/>
                  </a:lnTo>
                  <a:lnTo>
                    <a:pt x="342" y="900"/>
                  </a:lnTo>
                  <a:lnTo>
                    <a:pt x="342" y="894"/>
                  </a:lnTo>
                  <a:lnTo>
                    <a:pt x="342" y="888"/>
                  </a:lnTo>
                  <a:lnTo>
                    <a:pt x="336" y="876"/>
                  </a:lnTo>
                  <a:lnTo>
                    <a:pt x="342" y="870"/>
                  </a:lnTo>
                  <a:lnTo>
                    <a:pt x="336" y="864"/>
                  </a:lnTo>
                  <a:lnTo>
                    <a:pt x="336" y="858"/>
                  </a:lnTo>
                  <a:lnTo>
                    <a:pt x="330" y="852"/>
                  </a:lnTo>
                  <a:lnTo>
                    <a:pt x="318" y="852"/>
                  </a:lnTo>
                  <a:lnTo>
                    <a:pt x="306" y="858"/>
                  </a:lnTo>
                  <a:lnTo>
                    <a:pt x="264" y="864"/>
                  </a:lnTo>
                  <a:lnTo>
                    <a:pt x="234" y="858"/>
                  </a:lnTo>
                  <a:lnTo>
                    <a:pt x="228" y="858"/>
                  </a:lnTo>
                  <a:lnTo>
                    <a:pt x="198" y="858"/>
                  </a:lnTo>
                  <a:lnTo>
                    <a:pt x="174" y="858"/>
                  </a:lnTo>
                  <a:lnTo>
                    <a:pt x="168" y="852"/>
                  </a:lnTo>
                  <a:lnTo>
                    <a:pt x="168" y="840"/>
                  </a:lnTo>
                  <a:lnTo>
                    <a:pt x="168" y="834"/>
                  </a:lnTo>
                  <a:lnTo>
                    <a:pt x="168" y="822"/>
                  </a:lnTo>
                  <a:lnTo>
                    <a:pt x="162" y="822"/>
                  </a:lnTo>
                  <a:lnTo>
                    <a:pt x="150" y="816"/>
                  </a:lnTo>
                  <a:lnTo>
                    <a:pt x="144" y="810"/>
                  </a:lnTo>
                  <a:lnTo>
                    <a:pt x="144" y="804"/>
                  </a:lnTo>
                  <a:lnTo>
                    <a:pt x="144" y="786"/>
                  </a:lnTo>
                  <a:lnTo>
                    <a:pt x="144" y="780"/>
                  </a:lnTo>
                  <a:lnTo>
                    <a:pt x="144" y="774"/>
                  </a:lnTo>
                  <a:lnTo>
                    <a:pt x="132" y="756"/>
                  </a:lnTo>
                  <a:lnTo>
                    <a:pt x="120" y="756"/>
                  </a:lnTo>
                  <a:lnTo>
                    <a:pt x="84" y="750"/>
                  </a:lnTo>
                  <a:lnTo>
                    <a:pt x="78" y="744"/>
                  </a:lnTo>
                  <a:lnTo>
                    <a:pt x="60" y="744"/>
                  </a:lnTo>
                  <a:lnTo>
                    <a:pt x="54" y="726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66" y="720"/>
                  </a:lnTo>
                  <a:lnTo>
                    <a:pt x="66" y="714"/>
                  </a:lnTo>
                  <a:lnTo>
                    <a:pt x="72" y="714"/>
                  </a:lnTo>
                  <a:lnTo>
                    <a:pt x="72" y="708"/>
                  </a:lnTo>
                  <a:lnTo>
                    <a:pt x="78" y="702"/>
                  </a:lnTo>
                  <a:lnTo>
                    <a:pt x="78" y="696"/>
                  </a:lnTo>
                  <a:lnTo>
                    <a:pt x="78" y="690"/>
                  </a:lnTo>
                  <a:lnTo>
                    <a:pt x="84" y="678"/>
                  </a:lnTo>
                  <a:lnTo>
                    <a:pt x="90" y="666"/>
                  </a:lnTo>
                  <a:lnTo>
                    <a:pt x="90" y="642"/>
                  </a:lnTo>
                  <a:lnTo>
                    <a:pt x="84" y="648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66" y="642"/>
                  </a:lnTo>
                  <a:lnTo>
                    <a:pt x="60" y="642"/>
                  </a:lnTo>
                  <a:lnTo>
                    <a:pt x="54" y="636"/>
                  </a:lnTo>
                  <a:lnTo>
                    <a:pt x="30" y="570"/>
                  </a:lnTo>
                  <a:lnTo>
                    <a:pt x="24" y="564"/>
                  </a:lnTo>
                  <a:lnTo>
                    <a:pt x="18" y="570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6"/>
                  </a:lnTo>
                  <a:lnTo>
                    <a:pt x="6" y="540"/>
                  </a:lnTo>
                  <a:lnTo>
                    <a:pt x="0" y="522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2" y="480"/>
                  </a:lnTo>
                  <a:lnTo>
                    <a:pt x="6" y="480"/>
                  </a:lnTo>
                  <a:lnTo>
                    <a:pt x="0" y="474"/>
                  </a:lnTo>
                  <a:lnTo>
                    <a:pt x="0" y="450"/>
                  </a:lnTo>
                  <a:lnTo>
                    <a:pt x="6" y="450"/>
                  </a:lnTo>
                  <a:lnTo>
                    <a:pt x="12" y="450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32"/>
                  </a:lnTo>
                  <a:lnTo>
                    <a:pt x="30" y="426"/>
                  </a:lnTo>
                  <a:lnTo>
                    <a:pt x="36" y="402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2" y="366"/>
                  </a:lnTo>
                  <a:lnTo>
                    <a:pt x="48" y="360"/>
                  </a:lnTo>
                  <a:lnTo>
                    <a:pt x="48" y="342"/>
                  </a:lnTo>
                  <a:lnTo>
                    <a:pt x="42" y="330"/>
                  </a:lnTo>
                  <a:lnTo>
                    <a:pt x="36" y="324"/>
                  </a:lnTo>
                  <a:lnTo>
                    <a:pt x="42" y="306"/>
                  </a:lnTo>
                  <a:lnTo>
                    <a:pt x="42" y="270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48" y="258"/>
                  </a:lnTo>
                  <a:lnTo>
                    <a:pt x="72" y="252"/>
                  </a:lnTo>
                  <a:lnTo>
                    <a:pt x="66" y="204"/>
                  </a:lnTo>
                  <a:lnTo>
                    <a:pt x="60" y="198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8" y="13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84" y="96"/>
                  </a:lnTo>
                  <a:lnTo>
                    <a:pt x="90" y="84"/>
                  </a:lnTo>
                  <a:lnTo>
                    <a:pt x="108" y="72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20" y="60"/>
                  </a:lnTo>
                  <a:lnTo>
                    <a:pt x="120" y="54"/>
                  </a:lnTo>
                  <a:lnTo>
                    <a:pt x="120" y="48"/>
                  </a:lnTo>
                  <a:lnTo>
                    <a:pt x="126" y="48"/>
                  </a:lnTo>
                  <a:lnTo>
                    <a:pt x="132" y="42"/>
                  </a:lnTo>
                  <a:lnTo>
                    <a:pt x="132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240" y="18"/>
                  </a:lnTo>
                  <a:lnTo>
                    <a:pt x="246" y="42"/>
                  </a:lnTo>
                  <a:lnTo>
                    <a:pt x="240" y="72"/>
                  </a:lnTo>
                  <a:lnTo>
                    <a:pt x="246" y="78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8" y="108"/>
                  </a:lnTo>
                  <a:lnTo>
                    <a:pt x="276" y="114"/>
                  </a:lnTo>
                  <a:lnTo>
                    <a:pt x="294" y="150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82" y="186"/>
                  </a:lnTo>
                  <a:lnTo>
                    <a:pt x="282" y="192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76" y="216"/>
                  </a:lnTo>
                  <a:lnTo>
                    <a:pt x="288" y="240"/>
                  </a:lnTo>
                  <a:lnTo>
                    <a:pt x="312" y="228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66" y="228"/>
                  </a:lnTo>
                  <a:lnTo>
                    <a:pt x="372" y="228"/>
                  </a:lnTo>
                  <a:lnTo>
                    <a:pt x="372" y="222"/>
                  </a:lnTo>
                  <a:lnTo>
                    <a:pt x="378" y="222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6" y="222"/>
                  </a:lnTo>
                  <a:lnTo>
                    <a:pt x="402" y="222"/>
                  </a:lnTo>
                  <a:lnTo>
                    <a:pt x="402" y="228"/>
                  </a:lnTo>
                  <a:lnTo>
                    <a:pt x="408" y="228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26" y="216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68" y="258"/>
                  </a:lnTo>
                  <a:lnTo>
                    <a:pt x="462" y="264"/>
                  </a:lnTo>
                  <a:lnTo>
                    <a:pt x="468" y="264"/>
                  </a:lnTo>
                  <a:lnTo>
                    <a:pt x="468" y="270"/>
                  </a:lnTo>
                  <a:lnTo>
                    <a:pt x="474" y="270"/>
                  </a:lnTo>
                  <a:lnTo>
                    <a:pt x="480" y="276"/>
                  </a:lnTo>
                  <a:lnTo>
                    <a:pt x="474" y="282"/>
                  </a:lnTo>
                  <a:lnTo>
                    <a:pt x="474" y="288"/>
                  </a:lnTo>
                  <a:lnTo>
                    <a:pt x="462" y="294"/>
                  </a:lnTo>
                  <a:lnTo>
                    <a:pt x="468" y="324"/>
                  </a:lnTo>
                  <a:lnTo>
                    <a:pt x="462" y="336"/>
                  </a:lnTo>
                  <a:lnTo>
                    <a:pt x="456" y="354"/>
                  </a:lnTo>
                  <a:lnTo>
                    <a:pt x="432" y="390"/>
                  </a:lnTo>
                  <a:lnTo>
                    <a:pt x="420" y="390"/>
                  </a:lnTo>
                  <a:lnTo>
                    <a:pt x="402" y="390"/>
                  </a:lnTo>
                  <a:lnTo>
                    <a:pt x="396" y="396"/>
                  </a:lnTo>
                  <a:lnTo>
                    <a:pt x="390" y="396"/>
                  </a:lnTo>
                  <a:lnTo>
                    <a:pt x="390" y="402"/>
                  </a:lnTo>
                  <a:lnTo>
                    <a:pt x="384" y="402"/>
                  </a:lnTo>
                  <a:lnTo>
                    <a:pt x="408" y="432"/>
                  </a:lnTo>
                  <a:lnTo>
                    <a:pt x="432" y="438"/>
                  </a:lnTo>
                  <a:lnTo>
                    <a:pt x="456" y="432"/>
                  </a:lnTo>
                  <a:lnTo>
                    <a:pt x="468" y="426"/>
                  </a:lnTo>
                  <a:lnTo>
                    <a:pt x="468" y="444"/>
                  </a:lnTo>
                  <a:lnTo>
                    <a:pt x="468" y="450"/>
                  </a:lnTo>
                  <a:lnTo>
                    <a:pt x="468" y="474"/>
                  </a:lnTo>
                  <a:lnTo>
                    <a:pt x="486" y="480"/>
                  </a:lnTo>
                  <a:lnTo>
                    <a:pt x="486" y="486"/>
                  </a:lnTo>
                  <a:lnTo>
                    <a:pt x="492" y="498"/>
                  </a:lnTo>
                  <a:lnTo>
                    <a:pt x="492" y="504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504" y="516"/>
                  </a:lnTo>
                  <a:lnTo>
                    <a:pt x="510" y="516"/>
                  </a:lnTo>
                  <a:lnTo>
                    <a:pt x="522" y="528"/>
                  </a:lnTo>
                  <a:lnTo>
                    <a:pt x="546" y="540"/>
                  </a:lnTo>
                  <a:lnTo>
                    <a:pt x="552" y="546"/>
                  </a:lnTo>
                  <a:lnTo>
                    <a:pt x="570" y="552"/>
                  </a:lnTo>
                  <a:lnTo>
                    <a:pt x="594" y="552"/>
                  </a:lnTo>
                  <a:lnTo>
                    <a:pt x="606" y="546"/>
                  </a:lnTo>
                  <a:lnTo>
                    <a:pt x="612" y="540"/>
                  </a:lnTo>
                  <a:lnTo>
                    <a:pt x="630" y="540"/>
                  </a:lnTo>
                  <a:lnTo>
                    <a:pt x="630" y="552"/>
                  </a:lnTo>
                  <a:lnTo>
                    <a:pt x="654" y="552"/>
                  </a:lnTo>
                  <a:lnTo>
                    <a:pt x="702" y="558"/>
                  </a:lnTo>
                  <a:lnTo>
                    <a:pt x="762" y="546"/>
                  </a:lnTo>
                  <a:lnTo>
                    <a:pt x="780" y="546"/>
                  </a:lnTo>
                  <a:lnTo>
                    <a:pt x="780" y="528"/>
                  </a:lnTo>
                  <a:lnTo>
                    <a:pt x="798" y="522"/>
                  </a:lnTo>
                  <a:lnTo>
                    <a:pt x="810" y="510"/>
                  </a:lnTo>
                  <a:lnTo>
                    <a:pt x="810" y="504"/>
                  </a:lnTo>
                  <a:lnTo>
                    <a:pt x="828" y="492"/>
                  </a:lnTo>
                  <a:lnTo>
                    <a:pt x="888" y="486"/>
                  </a:lnTo>
                  <a:lnTo>
                    <a:pt x="912" y="486"/>
                  </a:lnTo>
                  <a:lnTo>
                    <a:pt x="930" y="474"/>
                  </a:lnTo>
                  <a:lnTo>
                    <a:pt x="918" y="456"/>
                  </a:lnTo>
                  <a:lnTo>
                    <a:pt x="912" y="450"/>
                  </a:lnTo>
                  <a:lnTo>
                    <a:pt x="918" y="390"/>
                  </a:lnTo>
                  <a:lnTo>
                    <a:pt x="954" y="396"/>
                  </a:lnTo>
                  <a:lnTo>
                    <a:pt x="984" y="402"/>
                  </a:lnTo>
                  <a:lnTo>
                    <a:pt x="1014" y="420"/>
                  </a:lnTo>
                  <a:lnTo>
                    <a:pt x="1026" y="432"/>
                  </a:lnTo>
                  <a:lnTo>
                    <a:pt x="1044" y="450"/>
                  </a:lnTo>
                  <a:lnTo>
                    <a:pt x="1062" y="462"/>
                  </a:lnTo>
                  <a:lnTo>
                    <a:pt x="1098" y="468"/>
                  </a:lnTo>
                  <a:lnTo>
                    <a:pt x="1128" y="480"/>
                  </a:lnTo>
                  <a:lnTo>
                    <a:pt x="1152" y="486"/>
                  </a:lnTo>
                  <a:lnTo>
                    <a:pt x="1188" y="498"/>
                  </a:lnTo>
                  <a:lnTo>
                    <a:pt x="1212" y="504"/>
                  </a:lnTo>
                  <a:lnTo>
                    <a:pt x="1224" y="528"/>
                  </a:lnTo>
                  <a:lnTo>
                    <a:pt x="1236" y="540"/>
                  </a:lnTo>
                  <a:lnTo>
                    <a:pt x="1254" y="540"/>
                  </a:lnTo>
                  <a:lnTo>
                    <a:pt x="1254" y="546"/>
                  </a:lnTo>
                  <a:lnTo>
                    <a:pt x="1260" y="552"/>
                  </a:lnTo>
                  <a:lnTo>
                    <a:pt x="1266" y="552"/>
                  </a:lnTo>
                  <a:lnTo>
                    <a:pt x="1266" y="558"/>
                  </a:lnTo>
                  <a:lnTo>
                    <a:pt x="1272" y="564"/>
                  </a:lnTo>
                  <a:lnTo>
                    <a:pt x="1278" y="564"/>
                  </a:lnTo>
                  <a:lnTo>
                    <a:pt x="1278" y="570"/>
                  </a:lnTo>
                  <a:lnTo>
                    <a:pt x="1284" y="576"/>
                  </a:lnTo>
                  <a:lnTo>
                    <a:pt x="1290" y="582"/>
                  </a:lnTo>
                  <a:lnTo>
                    <a:pt x="1296" y="582"/>
                  </a:lnTo>
                  <a:lnTo>
                    <a:pt x="1296" y="588"/>
                  </a:lnTo>
                  <a:lnTo>
                    <a:pt x="1308" y="594"/>
                  </a:lnTo>
                  <a:lnTo>
                    <a:pt x="1308" y="600"/>
                  </a:lnTo>
                  <a:lnTo>
                    <a:pt x="1308" y="606"/>
                  </a:lnTo>
                  <a:lnTo>
                    <a:pt x="1314" y="612"/>
                  </a:lnTo>
                  <a:lnTo>
                    <a:pt x="1308" y="618"/>
                  </a:lnTo>
                  <a:lnTo>
                    <a:pt x="1314" y="618"/>
                  </a:lnTo>
                  <a:lnTo>
                    <a:pt x="1314" y="624"/>
                  </a:lnTo>
                  <a:lnTo>
                    <a:pt x="1308" y="624"/>
                  </a:lnTo>
                  <a:lnTo>
                    <a:pt x="1302" y="630"/>
                  </a:lnTo>
                  <a:lnTo>
                    <a:pt x="1302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296" y="654"/>
                  </a:lnTo>
                  <a:lnTo>
                    <a:pt x="1302" y="660"/>
                  </a:lnTo>
                  <a:lnTo>
                    <a:pt x="1302" y="666"/>
                  </a:lnTo>
                  <a:lnTo>
                    <a:pt x="1308" y="666"/>
                  </a:lnTo>
                  <a:lnTo>
                    <a:pt x="1308" y="672"/>
                  </a:lnTo>
                  <a:lnTo>
                    <a:pt x="1308" y="678"/>
                  </a:lnTo>
                  <a:lnTo>
                    <a:pt x="1308" y="684"/>
                  </a:lnTo>
                  <a:lnTo>
                    <a:pt x="1308" y="690"/>
                  </a:lnTo>
                  <a:lnTo>
                    <a:pt x="1302" y="696"/>
                  </a:lnTo>
                  <a:lnTo>
                    <a:pt x="1302" y="702"/>
                  </a:lnTo>
                  <a:lnTo>
                    <a:pt x="1308" y="702"/>
                  </a:lnTo>
                  <a:lnTo>
                    <a:pt x="1302" y="708"/>
                  </a:lnTo>
                  <a:lnTo>
                    <a:pt x="1308" y="714"/>
                  </a:lnTo>
                  <a:lnTo>
                    <a:pt x="1308" y="720"/>
                  </a:lnTo>
                  <a:lnTo>
                    <a:pt x="1308" y="726"/>
                  </a:lnTo>
                  <a:lnTo>
                    <a:pt x="1308" y="732"/>
                  </a:lnTo>
                  <a:lnTo>
                    <a:pt x="1314" y="732"/>
                  </a:lnTo>
                  <a:lnTo>
                    <a:pt x="1314" y="738"/>
                  </a:lnTo>
                  <a:lnTo>
                    <a:pt x="1320" y="744"/>
                  </a:lnTo>
                  <a:lnTo>
                    <a:pt x="1326" y="750"/>
                  </a:lnTo>
                  <a:lnTo>
                    <a:pt x="1320" y="750"/>
                  </a:lnTo>
                  <a:lnTo>
                    <a:pt x="1320" y="756"/>
                  </a:lnTo>
                  <a:lnTo>
                    <a:pt x="1314" y="756"/>
                  </a:lnTo>
                  <a:lnTo>
                    <a:pt x="1314" y="762"/>
                  </a:lnTo>
                  <a:lnTo>
                    <a:pt x="1314" y="768"/>
                  </a:lnTo>
                  <a:lnTo>
                    <a:pt x="1320" y="768"/>
                  </a:lnTo>
                  <a:lnTo>
                    <a:pt x="1320" y="762"/>
                  </a:lnTo>
                  <a:lnTo>
                    <a:pt x="1320" y="768"/>
                  </a:lnTo>
                  <a:lnTo>
                    <a:pt x="1326" y="774"/>
                  </a:lnTo>
                  <a:lnTo>
                    <a:pt x="1332" y="774"/>
                  </a:lnTo>
                  <a:lnTo>
                    <a:pt x="1332" y="780"/>
                  </a:lnTo>
                  <a:lnTo>
                    <a:pt x="1332" y="786"/>
                  </a:lnTo>
                  <a:lnTo>
                    <a:pt x="1332" y="792"/>
                  </a:lnTo>
                  <a:lnTo>
                    <a:pt x="1338" y="786"/>
                  </a:lnTo>
                  <a:lnTo>
                    <a:pt x="1338" y="792"/>
                  </a:lnTo>
                  <a:lnTo>
                    <a:pt x="1344" y="798"/>
                  </a:lnTo>
                  <a:lnTo>
                    <a:pt x="1344" y="804"/>
                  </a:lnTo>
                  <a:lnTo>
                    <a:pt x="1344" y="810"/>
                  </a:lnTo>
                  <a:lnTo>
                    <a:pt x="1344" y="816"/>
                  </a:lnTo>
                  <a:lnTo>
                    <a:pt x="1344" y="822"/>
                  </a:lnTo>
                  <a:lnTo>
                    <a:pt x="1338" y="828"/>
                  </a:lnTo>
                  <a:lnTo>
                    <a:pt x="1332" y="828"/>
                  </a:lnTo>
                  <a:lnTo>
                    <a:pt x="1338" y="840"/>
                  </a:lnTo>
                  <a:lnTo>
                    <a:pt x="1344" y="846"/>
                  </a:lnTo>
                  <a:lnTo>
                    <a:pt x="1344" y="852"/>
                  </a:lnTo>
                  <a:lnTo>
                    <a:pt x="1350" y="852"/>
                  </a:lnTo>
                  <a:lnTo>
                    <a:pt x="1356" y="858"/>
                  </a:lnTo>
                  <a:lnTo>
                    <a:pt x="1362" y="858"/>
                  </a:lnTo>
                  <a:lnTo>
                    <a:pt x="1362" y="870"/>
                  </a:lnTo>
                  <a:lnTo>
                    <a:pt x="1356" y="870"/>
                  </a:lnTo>
                  <a:lnTo>
                    <a:pt x="1356" y="876"/>
                  </a:lnTo>
                  <a:lnTo>
                    <a:pt x="1350" y="876"/>
                  </a:lnTo>
                  <a:lnTo>
                    <a:pt x="1344" y="876"/>
                  </a:lnTo>
                  <a:lnTo>
                    <a:pt x="1344" y="882"/>
                  </a:lnTo>
                  <a:lnTo>
                    <a:pt x="1338" y="882"/>
                  </a:lnTo>
                  <a:lnTo>
                    <a:pt x="1338" y="888"/>
                  </a:lnTo>
                  <a:lnTo>
                    <a:pt x="1338" y="894"/>
                  </a:lnTo>
                  <a:lnTo>
                    <a:pt x="1344" y="900"/>
                  </a:lnTo>
                  <a:lnTo>
                    <a:pt x="1344" y="906"/>
                  </a:lnTo>
                  <a:lnTo>
                    <a:pt x="1338" y="906"/>
                  </a:lnTo>
                  <a:lnTo>
                    <a:pt x="1332" y="912"/>
                  </a:lnTo>
                  <a:lnTo>
                    <a:pt x="1332" y="918"/>
                  </a:lnTo>
                  <a:lnTo>
                    <a:pt x="1326" y="918"/>
                  </a:lnTo>
                  <a:lnTo>
                    <a:pt x="1332" y="924"/>
                  </a:lnTo>
                  <a:lnTo>
                    <a:pt x="1284" y="942"/>
                  </a:lnTo>
                  <a:lnTo>
                    <a:pt x="1236" y="948"/>
                  </a:lnTo>
                  <a:lnTo>
                    <a:pt x="1194" y="966"/>
                  </a:lnTo>
                  <a:lnTo>
                    <a:pt x="1170" y="1002"/>
                  </a:lnTo>
                  <a:lnTo>
                    <a:pt x="1134" y="1020"/>
                  </a:lnTo>
                  <a:lnTo>
                    <a:pt x="1116" y="1032"/>
                  </a:lnTo>
                  <a:lnTo>
                    <a:pt x="1098" y="1050"/>
                  </a:lnTo>
                  <a:lnTo>
                    <a:pt x="1074" y="1074"/>
                  </a:lnTo>
                  <a:lnTo>
                    <a:pt x="1008" y="1134"/>
                  </a:lnTo>
                  <a:lnTo>
                    <a:pt x="990" y="1158"/>
                  </a:lnTo>
                  <a:lnTo>
                    <a:pt x="978" y="1182"/>
                  </a:lnTo>
                  <a:lnTo>
                    <a:pt x="960" y="1194"/>
                  </a:lnTo>
                  <a:lnTo>
                    <a:pt x="942" y="1212"/>
                  </a:lnTo>
                  <a:lnTo>
                    <a:pt x="912" y="1242"/>
                  </a:lnTo>
                  <a:lnTo>
                    <a:pt x="888" y="1254"/>
                  </a:lnTo>
                  <a:lnTo>
                    <a:pt x="864" y="1278"/>
                  </a:lnTo>
                  <a:lnTo>
                    <a:pt x="828" y="1296"/>
                  </a:lnTo>
                  <a:lnTo>
                    <a:pt x="774" y="1308"/>
                  </a:lnTo>
                  <a:lnTo>
                    <a:pt x="732" y="1302"/>
                  </a:lnTo>
                  <a:lnTo>
                    <a:pt x="702" y="1284"/>
                  </a:lnTo>
                  <a:lnTo>
                    <a:pt x="684" y="12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1" name="Freeform 16">
              <a:extLst>
                <a:ext uri="{FF2B5EF4-FFF2-40B4-BE49-F238E27FC236}">
                  <a16:creationId xmlns:a16="http://schemas.microsoft.com/office/drawing/2014/main" id="{D8D8591A-D9DB-4301-BEBD-D8F5A26DA9E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3001" y="2929369"/>
              <a:ext cx="914601" cy="1037736"/>
            </a:xfrm>
            <a:custGeom>
              <a:avLst/>
              <a:gdLst>
                <a:gd name="T0" fmla="*/ 144 w 1722"/>
                <a:gd name="T1" fmla="*/ 131 h 1956"/>
                <a:gd name="T2" fmla="*/ 142 w 1722"/>
                <a:gd name="T3" fmla="*/ 139 h 1956"/>
                <a:gd name="T4" fmla="*/ 137 w 1722"/>
                <a:gd name="T5" fmla="*/ 143 h 1956"/>
                <a:gd name="T6" fmla="*/ 133 w 1722"/>
                <a:gd name="T7" fmla="*/ 147 h 1956"/>
                <a:gd name="T8" fmla="*/ 132 w 1722"/>
                <a:gd name="T9" fmla="*/ 152 h 1956"/>
                <a:gd name="T10" fmla="*/ 130 w 1722"/>
                <a:gd name="T11" fmla="*/ 159 h 1956"/>
                <a:gd name="T12" fmla="*/ 127 w 1722"/>
                <a:gd name="T13" fmla="*/ 164 h 1956"/>
                <a:gd name="T14" fmla="*/ 123 w 1722"/>
                <a:gd name="T15" fmla="*/ 168 h 1956"/>
                <a:gd name="T16" fmla="*/ 117 w 1722"/>
                <a:gd name="T17" fmla="*/ 169 h 1956"/>
                <a:gd name="T18" fmla="*/ 110 w 1722"/>
                <a:gd name="T19" fmla="*/ 168 h 1956"/>
                <a:gd name="T20" fmla="*/ 104 w 1722"/>
                <a:gd name="T21" fmla="*/ 166 h 1956"/>
                <a:gd name="T22" fmla="*/ 101 w 1722"/>
                <a:gd name="T23" fmla="*/ 159 h 1956"/>
                <a:gd name="T24" fmla="*/ 95 w 1722"/>
                <a:gd name="T25" fmla="*/ 156 h 1956"/>
                <a:gd name="T26" fmla="*/ 89 w 1722"/>
                <a:gd name="T27" fmla="*/ 151 h 1956"/>
                <a:gd name="T28" fmla="*/ 87 w 1722"/>
                <a:gd name="T29" fmla="*/ 144 h 1956"/>
                <a:gd name="T30" fmla="*/ 82 w 1722"/>
                <a:gd name="T31" fmla="*/ 141 h 1956"/>
                <a:gd name="T32" fmla="*/ 76 w 1722"/>
                <a:gd name="T33" fmla="*/ 134 h 1956"/>
                <a:gd name="T34" fmla="*/ 74 w 1722"/>
                <a:gd name="T35" fmla="*/ 143 h 1956"/>
                <a:gd name="T36" fmla="*/ 68 w 1722"/>
                <a:gd name="T37" fmla="*/ 147 h 1956"/>
                <a:gd name="T38" fmla="*/ 54 w 1722"/>
                <a:gd name="T39" fmla="*/ 144 h 1956"/>
                <a:gd name="T40" fmla="*/ 51 w 1722"/>
                <a:gd name="T41" fmla="*/ 142 h 1956"/>
                <a:gd name="T42" fmla="*/ 42 w 1722"/>
                <a:gd name="T43" fmla="*/ 151 h 1956"/>
                <a:gd name="T44" fmla="*/ 33 w 1722"/>
                <a:gd name="T45" fmla="*/ 154 h 1956"/>
                <a:gd name="T46" fmla="*/ 31 w 1722"/>
                <a:gd name="T47" fmla="*/ 159 h 1956"/>
                <a:gd name="T48" fmla="*/ 29 w 1722"/>
                <a:gd name="T49" fmla="*/ 166 h 1956"/>
                <a:gd name="T50" fmla="*/ 25 w 1722"/>
                <a:gd name="T51" fmla="*/ 169 h 1956"/>
                <a:gd name="T52" fmla="*/ 27 w 1722"/>
                <a:gd name="T53" fmla="*/ 154 h 1956"/>
                <a:gd name="T54" fmla="*/ 37 w 1722"/>
                <a:gd name="T55" fmla="*/ 133 h 1956"/>
                <a:gd name="T56" fmla="*/ 36 w 1722"/>
                <a:gd name="T57" fmla="*/ 109 h 1956"/>
                <a:gd name="T58" fmla="*/ 27 w 1722"/>
                <a:gd name="T59" fmla="*/ 101 h 1956"/>
                <a:gd name="T60" fmla="*/ 5 w 1722"/>
                <a:gd name="T61" fmla="*/ 98 h 1956"/>
                <a:gd name="T62" fmla="*/ 2 w 1722"/>
                <a:gd name="T63" fmla="*/ 93 h 1956"/>
                <a:gd name="T64" fmla="*/ 12 w 1722"/>
                <a:gd name="T65" fmla="*/ 82 h 1956"/>
                <a:gd name="T66" fmla="*/ 9 w 1722"/>
                <a:gd name="T67" fmla="*/ 74 h 1956"/>
                <a:gd name="T68" fmla="*/ 23 w 1722"/>
                <a:gd name="T69" fmla="*/ 72 h 1956"/>
                <a:gd name="T70" fmla="*/ 22 w 1722"/>
                <a:gd name="T71" fmla="*/ 67 h 1956"/>
                <a:gd name="T72" fmla="*/ 48 w 1722"/>
                <a:gd name="T73" fmla="*/ 57 h 1956"/>
                <a:gd name="T74" fmla="*/ 78 w 1722"/>
                <a:gd name="T75" fmla="*/ 34 h 1956"/>
                <a:gd name="T76" fmla="*/ 81 w 1722"/>
                <a:gd name="T77" fmla="*/ 31 h 1956"/>
                <a:gd name="T78" fmla="*/ 80 w 1722"/>
                <a:gd name="T79" fmla="*/ 26 h 1956"/>
                <a:gd name="T80" fmla="*/ 78 w 1722"/>
                <a:gd name="T81" fmla="*/ 21 h 1956"/>
                <a:gd name="T82" fmla="*/ 77 w 1722"/>
                <a:gd name="T83" fmla="*/ 18 h 1956"/>
                <a:gd name="T84" fmla="*/ 77 w 1722"/>
                <a:gd name="T85" fmla="*/ 12 h 1956"/>
                <a:gd name="T86" fmla="*/ 77 w 1722"/>
                <a:gd name="T87" fmla="*/ 7 h 1956"/>
                <a:gd name="T88" fmla="*/ 102 w 1722"/>
                <a:gd name="T89" fmla="*/ 2 h 1956"/>
                <a:gd name="T90" fmla="*/ 115 w 1722"/>
                <a:gd name="T91" fmla="*/ 3 h 1956"/>
                <a:gd name="T92" fmla="*/ 123 w 1722"/>
                <a:gd name="T93" fmla="*/ 3 h 1956"/>
                <a:gd name="T94" fmla="*/ 125 w 1722"/>
                <a:gd name="T95" fmla="*/ 9 h 1956"/>
                <a:gd name="T96" fmla="*/ 133 w 1722"/>
                <a:gd name="T97" fmla="*/ 13 h 1956"/>
                <a:gd name="T98" fmla="*/ 149 w 1722"/>
                <a:gd name="T99" fmla="*/ 37 h 1956"/>
                <a:gd name="T100" fmla="*/ 141 w 1722"/>
                <a:gd name="T101" fmla="*/ 57 h 1956"/>
                <a:gd name="T102" fmla="*/ 135 w 1722"/>
                <a:gd name="T103" fmla="*/ 63 h 1956"/>
                <a:gd name="T104" fmla="*/ 124 w 1722"/>
                <a:gd name="T105" fmla="*/ 77 h 1956"/>
                <a:gd name="T106" fmla="*/ 123 w 1722"/>
                <a:gd name="T107" fmla="*/ 96 h 1956"/>
                <a:gd name="T108" fmla="*/ 127 w 1722"/>
                <a:gd name="T109" fmla="*/ 97 h 1956"/>
                <a:gd name="T110" fmla="*/ 129 w 1722"/>
                <a:gd name="T111" fmla="*/ 92 h 1956"/>
                <a:gd name="T112" fmla="*/ 134 w 1722"/>
                <a:gd name="T113" fmla="*/ 94 h 1956"/>
                <a:gd name="T114" fmla="*/ 138 w 1722"/>
                <a:gd name="T115" fmla="*/ 99 h 1956"/>
                <a:gd name="T116" fmla="*/ 142 w 1722"/>
                <a:gd name="T117" fmla="*/ 104 h 1956"/>
                <a:gd name="T118" fmla="*/ 141 w 1722"/>
                <a:gd name="T119" fmla="*/ 115 h 19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722"/>
                <a:gd name="T181" fmla="*/ 0 h 1956"/>
                <a:gd name="T182" fmla="*/ 1722 w 1722"/>
                <a:gd name="T183" fmla="*/ 1956 h 19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722" h="1956">
                  <a:moveTo>
                    <a:pt x="1686" y="1404"/>
                  </a:moveTo>
                  <a:lnTo>
                    <a:pt x="1680" y="1416"/>
                  </a:lnTo>
                  <a:lnTo>
                    <a:pt x="1674" y="1422"/>
                  </a:lnTo>
                  <a:lnTo>
                    <a:pt x="1674" y="1428"/>
                  </a:lnTo>
                  <a:lnTo>
                    <a:pt x="1668" y="1428"/>
                  </a:lnTo>
                  <a:lnTo>
                    <a:pt x="1668" y="1434"/>
                  </a:lnTo>
                  <a:lnTo>
                    <a:pt x="1662" y="1446"/>
                  </a:lnTo>
                  <a:lnTo>
                    <a:pt x="1656" y="1464"/>
                  </a:lnTo>
                  <a:lnTo>
                    <a:pt x="1656" y="1476"/>
                  </a:lnTo>
                  <a:lnTo>
                    <a:pt x="1656" y="1488"/>
                  </a:lnTo>
                  <a:lnTo>
                    <a:pt x="1662" y="1500"/>
                  </a:lnTo>
                  <a:lnTo>
                    <a:pt x="1662" y="1506"/>
                  </a:lnTo>
                  <a:lnTo>
                    <a:pt x="1662" y="1524"/>
                  </a:lnTo>
                  <a:lnTo>
                    <a:pt x="1668" y="1542"/>
                  </a:lnTo>
                  <a:lnTo>
                    <a:pt x="1674" y="1560"/>
                  </a:lnTo>
                  <a:lnTo>
                    <a:pt x="1680" y="1578"/>
                  </a:lnTo>
                  <a:lnTo>
                    <a:pt x="1686" y="1578"/>
                  </a:lnTo>
                  <a:lnTo>
                    <a:pt x="1686" y="1584"/>
                  </a:lnTo>
                  <a:lnTo>
                    <a:pt x="1686" y="1590"/>
                  </a:lnTo>
                  <a:lnTo>
                    <a:pt x="1686" y="1596"/>
                  </a:lnTo>
                  <a:lnTo>
                    <a:pt x="1680" y="1596"/>
                  </a:lnTo>
                  <a:lnTo>
                    <a:pt x="1674" y="1602"/>
                  </a:lnTo>
                  <a:lnTo>
                    <a:pt x="1662" y="1602"/>
                  </a:lnTo>
                  <a:lnTo>
                    <a:pt x="1638" y="1596"/>
                  </a:lnTo>
                  <a:lnTo>
                    <a:pt x="1632" y="1596"/>
                  </a:lnTo>
                  <a:lnTo>
                    <a:pt x="1626" y="1602"/>
                  </a:lnTo>
                  <a:lnTo>
                    <a:pt x="1620" y="1602"/>
                  </a:lnTo>
                  <a:lnTo>
                    <a:pt x="1614" y="1602"/>
                  </a:lnTo>
                  <a:lnTo>
                    <a:pt x="1602" y="1602"/>
                  </a:lnTo>
                  <a:lnTo>
                    <a:pt x="1602" y="1608"/>
                  </a:lnTo>
                  <a:lnTo>
                    <a:pt x="1602" y="1620"/>
                  </a:lnTo>
                  <a:lnTo>
                    <a:pt x="1596" y="1620"/>
                  </a:lnTo>
                  <a:lnTo>
                    <a:pt x="1590" y="1620"/>
                  </a:lnTo>
                  <a:lnTo>
                    <a:pt x="1584" y="1626"/>
                  </a:lnTo>
                  <a:lnTo>
                    <a:pt x="1584" y="1632"/>
                  </a:lnTo>
                  <a:lnTo>
                    <a:pt x="1578" y="1644"/>
                  </a:lnTo>
                  <a:lnTo>
                    <a:pt x="1572" y="1644"/>
                  </a:lnTo>
                  <a:lnTo>
                    <a:pt x="1566" y="1644"/>
                  </a:lnTo>
                  <a:lnTo>
                    <a:pt x="1566" y="1650"/>
                  </a:lnTo>
                  <a:lnTo>
                    <a:pt x="1560" y="1650"/>
                  </a:lnTo>
                  <a:lnTo>
                    <a:pt x="1554" y="1650"/>
                  </a:lnTo>
                  <a:lnTo>
                    <a:pt x="1548" y="1650"/>
                  </a:lnTo>
                  <a:lnTo>
                    <a:pt x="1548" y="1656"/>
                  </a:lnTo>
                  <a:lnTo>
                    <a:pt x="1542" y="1668"/>
                  </a:lnTo>
                  <a:lnTo>
                    <a:pt x="1542" y="1674"/>
                  </a:lnTo>
                  <a:lnTo>
                    <a:pt x="1542" y="1692"/>
                  </a:lnTo>
                  <a:lnTo>
                    <a:pt x="1536" y="1698"/>
                  </a:lnTo>
                  <a:lnTo>
                    <a:pt x="1530" y="1698"/>
                  </a:lnTo>
                  <a:lnTo>
                    <a:pt x="1524" y="1698"/>
                  </a:lnTo>
                  <a:lnTo>
                    <a:pt x="1518" y="1704"/>
                  </a:lnTo>
                  <a:lnTo>
                    <a:pt x="1512" y="1710"/>
                  </a:lnTo>
                  <a:lnTo>
                    <a:pt x="1506" y="1722"/>
                  </a:lnTo>
                  <a:lnTo>
                    <a:pt x="1500" y="1728"/>
                  </a:lnTo>
                  <a:lnTo>
                    <a:pt x="1500" y="1734"/>
                  </a:lnTo>
                  <a:lnTo>
                    <a:pt x="1512" y="1734"/>
                  </a:lnTo>
                  <a:lnTo>
                    <a:pt x="1518" y="1740"/>
                  </a:lnTo>
                  <a:lnTo>
                    <a:pt x="1518" y="1746"/>
                  </a:lnTo>
                  <a:lnTo>
                    <a:pt x="1518" y="1752"/>
                  </a:lnTo>
                  <a:lnTo>
                    <a:pt x="1518" y="1758"/>
                  </a:lnTo>
                  <a:lnTo>
                    <a:pt x="1524" y="1758"/>
                  </a:lnTo>
                  <a:lnTo>
                    <a:pt x="1524" y="1764"/>
                  </a:lnTo>
                  <a:lnTo>
                    <a:pt x="1530" y="1770"/>
                  </a:lnTo>
                  <a:lnTo>
                    <a:pt x="1518" y="1770"/>
                  </a:lnTo>
                  <a:lnTo>
                    <a:pt x="1512" y="1782"/>
                  </a:lnTo>
                  <a:lnTo>
                    <a:pt x="1512" y="1788"/>
                  </a:lnTo>
                  <a:lnTo>
                    <a:pt x="1518" y="1788"/>
                  </a:lnTo>
                  <a:lnTo>
                    <a:pt x="1524" y="1800"/>
                  </a:lnTo>
                  <a:lnTo>
                    <a:pt x="1524" y="1806"/>
                  </a:lnTo>
                  <a:lnTo>
                    <a:pt x="1518" y="1812"/>
                  </a:lnTo>
                  <a:lnTo>
                    <a:pt x="1512" y="1818"/>
                  </a:lnTo>
                  <a:lnTo>
                    <a:pt x="1506" y="1818"/>
                  </a:lnTo>
                  <a:lnTo>
                    <a:pt x="1500" y="1824"/>
                  </a:lnTo>
                  <a:lnTo>
                    <a:pt x="1500" y="1836"/>
                  </a:lnTo>
                  <a:lnTo>
                    <a:pt x="1500" y="1842"/>
                  </a:lnTo>
                  <a:lnTo>
                    <a:pt x="1500" y="1848"/>
                  </a:lnTo>
                  <a:lnTo>
                    <a:pt x="1500" y="1854"/>
                  </a:lnTo>
                  <a:lnTo>
                    <a:pt x="1494" y="1860"/>
                  </a:lnTo>
                  <a:lnTo>
                    <a:pt x="1488" y="1860"/>
                  </a:lnTo>
                  <a:lnTo>
                    <a:pt x="1488" y="1866"/>
                  </a:lnTo>
                  <a:lnTo>
                    <a:pt x="1482" y="1872"/>
                  </a:lnTo>
                  <a:lnTo>
                    <a:pt x="1482" y="1878"/>
                  </a:lnTo>
                  <a:lnTo>
                    <a:pt x="1482" y="1884"/>
                  </a:lnTo>
                  <a:lnTo>
                    <a:pt x="1476" y="1890"/>
                  </a:lnTo>
                  <a:lnTo>
                    <a:pt x="1470" y="1890"/>
                  </a:lnTo>
                  <a:lnTo>
                    <a:pt x="1470" y="1896"/>
                  </a:lnTo>
                  <a:lnTo>
                    <a:pt x="1464" y="1896"/>
                  </a:lnTo>
                  <a:lnTo>
                    <a:pt x="1458" y="1896"/>
                  </a:lnTo>
                  <a:lnTo>
                    <a:pt x="1452" y="1896"/>
                  </a:lnTo>
                  <a:lnTo>
                    <a:pt x="1440" y="1890"/>
                  </a:lnTo>
                  <a:lnTo>
                    <a:pt x="1434" y="1896"/>
                  </a:lnTo>
                  <a:lnTo>
                    <a:pt x="1428" y="1896"/>
                  </a:lnTo>
                  <a:lnTo>
                    <a:pt x="1422" y="1896"/>
                  </a:lnTo>
                  <a:lnTo>
                    <a:pt x="1422" y="1902"/>
                  </a:lnTo>
                  <a:lnTo>
                    <a:pt x="1416" y="1902"/>
                  </a:lnTo>
                  <a:lnTo>
                    <a:pt x="1422" y="1914"/>
                  </a:lnTo>
                  <a:lnTo>
                    <a:pt x="1422" y="1932"/>
                  </a:lnTo>
                  <a:lnTo>
                    <a:pt x="1416" y="1938"/>
                  </a:lnTo>
                  <a:lnTo>
                    <a:pt x="1422" y="1938"/>
                  </a:lnTo>
                  <a:lnTo>
                    <a:pt x="1404" y="1938"/>
                  </a:lnTo>
                  <a:lnTo>
                    <a:pt x="1392" y="1944"/>
                  </a:lnTo>
                  <a:lnTo>
                    <a:pt x="1386" y="1944"/>
                  </a:lnTo>
                  <a:lnTo>
                    <a:pt x="1374" y="1944"/>
                  </a:lnTo>
                  <a:lnTo>
                    <a:pt x="1368" y="1950"/>
                  </a:lnTo>
                  <a:lnTo>
                    <a:pt x="1374" y="1956"/>
                  </a:lnTo>
                  <a:lnTo>
                    <a:pt x="1368" y="1956"/>
                  </a:lnTo>
                  <a:lnTo>
                    <a:pt x="1356" y="1956"/>
                  </a:lnTo>
                  <a:lnTo>
                    <a:pt x="1350" y="1956"/>
                  </a:lnTo>
                  <a:lnTo>
                    <a:pt x="1350" y="1950"/>
                  </a:lnTo>
                  <a:lnTo>
                    <a:pt x="1344" y="1944"/>
                  </a:lnTo>
                  <a:lnTo>
                    <a:pt x="1332" y="1938"/>
                  </a:lnTo>
                  <a:lnTo>
                    <a:pt x="1326" y="1938"/>
                  </a:lnTo>
                  <a:lnTo>
                    <a:pt x="1320" y="1938"/>
                  </a:lnTo>
                  <a:lnTo>
                    <a:pt x="1314" y="1944"/>
                  </a:lnTo>
                  <a:lnTo>
                    <a:pt x="1308" y="1944"/>
                  </a:lnTo>
                  <a:lnTo>
                    <a:pt x="1302" y="1944"/>
                  </a:lnTo>
                  <a:lnTo>
                    <a:pt x="1296" y="1938"/>
                  </a:lnTo>
                  <a:lnTo>
                    <a:pt x="1284" y="1938"/>
                  </a:lnTo>
                  <a:lnTo>
                    <a:pt x="1278" y="1938"/>
                  </a:lnTo>
                  <a:lnTo>
                    <a:pt x="1272" y="1938"/>
                  </a:lnTo>
                  <a:lnTo>
                    <a:pt x="1266" y="1932"/>
                  </a:lnTo>
                  <a:lnTo>
                    <a:pt x="1260" y="1932"/>
                  </a:lnTo>
                  <a:lnTo>
                    <a:pt x="1254" y="1920"/>
                  </a:lnTo>
                  <a:lnTo>
                    <a:pt x="1248" y="1920"/>
                  </a:lnTo>
                  <a:lnTo>
                    <a:pt x="1242" y="1920"/>
                  </a:lnTo>
                  <a:lnTo>
                    <a:pt x="1236" y="1926"/>
                  </a:lnTo>
                  <a:lnTo>
                    <a:pt x="1236" y="1932"/>
                  </a:lnTo>
                  <a:lnTo>
                    <a:pt x="1230" y="1932"/>
                  </a:lnTo>
                  <a:lnTo>
                    <a:pt x="1224" y="1932"/>
                  </a:lnTo>
                  <a:lnTo>
                    <a:pt x="1218" y="1938"/>
                  </a:lnTo>
                  <a:lnTo>
                    <a:pt x="1212" y="1932"/>
                  </a:lnTo>
                  <a:lnTo>
                    <a:pt x="1206" y="1926"/>
                  </a:lnTo>
                  <a:lnTo>
                    <a:pt x="1206" y="1908"/>
                  </a:lnTo>
                  <a:lnTo>
                    <a:pt x="1206" y="1884"/>
                  </a:lnTo>
                  <a:lnTo>
                    <a:pt x="1206" y="1866"/>
                  </a:lnTo>
                  <a:lnTo>
                    <a:pt x="1212" y="1848"/>
                  </a:lnTo>
                  <a:lnTo>
                    <a:pt x="1212" y="1842"/>
                  </a:lnTo>
                  <a:lnTo>
                    <a:pt x="1206" y="1836"/>
                  </a:lnTo>
                  <a:lnTo>
                    <a:pt x="1200" y="1830"/>
                  </a:lnTo>
                  <a:lnTo>
                    <a:pt x="1194" y="1824"/>
                  </a:lnTo>
                  <a:lnTo>
                    <a:pt x="1188" y="1824"/>
                  </a:lnTo>
                  <a:lnTo>
                    <a:pt x="1182" y="1824"/>
                  </a:lnTo>
                  <a:lnTo>
                    <a:pt x="1176" y="1824"/>
                  </a:lnTo>
                  <a:lnTo>
                    <a:pt x="1170" y="1818"/>
                  </a:lnTo>
                  <a:lnTo>
                    <a:pt x="1164" y="1830"/>
                  </a:lnTo>
                  <a:lnTo>
                    <a:pt x="1152" y="1836"/>
                  </a:lnTo>
                  <a:lnTo>
                    <a:pt x="1146" y="1842"/>
                  </a:lnTo>
                  <a:lnTo>
                    <a:pt x="1140" y="1842"/>
                  </a:lnTo>
                  <a:lnTo>
                    <a:pt x="1134" y="1842"/>
                  </a:lnTo>
                  <a:lnTo>
                    <a:pt x="1128" y="1842"/>
                  </a:lnTo>
                  <a:lnTo>
                    <a:pt x="1116" y="1836"/>
                  </a:lnTo>
                  <a:lnTo>
                    <a:pt x="1110" y="1842"/>
                  </a:lnTo>
                  <a:lnTo>
                    <a:pt x="1092" y="1830"/>
                  </a:lnTo>
                  <a:lnTo>
                    <a:pt x="1092" y="1824"/>
                  </a:lnTo>
                  <a:lnTo>
                    <a:pt x="1092" y="1806"/>
                  </a:lnTo>
                  <a:lnTo>
                    <a:pt x="1092" y="1800"/>
                  </a:lnTo>
                  <a:lnTo>
                    <a:pt x="1092" y="1794"/>
                  </a:lnTo>
                  <a:lnTo>
                    <a:pt x="1086" y="1788"/>
                  </a:lnTo>
                  <a:lnTo>
                    <a:pt x="1080" y="1794"/>
                  </a:lnTo>
                  <a:lnTo>
                    <a:pt x="1074" y="1788"/>
                  </a:lnTo>
                  <a:lnTo>
                    <a:pt x="1068" y="1770"/>
                  </a:lnTo>
                  <a:lnTo>
                    <a:pt x="1056" y="1764"/>
                  </a:lnTo>
                  <a:lnTo>
                    <a:pt x="1050" y="1764"/>
                  </a:lnTo>
                  <a:lnTo>
                    <a:pt x="1044" y="1764"/>
                  </a:lnTo>
                  <a:lnTo>
                    <a:pt x="1038" y="1758"/>
                  </a:lnTo>
                  <a:lnTo>
                    <a:pt x="1032" y="1752"/>
                  </a:lnTo>
                  <a:lnTo>
                    <a:pt x="1032" y="1746"/>
                  </a:lnTo>
                  <a:lnTo>
                    <a:pt x="1032" y="1740"/>
                  </a:lnTo>
                  <a:lnTo>
                    <a:pt x="1032" y="1734"/>
                  </a:lnTo>
                  <a:lnTo>
                    <a:pt x="1026" y="1734"/>
                  </a:lnTo>
                  <a:lnTo>
                    <a:pt x="1032" y="1728"/>
                  </a:lnTo>
                  <a:lnTo>
                    <a:pt x="1032" y="1722"/>
                  </a:lnTo>
                  <a:lnTo>
                    <a:pt x="1044" y="1686"/>
                  </a:lnTo>
                  <a:lnTo>
                    <a:pt x="1044" y="1680"/>
                  </a:lnTo>
                  <a:lnTo>
                    <a:pt x="1032" y="1674"/>
                  </a:lnTo>
                  <a:lnTo>
                    <a:pt x="1026" y="1674"/>
                  </a:lnTo>
                  <a:lnTo>
                    <a:pt x="1026" y="1668"/>
                  </a:lnTo>
                  <a:lnTo>
                    <a:pt x="1020" y="1662"/>
                  </a:lnTo>
                  <a:lnTo>
                    <a:pt x="1014" y="1668"/>
                  </a:lnTo>
                  <a:lnTo>
                    <a:pt x="1008" y="1662"/>
                  </a:lnTo>
                  <a:lnTo>
                    <a:pt x="1002" y="1662"/>
                  </a:lnTo>
                  <a:lnTo>
                    <a:pt x="1002" y="1668"/>
                  </a:lnTo>
                  <a:lnTo>
                    <a:pt x="996" y="1668"/>
                  </a:lnTo>
                  <a:lnTo>
                    <a:pt x="996" y="1662"/>
                  </a:lnTo>
                  <a:lnTo>
                    <a:pt x="984" y="1662"/>
                  </a:lnTo>
                  <a:lnTo>
                    <a:pt x="984" y="1656"/>
                  </a:lnTo>
                  <a:lnTo>
                    <a:pt x="978" y="1650"/>
                  </a:lnTo>
                  <a:lnTo>
                    <a:pt x="978" y="1644"/>
                  </a:lnTo>
                  <a:lnTo>
                    <a:pt x="966" y="1650"/>
                  </a:lnTo>
                  <a:lnTo>
                    <a:pt x="960" y="1638"/>
                  </a:lnTo>
                  <a:lnTo>
                    <a:pt x="954" y="1632"/>
                  </a:lnTo>
                  <a:lnTo>
                    <a:pt x="948" y="1632"/>
                  </a:lnTo>
                  <a:lnTo>
                    <a:pt x="942" y="1626"/>
                  </a:lnTo>
                  <a:lnTo>
                    <a:pt x="942" y="1614"/>
                  </a:lnTo>
                  <a:lnTo>
                    <a:pt x="930" y="1608"/>
                  </a:lnTo>
                  <a:lnTo>
                    <a:pt x="924" y="1614"/>
                  </a:lnTo>
                  <a:lnTo>
                    <a:pt x="912" y="1608"/>
                  </a:lnTo>
                  <a:lnTo>
                    <a:pt x="888" y="1590"/>
                  </a:lnTo>
                  <a:lnTo>
                    <a:pt x="894" y="1578"/>
                  </a:lnTo>
                  <a:lnTo>
                    <a:pt x="894" y="1572"/>
                  </a:lnTo>
                  <a:lnTo>
                    <a:pt x="894" y="1566"/>
                  </a:lnTo>
                  <a:lnTo>
                    <a:pt x="894" y="1548"/>
                  </a:lnTo>
                  <a:lnTo>
                    <a:pt x="888" y="1548"/>
                  </a:lnTo>
                  <a:lnTo>
                    <a:pt x="882" y="1542"/>
                  </a:lnTo>
                  <a:lnTo>
                    <a:pt x="876" y="1542"/>
                  </a:lnTo>
                  <a:lnTo>
                    <a:pt x="876" y="1536"/>
                  </a:lnTo>
                  <a:lnTo>
                    <a:pt x="870" y="1542"/>
                  </a:lnTo>
                  <a:lnTo>
                    <a:pt x="870" y="1554"/>
                  </a:lnTo>
                  <a:lnTo>
                    <a:pt x="870" y="1566"/>
                  </a:lnTo>
                  <a:lnTo>
                    <a:pt x="870" y="1578"/>
                  </a:lnTo>
                  <a:lnTo>
                    <a:pt x="870" y="1584"/>
                  </a:lnTo>
                  <a:lnTo>
                    <a:pt x="864" y="1584"/>
                  </a:lnTo>
                  <a:lnTo>
                    <a:pt x="870" y="1602"/>
                  </a:lnTo>
                  <a:lnTo>
                    <a:pt x="864" y="1608"/>
                  </a:lnTo>
                  <a:lnTo>
                    <a:pt x="870" y="1614"/>
                  </a:lnTo>
                  <a:lnTo>
                    <a:pt x="864" y="1644"/>
                  </a:lnTo>
                  <a:lnTo>
                    <a:pt x="858" y="1650"/>
                  </a:lnTo>
                  <a:lnTo>
                    <a:pt x="858" y="1656"/>
                  </a:lnTo>
                  <a:lnTo>
                    <a:pt x="852" y="1662"/>
                  </a:lnTo>
                  <a:lnTo>
                    <a:pt x="852" y="1680"/>
                  </a:lnTo>
                  <a:lnTo>
                    <a:pt x="846" y="1686"/>
                  </a:lnTo>
                  <a:lnTo>
                    <a:pt x="834" y="1692"/>
                  </a:lnTo>
                  <a:lnTo>
                    <a:pt x="828" y="1692"/>
                  </a:lnTo>
                  <a:lnTo>
                    <a:pt x="822" y="1698"/>
                  </a:lnTo>
                  <a:lnTo>
                    <a:pt x="822" y="1704"/>
                  </a:lnTo>
                  <a:lnTo>
                    <a:pt x="816" y="1704"/>
                  </a:lnTo>
                  <a:lnTo>
                    <a:pt x="804" y="1692"/>
                  </a:lnTo>
                  <a:lnTo>
                    <a:pt x="786" y="1698"/>
                  </a:lnTo>
                  <a:lnTo>
                    <a:pt x="780" y="1698"/>
                  </a:lnTo>
                  <a:lnTo>
                    <a:pt x="756" y="1698"/>
                  </a:lnTo>
                  <a:lnTo>
                    <a:pt x="744" y="1698"/>
                  </a:lnTo>
                  <a:lnTo>
                    <a:pt x="738" y="1698"/>
                  </a:lnTo>
                  <a:lnTo>
                    <a:pt x="732" y="1704"/>
                  </a:lnTo>
                  <a:lnTo>
                    <a:pt x="726" y="1704"/>
                  </a:lnTo>
                  <a:lnTo>
                    <a:pt x="678" y="1710"/>
                  </a:lnTo>
                  <a:lnTo>
                    <a:pt x="642" y="1710"/>
                  </a:lnTo>
                  <a:lnTo>
                    <a:pt x="618" y="1680"/>
                  </a:lnTo>
                  <a:lnTo>
                    <a:pt x="618" y="1674"/>
                  </a:lnTo>
                  <a:lnTo>
                    <a:pt x="618" y="1668"/>
                  </a:lnTo>
                  <a:lnTo>
                    <a:pt x="624" y="1662"/>
                  </a:lnTo>
                  <a:lnTo>
                    <a:pt x="624" y="1656"/>
                  </a:lnTo>
                  <a:lnTo>
                    <a:pt x="624" y="1650"/>
                  </a:lnTo>
                  <a:lnTo>
                    <a:pt x="618" y="1650"/>
                  </a:lnTo>
                  <a:lnTo>
                    <a:pt x="618" y="1644"/>
                  </a:lnTo>
                  <a:lnTo>
                    <a:pt x="618" y="1638"/>
                  </a:lnTo>
                  <a:lnTo>
                    <a:pt x="618" y="1632"/>
                  </a:lnTo>
                  <a:lnTo>
                    <a:pt x="618" y="1626"/>
                  </a:lnTo>
                  <a:lnTo>
                    <a:pt x="612" y="1626"/>
                  </a:lnTo>
                  <a:lnTo>
                    <a:pt x="612" y="1620"/>
                  </a:lnTo>
                  <a:lnTo>
                    <a:pt x="606" y="1614"/>
                  </a:lnTo>
                  <a:lnTo>
                    <a:pt x="594" y="1626"/>
                  </a:lnTo>
                  <a:lnTo>
                    <a:pt x="594" y="1632"/>
                  </a:lnTo>
                  <a:lnTo>
                    <a:pt x="588" y="1638"/>
                  </a:lnTo>
                  <a:lnTo>
                    <a:pt x="582" y="1638"/>
                  </a:lnTo>
                  <a:lnTo>
                    <a:pt x="564" y="1656"/>
                  </a:lnTo>
                  <a:lnTo>
                    <a:pt x="558" y="1662"/>
                  </a:lnTo>
                  <a:lnTo>
                    <a:pt x="552" y="1662"/>
                  </a:lnTo>
                  <a:lnTo>
                    <a:pt x="540" y="1674"/>
                  </a:lnTo>
                  <a:lnTo>
                    <a:pt x="534" y="1680"/>
                  </a:lnTo>
                  <a:lnTo>
                    <a:pt x="522" y="1692"/>
                  </a:lnTo>
                  <a:lnTo>
                    <a:pt x="516" y="1704"/>
                  </a:lnTo>
                  <a:lnTo>
                    <a:pt x="510" y="1704"/>
                  </a:lnTo>
                  <a:lnTo>
                    <a:pt x="504" y="1704"/>
                  </a:lnTo>
                  <a:lnTo>
                    <a:pt x="486" y="1722"/>
                  </a:lnTo>
                  <a:lnTo>
                    <a:pt x="480" y="1740"/>
                  </a:lnTo>
                  <a:lnTo>
                    <a:pt x="474" y="1740"/>
                  </a:lnTo>
                  <a:lnTo>
                    <a:pt x="468" y="1746"/>
                  </a:lnTo>
                  <a:lnTo>
                    <a:pt x="456" y="1758"/>
                  </a:lnTo>
                  <a:lnTo>
                    <a:pt x="444" y="1770"/>
                  </a:lnTo>
                  <a:lnTo>
                    <a:pt x="438" y="1782"/>
                  </a:lnTo>
                  <a:lnTo>
                    <a:pt x="426" y="1788"/>
                  </a:lnTo>
                  <a:lnTo>
                    <a:pt x="420" y="1788"/>
                  </a:lnTo>
                  <a:lnTo>
                    <a:pt x="420" y="1782"/>
                  </a:lnTo>
                  <a:lnTo>
                    <a:pt x="414" y="1782"/>
                  </a:lnTo>
                  <a:lnTo>
                    <a:pt x="390" y="1782"/>
                  </a:lnTo>
                  <a:lnTo>
                    <a:pt x="390" y="1776"/>
                  </a:lnTo>
                  <a:lnTo>
                    <a:pt x="384" y="1776"/>
                  </a:lnTo>
                  <a:lnTo>
                    <a:pt x="378" y="1776"/>
                  </a:lnTo>
                  <a:lnTo>
                    <a:pt x="372" y="1776"/>
                  </a:lnTo>
                  <a:lnTo>
                    <a:pt x="366" y="1770"/>
                  </a:lnTo>
                  <a:lnTo>
                    <a:pt x="366" y="1776"/>
                  </a:lnTo>
                  <a:lnTo>
                    <a:pt x="360" y="1788"/>
                  </a:lnTo>
                  <a:lnTo>
                    <a:pt x="360" y="1794"/>
                  </a:lnTo>
                  <a:lnTo>
                    <a:pt x="360" y="1800"/>
                  </a:lnTo>
                  <a:lnTo>
                    <a:pt x="354" y="1806"/>
                  </a:lnTo>
                  <a:lnTo>
                    <a:pt x="354" y="1812"/>
                  </a:lnTo>
                  <a:lnTo>
                    <a:pt x="354" y="1824"/>
                  </a:lnTo>
                  <a:lnTo>
                    <a:pt x="348" y="1830"/>
                  </a:lnTo>
                  <a:lnTo>
                    <a:pt x="354" y="1836"/>
                  </a:lnTo>
                  <a:lnTo>
                    <a:pt x="348" y="1842"/>
                  </a:lnTo>
                  <a:lnTo>
                    <a:pt x="354" y="1848"/>
                  </a:lnTo>
                  <a:lnTo>
                    <a:pt x="348" y="1854"/>
                  </a:lnTo>
                  <a:lnTo>
                    <a:pt x="354" y="1854"/>
                  </a:lnTo>
                  <a:lnTo>
                    <a:pt x="348" y="1860"/>
                  </a:lnTo>
                  <a:lnTo>
                    <a:pt x="348" y="1866"/>
                  </a:lnTo>
                  <a:lnTo>
                    <a:pt x="342" y="1866"/>
                  </a:lnTo>
                  <a:lnTo>
                    <a:pt x="342" y="1872"/>
                  </a:lnTo>
                  <a:lnTo>
                    <a:pt x="342" y="1878"/>
                  </a:lnTo>
                  <a:lnTo>
                    <a:pt x="342" y="1884"/>
                  </a:lnTo>
                  <a:lnTo>
                    <a:pt x="336" y="1896"/>
                  </a:lnTo>
                  <a:lnTo>
                    <a:pt x="330" y="1914"/>
                  </a:lnTo>
                  <a:lnTo>
                    <a:pt x="324" y="1920"/>
                  </a:lnTo>
                  <a:lnTo>
                    <a:pt x="324" y="1926"/>
                  </a:lnTo>
                  <a:lnTo>
                    <a:pt x="318" y="1944"/>
                  </a:lnTo>
                  <a:lnTo>
                    <a:pt x="318" y="1950"/>
                  </a:lnTo>
                  <a:lnTo>
                    <a:pt x="312" y="1956"/>
                  </a:lnTo>
                  <a:lnTo>
                    <a:pt x="312" y="1950"/>
                  </a:lnTo>
                  <a:lnTo>
                    <a:pt x="306" y="1950"/>
                  </a:lnTo>
                  <a:lnTo>
                    <a:pt x="306" y="1956"/>
                  </a:lnTo>
                  <a:lnTo>
                    <a:pt x="300" y="1950"/>
                  </a:lnTo>
                  <a:lnTo>
                    <a:pt x="294" y="1956"/>
                  </a:lnTo>
                  <a:lnTo>
                    <a:pt x="288" y="1950"/>
                  </a:lnTo>
                  <a:lnTo>
                    <a:pt x="288" y="1944"/>
                  </a:lnTo>
                  <a:lnTo>
                    <a:pt x="282" y="1938"/>
                  </a:lnTo>
                  <a:lnTo>
                    <a:pt x="282" y="1932"/>
                  </a:lnTo>
                  <a:lnTo>
                    <a:pt x="282" y="1890"/>
                  </a:lnTo>
                  <a:lnTo>
                    <a:pt x="288" y="1860"/>
                  </a:lnTo>
                  <a:lnTo>
                    <a:pt x="294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300" y="1818"/>
                  </a:lnTo>
                  <a:lnTo>
                    <a:pt x="306" y="1794"/>
                  </a:lnTo>
                  <a:lnTo>
                    <a:pt x="306" y="1788"/>
                  </a:lnTo>
                  <a:lnTo>
                    <a:pt x="306" y="1782"/>
                  </a:lnTo>
                  <a:lnTo>
                    <a:pt x="312" y="1776"/>
                  </a:lnTo>
                  <a:lnTo>
                    <a:pt x="306" y="1776"/>
                  </a:lnTo>
                  <a:lnTo>
                    <a:pt x="312" y="1770"/>
                  </a:lnTo>
                  <a:lnTo>
                    <a:pt x="312" y="1740"/>
                  </a:lnTo>
                  <a:lnTo>
                    <a:pt x="318" y="1722"/>
                  </a:lnTo>
                  <a:lnTo>
                    <a:pt x="312" y="1722"/>
                  </a:lnTo>
                  <a:lnTo>
                    <a:pt x="300" y="1716"/>
                  </a:lnTo>
                  <a:lnTo>
                    <a:pt x="306" y="1716"/>
                  </a:lnTo>
                  <a:lnTo>
                    <a:pt x="312" y="1710"/>
                  </a:lnTo>
                  <a:lnTo>
                    <a:pt x="324" y="1674"/>
                  </a:lnTo>
                  <a:lnTo>
                    <a:pt x="366" y="1590"/>
                  </a:lnTo>
                  <a:lnTo>
                    <a:pt x="408" y="1548"/>
                  </a:lnTo>
                  <a:lnTo>
                    <a:pt x="426" y="1530"/>
                  </a:lnTo>
                  <a:lnTo>
                    <a:pt x="432" y="1500"/>
                  </a:lnTo>
                  <a:lnTo>
                    <a:pt x="426" y="1494"/>
                  </a:lnTo>
                  <a:lnTo>
                    <a:pt x="426" y="1482"/>
                  </a:lnTo>
                  <a:lnTo>
                    <a:pt x="432" y="1464"/>
                  </a:lnTo>
                  <a:lnTo>
                    <a:pt x="438" y="1428"/>
                  </a:lnTo>
                  <a:lnTo>
                    <a:pt x="462" y="1398"/>
                  </a:lnTo>
                  <a:lnTo>
                    <a:pt x="468" y="1362"/>
                  </a:lnTo>
                  <a:lnTo>
                    <a:pt x="462" y="1314"/>
                  </a:lnTo>
                  <a:lnTo>
                    <a:pt x="444" y="1284"/>
                  </a:lnTo>
                  <a:lnTo>
                    <a:pt x="432" y="1260"/>
                  </a:lnTo>
                  <a:lnTo>
                    <a:pt x="426" y="1260"/>
                  </a:lnTo>
                  <a:lnTo>
                    <a:pt x="420" y="1254"/>
                  </a:lnTo>
                  <a:lnTo>
                    <a:pt x="408" y="1260"/>
                  </a:lnTo>
                  <a:lnTo>
                    <a:pt x="402" y="1260"/>
                  </a:lnTo>
                  <a:lnTo>
                    <a:pt x="402" y="1254"/>
                  </a:lnTo>
                  <a:lnTo>
                    <a:pt x="396" y="1254"/>
                  </a:lnTo>
                  <a:lnTo>
                    <a:pt x="396" y="1248"/>
                  </a:lnTo>
                  <a:lnTo>
                    <a:pt x="384" y="1248"/>
                  </a:lnTo>
                  <a:lnTo>
                    <a:pt x="372" y="1230"/>
                  </a:lnTo>
                  <a:lnTo>
                    <a:pt x="360" y="1212"/>
                  </a:lnTo>
                  <a:lnTo>
                    <a:pt x="348" y="1188"/>
                  </a:lnTo>
                  <a:lnTo>
                    <a:pt x="324" y="1170"/>
                  </a:lnTo>
                  <a:lnTo>
                    <a:pt x="318" y="1170"/>
                  </a:lnTo>
                  <a:lnTo>
                    <a:pt x="312" y="1158"/>
                  </a:lnTo>
                  <a:lnTo>
                    <a:pt x="312" y="1152"/>
                  </a:lnTo>
                  <a:lnTo>
                    <a:pt x="306" y="1146"/>
                  </a:lnTo>
                  <a:lnTo>
                    <a:pt x="270" y="1122"/>
                  </a:lnTo>
                  <a:lnTo>
                    <a:pt x="240" y="1122"/>
                  </a:lnTo>
                  <a:lnTo>
                    <a:pt x="180" y="1116"/>
                  </a:lnTo>
                  <a:lnTo>
                    <a:pt x="174" y="1122"/>
                  </a:lnTo>
                  <a:lnTo>
                    <a:pt x="174" y="1128"/>
                  </a:lnTo>
                  <a:lnTo>
                    <a:pt x="168" y="1122"/>
                  </a:lnTo>
                  <a:lnTo>
                    <a:pt x="162" y="1116"/>
                  </a:lnTo>
                  <a:lnTo>
                    <a:pt x="144" y="1122"/>
                  </a:lnTo>
                  <a:lnTo>
                    <a:pt x="120" y="1122"/>
                  </a:lnTo>
                  <a:lnTo>
                    <a:pt x="54" y="1134"/>
                  </a:lnTo>
                  <a:lnTo>
                    <a:pt x="24" y="1152"/>
                  </a:lnTo>
                  <a:lnTo>
                    <a:pt x="6" y="1146"/>
                  </a:lnTo>
                  <a:lnTo>
                    <a:pt x="0" y="1134"/>
                  </a:lnTo>
                  <a:lnTo>
                    <a:pt x="0" y="1128"/>
                  </a:lnTo>
                  <a:lnTo>
                    <a:pt x="18" y="1110"/>
                  </a:lnTo>
                  <a:lnTo>
                    <a:pt x="24" y="1104"/>
                  </a:lnTo>
                  <a:lnTo>
                    <a:pt x="24" y="1098"/>
                  </a:lnTo>
                  <a:lnTo>
                    <a:pt x="30" y="1086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24" y="1074"/>
                  </a:lnTo>
                  <a:lnTo>
                    <a:pt x="18" y="1068"/>
                  </a:lnTo>
                  <a:lnTo>
                    <a:pt x="24" y="1062"/>
                  </a:lnTo>
                  <a:lnTo>
                    <a:pt x="42" y="1056"/>
                  </a:lnTo>
                  <a:lnTo>
                    <a:pt x="54" y="1050"/>
                  </a:lnTo>
                  <a:lnTo>
                    <a:pt x="72" y="1044"/>
                  </a:lnTo>
                  <a:lnTo>
                    <a:pt x="96" y="1032"/>
                  </a:lnTo>
                  <a:lnTo>
                    <a:pt x="102" y="1032"/>
                  </a:lnTo>
                  <a:lnTo>
                    <a:pt x="126" y="1008"/>
                  </a:lnTo>
                  <a:lnTo>
                    <a:pt x="144" y="990"/>
                  </a:lnTo>
                  <a:lnTo>
                    <a:pt x="156" y="978"/>
                  </a:lnTo>
                  <a:lnTo>
                    <a:pt x="156" y="966"/>
                  </a:lnTo>
                  <a:lnTo>
                    <a:pt x="150" y="960"/>
                  </a:lnTo>
                  <a:lnTo>
                    <a:pt x="144" y="948"/>
                  </a:lnTo>
                  <a:lnTo>
                    <a:pt x="144" y="936"/>
                  </a:lnTo>
                  <a:lnTo>
                    <a:pt x="138" y="918"/>
                  </a:lnTo>
                  <a:lnTo>
                    <a:pt x="150" y="912"/>
                  </a:lnTo>
                  <a:lnTo>
                    <a:pt x="150" y="894"/>
                  </a:lnTo>
                  <a:lnTo>
                    <a:pt x="132" y="876"/>
                  </a:lnTo>
                  <a:lnTo>
                    <a:pt x="126" y="876"/>
                  </a:lnTo>
                  <a:lnTo>
                    <a:pt x="120" y="870"/>
                  </a:lnTo>
                  <a:lnTo>
                    <a:pt x="120" y="864"/>
                  </a:lnTo>
                  <a:lnTo>
                    <a:pt x="114" y="864"/>
                  </a:lnTo>
                  <a:lnTo>
                    <a:pt x="108" y="864"/>
                  </a:lnTo>
                  <a:lnTo>
                    <a:pt x="108" y="858"/>
                  </a:lnTo>
                  <a:lnTo>
                    <a:pt x="102" y="852"/>
                  </a:lnTo>
                  <a:lnTo>
                    <a:pt x="96" y="852"/>
                  </a:lnTo>
                  <a:lnTo>
                    <a:pt x="102" y="834"/>
                  </a:lnTo>
                  <a:lnTo>
                    <a:pt x="108" y="816"/>
                  </a:lnTo>
                  <a:lnTo>
                    <a:pt x="114" y="804"/>
                  </a:lnTo>
                  <a:lnTo>
                    <a:pt x="132" y="798"/>
                  </a:lnTo>
                  <a:lnTo>
                    <a:pt x="144" y="798"/>
                  </a:lnTo>
                  <a:lnTo>
                    <a:pt x="180" y="810"/>
                  </a:lnTo>
                  <a:lnTo>
                    <a:pt x="192" y="816"/>
                  </a:lnTo>
                  <a:lnTo>
                    <a:pt x="234" y="822"/>
                  </a:lnTo>
                  <a:lnTo>
                    <a:pt x="264" y="828"/>
                  </a:lnTo>
                  <a:lnTo>
                    <a:pt x="270" y="840"/>
                  </a:lnTo>
                  <a:lnTo>
                    <a:pt x="270" y="834"/>
                  </a:lnTo>
                  <a:lnTo>
                    <a:pt x="270" y="828"/>
                  </a:lnTo>
                  <a:lnTo>
                    <a:pt x="270" y="822"/>
                  </a:lnTo>
                  <a:lnTo>
                    <a:pt x="270" y="816"/>
                  </a:lnTo>
                  <a:lnTo>
                    <a:pt x="264" y="810"/>
                  </a:lnTo>
                  <a:lnTo>
                    <a:pt x="264" y="804"/>
                  </a:lnTo>
                  <a:lnTo>
                    <a:pt x="264" y="798"/>
                  </a:lnTo>
                  <a:lnTo>
                    <a:pt x="258" y="792"/>
                  </a:lnTo>
                  <a:lnTo>
                    <a:pt x="258" y="786"/>
                  </a:lnTo>
                  <a:lnTo>
                    <a:pt x="264" y="786"/>
                  </a:lnTo>
                  <a:lnTo>
                    <a:pt x="264" y="780"/>
                  </a:lnTo>
                  <a:lnTo>
                    <a:pt x="258" y="774"/>
                  </a:lnTo>
                  <a:lnTo>
                    <a:pt x="258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82" y="762"/>
                  </a:lnTo>
                  <a:lnTo>
                    <a:pt x="312" y="780"/>
                  </a:lnTo>
                  <a:lnTo>
                    <a:pt x="354" y="786"/>
                  </a:lnTo>
                  <a:lnTo>
                    <a:pt x="408" y="774"/>
                  </a:lnTo>
                  <a:lnTo>
                    <a:pt x="444" y="756"/>
                  </a:lnTo>
                  <a:lnTo>
                    <a:pt x="468" y="732"/>
                  </a:lnTo>
                  <a:lnTo>
                    <a:pt x="492" y="720"/>
                  </a:lnTo>
                  <a:lnTo>
                    <a:pt x="522" y="690"/>
                  </a:lnTo>
                  <a:lnTo>
                    <a:pt x="540" y="672"/>
                  </a:lnTo>
                  <a:lnTo>
                    <a:pt x="558" y="660"/>
                  </a:lnTo>
                  <a:lnTo>
                    <a:pt x="570" y="636"/>
                  </a:lnTo>
                  <a:lnTo>
                    <a:pt x="588" y="612"/>
                  </a:lnTo>
                  <a:lnTo>
                    <a:pt x="654" y="552"/>
                  </a:lnTo>
                  <a:lnTo>
                    <a:pt x="678" y="528"/>
                  </a:lnTo>
                  <a:lnTo>
                    <a:pt x="696" y="510"/>
                  </a:lnTo>
                  <a:lnTo>
                    <a:pt x="714" y="498"/>
                  </a:lnTo>
                  <a:lnTo>
                    <a:pt x="750" y="480"/>
                  </a:lnTo>
                  <a:lnTo>
                    <a:pt x="774" y="444"/>
                  </a:lnTo>
                  <a:lnTo>
                    <a:pt x="816" y="426"/>
                  </a:lnTo>
                  <a:lnTo>
                    <a:pt x="864" y="420"/>
                  </a:lnTo>
                  <a:lnTo>
                    <a:pt x="912" y="402"/>
                  </a:lnTo>
                  <a:lnTo>
                    <a:pt x="906" y="396"/>
                  </a:lnTo>
                  <a:lnTo>
                    <a:pt x="912" y="396"/>
                  </a:lnTo>
                  <a:lnTo>
                    <a:pt x="912" y="390"/>
                  </a:lnTo>
                  <a:lnTo>
                    <a:pt x="918" y="384"/>
                  </a:lnTo>
                  <a:lnTo>
                    <a:pt x="924" y="384"/>
                  </a:lnTo>
                  <a:lnTo>
                    <a:pt x="924" y="378"/>
                  </a:lnTo>
                  <a:lnTo>
                    <a:pt x="918" y="372"/>
                  </a:lnTo>
                  <a:lnTo>
                    <a:pt x="918" y="366"/>
                  </a:lnTo>
                  <a:lnTo>
                    <a:pt x="918" y="360"/>
                  </a:lnTo>
                  <a:lnTo>
                    <a:pt x="924" y="360"/>
                  </a:lnTo>
                  <a:lnTo>
                    <a:pt x="924" y="354"/>
                  </a:lnTo>
                  <a:lnTo>
                    <a:pt x="930" y="354"/>
                  </a:lnTo>
                  <a:lnTo>
                    <a:pt x="936" y="354"/>
                  </a:lnTo>
                  <a:lnTo>
                    <a:pt x="936" y="348"/>
                  </a:lnTo>
                  <a:lnTo>
                    <a:pt x="942" y="348"/>
                  </a:lnTo>
                  <a:lnTo>
                    <a:pt x="942" y="336"/>
                  </a:lnTo>
                  <a:lnTo>
                    <a:pt x="936" y="336"/>
                  </a:lnTo>
                  <a:lnTo>
                    <a:pt x="930" y="330"/>
                  </a:lnTo>
                  <a:lnTo>
                    <a:pt x="924" y="330"/>
                  </a:lnTo>
                  <a:lnTo>
                    <a:pt x="924" y="324"/>
                  </a:lnTo>
                  <a:lnTo>
                    <a:pt x="918" y="318"/>
                  </a:lnTo>
                  <a:lnTo>
                    <a:pt x="912" y="306"/>
                  </a:lnTo>
                  <a:lnTo>
                    <a:pt x="918" y="306"/>
                  </a:lnTo>
                  <a:lnTo>
                    <a:pt x="924" y="300"/>
                  </a:lnTo>
                  <a:lnTo>
                    <a:pt x="924" y="294"/>
                  </a:lnTo>
                  <a:lnTo>
                    <a:pt x="924" y="288"/>
                  </a:lnTo>
                  <a:lnTo>
                    <a:pt x="924" y="282"/>
                  </a:lnTo>
                  <a:lnTo>
                    <a:pt x="924" y="276"/>
                  </a:lnTo>
                  <a:lnTo>
                    <a:pt x="918" y="270"/>
                  </a:lnTo>
                  <a:lnTo>
                    <a:pt x="918" y="264"/>
                  </a:lnTo>
                  <a:lnTo>
                    <a:pt x="912" y="270"/>
                  </a:lnTo>
                  <a:lnTo>
                    <a:pt x="912" y="264"/>
                  </a:lnTo>
                  <a:lnTo>
                    <a:pt x="912" y="258"/>
                  </a:lnTo>
                  <a:lnTo>
                    <a:pt x="912" y="252"/>
                  </a:lnTo>
                  <a:lnTo>
                    <a:pt x="906" y="252"/>
                  </a:lnTo>
                  <a:lnTo>
                    <a:pt x="900" y="246"/>
                  </a:lnTo>
                  <a:lnTo>
                    <a:pt x="900" y="240"/>
                  </a:lnTo>
                  <a:lnTo>
                    <a:pt x="900" y="246"/>
                  </a:lnTo>
                  <a:lnTo>
                    <a:pt x="894" y="246"/>
                  </a:lnTo>
                  <a:lnTo>
                    <a:pt x="894" y="240"/>
                  </a:lnTo>
                  <a:lnTo>
                    <a:pt x="894" y="234"/>
                  </a:lnTo>
                  <a:lnTo>
                    <a:pt x="900" y="234"/>
                  </a:lnTo>
                  <a:lnTo>
                    <a:pt x="900" y="228"/>
                  </a:lnTo>
                  <a:lnTo>
                    <a:pt x="906" y="228"/>
                  </a:lnTo>
                  <a:lnTo>
                    <a:pt x="900" y="222"/>
                  </a:lnTo>
                  <a:lnTo>
                    <a:pt x="894" y="216"/>
                  </a:lnTo>
                  <a:lnTo>
                    <a:pt x="894" y="210"/>
                  </a:lnTo>
                  <a:lnTo>
                    <a:pt x="888" y="210"/>
                  </a:lnTo>
                  <a:lnTo>
                    <a:pt x="888" y="204"/>
                  </a:lnTo>
                  <a:lnTo>
                    <a:pt x="888" y="198"/>
                  </a:lnTo>
                  <a:lnTo>
                    <a:pt x="888" y="192"/>
                  </a:lnTo>
                  <a:lnTo>
                    <a:pt x="882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82" y="174"/>
                  </a:lnTo>
                  <a:lnTo>
                    <a:pt x="888" y="168"/>
                  </a:lnTo>
                  <a:lnTo>
                    <a:pt x="888" y="162"/>
                  </a:lnTo>
                  <a:lnTo>
                    <a:pt x="888" y="156"/>
                  </a:lnTo>
                  <a:lnTo>
                    <a:pt x="888" y="150"/>
                  </a:lnTo>
                  <a:lnTo>
                    <a:pt x="888" y="144"/>
                  </a:lnTo>
                  <a:lnTo>
                    <a:pt x="882" y="144"/>
                  </a:lnTo>
                  <a:lnTo>
                    <a:pt x="882" y="138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76" y="120"/>
                  </a:lnTo>
                  <a:lnTo>
                    <a:pt x="882" y="114"/>
                  </a:lnTo>
                  <a:lnTo>
                    <a:pt x="882" y="108"/>
                  </a:lnTo>
                  <a:lnTo>
                    <a:pt x="888" y="102"/>
                  </a:lnTo>
                  <a:lnTo>
                    <a:pt x="894" y="102"/>
                  </a:lnTo>
                  <a:lnTo>
                    <a:pt x="894" y="96"/>
                  </a:lnTo>
                  <a:lnTo>
                    <a:pt x="888" y="96"/>
                  </a:lnTo>
                  <a:lnTo>
                    <a:pt x="894" y="90"/>
                  </a:lnTo>
                  <a:lnTo>
                    <a:pt x="888" y="84"/>
                  </a:lnTo>
                  <a:lnTo>
                    <a:pt x="888" y="78"/>
                  </a:lnTo>
                  <a:lnTo>
                    <a:pt x="924" y="66"/>
                  </a:lnTo>
                  <a:lnTo>
                    <a:pt x="966" y="66"/>
                  </a:lnTo>
                  <a:lnTo>
                    <a:pt x="996" y="48"/>
                  </a:lnTo>
                  <a:lnTo>
                    <a:pt x="1056" y="12"/>
                  </a:lnTo>
                  <a:lnTo>
                    <a:pt x="1128" y="0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0" y="18"/>
                  </a:lnTo>
                  <a:lnTo>
                    <a:pt x="1176" y="24"/>
                  </a:lnTo>
                  <a:lnTo>
                    <a:pt x="1182" y="24"/>
                  </a:lnTo>
                  <a:lnTo>
                    <a:pt x="1188" y="30"/>
                  </a:lnTo>
                  <a:lnTo>
                    <a:pt x="1194" y="30"/>
                  </a:lnTo>
                  <a:lnTo>
                    <a:pt x="1194" y="36"/>
                  </a:lnTo>
                  <a:lnTo>
                    <a:pt x="1260" y="30"/>
                  </a:lnTo>
                  <a:lnTo>
                    <a:pt x="1272" y="30"/>
                  </a:lnTo>
                  <a:lnTo>
                    <a:pt x="1296" y="24"/>
                  </a:lnTo>
                  <a:lnTo>
                    <a:pt x="1302" y="30"/>
                  </a:lnTo>
                  <a:lnTo>
                    <a:pt x="1302" y="36"/>
                  </a:lnTo>
                  <a:lnTo>
                    <a:pt x="1308" y="36"/>
                  </a:lnTo>
                  <a:lnTo>
                    <a:pt x="1314" y="36"/>
                  </a:lnTo>
                  <a:lnTo>
                    <a:pt x="1320" y="36"/>
                  </a:lnTo>
                  <a:lnTo>
                    <a:pt x="1326" y="30"/>
                  </a:lnTo>
                  <a:lnTo>
                    <a:pt x="1332" y="30"/>
                  </a:lnTo>
                  <a:lnTo>
                    <a:pt x="1338" y="30"/>
                  </a:lnTo>
                  <a:lnTo>
                    <a:pt x="1344" y="30"/>
                  </a:lnTo>
                  <a:lnTo>
                    <a:pt x="1374" y="30"/>
                  </a:lnTo>
                  <a:lnTo>
                    <a:pt x="1386" y="30"/>
                  </a:lnTo>
                  <a:lnTo>
                    <a:pt x="1392" y="24"/>
                  </a:lnTo>
                  <a:lnTo>
                    <a:pt x="1398" y="12"/>
                  </a:lnTo>
                  <a:lnTo>
                    <a:pt x="1404" y="6"/>
                  </a:lnTo>
                  <a:lnTo>
                    <a:pt x="1410" y="6"/>
                  </a:lnTo>
                  <a:lnTo>
                    <a:pt x="1410" y="12"/>
                  </a:lnTo>
                  <a:lnTo>
                    <a:pt x="1416" y="18"/>
                  </a:lnTo>
                  <a:lnTo>
                    <a:pt x="1416" y="36"/>
                  </a:lnTo>
                  <a:lnTo>
                    <a:pt x="1434" y="54"/>
                  </a:lnTo>
                  <a:lnTo>
                    <a:pt x="1434" y="60"/>
                  </a:lnTo>
                  <a:lnTo>
                    <a:pt x="1434" y="66"/>
                  </a:lnTo>
                  <a:lnTo>
                    <a:pt x="1434" y="72"/>
                  </a:lnTo>
                  <a:lnTo>
                    <a:pt x="1428" y="72"/>
                  </a:lnTo>
                  <a:lnTo>
                    <a:pt x="1428" y="78"/>
                  </a:lnTo>
                  <a:lnTo>
                    <a:pt x="1434" y="78"/>
                  </a:lnTo>
                  <a:lnTo>
                    <a:pt x="1440" y="84"/>
                  </a:lnTo>
                  <a:lnTo>
                    <a:pt x="1440" y="90"/>
                  </a:lnTo>
                  <a:lnTo>
                    <a:pt x="1440" y="96"/>
                  </a:lnTo>
                  <a:lnTo>
                    <a:pt x="1446" y="96"/>
                  </a:lnTo>
                  <a:lnTo>
                    <a:pt x="1446" y="108"/>
                  </a:lnTo>
                  <a:lnTo>
                    <a:pt x="1452" y="108"/>
                  </a:lnTo>
                  <a:lnTo>
                    <a:pt x="1452" y="114"/>
                  </a:lnTo>
                  <a:lnTo>
                    <a:pt x="1458" y="114"/>
                  </a:lnTo>
                  <a:lnTo>
                    <a:pt x="1470" y="120"/>
                  </a:lnTo>
                  <a:lnTo>
                    <a:pt x="1476" y="120"/>
                  </a:lnTo>
                  <a:lnTo>
                    <a:pt x="1476" y="114"/>
                  </a:lnTo>
                  <a:lnTo>
                    <a:pt x="1488" y="120"/>
                  </a:lnTo>
                  <a:lnTo>
                    <a:pt x="1506" y="120"/>
                  </a:lnTo>
                  <a:lnTo>
                    <a:pt x="1512" y="120"/>
                  </a:lnTo>
                  <a:lnTo>
                    <a:pt x="1518" y="120"/>
                  </a:lnTo>
                  <a:lnTo>
                    <a:pt x="1524" y="126"/>
                  </a:lnTo>
                  <a:lnTo>
                    <a:pt x="1536" y="150"/>
                  </a:lnTo>
                  <a:lnTo>
                    <a:pt x="1548" y="162"/>
                  </a:lnTo>
                  <a:lnTo>
                    <a:pt x="1554" y="168"/>
                  </a:lnTo>
                  <a:lnTo>
                    <a:pt x="1584" y="228"/>
                  </a:lnTo>
                  <a:lnTo>
                    <a:pt x="1584" y="234"/>
                  </a:lnTo>
                  <a:lnTo>
                    <a:pt x="1578" y="312"/>
                  </a:lnTo>
                  <a:lnTo>
                    <a:pt x="1590" y="318"/>
                  </a:lnTo>
                  <a:lnTo>
                    <a:pt x="1608" y="330"/>
                  </a:lnTo>
                  <a:lnTo>
                    <a:pt x="1620" y="342"/>
                  </a:lnTo>
                  <a:lnTo>
                    <a:pt x="1626" y="342"/>
                  </a:lnTo>
                  <a:lnTo>
                    <a:pt x="1692" y="360"/>
                  </a:lnTo>
                  <a:lnTo>
                    <a:pt x="1710" y="408"/>
                  </a:lnTo>
                  <a:lnTo>
                    <a:pt x="1722" y="426"/>
                  </a:lnTo>
                  <a:lnTo>
                    <a:pt x="1716" y="468"/>
                  </a:lnTo>
                  <a:lnTo>
                    <a:pt x="1686" y="486"/>
                  </a:lnTo>
                  <a:lnTo>
                    <a:pt x="1686" y="492"/>
                  </a:lnTo>
                  <a:lnTo>
                    <a:pt x="1680" y="498"/>
                  </a:lnTo>
                  <a:lnTo>
                    <a:pt x="1650" y="558"/>
                  </a:lnTo>
                  <a:lnTo>
                    <a:pt x="1650" y="570"/>
                  </a:lnTo>
                  <a:lnTo>
                    <a:pt x="1644" y="570"/>
                  </a:lnTo>
                  <a:lnTo>
                    <a:pt x="1638" y="582"/>
                  </a:lnTo>
                  <a:lnTo>
                    <a:pt x="1638" y="624"/>
                  </a:lnTo>
                  <a:lnTo>
                    <a:pt x="1638" y="636"/>
                  </a:lnTo>
                  <a:lnTo>
                    <a:pt x="1638" y="642"/>
                  </a:lnTo>
                  <a:lnTo>
                    <a:pt x="1632" y="660"/>
                  </a:lnTo>
                  <a:lnTo>
                    <a:pt x="1608" y="678"/>
                  </a:lnTo>
                  <a:lnTo>
                    <a:pt x="1584" y="690"/>
                  </a:lnTo>
                  <a:lnTo>
                    <a:pt x="1584" y="696"/>
                  </a:lnTo>
                  <a:lnTo>
                    <a:pt x="1578" y="702"/>
                  </a:lnTo>
                  <a:lnTo>
                    <a:pt x="1584" y="702"/>
                  </a:lnTo>
                  <a:lnTo>
                    <a:pt x="1578" y="714"/>
                  </a:lnTo>
                  <a:lnTo>
                    <a:pt x="1572" y="714"/>
                  </a:lnTo>
                  <a:lnTo>
                    <a:pt x="1572" y="720"/>
                  </a:lnTo>
                  <a:lnTo>
                    <a:pt x="1566" y="720"/>
                  </a:lnTo>
                  <a:lnTo>
                    <a:pt x="1560" y="726"/>
                  </a:lnTo>
                  <a:lnTo>
                    <a:pt x="1560" y="732"/>
                  </a:lnTo>
                  <a:lnTo>
                    <a:pt x="1554" y="732"/>
                  </a:lnTo>
                  <a:lnTo>
                    <a:pt x="1554" y="738"/>
                  </a:lnTo>
                  <a:lnTo>
                    <a:pt x="1554" y="744"/>
                  </a:lnTo>
                  <a:lnTo>
                    <a:pt x="1548" y="744"/>
                  </a:lnTo>
                  <a:lnTo>
                    <a:pt x="1548" y="738"/>
                  </a:lnTo>
                  <a:lnTo>
                    <a:pt x="1542" y="738"/>
                  </a:lnTo>
                  <a:lnTo>
                    <a:pt x="1542" y="744"/>
                  </a:lnTo>
                  <a:lnTo>
                    <a:pt x="1542" y="750"/>
                  </a:lnTo>
                  <a:lnTo>
                    <a:pt x="1494" y="804"/>
                  </a:lnTo>
                  <a:lnTo>
                    <a:pt x="1446" y="876"/>
                  </a:lnTo>
                  <a:lnTo>
                    <a:pt x="1440" y="876"/>
                  </a:lnTo>
                  <a:lnTo>
                    <a:pt x="1434" y="876"/>
                  </a:lnTo>
                  <a:lnTo>
                    <a:pt x="1428" y="882"/>
                  </a:lnTo>
                  <a:lnTo>
                    <a:pt x="1422" y="882"/>
                  </a:lnTo>
                  <a:lnTo>
                    <a:pt x="1386" y="924"/>
                  </a:lnTo>
                  <a:lnTo>
                    <a:pt x="1362" y="954"/>
                  </a:lnTo>
                  <a:lnTo>
                    <a:pt x="1356" y="984"/>
                  </a:lnTo>
                  <a:lnTo>
                    <a:pt x="1362" y="1002"/>
                  </a:lnTo>
                  <a:lnTo>
                    <a:pt x="1368" y="1020"/>
                  </a:lnTo>
                  <a:lnTo>
                    <a:pt x="1386" y="1056"/>
                  </a:lnTo>
                  <a:lnTo>
                    <a:pt x="1404" y="1074"/>
                  </a:lnTo>
                  <a:lnTo>
                    <a:pt x="1416" y="1080"/>
                  </a:lnTo>
                  <a:lnTo>
                    <a:pt x="1416" y="1086"/>
                  </a:lnTo>
                  <a:lnTo>
                    <a:pt x="1422" y="1098"/>
                  </a:lnTo>
                  <a:lnTo>
                    <a:pt x="1422" y="1110"/>
                  </a:lnTo>
                  <a:lnTo>
                    <a:pt x="1428" y="1116"/>
                  </a:lnTo>
                  <a:lnTo>
                    <a:pt x="1434" y="1116"/>
                  </a:lnTo>
                  <a:lnTo>
                    <a:pt x="1434" y="1122"/>
                  </a:lnTo>
                  <a:lnTo>
                    <a:pt x="1434" y="1128"/>
                  </a:lnTo>
                  <a:lnTo>
                    <a:pt x="1440" y="1134"/>
                  </a:lnTo>
                  <a:lnTo>
                    <a:pt x="1446" y="1134"/>
                  </a:lnTo>
                  <a:lnTo>
                    <a:pt x="1458" y="1134"/>
                  </a:lnTo>
                  <a:lnTo>
                    <a:pt x="1458" y="1140"/>
                  </a:lnTo>
                  <a:lnTo>
                    <a:pt x="1464" y="1134"/>
                  </a:lnTo>
                  <a:lnTo>
                    <a:pt x="1470" y="1134"/>
                  </a:lnTo>
                  <a:lnTo>
                    <a:pt x="1464" y="1128"/>
                  </a:lnTo>
                  <a:lnTo>
                    <a:pt x="1464" y="1122"/>
                  </a:lnTo>
                  <a:lnTo>
                    <a:pt x="1470" y="1116"/>
                  </a:lnTo>
                  <a:lnTo>
                    <a:pt x="1470" y="1122"/>
                  </a:lnTo>
                  <a:lnTo>
                    <a:pt x="1476" y="1122"/>
                  </a:lnTo>
                  <a:lnTo>
                    <a:pt x="1476" y="1116"/>
                  </a:lnTo>
                  <a:lnTo>
                    <a:pt x="1482" y="1110"/>
                  </a:lnTo>
                  <a:lnTo>
                    <a:pt x="1476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82" y="1086"/>
                  </a:lnTo>
                  <a:lnTo>
                    <a:pt x="1482" y="1074"/>
                  </a:lnTo>
                  <a:lnTo>
                    <a:pt x="1488" y="1068"/>
                  </a:lnTo>
                  <a:lnTo>
                    <a:pt x="1488" y="1062"/>
                  </a:lnTo>
                  <a:lnTo>
                    <a:pt x="1494" y="1062"/>
                  </a:lnTo>
                  <a:lnTo>
                    <a:pt x="1500" y="1062"/>
                  </a:lnTo>
                  <a:lnTo>
                    <a:pt x="1506" y="1062"/>
                  </a:lnTo>
                  <a:lnTo>
                    <a:pt x="1506" y="1056"/>
                  </a:lnTo>
                  <a:lnTo>
                    <a:pt x="1506" y="1062"/>
                  </a:lnTo>
                  <a:lnTo>
                    <a:pt x="1518" y="1062"/>
                  </a:lnTo>
                  <a:lnTo>
                    <a:pt x="1524" y="1062"/>
                  </a:lnTo>
                  <a:lnTo>
                    <a:pt x="1530" y="1062"/>
                  </a:lnTo>
                  <a:lnTo>
                    <a:pt x="1536" y="1068"/>
                  </a:lnTo>
                  <a:lnTo>
                    <a:pt x="1536" y="1074"/>
                  </a:lnTo>
                  <a:lnTo>
                    <a:pt x="1542" y="1086"/>
                  </a:lnTo>
                  <a:lnTo>
                    <a:pt x="1548" y="1086"/>
                  </a:lnTo>
                  <a:lnTo>
                    <a:pt x="1554" y="1086"/>
                  </a:lnTo>
                  <a:lnTo>
                    <a:pt x="1566" y="1098"/>
                  </a:lnTo>
                  <a:lnTo>
                    <a:pt x="1572" y="1104"/>
                  </a:lnTo>
                  <a:lnTo>
                    <a:pt x="1566" y="1110"/>
                  </a:lnTo>
                  <a:lnTo>
                    <a:pt x="1572" y="1116"/>
                  </a:lnTo>
                  <a:lnTo>
                    <a:pt x="1578" y="1116"/>
                  </a:lnTo>
                  <a:lnTo>
                    <a:pt x="1578" y="1122"/>
                  </a:lnTo>
                  <a:lnTo>
                    <a:pt x="1584" y="1122"/>
                  </a:lnTo>
                  <a:lnTo>
                    <a:pt x="1584" y="1128"/>
                  </a:lnTo>
                  <a:lnTo>
                    <a:pt x="1584" y="1134"/>
                  </a:lnTo>
                  <a:lnTo>
                    <a:pt x="1590" y="1134"/>
                  </a:lnTo>
                  <a:lnTo>
                    <a:pt x="1596" y="1140"/>
                  </a:lnTo>
                  <a:lnTo>
                    <a:pt x="1602" y="1146"/>
                  </a:lnTo>
                  <a:lnTo>
                    <a:pt x="1608" y="1146"/>
                  </a:lnTo>
                  <a:lnTo>
                    <a:pt x="1614" y="1146"/>
                  </a:lnTo>
                  <a:lnTo>
                    <a:pt x="1614" y="1152"/>
                  </a:lnTo>
                  <a:lnTo>
                    <a:pt x="1620" y="1152"/>
                  </a:lnTo>
                  <a:lnTo>
                    <a:pt x="1626" y="1164"/>
                  </a:lnTo>
                  <a:lnTo>
                    <a:pt x="1632" y="1170"/>
                  </a:lnTo>
                  <a:lnTo>
                    <a:pt x="1638" y="1176"/>
                  </a:lnTo>
                  <a:lnTo>
                    <a:pt x="1638" y="1182"/>
                  </a:lnTo>
                  <a:lnTo>
                    <a:pt x="1644" y="1194"/>
                  </a:lnTo>
                  <a:lnTo>
                    <a:pt x="1644" y="1200"/>
                  </a:lnTo>
                  <a:lnTo>
                    <a:pt x="1638" y="1200"/>
                  </a:lnTo>
                  <a:lnTo>
                    <a:pt x="1638" y="1206"/>
                  </a:lnTo>
                  <a:lnTo>
                    <a:pt x="1638" y="1212"/>
                  </a:lnTo>
                  <a:lnTo>
                    <a:pt x="1638" y="1218"/>
                  </a:lnTo>
                  <a:lnTo>
                    <a:pt x="1632" y="1242"/>
                  </a:lnTo>
                  <a:lnTo>
                    <a:pt x="1632" y="1266"/>
                  </a:lnTo>
                  <a:lnTo>
                    <a:pt x="1638" y="1284"/>
                  </a:lnTo>
                  <a:lnTo>
                    <a:pt x="1638" y="1296"/>
                  </a:lnTo>
                  <a:lnTo>
                    <a:pt x="1632" y="1296"/>
                  </a:lnTo>
                  <a:lnTo>
                    <a:pt x="1632" y="1302"/>
                  </a:lnTo>
                  <a:lnTo>
                    <a:pt x="1638" y="1314"/>
                  </a:lnTo>
                  <a:lnTo>
                    <a:pt x="1638" y="1320"/>
                  </a:lnTo>
                  <a:lnTo>
                    <a:pt x="1632" y="1320"/>
                  </a:lnTo>
                  <a:lnTo>
                    <a:pt x="1632" y="1326"/>
                  </a:lnTo>
                  <a:lnTo>
                    <a:pt x="1644" y="1332"/>
                  </a:lnTo>
                  <a:lnTo>
                    <a:pt x="1644" y="1338"/>
                  </a:lnTo>
                  <a:lnTo>
                    <a:pt x="1650" y="1344"/>
                  </a:lnTo>
                  <a:lnTo>
                    <a:pt x="1668" y="1362"/>
                  </a:lnTo>
                  <a:lnTo>
                    <a:pt x="1668" y="1368"/>
                  </a:lnTo>
                  <a:lnTo>
                    <a:pt x="1674" y="1392"/>
                  </a:lnTo>
                  <a:lnTo>
                    <a:pt x="1686" y="140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2" name="Freeform 17">
              <a:extLst>
                <a:ext uri="{FF2B5EF4-FFF2-40B4-BE49-F238E27FC236}">
                  <a16:creationId xmlns:a16="http://schemas.microsoft.com/office/drawing/2014/main" id="{9F9DF7AF-2203-4CCB-AF1B-32CDAF87CC5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416927"/>
              <a:ext cx="816209" cy="574781"/>
            </a:xfrm>
            <a:custGeom>
              <a:avLst/>
              <a:gdLst>
                <a:gd name="T0" fmla="*/ 115 w 1536"/>
                <a:gd name="T1" fmla="*/ 89 h 1080"/>
                <a:gd name="T2" fmla="*/ 113 w 1536"/>
                <a:gd name="T3" fmla="*/ 92 h 1080"/>
                <a:gd name="T4" fmla="*/ 107 w 1536"/>
                <a:gd name="T5" fmla="*/ 93 h 1080"/>
                <a:gd name="T6" fmla="*/ 108 w 1536"/>
                <a:gd name="T7" fmla="*/ 90 h 1080"/>
                <a:gd name="T8" fmla="*/ 105 w 1536"/>
                <a:gd name="T9" fmla="*/ 87 h 1080"/>
                <a:gd name="T10" fmla="*/ 102 w 1536"/>
                <a:gd name="T11" fmla="*/ 85 h 1080"/>
                <a:gd name="T12" fmla="*/ 89 w 1536"/>
                <a:gd name="T13" fmla="*/ 80 h 1080"/>
                <a:gd name="T14" fmla="*/ 85 w 1536"/>
                <a:gd name="T15" fmla="*/ 82 h 1080"/>
                <a:gd name="T16" fmla="*/ 82 w 1536"/>
                <a:gd name="T17" fmla="*/ 80 h 1080"/>
                <a:gd name="T18" fmla="*/ 80 w 1536"/>
                <a:gd name="T19" fmla="*/ 75 h 1080"/>
                <a:gd name="T20" fmla="*/ 75 w 1536"/>
                <a:gd name="T21" fmla="*/ 72 h 1080"/>
                <a:gd name="T22" fmla="*/ 61 w 1536"/>
                <a:gd name="T23" fmla="*/ 70 h 1080"/>
                <a:gd name="T24" fmla="*/ 62 w 1536"/>
                <a:gd name="T25" fmla="*/ 72 h 1080"/>
                <a:gd name="T26" fmla="*/ 58 w 1536"/>
                <a:gd name="T27" fmla="*/ 75 h 1080"/>
                <a:gd name="T28" fmla="*/ 49 w 1536"/>
                <a:gd name="T29" fmla="*/ 76 h 1080"/>
                <a:gd name="T30" fmla="*/ 41 w 1536"/>
                <a:gd name="T31" fmla="*/ 79 h 1080"/>
                <a:gd name="T32" fmla="*/ 41 w 1536"/>
                <a:gd name="T33" fmla="*/ 77 h 1080"/>
                <a:gd name="T34" fmla="*/ 39 w 1536"/>
                <a:gd name="T35" fmla="*/ 74 h 1080"/>
                <a:gd name="T36" fmla="*/ 28 w 1536"/>
                <a:gd name="T37" fmla="*/ 78 h 1080"/>
                <a:gd name="T38" fmla="*/ 18 w 1536"/>
                <a:gd name="T39" fmla="*/ 85 h 1080"/>
                <a:gd name="T40" fmla="*/ 18 w 1536"/>
                <a:gd name="T41" fmla="*/ 77 h 1080"/>
                <a:gd name="T42" fmla="*/ 19 w 1536"/>
                <a:gd name="T43" fmla="*/ 69 h 1080"/>
                <a:gd name="T44" fmla="*/ 16 w 1536"/>
                <a:gd name="T45" fmla="*/ 69 h 1080"/>
                <a:gd name="T46" fmla="*/ 11 w 1536"/>
                <a:gd name="T47" fmla="*/ 69 h 1080"/>
                <a:gd name="T48" fmla="*/ 5 w 1536"/>
                <a:gd name="T49" fmla="*/ 68 h 1080"/>
                <a:gd name="T50" fmla="*/ 1 w 1536"/>
                <a:gd name="T51" fmla="*/ 63 h 1080"/>
                <a:gd name="T52" fmla="*/ 3 w 1536"/>
                <a:gd name="T53" fmla="*/ 59 h 1080"/>
                <a:gd name="T54" fmla="*/ 9 w 1536"/>
                <a:gd name="T55" fmla="*/ 54 h 1080"/>
                <a:gd name="T56" fmla="*/ 15 w 1536"/>
                <a:gd name="T57" fmla="*/ 47 h 1080"/>
                <a:gd name="T58" fmla="*/ 17 w 1536"/>
                <a:gd name="T59" fmla="*/ 40 h 1080"/>
                <a:gd name="T60" fmla="*/ 12 w 1536"/>
                <a:gd name="T61" fmla="*/ 33 h 1080"/>
                <a:gd name="T62" fmla="*/ 10 w 1536"/>
                <a:gd name="T63" fmla="*/ 21 h 1080"/>
                <a:gd name="T64" fmla="*/ 6 w 1536"/>
                <a:gd name="T65" fmla="*/ 14 h 1080"/>
                <a:gd name="T66" fmla="*/ 7 w 1536"/>
                <a:gd name="T67" fmla="*/ 9 h 1080"/>
                <a:gd name="T68" fmla="*/ 12 w 1536"/>
                <a:gd name="T69" fmla="*/ 7 h 1080"/>
                <a:gd name="T70" fmla="*/ 16 w 1536"/>
                <a:gd name="T71" fmla="*/ 8 h 1080"/>
                <a:gd name="T72" fmla="*/ 19 w 1536"/>
                <a:gd name="T73" fmla="*/ 8 h 1080"/>
                <a:gd name="T74" fmla="*/ 22 w 1536"/>
                <a:gd name="T75" fmla="*/ 9 h 1080"/>
                <a:gd name="T76" fmla="*/ 29 w 1536"/>
                <a:gd name="T77" fmla="*/ 12 h 1080"/>
                <a:gd name="T78" fmla="*/ 33 w 1536"/>
                <a:gd name="T79" fmla="*/ 13 h 1080"/>
                <a:gd name="T80" fmla="*/ 38 w 1536"/>
                <a:gd name="T81" fmla="*/ 15 h 1080"/>
                <a:gd name="T82" fmla="*/ 42 w 1536"/>
                <a:gd name="T83" fmla="*/ 17 h 1080"/>
                <a:gd name="T84" fmla="*/ 47 w 1536"/>
                <a:gd name="T85" fmla="*/ 19 h 1080"/>
                <a:gd name="T86" fmla="*/ 51 w 1536"/>
                <a:gd name="T87" fmla="*/ 21 h 1080"/>
                <a:gd name="T88" fmla="*/ 50 w 1536"/>
                <a:gd name="T89" fmla="*/ 15 h 1080"/>
                <a:gd name="T90" fmla="*/ 56 w 1536"/>
                <a:gd name="T91" fmla="*/ 0 h 1080"/>
                <a:gd name="T92" fmla="*/ 74 w 1536"/>
                <a:gd name="T93" fmla="*/ 5 h 1080"/>
                <a:gd name="T94" fmla="*/ 87 w 1536"/>
                <a:gd name="T95" fmla="*/ 6 h 1080"/>
                <a:gd name="T96" fmla="*/ 92 w 1536"/>
                <a:gd name="T97" fmla="*/ 11 h 1080"/>
                <a:gd name="T98" fmla="*/ 95 w 1536"/>
                <a:gd name="T99" fmla="*/ 15 h 1080"/>
                <a:gd name="T100" fmla="*/ 93 w 1536"/>
                <a:gd name="T101" fmla="*/ 20 h 1080"/>
                <a:gd name="T102" fmla="*/ 108 w 1536"/>
                <a:gd name="T103" fmla="*/ 18 h 1080"/>
                <a:gd name="T104" fmla="*/ 120 w 1536"/>
                <a:gd name="T105" fmla="*/ 21 h 1080"/>
                <a:gd name="T106" fmla="*/ 127 w 1536"/>
                <a:gd name="T107" fmla="*/ 29 h 1080"/>
                <a:gd name="T108" fmla="*/ 130 w 1536"/>
                <a:gd name="T109" fmla="*/ 30 h 1080"/>
                <a:gd name="T110" fmla="*/ 130 w 1536"/>
                <a:gd name="T111" fmla="*/ 49 h 1080"/>
                <a:gd name="T112" fmla="*/ 120 w 1536"/>
                <a:gd name="T113" fmla="*/ 69 h 1080"/>
                <a:gd name="T114" fmla="*/ 119 w 1536"/>
                <a:gd name="T115" fmla="*/ 74 h 1080"/>
                <a:gd name="T116" fmla="*/ 118 w 1536"/>
                <a:gd name="T117" fmla="*/ 80 h 108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536"/>
                <a:gd name="T178" fmla="*/ 0 h 1080"/>
                <a:gd name="T179" fmla="*/ 1536 w 1536"/>
                <a:gd name="T180" fmla="*/ 1080 h 108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536" h="1080">
                  <a:moveTo>
                    <a:pt x="1350" y="1020"/>
                  </a:moveTo>
                  <a:lnTo>
                    <a:pt x="1350" y="1026"/>
                  </a:lnTo>
                  <a:lnTo>
                    <a:pt x="1344" y="1026"/>
                  </a:lnTo>
                  <a:lnTo>
                    <a:pt x="1338" y="1032"/>
                  </a:lnTo>
                  <a:lnTo>
                    <a:pt x="1332" y="1026"/>
                  </a:lnTo>
                  <a:lnTo>
                    <a:pt x="1326" y="1026"/>
                  </a:lnTo>
                  <a:lnTo>
                    <a:pt x="1320" y="1020"/>
                  </a:lnTo>
                  <a:lnTo>
                    <a:pt x="1314" y="1026"/>
                  </a:lnTo>
                  <a:lnTo>
                    <a:pt x="1314" y="1032"/>
                  </a:lnTo>
                  <a:lnTo>
                    <a:pt x="1308" y="1038"/>
                  </a:lnTo>
                  <a:lnTo>
                    <a:pt x="1308" y="1044"/>
                  </a:lnTo>
                  <a:lnTo>
                    <a:pt x="1308" y="1050"/>
                  </a:lnTo>
                  <a:lnTo>
                    <a:pt x="1308" y="1056"/>
                  </a:lnTo>
                  <a:lnTo>
                    <a:pt x="1308" y="1062"/>
                  </a:lnTo>
                  <a:lnTo>
                    <a:pt x="1296" y="1068"/>
                  </a:lnTo>
                  <a:lnTo>
                    <a:pt x="1284" y="1074"/>
                  </a:lnTo>
                  <a:lnTo>
                    <a:pt x="1272" y="1080"/>
                  </a:lnTo>
                  <a:lnTo>
                    <a:pt x="1260" y="1080"/>
                  </a:lnTo>
                  <a:lnTo>
                    <a:pt x="1254" y="1074"/>
                  </a:lnTo>
                  <a:lnTo>
                    <a:pt x="1236" y="1074"/>
                  </a:lnTo>
                  <a:lnTo>
                    <a:pt x="1230" y="1074"/>
                  </a:lnTo>
                  <a:lnTo>
                    <a:pt x="1236" y="1074"/>
                  </a:lnTo>
                  <a:lnTo>
                    <a:pt x="1236" y="1068"/>
                  </a:lnTo>
                  <a:lnTo>
                    <a:pt x="1236" y="1062"/>
                  </a:lnTo>
                  <a:lnTo>
                    <a:pt x="1236" y="1056"/>
                  </a:lnTo>
                  <a:lnTo>
                    <a:pt x="1242" y="1050"/>
                  </a:lnTo>
                  <a:lnTo>
                    <a:pt x="1242" y="1044"/>
                  </a:lnTo>
                  <a:lnTo>
                    <a:pt x="1242" y="1038"/>
                  </a:lnTo>
                  <a:lnTo>
                    <a:pt x="1248" y="1032"/>
                  </a:lnTo>
                  <a:lnTo>
                    <a:pt x="1236" y="1026"/>
                  </a:lnTo>
                  <a:lnTo>
                    <a:pt x="1218" y="1020"/>
                  </a:lnTo>
                  <a:lnTo>
                    <a:pt x="1224" y="1014"/>
                  </a:lnTo>
                  <a:lnTo>
                    <a:pt x="1218" y="1008"/>
                  </a:lnTo>
                  <a:lnTo>
                    <a:pt x="1218" y="1002"/>
                  </a:lnTo>
                  <a:lnTo>
                    <a:pt x="1212" y="1008"/>
                  </a:lnTo>
                  <a:lnTo>
                    <a:pt x="1206" y="1002"/>
                  </a:lnTo>
                  <a:lnTo>
                    <a:pt x="1212" y="1002"/>
                  </a:lnTo>
                  <a:lnTo>
                    <a:pt x="1212" y="996"/>
                  </a:lnTo>
                  <a:lnTo>
                    <a:pt x="1200" y="990"/>
                  </a:lnTo>
                  <a:lnTo>
                    <a:pt x="1200" y="984"/>
                  </a:lnTo>
                  <a:lnTo>
                    <a:pt x="1188" y="984"/>
                  </a:lnTo>
                  <a:lnTo>
                    <a:pt x="1176" y="978"/>
                  </a:lnTo>
                  <a:lnTo>
                    <a:pt x="1164" y="960"/>
                  </a:lnTo>
                  <a:lnTo>
                    <a:pt x="1152" y="936"/>
                  </a:lnTo>
                  <a:lnTo>
                    <a:pt x="1146" y="936"/>
                  </a:lnTo>
                  <a:lnTo>
                    <a:pt x="1128" y="900"/>
                  </a:lnTo>
                  <a:lnTo>
                    <a:pt x="1038" y="912"/>
                  </a:lnTo>
                  <a:lnTo>
                    <a:pt x="1038" y="918"/>
                  </a:lnTo>
                  <a:lnTo>
                    <a:pt x="1032" y="924"/>
                  </a:lnTo>
                  <a:lnTo>
                    <a:pt x="1026" y="918"/>
                  </a:lnTo>
                  <a:lnTo>
                    <a:pt x="1020" y="924"/>
                  </a:lnTo>
                  <a:lnTo>
                    <a:pt x="1008" y="936"/>
                  </a:lnTo>
                  <a:lnTo>
                    <a:pt x="990" y="936"/>
                  </a:lnTo>
                  <a:lnTo>
                    <a:pt x="990" y="942"/>
                  </a:lnTo>
                  <a:lnTo>
                    <a:pt x="996" y="942"/>
                  </a:lnTo>
                  <a:lnTo>
                    <a:pt x="984" y="948"/>
                  </a:lnTo>
                  <a:lnTo>
                    <a:pt x="972" y="948"/>
                  </a:lnTo>
                  <a:lnTo>
                    <a:pt x="960" y="948"/>
                  </a:lnTo>
                  <a:lnTo>
                    <a:pt x="948" y="942"/>
                  </a:lnTo>
                  <a:lnTo>
                    <a:pt x="948" y="936"/>
                  </a:lnTo>
                  <a:lnTo>
                    <a:pt x="942" y="936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30" y="924"/>
                  </a:lnTo>
                  <a:lnTo>
                    <a:pt x="936" y="918"/>
                  </a:lnTo>
                  <a:lnTo>
                    <a:pt x="918" y="918"/>
                  </a:lnTo>
                  <a:lnTo>
                    <a:pt x="918" y="900"/>
                  </a:lnTo>
                  <a:lnTo>
                    <a:pt x="924" y="900"/>
                  </a:lnTo>
                  <a:lnTo>
                    <a:pt x="924" y="894"/>
                  </a:lnTo>
                  <a:lnTo>
                    <a:pt x="924" y="870"/>
                  </a:lnTo>
                  <a:lnTo>
                    <a:pt x="924" y="864"/>
                  </a:lnTo>
                  <a:lnTo>
                    <a:pt x="918" y="858"/>
                  </a:lnTo>
                  <a:lnTo>
                    <a:pt x="918" y="852"/>
                  </a:lnTo>
                  <a:lnTo>
                    <a:pt x="906" y="840"/>
                  </a:lnTo>
                  <a:lnTo>
                    <a:pt x="894" y="834"/>
                  </a:lnTo>
                  <a:lnTo>
                    <a:pt x="876" y="822"/>
                  </a:lnTo>
                  <a:lnTo>
                    <a:pt x="870" y="828"/>
                  </a:lnTo>
                  <a:lnTo>
                    <a:pt x="858" y="816"/>
                  </a:lnTo>
                  <a:lnTo>
                    <a:pt x="810" y="798"/>
                  </a:lnTo>
                  <a:lnTo>
                    <a:pt x="774" y="792"/>
                  </a:lnTo>
                  <a:lnTo>
                    <a:pt x="732" y="798"/>
                  </a:lnTo>
                  <a:lnTo>
                    <a:pt x="726" y="804"/>
                  </a:lnTo>
                  <a:lnTo>
                    <a:pt x="714" y="810"/>
                  </a:lnTo>
                  <a:lnTo>
                    <a:pt x="702" y="810"/>
                  </a:lnTo>
                  <a:lnTo>
                    <a:pt x="690" y="810"/>
                  </a:lnTo>
                  <a:lnTo>
                    <a:pt x="696" y="816"/>
                  </a:lnTo>
                  <a:lnTo>
                    <a:pt x="696" y="822"/>
                  </a:lnTo>
                  <a:lnTo>
                    <a:pt x="702" y="822"/>
                  </a:lnTo>
                  <a:lnTo>
                    <a:pt x="708" y="822"/>
                  </a:lnTo>
                  <a:lnTo>
                    <a:pt x="708" y="828"/>
                  </a:lnTo>
                  <a:lnTo>
                    <a:pt x="708" y="834"/>
                  </a:lnTo>
                  <a:lnTo>
                    <a:pt x="714" y="834"/>
                  </a:lnTo>
                  <a:lnTo>
                    <a:pt x="708" y="846"/>
                  </a:lnTo>
                  <a:lnTo>
                    <a:pt x="708" y="852"/>
                  </a:lnTo>
                  <a:lnTo>
                    <a:pt x="702" y="852"/>
                  </a:lnTo>
                  <a:lnTo>
                    <a:pt x="696" y="858"/>
                  </a:lnTo>
                  <a:lnTo>
                    <a:pt x="690" y="864"/>
                  </a:lnTo>
                  <a:lnTo>
                    <a:pt x="666" y="870"/>
                  </a:lnTo>
                  <a:lnTo>
                    <a:pt x="660" y="876"/>
                  </a:lnTo>
                  <a:lnTo>
                    <a:pt x="642" y="876"/>
                  </a:lnTo>
                  <a:lnTo>
                    <a:pt x="606" y="882"/>
                  </a:lnTo>
                  <a:lnTo>
                    <a:pt x="588" y="882"/>
                  </a:lnTo>
                  <a:lnTo>
                    <a:pt x="582" y="876"/>
                  </a:lnTo>
                  <a:lnTo>
                    <a:pt x="576" y="876"/>
                  </a:lnTo>
                  <a:lnTo>
                    <a:pt x="564" y="876"/>
                  </a:lnTo>
                  <a:lnTo>
                    <a:pt x="552" y="882"/>
                  </a:lnTo>
                  <a:lnTo>
                    <a:pt x="540" y="894"/>
                  </a:lnTo>
                  <a:lnTo>
                    <a:pt x="534" y="906"/>
                  </a:lnTo>
                  <a:lnTo>
                    <a:pt x="528" y="912"/>
                  </a:lnTo>
                  <a:lnTo>
                    <a:pt x="516" y="924"/>
                  </a:lnTo>
                  <a:lnTo>
                    <a:pt x="486" y="930"/>
                  </a:lnTo>
                  <a:lnTo>
                    <a:pt x="474" y="912"/>
                  </a:lnTo>
                  <a:lnTo>
                    <a:pt x="474" y="906"/>
                  </a:lnTo>
                  <a:lnTo>
                    <a:pt x="468" y="906"/>
                  </a:lnTo>
                  <a:lnTo>
                    <a:pt x="468" y="900"/>
                  </a:lnTo>
                  <a:lnTo>
                    <a:pt x="462" y="894"/>
                  </a:lnTo>
                  <a:lnTo>
                    <a:pt x="456" y="894"/>
                  </a:lnTo>
                  <a:lnTo>
                    <a:pt x="462" y="888"/>
                  </a:lnTo>
                  <a:lnTo>
                    <a:pt x="468" y="888"/>
                  </a:lnTo>
                  <a:lnTo>
                    <a:pt x="462" y="882"/>
                  </a:lnTo>
                  <a:lnTo>
                    <a:pt x="462" y="876"/>
                  </a:lnTo>
                  <a:lnTo>
                    <a:pt x="456" y="870"/>
                  </a:lnTo>
                  <a:lnTo>
                    <a:pt x="456" y="864"/>
                  </a:lnTo>
                  <a:lnTo>
                    <a:pt x="450" y="858"/>
                  </a:lnTo>
                  <a:lnTo>
                    <a:pt x="444" y="858"/>
                  </a:lnTo>
                  <a:lnTo>
                    <a:pt x="444" y="852"/>
                  </a:lnTo>
                  <a:lnTo>
                    <a:pt x="438" y="852"/>
                  </a:lnTo>
                  <a:lnTo>
                    <a:pt x="438" y="858"/>
                  </a:lnTo>
                  <a:lnTo>
                    <a:pt x="402" y="870"/>
                  </a:lnTo>
                  <a:lnTo>
                    <a:pt x="390" y="882"/>
                  </a:lnTo>
                  <a:lnTo>
                    <a:pt x="384" y="900"/>
                  </a:lnTo>
                  <a:lnTo>
                    <a:pt x="342" y="900"/>
                  </a:lnTo>
                  <a:lnTo>
                    <a:pt x="324" y="900"/>
                  </a:lnTo>
                  <a:lnTo>
                    <a:pt x="294" y="906"/>
                  </a:lnTo>
                  <a:lnTo>
                    <a:pt x="282" y="948"/>
                  </a:lnTo>
                  <a:lnTo>
                    <a:pt x="282" y="978"/>
                  </a:lnTo>
                  <a:lnTo>
                    <a:pt x="270" y="1008"/>
                  </a:lnTo>
                  <a:lnTo>
                    <a:pt x="240" y="1014"/>
                  </a:lnTo>
                  <a:lnTo>
                    <a:pt x="216" y="996"/>
                  </a:lnTo>
                  <a:lnTo>
                    <a:pt x="204" y="984"/>
                  </a:lnTo>
                  <a:lnTo>
                    <a:pt x="192" y="966"/>
                  </a:lnTo>
                  <a:lnTo>
                    <a:pt x="186" y="948"/>
                  </a:lnTo>
                  <a:lnTo>
                    <a:pt x="174" y="948"/>
                  </a:lnTo>
                  <a:lnTo>
                    <a:pt x="174" y="936"/>
                  </a:lnTo>
                  <a:lnTo>
                    <a:pt x="186" y="924"/>
                  </a:lnTo>
                  <a:lnTo>
                    <a:pt x="198" y="906"/>
                  </a:lnTo>
                  <a:lnTo>
                    <a:pt x="204" y="888"/>
                  </a:lnTo>
                  <a:lnTo>
                    <a:pt x="222" y="870"/>
                  </a:lnTo>
                  <a:lnTo>
                    <a:pt x="234" y="858"/>
                  </a:lnTo>
                  <a:lnTo>
                    <a:pt x="234" y="852"/>
                  </a:lnTo>
                  <a:lnTo>
                    <a:pt x="222" y="852"/>
                  </a:lnTo>
                  <a:lnTo>
                    <a:pt x="228" y="810"/>
                  </a:lnTo>
                  <a:lnTo>
                    <a:pt x="222" y="798"/>
                  </a:lnTo>
                  <a:lnTo>
                    <a:pt x="216" y="798"/>
                  </a:lnTo>
                  <a:lnTo>
                    <a:pt x="216" y="792"/>
                  </a:lnTo>
                  <a:lnTo>
                    <a:pt x="210" y="792"/>
                  </a:lnTo>
                  <a:lnTo>
                    <a:pt x="204" y="798"/>
                  </a:lnTo>
                  <a:lnTo>
                    <a:pt x="204" y="792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0" y="786"/>
                  </a:lnTo>
                  <a:lnTo>
                    <a:pt x="174" y="792"/>
                  </a:lnTo>
                  <a:lnTo>
                    <a:pt x="162" y="792"/>
                  </a:lnTo>
                  <a:lnTo>
                    <a:pt x="156" y="792"/>
                  </a:lnTo>
                  <a:lnTo>
                    <a:pt x="156" y="798"/>
                  </a:lnTo>
                  <a:lnTo>
                    <a:pt x="138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6" y="804"/>
                  </a:lnTo>
                  <a:lnTo>
                    <a:pt x="102" y="810"/>
                  </a:lnTo>
                  <a:lnTo>
                    <a:pt x="90" y="810"/>
                  </a:lnTo>
                  <a:lnTo>
                    <a:pt x="72" y="798"/>
                  </a:lnTo>
                  <a:lnTo>
                    <a:pt x="66" y="780"/>
                  </a:lnTo>
                  <a:lnTo>
                    <a:pt x="60" y="780"/>
                  </a:lnTo>
                  <a:lnTo>
                    <a:pt x="60" y="768"/>
                  </a:lnTo>
                  <a:lnTo>
                    <a:pt x="54" y="768"/>
                  </a:lnTo>
                  <a:lnTo>
                    <a:pt x="24" y="756"/>
                  </a:lnTo>
                  <a:lnTo>
                    <a:pt x="18" y="744"/>
                  </a:lnTo>
                  <a:lnTo>
                    <a:pt x="12" y="738"/>
                  </a:lnTo>
                  <a:lnTo>
                    <a:pt x="18" y="732"/>
                  </a:lnTo>
                  <a:lnTo>
                    <a:pt x="12" y="726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8" y="696"/>
                  </a:lnTo>
                  <a:lnTo>
                    <a:pt x="24" y="708"/>
                  </a:lnTo>
                  <a:lnTo>
                    <a:pt x="36" y="702"/>
                  </a:lnTo>
                  <a:lnTo>
                    <a:pt x="36" y="678"/>
                  </a:lnTo>
                  <a:lnTo>
                    <a:pt x="36" y="660"/>
                  </a:lnTo>
                  <a:lnTo>
                    <a:pt x="42" y="654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72" y="624"/>
                  </a:lnTo>
                  <a:lnTo>
                    <a:pt x="90" y="618"/>
                  </a:lnTo>
                  <a:lnTo>
                    <a:pt x="102" y="618"/>
                  </a:lnTo>
                  <a:lnTo>
                    <a:pt x="114" y="612"/>
                  </a:lnTo>
                  <a:lnTo>
                    <a:pt x="138" y="606"/>
                  </a:lnTo>
                  <a:lnTo>
                    <a:pt x="144" y="606"/>
                  </a:lnTo>
                  <a:lnTo>
                    <a:pt x="150" y="594"/>
                  </a:lnTo>
                  <a:lnTo>
                    <a:pt x="156" y="576"/>
                  </a:lnTo>
                  <a:lnTo>
                    <a:pt x="168" y="552"/>
                  </a:lnTo>
                  <a:lnTo>
                    <a:pt x="168" y="540"/>
                  </a:lnTo>
                  <a:lnTo>
                    <a:pt x="180" y="522"/>
                  </a:lnTo>
                  <a:lnTo>
                    <a:pt x="186" y="498"/>
                  </a:lnTo>
                  <a:lnTo>
                    <a:pt x="198" y="480"/>
                  </a:lnTo>
                  <a:lnTo>
                    <a:pt x="204" y="486"/>
                  </a:lnTo>
                  <a:lnTo>
                    <a:pt x="210" y="480"/>
                  </a:lnTo>
                  <a:lnTo>
                    <a:pt x="204" y="474"/>
                  </a:lnTo>
                  <a:lnTo>
                    <a:pt x="198" y="462"/>
                  </a:lnTo>
                  <a:lnTo>
                    <a:pt x="192" y="456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50"/>
                  </a:lnTo>
                  <a:lnTo>
                    <a:pt x="132" y="426"/>
                  </a:lnTo>
                  <a:lnTo>
                    <a:pt x="132" y="396"/>
                  </a:lnTo>
                  <a:lnTo>
                    <a:pt x="132" y="378"/>
                  </a:lnTo>
                  <a:lnTo>
                    <a:pt x="126" y="348"/>
                  </a:lnTo>
                  <a:lnTo>
                    <a:pt x="132" y="312"/>
                  </a:lnTo>
                  <a:lnTo>
                    <a:pt x="126" y="288"/>
                  </a:lnTo>
                  <a:lnTo>
                    <a:pt x="138" y="282"/>
                  </a:lnTo>
                  <a:lnTo>
                    <a:pt x="126" y="264"/>
                  </a:lnTo>
                  <a:lnTo>
                    <a:pt x="126" y="258"/>
                  </a:lnTo>
                  <a:lnTo>
                    <a:pt x="120" y="246"/>
                  </a:lnTo>
                  <a:lnTo>
                    <a:pt x="126" y="234"/>
                  </a:lnTo>
                  <a:lnTo>
                    <a:pt x="114" y="228"/>
                  </a:lnTo>
                  <a:lnTo>
                    <a:pt x="114" y="222"/>
                  </a:lnTo>
                  <a:lnTo>
                    <a:pt x="96" y="204"/>
                  </a:lnTo>
                  <a:lnTo>
                    <a:pt x="84" y="180"/>
                  </a:lnTo>
                  <a:lnTo>
                    <a:pt x="78" y="168"/>
                  </a:lnTo>
                  <a:lnTo>
                    <a:pt x="72" y="162"/>
                  </a:lnTo>
                  <a:lnTo>
                    <a:pt x="66" y="144"/>
                  </a:lnTo>
                  <a:lnTo>
                    <a:pt x="60" y="138"/>
                  </a:lnTo>
                  <a:lnTo>
                    <a:pt x="66" y="126"/>
                  </a:lnTo>
                  <a:lnTo>
                    <a:pt x="66" y="114"/>
                  </a:lnTo>
                  <a:lnTo>
                    <a:pt x="72" y="114"/>
                  </a:lnTo>
                  <a:lnTo>
                    <a:pt x="72" y="108"/>
                  </a:lnTo>
                  <a:lnTo>
                    <a:pt x="78" y="102"/>
                  </a:lnTo>
                  <a:lnTo>
                    <a:pt x="78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120" y="78"/>
                  </a:lnTo>
                  <a:lnTo>
                    <a:pt x="144" y="84"/>
                  </a:lnTo>
                  <a:lnTo>
                    <a:pt x="150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74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92" y="102"/>
                  </a:lnTo>
                  <a:lnTo>
                    <a:pt x="198" y="96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16" y="96"/>
                  </a:lnTo>
                  <a:lnTo>
                    <a:pt x="222" y="96"/>
                  </a:lnTo>
                  <a:lnTo>
                    <a:pt x="228" y="96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94" y="114"/>
                  </a:lnTo>
                  <a:lnTo>
                    <a:pt x="312" y="120"/>
                  </a:lnTo>
                  <a:lnTo>
                    <a:pt x="318" y="126"/>
                  </a:lnTo>
                  <a:lnTo>
                    <a:pt x="330" y="132"/>
                  </a:lnTo>
                  <a:lnTo>
                    <a:pt x="342" y="132"/>
                  </a:lnTo>
                  <a:lnTo>
                    <a:pt x="348" y="132"/>
                  </a:lnTo>
                  <a:lnTo>
                    <a:pt x="354" y="138"/>
                  </a:lnTo>
                  <a:lnTo>
                    <a:pt x="366" y="138"/>
                  </a:lnTo>
                  <a:lnTo>
                    <a:pt x="372" y="144"/>
                  </a:lnTo>
                  <a:lnTo>
                    <a:pt x="378" y="150"/>
                  </a:lnTo>
                  <a:lnTo>
                    <a:pt x="384" y="150"/>
                  </a:lnTo>
                  <a:lnTo>
                    <a:pt x="390" y="150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14" y="156"/>
                  </a:lnTo>
                  <a:lnTo>
                    <a:pt x="420" y="156"/>
                  </a:lnTo>
                  <a:lnTo>
                    <a:pt x="426" y="162"/>
                  </a:lnTo>
                  <a:lnTo>
                    <a:pt x="438" y="168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62" y="174"/>
                  </a:lnTo>
                  <a:lnTo>
                    <a:pt x="468" y="174"/>
                  </a:lnTo>
                  <a:lnTo>
                    <a:pt x="474" y="174"/>
                  </a:lnTo>
                  <a:lnTo>
                    <a:pt x="474" y="180"/>
                  </a:lnTo>
                  <a:lnTo>
                    <a:pt x="480" y="192"/>
                  </a:lnTo>
                  <a:lnTo>
                    <a:pt x="498" y="198"/>
                  </a:lnTo>
                  <a:lnTo>
                    <a:pt x="510" y="210"/>
                  </a:lnTo>
                  <a:lnTo>
                    <a:pt x="516" y="210"/>
                  </a:lnTo>
                  <a:lnTo>
                    <a:pt x="522" y="210"/>
                  </a:lnTo>
                  <a:lnTo>
                    <a:pt x="534" y="216"/>
                  </a:lnTo>
                  <a:lnTo>
                    <a:pt x="540" y="216"/>
                  </a:lnTo>
                  <a:lnTo>
                    <a:pt x="546" y="222"/>
                  </a:lnTo>
                  <a:lnTo>
                    <a:pt x="552" y="222"/>
                  </a:lnTo>
                  <a:lnTo>
                    <a:pt x="558" y="228"/>
                  </a:lnTo>
                  <a:lnTo>
                    <a:pt x="564" y="228"/>
                  </a:lnTo>
                  <a:lnTo>
                    <a:pt x="570" y="234"/>
                  </a:lnTo>
                  <a:lnTo>
                    <a:pt x="576" y="240"/>
                  </a:lnTo>
                  <a:lnTo>
                    <a:pt x="582" y="240"/>
                  </a:lnTo>
                  <a:lnTo>
                    <a:pt x="588" y="240"/>
                  </a:lnTo>
                  <a:lnTo>
                    <a:pt x="594" y="240"/>
                  </a:lnTo>
                  <a:lnTo>
                    <a:pt x="600" y="228"/>
                  </a:lnTo>
                  <a:lnTo>
                    <a:pt x="588" y="216"/>
                  </a:lnTo>
                  <a:lnTo>
                    <a:pt x="588" y="198"/>
                  </a:lnTo>
                  <a:lnTo>
                    <a:pt x="582" y="198"/>
                  </a:lnTo>
                  <a:lnTo>
                    <a:pt x="588" y="192"/>
                  </a:lnTo>
                  <a:lnTo>
                    <a:pt x="582" y="168"/>
                  </a:lnTo>
                  <a:lnTo>
                    <a:pt x="558" y="114"/>
                  </a:lnTo>
                  <a:lnTo>
                    <a:pt x="552" y="90"/>
                  </a:lnTo>
                  <a:lnTo>
                    <a:pt x="558" y="60"/>
                  </a:lnTo>
                  <a:lnTo>
                    <a:pt x="564" y="48"/>
                  </a:lnTo>
                  <a:lnTo>
                    <a:pt x="582" y="42"/>
                  </a:lnTo>
                  <a:lnTo>
                    <a:pt x="624" y="6"/>
                  </a:lnTo>
                  <a:lnTo>
                    <a:pt x="648" y="0"/>
                  </a:lnTo>
                  <a:lnTo>
                    <a:pt x="678" y="0"/>
                  </a:lnTo>
                  <a:lnTo>
                    <a:pt x="720" y="12"/>
                  </a:lnTo>
                  <a:lnTo>
                    <a:pt x="744" y="24"/>
                  </a:lnTo>
                  <a:lnTo>
                    <a:pt x="768" y="42"/>
                  </a:lnTo>
                  <a:lnTo>
                    <a:pt x="816" y="48"/>
                  </a:lnTo>
                  <a:lnTo>
                    <a:pt x="834" y="48"/>
                  </a:lnTo>
                  <a:lnTo>
                    <a:pt x="852" y="54"/>
                  </a:lnTo>
                  <a:lnTo>
                    <a:pt x="906" y="60"/>
                  </a:lnTo>
                  <a:lnTo>
                    <a:pt x="948" y="54"/>
                  </a:lnTo>
                  <a:lnTo>
                    <a:pt x="978" y="42"/>
                  </a:lnTo>
                  <a:lnTo>
                    <a:pt x="984" y="48"/>
                  </a:lnTo>
                  <a:lnTo>
                    <a:pt x="990" y="60"/>
                  </a:lnTo>
                  <a:lnTo>
                    <a:pt x="996" y="66"/>
                  </a:lnTo>
                  <a:lnTo>
                    <a:pt x="1002" y="72"/>
                  </a:lnTo>
                  <a:lnTo>
                    <a:pt x="1014" y="78"/>
                  </a:lnTo>
                  <a:lnTo>
                    <a:pt x="1014" y="84"/>
                  </a:lnTo>
                  <a:lnTo>
                    <a:pt x="1032" y="84"/>
                  </a:lnTo>
                  <a:lnTo>
                    <a:pt x="1032" y="90"/>
                  </a:lnTo>
                  <a:lnTo>
                    <a:pt x="1032" y="96"/>
                  </a:lnTo>
                  <a:lnTo>
                    <a:pt x="1032" y="108"/>
                  </a:lnTo>
                  <a:lnTo>
                    <a:pt x="1056" y="126"/>
                  </a:lnTo>
                  <a:lnTo>
                    <a:pt x="1068" y="138"/>
                  </a:lnTo>
                  <a:lnTo>
                    <a:pt x="1068" y="156"/>
                  </a:lnTo>
                  <a:lnTo>
                    <a:pt x="1080" y="150"/>
                  </a:lnTo>
                  <a:lnTo>
                    <a:pt x="1086" y="150"/>
                  </a:lnTo>
                  <a:lnTo>
                    <a:pt x="1092" y="156"/>
                  </a:lnTo>
                  <a:lnTo>
                    <a:pt x="1092" y="162"/>
                  </a:lnTo>
                  <a:lnTo>
                    <a:pt x="1092" y="168"/>
                  </a:lnTo>
                  <a:lnTo>
                    <a:pt x="1098" y="168"/>
                  </a:lnTo>
                  <a:lnTo>
                    <a:pt x="1092" y="180"/>
                  </a:lnTo>
                  <a:lnTo>
                    <a:pt x="1092" y="186"/>
                  </a:lnTo>
                  <a:lnTo>
                    <a:pt x="1086" y="192"/>
                  </a:lnTo>
                  <a:lnTo>
                    <a:pt x="1068" y="210"/>
                  </a:lnTo>
                  <a:lnTo>
                    <a:pt x="1068" y="216"/>
                  </a:lnTo>
                  <a:lnTo>
                    <a:pt x="1074" y="228"/>
                  </a:lnTo>
                  <a:lnTo>
                    <a:pt x="1092" y="234"/>
                  </a:lnTo>
                  <a:lnTo>
                    <a:pt x="1122" y="216"/>
                  </a:lnTo>
                  <a:lnTo>
                    <a:pt x="1188" y="204"/>
                  </a:lnTo>
                  <a:lnTo>
                    <a:pt x="1212" y="204"/>
                  </a:lnTo>
                  <a:lnTo>
                    <a:pt x="1230" y="198"/>
                  </a:lnTo>
                  <a:lnTo>
                    <a:pt x="1236" y="204"/>
                  </a:lnTo>
                  <a:lnTo>
                    <a:pt x="1242" y="210"/>
                  </a:lnTo>
                  <a:lnTo>
                    <a:pt x="1242" y="204"/>
                  </a:lnTo>
                  <a:lnTo>
                    <a:pt x="1248" y="198"/>
                  </a:lnTo>
                  <a:lnTo>
                    <a:pt x="1308" y="204"/>
                  </a:lnTo>
                  <a:lnTo>
                    <a:pt x="1338" y="204"/>
                  </a:lnTo>
                  <a:lnTo>
                    <a:pt x="1374" y="228"/>
                  </a:lnTo>
                  <a:lnTo>
                    <a:pt x="1380" y="234"/>
                  </a:lnTo>
                  <a:lnTo>
                    <a:pt x="1380" y="240"/>
                  </a:lnTo>
                  <a:lnTo>
                    <a:pt x="1386" y="252"/>
                  </a:lnTo>
                  <a:lnTo>
                    <a:pt x="1392" y="252"/>
                  </a:lnTo>
                  <a:lnTo>
                    <a:pt x="1416" y="270"/>
                  </a:lnTo>
                  <a:lnTo>
                    <a:pt x="1428" y="294"/>
                  </a:lnTo>
                  <a:lnTo>
                    <a:pt x="1440" y="312"/>
                  </a:lnTo>
                  <a:lnTo>
                    <a:pt x="1452" y="330"/>
                  </a:lnTo>
                  <a:lnTo>
                    <a:pt x="1464" y="330"/>
                  </a:lnTo>
                  <a:lnTo>
                    <a:pt x="1464" y="336"/>
                  </a:lnTo>
                  <a:lnTo>
                    <a:pt x="1470" y="336"/>
                  </a:lnTo>
                  <a:lnTo>
                    <a:pt x="1470" y="342"/>
                  </a:lnTo>
                  <a:lnTo>
                    <a:pt x="1476" y="342"/>
                  </a:lnTo>
                  <a:lnTo>
                    <a:pt x="1488" y="336"/>
                  </a:lnTo>
                  <a:lnTo>
                    <a:pt x="1494" y="342"/>
                  </a:lnTo>
                  <a:lnTo>
                    <a:pt x="1500" y="342"/>
                  </a:lnTo>
                  <a:lnTo>
                    <a:pt x="1512" y="366"/>
                  </a:lnTo>
                  <a:lnTo>
                    <a:pt x="1530" y="396"/>
                  </a:lnTo>
                  <a:lnTo>
                    <a:pt x="1536" y="444"/>
                  </a:lnTo>
                  <a:lnTo>
                    <a:pt x="1530" y="480"/>
                  </a:lnTo>
                  <a:lnTo>
                    <a:pt x="1506" y="510"/>
                  </a:lnTo>
                  <a:lnTo>
                    <a:pt x="1500" y="546"/>
                  </a:lnTo>
                  <a:lnTo>
                    <a:pt x="1494" y="564"/>
                  </a:lnTo>
                  <a:lnTo>
                    <a:pt x="1494" y="576"/>
                  </a:lnTo>
                  <a:lnTo>
                    <a:pt x="1500" y="582"/>
                  </a:lnTo>
                  <a:lnTo>
                    <a:pt x="1494" y="612"/>
                  </a:lnTo>
                  <a:lnTo>
                    <a:pt x="1476" y="630"/>
                  </a:lnTo>
                  <a:lnTo>
                    <a:pt x="1434" y="672"/>
                  </a:lnTo>
                  <a:lnTo>
                    <a:pt x="1392" y="756"/>
                  </a:lnTo>
                  <a:lnTo>
                    <a:pt x="1380" y="792"/>
                  </a:lnTo>
                  <a:lnTo>
                    <a:pt x="1374" y="798"/>
                  </a:lnTo>
                  <a:lnTo>
                    <a:pt x="1368" y="798"/>
                  </a:lnTo>
                  <a:lnTo>
                    <a:pt x="1380" y="804"/>
                  </a:lnTo>
                  <a:lnTo>
                    <a:pt x="1386" y="804"/>
                  </a:lnTo>
                  <a:lnTo>
                    <a:pt x="1380" y="822"/>
                  </a:lnTo>
                  <a:lnTo>
                    <a:pt x="1380" y="852"/>
                  </a:lnTo>
                  <a:lnTo>
                    <a:pt x="1374" y="858"/>
                  </a:lnTo>
                  <a:lnTo>
                    <a:pt x="1380" y="858"/>
                  </a:lnTo>
                  <a:lnTo>
                    <a:pt x="1374" y="864"/>
                  </a:lnTo>
                  <a:lnTo>
                    <a:pt x="1374" y="870"/>
                  </a:lnTo>
                  <a:lnTo>
                    <a:pt x="1374" y="876"/>
                  </a:lnTo>
                  <a:lnTo>
                    <a:pt x="1368" y="900"/>
                  </a:lnTo>
                  <a:lnTo>
                    <a:pt x="1362" y="906"/>
                  </a:lnTo>
                  <a:lnTo>
                    <a:pt x="1362" y="918"/>
                  </a:lnTo>
                  <a:lnTo>
                    <a:pt x="1362" y="924"/>
                  </a:lnTo>
                  <a:lnTo>
                    <a:pt x="1356" y="942"/>
                  </a:lnTo>
                  <a:lnTo>
                    <a:pt x="1350" y="972"/>
                  </a:lnTo>
                  <a:lnTo>
                    <a:pt x="1350" y="1014"/>
                  </a:lnTo>
                  <a:lnTo>
                    <a:pt x="1350" y="10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3" name="Freeform 18">
              <a:extLst>
                <a:ext uri="{FF2B5EF4-FFF2-40B4-BE49-F238E27FC236}">
                  <a16:creationId xmlns:a16="http://schemas.microsoft.com/office/drawing/2014/main" id="{EC11F2E0-3C06-46E2-8AD2-66EBE00FFE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32346" y="3837389"/>
              <a:ext cx="556811" cy="818559"/>
            </a:xfrm>
            <a:custGeom>
              <a:avLst/>
              <a:gdLst>
                <a:gd name="T0" fmla="*/ 12 w 1044"/>
                <a:gd name="T1" fmla="*/ 95 h 1542"/>
                <a:gd name="T2" fmla="*/ 7 w 1044"/>
                <a:gd name="T3" fmla="*/ 93 h 1542"/>
                <a:gd name="T4" fmla="*/ 0 w 1044"/>
                <a:gd name="T5" fmla="*/ 88 h 1542"/>
                <a:gd name="T6" fmla="*/ 3 w 1044"/>
                <a:gd name="T7" fmla="*/ 74 h 1542"/>
                <a:gd name="T8" fmla="*/ 4 w 1044"/>
                <a:gd name="T9" fmla="*/ 59 h 1542"/>
                <a:gd name="T10" fmla="*/ 7 w 1044"/>
                <a:gd name="T11" fmla="*/ 52 h 1542"/>
                <a:gd name="T12" fmla="*/ 20 w 1044"/>
                <a:gd name="T13" fmla="*/ 50 h 1542"/>
                <a:gd name="T14" fmla="*/ 24 w 1044"/>
                <a:gd name="T15" fmla="*/ 46 h 1542"/>
                <a:gd name="T16" fmla="*/ 29 w 1044"/>
                <a:gd name="T17" fmla="*/ 33 h 1542"/>
                <a:gd name="T18" fmla="*/ 32 w 1044"/>
                <a:gd name="T19" fmla="*/ 26 h 1542"/>
                <a:gd name="T20" fmla="*/ 30 w 1044"/>
                <a:gd name="T21" fmla="*/ 20 h 1542"/>
                <a:gd name="T22" fmla="*/ 26 w 1044"/>
                <a:gd name="T23" fmla="*/ 17 h 1542"/>
                <a:gd name="T24" fmla="*/ 28 w 1044"/>
                <a:gd name="T25" fmla="*/ 12 h 1542"/>
                <a:gd name="T26" fmla="*/ 44 w 1044"/>
                <a:gd name="T27" fmla="*/ 5 h 1542"/>
                <a:gd name="T28" fmla="*/ 57 w 1044"/>
                <a:gd name="T29" fmla="*/ 2 h 1542"/>
                <a:gd name="T30" fmla="*/ 65 w 1044"/>
                <a:gd name="T31" fmla="*/ 12 h 1542"/>
                <a:gd name="T32" fmla="*/ 81 w 1044"/>
                <a:gd name="T33" fmla="*/ 9 h 1542"/>
                <a:gd name="T34" fmla="*/ 91 w 1044"/>
                <a:gd name="T35" fmla="*/ 20 h 1542"/>
                <a:gd name="T36" fmla="*/ 89 w 1044"/>
                <a:gd name="T37" fmla="*/ 28 h 1542"/>
                <a:gd name="T38" fmla="*/ 83 w 1044"/>
                <a:gd name="T39" fmla="*/ 33 h 1542"/>
                <a:gd name="T40" fmla="*/ 74 w 1044"/>
                <a:gd name="T41" fmla="*/ 42 h 1542"/>
                <a:gd name="T42" fmla="*/ 58 w 1044"/>
                <a:gd name="T43" fmla="*/ 57 h 1542"/>
                <a:gd name="T44" fmla="*/ 54 w 1044"/>
                <a:gd name="T45" fmla="*/ 65 h 1542"/>
                <a:gd name="T46" fmla="*/ 59 w 1044"/>
                <a:gd name="T47" fmla="*/ 74 h 1542"/>
                <a:gd name="T48" fmla="*/ 55 w 1044"/>
                <a:gd name="T49" fmla="*/ 84 h 1542"/>
                <a:gd name="T50" fmla="*/ 52 w 1044"/>
                <a:gd name="T51" fmla="*/ 98 h 1542"/>
                <a:gd name="T52" fmla="*/ 47 w 1044"/>
                <a:gd name="T53" fmla="*/ 105 h 1542"/>
                <a:gd name="T54" fmla="*/ 42 w 1044"/>
                <a:gd name="T55" fmla="*/ 111 h 1542"/>
                <a:gd name="T56" fmla="*/ 43 w 1044"/>
                <a:gd name="T57" fmla="*/ 120 h 1542"/>
                <a:gd name="T58" fmla="*/ 45 w 1044"/>
                <a:gd name="T59" fmla="*/ 125 h 1542"/>
                <a:gd name="T60" fmla="*/ 44 w 1044"/>
                <a:gd name="T61" fmla="*/ 130 h 1542"/>
                <a:gd name="T62" fmla="*/ 45 w 1044"/>
                <a:gd name="T63" fmla="*/ 131 h 1542"/>
                <a:gd name="T64" fmla="*/ 48 w 1044"/>
                <a:gd name="T65" fmla="*/ 133 h 1542"/>
                <a:gd name="T66" fmla="*/ 39 w 1044"/>
                <a:gd name="T67" fmla="*/ 133 h 1542"/>
                <a:gd name="T68" fmla="*/ 42 w 1044"/>
                <a:gd name="T69" fmla="*/ 132 h 1542"/>
                <a:gd name="T70" fmla="*/ 38 w 1044"/>
                <a:gd name="T71" fmla="*/ 133 h 1542"/>
                <a:gd name="T72" fmla="*/ 37 w 1044"/>
                <a:gd name="T73" fmla="*/ 129 h 1542"/>
                <a:gd name="T74" fmla="*/ 40 w 1044"/>
                <a:gd name="T75" fmla="*/ 125 h 1542"/>
                <a:gd name="T76" fmla="*/ 40 w 1044"/>
                <a:gd name="T77" fmla="*/ 120 h 1542"/>
                <a:gd name="T78" fmla="*/ 40 w 1044"/>
                <a:gd name="T79" fmla="*/ 117 h 1542"/>
                <a:gd name="T80" fmla="*/ 37 w 1044"/>
                <a:gd name="T81" fmla="*/ 120 h 1542"/>
                <a:gd name="T82" fmla="*/ 34 w 1044"/>
                <a:gd name="T83" fmla="*/ 122 h 1542"/>
                <a:gd name="T84" fmla="*/ 36 w 1044"/>
                <a:gd name="T85" fmla="*/ 120 h 1542"/>
                <a:gd name="T86" fmla="*/ 30 w 1044"/>
                <a:gd name="T87" fmla="*/ 120 h 1542"/>
                <a:gd name="T88" fmla="*/ 31 w 1044"/>
                <a:gd name="T89" fmla="*/ 113 h 1542"/>
                <a:gd name="T90" fmla="*/ 29 w 1044"/>
                <a:gd name="T91" fmla="*/ 112 h 1542"/>
                <a:gd name="T92" fmla="*/ 31 w 1044"/>
                <a:gd name="T93" fmla="*/ 117 h 1542"/>
                <a:gd name="T94" fmla="*/ 27 w 1044"/>
                <a:gd name="T95" fmla="*/ 116 h 1542"/>
                <a:gd name="T96" fmla="*/ 25 w 1044"/>
                <a:gd name="T97" fmla="*/ 112 h 1542"/>
                <a:gd name="T98" fmla="*/ 21 w 1044"/>
                <a:gd name="T99" fmla="*/ 109 h 1542"/>
                <a:gd name="T100" fmla="*/ 21 w 1044"/>
                <a:gd name="T101" fmla="*/ 113 h 1542"/>
                <a:gd name="T102" fmla="*/ 40 w 1044"/>
                <a:gd name="T103" fmla="*/ 120 h 1542"/>
                <a:gd name="T104" fmla="*/ 40 w 1044"/>
                <a:gd name="T105" fmla="*/ 121 h 1542"/>
                <a:gd name="T106" fmla="*/ 40 w 1044"/>
                <a:gd name="T107" fmla="*/ 116 h 1542"/>
                <a:gd name="T108" fmla="*/ 38 w 1044"/>
                <a:gd name="T109" fmla="*/ 120 h 1542"/>
                <a:gd name="T110" fmla="*/ 23 w 1044"/>
                <a:gd name="T111" fmla="*/ 110 h 1542"/>
                <a:gd name="T112" fmla="*/ 37 w 1044"/>
                <a:gd name="T113" fmla="*/ 124 h 1542"/>
                <a:gd name="T114" fmla="*/ 40 w 1044"/>
                <a:gd name="T115" fmla="*/ 125 h 1542"/>
                <a:gd name="T116" fmla="*/ 38 w 1044"/>
                <a:gd name="T117" fmla="*/ 128 h 1542"/>
                <a:gd name="T118" fmla="*/ 25 w 1044"/>
                <a:gd name="T119" fmla="*/ 117 h 1542"/>
                <a:gd name="T120" fmla="*/ 27 w 1044"/>
                <a:gd name="T121" fmla="*/ 127 h 1542"/>
                <a:gd name="T122" fmla="*/ 24 w 1044"/>
                <a:gd name="T123" fmla="*/ 113 h 15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4"/>
                <a:gd name="T187" fmla="*/ 0 h 1542"/>
                <a:gd name="T188" fmla="*/ 1044 w 1044"/>
                <a:gd name="T189" fmla="*/ 1542 h 154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4" h="1542">
                  <a:moveTo>
                    <a:pt x="234" y="1278"/>
                  </a:moveTo>
                  <a:lnTo>
                    <a:pt x="228" y="1272"/>
                  </a:lnTo>
                  <a:lnTo>
                    <a:pt x="222" y="1266"/>
                  </a:lnTo>
                  <a:lnTo>
                    <a:pt x="222" y="1260"/>
                  </a:lnTo>
                  <a:lnTo>
                    <a:pt x="204" y="1248"/>
                  </a:lnTo>
                  <a:lnTo>
                    <a:pt x="192" y="1248"/>
                  </a:lnTo>
                  <a:lnTo>
                    <a:pt x="186" y="1236"/>
                  </a:lnTo>
                  <a:lnTo>
                    <a:pt x="174" y="1218"/>
                  </a:lnTo>
                  <a:lnTo>
                    <a:pt x="162" y="1194"/>
                  </a:lnTo>
                  <a:lnTo>
                    <a:pt x="156" y="1182"/>
                  </a:lnTo>
                  <a:lnTo>
                    <a:pt x="162" y="1146"/>
                  </a:lnTo>
                  <a:lnTo>
                    <a:pt x="156" y="1134"/>
                  </a:lnTo>
                  <a:lnTo>
                    <a:pt x="138" y="1122"/>
                  </a:lnTo>
                  <a:lnTo>
                    <a:pt x="132" y="1116"/>
                  </a:lnTo>
                  <a:lnTo>
                    <a:pt x="138" y="1098"/>
                  </a:lnTo>
                  <a:lnTo>
                    <a:pt x="138" y="1092"/>
                  </a:lnTo>
                  <a:lnTo>
                    <a:pt x="138" y="1086"/>
                  </a:lnTo>
                  <a:lnTo>
                    <a:pt x="132" y="1074"/>
                  </a:lnTo>
                  <a:lnTo>
                    <a:pt x="126" y="1074"/>
                  </a:lnTo>
                  <a:lnTo>
                    <a:pt x="126" y="1068"/>
                  </a:lnTo>
                  <a:lnTo>
                    <a:pt x="120" y="1062"/>
                  </a:lnTo>
                  <a:lnTo>
                    <a:pt x="120" y="1056"/>
                  </a:lnTo>
                  <a:lnTo>
                    <a:pt x="114" y="1050"/>
                  </a:lnTo>
                  <a:lnTo>
                    <a:pt x="108" y="1050"/>
                  </a:lnTo>
                  <a:lnTo>
                    <a:pt x="102" y="1056"/>
                  </a:lnTo>
                  <a:lnTo>
                    <a:pt x="102" y="1062"/>
                  </a:lnTo>
                  <a:lnTo>
                    <a:pt x="96" y="1062"/>
                  </a:lnTo>
                  <a:lnTo>
                    <a:pt x="96" y="1068"/>
                  </a:lnTo>
                  <a:lnTo>
                    <a:pt x="96" y="1074"/>
                  </a:lnTo>
                  <a:lnTo>
                    <a:pt x="90" y="1074"/>
                  </a:lnTo>
                  <a:lnTo>
                    <a:pt x="84" y="1080"/>
                  </a:lnTo>
                  <a:lnTo>
                    <a:pt x="78" y="1074"/>
                  </a:lnTo>
                  <a:lnTo>
                    <a:pt x="72" y="1074"/>
                  </a:lnTo>
                  <a:lnTo>
                    <a:pt x="72" y="1068"/>
                  </a:lnTo>
                  <a:lnTo>
                    <a:pt x="72" y="1062"/>
                  </a:lnTo>
                  <a:lnTo>
                    <a:pt x="60" y="1056"/>
                  </a:lnTo>
                  <a:lnTo>
                    <a:pt x="60" y="1044"/>
                  </a:lnTo>
                  <a:lnTo>
                    <a:pt x="60" y="1032"/>
                  </a:lnTo>
                  <a:lnTo>
                    <a:pt x="60" y="1026"/>
                  </a:lnTo>
                  <a:lnTo>
                    <a:pt x="54" y="1026"/>
                  </a:lnTo>
                  <a:lnTo>
                    <a:pt x="48" y="1014"/>
                  </a:lnTo>
                  <a:lnTo>
                    <a:pt x="42" y="1008"/>
                  </a:lnTo>
                  <a:lnTo>
                    <a:pt x="30" y="1008"/>
                  </a:lnTo>
                  <a:lnTo>
                    <a:pt x="30" y="1002"/>
                  </a:lnTo>
                  <a:lnTo>
                    <a:pt x="24" y="1008"/>
                  </a:lnTo>
                  <a:lnTo>
                    <a:pt x="12" y="1008"/>
                  </a:lnTo>
                  <a:lnTo>
                    <a:pt x="6" y="1008"/>
                  </a:lnTo>
                  <a:lnTo>
                    <a:pt x="0" y="1008"/>
                  </a:lnTo>
                  <a:lnTo>
                    <a:pt x="0" y="1002"/>
                  </a:lnTo>
                  <a:lnTo>
                    <a:pt x="6" y="990"/>
                  </a:lnTo>
                  <a:lnTo>
                    <a:pt x="6" y="984"/>
                  </a:lnTo>
                  <a:lnTo>
                    <a:pt x="0" y="978"/>
                  </a:lnTo>
                  <a:lnTo>
                    <a:pt x="6" y="972"/>
                  </a:lnTo>
                  <a:lnTo>
                    <a:pt x="12" y="972"/>
                  </a:lnTo>
                  <a:lnTo>
                    <a:pt x="72" y="978"/>
                  </a:lnTo>
                  <a:lnTo>
                    <a:pt x="78" y="972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30"/>
                  </a:lnTo>
                  <a:lnTo>
                    <a:pt x="54" y="912"/>
                  </a:lnTo>
                  <a:lnTo>
                    <a:pt x="42" y="906"/>
                  </a:lnTo>
                  <a:lnTo>
                    <a:pt x="36" y="894"/>
                  </a:lnTo>
                  <a:lnTo>
                    <a:pt x="30" y="876"/>
                  </a:lnTo>
                  <a:lnTo>
                    <a:pt x="30" y="858"/>
                  </a:lnTo>
                  <a:lnTo>
                    <a:pt x="30" y="840"/>
                  </a:lnTo>
                  <a:lnTo>
                    <a:pt x="36" y="816"/>
                  </a:lnTo>
                  <a:lnTo>
                    <a:pt x="36" y="792"/>
                  </a:lnTo>
                  <a:lnTo>
                    <a:pt x="36" y="780"/>
                  </a:lnTo>
                  <a:lnTo>
                    <a:pt x="12" y="774"/>
                  </a:lnTo>
                  <a:lnTo>
                    <a:pt x="24" y="756"/>
                  </a:lnTo>
                  <a:lnTo>
                    <a:pt x="24" y="744"/>
                  </a:lnTo>
                  <a:lnTo>
                    <a:pt x="30" y="738"/>
                  </a:lnTo>
                  <a:lnTo>
                    <a:pt x="30" y="732"/>
                  </a:lnTo>
                  <a:lnTo>
                    <a:pt x="36" y="720"/>
                  </a:lnTo>
                  <a:lnTo>
                    <a:pt x="42" y="714"/>
                  </a:lnTo>
                  <a:lnTo>
                    <a:pt x="54" y="708"/>
                  </a:lnTo>
                  <a:lnTo>
                    <a:pt x="60" y="702"/>
                  </a:lnTo>
                  <a:lnTo>
                    <a:pt x="48" y="690"/>
                  </a:lnTo>
                  <a:lnTo>
                    <a:pt x="48" y="684"/>
                  </a:lnTo>
                  <a:lnTo>
                    <a:pt x="48" y="678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66"/>
                  </a:lnTo>
                  <a:lnTo>
                    <a:pt x="72" y="654"/>
                  </a:lnTo>
                  <a:lnTo>
                    <a:pt x="72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84" y="630"/>
                  </a:lnTo>
                  <a:lnTo>
                    <a:pt x="90" y="630"/>
                  </a:lnTo>
                  <a:lnTo>
                    <a:pt x="96" y="630"/>
                  </a:lnTo>
                  <a:lnTo>
                    <a:pt x="96" y="624"/>
                  </a:lnTo>
                  <a:lnTo>
                    <a:pt x="90" y="624"/>
                  </a:lnTo>
                  <a:lnTo>
                    <a:pt x="84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90" y="600"/>
                  </a:lnTo>
                  <a:lnTo>
                    <a:pt x="84" y="600"/>
                  </a:lnTo>
                  <a:lnTo>
                    <a:pt x="78" y="594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126" y="564"/>
                  </a:lnTo>
                  <a:lnTo>
                    <a:pt x="144" y="564"/>
                  </a:lnTo>
                  <a:lnTo>
                    <a:pt x="156" y="582"/>
                  </a:lnTo>
                  <a:lnTo>
                    <a:pt x="162" y="600"/>
                  </a:lnTo>
                  <a:lnTo>
                    <a:pt x="180" y="588"/>
                  </a:lnTo>
                  <a:lnTo>
                    <a:pt x="192" y="588"/>
                  </a:lnTo>
                  <a:lnTo>
                    <a:pt x="198" y="588"/>
                  </a:lnTo>
                  <a:lnTo>
                    <a:pt x="210" y="582"/>
                  </a:lnTo>
                  <a:lnTo>
                    <a:pt x="216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58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46" y="558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58" y="570"/>
                  </a:lnTo>
                  <a:lnTo>
                    <a:pt x="264" y="570"/>
                  </a:lnTo>
                  <a:lnTo>
                    <a:pt x="270" y="564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46"/>
                  </a:lnTo>
                  <a:lnTo>
                    <a:pt x="276" y="540"/>
                  </a:lnTo>
                  <a:lnTo>
                    <a:pt x="276" y="534"/>
                  </a:lnTo>
                  <a:lnTo>
                    <a:pt x="276" y="528"/>
                  </a:lnTo>
                  <a:lnTo>
                    <a:pt x="282" y="528"/>
                  </a:lnTo>
                  <a:lnTo>
                    <a:pt x="282" y="522"/>
                  </a:lnTo>
                  <a:lnTo>
                    <a:pt x="282" y="516"/>
                  </a:lnTo>
                  <a:lnTo>
                    <a:pt x="282" y="510"/>
                  </a:lnTo>
                  <a:lnTo>
                    <a:pt x="282" y="504"/>
                  </a:lnTo>
                  <a:lnTo>
                    <a:pt x="282" y="492"/>
                  </a:lnTo>
                  <a:lnTo>
                    <a:pt x="288" y="486"/>
                  </a:lnTo>
                  <a:lnTo>
                    <a:pt x="300" y="480"/>
                  </a:lnTo>
                  <a:lnTo>
                    <a:pt x="306" y="462"/>
                  </a:lnTo>
                  <a:lnTo>
                    <a:pt x="318" y="444"/>
                  </a:lnTo>
                  <a:lnTo>
                    <a:pt x="330" y="444"/>
                  </a:lnTo>
                  <a:lnTo>
                    <a:pt x="330" y="432"/>
                  </a:lnTo>
                  <a:lnTo>
                    <a:pt x="342" y="432"/>
                  </a:lnTo>
                  <a:lnTo>
                    <a:pt x="354" y="402"/>
                  </a:lnTo>
                  <a:lnTo>
                    <a:pt x="348" y="390"/>
                  </a:lnTo>
                  <a:lnTo>
                    <a:pt x="336" y="384"/>
                  </a:lnTo>
                  <a:lnTo>
                    <a:pt x="336" y="360"/>
                  </a:lnTo>
                  <a:lnTo>
                    <a:pt x="336" y="354"/>
                  </a:lnTo>
                  <a:lnTo>
                    <a:pt x="336" y="342"/>
                  </a:lnTo>
                  <a:lnTo>
                    <a:pt x="342" y="336"/>
                  </a:lnTo>
                  <a:lnTo>
                    <a:pt x="342" y="324"/>
                  </a:lnTo>
                  <a:lnTo>
                    <a:pt x="372" y="324"/>
                  </a:lnTo>
                  <a:lnTo>
                    <a:pt x="378" y="324"/>
                  </a:lnTo>
                  <a:lnTo>
                    <a:pt x="378" y="318"/>
                  </a:lnTo>
                  <a:lnTo>
                    <a:pt x="372" y="312"/>
                  </a:lnTo>
                  <a:lnTo>
                    <a:pt x="378" y="312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84" y="300"/>
                  </a:lnTo>
                  <a:lnTo>
                    <a:pt x="384" y="294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66" y="294"/>
                  </a:lnTo>
                  <a:lnTo>
                    <a:pt x="366" y="288"/>
                  </a:lnTo>
                  <a:lnTo>
                    <a:pt x="372" y="288"/>
                  </a:lnTo>
                  <a:lnTo>
                    <a:pt x="372" y="282"/>
                  </a:lnTo>
                  <a:lnTo>
                    <a:pt x="366" y="276"/>
                  </a:lnTo>
                  <a:lnTo>
                    <a:pt x="360" y="270"/>
                  </a:lnTo>
                  <a:lnTo>
                    <a:pt x="360" y="264"/>
                  </a:lnTo>
                  <a:lnTo>
                    <a:pt x="354" y="264"/>
                  </a:lnTo>
                  <a:lnTo>
                    <a:pt x="348" y="258"/>
                  </a:lnTo>
                  <a:lnTo>
                    <a:pt x="354" y="258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40"/>
                  </a:lnTo>
                  <a:lnTo>
                    <a:pt x="354" y="240"/>
                  </a:lnTo>
                  <a:lnTo>
                    <a:pt x="342" y="234"/>
                  </a:lnTo>
                  <a:lnTo>
                    <a:pt x="342" y="228"/>
                  </a:lnTo>
                  <a:lnTo>
                    <a:pt x="348" y="228"/>
                  </a:lnTo>
                  <a:lnTo>
                    <a:pt x="342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6" y="216"/>
                  </a:lnTo>
                  <a:lnTo>
                    <a:pt x="330" y="222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24" y="210"/>
                  </a:lnTo>
                  <a:lnTo>
                    <a:pt x="318" y="210"/>
                  </a:lnTo>
                  <a:lnTo>
                    <a:pt x="318" y="204"/>
                  </a:lnTo>
                  <a:lnTo>
                    <a:pt x="312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294" y="192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300" y="174"/>
                  </a:lnTo>
                  <a:lnTo>
                    <a:pt x="300" y="168"/>
                  </a:lnTo>
                  <a:lnTo>
                    <a:pt x="300" y="162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88" y="150"/>
                  </a:lnTo>
                  <a:lnTo>
                    <a:pt x="288" y="144"/>
                  </a:lnTo>
                  <a:lnTo>
                    <a:pt x="282" y="144"/>
                  </a:lnTo>
                  <a:lnTo>
                    <a:pt x="282" y="138"/>
                  </a:lnTo>
                  <a:lnTo>
                    <a:pt x="312" y="132"/>
                  </a:lnTo>
                  <a:lnTo>
                    <a:pt x="324" y="120"/>
                  </a:lnTo>
                  <a:lnTo>
                    <a:pt x="330" y="114"/>
                  </a:lnTo>
                  <a:lnTo>
                    <a:pt x="336" y="102"/>
                  </a:lnTo>
                  <a:lnTo>
                    <a:pt x="348" y="90"/>
                  </a:lnTo>
                  <a:lnTo>
                    <a:pt x="360" y="84"/>
                  </a:lnTo>
                  <a:lnTo>
                    <a:pt x="372" y="84"/>
                  </a:lnTo>
                  <a:lnTo>
                    <a:pt x="378" y="84"/>
                  </a:lnTo>
                  <a:lnTo>
                    <a:pt x="384" y="90"/>
                  </a:lnTo>
                  <a:lnTo>
                    <a:pt x="402" y="90"/>
                  </a:lnTo>
                  <a:lnTo>
                    <a:pt x="438" y="84"/>
                  </a:lnTo>
                  <a:lnTo>
                    <a:pt x="456" y="84"/>
                  </a:lnTo>
                  <a:lnTo>
                    <a:pt x="462" y="78"/>
                  </a:lnTo>
                  <a:lnTo>
                    <a:pt x="486" y="72"/>
                  </a:lnTo>
                  <a:lnTo>
                    <a:pt x="492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04" y="54"/>
                  </a:lnTo>
                  <a:lnTo>
                    <a:pt x="510" y="42"/>
                  </a:lnTo>
                  <a:lnTo>
                    <a:pt x="504" y="42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498" y="30"/>
                  </a:lnTo>
                  <a:lnTo>
                    <a:pt x="492" y="30"/>
                  </a:lnTo>
                  <a:lnTo>
                    <a:pt x="492" y="24"/>
                  </a:lnTo>
                  <a:lnTo>
                    <a:pt x="486" y="18"/>
                  </a:lnTo>
                  <a:lnTo>
                    <a:pt x="498" y="18"/>
                  </a:lnTo>
                  <a:lnTo>
                    <a:pt x="510" y="18"/>
                  </a:lnTo>
                  <a:lnTo>
                    <a:pt x="522" y="12"/>
                  </a:lnTo>
                  <a:lnTo>
                    <a:pt x="528" y="6"/>
                  </a:lnTo>
                  <a:lnTo>
                    <a:pt x="570" y="0"/>
                  </a:lnTo>
                  <a:lnTo>
                    <a:pt x="606" y="6"/>
                  </a:lnTo>
                  <a:lnTo>
                    <a:pt x="654" y="24"/>
                  </a:lnTo>
                  <a:lnTo>
                    <a:pt x="666" y="36"/>
                  </a:lnTo>
                  <a:lnTo>
                    <a:pt x="672" y="30"/>
                  </a:lnTo>
                  <a:lnTo>
                    <a:pt x="690" y="42"/>
                  </a:lnTo>
                  <a:lnTo>
                    <a:pt x="702" y="48"/>
                  </a:lnTo>
                  <a:lnTo>
                    <a:pt x="714" y="60"/>
                  </a:lnTo>
                  <a:lnTo>
                    <a:pt x="714" y="66"/>
                  </a:lnTo>
                  <a:lnTo>
                    <a:pt x="720" y="72"/>
                  </a:lnTo>
                  <a:lnTo>
                    <a:pt x="720" y="78"/>
                  </a:lnTo>
                  <a:lnTo>
                    <a:pt x="720" y="102"/>
                  </a:lnTo>
                  <a:lnTo>
                    <a:pt x="720" y="108"/>
                  </a:lnTo>
                  <a:lnTo>
                    <a:pt x="714" y="108"/>
                  </a:lnTo>
                  <a:lnTo>
                    <a:pt x="714" y="126"/>
                  </a:lnTo>
                  <a:lnTo>
                    <a:pt x="732" y="126"/>
                  </a:lnTo>
                  <a:lnTo>
                    <a:pt x="726" y="132"/>
                  </a:lnTo>
                  <a:lnTo>
                    <a:pt x="738" y="132"/>
                  </a:lnTo>
                  <a:lnTo>
                    <a:pt x="738" y="138"/>
                  </a:lnTo>
                  <a:lnTo>
                    <a:pt x="738" y="144"/>
                  </a:lnTo>
                  <a:lnTo>
                    <a:pt x="744" y="144"/>
                  </a:lnTo>
                  <a:lnTo>
                    <a:pt x="744" y="150"/>
                  </a:lnTo>
                  <a:lnTo>
                    <a:pt x="756" y="156"/>
                  </a:lnTo>
                  <a:lnTo>
                    <a:pt x="768" y="156"/>
                  </a:lnTo>
                  <a:lnTo>
                    <a:pt x="780" y="156"/>
                  </a:lnTo>
                  <a:lnTo>
                    <a:pt x="792" y="150"/>
                  </a:lnTo>
                  <a:lnTo>
                    <a:pt x="786" y="150"/>
                  </a:lnTo>
                  <a:lnTo>
                    <a:pt x="786" y="144"/>
                  </a:lnTo>
                  <a:lnTo>
                    <a:pt x="804" y="144"/>
                  </a:lnTo>
                  <a:lnTo>
                    <a:pt x="816" y="132"/>
                  </a:lnTo>
                  <a:lnTo>
                    <a:pt x="822" y="126"/>
                  </a:lnTo>
                  <a:lnTo>
                    <a:pt x="828" y="132"/>
                  </a:lnTo>
                  <a:lnTo>
                    <a:pt x="834" y="126"/>
                  </a:lnTo>
                  <a:lnTo>
                    <a:pt x="834" y="120"/>
                  </a:lnTo>
                  <a:lnTo>
                    <a:pt x="924" y="108"/>
                  </a:lnTo>
                  <a:lnTo>
                    <a:pt x="942" y="144"/>
                  </a:lnTo>
                  <a:lnTo>
                    <a:pt x="948" y="144"/>
                  </a:lnTo>
                  <a:lnTo>
                    <a:pt x="960" y="168"/>
                  </a:lnTo>
                  <a:lnTo>
                    <a:pt x="972" y="186"/>
                  </a:lnTo>
                  <a:lnTo>
                    <a:pt x="984" y="192"/>
                  </a:lnTo>
                  <a:lnTo>
                    <a:pt x="996" y="192"/>
                  </a:lnTo>
                  <a:lnTo>
                    <a:pt x="996" y="198"/>
                  </a:lnTo>
                  <a:lnTo>
                    <a:pt x="1008" y="204"/>
                  </a:lnTo>
                  <a:lnTo>
                    <a:pt x="1008" y="210"/>
                  </a:lnTo>
                  <a:lnTo>
                    <a:pt x="1002" y="210"/>
                  </a:lnTo>
                  <a:lnTo>
                    <a:pt x="1008" y="216"/>
                  </a:lnTo>
                  <a:lnTo>
                    <a:pt x="1014" y="210"/>
                  </a:lnTo>
                  <a:lnTo>
                    <a:pt x="1014" y="216"/>
                  </a:lnTo>
                  <a:lnTo>
                    <a:pt x="1020" y="222"/>
                  </a:lnTo>
                  <a:lnTo>
                    <a:pt x="1014" y="228"/>
                  </a:lnTo>
                  <a:lnTo>
                    <a:pt x="1032" y="234"/>
                  </a:lnTo>
                  <a:lnTo>
                    <a:pt x="1044" y="240"/>
                  </a:lnTo>
                  <a:lnTo>
                    <a:pt x="1038" y="246"/>
                  </a:lnTo>
                  <a:lnTo>
                    <a:pt x="1038" y="252"/>
                  </a:lnTo>
                  <a:lnTo>
                    <a:pt x="1038" y="258"/>
                  </a:lnTo>
                  <a:lnTo>
                    <a:pt x="1032" y="264"/>
                  </a:lnTo>
                  <a:lnTo>
                    <a:pt x="1032" y="270"/>
                  </a:lnTo>
                  <a:lnTo>
                    <a:pt x="1032" y="276"/>
                  </a:lnTo>
                  <a:lnTo>
                    <a:pt x="1032" y="282"/>
                  </a:lnTo>
                  <a:lnTo>
                    <a:pt x="1026" y="282"/>
                  </a:lnTo>
                  <a:lnTo>
                    <a:pt x="1026" y="288"/>
                  </a:lnTo>
                  <a:lnTo>
                    <a:pt x="1026" y="294"/>
                  </a:lnTo>
                  <a:lnTo>
                    <a:pt x="1026" y="300"/>
                  </a:lnTo>
                  <a:lnTo>
                    <a:pt x="1026" y="306"/>
                  </a:lnTo>
                  <a:lnTo>
                    <a:pt x="1020" y="318"/>
                  </a:lnTo>
                  <a:lnTo>
                    <a:pt x="1020" y="324"/>
                  </a:lnTo>
                  <a:lnTo>
                    <a:pt x="1014" y="324"/>
                  </a:lnTo>
                  <a:lnTo>
                    <a:pt x="1014" y="330"/>
                  </a:lnTo>
                  <a:lnTo>
                    <a:pt x="1014" y="336"/>
                  </a:lnTo>
                  <a:lnTo>
                    <a:pt x="1008" y="366"/>
                  </a:lnTo>
                  <a:lnTo>
                    <a:pt x="1002" y="366"/>
                  </a:lnTo>
                  <a:lnTo>
                    <a:pt x="984" y="354"/>
                  </a:lnTo>
                  <a:lnTo>
                    <a:pt x="978" y="354"/>
                  </a:lnTo>
                  <a:lnTo>
                    <a:pt x="972" y="354"/>
                  </a:lnTo>
                  <a:lnTo>
                    <a:pt x="966" y="348"/>
                  </a:lnTo>
                  <a:lnTo>
                    <a:pt x="954" y="348"/>
                  </a:lnTo>
                  <a:lnTo>
                    <a:pt x="948" y="348"/>
                  </a:lnTo>
                  <a:lnTo>
                    <a:pt x="948" y="360"/>
                  </a:lnTo>
                  <a:lnTo>
                    <a:pt x="948" y="366"/>
                  </a:lnTo>
                  <a:lnTo>
                    <a:pt x="948" y="372"/>
                  </a:lnTo>
                  <a:lnTo>
                    <a:pt x="948" y="378"/>
                  </a:lnTo>
                  <a:lnTo>
                    <a:pt x="948" y="384"/>
                  </a:lnTo>
                  <a:lnTo>
                    <a:pt x="942" y="384"/>
                  </a:lnTo>
                  <a:lnTo>
                    <a:pt x="942" y="390"/>
                  </a:lnTo>
                  <a:lnTo>
                    <a:pt x="936" y="390"/>
                  </a:lnTo>
                  <a:lnTo>
                    <a:pt x="942" y="390"/>
                  </a:lnTo>
                  <a:lnTo>
                    <a:pt x="936" y="396"/>
                  </a:lnTo>
                  <a:lnTo>
                    <a:pt x="930" y="402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2" y="432"/>
                  </a:lnTo>
                  <a:lnTo>
                    <a:pt x="900" y="450"/>
                  </a:lnTo>
                  <a:lnTo>
                    <a:pt x="894" y="456"/>
                  </a:lnTo>
                  <a:lnTo>
                    <a:pt x="888" y="456"/>
                  </a:lnTo>
                  <a:lnTo>
                    <a:pt x="882" y="456"/>
                  </a:lnTo>
                  <a:lnTo>
                    <a:pt x="876" y="456"/>
                  </a:lnTo>
                  <a:lnTo>
                    <a:pt x="864" y="462"/>
                  </a:lnTo>
                  <a:lnTo>
                    <a:pt x="852" y="474"/>
                  </a:lnTo>
                  <a:lnTo>
                    <a:pt x="846" y="480"/>
                  </a:lnTo>
                  <a:lnTo>
                    <a:pt x="840" y="486"/>
                  </a:lnTo>
                  <a:lnTo>
                    <a:pt x="834" y="498"/>
                  </a:lnTo>
                  <a:lnTo>
                    <a:pt x="828" y="510"/>
                  </a:lnTo>
                  <a:lnTo>
                    <a:pt x="816" y="522"/>
                  </a:lnTo>
                  <a:lnTo>
                    <a:pt x="798" y="540"/>
                  </a:lnTo>
                  <a:lnTo>
                    <a:pt x="780" y="558"/>
                  </a:lnTo>
                  <a:lnTo>
                    <a:pt x="774" y="558"/>
                  </a:lnTo>
                  <a:lnTo>
                    <a:pt x="756" y="576"/>
                  </a:lnTo>
                  <a:lnTo>
                    <a:pt x="732" y="600"/>
                  </a:lnTo>
                  <a:lnTo>
                    <a:pt x="726" y="600"/>
                  </a:lnTo>
                  <a:lnTo>
                    <a:pt x="720" y="606"/>
                  </a:lnTo>
                  <a:lnTo>
                    <a:pt x="714" y="612"/>
                  </a:lnTo>
                  <a:lnTo>
                    <a:pt x="690" y="630"/>
                  </a:lnTo>
                  <a:lnTo>
                    <a:pt x="678" y="636"/>
                  </a:lnTo>
                  <a:lnTo>
                    <a:pt x="672" y="642"/>
                  </a:lnTo>
                  <a:lnTo>
                    <a:pt x="660" y="660"/>
                  </a:lnTo>
                  <a:lnTo>
                    <a:pt x="642" y="666"/>
                  </a:lnTo>
                  <a:lnTo>
                    <a:pt x="636" y="678"/>
                  </a:lnTo>
                  <a:lnTo>
                    <a:pt x="630" y="678"/>
                  </a:lnTo>
                  <a:lnTo>
                    <a:pt x="630" y="684"/>
                  </a:lnTo>
                  <a:lnTo>
                    <a:pt x="630" y="690"/>
                  </a:lnTo>
                  <a:lnTo>
                    <a:pt x="636" y="696"/>
                  </a:lnTo>
                  <a:lnTo>
                    <a:pt x="642" y="696"/>
                  </a:lnTo>
                  <a:lnTo>
                    <a:pt x="648" y="702"/>
                  </a:lnTo>
                  <a:lnTo>
                    <a:pt x="648" y="708"/>
                  </a:lnTo>
                  <a:lnTo>
                    <a:pt x="642" y="708"/>
                  </a:lnTo>
                  <a:lnTo>
                    <a:pt x="636" y="714"/>
                  </a:lnTo>
                  <a:lnTo>
                    <a:pt x="636" y="720"/>
                  </a:lnTo>
                  <a:lnTo>
                    <a:pt x="642" y="726"/>
                  </a:lnTo>
                  <a:lnTo>
                    <a:pt x="636" y="738"/>
                  </a:lnTo>
                  <a:lnTo>
                    <a:pt x="618" y="756"/>
                  </a:lnTo>
                  <a:lnTo>
                    <a:pt x="612" y="750"/>
                  </a:lnTo>
                  <a:lnTo>
                    <a:pt x="612" y="756"/>
                  </a:lnTo>
                  <a:lnTo>
                    <a:pt x="618" y="762"/>
                  </a:lnTo>
                  <a:lnTo>
                    <a:pt x="618" y="768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36" y="786"/>
                  </a:lnTo>
                  <a:lnTo>
                    <a:pt x="642" y="792"/>
                  </a:lnTo>
                  <a:lnTo>
                    <a:pt x="642" y="798"/>
                  </a:lnTo>
                  <a:lnTo>
                    <a:pt x="648" y="804"/>
                  </a:lnTo>
                  <a:lnTo>
                    <a:pt x="654" y="810"/>
                  </a:lnTo>
                  <a:lnTo>
                    <a:pt x="660" y="816"/>
                  </a:lnTo>
                  <a:lnTo>
                    <a:pt x="666" y="816"/>
                  </a:lnTo>
                  <a:lnTo>
                    <a:pt x="666" y="822"/>
                  </a:lnTo>
                  <a:lnTo>
                    <a:pt x="672" y="828"/>
                  </a:lnTo>
                  <a:lnTo>
                    <a:pt x="672" y="840"/>
                  </a:lnTo>
                  <a:lnTo>
                    <a:pt x="672" y="846"/>
                  </a:lnTo>
                  <a:lnTo>
                    <a:pt x="666" y="852"/>
                  </a:lnTo>
                  <a:lnTo>
                    <a:pt x="660" y="864"/>
                  </a:lnTo>
                  <a:lnTo>
                    <a:pt x="654" y="876"/>
                  </a:lnTo>
                  <a:lnTo>
                    <a:pt x="648" y="882"/>
                  </a:lnTo>
                  <a:lnTo>
                    <a:pt x="642" y="888"/>
                  </a:lnTo>
                  <a:lnTo>
                    <a:pt x="642" y="894"/>
                  </a:lnTo>
                  <a:lnTo>
                    <a:pt x="642" y="906"/>
                  </a:lnTo>
                  <a:lnTo>
                    <a:pt x="630" y="918"/>
                  </a:lnTo>
                  <a:lnTo>
                    <a:pt x="630" y="924"/>
                  </a:lnTo>
                  <a:lnTo>
                    <a:pt x="624" y="930"/>
                  </a:lnTo>
                  <a:lnTo>
                    <a:pt x="630" y="936"/>
                  </a:lnTo>
                  <a:lnTo>
                    <a:pt x="630" y="942"/>
                  </a:lnTo>
                  <a:lnTo>
                    <a:pt x="630" y="948"/>
                  </a:lnTo>
                  <a:lnTo>
                    <a:pt x="630" y="954"/>
                  </a:lnTo>
                  <a:lnTo>
                    <a:pt x="630" y="960"/>
                  </a:lnTo>
                  <a:lnTo>
                    <a:pt x="624" y="966"/>
                  </a:lnTo>
                  <a:lnTo>
                    <a:pt x="618" y="990"/>
                  </a:lnTo>
                  <a:lnTo>
                    <a:pt x="618" y="1008"/>
                  </a:lnTo>
                  <a:lnTo>
                    <a:pt x="612" y="1026"/>
                  </a:lnTo>
                  <a:lnTo>
                    <a:pt x="612" y="1038"/>
                  </a:lnTo>
                  <a:lnTo>
                    <a:pt x="612" y="1050"/>
                  </a:lnTo>
                  <a:lnTo>
                    <a:pt x="612" y="1056"/>
                  </a:lnTo>
                  <a:lnTo>
                    <a:pt x="612" y="1062"/>
                  </a:lnTo>
                  <a:lnTo>
                    <a:pt x="612" y="1068"/>
                  </a:lnTo>
                  <a:lnTo>
                    <a:pt x="612" y="1086"/>
                  </a:lnTo>
                  <a:lnTo>
                    <a:pt x="612" y="1092"/>
                  </a:lnTo>
                  <a:lnTo>
                    <a:pt x="606" y="1098"/>
                  </a:lnTo>
                  <a:lnTo>
                    <a:pt x="600" y="1110"/>
                  </a:lnTo>
                  <a:lnTo>
                    <a:pt x="600" y="1116"/>
                  </a:lnTo>
                  <a:lnTo>
                    <a:pt x="594" y="1122"/>
                  </a:lnTo>
                  <a:lnTo>
                    <a:pt x="594" y="1128"/>
                  </a:lnTo>
                  <a:lnTo>
                    <a:pt x="588" y="1134"/>
                  </a:lnTo>
                  <a:lnTo>
                    <a:pt x="582" y="1140"/>
                  </a:lnTo>
                  <a:lnTo>
                    <a:pt x="570" y="1140"/>
                  </a:lnTo>
                  <a:lnTo>
                    <a:pt x="564" y="1146"/>
                  </a:lnTo>
                  <a:lnTo>
                    <a:pt x="570" y="1146"/>
                  </a:lnTo>
                  <a:lnTo>
                    <a:pt x="564" y="1152"/>
                  </a:lnTo>
                  <a:lnTo>
                    <a:pt x="558" y="1158"/>
                  </a:lnTo>
                  <a:lnTo>
                    <a:pt x="552" y="1164"/>
                  </a:lnTo>
                  <a:lnTo>
                    <a:pt x="552" y="1170"/>
                  </a:lnTo>
                  <a:lnTo>
                    <a:pt x="546" y="1176"/>
                  </a:lnTo>
                  <a:lnTo>
                    <a:pt x="546" y="1182"/>
                  </a:lnTo>
                  <a:lnTo>
                    <a:pt x="546" y="1188"/>
                  </a:lnTo>
                  <a:lnTo>
                    <a:pt x="540" y="1188"/>
                  </a:lnTo>
                  <a:lnTo>
                    <a:pt x="540" y="1194"/>
                  </a:lnTo>
                  <a:lnTo>
                    <a:pt x="528" y="1206"/>
                  </a:lnTo>
                  <a:lnTo>
                    <a:pt x="528" y="1212"/>
                  </a:lnTo>
                  <a:lnTo>
                    <a:pt x="534" y="1212"/>
                  </a:lnTo>
                  <a:lnTo>
                    <a:pt x="540" y="1218"/>
                  </a:lnTo>
                  <a:lnTo>
                    <a:pt x="534" y="1218"/>
                  </a:lnTo>
                  <a:lnTo>
                    <a:pt x="528" y="1218"/>
                  </a:lnTo>
                  <a:lnTo>
                    <a:pt x="528" y="1224"/>
                  </a:lnTo>
                  <a:lnTo>
                    <a:pt x="522" y="1230"/>
                  </a:lnTo>
                  <a:lnTo>
                    <a:pt x="516" y="1236"/>
                  </a:lnTo>
                  <a:lnTo>
                    <a:pt x="522" y="1236"/>
                  </a:lnTo>
                  <a:lnTo>
                    <a:pt x="516" y="1242"/>
                  </a:lnTo>
                  <a:lnTo>
                    <a:pt x="510" y="1242"/>
                  </a:lnTo>
                  <a:lnTo>
                    <a:pt x="504" y="1248"/>
                  </a:lnTo>
                  <a:lnTo>
                    <a:pt x="510" y="1260"/>
                  </a:lnTo>
                  <a:lnTo>
                    <a:pt x="504" y="1266"/>
                  </a:lnTo>
                  <a:lnTo>
                    <a:pt x="492" y="1266"/>
                  </a:lnTo>
                  <a:lnTo>
                    <a:pt x="486" y="1272"/>
                  </a:lnTo>
                  <a:lnTo>
                    <a:pt x="486" y="1278"/>
                  </a:lnTo>
                  <a:lnTo>
                    <a:pt x="480" y="1278"/>
                  </a:lnTo>
                  <a:lnTo>
                    <a:pt x="480" y="1284"/>
                  </a:lnTo>
                  <a:lnTo>
                    <a:pt x="480" y="1290"/>
                  </a:lnTo>
                  <a:lnTo>
                    <a:pt x="480" y="1296"/>
                  </a:lnTo>
                  <a:lnTo>
                    <a:pt x="492" y="1302"/>
                  </a:lnTo>
                  <a:lnTo>
                    <a:pt x="492" y="1308"/>
                  </a:lnTo>
                  <a:lnTo>
                    <a:pt x="492" y="1320"/>
                  </a:lnTo>
                  <a:lnTo>
                    <a:pt x="492" y="1332"/>
                  </a:lnTo>
                  <a:lnTo>
                    <a:pt x="498" y="1344"/>
                  </a:lnTo>
                  <a:lnTo>
                    <a:pt x="498" y="1350"/>
                  </a:lnTo>
                  <a:lnTo>
                    <a:pt x="498" y="1356"/>
                  </a:lnTo>
                  <a:lnTo>
                    <a:pt x="504" y="1362"/>
                  </a:lnTo>
                  <a:lnTo>
                    <a:pt x="498" y="1362"/>
                  </a:lnTo>
                  <a:lnTo>
                    <a:pt x="498" y="1368"/>
                  </a:lnTo>
                  <a:lnTo>
                    <a:pt x="492" y="1368"/>
                  </a:lnTo>
                  <a:lnTo>
                    <a:pt x="492" y="1374"/>
                  </a:lnTo>
                  <a:lnTo>
                    <a:pt x="492" y="1380"/>
                  </a:lnTo>
                  <a:lnTo>
                    <a:pt x="498" y="1380"/>
                  </a:lnTo>
                  <a:lnTo>
                    <a:pt x="504" y="1380"/>
                  </a:lnTo>
                  <a:lnTo>
                    <a:pt x="498" y="1386"/>
                  </a:lnTo>
                  <a:lnTo>
                    <a:pt x="498" y="1392"/>
                  </a:lnTo>
                  <a:lnTo>
                    <a:pt x="498" y="1398"/>
                  </a:lnTo>
                  <a:lnTo>
                    <a:pt x="498" y="1404"/>
                  </a:lnTo>
                  <a:lnTo>
                    <a:pt x="498" y="1410"/>
                  </a:lnTo>
                  <a:lnTo>
                    <a:pt x="498" y="1416"/>
                  </a:lnTo>
                  <a:lnTo>
                    <a:pt x="492" y="1416"/>
                  </a:lnTo>
                  <a:lnTo>
                    <a:pt x="498" y="1416"/>
                  </a:lnTo>
                  <a:lnTo>
                    <a:pt x="504" y="1416"/>
                  </a:lnTo>
                  <a:lnTo>
                    <a:pt x="504" y="1422"/>
                  </a:lnTo>
                  <a:lnTo>
                    <a:pt x="510" y="1428"/>
                  </a:lnTo>
                  <a:lnTo>
                    <a:pt x="510" y="1434"/>
                  </a:lnTo>
                  <a:lnTo>
                    <a:pt x="510" y="1440"/>
                  </a:lnTo>
                  <a:lnTo>
                    <a:pt x="516" y="1446"/>
                  </a:lnTo>
                  <a:lnTo>
                    <a:pt x="516" y="1452"/>
                  </a:lnTo>
                  <a:lnTo>
                    <a:pt x="516" y="1458"/>
                  </a:lnTo>
                  <a:lnTo>
                    <a:pt x="516" y="1464"/>
                  </a:lnTo>
                  <a:lnTo>
                    <a:pt x="516" y="1482"/>
                  </a:lnTo>
                  <a:lnTo>
                    <a:pt x="516" y="1488"/>
                  </a:lnTo>
                  <a:lnTo>
                    <a:pt x="522" y="1488"/>
                  </a:lnTo>
                  <a:lnTo>
                    <a:pt x="522" y="1494"/>
                  </a:lnTo>
                  <a:lnTo>
                    <a:pt x="522" y="1500"/>
                  </a:lnTo>
                  <a:lnTo>
                    <a:pt x="516" y="1506"/>
                  </a:lnTo>
                  <a:lnTo>
                    <a:pt x="510" y="1500"/>
                  </a:lnTo>
                  <a:lnTo>
                    <a:pt x="504" y="1500"/>
                  </a:lnTo>
                  <a:lnTo>
                    <a:pt x="504" y="1494"/>
                  </a:lnTo>
                  <a:lnTo>
                    <a:pt x="504" y="1488"/>
                  </a:lnTo>
                  <a:lnTo>
                    <a:pt x="504" y="1482"/>
                  </a:lnTo>
                  <a:lnTo>
                    <a:pt x="504" y="1488"/>
                  </a:lnTo>
                  <a:lnTo>
                    <a:pt x="504" y="1494"/>
                  </a:lnTo>
                  <a:lnTo>
                    <a:pt x="504" y="1500"/>
                  </a:lnTo>
                  <a:lnTo>
                    <a:pt x="498" y="1500"/>
                  </a:lnTo>
                  <a:lnTo>
                    <a:pt x="492" y="1500"/>
                  </a:lnTo>
                  <a:lnTo>
                    <a:pt x="492" y="1494"/>
                  </a:lnTo>
                  <a:lnTo>
                    <a:pt x="492" y="1488"/>
                  </a:lnTo>
                  <a:lnTo>
                    <a:pt x="492" y="1494"/>
                  </a:lnTo>
                  <a:lnTo>
                    <a:pt x="492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00"/>
                  </a:lnTo>
                  <a:lnTo>
                    <a:pt x="510" y="1500"/>
                  </a:lnTo>
                  <a:lnTo>
                    <a:pt x="510" y="1506"/>
                  </a:lnTo>
                  <a:lnTo>
                    <a:pt x="516" y="1506"/>
                  </a:lnTo>
                  <a:lnTo>
                    <a:pt x="510" y="1506"/>
                  </a:lnTo>
                  <a:lnTo>
                    <a:pt x="510" y="1512"/>
                  </a:lnTo>
                  <a:lnTo>
                    <a:pt x="516" y="1506"/>
                  </a:lnTo>
                  <a:lnTo>
                    <a:pt x="522" y="1506"/>
                  </a:lnTo>
                  <a:lnTo>
                    <a:pt x="528" y="1506"/>
                  </a:lnTo>
                  <a:lnTo>
                    <a:pt x="528" y="1500"/>
                  </a:lnTo>
                  <a:lnTo>
                    <a:pt x="534" y="1500"/>
                  </a:lnTo>
                  <a:lnTo>
                    <a:pt x="534" y="1506"/>
                  </a:lnTo>
                  <a:lnTo>
                    <a:pt x="540" y="1512"/>
                  </a:lnTo>
                  <a:lnTo>
                    <a:pt x="540" y="1518"/>
                  </a:lnTo>
                  <a:lnTo>
                    <a:pt x="546" y="1518"/>
                  </a:lnTo>
                  <a:lnTo>
                    <a:pt x="540" y="1518"/>
                  </a:lnTo>
                  <a:lnTo>
                    <a:pt x="540" y="1524"/>
                  </a:lnTo>
                  <a:lnTo>
                    <a:pt x="534" y="1524"/>
                  </a:lnTo>
                  <a:lnTo>
                    <a:pt x="540" y="1524"/>
                  </a:lnTo>
                  <a:lnTo>
                    <a:pt x="546" y="1524"/>
                  </a:lnTo>
                  <a:lnTo>
                    <a:pt x="546" y="1530"/>
                  </a:lnTo>
                  <a:lnTo>
                    <a:pt x="540" y="1530"/>
                  </a:lnTo>
                  <a:lnTo>
                    <a:pt x="540" y="1536"/>
                  </a:lnTo>
                  <a:lnTo>
                    <a:pt x="534" y="1542"/>
                  </a:lnTo>
                  <a:lnTo>
                    <a:pt x="528" y="1542"/>
                  </a:lnTo>
                  <a:lnTo>
                    <a:pt x="522" y="1542"/>
                  </a:lnTo>
                  <a:lnTo>
                    <a:pt x="516" y="1542"/>
                  </a:lnTo>
                  <a:lnTo>
                    <a:pt x="510" y="1542"/>
                  </a:lnTo>
                  <a:lnTo>
                    <a:pt x="504" y="1542"/>
                  </a:lnTo>
                  <a:lnTo>
                    <a:pt x="492" y="1542"/>
                  </a:lnTo>
                  <a:lnTo>
                    <a:pt x="486" y="1536"/>
                  </a:lnTo>
                  <a:lnTo>
                    <a:pt x="480" y="1536"/>
                  </a:lnTo>
                  <a:lnTo>
                    <a:pt x="468" y="1536"/>
                  </a:lnTo>
                  <a:lnTo>
                    <a:pt x="468" y="1542"/>
                  </a:lnTo>
                  <a:lnTo>
                    <a:pt x="462" y="1542"/>
                  </a:lnTo>
                  <a:lnTo>
                    <a:pt x="456" y="1542"/>
                  </a:lnTo>
                  <a:lnTo>
                    <a:pt x="450" y="1542"/>
                  </a:lnTo>
                  <a:lnTo>
                    <a:pt x="444" y="1542"/>
                  </a:lnTo>
                  <a:lnTo>
                    <a:pt x="444" y="1536"/>
                  </a:lnTo>
                  <a:lnTo>
                    <a:pt x="450" y="1536"/>
                  </a:lnTo>
                  <a:lnTo>
                    <a:pt x="456" y="1536"/>
                  </a:lnTo>
                  <a:lnTo>
                    <a:pt x="450" y="1536"/>
                  </a:lnTo>
                  <a:lnTo>
                    <a:pt x="444" y="1536"/>
                  </a:lnTo>
                  <a:lnTo>
                    <a:pt x="444" y="1530"/>
                  </a:lnTo>
                  <a:lnTo>
                    <a:pt x="450" y="1530"/>
                  </a:lnTo>
                  <a:lnTo>
                    <a:pt x="456" y="1524"/>
                  </a:lnTo>
                  <a:lnTo>
                    <a:pt x="456" y="1518"/>
                  </a:lnTo>
                  <a:lnTo>
                    <a:pt x="462" y="1518"/>
                  </a:lnTo>
                  <a:lnTo>
                    <a:pt x="462" y="1524"/>
                  </a:lnTo>
                  <a:lnTo>
                    <a:pt x="468" y="1524"/>
                  </a:lnTo>
                  <a:lnTo>
                    <a:pt x="474" y="1524"/>
                  </a:lnTo>
                  <a:lnTo>
                    <a:pt x="474" y="1518"/>
                  </a:lnTo>
                  <a:lnTo>
                    <a:pt x="480" y="1518"/>
                  </a:lnTo>
                  <a:lnTo>
                    <a:pt x="474" y="1518"/>
                  </a:lnTo>
                  <a:lnTo>
                    <a:pt x="474" y="1524"/>
                  </a:lnTo>
                  <a:lnTo>
                    <a:pt x="468" y="1524"/>
                  </a:lnTo>
                  <a:lnTo>
                    <a:pt x="462" y="1518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62" y="1512"/>
                  </a:lnTo>
                  <a:lnTo>
                    <a:pt x="462" y="1506"/>
                  </a:lnTo>
                  <a:lnTo>
                    <a:pt x="456" y="1506"/>
                  </a:lnTo>
                  <a:lnTo>
                    <a:pt x="456" y="1512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50" y="1518"/>
                  </a:lnTo>
                  <a:lnTo>
                    <a:pt x="444" y="1518"/>
                  </a:lnTo>
                  <a:lnTo>
                    <a:pt x="444" y="1524"/>
                  </a:lnTo>
                  <a:lnTo>
                    <a:pt x="438" y="1524"/>
                  </a:lnTo>
                  <a:lnTo>
                    <a:pt x="438" y="1530"/>
                  </a:lnTo>
                  <a:lnTo>
                    <a:pt x="432" y="1530"/>
                  </a:lnTo>
                  <a:lnTo>
                    <a:pt x="432" y="1536"/>
                  </a:lnTo>
                  <a:lnTo>
                    <a:pt x="426" y="1530"/>
                  </a:lnTo>
                  <a:lnTo>
                    <a:pt x="420" y="1530"/>
                  </a:lnTo>
                  <a:lnTo>
                    <a:pt x="414" y="1530"/>
                  </a:lnTo>
                  <a:lnTo>
                    <a:pt x="414" y="1524"/>
                  </a:lnTo>
                  <a:lnTo>
                    <a:pt x="408" y="1518"/>
                  </a:lnTo>
                  <a:lnTo>
                    <a:pt x="414" y="1512"/>
                  </a:lnTo>
                  <a:lnTo>
                    <a:pt x="408" y="1512"/>
                  </a:lnTo>
                  <a:lnTo>
                    <a:pt x="408" y="1506"/>
                  </a:lnTo>
                  <a:lnTo>
                    <a:pt x="408" y="1500"/>
                  </a:lnTo>
                  <a:lnTo>
                    <a:pt x="408" y="1494"/>
                  </a:lnTo>
                  <a:lnTo>
                    <a:pt x="408" y="1488"/>
                  </a:lnTo>
                  <a:lnTo>
                    <a:pt x="408" y="1494"/>
                  </a:lnTo>
                  <a:lnTo>
                    <a:pt x="414" y="1494"/>
                  </a:lnTo>
                  <a:lnTo>
                    <a:pt x="420" y="1494"/>
                  </a:lnTo>
                  <a:lnTo>
                    <a:pt x="420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82"/>
                  </a:lnTo>
                  <a:lnTo>
                    <a:pt x="426" y="1476"/>
                  </a:lnTo>
                  <a:lnTo>
                    <a:pt x="432" y="1476"/>
                  </a:lnTo>
                  <a:lnTo>
                    <a:pt x="432" y="1470"/>
                  </a:lnTo>
                  <a:lnTo>
                    <a:pt x="438" y="1470"/>
                  </a:lnTo>
                  <a:lnTo>
                    <a:pt x="444" y="1464"/>
                  </a:lnTo>
                  <a:lnTo>
                    <a:pt x="450" y="1458"/>
                  </a:lnTo>
                  <a:lnTo>
                    <a:pt x="456" y="1458"/>
                  </a:lnTo>
                  <a:lnTo>
                    <a:pt x="462" y="1452"/>
                  </a:lnTo>
                  <a:lnTo>
                    <a:pt x="468" y="1452"/>
                  </a:lnTo>
                  <a:lnTo>
                    <a:pt x="468" y="1446"/>
                  </a:lnTo>
                  <a:lnTo>
                    <a:pt x="462" y="1440"/>
                  </a:lnTo>
                  <a:lnTo>
                    <a:pt x="456" y="1434"/>
                  </a:lnTo>
                  <a:lnTo>
                    <a:pt x="456" y="1428"/>
                  </a:lnTo>
                  <a:lnTo>
                    <a:pt x="456" y="1422"/>
                  </a:lnTo>
                  <a:lnTo>
                    <a:pt x="456" y="1416"/>
                  </a:lnTo>
                  <a:lnTo>
                    <a:pt x="450" y="1410"/>
                  </a:lnTo>
                  <a:lnTo>
                    <a:pt x="444" y="1410"/>
                  </a:lnTo>
                  <a:lnTo>
                    <a:pt x="450" y="1410"/>
                  </a:lnTo>
                  <a:lnTo>
                    <a:pt x="450" y="1404"/>
                  </a:lnTo>
                  <a:lnTo>
                    <a:pt x="456" y="1404"/>
                  </a:lnTo>
                  <a:lnTo>
                    <a:pt x="462" y="1404"/>
                  </a:lnTo>
                  <a:lnTo>
                    <a:pt x="468" y="1398"/>
                  </a:lnTo>
                  <a:lnTo>
                    <a:pt x="462" y="1398"/>
                  </a:lnTo>
                  <a:lnTo>
                    <a:pt x="462" y="1392"/>
                  </a:lnTo>
                  <a:lnTo>
                    <a:pt x="456" y="1392"/>
                  </a:lnTo>
                  <a:lnTo>
                    <a:pt x="456" y="1386"/>
                  </a:lnTo>
                  <a:lnTo>
                    <a:pt x="462" y="1386"/>
                  </a:lnTo>
                  <a:lnTo>
                    <a:pt x="468" y="1386"/>
                  </a:lnTo>
                  <a:lnTo>
                    <a:pt x="474" y="1386"/>
                  </a:lnTo>
                  <a:lnTo>
                    <a:pt x="468" y="1386"/>
                  </a:lnTo>
                  <a:lnTo>
                    <a:pt x="462" y="1386"/>
                  </a:lnTo>
                  <a:lnTo>
                    <a:pt x="456" y="1380"/>
                  </a:lnTo>
                  <a:lnTo>
                    <a:pt x="456" y="1374"/>
                  </a:lnTo>
                  <a:lnTo>
                    <a:pt x="462" y="1374"/>
                  </a:lnTo>
                  <a:lnTo>
                    <a:pt x="462" y="1368"/>
                  </a:lnTo>
                  <a:lnTo>
                    <a:pt x="456" y="1374"/>
                  </a:lnTo>
                  <a:lnTo>
                    <a:pt x="456" y="1368"/>
                  </a:lnTo>
                  <a:lnTo>
                    <a:pt x="456" y="1362"/>
                  </a:lnTo>
                  <a:lnTo>
                    <a:pt x="450" y="1362"/>
                  </a:lnTo>
                  <a:lnTo>
                    <a:pt x="450" y="1356"/>
                  </a:lnTo>
                  <a:lnTo>
                    <a:pt x="450" y="1350"/>
                  </a:lnTo>
                  <a:lnTo>
                    <a:pt x="450" y="1344"/>
                  </a:lnTo>
                  <a:lnTo>
                    <a:pt x="456" y="1344"/>
                  </a:lnTo>
                  <a:lnTo>
                    <a:pt x="456" y="1338"/>
                  </a:lnTo>
                  <a:lnTo>
                    <a:pt x="462" y="1338"/>
                  </a:lnTo>
                  <a:lnTo>
                    <a:pt x="462" y="1332"/>
                  </a:lnTo>
                  <a:lnTo>
                    <a:pt x="456" y="1332"/>
                  </a:lnTo>
                  <a:lnTo>
                    <a:pt x="456" y="1326"/>
                  </a:lnTo>
                  <a:lnTo>
                    <a:pt x="450" y="1326"/>
                  </a:lnTo>
                  <a:lnTo>
                    <a:pt x="444" y="1326"/>
                  </a:lnTo>
                  <a:lnTo>
                    <a:pt x="444" y="1332"/>
                  </a:lnTo>
                  <a:lnTo>
                    <a:pt x="438" y="1332"/>
                  </a:lnTo>
                  <a:lnTo>
                    <a:pt x="438" y="1338"/>
                  </a:lnTo>
                  <a:lnTo>
                    <a:pt x="432" y="1338"/>
                  </a:lnTo>
                  <a:lnTo>
                    <a:pt x="432" y="1344"/>
                  </a:lnTo>
                  <a:lnTo>
                    <a:pt x="432" y="1350"/>
                  </a:lnTo>
                  <a:lnTo>
                    <a:pt x="426" y="1356"/>
                  </a:lnTo>
                  <a:lnTo>
                    <a:pt x="426" y="1368"/>
                  </a:lnTo>
                  <a:lnTo>
                    <a:pt x="426" y="1374"/>
                  </a:lnTo>
                  <a:lnTo>
                    <a:pt x="426" y="1380"/>
                  </a:lnTo>
                  <a:lnTo>
                    <a:pt x="432" y="1386"/>
                  </a:lnTo>
                  <a:lnTo>
                    <a:pt x="432" y="1392"/>
                  </a:lnTo>
                  <a:lnTo>
                    <a:pt x="432" y="1398"/>
                  </a:lnTo>
                  <a:lnTo>
                    <a:pt x="426" y="1398"/>
                  </a:lnTo>
                  <a:lnTo>
                    <a:pt x="420" y="1398"/>
                  </a:lnTo>
                  <a:lnTo>
                    <a:pt x="414" y="1398"/>
                  </a:lnTo>
                  <a:lnTo>
                    <a:pt x="420" y="1398"/>
                  </a:lnTo>
                  <a:lnTo>
                    <a:pt x="414" y="1404"/>
                  </a:lnTo>
                  <a:lnTo>
                    <a:pt x="420" y="1404"/>
                  </a:lnTo>
                  <a:lnTo>
                    <a:pt x="414" y="1404"/>
                  </a:lnTo>
                  <a:lnTo>
                    <a:pt x="408" y="1404"/>
                  </a:lnTo>
                  <a:lnTo>
                    <a:pt x="402" y="1410"/>
                  </a:lnTo>
                  <a:lnTo>
                    <a:pt x="402" y="1404"/>
                  </a:lnTo>
                  <a:lnTo>
                    <a:pt x="396" y="1404"/>
                  </a:lnTo>
                  <a:lnTo>
                    <a:pt x="390" y="1404"/>
                  </a:lnTo>
                  <a:lnTo>
                    <a:pt x="384" y="1404"/>
                  </a:lnTo>
                  <a:lnTo>
                    <a:pt x="384" y="1398"/>
                  </a:lnTo>
                  <a:lnTo>
                    <a:pt x="384" y="1392"/>
                  </a:lnTo>
                  <a:lnTo>
                    <a:pt x="390" y="1392"/>
                  </a:lnTo>
                  <a:lnTo>
                    <a:pt x="390" y="1386"/>
                  </a:lnTo>
                  <a:lnTo>
                    <a:pt x="390" y="1380"/>
                  </a:lnTo>
                  <a:lnTo>
                    <a:pt x="396" y="1380"/>
                  </a:lnTo>
                  <a:lnTo>
                    <a:pt x="402" y="1380"/>
                  </a:lnTo>
                  <a:lnTo>
                    <a:pt x="408" y="1380"/>
                  </a:lnTo>
                  <a:lnTo>
                    <a:pt x="408" y="1374"/>
                  </a:lnTo>
                  <a:lnTo>
                    <a:pt x="414" y="1374"/>
                  </a:lnTo>
                  <a:lnTo>
                    <a:pt x="414" y="1368"/>
                  </a:lnTo>
                  <a:lnTo>
                    <a:pt x="414" y="1362"/>
                  </a:lnTo>
                  <a:lnTo>
                    <a:pt x="414" y="1368"/>
                  </a:lnTo>
                  <a:lnTo>
                    <a:pt x="414" y="1374"/>
                  </a:lnTo>
                  <a:lnTo>
                    <a:pt x="408" y="1374"/>
                  </a:lnTo>
                  <a:lnTo>
                    <a:pt x="402" y="1380"/>
                  </a:lnTo>
                  <a:lnTo>
                    <a:pt x="396" y="1380"/>
                  </a:lnTo>
                  <a:lnTo>
                    <a:pt x="396" y="1374"/>
                  </a:lnTo>
                  <a:lnTo>
                    <a:pt x="390" y="1374"/>
                  </a:lnTo>
                  <a:lnTo>
                    <a:pt x="390" y="1368"/>
                  </a:lnTo>
                  <a:lnTo>
                    <a:pt x="384" y="1368"/>
                  </a:lnTo>
                  <a:lnTo>
                    <a:pt x="384" y="1374"/>
                  </a:lnTo>
                  <a:lnTo>
                    <a:pt x="378" y="1374"/>
                  </a:lnTo>
                  <a:lnTo>
                    <a:pt x="378" y="1380"/>
                  </a:lnTo>
                  <a:lnTo>
                    <a:pt x="372" y="1380"/>
                  </a:lnTo>
                  <a:lnTo>
                    <a:pt x="366" y="1386"/>
                  </a:lnTo>
                  <a:lnTo>
                    <a:pt x="360" y="1386"/>
                  </a:lnTo>
                  <a:lnTo>
                    <a:pt x="354" y="1386"/>
                  </a:lnTo>
                  <a:lnTo>
                    <a:pt x="354" y="1380"/>
                  </a:lnTo>
                  <a:lnTo>
                    <a:pt x="348" y="1380"/>
                  </a:lnTo>
                  <a:lnTo>
                    <a:pt x="342" y="1380"/>
                  </a:lnTo>
                  <a:lnTo>
                    <a:pt x="342" y="1374"/>
                  </a:lnTo>
                  <a:lnTo>
                    <a:pt x="336" y="1368"/>
                  </a:lnTo>
                  <a:lnTo>
                    <a:pt x="342" y="1368"/>
                  </a:lnTo>
                  <a:lnTo>
                    <a:pt x="342" y="1362"/>
                  </a:lnTo>
                  <a:lnTo>
                    <a:pt x="348" y="1362"/>
                  </a:lnTo>
                  <a:lnTo>
                    <a:pt x="354" y="1362"/>
                  </a:lnTo>
                  <a:lnTo>
                    <a:pt x="354" y="1356"/>
                  </a:lnTo>
                  <a:lnTo>
                    <a:pt x="348" y="1356"/>
                  </a:lnTo>
                  <a:lnTo>
                    <a:pt x="348" y="1350"/>
                  </a:lnTo>
                  <a:lnTo>
                    <a:pt x="348" y="1344"/>
                  </a:lnTo>
                  <a:lnTo>
                    <a:pt x="354" y="1338"/>
                  </a:lnTo>
                  <a:lnTo>
                    <a:pt x="354" y="1332"/>
                  </a:lnTo>
                  <a:lnTo>
                    <a:pt x="354" y="1326"/>
                  </a:lnTo>
                  <a:lnTo>
                    <a:pt x="354" y="1320"/>
                  </a:lnTo>
                  <a:lnTo>
                    <a:pt x="354" y="1314"/>
                  </a:lnTo>
                  <a:lnTo>
                    <a:pt x="354" y="1308"/>
                  </a:lnTo>
                  <a:lnTo>
                    <a:pt x="348" y="1308"/>
                  </a:lnTo>
                  <a:lnTo>
                    <a:pt x="348" y="1302"/>
                  </a:lnTo>
                  <a:lnTo>
                    <a:pt x="342" y="1296"/>
                  </a:lnTo>
                  <a:lnTo>
                    <a:pt x="336" y="1296"/>
                  </a:lnTo>
                  <a:lnTo>
                    <a:pt x="336" y="1290"/>
                  </a:lnTo>
                  <a:lnTo>
                    <a:pt x="330" y="1290"/>
                  </a:lnTo>
                  <a:lnTo>
                    <a:pt x="324" y="1290"/>
                  </a:lnTo>
                  <a:lnTo>
                    <a:pt x="324" y="1284"/>
                  </a:lnTo>
                  <a:lnTo>
                    <a:pt x="318" y="1284"/>
                  </a:lnTo>
                  <a:lnTo>
                    <a:pt x="318" y="1278"/>
                  </a:lnTo>
                  <a:lnTo>
                    <a:pt x="312" y="1278"/>
                  </a:lnTo>
                  <a:lnTo>
                    <a:pt x="312" y="1272"/>
                  </a:lnTo>
                  <a:lnTo>
                    <a:pt x="312" y="1278"/>
                  </a:lnTo>
                  <a:lnTo>
                    <a:pt x="318" y="1284"/>
                  </a:lnTo>
                  <a:lnTo>
                    <a:pt x="324" y="1290"/>
                  </a:lnTo>
                  <a:lnTo>
                    <a:pt x="330" y="1290"/>
                  </a:lnTo>
                  <a:lnTo>
                    <a:pt x="330" y="1296"/>
                  </a:lnTo>
                  <a:lnTo>
                    <a:pt x="336" y="1296"/>
                  </a:lnTo>
                  <a:lnTo>
                    <a:pt x="336" y="1302"/>
                  </a:lnTo>
                  <a:lnTo>
                    <a:pt x="342" y="1302"/>
                  </a:lnTo>
                  <a:lnTo>
                    <a:pt x="348" y="1302"/>
                  </a:lnTo>
                  <a:lnTo>
                    <a:pt x="348" y="1308"/>
                  </a:lnTo>
                  <a:lnTo>
                    <a:pt x="348" y="1314"/>
                  </a:lnTo>
                  <a:lnTo>
                    <a:pt x="354" y="1314"/>
                  </a:lnTo>
                  <a:lnTo>
                    <a:pt x="354" y="1320"/>
                  </a:lnTo>
                  <a:lnTo>
                    <a:pt x="354" y="1326"/>
                  </a:lnTo>
                  <a:lnTo>
                    <a:pt x="348" y="1326"/>
                  </a:lnTo>
                  <a:lnTo>
                    <a:pt x="348" y="1332"/>
                  </a:lnTo>
                  <a:lnTo>
                    <a:pt x="348" y="1338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2" y="1350"/>
                  </a:lnTo>
                  <a:lnTo>
                    <a:pt x="336" y="1350"/>
                  </a:lnTo>
                  <a:lnTo>
                    <a:pt x="330" y="1350"/>
                  </a:lnTo>
                  <a:lnTo>
                    <a:pt x="330" y="1356"/>
                  </a:lnTo>
                  <a:lnTo>
                    <a:pt x="330" y="1350"/>
                  </a:lnTo>
                  <a:lnTo>
                    <a:pt x="324" y="1350"/>
                  </a:lnTo>
                  <a:lnTo>
                    <a:pt x="318" y="1344"/>
                  </a:lnTo>
                  <a:lnTo>
                    <a:pt x="318" y="1350"/>
                  </a:lnTo>
                  <a:lnTo>
                    <a:pt x="312" y="1344"/>
                  </a:lnTo>
                  <a:lnTo>
                    <a:pt x="312" y="1338"/>
                  </a:lnTo>
                  <a:lnTo>
                    <a:pt x="306" y="1338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6" y="1326"/>
                  </a:lnTo>
                  <a:lnTo>
                    <a:pt x="306" y="1320"/>
                  </a:lnTo>
                  <a:lnTo>
                    <a:pt x="306" y="1326"/>
                  </a:lnTo>
                  <a:lnTo>
                    <a:pt x="312" y="1326"/>
                  </a:lnTo>
                  <a:lnTo>
                    <a:pt x="312" y="1320"/>
                  </a:lnTo>
                  <a:lnTo>
                    <a:pt x="306" y="1320"/>
                  </a:lnTo>
                  <a:lnTo>
                    <a:pt x="300" y="1320"/>
                  </a:lnTo>
                  <a:lnTo>
                    <a:pt x="294" y="1320"/>
                  </a:lnTo>
                  <a:lnTo>
                    <a:pt x="294" y="1314"/>
                  </a:lnTo>
                  <a:lnTo>
                    <a:pt x="288" y="1314"/>
                  </a:lnTo>
                  <a:lnTo>
                    <a:pt x="288" y="1308"/>
                  </a:lnTo>
                  <a:lnTo>
                    <a:pt x="288" y="1302"/>
                  </a:lnTo>
                  <a:lnTo>
                    <a:pt x="294" y="1302"/>
                  </a:lnTo>
                  <a:lnTo>
                    <a:pt x="294" y="1296"/>
                  </a:lnTo>
                  <a:lnTo>
                    <a:pt x="288" y="1296"/>
                  </a:lnTo>
                  <a:lnTo>
                    <a:pt x="288" y="1290"/>
                  </a:lnTo>
                  <a:lnTo>
                    <a:pt x="288" y="1296"/>
                  </a:lnTo>
                  <a:lnTo>
                    <a:pt x="294" y="1302"/>
                  </a:lnTo>
                  <a:lnTo>
                    <a:pt x="288" y="1302"/>
                  </a:lnTo>
                  <a:lnTo>
                    <a:pt x="282" y="1296"/>
                  </a:lnTo>
                  <a:lnTo>
                    <a:pt x="276" y="1296"/>
                  </a:lnTo>
                  <a:lnTo>
                    <a:pt x="276" y="1290"/>
                  </a:lnTo>
                  <a:lnTo>
                    <a:pt x="270" y="1290"/>
                  </a:lnTo>
                  <a:lnTo>
                    <a:pt x="264" y="1284"/>
                  </a:lnTo>
                  <a:lnTo>
                    <a:pt x="264" y="1278"/>
                  </a:lnTo>
                  <a:lnTo>
                    <a:pt x="264" y="1272"/>
                  </a:lnTo>
                  <a:lnTo>
                    <a:pt x="264" y="1266"/>
                  </a:lnTo>
                  <a:lnTo>
                    <a:pt x="258" y="1266"/>
                  </a:lnTo>
                  <a:lnTo>
                    <a:pt x="252" y="1266"/>
                  </a:lnTo>
                  <a:lnTo>
                    <a:pt x="246" y="1260"/>
                  </a:lnTo>
                  <a:lnTo>
                    <a:pt x="240" y="1254"/>
                  </a:lnTo>
                  <a:lnTo>
                    <a:pt x="240" y="1260"/>
                  </a:lnTo>
                  <a:lnTo>
                    <a:pt x="240" y="1266"/>
                  </a:lnTo>
                  <a:lnTo>
                    <a:pt x="240" y="1272"/>
                  </a:lnTo>
                  <a:lnTo>
                    <a:pt x="246" y="1272"/>
                  </a:lnTo>
                  <a:lnTo>
                    <a:pt x="246" y="1278"/>
                  </a:lnTo>
                  <a:lnTo>
                    <a:pt x="246" y="1284"/>
                  </a:lnTo>
                  <a:lnTo>
                    <a:pt x="252" y="1284"/>
                  </a:lnTo>
                  <a:lnTo>
                    <a:pt x="252" y="1290"/>
                  </a:lnTo>
                  <a:lnTo>
                    <a:pt x="258" y="1296"/>
                  </a:lnTo>
                  <a:lnTo>
                    <a:pt x="264" y="1302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58" y="1314"/>
                  </a:lnTo>
                  <a:lnTo>
                    <a:pt x="258" y="1308"/>
                  </a:lnTo>
                  <a:lnTo>
                    <a:pt x="252" y="1308"/>
                  </a:lnTo>
                  <a:lnTo>
                    <a:pt x="252" y="1302"/>
                  </a:lnTo>
                  <a:lnTo>
                    <a:pt x="246" y="1302"/>
                  </a:lnTo>
                  <a:lnTo>
                    <a:pt x="246" y="1296"/>
                  </a:lnTo>
                  <a:lnTo>
                    <a:pt x="240" y="1296"/>
                  </a:lnTo>
                  <a:lnTo>
                    <a:pt x="240" y="1290"/>
                  </a:lnTo>
                  <a:lnTo>
                    <a:pt x="234" y="1284"/>
                  </a:lnTo>
                  <a:lnTo>
                    <a:pt x="234" y="1278"/>
                  </a:lnTo>
                  <a:close/>
                  <a:moveTo>
                    <a:pt x="444" y="1332"/>
                  </a:moveTo>
                  <a:lnTo>
                    <a:pt x="450" y="1326"/>
                  </a:lnTo>
                  <a:lnTo>
                    <a:pt x="456" y="1326"/>
                  </a:lnTo>
                  <a:lnTo>
                    <a:pt x="456" y="1332"/>
                  </a:lnTo>
                  <a:lnTo>
                    <a:pt x="456" y="1338"/>
                  </a:lnTo>
                  <a:lnTo>
                    <a:pt x="450" y="1338"/>
                  </a:lnTo>
                  <a:lnTo>
                    <a:pt x="444" y="1338"/>
                  </a:lnTo>
                  <a:lnTo>
                    <a:pt x="444" y="1332"/>
                  </a:lnTo>
                  <a:close/>
                  <a:moveTo>
                    <a:pt x="444" y="1368"/>
                  </a:moveTo>
                  <a:lnTo>
                    <a:pt x="456" y="1368"/>
                  </a:lnTo>
                  <a:lnTo>
                    <a:pt x="456" y="1374"/>
                  </a:lnTo>
                  <a:lnTo>
                    <a:pt x="444" y="1374"/>
                  </a:lnTo>
                  <a:lnTo>
                    <a:pt x="444" y="1368"/>
                  </a:lnTo>
                  <a:close/>
                  <a:moveTo>
                    <a:pt x="444" y="1386"/>
                  </a:moveTo>
                  <a:lnTo>
                    <a:pt x="444" y="1380"/>
                  </a:lnTo>
                  <a:lnTo>
                    <a:pt x="444" y="1374"/>
                  </a:lnTo>
                  <a:lnTo>
                    <a:pt x="444" y="1380"/>
                  </a:lnTo>
                  <a:lnTo>
                    <a:pt x="450" y="1380"/>
                  </a:lnTo>
                  <a:lnTo>
                    <a:pt x="456" y="1380"/>
                  </a:lnTo>
                  <a:lnTo>
                    <a:pt x="456" y="1386"/>
                  </a:lnTo>
                  <a:lnTo>
                    <a:pt x="456" y="1392"/>
                  </a:lnTo>
                  <a:lnTo>
                    <a:pt x="462" y="1392"/>
                  </a:lnTo>
                  <a:lnTo>
                    <a:pt x="462" y="1398"/>
                  </a:lnTo>
                  <a:lnTo>
                    <a:pt x="462" y="1404"/>
                  </a:lnTo>
                  <a:lnTo>
                    <a:pt x="456" y="1404"/>
                  </a:lnTo>
                  <a:lnTo>
                    <a:pt x="450" y="1404"/>
                  </a:lnTo>
                  <a:lnTo>
                    <a:pt x="450" y="1398"/>
                  </a:lnTo>
                  <a:lnTo>
                    <a:pt x="444" y="1398"/>
                  </a:lnTo>
                  <a:lnTo>
                    <a:pt x="444" y="1392"/>
                  </a:lnTo>
                  <a:lnTo>
                    <a:pt x="444" y="1386"/>
                  </a:lnTo>
                  <a:close/>
                  <a:moveTo>
                    <a:pt x="438" y="1362"/>
                  </a:moveTo>
                  <a:lnTo>
                    <a:pt x="444" y="1356"/>
                  </a:lnTo>
                  <a:lnTo>
                    <a:pt x="450" y="1356"/>
                  </a:lnTo>
                  <a:lnTo>
                    <a:pt x="450" y="1362"/>
                  </a:lnTo>
                  <a:lnTo>
                    <a:pt x="450" y="1368"/>
                  </a:lnTo>
                  <a:lnTo>
                    <a:pt x="444" y="1368"/>
                  </a:lnTo>
                  <a:lnTo>
                    <a:pt x="444" y="1362"/>
                  </a:lnTo>
                  <a:lnTo>
                    <a:pt x="438" y="1362"/>
                  </a:lnTo>
                  <a:close/>
                  <a:moveTo>
                    <a:pt x="438" y="1350"/>
                  </a:moveTo>
                  <a:lnTo>
                    <a:pt x="438" y="1344"/>
                  </a:lnTo>
                  <a:lnTo>
                    <a:pt x="438" y="1338"/>
                  </a:lnTo>
                  <a:lnTo>
                    <a:pt x="444" y="1338"/>
                  </a:lnTo>
                  <a:lnTo>
                    <a:pt x="450" y="1338"/>
                  </a:lnTo>
                  <a:lnTo>
                    <a:pt x="456" y="1338"/>
                  </a:lnTo>
                  <a:lnTo>
                    <a:pt x="450" y="1344"/>
                  </a:lnTo>
                  <a:lnTo>
                    <a:pt x="444" y="1350"/>
                  </a:lnTo>
                  <a:lnTo>
                    <a:pt x="438" y="1350"/>
                  </a:lnTo>
                  <a:close/>
                  <a:moveTo>
                    <a:pt x="432" y="1380"/>
                  </a:moveTo>
                  <a:lnTo>
                    <a:pt x="432" y="1368"/>
                  </a:lnTo>
                  <a:lnTo>
                    <a:pt x="432" y="1362"/>
                  </a:lnTo>
                  <a:lnTo>
                    <a:pt x="432" y="1356"/>
                  </a:lnTo>
                  <a:lnTo>
                    <a:pt x="438" y="1356"/>
                  </a:lnTo>
                  <a:lnTo>
                    <a:pt x="438" y="1362"/>
                  </a:lnTo>
                  <a:lnTo>
                    <a:pt x="438" y="1368"/>
                  </a:lnTo>
                  <a:lnTo>
                    <a:pt x="438" y="1374"/>
                  </a:lnTo>
                  <a:lnTo>
                    <a:pt x="438" y="1380"/>
                  </a:lnTo>
                  <a:lnTo>
                    <a:pt x="438" y="1386"/>
                  </a:lnTo>
                  <a:lnTo>
                    <a:pt x="438" y="1380"/>
                  </a:lnTo>
                  <a:lnTo>
                    <a:pt x="432" y="1380"/>
                  </a:lnTo>
                  <a:close/>
                  <a:moveTo>
                    <a:pt x="246" y="1272"/>
                  </a:moveTo>
                  <a:lnTo>
                    <a:pt x="252" y="1272"/>
                  </a:lnTo>
                  <a:lnTo>
                    <a:pt x="252" y="1278"/>
                  </a:lnTo>
                  <a:lnTo>
                    <a:pt x="246" y="1278"/>
                  </a:lnTo>
                  <a:lnTo>
                    <a:pt x="246" y="1272"/>
                  </a:lnTo>
                  <a:close/>
                  <a:moveTo>
                    <a:pt x="426" y="1416"/>
                  </a:moveTo>
                  <a:lnTo>
                    <a:pt x="432" y="1410"/>
                  </a:lnTo>
                  <a:lnTo>
                    <a:pt x="438" y="1410"/>
                  </a:lnTo>
                  <a:lnTo>
                    <a:pt x="438" y="1416"/>
                  </a:lnTo>
                  <a:lnTo>
                    <a:pt x="438" y="1422"/>
                  </a:lnTo>
                  <a:lnTo>
                    <a:pt x="432" y="1422"/>
                  </a:lnTo>
                  <a:lnTo>
                    <a:pt x="426" y="1422"/>
                  </a:lnTo>
                  <a:lnTo>
                    <a:pt x="426" y="1416"/>
                  </a:lnTo>
                  <a:close/>
                  <a:moveTo>
                    <a:pt x="246" y="1266"/>
                  </a:moveTo>
                  <a:lnTo>
                    <a:pt x="252" y="1266"/>
                  </a:lnTo>
                  <a:lnTo>
                    <a:pt x="258" y="1272"/>
                  </a:lnTo>
                  <a:lnTo>
                    <a:pt x="258" y="1278"/>
                  </a:lnTo>
                  <a:lnTo>
                    <a:pt x="258" y="1284"/>
                  </a:lnTo>
                  <a:lnTo>
                    <a:pt x="252" y="1284"/>
                  </a:lnTo>
                  <a:lnTo>
                    <a:pt x="252" y="1278"/>
                  </a:lnTo>
                  <a:lnTo>
                    <a:pt x="252" y="1272"/>
                  </a:lnTo>
                  <a:lnTo>
                    <a:pt x="252" y="1266"/>
                  </a:lnTo>
                  <a:lnTo>
                    <a:pt x="246" y="1266"/>
                  </a:lnTo>
                  <a:close/>
                  <a:moveTo>
                    <a:pt x="408" y="1458"/>
                  </a:moveTo>
                  <a:lnTo>
                    <a:pt x="408" y="1452"/>
                  </a:lnTo>
                  <a:lnTo>
                    <a:pt x="414" y="1452"/>
                  </a:lnTo>
                  <a:lnTo>
                    <a:pt x="414" y="1446"/>
                  </a:lnTo>
                  <a:lnTo>
                    <a:pt x="414" y="1440"/>
                  </a:lnTo>
                  <a:lnTo>
                    <a:pt x="420" y="1440"/>
                  </a:lnTo>
                  <a:lnTo>
                    <a:pt x="420" y="1434"/>
                  </a:lnTo>
                  <a:lnTo>
                    <a:pt x="420" y="1428"/>
                  </a:lnTo>
                  <a:lnTo>
                    <a:pt x="420" y="1422"/>
                  </a:lnTo>
                  <a:lnTo>
                    <a:pt x="426" y="1422"/>
                  </a:lnTo>
                  <a:lnTo>
                    <a:pt x="432" y="1428"/>
                  </a:lnTo>
                  <a:lnTo>
                    <a:pt x="438" y="1428"/>
                  </a:lnTo>
                  <a:lnTo>
                    <a:pt x="438" y="1434"/>
                  </a:lnTo>
                  <a:lnTo>
                    <a:pt x="438" y="1428"/>
                  </a:lnTo>
                  <a:lnTo>
                    <a:pt x="438" y="1422"/>
                  </a:lnTo>
                  <a:lnTo>
                    <a:pt x="444" y="1416"/>
                  </a:lnTo>
                  <a:lnTo>
                    <a:pt x="444" y="1410"/>
                  </a:lnTo>
                  <a:lnTo>
                    <a:pt x="450" y="1416"/>
                  </a:lnTo>
                  <a:lnTo>
                    <a:pt x="456" y="1416"/>
                  </a:lnTo>
                  <a:lnTo>
                    <a:pt x="456" y="1422"/>
                  </a:lnTo>
                  <a:lnTo>
                    <a:pt x="456" y="1428"/>
                  </a:lnTo>
                  <a:lnTo>
                    <a:pt x="456" y="1434"/>
                  </a:lnTo>
                  <a:lnTo>
                    <a:pt x="456" y="1440"/>
                  </a:lnTo>
                  <a:lnTo>
                    <a:pt x="462" y="1440"/>
                  </a:lnTo>
                  <a:lnTo>
                    <a:pt x="462" y="1446"/>
                  </a:lnTo>
                  <a:lnTo>
                    <a:pt x="462" y="1452"/>
                  </a:lnTo>
                  <a:lnTo>
                    <a:pt x="456" y="1452"/>
                  </a:lnTo>
                  <a:lnTo>
                    <a:pt x="450" y="1452"/>
                  </a:lnTo>
                  <a:lnTo>
                    <a:pt x="444" y="1446"/>
                  </a:lnTo>
                  <a:lnTo>
                    <a:pt x="444" y="1452"/>
                  </a:lnTo>
                  <a:lnTo>
                    <a:pt x="450" y="1452"/>
                  </a:lnTo>
                  <a:lnTo>
                    <a:pt x="450" y="1458"/>
                  </a:lnTo>
                  <a:lnTo>
                    <a:pt x="444" y="1458"/>
                  </a:lnTo>
                  <a:lnTo>
                    <a:pt x="438" y="1464"/>
                  </a:lnTo>
                  <a:lnTo>
                    <a:pt x="438" y="1458"/>
                  </a:lnTo>
                  <a:lnTo>
                    <a:pt x="432" y="1458"/>
                  </a:lnTo>
                  <a:lnTo>
                    <a:pt x="426" y="1458"/>
                  </a:lnTo>
                  <a:lnTo>
                    <a:pt x="432" y="1458"/>
                  </a:lnTo>
                  <a:lnTo>
                    <a:pt x="438" y="1464"/>
                  </a:lnTo>
                  <a:lnTo>
                    <a:pt x="432" y="1464"/>
                  </a:lnTo>
                  <a:lnTo>
                    <a:pt x="432" y="1470"/>
                  </a:lnTo>
                  <a:lnTo>
                    <a:pt x="426" y="1470"/>
                  </a:lnTo>
                  <a:lnTo>
                    <a:pt x="420" y="1476"/>
                  </a:lnTo>
                  <a:lnTo>
                    <a:pt x="420" y="1470"/>
                  </a:lnTo>
                  <a:lnTo>
                    <a:pt x="414" y="1470"/>
                  </a:lnTo>
                  <a:lnTo>
                    <a:pt x="414" y="1464"/>
                  </a:lnTo>
                  <a:lnTo>
                    <a:pt x="414" y="1458"/>
                  </a:lnTo>
                  <a:lnTo>
                    <a:pt x="408" y="1458"/>
                  </a:lnTo>
                  <a:close/>
                  <a:moveTo>
                    <a:pt x="270" y="1326"/>
                  </a:moveTo>
                  <a:lnTo>
                    <a:pt x="270" y="1320"/>
                  </a:lnTo>
                  <a:lnTo>
                    <a:pt x="276" y="1320"/>
                  </a:lnTo>
                  <a:lnTo>
                    <a:pt x="282" y="1326"/>
                  </a:lnTo>
                  <a:lnTo>
                    <a:pt x="288" y="1326"/>
                  </a:lnTo>
                  <a:lnTo>
                    <a:pt x="288" y="1332"/>
                  </a:lnTo>
                  <a:lnTo>
                    <a:pt x="288" y="1338"/>
                  </a:lnTo>
                  <a:lnTo>
                    <a:pt x="288" y="1344"/>
                  </a:lnTo>
                  <a:lnTo>
                    <a:pt x="282" y="1344"/>
                  </a:lnTo>
                  <a:lnTo>
                    <a:pt x="282" y="1338"/>
                  </a:lnTo>
                  <a:lnTo>
                    <a:pt x="276" y="1338"/>
                  </a:lnTo>
                  <a:lnTo>
                    <a:pt x="276" y="1332"/>
                  </a:lnTo>
                  <a:lnTo>
                    <a:pt x="270" y="1332"/>
                  </a:lnTo>
                  <a:lnTo>
                    <a:pt x="270" y="1326"/>
                  </a:lnTo>
                  <a:close/>
                  <a:moveTo>
                    <a:pt x="288" y="1458"/>
                  </a:moveTo>
                  <a:lnTo>
                    <a:pt x="294" y="1458"/>
                  </a:lnTo>
                  <a:lnTo>
                    <a:pt x="294" y="1452"/>
                  </a:lnTo>
                  <a:lnTo>
                    <a:pt x="294" y="1446"/>
                  </a:lnTo>
                  <a:lnTo>
                    <a:pt x="300" y="1446"/>
                  </a:lnTo>
                  <a:lnTo>
                    <a:pt x="300" y="1440"/>
                  </a:lnTo>
                  <a:lnTo>
                    <a:pt x="306" y="1440"/>
                  </a:lnTo>
                  <a:lnTo>
                    <a:pt x="306" y="1446"/>
                  </a:lnTo>
                  <a:lnTo>
                    <a:pt x="312" y="1452"/>
                  </a:lnTo>
                  <a:lnTo>
                    <a:pt x="306" y="1452"/>
                  </a:lnTo>
                  <a:lnTo>
                    <a:pt x="306" y="1458"/>
                  </a:lnTo>
                  <a:lnTo>
                    <a:pt x="312" y="1464"/>
                  </a:lnTo>
                  <a:lnTo>
                    <a:pt x="306" y="1464"/>
                  </a:lnTo>
                  <a:lnTo>
                    <a:pt x="306" y="1470"/>
                  </a:lnTo>
                  <a:lnTo>
                    <a:pt x="300" y="1476"/>
                  </a:lnTo>
                  <a:lnTo>
                    <a:pt x="294" y="1476"/>
                  </a:lnTo>
                  <a:lnTo>
                    <a:pt x="294" y="1470"/>
                  </a:lnTo>
                  <a:lnTo>
                    <a:pt x="288" y="1470"/>
                  </a:lnTo>
                  <a:lnTo>
                    <a:pt x="288" y="1464"/>
                  </a:lnTo>
                  <a:lnTo>
                    <a:pt x="288" y="1458"/>
                  </a:lnTo>
                  <a:close/>
                  <a:moveTo>
                    <a:pt x="270" y="1296"/>
                  </a:moveTo>
                  <a:lnTo>
                    <a:pt x="276" y="1296"/>
                  </a:lnTo>
                  <a:lnTo>
                    <a:pt x="282" y="1296"/>
                  </a:lnTo>
                  <a:lnTo>
                    <a:pt x="288" y="1296"/>
                  </a:lnTo>
                  <a:lnTo>
                    <a:pt x="288" y="1302"/>
                  </a:lnTo>
                  <a:lnTo>
                    <a:pt x="282" y="1308"/>
                  </a:lnTo>
                  <a:lnTo>
                    <a:pt x="276" y="1308"/>
                  </a:lnTo>
                  <a:lnTo>
                    <a:pt x="276" y="1302"/>
                  </a:lnTo>
                  <a:lnTo>
                    <a:pt x="270" y="12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4" name="Freeform 19">
              <a:extLst>
                <a:ext uri="{FF2B5EF4-FFF2-40B4-BE49-F238E27FC236}">
                  <a16:creationId xmlns:a16="http://schemas.microsoft.com/office/drawing/2014/main" id="{5B9020B8-E1C1-4611-A248-9642BBD69C9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7043" y="3765821"/>
              <a:ext cx="333193" cy="398097"/>
            </a:xfrm>
            <a:custGeom>
              <a:avLst/>
              <a:gdLst>
                <a:gd name="T0" fmla="*/ 30 w 624"/>
                <a:gd name="T1" fmla="*/ 61 h 750"/>
                <a:gd name="T2" fmla="*/ 27 w 624"/>
                <a:gd name="T3" fmla="*/ 62 h 750"/>
                <a:gd name="T4" fmla="*/ 23 w 624"/>
                <a:gd name="T5" fmla="*/ 59 h 750"/>
                <a:gd name="T6" fmla="*/ 20 w 624"/>
                <a:gd name="T7" fmla="*/ 58 h 750"/>
                <a:gd name="T8" fmla="*/ 19 w 624"/>
                <a:gd name="T9" fmla="*/ 56 h 750"/>
                <a:gd name="T10" fmla="*/ 17 w 624"/>
                <a:gd name="T11" fmla="*/ 55 h 750"/>
                <a:gd name="T12" fmla="*/ 16 w 624"/>
                <a:gd name="T13" fmla="*/ 51 h 750"/>
                <a:gd name="T14" fmla="*/ 14 w 624"/>
                <a:gd name="T15" fmla="*/ 48 h 750"/>
                <a:gd name="T16" fmla="*/ 12 w 624"/>
                <a:gd name="T17" fmla="*/ 46 h 750"/>
                <a:gd name="T18" fmla="*/ 12 w 624"/>
                <a:gd name="T19" fmla="*/ 44 h 750"/>
                <a:gd name="T20" fmla="*/ 11 w 624"/>
                <a:gd name="T21" fmla="*/ 41 h 750"/>
                <a:gd name="T22" fmla="*/ 8 w 624"/>
                <a:gd name="T23" fmla="*/ 38 h 750"/>
                <a:gd name="T24" fmla="*/ 6 w 624"/>
                <a:gd name="T25" fmla="*/ 38 h 750"/>
                <a:gd name="T26" fmla="*/ 6 w 624"/>
                <a:gd name="T27" fmla="*/ 35 h 750"/>
                <a:gd name="T28" fmla="*/ 7 w 624"/>
                <a:gd name="T29" fmla="*/ 31 h 750"/>
                <a:gd name="T30" fmla="*/ 10 w 624"/>
                <a:gd name="T31" fmla="*/ 27 h 750"/>
                <a:gd name="T32" fmla="*/ 8 w 624"/>
                <a:gd name="T33" fmla="*/ 23 h 750"/>
                <a:gd name="T34" fmla="*/ 6 w 624"/>
                <a:gd name="T35" fmla="*/ 23 h 750"/>
                <a:gd name="T36" fmla="*/ 3 w 624"/>
                <a:gd name="T37" fmla="*/ 22 h 750"/>
                <a:gd name="T38" fmla="*/ 0 w 624"/>
                <a:gd name="T39" fmla="*/ 22 h 750"/>
                <a:gd name="T40" fmla="*/ 0 w 624"/>
                <a:gd name="T41" fmla="*/ 19 h 750"/>
                <a:gd name="T42" fmla="*/ 1 w 624"/>
                <a:gd name="T43" fmla="*/ 18 h 750"/>
                <a:gd name="T44" fmla="*/ 2 w 624"/>
                <a:gd name="T45" fmla="*/ 14 h 750"/>
                <a:gd name="T46" fmla="*/ 4 w 624"/>
                <a:gd name="T47" fmla="*/ 17 h 750"/>
                <a:gd name="T48" fmla="*/ 6 w 624"/>
                <a:gd name="T49" fmla="*/ 17 h 750"/>
                <a:gd name="T50" fmla="*/ 7 w 624"/>
                <a:gd name="T51" fmla="*/ 17 h 750"/>
                <a:gd name="T52" fmla="*/ 9 w 624"/>
                <a:gd name="T53" fmla="*/ 15 h 750"/>
                <a:gd name="T54" fmla="*/ 10 w 624"/>
                <a:gd name="T55" fmla="*/ 14 h 750"/>
                <a:gd name="T56" fmla="*/ 11 w 624"/>
                <a:gd name="T57" fmla="*/ 12 h 750"/>
                <a:gd name="T58" fmla="*/ 13 w 624"/>
                <a:gd name="T59" fmla="*/ 12 h 750"/>
                <a:gd name="T60" fmla="*/ 18 w 624"/>
                <a:gd name="T61" fmla="*/ 10 h 750"/>
                <a:gd name="T62" fmla="*/ 22 w 624"/>
                <a:gd name="T63" fmla="*/ 4 h 750"/>
                <a:gd name="T64" fmla="*/ 24 w 624"/>
                <a:gd name="T65" fmla="*/ 4 h 750"/>
                <a:gd name="T66" fmla="*/ 26 w 624"/>
                <a:gd name="T67" fmla="*/ 2 h 750"/>
                <a:gd name="T68" fmla="*/ 29 w 624"/>
                <a:gd name="T69" fmla="*/ 0 h 750"/>
                <a:gd name="T70" fmla="*/ 32 w 624"/>
                <a:gd name="T71" fmla="*/ 2 h 750"/>
                <a:gd name="T72" fmla="*/ 34 w 624"/>
                <a:gd name="T73" fmla="*/ 5 h 750"/>
                <a:gd name="T74" fmla="*/ 35 w 624"/>
                <a:gd name="T75" fmla="*/ 8 h 750"/>
                <a:gd name="T76" fmla="*/ 39 w 624"/>
                <a:gd name="T77" fmla="*/ 11 h 750"/>
                <a:gd name="T78" fmla="*/ 42 w 624"/>
                <a:gd name="T79" fmla="*/ 14 h 750"/>
                <a:gd name="T80" fmla="*/ 46 w 624"/>
                <a:gd name="T81" fmla="*/ 12 h 750"/>
                <a:gd name="T82" fmla="*/ 49 w 624"/>
                <a:gd name="T83" fmla="*/ 12 h 750"/>
                <a:gd name="T84" fmla="*/ 51 w 624"/>
                <a:gd name="T85" fmla="*/ 12 h 750"/>
                <a:gd name="T86" fmla="*/ 53 w 624"/>
                <a:gd name="T87" fmla="*/ 12 h 750"/>
                <a:gd name="T88" fmla="*/ 53 w 624"/>
                <a:gd name="T89" fmla="*/ 17 h 750"/>
                <a:gd name="T90" fmla="*/ 51 w 624"/>
                <a:gd name="T91" fmla="*/ 20 h 750"/>
                <a:gd name="T92" fmla="*/ 49 w 624"/>
                <a:gd name="T93" fmla="*/ 26 h 750"/>
                <a:gd name="T94" fmla="*/ 47 w 624"/>
                <a:gd name="T95" fmla="*/ 26 h 750"/>
                <a:gd name="T96" fmla="*/ 44 w 624"/>
                <a:gd name="T97" fmla="*/ 26 h 750"/>
                <a:gd name="T98" fmla="*/ 43 w 624"/>
                <a:gd name="T99" fmla="*/ 27 h 750"/>
                <a:gd name="T100" fmla="*/ 45 w 624"/>
                <a:gd name="T101" fmla="*/ 32 h 750"/>
                <a:gd name="T102" fmla="*/ 44 w 624"/>
                <a:gd name="T103" fmla="*/ 43 h 750"/>
                <a:gd name="T104" fmla="*/ 44 w 624"/>
                <a:gd name="T105" fmla="*/ 47 h 750"/>
                <a:gd name="T106" fmla="*/ 44 w 624"/>
                <a:gd name="T107" fmla="*/ 54 h 750"/>
                <a:gd name="T108" fmla="*/ 41 w 624"/>
                <a:gd name="T109" fmla="*/ 60 h 750"/>
                <a:gd name="T110" fmla="*/ 42 w 624"/>
                <a:gd name="T111" fmla="*/ 62 h 750"/>
                <a:gd name="T112" fmla="*/ 43 w 624"/>
                <a:gd name="T113" fmla="*/ 65 h 750"/>
                <a:gd name="T114" fmla="*/ 39 w 624"/>
                <a:gd name="T115" fmla="*/ 63 h 750"/>
                <a:gd name="T116" fmla="*/ 35 w 624"/>
                <a:gd name="T117" fmla="*/ 62 h 75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24"/>
                <a:gd name="T178" fmla="*/ 0 h 750"/>
                <a:gd name="T179" fmla="*/ 624 w 624"/>
                <a:gd name="T180" fmla="*/ 750 h 75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24" h="750">
                  <a:moveTo>
                    <a:pt x="390" y="702"/>
                  </a:moveTo>
                  <a:lnTo>
                    <a:pt x="372" y="696"/>
                  </a:lnTo>
                  <a:lnTo>
                    <a:pt x="360" y="702"/>
                  </a:lnTo>
                  <a:lnTo>
                    <a:pt x="348" y="702"/>
                  </a:lnTo>
                  <a:lnTo>
                    <a:pt x="336" y="702"/>
                  </a:lnTo>
                  <a:lnTo>
                    <a:pt x="330" y="702"/>
                  </a:lnTo>
                  <a:lnTo>
                    <a:pt x="318" y="708"/>
                  </a:lnTo>
                  <a:lnTo>
                    <a:pt x="306" y="708"/>
                  </a:lnTo>
                  <a:lnTo>
                    <a:pt x="294" y="690"/>
                  </a:lnTo>
                  <a:lnTo>
                    <a:pt x="294" y="684"/>
                  </a:lnTo>
                  <a:lnTo>
                    <a:pt x="276" y="684"/>
                  </a:lnTo>
                  <a:lnTo>
                    <a:pt x="270" y="678"/>
                  </a:lnTo>
                  <a:lnTo>
                    <a:pt x="240" y="672"/>
                  </a:lnTo>
                  <a:lnTo>
                    <a:pt x="234" y="672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6"/>
                  </a:lnTo>
                  <a:lnTo>
                    <a:pt x="216" y="660"/>
                  </a:lnTo>
                  <a:lnTo>
                    <a:pt x="216" y="654"/>
                  </a:lnTo>
                  <a:lnTo>
                    <a:pt x="216" y="642"/>
                  </a:lnTo>
                  <a:lnTo>
                    <a:pt x="210" y="642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36"/>
                  </a:lnTo>
                  <a:lnTo>
                    <a:pt x="192" y="624"/>
                  </a:lnTo>
                  <a:lnTo>
                    <a:pt x="186" y="612"/>
                  </a:lnTo>
                  <a:lnTo>
                    <a:pt x="186" y="600"/>
                  </a:lnTo>
                  <a:lnTo>
                    <a:pt x="186" y="588"/>
                  </a:lnTo>
                  <a:lnTo>
                    <a:pt x="180" y="582"/>
                  </a:lnTo>
                  <a:lnTo>
                    <a:pt x="180" y="570"/>
                  </a:lnTo>
                  <a:lnTo>
                    <a:pt x="174" y="558"/>
                  </a:lnTo>
                  <a:lnTo>
                    <a:pt x="162" y="558"/>
                  </a:lnTo>
                  <a:lnTo>
                    <a:pt x="144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38" y="534"/>
                  </a:lnTo>
                  <a:lnTo>
                    <a:pt x="138" y="528"/>
                  </a:lnTo>
                  <a:lnTo>
                    <a:pt x="132" y="522"/>
                  </a:lnTo>
                  <a:lnTo>
                    <a:pt x="144" y="522"/>
                  </a:lnTo>
                  <a:lnTo>
                    <a:pt x="144" y="510"/>
                  </a:lnTo>
                  <a:lnTo>
                    <a:pt x="144" y="504"/>
                  </a:lnTo>
                  <a:lnTo>
                    <a:pt x="138" y="492"/>
                  </a:lnTo>
                  <a:lnTo>
                    <a:pt x="138" y="474"/>
                  </a:lnTo>
                  <a:lnTo>
                    <a:pt x="126" y="468"/>
                  </a:lnTo>
                  <a:lnTo>
                    <a:pt x="120" y="456"/>
                  </a:lnTo>
                  <a:lnTo>
                    <a:pt x="114" y="450"/>
                  </a:lnTo>
                  <a:lnTo>
                    <a:pt x="108" y="438"/>
                  </a:lnTo>
                  <a:lnTo>
                    <a:pt x="96" y="432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60" y="426"/>
                  </a:lnTo>
                  <a:lnTo>
                    <a:pt x="66" y="420"/>
                  </a:lnTo>
                  <a:lnTo>
                    <a:pt x="66" y="408"/>
                  </a:lnTo>
                  <a:lnTo>
                    <a:pt x="72" y="408"/>
                  </a:lnTo>
                  <a:lnTo>
                    <a:pt x="72" y="384"/>
                  </a:lnTo>
                  <a:lnTo>
                    <a:pt x="72" y="366"/>
                  </a:lnTo>
                  <a:lnTo>
                    <a:pt x="78" y="354"/>
                  </a:lnTo>
                  <a:lnTo>
                    <a:pt x="84" y="354"/>
                  </a:lnTo>
                  <a:lnTo>
                    <a:pt x="90" y="348"/>
                  </a:lnTo>
                  <a:lnTo>
                    <a:pt x="102" y="336"/>
                  </a:lnTo>
                  <a:lnTo>
                    <a:pt x="114" y="324"/>
                  </a:lnTo>
                  <a:lnTo>
                    <a:pt x="120" y="312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20" y="276"/>
                  </a:lnTo>
                  <a:lnTo>
                    <a:pt x="96" y="270"/>
                  </a:lnTo>
                  <a:lnTo>
                    <a:pt x="84" y="270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72" y="264"/>
                  </a:lnTo>
                  <a:lnTo>
                    <a:pt x="60" y="252"/>
                  </a:lnTo>
                  <a:lnTo>
                    <a:pt x="42" y="252"/>
                  </a:lnTo>
                  <a:lnTo>
                    <a:pt x="42" y="258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18" y="252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42" y="156"/>
                  </a:lnTo>
                  <a:lnTo>
                    <a:pt x="48" y="198"/>
                  </a:lnTo>
                  <a:lnTo>
                    <a:pt x="48" y="204"/>
                  </a:lnTo>
                  <a:lnTo>
                    <a:pt x="54" y="198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204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192"/>
                  </a:lnTo>
                  <a:lnTo>
                    <a:pt x="96" y="186"/>
                  </a:lnTo>
                  <a:lnTo>
                    <a:pt x="102" y="180"/>
                  </a:lnTo>
                  <a:lnTo>
                    <a:pt x="102" y="174"/>
                  </a:lnTo>
                  <a:lnTo>
                    <a:pt x="108" y="168"/>
                  </a:lnTo>
                  <a:lnTo>
                    <a:pt x="108" y="162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0"/>
                  </a:lnTo>
                  <a:lnTo>
                    <a:pt x="132" y="144"/>
                  </a:lnTo>
                  <a:lnTo>
                    <a:pt x="138" y="138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0" y="132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74" y="126"/>
                  </a:lnTo>
                  <a:lnTo>
                    <a:pt x="204" y="120"/>
                  </a:lnTo>
                  <a:lnTo>
                    <a:pt x="210" y="78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54"/>
                  </a:lnTo>
                  <a:lnTo>
                    <a:pt x="276" y="54"/>
                  </a:lnTo>
                  <a:lnTo>
                    <a:pt x="276" y="48"/>
                  </a:lnTo>
                  <a:lnTo>
                    <a:pt x="282" y="48"/>
                  </a:lnTo>
                  <a:lnTo>
                    <a:pt x="288" y="42"/>
                  </a:lnTo>
                  <a:lnTo>
                    <a:pt x="294" y="42"/>
                  </a:lnTo>
                  <a:lnTo>
                    <a:pt x="294" y="18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0"/>
                  </a:lnTo>
                  <a:lnTo>
                    <a:pt x="336" y="0"/>
                  </a:lnTo>
                  <a:lnTo>
                    <a:pt x="342" y="0"/>
                  </a:lnTo>
                  <a:lnTo>
                    <a:pt x="354" y="6"/>
                  </a:lnTo>
                  <a:lnTo>
                    <a:pt x="366" y="18"/>
                  </a:lnTo>
                  <a:lnTo>
                    <a:pt x="378" y="36"/>
                  </a:lnTo>
                  <a:lnTo>
                    <a:pt x="390" y="42"/>
                  </a:lnTo>
                  <a:lnTo>
                    <a:pt x="390" y="48"/>
                  </a:lnTo>
                  <a:lnTo>
                    <a:pt x="396" y="60"/>
                  </a:lnTo>
                  <a:lnTo>
                    <a:pt x="402" y="72"/>
                  </a:lnTo>
                  <a:lnTo>
                    <a:pt x="408" y="78"/>
                  </a:lnTo>
                  <a:lnTo>
                    <a:pt x="402" y="84"/>
                  </a:lnTo>
                  <a:lnTo>
                    <a:pt x="408" y="90"/>
                  </a:lnTo>
                  <a:lnTo>
                    <a:pt x="414" y="102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50" y="126"/>
                  </a:lnTo>
                  <a:lnTo>
                    <a:pt x="456" y="126"/>
                  </a:lnTo>
                  <a:lnTo>
                    <a:pt x="462" y="144"/>
                  </a:lnTo>
                  <a:lnTo>
                    <a:pt x="480" y="156"/>
                  </a:lnTo>
                  <a:lnTo>
                    <a:pt x="492" y="156"/>
                  </a:lnTo>
                  <a:lnTo>
                    <a:pt x="516" y="150"/>
                  </a:lnTo>
                  <a:lnTo>
                    <a:pt x="516" y="144"/>
                  </a:lnTo>
                  <a:lnTo>
                    <a:pt x="516" y="138"/>
                  </a:lnTo>
                  <a:lnTo>
                    <a:pt x="528" y="138"/>
                  </a:lnTo>
                  <a:lnTo>
                    <a:pt x="546" y="144"/>
                  </a:lnTo>
                  <a:lnTo>
                    <a:pt x="546" y="138"/>
                  </a:lnTo>
                  <a:lnTo>
                    <a:pt x="552" y="138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76" y="138"/>
                  </a:lnTo>
                  <a:lnTo>
                    <a:pt x="582" y="138"/>
                  </a:lnTo>
                  <a:lnTo>
                    <a:pt x="588" y="138"/>
                  </a:lnTo>
                  <a:lnTo>
                    <a:pt x="594" y="138"/>
                  </a:lnTo>
                  <a:lnTo>
                    <a:pt x="594" y="144"/>
                  </a:lnTo>
                  <a:lnTo>
                    <a:pt x="600" y="138"/>
                  </a:lnTo>
                  <a:lnTo>
                    <a:pt x="606" y="138"/>
                  </a:lnTo>
                  <a:lnTo>
                    <a:pt x="606" y="144"/>
                  </a:lnTo>
                  <a:lnTo>
                    <a:pt x="612" y="144"/>
                  </a:lnTo>
                  <a:lnTo>
                    <a:pt x="618" y="156"/>
                  </a:lnTo>
                  <a:lnTo>
                    <a:pt x="612" y="198"/>
                  </a:lnTo>
                  <a:lnTo>
                    <a:pt x="624" y="198"/>
                  </a:lnTo>
                  <a:lnTo>
                    <a:pt x="624" y="204"/>
                  </a:lnTo>
                  <a:lnTo>
                    <a:pt x="612" y="216"/>
                  </a:lnTo>
                  <a:lnTo>
                    <a:pt x="594" y="234"/>
                  </a:lnTo>
                  <a:lnTo>
                    <a:pt x="588" y="252"/>
                  </a:lnTo>
                  <a:lnTo>
                    <a:pt x="576" y="270"/>
                  </a:lnTo>
                  <a:lnTo>
                    <a:pt x="564" y="282"/>
                  </a:lnTo>
                  <a:lnTo>
                    <a:pt x="564" y="294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8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34" y="294"/>
                  </a:lnTo>
                  <a:lnTo>
                    <a:pt x="522" y="300"/>
                  </a:lnTo>
                  <a:lnTo>
                    <a:pt x="510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498" y="324"/>
                  </a:lnTo>
                  <a:lnTo>
                    <a:pt x="504" y="336"/>
                  </a:lnTo>
                  <a:lnTo>
                    <a:pt x="510" y="348"/>
                  </a:lnTo>
                  <a:lnTo>
                    <a:pt x="516" y="366"/>
                  </a:lnTo>
                  <a:lnTo>
                    <a:pt x="522" y="432"/>
                  </a:lnTo>
                  <a:lnTo>
                    <a:pt x="522" y="456"/>
                  </a:lnTo>
                  <a:lnTo>
                    <a:pt x="504" y="492"/>
                  </a:lnTo>
                  <a:lnTo>
                    <a:pt x="504" y="498"/>
                  </a:lnTo>
                  <a:lnTo>
                    <a:pt x="498" y="504"/>
                  </a:lnTo>
                  <a:lnTo>
                    <a:pt x="498" y="522"/>
                  </a:lnTo>
                  <a:lnTo>
                    <a:pt x="504" y="534"/>
                  </a:lnTo>
                  <a:lnTo>
                    <a:pt x="510" y="546"/>
                  </a:lnTo>
                  <a:lnTo>
                    <a:pt x="516" y="558"/>
                  </a:lnTo>
                  <a:lnTo>
                    <a:pt x="516" y="588"/>
                  </a:lnTo>
                  <a:lnTo>
                    <a:pt x="516" y="600"/>
                  </a:lnTo>
                  <a:lnTo>
                    <a:pt x="510" y="618"/>
                  </a:lnTo>
                  <a:lnTo>
                    <a:pt x="504" y="636"/>
                  </a:lnTo>
                  <a:lnTo>
                    <a:pt x="504" y="642"/>
                  </a:lnTo>
                  <a:lnTo>
                    <a:pt x="474" y="654"/>
                  </a:lnTo>
                  <a:lnTo>
                    <a:pt x="474" y="690"/>
                  </a:lnTo>
                  <a:lnTo>
                    <a:pt x="474" y="696"/>
                  </a:lnTo>
                  <a:lnTo>
                    <a:pt x="480" y="702"/>
                  </a:lnTo>
                  <a:lnTo>
                    <a:pt x="486" y="708"/>
                  </a:lnTo>
                  <a:lnTo>
                    <a:pt x="492" y="708"/>
                  </a:lnTo>
                  <a:lnTo>
                    <a:pt x="498" y="726"/>
                  </a:lnTo>
                  <a:lnTo>
                    <a:pt x="504" y="726"/>
                  </a:lnTo>
                  <a:lnTo>
                    <a:pt x="504" y="738"/>
                  </a:lnTo>
                  <a:lnTo>
                    <a:pt x="498" y="744"/>
                  </a:lnTo>
                  <a:lnTo>
                    <a:pt x="486" y="750"/>
                  </a:lnTo>
                  <a:lnTo>
                    <a:pt x="474" y="744"/>
                  </a:lnTo>
                  <a:lnTo>
                    <a:pt x="462" y="744"/>
                  </a:lnTo>
                  <a:lnTo>
                    <a:pt x="456" y="732"/>
                  </a:lnTo>
                  <a:lnTo>
                    <a:pt x="444" y="732"/>
                  </a:lnTo>
                  <a:lnTo>
                    <a:pt x="432" y="726"/>
                  </a:lnTo>
                  <a:lnTo>
                    <a:pt x="420" y="720"/>
                  </a:lnTo>
                  <a:lnTo>
                    <a:pt x="408" y="708"/>
                  </a:lnTo>
                  <a:lnTo>
                    <a:pt x="402" y="708"/>
                  </a:lnTo>
                  <a:lnTo>
                    <a:pt x="390" y="70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5" name="Freeform 20">
              <a:extLst>
                <a:ext uri="{FF2B5EF4-FFF2-40B4-BE49-F238E27FC236}">
                  <a16:creationId xmlns:a16="http://schemas.microsoft.com/office/drawing/2014/main" id="{B8342C3B-ECEC-465F-AAFF-4815B8AC392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870937"/>
              <a:ext cx="313067" cy="377968"/>
            </a:xfrm>
            <a:custGeom>
              <a:avLst/>
              <a:gdLst>
                <a:gd name="T0" fmla="*/ 15 w 588"/>
                <a:gd name="T1" fmla="*/ 59 h 714"/>
                <a:gd name="T2" fmla="*/ 14 w 588"/>
                <a:gd name="T3" fmla="*/ 58 h 714"/>
                <a:gd name="T4" fmla="*/ 9 w 588"/>
                <a:gd name="T5" fmla="*/ 54 h 714"/>
                <a:gd name="T6" fmla="*/ 4 w 588"/>
                <a:gd name="T7" fmla="*/ 54 h 714"/>
                <a:gd name="T8" fmla="*/ 0 w 588"/>
                <a:gd name="T9" fmla="*/ 50 h 714"/>
                <a:gd name="T10" fmla="*/ 0 w 588"/>
                <a:gd name="T11" fmla="*/ 44 h 714"/>
                <a:gd name="T12" fmla="*/ 4 w 588"/>
                <a:gd name="T13" fmla="*/ 46 h 714"/>
                <a:gd name="T14" fmla="*/ 7 w 588"/>
                <a:gd name="T15" fmla="*/ 47 h 714"/>
                <a:gd name="T16" fmla="*/ 10 w 588"/>
                <a:gd name="T17" fmla="*/ 46 h 714"/>
                <a:gd name="T18" fmla="*/ 8 w 588"/>
                <a:gd name="T19" fmla="*/ 44 h 714"/>
                <a:gd name="T20" fmla="*/ 10 w 588"/>
                <a:gd name="T21" fmla="*/ 39 h 714"/>
                <a:gd name="T22" fmla="*/ 11 w 588"/>
                <a:gd name="T23" fmla="*/ 34 h 714"/>
                <a:gd name="T24" fmla="*/ 9 w 588"/>
                <a:gd name="T25" fmla="*/ 28 h 714"/>
                <a:gd name="T26" fmla="*/ 11 w 588"/>
                <a:gd name="T27" fmla="*/ 22 h 714"/>
                <a:gd name="T28" fmla="*/ 10 w 588"/>
                <a:gd name="T29" fmla="*/ 12 h 714"/>
                <a:gd name="T30" fmla="*/ 9 w 588"/>
                <a:gd name="T31" fmla="*/ 9 h 714"/>
                <a:gd name="T32" fmla="*/ 12 w 588"/>
                <a:gd name="T33" fmla="*/ 8 h 714"/>
                <a:gd name="T34" fmla="*/ 14 w 588"/>
                <a:gd name="T35" fmla="*/ 7 h 714"/>
                <a:gd name="T36" fmla="*/ 17 w 588"/>
                <a:gd name="T37" fmla="*/ 10 h 714"/>
                <a:gd name="T38" fmla="*/ 23 w 588"/>
                <a:gd name="T39" fmla="*/ 14 h 714"/>
                <a:gd name="T40" fmla="*/ 28 w 588"/>
                <a:gd name="T41" fmla="*/ 4 h 714"/>
                <a:gd name="T42" fmla="*/ 35 w 588"/>
                <a:gd name="T43" fmla="*/ 2 h 714"/>
                <a:gd name="T44" fmla="*/ 38 w 588"/>
                <a:gd name="T45" fmla="*/ 0 h 714"/>
                <a:gd name="T46" fmla="*/ 40 w 588"/>
                <a:gd name="T47" fmla="*/ 2 h 714"/>
                <a:gd name="T48" fmla="*/ 39 w 588"/>
                <a:gd name="T49" fmla="*/ 4 h 714"/>
                <a:gd name="T50" fmla="*/ 41 w 588"/>
                <a:gd name="T51" fmla="*/ 5 h 714"/>
                <a:gd name="T52" fmla="*/ 42 w 588"/>
                <a:gd name="T53" fmla="*/ 7 h 714"/>
                <a:gd name="T54" fmla="*/ 43 w 588"/>
                <a:gd name="T55" fmla="*/ 9 h 714"/>
                <a:gd name="T56" fmla="*/ 43 w 588"/>
                <a:gd name="T57" fmla="*/ 10 h 714"/>
                <a:gd name="T58" fmla="*/ 43 w 588"/>
                <a:gd name="T59" fmla="*/ 12 h 714"/>
                <a:gd name="T60" fmla="*/ 44 w 588"/>
                <a:gd name="T61" fmla="*/ 12 h 714"/>
                <a:gd name="T62" fmla="*/ 46 w 588"/>
                <a:gd name="T63" fmla="*/ 13 h 714"/>
                <a:gd name="T64" fmla="*/ 47 w 588"/>
                <a:gd name="T65" fmla="*/ 14 h 714"/>
                <a:gd name="T66" fmla="*/ 48 w 588"/>
                <a:gd name="T67" fmla="*/ 15 h 714"/>
                <a:gd name="T68" fmla="*/ 49 w 588"/>
                <a:gd name="T69" fmla="*/ 15 h 714"/>
                <a:gd name="T70" fmla="*/ 48 w 588"/>
                <a:gd name="T71" fmla="*/ 17 h 714"/>
                <a:gd name="T72" fmla="*/ 49 w 588"/>
                <a:gd name="T73" fmla="*/ 19 h 714"/>
                <a:gd name="T74" fmla="*/ 49 w 588"/>
                <a:gd name="T75" fmla="*/ 20 h 714"/>
                <a:gd name="T76" fmla="*/ 51 w 588"/>
                <a:gd name="T77" fmla="*/ 21 h 714"/>
                <a:gd name="T78" fmla="*/ 50 w 588"/>
                <a:gd name="T79" fmla="*/ 22 h 714"/>
                <a:gd name="T80" fmla="*/ 47 w 588"/>
                <a:gd name="T81" fmla="*/ 23 h 714"/>
                <a:gd name="T82" fmla="*/ 47 w 588"/>
                <a:gd name="T83" fmla="*/ 26 h 714"/>
                <a:gd name="T84" fmla="*/ 47 w 588"/>
                <a:gd name="T85" fmla="*/ 32 h 714"/>
                <a:gd name="T86" fmla="*/ 44 w 588"/>
                <a:gd name="T87" fmla="*/ 35 h 714"/>
                <a:gd name="T88" fmla="*/ 42 w 588"/>
                <a:gd name="T89" fmla="*/ 39 h 714"/>
                <a:gd name="T90" fmla="*/ 42 w 588"/>
                <a:gd name="T91" fmla="*/ 41 h 714"/>
                <a:gd name="T92" fmla="*/ 42 w 588"/>
                <a:gd name="T93" fmla="*/ 42 h 714"/>
                <a:gd name="T94" fmla="*/ 41 w 588"/>
                <a:gd name="T95" fmla="*/ 44 h 714"/>
                <a:gd name="T96" fmla="*/ 39 w 588"/>
                <a:gd name="T97" fmla="*/ 43 h 714"/>
                <a:gd name="T98" fmla="*/ 37 w 588"/>
                <a:gd name="T99" fmla="*/ 44 h 714"/>
                <a:gd name="T100" fmla="*/ 35 w 588"/>
                <a:gd name="T101" fmla="*/ 46 h 714"/>
                <a:gd name="T102" fmla="*/ 31 w 588"/>
                <a:gd name="T103" fmla="*/ 45 h 714"/>
                <a:gd name="T104" fmla="*/ 24 w 588"/>
                <a:gd name="T105" fmla="*/ 45 h 714"/>
                <a:gd name="T106" fmla="*/ 25 w 588"/>
                <a:gd name="T107" fmla="*/ 47 h 714"/>
                <a:gd name="T108" fmla="*/ 25 w 588"/>
                <a:gd name="T109" fmla="*/ 49 h 714"/>
                <a:gd name="T110" fmla="*/ 25 w 588"/>
                <a:gd name="T111" fmla="*/ 50 h 714"/>
                <a:gd name="T112" fmla="*/ 24 w 588"/>
                <a:gd name="T113" fmla="*/ 51 h 714"/>
                <a:gd name="T114" fmla="*/ 22 w 588"/>
                <a:gd name="T115" fmla="*/ 53 h 714"/>
                <a:gd name="T116" fmla="*/ 23 w 588"/>
                <a:gd name="T117" fmla="*/ 56 h 714"/>
                <a:gd name="T118" fmla="*/ 20 w 588"/>
                <a:gd name="T119" fmla="*/ 58 h 714"/>
                <a:gd name="T120" fmla="*/ 19 w 588"/>
                <a:gd name="T121" fmla="*/ 62 h 7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8"/>
                <a:gd name="T184" fmla="*/ 0 h 714"/>
                <a:gd name="T185" fmla="*/ 588 w 588"/>
                <a:gd name="T186" fmla="*/ 714 h 7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8" h="714">
                  <a:moveTo>
                    <a:pt x="216" y="714"/>
                  </a:moveTo>
                  <a:lnTo>
                    <a:pt x="198" y="702"/>
                  </a:lnTo>
                  <a:lnTo>
                    <a:pt x="186" y="696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74" y="678"/>
                  </a:lnTo>
                  <a:lnTo>
                    <a:pt x="168" y="672"/>
                  </a:lnTo>
                  <a:lnTo>
                    <a:pt x="162" y="666"/>
                  </a:lnTo>
                  <a:lnTo>
                    <a:pt x="156" y="636"/>
                  </a:lnTo>
                  <a:lnTo>
                    <a:pt x="144" y="630"/>
                  </a:lnTo>
                  <a:lnTo>
                    <a:pt x="108" y="630"/>
                  </a:lnTo>
                  <a:lnTo>
                    <a:pt x="102" y="624"/>
                  </a:lnTo>
                  <a:lnTo>
                    <a:pt x="96" y="624"/>
                  </a:lnTo>
                  <a:lnTo>
                    <a:pt x="72" y="624"/>
                  </a:lnTo>
                  <a:lnTo>
                    <a:pt x="54" y="624"/>
                  </a:lnTo>
                  <a:lnTo>
                    <a:pt x="42" y="618"/>
                  </a:lnTo>
                  <a:lnTo>
                    <a:pt x="30" y="612"/>
                  </a:lnTo>
                  <a:lnTo>
                    <a:pt x="6" y="606"/>
                  </a:lnTo>
                  <a:lnTo>
                    <a:pt x="0" y="606"/>
                  </a:lnTo>
                  <a:lnTo>
                    <a:pt x="0" y="570"/>
                  </a:lnTo>
                  <a:lnTo>
                    <a:pt x="6" y="552"/>
                  </a:lnTo>
                  <a:lnTo>
                    <a:pt x="6" y="522"/>
                  </a:lnTo>
                  <a:lnTo>
                    <a:pt x="0" y="510"/>
                  </a:lnTo>
                  <a:lnTo>
                    <a:pt x="0" y="504"/>
                  </a:lnTo>
                  <a:lnTo>
                    <a:pt x="12" y="510"/>
                  </a:lnTo>
                  <a:lnTo>
                    <a:pt x="18" y="510"/>
                  </a:lnTo>
                  <a:lnTo>
                    <a:pt x="30" y="522"/>
                  </a:lnTo>
                  <a:lnTo>
                    <a:pt x="42" y="528"/>
                  </a:lnTo>
                  <a:lnTo>
                    <a:pt x="54" y="534"/>
                  </a:lnTo>
                  <a:lnTo>
                    <a:pt x="66" y="534"/>
                  </a:lnTo>
                  <a:lnTo>
                    <a:pt x="72" y="546"/>
                  </a:lnTo>
                  <a:lnTo>
                    <a:pt x="84" y="546"/>
                  </a:lnTo>
                  <a:lnTo>
                    <a:pt x="96" y="552"/>
                  </a:lnTo>
                  <a:lnTo>
                    <a:pt x="108" y="546"/>
                  </a:lnTo>
                  <a:lnTo>
                    <a:pt x="114" y="540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90" y="504"/>
                  </a:lnTo>
                  <a:lnTo>
                    <a:pt x="84" y="498"/>
                  </a:lnTo>
                  <a:lnTo>
                    <a:pt x="84" y="492"/>
                  </a:lnTo>
                  <a:lnTo>
                    <a:pt x="84" y="456"/>
                  </a:lnTo>
                  <a:lnTo>
                    <a:pt x="114" y="444"/>
                  </a:lnTo>
                  <a:lnTo>
                    <a:pt x="114" y="438"/>
                  </a:lnTo>
                  <a:lnTo>
                    <a:pt x="120" y="420"/>
                  </a:lnTo>
                  <a:lnTo>
                    <a:pt x="126" y="402"/>
                  </a:lnTo>
                  <a:lnTo>
                    <a:pt x="126" y="390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14" y="336"/>
                  </a:lnTo>
                  <a:lnTo>
                    <a:pt x="108" y="324"/>
                  </a:lnTo>
                  <a:lnTo>
                    <a:pt x="108" y="306"/>
                  </a:lnTo>
                  <a:lnTo>
                    <a:pt x="114" y="300"/>
                  </a:lnTo>
                  <a:lnTo>
                    <a:pt x="114" y="294"/>
                  </a:lnTo>
                  <a:lnTo>
                    <a:pt x="132" y="258"/>
                  </a:lnTo>
                  <a:lnTo>
                    <a:pt x="132" y="234"/>
                  </a:lnTo>
                  <a:lnTo>
                    <a:pt x="126" y="168"/>
                  </a:lnTo>
                  <a:lnTo>
                    <a:pt x="120" y="150"/>
                  </a:lnTo>
                  <a:lnTo>
                    <a:pt x="114" y="138"/>
                  </a:lnTo>
                  <a:lnTo>
                    <a:pt x="108" y="126"/>
                  </a:lnTo>
                  <a:lnTo>
                    <a:pt x="108" y="120"/>
                  </a:lnTo>
                  <a:lnTo>
                    <a:pt x="108" y="114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20" y="96"/>
                  </a:lnTo>
                  <a:lnTo>
                    <a:pt x="132" y="102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56" y="90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96"/>
                  </a:lnTo>
                  <a:lnTo>
                    <a:pt x="186" y="96"/>
                  </a:lnTo>
                  <a:lnTo>
                    <a:pt x="192" y="114"/>
                  </a:lnTo>
                  <a:lnTo>
                    <a:pt x="204" y="132"/>
                  </a:lnTo>
                  <a:lnTo>
                    <a:pt x="216" y="144"/>
                  </a:lnTo>
                  <a:lnTo>
                    <a:pt x="240" y="162"/>
                  </a:lnTo>
                  <a:lnTo>
                    <a:pt x="270" y="156"/>
                  </a:lnTo>
                  <a:lnTo>
                    <a:pt x="282" y="126"/>
                  </a:lnTo>
                  <a:lnTo>
                    <a:pt x="282" y="96"/>
                  </a:lnTo>
                  <a:lnTo>
                    <a:pt x="294" y="54"/>
                  </a:lnTo>
                  <a:lnTo>
                    <a:pt x="324" y="48"/>
                  </a:lnTo>
                  <a:lnTo>
                    <a:pt x="342" y="48"/>
                  </a:lnTo>
                  <a:lnTo>
                    <a:pt x="384" y="48"/>
                  </a:lnTo>
                  <a:lnTo>
                    <a:pt x="390" y="30"/>
                  </a:lnTo>
                  <a:lnTo>
                    <a:pt x="402" y="18"/>
                  </a:lnTo>
                  <a:lnTo>
                    <a:pt x="438" y="6"/>
                  </a:lnTo>
                  <a:lnTo>
                    <a:pt x="438" y="0"/>
                  </a:lnTo>
                  <a:lnTo>
                    <a:pt x="444" y="0"/>
                  </a:lnTo>
                  <a:lnTo>
                    <a:pt x="444" y="6"/>
                  </a:lnTo>
                  <a:lnTo>
                    <a:pt x="450" y="6"/>
                  </a:lnTo>
                  <a:lnTo>
                    <a:pt x="456" y="12"/>
                  </a:lnTo>
                  <a:lnTo>
                    <a:pt x="456" y="18"/>
                  </a:lnTo>
                  <a:lnTo>
                    <a:pt x="462" y="24"/>
                  </a:lnTo>
                  <a:lnTo>
                    <a:pt x="462" y="30"/>
                  </a:lnTo>
                  <a:lnTo>
                    <a:pt x="468" y="36"/>
                  </a:lnTo>
                  <a:lnTo>
                    <a:pt x="462" y="36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74" y="60"/>
                  </a:lnTo>
                  <a:lnTo>
                    <a:pt x="486" y="78"/>
                  </a:lnTo>
                  <a:lnTo>
                    <a:pt x="486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8" y="102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498" y="114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504" y="126"/>
                  </a:lnTo>
                  <a:lnTo>
                    <a:pt x="498" y="132"/>
                  </a:lnTo>
                  <a:lnTo>
                    <a:pt x="504" y="138"/>
                  </a:lnTo>
                  <a:lnTo>
                    <a:pt x="504" y="132"/>
                  </a:lnTo>
                  <a:lnTo>
                    <a:pt x="510" y="132"/>
                  </a:lnTo>
                  <a:lnTo>
                    <a:pt x="510" y="138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56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6" y="168"/>
                  </a:lnTo>
                  <a:lnTo>
                    <a:pt x="552" y="168"/>
                  </a:lnTo>
                  <a:lnTo>
                    <a:pt x="546" y="168"/>
                  </a:lnTo>
                  <a:lnTo>
                    <a:pt x="546" y="174"/>
                  </a:lnTo>
                  <a:lnTo>
                    <a:pt x="558" y="180"/>
                  </a:lnTo>
                  <a:lnTo>
                    <a:pt x="564" y="180"/>
                  </a:lnTo>
                  <a:lnTo>
                    <a:pt x="564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52" y="198"/>
                  </a:lnTo>
                  <a:lnTo>
                    <a:pt x="558" y="204"/>
                  </a:lnTo>
                  <a:lnTo>
                    <a:pt x="564" y="204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22"/>
                  </a:lnTo>
                  <a:lnTo>
                    <a:pt x="576" y="228"/>
                  </a:lnTo>
                  <a:lnTo>
                    <a:pt x="570" y="228"/>
                  </a:lnTo>
                  <a:lnTo>
                    <a:pt x="570" y="234"/>
                  </a:lnTo>
                  <a:lnTo>
                    <a:pt x="576" y="234"/>
                  </a:lnTo>
                  <a:lnTo>
                    <a:pt x="582" y="234"/>
                  </a:lnTo>
                  <a:lnTo>
                    <a:pt x="588" y="234"/>
                  </a:lnTo>
                  <a:lnTo>
                    <a:pt x="588" y="240"/>
                  </a:lnTo>
                  <a:lnTo>
                    <a:pt x="588" y="246"/>
                  </a:lnTo>
                  <a:lnTo>
                    <a:pt x="588" y="252"/>
                  </a:lnTo>
                  <a:lnTo>
                    <a:pt x="582" y="252"/>
                  </a:lnTo>
                  <a:lnTo>
                    <a:pt x="576" y="252"/>
                  </a:lnTo>
                  <a:lnTo>
                    <a:pt x="582" y="258"/>
                  </a:lnTo>
                  <a:lnTo>
                    <a:pt x="582" y="264"/>
                  </a:lnTo>
                  <a:lnTo>
                    <a:pt x="576" y="264"/>
                  </a:lnTo>
                  <a:lnTo>
                    <a:pt x="546" y="264"/>
                  </a:lnTo>
                  <a:lnTo>
                    <a:pt x="546" y="276"/>
                  </a:lnTo>
                  <a:lnTo>
                    <a:pt x="540" y="282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40" y="324"/>
                  </a:lnTo>
                  <a:lnTo>
                    <a:pt x="552" y="330"/>
                  </a:lnTo>
                  <a:lnTo>
                    <a:pt x="558" y="342"/>
                  </a:lnTo>
                  <a:lnTo>
                    <a:pt x="546" y="372"/>
                  </a:lnTo>
                  <a:lnTo>
                    <a:pt x="534" y="372"/>
                  </a:lnTo>
                  <a:lnTo>
                    <a:pt x="534" y="384"/>
                  </a:lnTo>
                  <a:lnTo>
                    <a:pt x="522" y="384"/>
                  </a:lnTo>
                  <a:lnTo>
                    <a:pt x="510" y="402"/>
                  </a:lnTo>
                  <a:lnTo>
                    <a:pt x="504" y="420"/>
                  </a:lnTo>
                  <a:lnTo>
                    <a:pt x="492" y="426"/>
                  </a:lnTo>
                  <a:lnTo>
                    <a:pt x="486" y="432"/>
                  </a:lnTo>
                  <a:lnTo>
                    <a:pt x="486" y="444"/>
                  </a:lnTo>
                  <a:lnTo>
                    <a:pt x="486" y="450"/>
                  </a:lnTo>
                  <a:lnTo>
                    <a:pt x="486" y="456"/>
                  </a:lnTo>
                  <a:lnTo>
                    <a:pt x="486" y="462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80" y="474"/>
                  </a:lnTo>
                  <a:lnTo>
                    <a:pt x="480" y="480"/>
                  </a:lnTo>
                  <a:lnTo>
                    <a:pt x="480" y="486"/>
                  </a:lnTo>
                  <a:lnTo>
                    <a:pt x="480" y="492"/>
                  </a:lnTo>
                  <a:lnTo>
                    <a:pt x="480" y="498"/>
                  </a:lnTo>
                  <a:lnTo>
                    <a:pt x="474" y="504"/>
                  </a:lnTo>
                  <a:lnTo>
                    <a:pt x="468" y="510"/>
                  </a:lnTo>
                  <a:lnTo>
                    <a:pt x="462" y="510"/>
                  </a:lnTo>
                  <a:lnTo>
                    <a:pt x="456" y="504"/>
                  </a:lnTo>
                  <a:lnTo>
                    <a:pt x="456" y="498"/>
                  </a:lnTo>
                  <a:lnTo>
                    <a:pt x="450" y="498"/>
                  </a:lnTo>
                  <a:lnTo>
                    <a:pt x="444" y="498"/>
                  </a:lnTo>
                  <a:lnTo>
                    <a:pt x="438" y="498"/>
                  </a:lnTo>
                  <a:lnTo>
                    <a:pt x="432" y="498"/>
                  </a:lnTo>
                  <a:lnTo>
                    <a:pt x="426" y="504"/>
                  </a:lnTo>
                  <a:lnTo>
                    <a:pt x="426" y="510"/>
                  </a:lnTo>
                  <a:lnTo>
                    <a:pt x="420" y="516"/>
                  </a:lnTo>
                  <a:lnTo>
                    <a:pt x="414" y="522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84" y="528"/>
                  </a:lnTo>
                  <a:lnTo>
                    <a:pt x="366" y="540"/>
                  </a:lnTo>
                  <a:lnTo>
                    <a:pt x="360" y="522"/>
                  </a:lnTo>
                  <a:lnTo>
                    <a:pt x="348" y="504"/>
                  </a:lnTo>
                  <a:lnTo>
                    <a:pt x="330" y="504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34"/>
                  </a:lnTo>
                  <a:lnTo>
                    <a:pt x="288" y="540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2" y="540"/>
                  </a:lnTo>
                  <a:lnTo>
                    <a:pt x="282" y="546"/>
                  </a:lnTo>
                  <a:lnTo>
                    <a:pt x="288" y="552"/>
                  </a:lnTo>
                  <a:lnTo>
                    <a:pt x="294" y="564"/>
                  </a:lnTo>
                  <a:lnTo>
                    <a:pt x="300" y="564"/>
                  </a:lnTo>
                  <a:lnTo>
                    <a:pt x="300" y="570"/>
                  </a:lnTo>
                  <a:lnTo>
                    <a:pt x="294" y="570"/>
                  </a:lnTo>
                  <a:lnTo>
                    <a:pt x="288" y="570"/>
                  </a:lnTo>
                  <a:lnTo>
                    <a:pt x="288" y="576"/>
                  </a:lnTo>
                  <a:lnTo>
                    <a:pt x="288" y="582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606"/>
                  </a:lnTo>
                  <a:lnTo>
                    <a:pt x="264" y="612"/>
                  </a:lnTo>
                  <a:lnTo>
                    <a:pt x="258" y="612"/>
                  </a:lnTo>
                  <a:lnTo>
                    <a:pt x="252" y="612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52" y="630"/>
                  </a:lnTo>
                  <a:lnTo>
                    <a:pt x="264" y="642"/>
                  </a:lnTo>
                  <a:lnTo>
                    <a:pt x="258" y="648"/>
                  </a:lnTo>
                  <a:lnTo>
                    <a:pt x="246" y="654"/>
                  </a:lnTo>
                  <a:lnTo>
                    <a:pt x="240" y="660"/>
                  </a:lnTo>
                  <a:lnTo>
                    <a:pt x="234" y="672"/>
                  </a:lnTo>
                  <a:lnTo>
                    <a:pt x="234" y="678"/>
                  </a:lnTo>
                  <a:lnTo>
                    <a:pt x="228" y="684"/>
                  </a:lnTo>
                  <a:lnTo>
                    <a:pt x="228" y="696"/>
                  </a:lnTo>
                  <a:lnTo>
                    <a:pt x="216" y="71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6" name="Freeform 21">
              <a:extLst>
                <a:ext uri="{FF2B5EF4-FFF2-40B4-BE49-F238E27FC236}">
                  <a16:creationId xmlns:a16="http://schemas.microsoft.com/office/drawing/2014/main" id="{DCB1E808-522D-4C19-B741-CC5DD56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4178" y="3866464"/>
              <a:ext cx="250453" cy="371259"/>
            </a:xfrm>
            <a:custGeom>
              <a:avLst/>
              <a:gdLst>
                <a:gd name="T0" fmla="*/ 0 w 468"/>
                <a:gd name="T1" fmla="*/ 61 h 696"/>
                <a:gd name="T2" fmla="*/ 1 w 468"/>
                <a:gd name="T3" fmla="*/ 58 h 696"/>
                <a:gd name="T4" fmla="*/ 2 w 468"/>
                <a:gd name="T5" fmla="*/ 54 h 696"/>
                <a:gd name="T6" fmla="*/ 3 w 468"/>
                <a:gd name="T7" fmla="*/ 51 h 696"/>
                <a:gd name="T8" fmla="*/ 4 w 468"/>
                <a:gd name="T9" fmla="*/ 48 h 696"/>
                <a:gd name="T10" fmla="*/ 6 w 468"/>
                <a:gd name="T11" fmla="*/ 44 h 696"/>
                <a:gd name="T12" fmla="*/ 5 w 468"/>
                <a:gd name="T13" fmla="*/ 41 h 696"/>
                <a:gd name="T14" fmla="*/ 7 w 468"/>
                <a:gd name="T15" fmla="*/ 38 h 696"/>
                <a:gd name="T16" fmla="*/ 8 w 468"/>
                <a:gd name="T17" fmla="*/ 36 h 696"/>
                <a:gd name="T18" fmla="*/ 7 w 468"/>
                <a:gd name="T19" fmla="*/ 33 h 696"/>
                <a:gd name="T20" fmla="*/ 6 w 468"/>
                <a:gd name="T21" fmla="*/ 29 h 696"/>
                <a:gd name="T22" fmla="*/ 4 w 468"/>
                <a:gd name="T23" fmla="*/ 22 h 696"/>
                <a:gd name="T24" fmla="*/ 2 w 468"/>
                <a:gd name="T25" fmla="*/ 14 h 696"/>
                <a:gd name="T26" fmla="*/ 12 w 468"/>
                <a:gd name="T27" fmla="*/ 11 h 696"/>
                <a:gd name="T28" fmla="*/ 14 w 468"/>
                <a:gd name="T29" fmla="*/ 2 h 696"/>
                <a:gd name="T30" fmla="*/ 16 w 468"/>
                <a:gd name="T31" fmla="*/ 0 h 696"/>
                <a:gd name="T32" fmla="*/ 17 w 468"/>
                <a:gd name="T33" fmla="*/ 0 h 696"/>
                <a:gd name="T34" fmla="*/ 18 w 468"/>
                <a:gd name="T35" fmla="*/ 1 h 696"/>
                <a:gd name="T36" fmla="*/ 17 w 468"/>
                <a:gd name="T37" fmla="*/ 2 h 696"/>
                <a:gd name="T38" fmla="*/ 17 w 468"/>
                <a:gd name="T39" fmla="*/ 4 h 696"/>
                <a:gd name="T40" fmla="*/ 17 w 468"/>
                <a:gd name="T41" fmla="*/ 6 h 696"/>
                <a:gd name="T42" fmla="*/ 20 w 468"/>
                <a:gd name="T43" fmla="*/ 6 h 696"/>
                <a:gd name="T44" fmla="*/ 22 w 468"/>
                <a:gd name="T45" fmla="*/ 5 h 696"/>
                <a:gd name="T46" fmla="*/ 24 w 468"/>
                <a:gd name="T47" fmla="*/ 7 h 696"/>
                <a:gd name="T48" fmla="*/ 28 w 468"/>
                <a:gd name="T49" fmla="*/ 7 h 696"/>
                <a:gd name="T50" fmla="*/ 28 w 468"/>
                <a:gd name="T51" fmla="*/ 11 h 696"/>
                <a:gd name="T52" fmla="*/ 25 w 468"/>
                <a:gd name="T53" fmla="*/ 14 h 696"/>
                <a:gd name="T54" fmla="*/ 23 w 468"/>
                <a:gd name="T55" fmla="*/ 15 h 696"/>
                <a:gd name="T56" fmla="*/ 23 w 468"/>
                <a:gd name="T57" fmla="*/ 19 h 696"/>
                <a:gd name="T58" fmla="*/ 23 w 468"/>
                <a:gd name="T59" fmla="*/ 21 h 696"/>
                <a:gd name="T60" fmla="*/ 24 w 468"/>
                <a:gd name="T61" fmla="*/ 21 h 696"/>
                <a:gd name="T62" fmla="*/ 27 w 468"/>
                <a:gd name="T63" fmla="*/ 23 h 696"/>
                <a:gd name="T64" fmla="*/ 29 w 468"/>
                <a:gd name="T65" fmla="*/ 24 h 696"/>
                <a:gd name="T66" fmla="*/ 29 w 468"/>
                <a:gd name="T67" fmla="*/ 28 h 696"/>
                <a:gd name="T68" fmla="*/ 29 w 468"/>
                <a:gd name="T69" fmla="*/ 29 h 696"/>
                <a:gd name="T70" fmla="*/ 29 w 468"/>
                <a:gd name="T71" fmla="*/ 32 h 696"/>
                <a:gd name="T72" fmla="*/ 32 w 468"/>
                <a:gd name="T73" fmla="*/ 32 h 696"/>
                <a:gd name="T74" fmla="*/ 33 w 468"/>
                <a:gd name="T75" fmla="*/ 35 h 696"/>
                <a:gd name="T76" fmla="*/ 34 w 468"/>
                <a:gd name="T77" fmla="*/ 38 h 696"/>
                <a:gd name="T78" fmla="*/ 35 w 468"/>
                <a:gd name="T79" fmla="*/ 39 h 696"/>
                <a:gd name="T80" fmla="*/ 36 w 468"/>
                <a:gd name="T81" fmla="*/ 40 h 696"/>
                <a:gd name="T82" fmla="*/ 37 w 468"/>
                <a:gd name="T83" fmla="*/ 41 h 696"/>
                <a:gd name="T84" fmla="*/ 38 w 468"/>
                <a:gd name="T85" fmla="*/ 42 h 696"/>
                <a:gd name="T86" fmla="*/ 41 w 468"/>
                <a:gd name="T87" fmla="*/ 44 h 696"/>
                <a:gd name="T88" fmla="*/ 40 w 468"/>
                <a:gd name="T89" fmla="*/ 44 h 696"/>
                <a:gd name="T90" fmla="*/ 37 w 468"/>
                <a:gd name="T91" fmla="*/ 45 h 696"/>
                <a:gd name="T92" fmla="*/ 36 w 468"/>
                <a:gd name="T93" fmla="*/ 48 h 696"/>
                <a:gd name="T94" fmla="*/ 34 w 468"/>
                <a:gd name="T95" fmla="*/ 49 h 696"/>
                <a:gd name="T96" fmla="*/ 32 w 468"/>
                <a:gd name="T97" fmla="*/ 51 h 696"/>
                <a:gd name="T98" fmla="*/ 31 w 468"/>
                <a:gd name="T99" fmla="*/ 51 h 696"/>
                <a:gd name="T100" fmla="*/ 26 w 468"/>
                <a:gd name="T101" fmla="*/ 49 h 696"/>
                <a:gd name="T102" fmla="*/ 23 w 468"/>
                <a:gd name="T103" fmla="*/ 51 h 696"/>
                <a:gd name="T104" fmla="*/ 21 w 468"/>
                <a:gd name="T105" fmla="*/ 51 h 696"/>
                <a:gd name="T106" fmla="*/ 20 w 468"/>
                <a:gd name="T107" fmla="*/ 52 h 696"/>
                <a:gd name="T108" fmla="*/ 17 w 468"/>
                <a:gd name="T109" fmla="*/ 55 h 696"/>
                <a:gd name="T110" fmla="*/ 15 w 468"/>
                <a:gd name="T111" fmla="*/ 56 h 696"/>
                <a:gd name="T112" fmla="*/ 15 w 468"/>
                <a:gd name="T113" fmla="*/ 59 h 696"/>
                <a:gd name="T114" fmla="*/ 14 w 468"/>
                <a:gd name="T115" fmla="*/ 59 h 696"/>
                <a:gd name="T116" fmla="*/ 12 w 468"/>
                <a:gd name="T117" fmla="*/ 59 h 696"/>
                <a:gd name="T118" fmla="*/ 11 w 468"/>
                <a:gd name="T119" fmla="*/ 57 h 696"/>
                <a:gd name="T120" fmla="*/ 9 w 468"/>
                <a:gd name="T121" fmla="*/ 57 h 696"/>
                <a:gd name="T122" fmla="*/ 6 w 468"/>
                <a:gd name="T123" fmla="*/ 58 h 696"/>
                <a:gd name="T124" fmla="*/ 4 w 468"/>
                <a:gd name="T125" fmla="*/ 60 h 69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8"/>
                <a:gd name="T190" fmla="*/ 0 h 696"/>
                <a:gd name="T191" fmla="*/ 468 w 468"/>
                <a:gd name="T192" fmla="*/ 696 h 69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8" h="696">
                  <a:moveTo>
                    <a:pt x="30" y="696"/>
                  </a:moveTo>
                  <a:lnTo>
                    <a:pt x="18" y="696"/>
                  </a:lnTo>
                  <a:lnTo>
                    <a:pt x="6" y="696"/>
                  </a:lnTo>
                  <a:lnTo>
                    <a:pt x="0" y="690"/>
                  </a:lnTo>
                  <a:lnTo>
                    <a:pt x="6" y="678"/>
                  </a:lnTo>
                  <a:lnTo>
                    <a:pt x="12" y="666"/>
                  </a:lnTo>
                  <a:lnTo>
                    <a:pt x="18" y="654"/>
                  </a:lnTo>
                  <a:lnTo>
                    <a:pt x="18" y="642"/>
                  </a:lnTo>
                  <a:lnTo>
                    <a:pt x="18" y="618"/>
                  </a:lnTo>
                  <a:lnTo>
                    <a:pt x="24" y="606"/>
                  </a:lnTo>
                  <a:lnTo>
                    <a:pt x="30" y="594"/>
                  </a:lnTo>
                  <a:lnTo>
                    <a:pt x="30" y="582"/>
                  </a:lnTo>
                  <a:lnTo>
                    <a:pt x="36" y="576"/>
                  </a:lnTo>
                  <a:lnTo>
                    <a:pt x="42" y="564"/>
                  </a:lnTo>
                  <a:lnTo>
                    <a:pt x="48" y="546"/>
                  </a:lnTo>
                  <a:lnTo>
                    <a:pt x="48" y="528"/>
                  </a:lnTo>
                  <a:lnTo>
                    <a:pt x="60" y="516"/>
                  </a:lnTo>
                  <a:lnTo>
                    <a:pt x="66" y="504"/>
                  </a:lnTo>
                  <a:lnTo>
                    <a:pt x="66" y="492"/>
                  </a:lnTo>
                  <a:lnTo>
                    <a:pt x="60" y="480"/>
                  </a:lnTo>
                  <a:lnTo>
                    <a:pt x="54" y="468"/>
                  </a:lnTo>
                  <a:lnTo>
                    <a:pt x="60" y="456"/>
                  </a:lnTo>
                  <a:lnTo>
                    <a:pt x="72" y="450"/>
                  </a:lnTo>
                  <a:lnTo>
                    <a:pt x="84" y="438"/>
                  </a:lnTo>
                  <a:lnTo>
                    <a:pt x="90" y="426"/>
                  </a:lnTo>
                  <a:lnTo>
                    <a:pt x="90" y="420"/>
                  </a:lnTo>
                  <a:lnTo>
                    <a:pt x="90" y="408"/>
                  </a:lnTo>
                  <a:lnTo>
                    <a:pt x="90" y="402"/>
                  </a:lnTo>
                  <a:lnTo>
                    <a:pt x="84" y="396"/>
                  </a:lnTo>
                  <a:lnTo>
                    <a:pt x="78" y="378"/>
                  </a:lnTo>
                  <a:lnTo>
                    <a:pt x="72" y="360"/>
                  </a:lnTo>
                  <a:lnTo>
                    <a:pt x="66" y="348"/>
                  </a:lnTo>
                  <a:lnTo>
                    <a:pt x="72" y="336"/>
                  </a:lnTo>
                  <a:lnTo>
                    <a:pt x="66" y="306"/>
                  </a:lnTo>
                  <a:lnTo>
                    <a:pt x="54" y="276"/>
                  </a:lnTo>
                  <a:lnTo>
                    <a:pt x="42" y="252"/>
                  </a:lnTo>
                  <a:lnTo>
                    <a:pt x="36" y="222"/>
                  </a:lnTo>
                  <a:lnTo>
                    <a:pt x="30" y="192"/>
                  </a:lnTo>
                  <a:lnTo>
                    <a:pt x="24" y="162"/>
                  </a:lnTo>
                  <a:lnTo>
                    <a:pt x="42" y="174"/>
                  </a:lnTo>
                  <a:lnTo>
                    <a:pt x="120" y="138"/>
                  </a:lnTo>
                  <a:lnTo>
                    <a:pt x="132" y="126"/>
                  </a:lnTo>
                  <a:lnTo>
                    <a:pt x="120" y="54"/>
                  </a:lnTo>
                  <a:lnTo>
                    <a:pt x="156" y="30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0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8" y="18"/>
                  </a:lnTo>
                  <a:lnTo>
                    <a:pt x="198" y="24"/>
                  </a:lnTo>
                  <a:lnTo>
                    <a:pt x="198" y="30"/>
                  </a:lnTo>
                  <a:lnTo>
                    <a:pt x="198" y="42"/>
                  </a:lnTo>
                  <a:lnTo>
                    <a:pt x="198" y="48"/>
                  </a:lnTo>
                  <a:lnTo>
                    <a:pt x="192" y="60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28" y="60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34" y="60"/>
                  </a:lnTo>
                  <a:lnTo>
                    <a:pt x="252" y="60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312" y="84"/>
                  </a:lnTo>
                  <a:lnTo>
                    <a:pt x="318" y="96"/>
                  </a:lnTo>
                  <a:lnTo>
                    <a:pt x="318" y="102"/>
                  </a:lnTo>
                  <a:lnTo>
                    <a:pt x="312" y="120"/>
                  </a:lnTo>
                  <a:lnTo>
                    <a:pt x="306" y="132"/>
                  </a:lnTo>
                  <a:lnTo>
                    <a:pt x="294" y="144"/>
                  </a:lnTo>
                  <a:lnTo>
                    <a:pt x="282" y="156"/>
                  </a:lnTo>
                  <a:lnTo>
                    <a:pt x="276" y="162"/>
                  </a:lnTo>
                  <a:lnTo>
                    <a:pt x="270" y="162"/>
                  </a:lnTo>
                  <a:lnTo>
                    <a:pt x="264" y="174"/>
                  </a:lnTo>
                  <a:lnTo>
                    <a:pt x="264" y="192"/>
                  </a:lnTo>
                  <a:lnTo>
                    <a:pt x="264" y="216"/>
                  </a:lnTo>
                  <a:lnTo>
                    <a:pt x="258" y="216"/>
                  </a:lnTo>
                  <a:lnTo>
                    <a:pt x="258" y="228"/>
                  </a:lnTo>
                  <a:lnTo>
                    <a:pt x="252" y="234"/>
                  </a:lnTo>
                  <a:lnTo>
                    <a:pt x="258" y="240"/>
                  </a:lnTo>
                  <a:lnTo>
                    <a:pt x="264" y="240"/>
                  </a:lnTo>
                  <a:lnTo>
                    <a:pt x="270" y="240"/>
                  </a:lnTo>
                  <a:lnTo>
                    <a:pt x="276" y="240"/>
                  </a:lnTo>
                  <a:lnTo>
                    <a:pt x="288" y="240"/>
                  </a:lnTo>
                  <a:lnTo>
                    <a:pt x="300" y="246"/>
                  </a:lnTo>
                  <a:lnTo>
                    <a:pt x="306" y="258"/>
                  </a:lnTo>
                  <a:lnTo>
                    <a:pt x="312" y="264"/>
                  </a:lnTo>
                  <a:lnTo>
                    <a:pt x="318" y="276"/>
                  </a:lnTo>
                  <a:lnTo>
                    <a:pt x="330" y="282"/>
                  </a:lnTo>
                  <a:lnTo>
                    <a:pt x="330" y="300"/>
                  </a:lnTo>
                  <a:lnTo>
                    <a:pt x="336" y="312"/>
                  </a:lnTo>
                  <a:lnTo>
                    <a:pt x="336" y="318"/>
                  </a:lnTo>
                  <a:lnTo>
                    <a:pt x="336" y="330"/>
                  </a:lnTo>
                  <a:lnTo>
                    <a:pt x="324" y="330"/>
                  </a:lnTo>
                  <a:lnTo>
                    <a:pt x="330" y="336"/>
                  </a:lnTo>
                  <a:lnTo>
                    <a:pt x="330" y="342"/>
                  </a:lnTo>
                  <a:lnTo>
                    <a:pt x="336" y="348"/>
                  </a:lnTo>
                  <a:lnTo>
                    <a:pt x="330" y="360"/>
                  </a:lnTo>
                  <a:lnTo>
                    <a:pt x="336" y="372"/>
                  </a:lnTo>
                  <a:lnTo>
                    <a:pt x="354" y="366"/>
                  </a:lnTo>
                  <a:lnTo>
                    <a:pt x="366" y="366"/>
                  </a:lnTo>
                  <a:lnTo>
                    <a:pt x="372" y="378"/>
                  </a:lnTo>
                  <a:lnTo>
                    <a:pt x="372" y="390"/>
                  </a:lnTo>
                  <a:lnTo>
                    <a:pt x="378" y="396"/>
                  </a:lnTo>
                  <a:lnTo>
                    <a:pt x="378" y="408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44"/>
                  </a:lnTo>
                  <a:lnTo>
                    <a:pt x="390" y="444"/>
                  </a:lnTo>
                  <a:lnTo>
                    <a:pt x="396" y="444"/>
                  </a:lnTo>
                  <a:lnTo>
                    <a:pt x="402" y="450"/>
                  </a:lnTo>
                  <a:lnTo>
                    <a:pt x="408" y="450"/>
                  </a:lnTo>
                  <a:lnTo>
                    <a:pt x="408" y="462"/>
                  </a:lnTo>
                  <a:lnTo>
                    <a:pt x="408" y="468"/>
                  </a:lnTo>
                  <a:lnTo>
                    <a:pt x="414" y="474"/>
                  </a:lnTo>
                  <a:lnTo>
                    <a:pt x="420" y="474"/>
                  </a:lnTo>
                  <a:lnTo>
                    <a:pt x="420" y="480"/>
                  </a:lnTo>
                  <a:lnTo>
                    <a:pt x="426" y="480"/>
                  </a:lnTo>
                  <a:lnTo>
                    <a:pt x="432" y="480"/>
                  </a:lnTo>
                  <a:lnTo>
                    <a:pt x="462" y="486"/>
                  </a:lnTo>
                  <a:lnTo>
                    <a:pt x="468" y="492"/>
                  </a:lnTo>
                  <a:lnTo>
                    <a:pt x="468" y="498"/>
                  </a:lnTo>
                  <a:lnTo>
                    <a:pt x="462" y="498"/>
                  </a:lnTo>
                  <a:lnTo>
                    <a:pt x="456" y="498"/>
                  </a:lnTo>
                  <a:lnTo>
                    <a:pt x="456" y="504"/>
                  </a:lnTo>
                  <a:lnTo>
                    <a:pt x="456" y="510"/>
                  </a:lnTo>
                  <a:lnTo>
                    <a:pt x="450" y="516"/>
                  </a:lnTo>
                  <a:lnTo>
                    <a:pt x="426" y="516"/>
                  </a:lnTo>
                  <a:lnTo>
                    <a:pt x="408" y="528"/>
                  </a:lnTo>
                  <a:lnTo>
                    <a:pt x="408" y="546"/>
                  </a:lnTo>
                  <a:lnTo>
                    <a:pt x="414" y="552"/>
                  </a:lnTo>
                  <a:lnTo>
                    <a:pt x="408" y="558"/>
                  </a:lnTo>
                  <a:lnTo>
                    <a:pt x="402" y="564"/>
                  </a:lnTo>
                  <a:lnTo>
                    <a:pt x="384" y="564"/>
                  </a:lnTo>
                  <a:lnTo>
                    <a:pt x="372" y="564"/>
                  </a:lnTo>
                  <a:lnTo>
                    <a:pt x="372" y="576"/>
                  </a:lnTo>
                  <a:lnTo>
                    <a:pt x="366" y="576"/>
                  </a:lnTo>
                  <a:lnTo>
                    <a:pt x="366" y="582"/>
                  </a:lnTo>
                  <a:lnTo>
                    <a:pt x="360" y="582"/>
                  </a:lnTo>
                  <a:lnTo>
                    <a:pt x="348" y="576"/>
                  </a:lnTo>
                  <a:lnTo>
                    <a:pt x="336" y="570"/>
                  </a:lnTo>
                  <a:lnTo>
                    <a:pt x="324" y="570"/>
                  </a:lnTo>
                  <a:lnTo>
                    <a:pt x="300" y="564"/>
                  </a:lnTo>
                  <a:lnTo>
                    <a:pt x="282" y="564"/>
                  </a:lnTo>
                  <a:lnTo>
                    <a:pt x="270" y="570"/>
                  </a:lnTo>
                  <a:lnTo>
                    <a:pt x="264" y="576"/>
                  </a:lnTo>
                  <a:lnTo>
                    <a:pt x="258" y="576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34" y="594"/>
                  </a:lnTo>
                  <a:lnTo>
                    <a:pt x="228" y="600"/>
                  </a:lnTo>
                  <a:lnTo>
                    <a:pt x="210" y="618"/>
                  </a:lnTo>
                  <a:lnTo>
                    <a:pt x="210" y="624"/>
                  </a:lnTo>
                  <a:lnTo>
                    <a:pt x="192" y="630"/>
                  </a:lnTo>
                  <a:lnTo>
                    <a:pt x="186" y="630"/>
                  </a:lnTo>
                  <a:lnTo>
                    <a:pt x="180" y="636"/>
                  </a:lnTo>
                  <a:lnTo>
                    <a:pt x="174" y="642"/>
                  </a:lnTo>
                  <a:lnTo>
                    <a:pt x="168" y="642"/>
                  </a:lnTo>
                  <a:lnTo>
                    <a:pt x="168" y="654"/>
                  </a:lnTo>
                  <a:lnTo>
                    <a:pt x="168" y="678"/>
                  </a:lnTo>
                  <a:lnTo>
                    <a:pt x="162" y="684"/>
                  </a:lnTo>
                  <a:lnTo>
                    <a:pt x="156" y="684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72"/>
                  </a:lnTo>
                  <a:lnTo>
                    <a:pt x="138" y="672"/>
                  </a:lnTo>
                  <a:lnTo>
                    <a:pt x="138" y="666"/>
                  </a:lnTo>
                  <a:lnTo>
                    <a:pt x="132" y="660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48"/>
                  </a:lnTo>
                  <a:lnTo>
                    <a:pt x="102" y="654"/>
                  </a:lnTo>
                  <a:lnTo>
                    <a:pt x="90" y="654"/>
                  </a:lnTo>
                  <a:lnTo>
                    <a:pt x="84" y="654"/>
                  </a:lnTo>
                  <a:lnTo>
                    <a:pt x="72" y="660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36" y="684"/>
                  </a:lnTo>
                  <a:lnTo>
                    <a:pt x="30" y="69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7" name="Freeform 22">
              <a:extLst>
                <a:ext uri="{FF2B5EF4-FFF2-40B4-BE49-F238E27FC236}">
                  <a16:creationId xmlns:a16="http://schemas.microsoft.com/office/drawing/2014/main" id="{2F7A477D-6CF8-44B3-8B32-64EE03DC4D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2895" y="3967106"/>
              <a:ext cx="610479" cy="507686"/>
            </a:xfrm>
            <a:custGeom>
              <a:avLst/>
              <a:gdLst>
                <a:gd name="T0" fmla="*/ 87 w 1146"/>
                <a:gd name="T1" fmla="*/ 56 h 954"/>
                <a:gd name="T2" fmla="*/ 83 w 1146"/>
                <a:gd name="T3" fmla="*/ 66 h 954"/>
                <a:gd name="T4" fmla="*/ 74 w 1146"/>
                <a:gd name="T5" fmla="*/ 69 h 954"/>
                <a:gd name="T6" fmla="*/ 67 w 1146"/>
                <a:gd name="T7" fmla="*/ 75 h 954"/>
                <a:gd name="T8" fmla="*/ 59 w 1146"/>
                <a:gd name="T9" fmla="*/ 78 h 954"/>
                <a:gd name="T10" fmla="*/ 52 w 1146"/>
                <a:gd name="T11" fmla="*/ 77 h 954"/>
                <a:gd name="T12" fmla="*/ 48 w 1146"/>
                <a:gd name="T13" fmla="*/ 79 h 954"/>
                <a:gd name="T14" fmla="*/ 41 w 1146"/>
                <a:gd name="T15" fmla="*/ 82 h 954"/>
                <a:gd name="T16" fmla="*/ 29 w 1146"/>
                <a:gd name="T17" fmla="*/ 78 h 954"/>
                <a:gd name="T18" fmla="*/ 28 w 1146"/>
                <a:gd name="T19" fmla="*/ 76 h 954"/>
                <a:gd name="T20" fmla="*/ 28 w 1146"/>
                <a:gd name="T21" fmla="*/ 72 h 954"/>
                <a:gd name="T22" fmla="*/ 28 w 1146"/>
                <a:gd name="T23" fmla="*/ 74 h 954"/>
                <a:gd name="T24" fmla="*/ 21 w 1146"/>
                <a:gd name="T25" fmla="*/ 74 h 954"/>
                <a:gd name="T26" fmla="*/ 20 w 1146"/>
                <a:gd name="T27" fmla="*/ 67 h 954"/>
                <a:gd name="T28" fmla="*/ 23 w 1146"/>
                <a:gd name="T29" fmla="*/ 64 h 954"/>
                <a:gd name="T30" fmla="*/ 28 w 1146"/>
                <a:gd name="T31" fmla="*/ 65 h 954"/>
                <a:gd name="T32" fmla="*/ 32 w 1146"/>
                <a:gd name="T33" fmla="*/ 62 h 954"/>
                <a:gd name="T34" fmla="*/ 31 w 1146"/>
                <a:gd name="T35" fmla="*/ 56 h 954"/>
                <a:gd name="T36" fmla="*/ 36 w 1146"/>
                <a:gd name="T37" fmla="*/ 54 h 954"/>
                <a:gd name="T38" fmla="*/ 38 w 1146"/>
                <a:gd name="T39" fmla="*/ 54 h 954"/>
                <a:gd name="T40" fmla="*/ 32 w 1146"/>
                <a:gd name="T41" fmla="*/ 54 h 954"/>
                <a:gd name="T42" fmla="*/ 29 w 1146"/>
                <a:gd name="T43" fmla="*/ 59 h 954"/>
                <a:gd name="T44" fmla="*/ 26 w 1146"/>
                <a:gd name="T45" fmla="*/ 59 h 954"/>
                <a:gd name="T46" fmla="*/ 25 w 1146"/>
                <a:gd name="T47" fmla="*/ 61 h 954"/>
                <a:gd name="T48" fmla="*/ 20 w 1146"/>
                <a:gd name="T49" fmla="*/ 61 h 954"/>
                <a:gd name="T50" fmla="*/ 11 w 1146"/>
                <a:gd name="T51" fmla="*/ 54 h 954"/>
                <a:gd name="T52" fmla="*/ 14 w 1146"/>
                <a:gd name="T53" fmla="*/ 50 h 954"/>
                <a:gd name="T54" fmla="*/ 21 w 1146"/>
                <a:gd name="T55" fmla="*/ 51 h 954"/>
                <a:gd name="T56" fmla="*/ 24 w 1146"/>
                <a:gd name="T57" fmla="*/ 50 h 954"/>
                <a:gd name="T58" fmla="*/ 28 w 1146"/>
                <a:gd name="T59" fmla="*/ 48 h 954"/>
                <a:gd name="T60" fmla="*/ 30 w 1146"/>
                <a:gd name="T61" fmla="*/ 49 h 954"/>
                <a:gd name="T62" fmla="*/ 26 w 1146"/>
                <a:gd name="T63" fmla="*/ 47 h 954"/>
                <a:gd name="T64" fmla="*/ 20 w 1146"/>
                <a:gd name="T65" fmla="*/ 50 h 954"/>
                <a:gd name="T66" fmla="*/ 20 w 1146"/>
                <a:gd name="T67" fmla="*/ 44 h 954"/>
                <a:gd name="T68" fmla="*/ 19 w 1146"/>
                <a:gd name="T69" fmla="*/ 46 h 954"/>
                <a:gd name="T70" fmla="*/ 15 w 1146"/>
                <a:gd name="T71" fmla="*/ 49 h 954"/>
                <a:gd name="T72" fmla="*/ 8 w 1146"/>
                <a:gd name="T73" fmla="*/ 48 h 954"/>
                <a:gd name="T74" fmla="*/ 6 w 1146"/>
                <a:gd name="T75" fmla="*/ 41 h 954"/>
                <a:gd name="T76" fmla="*/ 10 w 1146"/>
                <a:gd name="T77" fmla="*/ 41 h 954"/>
                <a:gd name="T78" fmla="*/ 9 w 1146"/>
                <a:gd name="T79" fmla="*/ 39 h 954"/>
                <a:gd name="T80" fmla="*/ 14 w 1146"/>
                <a:gd name="T81" fmla="*/ 35 h 954"/>
                <a:gd name="T82" fmla="*/ 19 w 1146"/>
                <a:gd name="T83" fmla="*/ 32 h 954"/>
                <a:gd name="T84" fmla="*/ 20 w 1146"/>
                <a:gd name="T85" fmla="*/ 29 h 954"/>
                <a:gd name="T86" fmla="*/ 27 w 1146"/>
                <a:gd name="T87" fmla="*/ 27 h 954"/>
                <a:gd name="T88" fmla="*/ 33 w 1146"/>
                <a:gd name="T89" fmla="*/ 28 h 954"/>
                <a:gd name="T90" fmla="*/ 44 w 1146"/>
                <a:gd name="T91" fmla="*/ 27 h 954"/>
                <a:gd name="T92" fmla="*/ 52 w 1146"/>
                <a:gd name="T93" fmla="*/ 41 h 954"/>
                <a:gd name="T94" fmla="*/ 61 w 1146"/>
                <a:gd name="T95" fmla="*/ 40 h 954"/>
                <a:gd name="T96" fmla="*/ 69 w 1146"/>
                <a:gd name="T97" fmla="*/ 34 h 954"/>
                <a:gd name="T98" fmla="*/ 62 w 1146"/>
                <a:gd name="T99" fmla="*/ 12 h 954"/>
                <a:gd name="T100" fmla="*/ 74 w 1146"/>
                <a:gd name="T101" fmla="*/ 8 h 954"/>
                <a:gd name="T102" fmla="*/ 87 w 1146"/>
                <a:gd name="T103" fmla="*/ 1 h 954"/>
                <a:gd name="T104" fmla="*/ 99 w 1146"/>
                <a:gd name="T105" fmla="*/ 12 h 954"/>
                <a:gd name="T106" fmla="*/ 98 w 1146"/>
                <a:gd name="T107" fmla="*/ 27 h 954"/>
                <a:gd name="T108" fmla="*/ 16 w 1146"/>
                <a:gd name="T109" fmla="*/ 33 h 954"/>
                <a:gd name="T110" fmla="*/ 11 w 1146"/>
                <a:gd name="T111" fmla="*/ 36 h 954"/>
                <a:gd name="T112" fmla="*/ 5 w 1146"/>
                <a:gd name="T113" fmla="*/ 41 h 954"/>
                <a:gd name="T114" fmla="*/ 2 w 1146"/>
                <a:gd name="T115" fmla="*/ 36 h 954"/>
                <a:gd name="T116" fmla="*/ 5 w 1146"/>
                <a:gd name="T117" fmla="*/ 26 h 954"/>
                <a:gd name="T118" fmla="*/ 10 w 1146"/>
                <a:gd name="T119" fmla="*/ 20 h 954"/>
                <a:gd name="T120" fmla="*/ 13 w 1146"/>
                <a:gd name="T121" fmla="*/ 20 h 954"/>
                <a:gd name="T122" fmla="*/ 15 w 1146"/>
                <a:gd name="T123" fmla="*/ 27 h 95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46"/>
                <a:gd name="T187" fmla="*/ 0 h 954"/>
                <a:gd name="T188" fmla="*/ 1146 w 1146"/>
                <a:gd name="T189" fmla="*/ 954 h 95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46" h="954">
                  <a:moveTo>
                    <a:pt x="1056" y="498"/>
                  </a:moveTo>
                  <a:lnTo>
                    <a:pt x="1044" y="510"/>
                  </a:lnTo>
                  <a:lnTo>
                    <a:pt x="1032" y="516"/>
                  </a:lnTo>
                  <a:lnTo>
                    <a:pt x="1038" y="528"/>
                  </a:lnTo>
                  <a:lnTo>
                    <a:pt x="1050" y="540"/>
                  </a:lnTo>
                  <a:lnTo>
                    <a:pt x="1050" y="546"/>
                  </a:lnTo>
                  <a:lnTo>
                    <a:pt x="1050" y="564"/>
                  </a:lnTo>
                  <a:lnTo>
                    <a:pt x="1038" y="576"/>
                  </a:lnTo>
                  <a:lnTo>
                    <a:pt x="1032" y="588"/>
                  </a:lnTo>
                  <a:lnTo>
                    <a:pt x="1020" y="594"/>
                  </a:lnTo>
                  <a:lnTo>
                    <a:pt x="1008" y="594"/>
                  </a:lnTo>
                  <a:lnTo>
                    <a:pt x="1002" y="600"/>
                  </a:lnTo>
                  <a:lnTo>
                    <a:pt x="996" y="612"/>
                  </a:lnTo>
                  <a:lnTo>
                    <a:pt x="996" y="624"/>
                  </a:lnTo>
                  <a:lnTo>
                    <a:pt x="996" y="648"/>
                  </a:lnTo>
                  <a:lnTo>
                    <a:pt x="996" y="660"/>
                  </a:lnTo>
                  <a:lnTo>
                    <a:pt x="1002" y="672"/>
                  </a:lnTo>
                  <a:lnTo>
                    <a:pt x="1002" y="684"/>
                  </a:lnTo>
                  <a:lnTo>
                    <a:pt x="996" y="684"/>
                  </a:lnTo>
                  <a:lnTo>
                    <a:pt x="984" y="690"/>
                  </a:lnTo>
                  <a:lnTo>
                    <a:pt x="972" y="690"/>
                  </a:lnTo>
                  <a:lnTo>
                    <a:pt x="966" y="696"/>
                  </a:lnTo>
                  <a:lnTo>
                    <a:pt x="966" y="702"/>
                  </a:lnTo>
                  <a:lnTo>
                    <a:pt x="966" y="714"/>
                  </a:lnTo>
                  <a:lnTo>
                    <a:pt x="972" y="726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2" y="756"/>
                  </a:lnTo>
                  <a:lnTo>
                    <a:pt x="966" y="756"/>
                  </a:lnTo>
                  <a:lnTo>
                    <a:pt x="942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18" y="768"/>
                  </a:lnTo>
                  <a:lnTo>
                    <a:pt x="906" y="768"/>
                  </a:lnTo>
                  <a:lnTo>
                    <a:pt x="894" y="762"/>
                  </a:lnTo>
                  <a:lnTo>
                    <a:pt x="882" y="756"/>
                  </a:lnTo>
                  <a:lnTo>
                    <a:pt x="876" y="756"/>
                  </a:lnTo>
                  <a:lnTo>
                    <a:pt x="876" y="762"/>
                  </a:lnTo>
                  <a:lnTo>
                    <a:pt x="864" y="768"/>
                  </a:lnTo>
                  <a:lnTo>
                    <a:pt x="858" y="774"/>
                  </a:lnTo>
                  <a:lnTo>
                    <a:pt x="852" y="774"/>
                  </a:lnTo>
                  <a:lnTo>
                    <a:pt x="840" y="780"/>
                  </a:lnTo>
                  <a:lnTo>
                    <a:pt x="840" y="786"/>
                  </a:lnTo>
                  <a:lnTo>
                    <a:pt x="840" y="792"/>
                  </a:lnTo>
                  <a:lnTo>
                    <a:pt x="840" y="804"/>
                  </a:lnTo>
                  <a:lnTo>
                    <a:pt x="840" y="810"/>
                  </a:lnTo>
                  <a:lnTo>
                    <a:pt x="828" y="816"/>
                  </a:lnTo>
                  <a:lnTo>
                    <a:pt x="810" y="810"/>
                  </a:lnTo>
                  <a:lnTo>
                    <a:pt x="792" y="810"/>
                  </a:lnTo>
                  <a:lnTo>
                    <a:pt x="786" y="816"/>
                  </a:lnTo>
                  <a:lnTo>
                    <a:pt x="780" y="816"/>
                  </a:lnTo>
                  <a:lnTo>
                    <a:pt x="780" y="822"/>
                  </a:lnTo>
                  <a:lnTo>
                    <a:pt x="780" y="828"/>
                  </a:lnTo>
                  <a:lnTo>
                    <a:pt x="780" y="834"/>
                  </a:lnTo>
                  <a:lnTo>
                    <a:pt x="786" y="840"/>
                  </a:lnTo>
                  <a:lnTo>
                    <a:pt x="786" y="846"/>
                  </a:lnTo>
                  <a:lnTo>
                    <a:pt x="786" y="852"/>
                  </a:lnTo>
                  <a:lnTo>
                    <a:pt x="780" y="858"/>
                  </a:lnTo>
                  <a:lnTo>
                    <a:pt x="768" y="858"/>
                  </a:lnTo>
                  <a:lnTo>
                    <a:pt x="762" y="864"/>
                  </a:lnTo>
                  <a:lnTo>
                    <a:pt x="756" y="864"/>
                  </a:lnTo>
                  <a:lnTo>
                    <a:pt x="750" y="870"/>
                  </a:lnTo>
                  <a:lnTo>
                    <a:pt x="744" y="876"/>
                  </a:lnTo>
                  <a:lnTo>
                    <a:pt x="732" y="876"/>
                  </a:lnTo>
                  <a:lnTo>
                    <a:pt x="726" y="876"/>
                  </a:lnTo>
                  <a:lnTo>
                    <a:pt x="720" y="870"/>
                  </a:lnTo>
                  <a:lnTo>
                    <a:pt x="714" y="864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6" y="876"/>
                  </a:lnTo>
                  <a:lnTo>
                    <a:pt x="696" y="882"/>
                  </a:lnTo>
                  <a:lnTo>
                    <a:pt x="696" y="894"/>
                  </a:lnTo>
                  <a:lnTo>
                    <a:pt x="690" y="900"/>
                  </a:lnTo>
                  <a:lnTo>
                    <a:pt x="684" y="900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54" y="888"/>
                  </a:lnTo>
                  <a:lnTo>
                    <a:pt x="654" y="882"/>
                  </a:lnTo>
                  <a:lnTo>
                    <a:pt x="642" y="876"/>
                  </a:lnTo>
                  <a:lnTo>
                    <a:pt x="636" y="876"/>
                  </a:lnTo>
                  <a:lnTo>
                    <a:pt x="630" y="876"/>
                  </a:lnTo>
                  <a:lnTo>
                    <a:pt x="630" y="870"/>
                  </a:lnTo>
                  <a:lnTo>
                    <a:pt x="618" y="858"/>
                  </a:lnTo>
                  <a:lnTo>
                    <a:pt x="612" y="858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06" y="876"/>
                  </a:lnTo>
                  <a:lnTo>
                    <a:pt x="606" y="882"/>
                  </a:lnTo>
                  <a:lnTo>
                    <a:pt x="606" y="888"/>
                  </a:lnTo>
                  <a:lnTo>
                    <a:pt x="600" y="894"/>
                  </a:lnTo>
                  <a:lnTo>
                    <a:pt x="594" y="894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76" y="894"/>
                  </a:lnTo>
                  <a:lnTo>
                    <a:pt x="582" y="900"/>
                  </a:lnTo>
                  <a:lnTo>
                    <a:pt x="576" y="906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64" y="918"/>
                  </a:lnTo>
                  <a:lnTo>
                    <a:pt x="558" y="918"/>
                  </a:lnTo>
                  <a:lnTo>
                    <a:pt x="558" y="912"/>
                  </a:lnTo>
                  <a:lnTo>
                    <a:pt x="552" y="906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06"/>
                  </a:lnTo>
                  <a:lnTo>
                    <a:pt x="534" y="906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0" y="924"/>
                  </a:lnTo>
                  <a:lnTo>
                    <a:pt x="504" y="924"/>
                  </a:lnTo>
                  <a:lnTo>
                    <a:pt x="498" y="930"/>
                  </a:lnTo>
                  <a:lnTo>
                    <a:pt x="492" y="924"/>
                  </a:lnTo>
                  <a:lnTo>
                    <a:pt x="486" y="930"/>
                  </a:lnTo>
                  <a:lnTo>
                    <a:pt x="480" y="942"/>
                  </a:lnTo>
                  <a:lnTo>
                    <a:pt x="468" y="948"/>
                  </a:lnTo>
                  <a:lnTo>
                    <a:pt x="444" y="942"/>
                  </a:lnTo>
                  <a:lnTo>
                    <a:pt x="438" y="954"/>
                  </a:lnTo>
                  <a:lnTo>
                    <a:pt x="426" y="954"/>
                  </a:lnTo>
                  <a:lnTo>
                    <a:pt x="420" y="948"/>
                  </a:lnTo>
                  <a:lnTo>
                    <a:pt x="408" y="936"/>
                  </a:lnTo>
                  <a:lnTo>
                    <a:pt x="396" y="936"/>
                  </a:lnTo>
                  <a:lnTo>
                    <a:pt x="390" y="930"/>
                  </a:lnTo>
                  <a:lnTo>
                    <a:pt x="390" y="924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66" y="924"/>
                  </a:lnTo>
                  <a:lnTo>
                    <a:pt x="360" y="924"/>
                  </a:lnTo>
                  <a:lnTo>
                    <a:pt x="348" y="918"/>
                  </a:lnTo>
                  <a:lnTo>
                    <a:pt x="342" y="906"/>
                  </a:lnTo>
                  <a:lnTo>
                    <a:pt x="336" y="906"/>
                  </a:lnTo>
                  <a:lnTo>
                    <a:pt x="330" y="906"/>
                  </a:lnTo>
                  <a:lnTo>
                    <a:pt x="312" y="906"/>
                  </a:lnTo>
                  <a:lnTo>
                    <a:pt x="312" y="900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888"/>
                  </a:lnTo>
                  <a:lnTo>
                    <a:pt x="312" y="882"/>
                  </a:lnTo>
                  <a:lnTo>
                    <a:pt x="306" y="876"/>
                  </a:lnTo>
                  <a:lnTo>
                    <a:pt x="312" y="876"/>
                  </a:lnTo>
                  <a:lnTo>
                    <a:pt x="312" y="870"/>
                  </a:lnTo>
                  <a:lnTo>
                    <a:pt x="318" y="876"/>
                  </a:lnTo>
                  <a:lnTo>
                    <a:pt x="318" y="870"/>
                  </a:lnTo>
                  <a:lnTo>
                    <a:pt x="324" y="876"/>
                  </a:lnTo>
                  <a:lnTo>
                    <a:pt x="330" y="876"/>
                  </a:lnTo>
                  <a:lnTo>
                    <a:pt x="336" y="876"/>
                  </a:lnTo>
                  <a:lnTo>
                    <a:pt x="342" y="876"/>
                  </a:lnTo>
                  <a:lnTo>
                    <a:pt x="336" y="876"/>
                  </a:lnTo>
                  <a:lnTo>
                    <a:pt x="330" y="870"/>
                  </a:lnTo>
                  <a:lnTo>
                    <a:pt x="324" y="870"/>
                  </a:lnTo>
                  <a:lnTo>
                    <a:pt x="318" y="870"/>
                  </a:lnTo>
                  <a:lnTo>
                    <a:pt x="312" y="870"/>
                  </a:lnTo>
                  <a:lnTo>
                    <a:pt x="318" y="864"/>
                  </a:lnTo>
                  <a:lnTo>
                    <a:pt x="318" y="858"/>
                  </a:lnTo>
                  <a:lnTo>
                    <a:pt x="318" y="852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6" y="846"/>
                  </a:lnTo>
                  <a:lnTo>
                    <a:pt x="312" y="828"/>
                  </a:lnTo>
                  <a:lnTo>
                    <a:pt x="312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06" y="816"/>
                  </a:lnTo>
                  <a:lnTo>
                    <a:pt x="306" y="810"/>
                  </a:lnTo>
                  <a:lnTo>
                    <a:pt x="306" y="816"/>
                  </a:lnTo>
                  <a:lnTo>
                    <a:pt x="312" y="822"/>
                  </a:lnTo>
                  <a:lnTo>
                    <a:pt x="306" y="822"/>
                  </a:lnTo>
                  <a:lnTo>
                    <a:pt x="306" y="828"/>
                  </a:lnTo>
                  <a:lnTo>
                    <a:pt x="306" y="834"/>
                  </a:lnTo>
                  <a:lnTo>
                    <a:pt x="300" y="840"/>
                  </a:lnTo>
                  <a:lnTo>
                    <a:pt x="300" y="846"/>
                  </a:lnTo>
                  <a:lnTo>
                    <a:pt x="306" y="852"/>
                  </a:lnTo>
                  <a:lnTo>
                    <a:pt x="306" y="858"/>
                  </a:lnTo>
                  <a:lnTo>
                    <a:pt x="312" y="858"/>
                  </a:lnTo>
                  <a:lnTo>
                    <a:pt x="312" y="864"/>
                  </a:lnTo>
                  <a:lnTo>
                    <a:pt x="306" y="864"/>
                  </a:lnTo>
                  <a:lnTo>
                    <a:pt x="300" y="864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82" y="870"/>
                  </a:lnTo>
                  <a:lnTo>
                    <a:pt x="276" y="870"/>
                  </a:lnTo>
                  <a:lnTo>
                    <a:pt x="270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8" y="870"/>
                  </a:lnTo>
                  <a:lnTo>
                    <a:pt x="252" y="870"/>
                  </a:lnTo>
                  <a:lnTo>
                    <a:pt x="252" y="864"/>
                  </a:lnTo>
                  <a:lnTo>
                    <a:pt x="246" y="858"/>
                  </a:lnTo>
                  <a:lnTo>
                    <a:pt x="246" y="852"/>
                  </a:lnTo>
                  <a:lnTo>
                    <a:pt x="246" y="846"/>
                  </a:lnTo>
                  <a:lnTo>
                    <a:pt x="246" y="840"/>
                  </a:lnTo>
                  <a:lnTo>
                    <a:pt x="246" y="834"/>
                  </a:lnTo>
                  <a:lnTo>
                    <a:pt x="246" y="828"/>
                  </a:lnTo>
                  <a:lnTo>
                    <a:pt x="246" y="822"/>
                  </a:lnTo>
                  <a:lnTo>
                    <a:pt x="240" y="816"/>
                  </a:lnTo>
                  <a:lnTo>
                    <a:pt x="240" y="810"/>
                  </a:lnTo>
                  <a:lnTo>
                    <a:pt x="240" y="804"/>
                  </a:lnTo>
                  <a:lnTo>
                    <a:pt x="240" y="798"/>
                  </a:lnTo>
                  <a:lnTo>
                    <a:pt x="234" y="798"/>
                  </a:lnTo>
                  <a:lnTo>
                    <a:pt x="234" y="792"/>
                  </a:lnTo>
                  <a:lnTo>
                    <a:pt x="234" y="786"/>
                  </a:lnTo>
                  <a:lnTo>
                    <a:pt x="234" y="780"/>
                  </a:lnTo>
                  <a:lnTo>
                    <a:pt x="228" y="780"/>
                  </a:lnTo>
                  <a:lnTo>
                    <a:pt x="228" y="774"/>
                  </a:lnTo>
                  <a:lnTo>
                    <a:pt x="228" y="768"/>
                  </a:lnTo>
                  <a:lnTo>
                    <a:pt x="222" y="762"/>
                  </a:lnTo>
                  <a:lnTo>
                    <a:pt x="222" y="756"/>
                  </a:lnTo>
                  <a:lnTo>
                    <a:pt x="222" y="750"/>
                  </a:lnTo>
                  <a:lnTo>
                    <a:pt x="222" y="744"/>
                  </a:lnTo>
                  <a:lnTo>
                    <a:pt x="222" y="738"/>
                  </a:lnTo>
                  <a:lnTo>
                    <a:pt x="216" y="732"/>
                  </a:lnTo>
                  <a:lnTo>
                    <a:pt x="222" y="732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32"/>
                  </a:lnTo>
                  <a:lnTo>
                    <a:pt x="246" y="732"/>
                  </a:lnTo>
                  <a:lnTo>
                    <a:pt x="246" y="738"/>
                  </a:lnTo>
                  <a:lnTo>
                    <a:pt x="252" y="738"/>
                  </a:lnTo>
                  <a:lnTo>
                    <a:pt x="258" y="738"/>
                  </a:lnTo>
                  <a:lnTo>
                    <a:pt x="258" y="732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8" y="732"/>
                  </a:lnTo>
                  <a:lnTo>
                    <a:pt x="294" y="732"/>
                  </a:lnTo>
                  <a:lnTo>
                    <a:pt x="300" y="732"/>
                  </a:lnTo>
                  <a:lnTo>
                    <a:pt x="300" y="738"/>
                  </a:lnTo>
                  <a:lnTo>
                    <a:pt x="306" y="738"/>
                  </a:lnTo>
                  <a:lnTo>
                    <a:pt x="306" y="744"/>
                  </a:lnTo>
                  <a:lnTo>
                    <a:pt x="306" y="750"/>
                  </a:lnTo>
                  <a:lnTo>
                    <a:pt x="312" y="750"/>
                  </a:lnTo>
                  <a:lnTo>
                    <a:pt x="312" y="756"/>
                  </a:lnTo>
                  <a:lnTo>
                    <a:pt x="318" y="756"/>
                  </a:lnTo>
                  <a:lnTo>
                    <a:pt x="318" y="750"/>
                  </a:lnTo>
                  <a:lnTo>
                    <a:pt x="312" y="750"/>
                  </a:lnTo>
                  <a:lnTo>
                    <a:pt x="312" y="744"/>
                  </a:lnTo>
                  <a:lnTo>
                    <a:pt x="318" y="738"/>
                  </a:lnTo>
                  <a:lnTo>
                    <a:pt x="324" y="738"/>
                  </a:lnTo>
                  <a:lnTo>
                    <a:pt x="330" y="738"/>
                  </a:lnTo>
                  <a:lnTo>
                    <a:pt x="336" y="738"/>
                  </a:lnTo>
                  <a:lnTo>
                    <a:pt x="342" y="738"/>
                  </a:lnTo>
                  <a:lnTo>
                    <a:pt x="348" y="732"/>
                  </a:lnTo>
                  <a:lnTo>
                    <a:pt x="354" y="732"/>
                  </a:lnTo>
                  <a:lnTo>
                    <a:pt x="360" y="732"/>
                  </a:lnTo>
                  <a:lnTo>
                    <a:pt x="360" y="726"/>
                  </a:lnTo>
                  <a:lnTo>
                    <a:pt x="366" y="726"/>
                  </a:lnTo>
                  <a:lnTo>
                    <a:pt x="366" y="720"/>
                  </a:lnTo>
                  <a:lnTo>
                    <a:pt x="366" y="714"/>
                  </a:lnTo>
                  <a:lnTo>
                    <a:pt x="360" y="708"/>
                  </a:lnTo>
                  <a:lnTo>
                    <a:pt x="354" y="708"/>
                  </a:lnTo>
                  <a:lnTo>
                    <a:pt x="348" y="702"/>
                  </a:lnTo>
                  <a:lnTo>
                    <a:pt x="354" y="702"/>
                  </a:lnTo>
                  <a:lnTo>
                    <a:pt x="354" y="696"/>
                  </a:lnTo>
                  <a:lnTo>
                    <a:pt x="348" y="696"/>
                  </a:lnTo>
                  <a:lnTo>
                    <a:pt x="348" y="690"/>
                  </a:lnTo>
                  <a:lnTo>
                    <a:pt x="342" y="690"/>
                  </a:lnTo>
                  <a:lnTo>
                    <a:pt x="342" y="684"/>
                  </a:lnTo>
                  <a:lnTo>
                    <a:pt x="342" y="678"/>
                  </a:lnTo>
                  <a:lnTo>
                    <a:pt x="342" y="666"/>
                  </a:lnTo>
                  <a:lnTo>
                    <a:pt x="342" y="660"/>
                  </a:lnTo>
                  <a:lnTo>
                    <a:pt x="348" y="654"/>
                  </a:lnTo>
                  <a:lnTo>
                    <a:pt x="348" y="642"/>
                  </a:lnTo>
                  <a:lnTo>
                    <a:pt x="354" y="642"/>
                  </a:lnTo>
                  <a:lnTo>
                    <a:pt x="360" y="642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66" y="642"/>
                  </a:lnTo>
                  <a:lnTo>
                    <a:pt x="372" y="642"/>
                  </a:lnTo>
                  <a:lnTo>
                    <a:pt x="378" y="642"/>
                  </a:lnTo>
                  <a:lnTo>
                    <a:pt x="384" y="642"/>
                  </a:lnTo>
                  <a:lnTo>
                    <a:pt x="390" y="642"/>
                  </a:lnTo>
                  <a:lnTo>
                    <a:pt x="396" y="642"/>
                  </a:lnTo>
                  <a:lnTo>
                    <a:pt x="396" y="636"/>
                  </a:lnTo>
                  <a:lnTo>
                    <a:pt x="402" y="636"/>
                  </a:lnTo>
                  <a:lnTo>
                    <a:pt x="408" y="636"/>
                  </a:lnTo>
                  <a:lnTo>
                    <a:pt x="402" y="636"/>
                  </a:lnTo>
                  <a:lnTo>
                    <a:pt x="402" y="630"/>
                  </a:lnTo>
                  <a:lnTo>
                    <a:pt x="408" y="630"/>
                  </a:lnTo>
                  <a:lnTo>
                    <a:pt x="408" y="624"/>
                  </a:lnTo>
                  <a:lnTo>
                    <a:pt x="408" y="618"/>
                  </a:lnTo>
                  <a:lnTo>
                    <a:pt x="414" y="618"/>
                  </a:lnTo>
                  <a:lnTo>
                    <a:pt x="420" y="618"/>
                  </a:lnTo>
                  <a:lnTo>
                    <a:pt x="426" y="624"/>
                  </a:lnTo>
                  <a:lnTo>
                    <a:pt x="432" y="624"/>
                  </a:lnTo>
                  <a:lnTo>
                    <a:pt x="438" y="624"/>
                  </a:lnTo>
                  <a:lnTo>
                    <a:pt x="438" y="618"/>
                  </a:lnTo>
                  <a:lnTo>
                    <a:pt x="444" y="618"/>
                  </a:lnTo>
                  <a:lnTo>
                    <a:pt x="450" y="618"/>
                  </a:lnTo>
                  <a:lnTo>
                    <a:pt x="444" y="618"/>
                  </a:lnTo>
                  <a:lnTo>
                    <a:pt x="438" y="618"/>
                  </a:lnTo>
                  <a:lnTo>
                    <a:pt x="438" y="612"/>
                  </a:lnTo>
                  <a:lnTo>
                    <a:pt x="438" y="618"/>
                  </a:lnTo>
                  <a:lnTo>
                    <a:pt x="432" y="624"/>
                  </a:lnTo>
                  <a:lnTo>
                    <a:pt x="426" y="618"/>
                  </a:lnTo>
                  <a:lnTo>
                    <a:pt x="420" y="612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402" y="624"/>
                  </a:lnTo>
                  <a:lnTo>
                    <a:pt x="396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78" y="630"/>
                  </a:lnTo>
                  <a:lnTo>
                    <a:pt x="378" y="636"/>
                  </a:lnTo>
                  <a:lnTo>
                    <a:pt x="372" y="630"/>
                  </a:lnTo>
                  <a:lnTo>
                    <a:pt x="366" y="630"/>
                  </a:lnTo>
                  <a:lnTo>
                    <a:pt x="360" y="630"/>
                  </a:lnTo>
                  <a:lnTo>
                    <a:pt x="354" y="630"/>
                  </a:lnTo>
                  <a:lnTo>
                    <a:pt x="354" y="636"/>
                  </a:lnTo>
                  <a:lnTo>
                    <a:pt x="348" y="636"/>
                  </a:lnTo>
                  <a:lnTo>
                    <a:pt x="348" y="642"/>
                  </a:lnTo>
                  <a:lnTo>
                    <a:pt x="342" y="642"/>
                  </a:lnTo>
                  <a:lnTo>
                    <a:pt x="342" y="648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6" y="660"/>
                  </a:lnTo>
                  <a:lnTo>
                    <a:pt x="336" y="666"/>
                  </a:lnTo>
                  <a:lnTo>
                    <a:pt x="330" y="672"/>
                  </a:lnTo>
                  <a:lnTo>
                    <a:pt x="330" y="678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24" y="696"/>
                  </a:lnTo>
                  <a:lnTo>
                    <a:pt x="324" y="702"/>
                  </a:lnTo>
                  <a:lnTo>
                    <a:pt x="318" y="702"/>
                  </a:lnTo>
                  <a:lnTo>
                    <a:pt x="318" y="708"/>
                  </a:lnTo>
                  <a:lnTo>
                    <a:pt x="312" y="708"/>
                  </a:lnTo>
                  <a:lnTo>
                    <a:pt x="312" y="702"/>
                  </a:lnTo>
                  <a:lnTo>
                    <a:pt x="306" y="702"/>
                  </a:lnTo>
                  <a:lnTo>
                    <a:pt x="300" y="702"/>
                  </a:lnTo>
                  <a:lnTo>
                    <a:pt x="294" y="696"/>
                  </a:lnTo>
                  <a:lnTo>
                    <a:pt x="288" y="696"/>
                  </a:lnTo>
                  <a:lnTo>
                    <a:pt x="282" y="690"/>
                  </a:lnTo>
                  <a:lnTo>
                    <a:pt x="288" y="684"/>
                  </a:lnTo>
                  <a:lnTo>
                    <a:pt x="294" y="684"/>
                  </a:lnTo>
                  <a:lnTo>
                    <a:pt x="294" y="678"/>
                  </a:lnTo>
                  <a:lnTo>
                    <a:pt x="300" y="678"/>
                  </a:lnTo>
                  <a:lnTo>
                    <a:pt x="294" y="678"/>
                  </a:lnTo>
                  <a:lnTo>
                    <a:pt x="294" y="672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94" y="672"/>
                  </a:lnTo>
                  <a:lnTo>
                    <a:pt x="288" y="678"/>
                  </a:lnTo>
                  <a:lnTo>
                    <a:pt x="282" y="684"/>
                  </a:lnTo>
                  <a:lnTo>
                    <a:pt x="282" y="678"/>
                  </a:lnTo>
                  <a:lnTo>
                    <a:pt x="276" y="678"/>
                  </a:lnTo>
                  <a:lnTo>
                    <a:pt x="282" y="684"/>
                  </a:lnTo>
                  <a:lnTo>
                    <a:pt x="282" y="690"/>
                  </a:lnTo>
                  <a:lnTo>
                    <a:pt x="282" y="696"/>
                  </a:lnTo>
                  <a:lnTo>
                    <a:pt x="288" y="702"/>
                  </a:lnTo>
                  <a:lnTo>
                    <a:pt x="294" y="708"/>
                  </a:lnTo>
                  <a:lnTo>
                    <a:pt x="294" y="714"/>
                  </a:lnTo>
                  <a:lnTo>
                    <a:pt x="288" y="714"/>
                  </a:lnTo>
                  <a:lnTo>
                    <a:pt x="282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64" y="714"/>
                  </a:lnTo>
                  <a:lnTo>
                    <a:pt x="258" y="714"/>
                  </a:lnTo>
                  <a:lnTo>
                    <a:pt x="252" y="714"/>
                  </a:lnTo>
                  <a:lnTo>
                    <a:pt x="246" y="714"/>
                  </a:lnTo>
                  <a:lnTo>
                    <a:pt x="240" y="714"/>
                  </a:lnTo>
                  <a:lnTo>
                    <a:pt x="240" y="708"/>
                  </a:lnTo>
                  <a:lnTo>
                    <a:pt x="234" y="708"/>
                  </a:lnTo>
                  <a:lnTo>
                    <a:pt x="228" y="708"/>
                  </a:lnTo>
                  <a:lnTo>
                    <a:pt x="222" y="702"/>
                  </a:lnTo>
                  <a:lnTo>
                    <a:pt x="216" y="702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2" y="690"/>
                  </a:lnTo>
                  <a:lnTo>
                    <a:pt x="186" y="690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68" y="684"/>
                  </a:lnTo>
                  <a:lnTo>
                    <a:pt x="168" y="678"/>
                  </a:lnTo>
                  <a:lnTo>
                    <a:pt x="156" y="672"/>
                  </a:lnTo>
                  <a:lnTo>
                    <a:pt x="150" y="660"/>
                  </a:lnTo>
                  <a:lnTo>
                    <a:pt x="126" y="630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12"/>
                  </a:lnTo>
                  <a:lnTo>
                    <a:pt x="126" y="606"/>
                  </a:lnTo>
                  <a:lnTo>
                    <a:pt x="126" y="600"/>
                  </a:lnTo>
                  <a:lnTo>
                    <a:pt x="132" y="594"/>
                  </a:lnTo>
                  <a:lnTo>
                    <a:pt x="138" y="594"/>
                  </a:lnTo>
                  <a:lnTo>
                    <a:pt x="144" y="588"/>
                  </a:lnTo>
                  <a:lnTo>
                    <a:pt x="144" y="582"/>
                  </a:lnTo>
                  <a:lnTo>
                    <a:pt x="150" y="582"/>
                  </a:lnTo>
                  <a:lnTo>
                    <a:pt x="150" y="576"/>
                  </a:lnTo>
                  <a:lnTo>
                    <a:pt x="156" y="576"/>
                  </a:lnTo>
                  <a:lnTo>
                    <a:pt x="156" y="582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8" y="576"/>
                  </a:lnTo>
                  <a:lnTo>
                    <a:pt x="174" y="576"/>
                  </a:lnTo>
                  <a:lnTo>
                    <a:pt x="180" y="582"/>
                  </a:lnTo>
                  <a:lnTo>
                    <a:pt x="192" y="582"/>
                  </a:lnTo>
                  <a:lnTo>
                    <a:pt x="198" y="582"/>
                  </a:lnTo>
                  <a:lnTo>
                    <a:pt x="204" y="582"/>
                  </a:lnTo>
                  <a:lnTo>
                    <a:pt x="210" y="582"/>
                  </a:lnTo>
                  <a:lnTo>
                    <a:pt x="216" y="588"/>
                  </a:lnTo>
                  <a:lnTo>
                    <a:pt x="222" y="588"/>
                  </a:lnTo>
                  <a:lnTo>
                    <a:pt x="234" y="588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46" y="594"/>
                  </a:lnTo>
                  <a:lnTo>
                    <a:pt x="252" y="588"/>
                  </a:lnTo>
                  <a:lnTo>
                    <a:pt x="258" y="588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52" y="600"/>
                  </a:lnTo>
                  <a:lnTo>
                    <a:pt x="246" y="600"/>
                  </a:lnTo>
                  <a:lnTo>
                    <a:pt x="246" y="606"/>
                  </a:lnTo>
                  <a:lnTo>
                    <a:pt x="246" y="600"/>
                  </a:lnTo>
                  <a:lnTo>
                    <a:pt x="252" y="600"/>
                  </a:lnTo>
                  <a:lnTo>
                    <a:pt x="258" y="594"/>
                  </a:lnTo>
                  <a:lnTo>
                    <a:pt x="264" y="594"/>
                  </a:lnTo>
                  <a:lnTo>
                    <a:pt x="264" y="588"/>
                  </a:lnTo>
                  <a:lnTo>
                    <a:pt x="270" y="588"/>
                  </a:lnTo>
                  <a:lnTo>
                    <a:pt x="270" y="582"/>
                  </a:lnTo>
                  <a:lnTo>
                    <a:pt x="270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76" y="564"/>
                  </a:lnTo>
                  <a:lnTo>
                    <a:pt x="270" y="558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58"/>
                  </a:lnTo>
                  <a:lnTo>
                    <a:pt x="282" y="558"/>
                  </a:lnTo>
                  <a:lnTo>
                    <a:pt x="288" y="558"/>
                  </a:lnTo>
                  <a:lnTo>
                    <a:pt x="294" y="558"/>
                  </a:lnTo>
                  <a:lnTo>
                    <a:pt x="300" y="558"/>
                  </a:lnTo>
                  <a:lnTo>
                    <a:pt x="306" y="558"/>
                  </a:lnTo>
                  <a:lnTo>
                    <a:pt x="312" y="558"/>
                  </a:lnTo>
                  <a:lnTo>
                    <a:pt x="318" y="558"/>
                  </a:lnTo>
                  <a:lnTo>
                    <a:pt x="318" y="564"/>
                  </a:lnTo>
                  <a:lnTo>
                    <a:pt x="324" y="564"/>
                  </a:lnTo>
                  <a:lnTo>
                    <a:pt x="324" y="570"/>
                  </a:lnTo>
                  <a:lnTo>
                    <a:pt x="330" y="570"/>
                  </a:lnTo>
                  <a:lnTo>
                    <a:pt x="336" y="570"/>
                  </a:lnTo>
                  <a:lnTo>
                    <a:pt x="342" y="570"/>
                  </a:lnTo>
                  <a:lnTo>
                    <a:pt x="348" y="570"/>
                  </a:lnTo>
                  <a:lnTo>
                    <a:pt x="354" y="570"/>
                  </a:lnTo>
                  <a:lnTo>
                    <a:pt x="360" y="570"/>
                  </a:lnTo>
                  <a:lnTo>
                    <a:pt x="366" y="570"/>
                  </a:lnTo>
                  <a:lnTo>
                    <a:pt x="360" y="570"/>
                  </a:lnTo>
                  <a:lnTo>
                    <a:pt x="360" y="564"/>
                  </a:lnTo>
                  <a:lnTo>
                    <a:pt x="354" y="564"/>
                  </a:lnTo>
                  <a:lnTo>
                    <a:pt x="348" y="564"/>
                  </a:lnTo>
                  <a:lnTo>
                    <a:pt x="342" y="564"/>
                  </a:lnTo>
                  <a:lnTo>
                    <a:pt x="342" y="570"/>
                  </a:lnTo>
                  <a:lnTo>
                    <a:pt x="336" y="564"/>
                  </a:lnTo>
                  <a:lnTo>
                    <a:pt x="336" y="570"/>
                  </a:lnTo>
                  <a:lnTo>
                    <a:pt x="336" y="564"/>
                  </a:lnTo>
                  <a:lnTo>
                    <a:pt x="330" y="564"/>
                  </a:lnTo>
                  <a:lnTo>
                    <a:pt x="324" y="558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18" y="558"/>
                  </a:lnTo>
                  <a:lnTo>
                    <a:pt x="312" y="552"/>
                  </a:lnTo>
                  <a:lnTo>
                    <a:pt x="312" y="558"/>
                  </a:lnTo>
                  <a:lnTo>
                    <a:pt x="312" y="552"/>
                  </a:lnTo>
                  <a:lnTo>
                    <a:pt x="306" y="552"/>
                  </a:lnTo>
                  <a:lnTo>
                    <a:pt x="300" y="546"/>
                  </a:lnTo>
                  <a:lnTo>
                    <a:pt x="294" y="546"/>
                  </a:lnTo>
                  <a:lnTo>
                    <a:pt x="288" y="546"/>
                  </a:lnTo>
                  <a:lnTo>
                    <a:pt x="282" y="546"/>
                  </a:lnTo>
                  <a:lnTo>
                    <a:pt x="276" y="546"/>
                  </a:lnTo>
                  <a:lnTo>
                    <a:pt x="276" y="552"/>
                  </a:lnTo>
                  <a:lnTo>
                    <a:pt x="270" y="552"/>
                  </a:lnTo>
                  <a:lnTo>
                    <a:pt x="270" y="558"/>
                  </a:lnTo>
                  <a:lnTo>
                    <a:pt x="270" y="564"/>
                  </a:lnTo>
                  <a:lnTo>
                    <a:pt x="264" y="570"/>
                  </a:lnTo>
                  <a:lnTo>
                    <a:pt x="258" y="576"/>
                  </a:lnTo>
                  <a:lnTo>
                    <a:pt x="258" y="582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34" y="576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16" y="552"/>
                  </a:lnTo>
                  <a:lnTo>
                    <a:pt x="216" y="546"/>
                  </a:lnTo>
                  <a:lnTo>
                    <a:pt x="216" y="540"/>
                  </a:lnTo>
                  <a:lnTo>
                    <a:pt x="222" y="534"/>
                  </a:lnTo>
                  <a:lnTo>
                    <a:pt x="222" y="528"/>
                  </a:lnTo>
                  <a:lnTo>
                    <a:pt x="228" y="522"/>
                  </a:lnTo>
                  <a:lnTo>
                    <a:pt x="228" y="516"/>
                  </a:lnTo>
                  <a:lnTo>
                    <a:pt x="228" y="510"/>
                  </a:lnTo>
                  <a:lnTo>
                    <a:pt x="234" y="510"/>
                  </a:lnTo>
                  <a:lnTo>
                    <a:pt x="240" y="516"/>
                  </a:lnTo>
                  <a:lnTo>
                    <a:pt x="246" y="522"/>
                  </a:lnTo>
                  <a:lnTo>
                    <a:pt x="246" y="516"/>
                  </a:lnTo>
                  <a:lnTo>
                    <a:pt x="240" y="516"/>
                  </a:lnTo>
                  <a:lnTo>
                    <a:pt x="240" y="510"/>
                  </a:lnTo>
                  <a:lnTo>
                    <a:pt x="234" y="510"/>
                  </a:lnTo>
                  <a:lnTo>
                    <a:pt x="234" y="504"/>
                  </a:lnTo>
                  <a:lnTo>
                    <a:pt x="228" y="504"/>
                  </a:lnTo>
                  <a:lnTo>
                    <a:pt x="222" y="504"/>
                  </a:lnTo>
                  <a:lnTo>
                    <a:pt x="222" y="498"/>
                  </a:lnTo>
                  <a:lnTo>
                    <a:pt x="222" y="504"/>
                  </a:lnTo>
                  <a:lnTo>
                    <a:pt x="222" y="510"/>
                  </a:lnTo>
                  <a:lnTo>
                    <a:pt x="222" y="516"/>
                  </a:lnTo>
                  <a:lnTo>
                    <a:pt x="216" y="522"/>
                  </a:lnTo>
                  <a:lnTo>
                    <a:pt x="216" y="528"/>
                  </a:lnTo>
                  <a:lnTo>
                    <a:pt x="210" y="528"/>
                  </a:lnTo>
                  <a:lnTo>
                    <a:pt x="216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04" y="546"/>
                  </a:lnTo>
                  <a:lnTo>
                    <a:pt x="204" y="552"/>
                  </a:lnTo>
                  <a:lnTo>
                    <a:pt x="204" y="558"/>
                  </a:lnTo>
                  <a:lnTo>
                    <a:pt x="204" y="564"/>
                  </a:lnTo>
                  <a:lnTo>
                    <a:pt x="198" y="570"/>
                  </a:lnTo>
                  <a:lnTo>
                    <a:pt x="192" y="564"/>
                  </a:lnTo>
                  <a:lnTo>
                    <a:pt x="186" y="564"/>
                  </a:lnTo>
                  <a:lnTo>
                    <a:pt x="180" y="564"/>
                  </a:lnTo>
                  <a:lnTo>
                    <a:pt x="174" y="564"/>
                  </a:lnTo>
                  <a:lnTo>
                    <a:pt x="168" y="564"/>
                  </a:lnTo>
                  <a:lnTo>
                    <a:pt x="162" y="564"/>
                  </a:lnTo>
                  <a:lnTo>
                    <a:pt x="156" y="570"/>
                  </a:lnTo>
                  <a:lnTo>
                    <a:pt x="150" y="570"/>
                  </a:lnTo>
                  <a:lnTo>
                    <a:pt x="150" y="564"/>
                  </a:lnTo>
                  <a:lnTo>
                    <a:pt x="150" y="570"/>
                  </a:lnTo>
                  <a:lnTo>
                    <a:pt x="150" y="576"/>
                  </a:lnTo>
                  <a:lnTo>
                    <a:pt x="144" y="576"/>
                  </a:lnTo>
                  <a:lnTo>
                    <a:pt x="138" y="576"/>
                  </a:lnTo>
                  <a:lnTo>
                    <a:pt x="132" y="582"/>
                  </a:lnTo>
                  <a:lnTo>
                    <a:pt x="126" y="582"/>
                  </a:lnTo>
                  <a:lnTo>
                    <a:pt x="120" y="582"/>
                  </a:lnTo>
                  <a:lnTo>
                    <a:pt x="114" y="576"/>
                  </a:lnTo>
                  <a:lnTo>
                    <a:pt x="108" y="564"/>
                  </a:lnTo>
                  <a:lnTo>
                    <a:pt x="102" y="558"/>
                  </a:lnTo>
                  <a:lnTo>
                    <a:pt x="96" y="552"/>
                  </a:lnTo>
                  <a:lnTo>
                    <a:pt x="90" y="546"/>
                  </a:lnTo>
                  <a:lnTo>
                    <a:pt x="90" y="540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2"/>
                  </a:lnTo>
                  <a:lnTo>
                    <a:pt x="78" y="516"/>
                  </a:lnTo>
                  <a:lnTo>
                    <a:pt x="72" y="510"/>
                  </a:lnTo>
                  <a:lnTo>
                    <a:pt x="66" y="504"/>
                  </a:lnTo>
                  <a:lnTo>
                    <a:pt x="66" y="498"/>
                  </a:lnTo>
                  <a:lnTo>
                    <a:pt x="66" y="492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6" y="474"/>
                  </a:lnTo>
                  <a:lnTo>
                    <a:pt x="72" y="474"/>
                  </a:lnTo>
                  <a:lnTo>
                    <a:pt x="72" y="468"/>
                  </a:lnTo>
                  <a:lnTo>
                    <a:pt x="78" y="462"/>
                  </a:lnTo>
                  <a:lnTo>
                    <a:pt x="78" y="456"/>
                  </a:lnTo>
                  <a:lnTo>
                    <a:pt x="84" y="456"/>
                  </a:lnTo>
                  <a:lnTo>
                    <a:pt x="84" y="450"/>
                  </a:lnTo>
                  <a:lnTo>
                    <a:pt x="84" y="444"/>
                  </a:lnTo>
                  <a:lnTo>
                    <a:pt x="90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02" y="450"/>
                  </a:lnTo>
                  <a:lnTo>
                    <a:pt x="108" y="450"/>
                  </a:lnTo>
                  <a:lnTo>
                    <a:pt x="108" y="456"/>
                  </a:lnTo>
                  <a:lnTo>
                    <a:pt x="108" y="462"/>
                  </a:lnTo>
                  <a:lnTo>
                    <a:pt x="114" y="462"/>
                  </a:lnTo>
                  <a:lnTo>
                    <a:pt x="114" y="468"/>
                  </a:lnTo>
                  <a:lnTo>
                    <a:pt x="114" y="474"/>
                  </a:lnTo>
                  <a:lnTo>
                    <a:pt x="114" y="480"/>
                  </a:lnTo>
                  <a:lnTo>
                    <a:pt x="114" y="486"/>
                  </a:lnTo>
                  <a:lnTo>
                    <a:pt x="120" y="486"/>
                  </a:lnTo>
                  <a:lnTo>
                    <a:pt x="126" y="486"/>
                  </a:lnTo>
                  <a:lnTo>
                    <a:pt x="132" y="486"/>
                  </a:lnTo>
                  <a:lnTo>
                    <a:pt x="126" y="480"/>
                  </a:lnTo>
                  <a:lnTo>
                    <a:pt x="120" y="480"/>
                  </a:lnTo>
                  <a:lnTo>
                    <a:pt x="114" y="480"/>
                  </a:lnTo>
                  <a:lnTo>
                    <a:pt x="120" y="480"/>
                  </a:lnTo>
                  <a:lnTo>
                    <a:pt x="120" y="474"/>
                  </a:lnTo>
                  <a:lnTo>
                    <a:pt x="120" y="468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108" y="450"/>
                  </a:lnTo>
                  <a:lnTo>
                    <a:pt x="108" y="444"/>
                  </a:lnTo>
                  <a:lnTo>
                    <a:pt x="114" y="438"/>
                  </a:lnTo>
                  <a:lnTo>
                    <a:pt x="120" y="438"/>
                  </a:lnTo>
                  <a:lnTo>
                    <a:pt x="120" y="432"/>
                  </a:lnTo>
                  <a:lnTo>
                    <a:pt x="132" y="426"/>
                  </a:lnTo>
                  <a:lnTo>
                    <a:pt x="138" y="420"/>
                  </a:lnTo>
                  <a:lnTo>
                    <a:pt x="144" y="420"/>
                  </a:lnTo>
                  <a:lnTo>
                    <a:pt x="144" y="414"/>
                  </a:lnTo>
                  <a:lnTo>
                    <a:pt x="144" y="420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6" y="414"/>
                  </a:lnTo>
                  <a:lnTo>
                    <a:pt x="162" y="414"/>
                  </a:lnTo>
                  <a:lnTo>
                    <a:pt x="162" y="408"/>
                  </a:lnTo>
                  <a:lnTo>
                    <a:pt x="168" y="408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86" y="396"/>
                  </a:lnTo>
                  <a:lnTo>
                    <a:pt x="186" y="390"/>
                  </a:lnTo>
                  <a:lnTo>
                    <a:pt x="192" y="390"/>
                  </a:lnTo>
                  <a:lnTo>
                    <a:pt x="198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210" y="378"/>
                  </a:lnTo>
                  <a:lnTo>
                    <a:pt x="210" y="372"/>
                  </a:lnTo>
                  <a:lnTo>
                    <a:pt x="216" y="372"/>
                  </a:lnTo>
                  <a:lnTo>
                    <a:pt x="222" y="366"/>
                  </a:lnTo>
                  <a:lnTo>
                    <a:pt x="228" y="360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6" y="348"/>
                  </a:lnTo>
                  <a:lnTo>
                    <a:pt x="252" y="348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0" y="342"/>
                  </a:lnTo>
                  <a:lnTo>
                    <a:pt x="234" y="342"/>
                  </a:lnTo>
                  <a:lnTo>
                    <a:pt x="228" y="336"/>
                  </a:lnTo>
                  <a:lnTo>
                    <a:pt x="222" y="336"/>
                  </a:lnTo>
                  <a:lnTo>
                    <a:pt x="216" y="336"/>
                  </a:lnTo>
                  <a:lnTo>
                    <a:pt x="222" y="324"/>
                  </a:lnTo>
                  <a:lnTo>
                    <a:pt x="222" y="318"/>
                  </a:lnTo>
                  <a:lnTo>
                    <a:pt x="222" y="312"/>
                  </a:lnTo>
                  <a:lnTo>
                    <a:pt x="234" y="318"/>
                  </a:lnTo>
                  <a:lnTo>
                    <a:pt x="246" y="318"/>
                  </a:lnTo>
                  <a:lnTo>
                    <a:pt x="258" y="318"/>
                  </a:lnTo>
                  <a:lnTo>
                    <a:pt x="270" y="312"/>
                  </a:lnTo>
                  <a:lnTo>
                    <a:pt x="276" y="312"/>
                  </a:lnTo>
                  <a:lnTo>
                    <a:pt x="288" y="324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94" y="306"/>
                  </a:lnTo>
                  <a:lnTo>
                    <a:pt x="300" y="300"/>
                  </a:lnTo>
                  <a:lnTo>
                    <a:pt x="306" y="306"/>
                  </a:lnTo>
                  <a:lnTo>
                    <a:pt x="312" y="318"/>
                  </a:lnTo>
                  <a:lnTo>
                    <a:pt x="318" y="312"/>
                  </a:lnTo>
                  <a:lnTo>
                    <a:pt x="324" y="312"/>
                  </a:lnTo>
                  <a:lnTo>
                    <a:pt x="330" y="312"/>
                  </a:lnTo>
                  <a:lnTo>
                    <a:pt x="342" y="306"/>
                  </a:lnTo>
                  <a:lnTo>
                    <a:pt x="348" y="306"/>
                  </a:lnTo>
                  <a:lnTo>
                    <a:pt x="348" y="312"/>
                  </a:lnTo>
                  <a:lnTo>
                    <a:pt x="348" y="318"/>
                  </a:lnTo>
                  <a:lnTo>
                    <a:pt x="354" y="318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60" y="336"/>
                  </a:lnTo>
                  <a:lnTo>
                    <a:pt x="366" y="330"/>
                  </a:lnTo>
                  <a:lnTo>
                    <a:pt x="378" y="324"/>
                  </a:lnTo>
                  <a:lnTo>
                    <a:pt x="384" y="324"/>
                  </a:lnTo>
                  <a:lnTo>
                    <a:pt x="384" y="318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6"/>
                  </a:lnTo>
                  <a:lnTo>
                    <a:pt x="402" y="306"/>
                  </a:lnTo>
                  <a:lnTo>
                    <a:pt x="408" y="306"/>
                  </a:lnTo>
                  <a:lnTo>
                    <a:pt x="414" y="300"/>
                  </a:lnTo>
                  <a:lnTo>
                    <a:pt x="420" y="300"/>
                  </a:lnTo>
                  <a:lnTo>
                    <a:pt x="426" y="300"/>
                  </a:lnTo>
                  <a:lnTo>
                    <a:pt x="432" y="300"/>
                  </a:lnTo>
                  <a:lnTo>
                    <a:pt x="444" y="288"/>
                  </a:lnTo>
                  <a:lnTo>
                    <a:pt x="450" y="294"/>
                  </a:lnTo>
                  <a:lnTo>
                    <a:pt x="468" y="300"/>
                  </a:lnTo>
                  <a:lnTo>
                    <a:pt x="498" y="312"/>
                  </a:lnTo>
                  <a:lnTo>
                    <a:pt x="504" y="324"/>
                  </a:lnTo>
                  <a:lnTo>
                    <a:pt x="516" y="330"/>
                  </a:lnTo>
                  <a:lnTo>
                    <a:pt x="516" y="336"/>
                  </a:lnTo>
                  <a:lnTo>
                    <a:pt x="540" y="342"/>
                  </a:lnTo>
                  <a:lnTo>
                    <a:pt x="558" y="372"/>
                  </a:lnTo>
                  <a:lnTo>
                    <a:pt x="594" y="384"/>
                  </a:lnTo>
                  <a:lnTo>
                    <a:pt x="606" y="402"/>
                  </a:lnTo>
                  <a:lnTo>
                    <a:pt x="600" y="420"/>
                  </a:lnTo>
                  <a:lnTo>
                    <a:pt x="588" y="444"/>
                  </a:lnTo>
                  <a:lnTo>
                    <a:pt x="588" y="450"/>
                  </a:lnTo>
                  <a:lnTo>
                    <a:pt x="588" y="456"/>
                  </a:lnTo>
                  <a:lnTo>
                    <a:pt x="594" y="456"/>
                  </a:lnTo>
                  <a:lnTo>
                    <a:pt x="594" y="462"/>
                  </a:lnTo>
                  <a:lnTo>
                    <a:pt x="594" y="468"/>
                  </a:lnTo>
                  <a:lnTo>
                    <a:pt x="594" y="474"/>
                  </a:lnTo>
                  <a:lnTo>
                    <a:pt x="600" y="474"/>
                  </a:lnTo>
                  <a:lnTo>
                    <a:pt x="606" y="480"/>
                  </a:lnTo>
                  <a:lnTo>
                    <a:pt x="606" y="486"/>
                  </a:lnTo>
                  <a:lnTo>
                    <a:pt x="612" y="486"/>
                  </a:lnTo>
                  <a:lnTo>
                    <a:pt x="618" y="486"/>
                  </a:lnTo>
                  <a:lnTo>
                    <a:pt x="624" y="486"/>
                  </a:lnTo>
                  <a:lnTo>
                    <a:pt x="636" y="486"/>
                  </a:lnTo>
                  <a:lnTo>
                    <a:pt x="642" y="486"/>
                  </a:lnTo>
                  <a:lnTo>
                    <a:pt x="648" y="480"/>
                  </a:lnTo>
                  <a:lnTo>
                    <a:pt x="654" y="474"/>
                  </a:lnTo>
                  <a:lnTo>
                    <a:pt x="660" y="468"/>
                  </a:lnTo>
                  <a:lnTo>
                    <a:pt x="666" y="468"/>
                  </a:lnTo>
                  <a:lnTo>
                    <a:pt x="684" y="468"/>
                  </a:lnTo>
                  <a:lnTo>
                    <a:pt x="696" y="468"/>
                  </a:lnTo>
                  <a:lnTo>
                    <a:pt x="696" y="462"/>
                  </a:lnTo>
                  <a:lnTo>
                    <a:pt x="702" y="456"/>
                  </a:lnTo>
                  <a:lnTo>
                    <a:pt x="708" y="450"/>
                  </a:lnTo>
                  <a:lnTo>
                    <a:pt x="714" y="450"/>
                  </a:lnTo>
                  <a:lnTo>
                    <a:pt x="720" y="450"/>
                  </a:lnTo>
                  <a:lnTo>
                    <a:pt x="720" y="438"/>
                  </a:lnTo>
                  <a:lnTo>
                    <a:pt x="726" y="432"/>
                  </a:lnTo>
                  <a:lnTo>
                    <a:pt x="738" y="420"/>
                  </a:lnTo>
                  <a:lnTo>
                    <a:pt x="744" y="420"/>
                  </a:lnTo>
                  <a:lnTo>
                    <a:pt x="750" y="414"/>
                  </a:lnTo>
                  <a:lnTo>
                    <a:pt x="762" y="408"/>
                  </a:lnTo>
                  <a:lnTo>
                    <a:pt x="768" y="408"/>
                  </a:lnTo>
                  <a:lnTo>
                    <a:pt x="768" y="402"/>
                  </a:lnTo>
                  <a:lnTo>
                    <a:pt x="780" y="396"/>
                  </a:lnTo>
                  <a:lnTo>
                    <a:pt x="786" y="396"/>
                  </a:lnTo>
                  <a:lnTo>
                    <a:pt x="786" y="390"/>
                  </a:lnTo>
                  <a:lnTo>
                    <a:pt x="792" y="384"/>
                  </a:lnTo>
                  <a:lnTo>
                    <a:pt x="792" y="378"/>
                  </a:lnTo>
                  <a:lnTo>
                    <a:pt x="798" y="366"/>
                  </a:lnTo>
                  <a:lnTo>
                    <a:pt x="804" y="360"/>
                  </a:lnTo>
                  <a:lnTo>
                    <a:pt x="816" y="342"/>
                  </a:lnTo>
                  <a:lnTo>
                    <a:pt x="816" y="312"/>
                  </a:lnTo>
                  <a:lnTo>
                    <a:pt x="804" y="300"/>
                  </a:lnTo>
                  <a:lnTo>
                    <a:pt x="798" y="288"/>
                  </a:lnTo>
                  <a:lnTo>
                    <a:pt x="762" y="264"/>
                  </a:lnTo>
                  <a:lnTo>
                    <a:pt x="738" y="234"/>
                  </a:lnTo>
                  <a:lnTo>
                    <a:pt x="738" y="222"/>
                  </a:lnTo>
                  <a:lnTo>
                    <a:pt x="744" y="210"/>
                  </a:lnTo>
                  <a:lnTo>
                    <a:pt x="732" y="174"/>
                  </a:lnTo>
                  <a:lnTo>
                    <a:pt x="714" y="156"/>
                  </a:lnTo>
                  <a:lnTo>
                    <a:pt x="708" y="144"/>
                  </a:lnTo>
                  <a:lnTo>
                    <a:pt x="714" y="126"/>
                  </a:lnTo>
                  <a:lnTo>
                    <a:pt x="720" y="114"/>
                  </a:lnTo>
                  <a:lnTo>
                    <a:pt x="732" y="102"/>
                  </a:lnTo>
                  <a:lnTo>
                    <a:pt x="744" y="102"/>
                  </a:lnTo>
                  <a:lnTo>
                    <a:pt x="762" y="108"/>
                  </a:lnTo>
                  <a:lnTo>
                    <a:pt x="774" y="114"/>
                  </a:lnTo>
                  <a:lnTo>
                    <a:pt x="780" y="138"/>
                  </a:lnTo>
                  <a:lnTo>
                    <a:pt x="786" y="144"/>
                  </a:lnTo>
                  <a:lnTo>
                    <a:pt x="798" y="138"/>
                  </a:lnTo>
                  <a:lnTo>
                    <a:pt x="804" y="132"/>
                  </a:lnTo>
                  <a:lnTo>
                    <a:pt x="816" y="120"/>
                  </a:lnTo>
                  <a:lnTo>
                    <a:pt x="816" y="108"/>
                  </a:lnTo>
                  <a:lnTo>
                    <a:pt x="828" y="102"/>
                  </a:lnTo>
                  <a:lnTo>
                    <a:pt x="828" y="96"/>
                  </a:lnTo>
                  <a:lnTo>
                    <a:pt x="840" y="96"/>
                  </a:lnTo>
                  <a:lnTo>
                    <a:pt x="840" y="84"/>
                  </a:lnTo>
                  <a:lnTo>
                    <a:pt x="852" y="90"/>
                  </a:lnTo>
                  <a:lnTo>
                    <a:pt x="852" y="96"/>
                  </a:lnTo>
                  <a:lnTo>
                    <a:pt x="870" y="90"/>
                  </a:lnTo>
                  <a:lnTo>
                    <a:pt x="894" y="78"/>
                  </a:lnTo>
                  <a:lnTo>
                    <a:pt x="912" y="78"/>
                  </a:lnTo>
                  <a:lnTo>
                    <a:pt x="942" y="66"/>
                  </a:lnTo>
                  <a:lnTo>
                    <a:pt x="942" y="60"/>
                  </a:lnTo>
                  <a:lnTo>
                    <a:pt x="954" y="48"/>
                  </a:lnTo>
                  <a:lnTo>
                    <a:pt x="966" y="30"/>
                  </a:lnTo>
                  <a:lnTo>
                    <a:pt x="978" y="30"/>
                  </a:lnTo>
                  <a:lnTo>
                    <a:pt x="978" y="24"/>
                  </a:lnTo>
                  <a:lnTo>
                    <a:pt x="984" y="12"/>
                  </a:lnTo>
                  <a:lnTo>
                    <a:pt x="990" y="12"/>
                  </a:lnTo>
                  <a:lnTo>
                    <a:pt x="996" y="12"/>
                  </a:lnTo>
                  <a:lnTo>
                    <a:pt x="1014" y="6"/>
                  </a:lnTo>
                  <a:lnTo>
                    <a:pt x="1026" y="6"/>
                  </a:lnTo>
                  <a:lnTo>
                    <a:pt x="1044" y="6"/>
                  </a:lnTo>
                  <a:lnTo>
                    <a:pt x="1050" y="6"/>
                  </a:lnTo>
                  <a:lnTo>
                    <a:pt x="1056" y="6"/>
                  </a:lnTo>
                  <a:lnTo>
                    <a:pt x="1062" y="6"/>
                  </a:lnTo>
                  <a:lnTo>
                    <a:pt x="1068" y="6"/>
                  </a:lnTo>
                  <a:lnTo>
                    <a:pt x="1074" y="6"/>
                  </a:lnTo>
                  <a:lnTo>
                    <a:pt x="1080" y="6"/>
                  </a:lnTo>
                  <a:lnTo>
                    <a:pt x="1086" y="0"/>
                  </a:lnTo>
                  <a:lnTo>
                    <a:pt x="1092" y="30"/>
                  </a:lnTo>
                  <a:lnTo>
                    <a:pt x="1098" y="60"/>
                  </a:lnTo>
                  <a:lnTo>
                    <a:pt x="1110" y="84"/>
                  </a:lnTo>
                  <a:lnTo>
                    <a:pt x="1122" y="114"/>
                  </a:lnTo>
                  <a:lnTo>
                    <a:pt x="1128" y="144"/>
                  </a:lnTo>
                  <a:lnTo>
                    <a:pt x="1122" y="156"/>
                  </a:lnTo>
                  <a:lnTo>
                    <a:pt x="1128" y="168"/>
                  </a:lnTo>
                  <a:lnTo>
                    <a:pt x="1134" y="186"/>
                  </a:lnTo>
                  <a:lnTo>
                    <a:pt x="1140" y="204"/>
                  </a:lnTo>
                  <a:lnTo>
                    <a:pt x="1146" y="210"/>
                  </a:lnTo>
                  <a:lnTo>
                    <a:pt x="1146" y="216"/>
                  </a:lnTo>
                  <a:lnTo>
                    <a:pt x="1146" y="228"/>
                  </a:lnTo>
                  <a:lnTo>
                    <a:pt x="1146" y="234"/>
                  </a:lnTo>
                  <a:lnTo>
                    <a:pt x="1140" y="246"/>
                  </a:lnTo>
                  <a:lnTo>
                    <a:pt x="1128" y="258"/>
                  </a:lnTo>
                  <a:lnTo>
                    <a:pt x="1116" y="264"/>
                  </a:lnTo>
                  <a:lnTo>
                    <a:pt x="1110" y="276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2" y="312"/>
                  </a:lnTo>
                  <a:lnTo>
                    <a:pt x="1116" y="324"/>
                  </a:lnTo>
                  <a:lnTo>
                    <a:pt x="1104" y="336"/>
                  </a:lnTo>
                  <a:lnTo>
                    <a:pt x="1104" y="354"/>
                  </a:lnTo>
                  <a:lnTo>
                    <a:pt x="1098" y="372"/>
                  </a:lnTo>
                  <a:lnTo>
                    <a:pt x="1092" y="384"/>
                  </a:lnTo>
                  <a:lnTo>
                    <a:pt x="1086" y="390"/>
                  </a:lnTo>
                  <a:lnTo>
                    <a:pt x="1086" y="402"/>
                  </a:lnTo>
                  <a:lnTo>
                    <a:pt x="1080" y="414"/>
                  </a:lnTo>
                  <a:lnTo>
                    <a:pt x="1074" y="426"/>
                  </a:lnTo>
                  <a:lnTo>
                    <a:pt x="1074" y="450"/>
                  </a:lnTo>
                  <a:lnTo>
                    <a:pt x="1074" y="462"/>
                  </a:lnTo>
                  <a:lnTo>
                    <a:pt x="1068" y="474"/>
                  </a:lnTo>
                  <a:lnTo>
                    <a:pt x="1062" y="486"/>
                  </a:lnTo>
                  <a:lnTo>
                    <a:pt x="1056" y="498"/>
                  </a:lnTo>
                  <a:close/>
                  <a:moveTo>
                    <a:pt x="186" y="378"/>
                  </a:moveTo>
                  <a:lnTo>
                    <a:pt x="186" y="384"/>
                  </a:lnTo>
                  <a:lnTo>
                    <a:pt x="180" y="390"/>
                  </a:lnTo>
                  <a:lnTo>
                    <a:pt x="174" y="396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14"/>
                  </a:lnTo>
                  <a:lnTo>
                    <a:pt x="126" y="414"/>
                  </a:lnTo>
                  <a:lnTo>
                    <a:pt x="120" y="414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2" y="426"/>
                  </a:lnTo>
                  <a:lnTo>
                    <a:pt x="102" y="432"/>
                  </a:lnTo>
                  <a:lnTo>
                    <a:pt x="96" y="432"/>
                  </a:lnTo>
                  <a:lnTo>
                    <a:pt x="90" y="432"/>
                  </a:lnTo>
                  <a:lnTo>
                    <a:pt x="84" y="438"/>
                  </a:lnTo>
                  <a:lnTo>
                    <a:pt x="78" y="438"/>
                  </a:lnTo>
                  <a:lnTo>
                    <a:pt x="78" y="444"/>
                  </a:lnTo>
                  <a:lnTo>
                    <a:pt x="72" y="444"/>
                  </a:lnTo>
                  <a:lnTo>
                    <a:pt x="72" y="450"/>
                  </a:lnTo>
                  <a:lnTo>
                    <a:pt x="66" y="456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48" y="468"/>
                  </a:lnTo>
                  <a:lnTo>
                    <a:pt x="42" y="468"/>
                  </a:lnTo>
                  <a:lnTo>
                    <a:pt x="42" y="462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8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0" y="396"/>
                  </a:lnTo>
                  <a:lnTo>
                    <a:pt x="6" y="384"/>
                  </a:lnTo>
                  <a:lnTo>
                    <a:pt x="18" y="372"/>
                  </a:lnTo>
                  <a:lnTo>
                    <a:pt x="30" y="348"/>
                  </a:lnTo>
                  <a:lnTo>
                    <a:pt x="30" y="342"/>
                  </a:lnTo>
                  <a:lnTo>
                    <a:pt x="42" y="330"/>
                  </a:lnTo>
                  <a:lnTo>
                    <a:pt x="42" y="324"/>
                  </a:lnTo>
                  <a:lnTo>
                    <a:pt x="48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60" y="282"/>
                  </a:lnTo>
                  <a:lnTo>
                    <a:pt x="60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2" y="258"/>
                  </a:lnTo>
                  <a:lnTo>
                    <a:pt x="84" y="246"/>
                  </a:lnTo>
                  <a:lnTo>
                    <a:pt x="90" y="234"/>
                  </a:lnTo>
                  <a:lnTo>
                    <a:pt x="96" y="234"/>
                  </a:lnTo>
                  <a:lnTo>
                    <a:pt x="96" y="228"/>
                  </a:lnTo>
                  <a:lnTo>
                    <a:pt x="102" y="222"/>
                  </a:lnTo>
                  <a:lnTo>
                    <a:pt x="102" y="228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14" y="228"/>
                  </a:lnTo>
                  <a:lnTo>
                    <a:pt x="114" y="234"/>
                  </a:lnTo>
                  <a:lnTo>
                    <a:pt x="120" y="228"/>
                  </a:lnTo>
                  <a:lnTo>
                    <a:pt x="120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26" y="228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8" y="234"/>
                  </a:lnTo>
                  <a:lnTo>
                    <a:pt x="144" y="234"/>
                  </a:lnTo>
                  <a:lnTo>
                    <a:pt x="144" y="228"/>
                  </a:lnTo>
                  <a:lnTo>
                    <a:pt x="150" y="228"/>
                  </a:lnTo>
                  <a:lnTo>
                    <a:pt x="156" y="228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46"/>
                  </a:lnTo>
                  <a:lnTo>
                    <a:pt x="162" y="240"/>
                  </a:lnTo>
                  <a:lnTo>
                    <a:pt x="162" y="246"/>
                  </a:lnTo>
                  <a:lnTo>
                    <a:pt x="162" y="258"/>
                  </a:lnTo>
                  <a:lnTo>
                    <a:pt x="162" y="264"/>
                  </a:lnTo>
                  <a:lnTo>
                    <a:pt x="156" y="270"/>
                  </a:lnTo>
                  <a:lnTo>
                    <a:pt x="162" y="270"/>
                  </a:lnTo>
                  <a:lnTo>
                    <a:pt x="162" y="282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86" y="288"/>
                  </a:lnTo>
                  <a:lnTo>
                    <a:pt x="186" y="294"/>
                  </a:lnTo>
                  <a:lnTo>
                    <a:pt x="180" y="300"/>
                  </a:lnTo>
                  <a:lnTo>
                    <a:pt x="174" y="318"/>
                  </a:lnTo>
                  <a:lnTo>
                    <a:pt x="174" y="324"/>
                  </a:lnTo>
                  <a:lnTo>
                    <a:pt x="168" y="330"/>
                  </a:lnTo>
                  <a:lnTo>
                    <a:pt x="168" y="342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74" y="360"/>
                  </a:lnTo>
                  <a:lnTo>
                    <a:pt x="180" y="366"/>
                  </a:lnTo>
                  <a:lnTo>
                    <a:pt x="186" y="3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8" name="Freeform 23">
              <a:extLst>
                <a:ext uri="{FF2B5EF4-FFF2-40B4-BE49-F238E27FC236}">
                  <a16:creationId xmlns:a16="http://schemas.microsoft.com/office/drawing/2014/main" id="{A539A33E-3F6E-4AF7-BD88-1853165307F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6312" y="3604793"/>
              <a:ext cx="581410" cy="621747"/>
            </a:xfrm>
            <a:custGeom>
              <a:avLst/>
              <a:gdLst>
                <a:gd name="T0" fmla="*/ 90 w 1092"/>
                <a:gd name="T1" fmla="*/ 60 h 1170"/>
                <a:gd name="T2" fmla="*/ 83 w 1092"/>
                <a:gd name="T3" fmla="*/ 62 h 1170"/>
                <a:gd name="T4" fmla="*/ 72 w 1092"/>
                <a:gd name="T5" fmla="*/ 68 h 1170"/>
                <a:gd name="T6" fmla="*/ 68 w 1092"/>
                <a:gd name="T7" fmla="*/ 71 h 1170"/>
                <a:gd name="T8" fmla="*/ 61 w 1092"/>
                <a:gd name="T9" fmla="*/ 69 h 1170"/>
                <a:gd name="T10" fmla="*/ 64 w 1092"/>
                <a:gd name="T11" fmla="*/ 82 h 1170"/>
                <a:gd name="T12" fmla="*/ 67 w 1092"/>
                <a:gd name="T13" fmla="*/ 93 h 1170"/>
                <a:gd name="T14" fmla="*/ 62 w 1092"/>
                <a:gd name="T15" fmla="*/ 96 h 1170"/>
                <a:gd name="T16" fmla="*/ 59 w 1092"/>
                <a:gd name="T17" fmla="*/ 99 h 1170"/>
                <a:gd name="T18" fmla="*/ 53 w 1092"/>
                <a:gd name="T19" fmla="*/ 101 h 1170"/>
                <a:gd name="T20" fmla="*/ 50 w 1092"/>
                <a:gd name="T21" fmla="*/ 100 h 1170"/>
                <a:gd name="T22" fmla="*/ 50 w 1092"/>
                <a:gd name="T23" fmla="*/ 93 h 1170"/>
                <a:gd name="T24" fmla="*/ 37 w 1092"/>
                <a:gd name="T25" fmla="*/ 85 h 1170"/>
                <a:gd name="T26" fmla="*/ 32 w 1092"/>
                <a:gd name="T27" fmla="*/ 86 h 1170"/>
                <a:gd name="T28" fmla="*/ 29 w 1092"/>
                <a:gd name="T29" fmla="*/ 88 h 1170"/>
                <a:gd name="T30" fmla="*/ 27 w 1092"/>
                <a:gd name="T31" fmla="*/ 86 h 1170"/>
                <a:gd name="T32" fmla="*/ 23 w 1092"/>
                <a:gd name="T33" fmla="*/ 87 h 1170"/>
                <a:gd name="T34" fmla="*/ 17 w 1092"/>
                <a:gd name="T35" fmla="*/ 87 h 1170"/>
                <a:gd name="T36" fmla="*/ 18 w 1092"/>
                <a:gd name="T37" fmla="*/ 89 h 1170"/>
                <a:gd name="T38" fmla="*/ 16 w 1092"/>
                <a:gd name="T39" fmla="*/ 92 h 1170"/>
                <a:gd name="T40" fmla="*/ 12 w 1092"/>
                <a:gd name="T41" fmla="*/ 89 h 1170"/>
                <a:gd name="T42" fmla="*/ 13 w 1092"/>
                <a:gd name="T43" fmla="*/ 84 h 1170"/>
                <a:gd name="T44" fmla="*/ 12 w 1092"/>
                <a:gd name="T45" fmla="*/ 80 h 1170"/>
                <a:gd name="T46" fmla="*/ 10 w 1092"/>
                <a:gd name="T47" fmla="*/ 80 h 1170"/>
                <a:gd name="T48" fmla="*/ 8 w 1092"/>
                <a:gd name="T49" fmla="*/ 79 h 1170"/>
                <a:gd name="T50" fmla="*/ 6 w 1092"/>
                <a:gd name="T51" fmla="*/ 78 h 1170"/>
                <a:gd name="T52" fmla="*/ 6 w 1092"/>
                <a:gd name="T53" fmla="*/ 77 h 1170"/>
                <a:gd name="T54" fmla="*/ 4 w 1092"/>
                <a:gd name="T55" fmla="*/ 75 h 1170"/>
                <a:gd name="T56" fmla="*/ 0 w 1092"/>
                <a:gd name="T57" fmla="*/ 72 h 1170"/>
                <a:gd name="T58" fmla="*/ 0 w 1092"/>
                <a:gd name="T59" fmla="*/ 69 h 1170"/>
                <a:gd name="T60" fmla="*/ 3 w 1092"/>
                <a:gd name="T61" fmla="*/ 67 h 1170"/>
                <a:gd name="T62" fmla="*/ 6 w 1092"/>
                <a:gd name="T63" fmla="*/ 62 h 1170"/>
                <a:gd name="T64" fmla="*/ 8 w 1092"/>
                <a:gd name="T65" fmla="*/ 58 h 1170"/>
                <a:gd name="T66" fmla="*/ 5 w 1092"/>
                <a:gd name="T67" fmla="*/ 54 h 1170"/>
                <a:gd name="T68" fmla="*/ 6 w 1092"/>
                <a:gd name="T69" fmla="*/ 50 h 1170"/>
                <a:gd name="T70" fmla="*/ 8 w 1092"/>
                <a:gd name="T71" fmla="*/ 46 h 1170"/>
                <a:gd name="T72" fmla="*/ 10 w 1092"/>
                <a:gd name="T73" fmla="*/ 43 h 1170"/>
                <a:gd name="T74" fmla="*/ 14 w 1092"/>
                <a:gd name="T75" fmla="*/ 38 h 1170"/>
                <a:gd name="T76" fmla="*/ 31 w 1092"/>
                <a:gd name="T77" fmla="*/ 40 h 1170"/>
                <a:gd name="T78" fmla="*/ 30 w 1092"/>
                <a:gd name="T79" fmla="*/ 46 h 1170"/>
                <a:gd name="T80" fmla="*/ 36 w 1092"/>
                <a:gd name="T81" fmla="*/ 47 h 1170"/>
                <a:gd name="T82" fmla="*/ 41 w 1092"/>
                <a:gd name="T83" fmla="*/ 44 h 1170"/>
                <a:gd name="T84" fmla="*/ 43 w 1092"/>
                <a:gd name="T85" fmla="*/ 39 h 1170"/>
                <a:gd name="T86" fmla="*/ 44 w 1092"/>
                <a:gd name="T87" fmla="*/ 35 h 1170"/>
                <a:gd name="T88" fmla="*/ 44 w 1092"/>
                <a:gd name="T89" fmla="*/ 29 h 1170"/>
                <a:gd name="T90" fmla="*/ 48 w 1092"/>
                <a:gd name="T91" fmla="*/ 24 h 1170"/>
                <a:gd name="T92" fmla="*/ 49 w 1092"/>
                <a:gd name="T93" fmla="*/ 19 h 1170"/>
                <a:gd name="T94" fmla="*/ 51 w 1092"/>
                <a:gd name="T95" fmla="*/ 14 h 1170"/>
                <a:gd name="T96" fmla="*/ 54 w 1092"/>
                <a:gd name="T97" fmla="*/ 10 h 1170"/>
                <a:gd name="T98" fmla="*/ 53 w 1092"/>
                <a:gd name="T99" fmla="*/ 7 h 1170"/>
                <a:gd name="T100" fmla="*/ 55 w 1092"/>
                <a:gd name="T101" fmla="*/ 3 h 1170"/>
                <a:gd name="T102" fmla="*/ 58 w 1092"/>
                <a:gd name="T103" fmla="*/ 0 h 1170"/>
                <a:gd name="T104" fmla="*/ 65 w 1092"/>
                <a:gd name="T105" fmla="*/ 2 h 1170"/>
                <a:gd name="T106" fmla="*/ 61 w 1092"/>
                <a:gd name="T107" fmla="*/ 6 h 1170"/>
                <a:gd name="T108" fmla="*/ 67 w 1092"/>
                <a:gd name="T109" fmla="*/ 7 h 1170"/>
                <a:gd name="T110" fmla="*/ 71 w 1092"/>
                <a:gd name="T111" fmla="*/ 6 h 1170"/>
                <a:gd name="T112" fmla="*/ 75 w 1092"/>
                <a:gd name="T113" fmla="*/ 9 h 1170"/>
                <a:gd name="T114" fmla="*/ 82 w 1092"/>
                <a:gd name="T115" fmla="*/ 12 h 1170"/>
                <a:gd name="T116" fmla="*/ 84 w 1092"/>
                <a:gd name="T117" fmla="*/ 17 h 1170"/>
                <a:gd name="T118" fmla="*/ 94 w 1092"/>
                <a:gd name="T119" fmla="*/ 23 h 1170"/>
                <a:gd name="T120" fmla="*/ 94 w 1092"/>
                <a:gd name="T121" fmla="*/ 34 h 1170"/>
                <a:gd name="T122" fmla="*/ 90 w 1092"/>
                <a:gd name="T123" fmla="*/ 41 h 1170"/>
                <a:gd name="T124" fmla="*/ 91 w 1092"/>
                <a:gd name="T125" fmla="*/ 51 h 11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92"/>
                <a:gd name="T190" fmla="*/ 0 h 1170"/>
                <a:gd name="T191" fmla="*/ 1092 w 1092"/>
                <a:gd name="T192" fmla="*/ 1170 h 117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92" h="1170">
                  <a:moveTo>
                    <a:pt x="1056" y="654"/>
                  </a:moveTo>
                  <a:lnTo>
                    <a:pt x="1062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0"/>
                  </a:lnTo>
                  <a:lnTo>
                    <a:pt x="1038" y="690"/>
                  </a:lnTo>
                  <a:lnTo>
                    <a:pt x="1032" y="690"/>
                  </a:lnTo>
                  <a:lnTo>
                    <a:pt x="1026" y="690"/>
                  </a:lnTo>
                  <a:lnTo>
                    <a:pt x="1020" y="690"/>
                  </a:lnTo>
                  <a:lnTo>
                    <a:pt x="1002" y="690"/>
                  </a:lnTo>
                  <a:lnTo>
                    <a:pt x="990" y="690"/>
                  </a:lnTo>
                  <a:lnTo>
                    <a:pt x="972" y="696"/>
                  </a:lnTo>
                  <a:lnTo>
                    <a:pt x="966" y="696"/>
                  </a:lnTo>
                  <a:lnTo>
                    <a:pt x="960" y="696"/>
                  </a:lnTo>
                  <a:lnTo>
                    <a:pt x="954" y="708"/>
                  </a:lnTo>
                  <a:lnTo>
                    <a:pt x="954" y="714"/>
                  </a:lnTo>
                  <a:lnTo>
                    <a:pt x="942" y="714"/>
                  </a:lnTo>
                  <a:lnTo>
                    <a:pt x="930" y="732"/>
                  </a:lnTo>
                  <a:lnTo>
                    <a:pt x="918" y="744"/>
                  </a:lnTo>
                  <a:lnTo>
                    <a:pt x="918" y="750"/>
                  </a:lnTo>
                  <a:lnTo>
                    <a:pt x="888" y="762"/>
                  </a:lnTo>
                  <a:lnTo>
                    <a:pt x="870" y="762"/>
                  </a:lnTo>
                  <a:lnTo>
                    <a:pt x="846" y="774"/>
                  </a:lnTo>
                  <a:lnTo>
                    <a:pt x="828" y="780"/>
                  </a:lnTo>
                  <a:lnTo>
                    <a:pt x="828" y="774"/>
                  </a:lnTo>
                  <a:lnTo>
                    <a:pt x="816" y="768"/>
                  </a:lnTo>
                  <a:lnTo>
                    <a:pt x="816" y="780"/>
                  </a:lnTo>
                  <a:lnTo>
                    <a:pt x="804" y="780"/>
                  </a:lnTo>
                  <a:lnTo>
                    <a:pt x="804" y="786"/>
                  </a:lnTo>
                  <a:lnTo>
                    <a:pt x="792" y="792"/>
                  </a:lnTo>
                  <a:lnTo>
                    <a:pt x="792" y="804"/>
                  </a:lnTo>
                  <a:lnTo>
                    <a:pt x="780" y="816"/>
                  </a:lnTo>
                  <a:lnTo>
                    <a:pt x="774" y="822"/>
                  </a:lnTo>
                  <a:lnTo>
                    <a:pt x="762" y="828"/>
                  </a:lnTo>
                  <a:lnTo>
                    <a:pt x="756" y="822"/>
                  </a:lnTo>
                  <a:lnTo>
                    <a:pt x="750" y="798"/>
                  </a:lnTo>
                  <a:lnTo>
                    <a:pt x="738" y="792"/>
                  </a:lnTo>
                  <a:lnTo>
                    <a:pt x="720" y="786"/>
                  </a:lnTo>
                  <a:lnTo>
                    <a:pt x="708" y="786"/>
                  </a:lnTo>
                  <a:lnTo>
                    <a:pt x="696" y="798"/>
                  </a:lnTo>
                  <a:lnTo>
                    <a:pt x="690" y="810"/>
                  </a:lnTo>
                  <a:lnTo>
                    <a:pt x="684" y="828"/>
                  </a:lnTo>
                  <a:lnTo>
                    <a:pt x="690" y="840"/>
                  </a:lnTo>
                  <a:lnTo>
                    <a:pt x="708" y="858"/>
                  </a:lnTo>
                  <a:lnTo>
                    <a:pt x="720" y="894"/>
                  </a:lnTo>
                  <a:lnTo>
                    <a:pt x="714" y="906"/>
                  </a:lnTo>
                  <a:lnTo>
                    <a:pt x="714" y="918"/>
                  </a:lnTo>
                  <a:lnTo>
                    <a:pt x="738" y="948"/>
                  </a:lnTo>
                  <a:lnTo>
                    <a:pt x="774" y="972"/>
                  </a:lnTo>
                  <a:lnTo>
                    <a:pt x="780" y="984"/>
                  </a:lnTo>
                  <a:lnTo>
                    <a:pt x="792" y="996"/>
                  </a:lnTo>
                  <a:lnTo>
                    <a:pt x="792" y="1026"/>
                  </a:lnTo>
                  <a:lnTo>
                    <a:pt x="780" y="1044"/>
                  </a:lnTo>
                  <a:lnTo>
                    <a:pt x="774" y="1050"/>
                  </a:lnTo>
                  <a:lnTo>
                    <a:pt x="768" y="1062"/>
                  </a:lnTo>
                  <a:lnTo>
                    <a:pt x="768" y="1068"/>
                  </a:lnTo>
                  <a:lnTo>
                    <a:pt x="762" y="1074"/>
                  </a:lnTo>
                  <a:lnTo>
                    <a:pt x="762" y="1080"/>
                  </a:lnTo>
                  <a:lnTo>
                    <a:pt x="756" y="1080"/>
                  </a:lnTo>
                  <a:lnTo>
                    <a:pt x="744" y="1086"/>
                  </a:lnTo>
                  <a:lnTo>
                    <a:pt x="744" y="1092"/>
                  </a:lnTo>
                  <a:lnTo>
                    <a:pt x="738" y="1092"/>
                  </a:lnTo>
                  <a:lnTo>
                    <a:pt x="726" y="1098"/>
                  </a:lnTo>
                  <a:lnTo>
                    <a:pt x="720" y="1104"/>
                  </a:lnTo>
                  <a:lnTo>
                    <a:pt x="714" y="1104"/>
                  </a:lnTo>
                  <a:lnTo>
                    <a:pt x="702" y="1116"/>
                  </a:lnTo>
                  <a:lnTo>
                    <a:pt x="696" y="1122"/>
                  </a:lnTo>
                  <a:lnTo>
                    <a:pt x="696" y="1134"/>
                  </a:lnTo>
                  <a:lnTo>
                    <a:pt x="690" y="1134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72" y="1146"/>
                  </a:lnTo>
                  <a:lnTo>
                    <a:pt x="672" y="1152"/>
                  </a:lnTo>
                  <a:lnTo>
                    <a:pt x="660" y="1152"/>
                  </a:lnTo>
                  <a:lnTo>
                    <a:pt x="642" y="1152"/>
                  </a:lnTo>
                  <a:lnTo>
                    <a:pt x="636" y="1152"/>
                  </a:lnTo>
                  <a:lnTo>
                    <a:pt x="630" y="1158"/>
                  </a:lnTo>
                  <a:lnTo>
                    <a:pt x="624" y="1164"/>
                  </a:lnTo>
                  <a:lnTo>
                    <a:pt x="618" y="1170"/>
                  </a:lnTo>
                  <a:lnTo>
                    <a:pt x="612" y="1170"/>
                  </a:lnTo>
                  <a:lnTo>
                    <a:pt x="600" y="1170"/>
                  </a:lnTo>
                  <a:lnTo>
                    <a:pt x="594" y="1170"/>
                  </a:lnTo>
                  <a:lnTo>
                    <a:pt x="588" y="1170"/>
                  </a:lnTo>
                  <a:lnTo>
                    <a:pt x="582" y="1170"/>
                  </a:lnTo>
                  <a:lnTo>
                    <a:pt x="582" y="1164"/>
                  </a:lnTo>
                  <a:lnTo>
                    <a:pt x="576" y="1158"/>
                  </a:lnTo>
                  <a:lnTo>
                    <a:pt x="570" y="1158"/>
                  </a:lnTo>
                  <a:lnTo>
                    <a:pt x="570" y="1152"/>
                  </a:lnTo>
                  <a:lnTo>
                    <a:pt x="570" y="1146"/>
                  </a:lnTo>
                  <a:lnTo>
                    <a:pt x="570" y="1140"/>
                  </a:lnTo>
                  <a:lnTo>
                    <a:pt x="564" y="1140"/>
                  </a:lnTo>
                  <a:lnTo>
                    <a:pt x="564" y="1134"/>
                  </a:lnTo>
                  <a:lnTo>
                    <a:pt x="564" y="1128"/>
                  </a:lnTo>
                  <a:lnTo>
                    <a:pt x="576" y="1104"/>
                  </a:lnTo>
                  <a:lnTo>
                    <a:pt x="582" y="1086"/>
                  </a:lnTo>
                  <a:lnTo>
                    <a:pt x="570" y="1068"/>
                  </a:lnTo>
                  <a:lnTo>
                    <a:pt x="534" y="1056"/>
                  </a:lnTo>
                  <a:lnTo>
                    <a:pt x="516" y="1026"/>
                  </a:lnTo>
                  <a:lnTo>
                    <a:pt x="492" y="1020"/>
                  </a:lnTo>
                  <a:lnTo>
                    <a:pt x="492" y="1014"/>
                  </a:lnTo>
                  <a:lnTo>
                    <a:pt x="480" y="1008"/>
                  </a:lnTo>
                  <a:lnTo>
                    <a:pt x="474" y="996"/>
                  </a:lnTo>
                  <a:lnTo>
                    <a:pt x="444" y="984"/>
                  </a:lnTo>
                  <a:lnTo>
                    <a:pt x="426" y="978"/>
                  </a:lnTo>
                  <a:lnTo>
                    <a:pt x="420" y="972"/>
                  </a:lnTo>
                  <a:lnTo>
                    <a:pt x="408" y="984"/>
                  </a:lnTo>
                  <a:lnTo>
                    <a:pt x="402" y="984"/>
                  </a:lnTo>
                  <a:lnTo>
                    <a:pt x="396" y="984"/>
                  </a:lnTo>
                  <a:lnTo>
                    <a:pt x="390" y="984"/>
                  </a:lnTo>
                  <a:lnTo>
                    <a:pt x="384" y="990"/>
                  </a:lnTo>
                  <a:lnTo>
                    <a:pt x="378" y="990"/>
                  </a:lnTo>
                  <a:lnTo>
                    <a:pt x="372" y="990"/>
                  </a:lnTo>
                  <a:lnTo>
                    <a:pt x="372" y="996"/>
                  </a:lnTo>
                  <a:lnTo>
                    <a:pt x="366" y="996"/>
                  </a:lnTo>
                  <a:lnTo>
                    <a:pt x="360" y="1002"/>
                  </a:lnTo>
                  <a:lnTo>
                    <a:pt x="360" y="1008"/>
                  </a:lnTo>
                  <a:lnTo>
                    <a:pt x="354" y="1008"/>
                  </a:lnTo>
                  <a:lnTo>
                    <a:pt x="342" y="1014"/>
                  </a:lnTo>
                  <a:lnTo>
                    <a:pt x="336" y="1020"/>
                  </a:lnTo>
                  <a:lnTo>
                    <a:pt x="336" y="1014"/>
                  </a:lnTo>
                  <a:lnTo>
                    <a:pt x="330" y="1014"/>
                  </a:lnTo>
                  <a:lnTo>
                    <a:pt x="330" y="1008"/>
                  </a:lnTo>
                  <a:lnTo>
                    <a:pt x="330" y="1002"/>
                  </a:lnTo>
                  <a:lnTo>
                    <a:pt x="324" y="1002"/>
                  </a:lnTo>
                  <a:lnTo>
                    <a:pt x="324" y="996"/>
                  </a:lnTo>
                  <a:lnTo>
                    <a:pt x="324" y="990"/>
                  </a:lnTo>
                  <a:lnTo>
                    <a:pt x="318" y="990"/>
                  </a:lnTo>
                  <a:lnTo>
                    <a:pt x="306" y="996"/>
                  </a:lnTo>
                  <a:lnTo>
                    <a:pt x="300" y="996"/>
                  </a:lnTo>
                  <a:lnTo>
                    <a:pt x="294" y="996"/>
                  </a:lnTo>
                  <a:lnTo>
                    <a:pt x="288" y="1002"/>
                  </a:lnTo>
                  <a:lnTo>
                    <a:pt x="282" y="990"/>
                  </a:lnTo>
                  <a:lnTo>
                    <a:pt x="276" y="984"/>
                  </a:lnTo>
                  <a:lnTo>
                    <a:pt x="270" y="990"/>
                  </a:lnTo>
                  <a:lnTo>
                    <a:pt x="270" y="996"/>
                  </a:lnTo>
                  <a:lnTo>
                    <a:pt x="270" y="1002"/>
                  </a:lnTo>
                  <a:lnTo>
                    <a:pt x="264" y="1008"/>
                  </a:lnTo>
                  <a:lnTo>
                    <a:pt x="252" y="996"/>
                  </a:lnTo>
                  <a:lnTo>
                    <a:pt x="246" y="996"/>
                  </a:lnTo>
                  <a:lnTo>
                    <a:pt x="234" y="1002"/>
                  </a:lnTo>
                  <a:lnTo>
                    <a:pt x="222" y="1002"/>
                  </a:lnTo>
                  <a:lnTo>
                    <a:pt x="210" y="1002"/>
                  </a:lnTo>
                  <a:lnTo>
                    <a:pt x="198" y="996"/>
                  </a:lnTo>
                  <a:lnTo>
                    <a:pt x="198" y="1002"/>
                  </a:lnTo>
                  <a:lnTo>
                    <a:pt x="198" y="1008"/>
                  </a:lnTo>
                  <a:lnTo>
                    <a:pt x="192" y="1020"/>
                  </a:lnTo>
                  <a:lnTo>
                    <a:pt x="198" y="1020"/>
                  </a:lnTo>
                  <a:lnTo>
                    <a:pt x="204" y="1020"/>
                  </a:lnTo>
                  <a:lnTo>
                    <a:pt x="210" y="1026"/>
                  </a:lnTo>
                  <a:lnTo>
                    <a:pt x="216" y="1026"/>
                  </a:lnTo>
                  <a:lnTo>
                    <a:pt x="216" y="1032"/>
                  </a:lnTo>
                  <a:lnTo>
                    <a:pt x="210" y="1032"/>
                  </a:lnTo>
                  <a:lnTo>
                    <a:pt x="210" y="1038"/>
                  </a:lnTo>
                  <a:lnTo>
                    <a:pt x="204" y="1038"/>
                  </a:lnTo>
                  <a:lnTo>
                    <a:pt x="204" y="1044"/>
                  </a:lnTo>
                  <a:lnTo>
                    <a:pt x="198" y="1044"/>
                  </a:lnTo>
                  <a:lnTo>
                    <a:pt x="192" y="1044"/>
                  </a:lnTo>
                  <a:lnTo>
                    <a:pt x="186" y="1050"/>
                  </a:lnTo>
                  <a:lnTo>
                    <a:pt x="186" y="1056"/>
                  </a:lnTo>
                  <a:lnTo>
                    <a:pt x="180" y="1056"/>
                  </a:lnTo>
                  <a:lnTo>
                    <a:pt x="180" y="1062"/>
                  </a:lnTo>
                  <a:lnTo>
                    <a:pt x="174" y="1062"/>
                  </a:lnTo>
                  <a:lnTo>
                    <a:pt x="168" y="1062"/>
                  </a:lnTo>
                  <a:lnTo>
                    <a:pt x="162" y="1062"/>
                  </a:lnTo>
                  <a:lnTo>
                    <a:pt x="156" y="1050"/>
                  </a:lnTo>
                  <a:lnTo>
                    <a:pt x="150" y="1044"/>
                  </a:lnTo>
                  <a:lnTo>
                    <a:pt x="150" y="1038"/>
                  </a:lnTo>
                  <a:lnTo>
                    <a:pt x="144" y="1032"/>
                  </a:lnTo>
                  <a:lnTo>
                    <a:pt x="144" y="1026"/>
                  </a:lnTo>
                  <a:lnTo>
                    <a:pt x="144" y="1014"/>
                  </a:lnTo>
                  <a:lnTo>
                    <a:pt x="150" y="1008"/>
                  </a:lnTo>
                  <a:lnTo>
                    <a:pt x="150" y="1002"/>
                  </a:lnTo>
                  <a:lnTo>
                    <a:pt x="156" y="984"/>
                  </a:lnTo>
                  <a:lnTo>
                    <a:pt x="162" y="978"/>
                  </a:lnTo>
                  <a:lnTo>
                    <a:pt x="162" y="972"/>
                  </a:lnTo>
                  <a:lnTo>
                    <a:pt x="150" y="966"/>
                  </a:lnTo>
                  <a:lnTo>
                    <a:pt x="144" y="966"/>
                  </a:lnTo>
                  <a:lnTo>
                    <a:pt x="138" y="966"/>
                  </a:lnTo>
                  <a:lnTo>
                    <a:pt x="138" y="954"/>
                  </a:lnTo>
                  <a:lnTo>
                    <a:pt x="132" y="954"/>
                  </a:lnTo>
                  <a:lnTo>
                    <a:pt x="138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8" y="924"/>
                  </a:lnTo>
                  <a:lnTo>
                    <a:pt x="132" y="930"/>
                  </a:lnTo>
                  <a:lnTo>
                    <a:pt x="132" y="924"/>
                  </a:lnTo>
                  <a:lnTo>
                    <a:pt x="126" y="918"/>
                  </a:lnTo>
                  <a:lnTo>
                    <a:pt x="132" y="918"/>
                  </a:lnTo>
                  <a:lnTo>
                    <a:pt x="132" y="912"/>
                  </a:lnTo>
                  <a:lnTo>
                    <a:pt x="126" y="912"/>
                  </a:lnTo>
                  <a:lnTo>
                    <a:pt x="120" y="912"/>
                  </a:lnTo>
                  <a:lnTo>
                    <a:pt x="120" y="918"/>
                  </a:lnTo>
                  <a:lnTo>
                    <a:pt x="114" y="918"/>
                  </a:lnTo>
                  <a:lnTo>
                    <a:pt x="114" y="912"/>
                  </a:lnTo>
                  <a:lnTo>
                    <a:pt x="108" y="912"/>
                  </a:lnTo>
                  <a:lnTo>
                    <a:pt x="102" y="912"/>
                  </a:lnTo>
                  <a:lnTo>
                    <a:pt x="108" y="906"/>
                  </a:lnTo>
                  <a:lnTo>
                    <a:pt x="102" y="906"/>
                  </a:lnTo>
                  <a:lnTo>
                    <a:pt x="96" y="906"/>
                  </a:lnTo>
                  <a:lnTo>
                    <a:pt x="96" y="912"/>
                  </a:lnTo>
                  <a:lnTo>
                    <a:pt x="90" y="918"/>
                  </a:lnTo>
                  <a:lnTo>
                    <a:pt x="90" y="912"/>
                  </a:lnTo>
                  <a:lnTo>
                    <a:pt x="84" y="912"/>
                  </a:lnTo>
                  <a:lnTo>
                    <a:pt x="84" y="918"/>
                  </a:lnTo>
                  <a:lnTo>
                    <a:pt x="78" y="918"/>
                  </a:lnTo>
                  <a:lnTo>
                    <a:pt x="78" y="912"/>
                  </a:lnTo>
                  <a:lnTo>
                    <a:pt x="78" y="906"/>
                  </a:lnTo>
                  <a:lnTo>
                    <a:pt x="72" y="900"/>
                  </a:lnTo>
                  <a:lnTo>
                    <a:pt x="78" y="900"/>
                  </a:lnTo>
                  <a:lnTo>
                    <a:pt x="72" y="900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8" y="888"/>
                  </a:lnTo>
                  <a:lnTo>
                    <a:pt x="72" y="888"/>
                  </a:lnTo>
                  <a:lnTo>
                    <a:pt x="72" y="882"/>
                  </a:lnTo>
                  <a:lnTo>
                    <a:pt x="66" y="876"/>
                  </a:lnTo>
                  <a:lnTo>
                    <a:pt x="60" y="882"/>
                  </a:lnTo>
                  <a:lnTo>
                    <a:pt x="54" y="876"/>
                  </a:lnTo>
                  <a:lnTo>
                    <a:pt x="54" y="882"/>
                  </a:lnTo>
                  <a:lnTo>
                    <a:pt x="48" y="882"/>
                  </a:lnTo>
                  <a:lnTo>
                    <a:pt x="42" y="870"/>
                  </a:lnTo>
                  <a:lnTo>
                    <a:pt x="42" y="864"/>
                  </a:lnTo>
                  <a:lnTo>
                    <a:pt x="36" y="858"/>
                  </a:lnTo>
                  <a:lnTo>
                    <a:pt x="36" y="852"/>
                  </a:lnTo>
                  <a:lnTo>
                    <a:pt x="30" y="852"/>
                  </a:lnTo>
                  <a:lnTo>
                    <a:pt x="30" y="846"/>
                  </a:lnTo>
                  <a:lnTo>
                    <a:pt x="24" y="846"/>
                  </a:lnTo>
                  <a:lnTo>
                    <a:pt x="18" y="840"/>
                  </a:lnTo>
                  <a:lnTo>
                    <a:pt x="12" y="834"/>
                  </a:lnTo>
                  <a:lnTo>
                    <a:pt x="0" y="828"/>
                  </a:lnTo>
                  <a:lnTo>
                    <a:pt x="0" y="822"/>
                  </a:lnTo>
                  <a:lnTo>
                    <a:pt x="0" y="816"/>
                  </a:lnTo>
                  <a:lnTo>
                    <a:pt x="0" y="810"/>
                  </a:lnTo>
                  <a:lnTo>
                    <a:pt x="6" y="804"/>
                  </a:lnTo>
                  <a:lnTo>
                    <a:pt x="12" y="804"/>
                  </a:lnTo>
                  <a:lnTo>
                    <a:pt x="12" y="798"/>
                  </a:lnTo>
                  <a:lnTo>
                    <a:pt x="12" y="792"/>
                  </a:lnTo>
                  <a:lnTo>
                    <a:pt x="6" y="792"/>
                  </a:lnTo>
                  <a:lnTo>
                    <a:pt x="6" y="786"/>
                  </a:lnTo>
                  <a:lnTo>
                    <a:pt x="6" y="780"/>
                  </a:lnTo>
                  <a:lnTo>
                    <a:pt x="18" y="780"/>
                  </a:lnTo>
                  <a:lnTo>
                    <a:pt x="18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0" y="774"/>
                  </a:lnTo>
                  <a:lnTo>
                    <a:pt x="36" y="768"/>
                  </a:lnTo>
                  <a:lnTo>
                    <a:pt x="42" y="768"/>
                  </a:lnTo>
                  <a:lnTo>
                    <a:pt x="60" y="750"/>
                  </a:lnTo>
                  <a:lnTo>
                    <a:pt x="60" y="744"/>
                  </a:lnTo>
                  <a:lnTo>
                    <a:pt x="54" y="738"/>
                  </a:lnTo>
                  <a:lnTo>
                    <a:pt x="60" y="732"/>
                  </a:lnTo>
                  <a:lnTo>
                    <a:pt x="54" y="732"/>
                  </a:lnTo>
                  <a:lnTo>
                    <a:pt x="60" y="726"/>
                  </a:lnTo>
                  <a:lnTo>
                    <a:pt x="66" y="720"/>
                  </a:lnTo>
                  <a:lnTo>
                    <a:pt x="72" y="714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84" y="696"/>
                  </a:lnTo>
                  <a:lnTo>
                    <a:pt x="90" y="684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66"/>
                  </a:lnTo>
                  <a:lnTo>
                    <a:pt x="90" y="660"/>
                  </a:lnTo>
                  <a:lnTo>
                    <a:pt x="84" y="654"/>
                  </a:lnTo>
                  <a:lnTo>
                    <a:pt x="84" y="648"/>
                  </a:lnTo>
                  <a:lnTo>
                    <a:pt x="78" y="636"/>
                  </a:lnTo>
                  <a:lnTo>
                    <a:pt x="66" y="630"/>
                  </a:lnTo>
                  <a:lnTo>
                    <a:pt x="66" y="624"/>
                  </a:lnTo>
                  <a:lnTo>
                    <a:pt x="60" y="624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60" y="600"/>
                  </a:lnTo>
                  <a:lnTo>
                    <a:pt x="66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6" y="588"/>
                  </a:lnTo>
                  <a:lnTo>
                    <a:pt x="66" y="582"/>
                  </a:lnTo>
                  <a:lnTo>
                    <a:pt x="72" y="582"/>
                  </a:lnTo>
                  <a:lnTo>
                    <a:pt x="78" y="576"/>
                  </a:lnTo>
                  <a:lnTo>
                    <a:pt x="72" y="576"/>
                  </a:lnTo>
                  <a:lnTo>
                    <a:pt x="66" y="570"/>
                  </a:lnTo>
                  <a:lnTo>
                    <a:pt x="72" y="564"/>
                  </a:lnTo>
                  <a:lnTo>
                    <a:pt x="78" y="558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90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102" y="516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0" y="504"/>
                  </a:lnTo>
                  <a:lnTo>
                    <a:pt x="120" y="498"/>
                  </a:lnTo>
                  <a:lnTo>
                    <a:pt x="120" y="492"/>
                  </a:lnTo>
                  <a:lnTo>
                    <a:pt x="126" y="480"/>
                  </a:lnTo>
                  <a:lnTo>
                    <a:pt x="132" y="474"/>
                  </a:lnTo>
                  <a:lnTo>
                    <a:pt x="132" y="468"/>
                  </a:lnTo>
                  <a:lnTo>
                    <a:pt x="138" y="462"/>
                  </a:lnTo>
                  <a:lnTo>
                    <a:pt x="138" y="456"/>
                  </a:lnTo>
                  <a:lnTo>
                    <a:pt x="138" y="450"/>
                  </a:lnTo>
                  <a:lnTo>
                    <a:pt x="144" y="444"/>
                  </a:lnTo>
                  <a:lnTo>
                    <a:pt x="162" y="438"/>
                  </a:lnTo>
                  <a:lnTo>
                    <a:pt x="186" y="438"/>
                  </a:lnTo>
                  <a:lnTo>
                    <a:pt x="210" y="444"/>
                  </a:lnTo>
                  <a:lnTo>
                    <a:pt x="276" y="450"/>
                  </a:lnTo>
                  <a:lnTo>
                    <a:pt x="342" y="450"/>
                  </a:lnTo>
                  <a:lnTo>
                    <a:pt x="348" y="450"/>
                  </a:lnTo>
                  <a:lnTo>
                    <a:pt x="354" y="450"/>
                  </a:lnTo>
                  <a:lnTo>
                    <a:pt x="360" y="456"/>
                  </a:lnTo>
                  <a:lnTo>
                    <a:pt x="354" y="462"/>
                  </a:lnTo>
                  <a:lnTo>
                    <a:pt x="354" y="468"/>
                  </a:lnTo>
                  <a:lnTo>
                    <a:pt x="354" y="474"/>
                  </a:lnTo>
                  <a:lnTo>
                    <a:pt x="348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48" y="498"/>
                  </a:lnTo>
                  <a:lnTo>
                    <a:pt x="342" y="510"/>
                  </a:lnTo>
                  <a:lnTo>
                    <a:pt x="348" y="528"/>
                  </a:lnTo>
                  <a:lnTo>
                    <a:pt x="348" y="534"/>
                  </a:lnTo>
                  <a:lnTo>
                    <a:pt x="354" y="552"/>
                  </a:lnTo>
                  <a:lnTo>
                    <a:pt x="366" y="546"/>
                  </a:lnTo>
                  <a:lnTo>
                    <a:pt x="372" y="540"/>
                  </a:lnTo>
                  <a:lnTo>
                    <a:pt x="384" y="540"/>
                  </a:lnTo>
                  <a:lnTo>
                    <a:pt x="396" y="534"/>
                  </a:lnTo>
                  <a:lnTo>
                    <a:pt x="402" y="534"/>
                  </a:lnTo>
                  <a:lnTo>
                    <a:pt x="414" y="546"/>
                  </a:lnTo>
                  <a:lnTo>
                    <a:pt x="432" y="540"/>
                  </a:lnTo>
                  <a:lnTo>
                    <a:pt x="450" y="534"/>
                  </a:lnTo>
                  <a:lnTo>
                    <a:pt x="450" y="528"/>
                  </a:lnTo>
                  <a:lnTo>
                    <a:pt x="456" y="528"/>
                  </a:lnTo>
                  <a:lnTo>
                    <a:pt x="456" y="522"/>
                  </a:lnTo>
                  <a:lnTo>
                    <a:pt x="456" y="516"/>
                  </a:lnTo>
                  <a:lnTo>
                    <a:pt x="462" y="516"/>
                  </a:lnTo>
                  <a:lnTo>
                    <a:pt x="468" y="510"/>
                  </a:lnTo>
                  <a:lnTo>
                    <a:pt x="468" y="504"/>
                  </a:lnTo>
                  <a:lnTo>
                    <a:pt x="474" y="504"/>
                  </a:lnTo>
                  <a:lnTo>
                    <a:pt x="480" y="504"/>
                  </a:lnTo>
                  <a:lnTo>
                    <a:pt x="486" y="498"/>
                  </a:lnTo>
                  <a:lnTo>
                    <a:pt x="492" y="498"/>
                  </a:lnTo>
                  <a:lnTo>
                    <a:pt x="486" y="480"/>
                  </a:lnTo>
                  <a:lnTo>
                    <a:pt x="492" y="462"/>
                  </a:lnTo>
                  <a:lnTo>
                    <a:pt x="498" y="444"/>
                  </a:lnTo>
                  <a:lnTo>
                    <a:pt x="498" y="426"/>
                  </a:lnTo>
                  <a:lnTo>
                    <a:pt x="498" y="420"/>
                  </a:lnTo>
                  <a:lnTo>
                    <a:pt x="504" y="426"/>
                  </a:lnTo>
                  <a:lnTo>
                    <a:pt x="504" y="420"/>
                  </a:lnTo>
                  <a:lnTo>
                    <a:pt x="510" y="420"/>
                  </a:lnTo>
                  <a:lnTo>
                    <a:pt x="510" y="414"/>
                  </a:lnTo>
                  <a:lnTo>
                    <a:pt x="510" y="408"/>
                  </a:lnTo>
                  <a:lnTo>
                    <a:pt x="504" y="402"/>
                  </a:lnTo>
                  <a:lnTo>
                    <a:pt x="504" y="396"/>
                  </a:lnTo>
                  <a:lnTo>
                    <a:pt x="504" y="384"/>
                  </a:lnTo>
                  <a:lnTo>
                    <a:pt x="504" y="378"/>
                  </a:lnTo>
                  <a:lnTo>
                    <a:pt x="504" y="360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510" y="348"/>
                  </a:lnTo>
                  <a:lnTo>
                    <a:pt x="510" y="336"/>
                  </a:lnTo>
                  <a:lnTo>
                    <a:pt x="516" y="330"/>
                  </a:lnTo>
                  <a:lnTo>
                    <a:pt x="522" y="324"/>
                  </a:lnTo>
                  <a:lnTo>
                    <a:pt x="528" y="318"/>
                  </a:lnTo>
                  <a:lnTo>
                    <a:pt x="534" y="312"/>
                  </a:lnTo>
                  <a:lnTo>
                    <a:pt x="534" y="300"/>
                  </a:lnTo>
                  <a:lnTo>
                    <a:pt x="540" y="294"/>
                  </a:lnTo>
                  <a:lnTo>
                    <a:pt x="546" y="288"/>
                  </a:lnTo>
                  <a:lnTo>
                    <a:pt x="552" y="276"/>
                  </a:lnTo>
                  <a:lnTo>
                    <a:pt x="558" y="264"/>
                  </a:lnTo>
                  <a:lnTo>
                    <a:pt x="558" y="258"/>
                  </a:lnTo>
                  <a:lnTo>
                    <a:pt x="558" y="252"/>
                  </a:lnTo>
                  <a:lnTo>
                    <a:pt x="558" y="246"/>
                  </a:lnTo>
                  <a:lnTo>
                    <a:pt x="564" y="246"/>
                  </a:lnTo>
                  <a:lnTo>
                    <a:pt x="564" y="240"/>
                  </a:lnTo>
                  <a:lnTo>
                    <a:pt x="570" y="234"/>
                  </a:lnTo>
                  <a:lnTo>
                    <a:pt x="564" y="216"/>
                  </a:lnTo>
                  <a:lnTo>
                    <a:pt x="564" y="210"/>
                  </a:lnTo>
                  <a:lnTo>
                    <a:pt x="570" y="210"/>
                  </a:lnTo>
                  <a:lnTo>
                    <a:pt x="570" y="204"/>
                  </a:lnTo>
                  <a:lnTo>
                    <a:pt x="570" y="198"/>
                  </a:lnTo>
                  <a:lnTo>
                    <a:pt x="582" y="180"/>
                  </a:lnTo>
                  <a:lnTo>
                    <a:pt x="582" y="174"/>
                  </a:lnTo>
                  <a:lnTo>
                    <a:pt x="582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606" y="150"/>
                  </a:lnTo>
                  <a:lnTo>
                    <a:pt x="612" y="150"/>
                  </a:lnTo>
                  <a:lnTo>
                    <a:pt x="618" y="150"/>
                  </a:lnTo>
                  <a:lnTo>
                    <a:pt x="624" y="138"/>
                  </a:lnTo>
                  <a:lnTo>
                    <a:pt x="618" y="132"/>
                  </a:lnTo>
                  <a:lnTo>
                    <a:pt x="618" y="126"/>
                  </a:lnTo>
                  <a:lnTo>
                    <a:pt x="618" y="120"/>
                  </a:lnTo>
                  <a:lnTo>
                    <a:pt x="618" y="114"/>
                  </a:lnTo>
                  <a:lnTo>
                    <a:pt x="612" y="108"/>
                  </a:lnTo>
                  <a:lnTo>
                    <a:pt x="612" y="102"/>
                  </a:lnTo>
                  <a:lnTo>
                    <a:pt x="618" y="90"/>
                  </a:lnTo>
                  <a:lnTo>
                    <a:pt x="624" y="84"/>
                  </a:lnTo>
                  <a:lnTo>
                    <a:pt x="618" y="84"/>
                  </a:lnTo>
                  <a:lnTo>
                    <a:pt x="618" y="78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0" y="72"/>
                  </a:lnTo>
                  <a:lnTo>
                    <a:pt x="600" y="66"/>
                  </a:lnTo>
                  <a:lnTo>
                    <a:pt x="600" y="60"/>
                  </a:lnTo>
                  <a:lnTo>
                    <a:pt x="600" y="48"/>
                  </a:lnTo>
                  <a:lnTo>
                    <a:pt x="612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36"/>
                  </a:lnTo>
                  <a:lnTo>
                    <a:pt x="630" y="30"/>
                  </a:lnTo>
                  <a:lnTo>
                    <a:pt x="636" y="24"/>
                  </a:lnTo>
                  <a:lnTo>
                    <a:pt x="642" y="24"/>
                  </a:lnTo>
                  <a:lnTo>
                    <a:pt x="648" y="24"/>
                  </a:lnTo>
                  <a:lnTo>
                    <a:pt x="648" y="18"/>
                  </a:lnTo>
                  <a:lnTo>
                    <a:pt x="654" y="12"/>
                  </a:lnTo>
                  <a:lnTo>
                    <a:pt x="660" y="0"/>
                  </a:lnTo>
                  <a:lnTo>
                    <a:pt x="678" y="0"/>
                  </a:lnTo>
                  <a:lnTo>
                    <a:pt x="696" y="0"/>
                  </a:lnTo>
                  <a:lnTo>
                    <a:pt x="702" y="0"/>
                  </a:lnTo>
                  <a:lnTo>
                    <a:pt x="714" y="0"/>
                  </a:lnTo>
                  <a:lnTo>
                    <a:pt x="720" y="6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44" y="24"/>
                  </a:lnTo>
                  <a:lnTo>
                    <a:pt x="744" y="30"/>
                  </a:lnTo>
                  <a:lnTo>
                    <a:pt x="732" y="42"/>
                  </a:lnTo>
                  <a:lnTo>
                    <a:pt x="726" y="42"/>
                  </a:lnTo>
                  <a:lnTo>
                    <a:pt x="720" y="42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54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90"/>
                  </a:lnTo>
                  <a:lnTo>
                    <a:pt x="726" y="84"/>
                  </a:lnTo>
                  <a:lnTo>
                    <a:pt x="738" y="84"/>
                  </a:lnTo>
                  <a:lnTo>
                    <a:pt x="750" y="96"/>
                  </a:lnTo>
                  <a:lnTo>
                    <a:pt x="768" y="96"/>
                  </a:lnTo>
                  <a:lnTo>
                    <a:pt x="768" y="90"/>
                  </a:lnTo>
                  <a:lnTo>
                    <a:pt x="774" y="84"/>
                  </a:lnTo>
                  <a:lnTo>
                    <a:pt x="780" y="78"/>
                  </a:lnTo>
                  <a:lnTo>
                    <a:pt x="786" y="78"/>
                  </a:lnTo>
                  <a:lnTo>
                    <a:pt x="792" y="72"/>
                  </a:lnTo>
                  <a:lnTo>
                    <a:pt x="804" y="72"/>
                  </a:lnTo>
                  <a:lnTo>
                    <a:pt x="804" y="66"/>
                  </a:lnTo>
                  <a:lnTo>
                    <a:pt x="810" y="66"/>
                  </a:lnTo>
                  <a:lnTo>
                    <a:pt x="810" y="72"/>
                  </a:lnTo>
                  <a:lnTo>
                    <a:pt x="816" y="66"/>
                  </a:lnTo>
                  <a:lnTo>
                    <a:pt x="828" y="66"/>
                  </a:lnTo>
                  <a:lnTo>
                    <a:pt x="834" y="72"/>
                  </a:lnTo>
                  <a:lnTo>
                    <a:pt x="840" y="72"/>
                  </a:lnTo>
                  <a:lnTo>
                    <a:pt x="840" y="78"/>
                  </a:lnTo>
                  <a:lnTo>
                    <a:pt x="840" y="84"/>
                  </a:lnTo>
                  <a:lnTo>
                    <a:pt x="852" y="84"/>
                  </a:lnTo>
                  <a:lnTo>
                    <a:pt x="858" y="96"/>
                  </a:lnTo>
                  <a:lnTo>
                    <a:pt x="864" y="108"/>
                  </a:lnTo>
                  <a:lnTo>
                    <a:pt x="876" y="114"/>
                  </a:lnTo>
                  <a:lnTo>
                    <a:pt x="894" y="114"/>
                  </a:lnTo>
                  <a:lnTo>
                    <a:pt x="906" y="114"/>
                  </a:lnTo>
                  <a:lnTo>
                    <a:pt x="906" y="126"/>
                  </a:lnTo>
                  <a:lnTo>
                    <a:pt x="912" y="144"/>
                  </a:lnTo>
                  <a:lnTo>
                    <a:pt x="930" y="138"/>
                  </a:lnTo>
                  <a:lnTo>
                    <a:pt x="936" y="138"/>
                  </a:lnTo>
                  <a:lnTo>
                    <a:pt x="942" y="144"/>
                  </a:lnTo>
                  <a:lnTo>
                    <a:pt x="948" y="150"/>
                  </a:lnTo>
                  <a:lnTo>
                    <a:pt x="954" y="156"/>
                  </a:lnTo>
                  <a:lnTo>
                    <a:pt x="954" y="168"/>
                  </a:lnTo>
                  <a:lnTo>
                    <a:pt x="954" y="174"/>
                  </a:lnTo>
                  <a:lnTo>
                    <a:pt x="960" y="180"/>
                  </a:lnTo>
                  <a:lnTo>
                    <a:pt x="966" y="186"/>
                  </a:lnTo>
                  <a:lnTo>
                    <a:pt x="960" y="186"/>
                  </a:lnTo>
                  <a:lnTo>
                    <a:pt x="966" y="192"/>
                  </a:lnTo>
                  <a:lnTo>
                    <a:pt x="966" y="198"/>
                  </a:lnTo>
                  <a:lnTo>
                    <a:pt x="978" y="204"/>
                  </a:lnTo>
                  <a:lnTo>
                    <a:pt x="1050" y="186"/>
                  </a:lnTo>
                  <a:lnTo>
                    <a:pt x="1056" y="198"/>
                  </a:lnTo>
                  <a:lnTo>
                    <a:pt x="1068" y="210"/>
                  </a:lnTo>
                  <a:lnTo>
                    <a:pt x="1074" y="216"/>
                  </a:lnTo>
                  <a:lnTo>
                    <a:pt x="1080" y="252"/>
                  </a:lnTo>
                  <a:lnTo>
                    <a:pt x="1086" y="270"/>
                  </a:lnTo>
                  <a:lnTo>
                    <a:pt x="1092" y="282"/>
                  </a:lnTo>
                  <a:lnTo>
                    <a:pt x="1086" y="300"/>
                  </a:lnTo>
                  <a:lnTo>
                    <a:pt x="1074" y="330"/>
                  </a:lnTo>
                  <a:lnTo>
                    <a:pt x="1068" y="336"/>
                  </a:lnTo>
                  <a:lnTo>
                    <a:pt x="1062" y="348"/>
                  </a:lnTo>
                  <a:lnTo>
                    <a:pt x="1062" y="360"/>
                  </a:lnTo>
                  <a:lnTo>
                    <a:pt x="1068" y="378"/>
                  </a:lnTo>
                  <a:lnTo>
                    <a:pt x="1074" y="390"/>
                  </a:lnTo>
                  <a:lnTo>
                    <a:pt x="1068" y="396"/>
                  </a:lnTo>
                  <a:lnTo>
                    <a:pt x="1068" y="408"/>
                  </a:lnTo>
                  <a:lnTo>
                    <a:pt x="1062" y="414"/>
                  </a:lnTo>
                  <a:lnTo>
                    <a:pt x="1050" y="432"/>
                  </a:lnTo>
                  <a:lnTo>
                    <a:pt x="1044" y="450"/>
                  </a:lnTo>
                  <a:lnTo>
                    <a:pt x="1038" y="456"/>
                  </a:lnTo>
                  <a:lnTo>
                    <a:pt x="1026" y="468"/>
                  </a:lnTo>
                  <a:lnTo>
                    <a:pt x="1026" y="474"/>
                  </a:lnTo>
                  <a:lnTo>
                    <a:pt x="1026" y="480"/>
                  </a:lnTo>
                  <a:lnTo>
                    <a:pt x="1032" y="492"/>
                  </a:lnTo>
                  <a:lnTo>
                    <a:pt x="1044" y="504"/>
                  </a:lnTo>
                  <a:lnTo>
                    <a:pt x="1044" y="516"/>
                  </a:lnTo>
                  <a:lnTo>
                    <a:pt x="1038" y="528"/>
                  </a:lnTo>
                  <a:lnTo>
                    <a:pt x="1032" y="546"/>
                  </a:lnTo>
                  <a:lnTo>
                    <a:pt x="1032" y="570"/>
                  </a:lnTo>
                  <a:lnTo>
                    <a:pt x="1050" y="594"/>
                  </a:lnTo>
                  <a:lnTo>
                    <a:pt x="1056" y="624"/>
                  </a:lnTo>
                  <a:lnTo>
                    <a:pt x="1056" y="65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9" name="Freeform 24">
              <a:extLst>
                <a:ext uri="{FF2B5EF4-FFF2-40B4-BE49-F238E27FC236}">
                  <a16:creationId xmlns:a16="http://schemas.microsoft.com/office/drawing/2014/main" id="{CAE689DA-332A-4F73-BDE6-8865C9170AA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84829" y="3213406"/>
              <a:ext cx="851989" cy="744754"/>
            </a:xfrm>
            <a:custGeom>
              <a:avLst/>
              <a:gdLst>
                <a:gd name="T0" fmla="*/ 116 w 1602"/>
                <a:gd name="T1" fmla="*/ 91 h 1404"/>
                <a:gd name="T2" fmla="*/ 111 w 1602"/>
                <a:gd name="T3" fmla="*/ 95 h 1404"/>
                <a:gd name="T4" fmla="*/ 102 w 1602"/>
                <a:gd name="T5" fmla="*/ 101 h 1404"/>
                <a:gd name="T6" fmla="*/ 99 w 1602"/>
                <a:gd name="T7" fmla="*/ 103 h 1404"/>
                <a:gd name="T8" fmla="*/ 96 w 1602"/>
                <a:gd name="T9" fmla="*/ 106 h 1404"/>
                <a:gd name="T10" fmla="*/ 93 w 1602"/>
                <a:gd name="T11" fmla="*/ 108 h 1404"/>
                <a:gd name="T12" fmla="*/ 88 w 1602"/>
                <a:gd name="T13" fmla="*/ 106 h 1404"/>
                <a:gd name="T14" fmla="*/ 86 w 1602"/>
                <a:gd name="T15" fmla="*/ 108 h 1404"/>
                <a:gd name="T16" fmla="*/ 81 w 1602"/>
                <a:gd name="T17" fmla="*/ 119 h 1404"/>
                <a:gd name="T18" fmla="*/ 71 w 1602"/>
                <a:gd name="T19" fmla="*/ 109 h 1404"/>
                <a:gd name="T20" fmla="*/ 72 w 1602"/>
                <a:gd name="T21" fmla="*/ 101 h 1404"/>
                <a:gd name="T22" fmla="*/ 74 w 1602"/>
                <a:gd name="T23" fmla="*/ 93 h 1404"/>
                <a:gd name="T24" fmla="*/ 73 w 1602"/>
                <a:gd name="T25" fmla="*/ 82 h 1404"/>
                <a:gd name="T26" fmla="*/ 64 w 1602"/>
                <a:gd name="T27" fmla="*/ 79 h 1404"/>
                <a:gd name="T28" fmla="*/ 59 w 1602"/>
                <a:gd name="T29" fmla="*/ 75 h 1404"/>
                <a:gd name="T30" fmla="*/ 54 w 1602"/>
                <a:gd name="T31" fmla="*/ 71 h 1404"/>
                <a:gd name="T32" fmla="*/ 51 w 1602"/>
                <a:gd name="T33" fmla="*/ 70 h 1404"/>
                <a:gd name="T34" fmla="*/ 45 w 1602"/>
                <a:gd name="T35" fmla="*/ 71 h 1404"/>
                <a:gd name="T36" fmla="*/ 43 w 1602"/>
                <a:gd name="T37" fmla="*/ 68 h 1404"/>
                <a:gd name="T38" fmla="*/ 43 w 1602"/>
                <a:gd name="T39" fmla="*/ 64 h 1404"/>
                <a:gd name="T40" fmla="*/ 36 w 1602"/>
                <a:gd name="T41" fmla="*/ 66 h 1404"/>
                <a:gd name="T42" fmla="*/ 31 w 1602"/>
                <a:gd name="T43" fmla="*/ 55 h 1404"/>
                <a:gd name="T44" fmla="*/ 25 w 1602"/>
                <a:gd name="T45" fmla="*/ 53 h 1404"/>
                <a:gd name="T46" fmla="*/ 19 w 1602"/>
                <a:gd name="T47" fmla="*/ 51 h 1404"/>
                <a:gd name="T48" fmla="*/ 17 w 1602"/>
                <a:gd name="T49" fmla="*/ 43 h 1404"/>
                <a:gd name="T50" fmla="*/ 17 w 1602"/>
                <a:gd name="T51" fmla="*/ 39 h 1404"/>
                <a:gd name="T52" fmla="*/ 12 w 1602"/>
                <a:gd name="T53" fmla="*/ 39 h 1404"/>
                <a:gd name="T54" fmla="*/ 10 w 1602"/>
                <a:gd name="T55" fmla="*/ 35 h 1404"/>
                <a:gd name="T56" fmla="*/ 5 w 1602"/>
                <a:gd name="T57" fmla="*/ 30 h 1404"/>
                <a:gd name="T58" fmla="*/ 3 w 1602"/>
                <a:gd name="T59" fmla="*/ 27 h 1404"/>
                <a:gd name="T60" fmla="*/ 2 w 1602"/>
                <a:gd name="T61" fmla="*/ 25 h 1404"/>
                <a:gd name="T62" fmla="*/ 0 w 1602"/>
                <a:gd name="T63" fmla="*/ 22 h 1404"/>
                <a:gd name="T64" fmla="*/ 8 w 1602"/>
                <a:gd name="T65" fmla="*/ 14 h 1404"/>
                <a:gd name="T66" fmla="*/ 16 w 1602"/>
                <a:gd name="T67" fmla="*/ 16 h 1404"/>
                <a:gd name="T68" fmla="*/ 31 w 1602"/>
                <a:gd name="T69" fmla="*/ 18 h 1404"/>
                <a:gd name="T70" fmla="*/ 43 w 1602"/>
                <a:gd name="T71" fmla="*/ 17 h 1404"/>
                <a:gd name="T72" fmla="*/ 47 w 1602"/>
                <a:gd name="T73" fmla="*/ 6 h 1404"/>
                <a:gd name="T74" fmla="*/ 52 w 1602"/>
                <a:gd name="T75" fmla="*/ 0 h 1404"/>
                <a:gd name="T76" fmla="*/ 55 w 1602"/>
                <a:gd name="T77" fmla="*/ 3 h 1404"/>
                <a:gd name="T78" fmla="*/ 59 w 1602"/>
                <a:gd name="T79" fmla="*/ 9 h 1404"/>
                <a:gd name="T80" fmla="*/ 62 w 1602"/>
                <a:gd name="T81" fmla="*/ 16 h 1404"/>
                <a:gd name="T82" fmla="*/ 66 w 1602"/>
                <a:gd name="T83" fmla="*/ 20 h 1404"/>
                <a:gd name="T84" fmla="*/ 70 w 1602"/>
                <a:gd name="T85" fmla="*/ 25 h 1404"/>
                <a:gd name="T86" fmla="*/ 74 w 1602"/>
                <a:gd name="T87" fmla="*/ 30 h 1404"/>
                <a:gd name="T88" fmla="*/ 76 w 1602"/>
                <a:gd name="T89" fmla="*/ 27 h 1404"/>
                <a:gd name="T90" fmla="*/ 78 w 1602"/>
                <a:gd name="T91" fmla="*/ 27 h 1404"/>
                <a:gd name="T92" fmla="*/ 78 w 1602"/>
                <a:gd name="T93" fmla="*/ 23 h 1404"/>
                <a:gd name="T94" fmla="*/ 82 w 1602"/>
                <a:gd name="T95" fmla="*/ 20 h 1404"/>
                <a:gd name="T96" fmla="*/ 82 w 1602"/>
                <a:gd name="T97" fmla="*/ 18 h 1404"/>
                <a:gd name="T98" fmla="*/ 90 w 1602"/>
                <a:gd name="T99" fmla="*/ 24 h 1404"/>
                <a:gd name="T100" fmla="*/ 90 w 1602"/>
                <a:gd name="T101" fmla="*/ 45 h 1404"/>
                <a:gd name="T102" fmla="*/ 104 w 1602"/>
                <a:gd name="T103" fmla="*/ 41 h 1404"/>
                <a:gd name="T104" fmla="*/ 117 w 1602"/>
                <a:gd name="T105" fmla="*/ 39 h 1404"/>
                <a:gd name="T106" fmla="*/ 125 w 1602"/>
                <a:gd name="T107" fmla="*/ 39 h 1404"/>
                <a:gd name="T108" fmla="*/ 127 w 1602"/>
                <a:gd name="T109" fmla="*/ 43 h 1404"/>
                <a:gd name="T110" fmla="*/ 131 w 1602"/>
                <a:gd name="T111" fmla="*/ 53 h 1404"/>
                <a:gd name="T112" fmla="*/ 133 w 1602"/>
                <a:gd name="T113" fmla="*/ 60 h 1404"/>
                <a:gd name="T114" fmla="*/ 138 w 1602"/>
                <a:gd name="T115" fmla="*/ 73 h 1404"/>
                <a:gd name="T116" fmla="*/ 136 w 1602"/>
                <a:gd name="T117" fmla="*/ 80 h 1404"/>
                <a:gd name="T118" fmla="*/ 129 w 1602"/>
                <a:gd name="T119" fmla="*/ 87 h 1404"/>
                <a:gd name="T120" fmla="*/ 123 w 1602"/>
                <a:gd name="T121" fmla="*/ 95 h 14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02"/>
                <a:gd name="T184" fmla="*/ 0 h 1404"/>
                <a:gd name="T185" fmla="*/ 1602 w 1602"/>
                <a:gd name="T186" fmla="*/ 1404 h 14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02" h="1404">
                  <a:moveTo>
                    <a:pt x="1392" y="1080"/>
                  </a:moveTo>
                  <a:lnTo>
                    <a:pt x="1380" y="1074"/>
                  </a:lnTo>
                  <a:lnTo>
                    <a:pt x="1368" y="1056"/>
                  </a:lnTo>
                  <a:lnTo>
                    <a:pt x="1356" y="1044"/>
                  </a:lnTo>
                  <a:lnTo>
                    <a:pt x="1344" y="1038"/>
                  </a:lnTo>
                  <a:lnTo>
                    <a:pt x="1338" y="1038"/>
                  </a:lnTo>
                  <a:lnTo>
                    <a:pt x="1332" y="1038"/>
                  </a:lnTo>
                  <a:lnTo>
                    <a:pt x="1326" y="1044"/>
                  </a:lnTo>
                  <a:lnTo>
                    <a:pt x="1320" y="1044"/>
                  </a:lnTo>
                  <a:lnTo>
                    <a:pt x="1314" y="1044"/>
                  </a:lnTo>
                  <a:lnTo>
                    <a:pt x="1296" y="1056"/>
                  </a:lnTo>
                  <a:lnTo>
                    <a:pt x="1296" y="1080"/>
                  </a:lnTo>
                  <a:lnTo>
                    <a:pt x="1290" y="1080"/>
                  </a:lnTo>
                  <a:lnTo>
                    <a:pt x="1284" y="1086"/>
                  </a:lnTo>
                  <a:lnTo>
                    <a:pt x="1278" y="1086"/>
                  </a:lnTo>
                  <a:lnTo>
                    <a:pt x="1278" y="1092"/>
                  </a:lnTo>
                  <a:lnTo>
                    <a:pt x="1272" y="1092"/>
                  </a:lnTo>
                  <a:lnTo>
                    <a:pt x="1266" y="1086"/>
                  </a:lnTo>
                  <a:lnTo>
                    <a:pt x="1260" y="1086"/>
                  </a:lnTo>
                  <a:lnTo>
                    <a:pt x="1260" y="1098"/>
                  </a:lnTo>
                  <a:lnTo>
                    <a:pt x="1248" y="1098"/>
                  </a:lnTo>
                  <a:lnTo>
                    <a:pt x="1212" y="1116"/>
                  </a:lnTo>
                  <a:lnTo>
                    <a:pt x="1206" y="1158"/>
                  </a:lnTo>
                  <a:lnTo>
                    <a:pt x="1176" y="1164"/>
                  </a:lnTo>
                  <a:lnTo>
                    <a:pt x="1158" y="1164"/>
                  </a:lnTo>
                  <a:lnTo>
                    <a:pt x="1152" y="1164"/>
                  </a:lnTo>
                  <a:lnTo>
                    <a:pt x="1152" y="1170"/>
                  </a:lnTo>
                  <a:lnTo>
                    <a:pt x="1152" y="1176"/>
                  </a:lnTo>
                  <a:lnTo>
                    <a:pt x="1146" y="1176"/>
                  </a:lnTo>
                  <a:lnTo>
                    <a:pt x="1140" y="1176"/>
                  </a:lnTo>
                  <a:lnTo>
                    <a:pt x="1134" y="1182"/>
                  </a:lnTo>
                  <a:lnTo>
                    <a:pt x="1134" y="1188"/>
                  </a:lnTo>
                  <a:lnTo>
                    <a:pt x="1128" y="1194"/>
                  </a:lnTo>
                  <a:lnTo>
                    <a:pt x="1122" y="1194"/>
                  </a:lnTo>
                  <a:lnTo>
                    <a:pt x="1116" y="1194"/>
                  </a:lnTo>
                  <a:lnTo>
                    <a:pt x="1110" y="1200"/>
                  </a:lnTo>
                  <a:lnTo>
                    <a:pt x="1110" y="1206"/>
                  </a:lnTo>
                  <a:lnTo>
                    <a:pt x="1104" y="1212"/>
                  </a:lnTo>
                  <a:lnTo>
                    <a:pt x="1104" y="1218"/>
                  </a:lnTo>
                  <a:lnTo>
                    <a:pt x="1098" y="1224"/>
                  </a:lnTo>
                  <a:lnTo>
                    <a:pt x="1092" y="1230"/>
                  </a:lnTo>
                  <a:lnTo>
                    <a:pt x="1086" y="1230"/>
                  </a:lnTo>
                  <a:lnTo>
                    <a:pt x="1080" y="1230"/>
                  </a:lnTo>
                  <a:lnTo>
                    <a:pt x="1080" y="1242"/>
                  </a:lnTo>
                  <a:lnTo>
                    <a:pt x="1074" y="1242"/>
                  </a:lnTo>
                  <a:lnTo>
                    <a:pt x="1068" y="1242"/>
                  </a:lnTo>
                  <a:lnTo>
                    <a:pt x="1068" y="1236"/>
                  </a:lnTo>
                  <a:lnTo>
                    <a:pt x="1062" y="1242"/>
                  </a:lnTo>
                  <a:lnTo>
                    <a:pt x="1056" y="1236"/>
                  </a:lnTo>
                  <a:lnTo>
                    <a:pt x="1050" y="1242"/>
                  </a:lnTo>
                  <a:lnTo>
                    <a:pt x="1050" y="1236"/>
                  </a:lnTo>
                  <a:lnTo>
                    <a:pt x="1044" y="1194"/>
                  </a:lnTo>
                  <a:lnTo>
                    <a:pt x="1032" y="1194"/>
                  </a:lnTo>
                  <a:lnTo>
                    <a:pt x="1032" y="1200"/>
                  </a:lnTo>
                  <a:lnTo>
                    <a:pt x="1026" y="1200"/>
                  </a:lnTo>
                  <a:lnTo>
                    <a:pt x="1014" y="1218"/>
                  </a:lnTo>
                  <a:lnTo>
                    <a:pt x="1014" y="1224"/>
                  </a:lnTo>
                  <a:lnTo>
                    <a:pt x="1014" y="1236"/>
                  </a:lnTo>
                  <a:lnTo>
                    <a:pt x="1014" y="1242"/>
                  </a:lnTo>
                  <a:lnTo>
                    <a:pt x="1008" y="1242"/>
                  </a:lnTo>
                  <a:lnTo>
                    <a:pt x="1002" y="1236"/>
                  </a:lnTo>
                  <a:lnTo>
                    <a:pt x="1002" y="1230"/>
                  </a:lnTo>
                  <a:lnTo>
                    <a:pt x="996" y="1236"/>
                  </a:lnTo>
                  <a:lnTo>
                    <a:pt x="990" y="1236"/>
                  </a:lnTo>
                  <a:lnTo>
                    <a:pt x="990" y="1230"/>
                  </a:lnTo>
                  <a:lnTo>
                    <a:pt x="984" y="1236"/>
                  </a:lnTo>
                  <a:lnTo>
                    <a:pt x="978" y="1248"/>
                  </a:lnTo>
                  <a:lnTo>
                    <a:pt x="972" y="1254"/>
                  </a:lnTo>
                  <a:lnTo>
                    <a:pt x="966" y="1260"/>
                  </a:lnTo>
                  <a:lnTo>
                    <a:pt x="930" y="1284"/>
                  </a:lnTo>
                  <a:lnTo>
                    <a:pt x="942" y="1356"/>
                  </a:lnTo>
                  <a:lnTo>
                    <a:pt x="930" y="1368"/>
                  </a:lnTo>
                  <a:lnTo>
                    <a:pt x="852" y="1404"/>
                  </a:lnTo>
                  <a:lnTo>
                    <a:pt x="834" y="1392"/>
                  </a:lnTo>
                  <a:lnTo>
                    <a:pt x="834" y="1362"/>
                  </a:lnTo>
                  <a:lnTo>
                    <a:pt x="828" y="1332"/>
                  </a:lnTo>
                  <a:lnTo>
                    <a:pt x="810" y="1308"/>
                  </a:lnTo>
                  <a:lnTo>
                    <a:pt x="810" y="1284"/>
                  </a:lnTo>
                  <a:lnTo>
                    <a:pt x="816" y="1266"/>
                  </a:lnTo>
                  <a:lnTo>
                    <a:pt x="822" y="1254"/>
                  </a:lnTo>
                  <a:lnTo>
                    <a:pt x="822" y="1242"/>
                  </a:lnTo>
                  <a:lnTo>
                    <a:pt x="810" y="1230"/>
                  </a:lnTo>
                  <a:lnTo>
                    <a:pt x="804" y="1218"/>
                  </a:lnTo>
                  <a:lnTo>
                    <a:pt x="804" y="1212"/>
                  </a:lnTo>
                  <a:lnTo>
                    <a:pt x="804" y="1206"/>
                  </a:lnTo>
                  <a:lnTo>
                    <a:pt x="816" y="1194"/>
                  </a:lnTo>
                  <a:lnTo>
                    <a:pt x="822" y="1188"/>
                  </a:lnTo>
                  <a:lnTo>
                    <a:pt x="828" y="1170"/>
                  </a:lnTo>
                  <a:lnTo>
                    <a:pt x="840" y="1152"/>
                  </a:lnTo>
                  <a:lnTo>
                    <a:pt x="846" y="1146"/>
                  </a:lnTo>
                  <a:lnTo>
                    <a:pt x="846" y="1134"/>
                  </a:lnTo>
                  <a:lnTo>
                    <a:pt x="852" y="1128"/>
                  </a:lnTo>
                  <a:lnTo>
                    <a:pt x="846" y="1116"/>
                  </a:lnTo>
                  <a:lnTo>
                    <a:pt x="840" y="1098"/>
                  </a:lnTo>
                  <a:lnTo>
                    <a:pt x="840" y="1086"/>
                  </a:lnTo>
                  <a:lnTo>
                    <a:pt x="846" y="1074"/>
                  </a:lnTo>
                  <a:lnTo>
                    <a:pt x="852" y="1068"/>
                  </a:lnTo>
                  <a:lnTo>
                    <a:pt x="864" y="1038"/>
                  </a:lnTo>
                  <a:lnTo>
                    <a:pt x="870" y="1020"/>
                  </a:lnTo>
                  <a:lnTo>
                    <a:pt x="864" y="1008"/>
                  </a:lnTo>
                  <a:lnTo>
                    <a:pt x="858" y="990"/>
                  </a:lnTo>
                  <a:lnTo>
                    <a:pt x="852" y="954"/>
                  </a:lnTo>
                  <a:lnTo>
                    <a:pt x="846" y="948"/>
                  </a:lnTo>
                  <a:lnTo>
                    <a:pt x="834" y="936"/>
                  </a:lnTo>
                  <a:lnTo>
                    <a:pt x="828" y="924"/>
                  </a:lnTo>
                  <a:lnTo>
                    <a:pt x="756" y="942"/>
                  </a:lnTo>
                  <a:lnTo>
                    <a:pt x="744" y="936"/>
                  </a:lnTo>
                  <a:lnTo>
                    <a:pt x="744" y="930"/>
                  </a:lnTo>
                  <a:lnTo>
                    <a:pt x="738" y="924"/>
                  </a:lnTo>
                  <a:lnTo>
                    <a:pt x="744" y="924"/>
                  </a:lnTo>
                  <a:lnTo>
                    <a:pt x="738" y="918"/>
                  </a:lnTo>
                  <a:lnTo>
                    <a:pt x="732" y="912"/>
                  </a:lnTo>
                  <a:lnTo>
                    <a:pt x="732" y="906"/>
                  </a:lnTo>
                  <a:lnTo>
                    <a:pt x="732" y="894"/>
                  </a:lnTo>
                  <a:lnTo>
                    <a:pt x="726" y="888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6"/>
                  </a:lnTo>
                  <a:lnTo>
                    <a:pt x="690" y="882"/>
                  </a:lnTo>
                  <a:lnTo>
                    <a:pt x="684" y="864"/>
                  </a:lnTo>
                  <a:lnTo>
                    <a:pt x="684" y="852"/>
                  </a:lnTo>
                  <a:lnTo>
                    <a:pt x="672" y="852"/>
                  </a:lnTo>
                  <a:lnTo>
                    <a:pt x="654" y="852"/>
                  </a:lnTo>
                  <a:lnTo>
                    <a:pt x="642" y="846"/>
                  </a:lnTo>
                  <a:lnTo>
                    <a:pt x="636" y="834"/>
                  </a:lnTo>
                  <a:lnTo>
                    <a:pt x="630" y="822"/>
                  </a:lnTo>
                  <a:lnTo>
                    <a:pt x="618" y="822"/>
                  </a:lnTo>
                  <a:lnTo>
                    <a:pt x="618" y="816"/>
                  </a:lnTo>
                  <a:lnTo>
                    <a:pt x="618" y="810"/>
                  </a:lnTo>
                  <a:lnTo>
                    <a:pt x="612" y="810"/>
                  </a:lnTo>
                  <a:lnTo>
                    <a:pt x="606" y="804"/>
                  </a:lnTo>
                  <a:lnTo>
                    <a:pt x="594" y="804"/>
                  </a:lnTo>
                  <a:lnTo>
                    <a:pt x="588" y="810"/>
                  </a:lnTo>
                  <a:lnTo>
                    <a:pt x="588" y="804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70" y="810"/>
                  </a:lnTo>
                  <a:lnTo>
                    <a:pt x="564" y="816"/>
                  </a:lnTo>
                  <a:lnTo>
                    <a:pt x="558" y="816"/>
                  </a:lnTo>
                  <a:lnTo>
                    <a:pt x="552" y="822"/>
                  </a:lnTo>
                  <a:lnTo>
                    <a:pt x="546" y="828"/>
                  </a:lnTo>
                  <a:lnTo>
                    <a:pt x="546" y="834"/>
                  </a:lnTo>
                  <a:lnTo>
                    <a:pt x="528" y="834"/>
                  </a:lnTo>
                  <a:lnTo>
                    <a:pt x="516" y="822"/>
                  </a:lnTo>
                  <a:lnTo>
                    <a:pt x="504" y="822"/>
                  </a:lnTo>
                  <a:lnTo>
                    <a:pt x="492" y="82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6" y="792"/>
                  </a:lnTo>
                  <a:lnTo>
                    <a:pt x="492" y="786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504" y="780"/>
                  </a:lnTo>
                  <a:lnTo>
                    <a:pt x="510" y="780"/>
                  </a:lnTo>
                  <a:lnTo>
                    <a:pt x="522" y="768"/>
                  </a:lnTo>
                  <a:lnTo>
                    <a:pt x="522" y="762"/>
                  </a:lnTo>
                  <a:lnTo>
                    <a:pt x="504" y="756"/>
                  </a:lnTo>
                  <a:lnTo>
                    <a:pt x="498" y="756"/>
                  </a:lnTo>
                  <a:lnTo>
                    <a:pt x="498" y="744"/>
                  </a:lnTo>
                  <a:lnTo>
                    <a:pt x="492" y="738"/>
                  </a:lnTo>
                  <a:lnTo>
                    <a:pt x="480" y="738"/>
                  </a:lnTo>
                  <a:lnTo>
                    <a:pt x="474" y="738"/>
                  </a:lnTo>
                  <a:lnTo>
                    <a:pt x="456" y="738"/>
                  </a:lnTo>
                  <a:lnTo>
                    <a:pt x="438" y="738"/>
                  </a:lnTo>
                  <a:lnTo>
                    <a:pt x="432" y="750"/>
                  </a:lnTo>
                  <a:lnTo>
                    <a:pt x="426" y="756"/>
                  </a:lnTo>
                  <a:lnTo>
                    <a:pt x="426" y="762"/>
                  </a:lnTo>
                  <a:lnTo>
                    <a:pt x="420" y="762"/>
                  </a:lnTo>
                  <a:lnTo>
                    <a:pt x="408" y="744"/>
                  </a:lnTo>
                  <a:lnTo>
                    <a:pt x="408" y="732"/>
                  </a:lnTo>
                  <a:lnTo>
                    <a:pt x="390" y="714"/>
                  </a:lnTo>
                  <a:lnTo>
                    <a:pt x="384" y="702"/>
                  </a:lnTo>
                  <a:lnTo>
                    <a:pt x="384" y="690"/>
                  </a:lnTo>
                  <a:lnTo>
                    <a:pt x="372" y="690"/>
                  </a:lnTo>
                  <a:lnTo>
                    <a:pt x="366" y="660"/>
                  </a:lnTo>
                  <a:lnTo>
                    <a:pt x="354" y="630"/>
                  </a:lnTo>
                  <a:lnTo>
                    <a:pt x="348" y="630"/>
                  </a:lnTo>
                  <a:lnTo>
                    <a:pt x="336" y="630"/>
                  </a:lnTo>
                  <a:lnTo>
                    <a:pt x="330" y="630"/>
                  </a:lnTo>
                  <a:lnTo>
                    <a:pt x="318" y="630"/>
                  </a:lnTo>
                  <a:lnTo>
                    <a:pt x="312" y="624"/>
                  </a:lnTo>
                  <a:lnTo>
                    <a:pt x="306" y="624"/>
                  </a:lnTo>
                  <a:lnTo>
                    <a:pt x="294" y="618"/>
                  </a:lnTo>
                  <a:lnTo>
                    <a:pt x="288" y="612"/>
                  </a:lnTo>
                  <a:lnTo>
                    <a:pt x="276" y="600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58" y="588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8"/>
                  </a:lnTo>
                  <a:lnTo>
                    <a:pt x="216" y="582"/>
                  </a:lnTo>
                  <a:lnTo>
                    <a:pt x="210" y="588"/>
                  </a:lnTo>
                  <a:lnTo>
                    <a:pt x="198" y="582"/>
                  </a:lnTo>
                  <a:lnTo>
                    <a:pt x="180" y="582"/>
                  </a:lnTo>
                  <a:lnTo>
                    <a:pt x="174" y="552"/>
                  </a:lnTo>
                  <a:lnTo>
                    <a:pt x="168" y="504"/>
                  </a:lnTo>
                  <a:lnTo>
                    <a:pt x="186" y="504"/>
                  </a:lnTo>
                  <a:lnTo>
                    <a:pt x="192" y="504"/>
                  </a:lnTo>
                  <a:lnTo>
                    <a:pt x="192" y="498"/>
                  </a:lnTo>
                  <a:lnTo>
                    <a:pt x="192" y="492"/>
                  </a:lnTo>
                  <a:lnTo>
                    <a:pt x="192" y="486"/>
                  </a:lnTo>
                  <a:lnTo>
                    <a:pt x="198" y="486"/>
                  </a:lnTo>
                  <a:lnTo>
                    <a:pt x="198" y="480"/>
                  </a:lnTo>
                  <a:lnTo>
                    <a:pt x="204" y="474"/>
                  </a:lnTo>
                  <a:lnTo>
                    <a:pt x="210" y="468"/>
                  </a:lnTo>
                  <a:lnTo>
                    <a:pt x="198" y="462"/>
                  </a:lnTo>
                  <a:lnTo>
                    <a:pt x="192" y="444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32"/>
                  </a:lnTo>
                  <a:lnTo>
                    <a:pt x="168" y="438"/>
                  </a:lnTo>
                  <a:lnTo>
                    <a:pt x="150" y="450"/>
                  </a:lnTo>
                  <a:lnTo>
                    <a:pt x="144" y="456"/>
                  </a:lnTo>
                  <a:lnTo>
                    <a:pt x="132" y="456"/>
                  </a:lnTo>
                  <a:lnTo>
                    <a:pt x="126" y="468"/>
                  </a:lnTo>
                  <a:lnTo>
                    <a:pt x="114" y="468"/>
                  </a:lnTo>
                  <a:lnTo>
                    <a:pt x="108" y="468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14"/>
                  </a:lnTo>
                  <a:lnTo>
                    <a:pt x="108" y="396"/>
                  </a:lnTo>
                  <a:lnTo>
                    <a:pt x="120" y="396"/>
                  </a:lnTo>
                  <a:lnTo>
                    <a:pt x="126" y="384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84" y="354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0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60" y="318"/>
                  </a:lnTo>
                  <a:lnTo>
                    <a:pt x="42" y="324"/>
                  </a:lnTo>
                  <a:lnTo>
                    <a:pt x="36" y="318"/>
                  </a:lnTo>
                  <a:lnTo>
                    <a:pt x="36" y="312"/>
                  </a:lnTo>
                  <a:lnTo>
                    <a:pt x="36" y="306"/>
                  </a:lnTo>
                  <a:lnTo>
                    <a:pt x="36" y="300"/>
                  </a:lnTo>
                  <a:lnTo>
                    <a:pt x="30" y="300"/>
                  </a:lnTo>
                  <a:lnTo>
                    <a:pt x="30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24" y="276"/>
                  </a:lnTo>
                  <a:lnTo>
                    <a:pt x="18" y="276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18" y="234"/>
                  </a:lnTo>
                  <a:lnTo>
                    <a:pt x="30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42" y="192"/>
                  </a:lnTo>
                  <a:lnTo>
                    <a:pt x="66" y="186"/>
                  </a:lnTo>
                  <a:lnTo>
                    <a:pt x="90" y="156"/>
                  </a:lnTo>
                  <a:lnTo>
                    <a:pt x="102" y="144"/>
                  </a:lnTo>
                  <a:lnTo>
                    <a:pt x="138" y="150"/>
                  </a:lnTo>
                  <a:lnTo>
                    <a:pt x="162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0" y="180"/>
                  </a:lnTo>
                  <a:lnTo>
                    <a:pt x="174" y="180"/>
                  </a:lnTo>
                  <a:lnTo>
                    <a:pt x="180" y="186"/>
                  </a:lnTo>
                  <a:lnTo>
                    <a:pt x="186" y="186"/>
                  </a:lnTo>
                  <a:lnTo>
                    <a:pt x="198" y="192"/>
                  </a:lnTo>
                  <a:lnTo>
                    <a:pt x="216" y="198"/>
                  </a:lnTo>
                  <a:lnTo>
                    <a:pt x="252" y="204"/>
                  </a:lnTo>
                  <a:lnTo>
                    <a:pt x="258" y="210"/>
                  </a:lnTo>
                  <a:lnTo>
                    <a:pt x="306" y="216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84" y="210"/>
                  </a:lnTo>
                  <a:lnTo>
                    <a:pt x="408" y="222"/>
                  </a:lnTo>
                  <a:lnTo>
                    <a:pt x="438" y="228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86" y="222"/>
                  </a:lnTo>
                  <a:lnTo>
                    <a:pt x="492" y="210"/>
                  </a:lnTo>
                  <a:lnTo>
                    <a:pt x="492" y="198"/>
                  </a:lnTo>
                  <a:lnTo>
                    <a:pt x="486" y="180"/>
                  </a:lnTo>
                  <a:lnTo>
                    <a:pt x="492" y="162"/>
                  </a:lnTo>
                  <a:lnTo>
                    <a:pt x="510" y="96"/>
                  </a:lnTo>
                  <a:lnTo>
                    <a:pt x="516" y="84"/>
                  </a:lnTo>
                  <a:lnTo>
                    <a:pt x="522" y="84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34" y="72"/>
                  </a:lnTo>
                  <a:lnTo>
                    <a:pt x="534" y="60"/>
                  </a:lnTo>
                  <a:lnTo>
                    <a:pt x="540" y="36"/>
                  </a:lnTo>
                  <a:lnTo>
                    <a:pt x="546" y="6"/>
                  </a:lnTo>
                  <a:lnTo>
                    <a:pt x="558" y="6"/>
                  </a:lnTo>
                  <a:lnTo>
                    <a:pt x="564" y="0"/>
                  </a:lnTo>
                  <a:lnTo>
                    <a:pt x="582" y="0"/>
                  </a:lnTo>
                  <a:lnTo>
                    <a:pt x="588" y="0"/>
                  </a:lnTo>
                  <a:lnTo>
                    <a:pt x="594" y="6"/>
                  </a:lnTo>
                  <a:lnTo>
                    <a:pt x="600" y="12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24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36" y="36"/>
                  </a:lnTo>
                  <a:lnTo>
                    <a:pt x="642" y="36"/>
                  </a:lnTo>
                  <a:lnTo>
                    <a:pt x="642" y="42"/>
                  </a:lnTo>
                  <a:lnTo>
                    <a:pt x="648" y="54"/>
                  </a:lnTo>
                  <a:lnTo>
                    <a:pt x="660" y="72"/>
                  </a:lnTo>
                  <a:lnTo>
                    <a:pt x="666" y="78"/>
                  </a:lnTo>
                  <a:lnTo>
                    <a:pt x="672" y="90"/>
                  </a:lnTo>
                  <a:lnTo>
                    <a:pt x="678" y="102"/>
                  </a:lnTo>
                  <a:lnTo>
                    <a:pt x="678" y="114"/>
                  </a:lnTo>
                  <a:lnTo>
                    <a:pt x="684" y="132"/>
                  </a:lnTo>
                  <a:lnTo>
                    <a:pt x="684" y="144"/>
                  </a:lnTo>
                  <a:lnTo>
                    <a:pt x="690" y="162"/>
                  </a:lnTo>
                  <a:lnTo>
                    <a:pt x="696" y="168"/>
                  </a:lnTo>
                  <a:lnTo>
                    <a:pt x="696" y="180"/>
                  </a:lnTo>
                  <a:lnTo>
                    <a:pt x="702" y="186"/>
                  </a:lnTo>
                  <a:lnTo>
                    <a:pt x="708" y="186"/>
                  </a:lnTo>
                  <a:lnTo>
                    <a:pt x="714" y="198"/>
                  </a:lnTo>
                  <a:lnTo>
                    <a:pt x="720" y="198"/>
                  </a:lnTo>
                  <a:lnTo>
                    <a:pt x="732" y="204"/>
                  </a:lnTo>
                  <a:lnTo>
                    <a:pt x="738" y="210"/>
                  </a:lnTo>
                  <a:lnTo>
                    <a:pt x="738" y="216"/>
                  </a:lnTo>
                  <a:lnTo>
                    <a:pt x="744" y="222"/>
                  </a:lnTo>
                  <a:lnTo>
                    <a:pt x="750" y="228"/>
                  </a:lnTo>
                  <a:lnTo>
                    <a:pt x="756" y="228"/>
                  </a:lnTo>
                  <a:lnTo>
                    <a:pt x="768" y="240"/>
                  </a:lnTo>
                  <a:lnTo>
                    <a:pt x="774" y="252"/>
                  </a:lnTo>
                  <a:lnTo>
                    <a:pt x="780" y="258"/>
                  </a:lnTo>
                  <a:lnTo>
                    <a:pt x="786" y="258"/>
                  </a:lnTo>
                  <a:lnTo>
                    <a:pt x="798" y="264"/>
                  </a:lnTo>
                  <a:lnTo>
                    <a:pt x="798" y="270"/>
                  </a:lnTo>
                  <a:lnTo>
                    <a:pt x="798" y="276"/>
                  </a:lnTo>
                  <a:lnTo>
                    <a:pt x="810" y="288"/>
                  </a:lnTo>
                  <a:lnTo>
                    <a:pt x="816" y="288"/>
                  </a:lnTo>
                  <a:lnTo>
                    <a:pt x="816" y="300"/>
                  </a:lnTo>
                  <a:lnTo>
                    <a:pt x="816" y="306"/>
                  </a:lnTo>
                  <a:lnTo>
                    <a:pt x="822" y="318"/>
                  </a:lnTo>
                  <a:lnTo>
                    <a:pt x="828" y="324"/>
                  </a:lnTo>
                  <a:lnTo>
                    <a:pt x="834" y="330"/>
                  </a:lnTo>
                  <a:lnTo>
                    <a:pt x="846" y="336"/>
                  </a:lnTo>
                  <a:lnTo>
                    <a:pt x="846" y="342"/>
                  </a:lnTo>
                  <a:lnTo>
                    <a:pt x="852" y="348"/>
                  </a:lnTo>
                  <a:lnTo>
                    <a:pt x="852" y="354"/>
                  </a:lnTo>
                  <a:lnTo>
                    <a:pt x="858" y="354"/>
                  </a:lnTo>
                  <a:lnTo>
                    <a:pt x="858" y="348"/>
                  </a:lnTo>
                  <a:lnTo>
                    <a:pt x="864" y="342"/>
                  </a:lnTo>
                  <a:lnTo>
                    <a:pt x="864" y="336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76" y="306"/>
                  </a:lnTo>
                  <a:lnTo>
                    <a:pt x="870" y="300"/>
                  </a:lnTo>
                  <a:lnTo>
                    <a:pt x="870" y="294"/>
                  </a:lnTo>
                  <a:lnTo>
                    <a:pt x="876" y="294"/>
                  </a:lnTo>
                  <a:lnTo>
                    <a:pt x="882" y="300"/>
                  </a:lnTo>
                  <a:lnTo>
                    <a:pt x="888" y="300"/>
                  </a:lnTo>
                  <a:lnTo>
                    <a:pt x="888" y="306"/>
                  </a:lnTo>
                  <a:lnTo>
                    <a:pt x="894" y="300"/>
                  </a:lnTo>
                  <a:lnTo>
                    <a:pt x="900" y="294"/>
                  </a:lnTo>
                  <a:lnTo>
                    <a:pt x="894" y="288"/>
                  </a:lnTo>
                  <a:lnTo>
                    <a:pt x="888" y="282"/>
                  </a:lnTo>
                  <a:lnTo>
                    <a:pt x="888" y="276"/>
                  </a:lnTo>
                  <a:lnTo>
                    <a:pt x="894" y="276"/>
                  </a:lnTo>
                  <a:lnTo>
                    <a:pt x="900" y="276"/>
                  </a:lnTo>
                  <a:lnTo>
                    <a:pt x="900" y="270"/>
                  </a:lnTo>
                  <a:lnTo>
                    <a:pt x="906" y="264"/>
                  </a:lnTo>
                  <a:lnTo>
                    <a:pt x="906" y="258"/>
                  </a:lnTo>
                  <a:lnTo>
                    <a:pt x="918" y="264"/>
                  </a:lnTo>
                  <a:lnTo>
                    <a:pt x="918" y="258"/>
                  </a:lnTo>
                  <a:lnTo>
                    <a:pt x="924" y="252"/>
                  </a:lnTo>
                  <a:lnTo>
                    <a:pt x="930" y="252"/>
                  </a:lnTo>
                  <a:lnTo>
                    <a:pt x="930" y="246"/>
                  </a:lnTo>
                  <a:lnTo>
                    <a:pt x="936" y="234"/>
                  </a:lnTo>
                  <a:lnTo>
                    <a:pt x="942" y="228"/>
                  </a:lnTo>
                  <a:lnTo>
                    <a:pt x="942" y="222"/>
                  </a:lnTo>
                  <a:lnTo>
                    <a:pt x="948" y="222"/>
                  </a:lnTo>
                  <a:lnTo>
                    <a:pt x="948" y="216"/>
                  </a:lnTo>
                  <a:lnTo>
                    <a:pt x="942" y="216"/>
                  </a:lnTo>
                  <a:lnTo>
                    <a:pt x="936" y="216"/>
                  </a:lnTo>
                  <a:lnTo>
                    <a:pt x="936" y="210"/>
                  </a:lnTo>
                  <a:lnTo>
                    <a:pt x="942" y="210"/>
                  </a:lnTo>
                  <a:lnTo>
                    <a:pt x="972" y="210"/>
                  </a:lnTo>
                  <a:lnTo>
                    <a:pt x="1032" y="216"/>
                  </a:lnTo>
                  <a:lnTo>
                    <a:pt x="1068" y="216"/>
                  </a:lnTo>
                  <a:lnTo>
                    <a:pt x="1056" y="234"/>
                  </a:lnTo>
                  <a:lnTo>
                    <a:pt x="1050" y="240"/>
                  </a:lnTo>
                  <a:lnTo>
                    <a:pt x="1044" y="246"/>
                  </a:lnTo>
                  <a:lnTo>
                    <a:pt x="1038" y="246"/>
                  </a:lnTo>
                  <a:lnTo>
                    <a:pt x="1026" y="282"/>
                  </a:lnTo>
                  <a:lnTo>
                    <a:pt x="1032" y="306"/>
                  </a:lnTo>
                  <a:lnTo>
                    <a:pt x="1044" y="324"/>
                  </a:lnTo>
                  <a:lnTo>
                    <a:pt x="1044" y="342"/>
                  </a:lnTo>
                  <a:lnTo>
                    <a:pt x="1062" y="366"/>
                  </a:lnTo>
                  <a:lnTo>
                    <a:pt x="1056" y="396"/>
                  </a:lnTo>
                  <a:lnTo>
                    <a:pt x="1038" y="462"/>
                  </a:lnTo>
                  <a:lnTo>
                    <a:pt x="1038" y="498"/>
                  </a:lnTo>
                  <a:lnTo>
                    <a:pt x="1038" y="522"/>
                  </a:lnTo>
                  <a:lnTo>
                    <a:pt x="1038" y="534"/>
                  </a:lnTo>
                  <a:lnTo>
                    <a:pt x="1056" y="522"/>
                  </a:lnTo>
                  <a:lnTo>
                    <a:pt x="1098" y="504"/>
                  </a:lnTo>
                  <a:lnTo>
                    <a:pt x="1104" y="498"/>
                  </a:lnTo>
                  <a:lnTo>
                    <a:pt x="1128" y="492"/>
                  </a:lnTo>
                  <a:lnTo>
                    <a:pt x="1152" y="480"/>
                  </a:lnTo>
                  <a:lnTo>
                    <a:pt x="1170" y="474"/>
                  </a:lnTo>
                  <a:lnTo>
                    <a:pt x="1188" y="468"/>
                  </a:lnTo>
                  <a:lnTo>
                    <a:pt x="1200" y="462"/>
                  </a:lnTo>
                  <a:lnTo>
                    <a:pt x="1224" y="450"/>
                  </a:lnTo>
                  <a:lnTo>
                    <a:pt x="1248" y="450"/>
                  </a:lnTo>
                  <a:lnTo>
                    <a:pt x="1266" y="450"/>
                  </a:lnTo>
                  <a:lnTo>
                    <a:pt x="1296" y="456"/>
                  </a:lnTo>
                  <a:lnTo>
                    <a:pt x="1308" y="456"/>
                  </a:lnTo>
                  <a:lnTo>
                    <a:pt x="1326" y="456"/>
                  </a:lnTo>
                  <a:lnTo>
                    <a:pt x="1338" y="456"/>
                  </a:lnTo>
                  <a:lnTo>
                    <a:pt x="1350" y="462"/>
                  </a:lnTo>
                  <a:lnTo>
                    <a:pt x="1356" y="462"/>
                  </a:lnTo>
                  <a:lnTo>
                    <a:pt x="1374" y="456"/>
                  </a:lnTo>
                  <a:lnTo>
                    <a:pt x="1386" y="456"/>
                  </a:lnTo>
                  <a:lnTo>
                    <a:pt x="1392" y="456"/>
                  </a:lnTo>
                  <a:lnTo>
                    <a:pt x="1398" y="456"/>
                  </a:lnTo>
                  <a:lnTo>
                    <a:pt x="1422" y="456"/>
                  </a:lnTo>
                  <a:lnTo>
                    <a:pt x="1440" y="456"/>
                  </a:lnTo>
                  <a:lnTo>
                    <a:pt x="1446" y="456"/>
                  </a:lnTo>
                  <a:lnTo>
                    <a:pt x="1476" y="456"/>
                  </a:lnTo>
                  <a:lnTo>
                    <a:pt x="1470" y="468"/>
                  </a:lnTo>
                  <a:lnTo>
                    <a:pt x="1470" y="474"/>
                  </a:lnTo>
                  <a:lnTo>
                    <a:pt x="1470" y="486"/>
                  </a:lnTo>
                  <a:lnTo>
                    <a:pt x="1464" y="492"/>
                  </a:lnTo>
                  <a:lnTo>
                    <a:pt x="1464" y="498"/>
                  </a:lnTo>
                  <a:lnTo>
                    <a:pt x="1458" y="498"/>
                  </a:lnTo>
                  <a:lnTo>
                    <a:pt x="1458" y="510"/>
                  </a:lnTo>
                  <a:lnTo>
                    <a:pt x="1452" y="522"/>
                  </a:lnTo>
                  <a:lnTo>
                    <a:pt x="1458" y="528"/>
                  </a:lnTo>
                  <a:lnTo>
                    <a:pt x="1464" y="546"/>
                  </a:lnTo>
                  <a:lnTo>
                    <a:pt x="1470" y="552"/>
                  </a:lnTo>
                  <a:lnTo>
                    <a:pt x="1476" y="564"/>
                  </a:lnTo>
                  <a:lnTo>
                    <a:pt x="1488" y="588"/>
                  </a:lnTo>
                  <a:lnTo>
                    <a:pt x="1506" y="606"/>
                  </a:lnTo>
                  <a:lnTo>
                    <a:pt x="1506" y="612"/>
                  </a:lnTo>
                  <a:lnTo>
                    <a:pt x="1518" y="618"/>
                  </a:lnTo>
                  <a:lnTo>
                    <a:pt x="1512" y="630"/>
                  </a:lnTo>
                  <a:lnTo>
                    <a:pt x="1518" y="642"/>
                  </a:lnTo>
                  <a:lnTo>
                    <a:pt x="1518" y="648"/>
                  </a:lnTo>
                  <a:lnTo>
                    <a:pt x="1530" y="666"/>
                  </a:lnTo>
                  <a:lnTo>
                    <a:pt x="1518" y="672"/>
                  </a:lnTo>
                  <a:lnTo>
                    <a:pt x="1524" y="696"/>
                  </a:lnTo>
                  <a:lnTo>
                    <a:pt x="1518" y="732"/>
                  </a:lnTo>
                  <a:lnTo>
                    <a:pt x="1524" y="762"/>
                  </a:lnTo>
                  <a:lnTo>
                    <a:pt x="1524" y="780"/>
                  </a:lnTo>
                  <a:lnTo>
                    <a:pt x="1524" y="810"/>
                  </a:lnTo>
                  <a:lnTo>
                    <a:pt x="1530" y="834"/>
                  </a:lnTo>
                  <a:lnTo>
                    <a:pt x="1536" y="846"/>
                  </a:lnTo>
                  <a:lnTo>
                    <a:pt x="1542" y="846"/>
                  </a:lnTo>
                  <a:lnTo>
                    <a:pt x="1584" y="840"/>
                  </a:lnTo>
                  <a:lnTo>
                    <a:pt x="1590" y="846"/>
                  </a:lnTo>
                  <a:lnTo>
                    <a:pt x="1596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90" y="864"/>
                  </a:lnTo>
                  <a:lnTo>
                    <a:pt x="1578" y="882"/>
                  </a:lnTo>
                  <a:lnTo>
                    <a:pt x="1572" y="906"/>
                  </a:lnTo>
                  <a:lnTo>
                    <a:pt x="1560" y="924"/>
                  </a:lnTo>
                  <a:lnTo>
                    <a:pt x="1560" y="936"/>
                  </a:lnTo>
                  <a:lnTo>
                    <a:pt x="1548" y="960"/>
                  </a:lnTo>
                  <a:lnTo>
                    <a:pt x="1542" y="978"/>
                  </a:lnTo>
                  <a:lnTo>
                    <a:pt x="1536" y="990"/>
                  </a:lnTo>
                  <a:lnTo>
                    <a:pt x="1530" y="990"/>
                  </a:lnTo>
                  <a:lnTo>
                    <a:pt x="1506" y="996"/>
                  </a:lnTo>
                  <a:lnTo>
                    <a:pt x="1494" y="1002"/>
                  </a:lnTo>
                  <a:lnTo>
                    <a:pt x="1482" y="1002"/>
                  </a:lnTo>
                  <a:lnTo>
                    <a:pt x="1464" y="1008"/>
                  </a:lnTo>
                  <a:lnTo>
                    <a:pt x="1446" y="1026"/>
                  </a:lnTo>
                  <a:lnTo>
                    <a:pt x="1440" y="1026"/>
                  </a:lnTo>
                  <a:lnTo>
                    <a:pt x="1434" y="1038"/>
                  </a:lnTo>
                  <a:lnTo>
                    <a:pt x="1428" y="1044"/>
                  </a:lnTo>
                  <a:lnTo>
                    <a:pt x="1428" y="1062"/>
                  </a:lnTo>
                  <a:lnTo>
                    <a:pt x="1428" y="1086"/>
                  </a:lnTo>
                  <a:lnTo>
                    <a:pt x="1416" y="1092"/>
                  </a:lnTo>
                  <a:lnTo>
                    <a:pt x="1410" y="1080"/>
                  </a:lnTo>
                  <a:lnTo>
                    <a:pt x="1392" y="10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0" name="Freeform 25">
              <a:extLst>
                <a:ext uri="{FF2B5EF4-FFF2-40B4-BE49-F238E27FC236}">
                  <a16:creationId xmlns:a16="http://schemas.microsoft.com/office/drawing/2014/main" id="{39FDFF90-5ACF-4D65-81AD-C44D2CBE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70228" y="3063559"/>
              <a:ext cx="644023" cy="704498"/>
            </a:xfrm>
            <a:custGeom>
              <a:avLst/>
              <a:gdLst>
                <a:gd name="T0" fmla="*/ 74 w 1212"/>
                <a:gd name="T1" fmla="*/ 113 h 1326"/>
                <a:gd name="T2" fmla="*/ 60 w 1212"/>
                <a:gd name="T3" fmla="*/ 116 h 1326"/>
                <a:gd name="T4" fmla="*/ 62 w 1212"/>
                <a:gd name="T5" fmla="*/ 110 h 1326"/>
                <a:gd name="T6" fmla="*/ 60 w 1212"/>
                <a:gd name="T7" fmla="*/ 105 h 1326"/>
                <a:gd name="T8" fmla="*/ 52 w 1212"/>
                <a:gd name="T9" fmla="*/ 96 h 1326"/>
                <a:gd name="T10" fmla="*/ 47 w 1212"/>
                <a:gd name="T11" fmla="*/ 98 h 1326"/>
                <a:gd name="T12" fmla="*/ 44 w 1212"/>
                <a:gd name="T13" fmla="*/ 93 h 1326"/>
                <a:gd name="T14" fmla="*/ 40 w 1212"/>
                <a:gd name="T15" fmla="*/ 96 h 1326"/>
                <a:gd name="T16" fmla="*/ 35 w 1212"/>
                <a:gd name="T17" fmla="*/ 102 h 1326"/>
                <a:gd name="T18" fmla="*/ 27 w 1212"/>
                <a:gd name="T19" fmla="*/ 100 h 1326"/>
                <a:gd name="T20" fmla="*/ 23 w 1212"/>
                <a:gd name="T21" fmla="*/ 96 h 1326"/>
                <a:gd name="T22" fmla="*/ 20 w 1212"/>
                <a:gd name="T23" fmla="*/ 90 h 1326"/>
                <a:gd name="T24" fmla="*/ 18 w 1212"/>
                <a:gd name="T25" fmla="*/ 89 h 1326"/>
                <a:gd name="T26" fmla="*/ 18 w 1212"/>
                <a:gd name="T27" fmla="*/ 85 h 1326"/>
                <a:gd name="T28" fmla="*/ 19 w 1212"/>
                <a:gd name="T29" fmla="*/ 83 h 1326"/>
                <a:gd name="T30" fmla="*/ 19 w 1212"/>
                <a:gd name="T31" fmla="*/ 82 h 1326"/>
                <a:gd name="T32" fmla="*/ 20 w 1212"/>
                <a:gd name="T33" fmla="*/ 79 h 1326"/>
                <a:gd name="T34" fmla="*/ 19 w 1212"/>
                <a:gd name="T35" fmla="*/ 75 h 1326"/>
                <a:gd name="T36" fmla="*/ 17 w 1212"/>
                <a:gd name="T37" fmla="*/ 77 h 1326"/>
                <a:gd name="T38" fmla="*/ 14 w 1212"/>
                <a:gd name="T39" fmla="*/ 76 h 1326"/>
                <a:gd name="T40" fmla="*/ 12 w 1212"/>
                <a:gd name="T41" fmla="*/ 71 h 1326"/>
                <a:gd name="T42" fmla="*/ 8 w 1212"/>
                <a:gd name="T43" fmla="*/ 69 h 1326"/>
                <a:gd name="T44" fmla="*/ 0 w 1212"/>
                <a:gd name="T45" fmla="*/ 72 h 1326"/>
                <a:gd name="T46" fmla="*/ 2 w 1212"/>
                <a:gd name="T47" fmla="*/ 67 h 1326"/>
                <a:gd name="T48" fmla="*/ 3 w 1212"/>
                <a:gd name="T49" fmla="*/ 61 h 1326"/>
                <a:gd name="T50" fmla="*/ 4 w 1212"/>
                <a:gd name="T51" fmla="*/ 56 h 1326"/>
                <a:gd name="T52" fmla="*/ 4 w 1212"/>
                <a:gd name="T53" fmla="*/ 52 h 1326"/>
                <a:gd name="T54" fmla="*/ 2 w 1212"/>
                <a:gd name="T55" fmla="*/ 47 h 1326"/>
                <a:gd name="T56" fmla="*/ 2 w 1212"/>
                <a:gd name="T57" fmla="*/ 42 h 1326"/>
                <a:gd name="T58" fmla="*/ 5 w 1212"/>
                <a:gd name="T59" fmla="*/ 39 h 1326"/>
                <a:gd name="T60" fmla="*/ 5 w 1212"/>
                <a:gd name="T61" fmla="*/ 35 h 1326"/>
                <a:gd name="T62" fmla="*/ 7 w 1212"/>
                <a:gd name="T63" fmla="*/ 31 h 1326"/>
                <a:gd name="T64" fmla="*/ 14 w 1212"/>
                <a:gd name="T65" fmla="*/ 31 h 1326"/>
                <a:gd name="T66" fmla="*/ 18 w 1212"/>
                <a:gd name="T67" fmla="*/ 27 h 1326"/>
                <a:gd name="T68" fmla="*/ 22 w 1212"/>
                <a:gd name="T69" fmla="*/ 24 h 1326"/>
                <a:gd name="T70" fmla="*/ 27 w 1212"/>
                <a:gd name="T71" fmla="*/ 20 h 1326"/>
                <a:gd name="T72" fmla="*/ 35 w 1212"/>
                <a:gd name="T73" fmla="*/ 21 h 1326"/>
                <a:gd name="T74" fmla="*/ 61 w 1212"/>
                <a:gd name="T75" fmla="*/ 8 h 1326"/>
                <a:gd name="T76" fmla="*/ 73 w 1212"/>
                <a:gd name="T77" fmla="*/ 4 h 1326"/>
                <a:gd name="T78" fmla="*/ 86 w 1212"/>
                <a:gd name="T79" fmla="*/ 12 h 1326"/>
                <a:gd name="T80" fmla="*/ 92 w 1212"/>
                <a:gd name="T81" fmla="*/ 13 h 1326"/>
                <a:gd name="T82" fmla="*/ 86 w 1212"/>
                <a:gd name="T83" fmla="*/ 18 h 1326"/>
                <a:gd name="T84" fmla="*/ 88 w 1212"/>
                <a:gd name="T85" fmla="*/ 33 h 1326"/>
                <a:gd name="T86" fmla="*/ 97 w 1212"/>
                <a:gd name="T87" fmla="*/ 49 h 1326"/>
                <a:gd name="T88" fmla="*/ 102 w 1212"/>
                <a:gd name="T89" fmla="*/ 57 h 1326"/>
                <a:gd name="T90" fmla="*/ 104 w 1212"/>
                <a:gd name="T91" fmla="*/ 67 h 1326"/>
                <a:gd name="T92" fmla="*/ 101 w 1212"/>
                <a:gd name="T93" fmla="*/ 69 h 1326"/>
                <a:gd name="T94" fmla="*/ 97 w 1212"/>
                <a:gd name="T95" fmla="*/ 69 h 1326"/>
                <a:gd name="T96" fmla="*/ 96 w 1212"/>
                <a:gd name="T97" fmla="*/ 71 h 1326"/>
                <a:gd name="T98" fmla="*/ 93 w 1212"/>
                <a:gd name="T99" fmla="*/ 70 h 1326"/>
                <a:gd name="T100" fmla="*/ 86 w 1212"/>
                <a:gd name="T101" fmla="*/ 69 h 1326"/>
                <a:gd name="T102" fmla="*/ 82 w 1212"/>
                <a:gd name="T103" fmla="*/ 73 h 1326"/>
                <a:gd name="T104" fmla="*/ 79 w 1212"/>
                <a:gd name="T105" fmla="*/ 74 h 1326"/>
                <a:gd name="T106" fmla="*/ 78 w 1212"/>
                <a:gd name="T107" fmla="*/ 79 h 1326"/>
                <a:gd name="T108" fmla="*/ 78 w 1212"/>
                <a:gd name="T109" fmla="*/ 83 h 1326"/>
                <a:gd name="T110" fmla="*/ 82 w 1212"/>
                <a:gd name="T111" fmla="*/ 87 h 1326"/>
                <a:gd name="T112" fmla="*/ 83 w 1212"/>
                <a:gd name="T113" fmla="*/ 90 h 1326"/>
                <a:gd name="T114" fmla="*/ 82 w 1212"/>
                <a:gd name="T115" fmla="*/ 94 h 1326"/>
                <a:gd name="T116" fmla="*/ 82 w 1212"/>
                <a:gd name="T117" fmla="*/ 98 h 1326"/>
                <a:gd name="T118" fmla="*/ 82 w 1212"/>
                <a:gd name="T119" fmla="*/ 104 h 1326"/>
                <a:gd name="T120" fmla="*/ 78 w 1212"/>
                <a:gd name="T121" fmla="*/ 110 h 132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12"/>
                <a:gd name="T184" fmla="*/ 0 h 1326"/>
                <a:gd name="T185" fmla="*/ 1212 w 1212"/>
                <a:gd name="T186" fmla="*/ 1326 h 132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12" h="1326">
                  <a:moveTo>
                    <a:pt x="906" y="1290"/>
                  </a:moveTo>
                  <a:lnTo>
                    <a:pt x="906" y="1296"/>
                  </a:lnTo>
                  <a:lnTo>
                    <a:pt x="900" y="1296"/>
                  </a:lnTo>
                  <a:lnTo>
                    <a:pt x="876" y="1290"/>
                  </a:lnTo>
                  <a:lnTo>
                    <a:pt x="870" y="1290"/>
                  </a:lnTo>
                  <a:lnTo>
                    <a:pt x="864" y="1296"/>
                  </a:lnTo>
                  <a:lnTo>
                    <a:pt x="852" y="1296"/>
                  </a:lnTo>
                  <a:lnTo>
                    <a:pt x="840" y="1302"/>
                  </a:lnTo>
                  <a:lnTo>
                    <a:pt x="834" y="1308"/>
                  </a:lnTo>
                  <a:lnTo>
                    <a:pt x="822" y="1320"/>
                  </a:lnTo>
                  <a:lnTo>
                    <a:pt x="816" y="1320"/>
                  </a:lnTo>
                  <a:lnTo>
                    <a:pt x="732" y="1320"/>
                  </a:lnTo>
                  <a:lnTo>
                    <a:pt x="696" y="1320"/>
                  </a:lnTo>
                  <a:lnTo>
                    <a:pt x="690" y="1326"/>
                  </a:lnTo>
                  <a:lnTo>
                    <a:pt x="678" y="1326"/>
                  </a:lnTo>
                  <a:lnTo>
                    <a:pt x="672" y="1308"/>
                  </a:lnTo>
                  <a:lnTo>
                    <a:pt x="696" y="1302"/>
                  </a:lnTo>
                  <a:lnTo>
                    <a:pt x="708" y="1296"/>
                  </a:lnTo>
                  <a:lnTo>
                    <a:pt x="720" y="1284"/>
                  </a:lnTo>
                  <a:lnTo>
                    <a:pt x="714" y="1278"/>
                  </a:lnTo>
                  <a:lnTo>
                    <a:pt x="714" y="1266"/>
                  </a:lnTo>
                  <a:lnTo>
                    <a:pt x="708" y="1260"/>
                  </a:lnTo>
                  <a:lnTo>
                    <a:pt x="708" y="1254"/>
                  </a:lnTo>
                  <a:lnTo>
                    <a:pt x="708" y="1248"/>
                  </a:lnTo>
                  <a:lnTo>
                    <a:pt x="702" y="1236"/>
                  </a:lnTo>
                  <a:lnTo>
                    <a:pt x="702" y="1230"/>
                  </a:lnTo>
                  <a:lnTo>
                    <a:pt x="702" y="1218"/>
                  </a:lnTo>
                  <a:lnTo>
                    <a:pt x="696" y="1200"/>
                  </a:lnTo>
                  <a:lnTo>
                    <a:pt x="696" y="1182"/>
                  </a:lnTo>
                  <a:lnTo>
                    <a:pt x="666" y="1182"/>
                  </a:lnTo>
                  <a:lnTo>
                    <a:pt x="672" y="1134"/>
                  </a:lnTo>
                  <a:lnTo>
                    <a:pt x="666" y="1128"/>
                  </a:lnTo>
                  <a:lnTo>
                    <a:pt x="660" y="1092"/>
                  </a:lnTo>
                  <a:lnTo>
                    <a:pt x="654" y="1098"/>
                  </a:lnTo>
                  <a:lnTo>
                    <a:pt x="594" y="1098"/>
                  </a:lnTo>
                  <a:lnTo>
                    <a:pt x="576" y="1098"/>
                  </a:lnTo>
                  <a:lnTo>
                    <a:pt x="570" y="1104"/>
                  </a:lnTo>
                  <a:lnTo>
                    <a:pt x="564" y="1110"/>
                  </a:lnTo>
                  <a:lnTo>
                    <a:pt x="558" y="1110"/>
                  </a:lnTo>
                  <a:lnTo>
                    <a:pt x="552" y="1110"/>
                  </a:lnTo>
                  <a:lnTo>
                    <a:pt x="546" y="1110"/>
                  </a:lnTo>
                  <a:lnTo>
                    <a:pt x="546" y="1116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10" y="1128"/>
                  </a:lnTo>
                  <a:lnTo>
                    <a:pt x="522" y="1104"/>
                  </a:lnTo>
                  <a:lnTo>
                    <a:pt x="510" y="1098"/>
                  </a:lnTo>
                  <a:lnTo>
                    <a:pt x="510" y="1074"/>
                  </a:lnTo>
                  <a:lnTo>
                    <a:pt x="504" y="1068"/>
                  </a:lnTo>
                  <a:lnTo>
                    <a:pt x="498" y="1068"/>
                  </a:lnTo>
                  <a:lnTo>
                    <a:pt x="492" y="1068"/>
                  </a:lnTo>
                  <a:lnTo>
                    <a:pt x="474" y="1080"/>
                  </a:lnTo>
                  <a:lnTo>
                    <a:pt x="474" y="1086"/>
                  </a:lnTo>
                  <a:lnTo>
                    <a:pt x="474" y="1092"/>
                  </a:lnTo>
                  <a:lnTo>
                    <a:pt x="468" y="1098"/>
                  </a:lnTo>
                  <a:lnTo>
                    <a:pt x="462" y="1104"/>
                  </a:lnTo>
                  <a:lnTo>
                    <a:pt x="456" y="1110"/>
                  </a:lnTo>
                  <a:lnTo>
                    <a:pt x="456" y="1122"/>
                  </a:lnTo>
                  <a:lnTo>
                    <a:pt x="456" y="1128"/>
                  </a:lnTo>
                  <a:lnTo>
                    <a:pt x="450" y="1140"/>
                  </a:lnTo>
                  <a:lnTo>
                    <a:pt x="444" y="1146"/>
                  </a:lnTo>
                  <a:lnTo>
                    <a:pt x="426" y="1170"/>
                  </a:lnTo>
                  <a:lnTo>
                    <a:pt x="408" y="1176"/>
                  </a:lnTo>
                  <a:lnTo>
                    <a:pt x="402" y="1170"/>
                  </a:lnTo>
                  <a:lnTo>
                    <a:pt x="396" y="1170"/>
                  </a:lnTo>
                  <a:lnTo>
                    <a:pt x="396" y="1158"/>
                  </a:lnTo>
                  <a:lnTo>
                    <a:pt x="384" y="1152"/>
                  </a:lnTo>
                  <a:lnTo>
                    <a:pt x="372" y="1140"/>
                  </a:lnTo>
                  <a:lnTo>
                    <a:pt x="354" y="1140"/>
                  </a:lnTo>
                  <a:lnTo>
                    <a:pt x="306" y="1146"/>
                  </a:lnTo>
                  <a:lnTo>
                    <a:pt x="294" y="1134"/>
                  </a:lnTo>
                  <a:lnTo>
                    <a:pt x="294" y="1128"/>
                  </a:lnTo>
                  <a:lnTo>
                    <a:pt x="288" y="1122"/>
                  </a:lnTo>
                  <a:lnTo>
                    <a:pt x="276" y="1122"/>
                  </a:lnTo>
                  <a:lnTo>
                    <a:pt x="276" y="1110"/>
                  </a:lnTo>
                  <a:lnTo>
                    <a:pt x="276" y="1104"/>
                  </a:lnTo>
                  <a:lnTo>
                    <a:pt x="270" y="1098"/>
                  </a:lnTo>
                  <a:lnTo>
                    <a:pt x="264" y="1086"/>
                  </a:lnTo>
                  <a:lnTo>
                    <a:pt x="264" y="1074"/>
                  </a:lnTo>
                  <a:lnTo>
                    <a:pt x="258" y="1068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34" y="1038"/>
                  </a:lnTo>
                  <a:lnTo>
                    <a:pt x="228" y="1038"/>
                  </a:lnTo>
                  <a:lnTo>
                    <a:pt x="222" y="1038"/>
                  </a:lnTo>
                  <a:lnTo>
                    <a:pt x="216" y="1038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0"/>
                  </a:lnTo>
                  <a:lnTo>
                    <a:pt x="204" y="1014"/>
                  </a:lnTo>
                  <a:lnTo>
                    <a:pt x="204" y="1008"/>
                  </a:lnTo>
                  <a:lnTo>
                    <a:pt x="198" y="1002"/>
                  </a:lnTo>
                  <a:lnTo>
                    <a:pt x="198" y="996"/>
                  </a:lnTo>
                  <a:lnTo>
                    <a:pt x="198" y="990"/>
                  </a:lnTo>
                  <a:lnTo>
                    <a:pt x="204" y="990"/>
                  </a:lnTo>
                  <a:lnTo>
                    <a:pt x="204" y="984"/>
                  </a:lnTo>
                  <a:lnTo>
                    <a:pt x="210" y="978"/>
                  </a:lnTo>
                  <a:lnTo>
                    <a:pt x="210" y="972"/>
                  </a:lnTo>
                  <a:lnTo>
                    <a:pt x="210" y="966"/>
                  </a:lnTo>
                  <a:lnTo>
                    <a:pt x="216" y="960"/>
                  </a:lnTo>
                  <a:lnTo>
                    <a:pt x="216" y="954"/>
                  </a:lnTo>
                  <a:lnTo>
                    <a:pt x="210" y="954"/>
                  </a:lnTo>
                  <a:lnTo>
                    <a:pt x="204" y="954"/>
                  </a:lnTo>
                  <a:lnTo>
                    <a:pt x="216" y="954"/>
                  </a:lnTo>
                  <a:lnTo>
                    <a:pt x="216" y="948"/>
                  </a:lnTo>
                  <a:lnTo>
                    <a:pt x="210" y="948"/>
                  </a:lnTo>
                  <a:lnTo>
                    <a:pt x="210" y="942"/>
                  </a:lnTo>
                  <a:lnTo>
                    <a:pt x="216" y="942"/>
                  </a:lnTo>
                  <a:lnTo>
                    <a:pt x="222" y="942"/>
                  </a:lnTo>
                  <a:lnTo>
                    <a:pt x="222" y="936"/>
                  </a:lnTo>
                  <a:lnTo>
                    <a:pt x="216" y="936"/>
                  </a:lnTo>
                  <a:lnTo>
                    <a:pt x="210" y="936"/>
                  </a:lnTo>
                  <a:lnTo>
                    <a:pt x="210" y="930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22" y="918"/>
                  </a:lnTo>
                  <a:lnTo>
                    <a:pt x="228" y="912"/>
                  </a:lnTo>
                  <a:lnTo>
                    <a:pt x="228" y="906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2" y="888"/>
                  </a:lnTo>
                  <a:lnTo>
                    <a:pt x="222" y="882"/>
                  </a:lnTo>
                  <a:lnTo>
                    <a:pt x="222" y="876"/>
                  </a:lnTo>
                  <a:lnTo>
                    <a:pt x="222" y="858"/>
                  </a:lnTo>
                  <a:lnTo>
                    <a:pt x="216" y="858"/>
                  </a:lnTo>
                  <a:lnTo>
                    <a:pt x="216" y="852"/>
                  </a:lnTo>
                  <a:lnTo>
                    <a:pt x="210" y="852"/>
                  </a:lnTo>
                  <a:lnTo>
                    <a:pt x="210" y="840"/>
                  </a:lnTo>
                  <a:lnTo>
                    <a:pt x="198" y="840"/>
                  </a:lnTo>
                  <a:lnTo>
                    <a:pt x="198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0" y="894"/>
                  </a:lnTo>
                  <a:lnTo>
                    <a:pt x="180" y="906"/>
                  </a:lnTo>
                  <a:lnTo>
                    <a:pt x="156" y="912"/>
                  </a:lnTo>
                  <a:lnTo>
                    <a:pt x="156" y="894"/>
                  </a:lnTo>
                  <a:lnTo>
                    <a:pt x="156" y="882"/>
                  </a:lnTo>
                  <a:lnTo>
                    <a:pt x="156" y="876"/>
                  </a:lnTo>
                  <a:lnTo>
                    <a:pt x="150" y="876"/>
                  </a:lnTo>
                  <a:lnTo>
                    <a:pt x="144" y="876"/>
                  </a:lnTo>
                  <a:lnTo>
                    <a:pt x="138" y="870"/>
                  </a:lnTo>
                  <a:lnTo>
                    <a:pt x="132" y="864"/>
                  </a:lnTo>
                  <a:lnTo>
                    <a:pt x="138" y="840"/>
                  </a:lnTo>
                  <a:lnTo>
                    <a:pt x="132" y="840"/>
                  </a:lnTo>
                  <a:lnTo>
                    <a:pt x="138" y="810"/>
                  </a:lnTo>
                  <a:lnTo>
                    <a:pt x="144" y="804"/>
                  </a:lnTo>
                  <a:lnTo>
                    <a:pt x="144" y="798"/>
                  </a:lnTo>
                  <a:lnTo>
                    <a:pt x="156" y="798"/>
                  </a:lnTo>
                  <a:lnTo>
                    <a:pt x="156" y="792"/>
                  </a:lnTo>
                  <a:lnTo>
                    <a:pt x="120" y="792"/>
                  </a:lnTo>
                  <a:lnTo>
                    <a:pt x="108" y="786"/>
                  </a:lnTo>
                  <a:lnTo>
                    <a:pt x="96" y="786"/>
                  </a:lnTo>
                  <a:lnTo>
                    <a:pt x="96" y="780"/>
                  </a:lnTo>
                  <a:lnTo>
                    <a:pt x="78" y="780"/>
                  </a:lnTo>
                  <a:lnTo>
                    <a:pt x="72" y="804"/>
                  </a:lnTo>
                  <a:lnTo>
                    <a:pt x="60" y="816"/>
                  </a:lnTo>
                  <a:lnTo>
                    <a:pt x="36" y="828"/>
                  </a:lnTo>
                  <a:lnTo>
                    <a:pt x="18" y="840"/>
                  </a:lnTo>
                  <a:lnTo>
                    <a:pt x="0" y="822"/>
                  </a:lnTo>
                  <a:lnTo>
                    <a:pt x="6" y="816"/>
                  </a:lnTo>
                  <a:lnTo>
                    <a:pt x="12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18" y="786"/>
                  </a:lnTo>
                  <a:lnTo>
                    <a:pt x="24" y="780"/>
                  </a:lnTo>
                  <a:lnTo>
                    <a:pt x="24" y="768"/>
                  </a:lnTo>
                  <a:lnTo>
                    <a:pt x="24" y="762"/>
                  </a:lnTo>
                  <a:lnTo>
                    <a:pt x="24" y="750"/>
                  </a:lnTo>
                  <a:lnTo>
                    <a:pt x="36" y="714"/>
                  </a:lnTo>
                  <a:lnTo>
                    <a:pt x="36" y="708"/>
                  </a:lnTo>
                  <a:lnTo>
                    <a:pt x="42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6" y="690"/>
                  </a:lnTo>
                  <a:lnTo>
                    <a:pt x="42" y="684"/>
                  </a:lnTo>
                  <a:lnTo>
                    <a:pt x="42" y="672"/>
                  </a:lnTo>
                  <a:lnTo>
                    <a:pt x="42" y="666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48" y="648"/>
                  </a:lnTo>
                  <a:lnTo>
                    <a:pt x="54" y="642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54" y="612"/>
                  </a:lnTo>
                  <a:lnTo>
                    <a:pt x="48" y="606"/>
                  </a:lnTo>
                  <a:lnTo>
                    <a:pt x="48" y="600"/>
                  </a:lnTo>
                  <a:lnTo>
                    <a:pt x="42" y="600"/>
                  </a:lnTo>
                  <a:lnTo>
                    <a:pt x="36" y="594"/>
                  </a:lnTo>
                  <a:lnTo>
                    <a:pt x="36" y="588"/>
                  </a:lnTo>
                  <a:lnTo>
                    <a:pt x="30" y="582"/>
                  </a:lnTo>
                  <a:lnTo>
                    <a:pt x="30" y="570"/>
                  </a:lnTo>
                  <a:lnTo>
                    <a:pt x="18" y="552"/>
                  </a:lnTo>
                  <a:lnTo>
                    <a:pt x="18" y="546"/>
                  </a:lnTo>
                  <a:lnTo>
                    <a:pt x="18" y="540"/>
                  </a:lnTo>
                  <a:lnTo>
                    <a:pt x="18" y="528"/>
                  </a:lnTo>
                  <a:lnTo>
                    <a:pt x="18" y="522"/>
                  </a:lnTo>
                  <a:lnTo>
                    <a:pt x="24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30" y="474"/>
                  </a:lnTo>
                  <a:lnTo>
                    <a:pt x="36" y="474"/>
                  </a:lnTo>
                  <a:lnTo>
                    <a:pt x="42" y="468"/>
                  </a:lnTo>
                  <a:lnTo>
                    <a:pt x="48" y="468"/>
                  </a:lnTo>
                  <a:lnTo>
                    <a:pt x="48" y="462"/>
                  </a:lnTo>
                  <a:lnTo>
                    <a:pt x="48" y="456"/>
                  </a:lnTo>
                  <a:lnTo>
                    <a:pt x="54" y="450"/>
                  </a:lnTo>
                  <a:lnTo>
                    <a:pt x="60" y="438"/>
                  </a:lnTo>
                  <a:lnTo>
                    <a:pt x="54" y="438"/>
                  </a:lnTo>
                  <a:lnTo>
                    <a:pt x="54" y="432"/>
                  </a:ln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54" y="402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6" y="384"/>
                  </a:lnTo>
                  <a:lnTo>
                    <a:pt x="72" y="372"/>
                  </a:lnTo>
                  <a:lnTo>
                    <a:pt x="78" y="366"/>
                  </a:lnTo>
                  <a:lnTo>
                    <a:pt x="84" y="360"/>
                  </a:lnTo>
                  <a:lnTo>
                    <a:pt x="102" y="360"/>
                  </a:lnTo>
                  <a:lnTo>
                    <a:pt x="114" y="36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8" y="360"/>
                  </a:lnTo>
                  <a:lnTo>
                    <a:pt x="156" y="360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74" y="342"/>
                  </a:lnTo>
                  <a:lnTo>
                    <a:pt x="180" y="342"/>
                  </a:lnTo>
                  <a:lnTo>
                    <a:pt x="186" y="336"/>
                  </a:lnTo>
                  <a:lnTo>
                    <a:pt x="192" y="330"/>
                  </a:lnTo>
                  <a:lnTo>
                    <a:pt x="204" y="312"/>
                  </a:lnTo>
                  <a:lnTo>
                    <a:pt x="210" y="312"/>
                  </a:lnTo>
                  <a:lnTo>
                    <a:pt x="216" y="306"/>
                  </a:lnTo>
                  <a:lnTo>
                    <a:pt x="216" y="300"/>
                  </a:lnTo>
                  <a:lnTo>
                    <a:pt x="222" y="288"/>
                  </a:lnTo>
                  <a:lnTo>
                    <a:pt x="234" y="288"/>
                  </a:lnTo>
                  <a:lnTo>
                    <a:pt x="240" y="282"/>
                  </a:lnTo>
                  <a:lnTo>
                    <a:pt x="246" y="282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70" y="270"/>
                  </a:lnTo>
                  <a:lnTo>
                    <a:pt x="276" y="264"/>
                  </a:lnTo>
                  <a:lnTo>
                    <a:pt x="282" y="26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8" y="234"/>
                  </a:lnTo>
                  <a:lnTo>
                    <a:pt x="330" y="234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72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14" y="240"/>
                  </a:lnTo>
                  <a:lnTo>
                    <a:pt x="444" y="216"/>
                  </a:lnTo>
                  <a:lnTo>
                    <a:pt x="480" y="204"/>
                  </a:lnTo>
                  <a:lnTo>
                    <a:pt x="600" y="150"/>
                  </a:lnTo>
                  <a:lnTo>
                    <a:pt x="648" y="126"/>
                  </a:lnTo>
                  <a:lnTo>
                    <a:pt x="702" y="96"/>
                  </a:lnTo>
                  <a:lnTo>
                    <a:pt x="708" y="54"/>
                  </a:lnTo>
                  <a:lnTo>
                    <a:pt x="720" y="24"/>
                  </a:lnTo>
                  <a:lnTo>
                    <a:pt x="738" y="12"/>
                  </a:lnTo>
                  <a:lnTo>
                    <a:pt x="768" y="0"/>
                  </a:lnTo>
                  <a:lnTo>
                    <a:pt x="792" y="6"/>
                  </a:lnTo>
                  <a:lnTo>
                    <a:pt x="804" y="12"/>
                  </a:lnTo>
                  <a:lnTo>
                    <a:pt x="834" y="48"/>
                  </a:lnTo>
                  <a:lnTo>
                    <a:pt x="834" y="60"/>
                  </a:lnTo>
                  <a:lnTo>
                    <a:pt x="852" y="84"/>
                  </a:lnTo>
                  <a:lnTo>
                    <a:pt x="864" y="96"/>
                  </a:lnTo>
                  <a:lnTo>
                    <a:pt x="888" y="102"/>
                  </a:lnTo>
                  <a:lnTo>
                    <a:pt x="978" y="120"/>
                  </a:lnTo>
                  <a:lnTo>
                    <a:pt x="984" y="126"/>
                  </a:lnTo>
                  <a:lnTo>
                    <a:pt x="984" y="132"/>
                  </a:lnTo>
                  <a:lnTo>
                    <a:pt x="996" y="138"/>
                  </a:lnTo>
                  <a:lnTo>
                    <a:pt x="1038" y="126"/>
                  </a:lnTo>
                  <a:lnTo>
                    <a:pt x="1056" y="114"/>
                  </a:lnTo>
                  <a:lnTo>
                    <a:pt x="1068" y="126"/>
                  </a:lnTo>
                  <a:lnTo>
                    <a:pt x="1074" y="132"/>
                  </a:lnTo>
                  <a:lnTo>
                    <a:pt x="1068" y="138"/>
                  </a:lnTo>
                  <a:lnTo>
                    <a:pt x="1056" y="150"/>
                  </a:lnTo>
                  <a:lnTo>
                    <a:pt x="1038" y="162"/>
                  </a:lnTo>
                  <a:lnTo>
                    <a:pt x="1038" y="168"/>
                  </a:lnTo>
                  <a:lnTo>
                    <a:pt x="1020" y="174"/>
                  </a:lnTo>
                  <a:lnTo>
                    <a:pt x="1014" y="180"/>
                  </a:lnTo>
                  <a:lnTo>
                    <a:pt x="1008" y="186"/>
                  </a:lnTo>
                  <a:lnTo>
                    <a:pt x="1002" y="198"/>
                  </a:lnTo>
                  <a:lnTo>
                    <a:pt x="984" y="204"/>
                  </a:lnTo>
                  <a:lnTo>
                    <a:pt x="984" y="246"/>
                  </a:lnTo>
                  <a:lnTo>
                    <a:pt x="978" y="270"/>
                  </a:lnTo>
                  <a:lnTo>
                    <a:pt x="990" y="306"/>
                  </a:lnTo>
                  <a:lnTo>
                    <a:pt x="990" y="324"/>
                  </a:lnTo>
                  <a:lnTo>
                    <a:pt x="1002" y="336"/>
                  </a:lnTo>
                  <a:lnTo>
                    <a:pt x="1020" y="372"/>
                  </a:lnTo>
                  <a:lnTo>
                    <a:pt x="1014" y="378"/>
                  </a:lnTo>
                  <a:lnTo>
                    <a:pt x="1014" y="384"/>
                  </a:lnTo>
                  <a:lnTo>
                    <a:pt x="1020" y="384"/>
                  </a:lnTo>
                  <a:lnTo>
                    <a:pt x="1020" y="396"/>
                  </a:lnTo>
                  <a:lnTo>
                    <a:pt x="1062" y="468"/>
                  </a:lnTo>
                  <a:lnTo>
                    <a:pt x="1092" y="522"/>
                  </a:lnTo>
                  <a:lnTo>
                    <a:pt x="1110" y="546"/>
                  </a:lnTo>
                  <a:lnTo>
                    <a:pt x="1122" y="564"/>
                  </a:lnTo>
                  <a:lnTo>
                    <a:pt x="1134" y="576"/>
                  </a:lnTo>
                  <a:lnTo>
                    <a:pt x="1146" y="582"/>
                  </a:lnTo>
                  <a:lnTo>
                    <a:pt x="1146" y="588"/>
                  </a:lnTo>
                  <a:lnTo>
                    <a:pt x="1164" y="600"/>
                  </a:lnTo>
                  <a:lnTo>
                    <a:pt x="1170" y="612"/>
                  </a:lnTo>
                  <a:lnTo>
                    <a:pt x="1170" y="624"/>
                  </a:lnTo>
                  <a:lnTo>
                    <a:pt x="1176" y="654"/>
                  </a:lnTo>
                  <a:lnTo>
                    <a:pt x="1176" y="666"/>
                  </a:lnTo>
                  <a:lnTo>
                    <a:pt x="1182" y="684"/>
                  </a:lnTo>
                  <a:lnTo>
                    <a:pt x="1194" y="696"/>
                  </a:lnTo>
                  <a:lnTo>
                    <a:pt x="1212" y="696"/>
                  </a:lnTo>
                  <a:lnTo>
                    <a:pt x="1206" y="762"/>
                  </a:lnTo>
                  <a:lnTo>
                    <a:pt x="1200" y="768"/>
                  </a:lnTo>
                  <a:lnTo>
                    <a:pt x="1194" y="768"/>
                  </a:lnTo>
                  <a:lnTo>
                    <a:pt x="1194" y="774"/>
                  </a:lnTo>
                  <a:lnTo>
                    <a:pt x="1188" y="774"/>
                  </a:lnTo>
                  <a:lnTo>
                    <a:pt x="1182" y="780"/>
                  </a:lnTo>
                  <a:lnTo>
                    <a:pt x="1176" y="780"/>
                  </a:lnTo>
                  <a:lnTo>
                    <a:pt x="1170" y="780"/>
                  </a:lnTo>
                  <a:lnTo>
                    <a:pt x="1164" y="786"/>
                  </a:lnTo>
                  <a:lnTo>
                    <a:pt x="1158" y="786"/>
                  </a:lnTo>
                  <a:lnTo>
                    <a:pt x="1152" y="786"/>
                  </a:lnTo>
                  <a:lnTo>
                    <a:pt x="1140" y="786"/>
                  </a:lnTo>
                  <a:lnTo>
                    <a:pt x="1134" y="786"/>
                  </a:lnTo>
                  <a:lnTo>
                    <a:pt x="1134" y="780"/>
                  </a:lnTo>
                  <a:lnTo>
                    <a:pt x="1122" y="780"/>
                  </a:lnTo>
                  <a:lnTo>
                    <a:pt x="1116" y="786"/>
                  </a:lnTo>
                  <a:lnTo>
                    <a:pt x="1116" y="792"/>
                  </a:lnTo>
                  <a:lnTo>
                    <a:pt x="1122" y="804"/>
                  </a:lnTo>
                  <a:lnTo>
                    <a:pt x="1128" y="804"/>
                  </a:lnTo>
                  <a:lnTo>
                    <a:pt x="1128" y="816"/>
                  </a:lnTo>
                  <a:lnTo>
                    <a:pt x="1122" y="822"/>
                  </a:lnTo>
                  <a:lnTo>
                    <a:pt x="1116" y="816"/>
                  </a:lnTo>
                  <a:lnTo>
                    <a:pt x="1110" y="816"/>
                  </a:lnTo>
                  <a:lnTo>
                    <a:pt x="1104" y="816"/>
                  </a:lnTo>
                  <a:lnTo>
                    <a:pt x="1098" y="816"/>
                  </a:lnTo>
                  <a:lnTo>
                    <a:pt x="1098" y="822"/>
                  </a:lnTo>
                  <a:lnTo>
                    <a:pt x="1092" y="834"/>
                  </a:lnTo>
                  <a:lnTo>
                    <a:pt x="1092" y="840"/>
                  </a:lnTo>
                  <a:lnTo>
                    <a:pt x="1074" y="840"/>
                  </a:lnTo>
                  <a:lnTo>
                    <a:pt x="1074" y="828"/>
                  </a:lnTo>
                  <a:lnTo>
                    <a:pt x="1062" y="804"/>
                  </a:lnTo>
                  <a:lnTo>
                    <a:pt x="1056" y="792"/>
                  </a:lnTo>
                  <a:lnTo>
                    <a:pt x="1056" y="786"/>
                  </a:lnTo>
                  <a:lnTo>
                    <a:pt x="1026" y="780"/>
                  </a:lnTo>
                  <a:lnTo>
                    <a:pt x="1026" y="768"/>
                  </a:lnTo>
                  <a:lnTo>
                    <a:pt x="1008" y="768"/>
                  </a:lnTo>
                  <a:lnTo>
                    <a:pt x="1002" y="780"/>
                  </a:lnTo>
                  <a:lnTo>
                    <a:pt x="996" y="792"/>
                  </a:lnTo>
                  <a:lnTo>
                    <a:pt x="978" y="798"/>
                  </a:lnTo>
                  <a:lnTo>
                    <a:pt x="972" y="810"/>
                  </a:lnTo>
                  <a:lnTo>
                    <a:pt x="972" y="822"/>
                  </a:lnTo>
                  <a:lnTo>
                    <a:pt x="978" y="828"/>
                  </a:lnTo>
                  <a:lnTo>
                    <a:pt x="978" y="834"/>
                  </a:lnTo>
                  <a:lnTo>
                    <a:pt x="960" y="840"/>
                  </a:lnTo>
                  <a:lnTo>
                    <a:pt x="936" y="840"/>
                  </a:lnTo>
                  <a:lnTo>
                    <a:pt x="918" y="846"/>
                  </a:lnTo>
                  <a:lnTo>
                    <a:pt x="912" y="840"/>
                  </a:lnTo>
                  <a:lnTo>
                    <a:pt x="912" y="834"/>
                  </a:lnTo>
                  <a:lnTo>
                    <a:pt x="906" y="834"/>
                  </a:lnTo>
                  <a:lnTo>
                    <a:pt x="906" y="840"/>
                  </a:lnTo>
                  <a:lnTo>
                    <a:pt x="900" y="846"/>
                  </a:lnTo>
                  <a:lnTo>
                    <a:pt x="906" y="852"/>
                  </a:lnTo>
                  <a:lnTo>
                    <a:pt x="900" y="864"/>
                  </a:lnTo>
                  <a:lnTo>
                    <a:pt x="900" y="876"/>
                  </a:lnTo>
                  <a:lnTo>
                    <a:pt x="900" y="882"/>
                  </a:lnTo>
                  <a:lnTo>
                    <a:pt x="894" y="888"/>
                  </a:lnTo>
                  <a:lnTo>
                    <a:pt x="900" y="900"/>
                  </a:lnTo>
                  <a:lnTo>
                    <a:pt x="900" y="906"/>
                  </a:lnTo>
                  <a:lnTo>
                    <a:pt x="894" y="906"/>
                  </a:lnTo>
                  <a:lnTo>
                    <a:pt x="894" y="912"/>
                  </a:lnTo>
                  <a:lnTo>
                    <a:pt x="900" y="918"/>
                  </a:lnTo>
                  <a:lnTo>
                    <a:pt x="900" y="924"/>
                  </a:lnTo>
                  <a:lnTo>
                    <a:pt x="900" y="948"/>
                  </a:lnTo>
                  <a:lnTo>
                    <a:pt x="888" y="948"/>
                  </a:lnTo>
                  <a:lnTo>
                    <a:pt x="888" y="954"/>
                  </a:lnTo>
                  <a:lnTo>
                    <a:pt x="894" y="954"/>
                  </a:lnTo>
                  <a:lnTo>
                    <a:pt x="900" y="960"/>
                  </a:lnTo>
                  <a:lnTo>
                    <a:pt x="900" y="972"/>
                  </a:lnTo>
                  <a:lnTo>
                    <a:pt x="906" y="984"/>
                  </a:lnTo>
                  <a:lnTo>
                    <a:pt x="912" y="984"/>
                  </a:lnTo>
                  <a:lnTo>
                    <a:pt x="918" y="990"/>
                  </a:lnTo>
                  <a:lnTo>
                    <a:pt x="936" y="990"/>
                  </a:lnTo>
                  <a:lnTo>
                    <a:pt x="936" y="996"/>
                  </a:lnTo>
                  <a:lnTo>
                    <a:pt x="942" y="996"/>
                  </a:lnTo>
                  <a:lnTo>
                    <a:pt x="942" y="1002"/>
                  </a:lnTo>
                  <a:lnTo>
                    <a:pt x="942" y="1008"/>
                  </a:lnTo>
                  <a:lnTo>
                    <a:pt x="948" y="1008"/>
                  </a:lnTo>
                  <a:lnTo>
                    <a:pt x="948" y="1014"/>
                  </a:lnTo>
                  <a:lnTo>
                    <a:pt x="948" y="1020"/>
                  </a:lnTo>
                  <a:lnTo>
                    <a:pt x="954" y="1032"/>
                  </a:lnTo>
                  <a:lnTo>
                    <a:pt x="948" y="1038"/>
                  </a:lnTo>
                  <a:lnTo>
                    <a:pt x="954" y="1044"/>
                  </a:lnTo>
                  <a:lnTo>
                    <a:pt x="954" y="1056"/>
                  </a:lnTo>
                  <a:lnTo>
                    <a:pt x="960" y="1056"/>
                  </a:lnTo>
                  <a:lnTo>
                    <a:pt x="960" y="1062"/>
                  </a:lnTo>
                  <a:lnTo>
                    <a:pt x="954" y="1068"/>
                  </a:lnTo>
                  <a:lnTo>
                    <a:pt x="948" y="1074"/>
                  </a:lnTo>
                  <a:lnTo>
                    <a:pt x="948" y="1080"/>
                  </a:lnTo>
                  <a:lnTo>
                    <a:pt x="948" y="1086"/>
                  </a:lnTo>
                  <a:lnTo>
                    <a:pt x="942" y="1092"/>
                  </a:lnTo>
                  <a:lnTo>
                    <a:pt x="942" y="1098"/>
                  </a:lnTo>
                  <a:lnTo>
                    <a:pt x="942" y="1104"/>
                  </a:lnTo>
                  <a:lnTo>
                    <a:pt x="942" y="1110"/>
                  </a:lnTo>
                  <a:lnTo>
                    <a:pt x="936" y="1116"/>
                  </a:lnTo>
                  <a:lnTo>
                    <a:pt x="936" y="1122"/>
                  </a:lnTo>
                  <a:lnTo>
                    <a:pt x="936" y="1128"/>
                  </a:lnTo>
                  <a:lnTo>
                    <a:pt x="936" y="1134"/>
                  </a:lnTo>
                  <a:lnTo>
                    <a:pt x="942" y="1146"/>
                  </a:lnTo>
                  <a:lnTo>
                    <a:pt x="936" y="1158"/>
                  </a:lnTo>
                  <a:lnTo>
                    <a:pt x="936" y="1170"/>
                  </a:lnTo>
                  <a:lnTo>
                    <a:pt x="936" y="1194"/>
                  </a:lnTo>
                  <a:lnTo>
                    <a:pt x="930" y="1200"/>
                  </a:lnTo>
                  <a:lnTo>
                    <a:pt x="930" y="1212"/>
                  </a:lnTo>
                  <a:lnTo>
                    <a:pt x="918" y="1218"/>
                  </a:lnTo>
                  <a:lnTo>
                    <a:pt x="918" y="1230"/>
                  </a:lnTo>
                  <a:lnTo>
                    <a:pt x="906" y="1230"/>
                  </a:lnTo>
                  <a:lnTo>
                    <a:pt x="900" y="1254"/>
                  </a:lnTo>
                  <a:lnTo>
                    <a:pt x="900" y="1260"/>
                  </a:lnTo>
                  <a:lnTo>
                    <a:pt x="900" y="1266"/>
                  </a:lnTo>
                  <a:lnTo>
                    <a:pt x="900" y="1272"/>
                  </a:lnTo>
                  <a:lnTo>
                    <a:pt x="900" y="1278"/>
                  </a:lnTo>
                  <a:lnTo>
                    <a:pt x="900" y="1284"/>
                  </a:lnTo>
                  <a:lnTo>
                    <a:pt x="906" y="129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1" name="Freeform 26">
              <a:extLst>
                <a:ext uri="{FF2B5EF4-FFF2-40B4-BE49-F238E27FC236}">
                  <a16:creationId xmlns:a16="http://schemas.microsoft.com/office/drawing/2014/main" id="{25725EFE-FE00-49A8-A87A-6752B785C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79173" y="3477313"/>
              <a:ext cx="650731" cy="559125"/>
            </a:xfrm>
            <a:custGeom>
              <a:avLst/>
              <a:gdLst>
                <a:gd name="T0" fmla="*/ 95 w 1224"/>
                <a:gd name="T1" fmla="*/ 89 h 1050"/>
                <a:gd name="T2" fmla="*/ 90 w 1224"/>
                <a:gd name="T3" fmla="*/ 84 h 1050"/>
                <a:gd name="T4" fmla="*/ 84 w 1224"/>
                <a:gd name="T5" fmla="*/ 83 h 1050"/>
                <a:gd name="T6" fmla="*/ 82 w 1224"/>
                <a:gd name="T7" fmla="*/ 80 h 1050"/>
                <a:gd name="T8" fmla="*/ 85 w 1224"/>
                <a:gd name="T9" fmla="*/ 77 h 1050"/>
                <a:gd name="T10" fmla="*/ 81 w 1224"/>
                <a:gd name="T11" fmla="*/ 76 h 1050"/>
                <a:gd name="T12" fmla="*/ 77 w 1224"/>
                <a:gd name="T13" fmla="*/ 77 h 1050"/>
                <a:gd name="T14" fmla="*/ 78 w 1224"/>
                <a:gd name="T15" fmla="*/ 73 h 1050"/>
                <a:gd name="T16" fmla="*/ 59 w 1224"/>
                <a:gd name="T17" fmla="*/ 71 h 1050"/>
                <a:gd name="T18" fmla="*/ 41 w 1224"/>
                <a:gd name="T19" fmla="*/ 73 h 1050"/>
                <a:gd name="T20" fmla="*/ 33 w 1224"/>
                <a:gd name="T21" fmla="*/ 71 h 1050"/>
                <a:gd name="T22" fmla="*/ 30 w 1224"/>
                <a:gd name="T23" fmla="*/ 75 h 1050"/>
                <a:gd name="T24" fmla="*/ 27 w 1224"/>
                <a:gd name="T25" fmla="*/ 80 h 1050"/>
                <a:gd name="T26" fmla="*/ 12 w 1224"/>
                <a:gd name="T27" fmla="*/ 81 h 1050"/>
                <a:gd name="T28" fmla="*/ 9 w 1224"/>
                <a:gd name="T29" fmla="*/ 84 h 1050"/>
                <a:gd name="T30" fmla="*/ 6 w 1224"/>
                <a:gd name="T31" fmla="*/ 83 h 1050"/>
                <a:gd name="T32" fmla="*/ 1 w 1224"/>
                <a:gd name="T33" fmla="*/ 83 h 1050"/>
                <a:gd name="T34" fmla="*/ 3 w 1224"/>
                <a:gd name="T35" fmla="*/ 77 h 1050"/>
                <a:gd name="T36" fmla="*/ 5 w 1224"/>
                <a:gd name="T37" fmla="*/ 70 h 1050"/>
                <a:gd name="T38" fmla="*/ 2 w 1224"/>
                <a:gd name="T39" fmla="*/ 65 h 1050"/>
                <a:gd name="T40" fmla="*/ 3 w 1224"/>
                <a:gd name="T41" fmla="*/ 58 h 1050"/>
                <a:gd name="T42" fmla="*/ 4 w 1224"/>
                <a:gd name="T43" fmla="*/ 51 h 1050"/>
                <a:gd name="T44" fmla="*/ 3 w 1224"/>
                <a:gd name="T45" fmla="*/ 47 h 1050"/>
                <a:gd name="T46" fmla="*/ 4 w 1224"/>
                <a:gd name="T47" fmla="*/ 39 h 1050"/>
                <a:gd name="T48" fmla="*/ 6 w 1224"/>
                <a:gd name="T49" fmla="*/ 29 h 1050"/>
                <a:gd name="T50" fmla="*/ 3 w 1224"/>
                <a:gd name="T51" fmla="*/ 22 h 1050"/>
                <a:gd name="T52" fmla="*/ 2 w 1224"/>
                <a:gd name="T53" fmla="*/ 14 h 1050"/>
                <a:gd name="T54" fmla="*/ 0 w 1224"/>
                <a:gd name="T55" fmla="*/ 6 h 1050"/>
                <a:gd name="T56" fmla="*/ 9 w 1224"/>
                <a:gd name="T57" fmla="*/ 1 h 1050"/>
                <a:gd name="T58" fmla="*/ 11 w 1224"/>
                <a:gd name="T59" fmla="*/ 8 h 1050"/>
                <a:gd name="T60" fmla="*/ 15 w 1224"/>
                <a:gd name="T61" fmla="*/ 9 h 1050"/>
                <a:gd name="T62" fmla="*/ 18 w 1224"/>
                <a:gd name="T63" fmla="*/ 8 h 1050"/>
                <a:gd name="T64" fmla="*/ 18 w 1224"/>
                <a:gd name="T65" fmla="*/ 13 h 1050"/>
                <a:gd name="T66" fmla="*/ 17 w 1224"/>
                <a:gd name="T67" fmla="*/ 15 h 1050"/>
                <a:gd name="T68" fmla="*/ 17 w 1224"/>
                <a:gd name="T69" fmla="*/ 17 h 1050"/>
                <a:gd name="T70" fmla="*/ 17 w 1224"/>
                <a:gd name="T71" fmla="*/ 21 h 1050"/>
                <a:gd name="T72" fmla="*/ 21 w 1224"/>
                <a:gd name="T73" fmla="*/ 25 h 1050"/>
                <a:gd name="T74" fmla="*/ 24 w 1224"/>
                <a:gd name="T75" fmla="*/ 31 h 1050"/>
                <a:gd name="T76" fmla="*/ 35 w 1224"/>
                <a:gd name="T77" fmla="*/ 34 h 1050"/>
                <a:gd name="T78" fmla="*/ 40 w 1224"/>
                <a:gd name="T79" fmla="*/ 27 h 1050"/>
                <a:gd name="T80" fmla="*/ 46 w 1224"/>
                <a:gd name="T81" fmla="*/ 30 h 1050"/>
                <a:gd name="T82" fmla="*/ 51 w 1224"/>
                <a:gd name="T83" fmla="*/ 27 h 1050"/>
                <a:gd name="T84" fmla="*/ 59 w 1224"/>
                <a:gd name="T85" fmla="*/ 39 h 1050"/>
                <a:gd name="T86" fmla="*/ 59 w 1224"/>
                <a:gd name="T87" fmla="*/ 45 h 1050"/>
                <a:gd name="T88" fmla="*/ 72 w 1224"/>
                <a:gd name="T89" fmla="*/ 45 h 1050"/>
                <a:gd name="T90" fmla="*/ 79 w 1224"/>
                <a:gd name="T91" fmla="*/ 44 h 1050"/>
                <a:gd name="T92" fmla="*/ 87 w 1224"/>
                <a:gd name="T93" fmla="*/ 48 h 1050"/>
                <a:gd name="T94" fmla="*/ 93 w 1224"/>
                <a:gd name="T95" fmla="*/ 50 h 1050"/>
                <a:gd name="T96" fmla="*/ 98 w 1224"/>
                <a:gd name="T97" fmla="*/ 51 h 1050"/>
                <a:gd name="T98" fmla="*/ 106 w 1224"/>
                <a:gd name="T99" fmla="*/ 50 h 1050"/>
                <a:gd name="T100" fmla="*/ 104 w 1224"/>
                <a:gd name="T101" fmla="*/ 54 h 1050"/>
                <a:gd name="T102" fmla="*/ 104 w 1224"/>
                <a:gd name="T103" fmla="*/ 60 h 1050"/>
                <a:gd name="T104" fmla="*/ 101 w 1224"/>
                <a:gd name="T105" fmla="*/ 63 h 1050"/>
                <a:gd name="T106" fmla="*/ 98 w 1224"/>
                <a:gd name="T107" fmla="*/ 66 h 1050"/>
                <a:gd name="T108" fmla="*/ 95 w 1224"/>
                <a:gd name="T109" fmla="*/ 68 h 1050"/>
                <a:gd name="T110" fmla="*/ 93 w 1224"/>
                <a:gd name="T111" fmla="*/ 72 h 1050"/>
                <a:gd name="T112" fmla="*/ 98 w 1224"/>
                <a:gd name="T113" fmla="*/ 75 h 1050"/>
                <a:gd name="T114" fmla="*/ 102 w 1224"/>
                <a:gd name="T115" fmla="*/ 77 h 1050"/>
                <a:gd name="T116" fmla="*/ 107 w 1224"/>
                <a:gd name="T117" fmla="*/ 76 h 1050"/>
                <a:gd name="T118" fmla="*/ 104 w 1224"/>
                <a:gd name="T119" fmla="*/ 84 h 1050"/>
                <a:gd name="T120" fmla="*/ 103 w 1224"/>
                <a:gd name="T121" fmla="*/ 87 h 1050"/>
                <a:gd name="T122" fmla="*/ 104 w 1224"/>
                <a:gd name="T123" fmla="*/ 91 h 105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24"/>
                <a:gd name="T187" fmla="*/ 0 h 1050"/>
                <a:gd name="T188" fmla="*/ 1224 w 1224"/>
                <a:gd name="T189" fmla="*/ 1050 h 105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24" h="1050">
                  <a:moveTo>
                    <a:pt x="1128" y="1032"/>
                  </a:moveTo>
                  <a:lnTo>
                    <a:pt x="1122" y="1026"/>
                  </a:lnTo>
                  <a:lnTo>
                    <a:pt x="1116" y="1026"/>
                  </a:lnTo>
                  <a:lnTo>
                    <a:pt x="1110" y="1026"/>
                  </a:lnTo>
                  <a:lnTo>
                    <a:pt x="1104" y="1026"/>
                  </a:lnTo>
                  <a:lnTo>
                    <a:pt x="1104" y="1020"/>
                  </a:lnTo>
                  <a:lnTo>
                    <a:pt x="1098" y="1020"/>
                  </a:lnTo>
                  <a:lnTo>
                    <a:pt x="1092" y="1020"/>
                  </a:lnTo>
                  <a:lnTo>
                    <a:pt x="1086" y="1020"/>
                  </a:lnTo>
                  <a:lnTo>
                    <a:pt x="1080" y="1014"/>
                  </a:lnTo>
                  <a:lnTo>
                    <a:pt x="1068" y="1014"/>
                  </a:lnTo>
                  <a:lnTo>
                    <a:pt x="1062" y="1014"/>
                  </a:lnTo>
                  <a:lnTo>
                    <a:pt x="1062" y="1008"/>
                  </a:lnTo>
                  <a:lnTo>
                    <a:pt x="1062" y="990"/>
                  </a:lnTo>
                  <a:lnTo>
                    <a:pt x="1062" y="984"/>
                  </a:lnTo>
                  <a:lnTo>
                    <a:pt x="1062" y="972"/>
                  </a:lnTo>
                  <a:lnTo>
                    <a:pt x="1044" y="966"/>
                  </a:lnTo>
                  <a:lnTo>
                    <a:pt x="1026" y="966"/>
                  </a:lnTo>
                  <a:lnTo>
                    <a:pt x="1014" y="966"/>
                  </a:lnTo>
                  <a:lnTo>
                    <a:pt x="996" y="966"/>
                  </a:lnTo>
                  <a:lnTo>
                    <a:pt x="996" y="972"/>
                  </a:lnTo>
                  <a:lnTo>
                    <a:pt x="990" y="972"/>
                  </a:lnTo>
                  <a:lnTo>
                    <a:pt x="984" y="966"/>
                  </a:lnTo>
                  <a:lnTo>
                    <a:pt x="978" y="966"/>
                  </a:lnTo>
                  <a:lnTo>
                    <a:pt x="978" y="960"/>
                  </a:lnTo>
                  <a:lnTo>
                    <a:pt x="972" y="954"/>
                  </a:lnTo>
                  <a:lnTo>
                    <a:pt x="966" y="954"/>
                  </a:lnTo>
                  <a:lnTo>
                    <a:pt x="960" y="954"/>
                  </a:lnTo>
                  <a:lnTo>
                    <a:pt x="954" y="954"/>
                  </a:lnTo>
                  <a:lnTo>
                    <a:pt x="954" y="948"/>
                  </a:lnTo>
                  <a:lnTo>
                    <a:pt x="942" y="942"/>
                  </a:lnTo>
                  <a:lnTo>
                    <a:pt x="936" y="942"/>
                  </a:lnTo>
                  <a:lnTo>
                    <a:pt x="936" y="936"/>
                  </a:lnTo>
                  <a:lnTo>
                    <a:pt x="936" y="930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42" y="918"/>
                  </a:lnTo>
                  <a:lnTo>
                    <a:pt x="948" y="918"/>
                  </a:lnTo>
                  <a:lnTo>
                    <a:pt x="960" y="918"/>
                  </a:lnTo>
                  <a:lnTo>
                    <a:pt x="966" y="912"/>
                  </a:lnTo>
                  <a:lnTo>
                    <a:pt x="978" y="906"/>
                  </a:lnTo>
                  <a:lnTo>
                    <a:pt x="978" y="900"/>
                  </a:lnTo>
                  <a:lnTo>
                    <a:pt x="978" y="894"/>
                  </a:lnTo>
                  <a:lnTo>
                    <a:pt x="978" y="888"/>
                  </a:lnTo>
                  <a:lnTo>
                    <a:pt x="972" y="888"/>
                  </a:lnTo>
                  <a:lnTo>
                    <a:pt x="978" y="888"/>
                  </a:lnTo>
                  <a:lnTo>
                    <a:pt x="978" y="882"/>
                  </a:lnTo>
                  <a:lnTo>
                    <a:pt x="972" y="876"/>
                  </a:lnTo>
                  <a:lnTo>
                    <a:pt x="966" y="870"/>
                  </a:lnTo>
                  <a:lnTo>
                    <a:pt x="954" y="876"/>
                  </a:lnTo>
                  <a:lnTo>
                    <a:pt x="948" y="876"/>
                  </a:lnTo>
                  <a:lnTo>
                    <a:pt x="942" y="870"/>
                  </a:lnTo>
                  <a:lnTo>
                    <a:pt x="936" y="876"/>
                  </a:lnTo>
                  <a:lnTo>
                    <a:pt x="930" y="876"/>
                  </a:lnTo>
                  <a:lnTo>
                    <a:pt x="924" y="882"/>
                  </a:lnTo>
                  <a:lnTo>
                    <a:pt x="912" y="888"/>
                  </a:lnTo>
                  <a:lnTo>
                    <a:pt x="906" y="894"/>
                  </a:lnTo>
                  <a:lnTo>
                    <a:pt x="900" y="900"/>
                  </a:lnTo>
                  <a:lnTo>
                    <a:pt x="894" y="888"/>
                  </a:lnTo>
                  <a:lnTo>
                    <a:pt x="888" y="894"/>
                  </a:lnTo>
                  <a:lnTo>
                    <a:pt x="882" y="888"/>
                  </a:lnTo>
                  <a:lnTo>
                    <a:pt x="876" y="894"/>
                  </a:lnTo>
                  <a:lnTo>
                    <a:pt x="876" y="888"/>
                  </a:lnTo>
                  <a:lnTo>
                    <a:pt x="876" y="882"/>
                  </a:lnTo>
                  <a:lnTo>
                    <a:pt x="876" y="876"/>
                  </a:lnTo>
                  <a:lnTo>
                    <a:pt x="870" y="858"/>
                  </a:lnTo>
                  <a:lnTo>
                    <a:pt x="864" y="858"/>
                  </a:lnTo>
                  <a:lnTo>
                    <a:pt x="870" y="852"/>
                  </a:lnTo>
                  <a:lnTo>
                    <a:pt x="870" y="846"/>
                  </a:lnTo>
                  <a:lnTo>
                    <a:pt x="876" y="846"/>
                  </a:lnTo>
                  <a:lnTo>
                    <a:pt x="882" y="846"/>
                  </a:lnTo>
                  <a:lnTo>
                    <a:pt x="888" y="840"/>
                  </a:lnTo>
                  <a:lnTo>
                    <a:pt x="894" y="834"/>
                  </a:lnTo>
                  <a:lnTo>
                    <a:pt x="894" y="828"/>
                  </a:lnTo>
                  <a:lnTo>
                    <a:pt x="894" y="816"/>
                  </a:lnTo>
                  <a:lnTo>
                    <a:pt x="858" y="810"/>
                  </a:lnTo>
                  <a:lnTo>
                    <a:pt x="858" y="816"/>
                  </a:lnTo>
                  <a:lnTo>
                    <a:pt x="852" y="816"/>
                  </a:lnTo>
                  <a:lnTo>
                    <a:pt x="780" y="816"/>
                  </a:lnTo>
                  <a:lnTo>
                    <a:pt x="750" y="816"/>
                  </a:lnTo>
                  <a:lnTo>
                    <a:pt x="684" y="816"/>
                  </a:lnTo>
                  <a:lnTo>
                    <a:pt x="636" y="816"/>
                  </a:lnTo>
                  <a:lnTo>
                    <a:pt x="612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0" y="816"/>
                  </a:lnTo>
                  <a:lnTo>
                    <a:pt x="480" y="822"/>
                  </a:lnTo>
                  <a:lnTo>
                    <a:pt x="480" y="834"/>
                  </a:lnTo>
                  <a:lnTo>
                    <a:pt x="474" y="840"/>
                  </a:lnTo>
                  <a:lnTo>
                    <a:pt x="468" y="840"/>
                  </a:lnTo>
                  <a:lnTo>
                    <a:pt x="432" y="840"/>
                  </a:lnTo>
                  <a:lnTo>
                    <a:pt x="426" y="834"/>
                  </a:lnTo>
                  <a:lnTo>
                    <a:pt x="420" y="834"/>
                  </a:lnTo>
                  <a:lnTo>
                    <a:pt x="420" y="828"/>
                  </a:lnTo>
                  <a:lnTo>
                    <a:pt x="414" y="822"/>
                  </a:lnTo>
                  <a:lnTo>
                    <a:pt x="408" y="822"/>
                  </a:lnTo>
                  <a:lnTo>
                    <a:pt x="396" y="822"/>
                  </a:lnTo>
                  <a:lnTo>
                    <a:pt x="396" y="816"/>
                  </a:lnTo>
                  <a:lnTo>
                    <a:pt x="384" y="816"/>
                  </a:lnTo>
                  <a:lnTo>
                    <a:pt x="372" y="810"/>
                  </a:lnTo>
                  <a:lnTo>
                    <a:pt x="372" y="804"/>
                  </a:lnTo>
                  <a:lnTo>
                    <a:pt x="366" y="804"/>
                  </a:lnTo>
                  <a:lnTo>
                    <a:pt x="360" y="804"/>
                  </a:lnTo>
                  <a:lnTo>
                    <a:pt x="348" y="828"/>
                  </a:lnTo>
                  <a:lnTo>
                    <a:pt x="348" y="834"/>
                  </a:lnTo>
                  <a:lnTo>
                    <a:pt x="348" y="852"/>
                  </a:lnTo>
                  <a:lnTo>
                    <a:pt x="348" y="858"/>
                  </a:lnTo>
                  <a:lnTo>
                    <a:pt x="342" y="864"/>
                  </a:lnTo>
                  <a:lnTo>
                    <a:pt x="342" y="870"/>
                  </a:lnTo>
                  <a:lnTo>
                    <a:pt x="330" y="876"/>
                  </a:lnTo>
                  <a:lnTo>
                    <a:pt x="324" y="888"/>
                  </a:lnTo>
                  <a:lnTo>
                    <a:pt x="324" y="894"/>
                  </a:lnTo>
                  <a:lnTo>
                    <a:pt x="330" y="900"/>
                  </a:lnTo>
                  <a:lnTo>
                    <a:pt x="330" y="906"/>
                  </a:lnTo>
                  <a:lnTo>
                    <a:pt x="324" y="906"/>
                  </a:lnTo>
                  <a:lnTo>
                    <a:pt x="318" y="912"/>
                  </a:lnTo>
                  <a:lnTo>
                    <a:pt x="312" y="918"/>
                  </a:lnTo>
                  <a:lnTo>
                    <a:pt x="306" y="924"/>
                  </a:lnTo>
                  <a:lnTo>
                    <a:pt x="288" y="924"/>
                  </a:lnTo>
                  <a:lnTo>
                    <a:pt x="282" y="924"/>
                  </a:lnTo>
                  <a:lnTo>
                    <a:pt x="276" y="930"/>
                  </a:lnTo>
                  <a:lnTo>
                    <a:pt x="270" y="930"/>
                  </a:lnTo>
                  <a:lnTo>
                    <a:pt x="264" y="930"/>
                  </a:lnTo>
                  <a:lnTo>
                    <a:pt x="198" y="930"/>
                  </a:lnTo>
                  <a:lnTo>
                    <a:pt x="132" y="930"/>
                  </a:lnTo>
                  <a:lnTo>
                    <a:pt x="132" y="936"/>
                  </a:lnTo>
                  <a:lnTo>
                    <a:pt x="132" y="942"/>
                  </a:lnTo>
                  <a:lnTo>
                    <a:pt x="132" y="948"/>
                  </a:lnTo>
                  <a:lnTo>
                    <a:pt x="126" y="948"/>
                  </a:lnTo>
                  <a:lnTo>
                    <a:pt x="120" y="948"/>
                  </a:lnTo>
                  <a:lnTo>
                    <a:pt x="120" y="954"/>
                  </a:lnTo>
                  <a:lnTo>
                    <a:pt x="114" y="954"/>
                  </a:lnTo>
                  <a:lnTo>
                    <a:pt x="114" y="960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02" y="966"/>
                  </a:lnTo>
                  <a:lnTo>
                    <a:pt x="102" y="972"/>
                  </a:lnTo>
                  <a:lnTo>
                    <a:pt x="96" y="972"/>
                  </a:lnTo>
                  <a:lnTo>
                    <a:pt x="96" y="966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78" y="960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60"/>
                  </a:lnTo>
                  <a:lnTo>
                    <a:pt x="54" y="966"/>
                  </a:lnTo>
                  <a:lnTo>
                    <a:pt x="48" y="966"/>
                  </a:lnTo>
                  <a:lnTo>
                    <a:pt x="42" y="966"/>
                  </a:lnTo>
                  <a:lnTo>
                    <a:pt x="36" y="966"/>
                  </a:lnTo>
                  <a:lnTo>
                    <a:pt x="30" y="966"/>
                  </a:lnTo>
                  <a:lnTo>
                    <a:pt x="24" y="960"/>
                  </a:lnTo>
                  <a:lnTo>
                    <a:pt x="18" y="960"/>
                  </a:lnTo>
                  <a:lnTo>
                    <a:pt x="12" y="960"/>
                  </a:lnTo>
                  <a:lnTo>
                    <a:pt x="12" y="948"/>
                  </a:lnTo>
                  <a:lnTo>
                    <a:pt x="18" y="942"/>
                  </a:lnTo>
                  <a:lnTo>
                    <a:pt x="18" y="936"/>
                  </a:lnTo>
                  <a:lnTo>
                    <a:pt x="18" y="930"/>
                  </a:lnTo>
                  <a:lnTo>
                    <a:pt x="18" y="924"/>
                  </a:lnTo>
                  <a:lnTo>
                    <a:pt x="18" y="912"/>
                  </a:lnTo>
                  <a:lnTo>
                    <a:pt x="24" y="906"/>
                  </a:lnTo>
                  <a:lnTo>
                    <a:pt x="30" y="900"/>
                  </a:lnTo>
                  <a:lnTo>
                    <a:pt x="36" y="894"/>
                  </a:lnTo>
                  <a:lnTo>
                    <a:pt x="36" y="882"/>
                  </a:lnTo>
                  <a:lnTo>
                    <a:pt x="30" y="876"/>
                  </a:lnTo>
                  <a:lnTo>
                    <a:pt x="30" y="870"/>
                  </a:lnTo>
                  <a:lnTo>
                    <a:pt x="24" y="858"/>
                  </a:lnTo>
                  <a:lnTo>
                    <a:pt x="24" y="846"/>
                  </a:lnTo>
                  <a:lnTo>
                    <a:pt x="36" y="822"/>
                  </a:lnTo>
                  <a:lnTo>
                    <a:pt x="42" y="816"/>
                  </a:lnTo>
                  <a:lnTo>
                    <a:pt x="48" y="816"/>
                  </a:lnTo>
                  <a:lnTo>
                    <a:pt x="60" y="804"/>
                  </a:lnTo>
                  <a:lnTo>
                    <a:pt x="60" y="786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54" y="762"/>
                  </a:lnTo>
                  <a:lnTo>
                    <a:pt x="42" y="762"/>
                  </a:lnTo>
                  <a:lnTo>
                    <a:pt x="36" y="762"/>
                  </a:lnTo>
                  <a:lnTo>
                    <a:pt x="30" y="762"/>
                  </a:lnTo>
                  <a:lnTo>
                    <a:pt x="30" y="756"/>
                  </a:lnTo>
                  <a:lnTo>
                    <a:pt x="24" y="750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702"/>
                  </a:lnTo>
                  <a:lnTo>
                    <a:pt x="36" y="684"/>
                  </a:lnTo>
                  <a:lnTo>
                    <a:pt x="36" y="678"/>
                  </a:lnTo>
                  <a:lnTo>
                    <a:pt x="36" y="666"/>
                  </a:lnTo>
                  <a:lnTo>
                    <a:pt x="36" y="654"/>
                  </a:lnTo>
                  <a:lnTo>
                    <a:pt x="18" y="654"/>
                  </a:lnTo>
                  <a:lnTo>
                    <a:pt x="18" y="648"/>
                  </a:lnTo>
                  <a:lnTo>
                    <a:pt x="18" y="618"/>
                  </a:lnTo>
                  <a:lnTo>
                    <a:pt x="18" y="612"/>
                  </a:lnTo>
                  <a:lnTo>
                    <a:pt x="24" y="612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54" y="588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76"/>
                  </a:lnTo>
                  <a:lnTo>
                    <a:pt x="48" y="564"/>
                  </a:lnTo>
                  <a:lnTo>
                    <a:pt x="42" y="564"/>
                  </a:lnTo>
                  <a:lnTo>
                    <a:pt x="36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6" y="540"/>
                  </a:lnTo>
                  <a:lnTo>
                    <a:pt x="48" y="534"/>
                  </a:lnTo>
                  <a:lnTo>
                    <a:pt x="54" y="528"/>
                  </a:lnTo>
                  <a:lnTo>
                    <a:pt x="60" y="504"/>
                  </a:lnTo>
                  <a:lnTo>
                    <a:pt x="60" y="492"/>
                  </a:lnTo>
                  <a:lnTo>
                    <a:pt x="54" y="492"/>
                  </a:lnTo>
                  <a:lnTo>
                    <a:pt x="54" y="480"/>
                  </a:lnTo>
                  <a:lnTo>
                    <a:pt x="48" y="456"/>
                  </a:lnTo>
                  <a:lnTo>
                    <a:pt x="42" y="450"/>
                  </a:lnTo>
                  <a:lnTo>
                    <a:pt x="36" y="444"/>
                  </a:lnTo>
                  <a:lnTo>
                    <a:pt x="36" y="420"/>
                  </a:lnTo>
                  <a:lnTo>
                    <a:pt x="36" y="408"/>
                  </a:lnTo>
                  <a:lnTo>
                    <a:pt x="36" y="37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60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6" y="300"/>
                  </a:lnTo>
                  <a:lnTo>
                    <a:pt x="60" y="294"/>
                  </a:lnTo>
                  <a:lnTo>
                    <a:pt x="60" y="288"/>
                  </a:lnTo>
                  <a:lnTo>
                    <a:pt x="54" y="282"/>
                  </a:lnTo>
                  <a:lnTo>
                    <a:pt x="42" y="276"/>
                  </a:lnTo>
                  <a:lnTo>
                    <a:pt x="36" y="276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0" y="252"/>
                  </a:lnTo>
                  <a:lnTo>
                    <a:pt x="24" y="246"/>
                  </a:lnTo>
                  <a:lnTo>
                    <a:pt x="24" y="240"/>
                  </a:lnTo>
                  <a:lnTo>
                    <a:pt x="24" y="228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62"/>
                  </a:lnTo>
                  <a:lnTo>
                    <a:pt x="24" y="144"/>
                  </a:lnTo>
                  <a:lnTo>
                    <a:pt x="24" y="132"/>
                  </a:lnTo>
                  <a:lnTo>
                    <a:pt x="24" y="114"/>
                  </a:lnTo>
                  <a:lnTo>
                    <a:pt x="24" y="102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18" y="48"/>
                  </a:lnTo>
                  <a:lnTo>
                    <a:pt x="42" y="36"/>
                  </a:lnTo>
                  <a:lnTo>
                    <a:pt x="54" y="24"/>
                  </a:lnTo>
                  <a:lnTo>
                    <a:pt x="60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10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14" y="60"/>
                  </a:lnTo>
                  <a:lnTo>
                    <a:pt x="120" y="60"/>
                  </a:lnTo>
                  <a:lnTo>
                    <a:pt x="114" y="84"/>
                  </a:lnTo>
                  <a:lnTo>
                    <a:pt x="120" y="90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38" y="114"/>
                  </a:lnTo>
                  <a:lnTo>
                    <a:pt x="138" y="132"/>
                  </a:lnTo>
                  <a:lnTo>
                    <a:pt x="162" y="126"/>
                  </a:lnTo>
                  <a:lnTo>
                    <a:pt x="162" y="114"/>
                  </a:lnTo>
                  <a:lnTo>
                    <a:pt x="174" y="108"/>
                  </a:lnTo>
                  <a:lnTo>
                    <a:pt x="174" y="102"/>
                  </a:lnTo>
                  <a:lnTo>
                    <a:pt x="180" y="96"/>
                  </a:lnTo>
                  <a:lnTo>
                    <a:pt x="180" y="60"/>
                  </a:lnTo>
                  <a:lnTo>
                    <a:pt x="192" y="60"/>
                  </a:lnTo>
                  <a:lnTo>
                    <a:pt x="192" y="72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04" y="108"/>
                  </a:lnTo>
                  <a:lnTo>
                    <a:pt x="204" y="114"/>
                  </a:lnTo>
                  <a:lnTo>
                    <a:pt x="204" y="120"/>
                  </a:lnTo>
                  <a:lnTo>
                    <a:pt x="204" y="126"/>
                  </a:lnTo>
                  <a:lnTo>
                    <a:pt x="210" y="126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8" y="174"/>
                  </a:lnTo>
                  <a:lnTo>
                    <a:pt x="198" y="180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86" y="204"/>
                  </a:lnTo>
                  <a:lnTo>
                    <a:pt x="186" y="210"/>
                  </a:lnTo>
                  <a:lnTo>
                    <a:pt x="180" y="210"/>
                  </a:lnTo>
                  <a:lnTo>
                    <a:pt x="180" y="216"/>
                  </a:lnTo>
                  <a:lnTo>
                    <a:pt x="180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92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8" y="258"/>
                  </a:lnTo>
                  <a:lnTo>
                    <a:pt x="204" y="258"/>
                  </a:lnTo>
                  <a:lnTo>
                    <a:pt x="210" y="258"/>
                  </a:lnTo>
                  <a:lnTo>
                    <a:pt x="216" y="258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34" y="276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46" y="306"/>
                  </a:lnTo>
                  <a:lnTo>
                    <a:pt x="252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42"/>
                  </a:lnTo>
                  <a:lnTo>
                    <a:pt x="270" y="342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88" y="366"/>
                  </a:lnTo>
                  <a:lnTo>
                    <a:pt x="336" y="360"/>
                  </a:lnTo>
                  <a:lnTo>
                    <a:pt x="354" y="360"/>
                  </a:lnTo>
                  <a:lnTo>
                    <a:pt x="366" y="372"/>
                  </a:lnTo>
                  <a:lnTo>
                    <a:pt x="378" y="378"/>
                  </a:lnTo>
                  <a:lnTo>
                    <a:pt x="378" y="390"/>
                  </a:lnTo>
                  <a:lnTo>
                    <a:pt x="384" y="390"/>
                  </a:lnTo>
                  <a:lnTo>
                    <a:pt x="390" y="396"/>
                  </a:lnTo>
                  <a:lnTo>
                    <a:pt x="408" y="390"/>
                  </a:lnTo>
                  <a:lnTo>
                    <a:pt x="426" y="366"/>
                  </a:lnTo>
                  <a:lnTo>
                    <a:pt x="432" y="360"/>
                  </a:lnTo>
                  <a:lnTo>
                    <a:pt x="438" y="348"/>
                  </a:lnTo>
                  <a:lnTo>
                    <a:pt x="438" y="342"/>
                  </a:lnTo>
                  <a:lnTo>
                    <a:pt x="438" y="330"/>
                  </a:lnTo>
                  <a:lnTo>
                    <a:pt x="444" y="324"/>
                  </a:lnTo>
                  <a:lnTo>
                    <a:pt x="450" y="318"/>
                  </a:lnTo>
                  <a:lnTo>
                    <a:pt x="456" y="312"/>
                  </a:lnTo>
                  <a:lnTo>
                    <a:pt x="456" y="306"/>
                  </a:lnTo>
                  <a:lnTo>
                    <a:pt x="456" y="300"/>
                  </a:lnTo>
                  <a:lnTo>
                    <a:pt x="474" y="288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92" y="294"/>
                  </a:lnTo>
                  <a:lnTo>
                    <a:pt x="492" y="318"/>
                  </a:lnTo>
                  <a:lnTo>
                    <a:pt x="504" y="324"/>
                  </a:lnTo>
                  <a:lnTo>
                    <a:pt x="492" y="348"/>
                  </a:lnTo>
                  <a:lnTo>
                    <a:pt x="522" y="348"/>
                  </a:lnTo>
                  <a:lnTo>
                    <a:pt x="528" y="342"/>
                  </a:lnTo>
                  <a:lnTo>
                    <a:pt x="528" y="336"/>
                  </a:lnTo>
                  <a:lnTo>
                    <a:pt x="528" y="330"/>
                  </a:lnTo>
                  <a:lnTo>
                    <a:pt x="534" y="330"/>
                  </a:lnTo>
                  <a:lnTo>
                    <a:pt x="540" y="330"/>
                  </a:lnTo>
                  <a:lnTo>
                    <a:pt x="546" y="330"/>
                  </a:lnTo>
                  <a:lnTo>
                    <a:pt x="552" y="324"/>
                  </a:lnTo>
                  <a:lnTo>
                    <a:pt x="558" y="318"/>
                  </a:lnTo>
                  <a:lnTo>
                    <a:pt x="576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8" y="348"/>
                  </a:lnTo>
                  <a:lnTo>
                    <a:pt x="654" y="354"/>
                  </a:lnTo>
                  <a:lnTo>
                    <a:pt x="648" y="402"/>
                  </a:lnTo>
                  <a:lnTo>
                    <a:pt x="678" y="402"/>
                  </a:lnTo>
                  <a:lnTo>
                    <a:pt x="678" y="420"/>
                  </a:lnTo>
                  <a:lnTo>
                    <a:pt x="684" y="438"/>
                  </a:lnTo>
                  <a:lnTo>
                    <a:pt x="684" y="450"/>
                  </a:lnTo>
                  <a:lnTo>
                    <a:pt x="684" y="456"/>
                  </a:lnTo>
                  <a:lnTo>
                    <a:pt x="690" y="468"/>
                  </a:lnTo>
                  <a:lnTo>
                    <a:pt x="690" y="474"/>
                  </a:lnTo>
                  <a:lnTo>
                    <a:pt x="690" y="480"/>
                  </a:lnTo>
                  <a:lnTo>
                    <a:pt x="696" y="486"/>
                  </a:lnTo>
                  <a:lnTo>
                    <a:pt x="696" y="498"/>
                  </a:lnTo>
                  <a:lnTo>
                    <a:pt x="702" y="504"/>
                  </a:lnTo>
                  <a:lnTo>
                    <a:pt x="690" y="516"/>
                  </a:lnTo>
                  <a:lnTo>
                    <a:pt x="678" y="522"/>
                  </a:lnTo>
                  <a:lnTo>
                    <a:pt x="654" y="528"/>
                  </a:lnTo>
                  <a:lnTo>
                    <a:pt x="660" y="546"/>
                  </a:lnTo>
                  <a:lnTo>
                    <a:pt x="672" y="546"/>
                  </a:lnTo>
                  <a:lnTo>
                    <a:pt x="678" y="540"/>
                  </a:lnTo>
                  <a:lnTo>
                    <a:pt x="714" y="540"/>
                  </a:lnTo>
                  <a:lnTo>
                    <a:pt x="798" y="540"/>
                  </a:lnTo>
                  <a:lnTo>
                    <a:pt x="804" y="540"/>
                  </a:lnTo>
                  <a:lnTo>
                    <a:pt x="816" y="528"/>
                  </a:lnTo>
                  <a:lnTo>
                    <a:pt x="822" y="522"/>
                  </a:lnTo>
                  <a:lnTo>
                    <a:pt x="834" y="516"/>
                  </a:lnTo>
                  <a:lnTo>
                    <a:pt x="846" y="516"/>
                  </a:lnTo>
                  <a:lnTo>
                    <a:pt x="852" y="510"/>
                  </a:lnTo>
                  <a:lnTo>
                    <a:pt x="858" y="510"/>
                  </a:lnTo>
                  <a:lnTo>
                    <a:pt x="882" y="516"/>
                  </a:lnTo>
                  <a:lnTo>
                    <a:pt x="888" y="516"/>
                  </a:lnTo>
                  <a:lnTo>
                    <a:pt x="888" y="510"/>
                  </a:lnTo>
                  <a:lnTo>
                    <a:pt x="894" y="510"/>
                  </a:lnTo>
                  <a:lnTo>
                    <a:pt x="906" y="504"/>
                  </a:lnTo>
                  <a:lnTo>
                    <a:pt x="918" y="498"/>
                  </a:lnTo>
                  <a:lnTo>
                    <a:pt x="930" y="492"/>
                  </a:lnTo>
                  <a:lnTo>
                    <a:pt x="936" y="492"/>
                  </a:lnTo>
                  <a:lnTo>
                    <a:pt x="948" y="492"/>
                  </a:lnTo>
                  <a:lnTo>
                    <a:pt x="954" y="528"/>
                  </a:lnTo>
                  <a:lnTo>
                    <a:pt x="954" y="564"/>
                  </a:lnTo>
                  <a:lnTo>
                    <a:pt x="972" y="564"/>
                  </a:lnTo>
                  <a:lnTo>
                    <a:pt x="978" y="558"/>
                  </a:lnTo>
                  <a:lnTo>
                    <a:pt x="990" y="552"/>
                  </a:lnTo>
                  <a:lnTo>
                    <a:pt x="1002" y="540"/>
                  </a:lnTo>
                  <a:lnTo>
                    <a:pt x="1026" y="534"/>
                  </a:lnTo>
                  <a:lnTo>
                    <a:pt x="1032" y="540"/>
                  </a:lnTo>
                  <a:lnTo>
                    <a:pt x="1044" y="546"/>
                  </a:lnTo>
                  <a:lnTo>
                    <a:pt x="1062" y="552"/>
                  </a:lnTo>
                  <a:lnTo>
                    <a:pt x="1068" y="552"/>
                  </a:lnTo>
                  <a:lnTo>
                    <a:pt x="1068" y="570"/>
                  </a:lnTo>
                  <a:lnTo>
                    <a:pt x="1068" y="576"/>
                  </a:lnTo>
                  <a:lnTo>
                    <a:pt x="1068" y="582"/>
                  </a:lnTo>
                  <a:lnTo>
                    <a:pt x="1068" y="588"/>
                  </a:lnTo>
                  <a:lnTo>
                    <a:pt x="1068" y="594"/>
                  </a:lnTo>
                  <a:lnTo>
                    <a:pt x="1080" y="600"/>
                  </a:lnTo>
                  <a:lnTo>
                    <a:pt x="1086" y="606"/>
                  </a:lnTo>
                  <a:lnTo>
                    <a:pt x="1092" y="594"/>
                  </a:lnTo>
                  <a:lnTo>
                    <a:pt x="1104" y="588"/>
                  </a:lnTo>
                  <a:lnTo>
                    <a:pt x="1116" y="588"/>
                  </a:lnTo>
                  <a:lnTo>
                    <a:pt x="1122" y="588"/>
                  </a:lnTo>
                  <a:lnTo>
                    <a:pt x="1122" y="594"/>
                  </a:lnTo>
                  <a:lnTo>
                    <a:pt x="1128" y="594"/>
                  </a:lnTo>
                  <a:lnTo>
                    <a:pt x="1134" y="594"/>
                  </a:lnTo>
                  <a:lnTo>
                    <a:pt x="1140" y="594"/>
                  </a:lnTo>
                  <a:lnTo>
                    <a:pt x="1146" y="588"/>
                  </a:lnTo>
                  <a:lnTo>
                    <a:pt x="1158" y="582"/>
                  </a:lnTo>
                  <a:lnTo>
                    <a:pt x="1164" y="576"/>
                  </a:lnTo>
                  <a:lnTo>
                    <a:pt x="1176" y="576"/>
                  </a:lnTo>
                  <a:lnTo>
                    <a:pt x="1194" y="576"/>
                  </a:lnTo>
                  <a:lnTo>
                    <a:pt x="1218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24" y="594"/>
                  </a:lnTo>
                  <a:lnTo>
                    <a:pt x="1212" y="600"/>
                  </a:lnTo>
                  <a:lnTo>
                    <a:pt x="1206" y="606"/>
                  </a:lnTo>
                  <a:lnTo>
                    <a:pt x="1200" y="606"/>
                  </a:lnTo>
                  <a:lnTo>
                    <a:pt x="1200" y="612"/>
                  </a:lnTo>
                  <a:lnTo>
                    <a:pt x="1194" y="612"/>
                  </a:lnTo>
                  <a:lnTo>
                    <a:pt x="1194" y="618"/>
                  </a:lnTo>
                  <a:lnTo>
                    <a:pt x="1194" y="624"/>
                  </a:lnTo>
                  <a:lnTo>
                    <a:pt x="1194" y="630"/>
                  </a:lnTo>
                  <a:lnTo>
                    <a:pt x="1194" y="648"/>
                  </a:lnTo>
                  <a:lnTo>
                    <a:pt x="1194" y="660"/>
                  </a:lnTo>
                  <a:lnTo>
                    <a:pt x="1194" y="666"/>
                  </a:lnTo>
                  <a:lnTo>
                    <a:pt x="1194" y="672"/>
                  </a:lnTo>
                  <a:lnTo>
                    <a:pt x="1194" y="678"/>
                  </a:lnTo>
                  <a:lnTo>
                    <a:pt x="1188" y="684"/>
                  </a:lnTo>
                  <a:lnTo>
                    <a:pt x="1188" y="690"/>
                  </a:lnTo>
                  <a:lnTo>
                    <a:pt x="1188" y="696"/>
                  </a:lnTo>
                  <a:lnTo>
                    <a:pt x="1188" y="702"/>
                  </a:lnTo>
                  <a:lnTo>
                    <a:pt x="1188" y="708"/>
                  </a:lnTo>
                  <a:lnTo>
                    <a:pt x="1188" y="714"/>
                  </a:lnTo>
                  <a:lnTo>
                    <a:pt x="1182" y="720"/>
                  </a:lnTo>
                  <a:lnTo>
                    <a:pt x="1170" y="720"/>
                  </a:lnTo>
                  <a:lnTo>
                    <a:pt x="1158" y="726"/>
                  </a:lnTo>
                  <a:lnTo>
                    <a:pt x="1152" y="726"/>
                  </a:lnTo>
                  <a:lnTo>
                    <a:pt x="1152" y="732"/>
                  </a:lnTo>
                  <a:lnTo>
                    <a:pt x="1146" y="738"/>
                  </a:lnTo>
                  <a:lnTo>
                    <a:pt x="1140" y="738"/>
                  </a:lnTo>
                  <a:lnTo>
                    <a:pt x="1140" y="744"/>
                  </a:lnTo>
                  <a:lnTo>
                    <a:pt x="1134" y="744"/>
                  </a:lnTo>
                  <a:lnTo>
                    <a:pt x="1128" y="744"/>
                  </a:lnTo>
                  <a:lnTo>
                    <a:pt x="1122" y="750"/>
                  </a:lnTo>
                  <a:lnTo>
                    <a:pt x="1128" y="750"/>
                  </a:lnTo>
                  <a:lnTo>
                    <a:pt x="1122" y="756"/>
                  </a:lnTo>
                  <a:lnTo>
                    <a:pt x="1116" y="756"/>
                  </a:lnTo>
                  <a:lnTo>
                    <a:pt x="1110" y="762"/>
                  </a:lnTo>
                  <a:lnTo>
                    <a:pt x="1104" y="762"/>
                  </a:lnTo>
                  <a:lnTo>
                    <a:pt x="1104" y="768"/>
                  </a:lnTo>
                  <a:lnTo>
                    <a:pt x="1098" y="768"/>
                  </a:lnTo>
                  <a:lnTo>
                    <a:pt x="1098" y="774"/>
                  </a:lnTo>
                  <a:lnTo>
                    <a:pt x="1092" y="774"/>
                  </a:lnTo>
                  <a:lnTo>
                    <a:pt x="1092" y="780"/>
                  </a:lnTo>
                  <a:lnTo>
                    <a:pt x="1086" y="780"/>
                  </a:lnTo>
                  <a:lnTo>
                    <a:pt x="1086" y="786"/>
                  </a:lnTo>
                  <a:lnTo>
                    <a:pt x="1080" y="786"/>
                  </a:lnTo>
                  <a:lnTo>
                    <a:pt x="1080" y="792"/>
                  </a:lnTo>
                  <a:lnTo>
                    <a:pt x="1080" y="798"/>
                  </a:lnTo>
                  <a:lnTo>
                    <a:pt x="1080" y="804"/>
                  </a:lnTo>
                  <a:lnTo>
                    <a:pt x="1086" y="810"/>
                  </a:lnTo>
                  <a:lnTo>
                    <a:pt x="1080" y="816"/>
                  </a:lnTo>
                  <a:lnTo>
                    <a:pt x="1080" y="822"/>
                  </a:lnTo>
                  <a:lnTo>
                    <a:pt x="1074" y="822"/>
                  </a:lnTo>
                  <a:lnTo>
                    <a:pt x="1068" y="828"/>
                  </a:lnTo>
                  <a:lnTo>
                    <a:pt x="1074" y="828"/>
                  </a:lnTo>
                  <a:lnTo>
                    <a:pt x="1074" y="834"/>
                  </a:lnTo>
                  <a:lnTo>
                    <a:pt x="1080" y="846"/>
                  </a:lnTo>
                  <a:lnTo>
                    <a:pt x="1086" y="846"/>
                  </a:lnTo>
                  <a:lnTo>
                    <a:pt x="1092" y="852"/>
                  </a:lnTo>
                  <a:lnTo>
                    <a:pt x="1092" y="858"/>
                  </a:lnTo>
                  <a:lnTo>
                    <a:pt x="1098" y="858"/>
                  </a:lnTo>
                  <a:lnTo>
                    <a:pt x="1110" y="864"/>
                  </a:lnTo>
                  <a:lnTo>
                    <a:pt x="1116" y="864"/>
                  </a:lnTo>
                  <a:lnTo>
                    <a:pt x="1122" y="864"/>
                  </a:lnTo>
                  <a:lnTo>
                    <a:pt x="1128" y="864"/>
                  </a:lnTo>
                  <a:lnTo>
                    <a:pt x="1134" y="876"/>
                  </a:lnTo>
                  <a:lnTo>
                    <a:pt x="1140" y="882"/>
                  </a:lnTo>
                  <a:lnTo>
                    <a:pt x="1140" y="888"/>
                  </a:lnTo>
                  <a:lnTo>
                    <a:pt x="1152" y="918"/>
                  </a:lnTo>
                  <a:lnTo>
                    <a:pt x="1158" y="894"/>
                  </a:lnTo>
                  <a:lnTo>
                    <a:pt x="1164" y="888"/>
                  </a:lnTo>
                  <a:lnTo>
                    <a:pt x="1164" y="882"/>
                  </a:lnTo>
                  <a:lnTo>
                    <a:pt x="1176" y="864"/>
                  </a:lnTo>
                  <a:lnTo>
                    <a:pt x="1182" y="858"/>
                  </a:lnTo>
                  <a:lnTo>
                    <a:pt x="1188" y="846"/>
                  </a:lnTo>
                  <a:lnTo>
                    <a:pt x="1200" y="840"/>
                  </a:lnTo>
                  <a:lnTo>
                    <a:pt x="1212" y="840"/>
                  </a:lnTo>
                  <a:lnTo>
                    <a:pt x="1218" y="846"/>
                  </a:lnTo>
                  <a:lnTo>
                    <a:pt x="1224" y="858"/>
                  </a:lnTo>
                  <a:lnTo>
                    <a:pt x="1224" y="864"/>
                  </a:lnTo>
                  <a:lnTo>
                    <a:pt x="1224" y="876"/>
                  </a:lnTo>
                  <a:lnTo>
                    <a:pt x="1212" y="912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00" y="930"/>
                  </a:lnTo>
                  <a:lnTo>
                    <a:pt x="1200" y="942"/>
                  </a:lnTo>
                  <a:lnTo>
                    <a:pt x="1194" y="948"/>
                  </a:lnTo>
                  <a:lnTo>
                    <a:pt x="1194" y="960"/>
                  </a:lnTo>
                  <a:lnTo>
                    <a:pt x="1194" y="966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70" y="984"/>
                  </a:lnTo>
                  <a:lnTo>
                    <a:pt x="1164" y="984"/>
                  </a:lnTo>
                  <a:lnTo>
                    <a:pt x="1158" y="984"/>
                  </a:lnTo>
                  <a:lnTo>
                    <a:pt x="1146" y="984"/>
                  </a:lnTo>
                  <a:lnTo>
                    <a:pt x="1140" y="990"/>
                  </a:lnTo>
                  <a:lnTo>
                    <a:pt x="1140" y="996"/>
                  </a:lnTo>
                  <a:lnTo>
                    <a:pt x="1152" y="996"/>
                  </a:lnTo>
                  <a:lnTo>
                    <a:pt x="1176" y="1002"/>
                  </a:lnTo>
                  <a:lnTo>
                    <a:pt x="1194" y="1008"/>
                  </a:lnTo>
                  <a:lnTo>
                    <a:pt x="1206" y="1008"/>
                  </a:lnTo>
                  <a:lnTo>
                    <a:pt x="1218" y="1014"/>
                  </a:lnTo>
                  <a:lnTo>
                    <a:pt x="1212" y="1038"/>
                  </a:lnTo>
                  <a:lnTo>
                    <a:pt x="1212" y="1044"/>
                  </a:lnTo>
                  <a:lnTo>
                    <a:pt x="1206" y="1044"/>
                  </a:lnTo>
                  <a:lnTo>
                    <a:pt x="1206" y="1050"/>
                  </a:lnTo>
                  <a:lnTo>
                    <a:pt x="1194" y="1050"/>
                  </a:lnTo>
                  <a:lnTo>
                    <a:pt x="1188" y="1044"/>
                  </a:lnTo>
                  <a:lnTo>
                    <a:pt x="1158" y="1020"/>
                  </a:lnTo>
                  <a:lnTo>
                    <a:pt x="1152" y="1020"/>
                  </a:lnTo>
                  <a:lnTo>
                    <a:pt x="1140" y="1020"/>
                  </a:lnTo>
                  <a:lnTo>
                    <a:pt x="1134" y="1020"/>
                  </a:lnTo>
                  <a:lnTo>
                    <a:pt x="1134" y="1026"/>
                  </a:lnTo>
                  <a:lnTo>
                    <a:pt x="1134" y="1032"/>
                  </a:lnTo>
                  <a:lnTo>
                    <a:pt x="1128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2" name="Freeform 27">
              <a:extLst>
                <a:ext uri="{FF2B5EF4-FFF2-40B4-BE49-F238E27FC236}">
                  <a16:creationId xmlns:a16="http://schemas.microsoft.com/office/drawing/2014/main" id="{CE95C9DF-B651-4085-946F-65424BC51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2063" y="3421400"/>
              <a:ext cx="342138" cy="377969"/>
            </a:xfrm>
            <a:custGeom>
              <a:avLst/>
              <a:gdLst>
                <a:gd name="T0" fmla="*/ 43 w 642"/>
                <a:gd name="T1" fmla="*/ 41 h 708"/>
                <a:gd name="T2" fmla="*/ 39 w 642"/>
                <a:gd name="T3" fmla="*/ 41 h 708"/>
                <a:gd name="T4" fmla="*/ 38 w 642"/>
                <a:gd name="T5" fmla="*/ 47 h 708"/>
                <a:gd name="T6" fmla="*/ 38 w 642"/>
                <a:gd name="T7" fmla="*/ 49 h 708"/>
                <a:gd name="T8" fmla="*/ 38 w 642"/>
                <a:gd name="T9" fmla="*/ 50 h 708"/>
                <a:gd name="T10" fmla="*/ 36 w 642"/>
                <a:gd name="T11" fmla="*/ 52 h 708"/>
                <a:gd name="T12" fmla="*/ 35 w 642"/>
                <a:gd name="T13" fmla="*/ 53 h 708"/>
                <a:gd name="T14" fmla="*/ 33 w 642"/>
                <a:gd name="T15" fmla="*/ 55 h 708"/>
                <a:gd name="T16" fmla="*/ 32 w 642"/>
                <a:gd name="T17" fmla="*/ 56 h 708"/>
                <a:gd name="T18" fmla="*/ 31 w 642"/>
                <a:gd name="T19" fmla="*/ 59 h 708"/>
                <a:gd name="T20" fmla="*/ 26 w 642"/>
                <a:gd name="T21" fmla="*/ 59 h 708"/>
                <a:gd name="T22" fmla="*/ 23 w 642"/>
                <a:gd name="T23" fmla="*/ 61 h 708"/>
                <a:gd name="T24" fmla="*/ 20 w 642"/>
                <a:gd name="T25" fmla="*/ 61 h 708"/>
                <a:gd name="T26" fmla="*/ 17 w 642"/>
                <a:gd name="T27" fmla="*/ 59 h 708"/>
                <a:gd name="T28" fmla="*/ 15 w 642"/>
                <a:gd name="T29" fmla="*/ 56 h 708"/>
                <a:gd name="T30" fmla="*/ 9 w 642"/>
                <a:gd name="T31" fmla="*/ 58 h 708"/>
                <a:gd name="T32" fmla="*/ 6 w 642"/>
                <a:gd name="T33" fmla="*/ 52 h 708"/>
                <a:gd name="T34" fmla="*/ 2 w 642"/>
                <a:gd name="T35" fmla="*/ 53 h 708"/>
                <a:gd name="T36" fmla="*/ 1 w 642"/>
                <a:gd name="T37" fmla="*/ 51 h 708"/>
                <a:gd name="T38" fmla="*/ 4 w 642"/>
                <a:gd name="T39" fmla="*/ 47 h 708"/>
                <a:gd name="T40" fmla="*/ 5 w 642"/>
                <a:gd name="T41" fmla="*/ 41 h 708"/>
                <a:gd name="T42" fmla="*/ 5 w 642"/>
                <a:gd name="T43" fmla="*/ 38 h 708"/>
                <a:gd name="T44" fmla="*/ 5 w 642"/>
                <a:gd name="T45" fmla="*/ 35 h 708"/>
                <a:gd name="T46" fmla="*/ 6 w 642"/>
                <a:gd name="T47" fmla="*/ 33 h 708"/>
                <a:gd name="T48" fmla="*/ 5 w 642"/>
                <a:gd name="T49" fmla="*/ 29 h 708"/>
                <a:gd name="T50" fmla="*/ 4 w 642"/>
                <a:gd name="T51" fmla="*/ 28 h 708"/>
                <a:gd name="T52" fmla="*/ 1 w 642"/>
                <a:gd name="T53" fmla="*/ 26 h 708"/>
                <a:gd name="T54" fmla="*/ 1 w 642"/>
                <a:gd name="T55" fmla="*/ 24 h 708"/>
                <a:gd name="T56" fmla="*/ 1 w 642"/>
                <a:gd name="T57" fmla="*/ 20 h 708"/>
                <a:gd name="T58" fmla="*/ 1 w 642"/>
                <a:gd name="T59" fmla="*/ 16 h 708"/>
                <a:gd name="T60" fmla="*/ 2 w 642"/>
                <a:gd name="T61" fmla="*/ 14 h 708"/>
                <a:gd name="T62" fmla="*/ 8 w 642"/>
                <a:gd name="T63" fmla="*/ 14 h 708"/>
                <a:gd name="T64" fmla="*/ 9 w 642"/>
                <a:gd name="T65" fmla="*/ 10 h 708"/>
                <a:gd name="T66" fmla="*/ 15 w 642"/>
                <a:gd name="T67" fmla="*/ 9 h 708"/>
                <a:gd name="T68" fmla="*/ 18 w 642"/>
                <a:gd name="T69" fmla="*/ 14 h 708"/>
                <a:gd name="T70" fmla="*/ 20 w 642"/>
                <a:gd name="T71" fmla="*/ 12 h 708"/>
                <a:gd name="T72" fmla="*/ 20 w 642"/>
                <a:gd name="T73" fmla="*/ 11 h 708"/>
                <a:gd name="T74" fmla="*/ 21 w 642"/>
                <a:gd name="T75" fmla="*/ 9 h 708"/>
                <a:gd name="T76" fmla="*/ 24 w 642"/>
                <a:gd name="T77" fmla="*/ 9 h 708"/>
                <a:gd name="T78" fmla="*/ 27 w 642"/>
                <a:gd name="T79" fmla="*/ 8 h 708"/>
                <a:gd name="T80" fmla="*/ 33 w 642"/>
                <a:gd name="T81" fmla="*/ 2 h 708"/>
                <a:gd name="T82" fmla="*/ 42 w 642"/>
                <a:gd name="T83" fmla="*/ 2 h 708"/>
                <a:gd name="T84" fmla="*/ 49 w 642"/>
                <a:gd name="T85" fmla="*/ 1 h 708"/>
                <a:gd name="T86" fmla="*/ 53 w 642"/>
                <a:gd name="T87" fmla="*/ 4 h 708"/>
                <a:gd name="T88" fmla="*/ 55 w 642"/>
                <a:gd name="T89" fmla="*/ 4 h 708"/>
                <a:gd name="T90" fmla="*/ 55 w 642"/>
                <a:gd name="T91" fmla="*/ 7 h 708"/>
                <a:gd name="T92" fmla="*/ 52 w 642"/>
                <a:gd name="T93" fmla="*/ 9 h 708"/>
                <a:gd name="T94" fmla="*/ 49 w 642"/>
                <a:gd name="T95" fmla="*/ 12 h 708"/>
                <a:gd name="T96" fmla="*/ 47 w 642"/>
                <a:gd name="T97" fmla="*/ 14 h 708"/>
                <a:gd name="T98" fmla="*/ 47 w 642"/>
                <a:gd name="T99" fmla="*/ 17 h 708"/>
                <a:gd name="T100" fmla="*/ 45 w 642"/>
                <a:gd name="T101" fmla="*/ 26 h 708"/>
                <a:gd name="T102" fmla="*/ 50 w 642"/>
                <a:gd name="T103" fmla="*/ 37 h 70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42"/>
                <a:gd name="T157" fmla="*/ 0 h 708"/>
                <a:gd name="T158" fmla="*/ 642 w 642"/>
                <a:gd name="T159" fmla="*/ 708 h 70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42" h="708">
                  <a:moveTo>
                    <a:pt x="576" y="468"/>
                  </a:moveTo>
                  <a:lnTo>
                    <a:pt x="564" y="468"/>
                  </a:lnTo>
                  <a:lnTo>
                    <a:pt x="516" y="468"/>
                  </a:lnTo>
                  <a:lnTo>
                    <a:pt x="498" y="474"/>
                  </a:lnTo>
                  <a:lnTo>
                    <a:pt x="492" y="468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68" y="474"/>
                  </a:lnTo>
                  <a:lnTo>
                    <a:pt x="456" y="468"/>
                  </a:lnTo>
                  <a:lnTo>
                    <a:pt x="444" y="474"/>
                  </a:lnTo>
                  <a:lnTo>
                    <a:pt x="438" y="492"/>
                  </a:lnTo>
                  <a:lnTo>
                    <a:pt x="438" y="504"/>
                  </a:lnTo>
                  <a:lnTo>
                    <a:pt x="432" y="516"/>
                  </a:lnTo>
                  <a:lnTo>
                    <a:pt x="432" y="528"/>
                  </a:lnTo>
                  <a:lnTo>
                    <a:pt x="432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52"/>
                  </a:lnTo>
                  <a:lnTo>
                    <a:pt x="432" y="558"/>
                  </a:lnTo>
                  <a:lnTo>
                    <a:pt x="438" y="564"/>
                  </a:lnTo>
                  <a:lnTo>
                    <a:pt x="444" y="564"/>
                  </a:lnTo>
                  <a:lnTo>
                    <a:pt x="438" y="564"/>
                  </a:lnTo>
                  <a:lnTo>
                    <a:pt x="438" y="570"/>
                  </a:lnTo>
                  <a:lnTo>
                    <a:pt x="432" y="570"/>
                  </a:lnTo>
                  <a:lnTo>
                    <a:pt x="432" y="576"/>
                  </a:lnTo>
                  <a:lnTo>
                    <a:pt x="426" y="588"/>
                  </a:lnTo>
                  <a:lnTo>
                    <a:pt x="420" y="594"/>
                  </a:lnTo>
                  <a:lnTo>
                    <a:pt x="420" y="600"/>
                  </a:lnTo>
                  <a:lnTo>
                    <a:pt x="414" y="600"/>
                  </a:lnTo>
                  <a:lnTo>
                    <a:pt x="414" y="606"/>
                  </a:lnTo>
                  <a:lnTo>
                    <a:pt x="408" y="606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396" y="612"/>
                  </a:lnTo>
                  <a:lnTo>
                    <a:pt x="390" y="612"/>
                  </a:lnTo>
                  <a:lnTo>
                    <a:pt x="390" y="618"/>
                  </a:lnTo>
                  <a:lnTo>
                    <a:pt x="384" y="618"/>
                  </a:lnTo>
                  <a:lnTo>
                    <a:pt x="378" y="618"/>
                  </a:lnTo>
                  <a:lnTo>
                    <a:pt x="378" y="624"/>
                  </a:lnTo>
                  <a:lnTo>
                    <a:pt x="384" y="630"/>
                  </a:lnTo>
                  <a:lnTo>
                    <a:pt x="384" y="636"/>
                  </a:lnTo>
                  <a:lnTo>
                    <a:pt x="378" y="630"/>
                  </a:lnTo>
                  <a:lnTo>
                    <a:pt x="372" y="636"/>
                  </a:lnTo>
                  <a:lnTo>
                    <a:pt x="372" y="642"/>
                  </a:lnTo>
                  <a:lnTo>
                    <a:pt x="366" y="642"/>
                  </a:lnTo>
                  <a:lnTo>
                    <a:pt x="360" y="654"/>
                  </a:lnTo>
                  <a:lnTo>
                    <a:pt x="354" y="666"/>
                  </a:lnTo>
                  <a:lnTo>
                    <a:pt x="354" y="672"/>
                  </a:lnTo>
                  <a:lnTo>
                    <a:pt x="354" y="678"/>
                  </a:lnTo>
                  <a:lnTo>
                    <a:pt x="354" y="684"/>
                  </a:lnTo>
                  <a:lnTo>
                    <a:pt x="348" y="678"/>
                  </a:lnTo>
                  <a:lnTo>
                    <a:pt x="324" y="678"/>
                  </a:lnTo>
                  <a:lnTo>
                    <a:pt x="306" y="678"/>
                  </a:lnTo>
                  <a:lnTo>
                    <a:pt x="294" y="678"/>
                  </a:lnTo>
                  <a:lnTo>
                    <a:pt x="288" y="684"/>
                  </a:lnTo>
                  <a:lnTo>
                    <a:pt x="276" y="690"/>
                  </a:lnTo>
                  <a:lnTo>
                    <a:pt x="270" y="696"/>
                  </a:lnTo>
                  <a:lnTo>
                    <a:pt x="264" y="696"/>
                  </a:lnTo>
                  <a:lnTo>
                    <a:pt x="258" y="696"/>
                  </a:lnTo>
                  <a:lnTo>
                    <a:pt x="252" y="696"/>
                  </a:lnTo>
                  <a:lnTo>
                    <a:pt x="252" y="690"/>
                  </a:lnTo>
                  <a:lnTo>
                    <a:pt x="246" y="690"/>
                  </a:lnTo>
                  <a:lnTo>
                    <a:pt x="234" y="690"/>
                  </a:lnTo>
                  <a:lnTo>
                    <a:pt x="222" y="696"/>
                  </a:lnTo>
                  <a:lnTo>
                    <a:pt x="216" y="708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8" y="690"/>
                  </a:lnTo>
                  <a:lnTo>
                    <a:pt x="198" y="684"/>
                  </a:lnTo>
                  <a:lnTo>
                    <a:pt x="198" y="678"/>
                  </a:lnTo>
                  <a:lnTo>
                    <a:pt x="198" y="672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74" y="648"/>
                  </a:lnTo>
                  <a:lnTo>
                    <a:pt x="162" y="642"/>
                  </a:lnTo>
                  <a:lnTo>
                    <a:pt x="156" y="636"/>
                  </a:lnTo>
                  <a:lnTo>
                    <a:pt x="132" y="642"/>
                  </a:lnTo>
                  <a:lnTo>
                    <a:pt x="120" y="654"/>
                  </a:lnTo>
                  <a:lnTo>
                    <a:pt x="108" y="660"/>
                  </a:lnTo>
                  <a:lnTo>
                    <a:pt x="102" y="666"/>
                  </a:lnTo>
                  <a:lnTo>
                    <a:pt x="84" y="666"/>
                  </a:lnTo>
                  <a:lnTo>
                    <a:pt x="84" y="630"/>
                  </a:lnTo>
                  <a:lnTo>
                    <a:pt x="78" y="594"/>
                  </a:lnTo>
                  <a:lnTo>
                    <a:pt x="66" y="594"/>
                  </a:lnTo>
                  <a:lnTo>
                    <a:pt x="60" y="594"/>
                  </a:lnTo>
                  <a:lnTo>
                    <a:pt x="48" y="600"/>
                  </a:lnTo>
                  <a:lnTo>
                    <a:pt x="36" y="606"/>
                  </a:lnTo>
                  <a:lnTo>
                    <a:pt x="24" y="612"/>
                  </a:lnTo>
                  <a:lnTo>
                    <a:pt x="18" y="612"/>
                  </a:lnTo>
                  <a:lnTo>
                    <a:pt x="12" y="606"/>
                  </a:lnTo>
                  <a:lnTo>
                    <a:pt x="12" y="600"/>
                  </a:lnTo>
                  <a:lnTo>
                    <a:pt x="12" y="594"/>
                  </a:lnTo>
                  <a:lnTo>
                    <a:pt x="12" y="588"/>
                  </a:lnTo>
                  <a:lnTo>
                    <a:pt x="12" y="582"/>
                  </a:lnTo>
                  <a:lnTo>
                    <a:pt x="12" y="576"/>
                  </a:lnTo>
                  <a:lnTo>
                    <a:pt x="18" y="552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42" y="534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48" y="492"/>
                  </a:lnTo>
                  <a:lnTo>
                    <a:pt x="48" y="480"/>
                  </a:lnTo>
                  <a:lnTo>
                    <a:pt x="54" y="468"/>
                  </a:lnTo>
                  <a:lnTo>
                    <a:pt x="48" y="456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66" y="390"/>
                  </a:lnTo>
                  <a:lnTo>
                    <a:pt x="72" y="384"/>
                  </a:lnTo>
                  <a:lnTo>
                    <a:pt x="72" y="378"/>
                  </a:lnTo>
                  <a:lnTo>
                    <a:pt x="66" y="378"/>
                  </a:lnTo>
                  <a:lnTo>
                    <a:pt x="66" y="366"/>
                  </a:lnTo>
                  <a:lnTo>
                    <a:pt x="60" y="360"/>
                  </a:lnTo>
                  <a:lnTo>
                    <a:pt x="66" y="354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48" y="312"/>
                  </a:lnTo>
                  <a:lnTo>
                    <a:pt x="30" y="312"/>
                  </a:lnTo>
                  <a:lnTo>
                    <a:pt x="24" y="306"/>
                  </a:lnTo>
                  <a:lnTo>
                    <a:pt x="18" y="306"/>
                  </a:lnTo>
                  <a:lnTo>
                    <a:pt x="12" y="294"/>
                  </a:lnTo>
                  <a:lnTo>
                    <a:pt x="12" y="282"/>
                  </a:lnTo>
                  <a:lnTo>
                    <a:pt x="6" y="276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12" y="270"/>
                  </a:lnTo>
                  <a:lnTo>
                    <a:pt x="12" y="246"/>
                  </a:lnTo>
                  <a:lnTo>
                    <a:pt x="12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8" y="174"/>
                  </a:lnTo>
                  <a:lnTo>
                    <a:pt x="12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48" y="162"/>
                  </a:lnTo>
                  <a:lnTo>
                    <a:pt x="72" y="162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84" y="132"/>
                  </a:lnTo>
                  <a:lnTo>
                    <a:pt x="90" y="120"/>
                  </a:lnTo>
                  <a:lnTo>
                    <a:pt x="108" y="114"/>
                  </a:lnTo>
                  <a:lnTo>
                    <a:pt x="114" y="102"/>
                  </a:lnTo>
                  <a:lnTo>
                    <a:pt x="120" y="90"/>
                  </a:lnTo>
                  <a:lnTo>
                    <a:pt x="138" y="90"/>
                  </a:lnTo>
                  <a:lnTo>
                    <a:pt x="138" y="102"/>
                  </a:lnTo>
                  <a:lnTo>
                    <a:pt x="168" y="108"/>
                  </a:lnTo>
                  <a:lnTo>
                    <a:pt x="168" y="114"/>
                  </a:lnTo>
                  <a:lnTo>
                    <a:pt x="174" y="126"/>
                  </a:lnTo>
                  <a:lnTo>
                    <a:pt x="186" y="150"/>
                  </a:lnTo>
                  <a:lnTo>
                    <a:pt x="186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34" y="144"/>
                  </a:lnTo>
                  <a:lnTo>
                    <a:pt x="240" y="138"/>
                  </a:lnTo>
                  <a:lnTo>
                    <a:pt x="240" y="126"/>
                  </a:lnTo>
                  <a:lnTo>
                    <a:pt x="234" y="126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34" y="102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82" y="102"/>
                  </a:lnTo>
                  <a:lnTo>
                    <a:pt x="288" y="102"/>
                  </a:lnTo>
                  <a:lnTo>
                    <a:pt x="294" y="102"/>
                  </a:lnTo>
                  <a:lnTo>
                    <a:pt x="300" y="96"/>
                  </a:lnTo>
                  <a:lnTo>
                    <a:pt x="306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84"/>
                  </a:lnTo>
                  <a:lnTo>
                    <a:pt x="324" y="18"/>
                  </a:lnTo>
                  <a:lnTo>
                    <a:pt x="360" y="18"/>
                  </a:lnTo>
                  <a:lnTo>
                    <a:pt x="378" y="18"/>
                  </a:lnTo>
                  <a:lnTo>
                    <a:pt x="378" y="30"/>
                  </a:lnTo>
                  <a:lnTo>
                    <a:pt x="390" y="30"/>
                  </a:lnTo>
                  <a:lnTo>
                    <a:pt x="432" y="30"/>
                  </a:lnTo>
                  <a:lnTo>
                    <a:pt x="456" y="24"/>
                  </a:lnTo>
                  <a:lnTo>
                    <a:pt x="480" y="24"/>
                  </a:lnTo>
                  <a:lnTo>
                    <a:pt x="498" y="30"/>
                  </a:lnTo>
                  <a:lnTo>
                    <a:pt x="522" y="18"/>
                  </a:lnTo>
                  <a:lnTo>
                    <a:pt x="528" y="0"/>
                  </a:lnTo>
                  <a:lnTo>
                    <a:pt x="558" y="6"/>
                  </a:lnTo>
                  <a:lnTo>
                    <a:pt x="558" y="12"/>
                  </a:lnTo>
                  <a:lnTo>
                    <a:pt x="570" y="18"/>
                  </a:lnTo>
                  <a:lnTo>
                    <a:pt x="576" y="24"/>
                  </a:lnTo>
                  <a:lnTo>
                    <a:pt x="588" y="36"/>
                  </a:lnTo>
                  <a:lnTo>
                    <a:pt x="594" y="48"/>
                  </a:lnTo>
                  <a:lnTo>
                    <a:pt x="606" y="48"/>
                  </a:lnTo>
                  <a:lnTo>
                    <a:pt x="606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42"/>
                  </a:lnTo>
                  <a:lnTo>
                    <a:pt x="636" y="42"/>
                  </a:lnTo>
                  <a:lnTo>
                    <a:pt x="636" y="48"/>
                  </a:lnTo>
                  <a:lnTo>
                    <a:pt x="642" y="54"/>
                  </a:lnTo>
                  <a:lnTo>
                    <a:pt x="636" y="60"/>
                  </a:lnTo>
                  <a:lnTo>
                    <a:pt x="636" y="66"/>
                  </a:lnTo>
                  <a:lnTo>
                    <a:pt x="636" y="78"/>
                  </a:lnTo>
                  <a:lnTo>
                    <a:pt x="624" y="84"/>
                  </a:lnTo>
                  <a:lnTo>
                    <a:pt x="618" y="90"/>
                  </a:lnTo>
                  <a:lnTo>
                    <a:pt x="612" y="90"/>
                  </a:lnTo>
                  <a:lnTo>
                    <a:pt x="600" y="102"/>
                  </a:lnTo>
                  <a:lnTo>
                    <a:pt x="594" y="108"/>
                  </a:lnTo>
                  <a:lnTo>
                    <a:pt x="582" y="114"/>
                  </a:lnTo>
                  <a:lnTo>
                    <a:pt x="570" y="132"/>
                  </a:lnTo>
                  <a:lnTo>
                    <a:pt x="564" y="132"/>
                  </a:lnTo>
                  <a:lnTo>
                    <a:pt x="564" y="138"/>
                  </a:lnTo>
                  <a:lnTo>
                    <a:pt x="558" y="144"/>
                  </a:lnTo>
                  <a:lnTo>
                    <a:pt x="558" y="150"/>
                  </a:lnTo>
                  <a:lnTo>
                    <a:pt x="552" y="150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0" y="162"/>
                  </a:lnTo>
                  <a:lnTo>
                    <a:pt x="534" y="168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6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28" y="234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16" y="294"/>
                  </a:lnTo>
                  <a:lnTo>
                    <a:pt x="516" y="312"/>
                  </a:lnTo>
                  <a:lnTo>
                    <a:pt x="528" y="318"/>
                  </a:lnTo>
                  <a:lnTo>
                    <a:pt x="540" y="360"/>
                  </a:lnTo>
                  <a:lnTo>
                    <a:pt x="558" y="408"/>
                  </a:lnTo>
                  <a:lnTo>
                    <a:pt x="570" y="426"/>
                  </a:lnTo>
                  <a:lnTo>
                    <a:pt x="576" y="432"/>
                  </a:lnTo>
                  <a:lnTo>
                    <a:pt x="576" y="438"/>
                  </a:lnTo>
                  <a:lnTo>
                    <a:pt x="576" y="444"/>
                  </a:lnTo>
                  <a:lnTo>
                    <a:pt x="576" y="46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3" name="Freeform 28">
              <a:extLst>
                <a:ext uri="{FF2B5EF4-FFF2-40B4-BE49-F238E27FC236}">
                  <a16:creationId xmlns:a16="http://schemas.microsoft.com/office/drawing/2014/main" id="{CF9B4F31-BF73-448E-83AA-188F6CF1BDC5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4879" y="3432583"/>
              <a:ext cx="324248" cy="270616"/>
            </a:xfrm>
            <a:custGeom>
              <a:avLst/>
              <a:gdLst>
                <a:gd name="T0" fmla="*/ 5 w 606"/>
                <a:gd name="T1" fmla="*/ 36 h 510"/>
                <a:gd name="T2" fmla="*/ 4 w 606"/>
                <a:gd name="T3" fmla="*/ 34 h 510"/>
                <a:gd name="T4" fmla="*/ 0 w 606"/>
                <a:gd name="T5" fmla="*/ 25 h 510"/>
                <a:gd name="T6" fmla="*/ 1 w 606"/>
                <a:gd name="T7" fmla="*/ 20 h 510"/>
                <a:gd name="T8" fmla="*/ 2 w 606"/>
                <a:gd name="T9" fmla="*/ 15 h 510"/>
                <a:gd name="T10" fmla="*/ 2 w 606"/>
                <a:gd name="T11" fmla="*/ 13 h 510"/>
                <a:gd name="T12" fmla="*/ 3 w 606"/>
                <a:gd name="T13" fmla="*/ 12 h 510"/>
                <a:gd name="T14" fmla="*/ 4 w 606"/>
                <a:gd name="T15" fmla="*/ 11 h 510"/>
                <a:gd name="T16" fmla="*/ 4 w 606"/>
                <a:gd name="T17" fmla="*/ 10 h 510"/>
                <a:gd name="T18" fmla="*/ 7 w 606"/>
                <a:gd name="T19" fmla="*/ 8 h 510"/>
                <a:gd name="T20" fmla="*/ 9 w 606"/>
                <a:gd name="T21" fmla="*/ 6 h 510"/>
                <a:gd name="T22" fmla="*/ 11 w 606"/>
                <a:gd name="T23" fmla="*/ 4 h 510"/>
                <a:gd name="T24" fmla="*/ 12 w 606"/>
                <a:gd name="T25" fmla="*/ 3 h 510"/>
                <a:gd name="T26" fmla="*/ 13 w 606"/>
                <a:gd name="T27" fmla="*/ 4 h 510"/>
                <a:gd name="T28" fmla="*/ 15 w 606"/>
                <a:gd name="T29" fmla="*/ 2 h 510"/>
                <a:gd name="T30" fmla="*/ 17 w 606"/>
                <a:gd name="T31" fmla="*/ 2 h 510"/>
                <a:gd name="T32" fmla="*/ 19 w 606"/>
                <a:gd name="T33" fmla="*/ 5 h 510"/>
                <a:gd name="T34" fmla="*/ 22 w 606"/>
                <a:gd name="T35" fmla="*/ 5 h 510"/>
                <a:gd name="T36" fmla="*/ 25 w 606"/>
                <a:gd name="T37" fmla="*/ 6 h 510"/>
                <a:gd name="T38" fmla="*/ 29 w 606"/>
                <a:gd name="T39" fmla="*/ 1 h 510"/>
                <a:gd name="T40" fmla="*/ 38 w 606"/>
                <a:gd name="T41" fmla="*/ 0 h 510"/>
                <a:gd name="T42" fmla="*/ 38 w 606"/>
                <a:gd name="T43" fmla="*/ 5 h 510"/>
                <a:gd name="T44" fmla="*/ 41 w 606"/>
                <a:gd name="T45" fmla="*/ 4 h 510"/>
                <a:gd name="T46" fmla="*/ 45 w 606"/>
                <a:gd name="T47" fmla="*/ 2 h 510"/>
                <a:gd name="T48" fmla="*/ 46 w 606"/>
                <a:gd name="T49" fmla="*/ 2 h 510"/>
                <a:gd name="T50" fmla="*/ 47 w 606"/>
                <a:gd name="T51" fmla="*/ 5 h 510"/>
                <a:gd name="T52" fmla="*/ 45 w 606"/>
                <a:gd name="T53" fmla="*/ 6 h 510"/>
                <a:gd name="T54" fmla="*/ 45 w 606"/>
                <a:gd name="T55" fmla="*/ 7 h 510"/>
                <a:gd name="T56" fmla="*/ 43 w 606"/>
                <a:gd name="T57" fmla="*/ 8 h 510"/>
                <a:gd name="T58" fmla="*/ 45 w 606"/>
                <a:gd name="T59" fmla="*/ 15 h 510"/>
                <a:gd name="T60" fmla="*/ 49 w 606"/>
                <a:gd name="T61" fmla="*/ 15 h 510"/>
                <a:gd name="T62" fmla="*/ 51 w 606"/>
                <a:gd name="T63" fmla="*/ 15 h 510"/>
                <a:gd name="T64" fmla="*/ 53 w 606"/>
                <a:gd name="T65" fmla="*/ 16 h 510"/>
                <a:gd name="T66" fmla="*/ 52 w 606"/>
                <a:gd name="T67" fmla="*/ 20 h 510"/>
                <a:gd name="T68" fmla="*/ 48 w 606"/>
                <a:gd name="T69" fmla="*/ 23 h 510"/>
                <a:gd name="T70" fmla="*/ 45 w 606"/>
                <a:gd name="T71" fmla="*/ 25 h 510"/>
                <a:gd name="T72" fmla="*/ 44 w 606"/>
                <a:gd name="T73" fmla="*/ 28 h 510"/>
                <a:gd name="T74" fmla="*/ 43 w 606"/>
                <a:gd name="T75" fmla="*/ 33 h 510"/>
                <a:gd name="T76" fmla="*/ 39 w 606"/>
                <a:gd name="T77" fmla="*/ 38 h 510"/>
                <a:gd name="T78" fmla="*/ 37 w 606"/>
                <a:gd name="T79" fmla="*/ 41 h 510"/>
                <a:gd name="T80" fmla="*/ 31 w 606"/>
                <a:gd name="T81" fmla="*/ 44 h 510"/>
                <a:gd name="T82" fmla="*/ 28 w 606"/>
                <a:gd name="T83" fmla="*/ 43 h 510"/>
                <a:gd name="T84" fmla="*/ 28 w 606"/>
                <a:gd name="T85" fmla="*/ 41 h 510"/>
                <a:gd name="T86" fmla="*/ 28 w 606"/>
                <a:gd name="T87" fmla="*/ 40 h 510"/>
                <a:gd name="T88" fmla="*/ 27 w 606"/>
                <a:gd name="T89" fmla="*/ 38 h 510"/>
                <a:gd name="T90" fmla="*/ 27 w 606"/>
                <a:gd name="T91" fmla="*/ 36 h 510"/>
                <a:gd name="T92" fmla="*/ 24 w 606"/>
                <a:gd name="T93" fmla="*/ 35 h 510"/>
                <a:gd name="T94" fmla="*/ 16 w 606"/>
                <a:gd name="T95" fmla="*/ 34 h 510"/>
                <a:gd name="T96" fmla="*/ 13 w 606"/>
                <a:gd name="T97" fmla="*/ 34 h 510"/>
                <a:gd name="T98" fmla="*/ 9 w 606"/>
                <a:gd name="T99" fmla="*/ 36 h 510"/>
                <a:gd name="T100" fmla="*/ 8 w 606"/>
                <a:gd name="T101" fmla="*/ 38 h 510"/>
                <a:gd name="T102" fmla="*/ 7 w 606"/>
                <a:gd name="T103" fmla="*/ 39 h 51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06"/>
                <a:gd name="T157" fmla="*/ 0 h 510"/>
                <a:gd name="T158" fmla="*/ 606 w 606"/>
                <a:gd name="T159" fmla="*/ 510 h 51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06" h="510">
                  <a:moveTo>
                    <a:pt x="60" y="450"/>
                  </a:move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42" y="390"/>
                  </a:lnTo>
                  <a:lnTo>
                    <a:pt x="24" y="342"/>
                  </a:lnTo>
                  <a:lnTo>
                    <a:pt x="12" y="300"/>
                  </a:lnTo>
                  <a:lnTo>
                    <a:pt x="0" y="294"/>
                  </a:lnTo>
                  <a:lnTo>
                    <a:pt x="0" y="276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24" y="192"/>
                  </a:lnTo>
                  <a:lnTo>
                    <a:pt x="24" y="180"/>
                  </a:lnTo>
                  <a:lnTo>
                    <a:pt x="24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6" y="96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108" y="66"/>
                  </a:lnTo>
                  <a:lnTo>
                    <a:pt x="120" y="60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36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62" y="36"/>
                  </a:lnTo>
                  <a:lnTo>
                    <a:pt x="162" y="30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0" y="54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46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76" y="66"/>
                  </a:lnTo>
                  <a:lnTo>
                    <a:pt x="312" y="66"/>
                  </a:lnTo>
                  <a:lnTo>
                    <a:pt x="318" y="60"/>
                  </a:lnTo>
                  <a:lnTo>
                    <a:pt x="330" y="12"/>
                  </a:lnTo>
                  <a:lnTo>
                    <a:pt x="414" y="6"/>
                  </a:lnTo>
                  <a:lnTo>
                    <a:pt x="420" y="0"/>
                  </a:lnTo>
                  <a:lnTo>
                    <a:pt x="426" y="6"/>
                  </a:lnTo>
                  <a:lnTo>
                    <a:pt x="426" y="12"/>
                  </a:lnTo>
                  <a:lnTo>
                    <a:pt x="426" y="54"/>
                  </a:lnTo>
                  <a:lnTo>
                    <a:pt x="432" y="54"/>
                  </a:lnTo>
                  <a:lnTo>
                    <a:pt x="444" y="54"/>
                  </a:lnTo>
                  <a:lnTo>
                    <a:pt x="450" y="42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86" y="24"/>
                  </a:lnTo>
                  <a:lnTo>
                    <a:pt x="504" y="18"/>
                  </a:lnTo>
                  <a:lnTo>
                    <a:pt x="510" y="12"/>
                  </a:lnTo>
                  <a:lnTo>
                    <a:pt x="516" y="18"/>
                  </a:lnTo>
                  <a:lnTo>
                    <a:pt x="522" y="24"/>
                  </a:lnTo>
                  <a:lnTo>
                    <a:pt x="510" y="30"/>
                  </a:lnTo>
                  <a:lnTo>
                    <a:pt x="516" y="48"/>
                  </a:lnTo>
                  <a:lnTo>
                    <a:pt x="528" y="54"/>
                  </a:lnTo>
                  <a:lnTo>
                    <a:pt x="522" y="60"/>
                  </a:lnTo>
                  <a:lnTo>
                    <a:pt x="516" y="66"/>
                  </a:lnTo>
                  <a:lnTo>
                    <a:pt x="516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0" y="84"/>
                  </a:lnTo>
                  <a:lnTo>
                    <a:pt x="510" y="90"/>
                  </a:lnTo>
                  <a:lnTo>
                    <a:pt x="504" y="90"/>
                  </a:lnTo>
                  <a:lnTo>
                    <a:pt x="486" y="90"/>
                  </a:lnTo>
                  <a:lnTo>
                    <a:pt x="492" y="138"/>
                  </a:lnTo>
                  <a:lnTo>
                    <a:pt x="498" y="168"/>
                  </a:lnTo>
                  <a:lnTo>
                    <a:pt x="516" y="168"/>
                  </a:lnTo>
                  <a:lnTo>
                    <a:pt x="528" y="174"/>
                  </a:lnTo>
                  <a:lnTo>
                    <a:pt x="534" y="168"/>
                  </a:lnTo>
                  <a:lnTo>
                    <a:pt x="558" y="174"/>
                  </a:lnTo>
                  <a:lnTo>
                    <a:pt x="564" y="168"/>
                  </a:lnTo>
                  <a:lnTo>
                    <a:pt x="570" y="168"/>
                  </a:lnTo>
                  <a:lnTo>
                    <a:pt x="576" y="174"/>
                  </a:lnTo>
                  <a:lnTo>
                    <a:pt x="588" y="168"/>
                  </a:lnTo>
                  <a:lnTo>
                    <a:pt x="594" y="168"/>
                  </a:lnTo>
                  <a:lnTo>
                    <a:pt x="594" y="186"/>
                  </a:lnTo>
                  <a:lnTo>
                    <a:pt x="606" y="198"/>
                  </a:lnTo>
                  <a:lnTo>
                    <a:pt x="600" y="210"/>
                  </a:lnTo>
                  <a:lnTo>
                    <a:pt x="588" y="234"/>
                  </a:lnTo>
                  <a:lnTo>
                    <a:pt x="564" y="246"/>
                  </a:lnTo>
                  <a:lnTo>
                    <a:pt x="546" y="258"/>
                  </a:lnTo>
                  <a:lnTo>
                    <a:pt x="540" y="270"/>
                  </a:lnTo>
                  <a:lnTo>
                    <a:pt x="534" y="294"/>
                  </a:lnTo>
                  <a:lnTo>
                    <a:pt x="528" y="300"/>
                  </a:lnTo>
                  <a:lnTo>
                    <a:pt x="516" y="294"/>
                  </a:lnTo>
                  <a:lnTo>
                    <a:pt x="510" y="300"/>
                  </a:lnTo>
                  <a:lnTo>
                    <a:pt x="498" y="318"/>
                  </a:lnTo>
                  <a:lnTo>
                    <a:pt x="492" y="324"/>
                  </a:lnTo>
                  <a:lnTo>
                    <a:pt x="486" y="336"/>
                  </a:lnTo>
                  <a:lnTo>
                    <a:pt x="486" y="354"/>
                  </a:lnTo>
                  <a:lnTo>
                    <a:pt x="486" y="384"/>
                  </a:lnTo>
                  <a:lnTo>
                    <a:pt x="474" y="408"/>
                  </a:lnTo>
                  <a:lnTo>
                    <a:pt x="450" y="426"/>
                  </a:lnTo>
                  <a:lnTo>
                    <a:pt x="444" y="444"/>
                  </a:lnTo>
                  <a:lnTo>
                    <a:pt x="426" y="474"/>
                  </a:lnTo>
                  <a:lnTo>
                    <a:pt x="420" y="486"/>
                  </a:lnTo>
                  <a:lnTo>
                    <a:pt x="414" y="486"/>
                  </a:lnTo>
                  <a:lnTo>
                    <a:pt x="414" y="498"/>
                  </a:lnTo>
                  <a:lnTo>
                    <a:pt x="378" y="504"/>
                  </a:lnTo>
                  <a:lnTo>
                    <a:pt x="348" y="510"/>
                  </a:lnTo>
                  <a:lnTo>
                    <a:pt x="330" y="510"/>
                  </a:lnTo>
                  <a:lnTo>
                    <a:pt x="324" y="504"/>
                  </a:lnTo>
                  <a:lnTo>
                    <a:pt x="318" y="504"/>
                  </a:lnTo>
                  <a:lnTo>
                    <a:pt x="312" y="504"/>
                  </a:lnTo>
                  <a:lnTo>
                    <a:pt x="312" y="498"/>
                  </a:lnTo>
                  <a:lnTo>
                    <a:pt x="312" y="486"/>
                  </a:lnTo>
                  <a:lnTo>
                    <a:pt x="312" y="480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56"/>
                  </a:lnTo>
                  <a:lnTo>
                    <a:pt x="312" y="450"/>
                  </a:lnTo>
                  <a:lnTo>
                    <a:pt x="306" y="444"/>
                  </a:lnTo>
                  <a:lnTo>
                    <a:pt x="306" y="438"/>
                  </a:lnTo>
                  <a:lnTo>
                    <a:pt x="300" y="426"/>
                  </a:lnTo>
                  <a:lnTo>
                    <a:pt x="300" y="420"/>
                  </a:lnTo>
                  <a:lnTo>
                    <a:pt x="294" y="414"/>
                  </a:lnTo>
                  <a:lnTo>
                    <a:pt x="294" y="408"/>
                  </a:lnTo>
                  <a:lnTo>
                    <a:pt x="270" y="408"/>
                  </a:lnTo>
                  <a:lnTo>
                    <a:pt x="246" y="408"/>
                  </a:lnTo>
                  <a:lnTo>
                    <a:pt x="222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56" y="402"/>
                  </a:lnTo>
                  <a:lnTo>
                    <a:pt x="144" y="396"/>
                  </a:lnTo>
                  <a:lnTo>
                    <a:pt x="126" y="396"/>
                  </a:lnTo>
                  <a:lnTo>
                    <a:pt x="108" y="408"/>
                  </a:lnTo>
                  <a:lnTo>
                    <a:pt x="102" y="414"/>
                  </a:lnTo>
                  <a:lnTo>
                    <a:pt x="102" y="420"/>
                  </a:lnTo>
                  <a:lnTo>
                    <a:pt x="96" y="426"/>
                  </a:lnTo>
                  <a:lnTo>
                    <a:pt x="96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78" y="450"/>
                  </a:lnTo>
                  <a:lnTo>
                    <a:pt x="60" y="45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4" name="Freeform 29">
              <a:extLst>
                <a:ext uri="{FF2B5EF4-FFF2-40B4-BE49-F238E27FC236}">
                  <a16:creationId xmlns:a16="http://schemas.microsoft.com/office/drawing/2014/main" id="{B6AC2B96-1504-4082-8778-17130FDA021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401" y="3537698"/>
              <a:ext cx="559048" cy="641876"/>
            </a:xfrm>
            <a:custGeom>
              <a:avLst/>
              <a:gdLst>
                <a:gd name="T0" fmla="*/ 39 w 1056"/>
                <a:gd name="T1" fmla="*/ 94 h 1206"/>
                <a:gd name="T2" fmla="*/ 35 w 1056"/>
                <a:gd name="T3" fmla="*/ 103 h 1206"/>
                <a:gd name="T4" fmla="*/ 29 w 1056"/>
                <a:gd name="T5" fmla="*/ 99 h 1206"/>
                <a:gd name="T6" fmla="*/ 23 w 1056"/>
                <a:gd name="T7" fmla="*/ 94 h 1206"/>
                <a:gd name="T8" fmla="*/ 21 w 1056"/>
                <a:gd name="T9" fmla="*/ 91 h 1206"/>
                <a:gd name="T10" fmla="*/ 18 w 1056"/>
                <a:gd name="T11" fmla="*/ 89 h 1206"/>
                <a:gd name="T12" fmla="*/ 15 w 1056"/>
                <a:gd name="T13" fmla="*/ 86 h 1206"/>
                <a:gd name="T14" fmla="*/ 11 w 1056"/>
                <a:gd name="T15" fmla="*/ 83 h 1206"/>
                <a:gd name="T16" fmla="*/ 8 w 1056"/>
                <a:gd name="T17" fmla="*/ 81 h 1206"/>
                <a:gd name="T18" fmla="*/ 6 w 1056"/>
                <a:gd name="T19" fmla="*/ 79 h 1206"/>
                <a:gd name="T20" fmla="*/ 13 w 1056"/>
                <a:gd name="T21" fmla="*/ 78 h 1206"/>
                <a:gd name="T22" fmla="*/ 8 w 1056"/>
                <a:gd name="T23" fmla="*/ 75 h 1206"/>
                <a:gd name="T24" fmla="*/ 13 w 1056"/>
                <a:gd name="T25" fmla="*/ 71 h 1206"/>
                <a:gd name="T26" fmla="*/ 10 w 1056"/>
                <a:gd name="T27" fmla="*/ 63 h 1206"/>
                <a:gd name="T28" fmla="*/ 6 w 1056"/>
                <a:gd name="T29" fmla="*/ 66 h 1206"/>
                <a:gd name="T30" fmla="*/ 1 w 1056"/>
                <a:gd name="T31" fmla="*/ 63 h 1206"/>
                <a:gd name="T32" fmla="*/ 1 w 1056"/>
                <a:gd name="T33" fmla="*/ 59 h 1206"/>
                <a:gd name="T34" fmla="*/ 3 w 1056"/>
                <a:gd name="T35" fmla="*/ 57 h 1206"/>
                <a:gd name="T36" fmla="*/ 6 w 1056"/>
                <a:gd name="T37" fmla="*/ 55 h 1206"/>
                <a:gd name="T38" fmla="*/ 10 w 1056"/>
                <a:gd name="T39" fmla="*/ 51 h 1206"/>
                <a:gd name="T40" fmla="*/ 11 w 1056"/>
                <a:gd name="T41" fmla="*/ 46 h 1206"/>
                <a:gd name="T42" fmla="*/ 14 w 1056"/>
                <a:gd name="T43" fmla="*/ 42 h 1206"/>
                <a:gd name="T44" fmla="*/ 15 w 1056"/>
                <a:gd name="T45" fmla="*/ 36 h 1206"/>
                <a:gd name="T46" fmla="*/ 17 w 1056"/>
                <a:gd name="T47" fmla="*/ 34 h 1206"/>
                <a:gd name="T48" fmla="*/ 20 w 1056"/>
                <a:gd name="T49" fmla="*/ 31 h 1206"/>
                <a:gd name="T50" fmla="*/ 21 w 1056"/>
                <a:gd name="T51" fmla="*/ 29 h 1206"/>
                <a:gd name="T52" fmla="*/ 23 w 1056"/>
                <a:gd name="T53" fmla="*/ 22 h 1206"/>
                <a:gd name="T54" fmla="*/ 35 w 1056"/>
                <a:gd name="T55" fmla="*/ 22 h 1206"/>
                <a:gd name="T56" fmla="*/ 41 w 1056"/>
                <a:gd name="T57" fmla="*/ 18 h 1206"/>
                <a:gd name="T58" fmla="*/ 54 w 1056"/>
                <a:gd name="T59" fmla="*/ 20 h 1206"/>
                <a:gd name="T60" fmla="*/ 54 w 1056"/>
                <a:gd name="T61" fmla="*/ 26 h 1206"/>
                <a:gd name="T62" fmla="*/ 64 w 1056"/>
                <a:gd name="T63" fmla="*/ 25 h 1206"/>
                <a:gd name="T64" fmla="*/ 71 w 1056"/>
                <a:gd name="T65" fmla="*/ 10 h 1206"/>
                <a:gd name="T66" fmla="*/ 80 w 1056"/>
                <a:gd name="T67" fmla="*/ 1 h 1206"/>
                <a:gd name="T68" fmla="*/ 86 w 1056"/>
                <a:gd name="T69" fmla="*/ 2 h 1206"/>
                <a:gd name="T70" fmla="*/ 91 w 1056"/>
                <a:gd name="T71" fmla="*/ 13 h 1206"/>
                <a:gd name="T72" fmla="*/ 88 w 1056"/>
                <a:gd name="T73" fmla="*/ 17 h 1206"/>
                <a:gd name="T74" fmla="*/ 89 w 1056"/>
                <a:gd name="T75" fmla="*/ 21 h 1206"/>
                <a:gd name="T76" fmla="*/ 86 w 1056"/>
                <a:gd name="T77" fmla="*/ 25 h 1206"/>
                <a:gd name="T78" fmla="*/ 85 w 1056"/>
                <a:gd name="T79" fmla="*/ 31 h 1206"/>
                <a:gd name="T80" fmla="*/ 83 w 1056"/>
                <a:gd name="T81" fmla="*/ 36 h 1206"/>
                <a:gd name="T82" fmla="*/ 80 w 1056"/>
                <a:gd name="T83" fmla="*/ 42 h 1206"/>
                <a:gd name="T84" fmla="*/ 80 w 1056"/>
                <a:gd name="T85" fmla="*/ 47 h 1206"/>
                <a:gd name="T86" fmla="*/ 77 w 1056"/>
                <a:gd name="T87" fmla="*/ 55 h 1206"/>
                <a:gd name="T88" fmla="*/ 75 w 1056"/>
                <a:gd name="T89" fmla="*/ 57 h 1206"/>
                <a:gd name="T90" fmla="*/ 66 w 1056"/>
                <a:gd name="T91" fmla="*/ 57 h 1206"/>
                <a:gd name="T92" fmla="*/ 66 w 1056"/>
                <a:gd name="T93" fmla="*/ 51 h 1206"/>
                <a:gd name="T94" fmla="*/ 48 w 1056"/>
                <a:gd name="T95" fmla="*/ 50 h 1206"/>
                <a:gd name="T96" fmla="*/ 46 w 1056"/>
                <a:gd name="T97" fmla="*/ 55 h 1206"/>
                <a:gd name="T98" fmla="*/ 42 w 1056"/>
                <a:gd name="T99" fmla="*/ 59 h 1206"/>
                <a:gd name="T100" fmla="*/ 41 w 1056"/>
                <a:gd name="T101" fmla="*/ 62 h 1206"/>
                <a:gd name="T102" fmla="*/ 43 w 1056"/>
                <a:gd name="T103" fmla="*/ 67 h 1206"/>
                <a:gd name="T104" fmla="*/ 42 w 1056"/>
                <a:gd name="T105" fmla="*/ 72 h 1206"/>
                <a:gd name="T106" fmla="*/ 39 w 1056"/>
                <a:gd name="T107" fmla="*/ 77 h 1206"/>
                <a:gd name="T108" fmla="*/ 36 w 1056"/>
                <a:gd name="T109" fmla="*/ 80 h 1206"/>
                <a:gd name="T110" fmla="*/ 37 w 1056"/>
                <a:gd name="T111" fmla="*/ 83 h 1206"/>
                <a:gd name="T112" fmla="*/ 40 w 1056"/>
                <a:gd name="T113" fmla="*/ 87 h 1206"/>
                <a:gd name="T114" fmla="*/ 42 w 1056"/>
                <a:gd name="T115" fmla="*/ 89 h 12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56"/>
                <a:gd name="T175" fmla="*/ 0 h 1206"/>
                <a:gd name="T176" fmla="*/ 1056 w 1056"/>
                <a:gd name="T177" fmla="*/ 1206 h 12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56" h="1206">
                  <a:moveTo>
                    <a:pt x="492" y="1032"/>
                  </a:moveTo>
                  <a:lnTo>
                    <a:pt x="486" y="1038"/>
                  </a:lnTo>
                  <a:lnTo>
                    <a:pt x="486" y="1044"/>
                  </a:lnTo>
                  <a:lnTo>
                    <a:pt x="480" y="1044"/>
                  </a:lnTo>
                  <a:lnTo>
                    <a:pt x="474" y="1056"/>
                  </a:lnTo>
                  <a:lnTo>
                    <a:pt x="462" y="1068"/>
                  </a:lnTo>
                  <a:lnTo>
                    <a:pt x="456" y="1080"/>
                  </a:lnTo>
                  <a:lnTo>
                    <a:pt x="450" y="1080"/>
                  </a:lnTo>
                  <a:lnTo>
                    <a:pt x="450" y="1086"/>
                  </a:lnTo>
                  <a:lnTo>
                    <a:pt x="450" y="1092"/>
                  </a:lnTo>
                  <a:lnTo>
                    <a:pt x="444" y="1104"/>
                  </a:lnTo>
                  <a:lnTo>
                    <a:pt x="444" y="1116"/>
                  </a:lnTo>
                  <a:lnTo>
                    <a:pt x="438" y="1128"/>
                  </a:lnTo>
                  <a:lnTo>
                    <a:pt x="432" y="1134"/>
                  </a:lnTo>
                  <a:lnTo>
                    <a:pt x="432" y="1140"/>
                  </a:lnTo>
                  <a:lnTo>
                    <a:pt x="420" y="1152"/>
                  </a:lnTo>
                  <a:lnTo>
                    <a:pt x="420" y="1158"/>
                  </a:lnTo>
                  <a:lnTo>
                    <a:pt x="408" y="1182"/>
                  </a:lnTo>
                  <a:lnTo>
                    <a:pt x="396" y="1194"/>
                  </a:lnTo>
                  <a:lnTo>
                    <a:pt x="390" y="1206"/>
                  </a:lnTo>
                  <a:lnTo>
                    <a:pt x="390" y="1200"/>
                  </a:lnTo>
                  <a:lnTo>
                    <a:pt x="384" y="1194"/>
                  </a:lnTo>
                  <a:lnTo>
                    <a:pt x="378" y="1188"/>
                  </a:lnTo>
                  <a:lnTo>
                    <a:pt x="366" y="1176"/>
                  </a:lnTo>
                  <a:lnTo>
                    <a:pt x="366" y="1170"/>
                  </a:lnTo>
                  <a:lnTo>
                    <a:pt x="348" y="1152"/>
                  </a:lnTo>
                  <a:lnTo>
                    <a:pt x="336" y="1140"/>
                  </a:lnTo>
                  <a:lnTo>
                    <a:pt x="330" y="1134"/>
                  </a:lnTo>
                  <a:lnTo>
                    <a:pt x="324" y="1128"/>
                  </a:lnTo>
                  <a:lnTo>
                    <a:pt x="318" y="1122"/>
                  </a:lnTo>
                  <a:lnTo>
                    <a:pt x="312" y="1116"/>
                  </a:lnTo>
                  <a:lnTo>
                    <a:pt x="306" y="1110"/>
                  </a:lnTo>
                  <a:lnTo>
                    <a:pt x="300" y="1104"/>
                  </a:lnTo>
                  <a:lnTo>
                    <a:pt x="294" y="1098"/>
                  </a:lnTo>
                  <a:lnTo>
                    <a:pt x="276" y="1080"/>
                  </a:lnTo>
                  <a:lnTo>
                    <a:pt x="270" y="1080"/>
                  </a:lnTo>
                  <a:lnTo>
                    <a:pt x="270" y="1074"/>
                  </a:lnTo>
                  <a:lnTo>
                    <a:pt x="264" y="1068"/>
                  </a:lnTo>
                  <a:lnTo>
                    <a:pt x="258" y="1062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40" y="1050"/>
                  </a:lnTo>
                  <a:lnTo>
                    <a:pt x="234" y="1044"/>
                  </a:lnTo>
                  <a:lnTo>
                    <a:pt x="228" y="1044"/>
                  </a:lnTo>
                  <a:lnTo>
                    <a:pt x="222" y="1038"/>
                  </a:lnTo>
                  <a:lnTo>
                    <a:pt x="222" y="1032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6"/>
                  </a:lnTo>
                  <a:lnTo>
                    <a:pt x="204" y="1020"/>
                  </a:lnTo>
                  <a:lnTo>
                    <a:pt x="204" y="1014"/>
                  </a:lnTo>
                  <a:lnTo>
                    <a:pt x="198" y="1014"/>
                  </a:lnTo>
                  <a:lnTo>
                    <a:pt x="192" y="1014"/>
                  </a:lnTo>
                  <a:lnTo>
                    <a:pt x="192" y="1008"/>
                  </a:lnTo>
                  <a:lnTo>
                    <a:pt x="186" y="1008"/>
                  </a:lnTo>
                  <a:lnTo>
                    <a:pt x="186" y="1002"/>
                  </a:lnTo>
                  <a:lnTo>
                    <a:pt x="180" y="1002"/>
                  </a:lnTo>
                  <a:lnTo>
                    <a:pt x="174" y="996"/>
                  </a:lnTo>
                  <a:lnTo>
                    <a:pt x="168" y="996"/>
                  </a:lnTo>
                  <a:lnTo>
                    <a:pt x="168" y="990"/>
                  </a:lnTo>
                  <a:lnTo>
                    <a:pt x="162" y="990"/>
                  </a:lnTo>
                  <a:lnTo>
                    <a:pt x="162" y="984"/>
                  </a:lnTo>
                  <a:lnTo>
                    <a:pt x="150" y="978"/>
                  </a:lnTo>
                  <a:lnTo>
                    <a:pt x="144" y="972"/>
                  </a:lnTo>
                  <a:lnTo>
                    <a:pt x="138" y="972"/>
                  </a:lnTo>
                  <a:lnTo>
                    <a:pt x="138" y="966"/>
                  </a:lnTo>
                  <a:lnTo>
                    <a:pt x="132" y="966"/>
                  </a:lnTo>
                  <a:lnTo>
                    <a:pt x="126" y="960"/>
                  </a:lnTo>
                  <a:lnTo>
                    <a:pt x="126" y="954"/>
                  </a:lnTo>
                  <a:lnTo>
                    <a:pt x="120" y="954"/>
                  </a:lnTo>
                  <a:lnTo>
                    <a:pt x="114" y="948"/>
                  </a:lnTo>
                  <a:lnTo>
                    <a:pt x="108" y="948"/>
                  </a:lnTo>
                  <a:lnTo>
                    <a:pt x="108" y="942"/>
                  </a:lnTo>
                  <a:lnTo>
                    <a:pt x="102" y="942"/>
                  </a:lnTo>
                  <a:lnTo>
                    <a:pt x="96" y="942"/>
                  </a:lnTo>
                  <a:lnTo>
                    <a:pt x="96" y="936"/>
                  </a:lnTo>
                  <a:lnTo>
                    <a:pt x="90" y="936"/>
                  </a:lnTo>
                  <a:lnTo>
                    <a:pt x="90" y="930"/>
                  </a:lnTo>
                  <a:lnTo>
                    <a:pt x="84" y="930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18"/>
                  </a:lnTo>
                  <a:lnTo>
                    <a:pt x="66" y="918"/>
                  </a:lnTo>
                  <a:lnTo>
                    <a:pt x="66" y="912"/>
                  </a:lnTo>
                  <a:lnTo>
                    <a:pt x="66" y="906"/>
                  </a:lnTo>
                  <a:lnTo>
                    <a:pt x="72" y="906"/>
                  </a:lnTo>
                  <a:lnTo>
                    <a:pt x="84" y="906"/>
                  </a:lnTo>
                  <a:lnTo>
                    <a:pt x="90" y="906"/>
                  </a:lnTo>
                  <a:lnTo>
                    <a:pt x="120" y="930"/>
                  </a:lnTo>
                  <a:lnTo>
                    <a:pt x="126" y="936"/>
                  </a:lnTo>
                  <a:lnTo>
                    <a:pt x="138" y="936"/>
                  </a:lnTo>
                  <a:lnTo>
                    <a:pt x="138" y="930"/>
                  </a:lnTo>
                  <a:lnTo>
                    <a:pt x="144" y="930"/>
                  </a:lnTo>
                  <a:lnTo>
                    <a:pt x="144" y="924"/>
                  </a:lnTo>
                  <a:lnTo>
                    <a:pt x="150" y="900"/>
                  </a:lnTo>
                  <a:lnTo>
                    <a:pt x="138" y="894"/>
                  </a:lnTo>
                  <a:lnTo>
                    <a:pt x="126" y="894"/>
                  </a:lnTo>
                  <a:lnTo>
                    <a:pt x="108" y="888"/>
                  </a:lnTo>
                  <a:lnTo>
                    <a:pt x="84" y="882"/>
                  </a:lnTo>
                  <a:lnTo>
                    <a:pt x="72" y="882"/>
                  </a:lnTo>
                  <a:lnTo>
                    <a:pt x="72" y="876"/>
                  </a:lnTo>
                  <a:lnTo>
                    <a:pt x="78" y="870"/>
                  </a:lnTo>
                  <a:lnTo>
                    <a:pt x="90" y="870"/>
                  </a:lnTo>
                  <a:lnTo>
                    <a:pt x="96" y="870"/>
                  </a:lnTo>
                  <a:lnTo>
                    <a:pt x="102" y="870"/>
                  </a:lnTo>
                  <a:lnTo>
                    <a:pt x="114" y="870"/>
                  </a:lnTo>
                  <a:lnTo>
                    <a:pt x="120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34"/>
                  </a:lnTo>
                  <a:lnTo>
                    <a:pt x="132" y="828"/>
                  </a:lnTo>
                  <a:lnTo>
                    <a:pt x="132" y="816"/>
                  </a:lnTo>
                  <a:lnTo>
                    <a:pt x="150" y="816"/>
                  </a:lnTo>
                  <a:lnTo>
                    <a:pt x="150" y="804"/>
                  </a:lnTo>
                  <a:lnTo>
                    <a:pt x="144" y="798"/>
                  </a:lnTo>
                  <a:lnTo>
                    <a:pt x="156" y="762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32"/>
                  </a:lnTo>
                  <a:lnTo>
                    <a:pt x="144" y="726"/>
                  </a:lnTo>
                  <a:lnTo>
                    <a:pt x="132" y="726"/>
                  </a:lnTo>
                  <a:lnTo>
                    <a:pt x="120" y="732"/>
                  </a:lnTo>
                  <a:lnTo>
                    <a:pt x="114" y="744"/>
                  </a:lnTo>
                  <a:lnTo>
                    <a:pt x="108" y="750"/>
                  </a:lnTo>
                  <a:lnTo>
                    <a:pt x="96" y="768"/>
                  </a:lnTo>
                  <a:lnTo>
                    <a:pt x="96" y="774"/>
                  </a:lnTo>
                  <a:lnTo>
                    <a:pt x="90" y="780"/>
                  </a:lnTo>
                  <a:lnTo>
                    <a:pt x="84" y="804"/>
                  </a:lnTo>
                  <a:lnTo>
                    <a:pt x="72" y="774"/>
                  </a:lnTo>
                  <a:lnTo>
                    <a:pt x="72" y="768"/>
                  </a:lnTo>
                  <a:lnTo>
                    <a:pt x="66" y="762"/>
                  </a:lnTo>
                  <a:lnTo>
                    <a:pt x="60" y="750"/>
                  </a:lnTo>
                  <a:lnTo>
                    <a:pt x="54" y="750"/>
                  </a:lnTo>
                  <a:lnTo>
                    <a:pt x="48" y="750"/>
                  </a:lnTo>
                  <a:lnTo>
                    <a:pt x="42" y="750"/>
                  </a:lnTo>
                  <a:lnTo>
                    <a:pt x="30" y="744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12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2" y="702"/>
                  </a:lnTo>
                  <a:lnTo>
                    <a:pt x="18" y="696"/>
                  </a:lnTo>
                  <a:lnTo>
                    <a:pt x="12" y="690"/>
                  </a:lnTo>
                  <a:lnTo>
                    <a:pt x="12" y="684"/>
                  </a:lnTo>
                  <a:lnTo>
                    <a:pt x="12" y="678"/>
                  </a:lnTo>
                  <a:lnTo>
                    <a:pt x="12" y="672"/>
                  </a:lnTo>
                  <a:lnTo>
                    <a:pt x="18" y="672"/>
                  </a:lnTo>
                  <a:lnTo>
                    <a:pt x="18" y="666"/>
                  </a:lnTo>
                  <a:lnTo>
                    <a:pt x="24" y="666"/>
                  </a:lnTo>
                  <a:lnTo>
                    <a:pt x="24" y="660"/>
                  </a:lnTo>
                  <a:lnTo>
                    <a:pt x="30" y="660"/>
                  </a:lnTo>
                  <a:lnTo>
                    <a:pt x="30" y="654"/>
                  </a:lnTo>
                  <a:lnTo>
                    <a:pt x="36" y="654"/>
                  </a:lnTo>
                  <a:lnTo>
                    <a:pt x="36" y="648"/>
                  </a:lnTo>
                  <a:lnTo>
                    <a:pt x="42" y="648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60" y="630"/>
                  </a:lnTo>
                  <a:lnTo>
                    <a:pt x="66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78" y="624"/>
                  </a:lnTo>
                  <a:lnTo>
                    <a:pt x="84" y="618"/>
                  </a:lnTo>
                  <a:lnTo>
                    <a:pt x="84" y="612"/>
                  </a:lnTo>
                  <a:lnTo>
                    <a:pt x="90" y="612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20" y="588"/>
                  </a:lnTo>
                  <a:lnTo>
                    <a:pt x="120" y="582"/>
                  </a:lnTo>
                  <a:lnTo>
                    <a:pt x="120" y="576"/>
                  </a:lnTo>
                  <a:lnTo>
                    <a:pt x="120" y="570"/>
                  </a:lnTo>
                  <a:lnTo>
                    <a:pt x="126" y="564"/>
                  </a:lnTo>
                  <a:lnTo>
                    <a:pt x="126" y="558"/>
                  </a:lnTo>
                  <a:lnTo>
                    <a:pt x="126" y="552"/>
                  </a:lnTo>
                  <a:lnTo>
                    <a:pt x="126" y="546"/>
                  </a:lnTo>
                  <a:lnTo>
                    <a:pt x="126" y="534"/>
                  </a:lnTo>
                  <a:lnTo>
                    <a:pt x="126" y="516"/>
                  </a:lnTo>
                  <a:lnTo>
                    <a:pt x="126" y="510"/>
                  </a:lnTo>
                  <a:lnTo>
                    <a:pt x="126" y="504"/>
                  </a:lnTo>
                  <a:lnTo>
                    <a:pt x="126" y="498"/>
                  </a:lnTo>
                  <a:lnTo>
                    <a:pt x="132" y="498"/>
                  </a:lnTo>
                  <a:lnTo>
                    <a:pt x="132" y="492"/>
                  </a:lnTo>
                  <a:lnTo>
                    <a:pt x="138" y="492"/>
                  </a:lnTo>
                  <a:lnTo>
                    <a:pt x="144" y="486"/>
                  </a:lnTo>
                  <a:lnTo>
                    <a:pt x="156" y="480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6" y="462"/>
                  </a:lnTo>
                  <a:lnTo>
                    <a:pt x="156" y="456"/>
                  </a:lnTo>
                  <a:lnTo>
                    <a:pt x="156" y="450"/>
                  </a:lnTo>
                  <a:lnTo>
                    <a:pt x="162" y="438"/>
                  </a:lnTo>
                  <a:lnTo>
                    <a:pt x="168" y="426"/>
                  </a:lnTo>
                  <a:lnTo>
                    <a:pt x="174" y="426"/>
                  </a:lnTo>
                  <a:lnTo>
                    <a:pt x="174" y="420"/>
                  </a:lnTo>
                  <a:lnTo>
                    <a:pt x="180" y="414"/>
                  </a:lnTo>
                  <a:lnTo>
                    <a:pt x="186" y="420"/>
                  </a:lnTo>
                  <a:lnTo>
                    <a:pt x="186" y="414"/>
                  </a:lnTo>
                  <a:lnTo>
                    <a:pt x="180" y="408"/>
                  </a:lnTo>
                  <a:lnTo>
                    <a:pt x="180" y="402"/>
                  </a:lnTo>
                  <a:lnTo>
                    <a:pt x="186" y="402"/>
                  </a:lnTo>
                  <a:lnTo>
                    <a:pt x="192" y="402"/>
                  </a:lnTo>
                  <a:lnTo>
                    <a:pt x="192" y="396"/>
                  </a:lnTo>
                  <a:lnTo>
                    <a:pt x="198" y="396"/>
                  </a:lnTo>
                  <a:lnTo>
                    <a:pt x="204" y="396"/>
                  </a:lnTo>
                  <a:lnTo>
                    <a:pt x="210" y="396"/>
                  </a:lnTo>
                  <a:lnTo>
                    <a:pt x="210" y="390"/>
                  </a:lnTo>
                  <a:lnTo>
                    <a:pt x="216" y="390"/>
                  </a:lnTo>
                  <a:lnTo>
                    <a:pt x="216" y="384"/>
                  </a:lnTo>
                  <a:lnTo>
                    <a:pt x="222" y="384"/>
                  </a:lnTo>
                  <a:lnTo>
                    <a:pt x="222" y="378"/>
                  </a:lnTo>
                  <a:lnTo>
                    <a:pt x="228" y="372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0" y="348"/>
                  </a:lnTo>
                  <a:lnTo>
                    <a:pt x="234" y="342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46" y="330"/>
                  </a:lnTo>
                  <a:lnTo>
                    <a:pt x="246" y="324"/>
                  </a:lnTo>
                  <a:lnTo>
                    <a:pt x="234" y="318"/>
                  </a:lnTo>
                  <a:lnTo>
                    <a:pt x="234" y="312"/>
                  </a:lnTo>
                  <a:lnTo>
                    <a:pt x="234" y="300"/>
                  </a:lnTo>
                  <a:lnTo>
                    <a:pt x="240" y="288"/>
                  </a:lnTo>
                  <a:lnTo>
                    <a:pt x="240" y="276"/>
                  </a:lnTo>
                  <a:lnTo>
                    <a:pt x="246" y="258"/>
                  </a:lnTo>
                  <a:lnTo>
                    <a:pt x="258" y="252"/>
                  </a:lnTo>
                  <a:lnTo>
                    <a:pt x="270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294" y="252"/>
                  </a:lnTo>
                  <a:lnTo>
                    <a:pt x="300" y="258"/>
                  </a:lnTo>
                  <a:lnTo>
                    <a:pt x="318" y="252"/>
                  </a:lnTo>
                  <a:lnTo>
                    <a:pt x="366" y="252"/>
                  </a:lnTo>
                  <a:lnTo>
                    <a:pt x="378" y="252"/>
                  </a:lnTo>
                  <a:lnTo>
                    <a:pt x="396" y="252"/>
                  </a:lnTo>
                  <a:lnTo>
                    <a:pt x="408" y="252"/>
                  </a:lnTo>
                  <a:lnTo>
                    <a:pt x="408" y="246"/>
                  </a:lnTo>
                  <a:lnTo>
                    <a:pt x="414" y="240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20" y="216"/>
                  </a:lnTo>
                  <a:lnTo>
                    <a:pt x="426" y="210"/>
                  </a:lnTo>
                  <a:lnTo>
                    <a:pt x="444" y="198"/>
                  </a:lnTo>
                  <a:lnTo>
                    <a:pt x="462" y="198"/>
                  </a:lnTo>
                  <a:lnTo>
                    <a:pt x="474" y="204"/>
                  </a:lnTo>
                  <a:lnTo>
                    <a:pt x="498" y="198"/>
                  </a:lnTo>
                  <a:lnTo>
                    <a:pt x="498" y="204"/>
                  </a:lnTo>
                  <a:lnTo>
                    <a:pt x="540" y="210"/>
                  </a:lnTo>
                  <a:lnTo>
                    <a:pt x="564" y="210"/>
                  </a:lnTo>
                  <a:lnTo>
                    <a:pt x="588" y="210"/>
                  </a:lnTo>
                  <a:lnTo>
                    <a:pt x="612" y="210"/>
                  </a:lnTo>
                  <a:lnTo>
                    <a:pt x="612" y="216"/>
                  </a:lnTo>
                  <a:lnTo>
                    <a:pt x="618" y="222"/>
                  </a:lnTo>
                  <a:lnTo>
                    <a:pt x="618" y="228"/>
                  </a:lnTo>
                  <a:lnTo>
                    <a:pt x="624" y="240"/>
                  </a:lnTo>
                  <a:lnTo>
                    <a:pt x="624" y="246"/>
                  </a:lnTo>
                  <a:lnTo>
                    <a:pt x="630" y="252"/>
                  </a:lnTo>
                  <a:lnTo>
                    <a:pt x="630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0" y="282"/>
                  </a:lnTo>
                  <a:lnTo>
                    <a:pt x="630" y="288"/>
                  </a:lnTo>
                  <a:lnTo>
                    <a:pt x="630" y="300"/>
                  </a:lnTo>
                  <a:lnTo>
                    <a:pt x="630" y="306"/>
                  </a:lnTo>
                  <a:lnTo>
                    <a:pt x="636" y="306"/>
                  </a:lnTo>
                  <a:lnTo>
                    <a:pt x="642" y="306"/>
                  </a:lnTo>
                  <a:lnTo>
                    <a:pt x="648" y="312"/>
                  </a:lnTo>
                  <a:lnTo>
                    <a:pt x="666" y="312"/>
                  </a:lnTo>
                  <a:lnTo>
                    <a:pt x="696" y="306"/>
                  </a:lnTo>
                  <a:lnTo>
                    <a:pt x="732" y="300"/>
                  </a:lnTo>
                  <a:lnTo>
                    <a:pt x="732" y="288"/>
                  </a:lnTo>
                  <a:lnTo>
                    <a:pt x="738" y="288"/>
                  </a:lnTo>
                  <a:lnTo>
                    <a:pt x="744" y="276"/>
                  </a:lnTo>
                  <a:lnTo>
                    <a:pt x="762" y="246"/>
                  </a:lnTo>
                  <a:lnTo>
                    <a:pt x="768" y="228"/>
                  </a:lnTo>
                  <a:lnTo>
                    <a:pt x="792" y="210"/>
                  </a:lnTo>
                  <a:lnTo>
                    <a:pt x="804" y="186"/>
                  </a:lnTo>
                  <a:lnTo>
                    <a:pt x="804" y="156"/>
                  </a:lnTo>
                  <a:lnTo>
                    <a:pt x="804" y="138"/>
                  </a:lnTo>
                  <a:lnTo>
                    <a:pt x="810" y="126"/>
                  </a:lnTo>
                  <a:lnTo>
                    <a:pt x="816" y="120"/>
                  </a:lnTo>
                  <a:lnTo>
                    <a:pt x="828" y="102"/>
                  </a:lnTo>
                  <a:lnTo>
                    <a:pt x="834" y="96"/>
                  </a:lnTo>
                  <a:lnTo>
                    <a:pt x="846" y="102"/>
                  </a:lnTo>
                  <a:lnTo>
                    <a:pt x="852" y="96"/>
                  </a:lnTo>
                  <a:lnTo>
                    <a:pt x="858" y="72"/>
                  </a:lnTo>
                  <a:lnTo>
                    <a:pt x="864" y="60"/>
                  </a:lnTo>
                  <a:lnTo>
                    <a:pt x="882" y="48"/>
                  </a:lnTo>
                  <a:lnTo>
                    <a:pt x="906" y="36"/>
                  </a:lnTo>
                  <a:lnTo>
                    <a:pt x="918" y="12"/>
                  </a:lnTo>
                  <a:lnTo>
                    <a:pt x="924" y="0"/>
                  </a:lnTo>
                  <a:lnTo>
                    <a:pt x="930" y="6"/>
                  </a:lnTo>
                  <a:lnTo>
                    <a:pt x="942" y="12"/>
                  </a:lnTo>
                  <a:lnTo>
                    <a:pt x="948" y="12"/>
                  </a:lnTo>
                  <a:lnTo>
                    <a:pt x="954" y="18"/>
                  </a:lnTo>
                  <a:lnTo>
                    <a:pt x="966" y="18"/>
                  </a:lnTo>
                  <a:lnTo>
                    <a:pt x="972" y="18"/>
                  </a:lnTo>
                  <a:lnTo>
                    <a:pt x="984" y="18"/>
                  </a:lnTo>
                  <a:lnTo>
                    <a:pt x="990" y="18"/>
                  </a:lnTo>
                  <a:lnTo>
                    <a:pt x="1002" y="48"/>
                  </a:lnTo>
                  <a:lnTo>
                    <a:pt x="1008" y="78"/>
                  </a:lnTo>
                  <a:lnTo>
                    <a:pt x="1020" y="78"/>
                  </a:lnTo>
                  <a:lnTo>
                    <a:pt x="1020" y="90"/>
                  </a:lnTo>
                  <a:lnTo>
                    <a:pt x="1026" y="102"/>
                  </a:lnTo>
                  <a:lnTo>
                    <a:pt x="1044" y="120"/>
                  </a:lnTo>
                  <a:lnTo>
                    <a:pt x="1044" y="132"/>
                  </a:lnTo>
                  <a:lnTo>
                    <a:pt x="1056" y="150"/>
                  </a:lnTo>
                  <a:lnTo>
                    <a:pt x="1050" y="150"/>
                  </a:lnTo>
                  <a:lnTo>
                    <a:pt x="1044" y="156"/>
                  </a:lnTo>
                  <a:lnTo>
                    <a:pt x="1044" y="162"/>
                  </a:lnTo>
                  <a:lnTo>
                    <a:pt x="1038" y="162"/>
                  </a:lnTo>
                  <a:lnTo>
                    <a:pt x="1032" y="162"/>
                  </a:lnTo>
                  <a:lnTo>
                    <a:pt x="1026" y="168"/>
                  </a:lnTo>
                  <a:lnTo>
                    <a:pt x="1014" y="174"/>
                  </a:lnTo>
                  <a:lnTo>
                    <a:pt x="1014" y="186"/>
                  </a:lnTo>
                  <a:lnTo>
                    <a:pt x="1014" y="192"/>
                  </a:lnTo>
                  <a:lnTo>
                    <a:pt x="1014" y="198"/>
                  </a:lnTo>
                  <a:lnTo>
                    <a:pt x="1020" y="204"/>
                  </a:lnTo>
                  <a:lnTo>
                    <a:pt x="1026" y="204"/>
                  </a:lnTo>
                  <a:lnTo>
                    <a:pt x="1032" y="204"/>
                  </a:lnTo>
                  <a:lnTo>
                    <a:pt x="1032" y="210"/>
                  </a:lnTo>
                  <a:lnTo>
                    <a:pt x="1038" y="210"/>
                  </a:lnTo>
                  <a:lnTo>
                    <a:pt x="1032" y="216"/>
                  </a:lnTo>
                  <a:lnTo>
                    <a:pt x="1026" y="228"/>
                  </a:lnTo>
                  <a:lnTo>
                    <a:pt x="1026" y="234"/>
                  </a:lnTo>
                  <a:lnTo>
                    <a:pt x="1032" y="240"/>
                  </a:lnTo>
                  <a:lnTo>
                    <a:pt x="1032" y="246"/>
                  </a:lnTo>
                  <a:lnTo>
                    <a:pt x="1032" y="252"/>
                  </a:lnTo>
                  <a:lnTo>
                    <a:pt x="1032" y="258"/>
                  </a:lnTo>
                  <a:lnTo>
                    <a:pt x="1038" y="264"/>
                  </a:lnTo>
                  <a:lnTo>
                    <a:pt x="1032" y="276"/>
                  </a:lnTo>
                  <a:lnTo>
                    <a:pt x="1026" y="276"/>
                  </a:lnTo>
                  <a:lnTo>
                    <a:pt x="1020" y="276"/>
                  </a:lnTo>
                  <a:lnTo>
                    <a:pt x="996" y="282"/>
                  </a:lnTo>
                  <a:lnTo>
                    <a:pt x="996" y="288"/>
                  </a:lnTo>
                  <a:lnTo>
                    <a:pt x="996" y="294"/>
                  </a:lnTo>
                  <a:lnTo>
                    <a:pt x="996" y="300"/>
                  </a:lnTo>
                  <a:lnTo>
                    <a:pt x="996" y="306"/>
                  </a:lnTo>
                  <a:lnTo>
                    <a:pt x="984" y="324"/>
                  </a:lnTo>
                  <a:lnTo>
                    <a:pt x="984" y="330"/>
                  </a:lnTo>
                  <a:lnTo>
                    <a:pt x="984" y="336"/>
                  </a:lnTo>
                  <a:lnTo>
                    <a:pt x="978" y="336"/>
                  </a:lnTo>
                  <a:lnTo>
                    <a:pt x="978" y="342"/>
                  </a:lnTo>
                  <a:lnTo>
                    <a:pt x="984" y="360"/>
                  </a:lnTo>
                  <a:lnTo>
                    <a:pt x="978" y="366"/>
                  </a:lnTo>
                  <a:lnTo>
                    <a:pt x="978" y="372"/>
                  </a:lnTo>
                  <a:lnTo>
                    <a:pt x="972" y="372"/>
                  </a:lnTo>
                  <a:lnTo>
                    <a:pt x="972" y="378"/>
                  </a:lnTo>
                  <a:lnTo>
                    <a:pt x="972" y="384"/>
                  </a:lnTo>
                  <a:lnTo>
                    <a:pt x="972" y="390"/>
                  </a:lnTo>
                  <a:lnTo>
                    <a:pt x="966" y="402"/>
                  </a:lnTo>
                  <a:lnTo>
                    <a:pt x="960" y="414"/>
                  </a:lnTo>
                  <a:lnTo>
                    <a:pt x="954" y="420"/>
                  </a:lnTo>
                  <a:lnTo>
                    <a:pt x="948" y="426"/>
                  </a:lnTo>
                  <a:lnTo>
                    <a:pt x="948" y="438"/>
                  </a:lnTo>
                  <a:lnTo>
                    <a:pt x="942" y="444"/>
                  </a:lnTo>
                  <a:lnTo>
                    <a:pt x="936" y="450"/>
                  </a:lnTo>
                  <a:lnTo>
                    <a:pt x="930" y="456"/>
                  </a:lnTo>
                  <a:lnTo>
                    <a:pt x="924" y="462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18" y="522"/>
                  </a:lnTo>
                  <a:lnTo>
                    <a:pt x="918" y="528"/>
                  </a:lnTo>
                  <a:lnTo>
                    <a:pt x="924" y="534"/>
                  </a:lnTo>
                  <a:lnTo>
                    <a:pt x="924" y="540"/>
                  </a:lnTo>
                  <a:lnTo>
                    <a:pt x="924" y="546"/>
                  </a:lnTo>
                  <a:lnTo>
                    <a:pt x="918" y="546"/>
                  </a:lnTo>
                  <a:lnTo>
                    <a:pt x="918" y="552"/>
                  </a:lnTo>
                  <a:lnTo>
                    <a:pt x="912" y="546"/>
                  </a:lnTo>
                  <a:lnTo>
                    <a:pt x="912" y="552"/>
                  </a:lnTo>
                  <a:lnTo>
                    <a:pt x="912" y="570"/>
                  </a:lnTo>
                  <a:lnTo>
                    <a:pt x="906" y="588"/>
                  </a:lnTo>
                  <a:lnTo>
                    <a:pt x="900" y="606"/>
                  </a:lnTo>
                  <a:lnTo>
                    <a:pt x="906" y="624"/>
                  </a:lnTo>
                  <a:lnTo>
                    <a:pt x="900" y="624"/>
                  </a:lnTo>
                  <a:lnTo>
                    <a:pt x="894" y="630"/>
                  </a:lnTo>
                  <a:lnTo>
                    <a:pt x="888" y="630"/>
                  </a:lnTo>
                  <a:lnTo>
                    <a:pt x="882" y="630"/>
                  </a:lnTo>
                  <a:lnTo>
                    <a:pt x="882" y="636"/>
                  </a:lnTo>
                  <a:lnTo>
                    <a:pt x="876" y="642"/>
                  </a:lnTo>
                  <a:lnTo>
                    <a:pt x="870" y="642"/>
                  </a:lnTo>
                  <a:lnTo>
                    <a:pt x="870" y="648"/>
                  </a:lnTo>
                  <a:lnTo>
                    <a:pt x="870" y="654"/>
                  </a:lnTo>
                  <a:lnTo>
                    <a:pt x="864" y="654"/>
                  </a:lnTo>
                  <a:lnTo>
                    <a:pt x="864" y="660"/>
                  </a:lnTo>
                  <a:lnTo>
                    <a:pt x="846" y="666"/>
                  </a:lnTo>
                  <a:lnTo>
                    <a:pt x="828" y="672"/>
                  </a:lnTo>
                  <a:lnTo>
                    <a:pt x="816" y="660"/>
                  </a:lnTo>
                  <a:lnTo>
                    <a:pt x="810" y="660"/>
                  </a:lnTo>
                  <a:lnTo>
                    <a:pt x="798" y="666"/>
                  </a:lnTo>
                  <a:lnTo>
                    <a:pt x="786" y="666"/>
                  </a:lnTo>
                  <a:lnTo>
                    <a:pt x="780" y="672"/>
                  </a:lnTo>
                  <a:lnTo>
                    <a:pt x="768" y="678"/>
                  </a:lnTo>
                  <a:lnTo>
                    <a:pt x="762" y="660"/>
                  </a:lnTo>
                  <a:lnTo>
                    <a:pt x="762" y="654"/>
                  </a:lnTo>
                  <a:lnTo>
                    <a:pt x="756" y="636"/>
                  </a:lnTo>
                  <a:lnTo>
                    <a:pt x="762" y="624"/>
                  </a:lnTo>
                  <a:lnTo>
                    <a:pt x="756" y="606"/>
                  </a:lnTo>
                  <a:lnTo>
                    <a:pt x="756" y="600"/>
                  </a:lnTo>
                  <a:lnTo>
                    <a:pt x="762" y="594"/>
                  </a:lnTo>
                  <a:lnTo>
                    <a:pt x="768" y="600"/>
                  </a:lnTo>
                  <a:lnTo>
                    <a:pt x="768" y="594"/>
                  </a:lnTo>
                  <a:lnTo>
                    <a:pt x="768" y="588"/>
                  </a:lnTo>
                  <a:lnTo>
                    <a:pt x="774" y="582"/>
                  </a:lnTo>
                  <a:lnTo>
                    <a:pt x="768" y="576"/>
                  </a:lnTo>
                  <a:lnTo>
                    <a:pt x="762" y="576"/>
                  </a:lnTo>
                  <a:lnTo>
                    <a:pt x="756" y="576"/>
                  </a:lnTo>
                  <a:lnTo>
                    <a:pt x="690" y="576"/>
                  </a:lnTo>
                  <a:lnTo>
                    <a:pt x="624" y="570"/>
                  </a:lnTo>
                  <a:lnTo>
                    <a:pt x="600" y="564"/>
                  </a:lnTo>
                  <a:lnTo>
                    <a:pt x="576" y="564"/>
                  </a:lnTo>
                  <a:lnTo>
                    <a:pt x="558" y="570"/>
                  </a:lnTo>
                  <a:lnTo>
                    <a:pt x="552" y="576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46" y="594"/>
                  </a:lnTo>
                  <a:lnTo>
                    <a:pt x="546" y="600"/>
                  </a:lnTo>
                  <a:lnTo>
                    <a:pt x="540" y="606"/>
                  </a:lnTo>
                  <a:lnTo>
                    <a:pt x="534" y="618"/>
                  </a:lnTo>
                  <a:lnTo>
                    <a:pt x="534" y="624"/>
                  </a:lnTo>
                  <a:lnTo>
                    <a:pt x="534" y="630"/>
                  </a:lnTo>
                  <a:lnTo>
                    <a:pt x="534" y="636"/>
                  </a:lnTo>
                  <a:lnTo>
                    <a:pt x="528" y="636"/>
                  </a:lnTo>
                  <a:lnTo>
                    <a:pt x="516" y="642"/>
                  </a:lnTo>
                  <a:lnTo>
                    <a:pt x="516" y="648"/>
                  </a:lnTo>
                  <a:lnTo>
                    <a:pt x="510" y="648"/>
                  </a:lnTo>
                  <a:lnTo>
                    <a:pt x="504" y="654"/>
                  </a:lnTo>
                  <a:lnTo>
                    <a:pt x="492" y="666"/>
                  </a:lnTo>
                  <a:lnTo>
                    <a:pt x="492" y="672"/>
                  </a:lnTo>
                  <a:lnTo>
                    <a:pt x="492" y="684"/>
                  </a:lnTo>
                  <a:lnTo>
                    <a:pt x="486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92" y="702"/>
                  </a:lnTo>
                  <a:lnTo>
                    <a:pt x="486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74" y="720"/>
                  </a:lnTo>
                  <a:lnTo>
                    <a:pt x="480" y="726"/>
                  </a:lnTo>
                  <a:lnTo>
                    <a:pt x="474" y="726"/>
                  </a:lnTo>
                  <a:lnTo>
                    <a:pt x="474" y="738"/>
                  </a:lnTo>
                  <a:lnTo>
                    <a:pt x="474" y="744"/>
                  </a:lnTo>
                  <a:lnTo>
                    <a:pt x="474" y="750"/>
                  </a:lnTo>
                  <a:lnTo>
                    <a:pt x="480" y="750"/>
                  </a:lnTo>
                  <a:lnTo>
                    <a:pt x="480" y="756"/>
                  </a:lnTo>
                  <a:lnTo>
                    <a:pt x="492" y="762"/>
                  </a:lnTo>
                  <a:lnTo>
                    <a:pt x="498" y="774"/>
                  </a:lnTo>
                  <a:lnTo>
                    <a:pt x="498" y="780"/>
                  </a:lnTo>
                  <a:lnTo>
                    <a:pt x="504" y="786"/>
                  </a:lnTo>
                  <a:lnTo>
                    <a:pt x="510" y="792"/>
                  </a:lnTo>
                  <a:lnTo>
                    <a:pt x="504" y="798"/>
                  </a:lnTo>
                  <a:lnTo>
                    <a:pt x="504" y="804"/>
                  </a:lnTo>
                  <a:lnTo>
                    <a:pt x="504" y="810"/>
                  </a:lnTo>
                  <a:lnTo>
                    <a:pt x="498" y="822"/>
                  </a:lnTo>
                  <a:lnTo>
                    <a:pt x="492" y="828"/>
                  </a:lnTo>
                  <a:lnTo>
                    <a:pt x="492" y="834"/>
                  </a:lnTo>
                  <a:lnTo>
                    <a:pt x="486" y="840"/>
                  </a:lnTo>
                  <a:lnTo>
                    <a:pt x="480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74" y="858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876"/>
                  </a:lnTo>
                  <a:lnTo>
                    <a:pt x="456" y="894"/>
                  </a:lnTo>
                  <a:lnTo>
                    <a:pt x="450" y="894"/>
                  </a:lnTo>
                  <a:lnTo>
                    <a:pt x="444" y="900"/>
                  </a:lnTo>
                  <a:lnTo>
                    <a:pt x="444" y="894"/>
                  </a:lnTo>
                  <a:lnTo>
                    <a:pt x="438" y="894"/>
                  </a:lnTo>
                  <a:lnTo>
                    <a:pt x="432" y="900"/>
                  </a:lnTo>
                  <a:lnTo>
                    <a:pt x="432" y="906"/>
                  </a:lnTo>
                  <a:lnTo>
                    <a:pt x="420" y="906"/>
                  </a:lnTo>
                  <a:lnTo>
                    <a:pt x="420" y="912"/>
                  </a:lnTo>
                  <a:lnTo>
                    <a:pt x="420" y="918"/>
                  </a:lnTo>
                  <a:lnTo>
                    <a:pt x="426" y="918"/>
                  </a:lnTo>
                  <a:lnTo>
                    <a:pt x="426" y="924"/>
                  </a:lnTo>
                  <a:lnTo>
                    <a:pt x="426" y="930"/>
                  </a:lnTo>
                  <a:lnTo>
                    <a:pt x="420" y="930"/>
                  </a:lnTo>
                  <a:lnTo>
                    <a:pt x="414" y="936"/>
                  </a:lnTo>
                  <a:lnTo>
                    <a:pt x="414" y="942"/>
                  </a:lnTo>
                  <a:lnTo>
                    <a:pt x="414" y="948"/>
                  </a:lnTo>
                  <a:lnTo>
                    <a:pt x="414" y="954"/>
                  </a:lnTo>
                  <a:lnTo>
                    <a:pt x="426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44" y="972"/>
                  </a:lnTo>
                  <a:lnTo>
                    <a:pt x="444" y="978"/>
                  </a:lnTo>
                  <a:lnTo>
                    <a:pt x="450" y="978"/>
                  </a:lnTo>
                  <a:lnTo>
                    <a:pt x="450" y="984"/>
                  </a:lnTo>
                  <a:lnTo>
                    <a:pt x="456" y="990"/>
                  </a:lnTo>
                  <a:lnTo>
                    <a:pt x="456" y="996"/>
                  </a:lnTo>
                  <a:lnTo>
                    <a:pt x="462" y="1008"/>
                  </a:lnTo>
                  <a:lnTo>
                    <a:pt x="468" y="1008"/>
                  </a:lnTo>
                  <a:lnTo>
                    <a:pt x="468" y="1002"/>
                  </a:lnTo>
                  <a:lnTo>
                    <a:pt x="474" y="1008"/>
                  </a:lnTo>
                  <a:lnTo>
                    <a:pt x="480" y="1002"/>
                  </a:lnTo>
                  <a:lnTo>
                    <a:pt x="486" y="1008"/>
                  </a:lnTo>
                  <a:lnTo>
                    <a:pt x="486" y="1014"/>
                  </a:lnTo>
                  <a:lnTo>
                    <a:pt x="492" y="1014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86" y="1026"/>
                  </a:lnTo>
                  <a:lnTo>
                    <a:pt x="492" y="1026"/>
                  </a:lnTo>
                  <a:lnTo>
                    <a:pt x="486" y="1026"/>
                  </a:lnTo>
                  <a:lnTo>
                    <a:pt x="492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5" name="Freeform 30">
              <a:extLst>
                <a:ext uri="{FF2B5EF4-FFF2-40B4-BE49-F238E27FC236}">
                  <a16:creationId xmlns:a16="http://schemas.microsoft.com/office/drawing/2014/main" id="{85C7B827-0C1A-4D72-AEBD-F01CFE7EC12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3645" y="3904484"/>
              <a:ext cx="559048" cy="111825"/>
            </a:xfrm>
            <a:custGeom>
              <a:avLst/>
              <a:gdLst>
                <a:gd name="T0" fmla="*/ 69 w 1056"/>
                <a:gd name="T1" fmla="*/ 7 h 210"/>
                <a:gd name="T2" fmla="*/ 63 w 1056"/>
                <a:gd name="T3" fmla="*/ 5 h 210"/>
                <a:gd name="T4" fmla="*/ 57 w 1056"/>
                <a:gd name="T5" fmla="*/ 5 h 210"/>
                <a:gd name="T6" fmla="*/ 54 w 1056"/>
                <a:gd name="T7" fmla="*/ 6 h 210"/>
                <a:gd name="T8" fmla="*/ 51 w 1056"/>
                <a:gd name="T9" fmla="*/ 7 h 210"/>
                <a:gd name="T10" fmla="*/ 46 w 1056"/>
                <a:gd name="T11" fmla="*/ 9 h 210"/>
                <a:gd name="T12" fmla="*/ 42 w 1056"/>
                <a:gd name="T13" fmla="*/ 8 h 210"/>
                <a:gd name="T14" fmla="*/ 42 w 1056"/>
                <a:gd name="T15" fmla="*/ 5 h 210"/>
                <a:gd name="T16" fmla="*/ 41 w 1056"/>
                <a:gd name="T17" fmla="*/ 7 h 210"/>
                <a:gd name="T18" fmla="*/ 38 w 1056"/>
                <a:gd name="T19" fmla="*/ 10 h 210"/>
                <a:gd name="T20" fmla="*/ 37 w 1056"/>
                <a:gd name="T21" fmla="*/ 12 h 210"/>
                <a:gd name="T22" fmla="*/ 37 w 1056"/>
                <a:gd name="T23" fmla="*/ 15 h 210"/>
                <a:gd name="T24" fmla="*/ 37 w 1056"/>
                <a:gd name="T25" fmla="*/ 16 h 210"/>
                <a:gd name="T26" fmla="*/ 38 w 1056"/>
                <a:gd name="T27" fmla="*/ 16 h 210"/>
                <a:gd name="T28" fmla="*/ 34 w 1056"/>
                <a:gd name="T29" fmla="*/ 16 h 210"/>
                <a:gd name="T30" fmla="*/ 26 w 1056"/>
                <a:gd name="T31" fmla="*/ 16 h 210"/>
                <a:gd name="T32" fmla="*/ 20 w 1056"/>
                <a:gd name="T33" fmla="*/ 17 h 210"/>
                <a:gd name="T34" fmla="*/ 13 w 1056"/>
                <a:gd name="T35" fmla="*/ 17 h 210"/>
                <a:gd name="T36" fmla="*/ 6 w 1056"/>
                <a:gd name="T37" fmla="*/ 17 h 210"/>
                <a:gd name="T38" fmla="*/ 1 w 1056"/>
                <a:gd name="T39" fmla="*/ 18 h 210"/>
                <a:gd name="T40" fmla="*/ 3 w 1056"/>
                <a:gd name="T41" fmla="*/ 14 h 210"/>
                <a:gd name="T42" fmla="*/ 8 w 1056"/>
                <a:gd name="T43" fmla="*/ 15 h 210"/>
                <a:gd name="T44" fmla="*/ 11 w 1056"/>
                <a:gd name="T45" fmla="*/ 12 h 210"/>
                <a:gd name="T46" fmla="*/ 26 w 1056"/>
                <a:gd name="T47" fmla="*/ 10 h 210"/>
                <a:gd name="T48" fmla="*/ 29 w 1056"/>
                <a:gd name="T49" fmla="*/ 5 h 210"/>
                <a:gd name="T50" fmla="*/ 34 w 1056"/>
                <a:gd name="T51" fmla="*/ 1 h 210"/>
                <a:gd name="T52" fmla="*/ 41 w 1056"/>
                <a:gd name="T53" fmla="*/ 3 h 210"/>
                <a:gd name="T54" fmla="*/ 73 w 1056"/>
                <a:gd name="T55" fmla="*/ 1 h 210"/>
                <a:gd name="T56" fmla="*/ 75 w 1056"/>
                <a:gd name="T57" fmla="*/ 4 h 210"/>
                <a:gd name="T58" fmla="*/ 85 w 1056"/>
                <a:gd name="T59" fmla="*/ 15 h 210"/>
                <a:gd name="T60" fmla="*/ 91 w 1056"/>
                <a:gd name="T61" fmla="*/ 18 h 210"/>
                <a:gd name="T62" fmla="*/ 85 w 1056"/>
                <a:gd name="T63" fmla="*/ 18 h 210"/>
                <a:gd name="T64" fmla="*/ 79 w 1056"/>
                <a:gd name="T65" fmla="*/ 16 h 210"/>
                <a:gd name="T66" fmla="*/ 74 w 1056"/>
                <a:gd name="T67" fmla="*/ 16 h 210"/>
                <a:gd name="T68" fmla="*/ 69 w 1056"/>
                <a:gd name="T69" fmla="*/ 15 h 210"/>
                <a:gd name="T70" fmla="*/ 65 w 1056"/>
                <a:gd name="T71" fmla="*/ 14 h 210"/>
                <a:gd name="T72" fmla="*/ 59 w 1056"/>
                <a:gd name="T73" fmla="*/ 15 h 210"/>
                <a:gd name="T74" fmla="*/ 54 w 1056"/>
                <a:gd name="T75" fmla="*/ 15 h 210"/>
                <a:gd name="T76" fmla="*/ 49 w 1056"/>
                <a:gd name="T77" fmla="*/ 15 h 210"/>
                <a:gd name="T78" fmla="*/ 42 w 1056"/>
                <a:gd name="T79" fmla="*/ 15 h 210"/>
                <a:gd name="T80" fmla="*/ 38 w 1056"/>
                <a:gd name="T81" fmla="*/ 16 h 210"/>
                <a:gd name="T82" fmla="*/ 41 w 1056"/>
                <a:gd name="T83" fmla="*/ 14 h 210"/>
                <a:gd name="T84" fmla="*/ 42 w 1056"/>
                <a:gd name="T85" fmla="*/ 13 h 210"/>
                <a:gd name="T86" fmla="*/ 45 w 1056"/>
                <a:gd name="T87" fmla="*/ 13 h 210"/>
                <a:gd name="T88" fmla="*/ 48 w 1056"/>
                <a:gd name="T89" fmla="*/ 12 h 210"/>
                <a:gd name="T90" fmla="*/ 51 w 1056"/>
                <a:gd name="T91" fmla="*/ 11 h 210"/>
                <a:gd name="T92" fmla="*/ 54 w 1056"/>
                <a:gd name="T93" fmla="*/ 9 h 210"/>
                <a:gd name="T94" fmla="*/ 57 w 1056"/>
                <a:gd name="T95" fmla="*/ 8 h 210"/>
                <a:gd name="T96" fmla="*/ 60 w 1056"/>
                <a:gd name="T97" fmla="*/ 5 h 210"/>
                <a:gd name="T98" fmla="*/ 65 w 1056"/>
                <a:gd name="T99" fmla="*/ 5 h 210"/>
                <a:gd name="T100" fmla="*/ 72 w 1056"/>
                <a:gd name="T101" fmla="*/ 7 h 210"/>
                <a:gd name="T102" fmla="*/ 77 w 1056"/>
                <a:gd name="T103" fmla="*/ 11 h 210"/>
                <a:gd name="T104" fmla="*/ 69 w 1056"/>
                <a:gd name="T105" fmla="*/ 10 h 210"/>
                <a:gd name="T106" fmla="*/ 72 w 1056"/>
                <a:gd name="T107" fmla="*/ 12 h 210"/>
                <a:gd name="T108" fmla="*/ 78 w 1056"/>
                <a:gd name="T109" fmla="*/ 15 h 210"/>
                <a:gd name="T110" fmla="*/ 84 w 1056"/>
                <a:gd name="T111" fmla="*/ 14 h 210"/>
                <a:gd name="T112" fmla="*/ 84 w 1056"/>
                <a:gd name="T113" fmla="*/ 14 h 210"/>
                <a:gd name="T114" fmla="*/ 78 w 1056"/>
                <a:gd name="T115" fmla="*/ 13 h 210"/>
                <a:gd name="T116" fmla="*/ 76 w 1056"/>
                <a:gd name="T117" fmla="*/ 14 h 210"/>
                <a:gd name="T118" fmla="*/ 38 w 1056"/>
                <a:gd name="T119" fmla="*/ 12 h 210"/>
                <a:gd name="T120" fmla="*/ 41 w 1056"/>
                <a:gd name="T121" fmla="*/ 12 h 210"/>
                <a:gd name="T122" fmla="*/ 40 w 1056"/>
                <a:gd name="T123" fmla="*/ 14 h 2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6"/>
                <a:gd name="T187" fmla="*/ 0 h 210"/>
                <a:gd name="T188" fmla="*/ 1056 w 1056"/>
                <a:gd name="T189" fmla="*/ 210 h 21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6" h="210">
                  <a:moveTo>
                    <a:pt x="870" y="90"/>
                  </a:moveTo>
                  <a:lnTo>
                    <a:pt x="864" y="90"/>
                  </a:lnTo>
                  <a:lnTo>
                    <a:pt x="852" y="84"/>
                  </a:lnTo>
                  <a:lnTo>
                    <a:pt x="846" y="84"/>
                  </a:lnTo>
                  <a:lnTo>
                    <a:pt x="846" y="78"/>
                  </a:lnTo>
                  <a:lnTo>
                    <a:pt x="840" y="78"/>
                  </a:lnTo>
                  <a:lnTo>
                    <a:pt x="834" y="78"/>
                  </a:lnTo>
                  <a:lnTo>
                    <a:pt x="834" y="72"/>
                  </a:lnTo>
                  <a:lnTo>
                    <a:pt x="804" y="78"/>
                  </a:lnTo>
                  <a:lnTo>
                    <a:pt x="798" y="78"/>
                  </a:lnTo>
                  <a:lnTo>
                    <a:pt x="792" y="72"/>
                  </a:lnTo>
                  <a:lnTo>
                    <a:pt x="780" y="60"/>
                  </a:lnTo>
                  <a:lnTo>
                    <a:pt x="768" y="54"/>
                  </a:lnTo>
                  <a:lnTo>
                    <a:pt x="756" y="54"/>
                  </a:lnTo>
                  <a:lnTo>
                    <a:pt x="750" y="54"/>
                  </a:lnTo>
                  <a:lnTo>
                    <a:pt x="750" y="48"/>
                  </a:lnTo>
                  <a:lnTo>
                    <a:pt x="744" y="48"/>
                  </a:lnTo>
                  <a:lnTo>
                    <a:pt x="738" y="48"/>
                  </a:lnTo>
                  <a:lnTo>
                    <a:pt x="732" y="48"/>
                  </a:lnTo>
                  <a:lnTo>
                    <a:pt x="732" y="54"/>
                  </a:lnTo>
                  <a:lnTo>
                    <a:pt x="726" y="48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48"/>
                  </a:lnTo>
                  <a:lnTo>
                    <a:pt x="702" y="48"/>
                  </a:lnTo>
                  <a:lnTo>
                    <a:pt x="696" y="48"/>
                  </a:lnTo>
                  <a:lnTo>
                    <a:pt x="684" y="48"/>
                  </a:lnTo>
                  <a:lnTo>
                    <a:pt x="678" y="48"/>
                  </a:lnTo>
                  <a:lnTo>
                    <a:pt x="672" y="48"/>
                  </a:lnTo>
                  <a:lnTo>
                    <a:pt x="666" y="54"/>
                  </a:lnTo>
                  <a:lnTo>
                    <a:pt x="660" y="54"/>
                  </a:lnTo>
                  <a:lnTo>
                    <a:pt x="660" y="48"/>
                  </a:lnTo>
                  <a:lnTo>
                    <a:pt x="654" y="48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42" y="54"/>
                  </a:lnTo>
                  <a:lnTo>
                    <a:pt x="63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30" y="66"/>
                  </a:lnTo>
                  <a:lnTo>
                    <a:pt x="624" y="66"/>
                  </a:lnTo>
                  <a:lnTo>
                    <a:pt x="618" y="66"/>
                  </a:lnTo>
                  <a:lnTo>
                    <a:pt x="618" y="72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6" y="84"/>
                  </a:lnTo>
                  <a:lnTo>
                    <a:pt x="600" y="84"/>
                  </a:lnTo>
                  <a:lnTo>
                    <a:pt x="594" y="90"/>
                  </a:lnTo>
                  <a:lnTo>
                    <a:pt x="588" y="90"/>
                  </a:lnTo>
                  <a:lnTo>
                    <a:pt x="588" y="84"/>
                  </a:lnTo>
                  <a:lnTo>
                    <a:pt x="582" y="84"/>
                  </a:lnTo>
                  <a:lnTo>
                    <a:pt x="576" y="84"/>
                  </a:lnTo>
                  <a:lnTo>
                    <a:pt x="570" y="84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58" y="96"/>
                  </a:lnTo>
                  <a:lnTo>
                    <a:pt x="552" y="96"/>
                  </a:lnTo>
                  <a:lnTo>
                    <a:pt x="546" y="102"/>
                  </a:lnTo>
                  <a:lnTo>
                    <a:pt x="540" y="102"/>
                  </a:lnTo>
                  <a:lnTo>
                    <a:pt x="534" y="102"/>
                  </a:lnTo>
                  <a:lnTo>
                    <a:pt x="528" y="102"/>
                  </a:lnTo>
                  <a:lnTo>
                    <a:pt x="528" y="108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16" y="102"/>
                  </a:lnTo>
                  <a:lnTo>
                    <a:pt x="510" y="102"/>
                  </a:lnTo>
                  <a:lnTo>
                    <a:pt x="504" y="102"/>
                  </a:lnTo>
                  <a:lnTo>
                    <a:pt x="498" y="102"/>
                  </a:lnTo>
                  <a:lnTo>
                    <a:pt x="498" y="96"/>
                  </a:lnTo>
                  <a:lnTo>
                    <a:pt x="492" y="96"/>
                  </a:lnTo>
                  <a:lnTo>
                    <a:pt x="492" y="90"/>
                  </a:lnTo>
                  <a:lnTo>
                    <a:pt x="492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498" y="66"/>
                  </a:lnTo>
                  <a:lnTo>
                    <a:pt x="504" y="60"/>
                  </a:lnTo>
                  <a:lnTo>
                    <a:pt x="498" y="60"/>
                  </a:lnTo>
                  <a:lnTo>
                    <a:pt x="498" y="54"/>
                  </a:lnTo>
                  <a:lnTo>
                    <a:pt x="492" y="54"/>
                  </a:lnTo>
                  <a:lnTo>
                    <a:pt x="492" y="60"/>
                  </a:lnTo>
                  <a:lnTo>
                    <a:pt x="486" y="60"/>
                  </a:lnTo>
                  <a:lnTo>
                    <a:pt x="486" y="66"/>
                  </a:lnTo>
                  <a:lnTo>
                    <a:pt x="480" y="66"/>
                  </a:lnTo>
                  <a:lnTo>
                    <a:pt x="474" y="72"/>
                  </a:lnTo>
                  <a:lnTo>
                    <a:pt x="474" y="66"/>
                  </a:lnTo>
                  <a:lnTo>
                    <a:pt x="474" y="72"/>
                  </a:lnTo>
                  <a:lnTo>
                    <a:pt x="468" y="72"/>
                  </a:lnTo>
                  <a:lnTo>
                    <a:pt x="468" y="78"/>
                  </a:lnTo>
                  <a:lnTo>
                    <a:pt x="468" y="84"/>
                  </a:lnTo>
                  <a:lnTo>
                    <a:pt x="462" y="90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0" y="84"/>
                  </a:lnTo>
                  <a:lnTo>
                    <a:pt x="450" y="90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44" y="102"/>
                  </a:lnTo>
                  <a:lnTo>
                    <a:pt x="444" y="108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38" y="126"/>
                  </a:lnTo>
                  <a:lnTo>
                    <a:pt x="438" y="132"/>
                  </a:lnTo>
                  <a:lnTo>
                    <a:pt x="438" y="138"/>
                  </a:lnTo>
                  <a:lnTo>
                    <a:pt x="438" y="144"/>
                  </a:lnTo>
                  <a:lnTo>
                    <a:pt x="432" y="144"/>
                  </a:lnTo>
                  <a:lnTo>
                    <a:pt x="432" y="150"/>
                  </a:lnTo>
                  <a:lnTo>
                    <a:pt x="432" y="144"/>
                  </a:lnTo>
                  <a:lnTo>
                    <a:pt x="426" y="144"/>
                  </a:lnTo>
                  <a:lnTo>
                    <a:pt x="426" y="150"/>
                  </a:lnTo>
                  <a:lnTo>
                    <a:pt x="426" y="156"/>
                  </a:lnTo>
                  <a:lnTo>
                    <a:pt x="432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2"/>
                  </a:lnTo>
                  <a:lnTo>
                    <a:pt x="432" y="168"/>
                  </a:lnTo>
                  <a:lnTo>
                    <a:pt x="426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44" y="168"/>
                  </a:lnTo>
                  <a:lnTo>
                    <a:pt x="444" y="174"/>
                  </a:lnTo>
                  <a:lnTo>
                    <a:pt x="444" y="180"/>
                  </a:lnTo>
                  <a:lnTo>
                    <a:pt x="444" y="186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2" y="192"/>
                  </a:lnTo>
                  <a:lnTo>
                    <a:pt x="426" y="192"/>
                  </a:lnTo>
                  <a:lnTo>
                    <a:pt x="420" y="186"/>
                  </a:lnTo>
                  <a:lnTo>
                    <a:pt x="414" y="186"/>
                  </a:lnTo>
                  <a:lnTo>
                    <a:pt x="408" y="186"/>
                  </a:lnTo>
                  <a:lnTo>
                    <a:pt x="402" y="186"/>
                  </a:lnTo>
                  <a:lnTo>
                    <a:pt x="396" y="186"/>
                  </a:lnTo>
                  <a:lnTo>
                    <a:pt x="390" y="186"/>
                  </a:lnTo>
                  <a:lnTo>
                    <a:pt x="384" y="186"/>
                  </a:lnTo>
                  <a:lnTo>
                    <a:pt x="378" y="186"/>
                  </a:lnTo>
                  <a:lnTo>
                    <a:pt x="372" y="186"/>
                  </a:lnTo>
                  <a:lnTo>
                    <a:pt x="354" y="186"/>
                  </a:lnTo>
                  <a:lnTo>
                    <a:pt x="342" y="186"/>
                  </a:lnTo>
                  <a:lnTo>
                    <a:pt x="324" y="186"/>
                  </a:lnTo>
                  <a:lnTo>
                    <a:pt x="312" y="186"/>
                  </a:lnTo>
                  <a:lnTo>
                    <a:pt x="306" y="186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82" y="186"/>
                  </a:lnTo>
                  <a:lnTo>
                    <a:pt x="270" y="186"/>
                  </a:lnTo>
                  <a:lnTo>
                    <a:pt x="264" y="186"/>
                  </a:lnTo>
                  <a:lnTo>
                    <a:pt x="258" y="192"/>
                  </a:lnTo>
                  <a:lnTo>
                    <a:pt x="258" y="186"/>
                  </a:lnTo>
                  <a:lnTo>
                    <a:pt x="246" y="186"/>
                  </a:lnTo>
                  <a:lnTo>
                    <a:pt x="240" y="186"/>
                  </a:lnTo>
                  <a:lnTo>
                    <a:pt x="234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2"/>
                  </a:lnTo>
                  <a:lnTo>
                    <a:pt x="204" y="192"/>
                  </a:lnTo>
                  <a:lnTo>
                    <a:pt x="198" y="192"/>
                  </a:lnTo>
                  <a:lnTo>
                    <a:pt x="192" y="192"/>
                  </a:lnTo>
                  <a:lnTo>
                    <a:pt x="180" y="192"/>
                  </a:lnTo>
                  <a:lnTo>
                    <a:pt x="168" y="192"/>
                  </a:lnTo>
                  <a:lnTo>
                    <a:pt x="162" y="192"/>
                  </a:lnTo>
                  <a:lnTo>
                    <a:pt x="150" y="192"/>
                  </a:lnTo>
                  <a:lnTo>
                    <a:pt x="138" y="192"/>
                  </a:lnTo>
                  <a:lnTo>
                    <a:pt x="132" y="192"/>
                  </a:lnTo>
                  <a:lnTo>
                    <a:pt x="120" y="192"/>
                  </a:lnTo>
                  <a:lnTo>
                    <a:pt x="114" y="192"/>
                  </a:lnTo>
                  <a:lnTo>
                    <a:pt x="108" y="192"/>
                  </a:lnTo>
                  <a:lnTo>
                    <a:pt x="102" y="192"/>
                  </a:lnTo>
                  <a:lnTo>
                    <a:pt x="90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2" y="198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36" y="198"/>
                  </a:lnTo>
                  <a:lnTo>
                    <a:pt x="30" y="204"/>
                  </a:lnTo>
                  <a:lnTo>
                    <a:pt x="24" y="204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6" y="210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54" y="156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56"/>
                  </a:lnTo>
                  <a:lnTo>
                    <a:pt x="78" y="162"/>
                  </a:lnTo>
                  <a:lnTo>
                    <a:pt x="84" y="162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9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0" y="126"/>
                  </a:lnTo>
                  <a:lnTo>
                    <a:pt x="276" y="120"/>
                  </a:lnTo>
                  <a:lnTo>
                    <a:pt x="282" y="120"/>
                  </a:lnTo>
                  <a:lnTo>
                    <a:pt x="300" y="120"/>
                  </a:lnTo>
                  <a:lnTo>
                    <a:pt x="306" y="114"/>
                  </a:lnTo>
                  <a:lnTo>
                    <a:pt x="312" y="108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8"/>
                  </a:lnTo>
                  <a:lnTo>
                    <a:pt x="342" y="30"/>
                  </a:lnTo>
                  <a:lnTo>
                    <a:pt x="342" y="24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8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24"/>
                  </a:lnTo>
                  <a:lnTo>
                    <a:pt x="414" y="30"/>
                  </a:lnTo>
                  <a:lnTo>
                    <a:pt x="420" y="30"/>
                  </a:lnTo>
                  <a:lnTo>
                    <a:pt x="42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74" y="30"/>
                  </a:lnTo>
                  <a:lnTo>
                    <a:pt x="474" y="18"/>
                  </a:lnTo>
                  <a:lnTo>
                    <a:pt x="474" y="12"/>
                  </a:lnTo>
                  <a:lnTo>
                    <a:pt x="480" y="12"/>
                  </a:lnTo>
                  <a:lnTo>
                    <a:pt x="486" y="12"/>
                  </a:lnTo>
                  <a:lnTo>
                    <a:pt x="606" y="12"/>
                  </a:lnTo>
                  <a:lnTo>
                    <a:pt x="630" y="12"/>
                  </a:lnTo>
                  <a:lnTo>
                    <a:pt x="678" y="12"/>
                  </a:lnTo>
                  <a:lnTo>
                    <a:pt x="744" y="12"/>
                  </a:lnTo>
                  <a:lnTo>
                    <a:pt x="774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2" y="6"/>
                  </a:lnTo>
                  <a:lnTo>
                    <a:pt x="888" y="12"/>
                  </a:lnTo>
                  <a:lnTo>
                    <a:pt x="888" y="24"/>
                  </a:lnTo>
                  <a:lnTo>
                    <a:pt x="888" y="30"/>
                  </a:lnTo>
                  <a:lnTo>
                    <a:pt x="882" y="36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64" y="42"/>
                  </a:lnTo>
                  <a:lnTo>
                    <a:pt x="864" y="48"/>
                  </a:lnTo>
                  <a:lnTo>
                    <a:pt x="858" y="54"/>
                  </a:lnTo>
                  <a:lnTo>
                    <a:pt x="864" y="54"/>
                  </a:lnTo>
                  <a:lnTo>
                    <a:pt x="870" y="72"/>
                  </a:lnTo>
                  <a:lnTo>
                    <a:pt x="870" y="78"/>
                  </a:lnTo>
                  <a:lnTo>
                    <a:pt x="870" y="84"/>
                  </a:lnTo>
                  <a:lnTo>
                    <a:pt x="870" y="90"/>
                  </a:lnTo>
                  <a:close/>
                  <a:moveTo>
                    <a:pt x="972" y="156"/>
                  </a:moveTo>
                  <a:lnTo>
                    <a:pt x="972" y="162"/>
                  </a:lnTo>
                  <a:lnTo>
                    <a:pt x="978" y="162"/>
                  </a:lnTo>
                  <a:lnTo>
                    <a:pt x="984" y="168"/>
                  </a:lnTo>
                  <a:lnTo>
                    <a:pt x="990" y="168"/>
                  </a:lnTo>
                  <a:lnTo>
                    <a:pt x="990" y="162"/>
                  </a:lnTo>
                  <a:lnTo>
                    <a:pt x="1008" y="162"/>
                  </a:lnTo>
                  <a:lnTo>
                    <a:pt x="1020" y="162"/>
                  </a:lnTo>
                  <a:lnTo>
                    <a:pt x="1038" y="162"/>
                  </a:lnTo>
                  <a:lnTo>
                    <a:pt x="1056" y="168"/>
                  </a:lnTo>
                  <a:lnTo>
                    <a:pt x="1056" y="180"/>
                  </a:lnTo>
                  <a:lnTo>
                    <a:pt x="1056" y="186"/>
                  </a:lnTo>
                  <a:lnTo>
                    <a:pt x="1056" y="204"/>
                  </a:lnTo>
                  <a:lnTo>
                    <a:pt x="1050" y="204"/>
                  </a:lnTo>
                  <a:lnTo>
                    <a:pt x="1044" y="204"/>
                  </a:lnTo>
                  <a:lnTo>
                    <a:pt x="1038" y="204"/>
                  </a:lnTo>
                  <a:lnTo>
                    <a:pt x="1032" y="204"/>
                  </a:lnTo>
                  <a:lnTo>
                    <a:pt x="1026" y="204"/>
                  </a:lnTo>
                  <a:lnTo>
                    <a:pt x="1020" y="204"/>
                  </a:lnTo>
                  <a:lnTo>
                    <a:pt x="1014" y="204"/>
                  </a:lnTo>
                  <a:lnTo>
                    <a:pt x="1008" y="204"/>
                  </a:lnTo>
                  <a:lnTo>
                    <a:pt x="1002" y="204"/>
                  </a:lnTo>
                  <a:lnTo>
                    <a:pt x="996" y="204"/>
                  </a:lnTo>
                  <a:lnTo>
                    <a:pt x="984" y="204"/>
                  </a:lnTo>
                  <a:lnTo>
                    <a:pt x="984" y="198"/>
                  </a:lnTo>
                  <a:lnTo>
                    <a:pt x="978" y="198"/>
                  </a:lnTo>
                  <a:lnTo>
                    <a:pt x="966" y="198"/>
                  </a:lnTo>
                  <a:lnTo>
                    <a:pt x="948" y="192"/>
                  </a:lnTo>
                  <a:lnTo>
                    <a:pt x="942" y="192"/>
                  </a:lnTo>
                  <a:lnTo>
                    <a:pt x="936" y="192"/>
                  </a:lnTo>
                  <a:lnTo>
                    <a:pt x="924" y="192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12" y="186"/>
                  </a:lnTo>
                  <a:lnTo>
                    <a:pt x="906" y="186"/>
                  </a:lnTo>
                  <a:lnTo>
                    <a:pt x="900" y="186"/>
                  </a:lnTo>
                  <a:lnTo>
                    <a:pt x="894" y="186"/>
                  </a:lnTo>
                  <a:lnTo>
                    <a:pt x="888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76" y="180"/>
                  </a:lnTo>
                  <a:lnTo>
                    <a:pt x="870" y="180"/>
                  </a:lnTo>
                  <a:lnTo>
                    <a:pt x="864" y="180"/>
                  </a:lnTo>
                  <a:lnTo>
                    <a:pt x="858" y="180"/>
                  </a:lnTo>
                  <a:lnTo>
                    <a:pt x="852" y="180"/>
                  </a:lnTo>
                  <a:lnTo>
                    <a:pt x="852" y="174"/>
                  </a:lnTo>
                  <a:lnTo>
                    <a:pt x="846" y="174"/>
                  </a:lnTo>
                  <a:lnTo>
                    <a:pt x="840" y="174"/>
                  </a:lnTo>
                  <a:lnTo>
                    <a:pt x="834" y="174"/>
                  </a:lnTo>
                  <a:lnTo>
                    <a:pt x="828" y="174"/>
                  </a:lnTo>
                  <a:lnTo>
                    <a:pt x="822" y="174"/>
                  </a:lnTo>
                  <a:lnTo>
                    <a:pt x="816" y="174"/>
                  </a:lnTo>
                  <a:lnTo>
                    <a:pt x="810" y="168"/>
                  </a:lnTo>
                  <a:lnTo>
                    <a:pt x="804" y="168"/>
                  </a:lnTo>
                  <a:lnTo>
                    <a:pt x="798" y="168"/>
                  </a:lnTo>
                  <a:lnTo>
                    <a:pt x="792" y="168"/>
                  </a:lnTo>
                  <a:lnTo>
                    <a:pt x="786" y="168"/>
                  </a:lnTo>
                  <a:lnTo>
                    <a:pt x="780" y="168"/>
                  </a:lnTo>
                  <a:lnTo>
                    <a:pt x="774" y="168"/>
                  </a:lnTo>
                  <a:lnTo>
                    <a:pt x="768" y="168"/>
                  </a:lnTo>
                  <a:lnTo>
                    <a:pt x="762" y="168"/>
                  </a:lnTo>
                  <a:lnTo>
                    <a:pt x="756" y="168"/>
                  </a:lnTo>
                  <a:lnTo>
                    <a:pt x="750" y="168"/>
                  </a:lnTo>
                  <a:lnTo>
                    <a:pt x="750" y="162"/>
                  </a:lnTo>
                  <a:lnTo>
                    <a:pt x="744" y="168"/>
                  </a:lnTo>
                  <a:lnTo>
                    <a:pt x="738" y="162"/>
                  </a:lnTo>
                  <a:lnTo>
                    <a:pt x="732" y="162"/>
                  </a:lnTo>
                  <a:lnTo>
                    <a:pt x="726" y="162"/>
                  </a:lnTo>
                  <a:lnTo>
                    <a:pt x="714" y="162"/>
                  </a:lnTo>
                  <a:lnTo>
                    <a:pt x="702" y="162"/>
                  </a:lnTo>
                  <a:lnTo>
                    <a:pt x="696" y="168"/>
                  </a:lnTo>
                  <a:lnTo>
                    <a:pt x="690" y="168"/>
                  </a:lnTo>
                  <a:lnTo>
                    <a:pt x="684" y="168"/>
                  </a:lnTo>
                  <a:lnTo>
                    <a:pt x="678" y="168"/>
                  </a:lnTo>
                  <a:lnTo>
                    <a:pt x="672" y="168"/>
                  </a:lnTo>
                  <a:lnTo>
                    <a:pt x="666" y="168"/>
                  </a:lnTo>
                  <a:lnTo>
                    <a:pt x="660" y="168"/>
                  </a:lnTo>
                  <a:lnTo>
                    <a:pt x="654" y="168"/>
                  </a:lnTo>
                  <a:lnTo>
                    <a:pt x="648" y="174"/>
                  </a:lnTo>
                  <a:lnTo>
                    <a:pt x="648" y="168"/>
                  </a:lnTo>
                  <a:lnTo>
                    <a:pt x="642" y="174"/>
                  </a:lnTo>
                  <a:lnTo>
                    <a:pt x="636" y="174"/>
                  </a:lnTo>
                  <a:lnTo>
                    <a:pt x="630" y="174"/>
                  </a:lnTo>
                  <a:lnTo>
                    <a:pt x="624" y="174"/>
                  </a:lnTo>
                  <a:lnTo>
                    <a:pt x="618" y="174"/>
                  </a:lnTo>
                  <a:lnTo>
                    <a:pt x="612" y="174"/>
                  </a:lnTo>
                  <a:lnTo>
                    <a:pt x="606" y="174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74"/>
                  </a:lnTo>
                  <a:lnTo>
                    <a:pt x="582" y="174"/>
                  </a:lnTo>
                  <a:lnTo>
                    <a:pt x="576" y="174"/>
                  </a:lnTo>
                  <a:lnTo>
                    <a:pt x="570" y="174"/>
                  </a:lnTo>
                  <a:lnTo>
                    <a:pt x="564" y="174"/>
                  </a:lnTo>
                  <a:lnTo>
                    <a:pt x="558" y="174"/>
                  </a:lnTo>
                  <a:lnTo>
                    <a:pt x="552" y="174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0" y="174"/>
                  </a:lnTo>
                  <a:lnTo>
                    <a:pt x="504" y="174"/>
                  </a:lnTo>
                  <a:lnTo>
                    <a:pt x="498" y="174"/>
                  </a:lnTo>
                  <a:lnTo>
                    <a:pt x="492" y="174"/>
                  </a:lnTo>
                  <a:lnTo>
                    <a:pt x="486" y="174"/>
                  </a:lnTo>
                  <a:lnTo>
                    <a:pt x="480" y="174"/>
                  </a:lnTo>
                  <a:lnTo>
                    <a:pt x="474" y="174"/>
                  </a:lnTo>
                  <a:lnTo>
                    <a:pt x="468" y="174"/>
                  </a:lnTo>
                  <a:lnTo>
                    <a:pt x="462" y="174"/>
                  </a:lnTo>
                  <a:lnTo>
                    <a:pt x="456" y="174"/>
                  </a:lnTo>
                  <a:lnTo>
                    <a:pt x="450" y="180"/>
                  </a:lnTo>
                  <a:lnTo>
                    <a:pt x="450" y="186"/>
                  </a:lnTo>
                  <a:lnTo>
                    <a:pt x="450" y="192"/>
                  </a:lnTo>
                  <a:lnTo>
                    <a:pt x="444" y="192"/>
                  </a:lnTo>
                  <a:lnTo>
                    <a:pt x="444" y="186"/>
                  </a:lnTo>
                  <a:lnTo>
                    <a:pt x="444" y="180"/>
                  </a:lnTo>
                  <a:lnTo>
                    <a:pt x="450" y="180"/>
                  </a:lnTo>
                  <a:lnTo>
                    <a:pt x="450" y="174"/>
                  </a:lnTo>
                  <a:lnTo>
                    <a:pt x="450" y="168"/>
                  </a:lnTo>
                  <a:lnTo>
                    <a:pt x="450" y="162"/>
                  </a:lnTo>
                  <a:lnTo>
                    <a:pt x="456" y="162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62" y="162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74" y="168"/>
                  </a:lnTo>
                  <a:lnTo>
                    <a:pt x="480" y="168"/>
                  </a:lnTo>
                  <a:lnTo>
                    <a:pt x="480" y="162"/>
                  </a:lnTo>
                  <a:lnTo>
                    <a:pt x="480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56"/>
                  </a:lnTo>
                  <a:lnTo>
                    <a:pt x="492" y="156"/>
                  </a:lnTo>
                  <a:lnTo>
                    <a:pt x="486" y="150"/>
                  </a:lnTo>
                  <a:lnTo>
                    <a:pt x="492" y="150"/>
                  </a:lnTo>
                  <a:lnTo>
                    <a:pt x="498" y="150"/>
                  </a:lnTo>
                  <a:lnTo>
                    <a:pt x="498" y="156"/>
                  </a:lnTo>
                  <a:lnTo>
                    <a:pt x="504" y="156"/>
                  </a:lnTo>
                  <a:lnTo>
                    <a:pt x="504" y="162"/>
                  </a:lnTo>
                  <a:lnTo>
                    <a:pt x="504" y="156"/>
                  </a:lnTo>
                  <a:lnTo>
                    <a:pt x="510" y="156"/>
                  </a:lnTo>
                  <a:lnTo>
                    <a:pt x="510" y="150"/>
                  </a:lnTo>
                  <a:lnTo>
                    <a:pt x="516" y="150"/>
                  </a:lnTo>
                  <a:lnTo>
                    <a:pt x="522" y="150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28" y="150"/>
                  </a:lnTo>
                  <a:lnTo>
                    <a:pt x="528" y="144"/>
                  </a:lnTo>
                  <a:lnTo>
                    <a:pt x="540" y="144"/>
                  </a:lnTo>
                  <a:lnTo>
                    <a:pt x="546" y="144"/>
                  </a:lnTo>
                  <a:lnTo>
                    <a:pt x="552" y="138"/>
                  </a:lnTo>
                  <a:lnTo>
                    <a:pt x="552" y="132"/>
                  </a:lnTo>
                  <a:lnTo>
                    <a:pt x="558" y="132"/>
                  </a:lnTo>
                  <a:lnTo>
                    <a:pt x="558" y="126"/>
                  </a:lnTo>
                  <a:lnTo>
                    <a:pt x="558" y="120"/>
                  </a:lnTo>
                  <a:lnTo>
                    <a:pt x="558" y="114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6" y="114"/>
                  </a:lnTo>
                  <a:lnTo>
                    <a:pt x="582" y="120"/>
                  </a:lnTo>
                  <a:lnTo>
                    <a:pt x="588" y="120"/>
                  </a:lnTo>
                  <a:lnTo>
                    <a:pt x="588" y="126"/>
                  </a:lnTo>
                  <a:lnTo>
                    <a:pt x="588" y="120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600" y="114"/>
                  </a:lnTo>
                  <a:lnTo>
                    <a:pt x="606" y="114"/>
                  </a:lnTo>
                  <a:lnTo>
                    <a:pt x="618" y="114"/>
                  </a:lnTo>
                  <a:lnTo>
                    <a:pt x="618" y="108"/>
                  </a:lnTo>
                  <a:lnTo>
                    <a:pt x="624" y="108"/>
                  </a:lnTo>
                  <a:lnTo>
                    <a:pt x="624" y="102"/>
                  </a:lnTo>
                  <a:lnTo>
                    <a:pt x="630" y="102"/>
                  </a:lnTo>
                  <a:lnTo>
                    <a:pt x="636" y="102"/>
                  </a:lnTo>
                  <a:lnTo>
                    <a:pt x="636" y="108"/>
                  </a:lnTo>
                  <a:lnTo>
                    <a:pt x="642" y="108"/>
                  </a:lnTo>
                  <a:lnTo>
                    <a:pt x="648" y="108"/>
                  </a:lnTo>
                  <a:lnTo>
                    <a:pt x="648" y="102"/>
                  </a:lnTo>
                  <a:lnTo>
                    <a:pt x="654" y="102"/>
                  </a:lnTo>
                  <a:lnTo>
                    <a:pt x="660" y="102"/>
                  </a:lnTo>
                  <a:lnTo>
                    <a:pt x="660" y="96"/>
                  </a:lnTo>
                  <a:lnTo>
                    <a:pt x="660" y="90"/>
                  </a:lnTo>
                  <a:lnTo>
                    <a:pt x="666" y="90"/>
                  </a:lnTo>
                  <a:lnTo>
                    <a:pt x="666" y="84"/>
                  </a:lnTo>
                  <a:lnTo>
                    <a:pt x="672" y="78"/>
                  </a:lnTo>
                  <a:lnTo>
                    <a:pt x="672" y="72"/>
                  </a:lnTo>
                  <a:lnTo>
                    <a:pt x="678" y="66"/>
                  </a:lnTo>
                  <a:lnTo>
                    <a:pt x="684" y="66"/>
                  </a:lnTo>
                  <a:lnTo>
                    <a:pt x="684" y="60"/>
                  </a:lnTo>
                  <a:lnTo>
                    <a:pt x="690" y="60"/>
                  </a:lnTo>
                  <a:lnTo>
                    <a:pt x="696" y="60"/>
                  </a:lnTo>
                  <a:lnTo>
                    <a:pt x="702" y="60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66"/>
                  </a:lnTo>
                  <a:lnTo>
                    <a:pt x="720" y="66"/>
                  </a:lnTo>
                  <a:lnTo>
                    <a:pt x="720" y="60"/>
                  </a:lnTo>
                  <a:lnTo>
                    <a:pt x="726" y="60"/>
                  </a:lnTo>
                  <a:lnTo>
                    <a:pt x="732" y="60"/>
                  </a:lnTo>
                  <a:lnTo>
                    <a:pt x="744" y="60"/>
                  </a:lnTo>
                  <a:lnTo>
                    <a:pt x="750" y="54"/>
                  </a:lnTo>
                  <a:lnTo>
                    <a:pt x="762" y="60"/>
                  </a:lnTo>
                  <a:lnTo>
                    <a:pt x="774" y="60"/>
                  </a:lnTo>
                  <a:lnTo>
                    <a:pt x="774" y="66"/>
                  </a:lnTo>
                  <a:lnTo>
                    <a:pt x="780" y="72"/>
                  </a:lnTo>
                  <a:lnTo>
                    <a:pt x="786" y="78"/>
                  </a:lnTo>
                  <a:lnTo>
                    <a:pt x="792" y="78"/>
                  </a:lnTo>
                  <a:lnTo>
                    <a:pt x="810" y="84"/>
                  </a:lnTo>
                  <a:lnTo>
                    <a:pt x="822" y="84"/>
                  </a:lnTo>
                  <a:lnTo>
                    <a:pt x="828" y="84"/>
                  </a:lnTo>
                  <a:lnTo>
                    <a:pt x="834" y="84"/>
                  </a:lnTo>
                  <a:lnTo>
                    <a:pt x="840" y="96"/>
                  </a:lnTo>
                  <a:lnTo>
                    <a:pt x="846" y="102"/>
                  </a:lnTo>
                  <a:lnTo>
                    <a:pt x="858" y="102"/>
                  </a:lnTo>
                  <a:lnTo>
                    <a:pt x="864" y="102"/>
                  </a:lnTo>
                  <a:lnTo>
                    <a:pt x="876" y="96"/>
                  </a:lnTo>
                  <a:lnTo>
                    <a:pt x="882" y="102"/>
                  </a:lnTo>
                  <a:lnTo>
                    <a:pt x="888" y="108"/>
                  </a:lnTo>
                  <a:lnTo>
                    <a:pt x="888" y="114"/>
                  </a:lnTo>
                  <a:lnTo>
                    <a:pt x="888" y="120"/>
                  </a:lnTo>
                  <a:lnTo>
                    <a:pt x="888" y="126"/>
                  </a:lnTo>
                  <a:lnTo>
                    <a:pt x="888" y="132"/>
                  </a:lnTo>
                  <a:lnTo>
                    <a:pt x="882" y="132"/>
                  </a:lnTo>
                  <a:lnTo>
                    <a:pt x="864" y="126"/>
                  </a:lnTo>
                  <a:lnTo>
                    <a:pt x="852" y="120"/>
                  </a:lnTo>
                  <a:lnTo>
                    <a:pt x="840" y="126"/>
                  </a:lnTo>
                  <a:lnTo>
                    <a:pt x="834" y="120"/>
                  </a:lnTo>
                  <a:lnTo>
                    <a:pt x="828" y="120"/>
                  </a:lnTo>
                  <a:lnTo>
                    <a:pt x="822" y="120"/>
                  </a:lnTo>
                  <a:lnTo>
                    <a:pt x="810" y="114"/>
                  </a:lnTo>
                  <a:lnTo>
                    <a:pt x="804" y="114"/>
                  </a:lnTo>
                  <a:lnTo>
                    <a:pt x="798" y="114"/>
                  </a:lnTo>
                  <a:lnTo>
                    <a:pt x="792" y="114"/>
                  </a:lnTo>
                  <a:lnTo>
                    <a:pt x="786" y="114"/>
                  </a:lnTo>
                  <a:lnTo>
                    <a:pt x="780" y="114"/>
                  </a:lnTo>
                  <a:lnTo>
                    <a:pt x="780" y="126"/>
                  </a:lnTo>
                  <a:lnTo>
                    <a:pt x="786" y="126"/>
                  </a:lnTo>
                  <a:lnTo>
                    <a:pt x="798" y="126"/>
                  </a:lnTo>
                  <a:lnTo>
                    <a:pt x="804" y="126"/>
                  </a:lnTo>
                  <a:lnTo>
                    <a:pt x="822" y="132"/>
                  </a:lnTo>
                  <a:lnTo>
                    <a:pt x="828" y="132"/>
                  </a:lnTo>
                  <a:lnTo>
                    <a:pt x="834" y="132"/>
                  </a:lnTo>
                  <a:lnTo>
                    <a:pt x="840" y="144"/>
                  </a:lnTo>
                  <a:lnTo>
                    <a:pt x="846" y="150"/>
                  </a:lnTo>
                  <a:lnTo>
                    <a:pt x="858" y="150"/>
                  </a:lnTo>
                  <a:lnTo>
                    <a:pt x="864" y="162"/>
                  </a:lnTo>
                  <a:lnTo>
                    <a:pt x="870" y="162"/>
                  </a:lnTo>
                  <a:lnTo>
                    <a:pt x="876" y="168"/>
                  </a:lnTo>
                  <a:lnTo>
                    <a:pt x="888" y="168"/>
                  </a:lnTo>
                  <a:lnTo>
                    <a:pt x="894" y="174"/>
                  </a:lnTo>
                  <a:lnTo>
                    <a:pt x="900" y="174"/>
                  </a:lnTo>
                  <a:lnTo>
                    <a:pt x="918" y="174"/>
                  </a:lnTo>
                  <a:lnTo>
                    <a:pt x="924" y="174"/>
                  </a:lnTo>
                  <a:lnTo>
                    <a:pt x="930" y="174"/>
                  </a:lnTo>
                  <a:lnTo>
                    <a:pt x="942" y="174"/>
                  </a:lnTo>
                  <a:lnTo>
                    <a:pt x="954" y="174"/>
                  </a:lnTo>
                  <a:lnTo>
                    <a:pt x="960" y="174"/>
                  </a:lnTo>
                  <a:lnTo>
                    <a:pt x="966" y="174"/>
                  </a:lnTo>
                  <a:lnTo>
                    <a:pt x="966" y="168"/>
                  </a:lnTo>
                  <a:lnTo>
                    <a:pt x="972" y="162"/>
                  </a:lnTo>
                  <a:lnTo>
                    <a:pt x="972" y="156"/>
                  </a:lnTo>
                  <a:close/>
                  <a:moveTo>
                    <a:pt x="942" y="174"/>
                  </a:moveTo>
                  <a:lnTo>
                    <a:pt x="936" y="174"/>
                  </a:lnTo>
                  <a:lnTo>
                    <a:pt x="936" y="168"/>
                  </a:lnTo>
                  <a:lnTo>
                    <a:pt x="936" y="162"/>
                  </a:lnTo>
                  <a:lnTo>
                    <a:pt x="948" y="162"/>
                  </a:lnTo>
                  <a:lnTo>
                    <a:pt x="948" y="156"/>
                  </a:lnTo>
                  <a:lnTo>
                    <a:pt x="954" y="156"/>
                  </a:lnTo>
                  <a:lnTo>
                    <a:pt x="960" y="156"/>
                  </a:lnTo>
                  <a:lnTo>
                    <a:pt x="966" y="156"/>
                  </a:lnTo>
                  <a:lnTo>
                    <a:pt x="966" y="162"/>
                  </a:lnTo>
                  <a:lnTo>
                    <a:pt x="960" y="168"/>
                  </a:lnTo>
                  <a:lnTo>
                    <a:pt x="942" y="174"/>
                  </a:lnTo>
                  <a:close/>
                  <a:moveTo>
                    <a:pt x="900" y="168"/>
                  </a:moveTo>
                  <a:lnTo>
                    <a:pt x="894" y="168"/>
                  </a:lnTo>
                  <a:lnTo>
                    <a:pt x="882" y="156"/>
                  </a:lnTo>
                  <a:lnTo>
                    <a:pt x="882" y="150"/>
                  </a:lnTo>
                  <a:lnTo>
                    <a:pt x="888" y="156"/>
                  </a:lnTo>
                  <a:lnTo>
                    <a:pt x="894" y="150"/>
                  </a:lnTo>
                  <a:lnTo>
                    <a:pt x="900" y="150"/>
                  </a:lnTo>
                  <a:lnTo>
                    <a:pt x="906" y="150"/>
                  </a:lnTo>
                  <a:lnTo>
                    <a:pt x="912" y="150"/>
                  </a:lnTo>
                  <a:lnTo>
                    <a:pt x="924" y="150"/>
                  </a:lnTo>
                  <a:lnTo>
                    <a:pt x="924" y="156"/>
                  </a:lnTo>
                  <a:lnTo>
                    <a:pt x="924" y="162"/>
                  </a:lnTo>
                  <a:lnTo>
                    <a:pt x="924" y="168"/>
                  </a:lnTo>
                  <a:lnTo>
                    <a:pt x="918" y="168"/>
                  </a:lnTo>
                  <a:lnTo>
                    <a:pt x="906" y="168"/>
                  </a:lnTo>
                  <a:lnTo>
                    <a:pt x="900" y="168"/>
                  </a:lnTo>
                  <a:close/>
                  <a:moveTo>
                    <a:pt x="870" y="162"/>
                  </a:moveTo>
                  <a:lnTo>
                    <a:pt x="876" y="162"/>
                  </a:lnTo>
                  <a:lnTo>
                    <a:pt x="876" y="168"/>
                  </a:lnTo>
                  <a:lnTo>
                    <a:pt x="870" y="168"/>
                  </a:lnTo>
                  <a:lnTo>
                    <a:pt x="870" y="162"/>
                  </a:lnTo>
                  <a:close/>
                  <a:moveTo>
                    <a:pt x="450" y="162"/>
                  </a:moveTo>
                  <a:lnTo>
                    <a:pt x="444" y="162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2" y="150"/>
                  </a:lnTo>
                  <a:lnTo>
                    <a:pt x="438" y="150"/>
                  </a:lnTo>
                  <a:lnTo>
                    <a:pt x="438" y="144"/>
                  </a:lnTo>
                  <a:lnTo>
                    <a:pt x="438" y="150"/>
                  </a:lnTo>
                  <a:lnTo>
                    <a:pt x="444" y="150"/>
                  </a:lnTo>
                  <a:lnTo>
                    <a:pt x="450" y="150"/>
                  </a:lnTo>
                  <a:lnTo>
                    <a:pt x="450" y="156"/>
                  </a:lnTo>
                  <a:lnTo>
                    <a:pt x="456" y="156"/>
                  </a:lnTo>
                  <a:lnTo>
                    <a:pt x="456" y="150"/>
                  </a:lnTo>
                  <a:lnTo>
                    <a:pt x="456" y="156"/>
                  </a:lnTo>
                  <a:lnTo>
                    <a:pt x="462" y="150"/>
                  </a:lnTo>
                  <a:lnTo>
                    <a:pt x="462" y="144"/>
                  </a:lnTo>
                  <a:lnTo>
                    <a:pt x="468" y="144"/>
                  </a:lnTo>
                  <a:lnTo>
                    <a:pt x="468" y="150"/>
                  </a:lnTo>
                  <a:lnTo>
                    <a:pt x="474" y="150"/>
                  </a:lnTo>
                  <a:lnTo>
                    <a:pt x="480" y="150"/>
                  </a:lnTo>
                  <a:lnTo>
                    <a:pt x="480" y="156"/>
                  </a:lnTo>
                  <a:lnTo>
                    <a:pt x="480" y="162"/>
                  </a:lnTo>
                  <a:lnTo>
                    <a:pt x="474" y="162"/>
                  </a:lnTo>
                  <a:lnTo>
                    <a:pt x="474" y="168"/>
                  </a:lnTo>
                  <a:lnTo>
                    <a:pt x="474" y="162"/>
                  </a:lnTo>
                  <a:lnTo>
                    <a:pt x="468" y="162"/>
                  </a:lnTo>
                  <a:lnTo>
                    <a:pt x="462" y="162"/>
                  </a:lnTo>
                  <a:lnTo>
                    <a:pt x="456" y="162"/>
                  </a:lnTo>
                  <a:lnTo>
                    <a:pt x="450" y="16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6" name="Freeform 31">
              <a:extLst>
                <a:ext uri="{FF2B5EF4-FFF2-40B4-BE49-F238E27FC236}">
                  <a16:creationId xmlns:a16="http://schemas.microsoft.com/office/drawing/2014/main" id="{0989F057-38E8-4AA5-8B73-27F6355E235C}"/>
                </a:ext>
              </a:extLst>
            </p:cNvPr>
            <p:cNvSpPr>
              <a:spLocks/>
            </p:cNvSpPr>
            <p:nvPr/>
          </p:nvSpPr>
          <p:spPr bwMode="gray">
            <a:xfrm>
              <a:off x="792590" y="2728084"/>
              <a:ext cx="1182944" cy="740282"/>
            </a:xfrm>
            <a:custGeom>
              <a:avLst/>
              <a:gdLst>
                <a:gd name="T0" fmla="*/ 138 w 2226"/>
                <a:gd name="T1" fmla="*/ 121 h 1392"/>
                <a:gd name="T2" fmla="*/ 133 w 2226"/>
                <a:gd name="T3" fmla="*/ 119 h 1392"/>
                <a:gd name="T4" fmla="*/ 128 w 2226"/>
                <a:gd name="T5" fmla="*/ 117 h 1392"/>
                <a:gd name="T6" fmla="*/ 119 w 2226"/>
                <a:gd name="T7" fmla="*/ 116 h 1392"/>
                <a:gd name="T8" fmla="*/ 101 w 2226"/>
                <a:gd name="T9" fmla="*/ 116 h 1392"/>
                <a:gd name="T10" fmla="*/ 94 w 2226"/>
                <a:gd name="T11" fmla="*/ 104 h 1392"/>
                <a:gd name="T12" fmla="*/ 82 w 2226"/>
                <a:gd name="T13" fmla="*/ 83 h 1392"/>
                <a:gd name="T14" fmla="*/ 87 w 2226"/>
                <a:gd name="T15" fmla="*/ 69 h 1392"/>
                <a:gd name="T16" fmla="*/ 82 w 2226"/>
                <a:gd name="T17" fmla="*/ 65 h 1392"/>
                <a:gd name="T18" fmla="*/ 59 w 2226"/>
                <a:gd name="T19" fmla="*/ 57 h 1392"/>
                <a:gd name="T20" fmla="*/ 29 w 2226"/>
                <a:gd name="T21" fmla="*/ 77 h 1392"/>
                <a:gd name="T22" fmla="*/ 20 w 2226"/>
                <a:gd name="T23" fmla="*/ 78 h 1392"/>
                <a:gd name="T24" fmla="*/ 15 w 2226"/>
                <a:gd name="T25" fmla="*/ 82 h 1392"/>
                <a:gd name="T26" fmla="*/ 8 w 2226"/>
                <a:gd name="T27" fmla="*/ 86 h 1392"/>
                <a:gd name="T28" fmla="*/ 1 w 2226"/>
                <a:gd name="T29" fmla="*/ 88 h 1392"/>
                <a:gd name="T30" fmla="*/ 0 w 2226"/>
                <a:gd name="T31" fmla="*/ 82 h 1392"/>
                <a:gd name="T32" fmla="*/ 0 w 2226"/>
                <a:gd name="T33" fmla="*/ 76 h 1392"/>
                <a:gd name="T34" fmla="*/ 2 w 2226"/>
                <a:gd name="T35" fmla="*/ 70 h 1392"/>
                <a:gd name="T36" fmla="*/ 3 w 2226"/>
                <a:gd name="T37" fmla="*/ 65 h 1392"/>
                <a:gd name="T38" fmla="*/ 2 w 2226"/>
                <a:gd name="T39" fmla="*/ 63 h 1392"/>
                <a:gd name="T40" fmla="*/ 9 w 2226"/>
                <a:gd name="T41" fmla="*/ 60 h 1392"/>
                <a:gd name="T42" fmla="*/ 17 w 2226"/>
                <a:gd name="T43" fmla="*/ 59 h 1392"/>
                <a:gd name="T44" fmla="*/ 22 w 2226"/>
                <a:gd name="T45" fmla="*/ 51 h 1392"/>
                <a:gd name="T46" fmla="*/ 23 w 2226"/>
                <a:gd name="T47" fmla="*/ 43 h 1392"/>
                <a:gd name="T48" fmla="*/ 27 w 2226"/>
                <a:gd name="T49" fmla="*/ 34 h 1392"/>
                <a:gd name="T50" fmla="*/ 30 w 2226"/>
                <a:gd name="T51" fmla="*/ 27 h 1392"/>
                <a:gd name="T52" fmla="*/ 33 w 2226"/>
                <a:gd name="T53" fmla="*/ 22 h 1392"/>
                <a:gd name="T54" fmla="*/ 42 w 2226"/>
                <a:gd name="T55" fmla="*/ 17 h 1392"/>
                <a:gd name="T56" fmla="*/ 47 w 2226"/>
                <a:gd name="T57" fmla="*/ 14 h 1392"/>
                <a:gd name="T58" fmla="*/ 49 w 2226"/>
                <a:gd name="T59" fmla="*/ 5 h 1392"/>
                <a:gd name="T60" fmla="*/ 53 w 2226"/>
                <a:gd name="T61" fmla="*/ 0 h 1392"/>
                <a:gd name="T62" fmla="*/ 55 w 2226"/>
                <a:gd name="T63" fmla="*/ 4 h 1392"/>
                <a:gd name="T64" fmla="*/ 59 w 2226"/>
                <a:gd name="T65" fmla="*/ 7 h 1392"/>
                <a:gd name="T66" fmla="*/ 63 w 2226"/>
                <a:gd name="T67" fmla="*/ 7 h 1392"/>
                <a:gd name="T68" fmla="*/ 66 w 2226"/>
                <a:gd name="T69" fmla="*/ 9 h 1392"/>
                <a:gd name="T70" fmla="*/ 67 w 2226"/>
                <a:gd name="T71" fmla="*/ 12 h 1392"/>
                <a:gd name="T72" fmla="*/ 67 w 2226"/>
                <a:gd name="T73" fmla="*/ 13 h 1392"/>
                <a:gd name="T74" fmla="*/ 70 w 2226"/>
                <a:gd name="T75" fmla="*/ 15 h 1392"/>
                <a:gd name="T76" fmla="*/ 74 w 2226"/>
                <a:gd name="T77" fmla="*/ 17 h 1392"/>
                <a:gd name="T78" fmla="*/ 78 w 2226"/>
                <a:gd name="T79" fmla="*/ 18 h 1392"/>
                <a:gd name="T80" fmla="*/ 97 w 2226"/>
                <a:gd name="T81" fmla="*/ 40 h 1392"/>
                <a:gd name="T82" fmla="*/ 102 w 2226"/>
                <a:gd name="T83" fmla="*/ 44 h 1392"/>
                <a:gd name="T84" fmla="*/ 110 w 2226"/>
                <a:gd name="T85" fmla="*/ 49 h 1392"/>
                <a:gd name="T86" fmla="*/ 113 w 2226"/>
                <a:gd name="T87" fmla="*/ 53 h 1392"/>
                <a:gd name="T88" fmla="*/ 118 w 2226"/>
                <a:gd name="T89" fmla="*/ 57 h 1392"/>
                <a:gd name="T90" fmla="*/ 124 w 2226"/>
                <a:gd name="T91" fmla="*/ 54 h 1392"/>
                <a:gd name="T92" fmla="*/ 133 w 2226"/>
                <a:gd name="T93" fmla="*/ 58 h 1392"/>
                <a:gd name="T94" fmla="*/ 137 w 2226"/>
                <a:gd name="T95" fmla="*/ 64 h 1392"/>
                <a:gd name="T96" fmla="*/ 145 w 2226"/>
                <a:gd name="T97" fmla="*/ 65 h 1392"/>
                <a:gd name="T98" fmla="*/ 152 w 2226"/>
                <a:gd name="T99" fmla="*/ 67 h 1392"/>
                <a:gd name="T100" fmla="*/ 161 w 2226"/>
                <a:gd name="T101" fmla="*/ 72 h 1392"/>
                <a:gd name="T102" fmla="*/ 168 w 2226"/>
                <a:gd name="T103" fmla="*/ 76 h 1392"/>
                <a:gd name="T104" fmla="*/ 177 w 2226"/>
                <a:gd name="T105" fmla="*/ 78 h 1392"/>
                <a:gd name="T106" fmla="*/ 184 w 2226"/>
                <a:gd name="T107" fmla="*/ 78 h 1392"/>
                <a:gd name="T108" fmla="*/ 190 w 2226"/>
                <a:gd name="T109" fmla="*/ 81 h 1392"/>
                <a:gd name="T110" fmla="*/ 192 w 2226"/>
                <a:gd name="T111" fmla="*/ 86 h 1392"/>
                <a:gd name="T112" fmla="*/ 187 w 2226"/>
                <a:gd name="T113" fmla="*/ 99 h 1392"/>
                <a:gd name="T114" fmla="*/ 165 w 2226"/>
                <a:gd name="T115" fmla="*/ 97 h 1392"/>
                <a:gd name="T116" fmla="*/ 155 w 2226"/>
                <a:gd name="T117" fmla="*/ 92 h 1392"/>
                <a:gd name="T118" fmla="*/ 146 w 2226"/>
                <a:gd name="T119" fmla="*/ 102 h 1392"/>
                <a:gd name="T120" fmla="*/ 149 w 2226"/>
                <a:gd name="T121" fmla="*/ 106 h 1392"/>
                <a:gd name="T122" fmla="*/ 151 w 2226"/>
                <a:gd name="T123" fmla="*/ 108 h 1392"/>
                <a:gd name="T124" fmla="*/ 157 w 2226"/>
                <a:gd name="T125" fmla="*/ 113 h 13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1392"/>
                <a:gd name="T191" fmla="*/ 2226 w 2226"/>
                <a:gd name="T192" fmla="*/ 1392 h 13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1392">
                  <a:moveTo>
                    <a:pt x="1782" y="1326"/>
                  </a:moveTo>
                  <a:lnTo>
                    <a:pt x="1776" y="1332"/>
                  </a:lnTo>
                  <a:lnTo>
                    <a:pt x="1692" y="1338"/>
                  </a:lnTo>
                  <a:lnTo>
                    <a:pt x="1680" y="1386"/>
                  </a:lnTo>
                  <a:lnTo>
                    <a:pt x="1674" y="1392"/>
                  </a:lnTo>
                  <a:lnTo>
                    <a:pt x="1638" y="1392"/>
                  </a:lnTo>
                  <a:lnTo>
                    <a:pt x="1620" y="1392"/>
                  </a:lnTo>
                  <a:lnTo>
                    <a:pt x="1614" y="1392"/>
                  </a:lnTo>
                  <a:lnTo>
                    <a:pt x="1608" y="1386"/>
                  </a:lnTo>
                  <a:lnTo>
                    <a:pt x="1584" y="1386"/>
                  </a:lnTo>
                  <a:lnTo>
                    <a:pt x="1578" y="1386"/>
                  </a:lnTo>
                  <a:lnTo>
                    <a:pt x="1572" y="1380"/>
                  </a:lnTo>
                  <a:lnTo>
                    <a:pt x="1578" y="1356"/>
                  </a:lnTo>
                  <a:lnTo>
                    <a:pt x="1572" y="1356"/>
                  </a:lnTo>
                  <a:lnTo>
                    <a:pt x="1560" y="1350"/>
                  </a:lnTo>
                  <a:lnTo>
                    <a:pt x="1554" y="1350"/>
                  </a:lnTo>
                  <a:lnTo>
                    <a:pt x="1542" y="1350"/>
                  </a:lnTo>
                  <a:lnTo>
                    <a:pt x="1530" y="1350"/>
                  </a:lnTo>
                  <a:lnTo>
                    <a:pt x="1524" y="1356"/>
                  </a:lnTo>
                  <a:lnTo>
                    <a:pt x="1524" y="1362"/>
                  </a:lnTo>
                  <a:lnTo>
                    <a:pt x="1512" y="1374"/>
                  </a:lnTo>
                  <a:lnTo>
                    <a:pt x="1506" y="1374"/>
                  </a:lnTo>
                  <a:lnTo>
                    <a:pt x="1500" y="1368"/>
                  </a:lnTo>
                  <a:lnTo>
                    <a:pt x="1500" y="1362"/>
                  </a:lnTo>
                  <a:lnTo>
                    <a:pt x="1488" y="1362"/>
                  </a:lnTo>
                  <a:lnTo>
                    <a:pt x="1482" y="1356"/>
                  </a:lnTo>
                  <a:lnTo>
                    <a:pt x="1482" y="1350"/>
                  </a:lnTo>
                  <a:lnTo>
                    <a:pt x="1476" y="1350"/>
                  </a:lnTo>
                  <a:lnTo>
                    <a:pt x="1470" y="1344"/>
                  </a:lnTo>
                  <a:lnTo>
                    <a:pt x="1464" y="1344"/>
                  </a:lnTo>
                  <a:lnTo>
                    <a:pt x="1452" y="1350"/>
                  </a:lnTo>
                  <a:lnTo>
                    <a:pt x="1452" y="1356"/>
                  </a:lnTo>
                  <a:lnTo>
                    <a:pt x="1440" y="1356"/>
                  </a:lnTo>
                  <a:lnTo>
                    <a:pt x="1434" y="1344"/>
                  </a:lnTo>
                  <a:lnTo>
                    <a:pt x="1422" y="1332"/>
                  </a:lnTo>
                  <a:lnTo>
                    <a:pt x="1416" y="1326"/>
                  </a:lnTo>
                  <a:lnTo>
                    <a:pt x="1404" y="1320"/>
                  </a:lnTo>
                  <a:lnTo>
                    <a:pt x="1404" y="1314"/>
                  </a:lnTo>
                  <a:lnTo>
                    <a:pt x="1374" y="1308"/>
                  </a:lnTo>
                  <a:lnTo>
                    <a:pt x="1368" y="1326"/>
                  </a:lnTo>
                  <a:lnTo>
                    <a:pt x="1344" y="1338"/>
                  </a:lnTo>
                  <a:lnTo>
                    <a:pt x="1326" y="1332"/>
                  </a:lnTo>
                  <a:lnTo>
                    <a:pt x="1302" y="1332"/>
                  </a:lnTo>
                  <a:lnTo>
                    <a:pt x="1278" y="1338"/>
                  </a:lnTo>
                  <a:lnTo>
                    <a:pt x="1236" y="1338"/>
                  </a:lnTo>
                  <a:lnTo>
                    <a:pt x="1224" y="1338"/>
                  </a:lnTo>
                  <a:lnTo>
                    <a:pt x="1224" y="1326"/>
                  </a:lnTo>
                  <a:lnTo>
                    <a:pt x="1206" y="1326"/>
                  </a:lnTo>
                  <a:lnTo>
                    <a:pt x="1170" y="1326"/>
                  </a:lnTo>
                  <a:lnTo>
                    <a:pt x="1152" y="1326"/>
                  </a:lnTo>
                  <a:lnTo>
                    <a:pt x="1140" y="1314"/>
                  </a:lnTo>
                  <a:lnTo>
                    <a:pt x="1134" y="1296"/>
                  </a:lnTo>
                  <a:lnTo>
                    <a:pt x="1134" y="1284"/>
                  </a:lnTo>
                  <a:lnTo>
                    <a:pt x="1128" y="1254"/>
                  </a:lnTo>
                  <a:lnTo>
                    <a:pt x="1128" y="1242"/>
                  </a:lnTo>
                  <a:lnTo>
                    <a:pt x="1122" y="1230"/>
                  </a:lnTo>
                  <a:lnTo>
                    <a:pt x="1104" y="1218"/>
                  </a:lnTo>
                  <a:lnTo>
                    <a:pt x="1104" y="1212"/>
                  </a:lnTo>
                  <a:lnTo>
                    <a:pt x="1092" y="1206"/>
                  </a:lnTo>
                  <a:lnTo>
                    <a:pt x="1080" y="1194"/>
                  </a:lnTo>
                  <a:lnTo>
                    <a:pt x="1068" y="1176"/>
                  </a:lnTo>
                  <a:lnTo>
                    <a:pt x="1050" y="1152"/>
                  </a:lnTo>
                  <a:lnTo>
                    <a:pt x="1020" y="1098"/>
                  </a:lnTo>
                  <a:lnTo>
                    <a:pt x="978" y="1026"/>
                  </a:lnTo>
                  <a:lnTo>
                    <a:pt x="978" y="1014"/>
                  </a:lnTo>
                  <a:lnTo>
                    <a:pt x="972" y="1014"/>
                  </a:lnTo>
                  <a:lnTo>
                    <a:pt x="972" y="1008"/>
                  </a:lnTo>
                  <a:lnTo>
                    <a:pt x="978" y="1002"/>
                  </a:lnTo>
                  <a:lnTo>
                    <a:pt x="960" y="966"/>
                  </a:lnTo>
                  <a:lnTo>
                    <a:pt x="948" y="954"/>
                  </a:lnTo>
                  <a:lnTo>
                    <a:pt x="948" y="936"/>
                  </a:lnTo>
                  <a:lnTo>
                    <a:pt x="936" y="900"/>
                  </a:lnTo>
                  <a:lnTo>
                    <a:pt x="942" y="876"/>
                  </a:lnTo>
                  <a:lnTo>
                    <a:pt x="942" y="834"/>
                  </a:lnTo>
                  <a:lnTo>
                    <a:pt x="960" y="828"/>
                  </a:lnTo>
                  <a:lnTo>
                    <a:pt x="966" y="816"/>
                  </a:lnTo>
                  <a:lnTo>
                    <a:pt x="972" y="810"/>
                  </a:lnTo>
                  <a:lnTo>
                    <a:pt x="978" y="804"/>
                  </a:lnTo>
                  <a:lnTo>
                    <a:pt x="996" y="798"/>
                  </a:lnTo>
                  <a:lnTo>
                    <a:pt x="996" y="792"/>
                  </a:lnTo>
                  <a:lnTo>
                    <a:pt x="1014" y="780"/>
                  </a:lnTo>
                  <a:lnTo>
                    <a:pt x="1026" y="768"/>
                  </a:lnTo>
                  <a:lnTo>
                    <a:pt x="1032" y="762"/>
                  </a:lnTo>
                  <a:lnTo>
                    <a:pt x="1026" y="756"/>
                  </a:lnTo>
                  <a:lnTo>
                    <a:pt x="1014" y="744"/>
                  </a:lnTo>
                  <a:lnTo>
                    <a:pt x="996" y="756"/>
                  </a:lnTo>
                  <a:lnTo>
                    <a:pt x="954" y="768"/>
                  </a:lnTo>
                  <a:lnTo>
                    <a:pt x="942" y="762"/>
                  </a:lnTo>
                  <a:lnTo>
                    <a:pt x="942" y="756"/>
                  </a:lnTo>
                  <a:lnTo>
                    <a:pt x="936" y="750"/>
                  </a:lnTo>
                  <a:lnTo>
                    <a:pt x="846" y="732"/>
                  </a:lnTo>
                  <a:lnTo>
                    <a:pt x="822" y="726"/>
                  </a:lnTo>
                  <a:lnTo>
                    <a:pt x="810" y="714"/>
                  </a:lnTo>
                  <a:lnTo>
                    <a:pt x="792" y="690"/>
                  </a:lnTo>
                  <a:lnTo>
                    <a:pt x="792" y="678"/>
                  </a:lnTo>
                  <a:lnTo>
                    <a:pt x="762" y="642"/>
                  </a:lnTo>
                  <a:lnTo>
                    <a:pt x="750" y="636"/>
                  </a:lnTo>
                  <a:lnTo>
                    <a:pt x="726" y="630"/>
                  </a:lnTo>
                  <a:lnTo>
                    <a:pt x="696" y="642"/>
                  </a:lnTo>
                  <a:lnTo>
                    <a:pt x="678" y="654"/>
                  </a:lnTo>
                  <a:lnTo>
                    <a:pt x="666" y="684"/>
                  </a:lnTo>
                  <a:lnTo>
                    <a:pt x="660" y="726"/>
                  </a:lnTo>
                  <a:lnTo>
                    <a:pt x="606" y="756"/>
                  </a:lnTo>
                  <a:lnTo>
                    <a:pt x="558" y="780"/>
                  </a:lnTo>
                  <a:lnTo>
                    <a:pt x="438" y="834"/>
                  </a:lnTo>
                  <a:lnTo>
                    <a:pt x="402" y="846"/>
                  </a:lnTo>
                  <a:lnTo>
                    <a:pt x="372" y="870"/>
                  </a:lnTo>
                  <a:lnTo>
                    <a:pt x="360" y="876"/>
                  </a:lnTo>
                  <a:lnTo>
                    <a:pt x="354" y="876"/>
                  </a:lnTo>
                  <a:lnTo>
                    <a:pt x="330" y="882"/>
                  </a:lnTo>
                  <a:lnTo>
                    <a:pt x="306" y="882"/>
                  </a:lnTo>
                  <a:lnTo>
                    <a:pt x="300" y="876"/>
                  </a:lnTo>
                  <a:lnTo>
                    <a:pt x="294" y="876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76" y="864"/>
                  </a:lnTo>
                  <a:lnTo>
                    <a:pt x="270" y="870"/>
                  </a:lnTo>
                  <a:lnTo>
                    <a:pt x="264" y="870"/>
                  </a:lnTo>
                  <a:lnTo>
                    <a:pt x="240" y="894"/>
                  </a:lnTo>
                  <a:lnTo>
                    <a:pt x="234" y="894"/>
                  </a:lnTo>
                  <a:lnTo>
                    <a:pt x="228" y="900"/>
                  </a:lnTo>
                  <a:lnTo>
                    <a:pt x="222" y="906"/>
                  </a:lnTo>
                  <a:lnTo>
                    <a:pt x="210" y="912"/>
                  </a:lnTo>
                  <a:lnTo>
                    <a:pt x="204" y="912"/>
                  </a:lnTo>
                  <a:lnTo>
                    <a:pt x="198" y="912"/>
                  </a:lnTo>
                  <a:lnTo>
                    <a:pt x="192" y="918"/>
                  </a:lnTo>
                  <a:lnTo>
                    <a:pt x="180" y="918"/>
                  </a:lnTo>
                  <a:lnTo>
                    <a:pt x="174" y="930"/>
                  </a:lnTo>
                  <a:lnTo>
                    <a:pt x="174" y="936"/>
                  </a:lnTo>
                  <a:lnTo>
                    <a:pt x="168" y="942"/>
                  </a:lnTo>
                  <a:lnTo>
                    <a:pt x="162" y="942"/>
                  </a:lnTo>
                  <a:lnTo>
                    <a:pt x="150" y="960"/>
                  </a:lnTo>
                  <a:lnTo>
                    <a:pt x="144" y="966"/>
                  </a:lnTo>
                  <a:lnTo>
                    <a:pt x="138" y="972"/>
                  </a:lnTo>
                  <a:lnTo>
                    <a:pt x="132" y="972"/>
                  </a:lnTo>
                  <a:lnTo>
                    <a:pt x="126" y="984"/>
                  </a:lnTo>
                  <a:lnTo>
                    <a:pt x="120" y="984"/>
                  </a:lnTo>
                  <a:lnTo>
                    <a:pt x="114" y="990"/>
                  </a:lnTo>
                  <a:lnTo>
                    <a:pt x="96" y="990"/>
                  </a:lnTo>
                  <a:lnTo>
                    <a:pt x="90" y="990"/>
                  </a:lnTo>
                  <a:lnTo>
                    <a:pt x="78" y="990"/>
                  </a:lnTo>
                  <a:lnTo>
                    <a:pt x="72" y="990"/>
                  </a:lnTo>
                  <a:lnTo>
                    <a:pt x="60" y="990"/>
                  </a:lnTo>
                  <a:lnTo>
                    <a:pt x="42" y="990"/>
                  </a:lnTo>
                  <a:lnTo>
                    <a:pt x="36" y="996"/>
                  </a:lnTo>
                  <a:lnTo>
                    <a:pt x="30" y="1002"/>
                  </a:lnTo>
                  <a:lnTo>
                    <a:pt x="24" y="1014"/>
                  </a:lnTo>
                  <a:lnTo>
                    <a:pt x="24" y="1020"/>
                  </a:lnTo>
                  <a:lnTo>
                    <a:pt x="18" y="1020"/>
                  </a:lnTo>
                  <a:lnTo>
                    <a:pt x="12" y="1014"/>
                  </a:lnTo>
                  <a:lnTo>
                    <a:pt x="12" y="1008"/>
                  </a:lnTo>
                  <a:lnTo>
                    <a:pt x="12" y="990"/>
                  </a:lnTo>
                  <a:lnTo>
                    <a:pt x="12" y="984"/>
                  </a:lnTo>
                  <a:lnTo>
                    <a:pt x="12" y="972"/>
                  </a:lnTo>
                  <a:lnTo>
                    <a:pt x="12" y="966"/>
                  </a:lnTo>
                  <a:lnTo>
                    <a:pt x="6" y="966"/>
                  </a:lnTo>
                  <a:lnTo>
                    <a:pt x="6" y="960"/>
                  </a:lnTo>
                  <a:lnTo>
                    <a:pt x="6" y="954"/>
                  </a:lnTo>
                  <a:lnTo>
                    <a:pt x="6" y="948"/>
                  </a:lnTo>
                  <a:lnTo>
                    <a:pt x="6" y="942"/>
                  </a:lnTo>
                  <a:lnTo>
                    <a:pt x="12" y="930"/>
                  </a:lnTo>
                  <a:lnTo>
                    <a:pt x="6" y="924"/>
                  </a:lnTo>
                  <a:lnTo>
                    <a:pt x="6" y="918"/>
                  </a:lnTo>
                  <a:lnTo>
                    <a:pt x="6" y="912"/>
                  </a:lnTo>
                  <a:lnTo>
                    <a:pt x="6" y="906"/>
                  </a:lnTo>
                  <a:lnTo>
                    <a:pt x="6" y="900"/>
                  </a:lnTo>
                  <a:lnTo>
                    <a:pt x="0" y="894"/>
                  </a:lnTo>
                  <a:lnTo>
                    <a:pt x="0" y="888"/>
                  </a:lnTo>
                  <a:lnTo>
                    <a:pt x="0" y="882"/>
                  </a:lnTo>
                  <a:lnTo>
                    <a:pt x="6" y="876"/>
                  </a:lnTo>
                  <a:lnTo>
                    <a:pt x="6" y="870"/>
                  </a:lnTo>
                  <a:lnTo>
                    <a:pt x="18" y="864"/>
                  </a:lnTo>
                  <a:lnTo>
                    <a:pt x="18" y="858"/>
                  </a:lnTo>
                  <a:lnTo>
                    <a:pt x="18" y="846"/>
                  </a:lnTo>
                  <a:lnTo>
                    <a:pt x="18" y="834"/>
                  </a:lnTo>
                  <a:lnTo>
                    <a:pt x="18" y="828"/>
                  </a:lnTo>
                  <a:lnTo>
                    <a:pt x="24" y="828"/>
                  </a:lnTo>
                  <a:lnTo>
                    <a:pt x="24" y="810"/>
                  </a:lnTo>
                  <a:lnTo>
                    <a:pt x="24" y="804"/>
                  </a:lnTo>
                  <a:lnTo>
                    <a:pt x="18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24" y="792"/>
                  </a:lnTo>
                  <a:lnTo>
                    <a:pt x="30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6" y="762"/>
                  </a:lnTo>
                  <a:lnTo>
                    <a:pt x="36" y="756"/>
                  </a:lnTo>
                  <a:lnTo>
                    <a:pt x="30" y="756"/>
                  </a:lnTo>
                  <a:lnTo>
                    <a:pt x="30" y="750"/>
                  </a:lnTo>
                  <a:lnTo>
                    <a:pt x="36" y="750"/>
                  </a:lnTo>
                  <a:lnTo>
                    <a:pt x="36" y="744"/>
                  </a:lnTo>
                  <a:lnTo>
                    <a:pt x="30" y="744"/>
                  </a:lnTo>
                  <a:lnTo>
                    <a:pt x="30" y="738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0" y="732"/>
                  </a:lnTo>
                  <a:lnTo>
                    <a:pt x="36" y="726"/>
                  </a:lnTo>
                  <a:lnTo>
                    <a:pt x="30" y="726"/>
                  </a:lnTo>
                  <a:lnTo>
                    <a:pt x="24" y="726"/>
                  </a:lnTo>
                  <a:lnTo>
                    <a:pt x="30" y="720"/>
                  </a:lnTo>
                  <a:lnTo>
                    <a:pt x="30" y="714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696"/>
                  </a:lnTo>
                  <a:lnTo>
                    <a:pt x="66" y="702"/>
                  </a:lnTo>
                  <a:lnTo>
                    <a:pt x="78" y="702"/>
                  </a:lnTo>
                  <a:lnTo>
                    <a:pt x="84" y="702"/>
                  </a:lnTo>
                  <a:lnTo>
                    <a:pt x="96" y="696"/>
                  </a:lnTo>
                  <a:lnTo>
                    <a:pt x="102" y="690"/>
                  </a:lnTo>
                  <a:lnTo>
                    <a:pt x="102" y="684"/>
                  </a:lnTo>
                  <a:lnTo>
                    <a:pt x="114" y="684"/>
                  </a:lnTo>
                  <a:lnTo>
                    <a:pt x="144" y="684"/>
                  </a:lnTo>
                  <a:lnTo>
                    <a:pt x="150" y="690"/>
                  </a:lnTo>
                  <a:lnTo>
                    <a:pt x="162" y="696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6" y="690"/>
                  </a:lnTo>
                  <a:lnTo>
                    <a:pt x="192" y="690"/>
                  </a:lnTo>
                  <a:lnTo>
                    <a:pt x="198" y="684"/>
                  </a:lnTo>
                  <a:lnTo>
                    <a:pt x="204" y="684"/>
                  </a:lnTo>
                  <a:lnTo>
                    <a:pt x="210" y="684"/>
                  </a:lnTo>
                  <a:lnTo>
                    <a:pt x="222" y="678"/>
                  </a:lnTo>
                  <a:lnTo>
                    <a:pt x="228" y="678"/>
                  </a:lnTo>
                  <a:lnTo>
                    <a:pt x="228" y="660"/>
                  </a:lnTo>
                  <a:lnTo>
                    <a:pt x="234" y="642"/>
                  </a:lnTo>
                  <a:lnTo>
                    <a:pt x="246" y="618"/>
                  </a:lnTo>
                  <a:lnTo>
                    <a:pt x="252" y="618"/>
                  </a:lnTo>
                  <a:lnTo>
                    <a:pt x="252" y="600"/>
                  </a:lnTo>
                  <a:lnTo>
                    <a:pt x="252" y="588"/>
                  </a:lnTo>
                  <a:lnTo>
                    <a:pt x="252" y="582"/>
                  </a:lnTo>
                  <a:lnTo>
                    <a:pt x="258" y="576"/>
                  </a:lnTo>
                  <a:lnTo>
                    <a:pt x="270" y="564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70" y="522"/>
                  </a:lnTo>
                  <a:lnTo>
                    <a:pt x="270" y="510"/>
                  </a:lnTo>
                  <a:lnTo>
                    <a:pt x="270" y="498"/>
                  </a:lnTo>
                  <a:lnTo>
                    <a:pt x="258" y="468"/>
                  </a:lnTo>
                  <a:lnTo>
                    <a:pt x="252" y="456"/>
                  </a:lnTo>
                  <a:lnTo>
                    <a:pt x="258" y="444"/>
                  </a:lnTo>
                  <a:lnTo>
                    <a:pt x="264" y="432"/>
                  </a:lnTo>
                  <a:lnTo>
                    <a:pt x="270" y="426"/>
                  </a:lnTo>
                  <a:lnTo>
                    <a:pt x="276" y="420"/>
                  </a:lnTo>
                  <a:lnTo>
                    <a:pt x="288" y="420"/>
                  </a:lnTo>
                  <a:lnTo>
                    <a:pt x="288" y="414"/>
                  </a:lnTo>
                  <a:lnTo>
                    <a:pt x="294" y="414"/>
                  </a:lnTo>
                  <a:lnTo>
                    <a:pt x="306" y="390"/>
                  </a:lnTo>
                  <a:lnTo>
                    <a:pt x="312" y="384"/>
                  </a:lnTo>
                  <a:lnTo>
                    <a:pt x="318" y="378"/>
                  </a:lnTo>
                  <a:lnTo>
                    <a:pt x="318" y="372"/>
                  </a:lnTo>
                  <a:lnTo>
                    <a:pt x="324" y="366"/>
                  </a:lnTo>
                  <a:lnTo>
                    <a:pt x="330" y="354"/>
                  </a:lnTo>
                  <a:lnTo>
                    <a:pt x="336" y="348"/>
                  </a:lnTo>
                  <a:lnTo>
                    <a:pt x="336" y="330"/>
                  </a:lnTo>
                  <a:lnTo>
                    <a:pt x="342" y="324"/>
                  </a:lnTo>
                  <a:lnTo>
                    <a:pt x="342" y="318"/>
                  </a:lnTo>
                  <a:lnTo>
                    <a:pt x="348" y="318"/>
                  </a:lnTo>
                  <a:lnTo>
                    <a:pt x="360" y="318"/>
                  </a:lnTo>
                  <a:lnTo>
                    <a:pt x="372" y="318"/>
                  </a:lnTo>
                  <a:lnTo>
                    <a:pt x="384" y="306"/>
                  </a:lnTo>
                  <a:lnTo>
                    <a:pt x="396" y="300"/>
                  </a:lnTo>
                  <a:lnTo>
                    <a:pt x="396" y="294"/>
                  </a:lnTo>
                  <a:lnTo>
                    <a:pt x="396" y="288"/>
                  </a:lnTo>
                  <a:lnTo>
                    <a:pt x="390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2"/>
                  </a:lnTo>
                  <a:lnTo>
                    <a:pt x="378" y="246"/>
                  </a:lnTo>
                  <a:lnTo>
                    <a:pt x="384" y="228"/>
                  </a:lnTo>
                  <a:lnTo>
                    <a:pt x="390" y="216"/>
                  </a:lnTo>
                  <a:lnTo>
                    <a:pt x="402" y="210"/>
                  </a:lnTo>
                  <a:lnTo>
                    <a:pt x="408" y="210"/>
                  </a:lnTo>
                  <a:lnTo>
                    <a:pt x="420" y="204"/>
                  </a:lnTo>
                  <a:lnTo>
                    <a:pt x="444" y="198"/>
                  </a:lnTo>
                  <a:lnTo>
                    <a:pt x="462" y="192"/>
                  </a:lnTo>
                  <a:lnTo>
                    <a:pt x="474" y="186"/>
                  </a:lnTo>
                  <a:lnTo>
                    <a:pt x="480" y="192"/>
                  </a:lnTo>
                  <a:lnTo>
                    <a:pt x="492" y="192"/>
                  </a:lnTo>
                  <a:lnTo>
                    <a:pt x="498" y="192"/>
                  </a:lnTo>
                  <a:lnTo>
                    <a:pt x="504" y="192"/>
                  </a:lnTo>
                  <a:lnTo>
                    <a:pt x="510" y="192"/>
                  </a:lnTo>
                  <a:lnTo>
                    <a:pt x="516" y="186"/>
                  </a:lnTo>
                  <a:lnTo>
                    <a:pt x="522" y="180"/>
                  </a:lnTo>
                  <a:lnTo>
                    <a:pt x="522" y="174"/>
                  </a:lnTo>
                  <a:lnTo>
                    <a:pt x="528" y="168"/>
                  </a:lnTo>
                  <a:lnTo>
                    <a:pt x="534" y="168"/>
                  </a:lnTo>
                  <a:lnTo>
                    <a:pt x="534" y="156"/>
                  </a:lnTo>
                  <a:lnTo>
                    <a:pt x="534" y="150"/>
                  </a:lnTo>
                  <a:lnTo>
                    <a:pt x="552" y="138"/>
                  </a:lnTo>
                  <a:lnTo>
                    <a:pt x="558" y="126"/>
                  </a:lnTo>
                  <a:lnTo>
                    <a:pt x="558" y="114"/>
                  </a:lnTo>
                  <a:lnTo>
                    <a:pt x="564" y="102"/>
                  </a:lnTo>
                  <a:lnTo>
                    <a:pt x="564" y="96"/>
                  </a:lnTo>
                  <a:lnTo>
                    <a:pt x="564" y="90"/>
                  </a:lnTo>
                  <a:lnTo>
                    <a:pt x="564" y="72"/>
                  </a:lnTo>
                  <a:lnTo>
                    <a:pt x="564" y="60"/>
                  </a:lnTo>
                  <a:lnTo>
                    <a:pt x="564" y="54"/>
                  </a:lnTo>
                  <a:lnTo>
                    <a:pt x="570" y="42"/>
                  </a:lnTo>
                  <a:lnTo>
                    <a:pt x="576" y="42"/>
                  </a:lnTo>
                  <a:lnTo>
                    <a:pt x="582" y="36"/>
                  </a:lnTo>
                  <a:lnTo>
                    <a:pt x="594" y="36"/>
                  </a:lnTo>
                  <a:lnTo>
                    <a:pt x="594" y="30"/>
                  </a:lnTo>
                  <a:lnTo>
                    <a:pt x="600" y="24"/>
                  </a:lnTo>
                  <a:lnTo>
                    <a:pt x="600" y="12"/>
                  </a:lnTo>
                  <a:lnTo>
                    <a:pt x="606" y="6"/>
                  </a:lnTo>
                  <a:lnTo>
                    <a:pt x="606" y="0"/>
                  </a:lnTo>
                  <a:lnTo>
                    <a:pt x="612" y="0"/>
                  </a:lnTo>
                  <a:lnTo>
                    <a:pt x="618" y="0"/>
                  </a:lnTo>
                  <a:lnTo>
                    <a:pt x="624" y="6"/>
                  </a:lnTo>
                  <a:lnTo>
                    <a:pt x="624" y="12"/>
                  </a:lnTo>
                  <a:lnTo>
                    <a:pt x="624" y="18"/>
                  </a:lnTo>
                  <a:lnTo>
                    <a:pt x="624" y="24"/>
                  </a:lnTo>
                  <a:lnTo>
                    <a:pt x="624" y="30"/>
                  </a:lnTo>
                  <a:lnTo>
                    <a:pt x="630" y="30"/>
                  </a:lnTo>
                  <a:lnTo>
                    <a:pt x="630" y="36"/>
                  </a:lnTo>
                  <a:lnTo>
                    <a:pt x="630" y="42"/>
                  </a:lnTo>
                  <a:lnTo>
                    <a:pt x="630" y="48"/>
                  </a:lnTo>
                  <a:lnTo>
                    <a:pt x="636" y="54"/>
                  </a:lnTo>
                  <a:lnTo>
                    <a:pt x="642" y="48"/>
                  </a:lnTo>
                  <a:lnTo>
                    <a:pt x="648" y="48"/>
                  </a:lnTo>
                  <a:lnTo>
                    <a:pt x="648" y="60"/>
                  </a:lnTo>
                  <a:lnTo>
                    <a:pt x="654" y="66"/>
                  </a:lnTo>
                  <a:lnTo>
                    <a:pt x="660" y="72"/>
                  </a:lnTo>
                  <a:lnTo>
                    <a:pt x="666" y="72"/>
                  </a:lnTo>
                  <a:lnTo>
                    <a:pt x="666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72" y="66"/>
                  </a:lnTo>
                  <a:lnTo>
                    <a:pt x="678" y="66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6" y="66"/>
                  </a:lnTo>
                  <a:lnTo>
                    <a:pt x="696" y="72"/>
                  </a:lnTo>
                  <a:lnTo>
                    <a:pt x="702" y="72"/>
                  </a:lnTo>
                  <a:lnTo>
                    <a:pt x="708" y="72"/>
                  </a:lnTo>
                  <a:lnTo>
                    <a:pt x="720" y="66"/>
                  </a:lnTo>
                  <a:lnTo>
                    <a:pt x="726" y="78"/>
                  </a:lnTo>
                  <a:lnTo>
                    <a:pt x="744" y="84"/>
                  </a:lnTo>
                  <a:lnTo>
                    <a:pt x="744" y="90"/>
                  </a:lnTo>
                  <a:lnTo>
                    <a:pt x="744" y="96"/>
                  </a:lnTo>
                  <a:lnTo>
                    <a:pt x="738" y="96"/>
                  </a:lnTo>
                  <a:lnTo>
                    <a:pt x="738" y="102"/>
                  </a:lnTo>
                  <a:lnTo>
                    <a:pt x="732" y="102"/>
                  </a:lnTo>
                  <a:lnTo>
                    <a:pt x="732" y="108"/>
                  </a:lnTo>
                  <a:lnTo>
                    <a:pt x="738" y="108"/>
                  </a:lnTo>
                  <a:lnTo>
                    <a:pt x="744" y="114"/>
                  </a:lnTo>
                  <a:lnTo>
                    <a:pt x="750" y="108"/>
                  </a:lnTo>
                  <a:lnTo>
                    <a:pt x="756" y="108"/>
                  </a:lnTo>
                  <a:lnTo>
                    <a:pt x="762" y="108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80" y="120"/>
                  </a:lnTo>
                  <a:lnTo>
                    <a:pt x="774" y="120"/>
                  </a:lnTo>
                  <a:lnTo>
                    <a:pt x="768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74" y="138"/>
                  </a:lnTo>
                  <a:lnTo>
                    <a:pt x="774" y="132"/>
                  </a:lnTo>
                  <a:lnTo>
                    <a:pt x="780" y="132"/>
                  </a:lnTo>
                  <a:lnTo>
                    <a:pt x="786" y="132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44"/>
                  </a:lnTo>
                  <a:lnTo>
                    <a:pt x="786" y="150"/>
                  </a:lnTo>
                  <a:lnTo>
                    <a:pt x="780" y="150"/>
                  </a:lnTo>
                  <a:lnTo>
                    <a:pt x="774" y="150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74" y="162"/>
                  </a:lnTo>
                  <a:lnTo>
                    <a:pt x="780" y="162"/>
                  </a:lnTo>
                  <a:lnTo>
                    <a:pt x="786" y="168"/>
                  </a:lnTo>
                  <a:lnTo>
                    <a:pt x="792" y="162"/>
                  </a:lnTo>
                  <a:lnTo>
                    <a:pt x="798" y="168"/>
                  </a:lnTo>
                  <a:lnTo>
                    <a:pt x="798" y="174"/>
                  </a:lnTo>
                  <a:lnTo>
                    <a:pt x="804" y="168"/>
                  </a:lnTo>
                  <a:lnTo>
                    <a:pt x="810" y="168"/>
                  </a:lnTo>
                  <a:lnTo>
                    <a:pt x="810" y="174"/>
                  </a:lnTo>
                  <a:lnTo>
                    <a:pt x="816" y="168"/>
                  </a:lnTo>
                  <a:lnTo>
                    <a:pt x="822" y="162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74"/>
                  </a:lnTo>
                  <a:lnTo>
                    <a:pt x="834" y="192"/>
                  </a:lnTo>
                  <a:lnTo>
                    <a:pt x="834" y="198"/>
                  </a:lnTo>
                  <a:lnTo>
                    <a:pt x="840" y="192"/>
                  </a:lnTo>
                  <a:lnTo>
                    <a:pt x="846" y="192"/>
                  </a:lnTo>
                  <a:lnTo>
                    <a:pt x="852" y="186"/>
                  </a:lnTo>
                  <a:lnTo>
                    <a:pt x="858" y="192"/>
                  </a:lnTo>
                  <a:lnTo>
                    <a:pt x="864" y="192"/>
                  </a:lnTo>
                  <a:lnTo>
                    <a:pt x="870" y="198"/>
                  </a:lnTo>
                  <a:lnTo>
                    <a:pt x="876" y="180"/>
                  </a:lnTo>
                  <a:lnTo>
                    <a:pt x="882" y="180"/>
                  </a:lnTo>
                  <a:lnTo>
                    <a:pt x="888" y="180"/>
                  </a:lnTo>
                  <a:lnTo>
                    <a:pt x="894" y="186"/>
                  </a:lnTo>
                  <a:lnTo>
                    <a:pt x="888" y="198"/>
                  </a:lnTo>
                  <a:lnTo>
                    <a:pt x="894" y="204"/>
                  </a:lnTo>
                  <a:lnTo>
                    <a:pt x="906" y="210"/>
                  </a:lnTo>
                  <a:lnTo>
                    <a:pt x="918" y="246"/>
                  </a:lnTo>
                  <a:lnTo>
                    <a:pt x="930" y="258"/>
                  </a:lnTo>
                  <a:lnTo>
                    <a:pt x="942" y="282"/>
                  </a:lnTo>
                  <a:lnTo>
                    <a:pt x="966" y="288"/>
                  </a:lnTo>
                  <a:lnTo>
                    <a:pt x="972" y="300"/>
                  </a:lnTo>
                  <a:lnTo>
                    <a:pt x="972" y="318"/>
                  </a:lnTo>
                  <a:lnTo>
                    <a:pt x="996" y="336"/>
                  </a:lnTo>
                  <a:lnTo>
                    <a:pt x="1050" y="390"/>
                  </a:lnTo>
                  <a:lnTo>
                    <a:pt x="1116" y="462"/>
                  </a:lnTo>
                  <a:lnTo>
                    <a:pt x="1122" y="468"/>
                  </a:lnTo>
                  <a:lnTo>
                    <a:pt x="1128" y="474"/>
                  </a:lnTo>
                  <a:lnTo>
                    <a:pt x="1140" y="474"/>
                  </a:lnTo>
                  <a:lnTo>
                    <a:pt x="1152" y="486"/>
                  </a:lnTo>
                  <a:lnTo>
                    <a:pt x="1152" y="492"/>
                  </a:lnTo>
                  <a:lnTo>
                    <a:pt x="1158" y="492"/>
                  </a:lnTo>
                  <a:lnTo>
                    <a:pt x="1164" y="492"/>
                  </a:lnTo>
                  <a:lnTo>
                    <a:pt x="1170" y="504"/>
                  </a:lnTo>
                  <a:lnTo>
                    <a:pt x="1176" y="504"/>
                  </a:lnTo>
                  <a:lnTo>
                    <a:pt x="1176" y="510"/>
                  </a:lnTo>
                  <a:lnTo>
                    <a:pt x="1200" y="516"/>
                  </a:lnTo>
                  <a:lnTo>
                    <a:pt x="1200" y="522"/>
                  </a:lnTo>
                  <a:lnTo>
                    <a:pt x="1212" y="534"/>
                  </a:lnTo>
                  <a:lnTo>
                    <a:pt x="1218" y="540"/>
                  </a:lnTo>
                  <a:lnTo>
                    <a:pt x="1224" y="552"/>
                  </a:lnTo>
                  <a:lnTo>
                    <a:pt x="1230" y="552"/>
                  </a:lnTo>
                  <a:lnTo>
                    <a:pt x="1242" y="552"/>
                  </a:lnTo>
                  <a:lnTo>
                    <a:pt x="1248" y="558"/>
                  </a:lnTo>
                  <a:lnTo>
                    <a:pt x="1254" y="558"/>
                  </a:lnTo>
                  <a:lnTo>
                    <a:pt x="1260" y="564"/>
                  </a:lnTo>
                  <a:lnTo>
                    <a:pt x="1266" y="564"/>
                  </a:lnTo>
                  <a:lnTo>
                    <a:pt x="1272" y="564"/>
                  </a:lnTo>
                  <a:lnTo>
                    <a:pt x="1284" y="564"/>
                  </a:lnTo>
                  <a:lnTo>
                    <a:pt x="1290" y="570"/>
                  </a:lnTo>
                  <a:lnTo>
                    <a:pt x="1296" y="576"/>
                  </a:lnTo>
                  <a:lnTo>
                    <a:pt x="1302" y="588"/>
                  </a:lnTo>
                  <a:lnTo>
                    <a:pt x="1296" y="594"/>
                  </a:lnTo>
                  <a:lnTo>
                    <a:pt x="1296" y="600"/>
                  </a:lnTo>
                  <a:lnTo>
                    <a:pt x="1296" y="606"/>
                  </a:lnTo>
                  <a:lnTo>
                    <a:pt x="1290" y="612"/>
                  </a:lnTo>
                  <a:lnTo>
                    <a:pt x="1290" y="624"/>
                  </a:lnTo>
                  <a:lnTo>
                    <a:pt x="1290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308" y="654"/>
                  </a:lnTo>
                  <a:lnTo>
                    <a:pt x="1320" y="654"/>
                  </a:lnTo>
                  <a:lnTo>
                    <a:pt x="1326" y="660"/>
                  </a:lnTo>
                  <a:lnTo>
                    <a:pt x="1338" y="654"/>
                  </a:lnTo>
                  <a:lnTo>
                    <a:pt x="1344" y="654"/>
                  </a:lnTo>
                  <a:lnTo>
                    <a:pt x="1356" y="654"/>
                  </a:lnTo>
                  <a:lnTo>
                    <a:pt x="1362" y="648"/>
                  </a:lnTo>
                  <a:lnTo>
                    <a:pt x="1368" y="642"/>
                  </a:lnTo>
                  <a:lnTo>
                    <a:pt x="1374" y="636"/>
                  </a:lnTo>
                  <a:lnTo>
                    <a:pt x="1380" y="636"/>
                  </a:lnTo>
                  <a:lnTo>
                    <a:pt x="1392" y="636"/>
                  </a:lnTo>
                  <a:lnTo>
                    <a:pt x="1398" y="636"/>
                  </a:lnTo>
                  <a:lnTo>
                    <a:pt x="1404" y="636"/>
                  </a:lnTo>
                  <a:lnTo>
                    <a:pt x="1410" y="630"/>
                  </a:lnTo>
                  <a:lnTo>
                    <a:pt x="1410" y="624"/>
                  </a:lnTo>
                  <a:lnTo>
                    <a:pt x="1422" y="618"/>
                  </a:lnTo>
                  <a:lnTo>
                    <a:pt x="1428" y="618"/>
                  </a:lnTo>
                  <a:lnTo>
                    <a:pt x="1440" y="612"/>
                  </a:lnTo>
                  <a:lnTo>
                    <a:pt x="1446" y="612"/>
                  </a:lnTo>
                  <a:lnTo>
                    <a:pt x="1458" y="612"/>
                  </a:lnTo>
                  <a:lnTo>
                    <a:pt x="1470" y="624"/>
                  </a:lnTo>
                  <a:lnTo>
                    <a:pt x="1488" y="642"/>
                  </a:lnTo>
                  <a:lnTo>
                    <a:pt x="1500" y="648"/>
                  </a:lnTo>
                  <a:lnTo>
                    <a:pt x="1512" y="654"/>
                  </a:lnTo>
                  <a:lnTo>
                    <a:pt x="1518" y="660"/>
                  </a:lnTo>
                  <a:lnTo>
                    <a:pt x="1524" y="660"/>
                  </a:lnTo>
                  <a:lnTo>
                    <a:pt x="1530" y="660"/>
                  </a:lnTo>
                  <a:lnTo>
                    <a:pt x="1536" y="666"/>
                  </a:lnTo>
                  <a:lnTo>
                    <a:pt x="1542" y="672"/>
                  </a:lnTo>
                  <a:lnTo>
                    <a:pt x="1548" y="672"/>
                  </a:lnTo>
                  <a:lnTo>
                    <a:pt x="1554" y="684"/>
                  </a:lnTo>
                  <a:lnTo>
                    <a:pt x="1554" y="690"/>
                  </a:lnTo>
                  <a:lnTo>
                    <a:pt x="1566" y="702"/>
                  </a:lnTo>
                  <a:lnTo>
                    <a:pt x="1572" y="720"/>
                  </a:lnTo>
                  <a:lnTo>
                    <a:pt x="1572" y="726"/>
                  </a:lnTo>
                  <a:lnTo>
                    <a:pt x="1578" y="732"/>
                  </a:lnTo>
                  <a:lnTo>
                    <a:pt x="1584" y="738"/>
                  </a:lnTo>
                  <a:lnTo>
                    <a:pt x="1590" y="738"/>
                  </a:lnTo>
                  <a:lnTo>
                    <a:pt x="1596" y="738"/>
                  </a:lnTo>
                  <a:lnTo>
                    <a:pt x="1602" y="744"/>
                  </a:lnTo>
                  <a:lnTo>
                    <a:pt x="1608" y="744"/>
                  </a:lnTo>
                  <a:lnTo>
                    <a:pt x="1614" y="744"/>
                  </a:lnTo>
                  <a:lnTo>
                    <a:pt x="1626" y="744"/>
                  </a:lnTo>
                  <a:lnTo>
                    <a:pt x="1638" y="744"/>
                  </a:lnTo>
                  <a:lnTo>
                    <a:pt x="1650" y="744"/>
                  </a:lnTo>
                  <a:lnTo>
                    <a:pt x="1662" y="744"/>
                  </a:lnTo>
                  <a:lnTo>
                    <a:pt x="1668" y="744"/>
                  </a:lnTo>
                  <a:lnTo>
                    <a:pt x="1674" y="744"/>
                  </a:lnTo>
                  <a:lnTo>
                    <a:pt x="1686" y="744"/>
                  </a:lnTo>
                  <a:lnTo>
                    <a:pt x="1698" y="750"/>
                  </a:lnTo>
                  <a:lnTo>
                    <a:pt x="1704" y="750"/>
                  </a:lnTo>
                  <a:lnTo>
                    <a:pt x="1716" y="756"/>
                  </a:lnTo>
                  <a:lnTo>
                    <a:pt x="1722" y="756"/>
                  </a:lnTo>
                  <a:lnTo>
                    <a:pt x="1728" y="756"/>
                  </a:lnTo>
                  <a:lnTo>
                    <a:pt x="1734" y="762"/>
                  </a:lnTo>
                  <a:lnTo>
                    <a:pt x="1740" y="768"/>
                  </a:lnTo>
                  <a:lnTo>
                    <a:pt x="1758" y="780"/>
                  </a:lnTo>
                  <a:lnTo>
                    <a:pt x="1770" y="780"/>
                  </a:lnTo>
                  <a:lnTo>
                    <a:pt x="1776" y="780"/>
                  </a:lnTo>
                  <a:lnTo>
                    <a:pt x="1782" y="780"/>
                  </a:lnTo>
                  <a:lnTo>
                    <a:pt x="1800" y="798"/>
                  </a:lnTo>
                  <a:lnTo>
                    <a:pt x="1818" y="810"/>
                  </a:lnTo>
                  <a:lnTo>
                    <a:pt x="1830" y="816"/>
                  </a:lnTo>
                  <a:lnTo>
                    <a:pt x="1836" y="822"/>
                  </a:lnTo>
                  <a:lnTo>
                    <a:pt x="1836" y="828"/>
                  </a:lnTo>
                  <a:lnTo>
                    <a:pt x="1842" y="828"/>
                  </a:lnTo>
                  <a:lnTo>
                    <a:pt x="1848" y="834"/>
                  </a:lnTo>
                  <a:lnTo>
                    <a:pt x="1854" y="840"/>
                  </a:lnTo>
                  <a:lnTo>
                    <a:pt x="1860" y="846"/>
                  </a:lnTo>
                  <a:lnTo>
                    <a:pt x="1872" y="852"/>
                  </a:lnTo>
                  <a:lnTo>
                    <a:pt x="1884" y="852"/>
                  </a:lnTo>
                  <a:lnTo>
                    <a:pt x="1896" y="852"/>
                  </a:lnTo>
                  <a:lnTo>
                    <a:pt x="1902" y="846"/>
                  </a:lnTo>
                  <a:lnTo>
                    <a:pt x="1908" y="852"/>
                  </a:lnTo>
                  <a:lnTo>
                    <a:pt x="1920" y="858"/>
                  </a:lnTo>
                  <a:lnTo>
                    <a:pt x="1926" y="870"/>
                  </a:lnTo>
                  <a:lnTo>
                    <a:pt x="1938" y="888"/>
                  </a:lnTo>
                  <a:lnTo>
                    <a:pt x="1944" y="900"/>
                  </a:lnTo>
                  <a:lnTo>
                    <a:pt x="1950" y="900"/>
                  </a:lnTo>
                  <a:lnTo>
                    <a:pt x="1962" y="906"/>
                  </a:lnTo>
                  <a:lnTo>
                    <a:pt x="1968" y="906"/>
                  </a:lnTo>
                  <a:lnTo>
                    <a:pt x="1980" y="906"/>
                  </a:lnTo>
                  <a:lnTo>
                    <a:pt x="1998" y="906"/>
                  </a:lnTo>
                  <a:lnTo>
                    <a:pt x="2010" y="900"/>
                  </a:lnTo>
                  <a:lnTo>
                    <a:pt x="2022" y="900"/>
                  </a:lnTo>
                  <a:lnTo>
                    <a:pt x="2028" y="900"/>
                  </a:lnTo>
                  <a:lnTo>
                    <a:pt x="2034" y="906"/>
                  </a:lnTo>
                  <a:lnTo>
                    <a:pt x="2046" y="906"/>
                  </a:lnTo>
                  <a:lnTo>
                    <a:pt x="2052" y="900"/>
                  </a:lnTo>
                  <a:lnTo>
                    <a:pt x="2058" y="900"/>
                  </a:lnTo>
                  <a:lnTo>
                    <a:pt x="2064" y="900"/>
                  </a:lnTo>
                  <a:lnTo>
                    <a:pt x="2070" y="900"/>
                  </a:lnTo>
                  <a:lnTo>
                    <a:pt x="2076" y="900"/>
                  </a:lnTo>
                  <a:lnTo>
                    <a:pt x="2076" y="906"/>
                  </a:lnTo>
                  <a:lnTo>
                    <a:pt x="2088" y="906"/>
                  </a:lnTo>
                  <a:lnTo>
                    <a:pt x="2106" y="900"/>
                  </a:lnTo>
                  <a:lnTo>
                    <a:pt x="2118" y="900"/>
                  </a:lnTo>
                  <a:lnTo>
                    <a:pt x="2130" y="900"/>
                  </a:lnTo>
                  <a:lnTo>
                    <a:pt x="2142" y="900"/>
                  </a:lnTo>
                  <a:lnTo>
                    <a:pt x="2148" y="906"/>
                  </a:lnTo>
                  <a:lnTo>
                    <a:pt x="2154" y="906"/>
                  </a:lnTo>
                  <a:lnTo>
                    <a:pt x="2160" y="906"/>
                  </a:lnTo>
                  <a:lnTo>
                    <a:pt x="2166" y="906"/>
                  </a:lnTo>
                  <a:lnTo>
                    <a:pt x="2178" y="918"/>
                  </a:lnTo>
                  <a:lnTo>
                    <a:pt x="2178" y="924"/>
                  </a:lnTo>
                  <a:lnTo>
                    <a:pt x="2184" y="924"/>
                  </a:lnTo>
                  <a:lnTo>
                    <a:pt x="2190" y="924"/>
                  </a:lnTo>
                  <a:lnTo>
                    <a:pt x="2196" y="924"/>
                  </a:lnTo>
                  <a:lnTo>
                    <a:pt x="2202" y="918"/>
                  </a:lnTo>
                  <a:lnTo>
                    <a:pt x="2208" y="918"/>
                  </a:lnTo>
                  <a:lnTo>
                    <a:pt x="2214" y="918"/>
                  </a:lnTo>
                  <a:lnTo>
                    <a:pt x="2226" y="918"/>
                  </a:lnTo>
                  <a:lnTo>
                    <a:pt x="2220" y="948"/>
                  </a:lnTo>
                  <a:lnTo>
                    <a:pt x="2214" y="972"/>
                  </a:lnTo>
                  <a:lnTo>
                    <a:pt x="2214" y="984"/>
                  </a:lnTo>
                  <a:lnTo>
                    <a:pt x="2208" y="990"/>
                  </a:lnTo>
                  <a:lnTo>
                    <a:pt x="2208" y="996"/>
                  </a:lnTo>
                  <a:lnTo>
                    <a:pt x="2202" y="996"/>
                  </a:lnTo>
                  <a:lnTo>
                    <a:pt x="2196" y="996"/>
                  </a:lnTo>
                  <a:lnTo>
                    <a:pt x="2190" y="1008"/>
                  </a:lnTo>
                  <a:lnTo>
                    <a:pt x="2172" y="1074"/>
                  </a:lnTo>
                  <a:lnTo>
                    <a:pt x="2166" y="1092"/>
                  </a:lnTo>
                  <a:lnTo>
                    <a:pt x="2172" y="1110"/>
                  </a:lnTo>
                  <a:lnTo>
                    <a:pt x="2172" y="1122"/>
                  </a:lnTo>
                  <a:lnTo>
                    <a:pt x="2166" y="1134"/>
                  </a:lnTo>
                  <a:lnTo>
                    <a:pt x="2148" y="1140"/>
                  </a:lnTo>
                  <a:lnTo>
                    <a:pt x="2148" y="1134"/>
                  </a:lnTo>
                  <a:lnTo>
                    <a:pt x="2118" y="1140"/>
                  </a:lnTo>
                  <a:lnTo>
                    <a:pt x="2088" y="1134"/>
                  </a:lnTo>
                  <a:lnTo>
                    <a:pt x="2064" y="1122"/>
                  </a:lnTo>
                  <a:lnTo>
                    <a:pt x="2034" y="1122"/>
                  </a:lnTo>
                  <a:lnTo>
                    <a:pt x="2022" y="1128"/>
                  </a:lnTo>
                  <a:lnTo>
                    <a:pt x="1986" y="1128"/>
                  </a:lnTo>
                  <a:lnTo>
                    <a:pt x="1938" y="1122"/>
                  </a:lnTo>
                  <a:lnTo>
                    <a:pt x="1932" y="1116"/>
                  </a:lnTo>
                  <a:lnTo>
                    <a:pt x="1896" y="1110"/>
                  </a:lnTo>
                  <a:lnTo>
                    <a:pt x="1878" y="1104"/>
                  </a:lnTo>
                  <a:lnTo>
                    <a:pt x="1866" y="1098"/>
                  </a:lnTo>
                  <a:lnTo>
                    <a:pt x="1860" y="1098"/>
                  </a:lnTo>
                  <a:lnTo>
                    <a:pt x="1854" y="1092"/>
                  </a:lnTo>
                  <a:lnTo>
                    <a:pt x="1860" y="1092"/>
                  </a:lnTo>
                  <a:lnTo>
                    <a:pt x="1860" y="1086"/>
                  </a:lnTo>
                  <a:lnTo>
                    <a:pt x="1854" y="1086"/>
                  </a:lnTo>
                  <a:lnTo>
                    <a:pt x="1842" y="1080"/>
                  </a:lnTo>
                  <a:lnTo>
                    <a:pt x="1818" y="1062"/>
                  </a:lnTo>
                  <a:lnTo>
                    <a:pt x="1782" y="1056"/>
                  </a:lnTo>
                  <a:lnTo>
                    <a:pt x="1770" y="1068"/>
                  </a:lnTo>
                  <a:lnTo>
                    <a:pt x="1746" y="1098"/>
                  </a:lnTo>
                  <a:lnTo>
                    <a:pt x="1722" y="1104"/>
                  </a:lnTo>
                  <a:lnTo>
                    <a:pt x="1710" y="1122"/>
                  </a:lnTo>
                  <a:lnTo>
                    <a:pt x="1710" y="1128"/>
                  </a:lnTo>
                  <a:lnTo>
                    <a:pt x="1710" y="1140"/>
                  </a:lnTo>
                  <a:lnTo>
                    <a:pt x="1698" y="1146"/>
                  </a:lnTo>
                  <a:lnTo>
                    <a:pt x="1686" y="1152"/>
                  </a:lnTo>
                  <a:lnTo>
                    <a:pt x="1680" y="1164"/>
                  </a:lnTo>
                  <a:lnTo>
                    <a:pt x="1680" y="1170"/>
                  </a:lnTo>
                  <a:lnTo>
                    <a:pt x="1686" y="1170"/>
                  </a:lnTo>
                  <a:lnTo>
                    <a:pt x="1686" y="1176"/>
                  </a:lnTo>
                  <a:lnTo>
                    <a:pt x="1698" y="1188"/>
                  </a:lnTo>
                  <a:lnTo>
                    <a:pt x="1704" y="1188"/>
                  </a:lnTo>
                  <a:lnTo>
                    <a:pt x="1698" y="1194"/>
                  </a:lnTo>
                  <a:lnTo>
                    <a:pt x="1704" y="1194"/>
                  </a:lnTo>
                  <a:lnTo>
                    <a:pt x="1704" y="1200"/>
                  </a:lnTo>
                  <a:lnTo>
                    <a:pt x="1704" y="1206"/>
                  </a:lnTo>
                  <a:lnTo>
                    <a:pt x="1704" y="1212"/>
                  </a:lnTo>
                  <a:lnTo>
                    <a:pt x="1704" y="1218"/>
                  </a:lnTo>
                  <a:lnTo>
                    <a:pt x="1710" y="1218"/>
                  </a:lnTo>
                  <a:lnTo>
                    <a:pt x="1710" y="1212"/>
                  </a:lnTo>
                  <a:lnTo>
                    <a:pt x="1716" y="1212"/>
                  </a:lnTo>
                  <a:lnTo>
                    <a:pt x="1716" y="1218"/>
                  </a:lnTo>
                  <a:lnTo>
                    <a:pt x="1716" y="1224"/>
                  </a:lnTo>
                  <a:lnTo>
                    <a:pt x="1716" y="1230"/>
                  </a:lnTo>
                  <a:lnTo>
                    <a:pt x="1722" y="1236"/>
                  </a:lnTo>
                  <a:lnTo>
                    <a:pt x="1740" y="1230"/>
                  </a:lnTo>
                  <a:lnTo>
                    <a:pt x="1734" y="1236"/>
                  </a:lnTo>
                  <a:lnTo>
                    <a:pt x="1734" y="1242"/>
                  </a:lnTo>
                  <a:lnTo>
                    <a:pt x="1734" y="1248"/>
                  </a:lnTo>
                  <a:lnTo>
                    <a:pt x="1734" y="1254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52" y="1266"/>
                  </a:lnTo>
                  <a:lnTo>
                    <a:pt x="1764" y="1266"/>
                  </a:lnTo>
                  <a:lnTo>
                    <a:pt x="1788" y="1260"/>
                  </a:lnTo>
                  <a:lnTo>
                    <a:pt x="1800" y="1260"/>
                  </a:lnTo>
                  <a:lnTo>
                    <a:pt x="1806" y="1272"/>
                  </a:lnTo>
                  <a:lnTo>
                    <a:pt x="1806" y="1296"/>
                  </a:lnTo>
                  <a:lnTo>
                    <a:pt x="1800" y="1308"/>
                  </a:lnTo>
                  <a:lnTo>
                    <a:pt x="1788" y="1308"/>
                  </a:lnTo>
                  <a:lnTo>
                    <a:pt x="1782" y="13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7" name="Freeform 32">
              <a:extLst>
                <a:ext uri="{FF2B5EF4-FFF2-40B4-BE49-F238E27FC236}">
                  <a16:creationId xmlns:a16="http://schemas.microsoft.com/office/drawing/2014/main" id="{1EF84438-BF7A-47D2-9156-E231EA2A279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3295" y="2316568"/>
              <a:ext cx="1290281" cy="1084704"/>
            </a:xfrm>
            <a:custGeom>
              <a:avLst/>
              <a:gdLst>
                <a:gd name="T0" fmla="*/ 177 w 2430"/>
                <a:gd name="T1" fmla="*/ 169 h 2040"/>
                <a:gd name="T2" fmla="*/ 174 w 2430"/>
                <a:gd name="T3" fmla="*/ 173 h 2040"/>
                <a:gd name="T4" fmla="*/ 169 w 2430"/>
                <a:gd name="T5" fmla="*/ 171 h 2040"/>
                <a:gd name="T6" fmla="*/ 160 w 2430"/>
                <a:gd name="T7" fmla="*/ 163 h 2040"/>
                <a:gd name="T8" fmla="*/ 154 w 2430"/>
                <a:gd name="T9" fmla="*/ 149 h 2040"/>
                <a:gd name="T10" fmla="*/ 144 w 2430"/>
                <a:gd name="T11" fmla="*/ 147 h 2040"/>
                <a:gd name="T12" fmla="*/ 133 w 2430"/>
                <a:gd name="T13" fmla="*/ 146 h 2040"/>
                <a:gd name="T14" fmla="*/ 121 w 2430"/>
                <a:gd name="T15" fmla="*/ 145 h 2040"/>
                <a:gd name="T16" fmla="*/ 110 w 2430"/>
                <a:gd name="T17" fmla="*/ 137 h 2040"/>
                <a:gd name="T18" fmla="*/ 97 w 2430"/>
                <a:gd name="T19" fmla="*/ 131 h 2040"/>
                <a:gd name="T20" fmla="*/ 87 w 2430"/>
                <a:gd name="T21" fmla="*/ 125 h 2040"/>
                <a:gd name="T22" fmla="*/ 75 w 2430"/>
                <a:gd name="T23" fmla="*/ 122 h 2040"/>
                <a:gd name="T24" fmla="*/ 65 w 2430"/>
                <a:gd name="T25" fmla="*/ 122 h 2040"/>
                <a:gd name="T26" fmla="*/ 59 w 2430"/>
                <a:gd name="T27" fmla="*/ 115 h 2040"/>
                <a:gd name="T28" fmla="*/ 50 w 2430"/>
                <a:gd name="T29" fmla="*/ 107 h 2040"/>
                <a:gd name="T30" fmla="*/ 28 w 2430"/>
                <a:gd name="T31" fmla="*/ 84 h 2040"/>
                <a:gd name="T32" fmla="*/ 22 w 2430"/>
                <a:gd name="T33" fmla="*/ 82 h 2040"/>
                <a:gd name="T34" fmla="*/ 20 w 2430"/>
                <a:gd name="T35" fmla="*/ 79 h 2040"/>
                <a:gd name="T36" fmla="*/ 16 w 2430"/>
                <a:gd name="T37" fmla="*/ 76 h 2040"/>
                <a:gd name="T38" fmla="*/ 11 w 2430"/>
                <a:gd name="T39" fmla="*/ 74 h 2040"/>
                <a:gd name="T40" fmla="*/ 7 w 2430"/>
                <a:gd name="T41" fmla="*/ 69 h 2040"/>
                <a:gd name="T42" fmla="*/ 0 w 2430"/>
                <a:gd name="T43" fmla="*/ 60 h 2040"/>
                <a:gd name="T44" fmla="*/ 10 w 2430"/>
                <a:gd name="T45" fmla="*/ 53 h 2040"/>
                <a:gd name="T46" fmla="*/ 15 w 2430"/>
                <a:gd name="T47" fmla="*/ 40 h 2040"/>
                <a:gd name="T48" fmla="*/ 9 w 2430"/>
                <a:gd name="T49" fmla="*/ 29 h 2040"/>
                <a:gd name="T50" fmla="*/ 7 w 2430"/>
                <a:gd name="T51" fmla="*/ 16 h 2040"/>
                <a:gd name="T52" fmla="*/ 18 w 2430"/>
                <a:gd name="T53" fmla="*/ 21 h 2040"/>
                <a:gd name="T54" fmla="*/ 48 w 2430"/>
                <a:gd name="T55" fmla="*/ 27 h 2040"/>
                <a:gd name="T56" fmla="*/ 62 w 2430"/>
                <a:gd name="T57" fmla="*/ 25 h 2040"/>
                <a:gd name="T58" fmla="*/ 59 w 2430"/>
                <a:gd name="T59" fmla="*/ 42 h 2040"/>
                <a:gd name="T60" fmla="*/ 54 w 2430"/>
                <a:gd name="T61" fmla="*/ 65 h 2040"/>
                <a:gd name="T62" fmla="*/ 65 w 2430"/>
                <a:gd name="T63" fmla="*/ 60 h 2040"/>
                <a:gd name="T64" fmla="*/ 68 w 2430"/>
                <a:gd name="T65" fmla="*/ 40 h 2040"/>
                <a:gd name="T66" fmla="*/ 75 w 2430"/>
                <a:gd name="T67" fmla="*/ 36 h 2040"/>
                <a:gd name="T68" fmla="*/ 83 w 2430"/>
                <a:gd name="T69" fmla="*/ 29 h 2040"/>
                <a:gd name="T70" fmla="*/ 81 w 2430"/>
                <a:gd name="T71" fmla="*/ 17 h 2040"/>
                <a:gd name="T72" fmla="*/ 66 w 2430"/>
                <a:gd name="T73" fmla="*/ 7 h 2040"/>
                <a:gd name="T74" fmla="*/ 80 w 2430"/>
                <a:gd name="T75" fmla="*/ 5 h 2040"/>
                <a:gd name="T76" fmla="*/ 89 w 2430"/>
                <a:gd name="T77" fmla="*/ 1 h 2040"/>
                <a:gd name="T78" fmla="*/ 101 w 2430"/>
                <a:gd name="T79" fmla="*/ 10 h 2040"/>
                <a:gd name="T80" fmla="*/ 103 w 2430"/>
                <a:gd name="T81" fmla="*/ 18 h 2040"/>
                <a:gd name="T82" fmla="*/ 110 w 2430"/>
                <a:gd name="T83" fmla="*/ 23 h 2040"/>
                <a:gd name="T84" fmla="*/ 121 w 2430"/>
                <a:gd name="T85" fmla="*/ 20 h 2040"/>
                <a:gd name="T86" fmla="*/ 129 w 2430"/>
                <a:gd name="T87" fmla="*/ 15 h 2040"/>
                <a:gd name="T88" fmla="*/ 142 w 2430"/>
                <a:gd name="T89" fmla="*/ 23 h 2040"/>
                <a:gd name="T90" fmla="*/ 141 w 2430"/>
                <a:gd name="T91" fmla="*/ 30 h 2040"/>
                <a:gd name="T92" fmla="*/ 140 w 2430"/>
                <a:gd name="T93" fmla="*/ 38 h 2040"/>
                <a:gd name="T94" fmla="*/ 139 w 2430"/>
                <a:gd name="T95" fmla="*/ 46 h 2040"/>
                <a:gd name="T96" fmla="*/ 147 w 2430"/>
                <a:gd name="T97" fmla="*/ 54 h 2040"/>
                <a:gd name="T98" fmla="*/ 152 w 2430"/>
                <a:gd name="T99" fmla="*/ 50 h 2040"/>
                <a:gd name="T100" fmla="*/ 159 w 2430"/>
                <a:gd name="T101" fmla="*/ 43 h 2040"/>
                <a:gd name="T102" fmla="*/ 174 w 2430"/>
                <a:gd name="T103" fmla="*/ 41 h 2040"/>
                <a:gd name="T104" fmla="*/ 190 w 2430"/>
                <a:gd name="T105" fmla="*/ 57 h 2040"/>
                <a:gd name="T106" fmla="*/ 187 w 2430"/>
                <a:gd name="T107" fmla="*/ 66 h 2040"/>
                <a:gd name="T108" fmla="*/ 183 w 2430"/>
                <a:gd name="T109" fmla="*/ 72 h 2040"/>
                <a:gd name="T110" fmla="*/ 194 w 2430"/>
                <a:gd name="T111" fmla="*/ 73 h 2040"/>
                <a:gd name="T112" fmla="*/ 202 w 2430"/>
                <a:gd name="T113" fmla="*/ 74 h 2040"/>
                <a:gd name="T114" fmla="*/ 204 w 2430"/>
                <a:gd name="T115" fmla="*/ 89 h 2040"/>
                <a:gd name="T116" fmla="*/ 208 w 2430"/>
                <a:gd name="T117" fmla="*/ 99 h 2040"/>
                <a:gd name="T118" fmla="*/ 203 w 2430"/>
                <a:gd name="T119" fmla="*/ 103 h 2040"/>
                <a:gd name="T120" fmla="*/ 209 w 2430"/>
                <a:gd name="T121" fmla="*/ 111 h 2040"/>
                <a:gd name="T122" fmla="*/ 204 w 2430"/>
                <a:gd name="T123" fmla="*/ 124 h 2040"/>
                <a:gd name="T124" fmla="*/ 190 w 2430"/>
                <a:gd name="T125" fmla="*/ 117 h 20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30"/>
                <a:gd name="T190" fmla="*/ 0 h 2040"/>
                <a:gd name="T191" fmla="*/ 2430 w 2430"/>
                <a:gd name="T192" fmla="*/ 2040 h 20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30" h="2040">
                  <a:moveTo>
                    <a:pt x="2076" y="1896"/>
                  </a:moveTo>
                  <a:lnTo>
                    <a:pt x="2070" y="1896"/>
                  </a:lnTo>
                  <a:lnTo>
                    <a:pt x="2070" y="1902"/>
                  </a:lnTo>
                  <a:lnTo>
                    <a:pt x="2076" y="1902"/>
                  </a:lnTo>
                  <a:lnTo>
                    <a:pt x="2082" y="1902"/>
                  </a:lnTo>
                  <a:lnTo>
                    <a:pt x="2082" y="1908"/>
                  </a:lnTo>
                  <a:lnTo>
                    <a:pt x="2076" y="1908"/>
                  </a:lnTo>
                  <a:lnTo>
                    <a:pt x="2076" y="1914"/>
                  </a:lnTo>
                  <a:lnTo>
                    <a:pt x="2070" y="1920"/>
                  </a:lnTo>
                  <a:lnTo>
                    <a:pt x="2064" y="1932"/>
                  </a:lnTo>
                  <a:lnTo>
                    <a:pt x="2064" y="1938"/>
                  </a:lnTo>
                  <a:lnTo>
                    <a:pt x="2058" y="1938"/>
                  </a:lnTo>
                  <a:lnTo>
                    <a:pt x="2052" y="1944"/>
                  </a:lnTo>
                  <a:lnTo>
                    <a:pt x="2052" y="1950"/>
                  </a:lnTo>
                  <a:lnTo>
                    <a:pt x="2040" y="1944"/>
                  </a:lnTo>
                  <a:lnTo>
                    <a:pt x="2040" y="1950"/>
                  </a:lnTo>
                  <a:lnTo>
                    <a:pt x="2034" y="1956"/>
                  </a:lnTo>
                  <a:lnTo>
                    <a:pt x="2034" y="1962"/>
                  </a:lnTo>
                  <a:lnTo>
                    <a:pt x="2028" y="1962"/>
                  </a:lnTo>
                  <a:lnTo>
                    <a:pt x="2022" y="1962"/>
                  </a:lnTo>
                  <a:lnTo>
                    <a:pt x="2022" y="1968"/>
                  </a:lnTo>
                  <a:lnTo>
                    <a:pt x="2028" y="1974"/>
                  </a:lnTo>
                  <a:lnTo>
                    <a:pt x="2034" y="1980"/>
                  </a:lnTo>
                  <a:lnTo>
                    <a:pt x="2028" y="1986"/>
                  </a:lnTo>
                  <a:lnTo>
                    <a:pt x="2022" y="1992"/>
                  </a:lnTo>
                  <a:lnTo>
                    <a:pt x="2022" y="1986"/>
                  </a:lnTo>
                  <a:lnTo>
                    <a:pt x="2016" y="1986"/>
                  </a:lnTo>
                  <a:lnTo>
                    <a:pt x="2010" y="1980"/>
                  </a:lnTo>
                  <a:lnTo>
                    <a:pt x="2004" y="1980"/>
                  </a:lnTo>
                  <a:lnTo>
                    <a:pt x="2004" y="1986"/>
                  </a:lnTo>
                  <a:lnTo>
                    <a:pt x="2010" y="1992"/>
                  </a:lnTo>
                  <a:lnTo>
                    <a:pt x="2010" y="1998"/>
                  </a:lnTo>
                  <a:lnTo>
                    <a:pt x="2004" y="2004"/>
                  </a:lnTo>
                  <a:lnTo>
                    <a:pt x="1998" y="2004"/>
                  </a:lnTo>
                  <a:lnTo>
                    <a:pt x="1998" y="2022"/>
                  </a:lnTo>
                  <a:lnTo>
                    <a:pt x="1998" y="2028"/>
                  </a:lnTo>
                  <a:lnTo>
                    <a:pt x="1992" y="2034"/>
                  </a:lnTo>
                  <a:lnTo>
                    <a:pt x="1992" y="2040"/>
                  </a:lnTo>
                  <a:lnTo>
                    <a:pt x="1986" y="2040"/>
                  </a:lnTo>
                  <a:lnTo>
                    <a:pt x="1986" y="2034"/>
                  </a:lnTo>
                  <a:lnTo>
                    <a:pt x="1980" y="2028"/>
                  </a:lnTo>
                  <a:lnTo>
                    <a:pt x="1980" y="2022"/>
                  </a:lnTo>
                  <a:lnTo>
                    <a:pt x="1968" y="2016"/>
                  </a:lnTo>
                  <a:lnTo>
                    <a:pt x="1962" y="2010"/>
                  </a:lnTo>
                  <a:lnTo>
                    <a:pt x="1956" y="2004"/>
                  </a:lnTo>
                  <a:lnTo>
                    <a:pt x="1950" y="1992"/>
                  </a:lnTo>
                  <a:lnTo>
                    <a:pt x="1950" y="1986"/>
                  </a:lnTo>
                  <a:lnTo>
                    <a:pt x="1950" y="1974"/>
                  </a:lnTo>
                  <a:lnTo>
                    <a:pt x="1944" y="1974"/>
                  </a:lnTo>
                  <a:lnTo>
                    <a:pt x="1932" y="1962"/>
                  </a:lnTo>
                  <a:lnTo>
                    <a:pt x="1932" y="1956"/>
                  </a:lnTo>
                  <a:lnTo>
                    <a:pt x="1932" y="1950"/>
                  </a:lnTo>
                  <a:lnTo>
                    <a:pt x="1920" y="1944"/>
                  </a:lnTo>
                  <a:lnTo>
                    <a:pt x="1914" y="1944"/>
                  </a:lnTo>
                  <a:lnTo>
                    <a:pt x="1908" y="1938"/>
                  </a:lnTo>
                  <a:lnTo>
                    <a:pt x="1902" y="1926"/>
                  </a:lnTo>
                  <a:lnTo>
                    <a:pt x="1890" y="1914"/>
                  </a:lnTo>
                  <a:lnTo>
                    <a:pt x="1884" y="1914"/>
                  </a:lnTo>
                  <a:lnTo>
                    <a:pt x="1878" y="1908"/>
                  </a:lnTo>
                  <a:lnTo>
                    <a:pt x="1872" y="1902"/>
                  </a:lnTo>
                  <a:lnTo>
                    <a:pt x="1872" y="1896"/>
                  </a:lnTo>
                  <a:lnTo>
                    <a:pt x="1866" y="1890"/>
                  </a:lnTo>
                  <a:lnTo>
                    <a:pt x="1854" y="1884"/>
                  </a:lnTo>
                  <a:lnTo>
                    <a:pt x="1848" y="1884"/>
                  </a:lnTo>
                  <a:lnTo>
                    <a:pt x="1842" y="1872"/>
                  </a:lnTo>
                  <a:lnTo>
                    <a:pt x="1836" y="1872"/>
                  </a:lnTo>
                  <a:lnTo>
                    <a:pt x="1830" y="1866"/>
                  </a:lnTo>
                  <a:lnTo>
                    <a:pt x="1830" y="1854"/>
                  </a:lnTo>
                  <a:lnTo>
                    <a:pt x="1824" y="1848"/>
                  </a:lnTo>
                  <a:lnTo>
                    <a:pt x="1818" y="1830"/>
                  </a:lnTo>
                  <a:lnTo>
                    <a:pt x="1818" y="1818"/>
                  </a:lnTo>
                  <a:lnTo>
                    <a:pt x="1812" y="1800"/>
                  </a:lnTo>
                  <a:lnTo>
                    <a:pt x="1812" y="1788"/>
                  </a:lnTo>
                  <a:lnTo>
                    <a:pt x="1806" y="1776"/>
                  </a:lnTo>
                  <a:lnTo>
                    <a:pt x="1800" y="1764"/>
                  </a:lnTo>
                  <a:lnTo>
                    <a:pt x="1794" y="1758"/>
                  </a:lnTo>
                  <a:lnTo>
                    <a:pt x="1782" y="1740"/>
                  </a:lnTo>
                  <a:lnTo>
                    <a:pt x="1776" y="1728"/>
                  </a:lnTo>
                  <a:lnTo>
                    <a:pt x="1776" y="1722"/>
                  </a:lnTo>
                  <a:lnTo>
                    <a:pt x="1770" y="1722"/>
                  </a:lnTo>
                  <a:lnTo>
                    <a:pt x="1770" y="1716"/>
                  </a:lnTo>
                  <a:lnTo>
                    <a:pt x="1764" y="1716"/>
                  </a:lnTo>
                  <a:lnTo>
                    <a:pt x="1758" y="1710"/>
                  </a:lnTo>
                  <a:lnTo>
                    <a:pt x="1752" y="1704"/>
                  </a:lnTo>
                  <a:lnTo>
                    <a:pt x="1746" y="1704"/>
                  </a:lnTo>
                  <a:lnTo>
                    <a:pt x="1740" y="1704"/>
                  </a:lnTo>
                  <a:lnTo>
                    <a:pt x="1734" y="1704"/>
                  </a:lnTo>
                  <a:lnTo>
                    <a:pt x="1734" y="1698"/>
                  </a:lnTo>
                  <a:lnTo>
                    <a:pt x="1728" y="1692"/>
                  </a:lnTo>
                  <a:lnTo>
                    <a:pt x="1722" y="1686"/>
                  </a:lnTo>
                  <a:lnTo>
                    <a:pt x="1716" y="1686"/>
                  </a:lnTo>
                  <a:lnTo>
                    <a:pt x="1698" y="1686"/>
                  </a:lnTo>
                  <a:lnTo>
                    <a:pt x="1692" y="1692"/>
                  </a:lnTo>
                  <a:lnTo>
                    <a:pt x="1680" y="1692"/>
                  </a:lnTo>
                  <a:lnTo>
                    <a:pt x="1668" y="1692"/>
                  </a:lnTo>
                  <a:lnTo>
                    <a:pt x="1662" y="1692"/>
                  </a:lnTo>
                  <a:lnTo>
                    <a:pt x="1656" y="1692"/>
                  </a:lnTo>
                  <a:lnTo>
                    <a:pt x="1650" y="1698"/>
                  </a:lnTo>
                  <a:lnTo>
                    <a:pt x="1644" y="1698"/>
                  </a:lnTo>
                  <a:lnTo>
                    <a:pt x="1638" y="1698"/>
                  </a:lnTo>
                  <a:lnTo>
                    <a:pt x="1632" y="1698"/>
                  </a:lnTo>
                  <a:lnTo>
                    <a:pt x="1632" y="1692"/>
                  </a:lnTo>
                  <a:lnTo>
                    <a:pt x="1620" y="1680"/>
                  </a:lnTo>
                  <a:lnTo>
                    <a:pt x="1614" y="1680"/>
                  </a:lnTo>
                  <a:lnTo>
                    <a:pt x="1608" y="1680"/>
                  </a:lnTo>
                  <a:lnTo>
                    <a:pt x="1602" y="1680"/>
                  </a:lnTo>
                  <a:lnTo>
                    <a:pt x="1596" y="1674"/>
                  </a:lnTo>
                  <a:lnTo>
                    <a:pt x="1584" y="1674"/>
                  </a:lnTo>
                  <a:lnTo>
                    <a:pt x="1572" y="1674"/>
                  </a:lnTo>
                  <a:lnTo>
                    <a:pt x="1560" y="1674"/>
                  </a:lnTo>
                  <a:lnTo>
                    <a:pt x="1542" y="1680"/>
                  </a:lnTo>
                  <a:lnTo>
                    <a:pt x="1530" y="1680"/>
                  </a:lnTo>
                  <a:lnTo>
                    <a:pt x="1530" y="1674"/>
                  </a:lnTo>
                  <a:lnTo>
                    <a:pt x="1524" y="1674"/>
                  </a:lnTo>
                  <a:lnTo>
                    <a:pt x="1518" y="1674"/>
                  </a:lnTo>
                  <a:lnTo>
                    <a:pt x="1512" y="1674"/>
                  </a:lnTo>
                  <a:lnTo>
                    <a:pt x="1506" y="1674"/>
                  </a:lnTo>
                  <a:lnTo>
                    <a:pt x="1500" y="1680"/>
                  </a:lnTo>
                  <a:lnTo>
                    <a:pt x="1488" y="1680"/>
                  </a:lnTo>
                  <a:lnTo>
                    <a:pt x="1482" y="1674"/>
                  </a:lnTo>
                  <a:lnTo>
                    <a:pt x="1476" y="1674"/>
                  </a:lnTo>
                  <a:lnTo>
                    <a:pt x="1464" y="1674"/>
                  </a:lnTo>
                  <a:lnTo>
                    <a:pt x="1452" y="1680"/>
                  </a:lnTo>
                  <a:lnTo>
                    <a:pt x="1434" y="1680"/>
                  </a:lnTo>
                  <a:lnTo>
                    <a:pt x="1422" y="1680"/>
                  </a:lnTo>
                  <a:lnTo>
                    <a:pt x="1416" y="1680"/>
                  </a:lnTo>
                  <a:lnTo>
                    <a:pt x="1404" y="1674"/>
                  </a:lnTo>
                  <a:lnTo>
                    <a:pt x="1398" y="1674"/>
                  </a:lnTo>
                  <a:lnTo>
                    <a:pt x="1392" y="1662"/>
                  </a:lnTo>
                  <a:lnTo>
                    <a:pt x="1380" y="1644"/>
                  </a:lnTo>
                  <a:lnTo>
                    <a:pt x="1374" y="1632"/>
                  </a:lnTo>
                  <a:lnTo>
                    <a:pt x="1362" y="1626"/>
                  </a:lnTo>
                  <a:lnTo>
                    <a:pt x="1356" y="1620"/>
                  </a:lnTo>
                  <a:lnTo>
                    <a:pt x="1350" y="1626"/>
                  </a:lnTo>
                  <a:lnTo>
                    <a:pt x="1338" y="1626"/>
                  </a:lnTo>
                  <a:lnTo>
                    <a:pt x="1326" y="1626"/>
                  </a:lnTo>
                  <a:lnTo>
                    <a:pt x="1314" y="1620"/>
                  </a:lnTo>
                  <a:lnTo>
                    <a:pt x="1308" y="1614"/>
                  </a:lnTo>
                  <a:lnTo>
                    <a:pt x="1302" y="1608"/>
                  </a:lnTo>
                  <a:lnTo>
                    <a:pt x="1296" y="1602"/>
                  </a:lnTo>
                  <a:lnTo>
                    <a:pt x="1290" y="1602"/>
                  </a:lnTo>
                  <a:lnTo>
                    <a:pt x="1290" y="1596"/>
                  </a:lnTo>
                  <a:lnTo>
                    <a:pt x="1284" y="1590"/>
                  </a:lnTo>
                  <a:lnTo>
                    <a:pt x="1272" y="1584"/>
                  </a:lnTo>
                  <a:lnTo>
                    <a:pt x="1254" y="1572"/>
                  </a:lnTo>
                  <a:lnTo>
                    <a:pt x="1236" y="1554"/>
                  </a:lnTo>
                  <a:lnTo>
                    <a:pt x="1230" y="1554"/>
                  </a:lnTo>
                  <a:lnTo>
                    <a:pt x="1224" y="1554"/>
                  </a:lnTo>
                  <a:lnTo>
                    <a:pt x="1212" y="1554"/>
                  </a:lnTo>
                  <a:lnTo>
                    <a:pt x="1194" y="1542"/>
                  </a:lnTo>
                  <a:lnTo>
                    <a:pt x="1188" y="1536"/>
                  </a:lnTo>
                  <a:lnTo>
                    <a:pt x="1182" y="1530"/>
                  </a:lnTo>
                  <a:lnTo>
                    <a:pt x="1176" y="1530"/>
                  </a:lnTo>
                  <a:lnTo>
                    <a:pt x="1170" y="1530"/>
                  </a:lnTo>
                  <a:lnTo>
                    <a:pt x="1158" y="1524"/>
                  </a:lnTo>
                  <a:lnTo>
                    <a:pt x="1152" y="1524"/>
                  </a:lnTo>
                  <a:lnTo>
                    <a:pt x="1140" y="1518"/>
                  </a:lnTo>
                  <a:lnTo>
                    <a:pt x="1128" y="1518"/>
                  </a:lnTo>
                  <a:lnTo>
                    <a:pt x="1122" y="1518"/>
                  </a:lnTo>
                  <a:lnTo>
                    <a:pt x="1116" y="1518"/>
                  </a:lnTo>
                  <a:lnTo>
                    <a:pt x="1104" y="1518"/>
                  </a:lnTo>
                  <a:lnTo>
                    <a:pt x="1092" y="1518"/>
                  </a:lnTo>
                  <a:lnTo>
                    <a:pt x="1080" y="1518"/>
                  </a:lnTo>
                  <a:lnTo>
                    <a:pt x="1068" y="1518"/>
                  </a:lnTo>
                  <a:lnTo>
                    <a:pt x="1062" y="1518"/>
                  </a:lnTo>
                  <a:lnTo>
                    <a:pt x="1056" y="1518"/>
                  </a:lnTo>
                  <a:lnTo>
                    <a:pt x="1050" y="1512"/>
                  </a:lnTo>
                  <a:lnTo>
                    <a:pt x="1044" y="1512"/>
                  </a:lnTo>
                  <a:lnTo>
                    <a:pt x="1038" y="1512"/>
                  </a:lnTo>
                  <a:lnTo>
                    <a:pt x="1032" y="1506"/>
                  </a:lnTo>
                  <a:lnTo>
                    <a:pt x="1026" y="1500"/>
                  </a:lnTo>
                  <a:lnTo>
                    <a:pt x="1026" y="1494"/>
                  </a:lnTo>
                  <a:lnTo>
                    <a:pt x="1020" y="1476"/>
                  </a:lnTo>
                  <a:lnTo>
                    <a:pt x="1008" y="1464"/>
                  </a:lnTo>
                  <a:lnTo>
                    <a:pt x="1008" y="1458"/>
                  </a:lnTo>
                  <a:lnTo>
                    <a:pt x="1002" y="1446"/>
                  </a:lnTo>
                  <a:lnTo>
                    <a:pt x="996" y="1446"/>
                  </a:lnTo>
                  <a:lnTo>
                    <a:pt x="990" y="1440"/>
                  </a:lnTo>
                  <a:lnTo>
                    <a:pt x="984" y="1434"/>
                  </a:lnTo>
                  <a:lnTo>
                    <a:pt x="978" y="1434"/>
                  </a:lnTo>
                  <a:lnTo>
                    <a:pt x="972" y="1434"/>
                  </a:lnTo>
                  <a:lnTo>
                    <a:pt x="966" y="1428"/>
                  </a:lnTo>
                  <a:lnTo>
                    <a:pt x="954" y="1422"/>
                  </a:lnTo>
                  <a:lnTo>
                    <a:pt x="942" y="1416"/>
                  </a:lnTo>
                  <a:lnTo>
                    <a:pt x="924" y="1398"/>
                  </a:lnTo>
                  <a:lnTo>
                    <a:pt x="912" y="1386"/>
                  </a:lnTo>
                  <a:lnTo>
                    <a:pt x="900" y="1386"/>
                  </a:lnTo>
                  <a:lnTo>
                    <a:pt x="894" y="1386"/>
                  </a:lnTo>
                  <a:lnTo>
                    <a:pt x="882" y="1392"/>
                  </a:lnTo>
                  <a:lnTo>
                    <a:pt x="876" y="1392"/>
                  </a:lnTo>
                  <a:lnTo>
                    <a:pt x="864" y="1398"/>
                  </a:lnTo>
                  <a:lnTo>
                    <a:pt x="864" y="1404"/>
                  </a:lnTo>
                  <a:lnTo>
                    <a:pt x="858" y="1410"/>
                  </a:lnTo>
                  <a:lnTo>
                    <a:pt x="852" y="1410"/>
                  </a:lnTo>
                  <a:lnTo>
                    <a:pt x="846" y="1410"/>
                  </a:lnTo>
                  <a:lnTo>
                    <a:pt x="834" y="1410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10" y="1428"/>
                  </a:lnTo>
                  <a:lnTo>
                    <a:pt x="798" y="1428"/>
                  </a:lnTo>
                  <a:lnTo>
                    <a:pt x="792" y="1428"/>
                  </a:lnTo>
                  <a:lnTo>
                    <a:pt x="780" y="1434"/>
                  </a:lnTo>
                  <a:lnTo>
                    <a:pt x="774" y="1428"/>
                  </a:lnTo>
                  <a:lnTo>
                    <a:pt x="762" y="1428"/>
                  </a:lnTo>
                  <a:lnTo>
                    <a:pt x="756" y="1422"/>
                  </a:lnTo>
                  <a:lnTo>
                    <a:pt x="750" y="1416"/>
                  </a:lnTo>
                  <a:lnTo>
                    <a:pt x="744" y="1410"/>
                  </a:lnTo>
                  <a:lnTo>
                    <a:pt x="744" y="1398"/>
                  </a:lnTo>
                  <a:lnTo>
                    <a:pt x="744" y="1386"/>
                  </a:lnTo>
                  <a:lnTo>
                    <a:pt x="750" y="1380"/>
                  </a:lnTo>
                  <a:lnTo>
                    <a:pt x="750" y="1374"/>
                  </a:lnTo>
                  <a:lnTo>
                    <a:pt x="750" y="1368"/>
                  </a:lnTo>
                  <a:lnTo>
                    <a:pt x="756" y="1362"/>
                  </a:lnTo>
                  <a:lnTo>
                    <a:pt x="750" y="1350"/>
                  </a:lnTo>
                  <a:lnTo>
                    <a:pt x="744" y="1344"/>
                  </a:lnTo>
                  <a:lnTo>
                    <a:pt x="738" y="1338"/>
                  </a:lnTo>
                  <a:lnTo>
                    <a:pt x="726" y="1338"/>
                  </a:lnTo>
                  <a:lnTo>
                    <a:pt x="720" y="1338"/>
                  </a:lnTo>
                  <a:lnTo>
                    <a:pt x="714" y="1338"/>
                  </a:lnTo>
                  <a:lnTo>
                    <a:pt x="708" y="1332"/>
                  </a:lnTo>
                  <a:lnTo>
                    <a:pt x="702" y="1332"/>
                  </a:lnTo>
                  <a:lnTo>
                    <a:pt x="696" y="1326"/>
                  </a:lnTo>
                  <a:lnTo>
                    <a:pt x="684" y="1326"/>
                  </a:lnTo>
                  <a:lnTo>
                    <a:pt x="678" y="1326"/>
                  </a:lnTo>
                  <a:lnTo>
                    <a:pt x="672" y="1314"/>
                  </a:lnTo>
                  <a:lnTo>
                    <a:pt x="666" y="1308"/>
                  </a:lnTo>
                  <a:lnTo>
                    <a:pt x="654" y="1296"/>
                  </a:lnTo>
                  <a:lnTo>
                    <a:pt x="654" y="1290"/>
                  </a:lnTo>
                  <a:lnTo>
                    <a:pt x="630" y="1284"/>
                  </a:lnTo>
                  <a:lnTo>
                    <a:pt x="630" y="1278"/>
                  </a:lnTo>
                  <a:lnTo>
                    <a:pt x="624" y="1278"/>
                  </a:lnTo>
                  <a:lnTo>
                    <a:pt x="618" y="1266"/>
                  </a:lnTo>
                  <a:lnTo>
                    <a:pt x="612" y="1266"/>
                  </a:lnTo>
                  <a:lnTo>
                    <a:pt x="606" y="1266"/>
                  </a:lnTo>
                  <a:lnTo>
                    <a:pt x="606" y="1260"/>
                  </a:lnTo>
                  <a:lnTo>
                    <a:pt x="594" y="1248"/>
                  </a:lnTo>
                  <a:lnTo>
                    <a:pt x="582" y="1248"/>
                  </a:lnTo>
                  <a:lnTo>
                    <a:pt x="576" y="1242"/>
                  </a:lnTo>
                  <a:lnTo>
                    <a:pt x="570" y="1236"/>
                  </a:lnTo>
                  <a:lnTo>
                    <a:pt x="504" y="1164"/>
                  </a:lnTo>
                  <a:lnTo>
                    <a:pt x="450" y="1110"/>
                  </a:lnTo>
                  <a:lnTo>
                    <a:pt x="426" y="1092"/>
                  </a:lnTo>
                  <a:lnTo>
                    <a:pt x="426" y="1074"/>
                  </a:lnTo>
                  <a:lnTo>
                    <a:pt x="420" y="1062"/>
                  </a:lnTo>
                  <a:lnTo>
                    <a:pt x="396" y="1056"/>
                  </a:lnTo>
                  <a:lnTo>
                    <a:pt x="384" y="1032"/>
                  </a:lnTo>
                  <a:lnTo>
                    <a:pt x="372" y="1020"/>
                  </a:lnTo>
                  <a:lnTo>
                    <a:pt x="360" y="984"/>
                  </a:lnTo>
                  <a:lnTo>
                    <a:pt x="348" y="978"/>
                  </a:lnTo>
                  <a:lnTo>
                    <a:pt x="342" y="972"/>
                  </a:lnTo>
                  <a:lnTo>
                    <a:pt x="348" y="960"/>
                  </a:lnTo>
                  <a:lnTo>
                    <a:pt x="342" y="954"/>
                  </a:lnTo>
                  <a:lnTo>
                    <a:pt x="336" y="954"/>
                  </a:lnTo>
                  <a:lnTo>
                    <a:pt x="330" y="954"/>
                  </a:lnTo>
                  <a:lnTo>
                    <a:pt x="324" y="972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0" y="966"/>
                  </a:lnTo>
                  <a:lnTo>
                    <a:pt x="294" y="966"/>
                  </a:lnTo>
                  <a:lnTo>
                    <a:pt x="288" y="972"/>
                  </a:lnTo>
                  <a:lnTo>
                    <a:pt x="288" y="966"/>
                  </a:lnTo>
                  <a:lnTo>
                    <a:pt x="282" y="948"/>
                  </a:lnTo>
                  <a:lnTo>
                    <a:pt x="282" y="942"/>
                  </a:lnTo>
                  <a:lnTo>
                    <a:pt x="276" y="942"/>
                  </a:lnTo>
                  <a:lnTo>
                    <a:pt x="276" y="936"/>
                  </a:lnTo>
                  <a:lnTo>
                    <a:pt x="270" y="942"/>
                  </a:lnTo>
                  <a:lnTo>
                    <a:pt x="264" y="948"/>
                  </a:lnTo>
                  <a:lnTo>
                    <a:pt x="264" y="942"/>
                  </a:lnTo>
                  <a:lnTo>
                    <a:pt x="258" y="942"/>
                  </a:lnTo>
                  <a:lnTo>
                    <a:pt x="252" y="948"/>
                  </a:lnTo>
                  <a:lnTo>
                    <a:pt x="252" y="942"/>
                  </a:lnTo>
                  <a:lnTo>
                    <a:pt x="246" y="936"/>
                  </a:lnTo>
                  <a:lnTo>
                    <a:pt x="240" y="942"/>
                  </a:lnTo>
                  <a:lnTo>
                    <a:pt x="234" y="936"/>
                  </a:lnTo>
                  <a:lnTo>
                    <a:pt x="228" y="936"/>
                  </a:lnTo>
                  <a:lnTo>
                    <a:pt x="222" y="936"/>
                  </a:lnTo>
                  <a:lnTo>
                    <a:pt x="222" y="930"/>
                  </a:lnTo>
                  <a:lnTo>
                    <a:pt x="222" y="924"/>
                  </a:lnTo>
                  <a:lnTo>
                    <a:pt x="228" y="924"/>
                  </a:lnTo>
                  <a:lnTo>
                    <a:pt x="234" y="924"/>
                  </a:lnTo>
                  <a:lnTo>
                    <a:pt x="240" y="924"/>
                  </a:lnTo>
                  <a:lnTo>
                    <a:pt x="240" y="918"/>
                  </a:lnTo>
                  <a:lnTo>
                    <a:pt x="246" y="918"/>
                  </a:lnTo>
                  <a:lnTo>
                    <a:pt x="246" y="912"/>
                  </a:lnTo>
                  <a:lnTo>
                    <a:pt x="240" y="906"/>
                  </a:lnTo>
                  <a:lnTo>
                    <a:pt x="234" y="906"/>
                  </a:lnTo>
                  <a:lnTo>
                    <a:pt x="228" y="906"/>
                  </a:lnTo>
                  <a:lnTo>
                    <a:pt x="228" y="912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8" y="894"/>
                  </a:lnTo>
                  <a:lnTo>
                    <a:pt x="234" y="894"/>
                  </a:lnTo>
                  <a:lnTo>
                    <a:pt x="228" y="888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198" y="888"/>
                  </a:lnTo>
                  <a:lnTo>
                    <a:pt x="192" y="882"/>
                  </a:lnTo>
                  <a:lnTo>
                    <a:pt x="186" y="882"/>
                  </a:lnTo>
                  <a:lnTo>
                    <a:pt x="186" y="876"/>
                  </a:lnTo>
                  <a:lnTo>
                    <a:pt x="192" y="876"/>
                  </a:lnTo>
                  <a:lnTo>
                    <a:pt x="192" y="870"/>
                  </a:lnTo>
                  <a:lnTo>
                    <a:pt x="198" y="870"/>
                  </a:lnTo>
                  <a:lnTo>
                    <a:pt x="198" y="864"/>
                  </a:lnTo>
                  <a:lnTo>
                    <a:pt x="198" y="858"/>
                  </a:lnTo>
                  <a:lnTo>
                    <a:pt x="180" y="852"/>
                  </a:lnTo>
                  <a:lnTo>
                    <a:pt x="174" y="840"/>
                  </a:lnTo>
                  <a:lnTo>
                    <a:pt x="162" y="846"/>
                  </a:lnTo>
                  <a:lnTo>
                    <a:pt x="156" y="846"/>
                  </a:lnTo>
                  <a:lnTo>
                    <a:pt x="150" y="846"/>
                  </a:lnTo>
                  <a:lnTo>
                    <a:pt x="150" y="840"/>
                  </a:lnTo>
                  <a:lnTo>
                    <a:pt x="138" y="834"/>
                  </a:lnTo>
                  <a:lnTo>
                    <a:pt x="132" y="834"/>
                  </a:lnTo>
                  <a:lnTo>
                    <a:pt x="132" y="840"/>
                  </a:lnTo>
                  <a:lnTo>
                    <a:pt x="126" y="840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58"/>
                  </a:lnTo>
                  <a:lnTo>
                    <a:pt x="120" y="846"/>
                  </a:lnTo>
                  <a:lnTo>
                    <a:pt x="114" y="846"/>
                  </a:lnTo>
                  <a:lnTo>
                    <a:pt x="108" y="840"/>
                  </a:lnTo>
                  <a:lnTo>
                    <a:pt x="102" y="834"/>
                  </a:lnTo>
                  <a:lnTo>
                    <a:pt x="102" y="822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78" y="804"/>
                  </a:lnTo>
                  <a:lnTo>
                    <a:pt x="78" y="798"/>
                  </a:lnTo>
                  <a:lnTo>
                    <a:pt x="78" y="792"/>
                  </a:lnTo>
                  <a:lnTo>
                    <a:pt x="78" y="786"/>
                  </a:lnTo>
                  <a:lnTo>
                    <a:pt x="78" y="780"/>
                  </a:lnTo>
                  <a:lnTo>
                    <a:pt x="72" y="774"/>
                  </a:lnTo>
                  <a:lnTo>
                    <a:pt x="66" y="774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60" y="762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6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2" y="666"/>
                  </a:lnTo>
                  <a:lnTo>
                    <a:pt x="18" y="648"/>
                  </a:lnTo>
                  <a:lnTo>
                    <a:pt x="24" y="636"/>
                  </a:lnTo>
                  <a:lnTo>
                    <a:pt x="30" y="630"/>
                  </a:lnTo>
                  <a:lnTo>
                    <a:pt x="30" y="624"/>
                  </a:lnTo>
                  <a:lnTo>
                    <a:pt x="30" y="612"/>
                  </a:lnTo>
                  <a:lnTo>
                    <a:pt x="30" y="606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66" y="582"/>
                  </a:lnTo>
                  <a:lnTo>
                    <a:pt x="72" y="588"/>
                  </a:lnTo>
                  <a:lnTo>
                    <a:pt x="84" y="594"/>
                  </a:lnTo>
                  <a:lnTo>
                    <a:pt x="90" y="600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14" y="612"/>
                  </a:lnTo>
                  <a:lnTo>
                    <a:pt x="120" y="612"/>
                  </a:lnTo>
                  <a:lnTo>
                    <a:pt x="126" y="618"/>
                  </a:lnTo>
                  <a:lnTo>
                    <a:pt x="138" y="594"/>
                  </a:lnTo>
                  <a:lnTo>
                    <a:pt x="138" y="582"/>
                  </a:lnTo>
                  <a:lnTo>
                    <a:pt x="138" y="570"/>
                  </a:lnTo>
                  <a:lnTo>
                    <a:pt x="138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50" y="528"/>
                  </a:lnTo>
                  <a:lnTo>
                    <a:pt x="156" y="510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62"/>
                  </a:lnTo>
                  <a:lnTo>
                    <a:pt x="168" y="450"/>
                  </a:lnTo>
                  <a:lnTo>
                    <a:pt x="168" y="444"/>
                  </a:lnTo>
                  <a:lnTo>
                    <a:pt x="162" y="432"/>
                  </a:lnTo>
                  <a:lnTo>
                    <a:pt x="162" y="426"/>
                  </a:lnTo>
                  <a:lnTo>
                    <a:pt x="156" y="420"/>
                  </a:lnTo>
                  <a:lnTo>
                    <a:pt x="144" y="414"/>
                  </a:lnTo>
                  <a:lnTo>
                    <a:pt x="132" y="402"/>
                  </a:lnTo>
                  <a:lnTo>
                    <a:pt x="126" y="390"/>
                  </a:lnTo>
                  <a:lnTo>
                    <a:pt x="120" y="384"/>
                  </a:lnTo>
                  <a:lnTo>
                    <a:pt x="120" y="372"/>
                  </a:lnTo>
                  <a:lnTo>
                    <a:pt x="114" y="360"/>
                  </a:lnTo>
                  <a:lnTo>
                    <a:pt x="108" y="360"/>
                  </a:lnTo>
                  <a:lnTo>
                    <a:pt x="108" y="354"/>
                  </a:lnTo>
                  <a:lnTo>
                    <a:pt x="102" y="348"/>
                  </a:lnTo>
                  <a:lnTo>
                    <a:pt x="102" y="342"/>
                  </a:lnTo>
                  <a:lnTo>
                    <a:pt x="108" y="330"/>
                  </a:lnTo>
                  <a:lnTo>
                    <a:pt x="114" y="312"/>
                  </a:lnTo>
                  <a:lnTo>
                    <a:pt x="114" y="300"/>
                  </a:lnTo>
                  <a:lnTo>
                    <a:pt x="120" y="288"/>
                  </a:lnTo>
                  <a:lnTo>
                    <a:pt x="120" y="282"/>
                  </a:lnTo>
                  <a:lnTo>
                    <a:pt x="114" y="270"/>
                  </a:lnTo>
                  <a:lnTo>
                    <a:pt x="114" y="258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84" y="222"/>
                  </a:lnTo>
                  <a:lnTo>
                    <a:pt x="84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84" y="186"/>
                  </a:lnTo>
                  <a:lnTo>
                    <a:pt x="84" y="180"/>
                  </a:lnTo>
                  <a:lnTo>
                    <a:pt x="108" y="174"/>
                  </a:lnTo>
                  <a:lnTo>
                    <a:pt x="132" y="186"/>
                  </a:lnTo>
                  <a:lnTo>
                    <a:pt x="138" y="192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56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74" y="204"/>
                  </a:lnTo>
                  <a:lnTo>
                    <a:pt x="180" y="216"/>
                  </a:lnTo>
                  <a:lnTo>
                    <a:pt x="186" y="228"/>
                  </a:lnTo>
                  <a:lnTo>
                    <a:pt x="192" y="234"/>
                  </a:lnTo>
                  <a:lnTo>
                    <a:pt x="198" y="234"/>
                  </a:lnTo>
                  <a:lnTo>
                    <a:pt x="204" y="240"/>
                  </a:lnTo>
                  <a:lnTo>
                    <a:pt x="210" y="240"/>
                  </a:lnTo>
                  <a:lnTo>
                    <a:pt x="216" y="240"/>
                  </a:lnTo>
                  <a:lnTo>
                    <a:pt x="222" y="240"/>
                  </a:lnTo>
                  <a:lnTo>
                    <a:pt x="228" y="246"/>
                  </a:lnTo>
                  <a:lnTo>
                    <a:pt x="234" y="246"/>
                  </a:lnTo>
                  <a:lnTo>
                    <a:pt x="240" y="246"/>
                  </a:lnTo>
                  <a:lnTo>
                    <a:pt x="252" y="252"/>
                  </a:lnTo>
                  <a:lnTo>
                    <a:pt x="330" y="246"/>
                  </a:lnTo>
                  <a:lnTo>
                    <a:pt x="360" y="228"/>
                  </a:lnTo>
                  <a:lnTo>
                    <a:pt x="396" y="228"/>
                  </a:lnTo>
                  <a:lnTo>
                    <a:pt x="402" y="240"/>
                  </a:lnTo>
                  <a:lnTo>
                    <a:pt x="432" y="240"/>
                  </a:lnTo>
                  <a:lnTo>
                    <a:pt x="450" y="258"/>
                  </a:lnTo>
                  <a:lnTo>
                    <a:pt x="468" y="258"/>
                  </a:lnTo>
                  <a:lnTo>
                    <a:pt x="474" y="294"/>
                  </a:lnTo>
                  <a:lnTo>
                    <a:pt x="558" y="318"/>
                  </a:lnTo>
                  <a:lnTo>
                    <a:pt x="588" y="318"/>
                  </a:lnTo>
                  <a:lnTo>
                    <a:pt x="588" y="312"/>
                  </a:lnTo>
                  <a:lnTo>
                    <a:pt x="594" y="306"/>
                  </a:lnTo>
                  <a:lnTo>
                    <a:pt x="600" y="306"/>
                  </a:lnTo>
                  <a:lnTo>
                    <a:pt x="612" y="300"/>
                  </a:lnTo>
                  <a:lnTo>
                    <a:pt x="618" y="300"/>
                  </a:lnTo>
                  <a:lnTo>
                    <a:pt x="630" y="300"/>
                  </a:lnTo>
                  <a:lnTo>
                    <a:pt x="642" y="306"/>
                  </a:lnTo>
                  <a:lnTo>
                    <a:pt x="660" y="306"/>
                  </a:lnTo>
                  <a:lnTo>
                    <a:pt x="666" y="306"/>
                  </a:lnTo>
                  <a:lnTo>
                    <a:pt x="672" y="306"/>
                  </a:lnTo>
                  <a:lnTo>
                    <a:pt x="684" y="300"/>
                  </a:lnTo>
                  <a:lnTo>
                    <a:pt x="696" y="294"/>
                  </a:lnTo>
                  <a:lnTo>
                    <a:pt x="702" y="288"/>
                  </a:lnTo>
                  <a:lnTo>
                    <a:pt x="714" y="282"/>
                  </a:lnTo>
                  <a:lnTo>
                    <a:pt x="714" y="288"/>
                  </a:lnTo>
                  <a:lnTo>
                    <a:pt x="726" y="300"/>
                  </a:lnTo>
                  <a:lnTo>
                    <a:pt x="732" y="306"/>
                  </a:lnTo>
                  <a:lnTo>
                    <a:pt x="732" y="318"/>
                  </a:lnTo>
                  <a:lnTo>
                    <a:pt x="732" y="330"/>
                  </a:lnTo>
                  <a:lnTo>
                    <a:pt x="726" y="342"/>
                  </a:lnTo>
                  <a:lnTo>
                    <a:pt x="720" y="354"/>
                  </a:lnTo>
                  <a:lnTo>
                    <a:pt x="720" y="360"/>
                  </a:lnTo>
                  <a:lnTo>
                    <a:pt x="714" y="372"/>
                  </a:lnTo>
                  <a:lnTo>
                    <a:pt x="714" y="378"/>
                  </a:lnTo>
                  <a:lnTo>
                    <a:pt x="714" y="408"/>
                  </a:lnTo>
                  <a:lnTo>
                    <a:pt x="708" y="420"/>
                  </a:lnTo>
                  <a:lnTo>
                    <a:pt x="714" y="432"/>
                  </a:lnTo>
                  <a:lnTo>
                    <a:pt x="708" y="450"/>
                  </a:lnTo>
                  <a:lnTo>
                    <a:pt x="708" y="468"/>
                  </a:lnTo>
                  <a:lnTo>
                    <a:pt x="696" y="480"/>
                  </a:lnTo>
                  <a:lnTo>
                    <a:pt x="684" y="486"/>
                  </a:lnTo>
                  <a:lnTo>
                    <a:pt x="672" y="492"/>
                  </a:lnTo>
                  <a:lnTo>
                    <a:pt x="660" y="498"/>
                  </a:lnTo>
                  <a:lnTo>
                    <a:pt x="654" y="510"/>
                  </a:lnTo>
                  <a:lnTo>
                    <a:pt x="648" y="516"/>
                  </a:lnTo>
                  <a:lnTo>
                    <a:pt x="642" y="522"/>
                  </a:lnTo>
                  <a:lnTo>
                    <a:pt x="630" y="522"/>
                  </a:lnTo>
                  <a:lnTo>
                    <a:pt x="624" y="528"/>
                  </a:lnTo>
                  <a:lnTo>
                    <a:pt x="618" y="540"/>
                  </a:lnTo>
                  <a:lnTo>
                    <a:pt x="618" y="558"/>
                  </a:lnTo>
                  <a:lnTo>
                    <a:pt x="612" y="576"/>
                  </a:lnTo>
                  <a:lnTo>
                    <a:pt x="612" y="684"/>
                  </a:lnTo>
                  <a:lnTo>
                    <a:pt x="618" y="696"/>
                  </a:lnTo>
                  <a:lnTo>
                    <a:pt x="636" y="696"/>
                  </a:lnTo>
                  <a:lnTo>
                    <a:pt x="636" y="720"/>
                  </a:lnTo>
                  <a:lnTo>
                    <a:pt x="636" y="732"/>
                  </a:lnTo>
                  <a:lnTo>
                    <a:pt x="618" y="750"/>
                  </a:lnTo>
                  <a:lnTo>
                    <a:pt x="606" y="762"/>
                  </a:lnTo>
                  <a:lnTo>
                    <a:pt x="600" y="774"/>
                  </a:lnTo>
                  <a:lnTo>
                    <a:pt x="594" y="798"/>
                  </a:lnTo>
                  <a:lnTo>
                    <a:pt x="606" y="798"/>
                  </a:lnTo>
                  <a:lnTo>
                    <a:pt x="660" y="792"/>
                  </a:lnTo>
                  <a:lnTo>
                    <a:pt x="696" y="798"/>
                  </a:lnTo>
                  <a:lnTo>
                    <a:pt x="720" y="798"/>
                  </a:lnTo>
                  <a:lnTo>
                    <a:pt x="720" y="786"/>
                  </a:lnTo>
                  <a:lnTo>
                    <a:pt x="720" y="774"/>
                  </a:lnTo>
                  <a:lnTo>
                    <a:pt x="702" y="762"/>
                  </a:lnTo>
                  <a:lnTo>
                    <a:pt x="702" y="750"/>
                  </a:lnTo>
                  <a:lnTo>
                    <a:pt x="702" y="726"/>
                  </a:lnTo>
                  <a:lnTo>
                    <a:pt x="714" y="714"/>
                  </a:lnTo>
                  <a:lnTo>
                    <a:pt x="720" y="702"/>
                  </a:lnTo>
                  <a:lnTo>
                    <a:pt x="720" y="696"/>
                  </a:lnTo>
                  <a:lnTo>
                    <a:pt x="744" y="690"/>
                  </a:lnTo>
                  <a:lnTo>
                    <a:pt x="744" y="696"/>
                  </a:lnTo>
                  <a:lnTo>
                    <a:pt x="756" y="696"/>
                  </a:lnTo>
                  <a:lnTo>
                    <a:pt x="762" y="690"/>
                  </a:lnTo>
                  <a:lnTo>
                    <a:pt x="768" y="690"/>
                  </a:lnTo>
                  <a:lnTo>
                    <a:pt x="774" y="696"/>
                  </a:lnTo>
                  <a:lnTo>
                    <a:pt x="780" y="696"/>
                  </a:lnTo>
                  <a:lnTo>
                    <a:pt x="786" y="696"/>
                  </a:lnTo>
                  <a:lnTo>
                    <a:pt x="804" y="684"/>
                  </a:lnTo>
                  <a:lnTo>
                    <a:pt x="810" y="684"/>
                  </a:lnTo>
                  <a:lnTo>
                    <a:pt x="810" y="654"/>
                  </a:lnTo>
                  <a:lnTo>
                    <a:pt x="816" y="588"/>
                  </a:lnTo>
                  <a:lnTo>
                    <a:pt x="804" y="582"/>
                  </a:lnTo>
                  <a:lnTo>
                    <a:pt x="798" y="552"/>
                  </a:lnTo>
                  <a:lnTo>
                    <a:pt x="798" y="480"/>
                  </a:lnTo>
                  <a:lnTo>
                    <a:pt x="780" y="468"/>
                  </a:lnTo>
                  <a:lnTo>
                    <a:pt x="780" y="462"/>
                  </a:lnTo>
                  <a:lnTo>
                    <a:pt x="774" y="450"/>
                  </a:lnTo>
                  <a:lnTo>
                    <a:pt x="762" y="444"/>
                  </a:lnTo>
                  <a:lnTo>
                    <a:pt x="762" y="438"/>
                  </a:lnTo>
                  <a:lnTo>
                    <a:pt x="768" y="432"/>
                  </a:lnTo>
                  <a:lnTo>
                    <a:pt x="774" y="426"/>
                  </a:lnTo>
                  <a:lnTo>
                    <a:pt x="780" y="426"/>
                  </a:lnTo>
                  <a:lnTo>
                    <a:pt x="780" y="414"/>
                  </a:lnTo>
                  <a:lnTo>
                    <a:pt x="834" y="414"/>
                  </a:lnTo>
                  <a:lnTo>
                    <a:pt x="834" y="426"/>
                  </a:lnTo>
                  <a:lnTo>
                    <a:pt x="840" y="432"/>
                  </a:lnTo>
                  <a:lnTo>
                    <a:pt x="846" y="432"/>
                  </a:lnTo>
                  <a:lnTo>
                    <a:pt x="852" y="432"/>
                  </a:lnTo>
                  <a:lnTo>
                    <a:pt x="858" y="432"/>
                  </a:lnTo>
                  <a:lnTo>
                    <a:pt x="870" y="432"/>
                  </a:lnTo>
                  <a:lnTo>
                    <a:pt x="870" y="426"/>
                  </a:lnTo>
                  <a:lnTo>
                    <a:pt x="870" y="420"/>
                  </a:lnTo>
                  <a:lnTo>
                    <a:pt x="876" y="420"/>
                  </a:lnTo>
                  <a:lnTo>
                    <a:pt x="882" y="420"/>
                  </a:lnTo>
                  <a:lnTo>
                    <a:pt x="894" y="414"/>
                  </a:lnTo>
                  <a:lnTo>
                    <a:pt x="900" y="414"/>
                  </a:lnTo>
                  <a:lnTo>
                    <a:pt x="906" y="408"/>
                  </a:lnTo>
                  <a:lnTo>
                    <a:pt x="918" y="408"/>
                  </a:lnTo>
                  <a:lnTo>
                    <a:pt x="924" y="402"/>
                  </a:lnTo>
                  <a:lnTo>
                    <a:pt x="930" y="384"/>
                  </a:lnTo>
                  <a:lnTo>
                    <a:pt x="948" y="396"/>
                  </a:lnTo>
                  <a:lnTo>
                    <a:pt x="954" y="384"/>
                  </a:lnTo>
                  <a:lnTo>
                    <a:pt x="960" y="384"/>
                  </a:lnTo>
                  <a:lnTo>
                    <a:pt x="972" y="384"/>
                  </a:lnTo>
                  <a:lnTo>
                    <a:pt x="978" y="378"/>
                  </a:lnTo>
                  <a:lnTo>
                    <a:pt x="972" y="366"/>
                  </a:lnTo>
                  <a:lnTo>
                    <a:pt x="966" y="342"/>
                  </a:lnTo>
                  <a:lnTo>
                    <a:pt x="960" y="330"/>
                  </a:lnTo>
                  <a:lnTo>
                    <a:pt x="942" y="324"/>
                  </a:lnTo>
                  <a:lnTo>
                    <a:pt x="936" y="318"/>
                  </a:lnTo>
                  <a:lnTo>
                    <a:pt x="936" y="294"/>
                  </a:lnTo>
                  <a:lnTo>
                    <a:pt x="942" y="294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282"/>
                  </a:lnTo>
                  <a:lnTo>
                    <a:pt x="954" y="276"/>
                  </a:lnTo>
                  <a:lnTo>
                    <a:pt x="960" y="276"/>
                  </a:lnTo>
                  <a:lnTo>
                    <a:pt x="966" y="276"/>
                  </a:lnTo>
                  <a:lnTo>
                    <a:pt x="960" y="258"/>
                  </a:lnTo>
                  <a:lnTo>
                    <a:pt x="954" y="240"/>
                  </a:lnTo>
                  <a:lnTo>
                    <a:pt x="948" y="204"/>
                  </a:lnTo>
                  <a:lnTo>
                    <a:pt x="954" y="204"/>
                  </a:lnTo>
                  <a:lnTo>
                    <a:pt x="960" y="198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00" y="186"/>
                  </a:lnTo>
                  <a:lnTo>
                    <a:pt x="876" y="180"/>
                  </a:lnTo>
                  <a:lnTo>
                    <a:pt x="858" y="180"/>
                  </a:lnTo>
                  <a:lnTo>
                    <a:pt x="852" y="168"/>
                  </a:lnTo>
                  <a:lnTo>
                    <a:pt x="834" y="156"/>
                  </a:lnTo>
                  <a:lnTo>
                    <a:pt x="822" y="156"/>
                  </a:lnTo>
                  <a:lnTo>
                    <a:pt x="804" y="156"/>
                  </a:lnTo>
                  <a:lnTo>
                    <a:pt x="804" y="150"/>
                  </a:lnTo>
                  <a:lnTo>
                    <a:pt x="792" y="144"/>
                  </a:lnTo>
                  <a:lnTo>
                    <a:pt x="762" y="138"/>
                  </a:lnTo>
                  <a:lnTo>
                    <a:pt x="768" y="120"/>
                  </a:lnTo>
                  <a:lnTo>
                    <a:pt x="756" y="120"/>
                  </a:lnTo>
                  <a:lnTo>
                    <a:pt x="744" y="108"/>
                  </a:lnTo>
                  <a:lnTo>
                    <a:pt x="744" y="96"/>
                  </a:lnTo>
                  <a:lnTo>
                    <a:pt x="762" y="84"/>
                  </a:lnTo>
                  <a:lnTo>
                    <a:pt x="768" y="84"/>
                  </a:lnTo>
                  <a:lnTo>
                    <a:pt x="768" y="72"/>
                  </a:lnTo>
                  <a:lnTo>
                    <a:pt x="780" y="66"/>
                  </a:lnTo>
                  <a:lnTo>
                    <a:pt x="798" y="54"/>
                  </a:lnTo>
                  <a:lnTo>
                    <a:pt x="792" y="54"/>
                  </a:lnTo>
                  <a:lnTo>
                    <a:pt x="798" y="36"/>
                  </a:lnTo>
                  <a:lnTo>
                    <a:pt x="804" y="36"/>
                  </a:lnTo>
                  <a:lnTo>
                    <a:pt x="816" y="30"/>
                  </a:lnTo>
                  <a:lnTo>
                    <a:pt x="828" y="30"/>
                  </a:lnTo>
                  <a:lnTo>
                    <a:pt x="846" y="12"/>
                  </a:lnTo>
                  <a:lnTo>
                    <a:pt x="876" y="0"/>
                  </a:lnTo>
                  <a:lnTo>
                    <a:pt x="882" y="6"/>
                  </a:lnTo>
                  <a:lnTo>
                    <a:pt x="900" y="6"/>
                  </a:lnTo>
                  <a:lnTo>
                    <a:pt x="912" y="36"/>
                  </a:lnTo>
                  <a:lnTo>
                    <a:pt x="918" y="42"/>
                  </a:lnTo>
                  <a:lnTo>
                    <a:pt x="924" y="54"/>
                  </a:lnTo>
                  <a:lnTo>
                    <a:pt x="930" y="54"/>
                  </a:lnTo>
                  <a:lnTo>
                    <a:pt x="930" y="78"/>
                  </a:lnTo>
                  <a:lnTo>
                    <a:pt x="954" y="72"/>
                  </a:lnTo>
                  <a:lnTo>
                    <a:pt x="954" y="60"/>
                  </a:lnTo>
                  <a:lnTo>
                    <a:pt x="966" y="66"/>
                  </a:lnTo>
                  <a:lnTo>
                    <a:pt x="966" y="78"/>
                  </a:lnTo>
                  <a:lnTo>
                    <a:pt x="960" y="84"/>
                  </a:lnTo>
                  <a:lnTo>
                    <a:pt x="954" y="102"/>
                  </a:lnTo>
                  <a:lnTo>
                    <a:pt x="972" y="102"/>
                  </a:lnTo>
                  <a:lnTo>
                    <a:pt x="978" y="84"/>
                  </a:lnTo>
                  <a:lnTo>
                    <a:pt x="984" y="72"/>
                  </a:lnTo>
                  <a:lnTo>
                    <a:pt x="990" y="72"/>
                  </a:lnTo>
                  <a:lnTo>
                    <a:pt x="996" y="18"/>
                  </a:lnTo>
                  <a:lnTo>
                    <a:pt x="990" y="12"/>
                  </a:lnTo>
                  <a:lnTo>
                    <a:pt x="1014" y="12"/>
                  </a:lnTo>
                  <a:lnTo>
                    <a:pt x="1026" y="12"/>
                  </a:lnTo>
                  <a:lnTo>
                    <a:pt x="1026" y="24"/>
                  </a:lnTo>
                  <a:lnTo>
                    <a:pt x="1050" y="24"/>
                  </a:lnTo>
                  <a:lnTo>
                    <a:pt x="1050" y="36"/>
                  </a:lnTo>
                  <a:lnTo>
                    <a:pt x="1062" y="66"/>
                  </a:lnTo>
                  <a:lnTo>
                    <a:pt x="1074" y="66"/>
                  </a:lnTo>
                  <a:lnTo>
                    <a:pt x="1080" y="60"/>
                  </a:lnTo>
                  <a:lnTo>
                    <a:pt x="1074" y="24"/>
                  </a:lnTo>
                  <a:lnTo>
                    <a:pt x="1086" y="18"/>
                  </a:lnTo>
                  <a:lnTo>
                    <a:pt x="1086" y="12"/>
                  </a:lnTo>
                  <a:lnTo>
                    <a:pt x="1104" y="6"/>
                  </a:lnTo>
                  <a:lnTo>
                    <a:pt x="1122" y="0"/>
                  </a:lnTo>
                  <a:lnTo>
                    <a:pt x="1134" y="6"/>
                  </a:lnTo>
                  <a:lnTo>
                    <a:pt x="1134" y="42"/>
                  </a:lnTo>
                  <a:lnTo>
                    <a:pt x="1140" y="72"/>
                  </a:lnTo>
                  <a:lnTo>
                    <a:pt x="1158" y="114"/>
                  </a:lnTo>
                  <a:lnTo>
                    <a:pt x="1170" y="114"/>
                  </a:lnTo>
                  <a:lnTo>
                    <a:pt x="1170" y="126"/>
                  </a:lnTo>
                  <a:lnTo>
                    <a:pt x="1182" y="126"/>
                  </a:lnTo>
                  <a:lnTo>
                    <a:pt x="1182" y="138"/>
                  </a:lnTo>
                  <a:lnTo>
                    <a:pt x="1194" y="144"/>
                  </a:lnTo>
                  <a:lnTo>
                    <a:pt x="1194" y="156"/>
                  </a:lnTo>
                  <a:lnTo>
                    <a:pt x="1188" y="156"/>
                  </a:lnTo>
                  <a:lnTo>
                    <a:pt x="1194" y="162"/>
                  </a:lnTo>
                  <a:lnTo>
                    <a:pt x="1194" y="168"/>
                  </a:lnTo>
                  <a:lnTo>
                    <a:pt x="1188" y="168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82" y="180"/>
                  </a:lnTo>
                  <a:lnTo>
                    <a:pt x="1188" y="186"/>
                  </a:lnTo>
                  <a:lnTo>
                    <a:pt x="1188" y="192"/>
                  </a:lnTo>
                  <a:lnTo>
                    <a:pt x="1182" y="198"/>
                  </a:lnTo>
                  <a:lnTo>
                    <a:pt x="1182" y="204"/>
                  </a:lnTo>
                  <a:lnTo>
                    <a:pt x="1182" y="210"/>
                  </a:lnTo>
                  <a:lnTo>
                    <a:pt x="1188" y="210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2"/>
                  </a:lnTo>
                  <a:lnTo>
                    <a:pt x="1194" y="264"/>
                  </a:lnTo>
                  <a:lnTo>
                    <a:pt x="1200" y="264"/>
                  </a:lnTo>
                  <a:lnTo>
                    <a:pt x="1212" y="264"/>
                  </a:lnTo>
                  <a:lnTo>
                    <a:pt x="1212" y="258"/>
                  </a:lnTo>
                  <a:lnTo>
                    <a:pt x="1224" y="258"/>
                  </a:lnTo>
                  <a:lnTo>
                    <a:pt x="1248" y="252"/>
                  </a:lnTo>
                  <a:lnTo>
                    <a:pt x="1248" y="264"/>
                  </a:lnTo>
                  <a:lnTo>
                    <a:pt x="1254" y="264"/>
                  </a:lnTo>
                  <a:lnTo>
                    <a:pt x="1254" y="270"/>
                  </a:lnTo>
                  <a:lnTo>
                    <a:pt x="1260" y="270"/>
                  </a:lnTo>
                  <a:lnTo>
                    <a:pt x="1266" y="270"/>
                  </a:lnTo>
                  <a:lnTo>
                    <a:pt x="1272" y="270"/>
                  </a:lnTo>
                  <a:lnTo>
                    <a:pt x="1272" y="264"/>
                  </a:lnTo>
                  <a:lnTo>
                    <a:pt x="1272" y="258"/>
                  </a:lnTo>
                  <a:lnTo>
                    <a:pt x="1278" y="258"/>
                  </a:lnTo>
                  <a:lnTo>
                    <a:pt x="1278" y="252"/>
                  </a:lnTo>
                  <a:lnTo>
                    <a:pt x="1290" y="252"/>
                  </a:lnTo>
                  <a:lnTo>
                    <a:pt x="1296" y="246"/>
                  </a:lnTo>
                  <a:lnTo>
                    <a:pt x="1308" y="246"/>
                  </a:lnTo>
                  <a:lnTo>
                    <a:pt x="1308" y="240"/>
                  </a:lnTo>
                  <a:lnTo>
                    <a:pt x="1320" y="240"/>
                  </a:lnTo>
                  <a:lnTo>
                    <a:pt x="1326" y="246"/>
                  </a:lnTo>
                  <a:lnTo>
                    <a:pt x="1338" y="246"/>
                  </a:lnTo>
                  <a:lnTo>
                    <a:pt x="1338" y="240"/>
                  </a:lnTo>
                  <a:lnTo>
                    <a:pt x="1350" y="240"/>
                  </a:lnTo>
                  <a:lnTo>
                    <a:pt x="1386" y="234"/>
                  </a:lnTo>
                  <a:lnTo>
                    <a:pt x="1398" y="228"/>
                  </a:lnTo>
                  <a:lnTo>
                    <a:pt x="1404" y="216"/>
                  </a:lnTo>
                  <a:lnTo>
                    <a:pt x="1416" y="204"/>
                  </a:lnTo>
                  <a:lnTo>
                    <a:pt x="1434" y="192"/>
                  </a:lnTo>
                  <a:lnTo>
                    <a:pt x="1446" y="198"/>
                  </a:lnTo>
                  <a:lnTo>
                    <a:pt x="1446" y="204"/>
                  </a:lnTo>
                  <a:lnTo>
                    <a:pt x="1452" y="210"/>
                  </a:lnTo>
                  <a:lnTo>
                    <a:pt x="1464" y="222"/>
                  </a:lnTo>
                  <a:lnTo>
                    <a:pt x="1464" y="228"/>
                  </a:lnTo>
                  <a:lnTo>
                    <a:pt x="1464" y="234"/>
                  </a:lnTo>
                  <a:lnTo>
                    <a:pt x="1470" y="240"/>
                  </a:lnTo>
                  <a:lnTo>
                    <a:pt x="1476" y="228"/>
                  </a:lnTo>
                  <a:lnTo>
                    <a:pt x="1476" y="222"/>
                  </a:lnTo>
                  <a:lnTo>
                    <a:pt x="1482" y="210"/>
                  </a:lnTo>
                  <a:lnTo>
                    <a:pt x="1488" y="192"/>
                  </a:lnTo>
                  <a:lnTo>
                    <a:pt x="1488" y="186"/>
                  </a:lnTo>
                  <a:lnTo>
                    <a:pt x="1488" y="180"/>
                  </a:lnTo>
                  <a:lnTo>
                    <a:pt x="1500" y="180"/>
                  </a:lnTo>
                  <a:lnTo>
                    <a:pt x="1500" y="174"/>
                  </a:lnTo>
                  <a:lnTo>
                    <a:pt x="1518" y="162"/>
                  </a:lnTo>
                  <a:lnTo>
                    <a:pt x="1536" y="150"/>
                  </a:lnTo>
                  <a:lnTo>
                    <a:pt x="1554" y="168"/>
                  </a:lnTo>
                  <a:lnTo>
                    <a:pt x="1572" y="180"/>
                  </a:lnTo>
                  <a:lnTo>
                    <a:pt x="1596" y="216"/>
                  </a:lnTo>
                  <a:lnTo>
                    <a:pt x="1602" y="216"/>
                  </a:lnTo>
                  <a:lnTo>
                    <a:pt x="1614" y="228"/>
                  </a:lnTo>
                  <a:lnTo>
                    <a:pt x="1614" y="234"/>
                  </a:lnTo>
                  <a:lnTo>
                    <a:pt x="1620" y="240"/>
                  </a:lnTo>
                  <a:lnTo>
                    <a:pt x="1620" y="246"/>
                  </a:lnTo>
                  <a:lnTo>
                    <a:pt x="1626" y="252"/>
                  </a:lnTo>
                  <a:lnTo>
                    <a:pt x="1632" y="258"/>
                  </a:lnTo>
                  <a:lnTo>
                    <a:pt x="1632" y="264"/>
                  </a:lnTo>
                  <a:lnTo>
                    <a:pt x="1638" y="264"/>
                  </a:lnTo>
                  <a:lnTo>
                    <a:pt x="1638" y="270"/>
                  </a:lnTo>
                  <a:lnTo>
                    <a:pt x="1638" y="276"/>
                  </a:lnTo>
                  <a:lnTo>
                    <a:pt x="1638" y="282"/>
                  </a:lnTo>
                  <a:lnTo>
                    <a:pt x="1644" y="288"/>
                  </a:lnTo>
                  <a:lnTo>
                    <a:pt x="1644" y="294"/>
                  </a:lnTo>
                  <a:lnTo>
                    <a:pt x="1644" y="300"/>
                  </a:lnTo>
                  <a:lnTo>
                    <a:pt x="1644" y="306"/>
                  </a:lnTo>
                  <a:lnTo>
                    <a:pt x="1650" y="306"/>
                  </a:lnTo>
                  <a:lnTo>
                    <a:pt x="1650" y="312"/>
                  </a:lnTo>
                  <a:lnTo>
                    <a:pt x="1650" y="318"/>
                  </a:lnTo>
                  <a:lnTo>
                    <a:pt x="1650" y="324"/>
                  </a:lnTo>
                  <a:lnTo>
                    <a:pt x="1644" y="330"/>
                  </a:lnTo>
                  <a:lnTo>
                    <a:pt x="1626" y="330"/>
                  </a:lnTo>
                  <a:lnTo>
                    <a:pt x="1626" y="336"/>
                  </a:lnTo>
                  <a:lnTo>
                    <a:pt x="1626" y="342"/>
                  </a:lnTo>
                  <a:lnTo>
                    <a:pt x="1626" y="348"/>
                  </a:lnTo>
                  <a:lnTo>
                    <a:pt x="1620" y="354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14" y="390"/>
                  </a:lnTo>
                  <a:lnTo>
                    <a:pt x="1614" y="396"/>
                  </a:lnTo>
                  <a:lnTo>
                    <a:pt x="1614" y="402"/>
                  </a:lnTo>
                  <a:lnTo>
                    <a:pt x="1614" y="408"/>
                  </a:lnTo>
                  <a:lnTo>
                    <a:pt x="1614" y="414"/>
                  </a:lnTo>
                  <a:lnTo>
                    <a:pt x="1602" y="420"/>
                  </a:lnTo>
                  <a:lnTo>
                    <a:pt x="1602" y="426"/>
                  </a:lnTo>
                  <a:lnTo>
                    <a:pt x="1608" y="432"/>
                  </a:lnTo>
                  <a:lnTo>
                    <a:pt x="1614" y="426"/>
                  </a:lnTo>
                  <a:lnTo>
                    <a:pt x="1620" y="438"/>
                  </a:lnTo>
                  <a:lnTo>
                    <a:pt x="1626" y="438"/>
                  </a:lnTo>
                  <a:lnTo>
                    <a:pt x="1632" y="444"/>
                  </a:lnTo>
                  <a:lnTo>
                    <a:pt x="1626" y="456"/>
                  </a:lnTo>
                  <a:lnTo>
                    <a:pt x="1626" y="468"/>
                  </a:lnTo>
                  <a:lnTo>
                    <a:pt x="1620" y="474"/>
                  </a:lnTo>
                  <a:lnTo>
                    <a:pt x="1614" y="474"/>
                  </a:lnTo>
                  <a:lnTo>
                    <a:pt x="1614" y="486"/>
                  </a:lnTo>
                  <a:lnTo>
                    <a:pt x="1614" y="492"/>
                  </a:lnTo>
                  <a:lnTo>
                    <a:pt x="1620" y="492"/>
                  </a:lnTo>
                  <a:lnTo>
                    <a:pt x="1626" y="498"/>
                  </a:lnTo>
                  <a:lnTo>
                    <a:pt x="1626" y="504"/>
                  </a:lnTo>
                  <a:lnTo>
                    <a:pt x="1626" y="510"/>
                  </a:lnTo>
                  <a:lnTo>
                    <a:pt x="1620" y="516"/>
                  </a:lnTo>
                  <a:lnTo>
                    <a:pt x="1620" y="522"/>
                  </a:lnTo>
                  <a:lnTo>
                    <a:pt x="1614" y="522"/>
                  </a:lnTo>
                  <a:lnTo>
                    <a:pt x="1608" y="528"/>
                  </a:lnTo>
                  <a:lnTo>
                    <a:pt x="1602" y="522"/>
                  </a:lnTo>
                  <a:lnTo>
                    <a:pt x="1602" y="528"/>
                  </a:lnTo>
                  <a:lnTo>
                    <a:pt x="1602" y="540"/>
                  </a:lnTo>
                  <a:lnTo>
                    <a:pt x="1602" y="558"/>
                  </a:lnTo>
                  <a:lnTo>
                    <a:pt x="1602" y="564"/>
                  </a:lnTo>
                  <a:lnTo>
                    <a:pt x="1602" y="570"/>
                  </a:lnTo>
                  <a:lnTo>
                    <a:pt x="1602" y="576"/>
                  </a:lnTo>
                  <a:lnTo>
                    <a:pt x="1596" y="576"/>
                  </a:lnTo>
                  <a:lnTo>
                    <a:pt x="1632" y="582"/>
                  </a:lnTo>
                  <a:lnTo>
                    <a:pt x="1644" y="618"/>
                  </a:lnTo>
                  <a:lnTo>
                    <a:pt x="1650" y="648"/>
                  </a:lnTo>
                  <a:lnTo>
                    <a:pt x="1662" y="636"/>
                  </a:lnTo>
                  <a:lnTo>
                    <a:pt x="1668" y="636"/>
                  </a:lnTo>
                  <a:lnTo>
                    <a:pt x="1674" y="636"/>
                  </a:lnTo>
                  <a:lnTo>
                    <a:pt x="1680" y="630"/>
                  </a:lnTo>
                  <a:lnTo>
                    <a:pt x="1686" y="630"/>
                  </a:lnTo>
                  <a:lnTo>
                    <a:pt x="1692" y="630"/>
                  </a:lnTo>
                  <a:lnTo>
                    <a:pt x="1698" y="630"/>
                  </a:lnTo>
                  <a:lnTo>
                    <a:pt x="1704" y="630"/>
                  </a:lnTo>
                  <a:lnTo>
                    <a:pt x="1704" y="624"/>
                  </a:lnTo>
                  <a:lnTo>
                    <a:pt x="1710" y="624"/>
                  </a:lnTo>
                  <a:lnTo>
                    <a:pt x="1716" y="624"/>
                  </a:lnTo>
                  <a:lnTo>
                    <a:pt x="1722" y="624"/>
                  </a:lnTo>
                  <a:lnTo>
                    <a:pt x="1728" y="624"/>
                  </a:lnTo>
                  <a:lnTo>
                    <a:pt x="1722" y="618"/>
                  </a:lnTo>
                  <a:lnTo>
                    <a:pt x="1728" y="606"/>
                  </a:lnTo>
                  <a:lnTo>
                    <a:pt x="1734" y="606"/>
                  </a:lnTo>
                  <a:lnTo>
                    <a:pt x="1740" y="600"/>
                  </a:lnTo>
                  <a:lnTo>
                    <a:pt x="1746" y="594"/>
                  </a:lnTo>
                  <a:lnTo>
                    <a:pt x="1752" y="588"/>
                  </a:lnTo>
                  <a:lnTo>
                    <a:pt x="1752" y="582"/>
                  </a:lnTo>
                  <a:lnTo>
                    <a:pt x="1758" y="576"/>
                  </a:lnTo>
                  <a:lnTo>
                    <a:pt x="1764" y="576"/>
                  </a:lnTo>
                  <a:lnTo>
                    <a:pt x="1770" y="570"/>
                  </a:lnTo>
                  <a:lnTo>
                    <a:pt x="1776" y="564"/>
                  </a:lnTo>
                  <a:lnTo>
                    <a:pt x="1788" y="558"/>
                  </a:lnTo>
                  <a:lnTo>
                    <a:pt x="1788" y="546"/>
                  </a:lnTo>
                  <a:lnTo>
                    <a:pt x="1788" y="540"/>
                  </a:lnTo>
                  <a:lnTo>
                    <a:pt x="1794" y="540"/>
                  </a:lnTo>
                  <a:lnTo>
                    <a:pt x="1788" y="534"/>
                  </a:lnTo>
                  <a:lnTo>
                    <a:pt x="1788" y="528"/>
                  </a:lnTo>
                  <a:lnTo>
                    <a:pt x="1794" y="516"/>
                  </a:lnTo>
                  <a:lnTo>
                    <a:pt x="1800" y="510"/>
                  </a:lnTo>
                  <a:lnTo>
                    <a:pt x="1812" y="510"/>
                  </a:lnTo>
                  <a:lnTo>
                    <a:pt x="1818" y="504"/>
                  </a:lnTo>
                  <a:lnTo>
                    <a:pt x="1824" y="504"/>
                  </a:lnTo>
                  <a:lnTo>
                    <a:pt x="1830" y="498"/>
                  </a:lnTo>
                  <a:lnTo>
                    <a:pt x="1836" y="498"/>
                  </a:lnTo>
                  <a:lnTo>
                    <a:pt x="1848" y="492"/>
                  </a:lnTo>
                  <a:lnTo>
                    <a:pt x="1848" y="480"/>
                  </a:lnTo>
                  <a:lnTo>
                    <a:pt x="1854" y="480"/>
                  </a:lnTo>
                  <a:lnTo>
                    <a:pt x="1890" y="504"/>
                  </a:lnTo>
                  <a:lnTo>
                    <a:pt x="1908" y="534"/>
                  </a:lnTo>
                  <a:lnTo>
                    <a:pt x="1902" y="534"/>
                  </a:lnTo>
                  <a:lnTo>
                    <a:pt x="1920" y="528"/>
                  </a:lnTo>
                  <a:lnTo>
                    <a:pt x="1920" y="516"/>
                  </a:lnTo>
                  <a:lnTo>
                    <a:pt x="1944" y="516"/>
                  </a:lnTo>
                  <a:lnTo>
                    <a:pt x="2004" y="516"/>
                  </a:lnTo>
                  <a:lnTo>
                    <a:pt x="2010" y="510"/>
                  </a:lnTo>
                  <a:lnTo>
                    <a:pt x="2004" y="510"/>
                  </a:lnTo>
                  <a:lnTo>
                    <a:pt x="2010" y="498"/>
                  </a:lnTo>
                  <a:lnTo>
                    <a:pt x="2004" y="486"/>
                  </a:lnTo>
                  <a:lnTo>
                    <a:pt x="2004" y="480"/>
                  </a:lnTo>
                  <a:lnTo>
                    <a:pt x="2004" y="474"/>
                  </a:lnTo>
                  <a:lnTo>
                    <a:pt x="2004" y="462"/>
                  </a:lnTo>
                  <a:lnTo>
                    <a:pt x="2004" y="456"/>
                  </a:lnTo>
                  <a:lnTo>
                    <a:pt x="2058" y="462"/>
                  </a:lnTo>
                  <a:lnTo>
                    <a:pt x="2076" y="474"/>
                  </a:lnTo>
                  <a:lnTo>
                    <a:pt x="2082" y="522"/>
                  </a:lnTo>
                  <a:lnTo>
                    <a:pt x="2088" y="516"/>
                  </a:lnTo>
                  <a:lnTo>
                    <a:pt x="2094" y="522"/>
                  </a:lnTo>
                  <a:lnTo>
                    <a:pt x="2100" y="528"/>
                  </a:lnTo>
                  <a:lnTo>
                    <a:pt x="2130" y="540"/>
                  </a:lnTo>
                  <a:lnTo>
                    <a:pt x="2160" y="564"/>
                  </a:lnTo>
                  <a:lnTo>
                    <a:pt x="2166" y="600"/>
                  </a:lnTo>
                  <a:lnTo>
                    <a:pt x="2160" y="618"/>
                  </a:lnTo>
                  <a:lnTo>
                    <a:pt x="2142" y="636"/>
                  </a:lnTo>
                  <a:lnTo>
                    <a:pt x="2148" y="648"/>
                  </a:lnTo>
                  <a:lnTo>
                    <a:pt x="2154" y="660"/>
                  </a:lnTo>
                  <a:lnTo>
                    <a:pt x="2196" y="654"/>
                  </a:lnTo>
                  <a:lnTo>
                    <a:pt x="2214" y="660"/>
                  </a:lnTo>
                  <a:lnTo>
                    <a:pt x="2214" y="666"/>
                  </a:lnTo>
                  <a:lnTo>
                    <a:pt x="2220" y="672"/>
                  </a:lnTo>
                  <a:lnTo>
                    <a:pt x="2214" y="678"/>
                  </a:lnTo>
                  <a:lnTo>
                    <a:pt x="2214" y="684"/>
                  </a:lnTo>
                  <a:lnTo>
                    <a:pt x="2214" y="690"/>
                  </a:lnTo>
                  <a:lnTo>
                    <a:pt x="2208" y="690"/>
                  </a:lnTo>
                  <a:lnTo>
                    <a:pt x="2202" y="696"/>
                  </a:lnTo>
                  <a:lnTo>
                    <a:pt x="2196" y="702"/>
                  </a:lnTo>
                  <a:lnTo>
                    <a:pt x="2190" y="708"/>
                  </a:lnTo>
                  <a:lnTo>
                    <a:pt x="2190" y="720"/>
                  </a:lnTo>
                  <a:lnTo>
                    <a:pt x="2184" y="720"/>
                  </a:lnTo>
                  <a:lnTo>
                    <a:pt x="2178" y="726"/>
                  </a:lnTo>
                  <a:lnTo>
                    <a:pt x="2166" y="732"/>
                  </a:lnTo>
                  <a:lnTo>
                    <a:pt x="2160" y="744"/>
                  </a:lnTo>
                  <a:lnTo>
                    <a:pt x="2154" y="756"/>
                  </a:lnTo>
                  <a:lnTo>
                    <a:pt x="2148" y="762"/>
                  </a:lnTo>
                  <a:lnTo>
                    <a:pt x="2124" y="762"/>
                  </a:lnTo>
                  <a:lnTo>
                    <a:pt x="2124" y="768"/>
                  </a:lnTo>
                  <a:lnTo>
                    <a:pt x="2118" y="768"/>
                  </a:lnTo>
                  <a:lnTo>
                    <a:pt x="2124" y="774"/>
                  </a:lnTo>
                  <a:lnTo>
                    <a:pt x="2118" y="774"/>
                  </a:lnTo>
                  <a:lnTo>
                    <a:pt x="2112" y="774"/>
                  </a:lnTo>
                  <a:lnTo>
                    <a:pt x="2106" y="780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06" y="798"/>
                  </a:lnTo>
                  <a:lnTo>
                    <a:pt x="2106" y="810"/>
                  </a:lnTo>
                  <a:lnTo>
                    <a:pt x="2112" y="828"/>
                  </a:lnTo>
                  <a:lnTo>
                    <a:pt x="2112" y="834"/>
                  </a:lnTo>
                  <a:lnTo>
                    <a:pt x="2112" y="840"/>
                  </a:lnTo>
                  <a:lnTo>
                    <a:pt x="2112" y="834"/>
                  </a:lnTo>
                  <a:lnTo>
                    <a:pt x="2124" y="834"/>
                  </a:lnTo>
                  <a:lnTo>
                    <a:pt x="2130" y="834"/>
                  </a:lnTo>
                  <a:lnTo>
                    <a:pt x="2136" y="840"/>
                  </a:lnTo>
                  <a:lnTo>
                    <a:pt x="2142" y="840"/>
                  </a:lnTo>
                  <a:lnTo>
                    <a:pt x="2154" y="852"/>
                  </a:lnTo>
                  <a:lnTo>
                    <a:pt x="2160" y="852"/>
                  </a:lnTo>
                  <a:lnTo>
                    <a:pt x="2172" y="846"/>
                  </a:lnTo>
                  <a:lnTo>
                    <a:pt x="2178" y="846"/>
                  </a:lnTo>
                  <a:lnTo>
                    <a:pt x="2184" y="846"/>
                  </a:lnTo>
                  <a:lnTo>
                    <a:pt x="2190" y="846"/>
                  </a:lnTo>
                  <a:lnTo>
                    <a:pt x="2196" y="852"/>
                  </a:lnTo>
                  <a:lnTo>
                    <a:pt x="2196" y="858"/>
                  </a:lnTo>
                  <a:lnTo>
                    <a:pt x="2202" y="852"/>
                  </a:lnTo>
                  <a:lnTo>
                    <a:pt x="2208" y="846"/>
                  </a:lnTo>
                  <a:lnTo>
                    <a:pt x="2214" y="846"/>
                  </a:lnTo>
                  <a:lnTo>
                    <a:pt x="2226" y="846"/>
                  </a:lnTo>
                  <a:lnTo>
                    <a:pt x="2232" y="852"/>
                  </a:lnTo>
                  <a:lnTo>
                    <a:pt x="2238" y="852"/>
                  </a:lnTo>
                  <a:lnTo>
                    <a:pt x="2244" y="858"/>
                  </a:lnTo>
                  <a:lnTo>
                    <a:pt x="2250" y="858"/>
                  </a:lnTo>
                  <a:lnTo>
                    <a:pt x="2256" y="858"/>
                  </a:lnTo>
                  <a:lnTo>
                    <a:pt x="2262" y="858"/>
                  </a:lnTo>
                  <a:lnTo>
                    <a:pt x="2268" y="852"/>
                  </a:lnTo>
                  <a:lnTo>
                    <a:pt x="2274" y="852"/>
                  </a:lnTo>
                  <a:lnTo>
                    <a:pt x="2280" y="852"/>
                  </a:lnTo>
                  <a:lnTo>
                    <a:pt x="2286" y="852"/>
                  </a:lnTo>
                  <a:lnTo>
                    <a:pt x="2298" y="858"/>
                  </a:lnTo>
                  <a:lnTo>
                    <a:pt x="2304" y="858"/>
                  </a:lnTo>
                  <a:lnTo>
                    <a:pt x="2310" y="858"/>
                  </a:lnTo>
                  <a:lnTo>
                    <a:pt x="2316" y="852"/>
                  </a:lnTo>
                  <a:lnTo>
                    <a:pt x="2322" y="858"/>
                  </a:lnTo>
                  <a:lnTo>
                    <a:pt x="2328" y="858"/>
                  </a:lnTo>
                  <a:lnTo>
                    <a:pt x="2328" y="852"/>
                  </a:lnTo>
                  <a:lnTo>
                    <a:pt x="2364" y="858"/>
                  </a:lnTo>
                  <a:lnTo>
                    <a:pt x="2376" y="876"/>
                  </a:lnTo>
                  <a:lnTo>
                    <a:pt x="2382" y="936"/>
                  </a:lnTo>
                  <a:lnTo>
                    <a:pt x="2388" y="966"/>
                  </a:lnTo>
                  <a:lnTo>
                    <a:pt x="2382" y="972"/>
                  </a:lnTo>
                  <a:lnTo>
                    <a:pt x="2382" y="978"/>
                  </a:lnTo>
                  <a:lnTo>
                    <a:pt x="2382" y="984"/>
                  </a:lnTo>
                  <a:lnTo>
                    <a:pt x="2388" y="990"/>
                  </a:lnTo>
                  <a:lnTo>
                    <a:pt x="2382" y="990"/>
                  </a:lnTo>
                  <a:lnTo>
                    <a:pt x="2382" y="996"/>
                  </a:lnTo>
                  <a:lnTo>
                    <a:pt x="2376" y="996"/>
                  </a:lnTo>
                  <a:lnTo>
                    <a:pt x="2376" y="1020"/>
                  </a:lnTo>
                  <a:lnTo>
                    <a:pt x="2370" y="1032"/>
                  </a:lnTo>
                  <a:lnTo>
                    <a:pt x="2352" y="1032"/>
                  </a:lnTo>
                  <a:lnTo>
                    <a:pt x="2346" y="1020"/>
                  </a:lnTo>
                  <a:lnTo>
                    <a:pt x="2328" y="1032"/>
                  </a:lnTo>
                  <a:lnTo>
                    <a:pt x="2316" y="1038"/>
                  </a:lnTo>
                  <a:lnTo>
                    <a:pt x="2328" y="1044"/>
                  </a:lnTo>
                  <a:lnTo>
                    <a:pt x="2340" y="1056"/>
                  </a:lnTo>
                  <a:lnTo>
                    <a:pt x="2376" y="1062"/>
                  </a:lnTo>
                  <a:lnTo>
                    <a:pt x="2376" y="1068"/>
                  </a:lnTo>
                  <a:lnTo>
                    <a:pt x="2382" y="1086"/>
                  </a:lnTo>
                  <a:lnTo>
                    <a:pt x="2376" y="1086"/>
                  </a:lnTo>
                  <a:lnTo>
                    <a:pt x="2370" y="1086"/>
                  </a:lnTo>
                  <a:lnTo>
                    <a:pt x="2364" y="1086"/>
                  </a:lnTo>
                  <a:lnTo>
                    <a:pt x="2364" y="1098"/>
                  </a:lnTo>
                  <a:lnTo>
                    <a:pt x="2388" y="1104"/>
                  </a:lnTo>
                  <a:lnTo>
                    <a:pt x="2400" y="1122"/>
                  </a:lnTo>
                  <a:lnTo>
                    <a:pt x="2400" y="1134"/>
                  </a:lnTo>
                  <a:lnTo>
                    <a:pt x="2400" y="1146"/>
                  </a:lnTo>
                  <a:lnTo>
                    <a:pt x="2394" y="1146"/>
                  </a:lnTo>
                  <a:lnTo>
                    <a:pt x="2394" y="1152"/>
                  </a:lnTo>
                  <a:lnTo>
                    <a:pt x="2388" y="1152"/>
                  </a:lnTo>
                  <a:lnTo>
                    <a:pt x="2388" y="1146"/>
                  </a:lnTo>
                  <a:lnTo>
                    <a:pt x="2382" y="1152"/>
                  </a:lnTo>
                  <a:lnTo>
                    <a:pt x="2376" y="1152"/>
                  </a:lnTo>
                  <a:lnTo>
                    <a:pt x="2370" y="1158"/>
                  </a:lnTo>
                  <a:lnTo>
                    <a:pt x="2370" y="1164"/>
                  </a:lnTo>
                  <a:lnTo>
                    <a:pt x="2364" y="1170"/>
                  </a:lnTo>
                  <a:lnTo>
                    <a:pt x="2370" y="1170"/>
                  </a:lnTo>
                  <a:lnTo>
                    <a:pt x="2376" y="1170"/>
                  </a:lnTo>
                  <a:lnTo>
                    <a:pt x="2370" y="1176"/>
                  </a:lnTo>
                  <a:lnTo>
                    <a:pt x="2364" y="1176"/>
                  </a:lnTo>
                  <a:lnTo>
                    <a:pt x="2358" y="1182"/>
                  </a:lnTo>
                  <a:lnTo>
                    <a:pt x="2352" y="1182"/>
                  </a:lnTo>
                  <a:lnTo>
                    <a:pt x="2346" y="1188"/>
                  </a:lnTo>
                  <a:lnTo>
                    <a:pt x="2340" y="1182"/>
                  </a:lnTo>
                  <a:lnTo>
                    <a:pt x="2334" y="1182"/>
                  </a:lnTo>
                  <a:lnTo>
                    <a:pt x="2334" y="1188"/>
                  </a:lnTo>
                  <a:lnTo>
                    <a:pt x="2328" y="1194"/>
                  </a:lnTo>
                  <a:lnTo>
                    <a:pt x="2328" y="1200"/>
                  </a:lnTo>
                  <a:lnTo>
                    <a:pt x="2322" y="1224"/>
                  </a:lnTo>
                  <a:lnTo>
                    <a:pt x="2328" y="1230"/>
                  </a:lnTo>
                  <a:lnTo>
                    <a:pt x="2358" y="1230"/>
                  </a:lnTo>
                  <a:lnTo>
                    <a:pt x="2358" y="1242"/>
                  </a:lnTo>
                  <a:lnTo>
                    <a:pt x="2358" y="1254"/>
                  </a:lnTo>
                  <a:lnTo>
                    <a:pt x="2346" y="1254"/>
                  </a:lnTo>
                  <a:lnTo>
                    <a:pt x="2346" y="1278"/>
                  </a:lnTo>
                  <a:lnTo>
                    <a:pt x="2358" y="1278"/>
                  </a:lnTo>
                  <a:lnTo>
                    <a:pt x="2358" y="1284"/>
                  </a:lnTo>
                  <a:lnTo>
                    <a:pt x="2376" y="1284"/>
                  </a:lnTo>
                  <a:lnTo>
                    <a:pt x="2388" y="1278"/>
                  </a:lnTo>
                  <a:lnTo>
                    <a:pt x="2406" y="1278"/>
                  </a:lnTo>
                  <a:lnTo>
                    <a:pt x="2430" y="1284"/>
                  </a:lnTo>
                  <a:lnTo>
                    <a:pt x="2430" y="1302"/>
                  </a:lnTo>
                  <a:lnTo>
                    <a:pt x="2430" y="1314"/>
                  </a:lnTo>
                  <a:lnTo>
                    <a:pt x="2424" y="1326"/>
                  </a:lnTo>
                  <a:lnTo>
                    <a:pt x="2412" y="1326"/>
                  </a:lnTo>
                  <a:lnTo>
                    <a:pt x="2412" y="1344"/>
                  </a:lnTo>
                  <a:lnTo>
                    <a:pt x="2406" y="1344"/>
                  </a:lnTo>
                  <a:lnTo>
                    <a:pt x="2400" y="1362"/>
                  </a:lnTo>
                  <a:lnTo>
                    <a:pt x="2394" y="1368"/>
                  </a:lnTo>
                  <a:lnTo>
                    <a:pt x="2388" y="1374"/>
                  </a:lnTo>
                  <a:lnTo>
                    <a:pt x="2382" y="1380"/>
                  </a:lnTo>
                  <a:lnTo>
                    <a:pt x="2376" y="1386"/>
                  </a:lnTo>
                  <a:lnTo>
                    <a:pt x="2376" y="1392"/>
                  </a:lnTo>
                  <a:lnTo>
                    <a:pt x="2370" y="1404"/>
                  </a:lnTo>
                  <a:lnTo>
                    <a:pt x="2364" y="1416"/>
                  </a:lnTo>
                  <a:lnTo>
                    <a:pt x="2346" y="1434"/>
                  </a:lnTo>
                  <a:lnTo>
                    <a:pt x="2328" y="1440"/>
                  </a:lnTo>
                  <a:lnTo>
                    <a:pt x="2328" y="1446"/>
                  </a:lnTo>
                  <a:lnTo>
                    <a:pt x="2322" y="1452"/>
                  </a:lnTo>
                  <a:lnTo>
                    <a:pt x="2316" y="1452"/>
                  </a:lnTo>
                  <a:lnTo>
                    <a:pt x="2304" y="1446"/>
                  </a:lnTo>
                  <a:lnTo>
                    <a:pt x="2298" y="1446"/>
                  </a:lnTo>
                  <a:lnTo>
                    <a:pt x="2298" y="1434"/>
                  </a:lnTo>
                  <a:lnTo>
                    <a:pt x="2292" y="1434"/>
                  </a:lnTo>
                  <a:lnTo>
                    <a:pt x="2286" y="1428"/>
                  </a:lnTo>
                  <a:lnTo>
                    <a:pt x="2274" y="1416"/>
                  </a:lnTo>
                  <a:lnTo>
                    <a:pt x="2256" y="1404"/>
                  </a:lnTo>
                  <a:lnTo>
                    <a:pt x="2244" y="1386"/>
                  </a:lnTo>
                  <a:lnTo>
                    <a:pt x="2220" y="1368"/>
                  </a:lnTo>
                  <a:lnTo>
                    <a:pt x="2208" y="1362"/>
                  </a:lnTo>
                  <a:lnTo>
                    <a:pt x="2202" y="1350"/>
                  </a:lnTo>
                  <a:lnTo>
                    <a:pt x="2196" y="1350"/>
                  </a:lnTo>
                  <a:lnTo>
                    <a:pt x="2190" y="1356"/>
                  </a:lnTo>
                  <a:lnTo>
                    <a:pt x="2184" y="1356"/>
                  </a:lnTo>
                  <a:lnTo>
                    <a:pt x="2094" y="1350"/>
                  </a:lnTo>
                  <a:lnTo>
                    <a:pt x="2058" y="1350"/>
                  </a:lnTo>
                  <a:lnTo>
                    <a:pt x="2034" y="1890"/>
                  </a:lnTo>
                  <a:lnTo>
                    <a:pt x="2064" y="1890"/>
                  </a:lnTo>
                  <a:lnTo>
                    <a:pt x="2070" y="1896"/>
                  </a:lnTo>
                  <a:lnTo>
                    <a:pt x="2076" y="18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8" name="Freeform 33">
              <a:extLst>
                <a:ext uri="{FF2B5EF4-FFF2-40B4-BE49-F238E27FC236}">
                  <a16:creationId xmlns:a16="http://schemas.microsoft.com/office/drawing/2014/main" id="{0E96F118-1F4D-4E52-AF27-149259451CD6}"/>
                </a:ext>
              </a:extLst>
            </p:cNvPr>
            <p:cNvSpPr>
              <a:spLocks/>
            </p:cNvSpPr>
            <p:nvPr/>
          </p:nvSpPr>
          <p:spPr bwMode="gray">
            <a:xfrm>
              <a:off x="1266662" y="1459989"/>
              <a:ext cx="903421" cy="778302"/>
            </a:xfrm>
            <a:custGeom>
              <a:avLst/>
              <a:gdLst>
                <a:gd name="T0" fmla="*/ 143 w 1698"/>
                <a:gd name="T1" fmla="*/ 43 h 1464"/>
                <a:gd name="T2" fmla="*/ 131 w 1698"/>
                <a:gd name="T3" fmla="*/ 44 h 1464"/>
                <a:gd name="T4" fmla="*/ 126 w 1698"/>
                <a:gd name="T5" fmla="*/ 41 h 1464"/>
                <a:gd name="T6" fmla="*/ 119 w 1698"/>
                <a:gd name="T7" fmla="*/ 45 h 1464"/>
                <a:gd name="T8" fmla="*/ 111 w 1698"/>
                <a:gd name="T9" fmla="*/ 46 h 1464"/>
                <a:gd name="T10" fmla="*/ 107 w 1698"/>
                <a:gd name="T11" fmla="*/ 50 h 1464"/>
                <a:gd name="T12" fmla="*/ 107 w 1698"/>
                <a:gd name="T13" fmla="*/ 60 h 1464"/>
                <a:gd name="T14" fmla="*/ 104 w 1698"/>
                <a:gd name="T15" fmla="*/ 62 h 1464"/>
                <a:gd name="T16" fmla="*/ 97 w 1698"/>
                <a:gd name="T17" fmla="*/ 59 h 1464"/>
                <a:gd name="T18" fmla="*/ 92 w 1698"/>
                <a:gd name="T19" fmla="*/ 59 h 1464"/>
                <a:gd name="T20" fmla="*/ 90 w 1698"/>
                <a:gd name="T21" fmla="*/ 62 h 1464"/>
                <a:gd name="T22" fmla="*/ 93 w 1698"/>
                <a:gd name="T23" fmla="*/ 77 h 1464"/>
                <a:gd name="T24" fmla="*/ 85 w 1698"/>
                <a:gd name="T25" fmla="*/ 88 h 1464"/>
                <a:gd name="T26" fmla="*/ 70 w 1698"/>
                <a:gd name="T27" fmla="*/ 89 h 1464"/>
                <a:gd name="T28" fmla="*/ 65 w 1698"/>
                <a:gd name="T29" fmla="*/ 88 h 1464"/>
                <a:gd name="T30" fmla="*/ 50 w 1698"/>
                <a:gd name="T31" fmla="*/ 88 h 1464"/>
                <a:gd name="T32" fmla="*/ 48 w 1698"/>
                <a:gd name="T33" fmla="*/ 107 h 1464"/>
                <a:gd name="T34" fmla="*/ 47 w 1698"/>
                <a:gd name="T35" fmla="*/ 120 h 1464"/>
                <a:gd name="T36" fmla="*/ 43 w 1698"/>
                <a:gd name="T37" fmla="*/ 121 h 1464"/>
                <a:gd name="T38" fmla="*/ 40 w 1698"/>
                <a:gd name="T39" fmla="*/ 120 h 1464"/>
                <a:gd name="T40" fmla="*/ 35 w 1698"/>
                <a:gd name="T41" fmla="*/ 122 h 1464"/>
                <a:gd name="T42" fmla="*/ 29 w 1698"/>
                <a:gd name="T43" fmla="*/ 123 h 1464"/>
                <a:gd name="T44" fmla="*/ 24 w 1698"/>
                <a:gd name="T45" fmla="*/ 125 h 1464"/>
                <a:gd name="T46" fmla="*/ 20 w 1698"/>
                <a:gd name="T47" fmla="*/ 125 h 1464"/>
                <a:gd name="T48" fmla="*/ 18 w 1698"/>
                <a:gd name="T49" fmla="*/ 122 h 1464"/>
                <a:gd name="T50" fmla="*/ 26 w 1698"/>
                <a:gd name="T51" fmla="*/ 108 h 1464"/>
                <a:gd name="T52" fmla="*/ 24 w 1698"/>
                <a:gd name="T53" fmla="*/ 89 h 1464"/>
                <a:gd name="T54" fmla="*/ 28 w 1698"/>
                <a:gd name="T55" fmla="*/ 85 h 1464"/>
                <a:gd name="T56" fmla="*/ 32 w 1698"/>
                <a:gd name="T57" fmla="*/ 80 h 1464"/>
                <a:gd name="T58" fmla="*/ 36 w 1698"/>
                <a:gd name="T59" fmla="*/ 86 h 1464"/>
                <a:gd name="T60" fmla="*/ 39 w 1698"/>
                <a:gd name="T61" fmla="*/ 80 h 1464"/>
                <a:gd name="T62" fmla="*/ 41 w 1698"/>
                <a:gd name="T63" fmla="*/ 73 h 1464"/>
                <a:gd name="T64" fmla="*/ 38 w 1698"/>
                <a:gd name="T65" fmla="*/ 64 h 1464"/>
                <a:gd name="T66" fmla="*/ 39 w 1698"/>
                <a:gd name="T67" fmla="*/ 59 h 1464"/>
                <a:gd name="T68" fmla="*/ 32 w 1698"/>
                <a:gd name="T69" fmla="*/ 54 h 1464"/>
                <a:gd name="T70" fmla="*/ 32 w 1698"/>
                <a:gd name="T71" fmla="*/ 45 h 1464"/>
                <a:gd name="T72" fmla="*/ 31 w 1698"/>
                <a:gd name="T73" fmla="*/ 41 h 1464"/>
                <a:gd name="T74" fmla="*/ 24 w 1698"/>
                <a:gd name="T75" fmla="*/ 43 h 1464"/>
                <a:gd name="T76" fmla="*/ 17 w 1698"/>
                <a:gd name="T77" fmla="*/ 40 h 1464"/>
                <a:gd name="T78" fmla="*/ 11 w 1698"/>
                <a:gd name="T79" fmla="*/ 38 h 1464"/>
                <a:gd name="T80" fmla="*/ 2 w 1698"/>
                <a:gd name="T81" fmla="*/ 36 h 1464"/>
                <a:gd name="T82" fmla="*/ 0 w 1698"/>
                <a:gd name="T83" fmla="*/ 24 h 1464"/>
                <a:gd name="T84" fmla="*/ 11 w 1698"/>
                <a:gd name="T85" fmla="*/ 18 h 1464"/>
                <a:gd name="T86" fmla="*/ 19 w 1698"/>
                <a:gd name="T87" fmla="*/ 10 h 1464"/>
                <a:gd name="T88" fmla="*/ 28 w 1698"/>
                <a:gd name="T89" fmla="*/ 9 h 1464"/>
                <a:gd name="T90" fmla="*/ 40 w 1698"/>
                <a:gd name="T91" fmla="*/ 6 h 1464"/>
                <a:gd name="T92" fmla="*/ 49 w 1698"/>
                <a:gd name="T93" fmla="*/ 8 h 1464"/>
                <a:gd name="T94" fmla="*/ 56 w 1698"/>
                <a:gd name="T95" fmla="*/ 8 h 1464"/>
                <a:gd name="T96" fmla="*/ 64 w 1698"/>
                <a:gd name="T97" fmla="*/ 7 h 1464"/>
                <a:gd name="T98" fmla="*/ 74 w 1698"/>
                <a:gd name="T99" fmla="*/ 1 h 1464"/>
                <a:gd name="T100" fmla="*/ 83 w 1698"/>
                <a:gd name="T101" fmla="*/ 3 h 1464"/>
                <a:gd name="T102" fmla="*/ 99 w 1698"/>
                <a:gd name="T103" fmla="*/ 9 h 1464"/>
                <a:gd name="T104" fmla="*/ 112 w 1698"/>
                <a:gd name="T105" fmla="*/ 14 h 1464"/>
                <a:gd name="T106" fmla="*/ 119 w 1698"/>
                <a:gd name="T107" fmla="*/ 12 h 1464"/>
                <a:gd name="T108" fmla="*/ 128 w 1698"/>
                <a:gd name="T109" fmla="*/ 17 h 1464"/>
                <a:gd name="T110" fmla="*/ 141 w 1698"/>
                <a:gd name="T111" fmla="*/ 29 h 1464"/>
                <a:gd name="T112" fmla="*/ 145 w 1698"/>
                <a:gd name="T113" fmla="*/ 35 h 14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98"/>
                <a:gd name="T172" fmla="*/ 0 h 1464"/>
                <a:gd name="T173" fmla="*/ 1698 w 1698"/>
                <a:gd name="T174" fmla="*/ 1464 h 14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98" h="1464">
                  <a:moveTo>
                    <a:pt x="1698" y="462"/>
                  </a:moveTo>
                  <a:lnTo>
                    <a:pt x="1686" y="468"/>
                  </a:lnTo>
                  <a:lnTo>
                    <a:pt x="1680" y="474"/>
                  </a:lnTo>
                  <a:lnTo>
                    <a:pt x="1674" y="480"/>
                  </a:lnTo>
                  <a:lnTo>
                    <a:pt x="1668" y="480"/>
                  </a:lnTo>
                  <a:lnTo>
                    <a:pt x="1662" y="486"/>
                  </a:lnTo>
                  <a:lnTo>
                    <a:pt x="1656" y="492"/>
                  </a:lnTo>
                  <a:lnTo>
                    <a:pt x="1644" y="498"/>
                  </a:lnTo>
                  <a:lnTo>
                    <a:pt x="1626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0" y="516"/>
                  </a:lnTo>
                  <a:lnTo>
                    <a:pt x="1590" y="522"/>
                  </a:lnTo>
                  <a:lnTo>
                    <a:pt x="1566" y="522"/>
                  </a:lnTo>
                  <a:lnTo>
                    <a:pt x="1506" y="510"/>
                  </a:lnTo>
                  <a:lnTo>
                    <a:pt x="1500" y="510"/>
                  </a:lnTo>
                  <a:lnTo>
                    <a:pt x="1488" y="504"/>
                  </a:lnTo>
                  <a:lnTo>
                    <a:pt x="1482" y="498"/>
                  </a:lnTo>
                  <a:lnTo>
                    <a:pt x="1476" y="498"/>
                  </a:lnTo>
                  <a:lnTo>
                    <a:pt x="1476" y="492"/>
                  </a:lnTo>
                  <a:lnTo>
                    <a:pt x="1470" y="492"/>
                  </a:lnTo>
                  <a:lnTo>
                    <a:pt x="1464" y="486"/>
                  </a:lnTo>
                  <a:lnTo>
                    <a:pt x="1452" y="486"/>
                  </a:lnTo>
                  <a:lnTo>
                    <a:pt x="1446" y="474"/>
                  </a:lnTo>
                  <a:lnTo>
                    <a:pt x="1434" y="468"/>
                  </a:lnTo>
                  <a:lnTo>
                    <a:pt x="1416" y="468"/>
                  </a:lnTo>
                  <a:lnTo>
                    <a:pt x="1392" y="468"/>
                  </a:lnTo>
                  <a:lnTo>
                    <a:pt x="1374" y="474"/>
                  </a:lnTo>
                  <a:lnTo>
                    <a:pt x="1368" y="474"/>
                  </a:lnTo>
                  <a:lnTo>
                    <a:pt x="1368" y="486"/>
                  </a:lnTo>
                  <a:lnTo>
                    <a:pt x="1368" y="498"/>
                  </a:lnTo>
                  <a:lnTo>
                    <a:pt x="1368" y="522"/>
                  </a:lnTo>
                  <a:lnTo>
                    <a:pt x="1368" y="534"/>
                  </a:lnTo>
                  <a:lnTo>
                    <a:pt x="1362" y="546"/>
                  </a:lnTo>
                  <a:lnTo>
                    <a:pt x="1356" y="546"/>
                  </a:lnTo>
                  <a:lnTo>
                    <a:pt x="1344" y="540"/>
                  </a:lnTo>
                  <a:lnTo>
                    <a:pt x="1338" y="534"/>
                  </a:lnTo>
                  <a:lnTo>
                    <a:pt x="1308" y="522"/>
                  </a:lnTo>
                  <a:lnTo>
                    <a:pt x="1296" y="522"/>
                  </a:lnTo>
                  <a:lnTo>
                    <a:pt x="1278" y="528"/>
                  </a:lnTo>
                  <a:lnTo>
                    <a:pt x="1260" y="534"/>
                  </a:lnTo>
                  <a:lnTo>
                    <a:pt x="1242" y="546"/>
                  </a:lnTo>
                  <a:lnTo>
                    <a:pt x="1236" y="552"/>
                  </a:lnTo>
                  <a:lnTo>
                    <a:pt x="1224" y="558"/>
                  </a:lnTo>
                  <a:lnTo>
                    <a:pt x="1218" y="558"/>
                  </a:lnTo>
                  <a:lnTo>
                    <a:pt x="1218" y="564"/>
                  </a:lnTo>
                  <a:lnTo>
                    <a:pt x="1224" y="570"/>
                  </a:lnTo>
                  <a:lnTo>
                    <a:pt x="1224" y="582"/>
                  </a:lnTo>
                  <a:lnTo>
                    <a:pt x="1224" y="594"/>
                  </a:lnTo>
                  <a:lnTo>
                    <a:pt x="1212" y="618"/>
                  </a:lnTo>
                  <a:lnTo>
                    <a:pt x="1212" y="624"/>
                  </a:lnTo>
                  <a:lnTo>
                    <a:pt x="1212" y="630"/>
                  </a:lnTo>
                  <a:lnTo>
                    <a:pt x="1212" y="636"/>
                  </a:lnTo>
                  <a:lnTo>
                    <a:pt x="1218" y="654"/>
                  </a:lnTo>
                  <a:lnTo>
                    <a:pt x="1224" y="672"/>
                  </a:lnTo>
                  <a:lnTo>
                    <a:pt x="1230" y="696"/>
                  </a:lnTo>
                  <a:lnTo>
                    <a:pt x="1236" y="708"/>
                  </a:lnTo>
                  <a:lnTo>
                    <a:pt x="1236" y="714"/>
                  </a:lnTo>
                  <a:lnTo>
                    <a:pt x="1236" y="720"/>
                  </a:lnTo>
                  <a:lnTo>
                    <a:pt x="1218" y="726"/>
                  </a:lnTo>
                  <a:lnTo>
                    <a:pt x="1212" y="726"/>
                  </a:lnTo>
                  <a:lnTo>
                    <a:pt x="1206" y="726"/>
                  </a:lnTo>
                  <a:lnTo>
                    <a:pt x="1194" y="720"/>
                  </a:lnTo>
                  <a:lnTo>
                    <a:pt x="1194" y="714"/>
                  </a:lnTo>
                  <a:lnTo>
                    <a:pt x="1176" y="714"/>
                  </a:lnTo>
                  <a:lnTo>
                    <a:pt x="1164" y="708"/>
                  </a:lnTo>
                  <a:lnTo>
                    <a:pt x="1158" y="708"/>
                  </a:lnTo>
                  <a:lnTo>
                    <a:pt x="1140" y="702"/>
                  </a:lnTo>
                  <a:lnTo>
                    <a:pt x="1134" y="696"/>
                  </a:lnTo>
                  <a:lnTo>
                    <a:pt x="1128" y="690"/>
                  </a:lnTo>
                  <a:lnTo>
                    <a:pt x="1116" y="678"/>
                  </a:lnTo>
                  <a:lnTo>
                    <a:pt x="1110" y="678"/>
                  </a:lnTo>
                  <a:lnTo>
                    <a:pt x="1104" y="672"/>
                  </a:lnTo>
                  <a:lnTo>
                    <a:pt x="1092" y="672"/>
                  </a:lnTo>
                  <a:lnTo>
                    <a:pt x="1086" y="672"/>
                  </a:lnTo>
                  <a:lnTo>
                    <a:pt x="1080" y="672"/>
                  </a:lnTo>
                  <a:lnTo>
                    <a:pt x="1074" y="672"/>
                  </a:lnTo>
                  <a:lnTo>
                    <a:pt x="1068" y="672"/>
                  </a:lnTo>
                  <a:lnTo>
                    <a:pt x="1062" y="678"/>
                  </a:lnTo>
                  <a:lnTo>
                    <a:pt x="1056" y="678"/>
                  </a:lnTo>
                  <a:lnTo>
                    <a:pt x="1056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6"/>
                  </a:lnTo>
                  <a:lnTo>
                    <a:pt x="1032" y="708"/>
                  </a:lnTo>
                  <a:lnTo>
                    <a:pt x="1026" y="708"/>
                  </a:lnTo>
                  <a:lnTo>
                    <a:pt x="1032" y="714"/>
                  </a:lnTo>
                  <a:lnTo>
                    <a:pt x="1026" y="720"/>
                  </a:lnTo>
                  <a:lnTo>
                    <a:pt x="1020" y="720"/>
                  </a:lnTo>
                  <a:lnTo>
                    <a:pt x="1014" y="732"/>
                  </a:lnTo>
                  <a:lnTo>
                    <a:pt x="1014" y="744"/>
                  </a:lnTo>
                  <a:lnTo>
                    <a:pt x="1038" y="810"/>
                  </a:lnTo>
                  <a:lnTo>
                    <a:pt x="1050" y="834"/>
                  </a:lnTo>
                  <a:lnTo>
                    <a:pt x="1056" y="858"/>
                  </a:lnTo>
                  <a:lnTo>
                    <a:pt x="1062" y="876"/>
                  </a:lnTo>
                  <a:lnTo>
                    <a:pt x="1068" y="882"/>
                  </a:lnTo>
                  <a:lnTo>
                    <a:pt x="1062" y="972"/>
                  </a:lnTo>
                  <a:lnTo>
                    <a:pt x="1056" y="972"/>
                  </a:lnTo>
                  <a:lnTo>
                    <a:pt x="1050" y="996"/>
                  </a:lnTo>
                  <a:lnTo>
                    <a:pt x="1044" y="1014"/>
                  </a:lnTo>
                  <a:lnTo>
                    <a:pt x="1008" y="1014"/>
                  </a:lnTo>
                  <a:lnTo>
                    <a:pt x="1008" y="1008"/>
                  </a:lnTo>
                  <a:lnTo>
                    <a:pt x="990" y="1008"/>
                  </a:lnTo>
                  <a:lnTo>
                    <a:pt x="972" y="1014"/>
                  </a:lnTo>
                  <a:lnTo>
                    <a:pt x="948" y="1020"/>
                  </a:lnTo>
                  <a:lnTo>
                    <a:pt x="918" y="1026"/>
                  </a:lnTo>
                  <a:lnTo>
                    <a:pt x="840" y="1032"/>
                  </a:lnTo>
                  <a:lnTo>
                    <a:pt x="834" y="1032"/>
                  </a:lnTo>
                  <a:lnTo>
                    <a:pt x="834" y="1026"/>
                  </a:lnTo>
                  <a:lnTo>
                    <a:pt x="822" y="1026"/>
                  </a:lnTo>
                  <a:lnTo>
                    <a:pt x="816" y="1032"/>
                  </a:lnTo>
                  <a:lnTo>
                    <a:pt x="804" y="1032"/>
                  </a:lnTo>
                  <a:lnTo>
                    <a:pt x="798" y="1026"/>
                  </a:lnTo>
                  <a:lnTo>
                    <a:pt x="780" y="1026"/>
                  </a:lnTo>
                  <a:lnTo>
                    <a:pt x="762" y="1026"/>
                  </a:lnTo>
                  <a:lnTo>
                    <a:pt x="756" y="1026"/>
                  </a:lnTo>
                  <a:lnTo>
                    <a:pt x="750" y="1026"/>
                  </a:lnTo>
                  <a:lnTo>
                    <a:pt x="756" y="1020"/>
                  </a:lnTo>
                  <a:lnTo>
                    <a:pt x="750" y="1020"/>
                  </a:lnTo>
                  <a:lnTo>
                    <a:pt x="744" y="1014"/>
                  </a:lnTo>
                  <a:lnTo>
                    <a:pt x="684" y="1020"/>
                  </a:lnTo>
                  <a:lnTo>
                    <a:pt x="648" y="1020"/>
                  </a:lnTo>
                  <a:lnTo>
                    <a:pt x="630" y="1020"/>
                  </a:lnTo>
                  <a:lnTo>
                    <a:pt x="618" y="1020"/>
                  </a:lnTo>
                  <a:lnTo>
                    <a:pt x="606" y="1014"/>
                  </a:lnTo>
                  <a:lnTo>
                    <a:pt x="582" y="1014"/>
                  </a:lnTo>
                  <a:lnTo>
                    <a:pt x="576" y="1014"/>
                  </a:lnTo>
                  <a:lnTo>
                    <a:pt x="570" y="1014"/>
                  </a:lnTo>
                  <a:lnTo>
                    <a:pt x="564" y="1020"/>
                  </a:lnTo>
                  <a:lnTo>
                    <a:pt x="558" y="1026"/>
                  </a:lnTo>
                  <a:lnTo>
                    <a:pt x="552" y="1032"/>
                  </a:lnTo>
                  <a:lnTo>
                    <a:pt x="552" y="1038"/>
                  </a:lnTo>
                  <a:lnTo>
                    <a:pt x="558" y="1194"/>
                  </a:lnTo>
                  <a:lnTo>
                    <a:pt x="558" y="1206"/>
                  </a:lnTo>
                  <a:lnTo>
                    <a:pt x="552" y="1218"/>
                  </a:lnTo>
                  <a:lnTo>
                    <a:pt x="552" y="1236"/>
                  </a:lnTo>
                  <a:lnTo>
                    <a:pt x="546" y="1272"/>
                  </a:lnTo>
                  <a:lnTo>
                    <a:pt x="546" y="1308"/>
                  </a:lnTo>
                  <a:lnTo>
                    <a:pt x="540" y="1332"/>
                  </a:lnTo>
                  <a:lnTo>
                    <a:pt x="546" y="1356"/>
                  </a:lnTo>
                  <a:lnTo>
                    <a:pt x="546" y="1362"/>
                  </a:lnTo>
                  <a:lnTo>
                    <a:pt x="546" y="1374"/>
                  </a:lnTo>
                  <a:lnTo>
                    <a:pt x="546" y="1380"/>
                  </a:lnTo>
                  <a:lnTo>
                    <a:pt x="540" y="1380"/>
                  </a:lnTo>
                  <a:lnTo>
                    <a:pt x="522" y="1380"/>
                  </a:lnTo>
                  <a:lnTo>
                    <a:pt x="516" y="1380"/>
                  </a:lnTo>
                  <a:lnTo>
                    <a:pt x="516" y="1386"/>
                  </a:lnTo>
                  <a:lnTo>
                    <a:pt x="516" y="1392"/>
                  </a:lnTo>
                  <a:lnTo>
                    <a:pt x="510" y="1392"/>
                  </a:lnTo>
                  <a:lnTo>
                    <a:pt x="504" y="1386"/>
                  </a:lnTo>
                  <a:lnTo>
                    <a:pt x="498" y="1392"/>
                  </a:lnTo>
                  <a:lnTo>
                    <a:pt x="492" y="1398"/>
                  </a:lnTo>
                  <a:lnTo>
                    <a:pt x="486" y="1398"/>
                  </a:lnTo>
                  <a:lnTo>
                    <a:pt x="486" y="1392"/>
                  </a:lnTo>
                  <a:lnTo>
                    <a:pt x="486" y="1380"/>
                  </a:lnTo>
                  <a:lnTo>
                    <a:pt x="486" y="1374"/>
                  </a:lnTo>
                  <a:lnTo>
                    <a:pt x="480" y="1374"/>
                  </a:lnTo>
                  <a:lnTo>
                    <a:pt x="474" y="1374"/>
                  </a:lnTo>
                  <a:lnTo>
                    <a:pt x="468" y="1380"/>
                  </a:lnTo>
                  <a:lnTo>
                    <a:pt x="462" y="1380"/>
                  </a:lnTo>
                  <a:lnTo>
                    <a:pt x="456" y="1380"/>
                  </a:lnTo>
                  <a:lnTo>
                    <a:pt x="450" y="1386"/>
                  </a:lnTo>
                  <a:lnTo>
                    <a:pt x="444" y="1386"/>
                  </a:lnTo>
                  <a:lnTo>
                    <a:pt x="444" y="1392"/>
                  </a:lnTo>
                  <a:lnTo>
                    <a:pt x="432" y="1398"/>
                  </a:lnTo>
                  <a:lnTo>
                    <a:pt x="426" y="1404"/>
                  </a:lnTo>
                  <a:lnTo>
                    <a:pt x="420" y="1404"/>
                  </a:lnTo>
                  <a:lnTo>
                    <a:pt x="408" y="1404"/>
                  </a:lnTo>
                  <a:lnTo>
                    <a:pt x="378" y="1410"/>
                  </a:lnTo>
                  <a:lnTo>
                    <a:pt x="372" y="1410"/>
                  </a:lnTo>
                  <a:lnTo>
                    <a:pt x="360" y="1410"/>
                  </a:lnTo>
                  <a:lnTo>
                    <a:pt x="354" y="1416"/>
                  </a:lnTo>
                  <a:lnTo>
                    <a:pt x="348" y="1416"/>
                  </a:lnTo>
                  <a:lnTo>
                    <a:pt x="342" y="1410"/>
                  </a:lnTo>
                  <a:lnTo>
                    <a:pt x="336" y="1410"/>
                  </a:lnTo>
                  <a:lnTo>
                    <a:pt x="336" y="1416"/>
                  </a:lnTo>
                  <a:lnTo>
                    <a:pt x="330" y="1422"/>
                  </a:lnTo>
                  <a:lnTo>
                    <a:pt x="324" y="1422"/>
                  </a:lnTo>
                  <a:lnTo>
                    <a:pt x="318" y="1422"/>
                  </a:lnTo>
                  <a:lnTo>
                    <a:pt x="312" y="1428"/>
                  </a:lnTo>
                  <a:lnTo>
                    <a:pt x="312" y="1434"/>
                  </a:lnTo>
                  <a:lnTo>
                    <a:pt x="300" y="1428"/>
                  </a:lnTo>
                  <a:lnTo>
                    <a:pt x="288" y="1434"/>
                  </a:lnTo>
                  <a:lnTo>
                    <a:pt x="282" y="1440"/>
                  </a:lnTo>
                  <a:lnTo>
                    <a:pt x="282" y="1446"/>
                  </a:lnTo>
                  <a:lnTo>
                    <a:pt x="276" y="1446"/>
                  </a:lnTo>
                  <a:lnTo>
                    <a:pt x="276" y="1452"/>
                  </a:lnTo>
                  <a:lnTo>
                    <a:pt x="270" y="1452"/>
                  </a:lnTo>
                  <a:lnTo>
                    <a:pt x="258" y="1464"/>
                  </a:lnTo>
                  <a:lnTo>
                    <a:pt x="240" y="1458"/>
                  </a:lnTo>
                  <a:lnTo>
                    <a:pt x="234" y="1452"/>
                  </a:lnTo>
                  <a:lnTo>
                    <a:pt x="234" y="1446"/>
                  </a:lnTo>
                  <a:lnTo>
                    <a:pt x="228" y="1446"/>
                  </a:lnTo>
                  <a:lnTo>
                    <a:pt x="222" y="1440"/>
                  </a:lnTo>
                  <a:lnTo>
                    <a:pt x="216" y="1440"/>
                  </a:lnTo>
                  <a:lnTo>
                    <a:pt x="210" y="1428"/>
                  </a:lnTo>
                  <a:lnTo>
                    <a:pt x="210" y="1422"/>
                  </a:lnTo>
                  <a:lnTo>
                    <a:pt x="198" y="1416"/>
                  </a:lnTo>
                  <a:lnTo>
                    <a:pt x="204" y="1410"/>
                  </a:lnTo>
                  <a:lnTo>
                    <a:pt x="210" y="1404"/>
                  </a:lnTo>
                  <a:lnTo>
                    <a:pt x="210" y="1398"/>
                  </a:lnTo>
                  <a:lnTo>
                    <a:pt x="252" y="1368"/>
                  </a:lnTo>
                  <a:lnTo>
                    <a:pt x="276" y="1350"/>
                  </a:lnTo>
                  <a:lnTo>
                    <a:pt x="300" y="1338"/>
                  </a:lnTo>
                  <a:lnTo>
                    <a:pt x="294" y="1314"/>
                  </a:lnTo>
                  <a:lnTo>
                    <a:pt x="288" y="1308"/>
                  </a:lnTo>
                  <a:lnTo>
                    <a:pt x="300" y="1266"/>
                  </a:lnTo>
                  <a:lnTo>
                    <a:pt x="300" y="1242"/>
                  </a:lnTo>
                  <a:lnTo>
                    <a:pt x="300" y="1206"/>
                  </a:lnTo>
                  <a:lnTo>
                    <a:pt x="300" y="1164"/>
                  </a:lnTo>
                  <a:lnTo>
                    <a:pt x="294" y="1134"/>
                  </a:lnTo>
                  <a:lnTo>
                    <a:pt x="282" y="1086"/>
                  </a:lnTo>
                  <a:lnTo>
                    <a:pt x="276" y="1074"/>
                  </a:lnTo>
                  <a:lnTo>
                    <a:pt x="276" y="1056"/>
                  </a:lnTo>
                  <a:lnTo>
                    <a:pt x="270" y="1038"/>
                  </a:lnTo>
                  <a:lnTo>
                    <a:pt x="270" y="1020"/>
                  </a:lnTo>
                  <a:lnTo>
                    <a:pt x="282" y="1020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94" y="1002"/>
                  </a:lnTo>
                  <a:lnTo>
                    <a:pt x="306" y="996"/>
                  </a:lnTo>
                  <a:lnTo>
                    <a:pt x="312" y="990"/>
                  </a:lnTo>
                  <a:lnTo>
                    <a:pt x="318" y="990"/>
                  </a:lnTo>
                  <a:lnTo>
                    <a:pt x="324" y="984"/>
                  </a:lnTo>
                  <a:lnTo>
                    <a:pt x="324" y="978"/>
                  </a:lnTo>
                  <a:lnTo>
                    <a:pt x="324" y="972"/>
                  </a:lnTo>
                  <a:lnTo>
                    <a:pt x="324" y="954"/>
                  </a:lnTo>
                  <a:lnTo>
                    <a:pt x="336" y="948"/>
                  </a:lnTo>
                  <a:lnTo>
                    <a:pt x="342" y="936"/>
                  </a:lnTo>
                  <a:lnTo>
                    <a:pt x="348" y="924"/>
                  </a:lnTo>
                  <a:lnTo>
                    <a:pt x="354" y="924"/>
                  </a:lnTo>
                  <a:lnTo>
                    <a:pt x="372" y="924"/>
                  </a:lnTo>
                  <a:lnTo>
                    <a:pt x="372" y="930"/>
                  </a:lnTo>
                  <a:lnTo>
                    <a:pt x="378" y="930"/>
                  </a:lnTo>
                  <a:lnTo>
                    <a:pt x="378" y="936"/>
                  </a:lnTo>
                  <a:lnTo>
                    <a:pt x="384" y="936"/>
                  </a:lnTo>
                  <a:lnTo>
                    <a:pt x="384" y="942"/>
                  </a:lnTo>
                  <a:lnTo>
                    <a:pt x="402" y="942"/>
                  </a:lnTo>
                  <a:lnTo>
                    <a:pt x="402" y="996"/>
                  </a:lnTo>
                  <a:lnTo>
                    <a:pt x="414" y="996"/>
                  </a:lnTo>
                  <a:lnTo>
                    <a:pt x="420" y="996"/>
                  </a:lnTo>
                  <a:lnTo>
                    <a:pt x="426" y="996"/>
                  </a:lnTo>
                  <a:lnTo>
                    <a:pt x="432" y="996"/>
                  </a:lnTo>
                  <a:lnTo>
                    <a:pt x="438" y="996"/>
                  </a:lnTo>
                  <a:lnTo>
                    <a:pt x="438" y="942"/>
                  </a:lnTo>
                  <a:lnTo>
                    <a:pt x="444" y="930"/>
                  </a:lnTo>
                  <a:lnTo>
                    <a:pt x="444" y="924"/>
                  </a:lnTo>
                  <a:lnTo>
                    <a:pt x="444" y="918"/>
                  </a:lnTo>
                  <a:lnTo>
                    <a:pt x="462" y="918"/>
                  </a:lnTo>
                  <a:lnTo>
                    <a:pt x="474" y="906"/>
                  </a:lnTo>
                  <a:lnTo>
                    <a:pt x="480" y="900"/>
                  </a:lnTo>
                  <a:lnTo>
                    <a:pt x="486" y="888"/>
                  </a:lnTo>
                  <a:lnTo>
                    <a:pt x="492" y="876"/>
                  </a:lnTo>
                  <a:lnTo>
                    <a:pt x="492" y="858"/>
                  </a:lnTo>
                  <a:lnTo>
                    <a:pt x="480" y="858"/>
                  </a:lnTo>
                  <a:lnTo>
                    <a:pt x="474" y="840"/>
                  </a:lnTo>
                  <a:lnTo>
                    <a:pt x="450" y="834"/>
                  </a:lnTo>
                  <a:lnTo>
                    <a:pt x="438" y="816"/>
                  </a:lnTo>
                  <a:lnTo>
                    <a:pt x="432" y="792"/>
                  </a:lnTo>
                  <a:lnTo>
                    <a:pt x="432" y="786"/>
                  </a:lnTo>
                  <a:lnTo>
                    <a:pt x="432" y="774"/>
                  </a:lnTo>
                  <a:lnTo>
                    <a:pt x="432" y="762"/>
                  </a:lnTo>
                  <a:lnTo>
                    <a:pt x="438" y="750"/>
                  </a:lnTo>
                  <a:lnTo>
                    <a:pt x="438" y="738"/>
                  </a:lnTo>
                  <a:lnTo>
                    <a:pt x="444" y="732"/>
                  </a:lnTo>
                  <a:lnTo>
                    <a:pt x="450" y="732"/>
                  </a:lnTo>
                  <a:lnTo>
                    <a:pt x="456" y="732"/>
                  </a:lnTo>
                  <a:lnTo>
                    <a:pt x="456" y="726"/>
                  </a:lnTo>
                  <a:lnTo>
                    <a:pt x="456" y="714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44" y="684"/>
                  </a:lnTo>
                  <a:lnTo>
                    <a:pt x="438" y="666"/>
                  </a:lnTo>
                  <a:lnTo>
                    <a:pt x="426" y="666"/>
                  </a:lnTo>
                  <a:lnTo>
                    <a:pt x="432" y="666"/>
                  </a:lnTo>
                  <a:lnTo>
                    <a:pt x="420" y="666"/>
                  </a:lnTo>
                  <a:lnTo>
                    <a:pt x="414" y="660"/>
                  </a:lnTo>
                  <a:lnTo>
                    <a:pt x="396" y="654"/>
                  </a:lnTo>
                  <a:lnTo>
                    <a:pt x="384" y="642"/>
                  </a:lnTo>
                  <a:lnTo>
                    <a:pt x="366" y="624"/>
                  </a:lnTo>
                  <a:lnTo>
                    <a:pt x="354" y="606"/>
                  </a:lnTo>
                  <a:lnTo>
                    <a:pt x="342" y="588"/>
                  </a:lnTo>
                  <a:lnTo>
                    <a:pt x="342" y="582"/>
                  </a:lnTo>
                  <a:lnTo>
                    <a:pt x="360" y="564"/>
                  </a:lnTo>
                  <a:lnTo>
                    <a:pt x="372" y="540"/>
                  </a:lnTo>
                  <a:lnTo>
                    <a:pt x="366" y="528"/>
                  </a:lnTo>
                  <a:lnTo>
                    <a:pt x="366" y="522"/>
                  </a:lnTo>
                  <a:lnTo>
                    <a:pt x="372" y="516"/>
                  </a:lnTo>
                  <a:lnTo>
                    <a:pt x="384" y="504"/>
                  </a:lnTo>
                  <a:lnTo>
                    <a:pt x="378" y="492"/>
                  </a:lnTo>
                  <a:lnTo>
                    <a:pt x="378" y="486"/>
                  </a:lnTo>
                  <a:lnTo>
                    <a:pt x="378" y="480"/>
                  </a:lnTo>
                  <a:lnTo>
                    <a:pt x="378" y="474"/>
                  </a:lnTo>
                  <a:lnTo>
                    <a:pt x="378" y="468"/>
                  </a:lnTo>
                  <a:lnTo>
                    <a:pt x="366" y="468"/>
                  </a:lnTo>
                  <a:lnTo>
                    <a:pt x="360" y="474"/>
                  </a:lnTo>
                  <a:lnTo>
                    <a:pt x="354" y="480"/>
                  </a:lnTo>
                  <a:lnTo>
                    <a:pt x="348" y="486"/>
                  </a:lnTo>
                  <a:lnTo>
                    <a:pt x="348" y="492"/>
                  </a:lnTo>
                  <a:lnTo>
                    <a:pt x="336" y="510"/>
                  </a:lnTo>
                  <a:lnTo>
                    <a:pt x="300" y="516"/>
                  </a:lnTo>
                  <a:lnTo>
                    <a:pt x="300" y="510"/>
                  </a:lnTo>
                  <a:lnTo>
                    <a:pt x="282" y="504"/>
                  </a:lnTo>
                  <a:lnTo>
                    <a:pt x="282" y="498"/>
                  </a:lnTo>
                  <a:lnTo>
                    <a:pt x="264" y="486"/>
                  </a:lnTo>
                  <a:lnTo>
                    <a:pt x="258" y="492"/>
                  </a:lnTo>
                  <a:lnTo>
                    <a:pt x="234" y="492"/>
                  </a:lnTo>
                  <a:lnTo>
                    <a:pt x="222" y="486"/>
                  </a:lnTo>
                  <a:lnTo>
                    <a:pt x="204" y="480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92" y="462"/>
                  </a:lnTo>
                  <a:lnTo>
                    <a:pt x="186" y="462"/>
                  </a:lnTo>
                  <a:lnTo>
                    <a:pt x="180" y="468"/>
                  </a:lnTo>
                  <a:lnTo>
                    <a:pt x="150" y="450"/>
                  </a:lnTo>
                  <a:lnTo>
                    <a:pt x="144" y="438"/>
                  </a:lnTo>
                  <a:lnTo>
                    <a:pt x="138" y="438"/>
                  </a:lnTo>
                  <a:lnTo>
                    <a:pt x="132" y="432"/>
                  </a:lnTo>
                  <a:lnTo>
                    <a:pt x="126" y="432"/>
                  </a:lnTo>
                  <a:lnTo>
                    <a:pt x="120" y="432"/>
                  </a:lnTo>
                  <a:lnTo>
                    <a:pt x="102" y="426"/>
                  </a:lnTo>
                  <a:lnTo>
                    <a:pt x="96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2" y="414"/>
                  </a:lnTo>
                  <a:lnTo>
                    <a:pt x="60" y="414"/>
                  </a:lnTo>
                  <a:lnTo>
                    <a:pt x="30" y="414"/>
                  </a:lnTo>
                  <a:lnTo>
                    <a:pt x="24" y="414"/>
                  </a:lnTo>
                  <a:lnTo>
                    <a:pt x="12" y="414"/>
                  </a:lnTo>
                  <a:lnTo>
                    <a:pt x="0" y="420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0" y="336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30" y="270"/>
                  </a:lnTo>
                  <a:lnTo>
                    <a:pt x="42" y="270"/>
                  </a:lnTo>
                  <a:lnTo>
                    <a:pt x="54" y="264"/>
                  </a:lnTo>
                  <a:lnTo>
                    <a:pt x="78" y="240"/>
                  </a:lnTo>
                  <a:lnTo>
                    <a:pt x="102" y="216"/>
                  </a:lnTo>
                  <a:lnTo>
                    <a:pt x="114" y="210"/>
                  </a:lnTo>
                  <a:lnTo>
                    <a:pt x="120" y="204"/>
                  </a:lnTo>
                  <a:lnTo>
                    <a:pt x="126" y="198"/>
                  </a:lnTo>
                  <a:lnTo>
                    <a:pt x="138" y="18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38"/>
                  </a:lnTo>
                  <a:lnTo>
                    <a:pt x="210" y="126"/>
                  </a:lnTo>
                  <a:lnTo>
                    <a:pt x="216" y="120"/>
                  </a:lnTo>
                  <a:lnTo>
                    <a:pt x="222" y="120"/>
                  </a:lnTo>
                  <a:lnTo>
                    <a:pt x="258" y="114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300" y="102"/>
                  </a:lnTo>
                  <a:lnTo>
                    <a:pt x="312" y="102"/>
                  </a:lnTo>
                  <a:lnTo>
                    <a:pt x="318" y="102"/>
                  </a:lnTo>
                  <a:lnTo>
                    <a:pt x="348" y="96"/>
                  </a:lnTo>
                  <a:lnTo>
                    <a:pt x="366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408" y="84"/>
                  </a:lnTo>
                  <a:lnTo>
                    <a:pt x="420" y="84"/>
                  </a:lnTo>
                  <a:lnTo>
                    <a:pt x="462" y="72"/>
                  </a:lnTo>
                  <a:lnTo>
                    <a:pt x="474" y="72"/>
                  </a:lnTo>
                  <a:lnTo>
                    <a:pt x="474" y="78"/>
                  </a:lnTo>
                  <a:lnTo>
                    <a:pt x="492" y="90"/>
                  </a:lnTo>
                  <a:lnTo>
                    <a:pt x="498" y="90"/>
                  </a:lnTo>
                  <a:lnTo>
                    <a:pt x="522" y="96"/>
                  </a:lnTo>
                  <a:lnTo>
                    <a:pt x="540" y="96"/>
                  </a:lnTo>
                  <a:lnTo>
                    <a:pt x="546" y="96"/>
                  </a:lnTo>
                  <a:lnTo>
                    <a:pt x="558" y="96"/>
                  </a:lnTo>
                  <a:lnTo>
                    <a:pt x="564" y="96"/>
                  </a:lnTo>
                  <a:lnTo>
                    <a:pt x="576" y="96"/>
                  </a:lnTo>
                  <a:lnTo>
                    <a:pt x="588" y="96"/>
                  </a:lnTo>
                  <a:lnTo>
                    <a:pt x="612" y="90"/>
                  </a:lnTo>
                  <a:lnTo>
                    <a:pt x="624" y="90"/>
                  </a:lnTo>
                  <a:lnTo>
                    <a:pt x="636" y="90"/>
                  </a:lnTo>
                  <a:lnTo>
                    <a:pt x="642" y="90"/>
                  </a:lnTo>
                  <a:lnTo>
                    <a:pt x="648" y="96"/>
                  </a:lnTo>
                  <a:lnTo>
                    <a:pt x="660" y="96"/>
                  </a:lnTo>
                  <a:lnTo>
                    <a:pt x="666" y="96"/>
                  </a:lnTo>
                  <a:lnTo>
                    <a:pt x="672" y="96"/>
                  </a:lnTo>
                  <a:lnTo>
                    <a:pt x="684" y="96"/>
                  </a:lnTo>
                  <a:lnTo>
                    <a:pt x="708" y="96"/>
                  </a:lnTo>
                  <a:lnTo>
                    <a:pt x="714" y="96"/>
                  </a:lnTo>
                  <a:lnTo>
                    <a:pt x="726" y="96"/>
                  </a:lnTo>
                  <a:lnTo>
                    <a:pt x="738" y="84"/>
                  </a:lnTo>
                  <a:lnTo>
                    <a:pt x="744" y="78"/>
                  </a:lnTo>
                  <a:lnTo>
                    <a:pt x="756" y="66"/>
                  </a:lnTo>
                  <a:lnTo>
                    <a:pt x="774" y="42"/>
                  </a:lnTo>
                  <a:lnTo>
                    <a:pt x="780" y="30"/>
                  </a:lnTo>
                  <a:lnTo>
                    <a:pt x="816" y="24"/>
                  </a:lnTo>
                  <a:lnTo>
                    <a:pt x="840" y="18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64" y="6"/>
                  </a:lnTo>
                  <a:lnTo>
                    <a:pt x="870" y="6"/>
                  </a:lnTo>
                  <a:lnTo>
                    <a:pt x="894" y="0"/>
                  </a:lnTo>
                  <a:lnTo>
                    <a:pt x="900" y="6"/>
                  </a:lnTo>
                  <a:lnTo>
                    <a:pt x="930" y="18"/>
                  </a:lnTo>
                  <a:lnTo>
                    <a:pt x="942" y="24"/>
                  </a:lnTo>
                  <a:lnTo>
                    <a:pt x="954" y="30"/>
                  </a:lnTo>
                  <a:lnTo>
                    <a:pt x="1026" y="60"/>
                  </a:lnTo>
                  <a:lnTo>
                    <a:pt x="1032" y="60"/>
                  </a:lnTo>
                  <a:lnTo>
                    <a:pt x="1038" y="66"/>
                  </a:lnTo>
                  <a:lnTo>
                    <a:pt x="1068" y="72"/>
                  </a:lnTo>
                  <a:lnTo>
                    <a:pt x="1098" y="84"/>
                  </a:lnTo>
                  <a:lnTo>
                    <a:pt x="1122" y="90"/>
                  </a:lnTo>
                  <a:lnTo>
                    <a:pt x="1122" y="96"/>
                  </a:lnTo>
                  <a:lnTo>
                    <a:pt x="1140" y="102"/>
                  </a:lnTo>
                  <a:lnTo>
                    <a:pt x="1182" y="114"/>
                  </a:lnTo>
                  <a:lnTo>
                    <a:pt x="1188" y="114"/>
                  </a:lnTo>
                  <a:lnTo>
                    <a:pt x="1200" y="120"/>
                  </a:lnTo>
                  <a:lnTo>
                    <a:pt x="1212" y="126"/>
                  </a:lnTo>
                  <a:lnTo>
                    <a:pt x="1224" y="126"/>
                  </a:lnTo>
                  <a:lnTo>
                    <a:pt x="1248" y="138"/>
                  </a:lnTo>
                  <a:lnTo>
                    <a:pt x="1272" y="150"/>
                  </a:lnTo>
                  <a:lnTo>
                    <a:pt x="1284" y="156"/>
                  </a:lnTo>
                  <a:lnTo>
                    <a:pt x="1290" y="162"/>
                  </a:lnTo>
                  <a:lnTo>
                    <a:pt x="1296" y="162"/>
                  </a:lnTo>
                  <a:lnTo>
                    <a:pt x="1308" y="156"/>
                  </a:lnTo>
                  <a:lnTo>
                    <a:pt x="1320" y="150"/>
                  </a:lnTo>
                  <a:lnTo>
                    <a:pt x="1326" y="150"/>
                  </a:lnTo>
                  <a:lnTo>
                    <a:pt x="1338" y="144"/>
                  </a:lnTo>
                  <a:lnTo>
                    <a:pt x="1362" y="144"/>
                  </a:lnTo>
                  <a:lnTo>
                    <a:pt x="1368" y="144"/>
                  </a:lnTo>
                  <a:lnTo>
                    <a:pt x="1374" y="144"/>
                  </a:lnTo>
                  <a:lnTo>
                    <a:pt x="1386" y="150"/>
                  </a:lnTo>
                  <a:lnTo>
                    <a:pt x="1392" y="150"/>
                  </a:lnTo>
                  <a:lnTo>
                    <a:pt x="1398" y="150"/>
                  </a:lnTo>
                  <a:lnTo>
                    <a:pt x="1416" y="162"/>
                  </a:lnTo>
                  <a:lnTo>
                    <a:pt x="1458" y="186"/>
                  </a:lnTo>
                  <a:lnTo>
                    <a:pt x="1464" y="186"/>
                  </a:lnTo>
                  <a:lnTo>
                    <a:pt x="1470" y="192"/>
                  </a:lnTo>
                  <a:lnTo>
                    <a:pt x="1482" y="204"/>
                  </a:lnTo>
                  <a:lnTo>
                    <a:pt x="1512" y="234"/>
                  </a:lnTo>
                  <a:lnTo>
                    <a:pt x="1554" y="276"/>
                  </a:lnTo>
                  <a:lnTo>
                    <a:pt x="1560" y="276"/>
                  </a:lnTo>
                  <a:lnTo>
                    <a:pt x="1566" y="282"/>
                  </a:lnTo>
                  <a:lnTo>
                    <a:pt x="1578" y="294"/>
                  </a:lnTo>
                  <a:lnTo>
                    <a:pt x="1602" y="318"/>
                  </a:lnTo>
                  <a:lnTo>
                    <a:pt x="1614" y="330"/>
                  </a:lnTo>
                  <a:lnTo>
                    <a:pt x="1620" y="336"/>
                  </a:lnTo>
                  <a:lnTo>
                    <a:pt x="1626" y="342"/>
                  </a:lnTo>
                  <a:lnTo>
                    <a:pt x="1632" y="354"/>
                  </a:lnTo>
                  <a:lnTo>
                    <a:pt x="1644" y="366"/>
                  </a:lnTo>
                  <a:lnTo>
                    <a:pt x="1650" y="378"/>
                  </a:lnTo>
                  <a:lnTo>
                    <a:pt x="1650" y="384"/>
                  </a:lnTo>
                  <a:lnTo>
                    <a:pt x="1656" y="384"/>
                  </a:lnTo>
                  <a:lnTo>
                    <a:pt x="1662" y="402"/>
                  </a:lnTo>
                  <a:lnTo>
                    <a:pt x="1668" y="408"/>
                  </a:lnTo>
                  <a:lnTo>
                    <a:pt x="1674" y="426"/>
                  </a:lnTo>
                  <a:lnTo>
                    <a:pt x="1686" y="438"/>
                  </a:lnTo>
                  <a:lnTo>
                    <a:pt x="1698" y="46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9" name="Freeform 34">
              <a:extLst>
                <a:ext uri="{FF2B5EF4-FFF2-40B4-BE49-F238E27FC236}">
                  <a16:creationId xmlns:a16="http://schemas.microsoft.com/office/drawing/2014/main" id="{94603F24-8CF7-4226-A433-00D18CA7D9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1988" y="1681402"/>
              <a:ext cx="869877" cy="1060101"/>
            </a:xfrm>
            <a:custGeom>
              <a:avLst/>
              <a:gdLst>
                <a:gd name="T0" fmla="*/ 4 w 1638"/>
                <a:gd name="T1" fmla="*/ 111 h 1998"/>
                <a:gd name="T2" fmla="*/ 6 w 1638"/>
                <a:gd name="T3" fmla="*/ 87 h 1998"/>
                <a:gd name="T4" fmla="*/ 10 w 1638"/>
                <a:gd name="T5" fmla="*/ 80 h 1998"/>
                <a:gd name="T6" fmla="*/ 10 w 1638"/>
                <a:gd name="T7" fmla="*/ 71 h 1998"/>
                <a:gd name="T8" fmla="*/ 9 w 1638"/>
                <a:gd name="T9" fmla="*/ 56 h 1998"/>
                <a:gd name="T10" fmla="*/ 8 w 1638"/>
                <a:gd name="T11" fmla="*/ 40 h 1998"/>
                <a:gd name="T12" fmla="*/ 20 w 1638"/>
                <a:gd name="T13" fmla="*/ 30 h 1998"/>
                <a:gd name="T14" fmla="*/ 30 w 1638"/>
                <a:gd name="T15" fmla="*/ 19 h 1998"/>
                <a:gd name="T16" fmla="*/ 35 w 1638"/>
                <a:gd name="T17" fmla="*/ 2 h 1998"/>
                <a:gd name="T18" fmla="*/ 47 w 1638"/>
                <a:gd name="T19" fmla="*/ 2 h 1998"/>
                <a:gd name="T20" fmla="*/ 56 w 1638"/>
                <a:gd name="T21" fmla="*/ 7 h 1998"/>
                <a:gd name="T22" fmla="*/ 67 w 1638"/>
                <a:gd name="T23" fmla="*/ 5 h 1998"/>
                <a:gd name="T24" fmla="*/ 65 w 1638"/>
                <a:gd name="T25" fmla="*/ 15 h 1998"/>
                <a:gd name="T26" fmla="*/ 74 w 1638"/>
                <a:gd name="T27" fmla="*/ 24 h 1998"/>
                <a:gd name="T28" fmla="*/ 73 w 1638"/>
                <a:gd name="T29" fmla="*/ 33 h 1998"/>
                <a:gd name="T30" fmla="*/ 74 w 1638"/>
                <a:gd name="T31" fmla="*/ 44 h 1998"/>
                <a:gd name="T32" fmla="*/ 68 w 1638"/>
                <a:gd name="T33" fmla="*/ 45 h 1998"/>
                <a:gd name="T34" fmla="*/ 63 w 1638"/>
                <a:gd name="T35" fmla="*/ 50 h 1998"/>
                <a:gd name="T36" fmla="*/ 61 w 1638"/>
                <a:gd name="T37" fmla="*/ 62 h 1998"/>
                <a:gd name="T38" fmla="*/ 53 w 1638"/>
                <a:gd name="T39" fmla="*/ 86 h 1998"/>
                <a:gd name="T40" fmla="*/ 59 w 1638"/>
                <a:gd name="T41" fmla="*/ 90 h 1998"/>
                <a:gd name="T42" fmla="*/ 65 w 1638"/>
                <a:gd name="T43" fmla="*/ 86 h 1998"/>
                <a:gd name="T44" fmla="*/ 74 w 1638"/>
                <a:gd name="T45" fmla="*/ 84 h 1998"/>
                <a:gd name="T46" fmla="*/ 79 w 1638"/>
                <a:gd name="T47" fmla="*/ 85 h 1998"/>
                <a:gd name="T48" fmla="*/ 84 w 1638"/>
                <a:gd name="T49" fmla="*/ 84 h 1998"/>
                <a:gd name="T50" fmla="*/ 91 w 1638"/>
                <a:gd name="T51" fmla="*/ 84 h 1998"/>
                <a:gd name="T52" fmla="*/ 94 w 1638"/>
                <a:gd name="T53" fmla="*/ 81 h 1998"/>
                <a:gd name="T54" fmla="*/ 100 w 1638"/>
                <a:gd name="T55" fmla="*/ 81 h 1998"/>
                <a:gd name="T56" fmla="*/ 102 w 1638"/>
                <a:gd name="T57" fmla="*/ 84 h 1998"/>
                <a:gd name="T58" fmla="*/ 108 w 1638"/>
                <a:gd name="T59" fmla="*/ 85 h 1998"/>
                <a:gd name="T60" fmla="*/ 113 w 1638"/>
                <a:gd name="T61" fmla="*/ 88 h 1998"/>
                <a:gd name="T62" fmla="*/ 116 w 1638"/>
                <a:gd name="T63" fmla="*/ 88 h 1998"/>
                <a:gd name="T64" fmla="*/ 123 w 1638"/>
                <a:gd name="T65" fmla="*/ 87 h 1998"/>
                <a:gd name="T66" fmla="*/ 128 w 1638"/>
                <a:gd name="T67" fmla="*/ 86 h 1998"/>
                <a:gd name="T68" fmla="*/ 132 w 1638"/>
                <a:gd name="T69" fmla="*/ 90 h 1998"/>
                <a:gd name="T70" fmla="*/ 138 w 1638"/>
                <a:gd name="T71" fmla="*/ 96 h 1998"/>
                <a:gd name="T72" fmla="*/ 138 w 1638"/>
                <a:gd name="T73" fmla="*/ 110 h 1998"/>
                <a:gd name="T74" fmla="*/ 137 w 1638"/>
                <a:gd name="T75" fmla="*/ 118 h 1998"/>
                <a:gd name="T76" fmla="*/ 133 w 1638"/>
                <a:gd name="T77" fmla="*/ 124 h 1998"/>
                <a:gd name="T78" fmla="*/ 122 w 1638"/>
                <a:gd name="T79" fmla="*/ 125 h 1998"/>
                <a:gd name="T80" fmla="*/ 116 w 1638"/>
                <a:gd name="T81" fmla="*/ 127 h 1998"/>
                <a:gd name="T82" fmla="*/ 108 w 1638"/>
                <a:gd name="T83" fmla="*/ 123 h 1998"/>
                <a:gd name="T84" fmla="*/ 109 w 1638"/>
                <a:gd name="T85" fmla="*/ 119 h 1998"/>
                <a:gd name="T86" fmla="*/ 104 w 1638"/>
                <a:gd name="T87" fmla="*/ 104 h 1998"/>
                <a:gd name="T88" fmla="*/ 94 w 1638"/>
                <a:gd name="T89" fmla="*/ 105 h 1998"/>
                <a:gd name="T90" fmla="*/ 88 w 1638"/>
                <a:gd name="T91" fmla="*/ 109 h 1998"/>
                <a:gd name="T92" fmla="*/ 76 w 1638"/>
                <a:gd name="T93" fmla="*/ 107 h 1998"/>
                <a:gd name="T94" fmla="*/ 72 w 1638"/>
                <a:gd name="T95" fmla="*/ 114 h 1998"/>
                <a:gd name="T96" fmla="*/ 86 w 1638"/>
                <a:gd name="T97" fmla="*/ 121 h 1998"/>
                <a:gd name="T98" fmla="*/ 87 w 1638"/>
                <a:gd name="T99" fmla="*/ 129 h 1998"/>
                <a:gd name="T100" fmla="*/ 86 w 1638"/>
                <a:gd name="T101" fmla="*/ 137 h 1998"/>
                <a:gd name="T102" fmla="*/ 79 w 1638"/>
                <a:gd name="T103" fmla="*/ 141 h 1998"/>
                <a:gd name="T104" fmla="*/ 73 w 1638"/>
                <a:gd name="T105" fmla="*/ 144 h 1998"/>
                <a:gd name="T106" fmla="*/ 72 w 1638"/>
                <a:gd name="T107" fmla="*/ 164 h 1998"/>
                <a:gd name="T108" fmla="*/ 68 w 1638"/>
                <a:gd name="T109" fmla="*/ 172 h 1998"/>
                <a:gd name="T110" fmla="*/ 59 w 1638"/>
                <a:gd name="T111" fmla="*/ 164 h 1998"/>
                <a:gd name="T112" fmla="*/ 65 w 1638"/>
                <a:gd name="T113" fmla="*/ 146 h 1998"/>
                <a:gd name="T114" fmla="*/ 69 w 1638"/>
                <a:gd name="T115" fmla="*/ 133 h 1998"/>
                <a:gd name="T116" fmla="*/ 61 w 1638"/>
                <a:gd name="T117" fmla="*/ 131 h 1998"/>
                <a:gd name="T118" fmla="*/ 43 w 1638"/>
                <a:gd name="T119" fmla="*/ 125 h 1998"/>
                <a:gd name="T120" fmla="*/ 23 w 1638"/>
                <a:gd name="T121" fmla="*/ 125 h 1998"/>
                <a:gd name="T122" fmla="*/ 17 w 1638"/>
                <a:gd name="T123" fmla="*/ 121 h 19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638"/>
                <a:gd name="T187" fmla="*/ 0 h 1998"/>
                <a:gd name="T188" fmla="*/ 1638 w 1638"/>
                <a:gd name="T189" fmla="*/ 1998 h 19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638" h="1998">
                  <a:moveTo>
                    <a:pt x="144" y="1380"/>
                  </a:moveTo>
                  <a:lnTo>
                    <a:pt x="150" y="1368"/>
                  </a:lnTo>
                  <a:lnTo>
                    <a:pt x="150" y="1362"/>
                  </a:lnTo>
                  <a:lnTo>
                    <a:pt x="150" y="1356"/>
                  </a:lnTo>
                  <a:lnTo>
                    <a:pt x="144" y="1356"/>
                  </a:lnTo>
                  <a:lnTo>
                    <a:pt x="138" y="1356"/>
                  </a:lnTo>
                  <a:lnTo>
                    <a:pt x="126" y="1356"/>
                  </a:lnTo>
                  <a:lnTo>
                    <a:pt x="114" y="1344"/>
                  </a:lnTo>
                  <a:lnTo>
                    <a:pt x="84" y="1320"/>
                  </a:lnTo>
                  <a:lnTo>
                    <a:pt x="54" y="1296"/>
                  </a:lnTo>
                  <a:lnTo>
                    <a:pt x="48" y="1290"/>
                  </a:lnTo>
                  <a:lnTo>
                    <a:pt x="42" y="1278"/>
                  </a:lnTo>
                  <a:lnTo>
                    <a:pt x="30" y="1272"/>
                  </a:lnTo>
                  <a:lnTo>
                    <a:pt x="0" y="1248"/>
                  </a:lnTo>
                  <a:lnTo>
                    <a:pt x="6" y="1230"/>
                  </a:lnTo>
                  <a:lnTo>
                    <a:pt x="12" y="1194"/>
                  </a:lnTo>
                  <a:lnTo>
                    <a:pt x="18" y="1170"/>
                  </a:lnTo>
                  <a:lnTo>
                    <a:pt x="30" y="1134"/>
                  </a:lnTo>
                  <a:lnTo>
                    <a:pt x="36" y="1086"/>
                  </a:lnTo>
                  <a:lnTo>
                    <a:pt x="42" y="1050"/>
                  </a:lnTo>
                  <a:lnTo>
                    <a:pt x="48" y="1044"/>
                  </a:lnTo>
                  <a:lnTo>
                    <a:pt x="54" y="1026"/>
                  </a:lnTo>
                  <a:lnTo>
                    <a:pt x="60" y="1014"/>
                  </a:lnTo>
                  <a:lnTo>
                    <a:pt x="66" y="1002"/>
                  </a:lnTo>
                  <a:lnTo>
                    <a:pt x="66" y="996"/>
                  </a:lnTo>
                  <a:lnTo>
                    <a:pt x="72" y="996"/>
                  </a:lnTo>
                  <a:lnTo>
                    <a:pt x="72" y="990"/>
                  </a:lnTo>
                  <a:lnTo>
                    <a:pt x="78" y="990"/>
                  </a:lnTo>
                  <a:lnTo>
                    <a:pt x="90" y="978"/>
                  </a:lnTo>
                  <a:lnTo>
                    <a:pt x="96" y="966"/>
                  </a:lnTo>
                  <a:lnTo>
                    <a:pt x="102" y="966"/>
                  </a:lnTo>
                  <a:lnTo>
                    <a:pt x="114" y="954"/>
                  </a:lnTo>
                  <a:lnTo>
                    <a:pt x="120" y="954"/>
                  </a:lnTo>
                  <a:lnTo>
                    <a:pt x="120" y="948"/>
                  </a:lnTo>
                  <a:lnTo>
                    <a:pt x="114" y="930"/>
                  </a:lnTo>
                  <a:lnTo>
                    <a:pt x="114" y="924"/>
                  </a:lnTo>
                  <a:lnTo>
                    <a:pt x="108" y="918"/>
                  </a:lnTo>
                  <a:lnTo>
                    <a:pt x="102" y="912"/>
                  </a:lnTo>
                  <a:lnTo>
                    <a:pt x="90" y="906"/>
                  </a:lnTo>
                  <a:lnTo>
                    <a:pt x="84" y="900"/>
                  </a:lnTo>
                  <a:lnTo>
                    <a:pt x="84" y="888"/>
                  </a:lnTo>
                  <a:lnTo>
                    <a:pt x="84" y="882"/>
                  </a:lnTo>
                  <a:lnTo>
                    <a:pt x="78" y="858"/>
                  </a:lnTo>
                  <a:lnTo>
                    <a:pt x="78" y="852"/>
                  </a:lnTo>
                  <a:lnTo>
                    <a:pt x="84" y="846"/>
                  </a:lnTo>
                  <a:lnTo>
                    <a:pt x="84" y="840"/>
                  </a:lnTo>
                  <a:lnTo>
                    <a:pt x="96" y="828"/>
                  </a:lnTo>
                  <a:lnTo>
                    <a:pt x="114" y="816"/>
                  </a:lnTo>
                  <a:lnTo>
                    <a:pt x="114" y="810"/>
                  </a:lnTo>
                  <a:lnTo>
                    <a:pt x="114" y="804"/>
                  </a:lnTo>
                  <a:lnTo>
                    <a:pt x="108" y="780"/>
                  </a:lnTo>
                  <a:lnTo>
                    <a:pt x="96" y="756"/>
                  </a:lnTo>
                  <a:lnTo>
                    <a:pt x="96" y="750"/>
                  </a:lnTo>
                  <a:lnTo>
                    <a:pt x="90" y="720"/>
                  </a:lnTo>
                  <a:lnTo>
                    <a:pt x="90" y="708"/>
                  </a:lnTo>
                  <a:lnTo>
                    <a:pt x="90" y="690"/>
                  </a:lnTo>
                  <a:lnTo>
                    <a:pt x="96" y="672"/>
                  </a:lnTo>
                  <a:lnTo>
                    <a:pt x="90" y="666"/>
                  </a:lnTo>
                  <a:lnTo>
                    <a:pt x="96" y="666"/>
                  </a:lnTo>
                  <a:lnTo>
                    <a:pt x="102" y="642"/>
                  </a:lnTo>
                  <a:lnTo>
                    <a:pt x="108" y="624"/>
                  </a:lnTo>
                  <a:lnTo>
                    <a:pt x="102" y="618"/>
                  </a:lnTo>
                  <a:lnTo>
                    <a:pt x="102" y="588"/>
                  </a:lnTo>
                  <a:lnTo>
                    <a:pt x="102" y="564"/>
                  </a:lnTo>
                  <a:lnTo>
                    <a:pt x="102" y="546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0"/>
                  </a:lnTo>
                  <a:lnTo>
                    <a:pt x="96" y="498"/>
                  </a:lnTo>
                  <a:lnTo>
                    <a:pt x="96" y="486"/>
                  </a:lnTo>
                  <a:lnTo>
                    <a:pt x="96" y="474"/>
                  </a:lnTo>
                  <a:lnTo>
                    <a:pt x="96" y="462"/>
                  </a:lnTo>
                  <a:lnTo>
                    <a:pt x="114" y="450"/>
                  </a:lnTo>
                  <a:lnTo>
                    <a:pt x="126" y="438"/>
                  </a:lnTo>
                  <a:lnTo>
                    <a:pt x="132" y="432"/>
                  </a:lnTo>
                  <a:lnTo>
                    <a:pt x="144" y="426"/>
                  </a:lnTo>
                  <a:lnTo>
                    <a:pt x="144" y="420"/>
                  </a:lnTo>
                  <a:lnTo>
                    <a:pt x="156" y="414"/>
                  </a:lnTo>
                  <a:lnTo>
                    <a:pt x="162" y="408"/>
                  </a:lnTo>
                  <a:lnTo>
                    <a:pt x="180" y="396"/>
                  </a:lnTo>
                  <a:lnTo>
                    <a:pt x="210" y="372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34" y="348"/>
                  </a:lnTo>
                  <a:lnTo>
                    <a:pt x="240" y="348"/>
                  </a:lnTo>
                  <a:lnTo>
                    <a:pt x="246" y="342"/>
                  </a:lnTo>
                  <a:lnTo>
                    <a:pt x="276" y="318"/>
                  </a:lnTo>
                  <a:lnTo>
                    <a:pt x="282" y="312"/>
                  </a:lnTo>
                  <a:lnTo>
                    <a:pt x="288" y="306"/>
                  </a:lnTo>
                  <a:lnTo>
                    <a:pt x="300" y="288"/>
                  </a:lnTo>
                  <a:lnTo>
                    <a:pt x="306" y="276"/>
                  </a:lnTo>
                  <a:lnTo>
                    <a:pt x="324" y="246"/>
                  </a:lnTo>
                  <a:lnTo>
                    <a:pt x="330" y="240"/>
                  </a:lnTo>
                  <a:lnTo>
                    <a:pt x="336" y="234"/>
                  </a:lnTo>
                  <a:lnTo>
                    <a:pt x="342" y="228"/>
                  </a:lnTo>
                  <a:lnTo>
                    <a:pt x="342" y="216"/>
                  </a:lnTo>
                  <a:lnTo>
                    <a:pt x="354" y="204"/>
                  </a:lnTo>
                  <a:lnTo>
                    <a:pt x="360" y="204"/>
                  </a:lnTo>
                  <a:lnTo>
                    <a:pt x="366" y="186"/>
                  </a:lnTo>
                  <a:lnTo>
                    <a:pt x="384" y="162"/>
                  </a:lnTo>
                  <a:lnTo>
                    <a:pt x="390" y="144"/>
                  </a:lnTo>
                  <a:lnTo>
                    <a:pt x="396" y="114"/>
                  </a:lnTo>
                  <a:lnTo>
                    <a:pt x="396" y="102"/>
                  </a:lnTo>
                  <a:lnTo>
                    <a:pt x="402" y="90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08" y="36"/>
                  </a:lnTo>
                  <a:lnTo>
                    <a:pt x="408" y="24"/>
                  </a:lnTo>
                  <a:lnTo>
                    <a:pt x="408" y="6"/>
                  </a:lnTo>
                  <a:lnTo>
                    <a:pt x="420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68" y="0"/>
                  </a:lnTo>
                  <a:lnTo>
                    <a:pt x="480" y="0"/>
                  </a:lnTo>
                  <a:lnTo>
                    <a:pt x="492" y="0"/>
                  </a:lnTo>
                  <a:lnTo>
                    <a:pt x="498" y="0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8" y="18"/>
                  </a:lnTo>
                  <a:lnTo>
                    <a:pt x="534" y="18"/>
                  </a:lnTo>
                  <a:lnTo>
                    <a:pt x="540" y="18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8" y="36"/>
                  </a:lnTo>
                  <a:lnTo>
                    <a:pt x="588" y="54"/>
                  </a:lnTo>
                  <a:lnTo>
                    <a:pt x="594" y="48"/>
                  </a:lnTo>
                  <a:lnTo>
                    <a:pt x="600" y="48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12" y="66"/>
                  </a:lnTo>
                  <a:lnTo>
                    <a:pt x="630" y="72"/>
                  </a:lnTo>
                  <a:lnTo>
                    <a:pt x="642" y="78"/>
                  </a:lnTo>
                  <a:lnTo>
                    <a:pt x="666" y="78"/>
                  </a:lnTo>
                  <a:lnTo>
                    <a:pt x="672" y="72"/>
                  </a:lnTo>
                  <a:lnTo>
                    <a:pt x="690" y="84"/>
                  </a:lnTo>
                  <a:lnTo>
                    <a:pt x="690" y="90"/>
                  </a:lnTo>
                  <a:lnTo>
                    <a:pt x="708" y="96"/>
                  </a:lnTo>
                  <a:lnTo>
                    <a:pt x="708" y="102"/>
                  </a:lnTo>
                  <a:lnTo>
                    <a:pt x="744" y="96"/>
                  </a:lnTo>
                  <a:lnTo>
                    <a:pt x="756" y="78"/>
                  </a:lnTo>
                  <a:lnTo>
                    <a:pt x="756" y="72"/>
                  </a:lnTo>
                  <a:lnTo>
                    <a:pt x="762" y="66"/>
                  </a:lnTo>
                  <a:lnTo>
                    <a:pt x="768" y="60"/>
                  </a:lnTo>
                  <a:lnTo>
                    <a:pt x="774" y="54"/>
                  </a:lnTo>
                  <a:lnTo>
                    <a:pt x="786" y="54"/>
                  </a:lnTo>
                  <a:lnTo>
                    <a:pt x="786" y="60"/>
                  </a:lnTo>
                  <a:lnTo>
                    <a:pt x="786" y="66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92" y="90"/>
                  </a:lnTo>
                  <a:lnTo>
                    <a:pt x="780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26"/>
                  </a:lnTo>
                  <a:lnTo>
                    <a:pt x="768" y="150"/>
                  </a:lnTo>
                  <a:lnTo>
                    <a:pt x="750" y="168"/>
                  </a:lnTo>
                  <a:lnTo>
                    <a:pt x="750" y="174"/>
                  </a:lnTo>
                  <a:lnTo>
                    <a:pt x="762" y="192"/>
                  </a:lnTo>
                  <a:lnTo>
                    <a:pt x="774" y="210"/>
                  </a:lnTo>
                  <a:lnTo>
                    <a:pt x="792" y="228"/>
                  </a:lnTo>
                  <a:lnTo>
                    <a:pt x="804" y="240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40" y="252"/>
                  </a:lnTo>
                  <a:lnTo>
                    <a:pt x="834" y="252"/>
                  </a:lnTo>
                  <a:lnTo>
                    <a:pt x="846" y="252"/>
                  </a:lnTo>
                  <a:lnTo>
                    <a:pt x="852" y="270"/>
                  </a:lnTo>
                  <a:lnTo>
                    <a:pt x="858" y="282"/>
                  </a:lnTo>
                  <a:lnTo>
                    <a:pt x="858" y="288"/>
                  </a:lnTo>
                  <a:lnTo>
                    <a:pt x="864" y="300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58" y="318"/>
                  </a:lnTo>
                  <a:lnTo>
                    <a:pt x="852" y="318"/>
                  </a:lnTo>
                  <a:lnTo>
                    <a:pt x="846" y="324"/>
                  </a:lnTo>
                  <a:lnTo>
                    <a:pt x="846" y="336"/>
                  </a:lnTo>
                  <a:lnTo>
                    <a:pt x="840" y="348"/>
                  </a:lnTo>
                  <a:lnTo>
                    <a:pt x="840" y="360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46" y="402"/>
                  </a:lnTo>
                  <a:lnTo>
                    <a:pt x="858" y="420"/>
                  </a:lnTo>
                  <a:lnTo>
                    <a:pt x="882" y="426"/>
                  </a:lnTo>
                  <a:lnTo>
                    <a:pt x="888" y="444"/>
                  </a:lnTo>
                  <a:lnTo>
                    <a:pt x="900" y="444"/>
                  </a:lnTo>
                  <a:lnTo>
                    <a:pt x="900" y="462"/>
                  </a:lnTo>
                  <a:lnTo>
                    <a:pt x="894" y="474"/>
                  </a:lnTo>
                  <a:lnTo>
                    <a:pt x="888" y="486"/>
                  </a:lnTo>
                  <a:lnTo>
                    <a:pt x="882" y="492"/>
                  </a:lnTo>
                  <a:lnTo>
                    <a:pt x="870" y="504"/>
                  </a:lnTo>
                  <a:lnTo>
                    <a:pt x="852" y="504"/>
                  </a:lnTo>
                  <a:lnTo>
                    <a:pt x="852" y="510"/>
                  </a:lnTo>
                  <a:lnTo>
                    <a:pt x="852" y="516"/>
                  </a:lnTo>
                  <a:lnTo>
                    <a:pt x="846" y="528"/>
                  </a:lnTo>
                  <a:lnTo>
                    <a:pt x="846" y="582"/>
                  </a:lnTo>
                  <a:lnTo>
                    <a:pt x="840" y="582"/>
                  </a:lnTo>
                  <a:lnTo>
                    <a:pt x="834" y="582"/>
                  </a:lnTo>
                  <a:lnTo>
                    <a:pt x="828" y="582"/>
                  </a:lnTo>
                  <a:lnTo>
                    <a:pt x="822" y="582"/>
                  </a:lnTo>
                  <a:lnTo>
                    <a:pt x="810" y="582"/>
                  </a:lnTo>
                  <a:lnTo>
                    <a:pt x="810" y="528"/>
                  </a:lnTo>
                  <a:lnTo>
                    <a:pt x="792" y="528"/>
                  </a:lnTo>
                  <a:lnTo>
                    <a:pt x="792" y="522"/>
                  </a:lnTo>
                  <a:lnTo>
                    <a:pt x="786" y="522"/>
                  </a:lnTo>
                  <a:lnTo>
                    <a:pt x="786" y="516"/>
                  </a:lnTo>
                  <a:lnTo>
                    <a:pt x="780" y="516"/>
                  </a:lnTo>
                  <a:lnTo>
                    <a:pt x="780" y="510"/>
                  </a:lnTo>
                  <a:lnTo>
                    <a:pt x="762" y="510"/>
                  </a:lnTo>
                  <a:lnTo>
                    <a:pt x="756" y="510"/>
                  </a:lnTo>
                  <a:lnTo>
                    <a:pt x="750" y="522"/>
                  </a:lnTo>
                  <a:lnTo>
                    <a:pt x="744" y="534"/>
                  </a:lnTo>
                  <a:lnTo>
                    <a:pt x="732" y="540"/>
                  </a:lnTo>
                  <a:lnTo>
                    <a:pt x="732" y="558"/>
                  </a:lnTo>
                  <a:lnTo>
                    <a:pt x="732" y="564"/>
                  </a:lnTo>
                  <a:lnTo>
                    <a:pt x="732" y="570"/>
                  </a:lnTo>
                  <a:lnTo>
                    <a:pt x="726" y="576"/>
                  </a:lnTo>
                  <a:lnTo>
                    <a:pt x="720" y="576"/>
                  </a:lnTo>
                  <a:lnTo>
                    <a:pt x="714" y="582"/>
                  </a:lnTo>
                  <a:lnTo>
                    <a:pt x="702" y="588"/>
                  </a:lnTo>
                  <a:lnTo>
                    <a:pt x="696" y="594"/>
                  </a:lnTo>
                  <a:lnTo>
                    <a:pt x="690" y="600"/>
                  </a:lnTo>
                  <a:lnTo>
                    <a:pt x="690" y="606"/>
                  </a:lnTo>
                  <a:lnTo>
                    <a:pt x="678" y="606"/>
                  </a:lnTo>
                  <a:lnTo>
                    <a:pt x="678" y="624"/>
                  </a:lnTo>
                  <a:lnTo>
                    <a:pt x="684" y="642"/>
                  </a:lnTo>
                  <a:lnTo>
                    <a:pt x="684" y="660"/>
                  </a:lnTo>
                  <a:lnTo>
                    <a:pt x="690" y="672"/>
                  </a:lnTo>
                  <a:lnTo>
                    <a:pt x="702" y="720"/>
                  </a:lnTo>
                  <a:lnTo>
                    <a:pt x="708" y="750"/>
                  </a:lnTo>
                  <a:lnTo>
                    <a:pt x="708" y="792"/>
                  </a:lnTo>
                  <a:lnTo>
                    <a:pt x="708" y="828"/>
                  </a:lnTo>
                  <a:lnTo>
                    <a:pt x="708" y="852"/>
                  </a:lnTo>
                  <a:lnTo>
                    <a:pt x="696" y="894"/>
                  </a:lnTo>
                  <a:lnTo>
                    <a:pt x="702" y="900"/>
                  </a:lnTo>
                  <a:lnTo>
                    <a:pt x="708" y="924"/>
                  </a:lnTo>
                  <a:lnTo>
                    <a:pt x="684" y="936"/>
                  </a:lnTo>
                  <a:lnTo>
                    <a:pt x="660" y="954"/>
                  </a:lnTo>
                  <a:lnTo>
                    <a:pt x="618" y="984"/>
                  </a:lnTo>
                  <a:lnTo>
                    <a:pt x="618" y="990"/>
                  </a:lnTo>
                  <a:lnTo>
                    <a:pt x="612" y="996"/>
                  </a:lnTo>
                  <a:lnTo>
                    <a:pt x="606" y="1002"/>
                  </a:lnTo>
                  <a:lnTo>
                    <a:pt x="618" y="1008"/>
                  </a:lnTo>
                  <a:lnTo>
                    <a:pt x="618" y="1014"/>
                  </a:lnTo>
                  <a:lnTo>
                    <a:pt x="624" y="1026"/>
                  </a:lnTo>
                  <a:lnTo>
                    <a:pt x="630" y="1026"/>
                  </a:lnTo>
                  <a:lnTo>
                    <a:pt x="636" y="1032"/>
                  </a:lnTo>
                  <a:lnTo>
                    <a:pt x="642" y="1032"/>
                  </a:lnTo>
                  <a:lnTo>
                    <a:pt x="642" y="1038"/>
                  </a:lnTo>
                  <a:lnTo>
                    <a:pt x="648" y="1044"/>
                  </a:lnTo>
                  <a:lnTo>
                    <a:pt x="666" y="1050"/>
                  </a:lnTo>
                  <a:lnTo>
                    <a:pt x="678" y="1038"/>
                  </a:lnTo>
                  <a:lnTo>
                    <a:pt x="684" y="1038"/>
                  </a:lnTo>
                  <a:lnTo>
                    <a:pt x="684" y="1032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20"/>
                  </a:lnTo>
                  <a:lnTo>
                    <a:pt x="708" y="1014"/>
                  </a:lnTo>
                  <a:lnTo>
                    <a:pt x="720" y="1020"/>
                  </a:lnTo>
                  <a:lnTo>
                    <a:pt x="720" y="1014"/>
                  </a:lnTo>
                  <a:lnTo>
                    <a:pt x="726" y="1008"/>
                  </a:lnTo>
                  <a:lnTo>
                    <a:pt x="732" y="1008"/>
                  </a:lnTo>
                  <a:lnTo>
                    <a:pt x="738" y="1008"/>
                  </a:lnTo>
                  <a:lnTo>
                    <a:pt x="744" y="1002"/>
                  </a:lnTo>
                  <a:lnTo>
                    <a:pt x="744" y="996"/>
                  </a:lnTo>
                  <a:lnTo>
                    <a:pt x="750" y="996"/>
                  </a:lnTo>
                  <a:lnTo>
                    <a:pt x="756" y="1002"/>
                  </a:lnTo>
                  <a:lnTo>
                    <a:pt x="762" y="1002"/>
                  </a:lnTo>
                  <a:lnTo>
                    <a:pt x="768" y="996"/>
                  </a:lnTo>
                  <a:lnTo>
                    <a:pt x="780" y="996"/>
                  </a:lnTo>
                  <a:lnTo>
                    <a:pt x="786" y="996"/>
                  </a:lnTo>
                  <a:lnTo>
                    <a:pt x="816" y="990"/>
                  </a:lnTo>
                  <a:lnTo>
                    <a:pt x="828" y="990"/>
                  </a:lnTo>
                  <a:lnTo>
                    <a:pt x="834" y="990"/>
                  </a:lnTo>
                  <a:lnTo>
                    <a:pt x="840" y="984"/>
                  </a:lnTo>
                  <a:lnTo>
                    <a:pt x="852" y="978"/>
                  </a:lnTo>
                  <a:lnTo>
                    <a:pt x="852" y="972"/>
                  </a:lnTo>
                  <a:lnTo>
                    <a:pt x="858" y="972"/>
                  </a:lnTo>
                  <a:lnTo>
                    <a:pt x="864" y="966"/>
                  </a:lnTo>
                  <a:lnTo>
                    <a:pt x="870" y="966"/>
                  </a:lnTo>
                  <a:lnTo>
                    <a:pt x="876" y="966"/>
                  </a:lnTo>
                  <a:lnTo>
                    <a:pt x="882" y="960"/>
                  </a:lnTo>
                  <a:lnTo>
                    <a:pt x="888" y="960"/>
                  </a:lnTo>
                  <a:lnTo>
                    <a:pt x="894" y="960"/>
                  </a:lnTo>
                  <a:lnTo>
                    <a:pt x="894" y="966"/>
                  </a:lnTo>
                  <a:lnTo>
                    <a:pt x="894" y="978"/>
                  </a:lnTo>
                  <a:lnTo>
                    <a:pt x="894" y="984"/>
                  </a:lnTo>
                  <a:lnTo>
                    <a:pt x="900" y="984"/>
                  </a:lnTo>
                  <a:lnTo>
                    <a:pt x="906" y="978"/>
                  </a:lnTo>
                  <a:lnTo>
                    <a:pt x="912" y="972"/>
                  </a:lnTo>
                  <a:lnTo>
                    <a:pt x="918" y="978"/>
                  </a:lnTo>
                  <a:lnTo>
                    <a:pt x="924" y="978"/>
                  </a:lnTo>
                  <a:lnTo>
                    <a:pt x="924" y="972"/>
                  </a:lnTo>
                  <a:lnTo>
                    <a:pt x="924" y="966"/>
                  </a:lnTo>
                  <a:lnTo>
                    <a:pt x="930" y="966"/>
                  </a:lnTo>
                  <a:lnTo>
                    <a:pt x="948" y="966"/>
                  </a:lnTo>
                  <a:lnTo>
                    <a:pt x="954" y="966"/>
                  </a:lnTo>
                  <a:lnTo>
                    <a:pt x="954" y="960"/>
                  </a:lnTo>
                  <a:lnTo>
                    <a:pt x="960" y="960"/>
                  </a:lnTo>
                  <a:lnTo>
                    <a:pt x="966" y="960"/>
                  </a:lnTo>
                  <a:lnTo>
                    <a:pt x="966" y="966"/>
                  </a:lnTo>
                  <a:lnTo>
                    <a:pt x="978" y="972"/>
                  </a:lnTo>
                  <a:lnTo>
                    <a:pt x="978" y="978"/>
                  </a:lnTo>
                  <a:lnTo>
                    <a:pt x="978" y="984"/>
                  </a:lnTo>
                  <a:lnTo>
                    <a:pt x="984" y="978"/>
                  </a:lnTo>
                  <a:lnTo>
                    <a:pt x="990" y="978"/>
                  </a:lnTo>
                  <a:lnTo>
                    <a:pt x="996" y="984"/>
                  </a:lnTo>
                  <a:lnTo>
                    <a:pt x="1002" y="990"/>
                  </a:lnTo>
                  <a:lnTo>
                    <a:pt x="1008" y="972"/>
                  </a:lnTo>
                  <a:lnTo>
                    <a:pt x="1026" y="972"/>
                  </a:lnTo>
                  <a:lnTo>
                    <a:pt x="1032" y="972"/>
                  </a:lnTo>
                  <a:lnTo>
                    <a:pt x="1038" y="972"/>
                  </a:lnTo>
                  <a:lnTo>
                    <a:pt x="1050" y="972"/>
                  </a:lnTo>
                  <a:lnTo>
                    <a:pt x="1056" y="972"/>
                  </a:lnTo>
                  <a:lnTo>
                    <a:pt x="1062" y="966"/>
                  </a:lnTo>
                  <a:lnTo>
                    <a:pt x="1074" y="966"/>
                  </a:lnTo>
                  <a:lnTo>
                    <a:pt x="1074" y="960"/>
                  </a:lnTo>
                  <a:lnTo>
                    <a:pt x="1080" y="954"/>
                  </a:lnTo>
                  <a:lnTo>
                    <a:pt x="1080" y="948"/>
                  </a:lnTo>
                  <a:lnTo>
                    <a:pt x="1074" y="948"/>
                  </a:lnTo>
                  <a:lnTo>
                    <a:pt x="1068" y="948"/>
                  </a:lnTo>
                  <a:lnTo>
                    <a:pt x="1062" y="942"/>
                  </a:lnTo>
                  <a:lnTo>
                    <a:pt x="1068" y="936"/>
                  </a:lnTo>
                  <a:lnTo>
                    <a:pt x="1074" y="936"/>
                  </a:lnTo>
                  <a:lnTo>
                    <a:pt x="1080" y="936"/>
                  </a:lnTo>
                  <a:lnTo>
                    <a:pt x="1086" y="942"/>
                  </a:lnTo>
                  <a:lnTo>
                    <a:pt x="1092" y="942"/>
                  </a:lnTo>
                  <a:lnTo>
                    <a:pt x="1098" y="948"/>
                  </a:lnTo>
                  <a:lnTo>
                    <a:pt x="1104" y="954"/>
                  </a:lnTo>
                  <a:lnTo>
                    <a:pt x="1110" y="954"/>
                  </a:lnTo>
                  <a:lnTo>
                    <a:pt x="1116" y="948"/>
                  </a:lnTo>
                  <a:lnTo>
                    <a:pt x="1122" y="942"/>
                  </a:lnTo>
                  <a:lnTo>
                    <a:pt x="1128" y="942"/>
                  </a:lnTo>
                  <a:lnTo>
                    <a:pt x="1134" y="942"/>
                  </a:lnTo>
                  <a:lnTo>
                    <a:pt x="1140" y="948"/>
                  </a:lnTo>
                  <a:lnTo>
                    <a:pt x="1146" y="942"/>
                  </a:lnTo>
                  <a:lnTo>
                    <a:pt x="1152" y="942"/>
                  </a:lnTo>
                  <a:lnTo>
                    <a:pt x="1152" y="930"/>
                  </a:lnTo>
                  <a:lnTo>
                    <a:pt x="1164" y="936"/>
                  </a:lnTo>
                  <a:lnTo>
                    <a:pt x="1158" y="942"/>
                  </a:lnTo>
                  <a:lnTo>
                    <a:pt x="1158" y="948"/>
                  </a:lnTo>
                  <a:lnTo>
                    <a:pt x="1146" y="954"/>
                  </a:lnTo>
                  <a:lnTo>
                    <a:pt x="1152" y="954"/>
                  </a:lnTo>
                  <a:lnTo>
                    <a:pt x="1158" y="954"/>
                  </a:lnTo>
                  <a:lnTo>
                    <a:pt x="1158" y="948"/>
                  </a:lnTo>
                  <a:lnTo>
                    <a:pt x="1164" y="948"/>
                  </a:lnTo>
                  <a:lnTo>
                    <a:pt x="1170" y="948"/>
                  </a:lnTo>
                  <a:lnTo>
                    <a:pt x="1176" y="954"/>
                  </a:lnTo>
                  <a:lnTo>
                    <a:pt x="1176" y="966"/>
                  </a:lnTo>
                  <a:lnTo>
                    <a:pt x="1182" y="972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88" y="984"/>
                  </a:lnTo>
                  <a:lnTo>
                    <a:pt x="1194" y="984"/>
                  </a:lnTo>
                  <a:lnTo>
                    <a:pt x="1200" y="984"/>
                  </a:lnTo>
                  <a:lnTo>
                    <a:pt x="1212" y="984"/>
                  </a:lnTo>
                  <a:lnTo>
                    <a:pt x="1218" y="990"/>
                  </a:lnTo>
                  <a:lnTo>
                    <a:pt x="1224" y="990"/>
                  </a:lnTo>
                  <a:lnTo>
                    <a:pt x="1224" y="984"/>
                  </a:lnTo>
                  <a:lnTo>
                    <a:pt x="1230" y="990"/>
                  </a:lnTo>
                  <a:lnTo>
                    <a:pt x="1236" y="984"/>
                  </a:lnTo>
                  <a:lnTo>
                    <a:pt x="1242" y="984"/>
                  </a:lnTo>
                  <a:lnTo>
                    <a:pt x="1248" y="990"/>
                  </a:lnTo>
                  <a:lnTo>
                    <a:pt x="1254" y="990"/>
                  </a:lnTo>
                  <a:lnTo>
                    <a:pt x="1254" y="996"/>
                  </a:lnTo>
                  <a:lnTo>
                    <a:pt x="1254" y="1002"/>
                  </a:lnTo>
                  <a:lnTo>
                    <a:pt x="1254" y="1008"/>
                  </a:lnTo>
                  <a:lnTo>
                    <a:pt x="1260" y="1014"/>
                  </a:lnTo>
                  <a:lnTo>
                    <a:pt x="1266" y="1014"/>
                  </a:lnTo>
                  <a:lnTo>
                    <a:pt x="1272" y="1014"/>
                  </a:lnTo>
                  <a:lnTo>
                    <a:pt x="1278" y="1020"/>
                  </a:lnTo>
                  <a:lnTo>
                    <a:pt x="1284" y="1020"/>
                  </a:lnTo>
                  <a:lnTo>
                    <a:pt x="1290" y="1014"/>
                  </a:lnTo>
                  <a:lnTo>
                    <a:pt x="1290" y="1008"/>
                  </a:lnTo>
                  <a:lnTo>
                    <a:pt x="1296" y="1008"/>
                  </a:lnTo>
                  <a:lnTo>
                    <a:pt x="1302" y="1014"/>
                  </a:lnTo>
                  <a:lnTo>
                    <a:pt x="1308" y="1014"/>
                  </a:lnTo>
                  <a:lnTo>
                    <a:pt x="1314" y="1008"/>
                  </a:lnTo>
                  <a:lnTo>
                    <a:pt x="1320" y="1008"/>
                  </a:lnTo>
                  <a:lnTo>
                    <a:pt x="1320" y="1002"/>
                  </a:lnTo>
                  <a:lnTo>
                    <a:pt x="1320" y="996"/>
                  </a:lnTo>
                  <a:lnTo>
                    <a:pt x="1332" y="1002"/>
                  </a:lnTo>
                  <a:lnTo>
                    <a:pt x="1332" y="1008"/>
                  </a:lnTo>
                  <a:lnTo>
                    <a:pt x="1326" y="1014"/>
                  </a:lnTo>
                  <a:lnTo>
                    <a:pt x="1332" y="1014"/>
                  </a:lnTo>
                  <a:lnTo>
                    <a:pt x="1338" y="1014"/>
                  </a:lnTo>
                  <a:lnTo>
                    <a:pt x="1338" y="1008"/>
                  </a:lnTo>
                  <a:lnTo>
                    <a:pt x="1344" y="1008"/>
                  </a:lnTo>
                  <a:lnTo>
                    <a:pt x="1350" y="1008"/>
                  </a:lnTo>
                  <a:lnTo>
                    <a:pt x="1356" y="1014"/>
                  </a:lnTo>
                  <a:lnTo>
                    <a:pt x="1356" y="1008"/>
                  </a:lnTo>
                  <a:lnTo>
                    <a:pt x="1362" y="1014"/>
                  </a:lnTo>
                  <a:lnTo>
                    <a:pt x="1392" y="1014"/>
                  </a:lnTo>
                  <a:lnTo>
                    <a:pt x="1398" y="1014"/>
                  </a:lnTo>
                  <a:lnTo>
                    <a:pt x="1404" y="1008"/>
                  </a:lnTo>
                  <a:lnTo>
                    <a:pt x="1404" y="1014"/>
                  </a:lnTo>
                  <a:lnTo>
                    <a:pt x="1410" y="1008"/>
                  </a:lnTo>
                  <a:lnTo>
                    <a:pt x="1416" y="1008"/>
                  </a:lnTo>
                  <a:lnTo>
                    <a:pt x="1422" y="1002"/>
                  </a:lnTo>
                  <a:lnTo>
                    <a:pt x="1428" y="1002"/>
                  </a:lnTo>
                  <a:lnTo>
                    <a:pt x="1428" y="996"/>
                  </a:lnTo>
                  <a:lnTo>
                    <a:pt x="1428" y="990"/>
                  </a:lnTo>
                  <a:lnTo>
                    <a:pt x="1440" y="1002"/>
                  </a:lnTo>
                  <a:lnTo>
                    <a:pt x="1446" y="1002"/>
                  </a:lnTo>
                  <a:lnTo>
                    <a:pt x="1452" y="1002"/>
                  </a:lnTo>
                  <a:lnTo>
                    <a:pt x="1446" y="996"/>
                  </a:lnTo>
                  <a:lnTo>
                    <a:pt x="1452" y="996"/>
                  </a:lnTo>
                  <a:lnTo>
                    <a:pt x="1458" y="996"/>
                  </a:lnTo>
                  <a:lnTo>
                    <a:pt x="1464" y="996"/>
                  </a:lnTo>
                  <a:lnTo>
                    <a:pt x="1464" y="1002"/>
                  </a:lnTo>
                  <a:lnTo>
                    <a:pt x="1476" y="1014"/>
                  </a:lnTo>
                  <a:lnTo>
                    <a:pt x="1476" y="1008"/>
                  </a:lnTo>
                  <a:lnTo>
                    <a:pt x="1482" y="1008"/>
                  </a:lnTo>
                  <a:lnTo>
                    <a:pt x="1488" y="1020"/>
                  </a:lnTo>
                  <a:lnTo>
                    <a:pt x="1494" y="1020"/>
                  </a:lnTo>
                  <a:lnTo>
                    <a:pt x="1500" y="1014"/>
                  </a:lnTo>
                  <a:lnTo>
                    <a:pt x="1500" y="1020"/>
                  </a:lnTo>
                  <a:lnTo>
                    <a:pt x="1506" y="1026"/>
                  </a:lnTo>
                  <a:lnTo>
                    <a:pt x="1512" y="1032"/>
                  </a:lnTo>
                  <a:lnTo>
                    <a:pt x="1518" y="1032"/>
                  </a:lnTo>
                  <a:lnTo>
                    <a:pt x="1518" y="1038"/>
                  </a:lnTo>
                  <a:lnTo>
                    <a:pt x="1518" y="1044"/>
                  </a:lnTo>
                  <a:lnTo>
                    <a:pt x="1524" y="1044"/>
                  </a:lnTo>
                  <a:lnTo>
                    <a:pt x="1524" y="1050"/>
                  </a:lnTo>
                  <a:lnTo>
                    <a:pt x="1530" y="1056"/>
                  </a:lnTo>
                  <a:lnTo>
                    <a:pt x="1548" y="1062"/>
                  </a:lnTo>
                  <a:lnTo>
                    <a:pt x="1560" y="1074"/>
                  </a:lnTo>
                  <a:lnTo>
                    <a:pt x="1560" y="1080"/>
                  </a:lnTo>
                  <a:lnTo>
                    <a:pt x="1560" y="1086"/>
                  </a:lnTo>
                  <a:lnTo>
                    <a:pt x="1566" y="1086"/>
                  </a:lnTo>
                  <a:lnTo>
                    <a:pt x="1572" y="1098"/>
                  </a:lnTo>
                  <a:lnTo>
                    <a:pt x="1572" y="1104"/>
                  </a:lnTo>
                  <a:lnTo>
                    <a:pt x="1584" y="1110"/>
                  </a:lnTo>
                  <a:lnTo>
                    <a:pt x="1590" y="1116"/>
                  </a:lnTo>
                  <a:lnTo>
                    <a:pt x="1596" y="1116"/>
                  </a:lnTo>
                  <a:lnTo>
                    <a:pt x="1608" y="1122"/>
                  </a:lnTo>
                  <a:lnTo>
                    <a:pt x="1620" y="1140"/>
                  </a:lnTo>
                  <a:lnTo>
                    <a:pt x="1626" y="1158"/>
                  </a:lnTo>
                  <a:lnTo>
                    <a:pt x="1638" y="1200"/>
                  </a:lnTo>
                  <a:lnTo>
                    <a:pt x="1638" y="1218"/>
                  </a:lnTo>
                  <a:lnTo>
                    <a:pt x="1620" y="1230"/>
                  </a:lnTo>
                  <a:lnTo>
                    <a:pt x="1554" y="1230"/>
                  </a:lnTo>
                  <a:lnTo>
                    <a:pt x="1560" y="1248"/>
                  </a:lnTo>
                  <a:lnTo>
                    <a:pt x="1584" y="1260"/>
                  </a:lnTo>
                  <a:lnTo>
                    <a:pt x="1584" y="1266"/>
                  </a:lnTo>
                  <a:lnTo>
                    <a:pt x="1578" y="1272"/>
                  </a:lnTo>
                  <a:lnTo>
                    <a:pt x="1572" y="1272"/>
                  </a:lnTo>
                  <a:lnTo>
                    <a:pt x="1566" y="1278"/>
                  </a:lnTo>
                  <a:lnTo>
                    <a:pt x="1566" y="1284"/>
                  </a:lnTo>
                  <a:lnTo>
                    <a:pt x="1560" y="1290"/>
                  </a:lnTo>
                  <a:lnTo>
                    <a:pt x="1554" y="1290"/>
                  </a:lnTo>
                  <a:lnTo>
                    <a:pt x="1554" y="1296"/>
                  </a:lnTo>
                  <a:lnTo>
                    <a:pt x="1554" y="1302"/>
                  </a:lnTo>
                  <a:lnTo>
                    <a:pt x="1560" y="1332"/>
                  </a:lnTo>
                  <a:lnTo>
                    <a:pt x="1566" y="1356"/>
                  </a:lnTo>
                  <a:lnTo>
                    <a:pt x="1572" y="1356"/>
                  </a:lnTo>
                  <a:lnTo>
                    <a:pt x="1572" y="1362"/>
                  </a:lnTo>
                  <a:lnTo>
                    <a:pt x="1578" y="1362"/>
                  </a:lnTo>
                  <a:lnTo>
                    <a:pt x="1560" y="1374"/>
                  </a:lnTo>
                  <a:lnTo>
                    <a:pt x="1560" y="1380"/>
                  </a:lnTo>
                  <a:lnTo>
                    <a:pt x="1548" y="1380"/>
                  </a:lnTo>
                  <a:lnTo>
                    <a:pt x="1548" y="1386"/>
                  </a:lnTo>
                  <a:lnTo>
                    <a:pt x="1548" y="1392"/>
                  </a:lnTo>
                  <a:lnTo>
                    <a:pt x="1542" y="1410"/>
                  </a:lnTo>
                  <a:lnTo>
                    <a:pt x="1536" y="1422"/>
                  </a:lnTo>
                  <a:lnTo>
                    <a:pt x="1536" y="1428"/>
                  </a:lnTo>
                  <a:lnTo>
                    <a:pt x="1530" y="1440"/>
                  </a:lnTo>
                  <a:lnTo>
                    <a:pt x="1524" y="1434"/>
                  </a:lnTo>
                  <a:lnTo>
                    <a:pt x="1524" y="1428"/>
                  </a:lnTo>
                  <a:lnTo>
                    <a:pt x="1524" y="1422"/>
                  </a:lnTo>
                  <a:lnTo>
                    <a:pt x="1512" y="1410"/>
                  </a:lnTo>
                  <a:lnTo>
                    <a:pt x="1506" y="1404"/>
                  </a:lnTo>
                  <a:lnTo>
                    <a:pt x="1506" y="1398"/>
                  </a:lnTo>
                  <a:lnTo>
                    <a:pt x="1494" y="1392"/>
                  </a:lnTo>
                  <a:lnTo>
                    <a:pt x="1476" y="1404"/>
                  </a:lnTo>
                  <a:lnTo>
                    <a:pt x="1464" y="1416"/>
                  </a:lnTo>
                  <a:lnTo>
                    <a:pt x="1458" y="1428"/>
                  </a:lnTo>
                  <a:lnTo>
                    <a:pt x="1446" y="1434"/>
                  </a:lnTo>
                  <a:lnTo>
                    <a:pt x="1410" y="1440"/>
                  </a:lnTo>
                  <a:lnTo>
                    <a:pt x="1398" y="1440"/>
                  </a:lnTo>
                  <a:lnTo>
                    <a:pt x="1398" y="1446"/>
                  </a:lnTo>
                  <a:lnTo>
                    <a:pt x="1386" y="1446"/>
                  </a:lnTo>
                  <a:lnTo>
                    <a:pt x="1380" y="1440"/>
                  </a:lnTo>
                  <a:lnTo>
                    <a:pt x="1368" y="1440"/>
                  </a:lnTo>
                  <a:lnTo>
                    <a:pt x="1368" y="1446"/>
                  </a:lnTo>
                  <a:lnTo>
                    <a:pt x="1356" y="1446"/>
                  </a:lnTo>
                  <a:lnTo>
                    <a:pt x="1350" y="1452"/>
                  </a:lnTo>
                  <a:lnTo>
                    <a:pt x="1338" y="1452"/>
                  </a:lnTo>
                  <a:lnTo>
                    <a:pt x="1338" y="1458"/>
                  </a:lnTo>
                  <a:lnTo>
                    <a:pt x="1332" y="1458"/>
                  </a:lnTo>
                  <a:lnTo>
                    <a:pt x="1332" y="1464"/>
                  </a:lnTo>
                  <a:lnTo>
                    <a:pt x="1332" y="1470"/>
                  </a:lnTo>
                  <a:lnTo>
                    <a:pt x="1326" y="1470"/>
                  </a:lnTo>
                  <a:lnTo>
                    <a:pt x="1320" y="1470"/>
                  </a:lnTo>
                  <a:lnTo>
                    <a:pt x="1314" y="1470"/>
                  </a:lnTo>
                  <a:lnTo>
                    <a:pt x="1314" y="1464"/>
                  </a:lnTo>
                  <a:lnTo>
                    <a:pt x="1308" y="1464"/>
                  </a:lnTo>
                  <a:lnTo>
                    <a:pt x="1308" y="1452"/>
                  </a:lnTo>
                  <a:lnTo>
                    <a:pt x="1284" y="1458"/>
                  </a:lnTo>
                  <a:lnTo>
                    <a:pt x="1272" y="1458"/>
                  </a:lnTo>
                  <a:lnTo>
                    <a:pt x="1272" y="1464"/>
                  </a:lnTo>
                  <a:lnTo>
                    <a:pt x="1260" y="1464"/>
                  </a:lnTo>
                  <a:lnTo>
                    <a:pt x="1254" y="1464"/>
                  </a:lnTo>
                  <a:lnTo>
                    <a:pt x="1242" y="1422"/>
                  </a:lnTo>
                  <a:lnTo>
                    <a:pt x="1242" y="1416"/>
                  </a:lnTo>
                  <a:lnTo>
                    <a:pt x="1242" y="1410"/>
                  </a:lnTo>
                  <a:lnTo>
                    <a:pt x="1248" y="1410"/>
                  </a:lnTo>
                  <a:lnTo>
                    <a:pt x="1242" y="1410"/>
                  </a:lnTo>
                  <a:lnTo>
                    <a:pt x="1242" y="1404"/>
                  </a:lnTo>
                  <a:lnTo>
                    <a:pt x="1242" y="1398"/>
                  </a:lnTo>
                  <a:lnTo>
                    <a:pt x="1248" y="1392"/>
                  </a:lnTo>
                  <a:lnTo>
                    <a:pt x="1248" y="1386"/>
                  </a:lnTo>
                  <a:lnTo>
                    <a:pt x="1242" y="1380"/>
                  </a:lnTo>
                  <a:lnTo>
                    <a:pt x="1248" y="1380"/>
                  </a:lnTo>
                  <a:lnTo>
                    <a:pt x="1248" y="1374"/>
                  </a:lnTo>
                  <a:lnTo>
                    <a:pt x="1248" y="1368"/>
                  </a:lnTo>
                  <a:lnTo>
                    <a:pt x="1254" y="1368"/>
                  </a:lnTo>
                  <a:lnTo>
                    <a:pt x="1254" y="1362"/>
                  </a:lnTo>
                  <a:lnTo>
                    <a:pt x="1248" y="1356"/>
                  </a:lnTo>
                  <a:lnTo>
                    <a:pt x="1254" y="1356"/>
                  </a:lnTo>
                  <a:lnTo>
                    <a:pt x="1254" y="1344"/>
                  </a:lnTo>
                  <a:lnTo>
                    <a:pt x="1242" y="1338"/>
                  </a:lnTo>
                  <a:lnTo>
                    <a:pt x="1242" y="1326"/>
                  </a:lnTo>
                  <a:lnTo>
                    <a:pt x="1230" y="1326"/>
                  </a:lnTo>
                  <a:lnTo>
                    <a:pt x="1230" y="1314"/>
                  </a:lnTo>
                  <a:lnTo>
                    <a:pt x="1218" y="1314"/>
                  </a:lnTo>
                  <a:lnTo>
                    <a:pt x="1200" y="1272"/>
                  </a:lnTo>
                  <a:lnTo>
                    <a:pt x="1194" y="1242"/>
                  </a:lnTo>
                  <a:lnTo>
                    <a:pt x="1194" y="1206"/>
                  </a:lnTo>
                  <a:lnTo>
                    <a:pt x="1182" y="1200"/>
                  </a:lnTo>
                  <a:lnTo>
                    <a:pt x="1164" y="1206"/>
                  </a:lnTo>
                  <a:lnTo>
                    <a:pt x="1146" y="1212"/>
                  </a:lnTo>
                  <a:lnTo>
                    <a:pt x="1146" y="1218"/>
                  </a:lnTo>
                  <a:lnTo>
                    <a:pt x="1134" y="1224"/>
                  </a:lnTo>
                  <a:lnTo>
                    <a:pt x="1140" y="1260"/>
                  </a:lnTo>
                  <a:lnTo>
                    <a:pt x="1134" y="1266"/>
                  </a:lnTo>
                  <a:lnTo>
                    <a:pt x="1122" y="1266"/>
                  </a:lnTo>
                  <a:lnTo>
                    <a:pt x="1110" y="1236"/>
                  </a:lnTo>
                  <a:lnTo>
                    <a:pt x="1110" y="1224"/>
                  </a:lnTo>
                  <a:lnTo>
                    <a:pt x="1086" y="1224"/>
                  </a:lnTo>
                  <a:lnTo>
                    <a:pt x="1086" y="1212"/>
                  </a:lnTo>
                  <a:lnTo>
                    <a:pt x="1074" y="1212"/>
                  </a:lnTo>
                  <a:lnTo>
                    <a:pt x="1050" y="1212"/>
                  </a:lnTo>
                  <a:lnTo>
                    <a:pt x="1056" y="1218"/>
                  </a:lnTo>
                  <a:lnTo>
                    <a:pt x="1050" y="1272"/>
                  </a:lnTo>
                  <a:lnTo>
                    <a:pt x="1044" y="1272"/>
                  </a:lnTo>
                  <a:lnTo>
                    <a:pt x="1038" y="1284"/>
                  </a:lnTo>
                  <a:lnTo>
                    <a:pt x="1032" y="1302"/>
                  </a:lnTo>
                  <a:lnTo>
                    <a:pt x="1014" y="1302"/>
                  </a:lnTo>
                  <a:lnTo>
                    <a:pt x="1020" y="1284"/>
                  </a:lnTo>
                  <a:lnTo>
                    <a:pt x="1026" y="1278"/>
                  </a:lnTo>
                  <a:lnTo>
                    <a:pt x="1026" y="1266"/>
                  </a:lnTo>
                  <a:lnTo>
                    <a:pt x="1014" y="1260"/>
                  </a:lnTo>
                  <a:lnTo>
                    <a:pt x="1014" y="1272"/>
                  </a:lnTo>
                  <a:lnTo>
                    <a:pt x="990" y="1278"/>
                  </a:lnTo>
                  <a:lnTo>
                    <a:pt x="990" y="1254"/>
                  </a:lnTo>
                  <a:lnTo>
                    <a:pt x="984" y="1254"/>
                  </a:lnTo>
                  <a:lnTo>
                    <a:pt x="978" y="1242"/>
                  </a:lnTo>
                  <a:lnTo>
                    <a:pt x="972" y="1236"/>
                  </a:lnTo>
                  <a:lnTo>
                    <a:pt x="960" y="1206"/>
                  </a:lnTo>
                  <a:lnTo>
                    <a:pt x="942" y="1206"/>
                  </a:lnTo>
                  <a:lnTo>
                    <a:pt x="936" y="1200"/>
                  </a:lnTo>
                  <a:lnTo>
                    <a:pt x="906" y="1212"/>
                  </a:lnTo>
                  <a:lnTo>
                    <a:pt x="888" y="1230"/>
                  </a:lnTo>
                  <a:lnTo>
                    <a:pt x="876" y="1230"/>
                  </a:lnTo>
                  <a:lnTo>
                    <a:pt x="864" y="1236"/>
                  </a:lnTo>
                  <a:lnTo>
                    <a:pt x="858" y="1236"/>
                  </a:lnTo>
                  <a:lnTo>
                    <a:pt x="852" y="1254"/>
                  </a:lnTo>
                  <a:lnTo>
                    <a:pt x="858" y="1254"/>
                  </a:lnTo>
                  <a:lnTo>
                    <a:pt x="840" y="1266"/>
                  </a:lnTo>
                  <a:lnTo>
                    <a:pt x="828" y="1272"/>
                  </a:lnTo>
                  <a:lnTo>
                    <a:pt x="828" y="1284"/>
                  </a:lnTo>
                  <a:lnTo>
                    <a:pt x="822" y="1284"/>
                  </a:lnTo>
                  <a:lnTo>
                    <a:pt x="804" y="1296"/>
                  </a:lnTo>
                  <a:lnTo>
                    <a:pt x="804" y="1308"/>
                  </a:lnTo>
                  <a:lnTo>
                    <a:pt x="816" y="1320"/>
                  </a:lnTo>
                  <a:lnTo>
                    <a:pt x="828" y="1320"/>
                  </a:lnTo>
                  <a:lnTo>
                    <a:pt x="822" y="1338"/>
                  </a:lnTo>
                  <a:lnTo>
                    <a:pt x="852" y="1344"/>
                  </a:lnTo>
                  <a:lnTo>
                    <a:pt x="864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94" y="1356"/>
                  </a:lnTo>
                  <a:lnTo>
                    <a:pt x="912" y="1368"/>
                  </a:lnTo>
                  <a:lnTo>
                    <a:pt x="918" y="1380"/>
                  </a:lnTo>
                  <a:lnTo>
                    <a:pt x="936" y="1380"/>
                  </a:lnTo>
                  <a:lnTo>
                    <a:pt x="960" y="1386"/>
                  </a:lnTo>
                  <a:lnTo>
                    <a:pt x="990" y="1386"/>
                  </a:lnTo>
                  <a:lnTo>
                    <a:pt x="990" y="1392"/>
                  </a:lnTo>
                  <a:lnTo>
                    <a:pt x="1020" y="1398"/>
                  </a:lnTo>
                  <a:lnTo>
                    <a:pt x="1014" y="1404"/>
                  </a:lnTo>
                  <a:lnTo>
                    <a:pt x="1008" y="1404"/>
                  </a:lnTo>
                  <a:lnTo>
                    <a:pt x="1014" y="1440"/>
                  </a:lnTo>
                  <a:lnTo>
                    <a:pt x="1020" y="1458"/>
                  </a:lnTo>
                  <a:lnTo>
                    <a:pt x="1026" y="1476"/>
                  </a:lnTo>
                  <a:lnTo>
                    <a:pt x="1020" y="1476"/>
                  </a:lnTo>
                  <a:lnTo>
                    <a:pt x="1014" y="1476"/>
                  </a:lnTo>
                  <a:lnTo>
                    <a:pt x="1014" y="1482"/>
                  </a:lnTo>
                  <a:lnTo>
                    <a:pt x="1014" y="1488"/>
                  </a:lnTo>
                  <a:lnTo>
                    <a:pt x="1002" y="1488"/>
                  </a:lnTo>
                  <a:lnTo>
                    <a:pt x="1002" y="1494"/>
                  </a:lnTo>
                  <a:lnTo>
                    <a:pt x="996" y="1494"/>
                  </a:lnTo>
                  <a:lnTo>
                    <a:pt x="996" y="1518"/>
                  </a:lnTo>
                  <a:lnTo>
                    <a:pt x="1002" y="1524"/>
                  </a:lnTo>
                  <a:lnTo>
                    <a:pt x="1020" y="1530"/>
                  </a:lnTo>
                  <a:lnTo>
                    <a:pt x="1026" y="1542"/>
                  </a:lnTo>
                  <a:lnTo>
                    <a:pt x="1032" y="1566"/>
                  </a:lnTo>
                  <a:lnTo>
                    <a:pt x="1038" y="1578"/>
                  </a:lnTo>
                  <a:lnTo>
                    <a:pt x="1032" y="1584"/>
                  </a:lnTo>
                  <a:lnTo>
                    <a:pt x="1020" y="1584"/>
                  </a:lnTo>
                  <a:lnTo>
                    <a:pt x="1014" y="1584"/>
                  </a:lnTo>
                  <a:lnTo>
                    <a:pt x="1008" y="1596"/>
                  </a:lnTo>
                  <a:lnTo>
                    <a:pt x="990" y="1584"/>
                  </a:lnTo>
                  <a:lnTo>
                    <a:pt x="984" y="1602"/>
                  </a:lnTo>
                  <a:lnTo>
                    <a:pt x="978" y="1608"/>
                  </a:lnTo>
                  <a:lnTo>
                    <a:pt x="966" y="1608"/>
                  </a:lnTo>
                  <a:lnTo>
                    <a:pt x="960" y="1614"/>
                  </a:lnTo>
                  <a:lnTo>
                    <a:pt x="954" y="1614"/>
                  </a:lnTo>
                  <a:lnTo>
                    <a:pt x="942" y="1620"/>
                  </a:lnTo>
                  <a:lnTo>
                    <a:pt x="936" y="1620"/>
                  </a:lnTo>
                  <a:lnTo>
                    <a:pt x="930" y="1620"/>
                  </a:lnTo>
                  <a:lnTo>
                    <a:pt x="930" y="1626"/>
                  </a:lnTo>
                  <a:lnTo>
                    <a:pt x="930" y="1632"/>
                  </a:lnTo>
                  <a:lnTo>
                    <a:pt x="918" y="1632"/>
                  </a:lnTo>
                  <a:lnTo>
                    <a:pt x="912" y="1632"/>
                  </a:lnTo>
                  <a:lnTo>
                    <a:pt x="906" y="1632"/>
                  </a:lnTo>
                  <a:lnTo>
                    <a:pt x="900" y="1632"/>
                  </a:lnTo>
                  <a:lnTo>
                    <a:pt x="894" y="1626"/>
                  </a:lnTo>
                  <a:lnTo>
                    <a:pt x="894" y="1614"/>
                  </a:lnTo>
                  <a:lnTo>
                    <a:pt x="840" y="1614"/>
                  </a:lnTo>
                  <a:lnTo>
                    <a:pt x="840" y="1626"/>
                  </a:lnTo>
                  <a:lnTo>
                    <a:pt x="834" y="1626"/>
                  </a:lnTo>
                  <a:lnTo>
                    <a:pt x="828" y="1632"/>
                  </a:lnTo>
                  <a:lnTo>
                    <a:pt x="822" y="1638"/>
                  </a:lnTo>
                  <a:lnTo>
                    <a:pt x="822" y="1644"/>
                  </a:lnTo>
                  <a:lnTo>
                    <a:pt x="834" y="1650"/>
                  </a:lnTo>
                  <a:lnTo>
                    <a:pt x="840" y="1662"/>
                  </a:lnTo>
                  <a:lnTo>
                    <a:pt x="840" y="1668"/>
                  </a:lnTo>
                  <a:lnTo>
                    <a:pt x="858" y="1680"/>
                  </a:lnTo>
                  <a:lnTo>
                    <a:pt x="858" y="1752"/>
                  </a:lnTo>
                  <a:lnTo>
                    <a:pt x="864" y="1782"/>
                  </a:lnTo>
                  <a:lnTo>
                    <a:pt x="876" y="1788"/>
                  </a:lnTo>
                  <a:lnTo>
                    <a:pt x="870" y="1854"/>
                  </a:lnTo>
                  <a:lnTo>
                    <a:pt x="870" y="1884"/>
                  </a:lnTo>
                  <a:lnTo>
                    <a:pt x="864" y="1884"/>
                  </a:lnTo>
                  <a:lnTo>
                    <a:pt x="846" y="1896"/>
                  </a:lnTo>
                  <a:lnTo>
                    <a:pt x="840" y="1896"/>
                  </a:lnTo>
                  <a:lnTo>
                    <a:pt x="834" y="1896"/>
                  </a:lnTo>
                  <a:lnTo>
                    <a:pt x="828" y="1890"/>
                  </a:lnTo>
                  <a:lnTo>
                    <a:pt x="822" y="1890"/>
                  </a:lnTo>
                  <a:lnTo>
                    <a:pt x="816" y="1896"/>
                  </a:lnTo>
                  <a:lnTo>
                    <a:pt x="804" y="1896"/>
                  </a:lnTo>
                  <a:lnTo>
                    <a:pt x="804" y="1890"/>
                  </a:lnTo>
                  <a:lnTo>
                    <a:pt x="780" y="1896"/>
                  </a:lnTo>
                  <a:lnTo>
                    <a:pt x="780" y="1902"/>
                  </a:lnTo>
                  <a:lnTo>
                    <a:pt x="774" y="1914"/>
                  </a:lnTo>
                  <a:lnTo>
                    <a:pt x="762" y="1926"/>
                  </a:lnTo>
                  <a:lnTo>
                    <a:pt x="762" y="1950"/>
                  </a:lnTo>
                  <a:lnTo>
                    <a:pt x="762" y="1962"/>
                  </a:lnTo>
                  <a:lnTo>
                    <a:pt x="780" y="1974"/>
                  </a:lnTo>
                  <a:lnTo>
                    <a:pt x="780" y="1986"/>
                  </a:lnTo>
                  <a:lnTo>
                    <a:pt x="780" y="1998"/>
                  </a:lnTo>
                  <a:lnTo>
                    <a:pt x="756" y="1998"/>
                  </a:lnTo>
                  <a:lnTo>
                    <a:pt x="720" y="1992"/>
                  </a:lnTo>
                  <a:lnTo>
                    <a:pt x="666" y="1998"/>
                  </a:lnTo>
                  <a:lnTo>
                    <a:pt x="654" y="1998"/>
                  </a:lnTo>
                  <a:lnTo>
                    <a:pt x="660" y="1974"/>
                  </a:lnTo>
                  <a:lnTo>
                    <a:pt x="666" y="1962"/>
                  </a:lnTo>
                  <a:lnTo>
                    <a:pt x="678" y="1950"/>
                  </a:lnTo>
                  <a:lnTo>
                    <a:pt x="696" y="1932"/>
                  </a:lnTo>
                  <a:lnTo>
                    <a:pt x="696" y="1920"/>
                  </a:lnTo>
                  <a:lnTo>
                    <a:pt x="696" y="1896"/>
                  </a:lnTo>
                  <a:lnTo>
                    <a:pt x="678" y="1896"/>
                  </a:lnTo>
                  <a:lnTo>
                    <a:pt x="672" y="1884"/>
                  </a:lnTo>
                  <a:lnTo>
                    <a:pt x="672" y="1776"/>
                  </a:lnTo>
                  <a:lnTo>
                    <a:pt x="678" y="1758"/>
                  </a:lnTo>
                  <a:lnTo>
                    <a:pt x="678" y="1740"/>
                  </a:lnTo>
                  <a:lnTo>
                    <a:pt x="684" y="1728"/>
                  </a:lnTo>
                  <a:lnTo>
                    <a:pt x="690" y="1722"/>
                  </a:lnTo>
                  <a:lnTo>
                    <a:pt x="702" y="1722"/>
                  </a:lnTo>
                  <a:lnTo>
                    <a:pt x="708" y="1716"/>
                  </a:lnTo>
                  <a:lnTo>
                    <a:pt x="714" y="1710"/>
                  </a:lnTo>
                  <a:lnTo>
                    <a:pt x="720" y="1698"/>
                  </a:lnTo>
                  <a:lnTo>
                    <a:pt x="732" y="1692"/>
                  </a:lnTo>
                  <a:lnTo>
                    <a:pt x="744" y="1686"/>
                  </a:lnTo>
                  <a:lnTo>
                    <a:pt x="756" y="1680"/>
                  </a:lnTo>
                  <a:lnTo>
                    <a:pt x="768" y="1668"/>
                  </a:lnTo>
                  <a:lnTo>
                    <a:pt x="768" y="1650"/>
                  </a:lnTo>
                  <a:lnTo>
                    <a:pt x="774" y="1632"/>
                  </a:lnTo>
                  <a:lnTo>
                    <a:pt x="768" y="1620"/>
                  </a:lnTo>
                  <a:lnTo>
                    <a:pt x="774" y="1608"/>
                  </a:lnTo>
                  <a:lnTo>
                    <a:pt x="774" y="1578"/>
                  </a:lnTo>
                  <a:lnTo>
                    <a:pt x="774" y="1572"/>
                  </a:lnTo>
                  <a:lnTo>
                    <a:pt x="780" y="1560"/>
                  </a:lnTo>
                  <a:lnTo>
                    <a:pt x="780" y="1554"/>
                  </a:lnTo>
                  <a:lnTo>
                    <a:pt x="786" y="1542"/>
                  </a:lnTo>
                  <a:lnTo>
                    <a:pt x="792" y="1530"/>
                  </a:lnTo>
                  <a:lnTo>
                    <a:pt x="792" y="1518"/>
                  </a:lnTo>
                  <a:lnTo>
                    <a:pt x="792" y="1506"/>
                  </a:lnTo>
                  <a:lnTo>
                    <a:pt x="786" y="1500"/>
                  </a:lnTo>
                  <a:lnTo>
                    <a:pt x="774" y="1488"/>
                  </a:lnTo>
                  <a:lnTo>
                    <a:pt x="774" y="1482"/>
                  </a:lnTo>
                  <a:lnTo>
                    <a:pt x="762" y="1488"/>
                  </a:lnTo>
                  <a:lnTo>
                    <a:pt x="756" y="1494"/>
                  </a:lnTo>
                  <a:lnTo>
                    <a:pt x="744" y="1500"/>
                  </a:lnTo>
                  <a:lnTo>
                    <a:pt x="732" y="1506"/>
                  </a:lnTo>
                  <a:lnTo>
                    <a:pt x="726" y="1506"/>
                  </a:lnTo>
                  <a:lnTo>
                    <a:pt x="720" y="1506"/>
                  </a:lnTo>
                  <a:lnTo>
                    <a:pt x="702" y="1506"/>
                  </a:lnTo>
                  <a:lnTo>
                    <a:pt x="690" y="1500"/>
                  </a:lnTo>
                  <a:lnTo>
                    <a:pt x="678" y="1500"/>
                  </a:lnTo>
                  <a:lnTo>
                    <a:pt x="672" y="1500"/>
                  </a:lnTo>
                  <a:lnTo>
                    <a:pt x="660" y="1506"/>
                  </a:lnTo>
                  <a:lnTo>
                    <a:pt x="654" y="1506"/>
                  </a:lnTo>
                  <a:lnTo>
                    <a:pt x="648" y="1512"/>
                  </a:lnTo>
                  <a:lnTo>
                    <a:pt x="648" y="1518"/>
                  </a:lnTo>
                  <a:lnTo>
                    <a:pt x="618" y="1518"/>
                  </a:lnTo>
                  <a:lnTo>
                    <a:pt x="534" y="1494"/>
                  </a:lnTo>
                  <a:lnTo>
                    <a:pt x="528" y="1458"/>
                  </a:lnTo>
                  <a:lnTo>
                    <a:pt x="510" y="1458"/>
                  </a:lnTo>
                  <a:lnTo>
                    <a:pt x="492" y="1440"/>
                  </a:lnTo>
                  <a:lnTo>
                    <a:pt x="462" y="1440"/>
                  </a:lnTo>
                  <a:lnTo>
                    <a:pt x="456" y="1428"/>
                  </a:lnTo>
                  <a:lnTo>
                    <a:pt x="420" y="1428"/>
                  </a:lnTo>
                  <a:lnTo>
                    <a:pt x="390" y="1446"/>
                  </a:lnTo>
                  <a:lnTo>
                    <a:pt x="312" y="1452"/>
                  </a:lnTo>
                  <a:lnTo>
                    <a:pt x="300" y="1446"/>
                  </a:lnTo>
                  <a:lnTo>
                    <a:pt x="294" y="1446"/>
                  </a:lnTo>
                  <a:lnTo>
                    <a:pt x="288" y="1446"/>
                  </a:lnTo>
                  <a:lnTo>
                    <a:pt x="282" y="1440"/>
                  </a:lnTo>
                  <a:lnTo>
                    <a:pt x="276" y="1440"/>
                  </a:lnTo>
                  <a:lnTo>
                    <a:pt x="270" y="1440"/>
                  </a:lnTo>
                  <a:lnTo>
                    <a:pt x="264" y="1440"/>
                  </a:lnTo>
                  <a:lnTo>
                    <a:pt x="258" y="1434"/>
                  </a:lnTo>
                  <a:lnTo>
                    <a:pt x="252" y="1434"/>
                  </a:lnTo>
                  <a:lnTo>
                    <a:pt x="246" y="1428"/>
                  </a:lnTo>
                  <a:lnTo>
                    <a:pt x="240" y="1416"/>
                  </a:lnTo>
                  <a:lnTo>
                    <a:pt x="234" y="1404"/>
                  </a:lnTo>
                  <a:lnTo>
                    <a:pt x="228" y="1398"/>
                  </a:lnTo>
                  <a:lnTo>
                    <a:pt x="222" y="1398"/>
                  </a:lnTo>
                  <a:lnTo>
                    <a:pt x="216" y="1404"/>
                  </a:lnTo>
                  <a:lnTo>
                    <a:pt x="210" y="1404"/>
                  </a:lnTo>
                  <a:lnTo>
                    <a:pt x="204" y="1404"/>
                  </a:lnTo>
                  <a:lnTo>
                    <a:pt x="204" y="1398"/>
                  </a:lnTo>
                  <a:lnTo>
                    <a:pt x="198" y="1392"/>
                  </a:lnTo>
                  <a:lnTo>
                    <a:pt x="192" y="1386"/>
                  </a:lnTo>
                  <a:lnTo>
                    <a:pt x="168" y="1374"/>
                  </a:lnTo>
                  <a:lnTo>
                    <a:pt x="144" y="13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0" name="Freeform 35">
              <a:extLst>
                <a:ext uri="{FF2B5EF4-FFF2-40B4-BE49-F238E27FC236}">
                  <a16:creationId xmlns:a16="http://schemas.microsoft.com/office/drawing/2014/main" id="{F64BF16E-9D62-438E-A1CC-CD4088AC7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2895" y="1706004"/>
              <a:ext cx="767013" cy="785011"/>
            </a:xfrm>
            <a:custGeom>
              <a:avLst/>
              <a:gdLst>
                <a:gd name="T0" fmla="*/ 102 w 1440"/>
                <a:gd name="T1" fmla="*/ 104 h 1476"/>
                <a:gd name="T2" fmla="*/ 99 w 1440"/>
                <a:gd name="T3" fmla="*/ 108 h 1476"/>
                <a:gd name="T4" fmla="*/ 98 w 1440"/>
                <a:gd name="T5" fmla="*/ 112 h 1476"/>
                <a:gd name="T6" fmla="*/ 96 w 1440"/>
                <a:gd name="T7" fmla="*/ 116 h 1476"/>
                <a:gd name="T8" fmla="*/ 91 w 1440"/>
                <a:gd name="T9" fmla="*/ 118 h 1476"/>
                <a:gd name="T10" fmla="*/ 87 w 1440"/>
                <a:gd name="T11" fmla="*/ 120 h 1476"/>
                <a:gd name="T12" fmla="*/ 75 w 1440"/>
                <a:gd name="T13" fmla="*/ 120 h 1476"/>
                <a:gd name="T14" fmla="*/ 72 w 1440"/>
                <a:gd name="T15" fmla="*/ 123 h 1476"/>
                <a:gd name="T16" fmla="*/ 69 w 1440"/>
                <a:gd name="T17" fmla="*/ 128 h 1476"/>
                <a:gd name="T18" fmla="*/ 67 w 1440"/>
                <a:gd name="T19" fmla="*/ 127 h 1476"/>
                <a:gd name="T20" fmla="*/ 66 w 1440"/>
                <a:gd name="T21" fmla="*/ 123 h 1476"/>
                <a:gd name="T22" fmla="*/ 63 w 1440"/>
                <a:gd name="T23" fmla="*/ 119 h 1476"/>
                <a:gd name="T24" fmla="*/ 54 w 1440"/>
                <a:gd name="T25" fmla="*/ 114 h 1476"/>
                <a:gd name="T26" fmla="*/ 55 w 1440"/>
                <a:gd name="T27" fmla="*/ 106 h 1476"/>
                <a:gd name="T28" fmla="*/ 60 w 1440"/>
                <a:gd name="T29" fmla="*/ 100 h 1476"/>
                <a:gd name="T30" fmla="*/ 55 w 1440"/>
                <a:gd name="T31" fmla="*/ 91 h 1476"/>
                <a:gd name="T32" fmla="*/ 51 w 1440"/>
                <a:gd name="T33" fmla="*/ 86 h 1476"/>
                <a:gd name="T34" fmla="*/ 47 w 1440"/>
                <a:gd name="T35" fmla="*/ 85 h 1476"/>
                <a:gd name="T36" fmla="*/ 44 w 1440"/>
                <a:gd name="T37" fmla="*/ 82 h 1476"/>
                <a:gd name="T38" fmla="*/ 41 w 1440"/>
                <a:gd name="T39" fmla="*/ 83 h 1476"/>
                <a:gd name="T40" fmla="*/ 36 w 1440"/>
                <a:gd name="T41" fmla="*/ 83 h 1476"/>
                <a:gd name="T42" fmla="*/ 33 w 1440"/>
                <a:gd name="T43" fmla="*/ 83 h 1476"/>
                <a:gd name="T44" fmla="*/ 30 w 1440"/>
                <a:gd name="T45" fmla="*/ 83 h 1476"/>
                <a:gd name="T46" fmla="*/ 27 w 1440"/>
                <a:gd name="T47" fmla="*/ 83 h 1476"/>
                <a:gd name="T48" fmla="*/ 24 w 1440"/>
                <a:gd name="T49" fmla="*/ 82 h 1476"/>
                <a:gd name="T50" fmla="*/ 21 w 1440"/>
                <a:gd name="T51" fmla="*/ 80 h 1476"/>
                <a:gd name="T52" fmla="*/ 18 w 1440"/>
                <a:gd name="T53" fmla="*/ 79 h 1476"/>
                <a:gd name="T54" fmla="*/ 17 w 1440"/>
                <a:gd name="T55" fmla="*/ 78 h 1476"/>
                <a:gd name="T56" fmla="*/ 12 w 1440"/>
                <a:gd name="T57" fmla="*/ 78 h 1476"/>
                <a:gd name="T58" fmla="*/ 12 w 1440"/>
                <a:gd name="T59" fmla="*/ 78 h 1476"/>
                <a:gd name="T60" fmla="*/ 7 w 1440"/>
                <a:gd name="T61" fmla="*/ 80 h 1476"/>
                <a:gd name="T62" fmla="*/ 3 w 1440"/>
                <a:gd name="T63" fmla="*/ 81 h 1476"/>
                <a:gd name="T64" fmla="*/ 0 w 1440"/>
                <a:gd name="T65" fmla="*/ 76 h 1476"/>
                <a:gd name="T66" fmla="*/ 1 w 1440"/>
                <a:gd name="T67" fmla="*/ 50 h 1476"/>
                <a:gd name="T68" fmla="*/ 8 w 1440"/>
                <a:gd name="T69" fmla="*/ 48 h 1476"/>
                <a:gd name="T70" fmla="*/ 20 w 1440"/>
                <a:gd name="T71" fmla="*/ 49 h 1476"/>
                <a:gd name="T72" fmla="*/ 26 w 1440"/>
                <a:gd name="T73" fmla="*/ 50 h 1476"/>
                <a:gd name="T74" fmla="*/ 44 w 1440"/>
                <a:gd name="T75" fmla="*/ 47 h 1476"/>
                <a:gd name="T76" fmla="*/ 41 w 1440"/>
                <a:gd name="T77" fmla="*/ 24 h 1476"/>
                <a:gd name="T78" fmla="*/ 44 w 1440"/>
                <a:gd name="T79" fmla="*/ 20 h 1476"/>
                <a:gd name="T80" fmla="*/ 47 w 1440"/>
                <a:gd name="T81" fmla="*/ 18 h 1476"/>
                <a:gd name="T82" fmla="*/ 54 w 1440"/>
                <a:gd name="T83" fmla="*/ 21 h 1476"/>
                <a:gd name="T84" fmla="*/ 61 w 1440"/>
                <a:gd name="T85" fmla="*/ 23 h 1476"/>
                <a:gd name="T86" fmla="*/ 59 w 1440"/>
                <a:gd name="T87" fmla="*/ 14 h 1476"/>
                <a:gd name="T88" fmla="*/ 61 w 1440"/>
                <a:gd name="T89" fmla="*/ 8 h 1476"/>
                <a:gd name="T90" fmla="*/ 71 w 1440"/>
                <a:gd name="T91" fmla="*/ 7 h 1476"/>
                <a:gd name="T92" fmla="*/ 75 w 1440"/>
                <a:gd name="T93" fmla="*/ 0 h 1476"/>
                <a:gd name="T94" fmla="*/ 82 w 1440"/>
                <a:gd name="T95" fmla="*/ 3 h 1476"/>
                <a:gd name="T96" fmla="*/ 93 w 1440"/>
                <a:gd name="T97" fmla="*/ 5 h 1476"/>
                <a:gd name="T98" fmla="*/ 100 w 1440"/>
                <a:gd name="T99" fmla="*/ 1 h 1476"/>
                <a:gd name="T100" fmla="*/ 104 w 1440"/>
                <a:gd name="T101" fmla="*/ 4 h 1476"/>
                <a:gd name="T102" fmla="*/ 110 w 1440"/>
                <a:gd name="T103" fmla="*/ 10 h 1476"/>
                <a:gd name="T104" fmla="*/ 115 w 1440"/>
                <a:gd name="T105" fmla="*/ 23 h 1476"/>
                <a:gd name="T106" fmla="*/ 117 w 1440"/>
                <a:gd name="T107" fmla="*/ 42 h 1476"/>
                <a:gd name="T108" fmla="*/ 121 w 1440"/>
                <a:gd name="T109" fmla="*/ 52 h 1476"/>
                <a:gd name="T110" fmla="*/ 118 w 1440"/>
                <a:gd name="T111" fmla="*/ 62 h 1476"/>
                <a:gd name="T112" fmla="*/ 124 w 1440"/>
                <a:gd name="T113" fmla="*/ 66 h 1476"/>
                <a:gd name="T114" fmla="*/ 121 w 1440"/>
                <a:gd name="T115" fmla="*/ 71 h 1476"/>
                <a:gd name="T116" fmla="*/ 115 w 1440"/>
                <a:gd name="T117" fmla="*/ 76 h 1476"/>
                <a:gd name="T118" fmla="*/ 109 w 1440"/>
                <a:gd name="T119" fmla="*/ 76 h 1476"/>
                <a:gd name="T120" fmla="*/ 105 w 1440"/>
                <a:gd name="T121" fmla="*/ 86 h 1476"/>
                <a:gd name="T122" fmla="*/ 107 w 1440"/>
                <a:gd name="T123" fmla="*/ 97 h 147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40"/>
                <a:gd name="T187" fmla="*/ 0 h 1476"/>
                <a:gd name="T188" fmla="*/ 1440 w 1440"/>
                <a:gd name="T189" fmla="*/ 1476 h 147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40" h="1476">
                  <a:moveTo>
                    <a:pt x="1212" y="1164"/>
                  </a:moveTo>
                  <a:lnTo>
                    <a:pt x="1206" y="1170"/>
                  </a:lnTo>
                  <a:lnTo>
                    <a:pt x="1200" y="1176"/>
                  </a:lnTo>
                  <a:lnTo>
                    <a:pt x="1194" y="1176"/>
                  </a:lnTo>
                  <a:lnTo>
                    <a:pt x="1188" y="1188"/>
                  </a:lnTo>
                  <a:lnTo>
                    <a:pt x="1182" y="1194"/>
                  </a:lnTo>
                  <a:lnTo>
                    <a:pt x="1176" y="1194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64" y="1206"/>
                  </a:lnTo>
                  <a:lnTo>
                    <a:pt x="1158" y="1206"/>
                  </a:lnTo>
                  <a:lnTo>
                    <a:pt x="1152" y="1212"/>
                  </a:lnTo>
                  <a:lnTo>
                    <a:pt x="1146" y="1212"/>
                  </a:lnTo>
                  <a:lnTo>
                    <a:pt x="1140" y="1224"/>
                  </a:lnTo>
                  <a:lnTo>
                    <a:pt x="1134" y="1230"/>
                  </a:lnTo>
                  <a:lnTo>
                    <a:pt x="1128" y="1236"/>
                  </a:lnTo>
                  <a:lnTo>
                    <a:pt x="1128" y="1242"/>
                  </a:lnTo>
                  <a:lnTo>
                    <a:pt x="1128" y="1254"/>
                  </a:lnTo>
                  <a:lnTo>
                    <a:pt x="1128" y="1260"/>
                  </a:lnTo>
                  <a:lnTo>
                    <a:pt x="1122" y="1260"/>
                  </a:lnTo>
                  <a:lnTo>
                    <a:pt x="1122" y="1266"/>
                  </a:lnTo>
                  <a:lnTo>
                    <a:pt x="1128" y="1278"/>
                  </a:lnTo>
                  <a:lnTo>
                    <a:pt x="1122" y="1278"/>
                  </a:lnTo>
                  <a:lnTo>
                    <a:pt x="1122" y="1284"/>
                  </a:lnTo>
                  <a:lnTo>
                    <a:pt x="1128" y="1290"/>
                  </a:lnTo>
                  <a:lnTo>
                    <a:pt x="1122" y="1296"/>
                  </a:lnTo>
                  <a:lnTo>
                    <a:pt x="1122" y="1302"/>
                  </a:lnTo>
                  <a:lnTo>
                    <a:pt x="1116" y="1302"/>
                  </a:lnTo>
                  <a:lnTo>
                    <a:pt x="1110" y="1314"/>
                  </a:lnTo>
                  <a:lnTo>
                    <a:pt x="1110" y="1320"/>
                  </a:lnTo>
                  <a:lnTo>
                    <a:pt x="1110" y="1326"/>
                  </a:lnTo>
                  <a:lnTo>
                    <a:pt x="1098" y="1332"/>
                  </a:lnTo>
                  <a:lnTo>
                    <a:pt x="1092" y="1338"/>
                  </a:lnTo>
                  <a:lnTo>
                    <a:pt x="1092" y="1344"/>
                  </a:lnTo>
                  <a:lnTo>
                    <a:pt x="1086" y="1350"/>
                  </a:lnTo>
                  <a:lnTo>
                    <a:pt x="1080" y="1350"/>
                  </a:lnTo>
                  <a:lnTo>
                    <a:pt x="1074" y="1350"/>
                  </a:lnTo>
                  <a:lnTo>
                    <a:pt x="1068" y="1356"/>
                  </a:lnTo>
                  <a:lnTo>
                    <a:pt x="1062" y="1356"/>
                  </a:lnTo>
                  <a:lnTo>
                    <a:pt x="1044" y="1356"/>
                  </a:lnTo>
                  <a:lnTo>
                    <a:pt x="1038" y="1362"/>
                  </a:lnTo>
                  <a:lnTo>
                    <a:pt x="1032" y="1368"/>
                  </a:lnTo>
                  <a:lnTo>
                    <a:pt x="1026" y="1368"/>
                  </a:lnTo>
                  <a:lnTo>
                    <a:pt x="1020" y="1374"/>
                  </a:lnTo>
                  <a:lnTo>
                    <a:pt x="1008" y="1374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74"/>
                  </a:lnTo>
                  <a:lnTo>
                    <a:pt x="978" y="1380"/>
                  </a:lnTo>
                  <a:lnTo>
                    <a:pt x="972" y="1380"/>
                  </a:lnTo>
                  <a:lnTo>
                    <a:pt x="954" y="1368"/>
                  </a:lnTo>
                  <a:lnTo>
                    <a:pt x="930" y="1368"/>
                  </a:lnTo>
                  <a:lnTo>
                    <a:pt x="918" y="1368"/>
                  </a:lnTo>
                  <a:lnTo>
                    <a:pt x="906" y="1368"/>
                  </a:lnTo>
                  <a:lnTo>
                    <a:pt x="894" y="1368"/>
                  </a:lnTo>
                  <a:lnTo>
                    <a:pt x="864" y="1374"/>
                  </a:lnTo>
                  <a:lnTo>
                    <a:pt x="852" y="1374"/>
                  </a:lnTo>
                  <a:lnTo>
                    <a:pt x="846" y="1386"/>
                  </a:lnTo>
                  <a:lnTo>
                    <a:pt x="846" y="1392"/>
                  </a:lnTo>
                  <a:lnTo>
                    <a:pt x="840" y="1398"/>
                  </a:lnTo>
                  <a:lnTo>
                    <a:pt x="840" y="1404"/>
                  </a:lnTo>
                  <a:lnTo>
                    <a:pt x="834" y="1416"/>
                  </a:lnTo>
                  <a:lnTo>
                    <a:pt x="828" y="1416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04" y="1428"/>
                  </a:lnTo>
                  <a:lnTo>
                    <a:pt x="804" y="1434"/>
                  </a:lnTo>
                  <a:lnTo>
                    <a:pt x="804" y="1440"/>
                  </a:lnTo>
                  <a:lnTo>
                    <a:pt x="798" y="1446"/>
                  </a:lnTo>
                  <a:lnTo>
                    <a:pt x="798" y="1458"/>
                  </a:lnTo>
                  <a:lnTo>
                    <a:pt x="792" y="1464"/>
                  </a:lnTo>
                  <a:lnTo>
                    <a:pt x="786" y="1476"/>
                  </a:lnTo>
                  <a:lnTo>
                    <a:pt x="780" y="1470"/>
                  </a:lnTo>
                  <a:lnTo>
                    <a:pt x="774" y="1470"/>
                  </a:lnTo>
                  <a:lnTo>
                    <a:pt x="768" y="1470"/>
                  </a:lnTo>
                  <a:lnTo>
                    <a:pt x="762" y="1476"/>
                  </a:lnTo>
                  <a:lnTo>
                    <a:pt x="762" y="1470"/>
                  </a:lnTo>
                  <a:lnTo>
                    <a:pt x="762" y="1464"/>
                  </a:lnTo>
                  <a:lnTo>
                    <a:pt x="762" y="1458"/>
                  </a:lnTo>
                  <a:lnTo>
                    <a:pt x="756" y="1458"/>
                  </a:lnTo>
                  <a:lnTo>
                    <a:pt x="756" y="1452"/>
                  </a:lnTo>
                  <a:lnTo>
                    <a:pt x="756" y="1446"/>
                  </a:lnTo>
                  <a:lnTo>
                    <a:pt x="756" y="1440"/>
                  </a:lnTo>
                  <a:lnTo>
                    <a:pt x="750" y="1434"/>
                  </a:lnTo>
                  <a:lnTo>
                    <a:pt x="750" y="1428"/>
                  </a:lnTo>
                  <a:lnTo>
                    <a:pt x="750" y="1422"/>
                  </a:lnTo>
                  <a:lnTo>
                    <a:pt x="750" y="1416"/>
                  </a:lnTo>
                  <a:lnTo>
                    <a:pt x="744" y="1416"/>
                  </a:lnTo>
                  <a:lnTo>
                    <a:pt x="744" y="1410"/>
                  </a:lnTo>
                  <a:lnTo>
                    <a:pt x="738" y="1404"/>
                  </a:lnTo>
                  <a:lnTo>
                    <a:pt x="732" y="1398"/>
                  </a:lnTo>
                  <a:lnTo>
                    <a:pt x="732" y="1392"/>
                  </a:lnTo>
                  <a:lnTo>
                    <a:pt x="726" y="1386"/>
                  </a:lnTo>
                  <a:lnTo>
                    <a:pt x="726" y="1380"/>
                  </a:lnTo>
                  <a:lnTo>
                    <a:pt x="714" y="1368"/>
                  </a:lnTo>
                  <a:lnTo>
                    <a:pt x="708" y="1368"/>
                  </a:lnTo>
                  <a:lnTo>
                    <a:pt x="684" y="1332"/>
                  </a:lnTo>
                  <a:lnTo>
                    <a:pt x="666" y="1320"/>
                  </a:lnTo>
                  <a:lnTo>
                    <a:pt x="648" y="1302"/>
                  </a:lnTo>
                  <a:lnTo>
                    <a:pt x="630" y="1314"/>
                  </a:lnTo>
                  <a:lnTo>
                    <a:pt x="624" y="1314"/>
                  </a:lnTo>
                  <a:lnTo>
                    <a:pt x="624" y="1308"/>
                  </a:lnTo>
                  <a:lnTo>
                    <a:pt x="618" y="1308"/>
                  </a:lnTo>
                  <a:lnTo>
                    <a:pt x="612" y="1284"/>
                  </a:lnTo>
                  <a:lnTo>
                    <a:pt x="606" y="1254"/>
                  </a:lnTo>
                  <a:lnTo>
                    <a:pt x="606" y="1248"/>
                  </a:lnTo>
                  <a:lnTo>
                    <a:pt x="606" y="1242"/>
                  </a:lnTo>
                  <a:lnTo>
                    <a:pt x="612" y="1242"/>
                  </a:lnTo>
                  <a:lnTo>
                    <a:pt x="618" y="1236"/>
                  </a:lnTo>
                  <a:lnTo>
                    <a:pt x="618" y="1230"/>
                  </a:lnTo>
                  <a:lnTo>
                    <a:pt x="624" y="1224"/>
                  </a:lnTo>
                  <a:lnTo>
                    <a:pt x="630" y="1224"/>
                  </a:lnTo>
                  <a:lnTo>
                    <a:pt x="636" y="1218"/>
                  </a:lnTo>
                  <a:lnTo>
                    <a:pt x="636" y="1212"/>
                  </a:lnTo>
                  <a:lnTo>
                    <a:pt x="612" y="1200"/>
                  </a:lnTo>
                  <a:lnTo>
                    <a:pt x="606" y="1182"/>
                  </a:lnTo>
                  <a:lnTo>
                    <a:pt x="672" y="1182"/>
                  </a:lnTo>
                  <a:lnTo>
                    <a:pt x="690" y="1170"/>
                  </a:lnTo>
                  <a:lnTo>
                    <a:pt x="690" y="1152"/>
                  </a:lnTo>
                  <a:lnTo>
                    <a:pt x="678" y="1110"/>
                  </a:lnTo>
                  <a:lnTo>
                    <a:pt x="672" y="1092"/>
                  </a:lnTo>
                  <a:lnTo>
                    <a:pt x="660" y="1074"/>
                  </a:lnTo>
                  <a:lnTo>
                    <a:pt x="648" y="1068"/>
                  </a:lnTo>
                  <a:lnTo>
                    <a:pt x="642" y="1068"/>
                  </a:lnTo>
                  <a:lnTo>
                    <a:pt x="636" y="1062"/>
                  </a:lnTo>
                  <a:lnTo>
                    <a:pt x="624" y="1056"/>
                  </a:lnTo>
                  <a:lnTo>
                    <a:pt x="624" y="1050"/>
                  </a:lnTo>
                  <a:lnTo>
                    <a:pt x="618" y="1038"/>
                  </a:lnTo>
                  <a:lnTo>
                    <a:pt x="612" y="1038"/>
                  </a:lnTo>
                  <a:lnTo>
                    <a:pt x="612" y="1032"/>
                  </a:lnTo>
                  <a:lnTo>
                    <a:pt x="612" y="1026"/>
                  </a:lnTo>
                  <a:lnTo>
                    <a:pt x="600" y="1014"/>
                  </a:lnTo>
                  <a:lnTo>
                    <a:pt x="582" y="1008"/>
                  </a:lnTo>
                  <a:lnTo>
                    <a:pt x="576" y="1002"/>
                  </a:lnTo>
                  <a:lnTo>
                    <a:pt x="576" y="996"/>
                  </a:lnTo>
                  <a:lnTo>
                    <a:pt x="570" y="996"/>
                  </a:lnTo>
                  <a:lnTo>
                    <a:pt x="570" y="990"/>
                  </a:lnTo>
                  <a:lnTo>
                    <a:pt x="570" y="984"/>
                  </a:lnTo>
                  <a:lnTo>
                    <a:pt x="564" y="984"/>
                  </a:lnTo>
                  <a:lnTo>
                    <a:pt x="558" y="978"/>
                  </a:lnTo>
                  <a:lnTo>
                    <a:pt x="552" y="972"/>
                  </a:lnTo>
                  <a:lnTo>
                    <a:pt x="552" y="966"/>
                  </a:lnTo>
                  <a:lnTo>
                    <a:pt x="546" y="972"/>
                  </a:lnTo>
                  <a:lnTo>
                    <a:pt x="540" y="972"/>
                  </a:lnTo>
                  <a:lnTo>
                    <a:pt x="534" y="960"/>
                  </a:lnTo>
                  <a:lnTo>
                    <a:pt x="528" y="960"/>
                  </a:lnTo>
                  <a:lnTo>
                    <a:pt x="528" y="966"/>
                  </a:lnTo>
                  <a:lnTo>
                    <a:pt x="516" y="954"/>
                  </a:lnTo>
                  <a:lnTo>
                    <a:pt x="516" y="948"/>
                  </a:lnTo>
                  <a:lnTo>
                    <a:pt x="510" y="948"/>
                  </a:lnTo>
                  <a:lnTo>
                    <a:pt x="504" y="948"/>
                  </a:lnTo>
                  <a:lnTo>
                    <a:pt x="498" y="948"/>
                  </a:lnTo>
                  <a:lnTo>
                    <a:pt x="504" y="954"/>
                  </a:lnTo>
                  <a:lnTo>
                    <a:pt x="498" y="954"/>
                  </a:lnTo>
                  <a:lnTo>
                    <a:pt x="492" y="954"/>
                  </a:lnTo>
                  <a:lnTo>
                    <a:pt x="480" y="942"/>
                  </a:lnTo>
                  <a:lnTo>
                    <a:pt x="480" y="948"/>
                  </a:lnTo>
                  <a:lnTo>
                    <a:pt x="480" y="954"/>
                  </a:lnTo>
                  <a:lnTo>
                    <a:pt x="474" y="954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56" y="966"/>
                  </a:lnTo>
                  <a:lnTo>
                    <a:pt x="456" y="960"/>
                  </a:lnTo>
                  <a:lnTo>
                    <a:pt x="450" y="966"/>
                  </a:lnTo>
                  <a:lnTo>
                    <a:pt x="444" y="966"/>
                  </a:lnTo>
                  <a:lnTo>
                    <a:pt x="414" y="966"/>
                  </a:lnTo>
                  <a:lnTo>
                    <a:pt x="408" y="960"/>
                  </a:lnTo>
                  <a:lnTo>
                    <a:pt x="408" y="966"/>
                  </a:lnTo>
                  <a:lnTo>
                    <a:pt x="402" y="960"/>
                  </a:lnTo>
                  <a:lnTo>
                    <a:pt x="396" y="960"/>
                  </a:lnTo>
                  <a:lnTo>
                    <a:pt x="390" y="960"/>
                  </a:lnTo>
                  <a:lnTo>
                    <a:pt x="390" y="966"/>
                  </a:lnTo>
                  <a:lnTo>
                    <a:pt x="384" y="966"/>
                  </a:lnTo>
                  <a:lnTo>
                    <a:pt x="378" y="966"/>
                  </a:lnTo>
                  <a:lnTo>
                    <a:pt x="384" y="960"/>
                  </a:lnTo>
                  <a:lnTo>
                    <a:pt x="384" y="954"/>
                  </a:lnTo>
                  <a:lnTo>
                    <a:pt x="372" y="948"/>
                  </a:lnTo>
                  <a:lnTo>
                    <a:pt x="372" y="954"/>
                  </a:lnTo>
                  <a:lnTo>
                    <a:pt x="372" y="960"/>
                  </a:lnTo>
                  <a:lnTo>
                    <a:pt x="366" y="960"/>
                  </a:lnTo>
                  <a:lnTo>
                    <a:pt x="360" y="966"/>
                  </a:lnTo>
                  <a:lnTo>
                    <a:pt x="354" y="966"/>
                  </a:lnTo>
                  <a:lnTo>
                    <a:pt x="348" y="960"/>
                  </a:lnTo>
                  <a:lnTo>
                    <a:pt x="342" y="960"/>
                  </a:lnTo>
                  <a:lnTo>
                    <a:pt x="342" y="966"/>
                  </a:lnTo>
                  <a:lnTo>
                    <a:pt x="336" y="972"/>
                  </a:lnTo>
                  <a:lnTo>
                    <a:pt x="330" y="972"/>
                  </a:lnTo>
                  <a:lnTo>
                    <a:pt x="324" y="966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6" y="954"/>
                  </a:lnTo>
                  <a:lnTo>
                    <a:pt x="306" y="948"/>
                  </a:lnTo>
                  <a:lnTo>
                    <a:pt x="306" y="942"/>
                  </a:lnTo>
                  <a:lnTo>
                    <a:pt x="300" y="942"/>
                  </a:lnTo>
                  <a:lnTo>
                    <a:pt x="294" y="936"/>
                  </a:lnTo>
                  <a:lnTo>
                    <a:pt x="288" y="936"/>
                  </a:lnTo>
                  <a:lnTo>
                    <a:pt x="282" y="942"/>
                  </a:lnTo>
                  <a:lnTo>
                    <a:pt x="276" y="936"/>
                  </a:lnTo>
                  <a:lnTo>
                    <a:pt x="276" y="942"/>
                  </a:lnTo>
                  <a:lnTo>
                    <a:pt x="270" y="942"/>
                  </a:lnTo>
                  <a:lnTo>
                    <a:pt x="264" y="936"/>
                  </a:lnTo>
                  <a:lnTo>
                    <a:pt x="252" y="936"/>
                  </a:lnTo>
                  <a:lnTo>
                    <a:pt x="246" y="936"/>
                  </a:lnTo>
                  <a:lnTo>
                    <a:pt x="240" y="936"/>
                  </a:lnTo>
                  <a:lnTo>
                    <a:pt x="234" y="936"/>
                  </a:lnTo>
                  <a:lnTo>
                    <a:pt x="240" y="924"/>
                  </a:lnTo>
                  <a:lnTo>
                    <a:pt x="234" y="924"/>
                  </a:lnTo>
                  <a:lnTo>
                    <a:pt x="228" y="918"/>
                  </a:lnTo>
                  <a:lnTo>
                    <a:pt x="228" y="906"/>
                  </a:lnTo>
                  <a:lnTo>
                    <a:pt x="222" y="900"/>
                  </a:lnTo>
                  <a:lnTo>
                    <a:pt x="216" y="900"/>
                  </a:lnTo>
                  <a:lnTo>
                    <a:pt x="210" y="900"/>
                  </a:lnTo>
                  <a:lnTo>
                    <a:pt x="210" y="906"/>
                  </a:lnTo>
                  <a:lnTo>
                    <a:pt x="204" y="906"/>
                  </a:lnTo>
                  <a:lnTo>
                    <a:pt x="198" y="906"/>
                  </a:lnTo>
                  <a:lnTo>
                    <a:pt x="210" y="900"/>
                  </a:lnTo>
                  <a:lnTo>
                    <a:pt x="210" y="894"/>
                  </a:lnTo>
                  <a:lnTo>
                    <a:pt x="216" y="888"/>
                  </a:lnTo>
                  <a:lnTo>
                    <a:pt x="204" y="882"/>
                  </a:lnTo>
                  <a:lnTo>
                    <a:pt x="204" y="894"/>
                  </a:lnTo>
                  <a:lnTo>
                    <a:pt x="198" y="894"/>
                  </a:lnTo>
                  <a:lnTo>
                    <a:pt x="192" y="900"/>
                  </a:lnTo>
                  <a:lnTo>
                    <a:pt x="186" y="894"/>
                  </a:lnTo>
                  <a:lnTo>
                    <a:pt x="180" y="894"/>
                  </a:lnTo>
                  <a:lnTo>
                    <a:pt x="174" y="894"/>
                  </a:lnTo>
                  <a:lnTo>
                    <a:pt x="168" y="900"/>
                  </a:lnTo>
                  <a:lnTo>
                    <a:pt x="162" y="906"/>
                  </a:lnTo>
                  <a:lnTo>
                    <a:pt x="156" y="906"/>
                  </a:lnTo>
                  <a:lnTo>
                    <a:pt x="150" y="900"/>
                  </a:lnTo>
                  <a:lnTo>
                    <a:pt x="144" y="894"/>
                  </a:lnTo>
                  <a:lnTo>
                    <a:pt x="138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0" y="888"/>
                  </a:lnTo>
                  <a:lnTo>
                    <a:pt x="114" y="894"/>
                  </a:lnTo>
                  <a:lnTo>
                    <a:pt x="120" y="900"/>
                  </a:lnTo>
                  <a:lnTo>
                    <a:pt x="126" y="900"/>
                  </a:lnTo>
                  <a:lnTo>
                    <a:pt x="132" y="900"/>
                  </a:lnTo>
                  <a:lnTo>
                    <a:pt x="132" y="906"/>
                  </a:lnTo>
                  <a:lnTo>
                    <a:pt x="126" y="912"/>
                  </a:lnTo>
                  <a:lnTo>
                    <a:pt x="126" y="918"/>
                  </a:lnTo>
                  <a:lnTo>
                    <a:pt x="114" y="918"/>
                  </a:lnTo>
                  <a:lnTo>
                    <a:pt x="108" y="924"/>
                  </a:lnTo>
                  <a:lnTo>
                    <a:pt x="102" y="924"/>
                  </a:lnTo>
                  <a:lnTo>
                    <a:pt x="90" y="924"/>
                  </a:lnTo>
                  <a:lnTo>
                    <a:pt x="84" y="924"/>
                  </a:lnTo>
                  <a:lnTo>
                    <a:pt x="78" y="924"/>
                  </a:lnTo>
                  <a:lnTo>
                    <a:pt x="60" y="924"/>
                  </a:lnTo>
                  <a:lnTo>
                    <a:pt x="54" y="942"/>
                  </a:lnTo>
                  <a:lnTo>
                    <a:pt x="48" y="936"/>
                  </a:lnTo>
                  <a:lnTo>
                    <a:pt x="42" y="930"/>
                  </a:lnTo>
                  <a:lnTo>
                    <a:pt x="36" y="930"/>
                  </a:lnTo>
                  <a:lnTo>
                    <a:pt x="30" y="936"/>
                  </a:lnTo>
                  <a:lnTo>
                    <a:pt x="30" y="930"/>
                  </a:lnTo>
                  <a:lnTo>
                    <a:pt x="30" y="924"/>
                  </a:lnTo>
                  <a:lnTo>
                    <a:pt x="18" y="918"/>
                  </a:lnTo>
                  <a:lnTo>
                    <a:pt x="18" y="912"/>
                  </a:lnTo>
                  <a:lnTo>
                    <a:pt x="12" y="912"/>
                  </a:lnTo>
                  <a:lnTo>
                    <a:pt x="6" y="912"/>
                  </a:lnTo>
                  <a:lnTo>
                    <a:pt x="6" y="900"/>
                  </a:lnTo>
                  <a:lnTo>
                    <a:pt x="6" y="894"/>
                  </a:lnTo>
                  <a:lnTo>
                    <a:pt x="0" y="870"/>
                  </a:lnTo>
                  <a:lnTo>
                    <a:pt x="6" y="846"/>
                  </a:lnTo>
                  <a:lnTo>
                    <a:pt x="6" y="810"/>
                  </a:lnTo>
                  <a:lnTo>
                    <a:pt x="12" y="774"/>
                  </a:lnTo>
                  <a:lnTo>
                    <a:pt x="12" y="756"/>
                  </a:lnTo>
                  <a:lnTo>
                    <a:pt x="18" y="744"/>
                  </a:lnTo>
                  <a:lnTo>
                    <a:pt x="18" y="732"/>
                  </a:lnTo>
                  <a:lnTo>
                    <a:pt x="12" y="576"/>
                  </a:lnTo>
                  <a:lnTo>
                    <a:pt x="12" y="570"/>
                  </a:lnTo>
                  <a:lnTo>
                    <a:pt x="18" y="564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42" y="552"/>
                  </a:lnTo>
                  <a:lnTo>
                    <a:pt x="66" y="552"/>
                  </a:lnTo>
                  <a:lnTo>
                    <a:pt x="78" y="558"/>
                  </a:lnTo>
                  <a:lnTo>
                    <a:pt x="90" y="558"/>
                  </a:lnTo>
                  <a:lnTo>
                    <a:pt x="108" y="558"/>
                  </a:lnTo>
                  <a:lnTo>
                    <a:pt x="144" y="558"/>
                  </a:lnTo>
                  <a:lnTo>
                    <a:pt x="204" y="552"/>
                  </a:lnTo>
                  <a:lnTo>
                    <a:pt x="210" y="558"/>
                  </a:lnTo>
                  <a:lnTo>
                    <a:pt x="216" y="558"/>
                  </a:lnTo>
                  <a:lnTo>
                    <a:pt x="210" y="564"/>
                  </a:lnTo>
                  <a:lnTo>
                    <a:pt x="216" y="564"/>
                  </a:lnTo>
                  <a:lnTo>
                    <a:pt x="222" y="564"/>
                  </a:lnTo>
                  <a:lnTo>
                    <a:pt x="240" y="564"/>
                  </a:lnTo>
                  <a:lnTo>
                    <a:pt x="258" y="564"/>
                  </a:lnTo>
                  <a:lnTo>
                    <a:pt x="264" y="570"/>
                  </a:lnTo>
                  <a:lnTo>
                    <a:pt x="276" y="570"/>
                  </a:lnTo>
                  <a:lnTo>
                    <a:pt x="282" y="564"/>
                  </a:lnTo>
                  <a:lnTo>
                    <a:pt x="294" y="564"/>
                  </a:lnTo>
                  <a:lnTo>
                    <a:pt x="294" y="570"/>
                  </a:lnTo>
                  <a:lnTo>
                    <a:pt x="300" y="570"/>
                  </a:lnTo>
                  <a:lnTo>
                    <a:pt x="378" y="564"/>
                  </a:lnTo>
                  <a:lnTo>
                    <a:pt x="408" y="558"/>
                  </a:lnTo>
                  <a:lnTo>
                    <a:pt x="432" y="552"/>
                  </a:lnTo>
                  <a:lnTo>
                    <a:pt x="450" y="546"/>
                  </a:lnTo>
                  <a:lnTo>
                    <a:pt x="468" y="546"/>
                  </a:lnTo>
                  <a:lnTo>
                    <a:pt x="468" y="552"/>
                  </a:lnTo>
                  <a:lnTo>
                    <a:pt x="504" y="552"/>
                  </a:lnTo>
                  <a:lnTo>
                    <a:pt x="510" y="534"/>
                  </a:lnTo>
                  <a:lnTo>
                    <a:pt x="516" y="510"/>
                  </a:lnTo>
                  <a:lnTo>
                    <a:pt x="522" y="510"/>
                  </a:lnTo>
                  <a:lnTo>
                    <a:pt x="528" y="420"/>
                  </a:lnTo>
                  <a:lnTo>
                    <a:pt x="522" y="414"/>
                  </a:lnTo>
                  <a:lnTo>
                    <a:pt x="516" y="396"/>
                  </a:lnTo>
                  <a:lnTo>
                    <a:pt x="510" y="372"/>
                  </a:lnTo>
                  <a:lnTo>
                    <a:pt x="498" y="348"/>
                  </a:lnTo>
                  <a:lnTo>
                    <a:pt x="474" y="282"/>
                  </a:lnTo>
                  <a:lnTo>
                    <a:pt x="474" y="270"/>
                  </a:lnTo>
                  <a:lnTo>
                    <a:pt x="480" y="258"/>
                  </a:lnTo>
                  <a:lnTo>
                    <a:pt x="486" y="258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92" y="246"/>
                  </a:lnTo>
                  <a:lnTo>
                    <a:pt x="504" y="234"/>
                  </a:lnTo>
                  <a:lnTo>
                    <a:pt x="510" y="228"/>
                  </a:lnTo>
                  <a:lnTo>
                    <a:pt x="516" y="228"/>
                  </a:lnTo>
                  <a:lnTo>
                    <a:pt x="516" y="222"/>
                  </a:lnTo>
                  <a:lnTo>
                    <a:pt x="516" y="216"/>
                  </a:lnTo>
                  <a:lnTo>
                    <a:pt x="522" y="216"/>
                  </a:lnTo>
                  <a:lnTo>
                    <a:pt x="528" y="210"/>
                  </a:lnTo>
                  <a:lnTo>
                    <a:pt x="534" y="210"/>
                  </a:lnTo>
                  <a:lnTo>
                    <a:pt x="540" y="210"/>
                  </a:lnTo>
                  <a:lnTo>
                    <a:pt x="546" y="210"/>
                  </a:lnTo>
                  <a:lnTo>
                    <a:pt x="552" y="210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16"/>
                  </a:lnTo>
                  <a:lnTo>
                    <a:pt x="588" y="228"/>
                  </a:lnTo>
                  <a:lnTo>
                    <a:pt x="594" y="234"/>
                  </a:lnTo>
                  <a:lnTo>
                    <a:pt x="600" y="240"/>
                  </a:lnTo>
                  <a:lnTo>
                    <a:pt x="618" y="246"/>
                  </a:lnTo>
                  <a:lnTo>
                    <a:pt x="624" y="246"/>
                  </a:lnTo>
                  <a:lnTo>
                    <a:pt x="636" y="252"/>
                  </a:lnTo>
                  <a:lnTo>
                    <a:pt x="654" y="252"/>
                  </a:lnTo>
                  <a:lnTo>
                    <a:pt x="654" y="258"/>
                  </a:lnTo>
                  <a:lnTo>
                    <a:pt x="666" y="264"/>
                  </a:lnTo>
                  <a:lnTo>
                    <a:pt x="672" y="264"/>
                  </a:lnTo>
                  <a:lnTo>
                    <a:pt x="678" y="264"/>
                  </a:lnTo>
                  <a:lnTo>
                    <a:pt x="696" y="258"/>
                  </a:lnTo>
                  <a:lnTo>
                    <a:pt x="696" y="252"/>
                  </a:lnTo>
                  <a:lnTo>
                    <a:pt x="696" y="246"/>
                  </a:lnTo>
                  <a:lnTo>
                    <a:pt x="690" y="234"/>
                  </a:lnTo>
                  <a:lnTo>
                    <a:pt x="684" y="210"/>
                  </a:lnTo>
                  <a:lnTo>
                    <a:pt x="678" y="192"/>
                  </a:lnTo>
                  <a:lnTo>
                    <a:pt x="672" y="174"/>
                  </a:lnTo>
                  <a:lnTo>
                    <a:pt x="672" y="168"/>
                  </a:lnTo>
                  <a:lnTo>
                    <a:pt x="672" y="162"/>
                  </a:lnTo>
                  <a:lnTo>
                    <a:pt x="672" y="156"/>
                  </a:lnTo>
                  <a:lnTo>
                    <a:pt x="684" y="132"/>
                  </a:lnTo>
                  <a:lnTo>
                    <a:pt x="684" y="120"/>
                  </a:lnTo>
                  <a:lnTo>
                    <a:pt x="684" y="108"/>
                  </a:lnTo>
                  <a:lnTo>
                    <a:pt x="678" y="102"/>
                  </a:lnTo>
                  <a:lnTo>
                    <a:pt x="678" y="96"/>
                  </a:lnTo>
                  <a:lnTo>
                    <a:pt x="684" y="96"/>
                  </a:lnTo>
                  <a:lnTo>
                    <a:pt x="696" y="90"/>
                  </a:lnTo>
                  <a:lnTo>
                    <a:pt x="702" y="84"/>
                  </a:lnTo>
                  <a:lnTo>
                    <a:pt x="720" y="72"/>
                  </a:lnTo>
                  <a:lnTo>
                    <a:pt x="738" y="66"/>
                  </a:lnTo>
                  <a:lnTo>
                    <a:pt x="756" y="60"/>
                  </a:lnTo>
                  <a:lnTo>
                    <a:pt x="768" y="60"/>
                  </a:lnTo>
                  <a:lnTo>
                    <a:pt x="798" y="72"/>
                  </a:lnTo>
                  <a:lnTo>
                    <a:pt x="804" y="78"/>
                  </a:lnTo>
                  <a:lnTo>
                    <a:pt x="816" y="84"/>
                  </a:lnTo>
                  <a:lnTo>
                    <a:pt x="822" y="84"/>
                  </a:lnTo>
                  <a:lnTo>
                    <a:pt x="828" y="72"/>
                  </a:lnTo>
                  <a:lnTo>
                    <a:pt x="828" y="60"/>
                  </a:lnTo>
                  <a:lnTo>
                    <a:pt x="828" y="36"/>
                  </a:lnTo>
                  <a:lnTo>
                    <a:pt x="828" y="24"/>
                  </a:lnTo>
                  <a:lnTo>
                    <a:pt x="828" y="12"/>
                  </a:lnTo>
                  <a:lnTo>
                    <a:pt x="834" y="12"/>
                  </a:lnTo>
                  <a:lnTo>
                    <a:pt x="852" y="6"/>
                  </a:lnTo>
                  <a:lnTo>
                    <a:pt x="876" y="6"/>
                  </a:lnTo>
                  <a:lnTo>
                    <a:pt x="894" y="6"/>
                  </a:lnTo>
                  <a:lnTo>
                    <a:pt x="906" y="12"/>
                  </a:lnTo>
                  <a:lnTo>
                    <a:pt x="912" y="24"/>
                  </a:lnTo>
                  <a:lnTo>
                    <a:pt x="924" y="24"/>
                  </a:lnTo>
                  <a:lnTo>
                    <a:pt x="930" y="30"/>
                  </a:lnTo>
                  <a:lnTo>
                    <a:pt x="936" y="30"/>
                  </a:lnTo>
                  <a:lnTo>
                    <a:pt x="936" y="36"/>
                  </a:lnTo>
                  <a:lnTo>
                    <a:pt x="942" y="36"/>
                  </a:lnTo>
                  <a:lnTo>
                    <a:pt x="948" y="42"/>
                  </a:lnTo>
                  <a:lnTo>
                    <a:pt x="960" y="48"/>
                  </a:lnTo>
                  <a:lnTo>
                    <a:pt x="966" y="48"/>
                  </a:lnTo>
                  <a:lnTo>
                    <a:pt x="1026" y="60"/>
                  </a:lnTo>
                  <a:lnTo>
                    <a:pt x="1050" y="60"/>
                  </a:lnTo>
                  <a:lnTo>
                    <a:pt x="1050" y="54"/>
                  </a:lnTo>
                  <a:lnTo>
                    <a:pt x="1062" y="54"/>
                  </a:lnTo>
                  <a:lnTo>
                    <a:pt x="1074" y="48"/>
                  </a:lnTo>
                  <a:lnTo>
                    <a:pt x="1086" y="42"/>
                  </a:lnTo>
                  <a:lnTo>
                    <a:pt x="1104" y="36"/>
                  </a:lnTo>
                  <a:lnTo>
                    <a:pt x="1116" y="30"/>
                  </a:lnTo>
                  <a:lnTo>
                    <a:pt x="1122" y="24"/>
                  </a:lnTo>
                  <a:lnTo>
                    <a:pt x="1128" y="18"/>
                  </a:lnTo>
                  <a:lnTo>
                    <a:pt x="1134" y="18"/>
                  </a:lnTo>
                  <a:lnTo>
                    <a:pt x="1140" y="12"/>
                  </a:lnTo>
                  <a:lnTo>
                    <a:pt x="1146" y="6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24"/>
                  </a:lnTo>
                  <a:lnTo>
                    <a:pt x="1176" y="36"/>
                  </a:lnTo>
                  <a:lnTo>
                    <a:pt x="1188" y="42"/>
                  </a:lnTo>
                  <a:lnTo>
                    <a:pt x="1200" y="54"/>
                  </a:lnTo>
                  <a:lnTo>
                    <a:pt x="1224" y="84"/>
                  </a:lnTo>
                  <a:lnTo>
                    <a:pt x="1224" y="90"/>
                  </a:lnTo>
                  <a:lnTo>
                    <a:pt x="1236" y="96"/>
                  </a:lnTo>
                  <a:lnTo>
                    <a:pt x="1236" y="108"/>
                  </a:lnTo>
                  <a:lnTo>
                    <a:pt x="1248" y="114"/>
                  </a:lnTo>
                  <a:lnTo>
                    <a:pt x="1254" y="114"/>
                  </a:lnTo>
                  <a:lnTo>
                    <a:pt x="1260" y="114"/>
                  </a:lnTo>
                  <a:lnTo>
                    <a:pt x="1296" y="114"/>
                  </a:lnTo>
                  <a:lnTo>
                    <a:pt x="1302" y="114"/>
                  </a:lnTo>
                  <a:lnTo>
                    <a:pt x="1320" y="108"/>
                  </a:lnTo>
                  <a:lnTo>
                    <a:pt x="1326" y="108"/>
                  </a:lnTo>
                  <a:lnTo>
                    <a:pt x="1326" y="138"/>
                  </a:lnTo>
                  <a:lnTo>
                    <a:pt x="1326" y="210"/>
                  </a:lnTo>
                  <a:lnTo>
                    <a:pt x="1320" y="252"/>
                  </a:lnTo>
                  <a:lnTo>
                    <a:pt x="1320" y="270"/>
                  </a:lnTo>
                  <a:lnTo>
                    <a:pt x="1320" y="288"/>
                  </a:lnTo>
                  <a:lnTo>
                    <a:pt x="1320" y="318"/>
                  </a:lnTo>
                  <a:lnTo>
                    <a:pt x="1326" y="354"/>
                  </a:lnTo>
                  <a:lnTo>
                    <a:pt x="1326" y="372"/>
                  </a:lnTo>
                  <a:lnTo>
                    <a:pt x="1332" y="420"/>
                  </a:lnTo>
                  <a:lnTo>
                    <a:pt x="1332" y="450"/>
                  </a:lnTo>
                  <a:lnTo>
                    <a:pt x="1338" y="480"/>
                  </a:lnTo>
                  <a:lnTo>
                    <a:pt x="1344" y="486"/>
                  </a:lnTo>
                  <a:lnTo>
                    <a:pt x="1338" y="492"/>
                  </a:lnTo>
                  <a:lnTo>
                    <a:pt x="1344" y="492"/>
                  </a:lnTo>
                  <a:lnTo>
                    <a:pt x="1344" y="498"/>
                  </a:lnTo>
                  <a:lnTo>
                    <a:pt x="1350" y="498"/>
                  </a:lnTo>
                  <a:lnTo>
                    <a:pt x="1350" y="522"/>
                  </a:lnTo>
                  <a:lnTo>
                    <a:pt x="1362" y="564"/>
                  </a:lnTo>
                  <a:lnTo>
                    <a:pt x="1368" y="582"/>
                  </a:lnTo>
                  <a:lnTo>
                    <a:pt x="1380" y="600"/>
                  </a:lnTo>
                  <a:lnTo>
                    <a:pt x="1386" y="636"/>
                  </a:lnTo>
                  <a:lnTo>
                    <a:pt x="1380" y="660"/>
                  </a:lnTo>
                  <a:lnTo>
                    <a:pt x="1380" y="678"/>
                  </a:lnTo>
                  <a:lnTo>
                    <a:pt x="1380" y="684"/>
                  </a:lnTo>
                  <a:lnTo>
                    <a:pt x="1374" y="684"/>
                  </a:lnTo>
                  <a:lnTo>
                    <a:pt x="1368" y="690"/>
                  </a:lnTo>
                  <a:lnTo>
                    <a:pt x="1356" y="702"/>
                  </a:lnTo>
                  <a:lnTo>
                    <a:pt x="1350" y="708"/>
                  </a:lnTo>
                  <a:lnTo>
                    <a:pt x="1356" y="714"/>
                  </a:lnTo>
                  <a:lnTo>
                    <a:pt x="1368" y="726"/>
                  </a:lnTo>
                  <a:lnTo>
                    <a:pt x="1380" y="738"/>
                  </a:lnTo>
                  <a:lnTo>
                    <a:pt x="1386" y="744"/>
                  </a:lnTo>
                  <a:lnTo>
                    <a:pt x="1392" y="744"/>
                  </a:lnTo>
                  <a:lnTo>
                    <a:pt x="1410" y="750"/>
                  </a:lnTo>
                  <a:lnTo>
                    <a:pt x="1416" y="756"/>
                  </a:lnTo>
                  <a:lnTo>
                    <a:pt x="1422" y="756"/>
                  </a:lnTo>
                  <a:lnTo>
                    <a:pt x="1422" y="762"/>
                  </a:lnTo>
                  <a:lnTo>
                    <a:pt x="1428" y="774"/>
                  </a:lnTo>
                  <a:lnTo>
                    <a:pt x="1428" y="780"/>
                  </a:lnTo>
                  <a:lnTo>
                    <a:pt x="1434" y="780"/>
                  </a:lnTo>
                  <a:lnTo>
                    <a:pt x="1440" y="798"/>
                  </a:lnTo>
                  <a:lnTo>
                    <a:pt x="1422" y="816"/>
                  </a:lnTo>
                  <a:lnTo>
                    <a:pt x="1386" y="810"/>
                  </a:lnTo>
                  <a:lnTo>
                    <a:pt x="1380" y="816"/>
                  </a:lnTo>
                  <a:lnTo>
                    <a:pt x="1374" y="840"/>
                  </a:lnTo>
                  <a:lnTo>
                    <a:pt x="1350" y="852"/>
                  </a:lnTo>
                  <a:lnTo>
                    <a:pt x="1350" y="858"/>
                  </a:lnTo>
                  <a:lnTo>
                    <a:pt x="1350" y="864"/>
                  </a:lnTo>
                  <a:lnTo>
                    <a:pt x="1344" y="864"/>
                  </a:lnTo>
                  <a:lnTo>
                    <a:pt x="1338" y="870"/>
                  </a:lnTo>
                  <a:lnTo>
                    <a:pt x="1332" y="876"/>
                  </a:lnTo>
                  <a:lnTo>
                    <a:pt x="1314" y="876"/>
                  </a:lnTo>
                  <a:lnTo>
                    <a:pt x="1314" y="870"/>
                  </a:lnTo>
                  <a:lnTo>
                    <a:pt x="1308" y="870"/>
                  </a:lnTo>
                  <a:lnTo>
                    <a:pt x="1302" y="864"/>
                  </a:lnTo>
                  <a:lnTo>
                    <a:pt x="1296" y="864"/>
                  </a:lnTo>
                  <a:lnTo>
                    <a:pt x="1284" y="870"/>
                  </a:lnTo>
                  <a:lnTo>
                    <a:pt x="1266" y="870"/>
                  </a:lnTo>
                  <a:lnTo>
                    <a:pt x="1260" y="870"/>
                  </a:lnTo>
                  <a:lnTo>
                    <a:pt x="1248" y="876"/>
                  </a:lnTo>
                  <a:lnTo>
                    <a:pt x="1236" y="876"/>
                  </a:lnTo>
                  <a:lnTo>
                    <a:pt x="1230" y="882"/>
                  </a:lnTo>
                  <a:lnTo>
                    <a:pt x="1224" y="894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18" y="942"/>
                  </a:lnTo>
                  <a:lnTo>
                    <a:pt x="1212" y="948"/>
                  </a:lnTo>
                  <a:lnTo>
                    <a:pt x="1200" y="984"/>
                  </a:lnTo>
                  <a:lnTo>
                    <a:pt x="1194" y="1008"/>
                  </a:lnTo>
                  <a:lnTo>
                    <a:pt x="1218" y="1038"/>
                  </a:lnTo>
                  <a:lnTo>
                    <a:pt x="1224" y="1044"/>
                  </a:lnTo>
                  <a:lnTo>
                    <a:pt x="1224" y="1062"/>
                  </a:lnTo>
                  <a:lnTo>
                    <a:pt x="1236" y="1080"/>
                  </a:lnTo>
                  <a:lnTo>
                    <a:pt x="1236" y="1086"/>
                  </a:lnTo>
                  <a:lnTo>
                    <a:pt x="1230" y="1092"/>
                  </a:lnTo>
                  <a:lnTo>
                    <a:pt x="1224" y="1110"/>
                  </a:lnTo>
                  <a:lnTo>
                    <a:pt x="1218" y="1122"/>
                  </a:lnTo>
                  <a:lnTo>
                    <a:pt x="1224" y="1140"/>
                  </a:lnTo>
                  <a:lnTo>
                    <a:pt x="1218" y="1146"/>
                  </a:lnTo>
                  <a:lnTo>
                    <a:pt x="1218" y="1152"/>
                  </a:lnTo>
                  <a:lnTo>
                    <a:pt x="1212" y="116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1" name="Freeform 36">
              <a:extLst>
                <a:ext uri="{FF2B5EF4-FFF2-40B4-BE49-F238E27FC236}">
                  <a16:creationId xmlns:a16="http://schemas.microsoft.com/office/drawing/2014/main" id="{B9C0D6BE-CB1C-4E69-B224-1ABF097AA8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90208" y="1647855"/>
              <a:ext cx="742415" cy="758173"/>
            </a:xfrm>
            <a:custGeom>
              <a:avLst/>
              <a:gdLst>
                <a:gd name="T0" fmla="*/ 75 w 1398"/>
                <a:gd name="T1" fmla="*/ 48 h 1428"/>
                <a:gd name="T2" fmla="*/ 68 w 1398"/>
                <a:gd name="T3" fmla="*/ 54 h 1428"/>
                <a:gd name="T4" fmla="*/ 57 w 1398"/>
                <a:gd name="T5" fmla="*/ 59 h 1428"/>
                <a:gd name="T6" fmla="*/ 55 w 1398"/>
                <a:gd name="T7" fmla="*/ 68 h 1428"/>
                <a:gd name="T8" fmla="*/ 55 w 1398"/>
                <a:gd name="T9" fmla="*/ 77 h 1428"/>
                <a:gd name="T10" fmla="*/ 57 w 1398"/>
                <a:gd name="T11" fmla="*/ 81 h 1428"/>
                <a:gd name="T12" fmla="*/ 56 w 1398"/>
                <a:gd name="T13" fmla="*/ 86 h 1428"/>
                <a:gd name="T14" fmla="*/ 57 w 1398"/>
                <a:gd name="T15" fmla="*/ 89 h 1428"/>
                <a:gd name="T16" fmla="*/ 58 w 1398"/>
                <a:gd name="T17" fmla="*/ 92 h 1428"/>
                <a:gd name="T18" fmla="*/ 58 w 1398"/>
                <a:gd name="T19" fmla="*/ 96 h 1428"/>
                <a:gd name="T20" fmla="*/ 49 w 1398"/>
                <a:gd name="T21" fmla="*/ 100 h 1428"/>
                <a:gd name="T22" fmla="*/ 47 w 1398"/>
                <a:gd name="T23" fmla="*/ 108 h 1428"/>
                <a:gd name="T24" fmla="*/ 48 w 1398"/>
                <a:gd name="T25" fmla="*/ 113 h 1428"/>
                <a:gd name="T26" fmla="*/ 43 w 1398"/>
                <a:gd name="T27" fmla="*/ 114 h 1428"/>
                <a:gd name="T28" fmla="*/ 39 w 1398"/>
                <a:gd name="T29" fmla="*/ 113 h 1428"/>
                <a:gd name="T30" fmla="*/ 33 w 1398"/>
                <a:gd name="T31" fmla="*/ 109 h 1428"/>
                <a:gd name="T32" fmla="*/ 29 w 1398"/>
                <a:gd name="T33" fmla="*/ 114 h 1428"/>
                <a:gd name="T34" fmla="*/ 22 w 1398"/>
                <a:gd name="T35" fmla="*/ 115 h 1428"/>
                <a:gd name="T36" fmla="*/ 21 w 1398"/>
                <a:gd name="T37" fmla="*/ 121 h 1428"/>
                <a:gd name="T38" fmla="*/ 12 w 1398"/>
                <a:gd name="T39" fmla="*/ 119 h 1428"/>
                <a:gd name="T40" fmla="*/ 9 w 1398"/>
                <a:gd name="T41" fmla="*/ 113 h 1428"/>
                <a:gd name="T42" fmla="*/ 2 w 1398"/>
                <a:gd name="T43" fmla="*/ 109 h 1428"/>
                <a:gd name="T44" fmla="*/ 4 w 1398"/>
                <a:gd name="T45" fmla="*/ 103 h 1428"/>
                <a:gd name="T46" fmla="*/ 2 w 1398"/>
                <a:gd name="T47" fmla="*/ 91 h 1428"/>
                <a:gd name="T48" fmla="*/ 6 w 1398"/>
                <a:gd name="T49" fmla="*/ 85 h 1428"/>
                <a:gd name="T50" fmla="*/ 10 w 1398"/>
                <a:gd name="T51" fmla="*/ 85 h 1428"/>
                <a:gd name="T52" fmla="*/ 15 w 1398"/>
                <a:gd name="T53" fmla="*/ 82 h 1428"/>
                <a:gd name="T54" fmla="*/ 20 w 1398"/>
                <a:gd name="T55" fmla="*/ 77 h 1428"/>
                <a:gd name="T56" fmla="*/ 16 w 1398"/>
                <a:gd name="T57" fmla="*/ 73 h 1428"/>
                <a:gd name="T58" fmla="*/ 16 w 1398"/>
                <a:gd name="T59" fmla="*/ 69 h 1428"/>
                <a:gd name="T60" fmla="*/ 14 w 1398"/>
                <a:gd name="T61" fmla="*/ 54 h 1428"/>
                <a:gd name="T62" fmla="*/ 12 w 1398"/>
                <a:gd name="T63" fmla="*/ 48 h 1428"/>
                <a:gd name="T64" fmla="*/ 11 w 1398"/>
                <a:gd name="T65" fmla="*/ 31 h 1428"/>
                <a:gd name="T66" fmla="*/ 14 w 1398"/>
                <a:gd name="T67" fmla="*/ 18 h 1428"/>
                <a:gd name="T68" fmla="*/ 19 w 1398"/>
                <a:gd name="T69" fmla="*/ 15 h 1428"/>
                <a:gd name="T70" fmla="*/ 26 w 1398"/>
                <a:gd name="T71" fmla="*/ 13 h 1428"/>
                <a:gd name="T72" fmla="*/ 34 w 1398"/>
                <a:gd name="T73" fmla="*/ 12 h 1428"/>
                <a:gd name="T74" fmla="*/ 39 w 1398"/>
                <a:gd name="T75" fmla="*/ 9 h 1428"/>
                <a:gd name="T76" fmla="*/ 43 w 1398"/>
                <a:gd name="T77" fmla="*/ 7 h 1428"/>
                <a:gd name="T78" fmla="*/ 48 w 1398"/>
                <a:gd name="T79" fmla="*/ 3 h 1428"/>
                <a:gd name="T80" fmla="*/ 54 w 1398"/>
                <a:gd name="T81" fmla="*/ 0 h 1428"/>
                <a:gd name="T82" fmla="*/ 58 w 1398"/>
                <a:gd name="T83" fmla="*/ 0 h 1428"/>
                <a:gd name="T84" fmla="*/ 66 w 1398"/>
                <a:gd name="T85" fmla="*/ 2 h 1428"/>
                <a:gd name="T86" fmla="*/ 70 w 1398"/>
                <a:gd name="T87" fmla="*/ 3 h 1428"/>
                <a:gd name="T88" fmla="*/ 75 w 1398"/>
                <a:gd name="T89" fmla="*/ 6 h 1428"/>
                <a:gd name="T90" fmla="*/ 80 w 1398"/>
                <a:gd name="T91" fmla="*/ 9 h 1428"/>
                <a:gd name="T92" fmla="*/ 83 w 1398"/>
                <a:gd name="T93" fmla="*/ 12 h 1428"/>
                <a:gd name="T94" fmla="*/ 87 w 1398"/>
                <a:gd name="T95" fmla="*/ 15 h 1428"/>
                <a:gd name="T96" fmla="*/ 94 w 1398"/>
                <a:gd name="T97" fmla="*/ 15 h 1428"/>
                <a:gd name="T98" fmla="*/ 99 w 1398"/>
                <a:gd name="T99" fmla="*/ 21 h 1428"/>
                <a:gd name="T100" fmla="*/ 103 w 1398"/>
                <a:gd name="T101" fmla="*/ 23 h 1428"/>
                <a:gd name="T102" fmla="*/ 110 w 1398"/>
                <a:gd name="T103" fmla="*/ 26 h 1428"/>
                <a:gd name="T104" fmla="*/ 116 w 1398"/>
                <a:gd name="T105" fmla="*/ 27 h 1428"/>
                <a:gd name="T106" fmla="*/ 120 w 1398"/>
                <a:gd name="T107" fmla="*/ 27 h 1428"/>
                <a:gd name="T108" fmla="*/ 116 w 1398"/>
                <a:gd name="T109" fmla="*/ 35 h 1428"/>
                <a:gd name="T110" fmla="*/ 104 w 1398"/>
                <a:gd name="T111" fmla="*/ 37 h 1428"/>
                <a:gd name="T112" fmla="*/ 97 w 1398"/>
                <a:gd name="T113" fmla="*/ 34 h 1428"/>
                <a:gd name="T114" fmla="*/ 91 w 1398"/>
                <a:gd name="T115" fmla="*/ 29 h 1428"/>
                <a:gd name="T116" fmla="*/ 75 w 1398"/>
                <a:gd name="T117" fmla="*/ 29 h 1428"/>
                <a:gd name="T118" fmla="*/ 72 w 1398"/>
                <a:gd name="T119" fmla="*/ 39 h 1428"/>
                <a:gd name="T120" fmla="*/ 80 w 1398"/>
                <a:gd name="T121" fmla="*/ 41 h 142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98"/>
                <a:gd name="T184" fmla="*/ 0 h 1428"/>
                <a:gd name="T185" fmla="*/ 1398 w 1398"/>
                <a:gd name="T186" fmla="*/ 1428 h 142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98" h="1428">
                  <a:moveTo>
                    <a:pt x="924" y="474"/>
                  </a:moveTo>
                  <a:lnTo>
                    <a:pt x="900" y="480"/>
                  </a:lnTo>
                  <a:lnTo>
                    <a:pt x="864" y="486"/>
                  </a:lnTo>
                  <a:lnTo>
                    <a:pt x="864" y="504"/>
                  </a:lnTo>
                  <a:lnTo>
                    <a:pt x="858" y="522"/>
                  </a:lnTo>
                  <a:lnTo>
                    <a:pt x="864" y="528"/>
                  </a:lnTo>
                  <a:lnTo>
                    <a:pt x="864" y="552"/>
                  </a:lnTo>
                  <a:lnTo>
                    <a:pt x="852" y="552"/>
                  </a:lnTo>
                  <a:lnTo>
                    <a:pt x="846" y="564"/>
                  </a:lnTo>
                  <a:lnTo>
                    <a:pt x="840" y="582"/>
                  </a:lnTo>
                  <a:lnTo>
                    <a:pt x="834" y="594"/>
                  </a:lnTo>
                  <a:lnTo>
                    <a:pt x="828" y="606"/>
                  </a:lnTo>
                  <a:lnTo>
                    <a:pt x="828" y="618"/>
                  </a:lnTo>
                  <a:lnTo>
                    <a:pt x="786" y="630"/>
                  </a:lnTo>
                  <a:lnTo>
                    <a:pt x="774" y="636"/>
                  </a:lnTo>
                  <a:lnTo>
                    <a:pt x="762" y="642"/>
                  </a:lnTo>
                  <a:lnTo>
                    <a:pt x="744" y="648"/>
                  </a:lnTo>
                  <a:lnTo>
                    <a:pt x="714" y="660"/>
                  </a:lnTo>
                  <a:lnTo>
                    <a:pt x="696" y="666"/>
                  </a:lnTo>
                  <a:lnTo>
                    <a:pt x="666" y="672"/>
                  </a:lnTo>
                  <a:lnTo>
                    <a:pt x="654" y="684"/>
                  </a:lnTo>
                  <a:lnTo>
                    <a:pt x="648" y="684"/>
                  </a:lnTo>
                  <a:lnTo>
                    <a:pt x="642" y="696"/>
                  </a:lnTo>
                  <a:lnTo>
                    <a:pt x="636" y="696"/>
                  </a:lnTo>
                  <a:lnTo>
                    <a:pt x="630" y="714"/>
                  </a:lnTo>
                  <a:lnTo>
                    <a:pt x="624" y="738"/>
                  </a:lnTo>
                  <a:lnTo>
                    <a:pt x="624" y="762"/>
                  </a:lnTo>
                  <a:lnTo>
                    <a:pt x="630" y="780"/>
                  </a:lnTo>
                  <a:lnTo>
                    <a:pt x="636" y="804"/>
                  </a:lnTo>
                  <a:lnTo>
                    <a:pt x="642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6" y="834"/>
                  </a:lnTo>
                  <a:lnTo>
                    <a:pt x="636" y="870"/>
                  </a:lnTo>
                  <a:lnTo>
                    <a:pt x="636" y="882"/>
                  </a:lnTo>
                  <a:lnTo>
                    <a:pt x="636" y="906"/>
                  </a:lnTo>
                  <a:lnTo>
                    <a:pt x="630" y="906"/>
                  </a:lnTo>
                  <a:lnTo>
                    <a:pt x="636" y="918"/>
                  </a:lnTo>
                  <a:lnTo>
                    <a:pt x="642" y="918"/>
                  </a:lnTo>
                  <a:lnTo>
                    <a:pt x="642" y="930"/>
                  </a:lnTo>
                  <a:lnTo>
                    <a:pt x="648" y="936"/>
                  </a:lnTo>
                  <a:lnTo>
                    <a:pt x="654" y="936"/>
                  </a:lnTo>
                  <a:lnTo>
                    <a:pt x="654" y="942"/>
                  </a:lnTo>
                  <a:lnTo>
                    <a:pt x="654" y="948"/>
                  </a:lnTo>
                  <a:lnTo>
                    <a:pt x="648" y="954"/>
                  </a:lnTo>
                  <a:lnTo>
                    <a:pt x="648" y="960"/>
                  </a:lnTo>
                  <a:lnTo>
                    <a:pt x="648" y="966"/>
                  </a:lnTo>
                  <a:lnTo>
                    <a:pt x="648" y="972"/>
                  </a:lnTo>
                  <a:lnTo>
                    <a:pt x="648" y="990"/>
                  </a:lnTo>
                  <a:lnTo>
                    <a:pt x="654" y="996"/>
                  </a:lnTo>
                  <a:lnTo>
                    <a:pt x="648" y="1002"/>
                  </a:lnTo>
                  <a:lnTo>
                    <a:pt x="648" y="1008"/>
                  </a:lnTo>
                  <a:lnTo>
                    <a:pt x="654" y="1014"/>
                  </a:lnTo>
                  <a:lnTo>
                    <a:pt x="654" y="1020"/>
                  </a:lnTo>
                  <a:lnTo>
                    <a:pt x="654" y="1026"/>
                  </a:lnTo>
                  <a:lnTo>
                    <a:pt x="660" y="1026"/>
                  </a:lnTo>
                  <a:lnTo>
                    <a:pt x="660" y="1032"/>
                  </a:lnTo>
                  <a:lnTo>
                    <a:pt x="660" y="1038"/>
                  </a:lnTo>
                  <a:lnTo>
                    <a:pt x="666" y="1044"/>
                  </a:lnTo>
                  <a:lnTo>
                    <a:pt x="672" y="1050"/>
                  </a:lnTo>
                  <a:lnTo>
                    <a:pt x="672" y="1056"/>
                  </a:lnTo>
                  <a:lnTo>
                    <a:pt x="672" y="1062"/>
                  </a:lnTo>
                  <a:lnTo>
                    <a:pt x="672" y="1068"/>
                  </a:lnTo>
                  <a:lnTo>
                    <a:pt x="672" y="1074"/>
                  </a:lnTo>
                  <a:lnTo>
                    <a:pt x="678" y="1074"/>
                  </a:lnTo>
                  <a:lnTo>
                    <a:pt x="678" y="1080"/>
                  </a:lnTo>
                  <a:lnTo>
                    <a:pt x="678" y="1086"/>
                  </a:lnTo>
                  <a:lnTo>
                    <a:pt x="672" y="1092"/>
                  </a:lnTo>
                  <a:lnTo>
                    <a:pt x="672" y="1098"/>
                  </a:lnTo>
                  <a:lnTo>
                    <a:pt x="672" y="1104"/>
                  </a:lnTo>
                  <a:lnTo>
                    <a:pt x="666" y="1116"/>
                  </a:lnTo>
                  <a:lnTo>
                    <a:pt x="624" y="1122"/>
                  </a:lnTo>
                  <a:lnTo>
                    <a:pt x="576" y="1134"/>
                  </a:lnTo>
                  <a:lnTo>
                    <a:pt x="570" y="1140"/>
                  </a:lnTo>
                  <a:lnTo>
                    <a:pt x="570" y="1146"/>
                  </a:lnTo>
                  <a:lnTo>
                    <a:pt x="564" y="1146"/>
                  </a:lnTo>
                  <a:lnTo>
                    <a:pt x="564" y="1152"/>
                  </a:lnTo>
                  <a:lnTo>
                    <a:pt x="564" y="1164"/>
                  </a:lnTo>
                  <a:lnTo>
                    <a:pt x="564" y="1170"/>
                  </a:lnTo>
                  <a:lnTo>
                    <a:pt x="564" y="1176"/>
                  </a:lnTo>
                  <a:lnTo>
                    <a:pt x="546" y="1176"/>
                  </a:lnTo>
                  <a:lnTo>
                    <a:pt x="540" y="1212"/>
                  </a:lnTo>
                  <a:lnTo>
                    <a:pt x="540" y="1230"/>
                  </a:lnTo>
                  <a:lnTo>
                    <a:pt x="546" y="1242"/>
                  </a:lnTo>
                  <a:lnTo>
                    <a:pt x="546" y="1254"/>
                  </a:lnTo>
                  <a:lnTo>
                    <a:pt x="558" y="1266"/>
                  </a:lnTo>
                  <a:lnTo>
                    <a:pt x="576" y="1272"/>
                  </a:lnTo>
                  <a:lnTo>
                    <a:pt x="570" y="1278"/>
                  </a:lnTo>
                  <a:lnTo>
                    <a:pt x="576" y="1284"/>
                  </a:lnTo>
                  <a:lnTo>
                    <a:pt x="570" y="1296"/>
                  </a:lnTo>
                  <a:lnTo>
                    <a:pt x="558" y="1302"/>
                  </a:lnTo>
                  <a:lnTo>
                    <a:pt x="540" y="1308"/>
                  </a:lnTo>
                  <a:lnTo>
                    <a:pt x="522" y="1314"/>
                  </a:lnTo>
                  <a:lnTo>
                    <a:pt x="516" y="1314"/>
                  </a:lnTo>
                  <a:lnTo>
                    <a:pt x="510" y="1314"/>
                  </a:lnTo>
                  <a:lnTo>
                    <a:pt x="504" y="1314"/>
                  </a:lnTo>
                  <a:lnTo>
                    <a:pt x="498" y="1320"/>
                  </a:lnTo>
                  <a:lnTo>
                    <a:pt x="492" y="1320"/>
                  </a:lnTo>
                  <a:lnTo>
                    <a:pt x="492" y="1326"/>
                  </a:lnTo>
                  <a:lnTo>
                    <a:pt x="486" y="1326"/>
                  </a:lnTo>
                  <a:lnTo>
                    <a:pt x="480" y="1326"/>
                  </a:lnTo>
                  <a:lnTo>
                    <a:pt x="480" y="1320"/>
                  </a:lnTo>
                  <a:lnTo>
                    <a:pt x="468" y="1314"/>
                  </a:lnTo>
                  <a:lnTo>
                    <a:pt x="462" y="1308"/>
                  </a:lnTo>
                  <a:lnTo>
                    <a:pt x="456" y="1302"/>
                  </a:lnTo>
                  <a:lnTo>
                    <a:pt x="444" y="1296"/>
                  </a:lnTo>
                  <a:lnTo>
                    <a:pt x="420" y="1290"/>
                  </a:lnTo>
                  <a:lnTo>
                    <a:pt x="414" y="1278"/>
                  </a:lnTo>
                  <a:lnTo>
                    <a:pt x="408" y="1278"/>
                  </a:lnTo>
                  <a:lnTo>
                    <a:pt x="408" y="1266"/>
                  </a:lnTo>
                  <a:lnTo>
                    <a:pt x="402" y="1260"/>
                  </a:lnTo>
                  <a:lnTo>
                    <a:pt x="384" y="1260"/>
                  </a:lnTo>
                  <a:lnTo>
                    <a:pt x="372" y="1266"/>
                  </a:lnTo>
                  <a:lnTo>
                    <a:pt x="360" y="1272"/>
                  </a:lnTo>
                  <a:lnTo>
                    <a:pt x="348" y="1272"/>
                  </a:lnTo>
                  <a:lnTo>
                    <a:pt x="342" y="1284"/>
                  </a:lnTo>
                  <a:lnTo>
                    <a:pt x="336" y="1290"/>
                  </a:lnTo>
                  <a:lnTo>
                    <a:pt x="336" y="1308"/>
                  </a:lnTo>
                  <a:lnTo>
                    <a:pt x="336" y="1314"/>
                  </a:lnTo>
                  <a:lnTo>
                    <a:pt x="336" y="1320"/>
                  </a:lnTo>
                  <a:lnTo>
                    <a:pt x="330" y="1326"/>
                  </a:lnTo>
                  <a:lnTo>
                    <a:pt x="330" y="1332"/>
                  </a:lnTo>
                  <a:lnTo>
                    <a:pt x="330" y="1338"/>
                  </a:lnTo>
                  <a:lnTo>
                    <a:pt x="300" y="1338"/>
                  </a:lnTo>
                  <a:lnTo>
                    <a:pt x="288" y="1338"/>
                  </a:lnTo>
                  <a:lnTo>
                    <a:pt x="258" y="1326"/>
                  </a:lnTo>
                  <a:lnTo>
                    <a:pt x="246" y="1332"/>
                  </a:lnTo>
                  <a:lnTo>
                    <a:pt x="240" y="1338"/>
                  </a:lnTo>
                  <a:lnTo>
                    <a:pt x="234" y="1338"/>
                  </a:lnTo>
                  <a:lnTo>
                    <a:pt x="228" y="1350"/>
                  </a:lnTo>
                  <a:lnTo>
                    <a:pt x="228" y="1374"/>
                  </a:lnTo>
                  <a:lnTo>
                    <a:pt x="234" y="1392"/>
                  </a:lnTo>
                  <a:lnTo>
                    <a:pt x="246" y="1398"/>
                  </a:lnTo>
                  <a:lnTo>
                    <a:pt x="246" y="1410"/>
                  </a:lnTo>
                  <a:lnTo>
                    <a:pt x="216" y="1428"/>
                  </a:lnTo>
                  <a:lnTo>
                    <a:pt x="198" y="1428"/>
                  </a:lnTo>
                  <a:lnTo>
                    <a:pt x="192" y="1422"/>
                  </a:lnTo>
                  <a:lnTo>
                    <a:pt x="174" y="1410"/>
                  </a:lnTo>
                  <a:lnTo>
                    <a:pt x="156" y="1386"/>
                  </a:lnTo>
                  <a:lnTo>
                    <a:pt x="132" y="1374"/>
                  </a:lnTo>
                  <a:lnTo>
                    <a:pt x="108" y="1368"/>
                  </a:lnTo>
                  <a:lnTo>
                    <a:pt x="84" y="1368"/>
                  </a:lnTo>
                  <a:lnTo>
                    <a:pt x="96" y="1356"/>
                  </a:lnTo>
                  <a:lnTo>
                    <a:pt x="102" y="1344"/>
                  </a:lnTo>
                  <a:lnTo>
                    <a:pt x="102" y="1332"/>
                  </a:lnTo>
                  <a:lnTo>
                    <a:pt x="108" y="1320"/>
                  </a:lnTo>
                  <a:lnTo>
                    <a:pt x="108" y="1302"/>
                  </a:lnTo>
                  <a:lnTo>
                    <a:pt x="96" y="1278"/>
                  </a:lnTo>
                  <a:lnTo>
                    <a:pt x="66" y="1284"/>
                  </a:lnTo>
                  <a:lnTo>
                    <a:pt x="54" y="1278"/>
                  </a:lnTo>
                  <a:lnTo>
                    <a:pt x="36" y="1278"/>
                  </a:lnTo>
                  <a:lnTo>
                    <a:pt x="18" y="1284"/>
                  </a:lnTo>
                  <a:lnTo>
                    <a:pt x="18" y="1272"/>
                  </a:lnTo>
                  <a:lnTo>
                    <a:pt x="24" y="1260"/>
                  </a:lnTo>
                  <a:lnTo>
                    <a:pt x="24" y="1254"/>
                  </a:lnTo>
                  <a:lnTo>
                    <a:pt x="30" y="1248"/>
                  </a:lnTo>
                  <a:lnTo>
                    <a:pt x="24" y="1230"/>
                  </a:lnTo>
                  <a:lnTo>
                    <a:pt x="30" y="1218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30" y="1170"/>
                  </a:lnTo>
                  <a:lnTo>
                    <a:pt x="30" y="1152"/>
                  </a:lnTo>
                  <a:lnTo>
                    <a:pt x="24" y="1146"/>
                  </a:lnTo>
                  <a:lnTo>
                    <a:pt x="0" y="1116"/>
                  </a:lnTo>
                  <a:lnTo>
                    <a:pt x="6" y="1092"/>
                  </a:lnTo>
                  <a:lnTo>
                    <a:pt x="18" y="1056"/>
                  </a:lnTo>
                  <a:lnTo>
                    <a:pt x="24" y="1050"/>
                  </a:lnTo>
                  <a:lnTo>
                    <a:pt x="24" y="1038"/>
                  </a:lnTo>
                  <a:lnTo>
                    <a:pt x="24" y="1026"/>
                  </a:lnTo>
                  <a:lnTo>
                    <a:pt x="30" y="1002"/>
                  </a:lnTo>
                  <a:lnTo>
                    <a:pt x="36" y="990"/>
                  </a:lnTo>
                  <a:lnTo>
                    <a:pt x="42" y="984"/>
                  </a:lnTo>
                  <a:lnTo>
                    <a:pt x="54" y="984"/>
                  </a:lnTo>
                  <a:lnTo>
                    <a:pt x="66" y="978"/>
                  </a:lnTo>
                  <a:lnTo>
                    <a:pt x="72" y="978"/>
                  </a:lnTo>
                  <a:lnTo>
                    <a:pt x="90" y="978"/>
                  </a:lnTo>
                  <a:lnTo>
                    <a:pt x="102" y="972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78"/>
                  </a:lnTo>
                  <a:lnTo>
                    <a:pt x="120" y="984"/>
                  </a:lnTo>
                  <a:lnTo>
                    <a:pt x="138" y="984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6" y="972"/>
                  </a:lnTo>
                  <a:lnTo>
                    <a:pt x="156" y="966"/>
                  </a:lnTo>
                  <a:lnTo>
                    <a:pt x="156" y="960"/>
                  </a:lnTo>
                  <a:lnTo>
                    <a:pt x="180" y="948"/>
                  </a:lnTo>
                  <a:lnTo>
                    <a:pt x="186" y="924"/>
                  </a:lnTo>
                  <a:lnTo>
                    <a:pt x="192" y="918"/>
                  </a:lnTo>
                  <a:lnTo>
                    <a:pt x="228" y="924"/>
                  </a:lnTo>
                  <a:lnTo>
                    <a:pt x="246" y="906"/>
                  </a:lnTo>
                  <a:lnTo>
                    <a:pt x="240" y="888"/>
                  </a:lnTo>
                  <a:lnTo>
                    <a:pt x="234" y="888"/>
                  </a:lnTo>
                  <a:lnTo>
                    <a:pt x="234" y="882"/>
                  </a:lnTo>
                  <a:lnTo>
                    <a:pt x="228" y="870"/>
                  </a:lnTo>
                  <a:lnTo>
                    <a:pt x="228" y="864"/>
                  </a:lnTo>
                  <a:lnTo>
                    <a:pt x="222" y="864"/>
                  </a:lnTo>
                  <a:lnTo>
                    <a:pt x="216" y="858"/>
                  </a:lnTo>
                  <a:lnTo>
                    <a:pt x="198" y="852"/>
                  </a:lnTo>
                  <a:lnTo>
                    <a:pt x="192" y="852"/>
                  </a:lnTo>
                  <a:lnTo>
                    <a:pt x="186" y="846"/>
                  </a:lnTo>
                  <a:lnTo>
                    <a:pt x="174" y="834"/>
                  </a:lnTo>
                  <a:lnTo>
                    <a:pt x="162" y="822"/>
                  </a:lnTo>
                  <a:lnTo>
                    <a:pt x="156" y="816"/>
                  </a:lnTo>
                  <a:lnTo>
                    <a:pt x="162" y="810"/>
                  </a:lnTo>
                  <a:lnTo>
                    <a:pt x="174" y="798"/>
                  </a:lnTo>
                  <a:lnTo>
                    <a:pt x="180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68"/>
                  </a:lnTo>
                  <a:lnTo>
                    <a:pt x="192" y="744"/>
                  </a:lnTo>
                  <a:lnTo>
                    <a:pt x="186" y="708"/>
                  </a:lnTo>
                  <a:lnTo>
                    <a:pt x="174" y="690"/>
                  </a:lnTo>
                  <a:lnTo>
                    <a:pt x="168" y="672"/>
                  </a:lnTo>
                  <a:lnTo>
                    <a:pt x="156" y="630"/>
                  </a:lnTo>
                  <a:lnTo>
                    <a:pt x="156" y="606"/>
                  </a:lnTo>
                  <a:lnTo>
                    <a:pt x="150" y="606"/>
                  </a:lnTo>
                  <a:lnTo>
                    <a:pt x="150" y="600"/>
                  </a:lnTo>
                  <a:lnTo>
                    <a:pt x="144" y="600"/>
                  </a:lnTo>
                  <a:lnTo>
                    <a:pt x="150" y="594"/>
                  </a:lnTo>
                  <a:lnTo>
                    <a:pt x="144" y="588"/>
                  </a:lnTo>
                  <a:lnTo>
                    <a:pt x="138" y="558"/>
                  </a:lnTo>
                  <a:lnTo>
                    <a:pt x="138" y="528"/>
                  </a:lnTo>
                  <a:lnTo>
                    <a:pt x="132" y="480"/>
                  </a:lnTo>
                  <a:lnTo>
                    <a:pt x="132" y="462"/>
                  </a:lnTo>
                  <a:lnTo>
                    <a:pt x="126" y="426"/>
                  </a:lnTo>
                  <a:lnTo>
                    <a:pt x="126" y="396"/>
                  </a:lnTo>
                  <a:lnTo>
                    <a:pt x="126" y="378"/>
                  </a:lnTo>
                  <a:lnTo>
                    <a:pt x="126" y="360"/>
                  </a:lnTo>
                  <a:lnTo>
                    <a:pt x="132" y="318"/>
                  </a:lnTo>
                  <a:lnTo>
                    <a:pt x="132" y="24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2" y="210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92" y="198"/>
                  </a:lnTo>
                  <a:lnTo>
                    <a:pt x="198" y="198"/>
                  </a:lnTo>
                  <a:lnTo>
                    <a:pt x="216" y="180"/>
                  </a:lnTo>
                  <a:lnTo>
                    <a:pt x="222" y="174"/>
                  </a:lnTo>
                  <a:lnTo>
                    <a:pt x="222" y="168"/>
                  </a:lnTo>
                  <a:lnTo>
                    <a:pt x="228" y="168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44"/>
                  </a:lnTo>
                  <a:lnTo>
                    <a:pt x="258" y="144"/>
                  </a:lnTo>
                  <a:lnTo>
                    <a:pt x="276" y="150"/>
                  </a:lnTo>
                  <a:lnTo>
                    <a:pt x="300" y="150"/>
                  </a:lnTo>
                  <a:lnTo>
                    <a:pt x="312" y="150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8" y="156"/>
                  </a:lnTo>
                  <a:lnTo>
                    <a:pt x="354" y="150"/>
                  </a:lnTo>
                  <a:lnTo>
                    <a:pt x="372" y="144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08" y="126"/>
                  </a:lnTo>
                  <a:lnTo>
                    <a:pt x="414" y="120"/>
                  </a:lnTo>
                  <a:lnTo>
                    <a:pt x="420" y="120"/>
                  </a:lnTo>
                  <a:lnTo>
                    <a:pt x="426" y="120"/>
                  </a:lnTo>
                  <a:lnTo>
                    <a:pt x="432" y="114"/>
                  </a:lnTo>
                  <a:lnTo>
                    <a:pt x="450" y="102"/>
                  </a:lnTo>
                  <a:lnTo>
                    <a:pt x="456" y="96"/>
                  </a:lnTo>
                  <a:lnTo>
                    <a:pt x="468" y="90"/>
                  </a:lnTo>
                  <a:lnTo>
                    <a:pt x="474" y="90"/>
                  </a:lnTo>
                  <a:lnTo>
                    <a:pt x="480" y="84"/>
                  </a:lnTo>
                  <a:lnTo>
                    <a:pt x="486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504" y="72"/>
                  </a:lnTo>
                  <a:lnTo>
                    <a:pt x="510" y="66"/>
                  </a:lnTo>
                  <a:lnTo>
                    <a:pt x="516" y="66"/>
                  </a:lnTo>
                  <a:lnTo>
                    <a:pt x="522" y="60"/>
                  </a:lnTo>
                  <a:lnTo>
                    <a:pt x="552" y="42"/>
                  </a:lnTo>
                  <a:lnTo>
                    <a:pt x="558" y="36"/>
                  </a:lnTo>
                  <a:lnTo>
                    <a:pt x="576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94" y="18"/>
                  </a:lnTo>
                  <a:lnTo>
                    <a:pt x="600" y="12"/>
                  </a:lnTo>
                  <a:lnTo>
                    <a:pt x="612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6"/>
                  </a:lnTo>
                  <a:lnTo>
                    <a:pt x="648" y="6"/>
                  </a:lnTo>
                  <a:lnTo>
                    <a:pt x="660" y="6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38" y="18"/>
                  </a:lnTo>
                  <a:lnTo>
                    <a:pt x="744" y="18"/>
                  </a:lnTo>
                  <a:lnTo>
                    <a:pt x="756" y="18"/>
                  </a:lnTo>
                  <a:lnTo>
                    <a:pt x="762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80" y="24"/>
                  </a:lnTo>
                  <a:lnTo>
                    <a:pt x="792" y="24"/>
                  </a:lnTo>
                  <a:lnTo>
                    <a:pt x="792" y="30"/>
                  </a:lnTo>
                  <a:lnTo>
                    <a:pt x="810" y="30"/>
                  </a:lnTo>
                  <a:lnTo>
                    <a:pt x="822" y="36"/>
                  </a:lnTo>
                  <a:lnTo>
                    <a:pt x="834" y="42"/>
                  </a:lnTo>
                  <a:lnTo>
                    <a:pt x="840" y="48"/>
                  </a:lnTo>
                  <a:lnTo>
                    <a:pt x="846" y="54"/>
                  </a:lnTo>
                  <a:lnTo>
                    <a:pt x="852" y="60"/>
                  </a:lnTo>
                  <a:lnTo>
                    <a:pt x="858" y="66"/>
                  </a:lnTo>
                  <a:lnTo>
                    <a:pt x="864" y="66"/>
                  </a:lnTo>
                  <a:lnTo>
                    <a:pt x="864" y="72"/>
                  </a:lnTo>
                  <a:lnTo>
                    <a:pt x="876" y="78"/>
                  </a:lnTo>
                  <a:lnTo>
                    <a:pt x="900" y="84"/>
                  </a:lnTo>
                  <a:lnTo>
                    <a:pt x="906" y="90"/>
                  </a:lnTo>
                  <a:lnTo>
                    <a:pt x="912" y="90"/>
                  </a:lnTo>
                  <a:lnTo>
                    <a:pt x="912" y="96"/>
                  </a:lnTo>
                  <a:lnTo>
                    <a:pt x="924" y="108"/>
                  </a:lnTo>
                  <a:lnTo>
                    <a:pt x="930" y="108"/>
                  </a:lnTo>
                  <a:lnTo>
                    <a:pt x="936" y="114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60" y="138"/>
                  </a:lnTo>
                  <a:lnTo>
                    <a:pt x="966" y="144"/>
                  </a:lnTo>
                  <a:lnTo>
                    <a:pt x="972" y="156"/>
                  </a:lnTo>
                  <a:lnTo>
                    <a:pt x="978" y="162"/>
                  </a:lnTo>
                  <a:lnTo>
                    <a:pt x="984" y="162"/>
                  </a:lnTo>
                  <a:lnTo>
                    <a:pt x="990" y="168"/>
                  </a:lnTo>
                  <a:lnTo>
                    <a:pt x="996" y="174"/>
                  </a:lnTo>
                  <a:lnTo>
                    <a:pt x="1002" y="180"/>
                  </a:lnTo>
                  <a:lnTo>
                    <a:pt x="1008" y="180"/>
                  </a:lnTo>
                  <a:lnTo>
                    <a:pt x="1020" y="180"/>
                  </a:lnTo>
                  <a:lnTo>
                    <a:pt x="1038" y="174"/>
                  </a:lnTo>
                  <a:lnTo>
                    <a:pt x="1050" y="174"/>
                  </a:lnTo>
                  <a:lnTo>
                    <a:pt x="1056" y="174"/>
                  </a:lnTo>
                  <a:lnTo>
                    <a:pt x="1068" y="180"/>
                  </a:lnTo>
                  <a:lnTo>
                    <a:pt x="1080" y="180"/>
                  </a:lnTo>
                  <a:lnTo>
                    <a:pt x="1086" y="186"/>
                  </a:lnTo>
                  <a:lnTo>
                    <a:pt x="1098" y="192"/>
                  </a:lnTo>
                  <a:lnTo>
                    <a:pt x="1116" y="204"/>
                  </a:lnTo>
                  <a:lnTo>
                    <a:pt x="1122" y="210"/>
                  </a:lnTo>
                  <a:lnTo>
                    <a:pt x="1134" y="222"/>
                  </a:lnTo>
                  <a:lnTo>
                    <a:pt x="1146" y="234"/>
                  </a:lnTo>
                  <a:lnTo>
                    <a:pt x="1146" y="240"/>
                  </a:lnTo>
                  <a:lnTo>
                    <a:pt x="1152" y="246"/>
                  </a:lnTo>
                  <a:lnTo>
                    <a:pt x="1152" y="252"/>
                  </a:lnTo>
                  <a:lnTo>
                    <a:pt x="1152" y="258"/>
                  </a:lnTo>
                  <a:lnTo>
                    <a:pt x="1164" y="258"/>
                  </a:lnTo>
                  <a:lnTo>
                    <a:pt x="1170" y="264"/>
                  </a:lnTo>
                  <a:lnTo>
                    <a:pt x="1182" y="270"/>
                  </a:lnTo>
                  <a:lnTo>
                    <a:pt x="1188" y="270"/>
                  </a:lnTo>
                  <a:lnTo>
                    <a:pt x="1194" y="270"/>
                  </a:lnTo>
                  <a:lnTo>
                    <a:pt x="1206" y="276"/>
                  </a:lnTo>
                  <a:lnTo>
                    <a:pt x="1224" y="282"/>
                  </a:lnTo>
                  <a:lnTo>
                    <a:pt x="1236" y="282"/>
                  </a:lnTo>
                  <a:lnTo>
                    <a:pt x="1242" y="288"/>
                  </a:lnTo>
                  <a:lnTo>
                    <a:pt x="1254" y="288"/>
                  </a:lnTo>
                  <a:lnTo>
                    <a:pt x="1266" y="294"/>
                  </a:lnTo>
                  <a:lnTo>
                    <a:pt x="1272" y="294"/>
                  </a:lnTo>
                  <a:lnTo>
                    <a:pt x="1284" y="300"/>
                  </a:lnTo>
                  <a:lnTo>
                    <a:pt x="1290" y="300"/>
                  </a:lnTo>
                  <a:lnTo>
                    <a:pt x="1296" y="300"/>
                  </a:lnTo>
                  <a:lnTo>
                    <a:pt x="1302" y="306"/>
                  </a:lnTo>
                  <a:lnTo>
                    <a:pt x="1326" y="312"/>
                  </a:lnTo>
                  <a:lnTo>
                    <a:pt x="1338" y="312"/>
                  </a:lnTo>
                  <a:lnTo>
                    <a:pt x="1338" y="318"/>
                  </a:lnTo>
                  <a:lnTo>
                    <a:pt x="1344" y="318"/>
                  </a:lnTo>
                  <a:lnTo>
                    <a:pt x="1350" y="318"/>
                  </a:lnTo>
                  <a:lnTo>
                    <a:pt x="1362" y="324"/>
                  </a:lnTo>
                  <a:lnTo>
                    <a:pt x="1368" y="318"/>
                  </a:lnTo>
                  <a:lnTo>
                    <a:pt x="1374" y="318"/>
                  </a:lnTo>
                  <a:lnTo>
                    <a:pt x="1386" y="318"/>
                  </a:lnTo>
                  <a:lnTo>
                    <a:pt x="1398" y="324"/>
                  </a:lnTo>
                  <a:lnTo>
                    <a:pt x="1398" y="342"/>
                  </a:lnTo>
                  <a:lnTo>
                    <a:pt x="1356" y="342"/>
                  </a:lnTo>
                  <a:lnTo>
                    <a:pt x="1350" y="348"/>
                  </a:lnTo>
                  <a:lnTo>
                    <a:pt x="1350" y="372"/>
                  </a:lnTo>
                  <a:lnTo>
                    <a:pt x="1338" y="384"/>
                  </a:lnTo>
                  <a:lnTo>
                    <a:pt x="1332" y="408"/>
                  </a:lnTo>
                  <a:lnTo>
                    <a:pt x="1320" y="420"/>
                  </a:lnTo>
                  <a:lnTo>
                    <a:pt x="1254" y="426"/>
                  </a:lnTo>
                  <a:lnTo>
                    <a:pt x="1248" y="432"/>
                  </a:lnTo>
                  <a:lnTo>
                    <a:pt x="1230" y="432"/>
                  </a:lnTo>
                  <a:lnTo>
                    <a:pt x="1212" y="432"/>
                  </a:lnTo>
                  <a:lnTo>
                    <a:pt x="1212" y="426"/>
                  </a:lnTo>
                  <a:lnTo>
                    <a:pt x="1200" y="426"/>
                  </a:lnTo>
                  <a:lnTo>
                    <a:pt x="1182" y="414"/>
                  </a:lnTo>
                  <a:lnTo>
                    <a:pt x="1182" y="420"/>
                  </a:lnTo>
                  <a:lnTo>
                    <a:pt x="1164" y="420"/>
                  </a:lnTo>
                  <a:lnTo>
                    <a:pt x="1158" y="414"/>
                  </a:lnTo>
                  <a:lnTo>
                    <a:pt x="1152" y="408"/>
                  </a:lnTo>
                  <a:lnTo>
                    <a:pt x="1146" y="402"/>
                  </a:lnTo>
                  <a:lnTo>
                    <a:pt x="1122" y="396"/>
                  </a:lnTo>
                  <a:lnTo>
                    <a:pt x="1116" y="366"/>
                  </a:lnTo>
                  <a:lnTo>
                    <a:pt x="1116" y="348"/>
                  </a:lnTo>
                  <a:lnTo>
                    <a:pt x="1110" y="342"/>
                  </a:lnTo>
                  <a:lnTo>
                    <a:pt x="1104" y="336"/>
                  </a:lnTo>
                  <a:lnTo>
                    <a:pt x="1092" y="330"/>
                  </a:lnTo>
                  <a:lnTo>
                    <a:pt x="1074" y="330"/>
                  </a:lnTo>
                  <a:lnTo>
                    <a:pt x="1044" y="330"/>
                  </a:lnTo>
                  <a:lnTo>
                    <a:pt x="1014" y="336"/>
                  </a:lnTo>
                  <a:lnTo>
                    <a:pt x="984" y="342"/>
                  </a:lnTo>
                  <a:lnTo>
                    <a:pt x="978" y="330"/>
                  </a:lnTo>
                  <a:lnTo>
                    <a:pt x="966" y="324"/>
                  </a:lnTo>
                  <a:lnTo>
                    <a:pt x="888" y="336"/>
                  </a:lnTo>
                  <a:lnTo>
                    <a:pt x="888" y="330"/>
                  </a:lnTo>
                  <a:lnTo>
                    <a:pt x="870" y="336"/>
                  </a:lnTo>
                  <a:lnTo>
                    <a:pt x="858" y="336"/>
                  </a:lnTo>
                  <a:lnTo>
                    <a:pt x="852" y="354"/>
                  </a:lnTo>
                  <a:lnTo>
                    <a:pt x="852" y="402"/>
                  </a:lnTo>
                  <a:lnTo>
                    <a:pt x="840" y="414"/>
                  </a:lnTo>
                  <a:lnTo>
                    <a:pt x="834" y="420"/>
                  </a:lnTo>
                  <a:lnTo>
                    <a:pt x="834" y="444"/>
                  </a:lnTo>
                  <a:lnTo>
                    <a:pt x="834" y="450"/>
                  </a:lnTo>
                  <a:lnTo>
                    <a:pt x="852" y="456"/>
                  </a:lnTo>
                  <a:lnTo>
                    <a:pt x="864" y="462"/>
                  </a:lnTo>
                  <a:lnTo>
                    <a:pt x="894" y="456"/>
                  </a:lnTo>
                  <a:lnTo>
                    <a:pt x="900" y="468"/>
                  </a:lnTo>
                  <a:lnTo>
                    <a:pt x="918" y="462"/>
                  </a:lnTo>
                  <a:lnTo>
                    <a:pt x="924" y="468"/>
                  </a:lnTo>
                  <a:lnTo>
                    <a:pt x="924" y="47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2" name="Freeform 37">
              <a:extLst>
                <a:ext uri="{FF2B5EF4-FFF2-40B4-BE49-F238E27FC236}">
                  <a16:creationId xmlns:a16="http://schemas.microsoft.com/office/drawing/2014/main" id="{DED8A1FF-B656-4D37-BD26-5B0A7B1A4A6D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441" y="1898343"/>
              <a:ext cx="567992" cy="686605"/>
            </a:xfrm>
            <a:custGeom>
              <a:avLst/>
              <a:gdLst>
                <a:gd name="T0" fmla="*/ 79 w 1068"/>
                <a:gd name="T1" fmla="*/ 72 h 1290"/>
                <a:gd name="T2" fmla="*/ 75 w 1068"/>
                <a:gd name="T3" fmla="*/ 73 h 1290"/>
                <a:gd name="T4" fmla="*/ 72 w 1068"/>
                <a:gd name="T5" fmla="*/ 76 h 1290"/>
                <a:gd name="T6" fmla="*/ 70 w 1068"/>
                <a:gd name="T7" fmla="*/ 78 h 1290"/>
                <a:gd name="T8" fmla="*/ 67 w 1068"/>
                <a:gd name="T9" fmla="*/ 82 h 1290"/>
                <a:gd name="T10" fmla="*/ 61 w 1068"/>
                <a:gd name="T11" fmla="*/ 86 h 1290"/>
                <a:gd name="T12" fmla="*/ 60 w 1068"/>
                <a:gd name="T13" fmla="*/ 93 h 1290"/>
                <a:gd name="T14" fmla="*/ 59 w 1068"/>
                <a:gd name="T15" fmla="*/ 97 h 1290"/>
                <a:gd name="T16" fmla="*/ 61 w 1068"/>
                <a:gd name="T17" fmla="*/ 101 h 1290"/>
                <a:gd name="T18" fmla="*/ 63 w 1068"/>
                <a:gd name="T19" fmla="*/ 104 h 1290"/>
                <a:gd name="T20" fmla="*/ 62 w 1068"/>
                <a:gd name="T21" fmla="*/ 108 h 1290"/>
                <a:gd name="T22" fmla="*/ 60 w 1068"/>
                <a:gd name="T23" fmla="*/ 111 h 1290"/>
                <a:gd name="T24" fmla="*/ 56 w 1068"/>
                <a:gd name="T25" fmla="*/ 111 h 1290"/>
                <a:gd name="T26" fmla="*/ 53 w 1068"/>
                <a:gd name="T27" fmla="*/ 110 h 1290"/>
                <a:gd name="T28" fmla="*/ 50 w 1068"/>
                <a:gd name="T29" fmla="*/ 109 h 1290"/>
                <a:gd name="T30" fmla="*/ 47 w 1068"/>
                <a:gd name="T31" fmla="*/ 110 h 1290"/>
                <a:gd name="T32" fmla="*/ 51 w 1068"/>
                <a:gd name="T33" fmla="*/ 104 h 1290"/>
                <a:gd name="T34" fmla="*/ 50 w 1068"/>
                <a:gd name="T35" fmla="*/ 95 h 1290"/>
                <a:gd name="T36" fmla="*/ 51 w 1068"/>
                <a:gd name="T37" fmla="*/ 90 h 1290"/>
                <a:gd name="T38" fmla="*/ 47 w 1068"/>
                <a:gd name="T39" fmla="*/ 84 h 1290"/>
                <a:gd name="T40" fmla="*/ 42 w 1068"/>
                <a:gd name="T41" fmla="*/ 78 h 1290"/>
                <a:gd name="T42" fmla="*/ 33 w 1068"/>
                <a:gd name="T43" fmla="*/ 73 h 1290"/>
                <a:gd name="T44" fmla="*/ 26 w 1068"/>
                <a:gd name="T45" fmla="*/ 68 h 1290"/>
                <a:gd name="T46" fmla="*/ 22 w 1068"/>
                <a:gd name="T47" fmla="*/ 63 h 1290"/>
                <a:gd name="T48" fmla="*/ 11 w 1068"/>
                <a:gd name="T49" fmla="*/ 67 h 1290"/>
                <a:gd name="T50" fmla="*/ 0 w 1068"/>
                <a:gd name="T51" fmla="*/ 68 h 1290"/>
                <a:gd name="T52" fmla="*/ 2 w 1068"/>
                <a:gd name="T53" fmla="*/ 59 h 1290"/>
                <a:gd name="T54" fmla="*/ 12 w 1068"/>
                <a:gd name="T55" fmla="*/ 55 h 1290"/>
                <a:gd name="T56" fmla="*/ 12 w 1068"/>
                <a:gd name="T57" fmla="*/ 51 h 1290"/>
                <a:gd name="T58" fmla="*/ 10 w 1068"/>
                <a:gd name="T59" fmla="*/ 47 h 1290"/>
                <a:gd name="T60" fmla="*/ 9 w 1068"/>
                <a:gd name="T61" fmla="*/ 42 h 1290"/>
                <a:gd name="T62" fmla="*/ 8 w 1068"/>
                <a:gd name="T63" fmla="*/ 38 h 1290"/>
                <a:gd name="T64" fmla="*/ 8 w 1068"/>
                <a:gd name="T65" fmla="*/ 29 h 1290"/>
                <a:gd name="T66" fmla="*/ 10 w 1068"/>
                <a:gd name="T67" fmla="*/ 18 h 1290"/>
                <a:gd name="T68" fmla="*/ 25 w 1068"/>
                <a:gd name="T69" fmla="*/ 12 h 1290"/>
                <a:gd name="T70" fmla="*/ 27 w 1068"/>
                <a:gd name="T71" fmla="*/ 4 h 1290"/>
                <a:gd name="T72" fmla="*/ 35 w 1068"/>
                <a:gd name="T73" fmla="*/ 6 h 1290"/>
                <a:gd name="T74" fmla="*/ 39 w 1068"/>
                <a:gd name="T75" fmla="*/ 8 h 1290"/>
                <a:gd name="T76" fmla="*/ 41 w 1068"/>
                <a:gd name="T77" fmla="*/ 3 h 1290"/>
                <a:gd name="T78" fmla="*/ 45 w 1068"/>
                <a:gd name="T79" fmla="*/ 0 h 1290"/>
                <a:gd name="T80" fmla="*/ 51 w 1068"/>
                <a:gd name="T81" fmla="*/ 0 h 1290"/>
                <a:gd name="T82" fmla="*/ 56 w 1068"/>
                <a:gd name="T83" fmla="*/ 4 h 1290"/>
                <a:gd name="T84" fmla="*/ 62 w 1068"/>
                <a:gd name="T85" fmla="*/ 12 h 1290"/>
                <a:gd name="T86" fmla="*/ 58 w 1068"/>
                <a:gd name="T87" fmla="*/ 17 h 1290"/>
                <a:gd name="T88" fmla="*/ 60 w 1068"/>
                <a:gd name="T89" fmla="*/ 18 h 1290"/>
                <a:gd name="T90" fmla="*/ 64 w 1068"/>
                <a:gd name="T91" fmla="*/ 16 h 1290"/>
                <a:gd name="T92" fmla="*/ 68 w 1068"/>
                <a:gd name="T93" fmla="*/ 18 h 1290"/>
                <a:gd name="T94" fmla="*/ 71 w 1068"/>
                <a:gd name="T95" fmla="*/ 27 h 1290"/>
                <a:gd name="T96" fmla="*/ 74 w 1068"/>
                <a:gd name="T97" fmla="*/ 30 h 1290"/>
                <a:gd name="T98" fmla="*/ 82 w 1068"/>
                <a:gd name="T99" fmla="*/ 30 h 1290"/>
                <a:gd name="T100" fmla="*/ 87 w 1068"/>
                <a:gd name="T101" fmla="*/ 35 h 1290"/>
                <a:gd name="T102" fmla="*/ 85 w 1068"/>
                <a:gd name="T103" fmla="*/ 42 h 1290"/>
                <a:gd name="T104" fmla="*/ 81 w 1068"/>
                <a:gd name="T105" fmla="*/ 46 h 1290"/>
                <a:gd name="T106" fmla="*/ 86 w 1068"/>
                <a:gd name="T107" fmla="*/ 50 h 1290"/>
                <a:gd name="T108" fmla="*/ 89 w 1068"/>
                <a:gd name="T109" fmla="*/ 58 h 1290"/>
                <a:gd name="T110" fmla="*/ 92 w 1068"/>
                <a:gd name="T111" fmla="*/ 61 h 1290"/>
                <a:gd name="T112" fmla="*/ 86 w 1068"/>
                <a:gd name="T113" fmla="*/ 66 h 1290"/>
                <a:gd name="T114" fmla="*/ 85 w 1068"/>
                <a:gd name="T115" fmla="*/ 70 h 129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68"/>
                <a:gd name="T175" fmla="*/ 0 h 1290"/>
                <a:gd name="T176" fmla="*/ 1068 w 1068"/>
                <a:gd name="T177" fmla="*/ 1290 h 129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68" h="1290">
                  <a:moveTo>
                    <a:pt x="978" y="804"/>
                  </a:moveTo>
                  <a:lnTo>
                    <a:pt x="972" y="810"/>
                  </a:lnTo>
                  <a:lnTo>
                    <a:pt x="966" y="810"/>
                  </a:lnTo>
                  <a:lnTo>
                    <a:pt x="966" y="816"/>
                  </a:lnTo>
                  <a:lnTo>
                    <a:pt x="936" y="828"/>
                  </a:lnTo>
                  <a:lnTo>
                    <a:pt x="924" y="822"/>
                  </a:lnTo>
                  <a:lnTo>
                    <a:pt x="912" y="822"/>
                  </a:lnTo>
                  <a:lnTo>
                    <a:pt x="906" y="828"/>
                  </a:lnTo>
                  <a:lnTo>
                    <a:pt x="900" y="828"/>
                  </a:lnTo>
                  <a:lnTo>
                    <a:pt x="900" y="822"/>
                  </a:lnTo>
                  <a:lnTo>
                    <a:pt x="894" y="822"/>
                  </a:lnTo>
                  <a:lnTo>
                    <a:pt x="888" y="828"/>
                  </a:lnTo>
                  <a:lnTo>
                    <a:pt x="882" y="834"/>
                  </a:lnTo>
                  <a:lnTo>
                    <a:pt x="876" y="834"/>
                  </a:lnTo>
                  <a:lnTo>
                    <a:pt x="870" y="840"/>
                  </a:lnTo>
                  <a:lnTo>
                    <a:pt x="864" y="840"/>
                  </a:lnTo>
                  <a:lnTo>
                    <a:pt x="864" y="846"/>
                  </a:lnTo>
                  <a:lnTo>
                    <a:pt x="858" y="846"/>
                  </a:lnTo>
                  <a:lnTo>
                    <a:pt x="852" y="846"/>
                  </a:lnTo>
                  <a:lnTo>
                    <a:pt x="852" y="858"/>
                  </a:lnTo>
                  <a:lnTo>
                    <a:pt x="846" y="864"/>
                  </a:lnTo>
                  <a:lnTo>
                    <a:pt x="840" y="870"/>
                  </a:lnTo>
                  <a:lnTo>
                    <a:pt x="834" y="870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34" y="876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10" y="894"/>
                  </a:lnTo>
                  <a:lnTo>
                    <a:pt x="810" y="900"/>
                  </a:lnTo>
                  <a:lnTo>
                    <a:pt x="804" y="900"/>
                  </a:lnTo>
                  <a:lnTo>
                    <a:pt x="798" y="900"/>
                  </a:lnTo>
                  <a:lnTo>
                    <a:pt x="798" y="906"/>
                  </a:lnTo>
                  <a:lnTo>
                    <a:pt x="792" y="906"/>
                  </a:lnTo>
                  <a:lnTo>
                    <a:pt x="792" y="912"/>
                  </a:lnTo>
                  <a:lnTo>
                    <a:pt x="792" y="924"/>
                  </a:lnTo>
                  <a:lnTo>
                    <a:pt x="786" y="930"/>
                  </a:lnTo>
                  <a:lnTo>
                    <a:pt x="774" y="942"/>
                  </a:lnTo>
                  <a:lnTo>
                    <a:pt x="774" y="948"/>
                  </a:lnTo>
                  <a:lnTo>
                    <a:pt x="768" y="954"/>
                  </a:lnTo>
                  <a:lnTo>
                    <a:pt x="762" y="954"/>
                  </a:lnTo>
                  <a:lnTo>
                    <a:pt x="750" y="972"/>
                  </a:lnTo>
                  <a:lnTo>
                    <a:pt x="720" y="978"/>
                  </a:lnTo>
                  <a:lnTo>
                    <a:pt x="714" y="978"/>
                  </a:lnTo>
                  <a:lnTo>
                    <a:pt x="708" y="978"/>
                  </a:lnTo>
                  <a:lnTo>
                    <a:pt x="702" y="990"/>
                  </a:lnTo>
                  <a:lnTo>
                    <a:pt x="696" y="990"/>
                  </a:lnTo>
                  <a:lnTo>
                    <a:pt x="696" y="1008"/>
                  </a:lnTo>
                  <a:lnTo>
                    <a:pt x="690" y="1008"/>
                  </a:lnTo>
                  <a:lnTo>
                    <a:pt x="690" y="1014"/>
                  </a:lnTo>
                  <a:lnTo>
                    <a:pt x="684" y="1032"/>
                  </a:lnTo>
                  <a:lnTo>
                    <a:pt x="690" y="1050"/>
                  </a:lnTo>
                  <a:lnTo>
                    <a:pt x="690" y="1062"/>
                  </a:lnTo>
                  <a:lnTo>
                    <a:pt x="690" y="1068"/>
                  </a:lnTo>
                  <a:lnTo>
                    <a:pt x="690" y="1074"/>
                  </a:lnTo>
                  <a:lnTo>
                    <a:pt x="684" y="1074"/>
                  </a:lnTo>
                  <a:lnTo>
                    <a:pt x="684" y="1080"/>
                  </a:lnTo>
                  <a:lnTo>
                    <a:pt x="678" y="1086"/>
                  </a:lnTo>
                  <a:lnTo>
                    <a:pt x="678" y="1104"/>
                  </a:lnTo>
                  <a:lnTo>
                    <a:pt x="678" y="1110"/>
                  </a:lnTo>
                  <a:lnTo>
                    <a:pt x="678" y="1116"/>
                  </a:lnTo>
                  <a:lnTo>
                    <a:pt x="684" y="1116"/>
                  </a:lnTo>
                  <a:lnTo>
                    <a:pt x="678" y="1128"/>
                  </a:lnTo>
                  <a:lnTo>
                    <a:pt x="684" y="1128"/>
                  </a:lnTo>
                  <a:lnTo>
                    <a:pt x="690" y="1134"/>
                  </a:lnTo>
                  <a:lnTo>
                    <a:pt x="690" y="1140"/>
                  </a:lnTo>
                  <a:lnTo>
                    <a:pt x="696" y="1140"/>
                  </a:lnTo>
                  <a:lnTo>
                    <a:pt x="696" y="1146"/>
                  </a:lnTo>
                  <a:lnTo>
                    <a:pt x="696" y="1152"/>
                  </a:lnTo>
                  <a:lnTo>
                    <a:pt x="702" y="1152"/>
                  </a:lnTo>
                  <a:lnTo>
                    <a:pt x="708" y="1152"/>
                  </a:lnTo>
                  <a:lnTo>
                    <a:pt x="714" y="1158"/>
                  </a:lnTo>
                  <a:lnTo>
                    <a:pt x="714" y="1164"/>
                  </a:lnTo>
                  <a:lnTo>
                    <a:pt x="720" y="1170"/>
                  </a:lnTo>
                  <a:lnTo>
                    <a:pt x="720" y="1176"/>
                  </a:lnTo>
                  <a:lnTo>
                    <a:pt x="720" y="1182"/>
                  </a:lnTo>
                  <a:lnTo>
                    <a:pt x="726" y="1188"/>
                  </a:lnTo>
                  <a:lnTo>
                    <a:pt x="726" y="1194"/>
                  </a:lnTo>
                  <a:lnTo>
                    <a:pt x="732" y="1194"/>
                  </a:lnTo>
                  <a:lnTo>
                    <a:pt x="732" y="1200"/>
                  </a:lnTo>
                  <a:lnTo>
                    <a:pt x="738" y="1212"/>
                  </a:lnTo>
                  <a:lnTo>
                    <a:pt x="732" y="1218"/>
                  </a:lnTo>
                  <a:lnTo>
                    <a:pt x="732" y="1224"/>
                  </a:lnTo>
                  <a:lnTo>
                    <a:pt x="726" y="1230"/>
                  </a:lnTo>
                  <a:lnTo>
                    <a:pt x="720" y="1230"/>
                  </a:lnTo>
                  <a:lnTo>
                    <a:pt x="720" y="1236"/>
                  </a:lnTo>
                  <a:lnTo>
                    <a:pt x="720" y="1242"/>
                  </a:lnTo>
                  <a:lnTo>
                    <a:pt x="720" y="1248"/>
                  </a:lnTo>
                  <a:lnTo>
                    <a:pt x="714" y="1248"/>
                  </a:lnTo>
                  <a:lnTo>
                    <a:pt x="714" y="1254"/>
                  </a:lnTo>
                  <a:lnTo>
                    <a:pt x="708" y="1260"/>
                  </a:lnTo>
                  <a:lnTo>
                    <a:pt x="702" y="1272"/>
                  </a:lnTo>
                  <a:lnTo>
                    <a:pt x="696" y="1272"/>
                  </a:lnTo>
                  <a:lnTo>
                    <a:pt x="696" y="1278"/>
                  </a:lnTo>
                  <a:lnTo>
                    <a:pt x="690" y="1284"/>
                  </a:lnTo>
                  <a:lnTo>
                    <a:pt x="690" y="1290"/>
                  </a:lnTo>
                  <a:lnTo>
                    <a:pt x="684" y="1290"/>
                  </a:lnTo>
                  <a:lnTo>
                    <a:pt x="660" y="1284"/>
                  </a:lnTo>
                  <a:lnTo>
                    <a:pt x="660" y="1278"/>
                  </a:lnTo>
                  <a:lnTo>
                    <a:pt x="654" y="1272"/>
                  </a:lnTo>
                  <a:lnTo>
                    <a:pt x="648" y="1272"/>
                  </a:lnTo>
                  <a:lnTo>
                    <a:pt x="642" y="1272"/>
                  </a:lnTo>
                  <a:lnTo>
                    <a:pt x="642" y="1266"/>
                  </a:lnTo>
                  <a:lnTo>
                    <a:pt x="636" y="1266"/>
                  </a:lnTo>
                  <a:lnTo>
                    <a:pt x="630" y="1266"/>
                  </a:lnTo>
                  <a:lnTo>
                    <a:pt x="624" y="1266"/>
                  </a:lnTo>
                  <a:lnTo>
                    <a:pt x="624" y="1260"/>
                  </a:lnTo>
                  <a:lnTo>
                    <a:pt x="618" y="1260"/>
                  </a:lnTo>
                  <a:lnTo>
                    <a:pt x="612" y="1260"/>
                  </a:lnTo>
                  <a:lnTo>
                    <a:pt x="606" y="1260"/>
                  </a:lnTo>
                  <a:lnTo>
                    <a:pt x="600" y="1260"/>
                  </a:lnTo>
                  <a:lnTo>
                    <a:pt x="600" y="1254"/>
                  </a:lnTo>
                  <a:lnTo>
                    <a:pt x="594" y="1254"/>
                  </a:lnTo>
                  <a:lnTo>
                    <a:pt x="588" y="1248"/>
                  </a:lnTo>
                  <a:lnTo>
                    <a:pt x="588" y="1254"/>
                  </a:lnTo>
                  <a:lnTo>
                    <a:pt x="582" y="1254"/>
                  </a:lnTo>
                  <a:lnTo>
                    <a:pt x="582" y="1248"/>
                  </a:lnTo>
                  <a:lnTo>
                    <a:pt x="576" y="1248"/>
                  </a:lnTo>
                  <a:lnTo>
                    <a:pt x="576" y="1254"/>
                  </a:lnTo>
                  <a:lnTo>
                    <a:pt x="570" y="1248"/>
                  </a:lnTo>
                  <a:lnTo>
                    <a:pt x="564" y="1248"/>
                  </a:lnTo>
                  <a:lnTo>
                    <a:pt x="564" y="1254"/>
                  </a:lnTo>
                  <a:lnTo>
                    <a:pt x="558" y="1254"/>
                  </a:lnTo>
                  <a:lnTo>
                    <a:pt x="552" y="1254"/>
                  </a:lnTo>
                  <a:lnTo>
                    <a:pt x="552" y="1260"/>
                  </a:lnTo>
                  <a:lnTo>
                    <a:pt x="546" y="1260"/>
                  </a:lnTo>
                  <a:lnTo>
                    <a:pt x="540" y="1260"/>
                  </a:lnTo>
                  <a:lnTo>
                    <a:pt x="540" y="1254"/>
                  </a:lnTo>
                  <a:lnTo>
                    <a:pt x="534" y="1254"/>
                  </a:lnTo>
                  <a:lnTo>
                    <a:pt x="528" y="1224"/>
                  </a:lnTo>
                  <a:lnTo>
                    <a:pt x="534" y="1212"/>
                  </a:lnTo>
                  <a:lnTo>
                    <a:pt x="546" y="1206"/>
                  </a:lnTo>
                  <a:lnTo>
                    <a:pt x="582" y="1206"/>
                  </a:lnTo>
                  <a:lnTo>
                    <a:pt x="588" y="1188"/>
                  </a:lnTo>
                  <a:lnTo>
                    <a:pt x="582" y="1188"/>
                  </a:lnTo>
                  <a:lnTo>
                    <a:pt x="582" y="1182"/>
                  </a:lnTo>
                  <a:lnTo>
                    <a:pt x="576" y="1176"/>
                  </a:lnTo>
                  <a:lnTo>
                    <a:pt x="558" y="1128"/>
                  </a:lnTo>
                  <a:lnTo>
                    <a:pt x="558" y="1122"/>
                  </a:lnTo>
                  <a:lnTo>
                    <a:pt x="576" y="1098"/>
                  </a:lnTo>
                  <a:lnTo>
                    <a:pt x="576" y="1092"/>
                  </a:lnTo>
                  <a:lnTo>
                    <a:pt x="582" y="1092"/>
                  </a:lnTo>
                  <a:lnTo>
                    <a:pt x="582" y="1086"/>
                  </a:lnTo>
                  <a:lnTo>
                    <a:pt x="582" y="1080"/>
                  </a:lnTo>
                  <a:lnTo>
                    <a:pt x="582" y="1074"/>
                  </a:lnTo>
                  <a:lnTo>
                    <a:pt x="588" y="1074"/>
                  </a:lnTo>
                  <a:lnTo>
                    <a:pt x="588" y="1062"/>
                  </a:lnTo>
                  <a:lnTo>
                    <a:pt x="588" y="1056"/>
                  </a:lnTo>
                  <a:lnTo>
                    <a:pt x="588" y="1044"/>
                  </a:lnTo>
                  <a:lnTo>
                    <a:pt x="588" y="1038"/>
                  </a:lnTo>
                  <a:lnTo>
                    <a:pt x="588" y="1032"/>
                  </a:lnTo>
                  <a:lnTo>
                    <a:pt x="582" y="1026"/>
                  </a:lnTo>
                  <a:lnTo>
                    <a:pt x="582" y="1020"/>
                  </a:lnTo>
                  <a:lnTo>
                    <a:pt x="582" y="1008"/>
                  </a:lnTo>
                  <a:lnTo>
                    <a:pt x="576" y="990"/>
                  </a:lnTo>
                  <a:lnTo>
                    <a:pt x="570" y="972"/>
                  </a:lnTo>
                  <a:lnTo>
                    <a:pt x="552" y="972"/>
                  </a:lnTo>
                  <a:lnTo>
                    <a:pt x="540" y="960"/>
                  </a:lnTo>
                  <a:lnTo>
                    <a:pt x="534" y="954"/>
                  </a:lnTo>
                  <a:lnTo>
                    <a:pt x="534" y="948"/>
                  </a:lnTo>
                  <a:lnTo>
                    <a:pt x="516" y="948"/>
                  </a:lnTo>
                  <a:lnTo>
                    <a:pt x="522" y="936"/>
                  </a:lnTo>
                  <a:lnTo>
                    <a:pt x="522" y="930"/>
                  </a:lnTo>
                  <a:lnTo>
                    <a:pt x="504" y="918"/>
                  </a:lnTo>
                  <a:lnTo>
                    <a:pt x="492" y="906"/>
                  </a:lnTo>
                  <a:lnTo>
                    <a:pt x="486" y="894"/>
                  </a:lnTo>
                  <a:lnTo>
                    <a:pt x="468" y="876"/>
                  </a:lnTo>
                  <a:lnTo>
                    <a:pt x="450" y="876"/>
                  </a:lnTo>
                  <a:lnTo>
                    <a:pt x="414" y="882"/>
                  </a:lnTo>
                  <a:lnTo>
                    <a:pt x="402" y="870"/>
                  </a:lnTo>
                  <a:lnTo>
                    <a:pt x="390" y="864"/>
                  </a:lnTo>
                  <a:lnTo>
                    <a:pt x="384" y="852"/>
                  </a:lnTo>
                  <a:lnTo>
                    <a:pt x="378" y="840"/>
                  </a:lnTo>
                  <a:lnTo>
                    <a:pt x="378" y="834"/>
                  </a:lnTo>
                  <a:lnTo>
                    <a:pt x="360" y="822"/>
                  </a:lnTo>
                  <a:lnTo>
                    <a:pt x="342" y="828"/>
                  </a:lnTo>
                  <a:lnTo>
                    <a:pt x="324" y="816"/>
                  </a:lnTo>
                  <a:lnTo>
                    <a:pt x="318" y="816"/>
                  </a:lnTo>
                  <a:lnTo>
                    <a:pt x="306" y="810"/>
                  </a:lnTo>
                  <a:lnTo>
                    <a:pt x="306" y="804"/>
                  </a:lnTo>
                  <a:lnTo>
                    <a:pt x="300" y="804"/>
                  </a:lnTo>
                  <a:lnTo>
                    <a:pt x="300" y="780"/>
                  </a:lnTo>
                  <a:lnTo>
                    <a:pt x="300" y="774"/>
                  </a:lnTo>
                  <a:lnTo>
                    <a:pt x="306" y="774"/>
                  </a:lnTo>
                  <a:lnTo>
                    <a:pt x="312" y="756"/>
                  </a:lnTo>
                  <a:lnTo>
                    <a:pt x="312" y="732"/>
                  </a:lnTo>
                  <a:lnTo>
                    <a:pt x="300" y="720"/>
                  </a:lnTo>
                  <a:lnTo>
                    <a:pt x="288" y="702"/>
                  </a:lnTo>
                  <a:lnTo>
                    <a:pt x="276" y="702"/>
                  </a:lnTo>
                  <a:lnTo>
                    <a:pt x="258" y="714"/>
                  </a:lnTo>
                  <a:lnTo>
                    <a:pt x="246" y="726"/>
                  </a:lnTo>
                  <a:lnTo>
                    <a:pt x="222" y="726"/>
                  </a:lnTo>
                  <a:lnTo>
                    <a:pt x="192" y="726"/>
                  </a:lnTo>
                  <a:lnTo>
                    <a:pt x="174" y="738"/>
                  </a:lnTo>
                  <a:lnTo>
                    <a:pt x="162" y="750"/>
                  </a:lnTo>
                  <a:lnTo>
                    <a:pt x="144" y="762"/>
                  </a:lnTo>
                  <a:lnTo>
                    <a:pt x="138" y="768"/>
                  </a:lnTo>
                  <a:lnTo>
                    <a:pt x="126" y="774"/>
                  </a:lnTo>
                  <a:lnTo>
                    <a:pt x="114" y="780"/>
                  </a:lnTo>
                  <a:lnTo>
                    <a:pt x="108" y="786"/>
                  </a:lnTo>
                  <a:lnTo>
                    <a:pt x="102" y="786"/>
                  </a:lnTo>
                  <a:lnTo>
                    <a:pt x="54" y="786"/>
                  </a:lnTo>
                  <a:lnTo>
                    <a:pt x="48" y="792"/>
                  </a:lnTo>
                  <a:lnTo>
                    <a:pt x="36" y="798"/>
                  </a:lnTo>
                  <a:lnTo>
                    <a:pt x="18" y="792"/>
                  </a:lnTo>
                  <a:lnTo>
                    <a:pt x="6" y="780"/>
                  </a:lnTo>
                  <a:lnTo>
                    <a:pt x="6" y="768"/>
                  </a:lnTo>
                  <a:lnTo>
                    <a:pt x="0" y="756"/>
                  </a:lnTo>
                  <a:lnTo>
                    <a:pt x="0" y="738"/>
                  </a:lnTo>
                  <a:lnTo>
                    <a:pt x="6" y="702"/>
                  </a:lnTo>
                  <a:lnTo>
                    <a:pt x="24" y="702"/>
                  </a:lnTo>
                  <a:lnTo>
                    <a:pt x="24" y="696"/>
                  </a:lnTo>
                  <a:lnTo>
                    <a:pt x="24" y="690"/>
                  </a:lnTo>
                  <a:lnTo>
                    <a:pt x="24" y="678"/>
                  </a:lnTo>
                  <a:lnTo>
                    <a:pt x="24" y="672"/>
                  </a:lnTo>
                  <a:lnTo>
                    <a:pt x="30" y="672"/>
                  </a:lnTo>
                  <a:lnTo>
                    <a:pt x="30" y="666"/>
                  </a:lnTo>
                  <a:lnTo>
                    <a:pt x="36" y="660"/>
                  </a:lnTo>
                  <a:lnTo>
                    <a:pt x="84" y="648"/>
                  </a:lnTo>
                  <a:lnTo>
                    <a:pt x="126" y="642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32" y="618"/>
                  </a:lnTo>
                  <a:lnTo>
                    <a:pt x="138" y="612"/>
                  </a:lnTo>
                  <a:lnTo>
                    <a:pt x="138" y="606"/>
                  </a:lnTo>
                  <a:lnTo>
                    <a:pt x="138" y="600"/>
                  </a:lnTo>
                  <a:lnTo>
                    <a:pt x="132" y="600"/>
                  </a:lnTo>
                  <a:lnTo>
                    <a:pt x="132" y="594"/>
                  </a:lnTo>
                  <a:lnTo>
                    <a:pt x="132" y="588"/>
                  </a:lnTo>
                  <a:lnTo>
                    <a:pt x="132" y="582"/>
                  </a:lnTo>
                  <a:lnTo>
                    <a:pt x="132" y="576"/>
                  </a:lnTo>
                  <a:lnTo>
                    <a:pt x="126" y="570"/>
                  </a:lnTo>
                  <a:lnTo>
                    <a:pt x="120" y="564"/>
                  </a:lnTo>
                  <a:lnTo>
                    <a:pt x="120" y="558"/>
                  </a:lnTo>
                  <a:lnTo>
                    <a:pt x="120" y="552"/>
                  </a:lnTo>
                  <a:lnTo>
                    <a:pt x="114" y="552"/>
                  </a:lnTo>
                  <a:lnTo>
                    <a:pt x="114" y="546"/>
                  </a:lnTo>
                  <a:lnTo>
                    <a:pt x="114" y="540"/>
                  </a:lnTo>
                  <a:lnTo>
                    <a:pt x="108" y="534"/>
                  </a:lnTo>
                  <a:lnTo>
                    <a:pt x="108" y="528"/>
                  </a:lnTo>
                  <a:lnTo>
                    <a:pt x="114" y="522"/>
                  </a:lnTo>
                  <a:lnTo>
                    <a:pt x="108" y="516"/>
                  </a:lnTo>
                  <a:lnTo>
                    <a:pt x="108" y="498"/>
                  </a:lnTo>
                  <a:lnTo>
                    <a:pt x="108" y="492"/>
                  </a:lnTo>
                  <a:lnTo>
                    <a:pt x="108" y="486"/>
                  </a:lnTo>
                  <a:lnTo>
                    <a:pt x="108" y="480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08" y="462"/>
                  </a:lnTo>
                  <a:lnTo>
                    <a:pt x="102" y="456"/>
                  </a:lnTo>
                  <a:lnTo>
                    <a:pt x="102" y="444"/>
                  </a:lnTo>
                  <a:lnTo>
                    <a:pt x="96" y="444"/>
                  </a:lnTo>
                  <a:lnTo>
                    <a:pt x="90" y="432"/>
                  </a:lnTo>
                  <a:lnTo>
                    <a:pt x="96" y="432"/>
                  </a:lnTo>
                  <a:lnTo>
                    <a:pt x="96" y="408"/>
                  </a:lnTo>
                  <a:lnTo>
                    <a:pt x="96" y="396"/>
                  </a:lnTo>
                  <a:lnTo>
                    <a:pt x="96" y="360"/>
                  </a:lnTo>
                  <a:lnTo>
                    <a:pt x="96" y="354"/>
                  </a:lnTo>
                  <a:lnTo>
                    <a:pt x="102" y="354"/>
                  </a:lnTo>
                  <a:lnTo>
                    <a:pt x="102" y="348"/>
                  </a:lnTo>
                  <a:lnTo>
                    <a:pt x="96" y="330"/>
                  </a:lnTo>
                  <a:lnTo>
                    <a:pt x="90" y="306"/>
                  </a:lnTo>
                  <a:lnTo>
                    <a:pt x="84" y="288"/>
                  </a:lnTo>
                  <a:lnTo>
                    <a:pt x="84" y="264"/>
                  </a:lnTo>
                  <a:lnTo>
                    <a:pt x="90" y="240"/>
                  </a:lnTo>
                  <a:lnTo>
                    <a:pt x="96" y="222"/>
                  </a:lnTo>
                  <a:lnTo>
                    <a:pt x="102" y="222"/>
                  </a:lnTo>
                  <a:lnTo>
                    <a:pt x="108" y="210"/>
                  </a:lnTo>
                  <a:lnTo>
                    <a:pt x="114" y="210"/>
                  </a:lnTo>
                  <a:lnTo>
                    <a:pt x="126" y="198"/>
                  </a:lnTo>
                  <a:lnTo>
                    <a:pt x="156" y="192"/>
                  </a:lnTo>
                  <a:lnTo>
                    <a:pt x="174" y="186"/>
                  </a:lnTo>
                  <a:lnTo>
                    <a:pt x="204" y="174"/>
                  </a:lnTo>
                  <a:lnTo>
                    <a:pt x="222" y="168"/>
                  </a:lnTo>
                  <a:lnTo>
                    <a:pt x="234" y="162"/>
                  </a:lnTo>
                  <a:lnTo>
                    <a:pt x="246" y="156"/>
                  </a:lnTo>
                  <a:lnTo>
                    <a:pt x="288" y="144"/>
                  </a:lnTo>
                  <a:lnTo>
                    <a:pt x="288" y="132"/>
                  </a:lnTo>
                  <a:lnTo>
                    <a:pt x="294" y="120"/>
                  </a:lnTo>
                  <a:lnTo>
                    <a:pt x="300" y="108"/>
                  </a:lnTo>
                  <a:lnTo>
                    <a:pt x="306" y="90"/>
                  </a:lnTo>
                  <a:lnTo>
                    <a:pt x="312" y="78"/>
                  </a:lnTo>
                  <a:lnTo>
                    <a:pt x="324" y="78"/>
                  </a:lnTo>
                  <a:lnTo>
                    <a:pt x="324" y="54"/>
                  </a:lnTo>
                  <a:lnTo>
                    <a:pt x="318" y="48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60" y="6"/>
                  </a:lnTo>
                  <a:lnTo>
                    <a:pt x="384" y="0"/>
                  </a:lnTo>
                  <a:lnTo>
                    <a:pt x="390" y="6"/>
                  </a:lnTo>
                  <a:lnTo>
                    <a:pt x="390" y="18"/>
                  </a:lnTo>
                  <a:lnTo>
                    <a:pt x="390" y="54"/>
                  </a:lnTo>
                  <a:lnTo>
                    <a:pt x="396" y="66"/>
                  </a:lnTo>
                  <a:lnTo>
                    <a:pt x="414" y="84"/>
                  </a:lnTo>
                  <a:lnTo>
                    <a:pt x="426" y="90"/>
                  </a:lnTo>
                  <a:lnTo>
                    <a:pt x="432" y="96"/>
                  </a:lnTo>
                  <a:lnTo>
                    <a:pt x="426" y="102"/>
                  </a:lnTo>
                  <a:lnTo>
                    <a:pt x="438" y="102"/>
                  </a:lnTo>
                  <a:lnTo>
                    <a:pt x="444" y="108"/>
                  </a:lnTo>
                  <a:lnTo>
                    <a:pt x="444" y="102"/>
                  </a:lnTo>
                  <a:lnTo>
                    <a:pt x="450" y="90"/>
                  </a:lnTo>
                  <a:lnTo>
                    <a:pt x="450" y="84"/>
                  </a:lnTo>
                  <a:lnTo>
                    <a:pt x="450" y="78"/>
                  </a:lnTo>
                  <a:lnTo>
                    <a:pt x="456" y="72"/>
                  </a:lnTo>
                  <a:lnTo>
                    <a:pt x="462" y="66"/>
                  </a:lnTo>
                  <a:lnTo>
                    <a:pt x="462" y="60"/>
                  </a:lnTo>
                  <a:lnTo>
                    <a:pt x="462" y="54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74" y="24"/>
                  </a:lnTo>
                  <a:lnTo>
                    <a:pt x="480" y="18"/>
                  </a:lnTo>
                  <a:lnTo>
                    <a:pt x="486" y="12"/>
                  </a:lnTo>
                  <a:lnTo>
                    <a:pt x="492" y="12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2" y="6"/>
                  </a:lnTo>
                  <a:lnTo>
                    <a:pt x="534" y="6"/>
                  </a:lnTo>
                  <a:lnTo>
                    <a:pt x="540" y="6"/>
                  </a:lnTo>
                  <a:lnTo>
                    <a:pt x="546" y="6"/>
                  </a:lnTo>
                  <a:lnTo>
                    <a:pt x="564" y="0"/>
                  </a:lnTo>
                  <a:lnTo>
                    <a:pt x="570" y="0"/>
                  </a:lnTo>
                  <a:lnTo>
                    <a:pt x="576" y="6"/>
                  </a:lnTo>
                  <a:lnTo>
                    <a:pt x="582" y="6"/>
                  </a:lnTo>
                  <a:lnTo>
                    <a:pt x="594" y="6"/>
                  </a:lnTo>
                  <a:lnTo>
                    <a:pt x="600" y="6"/>
                  </a:lnTo>
                  <a:lnTo>
                    <a:pt x="606" y="6"/>
                  </a:lnTo>
                  <a:lnTo>
                    <a:pt x="624" y="0"/>
                  </a:lnTo>
                  <a:lnTo>
                    <a:pt x="636" y="0"/>
                  </a:lnTo>
                  <a:lnTo>
                    <a:pt x="636" y="6"/>
                  </a:lnTo>
                  <a:lnTo>
                    <a:pt x="654" y="18"/>
                  </a:lnTo>
                  <a:lnTo>
                    <a:pt x="654" y="30"/>
                  </a:lnTo>
                  <a:lnTo>
                    <a:pt x="642" y="42"/>
                  </a:lnTo>
                  <a:lnTo>
                    <a:pt x="630" y="66"/>
                  </a:lnTo>
                  <a:lnTo>
                    <a:pt x="636" y="84"/>
                  </a:lnTo>
                  <a:lnTo>
                    <a:pt x="636" y="96"/>
                  </a:lnTo>
                  <a:lnTo>
                    <a:pt x="648" y="102"/>
                  </a:lnTo>
                  <a:lnTo>
                    <a:pt x="672" y="114"/>
                  </a:lnTo>
                  <a:lnTo>
                    <a:pt x="702" y="120"/>
                  </a:lnTo>
                  <a:lnTo>
                    <a:pt x="714" y="126"/>
                  </a:lnTo>
                  <a:lnTo>
                    <a:pt x="720" y="144"/>
                  </a:lnTo>
                  <a:lnTo>
                    <a:pt x="720" y="156"/>
                  </a:lnTo>
                  <a:lnTo>
                    <a:pt x="708" y="156"/>
                  </a:lnTo>
                  <a:lnTo>
                    <a:pt x="702" y="162"/>
                  </a:lnTo>
                  <a:lnTo>
                    <a:pt x="702" y="174"/>
                  </a:lnTo>
                  <a:lnTo>
                    <a:pt x="696" y="174"/>
                  </a:lnTo>
                  <a:lnTo>
                    <a:pt x="690" y="180"/>
                  </a:lnTo>
                  <a:lnTo>
                    <a:pt x="678" y="186"/>
                  </a:lnTo>
                  <a:lnTo>
                    <a:pt x="672" y="192"/>
                  </a:lnTo>
                  <a:lnTo>
                    <a:pt x="654" y="210"/>
                  </a:lnTo>
                  <a:lnTo>
                    <a:pt x="654" y="216"/>
                  </a:lnTo>
                  <a:lnTo>
                    <a:pt x="648" y="246"/>
                  </a:lnTo>
                  <a:lnTo>
                    <a:pt x="660" y="246"/>
                  </a:lnTo>
                  <a:lnTo>
                    <a:pt x="666" y="234"/>
                  </a:lnTo>
                  <a:lnTo>
                    <a:pt x="678" y="240"/>
                  </a:lnTo>
                  <a:lnTo>
                    <a:pt x="684" y="228"/>
                  </a:lnTo>
                  <a:lnTo>
                    <a:pt x="690" y="210"/>
                  </a:lnTo>
                  <a:lnTo>
                    <a:pt x="696" y="204"/>
                  </a:lnTo>
                  <a:lnTo>
                    <a:pt x="702" y="204"/>
                  </a:lnTo>
                  <a:lnTo>
                    <a:pt x="708" y="192"/>
                  </a:lnTo>
                  <a:lnTo>
                    <a:pt x="714" y="192"/>
                  </a:lnTo>
                  <a:lnTo>
                    <a:pt x="714" y="186"/>
                  </a:lnTo>
                  <a:lnTo>
                    <a:pt x="726" y="186"/>
                  </a:lnTo>
                  <a:lnTo>
                    <a:pt x="732" y="186"/>
                  </a:lnTo>
                  <a:lnTo>
                    <a:pt x="738" y="186"/>
                  </a:lnTo>
                  <a:lnTo>
                    <a:pt x="744" y="216"/>
                  </a:lnTo>
                  <a:lnTo>
                    <a:pt x="750" y="210"/>
                  </a:lnTo>
                  <a:lnTo>
                    <a:pt x="750" y="204"/>
                  </a:lnTo>
                  <a:lnTo>
                    <a:pt x="756" y="192"/>
                  </a:lnTo>
                  <a:lnTo>
                    <a:pt x="762" y="192"/>
                  </a:lnTo>
                  <a:lnTo>
                    <a:pt x="768" y="192"/>
                  </a:lnTo>
                  <a:lnTo>
                    <a:pt x="780" y="186"/>
                  </a:lnTo>
                  <a:lnTo>
                    <a:pt x="786" y="204"/>
                  </a:lnTo>
                  <a:lnTo>
                    <a:pt x="774" y="210"/>
                  </a:lnTo>
                  <a:lnTo>
                    <a:pt x="774" y="234"/>
                  </a:lnTo>
                  <a:lnTo>
                    <a:pt x="780" y="246"/>
                  </a:lnTo>
                  <a:lnTo>
                    <a:pt x="804" y="264"/>
                  </a:lnTo>
                  <a:lnTo>
                    <a:pt x="816" y="276"/>
                  </a:lnTo>
                  <a:lnTo>
                    <a:pt x="822" y="288"/>
                  </a:lnTo>
                  <a:lnTo>
                    <a:pt x="822" y="312"/>
                  </a:lnTo>
                  <a:lnTo>
                    <a:pt x="816" y="312"/>
                  </a:lnTo>
                  <a:lnTo>
                    <a:pt x="810" y="318"/>
                  </a:lnTo>
                  <a:lnTo>
                    <a:pt x="810" y="348"/>
                  </a:lnTo>
                  <a:lnTo>
                    <a:pt x="816" y="348"/>
                  </a:lnTo>
                  <a:lnTo>
                    <a:pt x="816" y="342"/>
                  </a:lnTo>
                  <a:lnTo>
                    <a:pt x="834" y="342"/>
                  </a:lnTo>
                  <a:lnTo>
                    <a:pt x="834" y="348"/>
                  </a:lnTo>
                  <a:lnTo>
                    <a:pt x="846" y="348"/>
                  </a:lnTo>
                  <a:lnTo>
                    <a:pt x="846" y="342"/>
                  </a:lnTo>
                  <a:lnTo>
                    <a:pt x="882" y="342"/>
                  </a:lnTo>
                  <a:lnTo>
                    <a:pt x="894" y="366"/>
                  </a:lnTo>
                  <a:lnTo>
                    <a:pt x="900" y="372"/>
                  </a:lnTo>
                  <a:lnTo>
                    <a:pt x="906" y="384"/>
                  </a:lnTo>
                  <a:lnTo>
                    <a:pt x="924" y="384"/>
                  </a:lnTo>
                  <a:lnTo>
                    <a:pt x="930" y="372"/>
                  </a:lnTo>
                  <a:lnTo>
                    <a:pt x="936" y="372"/>
                  </a:lnTo>
                  <a:lnTo>
                    <a:pt x="942" y="348"/>
                  </a:lnTo>
                  <a:lnTo>
                    <a:pt x="954" y="348"/>
                  </a:lnTo>
                  <a:lnTo>
                    <a:pt x="954" y="342"/>
                  </a:lnTo>
                  <a:lnTo>
                    <a:pt x="984" y="342"/>
                  </a:lnTo>
                  <a:lnTo>
                    <a:pt x="978" y="390"/>
                  </a:lnTo>
                  <a:lnTo>
                    <a:pt x="984" y="390"/>
                  </a:lnTo>
                  <a:lnTo>
                    <a:pt x="990" y="396"/>
                  </a:lnTo>
                  <a:lnTo>
                    <a:pt x="996" y="396"/>
                  </a:lnTo>
                  <a:lnTo>
                    <a:pt x="1002" y="396"/>
                  </a:lnTo>
                  <a:lnTo>
                    <a:pt x="1002" y="408"/>
                  </a:lnTo>
                  <a:lnTo>
                    <a:pt x="990" y="414"/>
                  </a:lnTo>
                  <a:lnTo>
                    <a:pt x="984" y="426"/>
                  </a:lnTo>
                  <a:lnTo>
                    <a:pt x="990" y="444"/>
                  </a:lnTo>
                  <a:lnTo>
                    <a:pt x="996" y="450"/>
                  </a:lnTo>
                  <a:lnTo>
                    <a:pt x="990" y="462"/>
                  </a:lnTo>
                  <a:lnTo>
                    <a:pt x="990" y="468"/>
                  </a:lnTo>
                  <a:lnTo>
                    <a:pt x="984" y="480"/>
                  </a:lnTo>
                  <a:lnTo>
                    <a:pt x="978" y="486"/>
                  </a:lnTo>
                  <a:lnTo>
                    <a:pt x="972" y="486"/>
                  </a:lnTo>
                  <a:lnTo>
                    <a:pt x="966" y="492"/>
                  </a:lnTo>
                  <a:lnTo>
                    <a:pt x="966" y="498"/>
                  </a:lnTo>
                  <a:lnTo>
                    <a:pt x="954" y="510"/>
                  </a:lnTo>
                  <a:lnTo>
                    <a:pt x="948" y="510"/>
                  </a:lnTo>
                  <a:lnTo>
                    <a:pt x="942" y="516"/>
                  </a:lnTo>
                  <a:lnTo>
                    <a:pt x="936" y="528"/>
                  </a:lnTo>
                  <a:lnTo>
                    <a:pt x="936" y="534"/>
                  </a:lnTo>
                  <a:lnTo>
                    <a:pt x="936" y="546"/>
                  </a:lnTo>
                  <a:lnTo>
                    <a:pt x="936" y="558"/>
                  </a:lnTo>
                  <a:lnTo>
                    <a:pt x="948" y="558"/>
                  </a:lnTo>
                  <a:lnTo>
                    <a:pt x="954" y="558"/>
                  </a:lnTo>
                  <a:lnTo>
                    <a:pt x="996" y="558"/>
                  </a:lnTo>
                  <a:lnTo>
                    <a:pt x="1002" y="570"/>
                  </a:lnTo>
                  <a:lnTo>
                    <a:pt x="996" y="576"/>
                  </a:lnTo>
                  <a:lnTo>
                    <a:pt x="996" y="588"/>
                  </a:lnTo>
                  <a:lnTo>
                    <a:pt x="984" y="588"/>
                  </a:lnTo>
                  <a:lnTo>
                    <a:pt x="990" y="612"/>
                  </a:lnTo>
                  <a:lnTo>
                    <a:pt x="1014" y="606"/>
                  </a:lnTo>
                  <a:lnTo>
                    <a:pt x="1014" y="636"/>
                  </a:lnTo>
                  <a:lnTo>
                    <a:pt x="1014" y="648"/>
                  </a:lnTo>
                  <a:lnTo>
                    <a:pt x="1020" y="648"/>
                  </a:lnTo>
                  <a:lnTo>
                    <a:pt x="1026" y="660"/>
                  </a:lnTo>
                  <a:lnTo>
                    <a:pt x="1038" y="654"/>
                  </a:lnTo>
                  <a:lnTo>
                    <a:pt x="1050" y="654"/>
                  </a:lnTo>
                  <a:lnTo>
                    <a:pt x="1062" y="654"/>
                  </a:lnTo>
                  <a:lnTo>
                    <a:pt x="1068" y="660"/>
                  </a:lnTo>
                  <a:lnTo>
                    <a:pt x="1068" y="678"/>
                  </a:lnTo>
                  <a:lnTo>
                    <a:pt x="1068" y="684"/>
                  </a:lnTo>
                  <a:lnTo>
                    <a:pt x="1062" y="690"/>
                  </a:lnTo>
                  <a:lnTo>
                    <a:pt x="1056" y="696"/>
                  </a:lnTo>
                  <a:lnTo>
                    <a:pt x="1056" y="702"/>
                  </a:lnTo>
                  <a:lnTo>
                    <a:pt x="1038" y="714"/>
                  </a:lnTo>
                  <a:lnTo>
                    <a:pt x="1026" y="720"/>
                  </a:lnTo>
                  <a:lnTo>
                    <a:pt x="1008" y="726"/>
                  </a:lnTo>
                  <a:lnTo>
                    <a:pt x="1008" y="732"/>
                  </a:lnTo>
                  <a:lnTo>
                    <a:pt x="990" y="732"/>
                  </a:lnTo>
                  <a:lnTo>
                    <a:pt x="984" y="744"/>
                  </a:lnTo>
                  <a:lnTo>
                    <a:pt x="990" y="750"/>
                  </a:lnTo>
                  <a:lnTo>
                    <a:pt x="984" y="762"/>
                  </a:lnTo>
                  <a:lnTo>
                    <a:pt x="984" y="768"/>
                  </a:lnTo>
                  <a:lnTo>
                    <a:pt x="984" y="774"/>
                  </a:lnTo>
                  <a:lnTo>
                    <a:pt x="984" y="780"/>
                  </a:lnTo>
                  <a:lnTo>
                    <a:pt x="984" y="786"/>
                  </a:lnTo>
                  <a:lnTo>
                    <a:pt x="984" y="792"/>
                  </a:lnTo>
                  <a:lnTo>
                    <a:pt x="978" y="798"/>
                  </a:lnTo>
                  <a:lnTo>
                    <a:pt x="978" y="80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3" name="Freeform 38">
              <a:extLst>
                <a:ext uri="{FF2B5EF4-FFF2-40B4-BE49-F238E27FC236}">
                  <a16:creationId xmlns:a16="http://schemas.microsoft.com/office/drawing/2014/main" id="{819B99CE-D972-4530-8964-A992C1EC87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2825" y="1634436"/>
              <a:ext cx="959326" cy="959458"/>
            </a:xfrm>
            <a:custGeom>
              <a:avLst/>
              <a:gdLst>
                <a:gd name="T0" fmla="*/ 105 w 1806"/>
                <a:gd name="T1" fmla="*/ 155 h 1806"/>
                <a:gd name="T2" fmla="*/ 103 w 1806"/>
                <a:gd name="T3" fmla="*/ 155 h 1806"/>
                <a:gd name="T4" fmla="*/ 103 w 1806"/>
                <a:gd name="T5" fmla="*/ 150 h 1806"/>
                <a:gd name="T6" fmla="*/ 104 w 1806"/>
                <a:gd name="T7" fmla="*/ 141 h 1806"/>
                <a:gd name="T8" fmla="*/ 104 w 1806"/>
                <a:gd name="T9" fmla="*/ 136 h 1806"/>
                <a:gd name="T10" fmla="*/ 100 w 1806"/>
                <a:gd name="T11" fmla="*/ 131 h 1806"/>
                <a:gd name="T12" fmla="*/ 96 w 1806"/>
                <a:gd name="T13" fmla="*/ 127 h 1806"/>
                <a:gd name="T14" fmla="*/ 91 w 1806"/>
                <a:gd name="T15" fmla="*/ 121 h 1806"/>
                <a:gd name="T16" fmla="*/ 87 w 1806"/>
                <a:gd name="T17" fmla="*/ 120 h 1806"/>
                <a:gd name="T18" fmla="*/ 81 w 1806"/>
                <a:gd name="T19" fmla="*/ 117 h 1806"/>
                <a:gd name="T20" fmla="*/ 65 w 1806"/>
                <a:gd name="T21" fmla="*/ 113 h 1806"/>
                <a:gd name="T22" fmla="*/ 69 w 1806"/>
                <a:gd name="T23" fmla="*/ 105 h 1806"/>
                <a:gd name="T24" fmla="*/ 66 w 1806"/>
                <a:gd name="T25" fmla="*/ 89 h 1806"/>
                <a:gd name="T26" fmla="*/ 63 w 1806"/>
                <a:gd name="T27" fmla="*/ 84 h 1806"/>
                <a:gd name="T28" fmla="*/ 62 w 1806"/>
                <a:gd name="T29" fmla="*/ 74 h 1806"/>
                <a:gd name="T30" fmla="*/ 58 w 1806"/>
                <a:gd name="T31" fmla="*/ 52 h 1806"/>
                <a:gd name="T32" fmla="*/ 53 w 1806"/>
                <a:gd name="T33" fmla="*/ 49 h 1806"/>
                <a:gd name="T34" fmla="*/ 51 w 1806"/>
                <a:gd name="T35" fmla="*/ 36 h 1806"/>
                <a:gd name="T36" fmla="*/ 43 w 1806"/>
                <a:gd name="T37" fmla="*/ 32 h 1806"/>
                <a:gd name="T38" fmla="*/ 33 w 1806"/>
                <a:gd name="T39" fmla="*/ 30 h 1806"/>
                <a:gd name="T40" fmla="*/ 30 w 1806"/>
                <a:gd name="T41" fmla="*/ 21 h 1806"/>
                <a:gd name="T42" fmla="*/ 17 w 1806"/>
                <a:gd name="T43" fmla="*/ 25 h 1806"/>
                <a:gd name="T44" fmla="*/ 4 w 1806"/>
                <a:gd name="T45" fmla="*/ 33 h 1806"/>
                <a:gd name="T46" fmla="*/ 7 w 1806"/>
                <a:gd name="T47" fmla="*/ 26 h 1806"/>
                <a:gd name="T48" fmla="*/ 11 w 1806"/>
                <a:gd name="T49" fmla="*/ 20 h 1806"/>
                <a:gd name="T50" fmla="*/ 18 w 1806"/>
                <a:gd name="T51" fmla="*/ 12 h 1806"/>
                <a:gd name="T52" fmla="*/ 26 w 1806"/>
                <a:gd name="T53" fmla="*/ 8 h 1806"/>
                <a:gd name="T54" fmla="*/ 35 w 1806"/>
                <a:gd name="T55" fmla="*/ 6 h 1806"/>
                <a:gd name="T56" fmla="*/ 44 w 1806"/>
                <a:gd name="T57" fmla="*/ 5 h 1806"/>
                <a:gd name="T58" fmla="*/ 54 w 1806"/>
                <a:gd name="T59" fmla="*/ 2 h 1806"/>
                <a:gd name="T60" fmla="*/ 65 w 1806"/>
                <a:gd name="T61" fmla="*/ 0 h 1806"/>
                <a:gd name="T62" fmla="*/ 76 w 1806"/>
                <a:gd name="T63" fmla="*/ 0 h 1806"/>
                <a:gd name="T64" fmla="*/ 85 w 1806"/>
                <a:gd name="T65" fmla="*/ 0 h 1806"/>
                <a:gd name="T66" fmla="*/ 97 w 1806"/>
                <a:gd name="T67" fmla="*/ 0 h 1806"/>
                <a:gd name="T68" fmla="*/ 108 w 1806"/>
                <a:gd name="T69" fmla="*/ 3 h 1806"/>
                <a:gd name="T70" fmla="*/ 115 w 1806"/>
                <a:gd name="T71" fmla="*/ 5 h 1806"/>
                <a:gd name="T72" fmla="*/ 123 w 1806"/>
                <a:gd name="T73" fmla="*/ 7 h 1806"/>
                <a:gd name="T74" fmla="*/ 133 w 1806"/>
                <a:gd name="T75" fmla="*/ 14 h 1806"/>
                <a:gd name="T76" fmla="*/ 138 w 1806"/>
                <a:gd name="T77" fmla="*/ 16 h 1806"/>
                <a:gd name="T78" fmla="*/ 140 w 1806"/>
                <a:gd name="T79" fmla="*/ 14 h 1806"/>
                <a:gd name="T80" fmla="*/ 145 w 1806"/>
                <a:gd name="T81" fmla="*/ 16 h 1806"/>
                <a:gd name="T82" fmla="*/ 147 w 1806"/>
                <a:gd name="T83" fmla="*/ 16 h 1806"/>
                <a:gd name="T84" fmla="*/ 150 w 1806"/>
                <a:gd name="T85" fmla="*/ 17 h 1806"/>
                <a:gd name="T86" fmla="*/ 152 w 1806"/>
                <a:gd name="T87" fmla="*/ 18 h 1806"/>
                <a:gd name="T88" fmla="*/ 155 w 1806"/>
                <a:gd name="T89" fmla="*/ 37 h 1806"/>
                <a:gd name="T90" fmla="*/ 146 w 1806"/>
                <a:gd name="T91" fmla="*/ 66 h 1806"/>
                <a:gd name="T92" fmla="*/ 143 w 1806"/>
                <a:gd name="T93" fmla="*/ 88 h 1806"/>
                <a:gd name="T94" fmla="*/ 144 w 1806"/>
                <a:gd name="T95" fmla="*/ 98 h 1806"/>
                <a:gd name="T96" fmla="*/ 137 w 1806"/>
                <a:gd name="T97" fmla="*/ 118 h 1806"/>
                <a:gd name="T98" fmla="*/ 132 w 1806"/>
                <a:gd name="T99" fmla="*/ 129 h 1806"/>
                <a:gd name="T100" fmla="*/ 124 w 1806"/>
                <a:gd name="T101" fmla="*/ 135 h 1806"/>
                <a:gd name="T102" fmla="*/ 119 w 1806"/>
                <a:gd name="T103" fmla="*/ 136 h 1806"/>
                <a:gd name="T104" fmla="*/ 116 w 1806"/>
                <a:gd name="T105" fmla="*/ 137 h 1806"/>
                <a:gd name="T106" fmla="*/ 112 w 1806"/>
                <a:gd name="T107" fmla="*/ 139 h 1806"/>
                <a:gd name="T108" fmla="*/ 112 w 1806"/>
                <a:gd name="T109" fmla="*/ 141 h 1806"/>
                <a:gd name="T110" fmla="*/ 116 w 1806"/>
                <a:gd name="T111" fmla="*/ 146 h 1806"/>
                <a:gd name="T112" fmla="*/ 116 w 1806"/>
                <a:gd name="T113" fmla="*/ 151 h 1806"/>
                <a:gd name="T114" fmla="*/ 113 w 1806"/>
                <a:gd name="T115" fmla="*/ 153 h 18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6"/>
                <a:gd name="T175" fmla="*/ 0 h 1806"/>
                <a:gd name="T176" fmla="*/ 1806 w 1806"/>
                <a:gd name="T177" fmla="*/ 1806 h 18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6" h="1806">
                  <a:moveTo>
                    <a:pt x="1260" y="1776"/>
                  </a:moveTo>
                  <a:lnTo>
                    <a:pt x="1254" y="1776"/>
                  </a:lnTo>
                  <a:lnTo>
                    <a:pt x="1248" y="1776"/>
                  </a:lnTo>
                  <a:lnTo>
                    <a:pt x="1242" y="1782"/>
                  </a:lnTo>
                  <a:lnTo>
                    <a:pt x="1236" y="1782"/>
                  </a:lnTo>
                  <a:lnTo>
                    <a:pt x="1230" y="1788"/>
                  </a:lnTo>
                  <a:lnTo>
                    <a:pt x="1224" y="1782"/>
                  </a:lnTo>
                  <a:lnTo>
                    <a:pt x="1218" y="1782"/>
                  </a:lnTo>
                  <a:lnTo>
                    <a:pt x="1218" y="1788"/>
                  </a:lnTo>
                  <a:lnTo>
                    <a:pt x="1212" y="1788"/>
                  </a:lnTo>
                  <a:lnTo>
                    <a:pt x="1206" y="1788"/>
                  </a:lnTo>
                  <a:lnTo>
                    <a:pt x="1206" y="1794"/>
                  </a:lnTo>
                  <a:lnTo>
                    <a:pt x="1200" y="1806"/>
                  </a:lnTo>
                  <a:lnTo>
                    <a:pt x="1194" y="1800"/>
                  </a:lnTo>
                  <a:lnTo>
                    <a:pt x="1194" y="1794"/>
                  </a:lnTo>
                  <a:lnTo>
                    <a:pt x="1194" y="1788"/>
                  </a:lnTo>
                  <a:lnTo>
                    <a:pt x="1188" y="1788"/>
                  </a:lnTo>
                  <a:lnTo>
                    <a:pt x="1188" y="1782"/>
                  </a:lnTo>
                  <a:lnTo>
                    <a:pt x="1188" y="1776"/>
                  </a:lnTo>
                  <a:lnTo>
                    <a:pt x="1194" y="1770"/>
                  </a:lnTo>
                  <a:lnTo>
                    <a:pt x="1194" y="1764"/>
                  </a:lnTo>
                  <a:lnTo>
                    <a:pt x="1194" y="1758"/>
                  </a:lnTo>
                  <a:lnTo>
                    <a:pt x="1194" y="1752"/>
                  </a:lnTo>
                  <a:lnTo>
                    <a:pt x="1200" y="1746"/>
                  </a:lnTo>
                  <a:lnTo>
                    <a:pt x="1200" y="1740"/>
                  </a:lnTo>
                  <a:lnTo>
                    <a:pt x="1200" y="1734"/>
                  </a:lnTo>
                  <a:lnTo>
                    <a:pt x="1188" y="1722"/>
                  </a:lnTo>
                  <a:lnTo>
                    <a:pt x="1188" y="1716"/>
                  </a:lnTo>
                  <a:lnTo>
                    <a:pt x="1194" y="1704"/>
                  </a:lnTo>
                  <a:lnTo>
                    <a:pt x="1194" y="1692"/>
                  </a:lnTo>
                  <a:lnTo>
                    <a:pt x="1200" y="1680"/>
                  </a:lnTo>
                  <a:lnTo>
                    <a:pt x="1200" y="1662"/>
                  </a:lnTo>
                  <a:lnTo>
                    <a:pt x="1200" y="1650"/>
                  </a:lnTo>
                  <a:lnTo>
                    <a:pt x="1206" y="1644"/>
                  </a:lnTo>
                  <a:lnTo>
                    <a:pt x="1206" y="1638"/>
                  </a:lnTo>
                  <a:lnTo>
                    <a:pt x="1206" y="1626"/>
                  </a:lnTo>
                  <a:lnTo>
                    <a:pt x="1206" y="1620"/>
                  </a:lnTo>
                  <a:lnTo>
                    <a:pt x="1206" y="1614"/>
                  </a:lnTo>
                  <a:lnTo>
                    <a:pt x="1200" y="1608"/>
                  </a:lnTo>
                  <a:lnTo>
                    <a:pt x="1200" y="1602"/>
                  </a:lnTo>
                  <a:lnTo>
                    <a:pt x="1200" y="1596"/>
                  </a:lnTo>
                  <a:lnTo>
                    <a:pt x="1200" y="1590"/>
                  </a:lnTo>
                  <a:lnTo>
                    <a:pt x="1200" y="1572"/>
                  </a:lnTo>
                  <a:lnTo>
                    <a:pt x="1200" y="1566"/>
                  </a:lnTo>
                  <a:lnTo>
                    <a:pt x="1200" y="1560"/>
                  </a:lnTo>
                  <a:lnTo>
                    <a:pt x="1194" y="1554"/>
                  </a:lnTo>
                  <a:lnTo>
                    <a:pt x="1188" y="1548"/>
                  </a:lnTo>
                  <a:lnTo>
                    <a:pt x="1188" y="1542"/>
                  </a:lnTo>
                  <a:lnTo>
                    <a:pt x="1176" y="1536"/>
                  </a:lnTo>
                  <a:lnTo>
                    <a:pt x="1176" y="1530"/>
                  </a:lnTo>
                  <a:lnTo>
                    <a:pt x="1170" y="1524"/>
                  </a:lnTo>
                  <a:lnTo>
                    <a:pt x="1170" y="1518"/>
                  </a:lnTo>
                  <a:lnTo>
                    <a:pt x="1164" y="1512"/>
                  </a:lnTo>
                  <a:lnTo>
                    <a:pt x="1158" y="1506"/>
                  </a:lnTo>
                  <a:lnTo>
                    <a:pt x="1152" y="1500"/>
                  </a:lnTo>
                  <a:lnTo>
                    <a:pt x="1146" y="1494"/>
                  </a:lnTo>
                  <a:lnTo>
                    <a:pt x="1140" y="1488"/>
                  </a:lnTo>
                  <a:lnTo>
                    <a:pt x="1134" y="1482"/>
                  </a:lnTo>
                  <a:lnTo>
                    <a:pt x="1128" y="1476"/>
                  </a:lnTo>
                  <a:lnTo>
                    <a:pt x="1122" y="1470"/>
                  </a:lnTo>
                  <a:lnTo>
                    <a:pt x="1116" y="1464"/>
                  </a:lnTo>
                  <a:lnTo>
                    <a:pt x="1110" y="1464"/>
                  </a:lnTo>
                  <a:lnTo>
                    <a:pt x="1104" y="1458"/>
                  </a:lnTo>
                  <a:lnTo>
                    <a:pt x="1098" y="1464"/>
                  </a:lnTo>
                  <a:lnTo>
                    <a:pt x="1092" y="1464"/>
                  </a:lnTo>
                  <a:lnTo>
                    <a:pt x="1086" y="1446"/>
                  </a:lnTo>
                  <a:lnTo>
                    <a:pt x="1086" y="1440"/>
                  </a:lnTo>
                  <a:lnTo>
                    <a:pt x="1080" y="1416"/>
                  </a:lnTo>
                  <a:lnTo>
                    <a:pt x="1068" y="1404"/>
                  </a:lnTo>
                  <a:lnTo>
                    <a:pt x="1062" y="1398"/>
                  </a:lnTo>
                  <a:lnTo>
                    <a:pt x="1056" y="1398"/>
                  </a:lnTo>
                  <a:lnTo>
                    <a:pt x="1050" y="1398"/>
                  </a:lnTo>
                  <a:lnTo>
                    <a:pt x="1044" y="1398"/>
                  </a:lnTo>
                  <a:lnTo>
                    <a:pt x="1044" y="1392"/>
                  </a:lnTo>
                  <a:lnTo>
                    <a:pt x="1038" y="1392"/>
                  </a:lnTo>
                  <a:lnTo>
                    <a:pt x="1032" y="1392"/>
                  </a:lnTo>
                  <a:lnTo>
                    <a:pt x="1020" y="1386"/>
                  </a:lnTo>
                  <a:lnTo>
                    <a:pt x="1014" y="1386"/>
                  </a:lnTo>
                  <a:lnTo>
                    <a:pt x="1014" y="1380"/>
                  </a:lnTo>
                  <a:lnTo>
                    <a:pt x="1008" y="1380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62"/>
                  </a:lnTo>
                  <a:lnTo>
                    <a:pt x="984" y="1356"/>
                  </a:lnTo>
                  <a:lnTo>
                    <a:pt x="978" y="1356"/>
                  </a:lnTo>
                  <a:lnTo>
                    <a:pt x="972" y="1356"/>
                  </a:lnTo>
                  <a:lnTo>
                    <a:pt x="966" y="1356"/>
                  </a:lnTo>
                  <a:lnTo>
                    <a:pt x="966" y="1350"/>
                  </a:lnTo>
                  <a:lnTo>
                    <a:pt x="948" y="1350"/>
                  </a:lnTo>
                  <a:lnTo>
                    <a:pt x="936" y="1344"/>
                  </a:lnTo>
                  <a:lnTo>
                    <a:pt x="930" y="1338"/>
                  </a:lnTo>
                  <a:lnTo>
                    <a:pt x="918" y="1332"/>
                  </a:lnTo>
                  <a:lnTo>
                    <a:pt x="900" y="1326"/>
                  </a:lnTo>
                  <a:lnTo>
                    <a:pt x="864" y="1332"/>
                  </a:lnTo>
                  <a:lnTo>
                    <a:pt x="828" y="1332"/>
                  </a:lnTo>
                  <a:lnTo>
                    <a:pt x="792" y="1314"/>
                  </a:lnTo>
                  <a:lnTo>
                    <a:pt x="780" y="1314"/>
                  </a:lnTo>
                  <a:lnTo>
                    <a:pt x="780" y="1308"/>
                  </a:lnTo>
                  <a:lnTo>
                    <a:pt x="756" y="1296"/>
                  </a:lnTo>
                  <a:lnTo>
                    <a:pt x="756" y="1278"/>
                  </a:lnTo>
                  <a:lnTo>
                    <a:pt x="768" y="1278"/>
                  </a:lnTo>
                  <a:lnTo>
                    <a:pt x="774" y="1272"/>
                  </a:lnTo>
                  <a:lnTo>
                    <a:pt x="780" y="1266"/>
                  </a:lnTo>
                  <a:lnTo>
                    <a:pt x="786" y="1260"/>
                  </a:lnTo>
                  <a:lnTo>
                    <a:pt x="792" y="1254"/>
                  </a:lnTo>
                  <a:lnTo>
                    <a:pt x="798" y="1242"/>
                  </a:lnTo>
                  <a:lnTo>
                    <a:pt x="804" y="1242"/>
                  </a:lnTo>
                  <a:lnTo>
                    <a:pt x="804" y="1206"/>
                  </a:lnTo>
                  <a:lnTo>
                    <a:pt x="804" y="1182"/>
                  </a:lnTo>
                  <a:lnTo>
                    <a:pt x="804" y="1158"/>
                  </a:lnTo>
                  <a:lnTo>
                    <a:pt x="804" y="1134"/>
                  </a:lnTo>
                  <a:lnTo>
                    <a:pt x="798" y="1116"/>
                  </a:lnTo>
                  <a:lnTo>
                    <a:pt x="792" y="1092"/>
                  </a:lnTo>
                  <a:lnTo>
                    <a:pt x="786" y="1062"/>
                  </a:lnTo>
                  <a:lnTo>
                    <a:pt x="768" y="1032"/>
                  </a:lnTo>
                  <a:lnTo>
                    <a:pt x="762" y="1032"/>
                  </a:lnTo>
                  <a:lnTo>
                    <a:pt x="762" y="1020"/>
                  </a:lnTo>
                  <a:lnTo>
                    <a:pt x="762" y="1014"/>
                  </a:lnTo>
                  <a:lnTo>
                    <a:pt x="756" y="1008"/>
                  </a:lnTo>
                  <a:lnTo>
                    <a:pt x="750" y="1002"/>
                  </a:lnTo>
                  <a:lnTo>
                    <a:pt x="738" y="1002"/>
                  </a:lnTo>
                  <a:lnTo>
                    <a:pt x="738" y="990"/>
                  </a:lnTo>
                  <a:lnTo>
                    <a:pt x="726" y="990"/>
                  </a:lnTo>
                  <a:lnTo>
                    <a:pt x="726" y="978"/>
                  </a:lnTo>
                  <a:lnTo>
                    <a:pt x="732" y="972"/>
                  </a:lnTo>
                  <a:lnTo>
                    <a:pt x="732" y="966"/>
                  </a:lnTo>
                  <a:lnTo>
                    <a:pt x="726" y="966"/>
                  </a:lnTo>
                  <a:lnTo>
                    <a:pt x="732" y="948"/>
                  </a:lnTo>
                  <a:lnTo>
                    <a:pt x="726" y="942"/>
                  </a:lnTo>
                  <a:lnTo>
                    <a:pt x="726" y="930"/>
                  </a:lnTo>
                  <a:lnTo>
                    <a:pt x="720" y="924"/>
                  </a:lnTo>
                  <a:lnTo>
                    <a:pt x="714" y="912"/>
                  </a:lnTo>
                  <a:lnTo>
                    <a:pt x="714" y="882"/>
                  </a:lnTo>
                  <a:lnTo>
                    <a:pt x="714" y="870"/>
                  </a:lnTo>
                  <a:lnTo>
                    <a:pt x="714" y="858"/>
                  </a:lnTo>
                  <a:lnTo>
                    <a:pt x="714" y="846"/>
                  </a:lnTo>
                  <a:lnTo>
                    <a:pt x="708" y="822"/>
                  </a:lnTo>
                  <a:lnTo>
                    <a:pt x="702" y="798"/>
                  </a:lnTo>
                  <a:lnTo>
                    <a:pt x="696" y="792"/>
                  </a:lnTo>
                  <a:lnTo>
                    <a:pt x="684" y="726"/>
                  </a:lnTo>
                  <a:lnTo>
                    <a:pt x="678" y="666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66" y="600"/>
                  </a:lnTo>
                  <a:lnTo>
                    <a:pt x="660" y="594"/>
                  </a:lnTo>
                  <a:lnTo>
                    <a:pt x="654" y="594"/>
                  </a:lnTo>
                  <a:lnTo>
                    <a:pt x="636" y="582"/>
                  </a:lnTo>
                  <a:lnTo>
                    <a:pt x="630" y="576"/>
                  </a:lnTo>
                  <a:lnTo>
                    <a:pt x="624" y="576"/>
                  </a:lnTo>
                  <a:lnTo>
                    <a:pt x="618" y="570"/>
                  </a:lnTo>
                  <a:lnTo>
                    <a:pt x="612" y="564"/>
                  </a:lnTo>
                  <a:lnTo>
                    <a:pt x="606" y="558"/>
                  </a:lnTo>
                  <a:lnTo>
                    <a:pt x="606" y="564"/>
                  </a:lnTo>
                  <a:lnTo>
                    <a:pt x="600" y="564"/>
                  </a:lnTo>
                  <a:lnTo>
                    <a:pt x="594" y="558"/>
                  </a:lnTo>
                  <a:lnTo>
                    <a:pt x="594" y="540"/>
                  </a:lnTo>
                  <a:lnTo>
                    <a:pt x="594" y="528"/>
                  </a:lnTo>
                  <a:lnTo>
                    <a:pt x="594" y="516"/>
                  </a:lnTo>
                  <a:lnTo>
                    <a:pt x="594" y="510"/>
                  </a:lnTo>
                  <a:lnTo>
                    <a:pt x="594" y="492"/>
                  </a:lnTo>
                  <a:lnTo>
                    <a:pt x="594" y="456"/>
                  </a:lnTo>
                  <a:lnTo>
                    <a:pt x="588" y="414"/>
                  </a:lnTo>
                  <a:lnTo>
                    <a:pt x="588" y="408"/>
                  </a:lnTo>
                  <a:lnTo>
                    <a:pt x="582" y="396"/>
                  </a:lnTo>
                  <a:lnTo>
                    <a:pt x="582" y="384"/>
                  </a:lnTo>
                  <a:lnTo>
                    <a:pt x="582" y="372"/>
                  </a:lnTo>
                  <a:lnTo>
                    <a:pt x="564" y="372"/>
                  </a:lnTo>
                  <a:lnTo>
                    <a:pt x="552" y="366"/>
                  </a:lnTo>
                  <a:lnTo>
                    <a:pt x="552" y="372"/>
                  </a:lnTo>
                  <a:lnTo>
                    <a:pt x="498" y="372"/>
                  </a:lnTo>
                  <a:lnTo>
                    <a:pt x="498" y="366"/>
                  </a:lnTo>
                  <a:lnTo>
                    <a:pt x="474" y="360"/>
                  </a:lnTo>
                  <a:lnTo>
                    <a:pt x="456" y="354"/>
                  </a:lnTo>
                  <a:lnTo>
                    <a:pt x="438" y="348"/>
                  </a:lnTo>
                  <a:lnTo>
                    <a:pt x="426" y="354"/>
                  </a:lnTo>
                  <a:lnTo>
                    <a:pt x="408" y="360"/>
                  </a:lnTo>
                  <a:lnTo>
                    <a:pt x="378" y="360"/>
                  </a:lnTo>
                  <a:lnTo>
                    <a:pt x="378" y="354"/>
                  </a:lnTo>
                  <a:lnTo>
                    <a:pt x="378" y="348"/>
                  </a:lnTo>
                  <a:lnTo>
                    <a:pt x="378" y="342"/>
                  </a:lnTo>
                  <a:lnTo>
                    <a:pt x="390" y="330"/>
                  </a:lnTo>
                  <a:lnTo>
                    <a:pt x="396" y="312"/>
                  </a:lnTo>
                  <a:lnTo>
                    <a:pt x="396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8"/>
                  </a:lnTo>
                  <a:lnTo>
                    <a:pt x="372" y="234"/>
                  </a:lnTo>
                  <a:lnTo>
                    <a:pt x="354" y="234"/>
                  </a:lnTo>
                  <a:lnTo>
                    <a:pt x="342" y="246"/>
                  </a:lnTo>
                  <a:lnTo>
                    <a:pt x="330" y="252"/>
                  </a:lnTo>
                  <a:lnTo>
                    <a:pt x="318" y="252"/>
                  </a:lnTo>
                  <a:lnTo>
                    <a:pt x="276" y="258"/>
                  </a:lnTo>
                  <a:lnTo>
                    <a:pt x="276" y="264"/>
                  </a:lnTo>
                  <a:lnTo>
                    <a:pt x="252" y="270"/>
                  </a:lnTo>
                  <a:lnTo>
                    <a:pt x="240" y="270"/>
                  </a:lnTo>
                  <a:lnTo>
                    <a:pt x="228" y="276"/>
                  </a:lnTo>
                  <a:lnTo>
                    <a:pt x="210" y="282"/>
                  </a:lnTo>
                  <a:lnTo>
                    <a:pt x="198" y="288"/>
                  </a:lnTo>
                  <a:lnTo>
                    <a:pt x="186" y="294"/>
                  </a:lnTo>
                  <a:lnTo>
                    <a:pt x="174" y="330"/>
                  </a:lnTo>
                  <a:lnTo>
                    <a:pt x="162" y="342"/>
                  </a:lnTo>
                  <a:lnTo>
                    <a:pt x="156" y="354"/>
                  </a:lnTo>
                  <a:lnTo>
                    <a:pt x="150" y="360"/>
                  </a:lnTo>
                  <a:lnTo>
                    <a:pt x="150" y="366"/>
                  </a:lnTo>
                  <a:lnTo>
                    <a:pt x="108" y="372"/>
                  </a:lnTo>
                  <a:lnTo>
                    <a:pt x="60" y="378"/>
                  </a:lnTo>
                  <a:lnTo>
                    <a:pt x="42" y="378"/>
                  </a:lnTo>
                  <a:lnTo>
                    <a:pt x="12" y="378"/>
                  </a:lnTo>
                  <a:lnTo>
                    <a:pt x="6" y="378"/>
                  </a:lnTo>
                  <a:lnTo>
                    <a:pt x="0" y="366"/>
                  </a:lnTo>
                  <a:lnTo>
                    <a:pt x="12" y="360"/>
                  </a:lnTo>
                  <a:lnTo>
                    <a:pt x="24" y="348"/>
                  </a:lnTo>
                  <a:lnTo>
                    <a:pt x="30" y="342"/>
                  </a:lnTo>
                  <a:lnTo>
                    <a:pt x="36" y="330"/>
                  </a:lnTo>
                  <a:lnTo>
                    <a:pt x="72" y="300"/>
                  </a:lnTo>
                  <a:lnTo>
                    <a:pt x="78" y="294"/>
                  </a:lnTo>
                  <a:lnTo>
                    <a:pt x="78" y="288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96" y="270"/>
                  </a:lnTo>
                  <a:lnTo>
                    <a:pt x="102" y="264"/>
                  </a:lnTo>
                  <a:lnTo>
                    <a:pt x="108" y="258"/>
                  </a:lnTo>
                  <a:lnTo>
                    <a:pt x="114" y="246"/>
                  </a:lnTo>
                  <a:lnTo>
                    <a:pt x="120" y="240"/>
                  </a:lnTo>
                  <a:lnTo>
                    <a:pt x="126" y="234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0" y="210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86" y="174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22" y="138"/>
                  </a:lnTo>
                  <a:lnTo>
                    <a:pt x="234" y="132"/>
                  </a:lnTo>
                  <a:lnTo>
                    <a:pt x="246" y="126"/>
                  </a:lnTo>
                  <a:lnTo>
                    <a:pt x="246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88" y="102"/>
                  </a:lnTo>
                  <a:lnTo>
                    <a:pt x="300" y="96"/>
                  </a:lnTo>
                  <a:lnTo>
                    <a:pt x="306" y="90"/>
                  </a:lnTo>
                  <a:lnTo>
                    <a:pt x="318" y="90"/>
                  </a:lnTo>
                  <a:lnTo>
                    <a:pt x="324" y="84"/>
                  </a:lnTo>
                  <a:lnTo>
                    <a:pt x="348" y="72"/>
                  </a:lnTo>
                  <a:lnTo>
                    <a:pt x="354" y="72"/>
                  </a:lnTo>
                  <a:lnTo>
                    <a:pt x="384" y="66"/>
                  </a:lnTo>
                  <a:lnTo>
                    <a:pt x="390" y="66"/>
                  </a:lnTo>
                  <a:lnTo>
                    <a:pt x="396" y="66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66"/>
                  </a:lnTo>
                  <a:lnTo>
                    <a:pt x="438" y="66"/>
                  </a:lnTo>
                  <a:lnTo>
                    <a:pt x="468" y="66"/>
                  </a:lnTo>
                  <a:lnTo>
                    <a:pt x="480" y="66"/>
                  </a:lnTo>
                  <a:lnTo>
                    <a:pt x="486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22" y="60"/>
                  </a:lnTo>
                  <a:lnTo>
                    <a:pt x="534" y="54"/>
                  </a:lnTo>
                  <a:lnTo>
                    <a:pt x="564" y="42"/>
                  </a:lnTo>
                  <a:lnTo>
                    <a:pt x="570" y="42"/>
                  </a:lnTo>
                  <a:lnTo>
                    <a:pt x="582" y="36"/>
                  </a:lnTo>
                  <a:lnTo>
                    <a:pt x="588" y="36"/>
                  </a:lnTo>
                  <a:lnTo>
                    <a:pt x="600" y="30"/>
                  </a:lnTo>
                  <a:lnTo>
                    <a:pt x="606" y="30"/>
                  </a:lnTo>
                  <a:lnTo>
                    <a:pt x="618" y="24"/>
                  </a:lnTo>
                  <a:lnTo>
                    <a:pt x="642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72" y="12"/>
                  </a:lnTo>
                  <a:lnTo>
                    <a:pt x="696" y="12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50" y="6"/>
                  </a:lnTo>
                  <a:lnTo>
                    <a:pt x="768" y="6"/>
                  </a:lnTo>
                  <a:lnTo>
                    <a:pt x="774" y="6"/>
                  </a:lnTo>
                  <a:lnTo>
                    <a:pt x="786" y="6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6" y="6"/>
                  </a:lnTo>
                  <a:lnTo>
                    <a:pt x="846" y="6"/>
                  </a:lnTo>
                  <a:lnTo>
                    <a:pt x="852" y="0"/>
                  </a:lnTo>
                  <a:lnTo>
                    <a:pt x="876" y="0"/>
                  </a:lnTo>
                  <a:lnTo>
                    <a:pt x="876" y="6"/>
                  </a:lnTo>
                  <a:lnTo>
                    <a:pt x="888" y="0"/>
                  </a:lnTo>
                  <a:lnTo>
                    <a:pt x="900" y="0"/>
                  </a:lnTo>
                  <a:lnTo>
                    <a:pt x="906" y="0"/>
                  </a:lnTo>
                  <a:lnTo>
                    <a:pt x="912" y="0"/>
                  </a:lnTo>
                  <a:lnTo>
                    <a:pt x="948" y="0"/>
                  </a:lnTo>
                  <a:lnTo>
                    <a:pt x="954" y="0"/>
                  </a:lnTo>
                  <a:lnTo>
                    <a:pt x="972" y="0"/>
                  </a:lnTo>
                  <a:lnTo>
                    <a:pt x="978" y="0"/>
                  </a:lnTo>
                  <a:lnTo>
                    <a:pt x="996" y="0"/>
                  </a:lnTo>
                  <a:lnTo>
                    <a:pt x="1032" y="0"/>
                  </a:lnTo>
                  <a:lnTo>
                    <a:pt x="1044" y="0"/>
                  </a:lnTo>
                  <a:lnTo>
                    <a:pt x="1050" y="0"/>
                  </a:lnTo>
                  <a:lnTo>
                    <a:pt x="1056" y="6"/>
                  </a:lnTo>
                  <a:lnTo>
                    <a:pt x="1056" y="0"/>
                  </a:lnTo>
                  <a:lnTo>
                    <a:pt x="1074" y="0"/>
                  </a:lnTo>
                  <a:lnTo>
                    <a:pt x="1098" y="6"/>
                  </a:lnTo>
                  <a:lnTo>
                    <a:pt x="1116" y="6"/>
                  </a:lnTo>
                  <a:lnTo>
                    <a:pt x="1140" y="12"/>
                  </a:lnTo>
                  <a:lnTo>
                    <a:pt x="1152" y="12"/>
                  </a:lnTo>
                  <a:lnTo>
                    <a:pt x="1158" y="12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6" y="12"/>
                  </a:lnTo>
                  <a:lnTo>
                    <a:pt x="1194" y="18"/>
                  </a:lnTo>
                  <a:lnTo>
                    <a:pt x="1206" y="18"/>
                  </a:lnTo>
                  <a:lnTo>
                    <a:pt x="1242" y="36"/>
                  </a:lnTo>
                  <a:lnTo>
                    <a:pt x="1248" y="36"/>
                  </a:lnTo>
                  <a:lnTo>
                    <a:pt x="1254" y="36"/>
                  </a:lnTo>
                  <a:lnTo>
                    <a:pt x="1260" y="42"/>
                  </a:lnTo>
                  <a:lnTo>
                    <a:pt x="1272" y="48"/>
                  </a:lnTo>
                  <a:lnTo>
                    <a:pt x="1278" y="48"/>
                  </a:lnTo>
                  <a:lnTo>
                    <a:pt x="1284" y="48"/>
                  </a:lnTo>
                  <a:lnTo>
                    <a:pt x="1290" y="54"/>
                  </a:lnTo>
                  <a:lnTo>
                    <a:pt x="1308" y="60"/>
                  </a:lnTo>
                  <a:lnTo>
                    <a:pt x="1326" y="60"/>
                  </a:lnTo>
                  <a:lnTo>
                    <a:pt x="1338" y="66"/>
                  </a:lnTo>
                  <a:lnTo>
                    <a:pt x="1344" y="66"/>
                  </a:lnTo>
                  <a:lnTo>
                    <a:pt x="1350" y="66"/>
                  </a:lnTo>
                  <a:lnTo>
                    <a:pt x="1356" y="66"/>
                  </a:lnTo>
                  <a:lnTo>
                    <a:pt x="1362" y="72"/>
                  </a:lnTo>
                  <a:lnTo>
                    <a:pt x="1368" y="72"/>
                  </a:lnTo>
                  <a:lnTo>
                    <a:pt x="1380" y="72"/>
                  </a:lnTo>
                  <a:lnTo>
                    <a:pt x="1386" y="72"/>
                  </a:lnTo>
                  <a:lnTo>
                    <a:pt x="1422" y="84"/>
                  </a:lnTo>
                  <a:lnTo>
                    <a:pt x="1428" y="84"/>
                  </a:lnTo>
                  <a:lnTo>
                    <a:pt x="1446" y="90"/>
                  </a:lnTo>
                  <a:lnTo>
                    <a:pt x="1458" y="102"/>
                  </a:lnTo>
                  <a:lnTo>
                    <a:pt x="1494" y="126"/>
                  </a:lnTo>
                  <a:lnTo>
                    <a:pt x="1500" y="132"/>
                  </a:lnTo>
                  <a:lnTo>
                    <a:pt x="1512" y="138"/>
                  </a:lnTo>
                  <a:lnTo>
                    <a:pt x="1512" y="144"/>
                  </a:lnTo>
                  <a:lnTo>
                    <a:pt x="1518" y="150"/>
                  </a:lnTo>
                  <a:lnTo>
                    <a:pt x="1530" y="156"/>
                  </a:lnTo>
                  <a:lnTo>
                    <a:pt x="1530" y="162"/>
                  </a:lnTo>
                  <a:lnTo>
                    <a:pt x="1548" y="168"/>
                  </a:lnTo>
                  <a:lnTo>
                    <a:pt x="1566" y="180"/>
                  </a:lnTo>
                  <a:lnTo>
                    <a:pt x="1578" y="186"/>
                  </a:lnTo>
                  <a:lnTo>
                    <a:pt x="1578" y="180"/>
                  </a:lnTo>
                  <a:lnTo>
                    <a:pt x="1584" y="186"/>
                  </a:lnTo>
                  <a:lnTo>
                    <a:pt x="1584" y="174"/>
                  </a:lnTo>
                  <a:lnTo>
                    <a:pt x="1590" y="174"/>
                  </a:lnTo>
                  <a:lnTo>
                    <a:pt x="1590" y="180"/>
                  </a:lnTo>
                  <a:lnTo>
                    <a:pt x="1596" y="180"/>
                  </a:lnTo>
                  <a:lnTo>
                    <a:pt x="1596" y="174"/>
                  </a:lnTo>
                  <a:lnTo>
                    <a:pt x="1602" y="174"/>
                  </a:lnTo>
                  <a:lnTo>
                    <a:pt x="1608" y="174"/>
                  </a:lnTo>
                  <a:lnTo>
                    <a:pt x="1614" y="180"/>
                  </a:lnTo>
                  <a:lnTo>
                    <a:pt x="1620" y="174"/>
                  </a:lnTo>
                  <a:lnTo>
                    <a:pt x="1614" y="168"/>
                  </a:lnTo>
                  <a:lnTo>
                    <a:pt x="1614" y="162"/>
                  </a:lnTo>
                  <a:lnTo>
                    <a:pt x="1620" y="162"/>
                  </a:lnTo>
                  <a:lnTo>
                    <a:pt x="1626" y="162"/>
                  </a:lnTo>
                  <a:lnTo>
                    <a:pt x="1632" y="162"/>
                  </a:lnTo>
                  <a:lnTo>
                    <a:pt x="1638" y="168"/>
                  </a:lnTo>
                  <a:lnTo>
                    <a:pt x="1644" y="168"/>
                  </a:lnTo>
                  <a:lnTo>
                    <a:pt x="1650" y="174"/>
                  </a:lnTo>
                  <a:lnTo>
                    <a:pt x="1656" y="168"/>
                  </a:lnTo>
                  <a:lnTo>
                    <a:pt x="1668" y="168"/>
                  </a:lnTo>
                  <a:lnTo>
                    <a:pt x="1674" y="174"/>
                  </a:lnTo>
                  <a:lnTo>
                    <a:pt x="1674" y="180"/>
                  </a:lnTo>
                  <a:lnTo>
                    <a:pt x="1674" y="186"/>
                  </a:lnTo>
                  <a:lnTo>
                    <a:pt x="1680" y="186"/>
                  </a:lnTo>
                  <a:lnTo>
                    <a:pt x="1680" y="192"/>
                  </a:lnTo>
                  <a:lnTo>
                    <a:pt x="1686" y="192"/>
                  </a:lnTo>
                  <a:lnTo>
                    <a:pt x="1686" y="186"/>
                  </a:lnTo>
                  <a:lnTo>
                    <a:pt x="1680" y="186"/>
                  </a:lnTo>
                  <a:lnTo>
                    <a:pt x="1686" y="180"/>
                  </a:lnTo>
                  <a:lnTo>
                    <a:pt x="1692" y="180"/>
                  </a:lnTo>
                  <a:lnTo>
                    <a:pt x="1698" y="180"/>
                  </a:lnTo>
                  <a:lnTo>
                    <a:pt x="1704" y="180"/>
                  </a:lnTo>
                  <a:lnTo>
                    <a:pt x="1704" y="186"/>
                  </a:lnTo>
                  <a:lnTo>
                    <a:pt x="1710" y="186"/>
                  </a:lnTo>
                  <a:lnTo>
                    <a:pt x="1716" y="186"/>
                  </a:lnTo>
                  <a:lnTo>
                    <a:pt x="1716" y="192"/>
                  </a:lnTo>
                  <a:lnTo>
                    <a:pt x="1716" y="198"/>
                  </a:lnTo>
                  <a:lnTo>
                    <a:pt x="1722" y="192"/>
                  </a:lnTo>
                  <a:lnTo>
                    <a:pt x="1722" y="186"/>
                  </a:lnTo>
                  <a:lnTo>
                    <a:pt x="1728" y="192"/>
                  </a:lnTo>
                  <a:lnTo>
                    <a:pt x="1734" y="192"/>
                  </a:lnTo>
                  <a:lnTo>
                    <a:pt x="1734" y="186"/>
                  </a:lnTo>
                  <a:lnTo>
                    <a:pt x="1740" y="186"/>
                  </a:lnTo>
                  <a:lnTo>
                    <a:pt x="1740" y="192"/>
                  </a:lnTo>
                  <a:lnTo>
                    <a:pt x="1746" y="192"/>
                  </a:lnTo>
                  <a:lnTo>
                    <a:pt x="1758" y="192"/>
                  </a:lnTo>
                  <a:lnTo>
                    <a:pt x="1764" y="192"/>
                  </a:lnTo>
                  <a:lnTo>
                    <a:pt x="1764" y="198"/>
                  </a:lnTo>
                  <a:lnTo>
                    <a:pt x="1758" y="204"/>
                  </a:lnTo>
                  <a:lnTo>
                    <a:pt x="1752" y="210"/>
                  </a:lnTo>
                  <a:lnTo>
                    <a:pt x="1746" y="216"/>
                  </a:lnTo>
                  <a:lnTo>
                    <a:pt x="1746" y="222"/>
                  </a:lnTo>
                  <a:lnTo>
                    <a:pt x="1734" y="228"/>
                  </a:lnTo>
                  <a:lnTo>
                    <a:pt x="1734" y="234"/>
                  </a:lnTo>
                  <a:lnTo>
                    <a:pt x="1734" y="258"/>
                  </a:lnTo>
                  <a:lnTo>
                    <a:pt x="1740" y="330"/>
                  </a:lnTo>
                  <a:lnTo>
                    <a:pt x="1746" y="372"/>
                  </a:lnTo>
                  <a:lnTo>
                    <a:pt x="1788" y="426"/>
                  </a:lnTo>
                  <a:lnTo>
                    <a:pt x="1806" y="438"/>
                  </a:lnTo>
                  <a:lnTo>
                    <a:pt x="1794" y="480"/>
                  </a:lnTo>
                  <a:lnTo>
                    <a:pt x="1770" y="516"/>
                  </a:lnTo>
                  <a:lnTo>
                    <a:pt x="1746" y="546"/>
                  </a:lnTo>
                  <a:lnTo>
                    <a:pt x="1716" y="570"/>
                  </a:lnTo>
                  <a:lnTo>
                    <a:pt x="1680" y="594"/>
                  </a:lnTo>
                  <a:lnTo>
                    <a:pt x="1668" y="630"/>
                  </a:lnTo>
                  <a:lnTo>
                    <a:pt x="1680" y="684"/>
                  </a:lnTo>
                  <a:lnTo>
                    <a:pt x="1686" y="756"/>
                  </a:lnTo>
                  <a:lnTo>
                    <a:pt x="1662" y="870"/>
                  </a:lnTo>
                  <a:lnTo>
                    <a:pt x="1656" y="888"/>
                  </a:lnTo>
                  <a:lnTo>
                    <a:pt x="1650" y="972"/>
                  </a:lnTo>
                  <a:lnTo>
                    <a:pt x="1656" y="978"/>
                  </a:lnTo>
                  <a:lnTo>
                    <a:pt x="1650" y="984"/>
                  </a:lnTo>
                  <a:lnTo>
                    <a:pt x="1650" y="990"/>
                  </a:lnTo>
                  <a:lnTo>
                    <a:pt x="1650" y="1002"/>
                  </a:lnTo>
                  <a:lnTo>
                    <a:pt x="1656" y="1008"/>
                  </a:lnTo>
                  <a:lnTo>
                    <a:pt x="1656" y="1014"/>
                  </a:lnTo>
                  <a:lnTo>
                    <a:pt x="1662" y="1026"/>
                  </a:lnTo>
                  <a:lnTo>
                    <a:pt x="1650" y="1032"/>
                  </a:lnTo>
                  <a:lnTo>
                    <a:pt x="1638" y="1044"/>
                  </a:lnTo>
                  <a:lnTo>
                    <a:pt x="1626" y="1080"/>
                  </a:lnTo>
                  <a:lnTo>
                    <a:pt x="1614" y="1116"/>
                  </a:lnTo>
                  <a:lnTo>
                    <a:pt x="1614" y="1128"/>
                  </a:lnTo>
                  <a:lnTo>
                    <a:pt x="1626" y="1134"/>
                  </a:lnTo>
                  <a:lnTo>
                    <a:pt x="1644" y="1134"/>
                  </a:lnTo>
                  <a:lnTo>
                    <a:pt x="1662" y="1134"/>
                  </a:lnTo>
                  <a:lnTo>
                    <a:pt x="1680" y="1140"/>
                  </a:lnTo>
                  <a:lnTo>
                    <a:pt x="1698" y="1170"/>
                  </a:lnTo>
                  <a:lnTo>
                    <a:pt x="1704" y="1194"/>
                  </a:lnTo>
                  <a:lnTo>
                    <a:pt x="1692" y="1206"/>
                  </a:lnTo>
                  <a:lnTo>
                    <a:pt x="1662" y="1242"/>
                  </a:lnTo>
                  <a:lnTo>
                    <a:pt x="1632" y="1266"/>
                  </a:lnTo>
                  <a:lnTo>
                    <a:pt x="1620" y="1314"/>
                  </a:lnTo>
                  <a:lnTo>
                    <a:pt x="1584" y="1356"/>
                  </a:lnTo>
                  <a:lnTo>
                    <a:pt x="1578" y="1356"/>
                  </a:lnTo>
                  <a:lnTo>
                    <a:pt x="1578" y="1362"/>
                  </a:lnTo>
                  <a:lnTo>
                    <a:pt x="1572" y="1410"/>
                  </a:lnTo>
                  <a:lnTo>
                    <a:pt x="1584" y="1452"/>
                  </a:lnTo>
                  <a:lnTo>
                    <a:pt x="1608" y="1476"/>
                  </a:lnTo>
                  <a:lnTo>
                    <a:pt x="1596" y="1476"/>
                  </a:lnTo>
                  <a:lnTo>
                    <a:pt x="1584" y="1482"/>
                  </a:lnTo>
                  <a:lnTo>
                    <a:pt x="1560" y="1482"/>
                  </a:lnTo>
                  <a:lnTo>
                    <a:pt x="1536" y="1482"/>
                  </a:lnTo>
                  <a:lnTo>
                    <a:pt x="1524" y="1482"/>
                  </a:lnTo>
                  <a:lnTo>
                    <a:pt x="1506" y="1500"/>
                  </a:lnTo>
                  <a:lnTo>
                    <a:pt x="1482" y="1530"/>
                  </a:lnTo>
                  <a:lnTo>
                    <a:pt x="1452" y="1542"/>
                  </a:lnTo>
                  <a:lnTo>
                    <a:pt x="1446" y="1542"/>
                  </a:lnTo>
                  <a:lnTo>
                    <a:pt x="1440" y="1542"/>
                  </a:lnTo>
                  <a:lnTo>
                    <a:pt x="1440" y="1548"/>
                  </a:lnTo>
                  <a:lnTo>
                    <a:pt x="1434" y="1548"/>
                  </a:lnTo>
                  <a:lnTo>
                    <a:pt x="1428" y="1548"/>
                  </a:lnTo>
                  <a:lnTo>
                    <a:pt x="1428" y="1554"/>
                  </a:lnTo>
                  <a:lnTo>
                    <a:pt x="1422" y="1560"/>
                  </a:lnTo>
                  <a:lnTo>
                    <a:pt x="1416" y="1560"/>
                  </a:lnTo>
                  <a:lnTo>
                    <a:pt x="1410" y="1566"/>
                  </a:lnTo>
                  <a:lnTo>
                    <a:pt x="1410" y="1560"/>
                  </a:lnTo>
                  <a:lnTo>
                    <a:pt x="1404" y="1560"/>
                  </a:lnTo>
                  <a:lnTo>
                    <a:pt x="1392" y="1560"/>
                  </a:lnTo>
                  <a:lnTo>
                    <a:pt x="1386" y="1560"/>
                  </a:lnTo>
                  <a:lnTo>
                    <a:pt x="1380" y="1566"/>
                  </a:lnTo>
                  <a:lnTo>
                    <a:pt x="1374" y="1560"/>
                  </a:lnTo>
                  <a:lnTo>
                    <a:pt x="1368" y="1566"/>
                  </a:lnTo>
                  <a:lnTo>
                    <a:pt x="1362" y="1566"/>
                  </a:lnTo>
                  <a:lnTo>
                    <a:pt x="1362" y="1572"/>
                  </a:lnTo>
                  <a:lnTo>
                    <a:pt x="1356" y="1572"/>
                  </a:lnTo>
                  <a:lnTo>
                    <a:pt x="1356" y="1578"/>
                  </a:lnTo>
                  <a:lnTo>
                    <a:pt x="1350" y="1578"/>
                  </a:lnTo>
                  <a:lnTo>
                    <a:pt x="1350" y="1572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32" y="1584"/>
                  </a:lnTo>
                  <a:lnTo>
                    <a:pt x="1326" y="1590"/>
                  </a:lnTo>
                  <a:lnTo>
                    <a:pt x="1320" y="1584"/>
                  </a:lnTo>
                  <a:lnTo>
                    <a:pt x="1314" y="1590"/>
                  </a:lnTo>
                  <a:lnTo>
                    <a:pt x="1308" y="1596"/>
                  </a:lnTo>
                  <a:lnTo>
                    <a:pt x="1302" y="1596"/>
                  </a:lnTo>
                  <a:lnTo>
                    <a:pt x="1296" y="1596"/>
                  </a:lnTo>
                  <a:lnTo>
                    <a:pt x="1290" y="1596"/>
                  </a:lnTo>
                  <a:lnTo>
                    <a:pt x="1284" y="1596"/>
                  </a:lnTo>
                  <a:lnTo>
                    <a:pt x="1278" y="1602"/>
                  </a:lnTo>
                  <a:lnTo>
                    <a:pt x="1266" y="1602"/>
                  </a:lnTo>
                  <a:lnTo>
                    <a:pt x="1272" y="1608"/>
                  </a:lnTo>
                  <a:lnTo>
                    <a:pt x="1278" y="1608"/>
                  </a:lnTo>
                  <a:lnTo>
                    <a:pt x="1284" y="1608"/>
                  </a:lnTo>
                  <a:lnTo>
                    <a:pt x="1290" y="1614"/>
                  </a:lnTo>
                  <a:lnTo>
                    <a:pt x="1296" y="1620"/>
                  </a:lnTo>
                  <a:lnTo>
                    <a:pt x="1302" y="1626"/>
                  </a:lnTo>
                  <a:lnTo>
                    <a:pt x="1308" y="1632"/>
                  </a:lnTo>
                  <a:lnTo>
                    <a:pt x="1314" y="1638"/>
                  </a:lnTo>
                  <a:lnTo>
                    <a:pt x="1314" y="1644"/>
                  </a:lnTo>
                  <a:lnTo>
                    <a:pt x="1320" y="1644"/>
                  </a:lnTo>
                  <a:lnTo>
                    <a:pt x="1320" y="1650"/>
                  </a:lnTo>
                  <a:lnTo>
                    <a:pt x="1326" y="1656"/>
                  </a:lnTo>
                  <a:lnTo>
                    <a:pt x="1332" y="1668"/>
                  </a:lnTo>
                  <a:lnTo>
                    <a:pt x="1338" y="1680"/>
                  </a:lnTo>
                  <a:lnTo>
                    <a:pt x="1338" y="1698"/>
                  </a:lnTo>
                  <a:lnTo>
                    <a:pt x="1350" y="1710"/>
                  </a:lnTo>
                  <a:lnTo>
                    <a:pt x="1350" y="1716"/>
                  </a:lnTo>
                  <a:lnTo>
                    <a:pt x="1350" y="1722"/>
                  </a:lnTo>
                  <a:lnTo>
                    <a:pt x="1350" y="1728"/>
                  </a:lnTo>
                  <a:lnTo>
                    <a:pt x="1356" y="1728"/>
                  </a:lnTo>
                  <a:lnTo>
                    <a:pt x="1356" y="1734"/>
                  </a:lnTo>
                  <a:lnTo>
                    <a:pt x="1350" y="1734"/>
                  </a:lnTo>
                  <a:lnTo>
                    <a:pt x="1344" y="1740"/>
                  </a:lnTo>
                  <a:lnTo>
                    <a:pt x="1338" y="1740"/>
                  </a:lnTo>
                  <a:lnTo>
                    <a:pt x="1332" y="1746"/>
                  </a:lnTo>
                  <a:lnTo>
                    <a:pt x="1326" y="1746"/>
                  </a:lnTo>
                  <a:lnTo>
                    <a:pt x="1326" y="1752"/>
                  </a:lnTo>
                  <a:lnTo>
                    <a:pt x="1320" y="1752"/>
                  </a:lnTo>
                  <a:lnTo>
                    <a:pt x="1320" y="1758"/>
                  </a:lnTo>
                  <a:lnTo>
                    <a:pt x="1314" y="1758"/>
                  </a:lnTo>
                  <a:lnTo>
                    <a:pt x="1308" y="1758"/>
                  </a:lnTo>
                  <a:lnTo>
                    <a:pt x="1302" y="1758"/>
                  </a:lnTo>
                  <a:lnTo>
                    <a:pt x="1296" y="1758"/>
                  </a:lnTo>
                  <a:lnTo>
                    <a:pt x="1290" y="1764"/>
                  </a:lnTo>
                  <a:lnTo>
                    <a:pt x="1284" y="1770"/>
                  </a:lnTo>
                  <a:lnTo>
                    <a:pt x="1278" y="1770"/>
                  </a:lnTo>
                  <a:lnTo>
                    <a:pt x="1272" y="1770"/>
                  </a:lnTo>
                  <a:lnTo>
                    <a:pt x="1266" y="1770"/>
                  </a:lnTo>
                  <a:lnTo>
                    <a:pt x="1266" y="1776"/>
                  </a:lnTo>
                  <a:lnTo>
                    <a:pt x="1260" y="1776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4" name="Freeform 39">
              <a:extLst>
                <a:ext uri="{FF2B5EF4-FFF2-40B4-BE49-F238E27FC236}">
                  <a16:creationId xmlns:a16="http://schemas.microsoft.com/office/drawing/2014/main" id="{E01CDA8B-32C7-421A-B23E-968CAC7F78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2974" y="1759680"/>
              <a:ext cx="825155" cy="700024"/>
            </a:xfrm>
            <a:custGeom>
              <a:avLst/>
              <a:gdLst>
                <a:gd name="T0" fmla="*/ 60 w 1554"/>
                <a:gd name="T1" fmla="*/ 86 h 1320"/>
                <a:gd name="T2" fmla="*/ 66 w 1554"/>
                <a:gd name="T3" fmla="*/ 80 h 1320"/>
                <a:gd name="T4" fmla="*/ 61 w 1554"/>
                <a:gd name="T5" fmla="*/ 73 h 1320"/>
                <a:gd name="T6" fmla="*/ 57 w 1554"/>
                <a:gd name="T7" fmla="*/ 67 h 1320"/>
                <a:gd name="T8" fmla="*/ 60 w 1554"/>
                <a:gd name="T9" fmla="*/ 59 h 1320"/>
                <a:gd name="T10" fmla="*/ 56 w 1554"/>
                <a:gd name="T11" fmla="*/ 55 h 1320"/>
                <a:gd name="T12" fmla="*/ 45 w 1554"/>
                <a:gd name="T13" fmla="*/ 53 h 1320"/>
                <a:gd name="T14" fmla="*/ 42 w 1554"/>
                <a:gd name="T15" fmla="*/ 41 h 1320"/>
                <a:gd name="T16" fmla="*/ 37 w 1554"/>
                <a:gd name="T17" fmla="*/ 39 h 1320"/>
                <a:gd name="T18" fmla="*/ 31 w 1554"/>
                <a:gd name="T19" fmla="*/ 44 h 1320"/>
                <a:gd name="T20" fmla="*/ 37 w 1554"/>
                <a:gd name="T21" fmla="*/ 35 h 1320"/>
                <a:gd name="T22" fmla="*/ 30 w 1554"/>
                <a:gd name="T23" fmla="*/ 23 h 1320"/>
                <a:gd name="T24" fmla="*/ 21 w 1554"/>
                <a:gd name="T25" fmla="*/ 23 h 1320"/>
                <a:gd name="T26" fmla="*/ 15 w 1554"/>
                <a:gd name="T27" fmla="*/ 27 h 1320"/>
                <a:gd name="T28" fmla="*/ 11 w 1554"/>
                <a:gd name="T29" fmla="*/ 32 h 1320"/>
                <a:gd name="T30" fmla="*/ 6 w 1554"/>
                <a:gd name="T31" fmla="*/ 22 h 1320"/>
                <a:gd name="T32" fmla="*/ 3 w 1554"/>
                <a:gd name="T33" fmla="*/ 11 h 1320"/>
                <a:gd name="T34" fmla="*/ 24 w 1554"/>
                <a:gd name="T35" fmla="*/ 12 h 1320"/>
                <a:gd name="T36" fmla="*/ 33 w 1554"/>
                <a:gd name="T37" fmla="*/ 19 h 1320"/>
                <a:gd name="T38" fmla="*/ 49 w 1554"/>
                <a:gd name="T39" fmla="*/ 12 h 1320"/>
                <a:gd name="T40" fmla="*/ 58 w 1554"/>
                <a:gd name="T41" fmla="*/ 10 h 1320"/>
                <a:gd name="T42" fmla="*/ 68 w 1554"/>
                <a:gd name="T43" fmla="*/ 11 h 1320"/>
                <a:gd name="T44" fmla="*/ 79 w 1554"/>
                <a:gd name="T45" fmla="*/ 12 h 1320"/>
                <a:gd name="T46" fmla="*/ 96 w 1554"/>
                <a:gd name="T47" fmla="*/ 11 h 1320"/>
                <a:gd name="T48" fmla="*/ 107 w 1554"/>
                <a:gd name="T49" fmla="*/ 2 h 1320"/>
                <a:gd name="T50" fmla="*/ 117 w 1554"/>
                <a:gd name="T51" fmla="*/ 8 h 1320"/>
                <a:gd name="T52" fmla="*/ 126 w 1554"/>
                <a:gd name="T53" fmla="*/ 12 h 1320"/>
                <a:gd name="T54" fmla="*/ 134 w 1554"/>
                <a:gd name="T55" fmla="*/ 24 h 1320"/>
                <a:gd name="T56" fmla="*/ 133 w 1554"/>
                <a:gd name="T57" fmla="*/ 29 h 1320"/>
                <a:gd name="T58" fmla="*/ 129 w 1554"/>
                <a:gd name="T59" fmla="*/ 31 h 1320"/>
                <a:gd name="T60" fmla="*/ 125 w 1554"/>
                <a:gd name="T61" fmla="*/ 32 h 1320"/>
                <a:gd name="T62" fmla="*/ 115 w 1554"/>
                <a:gd name="T63" fmla="*/ 34 h 1320"/>
                <a:gd name="T64" fmla="*/ 113 w 1554"/>
                <a:gd name="T65" fmla="*/ 44 h 1320"/>
                <a:gd name="T66" fmla="*/ 111 w 1554"/>
                <a:gd name="T67" fmla="*/ 54 h 1320"/>
                <a:gd name="T68" fmla="*/ 107 w 1554"/>
                <a:gd name="T69" fmla="*/ 56 h 1320"/>
                <a:gd name="T70" fmla="*/ 102 w 1554"/>
                <a:gd name="T71" fmla="*/ 58 h 1320"/>
                <a:gd name="T72" fmla="*/ 99 w 1554"/>
                <a:gd name="T73" fmla="*/ 60 h 1320"/>
                <a:gd name="T74" fmla="*/ 93 w 1554"/>
                <a:gd name="T75" fmla="*/ 62 h 1320"/>
                <a:gd name="T76" fmla="*/ 87 w 1554"/>
                <a:gd name="T77" fmla="*/ 64 h 1320"/>
                <a:gd name="T78" fmla="*/ 84 w 1554"/>
                <a:gd name="T79" fmla="*/ 65 h 1320"/>
                <a:gd name="T80" fmla="*/ 81 w 1554"/>
                <a:gd name="T81" fmla="*/ 69 h 1320"/>
                <a:gd name="T82" fmla="*/ 83 w 1554"/>
                <a:gd name="T83" fmla="*/ 72 h 1320"/>
                <a:gd name="T84" fmla="*/ 92 w 1554"/>
                <a:gd name="T85" fmla="*/ 73 h 1320"/>
                <a:gd name="T86" fmla="*/ 93 w 1554"/>
                <a:gd name="T87" fmla="*/ 87 h 1320"/>
                <a:gd name="T88" fmla="*/ 104 w 1554"/>
                <a:gd name="T89" fmla="*/ 98 h 1320"/>
                <a:gd name="T90" fmla="*/ 108 w 1554"/>
                <a:gd name="T91" fmla="*/ 98 h 1320"/>
                <a:gd name="T92" fmla="*/ 112 w 1554"/>
                <a:gd name="T93" fmla="*/ 100 h 1320"/>
                <a:gd name="T94" fmla="*/ 118 w 1554"/>
                <a:gd name="T95" fmla="*/ 100 h 1320"/>
                <a:gd name="T96" fmla="*/ 122 w 1554"/>
                <a:gd name="T97" fmla="*/ 102 h 1320"/>
                <a:gd name="T98" fmla="*/ 118 w 1554"/>
                <a:gd name="T99" fmla="*/ 105 h 1320"/>
                <a:gd name="T100" fmla="*/ 114 w 1554"/>
                <a:gd name="T101" fmla="*/ 107 h 1320"/>
                <a:gd name="T102" fmla="*/ 113 w 1554"/>
                <a:gd name="T103" fmla="*/ 113 h 1320"/>
                <a:gd name="T104" fmla="*/ 104 w 1554"/>
                <a:gd name="T105" fmla="*/ 113 h 1320"/>
                <a:gd name="T106" fmla="*/ 93 w 1554"/>
                <a:gd name="T107" fmla="*/ 109 h 1320"/>
                <a:gd name="T108" fmla="*/ 96 w 1554"/>
                <a:gd name="T109" fmla="*/ 103 h 1320"/>
                <a:gd name="T110" fmla="*/ 95 w 1554"/>
                <a:gd name="T111" fmla="*/ 97 h 1320"/>
                <a:gd name="T112" fmla="*/ 87 w 1554"/>
                <a:gd name="T113" fmla="*/ 98 h 1320"/>
                <a:gd name="T114" fmla="*/ 81 w 1554"/>
                <a:gd name="T115" fmla="*/ 98 h 1320"/>
                <a:gd name="T116" fmla="*/ 78 w 1554"/>
                <a:gd name="T117" fmla="*/ 93 h 1320"/>
                <a:gd name="T118" fmla="*/ 65 w 1554"/>
                <a:gd name="T119" fmla="*/ 92 h 1320"/>
                <a:gd name="T120" fmla="*/ 59 w 1554"/>
                <a:gd name="T121" fmla="*/ 92 h 13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54"/>
                <a:gd name="T184" fmla="*/ 0 h 1320"/>
                <a:gd name="T185" fmla="*/ 1554 w 1554"/>
                <a:gd name="T186" fmla="*/ 1320 h 132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54" h="1320">
                  <a:moveTo>
                    <a:pt x="684" y="1068"/>
                  </a:moveTo>
                  <a:lnTo>
                    <a:pt x="684" y="1062"/>
                  </a:lnTo>
                  <a:lnTo>
                    <a:pt x="690" y="1056"/>
                  </a:lnTo>
                  <a:lnTo>
                    <a:pt x="690" y="1050"/>
                  </a:lnTo>
                  <a:lnTo>
                    <a:pt x="690" y="1044"/>
                  </a:lnTo>
                  <a:lnTo>
                    <a:pt x="690" y="1038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14"/>
                  </a:lnTo>
                  <a:lnTo>
                    <a:pt x="690" y="1008"/>
                  </a:lnTo>
                  <a:lnTo>
                    <a:pt x="696" y="996"/>
                  </a:lnTo>
                  <a:lnTo>
                    <a:pt x="714" y="996"/>
                  </a:lnTo>
                  <a:lnTo>
                    <a:pt x="714" y="990"/>
                  </a:lnTo>
                  <a:lnTo>
                    <a:pt x="732" y="984"/>
                  </a:lnTo>
                  <a:lnTo>
                    <a:pt x="744" y="978"/>
                  </a:lnTo>
                  <a:lnTo>
                    <a:pt x="762" y="966"/>
                  </a:lnTo>
                  <a:lnTo>
                    <a:pt x="762" y="960"/>
                  </a:lnTo>
                  <a:lnTo>
                    <a:pt x="768" y="954"/>
                  </a:lnTo>
                  <a:lnTo>
                    <a:pt x="774" y="948"/>
                  </a:lnTo>
                  <a:lnTo>
                    <a:pt x="774" y="942"/>
                  </a:lnTo>
                  <a:lnTo>
                    <a:pt x="774" y="924"/>
                  </a:lnTo>
                  <a:lnTo>
                    <a:pt x="768" y="918"/>
                  </a:lnTo>
                  <a:lnTo>
                    <a:pt x="756" y="918"/>
                  </a:lnTo>
                  <a:lnTo>
                    <a:pt x="744" y="918"/>
                  </a:lnTo>
                  <a:lnTo>
                    <a:pt x="732" y="924"/>
                  </a:lnTo>
                  <a:lnTo>
                    <a:pt x="726" y="912"/>
                  </a:lnTo>
                  <a:lnTo>
                    <a:pt x="720" y="912"/>
                  </a:lnTo>
                  <a:lnTo>
                    <a:pt x="720" y="900"/>
                  </a:lnTo>
                  <a:lnTo>
                    <a:pt x="720" y="870"/>
                  </a:lnTo>
                  <a:lnTo>
                    <a:pt x="696" y="876"/>
                  </a:lnTo>
                  <a:lnTo>
                    <a:pt x="690" y="852"/>
                  </a:lnTo>
                  <a:lnTo>
                    <a:pt x="702" y="852"/>
                  </a:lnTo>
                  <a:lnTo>
                    <a:pt x="702" y="840"/>
                  </a:lnTo>
                  <a:lnTo>
                    <a:pt x="708" y="834"/>
                  </a:lnTo>
                  <a:lnTo>
                    <a:pt x="702" y="822"/>
                  </a:lnTo>
                  <a:lnTo>
                    <a:pt x="660" y="822"/>
                  </a:lnTo>
                  <a:lnTo>
                    <a:pt x="654" y="822"/>
                  </a:lnTo>
                  <a:lnTo>
                    <a:pt x="642" y="822"/>
                  </a:lnTo>
                  <a:lnTo>
                    <a:pt x="642" y="810"/>
                  </a:lnTo>
                  <a:lnTo>
                    <a:pt x="642" y="798"/>
                  </a:lnTo>
                  <a:lnTo>
                    <a:pt x="642" y="792"/>
                  </a:lnTo>
                  <a:lnTo>
                    <a:pt x="648" y="780"/>
                  </a:lnTo>
                  <a:lnTo>
                    <a:pt x="654" y="774"/>
                  </a:lnTo>
                  <a:lnTo>
                    <a:pt x="660" y="774"/>
                  </a:lnTo>
                  <a:lnTo>
                    <a:pt x="672" y="762"/>
                  </a:lnTo>
                  <a:lnTo>
                    <a:pt x="672" y="756"/>
                  </a:lnTo>
                  <a:lnTo>
                    <a:pt x="678" y="750"/>
                  </a:lnTo>
                  <a:lnTo>
                    <a:pt x="684" y="750"/>
                  </a:lnTo>
                  <a:lnTo>
                    <a:pt x="690" y="744"/>
                  </a:lnTo>
                  <a:lnTo>
                    <a:pt x="696" y="732"/>
                  </a:lnTo>
                  <a:lnTo>
                    <a:pt x="696" y="726"/>
                  </a:lnTo>
                  <a:lnTo>
                    <a:pt x="702" y="714"/>
                  </a:lnTo>
                  <a:lnTo>
                    <a:pt x="696" y="708"/>
                  </a:lnTo>
                  <a:lnTo>
                    <a:pt x="690" y="690"/>
                  </a:lnTo>
                  <a:lnTo>
                    <a:pt x="696" y="678"/>
                  </a:lnTo>
                  <a:lnTo>
                    <a:pt x="708" y="672"/>
                  </a:lnTo>
                  <a:lnTo>
                    <a:pt x="708" y="660"/>
                  </a:lnTo>
                  <a:lnTo>
                    <a:pt x="702" y="660"/>
                  </a:lnTo>
                  <a:lnTo>
                    <a:pt x="696" y="660"/>
                  </a:lnTo>
                  <a:lnTo>
                    <a:pt x="690" y="654"/>
                  </a:lnTo>
                  <a:lnTo>
                    <a:pt x="684" y="654"/>
                  </a:lnTo>
                  <a:lnTo>
                    <a:pt x="690" y="606"/>
                  </a:lnTo>
                  <a:lnTo>
                    <a:pt x="660" y="606"/>
                  </a:lnTo>
                  <a:lnTo>
                    <a:pt x="660" y="612"/>
                  </a:lnTo>
                  <a:lnTo>
                    <a:pt x="648" y="612"/>
                  </a:lnTo>
                  <a:lnTo>
                    <a:pt x="642" y="636"/>
                  </a:lnTo>
                  <a:lnTo>
                    <a:pt x="636" y="636"/>
                  </a:lnTo>
                  <a:lnTo>
                    <a:pt x="630" y="648"/>
                  </a:lnTo>
                  <a:lnTo>
                    <a:pt x="612" y="648"/>
                  </a:lnTo>
                  <a:lnTo>
                    <a:pt x="606" y="636"/>
                  </a:lnTo>
                  <a:lnTo>
                    <a:pt x="600" y="630"/>
                  </a:lnTo>
                  <a:lnTo>
                    <a:pt x="588" y="606"/>
                  </a:lnTo>
                  <a:lnTo>
                    <a:pt x="552" y="606"/>
                  </a:lnTo>
                  <a:lnTo>
                    <a:pt x="552" y="612"/>
                  </a:lnTo>
                  <a:lnTo>
                    <a:pt x="540" y="612"/>
                  </a:lnTo>
                  <a:lnTo>
                    <a:pt x="540" y="606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16" y="612"/>
                  </a:lnTo>
                  <a:lnTo>
                    <a:pt x="516" y="582"/>
                  </a:lnTo>
                  <a:lnTo>
                    <a:pt x="522" y="576"/>
                  </a:lnTo>
                  <a:lnTo>
                    <a:pt x="528" y="576"/>
                  </a:lnTo>
                  <a:lnTo>
                    <a:pt x="528" y="552"/>
                  </a:lnTo>
                  <a:lnTo>
                    <a:pt x="522" y="540"/>
                  </a:lnTo>
                  <a:lnTo>
                    <a:pt x="510" y="528"/>
                  </a:lnTo>
                  <a:lnTo>
                    <a:pt x="486" y="510"/>
                  </a:lnTo>
                  <a:lnTo>
                    <a:pt x="480" y="498"/>
                  </a:lnTo>
                  <a:lnTo>
                    <a:pt x="480" y="474"/>
                  </a:lnTo>
                  <a:lnTo>
                    <a:pt x="492" y="468"/>
                  </a:lnTo>
                  <a:lnTo>
                    <a:pt x="486" y="450"/>
                  </a:lnTo>
                  <a:lnTo>
                    <a:pt x="474" y="456"/>
                  </a:lnTo>
                  <a:lnTo>
                    <a:pt x="468" y="456"/>
                  </a:lnTo>
                  <a:lnTo>
                    <a:pt x="462" y="456"/>
                  </a:lnTo>
                  <a:lnTo>
                    <a:pt x="456" y="468"/>
                  </a:lnTo>
                  <a:lnTo>
                    <a:pt x="456" y="474"/>
                  </a:lnTo>
                  <a:lnTo>
                    <a:pt x="450" y="480"/>
                  </a:lnTo>
                  <a:lnTo>
                    <a:pt x="444" y="450"/>
                  </a:lnTo>
                  <a:lnTo>
                    <a:pt x="438" y="450"/>
                  </a:lnTo>
                  <a:lnTo>
                    <a:pt x="432" y="450"/>
                  </a:lnTo>
                  <a:lnTo>
                    <a:pt x="420" y="450"/>
                  </a:lnTo>
                  <a:lnTo>
                    <a:pt x="420" y="456"/>
                  </a:lnTo>
                  <a:lnTo>
                    <a:pt x="414" y="456"/>
                  </a:lnTo>
                  <a:lnTo>
                    <a:pt x="408" y="468"/>
                  </a:lnTo>
                  <a:lnTo>
                    <a:pt x="402" y="468"/>
                  </a:lnTo>
                  <a:lnTo>
                    <a:pt x="396" y="474"/>
                  </a:lnTo>
                  <a:lnTo>
                    <a:pt x="390" y="492"/>
                  </a:lnTo>
                  <a:lnTo>
                    <a:pt x="384" y="504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54" y="510"/>
                  </a:lnTo>
                  <a:lnTo>
                    <a:pt x="360" y="480"/>
                  </a:lnTo>
                  <a:lnTo>
                    <a:pt x="360" y="474"/>
                  </a:lnTo>
                  <a:lnTo>
                    <a:pt x="378" y="456"/>
                  </a:lnTo>
                  <a:lnTo>
                    <a:pt x="384" y="450"/>
                  </a:lnTo>
                  <a:lnTo>
                    <a:pt x="396" y="444"/>
                  </a:lnTo>
                  <a:lnTo>
                    <a:pt x="402" y="438"/>
                  </a:lnTo>
                  <a:lnTo>
                    <a:pt x="408" y="438"/>
                  </a:lnTo>
                  <a:lnTo>
                    <a:pt x="408" y="426"/>
                  </a:lnTo>
                  <a:lnTo>
                    <a:pt x="414" y="420"/>
                  </a:lnTo>
                  <a:lnTo>
                    <a:pt x="426" y="420"/>
                  </a:lnTo>
                  <a:lnTo>
                    <a:pt x="426" y="408"/>
                  </a:lnTo>
                  <a:lnTo>
                    <a:pt x="420" y="390"/>
                  </a:lnTo>
                  <a:lnTo>
                    <a:pt x="408" y="384"/>
                  </a:lnTo>
                  <a:lnTo>
                    <a:pt x="378" y="378"/>
                  </a:lnTo>
                  <a:lnTo>
                    <a:pt x="354" y="366"/>
                  </a:lnTo>
                  <a:lnTo>
                    <a:pt x="342" y="360"/>
                  </a:lnTo>
                  <a:lnTo>
                    <a:pt x="342" y="348"/>
                  </a:lnTo>
                  <a:lnTo>
                    <a:pt x="336" y="330"/>
                  </a:lnTo>
                  <a:lnTo>
                    <a:pt x="348" y="306"/>
                  </a:lnTo>
                  <a:lnTo>
                    <a:pt x="360" y="294"/>
                  </a:lnTo>
                  <a:lnTo>
                    <a:pt x="360" y="282"/>
                  </a:lnTo>
                  <a:lnTo>
                    <a:pt x="342" y="270"/>
                  </a:lnTo>
                  <a:lnTo>
                    <a:pt x="342" y="264"/>
                  </a:lnTo>
                  <a:lnTo>
                    <a:pt x="330" y="264"/>
                  </a:lnTo>
                  <a:lnTo>
                    <a:pt x="312" y="270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88" y="270"/>
                  </a:lnTo>
                  <a:lnTo>
                    <a:pt x="282" y="270"/>
                  </a:lnTo>
                  <a:lnTo>
                    <a:pt x="276" y="264"/>
                  </a:lnTo>
                  <a:lnTo>
                    <a:pt x="270" y="264"/>
                  </a:lnTo>
                  <a:lnTo>
                    <a:pt x="252" y="270"/>
                  </a:lnTo>
                  <a:lnTo>
                    <a:pt x="246" y="270"/>
                  </a:lnTo>
                  <a:lnTo>
                    <a:pt x="240" y="270"/>
                  </a:lnTo>
                  <a:lnTo>
                    <a:pt x="228" y="270"/>
                  </a:lnTo>
                  <a:lnTo>
                    <a:pt x="216" y="276"/>
                  </a:lnTo>
                  <a:lnTo>
                    <a:pt x="210" y="270"/>
                  </a:lnTo>
                  <a:lnTo>
                    <a:pt x="204" y="270"/>
                  </a:lnTo>
                  <a:lnTo>
                    <a:pt x="198" y="276"/>
                  </a:lnTo>
                  <a:lnTo>
                    <a:pt x="192" y="276"/>
                  </a:lnTo>
                  <a:lnTo>
                    <a:pt x="186" y="282"/>
                  </a:lnTo>
                  <a:lnTo>
                    <a:pt x="180" y="288"/>
                  </a:lnTo>
                  <a:lnTo>
                    <a:pt x="174" y="300"/>
                  </a:lnTo>
                  <a:lnTo>
                    <a:pt x="168" y="306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8" y="330"/>
                  </a:lnTo>
                  <a:lnTo>
                    <a:pt x="162" y="336"/>
                  </a:lnTo>
                  <a:lnTo>
                    <a:pt x="156" y="342"/>
                  </a:lnTo>
                  <a:lnTo>
                    <a:pt x="156" y="348"/>
                  </a:lnTo>
                  <a:lnTo>
                    <a:pt x="156" y="354"/>
                  </a:lnTo>
                  <a:lnTo>
                    <a:pt x="150" y="366"/>
                  </a:lnTo>
                  <a:lnTo>
                    <a:pt x="150" y="372"/>
                  </a:lnTo>
                  <a:lnTo>
                    <a:pt x="144" y="366"/>
                  </a:lnTo>
                  <a:lnTo>
                    <a:pt x="132" y="366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20" y="348"/>
                  </a:lnTo>
                  <a:lnTo>
                    <a:pt x="102" y="330"/>
                  </a:lnTo>
                  <a:lnTo>
                    <a:pt x="96" y="318"/>
                  </a:lnTo>
                  <a:lnTo>
                    <a:pt x="96" y="282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0" y="258"/>
                  </a:lnTo>
                  <a:lnTo>
                    <a:pt x="84" y="252"/>
                  </a:lnTo>
                  <a:lnTo>
                    <a:pt x="66" y="258"/>
                  </a:lnTo>
                  <a:lnTo>
                    <a:pt x="60" y="246"/>
                  </a:lnTo>
                  <a:lnTo>
                    <a:pt x="30" y="252"/>
                  </a:lnTo>
                  <a:lnTo>
                    <a:pt x="18" y="246"/>
                  </a:lnTo>
                  <a:lnTo>
                    <a:pt x="0" y="240"/>
                  </a:lnTo>
                  <a:lnTo>
                    <a:pt x="0" y="234"/>
                  </a:lnTo>
                  <a:lnTo>
                    <a:pt x="0" y="210"/>
                  </a:lnTo>
                  <a:lnTo>
                    <a:pt x="6" y="204"/>
                  </a:lnTo>
                  <a:lnTo>
                    <a:pt x="18" y="192"/>
                  </a:lnTo>
                  <a:lnTo>
                    <a:pt x="18" y="144"/>
                  </a:lnTo>
                  <a:lnTo>
                    <a:pt x="24" y="126"/>
                  </a:lnTo>
                  <a:lnTo>
                    <a:pt x="36" y="126"/>
                  </a:lnTo>
                  <a:lnTo>
                    <a:pt x="54" y="120"/>
                  </a:lnTo>
                  <a:lnTo>
                    <a:pt x="54" y="126"/>
                  </a:lnTo>
                  <a:lnTo>
                    <a:pt x="132" y="114"/>
                  </a:lnTo>
                  <a:lnTo>
                    <a:pt x="144" y="120"/>
                  </a:lnTo>
                  <a:lnTo>
                    <a:pt x="150" y="132"/>
                  </a:lnTo>
                  <a:lnTo>
                    <a:pt x="180" y="126"/>
                  </a:lnTo>
                  <a:lnTo>
                    <a:pt x="210" y="120"/>
                  </a:lnTo>
                  <a:lnTo>
                    <a:pt x="240" y="120"/>
                  </a:lnTo>
                  <a:lnTo>
                    <a:pt x="258" y="120"/>
                  </a:lnTo>
                  <a:lnTo>
                    <a:pt x="270" y="126"/>
                  </a:lnTo>
                  <a:lnTo>
                    <a:pt x="276" y="132"/>
                  </a:lnTo>
                  <a:lnTo>
                    <a:pt x="282" y="138"/>
                  </a:lnTo>
                  <a:lnTo>
                    <a:pt x="282" y="156"/>
                  </a:lnTo>
                  <a:lnTo>
                    <a:pt x="288" y="186"/>
                  </a:lnTo>
                  <a:lnTo>
                    <a:pt x="312" y="192"/>
                  </a:lnTo>
                  <a:lnTo>
                    <a:pt x="318" y="198"/>
                  </a:lnTo>
                  <a:lnTo>
                    <a:pt x="324" y="204"/>
                  </a:lnTo>
                  <a:lnTo>
                    <a:pt x="330" y="210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66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86" y="210"/>
                  </a:lnTo>
                  <a:lnTo>
                    <a:pt x="498" y="198"/>
                  </a:lnTo>
                  <a:lnTo>
                    <a:pt x="504" y="174"/>
                  </a:lnTo>
                  <a:lnTo>
                    <a:pt x="516" y="162"/>
                  </a:lnTo>
                  <a:lnTo>
                    <a:pt x="516" y="138"/>
                  </a:lnTo>
                  <a:lnTo>
                    <a:pt x="522" y="132"/>
                  </a:lnTo>
                  <a:lnTo>
                    <a:pt x="564" y="132"/>
                  </a:lnTo>
                  <a:lnTo>
                    <a:pt x="564" y="114"/>
                  </a:lnTo>
                  <a:lnTo>
                    <a:pt x="582" y="114"/>
                  </a:lnTo>
                  <a:lnTo>
                    <a:pt x="594" y="114"/>
                  </a:lnTo>
                  <a:lnTo>
                    <a:pt x="606" y="114"/>
                  </a:lnTo>
                  <a:lnTo>
                    <a:pt x="612" y="114"/>
                  </a:lnTo>
                  <a:lnTo>
                    <a:pt x="630" y="114"/>
                  </a:lnTo>
                  <a:lnTo>
                    <a:pt x="636" y="114"/>
                  </a:lnTo>
                  <a:lnTo>
                    <a:pt x="648" y="114"/>
                  </a:lnTo>
                  <a:lnTo>
                    <a:pt x="654" y="114"/>
                  </a:lnTo>
                  <a:lnTo>
                    <a:pt x="660" y="120"/>
                  </a:lnTo>
                  <a:lnTo>
                    <a:pt x="672" y="120"/>
                  </a:lnTo>
                  <a:lnTo>
                    <a:pt x="684" y="120"/>
                  </a:lnTo>
                  <a:lnTo>
                    <a:pt x="690" y="120"/>
                  </a:lnTo>
                  <a:lnTo>
                    <a:pt x="702" y="120"/>
                  </a:lnTo>
                  <a:lnTo>
                    <a:pt x="708" y="120"/>
                  </a:lnTo>
                  <a:lnTo>
                    <a:pt x="726" y="126"/>
                  </a:lnTo>
                  <a:lnTo>
                    <a:pt x="732" y="126"/>
                  </a:lnTo>
                  <a:lnTo>
                    <a:pt x="738" y="126"/>
                  </a:lnTo>
                  <a:lnTo>
                    <a:pt x="750" y="126"/>
                  </a:lnTo>
                  <a:lnTo>
                    <a:pt x="756" y="126"/>
                  </a:lnTo>
                  <a:lnTo>
                    <a:pt x="768" y="126"/>
                  </a:lnTo>
                  <a:lnTo>
                    <a:pt x="780" y="126"/>
                  </a:lnTo>
                  <a:lnTo>
                    <a:pt x="786" y="120"/>
                  </a:lnTo>
                  <a:lnTo>
                    <a:pt x="792" y="120"/>
                  </a:lnTo>
                  <a:lnTo>
                    <a:pt x="810" y="120"/>
                  </a:lnTo>
                  <a:lnTo>
                    <a:pt x="822" y="120"/>
                  </a:lnTo>
                  <a:lnTo>
                    <a:pt x="846" y="126"/>
                  </a:lnTo>
                  <a:lnTo>
                    <a:pt x="858" y="126"/>
                  </a:lnTo>
                  <a:lnTo>
                    <a:pt x="870" y="132"/>
                  </a:lnTo>
                  <a:lnTo>
                    <a:pt x="882" y="132"/>
                  </a:lnTo>
                  <a:lnTo>
                    <a:pt x="894" y="132"/>
                  </a:lnTo>
                  <a:lnTo>
                    <a:pt x="900" y="132"/>
                  </a:lnTo>
                  <a:lnTo>
                    <a:pt x="912" y="132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36" y="132"/>
                  </a:lnTo>
                  <a:lnTo>
                    <a:pt x="960" y="132"/>
                  </a:lnTo>
                  <a:lnTo>
                    <a:pt x="966" y="144"/>
                  </a:lnTo>
                  <a:lnTo>
                    <a:pt x="972" y="144"/>
                  </a:lnTo>
                  <a:lnTo>
                    <a:pt x="1002" y="144"/>
                  </a:lnTo>
                  <a:lnTo>
                    <a:pt x="1020" y="144"/>
                  </a:lnTo>
                  <a:lnTo>
                    <a:pt x="1068" y="138"/>
                  </a:lnTo>
                  <a:lnTo>
                    <a:pt x="1110" y="132"/>
                  </a:lnTo>
                  <a:lnTo>
                    <a:pt x="1110" y="126"/>
                  </a:lnTo>
                  <a:lnTo>
                    <a:pt x="1116" y="120"/>
                  </a:lnTo>
                  <a:lnTo>
                    <a:pt x="1122" y="108"/>
                  </a:lnTo>
                  <a:lnTo>
                    <a:pt x="1134" y="96"/>
                  </a:lnTo>
                  <a:lnTo>
                    <a:pt x="1146" y="60"/>
                  </a:lnTo>
                  <a:lnTo>
                    <a:pt x="1158" y="54"/>
                  </a:lnTo>
                  <a:lnTo>
                    <a:pt x="1170" y="48"/>
                  </a:lnTo>
                  <a:lnTo>
                    <a:pt x="1188" y="42"/>
                  </a:lnTo>
                  <a:lnTo>
                    <a:pt x="1200" y="36"/>
                  </a:lnTo>
                  <a:lnTo>
                    <a:pt x="1212" y="36"/>
                  </a:lnTo>
                  <a:lnTo>
                    <a:pt x="1236" y="30"/>
                  </a:lnTo>
                  <a:lnTo>
                    <a:pt x="1236" y="24"/>
                  </a:lnTo>
                  <a:lnTo>
                    <a:pt x="1278" y="18"/>
                  </a:lnTo>
                  <a:lnTo>
                    <a:pt x="1290" y="18"/>
                  </a:lnTo>
                  <a:lnTo>
                    <a:pt x="1302" y="12"/>
                  </a:lnTo>
                  <a:lnTo>
                    <a:pt x="1314" y="0"/>
                  </a:lnTo>
                  <a:lnTo>
                    <a:pt x="1332" y="0"/>
                  </a:lnTo>
                  <a:lnTo>
                    <a:pt x="1338" y="24"/>
                  </a:lnTo>
                  <a:lnTo>
                    <a:pt x="1344" y="30"/>
                  </a:lnTo>
                  <a:lnTo>
                    <a:pt x="1350" y="42"/>
                  </a:lnTo>
                  <a:lnTo>
                    <a:pt x="1356" y="48"/>
                  </a:lnTo>
                  <a:lnTo>
                    <a:pt x="1356" y="78"/>
                  </a:lnTo>
                  <a:lnTo>
                    <a:pt x="1350" y="96"/>
                  </a:lnTo>
                  <a:lnTo>
                    <a:pt x="1338" y="108"/>
                  </a:lnTo>
                  <a:lnTo>
                    <a:pt x="1338" y="114"/>
                  </a:lnTo>
                  <a:lnTo>
                    <a:pt x="1338" y="120"/>
                  </a:lnTo>
                  <a:lnTo>
                    <a:pt x="1338" y="126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398" y="114"/>
                  </a:lnTo>
                  <a:lnTo>
                    <a:pt x="1416" y="120"/>
                  </a:lnTo>
                  <a:lnTo>
                    <a:pt x="1434" y="126"/>
                  </a:lnTo>
                  <a:lnTo>
                    <a:pt x="1458" y="132"/>
                  </a:lnTo>
                  <a:lnTo>
                    <a:pt x="1458" y="138"/>
                  </a:lnTo>
                  <a:lnTo>
                    <a:pt x="1512" y="138"/>
                  </a:lnTo>
                  <a:lnTo>
                    <a:pt x="1512" y="132"/>
                  </a:lnTo>
                  <a:lnTo>
                    <a:pt x="1524" y="138"/>
                  </a:lnTo>
                  <a:lnTo>
                    <a:pt x="1542" y="138"/>
                  </a:lnTo>
                  <a:lnTo>
                    <a:pt x="1542" y="150"/>
                  </a:lnTo>
                  <a:lnTo>
                    <a:pt x="1542" y="162"/>
                  </a:lnTo>
                  <a:lnTo>
                    <a:pt x="1548" y="174"/>
                  </a:lnTo>
                  <a:lnTo>
                    <a:pt x="1548" y="180"/>
                  </a:lnTo>
                  <a:lnTo>
                    <a:pt x="1554" y="222"/>
                  </a:lnTo>
                  <a:lnTo>
                    <a:pt x="1554" y="258"/>
                  </a:lnTo>
                  <a:lnTo>
                    <a:pt x="1554" y="276"/>
                  </a:lnTo>
                  <a:lnTo>
                    <a:pt x="1554" y="282"/>
                  </a:lnTo>
                  <a:lnTo>
                    <a:pt x="1554" y="294"/>
                  </a:lnTo>
                  <a:lnTo>
                    <a:pt x="1554" y="306"/>
                  </a:lnTo>
                  <a:lnTo>
                    <a:pt x="1554" y="324"/>
                  </a:lnTo>
                  <a:lnTo>
                    <a:pt x="1554" y="330"/>
                  </a:lnTo>
                  <a:lnTo>
                    <a:pt x="1548" y="330"/>
                  </a:lnTo>
                  <a:lnTo>
                    <a:pt x="1548" y="336"/>
                  </a:lnTo>
                  <a:lnTo>
                    <a:pt x="1548" y="342"/>
                  </a:lnTo>
                  <a:lnTo>
                    <a:pt x="1542" y="336"/>
                  </a:lnTo>
                  <a:lnTo>
                    <a:pt x="1542" y="330"/>
                  </a:lnTo>
                  <a:lnTo>
                    <a:pt x="1536" y="330"/>
                  </a:lnTo>
                  <a:lnTo>
                    <a:pt x="1530" y="330"/>
                  </a:lnTo>
                  <a:lnTo>
                    <a:pt x="1530" y="336"/>
                  </a:lnTo>
                  <a:lnTo>
                    <a:pt x="1536" y="342"/>
                  </a:lnTo>
                  <a:lnTo>
                    <a:pt x="1530" y="342"/>
                  </a:lnTo>
                  <a:lnTo>
                    <a:pt x="1518" y="348"/>
                  </a:lnTo>
                  <a:lnTo>
                    <a:pt x="1512" y="354"/>
                  </a:lnTo>
                  <a:lnTo>
                    <a:pt x="1506" y="354"/>
                  </a:lnTo>
                  <a:lnTo>
                    <a:pt x="1500" y="354"/>
                  </a:lnTo>
                  <a:lnTo>
                    <a:pt x="1494" y="354"/>
                  </a:lnTo>
                  <a:lnTo>
                    <a:pt x="1494" y="360"/>
                  </a:lnTo>
                  <a:lnTo>
                    <a:pt x="1488" y="360"/>
                  </a:lnTo>
                  <a:lnTo>
                    <a:pt x="1488" y="366"/>
                  </a:lnTo>
                  <a:lnTo>
                    <a:pt x="1488" y="372"/>
                  </a:lnTo>
                  <a:lnTo>
                    <a:pt x="1482" y="372"/>
                  </a:lnTo>
                  <a:lnTo>
                    <a:pt x="1476" y="372"/>
                  </a:lnTo>
                  <a:lnTo>
                    <a:pt x="1470" y="372"/>
                  </a:lnTo>
                  <a:lnTo>
                    <a:pt x="1470" y="378"/>
                  </a:lnTo>
                  <a:lnTo>
                    <a:pt x="1470" y="384"/>
                  </a:lnTo>
                  <a:lnTo>
                    <a:pt x="1470" y="390"/>
                  </a:lnTo>
                  <a:lnTo>
                    <a:pt x="1464" y="402"/>
                  </a:lnTo>
                  <a:lnTo>
                    <a:pt x="1446" y="402"/>
                  </a:lnTo>
                  <a:lnTo>
                    <a:pt x="1440" y="372"/>
                  </a:lnTo>
                  <a:lnTo>
                    <a:pt x="1410" y="372"/>
                  </a:lnTo>
                  <a:lnTo>
                    <a:pt x="1380" y="372"/>
                  </a:lnTo>
                  <a:lnTo>
                    <a:pt x="1374" y="372"/>
                  </a:lnTo>
                  <a:lnTo>
                    <a:pt x="1368" y="378"/>
                  </a:lnTo>
                  <a:lnTo>
                    <a:pt x="1362" y="378"/>
                  </a:lnTo>
                  <a:lnTo>
                    <a:pt x="1356" y="378"/>
                  </a:lnTo>
                  <a:lnTo>
                    <a:pt x="1350" y="384"/>
                  </a:lnTo>
                  <a:lnTo>
                    <a:pt x="1350" y="390"/>
                  </a:lnTo>
                  <a:lnTo>
                    <a:pt x="1344" y="390"/>
                  </a:lnTo>
                  <a:lnTo>
                    <a:pt x="1338" y="390"/>
                  </a:lnTo>
                  <a:lnTo>
                    <a:pt x="1332" y="390"/>
                  </a:lnTo>
                  <a:lnTo>
                    <a:pt x="1332" y="396"/>
                  </a:lnTo>
                  <a:lnTo>
                    <a:pt x="1332" y="390"/>
                  </a:lnTo>
                  <a:lnTo>
                    <a:pt x="1326" y="402"/>
                  </a:lnTo>
                  <a:lnTo>
                    <a:pt x="1320" y="402"/>
                  </a:lnTo>
                  <a:lnTo>
                    <a:pt x="1302" y="474"/>
                  </a:lnTo>
                  <a:lnTo>
                    <a:pt x="1308" y="480"/>
                  </a:lnTo>
                  <a:lnTo>
                    <a:pt x="1314" y="480"/>
                  </a:lnTo>
                  <a:lnTo>
                    <a:pt x="1308" y="498"/>
                  </a:lnTo>
                  <a:lnTo>
                    <a:pt x="1308" y="504"/>
                  </a:lnTo>
                  <a:lnTo>
                    <a:pt x="1314" y="510"/>
                  </a:lnTo>
                  <a:lnTo>
                    <a:pt x="1308" y="510"/>
                  </a:lnTo>
                  <a:lnTo>
                    <a:pt x="1308" y="516"/>
                  </a:lnTo>
                  <a:lnTo>
                    <a:pt x="1302" y="516"/>
                  </a:lnTo>
                  <a:lnTo>
                    <a:pt x="1296" y="510"/>
                  </a:lnTo>
                  <a:lnTo>
                    <a:pt x="1296" y="516"/>
                  </a:lnTo>
                  <a:lnTo>
                    <a:pt x="1290" y="540"/>
                  </a:lnTo>
                  <a:lnTo>
                    <a:pt x="1290" y="552"/>
                  </a:lnTo>
                  <a:lnTo>
                    <a:pt x="1284" y="558"/>
                  </a:lnTo>
                  <a:lnTo>
                    <a:pt x="1290" y="576"/>
                  </a:lnTo>
                  <a:lnTo>
                    <a:pt x="1290" y="600"/>
                  </a:lnTo>
                  <a:lnTo>
                    <a:pt x="1284" y="618"/>
                  </a:lnTo>
                  <a:lnTo>
                    <a:pt x="1290" y="624"/>
                  </a:lnTo>
                  <a:lnTo>
                    <a:pt x="1284" y="630"/>
                  </a:lnTo>
                  <a:lnTo>
                    <a:pt x="1278" y="630"/>
                  </a:lnTo>
                  <a:lnTo>
                    <a:pt x="1272" y="630"/>
                  </a:lnTo>
                  <a:lnTo>
                    <a:pt x="1266" y="636"/>
                  </a:lnTo>
                  <a:lnTo>
                    <a:pt x="1260" y="642"/>
                  </a:lnTo>
                  <a:lnTo>
                    <a:pt x="1260" y="636"/>
                  </a:lnTo>
                  <a:lnTo>
                    <a:pt x="1254" y="636"/>
                  </a:lnTo>
                  <a:lnTo>
                    <a:pt x="1248" y="636"/>
                  </a:lnTo>
                  <a:lnTo>
                    <a:pt x="1248" y="642"/>
                  </a:lnTo>
                  <a:lnTo>
                    <a:pt x="1242" y="642"/>
                  </a:lnTo>
                  <a:lnTo>
                    <a:pt x="1242" y="648"/>
                  </a:lnTo>
                  <a:lnTo>
                    <a:pt x="1236" y="654"/>
                  </a:lnTo>
                  <a:lnTo>
                    <a:pt x="1230" y="654"/>
                  </a:lnTo>
                  <a:lnTo>
                    <a:pt x="1224" y="654"/>
                  </a:lnTo>
                  <a:lnTo>
                    <a:pt x="1218" y="660"/>
                  </a:lnTo>
                  <a:lnTo>
                    <a:pt x="1212" y="660"/>
                  </a:lnTo>
                  <a:lnTo>
                    <a:pt x="1206" y="660"/>
                  </a:lnTo>
                  <a:lnTo>
                    <a:pt x="1200" y="660"/>
                  </a:lnTo>
                  <a:lnTo>
                    <a:pt x="1200" y="666"/>
                  </a:lnTo>
                  <a:lnTo>
                    <a:pt x="1194" y="666"/>
                  </a:lnTo>
                  <a:lnTo>
                    <a:pt x="1188" y="666"/>
                  </a:lnTo>
                  <a:lnTo>
                    <a:pt x="1182" y="672"/>
                  </a:lnTo>
                  <a:lnTo>
                    <a:pt x="1176" y="672"/>
                  </a:lnTo>
                  <a:lnTo>
                    <a:pt x="1170" y="672"/>
                  </a:lnTo>
                  <a:lnTo>
                    <a:pt x="1164" y="678"/>
                  </a:lnTo>
                  <a:lnTo>
                    <a:pt x="1170" y="678"/>
                  </a:lnTo>
                  <a:lnTo>
                    <a:pt x="1164" y="684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52" y="684"/>
                  </a:lnTo>
                  <a:lnTo>
                    <a:pt x="1152" y="690"/>
                  </a:lnTo>
                  <a:lnTo>
                    <a:pt x="1146" y="690"/>
                  </a:lnTo>
                  <a:lnTo>
                    <a:pt x="1140" y="690"/>
                  </a:lnTo>
                  <a:lnTo>
                    <a:pt x="1134" y="696"/>
                  </a:lnTo>
                  <a:lnTo>
                    <a:pt x="1128" y="696"/>
                  </a:lnTo>
                  <a:lnTo>
                    <a:pt x="1122" y="702"/>
                  </a:lnTo>
                  <a:lnTo>
                    <a:pt x="1116" y="702"/>
                  </a:lnTo>
                  <a:lnTo>
                    <a:pt x="1110" y="708"/>
                  </a:lnTo>
                  <a:lnTo>
                    <a:pt x="1104" y="708"/>
                  </a:lnTo>
                  <a:lnTo>
                    <a:pt x="1098" y="708"/>
                  </a:lnTo>
                  <a:lnTo>
                    <a:pt x="1092" y="708"/>
                  </a:lnTo>
                  <a:lnTo>
                    <a:pt x="1092" y="714"/>
                  </a:lnTo>
                  <a:lnTo>
                    <a:pt x="1086" y="720"/>
                  </a:lnTo>
                  <a:lnTo>
                    <a:pt x="1080" y="720"/>
                  </a:lnTo>
                  <a:lnTo>
                    <a:pt x="1074" y="720"/>
                  </a:lnTo>
                  <a:lnTo>
                    <a:pt x="1068" y="720"/>
                  </a:lnTo>
                  <a:lnTo>
                    <a:pt x="1062" y="720"/>
                  </a:lnTo>
                  <a:lnTo>
                    <a:pt x="1050" y="726"/>
                  </a:lnTo>
                  <a:lnTo>
                    <a:pt x="1044" y="726"/>
                  </a:lnTo>
                  <a:lnTo>
                    <a:pt x="1038" y="732"/>
                  </a:lnTo>
                  <a:lnTo>
                    <a:pt x="1026" y="732"/>
                  </a:lnTo>
                  <a:lnTo>
                    <a:pt x="1020" y="732"/>
                  </a:lnTo>
                  <a:lnTo>
                    <a:pt x="1014" y="738"/>
                  </a:lnTo>
                  <a:lnTo>
                    <a:pt x="1008" y="738"/>
                  </a:lnTo>
                  <a:lnTo>
                    <a:pt x="1002" y="738"/>
                  </a:lnTo>
                  <a:lnTo>
                    <a:pt x="996" y="738"/>
                  </a:lnTo>
                  <a:lnTo>
                    <a:pt x="990" y="738"/>
                  </a:lnTo>
                  <a:lnTo>
                    <a:pt x="990" y="732"/>
                  </a:lnTo>
                  <a:lnTo>
                    <a:pt x="984" y="732"/>
                  </a:lnTo>
                  <a:lnTo>
                    <a:pt x="978" y="738"/>
                  </a:lnTo>
                  <a:lnTo>
                    <a:pt x="978" y="744"/>
                  </a:lnTo>
                  <a:lnTo>
                    <a:pt x="984" y="744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8" y="756"/>
                  </a:lnTo>
                  <a:lnTo>
                    <a:pt x="972" y="756"/>
                  </a:lnTo>
                  <a:lnTo>
                    <a:pt x="972" y="762"/>
                  </a:lnTo>
                  <a:lnTo>
                    <a:pt x="966" y="768"/>
                  </a:lnTo>
                  <a:lnTo>
                    <a:pt x="966" y="762"/>
                  </a:lnTo>
                  <a:lnTo>
                    <a:pt x="960" y="762"/>
                  </a:lnTo>
                  <a:lnTo>
                    <a:pt x="954" y="768"/>
                  </a:lnTo>
                  <a:lnTo>
                    <a:pt x="954" y="774"/>
                  </a:lnTo>
                  <a:lnTo>
                    <a:pt x="948" y="774"/>
                  </a:lnTo>
                  <a:lnTo>
                    <a:pt x="948" y="780"/>
                  </a:lnTo>
                  <a:lnTo>
                    <a:pt x="948" y="786"/>
                  </a:lnTo>
                  <a:lnTo>
                    <a:pt x="942" y="786"/>
                  </a:lnTo>
                  <a:lnTo>
                    <a:pt x="942" y="792"/>
                  </a:lnTo>
                  <a:lnTo>
                    <a:pt x="936" y="792"/>
                  </a:lnTo>
                  <a:lnTo>
                    <a:pt x="942" y="798"/>
                  </a:lnTo>
                  <a:lnTo>
                    <a:pt x="942" y="804"/>
                  </a:lnTo>
                  <a:lnTo>
                    <a:pt x="942" y="810"/>
                  </a:lnTo>
                  <a:lnTo>
                    <a:pt x="948" y="810"/>
                  </a:lnTo>
                  <a:lnTo>
                    <a:pt x="942" y="816"/>
                  </a:lnTo>
                  <a:lnTo>
                    <a:pt x="948" y="816"/>
                  </a:lnTo>
                  <a:lnTo>
                    <a:pt x="948" y="822"/>
                  </a:lnTo>
                  <a:lnTo>
                    <a:pt x="954" y="822"/>
                  </a:lnTo>
                  <a:lnTo>
                    <a:pt x="960" y="828"/>
                  </a:lnTo>
                  <a:lnTo>
                    <a:pt x="960" y="834"/>
                  </a:lnTo>
                  <a:lnTo>
                    <a:pt x="966" y="834"/>
                  </a:lnTo>
                  <a:lnTo>
                    <a:pt x="960" y="840"/>
                  </a:lnTo>
                  <a:lnTo>
                    <a:pt x="966" y="846"/>
                  </a:lnTo>
                  <a:lnTo>
                    <a:pt x="966" y="840"/>
                  </a:lnTo>
                  <a:lnTo>
                    <a:pt x="972" y="840"/>
                  </a:lnTo>
                  <a:lnTo>
                    <a:pt x="990" y="840"/>
                  </a:lnTo>
                  <a:lnTo>
                    <a:pt x="1002" y="834"/>
                  </a:lnTo>
                  <a:lnTo>
                    <a:pt x="1020" y="828"/>
                  </a:lnTo>
                  <a:lnTo>
                    <a:pt x="1032" y="828"/>
                  </a:lnTo>
                  <a:lnTo>
                    <a:pt x="1050" y="828"/>
                  </a:lnTo>
                  <a:lnTo>
                    <a:pt x="1062" y="846"/>
                  </a:lnTo>
                  <a:lnTo>
                    <a:pt x="1074" y="876"/>
                  </a:lnTo>
                  <a:lnTo>
                    <a:pt x="1068" y="900"/>
                  </a:lnTo>
                  <a:lnTo>
                    <a:pt x="1074" y="912"/>
                  </a:lnTo>
                  <a:lnTo>
                    <a:pt x="1074" y="936"/>
                  </a:lnTo>
                  <a:lnTo>
                    <a:pt x="1068" y="942"/>
                  </a:lnTo>
                  <a:lnTo>
                    <a:pt x="1062" y="954"/>
                  </a:lnTo>
                  <a:lnTo>
                    <a:pt x="1056" y="978"/>
                  </a:lnTo>
                  <a:lnTo>
                    <a:pt x="1056" y="996"/>
                  </a:lnTo>
                  <a:lnTo>
                    <a:pt x="1068" y="990"/>
                  </a:lnTo>
                  <a:lnTo>
                    <a:pt x="1074" y="990"/>
                  </a:lnTo>
                  <a:lnTo>
                    <a:pt x="1074" y="1008"/>
                  </a:lnTo>
                  <a:lnTo>
                    <a:pt x="1080" y="1008"/>
                  </a:lnTo>
                  <a:lnTo>
                    <a:pt x="1092" y="1014"/>
                  </a:lnTo>
                  <a:lnTo>
                    <a:pt x="1110" y="1044"/>
                  </a:lnTo>
                  <a:lnTo>
                    <a:pt x="1110" y="1062"/>
                  </a:lnTo>
                  <a:lnTo>
                    <a:pt x="1128" y="1068"/>
                  </a:lnTo>
                  <a:lnTo>
                    <a:pt x="1128" y="1092"/>
                  </a:lnTo>
                  <a:lnTo>
                    <a:pt x="1134" y="1098"/>
                  </a:lnTo>
                  <a:lnTo>
                    <a:pt x="1158" y="1122"/>
                  </a:lnTo>
                  <a:lnTo>
                    <a:pt x="1188" y="1122"/>
                  </a:lnTo>
                  <a:lnTo>
                    <a:pt x="1188" y="1128"/>
                  </a:lnTo>
                  <a:lnTo>
                    <a:pt x="1200" y="1134"/>
                  </a:lnTo>
                  <a:lnTo>
                    <a:pt x="1206" y="1134"/>
                  </a:lnTo>
                  <a:lnTo>
                    <a:pt x="1206" y="1128"/>
                  </a:lnTo>
                  <a:lnTo>
                    <a:pt x="1212" y="1128"/>
                  </a:lnTo>
                  <a:lnTo>
                    <a:pt x="1218" y="1128"/>
                  </a:lnTo>
                  <a:lnTo>
                    <a:pt x="1224" y="1122"/>
                  </a:lnTo>
                  <a:lnTo>
                    <a:pt x="1224" y="1128"/>
                  </a:lnTo>
                  <a:lnTo>
                    <a:pt x="1230" y="1128"/>
                  </a:lnTo>
                  <a:lnTo>
                    <a:pt x="1236" y="1128"/>
                  </a:lnTo>
                  <a:lnTo>
                    <a:pt x="1236" y="1122"/>
                  </a:lnTo>
                  <a:lnTo>
                    <a:pt x="1242" y="1122"/>
                  </a:lnTo>
                  <a:lnTo>
                    <a:pt x="1248" y="1128"/>
                  </a:lnTo>
                  <a:lnTo>
                    <a:pt x="1254" y="1128"/>
                  </a:lnTo>
                  <a:lnTo>
                    <a:pt x="1260" y="1134"/>
                  </a:lnTo>
                  <a:lnTo>
                    <a:pt x="1260" y="1140"/>
                  </a:lnTo>
                  <a:lnTo>
                    <a:pt x="1266" y="1140"/>
                  </a:lnTo>
                  <a:lnTo>
                    <a:pt x="1272" y="1140"/>
                  </a:lnTo>
                  <a:lnTo>
                    <a:pt x="1278" y="1140"/>
                  </a:lnTo>
                  <a:lnTo>
                    <a:pt x="1284" y="1140"/>
                  </a:lnTo>
                  <a:lnTo>
                    <a:pt x="1290" y="1146"/>
                  </a:lnTo>
                  <a:lnTo>
                    <a:pt x="1290" y="1152"/>
                  </a:lnTo>
                  <a:lnTo>
                    <a:pt x="1296" y="1146"/>
                  </a:lnTo>
                  <a:lnTo>
                    <a:pt x="1296" y="1152"/>
                  </a:lnTo>
                  <a:lnTo>
                    <a:pt x="1308" y="1152"/>
                  </a:lnTo>
                  <a:lnTo>
                    <a:pt x="1314" y="1152"/>
                  </a:lnTo>
                  <a:lnTo>
                    <a:pt x="1320" y="1152"/>
                  </a:lnTo>
                  <a:lnTo>
                    <a:pt x="1332" y="1152"/>
                  </a:lnTo>
                  <a:lnTo>
                    <a:pt x="1338" y="1152"/>
                  </a:lnTo>
                  <a:lnTo>
                    <a:pt x="1344" y="1152"/>
                  </a:lnTo>
                  <a:lnTo>
                    <a:pt x="1344" y="1158"/>
                  </a:lnTo>
                  <a:lnTo>
                    <a:pt x="1350" y="1158"/>
                  </a:lnTo>
                  <a:lnTo>
                    <a:pt x="1356" y="1158"/>
                  </a:lnTo>
                  <a:lnTo>
                    <a:pt x="1362" y="1158"/>
                  </a:lnTo>
                  <a:lnTo>
                    <a:pt x="1368" y="1158"/>
                  </a:lnTo>
                  <a:lnTo>
                    <a:pt x="1374" y="1164"/>
                  </a:lnTo>
                  <a:lnTo>
                    <a:pt x="1380" y="1164"/>
                  </a:lnTo>
                  <a:lnTo>
                    <a:pt x="1386" y="1170"/>
                  </a:lnTo>
                  <a:lnTo>
                    <a:pt x="1392" y="1170"/>
                  </a:lnTo>
                  <a:lnTo>
                    <a:pt x="1398" y="1164"/>
                  </a:lnTo>
                  <a:lnTo>
                    <a:pt x="1404" y="1164"/>
                  </a:lnTo>
                  <a:lnTo>
                    <a:pt x="1410" y="1164"/>
                  </a:lnTo>
                  <a:lnTo>
                    <a:pt x="1416" y="1164"/>
                  </a:lnTo>
                  <a:lnTo>
                    <a:pt x="1416" y="1170"/>
                  </a:lnTo>
                  <a:lnTo>
                    <a:pt x="1422" y="1176"/>
                  </a:lnTo>
                  <a:lnTo>
                    <a:pt x="1416" y="1176"/>
                  </a:lnTo>
                  <a:lnTo>
                    <a:pt x="1416" y="1182"/>
                  </a:lnTo>
                  <a:lnTo>
                    <a:pt x="1410" y="1188"/>
                  </a:lnTo>
                  <a:lnTo>
                    <a:pt x="1404" y="1194"/>
                  </a:lnTo>
                  <a:lnTo>
                    <a:pt x="1404" y="1200"/>
                  </a:lnTo>
                  <a:lnTo>
                    <a:pt x="1404" y="1206"/>
                  </a:lnTo>
                  <a:lnTo>
                    <a:pt x="1398" y="1212"/>
                  </a:lnTo>
                  <a:lnTo>
                    <a:pt x="1398" y="1206"/>
                  </a:lnTo>
                  <a:lnTo>
                    <a:pt x="1392" y="1206"/>
                  </a:lnTo>
                  <a:lnTo>
                    <a:pt x="1386" y="1206"/>
                  </a:lnTo>
                  <a:lnTo>
                    <a:pt x="1380" y="1212"/>
                  </a:lnTo>
                  <a:lnTo>
                    <a:pt x="1374" y="1212"/>
                  </a:lnTo>
                  <a:lnTo>
                    <a:pt x="1368" y="1218"/>
                  </a:lnTo>
                  <a:lnTo>
                    <a:pt x="1362" y="1218"/>
                  </a:lnTo>
                  <a:lnTo>
                    <a:pt x="1362" y="1224"/>
                  </a:lnTo>
                  <a:lnTo>
                    <a:pt x="1356" y="1230"/>
                  </a:lnTo>
                  <a:lnTo>
                    <a:pt x="1350" y="1230"/>
                  </a:lnTo>
                  <a:lnTo>
                    <a:pt x="1344" y="1236"/>
                  </a:lnTo>
                  <a:lnTo>
                    <a:pt x="1338" y="1230"/>
                  </a:lnTo>
                  <a:lnTo>
                    <a:pt x="1332" y="1230"/>
                  </a:lnTo>
                  <a:lnTo>
                    <a:pt x="1326" y="1230"/>
                  </a:lnTo>
                  <a:lnTo>
                    <a:pt x="1320" y="1230"/>
                  </a:lnTo>
                  <a:lnTo>
                    <a:pt x="1314" y="1230"/>
                  </a:lnTo>
                  <a:lnTo>
                    <a:pt x="1296" y="1242"/>
                  </a:lnTo>
                  <a:lnTo>
                    <a:pt x="1296" y="1248"/>
                  </a:lnTo>
                  <a:lnTo>
                    <a:pt x="1290" y="1248"/>
                  </a:lnTo>
                  <a:lnTo>
                    <a:pt x="1290" y="1260"/>
                  </a:lnTo>
                  <a:lnTo>
                    <a:pt x="1278" y="1272"/>
                  </a:lnTo>
                  <a:lnTo>
                    <a:pt x="1278" y="1278"/>
                  </a:lnTo>
                  <a:lnTo>
                    <a:pt x="1278" y="1284"/>
                  </a:lnTo>
                  <a:lnTo>
                    <a:pt x="1278" y="1290"/>
                  </a:lnTo>
                  <a:lnTo>
                    <a:pt x="1284" y="1296"/>
                  </a:lnTo>
                  <a:lnTo>
                    <a:pt x="1302" y="1302"/>
                  </a:lnTo>
                  <a:lnTo>
                    <a:pt x="1308" y="1308"/>
                  </a:lnTo>
                  <a:lnTo>
                    <a:pt x="1308" y="1314"/>
                  </a:lnTo>
                  <a:lnTo>
                    <a:pt x="1302" y="1320"/>
                  </a:lnTo>
                  <a:lnTo>
                    <a:pt x="1278" y="1314"/>
                  </a:lnTo>
                  <a:lnTo>
                    <a:pt x="1266" y="1308"/>
                  </a:lnTo>
                  <a:lnTo>
                    <a:pt x="1260" y="1296"/>
                  </a:lnTo>
                  <a:lnTo>
                    <a:pt x="1236" y="1296"/>
                  </a:lnTo>
                  <a:lnTo>
                    <a:pt x="1224" y="1308"/>
                  </a:lnTo>
                  <a:lnTo>
                    <a:pt x="1218" y="1308"/>
                  </a:lnTo>
                  <a:lnTo>
                    <a:pt x="1218" y="1302"/>
                  </a:lnTo>
                  <a:lnTo>
                    <a:pt x="1212" y="1302"/>
                  </a:lnTo>
                  <a:lnTo>
                    <a:pt x="1206" y="1302"/>
                  </a:lnTo>
                  <a:lnTo>
                    <a:pt x="1170" y="1314"/>
                  </a:lnTo>
                  <a:lnTo>
                    <a:pt x="1134" y="1296"/>
                  </a:lnTo>
                  <a:lnTo>
                    <a:pt x="1122" y="1290"/>
                  </a:lnTo>
                  <a:lnTo>
                    <a:pt x="1104" y="1290"/>
                  </a:lnTo>
                  <a:lnTo>
                    <a:pt x="1098" y="1278"/>
                  </a:lnTo>
                  <a:lnTo>
                    <a:pt x="1092" y="1242"/>
                  </a:lnTo>
                  <a:lnTo>
                    <a:pt x="1086" y="1242"/>
                  </a:lnTo>
                  <a:lnTo>
                    <a:pt x="1086" y="1248"/>
                  </a:lnTo>
                  <a:lnTo>
                    <a:pt x="1086" y="1254"/>
                  </a:lnTo>
                  <a:lnTo>
                    <a:pt x="1080" y="1254"/>
                  </a:lnTo>
                  <a:lnTo>
                    <a:pt x="1080" y="1260"/>
                  </a:lnTo>
                  <a:lnTo>
                    <a:pt x="1074" y="1260"/>
                  </a:lnTo>
                  <a:lnTo>
                    <a:pt x="1068" y="1236"/>
                  </a:lnTo>
                  <a:lnTo>
                    <a:pt x="1068" y="1206"/>
                  </a:lnTo>
                  <a:lnTo>
                    <a:pt x="1080" y="1194"/>
                  </a:lnTo>
                  <a:lnTo>
                    <a:pt x="1086" y="1194"/>
                  </a:lnTo>
                  <a:lnTo>
                    <a:pt x="1092" y="1200"/>
                  </a:lnTo>
                  <a:lnTo>
                    <a:pt x="1098" y="1206"/>
                  </a:lnTo>
                  <a:lnTo>
                    <a:pt x="1104" y="1200"/>
                  </a:lnTo>
                  <a:lnTo>
                    <a:pt x="1104" y="1194"/>
                  </a:lnTo>
                  <a:lnTo>
                    <a:pt x="1110" y="1194"/>
                  </a:lnTo>
                  <a:lnTo>
                    <a:pt x="1110" y="1188"/>
                  </a:lnTo>
                  <a:lnTo>
                    <a:pt x="1116" y="1182"/>
                  </a:lnTo>
                  <a:lnTo>
                    <a:pt x="1110" y="1182"/>
                  </a:lnTo>
                  <a:lnTo>
                    <a:pt x="1110" y="1170"/>
                  </a:lnTo>
                  <a:lnTo>
                    <a:pt x="1110" y="1158"/>
                  </a:lnTo>
                  <a:lnTo>
                    <a:pt x="1110" y="1152"/>
                  </a:lnTo>
                  <a:lnTo>
                    <a:pt x="1104" y="1146"/>
                  </a:lnTo>
                  <a:lnTo>
                    <a:pt x="1098" y="1140"/>
                  </a:lnTo>
                  <a:lnTo>
                    <a:pt x="1098" y="1134"/>
                  </a:lnTo>
                  <a:lnTo>
                    <a:pt x="1098" y="1128"/>
                  </a:lnTo>
                  <a:lnTo>
                    <a:pt x="1092" y="1128"/>
                  </a:lnTo>
                  <a:lnTo>
                    <a:pt x="1092" y="1122"/>
                  </a:lnTo>
                  <a:lnTo>
                    <a:pt x="1092" y="1116"/>
                  </a:lnTo>
                  <a:lnTo>
                    <a:pt x="1092" y="1110"/>
                  </a:lnTo>
                  <a:lnTo>
                    <a:pt x="1056" y="1122"/>
                  </a:lnTo>
                  <a:lnTo>
                    <a:pt x="1038" y="1128"/>
                  </a:lnTo>
                  <a:lnTo>
                    <a:pt x="1032" y="1128"/>
                  </a:lnTo>
                  <a:lnTo>
                    <a:pt x="1026" y="1128"/>
                  </a:lnTo>
                  <a:lnTo>
                    <a:pt x="1020" y="1128"/>
                  </a:lnTo>
                  <a:lnTo>
                    <a:pt x="1014" y="1128"/>
                  </a:lnTo>
                  <a:lnTo>
                    <a:pt x="1014" y="1122"/>
                  </a:lnTo>
                  <a:lnTo>
                    <a:pt x="1008" y="1122"/>
                  </a:lnTo>
                  <a:lnTo>
                    <a:pt x="1002" y="1128"/>
                  </a:lnTo>
                  <a:lnTo>
                    <a:pt x="1002" y="1134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84" y="1140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66" y="1140"/>
                  </a:lnTo>
                  <a:lnTo>
                    <a:pt x="954" y="1140"/>
                  </a:lnTo>
                  <a:lnTo>
                    <a:pt x="954" y="1134"/>
                  </a:lnTo>
                  <a:lnTo>
                    <a:pt x="948" y="1134"/>
                  </a:lnTo>
                  <a:lnTo>
                    <a:pt x="942" y="1134"/>
                  </a:lnTo>
                  <a:lnTo>
                    <a:pt x="936" y="1134"/>
                  </a:lnTo>
                  <a:lnTo>
                    <a:pt x="930" y="1134"/>
                  </a:lnTo>
                  <a:lnTo>
                    <a:pt x="924" y="1134"/>
                  </a:lnTo>
                  <a:lnTo>
                    <a:pt x="918" y="1134"/>
                  </a:lnTo>
                  <a:lnTo>
                    <a:pt x="918" y="1128"/>
                  </a:lnTo>
                  <a:lnTo>
                    <a:pt x="918" y="1104"/>
                  </a:lnTo>
                  <a:lnTo>
                    <a:pt x="906" y="1104"/>
                  </a:lnTo>
                  <a:lnTo>
                    <a:pt x="900" y="1098"/>
                  </a:lnTo>
                  <a:lnTo>
                    <a:pt x="900" y="1092"/>
                  </a:lnTo>
                  <a:lnTo>
                    <a:pt x="900" y="1086"/>
                  </a:lnTo>
                  <a:lnTo>
                    <a:pt x="900" y="1080"/>
                  </a:lnTo>
                  <a:lnTo>
                    <a:pt x="894" y="1080"/>
                  </a:lnTo>
                  <a:lnTo>
                    <a:pt x="858" y="1074"/>
                  </a:lnTo>
                  <a:lnTo>
                    <a:pt x="852" y="1080"/>
                  </a:lnTo>
                  <a:lnTo>
                    <a:pt x="846" y="1086"/>
                  </a:lnTo>
                  <a:lnTo>
                    <a:pt x="840" y="1086"/>
                  </a:lnTo>
                  <a:lnTo>
                    <a:pt x="840" y="1092"/>
                  </a:lnTo>
                  <a:lnTo>
                    <a:pt x="834" y="1092"/>
                  </a:lnTo>
                  <a:lnTo>
                    <a:pt x="828" y="1098"/>
                  </a:lnTo>
                  <a:lnTo>
                    <a:pt x="822" y="1098"/>
                  </a:lnTo>
                  <a:lnTo>
                    <a:pt x="762" y="1074"/>
                  </a:lnTo>
                  <a:lnTo>
                    <a:pt x="756" y="1068"/>
                  </a:lnTo>
                  <a:lnTo>
                    <a:pt x="750" y="1068"/>
                  </a:lnTo>
                  <a:lnTo>
                    <a:pt x="744" y="1062"/>
                  </a:lnTo>
                  <a:lnTo>
                    <a:pt x="744" y="1068"/>
                  </a:lnTo>
                  <a:lnTo>
                    <a:pt x="744" y="1074"/>
                  </a:lnTo>
                  <a:lnTo>
                    <a:pt x="738" y="1074"/>
                  </a:lnTo>
                  <a:lnTo>
                    <a:pt x="738" y="1068"/>
                  </a:lnTo>
                  <a:lnTo>
                    <a:pt x="732" y="1068"/>
                  </a:lnTo>
                  <a:lnTo>
                    <a:pt x="726" y="1068"/>
                  </a:lnTo>
                  <a:lnTo>
                    <a:pt x="726" y="1074"/>
                  </a:lnTo>
                  <a:lnTo>
                    <a:pt x="720" y="1074"/>
                  </a:lnTo>
                  <a:lnTo>
                    <a:pt x="684" y="106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5" name="Freeform 40">
              <a:extLst>
                <a:ext uri="{FF2B5EF4-FFF2-40B4-BE49-F238E27FC236}">
                  <a16:creationId xmlns:a16="http://schemas.microsoft.com/office/drawing/2014/main" id="{37EC2F22-BDB9-4162-8FA4-08493F6898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3558" y="1520374"/>
              <a:ext cx="1057717" cy="1252440"/>
            </a:xfrm>
            <a:custGeom>
              <a:avLst/>
              <a:gdLst>
                <a:gd name="T0" fmla="*/ 98 w 1992"/>
                <a:gd name="T1" fmla="*/ 162 h 2358"/>
                <a:gd name="T2" fmla="*/ 93 w 1992"/>
                <a:gd name="T3" fmla="*/ 172 h 2358"/>
                <a:gd name="T4" fmla="*/ 82 w 1992"/>
                <a:gd name="T5" fmla="*/ 179 h 2358"/>
                <a:gd name="T6" fmla="*/ 70 w 1992"/>
                <a:gd name="T7" fmla="*/ 174 h 2358"/>
                <a:gd name="T8" fmla="*/ 62 w 1992"/>
                <a:gd name="T9" fmla="*/ 182 h 2358"/>
                <a:gd name="T10" fmla="*/ 45 w 1992"/>
                <a:gd name="T11" fmla="*/ 189 h 2358"/>
                <a:gd name="T12" fmla="*/ 24 w 1992"/>
                <a:gd name="T13" fmla="*/ 205 h 2358"/>
                <a:gd name="T14" fmla="*/ 17 w 1992"/>
                <a:gd name="T15" fmla="*/ 204 h 2358"/>
                <a:gd name="T16" fmla="*/ 7 w 1992"/>
                <a:gd name="T17" fmla="*/ 197 h 2358"/>
                <a:gd name="T18" fmla="*/ 1 w 1992"/>
                <a:gd name="T19" fmla="*/ 191 h 2358"/>
                <a:gd name="T20" fmla="*/ 4 w 1992"/>
                <a:gd name="T21" fmla="*/ 175 h 2358"/>
                <a:gd name="T22" fmla="*/ 7 w 1992"/>
                <a:gd name="T23" fmla="*/ 172 h 2358"/>
                <a:gd name="T24" fmla="*/ 11 w 1992"/>
                <a:gd name="T25" fmla="*/ 168 h 2358"/>
                <a:gd name="T26" fmla="*/ 5 w 1992"/>
                <a:gd name="T27" fmla="*/ 159 h 2358"/>
                <a:gd name="T28" fmla="*/ 10 w 1992"/>
                <a:gd name="T29" fmla="*/ 156 h 2358"/>
                <a:gd name="T30" fmla="*/ 15 w 1992"/>
                <a:gd name="T31" fmla="*/ 155 h 2358"/>
                <a:gd name="T32" fmla="*/ 24 w 1992"/>
                <a:gd name="T33" fmla="*/ 149 h 2358"/>
                <a:gd name="T34" fmla="*/ 38 w 1992"/>
                <a:gd name="T35" fmla="*/ 127 h 2358"/>
                <a:gd name="T36" fmla="*/ 38 w 1992"/>
                <a:gd name="T37" fmla="*/ 107 h 2358"/>
                <a:gd name="T38" fmla="*/ 45 w 1992"/>
                <a:gd name="T39" fmla="*/ 66 h 2358"/>
                <a:gd name="T40" fmla="*/ 47 w 1992"/>
                <a:gd name="T41" fmla="*/ 36 h 2358"/>
                <a:gd name="T42" fmla="*/ 51 w 1992"/>
                <a:gd name="T43" fmla="*/ 35 h 2358"/>
                <a:gd name="T44" fmla="*/ 55 w 1992"/>
                <a:gd name="T45" fmla="*/ 30 h 2358"/>
                <a:gd name="T46" fmla="*/ 56 w 1992"/>
                <a:gd name="T47" fmla="*/ 27 h 2358"/>
                <a:gd name="T48" fmla="*/ 60 w 1992"/>
                <a:gd name="T49" fmla="*/ 23 h 2358"/>
                <a:gd name="T50" fmla="*/ 63 w 1992"/>
                <a:gd name="T51" fmla="*/ 23 h 2358"/>
                <a:gd name="T52" fmla="*/ 70 w 1992"/>
                <a:gd name="T53" fmla="*/ 18 h 2358"/>
                <a:gd name="T54" fmla="*/ 71 w 1992"/>
                <a:gd name="T55" fmla="*/ 15 h 2358"/>
                <a:gd name="T56" fmla="*/ 72 w 1992"/>
                <a:gd name="T57" fmla="*/ 13 h 2358"/>
                <a:gd name="T58" fmla="*/ 77 w 1992"/>
                <a:gd name="T59" fmla="*/ 12 h 2358"/>
                <a:gd name="T60" fmla="*/ 83 w 1992"/>
                <a:gd name="T61" fmla="*/ 10 h 2358"/>
                <a:gd name="T62" fmla="*/ 87 w 1992"/>
                <a:gd name="T63" fmla="*/ 10 h 2358"/>
                <a:gd name="T64" fmla="*/ 89 w 1992"/>
                <a:gd name="T65" fmla="*/ 10 h 2358"/>
                <a:gd name="T66" fmla="*/ 93 w 1992"/>
                <a:gd name="T67" fmla="*/ 8 h 2358"/>
                <a:gd name="T68" fmla="*/ 95 w 1992"/>
                <a:gd name="T69" fmla="*/ 4 h 2358"/>
                <a:gd name="T70" fmla="*/ 99 w 1992"/>
                <a:gd name="T71" fmla="*/ 0 h 2358"/>
                <a:gd name="T72" fmla="*/ 111 w 1992"/>
                <a:gd name="T73" fmla="*/ 0 h 2358"/>
                <a:gd name="T74" fmla="*/ 121 w 1992"/>
                <a:gd name="T75" fmla="*/ 9 h 2358"/>
                <a:gd name="T76" fmla="*/ 128 w 1992"/>
                <a:gd name="T77" fmla="*/ 19 h 2358"/>
                <a:gd name="T78" fmla="*/ 138 w 1992"/>
                <a:gd name="T79" fmla="*/ 33 h 2358"/>
                <a:gd name="T80" fmla="*/ 142 w 1992"/>
                <a:gd name="T81" fmla="*/ 47 h 2358"/>
                <a:gd name="T82" fmla="*/ 145 w 1992"/>
                <a:gd name="T83" fmla="*/ 62 h 2358"/>
                <a:gd name="T84" fmla="*/ 145 w 1992"/>
                <a:gd name="T85" fmla="*/ 70 h 2358"/>
                <a:gd name="T86" fmla="*/ 147 w 1992"/>
                <a:gd name="T87" fmla="*/ 75 h 2358"/>
                <a:gd name="T88" fmla="*/ 153 w 1992"/>
                <a:gd name="T89" fmla="*/ 75 h 2358"/>
                <a:gd name="T90" fmla="*/ 160 w 1992"/>
                <a:gd name="T91" fmla="*/ 76 h 2358"/>
                <a:gd name="T92" fmla="*/ 164 w 1992"/>
                <a:gd name="T93" fmla="*/ 79 h 2358"/>
                <a:gd name="T94" fmla="*/ 168 w 1992"/>
                <a:gd name="T95" fmla="*/ 83 h 2358"/>
                <a:gd name="T96" fmla="*/ 172 w 1992"/>
                <a:gd name="T97" fmla="*/ 86 h 2358"/>
                <a:gd name="T98" fmla="*/ 170 w 1992"/>
                <a:gd name="T99" fmla="*/ 93 h 2358"/>
                <a:gd name="T100" fmla="*/ 170 w 1992"/>
                <a:gd name="T101" fmla="*/ 99 h 2358"/>
                <a:gd name="T102" fmla="*/ 169 w 1992"/>
                <a:gd name="T103" fmla="*/ 106 h 2358"/>
                <a:gd name="T104" fmla="*/ 166 w 1992"/>
                <a:gd name="T105" fmla="*/ 113 h 2358"/>
                <a:gd name="T106" fmla="*/ 170 w 1992"/>
                <a:gd name="T107" fmla="*/ 122 h 2358"/>
                <a:gd name="T108" fmla="*/ 159 w 1992"/>
                <a:gd name="T109" fmla="*/ 128 h 2358"/>
                <a:gd name="T110" fmla="*/ 148 w 1992"/>
                <a:gd name="T111" fmla="*/ 134 h 2358"/>
                <a:gd name="T112" fmla="*/ 139 w 1992"/>
                <a:gd name="T113" fmla="*/ 136 h 2358"/>
                <a:gd name="T114" fmla="*/ 132 w 1992"/>
                <a:gd name="T115" fmla="*/ 138 h 2358"/>
                <a:gd name="T116" fmla="*/ 128 w 1992"/>
                <a:gd name="T117" fmla="*/ 145 h 2358"/>
                <a:gd name="T118" fmla="*/ 124 w 1992"/>
                <a:gd name="T119" fmla="*/ 150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92"/>
                <a:gd name="T181" fmla="*/ 0 h 2358"/>
                <a:gd name="T182" fmla="*/ 1992 w 1992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92" h="2358">
                  <a:moveTo>
                    <a:pt x="1356" y="1782"/>
                  </a:moveTo>
                  <a:lnTo>
                    <a:pt x="1350" y="1788"/>
                  </a:lnTo>
                  <a:lnTo>
                    <a:pt x="1266" y="1788"/>
                  </a:lnTo>
                  <a:lnTo>
                    <a:pt x="1260" y="1800"/>
                  </a:lnTo>
                  <a:lnTo>
                    <a:pt x="1242" y="1806"/>
                  </a:lnTo>
                  <a:lnTo>
                    <a:pt x="1218" y="1812"/>
                  </a:lnTo>
                  <a:lnTo>
                    <a:pt x="1182" y="1812"/>
                  </a:lnTo>
                  <a:lnTo>
                    <a:pt x="1158" y="1806"/>
                  </a:lnTo>
                  <a:lnTo>
                    <a:pt x="1134" y="1800"/>
                  </a:lnTo>
                  <a:lnTo>
                    <a:pt x="1134" y="1806"/>
                  </a:lnTo>
                  <a:lnTo>
                    <a:pt x="1134" y="1830"/>
                  </a:lnTo>
                  <a:lnTo>
                    <a:pt x="1128" y="1842"/>
                  </a:lnTo>
                  <a:lnTo>
                    <a:pt x="1128" y="1854"/>
                  </a:lnTo>
                  <a:lnTo>
                    <a:pt x="1128" y="1860"/>
                  </a:lnTo>
                  <a:lnTo>
                    <a:pt x="1128" y="1866"/>
                  </a:lnTo>
                  <a:lnTo>
                    <a:pt x="1128" y="1872"/>
                  </a:lnTo>
                  <a:lnTo>
                    <a:pt x="1128" y="1884"/>
                  </a:lnTo>
                  <a:lnTo>
                    <a:pt x="1128" y="1890"/>
                  </a:lnTo>
                  <a:lnTo>
                    <a:pt x="1128" y="1896"/>
                  </a:lnTo>
                  <a:lnTo>
                    <a:pt x="1122" y="1902"/>
                  </a:lnTo>
                  <a:lnTo>
                    <a:pt x="1122" y="1920"/>
                  </a:lnTo>
                  <a:lnTo>
                    <a:pt x="1116" y="1920"/>
                  </a:lnTo>
                  <a:lnTo>
                    <a:pt x="1110" y="1926"/>
                  </a:lnTo>
                  <a:lnTo>
                    <a:pt x="1110" y="1932"/>
                  </a:lnTo>
                  <a:lnTo>
                    <a:pt x="1104" y="1938"/>
                  </a:lnTo>
                  <a:lnTo>
                    <a:pt x="1086" y="1962"/>
                  </a:lnTo>
                  <a:lnTo>
                    <a:pt x="1074" y="1974"/>
                  </a:lnTo>
                  <a:lnTo>
                    <a:pt x="1074" y="1980"/>
                  </a:lnTo>
                  <a:lnTo>
                    <a:pt x="1068" y="1986"/>
                  </a:lnTo>
                  <a:lnTo>
                    <a:pt x="1062" y="1998"/>
                  </a:lnTo>
                  <a:lnTo>
                    <a:pt x="1062" y="2004"/>
                  </a:lnTo>
                  <a:lnTo>
                    <a:pt x="1068" y="2004"/>
                  </a:lnTo>
                  <a:lnTo>
                    <a:pt x="1056" y="2034"/>
                  </a:lnTo>
                  <a:lnTo>
                    <a:pt x="1050" y="2076"/>
                  </a:lnTo>
                  <a:lnTo>
                    <a:pt x="1056" y="2100"/>
                  </a:lnTo>
                  <a:lnTo>
                    <a:pt x="1038" y="2106"/>
                  </a:lnTo>
                  <a:lnTo>
                    <a:pt x="1002" y="2106"/>
                  </a:lnTo>
                  <a:lnTo>
                    <a:pt x="978" y="2094"/>
                  </a:lnTo>
                  <a:lnTo>
                    <a:pt x="972" y="2082"/>
                  </a:lnTo>
                  <a:lnTo>
                    <a:pt x="966" y="2070"/>
                  </a:lnTo>
                  <a:lnTo>
                    <a:pt x="954" y="2064"/>
                  </a:lnTo>
                  <a:lnTo>
                    <a:pt x="942" y="2058"/>
                  </a:lnTo>
                  <a:lnTo>
                    <a:pt x="936" y="2058"/>
                  </a:lnTo>
                  <a:lnTo>
                    <a:pt x="918" y="2046"/>
                  </a:lnTo>
                  <a:lnTo>
                    <a:pt x="906" y="2028"/>
                  </a:lnTo>
                  <a:lnTo>
                    <a:pt x="900" y="2022"/>
                  </a:lnTo>
                  <a:lnTo>
                    <a:pt x="894" y="2022"/>
                  </a:lnTo>
                  <a:lnTo>
                    <a:pt x="882" y="2022"/>
                  </a:lnTo>
                  <a:lnTo>
                    <a:pt x="870" y="2016"/>
                  </a:lnTo>
                  <a:lnTo>
                    <a:pt x="864" y="2016"/>
                  </a:lnTo>
                  <a:lnTo>
                    <a:pt x="852" y="2010"/>
                  </a:lnTo>
                  <a:lnTo>
                    <a:pt x="846" y="2004"/>
                  </a:lnTo>
                  <a:lnTo>
                    <a:pt x="840" y="2004"/>
                  </a:lnTo>
                  <a:lnTo>
                    <a:pt x="828" y="1998"/>
                  </a:lnTo>
                  <a:lnTo>
                    <a:pt x="816" y="1998"/>
                  </a:lnTo>
                  <a:lnTo>
                    <a:pt x="810" y="1998"/>
                  </a:lnTo>
                  <a:lnTo>
                    <a:pt x="804" y="1998"/>
                  </a:lnTo>
                  <a:lnTo>
                    <a:pt x="798" y="1998"/>
                  </a:lnTo>
                  <a:lnTo>
                    <a:pt x="792" y="2004"/>
                  </a:lnTo>
                  <a:lnTo>
                    <a:pt x="786" y="2010"/>
                  </a:lnTo>
                  <a:lnTo>
                    <a:pt x="762" y="2010"/>
                  </a:lnTo>
                  <a:lnTo>
                    <a:pt x="756" y="2010"/>
                  </a:lnTo>
                  <a:lnTo>
                    <a:pt x="744" y="2022"/>
                  </a:lnTo>
                  <a:lnTo>
                    <a:pt x="738" y="2034"/>
                  </a:lnTo>
                  <a:lnTo>
                    <a:pt x="732" y="2040"/>
                  </a:lnTo>
                  <a:lnTo>
                    <a:pt x="732" y="2046"/>
                  </a:lnTo>
                  <a:lnTo>
                    <a:pt x="726" y="2058"/>
                  </a:lnTo>
                  <a:lnTo>
                    <a:pt x="720" y="2064"/>
                  </a:lnTo>
                  <a:lnTo>
                    <a:pt x="714" y="2070"/>
                  </a:lnTo>
                  <a:lnTo>
                    <a:pt x="708" y="2088"/>
                  </a:lnTo>
                  <a:lnTo>
                    <a:pt x="702" y="2100"/>
                  </a:lnTo>
                  <a:lnTo>
                    <a:pt x="690" y="2100"/>
                  </a:lnTo>
                  <a:lnTo>
                    <a:pt x="684" y="2094"/>
                  </a:lnTo>
                  <a:lnTo>
                    <a:pt x="666" y="2100"/>
                  </a:lnTo>
                  <a:lnTo>
                    <a:pt x="636" y="2106"/>
                  </a:lnTo>
                  <a:lnTo>
                    <a:pt x="636" y="2112"/>
                  </a:lnTo>
                  <a:lnTo>
                    <a:pt x="636" y="2118"/>
                  </a:lnTo>
                  <a:lnTo>
                    <a:pt x="636" y="2124"/>
                  </a:lnTo>
                  <a:lnTo>
                    <a:pt x="630" y="2124"/>
                  </a:lnTo>
                  <a:lnTo>
                    <a:pt x="630" y="2148"/>
                  </a:lnTo>
                  <a:lnTo>
                    <a:pt x="612" y="2160"/>
                  </a:lnTo>
                  <a:lnTo>
                    <a:pt x="576" y="2172"/>
                  </a:lnTo>
                  <a:lnTo>
                    <a:pt x="546" y="2172"/>
                  </a:lnTo>
                  <a:lnTo>
                    <a:pt x="516" y="2172"/>
                  </a:lnTo>
                  <a:lnTo>
                    <a:pt x="486" y="2172"/>
                  </a:lnTo>
                  <a:lnTo>
                    <a:pt x="462" y="2172"/>
                  </a:lnTo>
                  <a:lnTo>
                    <a:pt x="444" y="2196"/>
                  </a:lnTo>
                  <a:lnTo>
                    <a:pt x="432" y="2232"/>
                  </a:lnTo>
                  <a:lnTo>
                    <a:pt x="408" y="2238"/>
                  </a:lnTo>
                  <a:lnTo>
                    <a:pt x="390" y="2256"/>
                  </a:lnTo>
                  <a:lnTo>
                    <a:pt x="372" y="2274"/>
                  </a:lnTo>
                  <a:lnTo>
                    <a:pt x="360" y="2274"/>
                  </a:lnTo>
                  <a:lnTo>
                    <a:pt x="336" y="2328"/>
                  </a:lnTo>
                  <a:lnTo>
                    <a:pt x="324" y="2340"/>
                  </a:lnTo>
                  <a:lnTo>
                    <a:pt x="300" y="2346"/>
                  </a:lnTo>
                  <a:lnTo>
                    <a:pt x="294" y="2352"/>
                  </a:lnTo>
                  <a:lnTo>
                    <a:pt x="288" y="2352"/>
                  </a:lnTo>
                  <a:lnTo>
                    <a:pt x="282" y="2352"/>
                  </a:lnTo>
                  <a:lnTo>
                    <a:pt x="276" y="2352"/>
                  </a:lnTo>
                  <a:lnTo>
                    <a:pt x="270" y="2352"/>
                  </a:lnTo>
                  <a:lnTo>
                    <a:pt x="270" y="2346"/>
                  </a:lnTo>
                  <a:lnTo>
                    <a:pt x="264" y="2346"/>
                  </a:lnTo>
                  <a:lnTo>
                    <a:pt x="258" y="2352"/>
                  </a:lnTo>
                  <a:lnTo>
                    <a:pt x="252" y="2352"/>
                  </a:lnTo>
                  <a:lnTo>
                    <a:pt x="240" y="2352"/>
                  </a:lnTo>
                  <a:lnTo>
                    <a:pt x="228" y="2352"/>
                  </a:lnTo>
                  <a:lnTo>
                    <a:pt x="222" y="2352"/>
                  </a:lnTo>
                  <a:lnTo>
                    <a:pt x="216" y="2358"/>
                  </a:lnTo>
                  <a:lnTo>
                    <a:pt x="216" y="2352"/>
                  </a:lnTo>
                  <a:lnTo>
                    <a:pt x="210" y="2346"/>
                  </a:lnTo>
                  <a:lnTo>
                    <a:pt x="204" y="2346"/>
                  </a:lnTo>
                  <a:lnTo>
                    <a:pt x="198" y="2340"/>
                  </a:lnTo>
                  <a:lnTo>
                    <a:pt x="192" y="2340"/>
                  </a:lnTo>
                  <a:lnTo>
                    <a:pt x="186" y="2340"/>
                  </a:lnTo>
                  <a:lnTo>
                    <a:pt x="180" y="2340"/>
                  </a:lnTo>
                  <a:lnTo>
                    <a:pt x="174" y="2340"/>
                  </a:lnTo>
                  <a:lnTo>
                    <a:pt x="162" y="2328"/>
                  </a:lnTo>
                  <a:lnTo>
                    <a:pt x="156" y="2322"/>
                  </a:lnTo>
                  <a:lnTo>
                    <a:pt x="156" y="2316"/>
                  </a:lnTo>
                  <a:lnTo>
                    <a:pt x="156" y="2310"/>
                  </a:lnTo>
                  <a:lnTo>
                    <a:pt x="132" y="2286"/>
                  </a:lnTo>
                  <a:lnTo>
                    <a:pt x="120" y="2280"/>
                  </a:lnTo>
                  <a:lnTo>
                    <a:pt x="96" y="2274"/>
                  </a:lnTo>
                  <a:lnTo>
                    <a:pt x="84" y="2268"/>
                  </a:lnTo>
                  <a:lnTo>
                    <a:pt x="78" y="2268"/>
                  </a:lnTo>
                  <a:lnTo>
                    <a:pt x="78" y="2262"/>
                  </a:lnTo>
                  <a:lnTo>
                    <a:pt x="78" y="2256"/>
                  </a:lnTo>
                  <a:lnTo>
                    <a:pt x="78" y="2250"/>
                  </a:lnTo>
                  <a:lnTo>
                    <a:pt x="72" y="2250"/>
                  </a:lnTo>
                  <a:lnTo>
                    <a:pt x="66" y="2250"/>
                  </a:lnTo>
                  <a:lnTo>
                    <a:pt x="60" y="2250"/>
                  </a:lnTo>
                  <a:lnTo>
                    <a:pt x="48" y="2244"/>
                  </a:lnTo>
                  <a:lnTo>
                    <a:pt x="36" y="2238"/>
                  </a:lnTo>
                  <a:lnTo>
                    <a:pt x="36" y="2226"/>
                  </a:lnTo>
                  <a:lnTo>
                    <a:pt x="30" y="2226"/>
                  </a:lnTo>
                  <a:lnTo>
                    <a:pt x="30" y="2220"/>
                  </a:lnTo>
                  <a:lnTo>
                    <a:pt x="24" y="2208"/>
                  </a:lnTo>
                  <a:lnTo>
                    <a:pt x="18" y="2202"/>
                  </a:lnTo>
                  <a:lnTo>
                    <a:pt x="18" y="2196"/>
                  </a:lnTo>
                  <a:lnTo>
                    <a:pt x="12" y="2190"/>
                  </a:lnTo>
                  <a:lnTo>
                    <a:pt x="0" y="2190"/>
                  </a:lnTo>
                  <a:lnTo>
                    <a:pt x="6" y="2184"/>
                  </a:lnTo>
                  <a:lnTo>
                    <a:pt x="12" y="2178"/>
                  </a:lnTo>
                  <a:lnTo>
                    <a:pt x="18" y="2172"/>
                  </a:lnTo>
                  <a:lnTo>
                    <a:pt x="24" y="2166"/>
                  </a:lnTo>
                  <a:lnTo>
                    <a:pt x="30" y="2166"/>
                  </a:lnTo>
                  <a:lnTo>
                    <a:pt x="24" y="2160"/>
                  </a:lnTo>
                  <a:lnTo>
                    <a:pt x="30" y="2160"/>
                  </a:lnTo>
                  <a:lnTo>
                    <a:pt x="36" y="2154"/>
                  </a:lnTo>
                  <a:lnTo>
                    <a:pt x="36" y="2136"/>
                  </a:lnTo>
                  <a:lnTo>
                    <a:pt x="36" y="2118"/>
                  </a:lnTo>
                  <a:lnTo>
                    <a:pt x="48" y="2058"/>
                  </a:lnTo>
                  <a:lnTo>
                    <a:pt x="48" y="2022"/>
                  </a:lnTo>
                  <a:lnTo>
                    <a:pt x="48" y="2016"/>
                  </a:lnTo>
                  <a:lnTo>
                    <a:pt x="48" y="2010"/>
                  </a:lnTo>
                  <a:lnTo>
                    <a:pt x="48" y="2004"/>
                  </a:lnTo>
                  <a:lnTo>
                    <a:pt x="42" y="2004"/>
                  </a:lnTo>
                  <a:lnTo>
                    <a:pt x="42" y="1998"/>
                  </a:lnTo>
                  <a:lnTo>
                    <a:pt x="36" y="1992"/>
                  </a:lnTo>
                  <a:lnTo>
                    <a:pt x="42" y="1992"/>
                  </a:lnTo>
                  <a:lnTo>
                    <a:pt x="42" y="1986"/>
                  </a:lnTo>
                  <a:lnTo>
                    <a:pt x="48" y="1986"/>
                  </a:lnTo>
                  <a:lnTo>
                    <a:pt x="54" y="1986"/>
                  </a:lnTo>
                  <a:lnTo>
                    <a:pt x="60" y="1986"/>
                  </a:lnTo>
                  <a:lnTo>
                    <a:pt x="66" y="1980"/>
                  </a:lnTo>
                  <a:lnTo>
                    <a:pt x="72" y="1974"/>
                  </a:lnTo>
                  <a:lnTo>
                    <a:pt x="78" y="1974"/>
                  </a:lnTo>
                  <a:lnTo>
                    <a:pt x="84" y="1974"/>
                  </a:lnTo>
                  <a:lnTo>
                    <a:pt x="90" y="1974"/>
                  </a:lnTo>
                  <a:lnTo>
                    <a:pt x="96" y="1974"/>
                  </a:lnTo>
                  <a:lnTo>
                    <a:pt x="96" y="1968"/>
                  </a:lnTo>
                  <a:lnTo>
                    <a:pt x="102" y="1968"/>
                  </a:lnTo>
                  <a:lnTo>
                    <a:pt x="102" y="1962"/>
                  </a:lnTo>
                  <a:lnTo>
                    <a:pt x="108" y="1962"/>
                  </a:lnTo>
                  <a:lnTo>
                    <a:pt x="114" y="1956"/>
                  </a:lnTo>
                  <a:lnTo>
                    <a:pt x="120" y="1956"/>
                  </a:lnTo>
                  <a:lnTo>
                    <a:pt x="126" y="1950"/>
                  </a:lnTo>
                  <a:lnTo>
                    <a:pt x="132" y="1950"/>
                  </a:lnTo>
                  <a:lnTo>
                    <a:pt x="132" y="1944"/>
                  </a:lnTo>
                  <a:lnTo>
                    <a:pt x="126" y="1944"/>
                  </a:lnTo>
                  <a:lnTo>
                    <a:pt x="126" y="1938"/>
                  </a:lnTo>
                  <a:lnTo>
                    <a:pt x="126" y="1932"/>
                  </a:lnTo>
                  <a:lnTo>
                    <a:pt x="126" y="1926"/>
                  </a:lnTo>
                  <a:lnTo>
                    <a:pt x="114" y="1914"/>
                  </a:lnTo>
                  <a:lnTo>
                    <a:pt x="114" y="1896"/>
                  </a:lnTo>
                  <a:lnTo>
                    <a:pt x="108" y="1884"/>
                  </a:lnTo>
                  <a:lnTo>
                    <a:pt x="102" y="1872"/>
                  </a:lnTo>
                  <a:lnTo>
                    <a:pt x="96" y="1866"/>
                  </a:lnTo>
                  <a:lnTo>
                    <a:pt x="96" y="1860"/>
                  </a:lnTo>
                  <a:lnTo>
                    <a:pt x="90" y="1860"/>
                  </a:lnTo>
                  <a:lnTo>
                    <a:pt x="90" y="1854"/>
                  </a:lnTo>
                  <a:lnTo>
                    <a:pt x="84" y="1848"/>
                  </a:lnTo>
                  <a:lnTo>
                    <a:pt x="78" y="1842"/>
                  </a:lnTo>
                  <a:lnTo>
                    <a:pt x="72" y="1836"/>
                  </a:lnTo>
                  <a:lnTo>
                    <a:pt x="66" y="1830"/>
                  </a:lnTo>
                  <a:lnTo>
                    <a:pt x="60" y="1824"/>
                  </a:lnTo>
                  <a:lnTo>
                    <a:pt x="54" y="1824"/>
                  </a:lnTo>
                  <a:lnTo>
                    <a:pt x="48" y="1824"/>
                  </a:lnTo>
                  <a:lnTo>
                    <a:pt x="42" y="1818"/>
                  </a:lnTo>
                  <a:lnTo>
                    <a:pt x="54" y="1818"/>
                  </a:lnTo>
                  <a:lnTo>
                    <a:pt x="60" y="1812"/>
                  </a:lnTo>
                  <a:lnTo>
                    <a:pt x="66" y="1812"/>
                  </a:lnTo>
                  <a:lnTo>
                    <a:pt x="72" y="1812"/>
                  </a:lnTo>
                  <a:lnTo>
                    <a:pt x="78" y="1812"/>
                  </a:lnTo>
                  <a:lnTo>
                    <a:pt x="84" y="1812"/>
                  </a:lnTo>
                  <a:lnTo>
                    <a:pt x="90" y="1806"/>
                  </a:lnTo>
                  <a:lnTo>
                    <a:pt x="96" y="1800"/>
                  </a:lnTo>
                  <a:lnTo>
                    <a:pt x="102" y="1806"/>
                  </a:lnTo>
                  <a:lnTo>
                    <a:pt x="108" y="1800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26" y="1788"/>
                  </a:lnTo>
                  <a:lnTo>
                    <a:pt x="126" y="1794"/>
                  </a:lnTo>
                  <a:lnTo>
                    <a:pt x="132" y="1794"/>
                  </a:lnTo>
                  <a:lnTo>
                    <a:pt x="132" y="1788"/>
                  </a:lnTo>
                  <a:lnTo>
                    <a:pt x="138" y="1788"/>
                  </a:lnTo>
                  <a:lnTo>
                    <a:pt x="138" y="1782"/>
                  </a:lnTo>
                  <a:lnTo>
                    <a:pt x="144" y="1782"/>
                  </a:lnTo>
                  <a:lnTo>
                    <a:pt x="150" y="1776"/>
                  </a:lnTo>
                  <a:lnTo>
                    <a:pt x="156" y="1782"/>
                  </a:lnTo>
                  <a:lnTo>
                    <a:pt x="162" y="1776"/>
                  </a:lnTo>
                  <a:lnTo>
                    <a:pt x="168" y="1776"/>
                  </a:lnTo>
                  <a:lnTo>
                    <a:pt x="180" y="1776"/>
                  </a:lnTo>
                  <a:lnTo>
                    <a:pt x="186" y="1776"/>
                  </a:lnTo>
                  <a:lnTo>
                    <a:pt x="186" y="1782"/>
                  </a:lnTo>
                  <a:lnTo>
                    <a:pt x="192" y="1776"/>
                  </a:lnTo>
                  <a:lnTo>
                    <a:pt x="198" y="1776"/>
                  </a:lnTo>
                  <a:lnTo>
                    <a:pt x="204" y="1770"/>
                  </a:lnTo>
                  <a:lnTo>
                    <a:pt x="204" y="1764"/>
                  </a:lnTo>
                  <a:lnTo>
                    <a:pt x="210" y="1764"/>
                  </a:lnTo>
                  <a:lnTo>
                    <a:pt x="216" y="1764"/>
                  </a:lnTo>
                  <a:lnTo>
                    <a:pt x="216" y="1758"/>
                  </a:lnTo>
                  <a:lnTo>
                    <a:pt x="222" y="1758"/>
                  </a:lnTo>
                  <a:lnTo>
                    <a:pt x="228" y="1758"/>
                  </a:lnTo>
                  <a:lnTo>
                    <a:pt x="258" y="1746"/>
                  </a:lnTo>
                  <a:lnTo>
                    <a:pt x="282" y="1716"/>
                  </a:lnTo>
                  <a:lnTo>
                    <a:pt x="300" y="1698"/>
                  </a:lnTo>
                  <a:lnTo>
                    <a:pt x="312" y="1698"/>
                  </a:lnTo>
                  <a:lnTo>
                    <a:pt x="336" y="1698"/>
                  </a:lnTo>
                  <a:lnTo>
                    <a:pt x="360" y="1698"/>
                  </a:lnTo>
                  <a:lnTo>
                    <a:pt x="372" y="1692"/>
                  </a:lnTo>
                  <a:lnTo>
                    <a:pt x="384" y="1692"/>
                  </a:lnTo>
                  <a:lnTo>
                    <a:pt x="360" y="1668"/>
                  </a:lnTo>
                  <a:lnTo>
                    <a:pt x="348" y="1626"/>
                  </a:lnTo>
                  <a:lnTo>
                    <a:pt x="354" y="1578"/>
                  </a:lnTo>
                  <a:lnTo>
                    <a:pt x="354" y="1572"/>
                  </a:lnTo>
                  <a:lnTo>
                    <a:pt x="360" y="1572"/>
                  </a:lnTo>
                  <a:lnTo>
                    <a:pt x="396" y="1530"/>
                  </a:lnTo>
                  <a:lnTo>
                    <a:pt x="408" y="1482"/>
                  </a:lnTo>
                  <a:lnTo>
                    <a:pt x="438" y="1458"/>
                  </a:lnTo>
                  <a:lnTo>
                    <a:pt x="468" y="1422"/>
                  </a:lnTo>
                  <a:lnTo>
                    <a:pt x="480" y="1410"/>
                  </a:lnTo>
                  <a:lnTo>
                    <a:pt x="474" y="1386"/>
                  </a:lnTo>
                  <a:lnTo>
                    <a:pt x="456" y="1356"/>
                  </a:lnTo>
                  <a:lnTo>
                    <a:pt x="438" y="1350"/>
                  </a:lnTo>
                  <a:lnTo>
                    <a:pt x="420" y="1350"/>
                  </a:lnTo>
                  <a:lnTo>
                    <a:pt x="402" y="1350"/>
                  </a:lnTo>
                  <a:lnTo>
                    <a:pt x="390" y="1344"/>
                  </a:lnTo>
                  <a:lnTo>
                    <a:pt x="390" y="1332"/>
                  </a:lnTo>
                  <a:lnTo>
                    <a:pt x="402" y="1296"/>
                  </a:lnTo>
                  <a:lnTo>
                    <a:pt x="414" y="1260"/>
                  </a:lnTo>
                  <a:lnTo>
                    <a:pt x="426" y="1248"/>
                  </a:lnTo>
                  <a:lnTo>
                    <a:pt x="438" y="1242"/>
                  </a:lnTo>
                  <a:lnTo>
                    <a:pt x="432" y="1230"/>
                  </a:lnTo>
                  <a:lnTo>
                    <a:pt x="432" y="1224"/>
                  </a:lnTo>
                  <a:lnTo>
                    <a:pt x="426" y="1218"/>
                  </a:lnTo>
                  <a:lnTo>
                    <a:pt x="426" y="1206"/>
                  </a:lnTo>
                  <a:lnTo>
                    <a:pt x="426" y="1200"/>
                  </a:lnTo>
                  <a:lnTo>
                    <a:pt x="432" y="1194"/>
                  </a:lnTo>
                  <a:lnTo>
                    <a:pt x="426" y="1188"/>
                  </a:lnTo>
                  <a:lnTo>
                    <a:pt x="432" y="1104"/>
                  </a:lnTo>
                  <a:lnTo>
                    <a:pt x="438" y="1086"/>
                  </a:lnTo>
                  <a:lnTo>
                    <a:pt x="462" y="972"/>
                  </a:lnTo>
                  <a:lnTo>
                    <a:pt x="456" y="900"/>
                  </a:lnTo>
                  <a:lnTo>
                    <a:pt x="444" y="846"/>
                  </a:lnTo>
                  <a:lnTo>
                    <a:pt x="456" y="810"/>
                  </a:lnTo>
                  <a:lnTo>
                    <a:pt x="492" y="786"/>
                  </a:lnTo>
                  <a:lnTo>
                    <a:pt x="522" y="762"/>
                  </a:lnTo>
                  <a:lnTo>
                    <a:pt x="546" y="732"/>
                  </a:lnTo>
                  <a:lnTo>
                    <a:pt x="570" y="696"/>
                  </a:lnTo>
                  <a:lnTo>
                    <a:pt x="582" y="654"/>
                  </a:lnTo>
                  <a:lnTo>
                    <a:pt x="564" y="642"/>
                  </a:lnTo>
                  <a:lnTo>
                    <a:pt x="522" y="588"/>
                  </a:lnTo>
                  <a:lnTo>
                    <a:pt x="516" y="546"/>
                  </a:lnTo>
                  <a:lnTo>
                    <a:pt x="510" y="474"/>
                  </a:lnTo>
                  <a:lnTo>
                    <a:pt x="510" y="450"/>
                  </a:lnTo>
                  <a:lnTo>
                    <a:pt x="510" y="444"/>
                  </a:lnTo>
                  <a:lnTo>
                    <a:pt x="522" y="438"/>
                  </a:lnTo>
                  <a:lnTo>
                    <a:pt x="522" y="432"/>
                  </a:lnTo>
                  <a:lnTo>
                    <a:pt x="528" y="426"/>
                  </a:lnTo>
                  <a:lnTo>
                    <a:pt x="534" y="420"/>
                  </a:lnTo>
                  <a:lnTo>
                    <a:pt x="540" y="414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08"/>
                  </a:lnTo>
                  <a:lnTo>
                    <a:pt x="546" y="408"/>
                  </a:lnTo>
                  <a:lnTo>
                    <a:pt x="558" y="414"/>
                  </a:lnTo>
                  <a:lnTo>
                    <a:pt x="564" y="414"/>
                  </a:lnTo>
                  <a:lnTo>
                    <a:pt x="570" y="414"/>
                  </a:lnTo>
                  <a:lnTo>
                    <a:pt x="582" y="414"/>
                  </a:lnTo>
                  <a:lnTo>
                    <a:pt x="582" y="420"/>
                  </a:lnTo>
                  <a:lnTo>
                    <a:pt x="588" y="414"/>
                  </a:lnTo>
                  <a:lnTo>
                    <a:pt x="582" y="408"/>
                  </a:lnTo>
                  <a:lnTo>
                    <a:pt x="588" y="402"/>
                  </a:lnTo>
                  <a:lnTo>
                    <a:pt x="594" y="402"/>
                  </a:lnTo>
                  <a:lnTo>
                    <a:pt x="594" y="396"/>
                  </a:lnTo>
                  <a:lnTo>
                    <a:pt x="594" y="390"/>
                  </a:lnTo>
                  <a:lnTo>
                    <a:pt x="594" y="384"/>
                  </a:lnTo>
                  <a:lnTo>
                    <a:pt x="594" y="378"/>
                  </a:lnTo>
                  <a:lnTo>
                    <a:pt x="600" y="366"/>
                  </a:lnTo>
                  <a:lnTo>
                    <a:pt x="606" y="366"/>
                  </a:lnTo>
                  <a:lnTo>
                    <a:pt x="612" y="360"/>
                  </a:lnTo>
                  <a:lnTo>
                    <a:pt x="612" y="366"/>
                  </a:lnTo>
                  <a:lnTo>
                    <a:pt x="618" y="366"/>
                  </a:lnTo>
                  <a:lnTo>
                    <a:pt x="624" y="366"/>
                  </a:lnTo>
                  <a:lnTo>
                    <a:pt x="630" y="360"/>
                  </a:lnTo>
                  <a:lnTo>
                    <a:pt x="636" y="354"/>
                  </a:lnTo>
                  <a:lnTo>
                    <a:pt x="630" y="354"/>
                  </a:lnTo>
                  <a:lnTo>
                    <a:pt x="630" y="348"/>
                  </a:lnTo>
                  <a:lnTo>
                    <a:pt x="630" y="342"/>
                  </a:lnTo>
                  <a:lnTo>
                    <a:pt x="636" y="342"/>
                  </a:lnTo>
                  <a:lnTo>
                    <a:pt x="642" y="336"/>
                  </a:lnTo>
                  <a:lnTo>
                    <a:pt x="636" y="330"/>
                  </a:lnTo>
                  <a:lnTo>
                    <a:pt x="630" y="336"/>
                  </a:lnTo>
                  <a:lnTo>
                    <a:pt x="624" y="336"/>
                  </a:lnTo>
                  <a:lnTo>
                    <a:pt x="624" y="330"/>
                  </a:lnTo>
                  <a:lnTo>
                    <a:pt x="624" y="324"/>
                  </a:lnTo>
                  <a:lnTo>
                    <a:pt x="618" y="324"/>
                  </a:lnTo>
                  <a:lnTo>
                    <a:pt x="624" y="324"/>
                  </a:lnTo>
                  <a:lnTo>
                    <a:pt x="630" y="330"/>
                  </a:lnTo>
                  <a:lnTo>
                    <a:pt x="630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2" y="306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8" y="288"/>
                  </a:lnTo>
                  <a:lnTo>
                    <a:pt x="648" y="282"/>
                  </a:lnTo>
                  <a:lnTo>
                    <a:pt x="654" y="288"/>
                  </a:lnTo>
                  <a:lnTo>
                    <a:pt x="654" y="282"/>
                  </a:lnTo>
                  <a:lnTo>
                    <a:pt x="660" y="282"/>
                  </a:lnTo>
                  <a:lnTo>
                    <a:pt x="666" y="282"/>
                  </a:lnTo>
                  <a:lnTo>
                    <a:pt x="672" y="282"/>
                  </a:lnTo>
                  <a:lnTo>
                    <a:pt x="678" y="282"/>
                  </a:lnTo>
                  <a:lnTo>
                    <a:pt x="684" y="276"/>
                  </a:lnTo>
                  <a:lnTo>
                    <a:pt x="690" y="270"/>
                  </a:lnTo>
                  <a:lnTo>
                    <a:pt x="690" y="264"/>
                  </a:lnTo>
                  <a:lnTo>
                    <a:pt x="690" y="270"/>
                  </a:lnTo>
                  <a:lnTo>
                    <a:pt x="690" y="276"/>
                  </a:lnTo>
                  <a:lnTo>
                    <a:pt x="696" y="276"/>
                  </a:lnTo>
                  <a:lnTo>
                    <a:pt x="702" y="276"/>
                  </a:lnTo>
                  <a:lnTo>
                    <a:pt x="702" y="282"/>
                  </a:lnTo>
                  <a:lnTo>
                    <a:pt x="708" y="282"/>
                  </a:lnTo>
                  <a:lnTo>
                    <a:pt x="720" y="270"/>
                  </a:lnTo>
                  <a:lnTo>
                    <a:pt x="720" y="264"/>
                  </a:lnTo>
                  <a:lnTo>
                    <a:pt x="720" y="258"/>
                  </a:lnTo>
                  <a:lnTo>
                    <a:pt x="726" y="258"/>
                  </a:lnTo>
                  <a:lnTo>
                    <a:pt x="732" y="258"/>
                  </a:lnTo>
                  <a:lnTo>
                    <a:pt x="732" y="264"/>
                  </a:lnTo>
                  <a:lnTo>
                    <a:pt x="738" y="264"/>
                  </a:lnTo>
                  <a:lnTo>
                    <a:pt x="738" y="258"/>
                  </a:lnTo>
                  <a:lnTo>
                    <a:pt x="732" y="258"/>
                  </a:lnTo>
                  <a:lnTo>
                    <a:pt x="732" y="252"/>
                  </a:lnTo>
                  <a:lnTo>
                    <a:pt x="744" y="252"/>
                  </a:lnTo>
                  <a:lnTo>
                    <a:pt x="750" y="252"/>
                  </a:lnTo>
                  <a:lnTo>
                    <a:pt x="750" y="246"/>
                  </a:lnTo>
                  <a:lnTo>
                    <a:pt x="750" y="240"/>
                  </a:lnTo>
                  <a:lnTo>
                    <a:pt x="762" y="234"/>
                  </a:lnTo>
                  <a:lnTo>
                    <a:pt x="768" y="234"/>
                  </a:lnTo>
                  <a:lnTo>
                    <a:pt x="774" y="234"/>
                  </a:lnTo>
                  <a:lnTo>
                    <a:pt x="780" y="228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16"/>
                  </a:lnTo>
                  <a:lnTo>
                    <a:pt x="792" y="210"/>
                  </a:lnTo>
                  <a:lnTo>
                    <a:pt x="804" y="204"/>
                  </a:lnTo>
                  <a:lnTo>
                    <a:pt x="804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0" y="192"/>
                  </a:lnTo>
                  <a:lnTo>
                    <a:pt x="798" y="186"/>
                  </a:lnTo>
                  <a:lnTo>
                    <a:pt x="810" y="186"/>
                  </a:lnTo>
                  <a:lnTo>
                    <a:pt x="810" y="180"/>
                  </a:lnTo>
                  <a:lnTo>
                    <a:pt x="810" y="186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0" y="180"/>
                  </a:lnTo>
                  <a:lnTo>
                    <a:pt x="816" y="174"/>
                  </a:lnTo>
                  <a:lnTo>
                    <a:pt x="822" y="174"/>
                  </a:lnTo>
                  <a:lnTo>
                    <a:pt x="822" y="180"/>
                  </a:lnTo>
                  <a:lnTo>
                    <a:pt x="828" y="180"/>
                  </a:lnTo>
                  <a:lnTo>
                    <a:pt x="828" y="174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62"/>
                  </a:lnTo>
                  <a:lnTo>
                    <a:pt x="828" y="156"/>
                  </a:lnTo>
                  <a:lnTo>
                    <a:pt x="822" y="156"/>
                  </a:lnTo>
                  <a:lnTo>
                    <a:pt x="828" y="156"/>
                  </a:lnTo>
                  <a:lnTo>
                    <a:pt x="828" y="150"/>
                  </a:lnTo>
                  <a:lnTo>
                    <a:pt x="834" y="150"/>
                  </a:lnTo>
                  <a:lnTo>
                    <a:pt x="840" y="156"/>
                  </a:lnTo>
                  <a:lnTo>
                    <a:pt x="840" y="150"/>
                  </a:lnTo>
                  <a:lnTo>
                    <a:pt x="834" y="150"/>
                  </a:lnTo>
                  <a:lnTo>
                    <a:pt x="834" y="144"/>
                  </a:lnTo>
                  <a:lnTo>
                    <a:pt x="840" y="138"/>
                  </a:lnTo>
                  <a:lnTo>
                    <a:pt x="846" y="144"/>
                  </a:lnTo>
                  <a:lnTo>
                    <a:pt x="846" y="150"/>
                  </a:lnTo>
                  <a:lnTo>
                    <a:pt x="852" y="150"/>
                  </a:lnTo>
                  <a:lnTo>
                    <a:pt x="858" y="150"/>
                  </a:lnTo>
                  <a:lnTo>
                    <a:pt x="870" y="150"/>
                  </a:lnTo>
                  <a:lnTo>
                    <a:pt x="870" y="144"/>
                  </a:lnTo>
                  <a:lnTo>
                    <a:pt x="876" y="138"/>
                  </a:lnTo>
                  <a:lnTo>
                    <a:pt x="882" y="138"/>
                  </a:lnTo>
                  <a:lnTo>
                    <a:pt x="888" y="132"/>
                  </a:lnTo>
                  <a:lnTo>
                    <a:pt x="888" y="138"/>
                  </a:lnTo>
                  <a:lnTo>
                    <a:pt x="894" y="138"/>
                  </a:lnTo>
                  <a:lnTo>
                    <a:pt x="894" y="132"/>
                  </a:lnTo>
                  <a:lnTo>
                    <a:pt x="900" y="126"/>
                  </a:lnTo>
                  <a:lnTo>
                    <a:pt x="900" y="132"/>
                  </a:lnTo>
                  <a:lnTo>
                    <a:pt x="906" y="132"/>
                  </a:lnTo>
                  <a:lnTo>
                    <a:pt x="912" y="132"/>
                  </a:lnTo>
                  <a:lnTo>
                    <a:pt x="918" y="126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24" y="126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8" y="120"/>
                  </a:lnTo>
                  <a:lnTo>
                    <a:pt x="948" y="114"/>
                  </a:lnTo>
                  <a:lnTo>
                    <a:pt x="948" y="108"/>
                  </a:lnTo>
                  <a:lnTo>
                    <a:pt x="954" y="114"/>
                  </a:lnTo>
                  <a:lnTo>
                    <a:pt x="960" y="108"/>
                  </a:lnTo>
                  <a:lnTo>
                    <a:pt x="966" y="108"/>
                  </a:lnTo>
                  <a:lnTo>
                    <a:pt x="972" y="108"/>
                  </a:lnTo>
                  <a:lnTo>
                    <a:pt x="966" y="114"/>
                  </a:lnTo>
                  <a:lnTo>
                    <a:pt x="960" y="114"/>
                  </a:lnTo>
                  <a:lnTo>
                    <a:pt x="960" y="120"/>
                  </a:lnTo>
                  <a:lnTo>
                    <a:pt x="966" y="126"/>
                  </a:lnTo>
                  <a:lnTo>
                    <a:pt x="972" y="126"/>
                  </a:lnTo>
                  <a:lnTo>
                    <a:pt x="978" y="126"/>
                  </a:lnTo>
                  <a:lnTo>
                    <a:pt x="984" y="120"/>
                  </a:lnTo>
                  <a:lnTo>
                    <a:pt x="984" y="114"/>
                  </a:lnTo>
                  <a:lnTo>
                    <a:pt x="996" y="126"/>
                  </a:lnTo>
                  <a:lnTo>
                    <a:pt x="996" y="120"/>
                  </a:lnTo>
                  <a:lnTo>
                    <a:pt x="1002" y="120"/>
                  </a:lnTo>
                  <a:lnTo>
                    <a:pt x="996" y="114"/>
                  </a:lnTo>
                  <a:lnTo>
                    <a:pt x="1002" y="114"/>
                  </a:lnTo>
                  <a:lnTo>
                    <a:pt x="1008" y="114"/>
                  </a:lnTo>
                  <a:lnTo>
                    <a:pt x="1008" y="108"/>
                  </a:lnTo>
                  <a:lnTo>
                    <a:pt x="1014" y="108"/>
                  </a:lnTo>
                  <a:lnTo>
                    <a:pt x="1008" y="114"/>
                  </a:lnTo>
                  <a:lnTo>
                    <a:pt x="1008" y="120"/>
                  </a:lnTo>
                  <a:lnTo>
                    <a:pt x="1008" y="126"/>
                  </a:lnTo>
                  <a:lnTo>
                    <a:pt x="1014" y="126"/>
                  </a:lnTo>
                  <a:lnTo>
                    <a:pt x="1014" y="132"/>
                  </a:lnTo>
                  <a:lnTo>
                    <a:pt x="1020" y="132"/>
                  </a:lnTo>
                  <a:lnTo>
                    <a:pt x="1020" y="126"/>
                  </a:lnTo>
                  <a:lnTo>
                    <a:pt x="1020" y="120"/>
                  </a:lnTo>
                  <a:lnTo>
                    <a:pt x="1032" y="120"/>
                  </a:lnTo>
                  <a:lnTo>
                    <a:pt x="1038" y="120"/>
                  </a:lnTo>
                  <a:lnTo>
                    <a:pt x="1038" y="126"/>
                  </a:lnTo>
                  <a:lnTo>
                    <a:pt x="1044" y="132"/>
                  </a:lnTo>
                  <a:lnTo>
                    <a:pt x="1044" y="126"/>
                  </a:lnTo>
                  <a:lnTo>
                    <a:pt x="1050" y="120"/>
                  </a:lnTo>
                  <a:lnTo>
                    <a:pt x="1050" y="114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68" y="102"/>
                  </a:lnTo>
                  <a:lnTo>
                    <a:pt x="1074" y="96"/>
                  </a:lnTo>
                  <a:lnTo>
                    <a:pt x="1074" y="90"/>
                  </a:lnTo>
                  <a:lnTo>
                    <a:pt x="1068" y="90"/>
                  </a:lnTo>
                  <a:lnTo>
                    <a:pt x="1068" y="84"/>
                  </a:lnTo>
                  <a:lnTo>
                    <a:pt x="1080" y="84"/>
                  </a:lnTo>
                  <a:lnTo>
                    <a:pt x="1086" y="78"/>
                  </a:lnTo>
                  <a:lnTo>
                    <a:pt x="1086" y="72"/>
                  </a:lnTo>
                  <a:lnTo>
                    <a:pt x="1080" y="78"/>
                  </a:lnTo>
                  <a:lnTo>
                    <a:pt x="1080" y="72"/>
                  </a:lnTo>
                  <a:lnTo>
                    <a:pt x="1080" y="66"/>
                  </a:lnTo>
                  <a:lnTo>
                    <a:pt x="1074" y="66"/>
                  </a:lnTo>
                  <a:lnTo>
                    <a:pt x="1080" y="66"/>
                  </a:lnTo>
                  <a:lnTo>
                    <a:pt x="1080" y="60"/>
                  </a:lnTo>
                  <a:lnTo>
                    <a:pt x="1086" y="60"/>
                  </a:lnTo>
                  <a:lnTo>
                    <a:pt x="1086" y="54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2" y="42"/>
                  </a:lnTo>
                  <a:lnTo>
                    <a:pt x="1098" y="42"/>
                  </a:lnTo>
                  <a:lnTo>
                    <a:pt x="1104" y="36"/>
                  </a:lnTo>
                  <a:lnTo>
                    <a:pt x="1110" y="36"/>
                  </a:lnTo>
                  <a:lnTo>
                    <a:pt x="1110" y="30"/>
                  </a:lnTo>
                  <a:lnTo>
                    <a:pt x="1110" y="24"/>
                  </a:lnTo>
                  <a:lnTo>
                    <a:pt x="1116" y="24"/>
                  </a:lnTo>
                  <a:lnTo>
                    <a:pt x="1116" y="18"/>
                  </a:lnTo>
                  <a:lnTo>
                    <a:pt x="1122" y="18"/>
                  </a:lnTo>
                  <a:lnTo>
                    <a:pt x="1128" y="18"/>
                  </a:lnTo>
                  <a:lnTo>
                    <a:pt x="1134" y="12"/>
                  </a:lnTo>
                  <a:lnTo>
                    <a:pt x="1134" y="6"/>
                  </a:lnTo>
                  <a:lnTo>
                    <a:pt x="1140" y="6"/>
                  </a:lnTo>
                  <a:lnTo>
                    <a:pt x="1146" y="0"/>
                  </a:lnTo>
                  <a:lnTo>
                    <a:pt x="1152" y="0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70" y="0"/>
                  </a:lnTo>
                  <a:lnTo>
                    <a:pt x="1176" y="6"/>
                  </a:lnTo>
                  <a:lnTo>
                    <a:pt x="1182" y="6"/>
                  </a:lnTo>
                  <a:lnTo>
                    <a:pt x="1194" y="6"/>
                  </a:lnTo>
                  <a:lnTo>
                    <a:pt x="1200" y="6"/>
                  </a:lnTo>
                  <a:lnTo>
                    <a:pt x="1212" y="0"/>
                  </a:lnTo>
                  <a:lnTo>
                    <a:pt x="1212" y="6"/>
                  </a:lnTo>
                  <a:lnTo>
                    <a:pt x="1218" y="6"/>
                  </a:lnTo>
                  <a:lnTo>
                    <a:pt x="1266" y="6"/>
                  </a:lnTo>
                  <a:lnTo>
                    <a:pt x="1272" y="0"/>
                  </a:lnTo>
                  <a:lnTo>
                    <a:pt x="1278" y="6"/>
                  </a:lnTo>
                  <a:lnTo>
                    <a:pt x="1290" y="6"/>
                  </a:lnTo>
                  <a:lnTo>
                    <a:pt x="1296" y="6"/>
                  </a:lnTo>
                  <a:lnTo>
                    <a:pt x="1308" y="6"/>
                  </a:lnTo>
                  <a:lnTo>
                    <a:pt x="1314" y="6"/>
                  </a:lnTo>
                  <a:lnTo>
                    <a:pt x="1320" y="6"/>
                  </a:lnTo>
                  <a:lnTo>
                    <a:pt x="1326" y="12"/>
                  </a:lnTo>
                  <a:lnTo>
                    <a:pt x="1338" y="30"/>
                  </a:lnTo>
                  <a:lnTo>
                    <a:pt x="1344" y="36"/>
                  </a:lnTo>
                  <a:lnTo>
                    <a:pt x="1356" y="48"/>
                  </a:lnTo>
                  <a:lnTo>
                    <a:pt x="1362" y="60"/>
                  </a:lnTo>
                  <a:lnTo>
                    <a:pt x="1368" y="66"/>
                  </a:lnTo>
                  <a:lnTo>
                    <a:pt x="1374" y="72"/>
                  </a:lnTo>
                  <a:lnTo>
                    <a:pt x="1374" y="78"/>
                  </a:lnTo>
                  <a:lnTo>
                    <a:pt x="1398" y="108"/>
                  </a:lnTo>
                  <a:lnTo>
                    <a:pt x="1398" y="114"/>
                  </a:lnTo>
                  <a:lnTo>
                    <a:pt x="1404" y="114"/>
                  </a:lnTo>
                  <a:lnTo>
                    <a:pt x="1404" y="120"/>
                  </a:lnTo>
                  <a:lnTo>
                    <a:pt x="1410" y="132"/>
                  </a:lnTo>
                  <a:lnTo>
                    <a:pt x="1416" y="132"/>
                  </a:lnTo>
                  <a:lnTo>
                    <a:pt x="1416" y="138"/>
                  </a:lnTo>
                  <a:lnTo>
                    <a:pt x="1422" y="144"/>
                  </a:lnTo>
                  <a:lnTo>
                    <a:pt x="1428" y="150"/>
                  </a:lnTo>
                  <a:lnTo>
                    <a:pt x="1428" y="156"/>
                  </a:lnTo>
                  <a:lnTo>
                    <a:pt x="1458" y="192"/>
                  </a:lnTo>
                  <a:lnTo>
                    <a:pt x="1458" y="198"/>
                  </a:lnTo>
                  <a:lnTo>
                    <a:pt x="1464" y="204"/>
                  </a:lnTo>
                  <a:lnTo>
                    <a:pt x="1470" y="210"/>
                  </a:lnTo>
                  <a:lnTo>
                    <a:pt x="1476" y="216"/>
                  </a:lnTo>
                  <a:lnTo>
                    <a:pt x="1482" y="228"/>
                  </a:lnTo>
                  <a:lnTo>
                    <a:pt x="1488" y="234"/>
                  </a:lnTo>
                  <a:lnTo>
                    <a:pt x="1512" y="270"/>
                  </a:lnTo>
                  <a:lnTo>
                    <a:pt x="1512" y="276"/>
                  </a:lnTo>
                  <a:lnTo>
                    <a:pt x="1530" y="300"/>
                  </a:lnTo>
                  <a:lnTo>
                    <a:pt x="1536" y="306"/>
                  </a:lnTo>
                  <a:lnTo>
                    <a:pt x="1542" y="312"/>
                  </a:lnTo>
                  <a:lnTo>
                    <a:pt x="1542" y="318"/>
                  </a:lnTo>
                  <a:lnTo>
                    <a:pt x="1560" y="336"/>
                  </a:lnTo>
                  <a:lnTo>
                    <a:pt x="1566" y="348"/>
                  </a:lnTo>
                  <a:lnTo>
                    <a:pt x="1572" y="354"/>
                  </a:lnTo>
                  <a:lnTo>
                    <a:pt x="1578" y="360"/>
                  </a:lnTo>
                  <a:lnTo>
                    <a:pt x="1584" y="378"/>
                  </a:lnTo>
                  <a:lnTo>
                    <a:pt x="1590" y="378"/>
                  </a:lnTo>
                  <a:lnTo>
                    <a:pt x="1596" y="390"/>
                  </a:lnTo>
                  <a:lnTo>
                    <a:pt x="1602" y="396"/>
                  </a:lnTo>
                  <a:lnTo>
                    <a:pt x="1608" y="408"/>
                  </a:lnTo>
                  <a:lnTo>
                    <a:pt x="1614" y="408"/>
                  </a:lnTo>
                  <a:lnTo>
                    <a:pt x="1614" y="432"/>
                  </a:lnTo>
                  <a:lnTo>
                    <a:pt x="1620" y="438"/>
                  </a:lnTo>
                  <a:lnTo>
                    <a:pt x="1620" y="450"/>
                  </a:lnTo>
                  <a:lnTo>
                    <a:pt x="1620" y="462"/>
                  </a:lnTo>
                  <a:lnTo>
                    <a:pt x="1626" y="474"/>
                  </a:lnTo>
                  <a:lnTo>
                    <a:pt x="1626" y="480"/>
                  </a:lnTo>
                  <a:lnTo>
                    <a:pt x="1626" y="486"/>
                  </a:lnTo>
                  <a:lnTo>
                    <a:pt x="1632" y="522"/>
                  </a:lnTo>
                  <a:lnTo>
                    <a:pt x="1632" y="528"/>
                  </a:lnTo>
                  <a:lnTo>
                    <a:pt x="1632" y="534"/>
                  </a:lnTo>
                  <a:lnTo>
                    <a:pt x="1638" y="540"/>
                  </a:lnTo>
                  <a:lnTo>
                    <a:pt x="1638" y="558"/>
                  </a:lnTo>
                  <a:lnTo>
                    <a:pt x="1638" y="570"/>
                  </a:lnTo>
                  <a:lnTo>
                    <a:pt x="1644" y="582"/>
                  </a:lnTo>
                  <a:lnTo>
                    <a:pt x="1650" y="618"/>
                  </a:lnTo>
                  <a:lnTo>
                    <a:pt x="1650" y="624"/>
                  </a:lnTo>
                  <a:lnTo>
                    <a:pt x="1650" y="636"/>
                  </a:lnTo>
                  <a:lnTo>
                    <a:pt x="1656" y="642"/>
                  </a:lnTo>
                  <a:lnTo>
                    <a:pt x="1656" y="648"/>
                  </a:lnTo>
                  <a:lnTo>
                    <a:pt x="1656" y="654"/>
                  </a:lnTo>
                  <a:lnTo>
                    <a:pt x="1656" y="660"/>
                  </a:lnTo>
                  <a:lnTo>
                    <a:pt x="1662" y="696"/>
                  </a:lnTo>
                  <a:lnTo>
                    <a:pt x="1668" y="708"/>
                  </a:lnTo>
                  <a:lnTo>
                    <a:pt x="1668" y="714"/>
                  </a:lnTo>
                  <a:lnTo>
                    <a:pt x="1668" y="732"/>
                  </a:lnTo>
                  <a:lnTo>
                    <a:pt x="1668" y="744"/>
                  </a:lnTo>
                  <a:lnTo>
                    <a:pt x="1674" y="756"/>
                  </a:lnTo>
                  <a:lnTo>
                    <a:pt x="1680" y="762"/>
                  </a:lnTo>
                  <a:lnTo>
                    <a:pt x="1680" y="768"/>
                  </a:lnTo>
                  <a:lnTo>
                    <a:pt x="1680" y="774"/>
                  </a:lnTo>
                  <a:lnTo>
                    <a:pt x="1680" y="780"/>
                  </a:lnTo>
                  <a:lnTo>
                    <a:pt x="1674" y="786"/>
                  </a:lnTo>
                  <a:lnTo>
                    <a:pt x="1668" y="792"/>
                  </a:lnTo>
                  <a:lnTo>
                    <a:pt x="1668" y="798"/>
                  </a:lnTo>
                  <a:lnTo>
                    <a:pt x="1668" y="804"/>
                  </a:lnTo>
                  <a:lnTo>
                    <a:pt x="1674" y="804"/>
                  </a:lnTo>
                  <a:lnTo>
                    <a:pt x="1668" y="810"/>
                  </a:lnTo>
                  <a:lnTo>
                    <a:pt x="1674" y="810"/>
                  </a:lnTo>
                  <a:lnTo>
                    <a:pt x="1680" y="810"/>
                  </a:lnTo>
                  <a:lnTo>
                    <a:pt x="1680" y="816"/>
                  </a:lnTo>
                  <a:lnTo>
                    <a:pt x="1680" y="822"/>
                  </a:lnTo>
                  <a:lnTo>
                    <a:pt x="1674" y="822"/>
                  </a:lnTo>
                  <a:lnTo>
                    <a:pt x="1674" y="828"/>
                  </a:lnTo>
                  <a:lnTo>
                    <a:pt x="1668" y="828"/>
                  </a:lnTo>
                  <a:lnTo>
                    <a:pt x="1674" y="834"/>
                  </a:lnTo>
                  <a:lnTo>
                    <a:pt x="1668" y="834"/>
                  </a:lnTo>
                  <a:lnTo>
                    <a:pt x="1668" y="840"/>
                  </a:lnTo>
                  <a:lnTo>
                    <a:pt x="1674" y="840"/>
                  </a:lnTo>
                  <a:lnTo>
                    <a:pt x="1686" y="852"/>
                  </a:lnTo>
                  <a:lnTo>
                    <a:pt x="1692" y="858"/>
                  </a:lnTo>
                  <a:lnTo>
                    <a:pt x="1698" y="858"/>
                  </a:lnTo>
                  <a:lnTo>
                    <a:pt x="1698" y="864"/>
                  </a:lnTo>
                  <a:lnTo>
                    <a:pt x="1698" y="870"/>
                  </a:lnTo>
                  <a:lnTo>
                    <a:pt x="1704" y="864"/>
                  </a:lnTo>
                  <a:lnTo>
                    <a:pt x="1716" y="864"/>
                  </a:lnTo>
                  <a:lnTo>
                    <a:pt x="1722" y="864"/>
                  </a:lnTo>
                  <a:lnTo>
                    <a:pt x="1728" y="864"/>
                  </a:lnTo>
                  <a:lnTo>
                    <a:pt x="1734" y="864"/>
                  </a:lnTo>
                  <a:lnTo>
                    <a:pt x="1740" y="864"/>
                  </a:lnTo>
                  <a:lnTo>
                    <a:pt x="1746" y="876"/>
                  </a:lnTo>
                  <a:lnTo>
                    <a:pt x="1746" y="870"/>
                  </a:lnTo>
                  <a:lnTo>
                    <a:pt x="1740" y="864"/>
                  </a:lnTo>
                  <a:lnTo>
                    <a:pt x="1746" y="864"/>
                  </a:lnTo>
                  <a:lnTo>
                    <a:pt x="1752" y="870"/>
                  </a:lnTo>
                  <a:lnTo>
                    <a:pt x="1758" y="864"/>
                  </a:lnTo>
                  <a:lnTo>
                    <a:pt x="1764" y="864"/>
                  </a:lnTo>
                  <a:lnTo>
                    <a:pt x="1770" y="858"/>
                  </a:lnTo>
                  <a:lnTo>
                    <a:pt x="1782" y="864"/>
                  </a:lnTo>
                  <a:lnTo>
                    <a:pt x="1782" y="870"/>
                  </a:lnTo>
                  <a:lnTo>
                    <a:pt x="1788" y="864"/>
                  </a:lnTo>
                  <a:lnTo>
                    <a:pt x="1794" y="864"/>
                  </a:lnTo>
                  <a:lnTo>
                    <a:pt x="1800" y="870"/>
                  </a:lnTo>
                  <a:lnTo>
                    <a:pt x="1818" y="864"/>
                  </a:lnTo>
                  <a:lnTo>
                    <a:pt x="1824" y="870"/>
                  </a:lnTo>
                  <a:lnTo>
                    <a:pt x="1830" y="864"/>
                  </a:lnTo>
                  <a:lnTo>
                    <a:pt x="1836" y="864"/>
                  </a:lnTo>
                  <a:lnTo>
                    <a:pt x="1842" y="870"/>
                  </a:lnTo>
                  <a:lnTo>
                    <a:pt x="1842" y="876"/>
                  </a:lnTo>
                  <a:lnTo>
                    <a:pt x="1848" y="876"/>
                  </a:lnTo>
                  <a:lnTo>
                    <a:pt x="1848" y="870"/>
                  </a:lnTo>
                  <a:lnTo>
                    <a:pt x="1854" y="870"/>
                  </a:lnTo>
                  <a:lnTo>
                    <a:pt x="1860" y="870"/>
                  </a:lnTo>
                  <a:lnTo>
                    <a:pt x="1860" y="876"/>
                  </a:lnTo>
                  <a:lnTo>
                    <a:pt x="1866" y="876"/>
                  </a:lnTo>
                  <a:lnTo>
                    <a:pt x="1866" y="882"/>
                  </a:lnTo>
                  <a:lnTo>
                    <a:pt x="1872" y="882"/>
                  </a:lnTo>
                  <a:lnTo>
                    <a:pt x="1878" y="888"/>
                  </a:lnTo>
                  <a:lnTo>
                    <a:pt x="1890" y="888"/>
                  </a:lnTo>
                  <a:lnTo>
                    <a:pt x="1890" y="894"/>
                  </a:lnTo>
                  <a:lnTo>
                    <a:pt x="1890" y="900"/>
                  </a:lnTo>
                  <a:lnTo>
                    <a:pt x="1884" y="900"/>
                  </a:lnTo>
                  <a:lnTo>
                    <a:pt x="1884" y="906"/>
                  </a:lnTo>
                  <a:lnTo>
                    <a:pt x="1884" y="912"/>
                  </a:lnTo>
                  <a:lnTo>
                    <a:pt x="1890" y="912"/>
                  </a:lnTo>
                  <a:lnTo>
                    <a:pt x="1896" y="912"/>
                  </a:lnTo>
                  <a:lnTo>
                    <a:pt x="1902" y="912"/>
                  </a:lnTo>
                  <a:lnTo>
                    <a:pt x="1908" y="918"/>
                  </a:lnTo>
                  <a:lnTo>
                    <a:pt x="1908" y="924"/>
                  </a:lnTo>
                  <a:lnTo>
                    <a:pt x="1908" y="930"/>
                  </a:lnTo>
                  <a:lnTo>
                    <a:pt x="1908" y="936"/>
                  </a:lnTo>
                  <a:lnTo>
                    <a:pt x="1914" y="936"/>
                  </a:lnTo>
                  <a:lnTo>
                    <a:pt x="1914" y="942"/>
                  </a:lnTo>
                  <a:lnTo>
                    <a:pt x="1908" y="948"/>
                  </a:lnTo>
                  <a:lnTo>
                    <a:pt x="1914" y="948"/>
                  </a:lnTo>
                  <a:lnTo>
                    <a:pt x="1920" y="954"/>
                  </a:lnTo>
                  <a:lnTo>
                    <a:pt x="1926" y="954"/>
                  </a:lnTo>
                  <a:lnTo>
                    <a:pt x="1932" y="954"/>
                  </a:lnTo>
                  <a:lnTo>
                    <a:pt x="1938" y="954"/>
                  </a:lnTo>
                  <a:lnTo>
                    <a:pt x="1938" y="960"/>
                  </a:lnTo>
                  <a:lnTo>
                    <a:pt x="1944" y="966"/>
                  </a:lnTo>
                  <a:lnTo>
                    <a:pt x="1944" y="972"/>
                  </a:lnTo>
                  <a:lnTo>
                    <a:pt x="1944" y="978"/>
                  </a:lnTo>
                  <a:lnTo>
                    <a:pt x="1950" y="978"/>
                  </a:lnTo>
                  <a:lnTo>
                    <a:pt x="1950" y="984"/>
                  </a:lnTo>
                  <a:lnTo>
                    <a:pt x="1956" y="984"/>
                  </a:lnTo>
                  <a:lnTo>
                    <a:pt x="1962" y="984"/>
                  </a:lnTo>
                  <a:lnTo>
                    <a:pt x="1962" y="978"/>
                  </a:lnTo>
                  <a:lnTo>
                    <a:pt x="1968" y="978"/>
                  </a:lnTo>
                  <a:lnTo>
                    <a:pt x="1974" y="978"/>
                  </a:lnTo>
                  <a:lnTo>
                    <a:pt x="1980" y="972"/>
                  </a:lnTo>
                  <a:lnTo>
                    <a:pt x="1980" y="978"/>
                  </a:lnTo>
                  <a:lnTo>
                    <a:pt x="1980" y="984"/>
                  </a:lnTo>
                  <a:lnTo>
                    <a:pt x="1986" y="984"/>
                  </a:lnTo>
                  <a:lnTo>
                    <a:pt x="1992" y="990"/>
                  </a:lnTo>
                  <a:lnTo>
                    <a:pt x="1992" y="996"/>
                  </a:lnTo>
                  <a:lnTo>
                    <a:pt x="1992" y="1002"/>
                  </a:lnTo>
                  <a:lnTo>
                    <a:pt x="1974" y="1008"/>
                  </a:lnTo>
                  <a:lnTo>
                    <a:pt x="1974" y="1014"/>
                  </a:lnTo>
                  <a:lnTo>
                    <a:pt x="1974" y="1020"/>
                  </a:lnTo>
                  <a:lnTo>
                    <a:pt x="1974" y="1026"/>
                  </a:lnTo>
                  <a:lnTo>
                    <a:pt x="1968" y="1038"/>
                  </a:lnTo>
                  <a:lnTo>
                    <a:pt x="1968" y="1044"/>
                  </a:lnTo>
                  <a:lnTo>
                    <a:pt x="1974" y="1056"/>
                  </a:lnTo>
                  <a:lnTo>
                    <a:pt x="1968" y="1062"/>
                  </a:lnTo>
                  <a:lnTo>
                    <a:pt x="1962" y="1062"/>
                  </a:lnTo>
                  <a:lnTo>
                    <a:pt x="1956" y="1068"/>
                  </a:lnTo>
                  <a:lnTo>
                    <a:pt x="1956" y="1074"/>
                  </a:lnTo>
                  <a:lnTo>
                    <a:pt x="1956" y="1080"/>
                  </a:lnTo>
                  <a:lnTo>
                    <a:pt x="1956" y="1086"/>
                  </a:lnTo>
                  <a:lnTo>
                    <a:pt x="1956" y="1092"/>
                  </a:lnTo>
                  <a:lnTo>
                    <a:pt x="1962" y="1092"/>
                  </a:lnTo>
                  <a:lnTo>
                    <a:pt x="1962" y="1104"/>
                  </a:lnTo>
                  <a:lnTo>
                    <a:pt x="1968" y="1110"/>
                  </a:lnTo>
                  <a:lnTo>
                    <a:pt x="1968" y="1116"/>
                  </a:lnTo>
                  <a:lnTo>
                    <a:pt x="1974" y="1116"/>
                  </a:lnTo>
                  <a:lnTo>
                    <a:pt x="1974" y="1122"/>
                  </a:lnTo>
                  <a:lnTo>
                    <a:pt x="1980" y="1122"/>
                  </a:lnTo>
                  <a:lnTo>
                    <a:pt x="1974" y="1128"/>
                  </a:lnTo>
                  <a:lnTo>
                    <a:pt x="1968" y="1134"/>
                  </a:lnTo>
                  <a:lnTo>
                    <a:pt x="1962" y="1140"/>
                  </a:lnTo>
                  <a:lnTo>
                    <a:pt x="1962" y="1146"/>
                  </a:lnTo>
                  <a:lnTo>
                    <a:pt x="1968" y="1152"/>
                  </a:lnTo>
                  <a:lnTo>
                    <a:pt x="1968" y="1158"/>
                  </a:lnTo>
                  <a:lnTo>
                    <a:pt x="1962" y="1158"/>
                  </a:lnTo>
                  <a:lnTo>
                    <a:pt x="1962" y="1164"/>
                  </a:lnTo>
                  <a:lnTo>
                    <a:pt x="1956" y="1164"/>
                  </a:lnTo>
                  <a:lnTo>
                    <a:pt x="1956" y="1170"/>
                  </a:lnTo>
                  <a:lnTo>
                    <a:pt x="1944" y="1182"/>
                  </a:lnTo>
                  <a:lnTo>
                    <a:pt x="1944" y="1188"/>
                  </a:lnTo>
                  <a:lnTo>
                    <a:pt x="1950" y="1188"/>
                  </a:lnTo>
                  <a:lnTo>
                    <a:pt x="1944" y="1200"/>
                  </a:lnTo>
                  <a:lnTo>
                    <a:pt x="1944" y="1206"/>
                  </a:lnTo>
                  <a:lnTo>
                    <a:pt x="1944" y="1212"/>
                  </a:lnTo>
                  <a:lnTo>
                    <a:pt x="1944" y="1218"/>
                  </a:lnTo>
                  <a:lnTo>
                    <a:pt x="1944" y="1230"/>
                  </a:lnTo>
                  <a:lnTo>
                    <a:pt x="1944" y="1236"/>
                  </a:lnTo>
                  <a:lnTo>
                    <a:pt x="1944" y="1242"/>
                  </a:lnTo>
                  <a:lnTo>
                    <a:pt x="1938" y="1248"/>
                  </a:lnTo>
                  <a:lnTo>
                    <a:pt x="1938" y="1254"/>
                  </a:lnTo>
                  <a:lnTo>
                    <a:pt x="1932" y="1254"/>
                  </a:lnTo>
                  <a:lnTo>
                    <a:pt x="1926" y="1260"/>
                  </a:lnTo>
                  <a:lnTo>
                    <a:pt x="1920" y="1266"/>
                  </a:lnTo>
                  <a:lnTo>
                    <a:pt x="1914" y="1272"/>
                  </a:lnTo>
                  <a:lnTo>
                    <a:pt x="1908" y="1272"/>
                  </a:lnTo>
                  <a:lnTo>
                    <a:pt x="1908" y="1278"/>
                  </a:lnTo>
                  <a:lnTo>
                    <a:pt x="1914" y="1278"/>
                  </a:lnTo>
                  <a:lnTo>
                    <a:pt x="1914" y="1290"/>
                  </a:lnTo>
                  <a:lnTo>
                    <a:pt x="1920" y="1296"/>
                  </a:lnTo>
                  <a:lnTo>
                    <a:pt x="1938" y="1302"/>
                  </a:lnTo>
                  <a:lnTo>
                    <a:pt x="1944" y="1308"/>
                  </a:lnTo>
                  <a:lnTo>
                    <a:pt x="1950" y="1314"/>
                  </a:lnTo>
                  <a:lnTo>
                    <a:pt x="1956" y="1314"/>
                  </a:lnTo>
                  <a:lnTo>
                    <a:pt x="1962" y="1320"/>
                  </a:lnTo>
                  <a:lnTo>
                    <a:pt x="1962" y="1326"/>
                  </a:lnTo>
                  <a:lnTo>
                    <a:pt x="1968" y="1326"/>
                  </a:lnTo>
                  <a:lnTo>
                    <a:pt x="1968" y="1332"/>
                  </a:lnTo>
                  <a:lnTo>
                    <a:pt x="1968" y="1344"/>
                  </a:lnTo>
                  <a:lnTo>
                    <a:pt x="1968" y="1350"/>
                  </a:lnTo>
                  <a:lnTo>
                    <a:pt x="1968" y="1368"/>
                  </a:lnTo>
                  <a:lnTo>
                    <a:pt x="1962" y="1380"/>
                  </a:lnTo>
                  <a:lnTo>
                    <a:pt x="1968" y="1392"/>
                  </a:lnTo>
                  <a:lnTo>
                    <a:pt x="1962" y="1398"/>
                  </a:lnTo>
                  <a:lnTo>
                    <a:pt x="1956" y="1404"/>
                  </a:lnTo>
                  <a:lnTo>
                    <a:pt x="1950" y="1410"/>
                  </a:lnTo>
                  <a:lnTo>
                    <a:pt x="1944" y="1410"/>
                  </a:lnTo>
                  <a:lnTo>
                    <a:pt x="1932" y="1416"/>
                  </a:lnTo>
                  <a:lnTo>
                    <a:pt x="1926" y="1416"/>
                  </a:lnTo>
                  <a:lnTo>
                    <a:pt x="1896" y="1428"/>
                  </a:lnTo>
                  <a:lnTo>
                    <a:pt x="1884" y="1434"/>
                  </a:lnTo>
                  <a:lnTo>
                    <a:pt x="1878" y="1434"/>
                  </a:lnTo>
                  <a:lnTo>
                    <a:pt x="1866" y="1434"/>
                  </a:lnTo>
                  <a:lnTo>
                    <a:pt x="1854" y="1440"/>
                  </a:lnTo>
                  <a:lnTo>
                    <a:pt x="1848" y="1440"/>
                  </a:lnTo>
                  <a:lnTo>
                    <a:pt x="1842" y="1446"/>
                  </a:lnTo>
                  <a:lnTo>
                    <a:pt x="1842" y="1458"/>
                  </a:lnTo>
                  <a:lnTo>
                    <a:pt x="1836" y="1470"/>
                  </a:lnTo>
                  <a:lnTo>
                    <a:pt x="1830" y="1476"/>
                  </a:lnTo>
                  <a:lnTo>
                    <a:pt x="1824" y="1476"/>
                  </a:lnTo>
                  <a:lnTo>
                    <a:pt x="1806" y="1482"/>
                  </a:lnTo>
                  <a:lnTo>
                    <a:pt x="1800" y="1488"/>
                  </a:lnTo>
                  <a:lnTo>
                    <a:pt x="1794" y="1488"/>
                  </a:lnTo>
                  <a:lnTo>
                    <a:pt x="1788" y="1488"/>
                  </a:lnTo>
                  <a:lnTo>
                    <a:pt x="1776" y="1494"/>
                  </a:lnTo>
                  <a:lnTo>
                    <a:pt x="1764" y="1494"/>
                  </a:lnTo>
                  <a:lnTo>
                    <a:pt x="1758" y="1500"/>
                  </a:lnTo>
                  <a:lnTo>
                    <a:pt x="1746" y="1506"/>
                  </a:lnTo>
                  <a:lnTo>
                    <a:pt x="1728" y="1518"/>
                  </a:lnTo>
                  <a:lnTo>
                    <a:pt x="1716" y="1524"/>
                  </a:lnTo>
                  <a:lnTo>
                    <a:pt x="1710" y="1530"/>
                  </a:lnTo>
                  <a:lnTo>
                    <a:pt x="1704" y="1536"/>
                  </a:lnTo>
                  <a:lnTo>
                    <a:pt x="1698" y="1542"/>
                  </a:lnTo>
                  <a:lnTo>
                    <a:pt x="1692" y="1554"/>
                  </a:lnTo>
                  <a:lnTo>
                    <a:pt x="1686" y="1560"/>
                  </a:lnTo>
                  <a:lnTo>
                    <a:pt x="1680" y="1560"/>
                  </a:lnTo>
                  <a:lnTo>
                    <a:pt x="1674" y="1560"/>
                  </a:lnTo>
                  <a:lnTo>
                    <a:pt x="1656" y="1572"/>
                  </a:lnTo>
                  <a:lnTo>
                    <a:pt x="1650" y="1572"/>
                  </a:lnTo>
                  <a:lnTo>
                    <a:pt x="1644" y="1572"/>
                  </a:lnTo>
                  <a:lnTo>
                    <a:pt x="1638" y="1578"/>
                  </a:lnTo>
                  <a:lnTo>
                    <a:pt x="1632" y="1578"/>
                  </a:lnTo>
                  <a:lnTo>
                    <a:pt x="1626" y="1578"/>
                  </a:lnTo>
                  <a:lnTo>
                    <a:pt x="1620" y="1572"/>
                  </a:lnTo>
                  <a:lnTo>
                    <a:pt x="1614" y="1572"/>
                  </a:lnTo>
                  <a:lnTo>
                    <a:pt x="1608" y="1566"/>
                  </a:lnTo>
                  <a:lnTo>
                    <a:pt x="1602" y="1560"/>
                  </a:lnTo>
                  <a:lnTo>
                    <a:pt x="1596" y="1554"/>
                  </a:lnTo>
                  <a:lnTo>
                    <a:pt x="1590" y="1548"/>
                  </a:lnTo>
                  <a:lnTo>
                    <a:pt x="1578" y="1548"/>
                  </a:lnTo>
                  <a:lnTo>
                    <a:pt x="1572" y="1548"/>
                  </a:lnTo>
                  <a:lnTo>
                    <a:pt x="1566" y="1548"/>
                  </a:lnTo>
                  <a:lnTo>
                    <a:pt x="1554" y="1536"/>
                  </a:lnTo>
                  <a:lnTo>
                    <a:pt x="1548" y="1536"/>
                  </a:lnTo>
                  <a:lnTo>
                    <a:pt x="1542" y="1542"/>
                  </a:lnTo>
                  <a:lnTo>
                    <a:pt x="1536" y="1548"/>
                  </a:lnTo>
                  <a:lnTo>
                    <a:pt x="1536" y="1566"/>
                  </a:lnTo>
                  <a:lnTo>
                    <a:pt x="1530" y="1572"/>
                  </a:lnTo>
                  <a:lnTo>
                    <a:pt x="1524" y="1578"/>
                  </a:lnTo>
                  <a:lnTo>
                    <a:pt x="1518" y="1584"/>
                  </a:lnTo>
                  <a:lnTo>
                    <a:pt x="1512" y="1596"/>
                  </a:lnTo>
                  <a:lnTo>
                    <a:pt x="1506" y="1602"/>
                  </a:lnTo>
                  <a:lnTo>
                    <a:pt x="1506" y="1608"/>
                  </a:lnTo>
                  <a:lnTo>
                    <a:pt x="1506" y="1614"/>
                  </a:lnTo>
                  <a:lnTo>
                    <a:pt x="1500" y="1614"/>
                  </a:lnTo>
                  <a:lnTo>
                    <a:pt x="1500" y="1620"/>
                  </a:lnTo>
                  <a:lnTo>
                    <a:pt x="1500" y="1626"/>
                  </a:lnTo>
                  <a:lnTo>
                    <a:pt x="1494" y="1632"/>
                  </a:lnTo>
                  <a:lnTo>
                    <a:pt x="1488" y="1638"/>
                  </a:lnTo>
                  <a:lnTo>
                    <a:pt x="1482" y="1638"/>
                  </a:lnTo>
                  <a:lnTo>
                    <a:pt x="1482" y="1644"/>
                  </a:lnTo>
                  <a:lnTo>
                    <a:pt x="1482" y="1650"/>
                  </a:lnTo>
                  <a:lnTo>
                    <a:pt x="1482" y="1656"/>
                  </a:lnTo>
                  <a:lnTo>
                    <a:pt x="1476" y="1662"/>
                  </a:lnTo>
                  <a:lnTo>
                    <a:pt x="1470" y="1668"/>
                  </a:lnTo>
                  <a:lnTo>
                    <a:pt x="1464" y="1674"/>
                  </a:lnTo>
                  <a:lnTo>
                    <a:pt x="1464" y="1680"/>
                  </a:lnTo>
                  <a:lnTo>
                    <a:pt x="1458" y="1680"/>
                  </a:lnTo>
                  <a:lnTo>
                    <a:pt x="1452" y="1686"/>
                  </a:lnTo>
                  <a:lnTo>
                    <a:pt x="1446" y="1686"/>
                  </a:lnTo>
                  <a:lnTo>
                    <a:pt x="1440" y="1698"/>
                  </a:lnTo>
                  <a:lnTo>
                    <a:pt x="1440" y="1704"/>
                  </a:lnTo>
                  <a:lnTo>
                    <a:pt x="1434" y="1710"/>
                  </a:lnTo>
                  <a:lnTo>
                    <a:pt x="1434" y="1716"/>
                  </a:lnTo>
                  <a:lnTo>
                    <a:pt x="1428" y="1716"/>
                  </a:lnTo>
                  <a:lnTo>
                    <a:pt x="1428" y="1722"/>
                  </a:lnTo>
                  <a:lnTo>
                    <a:pt x="1428" y="1728"/>
                  </a:lnTo>
                  <a:lnTo>
                    <a:pt x="1422" y="1728"/>
                  </a:lnTo>
                  <a:lnTo>
                    <a:pt x="1422" y="1734"/>
                  </a:lnTo>
                  <a:lnTo>
                    <a:pt x="1416" y="1734"/>
                  </a:lnTo>
                  <a:lnTo>
                    <a:pt x="1410" y="1734"/>
                  </a:lnTo>
                  <a:lnTo>
                    <a:pt x="1392" y="1746"/>
                  </a:lnTo>
                  <a:lnTo>
                    <a:pt x="1386" y="1746"/>
                  </a:lnTo>
                  <a:lnTo>
                    <a:pt x="1368" y="1752"/>
                  </a:lnTo>
                  <a:lnTo>
                    <a:pt x="1362" y="1758"/>
                  </a:lnTo>
                  <a:lnTo>
                    <a:pt x="1362" y="1770"/>
                  </a:lnTo>
                  <a:lnTo>
                    <a:pt x="1356" y="178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</p:grpSp>
      <p:graphicFrame>
        <p:nvGraphicFramePr>
          <p:cNvPr id="357" name="Group 76">
            <a:extLst>
              <a:ext uri="{FF2B5EF4-FFF2-40B4-BE49-F238E27FC236}">
                <a16:creationId xmlns:a16="http://schemas.microsoft.com/office/drawing/2014/main" id="{57830D68-CF73-4A3E-9D36-141B03AADB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0526478"/>
              </p:ext>
            </p:extLst>
          </p:nvPr>
        </p:nvGraphicFramePr>
        <p:xfrm>
          <a:off x="541338" y="3402013"/>
          <a:ext cx="3735387" cy="1827306"/>
        </p:xfrm>
        <a:graphic>
          <a:graphicData uri="http://schemas.openxmlformats.org/drawingml/2006/table">
            <a:tbl>
              <a:tblPr/>
              <a:tblGrid>
                <a:gridCol w="1316931">
                  <a:extLst>
                    <a:ext uri="{9D8B030D-6E8A-4147-A177-3AD203B41FA5}">
                      <a16:colId xmlns:a16="http://schemas.microsoft.com/office/drawing/2014/main" val="2027704273"/>
                    </a:ext>
                  </a:extLst>
                </a:gridCol>
                <a:gridCol w="603796">
                  <a:extLst>
                    <a:ext uri="{9D8B030D-6E8A-4147-A177-3AD203B41FA5}">
                      <a16:colId xmlns:a16="http://schemas.microsoft.com/office/drawing/2014/main" val="3432768286"/>
                    </a:ext>
                  </a:extLst>
                </a:gridCol>
                <a:gridCol w="744015">
                  <a:extLst>
                    <a:ext uri="{9D8B030D-6E8A-4147-A177-3AD203B41FA5}">
                      <a16:colId xmlns:a16="http://schemas.microsoft.com/office/drawing/2014/main" val="3730294207"/>
                    </a:ext>
                  </a:extLst>
                </a:gridCol>
                <a:gridCol w="1070645">
                  <a:extLst>
                    <a:ext uri="{9D8B030D-6E8A-4147-A177-3AD203B41FA5}">
                      <a16:colId xmlns:a16="http://schemas.microsoft.com/office/drawing/2014/main" val="2258321117"/>
                    </a:ext>
                  </a:extLst>
                </a:gridCol>
              </a:tblGrid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apital</a:t>
                      </a:r>
                      <a:endParaRPr kumimoji="0" lang="en-SG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292929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SG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Umuahi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703009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nd Are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4,900 km</a:t>
                      </a:r>
                      <a:r>
                        <a:rPr kumimoji="0" lang="en-US" altLang="en-US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5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603614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Population (2017E)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3,714,024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28 of 37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505851"/>
                  </a:ext>
                </a:extLst>
              </a:tr>
              <a:tr h="203024">
                <a:tc row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Dem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0-14: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,299,908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5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130093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5-64: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,228,414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60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387564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65+: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    185,701</a:t>
                      </a:r>
                      <a:r>
                        <a:rPr lang="en-US" altLang="en-US" sz="1000" b="0" baseline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  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[5%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38801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bour force 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,977,464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19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797882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limate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ropical </a:t>
                      </a:r>
                      <a:r>
                        <a:rPr kumimoji="0" lang="en-MY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savanna</a:t>
                      </a: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 and monsoon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3942226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op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Stony, humus and loamy soil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32899"/>
                  </a:ext>
                </a:extLst>
              </a:tr>
            </a:tbl>
          </a:graphicData>
        </a:graphic>
      </p:graphicFrame>
      <p:pic>
        <p:nvPicPr>
          <p:cNvPr id="23609" name="Picture 13">
            <a:extLst>
              <a:ext uri="{FF2B5EF4-FFF2-40B4-BE49-F238E27FC236}">
                <a16:creationId xmlns:a16="http://schemas.microsoft.com/office/drawing/2014/main" id="{952964D5-F0ED-4CAE-B71C-DB4A723FA5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0" y="3006725"/>
            <a:ext cx="1116013" cy="155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9" name="TextBox 378">
            <a:extLst>
              <a:ext uri="{FF2B5EF4-FFF2-40B4-BE49-F238E27FC236}">
                <a16:creationId xmlns:a16="http://schemas.microsoft.com/office/drawing/2014/main" id="{1B3FD4BF-4685-4C74-821F-10048D6246BF}"/>
              </a:ext>
            </a:extLst>
          </p:cNvPr>
          <p:cNvSpPr txBox="1"/>
          <p:nvPr/>
        </p:nvSpPr>
        <p:spPr>
          <a:xfrm>
            <a:off x="6124575" y="938213"/>
            <a:ext cx="3475038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mpetitive Advantages</a:t>
            </a: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455FE7A1-ADE5-4F7B-A489-00196671A53E}"/>
              </a:ext>
            </a:extLst>
          </p:cNvPr>
          <p:cNvSpPr/>
          <p:nvPr/>
        </p:nvSpPr>
        <p:spPr>
          <a:xfrm>
            <a:off x="4267248" y="1187511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14.9bn/$48.9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EBB25788-D073-4A78-9D6C-DF3836CFFFBB}"/>
              </a:ext>
            </a:extLst>
          </p:cNvPr>
          <p:cNvSpPr txBox="1"/>
          <p:nvPr/>
        </p:nvSpPr>
        <p:spPr>
          <a:xfrm>
            <a:off x="4267200" y="955675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GR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6F07DF39-553B-44F0-8864-1F897C2BD79A}"/>
              </a:ext>
            </a:extLst>
          </p:cNvPr>
          <p:cNvSpPr/>
          <p:nvPr/>
        </p:nvSpPr>
        <p:spPr>
          <a:xfrm>
            <a:off x="4267252" y="1809750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141bn/$462.3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2508695A-2D2C-45A3-80FE-9C2CB18200C2}"/>
              </a:ext>
            </a:extLst>
          </p:cNvPr>
          <p:cNvSpPr txBox="1"/>
          <p:nvPr/>
        </p:nvSpPr>
        <p:spPr>
          <a:xfrm>
            <a:off x="4267200" y="1576388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Budget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8)</a:t>
            </a: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86A33ABE-3AE3-40A7-A6A6-1B757A6A9B0F}"/>
              </a:ext>
            </a:extLst>
          </p:cNvPr>
          <p:cNvSpPr/>
          <p:nvPr/>
        </p:nvSpPr>
        <p:spPr>
          <a:xfrm>
            <a:off x="4256076" y="2667155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1.9tn /$6.2bn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1E919764-A18B-4532-A533-A84A31D7FEFE}"/>
              </a:ext>
            </a:extLst>
          </p:cNvPr>
          <p:cNvSpPr txBox="1"/>
          <p:nvPr/>
        </p:nvSpPr>
        <p:spPr>
          <a:xfrm>
            <a:off x="4256088" y="2185988"/>
            <a:ext cx="1811337" cy="50641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Household </a:t>
            </a:r>
          </a:p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nsumption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96" name="Plaque 95">
            <a:extLst>
              <a:ext uri="{FF2B5EF4-FFF2-40B4-BE49-F238E27FC236}">
                <a16:creationId xmlns:a16="http://schemas.microsoft.com/office/drawing/2014/main" id="{E3BE1182-17B4-4194-8641-F1EA2CCBB757}"/>
              </a:ext>
            </a:extLst>
          </p:cNvPr>
          <p:cNvSpPr/>
          <p:nvPr/>
        </p:nvSpPr>
        <p:spPr>
          <a:xfrm>
            <a:off x="5638800" y="2805162"/>
            <a:ext cx="428625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3 of 36</a:t>
            </a:r>
          </a:p>
        </p:txBody>
      </p:sp>
      <p:sp>
        <p:nvSpPr>
          <p:cNvPr id="99" name="Plaque 98">
            <a:extLst>
              <a:ext uri="{FF2B5EF4-FFF2-40B4-BE49-F238E27FC236}">
                <a16:creationId xmlns:a16="http://schemas.microsoft.com/office/drawing/2014/main" id="{8620E393-1C52-4CE1-9888-20922FA6DFEA}"/>
              </a:ext>
            </a:extLst>
          </p:cNvPr>
          <p:cNvSpPr/>
          <p:nvPr/>
        </p:nvSpPr>
        <p:spPr>
          <a:xfrm>
            <a:off x="5638800" y="1951087"/>
            <a:ext cx="428625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7 of 36</a:t>
            </a:r>
          </a:p>
        </p:txBody>
      </p:sp>
      <p:sp>
        <p:nvSpPr>
          <p:cNvPr id="100" name="Plaque 99">
            <a:extLst>
              <a:ext uri="{FF2B5EF4-FFF2-40B4-BE49-F238E27FC236}">
                <a16:creationId xmlns:a16="http://schemas.microsoft.com/office/drawing/2014/main" id="{3BFA6D28-9A42-4459-8BF1-090CE1B45216}"/>
              </a:ext>
            </a:extLst>
          </p:cNvPr>
          <p:cNvSpPr/>
          <p:nvPr/>
        </p:nvSpPr>
        <p:spPr>
          <a:xfrm>
            <a:off x="5638800" y="1333500"/>
            <a:ext cx="430213" cy="1539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latin typeface="Calibri" panose="020F0502020204030204" pitchFamily="34" charset="0"/>
                <a:cs typeface="Calibri" panose="020F0502020204030204" pitchFamily="34" charset="0"/>
              </a:rPr>
              <a:t>14 of 36</a:t>
            </a:r>
          </a:p>
        </p:txBody>
      </p:sp>
      <p:sp>
        <p:nvSpPr>
          <p:cNvPr id="101" name="Pentagon 19">
            <a:extLst>
              <a:ext uri="{FF2B5EF4-FFF2-40B4-BE49-F238E27FC236}">
                <a16:creationId xmlns:a16="http://schemas.microsoft.com/office/drawing/2014/main" id="{CCD74FA4-19D0-4356-90C9-B3B49BCC3F54}"/>
              </a:ext>
            </a:extLst>
          </p:cNvPr>
          <p:cNvSpPr>
            <a:spLocks/>
          </p:cNvSpPr>
          <p:nvPr/>
        </p:nvSpPr>
        <p:spPr bwMode="auto">
          <a:xfrm>
            <a:off x="688340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6 of 37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12EE735-1E43-4799-A46A-5D0787F375CE}"/>
              </a:ext>
            </a:extLst>
          </p:cNvPr>
          <p:cNvSpPr/>
          <p:nvPr/>
        </p:nvSpPr>
        <p:spPr>
          <a:xfrm>
            <a:off x="6880225" y="5726113"/>
            <a:ext cx="642938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Starting a Business</a:t>
            </a:r>
          </a:p>
        </p:txBody>
      </p:sp>
      <p:pic>
        <p:nvPicPr>
          <p:cNvPr id="23622" name="Picture 3">
            <a:extLst>
              <a:ext uri="{FF2B5EF4-FFF2-40B4-BE49-F238E27FC236}">
                <a16:creationId xmlns:a16="http://schemas.microsoft.com/office/drawing/2014/main" id="{53FAD0C6-8FFE-437B-B7E4-F2A938D3BE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350" y="5249863"/>
            <a:ext cx="41910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23" name="Freeform 15">
            <a:extLst>
              <a:ext uri="{FF2B5EF4-FFF2-40B4-BE49-F238E27FC236}">
                <a16:creationId xmlns:a16="http://schemas.microsoft.com/office/drawing/2014/main" id="{183A3C8B-011E-4D99-9165-3FF03A2D3207}"/>
              </a:ext>
            </a:extLst>
          </p:cNvPr>
          <p:cNvSpPr>
            <a:spLocks noEditPoints="1"/>
          </p:cNvSpPr>
          <p:nvPr/>
        </p:nvSpPr>
        <p:spPr bwMode="auto">
          <a:xfrm>
            <a:off x="9093200" y="5257800"/>
            <a:ext cx="276225" cy="347663"/>
          </a:xfrm>
          <a:custGeom>
            <a:avLst/>
            <a:gdLst>
              <a:gd name="T0" fmla="*/ 2147483646 w 3556"/>
              <a:gd name="T1" fmla="*/ 2147483646 h 3950"/>
              <a:gd name="T2" fmla="*/ 2147483646 w 3556"/>
              <a:gd name="T3" fmla="*/ 2147483646 h 3950"/>
              <a:gd name="T4" fmla="*/ 2147483646 w 3556"/>
              <a:gd name="T5" fmla="*/ 2147483646 h 3950"/>
              <a:gd name="T6" fmla="*/ 2147483646 w 3556"/>
              <a:gd name="T7" fmla="*/ 2147483646 h 3950"/>
              <a:gd name="T8" fmla="*/ 2147483646 w 3556"/>
              <a:gd name="T9" fmla="*/ 2147483646 h 3950"/>
              <a:gd name="T10" fmla="*/ 2147483646 w 3556"/>
              <a:gd name="T11" fmla="*/ 2147483646 h 3950"/>
              <a:gd name="T12" fmla="*/ 2147483646 w 3556"/>
              <a:gd name="T13" fmla="*/ 2147483646 h 3950"/>
              <a:gd name="T14" fmla="*/ 2147483646 w 3556"/>
              <a:gd name="T15" fmla="*/ 2147483646 h 3950"/>
              <a:gd name="T16" fmla="*/ 2147483646 w 3556"/>
              <a:gd name="T17" fmla="*/ 2147483646 h 3950"/>
              <a:gd name="T18" fmla="*/ 2147483646 w 3556"/>
              <a:gd name="T19" fmla="*/ 2147483646 h 3950"/>
              <a:gd name="T20" fmla="*/ 2147483646 w 3556"/>
              <a:gd name="T21" fmla="*/ 2147483646 h 3950"/>
              <a:gd name="T22" fmla="*/ 0 w 3556"/>
              <a:gd name="T23" fmla="*/ 2147483646 h 3950"/>
              <a:gd name="T24" fmla="*/ 2147483646 w 3556"/>
              <a:gd name="T25" fmla="*/ 2147483646 h 3950"/>
              <a:gd name="T26" fmla="*/ 2147483646 w 3556"/>
              <a:gd name="T27" fmla="*/ 2147483646 h 3950"/>
              <a:gd name="T28" fmla="*/ 2147483646 w 3556"/>
              <a:gd name="T29" fmla="*/ 2147483646 h 3950"/>
              <a:gd name="T30" fmla="*/ 2147483646 w 3556"/>
              <a:gd name="T31" fmla="*/ 2147483646 h 3950"/>
              <a:gd name="T32" fmla="*/ 2147483646 w 3556"/>
              <a:gd name="T33" fmla="*/ 2147483646 h 3950"/>
              <a:gd name="T34" fmla="*/ 2147483646 w 3556"/>
              <a:gd name="T35" fmla="*/ 2147483646 h 3950"/>
              <a:gd name="T36" fmla="*/ 2147483646 w 3556"/>
              <a:gd name="T37" fmla="*/ 2147483646 h 3950"/>
              <a:gd name="T38" fmla="*/ 2147483646 w 3556"/>
              <a:gd name="T39" fmla="*/ 2147483646 h 3950"/>
              <a:gd name="T40" fmla="*/ 2147483646 w 3556"/>
              <a:gd name="T41" fmla="*/ 2147483646 h 3950"/>
              <a:gd name="T42" fmla="*/ 2147483646 w 3556"/>
              <a:gd name="T43" fmla="*/ 2147483646 h 3950"/>
              <a:gd name="T44" fmla="*/ 2147483646 w 3556"/>
              <a:gd name="T45" fmla="*/ 2147483646 h 3950"/>
              <a:gd name="T46" fmla="*/ 2147483646 w 3556"/>
              <a:gd name="T47" fmla="*/ 2147483646 h 3950"/>
              <a:gd name="T48" fmla="*/ 2147483646 w 3556"/>
              <a:gd name="T49" fmla="*/ 2147483646 h 3950"/>
              <a:gd name="T50" fmla="*/ 2147483646 w 3556"/>
              <a:gd name="T51" fmla="*/ 2147483646 h 3950"/>
              <a:gd name="T52" fmla="*/ 2147483646 w 3556"/>
              <a:gd name="T53" fmla="*/ 2147483646 h 3950"/>
              <a:gd name="T54" fmla="*/ 2147483646 w 3556"/>
              <a:gd name="T55" fmla="*/ 2147483646 h 3950"/>
              <a:gd name="T56" fmla="*/ 2147483646 w 3556"/>
              <a:gd name="T57" fmla="*/ 2147483646 h 3950"/>
              <a:gd name="T58" fmla="*/ 2147483646 w 3556"/>
              <a:gd name="T59" fmla="*/ 2147483646 h 3950"/>
              <a:gd name="T60" fmla="*/ 2147483646 w 3556"/>
              <a:gd name="T61" fmla="*/ 2147483646 h 3950"/>
              <a:gd name="T62" fmla="*/ 2147483646 w 3556"/>
              <a:gd name="T63" fmla="*/ 2147483646 h 3950"/>
              <a:gd name="T64" fmla="*/ 2147483646 w 3556"/>
              <a:gd name="T65" fmla="*/ 2147483646 h 3950"/>
              <a:gd name="T66" fmla="*/ 2147483646 w 3556"/>
              <a:gd name="T67" fmla="*/ 2147483646 h 3950"/>
              <a:gd name="T68" fmla="*/ 2147483646 w 3556"/>
              <a:gd name="T69" fmla="*/ 2147483646 h 3950"/>
              <a:gd name="T70" fmla="*/ 2147483646 w 3556"/>
              <a:gd name="T71" fmla="*/ 2147483646 h 3950"/>
              <a:gd name="T72" fmla="*/ 2147483646 w 3556"/>
              <a:gd name="T73" fmla="*/ 2147483646 h 3950"/>
              <a:gd name="T74" fmla="*/ 2147483646 w 3556"/>
              <a:gd name="T75" fmla="*/ 2147483646 h 3950"/>
              <a:gd name="T76" fmla="*/ 2147483646 w 3556"/>
              <a:gd name="T77" fmla="*/ 2147483646 h 3950"/>
              <a:gd name="T78" fmla="*/ 2147483646 w 3556"/>
              <a:gd name="T79" fmla="*/ 2147483646 h 3950"/>
              <a:gd name="T80" fmla="*/ 2147483646 w 3556"/>
              <a:gd name="T81" fmla="*/ 0 h 3950"/>
              <a:gd name="T82" fmla="*/ 2147483646 w 3556"/>
              <a:gd name="T83" fmla="*/ 2147483646 h 3950"/>
              <a:gd name="T84" fmla="*/ 2147483646 w 3556"/>
              <a:gd name="T85" fmla="*/ 2147483646 h 3950"/>
              <a:gd name="T86" fmla="*/ 2147483646 w 3556"/>
              <a:gd name="T87" fmla="*/ 2147483646 h 395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556"/>
              <a:gd name="T133" fmla="*/ 0 h 3950"/>
              <a:gd name="T134" fmla="*/ 3556 w 3556"/>
              <a:gd name="T135" fmla="*/ 3950 h 395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556" h="3950">
                <a:moveTo>
                  <a:pt x="909" y="3917"/>
                </a:moveTo>
                <a:cubicBezTo>
                  <a:pt x="824" y="3832"/>
                  <a:pt x="894" y="3725"/>
                  <a:pt x="1036" y="3725"/>
                </a:cubicBezTo>
                <a:cubicBezTo>
                  <a:pt x="1119" y="3725"/>
                  <a:pt x="1129" y="3717"/>
                  <a:pt x="1129" y="3645"/>
                </a:cubicBezTo>
                <a:cubicBezTo>
                  <a:pt x="1129" y="3472"/>
                  <a:pt x="1135" y="3471"/>
                  <a:pt x="2192" y="3471"/>
                </a:cubicBezTo>
                <a:cubicBezTo>
                  <a:pt x="3086" y="3471"/>
                  <a:pt x="3155" y="3475"/>
                  <a:pt x="3199" y="3523"/>
                </a:cubicBezTo>
                <a:cubicBezTo>
                  <a:pt x="3225" y="3551"/>
                  <a:pt x="3246" y="3608"/>
                  <a:pt x="3246" y="3648"/>
                </a:cubicBezTo>
                <a:cubicBezTo>
                  <a:pt x="3246" y="3712"/>
                  <a:pt x="3259" y="3723"/>
                  <a:pt x="3349" y="3730"/>
                </a:cubicBezTo>
                <a:cubicBezTo>
                  <a:pt x="3470" y="3741"/>
                  <a:pt x="3530" y="3811"/>
                  <a:pt x="3482" y="3887"/>
                </a:cubicBezTo>
                <a:cubicBezTo>
                  <a:pt x="3453" y="3933"/>
                  <a:pt x="3356" y="3937"/>
                  <a:pt x="2197" y="3944"/>
                </a:cubicBezTo>
                <a:cubicBezTo>
                  <a:pt x="1245" y="3950"/>
                  <a:pt x="935" y="3943"/>
                  <a:pt x="909" y="3917"/>
                </a:cubicBezTo>
                <a:close/>
                <a:moveTo>
                  <a:pt x="87" y="3370"/>
                </a:moveTo>
                <a:cubicBezTo>
                  <a:pt x="24" y="3317"/>
                  <a:pt x="0" y="3272"/>
                  <a:pt x="0" y="3209"/>
                </a:cubicBezTo>
                <a:cubicBezTo>
                  <a:pt x="0" y="3132"/>
                  <a:pt x="86" y="3035"/>
                  <a:pt x="705" y="2414"/>
                </a:cubicBezTo>
                <a:lnTo>
                  <a:pt x="1411" y="1706"/>
                </a:lnTo>
                <a:lnTo>
                  <a:pt x="1235" y="1530"/>
                </a:lnTo>
                <a:lnTo>
                  <a:pt x="1059" y="1355"/>
                </a:lnTo>
                <a:lnTo>
                  <a:pt x="1510" y="903"/>
                </a:lnTo>
                <a:lnTo>
                  <a:pt x="1960" y="452"/>
                </a:lnTo>
                <a:lnTo>
                  <a:pt x="2135" y="624"/>
                </a:lnTo>
                <a:cubicBezTo>
                  <a:pt x="2305" y="793"/>
                  <a:pt x="2310" y="796"/>
                  <a:pt x="2374" y="751"/>
                </a:cubicBezTo>
                <a:cubicBezTo>
                  <a:pt x="2469" y="685"/>
                  <a:pt x="2547" y="695"/>
                  <a:pt x="2633" y="785"/>
                </a:cubicBezTo>
                <a:cubicBezTo>
                  <a:pt x="2720" y="875"/>
                  <a:pt x="2731" y="974"/>
                  <a:pt x="2662" y="1050"/>
                </a:cubicBezTo>
                <a:cubicBezTo>
                  <a:pt x="2616" y="1100"/>
                  <a:pt x="2624" y="1112"/>
                  <a:pt x="2823" y="1313"/>
                </a:cubicBezTo>
                <a:lnTo>
                  <a:pt x="3033" y="1524"/>
                </a:lnTo>
                <a:lnTo>
                  <a:pt x="2582" y="1975"/>
                </a:lnTo>
                <a:lnTo>
                  <a:pt x="2132" y="2427"/>
                </a:lnTo>
                <a:lnTo>
                  <a:pt x="1933" y="2229"/>
                </a:lnTo>
                <a:cubicBezTo>
                  <a:pt x="1824" y="2121"/>
                  <a:pt x="1722" y="2032"/>
                  <a:pt x="1707" y="2032"/>
                </a:cubicBezTo>
                <a:cubicBezTo>
                  <a:pt x="1693" y="2032"/>
                  <a:pt x="1362" y="2349"/>
                  <a:pt x="973" y="2737"/>
                </a:cubicBezTo>
                <a:cubicBezTo>
                  <a:pt x="584" y="3125"/>
                  <a:pt x="245" y="3443"/>
                  <a:pt x="220" y="3443"/>
                </a:cubicBezTo>
                <a:cubicBezTo>
                  <a:pt x="194" y="3443"/>
                  <a:pt x="135" y="3410"/>
                  <a:pt x="87" y="3370"/>
                </a:cubicBezTo>
                <a:close/>
                <a:moveTo>
                  <a:pt x="2258" y="2887"/>
                </a:moveTo>
                <a:cubicBezTo>
                  <a:pt x="2196" y="2865"/>
                  <a:pt x="2145" y="2792"/>
                  <a:pt x="2145" y="2725"/>
                </a:cubicBezTo>
                <a:cubicBezTo>
                  <a:pt x="2145" y="2686"/>
                  <a:pt x="2337" y="2474"/>
                  <a:pt x="2703" y="2109"/>
                </a:cubicBezTo>
                <a:cubicBezTo>
                  <a:pt x="3289" y="1523"/>
                  <a:pt x="3346" y="1485"/>
                  <a:pt x="3453" y="1604"/>
                </a:cubicBezTo>
                <a:cubicBezTo>
                  <a:pt x="3556" y="1717"/>
                  <a:pt x="3522" y="1766"/>
                  <a:pt x="2956" y="2331"/>
                </a:cubicBezTo>
                <a:cubicBezTo>
                  <a:pt x="2657" y="2630"/>
                  <a:pt x="2388" y="2880"/>
                  <a:pt x="2357" y="2888"/>
                </a:cubicBezTo>
                <a:cubicBezTo>
                  <a:pt x="2326" y="2895"/>
                  <a:pt x="2281" y="2895"/>
                  <a:pt x="2258" y="2887"/>
                </a:cubicBezTo>
                <a:close/>
                <a:moveTo>
                  <a:pt x="637" y="1282"/>
                </a:moveTo>
                <a:cubicBezTo>
                  <a:pt x="528" y="1172"/>
                  <a:pt x="568" y="1113"/>
                  <a:pt x="1137" y="544"/>
                </a:cubicBezTo>
                <a:cubicBezTo>
                  <a:pt x="1607" y="74"/>
                  <a:pt x="1693" y="0"/>
                  <a:pt x="1767" y="0"/>
                </a:cubicBezTo>
                <a:cubicBezTo>
                  <a:pt x="1862" y="0"/>
                  <a:pt x="1947" y="73"/>
                  <a:pt x="1947" y="156"/>
                </a:cubicBezTo>
                <a:cubicBezTo>
                  <a:pt x="1947" y="186"/>
                  <a:pt x="1715" y="442"/>
                  <a:pt x="1391" y="767"/>
                </a:cubicBezTo>
                <a:cubicBezTo>
                  <a:pt x="808" y="1353"/>
                  <a:pt x="749" y="1393"/>
                  <a:pt x="637" y="12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4" name="Group 118">
            <a:extLst>
              <a:ext uri="{FF2B5EF4-FFF2-40B4-BE49-F238E27FC236}">
                <a16:creationId xmlns:a16="http://schemas.microsoft.com/office/drawing/2014/main" id="{FB3D6A90-C4FD-433A-A1C1-A4B3864804A5}"/>
              </a:ext>
            </a:extLst>
          </p:cNvPr>
          <p:cNvGrpSpPr/>
          <p:nvPr/>
        </p:nvGrpSpPr>
        <p:grpSpPr>
          <a:xfrm>
            <a:off x="8409631" y="5248358"/>
            <a:ext cx="346498" cy="347472"/>
            <a:chOff x="1468138" y="5997240"/>
            <a:chExt cx="283642" cy="307072"/>
          </a:xfrm>
          <a:solidFill>
            <a:schemeClr val="bg1"/>
          </a:solidFill>
        </p:grpSpPr>
        <p:sp>
          <p:nvSpPr>
            <p:cNvPr id="120" name="Freeform 16">
              <a:extLst>
                <a:ext uri="{FF2B5EF4-FFF2-40B4-BE49-F238E27FC236}">
                  <a16:creationId xmlns:a16="http://schemas.microsoft.com/office/drawing/2014/main" id="{D6134FC8-4249-4088-8AE8-003C8AAC7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6136" y="6255221"/>
              <a:ext cx="26428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1 w 349"/>
                <a:gd name="T25" fmla="*/ 226 h 350"/>
                <a:gd name="T26" fmla="*/ 225 w 349"/>
                <a:gd name="T27" fmla="*/ 213 h 350"/>
                <a:gd name="T28" fmla="*/ 234 w 349"/>
                <a:gd name="T29" fmla="*/ 194 h 350"/>
                <a:gd name="T30" fmla="*/ 237 w 349"/>
                <a:gd name="T31" fmla="*/ 175 h 350"/>
                <a:gd name="T32" fmla="*/ 235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5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4 w 349"/>
                <a:gd name="T47" fmla="*/ 3 h 350"/>
                <a:gd name="T48" fmla="*/ 234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8 w 349"/>
                <a:gd name="T55" fmla="*/ 63 h 350"/>
                <a:gd name="T56" fmla="*/ 325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5 w 349"/>
                <a:gd name="T65" fmla="*/ 210 h 350"/>
                <a:gd name="T66" fmla="*/ 335 w 349"/>
                <a:gd name="T67" fmla="*/ 243 h 350"/>
                <a:gd name="T68" fmla="*/ 319 w 349"/>
                <a:gd name="T69" fmla="*/ 273 h 350"/>
                <a:gd name="T70" fmla="*/ 297 w 349"/>
                <a:gd name="T71" fmla="*/ 299 h 350"/>
                <a:gd name="T72" fmla="*/ 272 w 349"/>
                <a:gd name="T73" fmla="*/ 319 h 350"/>
                <a:gd name="T74" fmla="*/ 242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39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29 w 349"/>
                <a:gd name="T89" fmla="*/ 273 h 350"/>
                <a:gd name="T90" fmla="*/ 14 w 349"/>
                <a:gd name="T91" fmla="*/ 243 h 350"/>
                <a:gd name="T92" fmla="*/ 3 w 349"/>
                <a:gd name="T93" fmla="*/ 210 h 350"/>
                <a:gd name="T94" fmla="*/ 0 w 349"/>
                <a:gd name="T95" fmla="*/ 175 h 350"/>
                <a:gd name="T96" fmla="*/ 3 w 349"/>
                <a:gd name="T97" fmla="*/ 140 h 350"/>
                <a:gd name="T98" fmla="*/ 14 w 349"/>
                <a:gd name="T99" fmla="*/ 107 h 350"/>
                <a:gd name="T100" fmla="*/ 29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39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1" y="226"/>
                  </a:lnTo>
                  <a:lnTo>
                    <a:pt x="225" y="213"/>
                  </a:lnTo>
                  <a:lnTo>
                    <a:pt x="234" y="194"/>
                  </a:lnTo>
                  <a:lnTo>
                    <a:pt x="237" y="175"/>
                  </a:lnTo>
                  <a:lnTo>
                    <a:pt x="235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5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4" y="3"/>
                  </a:lnTo>
                  <a:lnTo>
                    <a:pt x="234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8" y="63"/>
                  </a:lnTo>
                  <a:lnTo>
                    <a:pt x="325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5" y="210"/>
                  </a:lnTo>
                  <a:lnTo>
                    <a:pt x="335" y="243"/>
                  </a:lnTo>
                  <a:lnTo>
                    <a:pt x="319" y="273"/>
                  </a:lnTo>
                  <a:lnTo>
                    <a:pt x="297" y="299"/>
                  </a:lnTo>
                  <a:lnTo>
                    <a:pt x="272" y="319"/>
                  </a:lnTo>
                  <a:lnTo>
                    <a:pt x="242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39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29" y="273"/>
                  </a:lnTo>
                  <a:lnTo>
                    <a:pt x="14" y="243"/>
                  </a:lnTo>
                  <a:lnTo>
                    <a:pt x="3" y="210"/>
                  </a:lnTo>
                  <a:lnTo>
                    <a:pt x="0" y="175"/>
                  </a:lnTo>
                  <a:lnTo>
                    <a:pt x="3" y="140"/>
                  </a:lnTo>
                  <a:lnTo>
                    <a:pt x="14" y="107"/>
                  </a:lnTo>
                  <a:lnTo>
                    <a:pt x="29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39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1" name="Freeform 17">
              <a:extLst>
                <a:ext uri="{FF2B5EF4-FFF2-40B4-BE49-F238E27FC236}">
                  <a16:creationId xmlns:a16="http://schemas.microsoft.com/office/drawing/2014/main" id="{67A5F0B0-C078-4A85-9E32-409FF0B3D5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2133" y="6255221"/>
              <a:ext cx="26656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2 w 349"/>
                <a:gd name="T25" fmla="*/ 226 h 350"/>
                <a:gd name="T26" fmla="*/ 226 w 349"/>
                <a:gd name="T27" fmla="*/ 213 h 350"/>
                <a:gd name="T28" fmla="*/ 235 w 349"/>
                <a:gd name="T29" fmla="*/ 194 h 350"/>
                <a:gd name="T30" fmla="*/ 237 w 349"/>
                <a:gd name="T31" fmla="*/ 175 h 350"/>
                <a:gd name="T32" fmla="*/ 236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7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5 w 349"/>
                <a:gd name="T47" fmla="*/ 3 h 350"/>
                <a:gd name="T48" fmla="*/ 235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9 w 349"/>
                <a:gd name="T55" fmla="*/ 63 h 350"/>
                <a:gd name="T56" fmla="*/ 326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6 w 349"/>
                <a:gd name="T65" fmla="*/ 210 h 350"/>
                <a:gd name="T66" fmla="*/ 336 w 349"/>
                <a:gd name="T67" fmla="*/ 243 h 350"/>
                <a:gd name="T68" fmla="*/ 319 w 349"/>
                <a:gd name="T69" fmla="*/ 273 h 350"/>
                <a:gd name="T70" fmla="*/ 298 w 349"/>
                <a:gd name="T71" fmla="*/ 299 h 350"/>
                <a:gd name="T72" fmla="*/ 272 w 349"/>
                <a:gd name="T73" fmla="*/ 319 h 350"/>
                <a:gd name="T74" fmla="*/ 243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40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30 w 349"/>
                <a:gd name="T89" fmla="*/ 273 h 350"/>
                <a:gd name="T90" fmla="*/ 14 w 349"/>
                <a:gd name="T91" fmla="*/ 243 h 350"/>
                <a:gd name="T92" fmla="*/ 4 w 349"/>
                <a:gd name="T93" fmla="*/ 210 h 350"/>
                <a:gd name="T94" fmla="*/ 0 w 349"/>
                <a:gd name="T95" fmla="*/ 175 h 350"/>
                <a:gd name="T96" fmla="*/ 4 w 349"/>
                <a:gd name="T97" fmla="*/ 140 h 350"/>
                <a:gd name="T98" fmla="*/ 14 w 349"/>
                <a:gd name="T99" fmla="*/ 107 h 350"/>
                <a:gd name="T100" fmla="*/ 30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40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7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7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5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19" y="273"/>
                  </a:lnTo>
                  <a:lnTo>
                    <a:pt x="298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2" name="Freeform 18">
              <a:extLst>
                <a:ext uri="{FF2B5EF4-FFF2-40B4-BE49-F238E27FC236}">
                  <a16:creationId xmlns:a16="http://schemas.microsoft.com/office/drawing/2014/main" id="{BF1784DA-3E40-44FD-998D-DB1DD379C0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8357" y="6255221"/>
              <a:ext cx="26428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7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1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7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8 w 350"/>
                <a:gd name="T31" fmla="*/ 175 h 350"/>
                <a:gd name="T32" fmla="*/ 236 w 350"/>
                <a:gd name="T33" fmla="*/ 158 h 350"/>
                <a:gd name="T34" fmla="*/ 229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7 w 350"/>
                <a:gd name="T53" fmla="*/ 41 h 350"/>
                <a:gd name="T54" fmla="*/ 309 w 350"/>
                <a:gd name="T55" fmla="*/ 63 h 350"/>
                <a:gd name="T56" fmla="*/ 326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2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7 w 350"/>
                <a:gd name="T85" fmla="*/ 319 h 350"/>
                <a:gd name="T86" fmla="*/ 51 w 350"/>
                <a:gd name="T87" fmla="*/ 299 h 350"/>
                <a:gd name="T88" fmla="*/ 30 w 350"/>
                <a:gd name="T89" fmla="*/ 273 h 350"/>
                <a:gd name="T90" fmla="*/ 14 w 350"/>
                <a:gd name="T91" fmla="*/ 243 h 350"/>
                <a:gd name="T92" fmla="*/ 4 w 350"/>
                <a:gd name="T93" fmla="*/ 210 h 350"/>
                <a:gd name="T94" fmla="*/ 0 w 350"/>
                <a:gd name="T95" fmla="*/ 175 h 350"/>
                <a:gd name="T96" fmla="*/ 4 w 350"/>
                <a:gd name="T97" fmla="*/ 140 h 350"/>
                <a:gd name="T98" fmla="*/ 14 w 350"/>
                <a:gd name="T99" fmla="*/ 107 h 350"/>
                <a:gd name="T100" fmla="*/ 30 w 350"/>
                <a:gd name="T101" fmla="*/ 78 h 350"/>
                <a:gd name="T102" fmla="*/ 51 w 350"/>
                <a:gd name="T103" fmla="*/ 52 h 350"/>
                <a:gd name="T104" fmla="*/ 77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8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3" name="Freeform 19">
              <a:extLst>
                <a:ext uri="{FF2B5EF4-FFF2-40B4-BE49-F238E27FC236}">
                  <a16:creationId xmlns:a16="http://schemas.microsoft.com/office/drawing/2014/main" id="{FF26547B-24B3-4108-8095-A2794E966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4353" y="6255221"/>
              <a:ext cx="26656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8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3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8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9 w 350"/>
                <a:gd name="T31" fmla="*/ 175 h 350"/>
                <a:gd name="T32" fmla="*/ 236 w 350"/>
                <a:gd name="T33" fmla="*/ 158 h 350"/>
                <a:gd name="T34" fmla="*/ 231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8 w 350"/>
                <a:gd name="T53" fmla="*/ 41 h 350"/>
                <a:gd name="T54" fmla="*/ 309 w 350"/>
                <a:gd name="T55" fmla="*/ 63 h 350"/>
                <a:gd name="T56" fmla="*/ 327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3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8 w 350"/>
                <a:gd name="T85" fmla="*/ 319 h 350"/>
                <a:gd name="T86" fmla="*/ 53 w 350"/>
                <a:gd name="T87" fmla="*/ 299 h 350"/>
                <a:gd name="T88" fmla="*/ 31 w 350"/>
                <a:gd name="T89" fmla="*/ 273 h 350"/>
                <a:gd name="T90" fmla="*/ 15 w 350"/>
                <a:gd name="T91" fmla="*/ 243 h 350"/>
                <a:gd name="T92" fmla="*/ 5 w 350"/>
                <a:gd name="T93" fmla="*/ 210 h 350"/>
                <a:gd name="T94" fmla="*/ 0 w 350"/>
                <a:gd name="T95" fmla="*/ 175 h 350"/>
                <a:gd name="T96" fmla="*/ 5 w 350"/>
                <a:gd name="T97" fmla="*/ 140 h 350"/>
                <a:gd name="T98" fmla="*/ 15 w 350"/>
                <a:gd name="T99" fmla="*/ 107 h 350"/>
                <a:gd name="T100" fmla="*/ 31 w 350"/>
                <a:gd name="T101" fmla="*/ 78 h 350"/>
                <a:gd name="T102" fmla="*/ 53 w 350"/>
                <a:gd name="T103" fmla="*/ 52 h 350"/>
                <a:gd name="T104" fmla="*/ 78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8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3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8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9" y="175"/>
                  </a:lnTo>
                  <a:lnTo>
                    <a:pt x="236" y="158"/>
                  </a:lnTo>
                  <a:lnTo>
                    <a:pt x="231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8" y="41"/>
                  </a:lnTo>
                  <a:lnTo>
                    <a:pt x="309" y="63"/>
                  </a:lnTo>
                  <a:lnTo>
                    <a:pt x="327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3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8" y="319"/>
                  </a:lnTo>
                  <a:lnTo>
                    <a:pt x="53" y="299"/>
                  </a:lnTo>
                  <a:lnTo>
                    <a:pt x="31" y="273"/>
                  </a:lnTo>
                  <a:lnTo>
                    <a:pt x="15" y="243"/>
                  </a:lnTo>
                  <a:lnTo>
                    <a:pt x="5" y="210"/>
                  </a:lnTo>
                  <a:lnTo>
                    <a:pt x="0" y="175"/>
                  </a:lnTo>
                  <a:lnTo>
                    <a:pt x="5" y="140"/>
                  </a:lnTo>
                  <a:lnTo>
                    <a:pt x="15" y="107"/>
                  </a:lnTo>
                  <a:lnTo>
                    <a:pt x="31" y="78"/>
                  </a:lnTo>
                  <a:lnTo>
                    <a:pt x="53" y="52"/>
                  </a:lnTo>
                  <a:lnTo>
                    <a:pt x="78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4" name="Freeform 20">
              <a:extLst>
                <a:ext uri="{FF2B5EF4-FFF2-40B4-BE49-F238E27FC236}">
                  <a16:creationId xmlns:a16="http://schemas.microsoft.com/office/drawing/2014/main" id="{6F553FA1-4728-401A-8C20-F18E165CA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80832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2 h 111"/>
                <a:gd name="T10" fmla="*/ 168 w 171"/>
                <a:gd name="T11" fmla="*/ 37 h 111"/>
                <a:gd name="T12" fmla="*/ 171 w 171"/>
                <a:gd name="T13" fmla="*/ 55 h 111"/>
                <a:gd name="T14" fmla="*/ 168 w 171"/>
                <a:gd name="T15" fmla="*/ 72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8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8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2 h 111"/>
                <a:gd name="T34" fmla="*/ 0 w 171"/>
                <a:gd name="T35" fmla="*/ 55 h 111"/>
                <a:gd name="T36" fmla="*/ 2 w 171"/>
                <a:gd name="T37" fmla="*/ 37 h 111"/>
                <a:gd name="T38" fmla="*/ 10 w 171"/>
                <a:gd name="T39" fmla="*/ 22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2"/>
                  </a:lnTo>
                  <a:lnTo>
                    <a:pt x="168" y="37"/>
                  </a:lnTo>
                  <a:lnTo>
                    <a:pt x="171" y="55"/>
                  </a:lnTo>
                  <a:lnTo>
                    <a:pt x="168" y="72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8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8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2"/>
                  </a:lnTo>
                  <a:lnTo>
                    <a:pt x="0" y="55"/>
                  </a:lnTo>
                  <a:lnTo>
                    <a:pt x="2" y="37"/>
                  </a:lnTo>
                  <a:lnTo>
                    <a:pt x="10" y="22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5" name="Freeform 21">
              <a:extLst>
                <a:ext uri="{FF2B5EF4-FFF2-40B4-BE49-F238E27FC236}">
                  <a16:creationId xmlns:a16="http://schemas.microsoft.com/office/drawing/2014/main" id="{2A783787-5E9B-43C9-9BF4-073950C97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95860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3 h 111"/>
                <a:gd name="T10" fmla="*/ 168 w 171"/>
                <a:gd name="T11" fmla="*/ 38 h 111"/>
                <a:gd name="T12" fmla="*/ 171 w 171"/>
                <a:gd name="T13" fmla="*/ 55 h 111"/>
                <a:gd name="T14" fmla="*/ 168 w 171"/>
                <a:gd name="T15" fmla="*/ 74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9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9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4 h 111"/>
                <a:gd name="T34" fmla="*/ 0 w 171"/>
                <a:gd name="T35" fmla="*/ 55 h 111"/>
                <a:gd name="T36" fmla="*/ 2 w 171"/>
                <a:gd name="T37" fmla="*/ 38 h 111"/>
                <a:gd name="T38" fmla="*/ 10 w 171"/>
                <a:gd name="T39" fmla="*/ 23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3"/>
                  </a:lnTo>
                  <a:lnTo>
                    <a:pt x="168" y="38"/>
                  </a:lnTo>
                  <a:lnTo>
                    <a:pt x="171" y="55"/>
                  </a:lnTo>
                  <a:lnTo>
                    <a:pt x="168" y="74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9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9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4"/>
                  </a:lnTo>
                  <a:lnTo>
                    <a:pt x="0" y="55"/>
                  </a:lnTo>
                  <a:lnTo>
                    <a:pt x="2" y="38"/>
                  </a:lnTo>
                  <a:lnTo>
                    <a:pt x="10" y="23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6" name="Freeform 22">
              <a:extLst>
                <a:ext uri="{FF2B5EF4-FFF2-40B4-BE49-F238E27FC236}">
                  <a16:creationId xmlns:a16="http://schemas.microsoft.com/office/drawing/2014/main" id="{6465D05A-ED22-49B3-924E-6DFC4C8C8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8138" y="5997240"/>
              <a:ext cx="283642" cy="307072"/>
            </a:xfrm>
            <a:custGeom>
              <a:avLst/>
              <a:gdLst>
                <a:gd name="T0" fmla="*/ 185 w 3736"/>
                <a:gd name="T1" fmla="*/ 3069 h 3678"/>
                <a:gd name="T2" fmla="*/ 125 w 3736"/>
                <a:gd name="T3" fmla="*/ 3352 h 3678"/>
                <a:gd name="T4" fmla="*/ 325 w 3736"/>
                <a:gd name="T5" fmla="*/ 3554 h 3678"/>
                <a:gd name="T6" fmla="*/ 2002 w 3736"/>
                <a:gd name="T7" fmla="*/ 3518 h 3678"/>
                <a:gd name="T8" fmla="*/ 2140 w 3736"/>
                <a:gd name="T9" fmla="*/ 3266 h 3678"/>
                <a:gd name="T10" fmla="*/ 2002 w 3736"/>
                <a:gd name="T11" fmla="*/ 3013 h 3678"/>
                <a:gd name="T12" fmla="*/ 943 w 3736"/>
                <a:gd name="T13" fmla="*/ 2853 h 3678"/>
                <a:gd name="T14" fmla="*/ 2970 w 3736"/>
                <a:gd name="T15" fmla="*/ 2765 h 3678"/>
                <a:gd name="T16" fmla="*/ 3240 w 3736"/>
                <a:gd name="T17" fmla="*/ 2787 h 3678"/>
                <a:gd name="T18" fmla="*/ 3506 w 3736"/>
                <a:gd name="T19" fmla="*/ 2599 h 3678"/>
                <a:gd name="T20" fmla="*/ 302 w 3736"/>
                <a:gd name="T21" fmla="*/ 2099 h 3678"/>
                <a:gd name="T22" fmla="*/ 333 w 3736"/>
                <a:gd name="T23" fmla="*/ 2613 h 3678"/>
                <a:gd name="T24" fmla="*/ 3524 w 3736"/>
                <a:gd name="T25" fmla="*/ 1966 h 3678"/>
                <a:gd name="T26" fmla="*/ 3542 w 3736"/>
                <a:gd name="T27" fmla="*/ 2077 h 3678"/>
                <a:gd name="T28" fmla="*/ 3622 w 3736"/>
                <a:gd name="T29" fmla="*/ 1998 h 3678"/>
                <a:gd name="T30" fmla="*/ 893 w 3736"/>
                <a:gd name="T31" fmla="*/ 1458 h 3678"/>
                <a:gd name="T32" fmla="*/ 1843 w 3736"/>
                <a:gd name="T33" fmla="*/ 2616 h 3678"/>
                <a:gd name="T34" fmla="*/ 1132 w 3736"/>
                <a:gd name="T35" fmla="*/ 2414 h 3678"/>
                <a:gd name="T36" fmla="*/ 954 w 3736"/>
                <a:gd name="T37" fmla="*/ 2256 h 3678"/>
                <a:gd name="T38" fmla="*/ 1082 w 3736"/>
                <a:gd name="T39" fmla="*/ 2271 h 3678"/>
                <a:gd name="T40" fmla="*/ 1271 w 3736"/>
                <a:gd name="T41" fmla="*/ 1557 h 3678"/>
                <a:gd name="T42" fmla="*/ 1360 w 3736"/>
                <a:gd name="T43" fmla="*/ 1601 h 3678"/>
                <a:gd name="T44" fmla="*/ 1958 w 3736"/>
                <a:gd name="T45" fmla="*/ 2171 h 3678"/>
                <a:gd name="T46" fmla="*/ 1525 w 3736"/>
                <a:gd name="T47" fmla="*/ 1457 h 3678"/>
                <a:gd name="T48" fmla="*/ 2749 w 3736"/>
                <a:gd name="T49" fmla="*/ 361 h 3678"/>
                <a:gd name="T50" fmla="*/ 3541 w 3736"/>
                <a:gd name="T51" fmla="*/ 1844 h 3678"/>
                <a:gd name="T52" fmla="*/ 1658 w 3736"/>
                <a:gd name="T53" fmla="*/ 1439 h 3678"/>
                <a:gd name="T54" fmla="*/ 2419 w 3736"/>
                <a:gd name="T55" fmla="*/ 427 h 3678"/>
                <a:gd name="T56" fmla="*/ 2498 w 3736"/>
                <a:gd name="T57" fmla="*/ 124 h 3678"/>
                <a:gd name="T58" fmla="*/ 2441 w 3736"/>
                <a:gd name="T59" fmla="*/ 287 h 3678"/>
                <a:gd name="T60" fmla="*/ 2599 w 3736"/>
                <a:gd name="T61" fmla="*/ 347 h 3678"/>
                <a:gd name="T62" fmla="*/ 2672 w 3736"/>
                <a:gd name="T63" fmla="*/ 256 h 3678"/>
                <a:gd name="T64" fmla="*/ 2625 w 3736"/>
                <a:gd name="T65" fmla="*/ 136 h 3678"/>
                <a:gd name="T66" fmla="*/ 2665 w 3736"/>
                <a:gd name="T67" fmla="*/ 28 h 3678"/>
                <a:gd name="T68" fmla="*/ 3734 w 3736"/>
                <a:gd name="T69" fmla="*/ 1986 h 3678"/>
                <a:gd name="T70" fmla="*/ 3646 w 3736"/>
                <a:gd name="T71" fmla="*/ 2170 h 3678"/>
                <a:gd name="T72" fmla="*/ 3580 w 3736"/>
                <a:gd name="T73" fmla="*/ 2724 h 3678"/>
                <a:gd name="T74" fmla="*/ 3180 w 3736"/>
                <a:gd name="T75" fmla="*/ 2918 h 3678"/>
                <a:gd name="T76" fmla="*/ 2865 w 3736"/>
                <a:gd name="T77" fmla="*/ 2826 h 3678"/>
                <a:gd name="T78" fmla="*/ 2459 w 3736"/>
                <a:gd name="T79" fmla="*/ 2397 h 3678"/>
                <a:gd name="T80" fmla="*/ 3431 w 3736"/>
                <a:gd name="T81" fmla="*/ 2200 h 3678"/>
                <a:gd name="T82" fmla="*/ 3506 w 3736"/>
                <a:gd name="T83" fmla="*/ 2183 h 3678"/>
                <a:gd name="T84" fmla="*/ 1983 w 3736"/>
                <a:gd name="T85" fmla="*/ 1926 h 3678"/>
                <a:gd name="T86" fmla="*/ 2073 w 3736"/>
                <a:gd name="T87" fmla="*/ 2433 h 3678"/>
                <a:gd name="T88" fmla="*/ 2059 w 3736"/>
                <a:gd name="T89" fmla="*/ 2469 h 3678"/>
                <a:gd name="T90" fmla="*/ 2043 w 3736"/>
                <a:gd name="T91" fmla="*/ 2482 h 3678"/>
                <a:gd name="T92" fmla="*/ 2024 w 3736"/>
                <a:gd name="T93" fmla="*/ 2489 h 3678"/>
                <a:gd name="T94" fmla="*/ 1942 w 3736"/>
                <a:gd name="T95" fmla="*/ 2705 h 3678"/>
                <a:gd name="T96" fmla="*/ 1890 w 3736"/>
                <a:gd name="T97" fmla="*/ 2857 h 3678"/>
                <a:gd name="T98" fmla="*/ 2177 w 3736"/>
                <a:gd name="T99" fmla="*/ 3030 h 3678"/>
                <a:gd name="T100" fmla="*/ 2238 w 3736"/>
                <a:gd name="T101" fmla="*/ 3367 h 3678"/>
                <a:gd name="T102" fmla="*/ 2032 w 3736"/>
                <a:gd name="T103" fmla="*/ 3630 h 3678"/>
                <a:gd name="T104" fmla="*/ 311 w 3736"/>
                <a:gd name="T105" fmla="*/ 3666 h 3678"/>
                <a:gd name="T106" fmla="*/ 49 w 3736"/>
                <a:gd name="T107" fmla="*/ 3460 h 3678"/>
                <a:gd name="T108" fmla="*/ 28 w 3736"/>
                <a:gd name="T109" fmla="*/ 3116 h 3678"/>
                <a:gd name="T110" fmla="*/ 263 w 3736"/>
                <a:gd name="T111" fmla="*/ 2882 h 3678"/>
                <a:gd name="T112" fmla="*/ 317 w 3736"/>
                <a:gd name="T113" fmla="*/ 2724 h 3678"/>
                <a:gd name="T114" fmla="*/ 178 w 3736"/>
                <a:gd name="T115" fmla="*/ 2553 h 3678"/>
                <a:gd name="T116" fmla="*/ 284 w 3736"/>
                <a:gd name="T117" fmla="*/ 1975 h 3678"/>
                <a:gd name="T118" fmla="*/ 740 w 3736"/>
                <a:gd name="T119" fmla="*/ 1477 h 3678"/>
                <a:gd name="T120" fmla="*/ 963 w 3736"/>
                <a:gd name="T121" fmla="*/ 1310 h 3678"/>
                <a:gd name="T122" fmla="*/ 2410 w 3736"/>
                <a:gd name="T123" fmla="*/ 48 h 3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6" h="3678">
                  <a:moveTo>
                    <a:pt x="413" y="2964"/>
                  </a:moveTo>
                  <a:lnTo>
                    <a:pt x="367" y="2968"/>
                  </a:lnTo>
                  <a:lnTo>
                    <a:pt x="325" y="2978"/>
                  </a:lnTo>
                  <a:lnTo>
                    <a:pt x="286" y="2993"/>
                  </a:lnTo>
                  <a:lnTo>
                    <a:pt x="248" y="3013"/>
                  </a:lnTo>
                  <a:lnTo>
                    <a:pt x="215" y="3039"/>
                  </a:lnTo>
                  <a:lnTo>
                    <a:pt x="185" y="3069"/>
                  </a:lnTo>
                  <a:lnTo>
                    <a:pt x="160" y="3102"/>
                  </a:lnTo>
                  <a:lnTo>
                    <a:pt x="139" y="3139"/>
                  </a:lnTo>
                  <a:lnTo>
                    <a:pt x="125" y="3179"/>
                  </a:lnTo>
                  <a:lnTo>
                    <a:pt x="114" y="3222"/>
                  </a:lnTo>
                  <a:lnTo>
                    <a:pt x="111" y="3266"/>
                  </a:lnTo>
                  <a:lnTo>
                    <a:pt x="114" y="3310"/>
                  </a:lnTo>
                  <a:lnTo>
                    <a:pt x="125" y="3352"/>
                  </a:lnTo>
                  <a:lnTo>
                    <a:pt x="139" y="3393"/>
                  </a:lnTo>
                  <a:lnTo>
                    <a:pt x="160" y="3430"/>
                  </a:lnTo>
                  <a:lnTo>
                    <a:pt x="185" y="3464"/>
                  </a:lnTo>
                  <a:lnTo>
                    <a:pt x="215" y="3493"/>
                  </a:lnTo>
                  <a:lnTo>
                    <a:pt x="248" y="3518"/>
                  </a:lnTo>
                  <a:lnTo>
                    <a:pt x="286" y="3538"/>
                  </a:lnTo>
                  <a:lnTo>
                    <a:pt x="325" y="3554"/>
                  </a:lnTo>
                  <a:lnTo>
                    <a:pt x="367" y="3563"/>
                  </a:lnTo>
                  <a:lnTo>
                    <a:pt x="413" y="3567"/>
                  </a:lnTo>
                  <a:lnTo>
                    <a:pt x="1838" y="3567"/>
                  </a:lnTo>
                  <a:lnTo>
                    <a:pt x="1882" y="3563"/>
                  </a:lnTo>
                  <a:lnTo>
                    <a:pt x="1925" y="3554"/>
                  </a:lnTo>
                  <a:lnTo>
                    <a:pt x="1965" y="3538"/>
                  </a:lnTo>
                  <a:lnTo>
                    <a:pt x="2002" y="3518"/>
                  </a:lnTo>
                  <a:lnTo>
                    <a:pt x="2035" y="3493"/>
                  </a:lnTo>
                  <a:lnTo>
                    <a:pt x="2065" y="3464"/>
                  </a:lnTo>
                  <a:lnTo>
                    <a:pt x="2091" y="3430"/>
                  </a:lnTo>
                  <a:lnTo>
                    <a:pt x="2111" y="3393"/>
                  </a:lnTo>
                  <a:lnTo>
                    <a:pt x="2126" y="3352"/>
                  </a:lnTo>
                  <a:lnTo>
                    <a:pt x="2136" y="3310"/>
                  </a:lnTo>
                  <a:lnTo>
                    <a:pt x="2140" y="3266"/>
                  </a:lnTo>
                  <a:lnTo>
                    <a:pt x="2136" y="3222"/>
                  </a:lnTo>
                  <a:lnTo>
                    <a:pt x="2126" y="3179"/>
                  </a:lnTo>
                  <a:lnTo>
                    <a:pt x="2111" y="3139"/>
                  </a:lnTo>
                  <a:lnTo>
                    <a:pt x="2091" y="3102"/>
                  </a:lnTo>
                  <a:lnTo>
                    <a:pt x="2065" y="3069"/>
                  </a:lnTo>
                  <a:lnTo>
                    <a:pt x="2035" y="3039"/>
                  </a:lnTo>
                  <a:lnTo>
                    <a:pt x="2002" y="3013"/>
                  </a:lnTo>
                  <a:lnTo>
                    <a:pt x="1965" y="2993"/>
                  </a:lnTo>
                  <a:lnTo>
                    <a:pt x="1925" y="2978"/>
                  </a:lnTo>
                  <a:lnTo>
                    <a:pt x="1882" y="2968"/>
                  </a:lnTo>
                  <a:lnTo>
                    <a:pt x="1838" y="2964"/>
                  </a:lnTo>
                  <a:lnTo>
                    <a:pt x="413" y="2964"/>
                  </a:lnTo>
                  <a:close/>
                  <a:moveTo>
                    <a:pt x="943" y="2727"/>
                  </a:moveTo>
                  <a:lnTo>
                    <a:pt x="943" y="2853"/>
                  </a:lnTo>
                  <a:lnTo>
                    <a:pt x="1307" y="2853"/>
                  </a:lnTo>
                  <a:lnTo>
                    <a:pt x="1307" y="2727"/>
                  </a:lnTo>
                  <a:lnTo>
                    <a:pt x="943" y="2727"/>
                  </a:lnTo>
                  <a:close/>
                  <a:moveTo>
                    <a:pt x="3407" y="2328"/>
                  </a:moveTo>
                  <a:lnTo>
                    <a:pt x="2754" y="2590"/>
                  </a:lnTo>
                  <a:lnTo>
                    <a:pt x="2936" y="2741"/>
                  </a:lnTo>
                  <a:lnTo>
                    <a:pt x="2970" y="2765"/>
                  </a:lnTo>
                  <a:lnTo>
                    <a:pt x="3005" y="2783"/>
                  </a:lnTo>
                  <a:lnTo>
                    <a:pt x="3042" y="2797"/>
                  </a:lnTo>
                  <a:lnTo>
                    <a:pt x="3081" y="2806"/>
                  </a:lnTo>
                  <a:lnTo>
                    <a:pt x="3121" y="2809"/>
                  </a:lnTo>
                  <a:lnTo>
                    <a:pt x="3161" y="2808"/>
                  </a:lnTo>
                  <a:lnTo>
                    <a:pt x="3201" y="2800"/>
                  </a:lnTo>
                  <a:lnTo>
                    <a:pt x="3240" y="2787"/>
                  </a:lnTo>
                  <a:lnTo>
                    <a:pt x="3429" y="2711"/>
                  </a:lnTo>
                  <a:lnTo>
                    <a:pt x="3452" y="2700"/>
                  </a:lnTo>
                  <a:lnTo>
                    <a:pt x="3470" y="2684"/>
                  </a:lnTo>
                  <a:lnTo>
                    <a:pt x="3485" y="2666"/>
                  </a:lnTo>
                  <a:lnTo>
                    <a:pt x="3496" y="2646"/>
                  </a:lnTo>
                  <a:lnTo>
                    <a:pt x="3504" y="2623"/>
                  </a:lnTo>
                  <a:lnTo>
                    <a:pt x="3506" y="2599"/>
                  </a:lnTo>
                  <a:lnTo>
                    <a:pt x="3504" y="2575"/>
                  </a:lnTo>
                  <a:lnTo>
                    <a:pt x="3497" y="2551"/>
                  </a:lnTo>
                  <a:lnTo>
                    <a:pt x="3407" y="2328"/>
                  </a:lnTo>
                  <a:close/>
                  <a:moveTo>
                    <a:pt x="353" y="2073"/>
                  </a:moveTo>
                  <a:lnTo>
                    <a:pt x="333" y="2076"/>
                  </a:lnTo>
                  <a:lnTo>
                    <a:pt x="315" y="2085"/>
                  </a:lnTo>
                  <a:lnTo>
                    <a:pt x="302" y="2099"/>
                  </a:lnTo>
                  <a:lnTo>
                    <a:pt x="292" y="2116"/>
                  </a:lnTo>
                  <a:lnTo>
                    <a:pt x="289" y="2136"/>
                  </a:lnTo>
                  <a:lnTo>
                    <a:pt x="289" y="2553"/>
                  </a:lnTo>
                  <a:lnTo>
                    <a:pt x="292" y="2572"/>
                  </a:lnTo>
                  <a:lnTo>
                    <a:pt x="302" y="2590"/>
                  </a:lnTo>
                  <a:lnTo>
                    <a:pt x="315" y="2604"/>
                  </a:lnTo>
                  <a:lnTo>
                    <a:pt x="333" y="2613"/>
                  </a:lnTo>
                  <a:lnTo>
                    <a:pt x="353" y="2616"/>
                  </a:lnTo>
                  <a:lnTo>
                    <a:pt x="713" y="2616"/>
                  </a:lnTo>
                  <a:lnTo>
                    <a:pt x="713" y="2073"/>
                  </a:lnTo>
                  <a:lnTo>
                    <a:pt x="353" y="2073"/>
                  </a:lnTo>
                  <a:close/>
                  <a:moveTo>
                    <a:pt x="3562" y="1955"/>
                  </a:moveTo>
                  <a:lnTo>
                    <a:pt x="3542" y="1957"/>
                  </a:lnTo>
                  <a:lnTo>
                    <a:pt x="3524" y="1966"/>
                  </a:lnTo>
                  <a:lnTo>
                    <a:pt x="3511" y="1980"/>
                  </a:lnTo>
                  <a:lnTo>
                    <a:pt x="3502" y="1998"/>
                  </a:lnTo>
                  <a:lnTo>
                    <a:pt x="3498" y="2017"/>
                  </a:lnTo>
                  <a:lnTo>
                    <a:pt x="3502" y="2038"/>
                  </a:lnTo>
                  <a:lnTo>
                    <a:pt x="3511" y="2055"/>
                  </a:lnTo>
                  <a:lnTo>
                    <a:pt x="3524" y="2068"/>
                  </a:lnTo>
                  <a:lnTo>
                    <a:pt x="3542" y="2077"/>
                  </a:lnTo>
                  <a:lnTo>
                    <a:pt x="3562" y="2081"/>
                  </a:lnTo>
                  <a:lnTo>
                    <a:pt x="3582" y="2077"/>
                  </a:lnTo>
                  <a:lnTo>
                    <a:pt x="3599" y="2068"/>
                  </a:lnTo>
                  <a:lnTo>
                    <a:pt x="3613" y="2055"/>
                  </a:lnTo>
                  <a:lnTo>
                    <a:pt x="3622" y="2038"/>
                  </a:lnTo>
                  <a:lnTo>
                    <a:pt x="3625" y="2017"/>
                  </a:lnTo>
                  <a:lnTo>
                    <a:pt x="3622" y="1998"/>
                  </a:lnTo>
                  <a:lnTo>
                    <a:pt x="3613" y="1980"/>
                  </a:lnTo>
                  <a:lnTo>
                    <a:pt x="3599" y="1966"/>
                  </a:lnTo>
                  <a:lnTo>
                    <a:pt x="3582" y="1957"/>
                  </a:lnTo>
                  <a:lnTo>
                    <a:pt x="3562" y="1955"/>
                  </a:lnTo>
                  <a:close/>
                  <a:moveTo>
                    <a:pt x="950" y="1428"/>
                  </a:moveTo>
                  <a:lnTo>
                    <a:pt x="921" y="1441"/>
                  </a:lnTo>
                  <a:lnTo>
                    <a:pt x="893" y="1458"/>
                  </a:lnTo>
                  <a:lnTo>
                    <a:pt x="871" y="1481"/>
                  </a:lnTo>
                  <a:lnTo>
                    <a:pt x="851" y="1507"/>
                  </a:lnTo>
                  <a:lnTo>
                    <a:pt x="837" y="1536"/>
                  </a:lnTo>
                  <a:lnTo>
                    <a:pt x="828" y="1568"/>
                  </a:lnTo>
                  <a:lnTo>
                    <a:pt x="824" y="1601"/>
                  </a:lnTo>
                  <a:lnTo>
                    <a:pt x="824" y="2616"/>
                  </a:lnTo>
                  <a:lnTo>
                    <a:pt x="1843" y="2616"/>
                  </a:lnTo>
                  <a:lnTo>
                    <a:pt x="1843" y="2489"/>
                  </a:lnTo>
                  <a:lnTo>
                    <a:pt x="1556" y="2489"/>
                  </a:lnTo>
                  <a:lnTo>
                    <a:pt x="1468" y="2487"/>
                  </a:lnTo>
                  <a:lnTo>
                    <a:pt x="1382" y="2478"/>
                  </a:lnTo>
                  <a:lnTo>
                    <a:pt x="1297" y="2462"/>
                  </a:lnTo>
                  <a:lnTo>
                    <a:pt x="1213" y="2441"/>
                  </a:lnTo>
                  <a:lnTo>
                    <a:pt x="1132" y="2414"/>
                  </a:lnTo>
                  <a:lnTo>
                    <a:pt x="1050" y="2382"/>
                  </a:lnTo>
                  <a:lnTo>
                    <a:pt x="1026" y="2369"/>
                  </a:lnTo>
                  <a:lnTo>
                    <a:pt x="1005" y="2352"/>
                  </a:lnTo>
                  <a:lnTo>
                    <a:pt x="985" y="2331"/>
                  </a:lnTo>
                  <a:lnTo>
                    <a:pt x="971" y="2309"/>
                  </a:lnTo>
                  <a:lnTo>
                    <a:pt x="960" y="2284"/>
                  </a:lnTo>
                  <a:lnTo>
                    <a:pt x="954" y="2256"/>
                  </a:lnTo>
                  <a:lnTo>
                    <a:pt x="950" y="2228"/>
                  </a:lnTo>
                  <a:lnTo>
                    <a:pt x="950" y="1428"/>
                  </a:lnTo>
                  <a:close/>
                  <a:moveTo>
                    <a:pt x="1062" y="1419"/>
                  </a:moveTo>
                  <a:lnTo>
                    <a:pt x="1062" y="2228"/>
                  </a:lnTo>
                  <a:lnTo>
                    <a:pt x="1065" y="2245"/>
                  </a:lnTo>
                  <a:lnTo>
                    <a:pt x="1071" y="2259"/>
                  </a:lnTo>
                  <a:lnTo>
                    <a:pt x="1082" y="2271"/>
                  </a:lnTo>
                  <a:lnTo>
                    <a:pt x="1095" y="2280"/>
                  </a:lnTo>
                  <a:lnTo>
                    <a:pt x="1171" y="2311"/>
                  </a:lnTo>
                  <a:lnTo>
                    <a:pt x="1248" y="2335"/>
                  </a:lnTo>
                  <a:lnTo>
                    <a:pt x="1248" y="1601"/>
                  </a:lnTo>
                  <a:lnTo>
                    <a:pt x="1251" y="1584"/>
                  </a:lnTo>
                  <a:lnTo>
                    <a:pt x="1259" y="1568"/>
                  </a:lnTo>
                  <a:lnTo>
                    <a:pt x="1271" y="1557"/>
                  </a:lnTo>
                  <a:lnTo>
                    <a:pt x="1286" y="1549"/>
                  </a:lnTo>
                  <a:lnTo>
                    <a:pt x="1304" y="1545"/>
                  </a:lnTo>
                  <a:lnTo>
                    <a:pt x="1321" y="1549"/>
                  </a:lnTo>
                  <a:lnTo>
                    <a:pt x="1337" y="1557"/>
                  </a:lnTo>
                  <a:lnTo>
                    <a:pt x="1348" y="1568"/>
                  </a:lnTo>
                  <a:lnTo>
                    <a:pt x="1356" y="1584"/>
                  </a:lnTo>
                  <a:lnTo>
                    <a:pt x="1360" y="1601"/>
                  </a:lnTo>
                  <a:lnTo>
                    <a:pt x="1360" y="2361"/>
                  </a:lnTo>
                  <a:lnTo>
                    <a:pt x="1424" y="2370"/>
                  </a:lnTo>
                  <a:lnTo>
                    <a:pt x="1490" y="2376"/>
                  </a:lnTo>
                  <a:lnTo>
                    <a:pt x="1556" y="2378"/>
                  </a:lnTo>
                  <a:lnTo>
                    <a:pt x="1961" y="2378"/>
                  </a:lnTo>
                  <a:lnTo>
                    <a:pt x="1961" y="2221"/>
                  </a:lnTo>
                  <a:lnTo>
                    <a:pt x="1958" y="2171"/>
                  </a:lnTo>
                  <a:lnTo>
                    <a:pt x="1949" y="2123"/>
                  </a:lnTo>
                  <a:lnTo>
                    <a:pt x="1936" y="2076"/>
                  </a:lnTo>
                  <a:lnTo>
                    <a:pt x="1915" y="2031"/>
                  </a:lnTo>
                  <a:lnTo>
                    <a:pt x="1890" y="1988"/>
                  </a:lnTo>
                  <a:lnTo>
                    <a:pt x="1566" y="1500"/>
                  </a:lnTo>
                  <a:lnTo>
                    <a:pt x="1547" y="1477"/>
                  </a:lnTo>
                  <a:lnTo>
                    <a:pt x="1525" y="1457"/>
                  </a:lnTo>
                  <a:lnTo>
                    <a:pt x="1500" y="1441"/>
                  </a:lnTo>
                  <a:lnTo>
                    <a:pt x="1473" y="1428"/>
                  </a:lnTo>
                  <a:lnTo>
                    <a:pt x="1445" y="1422"/>
                  </a:lnTo>
                  <a:lnTo>
                    <a:pt x="1414" y="1419"/>
                  </a:lnTo>
                  <a:lnTo>
                    <a:pt x="1062" y="1419"/>
                  </a:lnTo>
                  <a:close/>
                  <a:moveTo>
                    <a:pt x="2753" y="353"/>
                  </a:moveTo>
                  <a:lnTo>
                    <a:pt x="2749" y="361"/>
                  </a:lnTo>
                  <a:lnTo>
                    <a:pt x="2571" y="659"/>
                  </a:lnTo>
                  <a:lnTo>
                    <a:pt x="3419" y="1917"/>
                  </a:lnTo>
                  <a:lnTo>
                    <a:pt x="3437" y="1895"/>
                  </a:lnTo>
                  <a:lnTo>
                    <a:pt x="3460" y="1876"/>
                  </a:lnTo>
                  <a:lnTo>
                    <a:pt x="3485" y="1861"/>
                  </a:lnTo>
                  <a:lnTo>
                    <a:pt x="3512" y="1850"/>
                  </a:lnTo>
                  <a:lnTo>
                    <a:pt x="3541" y="1844"/>
                  </a:lnTo>
                  <a:lnTo>
                    <a:pt x="2753" y="353"/>
                  </a:lnTo>
                  <a:close/>
                  <a:moveTo>
                    <a:pt x="2334" y="320"/>
                  </a:moveTo>
                  <a:lnTo>
                    <a:pt x="1562" y="1348"/>
                  </a:lnTo>
                  <a:lnTo>
                    <a:pt x="1590" y="1366"/>
                  </a:lnTo>
                  <a:lnTo>
                    <a:pt x="1616" y="1387"/>
                  </a:lnTo>
                  <a:lnTo>
                    <a:pt x="1638" y="1411"/>
                  </a:lnTo>
                  <a:lnTo>
                    <a:pt x="1658" y="1439"/>
                  </a:lnTo>
                  <a:lnTo>
                    <a:pt x="1827" y="1690"/>
                  </a:lnTo>
                  <a:lnTo>
                    <a:pt x="2555" y="467"/>
                  </a:lnTo>
                  <a:lnTo>
                    <a:pt x="2551" y="467"/>
                  </a:lnTo>
                  <a:lnTo>
                    <a:pt x="2515" y="465"/>
                  </a:lnTo>
                  <a:lnTo>
                    <a:pt x="2481" y="457"/>
                  </a:lnTo>
                  <a:lnTo>
                    <a:pt x="2448" y="444"/>
                  </a:lnTo>
                  <a:lnTo>
                    <a:pt x="2419" y="427"/>
                  </a:lnTo>
                  <a:lnTo>
                    <a:pt x="2391" y="405"/>
                  </a:lnTo>
                  <a:lnTo>
                    <a:pt x="2369" y="380"/>
                  </a:lnTo>
                  <a:lnTo>
                    <a:pt x="2349" y="351"/>
                  </a:lnTo>
                  <a:lnTo>
                    <a:pt x="2334" y="320"/>
                  </a:lnTo>
                  <a:close/>
                  <a:moveTo>
                    <a:pt x="2551" y="111"/>
                  </a:moveTo>
                  <a:lnTo>
                    <a:pt x="2523" y="115"/>
                  </a:lnTo>
                  <a:lnTo>
                    <a:pt x="2498" y="124"/>
                  </a:lnTo>
                  <a:lnTo>
                    <a:pt x="2475" y="138"/>
                  </a:lnTo>
                  <a:lnTo>
                    <a:pt x="2456" y="157"/>
                  </a:lnTo>
                  <a:lnTo>
                    <a:pt x="2441" y="180"/>
                  </a:lnTo>
                  <a:lnTo>
                    <a:pt x="2432" y="205"/>
                  </a:lnTo>
                  <a:lnTo>
                    <a:pt x="2429" y="234"/>
                  </a:lnTo>
                  <a:lnTo>
                    <a:pt x="2432" y="262"/>
                  </a:lnTo>
                  <a:lnTo>
                    <a:pt x="2441" y="287"/>
                  </a:lnTo>
                  <a:lnTo>
                    <a:pt x="2456" y="311"/>
                  </a:lnTo>
                  <a:lnTo>
                    <a:pt x="2475" y="329"/>
                  </a:lnTo>
                  <a:lnTo>
                    <a:pt x="2498" y="344"/>
                  </a:lnTo>
                  <a:lnTo>
                    <a:pt x="2523" y="353"/>
                  </a:lnTo>
                  <a:lnTo>
                    <a:pt x="2551" y="356"/>
                  </a:lnTo>
                  <a:lnTo>
                    <a:pt x="2576" y="354"/>
                  </a:lnTo>
                  <a:lnTo>
                    <a:pt x="2599" y="347"/>
                  </a:lnTo>
                  <a:lnTo>
                    <a:pt x="2619" y="336"/>
                  </a:lnTo>
                  <a:lnTo>
                    <a:pt x="2638" y="321"/>
                  </a:lnTo>
                  <a:lnTo>
                    <a:pt x="2653" y="303"/>
                  </a:lnTo>
                  <a:lnTo>
                    <a:pt x="2656" y="298"/>
                  </a:lnTo>
                  <a:lnTo>
                    <a:pt x="2657" y="297"/>
                  </a:lnTo>
                  <a:lnTo>
                    <a:pt x="2666" y="278"/>
                  </a:lnTo>
                  <a:lnTo>
                    <a:pt x="2672" y="256"/>
                  </a:lnTo>
                  <a:lnTo>
                    <a:pt x="2674" y="234"/>
                  </a:lnTo>
                  <a:lnTo>
                    <a:pt x="2672" y="210"/>
                  </a:lnTo>
                  <a:lnTo>
                    <a:pt x="2665" y="187"/>
                  </a:lnTo>
                  <a:lnTo>
                    <a:pt x="2661" y="180"/>
                  </a:lnTo>
                  <a:lnTo>
                    <a:pt x="2658" y="174"/>
                  </a:lnTo>
                  <a:lnTo>
                    <a:pt x="2643" y="153"/>
                  </a:lnTo>
                  <a:lnTo>
                    <a:pt x="2625" y="136"/>
                  </a:lnTo>
                  <a:lnTo>
                    <a:pt x="2603" y="123"/>
                  </a:lnTo>
                  <a:lnTo>
                    <a:pt x="2579" y="115"/>
                  </a:lnTo>
                  <a:lnTo>
                    <a:pt x="2551" y="111"/>
                  </a:lnTo>
                  <a:close/>
                  <a:moveTo>
                    <a:pt x="2551" y="0"/>
                  </a:moveTo>
                  <a:lnTo>
                    <a:pt x="2591" y="3"/>
                  </a:lnTo>
                  <a:lnTo>
                    <a:pt x="2630" y="12"/>
                  </a:lnTo>
                  <a:lnTo>
                    <a:pt x="2665" y="28"/>
                  </a:lnTo>
                  <a:lnTo>
                    <a:pt x="2696" y="50"/>
                  </a:lnTo>
                  <a:lnTo>
                    <a:pt x="2724" y="75"/>
                  </a:lnTo>
                  <a:lnTo>
                    <a:pt x="2747" y="106"/>
                  </a:lnTo>
                  <a:lnTo>
                    <a:pt x="2766" y="138"/>
                  </a:lnTo>
                  <a:lnTo>
                    <a:pt x="3713" y="1930"/>
                  </a:lnTo>
                  <a:lnTo>
                    <a:pt x="3726" y="1957"/>
                  </a:lnTo>
                  <a:lnTo>
                    <a:pt x="3734" y="1986"/>
                  </a:lnTo>
                  <a:lnTo>
                    <a:pt x="3736" y="2017"/>
                  </a:lnTo>
                  <a:lnTo>
                    <a:pt x="3733" y="2050"/>
                  </a:lnTo>
                  <a:lnTo>
                    <a:pt x="3725" y="2080"/>
                  </a:lnTo>
                  <a:lnTo>
                    <a:pt x="3711" y="2108"/>
                  </a:lnTo>
                  <a:lnTo>
                    <a:pt x="3693" y="2132"/>
                  </a:lnTo>
                  <a:lnTo>
                    <a:pt x="3672" y="2153"/>
                  </a:lnTo>
                  <a:lnTo>
                    <a:pt x="3646" y="2170"/>
                  </a:lnTo>
                  <a:lnTo>
                    <a:pt x="3617" y="2183"/>
                  </a:lnTo>
                  <a:lnTo>
                    <a:pt x="3617" y="2612"/>
                  </a:lnTo>
                  <a:lnTo>
                    <a:pt x="3617" y="2620"/>
                  </a:lnTo>
                  <a:lnTo>
                    <a:pt x="3616" y="2626"/>
                  </a:lnTo>
                  <a:lnTo>
                    <a:pt x="3609" y="2660"/>
                  </a:lnTo>
                  <a:lnTo>
                    <a:pt x="3597" y="2693"/>
                  </a:lnTo>
                  <a:lnTo>
                    <a:pt x="3580" y="2724"/>
                  </a:lnTo>
                  <a:lnTo>
                    <a:pt x="3559" y="2752"/>
                  </a:lnTo>
                  <a:lnTo>
                    <a:pt x="3533" y="2777"/>
                  </a:lnTo>
                  <a:lnTo>
                    <a:pt x="3504" y="2799"/>
                  </a:lnTo>
                  <a:lnTo>
                    <a:pt x="3471" y="2815"/>
                  </a:lnTo>
                  <a:lnTo>
                    <a:pt x="3282" y="2891"/>
                  </a:lnTo>
                  <a:lnTo>
                    <a:pt x="3231" y="2908"/>
                  </a:lnTo>
                  <a:lnTo>
                    <a:pt x="3180" y="2918"/>
                  </a:lnTo>
                  <a:lnTo>
                    <a:pt x="3127" y="2920"/>
                  </a:lnTo>
                  <a:lnTo>
                    <a:pt x="3081" y="2918"/>
                  </a:lnTo>
                  <a:lnTo>
                    <a:pt x="3034" y="2910"/>
                  </a:lnTo>
                  <a:lnTo>
                    <a:pt x="2989" y="2896"/>
                  </a:lnTo>
                  <a:lnTo>
                    <a:pt x="2946" y="2878"/>
                  </a:lnTo>
                  <a:lnTo>
                    <a:pt x="2904" y="2855"/>
                  </a:lnTo>
                  <a:lnTo>
                    <a:pt x="2865" y="2826"/>
                  </a:lnTo>
                  <a:lnTo>
                    <a:pt x="2454" y="2487"/>
                  </a:lnTo>
                  <a:lnTo>
                    <a:pt x="2442" y="2474"/>
                  </a:lnTo>
                  <a:lnTo>
                    <a:pt x="2436" y="2458"/>
                  </a:lnTo>
                  <a:lnTo>
                    <a:pt x="2433" y="2441"/>
                  </a:lnTo>
                  <a:lnTo>
                    <a:pt x="2438" y="2424"/>
                  </a:lnTo>
                  <a:lnTo>
                    <a:pt x="2447" y="2409"/>
                  </a:lnTo>
                  <a:lnTo>
                    <a:pt x="2459" y="2397"/>
                  </a:lnTo>
                  <a:lnTo>
                    <a:pt x="2475" y="2390"/>
                  </a:lnTo>
                  <a:lnTo>
                    <a:pt x="2492" y="2388"/>
                  </a:lnTo>
                  <a:lnTo>
                    <a:pt x="2509" y="2393"/>
                  </a:lnTo>
                  <a:lnTo>
                    <a:pt x="2525" y="2402"/>
                  </a:lnTo>
                  <a:lnTo>
                    <a:pt x="2656" y="2509"/>
                  </a:lnTo>
                  <a:lnTo>
                    <a:pt x="3418" y="2203"/>
                  </a:lnTo>
                  <a:lnTo>
                    <a:pt x="3431" y="2200"/>
                  </a:lnTo>
                  <a:lnTo>
                    <a:pt x="3446" y="2200"/>
                  </a:lnTo>
                  <a:lnTo>
                    <a:pt x="3460" y="2204"/>
                  </a:lnTo>
                  <a:lnTo>
                    <a:pt x="3472" y="2211"/>
                  </a:lnTo>
                  <a:lnTo>
                    <a:pt x="3482" y="2221"/>
                  </a:lnTo>
                  <a:lnTo>
                    <a:pt x="3490" y="2235"/>
                  </a:lnTo>
                  <a:lnTo>
                    <a:pt x="3506" y="2275"/>
                  </a:lnTo>
                  <a:lnTo>
                    <a:pt x="3506" y="2183"/>
                  </a:lnTo>
                  <a:lnTo>
                    <a:pt x="3478" y="2170"/>
                  </a:lnTo>
                  <a:lnTo>
                    <a:pt x="3452" y="2152"/>
                  </a:lnTo>
                  <a:lnTo>
                    <a:pt x="3429" y="2131"/>
                  </a:lnTo>
                  <a:lnTo>
                    <a:pt x="3411" y="2106"/>
                  </a:lnTo>
                  <a:lnTo>
                    <a:pt x="2507" y="766"/>
                  </a:lnTo>
                  <a:lnTo>
                    <a:pt x="1895" y="1794"/>
                  </a:lnTo>
                  <a:lnTo>
                    <a:pt x="1983" y="1926"/>
                  </a:lnTo>
                  <a:lnTo>
                    <a:pt x="2010" y="1971"/>
                  </a:lnTo>
                  <a:lnTo>
                    <a:pt x="2032" y="2018"/>
                  </a:lnTo>
                  <a:lnTo>
                    <a:pt x="2050" y="2067"/>
                  </a:lnTo>
                  <a:lnTo>
                    <a:pt x="2063" y="2117"/>
                  </a:lnTo>
                  <a:lnTo>
                    <a:pt x="2069" y="2168"/>
                  </a:lnTo>
                  <a:lnTo>
                    <a:pt x="2073" y="2221"/>
                  </a:lnTo>
                  <a:lnTo>
                    <a:pt x="2073" y="2433"/>
                  </a:lnTo>
                  <a:lnTo>
                    <a:pt x="2072" y="2441"/>
                  </a:lnTo>
                  <a:lnTo>
                    <a:pt x="2069" y="2452"/>
                  </a:lnTo>
                  <a:lnTo>
                    <a:pt x="2066" y="2460"/>
                  </a:lnTo>
                  <a:lnTo>
                    <a:pt x="2064" y="2463"/>
                  </a:lnTo>
                  <a:lnTo>
                    <a:pt x="2063" y="2465"/>
                  </a:lnTo>
                  <a:lnTo>
                    <a:pt x="2060" y="2469"/>
                  </a:lnTo>
                  <a:lnTo>
                    <a:pt x="2059" y="2469"/>
                  </a:lnTo>
                  <a:lnTo>
                    <a:pt x="2058" y="2471"/>
                  </a:lnTo>
                  <a:lnTo>
                    <a:pt x="2056" y="2473"/>
                  </a:lnTo>
                  <a:lnTo>
                    <a:pt x="2055" y="2474"/>
                  </a:lnTo>
                  <a:lnTo>
                    <a:pt x="2052" y="2477"/>
                  </a:lnTo>
                  <a:lnTo>
                    <a:pt x="2050" y="2478"/>
                  </a:lnTo>
                  <a:lnTo>
                    <a:pt x="2048" y="2480"/>
                  </a:lnTo>
                  <a:lnTo>
                    <a:pt x="2043" y="2482"/>
                  </a:lnTo>
                  <a:lnTo>
                    <a:pt x="2039" y="2485"/>
                  </a:lnTo>
                  <a:lnTo>
                    <a:pt x="2039" y="2485"/>
                  </a:lnTo>
                  <a:lnTo>
                    <a:pt x="2035" y="2486"/>
                  </a:lnTo>
                  <a:lnTo>
                    <a:pt x="2033" y="2487"/>
                  </a:lnTo>
                  <a:lnTo>
                    <a:pt x="2031" y="2488"/>
                  </a:lnTo>
                  <a:lnTo>
                    <a:pt x="2027" y="2488"/>
                  </a:lnTo>
                  <a:lnTo>
                    <a:pt x="2024" y="2489"/>
                  </a:lnTo>
                  <a:lnTo>
                    <a:pt x="2023" y="2489"/>
                  </a:lnTo>
                  <a:lnTo>
                    <a:pt x="2019" y="2489"/>
                  </a:lnTo>
                  <a:lnTo>
                    <a:pt x="2017" y="2489"/>
                  </a:lnTo>
                  <a:lnTo>
                    <a:pt x="1954" y="2489"/>
                  </a:lnTo>
                  <a:lnTo>
                    <a:pt x="1954" y="2672"/>
                  </a:lnTo>
                  <a:lnTo>
                    <a:pt x="1950" y="2689"/>
                  </a:lnTo>
                  <a:lnTo>
                    <a:pt x="1942" y="2705"/>
                  </a:lnTo>
                  <a:lnTo>
                    <a:pt x="1931" y="2716"/>
                  </a:lnTo>
                  <a:lnTo>
                    <a:pt x="1915" y="2724"/>
                  </a:lnTo>
                  <a:lnTo>
                    <a:pt x="1898" y="2727"/>
                  </a:lnTo>
                  <a:lnTo>
                    <a:pt x="1418" y="2727"/>
                  </a:lnTo>
                  <a:lnTo>
                    <a:pt x="1418" y="2853"/>
                  </a:lnTo>
                  <a:lnTo>
                    <a:pt x="1838" y="2853"/>
                  </a:lnTo>
                  <a:lnTo>
                    <a:pt x="1890" y="2857"/>
                  </a:lnTo>
                  <a:lnTo>
                    <a:pt x="1940" y="2866"/>
                  </a:lnTo>
                  <a:lnTo>
                    <a:pt x="1988" y="2882"/>
                  </a:lnTo>
                  <a:lnTo>
                    <a:pt x="2032" y="2902"/>
                  </a:lnTo>
                  <a:lnTo>
                    <a:pt x="2074" y="2927"/>
                  </a:lnTo>
                  <a:lnTo>
                    <a:pt x="2112" y="2958"/>
                  </a:lnTo>
                  <a:lnTo>
                    <a:pt x="2146" y="2992"/>
                  </a:lnTo>
                  <a:lnTo>
                    <a:pt x="2177" y="3030"/>
                  </a:lnTo>
                  <a:lnTo>
                    <a:pt x="2202" y="3072"/>
                  </a:lnTo>
                  <a:lnTo>
                    <a:pt x="2222" y="3116"/>
                  </a:lnTo>
                  <a:lnTo>
                    <a:pt x="2238" y="3164"/>
                  </a:lnTo>
                  <a:lnTo>
                    <a:pt x="2247" y="3214"/>
                  </a:lnTo>
                  <a:lnTo>
                    <a:pt x="2251" y="3266"/>
                  </a:lnTo>
                  <a:lnTo>
                    <a:pt x="2247" y="3317"/>
                  </a:lnTo>
                  <a:lnTo>
                    <a:pt x="2238" y="3367"/>
                  </a:lnTo>
                  <a:lnTo>
                    <a:pt x="2222" y="3415"/>
                  </a:lnTo>
                  <a:lnTo>
                    <a:pt x="2202" y="3460"/>
                  </a:lnTo>
                  <a:lnTo>
                    <a:pt x="2177" y="3501"/>
                  </a:lnTo>
                  <a:lnTo>
                    <a:pt x="2146" y="3540"/>
                  </a:lnTo>
                  <a:lnTo>
                    <a:pt x="2112" y="3574"/>
                  </a:lnTo>
                  <a:lnTo>
                    <a:pt x="2074" y="3604"/>
                  </a:lnTo>
                  <a:lnTo>
                    <a:pt x="2032" y="3630"/>
                  </a:lnTo>
                  <a:lnTo>
                    <a:pt x="1988" y="3651"/>
                  </a:lnTo>
                  <a:lnTo>
                    <a:pt x="1940" y="3666"/>
                  </a:lnTo>
                  <a:lnTo>
                    <a:pt x="1890" y="3676"/>
                  </a:lnTo>
                  <a:lnTo>
                    <a:pt x="1838" y="3678"/>
                  </a:lnTo>
                  <a:lnTo>
                    <a:pt x="413" y="3678"/>
                  </a:lnTo>
                  <a:lnTo>
                    <a:pt x="360" y="3676"/>
                  </a:lnTo>
                  <a:lnTo>
                    <a:pt x="311" y="3666"/>
                  </a:lnTo>
                  <a:lnTo>
                    <a:pt x="263" y="3651"/>
                  </a:lnTo>
                  <a:lnTo>
                    <a:pt x="219" y="3630"/>
                  </a:lnTo>
                  <a:lnTo>
                    <a:pt x="177" y="3604"/>
                  </a:lnTo>
                  <a:lnTo>
                    <a:pt x="138" y="3574"/>
                  </a:lnTo>
                  <a:lnTo>
                    <a:pt x="104" y="3540"/>
                  </a:lnTo>
                  <a:lnTo>
                    <a:pt x="74" y="3501"/>
                  </a:lnTo>
                  <a:lnTo>
                    <a:pt x="49" y="3460"/>
                  </a:lnTo>
                  <a:lnTo>
                    <a:pt x="28" y="3415"/>
                  </a:lnTo>
                  <a:lnTo>
                    <a:pt x="12" y="3367"/>
                  </a:lnTo>
                  <a:lnTo>
                    <a:pt x="3" y="3317"/>
                  </a:lnTo>
                  <a:lnTo>
                    <a:pt x="0" y="3266"/>
                  </a:lnTo>
                  <a:lnTo>
                    <a:pt x="3" y="3214"/>
                  </a:lnTo>
                  <a:lnTo>
                    <a:pt x="12" y="3164"/>
                  </a:lnTo>
                  <a:lnTo>
                    <a:pt x="28" y="3116"/>
                  </a:lnTo>
                  <a:lnTo>
                    <a:pt x="49" y="3072"/>
                  </a:lnTo>
                  <a:lnTo>
                    <a:pt x="74" y="3030"/>
                  </a:lnTo>
                  <a:lnTo>
                    <a:pt x="104" y="2992"/>
                  </a:lnTo>
                  <a:lnTo>
                    <a:pt x="138" y="2958"/>
                  </a:lnTo>
                  <a:lnTo>
                    <a:pt x="177" y="2927"/>
                  </a:lnTo>
                  <a:lnTo>
                    <a:pt x="219" y="2902"/>
                  </a:lnTo>
                  <a:lnTo>
                    <a:pt x="263" y="2882"/>
                  </a:lnTo>
                  <a:lnTo>
                    <a:pt x="311" y="2866"/>
                  </a:lnTo>
                  <a:lnTo>
                    <a:pt x="360" y="2857"/>
                  </a:lnTo>
                  <a:lnTo>
                    <a:pt x="413" y="2853"/>
                  </a:lnTo>
                  <a:lnTo>
                    <a:pt x="832" y="2853"/>
                  </a:lnTo>
                  <a:lnTo>
                    <a:pt x="832" y="2727"/>
                  </a:lnTo>
                  <a:lnTo>
                    <a:pt x="353" y="2727"/>
                  </a:lnTo>
                  <a:lnTo>
                    <a:pt x="317" y="2724"/>
                  </a:lnTo>
                  <a:lnTo>
                    <a:pt x="284" y="2714"/>
                  </a:lnTo>
                  <a:lnTo>
                    <a:pt x="255" y="2698"/>
                  </a:lnTo>
                  <a:lnTo>
                    <a:pt x="229" y="2676"/>
                  </a:lnTo>
                  <a:lnTo>
                    <a:pt x="209" y="2650"/>
                  </a:lnTo>
                  <a:lnTo>
                    <a:pt x="192" y="2621"/>
                  </a:lnTo>
                  <a:lnTo>
                    <a:pt x="181" y="2588"/>
                  </a:lnTo>
                  <a:lnTo>
                    <a:pt x="178" y="2553"/>
                  </a:lnTo>
                  <a:lnTo>
                    <a:pt x="178" y="2136"/>
                  </a:lnTo>
                  <a:lnTo>
                    <a:pt x="181" y="2101"/>
                  </a:lnTo>
                  <a:lnTo>
                    <a:pt x="192" y="2068"/>
                  </a:lnTo>
                  <a:lnTo>
                    <a:pt x="209" y="2039"/>
                  </a:lnTo>
                  <a:lnTo>
                    <a:pt x="229" y="2013"/>
                  </a:lnTo>
                  <a:lnTo>
                    <a:pt x="255" y="1991"/>
                  </a:lnTo>
                  <a:lnTo>
                    <a:pt x="284" y="1975"/>
                  </a:lnTo>
                  <a:lnTo>
                    <a:pt x="317" y="1965"/>
                  </a:lnTo>
                  <a:lnTo>
                    <a:pt x="353" y="1962"/>
                  </a:lnTo>
                  <a:lnTo>
                    <a:pt x="713" y="1962"/>
                  </a:lnTo>
                  <a:lnTo>
                    <a:pt x="713" y="1601"/>
                  </a:lnTo>
                  <a:lnTo>
                    <a:pt x="717" y="1558"/>
                  </a:lnTo>
                  <a:lnTo>
                    <a:pt x="726" y="1517"/>
                  </a:lnTo>
                  <a:lnTo>
                    <a:pt x="740" y="1477"/>
                  </a:lnTo>
                  <a:lnTo>
                    <a:pt x="761" y="1442"/>
                  </a:lnTo>
                  <a:lnTo>
                    <a:pt x="785" y="1409"/>
                  </a:lnTo>
                  <a:lnTo>
                    <a:pt x="814" y="1380"/>
                  </a:lnTo>
                  <a:lnTo>
                    <a:pt x="847" y="1355"/>
                  </a:lnTo>
                  <a:lnTo>
                    <a:pt x="883" y="1335"/>
                  </a:lnTo>
                  <a:lnTo>
                    <a:pt x="922" y="1321"/>
                  </a:lnTo>
                  <a:lnTo>
                    <a:pt x="963" y="1310"/>
                  </a:lnTo>
                  <a:lnTo>
                    <a:pt x="1007" y="1308"/>
                  </a:lnTo>
                  <a:lnTo>
                    <a:pt x="1414" y="1308"/>
                  </a:lnTo>
                  <a:lnTo>
                    <a:pt x="1452" y="1310"/>
                  </a:lnTo>
                  <a:lnTo>
                    <a:pt x="2359" y="101"/>
                  </a:lnTo>
                  <a:lnTo>
                    <a:pt x="2359" y="101"/>
                  </a:lnTo>
                  <a:lnTo>
                    <a:pt x="2382" y="73"/>
                  </a:lnTo>
                  <a:lnTo>
                    <a:pt x="2410" y="48"/>
                  </a:lnTo>
                  <a:lnTo>
                    <a:pt x="2441" y="27"/>
                  </a:lnTo>
                  <a:lnTo>
                    <a:pt x="2475" y="12"/>
                  </a:lnTo>
                  <a:lnTo>
                    <a:pt x="2513" y="3"/>
                  </a:lnTo>
                  <a:lnTo>
                    <a:pt x="2551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</p:grpSp>
      <p:sp>
        <p:nvSpPr>
          <p:cNvPr id="23625" name="TextBox 158">
            <a:extLst>
              <a:ext uri="{FF2B5EF4-FFF2-40B4-BE49-F238E27FC236}">
                <a16:creationId xmlns:a16="http://schemas.microsoft.com/office/drawing/2014/main" id="{E039C87F-72AD-4054-B63A-554ACFFB9E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4663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6" name="TextBox 159">
            <a:extLst>
              <a:ext uri="{FF2B5EF4-FFF2-40B4-BE49-F238E27FC236}">
                <a16:creationId xmlns:a16="http://schemas.microsoft.com/office/drawing/2014/main" id="{C89D28E8-6E73-4458-A352-42A749EC09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3488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7" name="TextBox 127">
            <a:extLst>
              <a:ext uri="{FF2B5EF4-FFF2-40B4-BE49-F238E27FC236}">
                <a16:creationId xmlns:a16="http://schemas.microsoft.com/office/drawing/2014/main" id="{D2C4F5E9-E854-4896-8355-45DEC69063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7813" y="6378575"/>
            <a:ext cx="426243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Sources: National Bureau of Statistics, World Bank Report on Doing Business in Nigeria 2018, climate-</a:t>
            </a:r>
            <a:r>
              <a:rPr lang="en-GB" altLang="en-US" sz="800" dirty="0" err="1">
                <a:latin typeface="Calibri" panose="020F0502020204030204" pitchFamily="34" charset="0"/>
              </a:rPr>
              <a:t>data.org</a:t>
            </a:r>
            <a:r>
              <a:rPr lang="en-GB" altLang="en-US" sz="800" dirty="0">
                <a:latin typeface="Calibri" panose="020F0502020204030204" pitchFamily="34" charset="0"/>
              </a:rPr>
              <a:t>, State Government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Exchange rate= $1/N305 (Central Bank of Nigeria)</a:t>
            </a:r>
          </a:p>
        </p:txBody>
      </p:sp>
      <p:sp>
        <p:nvSpPr>
          <p:cNvPr id="23628" name="TextBox 128">
            <a:extLst>
              <a:ext uri="{FF2B5EF4-FFF2-40B4-BE49-F238E27FC236}">
                <a16:creationId xmlns:a16="http://schemas.microsoft.com/office/drawing/2014/main" id="{409BCC6F-A5F0-4C79-BB4A-38A1ABC14F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16769" y="3649889"/>
            <a:ext cx="49564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Health</a:t>
            </a:r>
          </a:p>
        </p:txBody>
      </p:sp>
      <p:sp>
        <p:nvSpPr>
          <p:cNvPr id="23629" name="TextBox 129">
            <a:extLst>
              <a:ext uri="{FF2B5EF4-FFF2-40B4-BE49-F238E27FC236}">
                <a16:creationId xmlns:a16="http://schemas.microsoft.com/office/drawing/2014/main" id="{489E7B41-20C9-4493-8E7D-07238EB8FA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2892" y="3654980"/>
            <a:ext cx="63190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Footwear</a:t>
            </a:r>
          </a:p>
        </p:txBody>
      </p:sp>
      <p:sp>
        <p:nvSpPr>
          <p:cNvPr id="23631" name="TextBox 131">
            <a:extLst>
              <a:ext uri="{FF2B5EF4-FFF2-40B4-BE49-F238E27FC236}">
                <a16:creationId xmlns:a16="http://schemas.microsoft.com/office/drawing/2014/main" id="{FF8B6C80-43E2-43AF-A364-A31845F05C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5388" y="3656613"/>
            <a:ext cx="64953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River Port</a:t>
            </a:r>
          </a:p>
        </p:txBody>
      </p:sp>
      <p:sp>
        <p:nvSpPr>
          <p:cNvPr id="23632" name="TextBox 132">
            <a:extLst>
              <a:ext uri="{FF2B5EF4-FFF2-40B4-BE49-F238E27FC236}">
                <a16:creationId xmlns:a16="http://schemas.microsoft.com/office/drawing/2014/main" id="{A1C640C1-61D1-4BA5-8A76-E684397E8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46689" y="3650683"/>
            <a:ext cx="55175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Cassava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238751" y="3833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23638" name="TextBox 141">
            <a:extLst>
              <a:ext uri="{FF2B5EF4-FFF2-40B4-BE49-F238E27FC236}">
                <a16:creationId xmlns:a16="http://schemas.microsoft.com/office/drawing/2014/main" id="{EE481231-8673-4FD7-B5CC-900AEE7A9F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8233" y="3652271"/>
            <a:ext cx="57579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Oil Palm</a:t>
            </a:r>
          </a:p>
        </p:txBody>
      </p:sp>
      <p:sp>
        <p:nvSpPr>
          <p:cNvPr id="23649" name="TextBox 165">
            <a:extLst>
              <a:ext uri="{FF2B5EF4-FFF2-40B4-BE49-F238E27FC236}">
                <a16:creationId xmlns:a16="http://schemas.microsoft.com/office/drawing/2014/main" id="{1242633E-9CB1-48ED-83F4-2223DFC7ED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68326" y="4459560"/>
            <a:ext cx="38023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Rice</a:t>
            </a:r>
          </a:p>
        </p:txBody>
      </p:sp>
      <p:sp>
        <p:nvSpPr>
          <p:cNvPr id="23650" name="TextBox 166">
            <a:extLst>
              <a:ext uri="{FF2B5EF4-FFF2-40B4-BE49-F238E27FC236}">
                <a16:creationId xmlns:a16="http://schemas.microsoft.com/office/drawing/2014/main" id="{6B51369B-8FA6-464A-B908-12B0FFE6B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90878" y="4458812"/>
            <a:ext cx="57579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Iron Ore</a:t>
            </a:r>
          </a:p>
        </p:txBody>
      </p:sp>
      <p:sp>
        <p:nvSpPr>
          <p:cNvPr id="23651" name="TextBox 167">
            <a:extLst>
              <a:ext uri="{FF2B5EF4-FFF2-40B4-BE49-F238E27FC236}">
                <a16:creationId xmlns:a16="http://schemas.microsoft.com/office/drawing/2014/main" id="{4F9404E1-8339-401B-8B10-4C7D1A8CEC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14047" y="4457881"/>
            <a:ext cx="86113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Industrial Park</a:t>
            </a:r>
          </a:p>
        </p:txBody>
      </p:sp>
      <p:sp>
        <p:nvSpPr>
          <p:cNvPr id="23652" name="TextBox 168">
            <a:extLst>
              <a:ext uri="{FF2B5EF4-FFF2-40B4-BE49-F238E27FC236}">
                <a16:creationId xmlns:a16="http://schemas.microsoft.com/office/drawing/2014/main" id="{1C04917D-B2C3-4C21-8CC2-A45C349B4B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65456" y="4457133"/>
            <a:ext cx="65274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Education</a:t>
            </a:r>
          </a:p>
        </p:txBody>
      </p:sp>
      <p:sp>
        <p:nvSpPr>
          <p:cNvPr id="23653" name="TextBox 169">
            <a:extLst>
              <a:ext uri="{FF2B5EF4-FFF2-40B4-BE49-F238E27FC236}">
                <a16:creationId xmlns:a16="http://schemas.microsoft.com/office/drawing/2014/main" id="{4BADA327-4F2D-4897-B7C0-4647A1484B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3926" y="4457973"/>
            <a:ext cx="56778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Tourism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8A28B48-1841-45BB-BFBC-EADE77B37C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4165473"/>
              </p:ext>
            </p:extLst>
          </p:nvPr>
        </p:nvGraphicFramePr>
        <p:xfrm>
          <a:off x="2779712" y="2589213"/>
          <a:ext cx="1482725" cy="812800"/>
        </p:xfrm>
        <a:graphic>
          <a:graphicData uri="http://schemas.openxmlformats.org/drawingml/2006/table">
            <a:tbl>
              <a:tblPr/>
              <a:tblGrid>
                <a:gridCol w="11367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9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32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GB" sz="1000" b="1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Domestic</a:t>
                      </a:r>
                      <a:r>
                        <a:rPr lang="en-GB" sz="10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US" sz="1000" b="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International 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Railway</a:t>
                      </a:r>
                      <a:r>
                        <a:rPr lang="en-GB" sz="1000" b="1" kern="1200" baseline="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 Station</a:t>
                      </a:r>
                      <a:endParaRPr lang="en-GB" sz="1000" b="1" kern="1200" dirty="0">
                        <a:solidFill>
                          <a:srgbClr val="292929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32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Sea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7" name="TextBox 136">
            <a:extLst>
              <a:ext uri="{FF2B5EF4-FFF2-40B4-BE49-F238E27FC236}">
                <a16:creationId xmlns:a16="http://schemas.microsoft.com/office/drawing/2014/main" id="{2F4C4876-7073-4C13-A183-127A8909BDC0}"/>
              </a:ext>
            </a:extLst>
          </p:cNvPr>
          <p:cNvSpPr txBox="1"/>
          <p:nvPr/>
        </p:nvSpPr>
        <p:spPr>
          <a:xfrm>
            <a:off x="538163" y="5268913"/>
            <a:ext cx="373856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For further details</a:t>
            </a:r>
          </a:p>
        </p:txBody>
      </p:sp>
      <p:sp>
        <p:nvSpPr>
          <p:cNvPr id="23676" name="TextBox 156">
            <a:extLst>
              <a:ext uri="{FF2B5EF4-FFF2-40B4-BE49-F238E27FC236}">
                <a16:creationId xmlns:a16="http://schemas.microsoft.com/office/drawing/2014/main" id="{95D66AAF-6B48-4B9E-9E5B-F1BB063A89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6300" y="6342063"/>
            <a:ext cx="37306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Abbreviations: </a:t>
            </a:r>
            <a:r>
              <a:rPr lang="en-GB" altLang="en-US" sz="800" b="1" dirty="0">
                <a:latin typeface="Calibri" panose="020F0502020204030204" pitchFamily="34" charset="0"/>
              </a:rPr>
              <a:t>	NICPS</a:t>
            </a:r>
            <a:r>
              <a:rPr lang="en-GB" altLang="en-US" sz="800" dirty="0">
                <a:latin typeface="Calibri" panose="020F0502020204030204" pitchFamily="34" charset="0"/>
              </a:rPr>
              <a:t>: Nigerian Investment Certification Programme for States                 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	</a:t>
            </a:r>
            <a:r>
              <a:rPr lang="en-GB" altLang="en-US" sz="800" b="1" dirty="0">
                <a:latin typeface="Calibri" panose="020F0502020204030204" pitchFamily="34" charset="0"/>
              </a:rPr>
              <a:t>IGR</a:t>
            </a:r>
            <a:r>
              <a:rPr lang="en-GB" altLang="en-US" sz="800" dirty="0">
                <a:latin typeface="Calibri" panose="020F0502020204030204" pitchFamily="34" charset="0"/>
              </a:rPr>
              <a:t>:     Internal Generated Revenue</a:t>
            </a:r>
          </a:p>
        </p:txBody>
      </p:sp>
      <p:sp>
        <p:nvSpPr>
          <p:cNvPr id="23677" name="TextBox 150">
            <a:extLst>
              <a:ext uri="{FF2B5EF4-FFF2-40B4-BE49-F238E27FC236}">
                <a16:creationId xmlns:a16="http://schemas.microsoft.com/office/drawing/2014/main" id="{0C3C74AA-958A-427A-94BC-BA3C6F707F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54366" y="5469443"/>
            <a:ext cx="2465387" cy="722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The commercial hub, Aba was formerly a British colonial government outpost in the region</a:t>
            </a:r>
            <a:endParaRPr lang="en-US" sz="13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678" name="TextBox 152">
            <a:extLst>
              <a:ext uri="{FF2B5EF4-FFF2-40B4-BE49-F238E27FC236}">
                <a16:creationId xmlns:a16="http://schemas.microsoft.com/office/drawing/2014/main" id="{BFAF6896-F732-45FC-AC47-950DF99D9E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4575" y="1095375"/>
            <a:ext cx="3446463" cy="1754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15888" indent="-11588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07619" lvl="0" indent="-107619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/>
                </a:solidFill>
                <a:latin typeface="Calibri" panose="020F0502020204030204" pitchFamily="34" charset="0"/>
              </a:rPr>
              <a:t>Strategic location (borders 7 states)</a:t>
            </a:r>
          </a:p>
          <a:p>
            <a:pPr marL="107619" lvl="0" indent="-107619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/>
                </a:solidFill>
                <a:latin typeface="Calibri" panose="020F0502020204030204" pitchFamily="34" charset="0"/>
              </a:rPr>
              <a:t>Industrial hub in Aba (agro-allied, textiles, minerals, plastic, oil and gas industries)</a:t>
            </a:r>
          </a:p>
          <a:p>
            <a:pPr marL="107619" lvl="0" indent="-107619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/>
                </a:solidFill>
                <a:latin typeface="Calibri" panose="020F0502020204030204" pitchFamily="34" charset="0"/>
              </a:rPr>
              <a:t>Developed shoe and garment industry</a:t>
            </a:r>
          </a:p>
          <a:p>
            <a:pPr marL="107619" lvl="0" indent="-107619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/>
                </a:solidFill>
                <a:latin typeface="Calibri" panose="020F0502020204030204" pitchFamily="34" charset="0"/>
              </a:rPr>
              <a:t>Large iron ore deposits</a:t>
            </a:r>
          </a:p>
          <a:p>
            <a:pPr marL="107619" lvl="0" indent="-107619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Calibri" panose="020F0502020204030204" pitchFamily="34" charset="0"/>
              </a:rPr>
              <a:t>Tourist destination (</a:t>
            </a:r>
            <a:r>
              <a:rPr lang="en-US" sz="1200" dirty="0" err="1">
                <a:latin typeface="Calibri" panose="020F0502020204030204" pitchFamily="34" charset="0"/>
              </a:rPr>
              <a:t>Azumini</a:t>
            </a:r>
            <a:r>
              <a:rPr lang="en-US" sz="1200" dirty="0">
                <a:latin typeface="Calibri" panose="020F0502020204030204" pitchFamily="34" charset="0"/>
              </a:rPr>
              <a:t> Blue River, National Museum of Colonial History)</a:t>
            </a:r>
          </a:p>
          <a:p>
            <a:pPr marL="107619" lvl="0" indent="-107619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/>
                </a:solidFill>
                <a:latin typeface="Calibri" panose="020F0502020204030204" pitchFamily="34" charset="0"/>
              </a:rPr>
              <a:t>9,000 capacity Multipurpose International Conference Centre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D4E23C6-26A0-4545-B8F7-7007C8EEBFE4}"/>
              </a:ext>
            </a:extLst>
          </p:cNvPr>
          <p:cNvSpPr txBox="1"/>
          <p:nvPr/>
        </p:nvSpPr>
        <p:spPr>
          <a:xfrm>
            <a:off x="4338638" y="5265738"/>
            <a:ext cx="247491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id you know?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132" name="Text Placeholder 42">
            <a:extLst>
              <a:ext uri="{FF2B5EF4-FFF2-40B4-BE49-F238E27FC236}">
                <a16:creationId xmlns:a16="http://schemas.microsoft.com/office/drawing/2014/main" id="{D510D0DC-1548-4249-8DB1-9A1055126D07}"/>
              </a:ext>
            </a:extLst>
          </p:cNvPr>
          <p:cNvSpPr txBox="1">
            <a:spLocks/>
          </p:cNvSpPr>
          <p:nvPr/>
        </p:nvSpPr>
        <p:spPr>
          <a:xfrm>
            <a:off x="522288" y="5511800"/>
            <a:ext cx="3733800" cy="701675"/>
          </a:xfrm>
          <a:prstGeom prst="rect">
            <a:avLst/>
          </a:prstGeom>
        </p:spPr>
        <p:txBody>
          <a:bodyPr lIns="36576" tIns="0" rIns="36576" bIns="0"/>
          <a:lstStyle>
            <a:lvl1pPr marL="0" indent="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/>
              <a:buNone/>
              <a:defRPr sz="800" b="1" baseline="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6575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93763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 charset="0"/>
              <a:buChar char="►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50950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619250" indent="-188913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0764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25336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29908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34480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NIGERIAN INVESTMENT PROMOTION COMMISSION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>
                <a:solidFill>
                  <a:schemeClr val="tx1"/>
                </a:solidFill>
                <a:hlinkClick r:id="rId7"/>
              </a:rPr>
              <a:t>statesco@nipc.gov.ng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endParaRPr lang="en-US" sz="5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MINISTRY OF TOURISM, ARTS &amp; CULTURE</a:t>
            </a: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 err="1">
                <a:solidFill>
                  <a:srgbClr val="FF0000"/>
                </a:solidFill>
                <a:hlinkClick r:id="rId8"/>
              </a:rPr>
              <a:t>ministryofartsandculture@yahoo.com</a:t>
            </a:r>
            <a:r>
              <a:rPr lang="en-US" sz="1000" b="0" kern="0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FF015425-7997-4612-9D0E-1F6C433DFCC7}"/>
              </a:ext>
            </a:extLst>
          </p:cNvPr>
          <p:cNvSpPr/>
          <p:nvPr/>
        </p:nvSpPr>
        <p:spPr>
          <a:xfrm>
            <a:off x="6080877" y="3040856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4C0B7457-CABD-4AC8-8A1A-1FD468581E4D}"/>
              </a:ext>
            </a:extLst>
          </p:cNvPr>
          <p:cNvSpPr/>
          <p:nvPr/>
        </p:nvSpPr>
        <p:spPr>
          <a:xfrm>
            <a:off x="6784796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2D626A89-F50C-45A3-9271-5D3F2EEA9C83}"/>
              </a:ext>
            </a:extLst>
          </p:cNvPr>
          <p:cNvSpPr/>
          <p:nvPr/>
        </p:nvSpPr>
        <p:spPr>
          <a:xfrm>
            <a:off x="7518399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240713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A62E850A-D87D-46D0-9257-0071E677FCF0}"/>
              </a:ext>
            </a:extLst>
          </p:cNvPr>
          <p:cNvSpPr/>
          <p:nvPr/>
        </p:nvSpPr>
        <p:spPr>
          <a:xfrm>
            <a:off x="8947150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4D1FAA17-3EFF-404B-B4C4-B468BCE2E9A5}"/>
              </a:ext>
            </a:extLst>
          </p:cNvPr>
          <p:cNvSpPr/>
          <p:nvPr/>
        </p:nvSpPr>
        <p:spPr>
          <a:xfrm>
            <a:off x="6078265" y="3836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E861211D-5D09-4577-8A09-FD96D972A5D4}"/>
              </a:ext>
            </a:extLst>
          </p:cNvPr>
          <p:cNvSpPr/>
          <p:nvPr/>
        </p:nvSpPr>
        <p:spPr>
          <a:xfrm>
            <a:off x="6780509" y="3833831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D9F8790B-E97D-4D8F-AD51-26FAFBF8CA40}"/>
              </a:ext>
            </a:extLst>
          </p:cNvPr>
          <p:cNvSpPr/>
          <p:nvPr/>
        </p:nvSpPr>
        <p:spPr>
          <a:xfrm>
            <a:off x="8946402" y="3833630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3CBEFD1C-6360-47CD-AEDD-DFB49FC0E0C7}"/>
              </a:ext>
            </a:extLst>
          </p:cNvPr>
          <p:cNvSpPr/>
          <p:nvPr/>
        </p:nvSpPr>
        <p:spPr>
          <a:xfrm>
            <a:off x="7518603" y="3830834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D0A41506-8873-4C2F-B45B-4459F0229CA3}"/>
              </a:ext>
            </a:extLst>
          </p:cNvPr>
          <p:cNvSpPr txBox="1"/>
          <p:nvPr/>
        </p:nvSpPr>
        <p:spPr>
          <a:xfrm>
            <a:off x="4374578" y="4541674"/>
            <a:ext cx="17988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te Investment Certification Process Not Started</a:t>
            </a:r>
          </a:p>
        </p:txBody>
      </p:sp>
      <p:pic>
        <p:nvPicPr>
          <p:cNvPr id="135" name="Picture 134">
            <a:extLst>
              <a:ext uri="{FF2B5EF4-FFF2-40B4-BE49-F238E27FC236}">
                <a16:creationId xmlns:a16="http://schemas.microsoft.com/office/drawing/2014/main" id="{CB0FB2FF-2214-44C8-AC20-D01B60A3D46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3325" y="3116362"/>
            <a:ext cx="479301" cy="497490"/>
          </a:xfrm>
          <a:prstGeom prst="rect">
            <a:avLst/>
          </a:prstGeom>
        </p:spPr>
      </p:pic>
      <p:pic>
        <p:nvPicPr>
          <p:cNvPr id="136" name="Picture 6">
            <a:extLst>
              <a:ext uri="{FF2B5EF4-FFF2-40B4-BE49-F238E27FC236}">
                <a16:creationId xmlns:a16="http://schemas.microsoft.com/office/drawing/2014/main" id="{61951356-CAEF-4B90-8684-9AEB4A42FED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814" r="8128"/>
          <a:stretch/>
        </p:blipFill>
        <p:spPr bwMode="auto">
          <a:xfrm>
            <a:off x="8277919" y="3127047"/>
            <a:ext cx="590007" cy="4300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9" name="Picture 7">
            <a:extLst>
              <a:ext uri="{FF2B5EF4-FFF2-40B4-BE49-F238E27FC236}">
                <a16:creationId xmlns:a16="http://schemas.microsoft.com/office/drawing/2014/main" id="{6C21FE08-621A-4977-A651-D6B49DF8BE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5628" y="3147194"/>
            <a:ext cx="385921" cy="372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1" name="Picture 140" descr="rice.png">
            <a:extLst>
              <a:ext uri="{FF2B5EF4-FFF2-40B4-BE49-F238E27FC236}">
                <a16:creationId xmlns:a16="http://schemas.microsoft.com/office/drawing/2014/main" id="{0358B54F-9778-4BB7-A2A2-FEEE7320DDCB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15867" r="20664"/>
          <a:stretch>
            <a:fillRect/>
          </a:stretch>
        </p:blipFill>
        <p:spPr>
          <a:xfrm>
            <a:off x="9046993" y="3886000"/>
            <a:ext cx="486888" cy="475565"/>
          </a:xfrm>
          <a:prstGeom prst="rect">
            <a:avLst/>
          </a:prstGeom>
        </p:spPr>
      </p:pic>
      <p:pic>
        <p:nvPicPr>
          <p:cNvPr id="142" name="Picture 141">
            <a:extLst>
              <a:ext uri="{FF2B5EF4-FFF2-40B4-BE49-F238E27FC236}">
                <a16:creationId xmlns:a16="http://schemas.microsoft.com/office/drawing/2014/main" id="{955B84CC-9F70-4DA0-922F-9E43626A5B41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0605" y="3905795"/>
            <a:ext cx="474101" cy="474101"/>
          </a:xfrm>
          <a:prstGeom prst="rect">
            <a:avLst/>
          </a:prstGeom>
        </p:spPr>
      </p:pic>
      <p:pic>
        <p:nvPicPr>
          <p:cNvPr id="149" name="Picture 148">
            <a:extLst>
              <a:ext uri="{FF2B5EF4-FFF2-40B4-BE49-F238E27FC236}">
                <a16:creationId xmlns:a16="http://schemas.microsoft.com/office/drawing/2014/main" id="{B4D3E22A-E402-47BC-81D7-287E94B67492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079880" y="2991352"/>
            <a:ext cx="637365" cy="726041"/>
          </a:xfrm>
          <a:prstGeom prst="rect">
            <a:avLst/>
          </a:prstGeom>
        </p:spPr>
      </p:pic>
      <p:pic>
        <p:nvPicPr>
          <p:cNvPr id="150" name="Picture 149">
            <a:extLst>
              <a:ext uri="{FF2B5EF4-FFF2-40B4-BE49-F238E27FC236}">
                <a16:creationId xmlns:a16="http://schemas.microsoft.com/office/drawing/2014/main" id="{6A6E2CD3-9332-4FC0-A279-006D20D761D5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827889" y="3102171"/>
            <a:ext cx="512108" cy="371888"/>
          </a:xfrm>
          <a:prstGeom prst="rect">
            <a:avLst/>
          </a:prstGeom>
        </p:spPr>
      </p:pic>
      <p:pic>
        <p:nvPicPr>
          <p:cNvPr id="151" name="Picture 150">
            <a:extLst>
              <a:ext uri="{FF2B5EF4-FFF2-40B4-BE49-F238E27FC236}">
                <a16:creationId xmlns:a16="http://schemas.microsoft.com/office/drawing/2014/main" id="{85B9BD3F-8D6E-4700-A2F8-1D231312A074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671737" y="3771631"/>
            <a:ext cx="780960" cy="589499"/>
          </a:xfrm>
          <a:prstGeom prst="rect">
            <a:avLst/>
          </a:prstGeom>
        </p:spPr>
      </p:pic>
      <p:pic>
        <p:nvPicPr>
          <p:cNvPr id="153" name="Picture 152">
            <a:extLst>
              <a:ext uri="{FF2B5EF4-FFF2-40B4-BE49-F238E27FC236}">
                <a16:creationId xmlns:a16="http://schemas.microsoft.com/office/drawing/2014/main" id="{D11CB55A-E671-45FB-BBAA-C1AEB16F2678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618406" y="3903005"/>
            <a:ext cx="415673" cy="415673"/>
          </a:xfrm>
          <a:prstGeom prst="rect">
            <a:avLst/>
          </a:prstGeom>
        </p:spPr>
      </p:pic>
      <p:pic>
        <p:nvPicPr>
          <p:cNvPr id="154" name="Picture 153">
            <a:extLst>
              <a:ext uri="{FF2B5EF4-FFF2-40B4-BE49-F238E27FC236}">
                <a16:creationId xmlns:a16="http://schemas.microsoft.com/office/drawing/2014/main" id="{083FFE3C-52D0-44FE-B009-B62713BA0526}"/>
              </a:ext>
            </a:extLst>
          </p:cNvPr>
          <p:cNvPicPr>
            <a:picLocks noChangeAspect="1"/>
          </p:cNvPicPr>
          <p:nvPr/>
        </p:nvPicPr>
        <p:blipFill rotWithShape="1">
          <a:blip r:embed="rId19"/>
          <a:srcRect t="10099" b="8539"/>
          <a:stretch/>
        </p:blipFill>
        <p:spPr>
          <a:xfrm>
            <a:off x="8312506" y="3934498"/>
            <a:ext cx="468576" cy="381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721776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Pentagon 19">
            <a:extLst>
              <a:ext uri="{FF2B5EF4-FFF2-40B4-BE49-F238E27FC236}">
                <a16:creationId xmlns:a16="http://schemas.microsoft.com/office/drawing/2014/main" id="{CAD93C59-72A9-4F6D-A654-02B9F8A5EFF9}"/>
              </a:ext>
            </a:extLst>
          </p:cNvPr>
          <p:cNvSpPr>
            <a:spLocks/>
          </p:cNvSpPr>
          <p:nvPr/>
        </p:nvSpPr>
        <p:spPr bwMode="auto">
          <a:xfrm>
            <a:off x="756602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000" dirty="0">
                <a:solidFill>
                  <a:prstClr val="white"/>
                </a:solidFill>
                <a:latin typeface="Calibri" panose="020F0502020204030204" pitchFamily="34" charset="0"/>
              </a:rPr>
              <a:t>28 of 37</a:t>
            </a:r>
          </a:p>
        </p:txBody>
      </p:sp>
      <p:sp>
        <p:nvSpPr>
          <p:cNvPr id="376" name="Pentagon 19">
            <a:extLst>
              <a:ext uri="{FF2B5EF4-FFF2-40B4-BE49-F238E27FC236}">
                <a16:creationId xmlns:a16="http://schemas.microsoft.com/office/drawing/2014/main" id="{1BDC5465-6022-4404-B4D8-ED55CF961B8A}"/>
              </a:ext>
            </a:extLst>
          </p:cNvPr>
          <p:cNvSpPr>
            <a:spLocks/>
          </p:cNvSpPr>
          <p:nvPr/>
        </p:nvSpPr>
        <p:spPr bwMode="auto">
          <a:xfrm>
            <a:off x="824865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000" dirty="0">
                <a:solidFill>
                  <a:prstClr val="white"/>
                </a:solidFill>
                <a:latin typeface="Calibri" panose="020F0502020204030204" pitchFamily="34" charset="0"/>
              </a:rPr>
              <a:t>11 of 3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57F1EBC-D01A-4083-B657-63AFB1490839}"/>
              </a:ext>
            </a:extLst>
          </p:cNvPr>
          <p:cNvSpPr txBox="1"/>
          <p:nvPr/>
        </p:nvSpPr>
        <p:spPr>
          <a:xfrm>
            <a:off x="6122988" y="2749550"/>
            <a:ext cx="3475037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b="1" dirty="0">
                <a:solidFill>
                  <a:prstClr val="white"/>
                </a:solidFill>
                <a:latin typeface="Calibri" panose="020F0502020204030204" pitchFamily="34" charset="0"/>
                <a:cs typeface="Arial" charset="0"/>
              </a:rPr>
              <a:t>Investment Opportunit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D251BD-538A-4F4F-847E-620EEDA298A0}"/>
              </a:ext>
            </a:extLst>
          </p:cNvPr>
          <p:cNvSpPr txBox="1"/>
          <p:nvPr/>
        </p:nvSpPr>
        <p:spPr>
          <a:xfrm>
            <a:off x="6881813" y="4632911"/>
            <a:ext cx="2697162" cy="33855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anchor="ctr" anchorCtr="1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b="1" dirty="0">
                <a:solidFill>
                  <a:prstClr val="white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1400" b="1" dirty="0">
                <a:solidFill>
                  <a:prstClr val="white"/>
                </a:solidFill>
                <a:latin typeface="Calibri" panose="020F0502020204030204" pitchFamily="34" charset="0"/>
                <a:cs typeface="Arial" charset="0"/>
              </a:rPr>
              <a:t>Doing Business Ranking(2018)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1B8F13C-F732-4DA1-9250-DB02936E7688}"/>
              </a:ext>
            </a:extLst>
          </p:cNvPr>
          <p:cNvSpPr/>
          <p:nvPr/>
        </p:nvSpPr>
        <p:spPr>
          <a:xfrm>
            <a:off x="756602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50" dirty="0">
                <a:solidFill>
                  <a:prstClr val="white"/>
                </a:solidFill>
                <a:latin typeface="Calibri" panose="020F0502020204030204" pitchFamily="34" charset="0"/>
              </a:rPr>
              <a:t>Registering Propert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6BA1818-32ED-44D1-975C-958200BDD124}"/>
              </a:ext>
            </a:extLst>
          </p:cNvPr>
          <p:cNvSpPr/>
          <p:nvPr/>
        </p:nvSpPr>
        <p:spPr>
          <a:xfrm>
            <a:off x="8248650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50" dirty="0">
                <a:solidFill>
                  <a:prstClr val="white"/>
                </a:solidFill>
                <a:latin typeface="Calibri" panose="020F0502020204030204" pitchFamily="34" charset="0"/>
              </a:rPr>
              <a:t>Dealing with Construction Permits</a:t>
            </a:r>
          </a:p>
        </p:txBody>
      </p:sp>
      <p:sp>
        <p:nvSpPr>
          <p:cNvPr id="23560" name="TextBox 174">
            <a:extLst>
              <a:ext uri="{FF2B5EF4-FFF2-40B4-BE49-F238E27FC236}">
                <a16:creationId xmlns:a16="http://schemas.microsoft.com/office/drawing/2014/main" id="{1573FD4E-62B9-45E8-8F28-CED990ED2D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altLang="en-US" sz="90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0B63A6C-2A5E-4CA3-BC66-4CBC6008BC9A}"/>
              </a:ext>
            </a:extLst>
          </p:cNvPr>
          <p:cNvSpPr/>
          <p:nvPr/>
        </p:nvSpPr>
        <p:spPr>
          <a:xfrm>
            <a:off x="893127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50" dirty="0">
                <a:solidFill>
                  <a:prstClr val="white"/>
                </a:solidFill>
                <a:latin typeface="Calibri" panose="020F0502020204030204" pitchFamily="34" charset="0"/>
              </a:rPr>
              <a:t>Enforcing Contracts</a:t>
            </a:r>
          </a:p>
        </p:txBody>
      </p:sp>
      <p:pic>
        <p:nvPicPr>
          <p:cNvPr id="23562" name="Picture 4">
            <a:extLst>
              <a:ext uri="{FF2B5EF4-FFF2-40B4-BE49-F238E27FC236}">
                <a16:creationId xmlns:a16="http://schemas.microsoft.com/office/drawing/2014/main" id="{7C8EEAB2-0239-4BB5-94B3-23E319AF1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513" y="5249863"/>
            <a:ext cx="439737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6" name="Pentagon 19">
            <a:extLst>
              <a:ext uri="{FF2B5EF4-FFF2-40B4-BE49-F238E27FC236}">
                <a16:creationId xmlns:a16="http://schemas.microsoft.com/office/drawing/2014/main" id="{5F8E9670-D71A-4765-B6B5-D711BC9AD6E1}"/>
              </a:ext>
            </a:extLst>
          </p:cNvPr>
          <p:cNvSpPr>
            <a:spLocks/>
          </p:cNvSpPr>
          <p:nvPr/>
        </p:nvSpPr>
        <p:spPr bwMode="auto">
          <a:xfrm>
            <a:off x="893127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000" dirty="0">
                <a:solidFill>
                  <a:prstClr val="white"/>
                </a:solidFill>
                <a:latin typeface="Calibri" panose="020F0502020204030204" pitchFamily="34" charset="0"/>
              </a:rPr>
              <a:t>20</a:t>
            </a:r>
            <a:r>
              <a:rPr lang="en-GB" sz="1000" baseline="30000" dirty="0">
                <a:solidFill>
                  <a:prstClr val="white"/>
                </a:solidFill>
                <a:latin typeface="Calibri" panose="020F0502020204030204" pitchFamily="34" charset="0"/>
              </a:rPr>
              <a:t> </a:t>
            </a:r>
            <a:r>
              <a:rPr lang="en-GB" sz="1000" dirty="0">
                <a:solidFill>
                  <a:prstClr val="white"/>
                </a:solidFill>
                <a:latin typeface="Calibri" panose="020F0502020204030204" pitchFamily="34" charset="0"/>
              </a:rPr>
              <a:t>of 37</a:t>
            </a:r>
          </a:p>
        </p:txBody>
      </p:sp>
      <p:sp>
        <p:nvSpPr>
          <p:cNvPr id="23564" name="Title 3">
            <a:extLst>
              <a:ext uri="{FF2B5EF4-FFF2-40B4-BE49-F238E27FC236}">
                <a16:creationId xmlns:a16="http://schemas.microsoft.com/office/drawing/2014/main" id="{C62A749B-CFC7-4224-A789-D20A772AC33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77278" y="233255"/>
            <a:ext cx="8543925" cy="5611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en-GB" alt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gun State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6882DF2C-9120-4A66-8487-575D9494F4D6}"/>
              </a:ext>
            </a:extLst>
          </p:cNvPr>
          <p:cNvSpPr txBox="1"/>
          <p:nvPr/>
        </p:nvSpPr>
        <p:spPr>
          <a:xfrm rot="16200000">
            <a:off x="-2286274" y="3478372"/>
            <a:ext cx="5303837" cy="2743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1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dirty="0">
                <a:solidFill>
                  <a:prstClr val="white"/>
                </a:solidFill>
                <a:latin typeface="Calibri" panose="020F0502020204030204" pitchFamily="34" charset="0"/>
                <a:cs typeface="Arial" charset="0"/>
              </a:rPr>
              <a:t>Gateway State</a:t>
            </a:r>
            <a:endParaRPr lang="en-GB" sz="1600" b="1" dirty="0">
              <a:solidFill>
                <a:prstClr val="white"/>
              </a:solidFill>
              <a:latin typeface="Calibri" panose="020F0502020204030204" pitchFamily="34" charset="0"/>
              <a:cs typeface="Arial" charset="0"/>
            </a:endParaRPr>
          </a:p>
        </p:txBody>
      </p:sp>
      <p:grpSp>
        <p:nvGrpSpPr>
          <p:cNvPr id="23566" name="Group 9">
            <a:extLst>
              <a:ext uri="{FF2B5EF4-FFF2-40B4-BE49-F238E27FC236}">
                <a16:creationId xmlns:a16="http://schemas.microsoft.com/office/drawing/2014/main" id="{5B6131BD-3CE3-4FC4-B13A-FA9B797C1EF5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41338" y="963613"/>
            <a:ext cx="2897187" cy="2319337"/>
            <a:chOff x="770228" y="1459989"/>
            <a:chExt cx="4081047" cy="3267527"/>
          </a:xfrm>
        </p:grpSpPr>
        <p:sp>
          <p:nvSpPr>
            <p:cNvPr id="299" name="Freeform 4">
              <a:extLst>
                <a:ext uri="{FF2B5EF4-FFF2-40B4-BE49-F238E27FC236}">
                  <a16:creationId xmlns:a16="http://schemas.microsoft.com/office/drawing/2014/main" id="{B6150C82-CBE5-48B4-B60C-C210BB7B26A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91538" y="4349548"/>
              <a:ext cx="418167" cy="377968"/>
            </a:xfrm>
            <a:custGeom>
              <a:avLst/>
              <a:gdLst>
                <a:gd name="T0" fmla="*/ 12 w 786"/>
                <a:gd name="T1" fmla="*/ 19 h 714"/>
                <a:gd name="T2" fmla="*/ 22 w 786"/>
                <a:gd name="T3" fmla="*/ 18 h 714"/>
                <a:gd name="T4" fmla="*/ 27 w 786"/>
                <a:gd name="T5" fmla="*/ 17 h 714"/>
                <a:gd name="T6" fmla="*/ 30 w 786"/>
                <a:gd name="T7" fmla="*/ 14 h 714"/>
                <a:gd name="T8" fmla="*/ 37 w 786"/>
                <a:gd name="T9" fmla="*/ 16 h 714"/>
                <a:gd name="T10" fmla="*/ 43 w 786"/>
                <a:gd name="T11" fmla="*/ 13 h 714"/>
                <a:gd name="T12" fmla="*/ 48 w 786"/>
                <a:gd name="T13" fmla="*/ 8 h 714"/>
                <a:gd name="T14" fmla="*/ 55 w 786"/>
                <a:gd name="T15" fmla="*/ 4 h 714"/>
                <a:gd name="T16" fmla="*/ 66 w 786"/>
                <a:gd name="T17" fmla="*/ 0 h 714"/>
                <a:gd name="T18" fmla="*/ 63 w 786"/>
                <a:gd name="T19" fmla="*/ 12 h 714"/>
                <a:gd name="T20" fmla="*/ 59 w 786"/>
                <a:gd name="T21" fmla="*/ 19 h 714"/>
                <a:gd name="T22" fmla="*/ 57 w 786"/>
                <a:gd name="T23" fmla="*/ 29 h 714"/>
                <a:gd name="T24" fmla="*/ 59 w 786"/>
                <a:gd name="T25" fmla="*/ 36 h 714"/>
                <a:gd name="T26" fmla="*/ 66 w 786"/>
                <a:gd name="T27" fmla="*/ 35 h 714"/>
                <a:gd name="T28" fmla="*/ 64 w 786"/>
                <a:gd name="T29" fmla="*/ 41 h 714"/>
                <a:gd name="T30" fmla="*/ 64 w 786"/>
                <a:gd name="T31" fmla="*/ 48 h 714"/>
                <a:gd name="T32" fmla="*/ 63 w 786"/>
                <a:gd name="T33" fmla="*/ 56 h 714"/>
                <a:gd name="T34" fmla="*/ 60 w 786"/>
                <a:gd name="T35" fmla="*/ 60 h 714"/>
                <a:gd name="T36" fmla="*/ 57 w 786"/>
                <a:gd name="T37" fmla="*/ 58 h 714"/>
                <a:gd name="T38" fmla="*/ 54 w 786"/>
                <a:gd name="T39" fmla="*/ 54 h 714"/>
                <a:gd name="T40" fmla="*/ 53 w 786"/>
                <a:gd name="T41" fmla="*/ 51 h 714"/>
                <a:gd name="T42" fmla="*/ 51 w 786"/>
                <a:gd name="T43" fmla="*/ 53 h 714"/>
                <a:gd name="T44" fmla="*/ 49 w 786"/>
                <a:gd name="T45" fmla="*/ 54 h 714"/>
                <a:gd name="T46" fmla="*/ 47 w 786"/>
                <a:gd name="T47" fmla="*/ 50 h 714"/>
                <a:gd name="T48" fmla="*/ 48 w 786"/>
                <a:gd name="T49" fmla="*/ 54 h 714"/>
                <a:gd name="T50" fmla="*/ 47 w 786"/>
                <a:gd name="T51" fmla="*/ 54 h 714"/>
                <a:gd name="T52" fmla="*/ 46 w 786"/>
                <a:gd name="T53" fmla="*/ 59 h 714"/>
                <a:gd name="T54" fmla="*/ 47 w 786"/>
                <a:gd name="T55" fmla="*/ 62 h 714"/>
                <a:gd name="T56" fmla="*/ 42 w 786"/>
                <a:gd name="T57" fmla="*/ 62 h 714"/>
                <a:gd name="T58" fmla="*/ 39 w 786"/>
                <a:gd name="T59" fmla="*/ 57 h 714"/>
                <a:gd name="T60" fmla="*/ 40 w 786"/>
                <a:gd name="T61" fmla="*/ 54 h 714"/>
                <a:gd name="T62" fmla="*/ 43 w 786"/>
                <a:gd name="T63" fmla="*/ 55 h 714"/>
                <a:gd name="T64" fmla="*/ 40 w 786"/>
                <a:gd name="T65" fmla="*/ 53 h 714"/>
                <a:gd name="T66" fmla="*/ 38 w 786"/>
                <a:gd name="T67" fmla="*/ 57 h 714"/>
                <a:gd name="T68" fmla="*/ 37 w 786"/>
                <a:gd name="T69" fmla="*/ 57 h 714"/>
                <a:gd name="T70" fmla="*/ 37 w 786"/>
                <a:gd name="T71" fmla="*/ 60 h 714"/>
                <a:gd name="T72" fmla="*/ 33 w 786"/>
                <a:gd name="T73" fmla="*/ 56 h 714"/>
                <a:gd name="T74" fmla="*/ 32 w 786"/>
                <a:gd name="T75" fmla="*/ 58 h 714"/>
                <a:gd name="T76" fmla="*/ 26 w 786"/>
                <a:gd name="T77" fmla="*/ 54 h 714"/>
                <a:gd name="T78" fmla="*/ 26 w 786"/>
                <a:gd name="T79" fmla="*/ 54 h 714"/>
                <a:gd name="T80" fmla="*/ 24 w 786"/>
                <a:gd name="T81" fmla="*/ 51 h 714"/>
                <a:gd name="T82" fmla="*/ 22 w 786"/>
                <a:gd name="T83" fmla="*/ 51 h 714"/>
                <a:gd name="T84" fmla="*/ 20 w 786"/>
                <a:gd name="T85" fmla="*/ 50 h 714"/>
                <a:gd name="T86" fmla="*/ 20 w 786"/>
                <a:gd name="T87" fmla="*/ 48 h 714"/>
                <a:gd name="T88" fmla="*/ 18 w 786"/>
                <a:gd name="T89" fmla="*/ 47 h 714"/>
                <a:gd name="T90" fmla="*/ 15 w 786"/>
                <a:gd name="T91" fmla="*/ 45 h 714"/>
                <a:gd name="T92" fmla="*/ 11 w 786"/>
                <a:gd name="T93" fmla="*/ 39 h 714"/>
                <a:gd name="T94" fmla="*/ 12 w 786"/>
                <a:gd name="T95" fmla="*/ 36 h 714"/>
                <a:gd name="T96" fmla="*/ 7 w 786"/>
                <a:gd name="T97" fmla="*/ 33 h 714"/>
                <a:gd name="T98" fmla="*/ 5 w 786"/>
                <a:gd name="T99" fmla="*/ 28 h 714"/>
                <a:gd name="T100" fmla="*/ 7 w 786"/>
                <a:gd name="T101" fmla="*/ 30 h 714"/>
                <a:gd name="T102" fmla="*/ 4 w 786"/>
                <a:gd name="T103" fmla="*/ 24 h 714"/>
                <a:gd name="T104" fmla="*/ 2 w 786"/>
                <a:gd name="T105" fmla="*/ 20 h 714"/>
                <a:gd name="T106" fmla="*/ 0 w 786"/>
                <a:gd name="T107" fmla="*/ 15 h 714"/>
                <a:gd name="T108" fmla="*/ 4 w 786"/>
                <a:gd name="T109" fmla="*/ 16 h 714"/>
                <a:gd name="T110" fmla="*/ 55 w 786"/>
                <a:gd name="T111" fmla="*/ 60 h 714"/>
                <a:gd name="T112" fmla="*/ 47 w 786"/>
                <a:gd name="T113" fmla="*/ 60 h 714"/>
                <a:gd name="T114" fmla="*/ 51 w 786"/>
                <a:gd name="T115" fmla="*/ 54 h 714"/>
                <a:gd name="T116" fmla="*/ 54 w 786"/>
                <a:gd name="T117" fmla="*/ 56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86"/>
                <a:gd name="T178" fmla="*/ 0 h 714"/>
                <a:gd name="T179" fmla="*/ 786 w 786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86" h="714">
                  <a:moveTo>
                    <a:pt x="54" y="186"/>
                  </a:moveTo>
                  <a:lnTo>
                    <a:pt x="54" y="192"/>
                  </a:lnTo>
                  <a:lnTo>
                    <a:pt x="72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204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20" y="210"/>
                  </a:lnTo>
                  <a:lnTo>
                    <a:pt x="126" y="210"/>
                  </a:lnTo>
                  <a:lnTo>
                    <a:pt x="132" y="210"/>
                  </a:lnTo>
                  <a:lnTo>
                    <a:pt x="132" y="216"/>
                  </a:lnTo>
                  <a:lnTo>
                    <a:pt x="138" y="222"/>
                  </a:lnTo>
                  <a:lnTo>
                    <a:pt x="150" y="222"/>
                  </a:lnTo>
                  <a:lnTo>
                    <a:pt x="162" y="234"/>
                  </a:lnTo>
                  <a:lnTo>
                    <a:pt x="168" y="240"/>
                  </a:lnTo>
                  <a:lnTo>
                    <a:pt x="180" y="240"/>
                  </a:lnTo>
                  <a:lnTo>
                    <a:pt x="186" y="228"/>
                  </a:lnTo>
                  <a:lnTo>
                    <a:pt x="210" y="234"/>
                  </a:lnTo>
                  <a:lnTo>
                    <a:pt x="222" y="228"/>
                  </a:lnTo>
                  <a:lnTo>
                    <a:pt x="228" y="216"/>
                  </a:lnTo>
                  <a:lnTo>
                    <a:pt x="234" y="210"/>
                  </a:lnTo>
                  <a:lnTo>
                    <a:pt x="240" y="216"/>
                  </a:lnTo>
                  <a:lnTo>
                    <a:pt x="246" y="210"/>
                  </a:lnTo>
                  <a:lnTo>
                    <a:pt x="252" y="210"/>
                  </a:lnTo>
                  <a:lnTo>
                    <a:pt x="258" y="210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192"/>
                  </a:lnTo>
                  <a:lnTo>
                    <a:pt x="270" y="192"/>
                  </a:lnTo>
                  <a:lnTo>
                    <a:pt x="276" y="192"/>
                  </a:lnTo>
                  <a:lnTo>
                    <a:pt x="282" y="192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192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198"/>
                  </a:lnTo>
                  <a:lnTo>
                    <a:pt x="312" y="198"/>
                  </a:lnTo>
                  <a:lnTo>
                    <a:pt x="312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24" y="186"/>
                  </a:lnTo>
                  <a:lnTo>
                    <a:pt x="318" y="180"/>
                  </a:lnTo>
                  <a:lnTo>
                    <a:pt x="324" y="180"/>
                  </a:lnTo>
                  <a:lnTo>
                    <a:pt x="330" y="186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74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54" y="144"/>
                  </a:lnTo>
                  <a:lnTo>
                    <a:pt x="360" y="144"/>
                  </a:lnTo>
                  <a:lnTo>
                    <a:pt x="372" y="156"/>
                  </a:lnTo>
                  <a:lnTo>
                    <a:pt x="372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96" y="168"/>
                  </a:lnTo>
                  <a:lnTo>
                    <a:pt x="396" y="174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26" y="186"/>
                  </a:lnTo>
                  <a:lnTo>
                    <a:pt x="432" y="186"/>
                  </a:lnTo>
                  <a:lnTo>
                    <a:pt x="438" y="180"/>
                  </a:lnTo>
                  <a:lnTo>
                    <a:pt x="438" y="168"/>
                  </a:lnTo>
                  <a:lnTo>
                    <a:pt x="438" y="162"/>
                  </a:lnTo>
                  <a:lnTo>
                    <a:pt x="444" y="156"/>
                  </a:lnTo>
                  <a:lnTo>
                    <a:pt x="450" y="156"/>
                  </a:lnTo>
                  <a:lnTo>
                    <a:pt x="456" y="150"/>
                  </a:lnTo>
                  <a:lnTo>
                    <a:pt x="462" y="156"/>
                  </a:lnTo>
                  <a:lnTo>
                    <a:pt x="468" y="162"/>
                  </a:lnTo>
                  <a:lnTo>
                    <a:pt x="474" y="162"/>
                  </a:lnTo>
                  <a:lnTo>
                    <a:pt x="486" y="162"/>
                  </a:lnTo>
                  <a:lnTo>
                    <a:pt x="492" y="156"/>
                  </a:lnTo>
                  <a:lnTo>
                    <a:pt x="498" y="150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28" y="126"/>
                  </a:lnTo>
                  <a:lnTo>
                    <a:pt x="522" y="120"/>
                  </a:lnTo>
                  <a:lnTo>
                    <a:pt x="522" y="114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28" y="102"/>
                  </a:lnTo>
                  <a:lnTo>
                    <a:pt x="534" y="96"/>
                  </a:lnTo>
                  <a:lnTo>
                    <a:pt x="552" y="96"/>
                  </a:lnTo>
                  <a:lnTo>
                    <a:pt x="570" y="102"/>
                  </a:lnTo>
                  <a:lnTo>
                    <a:pt x="582" y="96"/>
                  </a:lnTo>
                  <a:lnTo>
                    <a:pt x="582" y="90"/>
                  </a:lnTo>
                  <a:lnTo>
                    <a:pt x="582" y="78"/>
                  </a:lnTo>
                  <a:lnTo>
                    <a:pt x="582" y="72"/>
                  </a:lnTo>
                  <a:lnTo>
                    <a:pt x="582" y="66"/>
                  </a:lnTo>
                  <a:lnTo>
                    <a:pt x="594" y="60"/>
                  </a:lnTo>
                  <a:lnTo>
                    <a:pt x="600" y="60"/>
                  </a:lnTo>
                  <a:lnTo>
                    <a:pt x="606" y="54"/>
                  </a:lnTo>
                  <a:lnTo>
                    <a:pt x="618" y="48"/>
                  </a:lnTo>
                  <a:lnTo>
                    <a:pt x="618" y="42"/>
                  </a:lnTo>
                  <a:lnTo>
                    <a:pt x="624" y="42"/>
                  </a:lnTo>
                  <a:lnTo>
                    <a:pt x="636" y="48"/>
                  </a:lnTo>
                  <a:lnTo>
                    <a:pt x="648" y="54"/>
                  </a:lnTo>
                  <a:lnTo>
                    <a:pt x="660" y="54"/>
                  </a:lnTo>
                  <a:lnTo>
                    <a:pt x="666" y="60"/>
                  </a:lnTo>
                  <a:lnTo>
                    <a:pt x="672" y="54"/>
                  </a:lnTo>
                  <a:lnTo>
                    <a:pt x="684" y="48"/>
                  </a:lnTo>
                  <a:lnTo>
                    <a:pt x="708" y="42"/>
                  </a:lnTo>
                  <a:lnTo>
                    <a:pt x="714" y="42"/>
                  </a:lnTo>
                  <a:lnTo>
                    <a:pt x="720" y="36"/>
                  </a:lnTo>
                  <a:lnTo>
                    <a:pt x="720" y="30"/>
                  </a:lnTo>
                  <a:lnTo>
                    <a:pt x="714" y="12"/>
                  </a:lnTo>
                  <a:lnTo>
                    <a:pt x="708" y="0"/>
                  </a:lnTo>
                  <a:lnTo>
                    <a:pt x="738" y="6"/>
                  </a:lnTo>
                  <a:lnTo>
                    <a:pt x="756" y="6"/>
                  </a:lnTo>
                  <a:lnTo>
                    <a:pt x="762" y="42"/>
                  </a:lnTo>
                  <a:lnTo>
                    <a:pt x="738" y="72"/>
                  </a:lnTo>
                  <a:lnTo>
                    <a:pt x="750" y="90"/>
                  </a:lnTo>
                  <a:lnTo>
                    <a:pt x="762" y="96"/>
                  </a:lnTo>
                  <a:lnTo>
                    <a:pt x="756" y="102"/>
                  </a:lnTo>
                  <a:lnTo>
                    <a:pt x="750" y="108"/>
                  </a:lnTo>
                  <a:lnTo>
                    <a:pt x="750" y="114"/>
                  </a:lnTo>
                  <a:lnTo>
                    <a:pt x="750" y="120"/>
                  </a:lnTo>
                  <a:lnTo>
                    <a:pt x="750" y="126"/>
                  </a:lnTo>
                  <a:lnTo>
                    <a:pt x="750" y="132"/>
                  </a:lnTo>
                  <a:lnTo>
                    <a:pt x="738" y="132"/>
                  </a:lnTo>
                  <a:lnTo>
                    <a:pt x="732" y="138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14" y="144"/>
                  </a:lnTo>
                  <a:lnTo>
                    <a:pt x="714" y="150"/>
                  </a:lnTo>
                  <a:lnTo>
                    <a:pt x="720" y="156"/>
                  </a:lnTo>
                  <a:lnTo>
                    <a:pt x="720" y="162"/>
                  </a:lnTo>
                  <a:lnTo>
                    <a:pt x="714" y="162"/>
                  </a:lnTo>
                  <a:lnTo>
                    <a:pt x="708" y="168"/>
                  </a:lnTo>
                  <a:lnTo>
                    <a:pt x="708" y="180"/>
                  </a:lnTo>
                  <a:lnTo>
                    <a:pt x="708" y="192"/>
                  </a:lnTo>
                  <a:lnTo>
                    <a:pt x="696" y="198"/>
                  </a:lnTo>
                  <a:lnTo>
                    <a:pt x="696" y="204"/>
                  </a:lnTo>
                  <a:lnTo>
                    <a:pt x="684" y="210"/>
                  </a:lnTo>
                  <a:lnTo>
                    <a:pt x="684" y="216"/>
                  </a:lnTo>
                  <a:lnTo>
                    <a:pt x="684" y="222"/>
                  </a:lnTo>
                  <a:lnTo>
                    <a:pt x="678" y="228"/>
                  </a:lnTo>
                  <a:lnTo>
                    <a:pt x="678" y="234"/>
                  </a:lnTo>
                  <a:lnTo>
                    <a:pt x="672" y="240"/>
                  </a:lnTo>
                  <a:lnTo>
                    <a:pt x="672" y="252"/>
                  </a:lnTo>
                  <a:lnTo>
                    <a:pt x="672" y="258"/>
                  </a:lnTo>
                  <a:lnTo>
                    <a:pt x="666" y="264"/>
                  </a:lnTo>
                  <a:lnTo>
                    <a:pt x="678" y="264"/>
                  </a:lnTo>
                  <a:lnTo>
                    <a:pt x="684" y="276"/>
                  </a:lnTo>
                  <a:lnTo>
                    <a:pt x="684" y="288"/>
                  </a:lnTo>
                  <a:lnTo>
                    <a:pt x="672" y="300"/>
                  </a:lnTo>
                  <a:lnTo>
                    <a:pt x="660" y="318"/>
                  </a:lnTo>
                  <a:lnTo>
                    <a:pt x="660" y="336"/>
                  </a:lnTo>
                  <a:lnTo>
                    <a:pt x="654" y="342"/>
                  </a:lnTo>
                  <a:lnTo>
                    <a:pt x="660" y="354"/>
                  </a:lnTo>
                  <a:lnTo>
                    <a:pt x="660" y="366"/>
                  </a:lnTo>
                  <a:lnTo>
                    <a:pt x="666" y="378"/>
                  </a:lnTo>
                  <a:lnTo>
                    <a:pt x="672" y="390"/>
                  </a:lnTo>
                  <a:lnTo>
                    <a:pt x="678" y="396"/>
                  </a:lnTo>
                  <a:lnTo>
                    <a:pt x="684" y="390"/>
                  </a:lnTo>
                  <a:lnTo>
                    <a:pt x="690" y="390"/>
                  </a:lnTo>
                  <a:lnTo>
                    <a:pt x="690" y="396"/>
                  </a:lnTo>
                  <a:lnTo>
                    <a:pt x="684" y="396"/>
                  </a:lnTo>
                  <a:lnTo>
                    <a:pt x="684" y="402"/>
                  </a:lnTo>
                  <a:lnTo>
                    <a:pt x="684" y="408"/>
                  </a:lnTo>
                  <a:lnTo>
                    <a:pt x="678" y="414"/>
                  </a:lnTo>
                  <a:lnTo>
                    <a:pt x="684" y="414"/>
                  </a:lnTo>
                  <a:lnTo>
                    <a:pt x="684" y="420"/>
                  </a:lnTo>
                  <a:lnTo>
                    <a:pt x="684" y="426"/>
                  </a:lnTo>
                  <a:lnTo>
                    <a:pt x="690" y="420"/>
                  </a:lnTo>
                  <a:lnTo>
                    <a:pt x="696" y="420"/>
                  </a:lnTo>
                  <a:lnTo>
                    <a:pt x="696" y="426"/>
                  </a:lnTo>
                  <a:lnTo>
                    <a:pt x="690" y="426"/>
                  </a:lnTo>
                  <a:lnTo>
                    <a:pt x="696" y="426"/>
                  </a:lnTo>
                  <a:lnTo>
                    <a:pt x="708" y="426"/>
                  </a:lnTo>
                  <a:lnTo>
                    <a:pt x="726" y="414"/>
                  </a:lnTo>
                  <a:lnTo>
                    <a:pt x="732" y="408"/>
                  </a:lnTo>
                  <a:lnTo>
                    <a:pt x="744" y="402"/>
                  </a:lnTo>
                  <a:lnTo>
                    <a:pt x="756" y="402"/>
                  </a:lnTo>
                  <a:lnTo>
                    <a:pt x="768" y="402"/>
                  </a:lnTo>
                  <a:lnTo>
                    <a:pt x="786" y="408"/>
                  </a:lnTo>
                  <a:lnTo>
                    <a:pt x="786" y="414"/>
                  </a:lnTo>
                  <a:lnTo>
                    <a:pt x="774" y="420"/>
                  </a:lnTo>
                  <a:lnTo>
                    <a:pt x="774" y="426"/>
                  </a:lnTo>
                  <a:lnTo>
                    <a:pt x="768" y="432"/>
                  </a:lnTo>
                  <a:lnTo>
                    <a:pt x="762" y="438"/>
                  </a:lnTo>
                  <a:lnTo>
                    <a:pt x="756" y="438"/>
                  </a:lnTo>
                  <a:lnTo>
                    <a:pt x="756" y="444"/>
                  </a:lnTo>
                  <a:lnTo>
                    <a:pt x="756" y="450"/>
                  </a:lnTo>
                  <a:lnTo>
                    <a:pt x="762" y="450"/>
                  </a:lnTo>
                  <a:lnTo>
                    <a:pt x="750" y="456"/>
                  </a:lnTo>
                  <a:lnTo>
                    <a:pt x="738" y="468"/>
                  </a:lnTo>
                  <a:lnTo>
                    <a:pt x="726" y="480"/>
                  </a:lnTo>
                  <a:lnTo>
                    <a:pt x="726" y="486"/>
                  </a:lnTo>
                  <a:lnTo>
                    <a:pt x="732" y="486"/>
                  </a:lnTo>
                  <a:lnTo>
                    <a:pt x="732" y="492"/>
                  </a:lnTo>
                  <a:lnTo>
                    <a:pt x="732" y="504"/>
                  </a:lnTo>
                  <a:lnTo>
                    <a:pt x="738" y="504"/>
                  </a:lnTo>
                  <a:lnTo>
                    <a:pt x="744" y="510"/>
                  </a:lnTo>
                  <a:lnTo>
                    <a:pt x="738" y="522"/>
                  </a:lnTo>
                  <a:lnTo>
                    <a:pt x="744" y="528"/>
                  </a:lnTo>
                  <a:lnTo>
                    <a:pt x="756" y="534"/>
                  </a:lnTo>
                  <a:lnTo>
                    <a:pt x="756" y="540"/>
                  </a:lnTo>
                  <a:lnTo>
                    <a:pt x="744" y="552"/>
                  </a:lnTo>
                  <a:lnTo>
                    <a:pt x="738" y="552"/>
                  </a:lnTo>
                  <a:lnTo>
                    <a:pt x="738" y="558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64"/>
                  </a:lnTo>
                  <a:lnTo>
                    <a:pt x="744" y="576"/>
                  </a:lnTo>
                  <a:lnTo>
                    <a:pt x="738" y="588"/>
                  </a:lnTo>
                  <a:lnTo>
                    <a:pt x="738" y="594"/>
                  </a:lnTo>
                  <a:lnTo>
                    <a:pt x="738" y="600"/>
                  </a:lnTo>
                  <a:lnTo>
                    <a:pt x="738" y="606"/>
                  </a:lnTo>
                  <a:lnTo>
                    <a:pt x="732" y="612"/>
                  </a:lnTo>
                  <a:lnTo>
                    <a:pt x="726" y="624"/>
                  </a:lnTo>
                  <a:lnTo>
                    <a:pt x="726" y="636"/>
                  </a:lnTo>
                  <a:lnTo>
                    <a:pt x="726" y="648"/>
                  </a:lnTo>
                  <a:lnTo>
                    <a:pt x="738" y="654"/>
                  </a:lnTo>
                  <a:lnTo>
                    <a:pt x="750" y="660"/>
                  </a:lnTo>
                  <a:lnTo>
                    <a:pt x="750" y="666"/>
                  </a:lnTo>
                  <a:lnTo>
                    <a:pt x="750" y="678"/>
                  </a:lnTo>
                  <a:lnTo>
                    <a:pt x="744" y="678"/>
                  </a:lnTo>
                  <a:lnTo>
                    <a:pt x="738" y="684"/>
                  </a:lnTo>
                  <a:lnTo>
                    <a:pt x="732" y="684"/>
                  </a:lnTo>
                  <a:lnTo>
                    <a:pt x="720" y="678"/>
                  </a:lnTo>
                  <a:lnTo>
                    <a:pt x="714" y="684"/>
                  </a:lnTo>
                  <a:lnTo>
                    <a:pt x="708" y="684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0" y="690"/>
                  </a:lnTo>
                  <a:lnTo>
                    <a:pt x="690" y="684"/>
                  </a:lnTo>
                  <a:lnTo>
                    <a:pt x="690" y="690"/>
                  </a:lnTo>
                  <a:lnTo>
                    <a:pt x="684" y="690"/>
                  </a:lnTo>
                  <a:lnTo>
                    <a:pt x="684" y="684"/>
                  </a:lnTo>
                  <a:lnTo>
                    <a:pt x="678" y="684"/>
                  </a:lnTo>
                  <a:lnTo>
                    <a:pt x="672" y="678"/>
                  </a:lnTo>
                  <a:lnTo>
                    <a:pt x="672" y="672"/>
                  </a:lnTo>
                  <a:lnTo>
                    <a:pt x="678" y="672"/>
                  </a:lnTo>
                  <a:lnTo>
                    <a:pt x="672" y="672"/>
                  </a:lnTo>
                  <a:lnTo>
                    <a:pt x="666" y="672"/>
                  </a:lnTo>
                  <a:lnTo>
                    <a:pt x="660" y="672"/>
                  </a:lnTo>
                  <a:lnTo>
                    <a:pt x="654" y="672"/>
                  </a:lnTo>
                  <a:lnTo>
                    <a:pt x="654" y="666"/>
                  </a:lnTo>
                  <a:lnTo>
                    <a:pt x="648" y="666"/>
                  </a:lnTo>
                  <a:lnTo>
                    <a:pt x="642" y="660"/>
                  </a:lnTo>
                  <a:lnTo>
                    <a:pt x="642" y="654"/>
                  </a:lnTo>
                  <a:lnTo>
                    <a:pt x="642" y="648"/>
                  </a:lnTo>
                  <a:lnTo>
                    <a:pt x="636" y="648"/>
                  </a:lnTo>
                  <a:lnTo>
                    <a:pt x="630" y="648"/>
                  </a:lnTo>
                  <a:lnTo>
                    <a:pt x="624" y="648"/>
                  </a:lnTo>
                  <a:lnTo>
                    <a:pt x="624" y="642"/>
                  </a:lnTo>
                  <a:lnTo>
                    <a:pt x="618" y="636"/>
                  </a:lnTo>
                  <a:lnTo>
                    <a:pt x="624" y="636"/>
                  </a:lnTo>
                  <a:lnTo>
                    <a:pt x="624" y="630"/>
                  </a:lnTo>
                  <a:lnTo>
                    <a:pt x="618" y="630"/>
                  </a:lnTo>
                  <a:lnTo>
                    <a:pt x="618" y="624"/>
                  </a:lnTo>
                  <a:lnTo>
                    <a:pt x="618" y="618"/>
                  </a:lnTo>
                  <a:lnTo>
                    <a:pt x="618" y="612"/>
                  </a:lnTo>
                  <a:lnTo>
                    <a:pt x="618" y="606"/>
                  </a:lnTo>
                  <a:lnTo>
                    <a:pt x="624" y="606"/>
                  </a:lnTo>
                  <a:lnTo>
                    <a:pt x="624" y="600"/>
                  </a:lnTo>
                  <a:lnTo>
                    <a:pt x="618" y="600"/>
                  </a:lnTo>
                  <a:lnTo>
                    <a:pt x="618" y="594"/>
                  </a:lnTo>
                  <a:lnTo>
                    <a:pt x="618" y="588"/>
                  </a:lnTo>
                  <a:lnTo>
                    <a:pt x="618" y="582"/>
                  </a:lnTo>
                  <a:lnTo>
                    <a:pt x="612" y="582"/>
                  </a:lnTo>
                  <a:lnTo>
                    <a:pt x="606" y="582"/>
                  </a:lnTo>
                  <a:lnTo>
                    <a:pt x="612" y="582"/>
                  </a:lnTo>
                  <a:lnTo>
                    <a:pt x="612" y="588"/>
                  </a:lnTo>
                  <a:lnTo>
                    <a:pt x="612" y="594"/>
                  </a:lnTo>
                  <a:lnTo>
                    <a:pt x="618" y="594"/>
                  </a:lnTo>
                  <a:lnTo>
                    <a:pt x="618" y="600"/>
                  </a:lnTo>
                  <a:lnTo>
                    <a:pt x="618" y="606"/>
                  </a:lnTo>
                  <a:lnTo>
                    <a:pt x="618" y="612"/>
                  </a:lnTo>
                  <a:lnTo>
                    <a:pt x="612" y="612"/>
                  </a:lnTo>
                  <a:lnTo>
                    <a:pt x="612" y="618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94" y="612"/>
                  </a:lnTo>
                  <a:lnTo>
                    <a:pt x="588" y="606"/>
                  </a:lnTo>
                  <a:lnTo>
                    <a:pt x="588" y="612"/>
                  </a:lnTo>
                  <a:lnTo>
                    <a:pt x="594" y="612"/>
                  </a:lnTo>
                  <a:lnTo>
                    <a:pt x="594" y="618"/>
                  </a:lnTo>
                  <a:lnTo>
                    <a:pt x="588" y="618"/>
                  </a:lnTo>
                  <a:lnTo>
                    <a:pt x="588" y="624"/>
                  </a:lnTo>
                  <a:lnTo>
                    <a:pt x="582" y="624"/>
                  </a:lnTo>
                  <a:lnTo>
                    <a:pt x="582" y="630"/>
                  </a:lnTo>
                  <a:lnTo>
                    <a:pt x="576" y="630"/>
                  </a:lnTo>
                  <a:lnTo>
                    <a:pt x="576" y="636"/>
                  </a:lnTo>
                  <a:lnTo>
                    <a:pt x="570" y="636"/>
                  </a:lnTo>
                  <a:lnTo>
                    <a:pt x="570" y="642"/>
                  </a:lnTo>
                  <a:lnTo>
                    <a:pt x="564" y="642"/>
                  </a:lnTo>
                  <a:lnTo>
                    <a:pt x="564" y="636"/>
                  </a:lnTo>
                  <a:lnTo>
                    <a:pt x="564" y="630"/>
                  </a:lnTo>
                  <a:lnTo>
                    <a:pt x="564" y="624"/>
                  </a:lnTo>
                  <a:lnTo>
                    <a:pt x="564" y="618"/>
                  </a:lnTo>
                  <a:lnTo>
                    <a:pt x="570" y="612"/>
                  </a:lnTo>
                  <a:lnTo>
                    <a:pt x="564" y="606"/>
                  </a:lnTo>
                  <a:lnTo>
                    <a:pt x="564" y="600"/>
                  </a:lnTo>
                  <a:lnTo>
                    <a:pt x="564" y="594"/>
                  </a:lnTo>
                  <a:lnTo>
                    <a:pt x="558" y="594"/>
                  </a:lnTo>
                  <a:lnTo>
                    <a:pt x="558" y="588"/>
                  </a:lnTo>
                  <a:lnTo>
                    <a:pt x="552" y="582"/>
                  </a:lnTo>
                  <a:lnTo>
                    <a:pt x="552" y="576"/>
                  </a:lnTo>
                  <a:lnTo>
                    <a:pt x="552" y="570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6" y="582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58" y="588"/>
                  </a:lnTo>
                  <a:lnTo>
                    <a:pt x="558" y="594"/>
                  </a:lnTo>
                  <a:lnTo>
                    <a:pt x="558" y="600"/>
                  </a:lnTo>
                  <a:lnTo>
                    <a:pt x="558" y="606"/>
                  </a:lnTo>
                  <a:lnTo>
                    <a:pt x="552" y="612"/>
                  </a:lnTo>
                  <a:lnTo>
                    <a:pt x="558" y="612"/>
                  </a:lnTo>
                  <a:lnTo>
                    <a:pt x="558" y="618"/>
                  </a:lnTo>
                  <a:lnTo>
                    <a:pt x="558" y="624"/>
                  </a:lnTo>
                  <a:lnTo>
                    <a:pt x="558" y="630"/>
                  </a:lnTo>
                  <a:lnTo>
                    <a:pt x="552" y="630"/>
                  </a:lnTo>
                  <a:lnTo>
                    <a:pt x="552" y="624"/>
                  </a:lnTo>
                  <a:lnTo>
                    <a:pt x="546" y="624"/>
                  </a:lnTo>
                  <a:lnTo>
                    <a:pt x="546" y="618"/>
                  </a:lnTo>
                  <a:lnTo>
                    <a:pt x="546" y="612"/>
                  </a:lnTo>
                  <a:lnTo>
                    <a:pt x="540" y="612"/>
                  </a:lnTo>
                  <a:lnTo>
                    <a:pt x="534" y="612"/>
                  </a:lnTo>
                  <a:lnTo>
                    <a:pt x="528" y="612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28" y="618"/>
                  </a:lnTo>
                  <a:lnTo>
                    <a:pt x="534" y="618"/>
                  </a:lnTo>
                  <a:lnTo>
                    <a:pt x="540" y="618"/>
                  </a:lnTo>
                  <a:lnTo>
                    <a:pt x="540" y="624"/>
                  </a:lnTo>
                  <a:lnTo>
                    <a:pt x="546" y="624"/>
                  </a:lnTo>
                  <a:lnTo>
                    <a:pt x="546" y="630"/>
                  </a:lnTo>
                  <a:lnTo>
                    <a:pt x="552" y="630"/>
                  </a:lnTo>
                  <a:lnTo>
                    <a:pt x="552" y="636"/>
                  </a:lnTo>
                  <a:lnTo>
                    <a:pt x="546" y="642"/>
                  </a:lnTo>
                  <a:lnTo>
                    <a:pt x="546" y="648"/>
                  </a:lnTo>
                  <a:lnTo>
                    <a:pt x="540" y="648"/>
                  </a:lnTo>
                  <a:lnTo>
                    <a:pt x="540" y="654"/>
                  </a:lnTo>
                  <a:lnTo>
                    <a:pt x="540" y="660"/>
                  </a:lnTo>
                  <a:lnTo>
                    <a:pt x="534" y="666"/>
                  </a:lnTo>
                  <a:lnTo>
                    <a:pt x="534" y="672"/>
                  </a:lnTo>
                  <a:lnTo>
                    <a:pt x="534" y="678"/>
                  </a:lnTo>
                  <a:lnTo>
                    <a:pt x="534" y="684"/>
                  </a:lnTo>
                  <a:lnTo>
                    <a:pt x="534" y="678"/>
                  </a:lnTo>
                  <a:lnTo>
                    <a:pt x="528" y="678"/>
                  </a:lnTo>
                  <a:lnTo>
                    <a:pt x="528" y="684"/>
                  </a:lnTo>
                  <a:lnTo>
                    <a:pt x="522" y="690"/>
                  </a:lnTo>
                  <a:lnTo>
                    <a:pt x="528" y="690"/>
                  </a:lnTo>
                  <a:lnTo>
                    <a:pt x="528" y="684"/>
                  </a:lnTo>
                  <a:lnTo>
                    <a:pt x="534" y="684"/>
                  </a:lnTo>
                  <a:lnTo>
                    <a:pt x="534" y="690"/>
                  </a:lnTo>
                  <a:lnTo>
                    <a:pt x="534" y="696"/>
                  </a:lnTo>
                  <a:lnTo>
                    <a:pt x="540" y="696"/>
                  </a:lnTo>
                  <a:lnTo>
                    <a:pt x="540" y="702"/>
                  </a:lnTo>
                  <a:lnTo>
                    <a:pt x="540" y="708"/>
                  </a:lnTo>
                  <a:lnTo>
                    <a:pt x="534" y="708"/>
                  </a:lnTo>
                  <a:lnTo>
                    <a:pt x="528" y="708"/>
                  </a:lnTo>
                  <a:lnTo>
                    <a:pt x="522" y="708"/>
                  </a:lnTo>
                  <a:lnTo>
                    <a:pt x="516" y="708"/>
                  </a:lnTo>
                  <a:lnTo>
                    <a:pt x="510" y="708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2" y="708"/>
                  </a:lnTo>
                  <a:lnTo>
                    <a:pt x="486" y="714"/>
                  </a:lnTo>
                  <a:lnTo>
                    <a:pt x="480" y="708"/>
                  </a:lnTo>
                  <a:lnTo>
                    <a:pt x="474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68" y="714"/>
                  </a:lnTo>
                  <a:lnTo>
                    <a:pt x="456" y="714"/>
                  </a:lnTo>
                  <a:lnTo>
                    <a:pt x="450" y="714"/>
                  </a:lnTo>
                  <a:lnTo>
                    <a:pt x="450" y="708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50" y="690"/>
                  </a:lnTo>
                  <a:lnTo>
                    <a:pt x="450" y="684"/>
                  </a:lnTo>
                  <a:lnTo>
                    <a:pt x="450" y="678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56" y="660"/>
                  </a:lnTo>
                  <a:lnTo>
                    <a:pt x="462" y="660"/>
                  </a:lnTo>
                  <a:lnTo>
                    <a:pt x="462" y="654"/>
                  </a:lnTo>
                  <a:lnTo>
                    <a:pt x="456" y="654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48"/>
                  </a:lnTo>
                  <a:lnTo>
                    <a:pt x="444" y="648"/>
                  </a:lnTo>
                  <a:lnTo>
                    <a:pt x="444" y="642"/>
                  </a:lnTo>
                  <a:lnTo>
                    <a:pt x="444" y="636"/>
                  </a:lnTo>
                  <a:lnTo>
                    <a:pt x="450" y="636"/>
                  </a:lnTo>
                  <a:lnTo>
                    <a:pt x="450" y="630"/>
                  </a:lnTo>
                  <a:lnTo>
                    <a:pt x="456" y="630"/>
                  </a:lnTo>
                  <a:lnTo>
                    <a:pt x="462" y="630"/>
                  </a:lnTo>
                  <a:lnTo>
                    <a:pt x="462" y="624"/>
                  </a:lnTo>
                  <a:lnTo>
                    <a:pt x="468" y="624"/>
                  </a:lnTo>
                  <a:lnTo>
                    <a:pt x="474" y="624"/>
                  </a:lnTo>
                  <a:lnTo>
                    <a:pt x="474" y="618"/>
                  </a:lnTo>
                  <a:lnTo>
                    <a:pt x="480" y="618"/>
                  </a:lnTo>
                  <a:lnTo>
                    <a:pt x="486" y="618"/>
                  </a:lnTo>
                  <a:lnTo>
                    <a:pt x="486" y="624"/>
                  </a:lnTo>
                  <a:lnTo>
                    <a:pt x="486" y="636"/>
                  </a:lnTo>
                  <a:lnTo>
                    <a:pt x="486" y="642"/>
                  </a:lnTo>
                  <a:lnTo>
                    <a:pt x="486" y="648"/>
                  </a:lnTo>
                  <a:lnTo>
                    <a:pt x="492" y="648"/>
                  </a:lnTo>
                  <a:lnTo>
                    <a:pt x="492" y="642"/>
                  </a:lnTo>
                  <a:lnTo>
                    <a:pt x="498" y="636"/>
                  </a:lnTo>
                  <a:lnTo>
                    <a:pt x="492" y="636"/>
                  </a:lnTo>
                  <a:lnTo>
                    <a:pt x="492" y="630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6" y="618"/>
                  </a:lnTo>
                  <a:lnTo>
                    <a:pt x="486" y="612"/>
                  </a:lnTo>
                  <a:lnTo>
                    <a:pt x="486" y="606"/>
                  </a:lnTo>
                  <a:lnTo>
                    <a:pt x="480" y="606"/>
                  </a:lnTo>
                  <a:lnTo>
                    <a:pt x="480" y="612"/>
                  </a:lnTo>
                  <a:lnTo>
                    <a:pt x="474" y="618"/>
                  </a:lnTo>
                  <a:lnTo>
                    <a:pt x="468" y="618"/>
                  </a:lnTo>
                  <a:lnTo>
                    <a:pt x="462" y="618"/>
                  </a:lnTo>
                  <a:lnTo>
                    <a:pt x="462" y="612"/>
                  </a:lnTo>
                  <a:lnTo>
                    <a:pt x="456" y="612"/>
                  </a:lnTo>
                  <a:lnTo>
                    <a:pt x="456" y="618"/>
                  </a:lnTo>
                  <a:lnTo>
                    <a:pt x="462" y="618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30"/>
                  </a:lnTo>
                  <a:lnTo>
                    <a:pt x="444" y="630"/>
                  </a:lnTo>
                  <a:lnTo>
                    <a:pt x="444" y="636"/>
                  </a:lnTo>
                  <a:lnTo>
                    <a:pt x="444" y="642"/>
                  </a:lnTo>
                  <a:lnTo>
                    <a:pt x="444" y="654"/>
                  </a:lnTo>
                  <a:lnTo>
                    <a:pt x="444" y="660"/>
                  </a:lnTo>
                  <a:lnTo>
                    <a:pt x="438" y="660"/>
                  </a:lnTo>
                  <a:lnTo>
                    <a:pt x="432" y="660"/>
                  </a:lnTo>
                  <a:lnTo>
                    <a:pt x="432" y="654"/>
                  </a:lnTo>
                  <a:lnTo>
                    <a:pt x="438" y="654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48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26" y="660"/>
                  </a:lnTo>
                  <a:lnTo>
                    <a:pt x="432" y="666"/>
                  </a:lnTo>
                  <a:lnTo>
                    <a:pt x="432" y="672"/>
                  </a:lnTo>
                  <a:lnTo>
                    <a:pt x="438" y="672"/>
                  </a:lnTo>
                  <a:lnTo>
                    <a:pt x="438" y="678"/>
                  </a:lnTo>
                  <a:lnTo>
                    <a:pt x="444" y="678"/>
                  </a:lnTo>
                  <a:lnTo>
                    <a:pt x="444" y="684"/>
                  </a:lnTo>
                  <a:lnTo>
                    <a:pt x="438" y="690"/>
                  </a:lnTo>
                  <a:lnTo>
                    <a:pt x="438" y="696"/>
                  </a:lnTo>
                  <a:lnTo>
                    <a:pt x="438" y="702"/>
                  </a:lnTo>
                  <a:lnTo>
                    <a:pt x="432" y="702"/>
                  </a:lnTo>
                  <a:lnTo>
                    <a:pt x="426" y="702"/>
                  </a:lnTo>
                  <a:lnTo>
                    <a:pt x="426" y="696"/>
                  </a:lnTo>
                  <a:lnTo>
                    <a:pt x="414" y="696"/>
                  </a:lnTo>
                  <a:lnTo>
                    <a:pt x="402" y="696"/>
                  </a:lnTo>
                  <a:lnTo>
                    <a:pt x="402" y="690"/>
                  </a:lnTo>
                  <a:lnTo>
                    <a:pt x="396" y="690"/>
                  </a:lnTo>
                  <a:lnTo>
                    <a:pt x="390" y="690"/>
                  </a:lnTo>
                  <a:lnTo>
                    <a:pt x="384" y="690"/>
                  </a:lnTo>
                  <a:lnTo>
                    <a:pt x="384" y="684"/>
                  </a:lnTo>
                  <a:lnTo>
                    <a:pt x="384" y="678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390" y="660"/>
                  </a:lnTo>
                  <a:lnTo>
                    <a:pt x="390" y="654"/>
                  </a:lnTo>
                  <a:lnTo>
                    <a:pt x="384" y="648"/>
                  </a:lnTo>
                  <a:lnTo>
                    <a:pt x="384" y="642"/>
                  </a:lnTo>
                  <a:lnTo>
                    <a:pt x="378" y="636"/>
                  </a:lnTo>
                  <a:lnTo>
                    <a:pt x="378" y="642"/>
                  </a:lnTo>
                  <a:lnTo>
                    <a:pt x="378" y="648"/>
                  </a:lnTo>
                  <a:lnTo>
                    <a:pt x="372" y="648"/>
                  </a:lnTo>
                  <a:lnTo>
                    <a:pt x="378" y="654"/>
                  </a:lnTo>
                  <a:lnTo>
                    <a:pt x="378" y="660"/>
                  </a:lnTo>
                  <a:lnTo>
                    <a:pt x="378" y="666"/>
                  </a:lnTo>
                  <a:lnTo>
                    <a:pt x="372" y="672"/>
                  </a:lnTo>
                  <a:lnTo>
                    <a:pt x="378" y="672"/>
                  </a:lnTo>
                  <a:lnTo>
                    <a:pt x="378" y="678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54" y="666"/>
                  </a:lnTo>
                  <a:lnTo>
                    <a:pt x="354" y="660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0" y="654"/>
                  </a:lnTo>
                  <a:lnTo>
                    <a:pt x="324" y="648"/>
                  </a:lnTo>
                  <a:lnTo>
                    <a:pt x="318" y="648"/>
                  </a:lnTo>
                  <a:lnTo>
                    <a:pt x="318" y="642"/>
                  </a:lnTo>
                  <a:lnTo>
                    <a:pt x="312" y="642"/>
                  </a:lnTo>
                  <a:lnTo>
                    <a:pt x="306" y="636"/>
                  </a:lnTo>
                  <a:lnTo>
                    <a:pt x="300" y="636"/>
                  </a:lnTo>
                  <a:lnTo>
                    <a:pt x="300" y="630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0" y="618"/>
                  </a:lnTo>
                  <a:lnTo>
                    <a:pt x="306" y="612"/>
                  </a:lnTo>
                  <a:lnTo>
                    <a:pt x="300" y="612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294" y="612"/>
                  </a:lnTo>
                  <a:lnTo>
                    <a:pt x="288" y="618"/>
                  </a:lnTo>
                  <a:lnTo>
                    <a:pt x="288" y="612"/>
                  </a:lnTo>
                  <a:lnTo>
                    <a:pt x="288" y="618"/>
                  </a:lnTo>
                  <a:lnTo>
                    <a:pt x="294" y="618"/>
                  </a:lnTo>
                  <a:lnTo>
                    <a:pt x="300" y="624"/>
                  </a:lnTo>
                  <a:lnTo>
                    <a:pt x="294" y="624"/>
                  </a:lnTo>
                  <a:lnTo>
                    <a:pt x="288" y="624"/>
                  </a:lnTo>
                  <a:lnTo>
                    <a:pt x="282" y="61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70" y="600"/>
                  </a:lnTo>
                  <a:lnTo>
                    <a:pt x="270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82" y="588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594"/>
                  </a:lnTo>
                  <a:lnTo>
                    <a:pt x="264" y="600"/>
                  </a:lnTo>
                  <a:lnTo>
                    <a:pt x="264" y="594"/>
                  </a:lnTo>
                  <a:lnTo>
                    <a:pt x="270" y="594"/>
                  </a:lnTo>
                  <a:lnTo>
                    <a:pt x="270" y="588"/>
                  </a:lnTo>
                  <a:lnTo>
                    <a:pt x="264" y="594"/>
                  </a:lnTo>
                  <a:lnTo>
                    <a:pt x="258" y="594"/>
                  </a:lnTo>
                  <a:lnTo>
                    <a:pt x="258" y="588"/>
                  </a:lnTo>
                  <a:lnTo>
                    <a:pt x="252" y="588"/>
                  </a:lnTo>
                  <a:lnTo>
                    <a:pt x="246" y="588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52" y="588"/>
                  </a:lnTo>
                  <a:lnTo>
                    <a:pt x="252" y="594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46" y="594"/>
                  </a:lnTo>
                  <a:lnTo>
                    <a:pt x="246" y="588"/>
                  </a:lnTo>
                  <a:lnTo>
                    <a:pt x="240" y="588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2" y="570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64"/>
                  </a:lnTo>
                  <a:lnTo>
                    <a:pt x="234" y="564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34" y="558"/>
                  </a:lnTo>
                  <a:lnTo>
                    <a:pt x="228" y="558"/>
                  </a:lnTo>
                  <a:lnTo>
                    <a:pt x="222" y="558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2" y="564"/>
                  </a:lnTo>
                  <a:lnTo>
                    <a:pt x="222" y="558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04" y="546"/>
                  </a:lnTo>
                  <a:lnTo>
                    <a:pt x="204" y="540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10" y="540"/>
                  </a:lnTo>
                  <a:lnTo>
                    <a:pt x="210" y="534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8"/>
                  </a:lnTo>
                  <a:lnTo>
                    <a:pt x="174" y="516"/>
                  </a:lnTo>
                  <a:lnTo>
                    <a:pt x="168" y="510"/>
                  </a:lnTo>
                  <a:lnTo>
                    <a:pt x="162" y="504"/>
                  </a:lnTo>
                  <a:lnTo>
                    <a:pt x="156" y="498"/>
                  </a:lnTo>
                  <a:lnTo>
                    <a:pt x="156" y="492"/>
                  </a:lnTo>
                  <a:lnTo>
                    <a:pt x="150" y="486"/>
                  </a:lnTo>
                  <a:lnTo>
                    <a:pt x="144" y="480"/>
                  </a:lnTo>
                  <a:lnTo>
                    <a:pt x="144" y="474"/>
                  </a:lnTo>
                  <a:lnTo>
                    <a:pt x="138" y="474"/>
                  </a:lnTo>
                  <a:lnTo>
                    <a:pt x="138" y="468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26" y="450"/>
                  </a:lnTo>
                  <a:lnTo>
                    <a:pt x="126" y="444"/>
                  </a:lnTo>
                  <a:lnTo>
                    <a:pt x="114" y="438"/>
                  </a:lnTo>
                  <a:lnTo>
                    <a:pt x="114" y="432"/>
                  </a:lnTo>
                  <a:lnTo>
                    <a:pt x="114" y="426"/>
                  </a:lnTo>
                  <a:lnTo>
                    <a:pt x="114" y="432"/>
                  </a:lnTo>
                  <a:lnTo>
                    <a:pt x="120" y="432"/>
                  </a:lnTo>
                  <a:lnTo>
                    <a:pt x="120" y="438"/>
                  </a:lnTo>
                  <a:lnTo>
                    <a:pt x="120" y="444"/>
                  </a:lnTo>
                  <a:lnTo>
                    <a:pt x="126" y="444"/>
                  </a:lnTo>
                  <a:lnTo>
                    <a:pt x="126" y="438"/>
                  </a:lnTo>
                  <a:lnTo>
                    <a:pt x="120" y="438"/>
                  </a:lnTo>
                  <a:lnTo>
                    <a:pt x="126" y="432"/>
                  </a:lnTo>
                  <a:lnTo>
                    <a:pt x="126" y="426"/>
                  </a:lnTo>
                  <a:lnTo>
                    <a:pt x="132" y="420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08" y="414"/>
                  </a:lnTo>
                  <a:lnTo>
                    <a:pt x="102" y="414"/>
                  </a:lnTo>
                  <a:lnTo>
                    <a:pt x="102" y="408"/>
                  </a:lnTo>
                  <a:lnTo>
                    <a:pt x="96" y="402"/>
                  </a:lnTo>
                  <a:lnTo>
                    <a:pt x="96" y="396"/>
                  </a:lnTo>
                  <a:lnTo>
                    <a:pt x="96" y="390"/>
                  </a:lnTo>
                  <a:lnTo>
                    <a:pt x="90" y="390"/>
                  </a:lnTo>
                  <a:lnTo>
                    <a:pt x="90" y="384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78" y="372"/>
                  </a:lnTo>
                  <a:lnTo>
                    <a:pt x="78" y="366"/>
                  </a:lnTo>
                  <a:lnTo>
                    <a:pt x="78" y="360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6" y="348"/>
                  </a:lnTo>
                  <a:lnTo>
                    <a:pt x="66" y="342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6" y="336"/>
                  </a:lnTo>
                  <a:lnTo>
                    <a:pt x="66" y="342"/>
                  </a:lnTo>
                  <a:lnTo>
                    <a:pt x="72" y="348"/>
                  </a:lnTo>
                  <a:lnTo>
                    <a:pt x="78" y="354"/>
                  </a:lnTo>
                  <a:lnTo>
                    <a:pt x="84" y="360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0" y="360"/>
                  </a:lnTo>
                  <a:lnTo>
                    <a:pt x="84" y="360"/>
                  </a:lnTo>
                  <a:lnTo>
                    <a:pt x="84" y="354"/>
                  </a:lnTo>
                  <a:lnTo>
                    <a:pt x="78" y="348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66" y="330"/>
                  </a:lnTo>
                  <a:lnTo>
                    <a:pt x="66" y="324"/>
                  </a:lnTo>
                  <a:lnTo>
                    <a:pt x="60" y="318"/>
                  </a:lnTo>
                  <a:lnTo>
                    <a:pt x="60" y="312"/>
                  </a:lnTo>
                  <a:lnTo>
                    <a:pt x="54" y="306"/>
                  </a:lnTo>
                  <a:lnTo>
                    <a:pt x="54" y="300"/>
                  </a:lnTo>
                  <a:lnTo>
                    <a:pt x="54" y="294"/>
                  </a:lnTo>
                  <a:lnTo>
                    <a:pt x="48" y="288"/>
                  </a:lnTo>
                  <a:lnTo>
                    <a:pt x="48" y="294"/>
                  </a:lnTo>
                  <a:lnTo>
                    <a:pt x="48" y="288"/>
                  </a:lnTo>
                  <a:lnTo>
                    <a:pt x="48" y="282"/>
                  </a:lnTo>
                  <a:lnTo>
                    <a:pt x="48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18" y="216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62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68"/>
                  </a:lnTo>
                  <a:lnTo>
                    <a:pt x="42" y="168"/>
                  </a:lnTo>
                  <a:lnTo>
                    <a:pt x="42" y="174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86"/>
                  </a:lnTo>
                  <a:close/>
                  <a:moveTo>
                    <a:pt x="642" y="660"/>
                  </a:moveTo>
                  <a:lnTo>
                    <a:pt x="642" y="666"/>
                  </a:lnTo>
                  <a:lnTo>
                    <a:pt x="648" y="666"/>
                  </a:lnTo>
                  <a:lnTo>
                    <a:pt x="648" y="672"/>
                  </a:lnTo>
                  <a:lnTo>
                    <a:pt x="648" y="678"/>
                  </a:lnTo>
                  <a:lnTo>
                    <a:pt x="654" y="678"/>
                  </a:lnTo>
                  <a:lnTo>
                    <a:pt x="654" y="684"/>
                  </a:lnTo>
                  <a:lnTo>
                    <a:pt x="660" y="684"/>
                  </a:lnTo>
                  <a:lnTo>
                    <a:pt x="660" y="690"/>
                  </a:lnTo>
                  <a:lnTo>
                    <a:pt x="654" y="690"/>
                  </a:lnTo>
                  <a:lnTo>
                    <a:pt x="648" y="690"/>
                  </a:lnTo>
                  <a:lnTo>
                    <a:pt x="636" y="696"/>
                  </a:lnTo>
                  <a:lnTo>
                    <a:pt x="630" y="696"/>
                  </a:lnTo>
                  <a:lnTo>
                    <a:pt x="624" y="696"/>
                  </a:lnTo>
                  <a:lnTo>
                    <a:pt x="618" y="696"/>
                  </a:lnTo>
                  <a:lnTo>
                    <a:pt x="612" y="696"/>
                  </a:lnTo>
                  <a:lnTo>
                    <a:pt x="594" y="696"/>
                  </a:lnTo>
                  <a:lnTo>
                    <a:pt x="588" y="696"/>
                  </a:lnTo>
                  <a:lnTo>
                    <a:pt x="582" y="696"/>
                  </a:lnTo>
                  <a:lnTo>
                    <a:pt x="570" y="702"/>
                  </a:lnTo>
                  <a:lnTo>
                    <a:pt x="564" y="702"/>
                  </a:lnTo>
                  <a:lnTo>
                    <a:pt x="558" y="702"/>
                  </a:lnTo>
                  <a:lnTo>
                    <a:pt x="552" y="702"/>
                  </a:lnTo>
                  <a:lnTo>
                    <a:pt x="552" y="696"/>
                  </a:lnTo>
                  <a:lnTo>
                    <a:pt x="546" y="696"/>
                  </a:lnTo>
                  <a:lnTo>
                    <a:pt x="546" y="690"/>
                  </a:lnTo>
                  <a:lnTo>
                    <a:pt x="552" y="684"/>
                  </a:lnTo>
                  <a:lnTo>
                    <a:pt x="552" y="678"/>
                  </a:lnTo>
                  <a:lnTo>
                    <a:pt x="558" y="672"/>
                  </a:lnTo>
                  <a:lnTo>
                    <a:pt x="558" y="666"/>
                  </a:lnTo>
                  <a:lnTo>
                    <a:pt x="564" y="666"/>
                  </a:lnTo>
                  <a:lnTo>
                    <a:pt x="570" y="666"/>
                  </a:lnTo>
                  <a:lnTo>
                    <a:pt x="570" y="654"/>
                  </a:lnTo>
                  <a:lnTo>
                    <a:pt x="570" y="648"/>
                  </a:lnTo>
                  <a:lnTo>
                    <a:pt x="582" y="642"/>
                  </a:lnTo>
                  <a:lnTo>
                    <a:pt x="582" y="636"/>
                  </a:lnTo>
                  <a:lnTo>
                    <a:pt x="588" y="636"/>
                  </a:lnTo>
                  <a:lnTo>
                    <a:pt x="588" y="630"/>
                  </a:lnTo>
                  <a:lnTo>
                    <a:pt x="594" y="624"/>
                  </a:lnTo>
                  <a:lnTo>
                    <a:pt x="594" y="618"/>
                  </a:lnTo>
                  <a:lnTo>
                    <a:pt x="600" y="618"/>
                  </a:lnTo>
                  <a:lnTo>
                    <a:pt x="600" y="612"/>
                  </a:lnTo>
                  <a:lnTo>
                    <a:pt x="606" y="612"/>
                  </a:lnTo>
                  <a:lnTo>
                    <a:pt x="606" y="618"/>
                  </a:lnTo>
                  <a:lnTo>
                    <a:pt x="612" y="618"/>
                  </a:lnTo>
                  <a:lnTo>
                    <a:pt x="618" y="618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18" y="636"/>
                  </a:lnTo>
                  <a:lnTo>
                    <a:pt x="618" y="642"/>
                  </a:lnTo>
                  <a:lnTo>
                    <a:pt x="618" y="648"/>
                  </a:lnTo>
                  <a:lnTo>
                    <a:pt x="624" y="648"/>
                  </a:lnTo>
                  <a:lnTo>
                    <a:pt x="630" y="648"/>
                  </a:lnTo>
                  <a:lnTo>
                    <a:pt x="636" y="654"/>
                  </a:lnTo>
                  <a:lnTo>
                    <a:pt x="642" y="654"/>
                  </a:lnTo>
                  <a:lnTo>
                    <a:pt x="642" y="66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0" name="Freeform 5">
              <a:extLst>
                <a:ext uri="{FF2B5EF4-FFF2-40B4-BE49-F238E27FC236}">
                  <a16:creationId xmlns:a16="http://schemas.microsoft.com/office/drawing/2014/main" id="{5577BDCA-F2C7-42E0-A391-018D79AA29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0384" y="4231013"/>
              <a:ext cx="404750" cy="480848"/>
            </a:xfrm>
            <a:custGeom>
              <a:avLst/>
              <a:gdLst>
                <a:gd name="T0" fmla="*/ 9 w 762"/>
                <a:gd name="T1" fmla="*/ 58 h 900"/>
                <a:gd name="T2" fmla="*/ 4 w 762"/>
                <a:gd name="T3" fmla="*/ 56 h 900"/>
                <a:gd name="T4" fmla="*/ 0 w 762"/>
                <a:gd name="T5" fmla="*/ 49 h 900"/>
                <a:gd name="T6" fmla="*/ 4 w 762"/>
                <a:gd name="T7" fmla="*/ 36 h 900"/>
                <a:gd name="T8" fmla="*/ 8 w 762"/>
                <a:gd name="T9" fmla="*/ 28 h 900"/>
                <a:gd name="T10" fmla="*/ 7 w 762"/>
                <a:gd name="T11" fmla="*/ 13 h 900"/>
                <a:gd name="T12" fmla="*/ 15 w 762"/>
                <a:gd name="T13" fmla="*/ 0 h 900"/>
                <a:gd name="T14" fmla="*/ 16 w 762"/>
                <a:gd name="T15" fmla="*/ 13 h 900"/>
                <a:gd name="T16" fmla="*/ 31 w 762"/>
                <a:gd name="T17" fmla="*/ 28 h 900"/>
                <a:gd name="T18" fmla="*/ 49 w 762"/>
                <a:gd name="T19" fmla="*/ 33 h 900"/>
                <a:gd name="T20" fmla="*/ 42 w 762"/>
                <a:gd name="T21" fmla="*/ 48 h 900"/>
                <a:gd name="T22" fmla="*/ 51 w 762"/>
                <a:gd name="T23" fmla="*/ 48 h 900"/>
                <a:gd name="T24" fmla="*/ 61 w 762"/>
                <a:gd name="T25" fmla="*/ 51 h 900"/>
                <a:gd name="T26" fmla="*/ 63 w 762"/>
                <a:gd name="T27" fmla="*/ 60 h 900"/>
                <a:gd name="T28" fmla="*/ 63 w 762"/>
                <a:gd name="T29" fmla="*/ 66 h 900"/>
                <a:gd name="T30" fmla="*/ 65 w 762"/>
                <a:gd name="T31" fmla="*/ 69 h 900"/>
                <a:gd name="T32" fmla="*/ 66 w 762"/>
                <a:gd name="T33" fmla="*/ 72 h 900"/>
                <a:gd name="T34" fmla="*/ 56 w 762"/>
                <a:gd name="T35" fmla="*/ 73 h 900"/>
                <a:gd name="T36" fmla="*/ 55 w 762"/>
                <a:gd name="T37" fmla="*/ 69 h 900"/>
                <a:gd name="T38" fmla="*/ 57 w 762"/>
                <a:gd name="T39" fmla="*/ 67 h 900"/>
                <a:gd name="T40" fmla="*/ 55 w 762"/>
                <a:gd name="T41" fmla="*/ 65 h 900"/>
                <a:gd name="T42" fmla="*/ 53 w 762"/>
                <a:gd name="T43" fmla="*/ 68 h 900"/>
                <a:gd name="T44" fmla="*/ 49 w 762"/>
                <a:gd name="T45" fmla="*/ 68 h 900"/>
                <a:gd name="T46" fmla="*/ 44 w 762"/>
                <a:gd name="T47" fmla="*/ 63 h 900"/>
                <a:gd name="T48" fmla="*/ 40 w 762"/>
                <a:gd name="T49" fmla="*/ 59 h 900"/>
                <a:gd name="T50" fmla="*/ 38 w 762"/>
                <a:gd name="T51" fmla="*/ 57 h 900"/>
                <a:gd name="T52" fmla="*/ 43 w 762"/>
                <a:gd name="T53" fmla="*/ 62 h 900"/>
                <a:gd name="T54" fmla="*/ 43 w 762"/>
                <a:gd name="T55" fmla="*/ 66 h 900"/>
                <a:gd name="T56" fmla="*/ 41 w 762"/>
                <a:gd name="T57" fmla="*/ 71 h 900"/>
                <a:gd name="T58" fmla="*/ 37 w 762"/>
                <a:gd name="T59" fmla="*/ 69 h 900"/>
                <a:gd name="T60" fmla="*/ 35 w 762"/>
                <a:gd name="T61" fmla="*/ 64 h 900"/>
                <a:gd name="T62" fmla="*/ 31 w 762"/>
                <a:gd name="T63" fmla="*/ 57 h 900"/>
                <a:gd name="T64" fmla="*/ 30 w 762"/>
                <a:gd name="T65" fmla="*/ 62 h 900"/>
                <a:gd name="T66" fmla="*/ 29 w 762"/>
                <a:gd name="T67" fmla="*/ 61 h 900"/>
                <a:gd name="T68" fmla="*/ 31 w 762"/>
                <a:gd name="T69" fmla="*/ 66 h 900"/>
                <a:gd name="T70" fmla="*/ 33 w 762"/>
                <a:gd name="T71" fmla="*/ 72 h 900"/>
                <a:gd name="T72" fmla="*/ 32 w 762"/>
                <a:gd name="T73" fmla="*/ 76 h 900"/>
                <a:gd name="T74" fmla="*/ 28 w 762"/>
                <a:gd name="T75" fmla="*/ 75 h 900"/>
                <a:gd name="T76" fmla="*/ 24 w 762"/>
                <a:gd name="T77" fmla="*/ 69 h 900"/>
                <a:gd name="T78" fmla="*/ 24 w 762"/>
                <a:gd name="T79" fmla="*/ 62 h 900"/>
                <a:gd name="T80" fmla="*/ 23 w 762"/>
                <a:gd name="T81" fmla="*/ 62 h 900"/>
                <a:gd name="T82" fmla="*/ 23 w 762"/>
                <a:gd name="T83" fmla="*/ 68 h 900"/>
                <a:gd name="T84" fmla="*/ 25 w 762"/>
                <a:gd name="T85" fmla="*/ 77 h 900"/>
                <a:gd name="T86" fmla="*/ 17 w 762"/>
                <a:gd name="T87" fmla="*/ 74 h 900"/>
                <a:gd name="T88" fmla="*/ 17 w 762"/>
                <a:gd name="T89" fmla="*/ 67 h 900"/>
                <a:gd name="T90" fmla="*/ 16 w 762"/>
                <a:gd name="T91" fmla="*/ 67 h 900"/>
                <a:gd name="T92" fmla="*/ 15 w 762"/>
                <a:gd name="T93" fmla="*/ 71 h 900"/>
                <a:gd name="T94" fmla="*/ 12 w 762"/>
                <a:gd name="T95" fmla="*/ 68 h 900"/>
                <a:gd name="T96" fmla="*/ 15 w 762"/>
                <a:gd name="T97" fmla="*/ 72 h 900"/>
                <a:gd name="T98" fmla="*/ 17 w 762"/>
                <a:gd name="T99" fmla="*/ 77 h 900"/>
                <a:gd name="T100" fmla="*/ 11 w 762"/>
                <a:gd name="T101" fmla="*/ 77 h 900"/>
                <a:gd name="T102" fmla="*/ 10 w 762"/>
                <a:gd name="T103" fmla="*/ 69 h 900"/>
                <a:gd name="T104" fmla="*/ 11 w 762"/>
                <a:gd name="T105" fmla="*/ 72 h 900"/>
                <a:gd name="T106" fmla="*/ 9 w 762"/>
                <a:gd name="T107" fmla="*/ 78 h 900"/>
                <a:gd name="T108" fmla="*/ 43 w 762"/>
                <a:gd name="T109" fmla="*/ 71 h 900"/>
                <a:gd name="T110" fmla="*/ 51 w 762"/>
                <a:gd name="T111" fmla="*/ 69 h 900"/>
                <a:gd name="T112" fmla="*/ 43 w 762"/>
                <a:gd name="T113" fmla="*/ 76 h 900"/>
                <a:gd name="T114" fmla="*/ 36 w 762"/>
                <a:gd name="T115" fmla="*/ 65 h 900"/>
                <a:gd name="T116" fmla="*/ 38 w 762"/>
                <a:gd name="T117" fmla="*/ 72 h 900"/>
                <a:gd name="T118" fmla="*/ 34 w 762"/>
                <a:gd name="T119" fmla="*/ 69 h 900"/>
                <a:gd name="T120" fmla="*/ 29 w 762"/>
                <a:gd name="T121" fmla="*/ 64 h 900"/>
                <a:gd name="T122" fmla="*/ 32 w 762"/>
                <a:gd name="T123" fmla="*/ 66 h 9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900"/>
                <a:gd name="T188" fmla="*/ 762 w 762"/>
                <a:gd name="T189" fmla="*/ 900 h 90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900">
                  <a:moveTo>
                    <a:pt x="90" y="768"/>
                  </a:moveTo>
                  <a:lnTo>
                    <a:pt x="102" y="756"/>
                  </a:lnTo>
                  <a:lnTo>
                    <a:pt x="102" y="750"/>
                  </a:lnTo>
                  <a:lnTo>
                    <a:pt x="90" y="744"/>
                  </a:lnTo>
                  <a:lnTo>
                    <a:pt x="84" y="738"/>
                  </a:lnTo>
                  <a:lnTo>
                    <a:pt x="90" y="726"/>
                  </a:lnTo>
                  <a:lnTo>
                    <a:pt x="84" y="720"/>
                  </a:lnTo>
                  <a:lnTo>
                    <a:pt x="78" y="720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72" y="702"/>
                  </a:lnTo>
                  <a:lnTo>
                    <a:pt x="72" y="696"/>
                  </a:lnTo>
                  <a:lnTo>
                    <a:pt x="84" y="684"/>
                  </a:lnTo>
                  <a:lnTo>
                    <a:pt x="96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102" y="654"/>
                  </a:lnTo>
                  <a:lnTo>
                    <a:pt x="108" y="654"/>
                  </a:lnTo>
                  <a:lnTo>
                    <a:pt x="114" y="648"/>
                  </a:lnTo>
                  <a:lnTo>
                    <a:pt x="120" y="642"/>
                  </a:lnTo>
                  <a:lnTo>
                    <a:pt x="120" y="636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14" y="618"/>
                  </a:lnTo>
                  <a:lnTo>
                    <a:pt x="102" y="618"/>
                  </a:lnTo>
                  <a:lnTo>
                    <a:pt x="90" y="618"/>
                  </a:lnTo>
                  <a:lnTo>
                    <a:pt x="78" y="624"/>
                  </a:lnTo>
                  <a:lnTo>
                    <a:pt x="72" y="630"/>
                  </a:lnTo>
                  <a:lnTo>
                    <a:pt x="54" y="642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42" y="642"/>
                  </a:lnTo>
                  <a:lnTo>
                    <a:pt x="42" y="636"/>
                  </a:lnTo>
                  <a:lnTo>
                    <a:pt x="36" y="636"/>
                  </a:lnTo>
                  <a:lnTo>
                    <a:pt x="30" y="642"/>
                  </a:lnTo>
                  <a:lnTo>
                    <a:pt x="30" y="636"/>
                  </a:lnTo>
                  <a:lnTo>
                    <a:pt x="30" y="630"/>
                  </a:lnTo>
                  <a:lnTo>
                    <a:pt x="24" y="630"/>
                  </a:lnTo>
                  <a:lnTo>
                    <a:pt x="30" y="624"/>
                  </a:lnTo>
                  <a:lnTo>
                    <a:pt x="30" y="618"/>
                  </a:lnTo>
                  <a:lnTo>
                    <a:pt x="30" y="612"/>
                  </a:lnTo>
                  <a:lnTo>
                    <a:pt x="36" y="612"/>
                  </a:lnTo>
                  <a:lnTo>
                    <a:pt x="36" y="606"/>
                  </a:lnTo>
                  <a:lnTo>
                    <a:pt x="30" y="606"/>
                  </a:lnTo>
                  <a:lnTo>
                    <a:pt x="24" y="612"/>
                  </a:lnTo>
                  <a:lnTo>
                    <a:pt x="18" y="606"/>
                  </a:lnTo>
                  <a:lnTo>
                    <a:pt x="12" y="594"/>
                  </a:lnTo>
                  <a:lnTo>
                    <a:pt x="6" y="582"/>
                  </a:lnTo>
                  <a:lnTo>
                    <a:pt x="6" y="570"/>
                  </a:lnTo>
                  <a:lnTo>
                    <a:pt x="0" y="558"/>
                  </a:lnTo>
                  <a:lnTo>
                    <a:pt x="6" y="552"/>
                  </a:lnTo>
                  <a:lnTo>
                    <a:pt x="6" y="534"/>
                  </a:lnTo>
                  <a:lnTo>
                    <a:pt x="18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12" y="480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54" y="408"/>
                  </a:lnTo>
                  <a:lnTo>
                    <a:pt x="54" y="396"/>
                  </a:lnTo>
                  <a:lnTo>
                    <a:pt x="54" y="384"/>
                  </a:lnTo>
                  <a:lnTo>
                    <a:pt x="60" y="378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66"/>
                  </a:lnTo>
                  <a:lnTo>
                    <a:pt x="60" y="360"/>
                  </a:lnTo>
                  <a:lnTo>
                    <a:pt x="66" y="360"/>
                  </a:lnTo>
                  <a:lnTo>
                    <a:pt x="72" y="354"/>
                  </a:lnTo>
                  <a:lnTo>
                    <a:pt x="78" y="354"/>
                  </a:lnTo>
                  <a:lnTo>
                    <a:pt x="84" y="348"/>
                  </a:lnTo>
                  <a:lnTo>
                    <a:pt x="96" y="348"/>
                  </a:lnTo>
                  <a:lnTo>
                    <a:pt x="96" y="342"/>
                  </a:lnTo>
                  <a:lnTo>
                    <a:pt x="96" y="336"/>
                  </a:lnTo>
                  <a:lnTo>
                    <a:pt x="96" y="330"/>
                  </a:lnTo>
                  <a:lnTo>
                    <a:pt x="96" y="324"/>
                  </a:lnTo>
                  <a:lnTo>
                    <a:pt x="102" y="318"/>
                  </a:lnTo>
                  <a:lnTo>
                    <a:pt x="108" y="312"/>
                  </a:lnTo>
                  <a:lnTo>
                    <a:pt x="96" y="306"/>
                  </a:lnTo>
                  <a:lnTo>
                    <a:pt x="84" y="288"/>
                  </a:lnTo>
                  <a:lnTo>
                    <a:pt x="108" y="258"/>
                  </a:lnTo>
                  <a:lnTo>
                    <a:pt x="102" y="222"/>
                  </a:lnTo>
                  <a:lnTo>
                    <a:pt x="84" y="222"/>
                  </a:lnTo>
                  <a:lnTo>
                    <a:pt x="54" y="216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2"/>
                  </a:lnTo>
                  <a:lnTo>
                    <a:pt x="72" y="192"/>
                  </a:lnTo>
                  <a:lnTo>
                    <a:pt x="84" y="186"/>
                  </a:lnTo>
                  <a:lnTo>
                    <a:pt x="90" y="186"/>
                  </a:lnTo>
                  <a:lnTo>
                    <a:pt x="90" y="174"/>
                  </a:lnTo>
                  <a:lnTo>
                    <a:pt x="84" y="162"/>
                  </a:lnTo>
                  <a:lnTo>
                    <a:pt x="84" y="150"/>
                  </a:lnTo>
                  <a:lnTo>
                    <a:pt x="84" y="126"/>
                  </a:lnTo>
                  <a:lnTo>
                    <a:pt x="84" y="114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8" y="96"/>
                  </a:lnTo>
                  <a:lnTo>
                    <a:pt x="120" y="90"/>
                  </a:lnTo>
                  <a:lnTo>
                    <a:pt x="126" y="78"/>
                  </a:lnTo>
                  <a:lnTo>
                    <a:pt x="138" y="66"/>
                  </a:lnTo>
                  <a:lnTo>
                    <a:pt x="138" y="48"/>
                  </a:lnTo>
                  <a:lnTo>
                    <a:pt x="138" y="42"/>
                  </a:lnTo>
                  <a:lnTo>
                    <a:pt x="126" y="30"/>
                  </a:lnTo>
                  <a:lnTo>
                    <a:pt x="120" y="18"/>
                  </a:lnTo>
                  <a:lnTo>
                    <a:pt x="132" y="12"/>
                  </a:lnTo>
                  <a:lnTo>
                    <a:pt x="144" y="0"/>
                  </a:lnTo>
                  <a:lnTo>
                    <a:pt x="150" y="6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6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74" y="66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68" y="72"/>
                  </a:lnTo>
                  <a:lnTo>
                    <a:pt x="156" y="150"/>
                  </a:lnTo>
                  <a:lnTo>
                    <a:pt x="168" y="144"/>
                  </a:lnTo>
                  <a:lnTo>
                    <a:pt x="180" y="150"/>
                  </a:lnTo>
                  <a:lnTo>
                    <a:pt x="186" y="150"/>
                  </a:lnTo>
                  <a:lnTo>
                    <a:pt x="186" y="144"/>
                  </a:lnTo>
                  <a:lnTo>
                    <a:pt x="192" y="150"/>
                  </a:lnTo>
                  <a:lnTo>
                    <a:pt x="222" y="150"/>
                  </a:lnTo>
                  <a:lnTo>
                    <a:pt x="222" y="168"/>
                  </a:lnTo>
                  <a:lnTo>
                    <a:pt x="222" y="186"/>
                  </a:lnTo>
                  <a:lnTo>
                    <a:pt x="234" y="198"/>
                  </a:lnTo>
                  <a:lnTo>
                    <a:pt x="234" y="234"/>
                  </a:lnTo>
                  <a:lnTo>
                    <a:pt x="228" y="270"/>
                  </a:lnTo>
                  <a:lnTo>
                    <a:pt x="246" y="282"/>
                  </a:lnTo>
                  <a:lnTo>
                    <a:pt x="258" y="294"/>
                  </a:lnTo>
                  <a:lnTo>
                    <a:pt x="270" y="300"/>
                  </a:lnTo>
                  <a:lnTo>
                    <a:pt x="294" y="300"/>
                  </a:lnTo>
                  <a:lnTo>
                    <a:pt x="288" y="306"/>
                  </a:lnTo>
                  <a:lnTo>
                    <a:pt x="300" y="312"/>
                  </a:lnTo>
                  <a:lnTo>
                    <a:pt x="306" y="318"/>
                  </a:lnTo>
                  <a:lnTo>
                    <a:pt x="324" y="324"/>
                  </a:lnTo>
                  <a:lnTo>
                    <a:pt x="354" y="318"/>
                  </a:lnTo>
                  <a:lnTo>
                    <a:pt x="354" y="312"/>
                  </a:lnTo>
                  <a:lnTo>
                    <a:pt x="366" y="312"/>
                  </a:lnTo>
                  <a:lnTo>
                    <a:pt x="384" y="312"/>
                  </a:lnTo>
                  <a:lnTo>
                    <a:pt x="390" y="306"/>
                  </a:lnTo>
                  <a:lnTo>
                    <a:pt x="396" y="306"/>
                  </a:lnTo>
                  <a:lnTo>
                    <a:pt x="408" y="306"/>
                  </a:lnTo>
                  <a:lnTo>
                    <a:pt x="426" y="312"/>
                  </a:lnTo>
                  <a:lnTo>
                    <a:pt x="456" y="324"/>
                  </a:lnTo>
                  <a:lnTo>
                    <a:pt x="504" y="330"/>
                  </a:lnTo>
                  <a:lnTo>
                    <a:pt x="510" y="336"/>
                  </a:lnTo>
                  <a:lnTo>
                    <a:pt x="534" y="336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58" y="330"/>
                  </a:lnTo>
                  <a:lnTo>
                    <a:pt x="564" y="330"/>
                  </a:lnTo>
                  <a:lnTo>
                    <a:pt x="570" y="354"/>
                  </a:lnTo>
                  <a:lnTo>
                    <a:pt x="564" y="378"/>
                  </a:lnTo>
                  <a:lnTo>
                    <a:pt x="558" y="396"/>
                  </a:lnTo>
                  <a:lnTo>
                    <a:pt x="546" y="414"/>
                  </a:lnTo>
                  <a:lnTo>
                    <a:pt x="546" y="438"/>
                  </a:lnTo>
                  <a:lnTo>
                    <a:pt x="540" y="456"/>
                  </a:lnTo>
                  <a:lnTo>
                    <a:pt x="540" y="474"/>
                  </a:lnTo>
                  <a:lnTo>
                    <a:pt x="528" y="480"/>
                  </a:lnTo>
                  <a:lnTo>
                    <a:pt x="522" y="492"/>
                  </a:lnTo>
                  <a:lnTo>
                    <a:pt x="504" y="498"/>
                  </a:lnTo>
                  <a:lnTo>
                    <a:pt x="498" y="498"/>
                  </a:lnTo>
                  <a:lnTo>
                    <a:pt x="492" y="504"/>
                  </a:lnTo>
                  <a:lnTo>
                    <a:pt x="486" y="510"/>
                  </a:lnTo>
                  <a:lnTo>
                    <a:pt x="480" y="510"/>
                  </a:lnTo>
                  <a:lnTo>
                    <a:pt x="480" y="516"/>
                  </a:lnTo>
                  <a:lnTo>
                    <a:pt x="474" y="522"/>
                  </a:lnTo>
                  <a:lnTo>
                    <a:pt x="474" y="528"/>
                  </a:lnTo>
                  <a:lnTo>
                    <a:pt x="474" y="534"/>
                  </a:lnTo>
                  <a:lnTo>
                    <a:pt x="480" y="540"/>
                  </a:lnTo>
                  <a:lnTo>
                    <a:pt x="492" y="540"/>
                  </a:lnTo>
                  <a:lnTo>
                    <a:pt x="498" y="546"/>
                  </a:lnTo>
                  <a:lnTo>
                    <a:pt x="504" y="552"/>
                  </a:lnTo>
                  <a:lnTo>
                    <a:pt x="510" y="552"/>
                  </a:lnTo>
                  <a:lnTo>
                    <a:pt x="516" y="558"/>
                  </a:lnTo>
                  <a:lnTo>
                    <a:pt x="528" y="558"/>
                  </a:lnTo>
                  <a:lnTo>
                    <a:pt x="534" y="552"/>
                  </a:lnTo>
                  <a:lnTo>
                    <a:pt x="540" y="552"/>
                  </a:lnTo>
                  <a:lnTo>
                    <a:pt x="546" y="552"/>
                  </a:lnTo>
                  <a:lnTo>
                    <a:pt x="558" y="546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70" y="546"/>
                  </a:lnTo>
                  <a:lnTo>
                    <a:pt x="570" y="540"/>
                  </a:lnTo>
                  <a:lnTo>
                    <a:pt x="570" y="546"/>
                  </a:lnTo>
                  <a:lnTo>
                    <a:pt x="576" y="546"/>
                  </a:lnTo>
                  <a:lnTo>
                    <a:pt x="582" y="546"/>
                  </a:lnTo>
                  <a:lnTo>
                    <a:pt x="588" y="540"/>
                  </a:lnTo>
                  <a:lnTo>
                    <a:pt x="594" y="546"/>
                  </a:lnTo>
                  <a:lnTo>
                    <a:pt x="606" y="546"/>
                  </a:lnTo>
                  <a:lnTo>
                    <a:pt x="612" y="546"/>
                  </a:lnTo>
                  <a:lnTo>
                    <a:pt x="612" y="552"/>
                  </a:lnTo>
                  <a:lnTo>
                    <a:pt x="618" y="552"/>
                  </a:lnTo>
                  <a:lnTo>
                    <a:pt x="624" y="552"/>
                  </a:lnTo>
                  <a:lnTo>
                    <a:pt x="630" y="552"/>
                  </a:lnTo>
                  <a:lnTo>
                    <a:pt x="648" y="546"/>
                  </a:lnTo>
                  <a:lnTo>
                    <a:pt x="654" y="546"/>
                  </a:lnTo>
                  <a:lnTo>
                    <a:pt x="654" y="552"/>
                  </a:lnTo>
                  <a:lnTo>
                    <a:pt x="660" y="558"/>
                  </a:lnTo>
                  <a:lnTo>
                    <a:pt x="666" y="564"/>
                  </a:lnTo>
                  <a:lnTo>
                    <a:pt x="672" y="564"/>
                  </a:lnTo>
                  <a:lnTo>
                    <a:pt x="678" y="564"/>
                  </a:lnTo>
                  <a:lnTo>
                    <a:pt x="696" y="576"/>
                  </a:lnTo>
                  <a:lnTo>
                    <a:pt x="696" y="582"/>
                  </a:lnTo>
                  <a:lnTo>
                    <a:pt x="708" y="588"/>
                  </a:lnTo>
                  <a:lnTo>
                    <a:pt x="708" y="594"/>
                  </a:lnTo>
                  <a:lnTo>
                    <a:pt x="720" y="606"/>
                  </a:lnTo>
                  <a:lnTo>
                    <a:pt x="720" y="618"/>
                  </a:lnTo>
                  <a:lnTo>
                    <a:pt x="720" y="624"/>
                  </a:lnTo>
                  <a:lnTo>
                    <a:pt x="726" y="630"/>
                  </a:lnTo>
                  <a:lnTo>
                    <a:pt x="732" y="636"/>
                  </a:lnTo>
                  <a:lnTo>
                    <a:pt x="732" y="642"/>
                  </a:lnTo>
                  <a:lnTo>
                    <a:pt x="732" y="648"/>
                  </a:lnTo>
                  <a:lnTo>
                    <a:pt x="726" y="654"/>
                  </a:lnTo>
                  <a:lnTo>
                    <a:pt x="720" y="660"/>
                  </a:lnTo>
                  <a:lnTo>
                    <a:pt x="714" y="666"/>
                  </a:lnTo>
                  <a:lnTo>
                    <a:pt x="714" y="672"/>
                  </a:lnTo>
                  <a:lnTo>
                    <a:pt x="714" y="678"/>
                  </a:lnTo>
                  <a:lnTo>
                    <a:pt x="720" y="678"/>
                  </a:lnTo>
                  <a:lnTo>
                    <a:pt x="720" y="684"/>
                  </a:lnTo>
                  <a:lnTo>
                    <a:pt x="714" y="690"/>
                  </a:lnTo>
                  <a:lnTo>
                    <a:pt x="714" y="696"/>
                  </a:lnTo>
                  <a:lnTo>
                    <a:pt x="714" y="702"/>
                  </a:lnTo>
                  <a:lnTo>
                    <a:pt x="714" y="708"/>
                  </a:lnTo>
                  <a:lnTo>
                    <a:pt x="720" y="708"/>
                  </a:lnTo>
                  <a:lnTo>
                    <a:pt x="720" y="720"/>
                  </a:lnTo>
                  <a:lnTo>
                    <a:pt x="720" y="726"/>
                  </a:lnTo>
                  <a:lnTo>
                    <a:pt x="726" y="726"/>
                  </a:lnTo>
                  <a:lnTo>
                    <a:pt x="726" y="732"/>
                  </a:lnTo>
                  <a:lnTo>
                    <a:pt x="732" y="732"/>
                  </a:lnTo>
                  <a:lnTo>
                    <a:pt x="732" y="738"/>
                  </a:lnTo>
                  <a:lnTo>
                    <a:pt x="726" y="738"/>
                  </a:lnTo>
                  <a:lnTo>
                    <a:pt x="720" y="738"/>
                  </a:lnTo>
                  <a:lnTo>
                    <a:pt x="720" y="744"/>
                  </a:lnTo>
                  <a:lnTo>
                    <a:pt x="720" y="750"/>
                  </a:lnTo>
                  <a:lnTo>
                    <a:pt x="714" y="750"/>
                  </a:lnTo>
                  <a:lnTo>
                    <a:pt x="714" y="756"/>
                  </a:lnTo>
                  <a:lnTo>
                    <a:pt x="720" y="756"/>
                  </a:lnTo>
                  <a:lnTo>
                    <a:pt x="714" y="762"/>
                  </a:lnTo>
                  <a:lnTo>
                    <a:pt x="720" y="762"/>
                  </a:lnTo>
                  <a:lnTo>
                    <a:pt x="726" y="768"/>
                  </a:lnTo>
                  <a:lnTo>
                    <a:pt x="726" y="774"/>
                  </a:lnTo>
                  <a:lnTo>
                    <a:pt x="732" y="774"/>
                  </a:lnTo>
                  <a:lnTo>
                    <a:pt x="732" y="780"/>
                  </a:lnTo>
                  <a:lnTo>
                    <a:pt x="726" y="780"/>
                  </a:lnTo>
                  <a:lnTo>
                    <a:pt x="726" y="786"/>
                  </a:lnTo>
                  <a:lnTo>
                    <a:pt x="720" y="786"/>
                  </a:lnTo>
                  <a:lnTo>
                    <a:pt x="726" y="786"/>
                  </a:lnTo>
                  <a:lnTo>
                    <a:pt x="732" y="780"/>
                  </a:lnTo>
                  <a:lnTo>
                    <a:pt x="738" y="780"/>
                  </a:lnTo>
                  <a:lnTo>
                    <a:pt x="744" y="780"/>
                  </a:lnTo>
                  <a:lnTo>
                    <a:pt x="744" y="786"/>
                  </a:lnTo>
                  <a:lnTo>
                    <a:pt x="750" y="786"/>
                  </a:lnTo>
                  <a:lnTo>
                    <a:pt x="744" y="786"/>
                  </a:lnTo>
                  <a:lnTo>
                    <a:pt x="744" y="792"/>
                  </a:lnTo>
                  <a:lnTo>
                    <a:pt x="744" y="786"/>
                  </a:lnTo>
                  <a:lnTo>
                    <a:pt x="738" y="792"/>
                  </a:lnTo>
                  <a:lnTo>
                    <a:pt x="744" y="792"/>
                  </a:lnTo>
                  <a:lnTo>
                    <a:pt x="750" y="792"/>
                  </a:lnTo>
                  <a:lnTo>
                    <a:pt x="750" y="786"/>
                  </a:lnTo>
                  <a:lnTo>
                    <a:pt x="756" y="786"/>
                  </a:lnTo>
                  <a:lnTo>
                    <a:pt x="756" y="792"/>
                  </a:lnTo>
                  <a:lnTo>
                    <a:pt x="762" y="792"/>
                  </a:lnTo>
                  <a:lnTo>
                    <a:pt x="756" y="798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0" y="810"/>
                  </a:lnTo>
                  <a:lnTo>
                    <a:pt x="756" y="810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6" y="816"/>
                  </a:lnTo>
                  <a:lnTo>
                    <a:pt x="750" y="816"/>
                  </a:lnTo>
                  <a:lnTo>
                    <a:pt x="738" y="810"/>
                  </a:lnTo>
                  <a:lnTo>
                    <a:pt x="732" y="810"/>
                  </a:lnTo>
                  <a:lnTo>
                    <a:pt x="732" y="816"/>
                  </a:lnTo>
                  <a:lnTo>
                    <a:pt x="726" y="810"/>
                  </a:lnTo>
                  <a:lnTo>
                    <a:pt x="714" y="816"/>
                  </a:lnTo>
                  <a:lnTo>
                    <a:pt x="708" y="816"/>
                  </a:lnTo>
                  <a:lnTo>
                    <a:pt x="702" y="816"/>
                  </a:lnTo>
                  <a:lnTo>
                    <a:pt x="696" y="816"/>
                  </a:lnTo>
                  <a:lnTo>
                    <a:pt x="690" y="822"/>
                  </a:lnTo>
                  <a:lnTo>
                    <a:pt x="684" y="822"/>
                  </a:lnTo>
                  <a:lnTo>
                    <a:pt x="678" y="822"/>
                  </a:lnTo>
                  <a:lnTo>
                    <a:pt x="672" y="822"/>
                  </a:lnTo>
                  <a:lnTo>
                    <a:pt x="666" y="822"/>
                  </a:lnTo>
                  <a:lnTo>
                    <a:pt x="666" y="828"/>
                  </a:lnTo>
                  <a:lnTo>
                    <a:pt x="654" y="828"/>
                  </a:lnTo>
                  <a:lnTo>
                    <a:pt x="648" y="828"/>
                  </a:lnTo>
                  <a:lnTo>
                    <a:pt x="642" y="828"/>
                  </a:lnTo>
                  <a:lnTo>
                    <a:pt x="630" y="828"/>
                  </a:lnTo>
                  <a:lnTo>
                    <a:pt x="624" y="822"/>
                  </a:lnTo>
                  <a:lnTo>
                    <a:pt x="618" y="822"/>
                  </a:lnTo>
                  <a:lnTo>
                    <a:pt x="612" y="822"/>
                  </a:lnTo>
                  <a:lnTo>
                    <a:pt x="606" y="822"/>
                  </a:lnTo>
                  <a:lnTo>
                    <a:pt x="600" y="822"/>
                  </a:lnTo>
                  <a:lnTo>
                    <a:pt x="594" y="822"/>
                  </a:lnTo>
                  <a:lnTo>
                    <a:pt x="594" y="816"/>
                  </a:lnTo>
                  <a:lnTo>
                    <a:pt x="594" y="810"/>
                  </a:lnTo>
                  <a:lnTo>
                    <a:pt x="600" y="804"/>
                  </a:lnTo>
                  <a:lnTo>
                    <a:pt x="600" y="798"/>
                  </a:lnTo>
                  <a:lnTo>
                    <a:pt x="600" y="792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2" y="786"/>
                  </a:lnTo>
                  <a:lnTo>
                    <a:pt x="618" y="786"/>
                  </a:lnTo>
                  <a:lnTo>
                    <a:pt x="624" y="786"/>
                  </a:lnTo>
                  <a:lnTo>
                    <a:pt x="624" y="780"/>
                  </a:lnTo>
                  <a:lnTo>
                    <a:pt x="630" y="780"/>
                  </a:lnTo>
                  <a:lnTo>
                    <a:pt x="630" y="774"/>
                  </a:lnTo>
                  <a:lnTo>
                    <a:pt x="636" y="774"/>
                  </a:lnTo>
                  <a:lnTo>
                    <a:pt x="642" y="780"/>
                  </a:lnTo>
                  <a:lnTo>
                    <a:pt x="642" y="786"/>
                  </a:lnTo>
                  <a:lnTo>
                    <a:pt x="642" y="792"/>
                  </a:lnTo>
                  <a:lnTo>
                    <a:pt x="648" y="792"/>
                  </a:lnTo>
                  <a:lnTo>
                    <a:pt x="648" y="786"/>
                  </a:lnTo>
                  <a:lnTo>
                    <a:pt x="642" y="786"/>
                  </a:lnTo>
                  <a:lnTo>
                    <a:pt x="642" y="780"/>
                  </a:lnTo>
                  <a:lnTo>
                    <a:pt x="642" y="774"/>
                  </a:lnTo>
                  <a:lnTo>
                    <a:pt x="648" y="768"/>
                  </a:lnTo>
                  <a:lnTo>
                    <a:pt x="642" y="768"/>
                  </a:lnTo>
                  <a:lnTo>
                    <a:pt x="648" y="768"/>
                  </a:lnTo>
                  <a:lnTo>
                    <a:pt x="648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66" y="762"/>
                  </a:lnTo>
                  <a:lnTo>
                    <a:pt x="672" y="756"/>
                  </a:lnTo>
                  <a:lnTo>
                    <a:pt x="666" y="756"/>
                  </a:lnTo>
                  <a:lnTo>
                    <a:pt x="660" y="756"/>
                  </a:lnTo>
                  <a:lnTo>
                    <a:pt x="660" y="750"/>
                  </a:lnTo>
                  <a:lnTo>
                    <a:pt x="654" y="750"/>
                  </a:lnTo>
                  <a:lnTo>
                    <a:pt x="648" y="750"/>
                  </a:lnTo>
                  <a:lnTo>
                    <a:pt x="648" y="756"/>
                  </a:lnTo>
                  <a:lnTo>
                    <a:pt x="642" y="756"/>
                  </a:lnTo>
                  <a:lnTo>
                    <a:pt x="642" y="750"/>
                  </a:lnTo>
                  <a:lnTo>
                    <a:pt x="642" y="744"/>
                  </a:lnTo>
                  <a:lnTo>
                    <a:pt x="642" y="750"/>
                  </a:lnTo>
                  <a:lnTo>
                    <a:pt x="636" y="750"/>
                  </a:lnTo>
                  <a:lnTo>
                    <a:pt x="636" y="744"/>
                  </a:lnTo>
                  <a:lnTo>
                    <a:pt x="630" y="744"/>
                  </a:lnTo>
                  <a:lnTo>
                    <a:pt x="630" y="738"/>
                  </a:lnTo>
                  <a:lnTo>
                    <a:pt x="630" y="744"/>
                  </a:lnTo>
                  <a:lnTo>
                    <a:pt x="630" y="750"/>
                  </a:lnTo>
                  <a:lnTo>
                    <a:pt x="636" y="750"/>
                  </a:lnTo>
                  <a:lnTo>
                    <a:pt x="636" y="756"/>
                  </a:lnTo>
                  <a:lnTo>
                    <a:pt x="630" y="756"/>
                  </a:lnTo>
                  <a:lnTo>
                    <a:pt x="636" y="762"/>
                  </a:lnTo>
                  <a:lnTo>
                    <a:pt x="630" y="762"/>
                  </a:lnTo>
                  <a:lnTo>
                    <a:pt x="624" y="762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24" y="786"/>
                  </a:lnTo>
                  <a:lnTo>
                    <a:pt x="618" y="786"/>
                  </a:lnTo>
                  <a:lnTo>
                    <a:pt x="618" y="78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12" y="774"/>
                  </a:lnTo>
                  <a:lnTo>
                    <a:pt x="612" y="780"/>
                  </a:lnTo>
                  <a:lnTo>
                    <a:pt x="606" y="780"/>
                  </a:lnTo>
                  <a:lnTo>
                    <a:pt x="600" y="780"/>
                  </a:lnTo>
                  <a:lnTo>
                    <a:pt x="600" y="774"/>
                  </a:lnTo>
                  <a:lnTo>
                    <a:pt x="594" y="768"/>
                  </a:lnTo>
                  <a:lnTo>
                    <a:pt x="594" y="762"/>
                  </a:lnTo>
                  <a:lnTo>
                    <a:pt x="594" y="756"/>
                  </a:lnTo>
                  <a:lnTo>
                    <a:pt x="594" y="762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594" y="780"/>
                  </a:lnTo>
                  <a:lnTo>
                    <a:pt x="588" y="780"/>
                  </a:lnTo>
                  <a:lnTo>
                    <a:pt x="582" y="780"/>
                  </a:lnTo>
                  <a:lnTo>
                    <a:pt x="576" y="780"/>
                  </a:lnTo>
                  <a:lnTo>
                    <a:pt x="570" y="780"/>
                  </a:lnTo>
                  <a:lnTo>
                    <a:pt x="564" y="780"/>
                  </a:lnTo>
                  <a:lnTo>
                    <a:pt x="564" y="786"/>
                  </a:lnTo>
                  <a:lnTo>
                    <a:pt x="558" y="786"/>
                  </a:lnTo>
                  <a:lnTo>
                    <a:pt x="552" y="786"/>
                  </a:lnTo>
                  <a:lnTo>
                    <a:pt x="552" y="780"/>
                  </a:lnTo>
                  <a:lnTo>
                    <a:pt x="552" y="774"/>
                  </a:lnTo>
                  <a:lnTo>
                    <a:pt x="552" y="768"/>
                  </a:lnTo>
                  <a:lnTo>
                    <a:pt x="546" y="768"/>
                  </a:lnTo>
                  <a:lnTo>
                    <a:pt x="540" y="762"/>
                  </a:lnTo>
                  <a:lnTo>
                    <a:pt x="540" y="756"/>
                  </a:lnTo>
                  <a:lnTo>
                    <a:pt x="534" y="756"/>
                  </a:lnTo>
                  <a:lnTo>
                    <a:pt x="534" y="750"/>
                  </a:lnTo>
                  <a:lnTo>
                    <a:pt x="534" y="744"/>
                  </a:lnTo>
                  <a:lnTo>
                    <a:pt x="528" y="738"/>
                  </a:lnTo>
                  <a:lnTo>
                    <a:pt x="522" y="738"/>
                  </a:lnTo>
                  <a:lnTo>
                    <a:pt x="522" y="732"/>
                  </a:lnTo>
                  <a:lnTo>
                    <a:pt x="510" y="726"/>
                  </a:lnTo>
                  <a:lnTo>
                    <a:pt x="510" y="720"/>
                  </a:lnTo>
                  <a:lnTo>
                    <a:pt x="504" y="720"/>
                  </a:lnTo>
                  <a:lnTo>
                    <a:pt x="504" y="714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8" y="702"/>
                  </a:lnTo>
                  <a:lnTo>
                    <a:pt x="498" y="696"/>
                  </a:lnTo>
                  <a:lnTo>
                    <a:pt x="492" y="690"/>
                  </a:lnTo>
                  <a:lnTo>
                    <a:pt x="492" y="684"/>
                  </a:lnTo>
                  <a:lnTo>
                    <a:pt x="486" y="684"/>
                  </a:lnTo>
                  <a:lnTo>
                    <a:pt x="486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74" y="678"/>
                  </a:lnTo>
                  <a:lnTo>
                    <a:pt x="468" y="678"/>
                  </a:lnTo>
                  <a:lnTo>
                    <a:pt x="462" y="678"/>
                  </a:lnTo>
                  <a:lnTo>
                    <a:pt x="462" y="672"/>
                  </a:lnTo>
                  <a:lnTo>
                    <a:pt x="456" y="672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44" y="666"/>
                  </a:lnTo>
                  <a:lnTo>
                    <a:pt x="438" y="660"/>
                  </a:lnTo>
                  <a:lnTo>
                    <a:pt x="438" y="648"/>
                  </a:lnTo>
                  <a:lnTo>
                    <a:pt x="438" y="642"/>
                  </a:lnTo>
                  <a:lnTo>
                    <a:pt x="438" y="636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36"/>
                  </a:lnTo>
                  <a:lnTo>
                    <a:pt x="420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60"/>
                  </a:lnTo>
                  <a:lnTo>
                    <a:pt x="432" y="666"/>
                  </a:lnTo>
                  <a:lnTo>
                    <a:pt x="438" y="666"/>
                  </a:lnTo>
                  <a:lnTo>
                    <a:pt x="438" y="672"/>
                  </a:lnTo>
                  <a:lnTo>
                    <a:pt x="444" y="672"/>
                  </a:lnTo>
                  <a:lnTo>
                    <a:pt x="444" y="678"/>
                  </a:lnTo>
                  <a:lnTo>
                    <a:pt x="450" y="678"/>
                  </a:lnTo>
                  <a:lnTo>
                    <a:pt x="456" y="678"/>
                  </a:lnTo>
                  <a:lnTo>
                    <a:pt x="456" y="684"/>
                  </a:lnTo>
                  <a:lnTo>
                    <a:pt x="462" y="684"/>
                  </a:lnTo>
                  <a:lnTo>
                    <a:pt x="468" y="684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80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86" y="708"/>
                  </a:lnTo>
                  <a:lnTo>
                    <a:pt x="492" y="714"/>
                  </a:lnTo>
                  <a:lnTo>
                    <a:pt x="492" y="720"/>
                  </a:lnTo>
                  <a:lnTo>
                    <a:pt x="492" y="726"/>
                  </a:lnTo>
                  <a:lnTo>
                    <a:pt x="498" y="732"/>
                  </a:lnTo>
                  <a:lnTo>
                    <a:pt x="492" y="738"/>
                  </a:lnTo>
                  <a:lnTo>
                    <a:pt x="492" y="744"/>
                  </a:lnTo>
                  <a:lnTo>
                    <a:pt x="492" y="750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68" y="738"/>
                  </a:lnTo>
                  <a:lnTo>
                    <a:pt x="468" y="744"/>
                  </a:lnTo>
                  <a:lnTo>
                    <a:pt x="474" y="750"/>
                  </a:lnTo>
                  <a:lnTo>
                    <a:pt x="480" y="756"/>
                  </a:lnTo>
                  <a:lnTo>
                    <a:pt x="486" y="756"/>
                  </a:lnTo>
                  <a:lnTo>
                    <a:pt x="492" y="762"/>
                  </a:lnTo>
                  <a:lnTo>
                    <a:pt x="498" y="768"/>
                  </a:lnTo>
                  <a:lnTo>
                    <a:pt x="492" y="774"/>
                  </a:lnTo>
                  <a:lnTo>
                    <a:pt x="492" y="780"/>
                  </a:lnTo>
                  <a:lnTo>
                    <a:pt x="498" y="780"/>
                  </a:lnTo>
                  <a:lnTo>
                    <a:pt x="492" y="786"/>
                  </a:lnTo>
                  <a:lnTo>
                    <a:pt x="492" y="792"/>
                  </a:lnTo>
                  <a:lnTo>
                    <a:pt x="492" y="79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0" y="810"/>
                  </a:lnTo>
                  <a:lnTo>
                    <a:pt x="480" y="804"/>
                  </a:lnTo>
                  <a:lnTo>
                    <a:pt x="474" y="804"/>
                  </a:lnTo>
                  <a:lnTo>
                    <a:pt x="474" y="798"/>
                  </a:lnTo>
                  <a:lnTo>
                    <a:pt x="474" y="804"/>
                  </a:lnTo>
                  <a:lnTo>
                    <a:pt x="468" y="804"/>
                  </a:lnTo>
                  <a:lnTo>
                    <a:pt x="468" y="810"/>
                  </a:lnTo>
                  <a:lnTo>
                    <a:pt x="462" y="810"/>
                  </a:lnTo>
                  <a:lnTo>
                    <a:pt x="456" y="810"/>
                  </a:lnTo>
                  <a:lnTo>
                    <a:pt x="450" y="810"/>
                  </a:lnTo>
                  <a:lnTo>
                    <a:pt x="450" y="816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50" y="822"/>
                  </a:lnTo>
                  <a:lnTo>
                    <a:pt x="450" y="816"/>
                  </a:lnTo>
                  <a:lnTo>
                    <a:pt x="444" y="816"/>
                  </a:lnTo>
                  <a:lnTo>
                    <a:pt x="438" y="810"/>
                  </a:lnTo>
                  <a:lnTo>
                    <a:pt x="432" y="810"/>
                  </a:lnTo>
                  <a:lnTo>
                    <a:pt x="426" y="804"/>
                  </a:lnTo>
                  <a:lnTo>
                    <a:pt x="426" y="798"/>
                  </a:lnTo>
                  <a:lnTo>
                    <a:pt x="420" y="798"/>
                  </a:lnTo>
                  <a:lnTo>
                    <a:pt x="426" y="798"/>
                  </a:lnTo>
                  <a:lnTo>
                    <a:pt x="426" y="792"/>
                  </a:lnTo>
                  <a:lnTo>
                    <a:pt x="426" y="786"/>
                  </a:lnTo>
                  <a:lnTo>
                    <a:pt x="432" y="786"/>
                  </a:lnTo>
                  <a:lnTo>
                    <a:pt x="432" y="780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0" y="756"/>
                  </a:lnTo>
                  <a:lnTo>
                    <a:pt x="420" y="750"/>
                  </a:lnTo>
                  <a:lnTo>
                    <a:pt x="414" y="750"/>
                  </a:lnTo>
                  <a:lnTo>
                    <a:pt x="420" y="750"/>
                  </a:lnTo>
                  <a:lnTo>
                    <a:pt x="420" y="744"/>
                  </a:lnTo>
                  <a:lnTo>
                    <a:pt x="414" y="744"/>
                  </a:lnTo>
                  <a:lnTo>
                    <a:pt x="414" y="738"/>
                  </a:lnTo>
                  <a:lnTo>
                    <a:pt x="414" y="732"/>
                  </a:lnTo>
                  <a:lnTo>
                    <a:pt x="408" y="732"/>
                  </a:lnTo>
                  <a:lnTo>
                    <a:pt x="408" y="726"/>
                  </a:lnTo>
                  <a:lnTo>
                    <a:pt x="402" y="726"/>
                  </a:lnTo>
                  <a:lnTo>
                    <a:pt x="396" y="726"/>
                  </a:lnTo>
                  <a:lnTo>
                    <a:pt x="390" y="726"/>
                  </a:lnTo>
                  <a:lnTo>
                    <a:pt x="390" y="720"/>
                  </a:lnTo>
                  <a:lnTo>
                    <a:pt x="390" y="714"/>
                  </a:lnTo>
                  <a:lnTo>
                    <a:pt x="384" y="708"/>
                  </a:lnTo>
                  <a:lnTo>
                    <a:pt x="384" y="702"/>
                  </a:lnTo>
                  <a:lnTo>
                    <a:pt x="378" y="702"/>
                  </a:lnTo>
                  <a:lnTo>
                    <a:pt x="378" y="696"/>
                  </a:lnTo>
                  <a:lnTo>
                    <a:pt x="378" y="690"/>
                  </a:lnTo>
                  <a:lnTo>
                    <a:pt x="372" y="684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66" y="666"/>
                  </a:lnTo>
                  <a:lnTo>
                    <a:pt x="366" y="660"/>
                  </a:lnTo>
                  <a:lnTo>
                    <a:pt x="366" y="654"/>
                  </a:lnTo>
                  <a:lnTo>
                    <a:pt x="360" y="648"/>
                  </a:lnTo>
                  <a:lnTo>
                    <a:pt x="360" y="654"/>
                  </a:lnTo>
                  <a:lnTo>
                    <a:pt x="360" y="660"/>
                  </a:lnTo>
                  <a:lnTo>
                    <a:pt x="360" y="666"/>
                  </a:lnTo>
                  <a:lnTo>
                    <a:pt x="360" y="672"/>
                  </a:lnTo>
                  <a:lnTo>
                    <a:pt x="360" y="678"/>
                  </a:lnTo>
                  <a:lnTo>
                    <a:pt x="366" y="678"/>
                  </a:lnTo>
                  <a:lnTo>
                    <a:pt x="366" y="684"/>
                  </a:lnTo>
                  <a:lnTo>
                    <a:pt x="366" y="690"/>
                  </a:lnTo>
                  <a:lnTo>
                    <a:pt x="372" y="696"/>
                  </a:lnTo>
                  <a:lnTo>
                    <a:pt x="372" y="702"/>
                  </a:lnTo>
                  <a:lnTo>
                    <a:pt x="372" y="708"/>
                  </a:lnTo>
                  <a:lnTo>
                    <a:pt x="372" y="714"/>
                  </a:lnTo>
                  <a:lnTo>
                    <a:pt x="366" y="714"/>
                  </a:lnTo>
                  <a:lnTo>
                    <a:pt x="360" y="714"/>
                  </a:lnTo>
                  <a:lnTo>
                    <a:pt x="354" y="714"/>
                  </a:lnTo>
                  <a:lnTo>
                    <a:pt x="348" y="714"/>
                  </a:lnTo>
                  <a:lnTo>
                    <a:pt x="348" y="708"/>
                  </a:lnTo>
                  <a:lnTo>
                    <a:pt x="342" y="708"/>
                  </a:lnTo>
                  <a:lnTo>
                    <a:pt x="342" y="702"/>
                  </a:lnTo>
                  <a:lnTo>
                    <a:pt x="342" y="696"/>
                  </a:lnTo>
                  <a:lnTo>
                    <a:pt x="336" y="696"/>
                  </a:lnTo>
                  <a:lnTo>
                    <a:pt x="336" y="690"/>
                  </a:lnTo>
                  <a:lnTo>
                    <a:pt x="336" y="684"/>
                  </a:lnTo>
                  <a:lnTo>
                    <a:pt x="330" y="684"/>
                  </a:lnTo>
                  <a:lnTo>
                    <a:pt x="330" y="678"/>
                  </a:lnTo>
                  <a:lnTo>
                    <a:pt x="324" y="672"/>
                  </a:lnTo>
                  <a:lnTo>
                    <a:pt x="324" y="666"/>
                  </a:lnTo>
                  <a:lnTo>
                    <a:pt x="318" y="666"/>
                  </a:lnTo>
                  <a:lnTo>
                    <a:pt x="318" y="672"/>
                  </a:lnTo>
                  <a:lnTo>
                    <a:pt x="324" y="672"/>
                  </a:lnTo>
                  <a:lnTo>
                    <a:pt x="324" y="678"/>
                  </a:lnTo>
                  <a:lnTo>
                    <a:pt x="324" y="684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30" y="696"/>
                  </a:lnTo>
                  <a:lnTo>
                    <a:pt x="336" y="702"/>
                  </a:lnTo>
                  <a:lnTo>
                    <a:pt x="342" y="708"/>
                  </a:lnTo>
                  <a:lnTo>
                    <a:pt x="342" y="714"/>
                  </a:lnTo>
                  <a:lnTo>
                    <a:pt x="348" y="720"/>
                  </a:lnTo>
                  <a:lnTo>
                    <a:pt x="342" y="720"/>
                  </a:lnTo>
                  <a:lnTo>
                    <a:pt x="336" y="720"/>
                  </a:lnTo>
                  <a:lnTo>
                    <a:pt x="330" y="720"/>
                  </a:lnTo>
                  <a:lnTo>
                    <a:pt x="330" y="726"/>
                  </a:lnTo>
                  <a:lnTo>
                    <a:pt x="336" y="726"/>
                  </a:lnTo>
                  <a:lnTo>
                    <a:pt x="330" y="732"/>
                  </a:lnTo>
                  <a:lnTo>
                    <a:pt x="330" y="738"/>
                  </a:lnTo>
                  <a:lnTo>
                    <a:pt x="330" y="744"/>
                  </a:lnTo>
                  <a:lnTo>
                    <a:pt x="336" y="744"/>
                  </a:lnTo>
                  <a:lnTo>
                    <a:pt x="342" y="744"/>
                  </a:lnTo>
                  <a:lnTo>
                    <a:pt x="348" y="744"/>
                  </a:lnTo>
                  <a:lnTo>
                    <a:pt x="348" y="750"/>
                  </a:lnTo>
                  <a:lnTo>
                    <a:pt x="354" y="750"/>
                  </a:lnTo>
                  <a:lnTo>
                    <a:pt x="360" y="756"/>
                  </a:lnTo>
                  <a:lnTo>
                    <a:pt x="360" y="762"/>
                  </a:lnTo>
                  <a:lnTo>
                    <a:pt x="366" y="762"/>
                  </a:lnTo>
                  <a:lnTo>
                    <a:pt x="366" y="768"/>
                  </a:lnTo>
                  <a:lnTo>
                    <a:pt x="366" y="774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72" y="792"/>
                  </a:lnTo>
                  <a:lnTo>
                    <a:pt x="372" y="798"/>
                  </a:lnTo>
                  <a:lnTo>
                    <a:pt x="372" y="804"/>
                  </a:lnTo>
                  <a:lnTo>
                    <a:pt x="378" y="804"/>
                  </a:lnTo>
                  <a:lnTo>
                    <a:pt x="378" y="810"/>
                  </a:lnTo>
                  <a:lnTo>
                    <a:pt x="378" y="816"/>
                  </a:lnTo>
                  <a:lnTo>
                    <a:pt x="372" y="816"/>
                  </a:lnTo>
                  <a:lnTo>
                    <a:pt x="378" y="816"/>
                  </a:lnTo>
                  <a:lnTo>
                    <a:pt x="378" y="822"/>
                  </a:lnTo>
                  <a:lnTo>
                    <a:pt x="378" y="828"/>
                  </a:lnTo>
                  <a:lnTo>
                    <a:pt x="378" y="834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0" y="864"/>
                  </a:lnTo>
                  <a:lnTo>
                    <a:pt x="384" y="864"/>
                  </a:lnTo>
                  <a:lnTo>
                    <a:pt x="384" y="870"/>
                  </a:lnTo>
                  <a:lnTo>
                    <a:pt x="378" y="864"/>
                  </a:lnTo>
                  <a:lnTo>
                    <a:pt x="372" y="864"/>
                  </a:lnTo>
                  <a:lnTo>
                    <a:pt x="366" y="858"/>
                  </a:lnTo>
                  <a:lnTo>
                    <a:pt x="366" y="852"/>
                  </a:lnTo>
                  <a:lnTo>
                    <a:pt x="360" y="852"/>
                  </a:lnTo>
                  <a:lnTo>
                    <a:pt x="360" y="858"/>
                  </a:lnTo>
                  <a:lnTo>
                    <a:pt x="366" y="858"/>
                  </a:lnTo>
                  <a:lnTo>
                    <a:pt x="366" y="864"/>
                  </a:lnTo>
                  <a:lnTo>
                    <a:pt x="360" y="864"/>
                  </a:lnTo>
                  <a:lnTo>
                    <a:pt x="354" y="864"/>
                  </a:lnTo>
                  <a:lnTo>
                    <a:pt x="354" y="870"/>
                  </a:lnTo>
                  <a:lnTo>
                    <a:pt x="354" y="864"/>
                  </a:lnTo>
                  <a:lnTo>
                    <a:pt x="348" y="864"/>
                  </a:lnTo>
                  <a:lnTo>
                    <a:pt x="342" y="864"/>
                  </a:lnTo>
                  <a:lnTo>
                    <a:pt x="342" y="858"/>
                  </a:lnTo>
                  <a:lnTo>
                    <a:pt x="336" y="858"/>
                  </a:lnTo>
                  <a:lnTo>
                    <a:pt x="330" y="858"/>
                  </a:lnTo>
                  <a:lnTo>
                    <a:pt x="324" y="858"/>
                  </a:lnTo>
                  <a:lnTo>
                    <a:pt x="318" y="858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0" y="852"/>
                  </a:lnTo>
                  <a:lnTo>
                    <a:pt x="294" y="852"/>
                  </a:lnTo>
                  <a:lnTo>
                    <a:pt x="294" y="846"/>
                  </a:lnTo>
                  <a:lnTo>
                    <a:pt x="288" y="840"/>
                  </a:lnTo>
                  <a:lnTo>
                    <a:pt x="288" y="828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2" y="816"/>
                  </a:lnTo>
                  <a:lnTo>
                    <a:pt x="282" y="810"/>
                  </a:lnTo>
                  <a:lnTo>
                    <a:pt x="276" y="810"/>
                  </a:lnTo>
                  <a:lnTo>
                    <a:pt x="276" y="804"/>
                  </a:lnTo>
                  <a:lnTo>
                    <a:pt x="276" y="798"/>
                  </a:lnTo>
                  <a:lnTo>
                    <a:pt x="276" y="792"/>
                  </a:lnTo>
                  <a:lnTo>
                    <a:pt x="270" y="786"/>
                  </a:lnTo>
                  <a:lnTo>
                    <a:pt x="270" y="780"/>
                  </a:lnTo>
                  <a:lnTo>
                    <a:pt x="270" y="774"/>
                  </a:lnTo>
                  <a:lnTo>
                    <a:pt x="264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64" y="750"/>
                  </a:lnTo>
                  <a:lnTo>
                    <a:pt x="264" y="744"/>
                  </a:lnTo>
                  <a:lnTo>
                    <a:pt x="264" y="738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26"/>
                  </a:lnTo>
                  <a:lnTo>
                    <a:pt x="276" y="720"/>
                  </a:lnTo>
                  <a:lnTo>
                    <a:pt x="282" y="720"/>
                  </a:lnTo>
                  <a:lnTo>
                    <a:pt x="282" y="714"/>
                  </a:lnTo>
                  <a:lnTo>
                    <a:pt x="282" y="708"/>
                  </a:lnTo>
                  <a:lnTo>
                    <a:pt x="276" y="708"/>
                  </a:lnTo>
                  <a:lnTo>
                    <a:pt x="276" y="702"/>
                  </a:lnTo>
                  <a:lnTo>
                    <a:pt x="270" y="702"/>
                  </a:lnTo>
                  <a:lnTo>
                    <a:pt x="270" y="696"/>
                  </a:lnTo>
                  <a:lnTo>
                    <a:pt x="264" y="690"/>
                  </a:lnTo>
                  <a:lnTo>
                    <a:pt x="258" y="690"/>
                  </a:lnTo>
                  <a:lnTo>
                    <a:pt x="258" y="684"/>
                  </a:lnTo>
                  <a:lnTo>
                    <a:pt x="252" y="684"/>
                  </a:lnTo>
                  <a:lnTo>
                    <a:pt x="252" y="678"/>
                  </a:lnTo>
                  <a:lnTo>
                    <a:pt x="246" y="678"/>
                  </a:lnTo>
                  <a:lnTo>
                    <a:pt x="240" y="678"/>
                  </a:lnTo>
                  <a:lnTo>
                    <a:pt x="240" y="684"/>
                  </a:lnTo>
                  <a:lnTo>
                    <a:pt x="246" y="684"/>
                  </a:lnTo>
                  <a:lnTo>
                    <a:pt x="252" y="690"/>
                  </a:lnTo>
                  <a:lnTo>
                    <a:pt x="258" y="690"/>
                  </a:lnTo>
                  <a:lnTo>
                    <a:pt x="258" y="696"/>
                  </a:lnTo>
                  <a:lnTo>
                    <a:pt x="258" y="702"/>
                  </a:lnTo>
                  <a:lnTo>
                    <a:pt x="264" y="702"/>
                  </a:lnTo>
                  <a:lnTo>
                    <a:pt x="270" y="708"/>
                  </a:lnTo>
                  <a:lnTo>
                    <a:pt x="270" y="714"/>
                  </a:lnTo>
                  <a:lnTo>
                    <a:pt x="270" y="720"/>
                  </a:lnTo>
                  <a:lnTo>
                    <a:pt x="276" y="720"/>
                  </a:lnTo>
                  <a:lnTo>
                    <a:pt x="270" y="720"/>
                  </a:lnTo>
                  <a:lnTo>
                    <a:pt x="270" y="726"/>
                  </a:lnTo>
                  <a:lnTo>
                    <a:pt x="264" y="726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52" y="738"/>
                  </a:lnTo>
                  <a:lnTo>
                    <a:pt x="252" y="744"/>
                  </a:lnTo>
                  <a:lnTo>
                    <a:pt x="252" y="750"/>
                  </a:lnTo>
                  <a:lnTo>
                    <a:pt x="252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58" y="774"/>
                  </a:lnTo>
                  <a:lnTo>
                    <a:pt x="258" y="780"/>
                  </a:lnTo>
                  <a:lnTo>
                    <a:pt x="264" y="786"/>
                  </a:lnTo>
                  <a:lnTo>
                    <a:pt x="264" y="792"/>
                  </a:lnTo>
                  <a:lnTo>
                    <a:pt x="264" y="798"/>
                  </a:lnTo>
                  <a:lnTo>
                    <a:pt x="270" y="810"/>
                  </a:lnTo>
                  <a:lnTo>
                    <a:pt x="270" y="816"/>
                  </a:lnTo>
                  <a:lnTo>
                    <a:pt x="270" y="822"/>
                  </a:lnTo>
                  <a:lnTo>
                    <a:pt x="276" y="822"/>
                  </a:lnTo>
                  <a:lnTo>
                    <a:pt x="276" y="828"/>
                  </a:lnTo>
                  <a:lnTo>
                    <a:pt x="276" y="834"/>
                  </a:lnTo>
                  <a:lnTo>
                    <a:pt x="276" y="840"/>
                  </a:lnTo>
                  <a:lnTo>
                    <a:pt x="276" y="846"/>
                  </a:lnTo>
                  <a:lnTo>
                    <a:pt x="282" y="852"/>
                  </a:lnTo>
                  <a:lnTo>
                    <a:pt x="282" y="858"/>
                  </a:lnTo>
                  <a:lnTo>
                    <a:pt x="294" y="864"/>
                  </a:lnTo>
                  <a:lnTo>
                    <a:pt x="300" y="870"/>
                  </a:lnTo>
                  <a:lnTo>
                    <a:pt x="300" y="876"/>
                  </a:lnTo>
                  <a:lnTo>
                    <a:pt x="288" y="876"/>
                  </a:lnTo>
                  <a:lnTo>
                    <a:pt x="282" y="876"/>
                  </a:lnTo>
                  <a:lnTo>
                    <a:pt x="276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2" y="882"/>
                  </a:lnTo>
                  <a:lnTo>
                    <a:pt x="246" y="882"/>
                  </a:lnTo>
                  <a:lnTo>
                    <a:pt x="240" y="882"/>
                  </a:lnTo>
                  <a:lnTo>
                    <a:pt x="234" y="882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204" y="876"/>
                  </a:lnTo>
                  <a:lnTo>
                    <a:pt x="198" y="876"/>
                  </a:lnTo>
                  <a:lnTo>
                    <a:pt x="198" y="870"/>
                  </a:lnTo>
                  <a:lnTo>
                    <a:pt x="198" y="852"/>
                  </a:lnTo>
                  <a:lnTo>
                    <a:pt x="198" y="846"/>
                  </a:lnTo>
                  <a:lnTo>
                    <a:pt x="204" y="846"/>
                  </a:lnTo>
                  <a:lnTo>
                    <a:pt x="198" y="840"/>
                  </a:lnTo>
                  <a:lnTo>
                    <a:pt x="198" y="834"/>
                  </a:lnTo>
                  <a:lnTo>
                    <a:pt x="198" y="828"/>
                  </a:lnTo>
                  <a:lnTo>
                    <a:pt x="198" y="822"/>
                  </a:lnTo>
                  <a:lnTo>
                    <a:pt x="198" y="816"/>
                  </a:lnTo>
                  <a:lnTo>
                    <a:pt x="198" y="810"/>
                  </a:lnTo>
                  <a:lnTo>
                    <a:pt x="192" y="810"/>
                  </a:lnTo>
                  <a:lnTo>
                    <a:pt x="192" y="804"/>
                  </a:lnTo>
                  <a:lnTo>
                    <a:pt x="192" y="798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2" y="774"/>
                  </a:lnTo>
                  <a:lnTo>
                    <a:pt x="192" y="768"/>
                  </a:lnTo>
                  <a:lnTo>
                    <a:pt x="198" y="768"/>
                  </a:lnTo>
                  <a:lnTo>
                    <a:pt x="198" y="762"/>
                  </a:lnTo>
                  <a:lnTo>
                    <a:pt x="198" y="756"/>
                  </a:lnTo>
                  <a:lnTo>
                    <a:pt x="204" y="756"/>
                  </a:lnTo>
                  <a:lnTo>
                    <a:pt x="204" y="750"/>
                  </a:lnTo>
                  <a:lnTo>
                    <a:pt x="210" y="744"/>
                  </a:lnTo>
                  <a:lnTo>
                    <a:pt x="210" y="738"/>
                  </a:lnTo>
                  <a:lnTo>
                    <a:pt x="210" y="732"/>
                  </a:lnTo>
                  <a:lnTo>
                    <a:pt x="210" y="726"/>
                  </a:lnTo>
                  <a:lnTo>
                    <a:pt x="210" y="720"/>
                  </a:lnTo>
                  <a:lnTo>
                    <a:pt x="204" y="714"/>
                  </a:lnTo>
                  <a:lnTo>
                    <a:pt x="204" y="720"/>
                  </a:lnTo>
                  <a:lnTo>
                    <a:pt x="204" y="732"/>
                  </a:lnTo>
                  <a:lnTo>
                    <a:pt x="204" y="738"/>
                  </a:lnTo>
                  <a:lnTo>
                    <a:pt x="198" y="738"/>
                  </a:lnTo>
                  <a:lnTo>
                    <a:pt x="198" y="744"/>
                  </a:lnTo>
                  <a:lnTo>
                    <a:pt x="198" y="750"/>
                  </a:lnTo>
                  <a:lnTo>
                    <a:pt x="192" y="756"/>
                  </a:lnTo>
                  <a:lnTo>
                    <a:pt x="186" y="762"/>
                  </a:lnTo>
                  <a:lnTo>
                    <a:pt x="186" y="768"/>
                  </a:lnTo>
                  <a:lnTo>
                    <a:pt x="186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98"/>
                  </a:lnTo>
                  <a:lnTo>
                    <a:pt x="186" y="804"/>
                  </a:lnTo>
                  <a:lnTo>
                    <a:pt x="186" y="810"/>
                  </a:lnTo>
                  <a:lnTo>
                    <a:pt x="192" y="816"/>
                  </a:lnTo>
                  <a:lnTo>
                    <a:pt x="192" y="828"/>
                  </a:lnTo>
                  <a:lnTo>
                    <a:pt x="192" y="834"/>
                  </a:lnTo>
                  <a:lnTo>
                    <a:pt x="186" y="834"/>
                  </a:lnTo>
                  <a:lnTo>
                    <a:pt x="186" y="828"/>
                  </a:lnTo>
                  <a:lnTo>
                    <a:pt x="180" y="822"/>
                  </a:lnTo>
                  <a:lnTo>
                    <a:pt x="180" y="816"/>
                  </a:lnTo>
                  <a:lnTo>
                    <a:pt x="180" y="810"/>
                  </a:lnTo>
                  <a:lnTo>
                    <a:pt x="174" y="810"/>
                  </a:lnTo>
                  <a:lnTo>
                    <a:pt x="174" y="804"/>
                  </a:lnTo>
                  <a:lnTo>
                    <a:pt x="174" y="798"/>
                  </a:lnTo>
                  <a:lnTo>
                    <a:pt x="174" y="792"/>
                  </a:lnTo>
                  <a:lnTo>
                    <a:pt x="168" y="786"/>
                  </a:lnTo>
                  <a:lnTo>
                    <a:pt x="168" y="780"/>
                  </a:lnTo>
                  <a:lnTo>
                    <a:pt x="162" y="780"/>
                  </a:lnTo>
                  <a:lnTo>
                    <a:pt x="168" y="774"/>
                  </a:lnTo>
                  <a:lnTo>
                    <a:pt x="168" y="768"/>
                  </a:lnTo>
                  <a:lnTo>
                    <a:pt x="174" y="768"/>
                  </a:lnTo>
                  <a:lnTo>
                    <a:pt x="168" y="768"/>
                  </a:lnTo>
                  <a:lnTo>
                    <a:pt x="162" y="774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50" y="774"/>
                  </a:lnTo>
                  <a:lnTo>
                    <a:pt x="144" y="774"/>
                  </a:lnTo>
                  <a:lnTo>
                    <a:pt x="144" y="768"/>
                  </a:lnTo>
                  <a:lnTo>
                    <a:pt x="144" y="762"/>
                  </a:lnTo>
                  <a:lnTo>
                    <a:pt x="138" y="756"/>
                  </a:lnTo>
                  <a:lnTo>
                    <a:pt x="132" y="756"/>
                  </a:lnTo>
                  <a:lnTo>
                    <a:pt x="138" y="756"/>
                  </a:lnTo>
                  <a:lnTo>
                    <a:pt x="138" y="762"/>
                  </a:lnTo>
                  <a:lnTo>
                    <a:pt x="138" y="768"/>
                  </a:lnTo>
                  <a:lnTo>
                    <a:pt x="144" y="768"/>
                  </a:lnTo>
                  <a:lnTo>
                    <a:pt x="144" y="774"/>
                  </a:lnTo>
                  <a:lnTo>
                    <a:pt x="150" y="780"/>
                  </a:lnTo>
                  <a:lnTo>
                    <a:pt x="156" y="780"/>
                  </a:lnTo>
                  <a:lnTo>
                    <a:pt x="156" y="786"/>
                  </a:lnTo>
                  <a:lnTo>
                    <a:pt x="162" y="786"/>
                  </a:lnTo>
                  <a:lnTo>
                    <a:pt x="168" y="792"/>
                  </a:lnTo>
                  <a:lnTo>
                    <a:pt x="168" y="798"/>
                  </a:lnTo>
                  <a:lnTo>
                    <a:pt x="168" y="804"/>
                  </a:lnTo>
                  <a:lnTo>
                    <a:pt x="174" y="810"/>
                  </a:lnTo>
                  <a:lnTo>
                    <a:pt x="174" y="816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68" y="828"/>
                  </a:lnTo>
                  <a:lnTo>
                    <a:pt x="168" y="834"/>
                  </a:lnTo>
                  <a:lnTo>
                    <a:pt x="174" y="840"/>
                  </a:lnTo>
                  <a:lnTo>
                    <a:pt x="180" y="840"/>
                  </a:lnTo>
                  <a:lnTo>
                    <a:pt x="180" y="846"/>
                  </a:lnTo>
                  <a:lnTo>
                    <a:pt x="186" y="846"/>
                  </a:lnTo>
                  <a:lnTo>
                    <a:pt x="186" y="852"/>
                  </a:lnTo>
                  <a:lnTo>
                    <a:pt x="186" y="858"/>
                  </a:lnTo>
                  <a:lnTo>
                    <a:pt x="186" y="864"/>
                  </a:lnTo>
                  <a:lnTo>
                    <a:pt x="192" y="864"/>
                  </a:lnTo>
                  <a:lnTo>
                    <a:pt x="192" y="870"/>
                  </a:lnTo>
                  <a:lnTo>
                    <a:pt x="192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6" y="888"/>
                  </a:lnTo>
                  <a:lnTo>
                    <a:pt x="180" y="888"/>
                  </a:lnTo>
                  <a:lnTo>
                    <a:pt x="174" y="888"/>
                  </a:lnTo>
                  <a:lnTo>
                    <a:pt x="168" y="894"/>
                  </a:lnTo>
                  <a:lnTo>
                    <a:pt x="162" y="894"/>
                  </a:lnTo>
                  <a:lnTo>
                    <a:pt x="156" y="894"/>
                  </a:lnTo>
                  <a:lnTo>
                    <a:pt x="150" y="894"/>
                  </a:lnTo>
                  <a:lnTo>
                    <a:pt x="144" y="894"/>
                  </a:lnTo>
                  <a:lnTo>
                    <a:pt x="144" y="900"/>
                  </a:lnTo>
                  <a:lnTo>
                    <a:pt x="138" y="894"/>
                  </a:lnTo>
                  <a:lnTo>
                    <a:pt x="138" y="900"/>
                  </a:lnTo>
                  <a:lnTo>
                    <a:pt x="132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6" y="882"/>
                  </a:lnTo>
                  <a:lnTo>
                    <a:pt x="126" y="876"/>
                  </a:lnTo>
                  <a:lnTo>
                    <a:pt x="120" y="876"/>
                  </a:lnTo>
                  <a:lnTo>
                    <a:pt x="126" y="870"/>
                  </a:lnTo>
                  <a:lnTo>
                    <a:pt x="126" y="864"/>
                  </a:lnTo>
                  <a:lnTo>
                    <a:pt x="126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26" y="828"/>
                  </a:lnTo>
                  <a:lnTo>
                    <a:pt x="126" y="822"/>
                  </a:lnTo>
                  <a:lnTo>
                    <a:pt x="126" y="816"/>
                  </a:lnTo>
                  <a:lnTo>
                    <a:pt x="126" y="810"/>
                  </a:lnTo>
                  <a:lnTo>
                    <a:pt x="126" y="804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20" y="792"/>
                  </a:lnTo>
                  <a:lnTo>
                    <a:pt x="114" y="792"/>
                  </a:lnTo>
                  <a:lnTo>
                    <a:pt x="114" y="786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96" y="780"/>
                  </a:lnTo>
                  <a:lnTo>
                    <a:pt x="96" y="774"/>
                  </a:lnTo>
                  <a:lnTo>
                    <a:pt x="90" y="774"/>
                  </a:lnTo>
                  <a:lnTo>
                    <a:pt x="90" y="768"/>
                  </a:lnTo>
                  <a:close/>
                  <a:moveTo>
                    <a:pt x="96" y="780"/>
                  </a:moveTo>
                  <a:lnTo>
                    <a:pt x="102" y="780"/>
                  </a:lnTo>
                  <a:lnTo>
                    <a:pt x="102" y="786"/>
                  </a:lnTo>
                  <a:lnTo>
                    <a:pt x="108" y="786"/>
                  </a:lnTo>
                  <a:lnTo>
                    <a:pt x="114" y="792"/>
                  </a:lnTo>
                  <a:lnTo>
                    <a:pt x="120" y="798"/>
                  </a:lnTo>
                  <a:lnTo>
                    <a:pt x="120" y="804"/>
                  </a:lnTo>
                  <a:lnTo>
                    <a:pt x="126" y="810"/>
                  </a:lnTo>
                  <a:lnTo>
                    <a:pt x="126" y="816"/>
                  </a:lnTo>
                  <a:lnTo>
                    <a:pt x="126" y="822"/>
                  </a:lnTo>
                  <a:lnTo>
                    <a:pt x="120" y="828"/>
                  </a:lnTo>
                  <a:lnTo>
                    <a:pt x="120" y="840"/>
                  </a:lnTo>
                  <a:lnTo>
                    <a:pt x="120" y="852"/>
                  </a:lnTo>
                  <a:lnTo>
                    <a:pt x="120" y="858"/>
                  </a:lnTo>
                  <a:lnTo>
                    <a:pt x="120" y="864"/>
                  </a:lnTo>
                  <a:lnTo>
                    <a:pt x="120" y="870"/>
                  </a:lnTo>
                  <a:lnTo>
                    <a:pt x="114" y="870"/>
                  </a:lnTo>
                  <a:lnTo>
                    <a:pt x="108" y="870"/>
                  </a:lnTo>
                  <a:lnTo>
                    <a:pt x="108" y="876"/>
                  </a:lnTo>
                  <a:lnTo>
                    <a:pt x="114" y="876"/>
                  </a:lnTo>
                  <a:lnTo>
                    <a:pt x="120" y="876"/>
                  </a:lnTo>
                  <a:lnTo>
                    <a:pt x="120" y="882"/>
                  </a:lnTo>
                  <a:lnTo>
                    <a:pt x="114" y="888"/>
                  </a:lnTo>
                  <a:lnTo>
                    <a:pt x="120" y="888"/>
                  </a:lnTo>
                  <a:lnTo>
                    <a:pt x="120" y="894"/>
                  </a:lnTo>
                  <a:lnTo>
                    <a:pt x="114" y="894"/>
                  </a:lnTo>
                  <a:lnTo>
                    <a:pt x="108" y="894"/>
                  </a:lnTo>
                  <a:lnTo>
                    <a:pt x="96" y="894"/>
                  </a:lnTo>
                  <a:lnTo>
                    <a:pt x="96" y="882"/>
                  </a:lnTo>
                  <a:lnTo>
                    <a:pt x="96" y="876"/>
                  </a:lnTo>
                  <a:lnTo>
                    <a:pt x="84" y="870"/>
                  </a:lnTo>
                  <a:lnTo>
                    <a:pt x="72" y="864"/>
                  </a:lnTo>
                  <a:lnTo>
                    <a:pt x="72" y="852"/>
                  </a:lnTo>
                  <a:lnTo>
                    <a:pt x="72" y="840"/>
                  </a:lnTo>
                  <a:lnTo>
                    <a:pt x="78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90" y="792"/>
                  </a:lnTo>
                  <a:lnTo>
                    <a:pt x="96" y="780"/>
                  </a:lnTo>
                  <a:close/>
                  <a:moveTo>
                    <a:pt x="492" y="810"/>
                  </a:moveTo>
                  <a:lnTo>
                    <a:pt x="498" y="810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510" y="792"/>
                  </a:lnTo>
                  <a:lnTo>
                    <a:pt x="516" y="786"/>
                  </a:lnTo>
                  <a:lnTo>
                    <a:pt x="522" y="780"/>
                  </a:lnTo>
                  <a:lnTo>
                    <a:pt x="522" y="774"/>
                  </a:lnTo>
                  <a:lnTo>
                    <a:pt x="528" y="768"/>
                  </a:lnTo>
                  <a:lnTo>
                    <a:pt x="528" y="762"/>
                  </a:lnTo>
                  <a:lnTo>
                    <a:pt x="534" y="762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46" y="780"/>
                  </a:lnTo>
                  <a:lnTo>
                    <a:pt x="552" y="786"/>
                  </a:lnTo>
                  <a:lnTo>
                    <a:pt x="558" y="786"/>
                  </a:lnTo>
                  <a:lnTo>
                    <a:pt x="564" y="786"/>
                  </a:lnTo>
                  <a:lnTo>
                    <a:pt x="576" y="786"/>
                  </a:lnTo>
                  <a:lnTo>
                    <a:pt x="582" y="786"/>
                  </a:lnTo>
                  <a:lnTo>
                    <a:pt x="588" y="786"/>
                  </a:lnTo>
                  <a:lnTo>
                    <a:pt x="594" y="786"/>
                  </a:lnTo>
                  <a:lnTo>
                    <a:pt x="588" y="792"/>
                  </a:lnTo>
                  <a:lnTo>
                    <a:pt x="588" y="798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82" y="822"/>
                  </a:lnTo>
                  <a:lnTo>
                    <a:pt x="588" y="828"/>
                  </a:lnTo>
                  <a:lnTo>
                    <a:pt x="588" y="834"/>
                  </a:lnTo>
                  <a:lnTo>
                    <a:pt x="582" y="840"/>
                  </a:lnTo>
                  <a:lnTo>
                    <a:pt x="570" y="840"/>
                  </a:lnTo>
                  <a:lnTo>
                    <a:pt x="558" y="846"/>
                  </a:lnTo>
                  <a:lnTo>
                    <a:pt x="552" y="846"/>
                  </a:lnTo>
                  <a:lnTo>
                    <a:pt x="534" y="852"/>
                  </a:lnTo>
                  <a:lnTo>
                    <a:pt x="522" y="858"/>
                  </a:lnTo>
                  <a:lnTo>
                    <a:pt x="510" y="858"/>
                  </a:lnTo>
                  <a:lnTo>
                    <a:pt x="498" y="864"/>
                  </a:lnTo>
                  <a:lnTo>
                    <a:pt x="474" y="864"/>
                  </a:lnTo>
                  <a:lnTo>
                    <a:pt x="468" y="858"/>
                  </a:lnTo>
                  <a:lnTo>
                    <a:pt x="468" y="852"/>
                  </a:lnTo>
                  <a:lnTo>
                    <a:pt x="468" y="846"/>
                  </a:lnTo>
                  <a:lnTo>
                    <a:pt x="474" y="840"/>
                  </a:lnTo>
                  <a:lnTo>
                    <a:pt x="474" y="834"/>
                  </a:lnTo>
                  <a:lnTo>
                    <a:pt x="480" y="828"/>
                  </a:lnTo>
                  <a:lnTo>
                    <a:pt x="492" y="822"/>
                  </a:lnTo>
                  <a:lnTo>
                    <a:pt x="492" y="810"/>
                  </a:lnTo>
                  <a:close/>
                  <a:moveTo>
                    <a:pt x="384" y="720"/>
                  </a:moveTo>
                  <a:lnTo>
                    <a:pt x="384" y="726"/>
                  </a:lnTo>
                  <a:lnTo>
                    <a:pt x="390" y="726"/>
                  </a:lnTo>
                  <a:lnTo>
                    <a:pt x="396" y="726"/>
                  </a:lnTo>
                  <a:lnTo>
                    <a:pt x="402" y="732"/>
                  </a:lnTo>
                  <a:lnTo>
                    <a:pt x="408" y="732"/>
                  </a:lnTo>
                  <a:lnTo>
                    <a:pt x="414" y="732"/>
                  </a:lnTo>
                  <a:lnTo>
                    <a:pt x="414" y="738"/>
                  </a:lnTo>
                  <a:lnTo>
                    <a:pt x="414" y="744"/>
                  </a:lnTo>
                  <a:lnTo>
                    <a:pt x="414" y="750"/>
                  </a:lnTo>
                  <a:lnTo>
                    <a:pt x="414" y="756"/>
                  </a:lnTo>
                  <a:lnTo>
                    <a:pt x="414" y="762"/>
                  </a:lnTo>
                  <a:lnTo>
                    <a:pt x="420" y="768"/>
                  </a:lnTo>
                  <a:lnTo>
                    <a:pt x="420" y="774"/>
                  </a:lnTo>
                  <a:lnTo>
                    <a:pt x="426" y="780"/>
                  </a:lnTo>
                  <a:lnTo>
                    <a:pt x="426" y="786"/>
                  </a:lnTo>
                  <a:lnTo>
                    <a:pt x="420" y="786"/>
                  </a:lnTo>
                  <a:lnTo>
                    <a:pt x="420" y="792"/>
                  </a:lnTo>
                  <a:lnTo>
                    <a:pt x="420" y="798"/>
                  </a:lnTo>
                  <a:lnTo>
                    <a:pt x="420" y="804"/>
                  </a:lnTo>
                  <a:lnTo>
                    <a:pt x="426" y="804"/>
                  </a:lnTo>
                  <a:lnTo>
                    <a:pt x="426" y="810"/>
                  </a:lnTo>
                  <a:lnTo>
                    <a:pt x="426" y="816"/>
                  </a:lnTo>
                  <a:lnTo>
                    <a:pt x="432" y="816"/>
                  </a:lnTo>
                  <a:lnTo>
                    <a:pt x="438" y="816"/>
                  </a:lnTo>
                  <a:lnTo>
                    <a:pt x="438" y="822"/>
                  </a:lnTo>
                  <a:lnTo>
                    <a:pt x="432" y="822"/>
                  </a:lnTo>
                  <a:lnTo>
                    <a:pt x="426" y="828"/>
                  </a:lnTo>
                  <a:lnTo>
                    <a:pt x="420" y="828"/>
                  </a:lnTo>
                  <a:lnTo>
                    <a:pt x="414" y="828"/>
                  </a:lnTo>
                  <a:lnTo>
                    <a:pt x="408" y="828"/>
                  </a:lnTo>
                  <a:lnTo>
                    <a:pt x="402" y="828"/>
                  </a:lnTo>
                  <a:lnTo>
                    <a:pt x="402" y="822"/>
                  </a:lnTo>
                  <a:lnTo>
                    <a:pt x="396" y="822"/>
                  </a:lnTo>
                  <a:lnTo>
                    <a:pt x="402" y="822"/>
                  </a:lnTo>
                  <a:lnTo>
                    <a:pt x="402" y="816"/>
                  </a:lnTo>
                  <a:lnTo>
                    <a:pt x="396" y="816"/>
                  </a:lnTo>
                  <a:lnTo>
                    <a:pt x="396" y="810"/>
                  </a:lnTo>
                  <a:lnTo>
                    <a:pt x="396" y="804"/>
                  </a:lnTo>
                  <a:lnTo>
                    <a:pt x="390" y="798"/>
                  </a:lnTo>
                  <a:lnTo>
                    <a:pt x="390" y="792"/>
                  </a:lnTo>
                  <a:lnTo>
                    <a:pt x="390" y="786"/>
                  </a:lnTo>
                  <a:lnTo>
                    <a:pt x="390" y="780"/>
                  </a:lnTo>
                  <a:lnTo>
                    <a:pt x="390" y="774"/>
                  </a:lnTo>
                  <a:lnTo>
                    <a:pt x="390" y="768"/>
                  </a:lnTo>
                  <a:lnTo>
                    <a:pt x="390" y="762"/>
                  </a:lnTo>
                  <a:lnTo>
                    <a:pt x="384" y="756"/>
                  </a:lnTo>
                  <a:lnTo>
                    <a:pt x="384" y="750"/>
                  </a:lnTo>
                  <a:lnTo>
                    <a:pt x="384" y="744"/>
                  </a:lnTo>
                  <a:lnTo>
                    <a:pt x="378" y="744"/>
                  </a:lnTo>
                  <a:lnTo>
                    <a:pt x="384" y="744"/>
                  </a:lnTo>
                  <a:lnTo>
                    <a:pt x="384" y="738"/>
                  </a:lnTo>
                  <a:lnTo>
                    <a:pt x="378" y="738"/>
                  </a:lnTo>
                  <a:lnTo>
                    <a:pt x="378" y="732"/>
                  </a:lnTo>
                  <a:lnTo>
                    <a:pt x="378" y="726"/>
                  </a:lnTo>
                  <a:lnTo>
                    <a:pt x="378" y="720"/>
                  </a:lnTo>
                  <a:lnTo>
                    <a:pt x="384" y="720"/>
                  </a:lnTo>
                  <a:close/>
                  <a:moveTo>
                    <a:pt x="330" y="738"/>
                  </a:moveTo>
                  <a:lnTo>
                    <a:pt x="336" y="732"/>
                  </a:lnTo>
                  <a:lnTo>
                    <a:pt x="336" y="726"/>
                  </a:lnTo>
                  <a:lnTo>
                    <a:pt x="342" y="720"/>
                  </a:lnTo>
                  <a:lnTo>
                    <a:pt x="348" y="720"/>
                  </a:lnTo>
                  <a:lnTo>
                    <a:pt x="360" y="720"/>
                  </a:lnTo>
                  <a:lnTo>
                    <a:pt x="366" y="726"/>
                  </a:lnTo>
                  <a:lnTo>
                    <a:pt x="372" y="732"/>
                  </a:lnTo>
                  <a:lnTo>
                    <a:pt x="372" y="738"/>
                  </a:lnTo>
                  <a:lnTo>
                    <a:pt x="366" y="750"/>
                  </a:lnTo>
                  <a:lnTo>
                    <a:pt x="372" y="756"/>
                  </a:lnTo>
                  <a:lnTo>
                    <a:pt x="372" y="762"/>
                  </a:lnTo>
                  <a:lnTo>
                    <a:pt x="372" y="768"/>
                  </a:lnTo>
                  <a:lnTo>
                    <a:pt x="372" y="774"/>
                  </a:lnTo>
                  <a:lnTo>
                    <a:pt x="372" y="780"/>
                  </a:lnTo>
                  <a:lnTo>
                    <a:pt x="372" y="774"/>
                  </a:lnTo>
                  <a:lnTo>
                    <a:pt x="366" y="768"/>
                  </a:lnTo>
                  <a:lnTo>
                    <a:pt x="366" y="762"/>
                  </a:lnTo>
                  <a:lnTo>
                    <a:pt x="366" y="756"/>
                  </a:lnTo>
                  <a:lnTo>
                    <a:pt x="360" y="756"/>
                  </a:lnTo>
                  <a:lnTo>
                    <a:pt x="360" y="750"/>
                  </a:lnTo>
                  <a:lnTo>
                    <a:pt x="354" y="750"/>
                  </a:lnTo>
                  <a:lnTo>
                    <a:pt x="348" y="744"/>
                  </a:lnTo>
                  <a:lnTo>
                    <a:pt x="342" y="744"/>
                  </a:lnTo>
                  <a:lnTo>
                    <a:pt x="336" y="744"/>
                  </a:lnTo>
                  <a:lnTo>
                    <a:pt x="330" y="73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1" name="Freeform 6">
              <a:extLst>
                <a:ext uri="{FF2B5EF4-FFF2-40B4-BE49-F238E27FC236}">
                  <a16:creationId xmlns:a16="http://schemas.microsoft.com/office/drawing/2014/main" id="{0656C385-F30A-4AC8-AE9F-B1F66208B38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3123" y="4163918"/>
              <a:ext cx="266107" cy="248252"/>
            </a:xfrm>
            <a:custGeom>
              <a:avLst/>
              <a:gdLst>
                <a:gd name="T0" fmla="*/ 33 w 504"/>
                <a:gd name="T1" fmla="*/ 41 h 468"/>
                <a:gd name="T2" fmla="*/ 26 w 504"/>
                <a:gd name="T3" fmla="*/ 39 h 468"/>
                <a:gd name="T4" fmla="*/ 21 w 504"/>
                <a:gd name="T5" fmla="*/ 38 h 468"/>
                <a:gd name="T6" fmla="*/ 18 w 504"/>
                <a:gd name="T7" fmla="*/ 38 h 468"/>
                <a:gd name="T8" fmla="*/ 15 w 504"/>
                <a:gd name="T9" fmla="*/ 39 h 468"/>
                <a:gd name="T10" fmla="*/ 12 w 504"/>
                <a:gd name="T11" fmla="*/ 38 h 468"/>
                <a:gd name="T12" fmla="*/ 9 w 504"/>
                <a:gd name="T13" fmla="*/ 37 h 468"/>
                <a:gd name="T14" fmla="*/ 7 w 504"/>
                <a:gd name="T15" fmla="*/ 32 h 468"/>
                <a:gd name="T16" fmla="*/ 6 w 504"/>
                <a:gd name="T17" fmla="*/ 26 h 468"/>
                <a:gd name="T18" fmla="*/ 3 w 504"/>
                <a:gd name="T19" fmla="*/ 24 h 468"/>
                <a:gd name="T20" fmla="*/ 1 w 504"/>
                <a:gd name="T21" fmla="*/ 24 h 468"/>
                <a:gd name="T22" fmla="*/ 2 w 504"/>
                <a:gd name="T23" fmla="*/ 18 h 468"/>
                <a:gd name="T24" fmla="*/ 1 w 504"/>
                <a:gd name="T25" fmla="*/ 17 h 468"/>
                <a:gd name="T26" fmla="*/ 0 w 504"/>
                <a:gd name="T27" fmla="*/ 17 h 468"/>
                <a:gd name="T28" fmla="*/ 0 w 504"/>
                <a:gd name="T29" fmla="*/ 15 h 468"/>
                <a:gd name="T30" fmla="*/ 2 w 504"/>
                <a:gd name="T31" fmla="*/ 12 h 468"/>
                <a:gd name="T32" fmla="*/ 4 w 504"/>
                <a:gd name="T33" fmla="*/ 10 h 468"/>
                <a:gd name="T34" fmla="*/ 6 w 504"/>
                <a:gd name="T35" fmla="*/ 8 h 468"/>
                <a:gd name="T36" fmla="*/ 8 w 504"/>
                <a:gd name="T37" fmla="*/ 8 h 468"/>
                <a:gd name="T38" fmla="*/ 10 w 504"/>
                <a:gd name="T39" fmla="*/ 9 h 468"/>
                <a:gd name="T40" fmla="*/ 12 w 504"/>
                <a:gd name="T41" fmla="*/ 10 h 468"/>
                <a:gd name="T42" fmla="*/ 12 w 504"/>
                <a:gd name="T43" fmla="*/ 11 h 468"/>
                <a:gd name="T44" fmla="*/ 14 w 504"/>
                <a:gd name="T45" fmla="*/ 8 h 468"/>
                <a:gd name="T46" fmla="*/ 15 w 504"/>
                <a:gd name="T47" fmla="*/ 7 h 468"/>
                <a:gd name="T48" fmla="*/ 17 w 504"/>
                <a:gd name="T49" fmla="*/ 6 h 468"/>
                <a:gd name="T50" fmla="*/ 19 w 504"/>
                <a:gd name="T51" fmla="*/ 3 h 468"/>
                <a:gd name="T52" fmla="*/ 20 w 504"/>
                <a:gd name="T53" fmla="*/ 2 h 468"/>
                <a:gd name="T54" fmla="*/ 22 w 504"/>
                <a:gd name="T55" fmla="*/ 1 h 468"/>
                <a:gd name="T56" fmla="*/ 27 w 504"/>
                <a:gd name="T57" fmla="*/ 1 h 468"/>
                <a:gd name="T58" fmla="*/ 30 w 504"/>
                <a:gd name="T59" fmla="*/ 2 h 468"/>
                <a:gd name="T60" fmla="*/ 31 w 504"/>
                <a:gd name="T61" fmla="*/ 2 h 468"/>
                <a:gd name="T62" fmla="*/ 34 w 504"/>
                <a:gd name="T63" fmla="*/ 0 h 468"/>
                <a:gd name="T64" fmla="*/ 37 w 504"/>
                <a:gd name="T65" fmla="*/ 1 h 468"/>
                <a:gd name="T66" fmla="*/ 41 w 504"/>
                <a:gd name="T67" fmla="*/ 2 h 468"/>
                <a:gd name="T68" fmla="*/ 42 w 504"/>
                <a:gd name="T69" fmla="*/ 4 h 468"/>
                <a:gd name="T70" fmla="*/ 42 w 504"/>
                <a:gd name="T71" fmla="*/ 10 h 468"/>
                <a:gd name="T72" fmla="*/ 41 w 504"/>
                <a:gd name="T73" fmla="*/ 14 h 468"/>
                <a:gd name="T74" fmla="*/ 42 w 504"/>
                <a:gd name="T75" fmla="*/ 15 h 468"/>
                <a:gd name="T76" fmla="*/ 44 w 504"/>
                <a:gd name="T77" fmla="*/ 18 h 468"/>
                <a:gd name="T78" fmla="*/ 43 w 504"/>
                <a:gd name="T79" fmla="*/ 19 h 468"/>
                <a:gd name="T80" fmla="*/ 42 w 504"/>
                <a:gd name="T81" fmla="*/ 21 h 468"/>
                <a:gd name="T82" fmla="*/ 42 w 504"/>
                <a:gd name="T83" fmla="*/ 23 h 468"/>
                <a:gd name="T84" fmla="*/ 39 w 504"/>
                <a:gd name="T85" fmla="*/ 27 h 468"/>
                <a:gd name="T86" fmla="*/ 38 w 504"/>
                <a:gd name="T87" fmla="*/ 29 h 468"/>
                <a:gd name="T88" fmla="*/ 38 w 504"/>
                <a:gd name="T89" fmla="*/ 31 h 468"/>
                <a:gd name="T90" fmla="*/ 36 w 504"/>
                <a:gd name="T91" fmla="*/ 32 h 468"/>
                <a:gd name="T92" fmla="*/ 35 w 504"/>
                <a:gd name="T93" fmla="*/ 34 h 468"/>
                <a:gd name="T94" fmla="*/ 34 w 504"/>
                <a:gd name="T95" fmla="*/ 38 h 46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04"/>
                <a:gd name="T145" fmla="*/ 0 h 468"/>
                <a:gd name="T146" fmla="*/ 504 w 504"/>
                <a:gd name="T147" fmla="*/ 468 h 46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04" h="468">
                  <a:moveTo>
                    <a:pt x="390" y="456"/>
                  </a:moveTo>
                  <a:lnTo>
                    <a:pt x="384" y="468"/>
                  </a:lnTo>
                  <a:lnTo>
                    <a:pt x="378" y="468"/>
                  </a:lnTo>
                  <a:lnTo>
                    <a:pt x="354" y="468"/>
                  </a:lnTo>
                  <a:lnTo>
                    <a:pt x="348" y="462"/>
                  </a:lnTo>
                  <a:lnTo>
                    <a:pt x="300" y="456"/>
                  </a:lnTo>
                  <a:lnTo>
                    <a:pt x="270" y="444"/>
                  </a:lnTo>
                  <a:lnTo>
                    <a:pt x="252" y="438"/>
                  </a:lnTo>
                  <a:lnTo>
                    <a:pt x="240" y="438"/>
                  </a:lnTo>
                  <a:lnTo>
                    <a:pt x="234" y="438"/>
                  </a:lnTo>
                  <a:lnTo>
                    <a:pt x="228" y="444"/>
                  </a:lnTo>
                  <a:lnTo>
                    <a:pt x="210" y="444"/>
                  </a:lnTo>
                  <a:lnTo>
                    <a:pt x="198" y="444"/>
                  </a:lnTo>
                  <a:lnTo>
                    <a:pt x="198" y="450"/>
                  </a:lnTo>
                  <a:lnTo>
                    <a:pt x="168" y="456"/>
                  </a:lnTo>
                  <a:lnTo>
                    <a:pt x="150" y="450"/>
                  </a:lnTo>
                  <a:lnTo>
                    <a:pt x="144" y="444"/>
                  </a:lnTo>
                  <a:lnTo>
                    <a:pt x="132" y="438"/>
                  </a:lnTo>
                  <a:lnTo>
                    <a:pt x="138" y="432"/>
                  </a:lnTo>
                  <a:lnTo>
                    <a:pt x="114" y="432"/>
                  </a:lnTo>
                  <a:lnTo>
                    <a:pt x="102" y="426"/>
                  </a:lnTo>
                  <a:lnTo>
                    <a:pt x="90" y="414"/>
                  </a:lnTo>
                  <a:lnTo>
                    <a:pt x="72" y="402"/>
                  </a:lnTo>
                  <a:lnTo>
                    <a:pt x="78" y="366"/>
                  </a:lnTo>
                  <a:lnTo>
                    <a:pt x="78" y="330"/>
                  </a:lnTo>
                  <a:lnTo>
                    <a:pt x="66" y="318"/>
                  </a:lnTo>
                  <a:lnTo>
                    <a:pt x="66" y="300"/>
                  </a:lnTo>
                  <a:lnTo>
                    <a:pt x="66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30" y="282"/>
                  </a:lnTo>
                  <a:lnTo>
                    <a:pt x="24" y="282"/>
                  </a:lnTo>
                  <a:lnTo>
                    <a:pt x="12" y="276"/>
                  </a:lnTo>
                  <a:lnTo>
                    <a:pt x="0" y="282"/>
                  </a:lnTo>
                  <a:lnTo>
                    <a:pt x="12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2" y="198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6" y="180"/>
                  </a:lnTo>
                  <a:lnTo>
                    <a:pt x="12" y="186"/>
                  </a:lnTo>
                  <a:lnTo>
                    <a:pt x="18" y="138"/>
                  </a:lnTo>
                  <a:lnTo>
                    <a:pt x="24" y="126"/>
                  </a:lnTo>
                  <a:lnTo>
                    <a:pt x="30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20" y="102"/>
                  </a:lnTo>
                  <a:lnTo>
                    <a:pt x="126" y="108"/>
                  </a:lnTo>
                  <a:lnTo>
                    <a:pt x="126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0"/>
                  </a:lnTo>
                  <a:lnTo>
                    <a:pt x="156" y="96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16" y="42"/>
                  </a:lnTo>
                  <a:lnTo>
                    <a:pt x="222" y="36"/>
                  </a:lnTo>
                  <a:lnTo>
                    <a:pt x="228" y="36"/>
                  </a:lnTo>
                  <a:lnTo>
                    <a:pt x="228" y="30"/>
                  </a:lnTo>
                  <a:lnTo>
                    <a:pt x="228" y="24"/>
                  </a:lnTo>
                  <a:lnTo>
                    <a:pt x="246" y="18"/>
                  </a:lnTo>
                  <a:lnTo>
                    <a:pt x="252" y="18"/>
                  </a:lnTo>
                  <a:lnTo>
                    <a:pt x="258" y="12"/>
                  </a:lnTo>
                  <a:lnTo>
                    <a:pt x="270" y="6"/>
                  </a:lnTo>
                  <a:lnTo>
                    <a:pt x="288" y="6"/>
                  </a:lnTo>
                  <a:lnTo>
                    <a:pt x="312" y="12"/>
                  </a:lnTo>
                  <a:lnTo>
                    <a:pt x="324" y="12"/>
                  </a:lnTo>
                  <a:lnTo>
                    <a:pt x="336" y="18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14" y="12"/>
                  </a:lnTo>
                  <a:lnTo>
                    <a:pt x="426" y="12"/>
                  </a:lnTo>
                  <a:lnTo>
                    <a:pt x="444" y="18"/>
                  </a:lnTo>
                  <a:lnTo>
                    <a:pt x="462" y="18"/>
                  </a:lnTo>
                  <a:lnTo>
                    <a:pt x="474" y="18"/>
                  </a:lnTo>
                  <a:lnTo>
                    <a:pt x="480" y="18"/>
                  </a:lnTo>
                  <a:lnTo>
                    <a:pt x="486" y="36"/>
                  </a:lnTo>
                  <a:lnTo>
                    <a:pt x="480" y="42"/>
                  </a:lnTo>
                  <a:lnTo>
                    <a:pt x="480" y="54"/>
                  </a:lnTo>
                  <a:lnTo>
                    <a:pt x="486" y="78"/>
                  </a:lnTo>
                  <a:lnTo>
                    <a:pt x="486" y="114"/>
                  </a:lnTo>
                  <a:lnTo>
                    <a:pt x="486" y="150"/>
                  </a:lnTo>
                  <a:lnTo>
                    <a:pt x="468" y="150"/>
                  </a:lnTo>
                  <a:lnTo>
                    <a:pt x="474" y="162"/>
                  </a:lnTo>
                  <a:lnTo>
                    <a:pt x="480" y="162"/>
                  </a:lnTo>
                  <a:lnTo>
                    <a:pt x="486" y="174"/>
                  </a:lnTo>
                  <a:lnTo>
                    <a:pt x="492" y="174"/>
                  </a:lnTo>
                  <a:lnTo>
                    <a:pt x="492" y="192"/>
                  </a:lnTo>
                  <a:lnTo>
                    <a:pt x="498" y="198"/>
                  </a:lnTo>
                  <a:lnTo>
                    <a:pt x="504" y="204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8" y="222"/>
                  </a:lnTo>
                  <a:lnTo>
                    <a:pt x="492" y="228"/>
                  </a:lnTo>
                  <a:lnTo>
                    <a:pt x="492" y="234"/>
                  </a:lnTo>
                  <a:lnTo>
                    <a:pt x="492" y="240"/>
                  </a:lnTo>
                  <a:lnTo>
                    <a:pt x="486" y="246"/>
                  </a:lnTo>
                  <a:lnTo>
                    <a:pt x="486" y="258"/>
                  </a:lnTo>
                  <a:lnTo>
                    <a:pt x="480" y="264"/>
                  </a:lnTo>
                  <a:lnTo>
                    <a:pt x="474" y="276"/>
                  </a:lnTo>
                  <a:lnTo>
                    <a:pt x="468" y="288"/>
                  </a:lnTo>
                  <a:lnTo>
                    <a:pt x="456" y="306"/>
                  </a:lnTo>
                  <a:lnTo>
                    <a:pt x="456" y="312"/>
                  </a:lnTo>
                  <a:lnTo>
                    <a:pt x="444" y="318"/>
                  </a:lnTo>
                  <a:lnTo>
                    <a:pt x="432" y="336"/>
                  </a:lnTo>
                  <a:lnTo>
                    <a:pt x="432" y="342"/>
                  </a:lnTo>
                  <a:lnTo>
                    <a:pt x="432" y="348"/>
                  </a:lnTo>
                  <a:lnTo>
                    <a:pt x="432" y="354"/>
                  </a:lnTo>
                  <a:lnTo>
                    <a:pt x="426" y="366"/>
                  </a:lnTo>
                  <a:lnTo>
                    <a:pt x="420" y="366"/>
                  </a:lnTo>
                  <a:lnTo>
                    <a:pt x="420" y="372"/>
                  </a:lnTo>
                  <a:lnTo>
                    <a:pt x="414" y="378"/>
                  </a:lnTo>
                  <a:lnTo>
                    <a:pt x="414" y="390"/>
                  </a:lnTo>
                  <a:lnTo>
                    <a:pt x="408" y="390"/>
                  </a:lnTo>
                  <a:lnTo>
                    <a:pt x="408" y="402"/>
                  </a:lnTo>
                  <a:lnTo>
                    <a:pt x="402" y="414"/>
                  </a:lnTo>
                  <a:lnTo>
                    <a:pt x="396" y="438"/>
                  </a:lnTo>
                  <a:lnTo>
                    <a:pt x="396" y="444"/>
                  </a:lnTo>
                  <a:lnTo>
                    <a:pt x="390" y="45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1" name="Freeform 7">
              <a:extLst>
                <a:ext uri="{FF2B5EF4-FFF2-40B4-BE49-F238E27FC236}">
                  <a16:creationId xmlns:a16="http://schemas.microsoft.com/office/drawing/2014/main" id="{0D8DE62D-4554-4314-9F3A-7208D89B4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90838" y="4128134"/>
              <a:ext cx="283995" cy="411516"/>
            </a:xfrm>
            <a:custGeom>
              <a:avLst/>
              <a:gdLst>
                <a:gd name="T0" fmla="*/ 39 w 534"/>
                <a:gd name="T1" fmla="*/ 35 h 774"/>
                <a:gd name="T2" fmla="*/ 35 w 534"/>
                <a:gd name="T3" fmla="*/ 31 h 774"/>
                <a:gd name="T4" fmla="*/ 32 w 534"/>
                <a:gd name="T5" fmla="*/ 29 h 774"/>
                <a:gd name="T6" fmla="*/ 32 w 534"/>
                <a:gd name="T7" fmla="*/ 31 h 774"/>
                <a:gd name="T8" fmla="*/ 29 w 534"/>
                <a:gd name="T9" fmla="*/ 33 h 774"/>
                <a:gd name="T10" fmla="*/ 27 w 534"/>
                <a:gd name="T11" fmla="*/ 36 h 774"/>
                <a:gd name="T12" fmla="*/ 30 w 534"/>
                <a:gd name="T13" fmla="*/ 38 h 774"/>
                <a:gd name="T14" fmla="*/ 29 w 534"/>
                <a:gd name="T15" fmla="*/ 40 h 774"/>
                <a:gd name="T16" fmla="*/ 25 w 534"/>
                <a:gd name="T17" fmla="*/ 40 h 774"/>
                <a:gd name="T18" fmla="*/ 23 w 534"/>
                <a:gd name="T19" fmla="*/ 42 h 774"/>
                <a:gd name="T20" fmla="*/ 22 w 534"/>
                <a:gd name="T21" fmla="*/ 47 h 774"/>
                <a:gd name="T22" fmla="*/ 22 w 534"/>
                <a:gd name="T23" fmla="*/ 51 h 774"/>
                <a:gd name="T24" fmla="*/ 22 w 534"/>
                <a:gd name="T25" fmla="*/ 54 h 774"/>
                <a:gd name="T26" fmla="*/ 21 w 534"/>
                <a:gd name="T27" fmla="*/ 56 h 774"/>
                <a:gd name="T28" fmla="*/ 19 w 534"/>
                <a:gd name="T29" fmla="*/ 58 h 774"/>
                <a:gd name="T30" fmla="*/ 20 w 534"/>
                <a:gd name="T31" fmla="*/ 59 h 774"/>
                <a:gd name="T32" fmla="*/ 19 w 534"/>
                <a:gd name="T33" fmla="*/ 62 h 774"/>
                <a:gd name="T34" fmla="*/ 19 w 534"/>
                <a:gd name="T35" fmla="*/ 64 h 774"/>
                <a:gd name="T36" fmla="*/ 20 w 534"/>
                <a:gd name="T37" fmla="*/ 66 h 774"/>
                <a:gd name="T38" fmla="*/ 17 w 534"/>
                <a:gd name="T39" fmla="*/ 66 h 774"/>
                <a:gd name="T40" fmla="*/ 16 w 534"/>
                <a:gd name="T41" fmla="*/ 65 h 774"/>
                <a:gd name="T42" fmla="*/ 13 w 534"/>
                <a:gd name="T43" fmla="*/ 65 h 774"/>
                <a:gd name="T44" fmla="*/ 11 w 534"/>
                <a:gd name="T45" fmla="*/ 65 h 774"/>
                <a:gd name="T46" fmla="*/ 8 w 534"/>
                <a:gd name="T47" fmla="*/ 65 h 774"/>
                <a:gd name="T48" fmla="*/ 8 w 534"/>
                <a:gd name="T49" fmla="*/ 64 h 774"/>
                <a:gd name="T50" fmla="*/ 5 w 534"/>
                <a:gd name="T51" fmla="*/ 65 h 774"/>
                <a:gd name="T52" fmla="*/ 3 w 534"/>
                <a:gd name="T53" fmla="*/ 65 h 774"/>
                <a:gd name="T54" fmla="*/ 0 w 534"/>
                <a:gd name="T55" fmla="*/ 64 h 774"/>
                <a:gd name="T56" fmla="*/ 0 w 534"/>
                <a:gd name="T57" fmla="*/ 62 h 774"/>
                <a:gd name="T58" fmla="*/ 3 w 534"/>
                <a:gd name="T59" fmla="*/ 60 h 774"/>
                <a:gd name="T60" fmla="*/ 6 w 534"/>
                <a:gd name="T61" fmla="*/ 57 h 774"/>
                <a:gd name="T62" fmla="*/ 8 w 534"/>
                <a:gd name="T63" fmla="*/ 50 h 774"/>
                <a:gd name="T64" fmla="*/ 6 w 534"/>
                <a:gd name="T65" fmla="*/ 45 h 774"/>
                <a:gd name="T66" fmla="*/ 8 w 534"/>
                <a:gd name="T67" fmla="*/ 41 h 774"/>
                <a:gd name="T68" fmla="*/ 9 w 534"/>
                <a:gd name="T69" fmla="*/ 38 h 774"/>
                <a:gd name="T70" fmla="*/ 10 w 534"/>
                <a:gd name="T71" fmla="*/ 36 h 774"/>
                <a:gd name="T72" fmla="*/ 12 w 534"/>
                <a:gd name="T73" fmla="*/ 33 h 774"/>
                <a:gd name="T74" fmla="*/ 14 w 534"/>
                <a:gd name="T75" fmla="*/ 29 h 774"/>
                <a:gd name="T76" fmla="*/ 16 w 534"/>
                <a:gd name="T77" fmla="*/ 26 h 774"/>
                <a:gd name="T78" fmla="*/ 16 w 534"/>
                <a:gd name="T79" fmla="*/ 24 h 774"/>
                <a:gd name="T80" fmla="*/ 16 w 534"/>
                <a:gd name="T81" fmla="*/ 21 h 774"/>
                <a:gd name="T82" fmla="*/ 13 w 534"/>
                <a:gd name="T83" fmla="*/ 19 h 774"/>
                <a:gd name="T84" fmla="*/ 14 w 534"/>
                <a:gd name="T85" fmla="*/ 10 h 774"/>
                <a:gd name="T86" fmla="*/ 14 w 534"/>
                <a:gd name="T87" fmla="*/ 7 h 774"/>
                <a:gd name="T88" fmla="*/ 8 w 534"/>
                <a:gd name="T89" fmla="*/ 7 h 774"/>
                <a:gd name="T90" fmla="*/ 7 w 534"/>
                <a:gd name="T91" fmla="*/ 3 h 774"/>
                <a:gd name="T92" fmla="*/ 11 w 534"/>
                <a:gd name="T93" fmla="*/ 1 h 774"/>
                <a:gd name="T94" fmla="*/ 12 w 534"/>
                <a:gd name="T95" fmla="*/ 0 h 774"/>
                <a:gd name="T96" fmla="*/ 16 w 534"/>
                <a:gd name="T97" fmla="*/ 2 h 774"/>
                <a:gd name="T98" fmla="*/ 20 w 534"/>
                <a:gd name="T99" fmla="*/ 2 h 774"/>
                <a:gd name="T100" fmla="*/ 23 w 534"/>
                <a:gd name="T101" fmla="*/ 3 h 774"/>
                <a:gd name="T102" fmla="*/ 23 w 534"/>
                <a:gd name="T103" fmla="*/ 10 h 774"/>
                <a:gd name="T104" fmla="*/ 29 w 534"/>
                <a:gd name="T105" fmla="*/ 12 h 774"/>
                <a:gd name="T106" fmla="*/ 35 w 534"/>
                <a:gd name="T107" fmla="*/ 12 h 774"/>
                <a:gd name="T108" fmla="*/ 38 w 534"/>
                <a:gd name="T109" fmla="*/ 17 h 774"/>
                <a:gd name="T110" fmla="*/ 40 w 534"/>
                <a:gd name="T111" fmla="*/ 19 h 774"/>
                <a:gd name="T112" fmla="*/ 44 w 534"/>
                <a:gd name="T113" fmla="*/ 23 h 774"/>
                <a:gd name="T114" fmla="*/ 44 w 534"/>
                <a:gd name="T115" fmla="*/ 30 h 774"/>
                <a:gd name="T116" fmla="*/ 46 w 534"/>
                <a:gd name="T117" fmla="*/ 36 h 774"/>
                <a:gd name="T118" fmla="*/ 41 w 534"/>
                <a:gd name="T119" fmla="*/ 37 h 77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34"/>
                <a:gd name="T181" fmla="*/ 0 h 774"/>
                <a:gd name="T182" fmla="*/ 534 w 534"/>
                <a:gd name="T183" fmla="*/ 774 h 77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34" h="774">
                  <a:moveTo>
                    <a:pt x="462" y="426"/>
                  </a:moveTo>
                  <a:lnTo>
                    <a:pt x="462" y="414"/>
                  </a:lnTo>
                  <a:lnTo>
                    <a:pt x="450" y="402"/>
                  </a:lnTo>
                  <a:lnTo>
                    <a:pt x="444" y="396"/>
                  </a:lnTo>
                  <a:lnTo>
                    <a:pt x="420" y="396"/>
                  </a:lnTo>
                  <a:lnTo>
                    <a:pt x="408" y="390"/>
                  </a:lnTo>
                  <a:lnTo>
                    <a:pt x="402" y="366"/>
                  </a:lnTo>
                  <a:lnTo>
                    <a:pt x="390" y="354"/>
                  </a:lnTo>
                  <a:lnTo>
                    <a:pt x="384" y="336"/>
                  </a:lnTo>
                  <a:lnTo>
                    <a:pt x="378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8" y="348"/>
                  </a:lnTo>
                  <a:lnTo>
                    <a:pt x="360" y="354"/>
                  </a:lnTo>
                  <a:lnTo>
                    <a:pt x="360" y="390"/>
                  </a:lnTo>
                  <a:lnTo>
                    <a:pt x="348" y="390"/>
                  </a:lnTo>
                  <a:lnTo>
                    <a:pt x="342" y="384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90"/>
                  </a:lnTo>
                  <a:lnTo>
                    <a:pt x="312" y="402"/>
                  </a:lnTo>
                  <a:lnTo>
                    <a:pt x="306" y="420"/>
                  </a:lnTo>
                  <a:lnTo>
                    <a:pt x="324" y="414"/>
                  </a:lnTo>
                  <a:lnTo>
                    <a:pt x="330" y="414"/>
                  </a:lnTo>
                  <a:lnTo>
                    <a:pt x="336" y="420"/>
                  </a:lnTo>
                  <a:lnTo>
                    <a:pt x="336" y="432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6"/>
                  </a:lnTo>
                  <a:lnTo>
                    <a:pt x="318" y="456"/>
                  </a:lnTo>
                  <a:lnTo>
                    <a:pt x="300" y="456"/>
                  </a:lnTo>
                  <a:lnTo>
                    <a:pt x="288" y="462"/>
                  </a:lnTo>
                  <a:lnTo>
                    <a:pt x="276" y="462"/>
                  </a:lnTo>
                  <a:lnTo>
                    <a:pt x="270" y="462"/>
                  </a:lnTo>
                  <a:lnTo>
                    <a:pt x="270" y="468"/>
                  </a:lnTo>
                  <a:lnTo>
                    <a:pt x="252" y="468"/>
                  </a:lnTo>
                  <a:lnTo>
                    <a:pt x="258" y="480"/>
                  </a:lnTo>
                  <a:lnTo>
                    <a:pt x="258" y="492"/>
                  </a:lnTo>
                  <a:lnTo>
                    <a:pt x="258" y="498"/>
                  </a:lnTo>
                  <a:lnTo>
                    <a:pt x="258" y="510"/>
                  </a:lnTo>
                  <a:lnTo>
                    <a:pt x="252" y="540"/>
                  </a:lnTo>
                  <a:lnTo>
                    <a:pt x="246" y="564"/>
                  </a:lnTo>
                  <a:lnTo>
                    <a:pt x="246" y="570"/>
                  </a:lnTo>
                  <a:lnTo>
                    <a:pt x="252" y="576"/>
                  </a:lnTo>
                  <a:lnTo>
                    <a:pt x="246" y="582"/>
                  </a:lnTo>
                  <a:lnTo>
                    <a:pt x="252" y="600"/>
                  </a:lnTo>
                  <a:lnTo>
                    <a:pt x="258" y="606"/>
                  </a:lnTo>
                  <a:lnTo>
                    <a:pt x="258" y="612"/>
                  </a:lnTo>
                  <a:lnTo>
                    <a:pt x="252" y="618"/>
                  </a:lnTo>
                  <a:lnTo>
                    <a:pt x="246" y="624"/>
                  </a:lnTo>
                  <a:lnTo>
                    <a:pt x="246" y="630"/>
                  </a:lnTo>
                  <a:lnTo>
                    <a:pt x="246" y="636"/>
                  </a:lnTo>
                  <a:lnTo>
                    <a:pt x="240" y="642"/>
                  </a:lnTo>
                  <a:lnTo>
                    <a:pt x="234" y="654"/>
                  </a:lnTo>
                  <a:lnTo>
                    <a:pt x="228" y="654"/>
                  </a:lnTo>
                  <a:lnTo>
                    <a:pt x="222" y="660"/>
                  </a:lnTo>
                  <a:lnTo>
                    <a:pt x="216" y="666"/>
                  </a:lnTo>
                  <a:lnTo>
                    <a:pt x="210" y="666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22" y="684"/>
                  </a:lnTo>
                  <a:lnTo>
                    <a:pt x="222" y="690"/>
                  </a:lnTo>
                  <a:lnTo>
                    <a:pt x="222" y="696"/>
                  </a:lnTo>
                  <a:lnTo>
                    <a:pt x="222" y="702"/>
                  </a:lnTo>
                  <a:lnTo>
                    <a:pt x="216" y="708"/>
                  </a:lnTo>
                  <a:lnTo>
                    <a:pt x="210" y="720"/>
                  </a:lnTo>
                  <a:lnTo>
                    <a:pt x="216" y="732"/>
                  </a:lnTo>
                  <a:lnTo>
                    <a:pt x="210" y="732"/>
                  </a:lnTo>
                  <a:lnTo>
                    <a:pt x="216" y="738"/>
                  </a:lnTo>
                  <a:lnTo>
                    <a:pt x="216" y="744"/>
                  </a:lnTo>
                  <a:lnTo>
                    <a:pt x="222" y="750"/>
                  </a:lnTo>
                  <a:lnTo>
                    <a:pt x="228" y="756"/>
                  </a:lnTo>
                  <a:lnTo>
                    <a:pt x="222" y="762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04" y="762"/>
                  </a:lnTo>
                  <a:lnTo>
                    <a:pt x="198" y="762"/>
                  </a:lnTo>
                  <a:lnTo>
                    <a:pt x="192" y="762"/>
                  </a:lnTo>
                  <a:lnTo>
                    <a:pt x="186" y="756"/>
                  </a:lnTo>
                  <a:lnTo>
                    <a:pt x="180" y="750"/>
                  </a:lnTo>
                  <a:lnTo>
                    <a:pt x="180" y="744"/>
                  </a:lnTo>
                  <a:lnTo>
                    <a:pt x="174" y="744"/>
                  </a:lnTo>
                  <a:lnTo>
                    <a:pt x="156" y="750"/>
                  </a:lnTo>
                  <a:lnTo>
                    <a:pt x="150" y="750"/>
                  </a:lnTo>
                  <a:lnTo>
                    <a:pt x="144" y="750"/>
                  </a:lnTo>
                  <a:lnTo>
                    <a:pt x="138" y="750"/>
                  </a:lnTo>
                  <a:lnTo>
                    <a:pt x="138" y="744"/>
                  </a:lnTo>
                  <a:lnTo>
                    <a:pt x="132" y="744"/>
                  </a:lnTo>
                  <a:lnTo>
                    <a:pt x="120" y="744"/>
                  </a:lnTo>
                  <a:lnTo>
                    <a:pt x="114" y="738"/>
                  </a:lnTo>
                  <a:lnTo>
                    <a:pt x="108" y="744"/>
                  </a:lnTo>
                  <a:lnTo>
                    <a:pt x="102" y="744"/>
                  </a:lnTo>
                  <a:lnTo>
                    <a:pt x="96" y="744"/>
                  </a:lnTo>
                  <a:lnTo>
                    <a:pt x="96" y="738"/>
                  </a:lnTo>
                  <a:lnTo>
                    <a:pt x="96" y="744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44"/>
                  </a:lnTo>
                  <a:lnTo>
                    <a:pt x="72" y="750"/>
                  </a:lnTo>
                  <a:lnTo>
                    <a:pt x="66" y="750"/>
                  </a:lnTo>
                  <a:lnTo>
                    <a:pt x="60" y="750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0"/>
                  </a:lnTo>
                  <a:lnTo>
                    <a:pt x="30" y="750"/>
                  </a:lnTo>
                  <a:lnTo>
                    <a:pt x="24" y="744"/>
                  </a:lnTo>
                  <a:lnTo>
                    <a:pt x="18" y="738"/>
                  </a:lnTo>
                  <a:lnTo>
                    <a:pt x="6" y="738"/>
                  </a:lnTo>
                  <a:lnTo>
                    <a:pt x="0" y="732"/>
                  </a:lnTo>
                  <a:lnTo>
                    <a:pt x="0" y="726"/>
                  </a:lnTo>
                  <a:lnTo>
                    <a:pt x="0" y="720"/>
                  </a:lnTo>
                  <a:lnTo>
                    <a:pt x="6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8" y="702"/>
                  </a:lnTo>
                  <a:lnTo>
                    <a:pt x="24" y="696"/>
                  </a:lnTo>
                  <a:lnTo>
                    <a:pt x="30" y="696"/>
                  </a:lnTo>
                  <a:lnTo>
                    <a:pt x="48" y="690"/>
                  </a:lnTo>
                  <a:lnTo>
                    <a:pt x="54" y="678"/>
                  </a:lnTo>
                  <a:lnTo>
                    <a:pt x="66" y="672"/>
                  </a:lnTo>
                  <a:lnTo>
                    <a:pt x="66" y="654"/>
                  </a:lnTo>
                  <a:lnTo>
                    <a:pt x="72" y="636"/>
                  </a:lnTo>
                  <a:lnTo>
                    <a:pt x="72" y="612"/>
                  </a:lnTo>
                  <a:lnTo>
                    <a:pt x="84" y="594"/>
                  </a:lnTo>
                  <a:lnTo>
                    <a:pt x="90" y="576"/>
                  </a:lnTo>
                  <a:lnTo>
                    <a:pt x="96" y="552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72" y="522"/>
                  </a:lnTo>
                  <a:lnTo>
                    <a:pt x="78" y="510"/>
                  </a:lnTo>
                  <a:lnTo>
                    <a:pt x="78" y="504"/>
                  </a:lnTo>
                  <a:lnTo>
                    <a:pt x="84" y="480"/>
                  </a:lnTo>
                  <a:lnTo>
                    <a:pt x="90" y="468"/>
                  </a:lnTo>
                  <a:lnTo>
                    <a:pt x="90" y="456"/>
                  </a:lnTo>
                  <a:lnTo>
                    <a:pt x="96" y="456"/>
                  </a:lnTo>
                  <a:lnTo>
                    <a:pt x="96" y="444"/>
                  </a:lnTo>
                  <a:lnTo>
                    <a:pt x="102" y="438"/>
                  </a:lnTo>
                  <a:lnTo>
                    <a:pt x="102" y="432"/>
                  </a:lnTo>
                  <a:lnTo>
                    <a:pt x="108" y="432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14" y="408"/>
                  </a:lnTo>
                  <a:lnTo>
                    <a:pt x="114" y="402"/>
                  </a:lnTo>
                  <a:lnTo>
                    <a:pt x="126" y="384"/>
                  </a:lnTo>
                  <a:lnTo>
                    <a:pt x="138" y="378"/>
                  </a:lnTo>
                  <a:lnTo>
                    <a:pt x="138" y="372"/>
                  </a:lnTo>
                  <a:lnTo>
                    <a:pt x="150" y="354"/>
                  </a:lnTo>
                  <a:lnTo>
                    <a:pt x="156" y="342"/>
                  </a:lnTo>
                  <a:lnTo>
                    <a:pt x="162" y="330"/>
                  </a:lnTo>
                  <a:lnTo>
                    <a:pt x="168" y="324"/>
                  </a:lnTo>
                  <a:lnTo>
                    <a:pt x="168" y="312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74" y="294"/>
                  </a:lnTo>
                  <a:lnTo>
                    <a:pt x="180" y="288"/>
                  </a:lnTo>
                  <a:lnTo>
                    <a:pt x="180" y="276"/>
                  </a:lnTo>
                  <a:lnTo>
                    <a:pt x="186" y="276"/>
                  </a:lnTo>
                  <a:lnTo>
                    <a:pt x="186" y="270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40"/>
                  </a:lnTo>
                  <a:lnTo>
                    <a:pt x="168" y="240"/>
                  </a:lnTo>
                  <a:lnTo>
                    <a:pt x="162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68" y="216"/>
                  </a:lnTo>
                  <a:lnTo>
                    <a:pt x="168" y="180"/>
                  </a:lnTo>
                  <a:lnTo>
                    <a:pt x="168" y="144"/>
                  </a:lnTo>
                  <a:lnTo>
                    <a:pt x="162" y="120"/>
                  </a:lnTo>
                  <a:lnTo>
                    <a:pt x="162" y="108"/>
                  </a:lnTo>
                  <a:lnTo>
                    <a:pt x="168" y="102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44" y="84"/>
                  </a:lnTo>
                  <a:lnTo>
                    <a:pt x="126" y="84"/>
                  </a:lnTo>
                  <a:lnTo>
                    <a:pt x="108" y="78"/>
                  </a:lnTo>
                  <a:lnTo>
                    <a:pt x="96" y="78"/>
                  </a:lnTo>
                  <a:lnTo>
                    <a:pt x="78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8" y="36"/>
                  </a:lnTo>
                  <a:lnTo>
                    <a:pt x="96" y="24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56" y="0"/>
                  </a:lnTo>
                  <a:lnTo>
                    <a:pt x="156" y="6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18"/>
                  </a:lnTo>
                  <a:lnTo>
                    <a:pt x="198" y="18"/>
                  </a:lnTo>
                  <a:lnTo>
                    <a:pt x="210" y="18"/>
                  </a:lnTo>
                  <a:lnTo>
                    <a:pt x="222" y="18"/>
                  </a:lnTo>
                  <a:lnTo>
                    <a:pt x="234" y="12"/>
                  </a:lnTo>
                  <a:lnTo>
                    <a:pt x="252" y="18"/>
                  </a:lnTo>
                  <a:lnTo>
                    <a:pt x="252" y="24"/>
                  </a:lnTo>
                  <a:lnTo>
                    <a:pt x="258" y="36"/>
                  </a:lnTo>
                  <a:lnTo>
                    <a:pt x="258" y="66"/>
                  </a:lnTo>
                  <a:lnTo>
                    <a:pt x="252" y="84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82" y="126"/>
                  </a:lnTo>
                  <a:lnTo>
                    <a:pt x="294" y="132"/>
                  </a:lnTo>
                  <a:lnTo>
                    <a:pt x="306" y="138"/>
                  </a:lnTo>
                  <a:lnTo>
                    <a:pt x="324" y="138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60" y="144"/>
                  </a:lnTo>
                  <a:lnTo>
                    <a:pt x="396" y="144"/>
                  </a:lnTo>
                  <a:lnTo>
                    <a:pt x="408" y="150"/>
                  </a:lnTo>
                  <a:lnTo>
                    <a:pt x="414" y="180"/>
                  </a:lnTo>
                  <a:lnTo>
                    <a:pt x="420" y="186"/>
                  </a:lnTo>
                  <a:lnTo>
                    <a:pt x="426" y="192"/>
                  </a:lnTo>
                  <a:lnTo>
                    <a:pt x="426" y="198"/>
                  </a:lnTo>
                  <a:lnTo>
                    <a:pt x="432" y="198"/>
                  </a:lnTo>
                  <a:lnTo>
                    <a:pt x="438" y="210"/>
                  </a:lnTo>
                  <a:lnTo>
                    <a:pt x="450" y="216"/>
                  </a:lnTo>
                  <a:lnTo>
                    <a:pt x="468" y="228"/>
                  </a:lnTo>
                  <a:lnTo>
                    <a:pt x="492" y="234"/>
                  </a:lnTo>
                  <a:lnTo>
                    <a:pt x="492" y="246"/>
                  </a:lnTo>
                  <a:lnTo>
                    <a:pt x="492" y="270"/>
                  </a:lnTo>
                  <a:lnTo>
                    <a:pt x="486" y="294"/>
                  </a:lnTo>
                  <a:lnTo>
                    <a:pt x="486" y="312"/>
                  </a:lnTo>
                  <a:lnTo>
                    <a:pt x="486" y="330"/>
                  </a:lnTo>
                  <a:lnTo>
                    <a:pt x="492" y="348"/>
                  </a:lnTo>
                  <a:lnTo>
                    <a:pt x="498" y="360"/>
                  </a:lnTo>
                  <a:lnTo>
                    <a:pt x="510" y="366"/>
                  </a:lnTo>
                  <a:lnTo>
                    <a:pt x="516" y="384"/>
                  </a:lnTo>
                  <a:lnTo>
                    <a:pt x="522" y="414"/>
                  </a:lnTo>
                  <a:lnTo>
                    <a:pt x="528" y="414"/>
                  </a:lnTo>
                  <a:lnTo>
                    <a:pt x="534" y="426"/>
                  </a:lnTo>
                  <a:lnTo>
                    <a:pt x="528" y="432"/>
                  </a:lnTo>
                  <a:lnTo>
                    <a:pt x="468" y="426"/>
                  </a:lnTo>
                  <a:lnTo>
                    <a:pt x="462" y="4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3" name="Freeform 8">
              <a:extLst>
                <a:ext uri="{FF2B5EF4-FFF2-40B4-BE49-F238E27FC236}">
                  <a16:creationId xmlns:a16="http://schemas.microsoft.com/office/drawing/2014/main" id="{D473457C-872E-4E31-888A-D60FD52063A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98175" y="4307054"/>
              <a:ext cx="295177" cy="348894"/>
            </a:xfrm>
            <a:custGeom>
              <a:avLst/>
              <a:gdLst>
                <a:gd name="T0" fmla="*/ 3 w 552"/>
                <a:gd name="T1" fmla="*/ 46 h 660"/>
                <a:gd name="T2" fmla="*/ 4 w 552"/>
                <a:gd name="T3" fmla="*/ 42 h 660"/>
                <a:gd name="T4" fmla="*/ 2 w 552"/>
                <a:gd name="T5" fmla="*/ 38 h 660"/>
                <a:gd name="T6" fmla="*/ 0 w 552"/>
                <a:gd name="T7" fmla="*/ 34 h 660"/>
                <a:gd name="T8" fmla="*/ 2 w 552"/>
                <a:gd name="T9" fmla="*/ 30 h 660"/>
                <a:gd name="T10" fmla="*/ 3 w 552"/>
                <a:gd name="T11" fmla="*/ 27 h 660"/>
                <a:gd name="T12" fmla="*/ 5 w 552"/>
                <a:gd name="T13" fmla="*/ 23 h 660"/>
                <a:gd name="T14" fmla="*/ 5 w 552"/>
                <a:gd name="T15" fmla="*/ 15 h 660"/>
                <a:gd name="T16" fmla="*/ 6 w 552"/>
                <a:gd name="T17" fmla="*/ 11 h 660"/>
                <a:gd name="T18" fmla="*/ 11 w 552"/>
                <a:gd name="T19" fmla="*/ 9 h 660"/>
                <a:gd name="T20" fmla="*/ 10 w 552"/>
                <a:gd name="T21" fmla="*/ 5 h 660"/>
                <a:gd name="T22" fmla="*/ 12 w 552"/>
                <a:gd name="T23" fmla="*/ 1 h 660"/>
                <a:gd name="T24" fmla="*/ 16 w 552"/>
                <a:gd name="T25" fmla="*/ 2 h 660"/>
                <a:gd name="T26" fmla="*/ 23 w 552"/>
                <a:gd name="T27" fmla="*/ 8 h 660"/>
                <a:gd name="T28" fmla="*/ 23 w 552"/>
                <a:gd name="T29" fmla="*/ 11 h 660"/>
                <a:gd name="T30" fmla="*/ 27 w 552"/>
                <a:gd name="T31" fmla="*/ 12 h 660"/>
                <a:gd name="T32" fmla="*/ 29 w 552"/>
                <a:gd name="T33" fmla="*/ 17 h 660"/>
                <a:gd name="T34" fmla="*/ 31 w 552"/>
                <a:gd name="T35" fmla="*/ 15 h 660"/>
                <a:gd name="T36" fmla="*/ 33 w 552"/>
                <a:gd name="T37" fmla="*/ 17 h 660"/>
                <a:gd name="T38" fmla="*/ 36 w 552"/>
                <a:gd name="T39" fmla="*/ 23 h 660"/>
                <a:gd name="T40" fmla="*/ 41 w 552"/>
                <a:gd name="T41" fmla="*/ 33 h 660"/>
                <a:gd name="T42" fmla="*/ 43 w 552"/>
                <a:gd name="T43" fmla="*/ 36 h 660"/>
                <a:gd name="T44" fmla="*/ 43 w 552"/>
                <a:gd name="T45" fmla="*/ 37 h 660"/>
                <a:gd name="T46" fmla="*/ 41 w 552"/>
                <a:gd name="T47" fmla="*/ 35 h 660"/>
                <a:gd name="T48" fmla="*/ 43 w 552"/>
                <a:gd name="T49" fmla="*/ 37 h 660"/>
                <a:gd name="T50" fmla="*/ 44 w 552"/>
                <a:gd name="T51" fmla="*/ 39 h 660"/>
                <a:gd name="T52" fmla="*/ 47 w 552"/>
                <a:gd name="T53" fmla="*/ 41 h 660"/>
                <a:gd name="T54" fmla="*/ 47 w 552"/>
                <a:gd name="T55" fmla="*/ 44 h 660"/>
                <a:gd name="T56" fmla="*/ 48 w 552"/>
                <a:gd name="T57" fmla="*/ 46 h 660"/>
                <a:gd name="T58" fmla="*/ 47 w 552"/>
                <a:gd name="T59" fmla="*/ 46 h 660"/>
                <a:gd name="T60" fmla="*/ 44 w 552"/>
                <a:gd name="T61" fmla="*/ 46 h 660"/>
                <a:gd name="T62" fmla="*/ 47 w 552"/>
                <a:gd name="T63" fmla="*/ 47 h 660"/>
                <a:gd name="T64" fmla="*/ 47 w 552"/>
                <a:gd name="T65" fmla="*/ 49 h 660"/>
                <a:gd name="T66" fmla="*/ 47 w 552"/>
                <a:gd name="T67" fmla="*/ 52 h 660"/>
                <a:gd name="T68" fmla="*/ 46 w 552"/>
                <a:gd name="T69" fmla="*/ 53 h 660"/>
                <a:gd name="T70" fmla="*/ 43 w 552"/>
                <a:gd name="T71" fmla="*/ 54 h 660"/>
                <a:gd name="T72" fmla="*/ 37 w 552"/>
                <a:gd name="T73" fmla="*/ 54 h 660"/>
                <a:gd name="T74" fmla="*/ 30 w 552"/>
                <a:gd name="T75" fmla="*/ 54 h 660"/>
                <a:gd name="T76" fmla="*/ 29 w 552"/>
                <a:gd name="T77" fmla="*/ 53 h 660"/>
                <a:gd name="T78" fmla="*/ 27 w 552"/>
                <a:gd name="T79" fmla="*/ 53 h 660"/>
                <a:gd name="T80" fmla="*/ 29 w 552"/>
                <a:gd name="T81" fmla="*/ 53 h 660"/>
                <a:gd name="T82" fmla="*/ 28 w 552"/>
                <a:gd name="T83" fmla="*/ 54 h 660"/>
                <a:gd name="T84" fmla="*/ 24 w 552"/>
                <a:gd name="T85" fmla="*/ 54 h 660"/>
                <a:gd name="T86" fmla="*/ 20 w 552"/>
                <a:gd name="T87" fmla="*/ 55 h 660"/>
                <a:gd name="T88" fmla="*/ 15 w 552"/>
                <a:gd name="T89" fmla="*/ 56 h 660"/>
                <a:gd name="T90" fmla="*/ 12 w 552"/>
                <a:gd name="T91" fmla="*/ 56 h 660"/>
                <a:gd name="T92" fmla="*/ 11 w 552"/>
                <a:gd name="T93" fmla="*/ 57 h 660"/>
                <a:gd name="T94" fmla="*/ 9 w 552"/>
                <a:gd name="T95" fmla="*/ 57 h 660"/>
                <a:gd name="T96" fmla="*/ 7 w 552"/>
                <a:gd name="T97" fmla="*/ 56 h 660"/>
                <a:gd name="T98" fmla="*/ 5 w 552"/>
                <a:gd name="T99" fmla="*/ 55 h 660"/>
                <a:gd name="T100" fmla="*/ 7 w 552"/>
                <a:gd name="T101" fmla="*/ 54 h 660"/>
                <a:gd name="T102" fmla="*/ 5 w 552"/>
                <a:gd name="T103" fmla="*/ 54 h 660"/>
                <a:gd name="T104" fmla="*/ 5 w 552"/>
                <a:gd name="T105" fmla="*/ 53 h 660"/>
                <a:gd name="T106" fmla="*/ 4 w 552"/>
                <a:gd name="T107" fmla="*/ 49 h 660"/>
                <a:gd name="T108" fmla="*/ 45 w 552"/>
                <a:gd name="T109" fmla="*/ 38 h 66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52"/>
                <a:gd name="T166" fmla="*/ 0 h 660"/>
                <a:gd name="T167" fmla="*/ 552 w 552"/>
                <a:gd name="T168" fmla="*/ 660 h 66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52" h="660">
                  <a:moveTo>
                    <a:pt x="36" y="564"/>
                  </a:moveTo>
                  <a:lnTo>
                    <a:pt x="36" y="558"/>
                  </a:lnTo>
                  <a:lnTo>
                    <a:pt x="36" y="552"/>
                  </a:lnTo>
                  <a:lnTo>
                    <a:pt x="42" y="546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34"/>
                  </a:lnTo>
                  <a:lnTo>
                    <a:pt x="36" y="528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54" y="510"/>
                  </a:lnTo>
                  <a:lnTo>
                    <a:pt x="54" y="504"/>
                  </a:lnTo>
                  <a:lnTo>
                    <a:pt x="54" y="498"/>
                  </a:lnTo>
                  <a:lnTo>
                    <a:pt x="48" y="492"/>
                  </a:lnTo>
                  <a:lnTo>
                    <a:pt x="42" y="486"/>
                  </a:lnTo>
                  <a:lnTo>
                    <a:pt x="42" y="480"/>
                  </a:lnTo>
                  <a:lnTo>
                    <a:pt x="42" y="468"/>
                  </a:lnTo>
                  <a:lnTo>
                    <a:pt x="30" y="456"/>
                  </a:lnTo>
                  <a:lnTo>
                    <a:pt x="30" y="450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2"/>
                  </a:lnTo>
                  <a:lnTo>
                    <a:pt x="18" y="426"/>
                  </a:lnTo>
                  <a:lnTo>
                    <a:pt x="24" y="420"/>
                  </a:lnTo>
                  <a:lnTo>
                    <a:pt x="18" y="414"/>
                  </a:lnTo>
                  <a:lnTo>
                    <a:pt x="12" y="408"/>
                  </a:lnTo>
                  <a:lnTo>
                    <a:pt x="12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6" y="384"/>
                  </a:lnTo>
                  <a:lnTo>
                    <a:pt x="12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8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36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54" y="270"/>
                  </a:lnTo>
                  <a:lnTo>
                    <a:pt x="48" y="264"/>
                  </a:lnTo>
                  <a:lnTo>
                    <a:pt x="42" y="246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8" y="204"/>
                  </a:lnTo>
                  <a:lnTo>
                    <a:pt x="54" y="174"/>
                  </a:lnTo>
                  <a:lnTo>
                    <a:pt x="54" y="162"/>
                  </a:lnTo>
                  <a:lnTo>
                    <a:pt x="54" y="156"/>
                  </a:lnTo>
                  <a:lnTo>
                    <a:pt x="54" y="144"/>
                  </a:lnTo>
                  <a:lnTo>
                    <a:pt x="48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72" y="126"/>
                  </a:lnTo>
                  <a:lnTo>
                    <a:pt x="84" y="126"/>
                  </a:lnTo>
                  <a:lnTo>
                    <a:pt x="96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2" y="84"/>
                  </a:lnTo>
                  <a:lnTo>
                    <a:pt x="126" y="78"/>
                  </a:lnTo>
                  <a:lnTo>
                    <a:pt x="120" y="78"/>
                  </a:lnTo>
                  <a:lnTo>
                    <a:pt x="102" y="84"/>
                  </a:lnTo>
                  <a:lnTo>
                    <a:pt x="108" y="66"/>
                  </a:lnTo>
                  <a:lnTo>
                    <a:pt x="114" y="54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8" y="4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6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74" y="0"/>
                  </a:lnTo>
                  <a:lnTo>
                    <a:pt x="180" y="0"/>
                  </a:lnTo>
                  <a:lnTo>
                    <a:pt x="186" y="18"/>
                  </a:lnTo>
                  <a:lnTo>
                    <a:pt x="198" y="30"/>
                  </a:lnTo>
                  <a:lnTo>
                    <a:pt x="204" y="54"/>
                  </a:lnTo>
                  <a:lnTo>
                    <a:pt x="216" y="60"/>
                  </a:lnTo>
                  <a:lnTo>
                    <a:pt x="240" y="60"/>
                  </a:lnTo>
                  <a:lnTo>
                    <a:pt x="246" y="66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2" y="120"/>
                  </a:lnTo>
                  <a:lnTo>
                    <a:pt x="25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6" y="126"/>
                  </a:lnTo>
                  <a:lnTo>
                    <a:pt x="282" y="120"/>
                  </a:lnTo>
                  <a:lnTo>
                    <a:pt x="282" y="126"/>
                  </a:lnTo>
                  <a:lnTo>
                    <a:pt x="294" y="126"/>
                  </a:lnTo>
                  <a:lnTo>
                    <a:pt x="300" y="132"/>
                  </a:lnTo>
                  <a:lnTo>
                    <a:pt x="306" y="144"/>
                  </a:lnTo>
                  <a:lnTo>
                    <a:pt x="312" y="144"/>
                  </a:lnTo>
                  <a:lnTo>
                    <a:pt x="312" y="150"/>
                  </a:lnTo>
                  <a:lnTo>
                    <a:pt x="312" y="162"/>
                  </a:lnTo>
                  <a:lnTo>
                    <a:pt x="312" y="174"/>
                  </a:lnTo>
                  <a:lnTo>
                    <a:pt x="324" y="180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30" y="192"/>
                  </a:lnTo>
                  <a:lnTo>
                    <a:pt x="336" y="198"/>
                  </a:lnTo>
                  <a:lnTo>
                    <a:pt x="342" y="192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54" y="180"/>
                  </a:lnTo>
                  <a:lnTo>
                    <a:pt x="354" y="174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84" y="192"/>
                  </a:lnTo>
                  <a:lnTo>
                    <a:pt x="390" y="204"/>
                  </a:lnTo>
                  <a:lnTo>
                    <a:pt x="390" y="210"/>
                  </a:lnTo>
                  <a:lnTo>
                    <a:pt x="390" y="216"/>
                  </a:lnTo>
                  <a:lnTo>
                    <a:pt x="384" y="234"/>
                  </a:lnTo>
                  <a:lnTo>
                    <a:pt x="390" y="240"/>
                  </a:lnTo>
                  <a:lnTo>
                    <a:pt x="408" y="252"/>
                  </a:lnTo>
                  <a:lnTo>
                    <a:pt x="414" y="264"/>
                  </a:lnTo>
                  <a:lnTo>
                    <a:pt x="408" y="300"/>
                  </a:lnTo>
                  <a:lnTo>
                    <a:pt x="414" y="312"/>
                  </a:lnTo>
                  <a:lnTo>
                    <a:pt x="426" y="336"/>
                  </a:lnTo>
                  <a:lnTo>
                    <a:pt x="438" y="354"/>
                  </a:lnTo>
                  <a:lnTo>
                    <a:pt x="444" y="366"/>
                  </a:lnTo>
                  <a:lnTo>
                    <a:pt x="456" y="366"/>
                  </a:lnTo>
                  <a:lnTo>
                    <a:pt x="474" y="378"/>
                  </a:lnTo>
                  <a:lnTo>
                    <a:pt x="474" y="384"/>
                  </a:lnTo>
                  <a:lnTo>
                    <a:pt x="480" y="390"/>
                  </a:lnTo>
                  <a:lnTo>
                    <a:pt x="486" y="396"/>
                  </a:lnTo>
                  <a:lnTo>
                    <a:pt x="486" y="402"/>
                  </a:lnTo>
                  <a:lnTo>
                    <a:pt x="480" y="408"/>
                  </a:lnTo>
                  <a:lnTo>
                    <a:pt x="486" y="408"/>
                  </a:lnTo>
                  <a:lnTo>
                    <a:pt x="486" y="414"/>
                  </a:lnTo>
                  <a:lnTo>
                    <a:pt x="492" y="414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32"/>
                  </a:lnTo>
                  <a:lnTo>
                    <a:pt x="498" y="438"/>
                  </a:lnTo>
                  <a:lnTo>
                    <a:pt x="492" y="432"/>
                  </a:lnTo>
                  <a:lnTo>
                    <a:pt x="486" y="426"/>
                  </a:lnTo>
                  <a:lnTo>
                    <a:pt x="486" y="420"/>
                  </a:lnTo>
                  <a:lnTo>
                    <a:pt x="486" y="414"/>
                  </a:lnTo>
                  <a:lnTo>
                    <a:pt x="480" y="414"/>
                  </a:lnTo>
                  <a:lnTo>
                    <a:pt x="480" y="408"/>
                  </a:lnTo>
                  <a:lnTo>
                    <a:pt x="474" y="408"/>
                  </a:lnTo>
                  <a:lnTo>
                    <a:pt x="468" y="408"/>
                  </a:lnTo>
                  <a:lnTo>
                    <a:pt x="468" y="402"/>
                  </a:lnTo>
                  <a:lnTo>
                    <a:pt x="462" y="402"/>
                  </a:lnTo>
                  <a:lnTo>
                    <a:pt x="462" y="408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80" y="426"/>
                  </a:lnTo>
                  <a:lnTo>
                    <a:pt x="486" y="426"/>
                  </a:lnTo>
                  <a:lnTo>
                    <a:pt x="486" y="432"/>
                  </a:lnTo>
                  <a:lnTo>
                    <a:pt x="492" y="438"/>
                  </a:lnTo>
                  <a:lnTo>
                    <a:pt x="498" y="438"/>
                  </a:lnTo>
                  <a:lnTo>
                    <a:pt x="504" y="444"/>
                  </a:lnTo>
                  <a:lnTo>
                    <a:pt x="510" y="444"/>
                  </a:lnTo>
                  <a:lnTo>
                    <a:pt x="510" y="450"/>
                  </a:lnTo>
                  <a:lnTo>
                    <a:pt x="510" y="456"/>
                  </a:lnTo>
                  <a:lnTo>
                    <a:pt x="516" y="456"/>
                  </a:lnTo>
                  <a:lnTo>
                    <a:pt x="516" y="462"/>
                  </a:lnTo>
                  <a:lnTo>
                    <a:pt x="522" y="462"/>
                  </a:lnTo>
                  <a:lnTo>
                    <a:pt x="522" y="468"/>
                  </a:lnTo>
                  <a:lnTo>
                    <a:pt x="528" y="468"/>
                  </a:lnTo>
                  <a:lnTo>
                    <a:pt x="534" y="468"/>
                  </a:lnTo>
                  <a:lnTo>
                    <a:pt x="534" y="474"/>
                  </a:lnTo>
                  <a:lnTo>
                    <a:pt x="540" y="474"/>
                  </a:lnTo>
                  <a:lnTo>
                    <a:pt x="540" y="480"/>
                  </a:lnTo>
                  <a:lnTo>
                    <a:pt x="546" y="486"/>
                  </a:lnTo>
                  <a:lnTo>
                    <a:pt x="546" y="492"/>
                  </a:lnTo>
                  <a:lnTo>
                    <a:pt x="546" y="498"/>
                  </a:lnTo>
                  <a:lnTo>
                    <a:pt x="546" y="504"/>
                  </a:lnTo>
                  <a:lnTo>
                    <a:pt x="540" y="504"/>
                  </a:lnTo>
                  <a:lnTo>
                    <a:pt x="546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10"/>
                  </a:lnTo>
                  <a:lnTo>
                    <a:pt x="552" y="516"/>
                  </a:lnTo>
                  <a:lnTo>
                    <a:pt x="552" y="522"/>
                  </a:lnTo>
                  <a:lnTo>
                    <a:pt x="552" y="528"/>
                  </a:lnTo>
                  <a:lnTo>
                    <a:pt x="552" y="534"/>
                  </a:lnTo>
                  <a:lnTo>
                    <a:pt x="552" y="540"/>
                  </a:lnTo>
                  <a:lnTo>
                    <a:pt x="546" y="540"/>
                  </a:lnTo>
                  <a:lnTo>
                    <a:pt x="546" y="546"/>
                  </a:lnTo>
                  <a:lnTo>
                    <a:pt x="546" y="540"/>
                  </a:lnTo>
                  <a:lnTo>
                    <a:pt x="546" y="534"/>
                  </a:lnTo>
                  <a:lnTo>
                    <a:pt x="540" y="534"/>
                  </a:lnTo>
                  <a:lnTo>
                    <a:pt x="540" y="528"/>
                  </a:lnTo>
                  <a:lnTo>
                    <a:pt x="534" y="528"/>
                  </a:lnTo>
                  <a:lnTo>
                    <a:pt x="528" y="528"/>
                  </a:lnTo>
                  <a:lnTo>
                    <a:pt x="522" y="528"/>
                  </a:lnTo>
                  <a:lnTo>
                    <a:pt x="516" y="528"/>
                  </a:lnTo>
                  <a:lnTo>
                    <a:pt x="510" y="528"/>
                  </a:lnTo>
                  <a:lnTo>
                    <a:pt x="510" y="534"/>
                  </a:lnTo>
                  <a:lnTo>
                    <a:pt x="510" y="528"/>
                  </a:lnTo>
                  <a:lnTo>
                    <a:pt x="516" y="528"/>
                  </a:lnTo>
                  <a:lnTo>
                    <a:pt x="522" y="528"/>
                  </a:lnTo>
                  <a:lnTo>
                    <a:pt x="528" y="528"/>
                  </a:lnTo>
                  <a:lnTo>
                    <a:pt x="534" y="534"/>
                  </a:lnTo>
                  <a:lnTo>
                    <a:pt x="540" y="534"/>
                  </a:lnTo>
                  <a:lnTo>
                    <a:pt x="540" y="540"/>
                  </a:lnTo>
                  <a:lnTo>
                    <a:pt x="540" y="546"/>
                  </a:lnTo>
                  <a:lnTo>
                    <a:pt x="546" y="546"/>
                  </a:lnTo>
                  <a:lnTo>
                    <a:pt x="546" y="552"/>
                  </a:lnTo>
                  <a:lnTo>
                    <a:pt x="552" y="552"/>
                  </a:lnTo>
                  <a:lnTo>
                    <a:pt x="552" y="558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0" y="576"/>
                  </a:lnTo>
                  <a:lnTo>
                    <a:pt x="540" y="582"/>
                  </a:lnTo>
                  <a:lnTo>
                    <a:pt x="540" y="588"/>
                  </a:lnTo>
                  <a:lnTo>
                    <a:pt x="534" y="594"/>
                  </a:lnTo>
                  <a:lnTo>
                    <a:pt x="534" y="600"/>
                  </a:lnTo>
                  <a:lnTo>
                    <a:pt x="528" y="600"/>
                  </a:lnTo>
                  <a:lnTo>
                    <a:pt x="522" y="594"/>
                  </a:lnTo>
                  <a:lnTo>
                    <a:pt x="528" y="600"/>
                  </a:lnTo>
                  <a:lnTo>
                    <a:pt x="534" y="600"/>
                  </a:lnTo>
                  <a:lnTo>
                    <a:pt x="534" y="606"/>
                  </a:lnTo>
                  <a:lnTo>
                    <a:pt x="528" y="606"/>
                  </a:lnTo>
                  <a:lnTo>
                    <a:pt x="528" y="612"/>
                  </a:lnTo>
                  <a:lnTo>
                    <a:pt x="522" y="612"/>
                  </a:lnTo>
                  <a:lnTo>
                    <a:pt x="522" y="618"/>
                  </a:lnTo>
                  <a:lnTo>
                    <a:pt x="522" y="624"/>
                  </a:lnTo>
                  <a:lnTo>
                    <a:pt x="510" y="624"/>
                  </a:lnTo>
                  <a:lnTo>
                    <a:pt x="498" y="624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0" y="624"/>
                  </a:lnTo>
                  <a:lnTo>
                    <a:pt x="474" y="624"/>
                  </a:lnTo>
                  <a:lnTo>
                    <a:pt x="468" y="618"/>
                  </a:lnTo>
                  <a:lnTo>
                    <a:pt x="456" y="618"/>
                  </a:lnTo>
                  <a:lnTo>
                    <a:pt x="450" y="618"/>
                  </a:lnTo>
                  <a:lnTo>
                    <a:pt x="426" y="618"/>
                  </a:lnTo>
                  <a:lnTo>
                    <a:pt x="420" y="618"/>
                  </a:lnTo>
                  <a:lnTo>
                    <a:pt x="414" y="618"/>
                  </a:lnTo>
                  <a:lnTo>
                    <a:pt x="408" y="618"/>
                  </a:lnTo>
                  <a:lnTo>
                    <a:pt x="396" y="618"/>
                  </a:lnTo>
                  <a:lnTo>
                    <a:pt x="366" y="618"/>
                  </a:lnTo>
                  <a:lnTo>
                    <a:pt x="348" y="624"/>
                  </a:lnTo>
                  <a:lnTo>
                    <a:pt x="342" y="624"/>
                  </a:lnTo>
                  <a:lnTo>
                    <a:pt x="342" y="618"/>
                  </a:lnTo>
                  <a:lnTo>
                    <a:pt x="336" y="618"/>
                  </a:lnTo>
                  <a:lnTo>
                    <a:pt x="336" y="612"/>
                  </a:lnTo>
                  <a:lnTo>
                    <a:pt x="342" y="612"/>
                  </a:lnTo>
                  <a:lnTo>
                    <a:pt x="348" y="612"/>
                  </a:lnTo>
                  <a:lnTo>
                    <a:pt x="342" y="612"/>
                  </a:lnTo>
                  <a:lnTo>
                    <a:pt x="336" y="612"/>
                  </a:lnTo>
                  <a:lnTo>
                    <a:pt x="336" y="606"/>
                  </a:lnTo>
                  <a:lnTo>
                    <a:pt x="330" y="606"/>
                  </a:lnTo>
                  <a:lnTo>
                    <a:pt x="330" y="600"/>
                  </a:lnTo>
                  <a:lnTo>
                    <a:pt x="324" y="600"/>
                  </a:lnTo>
                  <a:lnTo>
                    <a:pt x="324" y="606"/>
                  </a:lnTo>
                  <a:lnTo>
                    <a:pt x="318" y="606"/>
                  </a:lnTo>
                  <a:lnTo>
                    <a:pt x="318" y="612"/>
                  </a:lnTo>
                  <a:lnTo>
                    <a:pt x="312" y="612"/>
                  </a:lnTo>
                  <a:lnTo>
                    <a:pt x="306" y="606"/>
                  </a:lnTo>
                  <a:lnTo>
                    <a:pt x="306" y="612"/>
                  </a:lnTo>
                  <a:lnTo>
                    <a:pt x="312" y="612"/>
                  </a:lnTo>
                  <a:lnTo>
                    <a:pt x="318" y="612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30" y="606"/>
                  </a:lnTo>
                  <a:lnTo>
                    <a:pt x="336" y="612"/>
                  </a:lnTo>
                  <a:lnTo>
                    <a:pt x="336" y="618"/>
                  </a:lnTo>
                  <a:lnTo>
                    <a:pt x="330" y="618"/>
                  </a:lnTo>
                  <a:lnTo>
                    <a:pt x="336" y="618"/>
                  </a:lnTo>
                  <a:lnTo>
                    <a:pt x="336" y="624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288" y="624"/>
                  </a:lnTo>
                  <a:lnTo>
                    <a:pt x="282" y="624"/>
                  </a:lnTo>
                  <a:lnTo>
                    <a:pt x="270" y="630"/>
                  </a:lnTo>
                  <a:lnTo>
                    <a:pt x="264" y="630"/>
                  </a:lnTo>
                  <a:lnTo>
                    <a:pt x="258" y="630"/>
                  </a:lnTo>
                  <a:lnTo>
                    <a:pt x="252" y="630"/>
                  </a:lnTo>
                  <a:lnTo>
                    <a:pt x="246" y="630"/>
                  </a:lnTo>
                  <a:lnTo>
                    <a:pt x="240" y="630"/>
                  </a:lnTo>
                  <a:lnTo>
                    <a:pt x="228" y="636"/>
                  </a:lnTo>
                  <a:lnTo>
                    <a:pt x="222" y="636"/>
                  </a:lnTo>
                  <a:lnTo>
                    <a:pt x="210" y="636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42"/>
                  </a:lnTo>
                  <a:lnTo>
                    <a:pt x="186" y="642"/>
                  </a:lnTo>
                  <a:lnTo>
                    <a:pt x="180" y="642"/>
                  </a:lnTo>
                  <a:lnTo>
                    <a:pt x="168" y="642"/>
                  </a:lnTo>
                  <a:lnTo>
                    <a:pt x="162" y="642"/>
                  </a:lnTo>
                  <a:lnTo>
                    <a:pt x="162" y="648"/>
                  </a:lnTo>
                  <a:lnTo>
                    <a:pt x="156" y="648"/>
                  </a:lnTo>
                  <a:lnTo>
                    <a:pt x="150" y="648"/>
                  </a:lnTo>
                  <a:lnTo>
                    <a:pt x="144" y="648"/>
                  </a:lnTo>
                  <a:lnTo>
                    <a:pt x="138" y="648"/>
                  </a:lnTo>
                  <a:lnTo>
                    <a:pt x="132" y="648"/>
                  </a:lnTo>
                  <a:lnTo>
                    <a:pt x="126" y="642"/>
                  </a:lnTo>
                  <a:lnTo>
                    <a:pt x="126" y="636"/>
                  </a:lnTo>
                  <a:lnTo>
                    <a:pt x="120" y="636"/>
                  </a:lnTo>
                  <a:lnTo>
                    <a:pt x="126" y="642"/>
                  </a:lnTo>
                  <a:lnTo>
                    <a:pt x="126" y="648"/>
                  </a:lnTo>
                  <a:lnTo>
                    <a:pt x="132" y="648"/>
                  </a:lnTo>
                  <a:lnTo>
                    <a:pt x="126" y="654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54"/>
                  </a:lnTo>
                  <a:lnTo>
                    <a:pt x="108" y="660"/>
                  </a:lnTo>
                  <a:lnTo>
                    <a:pt x="108" y="654"/>
                  </a:lnTo>
                  <a:lnTo>
                    <a:pt x="102" y="654"/>
                  </a:lnTo>
                  <a:lnTo>
                    <a:pt x="102" y="660"/>
                  </a:lnTo>
                  <a:lnTo>
                    <a:pt x="108" y="660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0" y="660"/>
                  </a:lnTo>
                  <a:lnTo>
                    <a:pt x="90" y="654"/>
                  </a:lnTo>
                  <a:lnTo>
                    <a:pt x="84" y="648"/>
                  </a:lnTo>
                  <a:lnTo>
                    <a:pt x="84" y="642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72" y="636"/>
                  </a:lnTo>
                  <a:lnTo>
                    <a:pt x="78" y="636"/>
                  </a:lnTo>
                  <a:lnTo>
                    <a:pt x="72" y="636"/>
                  </a:lnTo>
                  <a:lnTo>
                    <a:pt x="66" y="636"/>
                  </a:lnTo>
                  <a:lnTo>
                    <a:pt x="60" y="636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60" y="618"/>
                  </a:lnTo>
                  <a:lnTo>
                    <a:pt x="66" y="618"/>
                  </a:lnTo>
                  <a:lnTo>
                    <a:pt x="72" y="618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2" y="612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12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54" y="618"/>
                  </a:lnTo>
                  <a:lnTo>
                    <a:pt x="54" y="624"/>
                  </a:lnTo>
                  <a:lnTo>
                    <a:pt x="48" y="618"/>
                  </a:lnTo>
                  <a:lnTo>
                    <a:pt x="42" y="618"/>
                  </a:lnTo>
                  <a:lnTo>
                    <a:pt x="42" y="612"/>
                  </a:lnTo>
                  <a:lnTo>
                    <a:pt x="48" y="606"/>
                  </a:lnTo>
                  <a:lnTo>
                    <a:pt x="54" y="606"/>
                  </a:lnTo>
                  <a:lnTo>
                    <a:pt x="54" y="600"/>
                  </a:lnTo>
                  <a:lnTo>
                    <a:pt x="54" y="594"/>
                  </a:lnTo>
                  <a:lnTo>
                    <a:pt x="54" y="588"/>
                  </a:lnTo>
                  <a:lnTo>
                    <a:pt x="48" y="588"/>
                  </a:lnTo>
                  <a:lnTo>
                    <a:pt x="48" y="582"/>
                  </a:lnTo>
                  <a:lnTo>
                    <a:pt x="42" y="582"/>
                  </a:lnTo>
                  <a:lnTo>
                    <a:pt x="42" y="570"/>
                  </a:lnTo>
                  <a:lnTo>
                    <a:pt x="42" y="564"/>
                  </a:lnTo>
                  <a:lnTo>
                    <a:pt x="36" y="564"/>
                  </a:lnTo>
                  <a:close/>
                  <a:moveTo>
                    <a:pt x="498" y="420"/>
                  </a:moveTo>
                  <a:lnTo>
                    <a:pt x="504" y="426"/>
                  </a:lnTo>
                  <a:lnTo>
                    <a:pt x="510" y="432"/>
                  </a:lnTo>
                  <a:lnTo>
                    <a:pt x="516" y="432"/>
                  </a:lnTo>
                  <a:lnTo>
                    <a:pt x="516" y="438"/>
                  </a:lnTo>
                  <a:lnTo>
                    <a:pt x="510" y="438"/>
                  </a:lnTo>
                  <a:lnTo>
                    <a:pt x="504" y="438"/>
                  </a:lnTo>
                  <a:lnTo>
                    <a:pt x="504" y="432"/>
                  </a:lnTo>
                  <a:lnTo>
                    <a:pt x="498" y="432"/>
                  </a:lnTo>
                  <a:lnTo>
                    <a:pt x="498" y="426"/>
                  </a:lnTo>
                  <a:lnTo>
                    <a:pt x="498" y="4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4" name="Freeform 9">
              <a:extLst>
                <a:ext uri="{FF2B5EF4-FFF2-40B4-BE49-F238E27FC236}">
                  <a16:creationId xmlns:a16="http://schemas.microsoft.com/office/drawing/2014/main" id="{E0116D32-BD2E-45EA-B818-A3082585D5F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3055" y="2468650"/>
              <a:ext cx="800556" cy="1207710"/>
            </a:xfrm>
            <a:custGeom>
              <a:avLst/>
              <a:gdLst>
                <a:gd name="T0" fmla="*/ 24 w 1506"/>
                <a:gd name="T1" fmla="*/ 190 h 2274"/>
                <a:gd name="T2" fmla="*/ 25 w 1506"/>
                <a:gd name="T3" fmla="*/ 180 h 2274"/>
                <a:gd name="T4" fmla="*/ 21 w 1506"/>
                <a:gd name="T5" fmla="*/ 174 h 2274"/>
                <a:gd name="T6" fmla="*/ 17 w 1506"/>
                <a:gd name="T7" fmla="*/ 170 h 2274"/>
                <a:gd name="T8" fmla="*/ 12 w 1506"/>
                <a:gd name="T9" fmla="*/ 168 h 2274"/>
                <a:gd name="T10" fmla="*/ 10 w 1506"/>
                <a:gd name="T11" fmla="*/ 173 h 2274"/>
                <a:gd name="T12" fmla="*/ 7 w 1506"/>
                <a:gd name="T13" fmla="*/ 174 h 2274"/>
                <a:gd name="T14" fmla="*/ 0 w 1506"/>
                <a:gd name="T15" fmla="*/ 163 h 2274"/>
                <a:gd name="T16" fmla="*/ 16 w 1506"/>
                <a:gd name="T17" fmla="*/ 140 h 2274"/>
                <a:gd name="T18" fmla="*/ 19 w 1506"/>
                <a:gd name="T19" fmla="*/ 137 h 2274"/>
                <a:gd name="T20" fmla="*/ 24 w 1506"/>
                <a:gd name="T21" fmla="*/ 126 h 2274"/>
                <a:gd name="T22" fmla="*/ 23 w 1506"/>
                <a:gd name="T23" fmla="*/ 105 h 2274"/>
                <a:gd name="T24" fmla="*/ 14 w 1506"/>
                <a:gd name="T25" fmla="*/ 86 h 2274"/>
                <a:gd name="T26" fmla="*/ 8 w 1506"/>
                <a:gd name="T27" fmla="*/ 84 h 2274"/>
                <a:gd name="T28" fmla="*/ 5 w 1506"/>
                <a:gd name="T29" fmla="*/ 79 h 2274"/>
                <a:gd name="T30" fmla="*/ 16 w 1506"/>
                <a:gd name="T31" fmla="*/ 71 h 2274"/>
                <a:gd name="T32" fmla="*/ 28 w 1506"/>
                <a:gd name="T33" fmla="*/ 55 h 2274"/>
                <a:gd name="T34" fmla="*/ 29 w 1506"/>
                <a:gd name="T35" fmla="*/ 48 h 2274"/>
                <a:gd name="T36" fmla="*/ 35 w 1506"/>
                <a:gd name="T37" fmla="*/ 50 h 2274"/>
                <a:gd name="T38" fmla="*/ 42 w 1506"/>
                <a:gd name="T39" fmla="*/ 47 h 2274"/>
                <a:gd name="T40" fmla="*/ 63 w 1506"/>
                <a:gd name="T41" fmla="*/ 34 h 2274"/>
                <a:gd name="T42" fmla="*/ 74 w 1506"/>
                <a:gd name="T43" fmla="*/ 27 h 2274"/>
                <a:gd name="T44" fmla="*/ 81 w 1506"/>
                <a:gd name="T45" fmla="*/ 20 h 2274"/>
                <a:gd name="T46" fmla="*/ 89 w 1506"/>
                <a:gd name="T47" fmla="*/ 20 h 2274"/>
                <a:gd name="T48" fmla="*/ 98 w 1506"/>
                <a:gd name="T49" fmla="*/ 27 h 2274"/>
                <a:gd name="T50" fmla="*/ 106 w 1506"/>
                <a:gd name="T51" fmla="*/ 17 h 2274"/>
                <a:gd name="T52" fmla="*/ 111 w 1506"/>
                <a:gd name="T53" fmla="*/ 8 h 2274"/>
                <a:gd name="T54" fmla="*/ 121 w 1506"/>
                <a:gd name="T55" fmla="*/ 2 h 2274"/>
                <a:gd name="T56" fmla="*/ 129 w 1506"/>
                <a:gd name="T57" fmla="*/ 5 h 2274"/>
                <a:gd name="T58" fmla="*/ 125 w 1506"/>
                <a:gd name="T59" fmla="*/ 12 h 2274"/>
                <a:gd name="T60" fmla="*/ 122 w 1506"/>
                <a:gd name="T61" fmla="*/ 20 h 2274"/>
                <a:gd name="T62" fmla="*/ 122 w 1506"/>
                <a:gd name="T63" fmla="*/ 27 h 2274"/>
                <a:gd name="T64" fmla="*/ 120 w 1506"/>
                <a:gd name="T65" fmla="*/ 36 h 2274"/>
                <a:gd name="T66" fmla="*/ 116 w 1506"/>
                <a:gd name="T67" fmla="*/ 43 h 2274"/>
                <a:gd name="T68" fmla="*/ 109 w 1506"/>
                <a:gd name="T69" fmla="*/ 47 h 2274"/>
                <a:gd name="T70" fmla="*/ 108 w 1506"/>
                <a:gd name="T71" fmla="*/ 54 h 2274"/>
                <a:gd name="T72" fmla="*/ 106 w 1506"/>
                <a:gd name="T73" fmla="*/ 59 h 2274"/>
                <a:gd name="T74" fmla="*/ 109 w 1506"/>
                <a:gd name="T75" fmla="*/ 64 h 2274"/>
                <a:gd name="T76" fmla="*/ 106 w 1506"/>
                <a:gd name="T77" fmla="*/ 70 h 2274"/>
                <a:gd name="T78" fmla="*/ 105 w 1506"/>
                <a:gd name="T79" fmla="*/ 75 h 2274"/>
                <a:gd name="T80" fmla="*/ 101 w 1506"/>
                <a:gd name="T81" fmla="*/ 78 h 2274"/>
                <a:gd name="T82" fmla="*/ 92 w 1506"/>
                <a:gd name="T83" fmla="*/ 81 h 2274"/>
                <a:gd name="T84" fmla="*/ 85 w 1506"/>
                <a:gd name="T85" fmla="*/ 85 h 2274"/>
                <a:gd name="T86" fmla="*/ 87 w 1506"/>
                <a:gd name="T87" fmla="*/ 91 h 2274"/>
                <a:gd name="T88" fmla="*/ 86 w 1506"/>
                <a:gd name="T89" fmla="*/ 98 h 2274"/>
                <a:gd name="T90" fmla="*/ 86 w 1506"/>
                <a:gd name="T91" fmla="*/ 103 h 2274"/>
                <a:gd name="T92" fmla="*/ 82 w 1506"/>
                <a:gd name="T93" fmla="*/ 111 h 2274"/>
                <a:gd name="T94" fmla="*/ 81 w 1506"/>
                <a:gd name="T95" fmla="*/ 116 h 2274"/>
                <a:gd name="T96" fmla="*/ 78 w 1506"/>
                <a:gd name="T97" fmla="*/ 120 h 2274"/>
                <a:gd name="T98" fmla="*/ 76 w 1506"/>
                <a:gd name="T99" fmla="*/ 126 h 2274"/>
                <a:gd name="T100" fmla="*/ 68 w 1506"/>
                <a:gd name="T101" fmla="*/ 129 h 2274"/>
                <a:gd name="T102" fmla="*/ 62 w 1506"/>
                <a:gd name="T103" fmla="*/ 131 h 2274"/>
                <a:gd name="T104" fmla="*/ 58 w 1506"/>
                <a:gd name="T105" fmla="*/ 136 h 2274"/>
                <a:gd name="T106" fmla="*/ 51 w 1506"/>
                <a:gd name="T107" fmla="*/ 138 h 2274"/>
                <a:gd name="T108" fmla="*/ 51 w 1506"/>
                <a:gd name="T109" fmla="*/ 147 h 2274"/>
                <a:gd name="T110" fmla="*/ 49 w 1506"/>
                <a:gd name="T111" fmla="*/ 159 h 2274"/>
                <a:gd name="T112" fmla="*/ 48 w 1506"/>
                <a:gd name="T113" fmla="*/ 166 h 2274"/>
                <a:gd name="T114" fmla="*/ 41 w 1506"/>
                <a:gd name="T115" fmla="*/ 174 h 2274"/>
                <a:gd name="T116" fmla="*/ 39 w 1506"/>
                <a:gd name="T117" fmla="*/ 181 h 2274"/>
                <a:gd name="T118" fmla="*/ 37 w 1506"/>
                <a:gd name="T119" fmla="*/ 190 h 2274"/>
                <a:gd name="T120" fmla="*/ 29 w 1506"/>
                <a:gd name="T121" fmla="*/ 198 h 22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06"/>
                <a:gd name="T184" fmla="*/ 0 h 2274"/>
                <a:gd name="T185" fmla="*/ 1506 w 1506"/>
                <a:gd name="T186" fmla="*/ 2274 h 227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06" h="2274">
                  <a:moveTo>
                    <a:pt x="330" y="2274"/>
                  </a:moveTo>
                  <a:lnTo>
                    <a:pt x="318" y="2262"/>
                  </a:lnTo>
                  <a:lnTo>
                    <a:pt x="312" y="2238"/>
                  </a:lnTo>
                  <a:lnTo>
                    <a:pt x="312" y="2232"/>
                  </a:lnTo>
                  <a:lnTo>
                    <a:pt x="294" y="2214"/>
                  </a:lnTo>
                  <a:lnTo>
                    <a:pt x="288" y="2208"/>
                  </a:lnTo>
                  <a:lnTo>
                    <a:pt x="288" y="2202"/>
                  </a:lnTo>
                  <a:lnTo>
                    <a:pt x="276" y="2196"/>
                  </a:lnTo>
                  <a:lnTo>
                    <a:pt x="276" y="2190"/>
                  </a:lnTo>
                  <a:lnTo>
                    <a:pt x="282" y="2190"/>
                  </a:lnTo>
                  <a:lnTo>
                    <a:pt x="282" y="2184"/>
                  </a:lnTo>
                  <a:lnTo>
                    <a:pt x="276" y="2172"/>
                  </a:lnTo>
                  <a:lnTo>
                    <a:pt x="276" y="2166"/>
                  </a:lnTo>
                  <a:lnTo>
                    <a:pt x="282" y="2166"/>
                  </a:lnTo>
                  <a:lnTo>
                    <a:pt x="282" y="2154"/>
                  </a:lnTo>
                  <a:lnTo>
                    <a:pt x="276" y="2136"/>
                  </a:lnTo>
                  <a:lnTo>
                    <a:pt x="276" y="2112"/>
                  </a:lnTo>
                  <a:lnTo>
                    <a:pt x="282" y="2088"/>
                  </a:lnTo>
                  <a:lnTo>
                    <a:pt x="282" y="2082"/>
                  </a:lnTo>
                  <a:lnTo>
                    <a:pt x="282" y="2076"/>
                  </a:lnTo>
                  <a:lnTo>
                    <a:pt x="282" y="2070"/>
                  </a:lnTo>
                  <a:lnTo>
                    <a:pt x="288" y="2070"/>
                  </a:lnTo>
                  <a:lnTo>
                    <a:pt x="288" y="2064"/>
                  </a:lnTo>
                  <a:lnTo>
                    <a:pt x="282" y="2052"/>
                  </a:lnTo>
                  <a:lnTo>
                    <a:pt x="282" y="2046"/>
                  </a:lnTo>
                  <a:lnTo>
                    <a:pt x="276" y="2040"/>
                  </a:lnTo>
                  <a:lnTo>
                    <a:pt x="270" y="2034"/>
                  </a:lnTo>
                  <a:lnTo>
                    <a:pt x="264" y="2022"/>
                  </a:lnTo>
                  <a:lnTo>
                    <a:pt x="258" y="2022"/>
                  </a:lnTo>
                  <a:lnTo>
                    <a:pt x="258" y="2016"/>
                  </a:lnTo>
                  <a:lnTo>
                    <a:pt x="252" y="2016"/>
                  </a:lnTo>
                  <a:lnTo>
                    <a:pt x="246" y="2016"/>
                  </a:lnTo>
                  <a:lnTo>
                    <a:pt x="240" y="2010"/>
                  </a:lnTo>
                  <a:lnTo>
                    <a:pt x="234" y="2004"/>
                  </a:lnTo>
                  <a:lnTo>
                    <a:pt x="228" y="2004"/>
                  </a:lnTo>
                  <a:lnTo>
                    <a:pt x="228" y="1998"/>
                  </a:lnTo>
                  <a:lnTo>
                    <a:pt x="228" y="1992"/>
                  </a:lnTo>
                  <a:lnTo>
                    <a:pt x="222" y="1992"/>
                  </a:lnTo>
                  <a:lnTo>
                    <a:pt x="222" y="1986"/>
                  </a:lnTo>
                  <a:lnTo>
                    <a:pt x="216" y="1986"/>
                  </a:lnTo>
                  <a:lnTo>
                    <a:pt x="210" y="1980"/>
                  </a:lnTo>
                  <a:lnTo>
                    <a:pt x="216" y="1974"/>
                  </a:lnTo>
                  <a:lnTo>
                    <a:pt x="210" y="1968"/>
                  </a:lnTo>
                  <a:lnTo>
                    <a:pt x="198" y="1956"/>
                  </a:lnTo>
                  <a:lnTo>
                    <a:pt x="192" y="1956"/>
                  </a:lnTo>
                  <a:lnTo>
                    <a:pt x="186" y="1956"/>
                  </a:lnTo>
                  <a:lnTo>
                    <a:pt x="180" y="1944"/>
                  </a:lnTo>
                  <a:lnTo>
                    <a:pt x="180" y="1938"/>
                  </a:lnTo>
                  <a:lnTo>
                    <a:pt x="174" y="1932"/>
                  </a:lnTo>
                  <a:lnTo>
                    <a:pt x="168" y="1932"/>
                  </a:lnTo>
                  <a:lnTo>
                    <a:pt x="162" y="1932"/>
                  </a:lnTo>
                  <a:lnTo>
                    <a:pt x="150" y="1932"/>
                  </a:lnTo>
                  <a:lnTo>
                    <a:pt x="150" y="1926"/>
                  </a:lnTo>
                  <a:lnTo>
                    <a:pt x="150" y="1932"/>
                  </a:lnTo>
                  <a:lnTo>
                    <a:pt x="144" y="1932"/>
                  </a:lnTo>
                  <a:lnTo>
                    <a:pt x="138" y="1932"/>
                  </a:lnTo>
                  <a:lnTo>
                    <a:pt x="132" y="1932"/>
                  </a:lnTo>
                  <a:lnTo>
                    <a:pt x="132" y="1938"/>
                  </a:lnTo>
                  <a:lnTo>
                    <a:pt x="126" y="1944"/>
                  </a:lnTo>
                  <a:lnTo>
                    <a:pt x="126" y="1956"/>
                  </a:lnTo>
                  <a:lnTo>
                    <a:pt x="120" y="1968"/>
                  </a:lnTo>
                  <a:lnTo>
                    <a:pt x="120" y="1974"/>
                  </a:lnTo>
                  <a:lnTo>
                    <a:pt x="120" y="1980"/>
                  </a:lnTo>
                  <a:lnTo>
                    <a:pt x="126" y="1980"/>
                  </a:lnTo>
                  <a:lnTo>
                    <a:pt x="120" y="1986"/>
                  </a:lnTo>
                  <a:lnTo>
                    <a:pt x="120" y="1992"/>
                  </a:lnTo>
                  <a:lnTo>
                    <a:pt x="114" y="1992"/>
                  </a:lnTo>
                  <a:lnTo>
                    <a:pt x="114" y="1986"/>
                  </a:lnTo>
                  <a:lnTo>
                    <a:pt x="108" y="1992"/>
                  </a:lnTo>
                  <a:lnTo>
                    <a:pt x="108" y="1998"/>
                  </a:lnTo>
                  <a:lnTo>
                    <a:pt x="114" y="2004"/>
                  </a:lnTo>
                  <a:lnTo>
                    <a:pt x="108" y="2004"/>
                  </a:lnTo>
                  <a:lnTo>
                    <a:pt x="102" y="2010"/>
                  </a:lnTo>
                  <a:lnTo>
                    <a:pt x="102" y="2004"/>
                  </a:lnTo>
                  <a:lnTo>
                    <a:pt x="90" y="2004"/>
                  </a:lnTo>
                  <a:lnTo>
                    <a:pt x="84" y="2004"/>
                  </a:lnTo>
                  <a:lnTo>
                    <a:pt x="78" y="1998"/>
                  </a:lnTo>
                  <a:lnTo>
                    <a:pt x="78" y="1992"/>
                  </a:lnTo>
                  <a:lnTo>
                    <a:pt x="78" y="1986"/>
                  </a:lnTo>
                  <a:lnTo>
                    <a:pt x="72" y="1986"/>
                  </a:lnTo>
                  <a:lnTo>
                    <a:pt x="66" y="1980"/>
                  </a:lnTo>
                  <a:lnTo>
                    <a:pt x="66" y="1968"/>
                  </a:lnTo>
                  <a:lnTo>
                    <a:pt x="60" y="1956"/>
                  </a:lnTo>
                  <a:lnTo>
                    <a:pt x="60" y="1950"/>
                  </a:lnTo>
                  <a:lnTo>
                    <a:pt x="48" y="1944"/>
                  </a:lnTo>
                  <a:lnTo>
                    <a:pt x="30" y="1926"/>
                  </a:lnTo>
                  <a:lnTo>
                    <a:pt x="12" y="1890"/>
                  </a:lnTo>
                  <a:lnTo>
                    <a:pt x="6" y="1872"/>
                  </a:lnTo>
                  <a:lnTo>
                    <a:pt x="0" y="1854"/>
                  </a:lnTo>
                  <a:lnTo>
                    <a:pt x="6" y="1824"/>
                  </a:lnTo>
                  <a:lnTo>
                    <a:pt x="30" y="1794"/>
                  </a:lnTo>
                  <a:lnTo>
                    <a:pt x="66" y="1752"/>
                  </a:lnTo>
                  <a:lnTo>
                    <a:pt x="72" y="1752"/>
                  </a:lnTo>
                  <a:lnTo>
                    <a:pt x="78" y="1746"/>
                  </a:lnTo>
                  <a:lnTo>
                    <a:pt x="84" y="1746"/>
                  </a:lnTo>
                  <a:lnTo>
                    <a:pt x="90" y="1746"/>
                  </a:lnTo>
                  <a:lnTo>
                    <a:pt x="138" y="1674"/>
                  </a:lnTo>
                  <a:lnTo>
                    <a:pt x="186" y="1620"/>
                  </a:lnTo>
                  <a:lnTo>
                    <a:pt x="186" y="1614"/>
                  </a:lnTo>
                  <a:lnTo>
                    <a:pt x="186" y="1608"/>
                  </a:lnTo>
                  <a:lnTo>
                    <a:pt x="192" y="1608"/>
                  </a:lnTo>
                  <a:lnTo>
                    <a:pt x="192" y="1614"/>
                  </a:lnTo>
                  <a:lnTo>
                    <a:pt x="198" y="1614"/>
                  </a:lnTo>
                  <a:lnTo>
                    <a:pt x="198" y="1608"/>
                  </a:lnTo>
                  <a:lnTo>
                    <a:pt x="198" y="1602"/>
                  </a:lnTo>
                  <a:lnTo>
                    <a:pt x="204" y="1602"/>
                  </a:lnTo>
                  <a:lnTo>
                    <a:pt x="204" y="1596"/>
                  </a:lnTo>
                  <a:lnTo>
                    <a:pt x="210" y="1590"/>
                  </a:lnTo>
                  <a:lnTo>
                    <a:pt x="216" y="1590"/>
                  </a:lnTo>
                  <a:lnTo>
                    <a:pt x="216" y="1584"/>
                  </a:lnTo>
                  <a:lnTo>
                    <a:pt x="222" y="1584"/>
                  </a:lnTo>
                  <a:lnTo>
                    <a:pt x="228" y="1572"/>
                  </a:lnTo>
                  <a:lnTo>
                    <a:pt x="222" y="1572"/>
                  </a:lnTo>
                  <a:lnTo>
                    <a:pt x="228" y="1566"/>
                  </a:lnTo>
                  <a:lnTo>
                    <a:pt x="228" y="1560"/>
                  </a:lnTo>
                  <a:lnTo>
                    <a:pt x="252" y="1548"/>
                  </a:lnTo>
                  <a:lnTo>
                    <a:pt x="276" y="1530"/>
                  </a:lnTo>
                  <a:lnTo>
                    <a:pt x="282" y="1512"/>
                  </a:lnTo>
                  <a:lnTo>
                    <a:pt x="282" y="1506"/>
                  </a:lnTo>
                  <a:lnTo>
                    <a:pt x="282" y="1494"/>
                  </a:lnTo>
                  <a:lnTo>
                    <a:pt x="282" y="1452"/>
                  </a:lnTo>
                  <a:lnTo>
                    <a:pt x="288" y="1440"/>
                  </a:lnTo>
                  <a:lnTo>
                    <a:pt x="294" y="1440"/>
                  </a:lnTo>
                  <a:lnTo>
                    <a:pt x="294" y="1428"/>
                  </a:lnTo>
                  <a:lnTo>
                    <a:pt x="324" y="1368"/>
                  </a:lnTo>
                  <a:lnTo>
                    <a:pt x="330" y="1362"/>
                  </a:lnTo>
                  <a:lnTo>
                    <a:pt x="330" y="1356"/>
                  </a:lnTo>
                  <a:lnTo>
                    <a:pt x="360" y="1338"/>
                  </a:lnTo>
                  <a:lnTo>
                    <a:pt x="366" y="1296"/>
                  </a:lnTo>
                  <a:lnTo>
                    <a:pt x="354" y="1278"/>
                  </a:lnTo>
                  <a:lnTo>
                    <a:pt x="336" y="1230"/>
                  </a:lnTo>
                  <a:lnTo>
                    <a:pt x="270" y="1212"/>
                  </a:lnTo>
                  <a:lnTo>
                    <a:pt x="264" y="1212"/>
                  </a:lnTo>
                  <a:lnTo>
                    <a:pt x="252" y="1200"/>
                  </a:lnTo>
                  <a:lnTo>
                    <a:pt x="234" y="1188"/>
                  </a:lnTo>
                  <a:lnTo>
                    <a:pt x="222" y="1182"/>
                  </a:lnTo>
                  <a:lnTo>
                    <a:pt x="228" y="1104"/>
                  </a:lnTo>
                  <a:lnTo>
                    <a:pt x="228" y="1098"/>
                  </a:lnTo>
                  <a:lnTo>
                    <a:pt x="198" y="1038"/>
                  </a:lnTo>
                  <a:lnTo>
                    <a:pt x="192" y="1032"/>
                  </a:lnTo>
                  <a:lnTo>
                    <a:pt x="180" y="1020"/>
                  </a:lnTo>
                  <a:lnTo>
                    <a:pt x="168" y="996"/>
                  </a:lnTo>
                  <a:lnTo>
                    <a:pt x="162" y="990"/>
                  </a:lnTo>
                  <a:lnTo>
                    <a:pt x="156" y="990"/>
                  </a:lnTo>
                  <a:lnTo>
                    <a:pt x="150" y="990"/>
                  </a:lnTo>
                  <a:lnTo>
                    <a:pt x="132" y="990"/>
                  </a:lnTo>
                  <a:lnTo>
                    <a:pt x="120" y="984"/>
                  </a:lnTo>
                  <a:lnTo>
                    <a:pt x="120" y="990"/>
                  </a:lnTo>
                  <a:lnTo>
                    <a:pt x="114" y="990"/>
                  </a:lnTo>
                  <a:lnTo>
                    <a:pt x="102" y="984"/>
                  </a:lnTo>
                  <a:lnTo>
                    <a:pt x="96" y="984"/>
                  </a:lnTo>
                  <a:lnTo>
                    <a:pt x="96" y="978"/>
                  </a:lnTo>
                  <a:lnTo>
                    <a:pt x="90" y="978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84" y="960"/>
                  </a:lnTo>
                  <a:lnTo>
                    <a:pt x="84" y="954"/>
                  </a:lnTo>
                  <a:lnTo>
                    <a:pt x="78" y="948"/>
                  </a:lnTo>
                  <a:lnTo>
                    <a:pt x="72" y="948"/>
                  </a:lnTo>
                  <a:lnTo>
                    <a:pt x="72" y="942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06"/>
                  </a:lnTo>
                  <a:lnTo>
                    <a:pt x="60" y="888"/>
                  </a:lnTo>
                  <a:lnTo>
                    <a:pt x="54" y="882"/>
                  </a:lnTo>
                  <a:lnTo>
                    <a:pt x="60" y="882"/>
                  </a:lnTo>
                  <a:lnTo>
                    <a:pt x="72" y="876"/>
                  </a:lnTo>
                  <a:lnTo>
                    <a:pt x="78" y="876"/>
                  </a:lnTo>
                  <a:lnTo>
                    <a:pt x="90" y="870"/>
                  </a:lnTo>
                  <a:lnTo>
                    <a:pt x="90" y="864"/>
                  </a:lnTo>
                  <a:lnTo>
                    <a:pt x="96" y="840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80" y="822"/>
                  </a:lnTo>
                  <a:lnTo>
                    <a:pt x="204" y="798"/>
                  </a:lnTo>
                  <a:lnTo>
                    <a:pt x="222" y="786"/>
                  </a:lnTo>
                  <a:lnTo>
                    <a:pt x="252" y="780"/>
                  </a:lnTo>
                  <a:lnTo>
                    <a:pt x="264" y="762"/>
                  </a:lnTo>
                  <a:lnTo>
                    <a:pt x="276" y="762"/>
                  </a:lnTo>
                  <a:lnTo>
                    <a:pt x="288" y="744"/>
                  </a:lnTo>
                  <a:lnTo>
                    <a:pt x="306" y="738"/>
                  </a:lnTo>
                  <a:lnTo>
                    <a:pt x="318" y="732"/>
                  </a:lnTo>
                  <a:lnTo>
                    <a:pt x="324" y="648"/>
                  </a:lnTo>
                  <a:lnTo>
                    <a:pt x="324" y="636"/>
                  </a:lnTo>
                  <a:lnTo>
                    <a:pt x="324" y="630"/>
                  </a:lnTo>
                  <a:lnTo>
                    <a:pt x="330" y="624"/>
                  </a:lnTo>
                  <a:lnTo>
                    <a:pt x="324" y="618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24" y="588"/>
                  </a:lnTo>
                  <a:lnTo>
                    <a:pt x="318" y="576"/>
                  </a:lnTo>
                  <a:lnTo>
                    <a:pt x="318" y="570"/>
                  </a:lnTo>
                  <a:lnTo>
                    <a:pt x="324" y="570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30" y="558"/>
                  </a:lnTo>
                  <a:lnTo>
                    <a:pt x="336" y="558"/>
                  </a:lnTo>
                  <a:lnTo>
                    <a:pt x="342" y="558"/>
                  </a:lnTo>
                  <a:lnTo>
                    <a:pt x="348" y="558"/>
                  </a:lnTo>
                  <a:lnTo>
                    <a:pt x="354" y="564"/>
                  </a:lnTo>
                  <a:lnTo>
                    <a:pt x="360" y="564"/>
                  </a:lnTo>
                  <a:lnTo>
                    <a:pt x="366" y="570"/>
                  </a:lnTo>
                  <a:lnTo>
                    <a:pt x="366" y="576"/>
                  </a:lnTo>
                  <a:lnTo>
                    <a:pt x="372" y="570"/>
                  </a:lnTo>
                  <a:lnTo>
                    <a:pt x="378" y="570"/>
                  </a:lnTo>
                  <a:lnTo>
                    <a:pt x="390" y="570"/>
                  </a:lnTo>
                  <a:lnTo>
                    <a:pt x="402" y="570"/>
                  </a:lnTo>
                  <a:lnTo>
                    <a:pt x="408" y="570"/>
                  </a:lnTo>
                  <a:lnTo>
                    <a:pt x="414" y="564"/>
                  </a:lnTo>
                  <a:lnTo>
                    <a:pt x="420" y="564"/>
                  </a:lnTo>
                  <a:lnTo>
                    <a:pt x="420" y="570"/>
                  </a:lnTo>
                  <a:lnTo>
                    <a:pt x="426" y="570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44" y="570"/>
                  </a:lnTo>
                  <a:lnTo>
                    <a:pt x="450" y="564"/>
                  </a:lnTo>
                  <a:lnTo>
                    <a:pt x="474" y="558"/>
                  </a:lnTo>
                  <a:lnTo>
                    <a:pt x="486" y="54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40" y="474"/>
                  </a:lnTo>
                  <a:lnTo>
                    <a:pt x="558" y="456"/>
                  </a:lnTo>
                  <a:lnTo>
                    <a:pt x="582" y="450"/>
                  </a:lnTo>
                  <a:lnTo>
                    <a:pt x="594" y="414"/>
                  </a:lnTo>
                  <a:lnTo>
                    <a:pt x="612" y="390"/>
                  </a:lnTo>
                  <a:lnTo>
                    <a:pt x="636" y="390"/>
                  </a:lnTo>
                  <a:lnTo>
                    <a:pt x="666" y="390"/>
                  </a:lnTo>
                  <a:lnTo>
                    <a:pt x="696" y="390"/>
                  </a:lnTo>
                  <a:lnTo>
                    <a:pt x="726" y="390"/>
                  </a:lnTo>
                  <a:lnTo>
                    <a:pt x="762" y="378"/>
                  </a:lnTo>
                  <a:lnTo>
                    <a:pt x="780" y="366"/>
                  </a:lnTo>
                  <a:lnTo>
                    <a:pt x="780" y="342"/>
                  </a:lnTo>
                  <a:lnTo>
                    <a:pt x="786" y="342"/>
                  </a:lnTo>
                  <a:lnTo>
                    <a:pt x="786" y="336"/>
                  </a:lnTo>
                  <a:lnTo>
                    <a:pt x="786" y="330"/>
                  </a:lnTo>
                  <a:lnTo>
                    <a:pt x="786" y="324"/>
                  </a:lnTo>
                  <a:lnTo>
                    <a:pt x="816" y="318"/>
                  </a:lnTo>
                  <a:lnTo>
                    <a:pt x="834" y="312"/>
                  </a:lnTo>
                  <a:lnTo>
                    <a:pt x="840" y="318"/>
                  </a:lnTo>
                  <a:lnTo>
                    <a:pt x="852" y="318"/>
                  </a:lnTo>
                  <a:lnTo>
                    <a:pt x="858" y="306"/>
                  </a:lnTo>
                  <a:lnTo>
                    <a:pt x="864" y="288"/>
                  </a:lnTo>
                  <a:lnTo>
                    <a:pt x="870" y="282"/>
                  </a:lnTo>
                  <a:lnTo>
                    <a:pt x="876" y="276"/>
                  </a:lnTo>
                  <a:lnTo>
                    <a:pt x="882" y="264"/>
                  </a:lnTo>
                  <a:lnTo>
                    <a:pt x="882" y="258"/>
                  </a:lnTo>
                  <a:lnTo>
                    <a:pt x="888" y="252"/>
                  </a:lnTo>
                  <a:lnTo>
                    <a:pt x="894" y="240"/>
                  </a:lnTo>
                  <a:lnTo>
                    <a:pt x="906" y="228"/>
                  </a:lnTo>
                  <a:lnTo>
                    <a:pt x="912" y="228"/>
                  </a:lnTo>
                  <a:lnTo>
                    <a:pt x="936" y="228"/>
                  </a:lnTo>
                  <a:lnTo>
                    <a:pt x="942" y="222"/>
                  </a:lnTo>
                  <a:lnTo>
                    <a:pt x="948" y="216"/>
                  </a:lnTo>
                  <a:lnTo>
                    <a:pt x="954" y="216"/>
                  </a:lnTo>
                  <a:lnTo>
                    <a:pt x="960" y="216"/>
                  </a:lnTo>
                  <a:lnTo>
                    <a:pt x="966" y="216"/>
                  </a:lnTo>
                  <a:lnTo>
                    <a:pt x="978" y="216"/>
                  </a:lnTo>
                  <a:lnTo>
                    <a:pt x="990" y="222"/>
                  </a:lnTo>
                  <a:lnTo>
                    <a:pt x="996" y="222"/>
                  </a:lnTo>
                  <a:lnTo>
                    <a:pt x="1002" y="228"/>
                  </a:lnTo>
                  <a:lnTo>
                    <a:pt x="1014" y="234"/>
                  </a:lnTo>
                  <a:lnTo>
                    <a:pt x="1020" y="234"/>
                  </a:lnTo>
                  <a:lnTo>
                    <a:pt x="1032" y="240"/>
                  </a:lnTo>
                  <a:lnTo>
                    <a:pt x="1044" y="240"/>
                  </a:lnTo>
                  <a:lnTo>
                    <a:pt x="1050" y="240"/>
                  </a:lnTo>
                  <a:lnTo>
                    <a:pt x="1056" y="246"/>
                  </a:lnTo>
                  <a:lnTo>
                    <a:pt x="1068" y="264"/>
                  </a:lnTo>
                  <a:lnTo>
                    <a:pt x="1086" y="276"/>
                  </a:lnTo>
                  <a:lnTo>
                    <a:pt x="1092" y="276"/>
                  </a:lnTo>
                  <a:lnTo>
                    <a:pt x="1104" y="282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8" y="312"/>
                  </a:lnTo>
                  <a:lnTo>
                    <a:pt x="1152" y="324"/>
                  </a:lnTo>
                  <a:lnTo>
                    <a:pt x="1188" y="324"/>
                  </a:lnTo>
                  <a:lnTo>
                    <a:pt x="1206" y="318"/>
                  </a:lnTo>
                  <a:lnTo>
                    <a:pt x="1200" y="294"/>
                  </a:lnTo>
                  <a:lnTo>
                    <a:pt x="1206" y="252"/>
                  </a:lnTo>
                  <a:lnTo>
                    <a:pt x="1218" y="222"/>
                  </a:lnTo>
                  <a:lnTo>
                    <a:pt x="1212" y="222"/>
                  </a:lnTo>
                  <a:lnTo>
                    <a:pt x="1212" y="216"/>
                  </a:lnTo>
                  <a:lnTo>
                    <a:pt x="1218" y="204"/>
                  </a:lnTo>
                  <a:lnTo>
                    <a:pt x="1224" y="198"/>
                  </a:lnTo>
                  <a:lnTo>
                    <a:pt x="1224" y="192"/>
                  </a:lnTo>
                  <a:lnTo>
                    <a:pt x="1236" y="180"/>
                  </a:lnTo>
                  <a:lnTo>
                    <a:pt x="1254" y="156"/>
                  </a:lnTo>
                  <a:lnTo>
                    <a:pt x="1260" y="150"/>
                  </a:lnTo>
                  <a:lnTo>
                    <a:pt x="1260" y="144"/>
                  </a:lnTo>
                  <a:lnTo>
                    <a:pt x="1266" y="138"/>
                  </a:lnTo>
                  <a:lnTo>
                    <a:pt x="1272" y="138"/>
                  </a:lnTo>
                  <a:lnTo>
                    <a:pt x="1272" y="120"/>
                  </a:lnTo>
                  <a:lnTo>
                    <a:pt x="1278" y="114"/>
                  </a:lnTo>
                  <a:lnTo>
                    <a:pt x="1278" y="108"/>
                  </a:lnTo>
                  <a:lnTo>
                    <a:pt x="1278" y="102"/>
                  </a:lnTo>
                  <a:lnTo>
                    <a:pt x="1278" y="90"/>
                  </a:lnTo>
                  <a:lnTo>
                    <a:pt x="1278" y="84"/>
                  </a:lnTo>
                  <a:lnTo>
                    <a:pt x="1278" y="78"/>
                  </a:lnTo>
                  <a:lnTo>
                    <a:pt x="1278" y="72"/>
                  </a:lnTo>
                  <a:lnTo>
                    <a:pt x="1278" y="60"/>
                  </a:lnTo>
                  <a:lnTo>
                    <a:pt x="1284" y="48"/>
                  </a:lnTo>
                  <a:lnTo>
                    <a:pt x="1284" y="24"/>
                  </a:lnTo>
                  <a:lnTo>
                    <a:pt x="1284" y="18"/>
                  </a:lnTo>
                  <a:lnTo>
                    <a:pt x="1308" y="24"/>
                  </a:lnTo>
                  <a:lnTo>
                    <a:pt x="1332" y="30"/>
                  </a:lnTo>
                  <a:lnTo>
                    <a:pt x="1368" y="30"/>
                  </a:lnTo>
                  <a:lnTo>
                    <a:pt x="1392" y="24"/>
                  </a:lnTo>
                  <a:lnTo>
                    <a:pt x="1410" y="18"/>
                  </a:lnTo>
                  <a:lnTo>
                    <a:pt x="1416" y="6"/>
                  </a:lnTo>
                  <a:lnTo>
                    <a:pt x="1500" y="6"/>
                  </a:lnTo>
                  <a:lnTo>
                    <a:pt x="1506" y="0"/>
                  </a:lnTo>
                  <a:lnTo>
                    <a:pt x="1506" y="6"/>
                  </a:lnTo>
                  <a:lnTo>
                    <a:pt x="1506" y="18"/>
                  </a:lnTo>
                  <a:lnTo>
                    <a:pt x="1506" y="24"/>
                  </a:lnTo>
                  <a:lnTo>
                    <a:pt x="1500" y="30"/>
                  </a:lnTo>
                  <a:lnTo>
                    <a:pt x="1500" y="42"/>
                  </a:lnTo>
                  <a:lnTo>
                    <a:pt x="1494" y="54"/>
                  </a:lnTo>
                  <a:lnTo>
                    <a:pt x="1488" y="60"/>
                  </a:lnTo>
                  <a:lnTo>
                    <a:pt x="1482" y="60"/>
                  </a:lnTo>
                  <a:lnTo>
                    <a:pt x="1476" y="66"/>
                  </a:lnTo>
                  <a:lnTo>
                    <a:pt x="1476" y="72"/>
                  </a:lnTo>
                  <a:lnTo>
                    <a:pt x="1476" y="78"/>
                  </a:lnTo>
                  <a:lnTo>
                    <a:pt x="1470" y="78"/>
                  </a:lnTo>
                  <a:lnTo>
                    <a:pt x="1464" y="90"/>
                  </a:lnTo>
                  <a:lnTo>
                    <a:pt x="1458" y="96"/>
                  </a:lnTo>
                  <a:lnTo>
                    <a:pt x="1458" y="102"/>
                  </a:lnTo>
                  <a:lnTo>
                    <a:pt x="1452" y="120"/>
                  </a:lnTo>
                  <a:lnTo>
                    <a:pt x="1452" y="132"/>
                  </a:lnTo>
                  <a:lnTo>
                    <a:pt x="1446" y="144"/>
                  </a:lnTo>
                  <a:lnTo>
                    <a:pt x="1446" y="150"/>
                  </a:lnTo>
                  <a:lnTo>
                    <a:pt x="1440" y="150"/>
                  </a:lnTo>
                  <a:lnTo>
                    <a:pt x="1434" y="156"/>
                  </a:lnTo>
                  <a:lnTo>
                    <a:pt x="1428" y="168"/>
                  </a:lnTo>
                  <a:lnTo>
                    <a:pt x="1422" y="168"/>
                  </a:lnTo>
                  <a:lnTo>
                    <a:pt x="1416" y="174"/>
                  </a:lnTo>
                  <a:lnTo>
                    <a:pt x="1410" y="186"/>
                  </a:lnTo>
                  <a:lnTo>
                    <a:pt x="1410" y="204"/>
                  </a:lnTo>
                  <a:lnTo>
                    <a:pt x="1404" y="210"/>
                  </a:lnTo>
                  <a:lnTo>
                    <a:pt x="1404" y="216"/>
                  </a:lnTo>
                  <a:lnTo>
                    <a:pt x="1410" y="228"/>
                  </a:lnTo>
                  <a:lnTo>
                    <a:pt x="1410" y="234"/>
                  </a:lnTo>
                  <a:lnTo>
                    <a:pt x="1410" y="240"/>
                  </a:lnTo>
                  <a:lnTo>
                    <a:pt x="1416" y="252"/>
                  </a:lnTo>
                  <a:lnTo>
                    <a:pt x="1416" y="258"/>
                  </a:lnTo>
                  <a:lnTo>
                    <a:pt x="1422" y="264"/>
                  </a:lnTo>
                  <a:lnTo>
                    <a:pt x="1422" y="270"/>
                  </a:lnTo>
                  <a:lnTo>
                    <a:pt x="1422" y="282"/>
                  </a:lnTo>
                  <a:lnTo>
                    <a:pt x="1416" y="288"/>
                  </a:lnTo>
                  <a:lnTo>
                    <a:pt x="1410" y="294"/>
                  </a:lnTo>
                  <a:lnTo>
                    <a:pt x="1404" y="300"/>
                  </a:lnTo>
                  <a:lnTo>
                    <a:pt x="1404" y="306"/>
                  </a:lnTo>
                  <a:lnTo>
                    <a:pt x="1398" y="324"/>
                  </a:lnTo>
                  <a:lnTo>
                    <a:pt x="1404" y="330"/>
                  </a:lnTo>
                  <a:lnTo>
                    <a:pt x="1404" y="342"/>
                  </a:lnTo>
                  <a:lnTo>
                    <a:pt x="1392" y="354"/>
                  </a:lnTo>
                  <a:lnTo>
                    <a:pt x="1392" y="360"/>
                  </a:lnTo>
                  <a:lnTo>
                    <a:pt x="1392" y="372"/>
                  </a:lnTo>
                  <a:lnTo>
                    <a:pt x="1392" y="384"/>
                  </a:lnTo>
                  <a:lnTo>
                    <a:pt x="1392" y="396"/>
                  </a:lnTo>
                  <a:lnTo>
                    <a:pt x="1392" y="408"/>
                  </a:lnTo>
                  <a:lnTo>
                    <a:pt x="1386" y="414"/>
                  </a:lnTo>
                  <a:lnTo>
                    <a:pt x="1380" y="420"/>
                  </a:lnTo>
                  <a:lnTo>
                    <a:pt x="1380" y="426"/>
                  </a:lnTo>
                  <a:lnTo>
                    <a:pt x="1368" y="432"/>
                  </a:lnTo>
                  <a:lnTo>
                    <a:pt x="1362" y="444"/>
                  </a:lnTo>
                  <a:lnTo>
                    <a:pt x="1362" y="450"/>
                  </a:lnTo>
                  <a:lnTo>
                    <a:pt x="1362" y="462"/>
                  </a:lnTo>
                  <a:lnTo>
                    <a:pt x="1362" y="468"/>
                  </a:lnTo>
                  <a:lnTo>
                    <a:pt x="1362" y="474"/>
                  </a:lnTo>
                  <a:lnTo>
                    <a:pt x="1356" y="474"/>
                  </a:lnTo>
                  <a:lnTo>
                    <a:pt x="1350" y="480"/>
                  </a:lnTo>
                  <a:lnTo>
                    <a:pt x="1344" y="486"/>
                  </a:lnTo>
                  <a:lnTo>
                    <a:pt x="1338" y="498"/>
                  </a:lnTo>
                  <a:lnTo>
                    <a:pt x="1332" y="510"/>
                  </a:lnTo>
                  <a:lnTo>
                    <a:pt x="1320" y="510"/>
                  </a:lnTo>
                  <a:lnTo>
                    <a:pt x="1314" y="516"/>
                  </a:lnTo>
                  <a:lnTo>
                    <a:pt x="1302" y="522"/>
                  </a:lnTo>
                  <a:lnTo>
                    <a:pt x="1296" y="522"/>
                  </a:lnTo>
                  <a:lnTo>
                    <a:pt x="1284" y="516"/>
                  </a:lnTo>
                  <a:lnTo>
                    <a:pt x="1278" y="516"/>
                  </a:lnTo>
                  <a:lnTo>
                    <a:pt x="1272" y="522"/>
                  </a:lnTo>
                  <a:lnTo>
                    <a:pt x="1266" y="522"/>
                  </a:lnTo>
                  <a:lnTo>
                    <a:pt x="1266" y="528"/>
                  </a:lnTo>
                  <a:lnTo>
                    <a:pt x="1254" y="540"/>
                  </a:lnTo>
                  <a:lnTo>
                    <a:pt x="1248" y="546"/>
                  </a:lnTo>
                  <a:lnTo>
                    <a:pt x="1242" y="558"/>
                  </a:lnTo>
                  <a:lnTo>
                    <a:pt x="1230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30" y="594"/>
                  </a:lnTo>
                  <a:lnTo>
                    <a:pt x="1230" y="600"/>
                  </a:lnTo>
                  <a:lnTo>
                    <a:pt x="1236" y="606"/>
                  </a:lnTo>
                  <a:lnTo>
                    <a:pt x="1242" y="606"/>
                  </a:lnTo>
                  <a:lnTo>
                    <a:pt x="1242" y="612"/>
                  </a:lnTo>
                  <a:lnTo>
                    <a:pt x="1242" y="618"/>
                  </a:lnTo>
                  <a:lnTo>
                    <a:pt x="1242" y="624"/>
                  </a:lnTo>
                  <a:lnTo>
                    <a:pt x="1236" y="630"/>
                  </a:lnTo>
                  <a:lnTo>
                    <a:pt x="1230" y="642"/>
                  </a:lnTo>
                  <a:lnTo>
                    <a:pt x="1230" y="648"/>
                  </a:lnTo>
                  <a:lnTo>
                    <a:pt x="1218" y="654"/>
                  </a:lnTo>
                  <a:lnTo>
                    <a:pt x="1212" y="654"/>
                  </a:lnTo>
                  <a:lnTo>
                    <a:pt x="1212" y="660"/>
                  </a:lnTo>
                  <a:lnTo>
                    <a:pt x="1212" y="666"/>
                  </a:lnTo>
                  <a:lnTo>
                    <a:pt x="1212" y="672"/>
                  </a:lnTo>
                  <a:lnTo>
                    <a:pt x="1212" y="678"/>
                  </a:lnTo>
                  <a:lnTo>
                    <a:pt x="1218" y="684"/>
                  </a:lnTo>
                  <a:lnTo>
                    <a:pt x="1218" y="690"/>
                  </a:lnTo>
                  <a:lnTo>
                    <a:pt x="1224" y="696"/>
                  </a:lnTo>
                  <a:lnTo>
                    <a:pt x="1230" y="702"/>
                  </a:lnTo>
                  <a:lnTo>
                    <a:pt x="1236" y="696"/>
                  </a:lnTo>
                  <a:lnTo>
                    <a:pt x="1242" y="702"/>
                  </a:lnTo>
                  <a:lnTo>
                    <a:pt x="1248" y="708"/>
                  </a:lnTo>
                  <a:lnTo>
                    <a:pt x="1254" y="714"/>
                  </a:lnTo>
                  <a:lnTo>
                    <a:pt x="1254" y="720"/>
                  </a:lnTo>
                  <a:lnTo>
                    <a:pt x="1260" y="720"/>
                  </a:lnTo>
                  <a:lnTo>
                    <a:pt x="1254" y="732"/>
                  </a:lnTo>
                  <a:lnTo>
                    <a:pt x="1248" y="738"/>
                  </a:lnTo>
                  <a:lnTo>
                    <a:pt x="1242" y="744"/>
                  </a:lnTo>
                  <a:lnTo>
                    <a:pt x="1236" y="750"/>
                  </a:lnTo>
                  <a:lnTo>
                    <a:pt x="1236" y="756"/>
                  </a:lnTo>
                  <a:lnTo>
                    <a:pt x="1236" y="762"/>
                  </a:lnTo>
                  <a:lnTo>
                    <a:pt x="1236" y="768"/>
                  </a:lnTo>
                  <a:lnTo>
                    <a:pt x="1236" y="780"/>
                  </a:lnTo>
                  <a:lnTo>
                    <a:pt x="1230" y="780"/>
                  </a:lnTo>
                  <a:lnTo>
                    <a:pt x="1230" y="786"/>
                  </a:lnTo>
                  <a:lnTo>
                    <a:pt x="1230" y="792"/>
                  </a:lnTo>
                  <a:lnTo>
                    <a:pt x="1230" y="804"/>
                  </a:lnTo>
                  <a:lnTo>
                    <a:pt x="1224" y="810"/>
                  </a:lnTo>
                  <a:lnTo>
                    <a:pt x="1218" y="816"/>
                  </a:lnTo>
                  <a:lnTo>
                    <a:pt x="1224" y="822"/>
                  </a:lnTo>
                  <a:lnTo>
                    <a:pt x="1224" y="828"/>
                  </a:lnTo>
                  <a:lnTo>
                    <a:pt x="1218" y="834"/>
                  </a:lnTo>
                  <a:lnTo>
                    <a:pt x="1224" y="834"/>
                  </a:lnTo>
                  <a:lnTo>
                    <a:pt x="1224" y="840"/>
                  </a:lnTo>
                  <a:lnTo>
                    <a:pt x="1224" y="846"/>
                  </a:lnTo>
                  <a:lnTo>
                    <a:pt x="1224" y="852"/>
                  </a:lnTo>
                  <a:lnTo>
                    <a:pt x="1218" y="858"/>
                  </a:lnTo>
                  <a:lnTo>
                    <a:pt x="1218" y="870"/>
                  </a:lnTo>
                  <a:lnTo>
                    <a:pt x="1212" y="870"/>
                  </a:lnTo>
                  <a:lnTo>
                    <a:pt x="1212" y="876"/>
                  </a:lnTo>
                  <a:lnTo>
                    <a:pt x="1206" y="888"/>
                  </a:lnTo>
                  <a:lnTo>
                    <a:pt x="1200" y="882"/>
                  </a:lnTo>
                  <a:lnTo>
                    <a:pt x="1194" y="888"/>
                  </a:lnTo>
                  <a:lnTo>
                    <a:pt x="1188" y="894"/>
                  </a:lnTo>
                  <a:lnTo>
                    <a:pt x="1182" y="894"/>
                  </a:lnTo>
                  <a:lnTo>
                    <a:pt x="1182" y="900"/>
                  </a:lnTo>
                  <a:lnTo>
                    <a:pt x="1176" y="900"/>
                  </a:lnTo>
                  <a:lnTo>
                    <a:pt x="1170" y="894"/>
                  </a:lnTo>
                  <a:lnTo>
                    <a:pt x="1164" y="900"/>
                  </a:lnTo>
                  <a:lnTo>
                    <a:pt x="1158" y="900"/>
                  </a:lnTo>
                  <a:lnTo>
                    <a:pt x="1152" y="900"/>
                  </a:lnTo>
                  <a:lnTo>
                    <a:pt x="1140" y="900"/>
                  </a:lnTo>
                  <a:lnTo>
                    <a:pt x="1134" y="900"/>
                  </a:lnTo>
                  <a:lnTo>
                    <a:pt x="1128" y="906"/>
                  </a:lnTo>
                  <a:lnTo>
                    <a:pt x="1110" y="906"/>
                  </a:lnTo>
                  <a:lnTo>
                    <a:pt x="1104" y="906"/>
                  </a:lnTo>
                  <a:lnTo>
                    <a:pt x="1098" y="906"/>
                  </a:lnTo>
                  <a:lnTo>
                    <a:pt x="1092" y="912"/>
                  </a:lnTo>
                  <a:lnTo>
                    <a:pt x="1080" y="918"/>
                  </a:lnTo>
                  <a:lnTo>
                    <a:pt x="1068" y="930"/>
                  </a:lnTo>
                  <a:lnTo>
                    <a:pt x="1062" y="930"/>
                  </a:lnTo>
                  <a:lnTo>
                    <a:pt x="1056" y="930"/>
                  </a:lnTo>
                  <a:lnTo>
                    <a:pt x="1050" y="930"/>
                  </a:lnTo>
                  <a:lnTo>
                    <a:pt x="1050" y="936"/>
                  </a:lnTo>
                  <a:lnTo>
                    <a:pt x="1038" y="942"/>
                  </a:lnTo>
                  <a:lnTo>
                    <a:pt x="1032" y="948"/>
                  </a:lnTo>
                  <a:lnTo>
                    <a:pt x="1026" y="954"/>
                  </a:lnTo>
                  <a:lnTo>
                    <a:pt x="1020" y="960"/>
                  </a:lnTo>
                  <a:lnTo>
                    <a:pt x="1014" y="966"/>
                  </a:lnTo>
                  <a:lnTo>
                    <a:pt x="1002" y="966"/>
                  </a:lnTo>
                  <a:lnTo>
                    <a:pt x="990" y="978"/>
                  </a:lnTo>
                  <a:lnTo>
                    <a:pt x="984" y="978"/>
                  </a:lnTo>
                  <a:lnTo>
                    <a:pt x="978" y="984"/>
                  </a:lnTo>
                  <a:lnTo>
                    <a:pt x="972" y="984"/>
                  </a:lnTo>
                  <a:lnTo>
                    <a:pt x="978" y="990"/>
                  </a:lnTo>
                  <a:lnTo>
                    <a:pt x="972" y="996"/>
                  </a:lnTo>
                  <a:lnTo>
                    <a:pt x="978" y="1002"/>
                  </a:lnTo>
                  <a:lnTo>
                    <a:pt x="1002" y="1002"/>
                  </a:lnTo>
                  <a:lnTo>
                    <a:pt x="1002" y="1008"/>
                  </a:lnTo>
                  <a:lnTo>
                    <a:pt x="1008" y="1020"/>
                  </a:lnTo>
                  <a:lnTo>
                    <a:pt x="1002" y="1026"/>
                  </a:lnTo>
                  <a:lnTo>
                    <a:pt x="1002" y="1032"/>
                  </a:lnTo>
                  <a:lnTo>
                    <a:pt x="1002" y="1050"/>
                  </a:lnTo>
                  <a:lnTo>
                    <a:pt x="1002" y="1056"/>
                  </a:lnTo>
                  <a:lnTo>
                    <a:pt x="1008" y="1062"/>
                  </a:lnTo>
                  <a:lnTo>
                    <a:pt x="1008" y="1074"/>
                  </a:lnTo>
                  <a:lnTo>
                    <a:pt x="1008" y="1086"/>
                  </a:lnTo>
                  <a:lnTo>
                    <a:pt x="996" y="1092"/>
                  </a:lnTo>
                  <a:lnTo>
                    <a:pt x="996" y="1098"/>
                  </a:lnTo>
                  <a:lnTo>
                    <a:pt x="996" y="1104"/>
                  </a:lnTo>
                  <a:lnTo>
                    <a:pt x="990" y="1110"/>
                  </a:lnTo>
                  <a:lnTo>
                    <a:pt x="990" y="1116"/>
                  </a:lnTo>
                  <a:lnTo>
                    <a:pt x="996" y="1122"/>
                  </a:lnTo>
                  <a:lnTo>
                    <a:pt x="990" y="1128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96" y="1140"/>
                  </a:lnTo>
                  <a:lnTo>
                    <a:pt x="996" y="1146"/>
                  </a:lnTo>
                  <a:lnTo>
                    <a:pt x="996" y="1152"/>
                  </a:lnTo>
                  <a:lnTo>
                    <a:pt x="996" y="1158"/>
                  </a:lnTo>
                  <a:lnTo>
                    <a:pt x="996" y="1164"/>
                  </a:lnTo>
                  <a:lnTo>
                    <a:pt x="996" y="1170"/>
                  </a:lnTo>
                  <a:lnTo>
                    <a:pt x="996" y="1176"/>
                  </a:lnTo>
                  <a:lnTo>
                    <a:pt x="990" y="1182"/>
                  </a:lnTo>
                  <a:lnTo>
                    <a:pt x="990" y="1188"/>
                  </a:lnTo>
                  <a:lnTo>
                    <a:pt x="984" y="1200"/>
                  </a:lnTo>
                  <a:lnTo>
                    <a:pt x="990" y="1206"/>
                  </a:lnTo>
                  <a:lnTo>
                    <a:pt x="990" y="1212"/>
                  </a:lnTo>
                  <a:lnTo>
                    <a:pt x="990" y="1218"/>
                  </a:lnTo>
                  <a:lnTo>
                    <a:pt x="978" y="1230"/>
                  </a:lnTo>
                  <a:lnTo>
                    <a:pt x="972" y="1236"/>
                  </a:lnTo>
                  <a:lnTo>
                    <a:pt x="972" y="1242"/>
                  </a:lnTo>
                  <a:lnTo>
                    <a:pt x="966" y="1248"/>
                  </a:lnTo>
                  <a:lnTo>
                    <a:pt x="960" y="1260"/>
                  </a:lnTo>
                  <a:lnTo>
                    <a:pt x="954" y="1266"/>
                  </a:lnTo>
                  <a:lnTo>
                    <a:pt x="942" y="1278"/>
                  </a:lnTo>
                  <a:lnTo>
                    <a:pt x="936" y="1278"/>
                  </a:lnTo>
                  <a:lnTo>
                    <a:pt x="936" y="1284"/>
                  </a:lnTo>
                  <a:lnTo>
                    <a:pt x="936" y="1296"/>
                  </a:lnTo>
                  <a:lnTo>
                    <a:pt x="936" y="1302"/>
                  </a:lnTo>
                  <a:lnTo>
                    <a:pt x="942" y="1302"/>
                  </a:lnTo>
                  <a:lnTo>
                    <a:pt x="942" y="1308"/>
                  </a:lnTo>
                  <a:lnTo>
                    <a:pt x="936" y="1314"/>
                  </a:lnTo>
                  <a:lnTo>
                    <a:pt x="930" y="1320"/>
                  </a:lnTo>
                  <a:lnTo>
                    <a:pt x="930" y="1326"/>
                  </a:lnTo>
                  <a:lnTo>
                    <a:pt x="930" y="1332"/>
                  </a:lnTo>
                  <a:lnTo>
                    <a:pt x="936" y="1338"/>
                  </a:lnTo>
                  <a:lnTo>
                    <a:pt x="936" y="1344"/>
                  </a:lnTo>
                  <a:lnTo>
                    <a:pt x="942" y="1356"/>
                  </a:lnTo>
                  <a:lnTo>
                    <a:pt x="948" y="1368"/>
                  </a:lnTo>
                  <a:lnTo>
                    <a:pt x="942" y="1380"/>
                  </a:lnTo>
                  <a:lnTo>
                    <a:pt x="936" y="1386"/>
                  </a:lnTo>
                  <a:lnTo>
                    <a:pt x="930" y="1392"/>
                  </a:lnTo>
                  <a:lnTo>
                    <a:pt x="924" y="1392"/>
                  </a:lnTo>
                  <a:lnTo>
                    <a:pt x="918" y="1386"/>
                  </a:lnTo>
                  <a:lnTo>
                    <a:pt x="912" y="1386"/>
                  </a:lnTo>
                  <a:lnTo>
                    <a:pt x="906" y="1386"/>
                  </a:lnTo>
                  <a:lnTo>
                    <a:pt x="900" y="1386"/>
                  </a:lnTo>
                  <a:lnTo>
                    <a:pt x="900" y="1392"/>
                  </a:lnTo>
                  <a:lnTo>
                    <a:pt x="894" y="1392"/>
                  </a:lnTo>
                  <a:lnTo>
                    <a:pt x="888" y="1392"/>
                  </a:lnTo>
                  <a:lnTo>
                    <a:pt x="888" y="1398"/>
                  </a:lnTo>
                  <a:lnTo>
                    <a:pt x="882" y="1404"/>
                  </a:lnTo>
                  <a:lnTo>
                    <a:pt x="882" y="1416"/>
                  </a:lnTo>
                  <a:lnTo>
                    <a:pt x="882" y="1428"/>
                  </a:lnTo>
                  <a:lnTo>
                    <a:pt x="882" y="1434"/>
                  </a:lnTo>
                  <a:lnTo>
                    <a:pt x="870" y="1440"/>
                  </a:lnTo>
                  <a:lnTo>
                    <a:pt x="864" y="1452"/>
                  </a:lnTo>
                  <a:lnTo>
                    <a:pt x="870" y="1452"/>
                  </a:lnTo>
                  <a:lnTo>
                    <a:pt x="864" y="1458"/>
                  </a:lnTo>
                  <a:lnTo>
                    <a:pt x="858" y="1464"/>
                  </a:lnTo>
                  <a:lnTo>
                    <a:pt x="852" y="1464"/>
                  </a:lnTo>
                  <a:lnTo>
                    <a:pt x="846" y="1458"/>
                  </a:lnTo>
                  <a:lnTo>
                    <a:pt x="840" y="1458"/>
                  </a:lnTo>
                  <a:lnTo>
                    <a:pt x="828" y="1470"/>
                  </a:lnTo>
                  <a:lnTo>
                    <a:pt x="810" y="1482"/>
                  </a:lnTo>
                  <a:lnTo>
                    <a:pt x="804" y="1488"/>
                  </a:lnTo>
                  <a:lnTo>
                    <a:pt x="798" y="1488"/>
                  </a:lnTo>
                  <a:lnTo>
                    <a:pt x="792" y="1488"/>
                  </a:lnTo>
                  <a:lnTo>
                    <a:pt x="786" y="1488"/>
                  </a:lnTo>
                  <a:lnTo>
                    <a:pt x="768" y="1482"/>
                  </a:lnTo>
                  <a:lnTo>
                    <a:pt x="762" y="1476"/>
                  </a:lnTo>
                  <a:lnTo>
                    <a:pt x="744" y="1476"/>
                  </a:lnTo>
                  <a:lnTo>
                    <a:pt x="738" y="1476"/>
                  </a:lnTo>
                  <a:lnTo>
                    <a:pt x="732" y="1476"/>
                  </a:lnTo>
                  <a:lnTo>
                    <a:pt x="726" y="1482"/>
                  </a:lnTo>
                  <a:lnTo>
                    <a:pt x="726" y="1488"/>
                  </a:lnTo>
                  <a:lnTo>
                    <a:pt x="726" y="1494"/>
                  </a:lnTo>
                  <a:lnTo>
                    <a:pt x="726" y="1500"/>
                  </a:lnTo>
                  <a:lnTo>
                    <a:pt x="720" y="1500"/>
                  </a:lnTo>
                  <a:lnTo>
                    <a:pt x="720" y="1506"/>
                  </a:lnTo>
                  <a:lnTo>
                    <a:pt x="714" y="1512"/>
                  </a:lnTo>
                  <a:lnTo>
                    <a:pt x="714" y="1518"/>
                  </a:lnTo>
                  <a:lnTo>
                    <a:pt x="708" y="1518"/>
                  </a:lnTo>
                  <a:lnTo>
                    <a:pt x="708" y="1530"/>
                  </a:lnTo>
                  <a:lnTo>
                    <a:pt x="708" y="1536"/>
                  </a:lnTo>
                  <a:lnTo>
                    <a:pt x="708" y="1542"/>
                  </a:lnTo>
                  <a:lnTo>
                    <a:pt x="696" y="1554"/>
                  </a:lnTo>
                  <a:lnTo>
                    <a:pt x="690" y="1560"/>
                  </a:lnTo>
                  <a:lnTo>
                    <a:pt x="684" y="1566"/>
                  </a:lnTo>
                  <a:lnTo>
                    <a:pt x="672" y="1566"/>
                  </a:lnTo>
                  <a:lnTo>
                    <a:pt x="666" y="1566"/>
                  </a:lnTo>
                  <a:lnTo>
                    <a:pt x="660" y="1566"/>
                  </a:lnTo>
                  <a:lnTo>
                    <a:pt x="654" y="1572"/>
                  </a:lnTo>
                  <a:lnTo>
                    <a:pt x="654" y="1578"/>
                  </a:lnTo>
                  <a:lnTo>
                    <a:pt x="642" y="1578"/>
                  </a:lnTo>
                  <a:lnTo>
                    <a:pt x="630" y="1572"/>
                  </a:lnTo>
                  <a:lnTo>
                    <a:pt x="624" y="1572"/>
                  </a:lnTo>
                  <a:lnTo>
                    <a:pt x="618" y="1578"/>
                  </a:lnTo>
                  <a:lnTo>
                    <a:pt x="612" y="1584"/>
                  </a:lnTo>
                  <a:lnTo>
                    <a:pt x="606" y="1584"/>
                  </a:lnTo>
                  <a:lnTo>
                    <a:pt x="600" y="1590"/>
                  </a:lnTo>
                  <a:lnTo>
                    <a:pt x="594" y="1590"/>
                  </a:lnTo>
                  <a:lnTo>
                    <a:pt x="588" y="1590"/>
                  </a:lnTo>
                  <a:lnTo>
                    <a:pt x="582" y="1590"/>
                  </a:lnTo>
                  <a:lnTo>
                    <a:pt x="582" y="1596"/>
                  </a:lnTo>
                  <a:lnTo>
                    <a:pt x="576" y="1614"/>
                  </a:lnTo>
                  <a:lnTo>
                    <a:pt x="570" y="1632"/>
                  </a:lnTo>
                  <a:lnTo>
                    <a:pt x="570" y="1638"/>
                  </a:lnTo>
                  <a:lnTo>
                    <a:pt x="576" y="1644"/>
                  </a:lnTo>
                  <a:lnTo>
                    <a:pt x="576" y="1650"/>
                  </a:lnTo>
                  <a:lnTo>
                    <a:pt x="582" y="1662"/>
                  </a:lnTo>
                  <a:lnTo>
                    <a:pt x="582" y="1668"/>
                  </a:lnTo>
                  <a:lnTo>
                    <a:pt x="588" y="1692"/>
                  </a:lnTo>
                  <a:lnTo>
                    <a:pt x="594" y="1728"/>
                  </a:lnTo>
                  <a:lnTo>
                    <a:pt x="594" y="1752"/>
                  </a:lnTo>
                  <a:lnTo>
                    <a:pt x="594" y="1764"/>
                  </a:lnTo>
                  <a:lnTo>
                    <a:pt x="582" y="1770"/>
                  </a:lnTo>
                  <a:lnTo>
                    <a:pt x="582" y="1782"/>
                  </a:lnTo>
                  <a:lnTo>
                    <a:pt x="576" y="1788"/>
                  </a:lnTo>
                  <a:lnTo>
                    <a:pt x="570" y="1794"/>
                  </a:lnTo>
                  <a:lnTo>
                    <a:pt x="564" y="1806"/>
                  </a:lnTo>
                  <a:lnTo>
                    <a:pt x="564" y="1812"/>
                  </a:lnTo>
                  <a:lnTo>
                    <a:pt x="558" y="1812"/>
                  </a:lnTo>
                  <a:lnTo>
                    <a:pt x="564" y="1824"/>
                  </a:lnTo>
                  <a:lnTo>
                    <a:pt x="564" y="1830"/>
                  </a:lnTo>
                  <a:lnTo>
                    <a:pt x="564" y="1842"/>
                  </a:lnTo>
                  <a:lnTo>
                    <a:pt x="564" y="1848"/>
                  </a:lnTo>
                  <a:lnTo>
                    <a:pt x="564" y="1854"/>
                  </a:lnTo>
                  <a:lnTo>
                    <a:pt x="570" y="1860"/>
                  </a:lnTo>
                  <a:lnTo>
                    <a:pt x="570" y="1866"/>
                  </a:lnTo>
                  <a:lnTo>
                    <a:pt x="570" y="1872"/>
                  </a:lnTo>
                  <a:lnTo>
                    <a:pt x="570" y="1878"/>
                  </a:lnTo>
                  <a:lnTo>
                    <a:pt x="564" y="1890"/>
                  </a:lnTo>
                  <a:lnTo>
                    <a:pt x="558" y="1896"/>
                  </a:lnTo>
                  <a:lnTo>
                    <a:pt x="552" y="1908"/>
                  </a:lnTo>
                  <a:lnTo>
                    <a:pt x="546" y="1914"/>
                  </a:lnTo>
                  <a:lnTo>
                    <a:pt x="540" y="1920"/>
                  </a:lnTo>
                  <a:lnTo>
                    <a:pt x="534" y="1932"/>
                  </a:lnTo>
                  <a:lnTo>
                    <a:pt x="528" y="1944"/>
                  </a:lnTo>
                  <a:lnTo>
                    <a:pt x="516" y="1950"/>
                  </a:lnTo>
                  <a:lnTo>
                    <a:pt x="510" y="1956"/>
                  </a:lnTo>
                  <a:lnTo>
                    <a:pt x="498" y="1962"/>
                  </a:lnTo>
                  <a:lnTo>
                    <a:pt x="492" y="1974"/>
                  </a:lnTo>
                  <a:lnTo>
                    <a:pt x="486" y="1980"/>
                  </a:lnTo>
                  <a:lnTo>
                    <a:pt x="480" y="1998"/>
                  </a:lnTo>
                  <a:lnTo>
                    <a:pt x="474" y="2004"/>
                  </a:lnTo>
                  <a:lnTo>
                    <a:pt x="474" y="2010"/>
                  </a:lnTo>
                  <a:lnTo>
                    <a:pt x="474" y="2016"/>
                  </a:lnTo>
                  <a:lnTo>
                    <a:pt x="468" y="2016"/>
                  </a:lnTo>
                  <a:lnTo>
                    <a:pt x="468" y="2028"/>
                  </a:lnTo>
                  <a:lnTo>
                    <a:pt x="462" y="2034"/>
                  </a:lnTo>
                  <a:lnTo>
                    <a:pt x="456" y="2040"/>
                  </a:lnTo>
                  <a:lnTo>
                    <a:pt x="456" y="2052"/>
                  </a:lnTo>
                  <a:lnTo>
                    <a:pt x="450" y="2058"/>
                  </a:lnTo>
                  <a:lnTo>
                    <a:pt x="450" y="2070"/>
                  </a:lnTo>
                  <a:lnTo>
                    <a:pt x="450" y="2076"/>
                  </a:lnTo>
                  <a:lnTo>
                    <a:pt x="450" y="2082"/>
                  </a:lnTo>
                  <a:lnTo>
                    <a:pt x="444" y="2088"/>
                  </a:lnTo>
                  <a:lnTo>
                    <a:pt x="438" y="2094"/>
                  </a:lnTo>
                  <a:lnTo>
                    <a:pt x="444" y="2100"/>
                  </a:lnTo>
                  <a:lnTo>
                    <a:pt x="444" y="2124"/>
                  </a:lnTo>
                  <a:lnTo>
                    <a:pt x="444" y="2142"/>
                  </a:lnTo>
                  <a:lnTo>
                    <a:pt x="444" y="2160"/>
                  </a:lnTo>
                  <a:lnTo>
                    <a:pt x="450" y="2166"/>
                  </a:lnTo>
                  <a:lnTo>
                    <a:pt x="456" y="2178"/>
                  </a:lnTo>
                  <a:lnTo>
                    <a:pt x="438" y="2184"/>
                  </a:lnTo>
                  <a:lnTo>
                    <a:pt x="432" y="2184"/>
                  </a:lnTo>
                  <a:lnTo>
                    <a:pt x="426" y="2190"/>
                  </a:lnTo>
                  <a:lnTo>
                    <a:pt x="408" y="2190"/>
                  </a:lnTo>
                  <a:lnTo>
                    <a:pt x="402" y="2196"/>
                  </a:lnTo>
                  <a:lnTo>
                    <a:pt x="396" y="2196"/>
                  </a:lnTo>
                  <a:lnTo>
                    <a:pt x="384" y="2208"/>
                  </a:lnTo>
                  <a:lnTo>
                    <a:pt x="378" y="2220"/>
                  </a:lnTo>
                  <a:lnTo>
                    <a:pt x="366" y="2232"/>
                  </a:lnTo>
                  <a:lnTo>
                    <a:pt x="366" y="2238"/>
                  </a:lnTo>
                  <a:lnTo>
                    <a:pt x="360" y="2238"/>
                  </a:lnTo>
                  <a:lnTo>
                    <a:pt x="360" y="2244"/>
                  </a:lnTo>
                  <a:lnTo>
                    <a:pt x="354" y="2244"/>
                  </a:lnTo>
                  <a:lnTo>
                    <a:pt x="330" y="227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5" name="Freeform 10">
              <a:extLst>
                <a:ext uri="{FF2B5EF4-FFF2-40B4-BE49-F238E27FC236}">
                  <a16:creationId xmlns:a16="http://schemas.microsoft.com/office/drawing/2014/main" id="{3AD2FC58-3490-4B7F-A8BE-621F3CDD69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1996" y="1931890"/>
              <a:ext cx="805029" cy="1037736"/>
            </a:xfrm>
            <a:custGeom>
              <a:avLst/>
              <a:gdLst>
                <a:gd name="T0" fmla="*/ 124 w 1512"/>
                <a:gd name="T1" fmla="*/ 76 h 1956"/>
                <a:gd name="T2" fmla="*/ 120 w 1512"/>
                <a:gd name="T3" fmla="*/ 80 h 1956"/>
                <a:gd name="T4" fmla="*/ 106 w 1512"/>
                <a:gd name="T5" fmla="*/ 84 h 1956"/>
                <a:gd name="T6" fmla="*/ 105 w 1512"/>
                <a:gd name="T7" fmla="*/ 91 h 1956"/>
                <a:gd name="T8" fmla="*/ 101 w 1512"/>
                <a:gd name="T9" fmla="*/ 99 h 1956"/>
                <a:gd name="T10" fmla="*/ 105 w 1512"/>
                <a:gd name="T11" fmla="*/ 107 h 1956"/>
                <a:gd name="T12" fmla="*/ 119 w 1512"/>
                <a:gd name="T13" fmla="*/ 116 h 1956"/>
                <a:gd name="T14" fmla="*/ 121 w 1512"/>
                <a:gd name="T15" fmla="*/ 128 h 1956"/>
                <a:gd name="T16" fmla="*/ 112 w 1512"/>
                <a:gd name="T17" fmla="*/ 136 h 1956"/>
                <a:gd name="T18" fmla="*/ 119 w 1512"/>
                <a:gd name="T19" fmla="*/ 143 h 1956"/>
                <a:gd name="T20" fmla="*/ 126 w 1512"/>
                <a:gd name="T21" fmla="*/ 148 h 1956"/>
                <a:gd name="T22" fmla="*/ 126 w 1512"/>
                <a:gd name="T23" fmla="*/ 160 h 1956"/>
                <a:gd name="T24" fmla="*/ 104 w 1512"/>
                <a:gd name="T25" fmla="*/ 170 h 1956"/>
                <a:gd name="T26" fmla="*/ 99 w 1512"/>
                <a:gd name="T27" fmla="*/ 164 h 1956"/>
                <a:gd name="T28" fmla="*/ 73 w 1512"/>
                <a:gd name="T29" fmla="*/ 152 h 1956"/>
                <a:gd name="T30" fmla="*/ 56 w 1512"/>
                <a:gd name="T31" fmla="*/ 165 h 1956"/>
                <a:gd name="T32" fmla="*/ 33 w 1512"/>
                <a:gd name="T33" fmla="*/ 162 h 1956"/>
                <a:gd name="T34" fmla="*/ 25 w 1512"/>
                <a:gd name="T35" fmla="*/ 155 h 1956"/>
                <a:gd name="T36" fmla="*/ 31 w 1512"/>
                <a:gd name="T37" fmla="*/ 142 h 1956"/>
                <a:gd name="T38" fmla="*/ 24 w 1512"/>
                <a:gd name="T39" fmla="*/ 137 h 1956"/>
                <a:gd name="T40" fmla="*/ 14 w 1512"/>
                <a:gd name="T41" fmla="*/ 136 h 1956"/>
                <a:gd name="T42" fmla="*/ 11 w 1512"/>
                <a:gd name="T43" fmla="*/ 125 h 1956"/>
                <a:gd name="T44" fmla="*/ 3 w 1512"/>
                <a:gd name="T45" fmla="*/ 116 h 1956"/>
                <a:gd name="T46" fmla="*/ 2 w 1512"/>
                <a:gd name="T47" fmla="*/ 106 h 1956"/>
                <a:gd name="T48" fmla="*/ 5 w 1512"/>
                <a:gd name="T49" fmla="*/ 101 h 1956"/>
                <a:gd name="T50" fmla="*/ 2 w 1512"/>
                <a:gd name="T51" fmla="*/ 95 h 1956"/>
                <a:gd name="T52" fmla="*/ 1 w 1512"/>
                <a:gd name="T53" fmla="*/ 88 h 1956"/>
                <a:gd name="T54" fmla="*/ 4 w 1512"/>
                <a:gd name="T55" fmla="*/ 80 h 1956"/>
                <a:gd name="T56" fmla="*/ 12 w 1512"/>
                <a:gd name="T57" fmla="*/ 73 h 1956"/>
                <a:gd name="T58" fmla="*/ 16 w 1512"/>
                <a:gd name="T59" fmla="*/ 68 h 1956"/>
                <a:gd name="T60" fmla="*/ 22 w 1512"/>
                <a:gd name="T61" fmla="*/ 66 h 1956"/>
                <a:gd name="T62" fmla="*/ 32 w 1512"/>
                <a:gd name="T63" fmla="*/ 65 h 1956"/>
                <a:gd name="T64" fmla="*/ 45 w 1512"/>
                <a:gd name="T65" fmla="*/ 66 h 1956"/>
                <a:gd name="T66" fmla="*/ 50 w 1512"/>
                <a:gd name="T67" fmla="*/ 70 h 1956"/>
                <a:gd name="T68" fmla="*/ 55 w 1512"/>
                <a:gd name="T69" fmla="*/ 70 h 1956"/>
                <a:gd name="T70" fmla="*/ 63 w 1512"/>
                <a:gd name="T71" fmla="*/ 71 h 1956"/>
                <a:gd name="T72" fmla="*/ 61 w 1512"/>
                <a:gd name="T73" fmla="*/ 75 h 1956"/>
                <a:gd name="T74" fmla="*/ 66 w 1512"/>
                <a:gd name="T75" fmla="*/ 84 h 1956"/>
                <a:gd name="T76" fmla="*/ 81 w 1512"/>
                <a:gd name="T77" fmla="*/ 85 h 1956"/>
                <a:gd name="T78" fmla="*/ 83 w 1512"/>
                <a:gd name="T79" fmla="*/ 79 h 1956"/>
                <a:gd name="T80" fmla="*/ 89 w 1512"/>
                <a:gd name="T81" fmla="*/ 77 h 1956"/>
                <a:gd name="T82" fmla="*/ 89 w 1512"/>
                <a:gd name="T83" fmla="*/ 73 h 1956"/>
                <a:gd name="T84" fmla="*/ 83 w 1512"/>
                <a:gd name="T85" fmla="*/ 72 h 1956"/>
                <a:gd name="T86" fmla="*/ 77 w 1512"/>
                <a:gd name="T87" fmla="*/ 70 h 1956"/>
                <a:gd name="T88" fmla="*/ 71 w 1512"/>
                <a:gd name="T89" fmla="*/ 70 h 1956"/>
                <a:gd name="T90" fmla="*/ 59 w 1512"/>
                <a:gd name="T91" fmla="*/ 58 h 1956"/>
                <a:gd name="T92" fmla="*/ 54 w 1512"/>
                <a:gd name="T93" fmla="*/ 45 h 1956"/>
                <a:gd name="T94" fmla="*/ 49 w 1512"/>
                <a:gd name="T95" fmla="*/ 42 h 1956"/>
                <a:gd name="T96" fmla="*/ 51 w 1512"/>
                <a:gd name="T97" fmla="*/ 39 h 1956"/>
                <a:gd name="T98" fmla="*/ 55 w 1512"/>
                <a:gd name="T99" fmla="*/ 36 h 1956"/>
                <a:gd name="T100" fmla="*/ 63 w 1512"/>
                <a:gd name="T101" fmla="*/ 34 h 1956"/>
                <a:gd name="T102" fmla="*/ 68 w 1512"/>
                <a:gd name="T103" fmla="*/ 32 h 1956"/>
                <a:gd name="T104" fmla="*/ 73 w 1512"/>
                <a:gd name="T105" fmla="*/ 29 h 1956"/>
                <a:gd name="T106" fmla="*/ 78 w 1512"/>
                <a:gd name="T107" fmla="*/ 27 h 1956"/>
                <a:gd name="T108" fmla="*/ 81 w 1512"/>
                <a:gd name="T109" fmla="*/ 17 h 1956"/>
                <a:gd name="T110" fmla="*/ 84 w 1512"/>
                <a:gd name="T111" fmla="*/ 6 h 1956"/>
                <a:gd name="T112" fmla="*/ 95 w 1512"/>
                <a:gd name="T113" fmla="*/ 6 h 1956"/>
                <a:gd name="T114" fmla="*/ 99 w 1512"/>
                <a:gd name="T115" fmla="*/ 3 h 1956"/>
                <a:gd name="T116" fmla="*/ 103 w 1512"/>
                <a:gd name="T117" fmla="*/ 0 h 1956"/>
                <a:gd name="T118" fmla="*/ 110 w 1512"/>
                <a:gd name="T119" fmla="*/ 4 h 1956"/>
                <a:gd name="T120" fmla="*/ 114 w 1512"/>
                <a:gd name="T121" fmla="*/ 33 h 1956"/>
                <a:gd name="T122" fmla="*/ 117 w 1512"/>
                <a:gd name="T123" fmla="*/ 41 h 1956"/>
                <a:gd name="T124" fmla="*/ 119 w 1512"/>
                <a:gd name="T125" fmla="*/ 62 h 195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12"/>
                <a:gd name="T190" fmla="*/ 0 h 1956"/>
                <a:gd name="T191" fmla="*/ 1512 w 1512"/>
                <a:gd name="T192" fmla="*/ 1956 h 195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12" h="1956">
                  <a:moveTo>
                    <a:pt x="1512" y="780"/>
                  </a:moveTo>
                  <a:lnTo>
                    <a:pt x="1482" y="786"/>
                  </a:lnTo>
                  <a:lnTo>
                    <a:pt x="1476" y="792"/>
                  </a:lnTo>
                  <a:lnTo>
                    <a:pt x="1476" y="798"/>
                  </a:lnTo>
                  <a:lnTo>
                    <a:pt x="1476" y="804"/>
                  </a:lnTo>
                  <a:lnTo>
                    <a:pt x="1476" y="816"/>
                  </a:lnTo>
                  <a:lnTo>
                    <a:pt x="1470" y="834"/>
                  </a:lnTo>
                  <a:lnTo>
                    <a:pt x="1464" y="840"/>
                  </a:lnTo>
                  <a:lnTo>
                    <a:pt x="1452" y="852"/>
                  </a:lnTo>
                  <a:lnTo>
                    <a:pt x="1440" y="864"/>
                  </a:lnTo>
                  <a:lnTo>
                    <a:pt x="1434" y="864"/>
                  </a:lnTo>
                  <a:lnTo>
                    <a:pt x="1434" y="870"/>
                  </a:lnTo>
                  <a:lnTo>
                    <a:pt x="1422" y="876"/>
                  </a:lnTo>
                  <a:lnTo>
                    <a:pt x="1410" y="894"/>
                  </a:lnTo>
                  <a:lnTo>
                    <a:pt x="1404" y="894"/>
                  </a:lnTo>
                  <a:lnTo>
                    <a:pt x="1404" y="900"/>
                  </a:lnTo>
                  <a:lnTo>
                    <a:pt x="1404" y="906"/>
                  </a:lnTo>
                  <a:lnTo>
                    <a:pt x="1410" y="918"/>
                  </a:lnTo>
                  <a:lnTo>
                    <a:pt x="1404" y="918"/>
                  </a:lnTo>
                  <a:lnTo>
                    <a:pt x="1392" y="924"/>
                  </a:lnTo>
                  <a:lnTo>
                    <a:pt x="1386" y="924"/>
                  </a:lnTo>
                  <a:lnTo>
                    <a:pt x="1380" y="924"/>
                  </a:lnTo>
                  <a:lnTo>
                    <a:pt x="1380" y="930"/>
                  </a:lnTo>
                  <a:lnTo>
                    <a:pt x="1374" y="930"/>
                  </a:lnTo>
                  <a:lnTo>
                    <a:pt x="1374" y="924"/>
                  </a:lnTo>
                  <a:lnTo>
                    <a:pt x="1374" y="918"/>
                  </a:lnTo>
                  <a:lnTo>
                    <a:pt x="1368" y="912"/>
                  </a:lnTo>
                  <a:lnTo>
                    <a:pt x="1368" y="906"/>
                  </a:lnTo>
                  <a:lnTo>
                    <a:pt x="1368" y="900"/>
                  </a:lnTo>
                  <a:lnTo>
                    <a:pt x="1368" y="894"/>
                  </a:lnTo>
                  <a:lnTo>
                    <a:pt x="1362" y="894"/>
                  </a:lnTo>
                  <a:lnTo>
                    <a:pt x="1326" y="894"/>
                  </a:lnTo>
                  <a:lnTo>
                    <a:pt x="1302" y="906"/>
                  </a:lnTo>
                  <a:lnTo>
                    <a:pt x="1284" y="918"/>
                  </a:lnTo>
                  <a:lnTo>
                    <a:pt x="1284" y="924"/>
                  </a:lnTo>
                  <a:lnTo>
                    <a:pt x="1278" y="930"/>
                  </a:lnTo>
                  <a:lnTo>
                    <a:pt x="1266" y="930"/>
                  </a:lnTo>
                  <a:lnTo>
                    <a:pt x="1236" y="954"/>
                  </a:lnTo>
                  <a:lnTo>
                    <a:pt x="1212" y="972"/>
                  </a:lnTo>
                  <a:lnTo>
                    <a:pt x="1218" y="996"/>
                  </a:lnTo>
                  <a:lnTo>
                    <a:pt x="1224" y="1008"/>
                  </a:lnTo>
                  <a:lnTo>
                    <a:pt x="1236" y="1014"/>
                  </a:lnTo>
                  <a:lnTo>
                    <a:pt x="1242" y="1026"/>
                  </a:lnTo>
                  <a:lnTo>
                    <a:pt x="1248" y="1038"/>
                  </a:lnTo>
                  <a:lnTo>
                    <a:pt x="1260" y="1050"/>
                  </a:lnTo>
                  <a:lnTo>
                    <a:pt x="1260" y="1056"/>
                  </a:lnTo>
                  <a:lnTo>
                    <a:pt x="1260" y="1074"/>
                  </a:lnTo>
                  <a:lnTo>
                    <a:pt x="1254" y="1074"/>
                  </a:lnTo>
                  <a:lnTo>
                    <a:pt x="1236" y="1056"/>
                  </a:lnTo>
                  <a:lnTo>
                    <a:pt x="1224" y="1050"/>
                  </a:lnTo>
                  <a:lnTo>
                    <a:pt x="1212" y="1050"/>
                  </a:lnTo>
                  <a:lnTo>
                    <a:pt x="1206" y="1050"/>
                  </a:lnTo>
                  <a:lnTo>
                    <a:pt x="1200" y="1056"/>
                  </a:lnTo>
                  <a:lnTo>
                    <a:pt x="1194" y="1062"/>
                  </a:lnTo>
                  <a:lnTo>
                    <a:pt x="1188" y="1068"/>
                  </a:lnTo>
                  <a:lnTo>
                    <a:pt x="1188" y="1074"/>
                  </a:lnTo>
                  <a:lnTo>
                    <a:pt x="1176" y="1086"/>
                  </a:lnTo>
                  <a:lnTo>
                    <a:pt x="1170" y="1086"/>
                  </a:lnTo>
                  <a:lnTo>
                    <a:pt x="1170" y="1092"/>
                  </a:lnTo>
                  <a:lnTo>
                    <a:pt x="1164" y="1098"/>
                  </a:lnTo>
                  <a:lnTo>
                    <a:pt x="1158" y="1110"/>
                  </a:lnTo>
                  <a:lnTo>
                    <a:pt x="1152" y="1116"/>
                  </a:lnTo>
                  <a:lnTo>
                    <a:pt x="1152" y="1122"/>
                  </a:lnTo>
                  <a:lnTo>
                    <a:pt x="1146" y="1128"/>
                  </a:lnTo>
                  <a:lnTo>
                    <a:pt x="1152" y="1140"/>
                  </a:lnTo>
                  <a:lnTo>
                    <a:pt x="1158" y="1140"/>
                  </a:lnTo>
                  <a:lnTo>
                    <a:pt x="1164" y="1146"/>
                  </a:lnTo>
                  <a:lnTo>
                    <a:pt x="1164" y="1152"/>
                  </a:lnTo>
                  <a:lnTo>
                    <a:pt x="1170" y="1164"/>
                  </a:lnTo>
                  <a:lnTo>
                    <a:pt x="1164" y="1176"/>
                  </a:lnTo>
                  <a:lnTo>
                    <a:pt x="1170" y="1182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82" y="1218"/>
                  </a:lnTo>
                  <a:lnTo>
                    <a:pt x="1188" y="1218"/>
                  </a:lnTo>
                  <a:lnTo>
                    <a:pt x="1194" y="1218"/>
                  </a:lnTo>
                  <a:lnTo>
                    <a:pt x="1194" y="1224"/>
                  </a:lnTo>
                  <a:lnTo>
                    <a:pt x="1200" y="1230"/>
                  </a:lnTo>
                  <a:lnTo>
                    <a:pt x="1200" y="1248"/>
                  </a:lnTo>
                  <a:lnTo>
                    <a:pt x="1212" y="1266"/>
                  </a:lnTo>
                  <a:lnTo>
                    <a:pt x="1218" y="1278"/>
                  </a:lnTo>
                  <a:lnTo>
                    <a:pt x="1224" y="1284"/>
                  </a:lnTo>
                  <a:lnTo>
                    <a:pt x="1236" y="1296"/>
                  </a:lnTo>
                  <a:lnTo>
                    <a:pt x="1242" y="1302"/>
                  </a:lnTo>
                  <a:lnTo>
                    <a:pt x="1242" y="1308"/>
                  </a:lnTo>
                  <a:lnTo>
                    <a:pt x="1272" y="1308"/>
                  </a:lnTo>
                  <a:lnTo>
                    <a:pt x="1296" y="1314"/>
                  </a:lnTo>
                  <a:lnTo>
                    <a:pt x="1320" y="1320"/>
                  </a:lnTo>
                  <a:lnTo>
                    <a:pt x="1338" y="1320"/>
                  </a:lnTo>
                  <a:lnTo>
                    <a:pt x="1356" y="1332"/>
                  </a:lnTo>
                  <a:lnTo>
                    <a:pt x="1368" y="1344"/>
                  </a:lnTo>
                  <a:lnTo>
                    <a:pt x="1374" y="1362"/>
                  </a:lnTo>
                  <a:lnTo>
                    <a:pt x="1368" y="1362"/>
                  </a:lnTo>
                  <a:lnTo>
                    <a:pt x="1368" y="1398"/>
                  </a:lnTo>
                  <a:lnTo>
                    <a:pt x="1368" y="1410"/>
                  </a:lnTo>
                  <a:lnTo>
                    <a:pt x="1368" y="1428"/>
                  </a:lnTo>
                  <a:lnTo>
                    <a:pt x="1368" y="1434"/>
                  </a:lnTo>
                  <a:lnTo>
                    <a:pt x="1368" y="1440"/>
                  </a:lnTo>
                  <a:lnTo>
                    <a:pt x="1374" y="1446"/>
                  </a:lnTo>
                  <a:lnTo>
                    <a:pt x="1374" y="1452"/>
                  </a:lnTo>
                  <a:lnTo>
                    <a:pt x="1380" y="1458"/>
                  </a:lnTo>
                  <a:lnTo>
                    <a:pt x="1386" y="1464"/>
                  </a:lnTo>
                  <a:lnTo>
                    <a:pt x="1386" y="1470"/>
                  </a:lnTo>
                  <a:lnTo>
                    <a:pt x="1380" y="1476"/>
                  </a:lnTo>
                  <a:lnTo>
                    <a:pt x="1374" y="1482"/>
                  </a:lnTo>
                  <a:lnTo>
                    <a:pt x="1362" y="1500"/>
                  </a:lnTo>
                  <a:lnTo>
                    <a:pt x="1362" y="1506"/>
                  </a:lnTo>
                  <a:lnTo>
                    <a:pt x="1362" y="1512"/>
                  </a:lnTo>
                  <a:lnTo>
                    <a:pt x="1362" y="1518"/>
                  </a:lnTo>
                  <a:lnTo>
                    <a:pt x="1362" y="1524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38" y="1548"/>
                  </a:lnTo>
                  <a:lnTo>
                    <a:pt x="1296" y="1548"/>
                  </a:lnTo>
                  <a:lnTo>
                    <a:pt x="1290" y="1554"/>
                  </a:lnTo>
                  <a:lnTo>
                    <a:pt x="1284" y="1560"/>
                  </a:lnTo>
                  <a:lnTo>
                    <a:pt x="1284" y="1566"/>
                  </a:lnTo>
                  <a:lnTo>
                    <a:pt x="1290" y="1578"/>
                  </a:lnTo>
                  <a:lnTo>
                    <a:pt x="1296" y="1590"/>
                  </a:lnTo>
                  <a:lnTo>
                    <a:pt x="1302" y="1590"/>
                  </a:lnTo>
                  <a:lnTo>
                    <a:pt x="1308" y="1596"/>
                  </a:lnTo>
                  <a:lnTo>
                    <a:pt x="1320" y="1602"/>
                  </a:lnTo>
                  <a:lnTo>
                    <a:pt x="1326" y="1602"/>
                  </a:lnTo>
                  <a:lnTo>
                    <a:pt x="1326" y="1608"/>
                  </a:lnTo>
                  <a:lnTo>
                    <a:pt x="1332" y="1614"/>
                  </a:lnTo>
                  <a:lnTo>
                    <a:pt x="1344" y="1620"/>
                  </a:lnTo>
                  <a:lnTo>
                    <a:pt x="1356" y="1626"/>
                  </a:lnTo>
                  <a:lnTo>
                    <a:pt x="1356" y="1632"/>
                  </a:lnTo>
                  <a:lnTo>
                    <a:pt x="1356" y="1638"/>
                  </a:lnTo>
                  <a:lnTo>
                    <a:pt x="1362" y="1644"/>
                  </a:lnTo>
                  <a:lnTo>
                    <a:pt x="1368" y="1644"/>
                  </a:lnTo>
                  <a:lnTo>
                    <a:pt x="1380" y="1650"/>
                  </a:lnTo>
                  <a:lnTo>
                    <a:pt x="1386" y="1650"/>
                  </a:lnTo>
                  <a:lnTo>
                    <a:pt x="1386" y="1656"/>
                  </a:lnTo>
                  <a:lnTo>
                    <a:pt x="1392" y="1656"/>
                  </a:lnTo>
                  <a:lnTo>
                    <a:pt x="1398" y="1662"/>
                  </a:lnTo>
                  <a:lnTo>
                    <a:pt x="1410" y="1674"/>
                  </a:lnTo>
                  <a:lnTo>
                    <a:pt x="1428" y="1680"/>
                  </a:lnTo>
                  <a:lnTo>
                    <a:pt x="1428" y="1686"/>
                  </a:lnTo>
                  <a:lnTo>
                    <a:pt x="1428" y="1698"/>
                  </a:lnTo>
                  <a:lnTo>
                    <a:pt x="1434" y="1704"/>
                  </a:lnTo>
                  <a:lnTo>
                    <a:pt x="1434" y="1710"/>
                  </a:lnTo>
                  <a:lnTo>
                    <a:pt x="1440" y="1710"/>
                  </a:lnTo>
                  <a:lnTo>
                    <a:pt x="1446" y="1710"/>
                  </a:lnTo>
                  <a:lnTo>
                    <a:pt x="1446" y="1716"/>
                  </a:lnTo>
                  <a:lnTo>
                    <a:pt x="1440" y="1722"/>
                  </a:lnTo>
                  <a:lnTo>
                    <a:pt x="1440" y="1728"/>
                  </a:lnTo>
                  <a:lnTo>
                    <a:pt x="1440" y="1734"/>
                  </a:lnTo>
                  <a:lnTo>
                    <a:pt x="1440" y="1740"/>
                  </a:lnTo>
                  <a:lnTo>
                    <a:pt x="1440" y="1746"/>
                  </a:lnTo>
                  <a:lnTo>
                    <a:pt x="1440" y="1788"/>
                  </a:lnTo>
                  <a:lnTo>
                    <a:pt x="1440" y="1800"/>
                  </a:lnTo>
                  <a:lnTo>
                    <a:pt x="1440" y="1806"/>
                  </a:lnTo>
                  <a:lnTo>
                    <a:pt x="1440" y="1836"/>
                  </a:lnTo>
                  <a:lnTo>
                    <a:pt x="1440" y="1848"/>
                  </a:lnTo>
                  <a:lnTo>
                    <a:pt x="1446" y="1848"/>
                  </a:lnTo>
                  <a:lnTo>
                    <a:pt x="1446" y="1854"/>
                  </a:lnTo>
                  <a:lnTo>
                    <a:pt x="1452" y="1848"/>
                  </a:lnTo>
                  <a:lnTo>
                    <a:pt x="1458" y="1854"/>
                  </a:lnTo>
                  <a:lnTo>
                    <a:pt x="1452" y="1860"/>
                  </a:lnTo>
                  <a:lnTo>
                    <a:pt x="1452" y="1866"/>
                  </a:lnTo>
                  <a:lnTo>
                    <a:pt x="1458" y="1872"/>
                  </a:lnTo>
                  <a:lnTo>
                    <a:pt x="1464" y="1884"/>
                  </a:lnTo>
                  <a:lnTo>
                    <a:pt x="1428" y="1878"/>
                  </a:lnTo>
                  <a:lnTo>
                    <a:pt x="1356" y="1890"/>
                  </a:lnTo>
                  <a:lnTo>
                    <a:pt x="1296" y="1926"/>
                  </a:lnTo>
                  <a:lnTo>
                    <a:pt x="1266" y="1944"/>
                  </a:lnTo>
                  <a:lnTo>
                    <a:pt x="1224" y="1944"/>
                  </a:lnTo>
                  <a:lnTo>
                    <a:pt x="1188" y="1956"/>
                  </a:lnTo>
                  <a:lnTo>
                    <a:pt x="1188" y="1950"/>
                  </a:lnTo>
                  <a:lnTo>
                    <a:pt x="1176" y="1944"/>
                  </a:lnTo>
                  <a:lnTo>
                    <a:pt x="1176" y="1938"/>
                  </a:lnTo>
                  <a:lnTo>
                    <a:pt x="1170" y="1938"/>
                  </a:lnTo>
                  <a:lnTo>
                    <a:pt x="1164" y="1932"/>
                  </a:lnTo>
                  <a:lnTo>
                    <a:pt x="1158" y="1926"/>
                  </a:lnTo>
                  <a:lnTo>
                    <a:pt x="1158" y="1920"/>
                  </a:lnTo>
                  <a:lnTo>
                    <a:pt x="1152" y="1920"/>
                  </a:lnTo>
                  <a:lnTo>
                    <a:pt x="1146" y="1914"/>
                  </a:lnTo>
                  <a:lnTo>
                    <a:pt x="1146" y="1908"/>
                  </a:lnTo>
                  <a:lnTo>
                    <a:pt x="1140" y="1908"/>
                  </a:lnTo>
                  <a:lnTo>
                    <a:pt x="1134" y="1902"/>
                  </a:lnTo>
                  <a:lnTo>
                    <a:pt x="1134" y="1896"/>
                  </a:lnTo>
                  <a:lnTo>
                    <a:pt x="1116" y="1896"/>
                  </a:lnTo>
                  <a:lnTo>
                    <a:pt x="1104" y="1884"/>
                  </a:lnTo>
                  <a:lnTo>
                    <a:pt x="1092" y="1860"/>
                  </a:lnTo>
                  <a:lnTo>
                    <a:pt x="1068" y="1854"/>
                  </a:lnTo>
                  <a:lnTo>
                    <a:pt x="1032" y="1842"/>
                  </a:lnTo>
                  <a:lnTo>
                    <a:pt x="1008" y="1836"/>
                  </a:lnTo>
                  <a:lnTo>
                    <a:pt x="978" y="1824"/>
                  </a:lnTo>
                  <a:lnTo>
                    <a:pt x="942" y="1818"/>
                  </a:lnTo>
                  <a:lnTo>
                    <a:pt x="924" y="1806"/>
                  </a:lnTo>
                  <a:lnTo>
                    <a:pt x="906" y="1788"/>
                  </a:lnTo>
                  <a:lnTo>
                    <a:pt x="894" y="1776"/>
                  </a:lnTo>
                  <a:lnTo>
                    <a:pt x="864" y="1758"/>
                  </a:lnTo>
                  <a:lnTo>
                    <a:pt x="834" y="1752"/>
                  </a:lnTo>
                  <a:lnTo>
                    <a:pt x="798" y="1746"/>
                  </a:lnTo>
                  <a:lnTo>
                    <a:pt x="792" y="1806"/>
                  </a:lnTo>
                  <a:lnTo>
                    <a:pt x="798" y="1812"/>
                  </a:lnTo>
                  <a:lnTo>
                    <a:pt x="810" y="1830"/>
                  </a:lnTo>
                  <a:lnTo>
                    <a:pt x="792" y="1842"/>
                  </a:lnTo>
                  <a:lnTo>
                    <a:pt x="768" y="1842"/>
                  </a:lnTo>
                  <a:lnTo>
                    <a:pt x="708" y="1848"/>
                  </a:lnTo>
                  <a:lnTo>
                    <a:pt x="690" y="1860"/>
                  </a:lnTo>
                  <a:lnTo>
                    <a:pt x="690" y="1866"/>
                  </a:lnTo>
                  <a:lnTo>
                    <a:pt x="678" y="1878"/>
                  </a:lnTo>
                  <a:lnTo>
                    <a:pt x="660" y="1884"/>
                  </a:lnTo>
                  <a:lnTo>
                    <a:pt x="660" y="1902"/>
                  </a:lnTo>
                  <a:lnTo>
                    <a:pt x="642" y="1902"/>
                  </a:lnTo>
                  <a:lnTo>
                    <a:pt x="582" y="1914"/>
                  </a:lnTo>
                  <a:lnTo>
                    <a:pt x="534" y="1908"/>
                  </a:lnTo>
                  <a:lnTo>
                    <a:pt x="510" y="1908"/>
                  </a:lnTo>
                  <a:lnTo>
                    <a:pt x="510" y="1896"/>
                  </a:lnTo>
                  <a:lnTo>
                    <a:pt x="492" y="1896"/>
                  </a:lnTo>
                  <a:lnTo>
                    <a:pt x="486" y="1902"/>
                  </a:lnTo>
                  <a:lnTo>
                    <a:pt x="474" y="1908"/>
                  </a:lnTo>
                  <a:lnTo>
                    <a:pt x="450" y="1908"/>
                  </a:lnTo>
                  <a:lnTo>
                    <a:pt x="432" y="1902"/>
                  </a:lnTo>
                  <a:lnTo>
                    <a:pt x="426" y="1896"/>
                  </a:lnTo>
                  <a:lnTo>
                    <a:pt x="402" y="1884"/>
                  </a:lnTo>
                  <a:lnTo>
                    <a:pt x="390" y="1872"/>
                  </a:lnTo>
                  <a:lnTo>
                    <a:pt x="384" y="1872"/>
                  </a:lnTo>
                  <a:lnTo>
                    <a:pt x="378" y="1872"/>
                  </a:lnTo>
                  <a:lnTo>
                    <a:pt x="378" y="1866"/>
                  </a:lnTo>
                  <a:lnTo>
                    <a:pt x="372" y="1860"/>
                  </a:lnTo>
                  <a:lnTo>
                    <a:pt x="372" y="1854"/>
                  </a:lnTo>
                  <a:lnTo>
                    <a:pt x="366" y="1842"/>
                  </a:lnTo>
                  <a:lnTo>
                    <a:pt x="366" y="1836"/>
                  </a:lnTo>
                  <a:lnTo>
                    <a:pt x="348" y="1830"/>
                  </a:lnTo>
                  <a:lnTo>
                    <a:pt x="348" y="1806"/>
                  </a:lnTo>
                  <a:lnTo>
                    <a:pt x="348" y="1800"/>
                  </a:lnTo>
                  <a:lnTo>
                    <a:pt x="348" y="1782"/>
                  </a:lnTo>
                  <a:lnTo>
                    <a:pt x="336" y="1788"/>
                  </a:lnTo>
                  <a:lnTo>
                    <a:pt x="312" y="1794"/>
                  </a:lnTo>
                  <a:lnTo>
                    <a:pt x="288" y="1788"/>
                  </a:lnTo>
                  <a:lnTo>
                    <a:pt x="264" y="1758"/>
                  </a:lnTo>
                  <a:lnTo>
                    <a:pt x="270" y="1758"/>
                  </a:lnTo>
                  <a:lnTo>
                    <a:pt x="270" y="1752"/>
                  </a:lnTo>
                  <a:lnTo>
                    <a:pt x="276" y="1752"/>
                  </a:lnTo>
                  <a:lnTo>
                    <a:pt x="282" y="1746"/>
                  </a:lnTo>
                  <a:lnTo>
                    <a:pt x="300" y="1746"/>
                  </a:lnTo>
                  <a:lnTo>
                    <a:pt x="312" y="1746"/>
                  </a:lnTo>
                  <a:lnTo>
                    <a:pt x="336" y="1710"/>
                  </a:lnTo>
                  <a:lnTo>
                    <a:pt x="342" y="1692"/>
                  </a:lnTo>
                  <a:lnTo>
                    <a:pt x="348" y="1680"/>
                  </a:lnTo>
                  <a:lnTo>
                    <a:pt x="342" y="1650"/>
                  </a:lnTo>
                  <a:lnTo>
                    <a:pt x="354" y="1644"/>
                  </a:lnTo>
                  <a:lnTo>
                    <a:pt x="354" y="1638"/>
                  </a:lnTo>
                  <a:lnTo>
                    <a:pt x="360" y="1632"/>
                  </a:lnTo>
                  <a:lnTo>
                    <a:pt x="354" y="1626"/>
                  </a:lnTo>
                  <a:lnTo>
                    <a:pt x="348" y="1626"/>
                  </a:lnTo>
                  <a:lnTo>
                    <a:pt x="348" y="1620"/>
                  </a:lnTo>
                  <a:lnTo>
                    <a:pt x="342" y="1620"/>
                  </a:lnTo>
                  <a:lnTo>
                    <a:pt x="348" y="1614"/>
                  </a:lnTo>
                  <a:lnTo>
                    <a:pt x="324" y="1566"/>
                  </a:lnTo>
                  <a:lnTo>
                    <a:pt x="318" y="1566"/>
                  </a:lnTo>
                  <a:lnTo>
                    <a:pt x="306" y="1572"/>
                  </a:lnTo>
                  <a:lnTo>
                    <a:pt x="300" y="1572"/>
                  </a:lnTo>
                  <a:lnTo>
                    <a:pt x="294" y="1578"/>
                  </a:lnTo>
                  <a:lnTo>
                    <a:pt x="288" y="1584"/>
                  </a:lnTo>
                  <a:lnTo>
                    <a:pt x="282" y="1584"/>
                  </a:lnTo>
                  <a:lnTo>
                    <a:pt x="282" y="1578"/>
                  </a:lnTo>
                  <a:lnTo>
                    <a:pt x="276" y="1578"/>
                  </a:lnTo>
                  <a:lnTo>
                    <a:pt x="270" y="1578"/>
                  </a:lnTo>
                  <a:lnTo>
                    <a:pt x="264" y="1578"/>
                  </a:lnTo>
                  <a:lnTo>
                    <a:pt x="258" y="1578"/>
                  </a:lnTo>
                  <a:lnTo>
                    <a:pt x="252" y="1578"/>
                  </a:lnTo>
                  <a:lnTo>
                    <a:pt x="252" y="1584"/>
                  </a:lnTo>
                  <a:lnTo>
                    <a:pt x="246" y="1584"/>
                  </a:lnTo>
                  <a:lnTo>
                    <a:pt x="210" y="1584"/>
                  </a:lnTo>
                  <a:lnTo>
                    <a:pt x="204" y="1584"/>
                  </a:lnTo>
                  <a:lnTo>
                    <a:pt x="192" y="1584"/>
                  </a:lnTo>
                  <a:lnTo>
                    <a:pt x="168" y="1596"/>
                  </a:lnTo>
                  <a:lnTo>
                    <a:pt x="156" y="1572"/>
                  </a:lnTo>
                  <a:lnTo>
                    <a:pt x="156" y="1566"/>
                  </a:lnTo>
                  <a:lnTo>
                    <a:pt x="156" y="1560"/>
                  </a:lnTo>
                  <a:lnTo>
                    <a:pt x="162" y="1548"/>
                  </a:lnTo>
                  <a:lnTo>
                    <a:pt x="162" y="1542"/>
                  </a:lnTo>
                  <a:lnTo>
                    <a:pt x="162" y="1536"/>
                  </a:lnTo>
                  <a:lnTo>
                    <a:pt x="168" y="1530"/>
                  </a:lnTo>
                  <a:lnTo>
                    <a:pt x="168" y="1524"/>
                  </a:lnTo>
                  <a:lnTo>
                    <a:pt x="168" y="1518"/>
                  </a:lnTo>
                  <a:lnTo>
                    <a:pt x="174" y="1518"/>
                  </a:lnTo>
                  <a:lnTo>
                    <a:pt x="174" y="1506"/>
                  </a:lnTo>
                  <a:lnTo>
                    <a:pt x="156" y="1470"/>
                  </a:lnTo>
                  <a:lnTo>
                    <a:pt x="138" y="1464"/>
                  </a:lnTo>
                  <a:lnTo>
                    <a:pt x="126" y="1446"/>
                  </a:lnTo>
                  <a:lnTo>
                    <a:pt x="126" y="1440"/>
                  </a:lnTo>
                  <a:lnTo>
                    <a:pt x="126" y="1434"/>
                  </a:lnTo>
                  <a:lnTo>
                    <a:pt x="120" y="1428"/>
                  </a:lnTo>
                  <a:lnTo>
                    <a:pt x="126" y="1398"/>
                  </a:lnTo>
                  <a:lnTo>
                    <a:pt x="120" y="1374"/>
                  </a:lnTo>
                  <a:lnTo>
                    <a:pt x="60" y="1374"/>
                  </a:lnTo>
                  <a:lnTo>
                    <a:pt x="60" y="1368"/>
                  </a:lnTo>
                  <a:lnTo>
                    <a:pt x="54" y="1362"/>
                  </a:lnTo>
                  <a:lnTo>
                    <a:pt x="48" y="1356"/>
                  </a:lnTo>
                  <a:lnTo>
                    <a:pt x="42" y="1356"/>
                  </a:lnTo>
                  <a:lnTo>
                    <a:pt x="42" y="1350"/>
                  </a:lnTo>
                  <a:lnTo>
                    <a:pt x="36" y="1344"/>
                  </a:lnTo>
                  <a:lnTo>
                    <a:pt x="36" y="1338"/>
                  </a:lnTo>
                  <a:lnTo>
                    <a:pt x="30" y="1332"/>
                  </a:lnTo>
                  <a:lnTo>
                    <a:pt x="30" y="1326"/>
                  </a:lnTo>
                  <a:lnTo>
                    <a:pt x="18" y="1326"/>
                  </a:lnTo>
                  <a:lnTo>
                    <a:pt x="18" y="1320"/>
                  </a:lnTo>
                  <a:lnTo>
                    <a:pt x="18" y="1326"/>
                  </a:lnTo>
                  <a:lnTo>
                    <a:pt x="6" y="1320"/>
                  </a:lnTo>
                  <a:lnTo>
                    <a:pt x="0" y="1314"/>
                  </a:lnTo>
                  <a:lnTo>
                    <a:pt x="12" y="1266"/>
                  </a:lnTo>
                  <a:lnTo>
                    <a:pt x="6" y="1242"/>
                  </a:lnTo>
                  <a:lnTo>
                    <a:pt x="12" y="1236"/>
                  </a:lnTo>
                  <a:lnTo>
                    <a:pt x="12" y="1230"/>
                  </a:lnTo>
                  <a:lnTo>
                    <a:pt x="18" y="1230"/>
                  </a:lnTo>
                  <a:lnTo>
                    <a:pt x="18" y="1224"/>
                  </a:lnTo>
                  <a:lnTo>
                    <a:pt x="24" y="1218"/>
                  </a:lnTo>
                  <a:lnTo>
                    <a:pt x="24" y="1212"/>
                  </a:lnTo>
                  <a:lnTo>
                    <a:pt x="30" y="1212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48" y="1188"/>
                  </a:lnTo>
                  <a:lnTo>
                    <a:pt x="48" y="1182"/>
                  </a:lnTo>
                  <a:lnTo>
                    <a:pt x="48" y="1176"/>
                  </a:lnTo>
                  <a:lnTo>
                    <a:pt x="48" y="1170"/>
                  </a:lnTo>
                  <a:lnTo>
                    <a:pt x="54" y="1170"/>
                  </a:lnTo>
                  <a:lnTo>
                    <a:pt x="60" y="1164"/>
                  </a:lnTo>
                  <a:lnTo>
                    <a:pt x="60" y="1158"/>
                  </a:lnTo>
                  <a:lnTo>
                    <a:pt x="66" y="1152"/>
                  </a:lnTo>
                  <a:lnTo>
                    <a:pt x="60" y="1140"/>
                  </a:lnTo>
                  <a:lnTo>
                    <a:pt x="60" y="1134"/>
                  </a:lnTo>
                  <a:lnTo>
                    <a:pt x="54" y="1134"/>
                  </a:lnTo>
                  <a:lnTo>
                    <a:pt x="54" y="1128"/>
                  </a:lnTo>
                  <a:lnTo>
                    <a:pt x="48" y="1122"/>
                  </a:lnTo>
                  <a:lnTo>
                    <a:pt x="48" y="1116"/>
                  </a:lnTo>
                  <a:lnTo>
                    <a:pt x="48" y="1110"/>
                  </a:lnTo>
                  <a:lnTo>
                    <a:pt x="42" y="1104"/>
                  </a:lnTo>
                  <a:lnTo>
                    <a:pt x="42" y="1098"/>
                  </a:lnTo>
                  <a:lnTo>
                    <a:pt x="36" y="1092"/>
                  </a:lnTo>
                  <a:lnTo>
                    <a:pt x="30" y="1092"/>
                  </a:lnTo>
                  <a:lnTo>
                    <a:pt x="24" y="1092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18" y="1080"/>
                  </a:lnTo>
                  <a:lnTo>
                    <a:pt x="18" y="1074"/>
                  </a:lnTo>
                  <a:lnTo>
                    <a:pt x="12" y="1068"/>
                  </a:lnTo>
                  <a:lnTo>
                    <a:pt x="6" y="1068"/>
                  </a:lnTo>
                  <a:lnTo>
                    <a:pt x="12" y="1056"/>
                  </a:lnTo>
                  <a:lnTo>
                    <a:pt x="6" y="1056"/>
                  </a:lnTo>
                  <a:lnTo>
                    <a:pt x="6" y="1050"/>
                  </a:lnTo>
                  <a:lnTo>
                    <a:pt x="6" y="1044"/>
                  </a:lnTo>
                  <a:lnTo>
                    <a:pt x="6" y="1026"/>
                  </a:lnTo>
                  <a:lnTo>
                    <a:pt x="12" y="1020"/>
                  </a:lnTo>
                  <a:lnTo>
                    <a:pt x="12" y="1014"/>
                  </a:lnTo>
                  <a:lnTo>
                    <a:pt x="18" y="1014"/>
                  </a:lnTo>
                  <a:lnTo>
                    <a:pt x="18" y="1008"/>
                  </a:lnTo>
                  <a:lnTo>
                    <a:pt x="18" y="1002"/>
                  </a:lnTo>
                  <a:lnTo>
                    <a:pt x="18" y="990"/>
                  </a:lnTo>
                  <a:lnTo>
                    <a:pt x="12" y="972"/>
                  </a:lnTo>
                  <a:lnTo>
                    <a:pt x="18" y="954"/>
                  </a:lnTo>
                  <a:lnTo>
                    <a:pt x="18" y="948"/>
                  </a:lnTo>
                  <a:lnTo>
                    <a:pt x="24" y="948"/>
                  </a:lnTo>
                  <a:lnTo>
                    <a:pt x="24" y="930"/>
                  </a:lnTo>
                  <a:lnTo>
                    <a:pt x="30" y="930"/>
                  </a:lnTo>
                  <a:lnTo>
                    <a:pt x="36" y="918"/>
                  </a:lnTo>
                  <a:lnTo>
                    <a:pt x="42" y="918"/>
                  </a:lnTo>
                  <a:lnTo>
                    <a:pt x="48" y="918"/>
                  </a:lnTo>
                  <a:lnTo>
                    <a:pt x="78" y="912"/>
                  </a:lnTo>
                  <a:lnTo>
                    <a:pt x="90" y="894"/>
                  </a:lnTo>
                  <a:lnTo>
                    <a:pt x="96" y="894"/>
                  </a:lnTo>
                  <a:lnTo>
                    <a:pt x="102" y="888"/>
                  </a:lnTo>
                  <a:lnTo>
                    <a:pt x="102" y="882"/>
                  </a:lnTo>
                  <a:lnTo>
                    <a:pt x="114" y="870"/>
                  </a:lnTo>
                  <a:lnTo>
                    <a:pt x="120" y="864"/>
                  </a:lnTo>
                  <a:lnTo>
                    <a:pt x="120" y="852"/>
                  </a:lnTo>
                  <a:lnTo>
                    <a:pt x="120" y="846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32" y="840"/>
                  </a:lnTo>
                  <a:lnTo>
                    <a:pt x="138" y="840"/>
                  </a:lnTo>
                  <a:lnTo>
                    <a:pt x="138" y="834"/>
                  </a:lnTo>
                  <a:lnTo>
                    <a:pt x="144" y="834"/>
                  </a:lnTo>
                  <a:lnTo>
                    <a:pt x="144" y="828"/>
                  </a:lnTo>
                  <a:lnTo>
                    <a:pt x="150" y="828"/>
                  </a:lnTo>
                  <a:lnTo>
                    <a:pt x="156" y="822"/>
                  </a:lnTo>
                  <a:lnTo>
                    <a:pt x="162" y="816"/>
                  </a:lnTo>
                  <a:lnTo>
                    <a:pt x="162" y="822"/>
                  </a:lnTo>
                  <a:lnTo>
                    <a:pt x="162" y="816"/>
                  </a:lnTo>
                  <a:lnTo>
                    <a:pt x="162" y="810"/>
                  </a:lnTo>
                  <a:lnTo>
                    <a:pt x="168" y="810"/>
                  </a:lnTo>
                  <a:lnTo>
                    <a:pt x="174" y="804"/>
                  </a:lnTo>
                  <a:lnTo>
                    <a:pt x="180" y="798"/>
                  </a:lnTo>
                  <a:lnTo>
                    <a:pt x="180" y="786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8" y="780"/>
                  </a:lnTo>
                  <a:lnTo>
                    <a:pt x="204" y="774"/>
                  </a:lnTo>
                  <a:lnTo>
                    <a:pt x="210" y="774"/>
                  </a:lnTo>
                  <a:lnTo>
                    <a:pt x="216" y="768"/>
                  </a:lnTo>
                  <a:lnTo>
                    <a:pt x="222" y="762"/>
                  </a:lnTo>
                  <a:lnTo>
                    <a:pt x="228" y="762"/>
                  </a:lnTo>
                  <a:lnTo>
                    <a:pt x="228" y="768"/>
                  </a:lnTo>
                  <a:lnTo>
                    <a:pt x="234" y="768"/>
                  </a:lnTo>
                  <a:lnTo>
                    <a:pt x="240" y="762"/>
                  </a:lnTo>
                  <a:lnTo>
                    <a:pt x="252" y="762"/>
                  </a:lnTo>
                  <a:lnTo>
                    <a:pt x="264" y="768"/>
                  </a:lnTo>
                  <a:lnTo>
                    <a:pt x="294" y="756"/>
                  </a:lnTo>
                  <a:lnTo>
                    <a:pt x="294" y="750"/>
                  </a:lnTo>
                  <a:lnTo>
                    <a:pt x="300" y="750"/>
                  </a:lnTo>
                  <a:lnTo>
                    <a:pt x="306" y="744"/>
                  </a:lnTo>
                  <a:lnTo>
                    <a:pt x="342" y="750"/>
                  </a:lnTo>
                  <a:lnTo>
                    <a:pt x="348" y="750"/>
                  </a:lnTo>
                  <a:lnTo>
                    <a:pt x="348" y="744"/>
                  </a:lnTo>
                  <a:lnTo>
                    <a:pt x="354" y="744"/>
                  </a:lnTo>
                  <a:lnTo>
                    <a:pt x="360" y="744"/>
                  </a:lnTo>
                  <a:lnTo>
                    <a:pt x="360" y="750"/>
                  </a:lnTo>
                  <a:lnTo>
                    <a:pt x="366" y="750"/>
                  </a:lnTo>
                  <a:lnTo>
                    <a:pt x="366" y="744"/>
                  </a:lnTo>
                  <a:lnTo>
                    <a:pt x="366" y="738"/>
                  </a:lnTo>
                  <a:lnTo>
                    <a:pt x="372" y="744"/>
                  </a:lnTo>
                  <a:lnTo>
                    <a:pt x="378" y="744"/>
                  </a:lnTo>
                  <a:lnTo>
                    <a:pt x="384" y="750"/>
                  </a:lnTo>
                  <a:lnTo>
                    <a:pt x="444" y="774"/>
                  </a:lnTo>
                  <a:lnTo>
                    <a:pt x="450" y="774"/>
                  </a:lnTo>
                  <a:lnTo>
                    <a:pt x="456" y="768"/>
                  </a:lnTo>
                  <a:lnTo>
                    <a:pt x="462" y="768"/>
                  </a:lnTo>
                  <a:lnTo>
                    <a:pt x="462" y="762"/>
                  </a:lnTo>
                  <a:lnTo>
                    <a:pt x="468" y="762"/>
                  </a:lnTo>
                  <a:lnTo>
                    <a:pt x="474" y="756"/>
                  </a:lnTo>
                  <a:lnTo>
                    <a:pt x="480" y="750"/>
                  </a:lnTo>
                  <a:lnTo>
                    <a:pt x="516" y="756"/>
                  </a:lnTo>
                  <a:lnTo>
                    <a:pt x="522" y="756"/>
                  </a:lnTo>
                  <a:lnTo>
                    <a:pt x="522" y="762"/>
                  </a:lnTo>
                  <a:lnTo>
                    <a:pt x="522" y="768"/>
                  </a:lnTo>
                  <a:lnTo>
                    <a:pt x="522" y="774"/>
                  </a:lnTo>
                  <a:lnTo>
                    <a:pt x="528" y="780"/>
                  </a:lnTo>
                  <a:lnTo>
                    <a:pt x="540" y="780"/>
                  </a:lnTo>
                  <a:lnTo>
                    <a:pt x="540" y="804"/>
                  </a:lnTo>
                  <a:lnTo>
                    <a:pt x="540" y="810"/>
                  </a:lnTo>
                  <a:lnTo>
                    <a:pt x="546" y="810"/>
                  </a:lnTo>
                  <a:lnTo>
                    <a:pt x="552" y="810"/>
                  </a:lnTo>
                  <a:lnTo>
                    <a:pt x="558" y="810"/>
                  </a:lnTo>
                  <a:lnTo>
                    <a:pt x="564" y="810"/>
                  </a:lnTo>
                  <a:lnTo>
                    <a:pt x="570" y="810"/>
                  </a:lnTo>
                  <a:lnTo>
                    <a:pt x="576" y="810"/>
                  </a:lnTo>
                  <a:lnTo>
                    <a:pt x="576" y="816"/>
                  </a:lnTo>
                  <a:lnTo>
                    <a:pt x="588" y="816"/>
                  </a:lnTo>
                  <a:lnTo>
                    <a:pt x="594" y="816"/>
                  </a:lnTo>
                  <a:lnTo>
                    <a:pt x="600" y="822"/>
                  </a:lnTo>
                  <a:lnTo>
                    <a:pt x="606" y="816"/>
                  </a:lnTo>
                  <a:lnTo>
                    <a:pt x="612" y="816"/>
                  </a:lnTo>
                  <a:lnTo>
                    <a:pt x="612" y="810"/>
                  </a:lnTo>
                  <a:lnTo>
                    <a:pt x="624" y="810"/>
                  </a:lnTo>
                  <a:lnTo>
                    <a:pt x="624" y="804"/>
                  </a:lnTo>
                  <a:lnTo>
                    <a:pt x="630" y="798"/>
                  </a:lnTo>
                  <a:lnTo>
                    <a:pt x="636" y="798"/>
                  </a:lnTo>
                  <a:lnTo>
                    <a:pt x="636" y="804"/>
                  </a:lnTo>
                  <a:lnTo>
                    <a:pt x="642" y="804"/>
                  </a:lnTo>
                  <a:lnTo>
                    <a:pt x="648" y="804"/>
                  </a:lnTo>
                  <a:lnTo>
                    <a:pt x="654" y="804"/>
                  </a:lnTo>
                  <a:lnTo>
                    <a:pt x="660" y="804"/>
                  </a:lnTo>
                  <a:lnTo>
                    <a:pt x="678" y="798"/>
                  </a:lnTo>
                  <a:lnTo>
                    <a:pt x="714" y="786"/>
                  </a:lnTo>
                  <a:lnTo>
                    <a:pt x="714" y="792"/>
                  </a:lnTo>
                  <a:lnTo>
                    <a:pt x="714" y="798"/>
                  </a:lnTo>
                  <a:lnTo>
                    <a:pt x="714" y="804"/>
                  </a:lnTo>
                  <a:lnTo>
                    <a:pt x="720" y="804"/>
                  </a:lnTo>
                  <a:lnTo>
                    <a:pt x="720" y="810"/>
                  </a:lnTo>
                  <a:lnTo>
                    <a:pt x="720" y="816"/>
                  </a:lnTo>
                  <a:lnTo>
                    <a:pt x="726" y="822"/>
                  </a:lnTo>
                  <a:lnTo>
                    <a:pt x="732" y="828"/>
                  </a:lnTo>
                  <a:lnTo>
                    <a:pt x="732" y="834"/>
                  </a:lnTo>
                  <a:lnTo>
                    <a:pt x="732" y="846"/>
                  </a:lnTo>
                  <a:lnTo>
                    <a:pt x="732" y="858"/>
                  </a:lnTo>
                  <a:lnTo>
                    <a:pt x="738" y="858"/>
                  </a:lnTo>
                  <a:lnTo>
                    <a:pt x="732" y="864"/>
                  </a:lnTo>
                  <a:lnTo>
                    <a:pt x="732" y="870"/>
                  </a:lnTo>
                  <a:lnTo>
                    <a:pt x="726" y="870"/>
                  </a:lnTo>
                  <a:lnTo>
                    <a:pt x="726" y="876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0" y="882"/>
                  </a:lnTo>
                  <a:lnTo>
                    <a:pt x="690" y="912"/>
                  </a:lnTo>
                  <a:lnTo>
                    <a:pt x="696" y="936"/>
                  </a:lnTo>
                  <a:lnTo>
                    <a:pt x="702" y="936"/>
                  </a:lnTo>
                  <a:lnTo>
                    <a:pt x="702" y="930"/>
                  </a:lnTo>
                  <a:lnTo>
                    <a:pt x="708" y="930"/>
                  </a:lnTo>
                  <a:lnTo>
                    <a:pt x="708" y="924"/>
                  </a:lnTo>
                  <a:lnTo>
                    <a:pt x="708" y="918"/>
                  </a:lnTo>
                  <a:lnTo>
                    <a:pt x="714" y="918"/>
                  </a:lnTo>
                  <a:lnTo>
                    <a:pt x="720" y="954"/>
                  </a:lnTo>
                  <a:lnTo>
                    <a:pt x="726" y="966"/>
                  </a:lnTo>
                  <a:lnTo>
                    <a:pt x="744" y="966"/>
                  </a:lnTo>
                  <a:lnTo>
                    <a:pt x="756" y="972"/>
                  </a:lnTo>
                  <a:lnTo>
                    <a:pt x="792" y="990"/>
                  </a:lnTo>
                  <a:lnTo>
                    <a:pt x="828" y="978"/>
                  </a:lnTo>
                  <a:lnTo>
                    <a:pt x="834" y="978"/>
                  </a:lnTo>
                  <a:lnTo>
                    <a:pt x="840" y="978"/>
                  </a:lnTo>
                  <a:lnTo>
                    <a:pt x="840" y="984"/>
                  </a:lnTo>
                  <a:lnTo>
                    <a:pt x="846" y="984"/>
                  </a:lnTo>
                  <a:lnTo>
                    <a:pt x="858" y="972"/>
                  </a:lnTo>
                  <a:lnTo>
                    <a:pt x="882" y="972"/>
                  </a:lnTo>
                  <a:lnTo>
                    <a:pt x="888" y="984"/>
                  </a:lnTo>
                  <a:lnTo>
                    <a:pt x="900" y="990"/>
                  </a:lnTo>
                  <a:lnTo>
                    <a:pt x="924" y="996"/>
                  </a:lnTo>
                  <a:lnTo>
                    <a:pt x="930" y="990"/>
                  </a:lnTo>
                  <a:lnTo>
                    <a:pt x="930" y="984"/>
                  </a:lnTo>
                  <a:lnTo>
                    <a:pt x="924" y="978"/>
                  </a:lnTo>
                  <a:lnTo>
                    <a:pt x="906" y="972"/>
                  </a:lnTo>
                  <a:lnTo>
                    <a:pt x="900" y="966"/>
                  </a:lnTo>
                  <a:lnTo>
                    <a:pt x="900" y="960"/>
                  </a:lnTo>
                  <a:lnTo>
                    <a:pt x="900" y="954"/>
                  </a:lnTo>
                  <a:lnTo>
                    <a:pt x="900" y="948"/>
                  </a:lnTo>
                  <a:lnTo>
                    <a:pt x="912" y="936"/>
                  </a:lnTo>
                  <a:lnTo>
                    <a:pt x="912" y="924"/>
                  </a:lnTo>
                  <a:lnTo>
                    <a:pt x="918" y="924"/>
                  </a:lnTo>
                  <a:lnTo>
                    <a:pt x="918" y="918"/>
                  </a:lnTo>
                  <a:lnTo>
                    <a:pt x="936" y="906"/>
                  </a:lnTo>
                  <a:lnTo>
                    <a:pt x="942" y="906"/>
                  </a:lnTo>
                  <a:lnTo>
                    <a:pt x="948" y="906"/>
                  </a:lnTo>
                  <a:lnTo>
                    <a:pt x="954" y="906"/>
                  </a:lnTo>
                  <a:lnTo>
                    <a:pt x="960" y="906"/>
                  </a:lnTo>
                  <a:lnTo>
                    <a:pt x="966" y="912"/>
                  </a:lnTo>
                  <a:lnTo>
                    <a:pt x="972" y="906"/>
                  </a:lnTo>
                  <a:lnTo>
                    <a:pt x="978" y="906"/>
                  </a:lnTo>
                  <a:lnTo>
                    <a:pt x="984" y="900"/>
                  </a:lnTo>
                  <a:lnTo>
                    <a:pt x="984" y="894"/>
                  </a:lnTo>
                  <a:lnTo>
                    <a:pt x="990" y="894"/>
                  </a:lnTo>
                  <a:lnTo>
                    <a:pt x="996" y="888"/>
                  </a:lnTo>
                  <a:lnTo>
                    <a:pt x="1002" y="888"/>
                  </a:lnTo>
                  <a:lnTo>
                    <a:pt x="1008" y="882"/>
                  </a:lnTo>
                  <a:lnTo>
                    <a:pt x="1014" y="882"/>
                  </a:lnTo>
                  <a:lnTo>
                    <a:pt x="1020" y="882"/>
                  </a:lnTo>
                  <a:lnTo>
                    <a:pt x="1020" y="888"/>
                  </a:lnTo>
                  <a:lnTo>
                    <a:pt x="1026" y="882"/>
                  </a:lnTo>
                  <a:lnTo>
                    <a:pt x="1026" y="876"/>
                  </a:lnTo>
                  <a:lnTo>
                    <a:pt x="1026" y="870"/>
                  </a:lnTo>
                  <a:lnTo>
                    <a:pt x="1032" y="864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44" y="852"/>
                  </a:lnTo>
                  <a:lnTo>
                    <a:pt x="1038" y="846"/>
                  </a:lnTo>
                  <a:lnTo>
                    <a:pt x="1038" y="840"/>
                  </a:lnTo>
                  <a:lnTo>
                    <a:pt x="1032" y="840"/>
                  </a:lnTo>
                  <a:lnTo>
                    <a:pt x="1026" y="840"/>
                  </a:lnTo>
                  <a:lnTo>
                    <a:pt x="1020" y="840"/>
                  </a:lnTo>
                  <a:lnTo>
                    <a:pt x="1014" y="846"/>
                  </a:lnTo>
                  <a:lnTo>
                    <a:pt x="1008" y="846"/>
                  </a:lnTo>
                  <a:lnTo>
                    <a:pt x="1002" y="840"/>
                  </a:lnTo>
                  <a:lnTo>
                    <a:pt x="996" y="840"/>
                  </a:lnTo>
                  <a:lnTo>
                    <a:pt x="990" y="834"/>
                  </a:lnTo>
                  <a:lnTo>
                    <a:pt x="984" y="834"/>
                  </a:lnTo>
                  <a:lnTo>
                    <a:pt x="978" y="834"/>
                  </a:lnTo>
                  <a:lnTo>
                    <a:pt x="972" y="834"/>
                  </a:lnTo>
                  <a:lnTo>
                    <a:pt x="966" y="834"/>
                  </a:lnTo>
                  <a:lnTo>
                    <a:pt x="966" y="828"/>
                  </a:lnTo>
                  <a:lnTo>
                    <a:pt x="960" y="828"/>
                  </a:lnTo>
                  <a:lnTo>
                    <a:pt x="954" y="828"/>
                  </a:lnTo>
                  <a:lnTo>
                    <a:pt x="942" y="828"/>
                  </a:lnTo>
                  <a:lnTo>
                    <a:pt x="936" y="828"/>
                  </a:lnTo>
                  <a:lnTo>
                    <a:pt x="930" y="828"/>
                  </a:lnTo>
                  <a:lnTo>
                    <a:pt x="918" y="828"/>
                  </a:lnTo>
                  <a:lnTo>
                    <a:pt x="918" y="822"/>
                  </a:lnTo>
                  <a:lnTo>
                    <a:pt x="912" y="828"/>
                  </a:lnTo>
                  <a:lnTo>
                    <a:pt x="912" y="822"/>
                  </a:lnTo>
                  <a:lnTo>
                    <a:pt x="906" y="816"/>
                  </a:lnTo>
                  <a:lnTo>
                    <a:pt x="900" y="816"/>
                  </a:lnTo>
                  <a:lnTo>
                    <a:pt x="894" y="816"/>
                  </a:lnTo>
                  <a:lnTo>
                    <a:pt x="888" y="816"/>
                  </a:lnTo>
                  <a:lnTo>
                    <a:pt x="882" y="816"/>
                  </a:lnTo>
                  <a:lnTo>
                    <a:pt x="882" y="810"/>
                  </a:lnTo>
                  <a:lnTo>
                    <a:pt x="876" y="804"/>
                  </a:lnTo>
                  <a:lnTo>
                    <a:pt x="870" y="804"/>
                  </a:lnTo>
                  <a:lnTo>
                    <a:pt x="864" y="798"/>
                  </a:lnTo>
                  <a:lnTo>
                    <a:pt x="858" y="798"/>
                  </a:lnTo>
                  <a:lnTo>
                    <a:pt x="858" y="804"/>
                  </a:lnTo>
                  <a:lnTo>
                    <a:pt x="852" y="804"/>
                  </a:lnTo>
                  <a:lnTo>
                    <a:pt x="846" y="804"/>
                  </a:lnTo>
                  <a:lnTo>
                    <a:pt x="846" y="798"/>
                  </a:lnTo>
                  <a:lnTo>
                    <a:pt x="840" y="804"/>
                  </a:lnTo>
                  <a:lnTo>
                    <a:pt x="834" y="804"/>
                  </a:lnTo>
                  <a:lnTo>
                    <a:pt x="828" y="804"/>
                  </a:lnTo>
                  <a:lnTo>
                    <a:pt x="828" y="810"/>
                  </a:lnTo>
                  <a:lnTo>
                    <a:pt x="822" y="810"/>
                  </a:lnTo>
                  <a:lnTo>
                    <a:pt x="810" y="804"/>
                  </a:lnTo>
                  <a:lnTo>
                    <a:pt x="810" y="798"/>
                  </a:lnTo>
                  <a:lnTo>
                    <a:pt x="780" y="798"/>
                  </a:lnTo>
                  <a:lnTo>
                    <a:pt x="756" y="774"/>
                  </a:lnTo>
                  <a:lnTo>
                    <a:pt x="750" y="768"/>
                  </a:lnTo>
                  <a:lnTo>
                    <a:pt x="750" y="744"/>
                  </a:lnTo>
                  <a:lnTo>
                    <a:pt x="732" y="738"/>
                  </a:lnTo>
                  <a:lnTo>
                    <a:pt x="732" y="720"/>
                  </a:lnTo>
                  <a:lnTo>
                    <a:pt x="714" y="690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6" y="666"/>
                  </a:lnTo>
                  <a:lnTo>
                    <a:pt x="690" y="666"/>
                  </a:lnTo>
                  <a:lnTo>
                    <a:pt x="678" y="672"/>
                  </a:lnTo>
                  <a:lnTo>
                    <a:pt x="678" y="654"/>
                  </a:lnTo>
                  <a:lnTo>
                    <a:pt x="684" y="630"/>
                  </a:lnTo>
                  <a:lnTo>
                    <a:pt x="690" y="618"/>
                  </a:lnTo>
                  <a:lnTo>
                    <a:pt x="696" y="612"/>
                  </a:lnTo>
                  <a:lnTo>
                    <a:pt x="696" y="588"/>
                  </a:lnTo>
                  <a:lnTo>
                    <a:pt x="690" y="576"/>
                  </a:lnTo>
                  <a:lnTo>
                    <a:pt x="696" y="552"/>
                  </a:lnTo>
                  <a:lnTo>
                    <a:pt x="684" y="522"/>
                  </a:lnTo>
                  <a:lnTo>
                    <a:pt x="672" y="504"/>
                  </a:lnTo>
                  <a:lnTo>
                    <a:pt x="654" y="504"/>
                  </a:lnTo>
                  <a:lnTo>
                    <a:pt x="642" y="504"/>
                  </a:lnTo>
                  <a:lnTo>
                    <a:pt x="624" y="510"/>
                  </a:lnTo>
                  <a:lnTo>
                    <a:pt x="612" y="516"/>
                  </a:lnTo>
                  <a:lnTo>
                    <a:pt x="594" y="516"/>
                  </a:lnTo>
                  <a:lnTo>
                    <a:pt x="588" y="516"/>
                  </a:lnTo>
                  <a:lnTo>
                    <a:pt x="588" y="522"/>
                  </a:lnTo>
                  <a:lnTo>
                    <a:pt x="582" y="516"/>
                  </a:lnTo>
                  <a:lnTo>
                    <a:pt x="588" y="510"/>
                  </a:lnTo>
                  <a:lnTo>
                    <a:pt x="582" y="510"/>
                  </a:lnTo>
                  <a:lnTo>
                    <a:pt x="582" y="504"/>
                  </a:lnTo>
                  <a:lnTo>
                    <a:pt x="576" y="498"/>
                  </a:lnTo>
                  <a:lnTo>
                    <a:pt x="570" y="498"/>
                  </a:lnTo>
                  <a:lnTo>
                    <a:pt x="570" y="492"/>
                  </a:lnTo>
                  <a:lnTo>
                    <a:pt x="564" y="492"/>
                  </a:lnTo>
                  <a:lnTo>
                    <a:pt x="570" y="486"/>
                  </a:lnTo>
                  <a:lnTo>
                    <a:pt x="564" y="486"/>
                  </a:lnTo>
                  <a:lnTo>
                    <a:pt x="564" y="480"/>
                  </a:lnTo>
                  <a:lnTo>
                    <a:pt x="564" y="474"/>
                  </a:lnTo>
                  <a:lnTo>
                    <a:pt x="558" y="468"/>
                  </a:lnTo>
                  <a:lnTo>
                    <a:pt x="564" y="468"/>
                  </a:lnTo>
                  <a:lnTo>
                    <a:pt x="564" y="462"/>
                  </a:lnTo>
                  <a:lnTo>
                    <a:pt x="570" y="462"/>
                  </a:lnTo>
                  <a:lnTo>
                    <a:pt x="570" y="456"/>
                  </a:lnTo>
                  <a:lnTo>
                    <a:pt x="570" y="450"/>
                  </a:lnTo>
                  <a:lnTo>
                    <a:pt x="576" y="450"/>
                  </a:lnTo>
                  <a:lnTo>
                    <a:pt x="576" y="444"/>
                  </a:lnTo>
                  <a:lnTo>
                    <a:pt x="582" y="438"/>
                  </a:lnTo>
                  <a:lnTo>
                    <a:pt x="588" y="438"/>
                  </a:lnTo>
                  <a:lnTo>
                    <a:pt x="588" y="444"/>
                  </a:lnTo>
                  <a:lnTo>
                    <a:pt x="594" y="438"/>
                  </a:lnTo>
                  <a:lnTo>
                    <a:pt x="594" y="432"/>
                  </a:lnTo>
                  <a:lnTo>
                    <a:pt x="600" y="432"/>
                  </a:lnTo>
                  <a:lnTo>
                    <a:pt x="600" y="426"/>
                  </a:lnTo>
                  <a:lnTo>
                    <a:pt x="600" y="420"/>
                  </a:lnTo>
                  <a:lnTo>
                    <a:pt x="606" y="420"/>
                  </a:lnTo>
                  <a:lnTo>
                    <a:pt x="600" y="420"/>
                  </a:lnTo>
                  <a:lnTo>
                    <a:pt x="600" y="414"/>
                  </a:lnTo>
                  <a:lnTo>
                    <a:pt x="606" y="408"/>
                  </a:lnTo>
                  <a:lnTo>
                    <a:pt x="612" y="408"/>
                  </a:lnTo>
                  <a:lnTo>
                    <a:pt x="612" y="414"/>
                  </a:lnTo>
                  <a:lnTo>
                    <a:pt x="618" y="414"/>
                  </a:lnTo>
                  <a:lnTo>
                    <a:pt x="624" y="414"/>
                  </a:lnTo>
                  <a:lnTo>
                    <a:pt x="630" y="414"/>
                  </a:lnTo>
                  <a:lnTo>
                    <a:pt x="636" y="414"/>
                  </a:lnTo>
                  <a:lnTo>
                    <a:pt x="642" y="408"/>
                  </a:lnTo>
                  <a:lnTo>
                    <a:pt x="648" y="408"/>
                  </a:lnTo>
                  <a:lnTo>
                    <a:pt x="660" y="408"/>
                  </a:lnTo>
                  <a:lnTo>
                    <a:pt x="666" y="402"/>
                  </a:lnTo>
                  <a:lnTo>
                    <a:pt x="672" y="402"/>
                  </a:lnTo>
                  <a:lnTo>
                    <a:pt x="684" y="396"/>
                  </a:lnTo>
                  <a:lnTo>
                    <a:pt x="690" y="396"/>
                  </a:lnTo>
                  <a:lnTo>
                    <a:pt x="696" y="396"/>
                  </a:lnTo>
                  <a:lnTo>
                    <a:pt x="702" y="396"/>
                  </a:lnTo>
                  <a:lnTo>
                    <a:pt x="708" y="396"/>
                  </a:lnTo>
                  <a:lnTo>
                    <a:pt x="714" y="390"/>
                  </a:lnTo>
                  <a:lnTo>
                    <a:pt x="714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32" y="384"/>
                  </a:lnTo>
                  <a:lnTo>
                    <a:pt x="738" y="378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56" y="372"/>
                  </a:lnTo>
                  <a:lnTo>
                    <a:pt x="762" y="366"/>
                  </a:lnTo>
                  <a:lnTo>
                    <a:pt x="768" y="366"/>
                  </a:lnTo>
                  <a:lnTo>
                    <a:pt x="774" y="366"/>
                  </a:lnTo>
                  <a:lnTo>
                    <a:pt x="774" y="360"/>
                  </a:lnTo>
                  <a:lnTo>
                    <a:pt x="780" y="366"/>
                  </a:lnTo>
                  <a:lnTo>
                    <a:pt x="786" y="366"/>
                  </a:lnTo>
                  <a:lnTo>
                    <a:pt x="786" y="360"/>
                  </a:lnTo>
                  <a:lnTo>
                    <a:pt x="792" y="354"/>
                  </a:lnTo>
                  <a:lnTo>
                    <a:pt x="786" y="354"/>
                  </a:lnTo>
                  <a:lnTo>
                    <a:pt x="792" y="348"/>
                  </a:lnTo>
                  <a:lnTo>
                    <a:pt x="798" y="348"/>
                  </a:lnTo>
                  <a:lnTo>
                    <a:pt x="804" y="348"/>
                  </a:lnTo>
                  <a:lnTo>
                    <a:pt x="810" y="342"/>
                  </a:lnTo>
                  <a:lnTo>
                    <a:pt x="816" y="342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28" y="336"/>
                  </a:lnTo>
                  <a:lnTo>
                    <a:pt x="834" y="336"/>
                  </a:lnTo>
                  <a:lnTo>
                    <a:pt x="840" y="336"/>
                  </a:lnTo>
                  <a:lnTo>
                    <a:pt x="846" y="330"/>
                  </a:lnTo>
                  <a:lnTo>
                    <a:pt x="852" y="330"/>
                  </a:lnTo>
                  <a:lnTo>
                    <a:pt x="858" y="330"/>
                  </a:lnTo>
                  <a:lnTo>
                    <a:pt x="864" y="324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0" y="312"/>
                  </a:lnTo>
                  <a:lnTo>
                    <a:pt x="876" y="312"/>
                  </a:lnTo>
                  <a:lnTo>
                    <a:pt x="882" y="312"/>
                  </a:lnTo>
                  <a:lnTo>
                    <a:pt x="882" y="318"/>
                  </a:lnTo>
                  <a:lnTo>
                    <a:pt x="888" y="312"/>
                  </a:lnTo>
                  <a:lnTo>
                    <a:pt x="894" y="306"/>
                  </a:lnTo>
                  <a:lnTo>
                    <a:pt x="900" y="306"/>
                  </a:lnTo>
                  <a:lnTo>
                    <a:pt x="906" y="306"/>
                  </a:lnTo>
                  <a:lnTo>
                    <a:pt x="912" y="300"/>
                  </a:lnTo>
                  <a:lnTo>
                    <a:pt x="906" y="294"/>
                  </a:lnTo>
                  <a:lnTo>
                    <a:pt x="912" y="276"/>
                  </a:lnTo>
                  <a:lnTo>
                    <a:pt x="912" y="252"/>
                  </a:lnTo>
                  <a:lnTo>
                    <a:pt x="906" y="234"/>
                  </a:lnTo>
                  <a:lnTo>
                    <a:pt x="912" y="228"/>
                  </a:lnTo>
                  <a:lnTo>
                    <a:pt x="912" y="216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24" y="192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36" y="186"/>
                  </a:lnTo>
                  <a:lnTo>
                    <a:pt x="930" y="180"/>
                  </a:lnTo>
                  <a:lnTo>
                    <a:pt x="930" y="174"/>
                  </a:lnTo>
                  <a:lnTo>
                    <a:pt x="936" y="156"/>
                  </a:lnTo>
                  <a:lnTo>
                    <a:pt x="930" y="156"/>
                  </a:lnTo>
                  <a:lnTo>
                    <a:pt x="924" y="150"/>
                  </a:lnTo>
                  <a:lnTo>
                    <a:pt x="942" y="78"/>
                  </a:lnTo>
                  <a:lnTo>
                    <a:pt x="948" y="78"/>
                  </a:lnTo>
                  <a:lnTo>
                    <a:pt x="954" y="66"/>
                  </a:lnTo>
                  <a:lnTo>
                    <a:pt x="954" y="72"/>
                  </a:lnTo>
                  <a:lnTo>
                    <a:pt x="954" y="66"/>
                  </a:lnTo>
                  <a:lnTo>
                    <a:pt x="960" y="66"/>
                  </a:lnTo>
                  <a:lnTo>
                    <a:pt x="966" y="66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54"/>
                  </a:lnTo>
                  <a:lnTo>
                    <a:pt x="990" y="54"/>
                  </a:lnTo>
                  <a:lnTo>
                    <a:pt x="996" y="48"/>
                  </a:lnTo>
                  <a:lnTo>
                    <a:pt x="1002" y="48"/>
                  </a:lnTo>
                  <a:lnTo>
                    <a:pt x="1032" y="48"/>
                  </a:lnTo>
                  <a:lnTo>
                    <a:pt x="1062" y="48"/>
                  </a:lnTo>
                  <a:lnTo>
                    <a:pt x="1068" y="78"/>
                  </a:lnTo>
                  <a:lnTo>
                    <a:pt x="1086" y="78"/>
                  </a:lnTo>
                  <a:lnTo>
                    <a:pt x="1092" y="66"/>
                  </a:lnTo>
                  <a:lnTo>
                    <a:pt x="1092" y="60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8" y="48"/>
                  </a:lnTo>
                  <a:lnTo>
                    <a:pt x="1104" y="48"/>
                  </a:lnTo>
                  <a:lnTo>
                    <a:pt x="1110" y="48"/>
                  </a:lnTo>
                  <a:lnTo>
                    <a:pt x="1110" y="42"/>
                  </a:lnTo>
                  <a:lnTo>
                    <a:pt x="1110" y="36"/>
                  </a:lnTo>
                  <a:lnTo>
                    <a:pt x="1116" y="36"/>
                  </a:lnTo>
                  <a:lnTo>
                    <a:pt x="1116" y="30"/>
                  </a:lnTo>
                  <a:lnTo>
                    <a:pt x="1122" y="30"/>
                  </a:lnTo>
                  <a:lnTo>
                    <a:pt x="1128" y="30"/>
                  </a:lnTo>
                  <a:lnTo>
                    <a:pt x="1134" y="30"/>
                  </a:lnTo>
                  <a:lnTo>
                    <a:pt x="1140" y="24"/>
                  </a:lnTo>
                  <a:lnTo>
                    <a:pt x="1152" y="18"/>
                  </a:lnTo>
                  <a:lnTo>
                    <a:pt x="1158" y="18"/>
                  </a:lnTo>
                  <a:lnTo>
                    <a:pt x="1152" y="12"/>
                  </a:lnTo>
                  <a:lnTo>
                    <a:pt x="1152" y="6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8"/>
                  </a:lnTo>
                  <a:lnTo>
                    <a:pt x="1170" y="12"/>
                  </a:lnTo>
                  <a:lnTo>
                    <a:pt x="1170" y="6"/>
                  </a:lnTo>
                  <a:lnTo>
                    <a:pt x="1176" y="6"/>
                  </a:lnTo>
                  <a:lnTo>
                    <a:pt x="1176" y="0"/>
                  </a:lnTo>
                  <a:lnTo>
                    <a:pt x="1182" y="6"/>
                  </a:lnTo>
                  <a:lnTo>
                    <a:pt x="1188" y="6"/>
                  </a:lnTo>
                  <a:lnTo>
                    <a:pt x="1188" y="0"/>
                  </a:lnTo>
                  <a:lnTo>
                    <a:pt x="1194" y="6"/>
                  </a:lnTo>
                  <a:lnTo>
                    <a:pt x="1200" y="12"/>
                  </a:lnTo>
                  <a:lnTo>
                    <a:pt x="1206" y="18"/>
                  </a:lnTo>
                  <a:lnTo>
                    <a:pt x="1212" y="18"/>
                  </a:lnTo>
                  <a:lnTo>
                    <a:pt x="1218" y="24"/>
                  </a:lnTo>
                  <a:lnTo>
                    <a:pt x="1236" y="36"/>
                  </a:lnTo>
                  <a:lnTo>
                    <a:pt x="1242" y="36"/>
                  </a:lnTo>
                  <a:lnTo>
                    <a:pt x="1248" y="42"/>
                  </a:lnTo>
                  <a:lnTo>
                    <a:pt x="1248" y="48"/>
                  </a:lnTo>
                  <a:lnTo>
                    <a:pt x="1260" y="48"/>
                  </a:lnTo>
                  <a:lnTo>
                    <a:pt x="1260" y="108"/>
                  </a:lnTo>
                  <a:lnTo>
                    <a:pt x="1266" y="168"/>
                  </a:lnTo>
                  <a:lnTo>
                    <a:pt x="1278" y="234"/>
                  </a:lnTo>
                  <a:lnTo>
                    <a:pt x="1284" y="240"/>
                  </a:lnTo>
                  <a:lnTo>
                    <a:pt x="1290" y="264"/>
                  </a:lnTo>
                  <a:lnTo>
                    <a:pt x="1296" y="288"/>
                  </a:lnTo>
                  <a:lnTo>
                    <a:pt x="1296" y="300"/>
                  </a:lnTo>
                  <a:lnTo>
                    <a:pt x="1296" y="312"/>
                  </a:lnTo>
                  <a:lnTo>
                    <a:pt x="1296" y="324"/>
                  </a:lnTo>
                  <a:lnTo>
                    <a:pt x="1296" y="354"/>
                  </a:lnTo>
                  <a:lnTo>
                    <a:pt x="1302" y="366"/>
                  </a:lnTo>
                  <a:lnTo>
                    <a:pt x="1308" y="372"/>
                  </a:lnTo>
                  <a:lnTo>
                    <a:pt x="1308" y="384"/>
                  </a:lnTo>
                  <a:lnTo>
                    <a:pt x="1314" y="390"/>
                  </a:lnTo>
                  <a:lnTo>
                    <a:pt x="1308" y="408"/>
                  </a:lnTo>
                  <a:lnTo>
                    <a:pt x="1314" y="408"/>
                  </a:lnTo>
                  <a:lnTo>
                    <a:pt x="1314" y="414"/>
                  </a:lnTo>
                  <a:lnTo>
                    <a:pt x="1308" y="420"/>
                  </a:lnTo>
                  <a:lnTo>
                    <a:pt x="1308" y="432"/>
                  </a:lnTo>
                  <a:lnTo>
                    <a:pt x="1320" y="432"/>
                  </a:lnTo>
                  <a:lnTo>
                    <a:pt x="1320" y="444"/>
                  </a:lnTo>
                  <a:lnTo>
                    <a:pt x="1332" y="444"/>
                  </a:lnTo>
                  <a:lnTo>
                    <a:pt x="1338" y="450"/>
                  </a:lnTo>
                  <a:lnTo>
                    <a:pt x="1344" y="456"/>
                  </a:lnTo>
                  <a:lnTo>
                    <a:pt x="1344" y="462"/>
                  </a:lnTo>
                  <a:lnTo>
                    <a:pt x="1344" y="474"/>
                  </a:lnTo>
                  <a:lnTo>
                    <a:pt x="1350" y="474"/>
                  </a:lnTo>
                  <a:lnTo>
                    <a:pt x="1368" y="504"/>
                  </a:lnTo>
                  <a:lnTo>
                    <a:pt x="1374" y="534"/>
                  </a:lnTo>
                  <a:lnTo>
                    <a:pt x="1380" y="558"/>
                  </a:lnTo>
                  <a:lnTo>
                    <a:pt x="1386" y="576"/>
                  </a:lnTo>
                  <a:lnTo>
                    <a:pt x="1386" y="600"/>
                  </a:lnTo>
                  <a:lnTo>
                    <a:pt x="1386" y="624"/>
                  </a:lnTo>
                  <a:lnTo>
                    <a:pt x="1386" y="648"/>
                  </a:lnTo>
                  <a:lnTo>
                    <a:pt x="1386" y="684"/>
                  </a:lnTo>
                  <a:lnTo>
                    <a:pt x="1380" y="684"/>
                  </a:lnTo>
                  <a:lnTo>
                    <a:pt x="1374" y="696"/>
                  </a:lnTo>
                  <a:lnTo>
                    <a:pt x="1368" y="702"/>
                  </a:lnTo>
                  <a:lnTo>
                    <a:pt x="1362" y="708"/>
                  </a:lnTo>
                  <a:lnTo>
                    <a:pt x="1356" y="714"/>
                  </a:lnTo>
                  <a:lnTo>
                    <a:pt x="1350" y="720"/>
                  </a:lnTo>
                  <a:lnTo>
                    <a:pt x="1338" y="720"/>
                  </a:lnTo>
                  <a:lnTo>
                    <a:pt x="1338" y="738"/>
                  </a:lnTo>
                  <a:lnTo>
                    <a:pt x="1362" y="750"/>
                  </a:lnTo>
                  <a:lnTo>
                    <a:pt x="1362" y="756"/>
                  </a:lnTo>
                  <a:lnTo>
                    <a:pt x="1374" y="756"/>
                  </a:lnTo>
                  <a:lnTo>
                    <a:pt x="1410" y="774"/>
                  </a:lnTo>
                  <a:lnTo>
                    <a:pt x="1446" y="774"/>
                  </a:lnTo>
                  <a:lnTo>
                    <a:pt x="1482" y="768"/>
                  </a:lnTo>
                  <a:lnTo>
                    <a:pt x="1500" y="774"/>
                  </a:lnTo>
                  <a:lnTo>
                    <a:pt x="1512" y="78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6" name="Freeform 11">
              <a:extLst>
                <a:ext uri="{FF2B5EF4-FFF2-40B4-BE49-F238E27FC236}">
                  <a16:creationId xmlns:a16="http://schemas.microsoft.com/office/drawing/2014/main" id="{1FF8E66F-B850-456A-B132-C45FEEDE95C6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2475" y="2345643"/>
              <a:ext cx="445003" cy="603855"/>
            </a:xfrm>
            <a:custGeom>
              <a:avLst/>
              <a:gdLst>
                <a:gd name="T0" fmla="*/ 47 w 840"/>
                <a:gd name="T1" fmla="*/ 98 h 1134"/>
                <a:gd name="T2" fmla="*/ 41 w 840"/>
                <a:gd name="T3" fmla="*/ 98 h 1134"/>
                <a:gd name="T4" fmla="*/ 37 w 840"/>
                <a:gd name="T5" fmla="*/ 98 h 1134"/>
                <a:gd name="T6" fmla="*/ 29 w 840"/>
                <a:gd name="T7" fmla="*/ 97 h 1134"/>
                <a:gd name="T8" fmla="*/ 27 w 840"/>
                <a:gd name="T9" fmla="*/ 94 h 1134"/>
                <a:gd name="T10" fmla="*/ 26 w 840"/>
                <a:gd name="T11" fmla="*/ 93 h 1134"/>
                <a:gd name="T12" fmla="*/ 26 w 840"/>
                <a:gd name="T13" fmla="*/ 83 h 1134"/>
                <a:gd name="T14" fmla="*/ 26 w 840"/>
                <a:gd name="T15" fmla="*/ 81 h 1134"/>
                <a:gd name="T16" fmla="*/ 23 w 840"/>
                <a:gd name="T17" fmla="*/ 77 h 1134"/>
                <a:gd name="T18" fmla="*/ 19 w 840"/>
                <a:gd name="T19" fmla="*/ 75 h 1134"/>
                <a:gd name="T20" fmla="*/ 16 w 840"/>
                <a:gd name="T21" fmla="*/ 72 h 1134"/>
                <a:gd name="T22" fmla="*/ 13 w 840"/>
                <a:gd name="T23" fmla="*/ 70 h 1134"/>
                <a:gd name="T24" fmla="*/ 17 w 840"/>
                <a:gd name="T25" fmla="*/ 67 h 1134"/>
                <a:gd name="T26" fmla="*/ 19 w 840"/>
                <a:gd name="T27" fmla="*/ 63 h 1134"/>
                <a:gd name="T28" fmla="*/ 20 w 840"/>
                <a:gd name="T29" fmla="*/ 59 h 1134"/>
                <a:gd name="T30" fmla="*/ 19 w 840"/>
                <a:gd name="T31" fmla="*/ 55 h 1134"/>
                <a:gd name="T32" fmla="*/ 17 w 840"/>
                <a:gd name="T33" fmla="*/ 47 h 1134"/>
                <a:gd name="T34" fmla="*/ 8 w 840"/>
                <a:gd name="T35" fmla="*/ 45 h 1134"/>
                <a:gd name="T36" fmla="*/ 4 w 840"/>
                <a:gd name="T37" fmla="*/ 39 h 1134"/>
                <a:gd name="T38" fmla="*/ 2 w 840"/>
                <a:gd name="T39" fmla="*/ 35 h 1134"/>
                <a:gd name="T40" fmla="*/ 0 w 840"/>
                <a:gd name="T41" fmla="*/ 31 h 1134"/>
                <a:gd name="T42" fmla="*/ 2 w 840"/>
                <a:gd name="T43" fmla="*/ 27 h 1134"/>
                <a:gd name="T44" fmla="*/ 5 w 840"/>
                <a:gd name="T45" fmla="*/ 24 h 1134"/>
                <a:gd name="T46" fmla="*/ 10 w 840"/>
                <a:gd name="T47" fmla="*/ 26 h 1134"/>
                <a:gd name="T48" fmla="*/ 7 w 840"/>
                <a:gd name="T49" fmla="*/ 20 h 1134"/>
                <a:gd name="T50" fmla="*/ 12 w 840"/>
                <a:gd name="T51" fmla="*/ 12 h 1134"/>
                <a:gd name="T52" fmla="*/ 19 w 840"/>
                <a:gd name="T53" fmla="*/ 10 h 1134"/>
                <a:gd name="T54" fmla="*/ 20 w 840"/>
                <a:gd name="T55" fmla="*/ 13 h 1134"/>
                <a:gd name="T56" fmla="*/ 22 w 840"/>
                <a:gd name="T57" fmla="*/ 11 h 1134"/>
                <a:gd name="T58" fmla="*/ 25 w 840"/>
                <a:gd name="T59" fmla="*/ 7 h 1134"/>
                <a:gd name="T60" fmla="*/ 29 w 840"/>
                <a:gd name="T61" fmla="*/ 2 h 1134"/>
                <a:gd name="T62" fmla="*/ 33 w 840"/>
                <a:gd name="T63" fmla="*/ 1 h 1134"/>
                <a:gd name="T64" fmla="*/ 37 w 840"/>
                <a:gd name="T65" fmla="*/ 2 h 1134"/>
                <a:gd name="T66" fmla="*/ 39 w 840"/>
                <a:gd name="T67" fmla="*/ 4 h 1134"/>
                <a:gd name="T68" fmla="*/ 43 w 840"/>
                <a:gd name="T69" fmla="*/ 5 h 1134"/>
                <a:gd name="T70" fmla="*/ 46 w 840"/>
                <a:gd name="T71" fmla="*/ 11 h 1134"/>
                <a:gd name="T72" fmla="*/ 49 w 840"/>
                <a:gd name="T73" fmla="*/ 12 h 1134"/>
                <a:gd name="T74" fmla="*/ 52 w 840"/>
                <a:gd name="T75" fmla="*/ 15 h 1134"/>
                <a:gd name="T76" fmla="*/ 54 w 840"/>
                <a:gd name="T77" fmla="*/ 18 h 1134"/>
                <a:gd name="T78" fmla="*/ 55 w 840"/>
                <a:gd name="T79" fmla="*/ 22 h 1134"/>
                <a:gd name="T80" fmla="*/ 56 w 840"/>
                <a:gd name="T81" fmla="*/ 26 h 1134"/>
                <a:gd name="T82" fmla="*/ 55 w 840"/>
                <a:gd name="T83" fmla="*/ 32 h 1134"/>
                <a:gd name="T84" fmla="*/ 55 w 840"/>
                <a:gd name="T85" fmla="*/ 36 h 1134"/>
                <a:gd name="T86" fmla="*/ 54 w 840"/>
                <a:gd name="T87" fmla="*/ 39 h 1134"/>
                <a:gd name="T88" fmla="*/ 56 w 840"/>
                <a:gd name="T89" fmla="*/ 39 h 1134"/>
                <a:gd name="T90" fmla="*/ 58 w 840"/>
                <a:gd name="T91" fmla="*/ 39 h 1134"/>
                <a:gd name="T92" fmla="*/ 61 w 840"/>
                <a:gd name="T93" fmla="*/ 39 h 1134"/>
                <a:gd name="T94" fmla="*/ 60 w 840"/>
                <a:gd name="T95" fmla="*/ 49 h 1134"/>
                <a:gd name="T96" fmla="*/ 59 w 840"/>
                <a:gd name="T97" fmla="*/ 53 h 1134"/>
                <a:gd name="T98" fmla="*/ 59 w 840"/>
                <a:gd name="T99" fmla="*/ 56 h 1134"/>
                <a:gd name="T100" fmla="*/ 60 w 840"/>
                <a:gd name="T101" fmla="*/ 59 h 1134"/>
                <a:gd name="T102" fmla="*/ 64 w 840"/>
                <a:gd name="T103" fmla="*/ 61 h 1134"/>
                <a:gd name="T104" fmla="*/ 69 w 840"/>
                <a:gd name="T105" fmla="*/ 63 h 1134"/>
                <a:gd name="T106" fmla="*/ 72 w 840"/>
                <a:gd name="T107" fmla="*/ 69 h 1134"/>
                <a:gd name="T108" fmla="*/ 72 w 840"/>
                <a:gd name="T109" fmla="*/ 73 h 1134"/>
                <a:gd name="T110" fmla="*/ 72 w 840"/>
                <a:gd name="T111" fmla="*/ 83 h 1134"/>
                <a:gd name="T112" fmla="*/ 63 w 840"/>
                <a:gd name="T113" fmla="*/ 88 h 1134"/>
                <a:gd name="T114" fmla="*/ 52 w 840"/>
                <a:gd name="T115" fmla="*/ 95 h 11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40"/>
                <a:gd name="T175" fmla="*/ 0 h 1134"/>
                <a:gd name="T176" fmla="*/ 840 w 840"/>
                <a:gd name="T177" fmla="*/ 1134 h 11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40" h="1134">
                  <a:moveTo>
                    <a:pt x="564" y="1110"/>
                  </a:moveTo>
                  <a:lnTo>
                    <a:pt x="564" y="1104"/>
                  </a:lnTo>
                  <a:lnTo>
                    <a:pt x="558" y="1104"/>
                  </a:lnTo>
                  <a:lnTo>
                    <a:pt x="552" y="1110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28" y="1128"/>
                  </a:lnTo>
                  <a:lnTo>
                    <a:pt x="498" y="1128"/>
                  </a:lnTo>
                  <a:lnTo>
                    <a:pt x="492" y="1128"/>
                  </a:lnTo>
                  <a:lnTo>
                    <a:pt x="486" y="1128"/>
                  </a:lnTo>
                  <a:lnTo>
                    <a:pt x="480" y="1128"/>
                  </a:lnTo>
                  <a:lnTo>
                    <a:pt x="474" y="1134"/>
                  </a:lnTo>
                  <a:lnTo>
                    <a:pt x="468" y="1134"/>
                  </a:lnTo>
                  <a:lnTo>
                    <a:pt x="462" y="1134"/>
                  </a:lnTo>
                  <a:lnTo>
                    <a:pt x="456" y="1134"/>
                  </a:lnTo>
                  <a:lnTo>
                    <a:pt x="456" y="1128"/>
                  </a:lnTo>
                  <a:lnTo>
                    <a:pt x="450" y="1122"/>
                  </a:lnTo>
                  <a:lnTo>
                    <a:pt x="426" y="1128"/>
                  </a:lnTo>
                  <a:lnTo>
                    <a:pt x="414" y="1128"/>
                  </a:lnTo>
                  <a:lnTo>
                    <a:pt x="348" y="1134"/>
                  </a:lnTo>
                  <a:lnTo>
                    <a:pt x="348" y="1128"/>
                  </a:lnTo>
                  <a:lnTo>
                    <a:pt x="342" y="1128"/>
                  </a:lnTo>
                  <a:lnTo>
                    <a:pt x="336" y="1122"/>
                  </a:lnTo>
                  <a:lnTo>
                    <a:pt x="330" y="1122"/>
                  </a:lnTo>
                  <a:lnTo>
                    <a:pt x="324" y="1116"/>
                  </a:lnTo>
                  <a:lnTo>
                    <a:pt x="324" y="1110"/>
                  </a:lnTo>
                  <a:lnTo>
                    <a:pt x="318" y="1110"/>
                  </a:lnTo>
                  <a:lnTo>
                    <a:pt x="318" y="1104"/>
                  </a:lnTo>
                  <a:lnTo>
                    <a:pt x="312" y="1092"/>
                  </a:lnTo>
                  <a:lnTo>
                    <a:pt x="306" y="1086"/>
                  </a:lnTo>
                  <a:lnTo>
                    <a:pt x="306" y="1080"/>
                  </a:lnTo>
                  <a:lnTo>
                    <a:pt x="312" y="1074"/>
                  </a:lnTo>
                  <a:lnTo>
                    <a:pt x="306" y="1068"/>
                  </a:lnTo>
                  <a:lnTo>
                    <a:pt x="300" y="1074"/>
                  </a:lnTo>
                  <a:lnTo>
                    <a:pt x="300" y="1068"/>
                  </a:lnTo>
                  <a:lnTo>
                    <a:pt x="294" y="1068"/>
                  </a:lnTo>
                  <a:lnTo>
                    <a:pt x="294" y="1056"/>
                  </a:lnTo>
                  <a:lnTo>
                    <a:pt x="294" y="1026"/>
                  </a:lnTo>
                  <a:lnTo>
                    <a:pt x="294" y="1020"/>
                  </a:lnTo>
                  <a:lnTo>
                    <a:pt x="294" y="1008"/>
                  </a:lnTo>
                  <a:lnTo>
                    <a:pt x="294" y="966"/>
                  </a:lnTo>
                  <a:lnTo>
                    <a:pt x="294" y="960"/>
                  </a:lnTo>
                  <a:lnTo>
                    <a:pt x="294" y="954"/>
                  </a:lnTo>
                  <a:lnTo>
                    <a:pt x="294" y="948"/>
                  </a:lnTo>
                  <a:lnTo>
                    <a:pt x="294" y="942"/>
                  </a:lnTo>
                  <a:lnTo>
                    <a:pt x="300" y="936"/>
                  </a:lnTo>
                  <a:lnTo>
                    <a:pt x="300" y="930"/>
                  </a:lnTo>
                  <a:lnTo>
                    <a:pt x="294" y="930"/>
                  </a:lnTo>
                  <a:lnTo>
                    <a:pt x="288" y="930"/>
                  </a:lnTo>
                  <a:lnTo>
                    <a:pt x="288" y="924"/>
                  </a:lnTo>
                  <a:lnTo>
                    <a:pt x="282" y="918"/>
                  </a:lnTo>
                  <a:lnTo>
                    <a:pt x="282" y="906"/>
                  </a:lnTo>
                  <a:lnTo>
                    <a:pt x="282" y="900"/>
                  </a:lnTo>
                  <a:lnTo>
                    <a:pt x="264" y="894"/>
                  </a:lnTo>
                  <a:lnTo>
                    <a:pt x="252" y="882"/>
                  </a:lnTo>
                  <a:lnTo>
                    <a:pt x="246" y="876"/>
                  </a:lnTo>
                  <a:lnTo>
                    <a:pt x="240" y="876"/>
                  </a:lnTo>
                  <a:lnTo>
                    <a:pt x="240" y="870"/>
                  </a:lnTo>
                  <a:lnTo>
                    <a:pt x="234" y="870"/>
                  </a:lnTo>
                  <a:lnTo>
                    <a:pt x="222" y="864"/>
                  </a:lnTo>
                  <a:lnTo>
                    <a:pt x="216" y="864"/>
                  </a:lnTo>
                  <a:lnTo>
                    <a:pt x="210" y="858"/>
                  </a:lnTo>
                  <a:lnTo>
                    <a:pt x="210" y="852"/>
                  </a:lnTo>
                  <a:lnTo>
                    <a:pt x="210" y="846"/>
                  </a:lnTo>
                  <a:lnTo>
                    <a:pt x="198" y="840"/>
                  </a:lnTo>
                  <a:lnTo>
                    <a:pt x="186" y="834"/>
                  </a:lnTo>
                  <a:lnTo>
                    <a:pt x="180" y="828"/>
                  </a:lnTo>
                  <a:lnTo>
                    <a:pt x="180" y="822"/>
                  </a:lnTo>
                  <a:lnTo>
                    <a:pt x="174" y="822"/>
                  </a:lnTo>
                  <a:lnTo>
                    <a:pt x="162" y="816"/>
                  </a:lnTo>
                  <a:lnTo>
                    <a:pt x="156" y="810"/>
                  </a:lnTo>
                  <a:lnTo>
                    <a:pt x="150" y="810"/>
                  </a:lnTo>
                  <a:lnTo>
                    <a:pt x="144" y="798"/>
                  </a:lnTo>
                  <a:lnTo>
                    <a:pt x="138" y="786"/>
                  </a:lnTo>
                  <a:lnTo>
                    <a:pt x="138" y="780"/>
                  </a:lnTo>
                  <a:lnTo>
                    <a:pt x="144" y="774"/>
                  </a:lnTo>
                  <a:lnTo>
                    <a:pt x="150" y="768"/>
                  </a:lnTo>
                  <a:lnTo>
                    <a:pt x="192" y="768"/>
                  </a:lnTo>
                  <a:lnTo>
                    <a:pt x="210" y="762"/>
                  </a:lnTo>
                  <a:lnTo>
                    <a:pt x="216" y="756"/>
                  </a:lnTo>
                  <a:lnTo>
                    <a:pt x="216" y="744"/>
                  </a:lnTo>
                  <a:lnTo>
                    <a:pt x="216" y="738"/>
                  </a:lnTo>
                  <a:lnTo>
                    <a:pt x="216" y="732"/>
                  </a:lnTo>
                  <a:lnTo>
                    <a:pt x="216" y="726"/>
                  </a:lnTo>
                  <a:lnTo>
                    <a:pt x="216" y="720"/>
                  </a:lnTo>
                  <a:lnTo>
                    <a:pt x="228" y="702"/>
                  </a:lnTo>
                  <a:lnTo>
                    <a:pt x="234" y="696"/>
                  </a:lnTo>
                  <a:lnTo>
                    <a:pt x="240" y="690"/>
                  </a:lnTo>
                  <a:lnTo>
                    <a:pt x="240" y="684"/>
                  </a:lnTo>
                  <a:lnTo>
                    <a:pt x="234" y="678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0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22" y="630"/>
                  </a:lnTo>
                  <a:lnTo>
                    <a:pt x="222" y="618"/>
                  </a:lnTo>
                  <a:lnTo>
                    <a:pt x="222" y="582"/>
                  </a:lnTo>
                  <a:lnTo>
                    <a:pt x="228" y="582"/>
                  </a:lnTo>
                  <a:lnTo>
                    <a:pt x="222" y="564"/>
                  </a:lnTo>
                  <a:lnTo>
                    <a:pt x="210" y="552"/>
                  </a:lnTo>
                  <a:lnTo>
                    <a:pt x="192" y="540"/>
                  </a:lnTo>
                  <a:lnTo>
                    <a:pt x="174" y="540"/>
                  </a:lnTo>
                  <a:lnTo>
                    <a:pt x="150" y="534"/>
                  </a:lnTo>
                  <a:lnTo>
                    <a:pt x="126" y="528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90" y="516"/>
                  </a:lnTo>
                  <a:lnTo>
                    <a:pt x="78" y="504"/>
                  </a:lnTo>
                  <a:lnTo>
                    <a:pt x="72" y="498"/>
                  </a:lnTo>
                  <a:lnTo>
                    <a:pt x="66" y="486"/>
                  </a:lnTo>
                  <a:lnTo>
                    <a:pt x="54" y="468"/>
                  </a:lnTo>
                  <a:lnTo>
                    <a:pt x="54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42" y="438"/>
                  </a:lnTo>
                  <a:lnTo>
                    <a:pt x="36" y="438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24" y="384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2" y="360"/>
                  </a:lnTo>
                  <a:lnTo>
                    <a:pt x="6" y="360"/>
                  </a:lnTo>
                  <a:lnTo>
                    <a:pt x="0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0"/>
                  </a:lnTo>
                  <a:lnTo>
                    <a:pt x="18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8" y="270"/>
                  </a:lnTo>
                  <a:lnTo>
                    <a:pt x="90" y="276"/>
                  </a:lnTo>
                  <a:lnTo>
                    <a:pt x="108" y="294"/>
                  </a:lnTo>
                  <a:lnTo>
                    <a:pt x="114" y="294"/>
                  </a:lnTo>
                  <a:lnTo>
                    <a:pt x="114" y="276"/>
                  </a:lnTo>
                  <a:lnTo>
                    <a:pt x="114" y="270"/>
                  </a:lnTo>
                  <a:lnTo>
                    <a:pt x="102" y="258"/>
                  </a:lnTo>
                  <a:lnTo>
                    <a:pt x="96" y="246"/>
                  </a:lnTo>
                  <a:lnTo>
                    <a:pt x="90" y="234"/>
                  </a:lnTo>
                  <a:lnTo>
                    <a:pt x="78" y="228"/>
                  </a:lnTo>
                  <a:lnTo>
                    <a:pt x="72" y="216"/>
                  </a:lnTo>
                  <a:lnTo>
                    <a:pt x="66" y="192"/>
                  </a:lnTo>
                  <a:lnTo>
                    <a:pt x="90" y="174"/>
                  </a:lnTo>
                  <a:lnTo>
                    <a:pt x="120" y="150"/>
                  </a:lnTo>
                  <a:lnTo>
                    <a:pt x="132" y="150"/>
                  </a:lnTo>
                  <a:lnTo>
                    <a:pt x="138" y="144"/>
                  </a:lnTo>
                  <a:lnTo>
                    <a:pt x="138" y="138"/>
                  </a:lnTo>
                  <a:lnTo>
                    <a:pt x="156" y="126"/>
                  </a:lnTo>
                  <a:lnTo>
                    <a:pt x="180" y="114"/>
                  </a:lnTo>
                  <a:lnTo>
                    <a:pt x="216" y="114"/>
                  </a:lnTo>
                  <a:lnTo>
                    <a:pt x="222" y="114"/>
                  </a:lnTo>
                  <a:lnTo>
                    <a:pt x="222" y="120"/>
                  </a:lnTo>
                  <a:lnTo>
                    <a:pt x="222" y="126"/>
                  </a:lnTo>
                  <a:lnTo>
                    <a:pt x="222" y="132"/>
                  </a:lnTo>
                  <a:lnTo>
                    <a:pt x="228" y="138"/>
                  </a:lnTo>
                  <a:lnTo>
                    <a:pt x="228" y="144"/>
                  </a:lnTo>
                  <a:lnTo>
                    <a:pt x="228" y="150"/>
                  </a:lnTo>
                  <a:lnTo>
                    <a:pt x="234" y="150"/>
                  </a:lnTo>
                  <a:lnTo>
                    <a:pt x="234" y="144"/>
                  </a:lnTo>
                  <a:lnTo>
                    <a:pt x="240" y="144"/>
                  </a:lnTo>
                  <a:lnTo>
                    <a:pt x="246" y="144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58" y="126"/>
                  </a:lnTo>
                  <a:lnTo>
                    <a:pt x="258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76" y="96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6" y="72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36"/>
                  </a:lnTo>
                  <a:lnTo>
                    <a:pt x="330" y="24"/>
                  </a:lnTo>
                  <a:lnTo>
                    <a:pt x="330" y="18"/>
                  </a:lnTo>
                  <a:lnTo>
                    <a:pt x="330" y="12"/>
                  </a:lnTo>
                  <a:lnTo>
                    <a:pt x="336" y="6"/>
                  </a:lnTo>
                  <a:lnTo>
                    <a:pt x="366" y="0"/>
                  </a:lnTo>
                  <a:lnTo>
                    <a:pt x="372" y="6"/>
                  </a:lnTo>
                  <a:lnTo>
                    <a:pt x="384" y="12"/>
                  </a:lnTo>
                  <a:lnTo>
                    <a:pt x="402" y="12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18"/>
                  </a:lnTo>
                  <a:lnTo>
                    <a:pt x="420" y="18"/>
                  </a:lnTo>
                  <a:lnTo>
                    <a:pt x="426" y="24"/>
                  </a:lnTo>
                  <a:lnTo>
                    <a:pt x="432" y="30"/>
                  </a:lnTo>
                  <a:lnTo>
                    <a:pt x="438" y="36"/>
                  </a:lnTo>
                  <a:lnTo>
                    <a:pt x="444" y="42"/>
                  </a:lnTo>
                  <a:lnTo>
                    <a:pt x="450" y="42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16" y="78"/>
                  </a:lnTo>
                  <a:lnTo>
                    <a:pt x="522" y="102"/>
                  </a:lnTo>
                  <a:lnTo>
                    <a:pt x="522" y="108"/>
                  </a:lnTo>
                  <a:lnTo>
                    <a:pt x="528" y="126"/>
                  </a:lnTo>
                  <a:lnTo>
                    <a:pt x="534" y="126"/>
                  </a:lnTo>
                  <a:lnTo>
                    <a:pt x="540" y="120"/>
                  </a:lnTo>
                  <a:lnTo>
                    <a:pt x="546" y="126"/>
                  </a:lnTo>
                  <a:lnTo>
                    <a:pt x="552" y="126"/>
                  </a:lnTo>
                  <a:lnTo>
                    <a:pt x="558" y="132"/>
                  </a:lnTo>
                  <a:lnTo>
                    <a:pt x="564" y="138"/>
                  </a:lnTo>
                  <a:lnTo>
                    <a:pt x="570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594" y="168"/>
                  </a:lnTo>
                  <a:lnTo>
                    <a:pt x="600" y="174"/>
                  </a:lnTo>
                  <a:lnTo>
                    <a:pt x="606" y="180"/>
                  </a:lnTo>
                  <a:lnTo>
                    <a:pt x="606" y="186"/>
                  </a:lnTo>
                  <a:lnTo>
                    <a:pt x="612" y="192"/>
                  </a:lnTo>
                  <a:lnTo>
                    <a:pt x="612" y="198"/>
                  </a:lnTo>
                  <a:lnTo>
                    <a:pt x="624" y="204"/>
                  </a:lnTo>
                  <a:lnTo>
                    <a:pt x="624" y="210"/>
                  </a:lnTo>
                  <a:lnTo>
                    <a:pt x="630" y="216"/>
                  </a:lnTo>
                  <a:lnTo>
                    <a:pt x="636" y="222"/>
                  </a:lnTo>
                  <a:lnTo>
                    <a:pt x="636" y="228"/>
                  </a:lnTo>
                  <a:lnTo>
                    <a:pt x="636" y="234"/>
                  </a:lnTo>
                  <a:lnTo>
                    <a:pt x="636" y="252"/>
                  </a:lnTo>
                  <a:lnTo>
                    <a:pt x="636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42" y="276"/>
                  </a:lnTo>
                  <a:lnTo>
                    <a:pt x="642" y="282"/>
                  </a:lnTo>
                  <a:lnTo>
                    <a:pt x="642" y="288"/>
                  </a:lnTo>
                  <a:lnTo>
                    <a:pt x="642" y="300"/>
                  </a:lnTo>
                  <a:lnTo>
                    <a:pt x="642" y="306"/>
                  </a:lnTo>
                  <a:lnTo>
                    <a:pt x="636" y="312"/>
                  </a:lnTo>
                  <a:lnTo>
                    <a:pt x="636" y="324"/>
                  </a:lnTo>
                  <a:lnTo>
                    <a:pt x="636" y="342"/>
                  </a:lnTo>
                  <a:lnTo>
                    <a:pt x="630" y="354"/>
                  </a:lnTo>
                  <a:lnTo>
                    <a:pt x="630" y="366"/>
                  </a:lnTo>
                  <a:lnTo>
                    <a:pt x="624" y="378"/>
                  </a:lnTo>
                  <a:lnTo>
                    <a:pt x="624" y="384"/>
                  </a:lnTo>
                  <a:lnTo>
                    <a:pt x="636" y="396"/>
                  </a:lnTo>
                  <a:lnTo>
                    <a:pt x="636" y="402"/>
                  </a:lnTo>
                  <a:lnTo>
                    <a:pt x="636" y="408"/>
                  </a:lnTo>
                  <a:lnTo>
                    <a:pt x="630" y="414"/>
                  </a:lnTo>
                  <a:lnTo>
                    <a:pt x="630" y="420"/>
                  </a:lnTo>
                  <a:lnTo>
                    <a:pt x="630" y="426"/>
                  </a:lnTo>
                  <a:lnTo>
                    <a:pt x="630" y="432"/>
                  </a:lnTo>
                  <a:lnTo>
                    <a:pt x="624" y="438"/>
                  </a:lnTo>
                  <a:lnTo>
                    <a:pt x="624" y="444"/>
                  </a:lnTo>
                  <a:lnTo>
                    <a:pt x="624" y="450"/>
                  </a:lnTo>
                  <a:lnTo>
                    <a:pt x="630" y="450"/>
                  </a:lnTo>
                  <a:lnTo>
                    <a:pt x="630" y="456"/>
                  </a:lnTo>
                  <a:lnTo>
                    <a:pt x="630" y="462"/>
                  </a:lnTo>
                  <a:lnTo>
                    <a:pt x="636" y="468"/>
                  </a:lnTo>
                  <a:lnTo>
                    <a:pt x="642" y="456"/>
                  </a:lnTo>
                  <a:lnTo>
                    <a:pt x="642" y="450"/>
                  </a:lnTo>
                  <a:lnTo>
                    <a:pt x="648" y="450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60" y="444"/>
                  </a:lnTo>
                  <a:lnTo>
                    <a:pt x="666" y="450"/>
                  </a:lnTo>
                  <a:lnTo>
                    <a:pt x="672" y="444"/>
                  </a:lnTo>
                  <a:lnTo>
                    <a:pt x="678" y="444"/>
                  </a:lnTo>
                  <a:lnTo>
                    <a:pt x="684" y="438"/>
                  </a:lnTo>
                  <a:lnTo>
                    <a:pt x="690" y="438"/>
                  </a:lnTo>
                  <a:lnTo>
                    <a:pt x="696" y="438"/>
                  </a:lnTo>
                  <a:lnTo>
                    <a:pt x="702" y="444"/>
                  </a:lnTo>
                  <a:lnTo>
                    <a:pt x="702" y="450"/>
                  </a:lnTo>
                  <a:lnTo>
                    <a:pt x="708" y="450"/>
                  </a:lnTo>
                  <a:lnTo>
                    <a:pt x="708" y="456"/>
                  </a:lnTo>
                  <a:lnTo>
                    <a:pt x="708" y="462"/>
                  </a:lnTo>
                  <a:lnTo>
                    <a:pt x="708" y="468"/>
                  </a:lnTo>
                  <a:lnTo>
                    <a:pt x="708" y="504"/>
                  </a:lnTo>
                  <a:lnTo>
                    <a:pt x="696" y="564"/>
                  </a:lnTo>
                  <a:lnTo>
                    <a:pt x="696" y="582"/>
                  </a:lnTo>
                  <a:lnTo>
                    <a:pt x="696" y="600"/>
                  </a:lnTo>
                  <a:lnTo>
                    <a:pt x="690" y="606"/>
                  </a:lnTo>
                  <a:lnTo>
                    <a:pt x="684" y="606"/>
                  </a:lnTo>
                  <a:lnTo>
                    <a:pt x="690" y="612"/>
                  </a:lnTo>
                  <a:lnTo>
                    <a:pt x="684" y="612"/>
                  </a:lnTo>
                  <a:lnTo>
                    <a:pt x="678" y="618"/>
                  </a:lnTo>
                  <a:lnTo>
                    <a:pt x="672" y="624"/>
                  </a:lnTo>
                  <a:lnTo>
                    <a:pt x="666" y="630"/>
                  </a:lnTo>
                  <a:lnTo>
                    <a:pt x="660" y="636"/>
                  </a:lnTo>
                  <a:lnTo>
                    <a:pt x="672" y="636"/>
                  </a:lnTo>
                  <a:lnTo>
                    <a:pt x="678" y="642"/>
                  </a:lnTo>
                  <a:lnTo>
                    <a:pt x="678" y="648"/>
                  </a:lnTo>
                  <a:lnTo>
                    <a:pt x="684" y="654"/>
                  </a:lnTo>
                  <a:lnTo>
                    <a:pt x="690" y="666"/>
                  </a:lnTo>
                  <a:lnTo>
                    <a:pt x="690" y="672"/>
                  </a:lnTo>
                  <a:lnTo>
                    <a:pt x="696" y="672"/>
                  </a:lnTo>
                  <a:lnTo>
                    <a:pt x="696" y="684"/>
                  </a:lnTo>
                  <a:lnTo>
                    <a:pt x="708" y="690"/>
                  </a:lnTo>
                  <a:lnTo>
                    <a:pt x="720" y="696"/>
                  </a:lnTo>
                  <a:lnTo>
                    <a:pt x="726" y="696"/>
                  </a:lnTo>
                  <a:lnTo>
                    <a:pt x="732" y="696"/>
                  </a:lnTo>
                  <a:lnTo>
                    <a:pt x="738" y="696"/>
                  </a:lnTo>
                  <a:lnTo>
                    <a:pt x="738" y="702"/>
                  </a:lnTo>
                  <a:lnTo>
                    <a:pt x="738" y="708"/>
                  </a:lnTo>
                  <a:lnTo>
                    <a:pt x="738" y="714"/>
                  </a:lnTo>
                  <a:lnTo>
                    <a:pt x="744" y="714"/>
                  </a:lnTo>
                  <a:lnTo>
                    <a:pt x="756" y="720"/>
                  </a:lnTo>
                  <a:lnTo>
                    <a:pt x="780" y="726"/>
                  </a:lnTo>
                  <a:lnTo>
                    <a:pt x="792" y="732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22" y="774"/>
                  </a:lnTo>
                  <a:lnTo>
                    <a:pt x="834" y="786"/>
                  </a:lnTo>
                  <a:lnTo>
                    <a:pt x="834" y="792"/>
                  </a:lnTo>
                  <a:lnTo>
                    <a:pt x="834" y="798"/>
                  </a:lnTo>
                  <a:lnTo>
                    <a:pt x="828" y="798"/>
                  </a:lnTo>
                  <a:lnTo>
                    <a:pt x="828" y="804"/>
                  </a:lnTo>
                  <a:lnTo>
                    <a:pt x="834" y="816"/>
                  </a:lnTo>
                  <a:lnTo>
                    <a:pt x="834" y="834"/>
                  </a:lnTo>
                  <a:lnTo>
                    <a:pt x="834" y="840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34" y="858"/>
                  </a:lnTo>
                  <a:lnTo>
                    <a:pt x="834" y="864"/>
                  </a:lnTo>
                  <a:lnTo>
                    <a:pt x="834" y="876"/>
                  </a:lnTo>
                  <a:lnTo>
                    <a:pt x="828" y="960"/>
                  </a:lnTo>
                  <a:lnTo>
                    <a:pt x="816" y="966"/>
                  </a:lnTo>
                  <a:lnTo>
                    <a:pt x="798" y="972"/>
                  </a:lnTo>
                  <a:lnTo>
                    <a:pt x="786" y="990"/>
                  </a:lnTo>
                  <a:lnTo>
                    <a:pt x="774" y="990"/>
                  </a:lnTo>
                  <a:lnTo>
                    <a:pt x="762" y="1008"/>
                  </a:lnTo>
                  <a:lnTo>
                    <a:pt x="732" y="1014"/>
                  </a:lnTo>
                  <a:lnTo>
                    <a:pt x="714" y="1026"/>
                  </a:lnTo>
                  <a:lnTo>
                    <a:pt x="690" y="1050"/>
                  </a:lnTo>
                  <a:lnTo>
                    <a:pt x="654" y="1056"/>
                  </a:lnTo>
                  <a:lnTo>
                    <a:pt x="630" y="1056"/>
                  </a:lnTo>
                  <a:lnTo>
                    <a:pt x="606" y="1068"/>
                  </a:lnTo>
                  <a:lnTo>
                    <a:pt x="600" y="1092"/>
                  </a:lnTo>
                  <a:lnTo>
                    <a:pt x="600" y="1098"/>
                  </a:lnTo>
                  <a:lnTo>
                    <a:pt x="588" y="1104"/>
                  </a:lnTo>
                  <a:lnTo>
                    <a:pt x="582" y="1104"/>
                  </a:lnTo>
                  <a:lnTo>
                    <a:pt x="570" y="1110"/>
                  </a:lnTo>
                  <a:lnTo>
                    <a:pt x="564" y="111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7" name="Freeform 12">
              <a:extLst>
                <a:ext uri="{FF2B5EF4-FFF2-40B4-BE49-F238E27FC236}">
                  <a16:creationId xmlns:a16="http://schemas.microsoft.com/office/drawing/2014/main" id="{6C93C114-E5D0-49BB-A44C-A127CE01CFE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810" y="2271838"/>
              <a:ext cx="923547" cy="845397"/>
            </a:xfrm>
            <a:custGeom>
              <a:avLst/>
              <a:gdLst>
                <a:gd name="T0" fmla="*/ 138 w 1740"/>
                <a:gd name="T1" fmla="*/ 134 h 1590"/>
                <a:gd name="T2" fmla="*/ 128 w 1740"/>
                <a:gd name="T3" fmla="*/ 131 h 1590"/>
                <a:gd name="T4" fmla="*/ 121 w 1740"/>
                <a:gd name="T5" fmla="*/ 130 h 1590"/>
                <a:gd name="T6" fmla="*/ 119 w 1740"/>
                <a:gd name="T7" fmla="*/ 134 h 1590"/>
                <a:gd name="T8" fmla="*/ 110 w 1740"/>
                <a:gd name="T9" fmla="*/ 132 h 1590"/>
                <a:gd name="T10" fmla="*/ 111 w 1740"/>
                <a:gd name="T11" fmla="*/ 127 h 1590"/>
                <a:gd name="T12" fmla="*/ 103 w 1740"/>
                <a:gd name="T13" fmla="*/ 117 h 1590"/>
                <a:gd name="T14" fmla="*/ 93 w 1740"/>
                <a:gd name="T15" fmla="*/ 123 h 1590"/>
                <a:gd name="T16" fmla="*/ 80 w 1740"/>
                <a:gd name="T17" fmla="*/ 118 h 1590"/>
                <a:gd name="T18" fmla="*/ 66 w 1740"/>
                <a:gd name="T19" fmla="*/ 117 h 1590"/>
                <a:gd name="T20" fmla="*/ 66 w 1740"/>
                <a:gd name="T21" fmla="*/ 110 h 1590"/>
                <a:gd name="T22" fmla="*/ 69 w 1740"/>
                <a:gd name="T23" fmla="*/ 107 h 1590"/>
                <a:gd name="T24" fmla="*/ 68 w 1740"/>
                <a:gd name="T25" fmla="*/ 102 h 1590"/>
                <a:gd name="T26" fmla="*/ 68 w 1740"/>
                <a:gd name="T27" fmla="*/ 96 h 1590"/>
                <a:gd name="T28" fmla="*/ 67 w 1740"/>
                <a:gd name="T29" fmla="*/ 82 h 1590"/>
                <a:gd name="T30" fmla="*/ 58 w 1740"/>
                <a:gd name="T31" fmla="*/ 82 h 1590"/>
                <a:gd name="T32" fmla="*/ 52 w 1740"/>
                <a:gd name="T33" fmla="*/ 82 h 1590"/>
                <a:gd name="T34" fmla="*/ 46 w 1740"/>
                <a:gd name="T35" fmla="*/ 80 h 1590"/>
                <a:gd name="T36" fmla="*/ 45 w 1740"/>
                <a:gd name="T37" fmla="*/ 74 h 1590"/>
                <a:gd name="T38" fmla="*/ 52 w 1740"/>
                <a:gd name="T39" fmla="*/ 70 h 1590"/>
                <a:gd name="T40" fmla="*/ 52 w 1740"/>
                <a:gd name="T41" fmla="*/ 64 h 1590"/>
                <a:gd name="T42" fmla="*/ 42 w 1740"/>
                <a:gd name="T43" fmla="*/ 53 h 1590"/>
                <a:gd name="T44" fmla="*/ 35 w 1740"/>
                <a:gd name="T45" fmla="*/ 52 h 1590"/>
                <a:gd name="T46" fmla="*/ 20 w 1740"/>
                <a:gd name="T47" fmla="*/ 51 h 1590"/>
                <a:gd name="T48" fmla="*/ 17 w 1740"/>
                <a:gd name="T49" fmla="*/ 56 h 1590"/>
                <a:gd name="T50" fmla="*/ 11 w 1740"/>
                <a:gd name="T51" fmla="*/ 61 h 1590"/>
                <a:gd name="T52" fmla="*/ 7 w 1740"/>
                <a:gd name="T53" fmla="*/ 63 h 1590"/>
                <a:gd name="T54" fmla="*/ 0 w 1740"/>
                <a:gd name="T55" fmla="*/ 55 h 1590"/>
                <a:gd name="T56" fmla="*/ 2 w 1740"/>
                <a:gd name="T57" fmla="*/ 50 h 1590"/>
                <a:gd name="T58" fmla="*/ 0 w 1740"/>
                <a:gd name="T59" fmla="*/ 44 h 1590"/>
                <a:gd name="T60" fmla="*/ 2 w 1740"/>
                <a:gd name="T61" fmla="*/ 38 h 1590"/>
                <a:gd name="T62" fmla="*/ 7 w 1740"/>
                <a:gd name="T63" fmla="*/ 35 h 1590"/>
                <a:gd name="T64" fmla="*/ 11 w 1740"/>
                <a:gd name="T65" fmla="*/ 30 h 1590"/>
                <a:gd name="T66" fmla="*/ 21 w 1740"/>
                <a:gd name="T67" fmla="*/ 26 h 1590"/>
                <a:gd name="T68" fmla="*/ 29 w 1740"/>
                <a:gd name="T69" fmla="*/ 25 h 1590"/>
                <a:gd name="T70" fmla="*/ 35 w 1740"/>
                <a:gd name="T71" fmla="*/ 21 h 1590"/>
                <a:gd name="T72" fmla="*/ 36 w 1740"/>
                <a:gd name="T73" fmla="*/ 16 h 1590"/>
                <a:gd name="T74" fmla="*/ 41 w 1740"/>
                <a:gd name="T75" fmla="*/ 11 h 1590"/>
                <a:gd name="T76" fmla="*/ 51 w 1740"/>
                <a:gd name="T77" fmla="*/ 9 h 1590"/>
                <a:gd name="T78" fmla="*/ 59 w 1740"/>
                <a:gd name="T79" fmla="*/ 21 h 1590"/>
                <a:gd name="T80" fmla="*/ 65 w 1740"/>
                <a:gd name="T81" fmla="*/ 13 h 1590"/>
                <a:gd name="T82" fmla="*/ 73 w 1740"/>
                <a:gd name="T83" fmla="*/ 8 h 1590"/>
                <a:gd name="T84" fmla="*/ 82 w 1740"/>
                <a:gd name="T85" fmla="*/ 12 h 1590"/>
                <a:gd name="T86" fmla="*/ 88 w 1740"/>
                <a:gd name="T87" fmla="*/ 12 h 1590"/>
                <a:gd name="T88" fmla="*/ 99 w 1740"/>
                <a:gd name="T89" fmla="*/ 7 h 1590"/>
                <a:gd name="T90" fmla="*/ 114 w 1740"/>
                <a:gd name="T91" fmla="*/ 0 h 1590"/>
                <a:gd name="T92" fmla="*/ 117 w 1740"/>
                <a:gd name="T93" fmla="*/ 10 h 1590"/>
                <a:gd name="T94" fmla="*/ 132 w 1740"/>
                <a:gd name="T95" fmla="*/ 17 h 1590"/>
                <a:gd name="T96" fmla="*/ 140 w 1740"/>
                <a:gd name="T97" fmla="*/ 25 h 1590"/>
                <a:gd name="T98" fmla="*/ 140 w 1740"/>
                <a:gd name="T99" fmla="*/ 33 h 1590"/>
                <a:gd name="T100" fmla="*/ 140 w 1740"/>
                <a:gd name="T101" fmla="*/ 44 h 1590"/>
                <a:gd name="T102" fmla="*/ 138 w 1740"/>
                <a:gd name="T103" fmla="*/ 48 h 1590"/>
                <a:gd name="T104" fmla="*/ 141 w 1740"/>
                <a:gd name="T105" fmla="*/ 49 h 1590"/>
                <a:gd name="T106" fmla="*/ 146 w 1740"/>
                <a:gd name="T107" fmla="*/ 50 h 1590"/>
                <a:gd name="T108" fmla="*/ 149 w 1740"/>
                <a:gd name="T109" fmla="*/ 59 h 1590"/>
                <a:gd name="T110" fmla="*/ 148 w 1740"/>
                <a:gd name="T111" fmla="*/ 67 h 1590"/>
                <a:gd name="T112" fmla="*/ 141 w 1740"/>
                <a:gd name="T113" fmla="*/ 78 h 1590"/>
                <a:gd name="T114" fmla="*/ 141 w 1740"/>
                <a:gd name="T115" fmla="*/ 91 h 1590"/>
                <a:gd name="T116" fmla="*/ 138 w 1740"/>
                <a:gd name="T117" fmla="*/ 102 h 1590"/>
                <a:gd name="T118" fmla="*/ 138 w 1740"/>
                <a:gd name="T119" fmla="*/ 110 h 1590"/>
                <a:gd name="T120" fmla="*/ 144 w 1740"/>
                <a:gd name="T121" fmla="*/ 118 h 1590"/>
                <a:gd name="T122" fmla="*/ 143 w 1740"/>
                <a:gd name="T123" fmla="*/ 125 h 159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740"/>
                <a:gd name="T187" fmla="*/ 0 h 1590"/>
                <a:gd name="T188" fmla="*/ 1740 w 1740"/>
                <a:gd name="T189" fmla="*/ 1590 h 159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740" h="1590">
                  <a:moveTo>
                    <a:pt x="1638" y="1458"/>
                  </a:moveTo>
                  <a:lnTo>
                    <a:pt x="1638" y="1482"/>
                  </a:lnTo>
                  <a:lnTo>
                    <a:pt x="1638" y="1500"/>
                  </a:lnTo>
                  <a:lnTo>
                    <a:pt x="1626" y="1500"/>
                  </a:lnTo>
                  <a:lnTo>
                    <a:pt x="1620" y="1500"/>
                  </a:lnTo>
                  <a:lnTo>
                    <a:pt x="1614" y="1500"/>
                  </a:lnTo>
                  <a:lnTo>
                    <a:pt x="1614" y="1506"/>
                  </a:lnTo>
                  <a:lnTo>
                    <a:pt x="1614" y="1512"/>
                  </a:lnTo>
                  <a:lnTo>
                    <a:pt x="1620" y="1518"/>
                  </a:lnTo>
                  <a:lnTo>
                    <a:pt x="1614" y="1524"/>
                  </a:lnTo>
                  <a:lnTo>
                    <a:pt x="1590" y="1536"/>
                  </a:lnTo>
                  <a:lnTo>
                    <a:pt x="1584" y="1566"/>
                  </a:lnTo>
                  <a:lnTo>
                    <a:pt x="1578" y="1590"/>
                  </a:lnTo>
                  <a:lnTo>
                    <a:pt x="1548" y="1590"/>
                  </a:lnTo>
                  <a:lnTo>
                    <a:pt x="1542" y="1584"/>
                  </a:lnTo>
                  <a:lnTo>
                    <a:pt x="1542" y="1572"/>
                  </a:lnTo>
                  <a:lnTo>
                    <a:pt x="1536" y="1566"/>
                  </a:lnTo>
                  <a:lnTo>
                    <a:pt x="1536" y="1554"/>
                  </a:lnTo>
                  <a:lnTo>
                    <a:pt x="1536" y="1548"/>
                  </a:lnTo>
                  <a:lnTo>
                    <a:pt x="1506" y="1530"/>
                  </a:lnTo>
                  <a:lnTo>
                    <a:pt x="1488" y="1506"/>
                  </a:lnTo>
                  <a:lnTo>
                    <a:pt x="1464" y="1500"/>
                  </a:lnTo>
                  <a:lnTo>
                    <a:pt x="1470" y="1494"/>
                  </a:lnTo>
                  <a:lnTo>
                    <a:pt x="1470" y="1488"/>
                  </a:lnTo>
                  <a:lnTo>
                    <a:pt x="1470" y="1482"/>
                  </a:lnTo>
                  <a:lnTo>
                    <a:pt x="1428" y="1464"/>
                  </a:lnTo>
                  <a:lnTo>
                    <a:pt x="1404" y="1470"/>
                  </a:lnTo>
                  <a:lnTo>
                    <a:pt x="1398" y="1470"/>
                  </a:lnTo>
                  <a:lnTo>
                    <a:pt x="1392" y="1476"/>
                  </a:lnTo>
                  <a:lnTo>
                    <a:pt x="1386" y="1476"/>
                  </a:lnTo>
                  <a:lnTo>
                    <a:pt x="1386" y="1482"/>
                  </a:lnTo>
                  <a:lnTo>
                    <a:pt x="1392" y="1482"/>
                  </a:lnTo>
                  <a:lnTo>
                    <a:pt x="1386" y="1488"/>
                  </a:lnTo>
                  <a:lnTo>
                    <a:pt x="1386" y="1494"/>
                  </a:lnTo>
                  <a:lnTo>
                    <a:pt x="1380" y="1494"/>
                  </a:lnTo>
                  <a:lnTo>
                    <a:pt x="1380" y="1500"/>
                  </a:lnTo>
                  <a:lnTo>
                    <a:pt x="1380" y="1512"/>
                  </a:lnTo>
                  <a:lnTo>
                    <a:pt x="1380" y="1518"/>
                  </a:lnTo>
                  <a:lnTo>
                    <a:pt x="1380" y="1524"/>
                  </a:lnTo>
                  <a:lnTo>
                    <a:pt x="1380" y="1530"/>
                  </a:lnTo>
                  <a:lnTo>
                    <a:pt x="1374" y="1536"/>
                  </a:lnTo>
                  <a:lnTo>
                    <a:pt x="1374" y="1542"/>
                  </a:lnTo>
                  <a:lnTo>
                    <a:pt x="1368" y="1542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44" y="1554"/>
                  </a:lnTo>
                  <a:lnTo>
                    <a:pt x="1332" y="1560"/>
                  </a:lnTo>
                  <a:lnTo>
                    <a:pt x="1302" y="1554"/>
                  </a:lnTo>
                  <a:lnTo>
                    <a:pt x="1290" y="1554"/>
                  </a:lnTo>
                  <a:lnTo>
                    <a:pt x="1278" y="1542"/>
                  </a:lnTo>
                  <a:lnTo>
                    <a:pt x="1272" y="1530"/>
                  </a:lnTo>
                  <a:lnTo>
                    <a:pt x="1272" y="1524"/>
                  </a:lnTo>
                  <a:lnTo>
                    <a:pt x="1272" y="1518"/>
                  </a:lnTo>
                  <a:lnTo>
                    <a:pt x="1266" y="1518"/>
                  </a:lnTo>
                  <a:lnTo>
                    <a:pt x="1266" y="1512"/>
                  </a:lnTo>
                  <a:lnTo>
                    <a:pt x="1266" y="1506"/>
                  </a:lnTo>
                  <a:lnTo>
                    <a:pt x="1272" y="1506"/>
                  </a:lnTo>
                  <a:lnTo>
                    <a:pt x="1272" y="1500"/>
                  </a:lnTo>
                  <a:lnTo>
                    <a:pt x="1278" y="1500"/>
                  </a:lnTo>
                  <a:lnTo>
                    <a:pt x="1278" y="1494"/>
                  </a:lnTo>
                  <a:lnTo>
                    <a:pt x="1278" y="1488"/>
                  </a:lnTo>
                  <a:lnTo>
                    <a:pt x="1284" y="1488"/>
                  </a:lnTo>
                  <a:lnTo>
                    <a:pt x="1284" y="1482"/>
                  </a:lnTo>
                  <a:lnTo>
                    <a:pt x="1290" y="1476"/>
                  </a:lnTo>
                  <a:lnTo>
                    <a:pt x="1284" y="1470"/>
                  </a:lnTo>
                  <a:lnTo>
                    <a:pt x="1278" y="1458"/>
                  </a:lnTo>
                  <a:lnTo>
                    <a:pt x="1278" y="1452"/>
                  </a:lnTo>
                  <a:lnTo>
                    <a:pt x="1260" y="1428"/>
                  </a:lnTo>
                  <a:lnTo>
                    <a:pt x="1254" y="1416"/>
                  </a:lnTo>
                  <a:lnTo>
                    <a:pt x="1254" y="1410"/>
                  </a:lnTo>
                  <a:lnTo>
                    <a:pt x="1248" y="1398"/>
                  </a:lnTo>
                  <a:lnTo>
                    <a:pt x="1242" y="1398"/>
                  </a:lnTo>
                  <a:lnTo>
                    <a:pt x="1236" y="1398"/>
                  </a:lnTo>
                  <a:lnTo>
                    <a:pt x="1218" y="1386"/>
                  </a:lnTo>
                  <a:lnTo>
                    <a:pt x="1212" y="1362"/>
                  </a:lnTo>
                  <a:lnTo>
                    <a:pt x="1200" y="1344"/>
                  </a:lnTo>
                  <a:lnTo>
                    <a:pt x="1188" y="1338"/>
                  </a:lnTo>
                  <a:lnTo>
                    <a:pt x="1164" y="1338"/>
                  </a:lnTo>
                  <a:lnTo>
                    <a:pt x="1158" y="1344"/>
                  </a:lnTo>
                  <a:lnTo>
                    <a:pt x="1152" y="1350"/>
                  </a:lnTo>
                  <a:lnTo>
                    <a:pt x="1152" y="1356"/>
                  </a:lnTo>
                  <a:lnTo>
                    <a:pt x="1140" y="1362"/>
                  </a:lnTo>
                  <a:lnTo>
                    <a:pt x="1134" y="1380"/>
                  </a:lnTo>
                  <a:lnTo>
                    <a:pt x="1116" y="1398"/>
                  </a:lnTo>
                  <a:lnTo>
                    <a:pt x="1110" y="1416"/>
                  </a:lnTo>
                  <a:lnTo>
                    <a:pt x="1086" y="1416"/>
                  </a:lnTo>
                  <a:lnTo>
                    <a:pt x="1080" y="1410"/>
                  </a:lnTo>
                  <a:lnTo>
                    <a:pt x="1074" y="1410"/>
                  </a:lnTo>
                  <a:lnTo>
                    <a:pt x="1074" y="1404"/>
                  </a:lnTo>
                  <a:lnTo>
                    <a:pt x="1062" y="1404"/>
                  </a:lnTo>
                  <a:lnTo>
                    <a:pt x="1062" y="1380"/>
                  </a:lnTo>
                  <a:lnTo>
                    <a:pt x="1038" y="1380"/>
                  </a:lnTo>
                  <a:lnTo>
                    <a:pt x="1026" y="1350"/>
                  </a:lnTo>
                  <a:lnTo>
                    <a:pt x="996" y="1326"/>
                  </a:lnTo>
                  <a:lnTo>
                    <a:pt x="966" y="1314"/>
                  </a:lnTo>
                  <a:lnTo>
                    <a:pt x="954" y="1320"/>
                  </a:lnTo>
                  <a:lnTo>
                    <a:pt x="942" y="1338"/>
                  </a:lnTo>
                  <a:lnTo>
                    <a:pt x="930" y="1338"/>
                  </a:lnTo>
                  <a:lnTo>
                    <a:pt x="924" y="1350"/>
                  </a:lnTo>
                  <a:lnTo>
                    <a:pt x="906" y="1356"/>
                  </a:lnTo>
                  <a:lnTo>
                    <a:pt x="846" y="1356"/>
                  </a:lnTo>
                  <a:lnTo>
                    <a:pt x="834" y="1368"/>
                  </a:lnTo>
                  <a:lnTo>
                    <a:pt x="810" y="1362"/>
                  </a:lnTo>
                  <a:lnTo>
                    <a:pt x="792" y="1362"/>
                  </a:lnTo>
                  <a:lnTo>
                    <a:pt x="780" y="1368"/>
                  </a:lnTo>
                  <a:lnTo>
                    <a:pt x="762" y="1368"/>
                  </a:lnTo>
                  <a:lnTo>
                    <a:pt x="762" y="1362"/>
                  </a:lnTo>
                  <a:lnTo>
                    <a:pt x="750" y="1362"/>
                  </a:lnTo>
                  <a:lnTo>
                    <a:pt x="750" y="1338"/>
                  </a:lnTo>
                  <a:lnTo>
                    <a:pt x="762" y="1338"/>
                  </a:lnTo>
                  <a:lnTo>
                    <a:pt x="762" y="1326"/>
                  </a:lnTo>
                  <a:lnTo>
                    <a:pt x="762" y="1314"/>
                  </a:lnTo>
                  <a:lnTo>
                    <a:pt x="732" y="1314"/>
                  </a:lnTo>
                  <a:lnTo>
                    <a:pt x="726" y="1308"/>
                  </a:lnTo>
                  <a:lnTo>
                    <a:pt x="732" y="1284"/>
                  </a:lnTo>
                  <a:lnTo>
                    <a:pt x="732" y="1278"/>
                  </a:lnTo>
                  <a:lnTo>
                    <a:pt x="738" y="1272"/>
                  </a:lnTo>
                  <a:lnTo>
                    <a:pt x="738" y="1266"/>
                  </a:lnTo>
                  <a:lnTo>
                    <a:pt x="744" y="1266"/>
                  </a:lnTo>
                  <a:lnTo>
                    <a:pt x="750" y="1272"/>
                  </a:lnTo>
                  <a:lnTo>
                    <a:pt x="756" y="1266"/>
                  </a:lnTo>
                  <a:lnTo>
                    <a:pt x="762" y="1266"/>
                  </a:lnTo>
                  <a:lnTo>
                    <a:pt x="768" y="1260"/>
                  </a:lnTo>
                  <a:lnTo>
                    <a:pt x="774" y="1260"/>
                  </a:lnTo>
                  <a:lnTo>
                    <a:pt x="780" y="1254"/>
                  </a:lnTo>
                  <a:lnTo>
                    <a:pt x="774" y="1254"/>
                  </a:lnTo>
                  <a:lnTo>
                    <a:pt x="768" y="1254"/>
                  </a:lnTo>
                  <a:lnTo>
                    <a:pt x="774" y="1248"/>
                  </a:lnTo>
                  <a:lnTo>
                    <a:pt x="774" y="1242"/>
                  </a:lnTo>
                  <a:lnTo>
                    <a:pt x="780" y="1236"/>
                  </a:lnTo>
                  <a:lnTo>
                    <a:pt x="786" y="1236"/>
                  </a:lnTo>
                  <a:lnTo>
                    <a:pt x="792" y="1230"/>
                  </a:lnTo>
                  <a:lnTo>
                    <a:pt x="792" y="1236"/>
                  </a:lnTo>
                  <a:lnTo>
                    <a:pt x="798" y="1236"/>
                  </a:lnTo>
                  <a:lnTo>
                    <a:pt x="798" y="1230"/>
                  </a:lnTo>
                  <a:lnTo>
                    <a:pt x="804" y="1230"/>
                  </a:lnTo>
                  <a:lnTo>
                    <a:pt x="804" y="1218"/>
                  </a:lnTo>
                  <a:lnTo>
                    <a:pt x="804" y="1206"/>
                  </a:lnTo>
                  <a:lnTo>
                    <a:pt x="792" y="1188"/>
                  </a:lnTo>
                  <a:lnTo>
                    <a:pt x="768" y="1182"/>
                  </a:lnTo>
                  <a:lnTo>
                    <a:pt x="768" y="1170"/>
                  </a:lnTo>
                  <a:lnTo>
                    <a:pt x="774" y="1170"/>
                  </a:lnTo>
                  <a:lnTo>
                    <a:pt x="780" y="1170"/>
                  </a:lnTo>
                  <a:lnTo>
                    <a:pt x="786" y="1170"/>
                  </a:lnTo>
                  <a:lnTo>
                    <a:pt x="780" y="1152"/>
                  </a:lnTo>
                  <a:lnTo>
                    <a:pt x="780" y="1146"/>
                  </a:lnTo>
                  <a:lnTo>
                    <a:pt x="744" y="1140"/>
                  </a:lnTo>
                  <a:lnTo>
                    <a:pt x="732" y="1128"/>
                  </a:lnTo>
                  <a:lnTo>
                    <a:pt x="720" y="1122"/>
                  </a:lnTo>
                  <a:lnTo>
                    <a:pt x="732" y="1116"/>
                  </a:lnTo>
                  <a:lnTo>
                    <a:pt x="750" y="1104"/>
                  </a:lnTo>
                  <a:lnTo>
                    <a:pt x="756" y="1116"/>
                  </a:lnTo>
                  <a:lnTo>
                    <a:pt x="774" y="1116"/>
                  </a:lnTo>
                  <a:lnTo>
                    <a:pt x="780" y="1104"/>
                  </a:lnTo>
                  <a:lnTo>
                    <a:pt x="780" y="1080"/>
                  </a:lnTo>
                  <a:lnTo>
                    <a:pt x="786" y="1080"/>
                  </a:lnTo>
                  <a:lnTo>
                    <a:pt x="786" y="1074"/>
                  </a:lnTo>
                  <a:lnTo>
                    <a:pt x="792" y="1074"/>
                  </a:lnTo>
                  <a:lnTo>
                    <a:pt x="786" y="1068"/>
                  </a:lnTo>
                  <a:lnTo>
                    <a:pt x="786" y="1062"/>
                  </a:lnTo>
                  <a:lnTo>
                    <a:pt x="786" y="1056"/>
                  </a:lnTo>
                  <a:lnTo>
                    <a:pt x="792" y="1050"/>
                  </a:lnTo>
                  <a:lnTo>
                    <a:pt x="786" y="1020"/>
                  </a:lnTo>
                  <a:lnTo>
                    <a:pt x="780" y="960"/>
                  </a:lnTo>
                  <a:lnTo>
                    <a:pt x="768" y="942"/>
                  </a:lnTo>
                  <a:lnTo>
                    <a:pt x="732" y="936"/>
                  </a:lnTo>
                  <a:lnTo>
                    <a:pt x="732" y="942"/>
                  </a:lnTo>
                  <a:lnTo>
                    <a:pt x="726" y="942"/>
                  </a:lnTo>
                  <a:lnTo>
                    <a:pt x="720" y="936"/>
                  </a:lnTo>
                  <a:lnTo>
                    <a:pt x="714" y="942"/>
                  </a:lnTo>
                  <a:lnTo>
                    <a:pt x="708" y="942"/>
                  </a:lnTo>
                  <a:lnTo>
                    <a:pt x="702" y="942"/>
                  </a:lnTo>
                  <a:lnTo>
                    <a:pt x="690" y="936"/>
                  </a:lnTo>
                  <a:lnTo>
                    <a:pt x="684" y="936"/>
                  </a:lnTo>
                  <a:lnTo>
                    <a:pt x="678" y="936"/>
                  </a:lnTo>
                  <a:lnTo>
                    <a:pt x="672" y="936"/>
                  </a:lnTo>
                  <a:lnTo>
                    <a:pt x="666" y="942"/>
                  </a:lnTo>
                  <a:lnTo>
                    <a:pt x="660" y="942"/>
                  </a:lnTo>
                  <a:lnTo>
                    <a:pt x="654" y="942"/>
                  </a:lnTo>
                  <a:lnTo>
                    <a:pt x="648" y="942"/>
                  </a:lnTo>
                  <a:lnTo>
                    <a:pt x="642" y="936"/>
                  </a:lnTo>
                  <a:lnTo>
                    <a:pt x="636" y="936"/>
                  </a:lnTo>
                  <a:lnTo>
                    <a:pt x="630" y="930"/>
                  </a:lnTo>
                  <a:lnTo>
                    <a:pt x="618" y="930"/>
                  </a:lnTo>
                  <a:lnTo>
                    <a:pt x="612" y="930"/>
                  </a:lnTo>
                  <a:lnTo>
                    <a:pt x="606" y="936"/>
                  </a:lnTo>
                  <a:lnTo>
                    <a:pt x="600" y="942"/>
                  </a:lnTo>
                  <a:lnTo>
                    <a:pt x="600" y="936"/>
                  </a:lnTo>
                  <a:lnTo>
                    <a:pt x="594" y="930"/>
                  </a:lnTo>
                  <a:lnTo>
                    <a:pt x="588" y="930"/>
                  </a:lnTo>
                  <a:lnTo>
                    <a:pt x="582" y="930"/>
                  </a:lnTo>
                  <a:lnTo>
                    <a:pt x="576" y="930"/>
                  </a:lnTo>
                  <a:lnTo>
                    <a:pt x="564" y="936"/>
                  </a:lnTo>
                  <a:lnTo>
                    <a:pt x="558" y="936"/>
                  </a:lnTo>
                  <a:lnTo>
                    <a:pt x="546" y="924"/>
                  </a:lnTo>
                  <a:lnTo>
                    <a:pt x="540" y="924"/>
                  </a:lnTo>
                  <a:lnTo>
                    <a:pt x="534" y="918"/>
                  </a:lnTo>
                  <a:lnTo>
                    <a:pt x="528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6" y="918"/>
                  </a:lnTo>
                  <a:lnTo>
                    <a:pt x="516" y="912"/>
                  </a:lnTo>
                  <a:lnTo>
                    <a:pt x="510" y="894"/>
                  </a:lnTo>
                  <a:lnTo>
                    <a:pt x="510" y="882"/>
                  </a:lnTo>
                  <a:lnTo>
                    <a:pt x="510" y="876"/>
                  </a:lnTo>
                  <a:lnTo>
                    <a:pt x="516" y="870"/>
                  </a:lnTo>
                  <a:lnTo>
                    <a:pt x="510" y="864"/>
                  </a:lnTo>
                  <a:lnTo>
                    <a:pt x="516" y="858"/>
                  </a:lnTo>
                  <a:lnTo>
                    <a:pt x="522" y="858"/>
                  </a:lnTo>
                  <a:lnTo>
                    <a:pt x="528" y="858"/>
                  </a:lnTo>
                  <a:lnTo>
                    <a:pt x="522" y="852"/>
                  </a:lnTo>
                  <a:lnTo>
                    <a:pt x="528" y="852"/>
                  </a:lnTo>
                  <a:lnTo>
                    <a:pt x="528" y="846"/>
                  </a:lnTo>
                  <a:lnTo>
                    <a:pt x="552" y="846"/>
                  </a:lnTo>
                  <a:lnTo>
                    <a:pt x="558" y="840"/>
                  </a:lnTo>
                  <a:lnTo>
                    <a:pt x="564" y="828"/>
                  </a:lnTo>
                  <a:lnTo>
                    <a:pt x="570" y="816"/>
                  </a:lnTo>
                  <a:lnTo>
                    <a:pt x="582" y="810"/>
                  </a:lnTo>
                  <a:lnTo>
                    <a:pt x="588" y="804"/>
                  </a:lnTo>
                  <a:lnTo>
                    <a:pt x="594" y="804"/>
                  </a:lnTo>
                  <a:lnTo>
                    <a:pt x="594" y="792"/>
                  </a:lnTo>
                  <a:lnTo>
                    <a:pt x="600" y="786"/>
                  </a:lnTo>
                  <a:lnTo>
                    <a:pt x="606" y="780"/>
                  </a:lnTo>
                  <a:lnTo>
                    <a:pt x="612" y="774"/>
                  </a:lnTo>
                  <a:lnTo>
                    <a:pt x="618" y="774"/>
                  </a:lnTo>
                  <a:lnTo>
                    <a:pt x="618" y="768"/>
                  </a:lnTo>
                  <a:lnTo>
                    <a:pt x="618" y="762"/>
                  </a:lnTo>
                  <a:lnTo>
                    <a:pt x="624" y="756"/>
                  </a:lnTo>
                  <a:lnTo>
                    <a:pt x="618" y="750"/>
                  </a:lnTo>
                  <a:lnTo>
                    <a:pt x="618" y="744"/>
                  </a:lnTo>
                  <a:lnTo>
                    <a:pt x="600" y="738"/>
                  </a:lnTo>
                  <a:lnTo>
                    <a:pt x="558" y="744"/>
                  </a:lnTo>
                  <a:lnTo>
                    <a:pt x="552" y="732"/>
                  </a:lnTo>
                  <a:lnTo>
                    <a:pt x="546" y="720"/>
                  </a:lnTo>
                  <a:lnTo>
                    <a:pt x="564" y="702"/>
                  </a:lnTo>
                  <a:lnTo>
                    <a:pt x="570" y="684"/>
                  </a:lnTo>
                  <a:lnTo>
                    <a:pt x="564" y="648"/>
                  </a:lnTo>
                  <a:lnTo>
                    <a:pt x="534" y="624"/>
                  </a:lnTo>
                  <a:lnTo>
                    <a:pt x="504" y="612"/>
                  </a:lnTo>
                  <a:lnTo>
                    <a:pt x="498" y="606"/>
                  </a:lnTo>
                  <a:lnTo>
                    <a:pt x="492" y="600"/>
                  </a:lnTo>
                  <a:lnTo>
                    <a:pt x="486" y="606"/>
                  </a:lnTo>
                  <a:lnTo>
                    <a:pt x="480" y="558"/>
                  </a:lnTo>
                  <a:lnTo>
                    <a:pt x="462" y="546"/>
                  </a:lnTo>
                  <a:lnTo>
                    <a:pt x="408" y="540"/>
                  </a:lnTo>
                  <a:lnTo>
                    <a:pt x="408" y="546"/>
                  </a:lnTo>
                  <a:lnTo>
                    <a:pt x="408" y="558"/>
                  </a:lnTo>
                  <a:lnTo>
                    <a:pt x="408" y="564"/>
                  </a:lnTo>
                  <a:lnTo>
                    <a:pt x="408" y="570"/>
                  </a:lnTo>
                  <a:lnTo>
                    <a:pt x="414" y="582"/>
                  </a:lnTo>
                  <a:lnTo>
                    <a:pt x="408" y="594"/>
                  </a:lnTo>
                  <a:lnTo>
                    <a:pt x="414" y="594"/>
                  </a:lnTo>
                  <a:lnTo>
                    <a:pt x="408" y="600"/>
                  </a:lnTo>
                  <a:lnTo>
                    <a:pt x="348" y="600"/>
                  </a:lnTo>
                  <a:lnTo>
                    <a:pt x="324" y="600"/>
                  </a:lnTo>
                  <a:lnTo>
                    <a:pt x="324" y="612"/>
                  </a:lnTo>
                  <a:lnTo>
                    <a:pt x="306" y="618"/>
                  </a:lnTo>
                  <a:lnTo>
                    <a:pt x="312" y="618"/>
                  </a:lnTo>
                  <a:lnTo>
                    <a:pt x="294" y="588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76"/>
                  </a:lnTo>
                  <a:lnTo>
                    <a:pt x="240" y="582"/>
                  </a:lnTo>
                  <a:lnTo>
                    <a:pt x="234" y="582"/>
                  </a:lnTo>
                  <a:lnTo>
                    <a:pt x="228" y="588"/>
                  </a:lnTo>
                  <a:lnTo>
                    <a:pt x="222" y="588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8" y="600"/>
                  </a:lnTo>
                  <a:lnTo>
                    <a:pt x="192" y="612"/>
                  </a:lnTo>
                  <a:lnTo>
                    <a:pt x="192" y="618"/>
                  </a:lnTo>
                  <a:lnTo>
                    <a:pt x="198" y="624"/>
                  </a:lnTo>
                  <a:lnTo>
                    <a:pt x="192" y="624"/>
                  </a:lnTo>
                  <a:lnTo>
                    <a:pt x="192" y="630"/>
                  </a:lnTo>
                  <a:lnTo>
                    <a:pt x="192" y="642"/>
                  </a:lnTo>
                  <a:lnTo>
                    <a:pt x="180" y="648"/>
                  </a:lnTo>
                  <a:lnTo>
                    <a:pt x="174" y="654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6"/>
                  </a:lnTo>
                  <a:lnTo>
                    <a:pt x="156" y="672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90"/>
                  </a:lnTo>
                  <a:lnTo>
                    <a:pt x="132" y="690"/>
                  </a:lnTo>
                  <a:lnTo>
                    <a:pt x="126" y="702"/>
                  </a:lnTo>
                  <a:lnTo>
                    <a:pt x="132" y="708"/>
                  </a:lnTo>
                  <a:lnTo>
                    <a:pt x="126" y="708"/>
                  </a:lnTo>
                  <a:lnTo>
                    <a:pt x="120" y="708"/>
                  </a:lnTo>
                  <a:lnTo>
                    <a:pt x="114" y="708"/>
                  </a:lnTo>
                  <a:lnTo>
                    <a:pt x="108" y="708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78" y="720"/>
                  </a:lnTo>
                  <a:lnTo>
                    <a:pt x="72" y="720"/>
                  </a:lnTo>
                  <a:lnTo>
                    <a:pt x="66" y="720"/>
                  </a:lnTo>
                  <a:lnTo>
                    <a:pt x="54" y="732"/>
                  </a:lnTo>
                  <a:lnTo>
                    <a:pt x="48" y="702"/>
                  </a:lnTo>
                  <a:lnTo>
                    <a:pt x="36" y="666"/>
                  </a:lnTo>
                  <a:lnTo>
                    <a:pt x="0" y="660"/>
                  </a:lnTo>
                  <a:lnTo>
                    <a:pt x="6" y="660"/>
                  </a:lnTo>
                  <a:lnTo>
                    <a:pt x="6" y="654"/>
                  </a:lnTo>
                  <a:lnTo>
                    <a:pt x="6" y="648"/>
                  </a:lnTo>
                  <a:lnTo>
                    <a:pt x="6" y="642"/>
                  </a:lnTo>
                  <a:lnTo>
                    <a:pt x="6" y="624"/>
                  </a:lnTo>
                  <a:lnTo>
                    <a:pt x="6" y="612"/>
                  </a:lnTo>
                  <a:lnTo>
                    <a:pt x="6" y="606"/>
                  </a:lnTo>
                  <a:lnTo>
                    <a:pt x="12" y="612"/>
                  </a:lnTo>
                  <a:lnTo>
                    <a:pt x="18" y="606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30" y="594"/>
                  </a:lnTo>
                  <a:lnTo>
                    <a:pt x="30" y="588"/>
                  </a:lnTo>
                  <a:lnTo>
                    <a:pt x="30" y="582"/>
                  </a:lnTo>
                  <a:lnTo>
                    <a:pt x="24" y="576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18" y="558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36" y="528"/>
                  </a:lnTo>
                  <a:lnTo>
                    <a:pt x="30" y="522"/>
                  </a:lnTo>
                  <a:lnTo>
                    <a:pt x="24" y="522"/>
                  </a:lnTo>
                  <a:lnTo>
                    <a:pt x="18" y="510"/>
                  </a:lnTo>
                  <a:lnTo>
                    <a:pt x="12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8" y="474"/>
                  </a:lnTo>
                  <a:lnTo>
                    <a:pt x="12" y="468"/>
                  </a:lnTo>
                  <a:lnTo>
                    <a:pt x="12" y="462"/>
                  </a:lnTo>
                  <a:lnTo>
                    <a:pt x="18" y="456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0" y="420"/>
                  </a:lnTo>
                  <a:lnTo>
                    <a:pt x="30" y="414"/>
                  </a:lnTo>
                  <a:lnTo>
                    <a:pt x="48" y="414"/>
                  </a:lnTo>
                  <a:lnTo>
                    <a:pt x="54" y="408"/>
                  </a:lnTo>
                  <a:lnTo>
                    <a:pt x="60" y="402"/>
                  </a:lnTo>
                  <a:lnTo>
                    <a:pt x="66" y="402"/>
                  </a:lnTo>
                  <a:lnTo>
                    <a:pt x="72" y="402"/>
                  </a:lnTo>
                  <a:lnTo>
                    <a:pt x="78" y="408"/>
                  </a:lnTo>
                  <a:lnTo>
                    <a:pt x="84" y="396"/>
                  </a:lnTo>
                  <a:lnTo>
                    <a:pt x="90" y="390"/>
                  </a:lnTo>
                  <a:lnTo>
                    <a:pt x="90" y="378"/>
                  </a:lnTo>
                  <a:lnTo>
                    <a:pt x="96" y="372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8" y="354"/>
                  </a:lnTo>
                  <a:lnTo>
                    <a:pt x="114" y="348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32" y="336"/>
                  </a:lnTo>
                  <a:lnTo>
                    <a:pt x="132" y="330"/>
                  </a:lnTo>
                  <a:lnTo>
                    <a:pt x="138" y="324"/>
                  </a:lnTo>
                  <a:lnTo>
                    <a:pt x="138" y="318"/>
                  </a:lnTo>
                  <a:lnTo>
                    <a:pt x="144" y="306"/>
                  </a:lnTo>
                  <a:lnTo>
                    <a:pt x="156" y="306"/>
                  </a:lnTo>
                  <a:lnTo>
                    <a:pt x="186" y="300"/>
                  </a:lnTo>
                  <a:lnTo>
                    <a:pt x="198" y="300"/>
                  </a:lnTo>
                  <a:lnTo>
                    <a:pt x="210" y="300"/>
                  </a:lnTo>
                  <a:lnTo>
                    <a:pt x="222" y="300"/>
                  </a:lnTo>
                  <a:lnTo>
                    <a:pt x="246" y="300"/>
                  </a:lnTo>
                  <a:lnTo>
                    <a:pt x="264" y="312"/>
                  </a:lnTo>
                  <a:lnTo>
                    <a:pt x="270" y="312"/>
                  </a:lnTo>
                  <a:lnTo>
                    <a:pt x="282" y="306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300" y="306"/>
                  </a:lnTo>
                  <a:lnTo>
                    <a:pt x="312" y="306"/>
                  </a:lnTo>
                  <a:lnTo>
                    <a:pt x="318" y="300"/>
                  </a:lnTo>
                  <a:lnTo>
                    <a:pt x="324" y="300"/>
                  </a:lnTo>
                  <a:lnTo>
                    <a:pt x="330" y="294"/>
                  </a:lnTo>
                  <a:lnTo>
                    <a:pt x="336" y="288"/>
                  </a:lnTo>
                  <a:lnTo>
                    <a:pt x="354" y="288"/>
                  </a:lnTo>
                  <a:lnTo>
                    <a:pt x="360" y="288"/>
                  </a:lnTo>
                  <a:lnTo>
                    <a:pt x="366" y="282"/>
                  </a:lnTo>
                  <a:lnTo>
                    <a:pt x="372" y="282"/>
                  </a:lnTo>
                  <a:lnTo>
                    <a:pt x="378" y="282"/>
                  </a:lnTo>
                  <a:lnTo>
                    <a:pt x="384" y="276"/>
                  </a:lnTo>
                  <a:lnTo>
                    <a:pt x="384" y="270"/>
                  </a:lnTo>
                  <a:lnTo>
                    <a:pt x="390" y="264"/>
                  </a:lnTo>
                  <a:lnTo>
                    <a:pt x="402" y="258"/>
                  </a:lnTo>
                  <a:lnTo>
                    <a:pt x="402" y="252"/>
                  </a:lnTo>
                  <a:lnTo>
                    <a:pt x="402" y="246"/>
                  </a:lnTo>
                  <a:lnTo>
                    <a:pt x="408" y="234"/>
                  </a:lnTo>
                  <a:lnTo>
                    <a:pt x="414" y="234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14" y="216"/>
                  </a:lnTo>
                  <a:lnTo>
                    <a:pt x="414" y="210"/>
                  </a:lnTo>
                  <a:lnTo>
                    <a:pt x="420" y="210"/>
                  </a:lnTo>
                  <a:lnTo>
                    <a:pt x="414" y="198"/>
                  </a:lnTo>
                  <a:lnTo>
                    <a:pt x="414" y="192"/>
                  </a:lnTo>
                  <a:lnTo>
                    <a:pt x="420" y="192"/>
                  </a:lnTo>
                  <a:lnTo>
                    <a:pt x="420" y="186"/>
                  </a:lnTo>
                  <a:lnTo>
                    <a:pt x="420" y="174"/>
                  </a:lnTo>
                  <a:lnTo>
                    <a:pt x="420" y="168"/>
                  </a:lnTo>
                  <a:lnTo>
                    <a:pt x="426" y="162"/>
                  </a:lnTo>
                  <a:lnTo>
                    <a:pt x="432" y="156"/>
                  </a:lnTo>
                  <a:lnTo>
                    <a:pt x="438" y="144"/>
                  </a:lnTo>
                  <a:lnTo>
                    <a:pt x="444" y="144"/>
                  </a:lnTo>
                  <a:lnTo>
                    <a:pt x="450" y="138"/>
                  </a:lnTo>
                  <a:lnTo>
                    <a:pt x="456" y="138"/>
                  </a:lnTo>
                  <a:lnTo>
                    <a:pt x="462" y="132"/>
                  </a:lnTo>
                  <a:lnTo>
                    <a:pt x="462" y="126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0"/>
                  </a:lnTo>
                  <a:lnTo>
                    <a:pt x="486" y="108"/>
                  </a:lnTo>
                  <a:lnTo>
                    <a:pt x="492" y="108"/>
                  </a:lnTo>
                  <a:lnTo>
                    <a:pt x="498" y="102"/>
                  </a:lnTo>
                  <a:lnTo>
                    <a:pt x="504" y="96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40" y="102"/>
                  </a:lnTo>
                  <a:lnTo>
                    <a:pt x="552" y="108"/>
                  </a:lnTo>
                  <a:lnTo>
                    <a:pt x="582" y="102"/>
                  </a:lnTo>
                  <a:lnTo>
                    <a:pt x="594" y="126"/>
                  </a:lnTo>
                  <a:lnTo>
                    <a:pt x="594" y="144"/>
                  </a:lnTo>
                  <a:lnTo>
                    <a:pt x="588" y="156"/>
                  </a:lnTo>
                  <a:lnTo>
                    <a:pt x="588" y="168"/>
                  </a:lnTo>
                  <a:lnTo>
                    <a:pt x="582" y="180"/>
                  </a:lnTo>
                  <a:lnTo>
                    <a:pt x="570" y="192"/>
                  </a:lnTo>
                  <a:lnTo>
                    <a:pt x="594" y="192"/>
                  </a:lnTo>
                  <a:lnTo>
                    <a:pt x="618" y="198"/>
                  </a:lnTo>
                  <a:lnTo>
                    <a:pt x="642" y="210"/>
                  </a:lnTo>
                  <a:lnTo>
                    <a:pt x="660" y="234"/>
                  </a:lnTo>
                  <a:lnTo>
                    <a:pt x="678" y="246"/>
                  </a:lnTo>
                  <a:lnTo>
                    <a:pt x="684" y="252"/>
                  </a:lnTo>
                  <a:lnTo>
                    <a:pt x="702" y="252"/>
                  </a:lnTo>
                  <a:lnTo>
                    <a:pt x="732" y="234"/>
                  </a:lnTo>
                  <a:lnTo>
                    <a:pt x="732" y="222"/>
                  </a:lnTo>
                  <a:lnTo>
                    <a:pt x="720" y="216"/>
                  </a:lnTo>
                  <a:lnTo>
                    <a:pt x="714" y="198"/>
                  </a:lnTo>
                  <a:lnTo>
                    <a:pt x="714" y="174"/>
                  </a:lnTo>
                  <a:lnTo>
                    <a:pt x="720" y="162"/>
                  </a:lnTo>
                  <a:lnTo>
                    <a:pt x="726" y="162"/>
                  </a:lnTo>
                  <a:lnTo>
                    <a:pt x="732" y="156"/>
                  </a:lnTo>
                  <a:lnTo>
                    <a:pt x="744" y="150"/>
                  </a:lnTo>
                  <a:lnTo>
                    <a:pt x="774" y="162"/>
                  </a:lnTo>
                  <a:lnTo>
                    <a:pt x="786" y="162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16" y="150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2" y="132"/>
                  </a:lnTo>
                  <a:lnTo>
                    <a:pt x="822" y="114"/>
                  </a:lnTo>
                  <a:lnTo>
                    <a:pt x="828" y="108"/>
                  </a:lnTo>
                  <a:lnTo>
                    <a:pt x="834" y="96"/>
                  </a:lnTo>
                  <a:lnTo>
                    <a:pt x="846" y="96"/>
                  </a:lnTo>
                  <a:lnTo>
                    <a:pt x="858" y="90"/>
                  </a:lnTo>
                  <a:lnTo>
                    <a:pt x="870" y="84"/>
                  </a:lnTo>
                  <a:lnTo>
                    <a:pt x="888" y="84"/>
                  </a:lnTo>
                  <a:lnTo>
                    <a:pt x="894" y="90"/>
                  </a:lnTo>
                  <a:lnTo>
                    <a:pt x="894" y="102"/>
                  </a:lnTo>
                  <a:lnTo>
                    <a:pt x="900" y="102"/>
                  </a:lnTo>
                  <a:lnTo>
                    <a:pt x="906" y="114"/>
                  </a:lnTo>
                  <a:lnTo>
                    <a:pt x="930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54" y="138"/>
                  </a:lnTo>
                  <a:lnTo>
                    <a:pt x="966" y="144"/>
                  </a:lnTo>
                  <a:lnTo>
                    <a:pt x="966" y="150"/>
                  </a:lnTo>
                  <a:lnTo>
                    <a:pt x="972" y="150"/>
                  </a:lnTo>
                  <a:lnTo>
                    <a:pt x="978" y="150"/>
                  </a:lnTo>
                  <a:lnTo>
                    <a:pt x="978" y="144"/>
                  </a:lnTo>
                  <a:lnTo>
                    <a:pt x="984" y="144"/>
                  </a:lnTo>
                  <a:lnTo>
                    <a:pt x="990" y="138"/>
                  </a:lnTo>
                  <a:lnTo>
                    <a:pt x="996" y="138"/>
                  </a:lnTo>
                  <a:lnTo>
                    <a:pt x="1002" y="138"/>
                  </a:lnTo>
                  <a:lnTo>
                    <a:pt x="1008" y="138"/>
                  </a:lnTo>
                  <a:lnTo>
                    <a:pt x="1026" y="132"/>
                  </a:lnTo>
                  <a:lnTo>
                    <a:pt x="1044" y="126"/>
                  </a:lnTo>
                  <a:lnTo>
                    <a:pt x="1056" y="120"/>
                  </a:lnTo>
                  <a:lnTo>
                    <a:pt x="1062" y="108"/>
                  </a:lnTo>
                  <a:lnTo>
                    <a:pt x="1056" y="102"/>
                  </a:lnTo>
                  <a:lnTo>
                    <a:pt x="1062" y="96"/>
                  </a:lnTo>
                  <a:lnTo>
                    <a:pt x="1074" y="90"/>
                  </a:lnTo>
                  <a:lnTo>
                    <a:pt x="1080" y="84"/>
                  </a:lnTo>
                  <a:lnTo>
                    <a:pt x="1128" y="84"/>
                  </a:lnTo>
                  <a:lnTo>
                    <a:pt x="1134" y="84"/>
                  </a:lnTo>
                  <a:lnTo>
                    <a:pt x="1140" y="78"/>
                  </a:lnTo>
                  <a:lnTo>
                    <a:pt x="1152" y="72"/>
                  </a:lnTo>
                  <a:lnTo>
                    <a:pt x="1164" y="66"/>
                  </a:lnTo>
                  <a:lnTo>
                    <a:pt x="1170" y="60"/>
                  </a:lnTo>
                  <a:lnTo>
                    <a:pt x="1188" y="48"/>
                  </a:lnTo>
                  <a:lnTo>
                    <a:pt x="1200" y="36"/>
                  </a:lnTo>
                  <a:lnTo>
                    <a:pt x="1218" y="24"/>
                  </a:lnTo>
                  <a:lnTo>
                    <a:pt x="1248" y="24"/>
                  </a:lnTo>
                  <a:lnTo>
                    <a:pt x="1272" y="24"/>
                  </a:lnTo>
                  <a:lnTo>
                    <a:pt x="1284" y="12"/>
                  </a:lnTo>
                  <a:lnTo>
                    <a:pt x="1302" y="0"/>
                  </a:lnTo>
                  <a:lnTo>
                    <a:pt x="1314" y="0"/>
                  </a:lnTo>
                  <a:lnTo>
                    <a:pt x="1326" y="18"/>
                  </a:lnTo>
                  <a:lnTo>
                    <a:pt x="1338" y="30"/>
                  </a:lnTo>
                  <a:lnTo>
                    <a:pt x="1338" y="54"/>
                  </a:lnTo>
                  <a:lnTo>
                    <a:pt x="1332" y="72"/>
                  </a:lnTo>
                  <a:lnTo>
                    <a:pt x="1326" y="72"/>
                  </a:lnTo>
                  <a:lnTo>
                    <a:pt x="1326" y="78"/>
                  </a:lnTo>
                  <a:lnTo>
                    <a:pt x="1326" y="102"/>
                  </a:lnTo>
                  <a:lnTo>
                    <a:pt x="1332" y="102"/>
                  </a:lnTo>
                  <a:lnTo>
                    <a:pt x="1332" y="108"/>
                  </a:lnTo>
                  <a:lnTo>
                    <a:pt x="1344" y="114"/>
                  </a:lnTo>
                  <a:lnTo>
                    <a:pt x="1350" y="114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404" y="132"/>
                  </a:lnTo>
                  <a:lnTo>
                    <a:pt x="1404" y="138"/>
                  </a:lnTo>
                  <a:lnTo>
                    <a:pt x="1410" y="150"/>
                  </a:lnTo>
                  <a:lnTo>
                    <a:pt x="1416" y="162"/>
                  </a:lnTo>
                  <a:lnTo>
                    <a:pt x="1428" y="168"/>
                  </a:lnTo>
                  <a:lnTo>
                    <a:pt x="1440" y="180"/>
                  </a:lnTo>
                  <a:lnTo>
                    <a:pt x="1476" y="174"/>
                  </a:lnTo>
                  <a:lnTo>
                    <a:pt x="1494" y="174"/>
                  </a:lnTo>
                  <a:lnTo>
                    <a:pt x="1512" y="192"/>
                  </a:lnTo>
                  <a:lnTo>
                    <a:pt x="1518" y="204"/>
                  </a:lnTo>
                  <a:lnTo>
                    <a:pt x="1530" y="216"/>
                  </a:lnTo>
                  <a:lnTo>
                    <a:pt x="1548" y="228"/>
                  </a:lnTo>
                  <a:lnTo>
                    <a:pt x="1548" y="234"/>
                  </a:lnTo>
                  <a:lnTo>
                    <a:pt x="1542" y="246"/>
                  </a:lnTo>
                  <a:lnTo>
                    <a:pt x="1560" y="246"/>
                  </a:lnTo>
                  <a:lnTo>
                    <a:pt x="1560" y="252"/>
                  </a:lnTo>
                  <a:lnTo>
                    <a:pt x="1566" y="258"/>
                  </a:lnTo>
                  <a:lnTo>
                    <a:pt x="1578" y="270"/>
                  </a:lnTo>
                  <a:lnTo>
                    <a:pt x="1596" y="270"/>
                  </a:lnTo>
                  <a:lnTo>
                    <a:pt x="1602" y="288"/>
                  </a:lnTo>
                  <a:lnTo>
                    <a:pt x="1608" y="306"/>
                  </a:lnTo>
                  <a:lnTo>
                    <a:pt x="1608" y="318"/>
                  </a:lnTo>
                  <a:lnTo>
                    <a:pt x="1608" y="324"/>
                  </a:lnTo>
                  <a:lnTo>
                    <a:pt x="1614" y="330"/>
                  </a:lnTo>
                  <a:lnTo>
                    <a:pt x="1614" y="336"/>
                  </a:lnTo>
                  <a:lnTo>
                    <a:pt x="1614" y="342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08" y="390"/>
                  </a:lnTo>
                  <a:lnTo>
                    <a:pt x="1602" y="390"/>
                  </a:lnTo>
                  <a:lnTo>
                    <a:pt x="1602" y="396"/>
                  </a:lnTo>
                  <a:lnTo>
                    <a:pt x="1584" y="420"/>
                  </a:lnTo>
                  <a:lnTo>
                    <a:pt x="1584" y="426"/>
                  </a:lnTo>
                  <a:lnTo>
                    <a:pt x="1602" y="474"/>
                  </a:lnTo>
                  <a:lnTo>
                    <a:pt x="1608" y="480"/>
                  </a:lnTo>
                  <a:lnTo>
                    <a:pt x="1608" y="486"/>
                  </a:lnTo>
                  <a:lnTo>
                    <a:pt x="1614" y="486"/>
                  </a:lnTo>
                  <a:lnTo>
                    <a:pt x="1608" y="504"/>
                  </a:lnTo>
                  <a:lnTo>
                    <a:pt x="1572" y="504"/>
                  </a:lnTo>
                  <a:lnTo>
                    <a:pt x="1560" y="510"/>
                  </a:lnTo>
                  <a:lnTo>
                    <a:pt x="1554" y="522"/>
                  </a:lnTo>
                  <a:lnTo>
                    <a:pt x="1560" y="552"/>
                  </a:lnTo>
                  <a:lnTo>
                    <a:pt x="1566" y="552"/>
                  </a:lnTo>
                  <a:lnTo>
                    <a:pt x="1566" y="558"/>
                  </a:lnTo>
                  <a:lnTo>
                    <a:pt x="1572" y="558"/>
                  </a:lnTo>
                  <a:lnTo>
                    <a:pt x="1578" y="558"/>
                  </a:lnTo>
                  <a:lnTo>
                    <a:pt x="1578" y="552"/>
                  </a:lnTo>
                  <a:lnTo>
                    <a:pt x="1584" y="552"/>
                  </a:lnTo>
                  <a:lnTo>
                    <a:pt x="1590" y="552"/>
                  </a:lnTo>
                  <a:lnTo>
                    <a:pt x="1590" y="546"/>
                  </a:lnTo>
                  <a:lnTo>
                    <a:pt x="1596" y="546"/>
                  </a:lnTo>
                  <a:lnTo>
                    <a:pt x="1602" y="552"/>
                  </a:lnTo>
                  <a:lnTo>
                    <a:pt x="1602" y="546"/>
                  </a:lnTo>
                  <a:lnTo>
                    <a:pt x="1608" y="546"/>
                  </a:lnTo>
                  <a:lnTo>
                    <a:pt x="1608" y="552"/>
                  </a:lnTo>
                  <a:lnTo>
                    <a:pt x="1614" y="552"/>
                  </a:lnTo>
                  <a:lnTo>
                    <a:pt x="1614" y="546"/>
                  </a:lnTo>
                  <a:lnTo>
                    <a:pt x="1620" y="552"/>
                  </a:lnTo>
                  <a:lnTo>
                    <a:pt x="1626" y="552"/>
                  </a:lnTo>
                  <a:lnTo>
                    <a:pt x="1626" y="558"/>
                  </a:lnTo>
                  <a:lnTo>
                    <a:pt x="1632" y="558"/>
                  </a:lnTo>
                  <a:lnTo>
                    <a:pt x="1638" y="558"/>
                  </a:lnTo>
                  <a:lnTo>
                    <a:pt x="1644" y="558"/>
                  </a:lnTo>
                  <a:lnTo>
                    <a:pt x="1650" y="558"/>
                  </a:lnTo>
                  <a:lnTo>
                    <a:pt x="1650" y="564"/>
                  </a:lnTo>
                  <a:lnTo>
                    <a:pt x="1656" y="564"/>
                  </a:lnTo>
                  <a:lnTo>
                    <a:pt x="1662" y="564"/>
                  </a:lnTo>
                  <a:lnTo>
                    <a:pt x="1668" y="564"/>
                  </a:lnTo>
                  <a:lnTo>
                    <a:pt x="1668" y="570"/>
                  </a:lnTo>
                  <a:lnTo>
                    <a:pt x="1674" y="570"/>
                  </a:lnTo>
                  <a:lnTo>
                    <a:pt x="1680" y="570"/>
                  </a:lnTo>
                  <a:lnTo>
                    <a:pt x="1686" y="576"/>
                  </a:lnTo>
                  <a:lnTo>
                    <a:pt x="1686" y="582"/>
                  </a:lnTo>
                  <a:lnTo>
                    <a:pt x="1710" y="588"/>
                  </a:lnTo>
                  <a:lnTo>
                    <a:pt x="1710" y="594"/>
                  </a:lnTo>
                  <a:lnTo>
                    <a:pt x="1704" y="600"/>
                  </a:lnTo>
                  <a:lnTo>
                    <a:pt x="1710" y="624"/>
                  </a:lnTo>
                  <a:lnTo>
                    <a:pt x="1698" y="672"/>
                  </a:lnTo>
                  <a:lnTo>
                    <a:pt x="1704" y="678"/>
                  </a:lnTo>
                  <a:lnTo>
                    <a:pt x="1716" y="684"/>
                  </a:lnTo>
                  <a:lnTo>
                    <a:pt x="1716" y="678"/>
                  </a:lnTo>
                  <a:lnTo>
                    <a:pt x="1716" y="684"/>
                  </a:lnTo>
                  <a:lnTo>
                    <a:pt x="1728" y="684"/>
                  </a:lnTo>
                  <a:lnTo>
                    <a:pt x="1728" y="690"/>
                  </a:lnTo>
                  <a:lnTo>
                    <a:pt x="1734" y="696"/>
                  </a:lnTo>
                  <a:lnTo>
                    <a:pt x="1734" y="702"/>
                  </a:lnTo>
                  <a:lnTo>
                    <a:pt x="1740" y="708"/>
                  </a:lnTo>
                  <a:lnTo>
                    <a:pt x="1740" y="714"/>
                  </a:lnTo>
                  <a:lnTo>
                    <a:pt x="1710" y="714"/>
                  </a:lnTo>
                  <a:lnTo>
                    <a:pt x="1710" y="756"/>
                  </a:lnTo>
                  <a:lnTo>
                    <a:pt x="1704" y="762"/>
                  </a:lnTo>
                  <a:lnTo>
                    <a:pt x="1698" y="762"/>
                  </a:lnTo>
                  <a:lnTo>
                    <a:pt x="1698" y="768"/>
                  </a:lnTo>
                  <a:lnTo>
                    <a:pt x="1698" y="774"/>
                  </a:lnTo>
                  <a:lnTo>
                    <a:pt x="1692" y="780"/>
                  </a:lnTo>
                  <a:lnTo>
                    <a:pt x="1692" y="786"/>
                  </a:lnTo>
                  <a:lnTo>
                    <a:pt x="1686" y="786"/>
                  </a:lnTo>
                  <a:lnTo>
                    <a:pt x="1668" y="798"/>
                  </a:lnTo>
                  <a:lnTo>
                    <a:pt x="1662" y="810"/>
                  </a:lnTo>
                  <a:lnTo>
                    <a:pt x="1650" y="810"/>
                  </a:lnTo>
                  <a:lnTo>
                    <a:pt x="1644" y="816"/>
                  </a:lnTo>
                  <a:lnTo>
                    <a:pt x="1638" y="816"/>
                  </a:lnTo>
                  <a:lnTo>
                    <a:pt x="1626" y="852"/>
                  </a:lnTo>
                  <a:lnTo>
                    <a:pt x="1620" y="888"/>
                  </a:lnTo>
                  <a:lnTo>
                    <a:pt x="1626" y="888"/>
                  </a:lnTo>
                  <a:lnTo>
                    <a:pt x="1638" y="912"/>
                  </a:lnTo>
                  <a:lnTo>
                    <a:pt x="1644" y="918"/>
                  </a:lnTo>
                  <a:lnTo>
                    <a:pt x="1650" y="966"/>
                  </a:lnTo>
                  <a:lnTo>
                    <a:pt x="1626" y="972"/>
                  </a:lnTo>
                  <a:lnTo>
                    <a:pt x="1608" y="978"/>
                  </a:lnTo>
                  <a:lnTo>
                    <a:pt x="1614" y="984"/>
                  </a:lnTo>
                  <a:lnTo>
                    <a:pt x="1620" y="984"/>
                  </a:lnTo>
                  <a:lnTo>
                    <a:pt x="1620" y="1020"/>
                  </a:lnTo>
                  <a:lnTo>
                    <a:pt x="1614" y="1038"/>
                  </a:lnTo>
                  <a:lnTo>
                    <a:pt x="1620" y="1044"/>
                  </a:lnTo>
                  <a:lnTo>
                    <a:pt x="1626" y="1056"/>
                  </a:lnTo>
                  <a:lnTo>
                    <a:pt x="1626" y="1074"/>
                  </a:lnTo>
                  <a:lnTo>
                    <a:pt x="1620" y="1080"/>
                  </a:lnTo>
                  <a:lnTo>
                    <a:pt x="1620" y="1104"/>
                  </a:lnTo>
                  <a:lnTo>
                    <a:pt x="1620" y="1110"/>
                  </a:lnTo>
                  <a:lnTo>
                    <a:pt x="1614" y="1116"/>
                  </a:lnTo>
                  <a:lnTo>
                    <a:pt x="1608" y="1140"/>
                  </a:lnTo>
                  <a:lnTo>
                    <a:pt x="1602" y="1146"/>
                  </a:lnTo>
                  <a:lnTo>
                    <a:pt x="1602" y="1164"/>
                  </a:lnTo>
                  <a:lnTo>
                    <a:pt x="1596" y="1170"/>
                  </a:lnTo>
                  <a:lnTo>
                    <a:pt x="1590" y="1164"/>
                  </a:lnTo>
                  <a:lnTo>
                    <a:pt x="1584" y="1164"/>
                  </a:lnTo>
                  <a:lnTo>
                    <a:pt x="1578" y="1164"/>
                  </a:lnTo>
                  <a:lnTo>
                    <a:pt x="1578" y="1188"/>
                  </a:lnTo>
                  <a:lnTo>
                    <a:pt x="1584" y="1194"/>
                  </a:lnTo>
                  <a:lnTo>
                    <a:pt x="1590" y="1194"/>
                  </a:lnTo>
                  <a:lnTo>
                    <a:pt x="1590" y="1212"/>
                  </a:lnTo>
                  <a:lnTo>
                    <a:pt x="1584" y="1212"/>
                  </a:lnTo>
                  <a:lnTo>
                    <a:pt x="1584" y="1224"/>
                  </a:lnTo>
                  <a:lnTo>
                    <a:pt x="1578" y="1224"/>
                  </a:lnTo>
                  <a:lnTo>
                    <a:pt x="1578" y="1236"/>
                  </a:lnTo>
                  <a:lnTo>
                    <a:pt x="1584" y="1254"/>
                  </a:lnTo>
                  <a:lnTo>
                    <a:pt x="1584" y="1260"/>
                  </a:lnTo>
                  <a:lnTo>
                    <a:pt x="1590" y="1260"/>
                  </a:lnTo>
                  <a:lnTo>
                    <a:pt x="1590" y="1266"/>
                  </a:lnTo>
                  <a:lnTo>
                    <a:pt x="1596" y="1284"/>
                  </a:lnTo>
                  <a:lnTo>
                    <a:pt x="1602" y="1278"/>
                  </a:lnTo>
                  <a:lnTo>
                    <a:pt x="1608" y="1284"/>
                  </a:lnTo>
                  <a:lnTo>
                    <a:pt x="1632" y="1350"/>
                  </a:lnTo>
                  <a:lnTo>
                    <a:pt x="1638" y="1356"/>
                  </a:lnTo>
                  <a:lnTo>
                    <a:pt x="1644" y="1356"/>
                  </a:lnTo>
                  <a:lnTo>
                    <a:pt x="1650" y="1356"/>
                  </a:lnTo>
                  <a:lnTo>
                    <a:pt x="1656" y="1356"/>
                  </a:lnTo>
                  <a:lnTo>
                    <a:pt x="1662" y="1362"/>
                  </a:lnTo>
                  <a:lnTo>
                    <a:pt x="1668" y="1356"/>
                  </a:lnTo>
                  <a:lnTo>
                    <a:pt x="1668" y="1380"/>
                  </a:lnTo>
                  <a:lnTo>
                    <a:pt x="1662" y="1392"/>
                  </a:lnTo>
                  <a:lnTo>
                    <a:pt x="1656" y="1404"/>
                  </a:lnTo>
                  <a:lnTo>
                    <a:pt x="1656" y="1410"/>
                  </a:lnTo>
                  <a:lnTo>
                    <a:pt x="1656" y="1416"/>
                  </a:lnTo>
                  <a:lnTo>
                    <a:pt x="1650" y="1422"/>
                  </a:lnTo>
                  <a:lnTo>
                    <a:pt x="1650" y="1428"/>
                  </a:lnTo>
                  <a:lnTo>
                    <a:pt x="1644" y="1428"/>
                  </a:lnTo>
                  <a:lnTo>
                    <a:pt x="1644" y="1434"/>
                  </a:lnTo>
                  <a:lnTo>
                    <a:pt x="1638" y="1434"/>
                  </a:lnTo>
                  <a:lnTo>
                    <a:pt x="1638" y="1440"/>
                  </a:lnTo>
                  <a:lnTo>
                    <a:pt x="1632" y="1440"/>
                  </a:lnTo>
                  <a:lnTo>
                    <a:pt x="1638" y="145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8" name="Freeform 13">
              <a:extLst>
                <a:ext uri="{FF2B5EF4-FFF2-40B4-BE49-F238E27FC236}">
                  <a16:creationId xmlns:a16="http://schemas.microsoft.com/office/drawing/2014/main" id="{66308D9B-1739-4227-AAC3-BB866CD1F5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63374" y="2969626"/>
              <a:ext cx="330956" cy="357840"/>
            </a:xfrm>
            <a:custGeom>
              <a:avLst/>
              <a:gdLst>
                <a:gd name="T0" fmla="*/ 11 w 624"/>
                <a:gd name="T1" fmla="*/ 59 h 672"/>
                <a:gd name="T2" fmla="*/ 4 w 624"/>
                <a:gd name="T3" fmla="*/ 58 h 672"/>
                <a:gd name="T4" fmla="*/ 3 w 624"/>
                <a:gd name="T5" fmla="*/ 58 h 672"/>
                <a:gd name="T6" fmla="*/ 2 w 624"/>
                <a:gd name="T7" fmla="*/ 11 h 672"/>
                <a:gd name="T8" fmla="*/ 13 w 624"/>
                <a:gd name="T9" fmla="*/ 11 h 672"/>
                <a:gd name="T10" fmla="*/ 14 w 624"/>
                <a:gd name="T11" fmla="*/ 11 h 672"/>
                <a:gd name="T12" fmla="*/ 15 w 624"/>
                <a:gd name="T13" fmla="*/ 12 h 672"/>
                <a:gd name="T14" fmla="*/ 18 w 624"/>
                <a:gd name="T15" fmla="*/ 14 h 672"/>
                <a:gd name="T16" fmla="*/ 21 w 624"/>
                <a:gd name="T17" fmla="*/ 16 h 672"/>
                <a:gd name="T18" fmla="*/ 22 w 624"/>
                <a:gd name="T19" fmla="*/ 18 h 672"/>
                <a:gd name="T20" fmla="*/ 23 w 624"/>
                <a:gd name="T21" fmla="*/ 19 h 672"/>
                <a:gd name="T22" fmla="*/ 24 w 624"/>
                <a:gd name="T23" fmla="*/ 19 h 672"/>
                <a:gd name="T24" fmla="*/ 26 w 624"/>
                <a:gd name="T25" fmla="*/ 19 h 672"/>
                <a:gd name="T26" fmla="*/ 27 w 624"/>
                <a:gd name="T27" fmla="*/ 18 h 672"/>
                <a:gd name="T28" fmla="*/ 29 w 624"/>
                <a:gd name="T29" fmla="*/ 15 h 672"/>
                <a:gd name="T30" fmla="*/ 30 w 624"/>
                <a:gd name="T31" fmla="*/ 14 h 672"/>
                <a:gd name="T32" fmla="*/ 31 w 624"/>
                <a:gd name="T33" fmla="*/ 12 h 672"/>
                <a:gd name="T34" fmla="*/ 32 w 624"/>
                <a:gd name="T35" fmla="*/ 12 h 672"/>
                <a:gd name="T36" fmla="*/ 33 w 624"/>
                <a:gd name="T37" fmla="*/ 10 h 672"/>
                <a:gd name="T38" fmla="*/ 34 w 624"/>
                <a:gd name="T39" fmla="*/ 8 h 672"/>
                <a:gd name="T40" fmla="*/ 34 w 624"/>
                <a:gd name="T41" fmla="*/ 6 h 672"/>
                <a:gd name="T42" fmla="*/ 35 w 624"/>
                <a:gd name="T43" fmla="*/ 4 h 672"/>
                <a:gd name="T44" fmla="*/ 42 w 624"/>
                <a:gd name="T45" fmla="*/ 3 h 672"/>
                <a:gd name="T46" fmla="*/ 44 w 624"/>
                <a:gd name="T47" fmla="*/ 2 h 672"/>
                <a:gd name="T48" fmla="*/ 46 w 624"/>
                <a:gd name="T49" fmla="*/ 0 h 672"/>
                <a:gd name="T50" fmla="*/ 51 w 624"/>
                <a:gd name="T51" fmla="*/ 3 h 672"/>
                <a:gd name="T52" fmla="*/ 54 w 624"/>
                <a:gd name="T53" fmla="*/ 6 h 672"/>
                <a:gd name="T54" fmla="*/ 54 w 624"/>
                <a:gd name="T55" fmla="*/ 8 h 672"/>
                <a:gd name="T56" fmla="*/ 52 w 624"/>
                <a:gd name="T57" fmla="*/ 9 h 672"/>
                <a:gd name="T58" fmla="*/ 49 w 624"/>
                <a:gd name="T59" fmla="*/ 11 h 672"/>
                <a:gd name="T60" fmla="*/ 48 w 624"/>
                <a:gd name="T61" fmla="*/ 14 h 672"/>
                <a:gd name="T62" fmla="*/ 46 w 624"/>
                <a:gd name="T63" fmla="*/ 22 h 672"/>
                <a:gd name="T64" fmla="*/ 45 w 624"/>
                <a:gd name="T65" fmla="*/ 39 h 672"/>
                <a:gd name="T66" fmla="*/ 43 w 624"/>
                <a:gd name="T67" fmla="*/ 43 h 672"/>
                <a:gd name="T68" fmla="*/ 39 w 624"/>
                <a:gd name="T69" fmla="*/ 50 h 672"/>
                <a:gd name="T70" fmla="*/ 36 w 624"/>
                <a:gd name="T71" fmla="*/ 53 h 672"/>
                <a:gd name="T72" fmla="*/ 32 w 624"/>
                <a:gd name="T73" fmla="*/ 56 h 672"/>
                <a:gd name="T74" fmla="*/ 30 w 624"/>
                <a:gd name="T75" fmla="*/ 58 h 672"/>
                <a:gd name="T76" fmla="*/ 20 w 624"/>
                <a:gd name="T77" fmla="*/ 59 h 672"/>
                <a:gd name="T78" fmla="*/ 15 w 624"/>
                <a:gd name="T79" fmla="*/ 59 h 67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24"/>
                <a:gd name="T121" fmla="*/ 0 h 672"/>
                <a:gd name="T122" fmla="*/ 624 w 624"/>
                <a:gd name="T123" fmla="*/ 672 h 67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24" h="672">
                  <a:moveTo>
                    <a:pt x="168" y="672"/>
                  </a:moveTo>
                  <a:lnTo>
                    <a:pt x="132" y="672"/>
                  </a:lnTo>
                  <a:lnTo>
                    <a:pt x="72" y="666"/>
                  </a:lnTo>
                  <a:lnTo>
                    <a:pt x="42" y="666"/>
                  </a:lnTo>
                  <a:lnTo>
                    <a:pt x="36" y="666"/>
                  </a:lnTo>
                  <a:lnTo>
                    <a:pt x="30" y="660"/>
                  </a:lnTo>
                  <a:lnTo>
                    <a:pt x="0" y="660"/>
                  </a:lnTo>
                  <a:lnTo>
                    <a:pt x="24" y="120"/>
                  </a:lnTo>
                  <a:lnTo>
                    <a:pt x="60" y="120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62" y="120"/>
                  </a:lnTo>
                  <a:lnTo>
                    <a:pt x="168" y="120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10" y="156"/>
                  </a:lnTo>
                  <a:lnTo>
                    <a:pt x="222" y="174"/>
                  </a:lnTo>
                  <a:lnTo>
                    <a:pt x="240" y="186"/>
                  </a:lnTo>
                  <a:lnTo>
                    <a:pt x="252" y="198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216"/>
                  </a:lnTo>
                  <a:lnTo>
                    <a:pt x="270" y="216"/>
                  </a:lnTo>
                  <a:lnTo>
                    <a:pt x="282" y="222"/>
                  </a:lnTo>
                  <a:lnTo>
                    <a:pt x="288" y="222"/>
                  </a:lnTo>
                  <a:lnTo>
                    <a:pt x="294" y="216"/>
                  </a:lnTo>
                  <a:lnTo>
                    <a:pt x="294" y="210"/>
                  </a:lnTo>
                  <a:lnTo>
                    <a:pt x="312" y="204"/>
                  </a:lnTo>
                  <a:lnTo>
                    <a:pt x="330" y="186"/>
                  </a:lnTo>
                  <a:lnTo>
                    <a:pt x="336" y="174"/>
                  </a:lnTo>
                  <a:lnTo>
                    <a:pt x="342" y="162"/>
                  </a:lnTo>
                  <a:lnTo>
                    <a:pt x="342" y="156"/>
                  </a:lnTo>
                  <a:lnTo>
                    <a:pt x="348" y="150"/>
                  </a:lnTo>
                  <a:lnTo>
                    <a:pt x="354" y="144"/>
                  </a:lnTo>
                  <a:lnTo>
                    <a:pt x="360" y="138"/>
                  </a:lnTo>
                  <a:lnTo>
                    <a:pt x="366" y="132"/>
                  </a:lnTo>
                  <a:lnTo>
                    <a:pt x="372" y="114"/>
                  </a:lnTo>
                  <a:lnTo>
                    <a:pt x="378" y="114"/>
                  </a:lnTo>
                  <a:lnTo>
                    <a:pt x="378" y="96"/>
                  </a:lnTo>
                  <a:lnTo>
                    <a:pt x="390" y="96"/>
                  </a:lnTo>
                  <a:lnTo>
                    <a:pt x="396" y="84"/>
                  </a:lnTo>
                  <a:lnTo>
                    <a:pt x="396" y="72"/>
                  </a:lnTo>
                  <a:lnTo>
                    <a:pt x="396" y="54"/>
                  </a:lnTo>
                  <a:lnTo>
                    <a:pt x="408" y="42"/>
                  </a:lnTo>
                  <a:lnTo>
                    <a:pt x="468" y="42"/>
                  </a:lnTo>
                  <a:lnTo>
                    <a:pt x="486" y="36"/>
                  </a:lnTo>
                  <a:lnTo>
                    <a:pt x="492" y="24"/>
                  </a:lnTo>
                  <a:lnTo>
                    <a:pt x="504" y="24"/>
                  </a:lnTo>
                  <a:lnTo>
                    <a:pt x="516" y="6"/>
                  </a:lnTo>
                  <a:lnTo>
                    <a:pt x="528" y="0"/>
                  </a:lnTo>
                  <a:lnTo>
                    <a:pt x="558" y="12"/>
                  </a:lnTo>
                  <a:lnTo>
                    <a:pt x="588" y="36"/>
                  </a:lnTo>
                  <a:lnTo>
                    <a:pt x="600" y="66"/>
                  </a:lnTo>
                  <a:lnTo>
                    <a:pt x="624" y="66"/>
                  </a:lnTo>
                  <a:lnTo>
                    <a:pt x="624" y="90"/>
                  </a:lnTo>
                  <a:lnTo>
                    <a:pt x="618" y="90"/>
                  </a:lnTo>
                  <a:lnTo>
                    <a:pt x="618" y="96"/>
                  </a:lnTo>
                  <a:lnTo>
                    <a:pt x="600" y="102"/>
                  </a:lnTo>
                  <a:lnTo>
                    <a:pt x="588" y="108"/>
                  </a:lnTo>
                  <a:lnTo>
                    <a:pt x="570" y="120"/>
                  </a:lnTo>
                  <a:lnTo>
                    <a:pt x="564" y="138"/>
                  </a:lnTo>
                  <a:lnTo>
                    <a:pt x="558" y="162"/>
                  </a:lnTo>
                  <a:lnTo>
                    <a:pt x="540" y="210"/>
                  </a:lnTo>
                  <a:lnTo>
                    <a:pt x="528" y="252"/>
                  </a:lnTo>
                  <a:lnTo>
                    <a:pt x="528" y="402"/>
                  </a:lnTo>
                  <a:lnTo>
                    <a:pt x="522" y="444"/>
                  </a:lnTo>
                  <a:lnTo>
                    <a:pt x="510" y="468"/>
                  </a:lnTo>
                  <a:lnTo>
                    <a:pt x="498" y="498"/>
                  </a:lnTo>
                  <a:lnTo>
                    <a:pt x="474" y="534"/>
                  </a:lnTo>
                  <a:lnTo>
                    <a:pt x="456" y="570"/>
                  </a:lnTo>
                  <a:lnTo>
                    <a:pt x="444" y="576"/>
                  </a:lnTo>
                  <a:lnTo>
                    <a:pt x="420" y="606"/>
                  </a:lnTo>
                  <a:lnTo>
                    <a:pt x="390" y="624"/>
                  </a:lnTo>
                  <a:lnTo>
                    <a:pt x="372" y="642"/>
                  </a:lnTo>
                  <a:lnTo>
                    <a:pt x="366" y="654"/>
                  </a:lnTo>
                  <a:lnTo>
                    <a:pt x="342" y="660"/>
                  </a:lnTo>
                  <a:lnTo>
                    <a:pt x="300" y="666"/>
                  </a:lnTo>
                  <a:lnTo>
                    <a:pt x="234" y="672"/>
                  </a:lnTo>
                  <a:lnTo>
                    <a:pt x="192" y="672"/>
                  </a:lnTo>
                  <a:lnTo>
                    <a:pt x="168" y="67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9" name="Freeform 14">
              <a:extLst>
                <a:ext uri="{FF2B5EF4-FFF2-40B4-BE49-F238E27FC236}">
                  <a16:creationId xmlns:a16="http://schemas.microsoft.com/office/drawing/2014/main" id="{2EA1E999-9CDF-4391-8BC9-7DE71AF9C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0460" y="2983045"/>
              <a:ext cx="905658" cy="561362"/>
            </a:xfrm>
            <a:custGeom>
              <a:avLst/>
              <a:gdLst>
                <a:gd name="T0" fmla="*/ 31 w 1704"/>
                <a:gd name="T1" fmla="*/ 78 h 1056"/>
                <a:gd name="T2" fmla="*/ 23 w 1704"/>
                <a:gd name="T3" fmla="*/ 78 h 1056"/>
                <a:gd name="T4" fmla="*/ 11 w 1704"/>
                <a:gd name="T5" fmla="*/ 79 h 1056"/>
                <a:gd name="T6" fmla="*/ 1 w 1704"/>
                <a:gd name="T7" fmla="*/ 81 h 1056"/>
                <a:gd name="T8" fmla="*/ 0 w 1704"/>
                <a:gd name="T9" fmla="*/ 62 h 1056"/>
                <a:gd name="T10" fmla="*/ 9 w 1704"/>
                <a:gd name="T11" fmla="*/ 56 h 1056"/>
                <a:gd name="T12" fmla="*/ 27 w 1704"/>
                <a:gd name="T13" fmla="*/ 48 h 1056"/>
                <a:gd name="T14" fmla="*/ 35 w 1704"/>
                <a:gd name="T15" fmla="*/ 20 h 1056"/>
                <a:gd name="T16" fmla="*/ 43 w 1704"/>
                <a:gd name="T17" fmla="*/ 6 h 1056"/>
                <a:gd name="T18" fmla="*/ 47 w 1704"/>
                <a:gd name="T19" fmla="*/ 7 h 1056"/>
                <a:gd name="T20" fmla="*/ 52 w 1704"/>
                <a:gd name="T21" fmla="*/ 0 h 1056"/>
                <a:gd name="T22" fmla="*/ 59 w 1704"/>
                <a:gd name="T23" fmla="*/ 5 h 1056"/>
                <a:gd name="T24" fmla="*/ 63 w 1704"/>
                <a:gd name="T25" fmla="*/ 12 h 1056"/>
                <a:gd name="T26" fmla="*/ 62 w 1704"/>
                <a:gd name="T27" fmla="*/ 15 h 1056"/>
                <a:gd name="T28" fmla="*/ 62 w 1704"/>
                <a:gd name="T29" fmla="*/ 18 h 1056"/>
                <a:gd name="T30" fmla="*/ 70 w 1704"/>
                <a:gd name="T31" fmla="*/ 18 h 1056"/>
                <a:gd name="T32" fmla="*/ 71 w 1704"/>
                <a:gd name="T33" fmla="*/ 14 h 1056"/>
                <a:gd name="T34" fmla="*/ 72 w 1704"/>
                <a:gd name="T35" fmla="*/ 12 h 1056"/>
                <a:gd name="T36" fmla="*/ 78 w 1704"/>
                <a:gd name="T37" fmla="*/ 14 h 1056"/>
                <a:gd name="T38" fmla="*/ 85 w 1704"/>
                <a:gd name="T39" fmla="*/ 21 h 1056"/>
                <a:gd name="T40" fmla="*/ 91 w 1704"/>
                <a:gd name="T41" fmla="*/ 15 h 1056"/>
                <a:gd name="T42" fmla="*/ 93 w 1704"/>
                <a:gd name="T43" fmla="*/ 10 h 1056"/>
                <a:gd name="T44" fmla="*/ 101 w 1704"/>
                <a:gd name="T45" fmla="*/ 14 h 1056"/>
                <a:gd name="T46" fmla="*/ 103 w 1704"/>
                <a:gd name="T47" fmla="*/ 19 h 1056"/>
                <a:gd name="T48" fmla="*/ 115 w 1704"/>
                <a:gd name="T49" fmla="*/ 20 h 1056"/>
                <a:gd name="T50" fmla="*/ 118 w 1704"/>
                <a:gd name="T51" fmla="*/ 23 h 1056"/>
                <a:gd name="T52" fmla="*/ 117 w 1704"/>
                <a:gd name="T53" fmla="*/ 27 h 1056"/>
                <a:gd name="T54" fmla="*/ 111 w 1704"/>
                <a:gd name="T55" fmla="*/ 33 h 1056"/>
                <a:gd name="T56" fmla="*/ 108 w 1704"/>
                <a:gd name="T57" fmla="*/ 36 h 1056"/>
                <a:gd name="T58" fmla="*/ 109 w 1704"/>
                <a:gd name="T59" fmla="*/ 40 h 1056"/>
                <a:gd name="T60" fmla="*/ 111 w 1704"/>
                <a:gd name="T61" fmla="*/ 43 h 1056"/>
                <a:gd name="T62" fmla="*/ 113 w 1704"/>
                <a:gd name="T63" fmla="*/ 50 h 1056"/>
                <a:gd name="T64" fmla="*/ 121 w 1704"/>
                <a:gd name="T65" fmla="*/ 55 h 1056"/>
                <a:gd name="T66" fmla="*/ 132 w 1704"/>
                <a:gd name="T67" fmla="*/ 52 h 1056"/>
                <a:gd name="T68" fmla="*/ 148 w 1704"/>
                <a:gd name="T69" fmla="*/ 58 h 1056"/>
                <a:gd name="T70" fmla="*/ 148 w 1704"/>
                <a:gd name="T71" fmla="*/ 61 h 1056"/>
                <a:gd name="T72" fmla="*/ 148 w 1704"/>
                <a:gd name="T73" fmla="*/ 64 h 1056"/>
                <a:gd name="T74" fmla="*/ 135 w 1704"/>
                <a:gd name="T75" fmla="*/ 61 h 1056"/>
                <a:gd name="T76" fmla="*/ 135 w 1704"/>
                <a:gd name="T77" fmla="*/ 66 h 1056"/>
                <a:gd name="T78" fmla="*/ 137 w 1704"/>
                <a:gd name="T79" fmla="*/ 71 h 1056"/>
                <a:gd name="T80" fmla="*/ 136 w 1704"/>
                <a:gd name="T81" fmla="*/ 79 h 1056"/>
                <a:gd name="T82" fmla="*/ 126 w 1704"/>
                <a:gd name="T83" fmla="*/ 84 h 1056"/>
                <a:gd name="T84" fmla="*/ 121 w 1704"/>
                <a:gd name="T85" fmla="*/ 79 h 1056"/>
                <a:gd name="T86" fmla="*/ 117 w 1704"/>
                <a:gd name="T87" fmla="*/ 75 h 1056"/>
                <a:gd name="T88" fmla="*/ 98 w 1704"/>
                <a:gd name="T89" fmla="*/ 74 h 1056"/>
                <a:gd name="T90" fmla="*/ 81 w 1704"/>
                <a:gd name="T91" fmla="*/ 75 h 1056"/>
                <a:gd name="T92" fmla="*/ 83 w 1704"/>
                <a:gd name="T93" fmla="*/ 88 h 1056"/>
                <a:gd name="T94" fmla="*/ 82 w 1704"/>
                <a:gd name="T95" fmla="*/ 91 h 1056"/>
                <a:gd name="T96" fmla="*/ 77 w 1704"/>
                <a:gd name="T97" fmla="*/ 90 h 1056"/>
                <a:gd name="T98" fmla="*/ 73 w 1704"/>
                <a:gd name="T99" fmla="*/ 86 h 1056"/>
                <a:gd name="T100" fmla="*/ 68 w 1704"/>
                <a:gd name="T101" fmla="*/ 85 h 1056"/>
                <a:gd name="T102" fmla="*/ 64 w 1704"/>
                <a:gd name="T103" fmla="*/ 83 h 1056"/>
                <a:gd name="T104" fmla="*/ 57 w 1704"/>
                <a:gd name="T105" fmla="*/ 81 h 1056"/>
                <a:gd name="T106" fmla="*/ 52 w 1704"/>
                <a:gd name="T107" fmla="*/ 80 h 1056"/>
                <a:gd name="T108" fmla="*/ 50 w 1704"/>
                <a:gd name="T109" fmla="*/ 80 h 1056"/>
                <a:gd name="T110" fmla="*/ 46 w 1704"/>
                <a:gd name="T111" fmla="*/ 79 h 1056"/>
                <a:gd name="T112" fmla="*/ 41 w 1704"/>
                <a:gd name="T113" fmla="*/ 78 h 10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04"/>
                <a:gd name="T172" fmla="*/ 0 h 1056"/>
                <a:gd name="T173" fmla="*/ 1704 w 1704"/>
                <a:gd name="T174" fmla="*/ 1056 h 10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04" h="1056">
                  <a:moveTo>
                    <a:pt x="450" y="888"/>
                  </a:moveTo>
                  <a:lnTo>
                    <a:pt x="420" y="888"/>
                  </a:lnTo>
                  <a:lnTo>
                    <a:pt x="414" y="888"/>
                  </a:lnTo>
                  <a:lnTo>
                    <a:pt x="396" y="888"/>
                  </a:lnTo>
                  <a:lnTo>
                    <a:pt x="372" y="888"/>
                  </a:lnTo>
                  <a:lnTo>
                    <a:pt x="366" y="888"/>
                  </a:lnTo>
                  <a:lnTo>
                    <a:pt x="360" y="888"/>
                  </a:lnTo>
                  <a:lnTo>
                    <a:pt x="348" y="888"/>
                  </a:lnTo>
                  <a:lnTo>
                    <a:pt x="330" y="894"/>
                  </a:lnTo>
                  <a:lnTo>
                    <a:pt x="324" y="894"/>
                  </a:lnTo>
                  <a:lnTo>
                    <a:pt x="312" y="888"/>
                  </a:lnTo>
                  <a:lnTo>
                    <a:pt x="300" y="888"/>
                  </a:lnTo>
                  <a:lnTo>
                    <a:pt x="282" y="888"/>
                  </a:lnTo>
                  <a:lnTo>
                    <a:pt x="270" y="888"/>
                  </a:lnTo>
                  <a:lnTo>
                    <a:pt x="240" y="882"/>
                  </a:lnTo>
                  <a:lnTo>
                    <a:pt x="222" y="882"/>
                  </a:lnTo>
                  <a:lnTo>
                    <a:pt x="198" y="882"/>
                  </a:lnTo>
                  <a:lnTo>
                    <a:pt x="174" y="894"/>
                  </a:lnTo>
                  <a:lnTo>
                    <a:pt x="162" y="900"/>
                  </a:lnTo>
                  <a:lnTo>
                    <a:pt x="144" y="906"/>
                  </a:lnTo>
                  <a:lnTo>
                    <a:pt x="126" y="912"/>
                  </a:lnTo>
                  <a:lnTo>
                    <a:pt x="102" y="924"/>
                  </a:lnTo>
                  <a:lnTo>
                    <a:pt x="78" y="930"/>
                  </a:lnTo>
                  <a:lnTo>
                    <a:pt x="72" y="936"/>
                  </a:lnTo>
                  <a:lnTo>
                    <a:pt x="30" y="954"/>
                  </a:lnTo>
                  <a:lnTo>
                    <a:pt x="12" y="966"/>
                  </a:lnTo>
                  <a:lnTo>
                    <a:pt x="12" y="954"/>
                  </a:lnTo>
                  <a:lnTo>
                    <a:pt x="12" y="930"/>
                  </a:lnTo>
                  <a:lnTo>
                    <a:pt x="12" y="894"/>
                  </a:lnTo>
                  <a:lnTo>
                    <a:pt x="30" y="828"/>
                  </a:lnTo>
                  <a:lnTo>
                    <a:pt x="36" y="798"/>
                  </a:lnTo>
                  <a:lnTo>
                    <a:pt x="18" y="774"/>
                  </a:lnTo>
                  <a:lnTo>
                    <a:pt x="18" y="756"/>
                  </a:lnTo>
                  <a:lnTo>
                    <a:pt x="6" y="738"/>
                  </a:lnTo>
                  <a:lnTo>
                    <a:pt x="0" y="714"/>
                  </a:lnTo>
                  <a:lnTo>
                    <a:pt x="12" y="678"/>
                  </a:lnTo>
                  <a:lnTo>
                    <a:pt x="18" y="678"/>
                  </a:lnTo>
                  <a:lnTo>
                    <a:pt x="24" y="672"/>
                  </a:lnTo>
                  <a:lnTo>
                    <a:pt x="30" y="666"/>
                  </a:lnTo>
                  <a:lnTo>
                    <a:pt x="42" y="648"/>
                  </a:lnTo>
                  <a:lnTo>
                    <a:pt x="66" y="648"/>
                  </a:lnTo>
                  <a:lnTo>
                    <a:pt x="108" y="648"/>
                  </a:lnTo>
                  <a:lnTo>
                    <a:pt x="174" y="642"/>
                  </a:lnTo>
                  <a:lnTo>
                    <a:pt x="216" y="636"/>
                  </a:lnTo>
                  <a:lnTo>
                    <a:pt x="240" y="630"/>
                  </a:lnTo>
                  <a:lnTo>
                    <a:pt x="246" y="618"/>
                  </a:lnTo>
                  <a:lnTo>
                    <a:pt x="264" y="600"/>
                  </a:lnTo>
                  <a:lnTo>
                    <a:pt x="294" y="582"/>
                  </a:lnTo>
                  <a:lnTo>
                    <a:pt x="318" y="552"/>
                  </a:lnTo>
                  <a:lnTo>
                    <a:pt x="330" y="546"/>
                  </a:lnTo>
                  <a:lnTo>
                    <a:pt x="348" y="510"/>
                  </a:lnTo>
                  <a:lnTo>
                    <a:pt x="372" y="474"/>
                  </a:lnTo>
                  <a:lnTo>
                    <a:pt x="384" y="444"/>
                  </a:lnTo>
                  <a:lnTo>
                    <a:pt x="396" y="420"/>
                  </a:lnTo>
                  <a:lnTo>
                    <a:pt x="402" y="378"/>
                  </a:lnTo>
                  <a:lnTo>
                    <a:pt x="402" y="228"/>
                  </a:lnTo>
                  <a:lnTo>
                    <a:pt x="414" y="186"/>
                  </a:lnTo>
                  <a:lnTo>
                    <a:pt x="432" y="138"/>
                  </a:lnTo>
                  <a:lnTo>
                    <a:pt x="438" y="114"/>
                  </a:lnTo>
                  <a:lnTo>
                    <a:pt x="444" y="96"/>
                  </a:lnTo>
                  <a:lnTo>
                    <a:pt x="462" y="84"/>
                  </a:lnTo>
                  <a:lnTo>
                    <a:pt x="474" y="78"/>
                  </a:lnTo>
                  <a:lnTo>
                    <a:pt x="492" y="72"/>
                  </a:lnTo>
                  <a:lnTo>
                    <a:pt x="492" y="66"/>
                  </a:lnTo>
                  <a:lnTo>
                    <a:pt x="498" y="66"/>
                  </a:lnTo>
                  <a:lnTo>
                    <a:pt x="510" y="66"/>
                  </a:lnTo>
                  <a:lnTo>
                    <a:pt x="510" y="72"/>
                  </a:lnTo>
                  <a:lnTo>
                    <a:pt x="516" y="72"/>
                  </a:lnTo>
                  <a:lnTo>
                    <a:pt x="522" y="78"/>
                  </a:lnTo>
                  <a:lnTo>
                    <a:pt x="546" y="78"/>
                  </a:lnTo>
                  <a:lnTo>
                    <a:pt x="552" y="60"/>
                  </a:lnTo>
                  <a:lnTo>
                    <a:pt x="570" y="42"/>
                  </a:lnTo>
                  <a:lnTo>
                    <a:pt x="576" y="24"/>
                  </a:lnTo>
                  <a:lnTo>
                    <a:pt x="588" y="18"/>
                  </a:lnTo>
                  <a:lnTo>
                    <a:pt x="588" y="12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624" y="0"/>
                  </a:lnTo>
                  <a:lnTo>
                    <a:pt x="636" y="6"/>
                  </a:lnTo>
                  <a:lnTo>
                    <a:pt x="648" y="24"/>
                  </a:lnTo>
                  <a:lnTo>
                    <a:pt x="654" y="48"/>
                  </a:lnTo>
                  <a:lnTo>
                    <a:pt x="672" y="60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0" y="72"/>
                  </a:lnTo>
                  <a:lnTo>
                    <a:pt x="690" y="78"/>
                  </a:lnTo>
                  <a:lnTo>
                    <a:pt x="696" y="90"/>
                  </a:lnTo>
                  <a:lnTo>
                    <a:pt x="714" y="114"/>
                  </a:lnTo>
                  <a:lnTo>
                    <a:pt x="714" y="120"/>
                  </a:lnTo>
                  <a:lnTo>
                    <a:pt x="720" y="132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20" y="150"/>
                  </a:lnTo>
                  <a:lnTo>
                    <a:pt x="714" y="150"/>
                  </a:lnTo>
                  <a:lnTo>
                    <a:pt x="714" y="156"/>
                  </a:lnTo>
                  <a:lnTo>
                    <a:pt x="714" y="162"/>
                  </a:lnTo>
                  <a:lnTo>
                    <a:pt x="708" y="162"/>
                  </a:lnTo>
                  <a:lnTo>
                    <a:pt x="708" y="168"/>
                  </a:lnTo>
                  <a:lnTo>
                    <a:pt x="702" y="168"/>
                  </a:lnTo>
                  <a:lnTo>
                    <a:pt x="702" y="174"/>
                  </a:lnTo>
                  <a:lnTo>
                    <a:pt x="702" y="180"/>
                  </a:lnTo>
                  <a:lnTo>
                    <a:pt x="708" y="180"/>
                  </a:lnTo>
                  <a:lnTo>
                    <a:pt x="708" y="186"/>
                  </a:lnTo>
                  <a:lnTo>
                    <a:pt x="708" y="192"/>
                  </a:lnTo>
                  <a:lnTo>
                    <a:pt x="714" y="204"/>
                  </a:lnTo>
                  <a:lnTo>
                    <a:pt x="726" y="216"/>
                  </a:lnTo>
                  <a:lnTo>
                    <a:pt x="738" y="216"/>
                  </a:lnTo>
                  <a:lnTo>
                    <a:pt x="768" y="222"/>
                  </a:lnTo>
                  <a:lnTo>
                    <a:pt x="780" y="216"/>
                  </a:lnTo>
                  <a:lnTo>
                    <a:pt x="792" y="204"/>
                  </a:lnTo>
                  <a:lnTo>
                    <a:pt x="798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6" y="192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6" y="174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22" y="156"/>
                  </a:lnTo>
                  <a:lnTo>
                    <a:pt x="822" y="150"/>
                  </a:lnTo>
                  <a:lnTo>
                    <a:pt x="828" y="144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8" y="138"/>
                  </a:lnTo>
                  <a:lnTo>
                    <a:pt x="834" y="132"/>
                  </a:lnTo>
                  <a:lnTo>
                    <a:pt x="840" y="132"/>
                  </a:lnTo>
                  <a:lnTo>
                    <a:pt x="864" y="126"/>
                  </a:lnTo>
                  <a:lnTo>
                    <a:pt x="906" y="144"/>
                  </a:lnTo>
                  <a:lnTo>
                    <a:pt x="906" y="150"/>
                  </a:lnTo>
                  <a:lnTo>
                    <a:pt x="906" y="156"/>
                  </a:lnTo>
                  <a:lnTo>
                    <a:pt x="900" y="162"/>
                  </a:lnTo>
                  <a:lnTo>
                    <a:pt x="924" y="168"/>
                  </a:lnTo>
                  <a:lnTo>
                    <a:pt x="942" y="192"/>
                  </a:lnTo>
                  <a:lnTo>
                    <a:pt x="972" y="210"/>
                  </a:lnTo>
                  <a:lnTo>
                    <a:pt x="972" y="216"/>
                  </a:lnTo>
                  <a:lnTo>
                    <a:pt x="972" y="228"/>
                  </a:lnTo>
                  <a:lnTo>
                    <a:pt x="978" y="234"/>
                  </a:lnTo>
                  <a:lnTo>
                    <a:pt x="978" y="246"/>
                  </a:lnTo>
                  <a:lnTo>
                    <a:pt x="984" y="252"/>
                  </a:lnTo>
                  <a:lnTo>
                    <a:pt x="1014" y="252"/>
                  </a:lnTo>
                  <a:lnTo>
                    <a:pt x="1020" y="228"/>
                  </a:lnTo>
                  <a:lnTo>
                    <a:pt x="1026" y="198"/>
                  </a:lnTo>
                  <a:lnTo>
                    <a:pt x="1050" y="186"/>
                  </a:lnTo>
                  <a:lnTo>
                    <a:pt x="1056" y="180"/>
                  </a:lnTo>
                  <a:lnTo>
                    <a:pt x="1050" y="174"/>
                  </a:lnTo>
                  <a:lnTo>
                    <a:pt x="1050" y="168"/>
                  </a:lnTo>
                  <a:lnTo>
                    <a:pt x="1050" y="162"/>
                  </a:lnTo>
                  <a:lnTo>
                    <a:pt x="1056" y="162"/>
                  </a:lnTo>
                  <a:lnTo>
                    <a:pt x="1062" y="162"/>
                  </a:lnTo>
                  <a:lnTo>
                    <a:pt x="1074" y="162"/>
                  </a:lnTo>
                  <a:lnTo>
                    <a:pt x="1074" y="144"/>
                  </a:lnTo>
                  <a:lnTo>
                    <a:pt x="1074" y="120"/>
                  </a:lnTo>
                  <a:lnTo>
                    <a:pt x="1092" y="120"/>
                  </a:lnTo>
                  <a:lnTo>
                    <a:pt x="1098" y="126"/>
                  </a:lnTo>
                  <a:lnTo>
                    <a:pt x="1134" y="132"/>
                  </a:lnTo>
                  <a:lnTo>
                    <a:pt x="1146" y="132"/>
                  </a:lnTo>
                  <a:lnTo>
                    <a:pt x="1158" y="150"/>
                  </a:lnTo>
                  <a:lnTo>
                    <a:pt x="1158" y="156"/>
                  </a:lnTo>
                  <a:lnTo>
                    <a:pt x="1158" y="162"/>
                  </a:lnTo>
                  <a:lnTo>
                    <a:pt x="1158" y="180"/>
                  </a:lnTo>
                  <a:lnTo>
                    <a:pt x="1158" y="186"/>
                  </a:lnTo>
                  <a:lnTo>
                    <a:pt x="1164" y="192"/>
                  </a:lnTo>
                  <a:lnTo>
                    <a:pt x="1176" y="198"/>
                  </a:lnTo>
                  <a:lnTo>
                    <a:pt x="1182" y="198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8"/>
                  </a:lnTo>
                  <a:lnTo>
                    <a:pt x="1188" y="234"/>
                  </a:lnTo>
                  <a:lnTo>
                    <a:pt x="1212" y="234"/>
                  </a:lnTo>
                  <a:lnTo>
                    <a:pt x="1242" y="234"/>
                  </a:lnTo>
                  <a:lnTo>
                    <a:pt x="1248" y="234"/>
                  </a:lnTo>
                  <a:lnTo>
                    <a:pt x="1278" y="240"/>
                  </a:lnTo>
                  <a:lnTo>
                    <a:pt x="1320" y="234"/>
                  </a:lnTo>
                  <a:lnTo>
                    <a:pt x="1332" y="228"/>
                  </a:lnTo>
                  <a:lnTo>
                    <a:pt x="1344" y="228"/>
                  </a:lnTo>
                  <a:lnTo>
                    <a:pt x="1350" y="234"/>
                  </a:lnTo>
                  <a:lnTo>
                    <a:pt x="1350" y="240"/>
                  </a:lnTo>
                  <a:lnTo>
                    <a:pt x="1356" y="246"/>
                  </a:lnTo>
                  <a:lnTo>
                    <a:pt x="1350" y="252"/>
                  </a:lnTo>
                  <a:lnTo>
                    <a:pt x="1356" y="264"/>
                  </a:lnTo>
                  <a:lnTo>
                    <a:pt x="1356" y="270"/>
                  </a:lnTo>
                  <a:lnTo>
                    <a:pt x="1356" y="276"/>
                  </a:lnTo>
                  <a:lnTo>
                    <a:pt x="1356" y="282"/>
                  </a:lnTo>
                  <a:lnTo>
                    <a:pt x="1356" y="288"/>
                  </a:lnTo>
                  <a:lnTo>
                    <a:pt x="1350" y="294"/>
                  </a:lnTo>
                  <a:lnTo>
                    <a:pt x="1344" y="300"/>
                  </a:lnTo>
                  <a:lnTo>
                    <a:pt x="1344" y="306"/>
                  </a:lnTo>
                  <a:lnTo>
                    <a:pt x="1338" y="312"/>
                  </a:lnTo>
                  <a:lnTo>
                    <a:pt x="1326" y="342"/>
                  </a:lnTo>
                  <a:lnTo>
                    <a:pt x="1320" y="348"/>
                  </a:lnTo>
                  <a:lnTo>
                    <a:pt x="1314" y="354"/>
                  </a:lnTo>
                  <a:lnTo>
                    <a:pt x="1290" y="354"/>
                  </a:lnTo>
                  <a:lnTo>
                    <a:pt x="1284" y="360"/>
                  </a:lnTo>
                  <a:lnTo>
                    <a:pt x="1278" y="378"/>
                  </a:lnTo>
                  <a:lnTo>
                    <a:pt x="1278" y="384"/>
                  </a:lnTo>
                  <a:lnTo>
                    <a:pt x="1272" y="390"/>
                  </a:lnTo>
                  <a:lnTo>
                    <a:pt x="1266" y="396"/>
                  </a:lnTo>
                  <a:lnTo>
                    <a:pt x="1260" y="396"/>
                  </a:lnTo>
                  <a:lnTo>
                    <a:pt x="1248" y="402"/>
                  </a:lnTo>
                  <a:lnTo>
                    <a:pt x="1242" y="408"/>
                  </a:lnTo>
                  <a:lnTo>
                    <a:pt x="1242" y="414"/>
                  </a:lnTo>
                  <a:lnTo>
                    <a:pt x="1242" y="420"/>
                  </a:lnTo>
                  <a:lnTo>
                    <a:pt x="1236" y="432"/>
                  </a:lnTo>
                  <a:lnTo>
                    <a:pt x="1242" y="432"/>
                  </a:lnTo>
                  <a:lnTo>
                    <a:pt x="1242" y="444"/>
                  </a:lnTo>
                  <a:lnTo>
                    <a:pt x="1242" y="456"/>
                  </a:lnTo>
                  <a:lnTo>
                    <a:pt x="1248" y="456"/>
                  </a:lnTo>
                  <a:lnTo>
                    <a:pt x="1254" y="462"/>
                  </a:lnTo>
                  <a:lnTo>
                    <a:pt x="1248" y="468"/>
                  </a:lnTo>
                  <a:lnTo>
                    <a:pt x="1254" y="468"/>
                  </a:lnTo>
                  <a:lnTo>
                    <a:pt x="1266" y="474"/>
                  </a:lnTo>
                  <a:lnTo>
                    <a:pt x="1266" y="480"/>
                  </a:lnTo>
                  <a:lnTo>
                    <a:pt x="1266" y="486"/>
                  </a:lnTo>
                  <a:lnTo>
                    <a:pt x="1272" y="486"/>
                  </a:lnTo>
                  <a:lnTo>
                    <a:pt x="1272" y="492"/>
                  </a:lnTo>
                  <a:lnTo>
                    <a:pt x="1290" y="510"/>
                  </a:lnTo>
                  <a:lnTo>
                    <a:pt x="1296" y="516"/>
                  </a:lnTo>
                  <a:lnTo>
                    <a:pt x="1302" y="540"/>
                  </a:lnTo>
                  <a:lnTo>
                    <a:pt x="1302" y="546"/>
                  </a:lnTo>
                  <a:lnTo>
                    <a:pt x="1302" y="558"/>
                  </a:lnTo>
                  <a:lnTo>
                    <a:pt x="1302" y="570"/>
                  </a:lnTo>
                  <a:lnTo>
                    <a:pt x="1302" y="576"/>
                  </a:lnTo>
                  <a:lnTo>
                    <a:pt x="1344" y="570"/>
                  </a:lnTo>
                  <a:lnTo>
                    <a:pt x="1350" y="582"/>
                  </a:lnTo>
                  <a:lnTo>
                    <a:pt x="1368" y="594"/>
                  </a:lnTo>
                  <a:lnTo>
                    <a:pt x="1374" y="600"/>
                  </a:lnTo>
                  <a:lnTo>
                    <a:pt x="1380" y="600"/>
                  </a:lnTo>
                  <a:lnTo>
                    <a:pt x="1380" y="618"/>
                  </a:lnTo>
                  <a:lnTo>
                    <a:pt x="1386" y="624"/>
                  </a:lnTo>
                  <a:lnTo>
                    <a:pt x="1404" y="624"/>
                  </a:lnTo>
                  <a:lnTo>
                    <a:pt x="1410" y="612"/>
                  </a:lnTo>
                  <a:lnTo>
                    <a:pt x="1428" y="606"/>
                  </a:lnTo>
                  <a:lnTo>
                    <a:pt x="1488" y="606"/>
                  </a:lnTo>
                  <a:lnTo>
                    <a:pt x="1506" y="606"/>
                  </a:lnTo>
                  <a:lnTo>
                    <a:pt x="1512" y="600"/>
                  </a:lnTo>
                  <a:lnTo>
                    <a:pt x="1524" y="594"/>
                  </a:lnTo>
                  <a:lnTo>
                    <a:pt x="1554" y="594"/>
                  </a:lnTo>
                  <a:lnTo>
                    <a:pt x="1578" y="606"/>
                  </a:lnTo>
                  <a:lnTo>
                    <a:pt x="1596" y="624"/>
                  </a:lnTo>
                  <a:lnTo>
                    <a:pt x="1650" y="642"/>
                  </a:lnTo>
                  <a:lnTo>
                    <a:pt x="1686" y="648"/>
                  </a:lnTo>
                  <a:lnTo>
                    <a:pt x="1698" y="654"/>
                  </a:lnTo>
                  <a:lnTo>
                    <a:pt x="1698" y="660"/>
                  </a:lnTo>
                  <a:lnTo>
                    <a:pt x="1692" y="666"/>
                  </a:lnTo>
                  <a:lnTo>
                    <a:pt x="1692" y="672"/>
                  </a:lnTo>
                  <a:lnTo>
                    <a:pt x="1698" y="678"/>
                  </a:lnTo>
                  <a:lnTo>
                    <a:pt x="1698" y="684"/>
                  </a:lnTo>
                  <a:lnTo>
                    <a:pt x="1692" y="684"/>
                  </a:lnTo>
                  <a:lnTo>
                    <a:pt x="1692" y="690"/>
                  </a:lnTo>
                  <a:lnTo>
                    <a:pt x="1698" y="696"/>
                  </a:lnTo>
                  <a:lnTo>
                    <a:pt x="1698" y="702"/>
                  </a:lnTo>
                  <a:lnTo>
                    <a:pt x="1698" y="708"/>
                  </a:lnTo>
                  <a:lnTo>
                    <a:pt x="1704" y="714"/>
                  </a:lnTo>
                  <a:lnTo>
                    <a:pt x="1704" y="720"/>
                  </a:lnTo>
                  <a:lnTo>
                    <a:pt x="1704" y="726"/>
                  </a:lnTo>
                  <a:lnTo>
                    <a:pt x="1704" y="732"/>
                  </a:lnTo>
                  <a:lnTo>
                    <a:pt x="1704" y="738"/>
                  </a:lnTo>
                  <a:lnTo>
                    <a:pt x="1698" y="726"/>
                  </a:lnTo>
                  <a:lnTo>
                    <a:pt x="1668" y="720"/>
                  </a:lnTo>
                  <a:lnTo>
                    <a:pt x="1626" y="714"/>
                  </a:lnTo>
                  <a:lnTo>
                    <a:pt x="1614" y="708"/>
                  </a:lnTo>
                  <a:lnTo>
                    <a:pt x="1578" y="696"/>
                  </a:lnTo>
                  <a:lnTo>
                    <a:pt x="1566" y="696"/>
                  </a:lnTo>
                  <a:lnTo>
                    <a:pt x="1548" y="702"/>
                  </a:lnTo>
                  <a:lnTo>
                    <a:pt x="1542" y="714"/>
                  </a:lnTo>
                  <a:lnTo>
                    <a:pt x="1536" y="732"/>
                  </a:lnTo>
                  <a:lnTo>
                    <a:pt x="1530" y="750"/>
                  </a:lnTo>
                  <a:lnTo>
                    <a:pt x="1536" y="750"/>
                  </a:lnTo>
                  <a:lnTo>
                    <a:pt x="1542" y="756"/>
                  </a:lnTo>
                  <a:lnTo>
                    <a:pt x="1542" y="762"/>
                  </a:lnTo>
                  <a:lnTo>
                    <a:pt x="1548" y="762"/>
                  </a:lnTo>
                  <a:lnTo>
                    <a:pt x="1554" y="762"/>
                  </a:lnTo>
                  <a:lnTo>
                    <a:pt x="1554" y="768"/>
                  </a:lnTo>
                  <a:lnTo>
                    <a:pt x="1560" y="774"/>
                  </a:lnTo>
                  <a:lnTo>
                    <a:pt x="1566" y="774"/>
                  </a:lnTo>
                  <a:lnTo>
                    <a:pt x="1584" y="792"/>
                  </a:lnTo>
                  <a:lnTo>
                    <a:pt x="1584" y="810"/>
                  </a:lnTo>
                  <a:lnTo>
                    <a:pt x="1572" y="816"/>
                  </a:lnTo>
                  <a:lnTo>
                    <a:pt x="1578" y="834"/>
                  </a:lnTo>
                  <a:lnTo>
                    <a:pt x="1578" y="846"/>
                  </a:lnTo>
                  <a:lnTo>
                    <a:pt x="1584" y="858"/>
                  </a:lnTo>
                  <a:lnTo>
                    <a:pt x="1590" y="864"/>
                  </a:lnTo>
                  <a:lnTo>
                    <a:pt x="1590" y="876"/>
                  </a:lnTo>
                  <a:lnTo>
                    <a:pt x="1578" y="888"/>
                  </a:lnTo>
                  <a:lnTo>
                    <a:pt x="1560" y="906"/>
                  </a:lnTo>
                  <a:lnTo>
                    <a:pt x="1536" y="930"/>
                  </a:lnTo>
                  <a:lnTo>
                    <a:pt x="1530" y="930"/>
                  </a:lnTo>
                  <a:lnTo>
                    <a:pt x="1506" y="942"/>
                  </a:lnTo>
                  <a:lnTo>
                    <a:pt x="1488" y="948"/>
                  </a:lnTo>
                  <a:lnTo>
                    <a:pt x="1476" y="954"/>
                  </a:lnTo>
                  <a:lnTo>
                    <a:pt x="1458" y="960"/>
                  </a:lnTo>
                  <a:lnTo>
                    <a:pt x="1452" y="966"/>
                  </a:lnTo>
                  <a:lnTo>
                    <a:pt x="1446" y="966"/>
                  </a:lnTo>
                  <a:lnTo>
                    <a:pt x="1434" y="972"/>
                  </a:lnTo>
                  <a:lnTo>
                    <a:pt x="1434" y="954"/>
                  </a:lnTo>
                  <a:lnTo>
                    <a:pt x="1422" y="942"/>
                  </a:lnTo>
                  <a:lnTo>
                    <a:pt x="1398" y="924"/>
                  </a:lnTo>
                  <a:lnTo>
                    <a:pt x="1398" y="912"/>
                  </a:lnTo>
                  <a:lnTo>
                    <a:pt x="1398" y="906"/>
                  </a:lnTo>
                  <a:lnTo>
                    <a:pt x="1398" y="900"/>
                  </a:lnTo>
                  <a:lnTo>
                    <a:pt x="1380" y="900"/>
                  </a:lnTo>
                  <a:lnTo>
                    <a:pt x="1380" y="894"/>
                  </a:lnTo>
                  <a:lnTo>
                    <a:pt x="1368" y="888"/>
                  </a:lnTo>
                  <a:lnTo>
                    <a:pt x="1362" y="882"/>
                  </a:lnTo>
                  <a:lnTo>
                    <a:pt x="1356" y="876"/>
                  </a:lnTo>
                  <a:lnTo>
                    <a:pt x="1350" y="864"/>
                  </a:lnTo>
                  <a:lnTo>
                    <a:pt x="1344" y="858"/>
                  </a:lnTo>
                  <a:lnTo>
                    <a:pt x="1314" y="870"/>
                  </a:lnTo>
                  <a:lnTo>
                    <a:pt x="1272" y="876"/>
                  </a:lnTo>
                  <a:lnTo>
                    <a:pt x="1218" y="870"/>
                  </a:lnTo>
                  <a:lnTo>
                    <a:pt x="1200" y="864"/>
                  </a:lnTo>
                  <a:lnTo>
                    <a:pt x="1182" y="864"/>
                  </a:lnTo>
                  <a:lnTo>
                    <a:pt x="1134" y="858"/>
                  </a:lnTo>
                  <a:lnTo>
                    <a:pt x="1110" y="840"/>
                  </a:lnTo>
                  <a:lnTo>
                    <a:pt x="1086" y="828"/>
                  </a:lnTo>
                  <a:lnTo>
                    <a:pt x="1044" y="816"/>
                  </a:lnTo>
                  <a:lnTo>
                    <a:pt x="1014" y="816"/>
                  </a:lnTo>
                  <a:lnTo>
                    <a:pt x="990" y="822"/>
                  </a:lnTo>
                  <a:lnTo>
                    <a:pt x="948" y="858"/>
                  </a:lnTo>
                  <a:lnTo>
                    <a:pt x="930" y="864"/>
                  </a:lnTo>
                  <a:lnTo>
                    <a:pt x="924" y="876"/>
                  </a:lnTo>
                  <a:lnTo>
                    <a:pt x="918" y="906"/>
                  </a:lnTo>
                  <a:lnTo>
                    <a:pt x="924" y="930"/>
                  </a:lnTo>
                  <a:lnTo>
                    <a:pt x="948" y="984"/>
                  </a:lnTo>
                  <a:lnTo>
                    <a:pt x="954" y="1008"/>
                  </a:lnTo>
                  <a:lnTo>
                    <a:pt x="948" y="1014"/>
                  </a:lnTo>
                  <a:lnTo>
                    <a:pt x="954" y="1014"/>
                  </a:lnTo>
                  <a:lnTo>
                    <a:pt x="954" y="1032"/>
                  </a:lnTo>
                  <a:lnTo>
                    <a:pt x="966" y="1044"/>
                  </a:lnTo>
                  <a:lnTo>
                    <a:pt x="960" y="1056"/>
                  </a:lnTo>
                  <a:lnTo>
                    <a:pt x="954" y="1056"/>
                  </a:lnTo>
                  <a:lnTo>
                    <a:pt x="948" y="1056"/>
                  </a:lnTo>
                  <a:lnTo>
                    <a:pt x="942" y="1056"/>
                  </a:lnTo>
                  <a:lnTo>
                    <a:pt x="936" y="1050"/>
                  </a:lnTo>
                  <a:lnTo>
                    <a:pt x="930" y="1044"/>
                  </a:lnTo>
                  <a:lnTo>
                    <a:pt x="924" y="1044"/>
                  </a:lnTo>
                  <a:lnTo>
                    <a:pt x="918" y="1038"/>
                  </a:lnTo>
                  <a:lnTo>
                    <a:pt x="912" y="1038"/>
                  </a:lnTo>
                  <a:lnTo>
                    <a:pt x="906" y="1032"/>
                  </a:lnTo>
                  <a:lnTo>
                    <a:pt x="900" y="1032"/>
                  </a:lnTo>
                  <a:lnTo>
                    <a:pt x="888" y="1026"/>
                  </a:lnTo>
                  <a:lnTo>
                    <a:pt x="882" y="1026"/>
                  </a:lnTo>
                  <a:lnTo>
                    <a:pt x="876" y="1026"/>
                  </a:lnTo>
                  <a:lnTo>
                    <a:pt x="864" y="1014"/>
                  </a:lnTo>
                  <a:lnTo>
                    <a:pt x="846" y="1008"/>
                  </a:lnTo>
                  <a:lnTo>
                    <a:pt x="840" y="996"/>
                  </a:lnTo>
                  <a:lnTo>
                    <a:pt x="840" y="990"/>
                  </a:lnTo>
                  <a:lnTo>
                    <a:pt x="834" y="990"/>
                  </a:lnTo>
                  <a:lnTo>
                    <a:pt x="828" y="990"/>
                  </a:lnTo>
                  <a:lnTo>
                    <a:pt x="816" y="990"/>
                  </a:lnTo>
                  <a:lnTo>
                    <a:pt x="810" y="990"/>
                  </a:lnTo>
                  <a:lnTo>
                    <a:pt x="804" y="984"/>
                  </a:lnTo>
                  <a:lnTo>
                    <a:pt x="792" y="978"/>
                  </a:lnTo>
                  <a:lnTo>
                    <a:pt x="786" y="972"/>
                  </a:lnTo>
                  <a:lnTo>
                    <a:pt x="780" y="972"/>
                  </a:lnTo>
                  <a:lnTo>
                    <a:pt x="768" y="966"/>
                  </a:lnTo>
                  <a:lnTo>
                    <a:pt x="762" y="966"/>
                  </a:lnTo>
                  <a:lnTo>
                    <a:pt x="756" y="966"/>
                  </a:lnTo>
                  <a:lnTo>
                    <a:pt x="750" y="966"/>
                  </a:lnTo>
                  <a:lnTo>
                    <a:pt x="744" y="966"/>
                  </a:lnTo>
                  <a:lnTo>
                    <a:pt x="738" y="960"/>
                  </a:lnTo>
                  <a:lnTo>
                    <a:pt x="732" y="954"/>
                  </a:lnTo>
                  <a:lnTo>
                    <a:pt x="720" y="954"/>
                  </a:lnTo>
                  <a:lnTo>
                    <a:pt x="714" y="948"/>
                  </a:lnTo>
                  <a:lnTo>
                    <a:pt x="708" y="948"/>
                  </a:lnTo>
                  <a:lnTo>
                    <a:pt x="696" y="948"/>
                  </a:lnTo>
                  <a:lnTo>
                    <a:pt x="684" y="942"/>
                  </a:lnTo>
                  <a:lnTo>
                    <a:pt x="678" y="936"/>
                  </a:lnTo>
                  <a:lnTo>
                    <a:pt x="660" y="930"/>
                  </a:lnTo>
                  <a:lnTo>
                    <a:pt x="642" y="924"/>
                  </a:lnTo>
                  <a:lnTo>
                    <a:pt x="636" y="924"/>
                  </a:lnTo>
                  <a:lnTo>
                    <a:pt x="630" y="924"/>
                  </a:lnTo>
                  <a:lnTo>
                    <a:pt x="618" y="924"/>
                  </a:lnTo>
                  <a:lnTo>
                    <a:pt x="618" y="918"/>
                  </a:lnTo>
                  <a:lnTo>
                    <a:pt x="606" y="918"/>
                  </a:lnTo>
                  <a:lnTo>
                    <a:pt x="600" y="918"/>
                  </a:lnTo>
                  <a:lnTo>
                    <a:pt x="594" y="918"/>
                  </a:lnTo>
                  <a:lnTo>
                    <a:pt x="594" y="912"/>
                  </a:lnTo>
                  <a:lnTo>
                    <a:pt x="588" y="912"/>
                  </a:lnTo>
                  <a:lnTo>
                    <a:pt x="582" y="912"/>
                  </a:lnTo>
                  <a:lnTo>
                    <a:pt x="582" y="918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58" y="918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12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00"/>
                  </a:lnTo>
                  <a:lnTo>
                    <a:pt x="516" y="900"/>
                  </a:lnTo>
                  <a:lnTo>
                    <a:pt x="510" y="900"/>
                  </a:lnTo>
                  <a:lnTo>
                    <a:pt x="486" y="894"/>
                  </a:lnTo>
                  <a:lnTo>
                    <a:pt x="474" y="888"/>
                  </a:lnTo>
                  <a:lnTo>
                    <a:pt x="468" y="888"/>
                  </a:lnTo>
                  <a:lnTo>
                    <a:pt x="450" y="88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0" name="Freeform 15">
              <a:extLst>
                <a:ext uri="{FF2B5EF4-FFF2-40B4-BE49-F238E27FC236}">
                  <a16:creationId xmlns:a16="http://schemas.microsoft.com/office/drawing/2014/main" id="{8B991D7A-45C6-40F6-A035-24DFC733305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382" y="2652043"/>
              <a:ext cx="724526" cy="695552"/>
            </a:xfrm>
            <a:custGeom>
              <a:avLst/>
              <a:gdLst>
                <a:gd name="T0" fmla="*/ 44 w 1362"/>
                <a:gd name="T1" fmla="*/ 106 h 1308"/>
                <a:gd name="T2" fmla="*/ 32 w 1362"/>
                <a:gd name="T3" fmla="*/ 109 h 1308"/>
                <a:gd name="T4" fmla="*/ 25 w 1362"/>
                <a:gd name="T5" fmla="*/ 105 h 1308"/>
                <a:gd name="T6" fmla="*/ 22 w 1362"/>
                <a:gd name="T7" fmla="*/ 97 h 1308"/>
                <a:gd name="T8" fmla="*/ 21 w 1362"/>
                <a:gd name="T9" fmla="*/ 95 h 1308"/>
                <a:gd name="T10" fmla="*/ 20 w 1362"/>
                <a:gd name="T11" fmla="*/ 90 h 1308"/>
                <a:gd name="T12" fmla="*/ 23 w 1362"/>
                <a:gd name="T13" fmla="*/ 87 h 1308"/>
                <a:gd name="T14" fmla="*/ 29 w 1362"/>
                <a:gd name="T15" fmla="*/ 81 h 1308"/>
                <a:gd name="T16" fmla="*/ 30 w 1362"/>
                <a:gd name="T17" fmla="*/ 78 h 1308"/>
                <a:gd name="T18" fmla="*/ 27 w 1362"/>
                <a:gd name="T19" fmla="*/ 75 h 1308"/>
                <a:gd name="T20" fmla="*/ 15 w 1362"/>
                <a:gd name="T21" fmla="*/ 73 h 1308"/>
                <a:gd name="T22" fmla="*/ 12 w 1362"/>
                <a:gd name="T23" fmla="*/ 69 h 1308"/>
                <a:gd name="T24" fmla="*/ 5 w 1362"/>
                <a:gd name="T25" fmla="*/ 65 h 1308"/>
                <a:gd name="T26" fmla="*/ 6 w 1362"/>
                <a:gd name="T27" fmla="*/ 62 h 1308"/>
                <a:gd name="T28" fmla="*/ 7 w 1362"/>
                <a:gd name="T29" fmla="*/ 56 h 1308"/>
                <a:gd name="T30" fmla="*/ 2 w 1362"/>
                <a:gd name="T31" fmla="*/ 49 h 1308"/>
                <a:gd name="T32" fmla="*/ 0 w 1362"/>
                <a:gd name="T33" fmla="*/ 44 h 1308"/>
                <a:gd name="T34" fmla="*/ 0 w 1362"/>
                <a:gd name="T35" fmla="*/ 39 h 1308"/>
                <a:gd name="T36" fmla="*/ 3 w 1362"/>
                <a:gd name="T37" fmla="*/ 35 h 1308"/>
                <a:gd name="T38" fmla="*/ 3 w 1362"/>
                <a:gd name="T39" fmla="*/ 28 h 1308"/>
                <a:gd name="T40" fmla="*/ 6 w 1362"/>
                <a:gd name="T41" fmla="*/ 18 h 1308"/>
                <a:gd name="T42" fmla="*/ 6 w 1362"/>
                <a:gd name="T43" fmla="*/ 8 h 1308"/>
                <a:gd name="T44" fmla="*/ 10 w 1362"/>
                <a:gd name="T45" fmla="*/ 5 h 1308"/>
                <a:gd name="T46" fmla="*/ 15 w 1362"/>
                <a:gd name="T47" fmla="*/ 0 h 1308"/>
                <a:gd name="T48" fmla="*/ 21 w 1362"/>
                <a:gd name="T49" fmla="*/ 7 h 1308"/>
                <a:gd name="T50" fmla="*/ 25 w 1362"/>
                <a:gd name="T51" fmla="*/ 15 h 1308"/>
                <a:gd name="T52" fmla="*/ 24 w 1362"/>
                <a:gd name="T53" fmla="*/ 19 h 1308"/>
                <a:gd name="T54" fmla="*/ 32 w 1362"/>
                <a:gd name="T55" fmla="*/ 19 h 1308"/>
                <a:gd name="T56" fmla="*/ 35 w 1362"/>
                <a:gd name="T57" fmla="*/ 20 h 1308"/>
                <a:gd name="T58" fmla="*/ 40 w 1362"/>
                <a:gd name="T59" fmla="*/ 23 h 1308"/>
                <a:gd name="T60" fmla="*/ 40 w 1362"/>
                <a:gd name="T61" fmla="*/ 26 h 1308"/>
                <a:gd name="T62" fmla="*/ 34 w 1362"/>
                <a:gd name="T63" fmla="*/ 35 h 1308"/>
                <a:gd name="T64" fmla="*/ 41 w 1362"/>
                <a:gd name="T65" fmla="*/ 37 h 1308"/>
                <a:gd name="T66" fmla="*/ 43 w 1362"/>
                <a:gd name="T67" fmla="*/ 44 h 1308"/>
                <a:gd name="T68" fmla="*/ 48 w 1362"/>
                <a:gd name="T69" fmla="*/ 47 h 1308"/>
                <a:gd name="T70" fmla="*/ 57 w 1362"/>
                <a:gd name="T71" fmla="*/ 48 h 1308"/>
                <a:gd name="T72" fmla="*/ 70 w 1362"/>
                <a:gd name="T73" fmla="*/ 44 h 1308"/>
                <a:gd name="T74" fmla="*/ 80 w 1362"/>
                <a:gd name="T75" fmla="*/ 34 h 1308"/>
                <a:gd name="T76" fmla="*/ 95 w 1362"/>
                <a:gd name="T77" fmla="*/ 41 h 1308"/>
                <a:gd name="T78" fmla="*/ 109 w 1362"/>
                <a:gd name="T79" fmla="*/ 47 h 1308"/>
                <a:gd name="T80" fmla="*/ 111 w 1362"/>
                <a:gd name="T81" fmla="*/ 50 h 1308"/>
                <a:gd name="T82" fmla="*/ 113 w 1362"/>
                <a:gd name="T83" fmla="*/ 53 h 1308"/>
                <a:gd name="T84" fmla="*/ 113 w 1362"/>
                <a:gd name="T85" fmla="*/ 55 h 1308"/>
                <a:gd name="T86" fmla="*/ 113 w 1362"/>
                <a:gd name="T87" fmla="*/ 59 h 1308"/>
                <a:gd name="T88" fmla="*/ 113 w 1362"/>
                <a:gd name="T89" fmla="*/ 62 h 1308"/>
                <a:gd name="T90" fmla="*/ 115 w 1362"/>
                <a:gd name="T91" fmla="*/ 65 h 1308"/>
                <a:gd name="T92" fmla="*/ 115 w 1362"/>
                <a:gd name="T93" fmla="*/ 67 h 1308"/>
                <a:gd name="T94" fmla="*/ 116 w 1362"/>
                <a:gd name="T95" fmla="*/ 69 h 1308"/>
                <a:gd name="T96" fmla="*/ 116 w 1362"/>
                <a:gd name="T97" fmla="*/ 71 h 1308"/>
                <a:gd name="T98" fmla="*/ 118 w 1362"/>
                <a:gd name="T99" fmla="*/ 75 h 1308"/>
                <a:gd name="T100" fmla="*/ 116 w 1362"/>
                <a:gd name="T101" fmla="*/ 77 h 1308"/>
                <a:gd name="T102" fmla="*/ 116 w 1362"/>
                <a:gd name="T103" fmla="*/ 79 h 1308"/>
                <a:gd name="T104" fmla="*/ 101 w 1362"/>
                <a:gd name="T105" fmla="*/ 87 h 1308"/>
                <a:gd name="T106" fmla="*/ 85 w 1362"/>
                <a:gd name="T107" fmla="*/ 103 h 1308"/>
                <a:gd name="T108" fmla="*/ 67 w 1362"/>
                <a:gd name="T109" fmla="*/ 114 h 130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62"/>
                <a:gd name="T166" fmla="*/ 0 h 1308"/>
                <a:gd name="T167" fmla="*/ 1362 w 1362"/>
                <a:gd name="T168" fmla="*/ 1308 h 130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62" h="1308">
                  <a:moveTo>
                    <a:pt x="684" y="1278"/>
                  </a:moveTo>
                  <a:lnTo>
                    <a:pt x="672" y="1272"/>
                  </a:lnTo>
                  <a:lnTo>
                    <a:pt x="636" y="1266"/>
                  </a:lnTo>
                  <a:lnTo>
                    <a:pt x="582" y="1248"/>
                  </a:lnTo>
                  <a:lnTo>
                    <a:pt x="564" y="1230"/>
                  </a:lnTo>
                  <a:lnTo>
                    <a:pt x="540" y="1218"/>
                  </a:lnTo>
                  <a:lnTo>
                    <a:pt x="510" y="1218"/>
                  </a:lnTo>
                  <a:lnTo>
                    <a:pt x="498" y="1224"/>
                  </a:lnTo>
                  <a:lnTo>
                    <a:pt x="492" y="1230"/>
                  </a:lnTo>
                  <a:lnTo>
                    <a:pt x="474" y="1230"/>
                  </a:lnTo>
                  <a:lnTo>
                    <a:pt x="414" y="1230"/>
                  </a:lnTo>
                  <a:lnTo>
                    <a:pt x="396" y="1236"/>
                  </a:lnTo>
                  <a:lnTo>
                    <a:pt x="390" y="1248"/>
                  </a:lnTo>
                  <a:lnTo>
                    <a:pt x="372" y="1248"/>
                  </a:lnTo>
                  <a:lnTo>
                    <a:pt x="366" y="1242"/>
                  </a:lnTo>
                  <a:lnTo>
                    <a:pt x="366" y="1224"/>
                  </a:lnTo>
                  <a:lnTo>
                    <a:pt x="360" y="1224"/>
                  </a:lnTo>
                  <a:lnTo>
                    <a:pt x="354" y="1218"/>
                  </a:lnTo>
                  <a:lnTo>
                    <a:pt x="336" y="1206"/>
                  </a:lnTo>
                  <a:lnTo>
                    <a:pt x="330" y="1194"/>
                  </a:lnTo>
                  <a:lnTo>
                    <a:pt x="288" y="1200"/>
                  </a:lnTo>
                  <a:lnTo>
                    <a:pt x="288" y="1194"/>
                  </a:lnTo>
                  <a:lnTo>
                    <a:pt x="288" y="1182"/>
                  </a:lnTo>
                  <a:lnTo>
                    <a:pt x="288" y="1170"/>
                  </a:lnTo>
                  <a:lnTo>
                    <a:pt x="288" y="1164"/>
                  </a:lnTo>
                  <a:lnTo>
                    <a:pt x="282" y="1140"/>
                  </a:lnTo>
                  <a:lnTo>
                    <a:pt x="276" y="1134"/>
                  </a:lnTo>
                  <a:lnTo>
                    <a:pt x="258" y="1116"/>
                  </a:lnTo>
                  <a:lnTo>
                    <a:pt x="258" y="1110"/>
                  </a:lnTo>
                  <a:lnTo>
                    <a:pt x="252" y="1110"/>
                  </a:lnTo>
                  <a:lnTo>
                    <a:pt x="252" y="1104"/>
                  </a:lnTo>
                  <a:lnTo>
                    <a:pt x="252" y="1098"/>
                  </a:lnTo>
                  <a:lnTo>
                    <a:pt x="240" y="1092"/>
                  </a:lnTo>
                  <a:lnTo>
                    <a:pt x="234" y="1092"/>
                  </a:lnTo>
                  <a:lnTo>
                    <a:pt x="240" y="1086"/>
                  </a:lnTo>
                  <a:lnTo>
                    <a:pt x="234" y="1080"/>
                  </a:lnTo>
                  <a:lnTo>
                    <a:pt x="228" y="1080"/>
                  </a:lnTo>
                  <a:lnTo>
                    <a:pt x="228" y="1068"/>
                  </a:lnTo>
                  <a:lnTo>
                    <a:pt x="228" y="1056"/>
                  </a:lnTo>
                  <a:lnTo>
                    <a:pt x="222" y="1056"/>
                  </a:lnTo>
                  <a:lnTo>
                    <a:pt x="228" y="1044"/>
                  </a:lnTo>
                  <a:lnTo>
                    <a:pt x="228" y="1038"/>
                  </a:lnTo>
                  <a:lnTo>
                    <a:pt x="228" y="1032"/>
                  </a:lnTo>
                  <a:lnTo>
                    <a:pt x="234" y="1026"/>
                  </a:lnTo>
                  <a:lnTo>
                    <a:pt x="246" y="1020"/>
                  </a:lnTo>
                  <a:lnTo>
                    <a:pt x="252" y="1020"/>
                  </a:lnTo>
                  <a:lnTo>
                    <a:pt x="258" y="1014"/>
                  </a:lnTo>
                  <a:lnTo>
                    <a:pt x="264" y="1008"/>
                  </a:lnTo>
                  <a:lnTo>
                    <a:pt x="264" y="1002"/>
                  </a:lnTo>
                  <a:lnTo>
                    <a:pt x="270" y="984"/>
                  </a:lnTo>
                  <a:lnTo>
                    <a:pt x="276" y="978"/>
                  </a:lnTo>
                  <a:lnTo>
                    <a:pt x="300" y="978"/>
                  </a:lnTo>
                  <a:lnTo>
                    <a:pt x="306" y="972"/>
                  </a:lnTo>
                  <a:lnTo>
                    <a:pt x="312" y="966"/>
                  </a:lnTo>
                  <a:lnTo>
                    <a:pt x="324" y="936"/>
                  </a:lnTo>
                  <a:lnTo>
                    <a:pt x="330" y="930"/>
                  </a:lnTo>
                  <a:lnTo>
                    <a:pt x="330" y="924"/>
                  </a:lnTo>
                  <a:lnTo>
                    <a:pt x="336" y="918"/>
                  </a:lnTo>
                  <a:lnTo>
                    <a:pt x="342" y="912"/>
                  </a:lnTo>
                  <a:lnTo>
                    <a:pt x="342" y="906"/>
                  </a:lnTo>
                  <a:lnTo>
                    <a:pt x="342" y="900"/>
                  </a:lnTo>
                  <a:lnTo>
                    <a:pt x="342" y="894"/>
                  </a:lnTo>
                  <a:lnTo>
                    <a:pt x="342" y="888"/>
                  </a:lnTo>
                  <a:lnTo>
                    <a:pt x="336" y="876"/>
                  </a:lnTo>
                  <a:lnTo>
                    <a:pt x="342" y="870"/>
                  </a:lnTo>
                  <a:lnTo>
                    <a:pt x="336" y="864"/>
                  </a:lnTo>
                  <a:lnTo>
                    <a:pt x="336" y="858"/>
                  </a:lnTo>
                  <a:lnTo>
                    <a:pt x="330" y="852"/>
                  </a:lnTo>
                  <a:lnTo>
                    <a:pt x="318" y="852"/>
                  </a:lnTo>
                  <a:lnTo>
                    <a:pt x="306" y="858"/>
                  </a:lnTo>
                  <a:lnTo>
                    <a:pt x="264" y="864"/>
                  </a:lnTo>
                  <a:lnTo>
                    <a:pt x="234" y="858"/>
                  </a:lnTo>
                  <a:lnTo>
                    <a:pt x="228" y="858"/>
                  </a:lnTo>
                  <a:lnTo>
                    <a:pt x="198" y="858"/>
                  </a:lnTo>
                  <a:lnTo>
                    <a:pt x="174" y="858"/>
                  </a:lnTo>
                  <a:lnTo>
                    <a:pt x="168" y="852"/>
                  </a:lnTo>
                  <a:lnTo>
                    <a:pt x="168" y="840"/>
                  </a:lnTo>
                  <a:lnTo>
                    <a:pt x="168" y="834"/>
                  </a:lnTo>
                  <a:lnTo>
                    <a:pt x="168" y="822"/>
                  </a:lnTo>
                  <a:lnTo>
                    <a:pt x="162" y="822"/>
                  </a:lnTo>
                  <a:lnTo>
                    <a:pt x="150" y="816"/>
                  </a:lnTo>
                  <a:lnTo>
                    <a:pt x="144" y="810"/>
                  </a:lnTo>
                  <a:lnTo>
                    <a:pt x="144" y="804"/>
                  </a:lnTo>
                  <a:lnTo>
                    <a:pt x="144" y="786"/>
                  </a:lnTo>
                  <a:lnTo>
                    <a:pt x="144" y="780"/>
                  </a:lnTo>
                  <a:lnTo>
                    <a:pt x="144" y="774"/>
                  </a:lnTo>
                  <a:lnTo>
                    <a:pt x="132" y="756"/>
                  </a:lnTo>
                  <a:lnTo>
                    <a:pt x="120" y="756"/>
                  </a:lnTo>
                  <a:lnTo>
                    <a:pt x="84" y="750"/>
                  </a:lnTo>
                  <a:lnTo>
                    <a:pt x="78" y="744"/>
                  </a:lnTo>
                  <a:lnTo>
                    <a:pt x="60" y="744"/>
                  </a:lnTo>
                  <a:lnTo>
                    <a:pt x="54" y="726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66" y="720"/>
                  </a:lnTo>
                  <a:lnTo>
                    <a:pt x="66" y="714"/>
                  </a:lnTo>
                  <a:lnTo>
                    <a:pt x="72" y="714"/>
                  </a:lnTo>
                  <a:lnTo>
                    <a:pt x="72" y="708"/>
                  </a:lnTo>
                  <a:lnTo>
                    <a:pt x="78" y="702"/>
                  </a:lnTo>
                  <a:lnTo>
                    <a:pt x="78" y="696"/>
                  </a:lnTo>
                  <a:lnTo>
                    <a:pt x="78" y="690"/>
                  </a:lnTo>
                  <a:lnTo>
                    <a:pt x="84" y="678"/>
                  </a:lnTo>
                  <a:lnTo>
                    <a:pt x="90" y="666"/>
                  </a:lnTo>
                  <a:lnTo>
                    <a:pt x="90" y="642"/>
                  </a:lnTo>
                  <a:lnTo>
                    <a:pt x="84" y="648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66" y="642"/>
                  </a:lnTo>
                  <a:lnTo>
                    <a:pt x="60" y="642"/>
                  </a:lnTo>
                  <a:lnTo>
                    <a:pt x="54" y="636"/>
                  </a:lnTo>
                  <a:lnTo>
                    <a:pt x="30" y="570"/>
                  </a:lnTo>
                  <a:lnTo>
                    <a:pt x="24" y="564"/>
                  </a:lnTo>
                  <a:lnTo>
                    <a:pt x="18" y="570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6"/>
                  </a:lnTo>
                  <a:lnTo>
                    <a:pt x="6" y="540"/>
                  </a:lnTo>
                  <a:lnTo>
                    <a:pt x="0" y="522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2" y="480"/>
                  </a:lnTo>
                  <a:lnTo>
                    <a:pt x="6" y="480"/>
                  </a:lnTo>
                  <a:lnTo>
                    <a:pt x="0" y="474"/>
                  </a:lnTo>
                  <a:lnTo>
                    <a:pt x="0" y="450"/>
                  </a:lnTo>
                  <a:lnTo>
                    <a:pt x="6" y="450"/>
                  </a:lnTo>
                  <a:lnTo>
                    <a:pt x="12" y="450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32"/>
                  </a:lnTo>
                  <a:lnTo>
                    <a:pt x="30" y="426"/>
                  </a:lnTo>
                  <a:lnTo>
                    <a:pt x="36" y="402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2" y="366"/>
                  </a:lnTo>
                  <a:lnTo>
                    <a:pt x="48" y="360"/>
                  </a:lnTo>
                  <a:lnTo>
                    <a:pt x="48" y="342"/>
                  </a:lnTo>
                  <a:lnTo>
                    <a:pt x="42" y="330"/>
                  </a:lnTo>
                  <a:lnTo>
                    <a:pt x="36" y="324"/>
                  </a:lnTo>
                  <a:lnTo>
                    <a:pt x="42" y="306"/>
                  </a:lnTo>
                  <a:lnTo>
                    <a:pt x="42" y="270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48" y="258"/>
                  </a:lnTo>
                  <a:lnTo>
                    <a:pt x="72" y="252"/>
                  </a:lnTo>
                  <a:lnTo>
                    <a:pt x="66" y="204"/>
                  </a:lnTo>
                  <a:lnTo>
                    <a:pt x="60" y="198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8" y="13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84" y="96"/>
                  </a:lnTo>
                  <a:lnTo>
                    <a:pt x="90" y="84"/>
                  </a:lnTo>
                  <a:lnTo>
                    <a:pt x="108" y="72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20" y="60"/>
                  </a:lnTo>
                  <a:lnTo>
                    <a:pt x="120" y="54"/>
                  </a:lnTo>
                  <a:lnTo>
                    <a:pt x="120" y="48"/>
                  </a:lnTo>
                  <a:lnTo>
                    <a:pt x="126" y="48"/>
                  </a:lnTo>
                  <a:lnTo>
                    <a:pt x="132" y="42"/>
                  </a:lnTo>
                  <a:lnTo>
                    <a:pt x="132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240" y="18"/>
                  </a:lnTo>
                  <a:lnTo>
                    <a:pt x="246" y="42"/>
                  </a:lnTo>
                  <a:lnTo>
                    <a:pt x="240" y="72"/>
                  </a:lnTo>
                  <a:lnTo>
                    <a:pt x="246" y="78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8" y="108"/>
                  </a:lnTo>
                  <a:lnTo>
                    <a:pt x="276" y="114"/>
                  </a:lnTo>
                  <a:lnTo>
                    <a:pt x="294" y="150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82" y="186"/>
                  </a:lnTo>
                  <a:lnTo>
                    <a:pt x="282" y="192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76" y="216"/>
                  </a:lnTo>
                  <a:lnTo>
                    <a:pt x="288" y="240"/>
                  </a:lnTo>
                  <a:lnTo>
                    <a:pt x="312" y="228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66" y="228"/>
                  </a:lnTo>
                  <a:lnTo>
                    <a:pt x="372" y="228"/>
                  </a:lnTo>
                  <a:lnTo>
                    <a:pt x="372" y="222"/>
                  </a:lnTo>
                  <a:lnTo>
                    <a:pt x="378" y="222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6" y="222"/>
                  </a:lnTo>
                  <a:lnTo>
                    <a:pt x="402" y="222"/>
                  </a:lnTo>
                  <a:lnTo>
                    <a:pt x="402" y="228"/>
                  </a:lnTo>
                  <a:lnTo>
                    <a:pt x="408" y="228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26" y="216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68" y="258"/>
                  </a:lnTo>
                  <a:lnTo>
                    <a:pt x="462" y="264"/>
                  </a:lnTo>
                  <a:lnTo>
                    <a:pt x="468" y="264"/>
                  </a:lnTo>
                  <a:lnTo>
                    <a:pt x="468" y="270"/>
                  </a:lnTo>
                  <a:lnTo>
                    <a:pt x="474" y="270"/>
                  </a:lnTo>
                  <a:lnTo>
                    <a:pt x="480" y="276"/>
                  </a:lnTo>
                  <a:lnTo>
                    <a:pt x="474" y="282"/>
                  </a:lnTo>
                  <a:lnTo>
                    <a:pt x="474" y="288"/>
                  </a:lnTo>
                  <a:lnTo>
                    <a:pt x="462" y="294"/>
                  </a:lnTo>
                  <a:lnTo>
                    <a:pt x="468" y="324"/>
                  </a:lnTo>
                  <a:lnTo>
                    <a:pt x="462" y="336"/>
                  </a:lnTo>
                  <a:lnTo>
                    <a:pt x="456" y="354"/>
                  </a:lnTo>
                  <a:lnTo>
                    <a:pt x="432" y="390"/>
                  </a:lnTo>
                  <a:lnTo>
                    <a:pt x="420" y="390"/>
                  </a:lnTo>
                  <a:lnTo>
                    <a:pt x="402" y="390"/>
                  </a:lnTo>
                  <a:lnTo>
                    <a:pt x="396" y="396"/>
                  </a:lnTo>
                  <a:lnTo>
                    <a:pt x="390" y="396"/>
                  </a:lnTo>
                  <a:lnTo>
                    <a:pt x="390" y="402"/>
                  </a:lnTo>
                  <a:lnTo>
                    <a:pt x="384" y="402"/>
                  </a:lnTo>
                  <a:lnTo>
                    <a:pt x="408" y="432"/>
                  </a:lnTo>
                  <a:lnTo>
                    <a:pt x="432" y="438"/>
                  </a:lnTo>
                  <a:lnTo>
                    <a:pt x="456" y="432"/>
                  </a:lnTo>
                  <a:lnTo>
                    <a:pt x="468" y="426"/>
                  </a:lnTo>
                  <a:lnTo>
                    <a:pt x="468" y="444"/>
                  </a:lnTo>
                  <a:lnTo>
                    <a:pt x="468" y="450"/>
                  </a:lnTo>
                  <a:lnTo>
                    <a:pt x="468" y="474"/>
                  </a:lnTo>
                  <a:lnTo>
                    <a:pt x="486" y="480"/>
                  </a:lnTo>
                  <a:lnTo>
                    <a:pt x="486" y="486"/>
                  </a:lnTo>
                  <a:lnTo>
                    <a:pt x="492" y="498"/>
                  </a:lnTo>
                  <a:lnTo>
                    <a:pt x="492" y="504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504" y="516"/>
                  </a:lnTo>
                  <a:lnTo>
                    <a:pt x="510" y="516"/>
                  </a:lnTo>
                  <a:lnTo>
                    <a:pt x="522" y="528"/>
                  </a:lnTo>
                  <a:lnTo>
                    <a:pt x="546" y="540"/>
                  </a:lnTo>
                  <a:lnTo>
                    <a:pt x="552" y="546"/>
                  </a:lnTo>
                  <a:lnTo>
                    <a:pt x="570" y="552"/>
                  </a:lnTo>
                  <a:lnTo>
                    <a:pt x="594" y="552"/>
                  </a:lnTo>
                  <a:lnTo>
                    <a:pt x="606" y="546"/>
                  </a:lnTo>
                  <a:lnTo>
                    <a:pt x="612" y="540"/>
                  </a:lnTo>
                  <a:lnTo>
                    <a:pt x="630" y="540"/>
                  </a:lnTo>
                  <a:lnTo>
                    <a:pt x="630" y="552"/>
                  </a:lnTo>
                  <a:lnTo>
                    <a:pt x="654" y="552"/>
                  </a:lnTo>
                  <a:lnTo>
                    <a:pt x="702" y="558"/>
                  </a:lnTo>
                  <a:lnTo>
                    <a:pt x="762" y="546"/>
                  </a:lnTo>
                  <a:lnTo>
                    <a:pt x="780" y="546"/>
                  </a:lnTo>
                  <a:lnTo>
                    <a:pt x="780" y="528"/>
                  </a:lnTo>
                  <a:lnTo>
                    <a:pt x="798" y="522"/>
                  </a:lnTo>
                  <a:lnTo>
                    <a:pt x="810" y="510"/>
                  </a:lnTo>
                  <a:lnTo>
                    <a:pt x="810" y="504"/>
                  </a:lnTo>
                  <a:lnTo>
                    <a:pt x="828" y="492"/>
                  </a:lnTo>
                  <a:lnTo>
                    <a:pt x="888" y="486"/>
                  </a:lnTo>
                  <a:lnTo>
                    <a:pt x="912" y="486"/>
                  </a:lnTo>
                  <a:lnTo>
                    <a:pt x="930" y="474"/>
                  </a:lnTo>
                  <a:lnTo>
                    <a:pt x="918" y="456"/>
                  </a:lnTo>
                  <a:lnTo>
                    <a:pt x="912" y="450"/>
                  </a:lnTo>
                  <a:lnTo>
                    <a:pt x="918" y="390"/>
                  </a:lnTo>
                  <a:lnTo>
                    <a:pt x="954" y="396"/>
                  </a:lnTo>
                  <a:lnTo>
                    <a:pt x="984" y="402"/>
                  </a:lnTo>
                  <a:lnTo>
                    <a:pt x="1014" y="420"/>
                  </a:lnTo>
                  <a:lnTo>
                    <a:pt x="1026" y="432"/>
                  </a:lnTo>
                  <a:lnTo>
                    <a:pt x="1044" y="450"/>
                  </a:lnTo>
                  <a:lnTo>
                    <a:pt x="1062" y="462"/>
                  </a:lnTo>
                  <a:lnTo>
                    <a:pt x="1098" y="468"/>
                  </a:lnTo>
                  <a:lnTo>
                    <a:pt x="1128" y="480"/>
                  </a:lnTo>
                  <a:lnTo>
                    <a:pt x="1152" y="486"/>
                  </a:lnTo>
                  <a:lnTo>
                    <a:pt x="1188" y="498"/>
                  </a:lnTo>
                  <a:lnTo>
                    <a:pt x="1212" y="504"/>
                  </a:lnTo>
                  <a:lnTo>
                    <a:pt x="1224" y="528"/>
                  </a:lnTo>
                  <a:lnTo>
                    <a:pt x="1236" y="540"/>
                  </a:lnTo>
                  <a:lnTo>
                    <a:pt x="1254" y="540"/>
                  </a:lnTo>
                  <a:lnTo>
                    <a:pt x="1254" y="546"/>
                  </a:lnTo>
                  <a:lnTo>
                    <a:pt x="1260" y="552"/>
                  </a:lnTo>
                  <a:lnTo>
                    <a:pt x="1266" y="552"/>
                  </a:lnTo>
                  <a:lnTo>
                    <a:pt x="1266" y="558"/>
                  </a:lnTo>
                  <a:lnTo>
                    <a:pt x="1272" y="564"/>
                  </a:lnTo>
                  <a:lnTo>
                    <a:pt x="1278" y="564"/>
                  </a:lnTo>
                  <a:lnTo>
                    <a:pt x="1278" y="570"/>
                  </a:lnTo>
                  <a:lnTo>
                    <a:pt x="1284" y="576"/>
                  </a:lnTo>
                  <a:lnTo>
                    <a:pt x="1290" y="582"/>
                  </a:lnTo>
                  <a:lnTo>
                    <a:pt x="1296" y="582"/>
                  </a:lnTo>
                  <a:lnTo>
                    <a:pt x="1296" y="588"/>
                  </a:lnTo>
                  <a:lnTo>
                    <a:pt x="1308" y="594"/>
                  </a:lnTo>
                  <a:lnTo>
                    <a:pt x="1308" y="600"/>
                  </a:lnTo>
                  <a:lnTo>
                    <a:pt x="1308" y="606"/>
                  </a:lnTo>
                  <a:lnTo>
                    <a:pt x="1314" y="612"/>
                  </a:lnTo>
                  <a:lnTo>
                    <a:pt x="1308" y="618"/>
                  </a:lnTo>
                  <a:lnTo>
                    <a:pt x="1314" y="618"/>
                  </a:lnTo>
                  <a:lnTo>
                    <a:pt x="1314" y="624"/>
                  </a:lnTo>
                  <a:lnTo>
                    <a:pt x="1308" y="624"/>
                  </a:lnTo>
                  <a:lnTo>
                    <a:pt x="1302" y="630"/>
                  </a:lnTo>
                  <a:lnTo>
                    <a:pt x="1302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296" y="654"/>
                  </a:lnTo>
                  <a:lnTo>
                    <a:pt x="1302" y="660"/>
                  </a:lnTo>
                  <a:lnTo>
                    <a:pt x="1302" y="666"/>
                  </a:lnTo>
                  <a:lnTo>
                    <a:pt x="1308" y="666"/>
                  </a:lnTo>
                  <a:lnTo>
                    <a:pt x="1308" y="672"/>
                  </a:lnTo>
                  <a:lnTo>
                    <a:pt x="1308" y="678"/>
                  </a:lnTo>
                  <a:lnTo>
                    <a:pt x="1308" y="684"/>
                  </a:lnTo>
                  <a:lnTo>
                    <a:pt x="1308" y="690"/>
                  </a:lnTo>
                  <a:lnTo>
                    <a:pt x="1302" y="696"/>
                  </a:lnTo>
                  <a:lnTo>
                    <a:pt x="1302" y="702"/>
                  </a:lnTo>
                  <a:lnTo>
                    <a:pt x="1308" y="702"/>
                  </a:lnTo>
                  <a:lnTo>
                    <a:pt x="1302" y="708"/>
                  </a:lnTo>
                  <a:lnTo>
                    <a:pt x="1308" y="714"/>
                  </a:lnTo>
                  <a:lnTo>
                    <a:pt x="1308" y="720"/>
                  </a:lnTo>
                  <a:lnTo>
                    <a:pt x="1308" y="726"/>
                  </a:lnTo>
                  <a:lnTo>
                    <a:pt x="1308" y="732"/>
                  </a:lnTo>
                  <a:lnTo>
                    <a:pt x="1314" y="732"/>
                  </a:lnTo>
                  <a:lnTo>
                    <a:pt x="1314" y="738"/>
                  </a:lnTo>
                  <a:lnTo>
                    <a:pt x="1320" y="744"/>
                  </a:lnTo>
                  <a:lnTo>
                    <a:pt x="1326" y="750"/>
                  </a:lnTo>
                  <a:lnTo>
                    <a:pt x="1320" y="750"/>
                  </a:lnTo>
                  <a:lnTo>
                    <a:pt x="1320" y="756"/>
                  </a:lnTo>
                  <a:lnTo>
                    <a:pt x="1314" y="756"/>
                  </a:lnTo>
                  <a:lnTo>
                    <a:pt x="1314" y="762"/>
                  </a:lnTo>
                  <a:lnTo>
                    <a:pt x="1314" y="768"/>
                  </a:lnTo>
                  <a:lnTo>
                    <a:pt x="1320" y="768"/>
                  </a:lnTo>
                  <a:lnTo>
                    <a:pt x="1320" y="762"/>
                  </a:lnTo>
                  <a:lnTo>
                    <a:pt x="1320" y="768"/>
                  </a:lnTo>
                  <a:lnTo>
                    <a:pt x="1326" y="774"/>
                  </a:lnTo>
                  <a:lnTo>
                    <a:pt x="1332" y="774"/>
                  </a:lnTo>
                  <a:lnTo>
                    <a:pt x="1332" y="780"/>
                  </a:lnTo>
                  <a:lnTo>
                    <a:pt x="1332" y="786"/>
                  </a:lnTo>
                  <a:lnTo>
                    <a:pt x="1332" y="792"/>
                  </a:lnTo>
                  <a:lnTo>
                    <a:pt x="1338" y="786"/>
                  </a:lnTo>
                  <a:lnTo>
                    <a:pt x="1338" y="792"/>
                  </a:lnTo>
                  <a:lnTo>
                    <a:pt x="1344" y="798"/>
                  </a:lnTo>
                  <a:lnTo>
                    <a:pt x="1344" y="804"/>
                  </a:lnTo>
                  <a:lnTo>
                    <a:pt x="1344" y="810"/>
                  </a:lnTo>
                  <a:lnTo>
                    <a:pt x="1344" y="816"/>
                  </a:lnTo>
                  <a:lnTo>
                    <a:pt x="1344" y="822"/>
                  </a:lnTo>
                  <a:lnTo>
                    <a:pt x="1338" y="828"/>
                  </a:lnTo>
                  <a:lnTo>
                    <a:pt x="1332" y="828"/>
                  </a:lnTo>
                  <a:lnTo>
                    <a:pt x="1338" y="840"/>
                  </a:lnTo>
                  <a:lnTo>
                    <a:pt x="1344" y="846"/>
                  </a:lnTo>
                  <a:lnTo>
                    <a:pt x="1344" y="852"/>
                  </a:lnTo>
                  <a:lnTo>
                    <a:pt x="1350" y="852"/>
                  </a:lnTo>
                  <a:lnTo>
                    <a:pt x="1356" y="858"/>
                  </a:lnTo>
                  <a:lnTo>
                    <a:pt x="1362" y="858"/>
                  </a:lnTo>
                  <a:lnTo>
                    <a:pt x="1362" y="870"/>
                  </a:lnTo>
                  <a:lnTo>
                    <a:pt x="1356" y="870"/>
                  </a:lnTo>
                  <a:lnTo>
                    <a:pt x="1356" y="876"/>
                  </a:lnTo>
                  <a:lnTo>
                    <a:pt x="1350" y="876"/>
                  </a:lnTo>
                  <a:lnTo>
                    <a:pt x="1344" y="876"/>
                  </a:lnTo>
                  <a:lnTo>
                    <a:pt x="1344" y="882"/>
                  </a:lnTo>
                  <a:lnTo>
                    <a:pt x="1338" y="882"/>
                  </a:lnTo>
                  <a:lnTo>
                    <a:pt x="1338" y="888"/>
                  </a:lnTo>
                  <a:lnTo>
                    <a:pt x="1338" y="894"/>
                  </a:lnTo>
                  <a:lnTo>
                    <a:pt x="1344" y="900"/>
                  </a:lnTo>
                  <a:lnTo>
                    <a:pt x="1344" y="906"/>
                  </a:lnTo>
                  <a:lnTo>
                    <a:pt x="1338" y="906"/>
                  </a:lnTo>
                  <a:lnTo>
                    <a:pt x="1332" y="912"/>
                  </a:lnTo>
                  <a:lnTo>
                    <a:pt x="1332" y="918"/>
                  </a:lnTo>
                  <a:lnTo>
                    <a:pt x="1326" y="918"/>
                  </a:lnTo>
                  <a:lnTo>
                    <a:pt x="1332" y="924"/>
                  </a:lnTo>
                  <a:lnTo>
                    <a:pt x="1284" y="942"/>
                  </a:lnTo>
                  <a:lnTo>
                    <a:pt x="1236" y="948"/>
                  </a:lnTo>
                  <a:lnTo>
                    <a:pt x="1194" y="966"/>
                  </a:lnTo>
                  <a:lnTo>
                    <a:pt x="1170" y="1002"/>
                  </a:lnTo>
                  <a:lnTo>
                    <a:pt x="1134" y="1020"/>
                  </a:lnTo>
                  <a:lnTo>
                    <a:pt x="1116" y="1032"/>
                  </a:lnTo>
                  <a:lnTo>
                    <a:pt x="1098" y="1050"/>
                  </a:lnTo>
                  <a:lnTo>
                    <a:pt x="1074" y="1074"/>
                  </a:lnTo>
                  <a:lnTo>
                    <a:pt x="1008" y="1134"/>
                  </a:lnTo>
                  <a:lnTo>
                    <a:pt x="990" y="1158"/>
                  </a:lnTo>
                  <a:lnTo>
                    <a:pt x="978" y="1182"/>
                  </a:lnTo>
                  <a:lnTo>
                    <a:pt x="960" y="1194"/>
                  </a:lnTo>
                  <a:lnTo>
                    <a:pt x="942" y="1212"/>
                  </a:lnTo>
                  <a:lnTo>
                    <a:pt x="912" y="1242"/>
                  </a:lnTo>
                  <a:lnTo>
                    <a:pt x="888" y="1254"/>
                  </a:lnTo>
                  <a:lnTo>
                    <a:pt x="864" y="1278"/>
                  </a:lnTo>
                  <a:lnTo>
                    <a:pt x="828" y="1296"/>
                  </a:lnTo>
                  <a:lnTo>
                    <a:pt x="774" y="1308"/>
                  </a:lnTo>
                  <a:lnTo>
                    <a:pt x="732" y="1302"/>
                  </a:lnTo>
                  <a:lnTo>
                    <a:pt x="702" y="1284"/>
                  </a:lnTo>
                  <a:lnTo>
                    <a:pt x="684" y="12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1" name="Freeform 16">
              <a:extLst>
                <a:ext uri="{FF2B5EF4-FFF2-40B4-BE49-F238E27FC236}">
                  <a16:creationId xmlns:a16="http://schemas.microsoft.com/office/drawing/2014/main" id="{D8D8591A-D9DB-4301-BEBD-D8F5A26DA9E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3001" y="2929369"/>
              <a:ext cx="914601" cy="1037736"/>
            </a:xfrm>
            <a:custGeom>
              <a:avLst/>
              <a:gdLst>
                <a:gd name="T0" fmla="*/ 144 w 1722"/>
                <a:gd name="T1" fmla="*/ 131 h 1956"/>
                <a:gd name="T2" fmla="*/ 142 w 1722"/>
                <a:gd name="T3" fmla="*/ 139 h 1956"/>
                <a:gd name="T4" fmla="*/ 137 w 1722"/>
                <a:gd name="T5" fmla="*/ 143 h 1956"/>
                <a:gd name="T6" fmla="*/ 133 w 1722"/>
                <a:gd name="T7" fmla="*/ 147 h 1956"/>
                <a:gd name="T8" fmla="*/ 132 w 1722"/>
                <a:gd name="T9" fmla="*/ 152 h 1956"/>
                <a:gd name="T10" fmla="*/ 130 w 1722"/>
                <a:gd name="T11" fmla="*/ 159 h 1956"/>
                <a:gd name="T12" fmla="*/ 127 w 1722"/>
                <a:gd name="T13" fmla="*/ 164 h 1956"/>
                <a:gd name="T14" fmla="*/ 123 w 1722"/>
                <a:gd name="T15" fmla="*/ 168 h 1956"/>
                <a:gd name="T16" fmla="*/ 117 w 1722"/>
                <a:gd name="T17" fmla="*/ 169 h 1956"/>
                <a:gd name="T18" fmla="*/ 110 w 1722"/>
                <a:gd name="T19" fmla="*/ 168 h 1956"/>
                <a:gd name="T20" fmla="*/ 104 w 1722"/>
                <a:gd name="T21" fmla="*/ 166 h 1956"/>
                <a:gd name="T22" fmla="*/ 101 w 1722"/>
                <a:gd name="T23" fmla="*/ 159 h 1956"/>
                <a:gd name="T24" fmla="*/ 95 w 1722"/>
                <a:gd name="T25" fmla="*/ 156 h 1956"/>
                <a:gd name="T26" fmla="*/ 89 w 1722"/>
                <a:gd name="T27" fmla="*/ 151 h 1956"/>
                <a:gd name="T28" fmla="*/ 87 w 1722"/>
                <a:gd name="T29" fmla="*/ 144 h 1956"/>
                <a:gd name="T30" fmla="*/ 82 w 1722"/>
                <a:gd name="T31" fmla="*/ 141 h 1956"/>
                <a:gd name="T32" fmla="*/ 76 w 1722"/>
                <a:gd name="T33" fmla="*/ 134 h 1956"/>
                <a:gd name="T34" fmla="*/ 74 w 1722"/>
                <a:gd name="T35" fmla="*/ 143 h 1956"/>
                <a:gd name="T36" fmla="*/ 68 w 1722"/>
                <a:gd name="T37" fmla="*/ 147 h 1956"/>
                <a:gd name="T38" fmla="*/ 54 w 1722"/>
                <a:gd name="T39" fmla="*/ 144 h 1956"/>
                <a:gd name="T40" fmla="*/ 51 w 1722"/>
                <a:gd name="T41" fmla="*/ 142 h 1956"/>
                <a:gd name="T42" fmla="*/ 42 w 1722"/>
                <a:gd name="T43" fmla="*/ 151 h 1956"/>
                <a:gd name="T44" fmla="*/ 33 w 1722"/>
                <a:gd name="T45" fmla="*/ 154 h 1956"/>
                <a:gd name="T46" fmla="*/ 31 w 1722"/>
                <a:gd name="T47" fmla="*/ 159 h 1956"/>
                <a:gd name="T48" fmla="*/ 29 w 1722"/>
                <a:gd name="T49" fmla="*/ 166 h 1956"/>
                <a:gd name="T50" fmla="*/ 25 w 1722"/>
                <a:gd name="T51" fmla="*/ 169 h 1956"/>
                <a:gd name="T52" fmla="*/ 27 w 1722"/>
                <a:gd name="T53" fmla="*/ 154 h 1956"/>
                <a:gd name="T54" fmla="*/ 37 w 1722"/>
                <a:gd name="T55" fmla="*/ 133 h 1956"/>
                <a:gd name="T56" fmla="*/ 36 w 1722"/>
                <a:gd name="T57" fmla="*/ 109 h 1956"/>
                <a:gd name="T58" fmla="*/ 27 w 1722"/>
                <a:gd name="T59" fmla="*/ 101 h 1956"/>
                <a:gd name="T60" fmla="*/ 5 w 1722"/>
                <a:gd name="T61" fmla="*/ 98 h 1956"/>
                <a:gd name="T62" fmla="*/ 2 w 1722"/>
                <a:gd name="T63" fmla="*/ 93 h 1956"/>
                <a:gd name="T64" fmla="*/ 12 w 1722"/>
                <a:gd name="T65" fmla="*/ 82 h 1956"/>
                <a:gd name="T66" fmla="*/ 9 w 1722"/>
                <a:gd name="T67" fmla="*/ 74 h 1956"/>
                <a:gd name="T68" fmla="*/ 23 w 1722"/>
                <a:gd name="T69" fmla="*/ 72 h 1956"/>
                <a:gd name="T70" fmla="*/ 22 w 1722"/>
                <a:gd name="T71" fmla="*/ 67 h 1956"/>
                <a:gd name="T72" fmla="*/ 48 w 1722"/>
                <a:gd name="T73" fmla="*/ 57 h 1956"/>
                <a:gd name="T74" fmla="*/ 78 w 1722"/>
                <a:gd name="T75" fmla="*/ 34 h 1956"/>
                <a:gd name="T76" fmla="*/ 81 w 1722"/>
                <a:gd name="T77" fmla="*/ 31 h 1956"/>
                <a:gd name="T78" fmla="*/ 80 w 1722"/>
                <a:gd name="T79" fmla="*/ 26 h 1956"/>
                <a:gd name="T80" fmla="*/ 78 w 1722"/>
                <a:gd name="T81" fmla="*/ 21 h 1956"/>
                <a:gd name="T82" fmla="*/ 77 w 1722"/>
                <a:gd name="T83" fmla="*/ 18 h 1956"/>
                <a:gd name="T84" fmla="*/ 77 w 1722"/>
                <a:gd name="T85" fmla="*/ 12 h 1956"/>
                <a:gd name="T86" fmla="*/ 77 w 1722"/>
                <a:gd name="T87" fmla="*/ 7 h 1956"/>
                <a:gd name="T88" fmla="*/ 102 w 1722"/>
                <a:gd name="T89" fmla="*/ 2 h 1956"/>
                <a:gd name="T90" fmla="*/ 115 w 1722"/>
                <a:gd name="T91" fmla="*/ 3 h 1956"/>
                <a:gd name="T92" fmla="*/ 123 w 1722"/>
                <a:gd name="T93" fmla="*/ 3 h 1956"/>
                <a:gd name="T94" fmla="*/ 125 w 1722"/>
                <a:gd name="T95" fmla="*/ 9 h 1956"/>
                <a:gd name="T96" fmla="*/ 133 w 1722"/>
                <a:gd name="T97" fmla="*/ 13 h 1956"/>
                <a:gd name="T98" fmla="*/ 149 w 1722"/>
                <a:gd name="T99" fmla="*/ 37 h 1956"/>
                <a:gd name="T100" fmla="*/ 141 w 1722"/>
                <a:gd name="T101" fmla="*/ 57 h 1956"/>
                <a:gd name="T102" fmla="*/ 135 w 1722"/>
                <a:gd name="T103" fmla="*/ 63 h 1956"/>
                <a:gd name="T104" fmla="*/ 124 w 1722"/>
                <a:gd name="T105" fmla="*/ 77 h 1956"/>
                <a:gd name="T106" fmla="*/ 123 w 1722"/>
                <a:gd name="T107" fmla="*/ 96 h 1956"/>
                <a:gd name="T108" fmla="*/ 127 w 1722"/>
                <a:gd name="T109" fmla="*/ 97 h 1956"/>
                <a:gd name="T110" fmla="*/ 129 w 1722"/>
                <a:gd name="T111" fmla="*/ 92 h 1956"/>
                <a:gd name="T112" fmla="*/ 134 w 1722"/>
                <a:gd name="T113" fmla="*/ 94 h 1956"/>
                <a:gd name="T114" fmla="*/ 138 w 1722"/>
                <a:gd name="T115" fmla="*/ 99 h 1956"/>
                <a:gd name="T116" fmla="*/ 142 w 1722"/>
                <a:gd name="T117" fmla="*/ 104 h 1956"/>
                <a:gd name="T118" fmla="*/ 141 w 1722"/>
                <a:gd name="T119" fmla="*/ 115 h 19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722"/>
                <a:gd name="T181" fmla="*/ 0 h 1956"/>
                <a:gd name="T182" fmla="*/ 1722 w 1722"/>
                <a:gd name="T183" fmla="*/ 1956 h 19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722" h="1956">
                  <a:moveTo>
                    <a:pt x="1686" y="1404"/>
                  </a:moveTo>
                  <a:lnTo>
                    <a:pt x="1680" y="1416"/>
                  </a:lnTo>
                  <a:lnTo>
                    <a:pt x="1674" y="1422"/>
                  </a:lnTo>
                  <a:lnTo>
                    <a:pt x="1674" y="1428"/>
                  </a:lnTo>
                  <a:lnTo>
                    <a:pt x="1668" y="1428"/>
                  </a:lnTo>
                  <a:lnTo>
                    <a:pt x="1668" y="1434"/>
                  </a:lnTo>
                  <a:lnTo>
                    <a:pt x="1662" y="1446"/>
                  </a:lnTo>
                  <a:lnTo>
                    <a:pt x="1656" y="1464"/>
                  </a:lnTo>
                  <a:lnTo>
                    <a:pt x="1656" y="1476"/>
                  </a:lnTo>
                  <a:lnTo>
                    <a:pt x="1656" y="1488"/>
                  </a:lnTo>
                  <a:lnTo>
                    <a:pt x="1662" y="1500"/>
                  </a:lnTo>
                  <a:lnTo>
                    <a:pt x="1662" y="1506"/>
                  </a:lnTo>
                  <a:lnTo>
                    <a:pt x="1662" y="1524"/>
                  </a:lnTo>
                  <a:lnTo>
                    <a:pt x="1668" y="1542"/>
                  </a:lnTo>
                  <a:lnTo>
                    <a:pt x="1674" y="1560"/>
                  </a:lnTo>
                  <a:lnTo>
                    <a:pt x="1680" y="1578"/>
                  </a:lnTo>
                  <a:lnTo>
                    <a:pt x="1686" y="1578"/>
                  </a:lnTo>
                  <a:lnTo>
                    <a:pt x="1686" y="1584"/>
                  </a:lnTo>
                  <a:lnTo>
                    <a:pt x="1686" y="1590"/>
                  </a:lnTo>
                  <a:lnTo>
                    <a:pt x="1686" y="1596"/>
                  </a:lnTo>
                  <a:lnTo>
                    <a:pt x="1680" y="1596"/>
                  </a:lnTo>
                  <a:lnTo>
                    <a:pt x="1674" y="1602"/>
                  </a:lnTo>
                  <a:lnTo>
                    <a:pt x="1662" y="1602"/>
                  </a:lnTo>
                  <a:lnTo>
                    <a:pt x="1638" y="1596"/>
                  </a:lnTo>
                  <a:lnTo>
                    <a:pt x="1632" y="1596"/>
                  </a:lnTo>
                  <a:lnTo>
                    <a:pt x="1626" y="1602"/>
                  </a:lnTo>
                  <a:lnTo>
                    <a:pt x="1620" y="1602"/>
                  </a:lnTo>
                  <a:lnTo>
                    <a:pt x="1614" y="1602"/>
                  </a:lnTo>
                  <a:lnTo>
                    <a:pt x="1602" y="1602"/>
                  </a:lnTo>
                  <a:lnTo>
                    <a:pt x="1602" y="1608"/>
                  </a:lnTo>
                  <a:lnTo>
                    <a:pt x="1602" y="1620"/>
                  </a:lnTo>
                  <a:lnTo>
                    <a:pt x="1596" y="1620"/>
                  </a:lnTo>
                  <a:lnTo>
                    <a:pt x="1590" y="1620"/>
                  </a:lnTo>
                  <a:lnTo>
                    <a:pt x="1584" y="1626"/>
                  </a:lnTo>
                  <a:lnTo>
                    <a:pt x="1584" y="1632"/>
                  </a:lnTo>
                  <a:lnTo>
                    <a:pt x="1578" y="1644"/>
                  </a:lnTo>
                  <a:lnTo>
                    <a:pt x="1572" y="1644"/>
                  </a:lnTo>
                  <a:lnTo>
                    <a:pt x="1566" y="1644"/>
                  </a:lnTo>
                  <a:lnTo>
                    <a:pt x="1566" y="1650"/>
                  </a:lnTo>
                  <a:lnTo>
                    <a:pt x="1560" y="1650"/>
                  </a:lnTo>
                  <a:lnTo>
                    <a:pt x="1554" y="1650"/>
                  </a:lnTo>
                  <a:lnTo>
                    <a:pt x="1548" y="1650"/>
                  </a:lnTo>
                  <a:lnTo>
                    <a:pt x="1548" y="1656"/>
                  </a:lnTo>
                  <a:lnTo>
                    <a:pt x="1542" y="1668"/>
                  </a:lnTo>
                  <a:lnTo>
                    <a:pt x="1542" y="1674"/>
                  </a:lnTo>
                  <a:lnTo>
                    <a:pt x="1542" y="1692"/>
                  </a:lnTo>
                  <a:lnTo>
                    <a:pt x="1536" y="1698"/>
                  </a:lnTo>
                  <a:lnTo>
                    <a:pt x="1530" y="1698"/>
                  </a:lnTo>
                  <a:lnTo>
                    <a:pt x="1524" y="1698"/>
                  </a:lnTo>
                  <a:lnTo>
                    <a:pt x="1518" y="1704"/>
                  </a:lnTo>
                  <a:lnTo>
                    <a:pt x="1512" y="1710"/>
                  </a:lnTo>
                  <a:lnTo>
                    <a:pt x="1506" y="1722"/>
                  </a:lnTo>
                  <a:lnTo>
                    <a:pt x="1500" y="1728"/>
                  </a:lnTo>
                  <a:lnTo>
                    <a:pt x="1500" y="1734"/>
                  </a:lnTo>
                  <a:lnTo>
                    <a:pt x="1512" y="1734"/>
                  </a:lnTo>
                  <a:lnTo>
                    <a:pt x="1518" y="1740"/>
                  </a:lnTo>
                  <a:lnTo>
                    <a:pt x="1518" y="1746"/>
                  </a:lnTo>
                  <a:lnTo>
                    <a:pt x="1518" y="1752"/>
                  </a:lnTo>
                  <a:lnTo>
                    <a:pt x="1518" y="1758"/>
                  </a:lnTo>
                  <a:lnTo>
                    <a:pt x="1524" y="1758"/>
                  </a:lnTo>
                  <a:lnTo>
                    <a:pt x="1524" y="1764"/>
                  </a:lnTo>
                  <a:lnTo>
                    <a:pt x="1530" y="1770"/>
                  </a:lnTo>
                  <a:lnTo>
                    <a:pt x="1518" y="1770"/>
                  </a:lnTo>
                  <a:lnTo>
                    <a:pt x="1512" y="1782"/>
                  </a:lnTo>
                  <a:lnTo>
                    <a:pt x="1512" y="1788"/>
                  </a:lnTo>
                  <a:lnTo>
                    <a:pt x="1518" y="1788"/>
                  </a:lnTo>
                  <a:lnTo>
                    <a:pt x="1524" y="1800"/>
                  </a:lnTo>
                  <a:lnTo>
                    <a:pt x="1524" y="1806"/>
                  </a:lnTo>
                  <a:lnTo>
                    <a:pt x="1518" y="1812"/>
                  </a:lnTo>
                  <a:lnTo>
                    <a:pt x="1512" y="1818"/>
                  </a:lnTo>
                  <a:lnTo>
                    <a:pt x="1506" y="1818"/>
                  </a:lnTo>
                  <a:lnTo>
                    <a:pt x="1500" y="1824"/>
                  </a:lnTo>
                  <a:lnTo>
                    <a:pt x="1500" y="1836"/>
                  </a:lnTo>
                  <a:lnTo>
                    <a:pt x="1500" y="1842"/>
                  </a:lnTo>
                  <a:lnTo>
                    <a:pt x="1500" y="1848"/>
                  </a:lnTo>
                  <a:lnTo>
                    <a:pt x="1500" y="1854"/>
                  </a:lnTo>
                  <a:lnTo>
                    <a:pt x="1494" y="1860"/>
                  </a:lnTo>
                  <a:lnTo>
                    <a:pt x="1488" y="1860"/>
                  </a:lnTo>
                  <a:lnTo>
                    <a:pt x="1488" y="1866"/>
                  </a:lnTo>
                  <a:lnTo>
                    <a:pt x="1482" y="1872"/>
                  </a:lnTo>
                  <a:lnTo>
                    <a:pt x="1482" y="1878"/>
                  </a:lnTo>
                  <a:lnTo>
                    <a:pt x="1482" y="1884"/>
                  </a:lnTo>
                  <a:lnTo>
                    <a:pt x="1476" y="1890"/>
                  </a:lnTo>
                  <a:lnTo>
                    <a:pt x="1470" y="1890"/>
                  </a:lnTo>
                  <a:lnTo>
                    <a:pt x="1470" y="1896"/>
                  </a:lnTo>
                  <a:lnTo>
                    <a:pt x="1464" y="1896"/>
                  </a:lnTo>
                  <a:lnTo>
                    <a:pt x="1458" y="1896"/>
                  </a:lnTo>
                  <a:lnTo>
                    <a:pt x="1452" y="1896"/>
                  </a:lnTo>
                  <a:lnTo>
                    <a:pt x="1440" y="1890"/>
                  </a:lnTo>
                  <a:lnTo>
                    <a:pt x="1434" y="1896"/>
                  </a:lnTo>
                  <a:lnTo>
                    <a:pt x="1428" y="1896"/>
                  </a:lnTo>
                  <a:lnTo>
                    <a:pt x="1422" y="1896"/>
                  </a:lnTo>
                  <a:lnTo>
                    <a:pt x="1422" y="1902"/>
                  </a:lnTo>
                  <a:lnTo>
                    <a:pt x="1416" y="1902"/>
                  </a:lnTo>
                  <a:lnTo>
                    <a:pt x="1422" y="1914"/>
                  </a:lnTo>
                  <a:lnTo>
                    <a:pt x="1422" y="1932"/>
                  </a:lnTo>
                  <a:lnTo>
                    <a:pt x="1416" y="1938"/>
                  </a:lnTo>
                  <a:lnTo>
                    <a:pt x="1422" y="1938"/>
                  </a:lnTo>
                  <a:lnTo>
                    <a:pt x="1404" y="1938"/>
                  </a:lnTo>
                  <a:lnTo>
                    <a:pt x="1392" y="1944"/>
                  </a:lnTo>
                  <a:lnTo>
                    <a:pt x="1386" y="1944"/>
                  </a:lnTo>
                  <a:lnTo>
                    <a:pt x="1374" y="1944"/>
                  </a:lnTo>
                  <a:lnTo>
                    <a:pt x="1368" y="1950"/>
                  </a:lnTo>
                  <a:lnTo>
                    <a:pt x="1374" y="1956"/>
                  </a:lnTo>
                  <a:lnTo>
                    <a:pt x="1368" y="1956"/>
                  </a:lnTo>
                  <a:lnTo>
                    <a:pt x="1356" y="1956"/>
                  </a:lnTo>
                  <a:lnTo>
                    <a:pt x="1350" y="1956"/>
                  </a:lnTo>
                  <a:lnTo>
                    <a:pt x="1350" y="1950"/>
                  </a:lnTo>
                  <a:lnTo>
                    <a:pt x="1344" y="1944"/>
                  </a:lnTo>
                  <a:lnTo>
                    <a:pt x="1332" y="1938"/>
                  </a:lnTo>
                  <a:lnTo>
                    <a:pt x="1326" y="1938"/>
                  </a:lnTo>
                  <a:lnTo>
                    <a:pt x="1320" y="1938"/>
                  </a:lnTo>
                  <a:lnTo>
                    <a:pt x="1314" y="1944"/>
                  </a:lnTo>
                  <a:lnTo>
                    <a:pt x="1308" y="1944"/>
                  </a:lnTo>
                  <a:lnTo>
                    <a:pt x="1302" y="1944"/>
                  </a:lnTo>
                  <a:lnTo>
                    <a:pt x="1296" y="1938"/>
                  </a:lnTo>
                  <a:lnTo>
                    <a:pt x="1284" y="1938"/>
                  </a:lnTo>
                  <a:lnTo>
                    <a:pt x="1278" y="1938"/>
                  </a:lnTo>
                  <a:lnTo>
                    <a:pt x="1272" y="1938"/>
                  </a:lnTo>
                  <a:lnTo>
                    <a:pt x="1266" y="1932"/>
                  </a:lnTo>
                  <a:lnTo>
                    <a:pt x="1260" y="1932"/>
                  </a:lnTo>
                  <a:lnTo>
                    <a:pt x="1254" y="1920"/>
                  </a:lnTo>
                  <a:lnTo>
                    <a:pt x="1248" y="1920"/>
                  </a:lnTo>
                  <a:lnTo>
                    <a:pt x="1242" y="1920"/>
                  </a:lnTo>
                  <a:lnTo>
                    <a:pt x="1236" y="1926"/>
                  </a:lnTo>
                  <a:lnTo>
                    <a:pt x="1236" y="1932"/>
                  </a:lnTo>
                  <a:lnTo>
                    <a:pt x="1230" y="1932"/>
                  </a:lnTo>
                  <a:lnTo>
                    <a:pt x="1224" y="1932"/>
                  </a:lnTo>
                  <a:lnTo>
                    <a:pt x="1218" y="1938"/>
                  </a:lnTo>
                  <a:lnTo>
                    <a:pt x="1212" y="1932"/>
                  </a:lnTo>
                  <a:lnTo>
                    <a:pt x="1206" y="1926"/>
                  </a:lnTo>
                  <a:lnTo>
                    <a:pt x="1206" y="1908"/>
                  </a:lnTo>
                  <a:lnTo>
                    <a:pt x="1206" y="1884"/>
                  </a:lnTo>
                  <a:lnTo>
                    <a:pt x="1206" y="1866"/>
                  </a:lnTo>
                  <a:lnTo>
                    <a:pt x="1212" y="1848"/>
                  </a:lnTo>
                  <a:lnTo>
                    <a:pt x="1212" y="1842"/>
                  </a:lnTo>
                  <a:lnTo>
                    <a:pt x="1206" y="1836"/>
                  </a:lnTo>
                  <a:lnTo>
                    <a:pt x="1200" y="1830"/>
                  </a:lnTo>
                  <a:lnTo>
                    <a:pt x="1194" y="1824"/>
                  </a:lnTo>
                  <a:lnTo>
                    <a:pt x="1188" y="1824"/>
                  </a:lnTo>
                  <a:lnTo>
                    <a:pt x="1182" y="1824"/>
                  </a:lnTo>
                  <a:lnTo>
                    <a:pt x="1176" y="1824"/>
                  </a:lnTo>
                  <a:lnTo>
                    <a:pt x="1170" y="1818"/>
                  </a:lnTo>
                  <a:lnTo>
                    <a:pt x="1164" y="1830"/>
                  </a:lnTo>
                  <a:lnTo>
                    <a:pt x="1152" y="1836"/>
                  </a:lnTo>
                  <a:lnTo>
                    <a:pt x="1146" y="1842"/>
                  </a:lnTo>
                  <a:lnTo>
                    <a:pt x="1140" y="1842"/>
                  </a:lnTo>
                  <a:lnTo>
                    <a:pt x="1134" y="1842"/>
                  </a:lnTo>
                  <a:lnTo>
                    <a:pt x="1128" y="1842"/>
                  </a:lnTo>
                  <a:lnTo>
                    <a:pt x="1116" y="1836"/>
                  </a:lnTo>
                  <a:lnTo>
                    <a:pt x="1110" y="1842"/>
                  </a:lnTo>
                  <a:lnTo>
                    <a:pt x="1092" y="1830"/>
                  </a:lnTo>
                  <a:lnTo>
                    <a:pt x="1092" y="1824"/>
                  </a:lnTo>
                  <a:lnTo>
                    <a:pt x="1092" y="1806"/>
                  </a:lnTo>
                  <a:lnTo>
                    <a:pt x="1092" y="1800"/>
                  </a:lnTo>
                  <a:lnTo>
                    <a:pt x="1092" y="1794"/>
                  </a:lnTo>
                  <a:lnTo>
                    <a:pt x="1086" y="1788"/>
                  </a:lnTo>
                  <a:lnTo>
                    <a:pt x="1080" y="1794"/>
                  </a:lnTo>
                  <a:lnTo>
                    <a:pt x="1074" y="1788"/>
                  </a:lnTo>
                  <a:lnTo>
                    <a:pt x="1068" y="1770"/>
                  </a:lnTo>
                  <a:lnTo>
                    <a:pt x="1056" y="1764"/>
                  </a:lnTo>
                  <a:lnTo>
                    <a:pt x="1050" y="1764"/>
                  </a:lnTo>
                  <a:lnTo>
                    <a:pt x="1044" y="1764"/>
                  </a:lnTo>
                  <a:lnTo>
                    <a:pt x="1038" y="1758"/>
                  </a:lnTo>
                  <a:lnTo>
                    <a:pt x="1032" y="1752"/>
                  </a:lnTo>
                  <a:lnTo>
                    <a:pt x="1032" y="1746"/>
                  </a:lnTo>
                  <a:lnTo>
                    <a:pt x="1032" y="1740"/>
                  </a:lnTo>
                  <a:lnTo>
                    <a:pt x="1032" y="1734"/>
                  </a:lnTo>
                  <a:lnTo>
                    <a:pt x="1026" y="1734"/>
                  </a:lnTo>
                  <a:lnTo>
                    <a:pt x="1032" y="1728"/>
                  </a:lnTo>
                  <a:lnTo>
                    <a:pt x="1032" y="1722"/>
                  </a:lnTo>
                  <a:lnTo>
                    <a:pt x="1044" y="1686"/>
                  </a:lnTo>
                  <a:lnTo>
                    <a:pt x="1044" y="1680"/>
                  </a:lnTo>
                  <a:lnTo>
                    <a:pt x="1032" y="1674"/>
                  </a:lnTo>
                  <a:lnTo>
                    <a:pt x="1026" y="1674"/>
                  </a:lnTo>
                  <a:lnTo>
                    <a:pt x="1026" y="1668"/>
                  </a:lnTo>
                  <a:lnTo>
                    <a:pt x="1020" y="1662"/>
                  </a:lnTo>
                  <a:lnTo>
                    <a:pt x="1014" y="1668"/>
                  </a:lnTo>
                  <a:lnTo>
                    <a:pt x="1008" y="1662"/>
                  </a:lnTo>
                  <a:lnTo>
                    <a:pt x="1002" y="1662"/>
                  </a:lnTo>
                  <a:lnTo>
                    <a:pt x="1002" y="1668"/>
                  </a:lnTo>
                  <a:lnTo>
                    <a:pt x="996" y="1668"/>
                  </a:lnTo>
                  <a:lnTo>
                    <a:pt x="996" y="1662"/>
                  </a:lnTo>
                  <a:lnTo>
                    <a:pt x="984" y="1662"/>
                  </a:lnTo>
                  <a:lnTo>
                    <a:pt x="984" y="1656"/>
                  </a:lnTo>
                  <a:lnTo>
                    <a:pt x="978" y="1650"/>
                  </a:lnTo>
                  <a:lnTo>
                    <a:pt x="978" y="1644"/>
                  </a:lnTo>
                  <a:lnTo>
                    <a:pt x="966" y="1650"/>
                  </a:lnTo>
                  <a:lnTo>
                    <a:pt x="960" y="1638"/>
                  </a:lnTo>
                  <a:lnTo>
                    <a:pt x="954" y="1632"/>
                  </a:lnTo>
                  <a:lnTo>
                    <a:pt x="948" y="1632"/>
                  </a:lnTo>
                  <a:lnTo>
                    <a:pt x="942" y="1626"/>
                  </a:lnTo>
                  <a:lnTo>
                    <a:pt x="942" y="1614"/>
                  </a:lnTo>
                  <a:lnTo>
                    <a:pt x="930" y="1608"/>
                  </a:lnTo>
                  <a:lnTo>
                    <a:pt x="924" y="1614"/>
                  </a:lnTo>
                  <a:lnTo>
                    <a:pt x="912" y="1608"/>
                  </a:lnTo>
                  <a:lnTo>
                    <a:pt x="888" y="1590"/>
                  </a:lnTo>
                  <a:lnTo>
                    <a:pt x="894" y="1578"/>
                  </a:lnTo>
                  <a:lnTo>
                    <a:pt x="894" y="1572"/>
                  </a:lnTo>
                  <a:lnTo>
                    <a:pt x="894" y="1566"/>
                  </a:lnTo>
                  <a:lnTo>
                    <a:pt x="894" y="1548"/>
                  </a:lnTo>
                  <a:lnTo>
                    <a:pt x="888" y="1548"/>
                  </a:lnTo>
                  <a:lnTo>
                    <a:pt x="882" y="1542"/>
                  </a:lnTo>
                  <a:lnTo>
                    <a:pt x="876" y="1542"/>
                  </a:lnTo>
                  <a:lnTo>
                    <a:pt x="876" y="1536"/>
                  </a:lnTo>
                  <a:lnTo>
                    <a:pt x="870" y="1542"/>
                  </a:lnTo>
                  <a:lnTo>
                    <a:pt x="870" y="1554"/>
                  </a:lnTo>
                  <a:lnTo>
                    <a:pt x="870" y="1566"/>
                  </a:lnTo>
                  <a:lnTo>
                    <a:pt x="870" y="1578"/>
                  </a:lnTo>
                  <a:lnTo>
                    <a:pt x="870" y="1584"/>
                  </a:lnTo>
                  <a:lnTo>
                    <a:pt x="864" y="1584"/>
                  </a:lnTo>
                  <a:lnTo>
                    <a:pt x="870" y="1602"/>
                  </a:lnTo>
                  <a:lnTo>
                    <a:pt x="864" y="1608"/>
                  </a:lnTo>
                  <a:lnTo>
                    <a:pt x="870" y="1614"/>
                  </a:lnTo>
                  <a:lnTo>
                    <a:pt x="864" y="1644"/>
                  </a:lnTo>
                  <a:lnTo>
                    <a:pt x="858" y="1650"/>
                  </a:lnTo>
                  <a:lnTo>
                    <a:pt x="858" y="1656"/>
                  </a:lnTo>
                  <a:lnTo>
                    <a:pt x="852" y="1662"/>
                  </a:lnTo>
                  <a:lnTo>
                    <a:pt x="852" y="1680"/>
                  </a:lnTo>
                  <a:lnTo>
                    <a:pt x="846" y="1686"/>
                  </a:lnTo>
                  <a:lnTo>
                    <a:pt x="834" y="1692"/>
                  </a:lnTo>
                  <a:lnTo>
                    <a:pt x="828" y="1692"/>
                  </a:lnTo>
                  <a:lnTo>
                    <a:pt x="822" y="1698"/>
                  </a:lnTo>
                  <a:lnTo>
                    <a:pt x="822" y="1704"/>
                  </a:lnTo>
                  <a:lnTo>
                    <a:pt x="816" y="1704"/>
                  </a:lnTo>
                  <a:lnTo>
                    <a:pt x="804" y="1692"/>
                  </a:lnTo>
                  <a:lnTo>
                    <a:pt x="786" y="1698"/>
                  </a:lnTo>
                  <a:lnTo>
                    <a:pt x="780" y="1698"/>
                  </a:lnTo>
                  <a:lnTo>
                    <a:pt x="756" y="1698"/>
                  </a:lnTo>
                  <a:lnTo>
                    <a:pt x="744" y="1698"/>
                  </a:lnTo>
                  <a:lnTo>
                    <a:pt x="738" y="1698"/>
                  </a:lnTo>
                  <a:lnTo>
                    <a:pt x="732" y="1704"/>
                  </a:lnTo>
                  <a:lnTo>
                    <a:pt x="726" y="1704"/>
                  </a:lnTo>
                  <a:lnTo>
                    <a:pt x="678" y="1710"/>
                  </a:lnTo>
                  <a:lnTo>
                    <a:pt x="642" y="1710"/>
                  </a:lnTo>
                  <a:lnTo>
                    <a:pt x="618" y="1680"/>
                  </a:lnTo>
                  <a:lnTo>
                    <a:pt x="618" y="1674"/>
                  </a:lnTo>
                  <a:lnTo>
                    <a:pt x="618" y="1668"/>
                  </a:lnTo>
                  <a:lnTo>
                    <a:pt x="624" y="1662"/>
                  </a:lnTo>
                  <a:lnTo>
                    <a:pt x="624" y="1656"/>
                  </a:lnTo>
                  <a:lnTo>
                    <a:pt x="624" y="1650"/>
                  </a:lnTo>
                  <a:lnTo>
                    <a:pt x="618" y="1650"/>
                  </a:lnTo>
                  <a:lnTo>
                    <a:pt x="618" y="1644"/>
                  </a:lnTo>
                  <a:lnTo>
                    <a:pt x="618" y="1638"/>
                  </a:lnTo>
                  <a:lnTo>
                    <a:pt x="618" y="1632"/>
                  </a:lnTo>
                  <a:lnTo>
                    <a:pt x="618" y="1626"/>
                  </a:lnTo>
                  <a:lnTo>
                    <a:pt x="612" y="1626"/>
                  </a:lnTo>
                  <a:lnTo>
                    <a:pt x="612" y="1620"/>
                  </a:lnTo>
                  <a:lnTo>
                    <a:pt x="606" y="1614"/>
                  </a:lnTo>
                  <a:lnTo>
                    <a:pt x="594" y="1626"/>
                  </a:lnTo>
                  <a:lnTo>
                    <a:pt x="594" y="1632"/>
                  </a:lnTo>
                  <a:lnTo>
                    <a:pt x="588" y="1638"/>
                  </a:lnTo>
                  <a:lnTo>
                    <a:pt x="582" y="1638"/>
                  </a:lnTo>
                  <a:lnTo>
                    <a:pt x="564" y="1656"/>
                  </a:lnTo>
                  <a:lnTo>
                    <a:pt x="558" y="1662"/>
                  </a:lnTo>
                  <a:lnTo>
                    <a:pt x="552" y="1662"/>
                  </a:lnTo>
                  <a:lnTo>
                    <a:pt x="540" y="1674"/>
                  </a:lnTo>
                  <a:lnTo>
                    <a:pt x="534" y="1680"/>
                  </a:lnTo>
                  <a:lnTo>
                    <a:pt x="522" y="1692"/>
                  </a:lnTo>
                  <a:lnTo>
                    <a:pt x="516" y="1704"/>
                  </a:lnTo>
                  <a:lnTo>
                    <a:pt x="510" y="1704"/>
                  </a:lnTo>
                  <a:lnTo>
                    <a:pt x="504" y="1704"/>
                  </a:lnTo>
                  <a:lnTo>
                    <a:pt x="486" y="1722"/>
                  </a:lnTo>
                  <a:lnTo>
                    <a:pt x="480" y="1740"/>
                  </a:lnTo>
                  <a:lnTo>
                    <a:pt x="474" y="1740"/>
                  </a:lnTo>
                  <a:lnTo>
                    <a:pt x="468" y="1746"/>
                  </a:lnTo>
                  <a:lnTo>
                    <a:pt x="456" y="1758"/>
                  </a:lnTo>
                  <a:lnTo>
                    <a:pt x="444" y="1770"/>
                  </a:lnTo>
                  <a:lnTo>
                    <a:pt x="438" y="1782"/>
                  </a:lnTo>
                  <a:lnTo>
                    <a:pt x="426" y="1788"/>
                  </a:lnTo>
                  <a:lnTo>
                    <a:pt x="420" y="1788"/>
                  </a:lnTo>
                  <a:lnTo>
                    <a:pt x="420" y="1782"/>
                  </a:lnTo>
                  <a:lnTo>
                    <a:pt x="414" y="1782"/>
                  </a:lnTo>
                  <a:lnTo>
                    <a:pt x="390" y="1782"/>
                  </a:lnTo>
                  <a:lnTo>
                    <a:pt x="390" y="1776"/>
                  </a:lnTo>
                  <a:lnTo>
                    <a:pt x="384" y="1776"/>
                  </a:lnTo>
                  <a:lnTo>
                    <a:pt x="378" y="1776"/>
                  </a:lnTo>
                  <a:lnTo>
                    <a:pt x="372" y="1776"/>
                  </a:lnTo>
                  <a:lnTo>
                    <a:pt x="366" y="1770"/>
                  </a:lnTo>
                  <a:lnTo>
                    <a:pt x="366" y="1776"/>
                  </a:lnTo>
                  <a:lnTo>
                    <a:pt x="360" y="1788"/>
                  </a:lnTo>
                  <a:lnTo>
                    <a:pt x="360" y="1794"/>
                  </a:lnTo>
                  <a:lnTo>
                    <a:pt x="360" y="1800"/>
                  </a:lnTo>
                  <a:lnTo>
                    <a:pt x="354" y="1806"/>
                  </a:lnTo>
                  <a:lnTo>
                    <a:pt x="354" y="1812"/>
                  </a:lnTo>
                  <a:lnTo>
                    <a:pt x="354" y="1824"/>
                  </a:lnTo>
                  <a:lnTo>
                    <a:pt x="348" y="1830"/>
                  </a:lnTo>
                  <a:lnTo>
                    <a:pt x="354" y="1836"/>
                  </a:lnTo>
                  <a:lnTo>
                    <a:pt x="348" y="1842"/>
                  </a:lnTo>
                  <a:lnTo>
                    <a:pt x="354" y="1848"/>
                  </a:lnTo>
                  <a:lnTo>
                    <a:pt x="348" y="1854"/>
                  </a:lnTo>
                  <a:lnTo>
                    <a:pt x="354" y="1854"/>
                  </a:lnTo>
                  <a:lnTo>
                    <a:pt x="348" y="1860"/>
                  </a:lnTo>
                  <a:lnTo>
                    <a:pt x="348" y="1866"/>
                  </a:lnTo>
                  <a:lnTo>
                    <a:pt x="342" y="1866"/>
                  </a:lnTo>
                  <a:lnTo>
                    <a:pt x="342" y="1872"/>
                  </a:lnTo>
                  <a:lnTo>
                    <a:pt x="342" y="1878"/>
                  </a:lnTo>
                  <a:lnTo>
                    <a:pt x="342" y="1884"/>
                  </a:lnTo>
                  <a:lnTo>
                    <a:pt x="336" y="1896"/>
                  </a:lnTo>
                  <a:lnTo>
                    <a:pt x="330" y="1914"/>
                  </a:lnTo>
                  <a:lnTo>
                    <a:pt x="324" y="1920"/>
                  </a:lnTo>
                  <a:lnTo>
                    <a:pt x="324" y="1926"/>
                  </a:lnTo>
                  <a:lnTo>
                    <a:pt x="318" y="1944"/>
                  </a:lnTo>
                  <a:lnTo>
                    <a:pt x="318" y="1950"/>
                  </a:lnTo>
                  <a:lnTo>
                    <a:pt x="312" y="1956"/>
                  </a:lnTo>
                  <a:lnTo>
                    <a:pt x="312" y="1950"/>
                  </a:lnTo>
                  <a:lnTo>
                    <a:pt x="306" y="1950"/>
                  </a:lnTo>
                  <a:lnTo>
                    <a:pt x="306" y="1956"/>
                  </a:lnTo>
                  <a:lnTo>
                    <a:pt x="300" y="1950"/>
                  </a:lnTo>
                  <a:lnTo>
                    <a:pt x="294" y="1956"/>
                  </a:lnTo>
                  <a:lnTo>
                    <a:pt x="288" y="1950"/>
                  </a:lnTo>
                  <a:lnTo>
                    <a:pt x="288" y="1944"/>
                  </a:lnTo>
                  <a:lnTo>
                    <a:pt x="282" y="1938"/>
                  </a:lnTo>
                  <a:lnTo>
                    <a:pt x="282" y="1932"/>
                  </a:lnTo>
                  <a:lnTo>
                    <a:pt x="282" y="1890"/>
                  </a:lnTo>
                  <a:lnTo>
                    <a:pt x="288" y="1860"/>
                  </a:lnTo>
                  <a:lnTo>
                    <a:pt x="294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300" y="1818"/>
                  </a:lnTo>
                  <a:lnTo>
                    <a:pt x="306" y="1794"/>
                  </a:lnTo>
                  <a:lnTo>
                    <a:pt x="306" y="1788"/>
                  </a:lnTo>
                  <a:lnTo>
                    <a:pt x="306" y="1782"/>
                  </a:lnTo>
                  <a:lnTo>
                    <a:pt x="312" y="1776"/>
                  </a:lnTo>
                  <a:lnTo>
                    <a:pt x="306" y="1776"/>
                  </a:lnTo>
                  <a:lnTo>
                    <a:pt x="312" y="1770"/>
                  </a:lnTo>
                  <a:lnTo>
                    <a:pt x="312" y="1740"/>
                  </a:lnTo>
                  <a:lnTo>
                    <a:pt x="318" y="1722"/>
                  </a:lnTo>
                  <a:lnTo>
                    <a:pt x="312" y="1722"/>
                  </a:lnTo>
                  <a:lnTo>
                    <a:pt x="300" y="1716"/>
                  </a:lnTo>
                  <a:lnTo>
                    <a:pt x="306" y="1716"/>
                  </a:lnTo>
                  <a:lnTo>
                    <a:pt x="312" y="1710"/>
                  </a:lnTo>
                  <a:lnTo>
                    <a:pt x="324" y="1674"/>
                  </a:lnTo>
                  <a:lnTo>
                    <a:pt x="366" y="1590"/>
                  </a:lnTo>
                  <a:lnTo>
                    <a:pt x="408" y="1548"/>
                  </a:lnTo>
                  <a:lnTo>
                    <a:pt x="426" y="1530"/>
                  </a:lnTo>
                  <a:lnTo>
                    <a:pt x="432" y="1500"/>
                  </a:lnTo>
                  <a:lnTo>
                    <a:pt x="426" y="1494"/>
                  </a:lnTo>
                  <a:lnTo>
                    <a:pt x="426" y="1482"/>
                  </a:lnTo>
                  <a:lnTo>
                    <a:pt x="432" y="1464"/>
                  </a:lnTo>
                  <a:lnTo>
                    <a:pt x="438" y="1428"/>
                  </a:lnTo>
                  <a:lnTo>
                    <a:pt x="462" y="1398"/>
                  </a:lnTo>
                  <a:lnTo>
                    <a:pt x="468" y="1362"/>
                  </a:lnTo>
                  <a:lnTo>
                    <a:pt x="462" y="1314"/>
                  </a:lnTo>
                  <a:lnTo>
                    <a:pt x="444" y="1284"/>
                  </a:lnTo>
                  <a:lnTo>
                    <a:pt x="432" y="1260"/>
                  </a:lnTo>
                  <a:lnTo>
                    <a:pt x="426" y="1260"/>
                  </a:lnTo>
                  <a:lnTo>
                    <a:pt x="420" y="1254"/>
                  </a:lnTo>
                  <a:lnTo>
                    <a:pt x="408" y="1260"/>
                  </a:lnTo>
                  <a:lnTo>
                    <a:pt x="402" y="1260"/>
                  </a:lnTo>
                  <a:lnTo>
                    <a:pt x="402" y="1254"/>
                  </a:lnTo>
                  <a:lnTo>
                    <a:pt x="396" y="1254"/>
                  </a:lnTo>
                  <a:lnTo>
                    <a:pt x="396" y="1248"/>
                  </a:lnTo>
                  <a:lnTo>
                    <a:pt x="384" y="1248"/>
                  </a:lnTo>
                  <a:lnTo>
                    <a:pt x="372" y="1230"/>
                  </a:lnTo>
                  <a:lnTo>
                    <a:pt x="360" y="1212"/>
                  </a:lnTo>
                  <a:lnTo>
                    <a:pt x="348" y="1188"/>
                  </a:lnTo>
                  <a:lnTo>
                    <a:pt x="324" y="1170"/>
                  </a:lnTo>
                  <a:lnTo>
                    <a:pt x="318" y="1170"/>
                  </a:lnTo>
                  <a:lnTo>
                    <a:pt x="312" y="1158"/>
                  </a:lnTo>
                  <a:lnTo>
                    <a:pt x="312" y="1152"/>
                  </a:lnTo>
                  <a:lnTo>
                    <a:pt x="306" y="1146"/>
                  </a:lnTo>
                  <a:lnTo>
                    <a:pt x="270" y="1122"/>
                  </a:lnTo>
                  <a:lnTo>
                    <a:pt x="240" y="1122"/>
                  </a:lnTo>
                  <a:lnTo>
                    <a:pt x="180" y="1116"/>
                  </a:lnTo>
                  <a:lnTo>
                    <a:pt x="174" y="1122"/>
                  </a:lnTo>
                  <a:lnTo>
                    <a:pt x="174" y="1128"/>
                  </a:lnTo>
                  <a:lnTo>
                    <a:pt x="168" y="1122"/>
                  </a:lnTo>
                  <a:lnTo>
                    <a:pt x="162" y="1116"/>
                  </a:lnTo>
                  <a:lnTo>
                    <a:pt x="144" y="1122"/>
                  </a:lnTo>
                  <a:lnTo>
                    <a:pt x="120" y="1122"/>
                  </a:lnTo>
                  <a:lnTo>
                    <a:pt x="54" y="1134"/>
                  </a:lnTo>
                  <a:lnTo>
                    <a:pt x="24" y="1152"/>
                  </a:lnTo>
                  <a:lnTo>
                    <a:pt x="6" y="1146"/>
                  </a:lnTo>
                  <a:lnTo>
                    <a:pt x="0" y="1134"/>
                  </a:lnTo>
                  <a:lnTo>
                    <a:pt x="0" y="1128"/>
                  </a:lnTo>
                  <a:lnTo>
                    <a:pt x="18" y="1110"/>
                  </a:lnTo>
                  <a:lnTo>
                    <a:pt x="24" y="1104"/>
                  </a:lnTo>
                  <a:lnTo>
                    <a:pt x="24" y="1098"/>
                  </a:lnTo>
                  <a:lnTo>
                    <a:pt x="30" y="1086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24" y="1074"/>
                  </a:lnTo>
                  <a:lnTo>
                    <a:pt x="18" y="1068"/>
                  </a:lnTo>
                  <a:lnTo>
                    <a:pt x="24" y="1062"/>
                  </a:lnTo>
                  <a:lnTo>
                    <a:pt x="42" y="1056"/>
                  </a:lnTo>
                  <a:lnTo>
                    <a:pt x="54" y="1050"/>
                  </a:lnTo>
                  <a:lnTo>
                    <a:pt x="72" y="1044"/>
                  </a:lnTo>
                  <a:lnTo>
                    <a:pt x="96" y="1032"/>
                  </a:lnTo>
                  <a:lnTo>
                    <a:pt x="102" y="1032"/>
                  </a:lnTo>
                  <a:lnTo>
                    <a:pt x="126" y="1008"/>
                  </a:lnTo>
                  <a:lnTo>
                    <a:pt x="144" y="990"/>
                  </a:lnTo>
                  <a:lnTo>
                    <a:pt x="156" y="978"/>
                  </a:lnTo>
                  <a:lnTo>
                    <a:pt x="156" y="966"/>
                  </a:lnTo>
                  <a:lnTo>
                    <a:pt x="150" y="960"/>
                  </a:lnTo>
                  <a:lnTo>
                    <a:pt x="144" y="948"/>
                  </a:lnTo>
                  <a:lnTo>
                    <a:pt x="144" y="936"/>
                  </a:lnTo>
                  <a:lnTo>
                    <a:pt x="138" y="918"/>
                  </a:lnTo>
                  <a:lnTo>
                    <a:pt x="150" y="912"/>
                  </a:lnTo>
                  <a:lnTo>
                    <a:pt x="150" y="894"/>
                  </a:lnTo>
                  <a:lnTo>
                    <a:pt x="132" y="876"/>
                  </a:lnTo>
                  <a:lnTo>
                    <a:pt x="126" y="876"/>
                  </a:lnTo>
                  <a:lnTo>
                    <a:pt x="120" y="870"/>
                  </a:lnTo>
                  <a:lnTo>
                    <a:pt x="120" y="864"/>
                  </a:lnTo>
                  <a:lnTo>
                    <a:pt x="114" y="864"/>
                  </a:lnTo>
                  <a:lnTo>
                    <a:pt x="108" y="864"/>
                  </a:lnTo>
                  <a:lnTo>
                    <a:pt x="108" y="858"/>
                  </a:lnTo>
                  <a:lnTo>
                    <a:pt x="102" y="852"/>
                  </a:lnTo>
                  <a:lnTo>
                    <a:pt x="96" y="852"/>
                  </a:lnTo>
                  <a:lnTo>
                    <a:pt x="102" y="834"/>
                  </a:lnTo>
                  <a:lnTo>
                    <a:pt x="108" y="816"/>
                  </a:lnTo>
                  <a:lnTo>
                    <a:pt x="114" y="804"/>
                  </a:lnTo>
                  <a:lnTo>
                    <a:pt x="132" y="798"/>
                  </a:lnTo>
                  <a:lnTo>
                    <a:pt x="144" y="798"/>
                  </a:lnTo>
                  <a:lnTo>
                    <a:pt x="180" y="810"/>
                  </a:lnTo>
                  <a:lnTo>
                    <a:pt x="192" y="816"/>
                  </a:lnTo>
                  <a:lnTo>
                    <a:pt x="234" y="822"/>
                  </a:lnTo>
                  <a:lnTo>
                    <a:pt x="264" y="828"/>
                  </a:lnTo>
                  <a:lnTo>
                    <a:pt x="270" y="840"/>
                  </a:lnTo>
                  <a:lnTo>
                    <a:pt x="270" y="834"/>
                  </a:lnTo>
                  <a:lnTo>
                    <a:pt x="270" y="828"/>
                  </a:lnTo>
                  <a:lnTo>
                    <a:pt x="270" y="822"/>
                  </a:lnTo>
                  <a:lnTo>
                    <a:pt x="270" y="816"/>
                  </a:lnTo>
                  <a:lnTo>
                    <a:pt x="264" y="810"/>
                  </a:lnTo>
                  <a:lnTo>
                    <a:pt x="264" y="804"/>
                  </a:lnTo>
                  <a:lnTo>
                    <a:pt x="264" y="798"/>
                  </a:lnTo>
                  <a:lnTo>
                    <a:pt x="258" y="792"/>
                  </a:lnTo>
                  <a:lnTo>
                    <a:pt x="258" y="786"/>
                  </a:lnTo>
                  <a:lnTo>
                    <a:pt x="264" y="786"/>
                  </a:lnTo>
                  <a:lnTo>
                    <a:pt x="264" y="780"/>
                  </a:lnTo>
                  <a:lnTo>
                    <a:pt x="258" y="774"/>
                  </a:lnTo>
                  <a:lnTo>
                    <a:pt x="258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82" y="762"/>
                  </a:lnTo>
                  <a:lnTo>
                    <a:pt x="312" y="780"/>
                  </a:lnTo>
                  <a:lnTo>
                    <a:pt x="354" y="786"/>
                  </a:lnTo>
                  <a:lnTo>
                    <a:pt x="408" y="774"/>
                  </a:lnTo>
                  <a:lnTo>
                    <a:pt x="444" y="756"/>
                  </a:lnTo>
                  <a:lnTo>
                    <a:pt x="468" y="732"/>
                  </a:lnTo>
                  <a:lnTo>
                    <a:pt x="492" y="720"/>
                  </a:lnTo>
                  <a:lnTo>
                    <a:pt x="522" y="690"/>
                  </a:lnTo>
                  <a:lnTo>
                    <a:pt x="540" y="672"/>
                  </a:lnTo>
                  <a:lnTo>
                    <a:pt x="558" y="660"/>
                  </a:lnTo>
                  <a:lnTo>
                    <a:pt x="570" y="636"/>
                  </a:lnTo>
                  <a:lnTo>
                    <a:pt x="588" y="612"/>
                  </a:lnTo>
                  <a:lnTo>
                    <a:pt x="654" y="552"/>
                  </a:lnTo>
                  <a:lnTo>
                    <a:pt x="678" y="528"/>
                  </a:lnTo>
                  <a:lnTo>
                    <a:pt x="696" y="510"/>
                  </a:lnTo>
                  <a:lnTo>
                    <a:pt x="714" y="498"/>
                  </a:lnTo>
                  <a:lnTo>
                    <a:pt x="750" y="480"/>
                  </a:lnTo>
                  <a:lnTo>
                    <a:pt x="774" y="444"/>
                  </a:lnTo>
                  <a:lnTo>
                    <a:pt x="816" y="426"/>
                  </a:lnTo>
                  <a:lnTo>
                    <a:pt x="864" y="420"/>
                  </a:lnTo>
                  <a:lnTo>
                    <a:pt x="912" y="402"/>
                  </a:lnTo>
                  <a:lnTo>
                    <a:pt x="906" y="396"/>
                  </a:lnTo>
                  <a:lnTo>
                    <a:pt x="912" y="396"/>
                  </a:lnTo>
                  <a:lnTo>
                    <a:pt x="912" y="390"/>
                  </a:lnTo>
                  <a:lnTo>
                    <a:pt x="918" y="384"/>
                  </a:lnTo>
                  <a:lnTo>
                    <a:pt x="924" y="384"/>
                  </a:lnTo>
                  <a:lnTo>
                    <a:pt x="924" y="378"/>
                  </a:lnTo>
                  <a:lnTo>
                    <a:pt x="918" y="372"/>
                  </a:lnTo>
                  <a:lnTo>
                    <a:pt x="918" y="366"/>
                  </a:lnTo>
                  <a:lnTo>
                    <a:pt x="918" y="360"/>
                  </a:lnTo>
                  <a:lnTo>
                    <a:pt x="924" y="360"/>
                  </a:lnTo>
                  <a:lnTo>
                    <a:pt x="924" y="354"/>
                  </a:lnTo>
                  <a:lnTo>
                    <a:pt x="930" y="354"/>
                  </a:lnTo>
                  <a:lnTo>
                    <a:pt x="936" y="354"/>
                  </a:lnTo>
                  <a:lnTo>
                    <a:pt x="936" y="348"/>
                  </a:lnTo>
                  <a:lnTo>
                    <a:pt x="942" y="348"/>
                  </a:lnTo>
                  <a:lnTo>
                    <a:pt x="942" y="336"/>
                  </a:lnTo>
                  <a:lnTo>
                    <a:pt x="936" y="336"/>
                  </a:lnTo>
                  <a:lnTo>
                    <a:pt x="930" y="330"/>
                  </a:lnTo>
                  <a:lnTo>
                    <a:pt x="924" y="330"/>
                  </a:lnTo>
                  <a:lnTo>
                    <a:pt x="924" y="324"/>
                  </a:lnTo>
                  <a:lnTo>
                    <a:pt x="918" y="318"/>
                  </a:lnTo>
                  <a:lnTo>
                    <a:pt x="912" y="306"/>
                  </a:lnTo>
                  <a:lnTo>
                    <a:pt x="918" y="306"/>
                  </a:lnTo>
                  <a:lnTo>
                    <a:pt x="924" y="300"/>
                  </a:lnTo>
                  <a:lnTo>
                    <a:pt x="924" y="294"/>
                  </a:lnTo>
                  <a:lnTo>
                    <a:pt x="924" y="288"/>
                  </a:lnTo>
                  <a:lnTo>
                    <a:pt x="924" y="282"/>
                  </a:lnTo>
                  <a:lnTo>
                    <a:pt x="924" y="276"/>
                  </a:lnTo>
                  <a:lnTo>
                    <a:pt x="918" y="270"/>
                  </a:lnTo>
                  <a:lnTo>
                    <a:pt x="918" y="264"/>
                  </a:lnTo>
                  <a:lnTo>
                    <a:pt x="912" y="270"/>
                  </a:lnTo>
                  <a:lnTo>
                    <a:pt x="912" y="264"/>
                  </a:lnTo>
                  <a:lnTo>
                    <a:pt x="912" y="258"/>
                  </a:lnTo>
                  <a:lnTo>
                    <a:pt x="912" y="252"/>
                  </a:lnTo>
                  <a:lnTo>
                    <a:pt x="906" y="252"/>
                  </a:lnTo>
                  <a:lnTo>
                    <a:pt x="900" y="246"/>
                  </a:lnTo>
                  <a:lnTo>
                    <a:pt x="900" y="240"/>
                  </a:lnTo>
                  <a:lnTo>
                    <a:pt x="900" y="246"/>
                  </a:lnTo>
                  <a:lnTo>
                    <a:pt x="894" y="246"/>
                  </a:lnTo>
                  <a:lnTo>
                    <a:pt x="894" y="240"/>
                  </a:lnTo>
                  <a:lnTo>
                    <a:pt x="894" y="234"/>
                  </a:lnTo>
                  <a:lnTo>
                    <a:pt x="900" y="234"/>
                  </a:lnTo>
                  <a:lnTo>
                    <a:pt x="900" y="228"/>
                  </a:lnTo>
                  <a:lnTo>
                    <a:pt x="906" y="228"/>
                  </a:lnTo>
                  <a:lnTo>
                    <a:pt x="900" y="222"/>
                  </a:lnTo>
                  <a:lnTo>
                    <a:pt x="894" y="216"/>
                  </a:lnTo>
                  <a:lnTo>
                    <a:pt x="894" y="210"/>
                  </a:lnTo>
                  <a:lnTo>
                    <a:pt x="888" y="210"/>
                  </a:lnTo>
                  <a:lnTo>
                    <a:pt x="888" y="204"/>
                  </a:lnTo>
                  <a:lnTo>
                    <a:pt x="888" y="198"/>
                  </a:lnTo>
                  <a:lnTo>
                    <a:pt x="888" y="192"/>
                  </a:lnTo>
                  <a:lnTo>
                    <a:pt x="882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82" y="174"/>
                  </a:lnTo>
                  <a:lnTo>
                    <a:pt x="888" y="168"/>
                  </a:lnTo>
                  <a:lnTo>
                    <a:pt x="888" y="162"/>
                  </a:lnTo>
                  <a:lnTo>
                    <a:pt x="888" y="156"/>
                  </a:lnTo>
                  <a:lnTo>
                    <a:pt x="888" y="150"/>
                  </a:lnTo>
                  <a:lnTo>
                    <a:pt x="888" y="144"/>
                  </a:lnTo>
                  <a:lnTo>
                    <a:pt x="882" y="144"/>
                  </a:lnTo>
                  <a:lnTo>
                    <a:pt x="882" y="138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76" y="120"/>
                  </a:lnTo>
                  <a:lnTo>
                    <a:pt x="882" y="114"/>
                  </a:lnTo>
                  <a:lnTo>
                    <a:pt x="882" y="108"/>
                  </a:lnTo>
                  <a:lnTo>
                    <a:pt x="888" y="102"/>
                  </a:lnTo>
                  <a:lnTo>
                    <a:pt x="894" y="102"/>
                  </a:lnTo>
                  <a:lnTo>
                    <a:pt x="894" y="96"/>
                  </a:lnTo>
                  <a:lnTo>
                    <a:pt x="888" y="96"/>
                  </a:lnTo>
                  <a:lnTo>
                    <a:pt x="894" y="90"/>
                  </a:lnTo>
                  <a:lnTo>
                    <a:pt x="888" y="84"/>
                  </a:lnTo>
                  <a:lnTo>
                    <a:pt x="888" y="78"/>
                  </a:lnTo>
                  <a:lnTo>
                    <a:pt x="924" y="66"/>
                  </a:lnTo>
                  <a:lnTo>
                    <a:pt x="966" y="66"/>
                  </a:lnTo>
                  <a:lnTo>
                    <a:pt x="996" y="48"/>
                  </a:lnTo>
                  <a:lnTo>
                    <a:pt x="1056" y="12"/>
                  </a:lnTo>
                  <a:lnTo>
                    <a:pt x="1128" y="0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0" y="18"/>
                  </a:lnTo>
                  <a:lnTo>
                    <a:pt x="1176" y="24"/>
                  </a:lnTo>
                  <a:lnTo>
                    <a:pt x="1182" y="24"/>
                  </a:lnTo>
                  <a:lnTo>
                    <a:pt x="1188" y="30"/>
                  </a:lnTo>
                  <a:lnTo>
                    <a:pt x="1194" y="30"/>
                  </a:lnTo>
                  <a:lnTo>
                    <a:pt x="1194" y="36"/>
                  </a:lnTo>
                  <a:lnTo>
                    <a:pt x="1260" y="30"/>
                  </a:lnTo>
                  <a:lnTo>
                    <a:pt x="1272" y="30"/>
                  </a:lnTo>
                  <a:lnTo>
                    <a:pt x="1296" y="24"/>
                  </a:lnTo>
                  <a:lnTo>
                    <a:pt x="1302" y="30"/>
                  </a:lnTo>
                  <a:lnTo>
                    <a:pt x="1302" y="36"/>
                  </a:lnTo>
                  <a:lnTo>
                    <a:pt x="1308" y="36"/>
                  </a:lnTo>
                  <a:lnTo>
                    <a:pt x="1314" y="36"/>
                  </a:lnTo>
                  <a:lnTo>
                    <a:pt x="1320" y="36"/>
                  </a:lnTo>
                  <a:lnTo>
                    <a:pt x="1326" y="30"/>
                  </a:lnTo>
                  <a:lnTo>
                    <a:pt x="1332" y="30"/>
                  </a:lnTo>
                  <a:lnTo>
                    <a:pt x="1338" y="30"/>
                  </a:lnTo>
                  <a:lnTo>
                    <a:pt x="1344" y="30"/>
                  </a:lnTo>
                  <a:lnTo>
                    <a:pt x="1374" y="30"/>
                  </a:lnTo>
                  <a:lnTo>
                    <a:pt x="1386" y="30"/>
                  </a:lnTo>
                  <a:lnTo>
                    <a:pt x="1392" y="24"/>
                  </a:lnTo>
                  <a:lnTo>
                    <a:pt x="1398" y="12"/>
                  </a:lnTo>
                  <a:lnTo>
                    <a:pt x="1404" y="6"/>
                  </a:lnTo>
                  <a:lnTo>
                    <a:pt x="1410" y="6"/>
                  </a:lnTo>
                  <a:lnTo>
                    <a:pt x="1410" y="12"/>
                  </a:lnTo>
                  <a:lnTo>
                    <a:pt x="1416" y="18"/>
                  </a:lnTo>
                  <a:lnTo>
                    <a:pt x="1416" y="36"/>
                  </a:lnTo>
                  <a:lnTo>
                    <a:pt x="1434" y="54"/>
                  </a:lnTo>
                  <a:lnTo>
                    <a:pt x="1434" y="60"/>
                  </a:lnTo>
                  <a:lnTo>
                    <a:pt x="1434" y="66"/>
                  </a:lnTo>
                  <a:lnTo>
                    <a:pt x="1434" y="72"/>
                  </a:lnTo>
                  <a:lnTo>
                    <a:pt x="1428" y="72"/>
                  </a:lnTo>
                  <a:lnTo>
                    <a:pt x="1428" y="78"/>
                  </a:lnTo>
                  <a:lnTo>
                    <a:pt x="1434" y="78"/>
                  </a:lnTo>
                  <a:lnTo>
                    <a:pt x="1440" y="84"/>
                  </a:lnTo>
                  <a:lnTo>
                    <a:pt x="1440" y="90"/>
                  </a:lnTo>
                  <a:lnTo>
                    <a:pt x="1440" y="96"/>
                  </a:lnTo>
                  <a:lnTo>
                    <a:pt x="1446" y="96"/>
                  </a:lnTo>
                  <a:lnTo>
                    <a:pt x="1446" y="108"/>
                  </a:lnTo>
                  <a:lnTo>
                    <a:pt x="1452" y="108"/>
                  </a:lnTo>
                  <a:lnTo>
                    <a:pt x="1452" y="114"/>
                  </a:lnTo>
                  <a:lnTo>
                    <a:pt x="1458" y="114"/>
                  </a:lnTo>
                  <a:lnTo>
                    <a:pt x="1470" y="120"/>
                  </a:lnTo>
                  <a:lnTo>
                    <a:pt x="1476" y="120"/>
                  </a:lnTo>
                  <a:lnTo>
                    <a:pt x="1476" y="114"/>
                  </a:lnTo>
                  <a:lnTo>
                    <a:pt x="1488" y="120"/>
                  </a:lnTo>
                  <a:lnTo>
                    <a:pt x="1506" y="120"/>
                  </a:lnTo>
                  <a:lnTo>
                    <a:pt x="1512" y="120"/>
                  </a:lnTo>
                  <a:lnTo>
                    <a:pt x="1518" y="120"/>
                  </a:lnTo>
                  <a:lnTo>
                    <a:pt x="1524" y="126"/>
                  </a:lnTo>
                  <a:lnTo>
                    <a:pt x="1536" y="150"/>
                  </a:lnTo>
                  <a:lnTo>
                    <a:pt x="1548" y="162"/>
                  </a:lnTo>
                  <a:lnTo>
                    <a:pt x="1554" y="168"/>
                  </a:lnTo>
                  <a:lnTo>
                    <a:pt x="1584" y="228"/>
                  </a:lnTo>
                  <a:lnTo>
                    <a:pt x="1584" y="234"/>
                  </a:lnTo>
                  <a:lnTo>
                    <a:pt x="1578" y="312"/>
                  </a:lnTo>
                  <a:lnTo>
                    <a:pt x="1590" y="318"/>
                  </a:lnTo>
                  <a:lnTo>
                    <a:pt x="1608" y="330"/>
                  </a:lnTo>
                  <a:lnTo>
                    <a:pt x="1620" y="342"/>
                  </a:lnTo>
                  <a:lnTo>
                    <a:pt x="1626" y="342"/>
                  </a:lnTo>
                  <a:lnTo>
                    <a:pt x="1692" y="360"/>
                  </a:lnTo>
                  <a:lnTo>
                    <a:pt x="1710" y="408"/>
                  </a:lnTo>
                  <a:lnTo>
                    <a:pt x="1722" y="426"/>
                  </a:lnTo>
                  <a:lnTo>
                    <a:pt x="1716" y="468"/>
                  </a:lnTo>
                  <a:lnTo>
                    <a:pt x="1686" y="486"/>
                  </a:lnTo>
                  <a:lnTo>
                    <a:pt x="1686" y="492"/>
                  </a:lnTo>
                  <a:lnTo>
                    <a:pt x="1680" y="498"/>
                  </a:lnTo>
                  <a:lnTo>
                    <a:pt x="1650" y="558"/>
                  </a:lnTo>
                  <a:lnTo>
                    <a:pt x="1650" y="570"/>
                  </a:lnTo>
                  <a:lnTo>
                    <a:pt x="1644" y="570"/>
                  </a:lnTo>
                  <a:lnTo>
                    <a:pt x="1638" y="582"/>
                  </a:lnTo>
                  <a:lnTo>
                    <a:pt x="1638" y="624"/>
                  </a:lnTo>
                  <a:lnTo>
                    <a:pt x="1638" y="636"/>
                  </a:lnTo>
                  <a:lnTo>
                    <a:pt x="1638" y="642"/>
                  </a:lnTo>
                  <a:lnTo>
                    <a:pt x="1632" y="660"/>
                  </a:lnTo>
                  <a:lnTo>
                    <a:pt x="1608" y="678"/>
                  </a:lnTo>
                  <a:lnTo>
                    <a:pt x="1584" y="690"/>
                  </a:lnTo>
                  <a:lnTo>
                    <a:pt x="1584" y="696"/>
                  </a:lnTo>
                  <a:lnTo>
                    <a:pt x="1578" y="702"/>
                  </a:lnTo>
                  <a:lnTo>
                    <a:pt x="1584" y="702"/>
                  </a:lnTo>
                  <a:lnTo>
                    <a:pt x="1578" y="714"/>
                  </a:lnTo>
                  <a:lnTo>
                    <a:pt x="1572" y="714"/>
                  </a:lnTo>
                  <a:lnTo>
                    <a:pt x="1572" y="720"/>
                  </a:lnTo>
                  <a:lnTo>
                    <a:pt x="1566" y="720"/>
                  </a:lnTo>
                  <a:lnTo>
                    <a:pt x="1560" y="726"/>
                  </a:lnTo>
                  <a:lnTo>
                    <a:pt x="1560" y="732"/>
                  </a:lnTo>
                  <a:lnTo>
                    <a:pt x="1554" y="732"/>
                  </a:lnTo>
                  <a:lnTo>
                    <a:pt x="1554" y="738"/>
                  </a:lnTo>
                  <a:lnTo>
                    <a:pt x="1554" y="744"/>
                  </a:lnTo>
                  <a:lnTo>
                    <a:pt x="1548" y="744"/>
                  </a:lnTo>
                  <a:lnTo>
                    <a:pt x="1548" y="738"/>
                  </a:lnTo>
                  <a:lnTo>
                    <a:pt x="1542" y="738"/>
                  </a:lnTo>
                  <a:lnTo>
                    <a:pt x="1542" y="744"/>
                  </a:lnTo>
                  <a:lnTo>
                    <a:pt x="1542" y="750"/>
                  </a:lnTo>
                  <a:lnTo>
                    <a:pt x="1494" y="804"/>
                  </a:lnTo>
                  <a:lnTo>
                    <a:pt x="1446" y="876"/>
                  </a:lnTo>
                  <a:lnTo>
                    <a:pt x="1440" y="876"/>
                  </a:lnTo>
                  <a:lnTo>
                    <a:pt x="1434" y="876"/>
                  </a:lnTo>
                  <a:lnTo>
                    <a:pt x="1428" y="882"/>
                  </a:lnTo>
                  <a:lnTo>
                    <a:pt x="1422" y="882"/>
                  </a:lnTo>
                  <a:lnTo>
                    <a:pt x="1386" y="924"/>
                  </a:lnTo>
                  <a:lnTo>
                    <a:pt x="1362" y="954"/>
                  </a:lnTo>
                  <a:lnTo>
                    <a:pt x="1356" y="984"/>
                  </a:lnTo>
                  <a:lnTo>
                    <a:pt x="1362" y="1002"/>
                  </a:lnTo>
                  <a:lnTo>
                    <a:pt x="1368" y="1020"/>
                  </a:lnTo>
                  <a:lnTo>
                    <a:pt x="1386" y="1056"/>
                  </a:lnTo>
                  <a:lnTo>
                    <a:pt x="1404" y="1074"/>
                  </a:lnTo>
                  <a:lnTo>
                    <a:pt x="1416" y="1080"/>
                  </a:lnTo>
                  <a:lnTo>
                    <a:pt x="1416" y="1086"/>
                  </a:lnTo>
                  <a:lnTo>
                    <a:pt x="1422" y="1098"/>
                  </a:lnTo>
                  <a:lnTo>
                    <a:pt x="1422" y="1110"/>
                  </a:lnTo>
                  <a:lnTo>
                    <a:pt x="1428" y="1116"/>
                  </a:lnTo>
                  <a:lnTo>
                    <a:pt x="1434" y="1116"/>
                  </a:lnTo>
                  <a:lnTo>
                    <a:pt x="1434" y="1122"/>
                  </a:lnTo>
                  <a:lnTo>
                    <a:pt x="1434" y="1128"/>
                  </a:lnTo>
                  <a:lnTo>
                    <a:pt x="1440" y="1134"/>
                  </a:lnTo>
                  <a:lnTo>
                    <a:pt x="1446" y="1134"/>
                  </a:lnTo>
                  <a:lnTo>
                    <a:pt x="1458" y="1134"/>
                  </a:lnTo>
                  <a:lnTo>
                    <a:pt x="1458" y="1140"/>
                  </a:lnTo>
                  <a:lnTo>
                    <a:pt x="1464" y="1134"/>
                  </a:lnTo>
                  <a:lnTo>
                    <a:pt x="1470" y="1134"/>
                  </a:lnTo>
                  <a:lnTo>
                    <a:pt x="1464" y="1128"/>
                  </a:lnTo>
                  <a:lnTo>
                    <a:pt x="1464" y="1122"/>
                  </a:lnTo>
                  <a:lnTo>
                    <a:pt x="1470" y="1116"/>
                  </a:lnTo>
                  <a:lnTo>
                    <a:pt x="1470" y="1122"/>
                  </a:lnTo>
                  <a:lnTo>
                    <a:pt x="1476" y="1122"/>
                  </a:lnTo>
                  <a:lnTo>
                    <a:pt x="1476" y="1116"/>
                  </a:lnTo>
                  <a:lnTo>
                    <a:pt x="1482" y="1110"/>
                  </a:lnTo>
                  <a:lnTo>
                    <a:pt x="1476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82" y="1086"/>
                  </a:lnTo>
                  <a:lnTo>
                    <a:pt x="1482" y="1074"/>
                  </a:lnTo>
                  <a:lnTo>
                    <a:pt x="1488" y="1068"/>
                  </a:lnTo>
                  <a:lnTo>
                    <a:pt x="1488" y="1062"/>
                  </a:lnTo>
                  <a:lnTo>
                    <a:pt x="1494" y="1062"/>
                  </a:lnTo>
                  <a:lnTo>
                    <a:pt x="1500" y="1062"/>
                  </a:lnTo>
                  <a:lnTo>
                    <a:pt x="1506" y="1062"/>
                  </a:lnTo>
                  <a:lnTo>
                    <a:pt x="1506" y="1056"/>
                  </a:lnTo>
                  <a:lnTo>
                    <a:pt x="1506" y="1062"/>
                  </a:lnTo>
                  <a:lnTo>
                    <a:pt x="1518" y="1062"/>
                  </a:lnTo>
                  <a:lnTo>
                    <a:pt x="1524" y="1062"/>
                  </a:lnTo>
                  <a:lnTo>
                    <a:pt x="1530" y="1062"/>
                  </a:lnTo>
                  <a:lnTo>
                    <a:pt x="1536" y="1068"/>
                  </a:lnTo>
                  <a:lnTo>
                    <a:pt x="1536" y="1074"/>
                  </a:lnTo>
                  <a:lnTo>
                    <a:pt x="1542" y="1086"/>
                  </a:lnTo>
                  <a:lnTo>
                    <a:pt x="1548" y="1086"/>
                  </a:lnTo>
                  <a:lnTo>
                    <a:pt x="1554" y="1086"/>
                  </a:lnTo>
                  <a:lnTo>
                    <a:pt x="1566" y="1098"/>
                  </a:lnTo>
                  <a:lnTo>
                    <a:pt x="1572" y="1104"/>
                  </a:lnTo>
                  <a:lnTo>
                    <a:pt x="1566" y="1110"/>
                  </a:lnTo>
                  <a:lnTo>
                    <a:pt x="1572" y="1116"/>
                  </a:lnTo>
                  <a:lnTo>
                    <a:pt x="1578" y="1116"/>
                  </a:lnTo>
                  <a:lnTo>
                    <a:pt x="1578" y="1122"/>
                  </a:lnTo>
                  <a:lnTo>
                    <a:pt x="1584" y="1122"/>
                  </a:lnTo>
                  <a:lnTo>
                    <a:pt x="1584" y="1128"/>
                  </a:lnTo>
                  <a:lnTo>
                    <a:pt x="1584" y="1134"/>
                  </a:lnTo>
                  <a:lnTo>
                    <a:pt x="1590" y="1134"/>
                  </a:lnTo>
                  <a:lnTo>
                    <a:pt x="1596" y="1140"/>
                  </a:lnTo>
                  <a:lnTo>
                    <a:pt x="1602" y="1146"/>
                  </a:lnTo>
                  <a:lnTo>
                    <a:pt x="1608" y="1146"/>
                  </a:lnTo>
                  <a:lnTo>
                    <a:pt x="1614" y="1146"/>
                  </a:lnTo>
                  <a:lnTo>
                    <a:pt x="1614" y="1152"/>
                  </a:lnTo>
                  <a:lnTo>
                    <a:pt x="1620" y="1152"/>
                  </a:lnTo>
                  <a:lnTo>
                    <a:pt x="1626" y="1164"/>
                  </a:lnTo>
                  <a:lnTo>
                    <a:pt x="1632" y="1170"/>
                  </a:lnTo>
                  <a:lnTo>
                    <a:pt x="1638" y="1176"/>
                  </a:lnTo>
                  <a:lnTo>
                    <a:pt x="1638" y="1182"/>
                  </a:lnTo>
                  <a:lnTo>
                    <a:pt x="1644" y="1194"/>
                  </a:lnTo>
                  <a:lnTo>
                    <a:pt x="1644" y="1200"/>
                  </a:lnTo>
                  <a:lnTo>
                    <a:pt x="1638" y="1200"/>
                  </a:lnTo>
                  <a:lnTo>
                    <a:pt x="1638" y="1206"/>
                  </a:lnTo>
                  <a:lnTo>
                    <a:pt x="1638" y="1212"/>
                  </a:lnTo>
                  <a:lnTo>
                    <a:pt x="1638" y="1218"/>
                  </a:lnTo>
                  <a:lnTo>
                    <a:pt x="1632" y="1242"/>
                  </a:lnTo>
                  <a:lnTo>
                    <a:pt x="1632" y="1266"/>
                  </a:lnTo>
                  <a:lnTo>
                    <a:pt x="1638" y="1284"/>
                  </a:lnTo>
                  <a:lnTo>
                    <a:pt x="1638" y="1296"/>
                  </a:lnTo>
                  <a:lnTo>
                    <a:pt x="1632" y="1296"/>
                  </a:lnTo>
                  <a:lnTo>
                    <a:pt x="1632" y="1302"/>
                  </a:lnTo>
                  <a:lnTo>
                    <a:pt x="1638" y="1314"/>
                  </a:lnTo>
                  <a:lnTo>
                    <a:pt x="1638" y="1320"/>
                  </a:lnTo>
                  <a:lnTo>
                    <a:pt x="1632" y="1320"/>
                  </a:lnTo>
                  <a:lnTo>
                    <a:pt x="1632" y="1326"/>
                  </a:lnTo>
                  <a:lnTo>
                    <a:pt x="1644" y="1332"/>
                  </a:lnTo>
                  <a:lnTo>
                    <a:pt x="1644" y="1338"/>
                  </a:lnTo>
                  <a:lnTo>
                    <a:pt x="1650" y="1344"/>
                  </a:lnTo>
                  <a:lnTo>
                    <a:pt x="1668" y="1362"/>
                  </a:lnTo>
                  <a:lnTo>
                    <a:pt x="1668" y="1368"/>
                  </a:lnTo>
                  <a:lnTo>
                    <a:pt x="1674" y="1392"/>
                  </a:lnTo>
                  <a:lnTo>
                    <a:pt x="1686" y="140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2" name="Freeform 17">
              <a:extLst>
                <a:ext uri="{FF2B5EF4-FFF2-40B4-BE49-F238E27FC236}">
                  <a16:creationId xmlns:a16="http://schemas.microsoft.com/office/drawing/2014/main" id="{9F9DF7AF-2203-4CCB-AF1B-32CDAF87CC5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416927"/>
              <a:ext cx="816209" cy="574781"/>
            </a:xfrm>
            <a:custGeom>
              <a:avLst/>
              <a:gdLst>
                <a:gd name="T0" fmla="*/ 115 w 1536"/>
                <a:gd name="T1" fmla="*/ 89 h 1080"/>
                <a:gd name="T2" fmla="*/ 113 w 1536"/>
                <a:gd name="T3" fmla="*/ 92 h 1080"/>
                <a:gd name="T4" fmla="*/ 107 w 1536"/>
                <a:gd name="T5" fmla="*/ 93 h 1080"/>
                <a:gd name="T6" fmla="*/ 108 w 1536"/>
                <a:gd name="T7" fmla="*/ 90 h 1080"/>
                <a:gd name="T8" fmla="*/ 105 w 1536"/>
                <a:gd name="T9" fmla="*/ 87 h 1080"/>
                <a:gd name="T10" fmla="*/ 102 w 1536"/>
                <a:gd name="T11" fmla="*/ 85 h 1080"/>
                <a:gd name="T12" fmla="*/ 89 w 1536"/>
                <a:gd name="T13" fmla="*/ 80 h 1080"/>
                <a:gd name="T14" fmla="*/ 85 w 1536"/>
                <a:gd name="T15" fmla="*/ 82 h 1080"/>
                <a:gd name="T16" fmla="*/ 82 w 1536"/>
                <a:gd name="T17" fmla="*/ 80 h 1080"/>
                <a:gd name="T18" fmla="*/ 80 w 1536"/>
                <a:gd name="T19" fmla="*/ 75 h 1080"/>
                <a:gd name="T20" fmla="*/ 75 w 1536"/>
                <a:gd name="T21" fmla="*/ 72 h 1080"/>
                <a:gd name="T22" fmla="*/ 61 w 1536"/>
                <a:gd name="T23" fmla="*/ 70 h 1080"/>
                <a:gd name="T24" fmla="*/ 62 w 1536"/>
                <a:gd name="T25" fmla="*/ 72 h 1080"/>
                <a:gd name="T26" fmla="*/ 58 w 1536"/>
                <a:gd name="T27" fmla="*/ 75 h 1080"/>
                <a:gd name="T28" fmla="*/ 49 w 1536"/>
                <a:gd name="T29" fmla="*/ 76 h 1080"/>
                <a:gd name="T30" fmla="*/ 41 w 1536"/>
                <a:gd name="T31" fmla="*/ 79 h 1080"/>
                <a:gd name="T32" fmla="*/ 41 w 1536"/>
                <a:gd name="T33" fmla="*/ 77 h 1080"/>
                <a:gd name="T34" fmla="*/ 39 w 1536"/>
                <a:gd name="T35" fmla="*/ 74 h 1080"/>
                <a:gd name="T36" fmla="*/ 28 w 1536"/>
                <a:gd name="T37" fmla="*/ 78 h 1080"/>
                <a:gd name="T38" fmla="*/ 18 w 1536"/>
                <a:gd name="T39" fmla="*/ 85 h 1080"/>
                <a:gd name="T40" fmla="*/ 18 w 1536"/>
                <a:gd name="T41" fmla="*/ 77 h 1080"/>
                <a:gd name="T42" fmla="*/ 19 w 1536"/>
                <a:gd name="T43" fmla="*/ 69 h 1080"/>
                <a:gd name="T44" fmla="*/ 16 w 1536"/>
                <a:gd name="T45" fmla="*/ 69 h 1080"/>
                <a:gd name="T46" fmla="*/ 11 w 1536"/>
                <a:gd name="T47" fmla="*/ 69 h 1080"/>
                <a:gd name="T48" fmla="*/ 5 w 1536"/>
                <a:gd name="T49" fmla="*/ 68 h 1080"/>
                <a:gd name="T50" fmla="*/ 1 w 1536"/>
                <a:gd name="T51" fmla="*/ 63 h 1080"/>
                <a:gd name="T52" fmla="*/ 3 w 1536"/>
                <a:gd name="T53" fmla="*/ 59 h 1080"/>
                <a:gd name="T54" fmla="*/ 9 w 1536"/>
                <a:gd name="T55" fmla="*/ 54 h 1080"/>
                <a:gd name="T56" fmla="*/ 15 w 1536"/>
                <a:gd name="T57" fmla="*/ 47 h 1080"/>
                <a:gd name="T58" fmla="*/ 17 w 1536"/>
                <a:gd name="T59" fmla="*/ 40 h 1080"/>
                <a:gd name="T60" fmla="*/ 12 w 1536"/>
                <a:gd name="T61" fmla="*/ 33 h 1080"/>
                <a:gd name="T62" fmla="*/ 10 w 1536"/>
                <a:gd name="T63" fmla="*/ 21 h 1080"/>
                <a:gd name="T64" fmla="*/ 6 w 1536"/>
                <a:gd name="T65" fmla="*/ 14 h 1080"/>
                <a:gd name="T66" fmla="*/ 7 w 1536"/>
                <a:gd name="T67" fmla="*/ 9 h 1080"/>
                <a:gd name="T68" fmla="*/ 12 w 1536"/>
                <a:gd name="T69" fmla="*/ 7 h 1080"/>
                <a:gd name="T70" fmla="*/ 16 w 1536"/>
                <a:gd name="T71" fmla="*/ 8 h 1080"/>
                <a:gd name="T72" fmla="*/ 19 w 1536"/>
                <a:gd name="T73" fmla="*/ 8 h 1080"/>
                <a:gd name="T74" fmla="*/ 22 w 1536"/>
                <a:gd name="T75" fmla="*/ 9 h 1080"/>
                <a:gd name="T76" fmla="*/ 29 w 1536"/>
                <a:gd name="T77" fmla="*/ 12 h 1080"/>
                <a:gd name="T78" fmla="*/ 33 w 1536"/>
                <a:gd name="T79" fmla="*/ 13 h 1080"/>
                <a:gd name="T80" fmla="*/ 38 w 1536"/>
                <a:gd name="T81" fmla="*/ 15 h 1080"/>
                <a:gd name="T82" fmla="*/ 42 w 1536"/>
                <a:gd name="T83" fmla="*/ 17 h 1080"/>
                <a:gd name="T84" fmla="*/ 47 w 1536"/>
                <a:gd name="T85" fmla="*/ 19 h 1080"/>
                <a:gd name="T86" fmla="*/ 51 w 1536"/>
                <a:gd name="T87" fmla="*/ 21 h 1080"/>
                <a:gd name="T88" fmla="*/ 50 w 1536"/>
                <a:gd name="T89" fmla="*/ 15 h 1080"/>
                <a:gd name="T90" fmla="*/ 56 w 1536"/>
                <a:gd name="T91" fmla="*/ 0 h 1080"/>
                <a:gd name="T92" fmla="*/ 74 w 1536"/>
                <a:gd name="T93" fmla="*/ 5 h 1080"/>
                <a:gd name="T94" fmla="*/ 87 w 1536"/>
                <a:gd name="T95" fmla="*/ 6 h 1080"/>
                <a:gd name="T96" fmla="*/ 92 w 1536"/>
                <a:gd name="T97" fmla="*/ 11 h 1080"/>
                <a:gd name="T98" fmla="*/ 95 w 1536"/>
                <a:gd name="T99" fmla="*/ 15 h 1080"/>
                <a:gd name="T100" fmla="*/ 93 w 1536"/>
                <a:gd name="T101" fmla="*/ 20 h 1080"/>
                <a:gd name="T102" fmla="*/ 108 w 1536"/>
                <a:gd name="T103" fmla="*/ 18 h 1080"/>
                <a:gd name="T104" fmla="*/ 120 w 1536"/>
                <a:gd name="T105" fmla="*/ 21 h 1080"/>
                <a:gd name="T106" fmla="*/ 127 w 1536"/>
                <a:gd name="T107" fmla="*/ 29 h 1080"/>
                <a:gd name="T108" fmla="*/ 130 w 1536"/>
                <a:gd name="T109" fmla="*/ 30 h 1080"/>
                <a:gd name="T110" fmla="*/ 130 w 1536"/>
                <a:gd name="T111" fmla="*/ 49 h 1080"/>
                <a:gd name="T112" fmla="*/ 120 w 1536"/>
                <a:gd name="T113" fmla="*/ 69 h 1080"/>
                <a:gd name="T114" fmla="*/ 119 w 1536"/>
                <a:gd name="T115" fmla="*/ 74 h 1080"/>
                <a:gd name="T116" fmla="*/ 118 w 1536"/>
                <a:gd name="T117" fmla="*/ 80 h 108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536"/>
                <a:gd name="T178" fmla="*/ 0 h 1080"/>
                <a:gd name="T179" fmla="*/ 1536 w 1536"/>
                <a:gd name="T180" fmla="*/ 1080 h 108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536" h="1080">
                  <a:moveTo>
                    <a:pt x="1350" y="1020"/>
                  </a:moveTo>
                  <a:lnTo>
                    <a:pt x="1350" y="1026"/>
                  </a:lnTo>
                  <a:lnTo>
                    <a:pt x="1344" y="1026"/>
                  </a:lnTo>
                  <a:lnTo>
                    <a:pt x="1338" y="1032"/>
                  </a:lnTo>
                  <a:lnTo>
                    <a:pt x="1332" y="1026"/>
                  </a:lnTo>
                  <a:lnTo>
                    <a:pt x="1326" y="1026"/>
                  </a:lnTo>
                  <a:lnTo>
                    <a:pt x="1320" y="1020"/>
                  </a:lnTo>
                  <a:lnTo>
                    <a:pt x="1314" y="1026"/>
                  </a:lnTo>
                  <a:lnTo>
                    <a:pt x="1314" y="1032"/>
                  </a:lnTo>
                  <a:lnTo>
                    <a:pt x="1308" y="1038"/>
                  </a:lnTo>
                  <a:lnTo>
                    <a:pt x="1308" y="1044"/>
                  </a:lnTo>
                  <a:lnTo>
                    <a:pt x="1308" y="1050"/>
                  </a:lnTo>
                  <a:lnTo>
                    <a:pt x="1308" y="1056"/>
                  </a:lnTo>
                  <a:lnTo>
                    <a:pt x="1308" y="1062"/>
                  </a:lnTo>
                  <a:lnTo>
                    <a:pt x="1296" y="1068"/>
                  </a:lnTo>
                  <a:lnTo>
                    <a:pt x="1284" y="1074"/>
                  </a:lnTo>
                  <a:lnTo>
                    <a:pt x="1272" y="1080"/>
                  </a:lnTo>
                  <a:lnTo>
                    <a:pt x="1260" y="1080"/>
                  </a:lnTo>
                  <a:lnTo>
                    <a:pt x="1254" y="1074"/>
                  </a:lnTo>
                  <a:lnTo>
                    <a:pt x="1236" y="1074"/>
                  </a:lnTo>
                  <a:lnTo>
                    <a:pt x="1230" y="1074"/>
                  </a:lnTo>
                  <a:lnTo>
                    <a:pt x="1236" y="1074"/>
                  </a:lnTo>
                  <a:lnTo>
                    <a:pt x="1236" y="1068"/>
                  </a:lnTo>
                  <a:lnTo>
                    <a:pt x="1236" y="1062"/>
                  </a:lnTo>
                  <a:lnTo>
                    <a:pt x="1236" y="1056"/>
                  </a:lnTo>
                  <a:lnTo>
                    <a:pt x="1242" y="1050"/>
                  </a:lnTo>
                  <a:lnTo>
                    <a:pt x="1242" y="1044"/>
                  </a:lnTo>
                  <a:lnTo>
                    <a:pt x="1242" y="1038"/>
                  </a:lnTo>
                  <a:lnTo>
                    <a:pt x="1248" y="1032"/>
                  </a:lnTo>
                  <a:lnTo>
                    <a:pt x="1236" y="1026"/>
                  </a:lnTo>
                  <a:lnTo>
                    <a:pt x="1218" y="1020"/>
                  </a:lnTo>
                  <a:lnTo>
                    <a:pt x="1224" y="1014"/>
                  </a:lnTo>
                  <a:lnTo>
                    <a:pt x="1218" y="1008"/>
                  </a:lnTo>
                  <a:lnTo>
                    <a:pt x="1218" y="1002"/>
                  </a:lnTo>
                  <a:lnTo>
                    <a:pt x="1212" y="1008"/>
                  </a:lnTo>
                  <a:lnTo>
                    <a:pt x="1206" y="1002"/>
                  </a:lnTo>
                  <a:lnTo>
                    <a:pt x="1212" y="1002"/>
                  </a:lnTo>
                  <a:lnTo>
                    <a:pt x="1212" y="996"/>
                  </a:lnTo>
                  <a:lnTo>
                    <a:pt x="1200" y="990"/>
                  </a:lnTo>
                  <a:lnTo>
                    <a:pt x="1200" y="984"/>
                  </a:lnTo>
                  <a:lnTo>
                    <a:pt x="1188" y="984"/>
                  </a:lnTo>
                  <a:lnTo>
                    <a:pt x="1176" y="978"/>
                  </a:lnTo>
                  <a:lnTo>
                    <a:pt x="1164" y="960"/>
                  </a:lnTo>
                  <a:lnTo>
                    <a:pt x="1152" y="936"/>
                  </a:lnTo>
                  <a:lnTo>
                    <a:pt x="1146" y="936"/>
                  </a:lnTo>
                  <a:lnTo>
                    <a:pt x="1128" y="900"/>
                  </a:lnTo>
                  <a:lnTo>
                    <a:pt x="1038" y="912"/>
                  </a:lnTo>
                  <a:lnTo>
                    <a:pt x="1038" y="918"/>
                  </a:lnTo>
                  <a:lnTo>
                    <a:pt x="1032" y="924"/>
                  </a:lnTo>
                  <a:lnTo>
                    <a:pt x="1026" y="918"/>
                  </a:lnTo>
                  <a:lnTo>
                    <a:pt x="1020" y="924"/>
                  </a:lnTo>
                  <a:lnTo>
                    <a:pt x="1008" y="936"/>
                  </a:lnTo>
                  <a:lnTo>
                    <a:pt x="990" y="936"/>
                  </a:lnTo>
                  <a:lnTo>
                    <a:pt x="990" y="942"/>
                  </a:lnTo>
                  <a:lnTo>
                    <a:pt x="996" y="942"/>
                  </a:lnTo>
                  <a:lnTo>
                    <a:pt x="984" y="948"/>
                  </a:lnTo>
                  <a:lnTo>
                    <a:pt x="972" y="948"/>
                  </a:lnTo>
                  <a:lnTo>
                    <a:pt x="960" y="948"/>
                  </a:lnTo>
                  <a:lnTo>
                    <a:pt x="948" y="942"/>
                  </a:lnTo>
                  <a:lnTo>
                    <a:pt x="948" y="936"/>
                  </a:lnTo>
                  <a:lnTo>
                    <a:pt x="942" y="936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30" y="924"/>
                  </a:lnTo>
                  <a:lnTo>
                    <a:pt x="936" y="918"/>
                  </a:lnTo>
                  <a:lnTo>
                    <a:pt x="918" y="918"/>
                  </a:lnTo>
                  <a:lnTo>
                    <a:pt x="918" y="900"/>
                  </a:lnTo>
                  <a:lnTo>
                    <a:pt x="924" y="900"/>
                  </a:lnTo>
                  <a:lnTo>
                    <a:pt x="924" y="894"/>
                  </a:lnTo>
                  <a:lnTo>
                    <a:pt x="924" y="870"/>
                  </a:lnTo>
                  <a:lnTo>
                    <a:pt x="924" y="864"/>
                  </a:lnTo>
                  <a:lnTo>
                    <a:pt x="918" y="858"/>
                  </a:lnTo>
                  <a:lnTo>
                    <a:pt x="918" y="852"/>
                  </a:lnTo>
                  <a:lnTo>
                    <a:pt x="906" y="840"/>
                  </a:lnTo>
                  <a:lnTo>
                    <a:pt x="894" y="834"/>
                  </a:lnTo>
                  <a:lnTo>
                    <a:pt x="876" y="822"/>
                  </a:lnTo>
                  <a:lnTo>
                    <a:pt x="870" y="828"/>
                  </a:lnTo>
                  <a:lnTo>
                    <a:pt x="858" y="816"/>
                  </a:lnTo>
                  <a:lnTo>
                    <a:pt x="810" y="798"/>
                  </a:lnTo>
                  <a:lnTo>
                    <a:pt x="774" y="792"/>
                  </a:lnTo>
                  <a:lnTo>
                    <a:pt x="732" y="798"/>
                  </a:lnTo>
                  <a:lnTo>
                    <a:pt x="726" y="804"/>
                  </a:lnTo>
                  <a:lnTo>
                    <a:pt x="714" y="810"/>
                  </a:lnTo>
                  <a:lnTo>
                    <a:pt x="702" y="810"/>
                  </a:lnTo>
                  <a:lnTo>
                    <a:pt x="690" y="810"/>
                  </a:lnTo>
                  <a:lnTo>
                    <a:pt x="696" y="816"/>
                  </a:lnTo>
                  <a:lnTo>
                    <a:pt x="696" y="822"/>
                  </a:lnTo>
                  <a:lnTo>
                    <a:pt x="702" y="822"/>
                  </a:lnTo>
                  <a:lnTo>
                    <a:pt x="708" y="822"/>
                  </a:lnTo>
                  <a:lnTo>
                    <a:pt x="708" y="828"/>
                  </a:lnTo>
                  <a:lnTo>
                    <a:pt x="708" y="834"/>
                  </a:lnTo>
                  <a:lnTo>
                    <a:pt x="714" y="834"/>
                  </a:lnTo>
                  <a:lnTo>
                    <a:pt x="708" y="846"/>
                  </a:lnTo>
                  <a:lnTo>
                    <a:pt x="708" y="852"/>
                  </a:lnTo>
                  <a:lnTo>
                    <a:pt x="702" y="852"/>
                  </a:lnTo>
                  <a:lnTo>
                    <a:pt x="696" y="858"/>
                  </a:lnTo>
                  <a:lnTo>
                    <a:pt x="690" y="864"/>
                  </a:lnTo>
                  <a:lnTo>
                    <a:pt x="666" y="870"/>
                  </a:lnTo>
                  <a:lnTo>
                    <a:pt x="660" y="876"/>
                  </a:lnTo>
                  <a:lnTo>
                    <a:pt x="642" y="876"/>
                  </a:lnTo>
                  <a:lnTo>
                    <a:pt x="606" y="882"/>
                  </a:lnTo>
                  <a:lnTo>
                    <a:pt x="588" y="882"/>
                  </a:lnTo>
                  <a:lnTo>
                    <a:pt x="582" y="876"/>
                  </a:lnTo>
                  <a:lnTo>
                    <a:pt x="576" y="876"/>
                  </a:lnTo>
                  <a:lnTo>
                    <a:pt x="564" y="876"/>
                  </a:lnTo>
                  <a:lnTo>
                    <a:pt x="552" y="882"/>
                  </a:lnTo>
                  <a:lnTo>
                    <a:pt x="540" y="894"/>
                  </a:lnTo>
                  <a:lnTo>
                    <a:pt x="534" y="906"/>
                  </a:lnTo>
                  <a:lnTo>
                    <a:pt x="528" y="912"/>
                  </a:lnTo>
                  <a:lnTo>
                    <a:pt x="516" y="924"/>
                  </a:lnTo>
                  <a:lnTo>
                    <a:pt x="486" y="930"/>
                  </a:lnTo>
                  <a:lnTo>
                    <a:pt x="474" y="912"/>
                  </a:lnTo>
                  <a:lnTo>
                    <a:pt x="474" y="906"/>
                  </a:lnTo>
                  <a:lnTo>
                    <a:pt x="468" y="906"/>
                  </a:lnTo>
                  <a:lnTo>
                    <a:pt x="468" y="900"/>
                  </a:lnTo>
                  <a:lnTo>
                    <a:pt x="462" y="894"/>
                  </a:lnTo>
                  <a:lnTo>
                    <a:pt x="456" y="894"/>
                  </a:lnTo>
                  <a:lnTo>
                    <a:pt x="462" y="888"/>
                  </a:lnTo>
                  <a:lnTo>
                    <a:pt x="468" y="888"/>
                  </a:lnTo>
                  <a:lnTo>
                    <a:pt x="462" y="882"/>
                  </a:lnTo>
                  <a:lnTo>
                    <a:pt x="462" y="876"/>
                  </a:lnTo>
                  <a:lnTo>
                    <a:pt x="456" y="870"/>
                  </a:lnTo>
                  <a:lnTo>
                    <a:pt x="456" y="864"/>
                  </a:lnTo>
                  <a:lnTo>
                    <a:pt x="450" y="858"/>
                  </a:lnTo>
                  <a:lnTo>
                    <a:pt x="444" y="858"/>
                  </a:lnTo>
                  <a:lnTo>
                    <a:pt x="444" y="852"/>
                  </a:lnTo>
                  <a:lnTo>
                    <a:pt x="438" y="852"/>
                  </a:lnTo>
                  <a:lnTo>
                    <a:pt x="438" y="858"/>
                  </a:lnTo>
                  <a:lnTo>
                    <a:pt x="402" y="870"/>
                  </a:lnTo>
                  <a:lnTo>
                    <a:pt x="390" y="882"/>
                  </a:lnTo>
                  <a:lnTo>
                    <a:pt x="384" y="900"/>
                  </a:lnTo>
                  <a:lnTo>
                    <a:pt x="342" y="900"/>
                  </a:lnTo>
                  <a:lnTo>
                    <a:pt x="324" y="900"/>
                  </a:lnTo>
                  <a:lnTo>
                    <a:pt x="294" y="906"/>
                  </a:lnTo>
                  <a:lnTo>
                    <a:pt x="282" y="948"/>
                  </a:lnTo>
                  <a:lnTo>
                    <a:pt x="282" y="978"/>
                  </a:lnTo>
                  <a:lnTo>
                    <a:pt x="270" y="1008"/>
                  </a:lnTo>
                  <a:lnTo>
                    <a:pt x="240" y="1014"/>
                  </a:lnTo>
                  <a:lnTo>
                    <a:pt x="216" y="996"/>
                  </a:lnTo>
                  <a:lnTo>
                    <a:pt x="204" y="984"/>
                  </a:lnTo>
                  <a:lnTo>
                    <a:pt x="192" y="966"/>
                  </a:lnTo>
                  <a:lnTo>
                    <a:pt x="186" y="948"/>
                  </a:lnTo>
                  <a:lnTo>
                    <a:pt x="174" y="948"/>
                  </a:lnTo>
                  <a:lnTo>
                    <a:pt x="174" y="936"/>
                  </a:lnTo>
                  <a:lnTo>
                    <a:pt x="186" y="924"/>
                  </a:lnTo>
                  <a:lnTo>
                    <a:pt x="198" y="906"/>
                  </a:lnTo>
                  <a:lnTo>
                    <a:pt x="204" y="888"/>
                  </a:lnTo>
                  <a:lnTo>
                    <a:pt x="222" y="870"/>
                  </a:lnTo>
                  <a:lnTo>
                    <a:pt x="234" y="858"/>
                  </a:lnTo>
                  <a:lnTo>
                    <a:pt x="234" y="852"/>
                  </a:lnTo>
                  <a:lnTo>
                    <a:pt x="222" y="852"/>
                  </a:lnTo>
                  <a:lnTo>
                    <a:pt x="228" y="810"/>
                  </a:lnTo>
                  <a:lnTo>
                    <a:pt x="222" y="798"/>
                  </a:lnTo>
                  <a:lnTo>
                    <a:pt x="216" y="798"/>
                  </a:lnTo>
                  <a:lnTo>
                    <a:pt x="216" y="792"/>
                  </a:lnTo>
                  <a:lnTo>
                    <a:pt x="210" y="792"/>
                  </a:lnTo>
                  <a:lnTo>
                    <a:pt x="204" y="798"/>
                  </a:lnTo>
                  <a:lnTo>
                    <a:pt x="204" y="792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0" y="786"/>
                  </a:lnTo>
                  <a:lnTo>
                    <a:pt x="174" y="792"/>
                  </a:lnTo>
                  <a:lnTo>
                    <a:pt x="162" y="792"/>
                  </a:lnTo>
                  <a:lnTo>
                    <a:pt x="156" y="792"/>
                  </a:lnTo>
                  <a:lnTo>
                    <a:pt x="156" y="798"/>
                  </a:lnTo>
                  <a:lnTo>
                    <a:pt x="138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6" y="804"/>
                  </a:lnTo>
                  <a:lnTo>
                    <a:pt x="102" y="810"/>
                  </a:lnTo>
                  <a:lnTo>
                    <a:pt x="90" y="810"/>
                  </a:lnTo>
                  <a:lnTo>
                    <a:pt x="72" y="798"/>
                  </a:lnTo>
                  <a:lnTo>
                    <a:pt x="66" y="780"/>
                  </a:lnTo>
                  <a:lnTo>
                    <a:pt x="60" y="780"/>
                  </a:lnTo>
                  <a:lnTo>
                    <a:pt x="60" y="768"/>
                  </a:lnTo>
                  <a:lnTo>
                    <a:pt x="54" y="768"/>
                  </a:lnTo>
                  <a:lnTo>
                    <a:pt x="24" y="756"/>
                  </a:lnTo>
                  <a:lnTo>
                    <a:pt x="18" y="744"/>
                  </a:lnTo>
                  <a:lnTo>
                    <a:pt x="12" y="738"/>
                  </a:lnTo>
                  <a:lnTo>
                    <a:pt x="18" y="732"/>
                  </a:lnTo>
                  <a:lnTo>
                    <a:pt x="12" y="726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8" y="696"/>
                  </a:lnTo>
                  <a:lnTo>
                    <a:pt x="24" y="708"/>
                  </a:lnTo>
                  <a:lnTo>
                    <a:pt x="36" y="702"/>
                  </a:lnTo>
                  <a:lnTo>
                    <a:pt x="36" y="678"/>
                  </a:lnTo>
                  <a:lnTo>
                    <a:pt x="36" y="660"/>
                  </a:lnTo>
                  <a:lnTo>
                    <a:pt x="42" y="654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72" y="624"/>
                  </a:lnTo>
                  <a:lnTo>
                    <a:pt x="90" y="618"/>
                  </a:lnTo>
                  <a:lnTo>
                    <a:pt x="102" y="618"/>
                  </a:lnTo>
                  <a:lnTo>
                    <a:pt x="114" y="612"/>
                  </a:lnTo>
                  <a:lnTo>
                    <a:pt x="138" y="606"/>
                  </a:lnTo>
                  <a:lnTo>
                    <a:pt x="144" y="606"/>
                  </a:lnTo>
                  <a:lnTo>
                    <a:pt x="150" y="594"/>
                  </a:lnTo>
                  <a:lnTo>
                    <a:pt x="156" y="576"/>
                  </a:lnTo>
                  <a:lnTo>
                    <a:pt x="168" y="552"/>
                  </a:lnTo>
                  <a:lnTo>
                    <a:pt x="168" y="540"/>
                  </a:lnTo>
                  <a:lnTo>
                    <a:pt x="180" y="522"/>
                  </a:lnTo>
                  <a:lnTo>
                    <a:pt x="186" y="498"/>
                  </a:lnTo>
                  <a:lnTo>
                    <a:pt x="198" y="480"/>
                  </a:lnTo>
                  <a:lnTo>
                    <a:pt x="204" y="486"/>
                  </a:lnTo>
                  <a:lnTo>
                    <a:pt x="210" y="480"/>
                  </a:lnTo>
                  <a:lnTo>
                    <a:pt x="204" y="474"/>
                  </a:lnTo>
                  <a:lnTo>
                    <a:pt x="198" y="462"/>
                  </a:lnTo>
                  <a:lnTo>
                    <a:pt x="192" y="456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50"/>
                  </a:lnTo>
                  <a:lnTo>
                    <a:pt x="132" y="426"/>
                  </a:lnTo>
                  <a:lnTo>
                    <a:pt x="132" y="396"/>
                  </a:lnTo>
                  <a:lnTo>
                    <a:pt x="132" y="378"/>
                  </a:lnTo>
                  <a:lnTo>
                    <a:pt x="126" y="348"/>
                  </a:lnTo>
                  <a:lnTo>
                    <a:pt x="132" y="312"/>
                  </a:lnTo>
                  <a:lnTo>
                    <a:pt x="126" y="288"/>
                  </a:lnTo>
                  <a:lnTo>
                    <a:pt x="138" y="282"/>
                  </a:lnTo>
                  <a:lnTo>
                    <a:pt x="126" y="264"/>
                  </a:lnTo>
                  <a:lnTo>
                    <a:pt x="126" y="258"/>
                  </a:lnTo>
                  <a:lnTo>
                    <a:pt x="120" y="246"/>
                  </a:lnTo>
                  <a:lnTo>
                    <a:pt x="126" y="234"/>
                  </a:lnTo>
                  <a:lnTo>
                    <a:pt x="114" y="228"/>
                  </a:lnTo>
                  <a:lnTo>
                    <a:pt x="114" y="222"/>
                  </a:lnTo>
                  <a:lnTo>
                    <a:pt x="96" y="204"/>
                  </a:lnTo>
                  <a:lnTo>
                    <a:pt x="84" y="180"/>
                  </a:lnTo>
                  <a:lnTo>
                    <a:pt x="78" y="168"/>
                  </a:lnTo>
                  <a:lnTo>
                    <a:pt x="72" y="162"/>
                  </a:lnTo>
                  <a:lnTo>
                    <a:pt x="66" y="144"/>
                  </a:lnTo>
                  <a:lnTo>
                    <a:pt x="60" y="138"/>
                  </a:lnTo>
                  <a:lnTo>
                    <a:pt x="66" y="126"/>
                  </a:lnTo>
                  <a:lnTo>
                    <a:pt x="66" y="114"/>
                  </a:lnTo>
                  <a:lnTo>
                    <a:pt x="72" y="114"/>
                  </a:lnTo>
                  <a:lnTo>
                    <a:pt x="72" y="108"/>
                  </a:lnTo>
                  <a:lnTo>
                    <a:pt x="78" y="102"/>
                  </a:lnTo>
                  <a:lnTo>
                    <a:pt x="78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120" y="78"/>
                  </a:lnTo>
                  <a:lnTo>
                    <a:pt x="144" y="84"/>
                  </a:lnTo>
                  <a:lnTo>
                    <a:pt x="150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74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92" y="102"/>
                  </a:lnTo>
                  <a:lnTo>
                    <a:pt x="198" y="96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16" y="96"/>
                  </a:lnTo>
                  <a:lnTo>
                    <a:pt x="222" y="96"/>
                  </a:lnTo>
                  <a:lnTo>
                    <a:pt x="228" y="96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94" y="114"/>
                  </a:lnTo>
                  <a:lnTo>
                    <a:pt x="312" y="120"/>
                  </a:lnTo>
                  <a:lnTo>
                    <a:pt x="318" y="126"/>
                  </a:lnTo>
                  <a:lnTo>
                    <a:pt x="330" y="132"/>
                  </a:lnTo>
                  <a:lnTo>
                    <a:pt x="342" y="132"/>
                  </a:lnTo>
                  <a:lnTo>
                    <a:pt x="348" y="132"/>
                  </a:lnTo>
                  <a:lnTo>
                    <a:pt x="354" y="138"/>
                  </a:lnTo>
                  <a:lnTo>
                    <a:pt x="366" y="138"/>
                  </a:lnTo>
                  <a:lnTo>
                    <a:pt x="372" y="144"/>
                  </a:lnTo>
                  <a:lnTo>
                    <a:pt x="378" y="150"/>
                  </a:lnTo>
                  <a:lnTo>
                    <a:pt x="384" y="150"/>
                  </a:lnTo>
                  <a:lnTo>
                    <a:pt x="390" y="150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14" y="156"/>
                  </a:lnTo>
                  <a:lnTo>
                    <a:pt x="420" y="156"/>
                  </a:lnTo>
                  <a:lnTo>
                    <a:pt x="426" y="162"/>
                  </a:lnTo>
                  <a:lnTo>
                    <a:pt x="438" y="168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62" y="174"/>
                  </a:lnTo>
                  <a:lnTo>
                    <a:pt x="468" y="174"/>
                  </a:lnTo>
                  <a:lnTo>
                    <a:pt x="474" y="174"/>
                  </a:lnTo>
                  <a:lnTo>
                    <a:pt x="474" y="180"/>
                  </a:lnTo>
                  <a:lnTo>
                    <a:pt x="480" y="192"/>
                  </a:lnTo>
                  <a:lnTo>
                    <a:pt x="498" y="198"/>
                  </a:lnTo>
                  <a:lnTo>
                    <a:pt x="510" y="210"/>
                  </a:lnTo>
                  <a:lnTo>
                    <a:pt x="516" y="210"/>
                  </a:lnTo>
                  <a:lnTo>
                    <a:pt x="522" y="210"/>
                  </a:lnTo>
                  <a:lnTo>
                    <a:pt x="534" y="216"/>
                  </a:lnTo>
                  <a:lnTo>
                    <a:pt x="540" y="216"/>
                  </a:lnTo>
                  <a:lnTo>
                    <a:pt x="546" y="222"/>
                  </a:lnTo>
                  <a:lnTo>
                    <a:pt x="552" y="222"/>
                  </a:lnTo>
                  <a:lnTo>
                    <a:pt x="558" y="228"/>
                  </a:lnTo>
                  <a:lnTo>
                    <a:pt x="564" y="228"/>
                  </a:lnTo>
                  <a:lnTo>
                    <a:pt x="570" y="234"/>
                  </a:lnTo>
                  <a:lnTo>
                    <a:pt x="576" y="240"/>
                  </a:lnTo>
                  <a:lnTo>
                    <a:pt x="582" y="240"/>
                  </a:lnTo>
                  <a:lnTo>
                    <a:pt x="588" y="240"/>
                  </a:lnTo>
                  <a:lnTo>
                    <a:pt x="594" y="240"/>
                  </a:lnTo>
                  <a:lnTo>
                    <a:pt x="600" y="228"/>
                  </a:lnTo>
                  <a:lnTo>
                    <a:pt x="588" y="216"/>
                  </a:lnTo>
                  <a:lnTo>
                    <a:pt x="588" y="198"/>
                  </a:lnTo>
                  <a:lnTo>
                    <a:pt x="582" y="198"/>
                  </a:lnTo>
                  <a:lnTo>
                    <a:pt x="588" y="192"/>
                  </a:lnTo>
                  <a:lnTo>
                    <a:pt x="582" y="168"/>
                  </a:lnTo>
                  <a:lnTo>
                    <a:pt x="558" y="114"/>
                  </a:lnTo>
                  <a:lnTo>
                    <a:pt x="552" y="90"/>
                  </a:lnTo>
                  <a:lnTo>
                    <a:pt x="558" y="60"/>
                  </a:lnTo>
                  <a:lnTo>
                    <a:pt x="564" y="48"/>
                  </a:lnTo>
                  <a:lnTo>
                    <a:pt x="582" y="42"/>
                  </a:lnTo>
                  <a:lnTo>
                    <a:pt x="624" y="6"/>
                  </a:lnTo>
                  <a:lnTo>
                    <a:pt x="648" y="0"/>
                  </a:lnTo>
                  <a:lnTo>
                    <a:pt x="678" y="0"/>
                  </a:lnTo>
                  <a:lnTo>
                    <a:pt x="720" y="12"/>
                  </a:lnTo>
                  <a:lnTo>
                    <a:pt x="744" y="24"/>
                  </a:lnTo>
                  <a:lnTo>
                    <a:pt x="768" y="42"/>
                  </a:lnTo>
                  <a:lnTo>
                    <a:pt x="816" y="48"/>
                  </a:lnTo>
                  <a:lnTo>
                    <a:pt x="834" y="48"/>
                  </a:lnTo>
                  <a:lnTo>
                    <a:pt x="852" y="54"/>
                  </a:lnTo>
                  <a:lnTo>
                    <a:pt x="906" y="60"/>
                  </a:lnTo>
                  <a:lnTo>
                    <a:pt x="948" y="54"/>
                  </a:lnTo>
                  <a:lnTo>
                    <a:pt x="978" y="42"/>
                  </a:lnTo>
                  <a:lnTo>
                    <a:pt x="984" y="48"/>
                  </a:lnTo>
                  <a:lnTo>
                    <a:pt x="990" y="60"/>
                  </a:lnTo>
                  <a:lnTo>
                    <a:pt x="996" y="66"/>
                  </a:lnTo>
                  <a:lnTo>
                    <a:pt x="1002" y="72"/>
                  </a:lnTo>
                  <a:lnTo>
                    <a:pt x="1014" y="78"/>
                  </a:lnTo>
                  <a:lnTo>
                    <a:pt x="1014" y="84"/>
                  </a:lnTo>
                  <a:lnTo>
                    <a:pt x="1032" y="84"/>
                  </a:lnTo>
                  <a:lnTo>
                    <a:pt x="1032" y="90"/>
                  </a:lnTo>
                  <a:lnTo>
                    <a:pt x="1032" y="96"/>
                  </a:lnTo>
                  <a:lnTo>
                    <a:pt x="1032" y="108"/>
                  </a:lnTo>
                  <a:lnTo>
                    <a:pt x="1056" y="126"/>
                  </a:lnTo>
                  <a:lnTo>
                    <a:pt x="1068" y="138"/>
                  </a:lnTo>
                  <a:lnTo>
                    <a:pt x="1068" y="156"/>
                  </a:lnTo>
                  <a:lnTo>
                    <a:pt x="1080" y="150"/>
                  </a:lnTo>
                  <a:lnTo>
                    <a:pt x="1086" y="150"/>
                  </a:lnTo>
                  <a:lnTo>
                    <a:pt x="1092" y="156"/>
                  </a:lnTo>
                  <a:lnTo>
                    <a:pt x="1092" y="162"/>
                  </a:lnTo>
                  <a:lnTo>
                    <a:pt x="1092" y="168"/>
                  </a:lnTo>
                  <a:lnTo>
                    <a:pt x="1098" y="168"/>
                  </a:lnTo>
                  <a:lnTo>
                    <a:pt x="1092" y="180"/>
                  </a:lnTo>
                  <a:lnTo>
                    <a:pt x="1092" y="186"/>
                  </a:lnTo>
                  <a:lnTo>
                    <a:pt x="1086" y="192"/>
                  </a:lnTo>
                  <a:lnTo>
                    <a:pt x="1068" y="210"/>
                  </a:lnTo>
                  <a:lnTo>
                    <a:pt x="1068" y="216"/>
                  </a:lnTo>
                  <a:lnTo>
                    <a:pt x="1074" y="228"/>
                  </a:lnTo>
                  <a:lnTo>
                    <a:pt x="1092" y="234"/>
                  </a:lnTo>
                  <a:lnTo>
                    <a:pt x="1122" y="216"/>
                  </a:lnTo>
                  <a:lnTo>
                    <a:pt x="1188" y="204"/>
                  </a:lnTo>
                  <a:lnTo>
                    <a:pt x="1212" y="204"/>
                  </a:lnTo>
                  <a:lnTo>
                    <a:pt x="1230" y="198"/>
                  </a:lnTo>
                  <a:lnTo>
                    <a:pt x="1236" y="204"/>
                  </a:lnTo>
                  <a:lnTo>
                    <a:pt x="1242" y="210"/>
                  </a:lnTo>
                  <a:lnTo>
                    <a:pt x="1242" y="204"/>
                  </a:lnTo>
                  <a:lnTo>
                    <a:pt x="1248" y="198"/>
                  </a:lnTo>
                  <a:lnTo>
                    <a:pt x="1308" y="204"/>
                  </a:lnTo>
                  <a:lnTo>
                    <a:pt x="1338" y="204"/>
                  </a:lnTo>
                  <a:lnTo>
                    <a:pt x="1374" y="228"/>
                  </a:lnTo>
                  <a:lnTo>
                    <a:pt x="1380" y="234"/>
                  </a:lnTo>
                  <a:lnTo>
                    <a:pt x="1380" y="240"/>
                  </a:lnTo>
                  <a:lnTo>
                    <a:pt x="1386" y="252"/>
                  </a:lnTo>
                  <a:lnTo>
                    <a:pt x="1392" y="252"/>
                  </a:lnTo>
                  <a:lnTo>
                    <a:pt x="1416" y="270"/>
                  </a:lnTo>
                  <a:lnTo>
                    <a:pt x="1428" y="294"/>
                  </a:lnTo>
                  <a:lnTo>
                    <a:pt x="1440" y="312"/>
                  </a:lnTo>
                  <a:lnTo>
                    <a:pt x="1452" y="330"/>
                  </a:lnTo>
                  <a:lnTo>
                    <a:pt x="1464" y="330"/>
                  </a:lnTo>
                  <a:lnTo>
                    <a:pt x="1464" y="336"/>
                  </a:lnTo>
                  <a:lnTo>
                    <a:pt x="1470" y="336"/>
                  </a:lnTo>
                  <a:lnTo>
                    <a:pt x="1470" y="342"/>
                  </a:lnTo>
                  <a:lnTo>
                    <a:pt x="1476" y="342"/>
                  </a:lnTo>
                  <a:lnTo>
                    <a:pt x="1488" y="336"/>
                  </a:lnTo>
                  <a:lnTo>
                    <a:pt x="1494" y="342"/>
                  </a:lnTo>
                  <a:lnTo>
                    <a:pt x="1500" y="342"/>
                  </a:lnTo>
                  <a:lnTo>
                    <a:pt x="1512" y="366"/>
                  </a:lnTo>
                  <a:lnTo>
                    <a:pt x="1530" y="396"/>
                  </a:lnTo>
                  <a:lnTo>
                    <a:pt x="1536" y="444"/>
                  </a:lnTo>
                  <a:lnTo>
                    <a:pt x="1530" y="480"/>
                  </a:lnTo>
                  <a:lnTo>
                    <a:pt x="1506" y="510"/>
                  </a:lnTo>
                  <a:lnTo>
                    <a:pt x="1500" y="546"/>
                  </a:lnTo>
                  <a:lnTo>
                    <a:pt x="1494" y="564"/>
                  </a:lnTo>
                  <a:lnTo>
                    <a:pt x="1494" y="576"/>
                  </a:lnTo>
                  <a:lnTo>
                    <a:pt x="1500" y="582"/>
                  </a:lnTo>
                  <a:lnTo>
                    <a:pt x="1494" y="612"/>
                  </a:lnTo>
                  <a:lnTo>
                    <a:pt x="1476" y="630"/>
                  </a:lnTo>
                  <a:lnTo>
                    <a:pt x="1434" y="672"/>
                  </a:lnTo>
                  <a:lnTo>
                    <a:pt x="1392" y="756"/>
                  </a:lnTo>
                  <a:lnTo>
                    <a:pt x="1380" y="792"/>
                  </a:lnTo>
                  <a:lnTo>
                    <a:pt x="1374" y="798"/>
                  </a:lnTo>
                  <a:lnTo>
                    <a:pt x="1368" y="798"/>
                  </a:lnTo>
                  <a:lnTo>
                    <a:pt x="1380" y="804"/>
                  </a:lnTo>
                  <a:lnTo>
                    <a:pt x="1386" y="804"/>
                  </a:lnTo>
                  <a:lnTo>
                    <a:pt x="1380" y="822"/>
                  </a:lnTo>
                  <a:lnTo>
                    <a:pt x="1380" y="852"/>
                  </a:lnTo>
                  <a:lnTo>
                    <a:pt x="1374" y="858"/>
                  </a:lnTo>
                  <a:lnTo>
                    <a:pt x="1380" y="858"/>
                  </a:lnTo>
                  <a:lnTo>
                    <a:pt x="1374" y="864"/>
                  </a:lnTo>
                  <a:lnTo>
                    <a:pt x="1374" y="870"/>
                  </a:lnTo>
                  <a:lnTo>
                    <a:pt x="1374" y="876"/>
                  </a:lnTo>
                  <a:lnTo>
                    <a:pt x="1368" y="900"/>
                  </a:lnTo>
                  <a:lnTo>
                    <a:pt x="1362" y="906"/>
                  </a:lnTo>
                  <a:lnTo>
                    <a:pt x="1362" y="918"/>
                  </a:lnTo>
                  <a:lnTo>
                    <a:pt x="1362" y="924"/>
                  </a:lnTo>
                  <a:lnTo>
                    <a:pt x="1356" y="942"/>
                  </a:lnTo>
                  <a:lnTo>
                    <a:pt x="1350" y="972"/>
                  </a:lnTo>
                  <a:lnTo>
                    <a:pt x="1350" y="1014"/>
                  </a:lnTo>
                  <a:lnTo>
                    <a:pt x="1350" y="10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3" name="Freeform 18">
              <a:extLst>
                <a:ext uri="{FF2B5EF4-FFF2-40B4-BE49-F238E27FC236}">
                  <a16:creationId xmlns:a16="http://schemas.microsoft.com/office/drawing/2014/main" id="{EC11F2E0-3C06-46E2-8AD2-66EBE00FFE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32346" y="3837389"/>
              <a:ext cx="556811" cy="818559"/>
            </a:xfrm>
            <a:custGeom>
              <a:avLst/>
              <a:gdLst>
                <a:gd name="T0" fmla="*/ 12 w 1044"/>
                <a:gd name="T1" fmla="*/ 95 h 1542"/>
                <a:gd name="T2" fmla="*/ 7 w 1044"/>
                <a:gd name="T3" fmla="*/ 93 h 1542"/>
                <a:gd name="T4" fmla="*/ 0 w 1044"/>
                <a:gd name="T5" fmla="*/ 88 h 1542"/>
                <a:gd name="T6" fmla="*/ 3 w 1044"/>
                <a:gd name="T7" fmla="*/ 74 h 1542"/>
                <a:gd name="T8" fmla="*/ 4 w 1044"/>
                <a:gd name="T9" fmla="*/ 59 h 1542"/>
                <a:gd name="T10" fmla="*/ 7 w 1044"/>
                <a:gd name="T11" fmla="*/ 52 h 1542"/>
                <a:gd name="T12" fmla="*/ 20 w 1044"/>
                <a:gd name="T13" fmla="*/ 50 h 1542"/>
                <a:gd name="T14" fmla="*/ 24 w 1044"/>
                <a:gd name="T15" fmla="*/ 46 h 1542"/>
                <a:gd name="T16" fmla="*/ 29 w 1044"/>
                <a:gd name="T17" fmla="*/ 33 h 1542"/>
                <a:gd name="T18" fmla="*/ 32 w 1044"/>
                <a:gd name="T19" fmla="*/ 26 h 1542"/>
                <a:gd name="T20" fmla="*/ 30 w 1044"/>
                <a:gd name="T21" fmla="*/ 20 h 1542"/>
                <a:gd name="T22" fmla="*/ 26 w 1044"/>
                <a:gd name="T23" fmla="*/ 17 h 1542"/>
                <a:gd name="T24" fmla="*/ 28 w 1044"/>
                <a:gd name="T25" fmla="*/ 12 h 1542"/>
                <a:gd name="T26" fmla="*/ 44 w 1044"/>
                <a:gd name="T27" fmla="*/ 5 h 1542"/>
                <a:gd name="T28" fmla="*/ 57 w 1044"/>
                <a:gd name="T29" fmla="*/ 2 h 1542"/>
                <a:gd name="T30" fmla="*/ 65 w 1044"/>
                <a:gd name="T31" fmla="*/ 12 h 1542"/>
                <a:gd name="T32" fmla="*/ 81 w 1044"/>
                <a:gd name="T33" fmla="*/ 9 h 1542"/>
                <a:gd name="T34" fmla="*/ 91 w 1044"/>
                <a:gd name="T35" fmla="*/ 20 h 1542"/>
                <a:gd name="T36" fmla="*/ 89 w 1044"/>
                <a:gd name="T37" fmla="*/ 28 h 1542"/>
                <a:gd name="T38" fmla="*/ 83 w 1044"/>
                <a:gd name="T39" fmla="*/ 33 h 1542"/>
                <a:gd name="T40" fmla="*/ 74 w 1044"/>
                <a:gd name="T41" fmla="*/ 42 h 1542"/>
                <a:gd name="T42" fmla="*/ 58 w 1044"/>
                <a:gd name="T43" fmla="*/ 57 h 1542"/>
                <a:gd name="T44" fmla="*/ 54 w 1044"/>
                <a:gd name="T45" fmla="*/ 65 h 1542"/>
                <a:gd name="T46" fmla="*/ 59 w 1044"/>
                <a:gd name="T47" fmla="*/ 74 h 1542"/>
                <a:gd name="T48" fmla="*/ 55 w 1044"/>
                <a:gd name="T49" fmla="*/ 84 h 1542"/>
                <a:gd name="T50" fmla="*/ 52 w 1044"/>
                <a:gd name="T51" fmla="*/ 98 h 1542"/>
                <a:gd name="T52" fmla="*/ 47 w 1044"/>
                <a:gd name="T53" fmla="*/ 105 h 1542"/>
                <a:gd name="T54" fmla="*/ 42 w 1044"/>
                <a:gd name="T55" fmla="*/ 111 h 1542"/>
                <a:gd name="T56" fmla="*/ 43 w 1044"/>
                <a:gd name="T57" fmla="*/ 120 h 1542"/>
                <a:gd name="T58" fmla="*/ 45 w 1044"/>
                <a:gd name="T59" fmla="*/ 125 h 1542"/>
                <a:gd name="T60" fmla="*/ 44 w 1044"/>
                <a:gd name="T61" fmla="*/ 130 h 1542"/>
                <a:gd name="T62" fmla="*/ 45 w 1044"/>
                <a:gd name="T63" fmla="*/ 131 h 1542"/>
                <a:gd name="T64" fmla="*/ 48 w 1044"/>
                <a:gd name="T65" fmla="*/ 133 h 1542"/>
                <a:gd name="T66" fmla="*/ 39 w 1044"/>
                <a:gd name="T67" fmla="*/ 133 h 1542"/>
                <a:gd name="T68" fmla="*/ 42 w 1044"/>
                <a:gd name="T69" fmla="*/ 132 h 1542"/>
                <a:gd name="T70" fmla="*/ 38 w 1044"/>
                <a:gd name="T71" fmla="*/ 133 h 1542"/>
                <a:gd name="T72" fmla="*/ 37 w 1044"/>
                <a:gd name="T73" fmla="*/ 129 h 1542"/>
                <a:gd name="T74" fmla="*/ 40 w 1044"/>
                <a:gd name="T75" fmla="*/ 125 h 1542"/>
                <a:gd name="T76" fmla="*/ 40 w 1044"/>
                <a:gd name="T77" fmla="*/ 120 h 1542"/>
                <a:gd name="T78" fmla="*/ 40 w 1044"/>
                <a:gd name="T79" fmla="*/ 117 h 1542"/>
                <a:gd name="T80" fmla="*/ 37 w 1044"/>
                <a:gd name="T81" fmla="*/ 120 h 1542"/>
                <a:gd name="T82" fmla="*/ 34 w 1044"/>
                <a:gd name="T83" fmla="*/ 122 h 1542"/>
                <a:gd name="T84" fmla="*/ 36 w 1044"/>
                <a:gd name="T85" fmla="*/ 120 h 1542"/>
                <a:gd name="T86" fmla="*/ 30 w 1044"/>
                <a:gd name="T87" fmla="*/ 120 h 1542"/>
                <a:gd name="T88" fmla="*/ 31 w 1044"/>
                <a:gd name="T89" fmla="*/ 113 h 1542"/>
                <a:gd name="T90" fmla="*/ 29 w 1044"/>
                <a:gd name="T91" fmla="*/ 112 h 1542"/>
                <a:gd name="T92" fmla="*/ 31 w 1044"/>
                <a:gd name="T93" fmla="*/ 117 h 1542"/>
                <a:gd name="T94" fmla="*/ 27 w 1044"/>
                <a:gd name="T95" fmla="*/ 116 h 1542"/>
                <a:gd name="T96" fmla="*/ 25 w 1044"/>
                <a:gd name="T97" fmla="*/ 112 h 1542"/>
                <a:gd name="T98" fmla="*/ 21 w 1044"/>
                <a:gd name="T99" fmla="*/ 109 h 1542"/>
                <a:gd name="T100" fmla="*/ 21 w 1044"/>
                <a:gd name="T101" fmla="*/ 113 h 1542"/>
                <a:gd name="T102" fmla="*/ 40 w 1044"/>
                <a:gd name="T103" fmla="*/ 120 h 1542"/>
                <a:gd name="T104" fmla="*/ 40 w 1044"/>
                <a:gd name="T105" fmla="*/ 121 h 1542"/>
                <a:gd name="T106" fmla="*/ 40 w 1044"/>
                <a:gd name="T107" fmla="*/ 116 h 1542"/>
                <a:gd name="T108" fmla="*/ 38 w 1044"/>
                <a:gd name="T109" fmla="*/ 120 h 1542"/>
                <a:gd name="T110" fmla="*/ 23 w 1044"/>
                <a:gd name="T111" fmla="*/ 110 h 1542"/>
                <a:gd name="T112" fmla="*/ 37 w 1044"/>
                <a:gd name="T113" fmla="*/ 124 h 1542"/>
                <a:gd name="T114" fmla="*/ 40 w 1044"/>
                <a:gd name="T115" fmla="*/ 125 h 1542"/>
                <a:gd name="T116" fmla="*/ 38 w 1044"/>
                <a:gd name="T117" fmla="*/ 128 h 1542"/>
                <a:gd name="T118" fmla="*/ 25 w 1044"/>
                <a:gd name="T119" fmla="*/ 117 h 1542"/>
                <a:gd name="T120" fmla="*/ 27 w 1044"/>
                <a:gd name="T121" fmla="*/ 127 h 1542"/>
                <a:gd name="T122" fmla="*/ 24 w 1044"/>
                <a:gd name="T123" fmla="*/ 113 h 15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4"/>
                <a:gd name="T187" fmla="*/ 0 h 1542"/>
                <a:gd name="T188" fmla="*/ 1044 w 1044"/>
                <a:gd name="T189" fmla="*/ 1542 h 154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4" h="1542">
                  <a:moveTo>
                    <a:pt x="234" y="1278"/>
                  </a:moveTo>
                  <a:lnTo>
                    <a:pt x="228" y="1272"/>
                  </a:lnTo>
                  <a:lnTo>
                    <a:pt x="222" y="1266"/>
                  </a:lnTo>
                  <a:lnTo>
                    <a:pt x="222" y="1260"/>
                  </a:lnTo>
                  <a:lnTo>
                    <a:pt x="204" y="1248"/>
                  </a:lnTo>
                  <a:lnTo>
                    <a:pt x="192" y="1248"/>
                  </a:lnTo>
                  <a:lnTo>
                    <a:pt x="186" y="1236"/>
                  </a:lnTo>
                  <a:lnTo>
                    <a:pt x="174" y="1218"/>
                  </a:lnTo>
                  <a:lnTo>
                    <a:pt x="162" y="1194"/>
                  </a:lnTo>
                  <a:lnTo>
                    <a:pt x="156" y="1182"/>
                  </a:lnTo>
                  <a:lnTo>
                    <a:pt x="162" y="1146"/>
                  </a:lnTo>
                  <a:lnTo>
                    <a:pt x="156" y="1134"/>
                  </a:lnTo>
                  <a:lnTo>
                    <a:pt x="138" y="1122"/>
                  </a:lnTo>
                  <a:lnTo>
                    <a:pt x="132" y="1116"/>
                  </a:lnTo>
                  <a:lnTo>
                    <a:pt x="138" y="1098"/>
                  </a:lnTo>
                  <a:lnTo>
                    <a:pt x="138" y="1092"/>
                  </a:lnTo>
                  <a:lnTo>
                    <a:pt x="138" y="1086"/>
                  </a:lnTo>
                  <a:lnTo>
                    <a:pt x="132" y="1074"/>
                  </a:lnTo>
                  <a:lnTo>
                    <a:pt x="126" y="1074"/>
                  </a:lnTo>
                  <a:lnTo>
                    <a:pt x="126" y="1068"/>
                  </a:lnTo>
                  <a:lnTo>
                    <a:pt x="120" y="1062"/>
                  </a:lnTo>
                  <a:lnTo>
                    <a:pt x="120" y="1056"/>
                  </a:lnTo>
                  <a:lnTo>
                    <a:pt x="114" y="1050"/>
                  </a:lnTo>
                  <a:lnTo>
                    <a:pt x="108" y="1050"/>
                  </a:lnTo>
                  <a:lnTo>
                    <a:pt x="102" y="1056"/>
                  </a:lnTo>
                  <a:lnTo>
                    <a:pt x="102" y="1062"/>
                  </a:lnTo>
                  <a:lnTo>
                    <a:pt x="96" y="1062"/>
                  </a:lnTo>
                  <a:lnTo>
                    <a:pt x="96" y="1068"/>
                  </a:lnTo>
                  <a:lnTo>
                    <a:pt x="96" y="1074"/>
                  </a:lnTo>
                  <a:lnTo>
                    <a:pt x="90" y="1074"/>
                  </a:lnTo>
                  <a:lnTo>
                    <a:pt x="84" y="1080"/>
                  </a:lnTo>
                  <a:lnTo>
                    <a:pt x="78" y="1074"/>
                  </a:lnTo>
                  <a:lnTo>
                    <a:pt x="72" y="1074"/>
                  </a:lnTo>
                  <a:lnTo>
                    <a:pt x="72" y="1068"/>
                  </a:lnTo>
                  <a:lnTo>
                    <a:pt x="72" y="1062"/>
                  </a:lnTo>
                  <a:lnTo>
                    <a:pt x="60" y="1056"/>
                  </a:lnTo>
                  <a:lnTo>
                    <a:pt x="60" y="1044"/>
                  </a:lnTo>
                  <a:lnTo>
                    <a:pt x="60" y="1032"/>
                  </a:lnTo>
                  <a:lnTo>
                    <a:pt x="60" y="1026"/>
                  </a:lnTo>
                  <a:lnTo>
                    <a:pt x="54" y="1026"/>
                  </a:lnTo>
                  <a:lnTo>
                    <a:pt x="48" y="1014"/>
                  </a:lnTo>
                  <a:lnTo>
                    <a:pt x="42" y="1008"/>
                  </a:lnTo>
                  <a:lnTo>
                    <a:pt x="30" y="1008"/>
                  </a:lnTo>
                  <a:lnTo>
                    <a:pt x="30" y="1002"/>
                  </a:lnTo>
                  <a:lnTo>
                    <a:pt x="24" y="1008"/>
                  </a:lnTo>
                  <a:lnTo>
                    <a:pt x="12" y="1008"/>
                  </a:lnTo>
                  <a:lnTo>
                    <a:pt x="6" y="1008"/>
                  </a:lnTo>
                  <a:lnTo>
                    <a:pt x="0" y="1008"/>
                  </a:lnTo>
                  <a:lnTo>
                    <a:pt x="0" y="1002"/>
                  </a:lnTo>
                  <a:lnTo>
                    <a:pt x="6" y="990"/>
                  </a:lnTo>
                  <a:lnTo>
                    <a:pt x="6" y="984"/>
                  </a:lnTo>
                  <a:lnTo>
                    <a:pt x="0" y="978"/>
                  </a:lnTo>
                  <a:lnTo>
                    <a:pt x="6" y="972"/>
                  </a:lnTo>
                  <a:lnTo>
                    <a:pt x="12" y="972"/>
                  </a:lnTo>
                  <a:lnTo>
                    <a:pt x="72" y="978"/>
                  </a:lnTo>
                  <a:lnTo>
                    <a:pt x="78" y="972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30"/>
                  </a:lnTo>
                  <a:lnTo>
                    <a:pt x="54" y="912"/>
                  </a:lnTo>
                  <a:lnTo>
                    <a:pt x="42" y="906"/>
                  </a:lnTo>
                  <a:lnTo>
                    <a:pt x="36" y="894"/>
                  </a:lnTo>
                  <a:lnTo>
                    <a:pt x="30" y="876"/>
                  </a:lnTo>
                  <a:lnTo>
                    <a:pt x="30" y="858"/>
                  </a:lnTo>
                  <a:lnTo>
                    <a:pt x="30" y="840"/>
                  </a:lnTo>
                  <a:lnTo>
                    <a:pt x="36" y="816"/>
                  </a:lnTo>
                  <a:lnTo>
                    <a:pt x="36" y="792"/>
                  </a:lnTo>
                  <a:lnTo>
                    <a:pt x="36" y="780"/>
                  </a:lnTo>
                  <a:lnTo>
                    <a:pt x="12" y="774"/>
                  </a:lnTo>
                  <a:lnTo>
                    <a:pt x="24" y="756"/>
                  </a:lnTo>
                  <a:lnTo>
                    <a:pt x="24" y="744"/>
                  </a:lnTo>
                  <a:lnTo>
                    <a:pt x="30" y="738"/>
                  </a:lnTo>
                  <a:lnTo>
                    <a:pt x="30" y="732"/>
                  </a:lnTo>
                  <a:lnTo>
                    <a:pt x="36" y="720"/>
                  </a:lnTo>
                  <a:lnTo>
                    <a:pt x="42" y="714"/>
                  </a:lnTo>
                  <a:lnTo>
                    <a:pt x="54" y="708"/>
                  </a:lnTo>
                  <a:lnTo>
                    <a:pt x="60" y="702"/>
                  </a:lnTo>
                  <a:lnTo>
                    <a:pt x="48" y="690"/>
                  </a:lnTo>
                  <a:lnTo>
                    <a:pt x="48" y="684"/>
                  </a:lnTo>
                  <a:lnTo>
                    <a:pt x="48" y="678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66"/>
                  </a:lnTo>
                  <a:lnTo>
                    <a:pt x="72" y="654"/>
                  </a:lnTo>
                  <a:lnTo>
                    <a:pt x="72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84" y="630"/>
                  </a:lnTo>
                  <a:lnTo>
                    <a:pt x="90" y="630"/>
                  </a:lnTo>
                  <a:lnTo>
                    <a:pt x="96" y="630"/>
                  </a:lnTo>
                  <a:lnTo>
                    <a:pt x="96" y="624"/>
                  </a:lnTo>
                  <a:lnTo>
                    <a:pt x="90" y="624"/>
                  </a:lnTo>
                  <a:lnTo>
                    <a:pt x="84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90" y="600"/>
                  </a:lnTo>
                  <a:lnTo>
                    <a:pt x="84" y="600"/>
                  </a:lnTo>
                  <a:lnTo>
                    <a:pt x="78" y="594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126" y="564"/>
                  </a:lnTo>
                  <a:lnTo>
                    <a:pt x="144" y="564"/>
                  </a:lnTo>
                  <a:lnTo>
                    <a:pt x="156" y="582"/>
                  </a:lnTo>
                  <a:lnTo>
                    <a:pt x="162" y="600"/>
                  </a:lnTo>
                  <a:lnTo>
                    <a:pt x="180" y="588"/>
                  </a:lnTo>
                  <a:lnTo>
                    <a:pt x="192" y="588"/>
                  </a:lnTo>
                  <a:lnTo>
                    <a:pt x="198" y="588"/>
                  </a:lnTo>
                  <a:lnTo>
                    <a:pt x="210" y="582"/>
                  </a:lnTo>
                  <a:lnTo>
                    <a:pt x="216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58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46" y="558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58" y="570"/>
                  </a:lnTo>
                  <a:lnTo>
                    <a:pt x="264" y="570"/>
                  </a:lnTo>
                  <a:lnTo>
                    <a:pt x="270" y="564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46"/>
                  </a:lnTo>
                  <a:lnTo>
                    <a:pt x="276" y="540"/>
                  </a:lnTo>
                  <a:lnTo>
                    <a:pt x="276" y="534"/>
                  </a:lnTo>
                  <a:lnTo>
                    <a:pt x="276" y="528"/>
                  </a:lnTo>
                  <a:lnTo>
                    <a:pt x="282" y="528"/>
                  </a:lnTo>
                  <a:lnTo>
                    <a:pt x="282" y="522"/>
                  </a:lnTo>
                  <a:lnTo>
                    <a:pt x="282" y="516"/>
                  </a:lnTo>
                  <a:lnTo>
                    <a:pt x="282" y="510"/>
                  </a:lnTo>
                  <a:lnTo>
                    <a:pt x="282" y="504"/>
                  </a:lnTo>
                  <a:lnTo>
                    <a:pt x="282" y="492"/>
                  </a:lnTo>
                  <a:lnTo>
                    <a:pt x="288" y="486"/>
                  </a:lnTo>
                  <a:lnTo>
                    <a:pt x="300" y="480"/>
                  </a:lnTo>
                  <a:lnTo>
                    <a:pt x="306" y="462"/>
                  </a:lnTo>
                  <a:lnTo>
                    <a:pt x="318" y="444"/>
                  </a:lnTo>
                  <a:lnTo>
                    <a:pt x="330" y="444"/>
                  </a:lnTo>
                  <a:lnTo>
                    <a:pt x="330" y="432"/>
                  </a:lnTo>
                  <a:lnTo>
                    <a:pt x="342" y="432"/>
                  </a:lnTo>
                  <a:lnTo>
                    <a:pt x="354" y="402"/>
                  </a:lnTo>
                  <a:lnTo>
                    <a:pt x="348" y="390"/>
                  </a:lnTo>
                  <a:lnTo>
                    <a:pt x="336" y="384"/>
                  </a:lnTo>
                  <a:lnTo>
                    <a:pt x="336" y="360"/>
                  </a:lnTo>
                  <a:lnTo>
                    <a:pt x="336" y="354"/>
                  </a:lnTo>
                  <a:lnTo>
                    <a:pt x="336" y="342"/>
                  </a:lnTo>
                  <a:lnTo>
                    <a:pt x="342" y="336"/>
                  </a:lnTo>
                  <a:lnTo>
                    <a:pt x="342" y="324"/>
                  </a:lnTo>
                  <a:lnTo>
                    <a:pt x="372" y="324"/>
                  </a:lnTo>
                  <a:lnTo>
                    <a:pt x="378" y="324"/>
                  </a:lnTo>
                  <a:lnTo>
                    <a:pt x="378" y="318"/>
                  </a:lnTo>
                  <a:lnTo>
                    <a:pt x="372" y="312"/>
                  </a:lnTo>
                  <a:lnTo>
                    <a:pt x="378" y="312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84" y="300"/>
                  </a:lnTo>
                  <a:lnTo>
                    <a:pt x="384" y="294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66" y="294"/>
                  </a:lnTo>
                  <a:lnTo>
                    <a:pt x="366" y="288"/>
                  </a:lnTo>
                  <a:lnTo>
                    <a:pt x="372" y="288"/>
                  </a:lnTo>
                  <a:lnTo>
                    <a:pt x="372" y="282"/>
                  </a:lnTo>
                  <a:lnTo>
                    <a:pt x="366" y="276"/>
                  </a:lnTo>
                  <a:lnTo>
                    <a:pt x="360" y="270"/>
                  </a:lnTo>
                  <a:lnTo>
                    <a:pt x="360" y="264"/>
                  </a:lnTo>
                  <a:lnTo>
                    <a:pt x="354" y="264"/>
                  </a:lnTo>
                  <a:lnTo>
                    <a:pt x="348" y="258"/>
                  </a:lnTo>
                  <a:lnTo>
                    <a:pt x="354" y="258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40"/>
                  </a:lnTo>
                  <a:lnTo>
                    <a:pt x="354" y="240"/>
                  </a:lnTo>
                  <a:lnTo>
                    <a:pt x="342" y="234"/>
                  </a:lnTo>
                  <a:lnTo>
                    <a:pt x="342" y="228"/>
                  </a:lnTo>
                  <a:lnTo>
                    <a:pt x="348" y="228"/>
                  </a:lnTo>
                  <a:lnTo>
                    <a:pt x="342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6" y="216"/>
                  </a:lnTo>
                  <a:lnTo>
                    <a:pt x="330" y="222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24" y="210"/>
                  </a:lnTo>
                  <a:lnTo>
                    <a:pt x="318" y="210"/>
                  </a:lnTo>
                  <a:lnTo>
                    <a:pt x="318" y="204"/>
                  </a:lnTo>
                  <a:lnTo>
                    <a:pt x="312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294" y="192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300" y="174"/>
                  </a:lnTo>
                  <a:lnTo>
                    <a:pt x="300" y="168"/>
                  </a:lnTo>
                  <a:lnTo>
                    <a:pt x="300" y="162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88" y="150"/>
                  </a:lnTo>
                  <a:lnTo>
                    <a:pt x="288" y="144"/>
                  </a:lnTo>
                  <a:lnTo>
                    <a:pt x="282" y="144"/>
                  </a:lnTo>
                  <a:lnTo>
                    <a:pt x="282" y="138"/>
                  </a:lnTo>
                  <a:lnTo>
                    <a:pt x="312" y="132"/>
                  </a:lnTo>
                  <a:lnTo>
                    <a:pt x="324" y="120"/>
                  </a:lnTo>
                  <a:lnTo>
                    <a:pt x="330" y="114"/>
                  </a:lnTo>
                  <a:lnTo>
                    <a:pt x="336" y="102"/>
                  </a:lnTo>
                  <a:lnTo>
                    <a:pt x="348" y="90"/>
                  </a:lnTo>
                  <a:lnTo>
                    <a:pt x="360" y="84"/>
                  </a:lnTo>
                  <a:lnTo>
                    <a:pt x="372" y="84"/>
                  </a:lnTo>
                  <a:lnTo>
                    <a:pt x="378" y="84"/>
                  </a:lnTo>
                  <a:lnTo>
                    <a:pt x="384" y="90"/>
                  </a:lnTo>
                  <a:lnTo>
                    <a:pt x="402" y="90"/>
                  </a:lnTo>
                  <a:lnTo>
                    <a:pt x="438" y="84"/>
                  </a:lnTo>
                  <a:lnTo>
                    <a:pt x="456" y="84"/>
                  </a:lnTo>
                  <a:lnTo>
                    <a:pt x="462" y="78"/>
                  </a:lnTo>
                  <a:lnTo>
                    <a:pt x="486" y="72"/>
                  </a:lnTo>
                  <a:lnTo>
                    <a:pt x="492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04" y="54"/>
                  </a:lnTo>
                  <a:lnTo>
                    <a:pt x="510" y="42"/>
                  </a:lnTo>
                  <a:lnTo>
                    <a:pt x="504" y="42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498" y="30"/>
                  </a:lnTo>
                  <a:lnTo>
                    <a:pt x="492" y="30"/>
                  </a:lnTo>
                  <a:lnTo>
                    <a:pt x="492" y="24"/>
                  </a:lnTo>
                  <a:lnTo>
                    <a:pt x="486" y="18"/>
                  </a:lnTo>
                  <a:lnTo>
                    <a:pt x="498" y="18"/>
                  </a:lnTo>
                  <a:lnTo>
                    <a:pt x="510" y="18"/>
                  </a:lnTo>
                  <a:lnTo>
                    <a:pt x="522" y="12"/>
                  </a:lnTo>
                  <a:lnTo>
                    <a:pt x="528" y="6"/>
                  </a:lnTo>
                  <a:lnTo>
                    <a:pt x="570" y="0"/>
                  </a:lnTo>
                  <a:lnTo>
                    <a:pt x="606" y="6"/>
                  </a:lnTo>
                  <a:lnTo>
                    <a:pt x="654" y="24"/>
                  </a:lnTo>
                  <a:lnTo>
                    <a:pt x="666" y="36"/>
                  </a:lnTo>
                  <a:lnTo>
                    <a:pt x="672" y="30"/>
                  </a:lnTo>
                  <a:lnTo>
                    <a:pt x="690" y="42"/>
                  </a:lnTo>
                  <a:lnTo>
                    <a:pt x="702" y="48"/>
                  </a:lnTo>
                  <a:lnTo>
                    <a:pt x="714" y="60"/>
                  </a:lnTo>
                  <a:lnTo>
                    <a:pt x="714" y="66"/>
                  </a:lnTo>
                  <a:lnTo>
                    <a:pt x="720" y="72"/>
                  </a:lnTo>
                  <a:lnTo>
                    <a:pt x="720" y="78"/>
                  </a:lnTo>
                  <a:lnTo>
                    <a:pt x="720" y="102"/>
                  </a:lnTo>
                  <a:lnTo>
                    <a:pt x="720" y="108"/>
                  </a:lnTo>
                  <a:lnTo>
                    <a:pt x="714" y="108"/>
                  </a:lnTo>
                  <a:lnTo>
                    <a:pt x="714" y="126"/>
                  </a:lnTo>
                  <a:lnTo>
                    <a:pt x="732" y="126"/>
                  </a:lnTo>
                  <a:lnTo>
                    <a:pt x="726" y="132"/>
                  </a:lnTo>
                  <a:lnTo>
                    <a:pt x="738" y="132"/>
                  </a:lnTo>
                  <a:lnTo>
                    <a:pt x="738" y="138"/>
                  </a:lnTo>
                  <a:lnTo>
                    <a:pt x="738" y="144"/>
                  </a:lnTo>
                  <a:lnTo>
                    <a:pt x="744" y="144"/>
                  </a:lnTo>
                  <a:lnTo>
                    <a:pt x="744" y="150"/>
                  </a:lnTo>
                  <a:lnTo>
                    <a:pt x="756" y="156"/>
                  </a:lnTo>
                  <a:lnTo>
                    <a:pt x="768" y="156"/>
                  </a:lnTo>
                  <a:lnTo>
                    <a:pt x="780" y="156"/>
                  </a:lnTo>
                  <a:lnTo>
                    <a:pt x="792" y="150"/>
                  </a:lnTo>
                  <a:lnTo>
                    <a:pt x="786" y="150"/>
                  </a:lnTo>
                  <a:lnTo>
                    <a:pt x="786" y="144"/>
                  </a:lnTo>
                  <a:lnTo>
                    <a:pt x="804" y="144"/>
                  </a:lnTo>
                  <a:lnTo>
                    <a:pt x="816" y="132"/>
                  </a:lnTo>
                  <a:lnTo>
                    <a:pt x="822" y="126"/>
                  </a:lnTo>
                  <a:lnTo>
                    <a:pt x="828" y="132"/>
                  </a:lnTo>
                  <a:lnTo>
                    <a:pt x="834" y="126"/>
                  </a:lnTo>
                  <a:lnTo>
                    <a:pt x="834" y="120"/>
                  </a:lnTo>
                  <a:lnTo>
                    <a:pt x="924" y="108"/>
                  </a:lnTo>
                  <a:lnTo>
                    <a:pt x="942" y="144"/>
                  </a:lnTo>
                  <a:lnTo>
                    <a:pt x="948" y="144"/>
                  </a:lnTo>
                  <a:lnTo>
                    <a:pt x="960" y="168"/>
                  </a:lnTo>
                  <a:lnTo>
                    <a:pt x="972" y="186"/>
                  </a:lnTo>
                  <a:lnTo>
                    <a:pt x="984" y="192"/>
                  </a:lnTo>
                  <a:lnTo>
                    <a:pt x="996" y="192"/>
                  </a:lnTo>
                  <a:lnTo>
                    <a:pt x="996" y="198"/>
                  </a:lnTo>
                  <a:lnTo>
                    <a:pt x="1008" y="204"/>
                  </a:lnTo>
                  <a:lnTo>
                    <a:pt x="1008" y="210"/>
                  </a:lnTo>
                  <a:lnTo>
                    <a:pt x="1002" y="210"/>
                  </a:lnTo>
                  <a:lnTo>
                    <a:pt x="1008" y="216"/>
                  </a:lnTo>
                  <a:lnTo>
                    <a:pt x="1014" y="210"/>
                  </a:lnTo>
                  <a:lnTo>
                    <a:pt x="1014" y="216"/>
                  </a:lnTo>
                  <a:lnTo>
                    <a:pt x="1020" y="222"/>
                  </a:lnTo>
                  <a:lnTo>
                    <a:pt x="1014" y="228"/>
                  </a:lnTo>
                  <a:lnTo>
                    <a:pt x="1032" y="234"/>
                  </a:lnTo>
                  <a:lnTo>
                    <a:pt x="1044" y="240"/>
                  </a:lnTo>
                  <a:lnTo>
                    <a:pt x="1038" y="246"/>
                  </a:lnTo>
                  <a:lnTo>
                    <a:pt x="1038" y="252"/>
                  </a:lnTo>
                  <a:lnTo>
                    <a:pt x="1038" y="258"/>
                  </a:lnTo>
                  <a:lnTo>
                    <a:pt x="1032" y="264"/>
                  </a:lnTo>
                  <a:lnTo>
                    <a:pt x="1032" y="270"/>
                  </a:lnTo>
                  <a:lnTo>
                    <a:pt x="1032" y="276"/>
                  </a:lnTo>
                  <a:lnTo>
                    <a:pt x="1032" y="282"/>
                  </a:lnTo>
                  <a:lnTo>
                    <a:pt x="1026" y="282"/>
                  </a:lnTo>
                  <a:lnTo>
                    <a:pt x="1026" y="288"/>
                  </a:lnTo>
                  <a:lnTo>
                    <a:pt x="1026" y="294"/>
                  </a:lnTo>
                  <a:lnTo>
                    <a:pt x="1026" y="300"/>
                  </a:lnTo>
                  <a:lnTo>
                    <a:pt x="1026" y="306"/>
                  </a:lnTo>
                  <a:lnTo>
                    <a:pt x="1020" y="318"/>
                  </a:lnTo>
                  <a:lnTo>
                    <a:pt x="1020" y="324"/>
                  </a:lnTo>
                  <a:lnTo>
                    <a:pt x="1014" y="324"/>
                  </a:lnTo>
                  <a:lnTo>
                    <a:pt x="1014" y="330"/>
                  </a:lnTo>
                  <a:lnTo>
                    <a:pt x="1014" y="336"/>
                  </a:lnTo>
                  <a:lnTo>
                    <a:pt x="1008" y="366"/>
                  </a:lnTo>
                  <a:lnTo>
                    <a:pt x="1002" y="366"/>
                  </a:lnTo>
                  <a:lnTo>
                    <a:pt x="984" y="354"/>
                  </a:lnTo>
                  <a:lnTo>
                    <a:pt x="978" y="354"/>
                  </a:lnTo>
                  <a:lnTo>
                    <a:pt x="972" y="354"/>
                  </a:lnTo>
                  <a:lnTo>
                    <a:pt x="966" y="348"/>
                  </a:lnTo>
                  <a:lnTo>
                    <a:pt x="954" y="348"/>
                  </a:lnTo>
                  <a:lnTo>
                    <a:pt x="948" y="348"/>
                  </a:lnTo>
                  <a:lnTo>
                    <a:pt x="948" y="360"/>
                  </a:lnTo>
                  <a:lnTo>
                    <a:pt x="948" y="366"/>
                  </a:lnTo>
                  <a:lnTo>
                    <a:pt x="948" y="372"/>
                  </a:lnTo>
                  <a:lnTo>
                    <a:pt x="948" y="378"/>
                  </a:lnTo>
                  <a:lnTo>
                    <a:pt x="948" y="384"/>
                  </a:lnTo>
                  <a:lnTo>
                    <a:pt x="942" y="384"/>
                  </a:lnTo>
                  <a:lnTo>
                    <a:pt x="942" y="390"/>
                  </a:lnTo>
                  <a:lnTo>
                    <a:pt x="936" y="390"/>
                  </a:lnTo>
                  <a:lnTo>
                    <a:pt x="942" y="390"/>
                  </a:lnTo>
                  <a:lnTo>
                    <a:pt x="936" y="396"/>
                  </a:lnTo>
                  <a:lnTo>
                    <a:pt x="930" y="402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2" y="432"/>
                  </a:lnTo>
                  <a:lnTo>
                    <a:pt x="900" y="450"/>
                  </a:lnTo>
                  <a:lnTo>
                    <a:pt x="894" y="456"/>
                  </a:lnTo>
                  <a:lnTo>
                    <a:pt x="888" y="456"/>
                  </a:lnTo>
                  <a:lnTo>
                    <a:pt x="882" y="456"/>
                  </a:lnTo>
                  <a:lnTo>
                    <a:pt x="876" y="456"/>
                  </a:lnTo>
                  <a:lnTo>
                    <a:pt x="864" y="462"/>
                  </a:lnTo>
                  <a:lnTo>
                    <a:pt x="852" y="474"/>
                  </a:lnTo>
                  <a:lnTo>
                    <a:pt x="846" y="480"/>
                  </a:lnTo>
                  <a:lnTo>
                    <a:pt x="840" y="486"/>
                  </a:lnTo>
                  <a:lnTo>
                    <a:pt x="834" y="498"/>
                  </a:lnTo>
                  <a:lnTo>
                    <a:pt x="828" y="510"/>
                  </a:lnTo>
                  <a:lnTo>
                    <a:pt x="816" y="522"/>
                  </a:lnTo>
                  <a:lnTo>
                    <a:pt x="798" y="540"/>
                  </a:lnTo>
                  <a:lnTo>
                    <a:pt x="780" y="558"/>
                  </a:lnTo>
                  <a:lnTo>
                    <a:pt x="774" y="558"/>
                  </a:lnTo>
                  <a:lnTo>
                    <a:pt x="756" y="576"/>
                  </a:lnTo>
                  <a:lnTo>
                    <a:pt x="732" y="600"/>
                  </a:lnTo>
                  <a:lnTo>
                    <a:pt x="726" y="600"/>
                  </a:lnTo>
                  <a:lnTo>
                    <a:pt x="720" y="606"/>
                  </a:lnTo>
                  <a:lnTo>
                    <a:pt x="714" y="612"/>
                  </a:lnTo>
                  <a:lnTo>
                    <a:pt x="690" y="630"/>
                  </a:lnTo>
                  <a:lnTo>
                    <a:pt x="678" y="636"/>
                  </a:lnTo>
                  <a:lnTo>
                    <a:pt x="672" y="642"/>
                  </a:lnTo>
                  <a:lnTo>
                    <a:pt x="660" y="660"/>
                  </a:lnTo>
                  <a:lnTo>
                    <a:pt x="642" y="666"/>
                  </a:lnTo>
                  <a:lnTo>
                    <a:pt x="636" y="678"/>
                  </a:lnTo>
                  <a:lnTo>
                    <a:pt x="630" y="678"/>
                  </a:lnTo>
                  <a:lnTo>
                    <a:pt x="630" y="684"/>
                  </a:lnTo>
                  <a:lnTo>
                    <a:pt x="630" y="690"/>
                  </a:lnTo>
                  <a:lnTo>
                    <a:pt x="636" y="696"/>
                  </a:lnTo>
                  <a:lnTo>
                    <a:pt x="642" y="696"/>
                  </a:lnTo>
                  <a:lnTo>
                    <a:pt x="648" y="702"/>
                  </a:lnTo>
                  <a:lnTo>
                    <a:pt x="648" y="708"/>
                  </a:lnTo>
                  <a:lnTo>
                    <a:pt x="642" y="708"/>
                  </a:lnTo>
                  <a:lnTo>
                    <a:pt x="636" y="714"/>
                  </a:lnTo>
                  <a:lnTo>
                    <a:pt x="636" y="720"/>
                  </a:lnTo>
                  <a:lnTo>
                    <a:pt x="642" y="726"/>
                  </a:lnTo>
                  <a:lnTo>
                    <a:pt x="636" y="738"/>
                  </a:lnTo>
                  <a:lnTo>
                    <a:pt x="618" y="756"/>
                  </a:lnTo>
                  <a:lnTo>
                    <a:pt x="612" y="750"/>
                  </a:lnTo>
                  <a:lnTo>
                    <a:pt x="612" y="756"/>
                  </a:lnTo>
                  <a:lnTo>
                    <a:pt x="618" y="762"/>
                  </a:lnTo>
                  <a:lnTo>
                    <a:pt x="618" y="768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36" y="786"/>
                  </a:lnTo>
                  <a:lnTo>
                    <a:pt x="642" y="792"/>
                  </a:lnTo>
                  <a:lnTo>
                    <a:pt x="642" y="798"/>
                  </a:lnTo>
                  <a:lnTo>
                    <a:pt x="648" y="804"/>
                  </a:lnTo>
                  <a:lnTo>
                    <a:pt x="654" y="810"/>
                  </a:lnTo>
                  <a:lnTo>
                    <a:pt x="660" y="816"/>
                  </a:lnTo>
                  <a:lnTo>
                    <a:pt x="666" y="816"/>
                  </a:lnTo>
                  <a:lnTo>
                    <a:pt x="666" y="822"/>
                  </a:lnTo>
                  <a:lnTo>
                    <a:pt x="672" y="828"/>
                  </a:lnTo>
                  <a:lnTo>
                    <a:pt x="672" y="840"/>
                  </a:lnTo>
                  <a:lnTo>
                    <a:pt x="672" y="846"/>
                  </a:lnTo>
                  <a:lnTo>
                    <a:pt x="666" y="852"/>
                  </a:lnTo>
                  <a:lnTo>
                    <a:pt x="660" y="864"/>
                  </a:lnTo>
                  <a:lnTo>
                    <a:pt x="654" y="876"/>
                  </a:lnTo>
                  <a:lnTo>
                    <a:pt x="648" y="882"/>
                  </a:lnTo>
                  <a:lnTo>
                    <a:pt x="642" y="888"/>
                  </a:lnTo>
                  <a:lnTo>
                    <a:pt x="642" y="894"/>
                  </a:lnTo>
                  <a:lnTo>
                    <a:pt x="642" y="906"/>
                  </a:lnTo>
                  <a:lnTo>
                    <a:pt x="630" y="918"/>
                  </a:lnTo>
                  <a:lnTo>
                    <a:pt x="630" y="924"/>
                  </a:lnTo>
                  <a:lnTo>
                    <a:pt x="624" y="930"/>
                  </a:lnTo>
                  <a:lnTo>
                    <a:pt x="630" y="936"/>
                  </a:lnTo>
                  <a:lnTo>
                    <a:pt x="630" y="942"/>
                  </a:lnTo>
                  <a:lnTo>
                    <a:pt x="630" y="948"/>
                  </a:lnTo>
                  <a:lnTo>
                    <a:pt x="630" y="954"/>
                  </a:lnTo>
                  <a:lnTo>
                    <a:pt x="630" y="960"/>
                  </a:lnTo>
                  <a:lnTo>
                    <a:pt x="624" y="966"/>
                  </a:lnTo>
                  <a:lnTo>
                    <a:pt x="618" y="990"/>
                  </a:lnTo>
                  <a:lnTo>
                    <a:pt x="618" y="1008"/>
                  </a:lnTo>
                  <a:lnTo>
                    <a:pt x="612" y="1026"/>
                  </a:lnTo>
                  <a:lnTo>
                    <a:pt x="612" y="1038"/>
                  </a:lnTo>
                  <a:lnTo>
                    <a:pt x="612" y="1050"/>
                  </a:lnTo>
                  <a:lnTo>
                    <a:pt x="612" y="1056"/>
                  </a:lnTo>
                  <a:lnTo>
                    <a:pt x="612" y="1062"/>
                  </a:lnTo>
                  <a:lnTo>
                    <a:pt x="612" y="1068"/>
                  </a:lnTo>
                  <a:lnTo>
                    <a:pt x="612" y="1086"/>
                  </a:lnTo>
                  <a:lnTo>
                    <a:pt x="612" y="1092"/>
                  </a:lnTo>
                  <a:lnTo>
                    <a:pt x="606" y="1098"/>
                  </a:lnTo>
                  <a:lnTo>
                    <a:pt x="600" y="1110"/>
                  </a:lnTo>
                  <a:lnTo>
                    <a:pt x="600" y="1116"/>
                  </a:lnTo>
                  <a:lnTo>
                    <a:pt x="594" y="1122"/>
                  </a:lnTo>
                  <a:lnTo>
                    <a:pt x="594" y="1128"/>
                  </a:lnTo>
                  <a:lnTo>
                    <a:pt x="588" y="1134"/>
                  </a:lnTo>
                  <a:lnTo>
                    <a:pt x="582" y="1140"/>
                  </a:lnTo>
                  <a:lnTo>
                    <a:pt x="570" y="1140"/>
                  </a:lnTo>
                  <a:lnTo>
                    <a:pt x="564" y="1146"/>
                  </a:lnTo>
                  <a:lnTo>
                    <a:pt x="570" y="1146"/>
                  </a:lnTo>
                  <a:lnTo>
                    <a:pt x="564" y="1152"/>
                  </a:lnTo>
                  <a:lnTo>
                    <a:pt x="558" y="1158"/>
                  </a:lnTo>
                  <a:lnTo>
                    <a:pt x="552" y="1164"/>
                  </a:lnTo>
                  <a:lnTo>
                    <a:pt x="552" y="1170"/>
                  </a:lnTo>
                  <a:lnTo>
                    <a:pt x="546" y="1176"/>
                  </a:lnTo>
                  <a:lnTo>
                    <a:pt x="546" y="1182"/>
                  </a:lnTo>
                  <a:lnTo>
                    <a:pt x="546" y="1188"/>
                  </a:lnTo>
                  <a:lnTo>
                    <a:pt x="540" y="1188"/>
                  </a:lnTo>
                  <a:lnTo>
                    <a:pt x="540" y="1194"/>
                  </a:lnTo>
                  <a:lnTo>
                    <a:pt x="528" y="1206"/>
                  </a:lnTo>
                  <a:lnTo>
                    <a:pt x="528" y="1212"/>
                  </a:lnTo>
                  <a:lnTo>
                    <a:pt x="534" y="1212"/>
                  </a:lnTo>
                  <a:lnTo>
                    <a:pt x="540" y="1218"/>
                  </a:lnTo>
                  <a:lnTo>
                    <a:pt x="534" y="1218"/>
                  </a:lnTo>
                  <a:lnTo>
                    <a:pt x="528" y="1218"/>
                  </a:lnTo>
                  <a:lnTo>
                    <a:pt x="528" y="1224"/>
                  </a:lnTo>
                  <a:lnTo>
                    <a:pt x="522" y="1230"/>
                  </a:lnTo>
                  <a:lnTo>
                    <a:pt x="516" y="1236"/>
                  </a:lnTo>
                  <a:lnTo>
                    <a:pt x="522" y="1236"/>
                  </a:lnTo>
                  <a:lnTo>
                    <a:pt x="516" y="1242"/>
                  </a:lnTo>
                  <a:lnTo>
                    <a:pt x="510" y="1242"/>
                  </a:lnTo>
                  <a:lnTo>
                    <a:pt x="504" y="1248"/>
                  </a:lnTo>
                  <a:lnTo>
                    <a:pt x="510" y="1260"/>
                  </a:lnTo>
                  <a:lnTo>
                    <a:pt x="504" y="1266"/>
                  </a:lnTo>
                  <a:lnTo>
                    <a:pt x="492" y="1266"/>
                  </a:lnTo>
                  <a:lnTo>
                    <a:pt x="486" y="1272"/>
                  </a:lnTo>
                  <a:lnTo>
                    <a:pt x="486" y="1278"/>
                  </a:lnTo>
                  <a:lnTo>
                    <a:pt x="480" y="1278"/>
                  </a:lnTo>
                  <a:lnTo>
                    <a:pt x="480" y="1284"/>
                  </a:lnTo>
                  <a:lnTo>
                    <a:pt x="480" y="1290"/>
                  </a:lnTo>
                  <a:lnTo>
                    <a:pt x="480" y="1296"/>
                  </a:lnTo>
                  <a:lnTo>
                    <a:pt x="492" y="1302"/>
                  </a:lnTo>
                  <a:lnTo>
                    <a:pt x="492" y="1308"/>
                  </a:lnTo>
                  <a:lnTo>
                    <a:pt x="492" y="1320"/>
                  </a:lnTo>
                  <a:lnTo>
                    <a:pt x="492" y="1332"/>
                  </a:lnTo>
                  <a:lnTo>
                    <a:pt x="498" y="1344"/>
                  </a:lnTo>
                  <a:lnTo>
                    <a:pt x="498" y="1350"/>
                  </a:lnTo>
                  <a:lnTo>
                    <a:pt x="498" y="1356"/>
                  </a:lnTo>
                  <a:lnTo>
                    <a:pt x="504" y="1362"/>
                  </a:lnTo>
                  <a:lnTo>
                    <a:pt x="498" y="1362"/>
                  </a:lnTo>
                  <a:lnTo>
                    <a:pt x="498" y="1368"/>
                  </a:lnTo>
                  <a:lnTo>
                    <a:pt x="492" y="1368"/>
                  </a:lnTo>
                  <a:lnTo>
                    <a:pt x="492" y="1374"/>
                  </a:lnTo>
                  <a:lnTo>
                    <a:pt x="492" y="1380"/>
                  </a:lnTo>
                  <a:lnTo>
                    <a:pt x="498" y="1380"/>
                  </a:lnTo>
                  <a:lnTo>
                    <a:pt x="504" y="1380"/>
                  </a:lnTo>
                  <a:lnTo>
                    <a:pt x="498" y="1386"/>
                  </a:lnTo>
                  <a:lnTo>
                    <a:pt x="498" y="1392"/>
                  </a:lnTo>
                  <a:lnTo>
                    <a:pt x="498" y="1398"/>
                  </a:lnTo>
                  <a:lnTo>
                    <a:pt x="498" y="1404"/>
                  </a:lnTo>
                  <a:lnTo>
                    <a:pt x="498" y="1410"/>
                  </a:lnTo>
                  <a:lnTo>
                    <a:pt x="498" y="1416"/>
                  </a:lnTo>
                  <a:lnTo>
                    <a:pt x="492" y="1416"/>
                  </a:lnTo>
                  <a:lnTo>
                    <a:pt x="498" y="1416"/>
                  </a:lnTo>
                  <a:lnTo>
                    <a:pt x="504" y="1416"/>
                  </a:lnTo>
                  <a:lnTo>
                    <a:pt x="504" y="1422"/>
                  </a:lnTo>
                  <a:lnTo>
                    <a:pt x="510" y="1428"/>
                  </a:lnTo>
                  <a:lnTo>
                    <a:pt x="510" y="1434"/>
                  </a:lnTo>
                  <a:lnTo>
                    <a:pt x="510" y="1440"/>
                  </a:lnTo>
                  <a:lnTo>
                    <a:pt x="516" y="1446"/>
                  </a:lnTo>
                  <a:lnTo>
                    <a:pt x="516" y="1452"/>
                  </a:lnTo>
                  <a:lnTo>
                    <a:pt x="516" y="1458"/>
                  </a:lnTo>
                  <a:lnTo>
                    <a:pt x="516" y="1464"/>
                  </a:lnTo>
                  <a:lnTo>
                    <a:pt x="516" y="1482"/>
                  </a:lnTo>
                  <a:lnTo>
                    <a:pt x="516" y="1488"/>
                  </a:lnTo>
                  <a:lnTo>
                    <a:pt x="522" y="1488"/>
                  </a:lnTo>
                  <a:lnTo>
                    <a:pt x="522" y="1494"/>
                  </a:lnTo>
                  <a:lnTo>
                    <a:pt x="522" y="1500"/>
                  </a:lnTo>
                  <a:lnTo>
                    <a:pt x="516" y="1506"/>
                  </a:lnTo>
                  <a:lnTo>
                    <a:pt x="510" y="1500"/>
                  </a:lnTo>
                  <a:lnTo>
                    <a:pt x="504" y="1500"/>
                  </a:lnTo>
                  <a:lnTo>
                    <a:pt x="504" y="1494"/>
                  </a:lnTo>
                  <a:lnTo>
                    <a:pt x="504" y="1488"/>
                  </a:lnTo>
                  <a:lnTo>
                    <a:pt x="504" y="1482"/>
                  </a:lnTo>
                  <a:lnTo>
                    <a:pt x="504" y="1488"/>
                  </a:lnTo>
                  <a:lnTo>
                    <a:pt x="504" y="1494"/>
                  </a:lnTo>
                  <a:lnTo>
                    <a:pt x="504" y="1500"/>
                  </a:lnTo>
                  <a:lnTo>
                    <a:pt x="498" y="1500"/>
                  </a:lnTo>
                  <a:lnTo>
                    <a:pt x="492" y="1500"/>
                  </a:lnTo>
                  <a:lnTo>
                    <a:pt x="492" y="1494"/>
                  </a:lnTo>
                  <a:lnTo>
                    <a:pt x="492" y="1488"/>
                  </a:lnTo>
                  <a:lnTo>
                    <a:pt x="492" y="1494"/>
                  </a:lnTo>
                  <a:lnTo>
                    <a:pt x="492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00"/>
                  </a:lnTo>
                  <a:lnTo>
                    <a:pt x="510" y="1500"/>
                  </a:lnTo>
                  <a:lnTo>
                    <a:pt x="510" y="1506"/>
                  </a:lnTo>
                  <a:lnTo>
                    <a:pt x="516" y="1506"/>
                  </a:lnTo>
                  <a:lnTo>
                    <a:pt x="510" y="1506"/>
                  </a:lnTo>
                  <a:lnTo>
                    <a:pt x="510" y="1512"/>
                  </a:lnTo>
                  <a:lnTo>
                    <a:pt x="516" y="1506"/>
                  </a:lnTo>
                  <a:lnTo>
                    <a:pt x="522" y="1506"/>
                  </a:lnTo>
                  <a:lnTo>
                    <a:pt x="528" y="1506"/>
                  </a:lnTo>
                  <a:lnTo>
                    <a:pt x="528" y="1500"/>
                  </a:lnTo>
                  <a:lnTo>
                    <a:pt x="534" y="1500"/>
                  </a:lnTo>
                  <a:lnTo>
                    <a:pt x="534" y="1506"/>
                  </a:lnTo>
                  <a:lnTo>
                    <a:pt x="540" y="1512"/>
                  </a:lnTo>
                  <a:lnTo>
                    <a:pt x="540" y="1518"/>
                  </a:lnTo>
                  <a:lnTo>
                    <a:pt x="546" y="1518"/>
                  </a:lnTo>
                  <a:lnTo>
                    <a:pt x="540" y="1518"/>
                  </a:lnTo>
                  <a:lnTo>
                    <a:pt x="540" y="1524"/>
                  </a:lnTo>
                  <a:lnTo>
                    <a:pt x="534" y="1524"/>
                  </a:lnTo>
                  <a:lnTo>
                    <a:pt x="540" y="1524"/>
                  </a:lnTo>
                  <a:lnTo>
                    <a:pt x="546" y="1524"/>
                  </a:lnTo>
                  <a:lnTo>
                    <a:pt x="546" y="1530"/>
                  </a:lnTo>
                  <a:lnTo>
                    <a:pt x="540" y="1530"/>
                  </a:lnTo>
                  <a:lnTo>
                    <a:pt x="540" y="1536"/>
                  </a:lnTo>
                  <a:lnTo>
                    <a:pt x="534" y="1542"/>
                  </a:lnTo>
                  <a:lnTo>
                    <a:pt x="528" y="1542"/>
                  </a:lnTo>
                  <a:lnTo>
                    <a:pt x="522" y="1542"/>
                  </a:lnTo>
                  <a:lnTo>
                    <a:pt x="516" y="1542"/>
                  </a:lnTo>
                  <a:lnTo>
                    <a:pt x="510" y="1542"/>
                  </a:lnTo>
                  <a:lnTo>
                    <a:pt x="504" y="1542"/>
                  </a:lnTo>
                  <a:lnTo>
                    <a:pt x="492" y="1542"/>
                  </a:lnTo>
                  <a:lnTo>
                    <a:pt x="486" y="1536"/>
                  </a:lnTo>
                  <a:lnTo>
                    <a:pt x="480" y="1536"/>
                  </a:lnTo>
                  <a:lnTo>
                    <a:pt x="468" y="1536"/>
                  </a:lnTo>
                  <a:lnTo>
                    <a:pt x="468" y="1542"/>
                  </a:lnTo>
                  <a:lnTo>
                    <a:pt x="462" y="1542"/>
                  </a:lnTo>
                  <a:lnTo>
                    <a:pt x="456" y="1542"/>
                  </a:lnTo>
                  <a:lnTo>
                    <a:pt x="450" y="1542"/>
                  </a:lnTo>
                  <a:lnTo>
                    <a:pt x="444" y="1542"/>
                  </a:lnTo>
                  <a:lnTo>
                    <a:pt x="444" y="1536"/>
                  </a:lnTo>
                  <a:lnTo>
                    <a:pt x="450" y="1536"/>
                  </a:lnTo>
                  <a:lnTo>
                    <a:pt x="456" y="1536"/>
                  </a:lnTo>
                  <a:lnTo>
                    <a:pt x="450" y="1536"/>
                  </a:lnTo>
                  <a:lnTo>
                    <a:pt x="444" y="1536"/>
                  </a:lnTo>
                  <a:lnTo>
                    <a:pt x="444" y="1530"/>
                  </a:lnTo>
                  <a:lnTo>
                    <a:pt x="450" y="1530"/>
                  </a:lnTo>
                  <a:lnTo>
                    <a:pt x="456" y="1524"/>
                  </a:lnTo>
                  <a:lnTo>
                    <a:pt x="456" y="1518"/>
                  </a:lnTo>
                  <a:lnTo>
                    <a:pt x="462" y="1518"/>
                  </a:lnTo>
                  <a:lnTo>
                    <a:pt x="462" y="1524"/>
                  </a:lnTo>
                  <a:lnTo>
                    <a:pt x="468" y="1524"/>
                  </a:lnTo>
                  <a:lnTo>
                    <a:pt x="474" y="1524"/>
                  </a:lnTo>
                  <a:lnTo>
                    <a:pt x="474" y="1518"/>
                  </a:lnTo>
                  <a:lnTo>
                    <a:pt x="480" y="1518"/>
                  </a:lnTo>
                  <a:lnTo>
                    <a:pt x="474" y="1518"/>
                  </a:lnTo>
                  <a:lnTo>
                    <a:pt x="474" y="1524"/>
                  </a:lnTo>
                  <a:lnTo>
                    <a:pt x="468" y="1524"/>
                  </a:lnTo>
                  <a:lnTo>
                    <a:pt x="462" y="1518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62" y="1512"/>
                  </a:lnTo>
                  <a:lnTo>
                    <a:pt x="462" y="1506"/>
                  </a:lnTo>
                  <a:lnTo>
                    <a:pt x="456" y="1506"/>
                  </a:lnTo>
                  <a:lnTo>
                    <a:pt x="456" y="1512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50" y="1518"/>
                  </a:lnTo>
                  <a:lnTo>
                    <a:pt x="444" y="1518"/>
                  </a:lnTo>
                  <a:lnTo>
                    <a:pt x="444" y="1524"/>
                  </a:lnTo>
                  <a:lnTo>
                    <a:pt x="438" y="1524"/>
                  </a:lnTo>
                  <a:lnTo>
                    <a:pt x="438" y="1530"/>
                  </a:lnTo>
                  <a:lnTo>
                    <a:pt x="432" y="1530"/>
                  </a:lnTo>
                  <a:lnTo>
                    <a:pt x="432" y="1536"/>
                  </a:lnTo>
                  <a:lnTo>
                    <a:pt x="426" y="1530"/>
                  </a:lnTo>
                  <a:lnTo>
                    <a:pt x="420" y="1530"/>
                  </a:lnTo>
                  <a:lnTo>
                    <a:pt x="414" y="1530"/>
                  </a:lnTo>
                  <a:lnTo>
                    <a:pt x="414" y="1524"/>
                  </a:lnTo>
                  <a:lnTo>
                    <a:pt x="408" y="1518"/>
                  </a:lnTo>
                  <a:lnTo>
                    <a:pt x="414" y="1512"/>
                  </a:lnTo>
                  <a:lnTo>
                    <a:pt x="408" y="1512"/>
                  </a:lnTo>
                  <a:lnTo>
                    <a:pt x="408" y="1506"/>
                  </a:lnTo>
                  <a:lnTo>
                    <a:pt x="408" y="1500"/>
                  </a:lnTo>
                  <a:lnTo>
                    <a:pt x="408" y="1494"/>
                  </a:lnTo>
                  <a:lnTo>
                    <a:pt x="408" y="1488"/>
                  </a:lnTo>
                  <a:lnTo>
                    <a:pt x="408" y="1494"/>
                  </a:lnTo>
                  <a:lnTo>
                    <a:pt x="414" y="1494"/>
                  </a:lnTo>
                  <a:lnTo>
                    <a:pt x="420" y="1494"/>
                  </a:lnTo>
                  <a:lnTo>
                    <a:pt x="420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82"/>
                  </a:lnTo>
                  <a:lnTo>
                    <a:pt x="426" y="1476"/>
                  </a:lnTo>
                  <a:lnTo>
                    <a:pt x="432" y="1476"/>
                  </a:lnTo>
                  <a:lnTo>
                    <a:pt x="432" y="1470"/>
                  </a:lnTo>
                  <a:lnTo>
                    <a:pt x="438" y="1470"/>
                  </a:lnTo>
                  <a:lnTo>
                    <a:pt x="444" y="1464"/>
                  </a:lnTo>
                  <a:lnTo>
                    <a:pt x="450" y="1458"/>
                  </a:lnTo>
                  <a:lnTo>
                    <a:pt x="456" y="1458"/>
                  </a:lnTo>
                  <a:lnTo>
                    <a:pt x="462" y="1452"/>
                  </a:lnTo>
                  <a:lnTo>
                    <a:pt x="468" y="1452"/>
                  </a:lnTo>
                  <a:lnTo>
                    <a:pt x="468" y="1446"/>
                  </a:lnTo>
                  <a:lnTo>
                    <a:pt x="462" y="1440"/>
                  </a:lnTo>
                  <a:lnTo>
                    <a:pt x="456" y="1434"/>
                  </a:lnTo>
                  <a:lnTo>
                    <a:pt x="456" y="1428"/>
                  </a:lnTo>
                  <a:lnTo>
                    <a:pt x="456" y="1422"/>
                  </a:lnTo>
                  <a:lnTo>
                    <a:pt x="456" y="1416"/>
                  </a:lnTo>
                  <a:lnTo>
                    <a:pt x="450" y="1410"/>
                  </a:lnTo>
                  <a:lnTo>
                    <a:pt x="444" y="1410"/>
                  </a:lnTo>
                  <a:lnTo>
                    <a:pt x="450" y="1410"/>
                  </a:lnTo>
                  <a:lnTo>
                    <a:pt x="450" y="1404"/>
                  </a:lnTo>
                  <a:lnTo>
                    <a:pt x="456" y="1404"/>
                  </a:lnTo>
                  <a:lnTo>
                    <a:pt x="462" y="1404"/>
                  </a:lnTo>
                  <a:lnTo>
                    <a:pt x="468" y="1398"/>
                  </a:lnTo>
                  <a:lnTo>
                    <a:pt x="462" y="1398"/>
                  </a:lnTo>
                  <a:lnTo>
                    <a:pt x="462" y="1392"/>
                  </a:lnTo>
                  <a:lnTo>
                    <a:pt x="456" y="1392"/>
                  </a:lnTo>
                  <a:lnTo>
                    <a:pt x="456" y="1386"/>
                  </a:lnTo>
                  <a:lnTo>
                    <a:pt x="462" y="1386"/>
                  </a:lnTo>
                  <a:lnTo>
                    <a:pt x="468" y="1386"/>
                  </a:lnTo>
                  <a:lnTo>
                    <a:pt x="474" y="1386"/>
                  </a:lnTo>
                  <a:lnTo>
                    <a:pt x="468" y="1386"/>
                  </a:lnTo>
                  <a:lnTo>
                    <a:pt x="462" y="1386"/>
                  </a:lnTo>
                  <a:lnTo>
                    <a:pt x="456" y="1380"/>
                  </a:lnTo>
                  <a:lnTo>
                    <a:pt x="456" y="1374"/>
                  </a:lnTo>
                  <a:lnTo>
                    <a:pt x="462" y="1374"/>
                  </a:lnTo>
                  <a:lnTo>
                    <a:pt x="462" y="1368"/>
                  </a:lnTo>
                  <a:lnTo>
                    <a:pt x="456" y="1374"/>
                  </a:lnTo>
                  <a:lnTo>
                    <a:pt x="456" y="1368"/>
                  </a:lnTo>
                  <a:lnTo>
                    <a:pt x="456" y="1362"/>
                  </a:lnTo>
                  <a:lnTo>
                    <a:pt x="450" y="1362"/>
                  </a:lnTo>
                  <a:lnTo>
                    <a:pt x="450" y="1356"/>
                  </a:lnTo>
                  <a:lnTo>
                    <a:pt x="450" y="1350"/>
                  </a:lnTo>
                  <a:lnTo>
                    <a:pt x="450" y="1344"/>
                  </a:lnTo>
                  <a:lnTo>
                    <a:pt x="456" y="1344"/>
                  </a:lnTo>
                  <a:lnTo>
                    <a:pt x="456" y="1338"/>
                  </a:lnTo>
                  <a:lnTo>
                    <a:pt x="462" y="1338"/>
                  </a:lnTo>
                  <a:lnTo>
                    <a:pt x="462" y="1332"/>
                  </a:lnTo>
                  <a:lnTo>
                    <a:pt x="456" y="1332"/>
                  </a:lnTo>
                  <a:lnTo>
                    <a:pt x="456" y="1326"/>
                  </a:lnTo>
                  <a:lnTo>
                    <a:pt x="450" y="1326"/>
                  </a:lnTo>
                  <a:lnTo>
                    <a:pt x="444" y="1326"/>
                  </a:lnTo>
                  <a:lnTo>
                    <a:pt x="444" y="1332"/>
                  </a:lnTo>
                  <a:lnTo>
                    <a:pt x="438" y="1332"/>
                  </a:lnTo>
                  <a:lnTo>
                    <a:pt x="438" y="1338"/>
                  </a:lnTo>
                  <a:lnTo>
                    <a:pt x="432" y="1338"/>
                  </a:lnTo>
                  <a:lnTo>
                    <a:pt x="432" y="1344"/>
                  </a:lnTo>
                  <a:lnTo>
                    <a:pt x="432" y="1350"/>
                  </a:lnTo>
                  <a:lnTo>
                    <a:pt x="426" y="1356"/>
                  </a:lnTo>
                  <a:lnTo>
                    <a:pt x="426" y="1368"/>
                  </a:lnTo>
                  <a:lnTo>
                    <a:pt x="426" y="1374"/>
                  </a:lnTo>
                  <a:lnTo>
                    <a:pt x="426" y="1380"/>
                  </a:lnTo>
                  <a:lnTo>
                    <a:pt x="432" y="1386"/>
                  </a:lnTo>
                  <a:lnTo>
                    <a:pt x="432" y="1392"/>
                  </a:lnTo>
                  <a:lnTo>
                    <a:pt x="432" y="1398"/>
                  </a:lnTo>
                  <a:lnTo>
                    <a:pt x="426" y="1398"/>
                  </a:lnTo>
                  <a:lnTo>
                    <a:pt x="420" y="1398"/>
                  </a:lnTo>
                  <a:lnTo>
                    <a:pt x="414" y="1398"/>
                  </a:lnTo>
                  <a:lnTo>
                    <a:pt x="420" y="1398"/>
                  </a:lnTo>
                  <a:lnTo>
                    <a:pt x="414" y="1404"/>
                  </a:lnTo>
                  <a:lnTo>
                    <a:pt x="420" y="1404"/>
                  </a:lnTo>
                  <a:lnTo>
                    <a:pt x="414" y="1404"/>
                  </a:lnTo>
                  <a:lnTo>
                    <a:pt x="408" y="1404"/>
                  </a:lnTo>
                  <a:lnTo>
                    <a:pt x="402" y="1410"/>
                  </a:lnTo>
                  <a:lnTo>
                    <a:pt x="402" y="1404"/>
                  </a:lnTo>
                  <a:lnTo>
                    <a:pt x="396" y="1404"/>
                  </a:lnTo>
                  <a:lnTo>
                    <a:pt x="390" y="1404"/>
                  </a:lnTo>
                  <a:lnTo>
                    <a:pt x="384" y="1404"/>
                  </a:lnTo>
                  <a:lnTo>
                    <a:pt x="384" y="1398"/>
                  </a:lnTo>
                  <a:lnTo>
                    <a:pt x="384" y="1392"/>
                  </a:lnTo>
                  <a:lnTo>
                    <a:pt x="390" y="1392"/>
                  </a:lnTo>
                  <a:lnTo>
                    <a:pt x="390" y="1386"/>
                  </a:lnTo>
                  <a:lnTo>
                    <a:pt x="390" y="1380"/>
                  </a:lnTo>
                  <a:lnTo>
                    <a:pt x="396" y="1380"/>
                  </a:lnTo>
                  <a:lnTo>
                    <a:pt x="402" y="1380"/>
                  </a:lnTo>
                  <a:lnTo>
                    <a:pt x="408" y="1380"/>
                  </a:lnTo>
                  <a:lnTo>
                    <a:pt x="408" y="1374"/>
                  </a:lnTo>
                  <a:lnTo>
                    <a:pt x="414" y="1374"/>
                  </a:lnTo>
                  <a:lnTo>
                    <a:pt x="414" y="1368"/>
                  </a:lnTo>
                  <a:lnTo>
                    <a:pt x="414" y="1362"/>
                  </a:lnTo>
                  <a:lnTo>
                    <a:pt x="414" y="1368"/>
                  </a:lnTo>
                  <a:lnTo>
                    <a:pt x="414" y="1374"/>
                  </a:lnTo>
                  <a:lnTo>
                    <a:pt x="408" y="1374"/>
                  </a:lnTo>
                  <a:lnTo>
                    <a:pt x="402" y="1380"/>
                  </a:lnTo>
                  <a:lnTo>
                    <a:pt x="396" y="1380"/>
                  </a:lnTo>
                  <a:lnTo>
                    <a:pt x="396" y="1374"/>
                  </a:lnTo>
                  <a:lnTo>
                    <a:pt x="390" y="1374"/>
                  </a:lnTo>
                  <a:lnTo>
                    <a:pt x="390" y="1368"/>
                  </a:lnTo>
                  <a:lnTo>
                    <a:pt x="384" y="1368"/>
                  </a:lnTo>
                  <a:lnTo>
                    <a:pt x="384" y="1374"/>
                  </a:lnTo>
                  <a:lnTo>
                    <a:pt x="378" y="1374"/>
                  </a:lnTo>
                  <a:lnTo>
                    <a:pt x="378" y="1380"/>
                  </a:lnTo>
                  <a:lnTo>
                    <a:pt x="372" y="1380"/>
                  </a:lnTo>
                  <a:lnTo>
                    <a:pt x="366" y="1386"/>
                  </a:lnTo>
                  <a:lnTo>
                    <a:pt x="360" y="1386"/>
                  </a:lnTo>
                  <a:lnTo>
                    <a:pt x="354" y="1386"/>
                  </a:lnTo>
                  <a:lnTo>
                    <a:pt x="354" y="1380"/>
                  </a:lnTo>
                  <a:lnTo>
                    <a:pt x="348" y="1380"/>
                  </a:lnTo>
                  <a:lnTo>
                    <a:pt x="342" y="1380"/>
                  </a:lnTo>
                  <a:lnTo>
                    <a:pt x="342" y="1374"/>
                  </a:lnTo>
                  <a:lnTo>
                    <a:pt x="336" y="1368"/>
                  </a:lnTo>
                  <a:lnTo>
                    <a:pt x="342" y="1368"/>
                  </a:lnTo>
                  <a:lnTo>
                    <a:pt x="342" y="1362"/>
                  </a:lnTo>
                  <a:lnTo>
                    <a:pt x="348" y="1362"/>
                  </a:lnTo>
                  <a:lnTo>
                    <a:pt x="354" y="1362"/>
                  </a:lnTo>
                  <a:lnTo>
                    <a:pt x="354" y="1356"/>
                  </a:lnTo>
                  <a:lnTo>
                    <a:pt x="348" y="1356"/>
                  </a:lnTo>
                  <a:lnTo>
                    <a:pt x="348" y="1350"/>
                  </a:lnTo>
                  <a:lnTo>
                    <a:pt x="348" y="1344"/>
                  </a:lnTo>
                  <a:lnTo>
                    <a:pt x="354" y="1338"/>
                  </a:lnTo>
                  <a:lnTo>
                    <a:pt x="354" y="1332"/>
                  </a:lnTo>
                  <a:lnTo>
                    <a:pt x="354" y="1326"/>
                  </a:lnTo>
                  <a:lnTo>
                    <a:pt x="354" y="1320"/>
                  </a:lnTo>
                  <a:lnTo>
                    <a:pt x="354" y="1314"/>
                  </a:lnTo>
                  <a:lnTo>
                    <a:pt x="354" y="1308"/>
                  </a:lnTo>
                  <a:lnTo>
                    <a:pt x="348" y="1308"/>
                  </a:lnTo>
                  <a:lnTo>
                    <a:pt x="348" y="1302"/>
                  </a:lnTo>
                  <a:lnTo>
                    <a:pt x="342" y="1296"/>
                  </a:lnTo>
                  <a:lnTo>
                    <a:pt x="336" y="1296"/>
                  </a:lnTo>
                  <a:lnTo>
                    <a:pt x="336" y="1290"/>
                  </a:lnTo>
                  <a:lnTo>
                    <a:pt x="330" y="1290"/>
                  </a:lnTo>
                  <a:lnTo>
                    <a:pt x="324" y="1290"/>
                  </a:lnTo>
                  <a:lnTo>
                    <a:pt x="324" y="1284"/>
                  </a:lnTo>
                  <a:lnTo>
                    <a:pt x="318" y="1284"/>
                  </a:lnTo>
                  <a:lnTo>
                    <a:pt x="318" y="1278"/>
                  </a:lnTo>
                  <a:lnTo>
                    <a:pt x="312" y="1278"/>
                  </a:lnTo>
                  <a:lnTo>
                    <a:pt x="312" y="1272"/>
                  </a:lnTo>
                  <a:lnTo>
                    <a:pt x="312" y="1278"/>
                  </a:lnTo>
                  <a:lnTo>
                    <a:pt x="318" y="1284"/>
                  </a:lnTo>
                  <a:lnTo>
                    <a:pt x="324" y="1290"/>
                  </a:lnTo>
                  <a:lnTo>
                    <a:pt x="330" y="1290"/>
                  </a:lnTo>
                  <a:lnTo>
                    <a:pt x="330" y="1296"/>
                  </a:lnTo>
                  <a:lnTo>
                    <a:pt x="336" y="1296"/>
                  </a:lnTo>
                  <a:lnTo>
                    <a:pt x="336" y="1302"/>
                  </a:lnTo>
                  <a:lnTo>
                    <a:pt x="342" y="1302"/>
                  </a:lnTo>
                  <a:lnTo>
                    <a:pt x="348" y="1302"/>
                  </a:lnTo>
                  <a:lnTo>
                    <a:pt x="348" y="1308"/>
                  </a:lnTo>
                  <a:lnTo>
                    <a:pt x="348" y="1314"/>
                  </a:lnTo>
                  <a:lnTo>
                    <a:pt x="354" y="1314"/>
                  </a:lnTo>
                  <a:lnTo>
                    <a:pt x="354" y="1320"/>
                  </a:lnTo>
                  <a:lnTo>
                    <a:pt x="354" y="1326"/>
                  </a:lnTo>
                  <a:lnTo>
                    <a:pt x="348" y="1326"/>
                  </a:lnTo>
                  <a:lnTo>
                    <a:pt x="348" y="1332"/>
                  </a:lnTo>
                  <a:lnTo>
                    <a:pt x="348" y="1338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2" y="1350"/>
                  </a:lnTo>
                  <a:lnTo>
                    <a:pt x="336" y="1350"/>
                  </a:lnTo>
                  <a:lnTo>
                    <a:pt x="330" y="1350"/>
                  </a:lnTo>
                  <a:lnTo>
                    <a:pt x="330" y="1356"/>
                  </a:lnTo>
                  <a:lnTo>
                    <a:pt x="330" y="1350"/>
                  </a:lnTo>
                  <a:lnTo>
                    <a:pt x="324" y="1350"/>
                  </a:lnTo>
                  <a:lnTo>
                    <a:pt x="318" y="1344"/>
                  </a:lnTo>
                  <a:lnTo>
                    <a:pt x="318" y="1350"/>
                  </a:lnTo>
                  <a:lnTo>
                    <a:pt x="312" y="1344"/>
                  </a:lnTo>
                  <a:lnTo>
                    <a:pt x="312" y="1338"/>
                  </a:lnTo>
                  <a:lnTo>
                    <a:pt x="306" y="1338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6" y="1326"/>
                  </a:lnTo>
                  <a:lnTo>
                    <a:pt x="306" y="1320"/>
                  </a:lnTo>
                  <a:lnTo>
                    <a:pt x="306" y="1326"/>
                  </a:lnTo>
                  <a:lnTo>
                    <a:pt x="312" y="1326"/>
                  </a:lnTo>
                  <a:lnTo>
                    <a:pt x="312" y="1320"/>
                  </a:lnTo>
                  <a:lnTo>
                    <a:pt x="306" y="1320"/>
                  </a:lnTo>
                  <a:lnTo>
                    <a:pt x="300" y="1320"/>
                  </a:lnTo>
                  <a:lnTo>
                    <a:pt x="294" y="1320"/>
                  </a:lnTo>
                  <a:lnTo>
                    <a:pt x="294" y="1314"/>
                  </a:lnTo>
                  <a:lnTo>
                    <a:pt x="288" y="1314"/>
                  </a:lnTo>
                  <a:lnTo>
                    <a:pt x="288" y="1308"/>
                  </a:lnTo>
                  <a:lnTo>
                    <a:pt x="288" y="1302"/>
                  </a:lnTo>
                  <a:lnTo>
                    <a:pt x="294" y="1302"/>
                  </a:lnTo>
                  <a:lnTo>
                    <a:pt x="294" y="1296"/>
                  </a:lnTo>
                  <a:lnTo>
                    <a:pt x="288" y="1296"/>
                  </a:lnTo>
                  <a:lnTo>
                    <a:pt x="288" y="1290"/>
                  </a:lnTo>
                  <a:lnTo>
                    <a:pt x="288" y="1296"/>
                  </a:lnTo>
                  <a:lnTo>
                    <a:pt x="294" y="1302"/>
                  </a:lnTo>
                  <a:lnTo>
                    <a:pt x="288" y="1302"/>
                  </a:lnTo>
                  <a:lnTo>
                    <a:pt x="282" y="1296"/>
                  </a:lnTo>
                  <a:lnTo>
                    <a:pt x="276" y="1296"/>
                  </a:lnTo>
                  <a:lnTo>
                    <a:pt x="276" y="1290"/>
                  </a:lnTo>
                  <a:lnTo>
                    <a:pt x="270" y="1290"/>
                  </a:lnTo>
                  <a:lnTo>
                    <a:pt x="264" y="1284"/>
                  </a:lnTo>
                  <a:lnTo>
                    <a:pt x="264" y="1278"/>
                  </a:lnTo>
                  <a:lnTo>
                    <a:pt x="264" y="1272"/>
                  </a:lnTo>
                  <a:lnTo>
                    <a:pt x="264" y="1266"/>
                  </a:lnTo>
                  <a:lnTo>
                    <a:pt x="258" y="1266"/>
                  </a:lnTo>
                  <a:lnTo>
                    <a:pt x="252" y="1266"/>
                  </a:lnTo>
                  <a:lnTo>
                    <a:pt x="246" y="1260"/>
                  </a:lnTo>
                  <a:lnTo>
                    <a:pt x="240" y="1254"/>
                  </a:lnTo>
                  <a:lnTo>
                    <a:pt x="240" y="1260"/>
                  </a:lnTo>
                  <a:lnTo>
                    <a:pt x="240" y="1266"/>
                  </a:lnTo>
                  <a:lnTo>
                    <a:pt x="240" y="1272"/>
                  </a:lnTo>
                  <a:lnTo>
                    <a:pt x="246" y="1272"/>
                  </a:lnTo>
                  <a:lnTo>
                    <a:pt x="246" y="1278"/>
                  </a:lnTo>
                  <a:lnTo>
                    <a:pt x="246" y="1284"/>
                  </a:lnTo>
                  <a:lnTo>
                    <a:pt x="252" y="1284"/>
                  </a:lnTo>
                  <a:lnTo>
                    <a:pt x="252" y="1290"/>
                  </a:lnTo>
                  <a:lnTo>
                    <a:pt x="258" y="1296"/>
                  </a:lnTo>
                  <a:lnTo>
                    <a:pt x="264" y="1302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58" y="1314"/>
                  </a:lnTo>
                  <a:lnTo>
                    <a:pt x="258" y="1308"/>
                  </a:lnTo>
                  <a:lnTo>
                    <a:pt x="252" y="1308"/>
                  </a:lnTo>
                  <a:lnTo>
                    <a:pt x="252" y="1302"/>
                  </a:lnTo>
                  <a:lnTo>
                    <a:pt x="246" y="1302"/>
                  </a:lnTo>
                  <a:lnTo>
                    <a:pt x="246" y="1296"/>
                  </a:lnTo>
                  <a:lnTo>
                    <a:pt x="240" y="1296"/>
                  </a:lnTo>
                  <a:lnTo>
                    <a:pt x="240" y="1290"/>
                  </a:lnTo>
                  <a:lnTo>
                    <a:pt x="234" y="1284"/>
                  </a:lnTo>
                  <a:lnTo>
                    <a:pt x="234" y="1278"/>
                  </a:lnTo>
                  <a:close/>
                  <a:moveTo>
                    <a:pt x="444" y="1332"/>
                  </a:moveTo>
                  <a:lnTo>
                    <a:pt x="450" y="1326"/>
                  </a:lnTo>
                  <a:lnTo>
                    <a:pt x="456" y="1326"/>
                  </a:lnTo>
                  <a:lnTo>
                    <a:pt x="456" y="1332"/>
                  </a:lnTo>
                  <a:lnTo>
                    <a:pt x="456" y="1338"/>
                  </a:lnTo>
                  <a:lnTo>
                    <a:pt x="450" y="1338"/>
                  </a:lnTo>
                  <a:lnTo>
                    <a:pt x="444" y="1338"/>
                  </a:lnTo>
                  <a:lnTo>
                    <a:pt x="444" y="1332"/>
                  </a:lnTo>
                  <a:close/>
                  <a:moveTo>
                    <a:pt x="444" y="1368"/>
                  </a:moveTo>
                  <a:lnTo>
                    <a:pt x="456" y="1368"/>
                  </a:lnTo>
                  <a:lnTo>
                    <a:pt x="456" y="1374"/>
                  </a:lnTo>
                  <a:lnTo>
                    <a:pt x="444" y="1374"/>
                  </a:lnTo>
                  <a:lnTo>
                    <a:pt x="444" y="1368"/>
                  </a:lnTo>
                  <a:close/>
                  <a:moveTo>
                    <a:pt x="444" y="1386"/>
                  </a:moveTo>
                  <a:lnTo>
                    <a:pt x="444" y="1380"/>
                  </a:lnTo>
                  <a:lnTo>
                    <a:pt x="444" y="1374"/>
                  </a:lnTo>
                  <a:lnTo>
                    <a:pt x="444" y="1380"/>
                  </a:lnTo>
                  <a:lnTo>
                    <a:pt x="450" y="1380"/>
                  </a:lnTo>
                  <a:lnTo>
                    <a:pt x="456" y="1380"/>
                  </a:lnTo>
                  <a:lnTo>
                    <a:pt x="456" y="1386"/>
                  </a:lnTo>
                  <a:lnTo>
                    <a:pt x="456" y="1392"/>
                  </a:lnTo>
                  <a:lnTo>
                    <a:pt x="462" y="1392"/>
                  </a:lnTo>
                  <a:lnTo>
                    <a:pt x="462" y="1398"/>
                  </a:lnTo>
                  <a:lnTo>
                    <a:pt x="462" y="1404"/>
                  </a:lnTo>
                  <a:lnTo>
                    <a:pt x="456" y="1404"/>
                  </a:lnTo>
                  <a:lnTo>
                    <a:pt x="450" y="1404"/>
                  </a:lnTo>
                  <a:lnTo>
                    <a:pt x="450" y="1398"/>
                  </a:lnTo>
                  <a:lnTo>
                    <a:pt x="444" y="1398"/>
                  </a:lnTo>
                  <a:lnTo>
                    <a:pt x="444" y="1392"/>
                  </a:lnTo>
                  <a:lnTo>
                    <a:pt x="444" y="1386"/>
                  </a:lnTo>
                  <a:close/>
                  <a:moveTo>
                    <a:pt x="438" y="1362"/>
                  </a:moveTo>
                  <a:lnTo>
                    <a:pt x="444" y="1356"/>
                  </a:lnTo>
                  <a:lnTo>
                    <a:pt x="450" y="1356"/>
                  </a:lnTo>
                  <a:lnTo>
                    <a:pt x="450" y="1362"/>
                  </a:lnTo>
                  <a:lnTo>
                    <a:pt x="450" y="1368"/>
                  </a:lnTo>
                  <a:lnTo>
                    <a:pt x="444" y="1368"/>
                  </a:lnTo>
                  <a:lnTo>
                    <a:pt x="444" y="1362"/>
                  </a:lnTo>
                  <a:lnTo>
                    <a:pt x="438" y="1362"/>
                  </a:lnTo>
                  <a:close/>
                  <a:moveTo>
                    <a:pt x="438" y="1350"/>
                  </a:moveTo>
                  <a:lnTo>
                    <a:pt x="438" y="1344"/>
                  </a:lnTo>
                  <a:lnTo>
                    <a:pt x="438" y="1338"/>
                  </a:lnTo>
                  <a:lnTo>
                    <a:pt x="444" y="1338"/>
                  </a:lnTo>
                  <a:lnTo>
                    <a:pt x="450" y="1338"/>
                  </a:lnTo>
                  <a:lnTo>
                    <a:pt x="456" y="1338"/>
                  </a:lnTo>
                  <a:lnTo>
                    <a:pt x="450" y="1344"/>
                  </a:lnTo>
                  <a:lnTo>
                    <a:pt x="444" y="1350"/>
                  </a:lnTo>
                  <a:lnTo>
                    <a:pt x="438" y="1350"/>
                  </a:lnTo>
                  <a:close/>
                  <a:moveTo>
                    <a:pt x="432" y="1380"/>
                  </a:moveTo>
                  <a:lnTo>
                    <a:pt x="432" y="1368"/>
                  </a:lnTo>
                  <a:lnTo>
                    <a:pt x="432" y="1362"/>
                  </a:lnTo>
                  <a:lnTo>
                    <a:pt x="432" y="1356"/>
                  </a:lnTo>
                  <a:lnTo>
                    <a:pt x="438" y="1356"/>
                  </a:lnTo>
                  <a:lnTo>
                    <a:pt x="438" y="1362"/>
                  </a:lnTo>
                  <a:lnTo>
                    <a:pt x="438" y="1368"/>
                  </a:lnTo>
                  <a:lnTo>
                    <a:pt x="438" y="1374"/>
                  </a:lnTo>
                  <a:lnTo>
                    <a:pt x="438" y="1380"/>
                  </a:lnTo>
                  <a:lnTo>
                    <a:pt x="438" y="1386"/>
                  </a:lnTo>
                  <a:lnTo>
                    <a:pt x="438" y="1380"/>
                  </a:lnTo>
                  <a:lnTo>
                    <a:pt x="432" y="1380"/>
                  </a:lnTo>
                  <a:close/>
                  <a:moveTo>
                    <a:pt x="246" y="1272"/>
                  </a:moveTo>
                  <a:lnTo>
                    <a:pt x="252" y="1272"/>
                  </a:lnTo>
                  <a:lnTo>
                    <a:pt x="252" y="1278"/>
                  </a:lnTo>
                  <a:lnTo>
                    <a:pt x="246" y="1278"/>
                  </a:lnTo>
                  <a:lnTo>
                    <a:pt x="246" y="1272"/>
                  </a:lnTo>
                  <a:close/>
                  <a:moveTo>
                    <a:pt x="426" y="1416"/>
                  </a:moveTo>
                  <a:lnTo>
                    <a:pt x="432" y="1410"/>
                  </a:lnTo>
                  <a:lnTo>
                    <a:pt x="438" y="1410"/>
                  </a:lnTo>
                  <a:lnTo>
                    <a:pt x="438" y="1416"/>
                  </a:lnTo>
                  <a:lnTo>
                    <a:pt x="438" y="1422"/>
                  </a:lnTo>
                  <a:lnTo>
                    <a:pt x="432" y="1422"/>
                  </a:lnTo>
                  <a:lnTo>
                    <a:pt x="426" y="1422"/>
                  </a:lnTo>
                  <a:lnTo>
                    <a:pt x="426" y="1416"/>
                  </a:lnTo>
                  <a:close/>
                  <a:moveTo>
                    <a:pt x="246" y="1266"/>
                  </a:moveTo>
                  <a:lnTo>
                    <a:pt x="252" y="1266"/>
                  </a:lnTo>
                  <a:lnTo>
                    <a:pt x="258" y="1272"/>
                  </a:lnTo>
                  <a:lnTo>
                    <a:pt x="258" y="1278"/>
                  </a:lnTo>
                  <a:lnTo>
                    <a:pt x="258" y="1284"/>
                  </a:lnTo>
                  <a:lnTo>
                    <a:pt x="252" y="1284"/>
                  </a:lnTo>
                  <a:lnTo>
                    <a:pt x="252" y="1278"/>
                  </a:lnTo>
                  <a:lnTo>
                    <a:pt x="252" y="1272"/>
                  </a:lnTo>
                  <a:lnTo>
                    <a:pt x="252" y="1266"/>
                  </a:lnTo>
                  <a:lnTo>
                    <a:pt x="246" y="1266"/>
                  </a:lnTo>
                  <a:close/>
                  <a:moveTo>
                    <a:pt x="408" y="1458"/>
                  </a:moveTo>
                  <a:lnTo>
                    <a:pt x="408" y="1452"/>
                  </a:lnTo>
                  <a:lnTo>
                    <a:pt x="414" y="1452"/>
                  </a:lnTo>
                  <a:lnTo>
                    <a:pt x="414" y="1446"/>
                  </a:lnTo>
                  <a:lnTo>
                    <a:pt x="414" y="1440"/>
                  </a:lnTo>
                  <a:lnTo>
                    <a:pt x="420" y="1440"/>
                  </a:lnTo>
                  <a:lnTo>
                    <a:pt x="420" y="1434"/>
                  </a:lnTo>
                  <a:lnTo>
                    <a:pt x="420" y="1428"/>
                  </a:lnTo>
                  <a:lnTo>
                    <a:pt x="420" y="1422"/>
                  </a:lnTo>
                  <a:lnTo>
                    <a:pt x="426" y="1422"/>
                  </a:lnTo>
                  <a:lnTo>
                    <a:pt x="432" y="1428"/>
                  </a:lnTo>
                  <a:lnTo>
                    <a:pt x="438" y="1428"/>
                  </a:lnTo>
                  <a:lnTo>
                    <a:pt x="438" y="1434"/>
                  </a:lnTo>
                  <a:lnTo>
                    <a:pt x="438" y="1428"/>
                  </a:lnTo>
                  <a:lnTo>
                    <a:pt x="438" y="1422"/>
                  </a:lnTo>
                  <a:lnTo>
                    <a:pt x="444" y="1416"/>
                  </a:lnTo>
                  <a:lnTo>
                    <a:pt x="444" y="1410"/>
                  </a:lnTo>
                  <a:lnTo>
                    <a:pt x="450" y="1416"/>
                  </a:lnTo>
                  <a:lnTo>
                    <a:pt x="456" y="1416"/>
                  </a:lnTo>
                  <a:lnTo>
                    <a:pt x="456" y="1422"/>
                  </a:lnTo>
                  <a:lnTo>
                    <a:pt x="456" y="1428"/>
                  </a:lnTo>
                  <a:lnTo>
                    <a:pt x="456" y="1434"/>
                  </a:lnTo>
                  <a:lnTo>
                    <a:pt x="456" y="1440"/>
                  </a:lnTo>
                  <a:lnTo>
                    <a:pt x="462" y="1440"/>
                  </a:lnTo>
                  <a:lnTo>
                    <a:pt x="462" y="1446"/>
                  </a:lnTo>
                  <a:lnTo>
                    <a:pt x="462" y="1452"/>
                  </a:lnTo>
                  <a:lnTo>
                    <a:pt x="456" y="1452"/>
                  </a:lnTo>
                  <a:lnTo>
                    <a:pt x="450" y="1452"/>
                  </a:lnTo>
                  <a:lnTo>
                    <a:pt x="444" y="1446"/>
                  </a:lnTo>
                  <a:lnTo>
                    <a:pt x="444" y="1452"/>
                  </a:lnTo>
                  <a:lnTo>
                    <a:pt x="450" y="1452"/>
                  </a:lnTo>
                  <a:lnTo>
                    <a:pt x="450" y="1458"/>
                  </a:lnTo>
                  <a:lnTo>
                    <a:pt x="444" y="1458"/>
                  </a:lnTo>
                  <a:lnTo>
                    <a:pt x="438" y="1464"/>
                  </a:lnTo>
                  <a:lnTo>
                    <a:pt x="438" y="1458"/>
                  </a:lnTo>
                  <a:lnTo>
                    <a:pt x="432" y="1458"/>
                  </a:lnTo>
                  <a:lnTo>
                    <a:pt x="426" y="1458"/>
                  </a:lnTo>
                  <a:lnTo>
                    <a:pt x="432" y="1458"/>
                  </a:lnTo>
                  <a:lnTo>
                    <a:pt x="438" y="1464"/>
                  </a:lnTo>
                  <a:lnTo>
                    <a:pt x="432" y="1464"/>
                  </a:lnTo>
                  <a:lnTo>
                    <a:pt x="432" y="1470"/>
                  </a:lnTo>
                  <a:lnTo>
                    <a:pt x="426" y="1470"/>
                  </a:lnTo>
                  <a:lnTo>
                    <a:pt x="420" y="1476"/>
                  </a:lnTo>
                  <a:lnTo>
                    <a:pt x="420" y="1470"/>
                  </a:lnTo>
                  <a:lnTo>
                    <a:pt x="414" y="1470"/>
                  </a:lnTo>
                  <a:lnTo>
                    <a:pt x="414" y="1464"/>
                  </a:lnTo>
                  <a:lnTo>
                    <a:pt x="414" y="1458"/>
                  </a:lnTo>
                  <a:lnTo>
                    <a:pt x="408" y="1458"/>
                  </a:lnTo>
                  <a:close/>
                  <a:moveTo>
                    <a:pt x="270" y="1326"/>
                  </a:moveTo>
                  <a:lnTo>
                    <a:pt x="270" y="1320"/>
                  </a:lnTo>
                  <a:lnTo>
                    <a:pt x="276" y="1320"/>
                  </a:lnTo>
                  <a:lnTo>
                    <a:pt x="282" y="1326"/>
                  </a:lnTo>
                  <a:lnTo>
                    <a:pt x="288" y="1326"/>
                  </a:lnTo>
                  <a:lnTo>
                    <a:pt x="288" y="1332"/>
                  </a:lnTo>
                  <a:lnTo>
                    <a:pt x="288" y="1338"/>
                  </a:lnTo>
                  <a:lnTo>
                    <a:pt x="288" y="1344"/>
                  </a:lnTo>
                  <a:lnTo>
                    <a:pt x="282" y="1344"/>
                  </a:lnTo>
                  <a:lnTo>
                    <a:pt x="282" y="1338"/>
                  </a:lnTo>
                  <a:lnTo>
                    <a:pt x="276" y="1338"/>
                  </a:lnTo>
                  <a:lnTo>
                    <a:pt x="276" y="1332"/>
                  </a:lnTo>
                  <a:lnTo>
                    <a:pt x="270" y="1332"/>
                  </a:lnTo>
                  <a:lnTo>
                    <a:pt x="270" y="1326"/>
                  </a:lnTo>
                  <a:close/>
                  <a:moveTo>
                    <a:pt x="288" y="1458"/>
                  </a:moveTo>
                  <a:lnTo>
                    <a:pt x="294" y="1458"/>
                  </a:lnTo>
                  <a:lnTo>
                    <a:pt x="294" y="1452"/>
                  </a:lnTo>
                  <a:lnTo>
                    <a:pt x="294" y="1446"/>
                  </a:lnTo>
                  <a:lnTo>
                    <a:pt x="300" y="1446"/>
                  </a:lnTo>
                  <a:lnTo>
                    <a:pt x="300" y="1440"/>
                  </a:lnTo>
                  <a:lnTo>
                    <a:pt x="306" y="1440"/>
                  </a:lnTo>
                  <a:lnTo>
                    <a:pt x="306" y="1446"/>
                  </a:lnTo>
                  <a:lnTo>
                    <a:pt x="312" y="1452"/>
                  </a:lnTo>
                  <a:lnTo>
                    <a:pt x="306" y="1452"/>
                  </a:lnTo>
                  <a:lnTo>
                    <a:pt x="306" y="1458"/>
                  </a:lnTo>
                  <a:lnTo>
                    <a:pt x="312" y="1464"/>
                  </a:lnTo>
                  <a:lnTo>
                    <a:pt x="306" y="1464"/>
                  </a:lnTo>
                  <a:lnTo>
                    <a:pt x="306" y="1470"/>
                  </a:lnTo>
                  <a:lnTo>
                    <a:pt x="300" y="1476"/>
                  </a:lnTo>
                  <a:lnTo>
                    <a:pt x="294" y="1476"/>
                  </a:lnTo>
                  <a:lnTo>
                    <a:pt x="294" y="1470"/>
                  </a:lnTo>
                  <a:lnTo>
                    <a:pt x="288" y="1470"/>
                  </a:lnTo>
                  <a:lnTo>
                    <a:pt x="288" y="1464"/>
                  </a:lnTo>
                  <a:lnTo>
                    <a:pt x="288" y="1458"/>
                  </a:lnTo>
                  <a:close/>
                  <a:moveTo>
                    <a:pt x="270" y="1296"/>
                  </a:moveTo>
                  <a:lnTo>
                    <a:pt x="276" y="1296"/>
                  </a:lnTo>
                  <a:lnTo>
                    <a:pt x="282" y="1296"/>
                  </a:lnTo>
                  <a:lnTo>
                    <a:pt x="288" y="1296"/>
                  </a:lnTo>
                  <a:lnTo>
                    <a:pt x="288" y="1302"/>
                  </a:lnTo>
                  <a:lnTo>
                    <a:pt x="282" y="1308"/>
                  </a:lnTo>
                  <a:lnTo>
                    <a:pt x="276" y="1308"/>
                  </a:lnTo>
                  <a:lnTo>
                    <a:pt x="276" y="1302"/>
                  </a:lnTo>
                  <a:lnTo>
                    <a:pt x="270" y="12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4" name="Freeform 19">
              <a:extLst>
                <a:ext uri="{FF2B5EF4-FFF2-40B4-BE49-F238E27FC236}">
                  <a16:creationId xmlns:a16="http://schemas.microsoft.com/office/drawing/2014/main" id="{5B9020B8-E1C1-4611-A248-9642BBD69C9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7043" y="3765821"/>
              <a:ext cx="333193" cy="398097"/>
            </a:xfrm>
            <a:custGeom>
              <a:avLst/>
              <a:gdLst>
                <a:gd name="T0" fmla="*/ 30 w 624"/>
                <a:gd name="T1" fmla="*/ 61 h 750"/>
                <a:gd name="T2" fmla="*/ 27 w 624"/>
                <a:gd name="T3" fmla="*/ 62 h 750"/>
                <a:gd name="T4" fmla="*/ 23 w 624"/>
                <a:gd name="T5" fmla="*/ 59 h 750"/>
                <a:gd name="T6" fmla="*/ 20 w 624"/>
                <a:gd name="T7" fmla="*/ 58 h 750"/>
                <a:gd name="T8" fmla="*/ 19 w 624"/>
                <a:gd name="T9" fmla="*/ 56 h 750"/>
                <a:gd name="T10" fmla="*/ 17 w 624"/>
                <a:gd name="T11" fmla="*/ 55 h 750"/>
                <a:gd name="T12" fmla="*/ 16 w 624"/>
                <a:gd name="T13" fmla="*/ 51 h 750"/>
                <a:gd name="T14" fmla="*/ 14 w 624"/>
                <a:gd name="T15" fmla="*/ 48 h 750"/>
                <a:gd name="T16" fmla="*/ 12 w 624"/>
                <a:gd name="T17" fmla="*/ 46 h 750"/>
                <a:gd name="T18" fmla="*/ 12 w 624"/>
                <a:gd name="T19" fmla="*/ 44 h 750"/>
                <a:gd name="T20" fmla="*/ 11 w 624"/>
                <a:gd name="T21" fmla="*/ 41 h 750"/>
                <a:gd name="T22" fmla="*/ 8 w 624"/>
                <a:gd name="T23" fmla="*/ 38 h 750"/>
                <a:gd name="T24" fmla="*/ 6 w 624"/>
                <a:gd name="T25" fmla="*/ 38 h 750"/>
                <a:gd name="T26" fmla="*/ 6 w 624"/>
                <a:gd name="T27" fmla="*/ 35 h 750"/>
                <a:gd name="T28" fmla="*/ 7 w 624"/>
                <a:gd name="T29" fmla="*/ 31 h 750"/>
                <a:gd name="T30" fmla="*/ 10 w 624"/>
                <a:gd name="T31" fmla="*/ 27 h 750"/>
                <a:gd name="T32" fmla="*/ 8 w 624"/>
                <a:gd name="T33" fmla="*/ 23 h 750"/>
                <a:gd name="T34" fmla="*/ 6 w 624"/>
                <a:gd name="T35" fmla="*/ 23 h 750"/>
                <a:gd name="T36" fmla="*/ 3 w 624"/>
                <a:gd name="T37" fmla="*/ 22 h 750"/>
                <a:gd name="T38" fmla="*/ 0 w 624"/>
                <a:gd name="T39" fmla="*/ 22 h 750"/>
                <a:gd name="T40" fmla="*/ 0 w 624"/>
                <a:gd name="T41" fmla="*/ 19 h 750"/>
                <a:gd name="T42" fmla="*/ 1 w 624"/>
                <a:gd name="T43" fmla="*/ 18 h 750"/>
                <a:gd name="T44" fmla="*/ 2 w 624"/>
                <a:gd name="T45" fmla="*/ 14 h 750"/>
                <a:gd name="T46" fmla="*/ 4 w 624"/>
                <a:gd name="T47" fmla="*/ 17 h 750"/>
                <a:gd name="T48" fmla="*/ 6 w 624"/>
                <a:gd name="T49" fmla="*/ 17 h 750"/>
                <a:gd name="T50" fmla="*/ 7 w 624"/>
                <a:gd name="T51" fmla="*/ 17 h 750"/>
                <a:gd name="T52" fmla="*/ 9 w 624"/>
                <a:gd name="T53" fmla="*/ 15 h 750"/>
                <a:gd name="T54" fmla="*/ 10 w 624"/>
                <a:gd name="T55" fmla="*/ 14 h 750"/>
                <a:gd name="T56" fmla="*/ 11 w 624"/>
                <a:gd name="T57" fmla="*/ 12 h 750"/>
                <a:gd name="T58" fmla="*/ 13 w 624"/>
                <a:gd name="T59" fmla="*/ 12 h 750"/>
                <a:gd name="T60" fmla="*/ 18 w 624"/>
                <a:gd name="T61" fmla="*/ 10 h 750"/>
                <a:gd name="T62" fmla="*/ 22 w 624"/>
                <a:gd name="T63" fmla="*/ 4 h 750"/>
                <a:gd name="T64" fmla="*/ 24 w 624"/>
                <a:gd name="T65" fmla="*/ 4 h 750"/>
                <a:gd name="T66" fmla="*/ 26 w 624"/>
                <a:gd name="T67" fmla="*/ 2 h 750"/>
                <a:gd name="T68" fmla="*/ 29 w 624"/>
                <a:gd name="T69" fmla="*/ 0 h 750"/>
                <a:gd name="T70" fmla="*/ 32 w 624"/>
                <a:gd name="T71" fmla="*/ 2 h 750"/>
                <a:gd name="T72" fmla="*/ 34 w 624"/>
                <a:gd name="T73" fmla="*/ 5 h 750"/>
                <a:gd name="T74" fmla="*/ 35 w 624"/>
                <a:gd name="T75" fmla="*/ 8 h 750"/>
                <a:gd name="T76" fmla="*/ 39 w 624"/>
                <a:gd name="T77" fmla="*/ 11 h 750"/>
                <a:gd name="T78" fmla="*/ 42 w 624"/>
                <a:gd name="T79" fmla="*/ 14 h 750"/>
                <a:gd name="T80" fmla="*/ 46 w 624"/>
                <a:gd name="T81" fmla="*/ 12 h 750"/>
                <a:gd name="T82" fmla="*/ 49 w 624"/>
                <a:gd name="T83" fmla="*/ 12 h 750"/>
                <a:gd name="T84" fmla="*/ 51 w 624"/>
                <a:gd name="T85" fmla="*/ 12 h 750"/>
                <a:gd name="T86" fmla="*/ 53 w 624"/>
                <a:gd name="T87" fmla="*/ 12 h 750"/>
                <a:gd name="T88" fmla="*/ 53 w 624"/>
                <a:gd name="T89" fmla="*/ 17 h 750"/>
                <a:gd name="T90" fmla="*/ 51 w 624"/>
                <a:gd name="T91" fmla="*/ 20 h 750"/>
                <a:gd name="T92" fmla="*/ 49 w 624"/>
                <a:gd name="T93" fmla="*/ 26 h 750"/>
                <a:gd name="T94" fmla="*/ 47 w 624"/>
                <a:gd name="T95" fmla="*/ 26 h 750"/>
                <a:gd name="T96" fmla="*/ 44 w 624"/>
                <a:gd name="T97" fmla="*/ 26 h 750"/>
                <a:gd name="T98" fmla="*/ 43 w 624"/>
                <a:gd name="T99" fmla="*/ 27 h 750"/>
                <a:gd name="T100" fmla="*/ 45 w 624"/>
                <a:gd name="T101" fmla="*/ 32 h 750"/>
                <a:gd name="T102" fmla="*/ 44 w 624"/>
                <a:gd name="T103" fmla="*/ 43 h 750"/>
                <a:gd name="T104" fmla="*/ 44 w 624"/>
                <a:gd name="T105" fmla="*/ 47 h 750"/>
                <a:gd name="T106" fmla="*/ 44 w 624"/>
                <a:gd name="T107" fmla="*/ 54 h 750"/>
                <a:gd name="T108" fmla="*/ 41 w 624"/>
                <a:gd name="T109" fmla="*/ 60 h 750"/>
                <a:gd name="T110" fmla="*/ 42 w 624"/>
                <a:gd name="T111" fmla="*/ 62 h 750"/>
                <a:gd name="T112" fmla="*/ 43 w 624"/>
                <a:gd name="T113" fmla="*/ 65 h 750"/>
                <a:gd name="T114" fmla="*/ 39 w 624"/>
                <a:gd name="T115" fmla="*/ 63 h 750"/>
                <a:gd name="T116" fmla="*/ 35 w 624"/>
                <a:gd name="T117" fmla="*/ 62 h 75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24"/>
                <a:gd name="T178" fmla="*/ 0 h 750"/>
                <a:gd name="T179" fmla="*/ 624 w 624"/>
                <a:gd name="T180" fmla="*/ 750 h 75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24" h="750">
                  <a:moveTo>
                    <a:pt x="390" y="702"/>
                  </a:moveTo>
                  <a:lnTo>
                    <a:pt x="372" y="696"/>
                  </a:lnTo>
                  <a:lnTo>
                    <a:pt x="360" y="702"/>
                  </a:lnTo>
                  <a:lnTo>
                    <a:pt x="348" y="702"/>
                  </a:lnTo>
                  <a:lnTo>
                    <a:pt x="336" y="702"/>
                  </a:lnTo>
                  <a:lnTo>
                    <a:pt x="330" y="702"/>
                  </a:lnTo>
                  <a:lnTo>
                    <a:pt x="318" y="708"/>
                  </a:lnTo>
                  <a:lnTo>
                    <a:pt x="306" y="708"/>
                  </a:lnTo>
                  <a:lnTo>
                    <a:pt x="294" y="690"/>
                  </a:lnTo>
                  <a:lnTo>
                    <a:pt x="294" y="684"/>
                  </a:lnTo>
                  <a:lnTo>
                    <a:pt x="276" y="684"/>
                  </a:lnTo>
                  <a:lnTo>
                    <a:pt x="270" y="678"/>
                  </a:lnTo>
                  <a:lnTo>
                    <a:pt x="240" y="672"/>
                  </a:lnTo>
                  <a:lnTo>
                    <a:pt x="234" y="672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6"/>
                  </a:lnTo>
                  <a:lnTo>
                    <a:pt x="216" y="660"/>
                  </a:lnTo>
                  <a:lnTo>
                    <a:pt x="216" y="654"/>
                  </a:lnTo>
                  <a:lnTo>
                    <a:pt x="216" y="642"/>
                  </a:lnTo>
                  <a:lnTo>
                    <a:pt x="210" y="642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36"/>
                  </a:lnTo>
                  <a:lnTo>
                    <a:pt x="192" y="624"/>
                  </a:lnTo>
                  <a:lnTo>
                    <a:pt x="186" y="612"/>
                  </a:lnTo>
                  <a:lnTo>
                    <a:pt x="186" y="600"/>
                  </a:lnTo>
                  <a:lnTo>
                    <a:pt x="186" y="588"/>
                  </a:lnTo>
                  <a:lnTo>
                    <a:pt x="180" y="582"/>
                  </a:lnTo>
                  <a:lnTo>
                    <a:pt x="180" y="570"/>
                  </a:lnTo>
                  <a:lnTo>
                    <a:pt x="174" y="558"/>
                  </a:lnTo>
                  <a:lnTo>
                    <a:pt x="162" y="558"/>
                  </a:lnTo>
                  <a:lnTo>
                    <a:pt x="144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38" y="534"/>
                  </a:lnTo>
                  <a:lnTo>
                    <a:pt x="138" y="528"/>
                  </a:lnTo>
                  <a:lnTo>
                    <a:pt x="132" y="522"/>
                  </a:lnTo>
                  <a:lnTo>
                    <a:pt x="144" y="522"/>
                  </a:lnTo>
                  <a:lnTo>
                    <a:pt x="144" y="510"/>
                  </a:lnTo>
                  <a:lnTo>
                    <a:pt x="144" y="504"/>
                  </a:lnTo>
                  <a:lnTo>
                    <a:pt x="138" y="492"/>
                  </a:lnTo>
                  <a:lnTo>
                    <a:pt x="138" y="474"/>
                  </a:lnTo>
                  <a:lnTo>
                    <a:pt x="126" y="468"/>
                  </a:lnTo>
                  <a:lnTo>
                    <a:pt x="120" y="456"/>
                  </a:lnTo>
                  <a:lnTo>
                    <a:pt x="114" y="450"/>
                  </a:lnTo>
                  <a:lnTo>
                    <a:pt x="108" y="438"/>
                  </a:lnTo>
                  <a:lnTo>
                    <a:pt x="96" y="432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60" y="426"/>
                  </a:lnTo>
                  <a:lnTo>
                    <a:pt x="66" y="420"/>
                  </a:lnTo>
                  <a:lnTo>
                    <a:pt x="66" y="408"/>
                  </a:lnTo>
                  <a:lnTo>
                    <a:pt x="72" y="408"/>
                  </a:lnTo>
                  <a:lnTo>
                    <a:pt x="72" y="384"/>
                  </a:lnTo>
                  <a:lnTo>
                    <a:pt x="72" y="366"/>
                  </a:lnTo>
                  <a:lnTo>
                    <a:pt x="78" y="354"/>
                  </a:lnTo>
                  <a:lnTo>
                    <a:pt x="84" y="354"/>
                  </a:lnTo>
                  <a:lnTo>
                    <a:pt x="90" y="348"/>
                  </a:lnTo>
                  <a:lnTo>
                    <a:pt x="102" y="336"/>
                  </a:lnTo>
                  <a:lnTo>
                    <a:pt x="114" y="324"/>
                  </a:lnTo>
                  <a:lnTo>
                    <a:pt x="120" y="312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20" y="276"/>
                  </a:lnTo>
                  <a:lnTo>
                    <a:pt x="96" y="270"/>
                  </a:lnTo>
                  <a:lnTo>
                    <a:pt x="84" y="270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72" y="264"/>
                  </a:lnTo>
                  <a:lnTo>
                    <a:pt x="60" y="252"/>
                  </a:lnTo>
                  <a:lnTo>
                    <a:pt x="42" y="252"/>
                  </a:lnTo>
                  <a:lnTo>
                    <a:pt x="42" y="258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18" y="252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42" y="156"/>
                  </a:lnTo>
                  <a:lnTo>
                    <a:pt x="48" y="198"/>
                  </a:lnTo>
                  <a:lnTo>
                    <a:pt x="48" y="204"/>
                  </a:lnTo>
                  <a:lnTo>
                    <a:pt x="54" y="198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204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192"/>
                  </a:lnTo>
                  <a:lnTo>
                    <a:pt x="96" y="186"/>
                  </a:lnTo>
                  <a:lnTo>
                    <a:pt x="102" y="180"/>
                  </a:lnTo>
                  <a:lnTo>
                    <a:pt x="102" y="174"/>
                  </a:lnTo>
                  <a:lnTo>
                    <a:pt x="108" y="168"/>
                  </a:lnTo>
                  <a:lnTo>
                    <a:pt x="108" y="162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0"/>
                  </a:lnTo>
                  <a:lnTo>
                    <a:pt x="132" y="144"/>
                  </a:lnTo>
                  <a:lnTo>
                    <a:pt x="138" y="138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0" y="132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74" y="126"/>
                  </a:lnTo>
                  <a:lnTo>
                    <a:pt x="204" y="120"/>
                  </a:lnTo>
                  <a:lnTo>
                    <a:pt x="210" y="78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54"/>
                  </a:lnTo>
                  <a:lnTo>
                    <a:pt x="276" y="54"/>
                  </a:lnTo>
                  <a:lnTo>
                    <a:pt x="276" y="48"/>
                  </a:lnTo>
                  <a:lnTo>
                    <a:pt x="282" y="48"/>
                  </a:lnTo>
                  <a:lnTo>
                    <a:pt x="288" y="42"/>
                  </a:lnTo>
                  <a:lnTo>
                    <a:pt x="294" y="42"/>
                  </a:lnTo>
                  <a:lnTo>
                    <a:pt x="294" y="18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0"/>
                  </a:lnTo>
                  <a:lnTo>
                    <a:pt x="336" y="0"/>
                  </a:lnTo>
                  <a:lnTo>
                    <a:pt x="342" y="0"/>
                  </a:lnTo>
                  <a:lnTo>
                    <a:pt x="354" y="6"/>
                  </a:lnTo>
                  <a:lnTo>
                    <a:pt x="366" y="18"/>
                  </a:lnTo>
                  <a:lnTo>
                    <a:pt x="378" y="36"/>
                  </a:lnTo>
                  <a:lnTo>
                    <a:pt x="390" y="42"/>
                  </a:lnTo>
                  <a:lnTo>
                    <a:pt x="390" y="48"/>
                  </a:lnTo>
                  <a:lnTo>
                    <a:pt x="396" y="60"/>
                  </a:lnTo>
                  <a:lnTo>
                    <a:pt x="402" y="72"/>
                  </a:lnTo>
                  <a:lnTo>
                    <a:pt x="408" y="78"/>
                  </a:lnTo>
                  <a:lnTo>
                    <a:pt x="402" y="84"/>
                  </a:lnTo>
                  <a:lnTo>
                    <a:pt x="408" y="90"/>
                  </a:lnTo>
                  <a:lnTo>
                    <a:pt x="414" y="102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50" y="126"/>
                  </a:lnTo>
                  <a:lnTo>
                    <a:pt x="456" y="126"/>
                  </a:lnTo>
                  <a:lnTo>
                    <a:pt x="462" y="144"/>
                  </a:lnTo>
                  <a:lnTo>
                    <a:pt x="480" y="156"/>
                  </a:lnTo>
                  <a:lnTo>
                    <a:pt x="492" y="156"/>
                  </a:lnTo>
                  <a:lnTo>
                    <a:pt x="516" y="150"/>
                  </a:lnTo>
                  <a:lnTo>
                    <a:pt x="516" y="144"/>
                  </a:lnTo>
                  <a:lnTo>
                    <a:pt x="516" y="138"/>
                  </a:lnTo>
                  <a:lnTo>
                    <a:pt x="528" y="138"/>
                  </a:lnTo>
                  <a:lnTo>
                    <a:pt x="546" y="144"/>
                  </a:lnTo>
                  <a:lnTo>
                    <a:pt x="546" y="138"/>
                  </a:lnTo>
                  <a:lnTo>
                    <a:pt x="552" y="138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76" y="138"/>
                  </a:lnTo>
                  <a:lnTo>
                    <a:pt x="582" y="138"/>
                  </a:lnTo>
                  <a:lnTo>
                    <a:pt x="588" y="138"/>
                  </a:lnTo>
                  <a:lnTo>
                    <a:pt x="594" y="138"/>
                  </a:lnTo>
                  <a:lnTo>
                    <a:pt x="594" y="144"/>
                  </a:lnTo>
                  <a:lnTo>
                    <a:pt x="600" y="138"/>
                  </a:lnTo>
                  <a:lnTo>
                    <a:pt x="606" y="138"/>
                  </a:lnTo>
                  <a:lnTo>
                    <a:pt x="606" y="144"/>
                  </a:lnTo>
                  <a:lnTo>
                    <a:pt x="612" y="144"/>
                  </a:lnTo>
                  <a:lnTo>
                    <a:pt x="618" y="156"/>
                  </a:lnTo>
                  <a:lnTo>
                    <a:pt x="612" y="198"/>
                  </a:lnTo>
                  <a:lnTo>
                    <a:pt x="624" y="198"/>
                  </a:lnTo>
                  <a:lnTo>
                    <a:pt x="624" y="204"/>
                  </a:lnTo>
                  <a:lnTo>
                    <a:pt x="612" y="216"/>
                  </a:lnTo>
                  <a:lnTo>
                    <a:pt x="594" y="234"/>
                  </a:lnTo>
                  <a:lnTo>
                    <a:pt x="588" y="252"/>
                  </a:lnTo>
                  <a:lnTo>
                    <a:pt x="576" y="270"/>
                  </a:lnTo>
                  <a:lnTo>
                    <a:pt x="564" y="282"/>
                  </a:lnTo>
                  <a:lnTo>
                    <a:pt x="564" y="294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8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34" y="294"/>
                  </a:lnTo>
                  <a:lnTo>
                    <a:pt x="522" y="300"/>
                  </a:lnTo>
                  <a:lnTo>
                    <a:pt x="510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498" y="324"/>
                  </a:lnTo>
                  <a:lnTo>
                    <a:pt x="504" y="336"/>
                  </a:lnTo>
                  <a:lnTo>
                    <a:pt x="510" y="348"/>
                  </a:lnTo>
                  <a:lnTo>
                    <a:pt x="516" y="366"/>
                  </a:lnTo>
                  <a:lnTo>
                    <a:pt x="522" y="432"/>
                  </a:lnTo>
                  <a:lnTo>
                    <a:pt x="522" y="456"/>
                  </a:lnTo>
                  <a:lnTo>
                    <a:pt x="504" y="492"/>
                  </a:lnTo>
                  <a:lnTo>
                    <a:pt x="504" y="498"/>
                  </a:lnTo>
                  <a:lnTo>
                    <a:pt x="498" y="504"/>
                  </a:lnTo>
                  <a:lnTo>
                    <a:pt x="498" y="522"/>
                  </a:lnTo>
                  <a:lnTo>
                    <a:pt x="504" y="534"/>
                  </a:lnTo>
                  <a:lnTo>
                    <a:pt x="510" y="546"/>
                  </a:lnTo>
                  <a:lnTo>
                    <a:pt x="516" y="558"/>
                  </a:lnTo>
                  <a:lnTo>
                    <a:pt x="516" y="588"/>
                  </a:lnTo>
                  <a:lnTo>
                    <a:pt x="516" y="600"/>
                  </a:lnTo>
                  <a:lnTo>
                    <a:pt x="510" y="618"/>
                  </a:lnTo>
                  <a:lnTo>
                    <a:pt x="504" y="636"/>
                  </a:lnTo>
                  <a:lnTo>
                    <a:pt x="504" y="642"/>
                  </a:lnTo>
                  <a:lnTo>
                    <a:pt x="474" y="654"/>
                  </a:lnTo>
                  <a:lnTo>
                    <a:pt x="474" y="690"/>
                  </a:lnTo>
                  <a:lnTo>
                    <a:pt x="474" y="696"/>
                  </a:lnTo>
                  <a:lnTo>
                    <a:pt x="480" y="702"/>
                  </a:lnTo>
                  <a:lnTo>
                    <a:pt x="486" y="708"/>
                  </a:lnTo>
                  <a:lnTo>
                    <a:pt x="492" y="708"/>
                  </a:lnTo>
                  <a:lnTo>
                    <a:pt x="498" y="726"/>
                  </a:lnTo>
                  <a:lnTo>
                    <a:pt x="504" y="726"/>
                  </a:lnTo>
                  <a:lnTo>
                    <a:pt x="504" y="738"/>
                  </a:lnTo>
                  <a:lnTo>
                    <a:pt x="498" y="744"/>
                  </a:lnTo>
                  <a:lnTo>
                    <a:pt x="486" y="750"/>
                  </a:lnTo>
                  <a:lnTo>
                    <a:pt x="474" y="744"/>
                  </a:lnTo>
                  <a:lnTo>
                    <a:pt x="462" y="744"/>
                  </a:lnTo>
                  <a:lnTo>
                    <a:pt x="456" y="732"/>
                  </a:lnTo>
                  <a:lnTo>
                    <a:pt x="444" y="732"/>
                  </a:lnTo>
                  <a:lnTo>
                    <a:pt x="432" y="726"/>
                  </a:lnTo>
                  <a:lnTo>
                    <a:pt x="420" y="720"/>
                  </a:lnTo>
                  <a:lnTo>
                    <a:pt x="408" y="708"/>
                  </a:lnTo>
                  <a:lnTo>
                    <a:pt x="402" y="708"/>
                  </a:lnTo>
                  <a:lnTo>
                    <a:pt x="390" y="70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5" name="Freeform 20">
              <a:extLst>
                <a:ext uri="{FF2B5EF4-FFF2-40B4-BE49-F238E27FC236}">
                  <a16:creationId xmlns:a16="http://schemas.microsoft.com/office/drawing/2014/main" id="{B8342C3B-ECEC-465F-AAFF-4815B8AC392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870937"/>
              <a:ext cx="313067" cy="377968"/>
            </a:xfrm>
            <a:custGeom>
              <a:avLst/>
              <a:gdLst>
                <a:gd name="T0" fmla="*/ 15 w 588"/>
                <a:gd name="T1" fmla="*/ 59 h 714"/>
                <a:gd name="T2" fmla="*/ 14 w 588"/>
                <a:gd name="T3" fmla="*/ 58 h 714"/>
                <a:gd name="T4" fmla="*/ 9 w 588"/>
                <a:gd name="T5" fmla="*/ 54 h 714"/>
                <a:gd name="T6" fmla="*/ 4 w 588"/>
                <a:gd name="T7" fmla="*/ 54 h 714"/>
                <a:gd name="T8" fmla="*/ 0 w 588"/>
                <a:gd name="T9" fmla="*/ 50 h 714"/>
                <a:gd name="T10" fmla="*/ 0 w 588"/>
                <a:gd name="T11" fmla="*/ 44 h 714"/>
                <a:gd name="T12" fmla="*/ 4 w 588"/>
                <a:gd name="T13" fmla="*/ 46 h 714"/>
                <a:gd name="T14" fmla="*/ 7 w 588"/>
                <a:gd name="T15" fmla="*/ 47 h 714"/>
                <a:gd name="T16" fmla="*/ 10 w 588"/>
                <a:gd name="T17" fmla="*/ 46 h 714"/>
                <a:gd name="T18" fmla="*/ 8 w 588"/>
                <a:gd name="T19" fmla="*/ 44 h 714"/>
                <a:gd name="T20" fmla="*/ 10 w 588"/>
                <a:gd name="T21" fmla="*/ 39 h 714"/>
                <a:gd name="T22" fmla="*/ 11 w 588"/>
                <a:gd name="T23" fmla="*/ 34 h 714"/>
                <a:gd name="T24" fmla="*/ 9 w 588"/>
                <a:gd name="T25" fmla="*/ 28 h 714"/>
                <a:gd name="T26" fmla="*/ 11 w 588"/>
                <a:gd name="T27" fmla="*/ 22 h 714"/>
                <a:gd name="T28" fmla="*/ 10 w 588"/>
                <a:gd name="T29" fmla="*/ 12 h 714"/>
                <a:gd name="T30" fmla="*/ 9 w 588"/>
                <a:gd name="T31" fmla="*/ 9 h 714"/>
                <a:gd name="T32" fmla="*/ 12 w 588"/>
                <a:gd name="T33" fmla="*/ 8 h 714"/>
                <a:gd name="T34" fmla="*/ 14 w 588"/>
                <a:gd name="T35" fmla="*/ 7 h 714"/>
                <a:gd name="T36" fmla="*/ 17 w 588"/>
                <a:gd name="T37" fmla="*/ 10 h 714"/>
                <a:gd name="T38" fmla="*/ 23 w 588"/>
                <a:gd name="T39" fmla="*/ 14 h 714"/>
                <a:gd name="T40" fmla="*/ 28 w 588"/>
                <a:gd name="T41" fmla="*/ 4 h 714"/>
                <a:gd name="T42" fmla="*/ 35 w 588"/>
                <a:gd name="T43" fmla="*/ 2 h 714"/>
                <a:gd name="T44" fmla="*/ 38 w 588"/>
                <a:gd name="T45" fmla="*/ 0 h 714"/>
                <a:gd name="T46" fmla="*/ 40 w 588"/>
                <a:gd name="T47" fmla="*/ 2 h 714"/>
                <a:gd name="T48" fmla="*/ 39 w 588"/>
                <a:gd name="T49" fmla="*/ 4 h 714"/>
                <a:gd name="T50" fmla="*/ 41 w 588"/>
                <a:gd name="T51" fmla="*/ 5 h 714"/>
                <a:gd name="T52" fmla="*/ 42 w 588"/>
                <a:gd name="T53" fmla="*/ 7 h 714"/>
                <a:gd name="T54" fmla="*/ 43 w 588"/>
                <a:gd name="T55" fmla="*/ 9 h 714"/>
                <a:gd name="T56" fmla="*/ 43 w 588"/>
                <a:gd name="T57" fmla="*/ 10 h 714"/>
                <a:gd name="T58" fmla="*/ 43 w 588"/>
                <a:gd name="T59" fmla="*/ 12 h 714"/>
                <a:gd name="T60" fmla="*/ 44 w 588"/>
                <a:gd name="T61" fmla="*/ 12 h 714"/>
                <a:gd name="T62" fmla="*/ 46 w 588"/>
                <a:gd name="T63" fmla="*/ 13 h 714"/>
                <a:gd name="T64" fmla="*/ 47 w 588"/>
                <a:gd name="T65" fmla="*/ 14 h 714"/>
                <a:gd name="T66" fmla="*/ 48 w 588"/>
                <a:gd name="T67" fmla="*/ 15 h 714"/>
                <a:gd name="T68" fmla="*/ 49 w 588"/>
                <a:gd name="T69" fmla="*/ 15 h 714"/>
                <a:gd name="T70" fmla="*/ 48 w 588"/>
                <a:gd name="T71" fmla="*/ 17 h 714"/>
                <a:gd name="T72" fmla="*/ 49 w 588"/>
                <a:gd name="T73" fmla="*/ 19 h 714"/>
                <a:gd name="T74" fmla="*/ 49 w 588"/>
                <a:gd name="T75" fmla="*/ 20 h 714"/>
                <a:gd name="T76" fmla="*/ 51 w 588"/>
                <a:gd name="T77" fmla="*/ 21 h 714"/>
                <a:gd name="T78" fmla="*/ 50 w 588"/>
                <a:gd name="T79" fmla="*/ 22 h 714"/>
                <a:gd name="T80" fmla="*/ 47 w 588"/>
                <a:gd name="T81" fmla="*/ 23 h 714"/>
                <a:gd name="T82" fmla="*/ 47 w 588"/>
                <a:gd name="T83" fmla="*/ 26 h 714"/>
                <a:gd name="T84" fmla="*/ 47 w 588"/>
                <a:gd name="T85" fmla="*/ 32 h 714"/>
                <a:gd name="T86" fmla="*/ 44 w 588"/>
                <a:gd name="T87" fmla="*/ 35 h 714"/>
                <a:gd name="T88" fmla="*/ 42 w 588"/>
                <a:gd name="T89" fmla="*/ 39 h 714"/>
                <a:gd name="T90" fmla="*/ 42 w 588"/>
                <a:gd name="T91" fmla="*/ 41 h 714"/>
                <a:gd name="T92" fmla="*/ 42 w 588"/>
                <a:gd name="T93" fmla="*/ 42 h 714"/>
                <a:gd name="T94" fmla="*/ 41 w 588"/>
                <a:gd name="T95" fmla="*/ 44 h 714"/>
                <a:gd name="T96" fmla="*/ 39 w 588"/>
                <a:gd name="T97" fmla="*/ 43 h 714"/>
                <a:gd name="T98" fmla="*/ 37 w 588"/>
                <a:gd name="T99" fmla="*/ 44 h 714"/>
                <a:gd name="T100" fmla="*/ 35 w 588"/>
                <a:gd name="T101" fmla="*/ 46 h 714"/>
                <a:gd name="T102" fmla="*/ 31 w 588"/>
                <a:gd name="T103" fmla="*/ 45 h 714"/>
                <a:gd name="T104" fmla="*/ 24 w 588"/>
                <a:gd name="T105" fmla="*/ 45 h 714"/>
                <a:gd name="T106" fmla="*/ 25 w 588"/>
                <a:gd name="T107" fmla="*/ 47 h 714"/>
                <a:gd name="T108" fmla="*/ 25 w 588"/>
                <a:gd name="T109" fmla="*/ 49 h 714"/>
                <a:gd name="T110" fmla="*/ 25 w 588"/>
                <a:gd name="T111" fmla="*/ 50 h 714"/>
                <a:gd name="T112" fmla="*/ 24 w 588"/>
                <a:gd name="T113" fmla="*/ 51 h 714"/>
                <a:gd name="T114" fmla="*/ 22 w 588"/>
                <a:gd name="T115" fmla="*/ 53 h 714"/>
                <a:gd name="T116" fmla="*/ 23 w 588"/>
                <a:gd name="T117" fmla="*/ 56 h 714"/>
                <a:gd name="T118" fmla="*/ 20 w 588"/>
                <a:gd name="T119" fmla="*/ 58 h 714"/>
                <a:gd name="T120" fmla="*/ 19 w 588"/>
                <a:gd name="T121" fmla="*/ 62 h 7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8"/>
                <a:gd name="T184" fmla="*/ 0 h 714"/>
                <a:gd name="T185" fmla="*/ 588 w 588"/>
                <a:gd name="T186" fmla="*/ 714 h 7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8" h="714">
                  <a:moveTo>
                    <a:pt x="216" y="714"/>
                  </a:moveTo>
                  <a:lnTo>
                    <a:pt x="198" y="702"/>
                  </a:lnTo>
                  <a:lnTo>
                    <a:pt x="186" y="696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74" y="678"/>
                  </a:lnTo>
                  <a:lnTo>
                    <a:pt x="168" y="672"/>
                  </a:lnTo>
                  <a:lnTo>
                    <a:pt x="162" y="666"/>
                  </a:lnTo>
                  <a:lnTo>
                    <a:pt x="156" y="636"/>
                  </a:lnTo>
                  <a:lnTo>
                    <a:pt x="144" y="630"/>
                  </a:lnTo>
                  <a:lnTo>
                    <a:pt x="108" y="630"/>
                  </a:lnTo>
                  <a:lnTo>
                    <a:pt x="102" y="624"/>
                  </a:lnTo>
                  <a:lnTo>
                    <a:pt x="96" y="624"/>
                  </a:lnTo>
                  <a:lnTo>
                    <a:pt x="72" y="624"/>
                  </a:lnTo>
                  <a:lnTo>
                    <a:pt x="54" y="624"/>
                  </a:lnTo>
                  <a:lnTo>
                    <a:pt x="42" y="618"/>
                  </a:lnTo>
                  <a:lnTo>
                    <a:pt x="30" y="612"/>
                  </a:lnTo>
                  <a:lnTo>
                    <a:pt x="6" y="606"/>
                  </a:lnTo>
                  <a:lnTo>
                    <a:pt x="0" y="606"/>
                  </a:lnTo>
                  <a:lnTo>
                    <a:pt x="0" y="570"/>
                  </a:lnTo>
                  <a:lnTo>
                    <a:pt x="6" y="552"/>
                  </a:lnTo>
                  <a:lnTo>
                    <a:pt x="6" y="522"/>
                  </a:lnTo>
                  <a:lnTo>
                    <a:pt x="0" y="510"/>
                  </a:lnTo>
                  <a:lnTo>
                    <a:pt x="0" y="504"/>
                  </a:lnTo>
                  <a:lnTo>
                    <a:pt x="12" y="510"/>
                  </a:lnTo>
                  <a:lnTo>
                    <a:pt x="18" y="510"/>
                  </a:lnTo>
                  <a:lnTo>
                    <a:pt x="30" y="522"/>
                  </a:lnTo>
                  <a:lnTo>
                    <a:pt x="42" y="528"/>
                  </a:lnTo>
                  <a:lnTo>
                    <a:pt x="54" y="534"/>
                  </a:lnTo>
                  <a:lnTo>
                    <a:pt x="66" y="534"/>
                  </a:lnTo>
                  <a:lnTo>
                    <a:pt x="72" y="546"/>
                  </a:lnTo>
                  <a:lnTo>
                    <a:pt x="84" y="546"/>
                  </a:lnTo>
                  <a:lnTo>
                    <a:pt x="96" y="552"/>
                  </a:lnTo>
                  <a:lnTo>
                    <a:pt x="108" y="546"/>
                  </a:lnTo>
                  <a:lnTo>
                    <a:pt x="114" y="540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90" y="504"/>
                  </a:lnTo>
                  <a:lnTo>
                    <a:pt x="84" y="498"/>
                  </a:lnTo>
                  <a:lnTo>
                    <a:pt x="84" y="492"/>
                  </a:lnTo>
                  <a:lnTo>
                    <a:pt x="84" y="456"/>
                  </a:lnTo>
                  <a:lnTo>
                    <a:pt x="114" y="444"/>
                  </a:lnTo>
                  <a:lnTo>
                    <a:pt x="114" y="438"/>
                  </a:lnTo>
                  <a:lnTo>
                    <a:pt x="120" y="420"/>
                  </a:lnTo>
                  <a:lnTo>
                    <a:pt x="126" y="402"/>
                  </a:lnTo>
                  <a:lnTo>
                    <a:pt x="126" y="390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14" y="336"/>
                  </a:lnTo>
                  <a:lnTo>
                    <a:pt x="108" y="324"/>
                  </a:lnTo>
                  <a:lnTo>
                    <a:pt x="108" y="306"/>
                  </a:lnTo>
                  <a:lnTo>
                    <a:pt x="114" y="300"/>
                  </a:lnTo>
                  <a:lnTo>
                    <a:pt x="114" y="294"/>
                  </a:lnTo>
                  <a:lnTo>
                    <a:pt x="132" y="258"/>
                  </a:lnTo>
                  <a:lnTo>
                    <a:pt x="132" y="234"/>
                  </a:lnTo>
                  <a:lnTo>
                    <a:pt x="126" y="168"/>
                  </a:lnTo>
                  <a:lnTo>
                    <a:pt x="120" y="150"/>
                  </a:lnTo>
                  <a:lnTo>
                    <a:pt x="114" y="138"/>
                  </a:lnTo>
                  <a:lnTo>
                    <a:pt x="108" y="126"/>
                  </a:lnTo>
                  <a:lnTo>
                    <a:pt x="108" y="120"/>
                  </a:lnTo>
                  <a:lnTo>
                    <a:pt x="108" y="114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20" y="96"/>
                  </a:lnTo>
                  <a:lnTo>
                    <a:pt x="132" y="102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56" y="90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96"/>
                  </a:lnTo>
                  <a:lnTo>
                    <a:pt x="186" y="96"/>
                  </a:lnTo>
                  <a:lnTo>
                    <a:pt x="192" y="114"/>
                  </a:lnTo>
                  <a:lnTo>
                    <a:pt x="204" y="132"/>
                  </a:lnTo>
                  <a:lnTo>
                    <a:pt x="216" y="144"/>
                  </a:lnTo>
                  <a:lnTo>
                    <a:pt x="240" y="162"/>
                  </a:lnTo>
                  <a:lnTo>
                    <a:pt x="270" y="156"/>
                  </a:lnTo>
                  <a:lnTo>
                    <a:pt x="282" y="126"/>
                  </a:lnTo>
                  <a:lnTo>
                    <a:pt x="282" y="96"/>
                  </a:lnTo>
                  <a:lnTo>
                    <a:pt x="294" y="54"/>
                  </a:lnTo>
                  <a:lnTo>
                    <a:pt x="324" y="48"/>
                  </a:lnTo>
                  <a:lnTo>
                    <a:pt x="342" y="48"/>
                  </a:lnTo>
                  <a:lnTo>
                    <a:pt x="384" y="48"/>
                  </a:lnTo>
                  <a:lnTo>
                    <a:pt x="390" y="30"/>
                  </a:lnTo>
                  <a:lnTo>
                    <a:pt x="402" y="18"/>
                  </a:lnTo>
                  <a:lnTo>
                    <a:pt x="438" y="6"/>
                  </a:lnTo>
                  <a:lnTo>
                    <a:pt x="438" y="0"/>
                  </a:lnTo>
                  <a:lnTo>
                    <a:pt x="444" y="0"/>
                  </a:lnTo>
                  <a:lnTo>
                    <a:pt x="444" y="6"/>
                  </a:lnTo>
                  <a:lnTo>
                    <a:pt x="450" y="6"/>
                  </a:lnTo>
                  <a:lnTo>
                    <a:pt x="456" y="12"/>
                  </a:lnTo>
                  <a:lnTo>
                    <a:pt x="456" y="18"/>
                  </a:lnTo>
                  <a:lnTo>
                    <a:pt x="462" y="24"/>
                  </a:lnTo>
                  <a:lnTo>
                    <a:pt x="462" y="30"/>
                  </a:lnTo>
                  <a:lnTo>
                    <a:pt x="468" y="36"/>
                  </a:lnTo>
                  <a:lnTo>
                    <a:pt x="462" y="36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74" y="60"/>
                  </a:lnTo>
                  <a:lnTo>
                    <a:pt x="486" y="78"/>
                  </a:lnTo>
                  <a:lnTo>
                    <a:pt x="486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8" y="102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498" y="114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504" y="126"/>
                  </a:lnTo>
                  <a:lnTo>
                    <a:pt x="498" y="132"/>
                  </a:lnTo>
                  <a:lnTo>
                    <a:pt x="504" y="138"/>
                  </a:lnTo>
                  <a:lnTo>
                    <a:pt x="504" y="132"/>
                  </a:lnTo>
                  <a:lnTo>
                    <a:pt x="510" y="132"/>
                  </a:lnTo>
                  <a:lnTo>
                    <a:pt x="510" y="138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56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6" y="168"/>
                  </a:lnTo>
                  <a:lnTo>
                    <a:pt x="552" y="168"/>
                  </a:lnTo>
                  <a:lnTo>
                    <a:pt x="546" y="168"/>
                  </a:lnTo>
                  <a:lnTo>
                    <a:pt x="546" y="174"/>
                  </a:lnTo>
                  <a:lnTo>
                    <a:pt x="558" y="180"/>
                  </a:lnTo>
                  <a:lnTo>
                    <a:pt x="564" y="180"/>
                  </a:lnTo>
                  <a:lnTo>
                    <a:pt x="564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52" y="198"/>
                  </a:lnTo>
                  <a:lnTo>
                    <a:pt x="558" y="204"/>
                  </a:lnTo>
                  <a:lnTo>
                    <a:pt x="564" y="204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22"/>
                  </a:lnTo>
                  <a:lnTo>
                    <a:pt x="576" y="228"/>
                  </a:lnTo>
                  <a:lnTo>
                    <a:pt x="570" y="228"/>
                  </a:lnTo>
                  <a:lnTo>
                    <a:pt x="570" y="234"/>
                  </a:lnTo>
                  <a:lnTo>
                    <a:pt x="576" y="234"/>
                  </a:lnTo>
                  <a:lnTo>
                    <a:pt x="582" y="234"/>
                  </a:lnTo>
                  <a:lnTo>
                    <a:pt x="588" y="234"/>
                  </a:lnTo>
                  <a:lnTo>
                    <a:pt x="588" y="240"/>
                  </a:lnTo>
                  <a:lnTo>
                    <a:pt x="588" y="246"/>
                  </a:lnTo>
                  <a:lnTo>
                    <a:pt x="588" y="252"/>
                  </a:lnTo>
                  <a:lnTo>
                    <a:pt x="582" y="252"/>
                  </a:lnTo>
                  <a:lnTo>
                    <a:pt x="576" y="252"/>
                  </a:lnTo>
                  <a:lnTo>
                    <a:pt x="582" y="258"/>
                  </a:lnTo>
                  <a:lnTo>
                    <a:pt x="582" y="264"/>
                  </a:lnTo>
                  <a:lnTo>
                    <a:pt x="576" y="264"/>
                  </a:lnTo>
                  <a:lnTo>
                    <a:pt x="546" y="264"/>
                  </a:lnTo>
                  <a:lnTo>
                    <a:pt x="546" y="276"/>
                  </a:lnTo>
                  <a:lnTo>
                    <a:pt x="540" y="282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40" y="324"/>
                  </a:lnTo>
                  <a:lnTo>
                    <a:pt x="552" y="330"/>
                  </a:lnTo>
                  <a:lnTo>
                    <a:pt x="558" y="342"/>
                  </a:lnTo>
                  <a:lnTo>
                    <a:pt x="546" y="372"/>
                  </a:lnTo>
                  <a:lnTo>
                    <a:pt x="534" y="372"/>
                  </a:lnTo>
                  <a:lnTo>
                    <a:pt x="534" y="384"/>
                  </a:lnTo>
                  <a:lnTo>
                    <a:pt x="522" y="384"/>
                  </a:lnTo>
                  <a:lnTo>
                    <a:pt x="510" y="402"/>
                  </a:lnTo>
                  <a:lnTo>
                    <a:pt x="504" y="420"/>
                  </a:lnTo>
                  <a:lnTo>
                    <a:pt x="492" y="426"/>
                  </a:lnTo>
                  <a:lnTo>
                    <a:pt x="486" y="432"/>
                  </a:lnTo>
                  <a:lnTo>
                    <a:pt x="486" y="444"/>
                  </a:lnTo>
                  <a:lnTo>
                    <a:pt x="486" y="450"/>
                  </a:lnTo>
                  <a:lnTo>
                    <a:pt x="486" y="456"/>
                  </a:lnTo>
                  <a:lnTo>
                    <a:pt x="486" y="462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80" y="474"/>
                  </a:lnTo>
                  <a:lnTo>
                    <a:pt x="480" y="480"/>
                  </a:lnTo>
                  <a:lnTo>
                    <a:pt x="480" y="486"/>
                  </a:lnTo>
                  <a:lnTo>
                    <a:pt x="480" y="492"/>
                  </a:lnTo>
                  <a:lnTo>
                    <a:pt x="480" y="498"/>
                  </a:lnTo>
                  <a:lnTo>
                    <a:pt x="474" y="504"/>
                  </a:lnTo>
                  <a:lnTo>
                    <a:pt x="468" y="510"/>
                  </a:lnTo>
                  <a:lnTo>
                    <a:pt x="462" y="510"/>
                  </a:lnTo>
                  <a:lnTo>
                    <a:pt x="456" y="504"/>
                  </a:lnTo>
                  <a:lnTo>
                    <a:pt x="456" y="498"/>
                  </a:lnTo>
                  <a:lnTo>
                    <a:pt x="450" y="498"/>
                  </a:lnTo>
                  <a:lnTo>
                    <a:pt x="444" y="498"/>
                  </a:lnTo>
                  <a:lnTo>
                    <a:pt x="438" y="498"/>
                  </a:lnTo>
                  <a:lnTo>
                    <a:pt x="432" y="498"/>
                  </a:lnTo>
                  <a:lnTo>
                    <a:pt x="426" y="504"/>
                  </a:lnTo>
                  <a:lnTo>
                    <a:pt x="426" y="510"/>
                  </a:lnTo>
                  <a:lnTo>
                    <a:pt x="420" y="516"/>
                  </a:lnTo>
                  <a:lnTo>
                    <a:pt x="414" y="522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84" y="528"/>
                  </a:lnTo>
                  <a:lnTo>
                    <a:pt x="366" y="540"/>
                  </a:lnTo>
                  <a:lnTo>
                    <a:pt x="360" y="522"/>
                  </a:lnTo>
                  <a:lnTo>
                    <a:pt x="348" y="504"/>
                  </a:lnTo>
                  <a:lnTo>
                    <a:pt x="330" y="504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34"/>
                  </a:lnTo>
                  <a:lnTo>
                    <a:pt x="288" y="540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2" y="540"/>
                  </a:lnTo>
                  <a:lnTo>
                    <a:pt x="282" y="546"/>
                  </a:lnTo>
                  <a:lnTo>
                    <a:pt x="288" y="552"/>
                  </a:lnTo>
                  <a:lnTo>
                    <a:pt x="294" y="564"/>
                  </a:lnTo>
                  <a:lnTo>
                    <a:pt x="300" y="564"/>
                  </a:lnTo>
                  <a:lnTo>
                    <a:pt x="300" y="570"/>
                  </a:lnTo>
                  <a:lnTo>
                    <a:pt x="294" y="570"/>
                  </a:lnTo>
                  <a:lnTo>
                    <a:pt x="288" y="570"/>
                  </a:lnTo>
                  <a:lnTo>
                    <a:pt x="288" y="576"/>
                  </a:lnTo>
                  <a:lnTo>
                    <a:pt x="288" y="582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606"/>
                  </a:lnTo>
                  <a:lnTo>
                    <a:pt x="264" y="612"/>
                  </a:lnTo>
                  <a:lnTo>
                    <a:pt x="258" y="612"/>
                  </a:lnTo>
                  <a:lnTo>
                    <a:pt x="252" y="612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52" y="630"/>
                  </a:lnTo>
                  <a:lnTo>
                    <a:pt x="264" y="642"/>
                  </a:lnTo>
                  <a:lnTo>
                    <a:pt x="258" y="648"/>
                  </a:lnTo>
                  <a:lnTo>
                    <a:pt x="246" y="654"/>
                  </a:lnTo>
                  <a:lnTo>
                    <a:pt x="240" y="660"/>
                  </a:lnTo>
                  <a:lnTo>
                    <a:pt x="234" y="672"/>
                  </a:lnTo>
                  <a:lnTo>
                    <a:pt x="234" y="678"/>
                  </a:lnTo>
                  <a:lnTo>
                    <a:pt x="228" y="684"/>
                  </a:lnTo>
                  <a:lnTo>
                    <a:pt x="228" y="696"/>
                  </a:lnTo>
                  <a:lnTo>
                    <a:pt x="216" y="71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6" name="Freeform 21">
              <a:extLst>
                <a:ext uri="{FF2B5EF4-FFF2-40B4-BE49-F238E27FC236}">
                  <a16:creationId xmlns:a16="http://schemas.microsoft.com/office/drawing/2014/main" id="{DCB1E808-522D-4C19-B741-CC5DD56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4178" y="3866464"/>
              <a:ext cx="250453" cy="371259"/>
            </a:xfrm>
            <a:custGeom>
              <a:avLst/>
              <a:gdLst>
                <a:gd name="T0" fmla="*/ 0 w 468"/>
                <a:gd name="T1" fmla="*/ 61 h 696"/>
                <a:gd name="T2" fmla="*/ 1 w 468"/>
                <a:gd name="T3" fmla="*/ 58 h 696"/>
                <a:gd name="T4" fmla="*/ 2 w 468"/>
                <a:gd name="T5" fmla="*/ 54 h 696"/>
                <a:gd name="T6" fmla="*/ 3 w 468"/>
                <a:gd name="T7" fmla="*/ 51 h 696"/>
                <a:gd name="T8" fmla="*/ 4 w 468"/>
                <a:gd name="T9" fmla="*/ 48 h 696"/>
                <a:gd name="T10" fmla="*/ 6 w 468"/>
                <a:gd name="T11" fmla="*/ 44 h 696"/>
                <a:gd name="T12" fmla="*/ 5 w 468"/>
                <a:gd name="T13" fmla="*/ 41 h 696"/>
                <a:gd name="T14" fmla="*/ 7 w 468"/>
                <a:gd name="T15" fmla="*/ 38 h 696"/>
                <a:gd name="T16" fmla="*/ 8 w 468"/>
                <a:gd name="T17" fmla="*/ 36 h 696"/>
                <a:gd name="T18" fmla="*/ 7 w 468"/>
                <a:gd name="T19" fmla="*/ 33 h 696"/>
                <a:gd name="T20" fmla="*/ 6 w 468"/>
                <a:gd name="T21" fmla="*/ 29 h 696"/>
                <a:gd name="T22" fmla="*/ 4 w 468"/>
                <a:gd name="T23" fmla="*/ 22 h 696"/>
                <a:gd name="T24" fmla="*/ 2 w 468"/>
                <a:gd name="T25" fmla="*/ 14 h 696"/>
                <a:gd name="T26" fmla="*/ 12 w 468"/>
                <a:gd name="T27" fmla="*/ 11 h 696"/>
                <a:gd name="T28" fmla="*/ 14 w 468"/>
                <a:gd name="T29" fmla="*/ 2 h 696"/>
                <a:gd name="T30" fmla="*/ 16 w 468"/>
                <a:gd name="T31" fmla="*/ 0 h 696"/>
                <a:gd name="T32" fmla="*/ 17 w 468"/>
                <a:gd name="T33" fmla="*/ 0 h 696"/>
                <a:gd name="T34" fmla="*/ 18 w 468"/>
                <a:gd name="T35" fmla="*/ 1 h 696"/>
                <a:gd name="T36" fmla="*/ 17 w 468"/>
                <a:gd name="T37" fmla="*/ 2 h 696"/>
                <a:gd name="T38" fmla="*/ 17 w 468"/>
                <a:gd name="T39" fmla="*/ 4 h 696"/>
                <a:gd name="T40" fmla="*/ 17 w 468"/>
                <a:gd name="T41" fmla="*/ 6 h 696"/>
                <a:gd name="T42" fmla="*/ 20 w 468"/>
                <a:gd name="T43" fmla="*/ 6 h 696"/>
                <a:gd name="T44" fmla="*/ 22 w 468"/>
                <a:gd name="T45" fmla="*/ 5 h 696"/>
                <a:gd name="T46" fmla="*/ 24 w 468"/>
                <a:gd name="T47" fmla="*/ 7 h 696"/>
                <a:gd name="T48" fmla="*/ 28 w 468"/>
                <a:gd name="T49" fmla="*/ 7 h 696"/>
                <a:gd name="T50" fmla="*/ 28 w 468"/>
                <a:gd name="T51" fmla="*/ 11 h 696"/>
                <a:gd name="T52" fmla="*/ 25 w 468"/>
                <a:gd name="T53" fmla="*/ 14 h 696"/>
                <a:gd name="T54" fmla="*/ 23 w 468"/>
                <a:gd name="T55" fmla="*/ 15 h 696"/>
                <a:gd name="T56" fmla="*/ 23 w 468"/>
                <a:gd name="T57" fmla="*/ 19 h 696"/>
                <a:gd name="T58" fmla="*/ 23 w 468"/>
                <a:gd name="T59" fmla="*/ 21 h 696"/>
                <a:gd name="T60" fmla="*/ 24 w 468"/>
                <a:gd name="T61" fmla="*/ 21 h 696"/>
                <a:gd name="T62" fmla="*/ 27 w 468"/>
                <a:gd name="T63" fmla="*/ 23 h 696"/>
                <a:gd name="T64" fmla="*/ 29 w 468"/>
                <a:gd name="T65" fmla="*/ 24 h 696"/>
                <a:gd name="T66" fmla="*/ 29 w 468"/>
                <a:gd name="T67" fmla="*/ 28 h 696"/>
                <a:gd name="T68" fmla="*/ 29 w 468"/>
                <a:gd name="T69" fmla="*/ 29 h 696"/>
                <a:gd name="T70" fmla="*/ 29 w 468"/>
                <a:gd name="T71" fmla="*/ 32 h 696"/>
                <a:gd name="T72" fmla="*/ 32 w 468"/>
                <a:gd name="T73" fmla="*/ 32 h 696"/>
                <a:gd name="T74" fmla="*/ 33 w 468"/>
                <a:gd name="T75" fmla="*/ 35 h 696"/>
                <a:gd name="T76" fmla="*/ 34 w 468"/>
                <a:gd name="T77" fmla="*/ 38 h 696"/>
                <a:gd name="T78" fmla="*/ 35 w 468"/>
                <a:gd name="T79" fmla="*/ 39 h 696"/>
                <a:gd name="T80" fmla="*/ 36 w 468"/>
                <a:gd name="T81" fmla="*/ 40 h 696"/>
                <a:gd name="T82" fmla="*/ 37 w 468"/>
                <a:gd name="T83" fmla="*/ 41 h 696"/>
                <a:gd name="T84" fmla="*/ 38 w 468"/>
                <a:gd name="T85" fmla="*/ 42 h 696"/>
                <a:gd name="T86" fmla="*/ 41 w 468"/>
                <a:gd name="T87" fmla="*/ 44 h 696"/>
                <a:gd name="T88" fmla="*/ 40 w 468"/>
                <a:gd name="T89" fmla="*/ 44 h 696"/>
                <a:gd name="T90" fmla="*/ 37 w 468"/>
                <a:gd name="T91" fmla="*/ 45 h 696"/>
                <a:gd name="T92" fmla="*/ 36 w 468"/>
                <a:gd name="T93" fmla="*/ 48 h 696"/>
                <a:gd name="T94" fmla="*/ 34 w 468"/>
                <a:gd name="T95" fmla="*/ 49 h 696"/>
                <a:gd name="T96" fmla="*/ 32 w 468"/>
                <a:gd name="T97" fmla="*/ 51 h 696"/>
                <a:gd name="T98" fmla="*/ 31 w 468"/>
                <a:gd name="T99" fmla="*/ 51 h 696"/>
                <a:gd name="T100" fmla="*/ 26 w 468"/>
                <a:gd name="T101" fmla="*/ 49 h 696"/>
                <a:gd name="T102" fmla="*/ 23 w 468"/>
                <a:gd name="T103" fmla="*/ 51 h 696"/>
                <a:gd name="T104" fmla="*/ 21 w 468"/>
                <a:gd name="T105" fmla="*/ 51 h 696"/>
                <a:gd name="T106" fmla="*/ 20 w 468"/>
                <a:gd name="T107" fmla="*/ 52 h 696"/>
                <a:gd name="T108" fmla="*/ 17 w 468"/>
                <a:gd name="T109" fmla="*/ 55 h 696"/>
                <a:gd name="T110" fmla="*/ 15 w 468"/>
                <a:gd name="T111" fmla="*/ 56 h 696"/>
                <a:gd name="T112" fmla="*/ 15 w 468"/>
                <a:gd name="T113" fmla="*/ 59 h 696"/>
                <a:gd name="T114" fmla="*/ 14 w 468"/>
                <a:gd name="T115" fmla="*/ 59 h 696"/>
                <a:gd name="T116" fmla="*/ 12 w 468"/>
                <a:gd name="T117" fmla="*/ 59 h 696"/>
                <a:gd name="T118" fmla="*/ 11 w 468"/>
                <a:gd name="T119" fmla="*/ 57 h 696"/>
                <a:gd name="T120" fmla="*/ 9 w 468"/>
                <a:gd name="T121" fmla="*/ 57 h 696"/>
                <a:gd name="T122" fmla="*/ 6 w 468"/>
                <a:gd name="T123" fmla="*/ 58 h 696"/>
                <a:gd name="T124" fmla="*/ 4 w 468"/>
                <a:gd name="T125" fmla="*/ 60 h 69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8"/>
                <a:gd name="T190" fmla="*/ 0 h 696"/>
                <a:gd name="T191" fmla="*/ 468 w 468"/>
                <a:gd name="T192" fmla="*/ 696 h 69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8" h="696">
                  <a:moveTo>
                    <a:pt x="30" y="696"/>
                  </a:moveTo>
                  <a:lnTo>
                    <a:pt x="18" y="696"/>
                  </a:lnTo>
                  <a:lnTo>
                    <a:pt x="6" y="696"/>
                  </a:lnTo>
                  <a:lnTo>
                    <a:pt x="0" y="690"/>
                  </a:lnTo>
                  <a:lnTo>
                    <a:pt x="6" y="678"/>
                  </a:lnTo>
                  <a:lnTo>
                    <a:pt x="12" y="666"/>
                  </a:lnTo>
                  <a:lnTo>
                    <a:pt x="18" y="654"/>
                  </a:lnTo>
                  <a:lnTo>
                    <a:pt x="18" y="642"/>
                  </a:lnTo>
                  <a:lnTo>
                    <a:pt x="18" y="618"/>
                  </a:lnTo>
                  <a:lnTo>
                    <a:pt x="24" y="606"/>
                  </a:lnTo>
                  <a:lnTo>
                    <a:pt x="30" y="594"/>
                  </a:lnTo>
                  <a:lnTo>
                    <a:pt x="30" y="582"/>
                  </a:lnTo>
                  <a:lnTo>
                    <a:pt x="36" y="576"/>
                  </a:lnTo>
                  <a:lnTo>
                    <a:pt x="42" y="564"/>
                  </a:lnTo>
                  <a:lnTo>
                    <a:pt x="48" y="546"/>
                  </a:lnTo>
                  <a:lnTo>
                    <a:pt x="48" y="528"/>
                  </a:lnTo>
                  <a:lnTo>
                    <a:pt x="60" y="516"/>
                  </a:lnTo>
                  <a:lnTo>
                    <a:pt x="66" y="504"/>
                  </a:lnTo>
                  <a:lnTo>
                    <a:pt x="66" y="492"/>
                  </a:lnTo>
                  <a:lnTo>
                    <a:pt x="60" y="480"/>
                  </a:lnTo>
                  <a:lnTo>
                    <a:pt x="54" y="468"/>
                  </a:lnTo>
                  <a:lnTo>
                    <a:pt x="60" y="456"/>
                  </a:lnTo>
                  <a:lnTo>
                    <a:pt x="72" y="450"/>
                  </a:lnTo>
                  <a:lnTo>
                    <a:pt x="84" y="438"/>
                  </a:lnTo>
                  <a:lnTo>
                    <a:pt x="90" y="426"/>
                  </a:lnTo>
                  <a:lnTo>
                    <a:pt x="90" y="420"/>
                  </a:lnTo>
                  <a:lnTo>
                    <a:pt x="90" y="408"/>
                  </a:lnTo>
                  <a:lnTo>
                    <a:pt x="90" y="402"/>
                  </a:lnTo>
                  <a:lnTo>
                    <a:pt x="84" y="396"/>
                  </a:lnTo>
                  <a:lnTo>
                    <a:pt x="78" y="378"/>
                  </a:lnTo>
                  <a:lnTo>
                    <a:pt x="72" y="360"/>
                  </a:lnTo>
                  <a:lnTo>
                    <a:pt x="66" y="348"/>
                  </a:lnTo>
                  <a:lnTo>
                    <a:pt x="72" y="336"/>
                  </a:lnTo>
                  <a:lnTo>
                    <a:pt x="66" y="306"/>
                  </a:lnTo>
                  <a:lnTo>
                    <a:pt x="54" y="276"/>
                  </a:lnTo>
                  <a:lnTo>
                    <a:pt x="42" y="252"/>
                  </a:lnTo>
                  <a:lnTo>
                    <a:pt x="36" y="222"/>
                  </a:lnTo>
                  <a:lnTo>
                    <a:pt x="30" y="192"/>
                  </a:lnTo>
                  <a:lnTo>
                    <a:pt x="24" y="162"/>
                  </a:lnTo>
                  <a:lnTo>
                    <a:pt x="42" y="174"/>
                  </a:lnTo>
                  <a:lnTo>
                    <a:pt x="120" y="138"/>
                  </a:lnTo>
                  <a:lnTo>
                    <a:pt x="132" y="126"/>
                  </a:lnTo>
                  <a:lnTo>
                    <a:pt x="120" y="54"/>
                  </a:lnTo>
                  <a:lnTo>
                    <a:pt x="156" y="30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0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8" y="18"/>
                  </a:lnTo>
                  <a:lnTo>
                    <a:pt x="198" y="24"/>
                  </a:lnTo>
                  <a:lnTo>
                    <a:pt x="198" y="30"/>
                  </a:lnTo>
                  <a:lnTo>
                    <a:pt x="198" y="42"/>
                  </a:lnTo>
                  <a:lnTo>
                    <a:pt x="198" y="48"/>
                  </a:lnTo>
                  <a:lnTo>
                    <a:pt x="192" y="60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28" y="60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34" y="60"/>
                  </a:lnTo>
                  <a:lnTo>
                    <a:pt x="252" y="60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312" y="84"/>
                  </a:lnTo>
                  <a:lnTo>
                    <a:pt x="318" y="96"/>
                  </a:lnTo>
                  <a:lnTo>
                    <a:pt x="318" y="102"/>
                  </a:lnTo>
                  <a:lnTo>
                    <a:pt x="312" y="120"/>
                  </a:lnTo>
                  <a:lnTo>
                    <a:pt x="306" y="132"/>
                  </a:lnTo>
                  <a:lnTo>
                    <a:pt x="294" y="144"/>
                  </a:lnTo>
                  <a:lnTo>
                    <a:pt x="282" y="156"/>
                  </a:lnTo>
                  <a:lnTo>
                    <a:pt x="276" y="162"/>
                  </a:lnTo>
                  <a:lnTo>
                    <a:pt x="270" y="162"/>
                  </a:lnTo>
                  <a:lnTo>
                    <a:pt x="264" y="174"/>
                  </a:lnTo>
                  <a:lnTo>
                    <a:pt x="264" y="192"/>
                  </a:lnTo>
                  <a:lnTo>
                    <a:pt x="264" y="216"/>
                  </a:lnTo>
                  <a:lnTo>
                    <a:pt x="258" y="216"/>
                  </a:lnTo>
                  <a:lnTo>
                    <a:pt x="258" y="228"/>
                  </a:lnTo>
                  <a:lnTo>
                    <a:pt x="252" y="234"/>
                  </a:lnTo>
                  <a:lnTo>
                    <a:pt x="258" y="240"/>
                  </a:lnTo>
                  <a:lnTo>
                    <a:pt x="264" y="240"/>
                  </a:lnTo>
                  <a:lnTo>
                    <a:pt x="270" y="240"/>
                  </a:lnTo>
                  <a:lnTo>
                    <a:pt x="276" y="240"/>
                  </a:lnTo>
                  <a:lnTo>
                    <a:pt x="288" y="240"/>
                  </a:lnTo>
                  <a:lnTo>
                    <a:pt x="300" y="246"/>
                  </a:lnTo>
                  <a:lnTo>
                    <a:pt x="306" y="258"/>
                  </a:lnTo>
                  <a:lnTo>
                    <a:pt x="312" y="264"/>
                  </a:lnTo>
                  <a:lnTo>
                    <a:pt x="318" y="276"/>
                  </a:lnTo>
                  <a:lnTo>
                    <a:pt x="330" y="282"/>
                  </a:lnTo>
                  <a:lnTo>
                    <a:pt x="330" y="300"/>
                  </a:lnTo>
                  <a:lnTo>
                    <a:pt x="336" y="312"/>
                  </a:lnTo>
                  <a:lnTo>
                    <a:pt x="336" y="318"/>
                  </a:lnTo>
                  <a:lnTo>
                    <a:pt x="336" y="330"/>
                  </a:lnTo>
                  <a:lnTo>
                    <a:pt x="324" y="330"/>
                  </a:lnTo>
                  <a:lnTo>
                    <a:pt x="330" y="336"/>
                  </a:lnTo>
                  <a:lnTo>
                    <a:pt x="330" y="342"/>
                  </a:lnTo>
                  <a:lnTo>
                    <a:pt x="336" y="348"/>
                  </a:lnTo>
                  <a:lnTo>
                    <a:pt x="330" y="360"/>
                  </a:lnTo>
                  <a:lnTo>
                    <a:pt x="336" y="372"/>
                  </a:lnTo>
                  <a:lnTo>
                    <a:pt x="354" y="366"/>
                  </a:lnTo>
                  <a:lnTo>
                    <a:pt x="366" y="366"/>
                  </a:lnTo>
                  <a:lnTo>
                    <a:pt x="372" y="378"/>
                  </a:lnTo>
                  <a:lnTo>
                    <a:pt x="372" y="390"/>
                  </a:lnTo>
                  <a:lnTo>
                    <a:pt x="378" y="396"/>
                  </a:lnTo>
                  <a:lnTo>
                    <a:pt x="378" y="408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44"/>
                  </a:lnTo>
                  <a:lnTo>
                    <a:pt x="390" y="444"/>
                  </a:lnTo>
                  <a:lnTo>
                    <a:pt x="396" y="444"/>
                  </a:lnTo>
                  <a:lnTo>
                    <a:pt x="402" y="450"/>
                  </a:lnTo>
                  <a:lnTo>
                    <a:pt x="408" y="450"/>
                  </a:lnTo>
                  <a:lnTo>
                    <a:pt x="408" y="462"/>
                  </a:lnTo>
                  <a:lnTo>
                    <a:pt x="408" y="468"/>
                  </a:lnTo>
                  <a:lnTo>
                    <a:pt x="414" y="474"/>
                  </a:lnTo>
                  <a:lnTo>
                    <a:pt x="420" y="474"/>
                  </a:lnTo>
                  <a:lnTo>
                    <a:pt x="420" y="480"/>
                  </a:lnTo>
                  <a:lnTo>
                    <a:pt x="426" y="480"/>
                  </a:lnTo>
                  <a:lnTo>
                    <a:pt x="432" y="480"/>
                  </a:lnTo>
                  <a:lnTo>
                    <a:pt x="462" y="486"/>
                  </a:lnTo>
                  <a:lnTo>
                    <a:pt x="468" y="492"/>
                  </a:lnTo>
                  <a:lnTo>
                    <a:pt x="468" y="498"/>
                  </a:lnTo>
                  <a:lnTo>
                    <a:pt x="462" y="498"/>
                  </a:lnTo>
                  <a:lnTo>
                    <a:pt x="456" y="498"/>
                  </a:lnTo>
                  <a:lnTo>
                    <a:pt x="456" y="504"/>
                  </a:lnTo>
                  <a:lnTo>
                    <a:pt x="456" y="510"/>
                  </a:lnTo>
                  <a:lnTo>
                    <a:pt x="450" y="516"/>
                  </a:lnTo>
                  <a:lnTo>
                    <a:pt x="426" y="516"/>
                  </a:lnTo>
                  <a:lnTo>
                    <a:pt x="408" y="528"/>
                  </a:lnTo>
                  <a:lnTo>
                    <a:pt x="408" y="546"/>
                  </a:lnTo>
                  <a:lnTo>
                    <a:pt x="414" y="552"/>
                  </a:lnTo>
                  <a:lnTo>
                    <a:pt x="408" y="558"/>
                  </a:lnTo>
                  <a:lnTo>
                    <a:pt x="402" y="564"/>
                  </a:lnTo>
                  <a:lnTo>
                    <a:pt x="384" y="564"/>
                  </a:lnTo>
                  <a:lnTo>
                    <a:pt x="372" y="564"/>
                  </a:lnTo>
                  <a:lnTo>
                    <a:pt x="372" y="576"/>
                  </a:lnTo>
                  <a:lnTo>
                    <a:pt x="366" y="576"/>
                  </a:lnTo>
                  <a:lnTo>
                    <a:pt x="366" y="582"/>
                  </a:lnTo>
                  <a:lnTo>
                    <a:pt x="360" y="582"/>
                  </a:lnTo>
                  <a:lnTo>
                    <a:pt x="348" y="576"/>
                  </a:lnTo>
                  <a:lnTo>
                    <a:pt x="336" y="570"/>
                  </a:lnTo>
                  <a:lnTo>
                    <a:pt x="324" y="570"/>
                  </a:lnTo>
                  <a:lnTo>
                    <a:pt x="300" y="564"/>
                  </a:lnTo>
                  <a:lnTo>
                    <a:pt x="282" y="564"/>
                  </a:lnTo>
                  <a:lnTo>
                    <a:pt x="270" y="570"/>
                  </a:lnTo>
                  <a:lnTo>
                    <a:pt x="264" y="576"/>
                  </a:lnTo>
                  <a:lnTo>
                    <a:pt x="258" y="576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34" y="594"/>
                  </a:lnTo>
                  <a:lnTo>
                    <a:pt x="228" y="600"/>
                  </a:lnTo>
                  <a:lnTo>
                    <a:pt x="210" y="618"/>
                  </a:lnTo>
                  <a:lnTo>
                    <a:pt x="210" y="624"/>
                  </a:lnTo>
                  <a:lnTo>
                    <a:pt x="192" y="630"/>
                  </a:lnTo>
                  <a:lnTo>
                    <a:pt x="186" y="630"/>
                  </a:lnTo>
                  <a:lnTo>
                    <a:pt x="180" y="636"/>
                  </a:lnTo>
                  <a:lnTo>
                    <a:pt x="174" y="642"/>
                  </a:lnTo>
                  <a:lnTo>
                    <a:pt x="168" y="642"/>
                  </a:lnTo>
                  <a:lnTo>
                    <a:pt x="168" y="654"/>
                  </a:lnTo>
                  <a:lnTo>
                    <a:pt x="168" y="678"/>
                  </a:lnTo>
                  <a:lnTo>
                    <a:pt x="162" y="684"/>
                  </a:lnTo>
                  <a:lnTo>
                    <a:pt x="156" y="684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72"/>
                  </a:lnTo>
                  <a:lnTo>
                    <a:pt x="138" y="672"/>
                  </a:lnTo>
                  <a:lnTo>
                    <a:pt x="138" y="666"/>
                  </a:lnTo>
                  <a:lnTo>
                    <a:pt x="132" y="660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48"/>
                  </a:lnTo>
                  <a:lnTo>
                    <a:pt x="102" y="654"/>
                  </a:lnTo>
                  <a:lnTo>
                    <a:pt x="90" y="654"/>
                  </a:lnTo>
                  <a:lnTo>
                    <a:pt x="84" y="654"/>
                  </a:lnTo>
                  <a:lnTo>
                    <a:pt x="72" y="660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36" y="684"/>
                  </a:lnTo>
                  <a:lnTo>
                    <a:pt x="30" y="6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7" name="Freeform 22">
              <a:extLst>
                <a:ext uri="{FF2B5EF4-FFF2-40B4-BE49-F238E27FC236}">
                  <a16:creationId xmlns:a16="http://schemas.microsoft.com/office/drawing/2014/main" id="{2F7A477D-6CF8-44B3-8B32-64EE03DC4D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2895" y="3967106"/>
              <a:ext cx="610479" cy="507686"/>
            </a:xfrm>
            <a:custGeom>
              <a:avLst/>
              <a:gdLst>
                <a:gd name="T0" fmla="*/ 87 w 1146"/>
                <a:gd name="T1" fmla="*/ 56 h 954"/>
                <a:gd name="T2" fmla="*/ 83 w 1146"/>
                <a:gd name="T3" fmla="*/ 66 h 954"/>
                <a:gd name="T4" fmla="*/ 74 w 1146"/>
                <a:gd name="T5" fmla="*/ 69 h 954"/>
                <a:gd name="T6" fmla="*/ 67 w 1146"/>
                <a:gd name="T7" fmla="*/ 75 h 954"/>
                <a:gd name="T8" fmla="*/ 59 w 1146"/>
                <a:gd name="T9" fmla="*/ 78 h 954"/>
                <a:gd name="T10" fmla="*/ 52 w 1146"/>
                <a:gd name="T11" fmla="*/ 77 h 954"/>
                <a:gd name="T12" fmla="*/ 48 w 1146"/>
                <a:gd name="T13" fmla="*/ 79 h 954"/>
                <a:gd name="T14" fmla="*/ 41 w 1146"/>
                <a:gd name="T15" fmla="*/ 82 h 954"/>
                <a:gd name="T16" fmla="*/ 29 w 1146"/>
                <a:gd name="T17" fmla="*/ 78 h 954"/>
                <a:gd name="T18" fmla="*/ 28 w 1146"/>
                <a:gd name="T19" fmla="*/ 76 h 954"/>
                <a:gd name="T20" fmla="*/ 28 w 1146"/>
                <a:gd name="T21" fmla="*/ 72 h 954"/>
                <a:gd name="T22" fmla="*/ 28 w 1146"/>
                <a:gd name="T23" fmla="*/ 74 h 954"/>
                <a:gd name="T24" fmla="*/ 21 w 1146"/>
                <a:gd name="T25" fmla="*/ 74 h 954"/>
                <a:gd name="T26" fmla="*/ 20 w 1146"/>
                <a:gd name="T27" fmla="*/ 67 h 954"/>
                <a:gd name="T28" fmla="*/ 23 w 1146"/>
                <a:gd name="T29" fmla="*/ 64 h 954"/>
                <a:gd name="T30" fmla="*/ 28 w 1146"/>
                <a:gd name="T31" fmla="*/ 65 h 954"/>
                <a:gd name="T32" fmla="*/ 32 w 1146"/>
                <a:gd name="T33" fmla="*/ 62 h 954"/>
                <a:gd name="T34" fmla="*/ 31 w 1146"/>
                <a:gd name="T35" fmla="*/ 56 h 954"/>
                <a:gd name="T36" fmla="*/ 36 w 1146"/>
                <a:gd name="T37" fmla="*/ 54 h 954"/>
                <a:gd name="T38" fmla="*/ 38 w 1146"/>
                <a:gd name="T39" fmla="*/ 54 h 954"/>
                <a:gd name="T40" fmla="*/ 32 w 1146"/>
                <a:gd name="T41" fmla="*/ 54 h 954"/>
                <a:gd name="T42" fmla="*/ 29 w 1146"/>
                <a:gd name="T43" fmla="*/ 59 h 954"/>
                <a:gd name="T44" fmla="*/ 26 w 1146"/>
                <a:gd name="T45" fmla="*/ 59 h 954"/>
                <a:gd name="T46" fmla="*/ 25 w 1146"/>
                <a:gd name="T47" fmla="*/ 61 h 954"/>
                <a:gd name="T48" fmla="*/ 20 w 1146"/>
                <a:gd name="T49" fmla="*/ 61 h 954"/>
                <a:gd name="T50" fmla="*/ 11 w 1146"/>
                <a:gd name="T51" fmla="*/ 54 h 954"/>
                <a:gd name="T52" fmla="*/ 14 w 1146"/>
                <a:gd name="T53" fmla="*/ 50 h 954"/>
                <a:gd name="T54" fmla="*/ 21 w 1146"/>
                <a:gd name="T55" fmla="*/ 51 h 954"/>
                <a:gd name="T56" fmla="*/ 24 w 1146"/>
                <a:gd name="T57" fmla="*/ 50 h 954"/>
                <a:gd name="T58" fmla="*/ 28 w 1146"/>
                <a:gd name="T59" fmla="*/ 48 h 954"/>
                <a:gd name="T60" fmla="*/ 30 w 1146"/>
                <a:gd name="T61" fmla="*/ 49 h 954"/>
                <a:gd name="T62" fmla="*/ 26 w 1146"/>
                <a:gd name="T63" fmla="*/ 47 h 954"/>
                <a:gd name="T64" fmla="*/ 20 w 1146"/>
                <a:gd name="T65" fmla="*/ 50 h 954"/>
                <a:gd name="T66" fmla="*/ 20 w 1146"/>
                <a:gd name="T67" fmla="*/ 44 h 954"/>
                <a:gd name="T68" fmla="*/ 19 w 1146"/>
                <a:gd name="T69" fmla="*/ 46 h 954"/>
                <a:gd name="T70" fmla="*/ 15 w 1146"/>
                <a:gd name="T71" fmla="*/ 49 h 954"/>
                <a:gd name="T72" fmla="*/ 8 w 1146"/>
                <a:gd name="T73" fmla="*/ 48 h 954"/>
                <a:gd name="T74" fmla="*/ 6 w 1146"/>
                <a:gd name="T75" fmla="*/ 41 h 954"/>
                <a:gd name="T76" fmla="*/ 10 w 1146"/>
                <a:gd name="T77" fmla="*/ 41 h 954"/>
                <a:gd name="T78" fmla="*/ 9 w 1146"/>
                <a:gd name="T79" fmla="*/ 39 h 954"/>
                <a:gd name="T80" fmla="*/ 14 w 1146"/>
                <a:gd name="T81" fmla="*/ 35 h 954"/>
                <a:gd name="T82" fmla="*/ 19 w 1146"/>
                <a:gd name="T83" fmla="*/ 32 h 954"/>
                <a:gd name="T84" fmla="*/ 20 w 1146"/>
                <a:gd name="T85" fmla="*/ 29 h 954"/>
                <a:gd name="T86" fmla="*/ 27 w 1146"/>
                <a:gd name="T87" fmla="*/ 27 h 954"/>
                <a:gd name="T88" fmla="*/ 33 w 1146"/>
                <a:gd name="T89" fmla="*/ 28 h 954"/>
                <a:gd name="T90" fmla="*/ 44 w 1146"/>
                <a:gd name="T91" fmla="*/ 27 h 954"/>
                <a:gd name="T92" fmla="*/ 52 w 1146"/>
                <a:gd name="T93" fmla="*/ 41 h 954"/>
                <a:gd name="T94" fmla="*/ 61 w 1146"/>
                <a:gd name="T95" fmla="*/ 40 h 954"/>
                <a:gd name="T96" fmla="*/ 69 w 1146"/>
                <a:gd name="T97" fmla="*/ 34 h 954"/>
                <a:gd name="T98" fmla="*/ 62 w 1146"/>
                <a:gd name="T99" fmla="*/ 12 h 954"/>
                <a:gd name="T100" fmla="*/ 74 w 1146"/>
                <a:gd name="T101" fmla="*/ 8 h 954"/>
                <a:gd name="T102" fmla="*/ 87 w 1146"/>
                <a:gd name="T103" fmla="*/ 1 h 954"/>
                <a:gd name="T104" fmla="*/ 99 w 1146"/>
                <a:gd name="T105" fmla="*/ 12 h 954"/>
                <a:gd name="T106" fmla="*/ 98 w 1146"/>
                <a:gd name="T107" fmla="*/ 27 h 954"/>
                <a:gd name="T108" fmla="*/ 16 w 1146"/>
                <a:gd name="T109" fmla="*/ 33 h 954"/>
                <a:gd name="T110" fmla="*/ 11 w 1146"/>
                <a:gd name="T111" fmla="*/ 36 h 954"/>
                <a:gd name="T112" fmla="*/ 5 w 1146"/>
                <a:gd name="T113" fmla="*/ 41 h 954"/>
                <a:gd name="T114" fmla="*/ 2 w 1146"/>
                <a:gd name="T115" fmla="*/ 36 h 954"/>
                <a:gd name="T116" fmla="*/ 5 w 1146"/>
                <a:gd name="T117" fmla="*/ 26 h 954"/>
                <a:gd name="T118" fmla="*/ 10 w 1146"/>
                <a:gd name="T119" fmla="*/ 20 h 954"/>
                <a:gd name="T120" fmla="*/ 13 w 1146"/>
                <a:gd name="T121" fmla="*/ 20 h 954"/>
                <a:gd name="T122" fmla="*/ 15 w 1146"/>
                <a:gd name="T123" fmla="*/ 27 h 95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46"/>
                <a:gd name="T187" fmla="*/ 0 h 954"/>
                <a:gd name="T188" fmla="*/ 1146 w 1146"/>
                <a:gd name="T189" fmla="*/ 954 h 95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46" h="954">
                  <a:moveTo>
                    <a:pt x="1056" y="498"/>
                  </a:moveTo>
                  <a:lnTo>
                    <a:pt x="1044" y="510"/>
                  </a:lnTo>
                  <a:lnTo>
                    <a:pt x="1032" y="516"/>
                  </a:lnTo>
                  <a:lnTo>
                    <a:pt x="1038" y="528"/>
                  </a:lnTo>
                  <a:lnTo>
                    <a:pt x="1050" y="540"/>
                  </a:lnTo>
                  <a:lnTo>
                    <a:pt x="1050" y="546"/>
                  </a:lnTo>
                  <a:lnTo>
                    <a:pt x="1050" y="564"/>
                  </a:lnTo>
                  <a:lnTo>
                    <a:pt x="1038" y="576"/>
                  </a:lnTo>
                  <a:lnTo>
                    <a:pt x="1032" y="588"/>
                  </a:lnTo>
                  <a:lnTo>
                    <a:pt x="1020" y="594"/>
                  </a:lnTo>
                  <a:lnTo>
                    <a:pt x="1008" y="594"/>
                  </a:lnTo>
                  <a:lnTo>
                    <a:pt x="1002" y="600"/>
                  </a:lnTo>
                  <a:lnTo>
                    <a:pt x="996" y="612"/>
                  </a:lnTo>
                  <a:lnTo>
                    <a:pt x="996" y="624"/>
                  </a:lnTo>
                  <a:lnTo>
                    <a:pt x="996" y="648"/>
                  </a:lnTo>
                  <a:lnTo>
                    <a:pt x="996" y="660"/>
                  </a:lnTo>
                  <a:lnTo>
                    <a:pt x="1002" y="672"/>
                  </a:lnTo>
                  <a:lnTo>
                    <a:pt x="1002" y="684"/>
                  </a:lnTo>
                  <a:lnTo>
                    <a:pt x="996" y="684"/>
                  </a:lnTo>
                  <a:lnTo>
                    <a:pt x="984" y="690"/>
                  </a:lnTo>
                  <a:lnTo>
                    <a:pt x="972" y="690"/>
                  </a:lnTo>
                  <a:lnTo>
                    <a:pt x="966" y="696"/>
                  </a:lnTo>
                  <a:lnTo>
                    <a:pt x="966" y="702"/>
                  </a:lnTo>
                  <a:lnTo>
                    <a:pt x="966" y="714"/>
                  </a:lnTo>
                  <a:lnTo>
                    <a:pt x="972" y="726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2" y="756"/>
                  </a:lnTo>
                  <a:lnTo>
                    <a:pt x="966" y="756"/>
                  </a:lnTo>
                  <a:lnTo>
                    <a:pt x="942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18" y="768"/>
                  </a:lnTo>
                  <a:lnTo>
                    <a:pt x="906" y="768"/>
                  </a:lnTo>
                  <a:lnTo>
                    <a:pt x="894" y="762"/>
                  </a:lnTo>
                  <a:lnTo>
                    <a:pt x="882" y="756"/>
                  </a:lnTo>
                  <a:lnTo>
                    <a:pt x="876" y="756"/>
                  </a:lnTo>
                  <a:lnTo>
                    <a:pt x="876" y="762"/>
                  </a:lnTo>
                  <a:lnTo>
                    <a:pt x="864" y="768"/>
                  </a:lnTo>
                  <a:lnTo>
                    <a:pt x="858" y="774"/>
                  </a:lnTo>
                  <a:lnTo>
                    <a:pt x="852" y="774"/>
                  </a:lnTo>
                  <a:lnTo>
                    <a:pt x="840" y="780"/>
                  </a:lnTo>
                  <a:lnTo>
                    <a:pt x="840" y="786"/>
                  </a:lnTo>
                  <a:lnTo>
                    <a:pt x="840" y="792"/>
                  </a:lnTo>
                  <a:lnTo>
                    <a:pt x="840" y="804"/>
                  </a:lnTo>
                  <a:lnTo>
                    <a:pt x="840" y="810"/>
                  </a:lnTo>
                  <a:lnTo>
                    <a:pt x="828" y="816"/>
                  </a:lnTo>
                  <a:lnTo>
                    <a:pt x="810" y="810"/>
                  </a:lnTo>
                  <a:lnTo>
                    <a:pt x="792" y="810"/>
                  </a:lnTo>
                  <a:lnTo>
                    <a:pt x="786" y="816"/>
                  </a:lnTo>
                  <a:lnTo>
                    <a:pt x="780" y="816"/>
                  </a:lnTo>
                  <a:lnTo>
                    <a:pt x="780" y="822"/>
                  </a:lnTo>
                  <a:lnTo>
                    <a:pt x="780" y="828"/>
                  </a:lnTo>
                  <a:lnTo>
                    <a:pt x="780" y="834"/>
                  </a:lnTo>
                  <a:lnTo>
                    <a:pt x="786" y="840"/>
                  </a:lnTo>
                  <a:lnTo>
                    <a:pt x="786" y="846"/>
                  </a:lnTo>
                  <a:lnTo>
                    <a:pt x="786" y="852"/>
                  </a:lnTo>
                  <a:lnTo>
                    <a:pt x="780" y="858"/>
                  </a:lnTo>
                  <a:lnTo>
                    <a:pt x="768" y="858"/>
                  </a:lnTo>
                  <a:lnTo>
                    <a:pt x="762" y="864"/>
                  </a:lnTo>
                  <a:lnTo>
                    <a:pt x="756" y="864"/>
                  </a:lnTo>
                  <a:lnTo>
                    <a:pt x="750" y="870"/>
                  </a:lnTo>
                  <a:lnTo>
                    <a:pt x="744" y="876"/>
                  </a:lnTo>
                  <a:lnTo>
                    <a:pt x="732" y="876"/>
                  </a:lnTo>
                  <a:lnTo>
                    <a:pt x="726" y="876"/>
                  </a:lnTo>
                  <a:lnTo>
                    <a:pt x="720" y="870"/>
                  </a:lnTo>
                  <a:lnTo>
                    <a:pt x="714" y="864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6" y="876"/>
                  </a:lnTo>
                  <a:lnTo>
                    <a:pt x="696" y="882"/>
                  </a:lnTo>
                  <a:lnTo>
                    <a:pt x="696" y="894"/>
                  </a:lnTo>
                  <a:lnTo>
                    <a:pt x="690" y="900"/>
                  </a:lnTo>
                  <a:lnTo>
                    <a:pt x="684" y="900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54" y="888"/>
                  </a:lnTo>
                  <a:lnTo>
                    <a:pt x="654" y="882"/>
                  </a:lnTo>
                  <a:lnTo>
                    <a:pt x="642" y="876"/>
                  </a:lnTo>
                  <a:lnTo>
                    <a:pt x="636" y="876"/>
                  </a:lnTo>
                  <a:lnTo>
                    <a:pt x="630" y="876"/>
                  </a:lnTo>
                  <a:lnTo>
                    <a:pt x="630" y="870"/>
                  </a:lnTo>
                  <a:lnTo>
                    <a:pt x="618" y="858"/>
                  </a:lnTo>
                  <a:lnTo>
                    <a:pt x="612" y="858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06" y="876"/>
                  </a:lnTo>
                  <a:lnTo>
                    <a:pt x="606" y="882"/>
                  </a:lnTo>
                  <a:lnTo>
                    <a:pt x="606" y="888"/>
                  </a:lnTo>
                  <a:lnTo>
                    <a:pt x="600" y="894"/>
                  </a:lnTo>
                  <a:lnTo>
                    <a:pt x="594" y="894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76" y="894"/>
                  </a:lnTo>
                  <a:lnTo>
                    <a:pt x="582" y="900"/>
                  </a:lnTo>
                  <a:lnTo>
                    <a:pt x="576" y="906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64" y="918"/>
                  </a:lnTo>
                  <a:lnTo>
                    <a:pt x="558" y="918"/>
                  </a:lnTo>
                  <a:lnTo>
                    <a:pt x="558" y="912"/>
                  </a:lnTo>
                  <a:lnTo>
                    <a:pt x="552" y="906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06"/>
                  </a:lnTo>
                  <a:lnTo>
                    <a:pt x="534" y="906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0" y="924"/>
                  </a:lnTo>
                  <a:lnTo>
                    <a:pt x="504" y="924"/>
                  </a:lnTo>
                  <a:lnTo>
                    <a:pt x="498" y="930"/>
                  </a:lnTo>
                  <a:lnTo>
                    <a:pt x="492" y="924"/>
                  </a:lnTo>
                  <a:lnTo>
                    <a:pt x="486" y="930"/>
                  </a:lnTo>
                  <a:lnTo>
                    <a:pt x="480" y="942"/>
                  </a:lnTo>
                  <a:lnTo>
                    <a:pt x="468" y="948"/>
                  </a:lnTo>
                  <a:lnTo>
                    <a:pt x="444" y="942"/>
                  </a:lnTo>
                  <a:lnTo>
                    <a:pt x="438" y="954"/>
                  </a:lnTo>
                  <a:lnTo>
                    <a:pt x="426" y="954"/>
                  </a:lnTo>
                  <a:lnTo>
                    <a:pt x="420" y="948"/>
                  </a:lnTo>
                  <a:lnTo>
                    <a:pt x="408" y="936"/>
                  </a:lnTo>
                  <a:lnTo>
                    <a:pt x="396" y="936"/>
                  </a:lnTo>
                  <a:lnTo>
                    <a:pt x="390" y="930"/>
                  </a:lnTo>
                  <a:lnTo>
                    <a:pt x="390" y="924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66" y="924"/>
                  </a:lnTo>
                  <a:lnTo>
                    <a:pt x="360" y="924"/>
                  </a:lnTo>
                  <a:lnTo>
                    <a:pt x="348" y="918"/>
                  </a:lnTo>
                  <a:lnTo>
                    <a:pt x="342" y="906"/>
                  </a:lnTo>
                  <a:lnTo>
                    <a:pt x="336" y="906"/>
                  </a:lnTo>
                  <a:lnTo>
                    <a:pt x="330" y="906"/>
                  </a:lnTo>
                  <a:lnTo>
                    <a:pt x="312" y="906"/>
                  </a:lnTo>
                  <a:lnTo>
                    <a:pt x="312" y="900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888"/>
                  </a:lnTo>
                  <a:lnTo>
                    <a:pt x="312" y="882"/>
                  </a:lnTo>
                  <a:lnTo>
                    <a:pt x="306" y="876"/>
                  </a:lnTo>
                  <a:lnTo>
                    <a:pt x="312" y="876"/>
                  </a:lnTo>
                  <a:lnTo>
                    <a:pt x="312" y="870"/>
                  </a:lnTo>
                  <a:lnTo>
                    <a:pt x="318" y="876"/>
                  </a:lnTo>
                  <a:lnTo>
                    <a:pt x="318" y="870"/>
                  </a:lnTo>
                  <a:lnTo>
                    <a:pt x="324" y="876"/>
                  </a:lnTo>
                  <a:lnTo>
                    <a:pt x="330" y="876"/>
                  </a:lnTo>
                  <a:lnTo>
                    <a:pt x="336" y="876"/>
                  </a:lnTo>
                  <a:lnTo>
                    <a:pt x="342" y="876"/>
                  </a:lnTo>
                  <a:lnTo>
                    <a:pt x="336" y="876"/>
                  </a:lnTo>
                  <a:lnTo>
                    <a:pt x="330" y="870"/>
                  </a:lnTo>
                  <a:lnTo>
                    <a:pt x="324" y="870"/>
                  </a:lnTo>
                  <a:lnTo>
                    <a:pt x="318" y="870"/>
                  </a:lnTo>
                  <a:lnTo>
                    <a:pt x="312" y="870"/>
                  </a:lnTo>
                  <a:lnTo>
                    <a:pt x="318" y="864"/>
                  </a:lnTo>
                  <a:lnTo>
                    <a:pt x="318" y="858"/>
                  </a:lnTo>
                  <a:lnTo>
                    <a:pt x="318" y="852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6" y="846"/>
                  </a:lnTo>
                  <a:lnTo>
                    <a:pt x="312" y="828"/>
                  </a:lnTo>
                  <a:lnTo>
                    <a:pt x="312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06" y="816"/>
                  </a:lnTo>
                  <a:lnTo>
                    <a:pt x="306" y="810"/>
                  </a:lnTo>
                  <a:lnTo>
                    <a:pt x="306" y="816"/>
                  </a:lnTo>
                  <a:lnTo>
                    <a:pt x="312" y="822"/>
                  </a:lnTo>
                  <a:lnTo>
                    <a:pt x="306" y="822"/>
                  </a:lnTo>
                  <a:lnTo>
                    <a:pt x="306" y="828"/>
                  </a:lnTo>
                  <a:lnTo>
                    <a:pt x="306" y="834"/>
                  </a:lnTo>
                  <a:lnTo>
                    <a:pt x="300" y="840"/>
                  </a:lnTo>
                  <a:lnTo>
                    <a:pt x="300" y="846"/>
                  </a:lnTo>
                  <a:lnTo>
                    <a:pt x="306" y="852"/>
                  </a:lnTo>
                  <a:lnTo>
                    <a:pt x="306" y="858"/>
                  </a:lnTo>
                  <a:lnTo>
                    <a:pt x="312" y="858"/>
                  </a:lnTo>
                  <a:lnTo>
                    <a:pt x="312" y="864"/>
                  </a:lnTo>
                  <a:lnTo>
                    <a:pt x="306" y="864"/>
                  </a:lnTo>
                  <a:lnTo>
                    <a:pt x="300" y="864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82" y="870"/>
                  </a:lnTo>
                  <a:lnTo>
                    <a:pt x="276" y="870"/>
                  </a:lnTo>
                  <a:lnTo>
                    <a:pt x="270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8" y="870"/>
                  </a:lnTo>
                  <a:lnTo>
                    <a:pt x="252" y="870"/>
                  </a:lnTo>
                  <a:lnTo>
                    <a:pt x="252" y="864"/>
                  </a:lnTo>
                  <a:lnTo>
                    <a:pt x="246" y="858"/>
                  </a:lnTo>
                  <a:lnTo>
                    <a:pt x="246" y="852"/>
                  </a:lnTo>
                  <a:lnTo>
                    <a:pt x="246" y="846"/>
                  </a:lnTo>
                  <a:lnTo>
                    <a:pt x="246" y="840"/>
                  </a:lnTo>
                  <a:lnTo>
                    <a:pt x="246" y="834"/>
                  </a:lnTo>
                  <a:lnTo>
                    <a:pt x="246" y="828"/>
                  </a:lnTo>
                  <a:lnTo>
                    <a:pt x="246" y="822"/>
                  </a:lnTo>
                  <a:lnTo>
                    <a:pt x="240" y="816"/>
                  </a:lnTo>
                  <a:lnTo>
                    <a:pt x="240" y="810"/>
                  </a:lnTo>
                  <a:lnTo>
                    <a:pt x="240" y="804"/>
                  </a:lnTo>
                  <a:lnTo>
                    <a:pt x="240" y="798"/>
                  </a:lnTo>
                  <a:lnTo>
                    <a:pt x="234" y="798"/>
                  </a:lnTo>
                  <a:lnTo>
                    <a:pt x="234" y="792"/>
                  </a:lnTo>
                  <a:lnTo>
                    <a:pt x="234" y="786"/>
                  </a:lnTo>
                  <a:lnTo>
                    <a:pt x="234" y="780"/>
                  </a:lnTo>
                  <a:lnTo>
                    <a:pt x="228" y="780"/>
                  </a:lnTo>
                  <a:lnTo>
                    <a:pt x="228" y="774"/>
                  </a:lnTo>
                  <a:lnTo>
                    <a:pt x="228" y="768"/>
                  </a:lnTo>
                  <a:lnTo>
                    <a:pt x="222" y="762"/>
                  </a:lnTo>
                  <a:lnTo>
                    <a:pt x="222" y="756"/>
                  </a:lnTo>
                  <a:lnTo>
                    <a:pt x="222" y="750"/>
                  </a:lnTo>
                  <a:lnTo>
                    <a:pt x="222" y="744"/>
                  </a:lnTo>
                  <a:lnTo>
                    <a:pt x="222" y="738"/>
                  </a:lnTo>
                  <a:lnTo>
                    <a:pt x="216" y="732"/>
                  </a:lnTo>
                  <a:lnTo>
                    <a:pt x="222" y="732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32"/>
                  </a:lnTo>
                  <a:lnTo>
                    <a:pt x="246" y="732"/>
                  </a:lnTo>
                  <a:lnTo>
                    <a:pt x="246" y="738"/>
                  </a:lnTo>
                  <a:lnTo>
                    <a:pt x="252" y="738"/>
                  </a:lnTo>
                  <a:lnTo>
                    <a:pt x="258" y="738"/>
                  </a:lnTo>
                  <a:lnTo>
                    <a:pt x="258" y="732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8" y="732"/>
                  </a:lnTo>
                  <a:lnTo>
                    <a:pt x="294" y="732"/>
                  </a:lnTo>
                  <a:lnTo>
                    <a:pt x="300" y="732"/>
                  </a:lnTo>
                  <a:lnTo>
                    <a:pt x="300" y="738"/>
                  </a:lnTo>
                  <a:lnTo>
                    <a:pt x="306" y="738"/>
                  </a:lnTo>
                  <a:lnTo>
                    <a:pt x="306" y="744"/>
                  </a:lnTo>
                  <a:lnTo>
                    <a:pt x="306" y="750"/>
                  </a:lnTo>
                  <a:lnTo>
                    <a:pt x="312" y="750"/>
                  </a:lnTo>
                  <a:lnTo>
                    <a:pt x="312" y="756"/>
                  </a:lnTo>
                  <a:lnTo>
                    <a:pt x="318" y="756"/>
                  </a:lnTo>
                  <a:lnTo>
                    <a:pt x="318" y="750"/>
                  </a:lnTo>
                  <a:lnTo>
                    <a:pt x="312" y="750"/>
                  </a:lnTo>
                  <a:lnTo>
                    <a:pt x="312" y="744"/>
                  </a:lnTo>
                  <a:lnTo>
                    <a:pt x="318" y="738"/>
                  </a:lnTo>
                  <a:lnTo>
                    <a:pt x="324" y="738"/>
                  </a:lnTo>
                  <a:lnTo>
                    <a:pt x="330" y="738"/>
                  </a:lnTo>
                  <a:lnTo>
                    <a:pt x="336" y="738"/>
                  </a:lnTo>
                  <a:lnTo>
                    <a:pt x="342" y="738"/>
                  </a:lnTo>
                  <a:lnTo>
                    <a:pt x="348" y="732"/>
                  </a:lnTo>
                  <a:lnTo>
                    <a:pt x="354" y="732"/>
                  </a:lnTo>
                  <a:lnTo>
                    <a:pt x="360" y="732"/>
                  </a:lnTo>
                  <a:lnTo>
                    <a:pt x="360" y="726"/>
                  </a:lnTo>
                  <a:lnTo>
                    <a:pt x="366" y="726"/>
                  </a:lnTo>
                  <a:lnTo>
                    <a:pt x="366" y="720"/>
                  </a:lnTo>
                  <a:lnTo>
                    <a:pt x="366" y="714"/>
                  </a:lnTo>
                  <a:lnTo>
                    <a:pt x="360" y="708"/>
                  </a:lnTo>
                  <a:lnTo>
                    <a:pt x="354" y="708"/>
                  </a:lnTo>
                  <a:lnTo>
                    <a:pt x="348" y="702"/>
                  </a:lnTo>
                  <a:lnTo>
                    <a:pt x="354" y="702"/>
                  </a:lnTo>
                  <a:lnTo>
                    <a:pt x="354" y="696"/>
                  </a:lnTo>
                  <a:lnTo>
                    <a:pt x="348" y="696"/>
                  </a:lnTo>
                  <a:lnTo>
                    <a:pt x="348" y="690"/>
                  </a:lnTo>
                  <a:lnTo>
                    <a:pt x="342" y="690"/>
                  </a:lnTo>
                  <a:lnTo>
                    <a:pt x="342" y="684"/>
                  </a:lnTo>
                  <a:lnTo>
                    <a:pt x="342" y="678"/>
                  </a:lnTo>
                  <a:lnTo>
                    <a:pt x="342" y="666"/>
                  </a:lnTo>
                  <a:lnTo>
                    <a:pt x="342" y="660"/>
                  </a:lnTo>
                  <a:lnTo>
                    <a:pt x="348" y="654"/>
                  </a:lnTo>
                  <a:lnTo>
                    <a:pt x="348" y="642"/>
                  </a:lnTo>
                  <a:lnTo>
                    <a:pt x="354" y="642"/>
                  </a:lnTo>
                  <a:lnTo>
                    <a:pt x="360" y="642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66" y="642"/>
                  </a:lnTo>
                  <a:lnTo>
                    <a:pt x="372" y="642"/>
                  </a:lnTo>
                  <a:lnTo>
                    <a:pt x="378" y="642"/>
                  </a:lnTo>
                  <a:lnTo>
                    <a:pt x="384" y="642"/>
                  </a:lnTo>
                  <a:lnTo>
                    <a:pt x="390" y="642"/>
                  </a:lnTo>
                  <a:lnTo>
                    <a:pt x="396" y="642"/>
                  </a:lnTo>
                  <a:lnTo>
                    <a:pt x="396" y="636"/>
                  </a:lnTo>
                  <a:lnTo>
                    <a:pt x="402" y="636"/>
                  </a:lnTo>
                  <a:lnTo>
                    <a:pt x="408" y="636"/>
                  </a:lnTo>
                  <a:lnTo>
                    <a:pt x="402" y="636"/>
                  </a:lnTo>
                  <a:lnTo>
                    <a:pt x="402" y="630"/>
                  </a:lnTo>
                  <a:lnTo>
                    <a:pt x="408" y="630"/>
                  </a:lnTo>
                  <a:lnTo>
                    <a:pt x="408" y="624"/>
                  </a:lnTo>
                  <a:lnTo>
                    <a:pt x="408" y="618"/>
                  </a:lnTo>
                  <a:lnTo>
                    <a:pt x="414" y="618"/>
                  </a:lnTo>
                  <a:lnTo>
                    <a:pt x="420" y="618"/>
                  </a:lnTo>
                  <a:lnTo>
                    <a:pt x="426" y="624"/>
                  </a:lnTo>
                  <a:lnTo>
                    <a:pt x="432" y="624"/>
                  </a:lnTo>
                  <a:lnTo>
                    <a:pt x="438" y="624"/>
                  </a:lnTo>
                  <a:lnTo>
                    <a:pt x="438" y="618"/>
                  </a:lnTo>
                  <a:lnTo>
                    <a:pt x="444" y="618"/>
                  </a:lnTo>
                  <a:lnTo>
                    <a:pt x="450" y="618"/>
                  </a:lnTo>
                  <a:lnTo>
                    <a:pt x="444" y="618"/>
                  </a:lnTo>
                  <a:lnTo>
                    <a:pt x="438" y="618"/>
                  </a:lnTo>
                  <a:lnTo>
                    <a:pt x="438" y="612"/>
                  </a:lnTo>
                  <a:lnTo>
                    <a:pt x="438" y="618"/>
                  </a:lnTo>
                  <a:lnTo>
                    <a:pt x="432" y="624"/>
                  </a:lnTo>
                  <a:lnTo>
                    <a:pt x="426" y="618"/>
                  </a:lnTo>
                  <a:lnTo>
                    <a:pt x="420" y="612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402" y="624"/>
                  </a:lnTo>
                  <a:lnTo>
                    <a:pt x="396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78" y="630"/>
                  </a:lnTo>
                  <a:lnTo>
                    <a:pt x="378" y="636"/>
                  </a:lnTo>
                  <a:lnTo>
                    <a:pt x="372" y="630"/>
                  </a:lnTo>
                  <a:lnTo>
                    <a:pt x="366" y="630"/>
                  </a:lnTo>
                  <a:lnTo>
                    <a:pt x="360" y="630"/>
                  </a:lnTo>
                  <a:lnTo>
                    <a:pt x="354" y="630"/>
                  </a:lnTo>
                  <a:lnTo>
                    <a:pt x="354" y="636"/>
                  </a:lnTo>
                  <a:lnTo>
                    <a:pt x="348" y="636"/>
                  </a:lnTo>
                  <a:lnTo>
                    <a:pt x="348" y="642"/>
                  </a:lnTo>
                  <a:lnTo>
                    <a:pt x="342" y="642"/>
                  </a:lnTo>
                  <a:lnTo>
                    <a:pt x="342" y="648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6" y="660"/>
                  </a:lnTo>
                  <a:lnTo>
                    <a:pt x="336" y="666"/>
                  </a:lnTo>
                  <a:lnTo>
                    <a:pt x="330" y="672"/>
                  </a:lnTo>
                  <a:lnTo>
                    <a:pt x="330" y="678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24" y="696"/>
                  </a:lnTo>
                  <a:lnTo>
                    <a:pt x="324" y="702"/>
                  </a:lnTo>
                  <a:lnTo>
                    <a:pt x="318" y="702"/>
                  </a:lnTo>
                  <a:lnTo>
                    <a:pt x="318" y="708"/>
                  </a:lnTo>
                  <a:lnTo>
                    <a:pt x="312" y="708"/>
                  </a:lnTo>
                  <a:lnTo>
                    <a:pt x="312" y="702"/>
                  </a:lnTo>
                  <a:lnTo>
                    <a:pt x="306" y="702"/>
                  </a:lnTo>
                  <a:lnTo>
                    <a:pt x="300" y="702"/>
                  </a:lnTo>
                  <a:lnTo>
                    <a:pt x="294" y="696"/>
                  </a:lnTo>
                  <a:lnTo>
                    <a:pt x="288" y="696"/>
                  </a:lnTo>
                  <a:lnTo>
                    <a:pt x="282" y="690"/>
                  </a:lnTo>
                  <a:lnTo>
                    <a:pt x="288" y="684"/>
                  </a:lnTo>
                  <a:lnTo>
                    <a:pt x="294" y="684"/>
                  </a:lnTo>
                  <a:lnTo>
                    <a:pt x="294" y="678"/>
                  </a:lnTo>
                  <a:lnTo>
                    <a:pt x="300" y="678"/>
                  </a:lnTo>
                  <a:lnTo>
                    <a:pt x="294" y="678"/>
                  </a:lnTo>
                  <a:lnTo>
                    <a:pt x="294" y="672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94" y="672"/>
                  </a:lnTo>
                  <a:lnTo>
                    <a:pt x="288" y="678"/>
                  </a:lnTo>
                  <a:lnTo>
                    <a:pt x="282" y="684"/>
                  </a:lnTo>
                  <a:lnTo>
                    <a:pt x="282" y="678"/>
                  </a:lnTo>
                  <a:lnTo>
                    <a:pt x="276" y="678"/>
                  </a:lnTo>
                  <a:lnTo>
                    <a:pt x="282" y="684"/>
                  </a:lnTo>
                  <a:lnTo>
                    <a:pt x="282" y="690"/>
                  </a:lnTo>
                  <a:lnTo>
                    <a:pt x="282" y="696"/>
                  </a:lnTo>
                  <a:lnTo>
                    <a:pt x="288" y="702"/>
                  </a:lnTo>
                  <a:lnTo>
                    <a:pt x="294" y="708"/>
                  </a:lnTo>
                  <a:lnTo>
                    <a:pt x="294" y="714"/>
                  </a:lnTo>
                  <a:lnTo>
                    <a:pt x="288" y="714"/>
                  </a:lnTo>
                  <a:lnTo>
                    <a:pt x="282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64" y="714"/>
                  </a:lnTo>
                  <a:lnTo>
                    <a:pt x="258" y="714"/>
                  </a:lnTo>
                  <a:lnTo>
                    <a:pt x="252" y="714"/>
                  </a:lnTo>
                  <a:lnTo>
                    <a:pt x="246" y="714"/>
                  </a:lnTo>
                  <a:lnTo>
                    <a:pt x="240" y="714"/>
                  </a:lnTo>
                  <a:lnTo>
                    <a:pt x="240" y="708"/>
                  </a:lnTo>
                  <a:lnTo>
                    <a:pt x="234" y="708"/>
                  </a:lnTo>
                  <a:lnTo>
                    <a:pt x="228" y="708"/>
                  </a:lnTo>
                  <a:lnTo>
                    <a:pt x="222" y="702"/>
                  </a:lnTo>
                  <a:lnTo>
                    <a:pt x="216" y="702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2" y="690"/>
                  </a:lnTo>
                  <a:lnTo>
                    <a:pt x="186" y="690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68" y="684"/>
                  </a:lnTo>
                  <a:lnTo>
                    <a:pt x="168" y="678"/>
                  </a:lnTo>
                  <a:lnTo>
                    <a:pt x="156" y="672"/>
                  </a:lnTo>
                  <a:lnTo>
                    <a:pt x="150" y="660"/>
                  </a:lnTo>
                  <a:lnTo>
                    <a:pt x="126" y="630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12"/>
                  </a:lnTo>
                  <a:lnTo>
                    <a:pt x="126" y="606"/>
                  </a:lnTo>
                  <a:lnTo>
                    <a:pt x="126" y="600"/>
                  </a:lnTo>
                  <a:lnTo>
                    <a:pt x="132" y="594"/>
                  </a:lnTo>
                  <a:lnTo>
                    <a:pt x="138" y="594"/>
                  </a:lnTo>
                  <a:lnTo>
                    <a:pt x="144" y="588"/>
                  </a:lnTo>
                  <a:lnTo>
                    <a:pt x="144" y="582"/>
                  </a:lnTo>
                  <a:lnTo>
                    <a:pt x="150" y="582"/>
                  </a:lnTo>
                  <a:lnTo>
                    <a:pt x="150" y="576"/>
                  </a:lnTo>
                  <a:lnTo>
                    <a:pt x="156" y="576"/>
                  </a:lnTo>
                  <a:lnTo>
                    <a:pt x="156" y="582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8" y="576"/>
                  </a:lnTo>
                  <a:lnTo>
                    <a:pt x="174" y="576"/>
                  </a:lnTo>
                  <a:lnTo>
                    <a:pt x="180" y="582"/>
                  </a:lnTo>
                  <a:lnTo>
                    <a:pt x="192" y="582"/>
                  </a:lnTo>
                  <a:lnTo>
                    <a:pt x="198" y="582"/>
                  </a:lnTo>
                  <a:lnTo>
                    <a:pt x="204" y="582"/>
                  </a:lnTo>
                  <a:lnTo>
                    <a:pt x="210" y="582"/>
                  </a:lnTo>
                  <a:lnTo>
                    <a:pt x="216" y="588"/>
                  </a:lnTo>
                  <a:lnTo>
                    <a:pt x="222" y="588"/>
                  </a:lnTo>
                  <a:lnTo>
                    <a:pt x="234" y="588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46" y="594"/>
                  </a:lnTo>
                  <a:lnTo>
                    <a:pt x="252" y="588"/>
                  </a:lnTo>
                  <a:lnTo>
                    <a:pt x="258" y="588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52" y="600"/>
                  </a:lnTo>
                  <a:lnTo>
                    <a:pt x="246" y="600"/>
                  </a:lnTo>
                  <a:lnTo>
                    <a:pt x="246" y="606"/>
                  </a:lnTo>
                  <a:lnTo>
                    <a:pt x="246" y="600"/>
                  </a:lnTo>
                  <a:lnTo>
                    <a:pt x="252" y="600"/>
                  </a:lnTo>
                  <a:lnTo>
                    <a:pt x="258" y="594"/>
                  </a:lnTo>
                  <a:lnTo>
                    <a:pt x="264" y="594"/>
                  </a:lnTo>
                  <a:lnTo>
                    <a:pt x="264" y="588"/>
                  </a:lnTo>
                  <a:lnTo>
                    <a:pt x="270" y="588"/>
                  </a:lnTo>
                  <a:lnTo>
                    <a:pt x="270" y="582"/>
                  </a:lnTo>
                  <a:lnTo>
                    <a:pt x="270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76" y="564"/>
                  </a:lnTo>
                  <a:lnTo>
                    <a:pt x="270" y="558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58"/>
                  </a:lnTo>
                  <a:lnTo>
                    <a:pt x="282" y="558"/>
                  </a:lnTo>
                  <a:lnTo>
                    <a:pt x="288" y="558"/>
                  </a:lnTo>
                  <a:lnTo>
                    <a:pt x="294" y="558"/>
                  </a:lnTo>
                  <a:lnTo>
                    <a:pt x="300" y="558"/>
                  </a:lnTo>
                  <a:lnTo>
                    <a:pt x="306" y="558"/>
                  </a:lnTo>
                  <a:lnTo>
                    <a:pt x="312" y="558"/>
                  </a:lnTo>
                  <a:lnTo>
                    <a:pt x="318" y="558"/>
                  </a:lnTo>
                  <a:lnTo>
                    <a:pt x="318" y="564"/>
                  </a:lnTo>
                  <a:lnTo>
                    <a:pt x="324" y="564"/>
                  </a:lnTo>
                  <a:lnTo>
                    <a:pt x="324" y="570"/>
                  </a:lnTo>
                  <a:lnTo>
                    <a:pt x="330" y="570"/>
                  </a:lnTo>
                  <a:lnTo>
                    <a:pt x="336" y="570"/>
                  </a:lnTo>
                  <a:lnTo>
                    <a:pt x="342" y="570"/>
                  </a:lnTo>
                  <a:lnTo>
                    <a:pt x="348" y="570"/>
                  </a:lnTo>
                  <a:lnTo>
                    <a:pt x="354" y="570"/>
                  </a:lnTo>
                  <a:lnTo>
                    <a:pt x="360" y="570"/>
                  </a:lnTo>
                  <a:lnTo>
                    <a:pt x="366" y="570"/>
                  </a:lnTo>
                  <a:lnTo>
                    <a:pt x="360" y="570"/>
                  </a:lnTo>
                  <a:lnTo>
                    <a:pt x="360" y="564"/>
                  </a:lnTo>
                  <a:lnTo>
                    <a:pt x="354" y="564"/>
                  </a:lnTo>
                  <a:lnTo>
                    <a:pt x="348" y="564"/>
                  </a:lnTo>
                  <a:lnTo>
                    <a:pt x="342" y="564"/>
                  </a:lnTo>
                  <a:lnTo>
                    <a:pt x="342" y="570"/>
                  </a:lnTo>
                  <a:lnTo>
                    <a:pt x="336" y="564"/>
                  </a:lnTo>
                  <a:lnTo>
                    <a:pt x="336" y="570"/>
                  </a:lnTo>
                  <a:lnTo>
                    <a:pt x="336" y="564"/>
                  </a:lnTo>
                  <a:lnTo>
                    <a:pt x="330" y="564"/>
                  </a:lnTo>
                  <a:lnTo>
                    <a:pt x="324" y="558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18" y="558"/>
                  </a:lnTo>
                  <a:lnTo>
                    <a:pt x="312" y="552"/>
                  </a:lnTo>
                  <a:lnTo>
                    <a:pt x="312" y="558"/>
                  </a:lnTo>
                  <a:lnTo>
                    <a:pt x="312" y="552"/>
                  </a:lnTo>
                  <a:lnTo>
                    <a:pt x="306" y="552"/>
                  </a:lnTo>
                  <a:lnTo>
                    <a:pt x="300" y="546"/>
                  </a:lnTo>
                  <a:lnTo>
                    <a:pt x="294" y="546"/>
                  </a:lnTo>
                  <a:lnTo>
                    <a:pt x="288" y="546"/>
                  </a:lnTo>
                  <a:lnTo>
                    <a:pt x="282" y="546"/>
                  </a:lnTo>
                  <a:lnTo>
                    <a:pt x="276" y="546"/>
                  </a:lnTo>
                  <a:lnTo>
                    <a:pt x="276" y="552"/>
                  </a:lnTo>
                  <a:lnTo>
                    <a:pt x="270" y="552"/>
                  </a:lnTo>
                  <a:lnTo>
                    <a:pt x="270" y="558"/>
                  </a:lnTo>
                  <a:lnTo>
                    <a:pt x="270" y="564"/>
                  </a:lnTo>
                  <a:lnTo>
                    <a:pt x="264" y="570"/>
                  </a:lnTo>
                  <a:lnTo>
                    <a:pt x="258" y="576"/>
                  </a:lnTo>
                  <a:lnTo>
                    <a:pt x="258" y="582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34" y="576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16" y="552"/>
                  </a:lnTo>
                  <a:lnTo>
                    <a:pt x="216" y="546"/>
                  </a:lnTo>
                  <a:lnTo>
                    <a:pt x="216" y="540"/>
                  </a:lnTo>
                  <a:lnTo>
                    <a:pt x="222" y="534"/>
                  </a:lnTo>
                  <a:lnTo>
                    <a:pt x="222" y="528"/>
                  </a:lnTo>
                  <a:lnTo>
                    <a:pt x="228" y="522"/>
                  </a:lnTo>
                  <a:lnTo>
                    <a:pt x="228" y="516"/>
                  </a:lnTo>
                  <a:lnTo>
                    <a:pt x="228" y="510"/>
                  </a:lnTo>
                  <a:lnTo>
                    <a:pt x="234" y="510"/>
                  </a:lnTo>
                  <a:lnTo>
                    <a:pt x="240" y="516"/>
                  </a:lnTo>
                  <a:lnTo>
                    <a:pt x="246" y="522"/>
                  </a:lnTo>
                  <a:lnTo>
                    <a:pt x="246" y="516"/>
                  </a:lnTo>
                  <a:lnTo>
                    <a:pt x="240" y="516"/>
                  </a:lnTo>
                  <a:lnTo>
                    <a:pt x="240" y="510"/>
                  </a:lnTo>
                  <a:lnTo>
                    <a:pt x="234" y="510"/>
                  </a:lnTo>
                  <a:lnTo>
                    <a:pt x="234" y="504"/>
                  </a:lnTo>
                  <a:lnTo>
                    <a:pt x="228" y="504"/>
                  </a:lnTo>
                  <a:lnTo>
                    <a:pt x="222" y="504"/>
                  </a:lnTo>
                  <a:lnTo>
                    <a:pt x="222" y="498"/>
                  </a:lnTo>
                  <a:lnTo>
                    <a:pt x="222" y="504"/>
                  </a:lnTo>
                  <a:lnTo>
                    <a:pt x="222" y="510"/>
                  </a:lnTo>
                  <a:lnTo>
                    <a:pt x="222" y="516"/>
                  </a:lnTo>
                  <a:lnTo>
                    <a:pt x="216" y="522"/>
                  </a:lnTo>
                  <a:lnTo>
                    <a:pt x="216" y="528"/>
                  </a:lnTo>
                  <a:lnTo>
                    <a:pt x="210" y="528"/>
                  </a:lnTo>
                  <a:lnTo>
                    <a:pt x="216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04" y="546"/>
                  </a:lnTo>
                  <a:lnTo>
                    <a:pt x="204" y="552"/>
                  </a:lnTo>
                  <a:lnTo>
                    <a:pt x="204" y="558"/>
                  </a:lnTo>
                  <a:lnTo>
                    <a:pt x="204" y="564"/>
                  </a:lnTo>
                  <a:lnTo>
                    <a:pt x="198" y="570"/>
                  </a:lnTo>
                  <a:lnTo>
                    <a:pt x="192" y="564"/>
                  </a:lnTo>
                  <a:lnTo>
                    <a:pt x="186" y="564"/>
                  </a:lnTo>
                  <a:lnTo>
                    <a:pt x="180" y="564"/>
                  </a:lnTo>
                  <a:lnTo>
                    <a:pt x="174" y="564"/>
                  </a:lnTo>
                  <a:lnTo>
                    <a:pt x="168" y="564"/>
                  </a:lnTo>
                  <a:lnTo>
                    <a:pt x="162" y="564"/>
                  </a:lnTo>
                  <a:lnTo>
                    <a:pt x="156" y="570"/>
                  </a:lnTo>
                  <a:lnTo>
                    <a:pt x="150" y="570"/>
                  </a:lnTo>
                  <a:lnTo>
                    <a:pt x="150" y="564"/>
                  </a:lnTo>
                  <a:lnTo>
                    <a:pt x="150" y="570"/>
                  </a:lnTo>
                  <a:lnTo>
                    <a:pt x="150" y="576"/>
                  </a:lnTo>
                  <a:lnTo>
                    <a:pt x="144" y="576"/>
                  </a:lnTo>
                  <a:lnTo>
                    <a:pt x="138" y="576"/>
                  </a:lnTo>
                  <a:lnTo>
                    <a:pt x="132" y="582"/>
                  </a:lnTo>
                  <a:lnTo>
                    <a:pt x="126" y="582"/>
                  </a:lnTo>
                  <a:lnTo>
                    <a:pt x="120" y="582"/>
                  </a:lnTo>
                  <a:lnTo>
                    <a:pt x="114" y="576"/>
                  </a:lnTo>
                  <a:lnTo>
                    <a:pt x="108" y="564"/>
                  </a:lnTo>
                  <a:lnTo>
                    <a:pt x="102" y="558"/>
                  </a:lnTo>
                  <a:lnTo>
                    <a:pt x="96" y="552"/>
                  </a:lnTo>
                  <a:lnTo>
                    <a:pt x="90" y="546"/>
                  </a:lnTo>
                  <a:lnTo>
                    <a:pt x="90" y="540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2"/>
                  </a:lnTo>
                  <a:lnTo>
                    <a:pt x="78" y="516"/>
                  </a:lnTo>
                  <a:lnTo>
                    <a:pt x="72" y="510"/>
                  </a:lnTo>
                  <a:lnTo>
                    <a:pt x="66" y="504"/>
                  </a:lnTo>
                  <a:lnTo>
                    <a:pt x="66" y="498"/>
                  </a:lnTo>
                  <a:lnTo>
                    <a:pt x="66" y="492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6" y="474"/>
                  </a:lnTo>
                  <a:lnTo>
                    <a:pt x="72" y="474"/>
                  </a:lnTo>
                  <a:lnTo>
                    <a:pt x="72" y="468"/>
                  </a:lnTo>
                  <a:lnTo>
                    <a:pt x="78" y="462"/>
                  </a:lnTo>
                  <a:lnTo>
                    <a:pt x="78" y="456"/>
                  </a:lnTo>
                  <a:lnTo>
                    <a:pt x="84" y="456"/>
                  </a:lnTo>
                  <a:lnTo>
                    <a:pt x="84" y="450"/>
                  </a:lnTo>
                  <a:lnTo>
                    <a:pt x="84" y="444"/>
                  </a:lnTo>
                  <a:lnTo>
                    <a:pt x="90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02" y="450"/>
                  </a:lnTo>
                  <a:lnTo>
                    <a:pt x="108" y="450"/>
                  </a:lnTo>
                  <a:lnTo>
                    <a:pt x="108" y="456"/>
                  </a:lnTo>
                  <a:lnTo>
                    <a:pt x="108" y="462"/>
                  </a:lnTo>
                  <a:lnTo>
                    <a:pt x="114" y="462"/>
                  </a:lnTo>
                  <a:lnTo>
                    <a:pt x="114" y="468"/>
                  </a:lnTo>
                  <a:lnTo>
                    <a:pt x="114" y="474"/>
                  </a:lnTo>
                  <a:lnTo>
                    <a:pt x="114" y="480"/>
                  </a:lnTo>
                  <a:lnTo>
                    <a:pt x="114" y="486"/>
                  </a:lnTo>
                  <a:lnTo>
                    <a:pt x="120" y="486"/>
                  </a:lnTo>
                  <a:lnTo>
                    <a:pt x="126" y="486"/>
                  </a:lnTo>
                  <a:lnTo>
                    <a:pt x="132" y="486"/>
                  </a:lnTo>
                  <a:lnTo>
                    <a:pt x="126" y="480"/>
                  </a:lnTo>
                  <a:lnTo>
                    <a:pt x="120" y="480"/>
                  </a:lnTo>
                  <a:lnTo>
                    <a:pt x="114" y="480"/>
                  </a:lnTo>
                  <a:lnTo>
                    <a:pt x="120" y="480"/>
                  </a:lnTo>
                  <a:lnTo>
                    <a:pt x="120" y="474"/>
                  </a:lnTo>
                  <a:lnTo>
                    <a:pt x="120" y="468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108" y="450"/>
                  </a:lnTo>
                  <a:lnTo>
                    <a:pt x="108" y="444"/>
                  </a:lnTo>
                  <a:lnTo>
                    <a:pt x="114" y="438"/>
                  </a:lnTo>
                  <a:lnTo>
                    <a:pt x="120" y="438"/>
                  </a:lnTo>
                  <a:lnTo>
                    <a:pt x="120" y="432"/>
                  </a:lnTo>
                  <a:lnTo>
                    <a:pt x="132" y="426"/>
                  </a:lnTo>
                  <a:lnTo>
                    <a:pt x="138" y="420"/>
                  </a:lnTo>
                  <a:lnTo>
                    <a:pt x="144" y="420"/>
                  </a:lnTo>
                  <a:lnTo>
                    <a:pt x="144" y="414"/>
                  </a:lnTo>
                  <a:lnTo>
                    <a:pt x="144" y="420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6" y="414"/>
                  </a:lnTo>
                  <a:lnTo>
                    <a:pt x="162" y="414"/>
                  </a:lnTo>
                  <a:lnTo>
                    <a:pt x="162" y="408"/>
                  </a:lnTo>
                  <a:lnTo>
                    <a:pt x="168" y="408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86" y="396"/>
                  </a:lnTo>
                  <a:lnTo>
                    <a:pt x="186" y="390"/>
                  </a:lnTo>
                  <a:lnTo>
                    <a:pt x="192" y="390"/>
                  </a:lnTo>
                  <a:lnTo>
                    <a:pt x="198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210" y="378"/>
                  </a:lnTo>
                  <a:lnTo>
                    <a:pt x="210" y="372"/>
                  </a:lnTo>
                  <a:lnTo>
                    <a:pt x="216" y="372"/>
                  </a:lnTo>
                  <a:lnTo>
                    <a:pt x="222" y="366"/>
                  </a:lnTo>
                  <a:lnTo>
                    <a:pt x="228" y="360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6" y="348"/>
                  </a:lnTo>
                  <a:lnTo>
                    <a:pt x="252" y="348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0" y="342"/>
                  </a:lnTo>
                  <a:lnTo>
                    <a:pt x="234" y="342"/>
                  </a:lnTo>
                  <a:lnTo>
                    <a:pt x="228" y="336"/>
                  </a:lnTo>
                  <a:lnTo>
                    <a:pt x="222" y="336"/>
                  </a:lnTo>
                  <a:lnTo>
                    <a:pt x="216" y="336"/>
                  </a:lnTo>
                  <a:lnTo>
                    <a:pt x="222" y="324"/>
                  </a:lnTo>
                  <a:lnTo>
                    <a:pt x="222" y="318"/>
                  </a:lnTo>
                  <a:lnTo>
                    <a:pt x="222" y="312"/>
                  </a:lnTo>
                  <a:lnTo>
                    <a:pt x="234" y="318"/>
                  </a:lnTo>
                  <a:lnTo>
                    <a:pt x="246" y="318"/>
                  </a:lnTo>
                  <a:lnTo>
                    <a:pt x="258" y="318"/>
                  </a:lnTo>
                  <a:lnTo>
                    <a:pt x="270" y="312"/>
                  </a:lnTo>
                  <a:lnTo>
                    <a:pt x="276" y="312"/>
                  </a:lnTo>
                  <a:lnTo>
                    <a:pt x="288" y="324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94" y="306"/>
                  </a:lnTo>
                  <a:lnTo>
                    <a:pt x="300" y="300"/>
                  </a:lnTo>
                  <a:lnTo>
                    <a:pt x="306" y="306"/>
                  </a:lnTo>
                  <a:lnTo>
                    <a:pt x="312" y="318"/>
                  </a:lnTo>
                  <a:lnTo>
                    <a:pt x="318" y="312"/>
                  </a:lnTo>
                  <a:lnTo>
                    <a:pt x="324" y="312"/>
                  </a:lnTo>
                  <a:lnTo>
                    <a:pt x="330" y="312"/>
                  </a:lnTo>
                  <a:lnTo>
                    <a:pt x="342" y="306"/>
                  </a:lnTo>
                  <a:lnTo>
                    <a:pt x="348" y="306"/>
                  </a:lnTo>
                  <a:lnTo>
                    <a:pt x="348" y="312"/>
                  </a:lnTo>
                  <a:lnTo>
                    <a:pt x="348" y="318"/>
                  </a:lnTo>
                  <a:lnTo>
                    <a:pt x="354" y="318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60" y="336"/>
                  </a:lnTo>
                  <a:lnTo>
                    <a:pt x="366" y="330"/>
                  </a:lnTo>
                  <a:lnTo>
                    <a:pt x="378" y="324"/>
                  </a:lnTo>
                  <a:lnTo>
                    <a:pt x="384" y="324"/>
                  </a:lnTo>
                  <a:lnTo>
                    <a:pt x="384" y="318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6"/>
                  </a:lnTo>
                  <a:lnTo>
                    <a:pt x="402" y="306"/>
                  </a:lnTo>
                  <a:lnTo>
                    <a:pt x="408" y="306"/>
                  </a:lnTo>
                  <a:lnTo>
                    <a:pt x="414" y="300"/>
                  </a:lnTo>
                  <a:lnTo>
                    <a:pt x="420" y="300"/>
                  </a:lnTo>
                  <a:lnTo>
                    <a:pt x="426" y="300"/>
                  </a:lnTo>
                  <a:lnTo>
                    <a:pt x="432" y="300"/>
                  </a:lnTo>
                  <a:lnTo>
                    <a:pt x="444" y="288"/>
                  </a:lnTo>
                  <a:lnTo>
                    <a:pt x="450" y="294"/>
                  </a:lnTo>
                  <a:lnTo>
                    <a:pt x="468" y="300"/>
                  </a:lnTo>
                  <a:lnTo>
                    <a:pt x="498" y="312"/>
                  </a:lnTo>
                  <a:lnTo>
                    <a:pt x="504" y="324"/>
                  </a:lnTo>
                  <a:lnTo>
                    <a:pt x="516" y="330"/>
                  </a:lnTo>
                  <a:lnTo>
                    <a:pt x="516" y="336"/>
                  </a:lnTo>
                  <a:lnTo>
                    <a:pt x="540" y="342"/>
                  </a:lnTo>
                  <a:lnTo>
                    <a:pt x="558" y="372"/>
                  </a:lnTo>
                  <a:lnTo>
                    <a:pt x="594" y="384"/>
                  </a:lnTo>
                  <a:lnTo>
                    <a:pt x="606" y="402"/>
                  </a:lnTo>
                  <a:lnTo>
                    <a:pt x="600" y="420"/>
                  </a:lnTo>
                  <a:lnTo>
                    <a:pt x="588" y="444"/>
                  </a:lnTo>
                  <a:lnTo>
                    <a:pt x="588" y="450"/>
                  </a:lnTo>
                  <a:lnTo>
                    <a:pt x="588" y="456"/>
                  </a:lnTo>
                  <a:lnTo>
                    <a:pt x="594" y="456"/>
                  </a:lnTo>
                  <a:lnTo>
                    <a:pt x="594" y="462"/>
                  </a:lnTo>
                  <a:lnTo>
                    <a:pt x="594" y="468"/>
                  </a:lnTo>
                  <a:lnTo>
                    <a:pt x="594" y="474"/>
                  </a:lnTo>
                  <a:lnTo>
                    <a:pt x="600" y="474"/>
                  </a:lnTo>
                  <a:lnTo>
                    <a:pt x="606" y="480"/>
                  </a:lnTo>
                  <a:lnTo>
                    <a:pt x="606" y="486"/>
                  </a:lnTo>
                  <a:lnTo>
                    <a:pt x="612" y="486"/>
                  </a:lnTo>
                  <a:lnTo>
                    <a:pt x="618" y="486"/>
                  </a:lnTo>
                  <a:lnTo>
                    <a:pt x="624" y="486"/>
                  </a:lnTo>
                  <a:lnTo>
                    <a:pt x="636" y="486"/>
                  </a:lnTo>
                  <a:lnTo>
                    <a:pt x="642" y="486"/>
                  </a:lnTo>
                  <a:lnTo>
                    <a:pt x="648" y="480"/>
                  </a:lnTo>
                  <a:lnTo>
                    <a:pt x="654" y="474"/>
                  </a:lnTo>
                  <a:lnTo>
                    <a:pt x="660" y="468"/>
                  </a:lnTo>
                  <a:lnTo>
                    <a:pt x="666" y="468"/>
                  </a:lnTo>
                  <a:lnTo>
                    <a:pt x="684" y="468"/>
                  </a:lnTo>
                  <a:lnTo>
                    <a:pt x="696" y="468"/>
                  </a:lnTo>
                  <a:lnTo>
                    <a:pt x="696" y="462"/>
                  </a:lnTo>
                  <a:lnTo>
                    <a:pt x="702" y="456"/>
                  </a:lnTo>
                  <a:lnTo>
                    <a:pt x="708" y="450"/>
                  </a:lnTo>
                  <a:lnTo>
                    <a:pt x="714" y="450"/>
                  </a:lnTo>
                  <a:lnTo>
                    <a:pt x="720" y="450"/>
                  </a:lnTo>
                  <a:lnTo>
                    <a:pt x="720" y="438"/>
                  </a:lnTo>
                  <a:lnTo>
                    <a:pt x="726" y="432"/>
                  </a:lnTo>
                  <a:lnTo>
                    <a:pt x="738" y="420"/>
                  </a:lnTo>
                  <a:lnTo>
                    <a:pt x="744" y="420"/>
                  </a:lnTo>
                  <a:lnTo>
                    <a:pt x="750" y="414"/>
                  </a:lnTo>
                  <a:lnTo>
                    <a:pt x="762" y="408"/>
                  </a:lnTo>
                  <a:lnTo>
                    <a:pt x="768" y="408"/>
                  </a:lnTo>
                  <a:lnTo>
                    <a:pt x="768" y="402"/>
                  </a:lnTo>
                  <a:lnTo>
                    <a:pt x="780" y="396"/>
                  </a:lnTo>
                  <a:lnTo>
                    <a:pt x="786" y="396"/>
                  </a:lnTo>
                  <a:lnTo>
                    <a:pt x="786" y="390"/>
                  </a:lnTo>
                  <a:lnTo>
                    <a:pt x="792" y="384"/>
                  </a:lnTo>
                  <a:lnTo>
                    <a:pt x="792" y="378"/>
                  </a:lnTo>
                  <a:lnTo>
                    <a:pt x="798" y="366"/>
                  </a:lnTo>
                  <a:lnTo>
                    <a:pt x="804" y="360"/>
                  </a:lnTo>
                  <a:lnTo>
                    <a:pt x="816" y="342"/>
                  </a:lnTo>
                  <a:lnTo>
                    <a:pt x="816" y="312"/>
                  </a:lnTo>
                  <a:lnTo>
                    <a:pt x="804" y="300"/>
                  </a:lnTo>
                  <a:lnTo>
                    <a:pt x="798" y="288"/>
                  </a:lnTo>
                  <a:lnTo>
                    <a:pt x="762" y="264"/>
                  </a:lnTo>
                  <a:lnTo>
                    <a:pt x="738" y="234"/>
                  </a:lnTo>
                  <a:lnTo>
                    <a:pt x="738" y="222"/>
                  </a:lnTo>
                  <a:lnTo>
                    <a:pt x="744" y="210"/>
                  </a:lnTo>
                  <a:lnTo>
                    <a:pt x="732" y="174"/>
                  </a:lnTo>
                  <a:lnTo>
                    <a:pt x="714" y="156"/>
                  </a:lnTo>
                  <a:lnTo>
                    <a:pt x="708" y="144"/>
                  </a:lnTo>
                  <a:lnTo>
                    <a:pt x="714" y="126"/>
                  </a:lnTo>
                  <a:lnTo>
                    <a:pt x="720" y="114"/>
                  </a:lnTo>
                  <a:lnTo>
                    <a:pt x="732" y="102"/>
                  </a:lnTo>
                  <a:lnTo>
                    <a:pt x="744" y="102"/>
                  </a:lnTo>
                  <a:lnTo>
                    <a:pt x="762" y="108"/>
                  </a:lnTo>
                  <a:lnTo>
                    <a:pt x="774" y="114"/>
                  </a:lnTo>
                  <a:lnTo>
                    <a:pt x="780" y="138"/>
                  </a:lnTo>
                  <a:lnTo>
                    <a:pt x="786" y="144"/>
                  </a:lnTo>
                  <a:lnTo>
                    <a:pt x="798" y="138"/>
                  </a:lnTo>
                  <a:lnTo>
                    <a:pt x="804" y="132"/>
                  </a:lnTo>
                  <a:lnTo>
                    <a:pt x="816" y="120"/>
                  </a:lnTo>
                  <a:lnTo>
                    <a:pt x="816" y="108"/>
                  </a:lnTo>
                  <a:lnTo>
                    <a:pt x="828" y="102"/>
                  </a:lnTo>
                  <a:lnTo>
                    <a:pt x="828" y="96"/>
                  </a:lnTo>
                  <a:lnTo>
                    <a:pt x="840" y="96"/>
                  </a:lnTo>
                  <a:lnTo>
                    <a:pt x="840" y="84"/>
                  </a:lnTo>
                  <a:lnTo>
                    <a:pt x="852" y="90"/>
                  </a:lnTo>
                  <a:lnTo>
                    <a:pt x="852" y="96"/>
                  </a:lnTo>
                  <a:lnTo>
                    <a:pt x="870" y="90"/>
                  </a:lnTo>
                  <a:lnTo>
                    <a:pt x="894" y="78"/>
                  </a:lnTo>
                  <a:lnTo>
                    <a:pt x="912" y="78"/>
                  </a:lnTo>
                  <a:lnTo>
                    <a:pt x="942" y="66"/>
                  </a:lnTo>
                  <a:lnTo>
                    <a:pt x="942" y="60"/>
                  </a:lnTo>
                  <a:lnTo>
                    <a:pt x="954" y="48"/>
                  </a:lnTo>
                  <a:lnTo>
                    <a:pt x="966" y="30"/>
                  </a:lnTo>
                  <a:lnTo>
                    <a:pt x="978" y="30"/>
                  </a:lnTo>
                  <a:lnTo>
                    <a:pt x="978" y="24"/>
                  </a:lnTo>
                  <a:lnTo>
                    <a:pt x="984" y="12"/>
                  </a:lnTo>
                  <a:lnTo>
                    <a:pt x="990" y="12"/>
                  </a:lnTo>
                  <a:lnTo>
                    <a:pt x="996" y="12"/>
                  </a:lnTo>
                  <a:lnTo>
                    <a:pt x="1014" y="6"/>
                  </a:lnTo>
                  <a:lnTo>
                    <a:pt x="1026" y="6"/>
                  </a:lnTo>
                  <a:lnTo>
                    <a:pt x="1044" y="6"/>
                  </a:lnTo>
                  <a:lnTo>
                    <a:pt x="1050" y="6"/>
                  </a:lnTo>
                  <a:lnTo>
                    <a:pt x="1056" y="6"/>
                  </a:lnTo>
                  <a:lnTo>
                    <a:pt x="1062" y="6"/>
                  </a:lnTo>
                  <a:lnTo>
                    <a:pt x="1068" y="6"/>
                  </a:lnTo>
                  <a:lnTo>
                    <a:pt x="1074" y="6"/>
                  </a:lnTo>
                  <a:lnTo>
                    <a:pt x="1080" y="6"/>
                  </a:lnTo>
                  <a:lnTo>
                    <a:pt x="1086" y="0"/>
                  </a:lnTo>
                  <a:lnTo>
                    <a:pt x="1092" y="30"/>
                  </a:lnTo>
                  <a:lnTo>
                    <a:pt x="1098" y="60"/>
                  </a:lnTo>
                  <a:lnTo>
                    <a:pt x="1110" y="84"/>
                  </a:lnTo>
                  <a:lnTo>
                    <a:pt x="1122" y="114"/>
                  </a:lnTo>
                  <a:lnTo>
                    <a:pt x="1128" y="144"/>
                  </a:lnTo>
                  <a:lnTo>
                    <a:pt x="1122" y="156"/>
                  </a:lnTo>
                  <a:lnTo>
                    <a:pt x="1128" y="168"/>
                  </a:lnTo>
                  <a:lnTo>
                    <a:pt x="1134" y="186"/>
                  </a:lnTo>
                  <a:lnTo>
                    <a:pt x="1140" y="204"/>
                  </a:lnTo>
                  <a:lnTo>
                    <a:pt x="1146" y="210"/>
                  </a:lnTo>
                  <a:lnTo>
                    <a:pt x="1146" y="216"/>
                  </a:lnTo>
                  <a:lnTo>
                    <a:pt x="1146" y="228"/>
                  </a:lnTo>
                  <a:lnTo>
                    <a:pt x="1146" y="234"/>
                  </a:lnTo>
                  <a:lnTo>
                    <a:pt x="1140" y="246"/>
                  </a:lnTo>
                  <a:lnTo>
                    <a:pt x="1128" y="258"/>
                  </a:lnTo>
                  <a:lnTo>
                    <a:pt x="1116" y="264"/>
                  </a:lnTo>
                  <a:lnTo>
                    <a:pt x="1110" y="276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2" y="312"/>
                  </a:lnTo>
                  <a:lnTo>
                    <a:pt x="1116" y="324"/>
                  </a:lnTo>
                  <a:lnTo>
                    <a:pt x="1104" y="336"/>
                  </a:lnTo>
                  <a:lnTo>
                    <a:pt x="1104" y="354"/>
                  </a:lnTo>
                  <a:lnTo>
                    <a:pt x="1098" y="372"/>
                  </a:lnTo>
                  <a:lnTo>
                    <a:pt x="1092" y="384"/>
                  </a:lnTo>
                  <a:lnTo>
                    <a:pt x="1086" y="390"/>
                  </a:lnTo>
                  <a:lnTo>
                    <a:pt x="1086" y="402"/>
                  </a:lnTo>
                  <a:lnTo>
                    <a:pt x="1080" y="414"/>
                  </a:lnTo>
                  <a:lnTo>
                    <a:pt x="1074" y="426"/>
                  </a:lnTo>
                  <a:lnTo>
                    <a:pt x="1074" y="450"/>
                  </a:lnTo>
                  <a:lnTo>
                    <a:pt x="1074" y="462"/>
                  </a:lnTo>
                  <a:lnTo>
                    <a:pt x="1068" y="474"/>
                  </a:lnTo>
                  <a:lnTo>
                    <a:pt x="1062" y="486"/>
                  </a:lnTo>
                  <a:lnTo>
                    <a:pt x="1056" y="498"/>
                  </a:lnTo>
                  <a:close/>
                  <a:moveTo>
                    <a:pt x="186" y="378"/>
                  </a:moveTo>
                  <a:lnTo>
                    <a:pt x="186" y="384"/>
                  </a:lnTo>
                  <a:lnTo>
                    <a:pt x="180" y="390"/>
                  </a:lnTo>
                  <a:lnTo>
                    <a:pt x="174" y="396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14"/>
                  </a:lnTo>
                  <a:lnTo>
                    <a:pt x="126" y="414"/>
                  </a:lnTo>
                  <a:lnTo>
                    <a:pt x="120" y="414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2" y="426"/>
                  </a:lnTo>
                  <a:lnTo>
                    <a:pt x="102" y="432"/>
                  </a:lnTo>
                  <a:lnTo>
                    <a:pt x="96" y="432"/>
                  </a:lnTo>
                  <a:lnTo>
                    <a:pt x="90" y="432"/>
                  </a:lnTo>
                  <a:lnTo>
                    <a:pt x="84" y="438"/>
                  </a:lnTo>
                  <a:lnTo>
                    <a:pt x="78" y="438"/>
                  </a:lnTo>
                  <a:lnTo>
                    <a:pt x="78" y="444"/>
                  </a:lnTo>
                  <a:lnTo>
                    <a:pt x="72" y="444"/>
                  </a:lnTo>
                  <a:lnTo>
                    <a:pt x="72" y="450"/>
                  </a:lnTo>
                  <a:lnTo>
                    <a:pt x="66" y="456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48" y="468"/>
                  </a:lnTo>
                  <a:lnTo>
                    <a:pt x="42" y="468"/>
                  </a:lnTo>
                  <a:lnTo>
                    <a:pt x="42" y="462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8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0" y="396"/>
                  </a:lnTo>
                  <a:lnTo>
                    <a:pt x="6" y="384"/>
                  </a:lnTo>
                  <a:lnTo>
                    <a:pt x="18" y="372"/>
                  </a:lnTo>
                  <a:lnTo>
                    <a:pt x="30" y="348"/>
                  </a:lnTo>
                  <a:lnTo>
                    <a:pt x="30" y="342"/>
                  </a:lnTo>
                  <a:lnTo>
                    <a:pt x="42" y="330"/>
                  </a:lnTo>
                  <a:lnTo>
                    <a:pt x="42" y="324"/>
                  </a:lnTo>
                  <a:lnTo>
                    <a:pt x="48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60" y="282"/>
                  </a:lnTo>
                  <a:lnTo>
                    <a:pt x="60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2" y="258"/>
                  </a:lnTo>
                  <a:lnTo>
                    <a:pt x="84" y="246"/>
                  </a:lnTo>
                  <a:lnTo>
                    <a:pt x="90" y="234"/>
                  </a:lnTo>
                  <a:lnTo>
                    <a:pt x="96" y="234"/>
                  </a:lnTo>
                  <a:lnTo>
                    <a:pt x="96" y="228"/>
                  </a:lnTo>
                  <a:lnTo>
                    <a:pt x="102" y="222"/>
                  </a:lnTo>
                  <a:lnTo>
                    <a:pt x="102" y="228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14" y="228"/>
                  </a:lnTo>
                  <a:lnTo>
                    <a:pt x="114" y="234"/>
                  </a:lnTo>
                  <a:lnTo>
                    <a:pt x="120" y="228"/>
                  </a:lnTo>
                  <a:lnTo>
                    <a:pt x="120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26" y="228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8" y="234"/>
                  </a:lnTo>
                  <a:lnTo>
                    <a:pt x="144" y="234"/>
                  </a:lnTo>
                  <a:lnTo>
                    <a:pt x="144" y="228"/>
                  </a:lnTo>
                  <a:lnTo>
                    <a:pt x="150" y="228"/>
                  </a:lnTo>
                  <a:lnTo>
                    <a:pt x="156" y="228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46"/>
                  </a:lnTo>
                  <a:lnTo>
                    <a:pt x="162" y="240"/>
                  </a:lnTo>
                  <a:lnTo>
                    <a:pt x="162" y="246"/>
                  </a:lnTo>
                  <a:lnTo>
                    <a:pt x="162" y="258"/>
                  </a:lnTo>
                  <a:lnTo>
                    <a:pt x="162" y="264"/>
                  </a:lnTo>
                  <a:lnTo>
                    <a:pt x="156" y="270"/>
                  </a:lnTo>
                  <a:lnTo>
                    <a:pt x="162" y="270"/>
                  </a:lnTo>
                  <a:lnTo>
                    <a:pt x="162" y="282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86" y="288"/>
                  </a:lnTo>
                  <a:lnTo>
                    <a:pt x="186" y="294"/>
                  </a:lnTo>
                  <a:lnTo>
                    <a:pt x="180" y="300"/>
                  </a:lnTo>
                  <a:lnTo>
                    <a:pt x="174" y="318"/>
                  </a:lnTo>
                  <a:lnTo>
                    <a:pt x="174" y="324"/>
                  </a:lnTo>
                  <a:lnTo>
                    <a:pt x="168" y="330"/>
                  </a:lnTo>
                  <a:lnTo>
                    <a:pt x="168" y="342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74" y="360"/>
                  </a:lnTo>
                  <a:lnTo>
                    <a:pt x="180" y="366"/>
                  </a:lnTo>
                  <a:lnTo>
                    <a:pt x="186" y="3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8" name="Freeform 23">
              <a:extLst>
                <a:ext uri="{FF2B5EF4-FFF2-40B4-BE49-F238E27FC236}">
                  <a16:creationId xmlns:a16="http://schemas.microsoft.com/office/drawing/2014/main" id="{A539A33E-3F6E-4AF7-BD88-1853165307F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6312" y="3604793"/>
              <a:ext cx="581410" cy="621747"/>
            </a:xfrm>
            <a:custGeom>
              <a:avLst/>
              <a:gdLst>
                <a:gd name="T0" fmla="*/ 90 w 1092"/>
                <a:gd name="T1" fmla="*/ 60 h 1170"/>
                <a:gd name="T2" fmla="*/ 83 w 1092"/>
                <a:gd name="T3" fmla="*/ 62 h 1170"/>
                <a:gd name="T4" fmla="*/ 72 w 1092"/>
                <a:gd name="T5" fmla="*/ 68 h 1170"/>
                <a:gd name="T6" fmla="*/ 68 w 1092"/>
                <a:gd name="T7" fmla="*/ 71 h 1170"/>
                <a:gd name="T8" fmla="*/ 61 w 1092"/>
                <a:gd name="T9" fmla="*/ 69 h 1170"/>
                <a:gd name="T10" fmla="*/ 64 w 1092"/>
                <a:gd name="T11" fmla="*/ 82 h 1170"/>
                <a:gd name="T12" fmla="*/ 67 w 1092"/>
                <a:gd name="T13" fmla="*/ 93 h 1170"/>
                <a:gd name="T14" fmla="*/ 62 w 1092"/>
                <a:gd name="T15" fmla="*/ 96 h 1170"/>
                <a:gd name="T16" fmla="*/ 59 w 1092"/>
                <a:gd name="T17" fmla="*/ 99 h 1170"/>
                <a:gd name="T18" fmla="*/ 53 w 1092"/>
                <a:gd name="T19" fmla="*/ 101 h 1170"/>
                <a:gd name="T20" fmla="*/ 50 w 1092"/>
                <a:gd name="T21" fmla="*/ 100 h 1170"/>
                <a:gd name="T22" fmla="*/ 50 w 1092"/>
                <a:gd name="T23" fmla="*/ 93 h 1170"/>
                <a:gd name="T24" fmla="*/ 37 w 1092"/>
                <a:gd name="T25" fmla="*/ 85 h 1170"/>
                <a:gd name="T26" fmla="*/ 32 w 1092"/>
                <a:gd name="T27" fmla="*/ 86 h 1170"/>
                <a:gd name="T28" fmla="*/ 29 w 1092"/>
                <a:gd name="T29" fmla="*/ 88 h 1170"/>
                <a:gd name="T30" fmla="*/ 27 w 1092"/>
                <a:gd name="T31" fmla="*/ 86 h 1170"/>
                <a:gd name="T32" fmla="*/ 23 w 1092"/>
                <a:gd name="T33" fmla="*/ 87 h 1170"/>
                <a:gd name="T34" fmla="*/ 17 w 1092"/>
                <a:gd name="T35" fmla="*/ 87 h 1170"/>
                <a:gd name="T36" fmla="*/ 18 w 1092"/>
                <a:gd name="T37" fmla="*/ 89 h 1170"/>
                <a:gd name="T38" fmla="*/ 16 w 1092"/>
                <a:gd name="T39" fmla="*/ 92 h 1170"/>
                <a:gd name="T40" fmla="*/ 12 w 1092"/>
                <a:gd name="T41" fmla="*/ 89 h 1170"/>
                <a:gd name="T42" fmla="*/ 13 w 1092"/>
                <a:gd name="T43" fmla="*/ 84 h 1170"/>
                <a:gd name="T44" fmla="*/ 12 w 1092"/>
                <a:gd name="T45" fmla="*/ 80 h 1170"/>
                <a:gd name="T46" fmla="*/ 10 w 1092"/>
                <a:gd name="T47" fmla="*/ 80 h 1170"/>
                <a:gd name="T48" fmla="*/ 8 w 1092"/>
                <a:gd name="T49" fmla="*/ 79 h 1170"/>
                <a:gd name="T50" fmla="*/ 6 w 1092"/>
                <a:gd name="T51" fmla="*/ 78 h 1170"/>
                <a:gd name="T52" fmla="*/ 6 w 1092"/>
                <a:gd name="T53" fmla="*/ 77 h 1170"/>
                <a:gd name="T54" fmla="*/ 4 w 1092"/>
                <a:gd name="T55" fmla="*/ 75 h 1170"/>
                <a:gd name="T56" fmla="*/ 0 w 1092"/>
                <a:gd name="T57" fmla="*/ 72 h 1170"/>
                <a:gd name="T58" fmla="*/ 0 w 1092"/>
                <a:gd name="T59" fmla="*/ 69 h 1170"/>
                <a:gd name="T60" fmla="*/ 3 w 1092"/>
                <a:gd name="T61" fmla="*/ 67 h 1170"/>
                <a:gd name="T62" fmla="*/ 6 w 1092"/>
                <a:gd name="T63" fmla="*/ 62 h 1170"/>
                <a:gd name="T64" fmla="*/ 8 w 1092"/>
                <a:gd name="T65" fmla="*/ 58 h 1170"/>
                <a:gd name="T66" fmla="*/ 5 w 1092"/>
                <a:gd name="T67" fmla="*/ 54 h 1170"/>
                <a:gd name="T68" fmla="*/ 6 w 1092"/>
                <a:gd name="T69" fmla="*/ 50 h 1170"/>
                <a:gd name="T70" fmla="*/ 8 w 1092"/>
                <a:gd name="T71" fmla="*/ 46 h 1170"/>
                <a:gd name="T72" fmla="*/ 10 w 1092"/>
                <a:gd name="T73" fmla="*/ 43 h 1170"/>
                <a:gd name="T74" fmla="*/ 14 w 1092"/>
                <a:gd name="T75" fmla="*/ 38 h 1170"/>
                <a:gd name="T76" fmla="*/ 31 w 1092"/>
                <a:gd name="T77" fmla="*/ 40 h 1170"/>
                <a:gd name="T78" fmla="*/ 30 w 1092"/>
                <a:gd name="T79" fmla="*/ 46 h 1170"/>
                <a:gd name="T80" fmla="*/ 36 w 1092"/>
                <a:gd name="T81" fmla="*/ 47 h 1170"/>
                <a:gd name="T82" fmla="*/ 41 w 1092"/>
                <a:gd name="T83" fmla="*/ 44 h 1170"/>
                <a:gd name="T84" fmla="*/ 43 w 1092"/>
                <a:gd name="T85" fmla="*/ 39 h 1170"/>
                <a:gd name="T86" fmla="*/ 44 w 1092"/>
                <a:gd name="T87" fmla="*/ 35 h 1170"/>
                <a:gd name="T88" fmla="*/ 44 w 1092"/>
                <a:gd name="T89" fmla="*/ 29 h 1170"/>
                <a:gd name="T90" fmla="*/ 48 w 1092"/>
                <a:gd name="T91" fmla="*/ 24 h 1170"/>
                <a:gd name="T92" fmla="*/ 49 w 1092"/>
                <a:gd name="T93" fmla="*/ 19 h 1170"/>
                <a:gd name="T94" fmla="*/ 51 w 1092"/>
                <a:gd name="T95" fmla="*/ 14 h 1170"/>
                <a:gd name="T96" fmla="*/ 54 w 1092"/>
                <a:gd name="T97" fmla="*/ 10 h 1170"/>
                <a:gd name="T98" fmla="*/ 53 w 1092"/>
                <a:gd name="T99" fmla="*/ 7 h 1170"/>
                <a:gd name="T100" fmla="*/ 55 w 1092"/>
                <a:gd name="T101" fmla="*/ 3 h 1170"/>
                <a:gd name="T102" fmla="*/ 58 w 1092"/>
                <a:gd name="T103" fmla="*/ 0 h 1170"/>
                <a:gd name="T104" fmla="*/ 65 w 1092"/>
                <a:gd name="T105" fmla="*/ 2 h 1170"/>
                <a:gd name="T106" fmla="*/ 61 w 1092"/>
                <a:gd name="T107" fmla="*/ 6 h 1170"/>
                <a:gd name="T108" fmla="*/ 67 w 1092"/>
                <a:gd name="T109" fmla="*/ 7 h 1170"/>
                <a:gd name="T110" fmla="*/ 71 w 1092"/>
                <a:gd name="T111" fmla="*/ 6 h 1170"/>
                <a:gd name="T112" fmla="*/ 75 w 1092"/>
                <a:gd name="T113" fmla="*/ 9 h 1170"/>
                <a:gd name="T114" fmla="*/ 82 w 1092"/>
                <a:gd name="T115" fmla="*/ 12 h 1170"/>
                <a:gd name="T116" fmla="*/ 84 w 1092"/>
                <a:gd name="T117" fmla="*/ 17 h 1170"/>
                <a:gd name="T118" fmla="*/ 94 w 1092"/>
                <a:gd name="T119" fmla="*/ 23 h 1170"/>
                <a:gd name="T120" fmla="*/ 94 w 1092"/>
                <a:gd name="T121" fmla="*/ 34 h 1170"/>
                <a:gd name="T122" fmla="*/ 90 w 1092"/>
                <a:gd name="T123" fmla="*/ 41 h 1170"/>
                <a:gd name="T124" fmla="*/ 91 w 1092"/>
                <a:gd name="T125" fmla="*/ 51 h 11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92"/>
                <a:gd name="T190" fmla="*/ 0 h 1170"/>
                <a:gd name="T191" fmla="*/ 1092 w 1092"/>
                <a:gd name="T192" fmla="*/ 1170 h 117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92" h="1170">
                  <a:moveTo>
                    <a:pt x="1056" y="654"/>
                  </a:moveTo>
                  <a:lnTo>
                    <a:pt x="1062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0"/>
                  </a:lnTo>
                  <a:lnTo>
                    <a:pt x="1038" y="690"/>
                  </a:lnTo>
                  <a:lnTo>
                    <a:pt x="1032" y="690"/>
                  </a:lnTo>
                  <a:lnTo>
                    <a:pt x="1026" y="690"/>
                  </a:lnTo>
                  <a:lnTo>
                    <a:pt x="1020" y="690"/>
                  </a:lnTo>
                  <a:lnTo>
                    <a:pt x="1002" y="690"/>
                  </a:lnTo>
                  <a:lnTo>
                    <a:pt x="990" y="690"/>
                  </a:lnTo>
                  <a:lnTo>
                    <a:pt x="972" y="696"/>
                  </a:lnTo>
                  <a:lnTo>
                    <a:pt x="966" y="696"/>
                  </a:lnTo>
                  <a:lnTo>
                    <a:pt x="960" y="696"/>
                  </a:lnTo>
                  <a:lnTo>
                    <a:pt x="954" y="708"/>
                  </a:lnTo>
                  <a:lnTo>
                    <a:pt x="954" y="714"/>
                  </a:lnTo>
                  <a:lnTo>
                    <a:pt x="942" y="714"/>
                  </a:lnTo>
                  <a:lnTo>
                    <a:pt x="930" y="732"/>
                  </a:lnTo>
                  <a:lnTo>
                    <a:pt x="918" y="744"/>
                  </a:lnTo>
                  <a:lnTo>
                    <a:pt x="918" y="750"/>
                  </a:lnTo>
                  <a:lnTo>
                    <a:pt x="888" y="762"/>
                  </a:lnTo>
                  <a:lnTo>
                    <a:pt x="870" y="762"/>
                  </a:lnTo>
                  <a:lnTo>
                    <a:pt x="846" y="774"/>
                  </a:lnTo>
                  <a:lnTo>
                    <a:pt x="828" y="780"/>
                  </a:lnTo>
                  <a:lnTo>
                    <a:pt x="828" y="774"/>
                  </a:lnTo>
                  <a:lnTo>
                    <a:pt x="816" y="768"/>
                  </a:lnTo>
                  <a:lnTo>
                    <a:pt x="816" y="780"/>
                  </a:lnTo>
                  <a:lnTo>
                    <a:pt x="804" y="780"/>
                  </a:lnTo>
                  <a:lnTo>
                    <a:pt x="804" y="786"/>
                  </a:lnTo>
                  <a:lnTo>
                    <a:pt x="792" y="792"/>
                  </a:lnTo>
                  <a:lnTo>
                    <a:pt x="792" y="804"/>
                  </a:lnTo>
                  <a:lnTo>
                    <a:pt x="780" y="816"/>
                  </a:lnTo>
                  <a:lnTo>
                    <a:pt x="774" y="822"/>
                  </a:lnTo>
                  <a:lnTo>
                    <a:pt x="762" y="828"/>
                  </a:lnTo>
                  <a:lnTo>
                    <a:pt x="756" y="822"/>
                  </a:lnTo>
                  <a:lnTo>
                    <a:pt x="750" y="798"/>
                  </a:lnTo>
                  <a:lnTo>
                    <a:pt x="738" y="792"/>
                  </a:lnTo>
                  <a:lnTo>
                    <a:pt x="720" y="786"/>
                  </a:lnTo>
                  <a:lnTo>
                    <a:pt x="708" y="786"/>
                  </a:lnTo>
                  <a:lnTo>
                    <a:pt x="696" y="798"/>
                  </a:lnTo>
                  <a:lnTo>
                    <a:pt x="690" y="810"/>
                  </a:lnTo>
                  <a:lnTo>
                    <a:pt x="684" y="828"/>
                  </a:lnTo>
                  <a:lnTo>
                    <a:pt x="690" y="840"/>
                  </a:lnTo>
                  <a:lnTo>
                    <a:pt x="708" y="858"/>
                  </a:lnTo>
                  <a:lnTo>
                    <a:pt x="720" y="894"/>
                  </a:lnTo>
                  <a:lnTo>
                    <a:pt x="714" y="906"/>
                  </a:lnTo>
                  <a:lnTo>
                    <a:pt x="714" y="918"/>
                  </a:lnTo>
                  <a:lnTo>
                    <a:pt x="738" y="948"/>
                  </a:lnTo>
                  <a:lnTo>
                    <a:pt x="774" y="972"/>
                  </a:lnTo>
                  <a:lnTo>
                    <a:pt x="780" y="984"/>
                  </a:lnTo>
                  <a:lnTo>
                    <a:pt x="792" y="996"/>
                  </a:lnTo>
                  <a:lnTo>
                    <a:pt x="792" y="1026"/>
                  </a:lnTo>
                  <a:lnTo>
                    <a:pt x="780" y="1044"/>
                  </a:lnTo>
                  <a:lnTo>
                    <a:pt x="774" y="1050"/>
                  </a:lnTo>
                  <a:lnTo>
                    <a:pt x="768" y="1062"/>
                  </a:lnTo>
                  <a:lnTo>
                    <a:pt x="768" y="1068"/>
                  </a:lnTo>
                  <a:lnTo>
                    <a:pt x="762" y="1074"/>
                  </a:lnTo>
                  <a:lnTo>
                    <a:pt x="762" y="1080"/>
                  </a:lnTo>
                  <a:lnTo>
                    <a:pt x="756" y="1080"/>
                  </a:lnTo>
                  <a:lnTo>
                    <a:pt x="744" y="1086"/>
                  </a:lnTo>
                  <a:lnTo>
                    <a:pt x="744" y="1092"/>
                  </a:lnTo>
                  <a:lnTo>
                    <a:pt x="738" y="1092"/>
                  </a:lnTo>
                  <a:lnTo>
                    <a:pt x="726" y="1098"/>
                  </a:lnTo>
                  <a:lnTo>
                    <a:pt x="720" y="1104"/>
                  </a:lnTo>
                  <a:lnTo>
                    <a:pt x="714" y="1104"/>
                  </a:lnTo>
                  <a:lnTo>
                    <a:pt x="702" y="1116"/>
                  </a:lnTo>
                  <a:lnTo>
                    <a:pt x="696" y="1122"/>
                  </a:lnTo>
                  <a:lnTo>
                    <a:pt x="696" y="1134"/>
                  </a:lnTo>
                  <a:lnTo>
                    <a:pt x="690" y="1134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72" y="1146"/>
                  </a:lnTo>
                  <a:lnTo>
                    <a:pt x="672" y="1152"/>
                  </a:lnTo>
                  <a:lnTo>
                    <a:pt x="660" y="1152"/>
                  </a:lnTo>
                  <a:lnTo>
                    <a:pt x="642" y="1152"/>
                  </a:lnTo>
                  <a:lnTo>
                    <a:pt x="636" y="1152"/>
                  </a:lnTo>
                  <a:lnTo>
                    <a:pt x="630" y="1158"/>
                  </a:lnTo>
                  <a:lnTo>
                    <a:pt x="624" y="1164"/>
                  </a:lnTo>
                  <a:lnTo>
                    <a:pt x="618" y="1170"/>
                  </a:lnTo>
                  <a:lnTo>
                    <a:pt x="612" y="1170"/>
                  </a:lnTo>
                  <a:lnTo>
                    <a:pt x="600" y="1170"/>
                  </a:lnTo>
                  <a:lnTo>
                    <a:pt x="594" y="1170"/>
                  </a:lnTo>
                  <a:lnTo>
                    <a:pt x="588" y="1170"/>
                  </a:lnTo>
                  <a:lnTo>
                    <a:pt x="582" y="1170"/>
                  </a:lnTo>
                  <a:lnTo>
                    <a:pt x="582" y="1164"/>
                  </a:lnTo>
                  <a:lnTo>
                    <a:pt x="576" y="1158"/>
                  </a:lnTo>
                  <a:lnTo>
                    <a:pt x="570" y="1158"/>
                  </a:lnTo>
                  <a:lnTo>
                    <a:pt x="570" y="1152"/>
                  </a:lnTo>
                  <a:lnTo>
                    <a:pt x="570" y="1146"/>
                  </a:lnTo>
                  <a:lnTo>
                    <a:pt x="570" y="1140"/>
                  </a:lnTo>
                  <a:lnTo>
                    <a:pt x="564" y="1140"/>
                  </a:lnTo>
                  <a:lnTo>
                    <a:pt x="564" y="1134"/>
                  </a:lnTo>
                  <a:lnTo>
                    <a:pt x="564" y="1128"/>
                  </a:lnTo>
                  <a:lnTo>
                    <a:pt x="576" y="1104"/>
                  </a:lnTo>
                  <a:lnTo>
                    <a:pt x="582" y="1086"/>
                  </a:lnTo>
                  <a:lnTo>
                    <a:pt x="570" y="1068"/>
                  </a:lnTo>
                  <a:lnTo>
                    <a:pt x="534" y="1056"/>
                  </a:lnTo>
                  <a:lnTo>
                    <a:pt x="516" y="1026"/>
                  </a:lnTo>
                  <a:lnTo>
                    <a:pt x="492" y="1020"/>
                  </a:lnTo>
                  <a:lnTo>
                    <a:pt x="492" y="1014"/>
                  </a:lnTo>
                  <a:lnTo>
                    <a:pt x="480" y="1008"/>
                  </a:lnTo>
                  <a:lnTo>
                    <a:pt x="474" y="996"/>
                  </a:lnTo>
                  <a:lnTo>
                    <a:pt x="444" y="984"/>
                  </a:lnTo>
                  <a:lnTo>
                    <a:pt x="426" y="978"/>
                  </a:lnTo>
                  <a:lnTo>
                    <a:pt x="420" y="972"/>
                  </a:lnTo>
                  <a:lnTo>
                    <a:pt x="408" y="984"/>
                  </a:lnTo>
                  <a:lnTo>
                    <a:pt x="402" y="984"/>
                  </a:lnTo>
                  <a:lnTo>
                    <a:pt x="396" y="984"/>
                  </a:lnTo>
                  <a:lnTo>
                    <a:pt x="390" y="984"/>
                  </a:lnTo>
                  <a:lnTo>
                    <a:pt x="384" y="990"/>
                  </a:lnTo>
                  <a:lnTo>
                    <a:pt x="378" y="990"/>
                  </a:lnTo>
                  <a:lnTo>
                    <a:pt x="372" y="990"/>
                  </a:lnTo>
                  <a:lnTo>
                    <a:pt x="372" y="996"/>
                  </a:lnTo>
                  <a:lnTo>
                    <a:pt x="366" y="996"/>
                  </a:lnTo>
                  <a:lnTo>
                    <a:pt x="360" y="1002"/>
                  </a:lnTo>
                  <a:lnTo>
                    <a:pt x="360" y="1008"/>
                  </a:lnTo>
                  <a:lnTo>
                    <a:pt x="354" y="1008"/>
                  </a:lnTo>
                  <a:lnTo>
                    <a:pt x="342" y="1014"/>
                  </a:lnTo>
                  <a:lnTo>
                    <a:pt x="336" y="1020"/>
                  </a:lnTo>
                  <a:lnTo>
                    <a:pt x="336" y="1014"/>
                  </a:lnTo>
                  <a:lnTo>
                    <a:pt x="330" y="1014"/>
                  </a:lnTo>
                  <a:lnTo>
                    <a:pt x="330" y="1008"/>
                  </a:lnTo>
                  <a:lnTo>
                    <a:pt x="330" y="1002"/>
                  </a:lnTo>
                  <a:lnTo>
                    <a:pt x="324" y="1002"/>
                  </a:lnTo>
                  <a:lnTo>
                    <a:pt x="324" y="996"/>
                  </a:lnTo>
                  <a:lnTo>
                    <a:pt x="324" y="990"/>
                  </a:lnTo>
                  <a:lnTo>
                    <a:pt x="318" y="990"/>
                  </a:lnTo>
                  <a:lnTo>
                    <a:pt x="306" y="996"/>
                  </a:lnTo>
                  <a:lnTo>
                    <a:pt x="300" y="996"/>
                  </a:lnTo>
                  <a:lnTo>
                    <a:pt x="294" y="996"/>
                  </a:lnTo>
                  <a:lnTo>
                    <a:pt x="288" y="1002"/>
                  </a:lnTo>
                  <a:lnTo>
                    <a:pt x="282" y="990"/>
                  </a:lnTo>
                  <a:lnTo>
                    <a:pt x="276" y="984"/>
                  </a:lnTo>
                  <a:lnTo>
                    <a:pt x="270" y="990"/>
                  </a:lnTo>
                  <a:lnTo>
                    <a:pt x="270" y="996"/>
                  </a:lnTo>
                  <a:lnTo>
                    <a:pt x="270" y="1002"/>
                  </a:lnTo>
                  <a:lnTo>
                    <a:pt x="264" y="1008"/>
                  </a:lnTo>
                  <a:lnTo>
                    <a:pt x="252" y="996"/>
                  </a:lnTo>
                  <a:lnTo>
                    <a:pt x="246" y="996"/>
                  </a:lnTo>
                  <a:lnTo>
                    <a:pt x="234" y="1002"/>
                  </a:lnTo>
                  <a:lnTo>
                    <a:pt x="222" y="1002"/>
                  </a:lnTo>
                  <a:lnTo>
                    <a:pt x="210" y="1002"/>
                  </a:lnTo>
                  <a:lnTo>
                    <a:pt x="198" y="996"/>
                  </a:lnTo>
                  <a:lnTo>
                    <a:pt x="198" y="1002"/>
                  </a:lnTo>
                  <a:lnTo>
                    <a:pt x="198" y="1008"/>
                  </a:lnTo>
                  <a:lnTo>
                    <a:pt x="192" y="1020"/>
                  </a:lnTo>
                  <a:lnTo>
                    <a:pt x="198" y="1020"/>
                  </a:lnTo>
                  <a:lnTo>
                    <a:pt x="204" y="1020"/>
                  </a:lnTo>
                  <a:lnTo>
                    <a:pt x="210" y="1026"/>
                  </a:lnTo>
                  <a:lnTo>
                    <a:pt x="216" y="1026"/>
                  </a:lnTo>
                  <a:lnTo>
                    <a:pt x="216" y="1032"/>
                  </a:lnTo>
                  <a:lnTo>
                    <a:pt x="210" y="1032"/>
                  </a:lnTo>
                  <a:lnTo>
                    <a:pt x="210" y="1038"/>
                  </a:lnTo>
                  <a:lnTo>
                    <a:pt x="204" y="1038"/>
                  </a:lnTo>
                  <a:lnTo>
                    <a:pt x="204" y="1044"/>
                  </a:lnTo>
                  <a:lnTo>
                    <a:pt x="198" y="1044"/>
                  </a:lnTo>
                  <a:lnTo>
                    <a:pt x="192" y="1044"/>
                  </a:lnTo>
                  <a:lnTo>
                    <a:pt x="186" y="1050"/>
                  </a:lnTo>
                  <a:lnTo>
                    <a:pt x="186" y="1056"/>
                  </a:lnTo>
                  <a:lnTo>
                    <a:pt x="180" y="1056"/>
                  </a:lnTo>
                  <a:lnTo>
                    <a:pt x="180" y="1062"/>
                  </a:lnTo>
                  <a:lnTo>
                    <a:pt x="174" y="1062"/>
                  </a:lnTo>
                  <a:lnTo>
                    <a:pt x="168" y="1062"/>
                  </a:lnTo>
                  <a:lnTo>
                    <a:pt x="162" y="1062"/>
                  </a:lnTo>
                  <a:lnTo>
                    <a:pt x="156" y="1050"/>
                  </a:lnTo>
                  <a:lnTo>
                    <a:pt x="150" y="1044"/>
                  </a:lnTo>
                  <a:lnTo>
                    <a:pt x="150" y="1038"/>
                  </a:lnTo>
                  <a:lnTo>
                    <a:pt x="144" y="1032"/>
                  </a:lnTo>
                  <a:lnTo>
                    <a:pt x="144" y="1026"/>
                  </a:lnTo>
                  <a:lnTo>
                    <a:pt x="144" y="1014"/>
                  </a:lnTo>
                  <a:lnTo>
                    <a:pt x="150" y="1008"/>
                  </a:lnTo>
                  <a:lnTo>
                    <a:pt x="150" y="1002"/>
                  </a:lnTo>
                  <a:lnTo>
                    <a:pt x="156" y="984"/>
                  </a:lnTo>
                  <a:lnTo>
                    <a:pt x="162" y="978"/>
                  </a:lnTo>
                  <a:lnTo>
                    <a:pt x="162" y="972"/>
                  </a:lnTo>
                  <a:lnTo>
                    <a:pt x="150" y="966"/>
                  </a:lnTo>
                  <a:lnTo>
                    <a:pt x="144" y="966"/>
                  </a:lnTo>
                  <a:lnTo>
                    <a:pt x="138" y="966"/>
                  </a:lnTo>
                  <a:lnTo>
                    <a:pt x="138" y="954"/>
                  </a:lnTo>
                  <a:lnTo>
                    <a:pt x="132" y="954"/>
                  </a:lnTo>
                  <a:lnTo>
                    <a:pt x="138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8" y="924"/>
                  </a:lnTo>
                  <a:lnTo>
                    <a:pt x="132" y="930"/>
                  </a:lnTo>
                  <a:lnTo>
                    <a:pt x="132" y="924"/>
                  </a:lnTo>
                  <a:lnTo>
                    <a:pt x="126" y="918"/>
                  </a:lnTo>
                  <a:lnTo>
                    <a:pt x="132" y="918"/>
                  </a:lnTo>
                  <a:lnTo>
                    <a:pt x="132" y="912"/>
                  </a:lnTo>
                  <a:lnTo>
                    <a:pt x="126" y="912"/>
                  </a:lnTo>
                  <a:lnTo>
                    <a:pt x="120" y="912"/>
                  </a:lnTo>
                  <a:lnTo>
                    <a:pt x="120" y="918"/>
                  </a:lnTo>
                  <a:lnTo>
                    <a:pt x="114" y="918"/>
                  </a:lnTo>
                  <a:lnTo>
                    <a:pt x="114" y="912"/>
                  </a:lnTo>
                  <a:lnTo>
                    <a:pt x="108" y="912"/>
                  </a:lnTo>
                  <a:lnTo>
                    <a:pt x="102" y="912"/>
                  </a:lnTo>
                  <a:lnTo>
                    <a:pt x="108" y="906"/>
                  </a:lnTo>
                  <a:lnTo>
                    <a:pt x="102" y="906"/>
                  </a:lnTo>
                  <a:lnTo>
                    <a:pt x="96" y="906"/>
                  </a:lnTo>
                  <a:lnTo>
                    <a:pt x="96" y="912"/>
                  </a:lnTo>
                  <a:lnTo>
                    <a:pt x="90" y="918"/>
                  </a:lnTo>
                  <a:lnTo>
                    <a:pt x="90" y="912"/>
                  </a:lnTo>
                  <a:lnTo>
                    <a:pt x="84" y="912"/>
                  </a:lnTo>
                  <a:lnTo>
                    <a:pt x="84" y="918"/>
                  </a:lnTo>
                  <a:lnTo>
                    <a:pt x="78" y="918"/>
                  </a:lnTo>
                  <a:lnTo>
                    <a:pt x="78" y="912"/>
                  </a:lnTo>
                  <a:lnTo>
                    <a:pt x="78" y="906"/>
                  </a:lnTo>
                  <a:lnTo>
                    <a:pt x="72" y="900"/>
                  </a:lnTo>
                  <a:lnTo>
                    <a:pt x="78" y="900"/>
                  </a:lnTo>
                  <a:lnTo>
                    <a:pt x="72" y="900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8" y="888"/>
                  </a:lnTo>
                  <a:lnTo>
                    <a:pt x="72" y="888"/>
                  </a:lnTo>
                  <a:lnTo>
                    <a:pt x="72" y="882"/>
                  </a:lnTo>
                  <a:lnTo>
                    <a:pt x="66" y="876"/>
                  </a:lnTo>
                  <a:lnTo>
                    <a:pt x="60" y="882"/>
                  </a:lnTo>
                  <a:lnTo>
                    <a:pt x="54" y="876"/>
                  </a:lnTo>
                  <a:lnTo>
                    <a:pt x="54" y="882"/>
                  </a:lnTo>
                  <a:lnTo>
                    <a:pt x="48" y="882"/>
                  </a:lnTo>
                  <a:lnTo>
                    <a:pt x="42" y="870"/>
                  </a:lnTo>
                  <a:lnTo>
                    <a:pt x="42" y="864"/>
                  </a:lnTo>
                  <a:lnTo>
                    <a:pt x="36" y="858"/>
                  </a:lnTo>
                  <a:lnTo>
                    <a:pt x="36" y="852"/>
                  </a:lnTo>
                  <a:lnTo>
                    <a:pt x="30" y="852"/>
                  </a:lnTo>
                  <a:lnTo>
                    <a:pt x="30" y="846"/>
                  </a:lnTo>
                  <a:lnTo>
                    <a:pt x="24" y="846"/>
                  </a:lnTo>
                  <a:lnTo>
                    <a:pt x="18" y="840"/>
                  </a:lnTo>
                  <a:lnTo>
                    <a:pt x="12" y="834"/>
                  </a:lnTo>
                  <a:lnTo>
                    <a:pt x="0" y="828"/>
                  </a:lnTo>
                  <a:lnTo>
                    <a:pt x="0" y="822"/>
                  </a:lnTo>
                  <a:lnTo>
                    <a:pt x="0" y="816"/>
                  </a:lnTo>
                  <a:lnTo>
                    <a:pt x="0" y="810"/>
                  </a:lnTo>
                  <a:lnTo>
                    <a:pt x="6" y="804"/>
                  </a:lnTo>
                  <a:lnTo>
                    <a:pt x="12" y="804"/>
                  </a:lnTo>
                  <a:lnTo>
                    <a:pt x="12" y="798"/>
                  </a:lnTo>
                  <a:lnTo>
                    <a:pt x="12" y="792"/>
                  </a:lnTo>
                  <a:lnTo>
                    <a:pt x="6" y="792"/>
                  </a:lnTo>
                  <a:lnTo>
                    <a:pt x="6" y="786"/>
                  </a:lnTo>
                  <a:lnTo>
                    <a:pt x="6" y="780"/>
                  </a:lnTo>
                  <a:lnTo>
                    <a:pt x="18" y="780"/>
                  </a:lnTo>
                  <a:lnTo>
                    <a:pt x="18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0" y="774"/>
                  </a:lnTo>
                  <a:lnTo>
                    <a:pt x="36" y="768"/>
                  </a:lnTo>
                  <a:lnTo>
                    <a:pt x="42" y="768"/>
                  </a:lnTo>
                  <a:lnTo>
                    <a:pt x="60" y="750"/>
                  </a:lnTo>
                  <a:lnTo>
                    <a:pt x="60" y="744"/>
                  </a:lnTo>
                  <a:lnTo>
                    <a:pt x="54" y="738"/>
                  </a:lnTo>
                  <a:lnTo>
                    <a:pt x="60" y="732"/>
                  </a:lnTo>
                  <a:lnTo>
                    <a:pt x="54" y="732"/>
                  </a:lnTo>
                  <a:lnTo>
                    <a:pt x="60" y="726"/>
                  </a:lnTo>
                  <a:lnTo>
                    <a:pt x="66" y="720"/>
                  </a:lnTo>
                  <a:lnTo>
                    <a:pt x="72" y="714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84" y="696"/>
                  </a:lnTo>
                  <a:lnTo>
                    <a:pt x="90" y="684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66"/>
                  </a:lnTo>
                  <a:lnTo>
                    <a:pt x="90" y="660"/>
                  </a:lnTo>
                  <a:lnTo>
                    <a:pt x="84" y="654"/>
                  </a:lnTo>
                  <a:lnTo>
                    <a:pt x="84" y="648"/>
                  </a:lnTo>
                  <a:lnTo>
                    <a:pt x="78" y="636"/>
                  </a:lnTo>
                  <a:lnTo>
                    <a:pt x="66" y="630"/>
                  </a:lnTo>
                  <a:lnTo>
                    <a:pt x="66" y="624"/>
                  </a:lnTo>
                  <a:lnTo>
                    <a:pt x="60" y="624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60" y="600"/>
                  </a:lnTo>
                  <a:lnTo>
                    <a:pt x="66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6" y="588"/>
                  </a:lnTo>
                  <a:lnTo>
                    <a:pt x="66" y="582"/>
                  </a:lnTo>
                  <a:lnTo>
                    <a:pt x="72" y="582"/>
                  </a:lnTo>
                  <a:lnTo>
                    <a:pt x="78" y="576"/>
                  </a:lnTo>
                  <a:lnTo>
                    <a:pt x="72" y="576"/>
                  </a:lnTo>
                  <a:lnTo>
                    <a:pt x="66" y="570"/>
                  </a:lnTo>
                  <a:lnTo>
                    <a:pt x="72" y="564"/>
                  </a:lnTo>
                  <a:lnTo>
                    <a:pt x="78" y="558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90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102" y="516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0" y="504"/>
                  </a:lnTo>
                  <a:lnTo>
                    <a:pt x="120" y="498"/>
                  </a:lnTo>
                  <a:lnTo>
                    <a:pt x="120" y="492"/>
                  </a:lnTo>
                  <a:lnTo>
                    <a:pt x="126" y="480"/>
                  </a:lnTo>
                  <a:lnTo>
                    <a:pt x="132" y="474"/>
                  </a:lnTo>
                  <a:lnTo>
                    <a:pt x="132" y="468"/>
                  </a:lnTo>
                  <a:lnTo>
                    <a:pt x="138" y="462"/>
                  </a:lnTo>
                  <a:lnTo>
                    <a:pt x="138" y="456"/>
                  </a:lnTo>
                  <a:lnTo>
                    <a:pt x="138" y="450"/>
                  </a:lnTo>
                  <a:lnTo>
                    <a:pt x="144" y="444"/>
                  </a:lnTo>
                  <a:lnTo>
                    <a:pt x="162" y="438"/>
                  </a:lnTo>
                  <a:lnTo>
                    <a:pt x="186" y="438"/>
                  </a:lnTo>
                  <a:lnTo>
                    <a:pt x="210" y="444"/>
                  </a:lnTo>
                  <a:lnTo>
                    <a:pt x="276" y="450"/>
                  </a:lnTo>
                  <a:lnTo>
                    <a:pt x="342" y="450"/>
                  </a:lnTo>
                  <a:lnTo>
                    <a:pt x="348" y="450"/>
                  </a:lnTo>
                  <a:lnTo>
                    <a:pt x="354" y="450"/>
                  </a:lnTo>
                  <a:lnTo>
                    <a:pt x="360" y="456"/>
                  </a:lnTo>
                  <a:lnTo>
                    <a:pt x="354" y="462"/>
                  </a:lnTo>
                  <a:lnTo>
                    <a:pt x="354" y="468"/>
                  </a:lnTo>
                  <a:lnTo>
                    <a:pt x="354" y="474"/>
                  </a:lnTo>
                  <a:lnTo>
                    <a:pt x="348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48" y="498"/>
                  </a:lnTo>
                  <a:lnTo>
                    <a:pt x="342" y="510"/>
                  </a:lnTo>
                  <a:lnTo>
                    <a:pt x="348" y="528"/>
                  </a:lnTo>
                  <a:lnTo>
                    <a:pt x="348" y="534"/>
                  </a:lnTo>
                  <a:lnTo>
                    <a:pt x="354" y="552"/>
                  </a:lnTo>
                  <a:lnTo>
                    <a:pt x="366" y="546"/>
                  </a:lnTo>
                  <a:lnTo>
                    <a:pt x="372" y="540"/>
                  </a:lnTo>
                  <a:lnTo>
                    <a:pt x="384" y="540"/>
                  </a:lnTo>
                  <a:lnTo>
                    <a:pt x="396" y="534"/>
                  </a:lnTo>
                  <a:lnTo>
                    <a:pt x="402" y="534"/>
                  </a:lnTo>
                  <a:lnTo>
                    <a:pt x="414" y="546"/>
                  </a:lnTo>
                  <a:lnTo>
                    <a:pt x="432" y="540"/>
                  </a:lnTo>
                  <a:lnTo>
                    <a:pt x="450" y="534"/>
                  </a:lnTo>
                  <a:lnTo>
                    <a:pt x="450" y="528"/>
                  </a:lnTo>
                  <a:lnTo>
                    <a:pt x="456" y="528"/>
                  </a:lnTo>
                  <a:lnTo>
                    <a:pt x="456" y="522"/>
                  </a:lnTo>
                  <a:lnTo>
                    <a:pt x="456" y="516"/>
                  </a:lnTo>
                  <a:lnTo>
                    <a:pt x="462" y="516"/>
                  </a:lnTo>
                  <a:lnTo>
                    <a:pt x="468" y="510"/>
                  </a:lnTo>
                  <a:lnTo>
                    <a:pt x="468" y="504"/>
                  </a:lnTo>
                  <a:lnTo>
                    <a:pt x="474" y="504"/>
                  </a:lnTo>
                  <a:lnTo>
                    <a:pt x="480" y="504"/>
                  </a:lnTo>
                  <a:lnTo>
                    <a:pt x="486" y="498"/>
                  </a:lnTo>
                  <a:lnTo>
                    <a:pt x="492" y="498"/>
                  </a:lnTo>
                  <a:lnTo>
                    <a:pt x="486" y="480"/>
                  </a:lnTo>
                  <a:lnTo>
                    <a:pt x="492" y="462"/>
                  </a:lnTo>
                  <a:lnTo>
                    <a:pt x="498" y="444"/>
                  </a:lnTo>
                  <a:lnTo>
                    <a:pt x="498" y="426"/>
                  </a:lnTo>
                  <a:lnTo>
                    <a:pt x="498" y="420"/>
                  </a:lnTo>
                  <a:lnTo>
                    <a:pt x="504" y="426"/>
                  </a:lnTo>
                  <a:lnTo>
                    <a:pt x="504" y="420"/>
                  </a:lnTo>
                  <a:lnTo>
                    <a:pt x="510" y="420"/>
                  </a:lnTo>
                  <a:lnTo>
                    <a:pt x="510" y="414"/>
                  </a:lnTo>
                  <a:lnTo>
                    <a:pt x="510" y="408"/>
                  </a:lnTo>
                  <a:lnTo>
                    <a:pt x="504" y="402"/>
                  </a:lnTo>
                  <a:lnTo>
                    <a:pt x="504" y="396"/>
                  </a:lnTo>
                  <a:lnTo>
                    <a:pt x="504" y="384"/>
                  </a:lnTo>
                  <a:lnTo>
                    <a:pt x="504" y="378"/>
                  </a:lnTo>
                  <a:lnTo>
                    <a:pt x="504" y="360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510" y="348"/>
                  </a:lnTo>
                  <a:lnTo>
                    <a:pt x="510" y="336"/>
                  </a:lnTo>
                  <a:lnTo>
                    <a:pt x="516" y="330"/>
                  </a:lnTo>
                  <a:lnTo>
                    <a:pt x="522" y="324"/>
                  </a:lnTo>
                  <a:lnTo>
                    <a:pt x="528" y="318"/>
                  </a:lnTo>
                  <a:lnTo>
                    <a:pt x="534" y="312"/>
                  </a:lnTo>
                  <a:lnTo>
                    <a:pt x="534" y="300"/>
                  </a:lnTo>
                  <a:lnTo>
                    <a:pt x="540" y="294"/>
                  </a:lnTo>
                  <a:lnTo>
                    <a:pt x="546" y="288"/>
                  </a:lnTo>
                  <a:lnTo>
                    <a:pt x="552" y="276"/>
                  </a:lnTo>
                  <a:lnTo>
                    <a:pt x="558" y="264"/>
                  </a:lnTo>
                  <a:lnTo>
                    <a:pt x="558" y="258"/>
                  </a:lnTo>
                  <a:lnTo>
                    <a:pt x="558" y="252"/>
                  </a:lnTo>
                  <a:lnTo>
                    <a:pt x="558" y="246"/>
                  </a:lnTo>
                  <a:lnTo>
                    <a:pt x="564" y="246"/>
                  </a:lnTo>
                  <a:lnTo>
                    <a:pt x="564" y="240"/>
                  </a:lnTo>
                  <a:lnTo>
                    <a:pt x="570" y="234"/>
                  </a:lnTo>
                  <a:lnTo>
                    <a:pt x="564" y="216"/>
                  </a:lnTo>
                  <a:lnTo>
                    <a:pt x="564" y="210"/>
                  </a:lnTo>
                  <a:lnTo>
                    <a:pt x="570" y="210"/>
                  </a:lnTo>
                  <a:lnTo>
                    <a:pt x="570" y="204"/>
                  </a:lnTo>
                  <a:lnTo>
                    <a:pt x="570" y="198"/>
                  </a:lnTo>
                  <a:lnTo>
                    <a:pt x="582" y="180"/>
                  </a:lnTo>
                  <a:lnTo>
                    <a:pt x="582" y="174"/>
                  </a:lnTo>
                  <a:lnTo>
                    <a:pt x="582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606" y="150"/>
                  </a:lnTo>
                  <a:lnTo>
                    <a:pt x="612" y="150"/>
                  </a:lnTo>
                  <a:lnTo>
                    <a:pt x="618" y="150"/>
                  </a:lnTo>
                  <a:lnTo>
                    <a:pt x="624" y="138"/>
                  </a:lnTo>
                  <a:lnTo>
                    <a:pt x="618" y="132"/>
                  </a:lnTo>
                  <a:lnTo>
                    <a:pt x="618" y="126"/>
                  </a:lnTo>
                  <a:lnTo>
                    <a:pt x="618" y="120"/>
                  </a:lnTo>
                  <a:lnTo>
                    <a:pt x="618" y="114"/>
                  </a:lnTo>
                  <a:lnTo>
                    <a:pt x="612" y="108"/>
                  </a:lnTo>
                  <a:lnTo>
                    <a:pt x="612" y="102"/>
                  </a:lnTo>
                  <a:lnTo>
                    <a:pt x="618" y="90"/>
                  </a:lnTo>
                  <a:lnTo>
                    <a:pt x="624" y="84"/>
                  </a:lnTo>
                  <a:lnTo>
                    <a:pt x="618" y="84"/>
                  </a:lnTo>
                  <a:lnTo>
                    <a:pt x="618" y="78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0" y="72"/>
                  </a:lnTo>
                  <a:lnTo>
                    <a:pt x="600" y="66"/>
                  </a:lnTo>
                  <a:lnTo>
                    <a:pt x="600" y="60"/>
                  </a:lnTo>
                  <a:lnTo>
                    <a:pt x="600" y="48"/>
                  </a:lnTo>
                  <a:lnTo>
                    <a:pt x="612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36"/>
                  </a:lnTo>
                  <a:lnTo>
                    <a:pt x="630" y="30"/>
                  </a:lnTo>
                  <a:lnTo>
                    <a:pt x="636" y="24"/>
                  </a:lnTo>
                  <a:lnTo>
                    <a:pt x="642" y="24"/>
                  </a:lnTo>
                  <a:lnTo>
                    <a:pt x="648" y="24"/>
                  </a:lnTo>
                  <a:lnTo>
                    <a:pt x="648" y="18"/>
                  </a:lnTo>
                  <a:lnTo>
                    <a:pt x="654" y="12"/>
                  </a:lnTo>
                  <a:lnTo>
                    <a:pt x="660" y="0"/>
                  </a:lnTo>
                  <a:lnTo>
                    <a:pt x="678" y="0"/>
                  </a:lnTo>
                  <a:lnTo>
                    <a:pt x="696" y="0"/>
                  </a:lnTo>
                  <a:lnTo>
                    <a:pt x="702" y="0"/>
                  </a:lnTo>
                  <a:lnTo>
                    <a:pt x="714" y="0"/>
                  </a:lnTo>
                  <a:lnTo>
                    <a:pt x="720" y="6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44" y="24"/>
                  </a:lnTo>
                  <a:lnTo>
                    <a:pt x="744" y="30"/>
                  </a:lnTo>
                  <a:lnTo>
                    <a:pt x="732" y="42"/>
                  </a:lnTo>
                  <a:lnTo>
                    <a:pt x="726" y="42"/>
                  </a:lnTo>
                  <a:lnTo>
                    <a:pt x="720" y="42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54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90"/>
                  </a:lnTo>
                  <a:lnTo>
                    <a:pt x="726" y="84"/>
                  </a:lnTo>
                  <a:lnTo>
                    <a:pt x="738" y="84"/>
                  </a:lnTo>
                  <a:lnTo>
                    <a:pt x="750" y="96"/>
                  </a:lnTo>
                  <a:lnTo>
                    <a:pt x="768" y="96"/>
                  </a:lnTo>
                  <a:lnTo>
                    <a:pt x="768" y="90"/>
                  </a:lnTo>
                  <a:lnTo>
                    <a:pt x="774" y="84"/>
                  </a:lnTo>
                  <a:lnTo>
                    <a:pt x="780" y="78"/>
                  </a:lnTo>
                  <a:lnTo>
                    <a:pt x="786" y="78"/>
                  </a:lnTo>
                  <a:lnTo>
                    <a:pt x="792" y="72"/>
                  </a:lnTo>
                  <a:lnTo>
                    <a:pt x="804" y="72"/>
                  </a:lnTo>
                  <a:lnTo>
                    <a:pt x="804" y="66"/>
                  </a:lnTo>
                  <a:lnTo>
                    <a:pt x="810" y="66"/>
                  </a:lnTo>
                  <a:lnTo>
                    <a:pt x="810" y="72"/>
                  </a:lnTo>
                  <a:lnTo>
                    <a:pt x="816" y="66"/>
                  </a:lnTo>
                  <a:lnTo>
                    <a:pt x="828" y="66"/>
                  </a:lnTo>
                  <a:lnTo>
                    <a:pt x="834" y="72"/>
                  </a:lnTo>
                  <a:lnTo>
                    <a:pt x="840" y="72"/>
                  </a:lnTo>
                  <a:lnTo>
                    <a:pt x="840" y="78"/>
                  </a:lnTo>
                  <a:lnTo>
                    <a:pt x="840" y="84"/>
                  </a:lnTo>
                  <a:lnTo>
                    <a:pt x="852" y="84"/>
                  </a:lnTo>
                  <a:lnTo>
                    <a:pt x="858" y="96"/>
                  </a:lnTo>
                  <a:lnTo>
                    <a:pt x="864" y="108"/>
                  </a:lnTo>
                  <a:lnTo>
                    <a:pt x="876" y="114"/>
                  </a:lnTo>
                  <a:lnTo>
                    <a:pt x="894" y="114"/>
                  </a:lnTo>
                  <a:lnTo>
                    <a:pt x="906" y="114"/>
                  </a:lnTo>
                  <a:lnTo>
                    <a:pt x="906" y="126"/>
                  </a:lnTo>
                  <a:lnTo>
                    <a:pt x="912" y="144"/>
                  </a:lnTo>
                  <a:lnTo>
                    <a:pt x="930" y="138"/>
                  </a:lnTo>
                  <a:lnTo>
                    <a:pt x="936" y="138"/>
                  </a:lnTo>
                  <a:lnTo>
                    <a:pt x="942" y="144"/>
                  </a:lnTo>
                  <a:lnTo>
                    <a:pt x="948" y="150"/>
                  </a:lnTo>
                  <a:lnTo>
                    <a:pt x="954" y="156"/>
                  </a:lnTo>
                  <a:lnTo>
                    <a:pt x="954" y="168"/>
                  </a:lnTo>
                  <a:lnTo>
                    <a:pt x="954" y="174"/>
                  </a:lnTo>
                  <a:lnTo>
                    <a:pt x="960" y="180"/>
                  </a:lnTo>
                  <a:lnTo>
                    <a:pt x="966" y="186"/>
                  </a:lnTo>
                  <a:lnTo>
                    <a:pt x="960" y="186"/>
                  </a:lnTo>
                  <a:lnTo>
                    <a:pt x="966" y="192"/>
                  </a:lnTo>
                  <a:lnTo>
                    <a:pt x="966" y="198"/>
                  </a:lnTo>
                  <a:lnTo>
                    <a:pt x="978" y="204"/>
                  </a:lnTo>
                  <a:lnTo>
                    <a:pt x="1050" y="186"/>
                  </a:lnTo>
                  <a:lnTo>
                    <a:pt x="1056" y="198"/>
                  </a:lnTo>
                  <a:lnTo>
                    <a:pt x="1068" y="210"/>
                  </a:lnTo>
                  <a:lnTo>
                    <a:pt x="1074" y="216"/>
                  </a:lnTo>
                  <a:lnTo>
                    <a:pt x="1080" y="252"/>
                  </a:lnTo>
                  <a:lnTo>
                    <a:pt x="1086" y="270"/>
                  </a:lnTo>
                  <a:lnTo>
                    <a:pt x="1092" y="282"/>
                  </a:lnTo>
                  <a:lnTo>
                    <a:pt x="1086" y="300"/>
                  </a:lnTo>
                  <a:lnTo>
                    <a:pt x="1074" y="330"/>
                  </a:lnTo>
                  <a:lnTo>
                    <a:pt x="1068" y="336"/>
                  </a:lnTo>
                  <a:lnTo>
                    <a:pt x="1062" y="348"/>
                  </a:lnTo>
                  <a:lnTo>
                    <a:pt x="1062" y="360"/>
                  </a:lnTo>
                  <a:lnTo>
                    <a:pt x="1068" y="378"/>
                  </a:lnTo>
                  <a:lnTo>
                    <a:pt x="1074" y="390"/>
                  </a:lnTo>
                  <a:lnTo>
                    <a:pt x="1068" y="396"/>
                  </a:lnTo>
                  <a:lnTo>
                    <a:pt x="1068" y="408"/>
                  </a:lnTo>
                  <a:lnTo>
                    <a:pt x="1062" y="414"/>
                  </a:lnTo>
                  <a:lnTo>
                    <a:pt x="1050" y="432"/>
                  </a:lnTo>
                  <a:lnTo>
                    <a:pt x="1044" y="450"/>
                  </a:lnTo>
                  <a:lnTo>
                    <a:pt x="1038" y="456"/>
                  </a:lnTo>
                  <a:lnTo>
                    <a:pt x="1026" y="468"/>
                  </a:lnTo>
                  <a:lnTo>
                    <a:pt x="1026" y="474"/>
                  </a:lnTo>
                  <a:lnTo>
                    <a:pt x="1026" y="480"/>
                  </a:lnTo>
                  <a:lnTo>
                    <a:pt x="1032" y="492"/>
                  </a:lnTo>
                  <a:lnTo>
                    <a:pt x="1044" y="504"/>
                  </a:lnTo>
                  <a:lnTo>
                    <a:pt x="1044" y="516"/>
                  </a:lnTo>
                  <a:lnTo>
                    <a:pt x="1038" y="528"/>
                  </a:lnTo>
                  <a:lnTo>
                    <a:pt x="1032" y="546"/>
                  </a:lnTo>
                  <a:lnTo>
                    <a:pt x="1032" y="570"/>
                  </a:lnTo>
                  <a:lnTo>
                    <a:pt x="1050" y="594"/>
                  </a:lnTo>
                  <a:lnTo>
                    <a:pt x="1056" y="624"/>
                  </a:lnTo>
                  <a:lnTo>
                    <a:pt x="1056" y="65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9" name="Freeform 24">
              <a:extLst>
                <a:ext uri="{FF2B5EF4-FFF2-40B4-BE49-F238E27FC236}">
                  <a16:creationId xmlns:a16="http://schemas.microsoft.com/office/drawing/2014/main" id="{CAE689DA-332A-4F73-BDE6-8865C9170AA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84829" y="3213406"/>
              <a:ext cx="851989" cy="744754"/>
            </a:xfrm>
            <a:custGeom>
              <a:avLst/>
              <a:gdLst>
                <a:gd name="T0" fmla="*/ 116 w 1602"/>
                <a:gd name="T1" fmla="*/ 91 h 1404"/>
                <a:gd name="T2" fmla="*/ 111 w 1602"/>
                <a:gd name="T3" fmla="*/ 95 h 1404"/>
                <a:gd name="T4" fmla="*/ 102 w 1602"/>
                <a:gd name="T5" fmla="*/ 101 h 1404"/>
                <a:gd name="T6" fmla="*/ 99 w 1602"/>
                <a:gd name="T7" fmla="*/ 103 h 1404"/>
                <a:gd name="T8" fmla="*/ 96 w 1602"/>
                <a:gd name="T9" fmla="*/ 106 h 1404"/>
                <a:gd name="T10" fmla="*/ 93 w 1602"/>
                <a:gd name="T11" fmla="*/ 108 h 1404"/>
                <a:gd name="T12" fmla="*/ 88 w 1602"/>
                <a:gd name="T13" fmla="*/ 106 h 1404"/>
                <a:gd name="T14" fmla="*/ 86 w 1602"/>
                <a:gd name="T15" fmla="*/ 108 h 1404"/>
                <a:gd name="T16" fmla="*/ 81 w 1602"/>
                <a:gd name="T17" fmla="*/ 119 h 1404"/>
                <a:gd name="T18" fmla="*/ 71 w 1602"/>
                <a:gd name="T19" fmla="*/ 109 h 1404"/>
                <a:gd name="T20" fmla="*/ 72 w 1602"/>
                <a:gd name="T21" fmla="*/ 101 h 1404"/>
                <a:gd name="T22" fmla="*/ 74 w 1602"/>
                <a:gd name="T23" fmla="*/ 93 h 1404"/>
                <a:gd name="T24" fmla="*/ 73 w 1602"/>
                <a:gd name="T25" fmla="*/ 82 h 1404"/>
                <a:gd name="T26" fmla="*/ 64 w 1602"/>
                <a:gd name="T27" fmla="*/ 79 h 1404"/>
                <a:gd name="T28" fmla="*/ 59 w 1602"/>
                <a:gd name="T29" fmla="*/ 75 h 1404"/>
                <a:gd name="T30" fmla="*/ 54 w 1602"/>
                <a:gd name="T31" fmla="*/ 71 h 1404"/>
                <a:gd name="T32" fmla="*/ 51 w 1602"/>
                <a:gd name="T33" fmla="*/ 70 h 1404"/>
                <a:gd name="T34" fmla="*/ 45 w 1602"/>
                <a:gd name="T35" fmla="*/ 71 h 1404"/>
                <a:gd name="T36" fmla="*/ 43 w 1602"/>
                <a:gd name="T37" fmla="*/ 68 h 1404"/>
                <a:gd name="T38" fmla="*/ 43 w 1602"/>
                <a:gd name="T39" fmla="*/ 64 h 1404"/>
                <a:gd name="T40" fmla="*/ 36 w 1602"/>
                <a:gd name="T41" fmla="*/ 66 h 1404"/>
                <a:gd name="T42" fmla="*/ 31 w 1602"/>
                <a:gd name="T43" fmla="*/ 55 h 1404"/>
                <a:gd name="T44" fmla="*/ 25 w 1602"/>
                <a:gd name="T45" fmla="*/ 53 h 1404"/>
                <a:gd name="T46" fmla="*/ 19 w 1602"/>
                <a:gd name="T47" fmla="*/ 51 h 1404"/>
                <a:gd name="T48" fmla="*/ 17 w 1602"/>
                <a:gd name="T49" fmla="*/ 43 h 1404"/>
                <a:gd name="T50" fmla="*/ 17 w 1602"/>
                <a:gd name="T51" fmla="*/ 39 h 1404"/>
                <a:gd name="T52" fmla="*/ 12 w 1602"/>
                <a:gd name="T53" fmla="*/ 39 h 1404"/>
                <a:gd name="T54" fmla="*/ 10 w 1602"/>
                <a:gd name="T55" fmla="*/ 35 h 1404"/>
                <a:gd name="T56" fmla="*/ 5 w 1602"/>
                <a:gd name="T57" fmla="*/ 30 h 1404"/>
                <a:gd name="T58" fmla="*/ 3 w 1602"/>
                <a:gd name="T59" fmla="*/ 27 h 1404"/>
                <a:gd name="T60" fmla="*/ 2 w 1602"/>
                <a:gd name="T61" fmla="*/ 25 h 1404"/>
                <a:gd name="T62" fmla="*/ 0 w 1602"/>
                <a:gd name="T63" fmla="*/ 22 h 1404"/>
                <a:gd name="T64" fmla="*/ 8 w 1602"/>
                <a:gd name="T65" fmla="*/ 14 h 1404"/>
                <a:gd name="T66" fmla="*/ 16 w 1602"/>
                <a:gd name="T67" fmla="*/ 16 h 1404"/>
                <a:gd name="T68" fmla="*/ 31 w 1602"/>
                <a:gd name="T69" fmla="*/ 18 h 1404"/>
                <a:gd name="T70" fmla="*/ 43 w 1602"/>
                <a:gd name="T71" fmla="*/ 17 h 1404"/>
                <a:gd name="T72" fmla="*/ 47 w 1602"/>
                <a:gd name="T73" fmla="*/ 6 h 1404"/>
                <a:gd name="T74" fmla="*/ 52 w 1602"/>
                <a:gd name="T75" fmla="*/ 0 h 1404"/>
                <a:gd name="T76" fmla="*/ 55 w 1602"/>
                <a:gd name="T77" fmla="*/ 3 h 1404"/>
                <a:gd name="T78" fmla="*/ 59 w 1602"/>
                <a:gd name="T79" fmla="*/ 9 h 1404"/>
                <a:gd name="T80" fmla="*/ 62 w 1602"/>
                <a:gd name="T81" fmla="*/ 16 h 1404"/>
                <a:gd name="T82" fmla="*/ 66 w 1602"/>
                <a:gd name="T83" fmla="*/ 20 h 1404"/>
                <a:gd name="T84" fmla="*/ 70 w 1602"/>
                <a:gd name="T85" fmla="*/ 25 h 1404"/>
                <a:gd name="T86" fmla="*/ 74 w 1602"/>
                <a:gd name="T87" fmla="*/ 30 h 1404"/>
                <a:gd name="T88" fmla="*/ 76 w 1602"/>
                <a:gd name="T89" fmla="*/ 27 h 1404"/>
                <a:gd name="T90" fmla="*/ 78 w 1602"/>
                <a:gd name="T91" fmla="*/ 27 h 1404"/>
                <a:gd name="T92" fmla="*/ 78 w 1602"/>
                <a:gd name="T93" fmla="*/ 23 h 1404"/>
                <a:gd name="T94" fmla="*/ 82 w 1602"/>
                <a:gd name="T95" fmla="*/ 20 h 1404"/>
                <a:gd name="T96" fmla="*/ 82 w 1602"/>
                <a:gd name="T97" fmla="*/ 18 h 1404"/>
                <a:gd name="T98" fmla="*/ 90 w 1602"/>
                <a:gd name="T99" fmla="*/ 24 h 1404"/>
                <a:gd name="T100" fmla="*/ 90 w 1602"/>
                <a:gd name="T101" fmla="*/ 45 h 1404"/>
                <a:gd name="T102" fmla="*/ 104 w 1602"/>
                <a:gd name="T103" fmla="*/ 41 h 1404"/>
                <a:gd name="T104" fmla="*/ 117 w 1602"/>
                <a:gd name="T105" fmla="*/ 39 h 1404"/>
                <a:gd name="T106" fmla="*/ 125 w 1602"/>
                <a:gd name="T107" fmla="*/ 39 h 1404"/>
                <a:gd name="T108" fmla="*/ 127 w 1602"/>
                <a:gd name="T109" fmla="*/ 43 h 1404"/>
                <a:gd name="T110" fmla="*/ 131 w 1602"/>
                <a:gd name="T111" fmla="*/ 53 h 1404"/>
                <a:gd name="T112" fmla="*/ 133 w 1602"/>
                <a:gd name="T113" fmla="*/ 60 h 1404"/>
                <a:gd name="T114" fmla="*/ 138 w 1602"/>
                <a:gd name="T115" fmla="*/ 73 h 1404"/>
                <a:gd name="T116" fmla="*/ 136 w 1602"/>
                <a:gd name="T117" fmla="*/ 80 h 1404"/>
                <a:gd name="T118" fmla="*/ 129 w 1602"/>
                <a:gd name="T119" fmla="*/ 87 h 1404"/>
                <a:gd name="T120" fmla="*/ 123 w 1602"/>
                <a:gd name="T121" fmla="*/ 95 h 14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02"/>
                <a:gd name="T184" fmla="*/ 0 h 1404"/>
                <a:gd name="T185" fmla="*/ 1602 w 1602"/>
                <a:gd name="T186" fmla="*/ 1404 h 14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02" h="1404">
                  <a:moveTo>
                    <a:pt x="1392" y="1080"/>
                  </a:moveTo>
                  <a:lnTo>
                    <a:pt x="1380" y="1074"/>
                  </a:lnTo>
                  <a:lnTo>
                    <a:pt x="1368" y="1056"/>
                  </a:lnTo>
                  <a:lnTo>
                    <a:pt x="1356" y="1044"/>
                  </a:lnTo>
                  <a:lnTo>
                    <a:pt x="1344" y="1038"/>
                  </a:lnTo>
                  <a:lnTo>
                    <a:pt x="1338" y="1038"/>
                  </a:lnTo>
                  <a:lnTo>
                    <a:pt x="1332" y="1038"/>
                  </a:lnTo>
                  <a:lnTo>
                    <a:pt x="1326" y="1044"/>
                  </a:lnTo>
                  <a:lnTo>
                    <a:pt x="1320" y="1044"/>
                  </a:lnTo>
                  <a:lnTo>
                    <a:pt x="1314" y="1044"/>
                  </a:lnTo>
                  <a:lnTo>
                    <a:pt x="1296" y="1056"/>
                  </a:lnTo>
                  <a:lnTo>
                    <a:pt x="1296" y="1080"/>
                  </a:lnTo>
                  <a:lnTo>
                    <a:pt x="1290" y="1080"/>
                  </a:lnTo>
                  <a:lnTo>
                    <a:pt x="1284" y="1086"/>
                  </a:lnTo>
                  <a:lnTo>
                    <a:pt x="1278" y="1086"/>
                  </a:lnTo>
                  <a:lnTo>
                    <a:pt x="1278" y="1092"/>
                  </a:lnTo>
                  <a:lnTo>
                    <a:pt x="1272" y="1092"/>
                  </a:lnTo>
                  <a:lnTo>
                    <a:pt x="1266" y="1086"/>
                  </a:lnTo>
                  <a:lnTo>
                    <a:pt x="1260" y="1086"/>
                  </a:lnTo>
                  <a:lnTo>
                    <a:pt x="1260" y="1098"/>
                  </a:lnTo>
                  <a:lnTo>
                    <a:pt x="1248" y="1098"/>
                  </a:lnTo>
                  <a:lnTo>
                    <a:pt x="1212" y="1116"/>
                  </a:lnTo>
                  <a:lnTo>
                    <a:pt x="1206" y="1158"/>
                  </a:lnTo>
                  <a:lnTo>
                    <a:pt x="1176" y="1164"/>
                  </a:lnTo>
                  <a:lnTo>
                    <a:pt x="1158" y="1164"/>
                  </a:lnTo>
                  <a:lnTo>
                    <a:pt x="1152" y="1164"/>
                  </a:lnTo>
                  <a:lnTo>
                    <a:pt x="1152" y="1170"/>
                  </a:lnTo>
                  <a:lnTo>
                    <a:pt x="1152" y="1176"/>
                  </a:lnTo>
                  <a:lnTo>
                    <a:pt x="1146" y="1176"/>
                  </a:lnTo>
                  <a:lnTo>
                    <a:pt x="1140" y="1176"/>
                  </a:lnTo>
                  <a:lnTo>
                    <a:pt x="1134" y="1182"/>
                  </a:lnTo>
                  <a:lnTo>
                    <a:pt x="1134" y="1188"/>
                  </a:lnTo>
                  <a:lnTo>
                    <a:pt x="1128" y="1194"/>
                  </a:lnTo>
                  <a:lnTo>
                    <a:pt x="1122" y="1194"/>
                  </a:lnTo>
                  <a:lnTo>
                    <a:pt x="1116" y="1194"/>
                  </a:lnTo>
                  <a:lnTo>
                    <a:pt x="1110" y="1200"/>
                  </a:lnTo>
                  <a:lnTo>
                    <a:pt x="1110" y="1206"/>
                  </a:lnTo>
                  <a:lnTo>
                    <a:pt x="1104" y="1212"/>
                  </a:lnTo>
                  <a:lnTo>
                    <a:pt x="1104" y="1218"/>
                  </a:lnTo>
                  <a:lnTo>
                    <a:pt x="1098" y="1224"/>
                  </a:lnTo>
                  <a:lnTo>
                    <a:pt x="1092" y="1230"/>
                  </a:lnTo>
                  <a:lnTo>
                    <a:pt x="1086" y="1230"/>
                  </a:lnTo>
                  <a:lnTo>
                    <a:pt x="1080" y="1230"/>
                  </a:lnTo>
                  <a:lnTo>
                    <a:pt x="1080" y="1242"/>
                  </a:lnTo>
                  <a:lnTo>
                    <a:pt x="1074" y="1242"/>
                  </a:lnTo>
                  <a:lnTo>
                    <a:pt x="1068" y="1242"/>
                  </a:lnTo>
                  <a:lnTo>
                    <a:pt x="1068" y="1236"/>
                  </a:lnTo>
                  <a:lnTo>
                    <a:pt x="1062" y="1242"/>
                  </a:lnTo>
                  <a:lnTo>
                    <a:pt x="1056" y="1236"/>
                  </a:lnTo>
                  <a:lnTo>
                    <a:pt x="1050" y="1242"/>
                  </a:lnTo>
                  <a:lnTo>
                    <a:pt x="1050" y="1236"/>
                  </a:lnTo>
                  <a:lnTo>
                    <a:pt x="1044" y="1194"/>
                  </a:lnTo>
                  <a:lnTo>
                    <a:pt x="1032" y="1194"/>
                  </a:lnTo>
                  <a:lnTo>
                    <a:pt x="1032" y="1200"/>
                  </a:lnTo>
                  <a:lnTo>
                    <a:pt x="1026" y="1200"/>
                  </a:lnTo>
                  <a:lnTo>
                    <a:pt x="1014" y="1218"/>
                  </a:lnTo>
                  <a:lnTo>
                    <a:pt x="1014" y="1224"/>
                  </a:lnTo>
                  <a:lnTo>
                    <a:pt x="1014" y="1236"/>
                  </a:lnTo>
                  <a:lnTo>
                    <a:pt x="1014" y="1242"/>
                  </a:lnTo>
                  <a:lnTo>
                    <a:pt x="1008" y="1242"/>
                  </a:lnTo>
                  <a:lnTo>
                    <a:pt x="1002" y="1236"/>
                  </a:lnTo>
                  <a:lnTo>
                    <a:pt x="1002" y="1230"/>
                  </a:lnTo>
                  <a:lnTo>
                    <a:pt x="996" y="1236"/>
                  </a:lnTo>
                  <a:lnTo>
                    <a:pt x="990" y="1236"/>
                  </a:lnTo>
                  <a:lnTo>
                    <a:pt x="990" y="1230"/>
                  </a:lnTo>
                  <a:lnTo>
                    <a:pt x="984" y="1236"/>
                  </a:lnTo>
                  <a:lnTo>
                    <a:pt x="978" y="1248"/>
                  </a:lnTo>
                  <a:lnTo>
                    <a:pt x="972" y="1254"/>
                  </a:lnTo>
                  <a:lnTo>
                    <a:pt x="966" y="1260"/>
                  </a:lnTo>
                  <a:lnTo>
                    <a:pt x="930" y="1284"/>
                  </a:lnTo>
                  <a:lnTo>
                    <a:pt x="942" y="1356"/>
                  </a:lnTo>
                  <a:lnTo>
                    <a:pt x="930" y="1368"/>
                  </a:lnTo>
                  <a:lnTo>
                    <a:pt x="852" y="1404"/>
                  </a:lnTo>
                  <a:lnTo>
                    <a:pt x="834" y="1392"/>
                  </a:lnTo>
                  <a:lnTo>
                    <a:pt x="834" y="1362"/>
                  </a:lnTo>
                  <a:lnTo>
                    <a:pt x="828" y="1332"/>
                  </a:lnTo>
                  <a:lnTo>
                    <a:pt x="810" y="1308"/>
                  </a:lnTo>
                  <a:lnTo>
                    <a:pt x="810" y="1284"/>
                  </a:lnTo>
                  <a:lnTo>
                    <a:pt x="816" y="1266"/>
                  </a:lnTo>
                  <a:lnTo>
                    <a:pt x="822" y="1254"/>
                  </a:lnTo>
                  <a:lnTo>
                    <a:pt x="822" y="1242"/>
                  </a:lnTo>
                  <a:lnTo>
                    <a:pt x="810" y="1230"/>
                  </a:lnTo>
                  <a:lnTo>
                    <a:pt x="804" y="1218"/>
                  </a:lnTo>
                  <a:lnTo>
                    <a:pt x="804" y="1212"/>
                  </a:lnTo>
                  <a:lnTo>
                    <a:pt x="804" y="1206"/>
                  </a:lnTo>
                  <a:lnTo>
                    <a:pt x="816" y="1194"/>
                  </a:lnTo>
                  <a:lnTo>
                    <a:pt x="822" y="1188"/>
                  </a:lnTo>
                  <a:lnTo>
                    <a:pt x="828" y="1170"/>
                  </a:lnTo>
                  <a:lnTo>
                    <a:pt x="840" y="1152"/>
                  </a:lnTo>
                  <a:lnTo>
                    <a:pt x="846" y="1146"/>
                  </a:lnTo>
                  <a:lnTo>
                    <a:pt x="846" y="1134"/>
                  </a:lnTo>
                  <a:lnTo>
                    <a:pt x="852" y="1128"/>
                  </a:lnTo>
                  <a:lnTo>
                    <a:pt x="846" y="1116"/>
                  </a:lnTo>
                  <a:lnTo>
                    <a:pt x="840" y="1098"/>
                  </a:lnTo>
                  <a:lnTo>
                    <a:pt x="840" y="1086"/>
                  </a:lnTo>
                  <a:lnTo>
                    <a:pt x="846" y="1074"/>
                  </a:lnTo>
                  <a:lnTo>
                    <a:pt x="852" y="1068"/>
                  </a:lnTo>
                  <a:lnTo>
                    <a:pt x="864" y="1038"/>
                  </a:lnTo>
                  <a:lnTo>
                    <a:pt x="870" y="1020"/>
                  </a:lnTo>
                  <a:lnTo>
                    <a:pt x="864" y="1008"/>
                  </a:lnTo>
                  <a:lnTo>
                    <a:pt x="858" y="990"/>
                  </a:lnTo>
                  <a:lnTo>
                    <a:pt x="852" y="954"/>
                  </a:lnTo>
                  <a:lnTo>
                    <a:pt x="846" y="948"/>
                  </a:lnTo>
                  <a:lnTo>
                    <a:pt x="834" y="936"/>
                  </a:lnTo>
                  <a:lnTo>
                    <a:pt x="828" y="924"/>
                  </a:lnTo>
                  <a:lnTo>
                    <a:pt x="756" y="942"/>
                  </a:lnTo>
                  <a:lnTo>
                    <a:pt x="744" y="936"/>
                  </a:lnTo>
                  <a:lnTo>
                    <a:pt x="744" y="930"/>
                  </a:lnTo>
                  <a:lnTo>
                    <a:pt x="738" y="924"/>
                  </a:lnTo>
                  <a:lnTo>
                    <a:pt x="744" y="924"/>
                  </a:lnTo>
                  <a:lnTo>
                    <a:pt x="738" y="918"/>
                  </a:lnTo>
                  <a:lnTo>
                    <a:pt x="732" y="912"/>
                  </a:lnTo>
                  <a:lnTo>
                    <a:pt x="732" y="906"/>
                  </a:lnTo>
                  <a:lnTo>
                    <a:pt x="732" y="894"/>
                  </a:lnTo>
                  <a:lnTo>
                    <a:pt x="726" y="888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6"/>
                  </a:lnTo>
                  <a:lnTo>
                    <a:pt x="690" y="882"/>
                  </a:lnTo>
                  <a:lnTo>
                    <a:pt x="684" y="864"/>
                  </a:lnTo>
                  <a:lnTo>
                    <a:pt x="684" y="852"/>
                  </a:lnTo>
                  <a:lnTo>
                    <a:pt x="672" y="852"/>
                  </a:lnTo>
                  <a:lnTo>
                    <a:pt x="654" y="852"/>
                  </a:lnTo>
                  <a:lnTo>
                    <a:pt x="642" y="846"/>
                  </a:lnTo>
                  <a:lnTo>
                    <a:pt x="636" y="834"/>
                  </a:lnTo>
                  <a:lnTo>
                    <a:pt x="630" y="822"/>
                  </a:lnTo>
                  <a:lnTo>
                    <a:pt x="618" y="822"/>
                  </a:lnTo>
                  <a:lnTo>
                    <a:pt x="618" y="816"/>
                  </a:lnTo>
                  <a:lnTo>
                    <a:pt x="618" y="810"/>
                  </a:lnTo>
                  <a:lnTo>
                    <a:pt x="612" y="810"/>
                  </a:lnTo>
                  <a:lnTo>
                    <a:pt x="606" y="804"/>
                  </a:lnTo>
                  <a:lnTo>
                    <a:pt x="594" y="804"/>
                  </a:lnTo>
                  <a:lnTo>
                    <a:pt x="588" y="810"/>
                  </a:lnTo>
                  <a:lnTo>
                    <a:pt x="588" y="804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70" y="810"/>
                  </a:lnTo>
                  <a:lnTo>
                    <a:pt x="564" y="816"/>
                  </a:lnTo>
                  <a:lnTo>
                    <a:pt x="558" y="816"/>
                  </a:lnTo>
                  <a:lnTo>
                    <a:pt x="552" y="822"/>
                  </a:lnTo>
                  <a:lnTo>
                    <a:pt x="546" y="828"/>
                  </a:lnTo>
                  <a:lnTo>
                    <a:pt x="546" y="834"/>
                  </a:lnTo>
                  <a:lnTo>
                    <a:pt x="528" y="834"/>
                  </a:lnTo>
                  <a:lnTo>
                    <a:pt x="516" y="822"/>
                  </a:lnTo>
                  <a:lnTo>
                    <a:pt x="504" y="822"/>
                  </a:lnTo>
                  <a:lnTo>
                    <a:pt x="492" y="82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6" y="792"/>
                  </a:lnTo>
                  <a:lnTo>
                    <a:pt x="492" y="786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504" y="780"/>
                  </a:lnTo>
                  <a:lnTo>
                    <a:pt x="510" y="780"/>
                  </a:lnTo>
                  <a:lnTo>
                    <a:pt x="522" y="768"/>
                  </a:lnTo>
                  <a:lnTo>
                    <a:pt x="522" y="762"/>
                  </a:lnTo>
                  <a:lnTo>
                    <a:pt x="504" y="756"/>
                  </a:lnTo>
                  <a:lnTo>
                    <a:pt x="498" y="756"/>
                  </a:lnTo>
                  <a:lnTo>
                    <a:pt x="498" y="744"/>
                  </a:lnTo>
                  <a:lnTo>
                    <a:pt x="492" y="738"/>
                  </a:lnTo>
                  <a:lnTo>
                    <a:pt x="480" y="738"/>
                  </a:lnTo>
                  <a:lnTo>
                    <a:pt x="474" y="738"/>
                  </a:lnTo>
                  <a:lnTo>
                    <a:pt x="456" y="738"/>
                  </a:lnTo>
                  <a:lnTo>
                    <a:pt x="438" y="738"/>
                  </a:lnTo>
                  <a:lnTo>
                    <a:pt x="432" y="750"/>
                  </a:lnTo>
                  <a:lnTo>
                    <a:pt x="426" y="756"/>
                  </a:lnTo>
                  <a:lnTo>
                    <a:pt x="426" y="762"/>
                  </a:lnTo>
                  <a:lnTo>
                    <a:pt x="420" y="762"/>
                  </a:lnTo>
                  <a:lnTo>
                    <a:pt x="408" y="744"/>
                  </a:lnTo>
                  <a:lnTo>
                    <a:pt x="408" y="732"/>
                  </a:lnTo>
                  <a:lnTo>
                    <a:pt x="390" y="714"/>
                  </a:lnTo>
                  <a:lnTo>
                    <a:pt x="384" y="702"/>
                  </a:lnTo>
                  <a:lnTo>
                    <a:pt x="384" y="690"/>
                  </a:lnTo>
                  <a:lnTo>
                    <a:pt x="372" y="690"/>
                  </a:lnTo>
                  <a:lnTo>
                    <a:pt x="366" y="660"/>
                  </a:lnTo>
                  <a:lnTo>
                    <a:pt x="354" y="630"/>
                  </a:lnTo>
                  <a:lnTo>
                    <a:pt x="348" y="630"/>
                  </a:lnTo>
                  <a:lnTo>
                    <a:pt x="336" y="630"/>
                  </a:lnTo>
                  <a:lnTo>
                    <a:pt x="330" y="630"/>
                  </a:lnTo>
                  <a:lnTo>
                    <a:pt x="318" y="630"/>
                  </a:lnTo>
                  <a:lnTo>
                    <a:pt x="312" y="624"/>
                  </a:lnTo>
                  <a:lnTo>
                    <a:pt x="306" y="624"/>
                  </a:lnTo>
                  <a:lnTo>
                    <a:pt x="294" y="618"/>
                  </a:lnTo>
                  <a:lnTo>
                    <a:pt x="288" y="612"/>
                  </a:lnTo>
                  <a:lnTo>
                    <a:pt x="276" y="600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58" y="588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8"/>
                  </a:lnTo>
                  <a:lnTo>
                    <a:pt x="216" y="582"/>
                  </a:lnTo>
                  <a:lnTo>
                    <a:pt x="210" y="588"/>
                  </a:lnTo>
                  <a:lnTo>
                    <a:pt x="198" y="582"/>
                  </a:lnTo>
                  <a:lnTo>
                    <a:pt x="180" y="582"/>
                  </a:lnTo>
                  <a:lnTo>
                    <a:pt x="174" y="552"/>
                  </a:lnTo>
                  <a:lnTo>
                    <a:pt x="168" y="504"/>
                  </a:lnTo>
                  <a:lnTo>
                    <a:pt x="186" y="504"/>
                  </a:lnTo>
                  <a:lnTo>
                    <a:pt x="192" y="504"/>
                  </a:lnTo>
                  <a:lnTo>
                    <a:pt x="192" y="498"/>
                  </a:lnTo>
                  <a:lnTo>
                    <a:pt x="192" y="492"/>
                  </a:lnTo>
                  <a:lnTo>
                    <a:pt x="192" y="486"/>
                  </a:lnTo>
                  <a:lnTo>
                    <a:pt x="198" y="486"/>
                  </a:lnTo>
                  <a:lnTo>
                    <a:pt x="198" y="480"/>
                  </a:lnTo>
                  <a:lnTo>
                    <a:pt x="204" y="474"/>
                  </a:lnTo>
                  <a:lnTo>
                    <a:pt x="210" y="468"/>
                  </a:lnTo>
                  <a:lnTo>
                    <a:pt x="198" y="462"/>
                  </a:lnTo>
                  <a:lnTo>
                    <a:pt x="192" y="444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32"/>
                  </a:lnTo>
                  <a:lnTo>
                    <a:pt x="168" y="438"/>
                  </a:lnTo>
                  <a:lnTo>
                    <a:pt x="150" y="450"/>
                  </a:lnTo>
                  <a:lnTo>
                    <a:pt x="144" y="456"/>
                  </a:lnTo>
                  <a:lnTo>
                    <a:pt x="132" y="456"/>
                  </a:lnTo>
                  <a:lnTo>
                    <a:pt x="126" y="468"/>
                  </a:lnTo>
                  <a:lnTo>
                    <a:pt x="114" y="468"/>
                  </a:lnTo>
                  <a:lnTo>
                    <a:pt x="108" y="468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14"/>
                  </a:lnTo>
                  <a:lnTo>
                    <a:pt x="108" y="396"/>
                  </a:lnTo>
                  <a:lnTo>
                    <a:pt x="120" y="396"/>
                  </a:lnTo>
                  <a:lnTo>
                    <a:pt x="126" y="384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84" y="354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0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60" y="318"/>
                  </a:lnTo>
                  <a:lnTo>
                    <a:pt x="42" y="324"/>
                  </a:lnTo>
                  <a:lnTo>
                    <a:pt x="36" y="318"/>
                  </a:lnTo>
                  <a:lnTo>
                    <a:pt x="36" y="312"/>
                  </a:lnTo>
                  <a:lnTo>
                    <a:pt x="36" y="306"/>
                  </a:lnTo>
                  <a:lnTo>
                    <a:pt x="36" y="300"/>
                  </a:lnTo>
                  <a:lnTo>
                    <a:pt x="30" y="300"/>
                  </a:lnTo>
                  <a:lnTo>
                    <a:pt x="30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24" y="276"/>
                  </a:lnTo>
                  <a:lnTo>
                    <a:pt x="18" y="276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18" y="234"/>
                  </a:lnTo>
                  <a:lnTo>
                    <a:pt x="30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42" y="192"/>
                  </a:lnTo>
                  <a:lnTo>
                    <a:pt x="66" y="186"/>
                  </a:lnTo>
                  <a:lnTo>
                    <a:pt x="90" y="156"/>
                  </a:lnTo>
                  <a:lnTo>
                    <a:pt x="102" y="144"/>
                  </a:lnTo>
                  <a:lnTo>
                    <a:pt x="138" y="150"/>
                  </a:lnTo>
                  <a:lnTo>
                    <a:pt x="162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0" y="180"/>
                  </a:lnTo>
                  <a:lnTo>
                    <a:pt x="174" y="180"/>
                  </a:lnTo>
                  <a:lnTo>
                    <a:pt x="180" y="186"/>
                  </a:lnTo>
                  <a:lnTo>
                    <a:pt x="186" y="186"/>
                  </a:lnTo>
                  <a:lnTo>
                    <a:pt x="198" y="192"/>
                  </a:lnTo>
                  <a:lnTo>
                    <a:pt x="216" y="198"/>
                  </a:lnTo>
                  <a:lnTo>
                    <a:pt x="252" y="204"/>
                  </a:lnTo>
                  <a:lnTo>
                    <a:pt x="258" y="210"/>
                  </a:lnTo>
                  <a:lnTo>
                    <a:pt x="306" y="216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84" y="210"/>
                  </a:lnTo>
                  <a:lnTo>
                    <a:pt x="408" y="222"/>
                  </a:lnTo>
                  <a:lnTo>
                    <a:pt x="438" y="228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86" y="222"/>
                  </a:lnTo>
                  <a:lnTo>
                    <a:pt x="492" y="210"/>
                  </a:lnTo>
                  <a:lnTo>
                    <a:pt x="492" y="198"/>
                  </a:lnTo>
                  <a:lnTo>
                    <a:pt x="486" y="180"/>
                  </a:lnTo>
                  <a:lnTo>
                    <a:pt x="492" y="162"/>
                  </a:lnTo>
                  <a:lnTo>
                    <a:pt x="510" y="96"/>
                  </a:lnTo>
                  <a:lnTo>
                    <a:pt x="516" y="84"/>
                  </a:lnTo>
                  <a:lnTo>
                    <a:pt x="522" y="84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34" y="72"/>
                  </a:lnTo>
                  <a:lnTo>
                    <a:pt x="534" y="60"/>
                  </a:lnTo>
                  <a:lnTo>
                    <a:pt x="540" y="36"/>
                  </a:lnTo>
                  <a:lnTo>
                    <a:pt x="546" y="6"/>
                  </a:lnTo>
                  <a:lnTo>
                    <a:pt x="558" y="6"/>
                  </a:lnTo>
                  <a:lnTo>
                    <a:pt x="564" y="0"/>
                  </a:lnTo>
                  <a:lnTo>
                    <a:pt x="582" y="0"/>
                  </a:lnTo>
                  <a:lnTo>
                    <a:pt x="588" y="0"/>
                  </a:lnTo>
                  <a:lnTo>
                    <a:pt x="594" y="6"/>
                  </a:lnTo>
                  <a:lnTo>
                    <a:pt x="600" y="12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24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36" y="36"/>
                  </a:lnTo>
                  <a:lnTo>
                    <a:pt x="642" y="36"/>
                  </a:lnTo>
                  <a:lnTo>
                    <a:pt x="642" y="42"/>
                  </a:lnTo>
                  <a:lnTo>
                    <a:pt x="648" y="54"/>
                  </a:lnTo>
                  <a:lnTo>
                    <a:pt x="660" y="72"/>
                  </a:lnTo>
                  <a:lnTo>
                    <a:pt x="666" y="78"/>
                  </a:lnTo>
                  <a:lnTo>
                    <a:pt x="672" y="90"/>
                  </a:lnTo>
                  <a:lnTo>
                    <a:pt x="678" y="102"/>
                  </a:lnTo>
                  <a:lnTo>
                    <a:pt x="678" y="114"/>
                  </a:lnTo>
                  <a:lnTo>
                    <a:pt x="684" y="132"/>
                  </a:lnTo>
                  <a:lnTo>
                    <a:pt x="684" y="144"/>
                  </a:lnTo>
                  <a:lnTo>
                    <a:pt x="690" y="162"/>
                  </a:lnTo>
                  <a:lnTo>
                    <a:pt x="696" y="168"/>
                  </a:lnTo>
                  <a:lnTo>
                    <a:pt x="696" y="180"/>
                  </a:lnTo>
                  <a:lnTo>
                    <a:pt x="702" y="186"/>
                  </a:lnTo>
                  <a:lnTo>
                    <a:pt x="708" y="186"/>
                  </a:lnTo>
                  <a:lnTo>
                    <a:pt x="714" y="198"/>
                  </a:lnTo>
                  <a:lnTo>
                    <a:pt x="720" y="198"/>
                  </a:lnTo>
                  <a:lnTo>
                    <a:pt x="732" y="204"/>
                  </a:lnTo>
                  <a:lnTo>
                    <a:pt x="738" y="210"/>
                  </a:lnTo>
                  <a:lnTo>
                    <a:pt x="738" y="216"/>
                  </a:lnTo>
                  <a:lnTo>
                    <a:pt x="744" y="222"/>
                  </a:lnTo>
                  <a:lnTo>
                    <a:pt x="750" y="228"/>
                  </a:lnTo>
                  <a:lnTo>
                    <a:pt x="756" y="228"/>
                  </a:lnTo>
                  <a:lnTo>
                    <a:pt x="768" y="240"/>
                  </a:lnTo>
                  <a:lnTo>
                    <a:pt x="774" y="252"/>
                  </a:lnTo>
                  <a:lnTo>
                    <a:pt x="780" y="258"/>
                  </a:lnTo>
                  <a:lnTo>
                    <a:pt x="786" y="258"/>
                  </a:lnTo>
                  <a:lnTo>
                    <a:pt x="798" y="264"/>
                  </a:lnTo>
                  <a:lnTo>
                    <a:pt x="798" y="270"/>
                  </a:lnTo>
                  <a:lnTo>
                    <a:pt x="798" y="276"/>
                  </a:lnTo>
                  <a:lnTo>
                    <a:pt x="810" y="288"/>
                  </a:lnTo>
                  <a:lnTo>
                    <a:pt x="816" y="288"/>
                  </a:lnTo>
                  <a:lnTo>
                    <a:pt x="816" y="300"/>
                  </a:lnTo>
                  <a:lnTo>
                    <a:pt x="816" y="306"/>
                  </a:lnTo>
                  <a:lnTo>
                    <a:pt x="822" y="318"/>
                  </a:lnTo>
                  <a:lnTo>
                    <a:pt x="828" y="324"/>
                  </a:lnTo>
                  <a:lnTo>
                    <a:pt x="834" y="330"/>
                  </a:lnTo>
                  <a:lnTo>
                    <a:pt x="846" y="336"/>
                  </a:lnTo>
                  <a:lnTo>
                    <a:pt x="846" y="342"/>
                  </a:lnTo>
                  <a:lnTo>
                    <a:pt x="852" y="348"/>
                  </a:lnTo>
                  <a:lnTo>
                    <a:pt x="852" y="354"/>
                  </a:lnTo>
                  <a:lnTo>
                    <a:pt x="858" y="354"/>
                  </a:lnTo>
                  <a:lnTo>
                    <a:pt x="858" y="348"/>
                  </a:lnTo>
                  <a:lnTo>
                    <a:pt x="864" y="342"/>
                  </a:lnTo>
                  <a:lnTo>
                    <a:pt x="864" y="336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76" y="306"/>
                  </a:lnTo>
                  <a:lnTo>
                    <a:pt x="870" y="300"/>
                  </a:lnTo>
                  <a:lnTo>
                    <a:pt x="870" y="294"/>
                  </a:lnTo>
                  <a:lnTo>
                    <a:pt x="876" y="294"/>
                  </a:lnTo>
                  <a:lnTo>
                    <a:pt x="882" y="300"/>
                  </a:lnTo>
                  <a:lnTo>
                    <a:pt x="888" y="300"/>
                  </a:lnTo>
                  <a:lnTo>
                    <a:pt x="888" y="306"/>
                  </a:lnTo>
                  <a:lnTo>
                    <a:pt x="894" y="300"/>
                  </a:lnTo>
                  <a:lnTo>
                    <a:pt x="900" y="294"/>
                  </a:lnTo>
                  <a:lnTo>
                    <a:pt x="894" y="288"/>
                  </a:lnTo>
                  <a:lnTo>
                    <a:pt x="888" y="282"/>
                  </a:lnTo>
                  <a:lnTo>
                    <a:pt x="888" y="276"/>
                  </a:lnTo>
                  <a:lnTo>
                    <a:pt x="894" y="276"/>
                  </a:lnTo>
                  <a:lnTo>
                    <a:pt x="900" y="276"/>
                  </a:lnTo>
                  <a:lnTo>
                    <a:pt x="900" y="270"/>
                  </a:lnTo>
                  <a:lnTo>
                    <a:pt x="906" y="264"/>
                  </a:lnTo>
                  <a:lnTo>
                    <a:pt x="906" y="258"/>
                  </a:lnTo>
                  <a:lnTo>
                    <a:pt x="918" y="264"/>
                  </a:lnTo>
                  <a:lnTo>
                    <a:pt x="918" y="258"/>
                  </a:lnTo>
                  <a:lnTo>
                    <a:pt x="924" y="252"/>
                  </a:lnTo>
                  <a:lnTo>
                    <a:pt x="930" y="252"/>
                  </a:lnTo>
                  <a:lnTo>
                    <a:pt x="930" y="246"/>
                  </a:lnTo>
                  <a:lnTo>
                    <a:pt x="936" y="234"/>
                  </a:lnTo>
                  <a:lnTo>
                    <a:pt x="942" y="228"/>
                  </a:lnTo>
                  <a:lnTo>
                    <a:pt x="942" y="222"/>
                  </a:lnTo>
                  <a:lnTo>
                    <a:pt x="948" y="222"/>
                  </a:lnTo>
                  <a:lnTo>
                    <a:pt x="948" y="216"/>
                  </a:lnTo>
                  <a:lnTo>
                    <a:pt x="942" y="216"/>
                  </a:lnTo>
                  <a:lnTo>
                    <a:pt x="936" y="216"/>
                  </a:lnTo>
                  <a:lnTo>
                    <a:pt x="936" y="210"/>
                  </a:lnTo>
                  <a:lnTo>
                    <a:pt x="942" y="210"/>
                  </a:lnTo>
                  <a:lnTo>
                    <a:pt x="972" y="210"/>
                  </a:lnTo>
                  <a:lnTo>
                    <a:pt x="1032" y="216"/>
                  </a:lnTo>
                  <a:lnTo>
                    <a:pt x="1068" y="216"/>
                  </a:lnTo>
                  <a:lnTo>
                    <a:pt x="1056" y="234"/>
                  </a:lnTo>
                  <a:lnTo>
                    <a:pt x="1050" y="240"/>
                  </a:lnTo>
                  <a:lnTo>
                    <a:pt x="1044" y="246"/>
                  </a:lnTo>
                  <a:lnTo>
                    <a:pt x="1038" y="246"/>
                  </a:lnTo>
                  <a:lnTo>
                    <a:pt x="1026" y="282"/>
                  </a:lnTo>
                  <a:lnTo>
                    <a:pt x="1032" y="306"/>
                  </a:lnTo>
                  <a:lnTo>
                    <a:pt x="1044" y="324"/>
                  </a:lnTo>
                  <a:lnTo>
                    <a:pt x="1044" y="342"/>
                  </a:lnTo>
                  <a:lnTo>
                    <a:pt x="1062" y="366"/>
                  </a:lnTo>
                  <a:lnTo>
                    <a:pt x="1056" y="396"/>
                  </a:lnTo>
                  <a:lnTo>
                    <a:pt x="1038" y="462"/>
                  </a:lnTo>
                  <a:lnTo>
                    <a:pt x="1038" y="498"/>
                  </a:lnTo>
                  <a:lnTo>
                    <a:pt x="1038" y="522"/>
                  </a:lnTo>
                  <a:lnTo>
                    <a:pt x="1038" y="534"/>
                  </a:lnTo>
                  <a:lnTo>
                    <a:pt x="1056" y="522"/>
                  </a:lnTo>
                  <a:lnTo>
                    <a:pt x="1098" y="504"/>
                  </a:lnTo>
                  <a:lnTo>
                    <a:pt x="1104" y="498"/>
                  </a:lnTo>
                  <a:lnTo>
                    <a:pt x="1128" y="492"/>
                  </a:lnTo>
                  <a:lnTo>
                    <a:pt x="1152" y="480"/>
                  </a:lnTo>
                  <a:lnTo>
                    <a:pt x="1170" y="474"/>
                  </a:lnTo>
                  <a:lnTo>
                    <a:pt x="1188" y="468"/>
                  </a:lnTo>
                  <a:lnTo>
                    <a:pt x="1200" y="462"/>
                  </a:lnTo>
                  <a:lnTo>
                    <a:pt x="1224" y="450"/>
                  </a:lnTo>
                  <a:lnTo>
                    <a:pt x="1248" y="450"/>
                  </a:lnTo>
                  <a:lnTo>
                    <a:pt x="1266" y="450"/>
                  </a:lnTo>
                  <a:lnTo>
                    <a:pt x="1296" y="456"/>
                  </a:lnTo>
                  <a:lnTo>
                    <a:pt x="1308" y="456"/>
                  </a:lnTo>
                  <a:lnTo>
                    <a:pt x="1326" y="456"/>
                  </a:lnTo>
                  <a:lnTo>
                    <a:pt x="1338" y="456"/>
                  </a:lnTo>
                  <a:lnTo>
                    <a:pt x="1350" y="462"/>
                  </a:lnTo>
                  <a:lnTo>
                    <a:pt x="1356" y="462"/>
                  </a:lnTo>
                  <a:lnTo>
                    <a:pt x="1374" y="456"/>
                  </a:lnTo>
                  <a:lnTo>
                    <a:pt x="1386" y="456"/>
                  </a:lnTo>
                  <a:lnTo>
                    <a:pt x="1392" y="456"/>
                  </a:lnTo>
                  <a:lnTo>
                    <a:pt x="1398" y="456"/>
                  </a:lnTo>
                  <a:lnTo>
                    <a:pt x="1422" y="456"/>
                  </a:lnTo>
                  <a:lnTo>
                    <a:pt x="1440" y="456"/>
                  </a:lnTo>
                  <a:lnTo>
                    <a:pt x="1446" y="456"/>
                  </a:lnTo>
                  <a:lnTo>
                    <a:pt x="1476" y="456"/>
                  </a:lnTo>
                  <a:lnTo>
                    <a:pt x="1470" y="468"/>
                  </a:lnTo>
                  <a:lnTo>
                    <a:pt x="1470" y="474"/>
                  </a:lnTo>
                  <a:lnTo>
                    <a:pt x="1470" y="486"/>
                  </a:lnTo>
                  <a:lnTo>
                    <a:pt x="1464" y="492"/>
                  </a:lnTo>
                  <a:lnTo>
                    <a:pt x="1464" y="498"/>
                  </a:lnTo>
                  <a:lnTo>
                    <a:pt x="1458" y="498"/>
                  </a:lnTo>
                  <a:lnTo>
                    <a:pt x="1458" y="510"/>
                  </a:lnTo>
                  <a:lnTo>
                    <a:pt x="1452" y="522"/>
                  </a:lnTo>
                  <a:lnTo>
                    <a:pt x="1458" y="528"/>
                  </a:lnTo>
                  <a:lnTo>
                    <a:pt x="1464" y="546"/>
                  </a:lnTo>
                  <a:lnTo>
                    <a:pt x="1470" y="552"/>
                  </a:lnTo>
                  <a:lnTo>
                    <a:pt x="1476" y="564"/>
                  </a:lnTo>
                  <a:lnTo>
                    <a:pt x="1488" y="588"/>
                  </a:lnTo>
                  <a:lnTo>
                    <a:pt x="1506" y="606"/>
                  </a:lnTo>
                  <a:lnTo>
                    <a:pt x="1506" y="612"/>
                  </a:lnTo>
                  <a:lnTo>
                    <a:pt x="1518" y="618"/>
                  </a:lnTo>
                  <a:lnTo>
                    <a:pt x="1512" y="630"/>
                  </a:lnTo>
                  <a:lnTo>
                    <a:pt x="1518" y="642"/>
                  </a:lnTo>
                  <a:lnTo>
                    <a:pt x="1518" y="648"/>
                  </a:lnTo>
                  <a:lnTo>
                    <a:pt x="1530" y="666"/>
                  </a:lnTo>
                  <a:lnTo>
                    <a:pt x="1518" y="672"/>
                  </a:lnTo>
                  <a:lnTo>
                    <a:pt x="1524" y="696"/>
                  </a:lnTo>
                  <a:lnTo>
                    <a:pt x="1518" y="732"/>
                  </a:lnTo>
                  <a:lnTo>
                    <a:pt x="1524" y="762"/>
                  </a:lnTo>
                  <a:lnTo>
                    <a:pt x="1524" y="780"/>
                  </a:lnTo>
                  <a:lnTo>
                    <a:pt x="1524" y="810"/>
                  </a:lnTo>
                  <a:lnTo>
                    <a:pt x="1530" y="834"/>
                  </a:lnTo>
                  <a:lnTo>
                    <a:pt x="1536" y="846"/>
                  </a:lnTo>
                  <a:lnTo>
                    <a:pt x="1542" y="846"/>
                  </a:lnTo>
                  <a:lnTo>
                    <a:pt x="1584" y="840"/>
                  </a:lnTo>
                  <a:lnTo>
                    <a:pt x="1590" y="846"/>
                  </a:lnTo>
                  <a:lnTo>
                    <a:pt x="1596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90" y="864"/>
                  </a:lnTo>
                  <a:lnTo>
                    <a:pt x="1578" y="882"/>
                  </a:lnTo>
                  <a:lnTo>
                    <a:pt x="1572" y="906"/>
                  </a:lnTo>
                  <a:lnTo>
                    <a:pt x="1560" y="924"/>
                  </a:lnTo>
                  <a:lnTo>
                    <a:pt x="1560" y="936"/>
                  </a:lnTo>
                  <a:lnTo>
                    <a:pt x="1548" y="960"/>
                  </a:lnTo>
                  <a:lnTo>
                    <a:pt x="1542" y="978"/>
                  </a:lnTo>
                  <a:lnTo>
                    <a:pt x="1536" y="990"/>
                  </a:lnTo>
                  <a:lnTo>
                    <a:pt x="1530" y="990"/>
                  </a:lnTo>
                  <a:lnTo>
                    <a:pt x="1506" y="996"/>
                  </a:lnTo>
                  <a:lnTo>
                    <a:pt x="1494" y="1002"/>
                  </a:lnTo>
                  <a:lnTo>
                    <a:pt x="1482" y="1002"/>
                  </a:lnTo>
                  <a:lnTo>
                    <a:pt x="1464" y="1008"/>
                  </a:lnTo>
                  <a:lnTo>
                    <a:pt x="1446" y="1026"/>
                  </a:lnTo>
                  <a:lnTo>
                    <a:pt x="1440" y="1026"/>
                  </a:lnTo>
                  <a:lnTo>
                    <a:pt x="1434" y="1038"/>
                  </a:lnTo>
                  <a:lnTo>
                    <a:pt x="1428" y="1044"/>
                  </a:lnTo>
                  <a:lnTo>
                    <a:pt x="1428" y="1062"/>
                  </a:lnTo>
                  <a:lnTo>
                    <a:pt x="1428" y="1086"/>
                  </a:lnTo>
                  <a:lnTo>
                    <a:pt x="1416" y="1092"/>
                  </a:lnTo>
                  <a:lnTo>
                    <a:pt x="1410" y="1080"/>
                  </a:lnTo>
                  <a:lnTo>
                    <a:pt x="1392" y="10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0" name="Freeform 25">
              <a:extLst>
                <a:ext uri="{FF2B5EF4-FFF2-40B4-BE49-F238E27FC236}">
                  <a16:creationId xmlns:a16="http://schemas.microsoft.com/office/drawing/2014/main" id="{39FDFF90-5ACF-4D65-81AD-C44D2CBE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70228" y="3063559"/>
              <a:ext cx="644023" cy="704498"/>
            </a:xfrm>
            <a:custGeom>
              <a:avLst/>
              <a:gdLst>
                <a:gd name="T0" fmla="*/ 74 w 1212"/>
                <a:gd name="T1" fmla="*/ 113 h 1326"/>
                <a:gd name="T2" fmla="*/ 60 w 1212"/>
                <a:gd name="T3" fmla="*/ 116 h 1326"/>
                <a:gd name="T4" fmla="*/ 62 w 1212"/>
                <a:gd name="T5" fmla="*/ 110 h 1326"/>
                <a:gd name="T6" fmla="*/ 60 w 1212"/>
                <a:gd name="T7" fmla="*/ 105 h 1326"/>
                <a:gd name="T8" fmla="*/ 52 w 1212"/>
                <a:gd name="T9" fmla="*/ 96 h 1326"/>
                <a:gd name="T10" fmla="*/ 47 w 1212"/>
                <a:gd name="T11" fmla="*/ 98 h 1326"/>
                <a:gd name="T12" fmla="*/ 44 w 1212"/>
                <a:gd name="T13" fmla="*/ 93 h 1326"/>
                <a:gd name="T14" fmla="*/ 40 w 1212"/>
                <a:gd name="T15" fmla="*/ 96 h 1326"/>
                <a:gd name="T16" fmla="*/ 35 w 1212"/>
                <a:gd name="T17" fmla="*/ 102 h 1326"/>
                <a:gd name="T18" fmla="*/ 27 w 1212"/>
                <a:gd name="T19" fmla="*/ 100 h 1326"/>
                <a:gd name="T20" fmla="*/ 23 w 1212"/>
                <a:gd name="T21" fmla="*/ 96 h 1326"/>
                <a:gd name="T22" fmla="*/ 20 w 1212"/>
                <a:gd name="T23" fmla="*/ 90 h 1326"/>
                <a:gd name="T24" fmla="*/ 18 w 1212"/>
                <a:gd name="T25" fmla="*/ 89 h 1326"/>
                <a:gd name="T26" fmla="*/ 18 w 1212"/>
                <a:gd name="T27" fmla="*/ 85 h 1326"/>
                <a:gd name="T28" fmla="*/ 19 w 1212"/>
                <a:gd name="T29" fmla="*/ 83 h 1326"/>
                <a:gd name="T30" fmla="*/ 19 w 1212"/>
                <a:gd name="T31" fmla="*/ 82 h 1326"/>
                <a:gd name="T32" fmla="*/ 20 w 1212"/>
                <a:gd name="T33" fmla="*/ 79 h 1326"/>
                <a:gd name="T34" fmla="*/ 19 w 1212"/>
                <a:gd name="T35" fmla="*/ 75 h 1326"/>
                <a:gd name="T36" fmla="*/ 17 w 1212"/>
                <a:gd name="T37" fmla="*/ 77 h 1326"/>
                <a:gd name="T38" fmla="*/ 14 w 1212"/>
                <a:gd name="T39" fmla="*/ 76 h 1326"/>
                <a:gd name="T40" fmla="*/ 12 w 1212"/>
                <a:gd name="T41" fmla="*/ 71 h 1326"/>
                <a:gd name="T42" fmla="*/ 8 w 1212"/>
                <a:gd name="T43" fmla="*/ 69 h 1326"/>
                <a:gd name="T44" fmla="*/ 0 w 1212"/>
                <a:gd name="T45" fmla="*/ 72 h 1326"/>
                <a:gd name="T46" fmla="*/ 2 w 1212"/>
                <a:gd name="T47" fmla="*/ 67 h 1326"/>
                <a:gd name="T48" fmla="*/ 3 w 1212"/>
                <a:gd name="T49" fmla="*/ 61 h 1326"/>
                <a:gd name="T50" fmla="*/ 4 w 1212"/>
                <a:gd name="T51" fmla="*/ 56 h 1326"/>
                <a:gd name="T52" fmla="*/ 4 w 1212"/>
                <a:gd name="T53" fmla="*/ 52 h 1326"/>
                <a:gd name="T54" fmla="*/ 2 w 1212"/>
                <a:gd name="T55" fmla="*/ 47 h 1326"/>
                <a:gd name="T56" fmla="*/ 2 w 1212"/>
                <a:gd name="T57" fmla="*/ 42 h 1326"/>
                <a:gd name="T58" fmla="*/ 5 w 1212"/>
                <a:gd name="T59" fmla="*/ 39 h 1326"/>
                <a:gd name="T60" fmla="*/ 5 w 1212"/>
                <a:gd name="T61" fmla="*/ 35 h 1326"/>
                <a:gd name="T62" fmla="*/ 7 w 1212"/>
                <a:gd name="T63" fmla="*/ 31 h 1326"/>
                <a:gd name="T64" fmla="*/ 14 w 1212"/>
                <a:gd name="T65" fmla="*/ 31 h 1326"/>
                <a:gd name="T66" fmla="*/ 18 w 1212"/>
                <a:gd name="T67" fmla="*/ 27 h 1326"/>
                <a:gd name="T68" fmla="*/ 22 w 1212"/>
                <a:gd name="T69" fmla="*/ 24 h 1326"/>
                <a:gd name="T70" fmla="*/ 27 w 1212"/>
                <a:gd name="T71" fmla="*/ 20 h 1326"/>
                <a:gd name="T72" fmla="*/ 35 w 1212"/>
                <a:gd name="T73" fmla="*/ 21 h 1326"/>
                <a:gd name="T74" fmla="*/ 61 w 1212"/>
                <a:gd name="T75" fmla="*/ 8 h 1326"/>
                <a:gd name="T76" fmla="*/ 73 w 1212"/>
                <a:gd name="T77" fmla="*/ 4 h 1326"/>
                <a:gd name="T78" fmla="*/ 86 w 1212"/>
                <a:gd name="T79" fmla="*/ 12 h 1326"/>
                <a:gd name="T80" fmla="*/ 92 w 1212"/>
                <a:gd name="T81" fmla="*/ 13 h 1326"/>
                <a:gd name="T82" fmla="*/ 86 w 1212"/>
                <a:gd name="T83" fmla="*/ 18 h 1326"/>
                <a:gd name="T84" fmla="*/ 88 w 1212"/>
                <a:gd name="T85" fmla="*/ 33 h 1326"/>
                <a:gd name="T86" fmla="*/ 97 w 1212"/>
                <a:gd name="T87" fmla="*/ 49 h 1326"/>
                <a:gd name="T88" fmla="*/ 102 w 1212"/>
                <a:gd name="T89" fmla="*/ 57 h 1326"/>
                <a:gd name="T90" fmla="*/ 104 w 1212"/>
                <a:gd name="T91" fmla="*/ 67 h 1326"/>
                <a:gd name="T92" fmla="*/ 101 w 1212"/>
                <a:gd name="T93" fmla="*/ 69 h 1326"/>
                <a:gd name="T94" fmla="*/ 97 w 1212"/>
                <a:gd name="T95" fmla="*/ 69 h 1326"/>
                <a:gd name="T96" fmla="*/ 96 w 1212"/>
                <a:gd name="T97" fmla="*/ 71 h 1326"/>
                <a:gd name="T98" fmla="*/ 93 w 1212"/>
                <a:gd name="T99" fmla="*/ 70 h 1326"/>
                <a:gd name="T100" fmla="*/ 86 w 1212"/>
                <a:gd name="T101" fmla="*/ 69 h 1326"/>
                <a:gd name="T102" fmla="*/ 82 w 1212"/>
                <a:gd name="T103" fmla="*/ 73 h 1326"/>
                <a:gd name="T104" fmla="*/ 79 w 1212"/>
                <a:gd name="T105" fmla="*/ 74 h 1326"/>
                <a:gd name="T106" fmla="*/ 78 w 1212"/>
                <a:gd name="T107" fmla="*/ 79 h 1326"/>
                <a:gd name="T108" fmla="*/ 78 w 1212"/>
                <a:gd name="T109" fmla="*/ 83 h 1326"/>
                <a:gd name="T110" fmla="*/ 82 w 1212"/>
                <a:gd name="T111" fmla="*/ 87 h 1326"/>
                <a:gd name="T112" fmla="*/ 83 w 1212"/>
                <a:gd name="T113" fmla="*/ 90 h 1326"/>
                <a:gd name="T114" fmla="*/ 82 w 1212"/>
                <a:gd name="T115" fmla="*/ 94 h 1326"/>
                <a:gd name="T116" fmla="*/ 82 w 1212"/>
                <a:gd name="T117" fmla="*/ 98 h 1326"/>
                <a:gd name="T118" fmla="*/ 82 w 1212"/>
                <a:gd name="T119" fmla="*/ 104 h 1326"/>
                <a:gd name="T120" fmla="*/ 78 w 1212"/>
                <a:gd name="T121" fmla="*/ 110 h 132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12"/>
                <a:gd name="T184" fmla="*/ 0 h 1326"/>
                <a:gd name="T185" fmla="*/ 1212 w 1212"/>
                <a:gd name="T186" fmla="*/ 1326 h 132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12" h="1326">
                  <a:moveTo>
                    <a:pt x="906" y="1290"/>
                  </a:moveTo>
                  <a:lnTo>
                    <a:pt x="906" y="1296"/>
                  </a:lnTo>
                  <a:lnTo>
                    <a:pt x="900" y="1296"/>
                  </a:lnTo>
                  <a:lnTo>
                    <a:pt x="876" y="1290"/>
                  </a:lnTo>
                  <a:lnTo>
                    <a:pt x="870" y="1290"/>
                  </a:lnTo>
                  <a:lnTo>
                    <a:pt x="864" y="1296"/>
                  </a:lnTo>
                  <a:lnTo>
                    <a:pt x="852" y="1296"/>
                  </a:lnTo>
                  <a:lnTo>
                    <a:pt x="840" y="1302"/>
                  </a:lnTo>
                  <a:lnTo>
                    <a:pt x="834" y="1308"/>
                  </a:lnTo>
                  <a:lnTo>
                    <a:pt x="822" y="1320"/>
                  </a:lnTo>
                  <a:lnTo>
                    <a:pt x="816" y="1320"/>
                  </a:lnTo>
                  <a:lnTo>
                    <a:pt x="732" y="1320"/>
                  </a:lnTo>
                  <a:lnTo>
                    <a:pt x="696" y="1320"/>
                  </a:lnTo>
                  <a:lnTo>
                    <a:pt x="690" y="1326"/>
                  </a:lnTo>
                  <a:lnTo>
                    <a:pt x="678" y="1326"/>
                  </a:lnTo>
                  <a:lnTo>
                    <a:pt x="672" y="1308"/>
                  </a:lnTo>
                  <a:lnTo>
                    <a:pt x="696" y="1302"/>
                  </a:lnTo>
                  <a:lnTo>
                    <a:pt x="708" y="1296"/>
                  </a:lnTo>
                  <a:lnTo>
                    <a:pt x="720" y="1284"/>
                  </a:lnTo>
                  <a:lnTo>
                    <a:pt x="714" y="1278"/>
                  </a:lnTo>
                  <a:lnTo>
                    <a:pt x="714" y="1266"/>
                  </a:lnTo>
                  <a:lnTo>
                    <a:pt x="708" y="1260"/>
                  </a:lnTo>
                  <a:lnTo>
                    <a:pt x="708" y="1254"/>
                  </a:lnTo>
                  <a:lnTo>
                    <a:pt x="708" y="1248"/>
                  </a:lnTo>
                  <a:lnTo>
                    <a:pt x="702" y="1236"/>
                  </a:lnTo>
                  <a:lnTo>
                    <a:pt x="702" y="1230"/>
                  </a:lnTo>
                  <a:lnTo>
                    <a:pt x="702" y="1218"/>
                  </a:lnTo>
                  <a:lnTo>
                    <a:pt x="696" y="1200"/>
                  </a:lnTo>
                  <a:lnTo>
                    <a:pt x="696" y="1182"/>
                  </a:lnTo>
                  <a:lnTo>
                    <a:pt x="666" y="1182"/>
                  </a:lnTo>
                  <a:lnTo>
                    <a:pt x="672" y="1134"/>
                  </a:lnTo>
                  <a:lnTo>
                    <a:pt x="666" y="1128"/>
                  </a:lnTo>
                  <a:lnTo>
                    <a:pt x="660" y="1092"/>
                  </a:lnTo>
                  <a:lnTo>
                    <a:pt x="654" y="1098"/>
                  </a:lnTo>
                  <a:lnTo>
                    <a:pt x="594" y="1098"/>
                  </a:lnTo>
                  <a:lnTo>
                    <a:pt x="576" y="1098"/>
                  </a:lnTo>
                  <a:lnTo>
                    <a:pt x="570" y="1104"/>
                  </a:lnTo>
                  <a:lnTo>
                    <a:pt x="564" y="1110"/>
                  </a:lnTo>
                  <a:lnTo>
                    <a:pt x="558" y="1110"/>
                  </a:lnTo>
                  <a:lnTo>
                    <a:pt x="552" y="1110"/>
                  </a:lnTo>
                  <a:lnTo>
                    <a:pt x="546" y="1110"/>
                  </a:lnTo>
                  <a:lnTo>
                    <a:pt x="546" y="1116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10" y="1128"/>
                  </a:lnTo>
                  <a:lnTo>
                    <a:pt x="522" y="1104"/>
                  </a:lnTo>
                  <a:lnTo>
                    <a:pt x="510" y="1098"/>
                  </a:lnTo>
                  <a:lnTo>
                    <a:pt x="510" y="1074"/>
                  </a:lnTo>
                  <a:lnTo>
                    <a:pt x="504" y="1068"/>
                  </a:lnTo>
                  <a:lnTo>
                    <a:pt x="498" y="1068"/>
                  </a:lnTo>
                  <a:lnTo>
                    <a:pt x="492" y="1068"/>
                  </a:lnTo>
                  <a:lnTo>
                    <a:pt x="474" y="1080"/>
                  </a:lnTo>
                  <a:lnTo>
                    <a:pt x="474" y="1086"/>
                  </a:lnTo>
                  <a:lnTo>
                    <a:pt x="474" y="1092"/>
                  </a:lnTo>
                  <a:lnTo>
                    <a:pt x="468" y="1098"/>
                  </a:lnTo>
                  <a:lnTo>
                    <a:pt x="462" y="1104"/>
                  </a:lnTo>
                  <a:lnTo>
                    <a:pt x="456" y="1110"/>
                  </a:lnTo>
                  <a:lnTo>
                    <a:pt x="456" y="1122"/>
                  </a:lnTo>
                  <a:lnTo>
                    <a:pt x="456" y="1128"/>
                  </a:lnTo>
                  <a:lnTo>
                    <a:pt x="450" y="1140"/>
                  </a:lnTo>
                  <a:lnTo>
                    <a:pt x="444" y="1146"/>
                  </a:lnTo>
                  <a:lnTo>
                    <a:pt x="426" y="1170"/>
                  </a:lnTo>
                  <a:lnTo>
                    <a:pt x="408" y="1176"/>
                  </a:lnTo>
                  <a:lnTo>
                    <a:pt x="402" y="1170"/>
                  </a:lnTo>
                  <a:lnTo>
                    <a:pt x="396" y="1170"/>
                  </a:lnTo>
                  <a:lnTo>
                    <a:pt x="396" y="1158"/>
                  </a:lnTo>
                  <a:lnTo>
                    <a:pt x="384" y="1152"/>
                  </a:lnTo>
                  <a:lnTo>
                    <a:pt x="372" y="1140"/>
                  </a:lnTo>
                  <a:lnTo>
                    <a:pt x="354" y="1140"/>
                  </a:lnTo>
                  <a:lnTo>
                    <a:pt x="306" y="1146"/>
                  </a:lnTo>
                  <a:lnTo>
                    <a:pt x="294" y="1134"/>
                  </a:lnTo>
                  <a:lnTo>
                    <a:pt x="294" y="1128"/>
                  </a:lnTo>
                  <a:lnTo>
                    <a:pt x="288" y="1122"/>
                  </a:lnTo>
                  <a:lnTo>
                    <a:pt x="276" y="1122"/>
                  </a:lnTo>
                  <a:lnTo>
                    <a:pt x="276" y="1110"/>
                  </a:lnTo>
                  <a:lnTo>
                    <a:pt x="276" y="1104"/>
                  </a:lnTo>
                  <a:lnTo>
                    <a:pt x="270" y="1098"/>
                  </a:lnTo>
                  <a:lnTo>
                    <a:pt x="264" y="1086"/>
                  </a:lnTo>
                  <a:lnTo>
                    <a:pt x="264" y="1074"/>
                  </a:lnTo>
                  <a:lnTo>
                    <a:pt x="258" y="1068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34" y="1038"/>
                  </a:lnTo>
                  <a:lnTo>
                    <a:pt x="228" y="1038"/>
                  </a:lnTo>
                  <a:lnTo>
                    <a:pt x="222" y="1038"/>
                  </a:lnTo>
                  <a:lnTo>
                    <a:pt x="216" y="1038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0"/>
                  </a:lnTo>
                  <a:lnTo>
                    <a:pt x="204" y="1014"/>
                  </a:lnTo>
                  <a:lnTo>
                    <a:pt x="204" y="1008"/>
                  </a:lnTo>
                  <a:lnTo>
                    <a:pt x="198" y="1002"/>
                  </a:lnTo>
                  <a:lnTo>
                    <a:pt x="198" y="996"/>
                  </a:lnTo>
                  <a:lnTo>
                    <a:pt x="198" y="990"/>
                  </a:lnTo>
                  <a:lnTo>
                    <a:pt x="204" y="990"/>
                  </a:lnTo>
                  <a:lnTo>
                    <a:pt x="204" y="984"/>
                  </a:lnTo>
                  <a:lnTo>
                    <a:pt x="210" y="978"/>
                  </a:lnTo>
                  <a:lnTo>
                    <a:pt x="210" y="972"/>
                  </a:lnTo>
                  <a:lnTo>
                    <a:pt x="210" y="966"/>
                  </a:lnTo>
                  <a:lnTo>
                    <a:pt x="216" y="960"/>
                  </a:lnTo>
                  <a:lnTo>
                    <a:pt x="216" y="954"/>
                  </a:lnTo>
                  <a:lnTo>
                    <a:pt x="210" y="954"/>
                  </a:lnTo>
                  <a:lnTo>
                    <a:pt x="204" y="954"/>
                  </a:lnTo>
                  <a:lnTo>
                    <a:pt x="216" y="954"/>
                  </a:lnTo>
                  <a:lnTo>
                    <a:pt x="216" y="948"/>
                  </a:lnTo>
                  <a:lnTo>
                    <a:pt x="210" y="948"/>
                  </a:lnTo>
                  <a:lnTo>
                    <a:pt x="210" y="942"/>
                  </a:lnTo>
                  <a:lnTo>
                    <a:pt x="216" y="942"/>
                  </a:lnTo>
                  <a:lnTo>
                    <a:pt x="222" y="942"/>
                  </a:lnTo>
                  <a:lnTo>
                    <a:pt x="222" y="936"/>
                  </a:lnTo>
                  <a:lnTo>
                    <a:pt x="216" y="936"/>
                  </a:lnTo>
                  <a:lnTo>
                    <a:pt x="210" y="936"/>
                  </a:lnTo>
                  <a:lnTo>
                    <a:pt x="210" y="930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22" y="918"/>
                  </a:lnTo>
                  <a:lnTo>
                    <a:pt x="228" y="912"/>
                  </a:lnTo>
                  <a:lnTo>
                    <a:pt x="228" y="906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2" y="888"/>
                  </a:lnTo>
                  <a:lnTo>
                    <a:pt x="222" y="882"/>
                  </a:lnTo>
                  <a:lnTo>
                    <a:pt x="222" y="876"/>
                  </a:lnTo>
                  <a:lnTo>
                    <a:pt x="222" y="858"/>
                  </a:lnTo>
                  <a:lnTo>
                    <a:pt x="216" y="858"/>
                  </a:lnTo>
                  <a:lnTo>
                    <a:pt x="216" y="852"/>
                  </a:lnTo>
                  <a:lnTo>
                    <a:pt x="210" y="852"/>
                  </a:lnTo>
                  <a:lnTo>
                    <a:pt x="210" y="840"/>
                  </a:lnTo>
                  <a:lnTo>
                    <a:pt x="198" y="840"/>
                  </a:lnTo>
                  <a:lnTo>
                    <a:pt x="198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0" y="894"/>
                  </a:lnTo>
                  <a:lnTo>
                    <a:pt x="180" y="906"/>
                  </a:lnTo>
                  <a:lnTo>
                    <a:pt x="156" y="912"/>
                  </a:lnTo>
                  <a:lnTo>
                    <a:pt x="156" y="894"/>
                  </a:lnTo>
                  <a:lnTo>
                    <a:pt x="156" y="882"/>
                  </a:lnTo>
                  <a:lnTo>
                    <a:pt x="156" y="876"/>
                  </a:lnTo>
                  <a:lnTo>
                    <a:pt x="150" y="876"/>
                  </a:lnTo>
                  <a:lnTo>
                    <a:pt x="144" y="876"/>
                  </a:lnTo>
                  <a:lnTo>
                    <a:pt x="138" y="870"/>
                  </a:lnTo>
                  <a:lnTo>
                    <a:pt x="132" y="864"/>
                  </a:lnTo>
                  <a:lnTo>
                    <a:pt x="138" y="840"/>
                  </a:lnTo>
                  <a:lnTo>
                    <a:pt x="132" y="840"/>
                  </a:lnTo>
                  <a:lnTo>
                    <a:pt x="138" y="810"/>
                  </a:lnTo>
                  <a:lnTo>
                    <a:pt x="144" y="804"/>
                  </a:lnTo>
                  <a:lnTo>
                    <a:pt x="144" y="798"/>
                  </a:lnTo>
                  <a:lnTo>
                    <a:pt x="156" y="798"/>
                  </a:lnTo>
                  <a:lnTo>
                    <a:pt x="156" y="792"/>
                  </a:lnTo>
                  <a:lnTo>
                    <a:pt x="120" y="792"/>
                  </a:lnTo>
                  <a:lnTo>
                    <a:pt x="108" y="786"/>
                  </a:lnTo>
                  <a:lnTo>
                    <a:pt x="96" y="786"/>
                  </a:lnTo>
                  <a:lnTo>
                    <a:pt x="96" y="780"/>
                  </a:lnTo>
                  <a:lnTo>
                    <a:pt x="78" y="780"/>
                  </a:lnTo>
                  <a:lnTo>
                    <a:pt x="72" y="804"/>
                  </a:lnTo>
                  <a:lnTo>
                    <a:pt x="60" y="816"/>
                  </a:lnTo>
                  <a:lnTo>
                    <a:pt x="36" y="828"/>
                  </a:lnTo>
                  <a:lnTo>
                    <a:pt x="18" y="840"/>
                  </a:lnTo>
                  <a:lnTo>
                    <a:pt x="0" y="822"/>
                  </a:lnTo>
                  <a:lnTo>
                    <a:pt x="6" y="816"/>
                  </a:lnTo>
                  <a:lnTo>
                    <a:pt x="12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18" y="786"/>
                  </a:lnTo>
                  <a:lnTo>
                    <a:pt x="24" y="780"/>
                  </a:lnTo>
                  <a:lnTo>
                    <a:pt x="24" y="768"/>
                  </a:lnTo>
                  <a:lnTo>
                    <a:pt x="24" y="762"/>
                  </a:lnTo>
                  <a:lnTo>
                    <a:pt x="24" y="750"/>
                  </a:lnTo>
                  <a:lnTo>
                    <a:pt x="36" y="714"/>
                  </a:lnTo>
                  <a:lnTo>
                    <a:pt x="36" y="708"/>
                  </a:lnTo>
                  <a:lnTo>
                    <a:pt x="42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6" y="690"/>
                  </a:lnTo>
                  <a:lnTo>
                    <a:pt x="42" y="684"/>
                  </a:lnTo>
                  <a:lnTo>
                    <a:pt x="42" y="672"/>
                  </a:lnTo>
                  <a:lnTo>
                    <a:pt x="42" y="666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48" y="648"/>
                  </a:lnTo>
                  <a:lnTo>
                    <a:pt x="54" y="642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54" y="612"/>
                  </a:lnTo>
                  <a:lnTo>
                    <a:pt x="48" y="606"/>
                  </a:lnTo>
                  <a:lnTo>
                    <a:pt x="48" y="600"/>
                  </a:lnTo>
                  <a:lnTo>
                    <a:pt x="42" y="600"/>
                  </a:lnTo>
                  <a:lnTo>
                    <a:pt x="36" y="594"/>
                  </a:lnTo>
                  <a:lnTo>
                    <a:pt x="36" y="588"/>
                  </a:lnTo>
                  <a:lnTo>
                    <a:pt x="30" y="582"/>
                  </a:lnTo>
                  <a:lnTo>
                    <a:pt x="30" y="570"/>
                  </a:lnTo>
                  <a:lnTo>
                    <a:pt x="18" y="552"/>
                  </a:lnTo>
                  <a:lnTo>
                    <a:pt x="18" y="546"/>
                  </a:lnTo>
                  <a:lnTo>
                    <a:pt x="18" y="540"/>
                  </a:lnTo>
                  <a:lnTo>
                    <a:pt x="18" y="528"/>
                  </a:lnTo>
                  <a:lnTo>
                    <a:pt x="18" y="522"/>
                  </a:lnTo>
                  <a:lnTo>
                    <a:pt x="24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30" y="474"/>
                  </a:lnTo>
                  <a:lnTo>
                    <a:pt x="36" y="474"/>
                  </a:lnTo>
                  <a:lnTo>
                    <a:pt x="42" y="468"/>
                  </a:lnTo>
                  <a:lnTo>
                    <a:pt x="48" y="468"/>
                  </a:lnTo>
                  <a:lnTo>
                    <a:pt x="48" y="462"/>
                  </a:lnTo>
                  <a:lnTo>
                    <a:pt x="48" y="456"/>
                  </a:lnTo>
                  <a:lnTo>
                    <a:pt x="54" y="450"/>
                  </a:lnTo>
                  <a:lnTo>
                    <a:pt x="60" y="438"/>
                  </a:lnTo>
                  <a:lnTo>
                    <a:pt x="54" y="438"/>
                  </a:lnTo>
                  <a:lnTo>
                    <a:pt x="54" y="432"/>
                  </a:ln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54" y="402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6" y="384"/>
                  </a:lnTo>
                  <a:lnTo>
                    <a:pt x="72" y="372"/>
                  </a:lnTo>
                  <a:lnTo>
                    <a:pt x="78" y="366"/>
                  </a:lnTo>
                  <a:lnTo>
                    <a:pt x="84" y="360"/>
                  </a:lnTo>
                  <a:lnTo>
                    <a:pt x="102" y="360"/>
                  </a:lnTo>
                  <a:lnTo>
                    <a:pt x="114" y="36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8" y="360"/>
                  </a:lnTo>
                  <a:lnTo>
                    <a:pt x="156" y="360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74" y="342"/>
                  </a:lnTo>
                  <a:lnTo>
                    <a:pt x="180" y="342"/>
                  </a:lnTo>
                  <a:lnTo>
                    <a:pt x="186" y="336"/>
                  </a:lnTo>
                  <a:lnTo>
                    <a:pt x="192" y="330"/>
                  </a:lnTo>
                  <a:lnTo>
                    <a:pt x="204" y="312"/>
                  </a:lnTo>
                  <a:lnTo>
                    <a:pt x="210" y="312"/>
                  </a:lnTo>
                  <a:lnTo>
                    <a:pt x="216" y="306"/>
                  </a:lnTo>
                  <a:lnTo>
                    <a:pt x="216" y="300"/>
                  </a:lnTo>
                  <a:lnTo>
                    <a:pt x="222" y="288"/>
                  </a:lnTo>
                  <a:lnTo>
                    <a:pt x="234" y="288"/>
                  </a:lnTo>
                  <a:lnTo>
                    <a:pt x="240" y="282"/>
                  </a:lnTo>
                  <a:lnTo>
                    <a:pt x="246" y="282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70" y="270"/>
                  </a:lnTo>
                  <a:lnTo>
                    <a:pt x="276" y="264"/>
                  </a:lnTo>
                  <a:lnTo>
                    <a:pt x="282" y="26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8" y="234"/>
                  </a:lnTo>
                  <a:lnTo>
                    <a:pt x="330" y="234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72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14" y="240"/>
                  </a:lnTo>
                  <a:lnTo>
                    <a:pt x="444" y="216"/>
                  </a:lnTo>
                  <a:lnTo>
                    <a:pt x="480" y="204"/>
                  </a:lnTo>
                  <a:lnTo>
                    <a:pt x="600" y="150"/>
                  </a:lnTo>
                  <a:lnTo>
                    <a:pt x="648" y="126"/>
                  </a:lnTo>
                  <a:lnTo>
                    <a:pt x="702" y="96"/>
                  </a:lnTo>
                  <a:lnTo>
                    <a:pt x="708" y="54"/>
                  </a:lnTo>
                  <a:lnTo>
                    <a:pt x="720" y="24"/>
                  </a:lnTo>
                  <a:lnTo>
                    <a:pt x="738" y="12"/>
                  </a:lnTo>
                  <a:lnTo>
                    <a:pt x="768" y="0"/>
                  </a:lnTo>
                  <a:lnTo>
                    <a:pt x="792" y="6"/>
                  </a:lnTo>
                  <a:lnTo>
                    <a:pt x="804" y="12"/>
                  </a:lnTo>
                  <a:lnTo>
                    <a:pt x="834" y="48"/>
                  </a:lnTo>
                  <a:lnTo>
                    <a:pt x="834" y="60"/>
                  </a:lnTo>
                  <a:lnTo>
                    <a:pt x="852" y="84"/>
                  </a:lnTo>
                  <a:lnTo>
                    <a:pt x="864" y="96"/>
                  </a:lnTo>
                  <a:lnTo>
                    <a:pt x="888" y="102"/>
                  </a:lnTo>
                  <a:lnTo>
                    <a:pt x="978" y="120"/>
                  </a:lnTo>
                  <a:lnTo>
                    <a:pt x="984" y="126"/>
                  </a:lnTo>
                  <a:lnTo>
                    <a:pt x="984" y="132"/>
                  </a:lnTo>
                  <a:lnTo>
                    <a:pt x="996" y="138"/>
                  </a:lnTo>
                  <a:lnTo>
                    <a:pt x="1038" y="126"/>
                  </a:lnTo>
                  <a:lnTo>
                    <a:pt x="1056" y="114"/>
                  </a:lnTo>
                  <a:lnTo>
                    <a:pt x="1068" y="126"/>
                  </a:lnTo>
                  <a:lnTo>
                    <a:pt x="1074" y="132"/>
                  </a:lnTo>
                  <a:lnTo>
                    <a:pt x="1068" y="138"/>
                  </a:lnTo>
                  <a:lnTo>
                    <a:pt x="1056" y="150"/>
                  </a:lnTo>
                  <a:lnTo>
                    <a:pt x="1038" y="162"/>
                  </a:lnTo>
                  <a:lnTo>
                    <a:pt x="1038" y="168"/>
                  </a:lnTo>
                  <a:lnTo>
                    <a:pt x="1020" y="174"/>
                  </a:lnTo>
                  <a:lnTo>
                    <a:pt x="1014" y="180"/>
                  </a:lnTo>
                  <a:lnTo>
                    <a:pt x="1008" y="186"/>
                  </a:lnTo>
                  <a:lnTo>
                    <a:pt x="1002" y="198"/>
                  </a:lnTo>
                  <a:lnTo>
                    <a:pt x="984" y="204"/>
                  </a:lnTo>
                  <a:lnTo>
                    <a:pt x="984" y="246"/>
                  </a:lnTo>
                  <a:lnTo>
                    <a:pt x="978" y="270"/>
                  </a:lnTo>
                  <a:lnTo>
                    <a:pt x="990" y="306"/>
                  </a:lnTo>
                  <a:lnTo>
                    <a:pt x="990" y="324"/>
                  </a:lnTo>
                  <a:lnTo>
                    <a:pt x="1002" y="336"/>
                  </a:lnTo>
                  <a:lnTo>
                    <a:pt x="1020" y="372"/>
                  </a:lnTo>
                  <a:lnTo>
                    <a:pt x="1014" y="378"/>
                  </a:lnTo>
                  <a:lnTo>
                    <a:pt x="1014" y="384"/>
                  </a:lnTo>
                  <a:lnTo>
                    <a:pt x="1020" y="384"/>
                  </a:lnTo>
                  <a:lnTo>
                    <a:pt x="1020" y="396"/>
                  </a:lnTo>
                  <a:lnTo>
                    <a:pt x="1062" y="468"/>
                  </a:lnTo>
                  <a:lnTo>
                    <a:pt x="1092" y="522"/>
                  </a:lnTo>
                  <a:lnTo>
                    <a:pt x="1110" y="546"/>
                  </a:lnTo>
                  <a:lnTo>
                    <a:pt x="1122" y="564"/>
                  </a:lnTo>
                  <a:lnTo>
                    <a:pt x="1134" y="576"/>
                  </a:lnTo>
                  <a:lnTo>
                    <a:pt x="1146" y="582"/>
                  </a:lnTo>
                  <a:lnTo>
                    <a:pt x="1146" y="588"/>
                  </a:lnTo>
                  <a:lnTo>
                    <a:pt x="1164" y="600"/>
                  </a:lnTo>
                  <a:lnTo>
                    <a:pt x="1170" y="612"/>
                  </a:lnTo>
                  <a:lnTo>
                    <a:pt x="1170" y="624"/>
                  </a:lnTo>
                  <a:lnTo>
                    <a:pt x="1176" y="654"/>
                  </a:lnTo>
                  <a:lnTo>
                    <a:pt x="1176" y="666"/>
                  </a:lnTo>
                  <a:lnTo>
                    <a:pt x="1182" y="684"/>
                  </a:lnTo>
                  <a:lnTo>
                    <a:pt x="1194" y="696"/>
                  </a:lnTo>
                  <a:lnTo>
                    <a:pt x="1212" y="696"/>
                  </a:lnTo>
                  <a:lnTo>
                    <a:pt x="1206" y="762"/>
                  </a:lnTo>
                  <a:lnTo>
                    <a:pt x="1200" y="768"/>
                  </a:lnTo>
                  <a:lnTo>
                    <a:pt x="1194" y="768"/>
                  </a:lnTo>
                  <a:lnTo>
                    <a:pt x="1194" y="774"/>
                  </a:lnTo>
                  <a:lnTo>
                    <a:pt x="1188" y="774"/>
                  </a:lnTo>
                  <a:lnTo>
                    <a:pt x="1182" y="780"/>
                  </a:lnTo>
                  <a:lnTo>
                    <a:pt x="1176" y="780"/>
                  </a:lnTo>
                  <a:lnTo>
                    <a:pt x="1170" y="780"/>
                  </a:lnTo>
                  <a:lnTo>
                    <a:pt x="1164" y="786"/>
                  </a:lnTo>
                  <a:lnTo>
                    <a:pt x="1158" y="786"/>
                  </a:lnTo>
                  <a:lnTo>
                    <a:pt x="1152" y="786"/>
                  </a:lnTo>
                  <a:lnTo>
                    <a:pt x="1140" y="786"/>
                  </a:lnTo>
                  <a:lnTo>
                    <a:pt x="1134" y="786"/>
                  </a:lnTo>
                  <a:lnTo>
                    <a:pt x="1134" y="780"/>
                  </a:lnTo>
                  <a:lnTo>
                    <a:pt x="1122" y="780"/>
                  </a:lnTo>
                  <a:lnTo>
                    <a:pt x="1116" y="786"/>
                  </a:lnTo>
                  <a:lnTo>
                    <a:pt x="1116" y="792"/>
                  </a:lnTo>
                  <a:lnTo>
                    <a:pt x="1122" y="804"/>
                  </a:lnTo>
                  <a:lnTo>
                    <a:pt x="1128" y="804"/>
                  </a:lnTo>
                  <a:lnTo>
                    <a:pt x="1128" y="816"/>
                  </a:lnTo>
                  <a:lnTo>
                    <a:pt x="1122" y="822"/>
                  </a:lnTo>
                  <a:lnTo>
                    <a:pt x="1116" y="816"/>
                  </a:lnTo>
                  <a:lnTo>
                    <a:pt x="1110" y="816"/>
                  </a:lnTo>
                  <a:lnTo>
                    <a:pt x="1104" y="816"/>
                  </a:lnTo>
                  <a:lnTo>
                    <a:pt x="1098" y="816"/>
                  </a:lnTo>
                  <a:lnTo>
                    <a:pt x="1098" y="822"/>
                  </a:lnTo>
                  <a:lnTo>
                    <a:pt x="1092" y="834"/>
                  </a:lnTo>
                  <a:lnTo>
                    <a:pt x="1092" y="840"/>
                  </a:lnTo>
                  <a:lnTo>
                    <a:pt x="1074" y="840"/>
                  </a:lnTo>
                  <a:lnTo>
                    <a:pt x="1074" y="828"/>
                  </a:lnTo>
                  <a:lnTo>
                    <a:pt x="1062" y="804"/>
                  </a:lnTo>
                  <a:lnTo>
                    <a:pt x="1056" y="792"/>
                  </a:lnTo>
                  <a:lnTo>
                    <a:pt x="1056" y="786"/>
                  </a:lnTo>
                  <a:lnTo>
                    <a:pt x="1026" y="780"/>
                  </a:lnTo>
                  <a:lnTo>
                    <a:pt x="1026" y="768"/>
                  </a:lnTo>
                  <a:lnTo>
                    <a:pt x="1008" y="768"/>
                  </a:lnTo>
                  <a:lnTo>
                    <a:pt x="1002" y="780"/>
                  </a:lnTo>
                  <a:lnTo>
                    <a:pt x="996" y="792"/>
                  </a:lnTo>
                  <a:lnTo>
                    <a:pt x="978" y="798"/>
                  </a:lnTo>
                  <a:lnTo>
                    <a:pt x="972" y="810"/>
                  </a:lnTo>
                  <a:lnTo>
                    <a:pt x="972" y="822"/>
                  </a:lnTo>
                  <a:lnTo>
                    <a:pt x="978" y="828"/>
                  </a:lnTo>
                  <a:lnTo>
                    <a:pt x="978" y="834"/>
                  </a:lnTo>
                  <a:lnTo>
                    <a:pt x="960" y="840"/>
                  </a:lnTo>
                  <a:lnTo>
                    <a:pt x="936" y="840"/>
                  </a:lnTo>
                  <a:lnTo>
                    <a:pt x="918" y="846"/>
                  </a:lnTo>
                  <a:lnTo>
                    <a:pt x="912" y="840"/>
                  </a:lnTo>
                  <a:lnTo>
                    <a:pt x="912" y="834"/>
                  </a:lnTo>
                  <a:lnTo>
                    <a:pt x="906" y="834"/>
                  </a:lnTo>
                  <a:lnTo>
                    <a:pt x="906" y="840"/>
                  </a:lnTo>
                  <a:lnTo>
                    <a:pt x="900" y="846"/>
                  </a:lnTo>
                  <a:lnTo>
                    <a:pt x="906" y="852"/>
                  </a:lnTo>
                  <a:lnTo>
                    <a:pt x="900" y="864"/>
                  </a:lnTo>
                  <a:lnTo>
                    <a:pt x="900" y="876"/>
                  </a:lnTo>
                  <a:lnTo>
                    <a:pt x="900" y="882"/>
                  </a:lnTo>
                  <a:lnTo>
                    <a:pt x="894" y="888"/>
                  </a:lnTo>
                  <a:lnTo>
                    <a:pt x="900" y="900"/>
                  </a:lnTo>
                  <a:lnTo>
                    <a:pt x="900" y="906"/>
                  </a:lnTo>
                  <a:lnTo>
                    <a:pt x="894" y="906"/>
                  </a:lnTo>
                  <a:lnTo>
                    <a:pt x="894" y="912"/>
                  </a:lnTo>
                  <a:lnTo>
                    <a:pt x="900" y="918"/>
                  </a:lnTo>
                  <a:lnTo>
                    <a:pt x="900" y="924"/>
                  </a:lnTo>
                  <a:lnTo>
                    <a:pt x="900" y="948"/>
                  </a:lnTo>
                  <a:lnTo>
                    <a:pt x="888" y="948"/>
                  </a:lnTo>
                  <a:lnTo>
                    <a:pt x="888" y="954"/>
                  </a:lnTo>
                  <a:lnTo>
                    <a:pt x="894" y="954"/>
                  </a:lnTo>
                  <a:lnTo>
                    <a:pt x="900" y="960"/>
                  </a:lnTo>
                  <a:lnTo>
                    <a:pt x="900" y="972"/>
                  </a:lnTo>
                  <a:lnTo>
                    <a:pt x="906" y="984"/>
                  </a:lnTo>
                  <a:lnTo>
                    <a:pt x="912" y="984"/>
                  </a:lnTo>
                  <a:lnTo>
                    <a:pt x="918" y="990"/>
                  </a:lnTo>
                  <a:lnTo>
                    <a:pt x="936" y="990"/>
                  </a:lnTo>
                  <a:lnTo>
                    <a:pt x="936" y="996"/>
                  </a:lnTo>
                  <a:lnTo>
                    <a:pt x="942" y="996"/>
                  </a:lnTo>
                  <a:lnTo>
                    <a:pt x="942" y="1002"/>
                  </a:lnTo>
                  <a:lnTo>
                    <a:pt x="942" y="1008"/>
                  </a:lnTo>
                  <a:lnTo>
                    <a:pt x="948" y="1008"/>
                  </a:lnTo>
                  <a:lnTo>
                    <a:pt x="948" y="1014"/>
                  </a:lnTo>
                  <a:lnTo>
                    <a:pt x="948" y="1020"/>
                  </a:lnTo>
                  <a:lnTo>
                    <a:pt x="954" y="1032"/>
                  </a:lnTo>
                  <a:lnTo>
                    <a:pt x="948" y="1038"/>
                  </a:lnTo>
                  <a:lnTo>
                    <a:pt x="954" y="1044"/>
                  </a:lnTo>
                  <a:lnTo>
                    <a:pt x="954" y="1056"/>
                  </a:lnTo>
                  <a:lnTo>
                    <a:pt x="960" y="1056"/>
                  </a:lnTo>
                  <a:lnTo>
                    <a:pt x="960" y="1062"/>
                  </a:lnTo>
                  <a:lnTo>
                    <a:pt x="954" y="1068"/>
                  </a:lnTo>
                  <a:lnTo>
                    <a:pt x="948" y="1074"/>
                  </a:lnTo>
                  <a:lnTo>
                    <a:pt x="948" y="1080"/>
                  </a:lnTo>
                  <a:lnTo>
                    <a:pt x="948" y="1086"/>
                  </a:lnTo>
                  <a:lnTo>
                    <a:pt x="942" y="1092"/>
                  </a:lnTo>
                  <a:lnTo>
                    <a:pt x="942" y="1098"/>
                  </a:lnTo>
                  <a:lnTo>
                    <a:pt x="942" y="1104"/>
                  </a:lnTo>
                  <a:lnTo>
                    <a:pt x="942" y="1110"/>
                  </a:lnTo>
                  <a:lnTo>
                    <a:pt x="936" y="1116"/>
                  </a:lnTo>
                  <a:lnTo>
                    <a:pt x="936" y="1122"/>
                  </a:lnTo>
                  <a:lnTo>
                    <a:pt x="936" y="1128"/>
                  </a:lnTo>
                  <a:lnTo>
                    <a:pt x="936" y="1134"/>
                  </a:lnTo>
                  <a:lnTo>
                    <a:pt x="942" y="1146"/>
                  </a:lnTo>
                  <a:lnTo>
                    <a:pt x="936" y="1158"/>
                  </a:lnTo>
                  <a:lnTo>
                    <a:pt x="936" y="1170"/>
                  </a:lnTo>
                  <a:lnTo>
                    <a:pt x="936" y="1194"/>
                  </a:lnTo>
                  <a:lnTo>
                    <a:pt x="930" y="1200"/>
                  </a:lnTo>
                  <a:lnTo>
                    <a:pt x="930" y="1212"/>
                  </a:lnTo>
                  <a:lnTo>
                    <a:pt x="918" y="1218"/>
                  </a:lnTo>
                  <a:lnTo>
                    <a:pt x="918" y="1230"/>
                  </a:lnTo>
                  <a:lnTo>
                    <a:pt x="906" y="1230"/>
                  </a:lnTo>
                  <a:lnTo>
                    <a:pt x="900" y="1254"/>
                  </a:lnTo>
                  <a:lnTo>
                    <a:pt x="900" y="1260"/>
                  </a:lnTo>
                  <a:lnTo>
                    <a:pt x="900" y="1266"/>
                  </a:lnTo>
                  <a:lnTo>
                    <a:pt x="900" y="1272"/>
                  </a:lnTo>
                  <a:lnTo>
                    <a:pt x="900" y="1278"/>
                  </a:lnTo>
                  <a:lnTo>
                    <a:pt x="900" y="1284"/>
                  </a:lnTo>
                  <a:lnTo>
                    <a:pt x="906" y="129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1" name="Freeform 26">
              <a:extLst>
                <a:ext uri="{FF2B5EF4-FFF2-40B4-BE49-F238E27FC236}">
                  <a16:creationId xmlns:a16="http://schemas.microsoft.com/office/drawing/2014/main" id="{25725EFE-FE00-49A8-A87A-6752B785C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79173" y="3477313"/>
              <a:ext cx="650731" cy="559125"/>
            </a:xfrm>
            <a:custGeom>
              <a:avLst/>
              <a:gdLst>
                <a:gd name="T0" fmla="*/ 95 w 1224"/>
                <a:gd name="T1" fmla="*/ 89 h 1050"/>
                <a:gd name="T2" fmla="*/ 90 w 1224"/>
                <a:gd name="T3" fmla="*/ 84 h 1050"/>
                <a:gd name="T4" fmla="*/ 84 w 1224"/>
                <a:gd name="T5" fmla="*/ 83 h 1050"/>
                <a:gd name="T6" fmla="*/ 82 w 1224"/>
                <a:gd name="T7" fmla="*/ 80 h 1050"/>
                <a:gd name="T8" fmla="*/ 85 w 1224"/>
                <a:gd name="T9" fmla="*/ 77 h 1050"/>
                <a:gd name="T10" fmla="*/ 81 w 1224"/>
                <a:gd name="T11" fmla="*/ 76 h 1050"/>
                <a:gd name="T12" fmla="*/ 77 w 1224"/>
                <a:gd name="T13" fmla="*/ 77 h 1050"/>
                <a:gd name="T14" fmla="*/ 78 w 1224"/>
                <a:gd name="T15" fmla="*/ 73 h 1050"/>
                <a:gd name="T16" fmla="*/ 59 w 1224"/>
                <a:gd name="T17" fmla="*/ 71 h 1050"/>
                <a:gd name="T18" fmla="*/ 41 w 1224"/>
                <a:gd name="T19" fmla="*/ 73 h 1050"/>
                <a:gd name="T20" fmla="*/ 33 w 1224"/>
                <a:gd name="T21" fmla="*/ 71 h 1050"/>
                <a:gd name="T22" fmla="*/ 30 w 1224"/>
                <a:gd name="T23" fmla="*/ 75 h 1050"/>
                <a:gd name="T24" fmla="*/ 27 w 1224"/>
                <a:gd name="T25" fmla="*/ 80 h 1050"/>
                <a:gd name="T26" fmla="*/ 12 w 1224"/>
                <a:gd name="T27" fmla="*/ 81 h 1050"/>
                <a:gd name="T28" fmla="*/ 9 w 1224"/>
                <a:gd name="T29" fmla="*/ 84 h 1050"/>
                <a:gd name="T30" fmla="*/ 6 w 1224"/>
                <a:gd name="T31" fmla="*/ 83 h 1050"/>
                <a:gd name="T32" fmla="*/ 1 w 1224"/>
                <a:gd name="T33" fmla="*/ 83 h 1050"/>
                <a:gd name="T34" fmla="*/ 3 w 1224"/>
                <a:gd name="T35" fmla="*/ 77 h 1050"/>
                <a:gd name="T36" fmla="*/ 5 w 1224"/>
                <a:gd name="T37" fmla="*/ 70 h 1050"/>
                <a:gd name="T38" fmla="*/ 2 w 1224"/>
                <a:gd name="T39" fmla="*/ 65 h 1050"/>
                <a:gd name="T40" fmla="*/ 3 w 1224"/>
                <a:gd name="T41" fmla="*/ 58 h 1050"/>
                <a:gd name="T42" fmla="*/ 4 w 1224"/>
                <a:gd name="T43" fmla="*/ 51 h 1050"/>
                <a:gd name="T44" fmla="*/ 3 w 1224"/>
                <a:gd name="T45" fmla="*/ 47 h 1050"/>
                <a:gd name="T46" fmla="*/ 4 w 1224"/>
                <a:gd name="T47" fmla="*/ 39 h 1050"/>
                <a:gd name="T48" fmla="*/ 6 w 1224"/>
                <a:gd name="T49" fmla="*/ 29 h 1050"/>
                <a:gd name="T50" fmla="*/ 3 w 1224"/>
                <a:gd name="T51" fmla="*/ 22 h 1050"/>
                <a:gd name="T52" fmla="*/ 2 w 1224"/>
                <a:gd name="T53" fmla="*/ 14 h 1050"/>
                <a:gd name="T54" fmla="*/ 0 w 1224"/>
                <a:gd name="T55" fmla="*/ 6 h 1050"/>
                <a:gd name="T56" fmla="*/ 9 w 1224"/>
                <a:gd name="T57" fmla="*/ 1 h 1050"/>
                <a:gd name="T58" fmla="*/ 11 w 1224"/>
                <a:gd name="T59" fmla="*/ 8 h 1050"/>
                <a:gd name="T60" fmla="*/ 15 w 1224"/>
                <a:gd name="T61" fmla="*/ 9 h 1050"/>
                <a:gd name="T62" fmla="*/ 18 w 1224"/>
                <a:gd name="T63" fmla="*/ 8 h 1050"/>
                <a:gd name="T64" fmla="*/ 18 w 1224"/>
                <a:gd name="T65" fmla="*/ 13 h 1050"/>
                <a:gd name="T66" fmla="*/ 17 w 1224"/>
                <a:gd name="T67" fmla="*/ 15 h 1050"/>
                <a:gd name="T68" fmla="*/ 17 w 1224"/>
                <a:gd name="T69" fmla="*/ 17 h 1050"/>
                <a:gd name="T70" fmla="*/ 17 w 1224"/>
                <a:gd name="T71" fmla="*/ 21 h 1050"/>
                <a:gd name="T72" fmla="*/ 21 w 1224"/>
                <a:gd name="T73" fmla="*/ 25 h 1050"/>
                <a:gd name="T74" fmla="*/ 24 w 1224"/>
                <a:gd name="T75" fmla="*/ 31 h 1050"/>
                <a:gd name="T76" fmla="*/ 35 w 1224"/>
                <a:gd name="T77" fmla="*/ 34 h 1050"/>
                <a:gd name="T78" fmla="*/ 40 w 1224"/>
                <a:gd name="T79" fmla="*/ 27 h 1050"/>
                <a:gd name="T80" fmla="*/ 46 w 1224"/>
                <a:gd name="T81" fmla="*/ 30 h 1050"/>
                <a:gd name="T82" fmla="*/ 51 w 1224"/>
                <a:gd name="T83" fmla="*/ 27 h 1050"/>
                <a:gd name="T84" fmla="*/ 59 w 1224"/>
                <a:gd name="T85" fmla="*/ 39 h 1050"/>
                <a:gd name="T86" fmla="*/ 59 w 1224"/>
                <a:gd name="T87" fmla="*/ 45 h 1050"/>
                <a:gd name="T88" fmla="*/ 72 w 1224"/>
                <a:gd name="T89" fmla="*/ 45 h 1050"/>
                <a:gd name="T90" fmla="*/ 79 w 1224"/>
                <a:gd name="T91" fmla="*/ 44 h 1050"/>
                <a:gd name="T92" fmla="*/ 87 w 1224"/>
                <a:gd name="T93" fmla="*/ 48 h 1050"/>
                <a:gd name="T94" fmla="*/ 93 w 1224"/>
                <a:gd name="T95" fmla="*/ 50 h 1050"/>
                <a:gd name="T96" fmla="*/ 98 w 1224"/>
                <a:gd name="T97" fmla="*/ 51 h 1050"/>
                <a:gd name="T98" fmla="*/ 106 w 1224"/>
                <a:gd name="T99" fmla="*/ 50 h 1050"/>
                <a:gd name="T100" fmla="*/ 104 w 1224"/>
                <a:gd name="T101" fmla="*/ 54 h 1050"/>
                <a:gd name="T102" fmla="*/ 104 w 1224"/>
                <a:gd name="T103" fmla="*/ 60 h 1050"/>
                <a:gd name="T104" fmla="*/ 101 w 1224"/>
                <a:gd name="T105" fmla="*/ 63 h 1050"/>
                <a:gd name="T106" fmla="*/ 98 w 1224"/>
                <a:gd name="T107" fmla="*/ 66 h 1050"/>
                <a:gd name="T108" fmla="*/ 95 w 1224"/>
                <a:gd name="T109" fmla="*/ 68 h 1050"/>
                <a:gd name="T110" fmla="*/ 93 w 1224"/>
                <a:gd name="T111" fmla="*/ 72 h 1050"/>
                <a:gd name="T112" fmla="*/ 98 w 1224"/>
                <a:gd name="T113" fmla="*/ 75 h 1050"/>
                <a:gd name="T114" fmla="*/ 102 w 1224"/>
                <a:gd name="T115" fmla="*/ 77 h 1050"/>
                <a:gd name="T116" fmla="*/ 107 w 1224"/>
                <a:gd name="T117" fmla="*/ 76 h 1050"/>
                <a:gd name="T118" fmla="*/ 104 w 1224"/>
                <a:gd name="T119" fmla="*/ 84 h 1050"/>
                <a:gd name="T120" fmla="*/ 103 w 1224"/>
                <a:gd name="T121" fmla="*/ 87 h 1050"/>
                <a:gd name="T122" fmla="*/ 104 w 1224"/>
                <a:gd name="T123" fmla="*/ 91 h 105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24"/>
                <a:gd name="T187" fmla="*/ 0 h 1050"/>
                <a:gd name="T188" fmla="*/ 1224 w 1224"/>
                <a:gd name="T189" fmla="*/ 1050 h 105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24" h="1050">
                  <a:moveTo>
                    <a:pt x="1128" y="1032"/>
                  </a:moveTo>
                  <a:lnTo>
                    <a:pt x="1122" y="1026"/>
                  </a:lnTo>
                  <a:lnTo>
                    <a:pt x="1116" y="1026"/>
                  </a:lnTo>
                  <a:lnTo>
                    <a:pt x="1110" y="1026"/>
                  </a:lnTo>
                  <a:lnTo>
                    <a:pt x="1104" y="1026"/>
                  </a:lnTo>
                  <a:lnTo>
                    <a:pt x="1104" y="1020"/>
                  </a:lnTo>
                  <a:lnTo>
                    <a:pt x="1098" y="1020"/>
                  </a:lnTo>
                  <a:lnTo>
                    <a:pt x="1092" y="1020"/>
                  </a:lnTo>
                  <a:lnTo>
                    <a:pt x="1086" y="1020"/>
                  </a:lnTo>
                  <a:lnTo>
                    <a:pt x="1080" y="1014"/>
                  </a:lnTo>
                  <a:lnTo>
                    <a:pt x="1068" y="1014"/>
                  </a:lnTo>
                  <a:lnTo>
                    <a:pt x="1062" y="1014"/>
                  </a:lnTo>
                  <a:lnTo>
                    <a:pt x="1062" y="1008"/>
                  </a:lnTo>
                  <a:lnTo>
                    <a:pt x="1062" y="990"/>
                  </a:lnTo>
                  <a:lnTo>
                    <a:pt x="1062" y="984"/>
                  </a:lnTo>
                  <a:lnTo>
                    <a:pt x="1062" y="972"/>
                  </a:lnTo>
                  <a:lnTo>
                    <a:pt x="1044" y="966"/>
                  </a:lnTo>
                  <a:lnTo>
                    <a:pt x="1026" y="966"/>
                  </a:lnTo>
                  <a:lnTo>
                    <a:pt x="1014" y="966"/>
                  </a:lnTo>
                  <a:lnTo>
                    <a:pt x="996" y="966"/>
                  </a:lnTo>
                  <a:lnTo>
                    <a:pt x="996" y="972"/>
                  </a:lnTo>
                  <a:lnTo>
                    <a:pt x="990" y="972"/>
                  </a:lnTo>
                  <a:lnTo>
                    <a:pt x="984" y="966"/>
                  </a:lnTo>
                  <a:lnTo>
                    <a:pt x="978" y="966"/>
                  </a:lnTo>
                  <a:lnTo>
                    <a:pt x="978" y="960"/>
                  </a:lnTo>
                  <a:lnTo>
                    <a:pt x="972" y="954"/>
                  </a:lnTo>
                  <a:lnTo>
                    <a:pt x="966" y="954"/>
                  </a:lnTo>
                  <a:lnTo>
                    <a:pt x="960" y="954"/>
                  </a:lnTo>
                  <a:lnTo>
                    <a:pt x="954" y="954"/>
                  </a:lnTo>
                  <a:lnTo>
                    <a:pt x="954" y="948"/>
                  </a:lnTo>
                  <a:lnTo>
                    <a:pt x="942" y="942"/>
                  </a:lnTo>
                  <a:lnTo>
                    <a:pt x="936" y="942"/>
                  </a:lnTo>
                  <a:lnTo>
                    <a:pt x="936" y="936"/>
                  </a:lnTo>
                  <a:lnTo>
                    <a:pt x="936" y="930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42" y="918"/>
                  </a:lnTo>
                  <a:lnTo>
                    <a:pt x="948" y="918"/>
                  </a:lnTo>
                  <a:lnTo>
                    <a:pt x="960" y="918"/>
                  </a:lnTo>
                  <a:lnTo>
                    <a:pt x="966" y="912"/>
                  </a:lnTo>
                  <a:lnTo>
                    <a:pt x="978" y="906"/>
                  </a:lnTo>
                  <a:lnTo>
                    <a:pt x="978" y="900"/>
                  </a:lnTo>
                  <a:lnTo>
                    <a:pt x="978" y="894"/>
                  </a:lnTo>
                  <a:lnTo>
                    <a:pt x="978" y="888"/>
                  </a:lnTo>
                  <a:lnTo>
                    <a:pt x="972" y="888"/>
                  </a:lnTo>
                  <a:lnTo>
                    <a:pt x="978" y="888"/>
                  </a:lnTo>
                  <a:lnTo>
                    <a:pt x="978" y="882"/>
                  </a:lnTo>
                  <a:lnTo>
                    <a:pt x="972" y="876"/>
                  </a:lnTo>
                  <a:lnTo>
                    <a:pt x="966" y="870"/>
                  </a:lnTo>
                  <a:lnTo>
                    <a:pt x="954" y="876"/>
                  </a:lnTo>
                  <a:lnTo>
                    <a:pt x="948" y="876"/>
                  </a:lnTo>
                  <a:lnTo>
                    <a:pt x="942" y="870"/>
                  </a:lnTo>
                  <a:lnTo>
                    <a:pt x="936" y="876"/>
                  </a:lnTo>
                  <a:lnTo>
                    <a:pt x="930" y="876"/>
                  </a:lnTo>
                  <a:lnTo>
                    <a:pt x="924" y="882"/>
                  </a:lnTo>
                  <a:lnTo>
                    <a:pt x="912" y="888"/>
                  </a:lnTo>
                  <a:lnTo>
                    <a:pt x="906" y="894"/>
                  </a:lnTo>
                  <a:lnTo>
                    <a:pt x="900" y="900"/>
                  </a:lnTo>
                  <a:lnTo>
                    <a:pt x="894" y="888"/>
                  </a:lnTo>
                  <a:lnTo>
                    <a:pt x="888" y="894"/>
                  </a:lnTo>
                  <a:lnTo>
                    <a:pt x="882" y="888"/>
                  </a:lnTo>
                  <a:lnTo>
                    <a:pt x="876" y="894"/>
                  </a:lnTo>
                  <a:lnTo>
                    <a:pt x="876" y="888"/>
                  </a:lnTo>
                  <a:lnTo>
                    <a:pt x="876" y="882"/>
                  </a:lnTo>
                  <a:lnTo>
                    <a:pt x="876" y="876"/>
                  </a:lnTo>
                  <a:lnTo>
                    <a:pt x="870" y="858"/>
                  </a:lnTo>
                  <a:lnTo>
                    <a:pt x="864" y="858"/>
                  </a:lnTo>
                  <a:lnTo>
                    <a:pt x="870" y="852"/>
                  </a:lnTo>
                  <a:lnTo>
                    <a:pt x="870" y="846"/>
                  </a:lnTo>
                  <a:lnTo>
                    <a:pt x="876" y="846"/>
                  </a:lnTo>
                  <a:lnTo>
                    <a:pt x="882" y="846"/>
                  </a:lnTo>
                  <a:lnTo>
                    <a:pt x="888" y="840"/>
                  </a:lnTo>
                  <a:lnTo>
                    <a:pt x="894" y="834"/>
                  </a:lnTo>
                  <a:lnTo>
                    <a:pt x="894" y="828"/>
                  </a:lnTo>
                  <a:lnTo>
                    <a:pt x="894" y="816"/>
                  </a:lnTo>
                  <a:lnTo>
                    <a:pt x="858" y="810"/>
                  </a:lnTo>
                  <a:lnTo>
                    <a:pt x="858" y="816"/>
                  </a:lnTo>
                  <a:lnTo>
                    <a:pt x="852" y="816"/>
                  </a:lnTo>
                  <a:lnTo>
                    <a:pt x="780" y="816"/>
                  </a:lnTo>
                  <a:lnTo>
                    <a:pt x="750" y="816"/>
                  </a:lnTo>
                  <a:lnTo>
                    <a:pt x="684" y="816"/>
                  </a:lnTo>
                  <a:lnTo>
                    <a:pt x="636" y="816"/>
                  </a:lnTo>
                  <a:lnTo>
                    <a:pt x="612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0" y="816"/>
                  </a:lnTo>
                  <a:lnTo>
                    <a:pt x="480" y="822"/>
                  </a:lnTo>
                  <a:lnTo>
                    <a:pt x="480" y="834"/>
                  </a:lnTo>
                  <a:lnTo>
                    <a:pt x="474" y="840"/>
                  </a:lnTo>
                  <a:lnTo>
                    <a:pt x="468" y="840"/>
                  </a:lnTo>
                  <a:lnTo>
                    <a:pt x="432" y="840"/>
                  </a:lnTo>
                  <a:lnTo>
                    <a:pt x="426" y="834"/>
                  </a:lnTo>
                  <a:lnTo>
                    <a:pt x="420" y="834"/>
                  </a:lnTo>
                  <a:lnTo>
                    <a:pt x="420" y="828"/>
                  </a:lnTo>
                  <a:lnTo>
                    <a:pt x="414" y="822"/>
                  </a:lnTo>
                  <a:lnTo>
                    <a:pt x="408" y="822"/>
                  </a:lnTo>
                  <a:lnTo>
                    <a:pt x="396" y="822"/>
                  </a:lnTo>
                  <a:lnTo>
                    <a:pt x="396" y="816"/>
                  </a:lnTo>
                  <a:lnTo>
                    <a:pt x="384" y="816"/>
                  </a:lnTo>
                  <a:lnTo>
                    <a:pt x="372" y="810"/>
                  </a:lnTo>
                  <a:lnTo>
                    <a:pt x="372" y="804"/>
                  </a:lnTo>
                  <a:lnTo>
                    <a:pt x="366" y="804"/>
                  </a:lnTo>
                  <a:lnTo>
                    <a:pt x="360" y="804"/>
                  </a:lnTo>
                  <a:lnTo>
                    <a:pt x="348" y="828"/>
                  </a:lnTo>
                  <a:lnTo>
                    <a:pt x="348" y="834"/>
                  </a:lnTo>
                  <a:lnTo>
                    <a:pt x="348" y="852"/>
                  </a:lnTo>
                  <a:lnTo>
                    <a:pt x="348" y="858"/>
                  </a:lnTo>
                  <a:lnTo>
                    <a:pt x="342" y="864"/>
                  </a:lnTo>
                  <a:lnTo>
                    <a:pt x="342" y="870"/>
                  </a:lnTo>
                  <a:lnTo>
                    <a:pt x="330" y="876"/>
                  </a:lnTo>
                  <a:lnTo>
                    <a:pt x="324" y="888"/>
                  </a:lnTo>
                  <a:lnTo>
                    <a:pt x="324" y="894"/>
                  </a:lnTo>
                  <a:lnTo>
                    <a:pt x="330" y="900"/>
                  </a:lnTo>
                  <a:lnTo>
                    <a:pt x="330" y="906"/>
                  </a:lnTo>
                  <a:lnTo>
                    <a:pt x="324" y="906"/>
                  </a:lnTo>
                  <a:lnTo>
                    <a:pt x="318" y="912"/>
                  </a:lnTo>
                  <a:lnTo>
                    <a:pt x="312" y="918"/>
                  </a:lnTo>
                  <a:lnTo>
                    <a:pt x="306" y="924"/>
                  </a:lnTo>
                  <a:lnTo>
                    <a:pt x="288" y="924"/>
                  </a:lnTo>
                  <a:lnTo>
                    <a:pt x="282" y="924"/>
                  </a:lnTo>
                  <a:lnTo>
                    <a:pt x="276" y="930"/>
                  </a:lnTo>
                  <a:lnTo>
                    <a:pt x="270" y="930"/>
                  </a:lnTo>
                  <a:lnTo>
                    <a:pt x="264" y="930"/>
                  </a:lnTo>
                  <a:lnTo>
                    <a:pt x="198" y="930"/>
                  </a:lnTo>
                  <a:lnTo>
                    <a:pt x="132" y="930"/>
                  </a:lnTo>
                  <a:lnTo>
                    <a:pt x="132" y="936"/>
                  </a:lnTo>
                  <a:lnTo>
                    <a:pt x="132" y="942"/>
                  </a:lnTo>
                  <a:lnTo>
                    <a:pt x="132" y="948"/>
                  </a:lnTo>
                  <a:lnTo>
                    <a:pt x="126" y="948"/>
                  </a:lnTo>
                  <a:lnTo>
                    <a:pt x="120" y="948"/>
                  </a:lnTo>
                  <a:lnTo>
                    <a:pt x="120" y="954"/>
                  </a:lnTo>
                  <a:lnTo>
                    <a:pt x="114" y="954"/>
                  </a:lnTo>
                  <a:lnTo>
                    <a:pt x="114" y="960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02" y="966"/>
                  </a:lnTo>
                  <a:lnTo>
                    <a:pt x="102" y="972"/>
                  </a:lnTo>
                  <a:lnTo>
                    <a:pt x="96" y="972"/>
                  </a:lnTo>
                  <a:lnTo>
                    <a:pt x="96" y="966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78" y="960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60"/>
                  </a:lnTo>
                  <a:lnTo>
                    <a:pt x="54" y="966"/>
                  </a:lnTo>
                  <a:lnTo>
                    <a:pt x="48" y="966"/>
                  </a:lnTo>
                  <a:lnTo>
                    <a:pt x="42" y="966"/>
                  </a:lnTo>
                  <a:lnTo>
                    <a:pt x="36" y="966"/>
                  </a:lnTo>
                  <a:lnTo>
                    <a:pt x="30" y="966"/>
                  </a:lnTo>
                  <a:lnTo>
                    <a:pt x="24" y="960"/>
                  </a:lnTo>
                  <a:lnTo>
                    <a:pt x="18" y="960"/>
                  </a:lnTo>
                  <a:lnTo>
                    <a:pt x="12" y="960"/>
                  </a:lnTo>
                  <a:lnTo>
                    <a:pt x="12" y="948"/>
                  </a:lnTo>
                  <a:lnTo>
                    <a:pt x="18" y="942"/>
                  </a:lnTo>
                  <a:lnTo>
                    <a:pt x="18" y="936"/>
                  </a:lnTo>
                  <a:lnTo>
                    <a:pt x="18" y="930"/>
                  </a:lnTo>
                  <a:lnTo>
                    <a:pt x="18" y="924"/>
                  </a:lnTo>
                  <a:lnTo>
                    <a:pt x="18" y="912"/>
                  </a:lnTo>
                  <a:lnTo>
                    <a:pt x="24" y="906"/>
                  </a:lnTo>
                  <a:lnTo>
                    <a:pt x="30" y="900"/>
                  </a:lnTo>
                  <a:lnTo>
                    <a:pt x="36" y="894"/>
                  </a:lnTo>
                  <a:lnTo>
                    <a:pt x="36" y="882"/>
                  </a:lnTo>
                  <a:lnTo>
                    <a:pt x="30" y="876"/>
                  </a:lnTo>
                  <a:lnTo>
                    <a:pt x="30" y="870"/>
                  </a:lnTo>
                  <a:lnTo>
                    <a:pt x="24" y="858"/>
                  </a:lnTo>
                  <a:lnTo>
                    <a:pt x="24" y="846"/>
                  </a:lnTo>
                  <a:lnTo>
                    <a:pt x="36" y="822"/>
                  </a:lnTo>
                  <a:lnTo>
                    <a:pt x="42" y="816"/>
                  </a:lnTo>
                  <a:lnTo>
                    <a:pt x="48" y="816"/>
                  </a:lnTo>
                  <a:lnTo>
                    <a:pt x="60" y="804"/>
                  </a:lnTo>
                  <a:lnTo>
                    <a:pt x="60" y="786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54" y="762"/>
                  </a:lnTo>
                  <a:lnTo>
                    <a:pt x="42" y="762"/>
                  </a:lnTo>
                  <a:lnTo>
                    <a:pt x="36" y="762"/>
                  </a:lnTo>
                  <a:lnTo>
                    <a:pt x="30" y="762"/>
                  </a:lnTo>
                  <a:lnTo>
                    <a:pt x="30" y="756"/>
                  </a:lnTo>
                  <a:lnTo>
                    <a:pt x="24" y="750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702"/>
                  </a:lnTo>
                  <a:lnTo>
                    <a:pt x="36" y="684"/>
                  </a:lnTo>
                  <a:lnTo>
                    <a:pt x="36" y="678"/>
                  </a:lnTo>
                  <a:lnTo>
                    <a:pt x="36" y="666"/>
                  </a:lnTo>
                  <a:lnTo>
                    <a:pt x="36" y="654"/>
                  </a:lnTo>
                  <a:lnTo>
                    <a:pt x="18" y="654"/>
                  </a:lnTo>
                  <a:lnTo>
                    <a:pt x="18" y="648"/>
                  </a:lnTo>
                  <a:lnTo>
                    <a:pt x="18" y="618"/>
                  </a:lnTo>
                  <a:lnTo>
                    <a:pt x="18" y="612"/>
                  </a:lnTo>
                  <a:lnTo>
                    <a:pt x="24" y="612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54" y="588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76"/>
                  </a:lnTo>
                  <a:lnTo>
                    <a:pt x="48" y="564"/>
                  </a:lnTo>
                  <a:lnTo>
                    <a:pt x="42" y="564"/>
                  </a:lnTo>
                  <a:lnTo>
                    <a:pt x="36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6" y="540"/>
                  </a:lnTo>
                  <a:lnTo>
                    <a:pt x="48" y="534"/>
                  </a:lnTo>
                  <a:lnTo>
                    <a:pt x="54" y="528"/>
                  </a:lnTo>
                  <a:lnTo>
                    <a:pt x="60" y="504"/>
                  </a:lnTo>
                  <a:lnTo>
                    <a:pt x="60" y="492"/>
                  </a:lnTo>
                  <a:lnTo>
                    <a:pt x="54" y="492"/>
                  </a:lnTo>
                  <a:lnTo>
                    <a:pt x="54" y="480"/>
                  </a:lnTo>
                  <a:lnTo>
                    <a:pt x="48" y="456"/>
                  </a:lnTo>
                  <a:lnTo>
                    <a:pt x="42" y="450"/>
                  </a:lnTo>
                  <a:lnTo>
                    <a:pt x="36" y="444"/>
                  </a:lnTo>
                  <a:lnTo>
                    <a:pt x="36" y="420"/>
                  </a:lnTo>
                  <a:lnTo>
                    <a:pt x="36" y="408"/>
                  </a:lnTo>
                  <a:lnTo>
                    <a:pt x="36" y="37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60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6" y="300"/>
                  </a:lnTo>
                  <a:lnTo>
                    <a:pt x="60" y="294"/>
                  </a:lnTo>
                  <a:lnTo>
                    <a:pt x="60" y="288"/>
                  </a:lnTo>
                  <a:lnTo>
                    <a:pt x="54" y="282"/>
                  </a:lnTo>
                  <a:lnTo>
                    <a:pt x="42" y="276"/>
                  </a:lnTo>
                  <a:lnTo>
                    <a:pt x="36" y="276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0" y="252"/>
                  </a:lnTo>
                  <a:lnTo>
                    <a:pt x="24" y="246"/>
                  </a:lnTo>
                  <a:lnTo>
                    <a:pt x="24" y="240"/>
                  </a:lnTo>
                  <a:lnTo>
                    <a:pt x="24" y="228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62"/>
                  </a:lnTo>
                  <a:lnTo>
                    <a:pt x="24" y="144"/>
                  </a:lnTo>
                  <a:lnTo>
                    <a:pt x="24" y="132"/>
                  </a:lnTo>
                  <a:lnTo>
                    <a:pt x="24" y="114"/>
                  </a:lnTo>
                  <a:lnTo>
                    <a:pt x="24" y="102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18" y="48"/>
                  </a:lnTo>
                  <a:lnTo>
                    <a:pt x="42" y="36"/>
                  </a:lnTo>
                  <a:lnTo>
                    <a:pt x="54" y="24"/>
                  </a:lnTo>
                  <a:lnTo>
                    <a:pt x="60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10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14" y="60"/>
                  </a:lnTo>
                  <a:lnTo>
                    <a:pt x="120" y="60"/>
                  </a:lnTo>
                  <a:lnTo>
                    <a:pt x="114" y="84"/>
                  </a:lnTo>
                  <a:lnTo>
                    <a:pt x="120" y="90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38" y="114"/>
                  </a:lnTo>
                  <a:lnTo>
                    <a:pt x="138" y="132"/>
                  </a:lnTo>
                  <a:lnTo>
                    <a:pt x="162" y="126"/>
                  </a:lnTo>
                  <a:lnTo>
                    <a:pt x="162" y="114"/>
                  </a:lnTo>
                  <a:lnTo>
                    <a:pt x="174" y="108"/>
                  </a:lnTo>
                  <a:lnTo>
                    <a:pt x="174" y="102"/>
                  </a:lnTo>
                  <a:lnTo>
                    <a:pt x="180" y="96"/>
                  </a:lnTo>
                  <a:lnTo>
                    <a:pt x="180" y="60"/>
                  </a:lnTo>
                  <a:lnTo>
                    <a:pt x="192" y="60"/>
                  </a:lnTo>
                  <a:lnTo>
                    <a:pt x="192" y="72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04" y="108"/>
                  </a:lnTo>
                  <a:lnTo>
                    <a:pt x="204" y="114"/>
                  </a:lnTo>
                  <a:lnTo>
                    <a:pt x="204" y="120"/>
                  </a:lnTo>
                  <a:lnTo>
                    <a:pt x="204" y="126"/>
                  </a:lnTo>
                  <a:lnTo>
                    <a:pt x="210" y="126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8" y="174"/>
                  </a:lnTo>
                  <a:lnTo>
                    <a:pt x="198" y="180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86" y="204"/>
                  </a:lnTo>
                  <a:lnTo>
                    <a:pt x="186" y="210"/>
                  </a:lnTo>
                  <a:lnTo>
                    <a:pt x="180" y="210"/>
                  </a:lnTo>
                  <a:lnTo>
                    <a:pt x="180" y="216"/>
                  </a:lnTo>
                  <a:lnTo>
                    <a:pt x="180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92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8" y="258"/>
                  </a:lnTo>
                  <a:lnTo>
                    <a:pt x="204" y="258"/>
                  </a:lnTo>
                  <a:lnTo>
                    <a:pt x="210" y="258"/>
                  </a:lnTo>
                  <a:lnTo>
                    <a:pt x="216" y="258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34" y="276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46" y="306"/>
                  </a:lnTo>
                  <a:lnTo>
                    <a:pt x="252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42"/>
                  </a:lnTo>
                  <a:lnTo>
                    <a:pt x="270" y="342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88" y="366"/>
                  </a:lnTo>
                  <a:lnTo>
                    <a:pt x="336" y="360"/>
                  </a:lnTo>
                  <a:lnTo>
                    <a:pt x="354" y="360"/>
                  </a:lnTo>
                  <a:lnTo>
                    <a:pt x="366" y="372"/>
                  </a:lnTo>
                  <a:lnTo>
                    <a:pt x="378" y="378"/>
                  </a:lnTo>
                  <a:lnTo>
                    <a:pt x="378" y="390"/>
                  </a:lnTo>
                  <a:lnTo>
                    <a:pt x="384" y="390"/>
                  </a:lnTo>
                  <a:lnTo>
                    <a:pt x="390" y="396"/>
                  </a:lnTo>
                  <a:lnTo>
                    <a:pt x="408" y="390"/>
                  </a:lnTo>
                  <a:lnTo>
                    <a:pt x="426" y="366"/>
                  </a:lnTo>
                  <a:lnTo>
                    <a:pt x="432" y="360"/>
                  </a:lnTo>
                  <a:lnTo>
                    <a:pt x="438" y="348"/>
                  </a:lnTo>
                  <a:lnTo>
                    <a:pt x="438" y="342"/>
                  </a:lnTo>
                  <a:lnTo>
                    <a:pt x="438" y="330"/>
                  </a:lnTo>
                  <a:lnTo>
                    <a:pt x="444" y="324"/>
                  </a:lnTo>
                  <a:lnTo>
                    <a:pt x="450" y="318"/>
                  </a:lnTo>
                  <a:lnTo>
                    <a:pt x="456" y="312"/>
                  </a:lnTo>
                  <a:lnTo>
                    <a:pt x="456" y="306"/>
                  </a:lnTo>
                  <a:lnTo>
                    <a:pt x="456" y="300"/>
                  </a:lnTo>
                  <a:lnTo>
                    <a:pt x="474" y="288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92" y="294"/>
                  </a:lnTo>
                  <a:lnTo>
                    <a:pt x="492" y="318"/>
                  </a:lnTo>
                  <a:lnTo>
                    <a:pt x="504" y="324"/>
                  </a:lnTo>
                  <a:lnTo>
                    <a:pt x="492" y="348"/>
                  </a:lnTo>
                  <a:lnTo>
                    <a:pt x="522" y="348"/>
                  </a:lnTo>
                  <a:lnTo>
                    <a:pt x="528" y="342"/>
                  </a:lnTo>
                  <a:lnTo>
                    <a:pt x="528" y="336"/>
                  </a:lnTo>
                  <a:lnTo>
                    <a:pt x="528" y="330"/>
                  </a:lnTo>
                  <a:lnTo>
                    <a:pt x="534" y="330"/>
                  </a:lnTo>
                  <a:lnTo>
                    <a:pt x="540" y="330"/>
                  </a:lnTo>
                  <a:lnTo>
                    <a:pt x="546" y="330"/>
                  </a:lnTo>
                  <a:lnTo>
                    <a:pt x="552" y="324"/>
                  </a:lnTo>
                  <a:lnTo>
                    <a:pt x="558" y="318"/>
                  </a:lnTo>
                  <a:lnTo>
                    <a:pt x="576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8" y="348"/>
                  </a:lnTo>
                  <a:lnTo>
                    <a:pt x="654" y="354"/>
                  </a:lnTo>
                  <a:lnTo>
                    <a:pt x="648" y="402"/>
                  </a:lnTo>
                  <a:lnTo>
                    <a:pt x="678" y="402"/>
                  </a:lnTo>
                  <a:lnTo>
                    <a:pt x="678" y="420"/>
                  </a:lnTo>
                  <a:lnTo>
                    <a:pt x="684" y="438"/>
                  </a:lnTo>
                  <a:lnTo>
                    <a:pt x="684" y="450"/>
                  </a:lnTo>
                  <a:lnTo>
                    <a:pt x="684" y="456"/>
                  </a:lnTo>
                  <a:lnTo>
                    <a:pt x="690" y="468"/>
                  </a:lnTo>
                  <a:lnTo>
                    <a:pt x="690" y="474"/>
                  </a:lnTo>
                  <a:lnTo>
                    <a:pt x="690" y="480"/>
                  </a:lnTo>
                  <a:lnTo>
                    <a:pt x="696" y="486"/>
                  </a:lnTo>
                  <a:lnTo>
                    <a:pt x="696" y="498"/>
                  </a:lnTo>
                  <a:lnTo>
                    <a:pt x="702" y="504"/>
                  </a:lnTo>
                  <a:lnTo>
                    <a:pt x="690" y="516"/>
                  </a:lnTo>
                  <a:lnTo>
                    <a:pt x="678" y="522"/>
                  </a:lnTo>
                  <a:lnTo>
                    <a:pt x="654" y="528"/>
                  </a:lnTo>
                  <a:lnTo>
                    <a:pt x="660" y="546"/>
                  </a:lnTo>
                  <a:lnTo>
                    <a:pt x="672" y="546"/>
                  </a:lnTo>
                  <a:lnTo>
                    <a:pt x="678" y="540"/>
                  </a:lnTo>
                  <a:lnTo>
                    <a:pt x="714" y="540"/>
                  </a:lnTo>
                  <a:lnTo>
                    <a:pt x="798" y="540"/>
                  </a:lnTo>
                  <a:lnTo>
                    <a:pt x="804" y="540"/>
                  </a:lnTo>
                  <a:lnTo>
                    <a:pt x="816" y="528"/>
                  </a:lnTo>
                  <a:lnTo>
                    <a:pt x="822" y="522"/>
                  </a:lnTo>
                  <a:lnTo>
                    <a:pt x="834" y="516"/>
                  </a:lnTo>
                  <a:lnTo>
                    <a:pt x="846" y="516"/>
                  </a:lnTo>
                  <a:lnTo>
                    <a:pt x="852" y="510"/>
                  </a:lnTo>
                  <a:lnTo>
                    <a:pt x="858" y="510"/>
                  </a:lnTo>
                  <a:lnTo>
                    <a:pt x="882" y="516"/>
                  </a:lnTo>
                  <a:lnTo>
                    <a:pt x="888" y="516"/>
                  </a:lnTo>
                  <a:lnTo>
                    <a:pt x="888" y="510"/>
                  </a:lnTo>
                  <a:lnTo>
                    <a:pt x="894" y="510"/>
                  </a:lnTo>
                  <a:lnTo>
                    <a:pt x="906" y="504"/>
                  </a:lnTo>
                  <a:lnTo>
                    <a:pt x="918" y="498"/>
                  </a:lnTo>
                  <a:lnTo>
                    <a:pt x="930" y="492"/>
                  </a:lnTo>
                  <a:lnTo>
                    <a:pt x="936" y="492"/>
                  </a:lnTo>
                  <a:lnTo>
                    <a:pt x="948" y="492"/>
                  </a:lnTo>
                  <a:lnTo>
                    <a:pt x="954" y="528"/>
                  </a:lnTo>
                  <a:lnTo>
                    <a:pt x="954" y="564"/>
                  </a:lnTo>
                  <a:lnTo>
                    <a:pt x="972" y="564"/>
                  </a:lnTo>
                  <a:lnTo>
                    <a:pt x="978" y="558"/>
                  </a:lnTo>
                  <a:lnTo>
                    <a:pt x="990" y="552"/>
                  </a:lnTo>
                  <a:lnTo>
                    <a:pt x="1002" y="540"/>
                  </a:lnTo>
                  <a:lnTo>
                    <a:pt x="1026" y="534"/>
                  </a:lnTo>
                  <a:lnTo>
                    <a:pt x="1032" y="540"/>
                  </a:lnTo>
                  <a:lnTo>
                    <a:pt x="1044" y="546"/>
                  </a:lnTo>
                  <a:lnTo>
                    <a:pt x="1062" y="552"/>
                  </a:lnTo>
                  <a:lnTo>
                    <a:pt x="1068" y="552"/>
                  </a:lnTo>
                  <a:lnTo>
                    <a:pt x="1068" y="570"/>
                  </a:lnTo>
                  <a:lnTo>
                    <a:pt x="1068" y="576"/>
                  </a:lnTo>
                  <a:lnTo>
                    <a:pt x="1068" y="582"/>
                  </a:lnTo>
                  <a:lnTo>
                    <a:pt x="1068" y="588"/>
                  </a:lnTo>
                  <a:lnTo>
                    <a:pt x="1068" y="594"/>
                  </a:lnTo>
                  <a:lnTo>
                    <a:pt x="1080" y="600"/>
                  </a:lnTo>
                  <a:lnTo>
                    <a:pt x="1086" y="606"/>
                  </a:lnTo>
                  <a:lnTo>
                    <a:pt x="1092" y="594"/>
                  </a:lnTo>
                  <a:lnTo>
                    <a:pt x="1104" y="588"/>
                  </a:lnTo>
                  <a:lnTo>
                    <a:pt x="1116" y="588"/>
                  </a:lnTo>
                  <a:lnTo>
                    <a:pt x="1122" y="588"/>
                  </a:lnTo>
                  <a:lnTo>
                    <a:pt x="1122" y="594"/>
                  </a:lnTo>
                  <a:lnTo>
                    <a:pt x="1128" y="594"/>
                  </a:lnTo>
                  <a:lnTo>
                    <a:pt x="1134" y="594"/>
                  </a:lnTo>
                  <a:lnTo>
                    <a:pt x="1140" y="594"/>
                  </a:lnTo>
                  <a:lnTo>
                    <a:pt x="1146" y="588"/>
                  </a:lnTo>
                  <a:lnTo>
                    <a:pt x="1158" y="582"/>
                  </a:lnTo>
                  <a:lnTo>
                    <a:pt x="1164" y="576"/>
                  </a:lnTo>
                  <a:lnTo>
                    <a:pt x="1176" y="576"/>
                  </a:lnTo>
                  <a:lnTo>
                    <a:pt x="1194" y="576"/>
                  </a:lnTo>
                  <a:lnTo>
                    <a:pt x="1218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24" y="594"/>
                  </a:lnTo>
                  <a:lnTo>
                    <a:pt x="1212" y="600"/>
                  </a:lnTo>
                  <a:lnTo>
                    <a:pt x="1206" y="606"/>
                  </a:lnTo>
                  <a:lnTo>
                    <a:pt x="1200" y="606"/>
                  </a:lnTo>
                  <a:lnTo>
                    <a:pt x="1200" y="612"/>
                  </a:lnTo>
                  <a:lnTo>
                    <a:pt x="1194" y="612"/>
                  </a:lnTo>
                  <a:lnTo>
                    <a:pt x="1194" y="618"/>
                  </a:lnTo>
                  <a:lnTo>
                    <a:pt x="1194" y="624"/>
                  </a:lnTo>
                  <a:lnTo>
                    <a:pt x="1194" y="630"/>
                  </a:lnTo>
                  <a:lnTo>
                    <a:pt x="1194" y="648"/>
                  </a:lnTo>
                  <a:lnTo>
                    <a:pt x="1194" y="660"/>
                  </a:lnTo>
                  <a:lnTo>
                    <a:pt x="1194" y="666"/>
                  </a:lnTo>
                  <a:lnTo>
                    <a:pt x="1194" y="672"/>
                  </a:lnTo>
                  <a:lnTo>
                    <a:pt x="1194" y="678"/>
                  </a:lnTo>
                  <a:lnTo>
                    <a:pt x="1188" y="684"/>
                  </a:lnTo>
                  <a:lnTo>
                    <a:pt x="1188" y="690"/>
                  </a:lnTo>
                  <a:lnTo>
                    <a:pt x="1188" y="696"/>
                  </a:lnTo>
                  <a:lnTo>
                    <a:pt x="1188" y="702"/>
                  </a:lnTo>
                  <a:lnTo>
                    <a:pt x="1188" y="708"/>
                  </a:lnTo>
                  <a:lnTo>
                    <a:pt x="1188" y="714"/>
                  </a:lnTo>
                  <a:lnTo>
                    <a:pt x="1182" y="720"/>
                  </a:lnTo>
                  <a:lnTo>
                    <a:pt x="1170" y="720"/>
                  </a:lnTo>
                  <a:lnTo>
                    <a:pt x="1158" y="726"/>
                  </a:lnTo>
                  <a:lnTo>
                    <a:pt x="1152" y="726"/>
                  </a:lnTo>
                  <a:lnTo>
                    <a:pt x="1152" y="732"/>
                  </a:lnTo>
                  <a:lnTo>
                    <a:pt x="1146" y="738"/>
                  </a:lnTo>
                  <a:lnTo>
                    <a:pt x="1140" y="738"/>
                  </a:lnTo>
                  <a:lnTo>
                    <a:pt x="1140" y="744"/>
                  </a:lnTo>
                  <a:lnTo>
                    <a:pt x="1134" y="744"/>
                  </a:lnTo>
                  <a:lnTo>
                    <a:pt x="1128" y="744"/>
                  </a:lnTo>
                  <a:lnTo>
                    <a:pt x="1122" y="750"/>
                  </a:lnTo>
                  <a:lnTo>
                    <a:pt x="1128" y="750"/>
                  </a:lnTo>
                  <a:lnTo>
                    <a:pt x="1122" y="756"/>
                  </a:lnTo>
                  <a:lnTo>
                    <a:pt x="1116" y="756"/>
                  </a:lnTo>
                  <a:lnTo>
                    <a:pt x="1110" y="762"/>
                  </a:lnTo>
                  <a:lnTo>
                    <a:pt x="1104" y="762"/>
                  </a:lnTo>
                  <a:lnTo>
                    <a:pt x="1104" y="768"/>
                  </a:lnTo>
                  <a:lnTo>
                    <a:pt x="1098" y="768"/>
                  </a:lnTo>
                  <a:lnTo>
                    <a:pt x="1098" y="774"/>
                  </a:lnTo>
                  <a:lnTo>
                    <a:pt x="1092" y="774"/>
                  </a:lnTo>
                  <a:lnTo>
                    <a:pt x="1092" y="780"/>
                  </a:lnTo>
                  <a:lnTo>
                    <a:pt x="1086" y="780"/>
                  </a:lnTo>
                  <a:lnTo>
                    <a:pt x="1086" y="786"/>
                  </a:lnTo>
                  <a:lnTo>
                    <a:pt x="1080" y="786"/>
                  </a:lnTo>
                  <a:lnTo>
                    <a:pt x="1080" y="792"/>
                  </a:lnTo>
                  <a:lnTo>
                    <a:pt x="1080" y="798"/>
                  </a:lnTo>
                  <a:lnTo>
                    <a:pt x="1080" y="804"/>
                  </a:lnTo>
                  <a:lnTo>
                    <a:pt x="1086" y="810"/>
                  </a:lnTo>
                  <a:lnTo>
                    <a:pt x="1080" y="816"/>
                  </a:lnTo>
                  <a:lnTo>
                    <a:pt x="1080" y="822"/>
                  </a:lnTo>
                  <a:lnTo>
                    <a:pt x="1074" y="822"/>
                  </a:lnTo>
                  <a:lnTo>
                    <a:pt x="1068" y="828"/>
                  </a:lnTo>
                  <a:lnTo>
                    <a:pt x="1074" y="828"/>
                  </a:lnTo>
                  <a:lnTo>
                    <a:pt x="1074" y="834"/>
                  </a:lnTo>
                  <a:lnTo>
                    <a:pt x="1080" y="846"/>
                  </a:lnTo>
                  <a:lnTo>
                    <a:pt x="1086" y="846"/>
                  </a:lnTo>
                  <a:lnTo>
                    <a:pt x="1092" y="852"/>
                  </a:lnTo>
                  <a:lnTo>
                    <a:pt x="1092" y="858"/>
                  </a:lnTo>
                  <a:lnTo>
                    <a:pt x="1098" y="858"/>
                  </a:lnTo>
                  <a:lnTo>
                    <a:pt x="1110" y="864"/>
                  </a:lnTo>
                  <a:lnTo>
                    <a:pt x="1116" y="864"/>
                  </a:lnTo>
                  <a:lnTo>
                    <a:pt x="1122" y="864"/>
                  </a:lnTo>
                  <a:lnTo>
                    <a:pt x="1128" y="864"/>
                  </a:lnTo>
                  <a:lnTo>
                    <a:pt x="1134" y="876"/>
                  </a:lnTo>
                  <a:lnTo>
                    <a:pt x="1140" y="882"/>
                  </a:lnTo>
                  <a:lnTo>
                    <a:pt x="1140" y="888"/>
                  </a:lnTo>
                  <a:lnTo>
                    <a:pt x="1152" y="918"/>
                  </a:lnTo>
                  <a:lnTo>
                    <a:pt x="1158" y="894"/>
                  </a:lnTo>
                  <a:lnTo>
                    <a:pt x="1164" y="888"/>
                  </a:lnTo>
                  <a:lnTo>
                    <a:pt x="1164" y="882"/>
                  </a:lnTo>
                  <a:lnTo>
                    <a:pt x="1176" y="864"/>
                  </a:lnTo>
                  <a:lnTo>
                    <a:pt x="1182" y="858"/>
                  </a:lnTo>
                  <a:lnTo>
                    <a:pt x="1188" y="846"/>
                  </a:lnTo>
                  <a:lnTo>
                    <a:pt x="1200" y="840"/>
                  </a:lnTo>
                  <a:lnTo>
                    <a:pt x="1212" y="840"/>
                  </a:lnTo>
                  <a:lnTo>
                    <a:pt x="1218" y="846"/>
                  </a:lnTo>
                  <a:lnTo>
                    <a:pt x="1224" y="858"/>
                  </a:lnTo>
                  <a:lnTo>
                    <a:pt x="1224" y="864"/>
                  </a:lnTo>
                  <a:lnTo>
                    <a:pt x="1224" y="876"/>
                  </a:lnTo>
                  <a:lnTo>
                    <a:pt x="1212" y="912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00" y="930"/>
                  </a:lnTo>
                  <a:lnTo>
                    <a:pt x="1200" y="942"/>
                  </a:lnTo>
                  <a:lnTo>
                    <a:pt x="1194" y="948"/>
                  </a:lnTo>
                  <a:lnTo>
                    <a:pt x="1194" y="960"/>
                  </a:lnTo>
                  <a:lnTo>
                    <a:pt x="1194" y="966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70" y="984"/>
                  </a:lnTo>
                  <a:lnTo>
                    <a:pt x="1164" y="984"/>
                  </a:lnTo>
                  <a:lnTo>
                    <a:pt x="1158" y="984"/>
                  </a:lnTo>
                  <a:lnTo>
                    <a:pt x="1146" y="984"/>
                  </a:lnTo>
                  <a:lnTo>
                    <a:pt x="1140" y="990"/>
                  </a:lnTo>
                  <a:lnTo>
                    <a:pt x="1140" y="996"/>
                  </a:lnTo>
                  <a:lnTo>
                    <a:pt x="1152" y="996"/>
                  </a:lnTo>
                  <a:lnTo>
                    <a:pt x="1176" y="1002"/>
                  </a:lnTo>
                  <a:lnTo>
                    <a:pt x="1194" y="1008"/>
                  </a:lnTo>
                  <a:lnTo>
                    <a:pt x="1206" y="1008"/>
                  </a:lnTo>
                  <a:lnTo>
                    <a:pt x="1218" y="1014"/>
                  </a:lnTo>
                  <a:lnTo>
                    <a:pt x="1212" y="1038"/>
                  </a:lnTo>
                  <a:lnTo>
                    <a:pt x="1212" y="1044"/>
                  </a:lnTo>
                  <a:lnTo>
                    <a:pt x="1206" y="1044"/>
                  </a:lnTo>
                  <a:lnTo>
                    <a:pt x="1206" y="1050"/>
                  </a:lnTo>
                  <a:lnTo>
                    <a:pt x="1194" y="1050"/>
                  </a:lnTo>
                  <a:lnTo>
                    <a:pt x="1188" y="1044"/>
                  </a:lnTo>
                  <a:lnTo>
                    <a:pt x="1158" y="1020"/>
                  </a:lnTo>
                  <a:lnTo>
                    <a:pt x="1152" y="1020"/>
                  </a:lnTo>
                  <a:lnTo>
                    <a:pt x="1140" y="1020"/>
                  </a:lnTo>
                  <a:lnTo>
                    <a:pt x="1134" y="1020"/>
                  </a:lnTo>
                  <a:lnTo>
                    <a:pt x="1134" y="1026"/>
                  </a:lnTo>
                  <a:lnTo>
                    <a:pt x="1134" y="1032"/>
                  </a:lnTo>
                  <a:lnTo>
                    <a:pt x="1128" y="1032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2" name="Freeform 27">
              <a:extLst>
                <a:ext uri="{FF2B5EF4-FFF2-40B4-BE49-F238E27FC236}">
                  <a16:creationId xmlns:a16="http://schemas.microsoft.com/office/drawing/2014/main" id="{CE95C9DF-B651-4085-946F-65424BC51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2063" y="3421400"/>
              <a:ext cx="342138" cy="377969"/>
            </a:xfrm>
            <a:custGeom>
              <a:avLst/>
              <a:gdLst>
                <a:gd name="T0" fmla="*/ 43 w 642"/>
                <a:gd name="T1" fmla="*/ 41 h 708"/>
                <a:gd name="T2" fmla="*/ 39 w 642"/>
                <a:gd name="T3" fmla="*/ 41 h 708"/>
                <a:gd name="T4" fmla="*/ 38 w 642"/>
                <a:gd name="T5" fmla="*/ 47 h 708"/>
                <a:gd name="T6" fmla="*/ 38 w 642"/>
                <a:gd name="T7" fmla="*/ 49 h 708"/>
                <a:gd name="T8" fmla="*/ 38 w 642"/>
                <a:gd name="T9" fmla="*/ 50 h 708"/>
                <a:gd name="T10" fmla="*/ 36 w 642"/>
                <a:gd name="T11" fmla="*/ 52 h 708"/>
                <a:gd name="T12" fmla="*/ 35 w 642"/>
                <a:gd name="T13" fmla="*/ 53 h 708"/>
                <a:gd name="T14" fmla="*/ 33 w 642"/>
                <a:gd name="T15" fmla="*/ 55 h 708"/>
                <a:gd name="T16" fmla="*/ 32 w 642"/>
                <a:gd name="T17" fmla="*/ 56 h 708"/>
                <a:gd name="T18" fmla="*/ 31 w 642"/>
                <a:gd name="T19" fmla="*/ 59 h 708"/>
                <a:gd name="T20" fmla="*/ 26 w 642"/>
                <a:gd name="T21" fmla="*/ 59 h 708"/>
                <a:gd name="T22" fmla="*/ 23 w 642"/>
                <a:gd name="T23" fmla="*/ 61 h 708"/>
                <a:gd name="T24" fmla="*/ 20 w 642"/>
                <a:gd name="T25" fmla="*/ 61 h 708"/>
                <a:gd name="T26" fmla="*/ 17 w 642"/>
                <a:gd name="T27" fmla="*/ 59 h 708"/>
                <a:gd name="T28" fmla="*/ 15 w 642"/>
                <a:gd name="T29" fmla="*/ 56 h 708"/>
                <a:gd name="T30" fmla="*/ 9 w 642"/>
                <a:gd name="T31" fmla="*/ 58 h 708"/>
                <a:gd name="T32" fmla="*/ 6 w 642"/>
                <a:gd name="T33" fmla="*/ 52 h 708"/>
                <a:gd name="T34" fmla="*/ 2 w 642"/>
                <a:gd name="T35" fmla="*/ 53 h 708"/>
                <a:gd name="T36" fmla="*/ 1 w 642"/>
                <a:gd name="T37" fmla="*/ 51 h 708"/>
                <a:gd name="T38" fmla="*/ 4 w 642"/>
                <a:gd name="T39" fmla="*/ 47 h 708"/>
                <a:gd name="T40" fmla="*/ 5 w 642"/>
                <a:gd name="T41" fmla="*/ 41 h 708"/>
                <a:gd name="T42" fmla="*/ 5 w 642"/>
                <a:gd name="T43" fmla="*/ 38 h 708"/>
                <a:gd name="T44" fmla="*/ 5 w 642"/>
                <a:gd name="T45" fmla="*/ 35 h 708"/>
                <a:gd name="T46" fmla="*/ 6 w 642"/>
                <a:gd name="T47" fmla="*/ 33 h 708"/>
                <a:gd name="T48" fmla="*/ 5 w 642"/>
                <a:gd name="T49" fmla="*/ 29 h 708"/>
                <a:gd name="T50" fmla="*/ 4 w 642"/>
                <a:gd name="T51" fmla="*/ 28 h 708"/>
                <a:gd name="T52" fmla="*/ 1 w 642"/>
                <a:gd name="T53" fmla="*/ 26 h 708"/>
                <a:gd name="T54" fmla="*/ 1 w 642"/>
                <a:gd name="T55" fmla="*/ 24 h 708"/>
                <a:gd name="T56" fmla="*/ 1 w 642"/>
                <a:gd name="T57" fmla="*/ 20 h 708"/>
                <a:gd name="T58" fmla="*/ 1 w 642"/>
                <a:gd name="T59" fmla="*/ 16 h 708"/>
                <a:gd name="T60" fmla="*/ 2 w 642"/>
                <a:gd name="T61" fmla="*/ 14 h 708"/>
                <a:gd name="T62" fmla="*/ 8 w 642"/>
                <a:gd name="T63" fmla="*/ 14 h 708"/>
                <a:gd name="T64" fmla="*/ 9 w 642"/>
                <a:gd name="T65" fmla="*/ 10 h 708"/>
                <a:gd name="T66" fmla="*/ 15 w 642"/>
                <a:gd name="T67" fmla="*/ 9 h 708"/>
                <a:gd name="T68" fmla="*/ 18 w 642"/>
                <a:gd name="T69" fmla="*/ 14 h 708"/>
                <a:gd name="T70" fmla="*/ 20 w 642"/>
                <a:gd name="T71" fmla="*/ 12 h 708"/>
                <a:gd name="T72" fmla="*/ 20 w 642"/>
                <a:gd name="T73" fmla="*/ 11 h 708"/>
                <a:gd name="T74" fmla="*/ 21 w 642"/>
                <a:gd name="T75" fmla="*/ 9 h 708"/>
                <a:gd name="T76" fmla="*/ 24 w 642"/>
                <a:gd name="T77" fmla="*/ 9 h 708"/>
                <a:gd name="T78" fmla="*/ 27 w 642"/>
                <a:gd name="T79" fmla="*/ 8 h 708"/>
                <a:gd name="T80" fmla="*/ 33 w 642"/>
                <a:gd name="T81" fmla="*/ 2 h 708"/>
                <a:gd name="T82" fmla="*/ 42 w 642"/>
                <a:gd name="T83" fmla="*/ 2 h 708"/>
                <a:gd name="T84" fmla="*/ 49 w 642"/>
                <a:gd name="T85" fmla="*/ 1 h 708"/>
                <a:gd name="T86" fmla="*/ 53 w 642"/>
                <a:gd name="T87" fmla="*/ 4 h 708"/>
                <a:gd name="T88" fmla="*/ 55 w 642"/>
                <a:gd name="T89" fmla="*/ 4 h 708"/>
                <a:gd name="T90" fmla="*/ 55 w 642"/>
                <a:gd name="T91" fmla="*/ 7 h 708"/>
                <a:gd name="T92" fmla="*/ 52 w 642"/>
                <a:gd name="T93" fmla="*/ 9 h 708"/>
                <a:gd name="T94" fmla="*/ 49 w 642"/>
                <a:gd name="T95" fmla="*/ 12 h 708"/>
                <a:gd name="T96" fmla="*/ 47 w 642"/>
                <a:gd name="T97" fmla="*/ 14 h 708"/>
                <a:gd name="T98" fmla="*/ 47 w 642"/>
                <a:gd name="T99" fmla="*/ 17 h 708"/>
                <a:gd name="T100" fmla="*/ 45 w 642"/>
                <a:gd name="T101" fmla="*/ 26 h 708"/>
                <a:gd name="T102" fmla="*/ 50 w 642"/>
                <a:gd name="T103" fmla="*/ 37 h 70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42"/>
                <a:gd name="T157" fmla="*/ 0 h 708"/>
                <a:gd name="T158" fmla="*/ 642 w 642"/>
                <a:gd name="T159" fmla="*/ 708 h 70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42" h="708">
                  <a:moveTo>
                    <a:pt x="576" y="468"/>
                  </a:moveTo>
                  <a:lnTo>
                    <a:pt x="564" y="468"/>
                  </a:lnTo>
                  <a:lnTo>
                    <a:pt x="516" y="468"/>
                  </a:lnTo>
                  <a:lnTo>
                    <a:pt x="498" y="474"/>
                  </a:lnTo>
                  <a:lnTo>
                    <a:pt x="492" y="468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68" y="474"/>
                  </a:lnTo>
                  <a:lnTo>
                    <a:pt x="456" y="468"/>
                  </a:lnTo>
                  <a:lnTo>
                    <a:pt x="444" y="474"/>
                  </a:lnTo>
                  <a:lnTo>
                    <a:pt x="438" y="492"/>
                  </a:lnTo>
                  <a:lnTo>
                    <a:pt x="438" y="504"/>
                  </a:lnTo>
                  <a:lnTo>
                    <a:pt x="432" y="516"/>
                  </a:lnTo>
                  <a:lnTo>
                    <a:pt x="432" y="528"/>
                  </a:lnTo>
                  <a:lnTo>
                    <a:pt x="432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52"/>
                  </a:lnTo>
                  <a:lnTo>
                    <a:pt x="432" y="558"/>
                  </a:lnTo>
                  <a:lnTo>
                    <a:pt x="438" y="564"/>
                  </a:lnTo>
                  <a:lnTo>
                    <a:pt x="444" y="564"/>
                  </a:lnTo>
                  <a:lnTo>
                    <a:pt x="438" y="564"/>
                  </a:lnTo>
                  <a:lnTo>
                    <a:pt x="438" y="570"/>
                  </a:lnTo>
                  <a:lnTo>
                    <a:pt x="432" y="570"/>
                  </a:lnTo>
                  <a:lnTo>
                    <a:pt x="432" y="576"/>
                  </a:lnTo>
                  <a:lnTo>
                    <a:pt x="426" y="588"/>
                  </a:lnTo>
                  <a:lnTo>
                    <a:pt x="420" y="594"/>
                  </a:lnTo>
                  <a:lnTo>
                    <a:pt x="420" y="600"/>
                  </a:lnTo>
                  <a:lnTo>
                    <a:pt x="414" y="600"/>
                  </a:lnTo>
                  <a:lnTo>
                    <a:pt x="414" y="606"/>
                  </a:lnTo>
                  <a:lnTo>
                    <a:pt x="408" y="606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396" y="612"/>
                  </a:lnTo>
                  <a:lnTo>
                    <a:pt x="390" y="612"/>
                  </a:lnTo>
                  <a:lnTo>
                    <a:pt x="390" y="618"/>
                  </a:lnTo>
                  <a:lnTo>
                    <a:pt x="384" y="618"/>
                  </a:lnTo>
                  <a:lnTo>
                    <a:pt x="378" y="618"/>
                  </a:lnTo>
                  <a:lnTo>
                    <a:pt x="378" y="624"/>
                  </a:lnTo>
                  <a:lnTo>
                    <a:pt x="384" y="630"/>
                  </a:lnTo>
                  <a:lnTo>
                    <a:pt x="384" y="636"/>
                  </a:lnTo>
                  <a:lnTo>
                    <a:pt x="378" y="630"/>
                  </a:lnTo>
                  <a:lnTo>
                    <a:pt x="372" y="636"/>
                  </a:lnTo>
                  <a:lnTo>
                    <a:pt x="372" y="642"/>
                  </a:lnTo>
                  <a:lnTo>
                    <a:pt x="366" y="642"/>
                  </a:lnTo>
                  <a:lnTo>
                    <a:pt x="360" y="654"/>
                  </a:lnTo>
                  <a:lnTo>
                    <a:pt x="354" y="666"/>
                  </a:lnTo>
                  <a:lnTo>
                    <a:pt x="354" y="672"/>
                  </a:lnTo>
                  <a:lnTo>
                    <a:pt x="354" y="678"/>
                  </a:lnTo>
                  <a:lnTo>
                    <a:pt x="354" y="684"/>
                  </a:lnTo>
                  <a:lnTo>
                    <a:pt x="348" y="678"/>
                  </a:lnTo>
                  <a:lnTo>
                    <a:pt x="324" y="678"/>
                  </a:lnTo>
                  <a:lnTo>
                    <a:pt x="306" y="678"/>
                  </a:lnTo>
                  <a:lnTo>
                    <a:pt x="294" y="678"/>
                  </a:lnTo>
                  <a:lnTo>
                    <a:pt x="288" y="684"/>
                  </a:lnTo>
                  <a:lnTo>
                    <a:pt x="276" y="690"/>
                  </a:lnTo>
                  <a:lnTo>
                    <a:pt x="270" y="696"/>
                  </a:lnTo>
                  <a:lnTo>
                    <a:pt x="264" y="696"/>
                  </a:lnTo>
                  <a:lnTo>
                    <a:pt x="258" y="696"/>
                  </a:lnTo>
                  <a:lnTo>
                    <a:pt x="252" y="696"/>
                  </a:lnTo>
                  <a:lnTo>
                    <a:pt x="252" y="690"/>
                  </a:lnTo>
                  <a:lnTo>
                    <a:pt x="246" y="690"/>
                  </a:lnTo>
                  <a:lnTo>
                    <a:pt x="234" y="690"/>
                  </a:lnTo>
                  <a:lnTo>
                    <a:pt x="222" y="696"/>
                  </a:lnTo>
                  <a:lnTo>
                    <a:pt x="216" y="708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8" y="690"/>
                  </a:lnTo>
                  <a:lnTo>
                    <a:pt x="198" y="684"/>
                  </a:lnTo>
                  <a:lnTo>
                    <a:pt x="198" y="678"/>
                  </a:lnTo>
                  <a:lnTo>
                    <a:pt x="198" y="672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74" y="648"/>
                  </a:lnTo>
                  <a:lnTo>
                    <a:pt x="162" y="642"/>
                  </a:lnTo>
                  <a:lnTo>
                    <a:pt x="156" y="636"/>
                  </a:lnTo>
                  <a:lnTo>
                    <a:pt x="132" y="642"/>
                  </a:lnTo>
                  <a:lnTo>
                    <a:pt x="120" y="654"/>
                  </a:lnTo>
                  <a:lnTo>
                    <a:pt x="108" y="660"/>
                  </a:lnTo>
                  <a:lnTo>
                    <a:pt x="102" y="666"/>
                  </a:lnTo>
                  <a:lnTo>
                    <a:pt x="84" y="666"/>
                  </a:lnTo>
                  <a:lnTo>
                    <a:pt x="84" y="630"/>
                  </a:lnTo>
                  <a:lnTo>
                    <a:pt x="78" y="594"/>
                  </a:lnTo>
                  <a:lnTo>
                    <a:pt x="66" y="594"/>
                  </a:lnTo>
                  <a:lnTo>
                    <a:pt x="60" y="594"/>
                  </a:lnTo>
                  <a:lnTo>
                    <a:pt x="48" y="600"/>
                  </a:lnTo>
                  <a:lnTo>
                    <a:pt x="36" y="606"/>
                  </a:lnTo>
                  <a:lnTo>
                    <a:pt x="24" y="612"/>
                  </a:lnTo>
                  <a:lnTo>
                    <a:pt x="18" y="612"/>
                  </a:lnTo>
                  <a:lnTo>
                    <a:pt x="12" y="606"/>
                  </a:lnTo>
                  <a:lnTo>
                    <a:pt x="12" y="600"/>
                  </a:lnTo>
                  <a:lnTo>
                    <a:pt x="12" y="594"/>
                  </a:lnTo>
                  <a:lnTo>
                    <a:pt x="12" y="588"/>
                  </a:lnTo>
                  <a:lnTo>
                    <a:pt x="12" y="582"/>
                  </a:lnTo>
                  <a:lnTo>
                    <a:pt x="12" y="576"/>
                  </a:lnTo>
                  <a:lnTo>
                    <a:pt x="18" y="552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42" y="534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48" y="492"/>
                  </a:lnTo>
                  <a:lnTo>
                    <a:pt x="48" y="480"/>
                  </a:lnTo>
                  <a:lnTo>
                    <a:pt x="54" y="468"/>
                  </a:lnTo>
                  <a:lnTo>
                    <a:pt x="48" y="456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66" y="390"/>
                  </a:lnTo>
                  <a:lnTo>
                    <a:pt x="72" y="384"/>
                  </a:lnTo>
                  <a:lnTo>
                    <a:pt x="72" y="378"/>
                  </a:lnTo>
                  <a:lnTo>
                    <a:pt x="66" y="378"/>
                  </a:lnTo>
                  <a:lnTo>
                    <a:pt x="66" y="366"/>
                  </a:lnTo>
                  <a:lnTo>
                    <a:pt x="60" y="360"/>
                  </a:lnTo>
                  <a:lnTo>
                    <a:pt x="66" y="354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48" y="312"/>
                  </a:lnTo>
                  <a:lnTo>
                    <a:pt x="30" y="312"/>
                  </a:lnTo>
                  <a:lnTo>
                    <a:pt x="24" y="306"/>
                  </a:lnTo>
                  <a:lnTo>
                    <a:pt x="18" y="306"/>
                  </a:lnTo>
                  <a:lnTo>
                    <a:pt x="12" y="294"/>
                  </a:lnTo>
                  <a:lnTo>
                    <a:pt x="12" y="282"/>
                  </a:lnTo>
                  <a:lnTo>
                    <a:pt x="6" y="276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12" y="270"/>
                  </a:lnTo>
                  <a:lnTo>
                    <a:pt x="12" y="246"/>
                  </a:lnTo>
                  <a:lnTo>
                    <a:pt x="12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8" y="174"/>
                  </a:lnTo>
                  <a:lnTo>
                    <a:pt x="12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48" y="162"/>
                  </a:lnTo>
                  <a:lnTo>
                    <a:pt x="72" y="162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84" y="132"/>
                  </a:lnTo>
                  <a:lnTo>
                    <a:pt x="90" y="120"/>
                  </a:lnTo>
                  <a:lnTo>
                    <a:pt x="108" y="114"/>
                  </a:lnTo>
                  <a:lnTo>
                    <a:pt x="114" y="102"/>
                  </a:lnTo>
                  <a:lnTo>
                    <a:pt x="120" y="90"/>
                  </a:lnTo>
                  <a:lnTo>
                    <a:pt x="138" y="90"/>
                  </a:lnTo>
                  <a:lnTo>
                    <a:pt x="138" y="102"/>
                  </a:lnTo>
                  <a:lnTo>
                    <a:pt x="168" y="108"/>
                  </a:lnTo>
                  <a:lnTo>
                    <a:pt x="168" y="114"/>
                  </a:lnTo>
                  <a:lnTo>
                    <a:pt x="174" y="126"/>
                  </a:lnTo>
                  <a:lnTo>
                    <a:pt x="186" y="150"/>
                  </a:lnTo>
                  <a:lnTo>
                    <a:pt x="186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34" y="144"/>
                  </a:lnTo>
                  <a:lnTo>
                    <a:pt x="240" y="138"/>
                  </a:lnTo>
                  <a:lnTo>
                    <a:pt x="240" y="126"/>
                  </a:lnTo>
                  <a:lnTo>
                    <a:pt x="234" y="126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34" y="102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82" y="102"/>
                  </a:lnTo>
                  <a:lnTo>
                    <a:pt x="288" y="102"/>
                  </a:lnTo>
                  <a:lnTo>
                    <a:pt x="294" y="102"/>
                  </a:lnTo>
                  <a:lnTo>
                    <a:pt x="300" y="96"/>
                  </a:lnTo>
                  <a:lnTo>
                    <a:pt x="306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84"/>
                  </a:lnTo>
                  <a:lnTo>
                    <a:pt x="324" y="18"/>
                  </a:lnTo>
                  <a:lnTo>
                    <a:pt x="360" y="18"/>
                  </a:lnTo>
                  <a:lnTo>
                    <a:pt x="378" y="18"/>
                  </a:lnTo>
                  <a:lnTo>
                    <a:pt x="378" y="30"/>
                  </a:lnTo>
                  <a:lnTo>
                    <a:pt x="390" y="30"/>
                  </a:lnTo>
                  <a:lnTo>
                    <a:pt x="432" y="30"/>
                  </a:lnTo>
                  <a:lnTo>
                    <a:pt x="456" y="24"/>
                  </a:lnTo>
                  <a:lnTo>
                    <a:pt x="480" y="24"/>
                  </a:lnTo>
                  <a:lnTo>
                    <a:pt x="498" y="30"/>
                  </a:lnTo>
                  <a:lnTo>
                    <a:pt x="522" y="18"/>
                  </a:lnTo>
                  <a:lnTo>
                    <a:pt x="528" y="0"/>
                  </a:lnTo>
                  <a:lnTo>
                    <a:pt x="558" y="6"/>
                  </a:lnTo>
                  <a:lnTo>
                    <a:pt x="558" y="12"/>
                  </a:lnTo>
                  <a:lnTo>
                    <a:pt x="570" y="18"/>
                  </a:lnTo>
                  <a:lnTo>
                    <a:pt x="576" y="24"/>
                  </a:lnTo>
                  <a:lnTo>
                    <a:pt x="588" y="36"/>
                  </a:lnTo>
                  <a:lnTo>
                    <a:pt x="594" y="48"/>
                  </a:lnTo>
                  <a:lnTo>
                    <a:pt x="606" y="48"/>
                  </a:lnTo>
                  <a:lnTo>
                    <a:pt x="606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42"/>
                  </a:lnTo>
                  <a:lnTo>
                    <a:pt x="636" y="42"/>
                  </a:lnTo>
                  <a:lnTo>
                    <a:pt x="636" y="48"/>
                  </a:lnTo>
                  <a:lnTo>
                    <a:pt x="642" y="54"/>
                  </a:lnTo>
                  <a:lnTo>
                    <a:pt x="636" y="60"/>
                  </a:lnTo>
                  <a:lnTo>
                    <a:pt x="636" y="66"/>
                  </a:lnTo>
                  <a:lnTo>
                    <a:pt x="636" y="78"/>
                  </a:lnTo>
                  <a:lnTo>
                    <a:pt x="624" y="84"/>
                  </a:lnTo>
                  <a:lnTo>
                    <a:pt x="618" y="90"/>
                  </a:lnTo>
                  <a:lnTo>
                    <a:pt x="612" y="90"/>
                  </a:lnTo>
                  <a:lnTo>
                    <a:pt x="600" y="102"/>
                  </a:lnTo>
                  <a:lnTo>
                    <a:pt x="594" y="108"/>
                  </a:lnTo>
                  <a:lnTo>
                    <a:pt x="582" y="114"/>
                  </a:lnTo>
                  <a:lnTo>
                    <a:pt x="570" y="132"/>
                  </a:lnTo>
                  <a:lnTo>
                    <a:pt x="564" y="132"/>
                  </a:lnTo>
                  <a:lnTo>
                    <a:pt x="564" y="138"/>
                  </a:lnTo>
                  <a:lnTo>
                    <a:pt x="558" y="144"/>
                  </a:lnTo>
                  <a:lnTo>
                    <a:pt x="558" y="150"/>
                  </a:lnTo>
                  <a:lnTo>
                    <a:pt x="552" y="150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0" y="162"/>
                  </a:lnTo>
                  <a:lnTo>
                    <a:pt x="534" y="168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6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28" y="234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16" y="294"/>
                  </a:lnTo>
                  <a:lnTo>
                    <a:pt x="516" y="312"/>
                  </a:lnTo>
                  <a:lnTo>
                    <a:pt x="528" y="318"/>
                  </a:lnTo>
                  <a:lnTo>
                    <a:pt x="540" y="360"/>
                  </a:lnTo>
                  <a:lnTo>
                    <a:pt x="558" y="408"/>
                  </a:lnTo>
                  <a:lnTo>
                    <a:pt x="570" y="426"/>
                  </a:lnTo>
                  <a:lnTo>
                    <a:pt x="576" y="432"/>
                  </a:lnTo>
                  <a:lnTo>
                    <a:pt x="576" y="438"/>
                  </a:lnTo>
                  <a:lnTo>
                    <a:pt x="576" y="444"/>
                  </a:lnTo>
                  <a:lnTo>
                    <a:pt x="576" y="46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3" name="Freeform 28">
              <a:extLst>
                <a:ext uri="{FF2B5EF4-FFF2-40B4-BE49-F238E27FC236}">
                  <a16:creationId xmlns:a16="http://schemas.microsoft.com/office/drawing/2014/main" id="{CF9B4F31-BF73-448E-83AA-188F6CF1BDC5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4879" y="3432583"/>
              <a:ext cx="324248" cy="270616"/>
            </a:xfrm>
            <a:custGeom>
              <a:avLst/>
              <a:gdLst>
                <a:gd name="T0" fmla="*/ 5 w 606"/>
                <a:gd name="T1" fmla="*/ 36 h 510"/>
                <a:gd name="T2" fmla="*/ 4 w 606"/>
                <a:gd name="T3" fmla="*/ 34 h 510"/>
                <a:gd name="T4" fmla="*/ 0 w 606"/>
                <a:gd name="T5" fmla="*/ 25 h 510"/>
                <a:gd name="T6" fmla="*/ 1 w 606"/>
                <a:gd name="T7" fmla="*/ 20 h 510"/>
                <a:gd name="T8" fmla="*/ 2 w 606"/>
                <a:gd name="T9" fmla="*/ 15 h 510"/>
                <a:gd name="T10" fmla="*/ 2 w 606"/>
                <a:gd name="T11" fmla="*/ 13 h 510"/>
                <a:gd name="T12" fmla="*/ 3 w 606"/>
                <a:gd name="T13" fmla="*/ 12 h 510"/>
                <a:gd name="T14" fmla="*/ 4 w 606"/>
                <a:gd name="T15" fmla="*/ 11 h 510"/>
                <a:gd name="T16" fmla="*/ 4 w 606"/>
                <a:gd name="T17" fmla="*/ 10 h 510"/>
                <a:gd name="T18" fmla="*/ 7 w 606"/>
                <a:gd name="T19" fmla="*/ 8 h 510"/>
                <a:gd name="T20" fmla="*/ 9 w 606"/>
                <a:gd name="T21" fmla="*/ 6 h 510"/>
                <a:gd name="T22" fmla="*/ 11 w 606"/>
                <a:gd name="T23" fmla="*/ 4 h 510"/>
                <a:gd name="T24" fmla="*/ 12 w 606"/>
                <a:gd name="T25" fmla="*/ 3 h 510"/>
                <a:gd name="T26" fmla="*/ 13 w 606"/>
                <a:gd name="T27" fmla="*/ 4 h 510"/>
                <a:gd name="T28" fmla="*/ 15 w 606"/>
                <a:gd name="T29" fmla="*/ 2 h 510"/>
                <a:gd name="T30" fmla="*/ 17 w 606"/>
                <a:gd name="T31" fmla="*/ 2 h 510"/>
                <a:gd name="T32" fmla="*/ 19 w 606"/>
                <a:gd name="T33" fmla="*/ 5 h 510"/>
                <a:gd name="T34" fmla="*/ 22 w 606"/>
                <a:gd name="T35" fmla="*/ 5 h 510"/>
                <a:gd name="T36" fmla="*/ 25 w 606"/>
                <a:gd name="T37" fmla="*/ 6 h 510"/>
                <a:gd name="T38" fmla="*/ 29 w 606"/>
                <a:gd name="T39" fmla="*/ 1 h 510"/>
                <a:gd name="T40" fmla="*/ 38 w 606"/>
                <a:gd name="T41" fmla="*/ 0 h 510"/>
                <a:gd name="T42" fmla="*/ 38 w 606"/>
                <a:gd name="T43" fmla="*/ 5 h 510"/>
                <a:gd name="T44" fmla="*/ 41 w 606"/>
                <a:gd name="T45" fmla="*/ 4 h 510"/>
                <a:gd name="T46" fmla="*/ 45 w 606"/>
                <a:gd name="T47" fmla="*/ 2 h 510"/>
                <a:gd name="T48" fmla="*/ 46 w 606"/>
                <a:gd name="T49" fmla="*/ 2 h 510"/>
                <a:gd name="T50" fmla="*/ 47 w 606"/>
                <a:gd name="T51" fmla="*/ 5 h 510"/>
                <a:gd name="T52" fmla="*/ 45 w 606"/>
                <a:gd name="T53" fmla="*/ 6 h 510"/>
                <a:gd name="T54" fmla="*/ 45 w 606"/>
                <a:gd name="T55" fmla="*/ 7 h 510"/>
                <a:gd name="T56" fmla="*/ 43 w 606"/>
                <a:gd name="T57" fmla="*/ 8 h 510"/>
                <a:gd name="T58" fmla="*/ 45 w 606"/>
                <a:gd name="T59" fmla="*/ 15 h 510"/>
                <a:gd name="T60" fmla="*/ 49 w 606"/>
                <a:gd name="T61" fmla="*/ 15 h 510"/>
                <a:gd name="T62" fmla="*/ 51 w 606"/>
                <a:gd name="T63" fmla="*/ 15 h 510"/>
                <a:gd name="T64" fmla="*/ 53 w 606"/>
                <a:gd name="T65" fmla="*/ 16 h 510"/>
                <a:gd name="T66" fmla="*/ 52 w 606"/>
                <a:gd name="T67" fmla="*/ 20 h 510"/>
                <a:gd name="T68" fmla="*/ 48 w 606"/>
                <a:gd name="T69" fmla="*/ 23 h 510"/>
                <a:gd name="T70" fmla="*/ 45 w 606"/>
                <a:gd name="T71" fmla="*/ 25 h 510"/>
                <a:gd name="T72" fmla="*/ 44 w 606"/>
                <a:gd name="T73" fmla="*/ 28 h 510"/>
                <a:gd name="T74" fmla="*/ 43 w 606"/>
                <a:gd name="T75" fmla="*/ 33 h 510"/>
                <a:gd name="T76" fmla="*/ 39 w 606"/>
                <a:gd name="T77" fmla="*/ 38 h 510"/>
                <a:gd name="T78" fmla="*/ 37 w 606"/>
                <a:gd name="T79" fmla="*/ 41 h 510"/>
                <a:gd name="T80" fmla="*/ 31 w 606"/>
                <a:gd name="T81" fmla="*/ 44 h 510"/>
                <a:gd name="T82" fmla="*/ 28 w 606"/>
                <a:gd name="T83" fmla="*/ 43 h 510"/>
                <a:gd name="T84" fmla="*/ 28 w 606"/>
                <a:gd name="T85" fmla="*/ 41 h 510"/>
                <a:gd name="T86" fmla="*/ 28 w 606"/>
                <a:gd name="T87" fmla="*/ 40 h 510"/>
                <a:gd name="T88" fmla="*/ 27 w 606"/>
                <a:gd name="T89" fmla="*/ 38 h 510"/>
                <a:gd name="T90" fmla="*/ 27 w 606"/>
                <a:gd name="T91" fmla="*/ 36 h 510"/>
                <a:gd name="T92" fmla="*/ 24 w 606"/>
                <a:gd name="T93" fmla="*/ 35 h 510"/>
                <a:gd name="T94" fmla="*/ 16 w 606"/>
                <a:gd name="T95" fmla="*/ 34 h 510"/>
                <a:gd name="T96" fmla="*/ 13 w 606"/>
                <a:gd name="T97" fmla="*/ 34 h 510"/>
                <a:gd name="T98" fmla="*/ 9 w 606"/>
                <a:gd name="T99" fmla="*/ 36 h 510"/>
                <a:gd name="T100" fmla="*/ 8 w 606"/>
                <a:gd name="T101" fmla="*/ 38 h 510"/>
                <a:gd name="T102" fmla="*/ 7 w 606"/>
                <a:gd name="T103" fmla="*/ 39 h 51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06"/>
                <a:gd name="T157" fmla="*/ 0 h 510"/>
                <a:gd name="T158" fmla="*/ 606 w 606"/>
                <a:gd name="T159" fmla="*/ 510 h 51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06" h="510">
                  <a:moveTo>
                    <a:pt x="60" y="450"/>
                  </a:move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42" y="390"/>
                  </a:lnTo>
                  <a:lnTo>
                    <a:pt x="24" y="342"/>
                  </a:lnTo>
                  <a:lnTo>
                    <a:pt x="12" y="300"/>
                  </a:lnTo>
                  <a:lnTo>
                    <a:pt x="0" y="294"/>
                  </a:lnTo>
                  <a:lnTo>
                    <a:pt x="0" y="276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24" y="192"/>
                  </a:lnTo>
                  <a:lnTo>
                    <a:pt x="24" y="180"/>
                  </a:lnTo>
                  <a:lnTo>
                    <a:pt x="24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6" y="96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108" y="66"/>
                  </a:lnTo>
                  <a:lnTo>
                    <a:pt x="120" y="60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36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62" y="36"/>
                  </a:lnTo>
                  <a:lnTo>
                    <a:pt x="162" y="30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0" y="54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46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76" y="66"/>
                  </a:lnTo>
                  <a:lnTo>
                    <a:pt x="312" y="66"/>
                  </a:lnTo>
                  <a:lnTo>
                    <a:pt x="318" y="60"/>
                  </a:lnTo>
                  <a:lnTo>
                    <a:pt x="330" y="12"/>
                  </a:lnTo>
                  <a:lnTo>
                    <a:pt x="414" y="6"/>
                  </a:lnTo>
                  <a:lnTo>
                    <a:pt x="420" y="0"/>
                  </a:lnTo>
                  <a:lnTo>
                    <a:pt x="426" y="6"/>
                  </a:lnTo>
                  <a:lnTo>
                    <a:pt x="426" y="12"/>
                  </a:lnTo>
                  <a:lnTo>
                    <a:pt x="426" y="54"/>
                  </a:lnTo>
                  <a:lnTo>
                    <a:pt x="432" y="54"/>
                  </a:lnTo>
                  <a:lnTo>
                    <a:pt x="444" y="54"/>
                  </a:lnTo>
                  <a:lnTo>
                    <a:pt x="450" y="42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86" y="24"/>
                  </a:lnTo>
                  <a:lnTo>
                    <a:pt x="504" y="18"/>
                  </a:lnTo>
                  <a:lnTo>
                    <a:pt x="510" y="12"/>
                  </a:lnTo>
                  <a:lnTo>
                    <a:pt x="516" y="18"/>
                  </a:lnTo>
                  <a:lnTo>
                    <a:pt x="522" y="24"/>
                  </a:lnTo>
                  <a:lnTo>
                    <a:pt x="510" y="30"/>
                  </a:lnTo>
                  <a:lnTo>
                    <a:pt x="516" y="48"/>
                  </a:lnTo>
                  <a:lnTo>
                    <a:pt x="528" y="54"/>
                  </a:lnTo>
                  <a:lnTo>
                    <a:pt x="522" y="60"/>
                  </a:lnTo>
                  <a:lnTo>
                    <a:pt x="516" y="66"/>
                  </a:lnTo>
                  <a:lnTo>
                    <a:pt x="516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0" y="84"/>
                  </a:lnTo>
                  <a:lnTo>
                    <a:pt x="510" y="90"/>
                  </a:lnTo>
                  <a:lnTo>
                    <a:pt x="504" y="90"/>
                  </a:lnTo>
                  <a:lnTo>
                    <a:pt x="486" y="90"/>
                  </a:lnTo>
                  <a:lnTo>
                    <a:pt x="492" y="138"/>
                  </a:lnTo>
                  <a:lnTo>
                    <a:pt x="498" y="168"/>
                  </a:lnTo>
                  <a:lnTo>
                    <a:pt x="516" y="168"/>
                  </a:lnTo>
                  <a:lnTo>
                    <a:pt x="528" y="174"/>
                  </a:lnTo>
                  <a:lnTo>
                    <a:pt x="534" y="168"/>
                  </a:lnTo>
                  <a:lnTo>
                    <a:pt x="558" y="174"/>
                  </a:lnTo>
                  <a:lnTo>
                    <a:pt x="564" y="168"/>
                  </a:lnTo>
                  <a:lnTo>
                    <a:pt x="570" y="168"/>
                  </a:lnTo>
                  <a:lnTo>
                    <a:pt x="576" y="174"/>
                  </a:lnTo>
                  <a:lnTo>
                    <a:pt x="588" y="168"/>
                  </a:lnTo>
                  <a:lnTo>
                    <a:pt x="594" y="168"/>
                  </a:lnTo>
                  <a:lnTo>
                    <a:pt x="594" y="186"/>
                  </a:lnTo>
                  <a:lnTo>
                    <a:pt x="606" y="198"/>
                  </a:lnTo>
                  <a:lnTo>
                    <a:pt x="600" y="210"/>
                  </a:lnTo>
                  <a:lnTo>
                    <a:pt x="588" y="234"/>
                  </a:lnTo>
                  <a:lnTo>
                    <a:pt x="564" y="246"/>
                  </a:lnTo>
                  <a:lnTo>
                    <a:pt x="546" y="258"/>
                  </a:lnTo>
                  <a:lnTo>
                    <a:pt x="540" y="270"/>
                  </a:lnTo>
                  <a:lnTo>
                    <a:pt x="534" y="294"/>
                  </a:lnTo>
                  <a:lnTo>
                    <a:pt x="528" y="300"/>
                  </a:lnTo>
                  <a:lnTo>
                    <a:pt x="516" y="294"/>
                  </a:lnTo>
                  <a:lnTo>
                    <a:pt x="510" y="300"/>
                  </a:lnTo>
                  <a:lnTo>
                    <a:pt x="498" y="318"/>
                  </a:lnTo>
                  <a:lnTo>
                    <a:pt x="492" y="324"/>
                  </a:lnTo>
                  <a:lnTo>
                    <a:pt x="486" y="336"/>
                  </a:lnTo>
                  <a:lnTo>
                    <a:pt x="486" y="354"/>
                  </a:lnTo>
                  <a:lnTo>
                    <a:pt x="486" y="384"/>
                  </a:lnTo>
                  <a:lnTo>
                    <a:pt x="474" y="408"/>
                  </a:lnTo>
                  <a:lnTo>
                    <a:pt x="450" y="426"/>
                  </a:lnTo>
                  <a:lnTo>
                    <a:pt x="444" y="444"/>
                  </a:lnTo>
                  <a:lnTo>
                    <a:pt x="426" y="474"/>
                  </a:lnTo>
                  <a:lnTo>
                    <a:pt x="420" y="486"/>
                  </a:lnTo>
                  <a:lnTo>
                    <a:pt x="414" y="486"/>
                  </a:lnTo>
                  <a:lnTo>
                    <a:pt x="414" y="498"/>
                  </a:lnTo>
                  <a:lnTo>
                    <a:pt x="378" y="504"/>
                  </a:lnTo>
                  <a:lnTo>
                    <a:pt x="348" y="510"/>
                  </a:lnTo>
                  <a:lnTo>
                    <a:pt x="330" y="510"/>
                  </a:lnTo>
                  <a:lnTo>
                    <a:pt x="324" y="504"/>
                  </a:lnTo>
                  <a:lnTo>
                    <a:pt x="318" y="504"/>
                  </a:lnTo>
                  <a:lnTo>
                    <a:pt x="312" y="504"/>
                  </a:lnTo>
                  <a:lnTo>
                    <a:pt x="312" y="498"/>
                  </a:lnTo>
                  <a:lnTo>
                    <a:pt x="312" y="486"/>
                  </a:lnTo>
                  <a:lnTo>
                    <a:pt x="312" y="480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56"/>
                  </a:lnTo>
                  <a:lnTo>
                    <a:pt x="312" y="450"/>
                  </a:lnTo>
                  <a:lnTo>
                    <a:pt x="306" y="444"/>
                  </a:lnTo>
                  <a:lnTo>
                    <a:pt x="306" y="438"/>
                  </a:lnTo>
                  <a:lnTo>
                    <a:pt x="300" y="426"/>
                  </a:lnTo>
                  <a:lnTo>
                    <a:pt x="300" y="420"/>
                  </a:lnTo>
                  <a:lnTo>
                    <a:pt x="294" y="414"/>
                  </a:lnTo>
                  <a:lnTo>
                    <a:pt x="294" y="408"/>
                  </a:lnTo>
                  <a:lnTo>
                    <a:pt x="270" y="408"/>
                  </a:lnTo>
                  <a:lnTo>
                    <a:pt x="246" y="408"/>
                  </a:lnTo>
                  <a:lnTo>
                    <a:pt x="222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56" y="402"/>
                  </a:lnTo>
                  <a:lnTo>
                    <a:pt x="144" y="396"/>
                  </a:lnTo>
                  <a:lnTo>
                    <a:pt x="126" y="396"/>
                  </a:lnTo>
                  <a:lnTo>
                    <a:pt x="108" y="408"/>
                  </a:lnTo>
                  <a:lnTo>
                    <a:pt x="102" y="414"/>
                  </a:lnTo>
                  <a:lnTo>
                    <a:pt x="102" y="420"/>
                  </a:lnTo>
                  <a:lnTo>
                    <a:pt x="96" y="426"/>
                  </a:lnTo>
                  <a:lnTo>
                    <a:pt x="96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78" y="450"/>
                  </a:lnTo>
                  <a:lnTo>
                    <a:pt x="60" y="45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4" name="Freeform 29">
              <a:extLst>
                <a:ext uri="{FF2B5EF4-FFF2-40B4-BE49-F238E27FC236}">
                  <a16:creationId xmlns:a16="http://schemas.microsoft.com/office/drawing/2014/main" id="{B6AC2B96-1504-4082-8778-17130FDA021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401" y="3537698"/>
              <a:ext cx="559048" cy="641876"/>
            </a:xfrm>
            <a:custGeom>
              <a:avLst/>
              <a:gdLst>
                <a:gd name="T0" fmla="*/ 39 w 1056"/>
                <a:gd name="T1" fmla="*/ 94 h 1206"/>
                <a:gd name="T2" fmla="*/ 35 w 1056"/>
                <a:gd name="T3" fmla="*/ 103 h 1206"/>
                <a:gd name="T4" fmla="*/ 29 w 1056"/>
                <a:gd name="T5" fmla="*/ 99 h 1206"/>
                <a:gd name="T6" fmla="*/ 23 w 1056"/>
                <a:gd name="T7" fmla="*/ 94 h 1206"/>
                <a:gd name="T8" fmla="*/ 21 w 1056"/>
                <a:gd name="T9" fmla="*/ 91 h 1206"/>
                <a:gd name="T10" fmla="*/ 18 w 1056"/>
                <a:gd name="T11" fmla="*/ 89 h 1206"/>
                <a:gd name="T12" fmla="*/ 15 w 1056"/>
                <a:gd name="T13" fmla="*/ 86 h 1206"/>
                <a:gd name="T14" fmla="*/ 11 w 1056"/>
                <a:gd name="T15" fmla="*/ 83 h 1206"/>
                <a:gd name="T16" fmla="*/ 8 w 1056"/>
                <a:gd name="T17" fmla="*/ 81 h 1206"/>
                <a:gd name="T18" fmla="*/ 6 w 1056"/>
                <a:gd name="T19" fmla="*/ 79 h 1206"/>
                <a:gd name="T20" fmla="*/ 13 w 1056"/>
                <a:gd name="T21" fmla="*/ 78 h 1206"/>
                <a:gd name="T22" fmla="*/ 8 w 1056"/>
                <a:gd name="T23" fmla="*/ 75 h 1206"/>
                <a:gd name="T24" fmla="*/ 13 w 1056"/>
                <a:gd name="T25" fmla="*/ 71 h 1206"/>
                <a:gd name="T26" fmla="*/ 10 w 1056"/>
                <a:gd name="T27" fmla="*/ 63 h 1206"/>
                <a:gd name="T28" fmla="*/ 6 w 1056"/>
                <a:gd name="T29" fmla="*/ 66 h 1206"/>
                <a:gd name="T30" fmla="*/ 1 w 1056"/>
                <a:gd name="T31" fmla="*/ 63 h 1206"/>
                <a:gd name="T32" fmla="*/ 1 w 1056"/>
                <a:gd name="T33" fmla="*/ 59 h 1206"/>
                <a:gd name="T34" fmla="*/ 3 w 1056"/>
                <a:gd name="T35" fmla="*/ 57 h 1206"/>
                <a:gd name="T36" fmla="*/ 6 w 1056"/>
                <a:gd name="T37" fmla="*/ 55 h 1206"/>
                <a:gd name="T38" fmla="*/ 10 w 1056"/>
                <a:gd name="T39" fmla="*/ 51 h 1206"/>
                <a:gd name="T40" fmla="*/ 11 w 1056"/>
                <a:gd name="T41" fmla="*/ 46 h 1206"/>
                <a:gd name="T42" fmla="*/ 14 w 1056"/>
                <a:gd name="T43" fmla="*/ 42 h 1206"/>
                <a:gd name="T44" fmla="*/ 15 w 1056"/>
                <a:gd name="T45" fmla="*/ 36 h 1206"/>
                <a:gd name="T46" fmla="*/ 17 w 1056"/>
                <a:gd name="T47" fmla="*/ 34 h 1206"/>
                <a:gd name="T48" fmla="*/ 20 w 1056"/>
                <a:gd name="T49" fmla="*/ 31 h 1206"/>
                <a:gd name="T50" fmla="*/ 21 w 1056"/>
                <a:gd name="T51" fmla="*/ 29 h 1206"/>
                <a:gd name="T52" fmla="*/ 23 w 1056"/>
                <a:gd name="T53" fmla="*/ 22 h 1206"/>
                <a:gd name="T54" fmla="*/ 35 w 1056"/>
                <a:gd name="T55" fmla="*/ 22 h 1206"/>
                <a:gd name="T56" fmla="*/ 41 w 1056"/>
                <a:gd name="T57" fmla="*/ 18 h 1206"/>
                <a:gd name="T58" fmla="*/ 54 w 1056"/>
                <a:gd name="T59" fmla="*/ 20 h 1206"/>
                <a:gd name="T60" fmla="*/ 54 w 1056"/>
                <a:gd name="T61" fmla="*/ 26 h 1206"/>
                <a:gd name="T62" fmla="*/ 64 w 1056"/>
                <a:gd name="T63" fmla="*/ 25 h 1206"/>
                <a:gd name="T64" fmla="*/ 71 w 1056"/>
                <a:gd name="T65" fmla="*/ 10 h 1206"/>
                <a:gd name="T66" fmla="*/ 80 w 1056"/>
                <a:gd name="T67" fmla="*/ 1 h 1206"/>
                <a:gd name="T68" fmla="*/ 86 w 1056"/>
                <a:gd name="T69" fmla="*/ 2 h 1206"/>
                <a:gd name="T70" fmla="*/ 91 w 1056"/>
                <a:gd name="T71" fmla="*/ 13 h 1206"/>
                <a:gd name="T72" fmla="*/ 88 w 1056"/>
                <a:gd name="T73" fmla="*/ 17 h 1206"/>
                <a:gd name="T74" fmla="*/ 89 w 1056"/>
                <a:gd name="T75" fmla="*/ 21 h 1206"/>
                <a:gd name="T76" fmla="*/ 86 w 1056"/>
                <a:gd name="T77" fmla="*/ 25 h 1206"/>
                <a:gd name="T78" fmla="*/ 85 w 1056"/>
                <a:gd name="T79" fmla="*/ 31 h 1206"/>
                <a:gd name="T80" fmla="*/ 83 w 1056"/>
                <a:gd name="T81" fmla="*/ 36 h 1206"/>
                <a:gd name="T82" fmla="*/ 80 w 1056"/>
                <a:gd name="T83" fmla="*/ 42 h 1206"/>
                <a:gd name="T84" fmla="*/ 80 w 1056"/>
                <a:gd name="T85" fmla="*/ 47 h 1206"/>
                <a:gd name="T86" fmla="*/ 77 w 1056"/>
                <a:gd name="T87" fmla="*/ 55 h 1206"/>
                <a:gd name="T88" fmla="*/ 75 w 1056"/>
                <a:gd name="T89" fmla="*/ 57 h 1206"/>
                <a:gd name="T90" fmla="*/ 66 w 1056"/>
                <a:gd name="T91" fmla="*/ 57 h 1206"/>
                <a:gd name="T92" fmla="*/ 66 w 1056"/>
                <a:gd name="T93" fmla="*/ 51 h 1206"/>
                <a:gd name="T94" fmla="*/ 48 w 1056"/>
                <a:gd name="T95" fmla="*/ 50 h 1206"/>
                <a:gd name="T96" fmla="*/ 46 w 1056"/>
                <a:gd name="T97" fmla="*/ 55 h 1206"/>
                <a:gd name="T98" fmla="*/ 42 w 1056"/>
                <a:gd name="T99" fmla="*/ 59 h 1206"/>
                <a:gd name="T100" fmla="*/ 41 w 1056"/>
                <a:gd name="T101" fmla="*/ 62 h 1206"/>
                <a:gd name="T102" fmla="*/ 43 w 1056"/>
                <a:gd name="T103" fmla="*/ 67 h 1206"/>
                <a:gd name="T104" fmla="*/ 42 w 1056"/>
                <a:gd name="T105" fmla="*/ 72 h 1206"/>
                <a:gd name="T106" fmla="*/ 39 w 1056"/>
                <a:gd name="T107" fmla="*/ 77 h 1206"/>
                <a:gd name="T108" fmla="*/ 36 w 1056"/>
                <a:gd name="T109" fmla="*/ 80 h 1206"/>
                <a:gd name="T110" fmla="*/ 37 w 1056"/>
                <a:gd name="T111" fmla="*/ 83 h 1206"/>
                <a:gd name="T112" fmla="*/ 40 w 1056"/>
                <a:gd name="T113" fmla="*/ 87 h 1206"/>
                <a:gd name="T114" fmla="*/ 42 w 1056"/>
                <a:gd name="T115" fmla="*/ 89 h 12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56"/>
                <a:gd name="T175" fmla="*/ 0 h 1206"/>
                <a:gd name="T176" fmla="*/ 1056 w 1056"/>
                <a:gd name="T177" fmla="*/ 1206 h 12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56" h="1206">
                  <a:moveTo>
                    <a:pt x="492" y="1032"/>
                  </a:moveTo>
                  <a:lnTo>
                    <a:pt x="486" y="1038"/>
                  </a:lnTo>
                  <a:lnTo>
                    <a:pt x="486" y="1044"/>
                  </a:lnTo>
                  <a:lnTo>
                    <a:pt x="480" y="1044"/>
                  </a:lnTo>
                  <a:lnTo>
                    <a:pt x="474" y="1056"/>
                  </a:lnTo>
                  <a:lnTo>
                    <a:pt x="462" y="1068"/>
                  </a:lnTo>
                  <a:lnTo>
                    <a:pt x="456" y="1080"/>
                  </a:lnTo>
                  <a:lnTo>
                    <a:pt x="450" y="1080"/>
                  </a:lnTo>
                  <a:lnTo>
                    <a:pt x="450" y="1086"/>
                  </a:lnTo>
                  <a:lnTo>
                    <a:pt x="450" y="1092"/>
                  </a:lnTo>
                  <a:lnTo>
                    <a:pt x="444" y="1104"/>
                  </a:lnTo>
                  <a:lnTo>
                    <a:pt x="444" y="1116"/>
                  </a:lnTo>
                  <a:lnTo>
                    <a:pt x="438" y="1128"/>
                  </a:lnTo>
                  <a:lnTo>
                    <a:pt x="432" y="1134"/>
                  </a:lnTo>
                  <a:lnTo>
                    <a:pt x="432" y="1140"/>
                  </a:lnTo>
                  <a:lnTo>
                    <a:pt x="420" y="1152"/>
                  </a:lnTo>
                  <a:lnTo>
                    <a:pt x="420" y="1158"/>
                  </a:lnTo>
                  <a:lnTo>
                    <a:pt x="408" y="1182"/>
                  </a:lnTo>
                  <a:lnTo>
                    <a:pt x="396" y="1194"/>
                  </a:lnTo>
                  <a:lnTo>
                    <a:pt x="390" y="1206"/>
                  </a:lnTo>
                  <a:lnTo>
                    <a:pt x="390" y="1200"/>
                  </a:lnTo>
                  <a:lnTo>
                    <a:pt x="384" y="1194"/>
                  </a:lnTo>
                  <a:lnTo>
                    <a:pt x="378" y="1188"/>
                  </a:lnTo>
                  <a:lnTo>
                    <a:pt x="366" y="1176"/>
                  </a:lnTo>
                  <a:lnTo>
                    <a:pt x="366" y="1170"/>
                  </a:lnTo>
                  <a:lnTo>
                    <a:pt x="348" y="1152"/>
                  </a:lnTo>
                  <a:lnTo>
                    <a:pt x="336" y="1140"/>
                  </a:lnTo>
                  <a:lnTo>
                    <a:pt x="330" y="1134"/>
                  </a:lnTo>
                  <a:lnTo>
                    <a:pt x="324" y="1128"/>
                  </a:lnTo>
                  <a:lnTo>
                    <a:pt x="318" y="1122"/>
                  </a:lnTo>
                  <a:lnTo>
                    <a:pt x="312" y="1116"/>
                  </a:lnTo>
                  <a:lnTo>
                    <a:pt x="306" y="1110"/>
                  </a:lnTo>
                  <a:lnTo>
                    <a:pt x="300" y="1104"/>
                  </a:lnTo>
                  <a:lnTo>
                    <a:pt x="294" y="1098"/>
                  </a:lnTo>
                  <a:lnTo>
                    <a:pt x="276" y="1080"/>
                  </a:lnTo>
                  <a:lnTo>
                    <a:pt x="270" y="1080"/>
                  </a:lnTo>
                  <a:lnTo>
                    <a:pt x="270" y="1074"/>
                  </a:lnTo>
                  <a:lnTo>
                    <a:pt x="264" y="1068"/>
                  </a:lnTo>
                  <a:lnTo>
                    <a:pt x="258" y="1062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40" y="1050"/>
                  </a:lnTo>
                  <a:lnTo>
                    <a:pt x="234" y="1044"/>
                  </a:lnTo>
                  <a:lnTo>
                    <a:pt x="228" y="1044"/>
                  </a:lnTo>
                  <a:lnTo>
                    <a:pt x="222" y="1038"/>
                  </a:lnTo>
                  <a:lnTo>
                    <a:pt x="222" y="1032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6"/>
                  </a:lnTo>
                  <a:lnTo>
                    <a:pt x="204" y="1020"/>
                  </a:lnTo>
                  <a:lnTo>
                    <a:pt x="204" y="1014"/>
                  </a:lnTo>
                  <a:lnTo>
                    <a:pt x="198" y="1014"/>
                  </a:lnTo>
                  <a:lnTo>
                    <a:pt x="192" y="1014"/>
                  </a:lnTo>
                  <a:lnTo>
                    <a:pt x="192" y="1008"/>
                  </a:lnTo>
                  <a:lnTo>
                    <a:pt x="186" y="1008"/>
                  </a:lnTo>
                  <a:lnTo>
                    <a:pt x="186" y="1002"/>
                  </a:lnTo>
                  <a:lnTo>
                    <a:pt x="180" y="1002"/>
                  </a:lnTo>
                  <a:lnTo>
                    <a:pt x="174" y="996"/>
                  </a:lnTo>
                  <a:lnTo>
                    <a:pt x="168" y="996"/>
                  </a:lnTo>
                  <a:lnTo>
                    <a:pt x="168" y="990"/>
                  </a:lnTo>
                  <a:lnTo>
                    <a:pt x="162" y="990"/>
                  </a:lnTo>
                  <a:lnTo>
                    <a:pt x="162" y="984"/>
                  </a:lnTo>
                  <a:lnTo>
                    <a:pt x="150" y="978"/>
                  </a:lnTo>
                  <a:lnTo>
                    <a:pt x="144" y="972"/>
                  </a:lnTo>
                  <a:lnTo>
                    <a:pt x="138" y="972"/>
                  </a:lnTo>
                  <a:lnTo>
                    <a:pt x="138" y="966"/>
                  </a:lnTo>
                  <a:lnTo>
                    <a:pt x="132" y="966"/>
                  </a:lnTo>
                  <a:lnTo>
                    <a:pt x="126" y="960"/>
                  </a:lnTo>
                  <a:lnTo>
                    <a:pt x="126" y="954"/>
                  </a:lnTo>
                  <a:lnTo>
                    <a:pt x="120" y="954"/>
                  </a:lnTo>
                  <a:lnTo>
                    <a:pt x="114" y="948"/>
                  </a:lnTo>
                  <a:lnTo>
                    <a:pt x="108" y="948"/>
                  </a:lnTo>
                  <a:lnTo>
                    <a:pt x="108" y="942"/>
                  </a:lnTo>
                  <a:lnTo>
                    <a:pt x="102" y="942"/>
                  </a:lnTo>
                  <a:lnTo>
                    <a:pt x="96" y="942"/>
                  </a:lnTo>
                  <a:lnTo>
                    <a:pt x="96" y="936"/>
                  </a:lnTo>
                  <a:lnTo>
                    <a:pt x="90" y="936"/>
                  </a:lnTo>
                  <a:lnTo>
                    <a:pt x="90" y="930"/>
                  </a:lnTo>
                  <a:lnTo>
                    <a:pt x="84" y="930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18"/>
                  </a:lnTo>
                  <a:lnTo>
                    <a:pt x="66" y="918"/>
                  </a:lnTo>
                  <a:lnTo>
                    <a:pt x="66" y="912"/>
                  </a:lnTo>
                  <a:lnTo>
                    <a:pt x="66" y="906"/>
                  </a:lnTo>
                  <a:lnTo>
                    <a:pt x="72" y="906"/>
                  </a:lnTo>
                  <a:lnTo>
                    <a:pt x="84" y="906"/>
                  </a:lnTo>
                  <a:lnTo>
                    <a:pt x="90" y="906"/>
                  </a:lnTo>
                  <a:lnTo>
                    <a:pt x="120" y="930"/>
                  </a:lnTo>
                  <a:lnTo>
                    <a:pt x="126" y="936"/>
                  </a:lnTo>
                  <a:lnTo>
                    <a:pt x="138" y="936"/>
                  </a:lnTo>
                  <a:lnTo>
                    <a:pt x="138" y="930"/>
                  </a:lnTo>
                  <a:lnTo>
                    <a:pt x="144" y="930"/>
                  </a:lnTo>
                  <a:lnTo>
                    <a:pt x="144" y="924"/>
                  </a:lnTo>
                  <a:lnTo>
                    <a:pt x="150" y="900"/>
                  </a:lnTo>
                  <a:lnTo>
                    <a:pt x="138" y="894"/>
                  </a:lnTo>
                  <a:lnTo>
                    <a:pt x="126" y="894"/>
                  </a:lnTo>
                  <a:lnTo>
                    <a:pt x="108" y="888"/>
                  </a:lnTo>
                  <a:lnTo>
                    <a:pt x="84" y="882"/>
                  </a:lnTo>
                  <a:lnTo>
                    <a:pt x="72" y="882"/>
                  </a:lnTo>
                  <a:lnTo>
                    <a:pt x="72" y="876"/>
                  </a:lnTo>
                  <a:lnTo>
                    <a:pt x="78" y="870"/>
                  </a:lnTo>
                  <a:lnTo>
                    <a:pt x="90" y="870"/>
                  </a:lnTo>
                  <a:lnTo>
                    <a:pt x="96" y="870"/>
                  </a:lnTo>
                  <a:lnTo>
                    <a:pt x="102" y="870"/>
                  </a:lnTo>
                  <a:lnTo>
                    <a:pt x="114" y="870"/>
                  </a:lnTo>
                  <a:lnTo>
                    <a:pt x="120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34"/>
                  </a:lnTo>
                  <a:lnTo>
                    <a:pt x="132" y="828"/>
                  </a:lnTo>
                  <a:lnTo>
                    <a:pt x="132" y="816"/>
                  </a:lnTo>
                  <a:lnTo>
                    <a:pt x="150" y="816"/>
                  </a:lnTo>
                  <a:lnTo>
                    <a:pt x="150" y="804"/>
                  </a:lnTo>
                  <a:lnTo>
                    <a:pt x="144" y="798"/>
                  </a:lnTo>
                  <a:lnTo>
                    <a:pt x="156" y="762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32"/>
                  </a:lnTo>
                  <a:lnTo>
                    <a:pt x="144" y="726"/>
                  </a:lnTo>
                  <a:lnTo>
                    <a:pt x="132" y="726"/>
                  </a:lnTo>
                  <a:lnTo>
                    <a:pt x="120" y="732"/>
                  </a:lnTo>
                  <a:lnTo>
                    <a:pt x="114" y="744"/>
                  </a:lnTo>
                  <a:lnTo>
                    <a:pt x="108" y="750"/>
                  </a:lnTo>
                  <a:lnTo>
                    <a:pt x="96" y="768"/>
                  </a:lnTo>
                  <a:lnTo>
                    <a:pt x="96" y="774"/>
                  </a:lnTo>
                  <a:lnTo>
                    <a:pt x="90" y="780"/>
                  </a:lnTo>
                  <a:lnTo>
                    <a:pt x="84" y="804"/>
                  </a:lnTo>
                  <a:lnTo>
                    <a:pt x="72" y="774"/>
                  </a:lnTo>
                  <a:lnTo>
                    <a:pt x="72" y="768"/>
                  </a:lnTo>
                  <a:lnTo>
                    <a:pt x="66" y="762"/>
                  </a:lnTo>
                  <a:lnTo>
                    <a:pt x="60" y="750"/>
                  </a:lnTo>
                  <a:lnTo>
                    <a:pt x="54" y="750"/>
                  </a:lnTo>
                  <a:lnTo>
                    <a:pt x="48" y="750"/>
                  </a:lnTo>
                  <a:lnTo>
                    <a:pt x="42" y="750"/>
                  </a:lnTo>
                  <a:lnTo>
                    <a:pt x="30" y="744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12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2" y="702"/>
                  </a:lnTo>
                  <a:lnTo>
                    <a:pt x="18" y="696"/>
                  </a:lnTo>
                  <a:lnTo>
                    <a:pt x="12" y="690"/>
                  </a:lnTo>
                  <a:lnTo>
                    <a:pt x="12" y="684"/>
                  </a:lnTo>
                  <a:lnTo>
                    <a:pt x="12" y="678"/>
                  </a:lnTo>
                  <a:lnTo>
                    <a:pt x="12" y="672"/>
                  </a:lnTo>
                  <a:lnTo>
                    <a:pt x="18" y="672"/>
                  </a:lnTo>
                  <a:lnTo>
                    <a:pt x="18" y="666"/>
                  </a:lnTo>
                  <a:lnTo>
                    <a:pt x="24" y="666"/>
                  </a:lnTo>
                  <a:lnTo>
                    <a:pt x="24" y="660"/>
                  </a:lnTo>
                  <a:lnTo>
                    <a:pt x="30" y="660"/>
                  </a:lnTo>
                  <a:lnTo>
                    <a:pt x="30" y="654"/>
                  </a:lnTo>
                  <a:lnTo>
                    <a:pt x="36" y="654"/>
                  </a:lnTo>
                  <a:lnTo>
                    <a:pt x="36" y="648"/>
                  </a:lnTo>
                  <a:lnTo>
                    <a:pt x="42" y="648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60" y="630"/>
                  </a:lnTo>
                  <a:lnTo>
                    <a:pt x="66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78" y="624"/>
                  </a:lnTo>
                  <a:lnTo>
                    <a:pt x="84" y="618"/>
                  </a:lnTo>
                  <a:lnTo>
                    <a:pt x="84" y="612"/>
                  </a:lnTo>
                  <a:lnTo>
                    <a:pt x="90" y="612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20" y="588"/>
                  </a:lnTo>
                  <a:lnTo>
                    <a:pt x="120" y="582"/>
                  </a:lnTo>
                  <a:lnTo>
                    <a:pt x="120" y="576"/>
                  </a:lnTo>
                  <a:lnTo>
                    <a:pt x="120" y="570"/>
                  </a:lnTo>
                  <a:lnTo>
                    <a:pt x="126" y="564"/>
                  </a:lnTo>
                  <a:lnTo>
                    <a:pt x="126" y="558"/>
                  </a:lnTo>
                  <a:lnTo>
                    <a:pt x="126" y="552"/>
                  </a:lnTo>
                  <a:lnTo>
                    <a:pt x="126" y="546"/>
                  </a:lnTo>
                  <a:lnTo>
                    <a:pt x="126" y="534"/>
                  </a:lnTo>
                  <a:lnTo>
                    <a:pt x="126" y="516"/>
                  </a:lnTo>
                  <a:lnTo>
                    <a:pt x="126" y="510"/>
                  </a:lnTo>
                  <a:lnTo>
                    <a:pt x="126" y="504"/>
                  </a:lnTo>
                  <a:lnTo>
                    <a:pt x="126" y="498"/>
                  </a:lnTo>
                  <a:lnTo>
                    <a:pt x="132" y="498"/>
                  </a:lnTo>
                  <a:lnTo>
                    <a:pt x="132" y="492"/>
                  </a:lnTo>
                  <a:lnTo>
                    <a:pt x="138" y="492"/>
                  </a:lnTo>
                  <a:lnTo>
                    <a:pt x="144" y="486"/>
                  </a:lnTo>
                  <a:lnTo>
                    <a:pt x="156" y="480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6" y="462"/>
                  </a:lnTo>
                  <a:lnTo>
                    <a:pt x="156" y="456"/>
                  </a:lnTo>
                  <a:lnTo>
                    <a:pt x="156" y="450"/>
                  </a:lnTo>
                  <a:lnTo>
                    <a:pt x="162" y="438"/>
                  </a:lnTo>
                  <a:lnTo>
                    <a:pt x="168" y="426"/>
                  </a:lnTo>
                  <a:lnTo>
                    <a:pt x="174" y="426"/>
                  </a:lnTo>
                  <a:lnTo>
                    <a:pt x="174" y="420"/>
                  </a:lnTo>
                  <a:lnTo>
                    <a:pt x="180" y="414"/>
                  </a:lnTo>
                  <a:lnTo>
                    <a:pt x="186" y="420"/>
                  </a:lnTo>
                  <a:lnTo>
                    <a:pt x="186" y="414"/>
                  </a:lnTo>
                  <a:lnTo>
                    <a:pt x="180" y="408"/>
                  </a:lnTo>
                  <a:lnTo>
                    <a:pt x="180" y="402"/>
                  </a:lnTo>
                  <a:lnTo>
                    <a:pt x="186" y="402"/>
                  </a:lnTo>
                  <a:lnTo>
                    <a:pt x="192" y="402"/>
                  </a:lnTo>
                  <a:lnTo>
                    <a:pt x="192" y="396"/>
                  </a:lnTo>
                  <a:lnTo>
                    <a:pt x="198" y="396"/>
                  </a:lnTo>
                  <a:lnTo>
                    <a:pt x="204" y="396"/>
                  </a:lnTo>
                  <a:lnTo>
                    <a:pt x="210" y="396"/>
                  </a:lnTo>
                  <a:lnTo>
                    <a:pt x="210" y="390"/>
                  </a:lnTo>
                  <a:lnTo>
                    <a:pt x="216" y="390"/>
                  </a:lnTo>
                  <a:lnTo>
                    <a:pt x="216" y="384"/>
                  </a:lnTo>
                  <a:lnTo>
                    <a:pt x="222" y="384"/>
                  </a:lnTo>
                  <a:lnTo>
                    <a:pt x="222" y="378"/>
                  </a:lnTo>
                  <a:lnTo>
                    <a:pt x="228" y="372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0" y="348"/>
                  </a:lnTo>
                  <a:lnTo>
                    <a:pt x="234" y="342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46" y="330"/>
                  </a:lnTo>
                  <a:lnTo>
                    <a:pt x="246" y="324"/>
                  </a:lnTo>
                  <a:lnTo>
                    <a:pt x="234" y="318"/>
                  </a:lnTo>
                  <a:lnTo>
                    <a:pt x="234" y="312"/>
                  </a:lnTo>
                  <a:lnTo>
                    <a:pt x="234" y="300"/>
                  </a:lnTo>
                  <a:lnTo>
                    <a:pt x="240" y="288"/>
                  </a:lnTo>
                  <a:lnTo>
                    <a:pt x="240" y="276"/>
                  </a:lnTo>
                  <a:lnTo>
                    <a:pt x="246" y="258"/>
                  </a:lnTo>
                  <a:lnTo>
                    <a:pt x="258" y="252"/>
                  </a:lnTo>
                  <a:lnTo>
                    <a:pt x="270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294" y="252"/>
                  </a:lnTo>
                  <a:lnTo>
                    <a:pt x="300" y="258"/>
                  </a:lnTo>
                  <a:lnTo>
                    <a:pt x="318" y="252"/>
                  </a:lnTo>
                  <a:lnTo>
                    <a:pt x="366" y="252"/>
                  </a:lnTo>
                  <a:lnTo>
                    <a:pt x="378" y="252"/>
                  </a:lnTo>
                  <a:lnTo>
                    <a:pt x="396" y="252"/>
                  </a:lnTo>
                  <a:lnTo>
                    <a:pt x="408" y="252"/>
                  </a:lnTo>
                  <a:lnTo>
                    <a:pt x="408" y="246"/>
                  </a:lnTo>
                  <a:lnTo>
                    <a:pt x="414" y="240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20" y="216"/>
                  </a:lnTo>
                  <a:lnTo>
                    <a:pt x="426" y="210"/>
                  </a:lnTo>
                  <a:lnTo>
                    <a:pt x="444" y="198"/>
                  </a:lnTo>
                  <a:lnTo>
                    <a:pt x="462" y="198"/>
                  </a:lnTo>
                  <a:lnTo>
                    <a:pt x="474" y="204"/>
                  </a:lnTo>
                  <a:lnTo>
                    <a:pt x="498" y="198"/>
                  </a:lnTo>
                  <a:lnTo>
                    <a:pt x="498" y="204"/>
                  </a:lnTo>
                  <a:lnTo>
                    <a:pt x="540" y="210"/>
                  </a:lnTo>
                  <a:lnTo>
                    <a:pt x="564" y="210"/>
                  </a:lnTo>
                  <a:lnTo>
                    <a:pt x="588" y="210"/>
                  </a:lnTo>
                  <a:lnTo>
                    <a:pt x="612" y="210"/>
                  </a:lnTo>
                  <a:lnTo>
                    <a:pt x="612" y="216"/>
                  </a:lnTo>
                  <a:lnTo>
                    <a:pt x="618" y="222"/>
                  </a:lnTo>
                  <a:lnTo>
                    <a:pt x="618" y="228"/>
                  </a:lnTo>
                  <a:lnTo>
                    <a:pt x="624" y="240"/>
                  </a:lnTo>
                  <a:lnTo>
                    <a:pt x="624" y="246"/>
                  </a:lnTo>
                  <a:lnTo>
                    <a:pt x="630" y="252"/>
                  </a:lnTo>
                  <a:lnTo>
                    <a:pt x="630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0" y="282"/>
                  </a:lnTo>
                  <a:lnTo>
                    <a:pt x="630" y="288"/>
                  </a:lnTo>
                  <a:lnTo>
                    <a:pt x="630" y="300"/>
                  </a:lnTo>
                  <a:lnTo>
                    <a:pt x="630" y="306"/>
                  </a:lnTo>
                  <a:lnTo>
                    <a:pt x="636" y="306"/>
                  </a:lnTo>
                  <a:lnTo>
                    <a:pt x="642" y="306"/>
                  </a:lnTo>
                  <a:lnTo>
                    <a:pt x="648" y="312"/>
                  </a:lnTo>
                  <a:lnTo>
                    <a:pt x="666" y="312"/>
                  </a:lnTo>
                  <a:lnTo>
                    <a:pt x="696" y="306"/>
                  </a:lnTo>
                  <a:lnTo>
                    <a:pt x="732" y="300"/>
                  </a:lnTo>
                  <a:lnTo>
                    <a:pt x="732" y="288"/>
                  </a:lnTo>
                  <a:lnTo>
                    <a:pt x="738" y="288"/>
                  </a:lnTo>
                  <a:lnTo>
                    <a:pt x="744" y="276"/>
                  </a:lnTo>
                  <a:lnTo>
                    <a:pt x="762" y="246"/>
                  </a:lnTo>
                  <a:lnTo>
                    <a:pt x="768" y="228"/>
                  </a:lnTo>
                  <a:lnTo>
                    <a:pt x="792" y="210"/>
                  </a:lnTo>
                  <a:lnTo>
                    <a:pt x="804" y="186"/>
                  </a:lnTo>
                  <a:lnTo>
                    <a:pt x="804" y="156"/>
                  </a:lnTo>
                  <a:lnTo>
                    <a:pt x="804" y="138"/>
                  </a:lnTo>
                  <a:lnTo>
                    <a:pt x="810" y="126"/>
                  </a:lnTo>
                  <a:lnTo>
                    <a:pt x="816" y="120"/>
                  </a:lnTo>
                  <a:lnTo>
                    <a:pt x="828" y="102"/>
                  </a:lnTo>
                  <a:lnTo>
                    <a:pt x="834" y="96"/>
                  </a:lnTo>
                  <a:lnTo>
                    <a:pt x="846" y="102"/>
                  </a:lnTo>
                  <a:lnTo>
                    <a:pt x="852" y="96"/>
                  </a:lnTo>
                  <a:lnTo>
                    <a:pt x="858" y="72"/>
                  </a:lnTo>
                  <a:lnTo>
                    <a:pt x="864" y="60"/>
                  </a:lnTo>
                  <a:lnTo>
                    <a:pt x="882" y="48"/>
                  </a:lnTo>
                  <a:lnTo>
                    <a:pt x="906" y="36"/>
                  </a:lnTo>
                  <a:lnTo>
                    <a:pt x="918" y="12"/>
                  </a:lnTo>
                  <a:lnTo>
                    <a:pt x="924" y="0"/>
                  </a:lnTo>
                  <a:lnTo>
                    <a:pt x="930" y="6"/>
                  </a:lnTo>
                  <a:lnTo>
                    <a:pt x="942" y="12"/>
                  </a:lnTo>
                  <a:lnTo>
                    <a:pt x="948" y="12"/>
                  </a:lnTo>
                  <a:lnTo>
                    <a:pt x="954" y="18"/>
                  </a:lnTo>
                  <a:lnTo>
                    <a:pt x="966" y="18"/>
                  </a:lnTo>
                  <a:lnTo>
                    <a:pt x="972" y="18"/>
                  </a:lnTo>
                  <a:lnTo>
                    <a:pt x="984" y="18"/>
                  </a:lnTo>
                  <a:lnTo>
                    <a:pt x="990" y="18"/>
                  </a:lnTo>
                  <a:lnTo>
                    <a:pt x="1002" y="48"/>
                  </a:lnTo>
                  <a:lnTo>
                    <a:pt x="1008" y="78"/>
                  </a:lnTo>
                  <a:lnTo>
                    <a:pt x="1020" y="78"/>
                  </a:lnTo>
                  <a:lnTo>
                    <a:pt x="1020" y="90"/>
                  </a:lnTo>
                  <a:lnTo>
                    <a:pt x="1026" y="102"/>
                  </a:lnTo>
                  <a:lnTo>
                    <a:pt x="1044" y="120"/>
                  </a:lnTo>
                  <a:lnTo>
                    <a:pt x="1044" y="132"/>
                  </a:lnTo>
                  <a:lnTo>
                    <a:pt x="1056" y="150"/>
                  </a:lnTo>
                  <a:lnTo>
                    <a:pt x="1050" y="150"/>
                  </a:lnTo>
                  <a:lnTo>
                    <a:pt x="1044" y="156"/>
                  </a:lnTo>
                  <a:lnTo>
                    <a:pt x="1044" y="162"/>
                  </a:lnTo>
                  <a:lnTo>
                    <a:pt x="1038" y="162"/>
                  </a:lnTo>
                  <a:lnTo>
                    <a:pt x="1032" y="162"/>
                  </a:lnTo>
                  <a:lnTo>
                    <a:pt x="1026" y="168"/>
                  </a:lnTo>
                  <a:lnTo>
                    <a:pt x="1014" y="174"/>
                  </a:lnTo>
                  <a:lnTo>
                    <a:pt x="1014" y="186"/>
                  </a:lnTo>
                  <a:lnTo>
                    <a:pt x="1014" y="192"/>
                  </a:lnTo>
                  <a:lnTo>
                    <a:pt x="1014" y="198"/>
                  </a:lnTo>
                  <a:lnTo>
                    <a:pt x="1020" y="204"/>
                  </a:lnTo>
                  <a:lnTo>
                    <a:pt x="1026" y="204"/>
                  </a:lnTo>
                  <a:lnTo>
                    <a:pt x="1032" y="204"/>
                  </a:lnTo>
                  <a:lnTo>
                    <a:pt x="1032" y="210"/>
                  </a:lnTo>
                  <a:lnTo>
                    <a:pt x="1038" y="210"/>
                  </a:lnTo>
                  <a:lnTo>
                    <a:pt x="1032" y="216"/>
                  </a:lnTo>
                  <a:lnTo>
                    <a:pt x="1026" y="228"/>
                  </a:lnTo>
                  <a:lnTo>
                    <a:pt x="1026" y="234"/>
                  </a:lnTo>
                  <a:lnTo>
                    <a:pt x="1032" y="240"/>
                  </a:lnTo>
                  <a:lnTo>
                    <a:pt x="1032" y="246"/>
                  </a:lnTo>
                  <a:lnTo>
                    <a:pt x="1032" y="252"/>
                  </a:lnTo>
                  <a:lnTo>
                    <a:pt x="1032" y="258"/>
                  </a:lnTo>
                  <a:lnTo>
                    <a:pt x="1038" y="264"/>
                  </a:lnTo>
                  <a:lnTo>
                    <a:pt x="1032" y="276"/>
                  </a:lnTo>
                  <a:lnTo>
                    <a:pt x="1026" y="276"/>
                  </a:lnTo>
                  <a:lnTo>
                    <a:pt x="1020" y="276"/>
                  </a:lnTo>
                  <a:lnTo>
                    <a:pt x="996" y="282"/>
                  </a:lnTo>
                  <a:lnTo>
                    <a:pt x="996" y="288"/>
                  </a:lnTo>
                  <a:lnTo>
                    <a:pt x="996" y="294"/>
                  </a:lnTo>
                  <a:lnTo>
                    <a:pt x="996" y="300"/>
                  </a:lnTo>
                  <a:lnTo>
                    <a:pt x="996" y="306"/>
                  </a:lnTo>
                  <a:lnTo>
                    <a:pt x="984" y="324"/>
                  </a:lnTo>
                  <a:lnTo>
                    <a:pt x="984" y="330"/>
                  </a:lnTo>
                  <a:lnTo>
                    <a:pt x="984" y="336"/>
                  </a:lnTo>
                  <a:lnTo>
                    <a:pt x="978" y="336"/>
                  </a:lnTo>
                  <a:lnTo>
                    <a:pt x="978" y="342"/>
                  </a:lnTo>
                  <a:lnTo>
                    <a:pt x="984" y="360"/>
                  </a:lnTo>
                  <a:lnTo>
                    <a:pt x="978" y="366"/>
                  </a:lnTo>
                  <a:lnTo>
                    <a:pt x="978" y="372"/>
                  </a:lnTo>
                  <a:lnTo>
                    <a:pt x="972" y="372"/>
                  </a:lnTo>
                  <a:lnTo>
                    <a:pt x="972" y="378"/>
                  </a:lnTo>
                  <a:lnTo>
                    <a:pt x="972" y="384"/>
                  </a:lnTo>
                  <a:lnTo>
                    <a:pt x="972" y="390"/>
                  </a:lnTo>
                  <a:lnTo>
                    <a:pt x="966" y="402"/>
                  </a:lnTo>
                  <a:lnTo>
                    <a:pt x="960" y="414"/>
                  </a:lnTo>
                  <a:lnTo>
                    <a:pt x="954" y="420"/>
                  </a:lnTo>
                  <a:lnTo>
                    <a:pt x="948" y="426"/>
                  </a:lnTo>
                  <a:lnTo>
                    <a:pt x="948" y="438"/>
                  </a:lnTo>
                  <a:lnTo>
                    <a:pt x="942" y="444"/>
                  </a:lnTo>
                  <a:lnTo>
                    <a:pt x="936" y="450"/>
                  </a:lnTo>
                  <a:lnTo>
                    <a:pt x="930" y="456"/>
                  </a:lnTo>
                  <a:lnTo>
                    <a:pt x="924" y="462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18" y="522"/>
                  </a:lnTo>
                  <a:lnTo>
                    <a:pt x="918" y="528"/>
                  </a:lnTo>
                  <a:lnTo>
                    <a:pt x="924" y="534"/>
                  </a:lnTo>
                  <a:lnTo>
                    <a:pt x="924" y="540"/>
                  </a:lnTo>
                  <a:lnTo>
                    <a:pt x="924" y="546"/>
                  </a:lnTo>
                  <a:lnTo>
                    <a:pt x="918" y="546"/>
                  </a:lnTo>
                  <a:lnTo>
                    <a:pt x="918" y="552"/>
                  </a:lnTo>
                  <a:lnTo>
                    <a:pt x="912" y="546"/>
                  </a:lnTo>
                  <a:lnTo>
                    <a:pt x="912" y="552"/>
                  </a:lnTo>
                  <a:lnTo>
                    <a:pt x="912" y="570"/>
                  </a:lnTo>
                  <a:lnTo>
                    <a:pt x="906" y="588"/>
                  </a:lnTo>
                  <a:lnTo>
                    <a:pt x="900" y="606"/>
                  </a:lnTo>
                  <a:lnTo>
                    <a:pt x="906" y="624"/>
                  </a:lnTo>
                  <a:lnTo>
                    <a:pt x="900" y="624"/>
                  </a:lnTo>
                  <a:lnTo>
                    <a:pt x="894" y="630"/>
                  </a:lnTo>
                  <a:lnTo>
                    <a:pt x="888" y="630"/>
                  </a:lnTo>
                  <a:lnTo>
                    <a:pt x="882" y="630"/>
                  </a:lnTo>
                  <a:lnTo>
                    <a:pt x="882" y="636"/>
                  </a:lnTo>
                  <a:lnTo>
                    <a:pt x="876" y="642"/>
                  </a:lnTo>
                  <a:lnTo>
                    <a:pt x="870" y="642"/>
                  </a:lnTo>
                  <a:lnTo>
                    <a:pt x="870" y="648"/>
                  </a:lnTo>
                  <a:lnTo>
                    <a:pt x="870" y="654"/>
                  </a:lnTo>
                  <a:lnTo>
                    <a:pt x="864" y="654"/>
                  </a:lnTo>
                  <a:lnTo>
                    <a:pt x="864" y="660"/>
                  </a:lnTo>
                  <a:lnTo>
                    <a:pt x="846" y="666"/>
                  </a:lnTo>
                  <a:lnTo>
                    <a:pt x="828" y="672"/>
                  </a:lnTo>
                  <a:lnTo>
                    <a:pt x="816" y="660"/>
                  </a:lnTo>
                  <a:lnTo>
                    <a:pt x="810" y="660"/>
                  </a:lnTo>
                  <a:lnTo>
                    <a:pt x="798" y="666"/>
                  </a:lnTo>
                  <a:lnTo>
                    <a:pt x="786" y="666"/>
                  </a:lnTo>
                  <a:lnTo>
                    <a:pt x="780" y="672"/>
                  </a:lnTo>
                  <a:lnTo>
                    <a:pt x="768" y="678"/>
                  </a:lnTo>
                  <a:lnTo>
                    <a:pt x="762" y="660"/>
                  </a:lnTo>
                  <a:lnTo>
                    <a:pt x="762" y="654"/>
                  </a:lnTo>
                  <a:lnTo>
                    <a:pt x="756" y="636"/>
                  </a:lnTo>
                  <a:lnTo>
                    <a:pt x="762" y="624"/>
                  </a:lnTo>
                  <a:lnTo>
                    <a:pt x="756" y="606"/>
                  </a:lnTo>
                  <a:lnTo>
                    <a:pt x="756" y="600"/>
                  </a:lnTo>
                  <a:lnTo>
                    <a:pt x="762" y="594"/>
                  </a:lnTo>
                  <a:lnTo>
                    <a:pt x="768" y="600"/>
                  </a:lnTo>
                  <a:lnTo>
                    <a:pt x="768" y="594"/>
                  </a:lnTo>
                  <a:lnTo>
                    <a:pt x="768" y="588"/>
                  </a:lnTo>
                  <a:lnTo>
                    <a:pt x="774" y="582"/>
                  </a:lnTo>
                  <a:lnTo>
                    <a:pt x="768" y="576"/>
                  </a:lnTo>
                  <a:lnTo>
                    <a:pt x="762" y="576"/>
                  </a:lnTo>
                  <a:lnTo>
                    <a:pt x="756" y="576"/>
                  </a:lnTo>
                  <a:lnTo>
                    <a:pt x="690" y="576"/>
                  </a:lnTo>
                  <a:lnTo>
                    <a:pt x="624" y="570"/>
                  </a:lnTo>
                  <a:lnTo>
                    <a:pt x="600" y="564"/>
                  </a:lnTo>
                  <a:lnTo>
                    <a:pt x="576" y="564"/>
                  </a:lnTo>
                  <a:lnTo>
                    <a:pt x="558" y="570"/>
                  </a:lnTo>
                  <a:lnTo>
                    <a:pt x="552" y="576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46" y="594"/>
                  </a:lnTo>
                  <a:lnTo>
                    <a:pt x="546" y="600"/>
                  </a:lnTo>
                  <a:lnTo>
                    <a:pt x="540" y="606"/>
                  </a:lnTo>
                  <a:lnTo>
                    <a:pt x="534" y="618"/>
                  </a:lnTo>
                  <a:lnTo>
                    <a:pt x="534" y="624"/>
                  </a:lnTo>
                  <a:lnTo>
                    <a:pt x="534" y="630"/>
                  </a:lnTo>
                  <a:lnTo>
                    <a:pt x="534" y="636"/>
                  </a:lnTo>
                  <a:lnTo>
                    <a:pt x="528" y="636"/>
                  </a:lnTo>
                  <a:lnTo>
                    <a:pt x="516" y="642"/>
                  </a:lnTo>
                  <a:lnTo>
                    <a:pt x="516" y="648"/>
                  </a:lnTo>
                  <a:lnTo>
                    <a:pt x="510" y="648"/>
                  </a:lnTo>
                  <a:lnTo>
                    <a:pt x="504" y="654"/>
                  </a:lnTo>
                  <a:lnTo>
                    <a:pt x="492" y="666"/>
                  </a:lnTo>
                  <a:lnTo>
                    <a:pt x="492" y="672"/>
                  </a:lnTo>
                  <a:lnTo>
                    <a:pt x="492" y="684"/>
                  </a:lnTo>
                  <a:lnTo>
                    <a:pt x="486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92" y="702"/>
                  </a:lnTo>
                  <a:lnTo>
                    <a:pt x="486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74" y="720"/>
                  </a:lnTo>
                  <a:lnTo>
                    <a:pt x="480" y="726"/>
                  </a:lnTo>
                  <a:lnTo>
                    <a:pt x="474" y="726"/>
                  </a:lnTo>
                  <a:lnTo>
                    <a:pt x="474" y="738"/>
                  </a:lnTo>
                  <a:lnTo>
                    <a:pt x="474" y="744"/>
                  </a:lnTo>
                  <a:lnTo>
                    <a:pt x="474" y="750"/>
                  </a:lnTo>
                  <a:lnTo>
                    <a:pt x="480" y="750"/>
                  </a:lnTo>
                  <a:lnTo>
                    <a:pt x="480" y="756"/>
                  </a:lnTo>
                  <a:lnTo>
                    <a:pt x="492" y="762"/>
                  </a:lnTo>
                  <a:lnTo>
                    <a:pt x="498" y="774"/>
                  </a:lnTo>
                  <a:lnTo>
                    <a:pt x="498" y="780"/>
                  </a:lnTo>
                  <a:lnTo>
                    <a:pt x="504" y="786"/>
                  </a:lnTo>
                  <a:lnTo>
                    <a:pt x="510" y="792"/>
                  </a:lnTo>
                  <a:lnTo>
                    <a:pt x="504" y="798"/>
                  </a:lnTo>
                  <a:lnTo>
                    <a:pt x="504" y="804"/>
                  </a:lnTo>
                  <a:lnTo>
                    <a:pt x="504" y="810"/>
                  </a:lnTo>
                  <a:lnTo>
                    <a:pt x="498" y="822"/>
                  </a:lnTo>
                  <a:lnTo>
                    <a:pt x="492" y="828"/>
                  </a:lnTo>
                  <a:lnTo>
                    <a:pt x="492" y="834"/>
                  </a:lnTo>
                  <a:lnTo>
                    <a:pt x="486" y="840"/>
                  </a:lnTo>
                  <a:lnTo>
                    <a:pt x="480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74" y="858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876"/>
                  </a:lnTo>
                  <a:lnTo>
                    <a:pt x="456" y="894"/>
                  </a:lnTo>
                  <a:lnTo>
                    <a:pt x="450" y="894"/>
                  </a:lnTo>
                  <a:lnTo>
                    <a:pt x="444" y="900"/>
                  </a:lnTo>
                  <a:lnTo>
                    <a:pt x="444" y="894"/>
                  </a:lnTo>
                  <a:lnTo>
                    <a:pt x="438" y="894"/>
                  </a:lnTo>
                  <a:lnTo>
                    <a:pt x="432" y="900"/>
                  </a:lnTo>
                  <a:lnTo>
                    <a:pt x="432" y="906"/>
                  </a:lnTo>
                  <a:lnTo>
                    <a:pt x="420" y="906"/>
                  </a:lnTo>
                  <a:lnTo>
                    <a:pt x="420" y="912"/>
                  </a:lnTo>
                  <a:lnTo>
                    <a:pt x="420" y="918"/>
                  </a:lnTo>
                  <a:lnTo>
                    <a:pt x="426" y="918"/>
                  </a:lnTo>
                  <a:lnTo>
                    <a:pt x="426" y="924"/>
                  </a:lnTo>
                  <a:lnTo>
                    <a:pt x="426" y="930"/>
                  </a:lnTo>
                  <a:lnTo>
                    <a:pt x="420" y="930"/>
                  </a:lnTo>
                  <a:lnTo>
                    <a:pt x="414" y="936"/>
                  </a:lnTo>
                  <a:lnTo>
                    <a:pt x="414" y="942"/>
                  </a:lnTo>
                  <a:lnTo>
                    <a:pt x="414" y="948"/>
                  </a:lnTo>
                  <a:lnTo>
                    <a:pt x="414" y="954"/>
                  </a:lnTo>
                  <a:lnTo>
                    <a:pt x="426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44" y="972"/>
                  </a:lnTo>
                  <a:lnTo>
                    <a:pt x="444" y="978"/>
                  </a:lnTo>
                  <a:lnTo>
                    <a:pt x="450" y="978"/>
                  </a:lnTo>
                  <a:lnTo>
                    <a:pt x="450" y="984"/>
                  </a:lnTo>
                  <a:lnTo>
                    <a:pt x="456" y="990"/>
                  </a:lnTo>
                  <a:lnTo>
                    <a:pt x="456" y="996"/>
                  </a:lnTo>
                  <a:lnTo>
                    <a:pt x="462" y="1008"/>
                  </a:lnTo>
                  <a:lnTo>
                    <a:pt x="468" y="1008"/>
                  </a:lnTo>
                  <a:lnTo>
                    <a:pt x="468" y="1002"/>
                  </a:lnTo>
                  <a:lnTo>
                    <a:pt x="474" y="1008"/>
                  </a:lnTo>
                  <a:lnTo>
                    <a:pt x="480" y="1002"/>
                  </a:lnTo>
                  <a:lnTo>
                    <a:pt x="486" y="1008"/>
                  </a:lnTo>
                  <a:lnTo>
                    <a:pt x="486" y="1014"/>
                  </a:lnTo>
                  <a:lnTo>
                    <a:pt x="492" y="1014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86" y="1026"/>
                  </a:lnTo>
                  <a:lnTo>
                    <a:pt x="492" y="1026"/>
                  </a:lnTo>
                  <a:lnTo>
                    <a:pt x="486" y="1026"/>
                  </a:lnTo>
                  <a:lnTo>
                    <a:pt x="492" y="103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5" name="Freeform 30">
              <a:extLst>
                <a:ext uri="{FF2B5EF4-FFF2-40B4-BE49-F238E27FC236}">
                  <a16:creationId xmlns:a16="http://schemas.microsoft.com/office/drawing/2014/main" id="{85C7B827-0C1A-4D72-AEBD-F01CFE7EC12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3645" y="3904484"/>
              <a:ext cx="559048" cy="111825"/>
            </a:xfrm>
            <a:custGeom>
              <a:avLst/>
              <a:gdLst>
                <a:gd name="T0" fmla="*/ 69 w 1056"/>
                <a:gd name="T1" fmla="*/ 7 h 210"/>
                <a:gd name="T2" fmla="*/ 63 w 1056"/>
                <a:gd name="T3" fmla="*/ 5 h 210"/>
                <a:gd name="T4" fmla="*/ 57 w 1056"/>
                <a:gd name="T5" fmla="*/ 5 h 210"/>
                <a:gd name="T6" fmla="*/ 54 w 1056"/>
                <a:gd name="T7" fmla="*/ 6 h 210"/>
                <a:gd name="T8" fmla="*/ 51 w 1056"/>
                <a:gd name="T9" fmla="*/ 7 h 210"/>
                <a:gd name="T10" fmla="*/ 46 w 1056"/>
                <a:gd name="T11" fmla="*/ 9 h 210"/>
                <a:gd name="T12" fmla="*/ 42 w 1056"/>
                <a:gd name="T13" fmla="*/ 8 h 210"/>
                <a:gd name="T14" fmla="*/ 42 w 1056"/>
                <a:gd name="T15" fmla="*/ 5 h 210"/>
                <a:gd name="T16" fmla="*/ 41 w 1056"/>
                <a:gd name="T17" fmla="*/ 7 h 210"/>
                <a:gd name="T18" fmla="*/ 38 w 1056"/>
                <a:gd name="T19" fmla="*/ 10 h 210"/>
                <a:gd name="T20" fmla="*/ 37 w 1056"/>
                <a:gd name="T21" fmla="*/ 12 h 210"/>
                <a:gd name="T22" fmla="*/ 37 w 1056"/>
                <a:gd name="T23" fmla="*/ 15 h 210"/>
                <a:gd name="T24" fmla="*/ 37 w 1056"/>
                <a:gd name="T25" fmla="*/ 16 h 210"/>
                <a:gd name="T26" fmla="*/ 38 w 1056"/>
                <a:gd name="T27" fmla="*/ 16 h 210"/>
                <a:gd name="T28" fmla="*/ 34 w 1056"/>
                <a:gd name="T29" fmla="*/ 16 h 210"/>
                <a:gd name="T30" fmla="*/ 26 w 1056"/>
                <a:gd name="T31" fmla="*/ 16 h 210"/>
                <a:gd name="T32" fmla="*/ 20 w 1056"/>
                <a:gd name="T33" fmla="*/ 17 h 210"/>
                <a:gd name="T34" fmla="*/ 13 w 1056"/>
                <a:gd name="T35" fmla="*/ 17 h 210"/>
                <a:gd name="T36" fmla="*/ 6 w 1056"/>
                <a:gd name="T37" fmla="*/ 17 h 210"/>
                <a:gd name="T38" fmla="*/ 1 w 1056"/>
                <a:gd name="T39" fmla="*/ 18 h 210"/>
                <a:gd name="T40" fmla="*/ 3 w 1056"/>
                <a:gd name="T41" fmla="*/ 14 h 210"/>
                <a:gd name="T42" fmla="*/ 8 w 1056"/>
                <a:gd name="T43" fmla="*/ 15 h 210"/>
                <a:gd name="T44" fmla="*/ 11 w 1056"/>
                <a:gd name="T45" fmla="*/ 12 h 210"/>
                <a:gd name="T46" fmla="*/ 26 w 1056"/>
                <a:gd name="T47" fmla="*/ 10 h 210"/>
                <a:gd name="T48" fmla="*/ 29 w 1056"/>
                <a:gd name="T49" fmla="*/ 5 h 210"/>
                <a:gd name="T50" fmla="*/ 34 w 1056"/>
                <a:gd name="T51" fmla="*/ 1 h 210"/>
                <a:gd name="T52" fmla="*/ 41 w 1056"/>
                <a:gd name="T53" fmla="*/ 3 h 210"/>
                <a:gd name="T54" fmla="*/ 73 w 1056"/>
                <a:gd name="T55" fmla="*/ 1 h 210"/>
                <a:gd name="T56" fmla="*/ 75 w 1056"/>
                <a:gd name="T57" fmla="*/ 4 h 210"/>
                <a:gd name="T58" fmla="*/ 85 w 1056"/>
                <a:gd name="T59" fmla="*/ 15 h 210"/>
                <a:gd name="T60" fmla="*/ 91 w 1056"/>
                <a:gd name="T61" fmla="*/ 18 h 210"/>
                <a:gd name="T62" fmla="*/ 85 w 1056"/>
                <a:gd name="T63" fmla="*/ 18 h 210"/>
                <a:gd name="T64" fmla="*/ 79 w 1056"/>
                <a:gd name="T65" fmla="*/ 16 h 210"/>
                <a:gd name="T66" fmla="*/ 74 w 1056"/>
                <a:gd name="T67" fmla="*/ 16 h 210"/>
                <a:gd name="T68" fmla="*/ 69 w 1056"/>
                <a:gd name="T69" fmla="*/ 15 h 210"/>
                <a:gd name="T70" fmla="*/ 65 w 1056"/>
                <a:gd name="T71" fmla="*/ 14 h 210"/>
                <a:gd name="T72" fmla="*/ 59 w 1056"/>
                <a:gd name="T73" fmla="*/ 15 h 210"/>
                <a:gd name="T74" fmla="*/ 54 w 1056"/>
                <a:gd name="T75" fmla="*/ 15 h 210"/>
                <a:gd name="T76" fmla="*/ 49 w 1056"/>
                <a:gd name="T77" fmla="*/ 15 h 210"/>
                <a:gd name="T78" fmla="*/ 42 w 1056"/>
                <a:gd name="T79" fmla="*/ 15 h 210"/>
                <a:gd name="T80" fmla="*/ 38 w 1056"/>
                <a:gd name="T81" fmla="*/ 16 h 210"/>
                <a:gd name="T82" fmla="*/ 41 w 1056"/>
                <a:gd name="T83" fmla="*/ 14 h 210"/>
                <a:gd name="T84" fmla="*/ 42 w 1056"/>
                <a:gd name="T85" fmla="*/ 13 h 210"/>
                <a:gd name="T86" fmla="*/ 45 w 1056"/>
                <a:gd name="T87" fmla="*/ 13 h 210"/>
                <a:gd name="T88" fmla="*/ 48 w 1056"/>
                <a:gd name="T89" fmla="*/ 12 h 210"/>
                <a:gd name="T90" fmla="*/ 51 w 1056"/>
                <a:gd name="T91" fmla="*/ 11 h 210"/>
                <a:gd name="T92" fmla="*/ 54 w 1056"/>
                <a:gd name="T93" fmla="*/ 9 h 210"/>
                <a:gd name="T94" fmla="*/ 57 w 1056"/>
                <a:gd name="T95" fmla="*/ 8 h 210"/>
                <a:gd name="T96" fmla="*/ 60 w 1056"/>
                <a:gd name="T97" fmla="*/ 5 h 210"/>
                <a:gd name="T98" fmla="*/ 65 w 1056"/>
                <a:gd name="T99" fmla="*/ 5 h 210"/>
                <a:gd name="T100" fmla="*/ 72 w 1056"/>
                <a:gd name="T101" fmla="*/ 7 h 210"/>
                <a:gd name="T102" fmla="*/ 77 w 1056"/>
                <a:gd name="T103" fmla="*/ 11 h 210"/>
                <a:gd name="T104" fmla="*/ 69 w 1056"/>
                <a:gd name="T105" fmla="*/ 10 h 210"/>
                <a:gd name="T106" fmla="*/ 72 w 1056"/>
                <a:gd name="T107" fmla="*/ 12 h 210"/>
                <a:gd name="T108" fmla="*/ 78 w 1056"/>
                <a:gd name="T109" fmla="*/ 15 h 210"/>
                <a:gd name="T110" fmla="*/ 84 w 1056"/>
                <a:gd name="T111" fmla="*/ 14 h 210"/>
                <a:gd name="T112" fmla="*/ 84 w 1056"/>
                <a:gd name="T113" fmla="*/ 14 h 210"/>
                <a:gd name="T114" fmla="*/ 78 w 1056"/>
                <a:gd name="T115" fmla="*/ 13 h 210"/>
                <a:gd name="T116" fmla="*/ 76 w 1056"/>
                <a:gd name="T117" fmla="*/ 14 h 210"/>
                <a:gd name="T118" fmla="*/ 38 w 1056"/>
                <a:gd name="T119" fmla="*/ 12 h 210"/>
                <a:gd name="T120" fmla="*/ 41 w 1056"/>
                <a:gd name="T121" fmla="*/ 12 h 210"/>
                <a:gd name="T122" fmla="*/ 40 w 1056"/>
                <a:gd name="T123" fmla="*/ 14 h 2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6"/>
                <a:gd name="T187" fmla="*/ 0 h 210"/>
                <a:gd name="T188" fmla="*/ 1056 w 1056"/>
                <a:gd name="T189" fmla="*/ 210 h 21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6" h="210">
                  <a:moveTo>
                    <a:pt x="870" y="90"/>
                  </a:moveTo>
                  <a:lnTo>
                    <a:pt x="864" y="90"/>
                  </a:lnTo>
                  <a:lnTo>
                    <a:pt x="852" y="84"/>
                  </a:lnTo>
                  <a:lnTo>
                    <a:pt x="846" y="84"/>
                  </a:lnTo>
                  <a:lnTo>
                    <a:pt x="846" y="78"/>
                  </a:lnTo>
                  <a:lnTo>
                    <a:pt x="840" y="78"/>
                  </a:lnTo>
                  <a:lnTo>
                    <a:pt x="834" y="78"/>
                  </a:lnTo>
                  <a:lnTo>
                    <a:pt x="834" y="72"/>
                  </a:lnTo>
                  <a:lnTo>
                    <a:pt x="804" y="78"/>
                  </a:lnTo>
                  <a:lnTo>
                    <a:pt x="798" y="78"/>
                  </a:lnTo>
                  <a:lnTo>
                    <a:pt x="792" y="72"/>
                  </a:lnTo>
                  <a:lnTo>
                    <a:pt x="780" y="60"/>
                  </a:lnTo>
                  <a:lnTo>
                    <a:pt x="768" y="54"/>
                  </a:lnTo>
                  <a:lnTo>
                    <a:pt x="756" y="54"/>
                  </a:lnTo>
                  <a:lnTo>
                    <a:pt x="750" y="54"/>
                  </a:lnTo>
                  <a:lnTo>
                    <a:pt x="750" y="48"/>
                  </a:lnTo>
                  <a:lnTo>
                    <a:pt x="744" y="48"/>
                  </a:lnTo>
                  <a:lnTo>
                    <a:pt x="738" y="48"/>
                  </a:lnTo>
                  <a:lnTo>
                    <a:pt x="732" y="48"/>
                  </a:lnTo>
                  <a:lnTo>
                    <a:pt x="732" y="54"/>
                  </a:lnTo>
                  <a:lnTo>
                    <a:pt x="726" y="48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48"/>
                  </a:lnTo>
                  <a:lnTo>
                    <a:pt x="702" y="48"/>
                  </a:lnTo>
                  <a:lnTo>
                    <a:pt x="696" y="48"/>
                  </a:lnTo>
                  <a:lnTo>
                    <a:pt x="684" y="48"/>
                  </a:lnTo>
                  <a:lnTo>
                    <a:pt x="678" y="48"/>
                  </a:lnTo>
                  <a:lnTo>
                    <a:pt x="672" y="48"/>
                  </a:lnTo>
                  <a:lnTo>
                    <a:pt x="666" y="54"/>
                  </a:lnTo>
                  <a:lnTo>
                    <a:pt x="660" y="54"/>
                  </a:lnTo>
                  <a:lnTo>
                    <a:pt x="660" y="48"/>
                  </a:lnTo>
                  <a:lnTo>
                    <a:pt x="654" y="48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42" y="54"/>
                  </a:lnTo>
                  <a:lnTo>
                    <a:pt x="63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30" y="66"/>
                  </a:lnTo>
                  <a:lnTo>
                    <a:pt x="624" y="66"/>
                  </a:lnTo>
                  <a:lnTo>
                    <a:pt x="618" y="66"/>
                  </a:lnTo>
                  <a:lnTo>
                    <a:pt x="618" y="72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6" y="84"/>
                  </a:lnTo>
                  <a:lnTo>
                    <a:pt x="600" y="84"/>
                  </a:lnTo>
                  <a:lnTo>
                    <a:pt x="594" y="90"/>
                  </a:lnTo>
                  <a:lnTo>
                    <a:pt x="588" y="90"/>
                  </a:lnTo>
                  <a:lnTo>
                    <a:pt x="588" y="84"/>
                  </a:lnTo>
                  <a:lnTo>
                    <a:pt x="582" y="84"/>
                  </a:lnTo>
                  <a:lnTo>
                    <a:pt x="576" y="84"/>
                  </a:lnTo>
                  <a:lnTo>
                    <a:pt x="570" y="84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58" y="96"/>
                  </a:lnTo>
                  <a:lnTo>
                    <a:pt x="552" y="96"/>
                  </a:lnTo>
                  <a:lnTo>
                    <a:pt x="546" y="102"/>
                  </a:lnTo>
                  <a:lnTo>
                    <a:pt x="540" y="102"/>
                  </a:lnTo>
                  <a:lnTo>
                    <a:pt x="534" y="102"/>
                  </a:lnTo>
                  <a:lnTo>
                    <a:pt x="528" y="102"/>
                  </a:lnTo>
                  <a:lnTo>
                    <a:pt x="528" y="108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16" y="102"/>
                  </a:lnTo>
                  <a:lnTo>
                    <a:pt x="510" y="102"/>
                  </a:lnTo>
                  <a:lnTo>
                    <a:pt x="504" y="102"/>
                  </a:lnTo>
                  <a:lnTo>
                    <a:pt x="498" y="102"/>
                  </a:lnTo>
                  <a:lnTo>
                    <a:pt x="498" y="96"/>
                  </a:lnTo>
                  <a:lnTo>
                    <a:pt x="492" y="96"/>
                  </a:lnTo>
                  <a:lnTo>
                    <a:pt x="492" y="90"/>
                  </a:lnTo>
                  <a:lnTo>
                    <a:pt x="492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498" y="66"/>
                  </a:lnTo>
                  <a:lnTo>
                    <a:pt x="504" y="60"/>
                  </a:lnTo>
                  <a:lnTo>
                    <a:pt x="498" y="60"/>
                  </a:lnTo>
                  <a:lnTo>
                    <a:pt x="498" y="54"/>
                  </a:lnTo>
                  <a:lnTo>
                    <a:pt x="492" y="54"/>
                  </a:lnTo>
                  <a:lnTo>
                    <a:pt x="492" y="60"/>
                  </a:lnTo>
                  <a:lnTo>
                    <a:pt x="486" y="60"/>
                  </a:lnTo>
                  <a:lnTo>
                    <a:pt x="486" y="66"/>
                  </a:lnTo>
                  <a:lnTo>
                    <a:pt x="480" y="66"/>
                  </a:lnTo>
                  <a:lnTo>
                    <a:pt x="474" y="72"/>
                  </a:lnTo>
                  <a:lnTo>
                    <a:pt x="474" y="66"/>
                  </a:lnTo>
                  <a:lnTo>
                    <a:pt x="474" y="72"/>
                  </a:lnTo>
                  <a:lnTo>
                    <a:pt x="468" y="72"/>
                  </a:lnTo>
                  <a:lnTo>
                    <a:pt x="468" y="78"/>
                  </a:lnTo>
                  <a:lnTo>
                    <a:pt x="468" y="84"/>
                  </a:lnTo>
                  <a:lnTo>
                    <a:pt x="462" y="90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0" y="84"/>
                  </a:lnTo>
                  <a:lnTo>
                    <a:pt x="450" y="90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44" y="102"/>
                  </a:lnTo>
                  <a:lnTo>
                    <a:pt x="444" y="108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38" y="126"/>
                  </a:lnTo>
                  <a:lnTo>
                    <a:pt x="438" y="132"/>
                  </a:lnTo>
                  <a:lnTo>
                    <a:pt x="438" y="138"/>
                  </a:lnTo>
                  <a:lnTo>
                    <a:pt x="438" y="144"/>
                  </a:lnTo>
                  <a:lnTo>
                    <a:pt x="432" y="144"/>
                  </a:lnTo>
                  <a:lnTo>
                    <a:pt x="432" y="150"/>
                  </a:lnTo>
                  <a:lnTo>
                    <a:pt x="432" y="144"/>
                  </a:lnTo>
                  <a:lnTo>
                    <a:pt x="426" y="144"/>
                  </a:lnTo>
                  <a:lnTo>
                    <a:pt x="426" y="150"/>
                  </a:lnTo>
                  <a:lnTo>
                    <a:pt x="426" y="156"/>
                  </a:lnTo>
                  <a:lnTo>
                    <a:pt x="432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2"/>
                  </a:lnTo>
                  <a:lnTo>
                    <a:pt x="432" y="168"/>
                  </a:lnTo>
                  <a:lnTo>
                    <a:pt x="426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44" y="168"/>
                  </a:lnTo>
                  <a:lnTo>
                    <a:pt x="444" y="174"/>
                  </a:lnTo>
                  <a:lnTo>
                    <a:pt x="444" y="180"/>
                  </a:lnTo>
                  <a:lnTo>
                    <a:pt x="444" y="186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2" y="192"/>
                  </a:lnTo>
                  <a:lnTo>
                    <a:pt x="426" y="192"/>
                  </a:lnTo>
                  <a:lnTo>
                    <a:pt x="420" y="186"/>
                  </a:lnTo>
                  <a:lnTo>
                    <a:pt x="414" y="186"/>
                  </a:lnTo>
                  <a:lnTo>
                    <a:pt x="408" y="186"/>
                  </a:lnTo>
                  <a:lnTo>
                    <a:pt x="402" y="186"/>
                  </a:lnTo>
                  <a:lnTo>
                    <a:pt x="396" y="186"/>
                  </a:lnTo>
                  <a:lnTo>
                    <a:pt x="390" y="186"/>
                  </a:lnTo>
                  <a:lnTo>
                    <a:pt x="384" y="186"/>
                  </a:lnTo>
                  <a:lnTo>
                    <a:pt x="378" y="186"/>
                  </a:lnTo>
                  <a:lnTo>
                    <a:pt x="372" y="186"/>
                  </a:lnTo>
                  <a:lnTo>
                    <a:pt x="354" y="186"/>
                  </a:lnTo>
                  <a:lnTo>
                    <a:pt x="342" y="186"/>
                  </a:lnTo>
                  <a:lnTo>
                    <a:pt x="324" y="186"/>
                  </a:lnTo>
                  <a:lnTo>
                    <a:pt x="312" y="186"/>
                  </a:lnTo>
                  <a:lnTo>
                    <a:pt x="306" y="186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82" y="186"/>
                  </a:lnTo>
                  <a:lnTo>
                    <a:pt x="270" y="186"/>
                  </a:lnTo>
                  <a:lnTo>
                    <a:pt x="264" y="186"/>
                  </a:lnTo>
                  <a:lnTo>
                    <a:pt x="258" y="192"/>
                  </a:lnTo>
                  <a:lnTo>
                    <a:pt x="258" y="186"/>
                  </a:lnTo>
                  <a:lnTo>
                    <a:pt x="246" y="186"/>
                  </a:lnTo>
                  <a:lnTo>
                    <a:pt x="240" y="186"/>
                  </a:lnTo>
                  <a:lnTo>
                    <a:pt x="234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2"/>
                  </a:lnTo>
                  <a:lnTo>
                    <a:pt x="204" y="192"/>
                  </a:lnTo>
                  <a:lnTo>
                    <a:pt x="198" y="192"/>
                  </a:lnTo>
                  <a:lnTo>
                    <a:pt x="192" y="192"/>
                  </a:lnTo>
                  <a:lnTo>
                    <a:pt x="180" y="192"/>
                  </a:lnTo>
                  <a:lnTo>
                    <a:pt x="168" y="192"/>
                  </a:lnTo>
                  <a:lnTo>
                    <a:pt x="162" y="192"/>
                  </a:lnTo>
                  <a:lnTo>
                    <a:pt x="150" y="192"/>
                  </a:lnTo>
                  <a:lnTo>
                    <a:pt x="138" y="192"/>
                  </a:lnTo>
                  <a:lnTo>
                    <a:pt x="132" y="192"/>
                  </a:lnTo>
                  <a:lnTo>
                    <a:pt x="120" y="192"/>
                  </a:lnTo>
                  <a:lnTo>
                    <a:pt x="114" y="192"/>
                  </a:lnTo>
                  <a:lnTo>
                    <a:pt x="108" y="192"/>
                  </a:lnTo>
                  <a:lnTo>
                    <a:pt x="102" y="192"/>
                  </a:lnTo>
                  <a:lnTo>
                    <a:pt x="90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2" y="198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36" y="198"/>
                  </a:lnTo>
                  <a:lnTo>
                    <a:pt x="30" y="204"/>
                  </a:lnTo>
                  <a:lnTo>
                    <a:pt x="24" y="204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6" y="210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54" y="156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56"/>
                  </a:lnTo>
                  <a:lnTo>
                    <a:pt x="78" y="162"/>
                  </a:lnTo>
                  <a:lnTo>
                    <a:pt x="84" y="162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9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0" y="126"/>
                  </a:lnTo>
                  <a:lnTo>
                    <a:pt x="276" y="120"/>
                  </a:lnTo>
                  <a:lnTo>
                    <a:pt x="282" y="120"/>
                  </a:lnTo>
                  <a:lnTo>
                    <a:pt x="300" y="120"/>
                  </a:lnTo>
                  <a:lnTo>
                    <a:pt x="306" y="114"/>
                  </a:lnTo>
                  <a:lnTo>
                    <a:pt x="312" y="108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8"/>
                  </a:lnTo>
                  <a:lnTo>
                    <a:pt x="342" y="30"/>
                  </a:lnTo>
                  <a:lnTo>
                    <a:pt x="342" y="24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8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24"/>
                  </a:lnTo>
                  <a:lnTo>
                    <a:pt x="414" y="30"/>
                  </a:lnTo>
                  <a:lnTo>
                    <a:pt x="420" y="30"/>
                  </a:lnTo>
                  <a:lnTo>
                    <a:pt x="42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74" y="30"/>
                  </a:lnTo>
                  <a:lnTo>
                    <a:pt x="474" y="18"/>
                  </a:lnTo>
                  <a:lnTo>
                    <a:pt x="474" y="12"/>
                  </a:lnTo>
                  <a:lnTo>
                    <a:pt x="480" y="12"/>
                  </a:lnTo>
                  <a:lnTo>
                    <a:pt x="486" y="12"/>
                  </a:lnTo>
                  <a:lnTo>
                    <a:pt x="606" y="12"/>
                  </a:lnTo>
                  <a:lnTo>
                    <a:pt x="630" y="12"/>
                  </a:lnTo>
                  <a:lnTo>
                    <a:pt x="678" y="12"/>
                  </a:lnTo>
                  <a:lnTo>
                    <a:pt x="744" y="12"/>
                  </a:lnTo>
                  <a:lnTo>
                    <a:pt x="774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2" y="6"/>
                  </a:lnTo>
                  <a:lnTo>
                    <a:pt x="888" y="12"/>
                  </a:lnTo>
                  <a:lnTo>
                    <a:pt x="888" y="24"/>
                  </a:lnTo>
                  <a:lnTo>
                    <a:pt x="888" y="30"/>
                  </a:lnTo>
                  <a:lnTo>
                    <a:pt x="882" y="36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64" y="42"/>
                  </a:lnTo>
                  <a:lnTo>
                    <a:pt x="864" y="48"/>
                  </a:lnTo>
                  <a:lnTo>
                    <a:pt x="858" y="54"/>
                  </a:lnTo>
                  <a:lnTo>
                    <a:pt x="864" y="54"/>
                  </a:lnTo>
                  <a:lnTo>
                    <a:pt x="870" y="72"/>
                  </a:lnTo>
                  <a:lnTo>
                    <a:pt x="870" y="78"/>
                  </a:lnTo>
                  <a:lnTo>
                    <a:pt x="870" y="84"/>
                  </a:lnTo>
                  <a:lnTo>
                    <a:pt x="870" y="90"/>
                  </a:lnTo>
                  <a:close/>
                  <a:moveTo>
                    <a:pt x="972" y="156"/>
                  </a:moveTo>
                  <a:lnTo>
                    <a:pt x="972" y="162"/>
                  </a:lnTo>
                  <a:lnTo>
                    <a:pt x="978" y="162"/>
                  </a:lnTo>
                  <a:lnTo>
                    <a:pt x="984" y="168"/>
                  </a:lnTo>
                  <a:lnTo>
                    <a:pt x="990" y="168"/>
                  </a:lnTo>
                  <a:lnTo>
                    <a:pt x="990" y="162"/>
                  </a:lnTo>
                  <a:lnTo>
                    <a:pt x="1008" y="162"/>
                  </a:lnTo>
                  <a:lnTo>
                    <a:pt x="1020" y="162"/>
                  </a:lnTo>
                  <a:lnTo>
                    <a:pt x="1038" y="162"/>
                  </a:lnTo>
                  <a:lnTo>
                    <a:pt x="1056" y="168"/>
                  </a:lnTo>
                  <a:lnTo>
                    <a:pt x="1056" y="180"/>
                  </a:lnTo>
                  <a:lnTo>
                    <a:pt x="1056" y="186"/>
                  </a:lnTo>
                  <a:lnTo>
                    <a:pt x="1056" y="204"/>
                  </a:lnTo>
                  <a:lnTo>
                    <a:pt x="1050" y="204"/>
                  </a:lnTo>
                  <a:lnTo>
                    <a:pt x="1044" y="204"/>
                  </a:lnTo>
                  <a:lnTo>
                    <a:pt x="1038" y="204"/>
                  </a:lnTo>
                  <a:lnTo>
                    <a:pt x="1032" y="204"/>
                  </a:lnTo>
                  <a:lnTo>
                    <a:pt x="1026" y="204"/>
                  </a:lnTo>
                  <a:lnTo>
                    <a:pt x="1020" y="204"/>
                  </a:lnTo>
                  <a:lnTo>
                    <a:pt x="1014" y="204"/>
                  </a:lnTo>
                  <a:lnTo>
                    <a:pt x="1008" y="204"/>
                  </a:lnTo>
                  <a:lnTo>
                    <a:pt x="1002" y="204"/>
                  </a:lnTo>
                  <a:lnTo>
                    <a:pt x="996" y="204"/>
                  </a:lnTo>
                  <a:lnTo>
                    <a:pt x="984" y="204"/>
                  </a:lnTo>
                  <a:lnTo>
                    <a:pt x="984" y="198"/>
                  </a:lnTo>
                  <a:lnTo>
                    <a:pt x="978" y="198"/>
                  </a:lnTo>
                  <a:lnTo>
                    <a:pt x="966" y="198"/>
                  </a:lnTo>
                  <a:lnTo>
                    <a:pt x="948" y="192"/>
                  </a:lnTo>
                  <a:lnTo>
                    <a:pt x="942" y="192"/>
                  </a:lnTo>
                  <a:lnTo>
                    <a:pt x="936" y="192"/>
                  </a:lnTo>
                  <a:lnTo>
                    <a:pt x="924" y="192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12" y="186"/>
                  </a:lnTo>
                  <a:lnTo>
                    <a:pt x="906" y="186"/>
                  </a:lnTo>
                  <a:lnTo>
                    <a:pt x="900" y="186"/>
                  </a:lnTo>
                  <a:lnTo>
                    <a:pt x="894" y="186"/>
                  </a:lnTo>
                  <a:lnTo>
                    <a:pt x="888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76" y="180"/>
                  </a:lnTo>
                  <a:lnTo>
                    <a:pt x="870" y="180"/>
                  </a:lnTo>
                  <a:lnTo>
                    <a:pt x="864" y="180"/>
                  </a:lnTo>
                  <a:lnTo>
                    <a:pt x="858" y="180"/>
                  </a:lnTo>
                  <a:lnTo>
                    <a:pt x="852" y="180"/>
                  </a:lnTo>
                  <a:lnTo>
                    <a:pt x="852" y="174"/>
                  </a:lnTo>
                  <a:lnTo>
                    <a:pt x="846" y="174"/>
                  </a:lnTo>
                  <a:lnTo>
                    <a:pt x="840" y="174"/>
                  </a:lnTo>
                  <a:lnTo>
                    <a:pt x="834" y="174"/>
                  </a:lnTo>
                  <a:lnTo>
                    <a:pt x="828" y="174"/>
                  </a:lnTo>
                  <a:lnTo>
                    <a:pt x="822" y="174"/>
                  </a:lnTo>
                  <a:lnTo>
                    <a:pt x="816" y="174"/>
                  </a:lnTo>
                  <a:lnTo>
                    <a:pt x="810" y="168"/>
                  </a:lnTo>
                  <a:lnTo>
                    <a:pt x="804" y="168"/>
                  </a:lnTo>
                  <a:lnTo>
                    <a:pt x="798" y="168"/>
                  </a:lnTo>
                  <a:lnTo>
                    <a:pt x="792" y="168"/>
                  </a:lnTo>
                  <a:lnTo>
                    <a:pt x="786" y="168"/>
                  </a:lnTo>
                  <a:lnTo>
                    <a:pt x="780" y="168"/>
                  </a:lnTo>
                  <a:lnTo>
                    <a:pt x="774" y="168"/>
                  </a:lnTo>
                  <a:lnTo>
                    <a:pt x="768" y="168"/>
                  </a:lnTo>
                  <a:lnTo>
                    <a:pt x="762" y="168"/>
                  </a:lnTo>
                  <a:lnTo>
                    <a:pt x="756" y="168"/>
                  </a:lnTo>
                  <a:lnTo>
                    <a:pt x="750" y="168"/>
                  </a:lnTo>
                  <a:lnTo>
                    <a:pt x="750" y="162"/>
                  </a:lnTo>
                  <a:lnTo>
                    <a:pt x="744" y="168"/>
                  </a:lnTo>
                  <a:lnTo>
                    <a:pt x="738" y="162"/>
                  </a:lnTo>
                  <a:lnTo>
                    <a:pt x="732" y="162"/>
                  </a:lnTo>
                  <a:lnTo>
                    <a:pt x="726" y="162"/>
                  </a:lnTo>
                  <a:lnTo>
                    <a:pt x="714" y="162"/>
                  </a:lnTo>
                  <a:lnTo>
                    <a:pt x="702" y="162"/>
                  </a:lnTo>
                  <a:lnTo>
                    <a:pt x="696" y="168"/>
                  </a:lnTo>
                  <a:lnTo>
                    <a:pt x="690" y="168"/>
                  </a:lnTo>
                  <a:lnTo>
                    <a:pt x="684" y="168"/>
                  </a:lnTo>
                  <a:lnTo>
                    <a:pt x="678" y="168"/>
                  </a:lnTo>
                  <a:lnTo>
                    <a:pt x="672" y="168"/>
                  </a:lnTo>
                  <a:lnTo>
                    <a:pt x="666" y="168"/>
                  </a:lnTo>
                  <a:lnTo>
                    <a:pt x="660" y="168"/>
                  </a:lnTo>
                  <a:lnTo>
                    <a:pt x="654" y="168"/>
                  </a:lnTo>
                  <a:lnTo>
                    <a:pt x="648" y="174"/>
                  </a:lnTo>
                  <a:lnTo>
                    <a:pt x="648" y="168"/>
                  </a:lnTo>
                  <a:lnTo>
                    <a:pt x="642" y="174"/>
                  </a:lnTo>
                  <a:lnTo>
                    <a:pt x="636" y="174"/>
                  </a:lnTo>
                  <a:lnTo>
                    <a:pt x="630" y="174"/>
                  </a:lnTo>
                  <a:lnTo>
                    <a:pt x="624" y="174"/>
                  </a:lnTo>
                  <a:lnTo>
                    <a:pt x="618" y="174"/>
                  </a:lnTo>
                  <a:lnTo>
                    <a:pt x="612" y="174"/>
                  </a:lnTo>
                  <a:lnTo>
                    <a:pt x="606" y="174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74"/>
                  </a:lnTo>
                  <a:lnTo>
                    <a:pt x="582" y="174"/>
                  </a:lnTo>
                  <a:lnTo>
                    <a:pt x="576" y="174"/>
                  </a:lnTo>
                  <a:lnTo>
                    <a:pt x="570" y="174"/>
                  </a:lnTo>
                  <a:lnTo>
                    <a:pt x="564" y="174"/>
                  </a:lnTo>
                  <a:lnTo>
                    <a:pt x="558" y="174"/>
                  </a:lnTo>
                  <a:lnTo>
                    <a:pt x="552" y="174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0" y="174"/>
                  </a:lnTo>
                  <a:lnTo>
                    <a:pt x="504" y="174"/>
                  </a:lnTo>
                  <a:lnTo>
                    <a:pt x="498" y="174"/>
                  </a:lnTo>
                  <a:lnTo>
                    <a:pt x="492" y="174"/>
                  </a:lnTo>
                  <a:lnTo>
                    <a:pt x="486" y="174"/>
                  </a:lnTo>
                  <a:lnTo>
                    <a:pt x="480" y="174"/>
                  </a:lnTo>
                  <a:lnTo>
                    <a:pt x="474" y="174"/>
                  </a:lnTo>
                  <a:lnTo>
                    <a:pt x="468" y="174"/>
                  </a:lnTo>
                  <a:lnTo>
                    <a:pt x="462" y="174"/>
                  </a:lnTo>
                  <a:lnTo>
                    <a:pt x="456" y="174"/>
                  </a:lnTo>
                  <a:lnTo>
                    <a:pt x="450" y="180"/>
                  </a:lnTo>
                  <a:lnTo>
                    <a:pt x="450" y="186"/>
                  </a:lnTo>
                  <a:lnTo>
                    <a:pt x="450" y="192"/>
                  </a:lnTo>
                  <a:lnTo>
                    <a:pt x="444" y="192"/>
                  </a:lnTo>
                  <a:lnTo>
                    <a:pt x="444" y="186"/>
                  </a:lnTo>
                  <a:lnTo>
                    <a:pt x="444" y="180"/>
                  </a:lnTo>
                  <a:lnTo>
                    <a:pt x="450" y="180"/>
                  </a:lnTo>
                  <a:lnTo>
                    <a:pt x="450" y="174"/>
                  </a:lnTo>
                  <a:lnTo>
                    <a:pt x="450" y="168"/>
                  </a:lnTo>
                  <a:lnTo>
                    <a:pt x="450" y="162"/>
                  </a:lnTo>
                  <a:lnTo>
                    <a:pt x="456" y="162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62" y="162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74" y="168"/>
                  </a:lnTo>
                  <a:lnTo>
                    <a:pt x="480" y="168"/>
                  </a:lnTo>
                  <a:lnTo>
                    <a:pt x="480" y="162"/>
                  </a:lnTo>
                  <a:lnTo>
                    <a:pt x="480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56"/>
                  </a:lnTo>
                  <a:lnTo>
                    <a:pt x="492" y="156"/>
                  </a:lnTo>
                  <a:lnTo>
                    <a:pt x="486" y="150"/>
                  </a:lnTo>
                  <a:lnTo>
                    <a:pt x="492" y="150"/>
                  </a:lnTo>
                  <a:lnTo>
                    <a:pt x="498" y="150"/>
                  </a:lnTo>
                  <a:lnTo>
                    <a:pt x="498" y="156"/>
                  </a:lnTo>
                  <a:lnTo>
                    <a:pt x="504" y="156"/>
                  </a:lnTo>
                  <a:lnTo>
                    <a:pt x="504" y="162"/>
                  </a:lnTo>
                  <a:lnTo>
                    <a:pt x="504" y="156"/>
                  </a:lnTo>
                  <a:lnTo>
                    <a:pt x="510" y="156"/>
                  </a:lnTo>
                  <a:lnTo>
                    <a:pt x="510" y="150"/>
                  </a:lnTo>
                  <a:lnTo>
                    <a:pt x="516" y="150"/>
                  </a:lnTo>
                  <a:lnTo>
                    <a:pt x="522" y="150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28" y="150"/>
                  </a:lnTo>
                  <a:lnTo>
                    <a:pt x="528" y="144"/>
                  </a:lnTo>
                  <a:lnTo>
                    <a:pt x="540" y="144"/>
                  </a:lnTo>
                  <a:lnTo>
                    <a:pt x="546" y="144"/>
                  </a:lnTo>
                  <a:lnTo>
                    <a:pt x="552" y="138"/>
                  </a:lnTo>
                  <a:lnTo>
                    <a:pt x="552" y="132"/>
                  </a:lnTo>
                  <a:lnTo>
                    <a:pt x="558" y="132"/>
                  </a:lnTo>
                  <a:lnTo>
                    <a:pt x="558" y="126"/>
                  </a:lnTo>
                  <a:lnTo>
                    <a:pt x="558" y="120"/>
                  </a:lnTo>
                  <a:lnTo>
                    <a:pt x="558" y="114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6" y="114"/>
                  </a:lnTo>
                  <a:lnTo>
                    <a:pt x="582" y="120"/>
                  </a:lnTo>
                  <a:lnTo>
                    <a:pt x="588" y="120"/>
                  </a:lnTo>
                  <a:lnTo>
                    <a:pt x="588" y="126"/>
                  </a:lnTo>
                  <a:lnTo>
                    <a:pt x="588" y="120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600" y="114"/>
                  </a:lnTo>
                  <a:lnTo>
                    <a:pt x="606" y="114"/>
                  </a:lnTo>
                  <a:lnTo>
                    <a:pt x="618" y="114"/>
                  </a:lnTo>
                  <a:lnTo>
                    <a:pt x="618" y="108"/>
                  </a:lnTo>
                  <a:lnTo>
                    <a:pt x="624" y="108"/>
                  </a:lnTo>
                  <a:lnTo>
                    <a:pt x="624" y="102"/>
                  </a:lnTo>
                  <a:lnTo>
                    <a:pt x="630" y="102"/>
                  </a:lnTo>
                  <a:lnTo>
                    <a:pt x="636" y="102"/>
                  </a:lnTo>
                  <a:lnTo>
                    <a:pt x="636" y="108"/>
                  </a:lnTo>
                  <a:lnTo>
                    <a:pt x="642" y="108"/>
                  </a:lnTo>
                  <a:lnTo>
                    <a:pt x="648" y="108"/>
                  </a:lnTo>
                  <a:lnTo>
                    <a:pt x="648" y="102"/>
                  </a:lnTo>
                  <a:lnTo>
                    <a:pt x="654" y="102"/>
                  </a:lnTo>
                  <a:lnTo>
                    <a:pt x="660" y="102"/>
                  </a:lnTo>
                  <a:lnTo>
                    <a:pt x="660" y="96"/>
                  </a:lnTo>
                  <a:lnTo>
                    <a:pt x="660" y="90"/>
                  </a:lnTo>
                  <a:lnTo>
                    <a:pt x="666" y="90"/>
                  </a:lnTo>
                  <a:lnTo>
                    <a:pt x="666" y="84"/>
                  </a:lnTo>
                  <a:lnTo>
                    <a:pt x="672" y="78"/>
                  </a:lnTo>
                  <a:lnTo>
                    <a:pt x="672" y="72"/>
                  </a:lnTo>
                  <a:lnTo>
                    <a:pt x="678" y="66"/>
                  </a:lnTo>
                  <a:lnTo>
                    <a:pt x="684" y="66"/>
                  </a:lnTo>
                  <a:lnTo>
                    <a:pt x="684" y="60"/>
                  </a:lnTo>
                  <a:lnTo>
                    <a:pt x="690" y="60"/>
                  </a:lnTo>
                  <a:lnTo>
                    <a:pt x="696" y="60"/>
                  </a:lnTo>
                  <a:lnTo>
                    <a:pt x="702" y="60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66"/>
                  </a:lnTo>
                  <a:lnTo>
                    <a:pt x="720" y="66"/>
                  </a:lnTo>
                  <a:lnTo>
                    <a:pt x="720" y="60"/>
                  </a:lnTo>
                  <a:lnTo>
                    <a:pt x="726" y="60"/>
                  </a:lnTo>
                  <a:lnTo>
                    <a:pt x="732" y="60"/>
                  </a:lnTo>
                  <a:lnTo>
                    <a:pt x="744" y="60"/>
                  </a:lnTo>
                  <a:lnTo>
                    <a:pt x="750" y="54"/>
                  </a:lnTo>
                  <a:lnTo>
                    <a:pt x="762" y="60"/>
                  </a:lnTo>
                  <a:lnTo>
                    <a:pt x="774" y="60"/>
                  </a:lnTo>
                  <a:lnTo>
                    <a:pt x="774" y="66"/>
                  </a:lnTo>
                  <a:lnTo>
                    <a:pt x="780" y="72"/>
                  </a:lnTo>
                  <a:lnTo>
                    <a:pt x="786" y="78"/>
                  </a:lnTo>
                  <a:lnTo>
                    <a:pt x="792" y="78"/>
                  </a:lnTo>
                  <a:lnTo>
                    <a:pt x="810" y="84"/>
                  </a:lnTo>
                  <a:lnTo>
                    <a:pt x="822" y="84"/>
                  </a:lnTo>
                  <a:lnTo>
                    <a:pt x="828" y="84"/>
                  </a:lnTo>
                  <a:lnTo>
                    <a:pt x="834" y="84"/>
                  </a:lnTo>
                  <a:lnTo>
                    <a:pt x="840" y="96"/>
                  </a:lnTo>
                  <a:lnTo>
                    <a:pt x="846" y="102"/>
                  </a:lnTo>
                  <a:lnTo>
                    <a:pt x="858" y="102"/>
                  </a:lnTo>
                  <a:lnTo>
                    <a:pt x="864" y="102"/>
                  </a:lnTo>
                  <a:lnTo>
                    <a:pt x="876" y="96"/>
                  </a:lnTo>
                  <a:lnTo>
                    <a:pt x="882" y="102"/>
                  </a:lnTo>
                  <a:lnTo>
                    <a:pt x="888" y="108"/>
                  </a:lnTo>
                  <a:lnTo>
                    <a:pt x="888" y="114"/>
                  </a:lnTo>
                  <a:lnTo>
                    <a:pt x="888" y="120"/>
                  </a:lnTo>
                  <a:lnTo>
                    <a:pt x="888" y="126"/>
                  </a:lnTo>
                  <a:lnTo>
                    <a:pt x="888" y="132"/>
                  </a:lnTo>
                  <a:lnTo>
                    <a:pt x="882" y="132"/>
                  </a:lnTo>
                  <a:lnTo>
                    <a:pt x="864" y="126"/>
                  </a:lnTo>
                  <a:lnTo>
                    <a:pt x="852" y="120"/>
                  </a:lnTo>
                  <a:lnTo>
                    <a:pt x="840" y="126"/>
                  </a:lnTo>
                  <a:lnTo>
                    <a:pt x="834" y="120"/>
                  </a:lnTo>
                  <a:lnTo>
                    <a:pt x="828" y="120"/>
                  </a:lnTo>
                  <a:lnTo>
                    <a:pt x="822" y="120"/>
                  </a:lnTo>
                  <a:lnTo>
                    <a:pt x="810" y="114"/>
                  </a:lnTo>
                  <a:lnTo>
                    <a:pt x="804" y="114"/>
                  </a:lnTo>
                  <a:lnTo>
                    <a:pt x="798" y="114"/>
                  </a:lnTo>
                  <a:lnTo>
                    <a:pt x="792" y="114"/>
                  </a:lnTo>
                  <a:lnTo>
                    <a:pt x="786" y="114"/>
                  </a:lnTo>
                  <a:lnTo>
                    <a:pt x="780" y="114"/>
                  </a:lnTo>
                  <a:lnTo>
                    <a:pt x="780" y="126"/>
                  </a:lnTo>
                  <a:lnTo>
                    <a:pt x="786" y="126"/>
                  </a:lnTo>
                  <a:lnTo>
                    <a:pt x="798" y="126"/>
                  </a:lnTo>
                  <a:lnTo>
                    <a:pt x="804" y="126"/>
                  </a:lnTo>
                  <a:lnTo>
                    <a:pt x="822" y="132"/>
                  </a:lnTo>
                  <a:lnTo>
                    <a:pt x="828" y="132"/>
                  </a:lnTo>
                  <a:lnTo>
                    <a:pt x="834" y="132"/>
                  </a:lnTo>
                  <a:lnTo>
                    <a:pt x="840" y="144"/>
                  </a:lnTo>
                  <a:lnTo>
                    <a:pt x="846" y="150"/>
                  </a:lnTo>
                  <a:lnTo>
                    <a:pt x="858" y="150"/>
                  </a:lnTo>
                  <a:lnTo>
                    <a:pt x="864" y="162"/>
                  </a:lnTo>
                  <a:lnTo>
                    <a:pt x="870" y="162"/>
                  </a:lnTo>
                  <a:lnTo>
                    <a:pt x="876" y="168"/>
                  </a:lnTo>
                  <a:lnTo>
                    <a:pt x="888" y="168"/>
                  </a:lnTo>
                  <a:lnTo>
                    <a:pt x="894" y="174"/>
                  </a:lnTo>
                  <a:lnTo>
                    <a:pt x="900" y="174"/>
                  </a:lnTo>
                  <a:lnTo>
                    <a:pt x="918" y="174"/>
                  </a:lnTo>
                  <a:lnTo>
                    <a:pt x="924" y="174"/>
                  </a:lnTo>
                  <a:lnTo>
                    <a:pt x="930" y="174"/>
                  </a:lnTo>
                  <a:lnTo>
                    <a:pt x="942" y="174"/>
                  </a:lnTo>
                  <a:lnTo>
                    <a:pt x="954" y="174"/>
                  </a:lnTo>
                  <a:lnTo>
                    <a:pt x="960" y="174"/>
                  </a:lnTo>
                  <a:lnTo>
                    <a:pt x="966" y="174"/>
                  </a:lnTo>
                  <a:lnTo>
                    <a:pt x="966" y="168"/>
                  </a:lnTo>
                  <a:lnTo>
                    <a:pt x="972" y="162"/>
                  </a:lnTo>
                  <a:lnTo>
                    <a:pt x="972" y="156"/>
                  </a:lnTo>
                  <a:close/>
                  <a:moveTo>
                    <a:pt x="942" y="174"/>
                  </a:moveTo>
                  <a:lnTo>
                    <a:pt x="936" y="174"/>
                  </a:lnTo>
                  <a:lnTo>
                    <a:pt x="936" y="168"/>
                  </a:lnTo>
                  <a:lnTo>
                    <a:pt x="936" y="162"/>
                  </a:lnTo>
                  <a:lnTo>
                    <a:pt x="948" y="162"/>
                  </a:lnTo>
                  <a:lnTo>
                    <a:pt x="948" y="156"/>
                  </a:lnTo>
                  <a:lnTo>
                    <a:pt x="954" y="156"/>
                  </a:lnTo>
                  <a:lnTo>
                    <a:pt x="960" y="156"/>
                  </a:lnTo>
                  <a:lnTo>
                    <a:pt x="966" y="156"/>
                  </a:lnTo>
                  <a:lnTo>
                    <a:pt x="966" y="162"/>
                  </a:lnTo>
                  <a:lnTo>
                    <a:pt x="960" y="168"/>
                  </a:lnTo>
                  <a:lnTo>
                    <a:pt x="942" y="174"/>
                  </a:lnTo>
                  <a:close/>
                  <a:moveTo>
                    <a:pt x="900" y="168"/>
                  </a:moveTo>
                  <a:lnTo>
                    <a:pt x="894" y="168"/>
                  </a:lnTo>
                  <a:lnTo>
                    <a:pt x="882" y="156"/>
                  </a:lnTo>
                  <a:lnTo>
                    <a:pt x="882" y="150"/>
                  </a:lnTo>
                  <a:lnTo>
                    <a:pt x="888" y="156"/>
                  </a:lnTo>
                  <a:lnTo>
                    <a:pt x="894" y="150"/>
                  </a:lnTo>
                  <a:lnTo>
                    <a:pt x="900" y="150"/>
                  </a:lnTo>
                  <a:lnTo>
                    <a:pt x="906" y="150"/>
                  </a:lnTo>
                  <a:lnTo>
                    <a:pt x="912" y="150"/>
                  </a:lnTo>
                  <a:lnTo>
                    <a:pt x="924" y="150"/>
                  </a:lnTo>
                  <a:lnTo>
                    <a:pt x="924" y="156"/>
                  </a:lnTo>
                  <a:lnTo>
                    <a:pt x="924" y="162"/>
                  </a:lnTo>
                  <a:lnTo>
                    <a:pt x="924" y="168"/>
                  </a:lnTo>
                  <a:lnTo>
                    <a:pt x="918" y="168"/>
                  </a:lnTo>
                  <a:lnTo>
                    <a:pt x="906" y="168"/>
                  </a:lnTo>
                  <a:lnTo>
                    <a:pt x="900" y="168"/>
                  </a:lnTo>
                  <a:close/>
                  <a:moveTo>
                    <a:pt x="870" y="162"/>
                  </a:moveTo>
                  <a:lnTo>
                    <a:pt x="876" y="162"/>
                  </a:lnTo>
                  <a:lnTo>
                    <a:pt x="876" y="168"/>
                  </a:lnTo>
                  <a:lnTo>
                    <a:pt x="870" y="168"/>
                  </a:lnTo>
                  <a:lnTo>
                    <a:pt x="870" y="162"/>
                  </a:lnTo>
                  <a:close/>
                  <a:moveTo>
                    <a:pt x="450" y="162"/>
                  </a:moveTo>
                  <a:lnTo>
                    <a:pt x="444" y="162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2" y="150"/>
                  </a:lnTo>
                  <a:lnTo>
                    <a:pt x="438" y="150"/>
                  </a:lnTo>
                  <a:lnTo>
                    <a:pt x="438" y="144"/>
                  </a:lnTo>
                  <a:lnTo>
                    <a:pt x="438" y="150"/>
                  </a:lnTo>
                  <a:lnTo>
                    <a:pt x="444" y="150"/>
                  </a:lnTo>
                  <a:lnTo>
                    <a:pt x="450" y="150"/>
                  </a:lnTo>
                  <a:lnTo>
                    <a:pt x="450" y="156"/>
                  </a:lnTo>
                  <a:lnTo>
                    <a:pt x="456" y="156"/>
                  </a:lnTo>
                  <a:lnTo>
                    <a:pt x="456" y="150"/>
                  </a:lnTo>
                  <a:lnTo>
                    <a:pt x="456" y="156"/>
                  </a:lnTo>
                  <a:lnTo>
                    <a:pt x="462" y="150"/>
                  </a:lnTo>
                  <a:lnTo>
                    <a:pt x="462" y="144"/>
                  </a:lnTo>
                  <a:lnTo>
                    <a:pt x="468" y="144"/>
                  </a:lnTo>
                  <a:lnTo>
                    <a:pt x="468" y="150"/>
                  </a:lnTo>
                  <a:lnTo>
                    <a:pt x="474" y="150"/>
                  </a:lnTo>
                  <a:lnTo>
                    <a:pt x="480" y="150"/>
                  </a:lnTo>
                  <a:lnTo>
                    <a:pt x="480" y="156"/>
                  </a:lnTo>
                  <a:lnTo>
                    <a:pt x="480" y="162"/>
                  </a:lnTo>
                  <a:lnTo>
                    <a:pt x="474" y="162"/>
                  </a:lnTo>
                  <a:lnTo>
                    <a:pt x="474" y="168"/>
                  </a:lnTo>
                  <a:lnTo>
                    <a:pt x="474" y="162"/>
                  </a:lnTo>
                  <a:lnTo>
                    <a:pt x="468" y="162"/>
                  </a:lnTo>
                  <a:lnTo>
                    <a:pt x="462" y="162"/>
                  </a:lnTo>
                  <a:lnTo>
                    <a:pt x="456" y="162"/>
                  </a:lnTo>
                  <a:lnTo>
                    <a:pt x="450" y="16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6" name="Freeform 31">
              <a:extLst>
                <a:ext uri="{FF2B5EF4-FFF2-40B4-BE49-F238E27FC236}">
                  <a16:creationId xmlns:a16="http://schemas.microsoft.com/office/drawing/2014/main" id="{0989F057-38E8-4AA5-8B73-27F6355E235C}"/>
                </a:ext>
              </a:extLst>
            </p:cNvPr>
            <p:cNvSpPr>
              <a:spLocks/>
            </p:cNvSpPr>
            <p:nvPr/>
          </p:nvSpPr>
          <p:spPr bwMode="gray">
            <a:xfrm>
              <a:off x="792590" y="2728084"/>
              <a:ext cx="1182944" cy="740282"/>
            </a:xfrm>
            <a:custGeom>
              <a:avLst/>
              <a:gdLst>
                <a:gd name="T0" fmla="*/ 138 w 2226"/>
                <a:gd name="T1" fmla="*/ 121 h 1392"/>
                <a:gd name="T2" fmla="*/ 133 w 2226"/>
                <a:gd name="T3" fmla="*/ 119 h 1392"/>
                <a:gd name="T4" fmla="*/ 128 w 2226"/>
                <a:gd name="T5" fmla="*/ 117 h 1392"/>
                <a:gd name="T6" fmla="*/ 119 w 2226"/>
                <a:gd name="T7" fmla="*/ 116 h 1392"/>
                <a:gd name="T8" fmla="*/ 101 w 2226"/>
                <a:gd name="T9" fmla="*/ 116 h 1392"/>
                <a:gd name="T10" fmla="*/ 94 w 2226"/>
                <a:gd name="T11" fmla="*/ 104 h 1392"/>
                <a:gd name="T12" fmla="*/ 82 w 2226"/>
                <a:gd name="T13" fmla="*/ 83 h 1392"/>
                <a:gd name="T14" fmla="*/ 87 w 2226"/>
                <a:gd name="T15" fmla="*/ 69 h 1392"/>
                <a:gd name="T16" fmla="*/ 82 w 2226"/>
                <a:gd name="T17" fmla="*/ 65 h 1392"/>
                <a:gd name="T18" fmla="*/ 59 w 2226"/>
                <a:gd name="T19" fmla="*/ 57 h 1392"/>
                <a:gd name="T20" fmla="*/ 29 w 2226"/>
                <a:gd name="T21" fmla="*/ 77 h 1392"/>
                <a:gd name="T22" fmla="*/ 20 w 2226"/>
                <a:gd name="T23" fmla="*/ 78 h 1392"/>
                <a:gd name="T24" fmla="*/ 15 w 2226"/>
                <a:gd name="T25" fmla="*/ 82 h 1392"/>
                <a:gd name="T26" fmla="*/ 8 w 2226"/>
                <a:gd name="T27" fmla="*/ 86 h 1392"/>
                <a:gd name="T28" fmla="*/ 1 w 2226"/>
                <a:gd name="T29" fmla="*/ 88 h 1392"/>
                <a:gd name="T30" fmla="*/ 0 w 2226"/>
                <a:gd name="T31" fmla="*/ 82 h 1392"/>
                <a:gd name="T32" fmla="*/ 0 w 2226"/>
                <a:gd name="T33" fmla="*/ 76 h 1392"/>
                <a:gd name="T34" fmla="*/ 2 w 2226"/>
                <a:gd name="T35" fmla="*/ 70 h 1392"/>
                <a:gd name="T36" fmla="*/ 3 w 2226"/>
                <a:gd name="T37" fmla="*/ 65 h 1392"/>
                <a:gd name="T38" fmla="*/ 2 w 2226"/>
                <a:gd name="T39" fmla="*/ 63 h 1392"/>
                <a:gd name="T40" fmla="*/ 9 w 2226"/>
                <a:gd name="T41" fmla="*/ 60 h 1392"/>
                <a:gd name="T42" fmla="*/ 17 w 2226"/>
                <a:gd name="T43" fmla="*/ 59 h 1392"/>
                <a:gd name="T44" fmla="*/ 22 w 2226"/>
                <a:gd name="T45" fmla="*/ 51 h 1392"/>
                <a:gd name="T46" fmla="*/ 23 w 2226"/>
                <a:gd name="T47" fmla="*/ 43 h 1392"/>
                <a:gd name="T48" fmla="*/ 27 w 2226"/>
                <a:gd name="T49" fmla="*/ 34 h 1392"/>
                <a:gd name="T50" fmla="*/ 30 w 2226"/>
                <a:gd name="T51" fmla="*/ 27 h 1392"/>
                <a:gd name="T52" fmla="*/ 33 w 2226"/>
                <a:gd name="T53" fmla="*/ 22 h 1392"/>
                <a:gd name="T54" fmla="*/ 42 w 2226"/>
                <a:gd name="T55" fmla="*/ 17 h 1392"/>
                <a:gd name="T56" fmla="*/ 47 w 2226"/>
                <a:gd name="T57" fmla="*/ 14 h 1392"/>
                <a:gd name="T58" fmla="*/ 49 w 2226"/>
                <a:gd name="T59" fmla="*/ 5 h 1392"/>
                <a:gd name="T60" fmla="*/ 53 w 2226"/>
                <a:gd name="T61" fmla="*/ 0 h 1392"/>
                <a:gd name="T62" fmla="*/ 55 w 2226"/>
                <a:gd name="T63" fmla="*/ 4 h 1392"/>
                <a:gd name="T64" fmla="*/ 59 w 2226"/>
                <a:gd name="T65" fmla="*/ 7 h 1392"/>
                <a:gd name="T66" fmla="*/ 63 w 2226"/>
                <a:gd name="T67" fmla="*/ 7 h 1392"/>
                <a:gd name="T68" fmla="*/ 66 w 2226"/>
                <a:gd name="T69" fmla="*/ 9 h 1392"/>
                <a:gd name="T70" fmla="*/ 67 w 2226"/>
                <a:gd name="T71" fmla="*/ 12 h 1392"/>
                <a:gd name="T72" fmla="*/ 67 w 2226"/>
                <a:gd name="T73" fmla="*/ 13 h 1392"/>
                <a:gd name="T74" fmla="*/ 70 w 2226"/>
                <a:gd name="T75" fmla="*/ 15 h 1392"/>
                <a:gd name="T76" fmla="*/ 74 w 2226"/>
                <a:gd name="T77" fmla="*/ 17 h 1392"/>
                <a:gd name="T78" fmla="*/ 78 w 2226"/>
                <a:gd name="T79" fmla="*/ 18 h 1392"/>
                <a:gd name="T80" fmla="*/ 97 w 2226"/>
                <a:gd name="T81" fmla="*/ 40 h 1392"/>
                <a:gd name="T82" fmla="*/ 102 w 2226"/>
                <a:gd name="T83" fmla="*/ 44 h 1392"/>
                <a:gd name="T84" fmla="*/ 110 w 2226"/>
                <a:gd name="T85" fmla="*/ 49 h 1392"/>
                <a:gd name="T86" fmla="*/ 113 w 2226"/>
                <a:gd name="T87" fmla="*/ 53 h 1392"/>
                <a:gd name="T88" fmla="*/ 118 w 2226"/>
                <a:gd name="T89" fmla="*/ 57 h 1392"/>
                <a:gd name="T90" fmla="*/ 124 w 2226"/>
                <a:gd name="T91" fmla="*/ 54 h 1392"/>
                <a:gd name="T92" fmla="*/ 133 w 2226"/>
                <a:gd name="T93" fmla="*/ 58 h 1392"/>
                <a:gd name="T94" fmla="*/ 137 w 2226"/>
                <a:gd name="T95" fmla="*/ 64 h 1392"/>
                <a:gd name="T96" fmla="*/ 145 w 2226"/>
                <a:gd name="T97" fmla="*/ 65 h 1392"/>
                <a:gd name="T98" fmla="*/ 152 w 2226"/>
                <a:gd name="T99" fmla="*/ 67 h 1392"/>
                <a:gd name="T100" fmla="*/ 161 w 2226"/>
                <a:gd name="T101" fmla="*/ 72 h 1392"/>
                <a:gd name="T102" fmla="*/ 168 w 2226"/>
                <a:gd name="T103" fmla="*/ 76 h 1392"/>
                <a:gd name="T104" fmla="*/ 177 w 2226"/>
                <a:gd name="T105" fmla="*/ 78 h 1392"/>
                <a:gd name="T106" fmla="*/ 184 w 2226"/>
                <a:gd name="T107" fmla="*/ 78 h 1392"/>
                <a:gd name="T108" fmla="*/ 190 w 2226"/>
                <a:gd name="T109" fmla="*/ 81 h 1392"/>
                <a:gd name="T110" fmla="*/ 192 w 2226"/>
                <a:gd name="T111" fmla="*/ 86 h 1392"/>
                <a:gd name="T112" fmla="*/ 187 w 2226"/>
                <a:gd name="T113" fmla="*/ 99 h 1392"/>
                <a:gd name="T114" fmla="*/ 165 w 2226"/>
                <a:gd name="T115" fmla="*/ 97 h 1392"/>
                <a:gd name="T116" fmla="*/ 155 w 2226"/>
                <a:gd name="T117" fmla="*/ 92 h 1392"/>
                <a:gd name="T118" fmla="*/ 146 w 2226"/>
                <a:gd name="T119" fmla="*/ 102 h 1392"/>
                <a:gd name="T120" fmla="*/ 149 w 2226"/>
                <a:gd name="T121" fmla="*/ 106 h 1392"/>
                <a:gd name="T122" fmla="*/ 151 w 2226"/>
                <a:gd name="T123" fmla="*/ 108 h 1392"/>
                <a:gd name="T124" fmla="*/ 157 w 2226"/>
                <a:gd name="T125" fmla="*/ 113 h 13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1392"/>
                <a:gd name="T191" fmla="*/ 2226 w 2226"/>
                <a:gd name="T192" fmla="*/ 1392 h 13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1392">
                  <a:moveTo>
                    <a:pt x="1782" y="1326"/>
                  </a:moveTo>
                  <a:lnTo>
                    <a:pt x="1776" y="1332"/>
                  </a:lnTo>
                  <a:lnTo>
                    <a:pt x="1692" y="1338"/>
                  </a:lnTo>
                  <a:lnTo>
                    <a:pt x="1680" y="1386"/>
                  </a:lnTo>
                  <a:lnTo>
                    <a:pt x="1674" y="1392"/>
                  </a:lnTo>
                  <a:lnTo>
                    <a:pt x="1638" y="1392"/>
                  </a:lnTo>
                  <a:lnTo>
                    <a:pt x="1620" y="1392"/>
                  </a:lnTo>
                  <a:lnTo>
                    <a:pt x="1614" y="1392"/>
                  </a:lnTo>
                  <a:lnTo>
                    <a:pt x="1608" y="1386"/>
                  </a:lnTo>
                  <a:lnTo>
                    <a:pt x="1584" y="1386"/>
                  </a:lnTo>
                  <a:lnTo>
                    <a:pt x="1578" y="1386"/>
                  </a:lnTo>
                  <a:lnTo>
                    <a:pt x="1572" y="1380"/>
                  </a:lnTo>
                  <a:lnTo>
                    <a:pt x="1578" y="1356"/>
                  </a:lnTo>
                  <a:lnTo>
                    <a:pt x="1572" y="1356"/>
                  </a:lnTo>
                  <a:lnTo>
                    <a:pt x="1560" y="1350"/>
                  </a:lnTo>
                  <a:lnTo>
                    <a:pt x="1554" y="1350"/>
                  </a:lnTo>
                  <a:lnTo>
                    <a:pt x="1542" y="1350"/>
                  </a:lnTo>
                  <a:lnTo>
                    <a:pt x="1530" y="1350"/>
                  </a:lnTo>
                  <a:lnTo>
                    <a:pt x="1524" y="1356"/>
                  </a:lnTo>
                  <a:lnTo>
                    <a:pt x="1524" y="1362"/>
                  </a:lnTo>
                  <a:lnTo>
                    <a:pt x="1512" y="1374"/>
                  </a:lnTo>
                  <a:lnTo>
                    <a:pt x="1506" y="1374"/>
                  </a:lnTo>
                  <a:lnTo>
                    <a:pt x="1500" y="1368"/>
                  </a:lnTo>
                  <a:lnTo>
                    <a:pt x="1500" y="1362"/>
                  </a:lnTo>
                  <a:lnTo>
                    <a:pt x="1488" y="1362"/>
                  </a:lnTo>
                  <a:lnTo>
                    <a:pt x="1482" y="1356"/>
                  </a:lnTo>
                  <a:lnTo>
                    <a:pt x="1482" y="1350"/>
                  </a:lnTo>
                  <a:lnTo>
                    <a:pt x="1476" y="1350"/>
                  </a:lnTo>
                  <a:lnTo>
                    <a:pt x="1470" y="1344"/>
                  </a:lnTo>
                  <a:lnTo>
                    <a:pt x="1464" y="1344"/>
                  </a:lnTo>
                  <a:lnTo>
                    <a:pt x="1452" y="1350"/>
                  </a:lnTo>
                  <a:lnTo>
                    <a:pt x="1452" y="1356"/>
                  </a:lnTo>
                  <a:lnTo>
                    <a:pt x="1440" y="1356"/>
                  </a:lnTo>
                  <a:lnTo>
                    <a:pt x="1434" y="1344"/>
                  </a:lnTo>
                  <a:lnTo>
                    <a:pt x="1422" y="1332"/>
                  </a:lnTo>
                  <a:lnTo>
                    <a:pt x="1416" y="1326"/>
                  </a:lnTo>
                  <a:lnTo>
                    <a:pt x="1404" y="1320"/>
                  </a:lnTo>
                  <a:lnTo>
                    <a:pt x="1404" y="1314"/>
                  </a:lnTo>
                  <a:lnTo>
                    <a:pt x="1374" y="1308"/>
                  </a:lnTo>
                  <a:lnTo>
                    <a:pt x="1368" y="1326"/>
                  </a:lnTo>
                  <a:lnTo>
                    <a:pt x="1344" y="1338"/>
                  </a:lnTo>
                  <a:lnTo>
                    <a:pt x="1326" y="1332"/>
                  </a:lnTo>
                  <a:lnTo>
                    <a:pt x="1302" y="1332"/>
                  </a:lnTo>
                  <a:lnTo>
                    <a:pt x="1278" y="1338"/>
                  </a:lnTo>
                  <a:lnTo>
                    <a:pt x="1236" y="1338"/>
                  </a:lnTo>
                  <a:lnTo>
                    <a:pt x="1224" y="1338"/>
                  </a:lnTo>
                  <a:lnTo>
                    <a:pt x="1224" y="1326"/>
                  </a:lnTo>
                  <a:lnTo>
                    <a:pt x="1206" y="1326"/>
                  </a:lnTo>
                  <a:lnTo>
                    <a:pt x="1170" y="1326"/>
                  </a:lnTo>
                  <a:lnTo>
                    <a:pt x="1152" y="1326"/>
                  </a:lnTo>
                  <a:lnTo>
                    <a:pt x="1140" y="1314"/>
                  </a:lnTo>
                  <a:lnTo>
                    <a:pt x="1134" y="1296"/>
                  </a:lnTo>
                  <a:lnTo>
                    <a:pt x="1134" y="1284"/>
                  </a:lnTo>
                  <a:lnTo>
                    <a:pt x="1128" y="1254"/>
                  </a:lnTo>
                  <a:lnTo>
                    <a:pt x="1128" y="1242"/>
                  </a:lnTo>
                  <a:lnTo>
                    <a:pt x="1122" y="1230"/>
                  </a:lnTo>
                  <a:lnTo>
                    <a:pt x="1104" y="1218"/>
                  </a:lnTo>
                  <a:lnTo>
                    <a:pt x="1104" y="1212"/>
                  </a:lnTo>
                  <a:lnTo>
                    <a:pt x="1092" y="1206"/>
                  </a:lnTo>
                  <a:lnTo>
                    <a:pt x="1080" y="1194"/>
                  </a:lnTo>
                  <a:lnTo>
                    <a:pt x="1068" y="1176"/>
                  </a:lnTo>
                  <a:lnTo>
                    <a:pt x="1050" y="1152"/>
                  </a:lnTo>
                  <a:lnTo>
                    <a:pt x="1020" y="1098"/>
                  </a:lnTo>
                  <a:lnTo>
                    <a:pt x="978" y="1026"/>
                  </a:lnTo>
                  <a:lnTo>
                    <a:pt x="978" y="1014"/>
                  </a:lnTo>
                  <a:lnTo>
                    <a:pt x="972" y="1014"/>
                  </a:lnTo>
                  <a:lnTo>
                    <a:pt x="972" y="1008"/>
                  </a:lnTo>
                  <a:lnTo>
                    <a:pt x="978" y="1002"/>
                  </a:lnTo>
                  <a:lnTo>
                    <a:pt x="960" y="966"/>
                  </a:lnTo>
                  <a:lnTo>
                    <a:pt x="948" y="954"/>
                  </a:lnTo>
                  <a:lnTo>
                    <a:pt x="948" y="936"/>
                  </a:lnTo>
                  <a:lnTo>
                    <a:pt x="936" y="900"/>
                  </a:lnTo>
                  <a:lnTo>
                    <a:pt x="942" y="876"/>
                  </a:lnTo>
                  <a:lnTo>
                    <a:pt x="942" y="834"/>
                  </a:lnTo>
                  <a:lnTo>
                    <a:pt x="960" y="828"/>
                  </a:lnTo>
                  <a:lnTo>
                    <a:pt x="966" y="816"/>
                  </a:lnTo>
                  <a:lnTo>
                    <a:pt x="972" y="810"/>
                  </a:lnTo>
                  <a:lnTo>
                    <a:pt x="978" y="804"/>
                  </a:lnTo>
                  <a:lnTo>
                    <a:pt x="996" y="798"/>
                  </a:lnTo>
                  <a:lnTo>
                    <a:pt x="996" y="792"/>
                  </a:lnTo>
                  <a:lnTo>
                    <a:pt x="1014" y="780"/>
                  </a:lnTo>
                  <a:lnTo>
                    <a:pt x="1026" y="768"/>
                  </a:lnTo>
                  <a:lnTo>
                    <a:pt x="1032" y="762"/>
                  </a:lnTo>
                  <a:lnTo>
                    <a:pt x="1026" y="756"/>
                  </a:lnTo>
                  <a:lnTo>
                    <a:pt x="1014" y="744"/>
                  </a:lnTo>
                  <a:lnTo>
                    <a:pt x="996" y="756"/>
                  </a:lnTo>
                  <a:lnTo>
                    <a:pt x="954" y="768"/>
                  </a:lnTo>
                  <a:lnTo>
                    <a:pt x="942" y="762"/>
                  </a:lnTo>
                  <a:lnTo>
                    <a:pt x="942" y="756"/>
                  </a:lnTo>
                  <a:lnTo>
                    <a:pt x="936" y="750"/>
                  </a:lnTo>
                  <a:lnTo>
                    <a:pt x="846" y="732"/>
                  </a:lnTo>
                  <a:lnTo>
                    <a:pt x="822" y="726"/>
                  </a:lnTo>
                  <a:lnTo>
                    <a:pt x="810" y="714"/>
                  </a:lnTo>
                  <a:lnTo>
                    <a:pt x="792" y="690"/>
                  </a:lnTo>
                  <a:lnTo>
                    <a:pt x="792" y="678"/>
                  </a:lnTo>
                  <a:lnTo>
                    <a:pt x="762" y="642"/>
                  </a:lnTo>
                  <a:lnTo>
                    <a:pt x="750" y="636"/>
                  </a:lnTo>
                  <a:lnTo>
                    <a:pt x="726" y="630"/>
                  </a:lnTo>
                  <a:lnTo>
                    <a:pt x="696" y="642"/>
                  </a:lnTo>
                  <a:lnTo>
                    <a:pt x="678" y="654"/>
                  </a:lnTo>
                  <a:lnTo>
                    <a:pt x="666" y="684"/>
                  </a:lnTo>
                  <a:lnTo>
                    <a:pt x="660" y="726"/>
                  </a:lnTo>
                  <a:lnTo>
                    <a:pt x="606" y="756"/>
                  </a:lnTo>
                  <a:lnTo>
                    <a:pt x="558" y="780"/>
                  </a:lnTo>
                  <a:lnTo>
                    <a:pt x="438" y="834"/>
                  </a:lnTo>
                  <a:lnTo>
                    <a:pt x="402" y="846"/>
                  </a:lnTo>
                  <a:lnTo>
                    <a:pt x="372" y="870"/>
                  </a:lnTo>
                  <a:lnTo>
                    <a:pt x="360" y="876"/>
                  </a:lnTo>
                  <a:lnTo>
                    <a:pt x="354" y="876"/>
                  </a:lnTo>
                  <a:lnTo>
                    <a:pt x="330" y="882"/>
                  </a:lnTo>
                  <a:lnTo>
                    <a:pt x="306" y="882"/>
                  </a:lnTo>
                  <a:lnTo>
                    <a:pt x="300" y="876"/>
                  </a:lnTo>
                  <a:lnTo>
                    <a:pt x="294" y="876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76" y="864"/>
                  </a:lnTo>
                  <a:lnTo>
                    <a:pt x="270" y="870"/>
                  </a:lnTo>
                  <a:lnTo>
                    <a:pt x="264" y="870"/>
                  </a:lnTo>
                  <a:lnTo>
                    <a:pt x="240" y="894"/>
                  </a:lnTo>
                  <a:lnTo>
                    <a:pt x="234" y="894"/>
                  </a:lnTo>
                  <a:lnTo>
                    <a:pt x="228" y="900"/>
                  </a:lnTo>
                  <a:lnTo>
                    <a:pt x="222" y="906"/>
                  </a:lnTo>
                  <a:lnTo>
                    <a:pt x="210" y="912"/>
                  </a:lnTo>
                  <a:lnTo>
                    <a:pt x="204" y="912"/>
                  </a:lnTo>
                  <a:lnTo>
                    <a:pt x="198" y="912"/>
                  </a:lnTo>
                  <a:lnTo>
                    <a:pt x="192" y="918"/>
                  </a:lnTo>
                  <a:lnTo>
                    <a:pt x="180" y="918"/>
                  </a:lnTo>
                  <a:lnTo>
                    <a:pt x="174" y="930"/>
                  </a:lnTo>
                  <a:lnTo>
                    <a:pt x="174" y="936"/>
                  </a:lnTo>
                  <a:lnTo>
                    <a:pt x="168" y="942"/>
                  </a:lnTo>
                  <a:lnTo>
                    <a:pt x="162" y="942"/>
                  </a:lnTo>
                  <a:lnTo>
                    <a:pt x="150" y="960"/>
                  </a:lnTo>
                  <a:lnTo>
                    <a:pt x="144" y="966"/>
                  </a:lnTo>
                  <a:lnTo>
                    <a:pt x="138" y="972"/>
                  </a:lnTo>
                  <a:lnTo>
                    <a:pt x="132" y="972"/>
                  </a:lnTo>
                  <a:lnTo>
                    <a:pt x="126" y="984"/>
                  </a:lnTo>
                  <a:lnTo>
                    <a:pt x="120" y="984"/>
                  </a:lnTo>
                  <a:lnTo>
                    <a:pt x="114" y="990"/>
                  </a:lnTo>
                  <a:lnTo>
                    <a:pt x="96" y="990"/>
                  </a:lnTo>
                  <a:lnTo>
                    <a:pt x="90" y="990"/>
                  </a:lnTo>
                  <a:lnTo>
                    <a:pt x="78" y="990"/>
                  </a:lnTo>
                  <a:lnTo>
                    <a:pt x="72" y="990"/>
                  </a:lnTo>
                  <a:lnTo>
                    <a:pt x="60" y="990"/>
                  </a:lnTo>
                  <a:lnTo>
                    <a:pt x="42" y="990"/>
                  </a:lnTo>
                  <a:lnTo>
                    <a:pt x="36" y="996"/>
                  </a:lnTo>
                  <a:lnTo>
                    <a:pt x="30" y="1002"/>
                  </a:lnTo>
                  <a:lnTo>
                    <a:pt x="24" y="1014"/>
                  </a:lnTo>
                  <a:lnTo>
                    <a:pt x="24" y="1020"/>
                  </a:lnTo>
                  <a:lnTo>
                    <a:pt x="18" y="1020"/>
                  </a:lnTo>
                  <a:lnTo>
                    <a:pt x="12" y="1014"/>
                  </a:lnTo>
                  <a:lnTo>
                    <a:pt x="12" y="1008"/>
                  </a:lnTo>
                  <a:lnTo>
                    <a:pt x="12" y="990"/>
                  </a:lnTo>
                  <a:lnTo>
                    <a:pt x="12" y="984"/>
                  </a:lnTo>
                  <a:lnTo>
                    <a:pt x="12" y="972"/>
                  </a:lnTo>
                  <a:lnTo>
                    <a:pt x="12" y="966"/>
                  </a:lnTo>
                  <a:lnTo>
                    <a:pt x="6" y="966"/>
                  </a:lnTo>
                  <a:lnTo>
                    <a:pt x="6" y="960"/>
                  </a:lnTo>
                  <a:lnTo>
                    <a:pt x="6" y="954"/>
                  </a:lnTo>
                  <a:lnTo>
                    <a:pt x="6" y="948"/>
                  </a:lnTo>
                  <a:lnTo>
                    <a:pt x="6" y="942"/>
                  </a:lnTo>
                  <a:lnTo>
                    <a:pt x="12" y="930"/>
                  </a:lnTo>
                  <a:lnTo>
                    <a:pt x="6" y="924"/>
                  </a:lnTo>
                  <a:lnTo>
                    <a:pt x="6" y="918"/>
                  </a:lnTo>
                  <a:lnTo>
                    <a:pt x="6" y="912"/>
                  </a:lnTo>
                  <a:lnTo>
                    <a:pt x="6" y="906"/>
                  </a:lnTo>
                  <a:lnTo>
                    <a:pt x="6" y="900"/>
                  </a:lnTo>
                  <a:lnTo>
                    <a:pt x="0" y="894"/>
                  </a:lnTo>
                  <a:lnTo>
                    <a:pt x="0" y="888"/>
                  </a:lnTo>
                  <a:lnTo>
                    <a:pt x="0" y="882"/>
                  </a:lnTo>
                  <a:lnTo>
                    <a:pt x="6" y="876"/>
                  </a:lnTo>
                  <a:lnTo>
                    <a:pt x="6" y="870"/>
                  </a:lnTo>
                  <a:lnTo>
                    <a:pt x="18" y="864"/>
                  </a:lnTo>
                  <a:lnTo>
                    <a:pt x="18" y="858"/>
                  </a:lnTo>
                  <a:lnTo>
                    <a:pt x="18" y="846"/>
                  </a:lnTo>
                  <a:lnTo>
                    <a:pt x="18" y="834"/>
                  </a:lnTo>
                  <a:lnTo>
                    <a:pt x="18" y="828"/>
                  </a:lnTo>
                  <a:lnTo>
                    <a:pt x="24" y="828"/>
                  </a:lnTo>
                  <a:lnTo>
                    <a:pt x="24" y="810"/>
                  </a:lnTo>
                  <a:lnTo>
                    <a:pt x="24" y="804"/>
                  </a:lnTo>
                  <a:lnTo>
                    <a:pt x="18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24" y="792"/>
                  </a:lnTo>
                  <a:lnTo>
                    <a:pt x="30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6" y="762"/>
                  </a:lnTo>
                  <a:lnTo>
                    <a:pt x="36" y="756"/>
                  </a:lnTo>
                  <a:lnTo>
                    <a:pt x="30" y="756"/>
                  </a:lnTo>
                  <a:lnTo>
                    <a:pt x="30" y="750"/>
                  </a:lnTo>
                  <a:lnTo>
                    <a:pt x="36" y="750"/>
                  </a:lnTo>
                  <a:lnTo>
                    <a:pt x="36" y="744"/>
                  </a:lnTo>
                  <a:lnTo>
                    <a:pt x="30" y="744"/>
                  </a:lnTo>
                  <a:lnTo>
                    <a:pt x="30" y="738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0" y="732"/>
                  </a:lnTo>
                  <a:lnTo>
                    <a:pt x="36" y="726"/>
                  </a:lnTo>
                  <a:lnTo>
                    <a:pt x="30" y="726"/>
                  </a:lnTo>
                  <a:lnTo>
                    <a:pt x="24" y="726"/>
                  </a:lnTo>
                  <a:lnTo>
                    <a:pt x="30" y="720"/>
                  </a:lnTo>
                  <a:lnTo>
                    <a:pt x="30" y="714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696"/>
                  </a:lnTo>
                  <a:lnTo>
                    <a:pt x="66" y="702"/>
                  </a:lnTo>
                  <a:lnTo>
                    <a:pt x="78" y="702"/>
                  </a:lnTo>
                  <a:lnTo>
                    <a:pt x="84" y="702"/>
                  </a:lnTo>
                  <a:lnTo>
                    <a:pt x="96" y="696"/>
                  </a:lnTo>
                  <a:lnTo>
                    <a:pt x="102" y="690"/>
                  </a:lnTo>
                  <a:lnTo>
                    <a:pt x="102" y="684"/>
                  </a:lnTo>
                  <a:lnTo>
                    <a:pt x="114" y="684"/>
                  </a:lnTo>
                  <a:lnTo>
                    <a:pt x="144" y="684"/>
                  </a:lnTo>
                  <a:lnTo>
                    <a:pt x="150" y="690"/>
                  </a:lnTo>
                  <a:lnTo>
                    <a:pt x="162" y="696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6" y="690"/>
                  </a:lnTo>
                  <a:lnTo>
                    <a:pt x="192" y="690"/>
                  </a:lnTo>
                  <a:lnTo>
                    <a:pt x="198" y="684"/>
                  </a:lnTo>
                  <a:lnTo>
                    <a:pt x="204" y="684"/>
                  </a:lnTo>
                  <a:lnTo>
                    <a:pt x="210" y="684"/>
                  </a:lnTo>
                  <a:lnTo>
                    <a:pt x="222" y="678"/>
                  </a:lnTo>
                  <a:lnTo>
                    <a:pt x="228" y="678"/>
                  </a:lnTo>
                  <a:lnTo>
                    <a:pt x="228" y="660"/>
                  </a:lnTo>
                  <a:lnTo>
                    <a:pt x="234" y="642"/>
                  </a:lnTo>
                  <a:lnTo>
                    <a:pt x="246" y="618"/>
                  </a:lnTo>
                  <a:lnTo>
                    <a:pt x="252" y="618"/>
                  </a:lnTo>
                  <a:lnTo>
                    <a:pt x="252" y="600"/>
                  </a:lnTo>
                  <a:lnTo>
                    <a:pt x="252" y="588"/>
                  </a:lnTo>
                  <a:lnTo>
                    <a:pt x="252" y="582"/>
                  </a:lnTo>
                  <a:lnTo>
                    <a:pt x="258" y="576"/>
                  </a:lnTo>
                  <a:lnTo>
                    <a:pt x="270" y="564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70" y="522"/>
                  </a:lnTo>
                  <a:lnTo>
                    <a:pt x="270" y="510"/>
                  </a:lnTo>
                  <a:lnTo>
                    <a:pt x="270" y="498"/>
                  </a:lnTo>
                  <a:lnTo>
                    <a:pt x="258" y="468"/>
                  </a:lnTo>
                  <a:lnTo>
                    <a:pt x="252" y="456"/>
                  </a:lnTo>
                  <a:lnTo>
                    <a:pt x="258" y="444"/>
                  </a:lnTo>
                  <a:lnTo>
                    <a:pt x="264" y="432"/>
                  </a:lnTo>
                  <a:lnTo>
                    <a:pt x="270" y="426"/>
                  </a:lnTo>
                  <a:lnTo>
                    <a:pt x="276" y="420"/>
                  </a:lnTo>
                  <a:lnTo>
                    <a:pt x="288" y="420"/>
                  </a:lnTo>
                  <a:lnTo>
                    <a:pt x="288" y="414"/>
                  </a:lnTo>
                  <a:lnTo>
                    <a:pt x="294" y="414"/>
                  </a:lnTo>
                  <a:lnTo>
                    <a:pt x="306" y="390"/>
                  </a:lnTo>
                  <a:lnTo>
                    <a:pt x="312" y="384"/>
                  </a:lnTo>
                  <a:lnTo>
                    <a:pt x="318" y="378"/>
                  </a:lnTo>
                  <a:lnTo>
                    <a:pt x="318" y="372"/>
                  </a:lnTo>
                  <a:lnTo>
                    <a:pt x="324" y="366"/>
                  </a:lnTo>
                  <a:lnTo>
                    <a:pt x="330" y="354"/>
                  </a:lnTo>
                  <a:lnTo>
                    <a:pt x="336" y="348"/>
                  </a:lnTo>
                  <a:lnTo>
                    <a:pt x="336" y="330"/>
                  </a:lnTo>
                  <a:lnTo>
                    <a:pt x="342" y="324"/>
                  </a:lnTo>
                  <a:lnTo>
                    <a:pt x="342" y="318"/>
                  </a:lnTo>
                  <a:lnTo>
                    <a:pt x="348" y="318"/>
                  </a:lnTo>
                  <a:lnTo>
                    <a:pt x="360" y="318"/>
                  </a:lnTo>
                  <a:lnTo>
                    <a:pt x="372" y="318"/>
                  </a:lnTo>
                  <a:lnTo>
                    <a:pt x="384" y="306"/>
                  </a:lnTo>
                  <a:lnTo>
                    <a:pt x="396" y="300"/>
                  </a:lnTo>
                  <a:lnTo>
                    <a:pt x="396" y="294"/>
                  </a:lnTo>
                  <a:lnTo>
                    <a:pt x="396" y="288"/>
                  </a:lnTo>
                  <a:lnTo>
                    <a:pt x="390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2"/>
                  </a:lnTo>
                  <a:lnTo>
                    <a:pt x="378" y="246"/>
                  </a:lnTo>
                  <a:lnTo>
                    <a:pt x="384" y="228"/>
                  </a:lnTo>
                  <a:lnTo>
                    <a:pt x="390" y="216"/>
                  </a:lnTo>
                  <a:lnTo>
                    <a:pt x="402" y="210"/>
                  </a:lnTo>
                  <a:lnTo>
                    <a:pt x="408" y="210"/>
                  </a:lnTo>
                  <a:lnTo>
                    <a:pt x="420" y="204"/>
                  </a:lnTo>
                  <a:lnTo>
                    <a:pt x="444" y="198"/>
                  </a:lnTo>
                  <a:lnTo>
                    <a:pt x="462" y="192"/>
                  </a:lnTo>
                  <a:lnTo>
                    <a:pt x="474" y="186"/>
                  </a:lnTo>
                  <a:lnTo>
                    <a:pt x="480" y="192"/>
                  </a:lnTo>
                  <a:lnTo>
                    <a:pt x="492" y="192"/>
                  </a:lnTo>
                  <a:lnTo>
                    <a:pt x="498" y="192"/>
                  </a:lnTo>
                  <a:lnTo>
                    <a:pt x="504" y="192"/>
                  </a:lnTo>
                  <a:lnTo>
                    <a:pt x="510" y="192"/>
                  </a:lnTo>
                  <a:lnTo>
                    <a:pt x="516" y="186"/>
                  </a:lnTo>
                  <a:lnTo>
                    <a:pt x="522" y="180"/>
                  </a:lnTo>
                  <a:lnTo>
                    <a:pt x="522" y="174"/>
                  </a:lnTo>
                  <a:lnTo>
                    <a:pt x="528" y="168"/>
                  </a:lnTo>
                  <a:lnTo>
                    <a:pt x="534" y="168"/>
                  </a:lnTo>
                  <a:lnTo>
                    <a:pt x="534" y="156"/>
                  </a:lnTo>
                  <a:lnTo>
                    <a:pt x="534" y="150"/>
                  </a:lnTo>
                  <a:lnTo>
                    <a:pt x="552" y="138"/>
                  </a:lnTo>
                  <a:lnTo>
                    <a:pt x="558" y="126"/>
                  </a:lnTo>
                  <a:lnTo>
                    <a:pt x="558" y="114"/>
                  </a:lnTo>
                  <a:lnTo>
                    <a:pt x="564" y="102"/>
                  </a:lnTo>
                  <a:lnTo>
                    <a:pt x="564" y="96"/>
                  </a:lnTo>
                  <a:lnTo>
                    <a:pt x="564" y="90"/>
                  </a:lnTo>
                  <a:lnTo>
                    <a:pt x="564" y="72"/>
                  </a:lnTo>
                  <a:lnTo>
                    <a:pt x="564" y="60"/>
                  </a:lnTo>
                  <a:lnTo>
                    <a:pt x="564" y="54"/>
                  </a:lnTo>
                  <a:lnTo>
                    <a:pt x="570" y="42"/>
                  </a:lnTo>
                  <a:lnTo>
                    <a:pt x="576" y="42"/>
                  </a:lnTo>
                  <a:lnTo>
                    <a:pt x="582" y="36"/>
                  </a:lnTo>
                  <a:lnTo>
                    <a:pt x="594" y="36"/>
                  </a:lnTo>
                  <a:lnTo>
                    <a:pt x="594" y="30"/>
                  </a:lnTo>
                  <a:lnTo>
                    <a:pt x="600" y="24"/>
                  </a:lnTo>
                  <a:lnTo>
                    <a:pt x="600" y="12"/>
                  </a:lnTo>
                  <a:lnTo>
                    <a:pt x="606" y="6"/>
                  </a:lnTo>
                  <a:lnTo>
                    <a:pt x="606" y="0"/>
                  </a:lnTo>
                  <a:lnTo>
                    <a:pt x="612" y="0"/>
                  </a:lnTo>
                  <a:lnTo>
                    <a:pt x="618" y="0"/>
                  </a:lnTo>
                  <a:lnTo>
                    <a:pt x="624" y="6"/>
                  </a:lnTo>
                  <a:lnTo>
                    <a:pt x="624" y="12"/>
                  </a:lnTo>
                  <a:lnTo>
                    <a:pt x="624" y="18"/>
                  </a:lnTo>
                  <a:lnTo>
                    <a:pt x="624" y="24"/>
                  </a:lnTo>
                  <a:lnTo>
                    <a:pt x="624" y="30"/>
                  </a:lnTo>
                  <a:lnTo>
                    <a:pt x="630" y="30"/>
                  </a:lnTo>
                  <a:lnTo>
                    <a:pt x="630" y="36"/>
                  </a:lnTo>
                  <a:lnTo>
                    <a:pt x="630" y="42"/>
                  </a:lnTo>
                  <a:lnTo>
                    <a:pt x="630" y="48"/>
                  </a:lnTo>
                  <a:lnTo>
                    <a:pt x="636" y="54"/>
                  </a:lnTo>
                  <a:lnTo>
                    <a:pt x="642" y="48"/>
                  </a:lnTo>
                  <a:lnTo>
                    <a:pt x="648" y="48"/>
                  </a:lnTo>
                  <a:lnTo>
                    <a:pt x="648" y="60"/>
                  </a:lnTo>
                  <a:lnTo>
                    <a:pt x="654" y="66"/>
                  </a:lnTo>
                  <a:lnTo>
                    <a:pt x="660" y="72"/>
                  </a:lnTo>
                  <a:lnTo>
                    <a:pt x="666" y="72"/>
                  </a:lnTo>
                  <a:lnTo>
                    <a:pt x="666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72" y="66"/>
                  </a:lnTo>
                  <a:lnTo>
                    <a:pt x="678" y="66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6" y="66"/>
                  </a:lnTo>
                  <a:lnTo>
                    <a:pt x="696" y="72"/>
                  </a:lnTo>
                  <a:lnTo>
                    <a:pt x="702" y="72"/>
                  </a:lnTo>
                  <a:lnTo>
                    <a:pt x="708" y="72"/>
                  </a:lnTo>
                  <a:lnTo>
                    <a:pt x="720" y="66"/>
                  </a:lnTo>
                  <a:lnTo>
                    <a:pt x="726" y="78"/>
                  </a:lnTo>
                  <a:lnTo>
                    <a:pt x="744" y="84"/>
                  </a:lnTo>
                  <a:lnTo>
                    <a:pt x="744" y="90"/>
                  </a:lnTo>
                  <a:lnTo>
                    <a:pt x="744" y="96"/>
                  </a:lnTo>
                  <a:lnTo>
                    <a:pt x="738" y="96"/>
                  </a:lnTo>
                  <a:lnTo>
                    <a:pt x="738" y="102"/>
                  </a:lnTo>
                  <a:lnTo>
                    <a:pt x="732" y="102"/>
                  </a:lnTo>
                  <a:lnTo>
                    <a:pt x="732" y="108"/>
                  </a:lnTo>
                  <a:lnTo>
                    <a:pt x="738" y="108"/>
                  </a:lnTo>
                  <a:lnTo>
                    <a:pt x="744" y="114"/>
                  </a:lnTo>
                  <a:lnTo>
                    <a:pt x="750" y="108"/>
                  </a:lnTo>
                  <a:lnTo>
                    <a:pt x="756" y="108"/>
                  </a:lnTo>
                  <a:lnTo>
                    <a:pt x="762" y="108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80" y="120"/>
                  </a:lnTo>
                  <a:lnTo>
                    <a:pt x="774" y="120"/>
                  </a:lnTo>
                  <a:lnTo>
                    <a:pt x="768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74" y="138"/>
                  </a:lnTo>
                  <a:lnTo>
                    <a:pt x="774" y="132"/>
                  </a:lnTo>
                  <a:lnTo>
                    <a:pt x="780" y="132"/>
                  </a:lnTo>
                  <a:lnTo>
                    <a:pt x="786" y="132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44"/>
                  </a:lnTo>
                  <a:lnTo>
                    <a:pt x="786" y="150"/>
                  </a:lnTo>
                  <a:lnTo>
                    <a:pt x="780" y="150"/>
                  </a:lnTo>
                  <a:lnTo>
                    <a:pt x="774" y="150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74" y="162"/>
                  </a:lnTo>
                  <a:lnTo>
                    <a:pt x="780" y="162"/>
                  </a:lnTo>
                  <a:lnTo>
                    <a:pt x="786" y="168"/>
                  </a:lnTo>
                  <a:lnTo>
                    <a:pt x="792" y="162"/>
                  </a:lnTo>
                  <a:lnTo>
                    <a:pt x="798" y="168"/>
                  </a:lnTo>
                  <a:lnTo>
                    <a:pt x="798" y="174"/>
                  </a:lnTo>
                  <a:lnTo>
                    <a:pt x="804" y="168"/>
                  </a:lnTo>
                  <a:lnTo>
                    <a:pt x="810" y="168"/>
                  </a:lnTo>
                  <a:lnTo>
                    <a:pt x="810" y="174"/>
                  </a:lnTo>
                  <a:lnTo>
                    <a:pt x="816" y="168"/>
                  </a:lnTo>
                  <a:lnTo>
                    <a:pt x="822" y="162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74"/>
                  </a:lnTo>
                  <a:lnTo>
                    <a:pt x="834" y="192"/>
                  </a:lnTo>
                  <a:lnTo>
                    <a:pt x="834" y="198"/>
                  </a:lnTo>
                  <a:lnTo>
                    <a:pt x="840" y="192"/>
                  </a:lnTo>
                  <a:lnTo>
                    <a:pt x="846" y="192"/>
                  </a:lnTo>
                  <a:lnTo>
                    <a:pt x="852" y="186"/>
                  </a:lnTo>
                  <a:lnTo>
                    <a:pt x="858" y="192"/>
                  </a:lnTo>
                  <a:lnTo>
                    <a:pt x="864" y="192"/>
                  </a:lnTo>
                  <a:lnTo>
                    <a:pt x="870" y="198"/>
                  </a:lnTo>
                  <a:lnTo>
                    <a:pt x="876" y="180"/>
                  </a:lnTo>
                  <a:lnTo>
                    <a:pt x="882" y="180"/>
                  </a:lnTo>
                  <a:lnTo>
                    <a:pt x="888" y="180"/>
                  </a:lnTo>
                  <a:lnTo>
                    <a:pt x="894" y="186"/>
                  </a:lnTo>
                  <a:lnTo>
                    <a:pt x="888" y="198"/>
                  </a:lnTo>
                  <a:lnTo>
                    <a:pt x="894" y="204"/>
                  </a:lnTo>
                  <a:lnTo>
                    <a:pt x="906" y="210"/>
                  </a:lnTo>
                  <a:lnTo>
                    <a:pt x="918" y="246"/>
                  </a:lnTo>
                  <a:lnTo>
                    <a:pt x="930" y="258"/>
                  </a:lnTo>
                  <a:lnTo>
                    <a:pt x="942" y="282"/>
                  </a:lnTo>
                  <a:lnTo>
                    <a:pt x="966" y="288"/>
                  </a:lnTo>
                  <a:lnTo>
                    <a:pt x="972" y="300"/>
                  </a:lnTo>
                  <a:lnTo>
                    <a:pt x="972" y="318"/>
                  </a:lnTo>
                  <a:lnTo>
                    <a:pt x="996" y="336"/>
                  </a:lnTo>
                  <a:lnTo>
                    <a:pt x="1050" y="390"/>
                  </a:lnTo>
                  <a:lnTo>
                    <a:pt x="1116" y="462"/>
                  </a:lnTo>
                  <a:lnTo>
                    <a:pt x="1122" y="468"/>
                  </a:lnTo>
                  <a:lnTo>
                    <a:pt x="1128" y="474"/>
                  </a:lnTo>
                  <a:lnTo>
                    <a:pt x="1140" y="474"/>
                  </a:lnTo>
                  <a:lnTo>
                    <a:pt x="1152" y="486"/>
                  </a:lnTo>
                  <a:lnTo>
                    <a:pt x="1152" y="492"/>
                  </a:lnTo>
                  <a:lnTo>
                    <a:pt x="1158" y="492"/>
                  </a:lnTo>
                  <a:lnTo>
                    <a:pt x="1164" y="492"/>
                  </a:lnTo>
                  <a:lnTo>
                    <a:pt x="1170" y="504"/>
                  </a:lnTo>
                  <a:lnTo>
                    <a:pt x="1176" y="504"/>
                  </a:lnTo>
                  <a:lnTo>
                    <a:pt x="1176" y="510"/>
                  </a:lnTo>
                  <a:lnTo>
                    <a:pt x="1200" y="516"/>
                  </a:lnTo>
                  <a:lnTo>
                    <a:pt x="1200" y="522"/>
                  </a:lnTo>
                  <a:lnTo>
                    <a:pt x="1212" y="534"/>
                  </a:lnTo>
                  <a:lnTo>
                    <a:pt x="1218" y="540"/>
                  </a:lnTo>
                  <a:lnTo>
                    <a:pt x="1224" y="552"/>
                  </a:lnTo>
                  <a:lnTo>
                    <a:pt x="1230" y="552"/>
                  </a:lnTo>
                  <a:lnTo>
                    <a:pt x="1242" y="552"/>
                  </a:lnTo>
                  <a:lnTo>
                    <a:pt x="1248" y="558"/>
                  </a:lnTo>
                  <a:lnTo>
                    <a:pt x="1254" y="558"/>
                  </a:lnTo>
                  <a:lnTo>
                    <a:pt x="1260" y="564"/>
                  </a:lnTo>
                  <a:lnTo>
                    <a:pt x="1266" y="564"/>
                  </a:lnTo>
                  <a:lnTo>
                    <a:pt x="1272" y="564"/>
                  </a:lnTo>
                  <a:lnTo>
                    <a:pt x="1284" y="564"/>
                  </a:lnTo>
                  <a:lnTo>
                    <a:pt x="1290" y="570"/>
                  </a:lnTo>
                  <a:lnTo>
                    <a:pt x="1296" y="576"/>
                  </a:lnTo>
                  <a:lnTo>
                    <a:pt x="1302" y="588"/>
                  </a:lnTo>
                  <a:lnTo>
                    <a:pt x="1296" y="594"/>
                  </a:lnTo>
                  <a:lnTo>
                    <a:pt x="1296" y="600"/>
                  </a:lnTo>
                  <a:lnTo>
                    <a:pt x="1296" y="606"/>
                  </a:lnTo>
                  <a:lnTo>
                    <a:pt x="1290" y="612"/>
                  </a:lnTo>
                  <a:lnTo>
                    <a:pt x="1290" y="624"/>
                  </a:lnTo>
                  <a:lnTo>
                    <a:pt x="1290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308" y="654"/>
                  </a:lnTo>
                  <a:lnTo>
                    <a:pt x="1320" y="654"/>
                  </a:lnTo>
                  <a:lnTo>
                    <a:pt x="1326" y="660"/>
                  </a:lnTo>
                  <a:lnTo>
                    <a:pt x="1338" y="654"/>
                  </a:lnTo>
                  <a:lnTo>
                    <a:pt x="1344" y="654"/>
                  </a:lnTo>
                  <a:lnTo>
                    <a:pt x="1356" y="654"/>
                  </a:lnTo>
                  <a:lnTo>
                    <a:pt x="1362" y="648"/>
                  </a:lnTo>
                  <a:lnTo>
                    <a:pt x="1368" y="642"/>
                  </a:lnTo>
                  <a:lnTo>
                    <a:pt x="1374" y="636"/>
                  </a:lnTo>
                  <a:lnTo>
                    <a:pt x="1380" y="636"/>
                  </a:lnTo>
                  <a:lnTo>
                    <a:pt x="1392" y="636"/>
                  </a:lnTo>
                  <a:lnTo>
                    <a:pt x="1398" y="636"/>
                  </a:lnTo>
                  <a:lnTo>
                    <a:pt x="1404" y="636"/>
                  </a:lnTo>
                  <a:lnTo>
                    <a:pt x="1410" y="630"/>
                  </a:lnTo>
                  <a:lnTo>
                    <a:pt x="1410" y="624"/>
                  </a:lnTo>
                  <a:lnTo>
                    <a:pt x="1422" y="618"/>
                  </a:lnTo>
                  <a:lnTo>
                    <a:pt x="1428" y="618"/>
                  </a:lnTo>
                  <a:lnTo>
                    <a:pt x="1440" y="612"/>
                  </a:lnTo>
                  <a:lnTo>
                    <a:pt x="1446" y="612"/>
                  </a:lnTo>
                  <a:lnTo>
                    <a:pt x="1458" y="612"/>
                  </a:lnTo>
                  <a:lnTo>
                    <a:pt x="1470" y="624"/>
                  </a:lnTo>
                  <a:lnTo>
                    <a:pt x="1488" y="642"/>
                  </a:lnTo>
                  <a:lnTo>
                    <a:pt x="1500" y="648"/>
                  </a:lnTo>
                  <a:lnTo>
                    <a:pt x="1512" y="654"/>
                  </a:lnTo>
                  <a:lnTo>
                    <a:pt x="1518" y="660"/>
                  </a:lnTo>
                  <a:lnTo>
                    <a:pt x="1524" y="660"/>
                  </a:lnTo>
                  <a:lnTo>
                    <a:pt x="1530" y="660"/>
                  </a:lnTo>
                  <a:lnTo>
                    <a:pt x="1536" y="666"/>
                  </a:lnTo>
                  <a:lnTo>
                    <a:pt x="1542" y="672"/>
                  </a:lnTo>
                  <a:lnTo>
                    <a:pt x="1548" y="672"/>
                  </a:lnTo>
                  <a:lnTo>
                    <a:pt x="1554" y="684"/>
                  </a:lnTo>
                  <a:lnTo>
                    <a:pt x="1554" y="690"/>
                  </a:lnTo>
                  <a:lnTo>
                    <a:pt x="1566" y="702"/>
                  </a:lnTo>
                  <a:lnTo>
                    <a:pt x="1572" y="720"/>
                  </a:lnTo>
                  <a:lnTo>
                    <a:pt x="1572" y="726"/>
                  </a:lnTo>
                  <a:lnTo>
                    <a:pt x="1578" y="732"/>
                  </a:lnTo>
                  <a:lnTo>
                    <a:pt x="1584" y="738"/>
                  </a:lnTo>
                  <a:lnTo>
                    <a:pt x="1590" y="738"/>
                  </a:lnTo>
                  <a:lnTo>
                    <a:pt x="1596" y="738"/>
                  </a:lnTo>
                  <a:lnTo>
                    <a:pt x="1602" y="744"/>
                  </a:lnTo>
                  <a:lnTo>
                    <a:pt x="1608" y="744"/>
                  </a:lnTo>
                  <a:lnTo>
                    <a:pt x="1614" y="744"/>
                  </a:lnTo>
                  <a:lnTo>
                    <a:pt x="1626" y="744"/>
                  </a:lnTo>
                  <a:lnTo>
                    <a:pt x="1638" y="744"/>
                  </a:lnTo>
                  <a:lnTo>
                    <a:pt x="1650" y="744"/>
                  </a:lnTo>
                  <a:lnTo>
                    <a:pt x="1662" y="744"/>
                  </a:lnTo>
                  <a:lnTo>
                    <a:pt x="1668" y="744"/>
                  </a:lnTo>
                  <a:lnTo>
                    <a:pt x="1674" y="744"/>
                  </a:lnTo>
                  <a:lnTo>
                    <a:pt x="1686" y="744"/>
                  </a:lnTo>
                  <a:lnTo>
                    <a:pt x="1698" y="750"/>
                  </a:lnTo>
                  <a:lnTo>
                    <a:pt x="1704" y="750"/>
                  </a:lnTo>
                  <a:lnTo>
                    <a:pt x="1716" y="756"/>
                  </a:lnTo>
                  <a:lnTo>
                    <a:pt x="1722" y="756"/>
                  </a:lnTo>
                  <a:lnTo>
                    <a:pt x="1728" y="756"/>
                  </a:lnTo>
                  <a:lnTo>
                    <a:pt x="1734" y="762"/>
                  </a:lnTo>
                  <a:lnTo>
                    <a:pt x="1740" y="768"/>
                  </a:lnTo>
                  <a:lnTo>
                    <a:pt x="1758" y="780"/>
                  </a:lnTo>
                  <a:lnTo>
                    <a:pt x="1770" y="780"/>
                  </a:lnTo>
                  <a:lnTo>
                    <a:pt x="1776" y="780"/>
                  </a:lnTo>
                  <a:lnTo>
                    <a:pt x="1782" y="780"/>
                  </a:lnTo>
                  <a:lnTo>
                    <a:pt x="1800" y="798"/>
                  </a:lnTo>
                  <a:lnTo>
                    <a:pt x="1818" y="810"/>
                  </a:lnTo>
                  <a:lnTo>
                    <a:pt x="1830" y="816"/>
                  </a:lnTo>
                  <a:lnTo>
                    <a:pt x="1836" y="822"/>
                  </a:lnTo>
                  <a:lnTo>
                    <a:pt x="1836" y="828"/>
                  </a:lnTo>
                  <a:lnTo>
                    <a:pt x="1842" y="828"/>
                  </a:lnTo>
                  <a:lnTo>
                    <a:pt x="1848" y="834"/>
                  </a:lnTo>
                  <a:lnTo>
                    <a:pt x="1854" y="840"/>
                  </a:lnTo>
                  <a:lnTo>
                    <a:pt x="1860" y="846"/>
                  </a:lnTo>
                  <a:lnTo>
                    <a:pt x="1872" y="852"/>
                  </a:lnTo>
                  <a:lnTo>
                    <a:pt x="1884" y="852"/>
                  </a:lnTo>
                  <a:lnTo>
                    <a:pt x="1896" y="852"/>
                  </a:lnTo>
                  <a:lnTo>
                    <a:pt x="1902" y="846"/>
                  </a:lnTo>
                  <a:lnTo>
                    <a:pt x="1908" y="852"/>
                  </a:lnTo>
                  <a:lnTo>
                    <a:pt x="1920" y="858"/>
                  </a:lnTo>
                  <a:lnTo>
                    <a:pt x="1926" y="870"/>
                  </a:lnTo>
                  <a:lnTo>
                    <a:pt x="1938" y="888"/>
                  </a:lnTo>
                  <a:lnTo>
                    <a:pt x="1944" y="900"/>
                  </a:lnTo>
                  <a:lnTo>
                    <a:pt x="1950" y="900"/>
                  </a:lnTo>
                  <a:lnTo>
                    <a:pt x="1962" y="906"/>
                  </a:lnTo>
                  <a:lnTo>
                    <a:pt x="1968" y="906"/>
                  </a:lnTo>
                  <a:lnTo>
                    <a:pt x="1980" y="906"/>
                  </a:lnTo>
                  <a:lnTo>
                    <a:pt x="1998" y="906"/>
                  </a:lnTo>
                  <a:lnTo>
                    <a:pt x="2010" y="900"/>
                  </a:lnTo>
                  <a:lnTo>
                    <a:pt x="2022" y="900"/>
                  </a:lnTo>
                  <a:lnTo>
                    <a:pt x="2028" y="900"/>
                  </a:lnTo>
                  <a:lnTo>
                    <a:pt x="2034" y="906"/>
                  </a:lnTo>
                  <a:lnTo>
                    <a:pt x="2046" y="906"/>
                  </a:lnTo>
                  <a:lnTo>
                    <a:pt x="2052" y="900"/>
                  </a:lnTo>
                  <a:lnTo>
                    <a:pt x="2058" y="900"/>
                  </a:lnTo>
                  <a:lnTo>
                    <a:pt x="2064" y="900"/>
                  </a:lnTo>
                  <a:lnTo>
                    <a:pt x="2070" y="900"/>
                  </a:lnTo>
                  <a:lnTo>
                    <a:pt x="2076" y="900"/>
                  </a:lnTo>
                  <a:lnTo>
                    <a:pt x="2076" y="906"/>
                  </a:lnTo>
                  <a:lnTo>
                    <a:pt x="2088" y="906"/>
                  </a:lnTo>
                  <a:lnTo>
                    <a:pt x="2106" y="900"/>
                  </a:lnTo>
                  <a:lnTo>
                    <a:pt x="2118" y="900"/>
                  </a:lnTo>
                  <a:lnTo>
                    <a:pt x="2130" y="900"/>
                  </a:lnTo>
                  <a:lnTo>
                    <a:pt x="2142" y="900"/>
                  </a:lnTo>
                  <a:lnTo>
                    <a:pt x="2148" y="906"/>
                  </a:lnTo>
                  <a:lnTo>
                    <a:pt x="2154" y="906"/>
                  </a:lnTo>
                  <a:lnTo>
                    <a:pt x="2160" y="906"/>
                  </a:lnTo>
                  <a:lnTo>
                    <a:pt x="2166" y="906"/>
                  </a:lnTo>
                  <a:lnTo>
                    <a:pt x="2178" y="918"/>
                  </a:lnTo>
                  <a:lnTo>
                    <a:pt x="2178" y="924"/>
                  </a:lnTo>
                  <a:lnTo>
                    <a:pt x="2184" y="924"/>
                  </a:lnTo>
                  <a:lnTo>
                    <a:pt x="2190" y="924"/>
                  </a:lnTo>
                  <a:lnTo>
                    <a:pt x="2196" y="924"/>
                  </a:lnTo>
                  <a:lnTo>
                    <a:pt x="2202" y="918"/>
                  </a:lnTo>
                  <a:lnTo>
                    <a:pt x="2208" y="918"/>
                  </a:lnTo>
                  <a:lnTo>
                    <a:pt x="2214" y="918"/>
                  </a:lnTo>
                  <a:lnTo>
                    <a:pt x="2226" y="918"/>
                  </a:lnTo>
                  <a:lnTo>
                    <a:pt x="2220" y="948"/>
                  </a:lnTo>
                  <a:lnTo>
                    <a:pt x="2214" y="972"/>
                  </a:lnTo>
                  <a:lnTo>
                    <a:pt x="2214" y="984"/>
                  </a:lnTo>
                  <a:lnTo>
                    <a:pt x="2208" y="990"/>
                  </a:lnTo>
                  <a:lnTo>
                    <a:pt x="2208" y="996"/>
                  </a:lnTo>
                  <a:lnTo>
                    <a:pt x="2202" y="996"/>
                  </a:lnTo>
                  <a:lnTo>
                    <a:pt x="2196" y="996"/>
                  </a:lnTo>
                  <a:lnTo>
                    <a:pt x="2190" y="1008"/>
                  </a:lnTo>
                  <a:lnTo>
                    <a:pt x="2172" y="1074"/>
                  </a:lnTo>
                  <a:lnTo>
                    <a:pt x="2166" y="1092"/>
                  </a:lnTo>
                  <a:lnTo>
                    <a:pt x="2172" y="1110"/>
                  </a:lnTo>
                  <a:lnTo>
                    <a:pt x="2172" y="1122"/>
                  </a:lnTo>
                  <a:lnTo>
                    <a:pt x="2166" y="1134"/>
                  </a:lnTo>
                  <a:lnTo>
                    <a:pt x="2148" y="1140"/>
                  </a:lnTo>
                  <a:lnTo>
                    <a:pt x="2148" y="1134"/>
                  </a:lnTo>
                  <a:lnTo>
                    <a:pt x="2118" y="1140"/>
                  </a:lnTo>
                  <a:lnTo>
                    <a:pt x="2088" y="1134"/>
                  </a:lnTo>
                  <a:lnTo>
                    <a:pt x="2064" y="1122"/>
                  </a:lnTo>
                  <a:lnTo>
                    <a:pt x="2034" y="1122"/>
                  </a:lnTo>
                  <a:lnTo>
                    <a:pt x="2022" y="1128"/>
                  </a:lnTo>
                  <a:lnTo>
                    <a:pt x="1986" y="1128"/>
                  </a:lnTo>
                  <a:lnTo>
                    <a:pt x="1938" y="1122"/>
                  </a:lnTo>
                  <a:lnTo>
                    <a:pt x="1932" y="1116"/>
                  </a:lnTo>
                  <a:lnTo>
                    <a:pt x="1896" y="1110"/>
                  </a:lnTo>
                  <a:lnTo>
                    <a:pt x="1878" y="1104"/>
                  </a:lnTo>
                  <a:lnTo>
                    <a:pt x="1866" y="1098"/>
                  </a:lnTo>
                  <a:lnTo>
                    <a:pt x="1860" y="1098"/>
                  </a:lnTo>
                  <a:lnTo>
                    <a:pt x="1854" y="1092"/>
                  </a:lnTo>
                  <a:lnTo>
                    <a:pt x="1860" y="1092"/>
                  </a:lnTo>
                  <a:lnTo>
                    <a:pt x="1860" y="1086"/>
                  </a:lnTo>
                  <a:lnTo>
                    <a:pt x="1854" y="1086"/>
                  </a:lnTo>
                  <a:lnTo>
                    <a:pt x="1842" y="1080"/>
                  </a:lnTo>
                  <a:lnTo>
                    <a:pt x="1818" y="1062"/>
                  </a:lnTo>
                  <a:lnTo>
                    <a:pt x="1782" y="1056"/>
                  </a:lnTo>
                  <a:lnTo>
                    <a:pt x="1770" y="1068"/>
                  </a:lnTo>
                  <a:lnTo>
                    <a:pt x="1746" y="1098"/>
                  </a:lnTo>
                  <a:lnTo>
                    <a:pt x="1722" y="1104"/>
                  </a:lnTo>
                  <a:lnTo>
                    <a:pt x="1710" y="1122"/>
                  </a:lnTo>
                  <a:lnTo>
                    <a:pt x="1710" y="1128"/>
                  </a:lnTo>
                  <a:lnTo>
                    <a:pt x="1710" y="1140"/>
                  </a:lnTo>
                  <a:lnTo>
                    <a:pt x="1698" y="1146"/>
                  </a:lnTo>
                  <a:lnTo>
                    <a:pt x="1686" y="1152"/>
                  </a:lnTo>
                  <a:lnTo>
                    <a:pt x="1680" y="1164"/>
                  </a:lnTo>
                  <a:lnTo>
                    <a:pt x="1680" y="1170"/>
                  </a:lnTo>
                  <a:lnTo>
                    <a:pt x="1686" y="1170"/>
                  </a:lnTo>
                  <a:lnTo>
                    <a:pt x="1686" y="1176"/>
                  </a:lnTo>
                  <a:lnTo>
                    <a:pt x="1698" y="1188"/>
                  </a:lnTo>
                  <a:lnTo>
                    <a:pt x="1704" y="1188"/>
                  </a:lnTo>
                  <a:lnTo>
                    <a:pt x="1698" y="1194"/>
                  </a:lnTo>
                  <a:lnTo>
                    <a:pt x="1704" y="1194"/>
                  </a:lnTo>
                  <a:lnTo>
                    <a:pt x="1704" y="1200"/>
                  </a:lnTo>
                  <a:lnTo>
                    <a:pt x="1704" y="1206"/>
                  </a:lnTo>
                  <a:lnTo>
                    <a:pt x="1704" y="1212"/>
                  </a:lnTo>
                  <a:lnTo>
                    <a:pt x="1704" y="1218"/>
                  </a:lnTo>
                  <a:lnTo>
                    <a:pt x="1710" y="1218"/>
                  </a:lnTo>
                  <a:lnTo>
                    <a:pt x="1710" y="1212"/>
                  </a:lnTo>
                  <a:lnTo>
                    <a:pt x="1716" y="1212"/>
                  </a:lnTo>
                  <a:lnTo>
                    <a:pt x="1716" y="1218"/>
                  </a:lnTo>
                  <a:lnTo>
                    <a:pt x="1716" y="1224"/>
                  </a:lnTo>
                  <a:lnTo>
                    <a:pt x="1716" y="1230"/>
                  </a:lnTo>
                  <a:lnTo>
                    <a:pt x="1722" y="1236"/>
                  </a:lnTo>
                  <a:lnTo>
                    <a:pt x="1740" y="1230"/>
                  </a:lnTo>
                  <a:lnTo>
                    <a:pt x="1734" y="1236"/>
                  </a:lnTo>
                  <a:lnTo>
                    <a:pt x="1734" y="1242"/>
                  </a:lnTo>
                  <a:lnTo>
                    <a:pt x="1734" y="1248"/>
                  </a:lnTo>
                  <a:lnTo>
                    <a:pt x="1734" y="1254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52" y="1266"/>
                  </a:lnTo>
                  <a:lnTo>
                    <a:pt x="1764" y="1266"/>
                  </a:lnTo>
                  <a:lnTo>
                    <a:pt x="1788" y="1260"/>
                  </a:lnTo>
                  <a:lnTo>
                    <a:pt x="1800" y="1260"/>
                  </a:lnTo>
                  <a:lnTo>
                    <a:pt x="1806" y="1272"/>
                  </a:lnTo>
                  <a:lnTo>
                    <a:pt x="1806" y="1296"/>
                  </a:lnTo>
                  <a:lnTo>
                    <a:pt x="1800" y="1308"/>
                  </a:lnTo>
                  <a:lnTo>
                    <a:pt x="1788" y="1308"/>
                  </a:lnTo>
                  <a:lnTo>
                    <a:pt x="1782" y="13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7" name="Freeform 32">
              <a:extLst>
                <a:ext uri="{FF2B5EF4-FFF2-40B4-BE49-F238E27FC236}">
                  <a16:creationId xmlns:a16="http://schemas.microsoft.com/office/drawing/2014/main" id="{1EF84438-BF7A-47D2-9156-E231EA2A279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3295" y="2316568"/>
              <a:ext cx="1290281" cy="1084704"/>
            </a:xfrm>
            <a:custGeom>
              <a:avLst/>
              <a:gdLst>
                <a:gd name="T0" fmla="*/ 177 w 2430"/>
                <a:gd name="T1" fmla="*/ 169 h 2040"/>
                <a:gd name="T2" fmla="*/ 174 w 2430"/>
                <a:gd name="T3" fmla="*/ 173 h 2040"/>
                <a:gd name="T4" fmla="*/ 169 w 2430"/>
                <a:gd name="T5" fmla="*/ 171 h 2040"/>
                <a:gd name="T6" fmla="*/ 160 w 2430"/>
                <a:gd name="T7" fmla="*/ 163 h 2040"/>
                <a:gd name="T8" fmla="*/ 154 w 2430"/>
                <a:gd name="T9" fmla="*/ 149 h 2040"/>
                <a:gd name="T10" fmla="*/ 144 w 2430"/>
                <a:gd name="T11" fmla="*/ 147 h 2040"/>
                <a:gd name="T12" fmla="*/ 133 w 2430"/>
                <a:gd name="T13" fmla="*/ 146 h 2040"/>
                <a:gd name="T14" fmla="*/ 121 w 2430"/>
                <a:gd name="T15" fmla="*/ 145 h 2040"/>
                <a:gd name="T16" fmla="*/ 110 w 2430"/>
                <a:gd name="T17" fmla="*/ 137 h 2040"/>
                <a:gd name="T18" fmla="*/ 97 w 2430"/>
                <a:gd name="T19" fmla="*/ 131 h 2040"/>
                <a:gd name="T20" fmla="*/ 87 w 2430"/>
                <a:gd name="T21" fmla="*/ 125 h 2040"/>
                <a:gd name="T22" fmla="*/ 75 w 2430"/>
                <a:gd name="T23" fmla="*/ 122 h 2040"/>
                <a:gd name="T24" fmla="*/ 65 w 2430"/>
                <a:gd name="T25" fmla="*/ 122 h 2040"/>
                <a:gd name="T26" fmla="*/ 59 w 2430"/>
                <a:gd name="T27" fmla="*/ 115 h 2040"/>
                <a:gd name="T28" fmla="*/ 50 w 2430"/>
                <a:gd name="T29" fmla="*/ 107 h 2040"/>
                <a:gd name="T30" fmla="*/ 28 w 2430"/>
                <a:gd name="T31" fmla="*/ 84 h 2040"/>
                <a:gd name="T32" fmla="*/ 22 w 2430"/>
                <a:gd name="T33" fmla="*/ 82 h 2040"/>
                <a:gd name="T34" fmla="*/ 20 w 2430"/>
                <a:gd name="T35" fmla="*/ 79 h 2040"/>
                <a:gd name="T36" fmla="*/ 16 w 2430"/>
                <a:gd name="T37" fmla="*/ 76 h 2040"/>
                <a:gd name="T38" fmla="*/ 11 w 2430"/>
                <a:gd name="T39" fmla="*/ 74 h 2040"/>
                <a:gd name="T40" fmla="*/ 7 w 2430"/>
                <a:gd name="T41" fmla="*/ 69 h 2040"/>
                <a:gd name="T42" fmla="*/ 0 w 2430"/>
                <a:gd name="T43" fmla="*/ 60 h 2040"/>
                <a:gd name="T44" fmla="*/ 10 w 2430"/>
                <a:gd name="T45" fmla="*/ 53 h 2040"/>
                <a:gd name="T46" fmla="*/ 15 w 2430"/>
                <a:gd name="T47" fmla="*/ 40 h 2040"/>
                <a:gd name="T48" fmla="*/ 9 w 2430"/>
                <a:gd name="T49" fmla="*/ 29 h 2040"/>
                <a:gd name="T50" fmla="*/ 7 w 2430"/>
                <a:gd name="T51" fmla="*/ 16 h 2040"/>
                <a:gd name="T52" fmla="*/ 18 w 2430"/>
                <a:gd name="T53" fmla="*/ 21 h 2040"/>
                <a:gd name="T54" fmla="*/ 48 w 2430"/>
                <a:gd name="T55" fmla="*/ 27 h 2040"/>
                <a:gd name="T56" fmla="*/ 62 w 2430"/>
                <a:gd name="T57" fmla="*/ 25 h 2040"/>
                <a:gd name="T58" fmla="*/ 59 w 2430"/>
                <a:gd name="T59" fmla="*/ 42 h 2040"/>
                <a:gd name="T60" fmla="*/ 54 w 2430"/>
                <a:gd name="T61" fmla="*/ 65 h 2040"/>
                <a:gd name="T62" fmla="*/ 65 w 2430"/>
                <a:gd name="T63" fmla="*/ 60 h 2040"/>
                <a:gd name="T64" fmla="*/ 68 w 2430"/>
                <a:gd name="T65" fmla="*/ 40 h 2040"/>
                <a:gd name="T66" fmla="*/ 75 w 2430"/>
                <a:gd name="T67" fmla="*/ 36 h 2040"/>
                <a:gd name="T68" fmla="*/ 83 w 2430"/>
                <a:gd name="T69" fmla="*/ 29 h 2040"/>
                <a:gd name="T70" fmla="*/ 81 w 2430"/>
                <a:gd name="T71" fmla="*/ 17 h 2040"/>
                <a:gd name="T72" fmla="*/ 66 w 2430"/>
                <a:gd name="T73" fmla="*/ 7 h 2040"/>
                <a:gd name="T74" fmla="*/ 80 w 2430"/>
                <a:gd name="T75" fmla="*/ 5 h 2040"/>
                <a:gd name="T76" fmla="*/ 89 w 2430"/>
                <a:gd name="T77" fmla="*/ 1 h 2040"/>
                <a:gd name="T78" fmla="*/ 101 w 2430"/>
                <a:gd name="T79" fmla="*/ 10 h 2040"/>
                <a:gd name="T80" fmla="*/ 103 w 2430"/>
                <a:gd name="T81" fmla="*/ 18 h 2040"/>
                <a:gd name="T82" fmla="*/ 110 w 2430"/>
                <a:gd name="T83" fmla="*/ 23 h 2040"/>
                <a:gd name="T84" fmla="*/ 121 w 2430"/>
                <a:gd name="T85" fmla="*/ 20 h 2040"/>
                <a:gd name="T86" fmla="*/ 129 w 2430"/>
                <a:gd name="T87" fmla="*/ 15 h 2040"/>
                <a:gd name="T88" fmla="*/ 142 w 2430"/>
                <a:gd name="T89" fmla="*/ 23 h 2040"/>
                <a:gd name="T90" fmla="*/ 141 w 2430"/>
                <a:gd name="T91" fmla="*/ 30 h 2040"/>
                <a:gd name="T92" fmla="*/ 140 w 2430"/>
                <a:gd name="T93" fmla="*/ 38 h 2040"/>
                <a:gd name="T94" fmla="*/ 139 w 2430"/>
                <a:gd name="T95" fmla="*/ 46 h 2040"/>
                <a:gd name="T96" fmla="*/ 147 w 2430"/>
                <a:gd name="T97" fmla="*/ 54 h 2040"/>
                <a:gd name="T98" fmla="*/ 152 w 2430"/>
                <a:gd name="T99" fmla="*/ 50 h 2040"/>
                <a:gd name="T100" fmla="*/ 159 w 2430"/>
                <a:gd name="T101" fmla="*/ 43 h 2040"/>
                <a:gd name="T102" fmla="*/ 174 w 2430"/>
                <a:gd name="T103" fmla="*/ 41 h 2040"/>
                <a:gd name="T104" fmla="*/ 190 w 2430"/>
                <a:gd name="T105" fmla="*/ 57 h 2040"/>
                <a:gd name="T106" fmla="*/ 187 w 2430"/>
                <a:gd name="T107" fmla="*/ 66 h 2040"/>
                <a:gd name="T108" fmla="*/ 183 w 2430"/>
                <a:gd name="T109" fmla="*/ 72 h 2040"/>
                <a:gd name="T110" fmla="*/ 194 w 2430"/>
                <a:gd name="T111" fmla="*/ 73 h 2040"/>
                <a:gd name="T112" fmla="*/ 202 w 2430"/>
                <a:gd name="T113" fmla="*/ 74 h 2040"/>
                <a:gd name="T114" fmla="*/ 204 w 2430"/>
                <a:gd name="T115" fmla="*/ 89 h 2040"/>
                <a:gd name="T116" fmla="*/ 208 w 2430"/>
                <a:gd name="T117" fmla="*/ 99 h 2040"/>
                <a:gd name="T118" fmla="*/ 203 w 2430"/>
                <a:gd name="T119" fmla="*/ 103 h 2040"/>
                <a:gd name="T120" fmla="*/ 209 w 2430"/>
                <a:gd name="T121" fmla="*/ 111 h 2040"/>
                <a:gd name="T122" fmla="*/ 204 w 2430"/>
                <a:gd name="T123" fmla="*/ 124 h 2040"/>
                <a:gd name="T124" fmla="*/ 190 w 2430"/>
                <a:gd name="T125" fmla="*/ 117 h 20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30"/>
                <a:gd name="T190" fmla="*/ 0 h 2040"/>
                <a:gd name="T191" fmla="*/ 2430 w 2430"/>
                <a:gd name="T192" fmla="*/ 2040 h 20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30" h="2040">
                  <a:moveTo>
                    <a:pt x="2076" y="1896"/>
                  </a:moveTo>
                  <a:lnTo>
                    <a:pt x="2070" y="1896"/>
                  </a:lnTo>
                  <a:lnTo>
                    <a:pt x="2070" y="1902"/>
                  </a:lnTo>
                  <a:lnTo>
                    <a:pt x="2076" y="1902"/>
                  </a:lnTo>
                  <a:lnTo>
                    <a:pt x="2082" y="1902"/>
                  </a:lnTo>
                  <a:lnTo>
                    <a:pt x="2082" y="1908"/>
                  </a:lnTo>
                  <a:lnTo>
                    <a:pt x="2076" y="1908"/>
                  </a:lnTo>
                  <a:lnTo>
                    <a:pt x="2076" y="1914"/>
                  </a:lnTo>
                  <a:lnTo>
                    <a:pt x="2070" y="1920"/>
                  </a:lnTo>
                  <a:lnTo>
                    <a:pt x="2064" y="1932"/>
                  </a:lnTo>
                  <a:lnTo>
                    <a:pt x="2064" y="1938"/>
                  </a:lnTo>
                  <a:lnTo>
                    <a:pt x="2058" y="1938"/>
                  </a:lnTo>
                  <a:lnTo>
                    <a:pt x="2052" y="1944"/>
                  </a:lnTo>
                  <a:lnTo>
                    <a:pt x="2052" y="1950"/>
                  </a:lnTo>
                  <a:lnTo>
                    <a:pt x="2040" y="1944"/>
                  </a:lnTo>
                  <a:lnTo>
                    <a:pt x="2040" y="1950"/>
                  </a:lnTo>
                  <a:lnTo>
                    <a:pt x="2034" y="1956"/>
                  </a:lnTo>
                  <a:lnTo>
                    <a:pt x="2034" y="1962"/>
                  </a:lnTo>
                  <a:lnTo>
                    <a:pt x="2028" y="1962"/>
                  </a:lnTo>
                  <a:lnTo>
                    <a:pt x="2022" y="1962"/>
                  </a:lnTo>
                  <a:lnTo>
                    <a:pt x="2022" y="1968"/>
                  </a:lnTo>
                  <a:lnTo>
                    <a:pt x="2028" y="1974"/>
                  </a:lnTo>
                  <a:lnTo>
                    <a:pt x="2034" y="1980"/>
                  </a:lnTo>
                  <a:lnTo>
                    <a:pt x="2028" y="1986"/>
                  </a:lnTo>
                  <a:lnTo>
                    <a:pt x="2022" y="1992"/>
                  </a:lnTo>
                  <a:lnTo>
                    <a:pt x="2022" y="1986"/>
                  </a:lnTo>
                  <a:lnTo>
                    <a:pt x="2016" y="1986"/>
                  </a:lnTo>
                  <a:lnTo>
                    <a:pt x="2010" y="1980"/>
                  </a:lnTo>
                  <a:lnTo>
                    <a:pt x="2004" y="1980"/>
                  </a:lnTo>
                  <a:lnTo>
                    <a:pt x="2004" y="1986"/>
                  </a:lnTo>
                  <a:lnTo>
                    <a:pt x="2010" y="1992"/>
                  </a:lnTo>
                  <a:lnTo>
                    <a:pt x="2010" y="1998"/>
                  </a:lnTo>
                  <a:lnTo>
                    <a:pt x="2004" y="2004"/>
                  </a:lnTo>
                  <a:lnTo>
                    <a:pt x="1998" y="2004"/>
                  </a:lnTo>
                  <a:lnTo>
                    <a:pt x="1998" y="2022"/>
                  </a:lnTo>
                  <a:lnTo>
                    <a:pt x="1998" y="2028"/>
                  </a:lnTo>
                  <a:lnTo>
                    <a:pt x="1992" y="2034"/>
                  </a:lnTo>
                  <a:lnTo>
                    <a:pt x="1992" y="2040"/>
                  </a:lnTo>
                  <a:lnTo>
                    <a:pt x="1986" y="2040"/>
                  </a:lnTo>
                  <a:lnTo>
                    <a:pt x="1986" y="2034"/>
                  </a:lnTo>
                  <a:lnTo>
                    <a:pt x="1980" y="2028"/>
                  </a:lnTo>
                  <a:lnTo>
                    <a:pt x="1980" y="2022"/>
                  </a:lnTo>
                  <a:lnTo>
                    <a:pt x="1968" y="2016"/>
                  </a:lnTo>
                  <a:lnTo>
                    <a:pt x="1962" y="2010"/>
                  </a:lnTo>
                  <a:lnTo>
                    <a:pt x="1956" y="2004"/>
                  </a:lnTo>
                  <a:lnTo>
                    <a:pt x="1950" y="1992"/>
                  </a:lnTo>
                  <a:lnTo>
                    <a:pt x="1950" y="1986"/>
                  </a:lnTo>
                  <a:lnTo>
                    <a:pt x="1950" y="1974"/>
                  </a:lnTo>
                  <a:lnTo>
                    <a:pt x="1944" y="1974"/>
                  </a:lnTo>
                  <a:lnTo>
                    <a:pt x="1932" y="1962"/>
                  </a:lnTo>
                  <a:lnTo>
                    <a:pt x="1932" y="1956"/>
                  </a:lnTo>
                  <a:lnTo>
                    <a:pt x="1932" y="1950"/>
                  </a:lnTo>
                  <a:lnTo>
                    <a:pt x="1920" y="1944"/>
                  </a:lnTo>
                  <a:lnTo>
                    <a:pt x="1914" y="1944"/>
                  </a:lnTo>
                  <a:lnTo>
                    <a:pt x="1908" y="1938"/>
                  </a:lnTo>
                  <a:lnTo>
                    <a:pt x="1902" y="1926"/>
                  </a:lnTo>
                  <a:lnTo>
                    <a:pt x="1890" y="1914"/>
                  </a:lnTo>
                  <a:lnTo>
                    <a:pt x="1884" y="1914"/>
                  </a:lnTo>
                  <a:lnTo>
                    <a:pt x="1878" y="1908"/>
                  </a:lnTo>
                  <a:lnTo>
                    <a:pt x="1872" y="1902"/>
                  </a:lnTo>
                  <a:lnTo>
                    <a:pt x="1872" y="1896"/>
                  </a:lnTo>
                  <a:lnTo>
                    <a:pt x="1866" y="1890"/>
                  </a:lnTo>
                  <a:lnTo>
                    <a:pt x="1854" y="1884"/>
                  </a:lnTo>
                  <a:lnTo>
                    <a:pt x="1848" y="1884"/>
                  </a:lnTo>
                  <a:lnTo>
                    <a:pt x="1842" y="1872"/>
                  </a:lnTo>
                  <a:lnTo>
                    <a:pt x="1836" y="1872"/>
                  </a:lnTo>
                  <a:lnTo>
                    <a:pt x="1830" y="1866"/>
                  </a:lnTo>
                  <a:lnTo>
                    <a:pt x="1830" y="1854"/>
                  </a:lnTo>
                  <a:lnTo>
                    <a:pt x="1824" y="1848"/>
                  </a:lnTo>
                  <a:lnTo>
                    <a:pt x="1818" y="1830"/>
                  </a:lnTo>
                  <a:lnTo>
                    <a:pt x="1818" y="1818"/>
                  </a:lnTo>
                  <a:lnTo>
                    <a:pt x="1812" y="1800"/>
                  </a:lnTo>
                  <a:lnTo>
                    <a:pt x="1812" y="1788"/>
                  </a:lnTo>
                  <a:lnTo>
                    <a:pt x="1806" y="1776"/>
                  </a:lnTo>
                  <a:lnTo>
                    <a:pt x="1800" y="1764"/>
                  </a:lnTo>
                  <a:lnTo>
                    <a:pt x="1794" y="1758"/>
                  </a:lnTo>
                  <a:lnTo>
                    <a:pt x="1782" y="1740"/>
                  </a:lnTo>
                  <a:lnTo>
                    <a:pt x="1776" y="1728"/>
                  </a:lnTo>
                  <a:lnTo>
                    <a:pt x="1776" y="1722"/>
                  </a:lnTo>
                  <a:lnTo>
                    <a:pt x="1770" y="1722"/>
                  </a:lnTo>
                  <a:lnTo>
                    <a:pt x="1770" y="1716"/>
                  </a:lnTo>
                  <a:lnTo>
                    <a:pt x="1764" y="1716"/>
                  </a:lnTo>
                  <a:lnTo>
                    <a:pt x="1758" y="1710"/>
                  </a:lnTo>
                  <a:lnTo>
                    <a:pt x="1752" y="1704"/>
                  </a:lnTo>
                  <a:lnTo>
                    <a:pt x="1746" y="1704"/>
                  </a:lnTo>
                  <a:lnTo>
                    <a:pt x="1740" y="1704"/>
                  </a:lnTo>
                  <a:lnTo>
                    <a:pt x="1734" y="1704"/>
                  </a:lnTo>
                  <a:lnTo>
                    <a:pt x="1734" y="1698"/>
                  </a:lnTo>
                  <a:lnTo>
                    <a:pt x="1728" y="1692"/>
                  </a:lnTo>
                  <a:lnTo>
                    <a:pt x="1722" y="1686"/>
                  </a:lnTo>
                  <a:lnTo>
                    <a:pt x="1716" y="1686"/>
                  </a:lnTo>
                  <a:lnTo>
                    <a:pt x="1698" y="1686"/>
                  </a:lnTo>
                  <a:lnTo>
                    <a:pt x="1692" y="1692"/>
                  </a:lnTo>
                  <a:lnTo>
                    <a:pt x="1680" y="1692"/>
                  </a:lnTo>
                  <a:lnTo>
                    <a:pt x="1668" y="1692"/>
                  </a:lnTo>
                  <a:lnTo>
                    <a:pt x="1662" y="1692"/>
                  </a:lnTo>
                  <a:lnTo>
                    <a:pt x="1656" y="1692"/>
                  </a:lnTo>
                  <a:lnTo>
                    <a:pt x="1650" y="1698"/>
                  </a:lnTo>
                  <a:lnTo>
                    <a:pt x="1644" y="1698"/>
                  </a:lnTo>
                  <a:lnTo>
                    <a:pt x="1638" y="1698"/>
                  </a:lnTo>
                  <a:lnTo>
                    <a:pt x="1632" y="1698"/>
                  </a:lnTo>
                  <a:lnTo>
                    <a:pt x="1632" y="1692"/>
                  </a:lnTo>
                  <a:lnTo>
                    <a:pt x="1620" y="1680"/>
                  </a:lnTo>
                  <a:lnTo>
                    <a:pt x="1614" y="1680"/>
                  </a:lnTo>
                  <a:lnTo>
                    <a:pt x="1608" y="1680"/>
                  </a:lnTo>
                  <a:lnTo>
                    <a:pt x="1602" y="1680"/>
                  </a:lnTo>
                  <a:lnTo>
                    <a:pt x="1596" y="1674"/>
                  </a:lnTo>
                  <a:lnTo>
                    <a:pt x="1584" y="1674"/>
                  </a:lnTo>
                  <a:lnTo>
                    <a:pt x="1572" y="1674"/>
                  </a:lnTo>
                  <a:lnTo>
                    <a:pt x="1560" y="1674"/>
                  </a:lnTo>
                  <a:lnTo>
                    <a:pt x="1542" y="1680"/>
                  </a:lnTo>
                  <a:lnTo>
                    <a:pt x="1530" y="1680"/>
                  </a:lnTo>
                  <a:lnTo>
                    <a:pt x="1530" y="1674"/>
                  </a:lnTo>
                  <a:lnTo>
                    <a:pt x="1524" y="1674"/>
                  </a:lnTo>
                  <a:lnTo>
                    <a:pt x="1518" y="1674"/>
                  </a:lnTo>
                  <a:lnTo>
                    <a:pt x="1512" y="1674"/>
                  </a:lnTo>
                  <a:lnTo>
                    <a:pt x="1506" y="1674"/>
                  </a:lnTo>
                  <a:lnTo>
                    <a:pt x="1500" y="1680"/>
                  </a:lnTo>
                  <a:lnTo>
                    <a:pt x="1488" y="1680"/>
                  </a:lnTo>
                  <a:lnTo>
                    <a:pt x="1482" y="1674"/>
                  </a:lnTo>
                  <a:lnTo>
                    <a:pt x="1476" y="1674"/>
                  </a:lnTo>
                  <a:lnTo>
                    <a:pt x="1464" y="1674"/>
                  </a:lnTo>
                  <a:lnTo>
                    <a:pt x="1452" y="1680"/>
                  </a:lnTo>
                  <a:lnTo>
                    <a:pt x="1434" y="1680"/>
                  </a:lnTo>
                  <a:lnTo>
                    <a:pt x="1422" y="1680"/>
                  </a:lnTo>
                  <a:lnTo>
                    <a:pt x="1416" y="1680"/>
                  </a:lnTo>
                  <a:lnTo>
                    <a:pt x="1404" y="1674"/>
                  </a:lnTo>
                  <a:lnTo>
                    <a:pt x="1398" y="1674"/>
                  </a:lnTo>
                  <a:lnTo>
                    <a:pt x="1392" y="1662"/>
                  </a:lnTo>
                  <a:lnTo>
                    <a:pt x="1380" y="1644"/>
                  </a:lnTo>
                  <a:lnTo>
                    <a:pt x="1374" y="1632"/>
                  </a:lnTo>
                  <a:lnTo>
                    <a:pt x="1362" y="1626"/>
                  </a:lnTo>
                  <a:lnTo>
                    <a:pt x="1356" y="1620"/>
                  </a:lnTo>
                  <a:lnTo>
                    <a:pt x="1350" y="1626"/>
                  </a:lnTo>
                  <a:lnTo>
                    <a:pt x="1338" y="1626"/>
                  </a:lnTo>
                  <a:lnTo>
                    <a:pt x="1326" y="1626"/>
                  </a:lnTo>
                  <a:lnTo>
                    <a:pt x="1314" y="1620"/>
                  </a:lnTo>
                  <a:lnTo>
                    <a:pt x="1308" y="1614"/>
                  </a:lnTo>
                  <a:lnTo>
                    <a:pt x="1302" y="1608"/>
                  </a:lnTo>
                  <a:lnTo>
                    <a:pt x="1296" y="1602"/>
                  </a:lnTo>
                  <a:lnTo>
                    <a:pt x="1290" y="1602"/>
                  </a:lnTo>
                  <a:lnTo>
                    <a:pt x="1290" y="1596"/>
                  </a:lnTo>
                  <a:lnTo>
                    <a:pt x="1284" y="1590"/>
                  </a:lnTo>
                  <a:lnTo>
                    <a:pt x="1272" y="1584"/>
                  </a:lnTo>
                  <a:lnTo>
                    <a:pt x="1254" y="1572"/>
                  </a:lnTo>
                  <a:lnTo>
                    <a:pt x="1236" y="1554"/>
                  </a:lnTo>
                  <a:lnTo>
                    <a:pt x="1230" y="1554"/>
                  </a:lnTo>
                  <a:lnTo>
                    <a:pt x="1224" y="1554"/>
                  </a:lnTo>
                  <a:lnTo>
                    <a:pt x="1212" y="1554"/>
                  </a:lnTo>
                  <a:lnTo>
                    <a:pt x="1194" y="1542"/>
                  </a:lnTo>
                  <a:lnTo>
                    <a:pt x="1188" y="1536"/>
                  </a:lnTo>
                  <a:lnTo>
                    <a:pt x="1182" y="1530"/>
                  </a:lnTo>
                  <a:lnTo>
                    <a:pt x="1176" y="1530"/>
                  </a:lnTo>
                  <a:lnTo>
                    <a:pt x="1170" y="1530"/>
                  </a:lnTo>
                  <a:lnTo>
                    <a:pt x="1158" y="1524"/>
                  </a:lnTo>
                  <a:lnTo>
                    <a:pt x="1152" y="1524"/>
                  </a:lnTo>
                  <a:lnTo>
                    <a:pt x="1140" y="1518"/>
                  </a:lnTo>
                  <a:lnTo>
                    <a:pt x="1128" y="1518"/>
                  </a:lnTo>
                  <a:lnTo>
                    <a:pt x="1122" y="1518"/>
                  </a:lnTo>
                  <a:lnTo>
                    <a:pt x="1116" y="1518"/>
                  </a:lnTo>
                  <a:lnTo>
                    <a:pt x="1104" y="1518"/>
                  </a:lnTo>
                  <a:lnTo>
                    <a:pt x="1092" y="1518"/>
                  </a:lnTo>
                  <a:lnTo>
                    <a:pt x="1080" y="1518"/>
                  </a:lnTo>
                  <a:lnTo>
                    <a:pt x="1068" y="1518"/>
                  </a:lnTo>
                  <a:lnTo>
                    <a:pt x="1062" y="1518"/>
                  </a:lnTo>
                  <a:lnTo>
                    <a:pt x="1056" y="1518"/>
                  </a:lnTo>
                  <a:lnTo>
                    <a:pt x="1050" y="1512"/>
                  </a:lnTo>
                  <a:lnTo>
                    <a:pt x="1044" y="1512"/>
                  </a:lnTo>
                  <a:lnTo>
                    <a:pt x="1038" y="1512"/>
                  </a:lnTo>
                  <a:lnTo>
                    <a:pt x="1032" y="1506"/>
                  </a:lnTo>
                  <a:lnTo>
                    <a:pt x="1026" y="1500"/>
                  </a:lnTo>
                  <a:lnTo>
                    <a:pt x="1026" y="1494"/>
                  </a:lnTo>
                  <a:lnTo>
                    <a:pt x="1020" y="1476"/>
                  </a:lnTo>
                  <a:lnTo>
                    <a:pt x="1008" y="1464"/>
                  </a:lnTo>
                  <a:lnTo>
                    <a:pt x="1008" y="1458"/>
                  </a:lnTo>
                  <a:lnTo>
                    <a:pt x="1002" y="1446"/>
                  </a:lnTo>
                  <a:lnTo>
                    <a:pt x="996" y="1446"/>
                  </a:lnTo>
                  <a:lnTo>
                    <a:pt x="990" y="1440"/>
                  </a:lnTo>
                  <a:lnTo>
                    <a:pt x="984" y="1434"/>
                  </a:lnTo>
                  <a:lnTo>
                    <a:pt x="978" y="1434"/>
                  </a:lnTo>
                  <a:lnTo>
                    <a:pt x="972" y="1434"/>
                  </a:lnTo>
                  <a:lnTo>
                    <a:pt x="966" y="1428"/>
                  </a:lnTo>
                  <a:lnTo>
                    <a:pt x="954" y="1422"/>
                  </a:lnTo>
                  <a:lnTo>
                    <a:pt x="942" y="1416"/>
                  </a:lnTo>
                  <a:lnTo>
                    <a:pt x="924" y="1398"/>
                  </a:lnTo>
                  <a:lnTo>
                    <a:pt x="912" y="1386"/>
                  </a:lnTo>
                  <a:lnTo>
                    <a:pt x="900" y="1386"/>
                  </a:lnTo>
                  <a:lnTo>
                    <a:pt x="894" y="1386"/>
                  </a:lnTo>
                  <a:lnTo>
                    <a:pt x="882" y="1392"/>
                  </a:lnTo>
                  <a:lnTo>
                    <a:pt x="876" y="1392"/>
                  </a:lnTo>
                  <a:lnTo>
                    <a:pt x="864" y="1398"/>
                  </a:lnTo>
                  <a:lnTo>
                    <a:pt x="864" y="1404"/>
                  </a:lnTo>
                  <a:lnTo>
                    <a:pt x="858" y="1410"/>
                  </a:lnTo>
                  <a:lnTo>
                    <a:pt x="852" y="1410"/>
                  </a:lnTo>
                  <a:lnTo>
                    <a:pt x="846" y="1410"/>
                  </a:lnTo>
                  <a:lnTo>
                    <a:pt x="834" y="1410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10" y="1428"/>
                  </a:lnTo>
                  <a:lnTo>
                    <a:pt x="798" y="1428"/>
                  </a:lnTo>
                  <a:lnTo>
                    <a:pt x="792" y="1428"/>
                  </a:lnTo>
                  <a:lnTo>
                    <a:pt x="780" y="1434"/>
                  </a:lnTo>
                  <a:lnTo>
                    <a:pt x="774" y="1428"/>
                  </a:lnTo>
                  <a:lnTo>
                    <a:pt x="762" y="1428"/>
                  </a:lnTo>
                  <a:lnTo>
                    <a:pt x="756" y="1422"/>
                  </a:lnTo>
                  <a:lnTo>
                    <a:pt x="750" y="1416"/>
                  </a:lnTo>
                  <a:lnTo>
                    <a:pt x="744" y="1410"/>
                  </a:lnTo>
                  <a:lnTo>
                    <a:pt x="744" y="1398"/>
                  </a:lnTo>
                  <a:lnTo>
                    <a:pt x="744" y="1386"/>
                  </a:lnTo>
                  <a:lnTo>
                    <a:pt x="750" y="1380"/>
                  </a:lnTo>
                  <a:lnTo>
                    <a:pt x="750" y="1374"/>
                  </a:lnTo>
                  <a:lnTo>
                    <a:pt x="750" y="1368"/>
                  </a:lnTo>
                  <a:lnTo>
                    <a:pt x="756" y="1362"/>
                  </a:lnTo>
                  <a:lnTo>
                    <a:pt x="750" y="1350"/>
                  </a:lnTo>
                  <a:lnTo>
                    <a:pt x="744" y="1344"/>
                  </a:lnTo>
                  <a:lnTo>
                    <a:pt x="738" y="1338"/>
                  </a:lnTo>
                  <a:lnTo>
                    <a:pt x="726" y="1338"/>
                  </a:lnTo>
                  <a:lnTo>
                    <a:pt x="720" y="1338"/>
                  </a:lnTo>
                  <a:lnTo>
                    <a:pt x="714" y="1338"/>
                  </a:lnTo>
                  <a:lnTo>
                    <a:pt x="708" y="1332"/>
                  </a:lnTo>
                  <a:lnTo>
                    <a:pt x="702" y="1332"/>
                  </a:lnTo>
                  <a:lnTo>
                    <a:pt x="696" y="1326"/>
                  </a:lnTo>
                  <a:lnTo>
                    <a:pt x="684" y="1326"/>
                  </a:lnTo>
                  <a:lnTo>
                    <a:pt x="678" y="1326"/>
                  </a:lnTo>
                  <a:lnTo>
                    <a:pt x="672" y="1314"/>
                  </a:lnTo>
                  <a:lnTo>
                    <a:pt x="666" y="1308"/>
                  </a:lnTo>
                  <a:lnTo>
                    <a:pt x="654" y="1296"/>
                  </a:lnTo>
                  <a:lnTo>
                    <a:pt x="654" y="1290"/>
                  </a:lnTo>
                  <a:lnTo>
                    <a:pt x="630" y="1284"/>
                  </a:lnTo>
                  <a:lnTo>
                    <a:pt x="630" y="1278"/>
                  </a:lnTo>
                  <a:lnTo>
                    <a:pt x="624" y="1278"/>
                  </a:lnTo>
                  <a:lnTo>
                    <a:pt x="618" y="1266"/>
                  </a:lnTo>
                  <a:lnTo>
                    <a:pt x="612" y="1266"/>
                  </a:lnTo>
                  <a:lnTo>
                    <a:pt x="606" y="1266"/>
                  </a:lnTo>
                  <a:lnTo>
                    <a:pt x="606" y="1260"/>
                  </a:lnTo>
                  <a:lnTo>
                    <a:pt x="594" y="1248"/>
                  </a:lnTo>
                  <a:lnTo>
                    <a:pt x="582" y="1248"/>
                  </a:lnTo>
                  <a:lnTo>
                    <a:pt x="576" y="1242"/>
                  </a:lnTo>
                  <a:lnTo>
                    <a:pt x="570" y="1236"/>
                  </a:lnTo>
                  <a:lnTo>
                    <a:pt x="504" y="1164"/>
                  </a:lnTo>
                  <a:lnTo>
                    <a:pt x="450" y="1110"/>
                  </a:lnTo>
                  <a:lnTo>
                    <a:pt x="426" y="1092"/>
                  </a:lnTo>
                  <a:lnTo>
                    <a:pt x="426" y="1074"/>
                  </a:lnTo>
                  <a:lnTo>
                    <a:pt x="420" y="1062"/>
                  </a:lnTo>
                  <a:lnTo>
                    <a:pt x="396" y="1056"/>
                  </a:lnTo>
                  <a:lnTo>
                    <a:pt x="384" y="1032"/>
                  </a:lnTo>
                  <a:lnTo>
                    <a:pt x="372" y="1020"/>
                  </a:lnTo>
                  <a:lnTo>
                    <a:pt x="360" y="984"/>
                  </a:lnTo>
                  <a:lnTo>
                    <a:pt x="348" y="978"/>
                  </a:lnTo>
                  <a:lnTo>
                    <a:pt x="342" y="972"/>
                  </a:lnTo>
                  <a:lnTo>
                    <a:pt x="348" y="960"/>
                  </a:lnTo>
                  <a:lnTo>
                    <a:pt x="342" y="954"/>
                  </a:lnTo>
                  <a:lnTo>
                    <a:pt x="336" y="954"/>
                  </a:lnTo>
                  <a:lnTo>
                    <a:pt x="330" y="954"/>
                  </a:lnTo>
                  <a:lnTo>
                    <a:pt x="324" y="972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0" y="966"/>
                  </a:lnTo>
                  <a:lnTo>
                    <a:pt x="294" y="966"/>
                  </a:lnTo>
                  <a:lnTo>
                    <a:pt x="288" y="972"/>
                  </a:lnTo>
                  <a:lnTo>
                    <a:pt x="288" y="966"/>
                  </a:lnTo>
                  <a:lnTo>
                    <a:pt x="282" y="948"/>
                  </a:lnTo>
                  <a:lnTo>
                    <a:pt x="282" y="942"/>
                  </a:lnTo>
                  <a:lnTo>
                    <a:pt x="276" y="942"/>
                  </a:lnTo>
                  <a:lnTo>
                    <a:pt x="276" y="936"/>
                  </a:lnTo>
                  <a:lnTo>
                    <a:pt x="270" y="942"/>
                  </a:lnTo>
                  <a:lnTo>
                    <a:pt x="264" y="948"/>
                  </a:lnTo>
                  <a:lnTo>
                    <a:pt x="264" y="942"/>
                  </a:lnTo>
                  <a:lnTo>
                    <a:pt x="258" y="942"/>
                  </a:lnTo>
                  <a:lnTo>
                    <a:pt x="252" y="948"/>
                  </a:lnTo>
                  <a:lnTo>
                    <a:pt x="252" y="942"/>
                  </a:lnTo>
                  <a:lnTo>
                    <a:pt x="246" y="936"/>
                  </a:lnTo>
                  <a:lnTo>
                    <a:pt x="240" y="942"/>
                  </a:lnTo>
                  <a:lnTo>
                    <a:pt x="234" y="936"/>
                  </a:lnTo>
                  <a:lnTo>
                    <a:pt x="228" y="936"/>
                  </a:lnTo>
                  <a:lnTo>
                    <a:pt x="222" y="936"/>
                  </a:lnTo>
                  <a:lnTo>
                    <a:pt x="222" y="930"/>
                  </a:lnTo>
                  <a:lnTo>
                    <a:pt x="222" y="924"/>
                  </a:lnTo>
                  <a:lnTo>
                    <a:pt x="228" y="924"/>
                  </a:lnTo>
                  <a:lnTo>
                    <a:pt x="234" y="924"/>
                  </a:lnTo>
                  <a:lnTo>
                    <a:pt x="240" y="924"/>
                  </a:lnTo>
                  <a:lnTo>
                    <a:pt x="240" y="918"/>
                  </a:lnTo>
                  <a:lnTo>
                    <a:pt x="246" y="918"/>
                  </a:lnTo>
                  <a:lnTo>
                    <a:pt x="246" y="912"/>
                  </a:lnTo>
                  <a:lnTo>
                    <a:pt x="240" y="906"/>
                  </a:lnTo>
                  <a:lnTo>
                    <a:pt x="234" y="906"/>
                  </a:lnTo>
                  <a:lnTo>
                    <a:pt x="228" y="906"/>
                  </a:lnTo>
                  <a:lnTo>
                    <a:pt x="228" y="912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8" y="894"/>
                  </a:lnTo>
                  <a:lnTo>
                    <a:pt x="234" y="894"/>
                  </a:lnTo>
                  <a:lnTo>
                    <a:pt x="228" y="888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198" y="888"/>
                  </a:lnTo>
                  <a:lnTo>
                    <a:pt x="192" y="882"/>
                  </a:lnTo>
                  <a:lnTo>
                    <a:pt x="186" y="882"/>
                  </a:lnTo>
                  <a:lnTo>
                    <a:pt x="186" y="876"/>
                  </a:lnTo>
                  <a:lnTo>
                    <a:pt x="192" y="876"/>
                  </a:lnTo>
                  <a:lnTo>
                    <a:pt x="192" y="870"/>
                  </a:lnTo>
                  <a:lnTo>
                    <a:pt x="198" y="870"/>
                  </a:lnTo>
                  <a:lnTo>
                    <a:pt x="198" y="864"/>
                  </a:lnTo>
                  <a:lnTo>
                    <a:pt x="198" y="858"/>
                  </a:lnTo>
                  <a:lnTo>
                    <a:pt x="180" y="852"/>
                  </a:lnTo>
                  <a:lnTo>
                    <a:pt x="174" y="840"/>
                  </a:lnTo>
                  <a:lnTo>
                    <a:pt x="162" y="846"/>
                  </a:lnTo>
                  <a:lnTo>
                    <a:pt x="156" y="846"/>
                  </a:lnTo>
                  <a:lnTo>
                    <a:pt x="150" y="846"/>
                  </a:lnTo>
                  <a:lnTo>
                    <a:pt x="150" y="840"/>
                  </a:lnTo>
                  <a:lnTo>
                    <a:pt x="138" y="834"/>
                  </a:lnTo>
                  <a:lnTo>
                    <a:pt x="132" y="834"/>
                  </a:lnTo>
                  <a:lnTo>
                    <a:pt x="132" y="840"/>
                  </a:lnTo>
                  <a:lnTo>
                    <a:pt x="126" y="840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58"/>
                  </a:lnTo>
                  <a:lnTo>
                    <a:pt x="120" y="846"/>
                  </a:lnTo>
                  <a:lnTo>
                    <a:pt x="114" y="846"/>
                  </a:lnTo>
                  <a:lnTo>
                    <a:pt x="108" y="840"/>
                  </a:lnTo>
                  <a:lnTo>
                    <a:pt x="102" y="834"/>
                  </a:lnTo>
                  <a:lnTo>
                    <a:pt x="102" y="822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78" y="804"/>
                  </a:lnTo>
                  <a:lnTo>
                    <a:pt x="78" y="798"/>
                  </a:lnTo>
                  <a:lnTo>
                    <a:pt x="78" y="792"/>
                  </a:lnTo>
                  <a:lnTo>
                    <a:pt x="78" y="786"/>
                  </a:lnTo>
                  <a:lnTo>
                    <a:pt x="78" y="780"/>
                  </a:lnTo>
                  <a:lnTo>
                    <a:pt x="72" y="774"/>
                  </a:lnTo>
                  <a:lnTo>
                    <a:pt x="66" y="774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60" y="762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6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2" y="666"/>
                  </a:lnTo>
                  <a:lnTo>
                    <a:pt x="18" y="648"/>
                  </a:lnTo>
                  <a:lnTo>
                    <a:pt x="24" y="636"/>
                  </a:lnTo>
                  <a:lnTo>
                    <a:pt x="30" y="630"/>
                  </a:lnTo>
                  <a:lnTo>
                    <a:pt x="30" y="624"/>
                  </a:lnTo>
                  <a:lnTo>
                    <a:pt x="30" y="612"/>
                  </a:lnTo>
                  <a:lnTo>
                    <a:pt x="30" y="606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66" y="582"/>
                  </a:lnTo>
                  <a:lnTo>
                    <a:pt x="72" y="588"/>
                  </a:lnTo>
                  <a:lnTo>
                    <a:pt x="84" y="594"/>
                  </a:lnTo>
                  <a:lnTo>
                    <a:pt x="90" y="600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14" y="612"/>
                  </a:lnTo>
                  <a:lnTo>
                    <a:pt x="120" y="612"/>
                  </a:lnTo>
                  <a:lnTo>
                    <a:pt x="126" y="618"/>
                  </a:lnTo>
                  <a:lnTo>
                    <a:pt x="138" y="594"/>
                  </a:lnTo>
                  <a:lnTo>
                    <a:pt x="138" y="582"/>
                  </a:lnTo>
                  <a:lnTo>
                    <a:pt x="138" y="570"/>
                  </a:lnTo>
                  <a:lnTo>
                    <a:pt x="138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50" y="528"/>
                  </a:lnTo>
                  <a:lnTo>
                    <a:pt x="156" y="510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62"/>
                  </a:lnTo>
                  <a:lnTo>
                    <a:pt x="168" y="450"/>
                  </a:lnTo>
                  <a:lnTo>
                    <a:pt x="168" y="444"/>
                  </a:lnTo>
                  <a:lnTo>
                    <a:pt x="162" y="432"/>
                  </a:lnTo>
                  <a:lnTo>
                    <a:pt x="162" y="426"/>
                  </a:lnTo>
                  <a:lnTo>
                    <a:pt x="156" y="420"/>
                  </a:lnTo>
                  <a:lnTo>
                    <a:pt x="144" y="414"/>
                  </a:lnTo>
                  <a:lnTo>
                    <a:pt x="132" y="402"/>
                  </a:lnTo>
                  <a:lnTo>
                    <a:pt x="126" y="390"/>
                  </a:lnTo>
                  <a:lnTo>
                    <a:pt x="120" y="384"/>
                  </a:lnTo>
                  <a:lnTo>
                    <a:pt x="120" y="372"/>
                  </a:lnTo>
                  <a:lnTo>
                    <a:pt x="114" y="360"/>
                  </a:lnTo>
                  <a:lnTo>
                    <a:pt x="108" y="360"/>
                  </a:lnTo>
                  <a:lnTo>
                    <a:pt x="108" y="354"/>
                  </a:lnTo>
                  <a:lnTo>
                    <a:pt x="102" y="348"/>
                  </a:lnTo>
                  <a:lnTo>
                    <a:pt x="102" y="342"/>
                  </a:lnTo>
                  <a:lnTo>
                    <a:pt x="108" y="330"/>
                  </a:lnTo>
                  <a:lnTo>
                    <a:pt x="114" y="312"/>
                  </a:lnTo>
                  <a:lnTo>
                    <a:pt x="114" y="300"/>
                  </a:lnTo>
                  <a:lnTo>
                    <a:pt x="120" y="288"/>
                  </a:lnTo>
                  <a:lnTo>
                    <a:pt x="120" y="282"/>
                  </a:lnTo>
                  <a:lnTo>
                    <a:pt x="114" y="270"/>
                  </a:lnTo>
                  <a:lnTo>
                    <a:pt x="114" y="258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84" y="222"/>
                  </a:lnTo>
                  <a:lnTo>
                    <a:pt x="84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84" y="186"/>
                  </a:lnTo>
                  <a:lnTo>
                    <a:pt x="84" y="180"/>
                  </a:lnTo>
                  <a:lnTo>
                    <a:pt x="108" y="174"/>
                  </a:lnTo>
                  <a:lnTo>
                    <a:pt x="132" y="186"/>
                  </a:lnTo>
                  <a:lnTo>
                    <a:pt x="138" y="192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56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74" y="204"/>
                  </a:lnTo>
                  <a:lnTo>
                    <a:pt x="180" y="216"/>
                  </a:lnTo>
                  <a:lnTo>
                    <a:pt x="186" y="228"/>
                  </a:lnTo>
                  <a:lnTo>
                    <a:pt x="192" y="234"/>
                  </a:lnTo>
                  <a:lnTo>
                    <a:pt x="198" y="234"/>
                  </a:lnTo>
                  <a:lnTo>
                    <a:pt x="204" y="240"/>
                  </a:lnTo>
                  <a:lnTo>
                    <a:pt x="210" y="240"/>
                  </a:lnTo>
                  <a:lnTo>
                    <a:pt x="216" y="240"/>
                  </a:lnTo>
                  <a:lnTo>
                    <a:pt x="222" y="240"/>
                  </a:lnTo>
                  <a:lnTo>
                    <a:pt x="228" y="246"/>
                  </a:lnTo>
                  <a:lnTo>
                    <a:pt x="234" y="246"/>
                  </a:lnTo>
                  <a:lnTo>
                    <a:pt x="240" y="246"/>
                  </a:lnTo>
                  <a:lnTo>
                    <a:pt x="252" y="252"/>
                  </a:lnTo>
                  <a:lnTo>
                    <a:pt x="330" y="246"/>
                  </a:lnTo>
                  <a:lnTo>
                    <a:pt x="360" y="228"/>
                  </a:lnTo>
                  <a:lnTo>
                    <a:pt x="396" y="228"/>
                  </a:lnTo>
                  <a:lnTo>
                    <a:pt x="402" y="240"/>
                  </a:lnTo>
                  <a:lnTo>
                    <a:pt x="432" y="240"/>
                  </a:lnTo>
                  <a:lnTo>
                    <a:pt x="450" y="258"/>
                  </a:lnTo>
                  <a:lnTo>
                    <a:pt x="468" y="258"/>
                  </a:lnTo>
                  <a:lnTo>
                    <a:pt x="474" y="294"/>
                  </a:lnTo>
                  <a:lnTo>
                    <a:pt x="558" y="318"/>
                  </a:lnTo>
                  <a:lnTo>
                    <a:pt x="588" y="318"/>
                  </a:lnTo>
                  <a:lnTo>
                    <a:pt x="588" y="312"/>
                  </a:lnTo>
                  <a:lnTo>
                    <a:pt x="594" y="306"/>
                  </a:lnTo>
                  <a:lnTo>
                    <a:pt x="600" y="306"/>
                  </a:lnTo>
                  <a:lnTo>
                    <a:pt x="612" y="300"/>
                  </a:lnTo>
                  <a:lnTo>
                    <a:pt x="618" y="300"/>
                  </a:lnTo>
                  <a:lnTo>
                    <a:pt x="630" y="300"/>
                  </a:lnTo>
                  <a:lnTo>
                    <a:pt x="642" y="306"/>
                  </a:lnTo>
                  <a:lnTo>
                    <a:pt x="660" y="306"/>
                  </a:lnTo>
                  <a:lnTo>
                    <a:pt x="666" y="306"/>
                  </a:lnTo>
                  <a:lnTo>
                    <a:pt x="672" y="306"/>
                  </a:lnTo>
                  <a:lnTo>
                    <a:pt x="684" y="300"/>
                  </a:lnTo>
                  <a:lnTo>
                    <a:pt x="696" y="294"/>
                  </a:lnTo>
                  <a:lnTo>
                    <a:pt x="702" y="288"/>
                  </a:lnTo>
                  <a:lnTo>
                    <a:pt x="714" y="282"/>
                  </a:lnTo>
                  <a:lnTo>
                    <a:pt x="714" y="288"/>
                  </a:lnTo>
                  <a:lnTo>
                    <a:pt x="726" y="300"/>
                  </a:lnTo>
                  <a:lnTo>
                    <a:pt x="732" y="306"/>
                  </a:lnTo>
                  <a:lnTo>
                    <a:pt x="732" y="318"/>
                  </a:lnTo>
                  <a:lnTo>
                    <a:pt x="732" y="330"/>
                  </a:lnTo>
                  <a:lnTo>
                    <a:pt x="726" y="342"/>
                  </a:lnTo>
                  <a:lnTo>
                    <a:pt x="720" y="354"/>
                  </a:lnTo>
                  <a:lnTo>
                    <a:pt x="720" y="360"/>
                  </a:lnTo>
                  <a:lnTo>
                    <a:pt x="714" y="372"/>
                  </a:lnTo>
                  <a:lnTo>
                    <a:pt x="714" y="378"/>
                  </a:lnTo>
                  <a:lnTo>
                    <a:pt x="714" y="408"/>
                  </a:lnTo>
                  <a:lnTo>
                    <a:pt x="708" y="420"/>
                  </a:lnTo>
                  <a:lnTo>
                    <a:pt x="714" y="432"/>
                  </a:lnTo>
                  <a:lnTo>
                    <a:pt x="708" y="450"/>
                  </a:lnTo>
                  <a:lnTo>
                    <a:pt x="708" y="468"/>
                  </a:lnTo>
                  <a:lnTo>
                    <a:pt x="696" y="480"/>
                  </a:lnTo>
                  <a:lnTo>
                    <a:pt x="684" y="486"/>
                  </a:lnTo>
                  <a:lnTo>
                    <a:pt x="672" y="492"/>
                  </a:lnTo>
                  <a:lnTo>
                    <a:pt x="660" y="498"/>
                  </a:lnTo>
                  <a:lnTo>
                    <a:pt x="654" y="510"/>
                  </a:lnTo>
                  <a:lnTo>
                    <a:pt x="648" y="516"/>
                  </a:lnTo>
                  <a:lnTo>
                    <a:pt x="642" y="522"/>
                  </a:lnTo>
                  <a:lnTo>
                    <a:pt x="630" y="522"/>
                  </a:lnTo>
                  <a:lnTo>
                    <a:pt x="624" y="528"/>
                  </a:lnTo>
                  <a:lnTo>
                    <a:pt x="618" y="540"/>
                  </a:lnTo>
                  <a:lnTo>
                    <a:pt x="618" y="558"/>
                  </a:lnTo>
                  <a:lnTo>
                    <a:pt x="612" y="576"/>
                  </a:lnTo>
                  <a:lnTo>
                    <a:pt x="612" y="684"/>
                  </a:lnTo>
                  <a:lnTo>
                    <a:pt x="618" y="696"/>
                  </a:lnTo>
                  <a:lnTo>
                    <a:pt x="636" y="696"/>
                  </a:lnTo>
                  <a:lnTo>
                    <a:pt x="636" y="720"/>
                  </a:lnTo>
                  <a:lnTo>
                    <a:pt x="636" y="732"/>
                  </a:lnTo>
                  <a:lnTo>
                    <a:pt x="618" y="750"/>
                  </a:lnTo>
                  <a:lnTo>
                    <a:pt x="606" y="762"/>
                  </a:lnTo>
                  <a:lnTo>
                    <a:pt x="600" y="774"/>
                  </a:lnTo>
                  <a:lnTo>
                    <a:pt x="594" y="798"/>
                  </a:lnTo>
                  <a:lnTo>
                    <a:pt x="606" y="798"/>
                  </a:lnTo>
                  <a:lnTo>
                    <a:pt x="660" y="792"/>
                  </a:lnTo>
                  <a:lnTo>
                    <a:pt x="696" y="798"/>
                  </a:lnTo>
                  <a:lnTo>
                    <a:pt x="720" y="798"/>
                  </a:lnTo>
                  <a:lnTo>
                    <a:pt x="720" y="786"/>
                  </a:lnTo>
                  <a:lnTo>
                    <a:pt x="720" y="774"/>
                  </a:lnTo>
                  <a:lnTo>
                    <a:pt x="702" y="762"/>
                  </a:lnTo>
                  <a:lnTo>
                    <a:pt x="702" y="750"/>
                  </a:lnTo>
                  <a:lnTo>
                    <a:pt x="702" y="726"/>
                  </a:lnTo>
                  <a:lnTo>
                    <a:pt x="714" y="714"/>
                  </a:lnTo>
                  <a:lnTo>
                    <a:pt x="720" y="702"/>
                  </a:lnTo>
                  <a:lnTo>
                    <a:pt x="720" y="696"/>
                  </a:lnTo>
                  <a:lnTo>
                    <a:pt x="744" y="690"/>
                  </a:lnTo>
                  <a:lnTo>
                    <a:pt x="744" y="696"/>
                  </a:lnTo>
                  <a:lnTo>
                    <a:pt x="756" y="696"/>
                  </a:lnTo>
                  <a:lnTo>
                    <a:pt x="762" y="690"/>
                  </a:lnTo>
                  <a:lnTo>
                    <a:pt x="768" y="690"/>
                  </a:lnTo>
                  <a:lnTo>
                    <a:pt x="774" y="696"/>
                  </a:lnTo>
                  <a:lnTo>
                    <a:pt x="780" y="696"/>
                  </a:lnTo>
                  <a:lnTo>
                    <a:pt x="786" y="696"/>
                  </a:lnTo>
                  <a:lnTo>
                    <a:pt x="804" y="684"/>
                  </a:lnTo>
                  <a:lnTo>
                    <a:pt x="810" y="684"/>
                  </a:lnTo>
                  <a:lnTo>
                    <a:pt x="810" y="654"/>
                  </a:lnTo>
                  <a:lnTo>
                    <a:pt x="816" y="588"/>
                  </a:lnTo>
                  <a:lnTo>
                    <a:pt x="804" y="582"/>
                  </a:lnTo>
                  <a:lnTo>
                    <a:pt x="798" y="552"/>
                  </a:lnTo>
                  <a:lnTo>
                    <a:pt x="798" y="480"/>
                  </a:lnTo>
                  <a:lnTo>
                    <a:pt x="780" y="468"/>
                  </a:lnTo>
                  <a:lnTo>
                    <a:pt x="780" y="462"/>
                  </a:lnTo>
                  <a:lnTo>
                    <a:pt x="774" y="450"/>
                  </a:lnTo>
                  <a:lnTo>
                    <a:pt x="762" y="444"/>
                  </a:lnTo>
                  <a:lnTo>
                    <a:pt x="762" y="438"/>
                  </a:lnTo>
                  <a:lnTo>
                    <a:pt x="768" y="432"/>
                  </a:lnTo>
                  <a:lnTo>
                    <a:pt x="774" y="426"/>
                  </a:lnTo>
                  <a:lnTo>
                    <a:pt x="780" y="426"/>
                  </a:lnTo>
                  <a:lnTo>
                    <a:pt x="780" y="414"/>
                  </a:lnTo>
                  <a:lnTo>
                    <a:pt x="834" y="414"/>
                  </a:lnTo>
                  <a:lnTo>
                    <a:pt x="834" y="426"/>
                  </a:lnTo>
                  <a:lnTo>
                    <a:pt x="840" y="432"/>
                  </a:lnTo>
                  <a:lnTo>
                    <a:pt x="846" y="432"/>
                  </a:lnTo>
                  <a:lnTo>
                    <a:pt x="852" y="432"/>
                  </a:lnTo>
                  <a:lnTo>
                    <a:pt x="858" y="432"/>
                  </a:lnTo>
                  <a:lnTo>
                    <a:pt x="870" y="432"/>
                  </a:lnTo>
                  <a:lnTo>
                    <a:pt x="870" y="426"/>
                  </a:lnTo>
                  <a:lnTo>
                    <a:pt x="870" y="420"/>
                  </a:lnTo>
                  <a:lnTo>
                    <a:pt x="876" y="420"/>
                  </a:lnTo>
                  <a:lnTo>
                    <a:pt x="882" y="420"/>
                  </a:lnTo>
                  <a:lnTo>
                    <a:pt x="894" y="414"/>
                  </a:lnTo>
                  <a:lnTo>
                    <a:pt x="900" y="414"/>
                  </a:lnTo>
                  <a:lnTo>
                    <a:pt x="906" y="408"/>
                  </a:lnTo>
                  <a:lnTo>
                    <a:pt x="918" y="408"/>
                  </a:lnTo>
                  <a:lnTo>
                    <a:pt x="924" y="402"/>
                  </a:lnTo>
                  <a:lnTo>
                    <a:pt x="930" y="384"/>
                  </a:lnTo>
                  <a:lnTo>
                    <a:pt x="948" y="396"/>
                  </a:lnTo>
                  <a:lnTo>
                    <a:pt x="954" y="384"/>
                  </a:lnTo>
                  <a:lnTo>
                    <a:pt x="960" y="384"/>
                  </a:lnTo>
                  <a:lnTo>
                    <a:pt x="972" y="384"/>
                  </a:lnTo>
                  <a:lnTo>
                    <a:pt x="978" y="378"/>
                  </a:lnTo>
                  <a:lnTo>
                    <a:pt x="972" y="366"/>
                  </a:lnTo>
                  <a:lnTo>
                    <a:pt x="966" y="342"/>
                  </a:lnTo>
                  <a:lnTo>
                    <a:pt x="960" y="330"/>
                  </a:lnTo>
                  <a:lnTo>
                    <a:pt x="942" y="324"/>
                  </a:lnTo>
                  <a:lnTo>
                    <a:pt x="936" y="318"/>
                  </a:lnTo>
                  <a:lnTo>
                    <a:pt x="936" y="294"/>
                  </a:lnTo>
                  <a:lnTo>
                    <a:pt x="942" y="294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282"/>
                  </a:lnTo>
                  <a:lnTo>
                    <a:pt x="954" y="276"/>
                  </a:lnTo>
                  <a:lnTo>
                    <a:pt x="960" y="276"/>
                  </a:lnTo>
                  <a:lnTo>
                    <a:pt x="966" y="276"/>
                  </a:lnTo>
                  <a:lnTo>
                    <a:pt x="960" y="258"/>
                  </a:lnTo>
                  <a:lnTo>
                    <a:pt x="954" y="240"/>
                  </a:lnTo>
                  <a:lnTo>
                    <a:pt x="948" y="204"/>
                  </a:lnTo>
                  <a:lnTo>
                    <a:pt x="954" y="204"/>
                  </a:lnTo>
                  <a:lnTo>
                    <a:pt x="960" y="198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00" y="186"/>
                  </a:lnTo>
                  <a:lnTo>
                    <a:pt x="876" y="180"/>
                  </a:lnTo>
                  <a:lnTo>
                    <a:pt x="858" y="180"/>
                  </a:lnTo>
                  <a:lnTo>
                    <a:pt x="852" y="168"/>
                  </a:lnTo>
                  <a:lnTo>
                    <a:pt x="834" y="156"/>
                  </a:lnTo>
                  <a:lnTo>
                    <a:pt x="822" y="156"/>
                  </a:lnTo>
                  <a:lnTo>
                    <a:pt x="804" y="156"/>
                  </a:lnTo>
                  <a:lnTo>
                    <a:pt x="804" y="150"/>
                  </a:lnTo>
                  <a:lnTo>
                    <a:pt x="792" y="144"/>
                  </a:lnTo>
                  <a:lnTo>
                    <a:pt x="762" y="138"/>
                  </a:lnTo>
                  <a:lnTo>
                    <a:pt x="768" y="120"/>
                  </a:lnTo>
                  <a:lnTo>
                    <a:pt x="756" y="120"/>
                  </a:lnTo>
                  <a:lnTo>
                    <a:pt x="744" y="108"/>
                  </a:lnTo>
                  <a:lnTo>
                    <a:pt x="744" y="96"/>
                  </a:lnTo>
                  <a:lnTo>
                    <a:pt x="762" y="84"/>
                  </a:lnTo>
                  <a:lnTo>
                    <a:pt x="768" y="84"/>
                  </a:lnTo>
                  <a:lnTo>
                    <a:pt x="768" y="72"/>
                  </a:lnTo>
                  <a:lnTo>
                    <a:pt x="780" y="66"/>
                  </a:lnTo>
                  <a:lnTo>
                    <a:pt x="798" y="54"/>
                  </a:lnTo>
                  <a:lnTo>
                    <a:pt x="792" y="54"/>
                  </a:lnTo>
                  <a:lnTo>
                    <a:pt x="798" y="36"/>
                  </a:lnTo>
                  <a:lnTo>
                    <a:pt x="804" y="36"/>
                  </a:lnTo>
                  <a:lnTo>
                    <a:pt x="816" y="30"/>
                  </a:lnTo>
                  <a:lnTo>
                    <a:pt x="828" y="30"/>
                  </a:lnTo>
                  <a:lnTo>
                    <a:pt x="846" y="12"/>
                  </a:lnTo>
                  <a:lnTo>
                    <a:pt x="876" y="0"/>
                  </a:lnTo>
                  <a:lnTo>
                    <a:pt x="882" y="6"/>
                  </a:lnTo>
                  <a:lnTo>
                    <a:pt x="900" y="6"/>
                  </a:lnTo>
                  <a:lnTo>
                    <a:pt x="912" y="36"/>
                  </a:lnTo>
                  <a:lnTo>
                    <a:pt x="918" y="42"/>
                  </a:lnTo>
                  <a:lnTo>
                    <a:pt x="924" y="54"/>
                  </a:lnTo>
                  <a:lnTo>
                    <a:pt x="930" y="54"/>
                  </a:lnTo>
                  <a:lnTo>
                    <a:pt x="930" y="78"/>
                  </a:lnTo>
                  <a:lnTo>
                    <a:pt x="954" y="72"/>
                  </a:lnTo>
                  <a:lnTo>
                    <a:pt x="954" y="60"/>
                  </a:lnTo>
                  <a:lnTo>
                    <a:pt x="966" y="66"/>
                  </a:lnTo>
                  <a:lnTo>
                    <a:pt x="966" y="78"/>
                  </a:lnTo>
                  <a:lnTo>
                    <a:pt x="960" y="84"/>
                  </a:lnTo>
                  <a:lnTo>
                    <a:pt x="954" y="102"/>
                  </a:lnTo>
                  <a:lnTo>
                    <a:pt x="972" y="102"/>
                  </a:lnTo>
                  <a:lnTo>
                    <a:pt x="978" y="84"/>
                  </a:lnTo>
                  <a:lnTo>
                    <a:pt x="984" y="72"/>
                  </a:lnTo>
                  <a:lnTo>
                    <a:pt x="990" y="72"/>
                  </a:lnTo>
                  <a:lnTo>
                    <a:pt x="996" y="18"/>
                  </a:lnTo>
                  <a:lnTo>
                    <a:pt x="990" y="12"/>
                  </a:lnTo>
                  <a:lnTo>
                    <a:pt x="1014" y="12"/>
                  </a:lnTo>
                  <a:lnTo>
                    <a:pt x="1026" y="12"/>
                  </a:lnTo>
                  <a:lnTo>
                    <a:pt x="1026" y="24"/>
                  </a:lnTo>
                  <a:lnTo>
                    <a:pt x="1050" y="24"/>
                  </a:lnTo>
                  <a:lnTo>
                    <a:pt x="1050" y="36"/>
                  </a:lnTo>
                  <a:lnTo>
                    <a:pt x="1062" y="66"/>
                  </a:lnTo>
                  <a:lnTo>
                    <a:pt x="1074" y="66"/>
                  </a:lnTo>
                  <a:lnTo>
                    <a:pt x="1080" y="60"/>
                  </a:lnTo>
                  <a:lnTo>
                    <a:pt x="1074" y="24"/>
                  </a:lnTo>
                  <a:lnTo>
                    <a:pt x="1086" y="18"/>
                  </a:lnTo>
                  <a:lnTo>
                    <a:pt x="1086" y="12"/>
                  </a:lnTo>
                  <a:lnTo>
                    <a:pt x="1104" y="6"/>
                  </a:lnTo>
                  <a:lnTo>
                    <a:pt x="1122" y="0"/>
                  </a:lnTo>
                  <a:lnTo>
                    <a:pt x="1134" y="6"/>
                  </a:lnTo>
                  <a:lnTo>
                    <a:pt x="1134" y="42"/>
                  </a:lnTo>
                  <a:lnTo>
                    <a:pt x="1140" y="72"/>
                  </a:lnTo>
                  <a:lnTo>
                    <a:pt x="1158" y="114"/>
                  </a:lnTo>
                  <a:lnTo>
                    <a:pt x="1170" y="114"/>
                  </a:lnTo>
                  <a:lnTo>
                    <a:pt x="1170" y="126"/>
                  </a:lnTo>
                  <a:lnTo>
                    <a:pt x="1182" y="126"/>
                  </a:lnTo>
                  <a:lnTo>
                    <a:pt x="1182" y="138"/>
                  </a:lnTo>
                  <a:lnTo>
                    <a:pt x="1194" y="144"/>
                  </a:lnTo>
                  <a:lnTo>
                    <a:pt x="1194" y="156"/>
                  </a:lnTo>
                  <a:lnTo>
                    <a:pt x="1188" y="156"/>
                  </a:lnTo>
                  <a:lnTo>
                    <a:pt x="1194" y="162"/>
                  </a:lnTo>
                  <a:lnTo>
                    <a:pt x="1194" y="168"/>
                  </a:lnTo>
                  <a:lnTo>
                    <a:pt x="1188" y="168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82" y="180"/>
                  </a:lnTo>
                  <a:lnTo>
                    <a:pt x="1188" y="186"/>
                  </a:lnTo>
                  <a:lnTo>
                    <a:pt x="1188" y="192"/>
                  </a:lnTo>
                  <a:lnTo>
                    <a:pt x="1182" y="198"/>
                  </a:lnTo>
                  <a:lnTo>
                    <a:pt x="1182" y="204"/>
                  </a:lnTo>
                  <a:lnTo>
                    <a:pt x="1182" y="210"/>
                  </a:lnTo>
                  <a:lnTo>
                    <a:pt x="1188" y="210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2"/>
                  </a:lnTo>
                  <a:lnTo>
                    <a:pt x="1194" y="264"/>
                  </a:lnTo>
                  <a:lnTo>
                    <a:pt x="1200" y="264"/>
                  </a:lnTo>
                  <a:lnTo>
                    <a:pt x="1212" y="264"/>
                  </a:lnTo>
                  <a:lnTo>
                    <a:pt x="1212" y="258"/>
                  </a:lnTo>
                  <a:lnTo>
                    <a:pt x="1224" y="258"/>
                  </a:lnTo>
                  <a:lnTo>
                    <a:pt x="1248" y="252"/>
                  </a:lnTo>
                  <a:lnTo>
                    <a:pt x="1248" y="264"/>
                  </a:lnTo>
                  <a:lnTo>
                    <a:pt x="1254" y="264"/>
                  </a:lnTo>
                  <a:lnTo>
                    <a:pt x="1254" y="270"/>
                  </a:lnTo>
                  <a:lnTo>
                    <a:pt x="1260" y="270"/>
                  </a:lnTo>
                  <a:lnTo>
                    <a:pt x="1266" y="270"/>
                  </a:lnTo>
                  <a:lnTo>
                    <a:pt x="1272" y="270"/>
                  </a:lnTo>
                  <a:lnTo>
                    <a:pt x="1272" y="264"/>
                  </a:lnTo>
                  <a:lnTo>
                    <a:pt x="1272" y="258"/>
                  </a:lnTo>
                  <a:lnTo>
                    <a:pt x="1278" y="258"/>
                  </a:lnTo>
                  <a:lnTo>
                    <a:pt x="1278" y="252"/>
                  </a:lnTo>
                  <a:lnTo>
                    <a:pt x="1290" y="252"/>
                  </a:lnTo>
                  <a:lnTo>
                    <a:pt x="1296" y="246"/>
                  </a:lnTo>
                  <a:lnTo>
                    <a:pt x="1308" y="246"/>
                  </a:lnTo>
                  <a:lnTo>
                    <a:pt x="1308" y="240"/>
                  </a:lnTo>
                  <a:lnTo>
                    <a:pt x="1320" y="240"/>
                  </a:lnTo>
                  <a:lnTo>
                    <a:pt x="1326" y="246"/>
                  </a:lnTo>
                  <a:lnTo>
                    <a:pt x="1338" y="246"/>
                  </a:lnTo>
                  <a:lnTo>
                    <a:pt x="1338" y="240"/>
                  </a:lnTo>
                  <a:lnTo>
                    <a:pt x="1350" y="240"/>
                  </a:lnTo>
                  <a:lnTo>
                    <a:pt x="1386" y="234"/>
                  </a:lnTo>
                  <a:lnTo>
                    <a:pt x="1398" y="228"/>
                  </a:lnTo>
                  <a:lnTo>
                    <a:pt x="1404" y="216"/>
                  </a:lnTo>
                  <a:lnTo>
                    <a:pt x="1416" y="204"/>
                  </a:lnTo>
                  <a:lnTo>
                    <a:pt x="1434" y="192"/>
                  </a:lnTo>
                  <a:lnTo>
                    <a:pt x="1446" y="198"/>
                  </a:lnTo>
                  <a:lnTo>
                    <a:pt x="1446" y="204"/>
                  </a:lnTo>
                  <a:lnTo>
                    <a:pt x="1452" y="210"/>
                  </a:lnTo>
                  <a:lnTo>
                    <a:pt x="1464" y="222"/>
                  </a:lnTo>
                  <a:lnTo>
                    <a:pt x="1464" y="228"/>
                  </a:lnTo>
                  <a:lnTo>
                    <a:pt x="1464" y="234"/>
                  </a:lnTo>
                  <a:lnTo>
                    <a:pt x="1470" y="240"/>
                  </a:lnTo>
                  <a:lnTo>
                    <a:pt x="1476" y="228"/>
                  </a:lnTo>
                  <a:lnTo>
                    <a:pt x="1476" y="222"/>
                  </a:lnTo>
                  <a:lnTo>
                    <a:pt x="1482" y="210"/>
                  </a:lnTo>
                  <a:lnTo>
                    <a:pt x="1488" y="192"/>
                  </a:lnTo>
                  <a:lnTo>
                    <a:pt x="1488" y="186"/>
                  </a:lnTo>
                  <a:lnTo>
                    <a:pt x="1488" y="180"/>
                  </a:lnTo>
                  <a:lnTo>
                    <a:pt x="1500" y="180"/>
                  </a:lnTo>
                  <a:lnTo>
                    <a:pt x="1500" y="174"/>
                  </a:lnTo>
                  <a:lnTo>
                    <a:pt x="1518" y="162"/>
                  </a:lnTo>
                  <a:lnTo>
                    <a:pt x="1536" y="150"/>
                  </a:lnTo>
                  <a:lnTo>
                    <a:pt x="1554" y="168"/>
                  </a:lnTo>
                  <a:lnTo>
                    <a:pt x="1572" y="180"/>
                  </a:lnTo>
                  <a:lnTo>
                    <a:pt x="1596" y="216"/>
                  </a:lnTo>
                  <a:lnTo>
                    <a:pt x="1602" y="216"/>
                  </a:lnTo>
                  <a:lnTo>
                    <a:pt x="1614" y="228"/>
                  </a:lnTo>
                  <a:lnTo>
                    <a:pt x="1614" y="234"/>
                  </a:lnTo>
                  <a:lnTo>
                    <a:pt x="1620" y="240"/>
                  </a:lnTo>
                  <a:lnTo>
                    <a:pt x="1620" y="246"/>
                  </a:lnTo>
                  <a:lnTo>
                    <a:pt x="1626" y="252"/>
                  </a:lnTo>
                  <a:lnTo>
                    <a:pt x="1632" y="258"/>
                  </a:lnTo>
                  <a:lnTo>
                    <a:pt x="1632" y="264"/>
                  </a:lnTo>
                  <a:lnTo>
                    <a:pt x="1638" y="264"/>
                  </a:lnTo>
                  <a:lnTo>
                    <a:pt x="1638" y="270"/>
                  </a:lnTo>
                  <a:lnTo>
                    <a:pt x="1638" y="276"/>
                  </a:lnTo>
                  <a:lnTo>
                    <a:pt x="1638" y="282"/>
                  </a:lnTo>
                  <a:lnTo>
                    <a:pt x="1644" y="288"/>
                  </a:lnTo>
                  <a:lnTo>
                    <a:pt x="1644" y="294"/>
                  </a:lnTo>
                  <a:lnTo>
                    <a:pt x="1644" y="300"/>
                  </a:lnTo>
                  <a:lnTo>
                    <a:pt x="1644" y="306"/>
                  </a:lnTo>
                  <a:lnTo>
                    <a:pt x="1650" y="306"/>
                  </a:lnTo>
                  <a:lnTo>
                    <a:pt x="1650" y="312"/>
                  </a:lnTo>
                  <a:lnTo>
                    <a:pt x="1650" y="318"/>
                  </a:lnTo>
                  <a:lnTo>
                    <a:pt x="1650" y="324"/>
                  </a:lnTo>
                  <a:lnTo>
                    <a:pt x="1644" y="330"/>
                  </a:lnTo>
                  <a:lnTo>
                    <a:pt x="1626" y="330"/>
                  </a:lnTo>
                  <a:lnTo>
                    <a:pt x="1626" y="336"/>
                  </a:lnTo>
                  <a:lnTo>
                    <a:pt x="1626" y="342"/>
                  </a:lnTo>
                  <a:lnTo>
                    <a:pt x="1626" y="348"/>
                  </a:lnTo>
                  <a:lnTo>
                    <a:pt x="1620" y="354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14" y="390"/>
                  </a:lnTo>
                  <a:lnTo>
                    <a:pt x="1614" y="396"/>
                  </a:lnTo>
                  <a:lnTo>
                    <a:pt x="1614" y="402"/>
                  </a:lnTo>
                  <a:lnTo>
                    <a:pt x="1614" y="408"/>
                  </a:lnTo>
                  <a:lnTo>
                    <a:pt x="1614" y="414"/>
                  </a:lnTo>
                  <a:lnTo>
                    <a:pt x="1602" y="420"/>
                  </a:lnTo>
                  <a:lnTo>
                    <a:pt x="1602" y="426"/>
                  </a:lnTo>
                  <a:lnTo>
                    <a:pt x="1608" y="432"/>
                  </a:lnTo>
                  <a:lnTo>
                    <a:pt x="1614" y="426"/>
                  </a:lnTo>
                  <a:lnTo>
                    <a:pt x="1620" y="438"/>
                  </a:lnTo>
                  <a:lnTo>
                    <a:pt x="1626" y="438"/>
                  </a:lnTo>
                  <a:lnTo>
                    <a:pt x="1632" y="444"/>
                  </a:lnTo>
                  <a:lnTo>
                    <a:pt x="1626" y="456"/>
                  </a:lnTo>
                  <a:lnTo>
                    <a:pt x="1626" y="468"/>
                  </a:lnTo>
                  <a:lnTo>
                    <a:pt x="1620" y="474"/>
                  </a:lnTo>
                  <a:lnTo>
                    <a:pt x="1614" y="474"/>
                  </a:lnTo>
                  <a:lnTo>
                    <a:pt x="1614" y="486"/>
                  </a:lnTo>
                  <a:lnTo>
                    <a:pt x="1614" y="492"/>
                  </a:lnTo>
                  <a:lnTo>
                    <a:pt x="1620" y="492"/>
                  </a:lnTo>
                  <a:lnTo>
                    <a:pt x="1626" y="498"/>
                  </a:lnTo>
                  <a:lnTo>
                    <a:pt x="1626" y="504"/>
                  </a:lnTo>
                  <a:lnTo>
                    <a:pt x="1626" y="510"/>
                  </a:lnTo>
                  <a:lnTo>
                    <a:pt x="1620" y="516"/>
                  </a:lnTo>
                  <a:lnTo>
                    <a:pt x="1620" y="522"/>
                  </a:lnTo>
                  <a:lnTo>
                    <a:pt x="1614" y="522"/>
                  </a:lnTo>
                  <a:lnTo>
                    <a:pt x="1608" y="528"/>
                  </a:lnTo>
                  <a:lnTo>
                    <a:pt x="1602" y="522"/>
                  </a:lnTo>
                  <a:lnTo>
                    <a:pt x="1602" y="528"/>
                  </a:lnTo>
                  <a:lnTo>
                    <a:pt x="1602" y="540"/>
                  </a:lnTo>
                  <a:lnTo>
                    <a:pt x="1602" y="558"/>
                  </a:lnTo>
                  <a:lnTo>
                    <a:pt x="1602" y="564"/>
                  </a:lnTo>
                  <a:lnTo>
                    <a:pt x="1602" y="570"/>
                  </a:lnTo>
                  <a:lnTo>
                    <a:pt x="1602" y="576"/>
                  </a:lnTo>
                  <a:lnTo>
                    <a:pt x="1596" y="576"/>
                  </a:lnTo>
                  <a:lnTo>
                    <a:pt x="1632" y="582"/>
                  </a:lnTo>
                  <a:lnTo>
                    <a:pt x="1644" y="618"/>
                  </a:lnTo>
                  <a:lnTo>
                    <a:pt x="1650" y="648"/>
                  </a:lnTo>
                  <a:lnTo>
                    <a:pt x="1662" y="636"/>
                  </a:lnTo>
                  <a:lnTo>
                    <a:pt x="1668" y="636"/>
                  </a:lnTo>
                  <a:lnTo>
                    <a:pt x="1674" y="636"/>
                  </a:lnTo>
                  <a:lnTo>
                    <a:pt x="1680" y="630"/>
                  </a:lnTo>
                  <a:lnTo>
                    <a:pt x="1686" y="630"/>
                  </a:lnTo>
                  <a:lnTo>
                    <a:pt x="1692" y="630"/>
                  </a:lnTo>
                  <a:lnTo>
                    <a:pt x="1698" y="630"/>
                  </a:lnTo>
                  <a:lnTo>
                    <a:pt x="1704" y="630"/>
                  </a:lnTo>
                  <a:lnTo>
                    <a:pt x="1704" y="624"/>
                  </a:lnTo>
                  <a:lnTo>
                    <a:pt x="1710" y="624"/>
                  </a:lnTo>
                  <a:lnTo>
                    <a:pt x="1716" y="624"/>
                  </a:lnTo>
                  <a:lnTo>
                    <a:pt x="1722" y="624"/>
                  </a:lnTo>
                  <a:lnTo>
                    <a:pt x="1728" y="624"/>
                  </a:lnTo>
                  <a:lnTo>
                    <a:pt x="1722" y="618"/>
                  </a:lnTo>
                  <a:lnTo>
                    <a:pt x="1728" y="606"/>
                  </a:lnTo>
                  <a:lnTo>
                    <a:pt x="1734" y="606"/>
                  </a:lnTo>
                  <a:lnTo>
                    <a:pt x="1740" y="600"/>
                  </a:lnTo>
                  <a:lnTo>
                    <a:pt x="1746" y="594"/>
                  </a:lnTo>
                  <a:lnTo>
                    <a:pt x="1752" y="588"/>
                  </a:lnTo>
                  <a:lnTo>
                    <a:pt x="1752" y="582"/>
                  </a:lnTo>
                  <a:lnTo>
                    <a:pt x="1758" y="576"/>
                  </a:lnTo>
                  <a:lnTo>
                    <a:pt x="1764" y="576"/>
                  </a:lnTo>
                  <a:lnTo>
                    <a:pt x="1770" y="570"/>
                  </a:lnTo>
                  <a:lnTo>
                    <a:pt x="1776" y="564"/>
                  </a:lnTo>
                  <a:lnTo>
                    <a:pt x="1788" y="558"/>
                  </a:lnTo>
                  <a:lnTo>
                    <a:pt x="1788" y="546"/>
                  </a:lnTo>
                  <a:lnTo>
                    <a:pt x="1788" y="540"/>
                  </a:lnTo>
                  <a:lnTo>
                    <a:pt x="1794" y="540"/>
                  </a:lnTo>
                  <a:lnTo>
                    <a:pt x="1788" y="534"/>
                  </a:lnTo>
                  <a:lnTo>
                    <a:pt x="1788" y="528"/>
                  </a:lnTo>
                  <a:lnTo>
                    <a:pt x="1794" y="516"/>
                  </a:lnTo>
                  <a:lnTo>
                    <a:pt x="1800" y="510"/>
                  </a:lnTo>
                  <a:lnTo>
                    <a:pt x="1812" y="510"/>
                  </a:lnTo>
                  <a:lnTo>
                    <a:pt x="1818" y="504"/>
                  </a:lnTo>
                  <a:lnTo>
                    <a:pt x="1824" y="504"/>
                  </a:lnTo>
                  <a:lnTo>
                    <a:pt x="1830" y="498"/>
                  </a:lnTo>
                  <a:lnTo>
                    <a:pt x="1836" y="498"/>
                  </a:lnTo>
                  <a:lnTo>
                    <a:pt x="1848" y="492"/>
                  </a:lnTo>
                  <a:lnTo>
                    <a:pt x="1848" y="480"/>
                  </a:lnTo>
                  <a:lnTo>
                    <a:pt x="1854" y="480"/>
                  </a:lnTo>
                  <a:lnTo>
                    <a:pt x="1890" y="504"/>
                  </a:lnTo>
                  <a:lnTo>
                    <a:pt x="1908" y="534"/>
                  </a:lnTo>
                  <a:lnTo>
                    <a:pt x="1902" y="534"/>
                  </a:lnTo>
                  <a:lnTo>
                    <a:pt x="1920" y="528"/>
                  </a:lnTo>
                  <a:lnTo>
                    <a:pt x="1920" y="516"/>
                  </a:lnTo>
                  <a:lnTo>
                    <a:pt x="1944" y="516"/>
                  </a:lnTo>
                  <a:lnTo>
                    <a:pt x="2004" y="516"/>
                  </a:lnTo>
                  <a:lnTo>
                    <a:pt x="2010" y="510"/>
                  </a:lnTo>
                  <a:lnTo>
                    <a:pt x="2004" y="510"/>
                  </a:lnTo>
                  <a:lnTo>
                    <a:pt x="2010" y="498"/>
                  </a:lnTo>
                  <a:lnTo>
                    <a:pt x="2004" y="486"/>
                  </a:lnTo>
                  <a:lnTo>
                    <a:pt x="2004" y="480"/>
                  </a:lnTo>
                  <a:lnTo>
                    <a:pt x="2004" y="474"/>
                  </a:lnTo>
                  <a:lnTo>
                    <a:pt x="2004" y="462"/>
                  </a:lnTo>
                  <a:lnTo>
                    <a:pt x="2004" y="456"/>
                  </a:lnTo>
                  <a:lnTo>
                    <a:pt x="2058" y="462"/>
                  </a:lnTo>
                  <a:lnTo>
                    <a:pt x="2076" y="474"/>
                  </a:lnTo>
                  <a:lnTo>
                    <a:pt x="2082" y="522"/>
                  </a:lnTo>
                  <a:lnTo>
                    <a:pt x="2088" y="516"/>
                  </a:lnTo>
                  <a:lnTo>
                    <a:pt x="2094" y="522"/>
                  </a:lnTo>
                  <a:lnTo>
                    <a:pt x="2100" y="528"/>
                  </a:lnTo>
                  <a:lnTo>
                    <a:pt x="2130" y="540"/>
                  </a:lnTo>
                  <a:lnTo>
                    <a:pt x="2160" y="564"/>
                  </a:lnTo>
                  <a:lnTo>
                    <a:pt x="2166" y="600"/>
                  </a:lnTo>
                  <a:lnTo>
                    <a:pt x="2160" y="618"/>
                  </a:lnTo>
                  <a:lnTo>
                    <a:pt x="2142" y="636"/>
                  </a:lnTo>
                  <a:lnTo>
                    <a:pt x="2148" y="648"/>
                  </a:lnTo>
                  <a:lnTo>
                    <a:pt x="2154" y="660"/>
                  </a:lnTo>
                  <a:lnTo>
                    <a:pt x="2196" y="654"/>
                  </a:lnTo>
                  <a:lnTo>
                    <a:pt x="2214" y="660"/>
                  </a:lnTo>
                  <a:lnTo>
                    <a:pt x="2214" y="666"/>
                  </a:lnTo>
                  <a:lnTo>
                    <a:pt x="2220" y="672"/>
                  </a:lnTo>
                  <a:lnTo>
                    <a:pt x="2214" y="678"/>
                  </a:lnTo>
                  <a:lnTo>
                    <a:pt x="2214" y="684"/>
                  </a:lnTo>
                  <a:lnTo>
                    <a:pt x="2214" y="690"/>
                  </a:lnTo>
                  <a:lnTo>
                    <a:pt x="2208" y="690"/>
                  </a:lnTo>
                  <a:lnTo>
                    <a:pt x="2202" y="696"/>
                  </a:lnTo>
                  <a:lnTo>
                    <a:pt x="2196" y="702"/>
                  </a:lnTo>
                  <a:lnTo>
                    <a:pt x="2190" y="708"/>
                  </a:lnTo>
                  <a:lnTo>
                    <a:pt x="2190" y="720"/>
                  </a:lnTo>
                  <a:lnTo>
                    <a:pt x="2184" y="720"/>
                  </a:lnTo>
                  <a:lnTo>
                    <a:pt x="2178" y="726"/>
                  </a:lnTo>
                  <a:lnTo>
                    <a:pt x="2166" y="732"/>
                  </a:lnTo>
                  <a:lnTo>
                    <a:pt x="2160" y="744"/>
                  </a:lnTo>
                  <a:lnTo>
                    <a:pt x="2154" y="756"/>
                  </a:lnTo>
                  <a:lnTo>
                    <a:pt x="2148" y="762"/>
                  </a:lnTo>
                  <a:lnTo>
                    <a:pt x="2124" y="762"/>
                  </a:lnTo>
                  <a:lnTo>
                    <a:pt x="2124" y="768"/>
                  </a:lnTo>
                  <a:lnTo>
                    <a:pt x="2118" y="768"/>
                  </a:lnTo>
                  <a:lnTo>
                    <a:pt x="2124" y="774"/>
                  </a:lnTo>
                  <a:lnTo>
                    <a:pt x="2118" y="774"/>
                  </a:lnTo>
                  <a:lnTo>
                    <a:pt x="2112" y="774"/>
                  </a:lnTo>
                  <a:lnTo>
                    <a:pt x="2106" y="780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06" y="798"/>
                  </a:lnTo>
                  <a:lnTo>
                    <a:pt x="2106" y="810"/>
                  </a:lnTo>
                  <a:lnTo>
                    <a:pt x="2112" y="828"/>
                  </a:lnTo>
                  <a:lnTo>
                    <a:pt x="2112" y="834"/>
                  </a:lnTo>
                  <a:lnTo>
                    <a:pt x="2112" y="840"/>
                  </a:lnTo>
                  <a:lnTo>
                    <a:pt x="2112" y="834"/>
                  </a:lnTo>
                  <a:lnTo>
                    <a:pt x="2124" y="834"/>
                  </a:lnTo>
                  <a:lnTo>
                    <a:pt x="2130" y="834"/>
                  </a:lnTo>
                  <a:lnTo>
                    <a:pt x="2136" y="840"/>
                  </a:lnTo>
                  <a:lnTo>
                    <a:pt x="2142" y="840"/>
                  </a:lnTo>
                  <a:lnTo>
                    <a:pt x="2154" y="852"/>
                  </a:lnTo>
                  <a:lnTo>
                    <a:pt x="2160" y="852"/>
                  </a:lnTo>
                  <a:lnTo>
                    <a:pt x="2172" y="846"/>
                  </a:lnTo>
                  <a:lnTo>
                    <a:pt x="2178" y="846"/>
                  </a:lnTo>
                  <a:lnTo>
                    <a:pt x="2184" y="846"/>
                  </a:lnTo>
                  <a:lnTo>
                    <a:pt x="2190" y="846"/>
                  </a:lnTo>
                  <a:lnTo>
                    <a:pt x="2196" y="852"/>
                  </a:lnTo>
                  <a:lnTo>
                    <a:pt x="2196" y="858"/>
                  </a:lnTo>
                  <a:lnTo>
                    <a:pt x="2202" y="852"/>
                  </a:lnTo>
                  <a:lnTo>
                    <a:pt x="2208" y="846"/>
                  </a:lnTo>
                  <a:lnTo>
                    <a:pt x="2214" y="846"/>
                  </a:lnTo>
                  <a:lnTo>
                    <a:pt x="2226" y="846"/>
                  </a:lnTo>
                  <a:lnTo>
                    <a:pt x="2232" y="852"/>
                  </a:lnTo>
                  <a:lnTo>
                    <a:pt x="2238" y="852"/>
                  </a:lnTo>
                  <a:lnTo>
                    <a:pt x="2244" y="858"/>
                  </a:lnTo>
                  <a:lnTo>
                    <a:pt x="2250" y="858"/>
                  </a:lnTo>
                  <a:lnTo>
                    <a:pt x="2256" y="858"/>
                  </a:lnTo>
                  <a:lnTo>
                    <a:pt x="2262" y="858"/>
                  </a:lnTo>
                  <a:lnTo>
                    <a:pt x="2268" y="852"/>
                  </a:lnTo>
                  <a:lnTo>
                    <a:pt x="2274" y="852"/>
                  </a:lnTo>
                  <a:lnTo>
                    <a:pt x="2280" y="852"/>
                  </a:lnTo>
                  <a:lnTo>
                    <a:pt x="2286" y="852"/>
                  </a:lnTo>
                  <a:lnTo>
                    <a:pt x="2298" y="858"/>
                  </a:lnTo>
                  <a:lnTo>
                    <a:pt x="2304" y="858"/>
                  </a:lnTo>
                  <a:lnTo>
                    <a:pt x="2310" y="858"/>
                  </a:lnTo>
                  <a:lnTo>
                    <a:pt x="2316" y="852"/>
                  </a:lnTo>
                  <a:lnTo>
                    <a:pt x="2322" y="858"/>
                  </a:lnTo>
                  <a:lnTo>
                    <a:pt x="2328" y="858"/>
                  </a:lnTo>
                  <a:lnTo>
                    <a:pt x="2328" y="852"/>
                  </a:lnTo>
                  <a:lnTo>
                    <a:pt x="2364" y="858"/>
                  </a:lnTo>
                  <a:lnTo>
                    <a:pt x="2376" y="876"/>
                  </a:lnTo>
                  <a:lnTo>
                    <a:pt x="2382" y="936"/>
                  </a:lnTo>
                  <a:lnTo>
                    <a:pt x="2388" y="966"/>
                  </a:lnTo>
                  <a:lnTo>
                    <a:pt x="2382" y="972"/>
                  </a:lnTo>
                  <a:lnTo>
                    <a:pt x="2382" y="978"/>
                  </a:lnTo>
                  <a:lnTo>
                    <a:pt x="2382" y="984"/>
                  </a:lnTo>
                  <a:lnTo>
                    <a:pt x="2388" y="990"/>
                  </a:lnTo>
                  <a:lnTo>
                    <a:pt x="2382" y="990"/>
                  </a:lnTo>
                  <a:lnTo>
                    <a:pt x="2382" y="996"/>
                  </a:lnTo>
                  <a:lnTo>
                    <a:pt x="2376" y="996"/>
                  </a:lnTo>
                  <a:lnTo>
                    <a:pt x="2376" y="1020"/>
                  </a:lnTo>
                  <a:lnTo>
                    <a:pt x="2370" y="1032"/>
                  </a:lnTo>
                  <a:lnTo>
                    <a:pt x="2352" y="1032"/>
                  </a:lnTo>
                  <a:lnTo>
                    <a:pt x="2346" y="1020"/>
                  </a:lnTo>
                  <a:lnTo>
                    <a:pt x="2328" y="1032"/>
                  </a:lnTo>
                  <a:lnTo>
                    <a:pt x="2316" y="1038"/>
                  </a:lnTo>
                  <a:lnTo>
                    <a:pt x="2328" y="1044"/>
                  </a:lnTo>
                  <a:lnTo>
                    <a:pt x="2340" y="1056"/>
                  </a:lnTo>
                  <a:lnTo>
                    <a:pt x="2376" y="1062"/>
                  </a:lnTo>
                  <a:lnTo>
                    <a:pt x="2376" y="1068"/>
                  </a:lnTo>
                  <a:lnTo>
                    <a:pt x="2382" y="1086"/>
                  </a:lnTo>
                  <a:lnTo>
                    <a:pt x="2376" y="1086"/>
                  </a:lnTo>
                  <a:lnTo>
                    <a:pt x="2370" y="1086"/>
                  </a:lnTo>
                  <a:lnTo>
                    <a:pt x="2364" y="1086"/>
                  </a:lnTo>
                  <a:lnTo>
                    <a:pt x="2364" y="1098"/>
                  </a:lnTo>
                  <a:lnTo>
                    <a:pt x="2388" y="1104"/>
                  </a:lnTo>
                  <a:lnTo>
                    <a:pt x="2400" y="1122"/>
                  </a:lnTo>
                  <a:lnTo>
                    <a:pt x="2400" y="1134"/>
                  </a:lnTo>
                  <a:lnTo>
                    <a:pt x="2400" y="1146"/>
                  </a:lnTo>
                  <a:lnTo>
                    <a:pt x="2394" y="1146"/>
                  </a:lnTo>
                  <a:lnTo>
                    <a:pt x="2394" y="1152"/>
                  </a:lnTo>
                  <a:lnTo>
                    <a:pt x="2388" y="1152"/>
                  </a:lnTo>
                  <a:lnTo>
                    <a:pt x="2388" y="1146"/>
                  </a:lnTo>
                  <a:lnTo>
                    <a:pt x="2382" y="1152"/>
                  </a:lnTo>
                  <a:lnTo>
                    <a:pt x="2376" y="1152"/>
                  </a:lnTo>
                  <a:lnTo>
                    <a:pt x="2370" y="1158"/>
                  </a:lnTo>
                  <a:lnTo>
                    <a:pt x="2370" y="1164"/>
                  </a:lnTo>
                  <a:lnTo>
                    <a:pt x="2364" y="1170"/>
                  </a:lnTo>
                  <a:lnTo>
                    <a:pt x="2370" y="1170"/>
                  </a:lnTo>
                  <a:lnTo>
                    <a:pt x="2376" y="1170"/>
                  </a:lnTo>
                  <a:lnTo>
                    <a:pt x="2370" y="1176"/>
                  </a:lnTo>
                  <a:lnTo>
                    <a:pt x="2364" y="1176"/>
                  </a:lnTo>
                  <a:lnTo>
                    <a:pt x="2358" y="1182"/>
                  </a:lnTo>
                  <a:lnTo>
                    <a:pt x="2352" y="1182"/>
                  </a:lnTo>
                  <a:lnTo>
                    <a:pt x="2346" y="1188"/>
                  </a:lnTo>
                  <a:lnTo>
                    <a:pt x="2340" y="1182"/>
                  </a:lnTo>
                  <a:lnTo>
                    <a:pt x="2334" y="1182"/>
                  </a:lnTo>
                  <a:lnTo>
                    <a:pt x="2334" y="1188"/>
                  </a:lnTo>
                  <a:lnTo>
                    <a:pt x="2328" y="1194"/>
                  </a:lnTo>
                  <a:lnTo>
                    <a:pt x="2328" y="1200"/>
                  </a:lnTo>
                  <a:lnTo>
                    <a:pt x="2322" y="1224"/>
                  </a:lnTo>
                  <a:lnTo>
                    <a:pt x="2328" y="1230"/>
                  </a:lnTo>
                  <a:lnTo>
                    <a:pt x="2358" y="1230"/>
                  </a:lnTo>
                  <a:lnTo>
                    <a:pt x="2358" y="1242"/>
                  </a:lnTo>
                  <a:lnTo>
                    <a:pt x="2358" y="1254"/>
                  </a:lnTo>
                  <a:lnTo>
                    <a:pt x="2346" y="1254"/>
                  </a:lnTo>
                  <a:lnTo>
                    <a:pt x="2346" y="1278"/>
                  </a:lnTo>
                  <a:lnTo>
                    <a:pt x="2358" y="1278"/>
                  </a:lnTo>
                  <a:lnTo>
                    <a:pt x="2358" y="1284"/>
                  </a:lnTo>
                  <a:lnTo>
                    <a:pt x="2376" y="1284"/>
                  </a:lnTo>
                  <a:lnTo>
                    <a:pt x="2388" y="1278"/>
                  </a:lnTo>
                  <a:lnTo>
                    <a:pt x="2406" y="1278"/>
                  </a:lnTo>
                  <a:lnTo>
                    <a:pt x="2430" y="1284"/>
                  </a:lnTo>
                  <a:lnTo>
                    <a:pt x="2430" y="1302"/>
                  </a:lnTo>
                  <a:lnTo>
                    <a:pt x="2430" y="1314"/>
                  </a:lnTo>
                  <a:lnTo>
                    <a:pt x="2424" y="1326"/>
                  </a:lnTo>
                  <a:lnTo>
                    <a:pt x="2412" y="1326"/>
                  </a:lnTo>
                  <a:lnTo>
                    <a:pt x="2412" y="1344"/>
                  </a:lnTo>
                  <a:lnTo>
                    <a:pt x="2406" y="1344"/>
                  </a:lnTo>
                  <a:lnTo>
                    <a:pt x="2400" y="1362"/>
                  </a:lnTo>
                  <a:lnTo>
                    <a:pt x="2394" y="1368"/>
                  </a:lnTo>
                  <a:lnTo>
                    <a:pt x="2388" y="1374"/>
                  </a:lnTo>
                  <a:lnTo>
                    <a:pt x="2382" y="1380"/>
                  </a:lnTo>
                  <a:lnTo>
                    <a:pt x="2376" y="1386"/>
                  </a:lnTo>
                  <a:lnTo>
                    <a:pt x="2376" y="1392"/>
                  </a:lnTo>
                  <a:lnTo>
                    <a:pt x="2370" y="1404"/>
                  </a:lnTo>
                  <a:lnTo>
                    <a:pt x="2364" y="1416"/>
                  </a:lnTo>
                  <a:lnTo>
                    <a:pt x="2346" y="1434"/>
                  </a:lnTo>
                  <a:lnTo>
                    <a:pt x="2328" y="1440"/>
                  </a:lnTo>
                  <a:lnTo>
                    <a:pt x="2328" y="1446"/>
                  </a:lnTo>
                  <a:lnTo>
                    <a:pt x="2322" y="1452"/>
                  </a:lnTo>
                  <a:lnTo>
                    <a:pt x="2316" y="1452"/>
                  </a:lnTo>
                  <a:lnTo>
                    <a:pt x="2304" y="1446"/>
                  </a:lnTo>
                  <a:lnTo>
                    <a:pt x="2298" y="1446"/>
                  </a:lnTo>
                  <a:lnTo>
                    <a:pt x="2298" y="1434"/>
                  </a:lnTo>
                  <a:lnTo>
                    <a:pt x="2292" y="1434"/>
                  </a:lnTo>
                  <a:lnTo>
                    <a:pt x="2286" y="1428"/>
                  </a:lnTo>
                  <a:lnTo>
                    <a:pt x="2274" y="1416"/>
                  </a:lnTo>
                  <a:lnTo>
                    <a:pt x="2256" y="1404"/>
                  </a:lnTo>
                  <a:lnTo>
                    <a:pt x="2244" y="1386"/>
                  </a:lnTo>
                  <a:lnTo>
                    <a:pt x="2220" y="1368"/>
                  </a:lnTo>
                  <a:lnTo>
                    <a:pt x="2208" y="1362"/>
                  </a:lnTo>
                  <a:lnTo>
                    <a:pt x="2202" y="1350"/>
                  </a:lnTo>
                  <a:lnTo>
                    <a:pt x="2196" y="1350"/>
                  </a:lnTo>
                  <a:lnTo>
                    <a:pt x="2190" y="1356"/>
                  </a:lnTo>
                  <a:lnTo>
                    <a:pt x="2184" y="1356"/>
                  </a:lnTo>
                  <a:lnTo>
                    <a:pt x="2094" y="1350"/>
                  </a:lnTo>
                  <a:lnTo>
                    <a:pt x="2058" y="1350"/>
                  </a:lnTo>
                  <a:lnTo>
                    <a:pt x="2034" y="1890"/>
                  </a:lnTo>
                  <a:lnTo>
                    <a:pt x="2064" y="1890"/>
                  </a:lnTo>
                  <a:lnTo>
                    <a:pt x="2070" y="1896"/>
                  </a:lnTo>
                  <a:lnTo>
                    <a:pt x="2076" y="18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8" name="Freeform 33">
              <a:extLst>
                <a:ext uri="{FF2B5EF4-FFF2-40B4-BE49-F238E27FC236}">
                  <a16:creationId xmlns:a16="http://schemas.microsoft.com/office/drawing/2014/main" id="{0E96F118-1F4D-4E52-AF27-149259451CD6}"/>
                </a:ext>
              </a:extLst>
            </p:cNvPr>
            <p:cNvSpPr>
              <a:spLocks/>
            </p:cNvSpPr>
            <p:nvPr/>
          </p:nvSpPr>
          <p:spPr bwMode="gray">
            <a:xfrm>
              <a:off x="1266662" y="1459989"/>
              <a:ext cx="903421" cy="778302"/>
            </a:xfrm>
            <a:custGeom>
              <a:avLst/>
              <a:gdLst>
                <a:gd name="T0" fmla="*/ 143 w 1698"/>
                <a:gd name="T1" fmla="*/ 43 h 1464"/>
                <a:gd name="T2" fmla="*/ 131 w 1698"/>
                <a:gd name="T3" fmla="*/ 44 h 1464"/>
                <a:gd name="T4" fmla="*/ 126 w 1698"/>
                <a:gd name="T5" fmla="*/ 41 h 1464"/>
                <a:gd name="T6" fmla="*/ 119 w 1698"/>
                <a:gd name="T7" fmla="*/ 45 h 1464"/>
                <a:gd name="T8" fmla="*/ 111 w 1698"/>
                <a:gd name="T9" fmla="*/ 46 h 1464"/>
                <a:gd name="T10" fmla="*/ 107 w 1698"/>
                <a:gd name="T11" fmla="*/ 50 h 1464"/>
                <a:gd name="T12" fmla="*/ 107 w 1698"/>
                <a:gd name="T13" fmla="*/ 60 h 1464"/>
                <a:gd name="T14" fmla="*/ 104 w 1698"/>
                <a:gd name="T15" fmla="*/ 62 h 1464"/>
                <a:gd name="T16" fmla="*/ 97 w 1698"/>
                <a:gd name="T17" fmla="*/ 59 h 1464"/>
                <a:gd name="T18" fmla="*/ 92 w 1698"/>
                <a:gd name="T19" fmla="*/ 59 h 1464"/>
                <a:gd name="T20" fmla="*/ 90 w 1698"/>
                <a:gd name="T21" fmla="*/ 62 h 1464"/>
                <a:gd name="T22" fmla="*/ 93 w 1698"/>
                <a:gd name="T23" fmla="*/ 77 h 1464"/>
                <a:gd name="T24" fmla="*/ 85 w 1698"/>
                <a:gd name="T25" fmla="*/ 88 h 1464"/>
                <a:gd name="T26" fmla="*/ 70 w 1698"/>
                <a:gd name="T27" fmla="*/ 89 h 1464"/>
                <a:gd name="T28" fmla="*/ 65 w 1698"/>
                <a:gd name="T29" fmla="*/ 88 h 1464"/>
                <a:gd name="T30" fmla="*/ 50 w 1698"/>
                <a:gd name="T31" fmla="*/ 88 h 1464"/>
                <a:gd name="T32" fmla="*/ 48 w 1698"/>
                <a:gd name="T33" fmla="*/ 107 h 1464"/>
                <a:gd name="T34" fmla="*/ 47 w 1698"/>
                <a:gd name="T35" fmla="*/ 120 h 1464"/>
                <a:gd name="T36" fmla="*/ 43 w 1698"/>
                <a:gd name="T37" fmla="*/ 121 h 1464"/>
                <a:gd name="T38" fmla="*/ 40 w 1698"/>
                <a:gd name="T39" fmla="*/ 120 h 1464"/>
                <a:gd name="T40" fmla="*/ 35 w 1698"/>
                <a:gd name="T41" fmla="*/ 122 h 1464"/>
                <a:gd name="T42" fmla="*/ 29 w 1698"/>
                <a:gd name="T43" fmla="*/ 123 h 1464"/>
                <a:gd name="T44" fmla="*/ 24 w 1698"/>
                <a:gd name="T45" fmla="*/ 125 h 1464"/>
                <a:gd name="T46" fmla="*/ 20 w 1698"/>
                <a:gd name="T47" fmla="*/ 125 h 1464"/>
                <a:gd name="T48" fmla="*/ 18 w 1698"/>
                <a:gd name="T49" fmla="*/ 122 h 1464"/>
                <a:gd name="T50" fmla="*/ 26 w 1698"/>
                <a:gd name="T51" fmla="*/ 108 h 1464"/>
                <a:gd name="T52" fmla="*/ 24 w 1698"/>
                <a:gd name="T53" fmla="*/ 89 h 1464"/>
                <a:gd name="T54" fmla="*/ 28 w 1698"/>
                <a:gd name="T55" fmla="*/ 85 h 1464"/>
                <a:gd name="T56" fmla="*/ 32 w 1698"/>
                <a:gd name="T57" fmla="*/ 80 h 1464"/>
                <a:gd name="T58" fmla="*/ 36 w 1698"/>
                <a:gd name="T59" fmla="*/ 86 h 1464"/>
                <a:gd name="T60" fmla="*/ 39 w 1698"/>
                <a:gd name="T61" fmla="*/ 80 h 1464"/>
                <a:gd name="T62" fmla="*/ 41 w 1698"/>
                <a:gd name="T63" fmla="*/ 73 h 1464"/>
                <a:gd name="T64" fmla="*/ 38 w 1698"/>
                <a:gd name="T65" fmla="*/ 64 h 1464"/>
                <a:gd name="T66" fmla="*/ 39 w 1698"/>
                <a:gd name="T67" fmla="*/ 59 h 1464"/>
                <a:gd name="T68" fmla="*/ 32 w 1698"/>
                <a:gd name="T69" fmla="*/ 54 h 1464"/>
                <a:gd name="T70" fmla="*/ 32 w 1698"/>
                <a:gd name="T71" fmla="*/ 45 h 1464"/>
                <a:gd name="T72" fmla="*/ 31 w 1698"/>
                <a:gd name="T73" fmla="*/ 41 h 1464"/>
                <a:gd name="T74" fmla="*/ 24 w 1698"/>
                <a:gd name="T75" fmla="*/ 43 h 1464"/>
                <a:gd name="T76" fmla="*/ 17 w 1698"/>
                <a:gd name="T77" fmla="*/ 40 h 1464"/>
                <a:gd name="T78" fmla="*/ 11 w 1698"/>
                <a:gd name="T79" fmla="*/ 38 h 1464"/>
                <a:gd name="T80" fmla="*/ 2 w 1698"/>
                <a:gd name="T81" fmla="*/ 36 h 1464"/>
                <a:gd name="T82" fmla="*/ 0 w 1698"/>
                <a:gd name="T83" fmla="*/ 24 h 1464"/>
                <a:gd name="T84" fmla="*/ 11 w 1698"/>
                <a:gd name="T85" fmla="*/ 18 h 1464"/>
                <a:gd name="T86" fmla="*/ 19 w 1698"/>
                <a:gd name="T87" fmla="*/ 10 h 1464"/>
                <a:gd name="T88" fmla="*/ 28 w 1698"/>
                <a:gd name="T89" fmla="*/ 9 h 1464"/>
                <a:gd name="T90" fmla="*/ 40 w 1698"/>
                <a:gd name="T91" fmla="*/ 6 h 1464"/>
                <a:gd name="T92" fmla="*/ 49 w 1698"/>
                <a:gd name="T93" fmla="*/ 8 h 1464"/>
                <a:gd name="T94" fmla="*/ 56 w 1698"/>
                <a:gd name="T95" fmla="*/ 8 h 1464"/>
                <a:gd name="T96" fmla="*/ 64 w 1698"/>
                <a:gd name="T97" fmla="*/ 7 h 1464"/>
                <a:gd name="T98" fmla="*/ 74 w 1698"/>
                <a:gd name="T99" fmla="*/ 1 h 1464"/>
                <a:gd name="T100" fmla="*/ 83 w 1698"/>
                <a:gd name="T101" fmla="*/ 3 h 1464"/>
                <a:gd name="T102" fmla="*/ 99 w 1698"/>
                <a:gd name="T103" fmla="*/ 9 h 1464"/>
                <a:gd name="T104" fmla="*/ 112 w 1698"/>
                <a:gd name="T105" fmla="*/ 14 h 1464"/>
                <a:gd name="T106" fmla="*/ 119 w 1698"/>
                <a:gd name="T107" fmla="*/ 12 h 1464"/>
                <a:gd name="T108" fmla="*/ 128 w 1698"/>
                <a:gd name="T109" fmla="*/ 17 h 1464"/>
                <a:gd name="T110" fmla="*/ 141 w 1698"/>
                <a:gd name="T111" fmla="*/ 29 h 1464"/>
                <a:gd name="T112" fmla="*/ 145 w 1698"/>
                <a:gd name="T113" fmla="*/ 35 h 14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98"/>
                <a:gd name="T172" fmla="*/ 0 h 1464"/>
                <a:gd name="T173" fmla="*/ 1698 w 1698"/>
                <a:gd name="T174" fmla="*/ 1464 h 14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98" h="1464">
                  <a:moveTo>
                    <a:pt x="1698" y="462"/>
                  </a:moveTo>
                  <a:lnTo>
                    <a:pt x="1686" y="468"/>
                  </a:lnTo>
                  <a:lnTo>
                    <a:pt x="1680" y="474"/>
                  </a:lnTo>
                  <a:lnTo>
                    <a:pt x="1674" y="480"/>
                  </a:lnTo>
                  <a:lnTo>
                    <a:pt x="1668" y="480"/>
                  </a:lnTo>
                  <a:lnTo>
                    <a:pt x="1662" y="486"/>
                  </a:lnTo>
                  <a:lnTo>
                    <a:pt x="1656" y="492"/>
                  </a:lnTo>
                  <a:lnTo>
                    <a:pt x="1644" y="498"/>
                  </a:lnTo>
                  <a:lnTo>
                    <a:pt x="1626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0" y="516"/>
                  </a:lnTo>
                  <a:lnTo>
                    <a:pt x="1590" y="522"/>
                  </a:lnTo>
                  <a:lnTo>
                    <a:pt x="1566" y="522"/>
                  </a:lnTo>
                  <a:lnTo>
                    <a:pt x="1506" y="510"/>
                  </a:lnTo>
                  <a:lnTo>
                    <a:pt x="1500" y="510"/>
                  </a:lnTo>
                  <a:lnTo>
                    <a:pt x="1488" y="504"/>
                  </a:lnTo>
                  <a:lnTo>
                    <a:pt x="1482" y="498"/>
                  </a:lnTo>
                  <a:lnTo>
                    <a:pt x="1476" y="498"/>
                  </a:lnTo>
                  <a:lnTo>
                    <a:pt x="1476" y="492"/>
                  </a:lnTo>
                  <a:lnTo>
                    <a:pt x="1470" y="492"/>
                  </a:lnTo>
                  <a:lnTo>
                    <a:pt x="1464" y="486"/>
                  </a:lnTo>
                  <a:lnTo>
                    <a:pt x="1452" y="486"/>
                  </a:lnTo>
                  <a:lnTo>
                    <a:pt x="1446" y="474"/>
                  </a:lnTo>
                  <a:lnTo>
                    <a:pt x="1434" y="468"/>
                  </a:lnTo>
                  <a:lnTo>
                    <a:pt x="1416" y="468"/>
                  </a:lnTo>
                  <a:lnTo>
                    <a:pt x="1392" y="468"/>
                  </a:lnTo>
                  <a:lnTo>
                    <a:pt x="1374" y="474"/>
                  </a:lnTo>
                  <a:lnTo>
                    <a:pt x="1368" y="474"/>
                  </a:lnTo>
                  <a:lnTo>
                    <a:pt x="1368" y="486"/>
                  </a:lnTo>
                  <a:lnTo>
                    <a:pt x="1368" y="498"/>
                  </a:lnTo>
                  <a:lnTo>
                    <a:pt x="1368" y="522"/>
                  </a:lnTo>
                  <a:lnTo>
                    <a:pt x="1368" y="534"/>
                  </a:lnTo>
                  <a:lnTo>
                    <a:pt x="1362" y="546"/>
                  </a:lnTo>
                  <a:lnTo>
                    <a:pt x="1356" y="546"/>
                  </a:lnTo>
                  <a:lnTo>
                    <a:pt x="1344" y="540"/>
                  </a:lnTo>
                  <a:lnTo>
                    <a:pt x="1338" y="534"/>
                  </a:lnTo>
                  <a:lnTo>
                    <a:pt x="1308" y="522"/>
                  </a:lnTo>
                  <a:lnTo>
                    <a:pt x="1296" y="522"/>
                  </a:lnTo>
                  <a:lnTo>
                    <a:pt x="1278" y="528"/>
                  </a:lnTo>
                  <a:lnTo>
                    <a:pt x="1260" y="534"/>
                  </a:lnTo>
                  <a:lnTo>
                    <a:pt x="1242" y="546"/>
                  </a:lnTo>
                  <a:lnTo>
                    <a:pt x="1236" y="552"/>
                  </a:lnTo>
                  <a:lnTo>
                    <a:pt x="1224" y="558"/>
                  </a:lnTo>
                  <a:lnTo>
                    <a:pt x="1218" y="558"/>
                  </a:lnTo>
                  <a:lnTo>
                    <a:pt x="1218" y="564"/>
                  </a:lnTo>
                  <a:lnTo>
                    <a:pt x="1224" y="570"/>
                  </a:lnTo>
                  <a:lnTo>
                    <a:pt x="1224" y="582"/>
                  </a:lnTo>
                  <a:lnTo>
                    <a:pt x="1224" y="594"/>
                  </a:lnTo>
                  <a:lnTo>
                    <a:pt x="1212" y="618"/>
                  </a:lnTo>
                  <a:lnTo>
                    <a:pt x="1212" y="624"/>
                  </a:lnTo>
                  <a:lnTo>
                    <a:pt x="1212" y="630"/>
                  </a:lnTo>
                  <a:lnTo>
                    <a:pt x="1212" y="636"/>
                  </a:lnTo>
                  <a:lnTo>
                    <a:pt x="1218" y="654"/>
                  </a:lnTo>
                  <a:lnTo>
                    <a:pt x="1224" y="672"/>
                  </a:lnTo>
                  <a:lnTo>
                    <a:pt x="1230" y="696"/>
                  </a:lnTo>
                  <a:lnTo>
                    <a:pt x="1236" y="708"/>
                  </a:lnTo>
                  <a:lnTo>
                    <a:pt x="1236" y="714"/>
                  </a:lnTo>
                  <a:lnTo>
                    <a:pt x="1236" y="720"/>
                  </a:lnTo>
                  <a:lnTo>
                    <a:pt x="1218" y="726"/>
                  </a:lnTo>
                  <a:lnTo>
                    <a:pt x="1212" y="726"/>
                  </a:lnTo>
                  <a:lnTo>
                    <a:pt x="1206" y="726"/>
                  </a:lnTo>
                  <a:lnTo>
                    <a:pt x="1194" y="720"/>
                  </a:lnTo>
                  <a:lnTo>
                    <a:pt x="1194" y="714"/>
                  </a:lnTo>
                  <a:lnTo>
                    <a:pt x="1176" y="714"/>
                  </a:lnTo>
                  <a:lnTo>
                    <a:pt x="1164" y="708"/>
                  </a:lnTo>
                  <a:lnTo>
                    <a:pt x="1158" y="708"/>
                  </a:lnTo>
                  <a:lnTo>
                    <a:pt x="1140" y="702"/>
                  </a:lnTo>
                  <a:lnTo>
                    <a:pt x="1134" y="696"/>
                  </a:lnTo>
                  <a:lnTo>
                    <a:pt x="1128" y="690"/>
                  </a:lnTo>
                  <a:lnTo>
                    <a:pt x="1116" y="678"/>
                  </a:lnTo>
                  <a:lnTo>
                    <a:pt x="1110" y="678"/>
                  </a:lnTo>
                  <a:lnTo>
                    <a:pt x="1104" y="672"/>
                  </a:lnTo>
                  <a:lnTo>
                    <a:pt x="1092" y="672"/>
                  </a:lnTo>
                  <a:lnTo>
                    <a:pt x="1086" y="672"/>
                  </a:lnTo>
                  <a:lnTo>
                    <a:pt x="1080" y="672"/>
                  </a:lnTo>
                  <a:lnTo>
                    <a:pt x="1074" y="672"/>
                  </a:lnTo>
                  <a:lnTo>
                    <a:pt x="1068" y="672"/>
                  </a:lnTo>
                  <a:lnTo>
                    <a:pt x="1062" y="678"/>
                  </a:lnTo>
                  <a:lnTo>
                    <a:pt x="1056" y="678"/>
                  </a:lnTo>
                  <a:lnTo>
                    <a:pt x="1056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6"/>
                  </a:lnTo>
                  <a:lnTo>
                    <a:pt x="1032" y="708"/>
                  </a:lnTo>
                  <a:lnTo>
                    <a:pt x="1026" y="708"/>
                  </a:lnTo>
                  <a:lnTo>
                    <a:pt x="1032" y="714"/>
                  </a:lnTo>
                  <a:lnTo>
                    <a:pt x="1026" y="720"/>
                  </a:lnTo>
                  <a:lnTo>
                    <a:pt x="1020" y="720"/>
                  </a:lnTo>
                  <a:lnTo>
                    <a:pt x="1014" y="732"/>
                  </a:lnTo>
                  <a:lnTo>
                    <a:pt x="1014" y="744"/>
                  </a:lnTo>
                  <a:lnTo>
                    <a:pt x="1038" y="810"/>
                  </a:lnTo>
                  <a:lnTo>
                    <a:pt x="1050" y="834"/>
                  </a:lnTo>
                  <a:lnTo>
                    <a:pt x="1056" y="858"/>
                  </a:lnTo>
                  <a:lnTo>
                    <a:pt x="1062" y="876"/>
                  </a:lnTo>
                  <a:lnTo>
                    <a:pt x="1068" y="882"/>
                  </a:lnTo>
                  <a:lnTo>
                    <a:pt x="1062" y="972"/>
                  </a:lnTo>
                  <a:lnTo>
                    <a:pt x="1056" y="972"/>
                  </a:lnTo>
                  <a:lnTo>
                    <a:pt x="1050" y="996"/>
                  </a:lnTo>
                  <a:lnTo>
                    <a:pt x="1044" y="1014"/>
                  </a:lnTo>
                  <a:lnTo>
                    <a:pt x="1008" y="1014"/>
                  </a:lnTo>
                  <a:lnTo>
                    <a:pt x="1008" y="1008"/>
                  </a:lnTo>
                  <a:lnTo>
                    <a:pt x="990" y="1008"/>
                  </a:lnTo>
                  <a:lnTo>
                    <a:pt x="972" y="1014"/>
                  </a:lnTo>
                  <a:lnTo>
                    <a:pt x="948" y="1020"/>
                  </a:lnTo>
                  <a:lnTo>
                    <a:pt x="918" y="1026"/>
                  </a:lnTo>
                  <a:lnTo>
                    <a:pt x="840" y="1032"/>
                  </a:lnTo>
                  <a:lnTo>
                    <a:pt x="834" y="1032"/>
                  </a:lnTo>
                  <a:lnTo>
                    <a:pt x="834" y="1026"/>
                  </a:lnTo>
                  <a:lnTo>
                    <a:pt x="822" y="1026"/>
                  </a:lnTo>
                  <a:lnTo>
                    <a:pt x="816" y="1032"/>
                  </a:lnTo>
                  <a:lnTo>
                    <a:pt x="804" y="1032"/>
                  </a:lnTo>
                  <a:lnTo>
                    <a:pt x="798" y="1026"/>
                  </a:lnTo>
                  <a:lnTo>
                    <a:pt x="780" y="1026"/>
                  </a:lnTo>
                  <a:lnTo>
                    <a:pt x="762" y="1026"/>
                  </a:lnTo>
                  <a:lnTo>
                    <a:pt x="756" y="1026"/>
                  </a:lnTo>
                  <a:lnTo>
                    <a:pt x="750" y="1026"/>
                  </a:lnTo>
                  <a:lnTo>
                    <a:pt x="756" y="1020"/>
                  </a:lnTo>
                  <a:lnTo>
                    <a:pt x="750" y="1020"/>
                  </a:lnTo>
                  <a:lnTo>
                    <a:pt x="744" y="1014"/>
                  </a:lnTo>
                  <a:lnTo>
                    <a:pt x="684" y="1020"/>
                  </a:lnTo>
                  <a:lnTo>
                    <a:pt x="648" y="1020"/>
                  </a:lnTo>
                  <a:lnTo>
                    <a:pt x="630" y="1020"/>
                  </a:lnTo>
                  <a:lnTo>
                    <a:pt x="618" y="1020"/>
                  </a:lnTo>
                  <a:lnTo>
                    <a:pt x="606" y="1014"/>
                  </a:lnTo>
                  <a:lnTo>
                    <a:pt x="582" y="1014"/>
                  </a:lnTo>
                  <a:lnTo>
                    <a:pt x="576" y="1014"/>
                  </a:lnTo>
                  <a:lnTo>
                    <a:pt x="570" y="1014"/>
                  </a:lnTo>
                  <a:lnTo>
                    <a:pt x="564" y="1020"/>
                  </a:lnTo>
                  <a:lnTo>
                    <a:pt x="558" y="1026"/>
                  </a:lnTo>
                  <a:lnTo>
                    <a:pt x="552" y="1032"/>
                  </a:lnTo>
                  <a:lnTo>
                    <a:pt x="552" y="1038"/>
                  </a:lnTo>
                  <a:lnTo>
                    <a:pt x="558" y="1194"/>
                  </a:lnTo>
                  <a:lnTo>
                    <a:pt x="558" y="1206"/>
                  </a:lnTo>
                  <a:lnTo>
                    <a:pt x="552" y="1218"/>
                  </a:lnTo>
                  <a:lnTo>
                    <a:pt x="552" y="1236"/>
                  </a:lnTo>
                  <a:lnTo>
                    <a:pt x="546" y="1272"/>
                  </a:lnTo>
                  <a:lnTo>
                    <a:pt x="546" y="1308"/>
                  </a:lnTo>
                  <a:lnTo>
                    <a:pt x="540" y="1332"/>
                  </a:lnTo>
                  <a:lnTo>
                    <a:pt x="546" y="1356"/>
                  </a:lnTo>
                  <a:lnTo>
                    <a:pt x="546" y="1362"/>
                  </a:lnTo>
                  <a:lnTo>
                    <a:pt x="546" y="1374"/>
                  </a:lnTo>
                  <a:lnTo>
                    <a:pt x="546" y="1380"/>
                  </a:lnTo>
                  <a:lnTo>
                    <a:pt x="540" y="1380"/>
                  </a:lnTo>
                  <a:lnTo>
                    <a:pt x="522" y="1380"/>
                  </a:lnTo>
                  <a:lnTo>
                    <a:pt x="516" y="1380"/>
                  </a:lnTo>
                  <a:lnTo>
                    <a:pt x="516" y="1386"/>
                  </a:lnTo>
                  <a:lnTo>
                    <a:pt x="516" y="1392"/>
                  </a:lnTo>
                  <a:lnTo>
                    <a:pt x="510" y="1392"/>
                  </a:lnTo>
                  <a:lnTo>
                    <a:pt x="504" y="1386"/>
                  </a:lnTo>
                  <a:lnTo>
                    <a:pt x="498" y="1392"/>
                  </a:lnTo>
                  <a:lnTo>
                    <a:pt x="492" y="1398"/>
                  </a:lnTo>
                  <a:lnTo>
                    <a:pt x="486" y="1398"/>
                  </a:lnTo>
                  <a:lnTo>
                    <a:pt x="486" y="1392"/>
                  </a:lnTo>
                  <a:lnTo>
                    <a:pt x="486" y="1380"/>
                  </a:lnTo>
                  <a:lnTo>
                    <a:pt x="486" y="1374"/>
                  </a:lnTo>
                  <a:lnTo>
                    <a:pt x="480" y="1374"/>
                  </a:lnTo>
                  <a:lnTo>
                    <a:pt x="474" y="1374"/>
                  </a:lnTo>
                  <a:lnTo>
                    <a:pt x="468" y="1380"/>
                  </a:lnTo>
                  <a:lnTo>
                    <a:pt x="462" y="1380"/>
                  </a:lnTo>
                  <a:lnTo>
                    <a:pt x="456" y="1380"/>
                  </a:lnTo>
                  <a:lnTo>
                    <a:pt x="450" y="1386"/>
                  </a:lnTo>
                  <a:lnTo>
                    <a:pt x="444" y="1386"/>
                  </a:lnTo>
                  <a:lnTo>
                    <a:pt x="444" y="1392"/>
                  </a:lnTo>
                  <a:lnTo>
                    <a:pt x="432" y="1398"/>
                  </a:lnTo>
                  <a:lnTo>
                    <a:pt x="426" y="1404"/>
                  </a:lnTo>
                  <a:lnTo>
                    <a:pt x="420" y="1404"/>
                  </a:lnTo>
                  <a:lnTo>
                    <a:pt x="408" y="1404"/>
                  </a:lnTo>
                  <a:lnTo>
                    <a:pt x="378" y="1410"/>
                  </a:lnTo>
                  <a:lnTo>
                    <a:pt x="372" y="1410"/>
                  </a:lnTo>
                  <a:lnTo>
                    <a:pt x="360" y="1410"/>
                  </a:lnTo>
                  <a:lnTo>
                    <a:pt x="354" y="1416"/>
                  </a:lnTo>
                  <a:lnTo>
                    <a:pt x="348" y="1416"/>
                  </a:lnTo>
                  <a:lnTo>
                    <a:pt x="342" y="1410"/>
                  </a:lnTo>
                  <a:lnTo>
                    <a:pt x="336" y="1410"/>
                  </a:lnTo>
                  <a:lnTo>
                    <a:pt x="336" y="1416"/>
                  </a:lnTo>
                  <a:lnTo>
                    <a:pt x="330" y="1422"/>
                  </a:lnTo>
                  <a:lnTo>
                    <a:pt x="324" y="1422"/>
                  </a:lnTo>
                  <a:lnTo>
                    <a:pt x="318" y="1422"/>
                  </a:lnTo>
                  <a:lnTo>
                    <a:pt x="312" y="1428"/>
                  </a:lnTo>
                  <a:lnTo>
                    <a:pt x="312" y="1434"/>
                  </a:lnTo>
                  <a:lnTo>
                    <a:pt x="300" y="1428"/>
                  </a:lnTo>
                  <a:lnTo>
                    <a:pt x="288" y="1434"/>
                  </a:lnTo>
                  <a:lnTo>
                    <a:pt x="282" y="1440"/>
                  </a:lnTo>
                  <a:lnTo>
                    <a:pt x="282" y="1446"/>
                  </a:lnTo>
                  <a:lnTo>
                    <a:pt x="276" y="1446"/>
                  </a:lnTo>
                  <a:lnTo>
                    <a:pt x="276" y="1452"/>
                  </a:lnTo>
                  <a:lnTo>
                    <a:pt x="270" y="1452"/>
                  </a:lnTo>
                  <a:lnTo>
                    <a:pt x="258" y="1464"/>
                  </a:lnTo>
                  <a:lnTo>
                    <a:pt x="240" y="1458"/>
                  </a:lnTo>
                  <a:lnTo>
                    <a:pt x="234" y="1452"/>
                  </a:lnTo>
                  <a:lnTo>
                    <a:pt x="234" y="1446"/>
                  </a:lnTo>
                  <a:lnTo>
                    <a:pt x="228" y="1446"/>
                  </a:lnTo>
                  <a:lnTo>
                    <a:pt x="222" y="1440"/>
                  </a:lnTo>
                  <a:lnTo>
                    <a:pt x="216" y="1440"/>
                  </a:lnTo>
                  <a:lnTo>
                    <a:pt x="210" y="1428"/>
                  </a:lnTo>
                  <a:lnTo>
                    <a:pt x="210" y="1422"/>
                  </a:lnTo>
                  <a:lnTo>
                    <a:pt x="198" y="1416"/>
                  </a:lnTo>
                  <a:lnTo>
                    <a:pt x="204" y="1410"/>
                  </a:lnTo>
                  <a:lnTo>
                    <a:pt x="210" y="1404"/>
                  </a:lnTo>
                  <a:lnTo>
                    <a:pt x="210" y="1398"/>
                  </a:lnTo>
                  <a:lnTo>
                    <a:pt x="252" y="1368"/>
                  </a:lnTo>
                  <a:lnTo>
                    <a:pt x="276" y="1350"/>
                  </a:lnTo>
                  <a:lnTo>
                    <a:pt x="300" y="1338"/>
                  </a:lnTo>
                  <a:lnTo>
                    <a:pt x="294" y="1314"/>
                  </a:lnTo>
                  <a:lnTo>
                    <a:pt x="288" y="1308"/>
                  </a:lnTo>
                  <a:lnTo>
                    <a:pt x="300" y="1266"/>
                  </a:lnTo>
                  <a:lnTo>
                    <a:pt x="300" y="1242"/>
                  </a:lnTo>
                  <a:lnTo>
                    <a:pt x="300" y="1206"/>
                  </a:lnTo>
                  <a:lnTo>
                    <a:pt x="300" y="1164"/>
                  </a:lnTo>
                  <a:lnTo>
                    <a:pt x="294" y="1134"/>
                  </a:lnTo>
                  <a:lnTo>
                    <a:pt x="282" y="1086"/>
                  </a:lnTo>
                  <a:lnTo>
                    <a:pt x="276" y="1074"/>
                  </a:lnTo>
                  <a:lnTo>
                    <a:pt x="276" y="1056"/>
                  </a:lnTo>
                  <a:lnTo>
                    <a:pt x="270" y="1038"/>
                  </a:lnTo>
                  <a:lnTo>
                    <a:pt x="270" y="1020"/>
                  </a:lnTo>
                  <a:lnTo>
                    <a:pt x="282" y="1020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94" y="1002"/>
                  </a:lnTo>
                  <a:lnTo>
                    <a:pt x="306" y="996"/>
                  </a:lnTo>
                  <a:lnTo>
                    <a:pt x="312" y="990"/>
                  </a:lnTo>
                  <a:lnTo>
                    <a:pt x="318" y="990"/>
                  </a:lnTo>
                  <a:lnTo>
                    <a:pt x="324" y="984"/>
                  </a:lnTo>
                  <a:lnTo>
                    <a:pt x="324" y="978"/>
                  </a:lnTo>
                  <a:lnTo>
                    <a:pt x="324" y="972"/>
                  </a:lnTo>
                  <a:lnTo>
                    <a:pt x="324" y="954"/>
                  </a:lnTo>
                  <a:lnTo>
                    <a:pt x="336" y="948"/>
                  </a:lnTo>
                  <a:lnTo>
                    <a:pt x="342" y="936"/>
                  </a:lnTo>
                  <a:lnTo>
                    <a:pt x="348" y="924"/>
                  </a:lnTo>
                  <a:lnTo>
                    <a:pt x="354" y="924"/>
                  </a:lnTo>
                  <a:lnTo>
                    <a:pt x="372" y="924"/>
                  </a:lnTo>
                  <a:lnTo>
                    <a:pt x="372" y="930"/>
                  </a:lnTo>
                  <a:lnTo>
                    <a:pt x="378" y="930"/>
                  </a:lnTo>
                  <a:lnTo>
                    <a:pt x="378" y="936"/>
                  </a:lnTo>
                  <a:lnTo>
                    <a:pt x="384" y="936"/>
                  </a:lnTo>
                  <a:lnTo>
                    <a:pt x="384" y="942"/>
                  </a:lnTo>
                  <a:lnTo>
                    <a:pt x="402" y="942"/>
                  </a:lnTo>
                  <a:lnTo>
                    <a:pt x="402" y="996"/>
                  </a:lnTo>
                  <a:lnTo>
                    <a:pt x="414" y="996"/>
                  </a:lnTo>
                  <a:lnTo>
                    <a:pt x="420" y="996"/>
                  </a:lnTo>
                  <a:lnTo>
                    <a:pt x="426" y="996"/>
                  </a:lnTo>
                  <a:lnTo>
                    <a:pt x="432" y="996"/>
                  </a:lnTo>
                  <a:lnTo>
                    <a:pt x="438" y="996"/>
                  </a:lnTo>
                  <a:lnTo>
                    <a:pt x="438" y="942"/>
                  </a:lnTo>
                  <a:lnTo>
                    <a:pt x="444" y="930"/>
                  </a:lnTo>
                  <a:lnTo>
                    <a:pt x="444" y="924"/>
                  </a:lnTo>
                  <a:lnTo>
                    <a:pt x="444" y="918"/>
                  </a:lnTo>
                  <a:lnTo>
                    <a:pt x="462" y="918"/>
                  </a:lnTo>
                  <a:lnTo>
                    <a:pt x="474" y="906"/>
                  </a:lnTo>
                  <a:lnTo>
                    <a:pt x="480" y="900"/>
                  </a:lnTo>
                  <a:lnTo>
                    <a:pt x="486" y="888"/>
                  </a:lnTo>
                  <a:lnTo>
                    <a:pt x="492" y="876"/>
                  </a:lnTo>
                  <a:lnTo>
                    <a:pt x="492" y="858"/>
                  </a:lnTo>
                  <a:lnTo>
                    <a:pt x="480" y="858"/>
                  </a:lnTo>
                  <a:lnTo>
                    <a:pt x="474" y="840"/>
                  </a:lnTo>
                  <a:lnTo>
                    <a:pt x="450" y="834"/>
                  </a:lnTo>
                  <a:lnTo>
                    <a:pt x="438" y="816"/>
                  </a:lnTo>
                  <a:lnTo>
                    <a:pt x="432" y="792"/>
                  </a:lnTo>
                  <a:lnTo>
                    <a:pt x="432" y="786"/>
                  </a:lnTo>
                  <a:lnTo>
                    <a:pt x="432" y="774"/>
                  </a:lnTo>
                  <a:lnTo>
                    <a:pt x="432" y="762"/>
                  </a:lnTo>
                  <a:lnTo>
                    <a:pt x="438" y="750"/>
                  </a:lnTo>
                  <a:lnTo>
                    <a:pt x="438" y="738"/>
                  </a:lnTo>
                  <a:lnTo>
                    <a:pt x="444" y="732"/>
                  </a:lnTo>
                  <a:lnTo>
                    <a:pt x="450" y="732"/>
                  </a:lnTo>
                  <a:lnTo>
                    <a:pt x="456" y="732"/>
                  </a:lnTo>
                  <a:lnTo>
                    <a:pt x="456" y="726"/>
                  </a:lnTo>
                  <a:lnTo>
                    <a:pt x="456" y="714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44" y="684"/>
                  </a:lnTo>
                  <a:lnTo>
                    <a:pt x="438" y="666"/>
                  </a:lnTo>
                  <a:lnTo>
                    <a:pt x="426" y="666"/>
                  </a:lnTo>
                  <a:lnTo>
                    <a:pt x="432" y="666"/>
                  </a:lnTo>
                  <a:lnTo>
                    <a:pt x="420" y="666"/>
                  </a:lnTo>
                  <a:lnTo>
                    <a:pt x="414" y="660"/>
                  </a:lnTo>
                  <a:lnTo>
                    <a:pt x="396" y="654"/>
                  </a:lnTo>
                  <a:lnTo>
                    <a:pt x="384" y="642"/>
                  </a:lnTo>
                  <a:lnTo>
                    <a:pt x="366" y="624"/>
                  </a:lnTo>
                  <a:lnTo>
                    <a:pt x="354" y="606"/>
                  </a:lnTo>
                  <a:lnTo>
                    <a:pt x="342" y="588"/>
                  </a:lnTo>
                  <a:lnTo>
                    <a:pt x="342" y="582"/>
                  </a:lnTo>
                  <a:lnTo>
                    <a:pt x="360" y="564"/>
                  </a:lnTo>
                  <a:lnTo>
                    <a:pt x="372" y="540"/>
                  </a:lnTo>
                  <a:lnTo>
                    <a:pt x="366" y="528"/>
                  </a:lnTo>
                  <a:lnTo>
                    <a:pt x="366" y="522"/>
                  </a:lnTo>
                  <a:lnTo>
                    <a:pt x="372" y="516"/>
                  </a:lnTo>
                  <a:lnTo>
                    <a:pt x="384" y="504"/>
                  </a:lnTo>
                  <a:lnTo>
                    <a:pt x="378" y="492"/>
                  </a:lnTo>
                  <a:lnTo>
                    <a:pt x="378" y="486"/>
                  </a:lnTo>
                  <a:lnTo>
                    <a:pt x="378" y="480"/>
                  </a:lnTo>
                  <a:lnTo>
                    <a:pt x="378" y="474"/>
                  </a:lnTo>
                  <a:lnTo>
                    <a:pt x="378" y="468"/>
                  </a:lnTo>
                  <a:lnTo>
                    <a:pt x="366" y="468"/>
                  </a:lnTo>
                  <a:lnTo>
                    <a:pt x="360" y="474"/>
                  </a:lnTo>
                  <a:lnTo>
                    <a:pt x="354" y="480"/>
                  </a:lnTo>
                  <a:lnTo>
                    <a:pt x="348" y="486"/>
                  </a:lnTo>
                  <a:lnTo>
                    <a:pt x="348" y="492"/>
                  </a:lnTo>
                  <a:lnTo>
                    <a:pt x="336" y="510"/>
                  </a:lnTo>
                  <a:lnTo>
                    <a:pt x="300" y="516"/>
                  </a:lnTo>
                  <a:lnTo>
                    <a:pt x="300" y="510"/>
                  </a:lnTo>
                  <a:lnTo>
                    <a:pt x="282" y="504"/>
                  </a:lnTo>
                  <a:lnTo>
                    <a:pt x="282" y="498"/>
                  </a:lnTo>
                  <a:lnTo>
                    <a:pt x="264" y="486"/>
                  </a:lnTo>
                  <a:lnTo>
                    <a:pt x="258" y="492"/>
                  </a:lnTo>
                  <a:lnTo>
                    <a:pt x="234" y="492"/>
                  </a:lnTo>
                  <a:lnTo>
                    <a:pt x="222" y="486"/>
                  </a:lnTo>
                  <a:lnTo>
                    <a:pt x="204" y="480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92" y="462"/>
                  </a:lnTo>
                  <a:lnTo>
                    <a:pt x="186" y="462"/>
                  </a:lnTo>
                  <a:lnTo>
                    <a:pt x="180" y="468"/>
                  </a:lnTo>
                  <a:lnTo>
                    <a:pt x="150" y="450"/>
                  </a:lnTo>
                  <a:lnTo>
                    <a:pt x="144" y="438"/>
                  </a:lnTo>
                  <a:lnTo>
                    <a:pt x="138" y="438"/>
                  </a:lnTo>
                  <a:lnTo>
                    <a:pt x="132" y="432"/>
                  </a:lnTo>
                  <a:lnTo>
                    <a:pt x="126" y="432"/>
                  </a:lnTo>
                  <a:lnTo>
                    <a:pt x="120" y="432"/>
                  </a:lnTo>
                  <a:lnTo>
                    <a:pt x="102" y="426"/>
                  </a:lnTo>
                  <a:lnTo>
                    <a:pt x="96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2" y="414"/>
                  </a:lnTo>
                  <a:lnTo>
                    <a:pt x="60" y="414"/>
                  </a:lnTo>
                  <a:lnTo>
                    <a:pt x="30" y="414"/>
                  </a:lnTo>
                  <a:lnTo>
                    <a:pt x="24" y="414"/>
                  </a:lnTo>
                  <a:lnTo>
                    <a:pt x="12" y="414"/>
                  </a:lnTo>
                  <a:lnTo>
                    <a:pt x="0" y="420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0" y="336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30" y="270"/>
                  </a:lnTo>
                  <a:lnTo>
                    <a:pt x="42" y="270"/>
                  </a:lnTo>
                  <a:lnTo>
                    <a:pt x="54" y="264"/>
                  </a:lnTo>
                  <a:lnTo>
                    <a:pt x="78" y="240"/>
                  </a:lnTo>
                  <a:lnTo>
                    <a:pt x="102" y="216"/>
                  </a:lnTo>
                  <a:lnTo>
                    <a:pt x="114" y="210"/>
                  </a:lnTo>
                  <a:lnTo>
                    <a:pt x="120" y="204"/>
                  </a:lnTo>
                  <a:lnTo>
                    <a:pt x="126" y="198"/>
                  </a:lnTo>
                  <a:lnTo>
                    <a:pt x="138" y="18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38"/>
                  </a:lnTo>
                  <a:lnTo>
                    <a:pt x="210" y="126"/>
                  </a:lnTo>
                  <a:lnTo>
                    <a:pt x="216" y="120"/>
                  </a:lnTo>
                  <a:lnTo>
                    <a:pt x="222" y="120"/>
                  </a:lnTo>
                  <a:lnTo>
                    <a:pt x="258" y="114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300" y="102"/>
                  </a:lnTo>
                  <a:lnTo>
                    <a:pt x="312" y="102"/>
                  </a:lnTo>
                  <a:lnTo>
                    <a:pt x="318" y="102"/>
                  </a:lnTo>
                  <a:lnTo>
                    <a:pt x="348" y="96"/>
                  </a:lnTo>
                  <a:lnTo>
                    <a:pt x="366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408" y="84"/>
                  </a:lnTo>
                  <a:lnTo>
                    <a:pt x="420" y="84"/>
                  </a:lnTo>
                  <a:lnTo>
                    <a:pt x="462" y="72"/>
                  </a:lnTo>
                  <a:lnTo>
                    <a:pt x="474" y="72"/>
                  </a:lnTo>
                  <a:lnTo>
                    <a:pt x="474" y="78"/>
                  </a:lnTo>
                  <a:lnTo>
                    <a:pt x="492" y="90"/>
                  </a:lnTo>
                  <a:lnTo>
                    <a:pt x="498" y="90"/>
                  </a:lnTo>
                  <a:lnTo>
                    <a:pt x="522" y="96"/>
                  </a:lnTo>
                  <a:lnTo>
                    <a:pt x="540" y="96"/>
                  </a:lnTo>
                  <a:lnTo>
                    <a:pt x="546" y="96"/>
                  </a:lnTo>
                  <a:lnTo>
                    <a:pt x="558" y="96"/>
                  </a:lnTo>
                  <a:lnTo>
                    <a:pt x="564" y="96"/>
                  </a:lnTo>
                  <a:lnTo>
                    <a:pt x="576" y="96"/>
                  </a:lnTo>
                  <a:lnTo>
                    <a:pt x="588" y="96"/>
                  </a:lnTo>
                  <a:lnTo>
                    <a:pt x="612" y="90"/>
                  </a:lnTo>
                  <a:lnTo>
                    <a:pt x="624" y="90"/>
                  </a:lnTo>
                  <a:lnTo>
                    <a:pt x="636" y="90"/>
                  </a:lnTo>
                  <a:lnTo>
                    <a:pt x="642" y="90"/>
                  </a:lnTo>
                  <a:lnTo>
                    <a:pt x="648" y="96"/>
                  </a:lnTo>
                  <a:lnTo>
                    <a:pt x="660" y="96"/>
                  </a:lnTo>
                  <a:lnTo>
                    <a:pt x="666" y="96"/>
                  </a:lnTo>
                  <a:lnTo>
                    <a:pt x="672" y="96"/>
                  </a:lnTo>
                  <a:lnTo>
                    <a:pt x="684" y="96"/>
                  </a:lnTo>
                  <a:lnTo>
                    <a:pt x="708" y="96"/>
                  </a:lnTo>
                  <a:lnTo>
                    <a:pt x="714" y="96"/>
                  </a:lnTo>
                  <a:lnTo>
                    <a:pt x="726" y="96"/>
                  </a:lnTo>
                  <a:lnTo>
                    <a:pt x="738" y="84"/>
                  </a:lnTo>
                  <a:lnTo>
                    <a:pt x="744" y="78"/>
                  </a:lnTo>
                  <a:lnTo>
                    <a:pt x="756" y="66"/>
                  </a:lnTo>
                  <a:lnTo>
                    <a:pt x="774" y="42"/>
                  </a:lnTo>
                  <a:lnTo>
                    <a:pt x="780" y="30"/>
                  </a:lnTo>
                  <a:lnTo>
                    <a:pt x="816" y="24"/>
                  </a:lnTo>
                  <a:lnTo>
                    <a:pt x="840" y="18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64" y="6"/>
                  </a:lnTo>
                  <a:lnTo>
                    <a:pt x="870" y="6"/>
                  </a:lnTo>
                  <a:lnTo>
                    <a:pt x="894" y="0"/>
                  </a:lnTo>
                  <a:lnTo>
                    <a:pt x="900" y="6"/>
                  </a:lnTo>
                  <a:lnTo>
                    <a:pt x="930" y="18"/>
                  </a:lnTo>
                  <a:lnTo>
                    <a:pt x="942" y="24"/>
                  </a:lnTo>
                  <a:lnTo>
                    <a:pt x="954" y="30"/>
                  </a:lnTo>
                  <a:lnTo>
                    <a:pt x="1026" y="60"/>
                  </a:lnTo>
                  <a:lnTo>
                    <a:pt x="1032" y="60"/>
                  </a:lnTo>
                  <a:lnTo>
                    <a:pt x="1038" y="66"/>
                  </a:lnTo>
                  <a:lnTo>
                    <a:pt x="1068" y="72"/>
                  </a:lnTo>
                  <a:lnTo>
                    <a:pt x="1098" y="84"/>
                  </a:lnTo>
                  <a:lnTo>
                    <a:pt x="1122" y="90"/>
                  </a:lnTo>
                  <a:lnTo>
                    <a:pt x="1122" y="96"/>
                  </a:lnTo>
                  <a:lnTo>
                    <a:pt x="1140" y="102"/>
                  </a:lnTo>
                  <a:lnTo>
                    <a:pt x="1182" y="114"/>
                  </a:lnTo>
                  <a:lnTo>
                    <a:pt x="1188" y="114"/>
                  </a:lnTo>
                  <a:lnTo>
                    <a:pt x="1200" y="120"/>
                  </a:lnTo>
                  <a:lnTo>
                    <a:pt x="1212" y="126"/>
                  </a:lnTo>
                  <a:lnTo>
                    <a:pt x="1224" y="126"/>
                  </a:lnTo>
                  <a:lnTo>
                    <a:pt x="1248" y="138"/>
                  </a:lnTo>
                  <a:lnTo>
                    <a:pt x="1272" y="150"/>
                  </a:lnTo>
                  <a:lnTo>
                    <a:pt x="1284" y="156"/>
                  </a:lnTo>
                  <a:lnTo>
                    <a:pt x="1290" y="162"/>
                  </a:lnTo>
                  <a:lnTo>
                    <a:pt x="1296" y="162"/>
                  </a:lnTo>
                  <a:lnTo>
                    <a:pt x="1308" y="156"/>
                  </a:lnTo>
                  <a:lnTo>
                    <a:pt x="1320" y="150"/>
                  </a:lnTo>
                  <a:lnTo>
                    <a:pt x="1326" y="150"/>
                  </a:lnTo>
                  <a:lnTo>
                    <a:pt x="1338" y="144"/>
                  </a:lnTo>
                  <a:lnTo>
                    <a:pt x="1362" y="144"/>
                  </a:lnTo>
                  <a:lnTo>
                    <a:pt x="1368" y="144"/>
                  </a:lnTo>
                  <a:lnTo>
                    <a:pt x="1374" y="144"/>
                  </a:lnTo>
                  <a:lnTo>
                    <a:pt x="1386" y="150"/>
                  </a:lnTo>
                  <a:lnTo>
                    <a:pt x="1392" y="150"/>
                  </a:lnTo>
                  <a:lnTo>
                    <a:pt x="1398" y="150"/>
                  </a:lnTo>
                  <a:lnTo>
                    <a:pt x="1416" y="162"/>
                  </a:lnTo>
                  <a:lnTo>
                    <a:pt x="1458" y="186"/>
                  </a:lnTo>
                  <a:lnTo>
                    <a:pt x="1464" y="186"/>
                  </a:lnTo>
                  <a:lnTo>
                    <a:pt x="1470" y="192"/>
                  </a:lnTo>
                  <a:lnTo>
                    <a:pt x="1482" y="204"/>
                  </a:lnTo>
                  <a:lnTo>
                    <a:pt x="1512" y="234"/>
                  </a:lnTo>
                  <a:lnTo>
                    <a:pt x="1554" y="276"/>
                  </a:lnTo>
                  <a:lnTo>
                    <a:pt x="1560" y="276"/>
                  </a:lnTo>
                  <a:lnTo>
                    <a:pt x="1566" y="282"/>
                  </a:lnTo>
                  <a:lnTo>
                    <a:pt x="1578" y="294"/>
                  </a:lnTo>
                  <a:lnTo>
                    <a:pt x="1602" y="318"/>
                  </a:lnTo>
                  <a:lnTo>
                    <a:pt x="1614" y="330"/>
                  </a:lnTo>
                  <a:lnTo>
                    <a:pt x="1620" y="336"/>
                  </a:lnTo>
                  <a:lnTo>
                    <a:pt x="1626" y="342"/>
                  </a:lnTo>
                  <a:lnTo>
                    <a:pt x="1632" y="354"/>
                  </a:lnTo>
                  <a:lnTo>
                    <a:pt x="1644" y="366"/>
                  </a:lnTo>
                  <a:lnTo>
                    <a:pt x="1650" y="378"/>
                  </a:lnTo>
                  <a:lnTo>
                    <a:pt x="1650" y="384"/>
                  </a:lnTo>
                  <a:lnTo>
                    <a:pt x="1656" y="384"/>
                  </a:lnTo>
                  <a:lnTo>
                    <a:pt x="1662" y="402"/>
                  </a:lnTo>
                  <a:lnTo>
                    <a:pt x="1668" y="408"/>
                  </a:lnTo>
                  <a:lnTo>
                    <a:pt x="1674" y="426"/>
                  </a:lnTo>
                  <a:lnTo>
                    <a:pt x="1686" y="438"/>
                  </a:lnTo>
                  <a:lnTo>
                    <a:pt x="1698" y="46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9" name="Freeform 34">
              <a:extLst>
                <a:ext uri="{FF2B5EF4-FFF2-40B4-BE49-F238E27FC236}">
                  <a16:creationId xmlns:a16="http://schemas.microsoft.com/office/drawing/2014/main" id="{94603F24-8CF7-4226-A433-00D18CA7D9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1988" y="1681402"/>
              <a:ext cx="869877" cy="1060101"/>
            </a:xfrm>
            <a:custGeom>
              <a:avLst/>
              <a:gdLst>
                <a:gd name="T0" fmla="*/ 4 w 1638"/>
                <a:gd name="T1" fmla="*/ 111 h 1998"/>
                <a:gd name="T2" fmla="*/ 6 w 1638"/>
                <a:gd name="T3" fmla="*/ 87 h 1998"/>
                <a:gd name="T4" fmla="*/ 10 w 1638"/>
                <a:gd name="T5" fmla="*/ 80 h 1998"/>
                <a:gd name="T6" fmla="*/ 10 w 1638"/>
                <a:gd name="T7" fmla="*/ 71 h 1998"/>
                <a:gd name="T8" fmla="*/ 9 w 1638"/>
                <a:gd name="T9" fmla="*/ 56 h 1998"/>
                <a:gd name="T10" fmla="*/ 8 w 1638"/>
                <a:gd name="T11" fmla="*/ 40 h 1998"/>
                <a:gd name="T12" fmla="*/ 20 w 1638"/>
                <a:gd name="T13" fmla="*/ 30 h 1998"/>
                <a:gd name="T14" fmla="*/ 30 w 1638"/>
                <a:gd name="T15" fmla="*/ 19 h 1998"/>
                <a:gd name="T16" fmla="*/ 35 w 1638"/>
                <a:gd name="T17" fmla="*/ 2 h 1998"/>
                <a:gd name="T18" fmla="*/ 47 w 1638"/>
                <a:gd name="T19" fmla="*/ 2 h 1998"/>
                <a:gd name="T20" fmla="*/ 56 w 1638"/>
                <a:gd name="T21" fmla="*/ 7 h 1998"/>
                <a:gd name="T22" fmla="*/ 67 w 1638"/>
                <a:gd name="T23" fmla="*/ 5 h 1998"/>
                <a:gd name="T24" fmla="*/ 65 w 1638"/>
                <a:gd name="T25" fmla="*/ 15 h 1998"/>
                <a:gd name="T26" fmla="*/ 74 w 1638"/>
                <a:gd name="T27" fmla="*/ 24 h 1998"/>
                <a:gd name="T28" fmla="*/ 73 w 1638"/>
                <a:gd name="T29" fmla="*/ 33 h 1998"/>
                <a:gd name="T30" fmla="*/ 74 w 1638"/>
                <a:gd name="T31" fmla="*/ 44 h 1998"/>
                <a:gd name="T32" fmla="*/ 68 w 1638"/>
                <a:gd name="T33" fmla="*/ 45 h 1998"/>
                <a:gd name="T34" fmla="*/ 63 w 1638"/>
                <a:gd name="T35" fmla="*/ 50 h 1998"/>
                <a:gd name="T36" fmla="*/ 61 w 1638"/>
                <a:gd name="T37" fmla="*/ 62 h 1998"/>
                <a:gd name="T38" fmla="*/ 53 w 1638"/>
                <a:gd name="T39" fmla="*/ 86 h 1998"/>
                <a:gd name="T40" fmla="*/ 59 w 1638"/>
                <a:gd name="T41" fmla="*/ 90 h 1998"/>
                <a:gd name="T42" fmla="*/ 65 w 1638"/>
                <a:gd name="T43" fmla="*/ 86 h 1998"/>
                <a:gd name="T44" fmla="*/ 74 w 1638"/>
                <a:gd name="T45" fmla="*/ 84 h 1998"/>
                <a:gd name="T46" fmla="*/ 79 w 1638"/>
                <a:gd name="T47" fmla="*/ 85 h 1998"/>
                <a:gd name="T48" fmla="*/ 84 w 1638"/>
                <a:gd name="T49" fmla="*/ 84 h 1998"/>
                <a:gd name="T50" fmla="*/ 91 w 1638"/>
                <a:gd name="T51" fmla="*/ 84 h 1998"/>
                <a:gd name="T52" fmla="*/ 94 w 1638"/>
                <a:gd name="T53" fmla="*/ 81 h 1998"/>
                <a:gd name="T54" fmla="*/ 100 w 1638"/>
                <a:gd name="T55" fmla="*/ 81 h 1998"/>
                <a:gd name="T56" fmla="*/ 102 w 1638"/>
                <a:gd name="T57" fmla="*/ 84 h 1998"/>
                <a:gd name="T58" fmla="*/ 108 w 1638"/>
                <a:gd name="T59" fmla="*/ 85 h 1998"/>
                <a:gd name="T60" fmla="*/ 113 w 1638"/>
                <a:gd name="T61" fmla="*/ 88 h 1998"/>
                <a:gd name="T62" fmla="*/ 116 w 1638"/>
                <a:gd name="T63" fmla="*/ 88 h 1998"/>
                <a:gd name="T64" fmla="*/ 123 w 1638"/>
                <a:gd name="T65" fmla="*/ 87 h 1998"/>
                <a:gd name="T66" fmla="*/ 128 w 1638"/>
                <a:gd name="T67" fmla="*/ 86 h 1998"/>
                <a:gd name="T68" fmla="*/ 132 w 1638"/>
                <a:gd name="T69" fmla="*/ 90 h 1998"/>
                <a:gd name="T70" fmla="*/ 138 w 1638"/>
                <a:gd name="T71" fmla="*/ 96 h 1998"/>
                <a:gd name="T72" fmla="*/ 138 w 1638"/>
                <a:gd name="T73" fmla="*/ 110 h 1998"/>
                <a:gd name="T74" fmla="*/ 137 w 1638"/>
                <a:gd name="T75" fmla="*/ 118 h 1998"/>
                <a:gd name="T76" fmla="*/ 133 w 1638"/>
                <a:gd name="T77" fmla="*/ 124 h 1998"/>
                <a:gd name="T78" fmla="*/ 122 w 1638"/>
                <a:gd name="T79" fmla="*/ 125 h 1998"/>
                <a:gd name="T80" fmla="*/ 116 w 1638"/>
                <a:gd name="T81" fmla="*/ 127 h 1998"/>
                <a:gd name="T82" fmla="*/ 108 w 1638"/>
                <a:gd name="T83" fmla="*/ 123 h 1998"/>
                <a:gd name="T84" fmla="*/ 109 w 1638"/>
                <a:gd name="T85" fmla="*/ 119 h 1998"/>
                <a:gd name="T86" fmla="*/ 104 w 1638"/>
                <a:gd name="T87" fmla="*/ 104 h 1998"/>
                <a:gd name="T88" fmla="*/ 94 w 1638"/>
                <a:gd name="T89" fmla="*/ 105 h 1998"/>
                <a:gd name="T90" fmla="*/ 88 w 1638"/>
                <a:gd name="T91" fmla="*/ 109 h 1998"/>
                <a:gd name="T92" fmla="*/ 76 w 1638"/>
                <a:gd name="T93" fmla="*/ 107 h 1998"/>
                <a:gd name="T94" fmla="*/ 72 w 1638"/>
                <a:gd name="T95" fmla="*/ 114 h 1998"/>
                <a:gd name="T96" fmla="*/ 86 w 1638"/>
                <a:gd name="T97" fmla="*/ 121 h 1998"/>
                <a:gd name="T98" fmla="*/ 87 w 1638"/>
                <a:gd name="T99" fmla="*/ 129 h 1998"/>
                <a:gd name="T100" fmla="*/ 86 w 1638"/>
                <a:gd name="T101" fmla="*/ 137 h 1998"/>
                <a:gd name="T102" fmla="*/ 79 w 1638"/>
                <a:gd name="T103" fmla="*/ 141 h 1998"/>
                <a:gd name="T104" fmla="*/ 73 w 1638"/>
                <a:gd name="T105" fmla="*/ 144 h 1998"/>
                <a:gd name="T106" fmla="*/ 72 w 1638"/>
                <a:gd name="T107" fmla="*/ 164 h 1998"/>
                <a:gd name="T108" fmla="*/ 68 w 1638"/>
                <a:gd name="T109" fmla="*/ 172 h 1998"/>
                <a:gd name="T110" fmla="*/ 59 w 1638"/>
                <a:gd name="T111" fmla="*/ 164 h 1998"/>
                <a:gd name="T112" fmla="*/ 65 w 1638"/>
                <a:gd name="T113" fmla="*/ 146 h 1998"/>
                <a:gd name="T114" fmla="*/ 69 w 1638"/>
                <a:gd name="T115" fmla="*/ 133 h 1998"/>
                <a:gd name="T116" fmla="*/ 61 w 1638"/>
                <a:gd name="T117" fmla="*/ 131 h 1998"/>
                <a:gd name="T118" fmla="*/ 43 w 1638"/>
                <a:gd name="T119" fmla="*/ 125 h 1998"/>
                <a:gd name="T120" fmla="*/ 23 w 1638"/>
                <a:gd name="T121" fmla="*/ 125 h 1998"/>
                <a:gd name="T122" fmla="*/ 17 w 1638"/>
                <a:gd name="T123" fmla="*/ 121 h 19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638"/>
                <a:gd name="T187" fmla="*/ 0 h 1998"/>
                <a:gd name="T188" fmla="*/ 1638 w 1638"/>
                <a:gd name="T189" fmla="*/ 1998 h 19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638" h="1998">
                  <a:moveTo>
                    <a:pt x="144" y="1380"/>
                  </a:moveTo>
                  <a:lnTo>
                    <a:pt x="150" y="1368"/>
                  </a:lnTo>
                  <a:lnTo>
                    <a:pt x="150" y="1362"/>
                  </a:lnTo>
                  <a:lnTo>
                    <a:pt x="150" y="1356"/>
                  </a:lnTo>
                  <a:lnTo>
                    <a:pt x="144" y="1356"/>
                  </a:lnTo>
                  <a:lnTo>
                    <a:pt x="138" y="1356"/>
                  </a:lnTo>
                  <a:lnTo>
                    <a:pt x="126" y="1356"/>
                  </a:lnTo>
                  <a:lnTo>
                    <a:pt x="114" y="1344"/>
                  </a:lnTo>
                  <a:lnTo>
                    <a:pt x="84" y="1320"/>
                  </a:lnTo>
                  <a:lnTo>
                    <a:pt x="54" y="1296"/>
                  </a:lnTo>
                  <a:lnTo>
                    <a:pt x="48" y="1290"/>
                  </a:lnTo>
                  <a:lnTo>
                    <a:pt x="42" y="1278"/>
                  </a:lnTo>
                  <a:lnTo>
                    <a:pt x="30" y="1272"/>
                  </a:lnTo>
                  <a:lnTo>
                    <a:pt x="0" y="1248"/>
                  </a:lnTo>
                  <a:lnTo>
                    <a:pt x="6" y="1230"/>
                  </a:lnTo>
                  <a:lnTo>
                    <a:pt x="12" y="1194"/>
                  </a:lnTo>
                  <a:lnTo>
                    <a:pt x="18" y="1170"/>
                  </a:lnTo>
                  <a:lnTo>
                    <a:pt x="30" y="1134"/>
                  </a:lnTo>
                  <a:lnTo>
                    <a:pt x="36" y="1086"/>
                  </a:lnTo>
                  <a:lnTo>
                    <a:pt x="42" y="1050"/>
                  </a:lnTo>
                  <a:lnTo>
                    <a:pt x="48" y="1044"/>
                  </a:lnTo>
                  <a:lnTo>
                    <a:pt x="54" y="1026"/>
                  </a:lnTo>
                  <a:lnTo>
                    <a:pt x="60" y="1014"/>
                  </a:lnTo>
                  <a:lnTo>
                    <a:pt x="66" y="1002"/>
                  </a:lnTo>
                  <a:lnTo>
                    <a:pt x="66" y="996"/>
                  </a:lnTo>
                  <a:lnTo>
                    <a:pt x="72" y="996"/>
                  </a:lnTo>
                  <a:lnTo>
                    <a:pt x="72" y="990"/>
                  </a:lnTo>
                  <a:lnTo>
                    <a:pt x="78" y="990"/>
                  </a:lnTo>
                  <a:lnTo>
                    <a:pt x="90" y="978"/>
                  </a:lnTo>
                  <a:lnTo>
                    <a:pt x="96" y="966"/>
                  </a:lnTo>
                  <a:lnTo>
                    <a:pt x="102" y="966"/>
                  </a:lnTo>
                  <a:lnTo>
                    <a:pt x="114" y="954"/>
                  </a:lnTo>
                  <a:lnTo>
                    <a:pt x="120" y="954"/>
                  </a:lnTo>
                  <a:lnTo>
                    <a:pt x="120" y="948"/>
                  </a:lnTo>
                  <a:lnTo>
                    <a:pt x="114" y="930"/>
                  </a:lnTo>
                  <a:lnTo>
                    <a:pt x="114" y="924"/>
                  </a:lnTo>
                  <a:lnTo>
                    <a:pt x="108" y="918"/>
                  </a:lnTo>
                  <a:lnTo>
                    <a:pt x="102" y="912"/>
                  </a:lnTo>
                  <a:lnTo>
                    <a:pt x="90" y="906"/>
                  </a:lnTo>
                  <a:lnTo>
                    <a:pt x="84" y="900"/>
                  </a:lnTo>
                  <a:lnTo>
                    <a:pt x="84" y="888"/>
                  </a:lnTo>
                  <a:lnTo>
                    <a:pt x="84" y="882"/>
                  </a:lnTo>
                  <a:lnTo>
                    <a:pt x="78" y="858"/>
                  </a:lnTo>
                  <a:lnTo>
                    <a:pt x="78" y="852"/>
                  </a:lnTo>
                  <a:lnTo>
                    <a:pt x="84" y="846"/>
                  </a:lnTo>
                  <a:lnTo>
                    <a:pt x="84" y="840"/>
                  </a:lnTo>
                  <a:lnTo>
                    <a:pt x="96" y="828"/>
                  </a:lnTo>
                  <a:lnTo>
                    <a:pt x="114" y="816"/>
                  </a:lnTo>
                  <a:lnTo>
                    <a:pt x="114" y="810"/>
                  </a:lnTo>
                  <a:lnTo>
                    <a:pt x="114" y="804"/>
                  </a:lnTo>
                  <a:lnTo>
                    <a:pt x="108" y="780"/>
                  </a:lnTo>
                  <a:lnTo>
                    <a:pt x="96" y="756"/>
                  </a:lnTo>
                  <a:lnTo>
                    <a:pt x="96" y="750"/>
                  </a:lnTo>
                  <a:lnTo>
                    <a:pt x="90" y="720"/>
                  </a:lnTo>
                  <a:lnTo>
                    <a:pt x="90" y="708"/>
                  </a:lnTo>
                  <a:lnTo>
                    <a:pt x="90" y="690"/>
                  </a:lnTo>
                  <a:lnTo>
                    <a:pt x="96" y="672"/>
                  </a:lnTo>
                  <a:lnTo>
                    <a:pt x="90" y="666"/>
                  </a:lnTo>
                  <a:lnTo>
                    <a:pt x="96" y="666"/>
                  </a:lnTo>
                  <a:lnTo>
                    <a:pt x="102" y="642"/>
                  </a:lnTo>
                  <a:lnTo>
                    <a:pt x="108" y="624"/>
                  </a:lnTo>
                  <a:lnTo>
                    <a:pt x="102" y="618"/>
                  </a:lnTo>
                  <a:lnTo>
                    <a:pt x="102" y="588"/>
                  </a:lnTo>
                  <a:lnTo>
                    <a:pt x="102" y="564"/>
                  </a:lnTo>
                  <a:lnTo>
                    <a:pt x="102" y="546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0"/>
                  </a:lnTo>
                  <a:lnTo>
                    <a:pt x="96" y="498"/>
                  </a:lnTo>
                  <a:lnTo>
                    <a:pt x="96" y="486"/>
                  </a:lnTo>
                  <a:lnTo>
                    <a:pt x="96" y="474"/>
                  </a:lnTo>
                  <a:lnTo>
                    <a:pt x="96" y="462"/>
                  </a:lnTo>
                  <a:lnTo>
                    <a:pt x="114" y="450"/>
                  </a:lnTo>
                  <a:lnTo>
                    <a:pt x="126" y="438"/>
                  </a:lnTo>
                  <a:lnTo>
                    <a:pt x="132" y="432"/>
                  </a:lnTo>
                  <a:lnTo>
                    <a:pt x="144" y="426"/>
                  </a:lnTo>
                  <a:lnTo>
                    <a:pt x="144" y="420"/>
                  </a:lnTo>
                  <a:lnTo>
                    <a:pt x="156" y="414"/>
                  </a:lnTo>
                  <a:lnTo>
                    <a:pt x="162" y="408"/>
                  </a:lnTo>
                  <a:lnTo>
                    <a:pt x="180" y="396"/>
                  </a:lnTo>
                  <a:lnTo>
                    <a:pt x="210" y="372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34" y="348"/>
                  </a:lnTo>
                  <a:lnTo>
                    <a:pt x="240" y="348"/>
                  </a:lnTo>
                  <a:lnTo>
                    <a:pt x="246" y="342"/>
                  </a:lnTo>
                  <a:lnTo>
                    <a:pt x="276" y="318"/>
                  </a:lnTo>
                  <a:lnTo>
                    <a:pt x="282" y="312"/>
                  </a:lnTo>
                  <a:lnTo>
                    <a:pt x="288" y="306"/>
                  </a:lnTo>
                  <a:lnTo>
                    <a:pt x="300" y="288"/>
                  </a:lnTo>
                  <a:lnTo>
                    <a:pt x="306" y="276"/>
                  </a:lnTo>
                  <a:lnTo>
                    <a:pt x="324" y="246"/>
                  </a:lnTo>
                  <a:lnTo>
                    <a:pt x="330" y="240"/>
                  </a:lnTo>
                  <a:lnTo>
                    <a:pt x="336" y="234"/>
                  </a:lnTo>
                  <a:lnTo>
                    <a:pt x="342" y="228"/>
                  </a:lnTo>
                  <a:lnTo>
                    <a:pt x="342" y="216"/>
                  </a:lnTo>
                  <a:lnTo>
                    <a:pt x="354" y="204"/>
                  </a:lnTo>
                  <a:lnTo>
                    <a:pt x="360" y="204"/>
                  </a:lnTo>
                  <a:lnTo>
                    <a:pt x="366" y="186"/>
                  </a:lnTo>
                  <a:lnTo>
                    <a:pt x="384" y="162"/>
                  </a:lnTo>
                  <a:lnTo>
                    <a:pt x="390" y="144"/>
                  </a:lnTo>
                  <a:lnTo>
                    <a:pt x="396" y="114"/>
                  </a:lnTo>
                  <a:lnTo>
                    <a:pt x="396" y="102"/>
                  </a:lnTo>
                  <a:lnTo>
                    <a:pt x="402" y="90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08" y="36"/>
                  </a:lnTo>
                  <a:lnTo>
                    <a:pt x="408" y="24"/>
                  </a:lnTo>
                  <a:lnTo>
                    <a:pt x="408" y="6"/>
                  </a:lnTo>
                  <a:lnTo>
                    <a:pt x="420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68" y="0"/>
                  </a:lnTo>
                  <a:lnTo>
                    <a:pt x="480" y="0"/>
                  </a:lnTo>
                  <a:lnTo>
                    <a:pt x="492" y="0"/>
                  </a:lnTo>
                  <a:lnTo>
                    <a:pt x="498" y="0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8" y="18"/>
                  </a:lnTo>
                  <a:lnTo>
                    <a:pt x="534" y="18"/>
                  </a:lnTo>
                  <a:lnTo>
                    <a:pt x="540" y="18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8" y="36"/>
                  </a:lnTo>
                  <a:lnTo>
                    <a:pt x="588" y="54"/>
                  </a:lnTo>
                  <a:lnTo>
                    <a:pt x="594" y="48"/>
                  </a:lnTo>
                  <a:lnTo>
                    <a:pt x="600" y="48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12" y="66"/>
                  </a:lnTo>
                  <a:lnTo>
                    <a:pt x="630" y="72"/>
                  </a:lnTo>
                  <a:lnTo>
                    <a:pt x="642" y="78"/>
                  </a:lnTo>
                  <a:lnTo>
                    <a:pt x="666" y="78"/>
                  </a:lnTo>
                  <a:lnTo>
                    <a:pt x="672" y="72"/>
                  </a:lnTo>
                  <a:lnTo>
                    <a:pt x="690" y="84"/>
                  </a:lnTo>
                  <a:lnTo>
                    <a:pt x="690" y="90"/>
                  </a:lnTo>
                  <a:lnTo>
                    <a:pt x="708" y="96"/>
                  </a:lnTo>
                  <a:lnTo>
                    <a:pt x="708" y="102"/>
                  </a:lnTo>
                  <a:lnTo>
                    <a:pt x="744" y="96"/>
                  </a:lnTo>
                  <a:lnTo>
                    <a:pt x="756" y="78"/>
                  </a:lnTo>
                  <a:lnTo>
                    <a:pt x="756" y="72"/>
                  </a:lnTo>
                  <a:lnTo>
                    <a:pt x="762" y="66"/>
                  </a:lnTo>
                  <a:lnTo>
                    <a:pt x="768" y="60"/>
                  </a:lnTo>
                  <a:lnTo>
                    <a:pt x="774" y="54"/>
                  </a:lnTo>
                  <a:lnTo>
                    <a:pt x="786" y="54"/>
                  </a:lnTo>
                  <a:lnTo>
                    <a:pt x="786" y="60"/>
                  </a:lnTo>
                  <a:lnTo>
                    <a:pt x="786" y="66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92" y="90"/>
                  </a:lnTo>
                  <a:lnTo>
                    <a:pt x="780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26"/>
                  </a:lnTo>
                  <a:lnTo>
                    <a:pt x="768" y="150"/>
                  </a:lnTo>
                  <a:lnTo>
                    <a:pt x="750" y="168"/>
                  </a:lnTo>
                  <a:lnTo>
                    <a:pt x="750" y="174"/>
                  </a:lnTo>
                  <a:lnTo>
                    <a:pt x="762" y="192"/>
                  </a:lnTo>
                  <a:lnTo>
                    <a:pt x="774" y="210"/>
                  </a:lnTo>
                  <a:lnTo>
                    <a:pt x="792" y="228"/>
                  </a:lnTo>
                  <a:lnTo>
                    <a:pt x="804" y="240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40" y="252"/>
                  </a:lnTo>
                  <a:lnTo>
                    <a:pt x="834" y="252"/>
                  </a:lnTo>
                  <a:lnTo>
                    <a:pt x="846" y="252"/>
                  </a:lnTo>
                  <a:lnTo>
                    <a:pt x="852" y="270"/>
                  </a:lnTo>
                  <a:lnTo>
                    <a:pt x="858" y="282"/>
                  </a:lnTo>
                  <a:lnTo>
                    <a:pt x="858" y="288"/>
                  </a:lnTo>
                  <a:lnTo>
                    <a:pt x="864" y="300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58" y="318"/>
                  </a:lnTo>
                  <a:lnTo>
                    <a:pt x="852" y="318"/>
                  </a:lnTo>
                  <a:lnTo>
                    <a:pt x="846" y="324"/>
                  </a:lnTo>
                  <a:lnTo>
                    <a:pt x="846" y="336"/>
                  </a:lnTo>
                  <a:lnTo>
                    <a:pt x="840" y="348"/>
                  </a:lnTo>
                  <a:lnTo>
                    <a:pt x="840" y="360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46" y="402"/>
                  </a:lnTo>
                  <a:lnTo>
                    <a:pt x="858" y="420"/>
                  </a:lnTo>
                  <a:lnTo>
                    <a:pt x="882" y="426"/>
                  </a:lnTo>
                  <a:lnTo>
                    <a:pt x="888" y="444"/>
                  </a:lnTo>
                  <a:lnTo>
                    <a:pt x="900" y="444"/>
                  </a:lnTo>
                  <a:lnTo>
                    <a:pt x="900" y="462"/>
                  </a:lnTo>
                  <a:lnTo>
                    <a:pt x="894" y="474"/>
                  </a:lnTo>
                  <a:lnTo>
                    <a:pt x="888" y="486"/>
                  </a:lnTo>
                  <a:lnTo>
                    <a:pt x="882" y="492"/>
                  </a:lnTo>
                  <a:lnTo>
                    <a:pt x="870" y="504"/>
                  </a:lnTo>
                  <a:lnTo>
                    <a:pt x="852" y="504"/>
                  </a:lnTo>
                  <a:lnTo>
                    <a:pt x="852" y="510"/>
                  </a:lnTo>
                  <a:lnTo>
                    <a:pt x="852" y="516"/>
                  </a:lnTo>
                  <a:lnTo>
                    <a:pt x="846" y="528"/>
                  </a:lnTo>
                  <a:lnTo>
                    <a:pt x="846" y="582"/>
                  </a:lnTo>
                  <a:lnTo>
                    <a:pt x="840" y="582"/>
                  </a:lnTo>
                  <a:lnTo>
                    <a:pt x="834" y="582"/>
                  </a:lnTo>
                  <a:lnTo>
                    <a:pt x="828" y="582"/>
                  </a:lnTo>
                  <a:lnTo>
                    <a:pt x="822" y="582"/>
                  </a:lnTo>
                  <a:lnTo>
                    <a:pt x="810" y="582"/>
                  </a:lnTo>
                  <a:lnTo>
                    <a:pt x="810" y="528"/>
                  </a:lnTo>
                  <a:lnTo>
                    <a:pt x="792" y="528"/>
                  </a:lnTo>
                  <a:lnTo>
                    <a:pt x="792" y="522"/>
                  </a:lnTo>
                  <a:lnTo>
                    <a:pt x="786" y="522"/>
                  </a:lnTo>
                  <a:lnTo>
                    <a:pt x="786" y="516"/>
                  </a:lnTo>
                  <a:lnTo>
                    <a:pt x="780" y="516"/>
                  </a:lnTo>
                  <a:lnTo>
                    <a:pt x="780" y="510"/>
                  </a:lnTo>
                  <a:lnTo>
                    <a:pt x="762" y="510"/>
                  </a:lnTo>
                  <a:lnTo>
                    <a:pt x="756" y="510"/>
                  </a:lnTo>
                  <a:lnTo>
                    <a:pt x="750" y="522"/>
                  </a:lnTo>
                  <a:lnTo>
                    <a:pt x="744" y="534"/>
                  </a:lnTo>
                  <a:lnTo>
                    <a:pt x="732" y="540"/>
                  </a:lnTo>
                  <a:lnTo>
                    <a:pt x="732" y="558"/>
                  </a:lnTo>
                  <a:lnTo>
                    <a:pt x="732" y="564"/>
                  </a:lnTo>
                  <a:lnTo>
                    <a:pt x="732" y="570"/>
                  </a:lnTo>
                  <a:lnTo>
                    <a:pt x="726" y="576"/>
                  </a:lnTo>
                  <a:lnTo>
                    <a:pt x="720" y="576"/>
                  </a:lnTo>
                  <a:lnTo>
                    <a:pt x="714" y="582"/>
                  </a:lnTo>
                  <a:lnTo>
                    <a:pt x="702" y="588"/>
                  </a:lnTo>
                  <a:lnTo>
                    <a:pt x="696" y="594"/>
                  </a:lnTo>
                  <a:lnTo>
                    <a:pt x="690" y="600"/>
                  </a:lnTo>
                  <a:lnTo>
                    <a:pt x="690" y="606"/>
                  </a:lnTo>
                  <a:lnTo>
                    <a:pt x="678" y="606"/>
                  </a:lnTo>
                  <a:lnTo>
                    <a:pt x="678" y="624"/>
                  </a:lnTo>
                  <a:lnTo>
                    <a:pt x="684" y="642"/>
                  </a:lnTo>
                  <a:lnTo>
                    <a:pt x="684" y="660"/>
                  </a:lnTo>
                  <a:lnTo>
                    <a:pt x="690" y="672"/>
                  </a:lnTo>
                  <a:lnTo>
                    <a:pt x="702" y="720"/>
                  </a:lnTo>
                  <a:lnTo>
                    <a:pt x="708" y="750"/>
                  </a:lnTo>
                  <a:lnTo>
                    <a:pt x="708" y="792"/>
                  </a:lnTo>
                  <a:lnTo>
                    <a:pt x="708" y="828"/>
                  </a:lnTo>
                  <a:lnTo>
                    <a:pt x="708" y="852"/>
                  </a:lnTo>
                  <a:lnTo>
                    <a:pt x="696" y="894"/>
                  </a:lnTo>
                  <a:lnTo>
                    <a:pt x="702" y="900"/>
                  </a:lnTo>
                  <a:lnTo>
                    <a:pt x="708" y="924"/>
                  </a:lnTo>
                  <a:lnTo>
                    <a:pt x="684" y="936"/>
                  </a:lnTo>
                  <a:lnTo>
                    <a:pt x="660" y="954"/>
                  </a:lnTo>
                  <a:lnTo>
                    <a:pt x="618" y="984"/>
                  </a:lnTo>
                  <a:lnTo>
                    <a:pt x="618" y="990"/>
                  </a:lnTo>
                  <a:lnTo>
                    <a:pt x="612" y="996"/>
                  </a:lnTo>
                  <a:lnTo>
                    <a:pt x="606" y="1002"/>
                  </a:lnTo>
                  <a:lnTo>
                    <a:pt x="618" y="1008"/>
                  </a:lnTo>
                  <a:lnTo>
                    <a:pt x="618" y="1014"/>
                  </a:lnTo>
                  <a:lnTo>
                    <a:pt x="624" y="1026"/>
                  </a:lnTo>
                  <a:lnTo>
                    <a:pt x="630" y="1026"/>
                  </a:lnTo>
                  <a:lnTo>
                    <a:pt x="636" y="1032"/>
                  </a:lnTo>
                  <a:lnTo>
                    <a:pt x="642" y="1032"/>
                  </a:lnTo>
                  <a:lnTo>
                    <a:pt x="642" y="1038"/>
                  </a:lnTo>
                  <a:lnTo>
                    <a:pt x="648" y="1044"/>
                  </a:lnTo>
                  <a:lnTo>
                    <a:pt x="666" y="1050"/>
                  </a:lnTo>
                  <a:lnTo>
                    <a:pt x="678" y="1038"/>
                  </a:lnTo>
                  <a:lnTo>
                    <a:pt x="684" y="1038"/>
                  </a:lnTo>
                  <a:lnTo>
                    <a:pt x="684" y="1032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20"/>
                  </a:lnTo>
                  <a:lnTo>
                    <a:pt x="708" y="1014"/>
                  </a:lnTo>
                  <a:lnTo>
                    <a:pt x="720" y="1020"/>
                  </a:lnTo>
                  <a:lnTo>
                    <a:pt x="720" y="1014"/>
                  </a:lnTo>
                  <a:lnTo>
                    <a:pt x="726" y="1008"/>
                  </a:lnTo>
                  <a:lnTo>
                    <a:pt x="732" y="1008"/>
                  </a:lnTo>
                  <a:lnTo>
                    <a:pt x="738" y="1008"/>
                  </a:lnTo>
                  <a:lnTo>
                    <a:pt x="744" y="1002"/>
                  </a:lnTo>
                  <a:lnTo>
                    <a:pt x="744" y="996"/>
                  </a:lnTo>
                  <a:lnTo>
                    <a:pt x="750" y="996"/>
                  </a:lnTo>
                  <a:lnTo>
                    <a:pt x="756" y="1002"/>
                  </a:lnTo>
                  <a:lnTo>
                    <a:pt x="762" y="1002"/>
                  </a:lnTo>
                  <a:lnTo>
                    <a:pt x="768" y="996"/>
                  </a:lnTo>
                  <a:lnTo>
                    <a:pt x="780" y="996"/>
                  </a:lnTo>
                  <a:lnTo>
                    <a:pt x="786" y="996"/>
                  </a:lnTo>
                  <a:lnTo>
                    <a:pt x="816" y="990"/>
                  </a:lnTo>
                  <a:lnTo>
                    <a:pt x="828" y="990"/>
                  </a:lnTo>
                  <a:lnTo>
                    <a:pt x="834" y="990"/>
                  </a:lnTo>
                  <a:lnTo>
                    <a:pt x="840" y="984"/>
                  </a:lnTo>
                  <a:lnTo>
                    <a:pt x="852" y="978"/>
                  </a:lnTo>
                  <a:lnTo>
                    <a:pt x="852" y="972"/>
                  </a:lnTo>
                  <a:lnTo>
                    <a:pt x="858" y="972"/>
                  </a:lnTo>
                  <a:lnTo>
                    <a:pt x="864" y="966"/>
                  </a:lnTo>
                  <a:lnTo>
                    <a:pt x="870" y="966"/>
                  </a:lnTo>
                  <a:lnTo>
                    <a:pt x="876" y="966"/>
                  </a:lnTo>
                  <a:lnTo>
                    <a:pt x="882" y="960"/>
                  </a:lnTo>
                  <a:lnTo>
                    <a:pt x="888" y="960"/>
                  </a:lnTo>
                  <a:lnTo>
                    <a:pt x="894" y="960"/>
                  </a:lnTo>
                  <a:lnTo>
                    <a:pt x="894" y="966"/>
                  </a:lnTo>
                  <a:lnTo>
                    <a:pt x="894" y="978"/>
                  </a:lnTo>
                  <a:lnTo>
                    <a:pt x="894" y="984"/>
                  </a:lnTo>
                  <a:lnTo>
                    <a:pt x="900" y="984"/>
                  </a:lnTo>
                  <a:lnTo>
                    <a:pt x="906" y="978"/>
                  </a:lnTo>
                  <a:lnTo>
                    <a:pt x="912" y="972"/>
                  </a:lnTo>
                  <a:lnTo>
                    <a:pt x="918" y="978"/>
                  </a:lnTo>
                  <a:lnTo>
                    <a:pt x="924" y="978"/>
                  </a:lnTo>
                  <a:lnTo>
                    <a:pt x="924" y="972"/>
                  </a:lnTo>
                  <a:lnTo>
                    <a:pt x="924" y="966"/>
                  </a:lnTo>
                  <a:lnTo>
                    <a:pt x="930" y="966"/>
                  </a:lnTo>
                  <a:lnTo>
                    <a:pt x="948" y="966"/>
                  </a:lnTo>
                  <a:lnTo>
                    <a:pt x="954" y="966"/>
                  </a:lnTo>
                  <a:lnTo>
                    <a:pt x="954" y="960"/>
                  </a:lnTo>
                  <a:lnTo>
                    <a:pt x="960" y="960"/>
                  </a:lnTo>
                  <a:lnTo>
                    <a:pt x="966" y="960"/>
                  </a:lnTo>
                  <a:lnTo>
                    <a:pt x="966" y="966"/>
                  </a:lnTo>
                  <a:lnTo>
                    <a:pt x="978" y="972"/>
                  </a:lnTo>
                  <a:lnTo>
                    <a:pt x="978" y="978"/>
                  </a:lnTo>
                  <a:lnTo>
                    <a:pt x="978" y="984"/>
                  </a:lnTo>
                  <a:lnTo>
                    <a:pt x="984" y="978"/>
                  </a:lnTo>
                  <a:lnTo>
                    <a:pt x="990" y="978"/>
                  </a:lnTo>
                  <a:lnTo>
                    <a:pt x="996" y="984"/>
                  </a:lnTo>
                  <a:lnTo>
                    <a:pt x="1002" y="990"/>
                  </a:lnTo>
                  <a:lnTo>
                    <a:pt x="1008" y="972"/>
                  </a:lnTo>
                  <a:lnTo>
                    <a:pt x="1026" y="972"/>
                  </a:lnTo>
                  <a:lnTo>
                    <a:pt x="1032" y="972"/>
                  </a:lnTo>
                  <a:lnTo>
                    <a:pt x="1038" y="972"/>
                  </a:lnTo>
                  <a:lnTo>
                    <a:pt x="1050" y="972"/>
                  </a:lnTo>
                  <a:lnTo>
                    <a:pt x="1056" y="972"/>
                  </a:lnTo>
                  <a:lnTo>
                    <a:pt x="1062" y="966"/>
                  </a:lnTo>
                  <a:lnTo>
                    <a:pt x="1074" y="966"/>
                  </a:lnTo>
                  <a:lnTo>
                    <a:pt x="1074" y="960"/>
                  </a:lnTo>
                  <a:lnTo>
                    <a:pt x="1080" y="954"/>
                  </a:lnTo>
                  <a:lnTo>
                    <a:pt x="1080" y="948"/>
                  </a:lnTo>
                  <a:lnTo>
                    <a:pt x="1074" y="948"/>
                  </a:lnTo>
                  <a:lnTo>
                    <a:pt x="1068" y="948"/>
                  </a:lnTo>
                  <a:lnTo>
                    <a:pt x="1062" y="942"/>
                  </a:lnTo>
                  <a:lnTo>
                    <a:pt x="1068" y="936"/>
                  </a:lnTo>
                  <a:lnTo>
                    <a:pt x="1074" y="936"/>
                  </a:lnTo>
                  <a:lnTo>
                    <a:pt x="1080" y="936"/>
                  </a:lnTo>
                  <a:lnTo>
                    <a:pt x="1086" y="942"/>
                  </a:lnTo>
                  <a:lnTo>
                    <a:pt x="1092" y="942"/>
                  </a:lnTo>
                  <a:lnTo>
                    <a:pt x="1098" y="948"/>
                  </a:lnTo>
                  <a:lnTo>
                    <a:pt x="1104" y="954"/>
                  </a:lnTo>
                  <a:lnTo>
                    <a:pt x="1110" y="954"/>
                  </a:lnTo>
                  <a:lnTo>
                    <a:pt x="1116" y="948"/>
                  </a:lnTo>
                  <a:lnTo>
                    <a:pt x="1122" y="942"/>
                  </a:lnTo>
                  <a:lnTo>
                    <a:pt x="1128" y="942"/>
                  </a:lnTo>
                  <a:lnTo>
                    <a:pt x="1134" y="942"/>
                  </a:lnTo>
                  <a:lnTo>
                    <a:pt x="1140" y="948"/>
                  </a:lnTo>
                  <a:lnTo>
                    <a:pt x="1146" y="942"/>
                  </a:lnTo>
                  <a:lnTo>
                    <a:pt x="1152" y="942"/>
                  </a:lnTo>
                  <a:lnTo>
                    <a:pt x="1152" y="930"/>
                  </a:lnTo>
                  <a:lnTo>
                    <a:pt x="1164" y="936"/>
                  </a:lnTo>
                  <a:lnTo>
                    <a:pt x="1158" y="942"/>
                  </a:lnTo>
                  <a:lnTo>
                    <a:pt x="1158" y="948"/>
                  </a:lnTo>
                  <a:lnTo>
                    <a:pt x="1146" y="954"/>
                  </a:lnTo>
                  <a:lnTo>
                    <a:pt x="1152" y="954"/>
                  </a:lnTo>
                  <a:lnTo>
                    <a:pt x="1158" y="954"/>
                  </a:lnTo>
                  <a:lnTo>
                    <a:pt x="1158" y="948"/>
                  </a:lnTo>
                  <a:lnTo>
                    <a:pt x="1164" y="948"/>
                  </a:lnTo>
                  <a:lnTo>
                    <a:pt x="1170" y="948"/>
                  </a:lnTo>
                  <a:lnTo>
                    <a:pt x="1176" y="954"/>
                  </a:lnTo>
                  <a:lnTo>
                    <a:pt x="1176" y="966"/>
                  </a:lnTo>
                  <a:lnTo>
                    <a:pt x="1182" y="972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88" y="984"/>
                  </a:lnTo>
                  <a:lnTo>
                    <a:pt x="1194" y="984"/>
                  </a:lnTo>
                  <a:lnTo>
                    <a:pt x="1200" y="984"/>
                  </a:lnTo>
                  <a:lnTo>
                    <a:pt x="1212" y="984"/>
                  </a:lnTo>
                  <a:lnTo>
                    <a:pt x="1218" y="990"/>
                  </a:lnTo>
                  <a:lnTo>
                    <a:pt x="1224" y="990"/>
                  </a:lnTo>
                  <a:lnTo>
                    <a:pt x="1224" y="984"/>
                  </a:lnTo>
                  <a:lnTo>
                    <a:pt x="1230" y="990"/>
                  </a:lnTo>
                  <a:lnTo>
                    <a:pt x="1236" y="984"/>
                  </a:lnTo>
                  <a:lnTo>
                    <a:pt x="1242" y="984"/>
                  </a:lnTo>
                  <a:lnTo>
                    <a:pt x="1248" y="990"/>
                  </a:lnTo>
                  <a:lnTo>
                    <a:pt x="1254" y="990"/>
                  </a:lnTo>
                  <a:lnTo>
                    <a:pt x="1254" y="996"/>
                  </a:lnTo>
                  <a:lnTo>
                    <a:pt x="1254" y="1002"/>
                  </a:lnTo>
                  <a:lnTo>
                    <a:pt x="1254" y="1008"/>
                  </a:lnTo>
                  <a:lnTo>
                    <a:pt x="1260" y="1014"/>
                  </a:lnTo>
                  <a:lnTo>
                    <a:pt x="1266" y="1014"/>
                  </a:lnTo>
                  <a:lnTo>
                    <a:pt x="1272" y="1014"/>
                  </a:lnTo>
                  <a:lnTo>
                    <a:pt x="1278" y="1020"/>
                  </a:lnTo>
                  <a:lnTo>
                    <a:pt x="1284" y="1020"/>
                  </a:lnTo>
                  <a:lnTo>
                    <a:pt x="1290" y="1014"/>
                  </a:lnTo>
                  <a:lnTo>
                    <a:pt x="1290" y="1008"/>
                  </a:lnTo>
                  <a:lnTo>
                    <a:pt x="1296" y="1008"/>
                  </a:lnTo>
                  <a:lnTo>
                    <a:pt x="1302" y="1014"/>
                  </a:lnTo>
                  <a:lnTo>
                    <a:pt x="1308" y="1014"/>
                  </a:lnTo>
                  <a:lnTo>
                    <a:pt x="1314" y="1008"/>
                  </a:lnTo>
                  <a:lnTo>
                    <a:pt x="1320" y="1008"/>
                  </a:lnTo>
                  <a:lnTo>
                    <a:pt x="1320" y="1002"/>
                  </a:lnTo>
                  <a:lnTo>
                    <a:pt x="1320" y="996"/>
                  </a:lnTo>
                  <a:lnTo>
                    <a:pt x="1332" y="1002"/>
                  </a:lnTo>
                  <a:lnTo>
                    <a:pt x="1332" y="1008"/>
                  </a:lnTo>
                  <a:lnTo>
                    <a:pt x="1326" y="1014"/>
                  </a:lnTo>
                  <a:lnTo>
                    <a:pt x="1332" y="1014"/>
                  </a:lnTo>
                  <a:lnTo>
                    <a:pt x="1338" y="1014"/>
                  </a:lnTo>
                  <a:lnTo>
                    <a:pt x="1338" y="1008"/>
                  </a:lnTo>
                  <a:lnTo>
                    <a:pt x="1344" y="1008"/>
                  </a:lnTo>
                  <a:lnTo>
                    <a:pt x="1350" y="1008"/>
                  </a:lnTo>
                  <a:lnTo>
                    <a:pt x="1356" y="1014"/>
                  </a:lnTo>
                  <a:lnTo>
                    <a:pt x="1356" y="1008"/>
                  </a:lnTo>
                  <a:lnTo>
                    <a:pt x="1362" y="1014"/>
                  </a:lnTo>
                  <a:lnTo>
                    <a:pt x="1392" y="1014"/>
                  </a:lnTo>
                  <a:lnTo>
                    <a:pt x="1398" y="1014"/>
                  </a:lnTo>
                  <a:lnTo>
                    <a:pt x="1404" y="1008"/>
                  </a:lnTo>
                  <a:lnTo>
                    <a:pt x="1404" y="1014"/>
                  </a:lnTo>
                  <a:lnTo>
                    <a:pt x="1410" y="1008"/>
                  </a:lnTo>
                  <a:lnTo>
                    <a:pt x="1416" y="1008"/>
                  </a:lnTo>
                  <a:lnTo>
                    <a:pt x="1422" y="1002"/>
                  </a:lnTo>
                  <a:lnTo>
                    <a:pt x="1428" y="1002"/>
                  </a:lnTo>
                  <a:lnTo>
                    <a:pt x="1428" y="996"/>
                  </a:lnTo>
                  <a:lnTo>
                    <a:pt x="1428" y="990"/>
                  </a:lnTo>
                  <a:lnTo>
                    <a:pt x="1440" y="1002"/>
                  </a:lnTo>
                  <a:lnTo>
                    <a:pt x="1446" y="1002"/>
                  </a:lnTo>
                  <a:lnTo>
                    <a:pt x="1452" y="1002"/>
                  </a:lnTo>
                  <a:lnTo>
                    <a:pt x="1446" y="996"/>
                  </a:lnTo>
                  <a:lnTo>
                    <a:pt x="1452" y="996"/>
                  </a:lnTo>
                  <a:lnTo>
                    <a:pt x="1458" y="996"/>
                  </a:lnTo>
                  <a:lnTo>
                    <a:pt x="1464" y="996"/>
                  </a:lnTo>
                  <a:lnTo>
                    <a:pt x="1464" y="1002"/>
                  </a:lnTo>
                  <a:lnTo>
                    <a:pt x="1476" y="1014"/>
                  </a:lnTo>
                  <a:lnTo>
                    <a:pt x="1476" y="1008"/>
                  </a:lnTo>
                  <a:lnTo>
                    <a:pt x="1482" y="1008"/>
                  </a:lnTo>
                  <a:lnTo>
                    <a:pt x="1488" y="1020"/>
                  </a:lnTo>
                  <a:lnTo>
                    <a:pt x="1494" y="1020"/>
                  </a:lnTo>
                  <a:lnTo>
                    <a:pt x="1500" y="1014"/>
                  </a:lnTo>
                  <a:lnTo>
                    <a:pt x="1500" y="1020"/>
                  </a:lnTo>
                  <a:lnTo>
                    <a:pt x="1506" y="1026"/>
                  </a:lnTo>
                  <a:lnTo>
                    <a:pt x="1512" y="1032"/>
                  </a:lnTo>
                  <a:lnTo>
                    <a:pt x="1518" y="1032"/>
                  </a:lnTo>
                  <a:lnTo>
                    <a:pt x="1518" y="1038"/>
                  </a:lnTo>
                  <a:lnTo>
                    <a:pt x="1518" y="1044"/>
                  </a:lnTo>
                  <a:lnTo>
                    <a:pt x="1524" y="1044"/>
                  </a:lnTo>
                  <a:lnTo>
                    <a:pt x="1524" y="1050"/>
                  </a:lnTo>
                  <a:lnTo>
                    <a:pt x="1530" y="1056"/>
                  </a:lnTo>
                  <a:lnTo>
                    <a:pt x="1548" y="1062"/>
                  </a:lnTo>
                  <a:lnTo>
                    <a:pt x="1560" y="1074"/>
                  </a:lnTo>
                  <a:lnTo>
                    <a:pt x="1560" y="1080"/>
                  </a:lnTo>
                  <a:lnTo>
                    <a:pt x="1560" y="1086"/>
                  </a:lnTo>
                  <a:lnTo>
                    <a:pt x="1566" y="1086"/>
                  </a:lnTo>
                  <a:lnTo>
                    <a:pt x="1572" y="1098"/>
                  </a:lnTo>
                  <a:lnTo>
                    <a:pt x="1572" y="1104"/>
                  </a:lnTo>
                  <a:lnTo>
                    <a:pt x="1584" y="1110"/>
                  </a:lnTo>
                  <a:lnTo>
                    <a:pt x="1590" y="1116"/>
                  </a:lnTo>
                  <a:lnTo>
                    <a:pt x="1596" y="1116"/>
                  </a:lnTo>
                  <a:lnTo>
                    <a:pt x="1608" y="1122"/>
                  </a:lnTo>
                  <a:lnTo>
                    <a:pt x="1620" y="1140"/>
                  </a:lnTo>
                  <a:lnTo>
                    <a:pt x="1626" y="1158"/>
                  </a:lnTo>
                  <a:lnTo>
                    <a:pt x="1638" y="1200"/>
                  </a:lnTo>
                  <a:lnTo>
                    <a:pt x="1638" y="1218"/>
                  </a:lnTo>
                  <a:lnTo>
                    <a:pt x="1620" y="1230"/>
                  </a:lnTo>
                  <a:lnTo>
                    <a:pt x="1554" y="1230"/>
                  </a:lnTo>
                  <a:lnTo>
                    <a:pt x="1560" y="1248"/>
                  </a:lnTo>
                  <a:lnTo>
                    <a:pt x="1584" y="1260"/>
                  </a:lnTo>
                  <a:lnTo>
                    <a:pt x="1584" y="1266"/>
                  </a:lnTo>
                  <a:lnTo>
                    <a:pt x="1578" y="1272"/>
                  </a:lnTo>
                  <a:lnTo>
                    <a:pt x="1572" y="1272"/>
                  </a:lnTo>
                  <a:lnTo>
                    <a:pt x="1566" y="1278"/>
                  </a:lnTo>
                  <a:lnTo>
                    <a:pt x="1566" y="1284"/>
                  </a:lnTo>
                  <a:lnTo>
                    <a:pt x="1560" y="1290"/>
                  </a:lnTo>
                  <a:lnTo>
                    <a:pt x="1554" y="1290"/>
                  </a:lnTo>
                  <a:lnTo>
                    <a:pt x="1554" y="1296"/>
                  </a:lnTo>
                  <a:lnTo>
                    <a:pt x="1554" y="1302"/>
                  </a:lnTo>
                  <a:lnTo>
                    <a:pt x="1560" y="1332"/>
                  </a:lnTo>
                  <a:lnTo>
                    <a:pt x="1566" y="1356"/>
                  </a:lnTo>
                  <a:lnTo>
                    <a:pt x="1572" y="1356"/>
                  </a:lnTo>
                  <a:lnTo>
                    <a:pt x="1572" y="1362"/>
                  </a:lnTo>
                  <a:lnTo>
                    <a:pt x="1578" y="1362"/>
                  </a:lnTo>
                  <a:lnTo>
                    <a:pt x="1560" y="1374"/>
                  </a:lnTo>
                  <a:lnTo>
                    <a:pt x="1560" y="1380"/>
                  </a:lnTo>
                  <a:lnTo>
                    <a:pt x="1548" y="1380"/>
                  </a:lnTo>
                  <a:lnTo>
                    <a:pt x="1548" y="1386"/>
                  </a:lnTo>
                  <a:lnTo>
                    <a:pt x="1548" y="1392"/>
                  </a:lnTo>
                  <a:lnTo>
                    <a:pt x="1542" y="1410"/>
                  </a:lnTo>
                  <a:lnTo>
                    <a:pt x="1536" y="1422"/>
                  </a:lnTo>
                  <a:lnTo>
                    <a:pt x="1536" y="1428"/>
                  </a:lnTo>
                  <a:lnTo>
                    <a:pt x="1530" y="1440"/>
                  </a:lnTo>
                  <a:lnTo>
                    <a:pt x="1524" y="1434"/>
                  </a:lnTo>
                  <a:lnTo>
                    <a:pt x="1524" y="1428"/>
                  </a:lnTo>
                  <a:lnTo>
                    <a:pt x="1524" y="1422"/>
                  </a:lnTo>
                  <a:lnTo>
                    <a:pt x="1512" y="1410"/>
                  </a:lnTo>
                  <a:lnTo>
                    <a:pt x="1506" y="1404"/>
                  </a:lnTo>
                  <a:lnTo>
                    <a:pt x="1506" y="1398"/>
                  </a:lnTo>
                  <a:lnTo>
                    <a:pt x="1494" y="1392"/>
                  </a:lnTo>
                  <a:lnTo>
                    <a:pt x="1476" y="1404"/>
                  </a:lnTo>
                  <a:lnTo>
                    <a:pt x="1464" y="1416"/>
                  </a:lnTo>
                  <a:lnTo>
                    <a:pt x="1458" y="1428"/>
                  </a:lnTo>
                  <a:lnTo>
                    <a:pt x="1446" y="1434"/>
                  </a:lnTo>
                  <a:lnTo>
                    <a:pt x="1410" y="1440"/>
                  </a:lnTo>
                  <a:lnTo>
                    <a:pt x="1398" y="1440"/>
                  </a:lnTo>
                  <a:lnTo>
                    <a:pt x="1398" y="1446"/>
                  </a:lnTo>
                  <a:lnTo>
                    <a:pt x="1386" y="1446"/>
                  </a:lnTo>
                  <a:lnTo>
                    <a:pt x="1380" y="1440"/>
                  </a:lnTo>
                  <a:lnTo>
                    <a:pt x="1368" y="1440"/>
                  </a:lnTo>
                  <a:lnTo>
                    <a:pt x="1368" y="1446"/>
                  </a:lnTo>
                  <a:lnTo>
                    <a:pt x="1356" y="1446"/>
                  </a:lnTo>
                  <a:lnTo>
                    <a:pt x="1350" y="1452"/>
                  </a:lnTo>
                  <a:lnTo>
                    <a:pt x="1338" y="1452"/>
                  </a:lnTo>
                  <a:lnTo>
                    <a:pt x="1338" y="1458"/>
                  </a:lnTo>
                  <a:lnTo>
                    <a:pt x="1332" y="1458"/>
                  </a:lnTo>
                  <a:lnTo>
                    <a:pt x="1332" y="1464"/>
                  </a:lnTo>
                  <a:lnTo>
                    <a:pt x="1332" y="1470"/>
                  </a:lnTo>
                  <a:lnTo>
                    <a:pt x="1326" y="1470"/>
                  </a:lnTo>
                  <a:lnTo>
                    <a:pt x="1320" y="1470"/>
                  </a:lnTo>
                  <a:lnTo>
                    <a:pt x="1314" y="1470"/>
                  </a:lnTo>
                  <a:lnTo>
                    <a:pt x="1314" y="1464"/>
                  </a:lnTo>
                  <a:lnTo>
                    <a:pt x="1308" y="1464"/>
                  </a:lnTo>
                  <a:lnTo>
                    <a:pt x="1308" y="1452"/>
                  </a:lnTo>
                  <a:lnTo>
                    <a:pt x="1284" y="1458"/>
                  </a:lnTo>
                  <a:lnTo>
                    <a:pt x="1272" y="1458"/>
                  </a:lnTo>
                  <a:lnTo>
                    <a:pt x="1272" y="1464"/>
                  </a:lnTo>
                  <a:lnTo>
                    <a:pt x="1260" y="1464"/>
                  </a:lnTo>
                  <a:lnTo>
                    <a:pt x="1254" y="1464"/>
                  </a:lnTo>
                  <a:lnTo>
                    <a:pt x="1242" y="1422"/>
                  </a:lnTo>
                  <a:lnTo>
                    <a:pt x="1242" y="1416"/>
                  </a:lnTo>
                  <a:lnTo>
                    <a:pt x="1242" y="1410"/>
                  </a:lnTo>
                  <a:lnTo>
                    <a:pt x="1248" y="1410"/>
                  </a:lnTo>
                  <a:lnTo>
                    <a:pt x="1242" y="1410"/>
                  </a:lnTo>
                  <a:lnTo>
                    <a:pt x="1242" y="1404"/>
                  </a:lnTo>
                  <a:lnTo>
                    <a:pt x="1242" y="1398"/>
                  </a:lnTo>
                  <a:lnTo>
                    <a:pt x="1248" y="1392"/>
                  </a:lnTo>
                  <a:lnTo>
                    <a:pt x="1248" y="1386"/>
                  </a:lnTo>
                  <a:lnTo>
                    <a:pt x="1242" y="1380"/>
                  </a:lnTo>
                  <a:lnTo>
                    <a:pt x="1248" y="1380"/>
                  </a:lnTo>
                  <a:lnTo>
                    <a:pt x="1248" y="1374"/>
                  </a:lnTo>
                  <a:lnTo>
                    <a:pt x="1248" y="1368"/>
                  </a:lnTo>
                  <a:lnTo>
                    <a:pt x="1254" y="1368"/>
                  </a:lnTo>
                  <a:lnTo>
                    <a:pt x="1254" y="1362"/>
                  </a:lnTo>
                  <a:lnTo>
                    <a:pt x="1248" y="1356"/>
                  </a:lnTo>
                  <a:lnTo>
                    <a:pt x="1254" y="1356"/>
                  </a:lnTo>
                  <a:lnTo>
                    <a:pt x="1254" y="1344"/>
                  </a:lnTo>
                  <a:lnTo>
                    <a:pt x="1242" y="1338"/>
                  </a:lnTo>
                  <a:lnTo>
                    <a:pt x="1242" y="1326"/>
                  </a:lnTo>
                  <a:lnTo>
                    <a:pt x="1230" y="1326"/>
                  </a:lnTo>
                  <a:lnTo>
                    <a:pt x="1230" y="1314"/>
                  </a:lnTo>
                  <a:lnTo>
                    <a:pt x="1218" y="1314"/>
                  </a:lnTo>
                  <a:lnTo>
                    <a:pt x="1200" y="1272"/>
                  </a:lnTo>
                  <a:lnTo>
                    <a:pt x="1194" y="1242"/>
                  </a:lnTo>
                  <a:lnTo>
                    <a:pt x="1194" y="1206"/>
                  </a:lnTo>
                  <a:lnTo>
                    <a:pt x="1182" y="1200"/>
                  </a:lnTo>
                  <a:lnTo>
                    <a:pt x="1164" y="1206"/>
                  </a:lnTo>
                  <a:lnTo>
                    <a:pt x="1146" y="1212"/>
                  </a:lnTo>
                  <a:lnTo>
                    <a:pt x="1146" y="1218"/>
                  </a:lnTo>
                  <a:lnTo>
                    <a:pt x="1134" y="1224"/>
                  </a:lnTo>
                  <a:lnTo>
                    <a:pt x="1140" y="1260"/>
                  </a:lnTo>
                  <a:lnTo>
                    <a:pt x="1134" y="1266"/>
                  </a:lnTo>
                  <a:lnTo>
                    <a:pt x="1122" y="1266"/>
                  </a:lnTo>
                  <a:lnTo>
                    <a:pt x="1110" y="1236"/>
                  </a:lnTo>
                  <a:lnTo>
                    <a:pt x="1110" y="1224"/>
                  </a:lnTo>
                  <a:lnTo>
                    <a:pt x="1086" y="1224"/>
                  </a:lnTo>
                  <a:lnTo>
                    <a:pt x="1086" y="1212"/>
                  </a:lnTo>
                  <a:lnTo>
                    <a:pt x="1074" y="1212"/>
                  </a:lnTo>
                  <a:lnTo>
                    <a:pt x="1050" y="1212"/>
                  </a:lnTo>
                  <a:lnTo>
                    <a:pt x="1056" y="1218"/>
                  </a:lnTo>
                  <a:lnTo>
                    <a:pt x="1050" y="1272"/>
                  </a:lnTo>
                  <a:lnTo>
                    <a:pt x="1044" y="1272"/>
                  </a:lnTo>
                  <a:lnTo>
                    <a:pt x="1038" y="1284"/>
                  </a:lnTo>
                  <a:lnTo>
                    <a:pt x="1032" y="1302"/>
                  </a:lnTo>
                  <a:lnTo>
                    <a:pt x="1014" y="1302"/>
                  </a:lnTo>
                  <a:lnTo>
                    <a:pt x="1020" y="1284"/>
                  </a:lnTo>
                  <a:lnTo>
                    <a:pt x="1026" y="1278"/>
                  </a:lnTo>
                  <a:lnTo>
                    <a:pt x="1026" y="1266"/>
                  </a:lnTo>
                  <a:lnTo>
                    <a:pt x="1014" y="1260"/>
                  </a:lnTo>
                  <a:lnTo>
                    <a:pt x="1014" y="1272"/>
                  </a:lnTo>
                  <a:lnTo>
                    <a:pt x="990" y="1278"/>
                  </a:lnTo>
                  <a:lnTo>
                    <a:pt x="990" y="1254"/>
                  </a:lnTo>
                  <a:lnTo>
                    <a:pt x="984" y="1254"/>
                  </a:lnTo>
                  <a:lnTo>
                    <a:pt x="978" y="1242"/>
                  </a:lnTo>
                  <a:lnTo>
                    <a:pt x="972" y="1236"/>
                  </a:lnTo>
                  <a:lnTo>
                    <a:pt x="960" y="1206"/>
                  </a:lnTo>
                  <a:lnTo>
                    <a:pt x="942" y="1206"/>
                  </a:lnTo>
                  <a:lnTo>
                    <a:pt x="936" y="1200"/>
                  </a:lnTo>
                  <a:lnTo>
                    <a:pt x="906" y="1212"/>
                  </a:lnTo>
                  <a:lnTo>
                    <a:pt x="888" y="1230"/>
                  </a:lnTo>
                  <a:lnTo>
                    <a:pt x="876" y="1230"/>
                  </a:lnTo>
                  <a:lnTo>
                    <a:pt x="864" y="1236"/>
                  </a:lnTo>
                  <a:lnTo>
                    <a:pt x="858" y="1236"/>
                  </a:lnTo>
                  <a:lnTo>
                    <a:pt x="852" y="1254"/>
                  </a:lnTo>
                  <a:lnTo>
                    <a:pt x="858" y="1254"/>
                  </a:lnTo>
                  <a:lnTo>
                    <a:pt x="840" y="1266"/>
                  </a:lnTo>
                  <a:lnTo>
                    <a:pt x="828" y="1272"/>
                  </a:lnTo>
                  <a:lnTo>
                    <a:pt x="828" y="1284"/>
                  </a:lnTo>
                  <a:lnTo>
                    <a:pt x="822" y="1284"/>
                  </a:lnTo>
                  <a:lnTo>
                    <a:pt x="804" y="1296"/>
                  </a:lnTo>
                  <a:lnTo>
                    <a:pt x="804" y="1308"/>
                  </a:lnTo>
                  <a:lnTo>
                    <a:pt x="816" y="1320"/>
                  </a:lnTo>
                  <a:lnTo>
                    <a:pt x="828" y="1320"/>
                  </a:lnTo>
                  <a:lnTo>
                    <a:pt x="822" y="1338"/>
                  </a:lnTo>
                  <a:lnTo>
                    <a:pt x="852" y="1344"/>
                  </a:lnTo>
                  <a:lnTo>
                    <a:pt x="864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94" y="1356"/>
                  </a:lnTo>
                  <a:lnTo>
                    <a:pt x="912" y="1368"/>
                  </a:lnTo>
                  <a:lnTo>
                    <a:pt x="918" y="1380"/>
                  </a:lnTo>
                  <a:lnTo>
                    <a:pt x="936" y="1380"/>
                  </a:lnTo>
                  <a:lnTo>
                    <a:pt x="960" y="1386"/>
                  </a:lnTo>
                  <a:lnTo>
                    <a:pt x="990" y="1386"/>
                  </a:lnTo>
                  <a:lnTo>
                    <a:pt x="990" y="1392"/>
                  </a:lnTo>
                  <a:lnTo>
                    <a:pt x="1020" y="1398"/>
                  </a:lnTo>
                  <a:lnTo>
                    <a:pt x="1014" y="1404"/>
                  </a:lnTo>
                  <a:lnTo>
                    <a:pt x="1008" y="1404"/>
                  </a:lnTo>
                  <a:lnTo>
                    <a:pt x="1014" y="1440"/>
                  </a:lnTo>
                  <a:lnTo>
                    <a:pt x="1020" y="1458"/>
                  </a:lnTo>
                  <a:lnTo>
                    <a:pt x="1026" y="1476"/>
                  </a:lnTo>
                  <a:lnTo>
                    <a:pt x="1020" y="1476"/>
                  </a:lnTo>
                  <a:lnTo>
                    <a:pt x="1014" y="1476"/>
                  </a:lnTo>
                  <a:lnTo>
                    <a:pt x="1014" y="1482"/>
                  </a:lnTo>
                  <a:lnTo>
                    <a:pt x="1014" y="1488"/>
                  </a:lnTo>
                  <a:lnTo>
                    <a:pt x="1002" y="1488"/>
                  </a:lnTo>
                  <a:lnTo>
                    <a:pt x="1002" y="1494"/>
                  </a:lnTo>
                  <a:lnTo>
                    <a:pt x="996" y="1494"/>
                  </a:lnTo>
                  <a:lnTo>
                    <a:pt x="996" y="1518"/>
                  </a:lnTo>
                  <a:lnTo>
                    <a:pt x="1002" y="1524"/>
                  </a:lnTo>
                  <a:lnTo>
                    <a:pt x="1020" y="1530"/>
                  </a:lnTo>
                  <a:lnTo>
                    <a:pt x="1026" y="1542"/>
                  </a:lnTo>
                  <a:lnTo>
                    <a:pt x="1032" y="1566"/>
                  </a:lnTo>
                  <a:lnTo>
                    <a:pt x="1038" y="1578"/>
                  </a:lnTo>
                  <a:lnTo>
                    <a:pt x="1032" y="1584"/>
                  </a:lnTo>
                  <a:lnTo>
                    <a:pt x="1020" y="1584"/>
                  </a:lnTo>
                  <a:lnTo>
                    <a:pt x="1014" y="1584"/>
                  </a:lnTo>
                  <a:lnTo>
                    <a:pt x="1008" y="1596"/>
                  </a:lnTo>
                  <a:lnTo>
                    <a:pt x="990" y="1584"/>
                  </a:lnTo>
                  <a:lnTo>
                    <a:pt x="984" y="1602"/>
                  </a:lnTo>
                  <a:lnTo>
                    <a:pt x="978" y="1608"/>
                  </a:lnTo>
                  <a:lnTo>
                    <a:pt x="966" y="1608"/>
                  </a:lnTo>
                  <a:lnTo>
                    <a:pt x="960" y="1614"/>
                  </a:lnTo>
                  <a:lnTo>
                    <a:pt x="954" y="1614"/>
                  </a:lnTo>
                  <a:lnTo>
                    <a:pt x="942" y="1620"/>
                  </a:lnTo>
                  <a:lnTo>
                    <a:pt x="936" y="1620"/>
                  </a:lnTo>
                  <a:lnTo>
                    <a:pt x="930" y="1620"/>
                  </a:lnTo>
                  <a:lnTo>
                    <a:pt x="930" y="1626"/>
                  </a:lnTo>
                  <a:lnTo>
                    <a:pt x="930" y="1632"/>
                  </a:lnTo>
                  <a:lnTo>
                    <a:pt x="918" y="1632"/>
                  </a:lnTo>
                  <a:lnTo>
                    <a:pt x="912" y="1632"/>
                  </a:lnTo>
                  <a:lnTo>
                    <a:pt x="906" y="1632"/>
                  </a:lnTo>
                  <a:lnTo>
                    <a:pt x="900" y="1632"/>
                  </a:lnTo>
                  <a:lnTo>
                    <a:pt x="894" y="1626"/>
                  </a:lnTo>
                  <a:lnTo>
                    <a:pt x="894" y="1614"/>
                  </a:lnTo>
                  <a:lnTo>
                    <a:pt x="840" y="1614"/>
                  </a:lnTo>
                  <a:lnTo>
                    <a:pt x="840" y="1626"/>
                  </a:lnTo>
                  <a:lnTo>
                    <a:pt x="834" y="1626"/>
                  </a:lnTo>
                  <a:lnTo>
                    <a:pt x="828" y="1632"/>
                  </a:lnTo>
                  <a:lnTo>
                    <a:pt x="822" y="1638"/>
                  </a:lnTo>
                  <a:lnTo>
                    <a:pt x="822" y="1644"/>
                  </a:lnTo>
                  <a:lnTo>
                    <a:pt x="834" y="1650"/>
                  </a:lnTo>
                  <a:lnTo>
                    <a:pt x="840" y="1662"/>
                  </a:lnTo>
                  <a:lnTo>
                    <a:pt x="840" y="1668"/>
                  </a:lnTo>
                  <a:lnTo>
                    <a:pt x="858" y="1680"/>
                  </a:lnTo>
                  <a:lnTo>
                    <a:pt x="858" y="1752"/>
                  </a:lnTo>
                  <a:lnTo>
                    <a:pt x="864" y="1782"/>
                  </a:lnTo>
                  <a:lnTo>
                    <a:pt x="876" y="1788"/>
                  </a:lnTo>
                  <a:lnTo>
                    <a:pt x="870" y="1854"/>
                  </a:lnTo>
                  <a:lnTo>
                    <a:pt x="870" y="1884"/>
                  </a:lnTo>
                  <a:lnTo>
                    <a:pt x="864" y="1884"/>
                  </a:lnTo>
                  <a:lnTo>
                    <a:pt x="846" y="1896"/>
                  </a:lnTo>
                  <a:lnTo>
                    <a:pt x="840" y="1896"/>
                  </a:lnTo>
                  <a:lnTo>
                    <a:pt x="834" y="1896"/>
                  </a:lnTo>
                  <a:lnTo>
                    <a:pt x="828" y="1890"/>
                  </a:lnTo>
                  <a:lnTo>
                    <a:pt x="822" y="1890"/>
                  </a:lnTo>
                  <a:lnTo>
                    <a:pt x="816" y="1896"/>
                  </a:lnTo>
                  <a:lnTo>
                    <a:pt x="804" y="1896"/>
                  </a:lnTo>
                  <a:lnTo>
                    <a:pt x="804" y="1890"/>
                  </a:lnTo>
                  <a:lnTo>
                    <a:pt x="780" y="1896"/>
                  </a:lnTo>
                  <a:lnTo>
                    <a:pt x="780" y="1902"/>
                  </a:lnTo>
                  <a:lnTo>
                    <a:pt x="774" y="1914"/>
                  </a:lnTo>
                  <a:lnTo>
                    <a:pt x="762" y="1926"/>
                  </a:lnTo>
                  <a:lnTo>
                    <a:pt x="762" y="1950"/>
                  </a:lnTo>
                  <a:lnTo>
                    <a:pt x="762" y="1962"/>
                  </a:lnTo>
                  <a:lnTo>
                    <a:pt x="780" y="1974"/>
                  </a:lnTo>
                  <a:lnTo>
                    <a:pt x="780" y="1986"/>
                  </a:lnTo>
                  <a:lnTo>
                    <a:pt x="780" y="1998"/>
                  </a:lnTo>
                  <a:lnTo>
                    <a:pt x="756" y="1998"/>
                  </a:lnTo>
                  <a:lnTo>
                    <a:pt x="720" y="1992"/>
                  </a:lnTo>
                  <a:lnTo>
                    <a:pt x="666" y="1998"/>
                  </a:lnTo>
                  <a:lnTo>
                    <a:pt x="654" y="1998"/>
                  </a:lnTo>
                  <a:lnTo>
                    <a:pt x="660" y="1974"/>
                  </a:lnTo>
                  <a:lnTo>
                    <a:pt x="666" y="1962"/>
                  </a:lnTo>
                  <a:lnTo>
                    <a:pt x="678" y="1950"/>
                  </a:lnTo>
                  <a:lnTo>
                    <a:pt x="696" y="1932"/>
                  </a:lnTo>
                  <a:lnTo>
                    <a:pt x="696" y="1920"/>
                  </a:lnTo>
                  <a:lnTo>
                    <a:pt x="696" y="1896"/>
                  </a:lnTo>
                  <a:lnTo>
                    <a:pt x="678" y="1896"/>
                  </a:lnTo>
                  <a:lnTo>
                    <a:pt x="672" y="1884"/>
                  </a:lnTo>
                  <a:lnTo>
                    <a:pt x="672" y="1776"/>
                  </a:lnTo>
                  <a:lnTo>
                    <a:pt x="678" y="1758"/>
                  </a:lnTo>
                  <a:lnTo>
                    <a:pt x="678" y="1740"/>
                  </a:lnTo>
                  <a:lnTo>
                    <a:pt x="684" y="1728"/>
                  </a:lnTo>
                  <a:lnTo>
                    <a:pt x="690" y="1722"/>
                  </a:lnTo>
                  <a:lnTo>
                    <a:pt x="702" y="1722"/>
                  </a:lnTo>
                  <a:lnTo>
                    <a:pt x="708" y="1716"/>
                  </a:lnTo>
                  <a:lnTo>
                    <a:pt x="714" y="1710"/>
                  </a:lnTo>
                  <a:lnTo>
                    <a:pt x="720" y="1698"/>
                  </a:lnTo>
                  <a:lnTo>
                    <a:pt x="732" y="1692"/>
                  </a:lnTo>
                  <a:lnTo>
                    <a:pt x="744" y="1686"/>
                  </a:lnTo>
                  <a:lnTo>
                    <a:pt x="756" y="1680"/>
                  </a:lnTo>
                  <a:lnTo>
                    <a:pt x="768" y="1668"/>
                  </a:lnTo>
                  <a:lnTo>
                    <a:pt x="768" y="1650"/>
                  </a:lnTo>
                  <a:lnTo>
                    <a:pt x="774" y="1632"/>
                  </a:lnTo>
                  <a:lnTo>
                    <a:pt x="768" y="1620"/>
                  </a:lnTo>
                  <a:lnTo>
                    <a:pt x="774" y="1608"/>
                  </a:lnTo>
                  <a:lnTo>
                    <a:pt x="774" y="1578"/>
                  </a:lnTo>
                  <a:lnTo>
                    <a:pt x="774" y="1572"/>
                  </a:lnTo>
                  <a:lnTo>
                    <a:pt x="780" y="1560"/>
                  </a:lnTo>
                  <a:lnTo>
                    <a:pt x="780" y="1554"/>
                  </a:lnTo>
                  <a:lnTo>
                    <a:pt x="786" y="1542"/>
                  </a:lnTo>
                  <a:lnTo>
                    <a:pt x="792" y="1530"/>
                  </a:lnTo>
                  <a:lnTo>
                    <a:pt x="792" y="1518"/>
                  </a:lnTo>
                  <a:lnTo>
                    <a:pt x="792" y="1506"/>
                  </a:lnTo>
                  <a:lnTo>
                    <a:pt x="786" y="1500"/>
                  </a:lnTo>
                  <a:lnTo>
                    <a:pt x="774" y="1488"/>
                  </a:lnTo>
                  <a:lnTo>
                    <a:pt x="774" y="1482"/>
                  </a:lnTo>
                  <a:lnTo>
                    <a:pt x="762" y="1488"/>
                  </a:lnTo>
                  <a:lnTo>
                    <a:pt x="756" y="1494"/>
                  </a:lnTo>
                  <a:lnTo>
                    <a:pt x="744" y="1500"/>
                  </a:lnTo>
                  <a:lnTo>
                    <a:pt x="732" y="1506"/>
                  </a:lnTo>
                  <a:lnTo>
                    <a:pt x="726" y="1506"/>
                  </a:lnTo>
                  <a:lnTo>
                    <a:pt x="720" y="1506"/>
                  </a:lnTo>
                  <a:lnTo>
                    <a:pt x="702" y="1506"/>
                  </a:lnTo>
                  <a:lnTo>
                    <a:pt x="690" y="1500"/>
                  </a:lnTo>
                  <a:lnTo>
                    <a:pt x="678" y="1500"/>
                  </a:lnTo>
                  <a:lnTo>
                    <a:pt x="672" y="1500"/>
                  </a:lnTo>
                  <a:lnTo>
                    <a:pt x="660" y="1506"/>
                  </a:lnTo>
                  <a:lnTo>
                    <a:pt x="654" y="1506"/>
                  </a:lnTo>
                  <a:lnTo>
                    <a:pt x="648" y="1512"/>
                  </a:lnTo>
                  <a:lnTo>
                    <a:pt x="648" y="1518"/>
                  </a:lnTo>
                  <a:lnTo>
                    <a:pt x="618" y="1518"/>
                  </a:lnTo>
                  <a:lnTo>
                    <a:pt x="534" y="1494"/>
                  </a:lnTo>
                  <a:lnTo>
                    <a:pt x="528" y="1458"/>
                  </a:lnTo>
                  <a:lnTo>
                    <a:pt x="510" y="1458"/>
                  </a:lnTo>
                  <a:lnTo>
                    <a:pt x="492" y="1440"/>
                  </a:lnTo>
                  <a:lnTo>
                    <a:pt x="462" y="1440"/>
                  </a:lnTo>
                  <a:lnTo>
                    <a:pt x="456" y="1428"/>
                  </a:lnTo>
                  <a:lnTo>
                    <a:pt x="420" y="1428"/>
                  </a:lnTo>
                  <a:lnTo>
                    <a:pt x="390" y="1446"/>
                  </a:lnTo>
                  <a:lnTo>
                    <a:pt x="312" y="1452"/>
                  </a:lnTo>
                  <a:lnTo>
                    <a:pt x="300" y="1446"/>
                  </a:lnTo>
                  <a:lnTo>
                    <a:pt x="294" y="1446"/>
                  </a:lnTo>
                  <a:lnTo>
                    <a:pt x="288" y="1446"/>
                  </a:lnTo>
                  <a:lnTo>
                    <a:pt x="282" y="1440"/>
                  </a:lnTo>
                  <a:lnTo>
                    <a:pt x="276" y="1440"/>
                  </a:lnTo>
                  <a:lnTo>
                    <a:pt x="270" y="1440"/>
                  </a:lnTo>
                  <a:lnTo>
                    <a:pt x="264" y="1440"/>
                  </a:lnTo>
                  <a:lnTo>
                    <a:pt x="258" y="1434"/>
                  </a:lnTo>
                  <a:lnTo>
                    <a:pt x="252" y="1434"/>
                  </a:lnTo>
                  <a:lnTo>
                    <a:pt x="246" y="1428"/>
                  </a:lnTo>
                  <a:lnTo>
                    <a:pt x="240" y="1416"/>
                  </a:lnTo>
                  <a:lnTo>
                    <a:pt x="234" y="1404"/>
                  </a:lnTo>
                  <a:lnTo>
                    <a:pt x="228" y="1398"/>
                  </a:lnTo>
                  <a:lnTo>
                    <a:pt x="222" y="1398"/>
                  </a:lnTo>
                  <a:lnTo>
                    <a:pt x="216" y="1404"/>
                  </a:lnTo>
                  <a:lnTo>
                    <a:pt x="210" y="1404"/>
                  </a:lnTo>
                  <a:lnTo>
                    <a:pt x="204" y="1404"/>
                  </a:lnTo>
                  <a:lnTo>
                    <a:pt x="204" y="1398"/>
                  </a:lnTo>
                  <a:lnTo>
                    <a:pt x="198" y="1392"/>
                  </a:lnTo>
                  <a:lnTo>
                    <a:pt x="192" y="1386"/>
                  </a:lnTo>
                  <a:lnTo>
                    <a:pt x="168" y="1374"/>
                  </a:lnTo>
                  <a:lnTo>
                    <a:pt x="144" y="13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0" name="Freeform 35">
              <a:extLst>
                <a:ext uri="{FF2B5EF4-FFF2-40B4-BE49-F238E27FC236}">
                  <a16:creationId xmlns:a16="http://schemas.microsoft.com/office/drawing/2014/main" id="{F64BF16E-9D62-438E-A1CC-CD4088AC7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2895" y="1706004"/>
              <a:ext cx="767013" cy="785011"/>
            </a:xfrm>
            <a:custGeom>
              <a:avLst/>
              <a:gdLst>
                <a:gd name="T0" fmla="*/ 102 w 1440"/>
                <a:gd name="T1" fmla="*/ 104 h 1476"/>
                <a:gd name="T2" fmla="*/ 99 w 1440"/>
                <a:gd name="T3" fmla="*/ 108 h 1476"/>
                <a:gd name="T4" fmla="*/ 98 w 1440"/>
                <a:gd name="T5" fmla="*/ 112 h 1476"/>
                <a:gd name="T6" fmla="*/ 96 w 1440"/>
                <a:gd name="T7" fmla="*/ 116 h 1476"/>
                <a:gd name="T8" fmla="*/ 91 w 1440"/>
                <a:gd name="T9" fmla="*/ 118 h 1476"/>
                <a:gd name="T10" fmla="*/ 87 w 1440"/>
                <a:gd name="T11" fmla="*/ 120 h 1476"/>
                <a:gd name="T12" fmla="*/ 75 w 1440"/>
                <a:gd name="T13" fmla="*/ 120 h 1476"/>
                <a:gd name="T14" fmla="*/ 72 w 1440"/>
                <a:gd name="T15" fmla="*/ 123 h 1476"/>
                <a:gd name="T16" fmla="*/ 69 w 1440"/>
                <a:gd name="T17" fmla="*/ 128 h 1476"/>
                <a:gd name="T18" fmla="*/ 67 w 1440"/>
                <a:gd name="T19" fmla="*/ 127 h 1476"/>
                <a:gd name="T20" fmla="*/ 66 w 1440"/>
                <a:gd name="T21" fmla="*/ 123 h 1476"/>
                <a:gd name="T22" fmla="*/ 63 w 1440"/>
                <a:gd name="T23" fmla="*/ 119 h 1476"/>
                <a:gd name="T24" fmla="*/ 54 w 1440"/>
                <a:gd name="T25" fmla="*/ 114 h 1476"/>
                <a:gd name="T26" fmla="*/ 55 w 1440"/>
                <a:gd name="T27" fmla="*/ 106 h 1476"/>
                <a:gd name="T28" fmla="*/ 60 w 1440"/>
                <a:gd name="T29" fmla="*/ 100 h 1476"/>
                <a:gd name="T30" fmla="*/ 55 w 1440"/>
                <a:gd name="T31" fmla="*/ 91 h 1476"/>
                <a:gd name="T32" fmla="*/ 51 w 1440"/>
                <a:gd name="T33" fmla="*/ 86 h 1476"/>
                <a:gd name="T34" fmla="*/ 47 w 1440"/>
                <a:gd name="T35" fmla="*/ 85 h 1476"/>
                <a:gd name="T36" fmla="*/ 44 w 1440"/>
                <a:gd name="T37" fmla="*/ 82 h 1476"/>
                <a:gd name="T38" fmla="*/ 41 w 1440"/>
                <a:gd name="T39" fmla="*/ 83 h 1476"/>
                <a:gd name="T40" fmla="*/ 36 w 1440"/>
                <a:gd name="T41" fmla="*/ 83 h 1476"/>
                <a:gd name="T42" fmla="*/ 33 w 1440"/>
                <a:gd name="T43" fmla="*/ 83 h 1476"/>
                <a:gd name="T44" fmla="*/ 30 w 1440"/>
                <a:gd name="T45" fmla="*/ 83 h 1476"/>
                <a:gd name="T46" fmla="*/ 27 w 1440"/>
                <a:gd name="T47" fmla="*/ 83 h 1476"/>
                <a:gd name="T48" fmla="*/ 24 w 1440"/>
                <a:gd name="T49" fmla="*/ 82 h 1476"/>
                <a:gd name="T50" fmla="*/ 21 w 1440"/>
                <a:gd name="T51" fmla="*/ 80 h 1476"/>
                <a:gd name="T52" fmla="*/ 18 w 1440"/>
                <a:gd name="T53" fmla="*/ 79 h 1476"/>
                <a:gd name="T54" fmla="*/ 17 w 1440"/>
                <a:gd name="T55" fmla="*/ 78 h 1476"/>
                <a:gd name="T56" fmla="*/ 12 w 1440"/>
                <a:gd name="T57" fmla="*/ 78 h 1476"/>
                <a:gd name="T58" fmla="*/ 12 w 1440"/>
                <a:gd name="T59" fmla="*/ 78 h 1476"/>
                <a:gd name="T60" fmla="*/ 7 w 1440"/>
                <a:gd name="T61" fmla="*/ 80 h 1476"/>
                <a:gd name="T62" fmla="*/ 3 w 1440"/>
                <a:gd name="T63" fmla="*/ 81 h 1476"/>
                <a:gd name="T64" fmla="*/ 0 w 1440"/>
                <a:gd name="T65" fmla="*/ 76 h 1476"/>
                <a:gd name="T66" fmla="*/ 1 w 1440"/>
                <a:gd name="T67" fmla="*/ 50 h 1476"/>
                <a:gd name="T68" fmla="*/ 8 w 1440"/>
                <a:gd name="T69" fmla="*/ 48 h 1476"/>
                <a:gd name="T70" fmla="*/ 20 w 1440"/>
                <a:gd name="T71" fmla="*/ 49 h 1476"/>
                <a:gd name="T72" fmla="*/ 26 w 1440"/>
                <a:gd name="T73" fmla="*/ 50 h 1476"/>
                <a:gd name="T74" fmla="*/ 44 w 1440"/>
                <a:gd name="T75" fmla="*/ 47 h 1476"/>
                <a:gd name="T76" fmla="*/ 41 w 1440"/>
                <a:gd name="T77" fmla="*/ 24 h 1476"/>
                <a:gd name="T78" fmla="*/ 44 w 1440"/>
                <a:gd name="T79" fmla="*/ 20 h 1476"/>
                <a:gd name="T80" fmla="*/ 47 w 1440"/>
                <a:gd name="T81" fmla="*/ 18 h 1476"/>
                <a:gd name="T82" fmla="*/ 54 w 1440"/>
                <a:gd name="T83" fmla="*/ 21 h 1476"/>
                <a:gd name="T84" fmla="*/ 61 w 1440"/>
                <a:gd name="T85" fmla="*/ 23 h 1476"/>
                <a:gd name="T86" fmla="*/ 59 w 1440"/>
                <a:gd name="T87" fmla="*/ 14 h 1476"/>
                <a:gd name="T88" fmla="*/ 61 w 1440"/>
                <a:gd name="T89" fmla="*/ 8 h 1476"/>
                <a:gd name="T90" fmla="*/ 71 w 1440"/>
                <a:gd name="T91" fmla="*/ 7 h 1476"/>
                <a:gd name="T92" fmla="*/ 75 w 1440"/>
                <a:gd name="T93" fmla="*/ 0 h 1476"/>
                <a:gd name="T94" fmla="*/ 82 w 1440"/>
                <a:gd name="T95" fmla="*/ 3 h 1476"/>
                <a:gd name="T96" fmla="*/ 93 w 1440"/>
                <a:gd name="T97" fmla="*/ 5 h 1476"/>
                <a:gd name="T98" fmla="*/ 100 w 1440"/>
                <a:gd name="T99" fmla="*/ 1 h 1476"/>
                <a:gd name="T100" fmla="*/ 104 w 1440"/>
                <a:gd name="T101" fmla="*/ 4 h 1476"/>
                <a:gd name="T102" fmla="*/ 110 w 1440"/>
                <a:gd name="T103" fmla="*/ 10 h 1476"/>
                <a:gd name="T104" fmla="*/ 115 w 1440"/>
                <a:gd name="T105" fmla="*/ 23 h 1476"/>
                <a:gd name="T106" fmla="*/ 117 w 1440"/>
                <a:gd name="T107" fmla="*/ 42 h 1476"/>
                <a:gd name="T108" fmla="*/ 121 w 1440"/>
                <a:gd name="T109" fmla="*/ 52 h 1476"/>
                <a:gd name="T110" fmla="*/ 118 w 1440"/>
                <a:gd name="T111" fmla="*/ 62 h 1476"/>
                <a:gd name="T112" fmla="*/ 124 w 1440"/>
                <a:gd name="T113" fmla="*/ 66 h 1476"/>
                <a:gd name="T114" fmla="*/ 121 w 1440"/>
                <a:gd name="T115" fmla="*/ 71 h 1476"/>
                <a:gd name="T116" fmla="*/ 115 w 1440"/>
                <a:gd name="T117" fmla="*/ 76 h 1476"/>
                <a:gd name="T118" fmla="*/ 109 w 1440"/>
                <a:gd name="T119" fmla="*/ 76 h 1476"/>
                <a:gd name="T120" fmla="*/ 105 w 1440"/>
                <a:gd name="T121" fmla="*/ 86 h 1476"/>
                <a:gd name="T122" fmla="*/ 107 w 1440"/>
                <a:gd name="T123" fmla="*/ 97 h 147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40"/>
                <a:gd name="T187" fmla="*/ 0 h 1476"/>
                <a:gd name="T188" fmla="*/ 1440 w 1440"/>
                <a:gd name="T189" fmla="*/ 1476 h 147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40" h="1476">
                  <a:moveTo>
                    <a:pt x="1212" y="1164"/>
                  </a:moveTo>
                  <a:lnTo>
                    <a:pt x="1206" y="1170"/>
                  </a:lnTo>
                  <a:lnTo>
                    <a:pt x="1200" y="1176"/>
                  </a:lnTo>
                  <a:lnTo>
                    <a:pt x="1194" y="1176"/>
                  </a:lnTo>
                  <a:lnTo>
                    <a:pt x="1188" y="1188"/>
                  </a:lnTo>
                  <a:lnTo>
                    <a:pt x="1182" y="1194"/>
                  </a:lnTo>
                  <a:lnTo>
                    <a:pt x="1176" y="1194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64" y="1206"/>
                  </a:lnTo>
                  <a:lnTo>
                    <a:pt x="1158" y="1206"/>
                  </a:lnTo>
                  <a:lnTo>
                    <a:pt x="1152" y="1212"/>
                  </a:lnTo>
                  <a:lnTo>
                    <a:pt x="1146" y="1212"/>
                  </a:lnTo>
                  <a:lnTo>
                    <a:pt x="1140" y="1224"/>
                  </a:lnTo>
                  <a:lnTo>
                    <a:pt x="1134" y="1230"/>
                  </a:lnTo>
                  <a:lnTo>
                    <a:pt x="1128" y="1236"/>
                  </a:lnTo>
                  <a:lnTo>
                    <a:pt x="1128" y="1242"/>
                  </a:lnTo>
                  <a:lnTo>
                    <a:pt x="1128" y="1254"/>
                  </a:lnTo>
                  <a:lnTo>
                    <a:pt x="1128" y="1260"/>
                  </a:lnTo>
                  <a:lnTo>
                    <a:pt x="1122" y="1260"/>
                  </a:lnTo>
                  <a:lnTo>
                    <a:pt x="1122" y="1266"/>
                  </a:lnTo>
                  <a:lnTo>
                    <a:pt x="1128" y="1278"/>
                  </a:lnTo>
                  <a:lnTo>
                    <a:pt x="1122" y="1278"/>
                  </a:lnTo>
                  <a:lnTo>
                    <a:pt x="1122" y="1284"/>
                  </a:lnTo>
                  <a:lnTo>
                    <a:pt x="1128" y="1290"/>
                  </a:lnTo>
                  <a:lnTo>
                    <a:pt x="1122" y="1296"/>
                  </a:lnTo>
                  <a:lnTo>
                    <a:pt x="1122" y="1302"/>
                  </a:lnTo>
                  <a:lnTo>
                    <a:pt x="1116" y="1302"/>
                  </a:lnTo>
                  <a:lnTo>
                    <a:pt x="1110" y="1314"/>
                  </a:lnTo>
                  <a:lnTo>
                    <a:pt x="1110" y="1320"/>
                  </a:lnTo>
                  <a:lnTo>
                    <a:pt x="1110" y="1326"/>
                  </a:lnTo>
                  <a:lnTo>
                    <a:pt x="1098" y="1332"/>
                  </a:lnTo>
                  <a:lnTo>
                    <a:pt x="1092" y="1338"/>
                  </a:lnTo>
                  <a:lnTo>
                    <a:pt x="1092" y="1344"/>
                  </a:lnTo>
                  <a:lnTo>
                    <a:pt x="1086" y="1350"/>
                  </a:lnTo>
                  <a:lnTo>
                    <a:pt x="1080" y="1350"/>
                  </a:lnTo>
                  <a:lnTo>
                    <a:pt x="1074" y="1350"/>
                  </a:lnTo>
                  <a:lnTo>
                    <a:pt x="1068" y="1356"/>
                  </a:lnTo>
                  <a:lnTo>
                    <a:pt x="1062" y="1356"/>
                  </a:lnTo>
                  <a:lnTo>
                    <a:pt x="1044" y="1356"/>
                  </a:lnTo>
                  <a:lnTo>
                    <a:pt x="1038" y="1362"/>
                  </a:lnTo>
                  <a:lnTo>
                    <a:pt x="1032" y="1368"/>
                  </a:lnTo>
                  <a:lnTo>
                    <a:pt x="1026" y="1368"/>
                  </a:lnTo>
                  <a:lnTo>
                    <a:pt x="1020" y="1374"/>
                  </a:lnTo>
                  <a:lnTo>
                    <a:pt x="1008" y="1374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74"/>
                  </a:lnTo>
                  <a:lnTo>
                    <a:pt x="978" y="1380"/>
                  </a:lnTo>
                  <a:lnTo>
                    <a:pt x="972" y="1380"/>
                  </a:lnTo>
                  <a:lnTo>
                    <a:pt x="954" y="1368"/>
                  </a:lnTo>
                  <a:lnTo>
                    <a:pt x="930" y="1368"/>
                  </a:lnTo>
                  <a:lnTo>
                    <a:pt x="918" y="1368"/>
                  </a:lnTo>
                  <a:lnTo>
                    <a:pt x="906" y="1368"/>
                  </a:lnTo>
                  <a:lnTo>
                    <a:pt x="894" y="1368"/>
                  </a:lnTo>
                  <a:lnTo>
                    <a:pt x="864" y="1374"/>
                  </a:lnTo>
                  <a:lnTo>
                    <a:pt x="852" y="1374"/>
                  </a:lnTo>
                  <a:lnTo>
                    <a:pt x="846" y="1386"/>
                  </a:lnTo>
                  <a:lnTo>
                    <a:pt x="846" y="1392"/>
                  </a:lnTo>
                  <a:lnTo>
                    <a:pt x="840" y="1398"/>
                  </a:lnTo>
                  <a:lnTo>
                    <a:pt x="840" y="1404"/>
                  </a:lnTo>
                  <a:lnTo>
                    <a:pt x="834" y="1416"/>
                  </a:lnTo>
                  <a:lnTo>
                    <a:pt x="828" y="1416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04" y="1428"/>
                  </a:lnTo>
                  <a:lnTo>
                    <a:pt x="804" y="1434"/>
                  </a:lnTo>
                  <a:lnTo>
                    <a:pt x="804" y="1440"/>
                  </a:lnTo>
                  <a:lnTo>
                    <a:pt x="798" y="1446"/>
                  </a:lnTo>
                  <a:lnTo>
                    <a:pt x="798" y="1458"/>
                  </a:lnTo>
                  <a:lnTo>
                    <a:pt x="792" y="1464"/>
                  </a:lnTo>
                  <a:lnTo>
                    <a:pt x="786" y="1476"/>
                  </a:lnTo>
                  <a:lnTo>
                    <a:pt x="780" y="1470"/>
                  </a:lnTo>
                  <a:lnTo>
                    <a:pt x="774" y="1470"/>
                  </a:lnTo>
                  <a:lnTo>
                    <a:pt x="768" y="1470"/>
                  </a:lnTo>
                  <a:lnTo>
                    <a:pt x="762" y="1476"/>
                  </a:lnTo>
                  <a:lnTo>
                    <a:pt x="762" y="1470"/>
                  </a:lnTo>
                  <a:lnTo>
                    <a:pt x="762" y="1464"/>
                  </a:lnTo>
                  <a:lnTo>
                    <a:pt x="762" y="1458"/>
                  </a:lnTo>
                  <a:lnTo>
                    <a:pt x="756" y="1458"/>
                  </a:lnTo>
                  <a:lnTo>
                    <a:pt x="756" y="1452"/>
                  </a:lnTo>
                  <a:lnTo>
                    <a:pt x="756" y="1446"/>
                  </a:lnTo>
                  <a:lnTo>
                    <a:pt x="756" y="1440"/>
                  </a:lnTo>
                  <a:lnTo>
                    <a:pt x="750" y="1434"/>
                  </a:lnTo>
                  <a:lnTo>
                    <a:pt x="750" y="1428"/>
                  </a:lnTo>
                  <a:lnTo>
                    <a:pt x="750" y="1422"/>
                  </a:lnTo>
                  <a:lnTo>
                    <a:pt x="750" y="1416"/>
                  </a:lnTo>
                  <a:lnTo>
                    <a:pt x="744" y="1416"/>
                  </a:lnTo>
                  <a:lnTo>
                    <a:pt x="744" y="1410"/>
                  </a:lnTo>
                  <a:lnTo>
                    <a:pt x="738" y="1404"/>
                  </a:lnTo>
                  <a:lnTo>
                    <a:pt x="732" y="1398"/>
                  </a:lnTo>
                  <a:lnTo>
                    <a:pt x="732" y="1392"/>
                  </a:lnTo>
                  <a:lnTo>
                    <a:pt x="726" y="1386"/>
                  </a:lnTo>
                  <a:lnTo>
                    <a:pt x="726" y="1380"/>
                  </a:lnTo>
                  <a:lnTo>
                    <a:pt x="714" y="1368"/>
                  </a:lnTo>
                  <a:lnTo>
                    <a:pt x="708" y="1368"/>
                  </a:lnTo>
                  <a:lnTo>
                    <a:pt x="684" y="1332"/>
                  </a:lnTo>
                  <a:lnTo>
                    <a:pt x="666" y="1320"/>
                  </a:lnTo>
                  <a:lnTo>
                    <a:pt x="648" y="1302"/>
                  </a:lnTo>
                  <a:lnTo>
                    <a:pt x="630" y="1314"/>
                  </a:lnTo>
                  <a:lnTo>
                    <a:pt x="624" y="1314"/>
                  </a:lnTo>
                  <a:lnTo>
                    <a:pt x="624" y="1308"/>
                  </a:lnTo>
                  <a:lnTo>
                    <a:pt x="618" y="1308"/>
                  </a:lnTo>
                  <a:lnTo>
                    <a:pt x="612" y="1284"/>
                  </a:lnTo>
                  <a:lnTo>
                    <a:pt x="606" y="1254"/>
                  </a:lnTo>
                  <a:lnTo>
                    <a:pt x="606" y="1248"/>
                  </a:lnTo>
                  <a:lnTo>
                    <a:pt x="606" y="1242"/>
                  </a:lnTo>
                  <a:lnTo>
                    <a:pt x="612" y="1242"/>
                  </a:lnTo>
                  <a:lnTo>
                    <a:pt x="618" y="1236"/>
                  </a:lnTo>
                  <a:lnTo>
                    <a:pt x="618" y="1230"/>
                  </a:lnTo>
                  <a:lnTo>
                    <a:pt x="624" y="1224"/>
                  </a:lnTo>
                  <a:lnTo>
                    <a:pt x="630" y="1224"/>
                  </a:lnTo>
                  <a:lnTo>
                    <a:pt x="636" y="1218"/>
                  </a:lnTo>
                  <a:lnTo>
                    <a:pt x="636" y="1212"/>
                  </a:lnTo>
                  <a:lnTo>
                    <a:pt x="612" y="1200"/>
                  </a:lnTo>
                  <a:lnTo>
                    <a:pt x="606" y="1182"/>
                  </a:lnTo>
                  <a:lnTo>
                    <a:pt x="672" y="1182"/>
                  </a:lnTo>
                  <a:lnTo>
                    <a:pt x="690" y="1170"/>
                  </a:lnTo>
                  <a:lnTo>
                    <a:pt x="690" y="1152"/>
                  </a:lnTo>
                  <a:lnTo>
                    <a:pt x="678" y="1110"/>
                  </a:lnTo>
                  <a:lnTo>
                    <a:pt x="672" y="1092"/>
                  </a:lnTo>
                  <a:lnTo>
                    <a:pt x="660" y="1074"/>
                  </a:lnTo>
                  <a:lnTo>
                    <a:pt x="648" y="1068"/>
                  </a:lnTo>
                  <a:lnTo>
                    <a:pt x="642" y="1068"/>
                  </a:lnTo>
                  <a:lnTo>
                    <a:pt x="636" y="1062"/>
                  </a:lnTo>
                  <a:lnTo>
                    <a:pt x="624" y="1056"/>
                  </a:lnTo>
                  <a:lnTo>
                    <a:pt x="624" y="1050"/>
                  </a:lnTo>
                  <a:lnTo>
                    <a:pt x="618" y="1038"/>
                  </a:lnTo>
                  <a:lnTo>
                    <a:pt x="612" y="1038"/>
                  </a:lnTo>
                  <a:lnTo>
                    <a:pt x="612" y="1032"/>
                  </a:lnTo>
                  <a:lnTo>
                    <a:pt x="612" y="1026"/>
                  </a:lnTo>
                  <a:lnTo>
                    <a:pt x="600" y="1014"/>
                  </a:lnTo>
                  <a:lnTo>
                    <a:pt x="582" y="1008"/>
                  </a:lnTo>
                  <a:lnTo>
                    <a:pt x="576" y="1002"/>
                  </a:lnTo>
                  <a:lnTo>
                    <a:pt x="576" y="996"/>
                  </a:lnTo>
                  <a:lnTo>
                    <a:pt x="570" y="996"/>
                  </a:lnTo>
                  <a:lnTo>
                    <a:pt x="570" y="990"/>
                  </a:lnTo>
                  <a:lnTo>
                    <a:pt x="570" y="984"/>
                  </a:lnTo>
                  <a:lnTo>
                    <a:pt x="564" y="984"/>
                  </a:lnTo>
                  <a:lnTo>
                    <a:pt x="558" y="978"/>
                  </a:lnTo>
                  <a:lnTo>
                    <a:pt x="552" y="972"/>
                  </a:lnTo>
                  <a:lnTo>
                    <a:pt x="552" y="966"/>
                  </a:lnTo>
                  <a:lnTo>
                    <a:pt x="546" y="972"/>
                  </a:lnTo>
                  <a:lnTo>
                    <a:pt x="540" y="972"/>
                  </a:lnTo>
                  <a:lnTo>
                    <a:pt x="534" y="960"/>
                  </a:lnTo>
                  <a:lnTo>
                    <a:pt x="528" y="960"/>
                  </a:lnTo>
                  <a:lnTo>
                    <a:pt x="528" y="966"/>
                  </a:lnTo>
                  <a:lnTo>
                    <a:pt x="516" y="954"/>
                  </a:lnTo>
                  <a:lnTo>
                    <a:pt x="516" y="948"/>
                  </a:lnTo>
                  <a:lnTo>
                    <a:pt x="510" y="948"/>
                  </a:lnTo>
                  <a:lnTo>
                    <a:pt x="504" y="948"/>
                  </a:lnTo>
                  <a:lnTo>
                    <a:pt x="498" y="948"/>
                  </a:lnTo>
                  <a:lnTo>
                    <a:pt x="504" y="954"/>
                  </a:lnTo>
                  <a:lnTo>
                    <a:pt x="498" y="954"/>
                  </a:lnTo>
                  <a:lnTo>
                    <a:pt x="492" y="954"/>
                  </a:lnTo>
                  <a:lnTo>
                    <a:pt x="480" y="942"/>
                  </a:lnTo>
                  <a:lnTo>
                    <a:pt x="480" y="948"/>
                  </a:lnTo>
                  <a:lnTo>
                    <a:pt x="480" y="954"/>
                  </a:lnTo>
                  <a:lnTo>
                    <a:pt x="474" y="954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56" y="966"/>
                  </a:lnTo>
                  <a:lnTo>
                    <a:pt x="456" y="960"/>
                  </a:lnTo>
                  <a:lnTo>
                    <a:pt x="450" y="966"/>
                  </a:lnTo>
                  <a:lnTo>
                    <a:pt x="444" y="966"/>
                  </a:lnTo>
                  <a:lnTo>
                    <a:pt x="414" y="966"/>
                  </a:lnTo>
                  <a:lnTo>
                    <a:pt x="408" y="960"/>
                  </a:lnTo>
                  <a:lnTo>
                    <a:pt x="408" y="966"/>
                  </a:lnTo>
                  <a:lnTo>
                    <a:pt x="402" y="960"/>
                  </a:lnTo>
                  <a:lnTo>
                    <a:pt x="396" y="960"/>
                  </a:lnTo>
                  <a:lnTo>
                    <a:pt x="390" y="960"/>
                  </a:lnTo>
                  <a:lnTo>
                    <a:pt x="390" y="966"/>
                  </a:lnTo>
                  <a:lnTo>
                    <a:pt x="384" y="966"/>
                  </a:lnTo>
                  <a:lnTo>
                    <a:pt x="378" y="966"/>
                  </a:lnTo>
                  <a:lnTo>
                    <a:pt x="384" y="960"/>
                  </a:lnTo>
                  <a:lnTo>
                    <a:pt x="384" y="954"/>
                  </a:lnTo>
                  <a:lnTo>
                    <a:pt x="372" y="948"/>
                  </a:lnTo>
                  <a:lnTo>
                    <a:pt x="372" y="954"/>
                  </a:lnTo>
                  <a:lnTo>
                    <a:pt x="372" y="960"/>
                  </a:lnTo>
                  <a:lnTo>
                    <a:pt x="366" y="960"/>
                  </a:lnTo>
                  <a:lnTo>
                    <a:pt x="360" y="966"/>
                  </a:lnTo>
                  <a:lnTo>
                    <a:pt x="354" y="966"/>
                  </a:lnTo>
                  <a:lnTo>
                    <a:pt x="348" y="960"/>
                  </a:lnTo>
                  <a:lnTo>
                    <a:pt x="342" y="960"/>
                  </a:lnTo>
                  <a:lnTo>
                    <a:pt x="342" y="966"/>
                  </a:lnTo>
                  <a:lnTo>
                    <a:pt x="336" y="972"/>
                  </a:lnTo>
                  <a:lnTo>
                    <a:pt x="330" y="972"/>
                  </a:lnTo>
                  <a:lnTo>
                    <a:pt x="324" y="966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6" y="954"/>
                  </a:lnTo>
                  <a:lnTo>
                    <a:pt x="306" y="948"/>
                  </a:lnTo>
                  <a:lnTo>
                    <a:pt x="306" y="942"/>
                  </a:lnTo>
                  <a:lnTo>
                    <a:pt x="300" y="942"/>
                  </a:lnTo>
                  <a:lnTo>
                    <a:pt x="294" y="936"/>
                  </a:lnTo>
                  <a:lnTo>
                    <a:pt x="288" y="936"/>
                  </a:lnTo>
                  <a:lnTo>
                    <a:pt x="282" y="942"/>
                  </a:lnTo>
                  <a:lnTo>
                    <a:pt x="276" y="936"/>
                  </a:lnTo>
                  <a:lnTo>
                    <a:pt x="276" y="942"/>
                  </a:lnTo>
                  <a:lnTo>
                    <a:pt x="270" y="942"/>
                  </a:lnTo>
                  <a:lnTo>
                    <a:pt x="264" y="936"/>
                  </a:lnTo>
                  <a:lnTo>
                    <a:pt x="252" y="936"/>
                  </a:lnTo>
                  <a:lnTo>
                    <a:pt x="246" y="936"/>
                  </a:lnTo>
                  <a:lnTo>
                    <a:pt x="240" y="936"/>
                  </a:lnTo>
                  <a:lnTo>
                    <a:pt x="234" y="936"/>
                  </a:lnTo>
                  <a:lnTo>
                    <a:pt x="240" y="924"/>
                  </a:lnTo>
                  <a:lnTo>
                    <a:pt x="234" y="924"/>
                  </a:lnTo>
                  <a:lnTo>
                    <a:pt x="228" y="918"/>
                  </a:lnTo>
                  <a:lnTo>
                    <a:pt x="228" y="906"/>
                  </a:lnTo>
                  <a:lnTo>
                    <a:pt x="222" y="900"/>
                  </a:lnTo>
                  <a:lnTo>
                    <a:pt x="216" y="900"/>
                  </a:lnTo>
                  <a:lnTo>
                    <a:pt x="210" y="900"/>
                  </a:lnTo>
                  <a:lnTo>
                    <a:pt x="210" y="906"/>
                  </a:lnTo>
                  <a:lnTo>
                    <a:pt x="204" y="906"/>
                  </a:lnTo>
                  <a:lnTo>
                    <a:pt x="198" y="906"/>
                  </a:lnTo>
                  <a:lnTo>
                    <a:pt x="210" y="900"/>
                  </a:lnTo>
                  <a:lnTo>
                    <a:pt x="210" y="894"/>
                  </a:lnTo>
                  <a:lnTo>
                    <a:pt x="216" y="888"/>
                  </a:lnTo>
                  <a:lnTo>
                    <a:pt x="204" y="882"/>
                  </a:lnTo>
                  <a:lnTo>
                    <a:pt x="204" y="894"/>
                  </a:lnTo>
                  <a:lnTo>
                    <a:pt x="198" y="894"/>
                  </a:lnTo>
                  <a:lnTo>
                    <a:pt x="192" y="900"/>
                  </a:lnTo>
                  <a:lnTo>
                    <a:pt x="186" y="894"/>
                  </a:lnTo>
                  <a:lnTo>
                    <a:pt x="180" y="894"/>
                  </a:lnTo>
                  <a:lnTo>
                    <a:pt x="174" y="894"/>
                  </a:lnTo>
                  <a:lnTo>
                    <a:pt x="168" y="900"/>
                  </a:lnTo>
                  <a:lnTo>
                    <a:pt x="162" y="906"/>
                  </a:lnTo>
                  <a:lnTo>
                    <a:pt x="156" y="906"/>
                  </a:lnTo>
                  <a:lnTo>
                    <a:pt x="150" y="900"/>
                  </a:lnTo>
                  <a:lnTo>
                    <a:pt x="144" y="894"/>
                  </a:lnTo>
                  <a:lnTo>
                    <a:pt x="138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0" y="888"/>
                  </a:lnTo>
                  <a:lnTo>
                    <a:pt x="114" y="894"/>
                  </a:lnTo>
                  <a:lnTo>
                    <a:pt x="120" y="900"/>
                  </a:lnTo>
                  <a:lnTo>
                    <a:pt x="126" y="900"/>
                  </a:lnTo>
                  <a:lnTo>
                    <a:pt x="132" y="900"/>
                  </a:lnTo>
                  <a:lnTo>
                    <a:pt x="132" y="906"/>
                  </a:lnTo>
                  <a:lnTo>
                    <a:pt x="126" y="912"/>
                  </a:lnTo>
                  <a:lnTo>
                    <a:pt x="126" y="918"/>
                  </a:lnTo>
                  <a:lnTo>
                    <a:pt x="114" y="918"/>
                  </a:lnTo>
                  <a:lnTo>
                    <a:pt x="108" y="924"/>
                  </a:lnTo>
                  <a:lnTo>
                    <a:pt x="102" y="924"/>
                  </a:lnTo>
                  <a:lnTo>
                    <a:pt x="90" y="924"/>
                  </a:lnTo>
                  <a:lnTo>
                    <a:pt x="84" y="924"/>
                  </a:lnTo>
                  <a:lnTo>
                    <a:pt x="78" y="924"/>
                  </a:lnTo>
                  <a:lnTo>
                    <a:pt x="60" y="924"/>
                  </a:lnTo>
                  <a:lnTo>
                    <a:pt x="54" y="942"/>
                  </a:lnTo>
                  <a:lnTo>
                    <a:pt x="48" y="936"/>
                  </a:lnTo>
                  <a:lnTo>
                    <a:pt x="42" y="930"/>
                  </a:lnTo>
                  <a:lnTo>
                    <a:pt x="36" y="930"/>
                  </a:lnTo>
                  <a:lnTo>
                    <a:pt x="30" y="936"/>
                  </a:lnTo>
                  <a:lnTo>
                    <a:pt x="30" y="930"/>
                  </a:lnTo>
                  <a:lnTo>
                    <a:pt x="30" y="924"/>
                  </a:lnTo>
                  <a:lnTo>
                    <a:pt x="18" y="918"/>
                  </a:lnTo>
                  <a:lnTo>
                    <a:pt x="18" y="912"/>
                  </a:lnTo>
                  <a:lnTo>
                    <a:pt x="12" y="912"/>
                  </a:lnTo>
                  <a:lnTo>
                    <a:pt x="6" y="912"/>
                  </a:lnTo>
                  <a:lnTo>
                    <a:pt x="6" y="900"/>
                  </a:lnTo>
                  <a:lnTo>
                    <a:pt x="6" y="894"/>
                  </a:lnTo>
                  <a:lnTo>
                    <a:pt x="0" y="870"/>
                  </a:lnTo>
                  <a:lnTo>
                    <a:pt x="6" y="846"/>
                  </a:lnTo>
                  <a:lnTo>
                    <a:pt x="6" y="810"/>
                  </a:lnTo>
                  <a:lnTo>
                    <a:pt x="12" y="774"/>
                  </a:lnTo>
                  <a:lnTo>
                    <a:pt x="12" y="756"/>
                  </a:lnTo>
                  <a:lnTo>
                    <a:pt x="18" y="744"/>
                  </a:lnTo>
                  <a:lnTo>
                    <a:pt x="18" y="732"/>
                  </a:lnTo>
                  <a:lnTo>
                    <a:pt x="12" y="576"/>
                  </a:lnTo>
                  <a:lnTo>
                    <a:pt x="12" y="570"/>
                  </a:lnTo>
                  <a:lnTo>
                    <a:pt x="18" y="564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42" y="552"/>
                  </a:lnTo>
                  <a:lnTo>
                    <a:pt x="66" y="552"/>
                  </a:lnTo>
                  <a:lnTo>
                    <a:pt x="78" y="558"/>
                  </a:lnTo>
                  <a:lnTo>
                    <a:pt x="90" y="558"/>
                  </a:lnTo>
                  <a:lnTo>
                    <a:pt x="108" y="558"/>
                  </a:lnTo>
                  <a:lnTo>
                    <a:pt x="144" y="558"/>
                  </a:lnTo>
                  <a:lnTo>
                    <a:pt x="204" y="552"/>
                  </a:lnTo>
                  <a:lnTo>
                    <a:pt x="210" y="558"/>
                  </a:lnTo>
                  <a:lnTo>
                    <a:pt x="216" y="558"/>
                  </a:lnTo>
                  <a:lnTo>
                    <a:pt x="210" y="564"/>
                  </a:lnTo>
                  <a:lnTo>
                    <a:pt x="216" y="564"/>
                  </a:lnTo>
                  <a:lnTo>
                    <a:pt x="222" y="564"/>
                  </a:lnTo>
                  <a:lnTo>
                    <a:pt x="240" y="564"/>
                  </a:lnTo>
                  <a:lnTo>
                    <a:pt x="258" y="564"/>
                  </a:lnTo>
                  <a:lnTo>
                    <a:pt x="264" y="570"/>
                  </a:lnTo>
                  <a:lnTo>
                    <a:pt x="276" y="570"/>
                  </a:lnTo>
                  <a:lnTo>
                    <a:pt x="282" y="564"/>
                  </a:lnTo>
                  <a:lnTo>
                    <a:pt x="294" y="564"/>
                  </a:lnTo>
                  <a:lnTo>
                    <a:pt x="294" y="570"/>
                  </a:lnTo>
                  <a:lnTo>
                    <a:pt x="300" y="570"/>
                  </a:lnTo>
                  <a:lnTo>
                    <a:pt x="378" y="564"/>
                  </a:lnTo>
                  <a:lnTo>
                    <a:pt x="408" y="558"/>
                  </a:lnTo>
                  <a:lnTo>
                    <a:pt x="432" y="552"/>
                  </a:lnTo>
                  <a:lnTo>
                    <a:pt x="450" y="546"/>
                  </a:lnTo>
                  <a:lnTo>
                    <a:pt x="468" y="546"/>
                  </a:lnTo>
                  <a:lnTo>
                    <a:pt x="468" y="552"/>
                  </a:lnTo>
                  <a:lnTo>
                    <a:pt x="504" y="552"/>
                  </a:lnTo>
                  <a:lnTo>
                    <a:pt x="510" y="534"/>
                  </a:lnTo>
                  <a:lnTo>
                    <a:pt x="516" y="510"/>
                  </a:lnTo>
                  <a:lnTo>
                    <a:pt x="522" y="510"/>
                  </a:lnTo>
                  <a:lnTo>
                    <a:pt x="528" y="420"/>
                  </a:lnTo>
                  <a:lnTo>
                    <a:pt x="522" y="414"/>
                  </a:lnTo>
                  <a:lnTo>
                    <a:pt x="516" y="396"/>
                  </a:lnTo>
                  <a:lnTo>
                    <a:pt x="510" y="372"/>
                  </a:lnTo>
                  <a:lnTo>
                    <a:pt x="498" y="348"/>
                  </a:lnTo>
                  <a:lnTo>
                    <a:pt x="474" y="282"/>
                  </a:lnTo>
                  <a:lnTo>
                    <a:pt x="474" y="270"/>
                  </a:lnTo>
                  <a:lnTo>
                    <a:pt x="480" y="258"/>
                  </a:lnTo>
                  <a:lnTo>
                    <a:pt x="486" y="258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92" y="246"/>
                  </a:lnTo>
                  <a:lnTo>
                    <a:pt x="504" y="234"/>
                  </a:lnTo>
                  <a:lnTo>
                    <a:pt x="510" y="228"/>
                  </a:lnTo>
                  <a:lnTo>
                    <a:pt x="516" y="228"/>
                  </a:lnTo>
                  <a:lnTo>
                    <a:pt x="516" y="222"/>
                  </a:lnTo>
                  <a:lnTo>
                    <a:pt x="516" y="216"/>
                  </a:lnTo>
                  <a:lnTo>
                    <a:pt x="522" y="216"/>
                  </a:lnTo>
                  <a:lnTo>
                    <a:pt x="528" y="210"/>
                  </a:lnTo>
                  <a:lnTo>
                    <a:pt x="534" y="210"/>
                  </a:lnTo>
                  <a:lnTo>
                    <a:pt x="540" y="210"/>
                  </a:lnTo>
                  <a:lnTo>
                    <a:pt x="546" y="210"/>
                  </a:lnTo>
                  <a:lnTo>
                    <a:pt x="552" y="210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16"/>
                  </a:lnTo>
                  <a:lnTo>
                    <a:pt x="588" y="228"/>
                  </a:lnTo>
                  <a:lnTo>
                    <a:pt x="594" y="234"/>
                  </a:lnTo>
                  <a:lnTo>
                    <a:pt x="600" y="240"/>
                  </a:lnTo>
                  <a:lnTo>
                    <a:pt x="618" y="246"/>
                  </a:lnTo>
                  <a:lnTo>
                    <a:pt x="624" y="246"/>
                  </a:lnTo>
                  <a:lnTo>
                    <a:pt x="636" y="252"/>
                  </a:lnTo>
                  <a:lnTo>
                    <a:pt x="654" y="252"/>
                  </a:lnTo>
                  <a:lnTo>
                    <a:pt x="654" y="258"/>
                  </a:lnTo>
                  <a:lnTo>
                    <a:pt x="666" y="264"/>
                  </a:lnTo>
                  <a:lnTo>
                    <a:pt x="672" y="264"/>
                  </a:lnTo>
                  <a:lnTo>
                    <a:pt x="678" y="264"/>
                  </a:lnTo>
                  <a:lnTo>
                    <a:pt x="696" y="258"/>
                  </a:lnTo>
                  <a:lnTo>
                    <a:pt x="696" y="252"/>
                  </a:lnTo>
                  <a:lnTo>
                    <a:pt x="696" y="246"/>
                  </a:lnTo>
                  <a:lnTo>
                    <a:pt x="690" y="234"/>
                  </a:lnTo>
                  <a:lnTo>
                    <a:pt x="684" y="210"/>
                  </a:lnTo>
                  <a:lnTo>
                    <a:pt x="678" y="192"/>
                  </a:lnTo>
                  <a:lnTo>
                    <a:pt x="672" y="174"/>
                  </a:lnTo>
                  <a:lnTo>
                    <a:pt x="672" y="168"/>
                  </a:lnTo>
                  <a:lnTo>
                    <a:pt x="672" y="162"/>
                  </a:lnTo>
                  <a:lnTo>
                    <a:pt x="672" y="156"/>
                  </a:lnTo>
                  <a:lnTo>
                    <a:pt x="684" y="132"/>
                  </a:lnTo>
                  <a:lnTo>
                    <a:pt x="684" y="120"/>
                  </a:lnTo>
                  <a:lnTo>
                    <a:pt x="684" y="108"/>
                  </a:lnTo>
                  <a:lnTo>
                    <a:pt x="678" y="102"/>
                  </a:lnTo>
                  <a:lnTo>
                    <a:pt x="678" y="96"/>
                  </a:lnTo>
                  <a:lnTo>
                    <a:pt x="684" y="96"/>
                  </a:lnTo>
                  <a:lnTo>
                    <a:pt x="696" y="90"/>
                  </a:lnTo>
                  <a:lnTo>
                    <a:pt x="702" y="84"/>
                  </a:lnTo>
                  <a:lnTo>
                    <a:pt x="720" y="72"/>
                  </a:lnTo>
                  <a:lnTo>
                    <a:pt x="738" y="66"/>
                  </a:lnTo>
                  <a:lnTo>
                    <a:pt x="756" y="60"/>
                  </a:lnTo>
                  <a:lnTo>
                    <a:pt x="768" y="60"/>
                  </a:lnTo>
                  <a:lnTo>
                    <a:pt x="798" y="72"/>
                  </a:lnTo>
                  <a:lnTo>
                    <a:pt x="804" y="78"/>
                  </a:lnTo>
                  <a:lnTo>
                    <a:pt x="816" y="84"/>
                  </a:lnTo>
                  <a:lnTo>
                    <a:pt x="822" y="84"/>
                  </a:lnTo>
                  <a:lnTo>
                    <a:pt x="828" y="72"/>
                  </a:lnTo>
                  <a:lnTo>
                    <a:pt x="828" y="60"/>
                  </a:lnTo>
                  <a:lnTo>
                    <a:pt x="828" y="36"/>
                  </a:lnTo>
                  <a:lnTo>
                    <a:pt x="828" y="24"/>
                  </a:lnTo>
                  <a:lnTo>
                    <a:pt x="828" y="12"/>
                  </a:lnTo>
                  <a:lnTo>
                    <a:pt x="834" y="12"/>
                  </a:lnTo>
                  <a:lnTo>
                    <a:pt x="852" y="6"/>
                  </a:lnTo>
                  <a:lnTo>
                    <a:pt x="876" y="6"/>
                  </a:lnTo>
                  <a:lnTo>
                    <a:pt x="894" y="6"/>
                  </a:lnTo>
                  <a:lnTo>
                    <a:pt x="906" y="12"/>
                  </a:lnTo>
                  <a:lnTo>
                    <a:pt x="912" y="24"/>
                  </a:lnTo>
                  <a:lnTo>
                    <a:pt x="924" y="24"/>
                  </a:lnTo>
                  <a:lnTo>
                    <a:pt x="930" y="30"/>
                  </a:lnTo>
                  <a:lnTo>
                    <a:pt x="936" y="30"/>
                  </a:lnTo>
                  <a:lnTo>
                    <a:pt x="936" y="36"/>
                  </a:lnTo>
                  <a:lnTo>
                    <a:pt x="942" y="36"/>
                  </a:lnTo>
                  <a:lnTo>
                    <a:pt x="948" y="42"/>
                  </a:lnTo>
                  <a:lnTo>
                    <a:pt x="960" y="48"/>
                  </a:lnTo>
                  <a:lnTo>
                    <a:pt x="966" y="48"/>
                  </a:lnTo>
                  <a:lnTo>
                    <a:pt x="1026" y="60"/>
                  </a:lnTo>
                  <a:lnTo>
                    <a:pt x="1050" y="60"/>
                  </a:lnTo>
                  <a:lnTo>
                    <a:pt x="1050" y="54"/>
                  </a:lnTo>
                  <a:lnTo>
                    <a:pt x="1062" y="54"/>
                  </a:lnTo>
                  <a:lnTo>
                    <a:pt x="1074" y="48"/>
                  </a:lnTo>
                  <a:lnTo>
                    <a:pt x="1086" y="42"/>
                  </a:lnTo>
                  <a:lnTo>
                    <a:pt x="1104" y="36"/>
                  </a:lnTo>
                  <a:lnTo>
                    <a:pt x="1116" y="30"/>
                  </a:lnTo>
                  <a:lnTo>
                    <a:pt x="1122" y="24"/>
                  </a:lnTo>
                  <a:lnTo>
                    <a:pt x="1128" y="18"/>
                  </a:lnTo>
                  <a:lnTo>
                    <a:pt x="1134" y="18"/>
                  </a:lnTo>
                  <a:lnTo>
                    <a:pt x="1140" y="12"/>
                  </a:lnTo>
                  <a:lnTo>
                    <a:pt x="1146" y="6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24"/>
                  </a:lnTo>
                  <a:lnTo>
                    <a:pt x="1176" y="36"/>
                  </a:lnTo>
                  <a:lnTo>
                    <a:pt x="1188" y="42"/>
                  </a:lnTo>
                  <a:lnTo>
                    <a:pt x="1200" y="54"/>
                  </a:lnTo>
                  <a:lnTo>
                    <a:pt x="1224" y="84"/>
                  </a:lnTo>
                  <a:lnTo>
                    <a:pt x="1224" y="90"/>
                  </a:lnTo>
                  <a:lnTo>
                    <a:pt x="1236" y="96"/>
                  </a:lnTo>
                  <a:lnTo>
                    <a:pt x="1236" y="108"/>
                  </a:lnTo>
                  <a:lnTo>
                    <a:pt x="1248" y="114"/>
                  </a:lnTo>
                  <a:lnTo>
                    <a:pt x="1254" y="114"/>
                  </a:lnTo>
                  <a:lnTo>
                    <a:pt x="1260" y="114"/>
                  </a:lnTo>
                  <a:lnTo>
                    <a:pt x="1296" y="114"/>
                  </a:lnTo>
                  <a:lnTo>
                    <a:pt x="1302" y="114"/>
                  </a:lnTo>
                  <a:lnTo>
                    <a:pt x="1320" y="108"/>
                  </a:lnTo>
                  <a:lnTo>
                    <a:pt x="1326" y="108"/>
                  </a:lnTo>
                  <a:lnTo>
                    <a:pt x="1326" y="138"/>
                  </a:lnTo>
                  <a:lnTo>
                    <a:pt x="1326" y="210"/>
                  </a:lnTo>
                  <a:lnTo>
                    <a:pt x="1320" y="252"/>
                  </a:lnTo>
                  <a:lnTo>
                    <a:pt x="1320" y="270"/>
                  </a:lnTo>
                  <a:lnTo>
                    <a:pt x="1320" y="288"/>
                  </a:lnTo>
                  <a:lnTo>
                    <a:pt x="1320" y="318"/>
                  </a:lnTo>
                  <a:lnTo>
                    <a:pt x="1326" y="354"/>
                  </a:lnTo>
                  <a:lnTo>
                    <a:pt x="1326" y="372"/>
                  </a:lnTo>
                  <a:lnTo>
                    <a:pt x="1332" y="420"/>
                  </a:lnTo>
                  <a:lnTo>
                    <a:pt x="1332" y="450"/>
                  </a:lnTo>
                  <a:lnTo>
                    <a:pt x="1338" y="480"/>
                  </a:lnTo>
                  <a:lnTo>
                    <a:pt x="1344" y="486"/>
                  </a:lnTo>
                  <a:lnTo>
                    <a:pt x="1338" y="492"/>
                  </a:lnTo>
                  <a:lnTo>
                    <a:pt x="1344" y="492"/>
                  </a:lnTo>
                  <a:lnTo>
                    <a:pt x="1344" y="498"/>
                  </a:lnTo>
                  <a:lnTo>
                    <a:pt x="1350" y="498"/>
                  </a:lnTo>
                  <a:lnTo>
                    <a:pt x="1350" y="522"/>
                  </a:lnTo>
                  <a:lnTo>
                    <a:pt x="1362" y="564"/>
                  </a:lnTo>
                  <a:lnTo>
                    <a:pt x="1368" y="582"/>
                  </a:lnTo>
                  <a:lnTo>
                    <a:pt x="1380" y="600"/>
                  </a:lnTo>
                  <a:lnTo>
                    <a:pt x="1386" y="636"/>
                  </a:lnTo>
                  <a:lnTo>
                    <a:pt x="1380" y="660"/>
                  </a:lnTo>
                  <a:lnTo>
                    <a:pt x="1380" y="678"/>
                  </a:lnTo>
                  <a:lnTo>
                    <a:pt x="1380" y="684"/>
                  </a:lnTo>
                  <a:lnTo>
                    <a:pt x="1374" y="684"/>
                  </a:lnTo>
                  <a:lnTo>
                    <a:pt x="1368" y="690"/>
                  </a:lnTo>
                  <a:lnTo>
                    <a:pt x="1356" y="702"/>
                  </a:lnTo>
                  <a:lnTo>
                    <a:pt x="1350" y="708"/>
                  </a:lnTo>
                  <a:lnTo>
                    <a:pt x="1356" y="714"/>
                  </a:lnTo>
                  <a:lnTo>
                    <a:pt x="1368" y="726"/>
                  </a:lnTo>
                  <a:lnTo>
                    <a:pt x="1380" y="738"/>
                  </a:lnTo>
                  <a:lnTo>
                    <a:pt x="1386" y="744"/>
                  </a:lnTo>
                  <a:lnTo>
                    <a:pt x="1392" y="744"/>
                  </a:lnTo>
                  <a:lnTo>
                    <a:pt x="1410" y="750"/>
                  </a:lnTo>
                  <a:lnTo>
                    <a:pt x="1416" y="756"/>
                  </a:lnTo>
                  <a:lnTo>
                    <a:pt x="1422" y="756"/>
                  </a:lnTo>
                  <a:lnTo>
                    <a:pt x="1422" y="762"/>
                  </a:lnTo>
                  <a:lnTo>
                    <a:pt x="1428" y="774"/>
                  </a:lnTo>
                  <a:lnTo>
                    <a:pt x="1428" y="780"/>
                  </a:lnTo>
                  <a:lnTo>
                    <a:pt x="1434" y="780"/>
                  </a:lnTo>
                  <a:lnTo>
                    <a:pt x="1440" y="798"/>
                  </a:lnTo>
                  <a:lnTo>
                    <a:pt x="1422" y="816"/>
                  </a:lnTo>
                  <a:lnTo>
                    <a:pt x="1386" y="810"/>
                  </a:lnTo>
                  <a:lnTo>
                    <a:pt x="1380" y="816"/>
                  </a:lnTo>
                  <a:lnTo>
                    <a:pt x="1374" y="840"/>
                  </a:lnTo>
                  <a:lnTo>
                    <a:pt x="1350" y="852"/>
                  </a:lnTo>
                  <a:lnTo>
                    <a:pt x="1350" y="858"/>
                  </a:lnTo>
                  <a:lnTo>
                    <a:pt x="1350" y="864"/>
                  </a:lnTo>
                  <a:lnTo>
                    <a:pt x="1344" y="864"/>
                  </a:lnTo>
                  <a:lnTo>
                    <a:pt x="1338" y="870"/>
                  </a:lnTo>
                  <a:lnTo>
                    <a:pt x="1332" y="876"/>
                  </a:lnTo>
                  <a:lnTo>
                    <a:pt x="1314" y="876"/>
                  </a:lnTo>
                  <a:lnTo>
                    <a:pt x="1314" y="870"/>
                  </a:lnTo>
                  <a:lnTo>
                    <a:pt x="1308" y="870"/>
                  </a:lnTo>
                  <a:lnTo>
                    <a:pt x="1302" y="864"/>
                  </a:lnTo>
                  <a:lnTo>
                    <a:pt x="1296" y="864"/>
                  </a:lnTo>
                  <a:lnTo>
                    <a:pt x="1284" y="870"/>
                  </a:lnTo>
                  <a:lnTo>
                    <a:pt x="1266" y="870"/>
                  </a:lnTo>
                  <a:lnTo>
                    <a:pt x="1260" y="870"/>
                  </a:lnTo>
                  <a:lnTo>
                    <a:pt x="1248" y="876"/>
                  </a:lnTo>
                  <a:lnTo>
                    <a:pt x="1236" y="876"/>
                  </a:lnTo>
                  <a:lnTo>
                    <a:pt x="1230" y="882"/>
                  </a:lnTo>
                  <a:lnTo>
                    <a:pt x="1224" y="894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18" y="942"/>
                  </a:lnTo>
                  <a:lnTo>
                    <a:pt x="1212" y="948"/>
                  </a:lnTo>
                  <a:lnTo>
                    <a:pt x="1200" y="984"/>
                  </a:lnTo>
                  <a:lnTo>
                    <a:pt x="1194" y="1008"/>
                  </a:lnTo>
                  <a:lnTo>
                    <a:pt x="1218" y="1038"/>
                  </a:lnTo>
                  <a:lnTo>
                    <a:pt x="1224" y="1044"/>
                  </a:lnTo>
                  <a:lnTo>
                    <a:pt x="1224" y="1062"/>
                  </a:lnTo>
                  <a:lnTo>
                    <a:pt x="1236" y="1080"/>
                  </a:lnTo>
                  <a:lnTo>
                    <a:pt x="1236" y="1086"/>
                  </a:lnTo>
                  <a:lnTo>
                    <a:pt x="1230" y="1092"/>
                  </a:lnTo>
                  <a:lnTo>
                    <a:pt x="1224" y="1110"/>
                  </a:lnTo>
                  <a:lnTo>
                    <a:pt x="1218" y="1122"/>
                  </a:lnTo>
                  <a:lnTo>
                    <a:pt x="1224" y="1140"/>
                  </a:lnTo>
                  <a:lnTo>
                    <a:pt x="1218" y="1146"/>
                  </a:lnTo>
                  <a:lnTo>
                    <a:pt x="1218" y="1152"/>
                  </a:lnTo>
                  <a:lnTo>
                    <a:pt x="1212" y="116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1" name="Freeform 36">
              <a:extLst>
                <a:ext uri="{FF2B5EF4-FFF2-40B4-BE49-F238E27FC236}">
                  <a16:creationId xmlns:a16="http://schemas.microsoft.com/office/drawing/2014/main" id="{B9C0D6BE-CB1C-4E69-B224-1ABF097AA8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90208" y="1647855"/>
              <a:ext cx="742415" cy="758173"/>
            </a:xfrm>
            <a:custGeom>
              <a:avLst/>
              <a:gdLst>
                <a:gd name="T0" fmla="*/ 75 w 1398"/>
                <a:gd name="T1" fmla="*/ 48 h 1428"/>
                <a:gd name="T2" fmla="*/ 68 w 1398"/>
                <a:gd name="T3" fmla="*/ 54 h 1428"/>
                <a:gd name="T4" fmla="*/ 57 w 1398"/>
                <a:gd name="T5" fmla="*/ 59 h 1428"/>
                <a:gd name="T6" fmla="*/ 55 w 1398"/>
                <a:gd name="T7" fmla="*/ 68 h 1428"/>
                <a:gd name="T8" fmla="*/ 55 w 1398"/>
                <a:gd name="T9" fmla="*/ 77 h 1428"/>
                <a:gd name="T10" fmla="*/ 57 w 1398"/>
                <a:gd name="T11" fmla="*/ 81 h 1428"/>
                <a:gd name="T12" fmla="*/ 56 w 1398"/>
                <a:gd name="T13" fmla="*/ 86 h 1428"/>
                <a:gd name="T14" fmla="*/ 57 w 1398"/>
                <a:gd name="T15" fmla="*/ 89 h 1428"/>
                <a:gd name="T16" fmla="*/ 58 w 1398"/>
                <a:gd name="T17" fmla="*/ 92 h 1428"/>
                <a:gd name="T18" fmla="*/ 58 w 1398"/>
                <a:gd name="T19" fmla="*/ 96 h 1428"/>
                <a:gd name="T20" fmla="*/ 49 w 1398"/>
                <a:gd name="T21" fmla="*/ 100 h 1428"/>
                <a:gd name="T22" fmla="*/ 47 w 1398"/>
                <a:gd name="T23" fmla="*/ 108 h 1428"/>
                <a:gd name="T24" fmla="*/ 48 w 1398"/>
                <a:gd name="T25" fmla="*/ 113 h 1428"/>
                <a:gd name="T26" fmla="*/ 43 w 1398"/>
                <a:gd name="T27" fmla="*/ 114 h 1428"/>
                <a:gd name="T28" fmla="*/ 39 w 1398"/>
                <a:gd name="T29" fmla="*/ 113 h 1428"/>
                <a:gd name="T30" fmla="*/ 33 w 1398"/>
                <a:gd name="T31" fmla="*/ 109 h 1428"/>
                <a:gd name="T32" fmla="*/ 29 w 1398"/>
                <a:gd name="T33" fmla="*/ 114 h 1428"/>
                <a:gd name="T34" fmla="*/ 22 w 1398"/>
                <a:gd name="T35" fmla="*/ 115 h 1428"/>
                <a:gd name="T36" fmla="*/ 21 w 1398"/>
                <a:gd name="T37" fmla="*/ 121 h 1428"/>
                <a:gd name="T38" fmla="*/ 12 w 1398"/>
                <a:gd name="T39" fmla="*/ 119 h 1428"/>
                <a:gd name="T40" fmla="*/ 9 w 1398"/>
                <a:gd name="T41" fmla="*/ 113 h 1428"/>
                <a:gd name="T42" fmla="*/ 2 w 1398"/>
                <a:gd name="T43" fmla="*/ 109 h 1428"/>
                <a:gd name="T44" fmla="*/ 4 w 1398"/>
                <a:gd name="T45" fmla="*/ 103 h 1428"/>
                <a:gd name="T46" fmla="*/ 2 w 1398"/>
                <a:gd name="T47" fmla="*/ 91 h 1428"/>
                <a:gd name="T48" fmla="*/ 6 w 1398"/>
                <a:gd name="T49" fmla="*/ 85 h 1428"/>
                <a:gd name="T50" fmla="*/ 10 w 1398"/>
                <a:gd name="T51" fmla="*/ 85 h 1428"/>
                <a:gd name="T52" fmla="*/ 15 w 1398"/>
                <a:gd name="T53" fmla="*/ 82 h 1428"/>
                <a:gd name="T54" fmla="*/ 20 w 1398"/>
                <a:gd name="T55" fmla="*/ 77 h 1428"/>
                <a:gd name="T56" fmla="*/ 16 w 1398"/>
                <a:gd name="T57" fmla="*/ 73 h 1428"/>
                <a:gd name="T58" fmla="*/ 16 w 1398"/>
                <a:gd name="T59" fmla="*/ 69 h 1428"/>
                <a:gd name="T60" fmla="*/ 14 w 1398"/>
                <a:gd name="T61" fmla="*/ 54 h 1428"/>
                <a:gd name="T62" fmla="*/ 12 w 1398"/>
                <a:gd name="T63" fmla="*/ 48 h 1428"/>
                <a:gd name="T64" fmla="*/ 11 w 1398"/>
                <a:gd name="T65" fmla="*/ 31 h 1428"/>
                <a:gd name="T66" fmla="*/ 14 w 1398"/>
                <a:gd name="T67" fmla="*/ 18 h 1428"/>
                <a:gd name="T68" fmla="*/ 19 w 1398"/>
                <a:gd name="T69" fmla="*/ 15 h 1428"/>
                <a:gd name="T70" fmla="*/ 26 w 1398"/>
                <a:gd name="T71" fmla="*/ 13 h 1428"/>
                <a:gd name="T72" fmla="*/ 34 w 1398"/>
                <a:gd name="T73" fmla="*/ 12 h 1428"/>
                <a:gd name="T74" fmla="*/ 39 w 1398"/>
                <a:gd name="T75" fmla="*/ 9 h 1428"/>
                <a:gd name="T76" fmla="*/ 43 w 1398"/>
                <a:gd name="T77" fmla="*/ 7 h 1428"/>
                <a:gd name="T78" fmla="*/ 48 w 1398"/>
                <a:gd name="T79" fmla="*/ 3 h 1428"/>
                <a:gd name="T80" fmla="*/ 54 w 1398"/>
                <a:gd name="T81" fmla="*/ 0 h 1428"/>
                <a:gd name="T82" fmla="*/ 58 w 1398"/>
                <a:gd name="T83" fmla="*/ 0 h 1428"/>
                <a:gd name="T84" fmla="*/ 66 w 1398"/>
                <a:gd name="T85" fmla="*/ 2 h 1428"/>
                <a:gd name="T86" fmla="*/ 70 w 1398"/>
                <a:gd name="T87" fmla="*/ 3 h 1428"/>
                <a:gd name="T88" fmla="*/ 75 w 1398"/>
                <a:gd name="T89" fmla="*/ 6 h 1428"/>
                <a:gd name="T90" fmla="*/ 80 w 1398"/>
                <a:gd name="T91" fmla="*/ 9 h 1428"/>
                <a:gd name="T92" fmla="*/ 83 w 1398"/>
                <a:gd name="T93" fmla="*/ 12 h 1428"/>
                <a:gd name="T94" fmla="*/ 87 w 1398"/>
                <a:gd name="T95" fmla="*/ 15 h 1428"/>
                <a:gd name="T96" fmla="*/ 94 w 1398"/>
                <a:gd name="T97" fmla="*/ 15 h 1428"/>
                <a:gd name="T98" fmla="*/ 99 w 1398"/>
                <a:gd name="T99" fmla="*/ 21 h 1428"/>
                <a:gd name="T100" fmla="*/ 103 w 1398"/>
                <a:gd name="T101" fmla="*/ 23 h 1428"/>
                <a:gd name="T102" fmla="*/ 110 w 1398"/>
                <a:gd name="T103" fmla="*/ 26 h 1428"/>
                <a:gd name="T104" fmla="*/ 116 w 1398"/>
                <a:gd name="T105" fmla="*/ 27 h 1428"/>
                <a:gd name="T106" fmla="*/ 120 w 1398"/>
                <a:gd name="T107" fmla="*/ 27 h 1428"/>
                <a:gd name="T108" fmla="*/ 116 w 1398"/>
                <a:gd name="T109" fmla="*/ 35 h 1428"/>
                <a:gd name="T110" fmla="*/ 104 w 1398"/>
                <a:gd name="T111" fmla="*/ 37 h 1428"/>
                <a:gd name="T112" fmla="*/ 97 w 1398"/>
                <a:gd name="T113" fmla="*/ 34 h 1428"/>
                <a:gd name="T114" fmla="*/ 91 w 1398"/>
                <a:gd name="T115" fmla="*/ 29 h 1428"/>
                <a:gd name="T116" fmla="*/ 75 w 1398"/>
                <a:gd name="T117" fmla="*/ 29 h 1428"/>
                <a:gd name="T118" fmla="*/ 72 w 1398"/>
                <a:gd name="T119" fmla="*/ 39 h 1428"/>
                <a:gd name="T120" fmla="*/ 80 w 1398"/>
                <a:gd name="T121" fmla="*/ 41 h 142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98"/>
                <a:gd name="T184" fmla="*/ 0 h 1428"/>
                <a:gd name="T185" fmla="*/ 1398 w 1398"/>
                <a:gd name="T186" fmla="*/ 1428 h 142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98" h="1428">
                  <a:moveTo>
                    <a:pt x="924" y="474"/>
                  </a:moveTo>
                  <a:lnTo>
                    <a:pt x="900" y="480"/>
                  </a:lnTo>
                  <a:lnTo>
                    <a:pt x="864" y="486"/>
                  </a:lnTo>
                  <a:lnTo>
                    <a:pt x="864" y="504"/>
                  </a:lnTo>
                  <a:lnTo>
                    <a:pt x="858" y="522"/>
                  </a:lnTo>
                  <a:lnTo>
                    <a:pt x="864" y="528"/>
                  </a:lnTo>
                  <a:lnTo>
                    <a:pt x="864" y="552"/>
                  </a:lnTo>
                  <a:lnTo>
                    <a:pt x="852" y="552"/>
                  </a:lnTo>
                  <a:lnTo>
                    <a:pt x="846" y="564"/>
                  </a:lnTo>
                  <a:lnTo>
                    <a:pt x="840" y="582"/>
                  </a:lnTo>
                  <a:lnTo>
                    <a:pt x="834" y="594"/>
                  </a:lnTo>
                  <a:lnTo>
                    <a:pt x="828" y="606"/>
                  </a:lnTo>
                  <a:lnTo>
                    <a:pt x="828" y="618"/>
                  </a:lnTo>
                  <a:lnTo>
                    <a:pt x="786" y="630"/>
                  </a:lnTo>
                  <a:lnTo>
                    <a:pt x="774" y="636"/>
                  </a:lnTo>
                  <a:lnTo>
                    <a:pt x="762" y="642"/>
                  </a:lnTo>
                  <a:lnTo>
                    <a:pt x="744" y="648"/>
                  </a:lnTo>
                  <a:lnTo>
                    <a:pt x="714" y="660"/>
                  </a:lnTo>
                  <a:lnTo>
                    <a:pt x="696" y="666"/>
                  </a:lnTo>
                  <a:lnTo>
                    <a:pt x="666" y="672"/>
                  </a:lnTo>
                  <a:lnTo>
                    <a:pt x="654" y="684"/>
                  </a:lnTo>
                  <a:lnTo>
                    <a:pt x="648" y="684"/>
                  </a:lnTo>
                  <a:lnTo>
                    <a:pt x="642" y="696"/>
                  </a:lnTo>
                  <a:lnTo>
                    <a:pt x="636" y="696"/>
                  </a:lnTo>
                  <a:lnTo>
                    <a:pt x="630" y="714"/>
                  </a:lnTo>
                  <a:lnTo>
                    <a:pt x="624" y="738"/>
                  </a:lnTo>
                  <a:lnTo>
                    <a:pt x="624" y="762"/>
                  </a:lnTo>
                  <a:lnTo>
                    <a:pt x="630" y="780"/>
                  </a:lnTo>
                  <a:lnTo>
                    <a:pt x="636" y="804"/>
                  </a:lnTo>
                  <a:lnTo>
                    <a:pt x="642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6" y="834"/>
                  </a:lnTo>
                  <a:lnTo>
                    <a:pt x="636" y="870"/>
                  </a:lnTo>
                  <a:lnTo>
                    <a:pt x="636" y="882"/>
                  </a:lnTo>
                  <a:lnTo>
                    <a:pt x="636" y="906"/>
                  </a:lnTo>
                  <a:lnTo>
                    <a:pt x="630" y="906"/>
                  </a:lnTo>
                  <a:lnTo>
                    <a:pt x="636" y="918"/>
                  </a:lnTo>
                  <a:lnTo>
                    <a:pt x="642" y="918"/>
                  </a:lnTo>
                  <a:lnTo>
                    <a:pt x="642" y="930"/>
                  </a:lnTo>
                  <a:lnTo>
                    <a:pt x="648" y="936"/>
                  </a:lnTo>
                  <a:lnTo>
                    <a:pt x="654" y="936"/>
                  </a:lnTo>
                  <a:lnTo>
                    <a:pt x="654" y="942"/>
                  </a:lnTo>
                  <a:lnTo>
                    <a:pt x="654" y="948"/>
                  </a:lnTo>
                  <a:lnTo>
                    <a:pt x="648" y="954"/>
                  </a:lnTo>
                  <a:lnTo>
                    <a:pt x="648" y="960"/>
                  </a:lnTo>
                  <a:lnTo>
                    <a:pt x="648" y="966"/>
                  </a:lnTo>
                  <a:lnTo>
                    <a:pt x="648" y="972"/>
                  </a:lnTo>
                  <a:lnTo>
                    <a:pt x="648" y="990"/>
                  </a:lnTo>
                  <a:lnTo>
                    <a:pt x="654" y="996"/>
                  </a:lnTo>
                  <a:lnTo>
                    <a:pt x="648" y="1002"/>
                  </a:lnTo>
                  <a:lnTo>
                    <a:pt x="648" y="1008"/>
                  </a:lnTo>
                  <a:lnTo>
                    <a:pt x="654" y="1014"/>
                  </a:lnTo>
                  <a:lnTo>
                    <a:pt x="654" y="1020"/>
                  </a:lnTo>
                  <a:lnTo>
                    <a:pt x="654" y="1026"/>
                  </a:lnTo>
                  <a:lnTo>
                    <a:pt x="660" y="1026"/>
                  </a:lnTo>
                  <a:lnTo>
                    <a:pt x="660" y="1032"/>
                  </a:lnTo>
                  <a:lnTo>
                    <a:pt x="660" y="1038"/>
                  </a:lnTo>
                  <a:lnTo>
                    <a:pt x="666" y="1044"/>
                  </a:lnTo>
                  <a:lnTo>
                    <a:pt x="672" y="1050"/>
                  </a:lnTo>
                  <a:lnTo>
                    <a:pt x="672" y="1056"/>
                  </a:lnTo>
                  <a:lnTo>
                    <a:pt x="672" y="1062"/>
                  </a:lnTo>
                  <a:lnTo>
                    <a:pt x="672" y="1068"/>
                  </a:lnTo>
                  <a:lnTo>
                    <a:pt x="672" y="1074"/>
                  </a:lnTo>
                  <a:lnTo>
                    <a:pt x="678" y="1074"/>
                  </a:lnTo>
                  <a:lnTo>
                    <a:pt x="678" y="1080"/>
                  </a:lnTo>
                  <a:lnTo>
                    <a:pt x="678" y="1086"/>
                  </a:lnTo>
                  <a:lnTo>
                    <a:pt x="672" y="1092"/>
                  </a:lnTo>
                  <a:lnTo>
                    <a:pt x="672" y="1098"/>
                  </a:lnTo>
                  <a:lnTo>
                    <a:pt x="672" y="1104"/>
                  </a:lnTo>
                  <a:lnTo>
                    <a:pt x="666" y="1116"/>
                  </a:lnTo>
                  <a:lnTo>
                    <a:pt x="624" y="1122"/>
                  </a:lnTo>
                  <a:lnTo>
                    <a:pt x="576" y="1134"/>
                  </a:lnTo>
                  <a:lnTo>
                    <a:pt x="570" y="1140"/>
                  </a:lnTo>
                  <a:lnTo>
                    <a:pt x="570" y="1146"/>
                  </a:lnTo>
                  <a:lnTo>
                    <a:pt x="564" y="1146"/>
                  </a:lnTo>
                  <a:lnTo>
                    <a:pt x="564" y="1152"/>
                  </a:lnTo>
                  <a:lnTo>
                    <a:pt x="564" y="1164"/>
                  </a:lnTo>
                  <a:lnTo>
                    <a:pt x="564" y="1170"/>
                  </a:lnTo>
                  <a:lnTo>
                    <a:pt x="564" y="1176"/>
                  </a:lnTo>
                  <a:lnTo>
                    <a:pt x="546" y="1176"/>
                  </a:lnTo>
                  <a:lnTo>
                    <a:pt x="540" y="1212"/>
                  </a:lnTo>
                  <a:lnTo>
                    <a:pt x="540" y="1230"/>
                  </a:lnTo>
                  <a:lnTo>
                    <a:pt x="546" y="1242"/>
                  </a:lnTo>
                  <a:lnTo>
                    <a:pt x="546" y="1254"/>
                  </a:lnTo>
                  <a:lnTo>
                    <a:pt x="558" y="1266"/>
                  </a:lnTo>
                  <a:lnTo>
                    <a:pt x="576" y="1272"/>
                  </a:lnTo>
                  <a:lnTo>
                    <a:pt x="570" y="1278"/>
                  </a:lnTo>
                  <a:lnTo>
                    <a:pt x="576" y="1284"/>
                  </a:lnTo>
                  <a:lnTo>
                    <a:pt x="570" y="1296"/>
                  </a:lnTo>
                  <a:lnTo>
                    <a:pt x="558" y="1302"/>
                  </a:lnTo>
                  <a:lnTo>
                    <a:pt x="540" y="1308"/>
                  </a:lnTo>
                  <a:lnTo>
                    <a:pt x="522" y="1314"/>
                  </a:lnTo>
                  <a:lnTo>
                    <a:pt x="516" y="1314"/>
                  </a:lnTo>
                  <a:lnTo>
                    <a:pt x="510" y="1314"/>
                  </a:lnTo>
                  <a:lnTo>
                    <a:pt x="504" y="1314"/>
                  </a:lnTo>
                  <a:lnTo>
                    <a:pt x="498" y="1320"/>
                  </a:lnTo>
                  <a:lnTo>
                    <a:pt x="492" y="1320"/>
                  </a:lnTo>
                  <a:lnTo>
                    <a:pt x="492" y="1326"/>
                  </a:lnTo>
                  <a:lnTo>
                    <a:pt x="486" y="1326"/>
                  </a:lnTo>
                  <a:lnTo>
                    <a:pt x="480" y="1326"/>
                  </a:lnTo>
                  <a:lnTo>
                    <a:pt x="480" y="1320"/>
                  </a:lnTo>
                  <a:lnTo>
                    <a:pt x="468" y="1314"/>
                  </a:lnTo>
                  <a:lnTo>
                    <a:pt x="462" y="1308"/>
                  </a:lnTo>
                  <a:lnTo>
                    <a:pt x="456" y="1302"/>
                  </a:lnTo>
                  <a:lnTo>
                    <a:pt x="444" y="1296"/>
                  </a:lnTo>
                  <a:lnTo>
                    <a:pt x="420" y="1290"/>
                  </a:lnTo>
                  <a:lnTo>
                    <a:pt x="414" y="1278"/>
                  </a:lnTo>
                  <a:lnTo>
                    <a:pt x="408" y="1278"/>
                  </a:lnTo>
                  <a:lnTo>
                    <a:pt x="408" y="1266"/>
                  </a:lnTo>
                  <a:lnTo>
                    <a:pt x="402" y="1260"/>
                  </a:lnTo>
                  <a:lnTo>
                    <a:pt x="384" y="1260"/>
                  </a:lnTo>
                  <a:lnTo>
                    <a:pt x="372" y="1266"/>
                  </a:lnTo>
                  <a:lnTo>
                    <a:pt x="360" y="1272"/>
                  </a:lnTo>
                  <a:lnTo>
                    <a:pt x="348" y="1272"/>
                  </a:lnTo>
                  <a:lnTo>
                    <a:pt x="342" y="1284"/>
                  </a:lnTo>
                  <a:lnTo>
                    <a:pt x="336" y="1290"/>
                  </a:lnTo>
                  <a:lnTo>
                    <a:pt x="336" y="1308"/>
                  </a:lnTo>
                  <a:lnTo>
                    <a:pt x="336" y="1314"/>
                  </a:lnTo>
                  <a:lnTo>
                    <a:pt x="336" y="1320"/>
                  </a:lnTo>
                  <a:lnTo>
                    <a:pt x="330" y="1326"/>
                  </a:lnTo>
                  <a:lnTo>
                    <a:pt x="330" y="1332"/>
                  </a:lnTo>
                  <a:lnTo>
                    <a:pt x="330" y="1338"/>
                  </a:lnTo>
                  <a:lnTo>
                    <a:pt x="300" y="1338"/>
                  </a:lnTo>
                  <a:lnTo>
                    <a:pt x="288" y="1338"/>
                  </a:lnTo>
                  <a:lnTo>
                    <a:pt x="258" y="1326"/>
                  </a:lnTo>
                  <a:lnTo>
                    <a:pt x="246" y="1332"/>
                  </a:lnTo>
                  <a:lnTo>
                    <a:pt x="240" y="1338"/>
                  </a:lnTo>
                  <a:lnTo>
                    <a:pt x="234" y="1338"/>
                  </a:lnTo>
                  <a:lnTo>
                    <a:pt x="228" y="1350"/>
                  </a:lnTo>
                  <a:lnTo>
                    <a:pt x="228" y="1374"/>
                  </a:lnTo>
                  <a:lnTo>
                    <a:pt x="234" y="1392"/>
                  </a:lnTo>
                  <a:lnTo>
                    <a:pt x="246" y="1398"/>
                  </a:lnTo>
                  <a:lnTo>
                    <a:pt x="246" y="1410"/>
                  </a:lnTo>
                  <a:lnTo>
                    <a:pt x="216" y="1428"/>
                  </a:lnTo>
                  <a:lnTo>
                    <a:pt x="198" y="1428"/>
                  </a:lnTo>
                  <a:lnTo>
                    <a:pt x="192" y="1422"/>
                  </a:lnTo>
                  <a:lnTo>
                    <a:pt x="174" y="1410"/>
                  </a:lnTo>
                  <a:lnTo>
                    <a:pt x="156" y="1386"/>
                  </a:lnTo>
                  <a:lnTo>
                    <a:pt x="132" y="1374"/>
                  </a:lnTo>
                  <a:lnTo>
                    <a:pt x="108" y="1368"/>
                  </a:lnTo>
                  <a:lnTo>
                    <a:pt x="84" y="1368"/>
                  </a:lnTo>
                  <a:lnTo>
                    <a:pt x="96" y="1356"/>
                  </a:lnTo>
                  <a:lnTo>
                    <a:pt x="102" y="1344"/>
                  </a:lnTo>
                  <a:lnTo>
                    <a:pt x="102" y="1332"/>
                  </a:lnTo>
                  <a:lnTo>
                    <a:pt x="108" y="1320"/>
                  </a:lnTo>
                  <a:lnTo>
                    <a:pt x="108" y="1302"/>
                  </a:lnTo>
                  <a:lnTo>
                    <a:pt x="96" y="1278"/>
                  </a:lnTo>
                  <a:lnTo>
                    <a:pt x="66" y="1284"/>
                  </a:lnTo>
                  <a:lnTo>
                    <a:pt x="54" y="1278"/>
                  </a:lnTo>
                  <a:lnTo>
                    <a:pt x="36" y="1278"/>
                  </a:lnTo>
                  <a:lnTo>
                    <a:pt x="18" y="1284"/>
                  </a:lnTo>
                  <a:lnTo>
                    <a:pt x="18" y="1272"/>
                  </a:lnTo>
                  <a:lnTo>
                    <a:pt x="24" y="1260"/>
                  </a:lnTo>
                  <a:lnTo>
                    <a:pt x="24" y="1254"/>
                  </a:lnTo>
                  <a:lnTo>
                    <a:pt x="30" y="1248"/>
                  </a:lnTo>
                  <a:lnTo>
                    <a:pt x="24" y="1230"/>
                  </a:lnTo>
                  <a:lnTo>
                    <a:pt x="30" y="1218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30" y="1170"/>
                  </a:lnTo>
                  <a:lnTo>
                    <a:pt x="30" y="1152"/>
                  </a:lnTo>
                  <a:lnTo>
                    <a:pt x="24" y="1146"/>
                  </a:lnTo>
                  <a:lnTo>
                    <a:pt x="0" y="1116"/>
                  </a:lnTo>
                  <a:lnTo>
                    <a:pt x="6" y="1092"/>
                  </a:lnTo>
                  <a:lnTo>
                    <a:pt x="18" y="1056"/>
                  </a:lnTo>
                  <a:lnTo>
                    <a:pt x="24" y="1050"/>
                  </a:lnTo>
                  <a:lnTo>
                    <a:pt x="24" y="1038"/>
                  </a:lnTo>
                  <a:lnTo>
                    <a:pt x="24" y="1026"/>
                  </a:lnTo>
                  <a:lnTo>
                    <a:pt x="30" y="1002"/>
                  </a:lnTo>
                  <a:lnTo>
                    <a:pt x="36" y="990"/>
                  </a:lnTo>
                  <a:lnTo>
                    <a:pt x="42" y="984"/>
                  </a:lnTo>
                  <a:lnTo>
                    <a:pt x="54" y="984"/>
                  </a:lnTo>
                  <a:lnTo>
                    <a:pt x="66" y="978"/>
                  </a:lnTo>
                  <a:lnTo>
                    <a:pt x="72" y="978"/>
                  </a:lnTo>
                  <a:lnTo>
                    <a:pt x="90" y="978"/>
                  </a:lnTo>
                  <a:lnTo>
                    <a:pt x="102" y="972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78"/>
                  </a:lnTo>
                  <a:lnTo>
                    <a:pt x="120" y="984"/>
                  </a:lnTo>
                  <a:lnTo>
                    <a:pt x="138" y="984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6" y="972"/>
                  </a:lnTo>
                  <a:lnTo>
                    <a:pt x="156" y="966"/>
                  </a:lnTo>
                  <a:lnTo>
                    <a:pt x="156" y="960"/>
                  </a:lnTo>
                  <a:lnTo>
                    <a:pt x="180" y="948"/>
                  </a:lnTo>
                  <a:lnTo>
                    <a:pt x="186" y="924"/>
                  </a:lnTo>
                  <a:lnTo>
                    <a:pt x="192" y="918"/>
                  </a:lnTo>
                  <a:lnTo>
                    <a:pt x="228" y="924"/>
                  </a:lnTo>
                  <a:lnTo>
                    <a:pt x="246" y="906"/>
                  </a:lnTo>
                  <a:lnTo>
                    <a:pt x="240" y="888"/>
                  </a:lnTo>
                  <a:lnTo>
                    <a:pt x="234" y="888"/>
                  </a:lnTo>
                  <a:lnTo>
                    <a:pt x="234" y="882"/>
                  </a:lnTo>
                  <a:lnTo>
                    <a:pt x="228" y="870"/>
                  </a:lnTo>
                  <a:lnTo>
                    <a:pt x="228" y="864"/>
                  </a:lnTo>
                  <a:lnTo>
                    <a:pt x="222" y="864"/>
                  </a:lnTo>
                  <a:lnTo>
                    <a:pt x="216" y="858"/>
                  </a:lnTo>
                  <a:lnTo>
                    <a:pt x="198" y="852"/>
                  </a:lnTo>
                  <a:lnTo>
                    <a:pt x="192" y="852"/>
                  </a:lnTo>
                  <a:lnTo>
                    <a:pt x="186" y="846"/>
                  </a:lnTo>
                  <a:lnTo>
                    <a:pt x="174" y="834"/>
                  </a:lnTo>
                  <a:lnTo>
                    <a:pt x="162" y="822"/>
                  </a:lnTo>
                  <a:lnTo>
                    <a:pt x="156" y="816"/>
                  </a:lnTo>
                  <a:lnTo>
                    <a:pt x="162" y="810"/>
                  </a:lnTo>
                  <a:lnTo>
                    <a:pt x="174" y="798"/>
                  </a:lnTo>
                  <a:lnTo>
                    <a:pt x="180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68"/>
                  </a:lnTo>
                  <a:lnTo>
                    <a:pt x="192" y="744"/>
                  </a:lnTo>
                  <a:lnTo>
                    <a:pt x="186" y="708"/>
                  </a:lnTo>
                  <a:lnTo>
                    <a:pt x="174" y="690"/>
                  </a:lnTo>
                  <a:lnTo>
                    <a:pt x="168" y="672"/>
                  </a:lnTo>
                  <a:lnTo>
                    <a:pt x="156" y="630"/>
                  </a:lnTo>
                  <a:lnTo>
                    <a:pt x="156" y="606"/>
                  </a:lnTo>
                  <a:lnTo>
                    <a:pt x="150" y="606"/>
                  </a:lnTo>
                  <a:lnTo>
                    <a:pt x="150" y="600"/>
                  </a:lnTo>
                  <a:lnTo>
                    <a:pt x="144" y="600"/>
                  </a:lnTo>
                  <a:lnTo>
                    <a:pt x="150" y="594"/>
                  </a:lnTo>
                  <a:lnTo>
                    <a:pt x="144" y="588"/>
                  </a:lnTo>
                  <a:lnTo>
                    <a:pt x="138" y="558"/>
                  </a:lnTo>
                  <a:lnTo>
                    <a:pt x="138" y="528"/>
                  </a:lnTo>
                  <a:lnTo>
                    <a:pt x="132" y="480"/>
                  </a:lnTo>
                  <a:lnTo>
                    <a:pt x="132" y="462"/>
                  </a:lnTo>
                  <a:lnTo>
                    <a:pt x="126" y="426"/>
                  </a:lnTo>
                  <a:lnTo>
                    <a:pt x="126" y="396"/>
                  </a:lnTo>
                  <a:lnTo>
                    <a:pt x="126" y="378"/>
                  </a:lnTo>
                  <a:lnTo>
                    <a:pt x="126" y="360"/>
                  </a:lnTo>
                  <a:lnTo>
                    <a:pt x="132" y="318"/>
                  </a:lnTo>
                  <a:lnTo>
                    <a:pt x="132" y="24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2" y="210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92" y="198"/>
                  </a:lnTo>
                  <a:lnTo>
                    <a:pt x="198" y="198"/>
                  </a:lnTo>
                  <a:lnTo>
                    <a:pt x="216" y="180"/>
                  </a:lnTo>
                  <a:lnTo>
                    <a:pt x="222" y="174"/>
                  </a:lnTo>
                  <a:lnTo>
                    <a:pt x="222" y="168"/>
                  </a:lnTo>
                  <a:lnTo>
                    <a:pt x="228" y="168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44"/>
                  </a:lnTo>
                  <a:lnTo>
                    <a:pt x="258" y="144"/>
                  </a:lnTo>
                  <a:lnTo>
                    <a:pt x="276" y="150"/>
                  </a:lnTo>
                  <a:lnTo>
                    <a:pt x="300" y="150"/>
                  </a:lnTo>
                  <a:lnTo>
                    <a:pt x="312" y="150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8" y="156"/>
                  </a:lnTo>
                  <a:lnTo>
                    <a:pt x="354" y="150"/>
                  </a:lnTo>
                  <a:lnTo>
                    <a:pt x="372" y="144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08" y="126"/>
                  </a:lnTo>
                  <a:lnTo>
                    <a:pt x="414" y="120"/>
                  </a:lnTo>
                  <a:lnTo>
                    <a:pt x="420" y="120"/>
                  </a:lnTo>
                  <a:lnTo>
                    <a:pt x="426" y="120"/>
                  </a:lnTo>
                  <a:lnTo>
                    <a:pt x="432" y="114"/>
                  </a:lnTo>
                  <a:lnTo>
                    <a:pt x="450" y="102"/>
                  </a:lnTo>
                  <a:lnTo>
                    <a:pt x="456" y="96"/>
                  </a:lnTo>
                  <a:lnTo>
                    <a:pt x="468" y="90"/>
                  </a:lnTo>
                  <a:lnTo>
                    <a:pt x="474" y="90"/>
                  </a:lnTo>
                  <a:lnTo>
                    <a:pt x="480" y="84"/>
                  </a:lnTo>
                  <a:lnTo>
                    <a:pt x="486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504" y="72"/>
                  </a:lnTo>
                  <a:lnTo>
                    <a:pt x="510" y="66"/>
                  </a:lnTo>
                  <a:lnTo>
                    <a:pt x="516" y="66"/>
                  </a:lnTo>
                  <a:lnTo>
                    <a:pt x="522" y="60"/>
                  </a:lnTo>
                  <a:lnTo>
                    <a:pt x="552" y="42"/>
                  </a:lnTo>
                  <a:lnTo>
                    <a:pt x="558" y="36"/>
                  </a:lnTo>
                  <a:lnTo>
                    <a:pt x="576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94" y="18"/>
                  </a:lnTo>
                  <a:lnTo>
                    <a:pt x="600" y="12"/>
                  </a:lnTo>
                  <a:lnTo>
                    <a:pt x="612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6"/>
                  </a:lnTo>
                  <a:lnTo>
                    <a:pt x="648" y="6"/>
                  </a:lnTo>
                  <a:lnTo>
                    <a:pt x="660" y="6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38" y="18"/>
                  </a:lnTo>
                  <a:lnTo>
                    <a:pt x="744" y="18"/>
                  </a:lnTo>
                  <a:lnTo>
                    <a:pt x="756" y="18"/>
                  </a:lnTo>
                  <a:lnTo>
                    <a:pt x="762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80" y="24"/>
                  </a:lnTo>
                  <a:lnTo>
                    <a:pt x="792" y="24"/>
                  </a:lnTo>
                  <a:lnTo>
                    <a:pt x="792" y="30"/>
                  </a:lnTo>
                  <a:lnTo>
                    <a:pt x="810" y="30"/>
                  </a:lnTo>
                  <a:lnTo>
                    <a:pt x="822" y="36"/>
                  </a:lnTo>
                  <a:lnTo>
                    <a:pt x="834" y="42"/>
                  </a:lnTo>
                  <a:lnTo>
                    <a:pt x="840" y="48"/>
                  </a:lnTo>
                  <a:lnTo>
                    <a:pt x="846" y="54"/>
                  </a:lnTo>
                  <a:lnTo>
                    <a:pt x="852" y="60"/>
                  </a:lnTo>
                  <a:lnTo>
                    <a:pt x="858" y="66"/>
                  </a:lnTo>
                  <a:lnTo>
                    <a:pt x="864" y="66"/>
                  </a:lnTo>
                  <a:lnTo>
                    <a:pt x="864" y="72"/>
                  </a:lnTo>
                  <a:lnTo>
                    <a:pt x="876" y="78"/>
                  </a:lnTo>
                  <a:lnTo>
                    <a:pt x="900" y="84"/>
                  </a:lnTo>
                  <a:lnTo>
                    <a:pt x="906" y="90"/>
                  </a:lnTo>
                  <a:lnTo>
                    <a:pt x="912" y="90"/>
                  </a:lnTo>
                  <a:lnTo>
                    <a:pt x="912" y="96"/>
                  </a:lnTo>
                  <a:lnTo>
                    <a:pt x="924" y="108"/>
                  </a:lnTo>
                  <a:lnTo>
                    <a:pt x="930" y="108"/>
                  </a:lnTo>
                  <a:lnTo>
                    <a:pt x="936" y="114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60" y="138"/>
                  </a:lnTo>
                  <a:lnTo>
                    <a:pt x="966" y="144"/>
                  </a:lnTo>
                  <a:lnTo>
                    <a:pt x="972" y="156"/>
                  </a:lnTo>
                  <a:lnTo>
                    <a:pt x="978" y="162"/>
                  </a:lnTo>
                  <a:lnTo>
                    <a:pt x="984" y="162"/>
                  </a:lnTo>
                  <a:lnTo>
                    <a:pt x="990" y="168"/>
                  </a:lnTo>
                  <a:lnTo>
                    <a:pt x="996" y="174"/>
                  </a:lnTo>
                  <a:lnTo>
                    <a:pt x="1002" y="180"/>
                  </a:lnTo>
                  <a:lnTo>
                    <a:pt x="1008" y="180"/>
                  </a:lnTo>
                  <a:lnTo>
                    <a:pt x="1020" y="180"/>
                  </a:lnTo>
                  <a:lnTo>
                    <a:pt x="1038" y="174"/>
                  </a:lnTo>
                  <a:lnTo>
                    <a:pt x="1050" y="174"/>
                  </a:lnTo>
                  <a:lnTo>
                    <a:pt x="1056" y="174"/>
                  </a:lnTo>
                  <a:lnTo>
                    <a:pt x="1068" y="180"/>
                  </a:lnTo>
                  <a:lnTo>
                    <a:pt x="1080" y="180"/>
                  </a:lnTo>
                  <a:lnTo>
                    <a:pt x="1086" y="186"/>
                  </a:lnTo>
                  <a:lnTo>
                    <a:pt x="1098" y="192"/>
                  </a:lnTo>
                  <a:lnTo>
                    <a:pt x="1116" y="204"/>
                  </a:lnTo>
                  <a:lnTo>
                    <a:pt x="1122" y="210"/>
                  </a:lnTo>
                  <a:lnTo>
                    <a:pt x="1134" y="222"/>
                  </a:lnTo>
                  <a:lnTo>
                    <a:pt x="1146" y="234"/>
                  </a:lnTo>
                  <a:lnTo>
                    <a:pt x="1146" y="240"/>
                  </a:lnTo>
                  <a:lnTo>
                    <a:pt x="1152" y="246"/>
                  </a:lnTo>
                  <a:lnTo>
                    <a:pt x="1152" y="252"/>
                  </a:lnTo>
                  <a:lnTo>
                    <a:pt x="1152" y="258"/>
                  </a:lnTo>
                  <a:lnTo>
                    <a:pt x="1164" y="258"/>
                  </a:lnTo>
                  <a:lnTo>
                    <a:pt x="1170" y="264"/>
                  </a:lnTo>
                  <a:lnTo>
                    <a:pt x="1182" y="270"/>
                  </a:lnTo>
                  <a:lnTo>
                    <a:pt x="1188" y="270"/>
                  </a:lnTo>
                  <a:lnTo>
                    <a:pt x="1194" y="270"/>
                  </a:lnTo>
                  <a:lnTo>
                    <a:pt x="1206" y="276"/>
                  </a:lnTo>
                  <a:lnTo>
                    <a:pt x="1224" y="282"/>
                  </a:lnTo>
                  <a:lnTo>
                    <a:pt x="1236" y="282"/>
                  </a:lnTo>
                  <a:lnTo>
                    <a:pt x="1242" y="288"/>
                  </a:lnTo>
                  <a:lnTo>
                    <a:pt x="1254" y="288"/>
                  </a:lnTo>
                  <a:lnTo>
                    <a:pt x="1266" y="294"/>
                  </a:lnTo>
                  <a:lnTo>
                    <a:pt x="1272" y="294"/>
                  </a:lnTo>
                  <a:lnTo>
                    <a:pt x="1284" y="300"/>
                  </a:lnTo>
                  <a:lnTo>
                    <a:pt x="1290" y="300"/>
                  </a:lnTo>
                  <a:lnTo>
                    <a:pt x="1296" y="300"/>
                  </a:lnTo>
                  <a:lnTo>
                    <a:pt x="1302" y="306"/>
                  </a:lnTo>
                  <a:lnTo>
                    <a:pt x="1326" y="312"/>
                  </a:lnTo>
                  <a:lnTo>
                    <a:pt x="1338" y="312"/>
                  </a:lnTo>
                  <a:lnTo>
                    <a:pt x="1338" y="318"/>
                  </a:lnTo>
                  <a:lnTo>
                    <a:pt x="1344" y="318"/>
                  </a:lnTo>
                  <a:lnTo>
                    <a:pt x="1350" y="318"/>
                  </a:lnTo>
                  <a:lnTo>
                    <a:pt x="1362" y="324"/>
                  </a:lnTo>
                  <a:lnTo>
                    <a:pt x="1368" y="318"/>
                  </a:lnTo>
                  <a:lnTo>
                    <a:pt x="1374" y="318"/>
                  </a:lnTo>
                  <a:lnTo>
                    <a:pt x="1386" y="318"/>
                  </a:lnTo>
                  <a:lnTo>
                    <a:pt x="1398" y="324"/>
                  </a:lnTo>
                  <a:lnTo>
                    <a:pt x="1398" y="342"/>
                  </a:lnTo>
                  <a:lnTo>
                    <a:pt x="1356" y="342"/>
                  </a:lnTo>
                  <a:lnTo>
                    <a:pt x="1350" y="348"/>
                  </a:lnTo>
                  <a:lnTo>
                    <a:pt x="1350" y="372"/>
                  </a:lnTo>
                  <a:lnTo>
                    <a:pt x="1338" y="384"/>
                  </a:lnTo>
                  <a:lnTo>
                    <a:pt x="1332" y="408"/>
                  </a:lnTo>
                  <a:lnTo>
                    <a:pt x="1320" y="420"/>
                  </a:lnTo>
                  <a:lnTo>
                    <a:pt x="1254" y="426"/>
                  </a:lnTo>
                  <a:lnTo>
                    <a:pt x="1248" y="432"/>
                  </a:lnTo>
                  <a:lnTo>
                    <a:pt x="1230" y="432"/>
                  </a:lnTo>
                  <a:lnTo>
                    <a:pt x="1212" y="432"/>
                  </a:lnTo>
                  <a:lnTo>
                    <a:pt x="1212" y="426"/>
                  </a:lnTo>
                  <a:lnTo>
                    <a:pt x="1200" y="426"/>
                  </a:lnTo>
                  <a:lnTo>
                    <a:pt x="1182" y="414"/>
                  </a:lnTo>
                  <a:lnTo>
                    <a:pt x="1182" y="420"/>
                  </a:lnTo>
                  <a:lnTo>
                    <a:pt x="1164" y="420"/>
                  </a:lnTo>
                  <a:lnTo>
                    <a:pt x="1158" y="414"/>
                  </a:lnTo>
                  <a:lnTo>
                    <a:pt x="1152" y="408"/>
                  </a:lnTo>
                  <a:lnTo>
                    <a:pt x="1146" y="402"/>
                  </a:lnTo>
                  <a:lnTo>
                    <a:pt x="1122" y="396"/>
                  </a:lnTo>
                  <a:lnTo>
                    <a:pt x="1116" y="366"/>
                  </a:lnTo>
                  <a:lnTo>
                    <a:pt x="1116" y="348"/>
                  </a:lnTo>
                  <a:lnTo>
                    <a:pt x="1110" y="342"/>
                  </a:lnTo>
                  <a:lnTo>
                    <a:pt x="1104" y="336"/>
                  </a:lnTo>
                  <a:lnTo>
                    <a:pt x="1092" y="330"/>
                  </a:lnTo>
                  <a:lnTo>
                    <a:pt x="1074" y="330"/>
                  </a:lnTo>
                  <a:lnTo>
                    <a:pt x="1044" y="330"/>
                  </a:lnTo>
                  <a:lnTo>
                    <a:pt x="1014" y="336"/>
                  </a:lnTo>
                  <a:lnTo>
                    <a:pt x="984" y="342"/>
                  </a:lnTo>
                  <a:lnTo>
                    <a:pt x="978" y="330"/>
                  </a:lnTo>
                  <a:lnTo>
                    <a:pt x="966" y="324"/>
                  </a:lnTo>
                  <a:lnTo>
                    <a:pt x="888" y="336"/>
                  </a:lnTo>
                  <a:lnTo>
                    <a:pt x="888" y="330"/>
                  </a:lnTo>
                  <a:lnTo>
                    <a:pt x="870" y="336"/>
                  </a:lnTo>
                  <a:lnTo>
                    <a:pt x="858" y="336"/>
                  </a:lnTo>
                  <a:lnTo>
                    <a:pt x="852" y="354"/>
                  </a:lnTo>
                  <a:lnTo>
                    <a:pt x="852" y="402"/>
                  </a:lnTo>
                  <a:lnTo>
                    <a:pt x="840" y="414"/>
                  </a:lnTo>
                  <a:lnTo>
                    <a:pt x="834" y="420"/>
                  </a:lnTo>
                  <a:lnTo>
                    <a:pt x="834" y="444"/>
                  </a:lnTo>
                  <a:lnTo>
                    <a:pt x="834" y="450"/>
                  </a:lnTo>
                  <a:lnTo>
                    <a:pt x="852" y="456"/>
                  </a:lnTo>
                  <a:lnTo>
                    <a:pt x="864" y="462"/>
                  </a:lnTo>
                  <a:lnTo>
                    <a:pt x="894" y="456"/>
                  </a:lnTo>
                  <a:lnTo>
                    <a:pt x="900" y="468"/>
                  </a:lnTo>
                  <a:lnTo>
                    <a:pt x="918" y="462"/>
                  </a:lnTo>
                  <a:lnTo>
                    <a:pt x="924" y="468"/>
                  </a:lnTo>
                  <a:lnTo>
                    <a:pt x="924" y="47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2" name="Freeform 37">
              <a:extLst>
                <a:ext uri="{FF2B5EF4-FFF2-40B4-BE49-F238E27FC236}">
                  <a16:creationId xmlns:a16="http://schemas.microsoft.com/office/drawing/2014/main" id="{DED8A1FF-B656-4D37-BD26-5B0A7B1A4A6D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441" y="1898343"/>
              <a:ext cx="567992" cy="686605"/>
            </a:xfrm>
            <a:custGeom>
              <a:avLst/>
              <a:gdLst>
                <a:gd name="T0" fmla="*/ 79 w 1068"/>
                <a:gd name="T1" fmla="*/ 72 h 1290"/>
                <a:gd name="T2" fmla="*/ 75 w 1068"/>
                <a:gd name="T3" fmla="*/ 73 h 1290"/>
                <a:gd name="T4" fmla="*/ 72 w 1068"/>
                <a:gd name="T5" fmla="*/ 76 h 1290"/>
                <a:gd name="T6" fmla="*/ 70 w 1068"/>
                <a:gd name="T7" fmla="*/ 78 h 1290"/>
                <a:gd name="T8" fmla="*/ 67 w 1068"/>
                <a:gd name="T9" fmla="*/ 82 h 1290"/>
                <a:gd name="T10" fmla="*/ 61 w 1068"/>
                <a:gd name="T11" fmla="*/ 86 h 1290"/>
                <a:gd name="T12" fmla="*/ 60 w 1068"/>
                <a:gd name="T13" fmla="*/ 93 h 1290"/>
                <a:gd name="T14" fmla="*/ 59 w 1068"/>
                <a:gd name="T15" fmla="*/ 97 h 1290"/>
                <a:gd name="T16" fmla="*/ 61 w 1068"/>
                <a:gd name="T17" fmla="*/ 101 h 1290"/>
                <a:gd name="T18" fmla="*/ 63 w 1068"/>
                <a:gd name="T19" fmla="*/ 104 h 1290"/>
                <a:gd name="T20" fmla="*/ 62 w 1068"/>
                <a:gd name="T21" fmla="*/ 108 h 1290"/>
                <a:gd name="T22" fmla="*/ 60 w 1068"/>
                <a:gd name="T23" fmla="*/ 111 h 1290"/>
                <a:gd name="T24" fmla="*/ 56 w 1068"/>
                <a:gd name="T25" fmla="*/ 111 h 1290"/>
                <a:gd name="T26" fmla="*/ 53 w 1068"/>
                <a:gd name="T27" fmla="*/ 110 h 1290"/>
                <a:gd name="T28" fmla="*/ 50 w 1068"/>
                <a:gd name="T29" fmla="*/ 109 h 1290"/>
                <a:gd name="T30" fmla="*/ 47 w 1068"/>
                <a:gd name="T31" fmla="*/ 110 h 1290"/>
                <a:gd name="T32" fmla="*/ 51 w 1068"/>
                <a:gd name="T33" fmla="*/ 104 h 1290"/>
                <a:gd name="T34" fmla="*/ 50 w 1068"/>
                <a:gd name="T35" fmla="*/ 95 h 1290"/>
                <a:gd name="T36" fmla="*/ 51 w 1068"/>
                <a:gd name="T37" fmla="*/ 90 h 1290"/>
                <a:gd name="T38" fmla="*/ 47 w 1068"/>
                <a:gd name="T39" fmla="*/ 84 h 1290"/>
                <a:gd name="T40" fmla="*/ 42 w 1068"/>
                <a:gd name="T41" fmla="*/ 78 h 1290"/>
                <a:gd name="T42" fmla="*/ 33 w 1068"/>
                <a:gd name="T43" fmla="*/ 73 h 1290"/>
                <a:gd name="T44" fmla="*/ 26 w 1068"/>
                <a:gd name="T45" fmla="*/ 68 h 1290"/>
                <a:gd name="T46" fmla="*/ 22 w 1068"/>
                <a:gd name="T47" fmla="*/ 63 h 1290"/>
                <a:gd name="T48" fmla="*/ 11 w 1068"/>
                <a:gd name="T49" fmla="*/ 67 h 1290"/>
                <a:gd name="T50" fmla="*/ 0 w 1068"/>
                <a:gd name="T51" fmla="*/ 68 h 1290"/>
                <a:gd name="T52" fmla="*/ 2 w 1068"/>
                <a:gd name="T53" fmla="*/ 59 h 1290"/>
                <a:gd name="T54" fmla="*/ 12 w 1068"/>
                <a:gd name="T55" fmla="*/ 55 h 1290"/>
                <a:gd name="T56" fmla="*/ 12 w 1068"/>
                <a:gd name="T57" fmla="*/ 51 h 1290"/>
                <a:gd name="T58" fmla="*/ 10 w 1068"/>
                <a:gd name="T59" fmla="*/ 47 h 1290"/>
                <a:gd name="T60" fmla="*/ 9 w 1068"/>
                <a:gd name="T61" fmla="*/ 42 h 1290"/>
                <a:gd name="T62" fmla="*/ 8 w 1068"/>
                <a:gd name="T63" fmla="*/ 38 h 1290"/>
                <a:gd name="T64" fmla="*/ 8 w 1068"/>
                <a:gd name="T65" fmla="*/ 29 h 1290"/>
                <a:gd name="T66" fmla="*/ 10 w 1068"/>
                <a:gd name="T67" fmla="*/ 18 h 1290"/>
                <a:gd name="T68" fmla="*/ 25 w 1068"/>
                <a:gd name="T69" fmla="*/ 12 h 1290"/>
                <a:gd name="T70" fmla="*/ 27 w 1068"/>
                <a:gd name="T71" fmla="*/ 4 h 1290"/>
                <a:gd name="T72" fmla="*/ 35 w 1068"/>
                <a:gd name="T73" fmla="*/ 6 h 1290"/>
                <a:gd name="T74" fmla="*/ 39 w 1068"/>
                <a:gd name="T75" fmla="*/ 8 h 1290"/>
                <a:gd name="T76" fmla="*/ 41 w 1068"/>
                <a:gd name="T77" fmla="*/ 3 h 1290"/>
                <a:gd name="T78" fmla="*/ 45 w 1068"/>
                <a:gd name="T79" fmla="*/ 0 h 1290"/>
                <a:gd name="T80" fmla="*/ 51 w 1068"/>
                <a:gd name="T81" fmla="*/ 0 h 1290"/>
                <a:gd name="T82" fmla="*/ 56 w 1068"/>
                <a:gd name="T83" fmla="*/ 4 h 1290"/>
                <a:gd name="T84" fmla="*/ 62 w 1068"/>
                <a:gd name="T85" fmla="*/ 12 h 1290"/>
                <a:gd name="T86" fmla="*/ 58 w 1068"/>
                <a:gd name="T87" fmla="*/ 17 h 1290"/>
                <a:gd name="T88" fmla="*/ 60 w 1068"/>
                <a:gd name="T89" fmla="*/ 18 h 1290"/>
                <a:gd name="T90" fmla="*/ 64 w 1068"/>
                <a:gd name="T91" fmla="*/ 16 h 1290"/>
                <a:gd name="T92" fmla="*/ 68 w 1068"/>
                <a:gd name="T93" fmla="*/ 18 h 1290"/>
                <a:gd name="T94" fmla="*/ 71 w 1068"/>
                <a:gd name="T95" fmla="*/ 27 h 1290"/>
                <a:gd name="T96" fmla="*/ 74 w 1068"/>
                <a:gd name="T97" fmla="*/ 30 h 1290"/>
                <a:gd name="T98" fmla="*/ 82 w 1068"/>
                <a:gd name="T99" fmla="*/ 30 h 1290"/>
                <a:gd name="T100" fmla="*/ 87 w 1068"/>
                <a:gd name="T101" fmla="*/ 35 h 1290"/>
                <a:gd name="T102" fmla="*/ 85 w 1068"/>
                <a:gd name="T103" fmla="*/ 42 h 1290"/>
                <a:gd name="T104" fmla="*/ 81 w 1068"/>
                <a:gd name="T105" fmla="*/ 46 h 1290"/>
                <a:gd name="T106" fmla="*/ 86 w 1068"/>
                <a:gd name="T107" fmla="*/ 50 h 1290"/>
                <a:gd name="T108" fmla="*/ 89 w 1068"/>
                <a:gd name="T109" fmla="*/ 58 h 1290"/>
                <a:gd name="T110" fmla="*/ 92 w 1068"/>
                <a:gd name="T111" fmla="*/ 61 h 1290"/>
                <a:gd name="T112" fmla="*/ 86 w 1068"/>
                <a:gd name="T113" fmla="*/ 66 h 1290"/>
                <a:gd name="T114" fmla="*/ 85 w 1068"/>
                <a:gd name="T115" fmla="*/ 70 h 129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68"/>
                <a:gd name="T175" fmla="*/ 0 h 1290"/>
                <a:gd name="T176" fmla="*/ 1068 w 1068"/>
                <a:gd name="T177" fmla="*/ 1290 h 129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68" h="1290">
                  <a:moveTo>
                    <a:pt x="978" y="804"/>
                  </a:moveTo>
                  <a:lnTo>
                    <a:pt x="972" y="810"/>
                  </a:lnTo>
                  <a:lnTo>
                    <a:pt x="966" y="810"/>
                  </a:lnTo>
                  <a:lnTo>
                    <a:pt x="966" y="816"/>
                  </a:lnTo>
                  <a:lnTo>
                    <a:pt x="936" y="828"/>
                  </a:lnTo>
                  <a:lnTo>
                    <a:pt x="924" y="822"/>
                  </a:lnTo>
                  <a:lnTo>
                    <a:pt x="912" y="822"/>
                  </a:lnTo>
                  <a:lnTo>
                    <a:pt x="906" y="828"/>
                  </a:lnTo>
                  <a:lnTo>
                    <a:pt x="900" y="828"/>
                  </a:lnTo>
                  <a:lnTo>
                    <a:pt x="900" y="822"/>
                  </a:lnTo>
                  <a:lnTo>
                    <a:pt x="894" y="822"/>
                  </a:lnTo>
                  <a:lnTo>
                    <a:pt x="888" y="828"/>
                  </a:lnTo>
                  <a:lnTo>
                    <a:pt x="882" y="834"/>
                  </a:lnTo>
                  <a:lnTo>
                    <a:pt x="876" y="834"/>
                  </a:lnTo>
                  <a:lnTo>
                    <a:pt x="870" y="840"/>
                  </a:lnTo>
                  <a:lnTo>
                    <a:pt x="864" y="840"/>
                  </a:lnTo>
                  <a:lnTo>
                    <a:pt x="864" y="846"/>
                  </a:lnTo>
                  <a:lnTo>
                    <a:pt x="858" y="846"/>
                  </a:lnTo>
                  <a:lnTo>
                    <a:pt x="852" y="846"/>
                  </a:lnTo>
                  <a:lnTo>
                    <a:pt x="852" y="858"/>
                  </a:lnTo>
                  <a:lnTo>
                    <a:pt x="846" y="864"/>
                  </a:lnTo>
                  <a:lnTo>
                    <a:pt x="840" y="870"/>
                  </a:lnTo>
                  <a:lnTo>
                    <a:pt x="834" y="870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34" y="876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10" y="894"/>
                  </a:lnTo>
                  <a:lnTo>
                    <a:pt x="810" y="900"/>
                  </a:lnTo>
                  <a:lnTo>
                    <a:pt x="804" y="900"/>
                  </a:lnTo>
                  <a:lnTo>
                    <a:pt x="798" y="900"/>
                  </a:lnTo>
                  <a:lnTo>
                    <a:pt x="798" y="906"/>
                  </a:lnTo>
                  <a:lnTo>
                    <a:pt x="792" y="906"/>
                  </a:lnTo>
                  <a:lnTo>
                    <a:pt x="792" y="912"/>
                  </a:lnTo>
                  <a:lnTo>
                    <a:pt x="792" y="924"/>
                  </a:lnTo>
                  <a:lnTo>
                    <a:pt x="786" y="930"/>
                  </a:lnTo>
                  <a:lnTo>
                    <a:pt x="774" y="942"/>
                  </a:lnTo>
                  <a:lnTo>
                    <a:pt x="774" y="948"/>
                  </a:lnTo>
                  <a:lnTo>
                    <a:pt x="768" y="954"/>
                  </a:lnTo>
                  <a:lnTo>
                    <a:pt x="762" y="954"/>
                  </a:lnTo>
                  <a:lnTo>
                    <a:pt x="750" y="972"/>
                  </a:lnTo>
                  <a:lnTo>
                    <a:pt x="720" y="978"/>
                  </a:lnTo>
                  <a:lnTo>
                    <a:pt x="714" y="978"/>
                  </a:lnTo>
                  <a:lnTo>
                    <a:pt x="708" y="978"/>
                  </a:lnTo>
                  <a:lnTo>
                    <a:pt x="702" y="990"/>
                  </a:lnTo>
                  <a:lnTo>
                    <a:pt x="696" y="990"/>
                  </a:lnTo>
                  <a:lnTo>
                    <a:pt x="696" y="1008"/>
                  </a:lnTo>
                  <a:lnTo>
                    <a:pt x="690" y="1008"/>
                  </a:lnTo>
                  <a:lnTo>
                    <a:pt x="690" y="1014"/>
                  </a:lnTo>
                  <a:lnTo>
                    <a:pt x="684" y="1032"/>
                  </a:lnTo>
                  <a:lnTo>
                    <a:pt x="690" y="1050"/>
                  </a:lnTo>
                  <a:lnTo>
                    <a:pt x="690" y="1062"/>
                  </a:lnTo>
                  <a:lnTo>
                    <a:pt x="690" y="1068"/>
                  </a:lnTo>
                  <a:lnTo>
                    <a:pt x="690" y="1074"/>
                  </a:lnTo>
                  <a:lnTo>
                    <a:pt x="684" y="1074"/>
                  </a:lnTo>
                  <a:lnTo>
                    <a:pt x="684" y="1080"/>
                  </a:lnTo>
                  <a:lnTo>
                    <a:pt x="678" y="1086"/>
                  </a:lnTo>
                  <a:lnTo>
                    <a:pt x="678" y="1104"/>
                  </a:lnTo>
                  <a:lnTo>
                    <a:pt x="678" y="1110"/>
                  </a:lnTo>
                  <a:lnTo>
                    <a:pt x="678" y="1116"/>
                  </a:lnTo>
                  <a:lnTo>
                    <a:pt x="684" y="1116"/>
                  </a:lnTo>
                  <a:lnTo>
                    <a:pt x="678" y="1128"/>
                  </a:lnTo>
                  <a:lnTo>
                    <a:pt x="684" y="1128"/>
                  </a:lnTo>
                  <a:lnTo>
                    <a:pt x="690" y="1134"/>
                  </a:lnTo>
                  <a:lnTo>
                    <a:pt x="690" y="1140"/>
                  </a:lnTo>
                  <a:lnTo>
                    <a:pt x="696" y="1140"/>
                  </a:lnTo>
                  <a:lnTo>
                    <a:pt x="696" y="1146"/>
                  </a:lnTo>
                  <a:lnTo>
                    <a:pt x="696" y="1152"/>
                  </a:lnTo>
                  <a:lnTo>
                    <a:pt x="702" y="1152"/>
                  </a:lnTo>
                  <a:lnTo>
                    <a:pt x="708" y="1152"/>
                  </a:lnTo>
                  <a:lnTo>
                    <a:pt x="714" y="1158"/>
                  </a:lnTo>
                  <a:lnTo>
                    <a:pt x="714" y="1164"/>
                  </a:lnTo>
                  <a:lnTo>
                    <a:pt x="720" y="1170"/>
                  </a:lnTo>
                  <a:lnTo>
                    <a:pt x="720" y="1176"/>
                  </a:lnTo>
                  <a:lnTo>
                    <a:pt x="720" y="1182"/>
                  </a:lnTo>
                  <a:lnTo>
                    <a:pt x="726" y="1188"/>
                  </a:lnTo>
                  <a:lnTo>
                    <a:pt x="726" y="1194"/>
                  </a:lnTo>
                  <a:lnTo>
                    <a:pt x="732" y="1194"/>
                  </a:lnTo>
                  <a:lnTo>
                    <a:pt x="732" y="1200"/>
                  </a:lnTo>
                  <a:lnTo>
                    <a:pt x="738" y="1212"/>
                  </a:lnTo>
                  <a:lnTo>
                    <a:pt x="732" y="1218"/>
                  </a:lnTo>
                  <a:lnTo>
                    <a:pt x="732" y="1224"/>
                  </a:lnTo>
                  <a:lnTo>
                    <a:pt x="726" y="1230"/>
                  </a:lnTo>
                  <a:lnTo>
                    <a:pt x="720" y="1230"/>
                  </a:lnTo>
                  <a:lnTo>
                    <a:pt x="720" y="1236"/>
                  </a:lnTo>
                  <a:lnTo>
                    <a:pt x="720" y="1242"/>
                  </a:lnTo>
                  <a:lnTo>
                    <a:pt x="720" y="1248"/>
                  </a:lnTo>
                  <a:lnTo>
                    <a:pt x="714" y="1248"/>
                  </a:lnTo>
                  <a:lnTo>
                    <a:pt x="714" y="1254"/>
                  </a:lnTo>
                  <a:lnTo>
                    <a:pt x="708" y="1260"/>
                  </a:lnTo>
                  <a:lnTo>
                    <a:pt x="702" y="1272"/>
                  </a:lnTo>
                  <a:lnTo>
                    <a:pt x="696" y="1272"/>
                  </a:lnTo>
                  <a:lnTo>
                    <a:pt x="696" y="1278"/>
                  </a:lnTo>
                  <a:lnTo>
                    <a:pt x="690" y="1284"/>
                  </a:lnTo>
                  <a:lnTo>
                    <a:pt x="690" y="1290"/>
                  </a:lnTo>
                  <a:lnTo>
                    <a:pt x="684" y="1290"/>
                  </a:lnTo>
                  <a:lnTo>
                    <a:pt x="660" y="1284"/>
                  </a:lnTo>
                  <a:lnTo>
                    <a:pt x="660" y="1278"/>
                  </a:lnTo>
                  <a:lnTo>
                    <a:pt x="654" y="1272"/>
                  </a:lnTo>
                  <a:lnTo>
                    <a:pt x="648" y="1272"/>
                  </a:lnTo>
                  <a:lnTo>
                    <a:pt x="642" y="1272"/>
                  </a:lnTo>
                  <a:lnTo>
                    <a:pt x="642" y="1266"/>
                  </a:lnTo>
                  <a:lnTo>
                    <a:pt x="636" y="1266"/>
                  </a:lnTo>
                  <a:lnTo>
                    <a:pt x="630" y="1266"/>
                  </a:lnTo>
                  <a:lnTo>
                    <a:pt x="624" y="1266"/>
                  </a:lnTo>
                  <a:lnTo>
                    <a:pt x="624" y="1260"/>
                  </a:lnTo>
                  <a:lnTo>
                    <a:pt x="618" y="1260"/>
                  </a:lnTo>
                  <a:lnTo>
                    <a:pt x="612" y="1260"/>
                  </a:lnTo>
                  <a:lnTo>
                    <a:pt x="606" y="1260"/>
                  </a:lnTo>
                  <a:lnTo>
                    <a:pt x="600" y="1260"/>
                  </a:lnTo>
                  <a:lnTo>
                    <a:pt x="600" y="1254"/>
                  </a:lnTo>
                  <a:lnTo>
                    <a:pt x="594" y="1254"/>
                  </a:lnTo>
                  <a:lnTo>
                    <a:pt x="588" y="1248"/>
                  </a:lnTo>
                  <a:lnTo>
                    <a:pt x="588" y="1254"/>
                  </a:lnTo>
                  <a:lnTo>
                    <a:pt x="582" y="1254"/>
                  </a:lnTo>
                  <a:lnTo>
                    <a:pt x="582" y="1248"/>
                  </a:lnTo>
                  <a:lnTo>
                    <a:pt x="576" y="1248"/>
                  </a:lnTo>
                  <a:lnTo>
                    <a:pt x="576" y="1254"/>
                  </a:lnTo>
                  <a:lnTo>
                    <a:pt x="570" y="1248"/>
                  </a:lnTo>
                  <a:lnTo>
                    <a:pt x="564" y="1248"/>
                  </a:lnTo>
                  <a:lnTo>
                    <a:pt x="564" y="1254"/>
                  </a:lnTo>
                  <a:lnTo>
                    <a:pt x="558" y="1254"/>
                  </a:lnTo>
                  <a:lnTo>
                    <a:pt x="552" y="1254"/>
                  </a:lnTo>
                  <a:lnTo>
                    <a:pt x="552" y="1260"/>
                  </a:lnTo>
                  <a:lnTo>
                    <a:pt x="546" y="1260"/>
                  </a:lnTo>
                  <a:lnTo>
                    <a:pt x="540" y="1260"/>
                  </a:lnTo>
                  <a:lnTo>
                    <a:pt x="540" y="1254"/>
                  </a:lnTo>
                  <a:lnTo>
                    <a:pt x="534" y="1254"/>
                  </a:lnTo>
                  <a:lnTo>
                    <a:pt x="528" y="1224"/>
                  </a:lnTo>
                  <a:lnTo>
                    <a:pt x="534" y="1212"/>
                  </a:lnTo>
                  <a:lnTo>
                    <a:pt x="546" y="1206"/>
                  </a:lnTo>
                  <a:lnTo>
                    <a:pt x="582" y="1206"/>
                  </a:lnTo>
                  <a:lnTo>
                    <a:pt x="588" y="1188"/>
                  </a:lnTo>
                  <a:lnTo>
                    <a:pt x="582" y="1188"/>
                  </a:lnTo>
                  <a:lnTo>
                    <a:pt x="582" y="1182"/>
                  </a:lnTo>
                  <a:lnTo>
                    <a:pt x="576" y="1176"/>
                  </a:lnTo>
                  <a:lnTo>
                    <a:pt x="558" y="1128"/>
                  </a:lnTo>
                  <a:lnTo>
                    <a:pt x="558" y="1122"/>
                  </a:lnTo>
                  <a:lnTo>
                    <a:pt x="576" y="1098"/>
                  </a:lnTo>
                  <a:lnTo>
                    <a:pt x="576" y="1092"/>
                  </a:lnTo>
                  <a:lnTo>
                    <a:pt x="582" y="1092"/>
                  </a:lnTo>
                  <a:lnTo>
                    <a:pt x="582" y="1086"/>
                  </a:lnTo>
                  <a:lnTo>
                    <a:pt x="582" y="1080"/>
                  </a:lnTo>
                  <a:lnTo>
                    <a:pt x="582" y="1074"/>
                  </a:lnTo>
                  <a:lnTo>
                    <a:pt x="588" y="1074"/>
                  </a:lnTo>
                  <a:lnTo>
                    <a:pt x="588" y="1062"/>
                  </a:lnTo>
                  <a:lnTo>
                    <a:pt x="588" y="1056"/>
                  </a:lnTo>
                  <a:lnTo>
                    <a:pt x="588" y="1044"/>
                  </a:lnTo>
                  <a:lnTo>
                    <a:pt x="588" y="1038"/>
                  </a:lnTo>
                  <a:lnTo>
                    <a:pt x="588" y="1032"/>
                  </a:lnTo>
                  <a:lnTo>
                    <a:pt x="582" y="1026"/>
                  </a:lnTo>
                  <a:lnTo>
                    <a:pt x="582" y="1020"/>
                  </a:lnTo>
                  <a:lnTo>
                    <a:pt x="582" y="1008"/>
                  </a:lnTo>
                  <a:lnTo>
                    <a:pt x="576" y="990"/>
                  </a:lnTo>
                  <a:lnTo>
                    <a:pt x="570" y="972"/>
                  </a:lnTo>
                  <a:lnTo>
                    <a:pt x="552" y="972"/>
                  </a:lnTo>
                  <a:lnTo>
                    <a:pt x="540" y="960"/>
                  </a:lnTo>
                  <a:lnTo>
                    <a:pt x="534" y="954"/>
                  </a:lnTo>
                  <a:lnTo>
                    <a:pt x="534" y="948"/>
                  </a:lnTo>
                  <a:lnTo>
                    <a:pt x="516" y="948"/>
                  </a:lnTo>
                  <a:lnTo>
                    <a:pt x="522" y="936"/>
                  </a:lnTo>
                  <a:lnTo>
                    <a:pt x="522" y="930"/>
                  </a:lnTo>
                  <a:lnTo>
                    <a:pt x="504" y="918"/>
                  </a:lnTo>
                  <a:lnTo>
                    <a:pt x="492" y="906"/>
                  </a:lnTo>
                  <a:lnTo>
                    <a:pt x="486" y="894"/>
                  </a:lnTo>
                  <a:lnTo>
                    <a:pt x="468" y="876"/>
                  </a:lnTo>
                  <a:lnTo>
                    <a:pt x="450" y="876"/>
                  </a:lnTo>
                  <a:lnTo>
                    <a:pt x="414" y="882"/>
                  </a:lnTo>
                  <a:lnTo>
                    <a:pt x="402" y="870"/>
                  </a:lnTo>
                  <a:lnTo>
                    <a:pt x="390" y="864"/>
                  </a:lnTo>
                  <a:lnTo>
                    <a:pt x="384" y="852"/>
                  </a:lnTo>
                  <a:lnTo>
                    <a:pt x="378" y="840"/>
                  </a:lnTo>
                  <a:lnTo>
                    <a:pt x="378" y="834"/>
                  </a:lnTo>
                  <a:lnTo>
                    <a:pt x="360" y="822"/>
                  </a:lnTo>
                  <a:lnTo>
                    <a:pt x="342" y="828"/>
                  </a:lnTo>
                  <a:lnTo>
                    <a:pt x="324" y="816"/>
                  </a:lnTo>
                  <a:lnTo>
                    <a:pt x="318" y="816"/>
                  </a:lnTo>
                  <a:lnTo>
                    <a:pt x="306" y="810"/>
                  </a:lnTo>
                  <a:lnTo>
                    <a:pt x="306" y="804"/>
                  </a:lnTo>
                  <a:lnTo>
                    <a:pt x="300" y="804"/>
                  </a:lnTo>
                  <a:lnTo>
                    <a:pt x="300" y="780"/>
                  </a:lnTo>
                  <a:lnTo>
                    <a:pt x="300" y="774"/>
                  </a:lnTo>
                  <a:lnTo>
                    <a:pt x="306" y="774"/>
                  </a:lnTo>
                  <a:lnTo>
                    <a:pt x="312" y="756"/>
                  </a:lnTo>
                  <a:lnTo>
                    <a:pt x="312" y="732"/>
                  </a:lnTo>
                  <a:lnTo>
                    <a:pt x="300" y="720"/>
                  </a:lnTo>
                  <a:lnTo>
                    <a:pt x="288" y="702"/>
                  </a:lnTo>
                  <a:lnTo>
                    <a:pt x="276" y="702"/>
                  </a:lnTo>
                  <a:lnTo>
                    <a:pt x="258" y="714"/>
                  </a:lnTo>
                  <a:lnTo>
                    <a:pt x="246" y="726"/>
                  </a:lnTo>
                  <a:lnTo>
                    <a:pt x="222" y="726"/>
                  </a:lnTo>
                  <a:lnTo>
                    <a:pt x="192" y="726"/>
                  </a:lnTo>
                  <a:lnTo>
                    <a:pt x="174" y="738"/>
                  </a:lnTo>
                  <a:lnTo>
                    <a:pt x="162" y="750"/>
                  </a:lnTo>
                  <a:lnTo>
                    <a:pt x="144" y="762"/>
                  </a:lnTo>
                  <a:lnTo>
                    <a:pt x="138" y="768"/>
                  </a:lnTo>
                  <a:lnTo>
                    <a:pt x="126" y="774"/>
                  </a:lnTo>
                  <a:lnTo>
                    <a:pt x="114" y="780"/>
                  </a:lnTo>
                  <a:lnTo>
                    <a:pt x="108" y="786"/>
                  </a:lnTo>
                  <a:lnTo>
                    <a:pt x="102" y="786"/>
                  </a:lnTo>
                  <a:lnTo>
                    <a:pt x="54" y="786"/>
                  </a:lnTo>
                  <a:lnTo>
                    <a:pt x="48" y="792"/>
                  </a:lnTo>
                  <a:lnTo>
                    <a:pt x="36" y="798"/>
                  </a:lnTo>
                  <a:lnTo>
                    <a:pt x="18" y="792"/>
                  </a:lnTo>
                  <a:lnTo>
                    <a:pt x="6" y="780"/>
                  </a:lnTo>
                  <a:lnTo>
                    <a:pt x="6" y="768"/>
                  </a:lnTo>
                  <a:lnTo>
                    <a:pt x="0" y="756"/>
                  </a:lnTo>
                  <a:lnTo>
                    <a:pt x="0" y="738"/>
                  </a:lnTo>
                  <a:lnTo>
                    <a:pt x="6" y="702"/>
                  </a:lnTo>
                  <a:lnTo>
                    <a:pt x="24" y="702"/>
                  </a:lnTo>
                  <a:lnTo>
                    <a:pt x="24" y="696"/>
                  </a:lnTo>
                  <a:lnTo>
                    <a:pt x="24" y="690"/>
                  </a:lnTo>
                  <a:lnTo>
                    <a:pt x="24" y="678"/>
                  </a:lnTo>
                  <a:lnTo>
                    <a:pt x="24" y="672"/>
                  </a:lnTo>
                  <a:lnTo>
                    <a:pt x="30" y="672"/>
                  </a:lnTo>
                  <a:lnTo>
                    <a:pt x="30" y="666"/>
                  </a:lnTo>
                  <a:lnTo>
                    <a:pt x="36" y="660"/>
                  </a:lnTo>
                  <a:lnTo>
                    <a:pt x="84" y="648"/>
                  </a:lnTo>
                  <a:lnTo>
                    <a:pt x="126" y="642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32" y="618"/>
                  </a:lnTo>
                  <a:lnTo>
                    <a:pt x="138" y="612"/>
                  </a:lnTo>
                  <a:lnTo>
                    <a:pt x="138" y="606"/>
                  </a:lnTo>
                  <a:lnTo>
                    <a:pt x="138" y="600"/>
                  </a:lnTo>
                  <a:lnTo>
                    <a:pt x="132" y="600"/>
                  </a:lnTo>
                  <a:lnTo>
                    <a:pt x="132" y="594"/>
                  </a:lnTo>
                  <a:lnTo>
                    <a:pt x="132" y="588"/>
                  </a:lnTo>
                  <a:lnTo>
                    <a:pt x="132" y="582"/>
                  </a:lnTo>
                  <a:lnTo>
                    <a:pt x="132" y="576"/>
                  </a:lnTo>
                  <a:lnTo>
                    <a:pt x="126" y="570"/>
                  </a:lnTo>
                  <a:lnTo>
                    <a:pt x="120" y="564"/>
                  </a:lnTo>
                  <a:lnTo>
                    <a:pt x="120" y="558"/>
                  </a:lnTo>
                  <a:lnTo>
                    <a:pt x="120" y="552"/>
                  </a:lnTo>
                  <a:lnTo>
                    <a:pt x="114" y="552"/>
                  </a:lnTo>
                  <a:lnTo>
                    <a:pt x="114" y="546"/>
                  </a:lnTo>
                  <a:lnTo>
                    <a:pt x="114" y="540"/>
                  </a:lnTo>
                  <a:lnTo>
                    <a:pt x="108" y="534"/>
                  </a:lnTo>
                  <a:lnTo>
                    <a:pt x="108" y="528"/>
                  </a:lnTo>
                  <a:lnTo>
                    <a:pt x="114" y="522"/>
                  </a:lnTo>
                  <a:lnTo>
                    <a:pt x="108" y="516"/>
                  </a:lnTo>
                  <a:lnTo>
                    <a:pt x="108" y="498"/>
                  </a:lnTo>
                  <a:lnTo>
                    <a:pt x="108" y="492"/>
                  </a:lnTo>
                  <a:lnTo>
                    <a:pt x="108" y="486"/>
                  </a:lnTo>
                  <a:lnTo>
                    <a:pt x="108" y="480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08" y="462"/>
                  </a:lnTo>
                  <a:lnTo>
                    <a:pt x="102" y="456"/>
                  </a:lnTo>
                  <a:lnTo>
                    <a:pt x="102" y="444"/>
                  </a:lnTo>
                  <a:lnTo>
                    <a:pt x="96" y="444"/>
                  </a:lnTo>
                  <a:lnTo>
                    <a:pt x="90" y="432"/>
                  </a:lnTo>
                  <a:lnTo>
                    <a:pt x="96" y="432"/>
                  </a:lnTo>
                  <a:lnTo>
                    <a:pt x="96" y="408"/>
                  </a:lnTo>
                  <a:lnTo>
                    <a:pt x="96" y="396"/>
                  </a:lnTo>
                  <a:lnTo>
                    <a:pt x="96" y="360"/>
                  </a:lnTo>
                  <a:lnTo>
                    <a:pt x="96" y="354"/>
                  </a:lnTo>
                  <a:lnTo>
                    <a:pt x="102" y="354"/>
                  </a:lnTo>
                  <a:lnTo>
                    <a:pt x="102" y="348"/>
                  </a:lnTo>
                  <a:lnTo>
                    <a:pt x="96" y="330"/>
                  </a:lnTo>
                  <a:lnTo>
                    <a:pt x="90" y="306"/>
                  </a:lnTo>
                  <a:lnTo>
                    <a:pt x="84" y="288"/>
                  </a:lnTo>
                  <a:lnTo>
                    <a:pt x="84" y="264"/>
                  </a:lnTo>
                  <a:lnTo>
                    <a:pt x="90" y="240"/>
                  </a:lnTo>
                  <a:lnTo>
                    <a:pt x="96" y="222"/>
                  </a:lnTo>
                  <a:lnTo>
                    <a:pt x="102" y="222"/>
                  </a:lnTo>
                  <a:lnTo>
                    <a:pt x="108" y="210"/>
                  </a:lnTo>
                  <a:lnTo>
                    <a:pt x="114" y="210"/>
                  </a:lnTo>
                  <a:lnTo>
                    <a:pt x="126" y="198"/>
                  </a:lnTo>
                  <a:lnTo>
                    <a:pt x="156" y="192"/>
                  </a:lnTo>
                  <a:lnTo>
                    <a:pt x="174" y="186"/>
                  </a:lnTo>
                  <a:lnTo>
                    <a:pt x="204" y="174"/>
                  </a:lnTo>
                  <a:lnTo>
                    <a:pt x="222" y="168"/>
                  </a:lnTo>
                  <a:lnTo>
                    <a:pt x="234" y="162"/>
                  </a:lnTo>
                  <a:lnTo>
                    <a:pt x="246" y="156"/>
                  </a:lnTo>
                  <a:lnTo>
                    <a:pt x="288" y="144"/>
                  </a:lnTo>
                  <a:lnTo>
                    <a:pt x="288" y="132"/>
                  </a:lnTo>
                  <a:lnTo>
                    <a:pt x="294" y="120"/>
                  </a:lnTo>
                  <a:lnTo>
                    <a:pt x="300" y="108"/>
                  </a:lnTo>
                  <a:lnTo>
                    <a:pt x="306" y="90"/>
                  </a:lnTo>
                  <a:lnTo>
                    <a:pt x="312" y="78"/>
                  </a:lnTo>
                  <a:lnTo>
                    <a:pt x="324" y="78"/>
                  </a:lnTo>
                  <a:lnTo>
                    <a:pt x="324" y="54"/>
                  </a:lnTo>
                  <a:lnTo>
                    <a:pt x="318" y="48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60" y="6"/>
                  </a:lnTo>
                  <a:lnTo>
                    <a:pt x="384" y="0"/>
                  </a:lnTo>
                  <a:lnTo>
                    <a:pt x="390" y="6"/>
                  </a:lnTo>
                  <a:lnTo>
                    <a:pt x="390" y="18"/>
                  </a:lnTo>
                  <a:lnTo>
                    <a:pt x="390" y="54"/>
                  </a:lnTo>
                  <a:lnTo>
                    <a:pt x="396" y="66"/>
                  </a:lnTo>
                  <a:lnTo>
                    <a:pt x="414" y="84"/>
                  </a:lnTo>
                  <a:lnTo>
                    <a:pt x="426" y="90"/>
                  </a:lnTo>
                  <a:lnTo>
                    <a:pt x="432" y="96"/>
                  </a:lnTo>
                  <a:lnTo>
                    <a:pt x="426" y="102"/>
                  </a:lnTo>
                  <a:lnTo>
                    <a:pt x="438" y="102"/>
                  </a:lnTo>
                  <a:lnTo>
                    <a:pt x="444" y="108"/>
                  </a:lnTo>
                  <a:lnTo>
                    <a:pt x="444" y="102"/>
                  </a:lnTo>
                  <a:lnTo>
                    <a:pt x="450" y="90"/>
                  </a:lnTo>
                  <a:lnTo>
                    <a:pt x="450" y="84"/>
                  </a:lnTo>
                  <a:lnTo>
                    <a:pt x="450" y="78"/>
                  </a:lnTo>
                  <a:lnTo>
                    <a:pt x="456" y="72"/>
                  </a:lnTo>
                  <a:lnTo>
                    <a:pt x="462" y="66"/>
                  </a:lnTo>
                  <a:lnTo>
                    <a:pt x="462" y="60"/>
                  </a:lnTo>
                  <a:lnTo>
                    <a:pt x="462" y="54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74" y="24"/>
                  </a:lnTo>
                  <a:lnTo>
                    <a:pt x="480" y="18"/>
                  </a:lnTo>
                  <a:lnTo>
                    <a:pt x="486" y="12"/>
                  </a:lnTo>
                  <a:lnTo>
                    <a:pt x="492" y="12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2" y="6"/>
                  </a:lnTo>
                  <a:lnTo>
                    <a:pt x="534" y="6"/>
                  </a:lnTo>
                  <a:lnTo>
                    <a:pt x="540" y="6"/>
                  </a:lnTo>
                  <a:lnTo>
                    <a:pt x="546" y="6"/>
                  </a:lnTo>
                  <a:lnTo>
                    <a:pt x="564" y="0"/>
                  </a:lnTo>
                  <a:lnTo>
                    <a:pt x="570" y="0"/>
                  </a:lnTo>
                  <a:lnTo>
                    <a:pt x="576" y="6"/>
                  </a:lnTo>
                  <a:lnTo>
                    <a:pt x="582" y="6"/>
                  </a:lnTo>
                  <a:lnTo>
                    <a:pt x="594" y="6"/>
                  </a:lnTo>
                  <a:lnTo>
                    <a:pt x="600" y="6"/>
                  </a:lnTo>
                  <a:lnTo>
                    <a:pt x="606" y="6"/>
                  </a:lnTo>
                  <a:lnTo>
                    <a:pt x="624" y="0"/>
                  </a:lnTo>
                  <a:lnTo>
                    <a:pt x="636" y="0"/>
                  </a:lnTo>
                  <a:lnTo>
                    <a:pt x="636" y="6"/>
                  </a:lnTo>
                  <a:lnTo>
                    <a:pt x="654" y="18"/>
                  </a:lnTo>
                  <a:lnTo>
                    <a:pt x="654" y="30"/>
                  </a:lnTo>
                  <a:lnTo>
                    <a:pt x="642" y="42"/>
                  </a:lnTo>
                  <a:lnTo>
                    <a:pt x="630" y="66"/>
                  </a:lnTo>
                  <a:lnTo>
                    <a:pt x="636" y="84"/>
                  </a:lnTo>
                  <a:lnTo>
                    <a:pt x="636" y="96"/>
                  </a:lnTo>
                  <a:lnTo>
                    <a:pt x="648" y="102"/>
                  </a:lnTo>
                  <a:lnTo>
                    <a:pt x="672" y="114"/>
                  </a:lnTo>
                  <a:lnTo>
                    <a:pt x="702" y="120"/>
                  </a:lnTo>
                  <a:lnTo>
                    <a:pt x="714" y="126"/>
                  </a:lnTo>
                  <a:lnTo>
                    <a:pt x="720" y="144"/>
                  </a:lnTo>
                  <a:lnTo>
                    <a:pt x="720" y="156"/>
                  </a:lnTo>
                  <a:lnTo>
                    <a:pt x="708" y="156"/>
                  </a:lnTo>
                  <a:lnTo>
                    <a:pt x="702" y="162"/>
                  </a:lnTo>
                  <a:lnTo>
                    <a:pt x="702" y="174"/>
                  </a:lnTo>
                  <a:lnTo>
                    <a:pt x="696" y="174"/>
                  </a:lnTo>
                  <a:lnTo>
                    <a:pt x="690" y="180"/>
                  </a:lnTo>
                  <a:lnTo>
                    <a:pt x="678" y="186"/>
                  </a:lnTo>
                  <a:lnTo>
                    <a:pt x="672" y="192"/>
                  </a:lnTo>
                  <a:lnTo>
                    <a:pt x="654" y="210"/>
                  </a:lnTo>
                  <a:lnTo>
                    <a:pt x="654" y="216"/>
                  </a:lnTo>
                  <a:lnTo>
                    <a:pt x="648" y="246"/>
                  </a:lnTo>
                  <a:lnTo>
                    <a:pt x="660" y="246"/>
                  </a:lnTo>
                  <a:lnTo>
                    <a:pt x="666" y="234"/>
                  </a:lnTo>
                  <a:lnTo>
                    <a:pt x="678" y="240"/>
                  </a:lnTo>
                  <a:lnTo>
                    <a:pt x="684" y="228"/>
                  </a:lnTo>
                  <a:lnTo>
                    <a:pt x="690" y="210"/>
                  </a:lnTo>
                  <a:lnTo>
                    <a:pt x="696" y="204"/>
                  </a:lnTo>
                  <a:lnTo>
                    <a:pt x="702" y="204"/>
                  </a:lnTo>
                  <a:lnTo>
                    <a:pt x="708" y="192"/>
                  </a:lnTo>
                  <a:lnTo>
                    <a:pt x="714" y="192"/>
                  </a:lnTo>
                  <a:lnTo>
                    <a:pt x="714" y="186"/>
                  </a:lnTo>
                  <a:lnTo>
                    <a:pt x="726" y="186"/>
                  </a:lnTo>
                  <a:lnTo>
                    <a:pt x="732" y="186"/>
                  </a:lnTo>
                  <a:lnTo>
                    <a:pt x="738" y="186"/>
                  </a:lnTo>
                  <a:lnTo>
                    <a:pt x="744" y="216"/>
                  </a:lnTo>
                  <a:lnTo>
                    <a:pt x="750" y="210"/>
                  </a:lnTo>
                  <a:lnTo>
                    <a:pt x="750" y="204"/>
                  </a:lnTo>
                  <a:lnTo>
                    <a:pt x="756" y="192"/>
                  </a:lnTo>
                  <a:lnTo>
                    <a:pt x="762" y="192"/>
                  </a:lnTo>
                  <a:lnTo>
                    <a:pt x="768" y="192"/>
                  </a:lnTo>
                  <a:lnTo>
                    <a:pt x="780" y="186"/>
                  </a:lnTo>
                  <a:lnTo>
                    <a:pt x="786" y="204"/>
                  </a:lnTo>
                  <a:lnTo>
                    <a:pt x="774" y="210"/>
                  </a:lnTo>
                  <a:lnTo>
                    <a:pt x="774" y="234"/>
                  </a:lnTo>
                  <a:lnTo>
                    <a:pt x="780" y="246"/>
                  </a:lnTo>
                  <a:lnTo>
                    <a:pt x="804" y="264"/>
                  </a:lnTo>
                  <a:lnTo>
                    <a:pt x="816" y="276"/>
                  </a:lnTo>
                  <a:lnTo>
                    <a:pt x="822" y="288"/>
                  </a:lnTo>
                  <a:lnTo>
                    <a:pt x="822" y="312"/>
                  </a:lnTo>
                  <a:lnTo>
                    <a:pt x="816" y="312"/>
                  </a:lnTo>
                  <a:lnTo>
                    <a:pt x="810" y="318"/>
                  </a:lnTo>
                  <a:lnTo>
                    <a:pt x="810" y="348"/>
                  </a:lnTo>
                  <a:lnTo>
                    <a:pt x="816" y="348"/>
                  </a:lnTo>
                  <a:lnTo>
                    <a:pt x="816" y="342"/>
                  </a:lnTo>
                  <a:lnTo>
                    <a:pt x="834" y="342"/>
                  </a:lnTo>
                  <a:lnTo>
                    <a:pt x="834" y="348"/>
                  </a:lnTo>
                  <a:lnTo>
                    <a:pt x="846" y="348"/>
                  </a:lnTo>
                  <a:lnTo>
                    <a:pt x="846" y="342"/>
                  </a:lnTo>
                  <a:lnTo>
                    <a:pt x="882" y="342"/>
                  </a:lnTo>
                  <a:lnTo>
                    <a:pt x="894" y="366"/>
                  </a:lnTo>
                  <a:lnTo>
                    <a:pt x="900" y="372"/>
                  </a:lnTo>
                  <a:lnTo>
                    <a:pt x="906" y="384"/>
                  </a:lnTo>
                  <a:lnTo>
                    <a:pt x="924" y="384"/>
                  </a:lnTo>
                  <a:lnTo>
                    <a:pt x="930" y="372"/>
                  </a:lnTo>
                  <a:lnTo>
                    <a:pt x="936" y="372"/>
                  </a:lnTo>
                  <a:lnTo>
                    <a:pt x="942" y="348"/>
                  </a:lnTo>
                  <a:lnTo>
                    <a:pt x="954" y="348"/>
                  </a:lnTo>
                  <a:lnTo>
                    <a:pt x="954" y="342"/>
                  </a:lnTo>
                  <a:lnTo>
                    <a:pt x="984" y="342"/>
                  </a:lnTo>
                  <a:lnTo>
                    <a:pt x="978" y="390"/>
                  </a:lnTo>
                  <a:lnTo>
                    <a:pt x="984" y="390"/>
                  </a:lnTo>
                  <a:lnTo>
                    <a:pt x="990" y="396"/>
                  </a:lnTo>
                  <a:lnTo>
                    <a:pt x="996" y="396"/>
                  </a:lnTo>
                  <a:lnTo>
                    <a:pt x="1002" y="396"/>
                  </a:lnTo>
                  <a:lnTo>
                    <a:pt x="1002" y="408"/>
                  </a:lnTo>
                  <a:lnTo>
                    <a:pt x="990" y="414"/>
                  </a:lnTo>
                  <a:lnTo>
                    <a:pt x="984" y="426"/>
                  </a:lnTo>
                  <a:lnTo>
                    <a:pt x="990" y="444"/>
                  </a:lnTo>
                  <a:lnTo>
                    <a:pt x="996" y="450"/>
                  </a:lnTo>
                  <a:lnTo>
                    <a:pt x="990" y="462"/>
                  </a:lnTo>
                  <a:lnTo>
                    <a:pt x="990" y="468"/>
                  </a:lnTo>
                  <a:lnTo>
                    <a:pt x="984" y="480"/>
                  </a:lnTo>
                  <a:lnTo>
                    <a:pt x="978" y="486"/>
                  </a:lnTo>
                  <a:lnTo>
                    <a:pt x="972" y="486"/>
                  </a:lnTo>
                  <a:lnTo>
                    <a:pt x="966" y="492"/>
                  </a:lnTo>
                  <a:lnTo>
                    <a:pt x="966" y="498"/>
                  </a:lnTo>
                  <a:lnTo>
                    <a:pt x="954" y="510"/>
                  </a:lnTo>
                  <a:lnTo>
                    <a:pt x="948" y="510"/>
                  </a:lnTo>
                  <a:lnTo>
                    <a:pt x="942" y="516"/>
                  </a:lnTo>
                  <a:lnTo>
                    <a:pt x="936" y="528"/>
                  </a:lnTo>
                  <a:lnTo>
                    <a:pt x="936" y="534"/>
                  </a:lnTo>
                  <a:lnTo>
                    <a:pt x="936" y="546"/>
                  </a:lnTo>
                  <a:lnTo>
                    <a:pt x="936" y="558"/>
                  </a:lnTo>
                  <a:lnTo>
                    <a:pt x="948" y="558"/>
                  </a:lnTo>
                  <a:lnTo>
                    <a:pt x="954" y="558"/>
                  </a:lnTo>
                  <a:lnTo>
                    <a:pt x="996" y="558"/>
                  </a:lnTo>
                  <a:lnTo>
                    <a:pt x="1002" y="570"/>
                  </a:lnTo>
                  <a:lnTo>
                    <a:pt x="996" y="576"/>
                  </a:lnTo>
                  <a:lnTo>
                    <a:pt x="996" y="588"/>
                  </a:lnTo>
                  <a:lnTo>
                    <a:pt x="984" y="588"/>
                  </a:lnTo>
                  <a:lnTo>
                    <a:pt x="990" y="612"/>
                  </a:lnTo>
                  <a:lnTo>
                    <a:pt x="1014" y="606"/>
                  </a:lnTo>
                  <a:lnTo>
                    <a:pt x="1014" y="636"/>
                  </a:lnTo>
                  <a:lnTo>
                    <a:pt x="1014" y="648"/>
                  </a:lnTo>
                  <a:lnTo>
                    <a:pt x="1020" y="648"/>
                  </a:lnTo>
                  <a:lnTo>
                    <a:pt x="1026" y="660"/>
                  </a:lnTo>
                  <a:lnTo>
                    <a:pt x="1038" y="654"/>
                  </a:lnTo>
                  <a:lnTo>
                    <a:pt x="1050" y="654"/>
                  </a:lnTo>
                  <a:lnTo>
                    <a:pt x="1062" y="654"/>
                  </a:lnTo>
                  <a:lnTo>
                    <a:pt x="1068" y="660"/>
                  </a:lnTo>
                  <a:lnTo>
                    <a:pt x="1068" y="678"/>
                  </a:lnTo>
                  <a:lnTo>
                    <a:pt x="1068" y="684"/>
                  </a:lnTo>
                  <a:lnTo>
                    <a:pt x="1062" y="690"/>
                  </a:lnTo>
                  <a:lnTo>
                    <a:pt x="1056" y="696"/>
                  </a:lnTo>
                  <a:lnTo>
                    <a:pt x="1056" y="702"/>
                  </a:lnTo>
                  <a:lnTo>
                    <a:pt x="1038" y="714"/>
                  </a:lnTo>
                  <a:lnTo>
                    <a:pt x="1026" y="720"/>
                  </a:lnTo>
                  <a:lnTo>
                    <a:pt x="1008" y="726"/>
                  </a:lnTo>
                  <a:lnTo>
                    <a:pt x="1008" y="732"/>
                  </a:lnTo>
                  <a:lnTo>
                    <a:pt x="990" y="732"/>
                  </a:lnTo>
                  <a:lnTo>
                    <a:pt x="984" y="744"/>
                  </a:lnTo>
                  <a:lnTo>
                    <a:pt x="990" y="750"/>
                  </a:lnTo>
                  <a:lnTo>
                    <a:pt x="984" y="762"/>
                  </a:lnTo>
                  <a:lnTo>
                    <a:pt x="984" y="768"/>
                  </a:lnTo>
                  <a:lnTo>
                    <a:pt x="984" y="774"/>
                  </a:lnTo>
                  <a:lnTo>
                    <a:pt x="984" y="780"/>
                  </a:lnTo>
                  <a:lnTo>
                    <a:pt x="984" y="786"/>
                  </a:lnTo>
                  <a:lnTo>
                    <a:pt x="984" y="792"/>
                  </a:lnTo>
                  <a:lnTo>
                    <a:pt x="978" y="798"/>
                  </a:lnTo>
                  <a:lnTo>
                    <a:pt x="978" y="80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3" name="Freeform 38">
              <a:extLst>
                <a:ext uri="{FF2B5EF4-FFF2-40B4-BE49-F238E27FC236}">
                  <a16:creationId xmlns:a16="http://schemas.microsoft.com/office/drawing/2014/main" id="{819B99CE-D972-4530-8964-A992C1EC87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2825" y="1634436"/>
              <a:ext cx="959326" cy="959458"/>
            </a:xfrm>
            <a:custGeom>
              <a:avLst/>
              <a:gdLst>
                <a:gd name="T0" fmla="*/ 105 w 1806"/>
                <a:gd name="T1" fmla="*/ 155 h 1806"/>
                <a:gd name="T2" fmla="*/ 103 w 1806"/>
                <a:gd name="T3" fmla="*/ 155 h 1806"/>
                <a:gd name="T4" fmla="*/ 103 w 1806"/>
                <a:gd name="T5" fmla="*/ 150 h 1806"/>
                <a:gd name="T6" fmla="*/ 104 w 1806"/>
                <a:gd name="T7" fmla="*/ 141 h 1806"/>
                <a:gd name="T8" fmla="*/ 104 w 1806"/>
                <a:gd name="T9" fmla="*/ 136 h 1806"/>
                <a:gd name="T10" fmla="*/ 100 w 1806"/>
                <a:gd name="T11" fmla="*/ 131 h 1806"/>
                <a:gd name="T12" fmla="*/ 96 w 1806"/>
                <a:gd name="T13" fmla="*/ 127 h 1806"/>
                <a:gd name="T14" fmla="*/ 91 w 1806"/>
                <a:gd name="T15" fmla="*/ 121 h 1806"/>
                <a:gd name="T16" fmla="*/ 87 w 1806"/>
                <a:gd name="T17" fmla="*/ 120 h 1806"/>
                <a:gd name="T18" fmla="*/ 81 w 1806"/>
                <a:gd name="T19" fmla="*/ 117 h 1806"/>
                <a:gd name="T20" fmla="*/ 65 w 1806"/>
                <a:gd name="T21" fmla="*/ 113 h 1806"/>
                <a:gd name="T22" fmla="*/ 69 w 1806"/>
                <a:gd name="T23" fmla="*/ 105 h 1806"/>
                <a:gd name="T24" fmla="*/ 66 w 1806"/>
                <a:gd name="T25" fmla="*/ 89 h 1806"/>
                <a:gd name="T26" fmla="*/ 63 w 1806"/>
                <a:gd name="T27" fmla="*/ 84 h 1806"/>
                <a:gd name="T28" fmla="*/ 62 w 1806"/>
                <a:gd name="T29" fmla="*/ 74 h 1806"/>
                <a:gd name="T30" fmla="*/ 58 w 1806"/>
                <a:gd name="T31" fmla="*/ 52 h 1806"/>
                <a:gd name="T32" fmla="*/ 53 w 1806"/>
                <a:gd name="T33" fmla="*/ 49 h 1806"/>
                <a:gd name="T34" fmla="*/ 51 w 1806"/>
                <a:gd name="T35" fmla="*/ 36 h 1806"/>
                <a:gd name="T36" fmla="*/ 43 w 1806"/>
                <a:gd name="T37" fmla="*/ 32 h 1806"/>
                <a:gd name="T38" fmla="*/ 33 w 1806"/>
                <a:gd name="T39" fmla="*/ 30 h 1806"/>
                <a:gd name="T40" fmla="*/ 30 w 1806"/>
                <a:gd name="T41" fmla="*/ 21 h 1806"/>
                <a:gd name="T42" fmla="*/ 17 w 1806"/>
                <a:gd name="T43" fmla="*/ 25 h 1806"/>
                <a:gd name="T44" fmla="*/ 4 w 1806"/>
                <a:gd name="T45" fmla="*/ 33 h 1806"/>
                <a:gd name="T46" fmla="*/ 7 w 1806"/>
                <a:gd name="T47" fmla="*/ 26 h 1806"/>
                <a:gd name="T48" fmla="*/ 11 w 1806"/>
                <a:gd name="T49" fmla="*/ 20 h 1806"/>
                <a:gd name="T50" fmla="*/ 18 w 1806"/>
                <a:gd name="T51" fmla="*/ 12 h 1806"/>
                <a:gd name="T52" fmla="*/ 26 w 1806"/>
                <a:gd name="T53" fmla="*/ 8 h 1806"/>
                <a:gd name="T54" fmla="*/ 35 w 1806"/>
                <a:gd name="T55" fmla="*/ 6 h 1806"/>
                <a:gd name="T56" fmla="*/ 44 w 1806"/>
                <a:gd name="T57" fmla="*/ 5 h 1806"/>
                <a:gd name="T58" fmla="*/ 54 w 1806"/>
                <a:gd name="T59" fmla="*/ 2 h 1806"/>
                <a:gd name="T60" fmla="*/ 65 w 1806"/>
                <a:gd name="T61" fmla="*/ 0 h 1806"/>
                <a:gd name="T62" fmla="*/ 76 w 1806"/>
                <a:gd name="T63" fmla="*/ 0 h 1806"/>
                <a:gd name="T64" fmla="*/ 85 w 1806"/>
                <a:gd name="T65" fmla="*/ 0 h 1806"/>
                <a:gd name="T66" fmla="*/ 97 w 1806"/>
                <a:gd name="T67" fmla="*/ 0 h 1806"/>
                <a:gd name="T68" fmla="*/ 108 w 1806"/>
                <a:gd name="T69" fmla="*/ 3 h 1806"/>
                <a:gd name="T70" fmla="*/ 115 w 1806"/>
                <a:gd name="T71" fmla="*/ 5 h 1806"/>
                <a:gd name="T72" fmla="*/ 123 w 1806"/>
                <a:gd name="T73" fmla="*/ 7 h 1806"/>
                <a:gd name="T74" fmla="*/ 133 w 1806"/>
                <a:gd name="T75" fmla="*/ 14 h 1806"/>
                <a:gd name="T76" fmla="*/ 138 w 1806"/>
                <a:gd name="T77" fmla="*/ 16 h 1806"/>
                <a:gd name="T78" fmla="*/ 140 w 1806"/>
                <a:gd name="T79" fmla="*/ 14 h 1806"/>
                <a:gd name="T80" fmla="*/ 145 w 1806"/>
                <a:gd name="T81" fmla="*/ 16 h 1806"/>
                <a:gd name="T82" fmla="*/ 147 w 1806"/>
                <a:gd name="T83" fmla="*/ 16 h 1806"/>
                <a:gd name="T84" fmla="*/ 150 w 1806"/>
                <a:gd name="T85" fmla="*/ 17 h 1806"/>
                <a:gd name="T86" fmla="*/ 152 w 1806"/>
                <a:gd name="T87" fmla="*/ 18 h 1806"/>
                <a:gd name="T88" fmla="*/ 155 w 1806"/>
                <a:gd name="T89" fmla="*/ 37 h 1806"/>
                <a:gd name="T90" fmla="*/ 146 w 1806"/>
                <a:gd name="T91" fmla="*/ 66 h 1806"/>
                <a:gd name="T92" fmla="*/ 143 w 1806"/>
                <a:gd name="T93" fmla="*/ 88 h 1806"/>
                <a:gd name="T94" fmla="*/ 144 w 1806"/>
                <a:gd name="T95" fmla="*/ 98 h 1806"/>
                <a:gd name="T96" fmla="*/ 137 w 1806"/>
                <a:gd name="T97" fmla="*/ 118 h 1806"/>
                <a:gd name="T98" fmla="*/ 132 w 1806"/>
                <a:gd name="T99" fmla="*/ 129 h 1806"/>
                <a:gd name="T100" fmla="*/ 124 w 1806"/>
                <a:gd name="T101" fmla="*/ 135 h 1806"/>
                <a:gd name="T102" fmla="*/ 119 w 1806"/>
                <a:gd name="T103" fmla="*/ 136 h 1806"/>
                <a:gd name="T104" fmla="*/ 116 w 1806"/>
                <a:gd name="T105" fmla="*/ 137 h 1806"/>
                <a:gd name="T106" fmla="*/ 112 w 1806"/>
                <a:gd name="T107" fmla="*/ 139 h 1806"/>
                <a:gd name="T108" fmla="*/ 112 w 1806"/>
                <a:gd name="T109" fmla="*/ 141 h 1806"/>
                <a:gd name="T110" fmla="*/ 116 w 1806"/>
                <a:gd name="T111" fmla="*/ 146 h 1806"/>
                <a:gd name="T112" fmla="*/ 116 w 1806"/>
                <a:gd name="T113" fmla="*/ 151 h 1806"/>
                <a:gd name="T114" fmla="*/ 113 w 1806"/>
                <a:gd name="T115" fmla="*/ 153 h 18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6"/>
                <a:gd name="T175" fmla="*/ 0 h 1806"/>
                <a:gd name="T176" fmla="*/ 1806 w 1806"/>
                <a:gd name="T177" fmla="*/ 1806 h 18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6" h="1806">
                  <a:moveTo>
                    <a:pt x="1260" y="1776"/>
                  </a:moveTo>
                  <a:lnTo>
                    <a:pt x="1254" y="1776"/>
                  </a:lnTo>
                  <a:lnTo>
                    <a:pt x="1248" y="1776"/>
                  </a:lnTo>
                  <a:lnTo>
                    <a:pt x="1242" y="1782"/>
                  </a:lnTo>
                  <a:lnTo>
                    <a:pt x="1236" y="1782"/>
                  </a:lnTo>
                  <a:lnTo>
                    <a:pt x="1230" y="1788"/>
                  </a:lnTo>
                  <a:lnTo>
                    <a:pt x="1224" y="1782"/>
                  </a:lnTo>
                  <a:lnTo>
                    <a:pt x="1218" y="1782"/>
                  </a:lnTo>
                  <a:lnTo>
                    <a:pt x="1218" y="1788"/>
                  </a:lnTo>
                  <a:lnTo>
                    <a:pt x="1212" y="1788"/>
                  </a:lnTo>
                  <a:lnTo>
                    <a:pt x="1206" y="1788"/>
                  </a:lnTo>
                  <a:lnTo>
                    <a:pt x="1206" y="1794"/>
                  </a:lnTo>
                  <a:lnTo>
                    <a:pt x="1200" y="1806"/>
                  </a:lnTo>
                  <a:lnTo>
                    <a:pt x="1194" y="1800"/>
                  </a:lnTo>
                  <a:lnTo>
                    <a:pt x="1194" y="1794"/>
                  </a:lnTo>
                  <a:lnTo>
                    <a:pt x="1194" y="1788"/>
                  </a:lnTo>
                  <a:lnTo>
                    <a:pt x="1188" y="1788"/>
                  </a:lnTo>
                  <a:lnTo>
                    <a:pt x="1188" y="1782"/>
                  </a:lnTo>
                  <a:lnTo>
                    <a:pt x="1188" y="1776"/>
                  </a:lnTo>
                  <a:lnTo>
                    <a:pt x="1194" y="1770"/>
                  </a:lnTo>
                  <a:lnTo>
                    <a:pt x="1194" y="1764"/>
                  </a:lnTo>
                  <a:lnTo>
                    <a:pt x="1194" y="1758"/>
                  </a:lnTo>
                  <a:lnTo>
                    <a:pt x="1194" y="1752"/>
                  </a:lnTo>
                  <a:lnTo>
                    <a:pt x="1200" y="1746"/>
                  </a:lnTo>
                  <a:lnTo>
                    <a:pt x="1200" y="1740"/>
                  </a:lnTo>
                  <a:lnTo>
                    <a:pt x="1200" y="1734"/>
                  </a:lnTo>
                  <a:lnTo>
                    <a:pt x="1188" y="1722"/>
                  </a:lnTo>
                  <a:lnTo>
                    <a:pt x="1188" y="1716"/>
                  </a:lnTo>
                  <a:lnTo>
                    <a:pt x="1194" y="1704"/>
                  </a:lnTo>
                  <a:lnTo>
                    <a:pt x="1194" y="1692"/>
                  </a:lnTo>
                  <a:lnTo>
                    <a:pt x="1200" y="1680"/>
                  </a:lnTo>
                  <a:lnTo>
                    <a:pt x="1200" y="1662"/>
                  </a:lnTo>
                  <a:lnTo>
                    <a:pt x="1200" y="1650"/>
                  </a:lnTo>
                  <a:lnTo>
                    <a:pt x="1206" y="1644"/>
                  </a:lnTo>
                  <a:lnTo>
                    <a:pt x="1206" y="1638"/>
                  </a:lnTo>
                  <a:lnTo>
                    <a:pt x="1206" y="1626"/>
                  </a:lnTo>
                  <a:lnTo>
                    <a:pt x="1206" y="1620"/>
                  </a:lnTo>
                  <a:lnTo>
                    <a:pt x="1206" y="1614"/>
                  </a:lnTo>
                  <a:lnTo>
                    <a:pt x="1200" y="1608"/>
                  </a:lnTo>
                  <a:lnTo>
                    <a:pt x="1200" y="1602"/>
                  </a:lnTo>
                  <a:lnTo>
                    <a:pt x="1200" y="1596"/>
                  </a:lnTo>
                  <a:lnTo>
                    <a:pt x="1200" y="1590"/>
                  </a:lnTo>
                  <a:lnTo>
                    <a:pt x="1200" y="1572"/>
                  </a:lnTo>
                  <a:lnTo>
                    <a:pt x="1200" y="1566"/>
                  </a:lnTo>
                  <a:lnTo>
                    <a:pt x="1200" y="1560"/>
                  </a:lnTo>
                  <a:lnTo>
                    <a:pt x="1194" y="1554"/>
                  </a:lnTo>
                  <a:lnTo>
                    <a:pt x="1188" y="1548"/>
                  </a:lnTo>
                  <a:lnTo>
                    <a:pt x="1188" y="1542"/>
                  </a:lnTo>
                  <a:lnTo>
                    <a:pt x="1176" y="1536"/>
                  </a:lnTo>
                  <a:lnTo>
                    <a:pt x="1176" y="1530"/>
                  </a:lnTo>
                  <a:lnTo>
                    <a:pt x="1170" y="1524"/>
                  </a:lnTo>
                  <a:lnTo>
                    <a:pt x="1170" y="1518"/>
                  </a:lnTo>
                  <a:lnTo>
                    <a:pt x="1164" y="1512"/>
                  </a:lnTo>
                  <a:lnTo>
                    <a:pt x="1158" y="1506"/>
                  </a:lnTo>
                  <a:lnTo>
                    <a:pt x="1152" y="1500"/>
                  </a:lnTo>
                  <a:lnTo>
                    <a:pt x="1146" y="1494"/>
                  </a:lnTo>
                  <a:lnTo>
                    <a:pt x="1140" y="1488"/>
                  </a:lnTo>
                  <a:lnTo>
                    <a:pt x="1134" y="1482"/>
                  </a:lnTo>
                  <a:lnTo>
                    <a:pt x="1128" y="1476"/>
                  </a:lnTo>
                  <a:lnTo>
                    <a:pt x="1122" y="1470"/>
                  </a:lnTo>
                  <a:lnTo>
                    <a:pt x="1116" y="1464"/>
                  </a:lnTo>
                  <a:lnTo>
                    <a:pt x="1110" y="1464"/>
                  </a:lnTo>
                  <a:lnTo>
                    <a:pt x="1104" y="1458"/>
                  </a:lnTo>
                  <a:lnTo>
                    <a:pt x="1098" y="1464"/>
                  </a:lnTo>
                  <a:lnTo>
                    <a:pt x="1092" y="1464"/>
                  </a:lnTo>
                  <a:lnTo>
                    <a:pt x="1086" y="1446"/>
                  </a:lnTo>
                  <a:lnTo>
                    <a:pt x="1086" y="1440"/>
                  </a:lnTo>
                  <a:lnTo>
                    <a:pt x="1080" y="1416"/>
                  </a:lnTo>
                  <a:lnTo>
                    <a:pt x="1068" y="1404"/>
                  </a:lnTo>
                  <a:lnTo>
                    <a:pt x="1062" y="1398"/>
                  </a:lnTo>
                  <a:lnTo>
                    <a:pt x="1056" y="1398"/>
                  </a:lnTo>
                  <a:lnTo>
                    <a:pt x="1050" y="1398"/>
                  </a:lnTo>
                  <a:lnTo>
                    <a:pt x="1044" y="1398"/>
                  </a:lnTo>
                  <a:lnTo>
                    <a:pt x="1044" y="1392"/>
                  </a:lnTo>
                  <a:lnTo>
                    <a:pt x="1038" y="1392"/>
                  </a:lnTo>
                  <a:lnTo>
                    <a:pt x="1032" y="1392"/>
                  </a:lnTo>
                  <a:lnTo>
                    <a:pt x="1020" y="1386"/>
                  </a:lnTo>
                  <a:lnTo>
                    <a:pt x="1014" y="1386"/>
                  </a:lnTo>
                  <a:lnTo>
                    <a:pt x="1014" y="1380"/>
                  </a:lnTo>
                  <a:lnTo>
                    <a:pt x="1008" y="1380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62"/>
                  </a:lnTo>
                  <a:lnTo>
                    <a:pt x="984" y="1356"/>
                  </a:lnTo>
                  <a:lnTo>
                    <a:pt x="978" y="1356"/>
                  </a:lnTo>
                  <a:lnTo>
                    <a:pt x="972" y="1356"/>
                  </a:lnTo>
                  <a:lnTo>
                    <a:pt x="966" y="1356"/>
                  </a:lnTo>
                  <a:lnTo>
                    <a:pt x="966" y="1350"/>
                  </a:lnTo>
                  <a:lnTo>
                    <a:pt x="948" y="1350"/>
                  </a:lnTo>
                  <a:lnTo>
                    <a:pt x="936" y="1344"/>
                  </a:lnTo>
                  <a:lnTo>
                    <a:pt x="930" y="1338"/>
                  </a:lnTo>
                  <a:lnTo>
                    <a:pt x="918" y="1332"/>
                  </a:lnTo>
                  <a:lnTo>
                    <a:pt x="900" y="1326"/>
                  </a:lnTo>
                  <a:lnTo>
                    <a:pt x="864" y="1332"/>
                  </a:lnTo>
                  <a:lnTo>
                    <a:pt x="828" y="1332"/>
                  </a:lnTo>
                  <a:lnTo>
                    <a:pt x="792" y="1314"/>
                  </a:lnTo>
                  <a:lnTo>
                    <a:pt x="780" y="1314"/>
                  </a:lnTo>
                  <a:lnTo>
                    <a:pt x="780" y="1308"/>
                  </a:lnTo>
                  <a:lnTo>
                    <a:pt x="756" y="1296"/>
                  </a:lnTo>
                  <a:lnTo>
                    <a:pt x="756" y="1278"/>
                  </a:lnTo>
                  <a:lnTo>
                    <a:pt x="768" y="1278"/>
                  </a:lnTo>
                  <a:lnTo>
                    <a:pt x="774" y="1272"/>
                  </a:lnTo>
                  <a:lnTo>
                    <a:pt x="780" y="1266"/>
                  </a:lnTo>
                  <a:lnTo>
                    <a:pt x="786" y="1260"/>
                  </a:lnTo>
                  <a:lnTo>
                    <a:pt x="792" y="1254"/>
                  </a:lnTo>
                  <a:lnTo>
                    <a:pt x="798" y="1242"/>
                  </a:lnTo>
                  <a:lnTo>
                    <a:pt x="804" y="1242"/>
                  </a:lnTo>
                  <a:lnTo>
                    <a:pt x="804" y="1206"/>
                  </a:lnTo>
                  <a:lnTo>
                    <a:pt x="804" y="1182"/>
                  </a:lnTo>
                  <a:lnTo>
                    <a:pt x="804" y="1158"/>
                  </a:lnTo>
                  <a:lnTo>
                    <a:pt x="804" y="1134"/>
                  </a:lnTo>
                  <a:lnTo>
                    <a:pt x="798" y="1116"/>
                  </a:lnTo>
                  <a:lnTo>
                    <a:pt x="792" y="1092"/>
                  </a:lnTo>
                  <a:lnTo>
                    <a:pt x="786" y="1062"/>
                  </a:lnTo>
                  <a:lnTo>
                    <a:pt x="768" y="1032"/>
                  </a:lnTo>
                  <a:lnTo>
                    <a:pt x="762" y="1032"/>
                  </a:lnTo>
                  <a:lnTo>
                    <a:pt x="762" y="1020"/>
                  </a:lnTo>
                  <a:lnTo>
                    <a:pt x="762" y="1014"/>
                  </a:lnTo>
                  <a:lnTo>
                    <a:pt x="756" y="1008"/>
                  </a:lnTo>
                  <a:lnTo>
                    <a:pt x="750" y="1002"/>
                  </a:lnTo>
                  <a:lnTo>
                    <a:pt x="738" y="1002"/>
                  </a:lnTo>
                  <a:lnTo>
                    <a:pt x="738" y="990"/>
                  </a:lnTo>
                  <a:lnTo>
                    <a:pt x="726" y="990"/>
                  </a:lnTo>
                  <a:lnTo>
                    <a:pt x="726" y="978"/>
                  </a:lnTo>
                  <a:lnTo>
                    <a:pt x="732" y="972"/>
                  </a:lnTo>
                  <a:lnTo>
                    <a:pt x="732" y="966"/>
                  </a:lnTo>
                  <a:lnTo>
                    <a:pt x="726" y="966"/>
                  </a:lnTo>
                  <a:lnTo>
                    <a:pt x="732" y="948"/>
                  </a:lnTo>
                  <a:lnTo>
                    <a:pt x="726" y="942"/>
                  </a:lnTo>
                  <a:lnTo>
                    <a:pt x="726" y="930"/>
                  </a:lnTo>
                  <a:lnTo>
                    <a:pt x="720" y="924"/>
                  </a:lnTo>
                  <a:lnTo>
                    <a:pt x="714" y="912"/>
                  </a:lnTo>
                  <a:lnTo>
                    <a:pt x="714" y="882"/>
                  </a:lnTo>
                  <a:lnTo>
                    <a:pt x="714" y="870"/>
                  </a:lnTo>
                  <a:lnTo>
                    <a:pt x="714" y="858"/>
                  </a:lnTo>
                  <a:lnTo>
                    <a:pt x="714" y="846"/>
                  </a:lnTo>
                  <a:lnTo>
                    <a:pt x="708" y="822"/>
                  </a:lnTo>
                  <a:lnTo>
                    <a:pt x="702" y="798"/>
                  </a:lnTo>
                  <a:lnTo>
                    <a:pt x="696" y="792"/>
                  </a:lnTo>
                  <a:lnTo>
                    <a:pt x="684" y="726"/>
                  </a:lnTo>
                  <a:lnTo>
                    <a:pt x="678" y="666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66" y="600"/>
                  </a:lnTo>
                  <a:lnTo>
                    <a:pt x="660" y="594"/>
                  </a:lnTo>
                  <a:lnTo>
                    <a:pt x="654" y="594"/>
                  </a:lnTo>
                  <a:lnTo>
                    <a:pt x="636" y="582"/>
                  </a:lnTo>
                  <a:lnTo>
                    <a:pt x="630" y="576"/>
                  </a:lnTo>
                  <a:lnTo>
                    <a:pt x="624" y="576"/>
                  </a:lnTo>
                  <a:lnTo>
                    <a:pt x="618" y="570"/>
                  </a:lnTo>
                  <a:lnTo>
                    <a:pt x="612" y="564"/>
                  </a:lnTo>
                  <a:lnTo>
                    <a:pt x="606" y="558"/>
                  </a:lnTo>
                  <a:lnTo>
                    <a:pt x="606" y="564"/>
                  </a:lnTo>
                  <a:lnTo>
                    <a:pt x="600" y="564"/>
                  </a:lnTo>
                  <a:lnTo>
                    <a:pt x="594" y="558"/>
                  </a:lnTo>
                  <a:lnTo>
                    <a:pt x="594" y="540"/>
                  </a:lnTo>
                  <a:lnTo>
                    <a:pt x="594" y="528"/>
                  </a:lnTo>
                  <a:lnTo>
                    <a:pt x="594" y="516"/>
                  </a:lnTo>
                  <a:lnTo>
                    <a:pt x="594" y="510"/>
                  </a:lnTo>
                  <a:lnTo>
                    <a:pt x="594" y="492"/>
                  </a:lnTo>
                  <a:lnTo>
                    <a:pt x="594" y="456"/>
                  </a:lnTo>
                  <a:lnTo>
                    <a:pt x="588" y="414"/>
                  </a:lnTo>
                  <a:lnTo>
                    <a:pt x="588" y="408"/>
                  </a:lnTo>
                  <a:lnTo>
                    <a:pt x="582" y="396"/>
                  </a:lnTo>
                  <a:lnTo>
                    <a:pt x="582" y="384"/>
                  </a:lnTo>
                  <a:lnTo>
                    <a:pt x="582" y="372"/>
                  </a:lnTo>
                  <a:lnTo>
                    <a:pt x="564" y="372"/>
                  </a:lnTo>
                  <a:lnTo>
                    <a:pt x="552" y="366"/>
                  </a:lnTo>
                  <a:lnTo>
                    <a:pt x="552" y="372"/>
                  </a:lnTo>
                  <a:lnTo>
                    <a:pt x="498" y="372"/>
                  </a:lnTo>
                  <a:lnTo>
                    <a:pt x="498" y="366"/>
                  </a:lnTo>
                  <a:lnTo>
                    <a:pt x="474" y="360"/>
                  </a:lnTo>
                  <a:lnTo>
                    <a:pt x="456" y="354"/>
                  </a:lnTo>
                  <a:lnTo>
                    <a:pt x="438" y="348"/>
                  </a:lnTo>
                  <a:lnTo>
                    <a:pt x="426" y="354"/>
                  </a:lnTo>
                  <a:lnTo>
                    <a:pt x="408" y="360"/>
                  </a:lnTo>
                  <a:lnTo>
                    <a:pt x="378" y="360"/>
                  </a:lnTo>
                  <a:lnTo>
                    <a:pt x="378" y="354"/>
                  </a:lnTo>
                  <a:lnTo>
                    <a:pt x="378" y="348"/>
                  </a:lnTo>
                  <a:lnTo>
                    <a:pt x="378" y="342"/>
                  </a:lnTo>
                  <a:lnTo>
                    <a:pt x="390" y="330"/>
                  </a:lnTo>
                  <a:lnTo>
                    <a:pt x="396" y="312"/>
                  </a:lnTo>
                  <a:lnTo>
                    <a:pt x="396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8"/>
                  </a:lnTo>
                  <a:lnTo>
                    <a:pt x="372" y="234"/>
                  </a:lnTo>
                  <a:lnTo>
                    <a:pt x="354" y="234"/>
                  </a:lnTo>
                  <a:lnTo>
                    <a:pt x="342" y="246"/>
                  </a:lnTo>
                  <a:lnTo>
                    <a:pt x="330" y="252"/>
                  </a:lnTo>
                  <a:lnTo>
                    <a:pt x="318" y="252"/>
                  </a:lnTo>
                  <a:lnTo>
                    <a:pt x="276" y="258"/>
                  </a:lnTo>
                  <a:lnTo>
                    <a:pt x="276" y="264"/>
                  </a:lnTo>
                  <a:lnTo>
                    <a:pt x="252" y="270"/>
                  </a:lnTo>
                  <a:lnTo>
                    <a:pt x="240" y="270"/>
                  </a:lnTo>
                  <a:lnTo>
                    <a:pt x="228" y="276"/>
                  </a:lnTo>
                  <a:lnTo>
                    <a:pt x="210" y="282"/>
                  </a:lnTo>
                  <a:lnTo>
                    <a:pt x="198" y="288"/>
                  </a:lnTo>
                  <a:lnTo>
                    <a:pt x="186" y="294"/>
                  </a:lnTo>
                  <a:lnTo>
                    <a:pt x="174" y="330"/>
                  </a:lnTo>
                  <a:lnTo>
                    <a:pt x="162" y="342"/>
                  </a:lnTo>
                  <a:lnTo>
                    <a:pt x="156" y="354"/>
                  </a:lnTo>
                  <a:lnTo>
                    <a:pt x="150" y="360"/>
                  </a:lnTo>
                  <a:lnTo>
                    <a:pt x="150" y="366"/>
                  </a:lnTo>
                  <a:lnTo>
                    <a:pt x="108" y="372"/>
                  </a:lnTo>
                  <a:lnTo>
                    <a:pt x="60" y="378"/>
                  </a:lnTo>
                  <a:lnTo>
                    <a:pt x="42" y="378"/>
                  </a:lnTo>
                  <a:lnTo>
                    <a:pt x="12" y="378"/>
                  </a:lnTo>
                  <a:lnTo>
                    <a:pt x="6" y="378"/>
                  </a:lnTo>
                  <a:lnTo>
                    <a:pt x="0" y="366"/>
                  </a:lnTo>
                  <a:lnTo>
                    <a:pt x="12" y="360"/>
                  </a:lnTo>
                  <a:lnTo>
                    <a:pt x="24" y="348"/>
                  </a:lnTo>
                  <a:lnTo>
                    <a:pt x="30" y="342"/>
                  </a:lnTo>
                  <a:lnTo>
                    <a:pt x="36" y="330"/>
                  </a:lnTo>
                  <a:lnTo>
                    <a:pt x="72" y="300"/>
                  </a:lnTo>
                  <a:lnTo>
                    <a:pt x="78" y="294"/>
                  </a:lnTo>
                  <a:lnTo>
                    <a:pt x="78" y="288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96" y="270"/>
                  </a:lnTo>
                  <a:lnTo>
                    <a:pt x="102" y="264"/>
                  </a:lnTo>
                  <a:lnTo>
                    <a:pt x="108" y="258"/>
                  </a:lnTo>
                  <a:lnTo>
                    <a:pt x="114" y="246"/>
                  </a:lnTo>
                  <a:lnTo>
                    <a:pt x="120" y="240"/>
                  </a:lnTo>
                  <a:lnTo>
                    <a:pt x="126" y="234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0" y="210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86" y="174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22" y="138"/>
                  </a:lnTo>
                  <a:lnTo>
                    <a:pt x="234" y="132"/>
                  </a:lnTo>
                  <a:lnTo>
                    <a:pt x="246" y="126"/>
                  </a:lnTo>
                  <a:lnTo>
                    <a:pt x="246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88" y="102"/>
                  </a:lnTo>
                  <a:lnTo>
                    <a:pt x="300" y="96"/>
                  </a:lnTo>
                  <a:lnTo>
                    <a:pt x="306" y="90"/>
                  </a:lnTo>
                  <a:lnTo>
                    <a:pt x="318" y="90"/>
                  </a:lnTo>
                  <a:lnTo>
                    <a:pt x="324" y="84"/>
                  </a:lnTo>
                  <a:lnTo>
                    <a:pt x="348" y="72"/>
                  </a:lnTo>
                  <a:lnTo>
                    <a:pt x="354" y="72"/>
                  </a:lnTo>
                  <a:lnTo>
                    <a:pt x="384" y="66"/>
                  </a:lnTo>
                  <a:lnTo>
                    <a:pt x="390" y="66"/>
                  </a:lnTo>
                  <a:lnTo>
                    <a:pt x="396" y="66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66"/>
                  </a:lnTo>
                  <a:lnTo>
                    <a:pt x="438" y="66"/>
                  </a:lnTo>
                  <a:lnTo>
                    <a:pt x="468" y="66"/>
                  </a:lnTo>
                  <a:lnTo>
                    <a:pt x="480" y="66"/>
                  </a:lnTo>
                  <a:lnTo>
                    <a:pt x="486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22" y="60"/>
                  </a:lnTo>
                  <a:lnTo>
                    <a:pt x="534" y="54"/>
                  </a:lnTo>
                  <a:lnTo>
                    <a:pt x="564" y="42"/>
                  </a:lnTo>
                  <a:lnTo>
                    <a:pt x="570" y="42"/>
                  </a:lnTo>
                  <a:lnTo>
                    <a:pt x="582" y="36"/>
                  </a:lnTo>
                  <a:lnTo>
                    <a:pt x="588" y="36"/>
                  </a:lnTo>
                  <a:lnTo>
                    <a:pt x="600" y="30"/>
                  </a:lnTo>
                  <a:lnTo>
                    <a:pt x="606" y="30"/>
                  </a:lnTo>
                  <a:lnTo>
                    <a:pt x="618" y="24"/>
                  </a:lnTo>
                  <a:lnTo>
                    <a:pt x="642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72" y="12"/>
                  </a:lnTo>
                  <a:lnTo>
                    <a:pt x="696" y="12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50" y="6"/>
                  </a:lnTo>
                  <a:lnTo>
                    <a:pt x="768" y="6"/>
                  </a:lnTo>
                  <a:lnTo>
                    <a:pt x="774" y="6"/>
                  </a:lnTo>
                  <a:lnTo>
                    <a:pt x="786" y="6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6" y="6"/>
                  </a:lnTo>
                  <a:lnTo>
                    <a:pt x="846" y="6"/>
                  </a:lnTo>
                  <a:lnTo>
                    <a:pt x="852" y="0"/>
                  </a:lnTo>
                  <a:lnTo>
                    <a:pt x="876" y="0"/>
                  </a:lnTo>
                  <a:lnTo>
                    <a:pt x="876" y="6"/>
                  </a:lnTo>
                  <a:lnTo>
                    <a:pt x="888" y="0"/>
                  </a:lnTo>
                  <a:lnTo>
                    <a:pt x="900" y="0"/>
                  </a:lnTo>
                  <a:lnTo>
                    <a:pt x="906" y="0"/>
                  </a:lnTo>
                  <a:lnTo>
                    <a:pt x="912" y="0"/>
                  </a:lnTo>
                  <a:lnTo>
                    <a:pt x="948" y="0"/>
                  </a:lnTo>
                  <a:lnTo>
                    <a:pt x="954" y="0"/>
                  </a:lnTo>
                  <a:lnTo>
                    <a:pt x="972" y="0"/>
                  </a:lnTo>
                  <a:lnTo>
                    <a:pt x="978" y="0"/>
                  </a:lnTo>
                  <a:lnTo>
                    <a:pt x="996" y="0"/>
                  </a:lnTo>
                  <a:lnTo>
                    <a:pt x="1032" y="0"/>
                  </a:lnTo>
                  <a:lnTo>
                    <a:pt x="1044" y="0"/>
                  </a:lnTo>
                  <a:lnTo>
                    <a:pt x="1050" y="0"/>
                  </a:lnTo>
                  <a:lnTo>
                    <a:pt x="1056" y="6"/>
                  </a:lnTo>
                  <a:lnTo>
                    <a:pt x="1056" y="0"/>
                  </a:lnTo>
                  <a:lnTo>
                    <a:pt x="1074" y="0"/>
                  </a:lnTo>
                  <a:lnTo>
                    <a:pt x="1098" y="6"/>
                  </a:lnTo>
                  <a:lnTo>
                    <a:pt x="1116" y="6"/>
                  </a:lnTo>
                  <a:lnTo>
                    <a:pt x="1140" y="12"/>
                  </a:lnTo>
                  <a:lnTo>
                    <a:pt x="1152" y="12"/>
                  </a:lnTo>
                  <a:lnTo>
                    <a:pt x="1158" y="12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6" y="12"/>
                  </a:lnTo>
                  <a:lnTo>
                    <a:pt x="1194" y="18"/>
                  </a:lnTo>
                  <a:lnTo>
                    <a:pt x="1206" y="18"/>
                  </a:lnTo>
                  <a:lnTo>
                    <a:pt x="1242" y="36"/>
                  </a:lnTo>
                  <a:lnTo>
                    <a:pt x="1248" y="36"/>
                  </a:lnTo>
                  <a:lnTo>
                    <a:pt x="1254" y="36"/>
                  </a:lnTo>
                  <a:lnTo>
                    <a:pt x="1260" y="42"/>
                  </a:lnTo>
                  <a:lnTo>
                    <a:pt x="1272" y="48"/>
                  </a:lnTo>
                  <a:lnTo>
                    <a:pt x="1278" y="48"/>
                  </a:lnTo>
                  <a:lnTo>
                    <a:pt x="1284" y="48"/>
                  </a:lnTo>
                  <a:lnTo>
                    <a:pt x="1290" y="54"/>
                  </a:lnTo>
                  <a:lnTo>
                    <a:pt x="1308" y="60"/>
                  </a:lnTo>
                  <a:lnTo>
                    <a:pt x="1326" y="60"/>
                  </a:lnTo>
                  <a:lnTo>
                    <a:pt x="1338" y="66"/>
                  </a:lnTo>
                  <a:lnTo>
                    <a:pt x="1344" y="66"/>
                  </a:lnTo>
                  <a:lnTo>
                    <a:pt x="1350" y="66"/>
                  </a:lnTo>
                  <a:lnTo>
                    <a:pt x="1356" y="66"/>
                  </a:lnTo>
                  <a:lnTo>
                    <a:pt x="1362" y="72"/>
                  </a:lnTo>
                  <a:lnTo>
                    <a:pt x="1368" y="72"/>
                  </a:lnTo>
                  <a:lnTo>
                    <a:pt x="1380" y="72"/>
                  </a:lnTo>
                  <a:lnTo>
                    <a:pt x="1386" y="72"/>
                  </a:lnTo>
                  <a:lnTo>
                    <a:pt x="1422" y="84"/>
                  </a:lnTo>
                  <a:lnTo>
                    <a:pt x="1428" y="84"/>
                  </a:lnTo>
                  <a:lnTo>
                    <a:pt x="1446" y="90"/>
                  </a:lnTo>
                  <a:lnTo>
                    <a:pt x="1458" y="102"/>
                  </a:lnTo>
                  <a:lnTo>
                    <a:pt x="1494" y="126"/>
                  </a:lnTo>
                  <a:lnTo>
                    <a:pt x="1500" y="132"/>
                  </a:lnTo>
                  <a:lnTo>
                    <a:pt x="1512" y="138"/>
                  </a:lnTo>
                  <a:lnTo>
                    <a:pt x="1512" y="144"/>
                  </a:lnTo>
                  <a:lnTo>
                    <a:pt x="1518" y="150"/>
                  </a:lnTo>
                  <a:lnTo>
                    <a:pt x="1530" y="156"/>
                  </a:lnTo>
                  <a:lnTo>
                    <a:pt x="1530" y="162"/>
                  </a:lnTo>
                  <a:lnTo>
                    <a:pt x="1548" y="168"/>
                  </a:lnTo>
                  <a:lnTo>
                    <a:pt x="1566" y="180"/>
                  </a:lnTo>
                  <a:lnTo>
                    <a:pt x="1578" y="186"/>
                  </a:lnTo>
                  <a:lnTo>
                    <a:pt x="1578" y="180"/>
                  </a:lnTo>
                  <a:lnTo>
                    <a:pt x="1584" y="186"/>
                  </a:lnTo>
                  <a:lnTo>
                    <a:pt x="1584" y="174"/>
                  </a:lnTo>
                  <a:lnTo>
                    <a:pt x="1590" y="174"/>
                  </a:lnTo>
                  <a:lnTo>
                    <a:pt x="1590" y="180"/>
                  </a:lnTo>
                  <a:lnTo>
                    <a:pt x="1596" y="180"/>
                  </a:lnTo>
                  <a:lnTo>
                    <a:pt x="1596" y="174"/>
                  </a:lnTo>
                  <a:lnTo>
                    <a:pt x="1602" y="174"/>
                  </a:lnTo>
                  <a:lnTo>
                    <a:pt x="1608" y="174"/>
                  </a:lnTo>
                  <a:lnTo>
                    <a:pt x="1614" y="180"/>
                  </a:lnTo>
                  <a:lnTo>
                    <a:pt x="1620" y="174"/>
                  </a:lnTo>
                  <a:lnTo>
                    <a:pt x="1614" y="168"/>
                  </a:lnTo>
                  <a:lnTo>
                    <a:pt x="1614" y="162"/>
                  </a:lnTo>
                  <a:lnTo>
                    <a:pt x="1620" y="162"/>
                  </a:lnTo>
                  <a:lnTo>
                    <a:pt x="1626" y="162"/>
                  </a:lnTo>
                  <a:lnTo>
                    <a:pt x="1632" y="162"/>
                  </a:lnTo>
                  <a:lnTo>
                    <a:pt x="1638" y="168"/>
                  </a:lnTo>
                  <a:lnTo>
                    <a:pt x="1644" y="168"/>
                  </a:lnTo>
                  <a:lnTo>
                    <a:pt x="1650" y="174"/>
                  </a:lnTo>
                  <a:lnTo>
                    <a:pt x="1656" y="168"/>
                  </a:lnTo>
                  <a:lnTo>
                    <a:pt x="1668" y="168"/>
                  </a:lnTo>
                  <a:lnTo>
                    <a:pt x="1674" y="174"/>
                  </a:lnTo>
                  <a:lnTo>
                    <a:pt x="1674" y="180"/>
                  </a:lnTo>
                  <a:lnTo>
                    <a:pt x="1674" y="186"/>
                  </a:lnTo>
                  <a:lnTo>
                    <a:pt x="1680" y="186"/>
                  </a:lnTo>
                  <a:lnTo>
                    <a:pt x="1680" y="192"/>
                  </a:lnTo>
                  <a:lnTo>
                    <a:pt x="1686" y="192"/>
                  </a:lnTo>
                  <a:lnTo>
                    <a:pt x="1686" y="186"/>
                  </a:lnTo>
                  <a:lnTo>
                    <a:pt x="1680" y="186"/>
                  </a:lnTo>
                  <a:lnTo>
                    <a:pt x="1686" y="180"/>
                  </a:lnTo>
                  <a:lnTo>
                    <a:pt x="1692" y="180"/>
                  </a:lnTo>
                  <a:lnTo>
                    <a:pt x="1698" y="180"/>
                  </a:lnTo>
                  <a:lnTo>
                    <a:pt x="1704" y="180"/>
                  </a:lnTo>
                  <a:lnTo>
                    <a:pt x="1704" y="186"/>
                  </a:lnTo>
                  <a:lnTo>
                    <a:pt x="1710" y="186"/>
                  </a:lnTo>
                  <a:lnTo>
                    <a:pt x="1716" y="186"/>
                  </a:lnTo>
                  <a:lnTo>
                    <a:pt x="1716" y="192"/>
                  </a:lnTo>
                  <a:lnTo>
                    <a:pt x="1716" y="198"/>
                  </a:lnTo>
                  <a:lnTo>
                    <a:pt x="1722" y="192"/>
                  </a:lnTo>
                  <a:lnTo>
                    <a:pt x="1722" y="186"/>
                  </a:lnTo>
                  <a:lnTo>
                    <a:pt x="1728" y="192"/>
                  </a:lnTo>
                  <a:lnTo>
                    <a:pt x="1734" y="192"/>
                  </a:lnTo>
                  <a:lnTo>
                    <a:pt x="1734" y="186"/>
                  </a:lnTo>
                  <a:lnTo>
                    <a:pt x="1740" y="186"/>
                  </a:lnTo>
                  <a:lnTo>
                    <a:pt x="1740" y="192"/>
                  </a:lnTo>
                  <a:lnTo>
                    <a:pt x="1746" y="192"/>
                  </a:lnTo>
                  <a:lnTo>
                    <a:pt x="1758" y="192"/>
                  </a:lnTo>
                  <a:lnTo>
                    <a:pt x="1764" y="192"/>
                  </a:lnTo>
                  <a:lnTo>
                    <a:pt x="1764" y="198"/>
                  </a:lnTo>
                  <a:lnTo>
                    <a:pt x="1758" y="204"/>
                  </a:lnTo>
                  <a:lnTo>
                    <a:pt x="1752" y="210"/>
                  </a:lnTo>
                  <a:lnTo>
                    <a:pt x="1746" y="216"/>
                  </a:lnTo>
                  <a:lnTo>
                    <a:pt x="1746" y="222"/>
                  </a:lnTo>
                  <a:lnTo>
                    <a:pt x="1734" y="228"/>
                  </a:lnTo>
                  <a:lnTo>
                    <a:pt x="1734" y="234"/>
                  </a:lnTo>
                  <a:lnTo>
                    <a:pt x="1734" y="258"/>
                  </a:lnTo>
                  <a:lnTo>
                    <a:pt x="1740" y="330"/>
                  </a:lnTo>
                  <a:lnTo>
                    <a:pt x="1746" y="372"/>
                  </a:lnTo>
                  <a:lnTo>
                    <a:pt x="1788" y="426"/>
                  </a:lnTo>
                  <a:lnTo>
                    <a:pt x="1806" y="438"/>
                  </a:lnTo>
                  <a:lnTo>
                    <a:pt x="1794" y="480"/>
                  </a:lnTo>
                  <a:lnTo>
                    <a:pt x="1770" y="516"/>
                  </a:lnTo>
                  <a:lnTo>
                    <a:pt x="1746" y="546"/>
                  </a:lnTo>
                  <a:lnTo>
                    <a:pt x="1716" y="570"/>
                  </a:lnTo>
                  <a:lnTo>
                    <a:pt x="1680" y="594"/>
                  </a:lnTo>
                  <a:lnTo>
                    <a:pt x="1668" y="630"/>
                  </a:lnTo>
                  <a:lnTo>
                    <a:pt x="1680" y="684"/>
                  </a:lnTo>
                  <a:lnTo>
                    <a:pt x="1686" y="756"/>
                  </a:lnTo>
                  <a:lnTo>
                    <a:pt x="1662" y="870"/>
                  </a:lnTo>
                  <a:lnTo>
                    <a:pt x="1656" y="888"/>
                  </a:lnTo>
                  <a:lnTo>
                    <a:pt x="1650" y="972"/>
                  </a:lnTo>
                  <a:lnTo>
                    <a:pt x="1656" y="978"/>
                  </a:lnTo>
                  <a:lnTo>
                    <a:pt x="1650" y="984"/>
                  </a:lnTo>
                  <a:lnTo>
                    <a:pt x="1650" y="990"/>
                  </a:lnTo>
                  <a:lnTo>
                    <a:pt x="1650" y="1002"/>
                  </a:lnTo>
                  <a:lnTo>
                    <a:pt x="1656" y="1008"/>
                  </a:lnTo>
                  <a:lnTo>
                    <a:pt x="1656" y="1014"/>
                  </a:lnTo>
                  <a:lnTo>
                    <a:pt x="1662" y="1026"/>
                  </a:lnTo>
                  <a:lnTo>
                    <a:pt x="1650" y="1032"/>
                  </a:lnTo>
                  <a:lnTo>
                    <a:pt x="1638" y="1044"/>
                  </a:lnTo>
                  <a:lnTo>
                    <a:pt x="1626" y="1080"/>
                  </a:lnTo>
                  <a:lnTo>
                    <a:pt x="1614" y="1116"/>
                  </a:lnTo>
                  <a:lnTo>
                    <a:pt x="1614" y="1128"/>
                  </a:lnTo>
                  <a:lnTo>
                    <a:pt x="1626" y="1134"/>
                  </a:lnTo>
                  <a:lnTo>
                    <a:pt x="1644" y="1134"/>
                  </a:lnTo>
                  <a:lnTo>
                    <a:pt x="1662" y="1134"/>
                  </a:lnTo>
                  <a:lnTo>
                    <a:pt x="1680" y="1140"/>
                  </a:lnTo>
                  <a:lnTo>
                    <a:pt x="1698" y="1170"/>
                  </a:lnTo>
                  <a:lnTo>
                    <a:pt x="1704" y="1194"/>
                  </a:lnTo>
                  <a:lnTo>
                    <a:pt x="1692" y="1206"/>
                  </a:lnTo>
                  <a:lnTo>
                    <a:pt x="1662" y="1242"/>
                  </a:lnTo>
                  <a:lnTo>
                    <a:pt x="1632" y="1266"/>
                  </a:lnTo>
                  <a:lnTo>
                    <a:pt x="1620" y="1314"/>
                  </a:lnTo>
                  <a:lnTo>
                    <a:pt x="1584" y="1356"/>
                  </a:lnTo>
                  <a:lnTo>
                    <a:pt x="1578" y="1356"/>
                  </a:lnTo>
                  <a:lnTo>
                    <a:pt x="1578" y="1362"/>
                  </a:lnTo>
                  <a:lnTo>
                    <a:pt x="1572" y="1410"/>
                  </a:lnTo>
                  <a:lnTo>
                    <a:pt x="1584" y="1452"/>
                  </a:lnTo>
                  <a:lnTo>
                    <a:pt x="1608" y="1476"/>
                  </a:lnTo>
                  <a:lnTo>
                    <a:pt x="1596" y="1476"/>
                  </a:lnTo>
                  <a:lnTo>
                    <a:pt x="1584" y="1482"/>
                  </a:lnTo>
                  <a:lnTo>
                    <a:pt x="1560" y="1482"/>
                  </a:lnTo>
                  <a:lnTo>
                    <a:pt x="1536" y="1482"/>
                  </a:lnTo>
                  <a:lnTo>
                    <a:pt x="1524" y="1482"/>
                  </a:lnTo>
                  <a:lnTo>
                    <a:pt x="1506" y="1500"/>
                  </a:lnTo>
                  <a:lnTo>
                    <a:pt x="1482" y="1530"/>
                  </a:lnTo>
                  <a:lnTo>
                    <a:pt x="1452" y="1542"/>
                  </a:lnTo>
                  <a:lnTo>
                    <a:pt x="1446" y="1542"/>
                  </a:lnTo>
                  <a:lnTo>
                    <a:pt x="1440" y="1542"/>
                  </a:lnTo>
                  <a:lnTo>
                    <a:pt x="1440" y="1548"/>
                  </a:lnTo>
                  <a:lnTo>
                    <a:pt x="1434" y="1548"/>
                  </a:lnTo>
                  <a:lnTo>
                    <a:pt x="1428" y="1548"/>
                  </a:lnTo>
                  <a:lnTo>
                    <a:pt x="1428" y="1554"/>
                  </a:lnTo>
                  <a:lnTo>
                    <a:pt x="1422" y="1560"/>
                  </a:lnTo>
                  <a:lnTo>
                    <a:pt x="1416" y="1560"/>
                  </a:lnTo>
                  <a:lnTo>
                    <a:pt x="1410" y="1566"/>
                  </a:lnTo>
                  <a:lnTo>
                    <a:pt x="1410" y="1560"/>
                  </a:lnTo>
                  <a:lnTo>
                    <a:pt x="1404" y="1560"/>
                  </a:lnTo>
                  <a:lnTo>
                    <a:pt x="1392" y="1560"/>
                  </a:lnTo>
                  <a:lnTo>
                    <a:pt x="1386" y="1560"/>
                  </a:lnTo>
                  <a:lnTo>
                    <a:pt x="1380" y="1566"/>
                  </a:lnTo>
                  <a:lnTo>
                    <a:pt x="1374" y="1560"/>
                  </a:lnTo>
                  <a:lnTo>
                    <a:pt x="1368" y="1566"/>
                  </a:lnTo>
                  <a:lnTo>
                    <a:pt x="1362" y="1566"/>
                  </a:lnTo>
                  <a:lnTo>
                    <a:pt x="1362" y="1572"/>
                  </a:lnTo>
                  <a:lnTo>
                    <a:pt x="1356" y="1572"/>
                  </a:lnTo>
                  <a:lnTo>
                    <a:pt x="1356" y="1578"/>
                  </a:lnTo>
                  <a:lnTo>
                    <a:pt x="1350" y="1578"/>
                  </a:lnTo>
                  <a:lnTo>
                    <a:pt x="1350" y="1572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32" y="1584"/>
                  </a:lnTo>
                  <a:lnTo>
                    <a:pt x="1326" y="1590"/>
                  </a:lnTo>
                  <a:lnTo>
                    <a:pt x="1320" y="1584"/>
                  </a:lnTo>
                  <a:lnTo>
                    <a:pt x="1314" y="1590"/>
                  </a:lnTo>
                  <a:lnTo>
                    <a:pt x="1308" y="1596"/>
                  </a:lnTo>
                  <a:lnTo>
                    <a:pt x="1302" y="1596"/>
                  </a:lnTo>
                  <a:lnTo>
                    <a:pt x="1296" y="1596"/>
                  </a:lnTo>
                  <a:lnTo>
                    <a:pt x="1290" y="1596"/>
                  </a:lnTo>
                  <a:lnTo>
                    <a:pt x="1284" y="1596"/>
                  </a:lnTo>
                  <a:lnTo>
                    <a:pt x="1278" y="1602"/>
                  </a:lnTo>
                  <a:lnTo>
                    <a:pt x="1266" y="1602"/>
                  </a:lnTo>
                  <a:lnTo>
                    <a:pt x="1272" y="1608"/>
                  </a:lnTo>
                  <a:lnTo>
                    <a:pt x="1278" y="1608"/>
                  </a:lnTo>
                  <a:lnTo>
                    <a:pt x="1284" y="1608"/>
                  </a:lnTo>
                  <a:lnTo>
                    <a:pt x="1290" y="1614"/>
                  </a:lnTo>
                  <a:lnTo>
                    <a:pt x="1296" y="1620"/>
                  </a:lnTo>
                  <a:lnTo>
                    <a:pt x="1302" y="1626"/>
                  </a:lnTo>
                  <a:lnTo>
                    <a:pt x="1308" y="1632"/>
                  </a:lnTo>
                  <a:lnTo>
                    <a:pt x="1314" y="1638"/>
                  </a:lnTo>
                  <a:lnTo>
                    <a:pt x="1314" y="1644"/>
                  </a:lnTo>
                  <a:lnTo>
                    <a:pt x="1320" y="1644"/>
                  </a:lnTo>
                  <a:lnTo>
                    <a:pt x="1320" y="1650"/>
                  </a:lnTo>
                  <a:lnTo>
                    <a:pt x="1326" y="1656"/>
                  </a:lnTo>
                  <a:lnTo>
                    <a:pt x="1332" y="1668"/>
                  </a:lnTo>
                  <a:lnTo>
                    <a:pt x="1338" y="1680"/>
                  </a:lnTo>
                  <a:lnTo>
                    <a:pt x="1338" y="1698"/>
                  </a:lnTo>
                  <a:lnTo>
                    <a:pt x="1350" y="1710"/>
                  </a:lnTo>
                  <a:lnTo>
                    <a:pt x="1350" y="1716"/>
                  </a:lnTo>
                  <a:lnTo>
                    <a:pt x="1350" y="1722"/>
                  </a:lnTo>
                  <a:lnTo>
                    <a:pt x="1350" y="1728"/>
                  </a:lnTo>
                  <a:lnTo>
                    <a:pt x="1356" y="1728"/>
                  </a:lnTo>
                  <a:lnTo>
                    <a:pt x="1356" y="1734"/>
                  </a:lnTo>
                  <a:lnTo>
                    <a:pt x="1350" y="1734"/>
                  </a:lnTo>
                  <a:lnTo>
                    <a:pt x="1344" y="1740"/>
                  </a:lnTo>
                  <a:lnTo>
                    <a:pt x="1338" y="1740"/>
                  </a:lnTo>
                  <a:lnTo>
                    <a:pt x="1332" y="1746"/>
                  </a:lnTo>
                  <a:lnTo>
                    <a:pt x="1326" y="1746"/>
                  </a:lnTo>
                  <a:lnTo>
                    <a:pt x="1326" y="1752"/>
                  </a:lnTo>
                  <a:lnTo>
                    <a:pt x="1320" y="1752"/>
                  </a:lnTo>
                  <a:lnTo>
                    <a:pt x="1320" y="1758"/>
                  </a:lnTo>
                  <a:lnTo>
                    <a:pt x="1314" y="1758"/>
                  </a:lnTo>
                  <a:lnTo>
                    <a:pt x="1308" y="1758"/>
                  </a:lnTo>
                  <a:lnTo>
                    <a:pt x="1302" y="1758"/>
                  </a:lnTo>
                  <a:lnTo>
                    <a:pt x="1296" y="1758"/>
                  </a:lnTo>
                  <a:lnTo>
                    <a:pt x="1290" y="1764"/>
                  </a:lnTo>
                  <a:lnTo>
                    <a:pt x="1284" y="1770"/>
                  </a:lnTo>
                  <a:lnTo>
                    <a:pt x="1278" y="1770"/>
                  </a:lnTo>
                  <a:lnTo>
                    <a:pt x="1272" y="1770"/>
                  </a:lnTo>
                  <a:lnTo>
                    <a:pt x="1266" y="1770"/>
                  </a:lnTo>
                  <a:lnTo>
                    <a:pt x="1266" y="1776"/>
                  </a:lnTo>
                  <a:lnTo>
                    <a:pt x="1260" y="1776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4" name="Freeform 39">
              <a:extLst>
                <a:ext uri="{FF2B5EF4-FFF2-40B4-BE49-F238E27FC236}">
                  <a16:creationId xmlns:a16="http://schemas.microsoft.com/office/drawing/2014/main" id="{E01CDA8B-32C7-421A-B23E-968CAC7F78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2974" y="1759680"/>
              <a:ext cx="825155" cy="700024"/>
            </a:xfrm>
            <a:custGeom>
              <a:avLst/>
              <a:gdLst>
                <a:gd name="T0" fmla="*/ 60 w 1554"/>
                <a:gd name="T1" fmla="*/ 86 h 1320"/>
                <a:gd name="T2" fmla="*/ 66 w 1554"/>
                <a:gd name="T3" fmla="*/ 80 h 1320"/>
                <a:gd name="T4" fmla="*/ 61 w 1554"/>
                <a:gd name="T5" fmla="*/ 73 h 1320"/>
                <a:gd name="T6" fmla="*/ 57 w 1554"/>
                <a:gd name="T7" fmla="*/ 67 h 1320"/>
                <a:gd name="T8" fmla="*/ 60 w 1554"/>
                <a:gd name="T9" fmla="*/ 59 h 1320"/>
                <a:gd name="T10" fmla="*/ 56 w 1554"/>
                <a:gd name="T11" fmla="*/ 55 h 1320"/>
                <a:gd name="T12" fmla="*/ 45 w 1554"/>
                <a:gd name="T13" fmla="*/ 53 h 1320"/>
                <a:gd name="T14" fmla="*/ 42 w 1554"/>
                <a:gd name="T15" fmla="*/ 41 h 1320"/>
                <a:gd name="T16" fmla="*/ 37 w 1554"/>
                <a:gd name="T17" fmla="*/ 39 h 1320"/>
                <a:gd name="T18" fmla="*/ 31 w 1554"/>
                <a:gd name="T19" fmla="*/ 44 h 1320"/>
                <a:gd name="T20" fmla="*/ 37 w 1554"/>
                <a:gd name="T21" fmla="*/ 35 h 1320"/>
                <a:gd name="T22" fmla="*/ 30 w 1554"/>
                <a:gd name="T23" fmla="*/ 23 h 1320"/>
                <a:gd name="T24" fmla="*/ 21 w 1554"/>
                <a:gd name="T25" fmla="*/ 23 h 1320"/>
                <a:gd name="T26" fmla="*/ 15 w 1554"/>
                <a:gd name="T27" fmla="*/ 27 h 1320"/>
                <a:gd name="T28" fmla="*/ 11 w 1554"/>
                <a:gd name="T29" fmla="*/ 32 h 1320"/>
                <a:gd name="T30" fmla="*/ 6 w 1554"/>
                <a:gd name="T31" fmla="*/ 22 h 1320"/>
                <a:gd name="T32" fmla="*/ 3 w 1554"/>
                <a:gd name="T33" fmla="*/ 11 h 1320"/>
                <a:gd name="T34" fmla="*/ 24 w 1554"/>
                <a:gd name="T35" fmla="*/ 12 h 1320"/>
                <a:gd name="T36" fmla="*/ 33 w 1554"/>
                <a:gd name="T37" fmla="*/ 19 h 1320"/>
                <a:gd name="T38" fmla="*/ 49 w 1554"/>
                <a:gd name="T39" fmla="*/ 12 h 1320"/>
                <a:gd name="T40" fmla="*/ 58 w 1554"/>
                <a:gd name="T41" fmla="*/ 10 h 1320"/>
                <a:gd name="T42" fmla="*/ 68 w 1554"/>
                <a:gd name="T43" fmla="*/ 11 h 1320"/>
                <a:gd name="T44" fmla="*/ 79 w 1554"/>
                <a:gd name="T45" fmla="*/ 12 h 1320"/>
                <a:gd name="T46" fmla="*/ 96 w 1554"/>
                <a:gd name="T47" fmla="*/ 11 h 1320"/>
                <a:gd name="T48" fmla="*/ 107 w 1554"/>
                <a:gd name="T49" fmla="*/ 2 h 1320"/>
                <a:gd name="T50" fmla="*/ 117 w 1554"/>
                <a:gd name="T51" fmla="*/ 8 h 1320"/>
                <a:gd name="T52" fmla="*/ 126 w 1554"/>
                <a:gd name="T53" fmla="*/ 12 h 1320"/>
                <a:gd name="T54" fmla="*/ 134 w 1554"/>
                <a:gd name="T55" fmla="*/ 24 h 1320"/>
                <a:gd name="T56" fmla="*/ 133 w 1554"/>
                <a:gd name="T57" fmla="*/ 29 h 1320"/>
                <a:gd name="T58" fmla="*/ 129 w 1554"/>
                <a:gd name="T59" fmla="*/ 31 h 1320"/>
                <a:gd name="T60" fmla="*/ 125 w 1554"/>
                <a:gd name="T61" fmla="*/ 32 h 1320"/>
                <a:gd name="T62" fmla="*/ 115 w 1554"/>
                <a:gd name="T63" fmla="*/ 34 h 1320"/>
                <a:gd name="T64" fmla="*/ 113 w 1554"/>
                <a:gd name="T65" fmla="*/ 44 h 1320"/>
                <a:gd name="T66" fmla="*/ 111 w 1554"/>
                <a:gd name="T67" fmla="*/ 54 h 1320"/>
                <a:gd name="T68" fmla="*/ 107 w 1554"/>
                <a:gd name="T69" fmla="*/ 56 h 1320"/>
                <a:gd name="T70" fmla="*/ 102 w 1554"/>
                <a:gd name="T71" fmla="*/ 58 h 1320"/>
                <a:gd name="T72" fmla="*/ 99 w 1554"/>
                <a:gd name="T73" fmla="*/ 60 h 1320"/>
                <a:gd name="T74" fmla="*/ 93 w 1554"/>
                <a:gd name="T75" fmla="*/ 62 h 1320"/>
                <a:gd name="T76" fmla="*/ 87 w 1554"/>
                <a:gd name="T77" fmla="*/ 64 h 1320"/>
                <a:gd name="T78" fmla="*/ 84 w 1554"/>
                <a:gd name="T79" fmla="*/ 65 h 1320"/>
                <a:gd name="T80" fmla="*/ 81 w 1554"/>
                <a:gd name="T81" fmla="*/ 69 h 1320"/>
                <a:gd name="T82" fmla="*/ 83 w 1554"/>
                <a:gd name="T83" fmla="*/ 72 h 1320"/>
                <a:gd name="T84" fmla="*/ 92 w 1554"/>
                <a:gd name="T85" fmla="*/ 73 h 1320"/>
                <a:gd name="T86" fmla="*/ 93 w 1554"/>
                <a:gd name="T87" fmla="*/ 87 h 1320"/>
                <a:gd name="T88" fmla="*/ 104 w 1554"/>
                <a:gd name="T89" fmla="*/ 98 h 1320"/>
                <a:gd name="T90" fmla="*/ 108 w 1554"/>
                <a:gd name="T91" fmla="*/ 98 h 1320"/>
                <a:gd name="T92" fmla="*/ 112 w 1554"/>
                <a:gd name="T93" fmla="*/ 100 h 1320"/>
                <a:gd name="T94" fmla="*/ 118 w 1554"/>
                <a:gd name="T95" fmla="*/ 100 h 1320"/>
                <a:gd name="T96" fmla="*/ 122 w 1554"/>
                <a:gd name="T97" fmla="*/ 102 h 1320"/>
                <a:gd name="T98" fmla="*/ 118 w 1554"/>
                <a:gd name="T99" fmla="*/ 105 h 1320"/>
                <a:gd name="T100" fmla="*/ 114 w 1554"/>
                <a:gd name="T101" fmla="*/ 107 h 1320"/>
                <a:gd name="T102" fmla="*/ 113 w 1554"/>
                <a:gd name="T103" fmla="*/ 113 h 1320"/>
                <a:gd name="T104" fmla="*/ 104 w 1554"/>
                <a:gd name="T105" fmla="*/ 113 h 1320"/>
                <a:gd name="T106" fmla="*/ 93 w 1554"/>
                <a:gd name="T107" fmla="*/ 109 h 1320"/>
                <a:gd name="T108" fmla="*/ 96 w 1554"/>
                <a:gd name="T109" fmla="*/ 103 h 1320"/>
                <a:gd name="T110" fmla="*/ 95 w 1554"/>
                <a:gd name="T111" fmla="*/ 97 h 1320"/>
                <a:gd name="T112" fmla="*/ 87 w 1554"/>
                <a:gd name="T113" fmla="*/ 98 h 1320"/>
                <a:gd name="T114" fmla="*/ 81 w 1554"/>
                <a:gd name="T115" fmla="*/ 98 h 1320"/>
                <a:gd name="T116" fmla="*/ 78 w 1554"/>
                <a:gd name="T117" fmla="*/ 93 h 1320"/>
                <a:gd name="T118" fmla="*/ 65 w 1554"/>
                <a:gd name="T119" fmla="*/ 92 h 1320"/>
                <a:gd name="T120" fmla="*/ 59 w 1554"/>
                <a:gd name="T121" fmla="*/ 92 h 13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54"/>
                <a:gd name="T184" fmla="*/ 0 h 1320"/>
                <a:gd name="T185" fmla="*/ 1554 w 1554"/>
                <a:gd name="T186" fmla="*/ 1320 h 132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54" h="1320">
                  <a:moveTo>
                    <a:pt x="684" y="1068"/>
                  </a:moveTo>
                  <a:lnTo>
                    <a:pt x="684" y="1062"/>
                  </a:lnTo>
                  <a:lnTo>
                    <a:pt x="690" y="1056"/>
                  </a:lnTo>
                  <a:lnTo>
                    <a:pt x="690" y="1050"/>
                  </a:lnTo>
                  <a:lnTo>
                    <a:pt x="690" y="1044"/>
                  </a:lnTo>
                  <a:lnTo>
                    <a:pt x="690" y="1038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14"/>
                  </a:lnTo>
                  <a:lnTo>
                    <a:pt x="690" y="1008"/>
                  </a:lnTo>
                  <a:lnTo>
                    <a:pt x="696" y="996"/>
                  </a:lnTo>
                  <a:lnTo>
                    <a:pt x="714" y="996"/>
                  </a:lnTo>
                  <a:lnTo>
                    <a:pt x="714" y="990"/>
                  </a:lnTo>
                  <a:lnTo>
                    <a:pt x="732" y="984"/>
                  </a:lnTo>
                  <a:lnTo>
                    <a:pt x="744" y="978"/>
                  </a:lnTo>
                  <a:lnTo>
                    <a:pt x="762" y="966"/>
                  </a:lnTo>
                  <a:lnTo>
                    <a:pt x="762" y="960"/>
                  </a:lnTo>
                  <a:lnTo>
                    <a:pt x="768" y="954"/>
                  </a:lnTo>
                  <a:lnTo>
                    <a:pt x="774" y="948"/>
                  </a:lnTo>
                  <a:lnTo>
                    <a:pt x="774" y="942"/>
                  </a:lnTo>
                  <a:lnTo>
                    <a:pt x="774" y="924"/>
                  </a:lnTo>
                  <a:lnTo>
                    <a:pt x="768" y="918"/>
                  </a:lnTo>
                  <a:lnTo>
                    <a:pt x="756" y="918"/>
                  </a:lnTo>
                  <a:lnTo>
                    <a:pt x="744" y="918"/>
                  </a:lnTo>
                  <a:lnTo>
                    <a:pt x="732" y="924"/>
                  </a:lnTo>
                  <a:lnTo>
                    <a:pt x="726" y="912"/>
                  </a:lnTo>
                  <a:lnTo>
                    <a:pt x="720" y="912"/>
                  </a:lnTo>
                  <a:lnTo>
                    <a:pt x="720" y="900"/>
                  </a:lnTo>
                  <a:lnTo>
                    <a:pt x="720" y="870"/>
                  </a:lnTo>
                  <a:lnTo>
                    <a:pt x="696" y="876"/>
                  </a:lnTo>
                  <a:lnTo>
                    <a:pt x="690" y="852"/>
                  </a:lnTo>
                  <a:lnTo>
                    <a:pt x="702" y="852"/>
                  </a:lnTo>
                  <a:lnTo>
                    <a:pt x="702" y="840"/>
                  </a:lnTo>
                  <a:lnTo>
                    <a:pt x="708" y="834"/>
                  </a:lnTo>
                  <a:lnTo>
                    <a:pt x="702" y="822"/>
                  </a:lnTo>
                  <a:lnTo>
                    <a:pt x="660" y="822"/>
                  </a:lnTo>
                  <a:lnTo>
                    <a:pt x="654" y="822"/>
                  </a:lnTo>
                  <a:lnTo>
                    <a:pt x="642" y="822"/>
                  </a:lnTo>
                  <a:lnTo>
                    <a:pt x="642" y="810"/>
                  </a:lnTo>
                  <a:lnTo>
                    <a:pt x="642" y="798"/>
                  </a:lnTo>
                  <a:lnTo>
                    <a:pt x="642" y="792"/>
                  </a:lnTo>
                  <a:lnTo>
                    <a:pt x="648" y="780"/>
                  </a:lnTo>
                  <a:lnTo>
                    <a:pt x="654" y="774"/>
                  </a:lnTo>
                  <a:lnTo>
                    <a:pt x="660" y="774"/>
                  </a:lnTo>
                  <a:lnTo>
                    <a:pt x="672" y="762"/>
                  </a:lnTo>
                  <a:lnTo>
                    <a:pt x="672" y="756"/>
                  </a:lnTo>
                  <a:lnTo>
                    <a:pt x="678" y="750"/>
                  </a:lnTo>
                  <a:lnTo>
                    <a:pt x="684" y="750"/>
                  </a:lnTo>
                  <a:lnTo>
                    <a:pt x="690" y="744"/>
                  </a:lnTo>
                  <a:lnTo>
                    <a:pt x="696" y="732"/>
                  </a:lnTo>
                  <a:lnTo>
                    <a:pt x="696" y="726"/>
                  </a:lnTo>
                  <a:lnTo>
                    <a:pt x="702" y="714"/>
                  </a:lnTo>
                  <a:lnTo>
                    <a:pt x="696" y="708"/>
                  </a:lnTo>
                  <a:lnTo>
                    <a:pt x="690" y="690"/>
                  </a:lnTo>
                  <a:lnTo>
                    <a:pt x="696" y="678"/>
                  </a:lnTo>
                  <a:lnTo>
                    <a:pt x="708" y="672"/>
                  </a:lnTo>
                  <a:lnTo>
                    <a:pt x="708" y="660"/>
                  </a:lnTo>
                  <a:lnTo>
                    <a:pt x="702" y="660"/>
                  </a:lnTo>
                  <a:lnTo>
                    <a:pt x="696" y="660"/>
                  </a:lnTo>
                  <a:lnTo>
                    <a:pt x="690" y="654"/>
                  </a:lnTo>
                  <a:lnTo>
                    <a:pt x="684" y="654"/>
                  </a:lnTo>
                  <a:lnTo>
                    <a:pt x="690" y="606"/>
                  </a:lnTo>
                  <a:lnTo>
                    <a:pt x="660" y="606"/>
                  </a:lnTo>
                  <a:lnTo>
                    <a:pt x="660" y="612"/>
                  </a:lnTo>
                  <a:lnTo>
                    <a:pt x="648" y="612"/>
                  </a:lnTo>
                  <a:lnTo>
                    <a:pt x="642" y="636"/>
                  </a:lnTo>
                  <a:lnTo>
                    <a:pt x="636" y="636"/>
                  </a:lnTo>
                  <a:lnTo>
                    <a:pt x="630" y="648"/>
                  </a:lnTo>
                  <a:lnTo>
                    <a:pt x="612" y="648"/>
                  </a:lnTo>
                  <a:lnTo>
                    <a:pt x="606" y="636"/>
                  </a:lnTo>
                  <a:lnTo>
                    <a:pt x="600" y="630"/>
                  </a:lnTo>
                  <a:lnTo>
                    <a:pt x="588" y="606"/>
                  </a:lnTo>
                  <a:lnTo>
                    <a:pt x="552" y="606"/>
                  </a:lnTo>
                  <a:lnTo>
                    <a:pt x="552" y="612"/>
                  </a:lnTo>
                  <a:lnTo>
                    <a:pt x="540" y="612"/>
                  </a:lnTo>
                  <a:lnTo>
                    <a:pt x="540" y="606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16" y="612"/>
                  </a:lnTo>
                  <a:lnTo>
                    <a:pt x="516" y="582"/>
                  </a:lnTo>
                  <a:lnTo>
                    <a:pt x="522" y="576"/>
                  </a:lnTo>
                  <a:lnTo>
                    <a:pt x="528" y="576"/>
                  </a:lnTo>
                  <a:lnTo>
                    <a:pt x="528" y="552"/>
                  </a:lnTo>
                  <a:lnTo>
                    <a:pt x="522" y="540"/>
                  </a:lnTo>
                  <a:lnTo>
                    <a:pt x="510" y="528"/>
                  </a:lnTo>
                  <a:lnTo>
                    <a:pt x="486" y="510"/>
                  </a:lnTo>
                  <a:lnTo>
                    <a:pt x="480" y="498"/>
                  </a:lnTo>
                  <a:lnTo>
                    <a:pt x="480" y="474"/>
                  </a:lnTo>
                  <a:lnTo>
                    <a:pt x="492" y="468"/>
                  </a:lnTo>
                  <a:lnTo>
                    <a:pt x="486" y="450"/>
                  </a:lnTo>
                  <a:lnTo>
                    <a:pt x="474" y="456"/>
                  </a:lnTo>
                  <a:lnTo>
                    <a:pt x="468" y="456"/>
                  </a:lnTo>
                  <a:lnTo>
                    <a:pt x="462" y="456"/>
                  </a:lnTo>
                  <a:lnTo>
                    <a:pt x="456" y="468"/>
                  </a:lnTo>
                  <a:lnTo>
                    <a:pt x="456" y="474"/>
                  </a:lnTo>
                  <a:lnTo>
                    <a:pt x="450" y="480"/>
                  </a:lnTo>
                  <a:lnTo>
                    <a:pt x="444" y="450"/>
                  </a:lnTo>
                  <a:lnTo>
                    <a:pt x="438" y="450"/>
                  </a:lnTo>
                  <a:lnTo>
                    <a:pt x="432" y="450"/>
                  </a:lnTo>
                  <a:lnTo>
                    <a:pt x="420" y="450"/>
                  </a:lnTo>
                  <a:lnTo>
                    <a:pt x="420" y="456"/>
                  </a:lnTo>
                  <a:lnTo>
                    <a:pt x="414" y="456"/>
                  </a:lnTo>
                  <a:lnTo>
                    <a:pt x="408" y="468"/>
                  </a:lnTo>
                  <a:lnTo>
                    <a:pt x="402" y="468"/>
                  </a:lnTo>
                  <a:lnTo>
                    <a:pt x="396" y="474"/>
                  </a:lnTo>
                  <a:lnTo>
                    <a:pt x="390" y="492"/>
                  </a:lnTo>
                  <a:lnTo>
                    <a:pt x="384" y="504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54" y="510"/>
                  </a:lnTo>
                  <a:lnTo>
                    <a:pt x="360" y="480"/>
                  </a:lnTo>
                  <a:lnTo>
                    <a:pt x="360" y="474"/>
                  </a:lnTo>
                  <a:lnTo>
                    <a:pt x="378" y="456"/>
                  </a:lnTo>
                  <a:lnTo>
                    <a:pt x="384" y="450"/>
                  </a:lnTo>
                  <a:lnTo>
                    <a:pt x="396" y="444"/>
                  </a:lnTo>
                  <a:lnTo>
                    <a:pt x="402" y="438"/>
                  </a:lnTo>
                  <a:lnTo>
                    <a:pt x="408" y="438"/>
                  </a:lnTo>
                  <a:lnTo>
                    <a:pt x="408" y="426"/>
                  </a:lnTo>
                  <a:lnTo>
                    <a:pt x="414" y="420"/>
                  </a:lnTo>
                  <a:lnTo>
                    <a:pt x="426" y="420"/>
                  </a:lnTo>
                  <a:lnTo>
                    <a:pt x="426" y="408"/>
                  </a:lnTo>
                  <a:lnTo>
                    <a:pt x="420" y="390"/>
                  </a:lnTo>
                  <a:lnTo>
                    <a:pt x="408" y="384"/>
                  </a:lnTo>
                  <a:lnTo>
                    <a:pt x="378" y="378"/>
                  </a:lnTo>
                  <a:lnTo>
                    <a:pt x="354" y="366"/>
                  </a:lnTo>
                  <a:lnTo>
                    <a:pt x="342" y="360"/>
                  </a:lnTo>
                  <a:lnTo>
                    <a:pt x="342" y="348"/>
                  </a:lnTo>
                  <a:lnTo>
                    <a:pt x="336" y="330"/>
                  </a:lnTo>
                  <a:lnTo>
                    <a:pt x="348" y="306"/>
                  </a:lnTo>
                  <a:lnTo>
                    <a:pt x="360" y="294"/>
                  </a:lnTo>
                  <a:lnTo>
                    <a:pt x="360" y="282"/>
                  </a:lnTo>
                  <a:lnTo>
                    <a:pt x="342" y="270"/>
                  </a:lnTo>
                  <a:lnTo>
                    <a:pt x="342" y="264"/>
                  </a:lnTo>
                  <a:lnTo>
                    <a:pt x="330" y="264"/>
                  </a:lnTo>
                  <a:lnTo>
                    <a:pt x="312" y="270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88" y="270"/>
                  </a:lnTo>
                  <a:lnTo>
                    <a:pt x="282" y="270"/>
                  </a:lnTo>
                  <a:lnTo>
                    <a:pt x="276" y="264"/>
                  </a:lnTo>
                  <a:lnTo>
                    <a:pt x="270" y="264"/>
                  </a:lnTo>
                  <a:lnTo>
                    <a:pt x="252" y="270"/>
                  </a:lnTo>
                  <a:lnTo>
                    <a:pt x="246" y="270"/>
                  </a:lnTo>
                  <a:lnTo>
                    <a:pt x="240" y="270"/>
                  </a:lnTo>
                  <a:lnTo>
                    <a:pt x="228" y="270"/>
                  </a:lnTo>
                  <a:lnTo>
                    <a:pt x="216" y="276"/>
                  </a:lnTo>
                  <a:lnTo>
                    <a:pt x="210" y="270"/>
                  </a:lnTo>
                  <a:lnTo>
                    <a:pt x="204" y="270"/>
                  </a:lnTo>
                  <a:lnTo>
                    <a:pt x="198" y="276"/>
                  </a:lnTo>
                  <a:lnTo>
                    <a:pt x="192" y="276"/>
                  </a:lnTo>
                  <a:lnTo>
                    <a:pt x="186" y="282"/>
                  </a:lnTo>
                  <a:lnTo>
                    <a:pt x="180" y="288"/>
                  </a:lnTo>
                  <a:lnTo>
                    <a:pt x="174" y="300"/>
                  </a:lnTo>
                  <a:lnTo>
                    <a:pt x="168" y="306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8" y="330"/>
                  </a:lnTo>
                  <a:lnTo>
                    <a:pt x="162" y="336"/>
                  </a:lnTo>
                  <a:lnTo>
                    <a:pt x="156" y="342"/>
                  </a:lnTo>
                  <a:lnTo>
                    <a:pt x="156" y="348"/>
                  </a:lnTo>
                  <a:lnTo>
                    <a:pt x="156" y="354"/>
                  </a:lnTo>
                  <a:lnTo>
                    <a:pt x="150" y="366"/>
                  </a:lnTo>
                  <a:lnTo>
                    <a:pt x="150" y="372"/>
                  </a:lnTo>
                  <a:lnTo>
                    <a:pt x="144" y="366"/>
                  </a:lnTo>
                  <a:lnTo>
                    <a:pt x="132" y="366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20" y="348"/>
                  </a:lnTo>
                  <a:lnTo>
                    <a:pt x="102" y="330"/>
                  </a:lnTo>
                  <a:lnTo>
                    <a:pt x="96" y="318"/>
                  </a:lnTo>
                  <a:lnTo>
                    <a:pt x="96" y="282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0" y="258"/>
                  </a:lnTo>
                  <a:lnTo>
                    <a:pt x="84" y="252"/>
                  </a:lnTo>
                  <a:lnTo>
                    <a:pt x="66" y="258"/>
                  </a:lnTo>
                  <a:lnTo>
                    <a:pt x="60" y="246"/>
                  </a:lnTo>
                  <a:lnTo>
                    <a:pt x="30" y="252"/>
                  </a:lnTo>
                  <a:lnTo>
                    <a:pt x="18" y="246"/>
                  </a:lnTo>
                  <a:lnTo>
                    <a:pt x="0" y="240"/>
                  </a:lnTo>
                  <a:lnTo>
                    <a:pt x="0" y="234"/>
                  </a:lnTo>
                  <a:lnTo>
                    <a:pt x="0" y="210"/>
                  </a:lnTo>
                  <a:lnTo>
                    <a:pt x="6" y="204"/>
                  </a:lnTo>
                  <a:lnTo>
                    <a:pt x="18" y="192"/>
                  </a:lnTo>
                  <a:lnTo>
                    <a:pt x="18" y="144"/>
                  </a:lnTo>
                  <a:lnTo>
                    <a:pt x="24" y="126"/>
                  </a:lnTo>
                  <a:lnTo>
                    <a:pt x="36" y="126"/>
                  </a:lnTo>
                  <a:lnTo>
                    <a:pt x="54" y="120"/>
                  </a:lnTo>
                  <a:lnTo>
                    <a:pt x="54" y="126"/>
                  </a:lnTo>
                  <a:lnTo>
                    <a:pt x="132" y="114"/>
                  </a:lnTo>
                  <a:lnTo>
                    <a:pt x="144" y="120"/>
                  </a:lnTo>
                  <a:lnTo>
                    <a:pt x="150" y="132"/>
                  </a:lnTo>
                  <a:lnTo>
                    <a:pt x="180" y="126"/>
                  </a:lnTo>
                  <a:lnTo>
                    <a:pt x="210" y="120"/>
                  </a:lnTo>
                  <a:lnTo>
                    <a:pt x="240" y="120"/>
                  </a:lnTo>
                  <a:lnTo>
                    <a:pt x="258" y="120"/>
                  </a:lnTo>
                  <a:lnTo>
                    <a:pt x="270" y="126"/>
                  </a:lnTo>
                  <a:lnTo>
                    <a:pt x="276" y="132"/>
                  </a:lnTo>
                  <a:lnTo>
                    <a:pt x="282" y="138"/>
                  </a:lnTo>
                  <a:lnTo>
                    <a:pt x="282" y="156"/>
                  </a:lnTo>
                  <a:lnTo>
                    <a:pt x="288" y="186"/>
                  </a:lnTo>
                  <a:lnTo>
                    <a:pt x="312" y="192"/>
                  </a:lnTo>
                  <a:lnTo>
                    <a:pt x="318" y="198"/>
                  </a:lnTo>
                  <a:lnTo>
                    <a:pt x="324" y="204"/>
                  </a:lnTo>
                  <a:lnTo>
                    <a:pt x="330" y="210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66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86" y="210"/>
                  </a:lnTo>
                  <a:lnTo>
                    <a:pt x="498" y="198"/>
                  </a:lnTo>
                  <a:lnTo>
                    <a:pt x="504" y="174"/>
                  </a:lnTo>
                  <a:lnTo>
                    <a:pt x="516" y="162"/>
                  </a:lnTo>
                  <a:lnTo>
                    <a:pt x="516" y="138"/>
                  </a:lnTo>
                  <a:lnTo>
                    <a:pt x="522" y="132"/>
                  </a:lnTo>
                  <a:lnTo>
                    <a:pt x="564" y="132"/>
                  </a:lnTo>
                  <a:lnTo>
                    <a:pt x="564" y="114"/>
                  </a:lnTo>
                  <a:lnTo>
                    <a:pt x="582" y="114"/>
                  </a:lnTo>
                  <a:lnTo>
                    <a:pt x="594" y="114"/>
                  </a:lnTo>
                  <a:lnTo>
                    <a:pt x="606" y="114"/>
                  </a:lnTo>
                  <a:lnTo>
                    <a:pt x="612" y="114"/>
                  </a:lnTo>
                  <a:lnTo>
                    <a:pt x="630" y="114"/>
                  </a:lnTo>
                  <a:lnTo>
                    <a:pt x="636" y="114"/>
                  </a:lnTo>
                  <a:lnTo>
                    <a:pt x="648" y="114"/>
                  </a:lnTo>
                  <a:lnTo>
                    <a:pt x="654" y="114"/>
                  </a:lnTo>
                  <a:lnTo>
                    <a:pt x="660" y="120"/>
                  </a:lnTo>
                  <a:lnTo>
                    <a:pt x="672" y="120"/>
                  </a:lnTo>
                  <a:lnTo>
                    <a:pt x="684" y="120"/>
                  </a:lnTo>
                  <a:lnTo>
                    <a:pt x="690" y="120"/>
                  </a:lnTo>
                  <a:lnTo>
                    <a:pt x="702" y="120"/>
                  </a:lnTo>
                  <a:lnTo>
                    <a:pt x="708" y="120"/>
                  </a:lnTo>
                  <a:lnTo>
                    <a:pt x="726" y="126"/>
                  </a:lnTo>
                  <a:lnTo>
                    <a:pt x="732" y="126"/>
                  </a:lnTo>
                  <a:lnTo>
                    <a:pt x="738" y="126"/>
                  </a:lnTo>
                  <a:lnTo>
                    <a:pt x="750" y="126"/>
                  </a:lnTo>
                  <a:lnTo>
                    <a:pt x="756" y="126"/>
                  </a:lnTo>
                  <a:lnTo>
                    <a:pt x="768" y="126"/>
                  </a:lnTo>
                  <a:lnTo>
                    <a:pt x="780" y="126"/>
                  </a:lnTo>
                  <a:lnTo>
                    <a:pt x="786" y="120"/>
                  </a:lnTo>
                  <a:lnTo>
                    <a:pt x="792" y="120"/>
                  </a:lnTo>
                  <a:lnTo>
                    <a:pt x="810" y="120"/>
                  </a:lnTo>
                  <a:lnTo>
                    <a:pt x="822" y="120"/>
                  </a:lnTo>
                  <a:lnTo>
                    <a:pt x="846" y="126"/>
                  </a:lnTo>
                  <a:lnTo>
                    <a:pt x="858" y="126"/>
                  </a:lnTo>
                  <a:lnTo>
                    <a:pt x="870" y="132"/>
                  </a:lnTo>
                  <a:lnTo>
                    <a:pt x="882" y="132"/>
                  </a:lnTo>
                  <a:lnTo>
                    <a:pt x="894" y="132"/>
                  </a:lnTo>
                  <a:lnTo>
                    <a:pt x="900" y="132"/>
                  </a:lnTo>
                  <a:lnTo>
                    <a:pt x="912" y="132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36" y="132"/>
                  </a:lnTo>
                  <a:lnTo>
                    <a:pt x="960" y="132"/>
                  </a:lnTo>
                  <a:lnTo>
                    <a:pt x="966" y="144"/>
                  </a:lnTo>
                  <a:lnTo>
                    <a:pt x="972" y="144"/>
                  </a:lnTo>
                  <a:lnTo>
                    <a:pt x="1002" y="144"/>
                  </a:lnTo>
                  <a:lnTo>
                    <a:pt x="1020" y="144"/>
                  </a:lnTo>
                  <a:lnTo>
                    <a:pt x="1068" y="138"/>
                  </a:lnTo>
                  <a:lnTo>
                    <a:pt x="1110" y="132"/>
                  </a:lnTo>
                  <a:lnTo>
                    <a:pt x="1110" y="126"/>
                  </a:lnTo>
                  <a:lnTo>
                    <a:pt x="1116" y="120"/>
                  </a:lnTo>
                  <a:lnTo>
                    <a:pt x="1122" y="108"/>
                  </a:lnTo>
                  <a:lnTo>
                    <a:pt x="1134" y="96"/>
                  </a:lnTo>
                  <a:lnTo>
                    <a:pt x="1146" y="60"/>
                  </a:lnTo>
                  <a:lnTo>
                    <a:pt x="1158" y="54"/>
                  </a:lnTo>
                  <a:lnTo>
                    <a:pt x="1170" y="48"/>
                  </a:lnTo>
                  <a:lnTo>
                    <a:pt x="1188" y="42"/>
                  </a:lnTo>
                  <a:lnTo>
                    <a:pt x="1200" y="36"/>
                  </a:lnTo>
                  <a:lnTo>
                    <a:pt x="1212" y="36"/>
                  </a:lnTo>
                  <a:lnTo>
                    <a:pt x="1236" y="30"/>
                  </a:lnTo>
                  <a:lnTo>
                    <a:pt x="1236" y="24"/>
                  </a:lnTo>
                  <a:lnTo>
                    <a:pt x="1278" y="18"/>
                  </a:lnTo>
                  <a:lnTo>
                    <a:pt x="1290" y="18"/>
                  </a:lnTo>
                  <a:lnTo>
                    <a:pt x="1302" y="12"/>
                  </a:lnTo>
                  <a:lnTo>
                    <a:pt x="1314" y="0"/>
                  </a:lnTo>
                  <a:lnTo>
                    <a:pt x="1332" y="0"/>
                  </a:lnTo>
                  <a:lnTo>
                    <a:pt x="1338" y="24"/>
                  </a:lnTo>
                  <a:lnTo>
                    <a:pt x="1344" y="30"/>
                  </a:lnTo>
                  <a:lnTo>
                    <a:pt x="1350" y="42"/>
                  </a:lnTo>
                  <a:lnTo>
                    <a:pt x="1356" y="48"/>
                  </a:lnTo>
                  <a:lnTo>
                    <a:pt x="1356" y="78"/>
                  </a:lnTo>
                  <a:lnTo>
                    <a:pt x="1350" y="96"/>
                  </a:lnTo>
                  <a:lnTo>
                    <a:pt x="1338" y="108"/>
                  </a:lnTo>
                  <a:lnTo>
                    <a:pt x="1338" y="114"/>
                  </a:lnTo>
                  <a:lnTo>
                    <a:pt x="1338" y="120"/>
                  </a:lnTo>
                  <a:lnTo>
                    <a:pt x="1338" y="126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398" y="114"/>
                  </a:lnTo>
                  <a:lnTo>
                    <a:pt x="1416" y="120"/>
                  </a:lnTo>
                  <a:lnTo>
                    <a:pt x="1434" y="126"/>
                  </a:lnTo>
                  <a:lnTo>
                    <a:pt x="1458" y="132"/>
                  </a:lnTo>
                  <a:lnTo>
                    <a:pt x="1458" y="138"/>
                  </a:lnTo>
                  <a:lnTo>
                    <a:pt x="1512" y="138"/>
                  </a:lnTo>
                  <a:lnTo>
                    <a:pt x="1512" y="132"/>
                  </a:lnTo>
                  <a:lnTo>
                    <a:pt x="1524" y="138"/>
                  </a:lnTo>
                  <a:lnTo>
                    <a:pt x="1542" y="138"/>
                  </a:lnTo>
                  <a:lnTo>
                    <a:pt x="1542" y="150"/>
                  </a:lnTo>
                  <a:lnTo>
                    <a:pt x="1542" y="162"/>
                  </a:lnTo>
                  <a:lnTo>
                    <a:pt x="1548" y="174"/>
                  </a:lnTo>
                  <a:lnTo>
                    <a:pt x="1548" y="180"/>
                  </a:lnTo>
                  <a:lnTo>
                    <a:pt x="1554" y="222"/>
                  </a:lnTo>
                  <a:lnTo>
                    <a:pt x="1554" y="258"/>
                  </a:lnTo>
                  <a:lnTo>
                    <a:pt x="1554" y="276"/>
                  </a:lnTo>
                  <a:lnTo>
                    <a:pt x="1554" y="282"/>
                  </a:lnTo>
                  <a:lnTo>
                    <a:pt x="1554" y="294"/>
                  </a:lnTo>
                  <a:lnTo>
                    <a:pt x="1554" y="306"/>
                  </a:lnTo>
                  <a:lnTo>
                    <a:pt x="1554" y="324"/>
                  </a:lnTo>
                  <a:lnTo>
                    <a:pt x="1554" y="330"/>
                  </a:lnTo>
                  <a:lnTo>
                    <a:pt x="1548" y="330"/>
                  </a:lnTo>
                  <a:lnTo>
                    <a:pt x="1548" y="336"/>
                  </a:lnTo>
                  <a:lnTo>
                    <a:pt x="1548" y="342"/>
                  </a:lnTo>
                  <a:lnTo>
                    <a:pt x="1542" y="336"/>
                  </a:lnTo>
                  <a:lnTo>
                    <a:pt x="1542" y="330"/>
                  </a:lnTo>
                  <a:lnTo>
                    <a:pt x="1536" y="330"/>
                  </a:lnTo>
                  <a:lnTo>
                    <a:pt x="1530" y="330"/>
                  </a:lnTo>
                  <a:lnTo>
                    <a:pt x="1530" y="336"/>
                  </a:lnTo>
                  <a:lnTo>
                    <a:pt x="1536" y="342"/>
                  </a:lnTo>
                  <a:lnTo>
                    <a:pt x="1530" y="342"/>
                  </a:lnTo>
                  <a:lnTo>
                    <a:pt x="1518" y="348"/>
                  </a:lnTo>
                  <a:lnTo>
                    <a:pt x="1512" y="354"/>
                  </a:lnTo>
                  <a:lnTo>
                    <a:pt x="1506" y="354"/>
                  </a:lnTo>
                  <a:lnTo>
                    <a:pt x="1500" y="354"/>
                  </a:lnTo>
                  <a:lnTo>
                    <a:pt x="1494" y="354"/>
                  </a:lnTo>
                  <a:lnTo>
                    <a:pt x="1494" y="360"/>
                  </a:lnTo>
                  <a:lnTo>
                    <a:pt x="1488" y="360"/>
                  </a:lnTo>
                  <a:lnTo>
                    <a:pt x="1488" y="366"/>
                  </a:lnTo>
                  <a:lnTo>
                    <a:pt x="1488" y="372"/>
                  </a:lnTo>
                  <a:lnTo>
                    <a:pt x="1482" y="372"/>
                  </a:lnTo>
                  <a:lnTo>
                    <a:pt x="1476" y="372"/>
                  </a:lnTo>
                  <a:lnTo>
                    <a:pt x="1470" y="372"/>
                  </a:lnTo>
                  <a:lnTo>
                    <a:pt x="1470" y="378"/>
                  </a:lnTo>
                  <a:lnTo>
                    <a:pt x="1470" y="384"/>
                  </a:lnTo>
                  <a:lnTo>
                    <a:pt x="1470" y="390"/>
                  </a:lnTo>
                  <a:lnTo>
                    <a:pt x="1464" y="402"/>
                  </a:lnTo>
                  <a:lnTo>
                    <a:pt x="1446" y="402"/>
                  </a:lnTo>
                  <a:lnTo>
                    <a:pt x="1440" y="372"/>
                  </a:lnTo>
                  <a:lnTo>
                    <a:pt x="1410" y="372"/>
                  </a:lnTo>
                  <a:lnTo>
                    <a:pt x="1380" y="372"/>
                  </a:lnTo>
                  <a:lnTo>
                    <a:pt x="1374" y="372"/>
                  </a:lnTo>
                  <a:lnTo>
                    <a:pt x="1368" y="378"/>
                  </a:lnTo>
                  <a:lnTo>
                    <a:pt x="1362" y="378"/>
                  </a:lnTo>
                  <a:lnTo>
                    <a:pt x="1356" y="378"/>
                  </a:lnTo>
                  <a:lnTo>
                    <a:pt x="1350" y="384"/>
                  </a:lnTo>
                  <a:lnTo>
                    <a:pt x="1350" y="390"/>
                  </a:lnTo>
                  <a:lnTo>
                    <a:pt x="1344" y="390"/>
                  </a:lnTo>
                  <a:lnTo>
                    <a:pt x="1338" y="390"/>
                  </a:lnTo>
                  <a:lnTo>
                    <a:pt x="1332" y="390"/>
                  </a:lnTo>
                  <a:lnTo>
                    <a:pt x="1332" y="396"/>
                  </a:lnTo>
                  <a:lnTo>
                    <a:pt x="1332" y="390"/>
                  </a:lnTo>
                  <a:lnTo>
                    <a:pt x="1326" y="402"/>
                  </a:lnTo>
                  <a:lnTo>
                    <a:pt x="1320" y="402"/>
                  </a:lnTo>
                  <a:lnTo>
                    <a:pt x="1302" y="474"/>
                  </a:lnTo>
                  <a:lnTo>
                    <a:pt x="1308" y="480"/>
                  </a:lnTo>
                  <a:lnTo>
                    <a:pt x="1314" y="480"/>
                  </a:lnTo>
                  <a:lnTo>
                    <a:pt x="1308" y="498"/>
                  </a:lnTo>
                  <a:lnTo>
                    <a:pt x="1308" y="504"/>
                  </a:lnTo>
                  <a:lnTo>
                    <a:pt x="1314" y="510"/>
                  </a:lnTo>
                  <a:lnTo>
                    <a:pt x="1308" y="510"/>
                  </a:lnTo>
                  <a:lnTo>
                    <a:pt x="1308" y="516"/>
                  </a:lnTo>
                  <a:lnTo>
                    <a:pt x="1302" y="516"/>
                  </a:lnTo>
                  <a:lnTo>
                    <a:pt x="1296" y="510"/>
                  </a:lnTo>
                  <a:lnTo>
                    <a:pt x="1296" y="516"/>
                  </a:lnTo>
                  <a:lnTo>
                    <a:pt x="1290" y="540"/>
                  </a:lnTo>
                  <a:lnTo>
                    <a:pt x="1290" y="552"/>
                  </a:lnTo>
                  <a:lnTo>
                    <a:pt x="1284" y="558"/>
                  </a:lnTo>
                  <a:lnTo>
                    <a:pt x="1290" y="576"/>
                  </a:lnTo>
                  <a:lnTo>
                    <a:pt x="1290" y="600"/>
                  </a:lnTo>
                  <a:lnTo>
                    <a:pt x="1284" y="618"/>
                  </a:lnTo>
                  <a:lnTo>
                    <a:pt x="1290" y="624"/>
                  </a:lnTo>
                  <a:lnTo>
                    <a:pt x="1284" y="630"/>
                  </a:lnTo>
                  <a:lnTo>
                    <a:pt x="1278" y="630"/>
                  </a:lnTo>
                  <a:lnTo>
                    <a:pt x="1272" y="630"/>
                  </a:lnTo>
                  <a:lnTo>
                    <a:pt x="1266" y="636"/>
                  </a:lnTo>
                  <a:lnTo>
                    <a:pt x="1260" y="642"/>
                  </a:lnTo>
                  <a:lnTo>
                    <a:pt x="1260" y="636"/>
                  </a:lnTo>
                  <a:lnTo>
                    <a:pt x="1254" y="636"/>
                  </a:lnTo>
                  <a:lnTo>
                    <a:pt x="1248" y="636"/>
                  </a:lnTo>
                  <a:lnTo>
                    <a:pt x="1248" y="642"/>
                  </a:lnTo>
                  <a:lnTo>
                    <a:pt x="1242" y="642"/>
                  </a:lnTo>
                  <a:lnTo>
                    <a:pt x="1242" y="648"/>
                  </a:lnTo>
                  <a:lnTo>
                    <a:pt x="1236" y="654"/>
                  </a:lnTo>
                  <a:lnTo>
                    <a:pt x="1230" y="654"/>
                  </a:lnTo>
                  <a:lnTo>
                    <a:pt x="1224" y="654"/>
                  </a:lnTo>
                  <a:lnTo>
                    <a:pt x="1218" y="660"/>
                  </a:lnTo>
                  <a:lnTo>
                    <a:pt x="1212" y="660"/>
                  </a:lnTo>
                  <a:lnTo>
                    <a:pt x="1206" y="660"/>
                  </a:lnTo>
                  <a:lnTo>
                    <a:pt x="1200" y="660"/>
                  </a:lnTo>
                  <a:lnTo>
                    <a:pt x="1200" y="666"/>
                  </a:lnTo>
                  <a:lnTo>
                    <a:pt x="1194" y="666"/>
                  </a:lnTo>
                  <a:lnTo>
                    <a:pt x="1188" y="666"/>
                  </a:lnTo>
                  <a:lnTo>
                    <a:pt x="1182" y="672"/>
                  </a:lnTo>
                  <a:lnTo>
                    <a:pt x="1176" y="672"/>
                  </a:lnTo>
                  <a:lnTo>
                    <a:pt x="1170" y="672"/>
                  </a:lnTo>
                  <a:lnTo>
                    <a:pt x="1164" y="678"/>
                  </a:lnTo>
                  <a:lnTo>
                    <a:pt x="1170" y="678"/>
                  </a:lnTo>
                  <a:lnTo>
                    <a:pt x="1164" y="684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52" y="684"/>
                  </a:lnTo>
                  <a:lnTo>
                    <a:pt x="1152" y="690"/>
                  </a:lnTo>
                  <a:lnTo>
                    <a:pt x="1146" y="690"/>
                  </a:lnTo>
                  <a:lnTo>
                    <a:pt x="1140" y="690"/>
                  </a:lnTo>
                  <a:lnTo>
                    <a:pt x="1134" y="696"/>
                  </a:lnTo>
                  <a:lnTo>
                    <a:pt x="1128" y="696"/>
                  </a:lnTo>
                  <a:lnTo>
                    <a:pt x="1122" y="702"/>
                  </a:lnTo>
                  <a:lnTo>
                    <a:pt x="1116" y="702"/>
                  </a:lnTo>
                  <a:lnTo>
                    <a:pt x="1110" y="708"/>
                  </a:lnTo>
                  <a:lnTo>
                    <a:pt x="1104" y="708"/>
                  </a:lnTo>
                  <a:lnTo>
                    <a:pt x="1098" y="708"/>
                  </a:lnTo>
                  <a:lnTo>
                    <a:pt x="1092" y="708"/>
                  </a:lnTo>
                  <a:lnTo>
                    <a:pt x="1092" y="714"/>
                  </a:lnTo>
                  <a:lnTo>
                    <a:pt x="1086" y="720"/>
                  </a:lnTo>
                  <a:lnTo>
                    <a:pt x="1080" y="720"/>
                  </a:lnTo>
                  <a:lnTo>
                    <a:pt x="1074" y="720"/>
                  </a:lnTo>
                  <a:lnTo>
                    <a:pt x="1068" y="720"/>
                  </a:lnTo>
                  <a:lnTo>
                    <a:pt x="1062" y="720"/>
                  </a:lnTo>
                  <a:lnTo>
                    <a:pt x="1050" y="726"/>
                  </a:lnTo>
                  <a:lnTo>
                    <a:pt x="1044" y="726"/>
                  </a:lnTo>
                  <a:lnTo>
                    <a:pt x="1038" y="732"/>
                  </a:lnTo>
                  <a:lnTo>
                    <a:pt x="1026" y="732"/>
                  </a:lnTo>
                  <a:lnTo>
                    <a:pt x="1020" y="732"/>
                  </a:lnTo>
                  <a:lnTo>
                    <a:pt x="1014" y="738"/>
                  </a:lnTo>
                  <a:lnTo>
                    <a:pt x="1008" y="738"/>
                  </a:lnTo>
                  <a:lnTo>
                    <a:pt x="1002" y="738"/>
                  </a:lnTo>
                  <a:lnTo>
                    <a:pt x="996" y="738"/>
                  </a:lnTo>
                  <a:lnTo>
                    <a:pt x="990" y="738"/>
                  </a:lnTo>
                  <a:lnTo>
                    <a:pt x="990" y="732"/>
                  </a:lnTo>
                  <a:lnTo>
                    <a:pt x="984" y="732"/>
                  </a:lnTo>
                  <a:lnTo>
                    <a:pt x="978" y="738"/>
                  </a:lnTo>
                  <a:lnTo>
                    <a:pt x="978" y="744"/>
                  </a:lnTo>
                  <a:lnTo>
                    <a:pt x="984" y="744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8" y="756"/>
                  </a:lnTo>
                  <a:lnTo>
                    <a:pt x="972" y="756"/>
                  </a:lnTo>
                  <a:lnTo>
                    <a:pt x="972" y="762"/>
                  </a:lnTo>
                  <a:lnTo>
                    <a:pt x="966" y="768"/>
                  </a:lnTo>
                  <a:lnTo>
                    <a:pt x="966" y="762"/>
                  </a:lnTo>
                  <a:lnTo>
                    <a:pt x="960" y="762"/>
                  </a:lnTo>
                  <a:lnTo>
                    <a:pt x="954" y="768"/>
                  </a:lnTo>
                  <a:lnTo>
                    <a:pt x="954" y="774"/>
                  </a:lnTo>
                  <a:lnTo>
                    <a:pt x="948" y="774"/>
                  </a:lnTo>
                  <a:lnTo>
                    <a:pt x="948" y="780"/>
                  </a:lnTo>
                  <a:lnTo>
                    <a:pt x="948" y="786"/>
                  </a:lnTo>
                  <a:lnTo>
                    <a:pt x="942" y="786"/>
                  </a:lnTo>
                  <a:lnTo>
                    <a:pt x="942" y="792"/>
                  </a:lnTo>
                  <a:lnTo>
                    <a:pt x="936" y="792"/>
                  </a:lnTo>
                  <a:lnTo>
                    <a:pt x="942" y="798"/>
                  </a:lnTo>
                  <a:lnTo>
                    <a:pt x="942" y="804"/>
                  </a:lnTo>
                  <a:lnTo>
                    <a:pt x="942" y="810"/>
                  </a:lnTo>
                  <a:lnTo>
                    <a:pt x="948" y="810"/>
                  </a:lnTo>
                  <a:lnTo>
                    <a:pt x="942" y="816"/>
                  </a:lnTo>
                  <a:lnTo>
                    <a:pt x="948" y="816"/>
                  </a:lnTo>
                  <a:lnTo>
                    <a:pt x="948" y="822"/>
                  </a:lnTo>
                  <a:lnTo>
                    <a:pt x="954" y="822"/>
                  </a:lnTo>
                  <a:lnTo>
                    <a:pt x="960" y="828"/>
                  </a:lnTo>
                  <a:lnTo>
                    <a:pt x="960" y="834"/>
                  </a:lnTo>
                  <a:lnTo>
                    <a:pt x="966" y="834"/>
                  </a:lnTo>
                  <a:lnTo>
                    <a:pt x="960" y="840"/>
                  </a:lnTo>
                  <a:lnTo>
                    <a:pt x="966" y="846"/>
                  </a:lnTo>
                  <a:lnTo>
                    <a:pt x="966" y="840"/>
                  </a:lnTo>
                  <a:lnTo>
                    <a:pt x="972" y="840"/>
                  </a:lnTo>
                  <a:lnTo>
                    <a:pt x="990" y="840"/>
                  </a:lnTo>
                  <a:lnTo>
                    <a:pt x="1002" y="834"/>
                  </a:lnTo>
                  <a:lnTo>
                    <a:pt x="1020" y="828"/>
                  </a:lnTo>
                  <a:lnTo>
                    <a:pt x="1032" y="828"/>
                  </a:lnTo>
                  <a:lnTo>
                    <a:pt x="1050" y="828"/>
                  </a:lnTo>
                  <a:lnTo>
                    <a:pt x="1062" y="846"/>
                  </a:lnTo>
                  <a:lnTo>
                    <a:pt x="1074" y="876"/>
                  </a:lnTo>
                  <a:lnTo>
                    <a:pt x="1068" y="900"/>
                  </a:lnTo>
                  <a:lnTo>
                    <a:pt x="1074" y="912"/>
                  </a:lnTo>
                  <a:lnTo>
                    <a:pt x="1074" y="936"/>
                  </a:lnTo>
                  <a:lnTo>
                    <a:pt x="1068" y="942"/>
                  </a:lnTo>
                  <a:lnTo>
                    <a:pt x="1062" y="954"/>
                  </a:lnTo>
                  <a:lnTo>
                    <a:pt x="1056" y="978"/>
                  </a:lnTo>
                  <a:lnTo>
                    <a:pt x="1056" y="996"/>
                  </a:lnTo>
                  <a:lnTo>
                    <a:pt x="1068" y="990"/>
                  </a:lnTo>
                  <a:lnTo>
                    <a:pt x="1074" y="990"/>
                  </a:lnTo>
                  <a:lnTo>
                    <a:pt x="1074" y="1008"/>
                  </a:lnTo>
                  <a:lnTo>
                    <a:pt x="1080" y="1008"/>
                  </a:lnTo>
                  <a:lnTo>
                    <a:pt x="1092" y="1014"/>
                  </a:lnTo>
                  <a:lnTo>
                    <a:pt x="1110" y="1044"/>
                  </a:lnTo>
                  <a:lnTo>
                    <a:pt x="1110" y="1062"/>
                  </a:lnTo>
                  <a:lnTo>
                    <a:pt x="1128" y="1068"/>
                  </a:lnTo>
                  <a:lnTo>
                    <a:pt x="1128" y="1092"/>
                  </a:lnTo>
                  <a:lnTo>
                    <a:pt x="1134" y="1098"/>
                  </a:lnTo>
                  <a:lnTo>
                    <a:pt x="1158" y="1122"/>
                  </a:lnTo>
                  <a:lnTo>
                    <a:pt x="1188" y="1122"/>
                  </a:lnTo>
                  <a:lnTo>
                    <a:pt x="1188" y="1128"/>
                  </a:lnTo>
                  <a:lnTo>
                    <a:pt x="1200" y="1134"/>
                  </a:lnTo>
                  <a:lnTo>
                    <a:pt x="1206" y="1134"/>
                  </a:lnTo>
                  <a:lnTo>
                    <a:pt x="1206" y="1128"/>
                  </a:lnTo>
                  <a:lnTo>
                    <a:pt x="1212" y="1128"/>
                  </a:lnTo>
                  <a:lnTo>
                    <a:pt x="1218" y="1128"/>
                  </a:lnTo>
                  <a:lnTo>
                    <a:pt x="1224" y="1122"/>
                  </a:lnTo>
                  <a:lnTo>
                    <a:pt x="1224" y="1128"/>
                  </a:lnTo>
                  <a:lnTo>
                    <a:pt x="1230" y="1128"/>
                  </a:lnTo>
                  <a:lnTo>
                    <a:pt x="1236" y="1128"/>
                  </a:lnTo>
                  <a:lnTo>
                    <a:pt x="1236" y="1122"/>
                  </a:lnTo>
                  <a:lnTo>
                    <a:pt x="1242" y="1122"/>
                  </a:lnTo>
                  <a:lnTo>
                    <a:pt x="1248" y="1128"/>
                  </a:lnTo>
                  <a:lnTo>
                    <a:pt x="1254" y="1128"/>
                  </a:lnTo>
                  <a:lnTo>
                    <a:pt x="1260" y="1134"/>
                  </a:lnTo>
                  <a:lnTo>
                    <a:pt x="1260" y="1140"/>
                  </a:lnTo>
                  <a:lnTo>
                    <a:pt x="1266" y="1140"/>
                  </a:lnTo>
                  <a:lnTo>
                    <a:pt x="1272" y="1140"/>
                  </a:lnTo>
                  <a:lnTo>
                    <a:pt x="1278" y="1140"/>
                  </a:lnTo>
                  <a:lnTo>
                    <a:pt x="1284" y="1140"/>
                  </a:lnTo>
                  <a:lnTo>
                    <a:pt x="1290" y="1146"/>
                  </a:lnTo>
                  <a:lnTo>
                    <a:pt x="1290" y="1152"/>
                  </a:lnTo>
                  <a:lnTo>
                    <a:pt x="1296" y="1146"/>
                  </a:lnTo>
                  <a:lnTo>
                    <a:pt x="1296" y="1152"/>
                  </a:lnTo>
                  <a:lnTo>
                    <a:pt x="1308" y="1152"/>
                  </a:lnTo>
                  <a:lnTo>
                    <a:pt x="1314" y="1152"/>
                  </a:lnTo>
                  <a:lnTo>
                    <a:pt x="1320" y="1152"/>
                  </a:lnTo>
                  <a:lnTo>
                    <a:pt x="1332" y="1152"/>
                  </a:lnTo>
                  <a:lnTo>
                    <a:pt x="1338" y="1152"/>
                  </a:lnTo>
                  <a:lnTo>
                    <a:pt x="1344" y="1152"/>
                  </a:lnTo>
                  <a:lnTo>
                    <a:pt x="1344" y="1158"/>
                  </a:lnTo>
                  <a:lnTo>
                    <a:pt x="1350" y="1158"/>
                  </a:lnTo>
                  <a:lnTo>
                    <a:pt x="1356" y="1158"/>
                  </a:lnTo>
                  <a:lnTo>
                    <a:pt x="1362" y="1158"/>
                  </a:lnTo>
                  <a:lnTo>
                    <a:pt x="1368" y="1158"/>
                  </a:lnTo>
                  <a:lnTo>
                    <a:pt x="1374" y="1164"/>
                  </a:lnTo>
                  <a:lnTo>
                    <a:pt x="1380" y="1164"/>
                  </a:lnTo>
                  <a:lnTo>
                    <a:pt x="1386" y="1170"/>
                  </a:lnTo>
                  <a:lnTo>
                    <a:pt x="1392" y="1170"/>
                  </a:lnTo>
                  <a:lnTo>
                    <a:pt x="1398" y="1164"/>
                  </a:lnTo>
                  <a:lnTo>
                    <a:pt x="1404" y="1164"/>
                  </a:lnTo>
                  <a:lnTo>
                    <a:pt x="1410" y="1164"/>
                  </a:lnTo>
                  <a:lnTo>
                    <a:pt x="1416" y="1164"/>
                  </a:lnTo>
                  <a:lnTo>
                    <a:pt x="1416" y="1170"/>
                  </a:lnTo>
                  <a:lnTo>
                    <a:pt x="1422" y="1176"/>
                  </a:lnTo>
                  <a:lnTo>
                    <a:pt x="1416" y="1176"/>
                  </a:lnTo>
                  <a:lnTo>
                    <a:pt x="1416" y="1182"/>
                  </a:lnTo>
                  <a:lnTo>
                    <a:pt x="1410" y="1188"/>
                  </a:lnTo>
                  <a:lnTo>
                    <a:pt x="1404" y="1194"/>
                  </a:lnTo>
                  <a:lnTo>
                    <a:pt x="1404" y="1200"/>
                  </a:lnTo>
                  <a:lnTo>
                    <a:pt x="1404" y="1206"/>
                  </a:lnTo>
                  <a:lnTo>
                    <a:pt x="1398" y="1212"/>
                  </a:lnTo>
                  <a:lnTo>
                    <a:pt x="1398" y="1206"/>
                  </a:lnTo>
                  <a:lnTo>
                    <a:pt x="1392" y="1206"/>
                  </a:lnTo>
                  <a:lnTo>
                    <a:pt x="1386" y="1206"/>
                  </a:lnTo>
                  <a:lnTo>
                    <a:pt x="1380" y="1212"/>
                  </a:lnTo>
                  <a:lnTo>
                    <a:pt x="1374" y="1212"/>
                  </a:lnTo>
                  <a:lnTo>
                    <a:pt x="1368" y="1218"/>
                  </a:lnTo>
                  <a:lnTo>
                    <a:pt x="1362" y="1218"/>
                  </a:lnTo>
                  <a:lnTo>
                    <a:pt x="1362" y="1224"/>
                  </a:lnTo>
                  <a:lnTo>
                    <a:pt x="1356" y="1230"/>
                  </a:lnTo>
                  <a:lnTo>
                    <a:pt x="1350" y="1230"/>
                  </a:lnTo>
                  <a:lnTo>
                    <a:pt x="1344" y="1236"/>
                  </a:lnTo>
                  <a:lnTo>
                    <a:pt x="1338" y="1230"/>
                  </a:lnTo>
                  <a:lnTo>
                    <a:pt x="1332" y="1230"/>
                  </a:lnTo>
                  <a:lnTo>
                    <a:pt x="1326" y="1230"/>
                  </a:lnTo>
                  <a:lnTo>
                    <a:pt x="1320" y="1230"/>
                  </a:lnTo>
                  <a:lnTo>
                    <a:pt x="1314" y="1230"/>
                  </a:lnTo>
                  <a:lnTo>
                    <a:pt x="1296" y="1242"/>
                  </a:lnTo>
                  <a:lnTo>
                    <a:pt x="1296" y="1248"/>
                  </a:lnTo>
                  <a:lnTo>
                    <a:pt x="1290" y="1248"/>
                  </a:lnTo>
                  <a:lnTo>
                    <a:pt x="1290" y="1260"/>
                  </a:lnTo>
                  <a:lnTo>
                    <a:pt x="1278" y="1272"/>
                  </a:lnTo>
                  <a:lnTo>
                    <a:pt x="1278" y="1278"/>
                  </a:lnTo>
                  <a:lnTo>
                    <a:pt x="1278" y="1284"/>
                  </a:lnTo>
                  <a:lnTo>
                    <a:pt x="1278" y="1290"/>
                  </a:lnTo>
                  <a:lnTo>
                    <a:pt x="1284" y="1296"/>
                  </a:lnTo>
                  <a:lnTo>
                    <a:pt x="1302" y="1302"/>
                  </a:lnTo>
                  <a:lnTo>
                    <a:pt x="1308" y="1308"/>
                  </a:lnTo>
                  <a:lnTo>
                    <a:pt x="1308" y="1314"/>
                  </a:lnTo>
                  <a:lnTo>
                    <a:pt x="1302" y="1320"/>
                  </a:lnTo>
                  <a:lnTo>
                    <a:pt x="1278" y="1314"/>
                  </a:lnTo>
                  <a:lnTo>
                    <a:pt x="1266" y="1308"/>
                  </a:lnTo>
                  <a:lnTo>
                    <a:pt x="1260" y="1296"/>
                  </a:lnTo>
                  <a:lnTo>
                    <a:pt x="1236" y="1296"/>
                  </a:lnTo>
                  <a:lnTo>
                    <a:pt x="1224" y="1308"/>
                  </a:lnTo>
                  <a:lnTo>
                    <a:pt x="1218" y="1308"/>
                  </a:lnTo>
                  <a:lnTo>
                    <a:pt x="1218" y="1302"/>
                  </a:lnTo>
                  <a:lnTo>
                    <a:pt x="1212" y="1302"/>
                  </a:lnTo>
                  <a:lnTo>
                    <a:pt x="1206" y="1302"/>
                  </a:lnTo>
                  <a:lnTo>
                    <a:pt x="1170" y="1314"/>
                  </a:lnTo>
                  <a:lnTo>
                    <a:pt x="1134" y="1296"/>
                  </a:lnTo>
                  <a:lnTo>
                    <a:pt x="1122" y="1290"/>
                  </a:lnTo>
                  <a:lnTo>
                    <a:pt x="1104" y="1290"/>
                  </a:lnTo>
                  <a:lnTo>
                    <a:pt x="1098" y="1278"/>
                  </a:lnTo>
                  <a:lnTo>
                    <a:pt x="1092" y="1242"/>
                  </a:lnTo>
                  <a:lnTo>
                    <a:pt x="1086" y="1242"/>
                  </a:lnTo>
                  <a:lnTo>
                    <a:pt x="1086" y="1248"/>
                  </a:lnTo>
                  <a:lnTo>
                    <a:pt x="1086" y="1254"/>
                  </a:lnTo>
                  <a:lnTo>
                    <a:pt x="1080" y="1254"/>
                  </a:lnTo>
                  <a:lnTo>
                    <a:pt x="1080" y="1260"/>
                  </a:lnTo>
                  <a:lnTo>
                    <a:pt x="1074" y="1260"/>
                  </a:lnTo>
                  <a:lnTo>
                    <a:pt x="1068" y="1236"/>
                  </a:lnTo>
                  <a:lnTo>
                    <a:pt x="1068" y="1206"/>
                  </a:lnTo>
                  <a:lnTo>
                    <a:pt x="1080" y="1194"/>
                  </a:lnTo>
                  <a:lnTo>
                    <a:pt x="1086" y="1194"/>
                  </a:lnTo>
                  <a:lnTo>
                    <a:pt x="1092" y="1200"/>
                  </a:lnTo>
                  <a:lnTo>
                    <a:pt x="1098" y="1206"/>
                  </a:lnTo>
                  <a:lnTo>
                    <a:pt x="1104" y="1200"/>
                  </a:lnTo>
                  <a:lnTo>
                    <a:pt x="1104" y="1194"/>
                  </a:lnTo>
                  <a:lnTo>
                    <a:pt x="1110" y="1194"/>
                  </a:lnTo>
                  <a:lnTo>
                    <a:pt x="1110" y="1188"/>
                  </a:lnTo>
                  <a:lnTo>
                    <a:pt x="1116" y="1182"/>
                  </a:lnTo>
                  <a:lnTo>
                    <a:pt x="1110" y="1182"/>
                  </a:lnTo>
                  <a:lnTo>
                    <a:pt x="1110" y="1170"/>
                  </a:lnTo>
                  <a:lnTo>
                    <a:pt x="1110" y="1158"/>
                  </a:lnTo>
                  <a:lnTo>
                    <a:pt x="1110" y="1152"/>
                  </a:lnTo>
                  <a:lnTo>
                    <a:pt x="1104" y="1146"/>
                  </a:lnTo>
                  <a:lnTo>
                    <a:pt x="1098" y="1140"/>
                  </a:lnTo>
                  <a:lnTo>
                    <a:pt x="1098" y="1134"/>
                  </a:lnTo>
                  <a:lnTo>
                    <a:pt x="1098" y="1128"/>
                  </a:lnTo>
                  <a:lnTo>
                    <a:pt x="1092" y="1128"/>
                  </a:lnTo>
                  <a:lnTo>
                    <a:pt x="1092" y="1122"/>
                  </a:lnTo>
                  <a:lnTo>
                    <a:pt x="1092" y="1116"/>
                  </a:lnTo>
                  <a:lnTo>
                    <a:pt x="1092" y="1110"/>
                  </a:lnTo>
                  <a:lnTo>
                    <a:pt x="1056" y="1122"/>
                  </a:lnTo>
                  <a:lnTo>
                    <a:pt x="1038" y="1128"/>
                  </a:lnTo>
                  <a:lnTo>
                    <a:pt x="1032" y="1128"/>
                  </a:lnTo>
                  <a:lnTo>
                    <a:pt x="1026" y="1128"/>
                  </a:lnTo>
                  <a:lnTo>
                    <a:pt x="1020" y="1128"/>
                  </a:lnTo>
                  <a:lnTo>
                    <a:pt x="1014" y="1128"/>
                  </a:lnTo>
                  <a:lnTo>
                    <a:pt x="1014" y="1122"/>
                  </a:lnTo>
                  <a:lnTo>
                    <a:pt x="1008" y="1122"/>
                  </a:lnTo>
                  <a:lnTo>
                    <a:pt x="1002" y="1128"/>
                  </a:lnTo>
                  <a:lnTo>
                    <a:pt x="1002" y="1134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84" y="1140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66" y="1140"/>
                  </a:lnTo>
                  <a:lnTo>
                    <a:pt x="954" y="1140"/>
                  </a:lnTo>
                  <a:lnTo>
                    <a:pt x="954" y="1134"/>
                  </a:lnTo>
                  <a:lnTo>
                    <a:pt x="948" y="1134"/>
                  </a:lnTo>
                  <a:lnTo>
                    <a:pt x="942" y="1134"/>
                  </a:lnTo>
                  <a:lnTo>
                    <a:pt x="936" y="1134"/>
                  </a:lnTo>
                  <a:lnTo>
                    <a:pt x="930" y="1134"/>
                  </a:lnTo>
                  <a:lnTo>
                    <a:pt x="924" y="1134"/>
                  </a:lnTo>
                  <a:lnTo>
                    <a:pt x="918" y="1134"/>
                  </a:lnTo>
                  <a:lnTo>
                    <a:pt x="918" y="1128"/>
                  </a:lnTo>
                  <a:lnTo>
                    <a:pt x="918" y="1104"/>
                  </a:lnTo>
                  <a:lnTo>
                    <a:pt x="906" y="1104"/>
                  </a:lnTo>
                  <a:lnTo>
                    <a:pt x="900" y="1098"/>
                  </a:lnTo>
                  <a:lnTo>
                    <a:pt x="900" y="1092"/>
                  </a:lnTo>
                  <a:lnTo>
                    <a:pt x="900" y="1086"/>
                  </a:lnTo>
                  <a:lnTo>
                    <a:pt x="900" y="1080"/>
                  </a:lnTo>
                  <a:lnTo>
                    <a:pt x="894" y="1080"/>
                  </a:lnTo>
                  <a:lnTo>
                    <a:pt x="858" y="1074"/>
                  </a:lnTo>
                  <a:lnTo>
                    <a:pt x="852" y="1080"/>
                  </a:lnTo>
                  <a:lnTo>
                    <a:pt x="846" y="1086"/>
                  </a:lnTo>
                  <a:lnTo>
                    <a:pt x="840" y="1086"/>
                  </a:lnTo>
                  <a:lnTo>
                    <a:pt x="840" y="1092"/>
                  </a:lnTo>
                  <a:lnTo>
                    <a:pt x="834" y="1092"/>
                  </a:lnTo>
                  <a:lnTo>
                    <a:pt x="828" y="1098"/>
                  </a:lnTo>
                  <a:lnTo>
                    <a:pt x="822" y="1098"/>
                  </a:lnTo>
                  <a:lnTo>
                    <a:pt x="762" y="1074"/>
                  </a:lnTo>
                  <a:lnTo>
                    <a:pt x="756" y="1068"/>
                  </a:lnTo>
                  <a:lnTo>
                    <a:pt x="750" y="1068"/>
                  </a:lnTo>
                  <a:lnTo>
                    <a:pt x="744" y="1062"/>
                  </a:lnTo>
                  <a:lnTo>
                    <a:pt x="744" y="1068"/>
                  </a:lnTo>
                  <a:lnTo>
                    <a:pt x="744" y="1074"/>
                  </a:lnTo>
                  <a:lnTo>
                    <a:pt x="738" y="1074"/>
                  </a:lnTo>
                  <a:lnTo>
                    <a:pt x="738" y="1068"/>
                  </a:lnTo>
                  <a:lnTo>
                    <a:pt x="732" y="1068"/>
                  </a:lnTo>
                  <a:lnTo>
                    <a:pt x="726" y="1068"/>
                  </a:lnTo>
                  <a:lnTo>
                    <a:pt x="726" y="1074"/>
                  </a:lnTo>
                  <a:lnTo>
                    <a:pt x="720" y="1074"/>
                  </a:lnTo>
                  <a:lnTo>
                    <a:pt x="684" y="106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5" name="Freeform 40">
              <a:extLst>
                <a:ext uri="{FF2B5EF4-FFF2-40B4-BE49-F238E27FC236}">
                  <a16:creationId xmlns:a16="http://schemas.microsoft.com/office/drawing/2014/main" id="{37EC2F22-BDB9-4162-8FA4-08493F6898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3558" y="1520374"/>
              <a:ext cx="1057717" cy="1252440"/>
            </a:xfrm>
            <a:custGeom>
              <a:avLst/>
              <a:gdLst>
                <a:gd name="T0" fmla="*/ 98 w 1992"/>
                <a:gd name="T1" fmla="*/ 162 h 2358"/>
                <a:gd name="T2" fmla="*/ 93 w 1992"/>
                <a:gd name="T3" fmla="*/ 172 h 2358"/>
                <a:gd name="T4" fmla="*/ 82 w 1992"/>
                <a:gd name="T5" fmla="*/ 179 h 2358"/>
                <a:gd name="T6" fmla="*/ 70 w 1992"/>
                <a:gd name="T7" fmla="*/ 174 h 2358"/>
                <a:gd name="T8" fmla="*/ 62 w 1992"/>
                <a:gd name="T9" fmla="*/ 182 h 2358"/>
                <a:gd name="T10" fmla="*/ 45 w 1992"/>
                <a:gd name="T11" fmla="*/ 189 h 2358"/>
                <a:gd name="T12" fmla="*/ 24 w 1992"/>
                <a:gd name="T13" fmla="*/ 205 h 2358"/>
                <a:gd name="T14" fmla="*/ 17 w 1992"/>
                <a:gd name="T15" fmla="*/ 204 h 2358"/>
                <a:gd name="T16" fmla="*/ 7 w 1992"/>
                <a:gd name="T17" fmla="*/ 197 h 2358"/>
                <a:gd name="T18" fmla="*/ 1 w 1992"/>
                <a:gd name="T19" fmla="*/ 191 h 2358"/>
                <a:gd name="T20" fmla="*/ 4 w 1992"/>
                <a:gd name="T21" fmla="*/ 175 h 2358"/>
                <a:gd name="T22" fmla="*/ 7 w 1992"/>
                <a:gd name="T23" fmla="*/ 172 h 2358"/>
                <a:gd name="T24" fmla="*/ 11 w 1992"/>
                <a:gd name="T25" fmla="*/ 168 h 2358"/>
                <a:gd name="T26" fmla="*/ 5 w 1992"/>
                <a:gd name="T27" fmla="*/ 159 h 2358"/>
                <a:gd name="T28" fmla="*/ 10 w 1992"/>
                <a:gd name="T29" fmla="*/ 156 h 2358"/>
                <a:gd name="T30" fmla="*/ 15 w 1992"/>
                <a:gd name="T31" fmla="*/ 155 h 2358"/>
                <a:gd name="T32" fmla="*/ 24 w 1992"/>
                <a:gd name="T33" fmla="*/ 149 h 2358"/>
                <a:gd name="T34" fmla="*/ 38 w 1992"/>
                <a:gd name="T35" fmla="*/ 127 h 2358"/>
                <a:gd name="T36" fmla="*/ 38 w 1992"/>
                <a:gd name="T37" fmla="*/ 107 h 2358"/>
                <a:gd name="T38" fmla="*/ 45 w 1992"/>
                <a:gd name="T39" fmla="*/ 66 h 2358"/>
                <a:gd name="T40" fmla="*/ 47 w 1992"/>
                <a:gd name="T41" fmla="*/ 36 h 2358"/>
                <a:gd name="T42" fmla="*/ 51 w 1992"/>
                <a:gd name="T43" fmla="*/ 35 h 2358"/>
                <a:gd name="T44" fmla="*/ 55 w 1992"/>
                <a:gd name="T45" fmla="*/ 30 h 2358"/>
                <a:gd name="T46" fmla="*/ 56 w 1992"/>
                <a:gd name="T47" fmla="*/ 27 h 2358"/>
                <a:gd name="T48" fmla="*/ 60 w 1992"/>
                <a:gd name="T49" fmla="*/ 23 h 2358"/>
                <a:gd name="T50" fmla="*/ 63 w 1992"/>
                <a:gd name="T51" fmla="*/ 23 h 2358"/>
                <a:gd name="T52" fmla="*/ 70 w 1992"/>
                <a:gd name="T53" fmla="*/ 18 h 2358"/>
                <a:gd name="T54" fmla="*/ 71 w 1992"/>
                <a:gd name="T55" fmla="*/ 15 h 2358"/>
                <a:gd name="T56" fmla="*/ 72 w 1992"/>
                <a:gd name="T57" fmla="*/ 13 h 2358"/>
                <a:gd name="T58" fmla="*/ 77 w 1992"/>
                <a:gd name="T59" fmla="*/ 12 h 2358"/>
                <a:gd name="T60" fmla="*/ 83 w 1992"/>
                <a:gd name="T61" fmla="*/ 10 h 2358"/>
                <a:gd name="T62" fmla="*/ 87 w 1992"/>
                <a:gd name="T63" fmla="*/ 10 h 2358"/>
                <a:gd name="T64" fmla="*/ 89 w 1992"/>
                <a:gd name="T65" fmla="*/ 10 h 2358"/>
                <a:gd name="T66" fmla="*/ 93 w 1992"/>
                <a:gd name="T67" fmla="*/ 8 h 2358"/>
                <a:gd name="T68" fmla="*/ 95 w 1992"/>
                <a:gd name="T69" fmla="*/ 4 h 2358"/>
                <a:gd name="T70" fmla="*/ 99 w 1992"/>
                <a:gd name="T71" fmla="*/ 0 h 2358"/>
                <a:gd name="T72" fmla="*/ 111 w 1992"/>
                <a:gd name="T73" fmla="*/ 0 h 2358"/>
                <a:gd name="T74" fmla="*/ 121 w 1992"/>
                <a:gd name="T75" fmla="*/ 9 h 2358"/>
                <a:gd name="T76" fmla="*/ 128 w 1992"/>
                <a:gd name="T77" fmla="*/ 19 h 2358"/>
                <a:gd name="T78" fmla="*/ 138 w 1992"/>
                <a:gd name="T79" fmla="*/ 33 h 2358"/>
                <a:gd name="T80" fmla="*/ 142 w 1992"/>
                <a:gd name="T81" fmla="*/ 47 h 2358"/>
                <a:gd name="T82" fmla="*/ 145 w 1992"/>
                <a:gd name="T83" fmla="*/ 62 h 2358"/>
                <a:gd name="T84" fmla="*/ 145 w 1992"/>
                <a:gd name="T85" fmla="*/ 70 h 2358"/>
                <a:gd name="T86" fmla="*/ 147 w 1992"/>
                <a:gd name="T87" fmla="*/ 75 h 2358"/>
                <a:gd name="T88" fmla="*/ 153 w 1992"/>
                <a:gd name="T89" fmla="*/ 75 h 2358"/>
                <a:gd name="T90" fmla="*/ 160 w 1992"/>
                <a:gd name="T91" fmla="*/ 76 h 2358"/>
                <a:gd name="T92" fmla="*/ 164 w 1992"/>
                <a:gd name="T93" fmla="*/ 79 h 2358"/>
                <a:gd name="T94" fmla="*/ 168 w 1992"/>
                <a:gd name="T95" fmla="*/ 83 h 2358"/>
                <a:gd name="T96" fmla="*/ 172 w 1992"/>
                <a:gd name="T97" fmla="*/ 86 h 2358"/>
                <a:gd name="T98" fmla="*/ 170 w 1992"/>
                <a:gd name="T99" fmla="*/ 93 h 2358"/>
                <a:gd name="T100" fmla="*/ 170 w 1992"/>
                <a:gd name="T101" fmla="*/ 99 h 2358"/>
                <a:gd name="T102" fmla="*/ 169 w 1992"/>
                <a:gd name="T103" fmla="*/ 106 h 2358"/>
                <a:gd name="T104" fmla="*/ 166 w 1992"/>
                <a:gd name="T105" fmla="*/ 113 h 2358"/>
                <a:gd name="T106" fmla="*/ 170 w 1992"/>
                <a:gd name="T107" fmla="*/ 122 h 2358"/>
                <a:gd name="T108" fmla="*/ 159 w 1992"/>
                <a:gd name="T109" fmla="*/ 128 h 2358"/>
                <a:gd name="T110" fmla="*/ 148 w 1992"/>
                <a:gd name="T111" fmla="*/ 134 h 2358"/>
                <a:gd name="T112" fmla="*/ 139 w 1992"/>
                <a:gd name="T113" fmla="*/ 136 h 2358"/>
                <a:gd name="T114" fmla="*/ 132 w 1992"/>
                <a:gd name="T115" fmla="*/ 138 h 2358"/>
                <a:gd name="T116" fmla="*/ 128 w 1992"/>
                <a:gd name="T117" fmla="*/ 145 h 2358"/>
                <a:gd name="T118" fmla="*/ 124 w 1992"/>
                <a:gd name="T119" fmla="*/ 150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92"/>
                <a:gd name="T181" fmla="*/ 0 h 2358"/>
                <a:gd name="T182" fmla="*/ 1992 w 1992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92" h="2358">
                  <a:moveTo>
                    <a:pt x="1356" y="1782"/>
                  </a:moveTo>
                  <a:lnTo>
                    <a:pt x="1350" y="1788"/>
                  </a:lnTo>
                  <a:lnTo>
                    <a:pt x="1266" y="1788"/>
                  </a:lnTo>
                  <a:lnTo>
                    <a:pt x="1260" y="1800"/>
                  </a:lnTo>
                  <a:lnTo>
                    <a:pt x="1242" y="1806"/>
                  </a:lnTo>
                  <a:lnTo>
                    <a:pt x="1218" y="1812"/>
                  </a:lnTo>
                  <a:lnTo>
                    <a:pt x="1182" y="1812"/>
                  </a:lnTo>
                  <a:lnTo>
                    <a:pt x="1158" y="1806"/>
                  </a:lnTo>
                  <a:lnTo>
                    <a:pt x="1134" y="1800"/>
                  </a:lnTo>
                  <a:lnTo>
                    <a:pt x="1134" y="1806"/>
                  </a:lnTo>
                  <a:lnTo>
                    <a:pt x="1134" y="1830"/>
                  </a:lnTo>
                  <a:lnTo>
                    <a:pt x="1128" y="1842"/>
                  </a:lnTo>
                  <a:lnTo>
                    <a:pt x="1128" y="1854"/>
                  </a:lnTo>
                  <a:lnTo>
                    <a:pt x="1128" y="1860"/>
                  </a:lnTo>
                  <a:lnTo>
                    <a:pt x="1128" y="1866"/>
                  </a:lnTo>
                  <a:lnTo>
                    <a:pt x="1128" y="1872"/>
                  </a:lnTo>
                  <a:lnTo>
                    <a:pt x="1128" y="1884"/>
                  </a:lnTo>
                  <a:lnTo>
                    <a:pt x="1128" y="1890"/>
                  </a:lnTo>
                  <a:lnTo>
                    <a:pt x="1128" y="1896"/>
                  </a:lnTo>
                  <a:lnTo>
                    <a:pt x="1122" y="1902"/>
                  </a:lnTo>
                  <a:lnTo>
                    <a:pt x="1122" y="1920"/>
                  </a:lnTo>
                  <a:lnTo>
                    <a:pt x="1116" y="1920"/>
                  </a:lnTo>
                  <a:lnTo>
                    <a:pt x="1110" y="1926"/>
                  </a:lnTo>
                  <a:lnTo>
                    <a:pt x="1110" y="1932"/>
                  </a:lnTo>
                  <a:lnTo>
                    <a:pt x="1104" y="1938"/>
                  </a:lnTo>
                  <a:lnTo>
                    <a:pt x="1086" y="1962"/>
                  </a:lnTo>
                  <a:lnTo>
                    <a:pt x="1074" y="1974"/>
                  </a:lnTo>
                  <a:lnTo>
                    <a:pt x="1074" y="1980"/>
                  </a:lnTo>
                  <a:lnTo>
                    <a:pt x="1068" y="1986"/>
                  </a:lnTo>
                  <a:lnTo>
                    <a:pt x="1062" y="1998"/>
                  </a:lnTo>
                  <a:lnTo>
                    <a:pt x="1062" y="2004"/>
                  </a:lnTo>
                  <a:lnTo>
                    <a:pt x="1068" y="2004"/>
                  </a:lnTo>
                  <a:lnTo>
                    <a:pt x="1056" y="2034"/>
                  </a:lnTo>
                  <a:lnTo>
                    <a:pt x="1050" y="2076"/>
                  </a:lnTo>
                  <a:lnTo>
                    <a:pt x="1056" y="2100"/>
                  </a:lnTo>
                  <a:lnTo>
                    <a:pt x="1038" y="2106"/>
                  </a:lnTo>
                  <a:lnTo>
                    <a:pt x="1002" y="2106"/>
                  </a:lnTo>
                  <a:lnTo>
                    <a:pt x="978" y="2094"/>
                  </a:lnTo>
                  <a:lnTo>
                    <a:pt x="972" y="2082"/>
                  </a:lnTo>
                  <a:lnTo>
                    <a:pt x="966" y="2070"/>
                  </a:lnTo>
                  <a:lnTo>
                    <a:pt x="954" y="2064"/>
                  </a:lnTo>
                  <a:lnTo>
                    <a:pt x="942" y="2058"/>
                  </a:lnTo>
                  <a:lnTo>
                    <a:pt x="936" y="2058"/>
                  </a:lnTo>
                  <a:lnTo>
                    <a:pt x="918" y="2046"/>
                  </a:lnTo>
                  <a:lnTo>
                    <a:pt x="906" y="2028"/>
                  </a:lnTo>
                  <a:lnTo>
                    <a:pt x="900" y="2022"/>
                  </a:lnTo>
                  <a:lnTo>
                    <a:pt x="894" y="2022"/>
                  </a:lnTo>
                  <a:lnTo>
                    <a:pt x="882" y="2022"/>
                  </a:lnTo>
                  <a:lnTo>
                    <a:pt x="870" y="2016"/>
                  </a:lnTo>
                  <a:lnTo>
                    <a:pt x="864" y="2016"/>
                  </a:lnTo>
                  <a:lnTo>
                    <a:pt x="852" y="2010"/>
                  </a:lnTo>
                  <a:lnTo>
                    <a:pt x="846" y="2004"/>
                  </a:lnTo>
                  <a:lnTo>
                    <a:pt x="840" y="2004"/>
                  </a:lnTo>
                  <a:lnTo>
                    <a:pt x="828" y="1998"/>
                  </a:lnTo>
                  <a:lnTo>
                    <a:pt x="816" y="1998"/>
                  </a:lnTo>
                  <a:lnTo>
                    <a:pt x="810" y="1998"/>
                  </a:lnTo>
                  <a:lnTo>
                    <a:pt x="804" y="1998"/>
                  </a:lnTo>
                  <a:lnTo>
                    <a:pt x="798" y="1998"/>
                  </a:lnTo>
                  <a:lnTo>
                    <a:pt x="792" y="2004"/>
                  </a:lnTo>
                  <a:lnTo>
                    <a:pt x="786" y="2010"/>
                  </a:lnTo>
                  <a:lnTo>
                    <a:pt x="762" y="2010"/>
                  </a:lnTo>
                  <a:lnTo>
                    <a:pt x="756" y="2010"/>
                  </a:lnTo>
                  <a:lnTo>
                    <a:pt x="744" y="2022"/>
                  </a:lnTo>
                  <a:lnTo>
                    <a:pt x="738" y="2034"/>
                  </a:lnTo>
                  <a:lnTo>
                    <a:pt x="732" y="2040"/>
                  </a:lnTo>
                  <a:lnTo>
                    <a:pt x="732" y="2046"/>
                  </a:lnTo>
                  <a:lnTo>
                    <a:pt x="726" y="2058"/>
                  </a:lnTo>
                  <a:lnTo>
                    <a:pt x="720" y="2064"/>
                  </a:lnTo>
                  <a:lnTo>
                    <a:pt x="714" y="2070"/>
                  </a:lnTo>
                  <a:lnTo>
                    <a:pt x="708" y="2088"/>
                  </a:lnTo>
                  <a:lnTo>
                    <a:pt x="702" y="2100"/>
                  </a:lnTo>
                  <a:lnTo>
                    <a:pt x="690" y="2100"/>
                  </a:lnTo>
                  <a:lnTo>
                    <a:pt x="684" y="2094"/>
                  </a:lnTo>
                  <a:lnTo>
                    <a:pt x="666" y="2100"/>
                  </a:lnTo>
                  <a:lnTo>
                    <a:pt x="636" y="2106"/>
                  </a:lnTo>
                  <a:lnTo>
                    <a:pt x="636" y="2112"/>
                  </a:lnTo>
                  <a:lnTo>
                    <a:pt x="636" y="2118"/>
                  </a:lnTo>
                  <a:lnTo>
                    <a:pt x="636" y="2124"/>
                  </a:lnTo>
                  <a:lnTo>
                    <a:pt x="630" y="2124"/>
                  </a:lnTo>
                  <a:lnTo>
                    <a:pt x="630" y="2148"/>
                  </a:lnTo>
                  <a:lnTo>
                    <a:pt x="612" y="2160"/>
                  </a:lnTo>
                  <a:lnTo>
                    <a:pt x="576" y="2172"/>
                  </a:lnTo>
                  <a:lnTo>
                    <a:pt x="546" y="2172"/>
                  </a:lnTo>
                  <a:lnTo>
                    <a:pt x="516" y="2172"/>
                  </a:lnTo>
                  <a:lnTo>
                    <a:pt x="486" y="2172"/>
                  </a:lnTo>
                  <a:lnTo>
                    <a:pt x="462" y="2172"/>
                  </a:lnTo>
                  <a:lnTo>
                    <a:pt x="444" y="2196"/>
                  </a:lnTo>
                  <a:lnTo>
                    <a:pt x="432" y="2232"/>
                  </a:lnTo>
                  <a:lnTo>
                    <a:pt x="408" y="2238"/>
                  </a:lnTo>
                  <a:lnTo>
                    <a:pt x="390" y="2256"/>
                  </a:lnTo>
                  <a:lnTo>
                    <a:pt x="372" y="2274"/>
                  </a:lnTo>
                  <a:lnTo>
                    <a:pt x="360" y="2274"/>
                  </a:lnTo>
                  <a:lnTo>
                    <a:pt x="336" y="2328"/>
                  </a:lnTo>
                  <a:lnTo>
                    <a:pt x="324" y="2340"/>
                  </a:lnTo>
                  <a:lnTo>
                    <a:pt x="300" y="2346"/>
                  </a:lnTo>
                  <a:lnTo>
                    <a:pt x="294" y="2352"/>
                  </a:lnTo>
                  <a:lnTo>
                    <a:pt x="288" y="2352"/>
                  </a:lnTo>
                  <a:lnTo>
                    <a:pt x="282" y="2352"/>
                  </a:lnTo>
                  <a:lnTo>
                    <a:pt x="276" y="2352"/>
                  </a:lnTo>
                  <a:lnTo>
                    <a:pt x="270" y="2352"/>
                  </a:lnTo>
                  <a:lnTo>
                    <a:pt x="270" y="2346"/>
                  </a:lnTo>
                  <a:lnTo>
                    <a:pt x="264" y="2346"/>
                  </a:lnTo>
                  <a:lnTo>
                    <a:pt x="258" y="2352"/>
                  </a:lnTo>
                  <a:lnTo>
                    <a:pt x="252" y="2352"/>
                  </a:lnTo>
                  <a:lnTo>
                    <a:pt x="240" y="2352"/>
                  </a:lnTo>
                  <a:lnTo>
                    <a:pt x="228" y="2352"/>
                  </a:lnTo>
                  <a:lnTo>
                    <a:pt x="222" y="2352"/>
                  </a:lnTo>
                  <a:lnTo>
                    <a:pt x="216" y="2358"/>
                  </a:lnTo>
                  <a:lnTo>
                    <a:pt x="216" y="2352"/>
                  </a:lnTo>
                  <a:lnTo>
                    <a:pt x="210" y="2346"/>
                  </a:lnTo>
                  <a:lnTo>
                    <a:pt x="204" y="2346"/>
                  </a:lnTo>
                  <a:lnTo>
                    <a:pt x="198" y="2340"/>
                  </a:lnTo>
                  <a:lnTo>
                    <a:pt x="192" y="2340"/>
                  </a:lnTo>
                  <a:lnTo>
                    <a:pt x="186" y="2340"/>
                  </a:lnTo>
                  <a:lnTo>
                    <a:pt x="180" y="2340"/>
                  </a:lnTo>
                  <a:lnTo>
                    <a:pt x="174" y="2340"/>
                  </a:lnTo>
                  <a:lnTo>
                    <a:pt x="162" y="2328"/>
                  </a:lnTo>
                  <a:lnTo>
                    <a:pt x="156" y="2322"/>
                  </a:lnTo>
                  <a:lnTo>
                    <a:pt x="156" y="2316"/>
                  </a:lnTo>
                  <a:lnTo>
                    <a:pt x="156" y="2310"/>
                  </a:lnTo>
                  <a:lnTo>
                    <a:pt x="132" y="2286"/>
                  </a:lnTo>
                  <a:lnTo>
                    <a:pt x="120" y="2280"/>
                  </a:lnTo>
                  <a:lnTo>
                    <a:pt x="96" y="2274"/>
                  </a:lnTo>
                  <a:lnTo>
                    <a:pt x="84" y="2268"/>
                  </a:lnTo>
                  <a:lnTo>
                    <a:pt x="78" y="2268"/>
                  </a:lnTo>
                  <a:lnTo>
                    <a:pt x="78" y="2262"/>
                  </a:lnTo>
                  <a:lnTo>
                    <a:pt x="78" y="2256"/>
                  </a:lnTo>
                  <a:lnTo>
                    <a:pt x="78" y="2250"/>
                  </a:lnTo>
                  <a:lnTo>
                    <a:pt x="72" y="2250"/>
                  </a:lnTo>
                  <a:lnTo>
                    <a:pt x="66" y="2250"/>
                  </a:lnTo>
                  <a:lnTo>
                    <a:pt x="60" y="2250"/>
                  </a:lnTo>
                  <a:lnTo>
                    <a:pt x="48" y="2244"/>
                  </a:lnTo>
                  <a:lnTo>
                    <a:pt x="36" y="2238"/>
                  </a:lnTo>
                  <a:lnTo>
                    <a:pt x="36" y="2226"/>
                  </a:lnTo>
                  <a:lnTo>
                    <a:pt x="30" y="2226"/>
                  </a:lnTo>
                  <a:lnTo>
                    <a:pt x="30" y="2220"/>
                  </a:lnTo>
                  <a:lnTo>
                    <a:pt x="24" y="2208"/>
                  </a:lnTo>
                  <a:lnTo>
                    <a:pt x="18" y="2202"/>
                  </a:lnTo>
                  <a:lnTo>
                    <a:pt x="18" y="2196"/>
                  </a:lnTo>
                  <a:lnTo>
                    <a:pt x="12" y="2190"/>
                  </a:lnTo>
                  <a:lnTo>
                    <a:pt x="0" y="2190"/>
                  </a:lnTo>
                  <a:lnTo>
                    <a:pt x="6" y="2184"/>
                  </a:lnTo>
                  <a:lnTo>
                    <a:pt x="12" y="2178"/>
                  </a:lnTo>
                  <a:lnTo>
                    <a:pt x="18" y="2172"/>
                  </a:lnTo>
                  <a:lnTo>
                    <a:pt x="24" y="2166"/>
                  </a:lnTo>
                  <a:lnTo>
                    <a:pt x="30" y="2166"/>
                  </a:lnTo>
                  <a:lnTo>
                    <a:pt x="24" y="2160"/>
                  </a:lnTo>
                  <a:lnTo>
                    <a:pt x="30" y="2160"/>
                  </a:lnTo>
                  <a:lnTo>
                    <a:pt x="36" y="2154"/>
                  </a:lnTo>
                  <a:lnTo>
                    <a:pt x="36" y="2136"/>
                  </a:lnTo>
                  <a:lnTo>
                    <a:pt x="36" y="2118"/>
                  </a:lnTo>
                  <a:lnTo>
                    <a:pt x="48" y="2058"/>
                  </a:lnTo>
                  <a:lnTo>
                    <a:pt x="48" y="2022"/>
                  </a:lnTo>
                  <a:lnTo>
                    <a:pt x="48" y="2016"/>
                  </a:lnTo>
                  <a:lnTo>
                    <a:pt x="48" y="2010"/>
                  </a:lnTo>
                  <a:lnTo>
                    <a:pt x="48" y="2004"/>
                  </a:lnTo>
                  <a:lnTo>
                    <a:pt x="42" y="2004"/>
                  </a:lnTo>
                  <a:lnTo>
                    <a:pt x="42" y="1998"/>
                  </a:lnTo>
                  <a:lnTo>
                    <a:pt x="36" y="1992"/>
                  </a:lnTo>
                  <a:lnTo>
                    <a:pt x="42" y="1992"/>
                  </a:lnTo>
                  <a:lnTo>
                    <a:pt x="42" y="1986"/>
                  </a:lnTo>
                  <a:lnTo>
                    <a:pt x="48" y="1986"/>
                  </a:lnTo>
                  <a:lnTo>
                    <a:pt x="54" y="1986"/>
                  </a:lnTo>
                  <a:lnTo>
                    <a:pt x="60" y="1986"/>
                  </a:lnTo>
                  <a:lnTo>
                    <a:pt x="66" y="1980"/>
                  </a:lnTo>
                  <a:lnTo>
                    <a:pt x="72" y="1974"/>
                  </a:lnTo>
                  <a:lnTo>
                    <a:pt x="78" y="1974"/>
                  </a:lnTo>
                  <a:lnTo>
                    <a:pt x="84" y="1974"/>
                  </a:lnTo>
                  <a:lnTo>
                    <a:pt x="90" y="1974"/>
                  </a:lnTo>
                  <a:lnTo>
                    <a:pt x="96" y="1974"/>
                  </a:lnTo>
                  <a:lnTo>
                    <a:pt x="96" y="1968"/>
                  </a:lnTo>
                  <a:lnTo>
                    <a:pt x="102" y="1968"/>
                  </a:lnTo>
                  <a:lnTo>
                    <a:pt x="102" y="1962"/>
                  </a:lnTo>
                  <a:lnTo>
                    <a:pt x="108" y="1962"/>
                  </a:lnTo>
                  <a:lnTo>
                    <a:pt x="114" y="1956"/>
                  </a:lnTo>
                  <a:lnTo>
                    <a:pt x="120" y="1956"/>
                  </a:lnTo>
                  <a:lnTo>
                    <a:pt x="126" y="1950"/>
                  </a:lnTo>
                  <a:lnTo>
                    <a:pt x="132" y="1950"/>
                  </a:lnTo>
                  <a:lnTo>
                    <a:pt x="132" y="1944"/>
                  </a:lnTo>
                  <a:lnTo>
                    <a:pt x="126" y="1944"/>
                  </a:lnTo>
                  <a:lnTo>
                    <a:pt x="126" y="1938"/>
                  </a:lnTo>
                  <a:lnTo>
                    <a:pt x="126" y="1932"/>
                  </a:lnTo>
                  <a:lnTo>
                    <a:pt x="126" y="1926"/>
                  </a:lnTo>
                  <a:lnTo>
                    <a:pt x="114" y="1914"/>
                  </a:lnTo>
                  <a:lnTo>
                    <a:pt x="114" y="1896"/>
                  </a:lnTo>
                  <a:lnTo>
                    <a:pt x="108" y="1884"/>
                  </a:lnTo>
                  <a:lnTo>
                    <a:pt x="102" y="1872"/>
                  </a:lnTo>
                  <a:lnTo>
                    <a:pt x="96" y="1866"/>
                  </a:lnTo>
                  <a:lnTo>
                    <a:pt x="96" y="1860"/>
                  </a:lnTo>
                  <a:lnTo>
                    <a:pt x="90" y="1860"/>
                  </a:lnTo>
                  <a:lnTo>
                    <a:pt x="90" y="1854"/>
                  </a:lnTo>
                  <a:lnTo>
                    <a:pt x="84" y="1848"/>
                  </a:lnTo>
                  <a:lnTo>
                    <a:pt x="78" y="1842"/>
                  </a:lnTo>
                  <a:lnTo>
                    <a:pt x="72" y="1836"/>
                  </a:lnTo>
                  <a:lnTo>
                    <a:pt x="66" y="1830"/>
                  </a:lnTo>
                  <a:lnTo>
                    <a:pt x="60" y="1824"/>
                  </a:lnTo>
                  <a:lnTo>
                    <a:pt x="54" y="1824"/>
                  </a:lnTo>
                  <a:lnTo>
                    <a:pt x="48" y="1824"/>
                  </a:lnTo>
                  <a:lnTo>
                    <a:pt x="42" y="1818"/>
                  </a:lnTo>
                  <a:lnTo>
                    <a:pt x="54" y="1818"/>
                  </a:lnTo>
                  <a:lnTo>
                    <a:pt x="60" y="1812"/>
                  </a:lnTo>
                  <a:lnTo>
                    <a:pt x="66" y="1812"/>
                  </a:lnTo>
                  <a:lnTo>
                    <a:pt x="72" y="1812"/>
                  </a:lnTo>
                  <a:lnTo>
                    <a:pt x="78" y="1812"/>
                  </a:lnTo>
                  <a:lnTo>
                    <a:pt x="84" y="1812"/>
                  </a:lnTo>
                  <a:lnTo>
                    <a:pt x="90" y="1806"/>
                  </a:lnTo>
                  <a:lnTo>
                    <a:pt x="96" y="1800"/>
                  </a:lnTo>
                  <a:lnTo>
                    <a:pt x="102" y="1806"/>
                  </a:lnTo>
                  <a:lnTo>
                    <a:pt x="108" y="1800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26" y="1788"/>
                  </a:lnTo>
                  <a:lnTo>
                    <a:pt x="126" y="1794"/>
                  </a:lnTo>
                  <a:lnTo>
                    <a:pt x="132" y="1794"/>
                  </a:lnTo>
                  <a:lnTo>
                    <a:pt x="132" y="1788"/>
                  </a:lnTo>
                  <a:lnTo>
                    <a:pt x="138" y="1788"/>
                  </a:lnTo>
                  <a:lnTo>
                    <a:pt x="138" y="1782"/>
                  </a:lnTo>
                  <a:lnTo>
                    <a:pt x="144" y="1782"/>
                  </a:lnTo>
                  <a:lnTo>
                    <a:pt x="150" y="1776"/>
                  </a:lnTo>
                  <a:lnTo>
                    <a:pt x="156" y="1782"/>
                  </a:lnTo>
                  <a:lnTo>
                    <a:pt x="162" y="1776"/>
                  </a:lnTo>
                  <a:lnTo>
                    <a:pt x="168" y="1776"/>
                  </a:lnTo>
                  <a:lnTo>
                    <a:pt x="180" y="1776"/>
                  </a:lnTo>
                  <a:lnTo>
                    <a:pt x="186" y="1776"/>
                  </a:lnTo>
                  <a:lnTo>
                    <a:pt x="186" y="1782"/>
                  </a:lnTo>
                  <a:lnTo>
                    <a:pt x="192" y="1776"/>
                  </a:lnTo>
                  <a:lnTo>
                    <a:pt x="198" y="1776"/>
                  </a:lnTo>
                  <a:lnTo>
                    <a:pt x="204" y="1770"/>
                  </a:lnTo>
                  <a:lnTo>
                    <a:pt x="204" y="1764"/>
                  </a:lnTo>
                  <a:lnTo>
                    <a:pt x="210" y="1764"/>
                  </a:lnTo>
                  <a:lnTo>
                    <a:pt x="216" y="1764"/>
                  </a:lnTo>
                  <a:lnTo>
                    <a:pt x="216" y="1758"/>
                  </a:lnTo>
                  <a:lnTo>
                    <a:pt x="222" y="1758"/>
                  </a:lnTo>
                  <a:lnTo>
                    <a:pt x="228" y="1758"/>
                  </a:lnTo>
                  <a:lnTo>
                    <a:pt x="258" y="1746"/>
                  </a:lnTo>
                  <a:lnTo>
                    <a:pt x="282" y="1716"/>
                  </a:lnTo>
                  <a:lnTo>
                    <a:pt x="300" y="1698"/>
                  </a:lnTo>
                  <a:lnTo>
                    <a:pt x="312" y="1698"/>
                  </a:lnTo>
                  <a:lnTo>
                    <a:pt x="336" y="1698"/>
                  </a:lnTo>
                  <a:lnTo>
                    <a:pt x="360" y="1698"/>
                  </a:lnTo>
                  <a:lnTo>
                    <a:pt x="372" y="1692"/>
                  </a:lnTo>
                  <a:lnTo>
                    <a:pt x="384" y="1692"/>
                  </a:lnTo>
                  <a:lnTo>
                    <a:pt x="360" y="1668"/>
                  </a:lnTo>
                  <a:lnTo>
                    <a:pt x="348" y="1626"/>
                  </a:lnTo>
                  <a:lnTo>
                    <a:pt x="354" y="1578"/>
                  </a:lnTo>
                  <a:lnTo>
                    <a:pt x="354" y="1572"/>
                  </a:lnTo>
                  <a:lnTo>
                    <a:pt x="360" y="1572"/>
                  </a:lnTo>
                  <a:lnTo>
                    <a:pt x="396" y="1530"/>
                  </a:lnTo>
                  <a:lnTo>
                    <a:pt x="408" y="1482"/>
                  </a:lnTo>
                  <a:lnTo>
                    <a:pt x="438" y="1458"/>
                  </a:lnTo>
                  <a:lnTo>
                    <a:pt x="468" y="1422"/>
                  </a:lnTo>
                  <a:lnTo>
                    <a:pt x="480" y="1410"/>
                  </a:lnTo>
                  <a:lnTo>
                    <a:pt x="474" y="1386"/>
                  </a:lnTo>
                  <a:lnTo>
                    <a:pt x="456" y="1356"/>
                  </a:lnTo>
                  <a:lnTo>
                    <a:pt x="438" y="1350"/>
                  </a:lnTo>
                  <a:lnTo>
                    <a:pt x="420" y="1350"/>
                  </a:lnTo>
                  <a:lnTo>
                    <a:pt x="402" y="1350"/>
                  </a:lnTo>
                  <a:lnTo>
                    <a:pt x="390" y="1344"/>
                  </a:lnTo>
                  <a:lnTo>
                    <a:pt x="390" y="1332"/>
                  </a:lnTo>
                  <a:lnTo>
                    <a:pt x="402" y="1296"/>
                  </a:lnTo>
                  <a:lnTo>
                    <a:pt x="414" y="1260"/>
                  </a:lnTo>
                  <a:lnTo>
                    <a:pt x="426" y="1248"/>
                  </a:lnTo>
                  <a:lnTo>
                    <a:pt x="438" y="1242"/>
                  </a:lnTo>
                  <a:lnTo>
                    <a:pt x="432" y="1230"/>
                  </a:lnTo>
                  <a:lnTo>
                    <a:pt x="432" y="1224"/>
                  </a:lnTo>
                  <a:lnTo>
                    <a:pt x="426" y="1218"/>
                  </a:lnTo>
                  <a:lnTo>
                    <a:pt x="426" y="1206"/>
                  </a:lnTo>
                  <a:lnTo>
                    <a:pt x="426" y="1200"/>
                  </a:lnTo>
                  <a:lnTo>
                    <a:pt x="432" y="1194"/>
                  </a:lnTo>
                  <a:lnTo>
                    <a:pt x="426" y="1188"/>
                  </a:lnTo>
                  <a:lnTo>
                    <a:pt x="432" y="1104"/>
                  </a:lnTo>
                  <a:lnTo>
                    <a:pt x="438" y="1086"/>
                  </a:lnTo>
                  <a:lnTo>
                    <a:pt x="462" y="972"/>
                  </a:lnTo>
                  <a:lnTo>
                    <a:pt x="456" y="900"/>
                  </a:lnTo>
                  <a:lnTo>
                    <a:pt x="444" y="846"/>
                  </a:lnTo>
                  <a:lnTo>
                    <a:pt x="456" y="810"/>
                  </a:lnTo>
                  <a:lnTo>
                    <a:pt x="492" y="786"/>
                  </a:lnTo>
                  <a:lnTo>
                    <a:pt x="522" y="762"/>
                  </a:lnTo>
                  <a:lnTo>
                    <a:pt x="546" y="732"/>
                  </a:lnTo>
                  <a:lnTo>
                    <a:pt x="570" y="696"/>
                  </a:lnTo>
                  <a:lnTo>
                    <a:pt x="582" y="654"/>
                  </a:lnTo>
                  <a:lnTo>
                    <a:pt x="564" y="642"/>
                  </a:lnTo>
                  <a:lnTo>
                    <a:pt x="522" y="588"/>
                  </a:lnTo>
                  <a:lnTo>
                    <a:pt x="516" y="546"/>
                  </a:lnTo>
                  <a:lnTo>
                    <a:pt x="510" y="474"/>
                  </a:lnTo>
                  <a:lnTo>
                    <a:pt x="510" y="450"/>
                  </a:lnTo>
                  <a:lnTo>
                    <a:pt x="510" y="444"/>
                  </a:lnTo>
                  <a:lnTo>
                    <a:pt x="522" y="438"/>
                  </a:lnTo>
                  <a:lnTo>
                    <a:pt x="522" y="432"/>
                  </a:lnTo>
                  <a:lnTo>
                    <a:pt x="528" y="426"/>
                  </a:lnTo>
                  <a:lnTo>
                    <a:pt x="534" y="420"/>
                  </a:lnTo>
                  <a:lnTo>
                    <a:pt x="540" y="414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08"/>
                  </a:lnTo>
                  <a:lnTo>
                    <a:pt x="546" y="408"/>
                  </a:lnTo>
                  <a:lnTo>
                    <a:pt x="558" y="414"/>
                  </a:lnTo>
                  <a:lnTo>
                    <a:pt x="564" y="414"/>
                  </a:lnTo>
                  <a:lnTo>
                    <a:pt x="570" y="414"/>
                  </a:lnTo>
                  <a:lnTo>
                    <a:pt x="582" y="414"/>
                  </a:lnTo>
                  <a:lnTo>
                    <a:pt x="582" y="420"/>
                  </a:lnTo>
                  <a:lnTo>
                    <a:pt x="588" y="414"/>
                  </a:lnTo>
                  <a:lnTo>
                    <a:pt x="582" y="408"/>
                  </a:lnTo>
                  <a:lnTo>
                    <a:pt x="588" y="402"/>
                  </a:lnTo>
                  <a:lnTo>
                    <a:pt x="594" y="402"/>
                  </a:lnTo>
                  <a:lnTo>
                    <a:pt x="594" y="396"/>
                  </a:lnTo>
                  <a:lnTo>
                    <a:pt x="594" y="390"/>
                  </a:lnTo>
                  <a:lnTo>
                    <a:pt x="594" y="384"/>
                  </a:lnTo>
                  <a:lnTo>
                    <a:pt x="594" y="378"/>
                  </a:lnTo>
                  <a:lnTo>
                    <a:pt x="600" y="366"/>
                  </a:lnTo>
                  <a:lnTo>
                    <a:pt x="606" y="366"/>
                  </a:lnTo>
                  <a:lnTo>
                    <a:pt x="612" y="360"/>
                  </a:lnTo>
                  <a:lnTo>
                    <a:pt x="612" y="366"/>
                  </a:lnTo>
                  <a:lnTo>
                    <a:pt x="618" y="366"/>
                  </a:lnTo>
                  <a:lnTo>
                    <a:pt x="624" y="366"/>
                  </a:lnTo>
                  <a:lnTo>
                    <a:pt x="630" y="360"/>
                  </a:lnTo>
                  <a:lnTo>
                    <a:pt x="636" y="354"/>
                  </a:lnTo>
                  <a:lnTo>
                    <a:pt x="630" y="354"/>
                  </a:lnTo>
                  <a:lnTo>
                    <a:pt x="630" y="348"/>
                  </a:lnTo>
                  <a:lnTo>
                    <a:pt x="630" y="342"/>
                  </a:lnTo>
                  <a:lnTo>
                    <a:pt x="636" y="342"/>
                  </a:lnTo>
                  <a:lnTo>
                    <a:pt x="642" y="336"/>
                  </a:lnTo>
                  <a:lnTo>
                    <a:pt x="636" y="330"/>
                  </a:lnTo>
                  <a:lnTo>
                    <a:pt x="630" y="336"/>
                  </a:lnTo>
                  <a:lnTo>
                    <a:pt x="624" y="336"/>
                  </a:lnTo>
                  <a:lnTo>
                    <a:pt x="624" y="330"/>
                  </a:lnTo>
                  <a:lnTo>
                    <a:pt x="624" y="324"/>
                  </a:lnTo>
                  <a:lnTo>
                    <a:pt x="618" y="324"/>
                  </a:lnTo>
                  <a:lnTo>
                    <a:pt x="624" y="324"/>
                  </a:lnTo>
                  <a:lnTo>
                    <a:pt x="630" y="330"/>
                  </a:lnTo>
                  <a:lnTo>
                    <a:pt x="630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2" y="306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8" y="288"/>
                  </a:lnTo>
                  <a:lnTo>
                    <a:pt x="648" y="282"/>
                  </a:lnTo>
                  <a:lnTo>
                    <a:pt x="654" y="288"/>
                  </a:lnTo>
                  <a:lnTo>
                    <a:pt x="654" y="282"/>
                  </a:lnTo>
                  <a:lnTo>
                    <a:pt x="660" y="282"/>
                  </a:lnTo>
                  <a:lnTo>
                    <a:pt x="666" y="282"/>
                  </a:lnTo>
                  <a:lnTo>
                    <a:pt x="672" y="282"/>
                  </a:lnTo>
                  <a:lnTo>
                    <a:pt x="678" y="282"/>
                  </a:lnTo>
                  <a:lnTo>
                    <a:pt x="684" y="276"/>
                  </a:lnTo>
                  <a:lnTo>
                    <a:pt x="690" y="270"/>
                  </a:lnTo>
                  <a:lnTo>
                    <a:pt x="690" y="264"/>
                  </a:lnTo>
                  <a:lnTo>
                    <a:pt x="690" y="270"/>
                  </a:lnTo>
                  <a:lnTo>
                    <a:pt x="690" y="276"/>
                  </a:lnTo>
                  <a:lnTo>
                    <a:pt x="696" y="276"/>
                  </a:lnTo>
                  <a:lnTo>
                    <a:pt x="702" y="276"/>
                  </a:lnTo>
                  <a:lnTo>
                    <a:pt x="702" y="282"/>
                  </a:lnTo>
                  <a:lnTo>
                    <a:pt x="708" y="282"/>
                  </a:lnTo>
                  <a:lnTo>
                    <a:pt x="720" y="270"/>
                  </a:lnTo>
                  <a:lnTo>
                    <a:pt x="720" y="264"/>
                  </a:lnTo>
                  <a:lnTo>
                    <a:pt x="720" y="258"/>
                  </a:lnTo>
                  <a:lnTo>
                    <a:pt x="726" y="258"/>
                  </a:lnTo>
                  <a:lnTo>
                    <a:pt x="732" y="258"/>
                  </a:lnTo>
                  <a:lnTo>
                    <a:pt x="732" y="264"/>
                  </a:lnTo>
                  <a:lnTo>
                    <a:pt x="738" y="264"/>
                  </a:lnTo>
                  <a:lnTo>
                    <a:pt x="738" y="258"/>
                  </a:lnTo>
                  <a:lnTo>
                    <a:pt x="732" y="258"/>
                  </a:lnTo>
                  <a:lnTo>
                    <a:pt x="732" y="252"/>
                  </a:lnTo>
                  <a:lnTo>
                    <a:pt x="744" y="252"/>
                  </a:lnTo>
                  <a:lnTo>
                    <a:pt x="750" y="252"/>
                  </a:lnTo>
                  <a:lnTo>
                    <a:pt x="750" y="246"/>
                  </a:lnTo>
                  <a:lnTo>
                    <a:pt x="750" y="240"/>
                  </a:lnTo>
                  <a:lnTo>
                    <a:pt x="762" y="234"/>
                  </a:lnTo>
                  <a:lnTo>
                    <a:pt x="768" y="234"/>
                  </a:lnTo>
                  <a:lnTo>
                    <a:pt x="774" y="234"/>
                  </a:lnTo>
                  <a:lnTo>
                    <a:pt x="780" y="228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16"/>
                  </a:lnTo>
                  <a:lnTo>
                    <a:pt x="792" y="210"/>
                  </a:lnTo>
                  <a:lnTo>
                    <a:pt x="804" y="204"/>
                  </a:lnTo>
                  <a:lnTo>
                    <a:pt x="804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0" y="192"/>
                  </a:lnTo>
                  <a:lnTo>
                    <a:pt x="798" y="186"/>
                  </a:lnTo>
                  <a:lnTo>
                    <a:pt x="810" y="186"/>
                  </a:lnTo>
                  <a:lnTo>
                    <a:pt x="810" y="180"/>
                  </a:lnTo>
                  <a:lnTo>
                    <a:pt x="810" y="186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0" y="180"/>
                  </a:lnTo>
                  <a:lnTo>
                    <a:pt x="816" y="174"/>
                  </a:lnTo>
                  <a:lnTo>
                    <a:pt x="822" y="174"/>
                  </a:lnTo>
                  <a:lnTo>
                    <a:pt x="822" y="180"/>
                  </a:lnTo>
                  <a:lnTo>
                    <a:pt x="828" y="180"/>
                  </a:lnTo>
                  <a:lnTo>
                    <a:pt x="828" y="174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62"/>
                  </a:lnTo>
                  <a:lnTo>
                    <a:pt x="828" y="156"/>
                  </a:lnTo>
                  <a:lnTo>
                    <a:pt x="822" y="156"/>
                  </a:lnTo>
                  <a:lnTo>
                    <a:pt x="828" y="156"/>
                  </a:lnTo>
                  <a:lnTo>
                    <a:pt x="828" y="150"/>
                  </a:lnTo>
                  <a:lnTo>
                    <a:pt x="834" y="150"/>
                  </a:lnTo>
                  <a:lnTo>
                    <a:pt x="840" y="156"/>
                  </a:lnTo>
                  <a:lnTo>
                    <a:pt x="840" y="150"/>
                  </a:lnTo>
                  <a:lnTo>
                    <a:pt x="834" y="150"/>
                  </a:lnTo>
                  <a:lnTo>
                    <a:pt x="834" y="144"/>
                  </a:lnTo>
                  <a:lnTo>
                    <a:pt x="840" y="138"/>
                  </a:lnTo>
                  <a:lnTo>
                    <a:pt x="846" y="144"/>
                  </a:lnTo>
                  <a:lnTo>
                    <a:pt x="846" y="150"/>
                  </a:lnTo>
                  <a:lnTo>
                    <a:pt x="852" y="150"/>
                  </a:lnTo>
                  <a:lnTo>
                    <a:pt x="858" y="150"/>
                  </a:lnTo>
                  <a:lnTo>
                    <a:pt x="870" y="150"/>
                  </a:lnTo>
                  <a:lnTo>
                    <a:pt x="870" y="144"/>
                  </a:lnTo>
                  <a:lnTo>
                    <a:pt x="876" y="138"/>
                  </a:lnTo>
                  <a:lnTo>
                    <a:pt x="882" y="138"/>
                  </a:lnTo>
                  <a:lnTo>
                    <a:pt x="888" y="132"/>
                  </a:lnTo>
                  <a:lnTo>
                    <a:pt x="888" y="138"/>
                  </a:lnTo>
                  <a:lnTo>
                    <a:pt x="894" y="138"/>
                  </a:lnTo>
                  <a:lnTo>
                    <a:pt x="894" y="132"/>
                  </a:lnTo>
                  <a:lnTo>
                    <a:pt x="900" y="126"/>
                  </a:lnTo>
                  <a:lnTo>
                    <a:pt x="900" y="132"/>
                  </a:lnTo>
                  <a:lnTo>
                    <a:pt x="906" y="132"/>
                  </a:lnTo>
                  <a:lnTo>
                    <a:pt x="912" y="132"/>
                  </a:lnTo>
                  <a:lnTo>
                    <a:pt x="918" y="126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24" y="126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8" y="120"/>
                  </a:lnTo>
                  <a:lnTo>
                    <a:pt x="948" y="114"/>
                  </a:lnTo>
                  <a:lnTo>
                    <a:pt x="948" y="108"/>
                  </a:lnTo>
                  <a:lnTo>
                    <a:pt x="954" y="114"/>
                  </a:lnTo>
                  <a:lnTo>
                    <a:pt x="960" y="108"/>
                  </a:lnTo>
                  <a:lnTo>
                    <a:pt x="966" y="108"/>
                  </a:lnTo>
                  <a:lnTo>
                    <a:pt x="972" y="108"/>
                  </a:lnTo>
                  <a:lnTo>
                    <a:pt x="966" y="114"/>
                  </a:lnTo>
                  <a:lnTo>
                    <a:pt x="960" y="114"/>
                  </a:lnTo>
                  <a:lnTo>
                    <a:pt x="960" y="120"/>
                  </a:lnTo>
                  <a:lnTo>
                    <a:pt x="966" y="126"/>
                  </a:lnTo>
                  <a:lnTo>
                    <a:pt x="972" y="126"/>
                  </a:lnTo>
                  <a:lnTo>
                    <a:pt x="978" y="126"/>
                  </a:lnTo>
                  <a:lnTo>
                    <a:pt x="984" y="120"/>
                  </a:lnTo>
                  <a:lnTo>
                    <a:pt x="984" y="114"/>
                  </a:lnTo>
                  <a:lnTo>
                    <a:pt x="996" y="126"/>
                  </a:lnTo>
                  <a:lnTo>
                    <a:pt x="996" y="120"/>
                  </a:lnTo>
                  <a:lnTo>
                    <a:pt x="1002" y="120"/>
                  </a:lnTo>
                  <a:lnTo>
                    <a:pt x="996" y="114"/>
                  </a:lnTo>
                  <a:lnTo>
                    <a:pt x="1002" y="114"/>
                  </a:lnTo>
                  <a:lnTo>
                    <a:pt x="1008" y="114"/>
                  </a:lnTo>
                  <a:lnTo>
                    <a:pt x="1008" y="108"/>
                  </a:lnTo>
                  <a:lnTo>
                    <a:pt x="1014" y="108"/>
                  </a:lnTo>
                  <a:lnTo>
                    <a:pt x="1008" y="114"/>
                  </a:lnTo>
                  <a:lnTo>
                    <a:pt x="1008" y="120"/>
                  </a:lnTo>
                  <a:lnTo>
                    <a:pt x="1008" y="126"/>
                  </a:lnTo>
                  <a:lnTo>
                    <a:pt x="1014" y="126"/>
                  </a:lnTo>
                  <a:lnTo>
                    <a:pt x="1014" y="132"/>
                  </a:lnTo>
                  <a:lnTo>
                    <a:pt x="1020" y="132"/>
                  </a:lnTo>
                  <a:lnTo>
                    <a:pt x="1020" y="126"/>
                  </a:lnTo>
                  <a:lnTo>
                    <a:pt x="1020" y="120"/>
                  </a:lnTo>
                  <a:lnTo>
                    <a:pt x="1032" y="120"/>
                  </a:lnTo>
                  <a:lnTo>
                    <a:pt x="1038" y="120"/>
                  </a:lnTo>
                  <a:lnTo>
                    <a:pt x="1038" y="126"/>
                  </a:lnTo>
                  <a:lnTo>
                    <a:pt x="1044" y="132"/>
                  </a:lnTo>
                  <a:lnTo>
                    <a:pt x="1044" y="126"/>
                  </a:lnTo>
                  <a:lnTo>
                    <a:pt x="1050" y="120"/>
                  </a:lnTo>
                  <a:lnTo>
                    <a:pt x="1050" y="114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68" y="102"/>
                  </a:lnTo>
                  <a:lnTo>
                    <a:pt x="1074" y="96"/>
                  </a:lnTo>
                  <a:lnTo>
                    <a:pt x="1074" y="90"/>
                  </a:lnTo>
                  <a:lnTo>
                    <a:pt x="1068" y="90"/>
                  </a:lnTo>
                  <a:lnTo>
                    <a:pt x="1068" y="84"/>
                  </a:lnTo>
                  <a:lnTo>
                    <a:pt x="1080" y="84"/>
                  </a:lnTo>
                  <a:lnTo>
                    <a:pt x="1086" y="78"/>
                  </a:lnTo>
                  <a:lnTo>
                    <a:pt x="1086" y="72"/>
                  </a:lnTo>
                  <a:lnTo>
                    <a:pt x="1080" y="78"/>
                  </a:lnTo>
                  <a:lnTo>
                    <a:pt x="1080" y="72"/>
                  </a:lnTo>
                  <a:lnTo>
                    <a:pt x="1080" y="66"/>
                  </a:lnTo>
                  <a:lnTo>
                    <a:pt x="1074" y="66"/>
                  </a:lnTo>
                  <a:lnTo>
                    <a:pt x="1080" y="66"/>
                  </a:lnTo>
                  <a:lnTo>
                    <a:pt x="1080" y="60"/>
                  </a:lnTo>
                  <a:lnTo>
                    <a:pt x="1086" y="60"/>
                  </a:lnTo>
                  <a:lnTo>
                    <a:pt x="1086" y="54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2" y="42"/>
                  </a:lnTo>
                  <a:lnTo>
                    <a:pt x="1098" y="42"/>
                  </a:lnTo>
                  <a:lnTo>
                    <a:pt x="1104" y="36"/>
                  </a:lnTo>
                  <a:lnTo>
                    <a:pt x="1110" y="36"/>
                  </a:lnTo>
                  <a:lnTo>
                    <a:pt x="1110" y="30"/>
                  </a:lnTo>
                  <a:lnTo>
                    <a:pt x="1110" y="24"/>
                  </a:lnTo>
                  <a:lnTo>
                    <a:pt x="1116" y="24"/>
                  </a:lnTo>
                  <a:lnTo>
                    <a:pt x="1116" y="18"/>
                  </a:lnTo>
                  <a:lnTo>
                    <a:pt x="1122" y="18"/>
                  </a:lnTo>
                  <a:lnTo>
                    <a:pt x="1128" y="18"/>
                  </a:lnTo>
                  <a:lnTo>
                    <a:pt x="1134" y="12"/>
                  </a:lnTo>
                  <a:lnTo>
                    <a:pt x="1134" y="6"/>
                  </a:lnTo>
                  <a:lnTo>
                    <a:pt x="1140" y="6"/>
                  </a:lnTo>
                  <a:lnTo>
                    <a:pt x="1146" y="0"/>
                  </a:lnTo>
                  <a:lnTo>
                    <a:pt x="1152" y="0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70" y="0"/>
                  </a:lnTo>
                  <a:lnTo>
                    <a:pt x="1176" y="6"/>
                  </a:lnTo>
                  <a:lnTo>
                    <a:pt x="1182" y="6"/>
                  </a:lnTo>
                  <a:lnTo>
                    <a:pt x="1194" y="6"/>
                  </a:lnTo>
                  <a:lnTo>
                    <a:pt x="1200" y="6"/>
                  </a:lnTo>
                  <a:lnTo>
                    <a:pt x="1212" y="0"/>
                  </a:lnTo>
                  <a:lnTo>
                    <a:pt x="1212" y="6"/>
                  </a:lnTo>
                  <a:lnTo>
                    <a:pt x="1218" y="6"/>
                  </a:lnTo>
                  <a:lnTo>
                    <a:pt x="1266" y="6"/>
                  </a:lnTo>
                  <a:lnTo>
                    <a:pt x="1272" y="0"/>
                  </a:lnTo>
                  <a:lnTo>
                    <a:pt x="1278" y="6"/>
                  </a:lnTo>
                  <a:lnTo>
                    <a:pt x="1290" y="6"/>
                  </a:lnTo>
                  <a:lnTo>
                    <a:pt x="1296" y="6"/>
                  </a:lnTo>
                  <a:lnTo>
                    <a:pt x="1308" y="6"/>
                  </a:lnTo>
                  <a:lnTo>
                    <a:pt x="1314" y="6"/>
                  </a:lnTo>
                  <a:lnTo>
                    <a:pt x="1320" y="6"/>
                  </a:lnTo>
                  <a:lnTo>
                    <a:pt x="1326" y="12"/>
                  </a:lnTo>
                  <a:lnTo>
                    <a:pt x="1338" y="30"/>
                  </a:lnTo>
                  <a:lnTo>
                    <a:pt x="1344" y="36"/>
                  </a:lnTo>
                  <a:lnTo>
                    <a:pt x="1356" y="48"/>
                  </a:lnTo>
                  <a:lnTo>
                    <a:pt x="1362" y="60"/>
                  </a:lnTo>
                  <a:lnTo>
                    <a:pt x="1368" y="66"/>
                  </a:lnTo>
                  <a:lnTo>
                    <a:pt x="1374" y="72"/>
                  </a:lnTo>
                  <a:lnTo>
                    <a:pt x="1374" y="78"/>
                  </a:lnTo>
                  <a:lnTo>
                    <a:pt x="1398" y="108"/>
                  </a:lnTo>
                  <a:lnTo>
                    <a:pt x="1398" y="114"/>
                  </a:lnTo>
                  <a:lnTo>
                    <a:pt x="1404" y="114"/>
                  </a:lnTo>
                  <a:lnTo>
                    <a:pt x="1404" y="120"/>
                  </a:lnTo>
                  <a:lnTo>
                    <a:pt x="1410" y="132"/>
                  </a:lnTo>
                  <a:lnTo>
                    <a:pt x="1416" y="132"/>
                  </a:lnTo>
                  <a:lnTo>
                    <a:pt x="1416" y="138"/>
                  </a:lnTo>
                  <a:lnTo>
                    <a:pt x="1422" y="144"/>
                  </a:lnTo>
                  <a:lnTo>
                    <a:pt x="1428" y="150"/>
                  </a:lnTo>
                  <a:lnTo>
                    <a:pt x="1428" y="156"/>
                  </a:lnTo>
                  <a:lnTo>
                    <a:pt x="1458" y="192"/>
                  </a:lnTo>
                  <a:lnTo>
                    <a:pt x="1458" y="198"/>
                  </a:lnTo>
                  <a:lnTo>
                    <a:pt x="1464" y="204"/>
                  </a:lnTo>
                  <a:lnTo>
                    <a:pt x="1470" y="210"/>
                  </a:lnTo>
                  <a:lnTo>
                    <a:pt x="1476" y="216"/>
                  </a:lnTo>
                  <a:lnTo>
                    <a:pt x="1482" y="228"/>
                  </a:lnTo>
                  <a:lnTo>
                    <a:pt x="1488" y="234"/>
                  </a:lnTo>
                  <a:lnTo>
                    <a:pt x="1512" y="270"/>
                  </a:lnTo>
                  <a:lnTo>
                    <a:pt x="1512" y="276"/>
                  </a:lnTo>
                  <a:lnTo>
                    <a:pt x="1530" y="300"/>
                  </a:lnTo>
                  <a:lnTo>
                    <a:pt x="1536" y="306"/>
                  </a:lnTo>
                  <a:lnTo>
                    <a:pt x="1542" y="312"/>
                  </a:lnTo>
                  <a:lnTo>
                    <a:pt x="1542" y="318"/>
                  </a:lnTo>
                  <a:lnTo>
                    <a:pt x="1560" y="336"/>
                  </a:lnTo>
                  <a:lnTo>
                    <a:pt x="1566" y="348"/>
                  </a:lnTo>
                  <a:lnTo>
                    <a:pt x="1572" y="354"/>
                  </a:lnTo>
                  <a:lnTo>
                    <a:pt x="1578" y="360"/>
                  </a:lnTo>
                  <a:lnTo>
                    <a:pt x="1584" y="378"/>
                  </a:lnTo>
                  <a:lnTo>
                    <a:pt x="1590" y="378"/>
                  </a:lnTo>
                  <a:lnTo>
                    <a:pt x="1596" y="390"/>
                  </a:lnTo>
                  <a:lnTo>
                    <a:pt x="1602" y="396"/>
                  </a:lnTo>
                  <a:lnTo>
                    <a:pt x="1608" y="408"/>
                  </a:lnTo>
                  <a:lnTo>
                    <a:pt x="1614" y="408"/>
                  </a:lnTo>
                  <a:lnTo>
                    <a:pt x="1614" y="432"/>
                  </a:lnTo>
                  <a:lnTo>
                    <a:pt x="1620" y="438"/>
                  </a:lnTo>
                  <a:lnTo>
                    <a:pt x="1620" y="450"/>
                  </a:lnTo>
                  <a:lnTo>
                    <a:pt x="1620" y="462"/>
                  </a:lnTo>
                  <a:lnTo>
                    <a:pt x="1626" y="474"/>
                  </a:lnTo>
                  <a:lnTo>
                    <a:pt x="1626" y="480"/>
                  </a:lnTo>
                  <a:lnTo>
                    <a:pt x="1626" y="486"/>
                  </a:lnTo>
                  <a:lnTo>
                    <a:pt x="1632" y="522"/>
                  </a:lnTo>
                  <a:lnTo>
                    <a:pt x="1632" y="528"/>
                  </a:lnTo>
                  <a:lnTo>
                    <a:pt x="1632" y="534"/>
                  </a:lnTo>
                  <a:lnTo>
                    <a:pt x="1638" y="540"/>
                  </a:lnTo>
                  <a:lnTo>
                    <a:pt x="1638" y="558"/>
                  </a:lnTo>
                  <a:lnTo>
                    <a:pt x="1638" y="570"/>
                  </a:lnTo>
                  <a:lnTo>
                    <a:pt x="1644" y="582"/>
                  </a:lnTo>
                  <a:lnTo>
                    <a:pt x="1650" y="618"/>
                  </a:lnTo>
                  <a:lnTo>
                    <a:pt x="1650" y="624"/>
                  </a:lnTo>
                  <a:lnTo>
                    <a:pt x="1650" y="636"/>
                  </a:lnTo>
                  <a:lnTo>
                    <a:pt x="1656" y="642"/>
                  </a:lnTo>
                  <a:lnTo>
                    <a:pt x="1656" y="648"/>
                  </a:lnTo>
                  <a:lnTo>
                    <a:pt x="1656" y="654"/>
                  </a:lnTo>
                  <a:lnTo>
                    <a:pt x="1656" y="660"/>
                  </a:lnTo>
                  <a:lnTo>
                    <a:pt x="1662" y="696"/>
                  </a:lnTo>
                  <a:lnTo>
                    <a:pt x="1668" y="708"/>
                  </a:lnTo>
                  <a:lnTo>
                    <a:pt x="1668" y="714"/>
                  </a:lnTo>
                  <a:lnTo>
                    <a:pt x="1668" y="732"/>
                  </a:lnTo>
                  <a:lnTo>
                    <a:pt x="1668" y="744"/>
                  </a:lnTo>
                  <a:lnTo>
                    <a:pt x="1674" y="756"/>
                  </a:lnTo>
                  <a:lnTo>
                    <a:pt x="1680" y="762"/>
                  </a:lnTo>
                  <a:lnTo>
                    <a:pt x="1680" y="768"/>
                  </a:lnTo>
                  <a:lnTo>
                    <a:pt x="1680" y="774"/>
                  </a:lnTo>
                  <a:lnTo>
                    <a:pt x="1680" y="780"/>
                  </a:lnTo>
                  <a:lnTo>
                    <a:pt x="1674" y="786"/>
                  </a:lnTo>
                  <a:lnTo>
                    <a:pt x="1668" y="792"/>
                  </a:lnTo>
                  <a:lnTo>
                    <a:pt x="1668" y="798"/>
                  </a:lnTo>
                  <a:lnTo>
                    <a:pt x="1668" y="804"/>
                  </a:lnTo>
                  <a:lnTo>
                    <a:pt x="1674" y="804"/>
                  </a:lnTo>
                  <a:lnTo>
                    <a:pt x="1668" y="810"/>
                  </a:lnTo>
                  <a:lnTo>
                    <a:pt x="1674" y="810"/>
                  </a:lnTo>
                  <a:lnTo>
                    <a:pt x="1680" y="810"/>
                  </a:lnTo>
                  <a:lnTo>
                    <a:pt x="1680" y="816"/>
                  </a:lnTo>
                  <a:lnTo>
                    <a:pt x="1680" y="822"/>
                  </a:lnTo>
                  <a:lnTo>
                    <a:pt x="1674" y="822"/>
                  </a:lnTo>
                  <a:lnTo>
                    <a:pt x="1674" y="828"/>
                  </a:lnTo>
                  <a:lnTo>
                    <a:pt x="1668" y="828"/>
                  </a:lnTo>
                  <a:lnTo>
                    <a:pt x="1674" y="834"/>
                  </a:lnTo>
                  <a:lnTo>
                    <a:pt x="1668" y="834"/>
                  </a:lnTo>
                  <a:lnTo>
                    <a:pt x="1668" y="840"/>
                  </a:lnTo>
                  <a:lnTo>
                    <a:pt x="1674" y="840"/>
                  </a:lnTo>
                  <a:lnTo>
                    <a:pt x="1686" y="852"/>
                  </a:lnTo>
                  <a:lnTo>
                    <a:pt x="1692" y="858"/>
                  </a:lnTo>
                  <a:lnTo>
                    <a:pt x="1698" y="858"/>
                  </a:lnTo>
                  <a:lnTo>
                    <a:pt x="1698" y="864"/>
                  </a:lnTo>
                  <a:lnTo>
                    <a:pt x="1698" y="870"/>
                  </a:lnTo>
                  <a:lnTo>
                    <a:pt x="1704" y="864"/>
                  </a:lnTo>
                  <a:lnTo>
                    <a:pt x="1716" y="864"/>
                  </a:lnTo>
                  <a:lnTo>
                    <a:pt x="1722" y="864"/>
                  </a:lnTo>
                  <a:lnTo>
                    <a:pt x="1728" y="864"/>
                  </a:lnTo>
                  <a:lnTo>
                    <a:pt x="1734" y="864"/>
                  </a:lnTo>
                  <a:lnTo>
                    <a:pt x="1740" y="864"/>
                  </a:lnTo>
                  <a:lnTo>
                    <a:pt x="1746" y="876"/>
                  </a:lnTo>
                  <a:lnTo>
                    <a:pt x="1746" y="870"/>
                  </a:lnTo>
                  <a:lnTo>
                    <a:pt x="1740" y="864"/>
                  </a:lnTo>
                  <a:lnTo>
                    <a:pt x="1746" y="864"/>
                  </a:lnTo>
                  <a:lnTo>
                    <a:pt x="1752" y="870"/>
                  </a:lnTo>
                  <a:lnTo>
                    <a:pt x="1758" y="864"/>
                  </a:lnTo>
                  <a:lnTo>
                    <a:pt x="1764" y="864"/>
                  </a:lnTo>
                  <a:lnTo>
                    <a:pt x="1770" y="858"/>
                  </a:lnTo>
                  <a:lnTo>
                    <a:pt x="1782" y="864"/>
                  </a:lnTo>
                  <a:lnTo>
                    <a:pt x="1782" y="870"/>
                  </a:lnTo>
                  <a:lnTo>
                    <a:pt x="1788" y="864"/>
                  </a:lnTo>
                  <a:lnTo>
                    <a:pt x="1794" y="864"/>
                  </a:lnTo>
                  <a:lnTo>
                    <a:pt x="1800" y="870"/>
                  </a:lnTo>
                  <a:lnTo>
                    <a:pt x="1818" y="864"/>
                  </a:lnTo>
                  <a:lnTo>
                    <a:pt x="1824" y="870"/>
                  </a:lnTo>
                  <a:lnTo>
                    <a:pt x="1830" y="864"/>
                  </a:lnTo>
                  <a:lnTo>
                    <a:pt x="1836" y="864"/>
                  </a:lnTo>
                  <a:lnTo>
                    <a:pt x="1842" y="870"/>
                  </a:lnTo>
                  <a:lnTo>
                    <a:pt x="1842" y="876"/>
                  </a:lnTo>
                  <a:lnTo>
                    <a:pt x="1848" y="876"/>
                  </a:lnTo>
                  <a:lnTo>
                    <a:pt x="1848" y="870"/>
                  </a:lnTo>
                  <a:lnTo>
                    <a:pt x="1854" y="870"/>
                  </a:lnTo>
                  <a:lnTo>
                    <a:pt x="1860" y="870"/>
                  </a:lnTo>
                  <a:lnTo>
                    <a:pt x="1860" y="876"/>
                  </a:lnTo>
                  <a:lnTo>
                    <a:pt x="1866" y="876"/>
                  </a:lnTo>
                  <a:lnTo>
                    <a:pt x="1866" y="882"/>
                  </a:lnTo>
                  <a:lnTo>
                    <a:pt x="1872" y="882"/>
                  </a:lnTo>
                  <a:lnTo>
                    <a:pt x="1878" y="888"/>
                  </a:lnTo>
                  <a:lnTo>
                    <a:pt x="1890" y="888"/>
                  </a:lnTo>
                  <a:lnTo>
                    <a:pt x="1890" y="894"/>
                  </a:lnTo>
                  <a:lnTo>
                    <a:pt x="1890" y="900"/>
                  </a:lnTo>
                  <a:lnTo>
                    <a:pt x="1884" y="900"/>
                  </a:lnTo>
                  <a:lnTo>
                    <a:pt x="1884" y="906"/>
                  </a:lnTo>
                  <a:lnTo>
                    <a:pt x="1884" y="912"/>
                  </a:lnTo>
                  <a:lnTo>
                    <a:pt x="1890" y="912"/>
                  </a:lnTo>
                  <a:lnTo>
                    <a:pt x="1896" y="912"/>
                  </a:lnTo>
                  <a:lnTo>
                    <a:pt x="1902" y="912"/>
                  </a:lnTo>
                  <a:lnTo>
                    <a:pt x="1908" y="918"/>
                  </a:lnTo>
                  <a:lnTo>
                    <a:pt x="1908" y="924"/>
                  </a:lnTo>
                  <a:lnTo>
                    <a:pt x="1908" y="930"/>
                  </a:lnTo>
                  <a:lnTo>
                    <a:pt x="1908" y="936"/>
                  </a:lnTo>
                  <a:lnTo>
                    <a:pt x="1914" y="936"/>
                  </a:lnTo>
                  <a:lnTo>
                    <a:pt x="1914" y="942"/>
                  </a:lnTo>
                  <a:lnTo>
                    <a:pt x="1908" y="948"/>
                  </a:lnTo>
                  <a:lnTo>
                    <a:pt x="1914" y="948"/>
                  </a:lnTo>
                  <a:lnTo>
                    <a:pt x="1920" y="954"/>
                  </a:lnTo>
                  <a:lnTo>
                    <a:pt x="1926" y="954"/>
                  </a:lnTo>
                  <a:lnTo>
                    <a:pt x="1932" y="954"/>
                  </a:lnTo>
                  <a:lnTo>
                    <a:pt x="1938" y="954"/>
                  </a:lnTo>
                  <a:lnTo>
                    <a:pt x="1938" y="960"/>
                  </a:lnTo>
                  <a:lnTo>
                    <a:pt x="1944" y="966"/>
                  </a:lnTo>
                  <a:lnTo>
                    <a:pt x="1944" y="972"/>
                  </a:lnTo>
                  <a:lnTo>
                    <a:pt x="1944" y="978"/>
                  </a:lnTo>
                  <a:lnTo>
                    <a:pt x="1950" y="978"/>
                  </a:lnTo>
                  <a:lnTo>
                    <a:pt x="1950" y="984"/>
                  </a:lnTo>
                  <a:lnTo>
                    <a:pt x="1956" y="984"/>
                  </a:lnTo>
                  <a:lnTo>
                    <a:pt x="1962" y="984"/>
                  </a:lnTo>
                  <a:lnTo>
                    <a:pt x="1962" y="978"/>
                  </a:lnTo>
                  <a:lnTo>
                    <a:pt x="1968" y="978"/>
                  </a:lnTo>
                  <a:lnTo>
                    <a:pt x="1974" y="978"/>
                  </a:lnTo>
                  <a:lnTo>
                    <a:pt x="1980" y="972"/>
                  </a:lnTo>
                  <a:lnTo>
                    <a:pt x="1980" y="978"/>
                  </a:lnTo>
                  <a:lnTo>
                    <a:pt x="1980" y="984"/>
                  </a:lnTo>
                  <a:lnTo>
                    <a:pt x="1986" y="984"/>
                  </a:lnTo>
                  <a:lnTo>
                    <a:pt x="1992" y="990"/>
                  </a:lnTo>
                  <a:lnTo>
                    <a:pt x="1992" y="996"/>
                  </a:lnTo>
                  <a:lnTo>
                    <a:pt x="1992" y="1002"/>
                  </a:lnTo>
                  <a:lnTo>
                    <a:pt x="1974" y="1008"/>
                  </a:lnTo>
                  <a:lnTo>
                    <a:pt x="1974" y="1014"/>
                  </a:lnTo>
                  <a:lnTo>
                    <a:pt x="1974" y="1020"/>
                  </a:lnTo>
                  <a:lnTo>
                    <a:pt x="1974" y="1026"/>
                  </a:lnTo>
                  <a:lnTo>
                    <a:pt x="1968" y="1038"/>
                  </a:lnTo>
                  <a:lnTo>
                    <a:pt x="1968" y="1044"/>
                  </a:lnTo>
                  <a:lnTo>
                    <a:pt x="1974" y="1056"/>
                  </a:lnTo>
                  <a:lnTo>
                    <a:pt x="1968" y="1062"/>
                  </a:lnTo>
                  <a:lnTo>
                    <a:pt x="1962" y="1062"/>
                  </a:lnTo>
                  <a:lnTo>
                    <a:pt x="1956" y="1068"/>
                  </a:lnTo>
                  <a:lnTo>
                    <a:pt x="1956" y="1074"/>
                  </a:lnTo>
                  <a:lnTo>
                    <a:pt x="1956" y="1080"/>
                  </a:lnTo>
                  <a:lnTo>
                    <a:pt x="1956" y="1086"/>
                  </a:lnTo>
                  <a:lnTo>
                    <a:pt x="1956" y="1092"/>
                  </a:lnTo>
                  <a:lnTo>
                    <a:pt x="1962" y="1092"/>
                  </a:lnTo>
                  <a:lnTo>
                    <a:pt x="1962" y="1104"/>
                  </a:lnTo>
                  <a:lnTo>
                    <a:pt x="1968" y="1110"/>
                  </a:lnTo>
                  <a:lnTo>
                    <a:pt x="1968" y="1116"/>
                  </a:lnTo>
                  <a:lnTo>
                    <a:pt x="1974" y="1116"/>
                  </a:lnTo>
                  <a:lnTo>
                    <a:pt x="1974" y="1122"/>
                  </a:lnTo>
                  <a:lnTo>
                    <a:pt x="1980" y="1122"/>
                  </a:lnTo>
                  <a:lnTo>
                    <a:pt x="1974" y="1128"/>
                  </a:lnTo>
                  <a:lnTo>
                    <a:pt x="1968" y="1134"/>
                  </a:lnTo>
                  <a:lnTo>
                    <a:pt x="1962" y="1140"/>
                  </a:lnTo>
                  <a:lnTo>
                    <a:pt x="1962" y="1146"/>
                  </a:lnTo>
                  <a:lnTo>
                    <a:pt x="1968" y="1152"/>
                  </a:lnTo>
                  <a:lnTo>
                    <a:pt x="1968" y="1158"/>
                  </a:lnTo>
                  <a:lnTo>
                    <a:pt x="1962" y="1158"/>
                  </a:lnTo>
                  <a:lnTo>
                    <a:pt x="1962" y="1164"/>
                  </a:lnTo>
                  <a:lnTo>
                    <a:pt x="1956" y="1164"/>
                  </a:lnTo>
                  <a:lnTo>
                    <a:pt x="1956" y="1170"/>
                  </a:lnTo>
                  <a:lnTo>
                    <a:pt x="1944" y="1182"/>
                  </a:lnTo>
                  <a:lnTo>
                    <a:pt x="1944" y="1188"/>
                  </a:lnTo>
                  <a:lnTo>
                    <a:pt x="1950" y="1188"/>
                  </a:lnTo>
                  <a:lnTo>
                    <a:pt x="1944" y="1200"/>
                  </a:lnTo>
                  <a:lnTo>
                    <a:pt x="1944" y="1206"/>
                  </a:lnTo>
                  <a:lnTo>
                    <a:pt x="1944" y="1212"/>
                  </a:lnTo>
                  <a:lnTo>
                    <a:pt x="1944" y="1218"/>
                  </a:lnTo>
                  <a:lnTo>
                    <a:pt x="1944" y="1230"/>
                  </a:lnTo>
                  <a:lnTo>
                    <a:pt x="1944" y="1236"/>
                  </a:lnTo>
                  <a:lnTo>
                    <a:pt x="1944" y="1242"/>
                  </a:lnTo>
                  <a:lnTo>
                    <a:pt x="1938" y="1248"/>
                  </a:lnTo>
                  <a:lnTo>
                    <a:pt x="1938" y="1254"/>
                  </a:lnTo>
                  <a:lnTo>
                    <a:pt x="1932" y="1254"/>
                  </a:lnTo>
                  <a:lnTo>
                    <a:pt x="1926" y="1260"/>
                  </a:lnTo>
                  <a:lnTo>
                    <a:pt x="1920" y="1266"/>
                  </a:lnTo>
                  <a:lnTo>
                    <a:pt x="1914" y="1272"/>
                  </a:lnTo>
                  <a:lnTo>
                    <a:pt x="1908" y="1272"/>
                  </a:lnTo>
                  <a:lnTo>
                    <a:pt x="1908" y="1278"/>
                  </a:lnTo>
                  <a:lnTo>
                    <a:pt x="1914" y="1278"/>
                  </a:lnTo>
                  <a:lnTo>
                    <a:pt x="1914" y="1290"/>
                  </a:lnTo>
                  <a:lnTo>
                    <a:pt x="1920" y="1296"/>
                  </a:lnTo>
                  <a:lnTo>
                    <a:pt x="1938" y="1302"/>
                  </a:lnTo>
                  <a:lnTo>
                    <a:pt x="1944" y="1308"/>
                  </a:lnTo>
                  <a:lnTo>
                    <a:pt x="1950" y="1314"/>
                  </a:lnTo>
                  <a:lnTo>
                    <a:pt x="1956" y="1314"/>
                  </a:lnTo>
                  <a:lnTo>
                    <a:pt x="1962" y="1320"/>
                  </a:lnTo>
                  <a:lnTo>
                    <a:pt x="1962" y="1326"/>
                  </a:lnTo>
                  <a:lnTo>
                    <a:pt x="1968" y="1326"/>
                  </a:lnTo>
                  <a:lnTo>
                    <a:pt x="1968" y="1332"/>
                  </a:lnTo>
                  <a:lnTo>
                    <a:pt x="1968" y="1344"/>
                  </a:lnTo>
                  <a:lnTo>
                    <a:pt x="1968" y="1350"/>
                  </a:lnTo>
                  <a:lnTo>
                    <a:pt x="1968" y="1368"/>
                  </a:lnTo>
                  <a:lnTo>
                    <a:pt x="1962" y="1380"/>
                  </a:lnTo>
                  <a:lnTo>
                    <a:pt x="1968" y="1392"/>
                  </a:lnTo>
                  <a:lnTo>
                    <a:pt x="1962" y="1398"/>
                  </a:lnTo>
                  <a:lnTo>
                    <a:pt x="1956" y="1404"/>
                  </a:lnTo>
                  <a:lnTo>
                    <a:pt x="1950" y="1410"/>
                  </a:lnTo>
                  <a:lnTo>
                    <a:pt x="1944" y="1410"/>
                  </a:lnTo>
                  <a:lnTo>
                    <a:pt x="1932" y="1416"/>
                  </a:lnTo>
                  <a:lnTo>
                    <a:pt x="1926" y="1416"/>
                  </a:lnTo>
                  <a:lnTo>
                    <a:pt x="1896" y="1428"/>
                  </a:lnTo>
                  <a:lnTo>
                    <a:pt x="1884" y="1434"/>
                  </a:lnTo>
                  <a:lnTo>
                    <a:pt x="1878" y="1434"/>
                  </a:lnTo>
                  <a:lnTo>
                    <a:pt x="1866" y="1434"/>
                  </a:lnTo>
                  <a:lnTo>
                    <a:pt x="1854" y="1440"/>
                  </a:lnTo>
                  <a:lnTo>
                    <a:pt x="1848" y="1440"/>
                  </a:lnTo>
                  <a:lnTo>
                    <a:pt x="1842" y="1446"/>
                  </a:lnTo>
                  <a:lnTo>
                    <a:pt x="1842" y="1458"/>
                  </a:lnTo>
                  <a:lnTo>
                    <a:pt x="1836" y="1470"/>
                  </a:lnTo>
                  <a:lnTo>
                    <a:pt x="1830" y="1476"/>
                  </a:lnTo>
                  <a:lnTo>
                    <a:pt x="1824" y="1476"/>
                  </a:lnTo>
                  <a:lnTo>
                    <a:pt x="1806" y="1482"/>
                  </a:lnTo>
                  <a:lnTo>
                    <a:pt x="1800" y="1488"/>
                  </a:lnTo>
                  <a:lnTo>
                    <a:pt x="1794" y="1488"/>
                  </a:lnTo>
                  <a:lnTo>
                    <a:pt x="1788" y="1488"/>
                  </a:lnTo>
                  <a:lnTo>
                    <a:pt x="1776" y="1494"/>
                  </a:lnTo>
                  <a:lnTo>
                    <a:pt x="1764" y="1494"/>
                  </a:lnTo>
                  <a:lnTo>
                    <a:pt x="1758" y="1500"/>
                  </a:lnTo>
                  <a:lnTo>
                    <a:pt x="1746" y="1506"/>
                  </a:lnTo>
                  <a:lnTo>
                    <a:pt x="1728" y="1518"/>
                  </a:lnTo>
                  <a:lnTo>
                    <a:pt x="1716" y="1524"/>
                  </a:lnTo>
                  <a:lnTo>
                    <a:pt x="1710" y="1530"/>
                  </a:lnTo>
                  <a:lnTo>
                    <a:pt x="1704" y="1536"/>
                  </a:lnTo>
                  <a:lnTo>
                    <a:pt x="1698" y="1542"/>
                  </a:lnTo>
                  <a:lnTo>
                    <a:pt x="1692" y="1554"/>
                  </a:lnTo>
                  <a:lnTo>
                    <a:pt x="1686" y="1560"/>
                  </a:lnTo>
                  <a:lnTo>
                    <a:pt x="1680" y="1560"/>
                  </a:lnTo>
                  <a:lnTo>
                    <a:pt x="1674" y="1560"/>
                  </a:lnTo>
                  <a:lnTo>
                    <a:pt x="1656" y="1572"/>
                  </a:lnTo>
                  <a:lnTo>
                    <a:pt x="1650" y="1572"/>
                  </a:lnTo>
                  <a:lnTo>
                    <a:pt x="1644" y="1572"/>
                  </a:lnTo>
                  <a:lnTo>
                    <a:pt x="1638" y="1578"/>
                  </a:lnTo>
                  <a:lnTo>
                    <a:pt x="1632" y="1578"/>
                  </a:lnTo>
                  <a:lnTo>
                    <a:pt x="1626" y="1578"/>
                  </a:lnTo>
                  <a:lnTo>
                    <a:pt x="1620" y="1572"/>
                  </a:lnTo>
                  <a:lnTo>
                    <a:pt x="1614" y="1572"/>
                  </a:lnTo>
                  <a:lnTo>
                    <a:pt x="1608" y="1566"/>
                  </a:lnTo>
                  <a:lnTo>
                    <a:pt x="1602" y="1560"/>
                  </a:lnTo>
                  <a:lnTo>
                    <a:pt x="1596" y="1554"/>
                  </a:lnTo>
                  <a:lnTo>
                    <a:pt x="1590" y="1548"/>
                  </a:lnTo>
                  <a:lnTo>
                    <a:pt x="1578" y="1548"/>
                  </a:lnTo>
                  <a:lnTo>
                    <a:pt x="1572" y="1548"/>
                  </a:lnTo>
                  <a:lnTo>
                    <a:pt x="1566" y="1548"/>
                  </a:lnTo>
                  <a:lnTo>
                    <a:pt x="1554" y="1536"/>
                  </a:lnTo>
                  <a:lnTo>
                    <a:pt x="1548" y="1536"/>
                  </a:lnTo>
                  <a:lnTo>
                    <a:pt x="1542" y="1542"/>
                  </a:lnTo>
                  <a:lnTo>
                    <a:pt x="1536" y="1548"/>
                  </a:lnTo>
                  <a:lnTo>
                    <a:pt x="1536" y="1566"/>
                  </a:lnTo>
                  <a:lnTo>
                    <a:pt x="1530" y="1572"/>
                  </a:lnTo>
                  <a:lnTo>
                    <a:pt x="1524" y="1578"/>
                  </a:lnTo>
                  <a:lnTo>
                    <a:pt x="1518" y="1584"/>
                  </a:lnTo>
                  <a:lnTo>
                    <a:pt x="1512" y="1596"/>
                  </a:lnTo>
                  <a:lnTo>
                    <a:pt x="1506" y="1602"/>
                  </a:lnTo>
                  <a:lnTo>
                    <a:pt x="1506" y="1608"/>
                  </a:lnTo>
                  <a:lnTo>
                    <a:pt x="1506" y="1614"/>
                  </a:lnTo>
                  <a:lnTo>
                    <a:pt x="1500" y="1614"/>
                  </a:lnTo>
                  <a:lnTo>
                    <a:pt x="1500" y="1620"/>
                  </a:lnTo>
                  <a:lnTo>
                    <a:pt x="1500" y="1626"/>
                  </a:lnTo>
                  <a:lnTo>
                    <a:pt x="1494" y="1632"/>
                  </a:lnTo>
                  <a:lnTo>
                    <a:pt x="1488" y="1638"/>
                  </a:lnTo>
                  <a:lnTo>
                    <a:pt x="1482" y="1638"/>
                  </a:lnTo>
                  <a:lnTo>
                    <a:pt x="1482" y="1644"/>
                  </a:lnTo>
                  <a:lnTo>
                    <a:pt x="1482" y="1650"/>
                  </a:lnTo>
                  <a:lnTo>
                    <a:pt x="1482" y="1656"/>
                  </a:lnTo>
                  <a:lnTo>
                    <a:pt x="1476" y="1662"/>
                  </a:lnTo>
                  <a:lnTo>
                    <a:pt x="1470" y="1668"/>
                  </a:lnTo>
                  <a:lnTo>
                    <a:pt x="1464" y="1674"/>
                  </a:lnTo>
                  <a:lnTo>
                    <a:pt x="1464" y="1680"/>
                  </a:lnTo>
                  <a:lnTo>
                    <a:pt x="1458" y="1680"/>
                  </a:lnTo>
                  <a:lnTo>
                    <a:pt x="1452" y="1686"/>
                  </a:lnTo>
                  <a:lnTo>
                    <a:pt x="1446" y="1686"/>
                  </a:lnTo>
                  <a:lnTo>
                    <a:pt x="1440" y="1698"/>
                  </a:lnTo>
                  <a:lnTo>
                    <a:pt x="1440" y="1704"/>
                  </a:lnTo>
                  <a:lnTo>
                    <a:pt x="1434" y="1710"/>
                  </a:lnTo>
                  <a:lnTo>
                    <a:pt x="1434" y="1716"/>
                  </a:lnTo>
                  <a:lnTo>
                    <a:pt x="1428" y="1716"/>
                  </a:lnTo>
                  <a:lnTo>
                    <a:pt x="1428" y="1722"/>
                  </a:lnTo>
                  <a:lnTo>
                    <a:pt x="1428" y="1728"/>
                  </a:lnTo>
                  <a:lnTo>
                    <a:pt x="1422" y="1728"/>
                  </a:lnTo>
                  <a:lnTo>
                    <a:pt x="1422" y="1734"/>
                  </a:lnTo>
                  <a:lnTo>
                    <a:pt x="1416" y="1734"/>
                  </a:lnTo>
                  <a:lnTo>
                    <a:pt x="1410" y="1734"/>
                  </a:lnTo>
                  <a:lnTo>
                    <a:pt x="1392" y="1746"/>
                  </a:lnTo>
                  <a:lnTo>
                    <a:pt x="1386" y="1746"/>
                  </a:lnTo>
                  <a:lnTo>
                    <a:pt x="1368" y="1752"/>
                  </a:lnTo>
                  <a:lnTo>
                    <a:pt x="1362" y="1758"/>
                  </a:lnTo>
                  <a:lnTo>
                    <a:pt x="1362" y="1770"/>
                  </a:lnTo>
                  <a:lnTo>
                    <a:pt x="1356" y="178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60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graphicFrame>
        <p:nvGraphicFramePr>
          <p:cNvPr id="357" name="Group 76">
            <a:extLst>
              <a:ext uri="{FF2B5EF4-FFF2-40B4-BE49-F238E27FC236}">
                <a16:creationId xmlns:a16="http://schemas.microsoft.com/office/drawing/2014/main" id="{57830D68-CF73-4A3E-9D36-141B03AADBF7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41338" y="3402013"/>
          <a:ext cx="3735387" cy="1827306"/>
        </p:xfrm>
        <a:graphic>
          <a:graphicData uri="http://schemas.openxmlformats.org/drawingml/2006/table">
            <a:tbl>
              <a:tblPr/>
              <a:tblGrid>
                <a:gridCol w="1316931">
                  <a:extLst>
                    <a:ext uri="{9D8B030D-6E8A-4147-A177-3AD203B41FA5}">
                      <a16:colId xmlns:a16="http://schemas.microsoft.com/office/drawing/2014/main" val="2027704273"/>
                    </a:ext>
                  </a:extLst>
                </a:gridCol>
                <a:gridCol w="603796">
                  <a:extLst>
                    <a:ext uri="{9D8B030D-6E8A-4147-A177-3AD203B41FA5}">
                      <a16:colId xmlns:a16="http://schemas.microsoft.com/office/drawing/2014/main" val="3432768286"/>
                    </a:ext>
                  </a:extLst>
                </a:gridCol>
                <a:gridCol w="744015">
                  <a:extLst>
                    <a:ext uri="{9D8B030D-6E8A-4147-A177-3AD203B41FA5}">
                      <a16:colId xmlns:a16="http://schemas.microsoft.com/office/drawing/2014/main" val="3730294207"/>
                    </a:ext>
                  </a:extLst>
                </a:gridCol>
                <a:gridCol w="1070645">
                  <a:extLst>
                    <a:ext uri="{9D8B030D-6E8A-4147-A177-3AD203B41FA5}">
                      <a16:colId xmlns:a16="http://schemas.microsoft.com/office/drawing/2014/main" val="2258321117"/>
                    </a:ext>
                  </a:extLst>
                </a:gridCol>
              </a:tblGrid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apital</a:t>
                      </a:r>
                      <a:endParaRPr kumimoji="0" lang="en-SG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292929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SG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Abeokut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703009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nd Are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6,400 km</a:t>
                      </a:r>
                      <a:r>
                        <a:rPr kumimoji="0" lang="en-US" altLang="en-US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24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603614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Population (2017E)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5,189,990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16 of 37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505851"/>
                  </a:ext>
                </a:extLst>
              </a:tr>
              <a:tr h="203024">
                <a:tc row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Dem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0-14: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,967,079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8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130093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5-64: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3,016,665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58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387564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65+: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   206,246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[4%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38801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bour force 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3,011,263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8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797882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limate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oastal, rainforest, savann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3942226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op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Rock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32899"/>
                  </a:ext>
                </a:extLst>
              </a:tr>
            </a:tbl>
          </a:graphicData>
        </a:graphic>
      </p:graphicFrame>
      <p:pic>
        <p:nvPicPr>
          <p:cNvPr id="23609" name="Picture 13">
            <a:extLst>
              <a:ext uri="{FF2B5EF4-FFF2-40B4-BE49-F238E27FC236}">
                <a16:creationId xmlns:a16="http://schemas.microsoft.com/office/drawing/2014/main" id="{952964D5-F0ED-4CAE-B71C-DB4A723FA5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0" y="3006725"/>
            <a:ext cx="1116013" cy="155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9" name="TextBox 378">
            <a:extLst>
              <a:ext uri="{FF2B5EF4-FFF2-40B4-BE49-F238E27FC236}">
                <a16:creationId xmlns:a16="http://schemas.microsoft.com/office/drawing/2014/main" id="{1B3FD4BF-4685-4C74-821F-10048D6246BF}"/>
              </a:ext>
            </a:extLst>
          </p:cNvPr>
          <p:cNvSpPr txBox="1"/>
          <p:nvPr/>
        </p:nvSpPr>
        <p:spPr>
          <a:xfrm>
            <a:off x="6124575" y="957263"/>
            <a:ext cx="3475038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b="1" dirty="0">
                <a:solidFill>
                  <a:prstClr val="white"/>
                </a:solidFill>
                <a:latin typeface="Calibri" panose="020F0502020204030204" pitchFamily="34" charset="0"/>
                <a:cs typeface="Arial" charset="0"/>
              </a:rPr>
              <a:t>Competitive Advantages</a:t>
            </a: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455FE7A1-ADE5-4F7B-A489-00196671A53E}"/>
              </a:ext>
            </a:extLst>
          </p:cNvPr>
          <p:cNvSpPr/>
          <p:nvPr/>
        </p:nvSpPr>
        <p:spPr>
          <a:xfrm>
            <a:off x="4267248" y="1187511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strike="dblStrike" spc="-150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 pitchFamily="34" charset="0"/>
                <a:cs typeface="Arial" charset="0"/>
              </a:rPr>
              <a:t>78.4bn/$245.2m</a:t>
            </a:r>
            <a:endParaRPr lang="en-MY" sz="1600" spc="-150" dirty="0">
              <a:solidFill>
                <a:prstClr val="black">
                  <a:lumMod val="50000"/>
                  <a:lumOff val="50000"/>
                </a:prst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EBB25788-D073-4A78-9D6C-DF3836CFFFBB}"/>
              </a:ext>
            </a:extLst>
          </p:cNvPr>
          <p:cNvSpPr txBox="1"/>
          <p:nvPr/>
        </p:nvSpPr>
        <p:spPr>
          <a:xfrm>
            <a:off x="4267200" y="955675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b="1" dirty="0">
                <a:solidFill>
                  <a:prstClr val="white"/>
                </a:solidFill>
                <a:latin typeface="Calibri" panose="020F0502020204030204" pitchFamily="34" charset="0"/>
                <a:cs typeface="Arial" charset="0"/>
              </a:rPr>
              <a:t>IGR</a:t>
            </a:r>
            <a:r>
              <a:rPr lang="en-GB" sz="1800" b="1" dirty="0">
                <a:solidFill>
                  <a:prstClr val="white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prstClr val="white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6F07DF39-553B-44F0-8864-1F897C2BD79A}"/>
              </a:ext>
            </a:extLst>
          </p:cNvPr>
          <p:cNvSpPr/>
          <p:nvPr/>
        </p:nvSpPr>
        <p:spPr>
          <a:xfrm>
            <a:off x="4267252" y="1809750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strike="dblStrike" spc="-150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 pitchFamily="34" charset="0"/>
                <a:cs typeface="Arial" charset="0"/>
              </a:rPr>
              <a:t>345.4bn/$1.1bn</a:t>
            </a:r>
            <a:endParaRPr lang="en-MY" sz="1600" spc="-150" dirty="0">
              <a:solidFill>
                <a:prstClr val="black">
                  <a:lumMod val="50000"/>
                  <a:lumOff val="50000"/>
                </a:prst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2508695A-2D2C-45A3-80FE-9C2CB18200C2}"/>
              </a:ext>
            </a:extLst>
          </p:cNvPr>
          <p:cNvSpPr txBox="1"/>
          <p:nvPr/>
        </p:nvSpPr>
        <p:spPr>
          <a:xfrm>
            <a:off x="4267200" y="1576388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b="1" dirty="0">
                <a:solidFill>
                  <a:prstClr val="white"/>
                </a:solidFill>
                <a:latin typeface="Calibri" panose="020F0502020204030204" pitchFamily="34" charset="0"/>
                <a:cs typeface="Arial" charset="0"/>
              </a:rPr>
              <a:t>Budget</a:t>
            </a:r>
            <a:r>
              <a:rPr lang="en-GB" sz="1800" b="1" dirty="0">
                <a:solidFill>
                  <a:prstClr val="white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prstClr val="white"/>
                </a:solidFill>
                <a:latin typeface="Calibri" panose="020F0502020204030204" pitchFamily="34" charset="0"/>
                <a:cs typeface="Arial" charset="0"/>
              </a:rPr>
              <a:t>(2018)</a:t>
            </a: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86A33ABE-3AE3-40A7-A6A6-1B757A6A9B0F}"/>
              </a:ext>
            </a:extLst>
          </p:cNvPr>
          <p:cNvSpPr/>
          <p:nvPr/>
        </p:nvSpPr>
        <p:spPr>
          <a:xfrm>
            <a:off x="4256076" y="2667155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strike="dblStrike" spc="-150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prstClr val="black">
                    <a:lumMod val="50000"/>
                    <a:lumOff val="50000"/>
                  </a:prstClr>
                </a:solidFill>
                <a:latin typeface="Calibri" panose="020F0502020204030204" pitchFamily="34" charset="0"/>
                <a:cs typeface="Arial" charset="0"/>
              </a:rPr>
              <a:t>2.5tn /$8.3m</a:t>
            </a:r>
            <a:endParaRPr lang="en-MY" sz="1600" spc="-150" dirty="0">
              <a:solidFill>
                <a:prstClr val="black">
                  <a:lumMod val="50000"/>
                  <a:lumOff val="50000"/>
                </a:prst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1E919764-A18B-4532-A533-A84A31D7FEFE}"/>
              </a:ext>
            </a:extLst>
          </p:cNvPr>
          <p:cNvSpPr txBox="1"/>
          <p:nvPr/>
        </p:nvSpPr>
        <p:spPr>
          <a:xfrm>
            <a:off x="4256088" y="2185988"/>
            <a:ext cx="1811337" cy="50641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700" b="1" dirty="0">
                <a:solidFill>
                  <a:prstClr val="white"/>
                </a:solidFill>
                <a:latin typeface="Calibri" panose="020F0502020204030204" pitchFamily="34" charset="0"/>
                <a:cs typeface="Arial" charset="0"/>
              </a:rPr>
              <a:t>Household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700" b="1" dirty="0">
                <a:solidFill>
                  <a:prstClr val="white"/>
                </a:solidFill>
                <a:latin typeface="Calibri" panose="020F0502020204030204" pitchFamily="34" charset="0"/>
                <a:cs typeface="Arial" charset="0"/>
              </a:rPr>
              <a:t>Consumption </a:t>
            </a:r>
            <a:r>
              <a:rPr lang="en-GB" sz="900" b="1" dirty="0">
                <a:solidFill>
                  <a:prstClr val="white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96" name="Plaque 95">
            <a:extLst>
              <a:ext uri="{FF2B5EF4-FFF2-40B4-BE49-F238E27FC236}">
                <a16:creationId xmlns:a16="http://schemas.microsoft.com/office/drawing/2014/main" id="{E3BE1182-17B4-4194-8641-F1EA2CCBB757}"/>
              </a:ext>
            </a:extLst>
          </p:cNvPr>
          <p:cNvSpPr/>
          <p:nvPr/>
        </p:nvSpPr>
        <p:spPr>
          <a:xfrm>
            <a:off x="5656263" y="2805113"/>
            <a:ext cx="411162" cy="153987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000" dirty="0">
                <a:solidFill>
                  <a:prstClr val="white"/>
                </a:solidFill>
                <a:latin typeface="Calibri" panose="020F0502020204030204" pitchFamily="34" charset="0"/>
              </a:rPr>
              <a:t>6 of 36</a:t>
            </a:r>
          </a:p>
        </p:txBody>
      </p:sp>
      <p:sp>
        <p:nvSpPr>
          <p:cNvPr id="99" name="Plaque 98">
            <a:extLst>
              <a:ext uri="{FF2B5EF4-FFF2-40B4-BE49-F238E27FC236}">
                <a16:creationId xmlns:a16="http://schemas.microsoft.com/office/drawing/2014/main" id="{8620E393-1C52-4CE1-9888-20922FA6DFEA}"/>
              </a:ext>
            </a:extLst>
          </p:cNvPr>
          <p:cNvSpPr/>
          <p:nvPr/>
        </p:nvSpPr>
        <p:spPr>
          <a:xfrm>
            <a:off x="5689600" y="1951038"/>
            <a:ext cx="377825" cy="153987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000" dirty="0">
                <a:solidFill>
                  <a:prstClr val="white"/>
                </a:solidFill>
                <a:latin typeface="Calibri" panose="020F0502020204030204" pitchFamily="34" charset="0"/>
              </a:rPr>
              <a:t>5 of 36</a:t>
            </a:r>
          </a:p>
        </p:txBody>
      </p:sp>
      <p:sp>
        <p:nvSpPr>
          <p:cNvPr id="100" name="Plaque 99">
            <a:extLst>
              <a:ext uri="{FF2B5EF4-FFF2-40B4-BE49-F238E27FC236}">
                <a16:creationId xmlns:a16="http://schemas.microsoft.com/office/drawing/2014/main" id="{3BFA6D28-9A42-4459-8BF1-090CE1B45216}"/>
              </a:ext>
            </a:extLst>
          </p:cNvPr>
          <p:cNvSpPr/>
          <p:nvPr/>
        </p:nvSpPr>
        <p:spPr>
          <a:xfrm>
            <a:off x="5638800" y="1333500"/>
            <a:ext cx="430213" cy="1539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0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 of 36</a:t>
            </a:r>
          </a:p>
        </p:txBody>
      </p:sp>
      <p:sp>
        <p:nvSpPr>
          <p:cNvPr id="101" name="Pentagon 19">
            <a:extLst>
              <a:ext uri="{FF2B5EF4-FFF2-40B4-BE49-F238E27FC236}">
                <a16:creationId xmlns:a16="http://schemas.microsoft.com/office/drawing/2014/main" id="{CCD74FA4-19D0-4356-90C9-B3B49BCC3F54}"/>
              </a:ext>
            </a:extLst>
          </p:cNvPr>
          <p:cNvSpPr>
            <a:spLocks/>
          </p:cNvSpPr>
          <p:nvPr/>
        </p:nvSpPr>
        <p:spPr bwMode="auto">
          <a:xfrm>
            <a:off x="688340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000" dirty="0">
                <a:solidFill>
                  <a:prstClr val="white"/>
                </a:solidFill>
                <a:latin typeface="Calibri" panose="020F0502020204030204" pitchFamily="34" charset="0"/>
              </a:rPr>
              <a:t>4 of 37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12EE735-1E43-4799-A46A-5D0787F375CE}"/>
              </a:ext>
            </a:extLst>
          </p:cNvPr>
          <p:cNvSpPr/>
          <p:nvPr/>
        </p:nvSpPr>
        <p:spPr>
          <a:xfrm>
            <a:off x="6880225" y="5726113"/>
            <a:ext cx="642938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50" dirty="0">
                <a:solidFill>
                  <a:prstClr val="white"/>
                </a:solidFill>
                <a:latin typeface="Calibri" panose="020F0502020204030204" pitchFamily="34" charset="0"/>
              </a:rPr>
              <a:t>Starting a Business</a:t>
            </a:r>
          </a:p>
        </p:txBody>
      </p:sp>
      <p:pic>
        <p:nvPicPr>
          <p:cNvPr id="23622" name="Picture 3">
            <a:extLst>
              <a:ext uri="{FF2B5EF4-FFF2-40B4-BE49-F238E27FC236}">
                <a16:creationId xmlns:a16="http://schemas.microsoft.com/office/drawing/2014/main" id="{53FAD0C6-8FFE-437B-B7E4-F2A938D3BE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350" y="5249863"/>
            <a:ext cx="41910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23" name="Freeform 15">
            <a:extLst>
              <a:ext uri="{FF2B5EF4-FFF2-40B4-BE49-F238E27FC236}">
                <a16:creationId xmlns:a16="http://schemas.microsoft.com/office/drawing/2014/main" id="{183A3C8B-011E-4D99-9165-3FF03A2D3207}"/>
              </a:ext>
            </a:extLst>
          </p:cNvPr>
          <p:cNvSpPr>
            <a:spLocks noEditPoints="1"/>
          </p:cNvSpPr>
          <p:nvPr/>
        </p:nvSpPr>
        <p:spPr bwMode="auto">
          <a:xfrm>
            <a:off x="9093200" y="5257800"/>
            <a:ext cx="276225" cy="347663"/>
          </a:xfrm>
          <a:custGeom>
            <a:avLst/>
            <a:gdLst>
              <a:gd name="T0" fmla="*/ 2147483646 w 3556"/>
              <a:gd name="T1" fmla="*/ 2147483646 h 3950"/>
              <a:gd name="T2" fmla="*/ 2147483646 w 3556"/>
              <a:gd name="T3" fmla="*/ 2147483646 h 3950"/>
              <a:gd name="T4" fmla="*/ 2147483646 w 3556"/>
              <a:gd name="T5" fmla="*/ 2147483646 h 3950"/>
              <a:gd name="T6" fmla="*/ 2147483646 w 3556"/>
              <a:gd name="T7" fmla="*/ 2147483646 h 3950"/>
              <a:gd name="T8" fmla="*/ 2147483646 w 3556"/>
              <a:gd name="T9" fmla="*/ 2147483646 h 3950"/>
              <a:gd name="T10" fmla="*/ 2147483646 w 3556"/>
              <a:gd name="T11" fmla="*/ 2147483646 h 3950"/>
              <a:gd name="T12" fmla="*/ 2147483646 w 3556"/>
              <a:gd name="T13" fmla="*/ 2147483646 h 3950"/>
              <a:gd name="T14" fmla="*/ 2147483646 w 3556"/>
              <a:gd name="T15" fmla="*/ 2147483646 h 3950"/>
              <a:gd name="T16" fmla="*/ 2147483646 w 3556"/>
              <a:gd name="T17" fmla="*/ 2147483646 h 3950"/>
              <a:gd name="T18" fmla="*/ 2147483646 w 3556"/>
              <a:gd name="T19" fmla="*/ 2147483646 h 3950"/>
              <a:gd name="T20" fmla="*/ 2147483646 w 3556"/>
              <a:gd name="T21" fmla="*/ 2147483646 h 3950"/>
              <a:gd name="T22" fmla="*/ 0 w 3556"/>
              <a:gd name="T23" fmla="*/ 2147483646 h 3950"/>
              <a:gd name="T24" fmla="*/ 2147483646 w 3556"/>
              <a:gd name="T25" fmla="*/ 2147483646 h 3950"/>
              <a:gd name="T26" fmla="*/ 2147483646 w 3556"/>
              <a:gd name="T27" fmla="*/ 2147483646 h 3950"/>
              <a:gd name="T28" fmla="*/ 2147483646 w 3556"/>
              <a:gd name="T29" fmla="*/ 2147483646 h 3950"/>
              <a:gd name="T30" fmla="*/ 2147483646 w 3556"/>
              <a:gd name="T31" fmla="*/ 2147483646 h 3950"/>
              <a:gd name="T32" fmla="*/ 2147483646 w 3556"/>
              <a:gd name="T33" fmla="*/ 2147483646 h 3950"/>
              <a:gd name="T34" fmla="*/ 2147483646 w 3556"/>
              <a:gd name="T35" fmla="*/ 2147483646 h 3950"/>
              <a:gd name="T36" fmla="*/ 2147483646 w 3556"/>
              <a:gd name="T37" fmla="*/ 2147483646 h 3950"/>
              <a:gd name="T38" fmla="*/ 2147483646 w 3556"/>
              <a:gd name="T39" fmla="*/ 2147483646 h 3950"/>
              <a:gd name="T40" fmla="*/ 2147483646 w 3556"/>
              <a:gd name="T41" fmla="*/ 2147483646 h 3950"/>
              <a:gd name="T42" fmla="*/ 2147483646 w 3556"/>
              <a:gd name="T43" fmla="*/ 2147483646 h 3950"/>
              <a:gd name="T44" fmla="*/ 2147483646 w 3556"/>
              <a:gd name="T45" fmla="*/ 2147483646 h 3950"/>
              <a:gd name="T46" fmla="*/ 2147483646 w 3556"/>
              <a:gd name="T47" fmla="*/ 2147483646 h 3950"/>
              <a:gd name="T48" fmla="*/ 2147483646 w 3556"/>
              <a:gd name="T49" fmla="*/ 2147483646 h 3950"/>
              <a:gd name="T50" fmla="*/ 2147483646 w 3556"/>
              <a:gd name="T51" fmla="*/ 2147483646 h 3950"/>
              <a:gd name="T52" fmla="*/ 2147483646 w 3556"/>
              <a:gd name="T53" fmla="*/ 2147483646 h 3950"/>
              <a:gd name="T54" fmla="*/ 2147483646 w 3556"/>
              <a:gd name="T55" fmla="*/ 2147483646 h 3950"/>
              <a:gd name="T56" fmla="*/ 2147483646 w 3556"/>
              <a:gd name="T57" fmla="*/ 2147483646 h 3950"/>
              <a:gd name="T58" fmla="*/ 2147483646 w 3556"/>
              <a:gd name="T59" fmla="*/ 2147483646 h 3950"/>
              <a:gd name="T60" fmla="*/ 2147483646 w 3556"/>
              <a:gd name="T61" fmla="*/ 2147483646 h 3950"/>
              <a:gd name="T62" fmla="*/ 2147483646 w 3556"/>
              <a:gd name="T63" fmla="*/ 2147483646 h 3950"/>
              <a:gd name="T64" fmla="*/ 2147483646 w 3556"/>
              <a:gd name="T65" fmla="*/ 2147483646 h 3950"/>
              <a:gd name="T66" fmla="*/ 2147483646 w 3556"/>
              <a:gd name="T67" fmla="*/ 2147483646 h 3950"/>
              <a:gd name="T68" fmla="*/ 2147483646 w 3556"/>
              <a:gd name="T69" fmla="*/ 2147483646 h 3950"/>
              <a:gd name="T70" fmla="*/ 2147483646 w 3556"/>
              <a:gd name="T71" fmla="*/ 2147483646 h 3950"/>
              <a:gd name="T72" fmla="*/ 2147483646 w 3556"/>
              <a:gd name="T73" fmla="*/ 2147483646 h 3950"/>
              <a:gd name="T74" fmla="*/ 2147483646 w 3556"/>
              <a:gd name="T75" fmla="*/ 2147483646 h 3950"/>
              <a:gd name="T76" fmla="*/ 2147483646 w 3556"/>
              <a:gd name="T77" fmla="*/ 2147483646 h 3950"/>
              <a:gd name="T78" fmla="*/ 2147483646 w 3556"/>
              <a:gd name="T79" fmla="*/ 2147483646 h 3950"/>
              <a:gd name="T80" fmla="*/ 2147483646 w 3556"/>
              <a:gd name="T81" fmla="*/ 0 h 3950"/>
              <a:gd name="T82" fmla="*/ 2147483646 w 3556"/>
              <a:gd name="T83" fmla="*/ 2147483646 h 3950"/>
              <a:gd name="T84" fmla="*/ 2147483646 w 3556"/>
              <a:gd name="T85" fmla="*/ 2147483646 h 3950"/>
              <a:gd name="T86" fmla="*/ 2147483646 w 3556"/>
              <a:gd name="T87" fmla="*/ 2147483646 h 395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556"/>
              <a:gd name="T133" fmla="*/ 0 h 3950"/>
              <a:gd name="T134" fmla="*/ 3556 w 3556"/>
              <a:gd name="T135" fmla="*/ 3950 h 395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556" h="3950">
                <a:moveTo>
                  <a:pt x="909" y="3917"/>
                </a:moveTo>
                <a:cubicBezTo>
                  <a:pt x="824" y="3832"/>
                  <a:pt x="894" y="3725"/>
                  <a:pt x="1036" y="3725"/>
                </a:cubicBezTo>
                <a:cubicBezTo>
                  <a:pt x="1119" y="3725"/>
                  <a:pt x="1129" y="3717"/>
                  <a:pt x="1129" y="3645"/>
                </a:cubicBezTo>
                <a:cubicBezTo>
                  <a:pt x="1129" y="3472"/>
                  <a:pt x="1135" y="3471"/>
                  <a:pt x="2192" y="3471"/>
                </a:cubicBezTo>
                <a:cubicBezTo>
                  <a:pt x="3086" y="3471"/>
                  <a:pt x="3155" y="3475"/>
                  <a:pt x="3199" y="3523"/>
                </a:cubicBezTo>
                <a:cubicBezTo>
                  <a:pt x="3225" y="3551"/>
                  <a:pt x="3246" y="3608"/>
                  <a:pt x="3246" y="3648"/>
                </a:cubicBezTo>
                <a:cubicBezTo>
                  <a:pt x="3246" y="3712"/>
                  <a:pt x="3259" y="3723"/>
                  <a:pt x="3349" y="3730"/>
                </a:cubicBezTo>
                <a:cubicBezTo>
                  <a:pt x="3470" y="3741"/>
                  <a:pt x="3530" y="3811"/>
                  <a:pt x="3482" y="3887"/>
                </a:cubicBezTo>
                <a:cubicBezTo>
                  <a:pt x="3453" y="3933"/>
                  <a:pt x="3356" y="3937"/>
                  <a:pt x="2197" y="3944"/>
                </a:cubicBezTo>
                <a:cubicBezTo>
                  <a:pt x="1245" y="3950"/>
                  <a:pt x="935" y="3943"/>
                  <a:pt x="909" y="3917"/>
                </a:cubicBezTo>
                <a:close/>
                <a:moveTo>
                  <a:pt x="87" y="3370"/>
                </a:moveTo>
                <a:cubicBezTo>
                  <a:pt x="24" y="3317"/>
                  <a:pt x="0" y="3272"/>
                  <a:pt x="0" y="3209"/>
                </a:cubicBezTo>
                <a:cubicBezTo>
                  <a:pt x="0" y="3132"/>
                  <a:pt x="86" y="3035"/>
                  <a:pt x="705" y="2414"/>
                </a:cubicBezTo>
                <a:lnTo>
                  <a:pt x="1411" y="1706"/>
                </a:lnTo>
                <a:lnTo>
                  <a:pt x="1235" y="1530"/>
                </a:lnTo>
                <a:lnTo>
                  <a:pt x="1059" y="1355"/>
                </a:lnTo>
                <a:lnTo>
                  <a:pt x="1510" y="903"/>
                </a:lnTo>
                <a:lnTo>
                  <a:pt x="1960" y="452"/>
                </a:lnTo>
                <a:lnTo>
                  <a:pt x="2135" y="624"/>
                </a:lnTo>
                <a:cubicBezTo>
                  <a:pt x="2305" y="793"/>
                  <a:pt x="2310" y="796"/>
                  <a:pt x="2374" y="751"/>
                </a:cubicBezTo>
                <a:cubicBezTo>
                  <a:pt x="2469" y="685"/>
                  <a:pt x="2547" y="695"/>
                  <a:pt x="2633" y="785"/>
                </a:cubicBezTo>
                <a:cubicBezTo>
                  <a:pt x="2720" y="875"/>
                  <a:pt x="2731" y="974"/>
                  <a:pt x="2662" y="1050"/>
                </a:cubicBezTo>
                <a:cubicBezTo>
                  <a:pt x="2616" y="1100"/>
                  <a:pt x="2624" y="1112"/>
                  <a:pt x="2823" y="1313"/>
                </a:cubicBezTo>
                <a:lnTo>
                  <a:pt x="3033" y="1524"/>
                </a:lnTo>
                <a:lnTo>
                  <a:pt x="2582" y="1975"/>
                </a:lnTo>
                <a:lnTo>
                  <a:pt x="2132" y="2427"/>
                </a:lnTo>
                <a:lnTo>
                  <a:pt x="1933" y="2229"/>
                </a:lnTo>
                <a:cubicBezTo>
                  <a:pt x="1824" y="2121"/>
                  <a:pt x="1722" y="2032"/>
                  <a:pt x="1707" y="2032"/>
                </a:cubicBezTo>
                <a:cubicBezTo>
                  <a:pt x="1693" y="2032"/>
                  <a:pt x="1362" y="2349"/>
                  <a:pt x="973" y="2737"/>
                </a:cubicBezTo>
                <a:cubicBezTo>
                  <a:pt x="584" y="3125"/>
                  <a:pt x="245" y="3443"/>
                  <a:pt x="220" y="3443"/>
                </a:cubicBezTo>
                <a:cubicBezTo>
                  <a:pt x="194" y="3443"/>
                  <a:pt x="135" y="3410"/>
                  <a:pt x="87" y="3370"/>
                </a:cubicBezTo>
                <a:close/>
                <a:moveTo>
                  <a:pt x="2258" y="2887"/>
                </a:moveTo>
                <a:cubicBezTo>
                  <a:pt x="2196" y="2865"/>
                  <a:pt x="2145" y="2792"/>
                  <a:pt x="2145" y="2725"/>
                </a:cubicBezTo>
                <a:cubicBezTo>
                  <a:pt x="2145" y="2686"/>
                  <a:pt x="2337" y="2474"/>
                  <a:pt x="2703" y="2109"/>
                </a:cubicBezTo>
                <a:cubicBezTo>
                  <a:pt x="3289" y="1523"/>
                  <a:pt x="3346" y="1485"/>
                  <a:pt x="3453" y="1604"/>
                </a:cubicBezTo>
                <a:cubicBezTo>
                  <a:pt x="3556" y="1717"/>
                  <a:pt x="3522" y="1766"/>
                  <a:pt x="2956" y="2331"/>
                </a:cubicBezTo>
                <a:cubicBezTo>
                  <a:pt x="2657" y="2630"/>
                  <a:pt x="2388" y="2880"/>
                  <a:pt x="2357" y="2888"/>
                </a:cubicBezTo>
                <a:cubicBezTo>
                  <a:pt x="2326" y="2895"/>
                  <a:pt x="2281" y="2895"/>
                  <a:pt x="2258" y="2887"/>
                </a:cubicBezTo>
                <a:close/>
                <a:moveTo>
                  <a:pt x="637" y="1282"/>
                </a:moveTo>
                <a:cubicBezTo>
                  <a:pt x="528" y="1172"/>
                  <a:pt x="568" y="1113"/>
                  <a:pt x="1137" y="544"/>
                </a:cubicBezTo>
                <a:cubicBezTo>
                  <a:pt x="1607" y="74"/>
                  <a:pt x="1693" y="0"/>
                  <a:pt x="1767" y="0"/>
                </a:cubicBezTo>
                <a:cubicBezTo>
                  <a:pt x="1862" y="0"/>
                  <a:pt x="1947" y="73"/>
                  <a:pt x="1947" y="156"/>
                </a:cubicBezTo>
                <a:cubicBezTo>
                  <a:pt x="1947" y="186"/>
                  <a:pt x="1715" y="442"/>
                  <a:pt x="1391" y="767"/>
                </a:cubicBezTo>
                <a:cubicBezTo>
                  <a:pt x="808" y="1353"/>
                  <a:pt x="749" y="1393"/>
                  <a:pt x="637" y="12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800">
              <a:solidFill>
                <a:prstClr val="black"/>
              </a:solidFill>
              <a:latin typeface="Arial"/>
              <a:cs typeface="+mn-cs"/>
            </a:endParaRPr>
          </a:p>
        </p:txBody>
      </p:sp>
      <p:grpSp>
        <p:nvGrpSpPr>
          <p:cNvPr id="4" name="Group 118">
            <a:extLst>
              <a:ext uri="{FF2B5EF4-FFF2-40B4-BE49-F238E27FC236}">
                <a16:creationId xmlns:a16="http://schemas.microsoft.com/office/drawing/2014/main" id="{FB3D6A90-C4FD-433A-A1C1-A4B3864804A5}"/>
              </a:ext>
            </a:extLst>
          </p:cNvPr>
          <p:cNvGrpSpPr/>
          <p:nvPr/>
        </p:nvGrpSpPr>
        <p:grpSpPr>
          <a:xfrm>
            <a:off x="8409631" y="5248358"/>
            <a:ext cx="346498" cy="347472"/>
            <a:chOff x="1468138" y="5997240"/>
            <a:chExt cx="283642" cy="307072"/>
          </a:xfrm>
          <a:solidFill>
            <a:schemeClr val="bg1"/>
          </a:solidFill>
        </p:grpSpPr>
        <p:sp>
          <p:nvSpPr>
            <p:cNvPr id="120" name="Freeform 16">
              <a:extLst>
                <a:ext uri="{FF2B5EF4-FFF2-40B4-BE49-F238E27FC236}">
                  <a16:creationId xmlns:a16="http://schemas.microsoft.com/office/drawing/2014/main" id="{D6134FC8-4249-4088-8AE8-003C8AAC7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6136" y="6255221"/>
              <a:ext cx="26428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1 w 349"/>
                <a:gd name="T25" fmla="*/ 226 h 350"/>
                <a:gd name="T26" fmla="*/ 225 w 349"/>
                <a:gd name="T27" fmla="*/ 213 h 350"/>
                <a:gd name="T28" fmla="*/ 234 w 349"/>
                <a:gd name="T29" fmla="*/ 194 h 350"/>
                <a:gd name="T30" fmla="*/ 237 w 349"/>
                <a:gd name="T31" fmla="*/ 175 h 350"/>
                <a:gd name="T32" fmla="*/ 235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5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4 w 349"/>
                <a:gd name="T47" fmla="*/ 3 h 350"/>
                <a:gd name="T48" fmla="*/ 234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8 w 349"/>
                <a:gd name="T55" fmla="*/ 63 h 350"/>
                <a:gd name="T56" fmla="*/ 325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5 w 349"/>
                <a:gd name="T65" fmla="*/ 210 h 350"/>
                <a:gd name="T66" fmla="*/ 335 w 349"/>
                <a:gd name="T67" fmla="*/ 243 h 350"/>
                <a:gd name="T68" fmla="*/ 319 w 349"/>
                <a:gd name="T69" fmla="*/ 273 h 350"/>
                <a:gd name="T70" fmla="*/ 297 w 349"/>
                <a:gd name="T71" fmla="*/ 299 h 350"/>
                <a:gd name="T72" fmla="*/ 272 w 349"/>
                <a:gd name="T73" fmla="*/ 319 h 350"/>
                <a:gd name="T74" fmla="*/ 242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39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29 w 349"/>
                <a:gd name="T89" fmla="*/ 273 h 350"/>
                <a:gd name="T90" fmla="*/ 14 w 349"/>
                <a:gd name="T91" fmla="*/ 243 h 350"/>
                <a:gd name="T92" fmla="*/ 3 w 349"/>
                <a:gd name="T93" fmla="*/ 210 h 350"/>
                <a:gd name="T94" fmla="*/ 0 w 349"/>
                <a:gd name="T95" fmla="*/ 175 h 350"/>
                <a:gd name="T96" fmla="*/ 3 w 349"/>
                <a:gd name="T97" fmla="*/ 140 h 350"/>
                <a:gd name="T98" fmla="*/ 14 w 349"/>
                <a:gd name="T99" fmla="*/ 107 h 350"/>
                <a:gd name="T100" fmla="*/ 29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39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1" y="226"/>
                  </a:lnTo>
                  <a:lnTo>
                    <a:pt x="225" y="213"/>
                  </a:lnTo>
                  <a:lnTo>
                    <a:pt x="234" y="194"/>
                  </a:lnTo>
                  <a:lnTo>
                    <a:pt x="237" y="175"/>
                  </a:lnTo>
                  <a:lnTo>
                    <a:pt x="235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5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4" y="3"/>
                  </a:lnTo>
                  <a:lnTo>
                    <a:pt x="234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8" y="63"/>
                  </a:lnTo>
                  <a:lnTo>
                    <a:pt x="325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5" y="210"/>
                  </a:lnTo>
                  <a:lnTo>
                    <a:pt x="335" y="243"/>
                  </a:lnTo>
                  <a:lnTo>
                    <a:pt x="319" y="273"/>
                  </a:lnTo>
                  <a:lnTo>
                    <a:pt x="297" y="299"/>
                  </a:lnTo>
                  <a:lnTo>
                    <a:pt x="272" y="319"/>
                  </a:lnTo>
                  <a:lnTo>
                    <a:pt x="242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39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29" y="273"/>
                  </a:lnTo>
                  <a:lnTo>
                    <a:pt x="14" y="243"/>
                  </a:lnTo>
                  <a:lnTo>
                    <a:pt x="3" y="210"/>
                  </a:lnTo>
                  <a:lnTo>
                    <a:pt x="0" y="175"/>
                  </a:lnTo>
                  <a:lnTo>
                    <a:pt x="3" y="140"/>
                  </a:lnTo>
                  <a:lnTo>
                    <a:pt x="14" y="107"/>
                  </a:lnTo>
                  <a:lnTo>
                    <a:pt x="29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39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1" name="Freeform 17">
              <a:extLst>
                <a:ext uri="{FF2B5EF4-FFF2-40B4-BE49-F238E27FC236}">
                  <a16:creationId xmlns:a16="http://schemas.microsoft.com/office/drawing/2014/main" id="{67A5F0B0-C078-4A85-9E32-409FF0B3D5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2133" y="6255221"/>
              <a:ext cx="26656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2 w 349"/>
                <a:gd name="T25" fmla="*/ 226 h 350"/>
                <a:gd name="T26" fmla="*/ 226 w 349"/>
                <a:gd name="T27" fmla="*/ 213 h 350"/>
                <a:gd name="T28" fmla="*/ 235 w 349"/>
                <a:gd name="T29" fmla="*/ 194 h 350"/>
                <a:gd name="T30" fmla="*/ 237 w 349"/>
                <a:gd name="T31" fmla="*/ 175 h 350"/>
                <a:gd name="T32" fmla="*/ 236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7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5 w 349"/>
                <a:gd name="T47" fmla="*/ 3 h 350"/>
                <a:gd name="T48" fmla="*/ 235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9 w 349"/>
                <a:gd name="T55" fmla="*/ 63 h 350"/>
                <a:gd name="T56" fmla="*/ 326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6 w 349"/>
                <a:gd name="T65" fmla="*/ 210 h 350"/>
                <a:gd name="T66" fmla="*/ 336 w 349"/>
                <a:gd name="T67" fmla="*/ 243 h 350"/>
                <a:gd name="T68" fmla="*/ 319 w 349"/>
                <a:gd name="T69" fmla="*/ 273 h 350"/>
                <a:gd name="T70" fmla="*/ 298 w 349"/>
                <a:gd name="T71" fmla="*/ 299 h 350"/>
                <a:gd name="T72" fmla="*/ 272 w 349"/>
                <a:gd name="T73" fmla="*/ 319 h 350"/>
                <a:gd name="T74" fmla="*/ 243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40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30 w 349"/>
                <a:gd name="T89" fmla="*/ 273 h 350"/>
                <a:gd name="T90" fmla="*/ 14 w 349"/>
                <a:gd name="T91" fmla="*/ 243 h 350"/>
                <a:gd name="T92" fmla="*/ 4 w 349"/>
                <a:gd name="T93" fmla="*/ 210 h 350"/>
                <a:gd name="T94" fmla="*/ 0 w 349"/>
                <a:gd name="T95" fmla="*/ 175 h 350"/>
                <a:gd name="T96" fmla="*/ 4 w 349"/>
                <a:gd name="T97" fmla="*/ 140 h 350"/>
                <a:gd name="T98" fmla="*/ 14 w 349"/>
                <a:gd name="T99" fmla="*/ 107 h 350"/>
                <a:gd name="T100" fmla="*/ 30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40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7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7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5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19" y="273"/>
                  </a:lnTo>
                  <a:lnTo>
                    <a:pt x="298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2" name="Freeform 18">
              <a:extLst>
                <a:ext uri="{FF2B5EF4-FFF2-40B4-BE49-F238E27FC236}">
                  <a16:creationId xmlns:a16="http://schemas.microsoft.com/office/drawing/2014/main" id="{BF1784DA-3E40-44FD-998D-DB1DD379C0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8357" y="6255221"/>
              <a:ext cx="26428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7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1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7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8 w 350"/>
                <a:gd name="T31" fmla="*/ 175 h 350"/>
                <a:gd name="T32" fmla="*/ 236 w 350"/>
                <a:gd name="T33" fmla="*/ 158 h 350"/>
                <a:gd name="T34" fmla="*/ 229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7 w 350"/>
                <a:gd name="T53" fmla="*/ 41 h 350"/>
                <a:gd name="T54" fmla="*/ 309 w 350"/>
                <a:gd name="T55" fmla="*/ 63 h 350"/>
                <a:gd name="T56" fmla="*/ 326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2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7 w 350"/>
                <a:gd name="T85" fmla="*/ 319 h 350"/>
                <a:gd name="T86" fmla="*/ 51 w 350"/>
                <a:gd name="T87" fmla="*/ 299 h 350"/>
                <a:gd name="T88" fmla="*/ 30 w 350"/>
                <a:gd name="T89" fmla="*/ 273 h 350"/>
                <a:gd name="T90" fmla="*/ 14 w 350"/>
                <a:gd name="T91" fmla="*/ 243 h 350"/>
                <a:gd name="T92" fmla="*/ 4 w 350"/>
                <a:gd name="T93" fmla="*/ 210 h 350"/>
                <a:gd name="T94" fmla="*/ 0 w 350"/>
                <a:gd name="T95" fmla="*/ 175 h 350"/>
                <a:gd name="T96" fmla="*/ 4 w 350"/>
                <a:gd name="T97" fmla="*/ 140 h 350"/>
                <a:gd name="T98" fmla="*/ 14 w 350"/>
                <a:gd name="T99" fmla="*/ 107 h 350"/>
                <a:gd name="T100" fmla="*/ 30 w 350"/>
                <a:gd name="T101" fmla="*/ 78 h 350"/>
                <a:gd name="T102" fmla="*/ 51 w 350"/>
                <a:gd name="T103" fmla="*/ 52 h 350"/>
                <a:gd name="T104" fmla="*/ 77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8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3" name="Freeform 19">
              <a:extLst>
                <a:ext uri="{FF2B5EF4-FFF2-40B4-BE49-F238E27FC236}">
                  <a16:creationId xmlns:a16="http://schemas.microsoft.com/office/drawing/2014/main" id="{FF26547B-24B3-4108-8095-A2794E966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4353" y="6255221"/>
              <a:ext cx="26656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8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3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8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9 w 350"/>
                <a:gd name="T31" fmla="*/ 175 h 350"/>
                <a:gd name="T32" fmla="*/ 236 w 350"/>
                <a:gd name="T33" fmla="*/ 158 h 350"/>
                <a:gd name="T34" fmla="*/ 231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8 w 350"/>
                <a:gd name="T53" fmla="*/ 41 h 350"/>
                <a:gd name="T54" fmla="*/ 309 w 350"/>
                <a:gd name="T55" fmla="*/ 63 h 350"/>
                <a:gd name="T56" fmla="*/ 327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3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8 w 350"/>
                <a:gd name="T85" fmla="*/ 319 h 350"/>
                <a:gd name="T86" fmla="*/ 53 w 350"/>
                <a:gd name="T87" fmla="*/ 299 h 350"/>
                <a:gd name="T88" fmla="*/ 31 w 350"/>
                <a:gd name="T89" fmla="*/ 273 h 350"/>
                <a:gd name="T90" fmla="*/ 15 w 350"/>
                <a:gd name="T91" fmla="*/ 243 h 350"/>
                <a:gd name="T92" fmla="*/ 5 w 350"/>
                <a:gd name="T93" fmla="*/ 210 h 350"/>
                <a:gd name="T94" fmla="*/ 0 w 350"/>
                <a:gd name="T95" fmla="*/ 175 h 350"/>
                <a:gd name="T96" fmla="*/ 5 w 350"/>
                <a:gd name="T97" fmla="*/ 140 h 350"/>
                <a:gd name="T98" fmla="*/ 15 w 350"/>
                <a:gd name="T99" fmla="*/ 107 h 350"/>
                <a:gd name="T100" fmla="*/ 31 w 350"/>
                <a:gd name="T101" fmla="*/ 78 h 350"/>
                <a:gd name="T102" fmla="*/ 53 w 350"/>
                <a:gd name="T103" fmla="*/ 52 h 350"/>
                <a:gd name="T104" fmla="*/ 78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8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3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8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9" y="175"/>
                  </a:lnTo>
                  <a:lnTo>
                    <a:pt x="236" y="158"/>
                  </a:lnTo>
                  <a:lnTo>
                    <a:pt x="231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8" y="41"/>
                  </a:lnTo>
                  <a:lnTo>
                    <a:pt x="309" y="63"/>
                  </a:lnTo>
                  <a:lnTo>
                    <a:pt x="327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3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8" y="319"/>
                  </a:lnTo>
                  <a:lnTo>
                    <a:pt x="53" y="299"/>
                  </a:lnTo>
                  <a:lnTo>
                    <a:pt x="31" y="273"/>
                  </a:lnTo>
                  <a:lnTo>
                    <a:pt x="15" y="243"/>
                  </a:lnTo>
                  <a:lnTo>
                    <a:pt x="5" y="210"/>
                  </a:lnTo>
                  <a:lnTo>
                    <a:pt x="0" y="175"/>
                  </a:lnTo>
                  <a:lnTo>
                    <a:pt x="5" y="140"/>
                  </a:lnTo>
                  <a:lnTo>
                    <a:pt x="15" y="107"/>
                  </a:lnTo>
                  <a:lnTo>
                    <a:pt x="31" y="78"/>
                  </a:lnTo>
                  <a:lnTo>
                    <a:pt x="53" y="52"/>
                  </a:lnTo>
                  <a:lnTo>
                    <a:pt x="78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4" name="Freeform 20">
              <a:extLst>
                <a:ext uri="{FF2B5EF4-FFF2-40B4-BE49-F238E27FC236}">
                  <a16:creationId xmlns:a16="http://schemas.microsoft.com/office/drawing/2014/main" id="{6F553FA1-4728-401A-8C20-F18E165CA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80832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2 h 111"/>
                <a:gd name="T10" fmla="*/ 168 w 171"/>
                <a:gd name="T11" fmla="*/ 37 h 111"/>
                <a:gd name="T12" fmla="*/ 171 w 171"/>
                <a:gd name="T13" fmla="*/ 55 h 111"/>
                <a:gd name="T14" fmla="*/ 168 w 171"/>
                <a:gd name="T15" fmla="*/ 72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8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8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2 h 111"/>
                <a:gd name="T34" fmla="*/ 0 w 171"/>
                <a:gd name="T35" fmla="*/ 55 h 111"/>
                <a:gd name="T36" fmla="*/ 2 w 171"/>
                <a:gd name="T37" fmla="*/ 37 h 111"/>
                <a:gd name="T38" fmla="*/ 10 w 171"/>
                <a:gd name="T39" fmla="*/ 22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2"/>
                  </a:lnTo>
                  <a:lnTo>
                    <a:pt x="168" y="37"/>
                  </a:lnTo>
                  <a:lnTo>
                    <a:pt x="171" y="55"/>
                  </a:lnTo>
                  <a:lnTo>
                    <a:pt x="168" y="72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8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8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2"/>
                  </a:lnTo>
                  <a:lnTo>
                    <a:pt x="0" y="55"/>
                  </a:lnTo>
                  <a:lnTo>
                    <a:pt x="2" y="37"/>
                  </a:lnTo>
                  <a:lnTo>
                    <a:pt x="10" y="22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5" name="Freeform 21">
              <a:extLst>
                <a:ext uri="{FF2B5EF4-FFF2-40B4-BE49-F238E27FC236}">
                  <a16:creationId xmlns:a16="http://schemas.microsoft.com/office/drawing/2014/main" id="{2A783787-5E9B-43C9-9BF4-073950C97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95860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3 h 111"/>
                <a:gd name="T10" fmla="*/ 168 w 171"/>
                <a:gd name="T11" fmla="*/ 38 h 111"/>
                <a:gd name="T12" fmla="*/ 171 w 171"/>
                <a:gd name="T13" fmla="*/ 55 h 111"/>
                <a:gd name="T14" fmla="*/ 168 w 171"/>
                <a:gd name="T15" fmla="*/ 74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9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9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4 h 111"/>
                <a:gd name="T34" fmla="*/ 0 w 171"/>
                <a:gd name="T35" fmla="*/ 55 h 111"/>
                <a:gd name="T36" fmla="*/ 2 w 171"/>
                <a:gd name="T37" fmla="*/ 38 h 111"/>
                <a:gd name="T38" fmla="*/ 10 w 171"/>
                <a:gd name="T39" fmla="*/ 23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3"/>
                  </a:lnTo>
                  <a:lnTo>
                    <a:pt x="168" y="38"/>
                  </a:lnTo>
                  <a:lnTo>
                    <a:pt x="171" y="55"/>
                  </a:lnTo>
                  <a:lnTo>
                    <a:pt x="168" y="74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9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9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4"/>
                  </a:lnTo>
                  <a:lnTo>
                    <a:pt x="0" y="55"/>
                  </a:lnTo>
                  <a:lnTo>
                    <a:pt x="2" y="38"/>
                  </a:lnTo>
                  <a:lnTo>
                    <a:pt x="10" y="23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6" name="Freeform 22">
              <a:extLst>
                <a:ext uri="{FF2B5EF4-FFF2-40B4-BE49-F238E27FC236}">
                  <a16:creationId xmlns:a16="http://schemas.microsoft.com/office/drawing/2014/main" id="{6465D05A-ED22-49B3-924E-6DFC4C8C8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8138" y="5997240"/>
              <a:ext cx="283642" cy="307072"/>
            </a:xfrm>
            <a:custGeom>
              <a:avLst/>
              <a:gdLst>
                <a:gd name="T0" fmla="*/ 185 w 3736"/>
                <a:gd name="T1" fmla="*/ 3069 h 3678"/>
                <a:gd name="T2" fmla="*/ 125 w 3736"/>
                <a:gd name="T3" fmla="*/ 3352 h 3678"/>
                <a:gd name="T4" fmla="*/ 325 w 3736"/>
                <a:gd name="T5" fmla="*/ 3554 h 3678"/>
                <a:gd name="T6" fmla="*/ 2002 w 3736"/>
                <a:gd name="T7" fmla="*/ 3518 h 3678"/>
                <a:gd name="T8" fmla="*/ 2140 w 3736"/>
                <a:gd name="T9" fmla="*/ 3266 h 3678"/>
                <a:gd name="T10" fmla="*/ 2002 w 3736"/>
                <a:gd name="T11" fmla="*/ 3013 h 3678"/>
                <a:gd name="T12" fmla="*/ 943 w 3736"/>
                <a:gd name="T13" fmla="*/ 2853 h 3678"/>
                <a:gd name="T14" fmla="*/ 2970 w 3736"/>
                <a:gd name="T15" fmla="*/ 2765 h 3678"/>
                <a:gd name="T16" fmla="*/ 3240 w 3736"/>
                <a:gd name="T17" fmla="*/ 2787 h 3678"/>
                <a:gd name="T18" fmla="*/ 3506 w 3736"/>
                <a:gd name="T19" fmla="*/ 2599 h 3678"/>
                <a:gd name="T20" fmla="*/ 302 w 3736"/>
                <a:gd name="T21" fmla="*/ 2099 h 3678"/>
                <a:gd name="T22" fmla="*/ 333 w 3736"/>
                <a:gd name="T23" fmla="*/ 2613 h 3678"/>
                <a:gd name="T24" fmla="*/ 3524 w 3736"/>
                <a:gd name="T25" fmla="*/ 1966 h 3678"/>
                <a:gd name="T26" fmla="*/ 3542 w 3736"/>
                <a:gd name="T27" fmla="*/ 2077 h 3678"/>
                <a:gd name="T28" fmla="*/ 3622 w 3736"/>
                <a:gd name="T29" fmla="*/ 1998 h 3678"/>
                <a:gd name="T30" fmla="*/ 893 w 3736"/>
                <a:gd name="T31" fmla="*/ 1458 h 3678"/>
                <a:gd name="T32" fmla="*/ 1843 w 3736"/>
                <a:gd name="T33" fmla="*/ 2616 h 3678"/>
                <a:gd name="T34" fmla="*/ 1132 w 3736"/>
                <a:gd name="T35" fmla="*/ 2414 h 3678"/>
                <a:gd name="T36" fmla="*/ 954 w 3736"/>
                <a:gd name="T37" fmla="*/ 2256 h 3678"/>
                <a:gd name="T38" fmla="*/ 1082 w 3736"/>
                <a:gd name="T39" fmla="*/ 2271 h 3678"/>
                <a:gd name="T40" fmla="*/ 1271 w 3736"/>
                <a:gd name="T41" fmla="*/ 1557 h 3678"/>
                <a:gd name="T42" fmla="*/ 1360 w 3736"/>
                <a:gd name="T43" fmla="*/ 1601 h 3678"/>
                <a:gd name="T44" fmla="*/ 1958 w 3736"/>
                <a:gd name="T45" fmla="*/ 2171 h 3678"/>
                <a:gd name="T46" fmla="*/ 1525 w 3736"/>
                <a:gd name="T47" fmla="*/ 1457 h 3678"/>
                <a:gd name="T48" fmla="*/ 2749 w 3736"/>
                <a:gd name="T49" fmla="*/ 361 h 3678"/>
                <a:gd name="T50" fmla="*/ 3541 w 3736"/>
                <a:gd name="T51" fmla="*/ 1844 h 3678"/>
                <a:gd name="T52" fmla="*/ 1658 w 3736"/>
                <a:gd name="T53" fmla="*/ 1439 h 3678"/>
                <a:gd name="T54" fmla="*/ 2419 w 3736"/>
                <a:gd name="T55" fmla="*/ 427 h 3678"/>
                <a:gd name="T56" fmla="*/ 2498 w 3736"/>
                <a:gd name="T57" fmla="*/ 124 h 3678"/>
                <a:gd name="T58" fmla="*/ 2441 w 3736"/>
                <a:gd name="T59" fmla="*/ 287 h 3678"/>
                <a:gd name="T60" fmla="*/ 2599 w 3736"/>
                <a:gd name="T61" fmla="*/ 347 h 3678"/>
                <a:gd name="T62" fmla="*/ 2672 w 3736"/>
                <a:gd name="T63" fmla="*/ 256 h 3678"/>
                <a:gd name="T64" fmla="*/ 2625 w 3736"/>
                <a:gd name="T65" fmla="*/ 136 h 3678"/>
                <a:gd name="T66" fmla="*/ 2665 w 3736"/>
                <a:gd name="T67" fmla="*/ 28 h 3678"/>
                <a:gd name="T68" fmla="*/ 3734 w 3736"/>
                <a:gd name="T69" fmla="*/ 1986 h 3678"/>
                <a:gd name="T70" fmla="*/ 3646 w 3736"/>
                <a:gd name="T71" fmla="*/ 2170 h 3678"/>
                <a:gd name="T72" fmla="*/ 3580 w 3736"/>
                <a:gd name="T73" fmla="*/ 2724 h 3678"/>
                <a:gd name="T74" fmla="*/ 3180 w 3736"/>
                <a:gd name="T75" fmla="*/ 2918 h 3678"/>
                <a:gd name="T76" fmla="*/ 2865 w 3736"/>
                <a:gd name="T77" fmla="*/ 2826 h 3678"/>
                <a:gd name="T78" fmla="*/ 2459 w 3736"/>
                <a:gd name="T79" fmla="*/ 2397 h 3678"/>
                <a:gd name="T80" fmla="*/ 3431 w 3736"/>
                <a:gd name="T81" fmla="*/ 2200 h 3678"/>
                <a:gd name="T82" fmla="*/ 3506 w 3736"/>
                <a:gd name="T83" fmla="*/ 2183 h 3678"/>
                <a:gd name="T84" fmla="*/ 1983 w 3736"/>
                <a:gd name="T85" fmla="*/ 1926 h 3678"/>
                <a:gd name="T86" fmla="*/ 2073 w 3736"/>
                <a:gd name="T87" fmla="*/ 2433 h 3678"/>
                <a:gd name="T88" fmla="*/ 2059 w 3736"/>
                <a:gd name="T89" fmla="*/ 2469 h 3678"/>
                <a:gd name="T90" fmla="*/ 2043 w 3736"/>
                <a:gd name="T91" fmla="*/ 2482 h 3678"/>
                <a:gd name="T92" fmla="*/ 2024 w 3736"/>
                <a:gd name="T93" fmla="*/ 2489 h 3678"/>
                <a:gd name="T94" fmla="*/ 1942 w 3736"/>
                <a:gd name="T95" fmla="*/ 2705 h 3678"/>
                <a:gd name="T96" fmla="*/ 1890 w 3736"/>
                <a:gd name="T97" fmla="*/ 2857 h 3678"/>
                <a:gd name="T98" fmla="*/ 2177 w 3736"/>
                <a:gd name="T99" fmla="*/ 3030 h 3678"/>
                <a:gd name="T100" fmla="*/ 2238 w 3736"/>
                <a:gd name="T101" fmla="*/ 3367 h 3678"/>
                <a:gd name="T102" fmla="*/ 2032 w 3736"/>
                <a:gd name="T103" fmla="*/ 3630 h 3678"/>
                <a:gd name="T104" fmla="*/ 311 w 3736"/>
                <a:gd name="T105" fmla="*/ 3666 h 3678"/>
                <a:gd name="T106" fmla="*/ 49 w 3736"/>
                <a:gd name="T107" fmla="*/ 3460 h 3678"/>
                <a:gd name="T108" fmla="*/ 28 w 3736"/>
                <a:gd name="T109" fmla="*/ 3116 h 3678"/>
                <a:gd name="T110" fmla="*/ 263 w 3736"/>
                <a:gd name="T111" fmla="*/ 2882 h 3678"/>
                <a:gd name="T112" fmla="*/ 317 w 3736"/>
                <a:gd name="T113" fmla="*/ 2724 h 3678"/>
                <a:gd name="T114" fmla="*/ 178 w 3736"/>
                <a:gd name="T115" fmla="*/ 2553 h 3678"/>
                <a:gd name="T116" fmla="*/ 284 w 3736"/>
                <a:gd name="T117" fmla="*/ 1975 h 3678"/>
                <a:gd name="T118" fmla="*/ 740 w 3736"/>
                <a:gd name="T119" fmla="*/ 1477 h 3678"/>
                <a:gd name="T120" fmla="*/ 963 w 3736"/>
                <a:gd name="T121" fmla="*/ 1310 h 3678"/>
                <a:gd name="T122" fmla="*/ 2410 w 3736"/>
                <a:gd name="T123" fmla="*/ 48 h 3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6" h="3678">
                  <a:moveTo>
                    <a:pt x="413" y="2964"/>
                  </a:moveTo>
                  <a:lnTo>
                    <a:pt x="367" y="2968"/>
                  </a:lnTo>
                  <a:lnTo>
                    <a:pt x="325" y="2978"/>
                  </a:lnTo>
                  <a:lnTo>
                    <a:pt x="286" y="2993"/>
                  </a:lnTo>
                  <a:lnTo>
                    <a:pt x="248" y="3013"/>
                  </a:lnTo>
                  <a:lnTo>
                    <a:pt x="215" y="3039"/>
                  </a:lnTo>
                  <a:lnTo>
                    <a:pt x="185" y="3069"/>
                  </a:lnTo>
                  <a:lnTo>
                    <a:pt x="160" y="3102"/>
                  </a:lnTo>
                  <a:lnTo>
                    <a:pt x="139" y="3139"/>
                  </a:lnTo>
                  <a:lnTo>
                    <a:pt x="125" y="3179"/>
                  </a:lnTo>
                  <a:lnTo>
                    <a:pt x="114" y="3222"/>
                  </a:lnTo>
                  <a:lnTo>
                    <a:pt x="111" y="3266"/>
                  </a:lnTo>
                  <a:lnTo>
                    <a:pt x="114" y="3310"/>
                  </a:lnTo>
                  <a:lnTo>
                    <a:pt x="125" y="3352"/>
                  </a:lnTo>
                  <a:lnTo>
                    <a:pt x="139" y="3393"/>
                  </a:lnTo>
                  <a:lnTo>
                    <a:pt x="160" y="3430"/>
                  </a:lnTo>
                  <a:lnTo>
                    <a:pt x="185" y="3464"/>
                  </a:lnTo>
                  <a:lnTo>
                    <a:pt x="215" y="3493"/>
                  </a:lnTo>
                  <a:lnTo>
                    <a:pt x="248" y="3518"/>
                  </a:lnTo>
                  <a:lnTo>
                    <a:pt x="286" y="3538"/>
                  </a:lnTo>
                  <a:lnTo>
                    <a:pt x="325" y="3554"/>
                  </a:lnTo>
                  <a:lnTo>
                    <a:pt x="367" y="3563"/>
                  </a:lnTo>
                  <a:lnTo>
                    <a:pt x="413" y="3567"/>
                  </a:lnTo>
                  <a:lnTo>
                    <a:pt x="1838" y="3567"/>
                  </a:lnTo>
                  <a:lnTo>
                    <a:pt x="1882" y="3563"/>
                  </a:lnTo>
                  <a:lnTo>
                    <a:pt x="1925" y="3554"/>
                  </a:lnTo>
                  <a:lnTo>
                    <a:pt x="1965" y="3538"/>
                  </a:lnTo>
                  <a:lnTo>
                    <a:pt x="2002" y="3518"/>
                  </a:lnTo>
                  <a:lnTo>
                    <a:pt x="2035" y="3493"/>
                  </a:lnTo>
                  <a:lnTo>
                    <a:pt x="2065" y="3464"/>
                  </a:lnTo>
                  <a:lnTo>
                    <a:pt x="2091" y="3430"/>
                  </a:lnTo>
                  <a:lnTo>
                    <a:pt x="2111" y="3393"/>
                  </a:lnTo>
                  <a:lnTo>
                    <a:pt x="2126" y="3352"/>
                  </a:lnTo>
                  <a:lnTo>
                    <a:pt x="2136" y="3310"/>
                  </a:lnTo>
                  <a:lnTo>
                    <a:pt x="2140" y="3266"/>
                  </a:lnTo>
                  <a:lnTo>
                    <a:pt x="2136" y="3222"/>
                  </a:lnTo>
                  <a:lnTo>
                    <a:pt x="2126" y="3179"/>
                  </a:lnTo>
                  <a:lnTo>
                    <a:pt x="2111" y="3139"/>
                  </a:lnTo>
                  <a:lnTo>
                    <a:pt x="2091" y="3102"/>
                  </a:lnTo>
                  <a:lnTo>
                    <a:pt x="2065" y="3069"/>
                  </a:lnTo>
                  <a:lnTo>
                    <a:pt x="2035" y="3039"/>
                  </a:lnTo>
                  <a:lnTo>
                    <a:pt x="2002" y="3013"/>
                  </a:lnTo>
                  <a:lnTo>
                    <a:pt x="1965" y="2993"/>
                  </a:lnTo>
                  <a:lnTo>
                    <a:pt x="1925" y="2978"/>
                  </a:lnTo>
                  <a:lnTo>
                    <a:pt x="1882" y="2968"/>
                  </a:lnTo>
                  <a:lnTo>
                    <a:pt x="1838" y="2964"/>
                  </a:lnTo>
                  <a:lnTo>
                    <a:pt x="413" y="2964"/>
                  </a:lnTo>
                  <a:close/>
                  <a:moveTo>
                    <a:pt x="943" y="2727"/>
                  </a:moveTo>
                  <a:lnTo>
                    <a:pt x="943" y="2853"/>
                  </a:lnTo>
                  <a:lnTo>
                    <a:pt x="1307" y="2853"/>
                  </a:lnTo>
                  <a:lnTo>
                    <a:pt x="1307" y="2727"/>
                  </a:lnTo>
                  <a:lnTo>
                    <a:pt x="943" y="2727"/>
                  </a:lnTo>
                  <a:close/>
                  <a:moveTo>
                    <a:pt x="3407" y="2328"/>
                  </a:moveTo>
                  <a:lnTo>
                    <a:pt x="2754" y="2590"/>
                  </a:lnTo>
                  <a:lnTo>
                    <a:pt x="2936" y="2741"/>
                  </a:lnTo>
                  <a:lnTo>
                    <a:pt x="2970" y="2765"/>
                  </a:lnTo>
                  <a:lnTo>
                    <a:pt x="3005" y="2783"/>
                  </a:lnTo>
                  <a:lnTo>
                    <a:pt x="3042" y="2797"/>
                  </a:lnTo>
                  <a:lnTo>
                    <a:pt x="3081" y="2806"/>
                  </a:lnTo>
                  <a:lnTo>
                    <a:pt x="3121" y="2809"/>
                  </a:lnTo>
                  <a:lnTo>
                    <a:pt x="3161" y="2808"/>
                  </a:lnTo>
                  <a:lnTo>
                    <a:pt x="3201" y="2800"/>
                  </a:lnTo>
                  <a:lnTo>
                    <a:pt x="3240" y="2787"/>
                  </a:lnTo>
                  <a:lnTo>
                    <a:pt x="3429" y="2711"/>
                  </a:lnTo>
                  <a:lnTo>
                    <a:pt x="3452" y="2700"/>
                  </a:lnTo>
                  <a:lnTo>
                    <a:pt x="3470" y="2684"/>
                  </a:lnTo>
                  <a:lnTo>
                    <a:pt x="3485" y="2666"/>
                  </a:lnTo>
                  <a:lnTo>
                    <a:pt x="3496" y="2646"/>
                  </a:lnTo>
                  <a:lnTo>
                    <a:pt x="3504" y="2623"/>
                  </a:lnTo>
                  <a:lnTo>
                    <a:pt x="3506" y="2599"/>
                  </a:lnTo>
                  <a:lnTo>
                    <a:pt x="3504" y="2575"/>
                  </a:lnTo>
                  <a:lnTo>
                    <a:pt x="3497" y="2551"/>
                  </a:lnTo>
                  <a:lnTo>
                    <a:pt x="3407" y="2328"/>
                  </a:lnTo>
                  <a:close/>
                  <a:moveTo>
                    <a:pt x="353" y="2073"/>
                  </a:moveTo>
                  <a:lnTo>
                    <a:pt x="333" y="2076"/>
                  </a:lnTo>
                  <a:lnTo>
                    <a:pt x="315" y="2085"/>
                  </a:lnTo>
                  <a:lnTo>
                    <a:pt x="302" y="2099"/>
                  </a:lnTo>
                  <a:lnTo>
                    <a:pt x="292" y="2116"/>
                  </a:lnTo>
                  <a:lnTo>
                    <a:pt x="289" y="2136"/>
                  </a:lnTo>
                  <a:lnTo>
                    <a:pt x="289" y="2553"/>
                  </a:lnTo>
                  <a:lnTo>
                    <a:pt x="292" y="2572"/>
                  </a:lnTo>
                  <a:lnTo>
                    <a:pt x="302" y="2590"/>
                  </a:lnTo>
                  <a:lnTo>
                    <a:pt x="315" y="2604"/>
                  </a:lnTo>
                  <a:lnTo>
                    <a:pt x="333" y="2613"/>
                  </a:lnTo>
                  <a:lnTo>
                    <a:pt x="353" y="2616"/>
                  </a:lnTo>
                  <a:lnTo>
                    <a:pt x="713" y="2616"/>
                  </a:lnTo>
                  <a:lnTo>
                    <a:pt x="713" y="2073"/>
                  </a:lnTo>
                  <a:lnTo>
                    <a:pt x="353" y="2073"/>
                  </a:lnTo>
                  <a:close/>
                  <a:moveTo>
                    <a:pt x="3562" y="1955"/>
                  </a:moveTo>
                  <a:lnTo>
                    <a:pt x="3542" y="1957"/>
                  </a:lnTo>
                  <a:lnTo>
                    <a:pt x="3524" y="1966"/>
                  </a:lnTo>
                  <a:lnTo>
                    <a:pt x="3511" y="1980"/>
                  </a:lnTo>
                  <a:lnTo>
                    <a:pt x="3502" y="1998"/>
                  </a:lnTo>
                  <a:lnTo>
                    <a:pt x="3498" y="2017"/>
                  </a:lnTo>
                  <a:lnTo>
                    <a:pt x="3502" y="2038"/>
                  </a:lnTo>
                  <a:lnTo>
                    <a:pt x="3511" y="2055"/>
                  </a:lnTo>
                  <a:lnTo>
                    <a:pt x="3524" y="2068"/>
                  </a:lnTo>
                  <a:lnTo>
                    <a:pt x="3542" y="2077"/>
                  </a:lnTo>
                  <a:lnTo>
                    <a:pt x="3562" y="2081"/>
                  </a:lnTo>
                  <a:lnTo>
                    <a:pt x="3582" y="2077"/>
                  </a:lnTo>
                  <a:lnTo>
                    <a:pt x="3599" y="2068"/>
                  </a:lnTo>
                  <a:lnTo>
                    <a:pt x="3613" y="2055"/>
                  </a:lnTo>
                  <a:lnTo>
                    <a:pt x="3622" y="2038"/>
                  </a:lnTo>
                  <a:lnTo>
                    <a:pt x="3625" y="2017"/>
                  </a:lnTo>
                  <a:lnTo>
                    <a:pt x="3622" y="1998"/>
                  </a:lnTo>
                  <a:lnTo>
                    <a:pt x="3613" y="1980"/>
                  </a:lnTo>
                  <a:lnTo>
                    <a:pt x="3599" y="1966"/>
                  </a:lnTo>
                  <a:lnTo>
                    <a:pt x="3582" y="1957"/>
                  </a:lnTo>
                  <a:lnTo>
                    <a:pt x="3562" y="1955"/>
                  </a:lnTo>
                  <a:close/>
                  <a:moveTo>
                    <a:pt x="950" y="1428"/>
                  </a:moveTo>
                  <a:lnTo>
                    <a:pt x="921" y="1441"/>
                  </a:lnTo>
                  <a:lnTo>
                    <a:pt x="893" y="1458"/>
                  </a:lnTo>
                  <a:lnTo>
                    <a:pt x="871" y="1481"/>
                  </a:lnTo>
                  <a:lnTo>
                    <a:pt x="851" y="1507"/>
                  </a:lnTo>
                  <a:lnTo>
                    <a:pt x="837" y="1536"/>
                  </a:lnTo>
                  <a:lnTo>
                    <a:pt x="828" y="1568"/>
                  </a:lnTo>
                  <a:lnTo>
                    <a:pt x="824" y="1601"/>
                  </a:lnTo>
                  <a:lnTo>
                    <a:pt x="824" y="2616"/>
                  </a:lnTo>
                  <a:lnTo>
                    <a:pt x="1843" y="2616"/>
                  </a:lnTo>
                  <a:lnTo>
                    <a:pt x="1843" y="2489"/>
                  </a:lnTo>
                  <a:lnTo>
                    <a:pt x="1556" y="2489"/>
                  </a:lnTo>
                  <a:lnTo>
                    <a:pt x="1468" y="2487"/>
                  </a:lnTo>
                  <a:lnTo>
                    <a:pt x="1382" y="2478"/>
                  </a:lnTo>
                  <a:lnTo>
                    <a:pt x="1297" y="2462"/>
                  </a:lnTo>
                  <a:lnTo>
                    <a:pt x="1213" y="2441"/>
                  </a:lnTo>
                  <a:lnTo>
                    <a:pt x="1132" y="2414"/>
                  </a:lnTo>
                  <a:lnTo>
                    <a:pt x="1050" y="2382"/>
                  </a:lnTo>
                  <a:lnTo>
                    <a:pt x="1026" y="2369"/>
                  </a:lnTo>
                  <a:lnTo>
                    <a:pt x="1005" y="2352"/>
                  </a:lnTo>
                  <a:lnTo>
                    <a:pt x="985" y="2331"/>
                  </a:lnTo>
                  <a:lnTo>
                    <a:pt x="971" y="2309"/>
                  </a:lnTo>
                  <a:lnTo>
                    <a:pt x="960" y="2284"/>
                  </a:lnTo>
                  <a:lnTo>
                    <a:pt x="954" y="2256"/>
                  </a:lnTo>
                  <a:lnTo>
                    <a:pt x="950" y="2228"/>
                  </a:lnTo>
                  <a:lnTo>
                    <a:pt x="950" y="1428"/>
                  </a:lnTo>
                  <a:close/>
                  <a:moveTo>
                    <a:pt x="1062" y="1419"/>
                  </a:moveTo>
                  <a:lnTo>
                    <a:pt x="1062" y="2228"/>
                  </a:lnTo>
                  <a:lnTo>
                    <a:pt x="1065" y="2245"/>
                  </a:lnTo>
                  <a:lnTo>
                    <a:pt x="1071" y="2259"/>
                  </a:lnTo>
                  <a:lnTo>
                    <a:pt x="1082" y="2271"/>
                  </a:lnTo>
                  <a:lnTo>
                    <a:pt x="1095" y="2280"/>
                  </a:lnTo>
                  <a:lnTo>
                    <a:pt x="1171" y="2311"/>
                  </a:lnTo>
                  <a:lnTo>
                    <a:pt x="1248" y="2335"/>
                  </a:lnTo>
                  <a:lnTo>
                    <a:pt x="1248" y="1601"/>
                  </a:lnTo>
                  <a:lnTo>
                    <a:pt x="1251" y="1584"/>
                  </a:lnTo>
                  <a:lnTo>
                    <a:pt x="1259" y="1568"/>
                  </a:lnTo>
                  <a:lnTo>
                    <a:pt x="1271" y="1557"/>
                  </a:lnTo>
                  <a:lnTo>
                    <a:pt x="1286" y="1549"/>
                  </a:lnTo>
                  <a:lnTo>
                    <a:pt x="1304" y="1545"/>
                  </a:lnTo>
                  <a:lnTo>
                    <a:pt x="1321" y="1549"/>
                  </a:lnTo>
                  <a:lnTo>
                    <a:pt x="1337" y="1557"/>
                  </a:lnTo>
                  <a:lnTo>
                    <a:pt x="1348" y="1568"/>
                  </a:lnTo>
                  <a:lnTo>
                    <a:pt x="1356" y="1584"/>
                  </a:lnTo>
                  <a:lnTo>
                    <a:pt x="1360" y="1601"/>
                  </a:lnTo>
                  <a:lnTo>
                    <a:pt x="1360" y="2361"/>
                  </a:lnTo>
                  <a:lnTo>
                    <a:pt x="1424" y="2370"/>
                  </a:lnTo>
                  <a:lnTo>
                    <a:pt x="1490" y="2376"/>
                  </a:lnTo>
                  <a:lnTo>
                    <a:pt x="1556" y="2378"/>
                  </a:lnTo>
                  <a:lnTo>
                    <a:pt x="1961" y="2378"/>
                  </a:lnTo>
                  <a:lnTo>
                    <a:pt x="1961" y="2221"/>
                  </a:lnTo>
                  <a:lnTo>
                    <a:pt x="1958" y="2171"/>
                  </a:lnTo>
                  <a:lnTo>
                    <a:pt x="1949" y="2123"/>
                  </a:lnTo>
                  <a:lnTo>
                    <a:pt x="1936" y="2076"/>
                  </a:lnTo>
                  <a:lnTo>
                    <a:pt x="1915" y="2031"/>
                  </a:lnTo>
                  <a:lnTo>
                    <a:pt x="1890" y="1988"/>
                  </a:lnTo>
                  <a:lnTo>
                    <a:pt x="1566" y="1500"/>
                  </a:lnTo>
                  <a:lnTo>
                    <a:pt x="1547" y="1477"/>
                  </a:lnTo>
                  <a:lnTo>
                    <a:pt x="1525" y="1457"/>
                  </a:lnTo>
                  <a:lnTo>
                    <a:pt x="1500" y="1441"/>
                  </a:lnTo>
                  <a:lnTo>
                    <a:pt x="1473" y="1428"/>
                  </a:lnTo>
                  <a:lnTo>
                    <a:pt x="1445" y="1422"/>
                  </a:lnTo>
                  <a:lnTo>
                    <a:pt x="1414" y="1419"/>
                  </a:lnTo>
                  <a:lnTo>
                    <a:pt x="1062" y="1419"/>
                  </a:lnTo>
                  <a:close/>
                  <a:moveTo>
                    <a:pt x="2753" y="353"/>
                  </a:moveTo>
                  <a:lnTo>
                    <a:pt x="2749" y="361"/>
                  </a:lnTo>
                  <a:lnTo>
                    <a:pt x="2571" y="659"/>
                  </a:lnTo>
                  <a:lnTo>
                    <a:pt x="3419" y="1917"/>
                  </a:lnTo>
                  <a:lnTo>
                    <a:pt x="3437" y="1895"/>
                  </a:lnTo>
                  <a:lnTo>
                    <a:pt x="3460" y="1876"/>
                  </a:lnTo>
                  <a:lnTo>
                    <a:pt x="3485" y="1861"/>
                  </a:lnTo>
                  <a:lnTo>
                    <a:pt x="3512" y="1850"/>
                  </a:lnTo>
                  <a:lnTo>
                    <a:pt x="3541" y="1844"/>
                  </a:lnTo>
                  <a:lnTo>
                    <a:pt x="2753" y="353"/>
                  </a:lnTo>
                  <a:close/>
                  <a:moveTo>
                    <a:pt x="2334" y="320"/>
                  </a:moveTo>
                  <a:lnTo>
                    <a:pt x="1562" y="1348"/>
                  </a:lnTo>
                  <a:lnTo>
                    <a:pt x="1590" y="1366"/>
                  </a:lnTo>
                  <a:lnTo>
                    <a:pt x="1616" y="1387"/>
                  </a:lnTo>
                  <a:lnTo>
                    <a:pt x="1638" y="1411"/>
                  </a:lnTo>
                  <a:lnTo>
                    <a:pt x="1658" y="1439"/>
                  </a:lnTo>
                  <a:lnTo>
                    <a:pt x="1827" y="1690"/>
                  </a:lnTo>
                  <a:lnTo>
                    <a:pt x="2555" y="467"/>
                  </a:lnTo>
                  <a:lnTo>
                    <a:pt x="2551" y="467"/>
                  </a:lnTo>
                  <a:lnTo>
                    <a:pt x="2515" y="465"/>
                  </a:lnTo>
                  <a:lnTo>
                    <a:pt x="2481" y="457"/>
                  </a:lnTo>
                  <a:lnTo>
                    <a:pt x="2448" y="444"/>
                  </a:lnTo>
                  <a:lnTo>
                    <a:pt x="2419" y="427"/>
                  </a:lnTo>
                  <a:lnTo>
                    <a:pt x="2391" y="405"/>
                  </a:lnTo>
                  <a:lnTo>
                    <a:pt x="2369" y="380"/>
                  </a:lnTo>
                  <a:lnTo>
                    <a:pt x="2349" y="351"/>
                  </a:lnTo>
                  <a:lnTo>
                    <a:pt x="2334" y="320"/>
                  </a:lnTo>
                  <a:close/>
                  <a:moveTo>
                    <a:pt x="2551" y="111"/>
                  </a:moveTo>
                  <a:lnTo>
                    <a:pt x="2523" y="115"/>
                  </a:lnTo>
                  <a:lnTo>
                    <a:pt x="2498" y="124"/>
                  </a:lnTo>
                  <a:lnTo>
                    <a:pt x="2475" y="138"/>
                  </a:lnTo>
                  <a:lnTo>
                    <a:pt x="2456" y="157"/>
                  </a:lnTo>
                  <a:lnTo>
                    <a:pt x="2441" y="180"/>
                  </a:lnTo>
                  <a:lnTo>
                    <a:pt x="2432" y="205"/>
                  </a:lnTo>
                  <a:lnTo>
                    <a:pt x="2429" y="234"/>
                  </a:lnTo>
                  <a:lnTo>
                    <a:pt x="2432" y="262"/>
                  </a:lnTo>
                  <a:lnTo>
                    <a:pt x="2441" y="287"/>
                  </a:lnTo>
                  <a:lnTo>
                    <a:pt x="2456" y="311"/>
                  </a:lnTo>
                  <a:lnTo>
                    <a:pt x="2475" y="329"/>
                  </a:lnTo>
                  <a:lnTo>
                    <a:pt x="2498" y="344"/>
                  </a:lnTo>
                  <a:lnTo>
                    <a:pt x="2523" y="353"/>
                  </a:lnTo>
                  <a:lnTo>
                    <a:pt x="2551" y="356"/>
                  </a:lnTo>
                  <a:lnTo>
                    <a:pt x="2576" y="354"/>
                  </a:lnTo>
                  <a:lnTo>
                    <a:pt x="2599" y="347"/>
                  </a:lnTo>
                  <a:lnTo>
                    <a:pt x="2619" y="336"/>
                  </a:lnTo>
                  <a:lnTo>
                    <a:pt x="2638" y="321"/>
                  </a:lnTo>
                  <a:lnTo>
                    <a:pt x="2653" y="303"/>
                  </a:lnTo>
                  <a:lnTo>
                    <a:pt x="2656" y="298"/>
                  </a:lnTo>
                  <a:lnTo>
                    <a:pt x="2657" y="297"/>
                  </a:lnTo>
                  <a:lnTo>
                    <a:pt x="2666" y="278"/>
                  </a:lnTo>
                  <a:lnTo>
                    <a:pt x="2672" y="256"/>
                  </a:lnTo>
                  <a:lnTo>
                    <a:pt x="2674" y="234"/>
                  </a:lnTo>
                  <a:lnTo>
                    <a:pt x="2672" y="210"/>
                  </a:lnTo>
                  <a:lnTo>
                    <a:pt x="2665" y="187"/>
                  </a:lnTo>
                  <a:lnTo>
                    <a:pt x="2661" y="180"/>
                  </a:lnTo>
                  <a:lnTo>
                    <a:pt x="2658" y="174"/>
                  </a:lnTo>
                  <a:lnTo>
                    <a:pt x="2643" y="153"/>
                  </a:lnTo>
                  <a:lnTo>
                    <a:pt x="2625" y="136"/>
                  </a:lnTo>
                  <a:lnTo>
                    <a:pt x="2603" y="123"/>
                  </a:lnTo>
                  <a:lnTo>
                    <a:pt x="2579" y="115"/>
                  </a:lnTo>
                  <a:lnTo>
                    <a:pt x="2551" y="111"/>
                  </a:lnTo>
                  <a:close/>
                  <a:moveTo>
                    <a:pt x="2551" y="0"/>
                  </a:moveTo>
                  <a:lnTo>
                    <a:pt x="2591" y="3"/>
                  </a:lnTo>
                  <a:lnTo>
                    <a:pt x="2630" y="12"/>
                  </a:lnTo>
                  <a:lnTo>
                    <a:pt x="2665" y="28"/>
                  </a:lnTo>
                  <a:lnTo>
                    <a:pt x="2696" y="50"/>
                  </a:lnTo>
                  <a:lnTo>
                    <a:pt x="2724" y="75"/>
                  </a:lnTo>
                  <a:lnTo>
                    <a:pt x="2747" y="106"/>
                  </a:lnTo>
                  <a:lnTo>
                    <a:pt x="2766" y="138"/>
                  </a:lnTo>
                  <a:lnTo>
                    <a:pt x="3713" y="1930"/>
                  </a:lnTo>
                  <a:lnTo>
                    <a:pt x="3726" y="1957"/>
                  </a:lnTo>
                  <a:lnTo>
                    <a:pt x="3734" y="1986"/>
                  </a:lnTo>
                  <a:lnTo>
                    <a:pt x="3736" y="2017"/>
                  </a:lnTo>
                  <a:lnTo>
                    <a:pt x="3733" y="2050"/>
                  </a:lnTo>
                  <a:lnTo>
                    <a:pt x="3725" y="2080"/>
                  </a:lnTo>
                  <a:lnTo>
                    <a:pt x="3711" y="2108"/>
                  </a:lnTo>
                  <a:lnTo>
                    <a:pt x="3693" y="2132"/>
                  </a:lnTo>
                  <a:lnTo>
                    <a:pt x="3672" y="2153"/>
                  </a:lnTo>
                  <a:lnTo>
                    <a:pt x="3646" y="2170"/>
                  </a:lnTo>
                  <a:lnTo>
                    <a:pt x="3617" y="2183"/>
                  </a:lnTo>
                  <a:lnTo>
                    <a:pt x="3617" y="2612"/>
                  </a:lnTo>
                  <a:lnTo>
                    <a:pt x="3617" y="2620"/>
                  </a:lnTo>
                  <a:lnTo>
                    <a:pt x="3616" y="2626"/>
                  </a:lnTo>
                  <a:lnTo>
                    <a:pt x="3609" y="2660"/>
                  </a:lnTo>
                  <a:lnTo>
                    <a:pt x="3597" y="2693"/>
                  </a:lnTo>
                  <a:lnTo>
                    <a:pt x="3580" y="2724"/>
                  </a:lnTo>
                  <a:lnTo>
                    <a:pt x="3559" y="2752"/>
                  </a:lnTo>
                  <a:lnTo>
                    <a:pt x="3533" y="2777"/>
                  </a:lnTo>
                  <a:lnTo>
                    <a:pt x="3504" y="2799"/>
                  </a:lnTo>
                  <a:lnTo>
                    <a:pt x="3471" y="2815"/>
                  </a:lnTo>
                  <a:lnTo>
                    <a:pt x="3282" y="2891"/>
                  </a:lnTo>
                  <a:lnTo>
                    <a:pt x="3231" y="2908"/>
                  </a:lnTo>
                  <a:lnTo>
                    <a:pt x="3180" y="2918"/>
                  </a:lnTo>
                  <a:lnTo>
                    <a:pt x="3127" y="2920"/>
                  </a:lnTo>
                  <a:lnTo>
                    <a:pt x="3081" y="2918"/>
                  </a:lnTo>
                  <a:lnTo>
                    <a:pt x="3034" y="2910"/>
                  </a:lnTo>
                  <a:lnTo>
                    <a:pt x="2989" y="2896"/>
                  </a:lnTo>
                  <a:lnTo>
                    <a:pt x="2946" y="2878"/>
                  </a:lnTo>
                  <a:lnTo>
                    <a:pt x="2904" y="2855"/>
                  </a:lnTo>
                  <a:lnTo>
                    <a:pt x="2865" y="2826"/>
                  </a:lnTo>
                  <a:lnTo>
                    <a:pt x="2454" y="2487"/>
                  </a:lnTo>
                  <a:lnTo>
                    <a:pt x="2442" y="2474"/>
                  </a:lnTo>
                  <a:lnTo>
                    <a:pt x="2436" y="2458"/>
                  </a:lnTo>
                  <a:lnTo>
                    <a:pt x="2433" y="2441"/>
                  </a:lnTo>
                  <a:lnTo>
                    <a:pt x="2438" y="2424"/>
                  </a:lnTo>
                  <a:lnTo>
                    <a:pt x="2447" y="2409"/>
                  </a:lnTo>
                  <a:lnTo>
                    <a:pt x="2459" y="2397"/>
                  </a:lnTo>
                  <a:lnTo>
                    <a:pt x="2475" y="2390"/>
                  </a:lnTo>
                  <a:lnTo>
                    <a:pt x="2492" y="2388"/>
                  </a:lnTo>
                  <a:lnTo>
                    <a:pt x="2509" y="2393"/>
                  </a:lnTo>
                  <a:lnTo>
                    <a:pt x="2525" y="2402"/>
                  </a:lnTo>
                  <a:lnTo>
                    <a:pt x="2656" y="2509"/>
                  </a:lnTo>
                  <a:lnTo>
                    <a:pt x="3418" y="2203"/>
                  </a:lnTo>
                  <a:lnTo>
                    <a:pt x="3431" y="2200"/>
                  </a:lnTo>
                  <a:lnTo>
                    <a:pt x="3446" y="2200"/>
                  </a:lnTo>
                  <a:lnTo>
                    <a:pt x="3460" y="2204"/>
                  </a:lnTo>
                  <a:lnTo>
                    <a:pt x="3472" y="2211"/>
                  </a:lnTo>
                  <a:lnTo>
                    <a:pt x="3482" y="2221"/>
                  </a:lnTo>
                  <a:lnTo>
                    <a:pt x="3490" y="2235"/>
                  </a:lnTo>
                  <a:lnTo>
                    <a:pt x="3506" y="2275"/>
                  </a:lnTo>
                  <a:lnTo>
                    <a:pt x="3506" y="2183"/>
                  </a:lnTo>
                  <a:lnTo>
                    <a:pt x="3478" y="2170"/>
                  </a:lnTo>
                  <a:lnTo>
                    <a:pt x="3452" y="2152"/>
                  </a:lnTo>
                  <a:lnTo>
                    <a:pt x="3429" y="2131"/>
                  </a:lnTo>
                  <a:lnTo>
                    <a:pt x="3411" y="2106"/>
                  </a:lnTo>
                  <a:lnTo>
                    <a:pt x="2507" y="766"/>
                  </a:lnTo>
                  <a:lnTo>
                    <a:pt x="1895" y="1794"/>
                  </a:lnTo>
                  <a:lnTo>
                    <a:pt x="1983" y="1926"/>
                  </a:lnTo>
                  <a:lnTo>
                    <a:pt x="2010" y="1971"/>
                  </a:lnTo>
                  <a:lnTo>
                    <a:pt x="2032" y="2018"/>
                  </a:lnTo>
                  <a:lnTo>
                    <a:pt x="2050" y="2067"/>
                  </a:lnTo>
                  <a:lnTo>
                    <a:pt x="2063" y="2117"/>
                  </a:lnTo>
                  <a:lnTo>
                    <a:pt x="2069" y="2168"/>
                  </a:lnTo>
                  <a:lnTo>
                    <a:pt x="2073" y="2221"/>
                  </a:lnTo>
                  <a:lnTo>
                    <a:pt x="2073" y="2433"/>
                  </a:lnTo>
                  <a:lnTo>
                    <a:pt x="2072" y="2441"/>
                  </a:lnTo>
                  <a:lnTo>
                    <a:pt x="2069" y="2452"/>
                  </a:lnTo>
                  <a:lnTo>
                    <a:pt x="2066" y="2460"/>
                  </a:lnTo>
                  <a:lnTo>
                    <a:pt x="2064" y="2463"/>
                  </a:lnTo>
                  <a:lnTo>
                    <a:pt x="2063" y="2465"/>
                  </a:lnTo>
                  <a:lnTo>
                    <a:pt x="2060" y="2469"/>
                  </a:lnTo>
                  <a:lnTo>
                    <a:pt x="2059" y="2469"/>
                  </a:lnTo>
                  <a:lnTo>
                    <a:pt x="2058" y="2471"/>
                  </a:lnTo>
                  <a:lnTo>
                    <a:pt x="2056" y="2473"/>
                  </a:lnTo>
                  <a:lnTo>
                    <a:pt x="2055" y="2474"/>
                  </a:lnTo>
                  <a:lnTo>
                    <a:pt x="2052" y="2477"/>
                  </a:lnTo>
                  <a:lnTo>
                    <a:pt x="2050" y="2478"/>
                  </a:lnTo>
                  <a:lnTo>
                    <a:pt x="2048" y="2480"/>
                  </a:lnTo>
                  <a:lnTo>
                    <a:pt x="2043" y="2482"/>
                  </a:lnTo>
                  <a:lnTo>
                    <a:pt x="2039" y="2485"/>
                  </a:lnTo>
                  <a:lnTo>
                    <a:pt x="2039" y="2485"/>
                  </a:lnTo>
                  <a:lnTo>
                    <a:pt x="2035" y="2486"/>
                  </a:lnTo>
                  <a:lnTo>
                    <a:pt x="2033" y="2487"/>
                  </a:lnTo>
                  <a:lnTo>
                    <a:pt x="2031" y="2488"/>
                  </a:lnTo>
                  <a:lnTo>
                    <a:pt x="2027" y="2488"/>
                  </a:lnTo>
                  <a:lnTo>
                    <a:pt x="2024" y="2489"/>
                  </a:lnTo>
                  <a:lnTo>
                    <a:pt x="2023" y="2489"/>
                  </a:lnTo>
                  <a:lnTo>
                    <a:pt x="2019" y="2489"/>
                  </a:lnTo>
                  <a:lnTo>
                    <a:pt x="2017" y="2489"/>
                  </a:lnTo>
                  <a:lnTo>
                    <a:pt x="1954" y="2489"/>
                  </a:lnTo>
                  <a:lnTo>
                    <a:pt x="1954" y="2672"/>
                  </a:lnTo>
                  <a:lnTo>
                    <a:pt x="1950" y="2689"/>
                  </a:lnTo>
                  <a:lnTo>
                    <a:pt x="1942" y="2705"/>
                  </a:lnTo>
                  <a:lnTo>
                    <a:pt x="1931" y="2716"/>
                  </a:lnTo>
                  <a:lnTo>
                    <a:pt x="1915" y="2724"/>
                  </a:lnTo>
                  <a:lnTo>
                    <a:pt x="1898" y="2727"/>
                  </a:lnTo>
                  <a:lnTo>
                    <a:pt x="1418" y="2727"/>
                  </a:lnTo>
                  <a:lnTo>
                    <a:pt x="1418" y="2853"/>
                  </a:lnTo>
                  <a:lnTo>
                    <a:pt x="1838" y="2853"/>
                  </a:lnTo>
                  <a:lnTo>
                    <a:pt x="1890" y="2857"/>
                  </a:lnTo>
                  <a:lnTo>
                    <a:pt x="1940" y="2866"/>
                  </a:lnTo>
                  <a:lnTo>
                    <a:pt x="1988" y="2882"/>
                  </a:lnTo>
                  <a:lnTo>
                    <a:pt x="2032" y="2902"/>
                  </a:lnTo>
                  <a:lnTo>
                    <a:pt x="2074" y="2927"/>
                  </a:lnTo>
                  <a:lnTo>
                    <a:pt x="2112" y="2958"/>
                  </a:lnTo>
                  <a:lnTo>
                    <a:pt x="2146" y="2992"/>
                  </a:lnTo>
                  <a:lnTo>
                    <a:pt x="2177" y="3030"/>
                  </a:lnTo>
                  <a:lnTo>
                    <a:pt x="2202" y="3072"/>
                  </a:lnTo>
                  <a:lnTo>
                    <a:pt x="2222" y="3116"/>
                  </a:lnTo>
                  <a:lnTo>
                    <a:pt x="2238" y="3164"/>
                  </a:lnTo>
                  <a:lnTo>
                    <a:pt x="2247" y="3214"/>
                  </a:lnTo>
                  <a:lnTo>
                    <a:pt x="2251" y="3266"/>
                  </a:lnTo>
                  <a:lnTo>
                    <a:pt x="2247" y="3317"/>
                  </a:lnTo>
                  <a:lnTo>
                    <a:pt x="2238" y="3367"/>
                  </a:lnTo>
                  <a:lnTo>
                    <a:pt x="2222" y="3415"/>
                  </a:lnTo>
                  <a:lnTo>
                    <a:pt x="2202" y="3460"/>
                  </a:lnTo>
                  <a:lnTo>
                    <a:pt x="2177" y="3501"/>
                  </a:lnTo>
                  <a:lnTo>
                    <a:pt x="2146" y="3540"/>
                  </a:lnTo>
                  <a:lnTo>
                    <a:pt x="2112" y="3574"/>
                  </a:lnTo>
                  <a:lnTo>
                    <a:pt x="2074" y="3604"/>
                  </a:lnTo>
                  <a:lnTo>
                    <a:pt x="2032" y="3630"/>
                  </a:lnTo>
                  <a:lnTo>
                    <a:pt x="1988" y="3651"/>
                  </a:lnTo>
                  <a:lnTo>
                    <a:pt x="1940" y="3666"/>
                  </a:lnTo>
                  <a:lnTo>
                    <a:pt x="1890" y="3676"/>
                  </a:lnTo>
                  <a:lnTo>
                    <a:pt x="1838" y="3678"/>
                  </a:lnTo>
                  <a:lnTo>
                    <a:pt x="413" y="3678"/>
                  </a:lnTo>
                  <a:lnTo>
                    <a:pt x="360" y="3676"/>
                  </a:lnTo>
                  <a:lnTo>
                    <a:pt x="311" y="3666"/>
                  </a:lnTo>
                  <a:lnTo>
                    <a:pt x="263" y="3651"/>
                  </a:lnTo>
                  <a:lnTo>
                    <a:pt x="219" y="3630"/>
                  </a:lnTo>
                  <a:lnTo>
                    <a:pt x="177" y="3604"/>
                  </a:lnTo>
                  <a:lnTo>
                    <a:pt x="138" y="3574"/>
                  </a:lnTo>
                  <a:lnTo>
                    <a:pt x="104" y="3540"/>
                  </a:lnTo>
                  <a:lnTo>
                    <a:pt x="74" y="3501"/>
                  </a:lnTo>
                  <a:lnTo>
                    <a:pt x="49" y="3460"/>
                  </a:lnTo>
                  <a:lnTo>
                    <a:pt x="28" y="3415"/>
                  </a:lnTo>
                  <a:lnTo>
                    <a:pt x="12" y="3367"/>
                  </a:lnTo>
                  <a:lnTo>
                    <a:pt x="3" y="3317"/>
                  </a:lnTo>
                  <a:lnTo>
                    <a:pt x="0" y="3266"/>
                  </a:lnTo>
                  <a:lnTo>
                    <a:pt x="3" y="3214"/>
                  </a:lnTo>
                  <a:lnTo>
                    <a:pt x="12" y="3164"/>
                  </a:lnTo>
                  <a:lnTo>
                    <a:pt x="28" y="3116"/>
                  </a:lnTo>
                  <a:lnTo>
                    <a:pt x="49" y="3072"/>
                  </a:lnTo>
                  <a:lnTo>
                    <a:pt x="74" y="3030"/>
                  </a:lnTo>
                  <a:lnTo>
                    <a:pt x="104" y="2992"/>
                  </a:lnTo>
                  <a:lnTo>
                    <a:pt x="138" y="2958"/>
                  </a:lnTo>
                  <a:lnTo>
                    <a:pt x="177" y="2927"/>
                  </a:lnTo>
                  <a:lnTo>
                    <a:pt x="219" y="2902"/>
                  </a:lnTo>
                  <a:lnTo>
                    <a:pt x="263" y="2882"/>
                  </a:lnTo>
                  <a:lnTo>
                    <a:pt x="311" y="2866"/>
                  </a:lnTo>
                  <a:lnTo>
                    <a:pt x="360" y="2857"/>
                  </a:lnTo>
                  <a:lnTo>
                    <a:pt x="413" y="2853"/>
                  </a:lnTo>
                  <a:lnTo>
                    <a:pt x="832" y="2853"/>
                  </a:lnTo>
                  <a:lnTo>
                    <a:pt x="832" y="2727"/>
                  </a:lnTo>
                  <a:lnTo>
                    <a:pt x="353" y="2727"/>
                  </a:lnTo>
                  <a:lnTo>
                    <a:pt x="317" y="2724"/>
                  </a:lnTo>
                  <a:lnTo>
                    <a:pt x="284" y="2714"/>
                  </a:lnTo>
                  <a:lnTo>
                    <a:pt x="255" y="2698"/>
                  </a:lnTo>
                  <a:lnTo>
                    <a:pt x="229" y="2676"/>
                  </a:lnTo>
                  <a:lnTo>
                    <a:pt x="209" y="2650"/>
                  </a:lnTo>
                  <a:lnTo>
                    <a:pt x="192" y="2621"/>
                  </a:lnTo>
                  <a:lnTo>
                    <a:pt x="181" y="2588"/>
                  </a:lnTo>
                  <a:lnTo>
                    <a:pt x="178" y="2553"/>
                  </a:lnTo>
                  <a:lnTo>
                    <a:pt x="178" y="2136"/>
                  </a:lnTo>
                  <a:lnTo>
                    <a:pt x="181" y="2101"/>
                  </a:lnTo>
                  <a:lnTo>
                    <a:pt x="192" y="2068"/>
                  </a:lnTo>
                  <a:lnTo>
                    <a:pt x="209" y="2039"/>
                  </a:lnTo>
                  <a:lnTo>
                    <a:pt x="229" y="2013"/>
                  </a:lnTo>
                  <a:lnTo>
                    <a:pt x="255" y="1991"/>
                  </a:lnTo>
                  <a:lnTo>
                    <a:pt x="284" y="1975"/>
                  </a:lnTo>
                  <a:lnTo>
                    <a:pt x="317" y="1965"/>
                  </a:lnTo>
                  <a:lnTo>
                    <a:pt x="353" y="1962"/>
                  </a:lnTo>
                  <a:lnTo>
                    <a:pt x="713" y="1962"/>
                  </a:lnTo>
                  <a:lnTo>
                    <a:pt x="713" y="1601"/>
                  </a:lnTo>
                  <a:lnTo>
                    <a:pt x="717" y="1558"/>
                  </a:lnTo>
                  <a:lnTo>
                    <a:pt x="726" y="1517"/>
                  </a:lnTo>
                  <a:lnTo>
                    <a:pt x="740" y="1477"/>
                  </a:lnTo>
                  <a:lnTo>
                    <a:pt x="761" y="1442"/>
                  </a:lnTo>
                  <a:lnTo>
                    <a:pt x="785" y="1409"/>
                  </a:lnTo>
                  <a:lnTo>
                    <a:pt x="814" y="1380"/>
                  </a:lnTo>
                  <a:lnTo>
                    <a:pt x="847" y="1355"/>
                  </a:lnTo>
                  <a:lnTo>
                    <a:pt x="883" y="1335"/>
                  </a:lnTo>
                  <a:lnTo>
                    <a:pt x="922" y="1321"/>
                  </a:lnTo>
                  <a:lnTo>
                    <a:pt x="963" y="1310"/>
                  </a:lnTo>
                  <a:lnTo>
                    <a:pt x="1007" y="1308"/>
                  </a:lnTo>
                  <a:lnTo>
                    <a:pt x="1414" y="1308"/>
                  </a:lnTo>
                  <a:lnTo>
                    <a:pt x="1452" y="1310"/>
                  </a:lnTo>
                  <a:lnTo>
                    <a:pt x="2359" y="101"/>
                  </a:lnTo>
                  <a:lnTo>
                    <a:pt x="2359" y="101"/>
                  </a:lnTo>
                  <a:lnTo>
                    <a:pt x="2382" y="73"/>
                  </a:lnTo>
                  <a:lnTo>
                    <a:pt x="2410" y="48"/>
                  </a:lnTo>
                  <a:lnTo>
                    <a:pt x="2441" y="27"/>
                  </a:lnTo>
                  <a:lnTo>
                    <a:pt x="2475" y="12"/>
                  </a:lnTo>
                  <a:lnTo>
                    <a:pt x="2513" y="3"/>
                  </a:lnTo>
                  <a:lnTo>
                    <a:pt x="2551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</p:grpSp>
      <p:sp>
        <p:nvSpPr>
          <p:cNvPr id="23625" name="TextBox 158">
            <a:extLst>
              <a:ext uri="{FF2B5EF4-FFF2-40B4-BE49-F238E27FC236}">
                <a16:creationId xmlns:a16="http://schemas.microsoft.com/office/drawing/2014/main" id="{E039C87F-72AD-4054-B63A-554ACFFB9E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4663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altLang="en-US" sz="90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23626" name="TextBox 159">
            <a:extLst>
              <a:ext uri="{FF2B5EF4-FFF2-40B4-BE49-F238E27FC236}">
                <a16:creationId xmlns:a16="http://schemas.microsoft.com/office/drawing/2014/main" id="{C89D28E8-6E73-4458-A352-42A749EC09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3488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altLang="en-US" sz="90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23627" name="TextBox 127">
            <a:extLst>
              <a:ext uri="{FF2B5EF4-FFF2-40B4-BE49-F238E27FC236}">
                <a16:creationId xmlns:a16="http://schemas.microsoft.com/office/drawing/2014/main" id="{D2C4F5E9-E854-4896-8355-45DEC69063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7813" y="6378575"/>
            <a:ext cx="426243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Sources: National Bureau of Statistics, World Bank Report on Doing Business in Nigeria 2018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climate-data.org, State Government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Exchange rate= $1/N305 (Central Bank of Nigeria)</a:t>
            </a:r>
          </a:p>
        </p:txBody>
      </p:sp>
      <p:sp>
        <p:nvSpPr>
          <p:cNvPr id="23628" name="TextBox 128">
            <a:extLst>
              <a:ext uri="{FF2B5EF4-FFF2-40B4-BE49-F238E27FC236}">
                <a16:creationId xmlns:a16="http://schemas.microsoft.com/office/drawing/2014/main" id="{409BCC6F-A5F0-4C79-BB4A-38A1ABC14F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99047" y="3649289"/>
            <a:ext cx="881063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altLang="en-US" sz="900" dirty="0">
                <a:solidFill>
                  <a:prstClr val="black"/>
                </a:solidFill>
                <a:latin typeface="Calibri" panose="020F0502020204030204" pitchFamily="34" charset="0"/>
              </a:rPr>
              <a:t>Manufacturing</a:t>
            </a:r>
          </a:p>
        </p:txBody>
      </p:sp>
      <p:sp>
        <p:nvSpPr>
          <p:cNvPr id="23629" name="TextBox 129">
            <a:extLst>
              <a:ext uri="{FF2B5EF4-FFF2-40B4-BE49-F238E27FC236}">
                <a16:creationId xmlns:a16="http://schemas.microsoft.com/office/drawing/2014/main" id="{489E7B41-20C9-4493-8E7D-07238EB8FA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2892" y="3655173"/>
            <a:ext cx="468313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altLang="en-US" sz="900" dirty="0">
                <a:solidFill>
                  <a:prstClr val="black"/>
                </a:solidFill>
                <a:latin typeface="Calibri" panose="020F0502020204030204" pitchFamily="34" charset="0"/>
              </a:rPr>
              <a:t>Maize</a:t>
            </a:r>
          </a:p>
        </p:txBody>
      </p:sp>
      <p:sp>
        <p:nvSpPr>
          <p:cNvPr id="23631" name="TextBox 131">
            <a:extLst>
              <a:ext uri="{FF2B5EF4-FFF2-40B4-BE49-F238E27FC236}">
                <a16:creationId xmlns:a16="http://schemas.microsoft.com/office/drawing/2014/main" id="{FF8B6C80-43E2-43AF-A364-A31845F05C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5388" y="3656013"/>
            <a:ext cx="552450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altLang="en-US" sz="900" dirty="0">
                <a:solidFill>
                  <a:prstClr val="black"/>
                </a:solidFill>
                <a:latin typeface="Calibri" panose="020F0502020204030204" pitchFamily="34" charset="0"/>
              </a:rPr>
              <a:t>Cassava</a:t>
            </a:r>
          </a:p>
        </p:txBody>
      </p:sp>
      <p:sp>
        <p:nvSpPr>
          <p:cNvPr id="23632" name="TextBox 132">
            <a:extLst>
              <a:ext uri="{FF2B5EF4-FFF2-40B4-BE49-F238E27FC236}">
                <a16:creationId xmlns:a16="http://schemas.microsoft.com/office/drawing/2014/main" id="{A1C640C1-61D1-4BA5-8A76-E684397E8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46689" y="3650876"/>
            <a:ext cx="565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altLang="en-US" sz="900" dirty="0">
                <a:solidFill>
                  <a:prstClr val="black"/>
                </a:solidFill>
                <a:latin typeface="Calibri" panose="020F0502020204030204" pitchFamily="34" charset="0"/>
              </a:rPr>
              <a:t>Housing</a:t>
            </a:r>
          </a:p>
        </p:txBody>
      </p:sp>
      <p:sp>
        <p:nvSpPr>
          <p:cNvPr id="23638" name="TextBox 141">
            <a:extLst>
              <a:ext uri="{FF2B5EF4-FFF2-40B4-BE49-F238E27FC236}">
                <a16:creationId xmlns:a16="http://schemas.microsoft.com/office/drawing/2014/main" id="{EE481231-8673-4FD7-B5CC-900AEE7A9F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8233" y="3652464"/>
            <a:ext cx="519113" cy="13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altLang="en-US" sz="900" dirty="0">
                <a:solidFill>
                  <a:prstClr val="black"/>
                </a:solidFill>
                <a:latin typeface="Calibri" panose="020F0502020204030204" pitchFamily="34" charset="0"/>
              </a:rPr>
              <a:t>Timber</a:t>
            </a:r>
          </a:p>
        </p:txBody>
      </p:sp>
      <p:pic>
        <p:nvPicPr>
          <p:cNvPr id="148" name="Picture 6">
            <a:extLst>
              <a:ext uri="{FF2B5EF4-FFF2-40B4-BE49-F238E27FC236}">
                <a16:creationId xmlns:a16="http://schemas.microsoft.com/office/drawing/2014/main" id="{F56E5FD8-2FB9-485F-87AD-E2B83072B7E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/>
          </a:blip>
          <a:srcRect l="-1" t="44814" r="9340" b="9302"/>
          <a:stretch/>
        </p:blipFill>
        <p:spPr bwMode="auto">
          <a:xfrm>
            <a:off x="7467238" y="3090366"/>
            <a:ext cx="697011" cy="465895"/>
          </a:xfrm>
          <a:prstGeom prst="rect">
            <a:avLst/>
          </a:prstGeom>
          <a:noFill/>
          <a:ln>
            <a:noFill/>
          </a:ln>
          <a:effectLst/>
          <a:extLst/>
        </p:spPr>
      </p:pic>
      <p:pic>
        <p:nvPicPr>
          <p:cNvPr id="152" name="Picture 151">
            <a:extLst>
              <a:ext uri="{FF2B5EF4-FFF2-40B4-BE49-F238E27FC236}">
                <a16:creationId xmlns:a16="http://schemas.microsoft.com/office/drawing/2014/main" id="{749AA01A-7ECF-4C64-939B-EB359AA5A4B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092153" y="3131481"/>
            <a:ext cx="616788" cy="461996"/>
          </a:xfrm>
          <a:prstGeom prst="rect">
            <a:avLst/>
          </a:prstGeom>
        </p:spPr>
      </p:pic>
      <p:pic>
        <p:nvPicPr>
          <p:cNvPr id="23643" name="Picture 154">
            <a:extLst>
              <a:ext uri="{FF2B5EF4-FFF2-40B4-BE49-F238E27FC236}">
                <a16:creationId xmlns:a16="http://schemas.microsoft.com/office/drawing/2014/main" id="{5B64BF04-CB16-444D-9759-C323B66E7DA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025" y="3103563"/>
            <a:ext cx="603250" cy="59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49" name="TextBox 165">
            <a:extLst>
              <a:ext uri="{FF2B5EF4-FFF2-40B4-BE49-F238E27FC236}">
                <a16:creationId xmlns:a16="http://schemas.microsoft.com/office/drawing/2014/main" id="{1242633E-9CB1-48ED-83F4-2223DFC7ED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81236" y="4459753"/>
            <a:ext cx="554037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altLang="en-US" sz="900" dirty="0">
                <a:solidFill>
                  <a:prstClr val="black"/>
                </a:solidFill>
                <a:latin typeface="Calibri" panose="020F0502020204030204" pitchFamily="34" charset="0"/>
              </a:rPr>
              <a:t>Cement</a:t>
            </a:r>
          </a:p>
        </p:txBody>
      </p:sp>
      <p:sp>
        <p:nvSpPr>
          <p:cNvPr id="23650" name="TextBox 166">
            <a:extLst>
              <a:ext uri="{FF2B5EF4-FFF2-40B4-BE49-F238E27FC236}">
                <a16:creationId xmlns:a16="http://schemas.microsoft.com/office/drawing/2014/main" id="{6B51369B-8FA6-464A-B908-12B0FFE6B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07773" y="4459005"/>
            <a:ext cx="525463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altLang="en-US" sz="900" dirty="0">
                <a:solidFill>
                  <a:prstClr val="black"/>
                </a:solidFill>
                <a:latin typeface="Calibri" panose="020F0502020204030204" pitchFamily="34" charset="0"/>
              </a:rPr>
              <a:t>Poultry</a:t>
            </a:r>
          </a:p>
        </p:txBody>
      </p:sp>
      <p:sp>
        <p:nvSpPr>
          <p:cNvPr id="23651" name="TextBox 167">
            <a:extLst>
              <a:ext uri="{FF2B5EF4-FFF2-40B4-BE49-F238E27FC236}">
                <a16:creationId xmlns:a16="http://schemas.microsoft.com/office/drawing/2014/main" id="{4F9404E1-8339-401B-8B10-4C7D1A8CEC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52868" y="4457881"/>
            <a:ext cx="52129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altLang="en-US" sz="900" dirty="0">
                <a:solidFill>
                  <a:prstClr val="black"/>
                </a:solidFill>
                <a:latin typeface="Calibri" panose="020F0502020204030204" pitchFamily="34" charset="0"/>
              </a:rPr>
              <a:t>Fishery</a:t>
            </a:r>
          </a:p>
        </p:txBody>
      </p:sp>
      <p:sp>
        <p:nvSpPr>
          <p:cNvPr id="23652" name="TextBox 168">
            <a:extLst>
              <a:ext uri="{FF2B5EF4-FFF2-40B4-BE49-F238E27FC236}">
                <a16:creationId xmlns:a16="http://schemas.microsoft.com/office/drawing/2014/main" id="{1C04917D-B2C3-4C21-8CC2-A45C349B4B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46602" y="4457133"/>
            <a:ext cx="38023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altLang="en-US" sz="900" dirty="0">
                <a:solidFill>
                  <a:prstClr val="black"/>
                </a:solidFill>
                <a:latin typeface="Calibri" panose="020F0502020204030204" pitchFamily="34" charset="0"/>
              </a:rPr>
              <a:t>Rice</a:t>
            </a:r>
          </a:p>
        </p:txBody>
      </p:sp>
      <p:sp>
        <p:nvSpPr>
          <p:cNvPr id="23653" name="TextBox 169">
            <a:extLst>
              <a:ext uri="{FF2B5EF4-FFF2-40B4-BE49-F238E27FC236}">
                <a16:creationId xmlns:a16="http://schemas.microsoft.com/office/drawing/2014/main" id="{4BADA327-4F2D-4897-B7C0-4647A1484B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3926" y="4457973"/>
            <a:ext cx="47000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altLang="en-US" sz="900" dirty="0">
                <a:solidFill>
                  <a:prstClr val="black"/>
                </a:solidFill>
                <a:latin typeface="Calibri" panose="020F0502020204030204" pitchFamily="34" charset="0"/>
              </a:rPr>
              <a:t>Cocoa</a:t>
            </a:r>
          </a:p>
        </p:txBody>
      </p:sp>
      <p:pic>
        <p:nvPicPr>
          <p:cNvPr id="172" name="Picture 171">
            <a:extLst>
              <a:ext uri="{FF2B5EF4-FFF2-40B4-BE49-F238E27FC236}">
                <a16:creationId xmlns:a16="http://schemas.microsoft.com/office/drawing/2014/main" id="{6BF4BC30-5082-4B01-AFA5-CDA0DD8E4AAE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25586" t="10367" r="5780"/>
          <a:stretch/>
        </p:blipFill>
        <p:spPr>
          <a:xfrm>
            <a:off x="6870969" y="3956429"/>
            <a:ext cx="377396" cy="453316"/>
          </a:xfrm>
          <a:prstGeom prst="rect">
            <a:avLst/>
          </a:prstGeom>
        </p:spPr>
      </p:pic>
      <p:pic>
        <p:nvPicPr>
          <p:cNvPr id="174" name="Picture 173">
            <a:extLst>
              <a:ext uri="{FF2B5EF4-FFF2-40B4-BE49-F238E27FC236}">
                <a16:creationId xmlns:a16="http://schemas.microsoft.com/office/drawing/2014/main" id="{95779F20-767E-4B50-A05B-A6661D76351F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358780" y="3179525"/>
            <a:ext cx="364435" cy="364435"/>
          </a:xfrm>
          <a:prstGeom prst="rect">
            <a:avLst/>
          </a:prstGeom>
        </p:spPr>
      </p:pic>
      <p:pic>
        <p:nvPicPr>
          <p:cNvPr id="176" name="Picture 3">
            <a:extLst>
              <a:ext uri="{FF2B5EF4-FFF2-40B4-BE49-F238E27FC236}">
                <a16:creationId xmlns:a16="http://schemas.microsoft.com/office/drawing/2014/main" id="{4ECFA245-99FB-4ADF-BA60-2FD40704FB6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/>
          </a:blip>
          <a:srcRect l="24648" t="-274" r="47541" b="77474"/>
          <a:stretch/>
        </p:blipFill>
        <p:spPr bwMode="auto">
          <a:xfrm>
            <a:off x="9006487" y="3117691"/>
            <a:ext cx="503721" cy="473582"/>
          </a:xfrm>
          <a:prstGeom prst="rect">
            <a:avLst/>
          </a:prstGeom>
          <a:noFill/>
          <a:ln>
            <a:noFill/>
          </a:ln>
          <a:effectLst/>
          <a:extLst/>
        </p:spPr>
      </p:pic>
      <p:pic>
        <p:nvPicPr>
          <p:cNvPr id="177" name="Picture 176">
            <a:extLst>
              <a:ext uri="{FF2B5EF4-FFF2-40B4-BE49-F238E27FC236}">
                <a16:creationId xmlns:a16="http://schemas.microsoft.com/office/drawing/2014/main" id="{F2812006-E70C-44D8-9E57-784566D534EE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/>
          </a:blip>
          <a:stretch>
            <a:fillRect/>
          </a:stretch>
        </p:blipFill>
        <p:spPr>
          <a:xfrm>
            <a:off x="8985600" y="3902124"/>
            <a:ext cx="534996" cy="561868"/>
          </a:xfrm>
          <a:prstGeom prst="rect">
            <a:avLst/>
          </a:prstGeom>
        </p:spPr>
      </p:pic>
      <p:grpSp>
        <p:nvGrpSpPr>
          <p:cNvPr id="23659" name="Group 139">
            <a:extLst>
              <a:ext uri="{FF2B5EF4-FFF2-40B4-BE49-F238E27FC236}">
                <a16:creationId xmlns:a16="http://schemas.microsoft.com/office/drawing/2014/main" id="{E08BAEA7-B520-4BF2-8862-C8047EE65DEB}"/>
              </a:ext>
            </a:extLst>
          </p:cNvPr>
          <p:cNvGrpSpPr>
            <a:grpSpLocks/>
          </p:cNvGrpSpPr>
          <p:nvPr/>
        </p:nvGrpSpPr>
        <p:grpSpPr bwMode="auto">
          <a:xfrm>
            <a:off x="4760913" y="4606925"/>
            <a:ext cx="928687" cy="187325"/>
            <a:chOff x="4880067" y="5445518"/>
            <a:chExt cx="635585" cy="128478"/>
          </a:xfrm>
        </p:grpSpPr>
        <p:sp>
          <p:nvSpPr>
            <p:cNvPr id="23681" name="object 53">
              <a:extLst>
                <a:ext uri="{FF2B5EF4-FFF2-40B4-BE49-F238E27FC236}">
                  <a16:creationId xmlns:a16="http://schemas.microsoft.com/office/drawing/2014/main" id="{3DA8E9F9-0B25-4361-B2E5-6321A7D3F3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80067" y="5445518"/>
              <a:ext cx="144548" cy="128478"/>
            </a:xfrm>
            <a:custGeom>
              <a:avLst/>
              <a:gdLst>
                <a:gd name="T0" fmla="*/ 0 w 342900"/>
                <a:gd name="T1" fmla="*/ 18382 h 342900"/>
                <a:gd name="T2" fmla="*/ 23267 w 342900"/>
                <a:gd name="T3" fmla="*/ 18382 h 342900"/>
                <a:gd name="T4" fmla="*/ 30467 w 342900"/>
                <a:gd name="T5" fmla="*/ 0 h 342900"/>
                <a:gd name="T6" fmla="*/ 37667 w 342900"/>
                <a:gd name="T7" fmla="*/ 18382 h 342900"/>
                <a:gd name="T8" fmla="*/ 60934 w 342900"/>
                <a:gd name="T9" fmla="*/ 18382 h 342900"/>
                <a:gd name="T10" fmla="*/ 42112 w 342900"/>
                <a:gd name="T11" fmla="*/ 29756 h 342900"/>
                <a:gd name="T12" fmla="*/ 49288 w 342900"/>
                <a:gd name="T13" fmla="*/ 48138 h 342900"/>
                <a:gd name="T14" fmla="*/ 30467 w 342900"/>
                <a:gd name="T15" fmla="*/ 36782 h 342900"/>
                <a:gd name="T16" fmla="*/ 11645 w 342900"/>
                <a:gd name="T17" fmla="*/ 48138 h 342900"/>
                <a:gd name="T18" fmla="*/ 18822 w 342900"/>
                <a:gd name="T19" fmla="*/ 29756 h 342900"/>
                <a:gd name="T20" fmla="*/ 0 w 342900"/>
                <a:gd name="T21" fmla="*/ 18382 h 3429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42900"/>
                <a:gd name="T34" fmla="*/ 0 h 342900"/>
                <a:gd name="T35" fmla="*/ 342900 w 342900"/>
                <a:gd name="T36" fmla="*/ 342900 h 3429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42900" h="342900">
                  <a:moveTo>
                    <a:pt x="0" y="130942"/>
                  </a:moveTo>
                  <a:lnTo>
                    <a:pt x="130932" y="130942"/>
                  </a:lnTo>
                  <a:lnTo>
                    <a:pt x="171449" y="0"/>
                  </a:lnTo>
                  <a:lnTo>
                    <a:pt x="211967" y="130942"/>
                  </a:lnTo>
                  <a:lnTo>
                    <a:pt x="342899" y="130942"/>
                  </a:lnTo>
                  <a:lnTo>
                    <a:pt x="236981" y="211957"/>
                  </a:lnTo>
                  <a:lnTo>
                    <a:pt x="277367" y="342899"/>
                  </a:lnTo>
                  <a:lnTo>
                    <a:pt x="171449" y="262006"/>
                  </a:lnTo>
                  <a:lnTo>
                    <a:pt x="65531" y="342899"/>
                  </a:lnTo>
                  <a:lnTo>
                    <a:pt x="105917" y="211957"/>
                  </a:lnTo>
                  <a:lnTo>
                    <a:pt x="0" y="130942"/>
                  </a:lnTo>
                  <a:close/>
                </a:path>
              </a:pathLst>
            </a:custGeom>
            <a:solidFill>
              <a:srgbClr val="FF0000"/>
            </a:solidFill>
            <a:ln w="9143">
              <a:solidFill>
                <a:srgbClr val="FF0000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sz="1800">
                <a:solidFill>
                  <a:prstClr val="black"/>
                </a:solidFill>
                <a:latin typeface="Arial"/>
                <a:cs typeface="+mn-cs"/>
              </a:endParaRPr>
            </a:p>
          </p:txBody>
        </p:sp>
        <p:sp>
          <p:nvSpPr>
            <p:cNvPr id="23682" name="object 53">
              <a:extLst>
                <a:ext uri="{FF2B5EF4-FFF2-40B4-BE49-F238E27FC236}">
                  <a16:creationId xmlns:a16="http://schemas.microsoft.com/office/drawing/2014/main" id="{48562C28-FBD6-4159-ABCF-90C0BA7D97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3746" y="5445518"/>
              <a:ext cx="144548" cy="128478"/>
            </a:xfrm>
            <a:custGeom>
              <a:avLst/>
              <a:gdLst>
                <a:gd name="T0" fmla="*/ 0 w 342900"/>
                <a:gd name="T1" fmla="*/ 18382 h 342900"/>
                <a:gd name="T2" fmla="*/ 23267 w 342900"/>
                <a:gd name="T3" fmla="*/ 18382 h 342900"/>
                <a:gd name="T4" fmla="*/ 30467 w 342900"/>
                <a:gd name="T5" fmla="*/ 0 h 342900"/>
                <a:gd name="T6" fmla="*/ 37667 w 342900"/>
                <a:gd name="T7" fmla="*/ 18382 h 342900"/>
                <a:gd name="T8" fmla="*/ 60934 w 342900"/>
                <a:gd name="T9" fmla="*/ 18382 h 342900"/>
                <a:gd name="T10" fmla="*/ 42112 w 342900"/>
                <a:gd name="T11" fmla="*/ 29756 h 342900"/>
                <a:gd name="T12" fmla="*/ 49288 w 342900"/>
                <a:gd name="T13" fmla="*/ 48138 h 342900"/>
                <a:gd name="T14" fmla="*/ 30467 w 342900"/>
                <a:gd name="T15" fmla="*/ 36782 h 342900"/>
                <a:gd name="T16" fmla="*/ 11645 w 342900"/>
                <a:gd name="T17" fmla="*/ 48138 h 342900"/>
                <a:gd name="T18" fmla="*/ 18822 w 342900"/>
                <a:gd name="T19" fmla="*/ 29756 h 342900"/>
                <a:gd name="T20" fmla="*/ 0 w 342900"/>
                <a:gd name="T21" fmla="*/ 18382 h 3429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42900"/>
                <a:gd name="T34" fmla="*/ 0 h 342900"/>
                <a:gd name="T35" fmla="*/ 342900 w 342900"/>
                <a:gd name="T36" fmla="*/ 342900 h 3429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42900" h="342900">
                  <a:moveTo>
                    <a:pt x="0" y="130942"/>
                  </a:moveTo>
                  <a:lnTo>
                    <a:pt x="130932" y="130942"/>
                  </a:lnTo>
                  <a:lnTo>
                    <a:pt x="171449" y="0"/>
                  </a:lnTo>
                  <a:lnTo>
                    <a:pt x="211967" y="130942"/>
                  </a:lnTo>
                  <a:lnTo>
                    <a:pt x="342899" y="130942"/>
                  </a:lnTo>
                  <a:lnTo>
                    <a:pt x="236981" y="211957"/>
                  </a:lnTo>
                  <a:lnTo>
                    <a:pt x="277367" y="342899"/>
                  </a:lnTo>
                  <a:lnTo>
                    <a:pt x="171449" y="262006"/>
                  </a:lnTo>
                  <a:lnTo>
                    <a:pt x="65531" y="342899"/>
                  </a:lnTo>
                  <a:lnTo>
                    <a:pt x="105917" y="211957"/>
                  </a:lnTo>
                  <a:lnTo>
                    <a:pt x="0" y="130942"/>
                  </a:lnTo>
                  <a:close/>
                </a:path>
              </a:pathLst>
            </a:custGeom>
            <a:solidFill>
              <a:srgbClr val="FF0000"/>
            </a:solidFill>
            <a:ln w="9143">
              <a:solidFill>
                <a:srgbClr val="FF0000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sz="1800">
                <a:solidFill>
                  <a:prstClr val="black"/>
                </a:solidFill>
                <a:latin typeface="Arial"/>
                <a:cs typeface="+mn-cs"/>
              </a:endParaRPr>
            </a:p>
          </p:txBody>
        </p:sp>
        <p:sp>
          <p:nvSpPr>
            <p:cNvPr id="23683" name="object 53">
              <a:extLst>
                <a:ext uri="{FF2B5EF4-FFF2-40B4-BE49-F238E27FC236}">
                  <a16:creationId xmlns:a16="http://schemas.microsoft.com/office/drawing/2014/main" id="{6AA9EC38-167C-4FAD-84CC-4372823726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07425" y="5445518"/>
              <a:ext cx="144548" cy="128478"/>
            </a:xfrm>
            <a:custGeom>
              <a:avLst/>
              <a:gdLst>
                <a:gd name="T0" fmla="*/ 0 w 342900"/>
                <a:gd name="T1" fmla="*/ 18382 h 342900"/>
                <a:gd name="T2" fmla="*/ 23267 w 342900"/>
                <a:gd name="T3" fmla="*/ 18382 h 342900"/>
                <a:gd name="T4" fmla="*/ 30467 w 342900"/>
                <a:gd name="T5" fmla="*/ 0 h 342900"/>
                <a:gd name="T6" fmla="*/ 37667 w 342900"/>
                <a:gd name="T7" fmla="*/ 18382 h 342900"/>
                <a:gd name="T8" fmla="*/ 60934 w 342900"/>
                <a:gd name="T9" fmla="*/ 18382 h 342900"/>
                <a:gd name="T10" fmla="*/ 42112 w 342900"/>
                <a:gd name="T11" fmla="*/ 29756 h 342900"/>
                <a:gd name="T12" fmla="*/ 49288 w 342900"/>
                <a:gd name="T13" fmla="*/ 48138 h 342900"/>
                <a:gd name="T14" fmla="*/ 30467 w 342900"/>
                <a:gd name="T15" fmla="*/ 36782 h 342900"/>
                <a:gd name="T16" fmla="*/ 11645 w 342900"/>
                <a:gd name="T17" fmla="*/ 48138 h 342900"/>
                <a:gd name="T18" fmla="*/ 18822 w 342900"/>
                <a:gd name="T19" fmla="*/ 29756 h 342900"/>
                <a:gd name="T20" fmla="*/ 0 w 342900"/>
                <a:gd name="T21" fmla="*/ 18382 h 3429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42900"/>
                <a:gd name="T34" fmla="*/ 0 h 342900"/>
                <a:gd name="T35" fmla="*/ 342900 w 342900"/>
                <a:gd name="T36" fmla="*/ 342900 h 3429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42900" h="342900">
                  <a:moveTo>
                    <a:pt x="0" y="130942"/>
                  </a:moveTo>
                  <a:lnTo>
                    <a:pt x="130932" y="130942"/>
                  </a:lnTo>
                  <a:lnTo>
                    <a:pt x="171449" y="0"/>
                  </a:lnTo>
                  <a:lnTo>
                    <a:pt x="211967" y="130942"/>
                  </a:lnTo>
                  <a:lnTo>
                    <a:pt x="342899" y="130942"/>
                  </a:lnTo>
                  <a:lnTo>
                    <a:pt x="236981" y="211957"/>
                  </a:lnTo>
                  <a:lnTo>
                    <a:pt x="277367" y="342899"/>
                  </a:lnTo>
                  <a:lnTo>
                    <a:pt x="171449" y="262006"/>
                  </a:lnTo>
                  <a:lnTo>
                    <a:pt x="65531" y="342899"/>
                  </a:lnTo>
                  <a:lnTo>
                    <a:pt x="105917" y="211957"/>
                  </a:lnTo>
                  <a:lnTo>
                    <a:pt x="0" y="130942"/>
                  </a:lnTo>
                  <a:close/>
                </a:path>
              </a:pathLst>
            </a:custGeom>
            <a:solidFill>
              <a:srgbClr val="FF0000"/>
            </a:solidFill>
            <a:ln w="9143">
              <a:solidFill>
                <a:srgbClr val="FF0000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sz="1800">
                <a:solidFill>
                  <a:prstClr val="black"/>
                </a:solidFill>
                <a:latin typeface="Arial"/>
                <a:cs typeface="+mn-cs"/>
              </a:endParaRPr>
            </a:p>
          </p:txBody>
        </p:sp>
        <p:sp>
          <p:nvSpPr>
            <p:cNvPr id="23684" name="object 53">
              <a:extLst>
                <a:ext uri="{FF2B5EF4-FFF2-40B4-BE49-F238E27FC236}">
                  <a16:creationId xmlns:a16="http://schemas.microsoft.com/office/drawing/2014/main" id="{AFF99537-0A7D-4A23-B3A1-CCA3C9B845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71104" y="5445518"/>
              <a:ext cx="144548" cy="128478"/>
            </a:xfrm>
            <a:custGeom>
              <a:avLst/>
              <a:gdLst>
                <a:gd name="T0" fmla="*/ 0 w 342900"/>
                <a:gd name="T1" fmla="*/ 18382 h 342900"/>
                <a:gd name="T2" fmla="*/ 23267 w 342900"/>
                <a:gd name="T3" fmla="*/ 18382 h 342900"/>
                <a:gd name="T4" fmla="*/ 30467 w 342900"/>
                <a:gd name="T5" fmla="*/ 0 h 342900"/>
                <a:gd name="T6" fmla="*/ 37667 w 342900"/>
                <a:gd name="T7" fmla="*/ 18382 h 342900"/>
                <a:gd name="T8" fmla="*/ 60934 w 342900"/>
                <a:gd name="T9" fmla="*/ 18382 h 342900"/>
                <a:gd name="T10" fmla="*/ 42112 w 342900"/>
                <a:gd name="T11" fmla="*/ 29756 h 342900"/>
                <a:gd name="T12" fmla="*/ 49288 w 342900"/>
                <a:gd name="T13" fmla="*/ 48138 h 342900"/>
                <a:gd name="T14" fmla="*/ 30467 w 342900"/>
                <a:gd name="T15" fmla="*/ 36782 h 342900"/>
                <a:gd name="T16" fmla="*/ 11645 w 342900"/>
                <a:gd name="T17" fmla="*/ 48138 h 342900"/>
                <a:gd name="T18" fmla="*/ 18822 w 342900"/>
                <a:gd name="T19" fmla="*/ 29756 h 342900"/>
                <a:gd name="T20" fmla="*/ 0 w 342900"/>
                <a:gd name="T21" fmla="*/ 18382 h 3429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42900"/>
                <a:gd name="T34" fmla="*/ 0 h 342900"/>
                <a:gd name="T35" fmla="*/ 342900 w 342900"/>
                <a:gd name="T36" fmla="*/ 342900 h 3429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42900" h="342900">
                  <a:moveTo>
                    <a:pt x="0" y="130942"/>
                  </a:moveTo>
                  <a:lnTo>
                    <a:pt x="130932" y="130942"/>
                  </a:lnTo>
                  <a:lnTo>
                    <a:pt x="171449" y="0"/>
                  </a:lnTo>
                  <a:lnTo>
                    <a:pt x="211967" y="130942"/>
                  </a:lnTo>
                  <a:lnTo>
                    <a:pt x="342899" y="130942"/>
                  </a:lnTo>
                  <a:lnTo>
                    <a:pt x="236981" y="211957"/>
                  </a:lnTo>
                  <a:lnTo>
                    <a:pt x="277367" y="342899"/>
                  </a:lnTo>
                  <a:lnTo>
                    <a:pt x="171449" y="262006"/>
                  </a:lnTo>
                  <a:lnTo>
                    <a:pt x="65531" y="342899"/>
                  </a:lnTo>
                  <a:lnTo>
                    <a:pt x="105917" y="211957"/>
                  </a:lnTo>
                  <a:lnTo>
                    <a:pt x="0" y="130942"/>
                  </a:lnTo>
                  <a:close/>
                </a:path>
              </a:pathLst>
            </a:custGeom>
            <a:solidFill>
              <a:srgbClr val="FF0000"/>
            </a:solidFill>
            <a:ln w="9143">
              <a:solidFill>
                <a:srgbClr val="FF0000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sz="1800">
                <a:solidFill>
                  <a:prstClr val="black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3660" name="object 41">
            <a:extLst>
              <a:ext uri="{FF2B5EF4-FFF2-40B4-BE49-F238E27FC236}">
                <a16:creationId xmlns:a16="http://schemas.microsoft.com/office/drawing/2014/main" id="{C79ED595-FE92-4F99-8EDE-4BBD37B96AC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37088" y="4841875"/>
            <a:ext cx="12446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>
            <a:spAutoFit/>
          </a:bodyPr>
          <a:lstStyle>
            <a:lvl1pPr indent="127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altLang="en-US" sz="1400" b="1" dirty="0">
                <a:solidFill>
                  <a:srgbClr val="595959"/>
                </a:solidFill>
                <a:latin typeface="Calibri" panose="020F0502020204030204" pitchFamily="34" charset="0"/>
              </a:rPr>
              <a:t>Highly</a:t>
            </a:r>
            <a:r>
              <a:rPr lang="en-US" altLang="en-US" sz="1400" b="1" dirty="0">
                <a:solidFill>
                  <a:srgbClr val="595959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400" b="1" dirty="0">
                <a:solidFill>
                  <a:srgbClr val="595959"/>
                </a:solidFill>
                <a:latin typeface="Calibri" panose="020F0502020204030204" pitchFamily="34" charset="0"/>
              </a:rPr>
              <a:t>qualified</a:t>
            </a:r>
            <a:r>
              <a:rPr lang="en-US" altLang="en-US" sz="1400" b="1" dirty="0">
                <a:solidFill>
                  <a:srgbClr val="595959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400" b="1" dirty="0">
                <a:solidFill>
                  <a:srgbClr val="595959"/>
                </a:solidFill>
                <a:latin typeface="Calibri" panose="020F0502020204030204" pitchFamily="34" charset="0"/>
              </a:rPr>
              <a:t>to</a:t>
            </a:r>
            <a:r>
              <a:rPr lang="en-US" altLang="en-US" sz="1400" b="1" dirty="0">
                <a:solidFill>
                  <a:srgbClr val="595959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400" b="1" dirty="0">
                <a:solidFill>
                  <a:srgbClr val="595959"/>
                </a:solidFill>
                <a:latin typeface="Calibri" panose="020F0502020204030204" pitchFamily="34" charset="0"/>
              </a:rPr>
              <a:t>help</a:t>
            </a:r>
            <a:r>
              <a:rPr lang="en-GB" altLang="en-US" sz="1400" b="1" dirty="0">
                <a:solidFill>
                  <a:srgbClr val="595959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400" b="1" dirty="0">
                <a:solidFill>
                  <a:srgbClr val="595959"/>
                </a:solidFill>
                <a:latin typeface="Calibri" panose="020F0502020204030204" pitchFamily="34" charset="0"/>
              </a:rPr>
              <a:t>investors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8A28B48-1841-45BB-BFBC-EADE77B37C6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779712" y="2589213"/>
          <a:ext cx="1482725" cy="812800"/>
        </p:xfrm>
        <a:graphic>
          <a:graphicData uri="http://schemas.openxmlformats.org/drawingml/2006/table">
            <a:tbl>
              <a:tblPr/>
              <a:tblGrid>
                <a:gridCol w="11367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9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32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GB" sz="1000" b="1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Domestic</a:t>
                      </a:r>
                      <a:r>
                        <a:rPr lang="en-GB" sz="10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US" sz="1000" b="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International 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Railway</a:t>
                      </a:r>
                      <a:r>
                        <a:rPr lang="en-GB" sz="1000" b="1" kern="1200" baseline="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 Station</a:t>
                      </a:r>
                      <a:endParaRPr lang="en-GB" sz="1000" b="1" kern="1200" dirty="0">
                        <a:solidFill>
                          <a:srgbClr val="292929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32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Sea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7" name="TextBox 136">
            <a:extLst>
              <a:ext uri="{FF2B5EF4-FFF2-40B4-BE49-F238E27FC236}">
                <a16:creationId xmlns:a16="http://schemas.microsoft.com/office/drawing/2014/main" id="{2F4C4876-7073-4C13-A183-127A8909BDC0}"/>
              </a:ext>
            </a:extLst>
          </p:cNvPr>
          <p:cNvSpPr txBox="1"/>
          <p:nvPr/>
        </p:nvSpPr>
        <p:spPr>
          <a:xfrm>
            <a:off x="538163" y="5268913"/>
            <a:ext cx="373856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b="1" dirty="0">
                <a:solidFill>
                  <a:prstClr val="white"/>
                </a:solidFill>
                <a:latin typeface="Calibri" panose="020F0502020204030204" pitchFamily="34" charset="0"/>
                <a:cs typeface="Arial" charset="0"/>
              </a:rPr>
              <a:t>For further details</a:t>
            </a:r>
          </a:p>
        </p:txBody>
      </p:sp>
      <p:sp>
        <p:nvSpPr>
          <p:cNvPr id="23676" name="TextBox 156">
            <a:extLst>
              <a:ext uri="{FF2B5EF4-FFF2-40B4-BE49-F238E27FC236}">
                <a16:creationId xmlns:a16="http://schemas.microsoft.com/office/drawing/2014/main" id="{95D66AAF-6B48-4B9E-9E5B-F1BB063A89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6300" y="6342063"/>
            <a:ext cx="37306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altLang="en-US" sz="800" dirty="0">
                <a:solidFill>
                  <a:prstClr val="black"/>
                </a:solidFill>
                <a:latin typeface="Calibri" panose="020F0502020204030204" pitchFamily="34" charset="0"/>
              </a:rPr>
              <a:t>Abbreviations: </a:t>
            </a:r>
            <a:r>
              <a:rPr lang="en-GB" altLang="en-US" sz="800" b="1" dirty="0">
                <a:solidFill>
                  <a:prstClr val="black"/>
                </a:solidFill>
                <a:latin typeface="Calibri" panose="020F0502020204030204" pitchFamily="34" charset="0"/>
              </a:rPr>
              <a:t>	NICPS</a:t>
            </a:r>
            <a:r>
              <a:rPr lang="en-GB" altLang="en-US" sz="800" dirty="0">
                <a:solidFill>
                  <a:prstClr val="black"/>
                </a:solidFill>
                <a:latin typeface="Calibri" panose="020F0502020204030204" pitchFamily="34" charset="0"/>
              </a:rPr>
              <a:t>: Nigerian Investment Certification Programme for States                 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altLang="en-US" sz="800" dirty="0">
                <a:solidFill>
                  <a:prstClr val="black"/>
                </a:solidFill>
                <a:latin typeface="Calibri" panose="020F0502020204030204" pitchFamily="34" charset="0"/>
              </a:rPr>
              <a:t>	</a:t>
            </a:r>
            <a:r>
              <a:rPr lang="en-GB" altLang="en-US" sz="800" b="1" dirty="0">
                <a:solidFill>
                  <a:prstClr val="black"/>
                </a:solidFill>
                <a:latin typeface="Calibri" panose="020F0502020204030204" pitchFamily="34" charset="0"/>
              </a:rPr>
              <a:t>IGR</a:t>
            </a:r>
            <a:r>
              <a:rPr lang="en-GB" altLang="en-US" sz="800" dirty="0">
                <a:solidFill>
                  <a:prstClr val="black"/>
                </a:solidFill>
                <a:latin typeface="Calibri" panose="020F0502020204030204" pitchFamily="34" charset="0"/>
              </a:rPr>
              <a:t>:     Internal Generated Revenue</a:t>
            </a:r>
          </a:p>
        </p:txBody>
      </p:sp>
      <p:sp>
        <p:nvSpPr>
          <p:cNvPr id="23677" name="TextBox 150">
            <a:extLst>
              <a:ext uri="{FF2B5EF4-FFF2-40B4-BE49-F238E27FC236}">
                <a16:creationId xmlns:a16="http://schemas.microsoft.com/office/drawing/2014/main" id="{0C3C74AA-958A-427A-94BC-BA3C6F707F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8638" y="5489575"/>
            <a:ext cx="2465387" cy="722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Most of the inhabitants of Ogun state are members of the </a:t>
            </a:r>
            <a:r>
              <a:rPr lang="en-US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Egba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 and </a:t>
            </a:r>
            <a:r>
              <a:rPr lang="en-US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Egbado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 subgroups of the Yoruba people</a:t>
            </a:r>
            <a:endParaRPr lang="en-MY" altLang="en-US" sz="13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678" name="TextBox 152">
            <a:extLst>
              <a:ext uri="{FF2B5EF4-FFF2-40B4-BE49-F238E27FC236}">
                <a16:creationId xmlns:a16="http://schemas.microsoft.com/office/drawing/2014/main" id="{BFAF6896-F732-45FC-AC47-950DF99D9E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4575" y="1257300"/>
            <a:ext cx="3446463" cy="1292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15888" indent="-11588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MY" altLang="en-US" sz="1300" dirty="0">
                <a:solidFill>
                  <a:prstClr val="black"/>
                </a:solidFill>
                <a:latin typeface="Calibri" panose="020F0502020204030204" pitchFamily="34" charset="0"/>
              </a:rPr>
              <a:t>IPP-powered industrial zones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altLang="en-US" sz="1300" dirty="0">
                <a:solidFill>
                  <a:prstClr val="black"/>
                </a:solidFill>
                <a:latin typeface="Calibri" panose="020F0502020204030204" pitchFamily="34" charset="0"/>
              </a:rPr>
              <a:t>Gateway to rest of Nigeria and West Africa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MY" altLang="en-US" sz="1300" dirty="0">
                <a:solidFill>
                  <a:prstClr val="black"/>
                </a:solidFill>
                <a:latin typeface="Calibri" panose="020F0502020204030204" pitchFamily="34" charset="0"/>
              </a:rPr>
              <a:t>Proximity to commercial capital of Nigeria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altLang="en-US" sz="1300" dirty="0">
                <a:solidFill>
                  <a:prstClr val="black"/>
                </a:solidFill>
                <a:latin typeface="Calibri" panose="020F0502020204030204" pitchFamily="34" charset="0"/>
              </a:rPr>
              <a:t>Home to 30+ tertiary institutions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altLang="en-US" sz="1300" dirty="0">
                <a:solidFill>
                  <a:prstClr val="black"/>
                </a:solidFill>
                <a:latin typeface="Calibri" panose="020F0502020204030204" pitchFamily="34" charset="0"/>
              </a:rPr>
              <a:t>Largest quantity of limestone in Nigeria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altLang="en-US" sz="1300" dirty="0">
                <a:solidFill>
                  <a:prstClr val="black"/>
                </a:solidFill>
                <a:latin typeface="Calibri" panose="020F0502020204030204" pitchFamily="34" charset="0"/>
              </a:rPr>
              <a:t>Tourist attraction (</a:t>
            </a:r>
            <a:r>
              <a:rPr lang="en-GB" altLang="en-US" sz="1300" dirty="0" err="1">
                <a:solidFill>
                  <a:prstClr val="black"/>
                </a:solidFill>
                <a:latin typeface="Calibri" panose="020F0502020204030204" pitchFamily="34" charset="0"/>
              </a:rPr>
              <a:t>Olumo</a:t>
            </a:r>
            <a:r>
              <a:rPr lang="en-GB" altLang="en-US" sz="1300" dirty="0">
                <a:solidFill>
                  <a:prstClr val="black"/>
                </a:solidFill>
                <a:latin typeface="Calibri" panose="020F0502020204030204" pitchFamily="34" charset="0"/>
              </a:rPr>
              <a:t> Rock)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D4E23C6-26A0-4545-B8F7-7007C8EEBFE4}"/>
              </a:ext>
            </a:extLst>
          </p:cNvPr>
          <p:cNvSpPr txBox="1"/>
          <p:nvPr/>
        </p:nvSpPr>
        <p:spPr>
          <a:xfrm>
            <a:off x="4338638" y="5265738"/>
            <a:ext cx="247491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b="1">
                <a:solidFill>
                  <a:prstClr val="white"/>
                </a:solidFill>
                <a:latin typeface="Calibri" panose="020F0502020204030204" pitchFamily="34" charset="0"/>
                <a:cs typeface="Arial" charset="0"/>
              </a:rPr>
              <a:t>Did you know?</a:t>
            </a:r>
            <a:endParaRPr lang="en-GB" sz="1600" b="1" dirty="0">
              <a:solidFill>
                <a:prstClr val="white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132" name="Text Placeholder 42">
            <a:extLst>
              <a:ext uri="{FF2B5EF4-FFF2-40B4-BE49-F238E27FC236}">
                <a16:creationId xmlns:a16="http://schemas.microsoft.com/office/drawing/2014/main" id="{D510D0DC-1548-4249-8DB1-9A1055126D07}"/>
              </a:ext>
            </a:extLst>
          </p:cNvPr>
          <p:cNvSpPr txBox="1">
            <a:spLocks/>
          </p:cNvSpPr>
          <p:nvPr/>
        </p:nvSpPr>
        <p:spPr>
          <a:xfrm>
            <a:off x="522288" y="5511800"/>
            <a:ext cx="3733800" cy="701675"/>
          </a:xfrm>
          <a:prstGeom prst="rect">
            <a:avLst/>
          </a:prstGeom>
        </p:spPr>
        <p:txBody>
          <a:bodyPr lIns="36576" tIns="0" rIns="36576" bIns="0"/>
          <a:lstStyle>
            <a:lvl1pPr marL="0" indent="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/>
              <a:buNone/>
              <a:defRPr sz="800" b="1" baseline="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6575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93763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 charset="0"/>
              <a:buChar char="►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50950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619250" indent="-188913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0764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25336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29908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34480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prstClr val="black"/>
                </a:solidFill>
              </a:rPr>
              <a:t>NIGERIAN INVESTMENT PROMOTION COMMISSION</a:t>
            </a:r>
            <a:endParaRPr lang="en-US" sz="1000" b="0" kern="0" dirty="0">
              <a:solidFill>
                <a:prstClr val="black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>
                <a:solidFill>
                  <a:prstClr val="black"/>
                </a:solidFill>
                <a:hlinkClick r:id="rId14"/>
              </a:rPr>
              <a:t>statesco@nipc.gov.ng</a:t>
            </a:r>
            <a:endParaRPr lang="en-US" sz="1000" b="0" kern="0" dirty="0">
              <a:solidFill>
                <a:prstClr val="black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endParaRPr lang="en-US" sz="500" b="0" kern="0" dirty="0">
              <a:solidFill>
                <a:prstClr val="black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prstClr val="black"/>
                </a:solidFill>
              </a:rPr>
              <a:t>OGUN STATE </a:t>
            </a:r>
            <a:r>
              <a:rPr lang="en-GB" sz="1000" kern="0" dirty="0">
                <a:solidFill>
                  <a:prstClr val="black"/>
                </a:solidFill>
              </a:rPr>
              <a:t>ONE-STOP SHOP INVESTMENT CENTRE (OSIC) </a:t>
            </a: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 err="1">
                <a:solidFill>
                  <a:prstClr val="black"/>
                </a:solidFill>
                <a:hlinkClick r:id="rId15"/>
              </a:rPr>
              <a:t>babi.subair@ogunstate.gov.ng</a:t>
            </a:r>
            <a:r>
              <a:rPr lang="en-US" sz="1000" b="0" kern="0" dirty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127" name="Oval 126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238751" y="3833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4" name="Oval 133">
            <a:extLst>
              <a:ext uri="{FF2B5EF4-FFF2-40B4-BE49-F238E27FC236}">
                <a16:creationId xmlns:a16="http://schemas.microsoft.com/office/drawing/2014/main" id="{FF015425-7997-4612-9D0E-1F6C433DFCC7}"/>
              </a:ext>
            </a:extLst>
          </p:cNvPr>
          <p:cNvSpPr/>
          <p:nvPr/>
        </p:nvSpPr>
        <p:spPr>
          <a:xfrm>
            <a:off x="6080877" y="3040856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5" name="Oval 134">
            <a:extLst>
              <a:ext uri="{FF2B5EF4-FFF2-40B4-BE49-F238E27FC236}">
                <a16:creationId xmlns:a16="http://schemas.microsoft.com/office/drawing/2014/main" id="{4C0B7457-CABD-4AC8-8A1A-1FD468581E4D}"/>
              </a:ext>
            </a:extLst>
          </p:cNvPr>
          <p:cNvSpPr/>
          <p:nvPr/>
        </p:nvSpPr>
        <p:spPr>
          <a:xfrm>
            <a:off x="6784796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6" name="Oval 135">
            <a:extLst>
              <a:ext uri="{FF2B5EF4-FFF2-40B4-BE49-F238E27FC236}">
                <a16:creationId xmlns:a16="http://schemas.microsoft.com/office/drawing/2014/main" id="{2D626A89-F50C-45A3-9271-5D3F2EEA9C83}"/>
              </a:ext>
            </a:extLst>
          </p:cNvPr>
          <p:cNvSpPr/>
          <p:nvPr/>
        </p:nvSpPr>
        <p:spPr>
          <a:xfrm>
            <a:off x="7518399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9" name="Oval 138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240713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1" name="Oval 140">
            <a:extLst>
              <a:ext uri="{FF2B5EF4-FFF2-40B4-BE49-F238E27FC236}">
                <a16:creationId xmlns:a16="http://schemas.microsoft.com/office/drawing/2014/main" id="{A62E850A-D87D-46D0-9257-0071E677FCF0}"/>
              </a:ext>
            </a:extLst>
          </p:cNvPr>
          <p:cNvSpPr/>
          <p:nvPr/>
        </p:nvSpPr>
        <p:spPr>
          <a:xfrm>
            <a:off x="8947150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2" name="Oval 141">
            <a:extLst>
              <a:ext uri="{FF2B5EF4-FFF2-40B4-BE49-F238E27FC236}">
                <a16:creationId xmlns:a16="http://schemas.microsoft.com/office/drawing/2014/main" id="{4D1FAA17-3EFF-404B-B4C4-B468BCE2E9A5}"/>
              </a:ext>
            </a:extLst>
          </p:cNvPr>
          <p:cNvSpPr/>
          <p:nvPr/>
        </p:nvSpPr>
        <p:spPr>
          <a:xfrm>
            <a:off x="6078265" y="3836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9" name="Oval 148">
            <a:extLst>
              <a:ext uri="{FF2B5EF4-FFF2-40B4-BE49-F238E27FC236}">
                <a16:creationId xmlns:a16="http://schemas.microsoft.com/office/drawing/2014/main" id="{E861211D-5D09-4577-8A09-FD96D972A5D4}"/>
              </a:ext>
            </a:extLst>
          </p:cNvPr>
          <p:cNvSpPr/>
          <p:nvPr/>
        </p:nvSpPr>
        <p:spPr>
          <a:xfrm>
            <a:off x="6780509" y="3833831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0" name="Oval 149">
            <a:extLst>
              <a:ext uri="{FF2B5EF4-FFF2-40B4-BE49-F238E27FC236}">
                <a16:creationId xmlns:a16="http://schemas.microsoft.com/office/drawing/2014/main" id="{3CBEFD1C-6360-47CD-AEDD-DFB49FC0E0C7}"/>
              </a:ext>
            </a:extLst>
          </p:cNvPr>
          <p:cNvSpPr/>
          <p:nvPr/>
        </p:nvSpPr>
        <p:spPr>
          <a:xfrm>
            <a:off x="7518603" y="3830834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1" name="Oval 150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953126" y="3843338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1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40" r="10606" b="15728"/>
          <a:stretch/>
        </p:blipFill>
        <p:spPr>
          <a:xfrm>
            <a:off x="6176303" y="3894931"/>
            <a:ext cx="423221" cy="45402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1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39" t="3839" r="13127" b="19052"/>
          <a:stretch/>
        </p:blipFill>
        <p:spPr>
          <a:xfrm>
            <a:off x="7614683" y="3910012"/>
            <a:ext cx="408354" cy="42703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1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991" t="14297" r="21498" b="29478"/>
          <a:stretch/>
        </p:blipFill>
        <p:spPr>
          <a:xfrm>
            <a:off x="8309425" y="3923378"/>
            <a:ext cx="450881" cy="440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99399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Pentagon 19">
            <a:extLst>
              <a:ext uri="{FF2B5EF4-FFF2-40B4-BE49-F238E27FC236}">
                <a16:creationId xmlns:a16="http://schemas.microsoft.com/office/drawing/2014/main" id="{CAD93C59-72A9-4F6D-A654-02B9F8A5EFF9}"/>
              </a:ext>
            </a:extLst>
          </p:cNvPr>
          <p:cNvSpPr>
            <a:spLocks/>
          </p:cNvSpPr>
          <p:nvPr/>
        </p:nvSpPr>
        <p:spPr bwMode="auto">
          <a:xfrm>
            <a:off x="756602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7 of 37</a:t>
            </a:r>
          </a:p>
        </p:txBody>
      </p:sp>
      <p:sp>
        <p:nvSpPr>
          <p:cNvPr id="376" name="Pentagon 19">
            <a:extLst>
              <a:ext uri="{FF2B5EF4-FFF2-40B4-BE49-F238E27FC236}">
                <a16:creationId xmlns:a16="http://schemas.microsoft.com/office/drawing/2014/main" id="{1BDC5465-6022-4404-B4D8-ED55CF961B8A}"/>
              </a:ext>
            </a:extLst>
          </p:cNvPr>
          <p:cNvSpPr>
            <a:spLocks/>
          </p:cNvSpPr>
          <p:nvPr/>
        </p:nvSpPr>
        <p:spPr bwMode="auto">
          <a:xfrm>
            <a:off x="824865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8 of 3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57F1EBC-D01A-4083-B657-63AFB1490839}"/>
              </a:ext>
            </a:extLst>
          </p:cNvPr>
          <p:cNvSpPr txBox="1"/>
          <p:nvPr/>
        </p:nvSpPr>
        <p:spPr>
          <a:xfrm>
            <a:off x="6122988" y="2749550"/>
            <a:ext cx="3475037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Investment Opportunit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D251BD-538A-4F4F-847E-620EEDA298A0}"/>
              </a:ext>
            </a:extLst>
          </p:cNvPr>
          <p:cNvSpPr txBox="1"/>
          <p:nvPr/>
        </p:nvSpPr>
        <p:spPr>
          <a:xfrm>
            <a:off x="6881813" y="4632911"/>
            <a:ext cx="2697162" cy="33855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Doing Business Ranking(2018)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1B8F13C-F732-4DA1-9250-DB02936E7688}"/>
              </a:ext>
            </a:extLst>
          </p:cNvPr>
          <p:cNvSpPr/>
          <p:nvPr/>
        </p:nvSpPr>
        <p:spPr>
          <a:xfrm>
            <a:off x="756602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egistering Propert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6BA1818-32ED-44D1-975C-958200BDD124}"/>
              </a:ext>
            </a:extLst>
          </p:cNvPr>
          <p:cNvSpPr/>
          <p:nvPr/>
        </p:nvSpPr>
        <p:spPr>
          <a:xfrm>
            <a:off x="8248650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ealing with Construction Permits</a:t>
            </a:r>
          </a:p>
        </p:txBody>
      </p:sp>
      <p:sp>
        <p:nvSpPr>
          <p:cNvPr id="23560" name="TextBox 174">
            <a:extLst>
              <a:ext uri="{FF2B5EF4-FFF2-40B4-BE49-F238E27FC236}">
                <a16:creationId xmlns:a16="http://schemas.microsoft.com/office/drawing/2014/main" id="{1573FD4E-62B9-45E8-8F28-CED990ED2D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0B63A6C-2A5E-4CA3-BC66-4CBC6008BC9A}"/>
              </a:ext>
            </a:extLst>
          </p:cNvPr>
          <p:cNvSpPr/>
          <p:nvPr/>
        </p:nvSpPr>
        <p:spPr>
          <a:xfrm>
            <a:off x="893127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nforcing Contracts</a:t>
            </a:r>
          </a:p>
        </p:txBody>
      </p:sp>
      <p:pic>
        <p:nvPicPr>
          <p:cNvPr id="23562" name="Picture 4">
            <a:extLst>
              <a:ext uri="{FF2B5EF4-FFF2-40B4-BE49-F238E27FC236}">
                <a16:creationId xmlns:a16="http://schemas.microsoft.com/office/drawing/2014/main" id="{7C8EEAB2-0239-4BB5-94B3-23E319AF1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513" y="5249863"/>
            <a:ext cx="439737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6" name="Pentagon 19">
            <a:extLst>
              <a:ext uri="{FF2B5EF4-FFF2-40B4-BE49-F238E27FC236}">
                <a16:creationId xmlns:a16="http://schemas.microsoft.com/office/drawing/2014/main" id="{5F8E9670-D71A-4765-B6B5-D711BC9AD6E1}"/>
              </a:ext>
            </a:extLst>
          </p:cNvPr>
          <p:cNvSpPr>
            <a:spLocks/>
          </p:cNvSpPr>
          <p:nvPr/>
        </p:nvSpPr>
        <p:spPr bwMode="auto">
          <a:xfrm>
            <a:off x="893127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dirty="0">
                <a:solidFill>
                  <a:prstClr val="white"/>
                </a:solidFill>
                <a:latin typeface="Calibri" panose="020F0502020204030204" pitchFamily="34" charset="0"/>
              </a:rPr>
              <a:t>9</a:t>
            </a:r>
            <a:r>
              <a:rPr kumimoji="0" lang="en-GB" sz="10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f 37</a:t>
            </a:r>
          </a:p>
        </p:txBody>
      </p:sp>
      <p:sp>
        <p:nvSpPr>
          <p:cNvPr id="23564" name="Title 3">
            <a:extLst>
              <a:ext uri="{FF2B5EF4-FFF2-40B4-BE49-F238E27FC236}">
                <a16:creationId xmlns:a16="http://schemas.microsoft.com/office/drawing/2014/main" id="{C62A749B-CFC7-4224-A789-D20A772AC33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en-GB" alt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ndo State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6882DF2C-9120-4A66-8487-575D9494F4D6}"/>
              </a:ext>
            </a:extLst>
          </p:cNvPr>
          <p:cNvSpPr txBox="1"/>
          <p:nvPr/>
        </p:nvSpPr>
        <p:spPr>
          <a:xfrm rot="16200000">
            <a:off x="-2290084" y="3478372"/>
            <a:ext cx="5303837" cy="2743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Sunshine State</a:t>
            </a:r>
          </a:p>
        </p:txBody>
      </p:sp>
      <p:grpSp>
        <p:nvGrpSpPr>
          <p:cNvPr id="23566" name="Group 9">
            <a:extLst>
              <a:ext uri="{FF2B5EF4-FFF2-40B4-BE49-F238E27FC236}">
                <a16:creationId xmlns:a16="http://schemas.microsoft.com/office/drawing/2014/main" id="{5B6131BD-3CE3-4FC4-B13A-FA9B797C1EF5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41338" y="963613"/>
            <a:ext cx="2897187" cy="2319337"/>
            <a:chOff x="770228" y="1459989"/>
            <a:chExt cx="4081047" cy="3267527"/>
          </a:xfrm>
        </p:grpSpPr>
        <p:sp>
          <p:nvSpPr>
            <p:cNvPr id="299" name="Freeform 4">
              <a:extLst>
                <a:ext uri="{FF2B5EF4-FFF2-40B4-BE49-F238E27FC236}">
                  <a16:creationId xmlns:a16="http://schemas.microsoft.com/office/drawing/2014/main" id="{B6150C82-CBE5-48B4-B60C-C210BB7B26A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91538" y="4349548"/>
              <a:ext cx="418167" cy="377968"/>
            </a:xfrm>
            <a:custGeom>
              <a:avLst/>
              <a:gdLst>
                <a:gd name="T0" fmla="*/ 12 w 786"/>
                <a:gd name="T1" fmla="*/ 19 h 714"/>
                <a:gd name="T2" fmla="*/ 22 w 786"/>
                <a:gd name="T3" fmla="*/ 18 h 714"/>
                <a:gd name="T4" fmla="*/ 27 w 786"/>
                <a:gd name="T5" fmla="*/ 17 h 714"/>
                <a:gd name="T6" fmla="*/ 30 w 786"/>
                <a:gd name="T7" fmla="*/ 14 h 714"/>
                <a:gd name="T8" fmla="*/ 37 w 786"/>
                <a:gd name="T9" fmla="*/ 16 h 714"/>
                <a:gd name="T10" fmla="*/ 43 w 786"/>
                <a:gd name="T11" fmla="*/ 13 h 714"/>
                <a:gd name="T12" fmla="*/ 48 w 786"/>
                <a:gd name="T13" fmla="*/ 8 h 714"/>
                <a:gd name="T14" fmla="*/ 55 w 786"/>
                <a:gd name="T15" fmla="*/ 4 h 714"/>
                <a:gd name="T16" fmla="*/ 66 w 786"/>
                <a:gd name="T17" fmla="*/ 0 h 714"/>
                <a:gd name="T18" fmla="*/ 63 w 786"/>
                <a:gd name="T19" fmla="*/ 12 h 714"/>
                <a:gd name="T20" fmla="*/ 59 w 786"/>
                <a:gd name="T21" fmla="*/ 19 h 714"/>
                <a:gd name="T22" fmla="*/ 57 w 786"/>
                <a:gd name="T23" fmla="*/ 29 h 714"/>
                <a:gd name="T24" fmla="*/ 59 w 786"/>
                <a:gd name="T25" fmla="*/ 36 h 714"/>
                <a:gd name="T26" fmla="*/ 66 w 786"/>
                <a:gd name="T27" fmla="*/ 35 h 714"/>
                <a:gd name="T28" fmla="*/ 64 w 786"/>
                <a:gd name="T29" fmla="*/ 41 h 714"/>
                <a:gd name="T30" fmla="*/ 64 w 786"/>
                <a:gd name="T31" fmla="*/ 48 h 714"/>
                <a:gd name="T32" fmla="*/ 63 w 786"/>
                <a:gd name="T33" fmla="*/ 56 h 714"/>
                <a:gd name="T34" fmla="*/ 60 w 786"/>
                <a:gd name="T35" fmla="*/ 60 h 714"/>
                <a:gd name="T36" fmla="*/ 57 w 786"/>
                <a:gd name="T37" fmla="*/ 58 h 714"/>
                <a:gd name="T38" fmla="*/ 54 w 786"/>
                <a:gd name="T39" fmla="*/ 54 h 714"/>
                <a:gd name="T40" fmla="*/ 53 w 786"/>
                <a:gd name="T41" fmla="*/ 51 h 714"/>
                <a:gd name="T42" fmla="*/ 51 w 786"/>
                <a:gd name="T43" fmla="*/ 53 h 714"/>
                <a:gd name="T44" fmla="*/ 49 w 786"/>
                <a:gd name="T45" fmla="*/ 54 h 714"/>
                <a:gd name="T46" fmla="*/ 47 w 786"/>
                <a:gd name="T47" fmla="*/ 50 h 714"/>
                <a:gd name="T48" fmla="*/ 48 w 786"/>
                <a:gd name="T49" fmla="*/ 54 h 714"/>
                <a:gd name="T50" fmla="*/ 47 w 786"/>
                <a:gd name="T51" fmla="*/ 54 h 714"/>
                <a:gd name="T52" fmla="*/ 46 w 786"/>
                <a:gd name="T53" fmla="*/ 59 h 714"/>
                <a:gd name="T54" fmla="*/ 47 w 786"/>
                <a:gd name="T55" fmla="*/ 62 h 714"/>
                <a:gd name="T56" fmla="*/ 42 w 786"/>
                <a:gd name="T57" fmla="*/ 62 h 714"/>
                <a:gd name="T58" fmla="*/ 39 w 786"/>
                <a:gd name="T59" fmla="*/ 57 h 714"/>
                <a:gd name="T60" fmla="*/ 40 w 786"/>
                <a:gd name="T61" fmla="*/ 54 h 714"/>
                <a:gd name="T62" fmla="*/ 43 w 786"/>
                <a:gd name="T63" fmla="*/ 55 h 714"/>
                <a:gd name="T64" fmla="*/ 40 w 786"/>
                <a:gd name="T65" fmla="*/ 53 h 714"/>
                <a:gd name="T66" fmla="*/ 38 w 786"/>
                <a:gd name="T67" fmla="*/ 57 h 714"/>
                <a:gd name="T68" fmla="*/ 37 w 786"/>
                <a:gd name="T69" fmla="*/ 57 h 714"/>
                <a:gd name="T70" fmla="*/ 37 w 786"/>
                <a:gd name="T71" fmla="*/ 60 h 714"/>
                <a:gd name="T72" fmla="*/ 33 w 786"/>
                <a:gd name="T73" fmla="*/ 56 h 714"/>
                <a:gd name="T74" fmla="*/ 32 w 786"/>
                <a:gd name="T75" fmla="*/ 58 h 714"/>
                <a:gd name="T76" fmla="*/ 26 w 786"/>
                <a:gd name="T77" fmla="*/ 54 h 714"/>
                <a:gd name="T78" fmla="*/ 26 w 786"/>
                <a:gd name="T79" fmla="*/ 54 h 714"/>
                <a:gd name="T80" fmla="*/ 24 w 786"/>
                <a:gd name="T81" fmla="*/ 51 h 714"/>
                <a:gd name="T82" fmla="*/ 22 w 786"/>
                <a:gd name="T83" fmla="*/ 51 h 714"/>
                <a:gd name="T84" fmla="*/ 20 w 786"/>
                <a:gd name="T85" fmla="*/ 50 h 714"/>
                <a:gd name="T86" fmla="*/ 20 w 786"/>
                <a:gd name="T87" fmla="*/ 48 h 714"/>
                <a:gd name="T88" fmla="*/ 18 w 786"/>
                <a:gd name="T89" fmla="*/ 47 h 714"/>
                <a:gd name="T90" fmla="*/ 15 w 786"/>
                <a:gd name="T91" fmla="*/ 45 h 714"/>
                <a:gd name="T92" fmla="*/ 11 w 786"/>
                <a:gd name="T93" fmla="*/ 39 h 714"/>
                <a:gd name="T94" fmla="*/ 12 w 786"/>
                <a:gd name="T95" fmla="*/ 36 h 714"/>
                <a:gd name="T96" fmla="*/ 7 w 786"/>
                <a:gd name="T97" fmla="*/ 33 h 714"/>
                <a:gd name="T98" fmla="*/ 5 w 786"/>
                <a:gd name="T99" fmla="*/ 28 h 714"/>
                <a:gd name="T100" fmla="*/ 7 w 786"/>
                <a:gd name="T101" fmla="*/ 30 h 714"/>
                <a:gd name="T102" fmla="*/ 4 w 786"/>
                <a:gd name="T103" fmla="*/ 24 h 714"/>
                <a:gd name="T104" fmla="*/ 2 w 786"/>
                <a:gd name="T105" fmla="*/ 20 h 714"/>
                <a:gd name="T106" fmla="*/ 0 w 786"/>
                <a:gd name="T107" fmla="*/ 15 h 714"/>
                <a:gd name="T108" fmla="*/ 4 w 786"/>
                <a:gd name="T109" fmla="*/ 16 h 714"/>
                <a:gd name="T110" fmla="*/ 55 w 786"/>
                <a:gd name="T111" fmla="*/ 60 h 714"/>
                <a:gd name="T112" fmla="*/ 47 w 786"/>
                <a:gd name="T113" fmla="*/ 60 h 714"/>
                <a:gd name="T114" fmla="*/ 51 w 786"/>
                <a:gd name="T115" fmla="*/ 54 h 714"/>
                <a:gd name="T116" fmla="*/ 54 w 786"/>
                <a:gd name="T117" fmla="*/ 56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86"/>
                <a:gd name="T178" fmla="*/ 0 h 714"/>
                <a:gd name="T179" fmla="*/ 786 w 786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86" h="714">
                  <a:moveTo>
                    <a:pt x="54" y="186"/>
                  </a:moveTo>
                  <a:lnTo>
                    <a:pt x="54" y="192"/>
                  </a:lnTo>
                  <a:lnTo>
                    <a:pt x="72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204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20" y="210"/>
                  </a:lnTo>
                  <a:lnTo>
                    <a:pt x="126" y="210"/>
                  </a:lnTo>
                  <a:lnTo>
                    <a:pt x="132" y="210"/>
                  </a:lnTo>
                  <a:lnTo>
                    <a:pt x="132" y="216"/>
                  </a:lnTo>
                  <a:lnTo>
                    <a:pt x="138" y="222"/>
                  </a:lnTo>
                  <a:lnTo>
                    <a:pt x="150" y="222"/>
                  </a:lnTo>
                  <a:lnTo>
                    <a:pt x="162" y="234"/>
                  </a:lnTo>
                  <a:lnTo>
                    <a:pt x="168" y="240"/>
                  </a:lnTo>
                  <a:lnTo>
                    <a:pt x="180" y="240"/>
                  </a:lnTo>
                  <a:lnTo>
                    <a:pt x="186" y="228"/>
                  </a:lnTo>
                  <a:lnTo>
                    <a:pt x="210" y="234"/>
                  </a:lnTo>
                  <a:lnTo>
                    <a:pt x="222" y="228"/>
                  </a:lnTo>
                  <a:lnTo>
                    <a:pt x="228" y="216"/>
                  </a:lnTo>
                  <a:lnTo>
                    <a:pt x="234" y="210"/>
                  </a:lnTo>
                  <a:lnTo>
                    <a:pt x="240" y="216"/>
                  </a:lnTo>
                  <a:lnTo>
                    <a:pt x="246" y="210"/>
                  </a:lnTo>
                  <a:lnTo>
                    <a:pt x="252" y="210"/>
                  </a:lnTo>
                  <a:lnTo>
                    <a:pt x="258" y="210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192"/>
                  </a:lnTo>
                  <a:lnTo>
                    <a:pt x="270" y="192"/>
                  </a:lnTo>
                  <a:lnTo>
                    <a:pt x="276" y="192"/>
                  </a:lnTo>
                  <a:lnTo>
                    <a:pt x="282" y="192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192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198"/>
                  </a:lnTo>
                  <a:lnTo>
                    <a:pt x="312" y="198"/>
                  </a:lnTo>
                  <a:lnTo>
                    <a:pt x="312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24" y="186"/>
                  </a:lnTo>
                  <a:lnTo>
                    <a:pt x="318" y="180"/>
                  </a:lnTo>
                  <a:lnTo>
                    <a:pt x="324" y="180"/>
                  </a:lnTo>
                  <a:lnTo>
                    <a:pt x="330" y="186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74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54" y="144"/>
                  </a:lnTo>
                  <a:lnTo>
                    <a:pt x="360" y="144"/>
                  </a:lnTo>
                  <a:lnTo>
                    <a:pt x="372" y="156"/>
                  </a:lnTo>
                  <a:lnTo>
                    <a:pt x="372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96" y="168"/>
                  </a:lnTo>
                  <a:lnTo>
                    <a:pt x="396" y="174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26" y="186"/>
                  </a:lnTo>
                  <a:lnTo>
                    <a:pt x="432" y="186"/>
                  </a:lnTo>
                  <a:lnTo>
                    <a:pt x="438" y="180"/>
                  </a:lnTo>
                  <a:lnTo>
                    <a:pt x="438" y="168"/>
                  </a:lnTo>
                  <a:lnTo>
                    <a:pt x="438" y="162"/>
                  </a:lnTo>
                  <a:lnTo>
                    <a:pt x="444" y="156"/>
                  </a:lnTo>
                  <a:lnTo>
                    <a:pt x="450" y="156"/>
                  </a:lnTo>
                  <a:lnTo>
                    <a:pt x="456" y="150"/>
                  </a:lnTo>
                  <a:lnTo>
                    <a:pt x="462" y="156"/>
                  </a:lnTo>
                  <a:lnTo>
                    <a:pt x="468" y="162"/>
                  </a:lnTo>
                  <a:lnTo>
                    <a:pt x="474" y="162"/>
                  </a:lnTo>
                  <a:lnTo>
                    <a:pt x="486" y="162"/>
                  </a:lnTo>
                  <a:lnTo>
                    <a:pt x="492" y="156"/>
                  </a:lnTo>
                  <a:lnTo>
                    <a:pt x="498" y="150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28" y="126"/>
                  </a:lnTo>
                  <a:lnTo>
                    <a:pt x="522" y="120"/>
                  </a:lnTo>
                  <a:lnTo>
                    <a:pt x="522" y="114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28" y="102"/>
                  </a:lnTo>
                  <a:lnTo>
                    <a:pt x="534" y="96"/>
                  </a:lnTo>
                  <a:lnTo>
                    <a:pt x="552" y="96"/>
                  </a:lnTo>
                  <a:lnTo>
                    <a:pt x="570" y="102"/>
                  </a:lnTo>
                  <a:lnTo>
                    <a:pt x="582" y="96"/>
                  </a:lnTo>
                  <a:lnTo>
                    <a:pt x="582" y="90"/>
                  </a:lnTo>
                  <a:lnTo>
                    <a:pt x="582" y="78"/>
                  </a:lnTo>
                  <a:lnTo>
                    <a:pt x="582" y="72"/>
                  </a:lnTo>
                  <a:lnTo>
                    <a:pt x="582" y="66"/>
                  </a:lnTo>
                  <a:lnTo>
                    <a:pt x="594" y="60"/>
                  </a:lnTo>
                  <a:lnTo>
                    <a:pt x="600" y="60"/>
                  </a:lnTo>
                  <a:lnTo>
                    <a:pt x="606" y="54"/>
                  </a:lnTo>
                  <a:lnTo>
                    <a:pt x="618" y="48"/>
                  </a:lnTo>
                  <a:lnTo>
                    <a:pt x="618" y="42"/>
                  </a:lnTo>
                  <a:lnTo>
                    <a:pt x="624" y="42"/>
                  </a:lnTo>
                  <a:lnTo>
                    <a:pt x="636" y="48"/>
                  </a:lnTo>
                  <a:lnTo>
                    <a:pt x="648" y="54"/>
                  </a:lnTo>
                  <a:lnTo>
                    <a:pt x="660" y="54"/>
                  </a:lnTo>
                  <a:lnTo>
                    <a:pt x="666" y="60"/>
                  </a:lnTo>
                  <a:lnTo>
                    <a:pt x="672" y="54"/>
                  </a:lnTo>
                  <a:lnTo>
                    <a:pt x="684" y="48"/>
                  </a:lnTo>
                  <a:lnTo>
                    <a:pt x="708" y="42"/>
                  </a:lnTo>
                  <a:lnTo>
                    <a:pt x="714" y="42"/>
                  </a:lnTo>
                  <a:lnTo>
                    <a:pt x="720" y="36"/>
                  </a:lnTo>
                  <a:lnTo>
                    <a:pt x="720" y="30"/>
                  </a:lnTo>
                  <a:lnTo>
                    <a:pt x="714" y="12"/>
                  </a:lnTo>
                  <a:lnTo>
                    <a:pt x="708" y="0"/>
                  </a:lnTo>
                  <a:lnTo>
                    <a:pt x="738" y="6"/>
                  </a:lnTo>
                  <a:lnTo>
                    <a:pt x="756" y="6"/>
                  </a:lnTo>
                  <a:lnTo>
                    <a:pt x="762" y="42"/>
                  </a:lnTo>
                  <a:lnTo>
                    <a:pt x="738" y="72"/>
                  </a:lnTo>
                  <a:lnTo>
                    <a:pt x="750" y="90"/>
                  </a:lnTo>
                  <a:lnTo>
                    <a:pt x="762" y="96"/>
                  </a:lnTo>
                  <a:lnTo>
                    <a:pt x="756" y="102"/>
                  </a:lnTo>
                  <a:lnTo>
                    <a:pt x="750" y="108"/>
                  </a:lnTo>
                  <a:lnTo>
                    <a:pt x="750" y="114"/>
                  </a:lnTo>
                  <a:lnTo>
                    <a:pt x="750" y="120"/>
                  </a:lnTo>
                  <a:lnTo>
                    <a:pt x="750" y="126"/>
                  </a:lnTo>
                  <a:lnTo>
                    <a:pt x="750" y="132"/>
                  </a:lnTo>
                  <a:lnTo>
                    <a:pt x="738" y="132"/>
                  </a:lnTo>
                  <a:lnTo>
                    <a:pt x="732" y="138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14" y="144"/>
                  </a:lnTo>
                  <a:lnTo>
                    <a:pt x="714" y="150"/>
                  </a:lnTo>
                  <a:lnTo>
                    <a:pt x="720" y="156"/>
                  </a:lnTo>
                  <a:lnTo>
                    <a:pt x="720" y="162"/>
                  </a:lnTo>
                  <a:lnTo>
                    <a:pt x="714" y="162"/>
                  </a:lnTo>
                  <a:lnTo>
                    <a:pt x="708" y="168"/>
                  </a:lnTo>
                  <a:lnTo>
                    <a:pt x="708" y="180"/>
                  </a:lnTo>
                  <a:lnTo>
                    <a:pt x="708" y="192"/>
                  </a:lnTo>
                  <a:lnTo>
                    <a:pt x="696" y="198"/>
                  </a:lnTo>
                  <a:lnTo>
                    <a:pt x="696" y="204"/>
                  </a:lnTo>
                  <a:lnTo>
                    <a:pt x="684" y="210"/>
                  </a:lnTo>
                  <a:lnTo>
                    <a:pt x="684" y="216"/>
                  </a:lnTo>
                  <a:lnTo>
                    <a:pt x="684" y="222"/>
                  </a:lnTo>
                  <a:lnTo>
                    <a:pt x="678" y="228"/>
                  </a:lnTo>
                  <a:lnTo>
                    <a:pt x="678" y="234"/>
                  </a:lnTo>
                  <a:lnTo>
                    <a:pt x="672" y="240"/>
                  </a:lnTo>
                  <a:lnTo>
                    <a:pt x="672" y="252"/>
                  </a:lnTo>
                  <a:lnTo>
                    <a:pt x="672" y="258"/>
                  </a:lnTo>
                  <a:lnTo>
                    <a:pt x="666" y="264"/>
                  </a:lnTo>
                  <a:lnTo>
                    <a:pt x="678" y="264"/>
                  </a:lnTo>
                  <a:lnTo>
                    <a:pt x="684" y="276"/>
                  </a:lnTo>
                  <a:lnTo>
                    <a:pt x="684" y="288"/>
                  </a:lnTo>
                  <a:lnTo>
                    <a:pt x="672" y="300"/>
                  </a:lnTo>
                  <a:lnTo>
                    <a:pt x="660" y="318"/>
                  </a:lnTo>
                  <a:lnTo>
                    <a:pt x="660" y="336"/>
                  </a:lnTo>
                  <a:lnTo>
                    <a:pt x="654" y="342"/>
                  </a:lnTo>
                  <a:lnTo>
                    <a:pt x="660" y="354"/>
                  </a:lnTo>
                  <a:lnTo>
                    <a:pt x="660" y="366"/>
                  </a:lnTo>
                  <a:lnTo>
                    <a:pt x="666" y="378"/>
                  </a:lnTo>
                  <a:lnTo>
                    <a:pt x="672" y="390"/>
                  </a:lnTo>
                  <a:lnTo>
                    <a:pt x="678" y="396"/>
                  </a:lnTo>
                  <a:lnTo>
                    <a:pt x="684" y="390"/>
                  </a:lnTo>
                  <a:lnTo>
                    <a:pt x="690" y="390"/>
                  </a:lnTo>
                  <a:lnTo>
                    <a:pt x="690" y="396"/>
                  </a:lnTo>
                  <a:lnTo>
                    <a:pt x="684" y="396"/>
                  </a:lnTo>
                  <a:lnTo>
                    <a:pt x="684" y="402"/>
                  </a:lnTo>
                  <a:lnTo>
                    <a:pt x="684" y="408"/>
                  </a:lnTo>
                  <a:lnTo>
                    <a:pt x="678" y="414"/>
                  </a:lnTo>
                  <a:lnTo>
                    <a:pt x="684" y="414"/>
                  </a:lnTo>
                  <a:lnTo>
                    <a:pt x="684" y="420"/>
                  </a:lnTo>
                  <a:lnTo>
                    <a:pt x="684" y="426"/>
                  </a:lnTo>
                  <a:lnTo>
                    <a:pt x="690" y="420"/>
                  </a:lnTo>
                  <a:lnTo>
                    <a:pt x="696" y="420"/>
                  </a:lnTo>
                  <a:lnTo>
                    <a:pt x="696" y="426"/>
                  </a:lnTo>
                  <a:lnTo>
                    <a:pt x="690" y="426"/>
                  </a:lnTo>
                  <a:lnTo>
                    <a:pt x="696" y="426"/>
                  </a:lnTo>
                  <a:lnTo>
                    <a:pt x="708" y="426"/>
                  </a:lnTo>
                  <a:lnTo>
                    <a:pt x="726" y="414"/>
                  </a:lnTo>
                  <a:lnTo>
                    <a:pt x="732" y="408"/>
                  </a:lnTo>
                  <a:lnTo>
                    <a:pt x="744" y="402"/>
                  </a:lnTo>
                  <a:lnTo>
                    <a:pt x="756" y="402"/>
                  </a:lnTo>
                  <a:lnTo>
                    <a:pt x="768" y="402"/>
                  </a:lnTo>
                  <a:lnTo>
                    <a:pt x="786" y="408"/>
                  </a:lnTo>
                  <a:lnTo>
                    <a:pt x="786" y="414"/>
                  </a:lnTo>
                  <a:lnTo>
                    <a:pt x="774" y="420"/>
                  </a:lnTo>
                  <a:lnTo>
                    <a:pt x="774" y="426"/>
                  </a:lnTo>
                  <a:lnTo>
                    <a:pt x="768" y="432"/>
                  </a:lnTo>
                  <a:lnTo>
                    <a:pt x="762" y="438"/>
                  </a:lnTo>
                  <a:lnTo>
                    <a:pt x="756" y="438"/>
                  </a:lnTo>
                  <a:lnTo>
                    <a:pt x="756" y="444"/>
                  </a:lnTo>
                  <a:lnTo>
                    <a:pt x="756" y="450"/>
                  </a:lnTo>
                  <a:lnTo>
                    <a:pt x="762" y="450"/>
                  </a:lnTo>
                  <a:lnTo>
                    <a:pt x="750" y="456"/>
                  </a:lnTo>
                  <a:lnTo>
                    <a:pt x="738" y="468"/>
                  </a:lnTo>
                  <a:lnTo>
                    <a:pt x="726" y="480"/>
                  </a:lnTo>
                  <a:lnTo>
                    <a:pt x="726" y="486"/>
                  </a:lnTo>
                  <a:lnTo>
                    <a:pt x="732" y="486"/>
                  </a:lnTo>
                  <a:lnTo>
                    <a:pt x="732" y="492"/>
                  </a:lnTo>
                  <a:lnTo>
                    <a:pt x="732" y="504"/>
                  </a:lnTo>
                  <a:lnTo>
                    <a:pt x="738" y="504"/>
                  </a:lnTo>
                  <a:lnTo>
                    <a:pt x="744" y="510"/>
                  </a:lnTo>
                  <a:lnTo>
                    <a:pt x="738" y="522"/>
                  </a:lnTo>
                  <a:lnTo>
                    <a:pt x="744" y="528"/>
                  </a:lnTo>
                  <a:lnTo>
                    <a:pt x="756" y="534"/>
                  </a:lnTo>
                  <a:lnTo>
                    <a:pt x="756" y="540"/>
                  </a:lnTo>
                  <a:lnTo>
                    <a:pt x="744" y="552"/>
                  </a:lnTo>
                  <a:lnTo>
                    <a:pt x="738" y="552"/>
                  </a:lnTo>
                  <a:lnTo>
                    <a:pt x="738" y="558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64"/>
                  </a:lnTo>
                  <a:lnTo>
                    <a:pt x="744" y="576"/>
                  </a:lnTo>
                  <a:lnTo>
                    <a:pt x="738" y="588"/>
                  </a:lnTo>
                  <a:lnTo>
                    <a:pt x="738" y="594"/>
                  </a:lnTo>
                  <a:lnTo>
                    <a:pt x="738" y="600"/>
                  </a:lnTo>
                  <a:lnTo>
                    <a:pt x="738" y="606"/>
                  </a:lnTo>
                  <a:lnTo>
                    <a:pt x="732" y="612"/>
                  </a:lnTo>
                  <a:lnTo>
                    <a:pt x="726" y="624"/>
                  </a:lnTo>
                  <a:lnTo>
                    <a:pt x="726" y="636"/>
                  </a:lnTo>
                  <a:lnTo>
                    <a:pt x="726" y="648"/>
                  </a:lnTo>
                  <a:lnTo>
                    <a:pt x="738" y="654"/>
                  </a:lnTo>
                  <a:lnTo>
                    <a:pt x="750" y="660"/>
                  </a:lnTo>
                  <a:lnTo>
                    <a:pt x="750" y="666"/>
                  </a:lnTo>
                  <a:lnTo>
                    <a:pt x="750" y="678"/>
                  </a:lnTo>
                  <a:lnTo>
                    <a:pt x="744" y="678"/>
                  </a:lnTo>
                  <a:lnTo>
                    <a:pt x="738" y="684"/>
                  </a:lnTo>
                  <a:lnTo>
                    <a:pt x="732" y="684"/>
                  </a:lnTo>
                  <a:lnTo>
                    <a:pt x="720" y="678"/>
                  </a:lnTo>
                  <a:lnTo>
                    <a:pt x="714" y="684"/>
                  </a:lnTo>
                  <a:lnTo>
                    <a:pt x="708" y="684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0" y="690"/>
                  </a:lnTo>
                  <a:lnTo>
                    <a:pt x="690" y="684"/>
                  </a:lnTo>
                  <a:lnTo>
                    <a:pt x="690" y="690"/>
                  </a:lnTo>
                  <a:lnTo>
                    <a:pt x="684" y="690"/>
                  </a:lnTo>
                  <a:lnTo>
                    <a:pt x="684" y="684"/>
                  </a:lnTo>
                  <a:lnTo>
                    <a:pt x="678" y="684"/>
                  </a:lnTo>
                  <a:lnTo>
                    <a:pt x="672" y="678"/>
                  </a:lnTo>
                  <a:lnTo>
                    <a:pt x="672" y="672"/>
                  </a:lnTo>
                  <a:lnTo>
                    <a:pt x="678" y="672"/>
                  </a:lnTo>
                  <a:lnTo>
                    <a:pt x="672" y="672"/>
                  </a:lnTo>
                  <a:lnTo>
                    <a:pt x="666" y="672"/>
                  </a:lnTo>
                  <a:lnTo>
                    <a:pt x="660" y="672"/>
                  </a:lnTo>
                  <a:lnTo>
                    <a:pt x="654" y="672"/>
                  </a:lnTo>
                  <a:lnTo>
                    <a:pt x="654" y="666"/>
                  </a:lnTo>
                  <a:lnTo>
                    <a:pt x="648" y="666"/>
                  </a:lnTo>
                  <a:lnTo>
                    <a:pt x="642" y="660"/>
                  </a:lnTo>
                  <a:lnTo>
                    <a:pt x="642" y="654"/>
                  </a:lnTo>
                  <a:lnTo>
                    <a:pt x="642" y="648"/>
                  </a:lnTo>
                  <a:lnTo>
                    <a:pt x="636" y="648"/>
                  </a:lnTo>
                  <a:lnTo>
                    <a:pt x="630" y="648"/>
                  </a:lnTo>
                  <a:lnTo>
                    <a:pt x="624" y="648"/>
                  </a:lnTo>
                  <a:lnTo>
                    <a:pt x="624" y="642"/>
                  </a:lnTo>
                  <a:lnTo>
                    <a:pt x="618" y="636"/>
                  </a:lnTo>
                  <a:lnTo>
                    <a:pt x="624" y="636"/>
                  </a:lnTo>
                  <a:lnTo>
                    <a:pt x="624" y="630"/>
                  </a:lnTo>
                  <a:lnTo>
                    <a:pt x="618" y="630"/>
                  </a:lnTo>
                  <a:lnTo>
                    <a:pt x="618" y="624"/>
                  </a:lnTo>
                  <a:lnTo>
                    <a:pt x="618" y="618"/>
                  </a:lnTo>
                  <a:lnTo>
                    <a:pt x="618" y="612"/>
                  </a:lnTo>
                  <a:lnTo>
                    <a:pt x="618" y="606"/>
                  </a:lnTo>
                  <a:lnTo>
                    <a:pt x="624" y="606"/>
                  </a:lnTo>
                  <a:lnTo>
                    <a:pt x="624" y="600"/>
                  </a:lnTo>
                  <a:lnTo>
                    <a:pt x="618" y="600"/>
                  </a:lnTo>
                  <a:lnTo>
                    <a:pt x="618" y="594"/>
                  </a:lnTo>
                  <a:lnTo>
                    <a:pt x="618" y="588"/>
                  </a:lnTo>
                  <a:lnTo>
                    <a:pt x="618" y="582"/>
                  </a:lnTo>
                  <a:lnTo>
                    <a:pt x="612" y="582"/>
                  </a:lnTo>
                  <a:lnTo>
                    <a:pt x="606" y="582"/>
                  </a:lnTo>
                  <a:lnTo>
                    <a:pt x="612" y="582"/>
                  </a:lnTo>
                  <a:lnTo>
                    <a:pt x="612" y="588"/>
                  </a:lnTo>
                  <a:lnTo>
                    <a:pt x="612" y="594"/>
                  </a:lnTo>
                  <a:lnTo>
                    <a:pt x="618" y="594"/>
                  </a:lnTo>
                  <a:lnTo>
                    <a:pt x="618" y="600"/>
                  </a:lnTo>
                  <a:lnTo>
                    <a:pt x="618" y="606"/>
                  </a:lnTo>
                  <a:lnTo>
                    <a:pt x="618" y="612"/>
                  </a:lnTo>
                  <a:lnTo>
                    <a:pt x="612" y="612"/>
                  </a:lnTo>
                  <a:lnTo>
                    <a:pt x="612" y="618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94" y="612"/>
                  </a:lnTo>
                  <a:lnTo>
                    <a:pt x="588" y="606"/>
                  </a:lnTo>
                  <a:lnTo>
                    <a:pt x="588" y="612"/>
                  </a:lnTo>
                  <a:lnTo>
                    <a:pt x="594" y="612"/>
                  </a:lnTo>
                  <a:lnTo>
                    <a:pt x="594" y="618"/>
                  </a:lnTo>
                  <a:lnTo>
                    <a:pt x="588" y="618"/>
                  </a:lnTo>
                  <a:lnTo>
                    <a:pt x="588" y="624"/>
                  </a:lnTo>
                  <a:lnTo>
                    <a:pt x="582" y="624"/>
                  </a:lnTo>
                  <a:lnTo>
                    <a:pt x="582" y="630"/>
                  </a:lnTo>
                  <a:lnTo>
                    <a:pt x="576" y="630"/>
                  </a:lnTo>
                  <a:lnTo>
                    <a:pt x="576" y="636"/>
                  </a:lnTo>
                  <a:lnTo>
                    <a:pt x="570" y="636"/>
                  </a:lnTo>
                  <a:lnTo>
                    <a:pt x="570" y="642"/>
                  </a:lnTo>
                  <a:lnTo>
                    <a:pt x="564" y="642"/>
                  </a:lnTo>
                  <a:lnTo>
                    <a:pt x="564" y="636"/>
                  </a:lnTo>
                  <a:lnTo>
                    <a:pt x="564" y="630"/>
                  </a:lnTo>
                  <a:lnTo>
                    <a:pt x="564" y="624"/>
                  </a:lnTo>
                  <a:lnTo>
                    <a:pt x="564" y="618"/>
                  </a:lnTo>
                  <a:lnTo>
                    <a:pt x="570" y="612"/>
                  </a:lnTo>
                  <a:lnTo>
                    <a:pt x="564" y="606"/>
                  </a:lnTo>
                  <a:lnTo>
                    <a:pt x="564" y="600"/>
                  </a:lnTo>
                  <a:lnTo>
                    <a:pt x="564" y="594"/>
                  </a:lnTo>
                  <a:lnTo>
                    <a:pt x="558" y="594"/>
                  </a:lnTo>
                  <a:lnTo>
                    <a:pt x="558" y="588"/>
                  </a:lnTo>
                  <a:lnTo>
                    <a:pt x="552" y="582"/>
                  </a:lnTo>
                  <a:lnTo>
                    <a:pt x="552" y="576"/>
                  </a:lnTo>
                  <a:lnTo>
                    <a:pt x="552" y="570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6" y="582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58" y="588"/>
                  </a:lnTo>
                  <a:lnTo>
                    <a:pt x="558" y="594"/>
                  </a:lnTo>
                  <a:lnTo>
                    <a:pt x="558" y="600"/>
                  </a:lnTo>
                  <a:lnTo>
                    <a:pt x="558" y="606"/>
                  </a:lnTo>
                  <a:lnTo>
                    <a:pt x="552" y="612"/>
                  </a:lnTo>
                  <a:lnTo>
                    <a:pt x="558" y="612"/>
                  </a:lnTo>
                  <a:lnTo>
                    <a:pt x="558" y="618"/>
                  </a:lnTo>
                  <a:lnTo>
                    <a:pt x="558" y="624"/>
                  </a:lnTo>
                  <a:lnTo>
                    <a:pt x="558" y="630"/>
                  </a:lnTo>
                  <a:lnTo>
                    <a:pt x="552" y="630"/>
                  </a:lnTo>
                  <a:lnTo>
                    <a:pt x="552" y="624"/>
                  </a:lnTo>
                  <a:lnTo>
                    <a:pt x="546" y="624"/>
                  </a:lnTo>
                  <a:lnTo>
                    <a:pt x="546" y="618"/>
                  </a:lnTo>
                  <a:lnTo>
                    <a:pt x="546" y="612"/>
                  </a:lnTo>
                  <a:lnTo>
                    <a:pt x="540" y="612"/>
                  </a:lnTo>
                  <a:lnTo>
                    <a:pt x="534" y="612"/>
                  </a:lnTo>
                  <a:lnTo>
                    <a:pt x="528" y="612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28" y="618"/>
                  </a:lnTo>
                  <a:lnTo>
                    <a:pt x="534" y="618"/>
                  </a:lnTo>
                  <a:lnTo>
                    <a:pt x="540" y="618"/>
                  </a:lnTo>
                  <a:lnTo>
                    <a:pt x="540" y="624"/>
                  </a:lnTo>
                  <a:lnTo>
                    <a:pt x="546" y="624"/>
                  </a:lnTo>
                  <a:lnTo>
                    <a:pt x="546" y="630"/>
                  </a:lnTo>
                  <a:lnTo>
                    <a:pt x="552" y="630"/>
                  </a:lnTo>
                  <a:lnTo>
                    <a:pt x="552" y="636"/>
                  </a:lnTo>
                  <a:lnTo>
                    <a:pt x="546" y="642"/>
                  </a:lnTo>
                  <a:lnTo>
                    <a:pt x="546" y="648"/>
                  </a:lnTo>
                  <a:lnTo>
                    <a:pt x="540" y="648"/>
                  </a:lnTo>
                  <a:lnTo>
                    <a:pt x="540" y="654"/>
                  </a:lnTo>
                  <a:lnTo>
                    <a:pt x="540" y="660"/>
                  </a:lnTo>
                  <a:lnTo>
                    <a:pt x="534" y="666"/>
                  </a:lnTo>
                  <a:lnTo>
                    <a:pt x="534" y="672"/>
                  </a:lnTo>
                  <a:lnTo>
                    <a:pt x="534" y="678"/>
                  </a:lnTo>
                  <a:lnTo>
                    <a:pt x="534" y="684"/>
                  </a:lnTo>
                  <a:lnTo>
                    <a:pt x="534" y="678"/>
                  </a:lnTo>
                  <a:lnTo>
                    <a:pt x="528" y="678"/>
                  </a:lnTo>
                  <a:lnTo>
                    <a:pt x="528" y="684"/>
                  </a:lnTo>
                  <a:lnTo>
                    <a:pt x="522" y="690"/>
                  </a:lnTo>
                  <a:lnTo>
                    <a:pt x="528" y="690"/>
                  </a:lnTo>
                  <a:lnTo>
                    <a:pt x="528" y="684"/>
                  </a:lnTo>
                  <a:lnTo>
                    <a:pt x="534" y="684"/>
                  </a:lnTo>
                  <a:lnTo>
                    <a:pt x="534" y="690"/>
                  </a:lnTo>
                  <a:lnTo>
                    <a:pt x="534" y="696"/>
                  </a:lnTo>
                  <a:lnTo>
                    <a:pt x="540" y="696"/>
                  </a:lnTo>
                  <a:lnTo>
                    <a:pt x="540" y="702"/>
                  </a:lnTo>
                  <a:lnTo>
                    <a:pt x="540" y="708"/>
                  </a:lnTo>
                  <a:lnTo>
                    <a:pt x="534" y="708"/>
                  </a:lnTo>
                  <a:lnTo>
                    <a:pt x="528" y="708"/>
                  </a:lnTo>
                  <a:lnTo>
                    <a:pt x="522" y="708"/>
                  </a:lnTo>
                  <a:lnTo>
                    <a:pt x="516" y="708"/>
                  </a:lnTo>
                  <a:lnTo>
                    <a:pt x="510" y="708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2" y="708"/>
                  </a:lnTo>
                  <a:lnTo>
                    <a:pt x="486" y="714"/>
                  </a:lnTo>
                  <a:lnTo>
                    <a:pt x="480" y="708"/>
                  </a:lnTo>
                  <a:lnTo>
                    <a:pt x="474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68" y="714"/>
                  </a:lnTo>
                  <a:lnTo>
                    <a:pt x="456" y="714"/>
                  </a:lnTo>
                  <a:lnTo>
                    <a:pt x="450" y="714"/>
                  </a:lnTo>
                  <a:lnTo>
                    <a:pt x="450" y="708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50" y="690"/>
                  </a:lnTo>
                  <a:lnTo>
                    <a:pt x="450" y="684"/>
                  </a:lnTo>
                  <a:lnTo>
                    <a:pt x="450" y="678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56" y="660"/>
                  </a:lnTo>
                  <a:lnTo>
                    <a:pt x="462" y="660"/>
                  </a:lnTo>
                  <a:lnTo>
                    <a:pt x="462" y="654"/>
                  </a:lnTo>
                  <a:lnTo>
                    <a:pt x="456" y="654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48"/>
                  </a:lnTo>
                  <a:lnTo>
                    <a:pt x="444" y="648"/>
                  </a:lnTo>
                  <a:lnTo>
                    <a:pt x="444" y="642"/>
                  </a:lnTo>
                  <a:lnTo>
                    <a:pt x="444" y="636"/>
                  </a:lnTo>
                  <a:lnTo>
                    <a:pt x="450" y="636"/>
                  </a:lnTo>
                  <a:lnTo>
                    <a:pt x="450" y="630"/>
                  </a:lnTo>
                  <a:lnTo>
                    <a:pt x="456" y="630"/>
                  </a:lnTo>
                  <a:lnTo>
                    <a:pt x="462" y="630"/>
                  </a:lnTo>
                  <a:lnTo>
                    <a:pt x="462" y="624"/>
                  </a:lnTo>
                  <a:lnTo>
                    <a:pt x="468" y="624"/>
                  </a:lnTo>
                  <a:lnTo>
                    <a:pt x="474" y="624"/>
                  </a:lnTo>
                  <a:lnTo>
                    <a:pt x="474" y="618"/>
                  </a:lnTo>
                  <a:lnTo>
                    <a:pt x="480" y="618"/>
                  </a:lnTo>
                  <a:lnTo>
                    <a:pt x="486" y="618"/>
                  </a:lnTo>
                  <a:lnTo>
                    <a:pt x="486" y="624"/>
                  </a:lnTo>
                  <a:lnTo>
                    <a:pt x="486" y="636"/>
                  </a:lnTo>
                  <a:lnTo>
                    <a:pt x="486" y="642"/>
                  </a:lnTo>
                  <a:lnTo>
                    <a:pt x="486" y="648"/>
                  </a:lnTo>
                  <a:lnTo>
                    <a:pt x="492" y="648"/>
                  </a:lnTo>
                  <a:lnTo>
                    <a:pt x="492" y="642"/>
                  </a:lnTo>
                  <a:lnTo>
                    <a:pt x="498" y="636"/>
                  </a:lnTo>
                  <a:lnTo>
                    <a:pt x="492" y="636"/>
                  </a:lnTo>
                  <a:lnTo>
                    <a:pt x="492" y="630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6" y="618"/>
                  </a:lnTo>
                  <a:lnTo>
                    <a:pt x="486" y="612"/>
                  </a:lnTo>
                  <a:lnTo>
                    <a:pt x="486" y="606"/>
                  </a:lnTo>
                  <a:lnTo>
                    <a:pt x="480" y="606"/>
                  </a:lnTo>
                  <a:lnTo>
                    <a:pt x="480" y="612"/>
                  </a:lnTo>
                  <a:lnTo>
                    <a:pt x="474" y="618"/>
                  </a:lnTo>
                  <a:lnTo>
                    <a:pt x="468" y="618"/>
                  </a:lnTo>
                  <a:lnTo>
                    <a:pt x="462" y="618"/>
                  </a:lnTo>
                  <a:lnTo>
                    <a:pt x="462" y="612"/>
                  </a:lnTo>
                  <a:lnTo>
                    <a:pt x="456" y="612"/>
                  </a:lnTo>
                  <a:lnTo>
                    <a:pt x="456" y="618"/>
                  </a:lnTo>
                  <a:lnTo>
                    <a:pt x="462" y="618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30"/>
                  </a:lnTo>
                  <a:lnTo>
                    <a:pt x="444" y="630"/>
                  </a:lnTo>
                  <a:lnTo>
                    <a:pt x="444" y="636"/>
                  </a:lnTo>
                  <a:lnTo>
                    <a:pt x="444" y="642"/>
                  </a:lnTo>
                  <a:lnTo>
                    <a:pt x="444" y="654"/>
                  </a:lnTo>
                  <a:lnTo>
                    <a:pt x="444" y="660"/>
                  </a:lnTo>
                  <a:lnTo>
                    <a:pt x="438" y="660"/>
                  </a:lnTo>
                  <a:lnTo>
                    <a:pt x="432" y="660"/>
                  </a:lnTo>
                  <a:lnTo>
                    <a:pt x="432" y="654"/>
                  </a:lnTo>
                  <a:lnTo>
                    <a:pt x="438" y="654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48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26" y="660"/>
                  </a:lnTo>
                  <a:lnTo>
                    <a:pt x="432" y="666"/>
                  </a:lnTo>
                  <a:lnTo>
                    <a:pt x="432" y="672"/>
                  </a:lnTo>
                  <a:lnTo>
                    <a:pt x="438" y="672"/>
                  </a:lnTo>
                  <a:lnTo>
                    <a:pt x="438" y="678"/>
                  </a:lnTo>
                  <a:lnTo>
                    <a:pt x="444" y="678"/>
                  </a:lnTo>
                  <a:lnTo>
                    <a:pt x="444" y="684"/>
                  </a:lnTo>
                  <a:lnTo>
                    <a:pt x="438" y="690"/>
                  </a:lnTo>
                  <a:lnTo>
                    <a:pt x="438" y="696"/>
                  </a:lnTo>
                  <a:lnTo>
                    <a:pt x="438" y="702"/>
                  </a:lnTo>
                  <a:lnTo>
                    <a:pt x="432" y="702"/>
                  </a:lnTo>
                  <a:lnTo>
                    <a:pt x="426" y="702"/>
                  </a:lnTo>
                  <a:lnTo>
                    <a:pt x="426" y="696"/>
                  </a:lnTo>
                  <a:lnTo>
                    <a:pt x="414" y="696"/>
                  </a:lnTo>
                  <a:lnTo>
                    <a:pt x="402" y="696"/>
                  </a:lnTo>
                  <a:lnTo>
                    <a:pt x="402" y="690"/>
                  </a:lnTo>
                  <a:lnTo>
                    <a:pt x="396" y="690"/>
                  </a:lnTo>
                  <a:lnTo>
                    <a:pt x="390" y="690"/>
                  </a:lnTo>
                  <a:lnTo>
                    <a:pt x="384" y="690"/>
                  </a:lnTo>
                  <a:lnTo>
                    <a:pt x="384" y="684"/>
                  </a:lnTo>
                  <a:lnTo>
                    <a:pt x="384" y="678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390" y="660"/>
                  </a:lnTo>
                  <a:lnTo>
                    <a:pt x="390" y="654"/>
                  </a:lnTo>
                  <a:lnTo>
                    <a:pt x="384" y="648"/>
                  </a:lnTo>
                  <a:lnTo>
                    <a:pt x="384" y="642"/>
                  </a:lnTo>
                  <a:lnTo>
                    <a:pt x="378" y="636"/>
                  </a:lnTo>
                  <a:lnTo>
                    <a:pt x="378" y="642"/>
                  </a:lnTo>
                  <a:lnTo>
                    <a:pt x="378" y="648"/>
                  </a:lnTo>
                  <a:lnTo>
                    <a:pt x="372" y="648"/>
                  </a:lnTo>
                  <a:lnTo>
                    <a:pt x="378" y="654"/>
                  </a:lnTo>
                  <a:lnTo>
                    <a:pt x="378" y="660"/>
                  </a:lnTo>
                  <a:lnTo>
                    <a:pt x="378" y="666"/>
                  </a:lnTo>
                  <a:lnTo>
                    <a:pt x="372" y="672"/>
                  </a:lnTo>
                  <a:lnTo>
                    <a:pt x="378" y="672"/>
                  </a:lnTo>
                  <a:lnTo>
                    <a:pt x="378" y="678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54" y="666"/>
                  </a:lnTo>
                  <a:lnTo>
                    <a:pt x="354" y="660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0" y="654"/>
                  </a:lnTo>
                  <a:lnTo>
                    <a:pt x="324" y="648"/>
                  </a:lnTo>
                  <a:lnTo>
                    <a:pt x="318" y="648"/>
                  </a:lnTo>
                  <a:lnTo>
                    <a:pt x="318" y="642"/>
                  </a:lnTo>
                  <a:lnTo>
                    <a:pt x="312" y="642"/>
                  </a:lnTo>
                  <a:lnTo>
                    <a:pt x="306" y="636"/>
                  </a:lnTo>
                  <a:lnTo>
                    <a:pt x="300" y="636"/>
                  </a:lnTo>
                  <a:lnTo>
                    <a:pt x="300" y="630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0" y="618"/>
                  </a:lnTo>
                  <a:lnTo>
                    <a:pt x="306" y="612"/>
                  </a:lnTo>
                  <a:lnTo>
                    <a:pt x="300" y="612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294" y="612"/>
                  </a:lnTo>
                  <a:lnTo>
                    <a:pt x="288" y="618"/>
                  </a:lnTo>
                  <a:lnTo>
                    <a:pt x="288" y="612"/>
                  </a:lnTo>
                  <a:lnTo>
                    <a:pt x="288" y="618"/>
                  </a:lnTo>
                  <a:lnTo>
                    <a:pt x="294" y="618"/>
                  </a:lnTo>
                  <a:lnTo>
                    <a:pt x="300" y="624"/>
                  </a:lnTo>
                  <a:lnTo>
                    <a:pt x="294" y="624"/>
                  </a:lnTo>
                  <a:lnTo>
                    <a:pt x="288" y="624"/>
                  </a:lnTo>
                  <a:lnTo>
                    <a:pt x="282" y="61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70" y="600"/>
                  </a:lnTo>
                  <a:lnTo>
                    <a:pt x="270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82" y="588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594"/>
                  </a:lnTo>
                  <a:lnTo>
                    <a:pt x="264" y="600"/>
                  </a:lnTo>
                  <a:lnTo>
                    <a:pt x="264" y="594"/>
                  </a:lnTo>
                  <a:lnTo>
                    <a:pt x="270" y="594"/>
                  </a:lnTo>
                  <a:lnTo>
                    <a:pt x="270" y="588"/>
                  </a:lnTo>
                  <a:lnTo>
                    <a:pt x="264" y="594"/>
                  </a:lnTo>
                  <a:lnTo>
                    <a:pt x="258" y="594"/>
                  </a:lnTo>
                  <a:lnTo>
                    <a:pt x="258" y="588"/>
                  </a:lnTo>
                  <a:lnTo>
                    <a:pt x="252" y="588"/>
                  </a:lnTo>
                  <a:lnTo>
                    <a:pt x="246" y="588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52" y="588"/>
                  </a:lnTo>
                  <a:lnTo>
                    <a:pt x="252" y="594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46" y="594"/>
                  </a:lnTo>
                  <a:lnTo>
                    <a:pt x="246" y="588"/>
                  </a:lnTo>
                  <a:lnTo>
                    <a:pt x="240" y="588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2" y="570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64"/>
                  </a:lnTo>
                  <a:lnTo>
                    <a:pt x="234" y="564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34" y="558"/>
                  </a:lnTo>
                  <a:lnTo>
                    <a:pt x="228" y="558"/>
                  </a:lnTo>
                  <a:lnTo>
                    <a:pt x="222" y="558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2" y="564"/>
                  </a:lnTo>
                  <a:lnTo>
                    <a:pt x="222" y="558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04" y="546"/>
                  </a:lnTo>
                  <a:lnTo>
                    <a:pt x="204" y="540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10" y="540"/>
                  </a:lnTo>
                  <a:lnTo>
                    <a:pt x="210" y="534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8"/>
                  </a:lnTo>
                  <a:lnTo>
                    <a:pt x="174" y="516"/>
                  </a:lnTo>
                  <a:lnTo>
                    <a:pt x="168" y="510"/>
                  </a:lnTo>
                  <a:lnTo>
                    <a:pt x="162" y="504"/>
                  </a:lnTo>
                  <a:lnTo>
                    <a:pt x="156" y="498"/>
                  </a:lnTo>
                  <a:lnTo>
                    <a:pt x="156" y="492"/>
                  </a:lnTo>
                  <a:lnTo>
                    <a:pt x="150" y="486"/>
                  </a:lnTo>
                  <a:lnTo>
                    <a:pt x="144" y="480"/>
                  </a:lnTo>
                  <a:lnTo>
                    <a:pt x="144" y="474"/>
                  </a:lnTo>
                  <a:lnTo>
                    <a:pt x="138" y="474"/>
                  </a:lnTo>
                  <a:lnTo>
                    <a:pt x="138" y="468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26" y="450"/>
                  </a:lnTo>
                  <a:lnTo>
                    <a:pt x="126" y="444"/>
                  </a:lnTo>
                  <a:lnTo>
                    <a:pt x="114" y="438"/>
                  </a:lnTo>
                  <a:lnTo>
                    <a:pt x="114" y="432"/>
                  </a:lnTo>
                  <a:lnTo>
                    <a:pt x="114" y="426"/>
                  </a:lnTo>
                  <a:lnTo>
                    <a:pt x="114" y="432"/>
                  </a:lnTo>
                  <a:lnTo>
                    <a:pt x="120" y="432"/>
                  </a:lnTo>
                  <a:lnTo>
                    <a:pt x="120" y="438"/>
                  </a:lnTo>
                  <a:lnTo>
                    <a:pt x="120" y="444"/>
                  </a:lnTo>
                  <a:lnTo>
                    <a:pt x="126" y="444"/>
                  </a:lnTo>
                  <a:lnTo>
                    <a:pt x="126" y="438"/>
                  </a:lnTo>
                  <a:lnTo>
                    <a:pt x="120" y="438"/>
                  </a:lnTo>
                  <a:lnTo>
                    <a:pt x="126" y="432"/>
                  </a:lnTo>
                  <a:lnTo>
                    <a:pt x="126" y="426"/>
                  </a:lnTo>
                  <a:lnTo>
                    <a:pt x="132" y="420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08" y="414"/>
                  </a:lnTo>
                  <a:lnTo>
                    <a:pt x="102" y="414"/>
                  </a:lnTo>
                  <a:lnTo>
                    <a:pt x="102" y="408"/>
                  </a:lnTo>
                  <a:lnTo>
                    <a:pt x="96" y="402"/>
                  </a:lnTo>
                  <a:lnTo>
                    <a:pt x="96" y="396"/>
                  </a:lnTo>
                  <a:lnTo>
                    <a:pt x="96" y="390"/>
                  </a:lnTo>
                  <a:lnTo>
                    <a:pt x="90" y="390"/>
                  </a:lnTo>
                  <a:lnTo>
                    <a:pt x="90" y="384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78" y="372"/>
                  </a:lnTo>
                  <a:lnTo>
                    <a:pt x="78" y="366"/>
                  </a:lnTo>
                  <a:lnTo>
                    <a:pt x="78" y="360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6" y="348"/>
                  </a:lnTo>
                  <a:lnTo>
                    <a:pt x="66" y="342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6" y="336"/>
                  </a:lnTo>
                  <a:lnTo>
                    <a:pt x="66" y="342"/>
                  </a:lnTo>
                  <a:lnTo>
                    <a:pt x="72" y="348"/>
                  </a:lnTo>
                  <a:lnTo>
                    <a:pt x="78" y="354"/>
                  </a:lnTo>
                  <a:lnTo>
                    <a:pt x="84" y="360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0" y="360"/>
                  </a:lnTo>
                  <a:lnTo>
                    <a:pt x="84" y="360"/>
                  </a:lnTo>
                  <a:lnTo>
                    <a:pt x="84" y="354"/>
                  </a:lnTo>
                  <a:lnTo>
                    <a:pt x="78" y="348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66" y="330"/>
                  </a:lnTo>
                  <a:lnTo>
                    <a:pt x="66" y="324"/>
                  </a:lnTo>
                  <a:lnTo>
                    <a:pt x="60" y="318"/>
                  </a:lnTo>
                  <a:lnTo>
                    <a:pt x="60" y="312"/>
                  </a:lnTo>
                  <a:lnTo>
                    <a:pt x="54" y="306"/>
                  </a:lnTo>
                  <a:lnTo>
                    <a:pt x="54" y="300"/>
                  </a:lnTo>
                  <a:lnTo>
                    <a:pt x="54" y="294"/>
                  </a:lnTo>
                  <a:lnTo>
                    <a:pt x="48" y="288"/>
                  </a:lnTo>
                  <a:lnTo>
                    <a:pt x="48" y="294"/>
                  </a:lnTo>
                  <a:lnTo>
                    <a:pt x="48" y="288"/>
                  </a:lnTo>
                  <a:lnTo>
                    <a:pt x="48" y="282"/>
                  </a:lnTo>
                  <a:lnTo>
                    <a:pt x="48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18" y="216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62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68"/>
                  </a:lnTo>
                  <a:lnTo>
                    <a:pt x="42" y="168"/>
                  </a:lnTo>
                  <a:lnTo>
                    <a:pt x="42" y="174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86"/>
                  </a:lnTo>
                  <a:close/>
                  <a:moveTo>
                    <a:pt x="642" y="660"/>
                  </a:moveTo>
                  <a:lnTo>
                    <a:pt x="642" y="666"/>
                  </a:lnTo>
                  <a:lnTo>
                    <a:pt x="648" y="666"/>
                  </a:lnTo>
                  <a:lnTo>
                    <a:pt x="648" y="672"/>
                  </a:lnTo>
                  <a:lnTo>
                    <a:pt x="648" y="678"/>
                  </a:lnTo>
                  <a:lnTo>
                    <a:pt x="654" y="678"/>
                  </a:lnTo>
                  <a:lnTo>
                    <a:pt x="654" y="684"/>
                  </a:lnTo>
                  <a:lnTo>
                    <a:pt x="660" y="684"/>
                  </a:lnTo>
                  <a:lnTo>
                    <a:pt x="660" y="690"/>
                  </a:lnTo>
                  <a:lnTo>
                    <a:pt x="654" y="690"/>
                  </a:lnTo>
                  <a:lnTo>
                    <a:pt x="648" y="690"/>
                  </a:lnTo>
                  <a:lnTo>
                    <a:pt x="636" y="696"/>
                  </a:lnTo>
                  <a:lnTo>
                    <a:pt x="630" y="696"/>
                  </a:lnTo>
                  <a:lnTo>
                    <a:pt x="624" y="696"/>
                  </a:lnTo>
                  <a:lnTo>
                    <a:pt x="618" y="696"/>
                  </a:lnTo>
                  <a:lnTo>
                    <a:pt x="612" y="696"/>
                  </a:lnTo>
                  <a:lnTo>
                    <a:pt x="594" y="696"/>
                  </a:lnTo>
                  <a:lnTo>
                    <a:pt x="588" y="696"/>
                  </a:lnTo>
                  <a:lnTo>
                    <a:pt x="582" y="696"/>
                  </a:lnTo>
                  <a:lnTo>
                    <a:pt x="570" y="702"/>
                  </a:lnTo>
                  <a:lnTo>
                    <a:pt x="564" y="702"/>
                  </a:lnTo>
                  <a:lnTo>
                    <a:pt x="558" y="702"/>
                  </a:lnTo>
                  <a:lnTo>
                    <a:pt x="552" y="702"/>
                  </a:lnTo>
                  <a:lnTo>
                    <a:pt x="552" y="696"/>
                  </a:lnTo>
                  <a:lnTo>
                    <a:pt x="546" y="696"/>
                  </a:lnTo>
                  <a:lnTo>
                    <a:pt x="546" y="690"/>
                  </a:lnTo>
                  <a:lnTo>
                    <a:pt x="552" y="684"/>
                  </a:lnTo>
                  <a:lnTo>
                    <a:pt x="552" y="678"/>
                  </a:lnTo>
                  <a:lnTo>
                    <a:pt x="558" y="672"/>
                  </a:lnTo>
                  <a:lnTo>
                    <a:pt x="558" y="666"/>
                  </a:lnTo>
                  <a:lnTo>
                    <a:pt x="564" y="666"/>
                  </a:lnTo>
                  <a:lnTo>
                    <a:pt x="570" y="666"/>
                  </a:lnTo>
                  <a:lnTo>
                    <a:pt x="570" y="654"/>
                  </a:lnTo>
                  <a:lnTo>
                    <a:pt x="570" y="648"/>
                  </a:lnTo>
                  <a:lnTo>
                    <a:pt x="582" y="642"/>
                  </a:lnTo>
                  <a:lnTo>
                    <a:pt x="582" y="636"/>
                  </a:lnTo>
                  <a:lnTo>
                    <a:pt x="588" y="636"/>
                  </a:lnTo>
                  <a:lnTo>
                    <a:pt x="588" y="630"/>
                  </a:lnTo>
                  <a:lnTo>
                    <a:pt x="594" y="624"/>
                  </a:lnTo>
                  <a:lnTo>
                    <a:pt x="594" y="618"/>
                  </a:lnTo>
                  <a:lnTo>
                    <a:pt x="600" y="618"/>
                  </a:lnTo>
                  <a:lnTo>
                    <a:pt x="600" y="612"/>
                  </a:lnTo>
                  <a:lnTo>
                    <a:pt x="606" y="612"/>
                  </a:lnTo>
                  <a:lnTo>
                    <a:pt x="606" y="618"/>
                  </a:lnTo>
                  <a:lnTo>
                    <a:pt x="612" y="618"/>
                  </a:lnTo>
                  <a:lnTo>
                    <a:pt x="618" y="618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18" y="636"/>
                  </a:lnTo>
                  <a:lnTo>
                    <a:pt x="618" y="642"/>
                  </a:lnTo>
                  <a:lnTo>
                    <a:pt x="618" y="648"/>
                  </a:lnTo>
                  <a:lnTo>
                    <a:pt x="624" y="648"/>
                  </a:lnTo>
                  <a:lnTo>
                    <a:pt x="630" y="648"/>
                  </a:lnTo>
                  <a:lnTo>
                    <a:pt x="636" y="654"/>
                  </a:lnTo>
                  <a:lnTo>
                    <a:pt x="642" y="654"/>
                  </a:lnTo>
                  <a:lnTo>
                    <a:pt x="642" y="66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00" name="Freeform 5">
              <a:extLst>
                <a:ext uri="{FF2B5EF4-FFF2-40B4-BE49-F238E27FC236}">
                  <a16:creationId xmlns:a16="http://schemas.microsoft.com/office/drawing/2014/main" id="{5577BDCA-F2C7-42E0-A391-018D79AA29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0384" y="4231013"/>
              <a:ext cx="404750" cy="480848"/>
            </a:xfrm>
            <a:custGeom>
              <a:avLst/>
              <a:gdLst>
                <a:gd name="T0" fmla="*/ 9 w 762"/>
                <a:gd name="T1" fmla="*/ 58 h 900"/>
                <a:gd name="T2" fmla="*/ 4 w 762"/>
                <a:gd name="T3" fmla="*/ 56 h 900"/>
                <a:gd name="T4" fmla="*/ 0 w 762"/>
                <a:gd name="T5" fmla="*/ 49 h 900"/>
                <a:gd name="T6" fmla="*/ 4 w 762"/>
                <a:gd name="T7" fmla="*/ 36 h 900"/>
                <a:gd name="T8" fmla="*/ 8 w 762"/>
                <a:gd name="T9" fmla="*/ 28 h 900"/>
                <a:gd name="T10" fmla="*/ 7 w 762"/>
                <a:gd name="T11" fmla="*/ 13 h 900"/>
                <a:gd name="T12" fmla="*/ 15 w 762"/>
                <a:gd name="T13" fmla="*/ 0 h 900"/>
                <a:gd name="T14" fmla="*/ 16 w 762"/>
                <a:gd name="T15" fmla="*/ 13 h 900"/>
                <a:gd name="T16" fmla="*/ 31 w 762"/>
                <a:gd name="T17" fmla="*/ 28 h 900"/>
                <a:gd name="T18" fmla="*/ 49 w 762"/>
                <a:gd name="T19" fmla="*/ 33 h 900"/>
                <a:gd name="T20" fmla="*/ 42 w 762"/>
                <a:gd name="T21" fmla="*/ 48 h 900"/>
                <a:gd name="T22" fmla="*/ 51 w 762"/>
                <a:gd name="T23" fmla="*/ 48 h 900"/>
                <a:gd name="T24" fmla="*/ 61 w 762"/>
                <a:gd name="T25" fmla="*/ 51 h 900"/>
                <a:gd name="T26" fmla="*/ 63 w 762"/>
                <a:gd name="T27" fmla="*/ 60 h 900"/>
                <a:gd name="T28" fmla="*/ 63 w 762"/>
                <a:gd name="T29" fmla="*/ 66 h 900"/>
                <a:gd name="T30" fmla="*/ 65 w 762"/>
                <a:gd name="T31" fmla="*/ 69 h 900"/>
                <a:gd name="T32" fmla="*/ 66 w 762"/>
                <a:gd name="T33" fmla="*/ 72 h 900"/>
                <a:gd name="T34" fmla="*/ 56 w 762"/>
                <a:gd name="T35" fmla="*/ 73 h 900"/>
                <a:gd name="T36" fmla="*/ 55 w 762"/>
                <a:gd name="T37" fmla="*/ 69 h 900"/>
                <a:gd name="T38" fmla="*/ 57 w 762"/>
                <a:gd name="T39" fmla="*/ 67 h 900"/>
                <a:gd name="T40" fmla="*/ 55 w 762"/>
                <a:gd name="T41" fmla="*/ 65 h 900"/>
                <a:gd name="T42" fmla="*/ 53 w 762"/>
                <a:gd name="T43" fmla="*/ 68 h 900"/>
                <a:gd name="T44" fmla="*/ 49 w 762"/>
                <a:gd name="T45" fmla="*/ 68 h 900"/>
                <a:gd name="T46" fmla="*/ 44 w 762"/>
                <a:gd name="T47" fmla="*/ 63 h 900"/>
                <a:gd name="T48" fmla="*/ 40 w 762"/>
                <a:gd name="T49" fmla="*/ 59 h 900"/>
                <a:gd name="T50" fmla="*/ 38 w 762"/>
                <a:gd name="T51" fmla="*/ 57 h 900"/>
                <a:gd name="T52" fmla="*/ 43 w 762"/>
                <a:gd name="T53" fmla="*/ 62 h 900"/>
                <a:gd name="T54" fmla="*/ 43 w 762"/>
                <a:gd name="T55" fmla="*/ 66 h 900"/>
                <a:gd name="T56" fmla="*/ 41 w 762"/>
                <a:gd name="T57" fmla="*/ 71 h 900"/>
                <a:gd name="T58" fmla="*/ 37 w 762"/>
                <a:gd name="T59" fmla="*/ 69 h 900"/>
                <a:gd name="T60" fmla="*/ 35 w 762"/>
                <a:gd name="T61" fmla="*/ 64 h 900"/>
                <a:gd name="T62" fmla="*/ 31 w 762"/>
                <a:gd name="T63" fmla="*/ 57 h 900"/>
                <a:gd name="T64" fmla="*/ 30 w 762"/>
                <a:gd name="T65" fmla="*/ 62 h 900"/>
                <a:gd name="T66" fmla="*/ 29 w 762"/>
                <a:gd name="T67" fmla="*/ 61 h 900"/>
                <a:gd name="T68" fmla="*/ 31 w 762"/>
                <a:gd name="T69" fmla="*/ 66 h 900"/>
                <a:gd name="T70" fmla="*/ 33 w 762"/>
                <a:gd name="T71" fmla="*/ 72 h 900"/>
                <a:gd name="T72" fmla="*/ 32 w 762"/>
                <a:gd name="T73" fmla="*/ 76 h 900"/>
                <a:gd name="T74" fmla="*/ 28 w 762"/>
                <a:gd name="T75" fmla="*/ 75 h 900"/>
                <a:gd name="T76" fmla="*/ 24 w 762"/>
                <a:gd name="T77" fmla="*/ 69 h 900"/>
                <a:gd name="T78" fmla="*/ 24 w 762"/>
                <a:gd name="T79" fmla="*/ 62 h 900"/>
                <a:gd name="T80" fmla="*/ 23 w 762"/>
                <a:gd name="T81" fmla="*/ 62 h 900"/>
                <a:gd name="T82" fmla="*/ 23 w 762"/>
                <a:gd name="T83" fmla="*/ 68 h 900"/>
                <a:gd name="T84" fmla="*/ 25 w 762"/>
                <a:gd name="T85" fmla="*/ 77 h 900"/>
                <a:gd name="T86" fmla="*/ 17 w 762"/>
                <a:gd name="T87" fmla="*/ 74 h 900"/>
                <a:gd name="T88" fmla="*/ 17 w 762"/>
                <a:gd name="T89" fmla="*/ 67 h 900"/>
                <a:gd name="T90" fmla="*/ 16 w 762"/>
                <a:gd name="T91" fmla="*/ 67 h 900"/>
                <a:gd name="T92" fmla="*/ 15 w 762"/>
                <a:gd name="T93" fmla="*/ 71 h 900"/>
                <a:gd name="T94" fmla="*/ 12 w 762"/>
                <a:gd name="T95" fmla="*/ 68 h 900"/>
                <a:gd name="T96" fmla="*/ 15 w 762"/>
                <a:gd name="T97" fmla="*/ 72 h 900"/>
                <a:gd name="T98" fmla="*/ 17 w 762"/>
                <a:gd name="T99" fmla="*/ 77 h 900"/>
                <a:gd name="T100" fmla="*/ 11 w 762"/>
                <a:gd name="T101" fmla="*/ 77 h 900"/>
                <a:gd name="T102" fmla="*/ 10 w 762"/>
                <a:gd name="T103" fmla="*/ 69 h 900"/>
                <a:gd name="T104" fmla="*/ 11 w 762"/>
                <a:gd name="T105" fmla="*/ 72 h 900"/>
                <a:gd name="T106" fmla="*/ 9 w 762"/>
                <a:gd name="T107" fmla="*/ 78 h 900"/>
                <a:gd name="T108" fmla="*/ 43 w 762"/>
                <a:gd name="T109" fmla="*/ 71 h 900"/>
                <a:gd name="T110" fmla="*/ 51 w 762"/>
                <a:gd name="T111" fmla="*/ 69 h 900"/>
                <a:gd name="T112" fmla="*/ 43 w 762"/>
                <a:gd name="T113" fmla="*/ 76 h 900"/>
                <a:gd name="T114" fmla="*/ 36 w 762"/>
                <a:gd name="T115" fmla="*/ 65 h 900"/>
                <a:gd name="T116" fmla="*/ 38 w 762"/>
                <a:gd name="T117" fmla="*/ 72 h 900"/>
                <a:gd name="T118" fmla="*/ 34 w 762"/>
                <a:gd name="T119" fmla="*/ 69 h 900"/>
                <a:gd name="T120" fmla="*/ 29 w 762"/>
                <a:gd name="T121" fmla="*/ 64 h 900"/>
                <a:gd name="T122" fmla="*/ 32 w 762"/>
                <a:gd name="T123" fmla="*/ 66 h 9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900"/>
                <a:gd name="T188" fmla="*/ 762 w 762"/>
                <a:gd name="T189" fmla="*/ 900 h 90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900">
                  <a:moveTo>
                    <a:pt x="90" y="768"/>
                  </a:moveTo>
                  <a:lnTo>
                    <a:pt x="102" y="756"/>
                  </a:lnTo>
                  <a:lnTo>
                    <a:pt x="102" y="750"/>
                  </a:lnTo>
                  <a:lnTo>
                    <a:pt x="90" y="744"/>
                  </a:lnTo>
                  <a:lnTo>
                    <a:pt x="84" y="738"/>
                  </a:lnTo>
                  <a:lnTo>
                    <a:pt x="90" y="726"/>
                  </a:lnTo>
                  <a:lnTo>
                    <a:pt x="84" y="720"/>
                  </a:lnTo>
                  <a:lnTo>
                    <a:pt x="78" y="720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72" y="702"/>
                  </a:lnTo>
                  <a:lnTo>
                    <a:pt x="72" y="696"/>
                  </a:lnTo>
                  <a:lnTo>
                    <a:pt x="84" y="684"/>
                  </a:lnTo>
                  <a:lnTo>
                    <a:pt x="96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102" y="654"/>
                  </a:lnTo>
                  <a:lnTo>
                    <a:pt x="108" y="654"/>
                  </a:lnTo>
                  <a:lnTo>
                    <a:pt x="114" y="648"/>
                  </a:lnTo>
                  <a:lnTo>
                    <a:pt x="120" y="642"/>
                  </a:lnTo>
                  <a:lnTo>
                    <a:pt x="120" y="636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14" y="618"/>
                  </a:lnTo>
                  <a:lnTo>
                    <a:pt x="102" y="618"/>
                  </a:lnTo>
                  <a:lnTo>
                    <a:pt x="90" y="618"/>
                  </a:lnTo>
                  <a:lnTo>
                    <a:pt x="78" y="624"/>
                  </a:lnTo>
                  <a:lnTo>
                    <a:pt x="72" y="630"/>
                  </a:lnTo>
                  <a:lnTo>
                    <a:pt x="54" y="642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42" y="642"/>
                  </a:lnTo>
                  <a:lnTo>
                    <a:pt x="42" y="636"/>
                  </a:lnTo>
                  <a:lnTo>
                    <a:pt x="36" y="636"/>
                  </a:lnTo>
                  <a:lnTo>
                    <a:pt x="30" y="642"/>
                  </a:lnTo>
                  <a:lnTo>
                    <a:pt x="30" y="636"/>
                  </a:lnTo>
                  <a:lnTo>
                    <a:pt x="30" y="630"/>
                  </a:lnTo>
                  <a:lnTo>
                    <a:pt x="24" y="630"/>
                  </a:lnTo>
                  <a:lnTo>
                    <a:pt x="30" y="624"/>
                  </a:lnTo>
                  <a:lnTo>
                    <a:pt x="30" y="618"/>
                  </a:lnTo>
                  <a:lnTo>
                    <a:pt x="30" y="612"/>
                  </a:lnTo>
                  <a:lnTo>
                    <a:pt x="36" y="612"/>
                  </a:lnTo>
                  <a:lnTo>
                    <a:pt x="36" y="606"/>
                  </a:lnTo>
                  <a:lnTo>
                    <a:pt x="30" y="606"/>
                  </a:lnTo>
                  <a:lnTo>
                    <a:pt x="24" y="612"/>
                  </a:lnTo>
                  <a:lnTo>
                    <a:pt x="18" y="606"/>
                  </a:lnTo>
                  <a:lnTo>
                    <a:pt x="12" y="594"/>
                  </a:lnTo>
                  <a:lnTo>
                    <a:pt x="6" y="582"/>
                  </a:lnTo>
                  <a:lnTo>
                    <a:pt x="6" y="570"/>
                  </a:lnTo>
                  <a:lnTo>
                    <a:pt x="0" y="558"/>
                  </a:lnTo>
                  <a:lnTo>
                    <a:pt x="6" y="552"/>
                  </a:lnTo>
                  <a:lnTo>
                    <a:pt x="6" y="534"/>
                  </a:lnTo>
                  <a:lnTo>
                    <a:pt x="18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12" y="480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54" y="408"/>
                  </a:lnTo>
                  <a:lnTo>
                    <a:pt x="54" y="396"/>
                  </a:lnTo>
                  <a:lnTo>
                    <a:pt x="54" y="384"/>
                  </a:lnTo>
                  <a:lnTo>
                    <a:pt x="60" y="378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66"/>
                  </a:lnTo>
                  <a:lnTo>
                    <a:pt x="60" y="360"/>
                  </a:lnTo>
                  <a:lnTo>
                    <a:pt x="66" y="360"/>
                  </a:lnTo>
                  <a:lnTo>
                    <a:pt x="72" y="354"/>
                  </a:lnTo>
                  <a:lnTo>
                    <a:pt x="78" y="354"/>
                  </a:lnTo>
                  <a:lnTo>
                    <a:pt x="84" y="348"/>
                  </a:lnTo>
                  <a:lnTo>
                    <a:pt x="96" y="348"/>
                  </a:lnTo>
                  <a:lnTo>
                    <a:pt x="96" y="342"/>
                  </a:lnTo>
                  <a:lnTo>
                    <a:pt x="96" y="336"/>
                  </a:lnTo>
                  <a:lnTo>
                    <a:pt x="96" y="330"/>
                  </a:lnTo>
                  <a:lnTo>
                    <a:pt x="96" y="324"/>
                  </a:lnTo>
                  <a:lnTo>
                    <a:pt x="102" y="318"/>
                  </a:lnTo>
                  <a:lnTo>
                    <a:pt x="108" y="312"/>
                  </a:lnTo>
                  <a:lnTo>
                    <a:pt x="96" y="306"/>
                  </a:lnTo>
                  <a:lnTo>
                    <a:pt x="84" y="288"/>
                  </a:lnTo>
                  <a:lnTo>
                    <a:pt x="108" y="258"/>
                  </a:lnTo>
                  <a:lnTo>
                    <a:pt x="102" y="222"/>
                  </a:lnTo>
                  <a:lnTo>
                    <a:pt x="84" y="222"/>
                  </a:lnTo>
                  <a:lnTo>
                    <a:pt x="54" y="216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2"/>
                  </a:lnTo>
                  <a:lnTo>
                    <a:pt x="72" y="192"/>
                  </a:lnTo>
                  <a:lnTo>
                    <a:pt x="84" y="186"/>
                  </a:lnTo>
                  <a:lnTo>
                    <a:pt x="90" y="186"/>
                  </a:lnTo>
                  <a:lnTo>
                    <a:pt x="90" y="174"/>
                  </a:lnTo>
                  <a:lnTo>
                    <a:pt x="84" y="162"/>
                  </a:lnTo>
                  <a:lnTo>
                    <a:pt x="84" y="150"/>
                  </a:lnTo>
                  <a:lnTo>
                    <a:pt x="84" y="126"/>
                  </a:lnTo>
                  <a:lnTo>
                    <a:pt x="84" y="114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8" y="96"/>
                  </a:lnTo>
                  <a:lnTo>
                    <a:pt x="120" y="90"/>
                  </a:lnTo>
                  <a:lnTo>
                    <a:pt x="126" y="78"/>
                  </a:lnTo>
                  <a:lnTo>
                    <a:pt x="138" y="66"/>
                  </a:lnTo>
                  <a:lnTo>
                    <a:pt x="138" y="48"/>
                  </a:lnTo>
                  <a:lnTo>
                    <a:pt x="138" y="42"/>
                  </a:lnTo>
                  <a:lnTo>
                    <a:pt x="126" y="30"/>
                  </a:lnTo>
                  <a:lnTo>
                    <a:pt x="120" y="18"/>
                  </a:lnTo>
                  <a:lnTo>
                    <a:pt x="132" y="12"/>
                  </a:lnTo>
                  <a:lnTo>
                    <a:pt x="144" y="0"/>
                  </a:lnTo>
                  <a:lnTo>
                    <a:pt x="150" y="6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6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74" y="66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68" y="72"/>
                  </a:lnTo>
                  <a:lnTo>
                    <a:pt x="156" y="150"/>
                  </a:lnTo>
                  <a:lnTo>
                    <a:pt x="168" y="144"/>
                  </a:lnTo>
                  <a:lnTo>
                    <a:pt x="180" y="150"/>
                  </a:lnTo>
                  <a:lnTo>
                    <a:pt x="186" y="150"/>
                  </a:lnTo>
                  <a:lnTo>
                    <a:pt x="186" y="144"/>
                  </a:lnTo>
                  <a:lnTo>
                    <a:pt x="192" y="150"/>
                  </a:lnTo>
                  <a:lnTo>
                    <a:pt x="222" y="150"/>
                  </a:lnTo>
                  <a:lnTo>
                    <a:pt x="222" y="168"/>
                  </a:lnTo>
                  <a:lnTo>
                    <a:pt x="222" y="186"/>
                  </a:lnTo>
                  <a:lnTo>
                    <a:pt x="234" y="198"/>
                  </a:lnTo>
                  <a:lnTo>
                    <a:pt x="234" y="234"/>
                  </a:lnTo>
                  <a:lnTo>
                    <a:pt x="228" y="270"/>
                  </a:lnTo>
                  <a:lnTo>
                    <a:pt x="246" y="282"/>
                  </a:lnTo>
                  <a:lnTo>
                    <a:pt x="258" y="294"/>
                  </a:lnTo>
                  <a:lnTo>
                    <a:pt x="270" y="300"/>
                  </a:lnTo>
                  <a:lnTo>
                    <a:pt x="294" y="300"/>
                  </a:lnTo>
                  <a:lnTo>
                    <a:pt x="288" y="306"/>
                  </a:lnTo>
                  <a:lnTo>
                    <a:pt x="300" y="312"/>
                  </a:lnTo>
                  <a:lnTo>
                    <a:pt x="306" y="318"/>
                  </a:lnTo>
                  <a:lnTo>
                    <a:pt x="324" y="324"/>
                  </a:lnTo>
                  <a:lnTo>
                    <a:pt x="354" y="318"/>
                  </a:lnTo>
                  <a:lnTo>
                    <a:pt x="354" y="312"/>
                  </a:lnTo>
                  <a:lnTo>
                    <a:pt x="366" y="312"/>
                  </a:lnTo>
                  <a:lnTo>
                    <a:pt x="384" y="312"/>
                  </a:lnTo>
                  <a:lnTo>
                    <a:pt x="390" y="306"/>
                  </a:lnTo>
                  <a:lnTo>
                    <a:pt x="396" y="306"/>
                  </a:lnTo>
                  <a:lnTo>
                    <a:pt x="408" y="306"/>
                  </a:lnTo>
                  <a:lnTo>
                    <a:pt x="426" y="312"/>
                  </a:lnTo>
                  <a:lnTo>
                    <a:pt x="456" y="324"/>
                  </a:lnTo>
                  <a:lnTo>
                    <a:pt x="504" y="330"/>
                  </a:lnTo>
                  <a:lnTo>
                    <a:pt x="510" y="336"/>
                  </a:lnTo>
                  <a:lnTo>
                    <a:pt x="534" y="336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58" y="330"/>
                  </a:lnTo>
                  <a:lnTo>
                    <a:pt x="564" y="330"/>
                  </a:lnTo>
                  <a:lnTo>
                    <a:pt x="570" y="354"/>
                  </a:lnTo>
                  <a:lnTo>
                    <a:pt x="564" y="378"/>
                  </a:lnTo>
                  <a:lnTo>
                    <a:pt x="558" y="396"/>
                  </a:lnTo>
                  <a:lnTo>
                    <a:pt x="546" y="414"/>
                  </a:lnTo>
                  <a:lnTo>
                    <a:pt x="546" y="438"/>
                  </a:lnTo>
                  <a:lnTo>
                    <a:pt x="540" y="456"/>
                  </a:lnTo>
                  <a:lnTo>
                    <a:pt x="540" y="474"/>
                  </a:lnTo>
                  <a:lnTo>
                    <a:pt x="528" y="480"/>
                  </a:lnTo>
                  <a:lnTo>
                    <a:pt x="522" y="492"/>
                  </a:lnTo>
                  <a:lnTo>
                    <a:pt x="504" y="498"/>
                  </a:lnTo>
                  <a:lnTo>
                    <a:pt x="498" y="498"/>
                  </a:lnTo>
                  <a:lnTo>
                    <a:pt x="492" y="504"/>
                  </a:lnTo>
                  <a:lnTo>
                    <a:pt x="486" y="510"/>
                  </a:lnTo>
                  <a:lnTo>
                    <a:pt x="480" y="510"/>
                  </a:lnTo>
                  <a:lnTo>
                    <a:pt x="480" y="516"/>
                  </a:lnTo>
                  <a:lnTo>
                    <a:pt x="474" y="522"/>
                  </a:lnTo>
                  <a:lnTo>
                    <a:pt x="474" y="528"/>
                  </a:lnTo>
                  <a:lnTo>
                    <a:pt x="474" y="534"/>
                  </a:lnTo>
                  <a:lnTo>
                    <a:pt x="480" y="540"/>
                  </a:lnTo>
                  <a:lnTo>
                    <a:pt x="492" y="540"/>
                  </a:lnTo>
                  <a:lnTo>
                    <a:pt x="498" y="546"/>
                  </a:lnTo>
                  <a:lnTo>
                    <a:pt x="504" y="552"/>
                  </a:lnTo>
                  <a:lnTo>
                    <a:pt x="510" y="552"/>
                  </a:lnTo>
                  <a:lnTo>
                    <a:pt x="516" y="558"/>
                  </a:lnTo>
                  <a:lnTo>
                    <a:pt x="528" y="558"/>
                  </a:lnTo>
                  <a:lnTo>
                    <a:pt x="534" y="552"/>
                  </a:lnTo>
                  <a:lnTo>
                    <a:pt x="540" y="552"/>
                  </a:lnTo>
                  <a:lnTo>
                    <a:pt x="546" y="552"/>
                  </a:lnTo>
                  <a:lnTo>
                    <a:pt x="558" y="546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70" y="546"/>
                  </a:lnTo>
                  <a:lnTo>
                    <a:pt x="570" y="540"/>
                  </a:lnTo>
                  <a:lnTo>
                    <a:pt x="570" y="546"/>
                  </a:lnTo>
                  <a:lnTo>
                    <a:pt x="576" y="546"/>
                  </a:lnTo>
                  <a:lnTo>
                    <a:pt x="582" y="546"/>
                  </a:lnTo>
                  <a:lnTo>
                    <a:pt x="588" y="540"/>
                  </a:lnTo>
                  <a:lnTo>
                    <a:pt x="594" y="546"/>
                  </a:lnTo>
                  <a:lnTo>
                    <a:pt x="606" y="546"/>
                  </a:lnTo>
                  <a:lnTo>
                    <a:pt x="612" y="546"/>
                  </a:lnTo>
                  <a:lnTo>
                    <a:pt x="612" y="552"/>
                  </a:lnTo>
                  <a:lnTo>
                    <a:pt x="618" y="552"/>
                  </a:lnTo>
                  <a:lnTo>
                    <a:pt x="624" y="552"/>
                  </a:lnTo>
                  <a:lnTo>
                    <a:pt x="630" y="552"/>
                  </a:lnTo>
                  <a:lnTo>
                    <a:pt x="648" y="546"/>
                  </a:lnTo>
                  <a:lnTo>
                    <a:pt x="654" y="546"/>
                  </a:lnTo>
                  <a:lnTo>
                    <a:pt x="654" y="552"/>
                  </a:lnTo>
                  <a:lnTo>
                    <a:pt x="660" y="558"/>
                  </a:lnTo>
                  <a:lnTo>
                    <a:pt x="666" y="564"/>
                  </a:lnTo>
                  <a:lnTo>
                    <a:pt x="672" y="564"/>
                  </a:lnTo>
                  <a:lnTo>
                    <a:pt x="678" y="564"/>
                  </a:lnTo>
                  <a:lnTo>
                    <a:pt x="696" y="576"/>
                  </a:lnTo>
                  <a:lnTo>
                    <a:pt x="696" y="582"/>
                  </a:lnTo>
                  <a:lnTo>
                    <a:pt x="708" y="588"/>
                  </a:lnTo>
                  <a:lnTo>
                    <a:pt x="708" y="594"/>
                  </a:lnTo>
                  <a:lnTo>
                    <a:pt x="720" y="606"/>
                  </a:lnTo>
                  <a:lnTo>
                    <a:pt x="720" y="618"/>
                  </a:lnTo>
                  <a:lnTo>
                    <a:pt x="720" y="624"/>
                  </a:lnTo>
                  <a:lnTo>
                    <a:pt x="726" y="630"/>
                  </a:lnTo>
                  <a:lnTo>
                    <a:pt x="732" y="636"/>
                  </a:lnTo>
                  <a:lnTo>
                    <a:pt x="732" y="642"/>
                  </a:lnTo>
                  <a:lnTo>
                    <a:pt x="732" y="648"/>
                  </a:lnTo>
                  <a:lnTo>
                    <a:pt x="726" y="654"/>
                  </a:lnTo>
                  <a:lnTo>
                    <a:pt x="720" y="660"/>
                  </a:lnTo>
                  <a:lnTo>
                    <a:pt x="714" y="666"/>
                  </a:lnTo>
                  <a:lnTo>
                    <a:pt x="714" y="672"/>
                  </a:lnTo>
                  <a:lnTo>
                    <a:pt x="714" y="678"/>
                  </a:lnTo>
                  <a:lnTo>
                    <a:pt x="720" y="678"/>
                  </a:lnTo>
                  <a:lnTo>
                    <a:pt x="720" y="684"/>
                  </a:lnTo>
                  <a:lnTo>
                    <a:pt x="714" y="690"/>
                  </a:lnTo>
                  <a:lnTo>
                    <a:pt x="714" y="696"/>
                  </a:lnTo>
                  <a:lnTo>
                    <a:pt x="714" y="702"/>
                  </a:lnTo>
                  <a:lnTo>
                    <a:pt x="714" y="708"/>
                  </a:lnTo>
                  <a:lnTo>
                    <a:pt x="720" y="708"/>
                  </a:lnTo>
                  <a:lnTo>
                    <a:pt x="720" y="720"/>
                  </a:lnTo>
                  <a:lnTo>
                    <a:pt x="720" y="726"/>
                  </a:lnTo>
                  <a:lnTo>
                    <a:pt x="726" y="726"/>
                  </a:lnTo>
                  <a:lnTo>
                    <a:pt x="726" y="732"/>
                  </a:lnTo>
                  <a:lnTo>
                    <a:pt x="732" y="732"/>
                  </a:lnTo>
                  <a:lnTo>
                    <a:pt x="732" y="738"/>
                  </a:lnTo>
                  <a:lnTo>
                    <a:pt x="726" y="738"/>
                  </a:lnTo>
                  <a:lnTo>
                    <a:pt x="720" y="738"/>
                  </a:lnTo>
                  <a:lnTo>
                    <a:pt x="720" y="744"/>
                  </a:lnTo>
                  <a:lnTo>
                    <a:pt x="720" y="750"/>
                  </a:lnTo>
                  <a:lnTo>
                    <a:pt x="714" y="750"/>
                  </a:lnTo>
                  <a:lnTo>
                    <a:pt x="714" y="756"/>
                  </a:lnTo>
                  <a:lnTo>
                    <a:pt x="720" y="756"/>
                  </a:lnTo>
                  <a:lnTo>
                    <a:pt x="714" y="762"/>
                  </a:lnTo>
                  <a:lnTo>
                    <a:pt x="720" y="762"/>
                  </a:lnTo>
                  <a:lnTo>
                    <a:pt x="726" y="768"/>
                  </a:lnTo>
                  <a:lnTo>
                    <a:pt x="726" y="774"/>
                  </a:lnTo>
                  <a:lnTo>
                    <a:pt x="732" y="774"/>
                  </a:lnTo>
                  <a:lnTo>
                    <a:pt x="732" y="780"/>
                  </a:lnTo>
                  <a:lnTo>
                    <a:pt x="726" y="780"/>
                  </a:lnTo>
                  <a:lnTo>
                    <a:pt x="726" y="786"/>
                  </a:lnTo>
                  <a:lnTo>
                    <a:pt x="720" y="786"/>
                  </a:lnTo>
                  <a:lnTo>
                    <a:pt x="726" y="786"/>
                  </a:lnTo>
                  <a:lnTo>
                    <a:pt x="732" y="780"/>
                  </a:lnTo>
                  <a:lnTo>
                    <a:pt x="738" y="780"/>
                  </a:lnTo>
                  <a:lnTo>
                    <a:pt x="744" y="780"/>
                  </a:lnTo>
                  <a:lnTo>
                    <a:pt x="744" y="786"/>
                  </a:lnTo>
                  <a:lnTo>
                    <a:pt x="750" y="786"/>
                  </a:lnTo>
                  <a:lnTo>
                    <a:pt x="744" y="786"/>
                  </a:lnTo>
                  <a:lnTo>
                    <a:pt x="744" y="792"/>
                  </a:lnTo>
                  <a:lnTo>
                    <a:pt x="744" y="786"/>
                  </a:lnTo>
                  <a:lnTo>
                    <a:pt x="738" y="792"/>
                  </a:lnTo>
                  <a:lnTo>
                    <a:pt x="744" y="792"/>
                  </a:lnTo>
                  <a:lnTo>
                    <a:pt x="750" y="792"/>
                  </a:lnTo>
                  <a:lnTo>
                    <a:pt x="750" y="786"/>
                  </a:lnTo>
                  <a:lnTo>
                    <a:pt x="756" y="786"/>
                  </a:lnTo>
                  <a:lnTo>
                    <a:pt x="756" y="792"/>
                  </a:lnTo>
                  <a:lnTo>
                    <a:pt x="762" y="792"/>
                  </a:lnTo>
                  <a:lnTo>
                    <a:pt x="756" y="798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0" y="810"/>
                  </a:lnTo>
                  <a:lnTo>
                    <a:pt x="756" y="810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6" y="816"/>
                  </a:lnTo>
                  <a:lnTo>
                    <a:pt x="750" y="816"/>
                  </a:lnTo>
                  <a:lnTo>
                    <a:pt x="738" y="810"/>
                  </a:lnTo>
                  <a:lnTo>
                    <a:pt x="732" y="810"/>
                  </a:lnTo>
                  <a:lnTo>
                    <a:pt x="732" y="816"/>
                  </a:lnTo>
                  <a:lnTo>
                    <a:pt x="726" y="810"/>
                  </a:lnTo>
                  <a:lnTo>
                    <a:pt x="714" y="816"/>
                  </a:lnTo>
                  <a:lnTo>
                    <a:pt x="708" y="816"/>
                  </a:lnTo>
                  <a:lnTo>
                    <a:pt x="702" y="816"/>
                  </a:lnTo>
                  <a:lnTo>
                    <a:pt x="696" y="816"/>
                  </a:lnTo>
                  <a:lnTo>
                    <a:pt x="690" y="822"/>
                  </a:lnTo>
                  <a:lnTo>
                    <a:pt x="684" y="822"/>
                  </a:lnTo>
                  <a:lnTo>
                    <a:pt x="678" y="822"/>
                  </a:lnTo>
                  <a:lnTo>
                    <a:pt x="672" y="822"/>
                  </a:lnTo>
                  <a:lnTo>
                    <a:pt x="666" y="822"/>
                  </a:lnTo>
                  <a:lnTo>
                    <a:pt x="666" y="828"/>
                  </a:lnTo>
                  <a:lnTo>
                    <a:pt x="654" y="828"/>
                  </a:lnTo>
                  <a:lnTo>
                    <a:pt x="648" y="828"/>
                  </a:lnTo>
                  <a:lnTo>
                    <a:pt x="642" y="828"/>
                  </a:lnTo>
                  <a:lnTo>
                    <a:pt x="630" y="828"/>
                  </a:lnTo>
                  <a:lnTo>
                    <a:pt x="624" y="822"/>
                  </a:lnTo>
                  <a:lnTo>
                    <a:pt x="618" y="822"/>
                  </a:lnTo>
                  <a:lnTo>
                    <a:pt x="612" y="822"/>
                  </a:lnTo>
                  <a:lnTo>
                    <a:pt x="606" y="822"/>
                  </a:lnTo>
                  <a:lnTo>
                    <a:pt x="600" y="822"/>
                  </a:lnTo>
                  <a:lnTo>
                    <a:pt x="594" y="822"/>
                  </a:lnTo>
                  <a:lnTo>
                    <a:pt x="594" y="816"/>
                  </a:lnTo>
                  <a:lnTo>
                    <a:pt x="594" y="810"/>
                  </a:lnTo>
                  <a:lnTo>
                    <a:pt x="600" y="804"/>
                  </a:lnTo>
                  <a:lnTo>
                    <a:pt x="600" y="798"/>
                  </a:lnTo>
                  <a:lnTo>
                    <a:pt x="600" y="792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2" y="786"/>
                  </a:lnTo>
                  <a:lnTo>
                    <a:pt x="618" y="786"/>
                  </a:lnTo>
                  <a:lnTo>
                    <a:pt x="624" y="786"/>
                  </a:lnTo>
                  <a:lnTo>
                    <a:pt x="624" y="780"/>
                  </a:lnTo>
                  <a:lnTo>
                    <a:pt x="630" y="780"/>
                  </a:lnTo>
                  <a:lnTo>
                    <a:pt x="630" y="774"/>
                  </a:lnTo>
                  <a:lnTo>
                    <a:pt x="636" y="774"/>
                  </a:lnTo>
                  <a:lnTo>
                    <a:pt x="642" y="780"/>
                  </a:lnTo>
                  <a:lnTo>
                    <a:pt x="642" y="786"/>
                  </a:lnTo>
                  <a:lnTo>
                    <a:pt x="642" y="792"/>
                  </a:lnTo>
                  <a:lnTo>
                    <a:pt x="648" y="792"/>
                  </a:lnTo>
                  <a:lnTo>
                    <a:pt x="648" y="786"/>
                  </a:lnTo>
                  <a:lnTo>
                    <a:pt x="642" y="786"/>
                  </a:lnTo>
                  <a:lnTo>
                    <a:pt x="642" y="780"/>
                  </a:lnTo>
                  <a:lnTo>
                    <a:pt x="642" y="774"/>
                  </a:lnTo>
                  <a:lnTo>
                    <a:pt x="648" y="768"/>
                  </a:lnTo>
                  <a:lnTo>
                    <a:pt x="642" y="768"/>
                  </a:lnTo>
                  <a:lnTo>
                    <a:pt x="648" y="768"/>
                  </a:lnTo>
                  <a:lnTo>
                    <a:pt x="648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66" y="762"/>
                  </a:lnTo>
                  <a:lnTo>
                    <a:pt x="672" y="756"/>
                  </a:lnTo>
                  <a:lnTo>
                    <a:pt x="666" y="756"/>
                  </a:lnTo>
                  <a:lnTo>
                    <a:pt x="660" y="756"/>
                  </a:lnTo>
                  <a:lnTo>
                    <a:pt x="660" y="750"/>
                  </a:lnTo>
                  <a:lnTo>
                    <a:pt x="654" y="750"/>
                  </a:lnTo>
                  <a:lnTo>
                    <a:pt x="648" y="750"/>
                  </a:lnTo>
                  <a:lnTo>
                    <a:pt x="648" y="756"/>
                  </a:lnTo>
                  <a:lnTo>
                    <a:pt x="642" y="756"/>
                  </a:lnTo>
                  <a:lnTo>
                    <a:pt x="642" y="750"/>
                  </a:lnTo>
                  <a:lnTo>
                    <a:pt x="642" y="744"/>
                  </a:lnTo>
                  <a:lnTo>
                    <a:pt x="642" y="750"/>
                  </a:lnTo>
                  <a:lnTo>
                    <a:pt x="636" y="750"/>
                  </a:lnTo>
                  <a:lnTo>
                    <a:pt x="636" y="744"/>
                  </a:lnTo>
                  <a:lnTo>
                    <a:pt x="630" y="744"/>
                  </a:lnTo>
                  <a:lnTo>
                    <a:pt x="630" y="738"/>
                  </a:lnTo>
                  <a:lnTo>
                    <a:pt x="630" y="744"/>
                  </a:lnTo>
                  <a:lnTo>
                    <a:pt x="630" y="750"/>
                  </a:lnTo>
                  <a:lnTo>
                    <a:pt x="636" y="750"/>
                  </a:lnTo>
                  <a:lnTo>
                    <a:pt x="636" y="756"/>
                  </a:lnTo>
                  <a:lnTo>
                    <a:pt x="630" y="756"/>
                  </a:lnTo>
                  <a:lnTo>
                    <a:pt x="636" y="762"/>
                  </a:lnTo>
                  <a:lnTo>
                    <a:pt x="630" y="762"/>
                  </a:lnTo>
                  <a:lnTo>
                    <a:pt x="624" y="762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24" y="786"/>
                  </a:lnTo>
                  <a:lnTo>
                    <a:pt x="618" y="786"/>
                  </a:lnTo>
                  <a:lnTo>
                    <a:pt x="618" y="78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12" y="774"/>
                  </a:lnTo>
                  <a:lnTo>
                    <a:pt x="612" y="780"/>
                  </a:lnTo>
                  <a:lnTo>
                    <a:pt x="606" y="780"/>
                  </a:lnTo>
                  <a:lnTo>
                    <a:pt x="600" y="780"/>
                  </a:lnTo>
                  <a:lnTo>
                    <a:pt x="600" y="774"/>
                  </a:lnTo>
                  <a:lnTo>
                    <a:pt x="594" y="768"/>
                  </a:lnTo>
                  <a:lnTo>
                    <a:pt x="594" y="762"/>
                  </a:lnTo>
                  <a:lnTo>
                    <a:pt x="594" y="756"/>
                  </a:lnTo>
                  <a:lnTo>
                    <a:pt x="594" y="762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594" y="780"/>
                  </a:lnTo>
                  <a:lnTo>
                    <a:pt x="588" y="780"/>
                  </a:lnTo>
                  <a:lnTo>
                    <a:pt x="582" y="780"/>
                  </a:lnTo>
                  <a:lnTo>
                    <a:pt x="576" y="780"/>
                  </a:lnTo>
                  <a:lnTo>
                    <a:pt x="570" y="780"/>
                  </a:lnTo>
                  <a:lnTo>
                    <a:pt x="564" y="780"/>
                  </a:lnTo>
                  <a:lnTo>
                    <a:pt x="564" y="786"/>
                  </a:lnTo>
                  <a:lnTo>
                    <a:pt x="558" y="786"/>
                  </a:lnTo>
                  <a:lnTo>
                    <a:pt x="552" y="786"/>
                  </a:lnTo>
                  <a:lnTo>
                    <a:pt x="552" y="780"/>
                  </a:lnTo>
                  <a:lnTo>
                    <a:pt x="552" y="774"/>
                  </a:lnTo>
                  <a:lnTo>
                    <a:pt x="552" y="768"/>
                  </a:lnTo>
                  <a:lnTo>
                    <a:pt x="546" y="768"/>
                  </a:lnTo>
                  <a:lnTo>
                    <a:pt x="540" y="762"/>
                  </a:lnTo>
                  <a:lnTo>
                    <a:pt x="540" y="756"/>
                  </a:lnTo>
                  <a:lnTo>
                    <a:pt x="534" y="756"/>
                  </a:lnTo>
                  <a:lnTo>
                    <a:pt x="534" y="750"/>
                  </a:lnTo>
                  <a:lnTo>
                    <a:pt x="534" y="744"/>
                  </a:lnTo>
                  <a:lnTo>
                    <a:pt x="528" y="738"/>
                  </a:lnTo>
                  <a:lnTo>
                    <a:pt x="522" y="738"/>
                  </a:lnTo>
                  <a:lnTo>
                    <a:pt x="522" y="732"/>
                  </a:lnTo>
                  <a:lnTo>
                    <a:pt x="510" y="726"/>
                  </a:lnTo>
                  <a:lnTo>
                    <a:pt x="510" y="720"/>
                  </a:lnTo>
                  <a:lnTo>
                    <a:pt x="504" y="720"/>
                  </a:lnTo>
                  <a:lnTo>
                    <a:pt x="504" y="714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8" y="702"/>
                  </a:lnTo>
                  <a:lnTo>
                    <a:pt x="498" y="696"/>
                  </a:lnTo>
                  <a:lnTo>
                    <a:pt x="492" y="690"/>
                  </a:lnTo>
                  <a:lnTo>
                    <a:pt x="492" y="684"/>
                  </a:lnTo>
                  <a:lnTo>
                    <a:pt x="486" y="684"/>
                  </a:lnTo>
                  <a:lnTo>
                    <a:pt x="486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74" y="678"/>
                  </a:lnTo>
                  <a:lnTo>
                    <a:pt x="468" y="678"/>
                  </a:lnTo>
                  <a:lnTo>
                    <a:pt x="462" y="678"/>
                  </a:lnTo>
                  <a:lnTo>
                    <a:pt x="462" y="672"/>
                  </a:lnTo>
                  <a:lnTo>
                    <a:pt x="456" y="672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44" y="666"/>
                  </a:lnTo>
                  <a:lnTo>
                    <a:pt x="438" y="660"/>
                  </a:lnTo>
                  <a:lnTo>
                    <a:pt x="438" y="648"/>
                  </a:lnTo>
                  <a:lnTo>
                    <a:pt x="438" y="642"/>
                  </a:lnTo>
                  <a:lnTo>
                    <a:pt x="438" y="636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36"/>
                  </a:lnTo>
                  <a:lnTo>
                    <a:pt x="420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60"/>
                  </a:lnTo>
                  <a:lnTo>
                    <a:pt x="432" y="666"/>
                  </a:lnTo>
                  <a:lnTo>
                    <a:pt x="438" y="666"/>
                  </a:lnTo>
                  <a:lnTo>
                    <a:pt x="438" y="672"/>
                  </a:lnTo>
                  <a:lnTo>
                    <a:pt x="444" y="672"/>
                  </a:lnTo>
                  <a:lnTo>
                    <a:pt x="444" y="678"/>
                  </a:lnTo>
                  <a:lnTo>
                    <a:pt x="450" y="678"/>
                  </a:lnTo>
                  <a:lnTo>
                    <a:pt x="456" y="678"/>
                  </a:lnTo>
                  <a:lnTo>
                    <a:pt x="456" y="684"/>
                  </a:lnTo>
                  <a:lnTo>
                    <a:pt x="462" y="684"/>
                  </a:lnTo>
                  <a:lnTo>
                    <a:pt x="468" y="684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80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86" y="708"/>
                  </a:lnTo>
                  <a:lnTo>
                    <a:pt x="492" y="714"/>
                  </a:lnTo>
                  <a:lnTo>
                    <a:pt x="492" y="720"/>
                  </a:lnTo>
                  <a:lnTo>
                    <a:pt x="492" y="726"/>
                  </a:lnTo>
                  <a:lnTo>
                    <a:pt x="498" y="732"/>
                  </a:lnTo>
                  <a:lnTo>
                    <a:pt x="492" y="738"/>
                  </a:lnTo>
                  <a:lnTo>
                    <a:pt x="492" y="744"/>
                  </a:lnTo>
                  <a:lnTo>
                    <a:pt x="492" y="750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68" y="738"/>
                  </a:lnTo>
                  <a:lnTo>
                    <a:pt x="468" y="744"/>
                  </a:lnTo>
                  <a:lnTo>
                    <a:pt x="474" y="750"/>
                  </a:lnTo>
                  <a:lnTo>
                    <a:pt x="480" y="756"/>
                  </a:lnTo>
                  <a:lnTo>
                    <a:pt x="486" y="756"/>
                  </a:lnTo>
                  <a:lnTo>
                    <a:pt x="492" y="762"/>
                  </a:lnTo>
                  <a:lnTo>
                    <a:pt x="498" y="768"/>
                  </a:lnTo>
                  <a:lnTo>
                    <a:pt x="492" y="774"/>
                  </a:lnTo>
                  <a:lnTo>
                    <a:pt x="492" y="780"/>
                  </a:lnTo>
                  <a:lnTo>
                    <a:pt x="498" y="780"/>
                  </a:lnTo>
                  <a:lnTo>
                    <a:pt x="492" y="786"/>
                  </a:lnTo>
                  <a:lnTo>
                    <a:pt x="492" y="792"/>
                  </a:lnTo>
                  <a:lnTo>
                    <a:pt x="492" y="79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0" y="810"/>
                  </a:lnTo>
                  <a:lnTo>
                    <a:pt x="480" y="804"/>
                  </a:lnTo>
                  <a:lnTo>
                    <a:pt x="474" y="804"/>
                  </a:lnTo>
                  <a:lnTo>
                    <a:pt x="474" y="798"/>
                  </a:lnTo>
                  <a:lnTo>
                    <a:pt x="474" y="804"/>
                  </a:lnTo>
                  <a:lnTo>
                    <a:pt x="468" y="804"/>
                  </a:lnTo>
                  <a:lnTo>
                    <a:pt x="468" y="810"/>
                  </a:lnTo>
                  <a:lnTo>
                    <a:pt x="462" y="810"/>
                  </a:lnTo>
                  <a:lnTo>
                    <a:pt x="456" y="810"/>
                  </a:lnTo>
                  <a:lnTo>
                    <a:pt x="450" y="810"/>
                  </a:lnTo>
                  <a:lnTo>
                    <a:pt x="450" y="816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50" y="822"/>
                  </a:lnTo>
                  <a:lnTo>
                    <a:pt x="450" y="816"/>
                  </a:lnTo>
                  <a:lnTo>
                    <a:pt x="444" y="816"/>
                  </a:lnTo>
                  <a:lnTo>
                    <a:pt x="438" y="810"/>
                  </a:lnTo>
                  <a:lnTo>
                    <a:pt x="432" y="810"/>
                  </a:lnTo>
                  <a:lnTo>
                    <a:pt x="426" y="804"/>
                  </a:lnTo>
                  <a:lnTo>
                    <a:pt x="426" y="798"/>
                  </a:lnTo>
                  <a:lnTo>
                    <a:pt x="420" y="798"/>
                  </a:lnTo>
                  <a:lnTo>
                    <a:pt x="426" y="798"/>
                  </a:lnTo>
                  <a:lnTo>
                    <a:pt x="426" y="792"/>
                  </a:lnTo>
                  <a:lnTo>
                    <a:pt x="426" y="786"/>
                  </a:lnTo>
                  <a:lnTo>
                    <a:pt x="432" y="786"/>
                  </a:lnTo>
                  <a:lnTo>
                    <a:pt x="432" y="780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0" y="756"/>
                  </a:lnTo>
                  <a:lnTo>
                    <a:pt x="420" y="750"/>
                  </a:lnTo>
                  <a:lnTo>
                    <a:pt x="414" y="750"/>
                  </a:lnTo>
                  <a:lnTo>
                    <a:pt x="420" y="750"/>
                  </a:lnTo>
                  <a:lnTo>
                    <a:pt x="420" y="744"/>
                  </a:lnTo>
                  <a:lnTo>
                    <a:pt x="414" y="744"/>
                  </a:lnTo>
                  <a:lnTo>
                    <a:pt x="414" y="738"/>
                  </a:lnTo>
                  <a:lnTo>
                    <a:pt x="414" y="732"/>
                  </a:lnTo>
                  <a:lnTo>
                    <a:pt x="408" y="732"/>
                  </a:lnTo>
                  <a:lnTo>
                    <a:pt x="408" y="726"/>
                  </a:lnTo>
                  <a:lnTo>
                    <a:pt x="402" y="726"/>
                  </a:lnTo>
                  <a:lnTo>
                    <a:pt x="396" y="726"/>
                  </a:lnTo>
                  <a:lnTo>
                    <a:pt x="390" y="726"/>
                  </a:lnTo>
                  <a:lnTo>
                    <a:pt x="390" y="720"/>
                  </a:lnTo>
                  <a:lnTo>
                    <a:pt x="390" y="714"/>
                  </a:lnTo>
                  <a:lnTo>
                    <a:pt x="384" y="708"/>
                  </a:lnTo>
                  <a:lnTo>
                    <a:pt x="384" y="702"/>
                  </a:lnTo>
                  <a:lnTo>
                    <a:pt x="378" y="702"/>
                  </a:lnTo>
                  <a:lnTo>
                    <a:pt x="378" y="696"/>
                  </a:lnTo>
                  <a:lnTo>
                    <a:pt x="378" y="690"/>
                  </a:lnTo>
                  <a:lnTo>
                    <a:pt x="372" y="684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66" y="666"/>
                  </a:lnTo>
                  <a:lnTo>
                    <a:pt x="366" y="660"/>
                  </a:lnTo>
                  <a:lnTo>
                    <a:pt x="366" y="654"/>
                  </a:lnTo>
                  <a:lnTo>
                    <a:pt x="360" y="648"/>
                  </a:lnTo>
                  <a:lnTo>
                    <a:pt x="360" y="654"/>
                  </a:lnTo>
                  <a:lnTo>
                    <a:pt x="360" y="660"/>
                  </a:lnTo>
                  <a:lnTo>
                    <a:pt x="360" y="666"/>
                  </a:lnTo>
                  <a:lnTo>
                    <a:pt x="360" y="672"/>
                  </a:lnTo>
                  <a:lnTo>
                    <a:pt x="360" y="678"/>
                  </a:lnTo>
                  <a:lnTo>
                    <a:pt x="366" y="678"/>
                  </a:lnTo>
                  <a:lnTo>
                    <a:pt x="366" y="684"/>
                  </a:lnTo>
                  <a:lnTo>
                    <a:pt x="366" y="690"/>
                  </a:lnTo>
                  <a:lnTo>
                    <a:pt x="372" y="696"/>
                  </a:lnTo>
                  <a:lnTo>
                    <a:pt x="372" y="702"/>
                  </a:lnTo>
                  <a:lnTo>
                    <a:pt x="372" y="708"/>
                  </a:lnTo>
                  <a:lnTo>
                    <a:pt x="372" y="714"/>
                  </a:lnTo>
                  <a:lnTo>
                    <a:pt x="366" y="714"/>
                  </a:lnTo>
                  <a:lnTo>
                    <a:pt x="360" y="714"/>
                  </a:lnTo>
                  <a:lnTo>
                    <a:pt x="354" y="714"/>
                  </a:lnTo>
                  <a:lnTo>
                    <a:pt x="348" y="714"/>
                  </a:lnTo>
                  <a:lnTo>
                    <a:pt x="348" y="708"/>
                  </a:lnTo>
                  <a:lnTo>
                    <a:pt x="342" y="708"/>
                  </a:lnTo>
                  <a:lnTo>
                    <a:pt x="342" y="702"/>
                  </a:lnTo>
                  <a:lnTo>
                    <a:pt x="342" y="696"/>
                  </a:lnTo>
                  <a:lnTo>
                    <a:pt x="336" y="696"/>
                  </a:lnTo>
                  <a:lnTo>
                    <a:pt x="336" y="690"/>
                  </a:lnTo>
                  <a:lnTo>
                    <a:pt x="336" y="684"/>
                  </a:lnTo>
                  <a:lnTo>
                    <a:pt x="330" y="684"/>
                  </a:lnTo>
                  <a:lnTo>
                    <a:pt x="330" y="678"/>
                  </a:lnTo>
                  <a:lnTo>
                    <a:pt x="324" y="672"/>
                  </a:lnTo>
                  <a:lnTo>
                    <a:pt x="324" y="666"/>
                  </a:lnTo>
                  <a:lnTo>
                    <a:pt x="318" y="666"/>
                  </a:lnTo>
                  <a:lnTo>
                    <a:pt x="318" y="672"/>
                  </a:lnTo>
                  <a:lnTo>
                    <a:pt x="324" y="672"/>
                  </a:lnTo>
                  <a:lnTo>
                    <a:pt x="324" y="678"/>
                  </a:lnTo>
                  <a:lnTo>
                    <a:pt x="324" y="684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30" y="696"/>
                  </a:lnTo>
                  <a:lnTo>
                    <a:pt x="336" y="702"/>
                  </a:lnTo>
                  <a:lnTo>
                    <a:pt x="342" y="708"/>
                  </a:lnTo>
                  <a:lnTo>
                    <a:pt x="342" y="714"/>
                  </a:lnTo>
                  <a:lnTo>
                    <a:pt x="348" y="720"/>
                  </a:lnTo>
                  <a:lnTo>
                    <a:pt x="342" y="720"/>
                  </a:lnTo>
                  <a:lnTo>
                    <a:pt x="336" y="720"/>
                  </a:lnTo>
                  <a:lnTo>
                    <a:pt x="330" y="720"/>
                  </a:lnTo>
                  <a:lnTo>
                    <a:pt x="330" y="726"/>
                  </a:lnTo>
                  <a:lnTo>
                    <a:pt x="336" y="726"/>
                  </a:lnTo>
                  <a:lnTo>
                    <a:pt x="330" y="732"/>
                  </a:lnTo>
                  <a:lnTo>
                    <a:pt x="330" y="738"/>
                  </a:lnTo>
                  <a:lnTo>
                    <a:pt x="330" y="744"/>
                  </a:lnTo>
                  <a:lnTo>
                    <a:pt x="336" y="744"/>
                  </a:lnTo>
                  <a:lnTo>
                    <a:pt x="342" y="744"/>
                  </a:lnTo>
                  <a:lnTo>
                    <a:pt x="348" y="744"/>
                  </a:lnTo>
                  <a:lnTo>
                    <a:pt x="348" y="750"/>
                  </a:lnTo>
                  <a:lnTo>
                    <a:pt x="354" y="750"/>
                  </a:lnTo>
                  <a:lnTo>
                    <a:pt x="360" y="756"/>
                  </a:lnTo>
                  <a:lnTo>
                    <a:pt x="360" y="762"/>
                  </a:lnTo>
                  <a:lnTo>
                    <a:pt x="366" y="762"/>
                  </a:lnTo>
                  <a:lnTo>
                    <a:pt x="366" y="768"/>
                  </a:lnTo>
                  <a:lnTo>
                    <a:pt x="366" y="774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72" y="792"/>
                  </a:lnTo>
                  <a:lnTo>
                    <a:pt x="372" y="798"/>
                  </a:lnTo>
                  <a:lnTo>
                    <a:pt x="372" y="804"/>
                  </a:lnTo>
                  <a:lnTo>
                    <a:pt x="378" y="804"/>
                  </a:lnTo>
                  <a:lnTo>
                    <a:pt x="378" y="810"/>
                  </a:lnTo>
                  <a:lnTo>
                    <a:pt x="378" y="816"/>
                  </a:lnTo>
                  <a:lnTo>
                    <a:pt x="372" y="816"/>
                  </a:lnTo>
                  <a:lnTo>
                    <a:pt x="378" y="816"/>
                  </a:lnTo>
                  <a:lnTo>
                    <a:pt x="378" y="822"/>
                  </a:lnTo>
                  <a:lnTo>
                    <a:pt x="378" y="828"/>
                  </a:lnTo>
                  <a:lnTo>
                    <a:pt x="378" y="834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0" y="864"/>
                  </a:lnTo>
                  <a:lnTo>
                    <a:pt x="384" y="864"/>
                  </a:lnTo>
                  <a:lnTo>
                    <a:pt x="384" y="870"/>
                  </a:lnTo>
                  <a:lnTo>
                    <a:pt x="378" y="864"/>
                  </a:lnTo>
                  <a:lnTo>
                    <a:pt x="372" y="864"/>
                  </a:lnTo>
                  <a:lnTo>
                    <a:pt x="366" y="858"/>
                  </a:lnTo>
                  <a:lnTo>
                    <a:pt x="366" y="852"/>
                  </a:lnTo>
                  <a:lnTo>
                    <a:pt x="360" y="852"/>
                  </a:lnTo>
                  <a:lnTo>
                    <a:pt x="360" y="858"/>
                  </a:lnTo>
                  <a:lnTo>
                    <a:pt x="366" y="858"/>
                  </a:lnTo>
                  <a:lnTo>
                    <a:pt x="366" y="864"/>
                  </a:lnTo>
                  <a:lnTo>
                    <a:pt x="360" y="864"/>
                  </a:lnTo>
                  <a:lnTo>
                    <a:pt x="354" y="864"/>
                  </a:lnTo>
                  <a:lnTo>
                    <a:pt x="354" y="870"/>
                  </a:lnTo>
                  <a:lnTo>
                    <a:pt x="354" y="864"/>
                  </a:lnTo>
                  <a:lnTo>
                    <a:pt x="348" y="864"/>
                  </a:lnTo>
                  <a:lnTo>
                    <a:pt x="342" y="864"/>
                  </a:lnTo>
                  <a:lnTo>
                    <a:pt x="342" y="858"/>
                  </a:lnTo>
                  <a:lnTo>
                    <a:pt x="336" y="858"/>
                  </a:lnTo>
                  <a:lnTo>
                    <a:pt x="330" y="858"/>
                  </a:lnTo>
                  <a:lnTo>
                    <a:pt x="324" y="858"/>
                  </a:lnTo>
                  <a:lnTo>
                    <a:pt x="318" y="858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0" y="852"/>
                  </a:lnTo>
                  <a:lnTo>
                    <a:pt x="294" y="852"/>
                  </a:lnTo>
                  <a:lnTo>
                    <a:pt x="294" y="846"/>
                  </a:lnTo>
                  <a:lnTo>
                    <a:pt x="288" y="840"/>
                  </a:lnTo>
                  <a:lnTo>
                    <a:pt x="288" y="828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2" y="816"/>
                  </a:lnTo>
                  <a:lnTo>
                    <a:pt x="282" y="810"/>
                  </a:lnTo>
                  <a:lnTo>
                    <a:pt x="276" y="810"/>
                  </a:lnTo>
                  <a:lnTo>
                    <a:pt x="276" y="804"/>
                  </a:lnTo>
                  <a:lnTo>
                    <a:pt x="276" y="798"/>
                  </a:lnTo>
                  <a:lnTo>
                    <a:pt x="276" y="792"/>
                  </a:lnTo>
                  <a:lnTo>
                    <a:pt x="270" y="786"/>
                  </a:lnTo>
                  <a:lnTo>
                    <a:pt x="270" y="780"/>
                  </a:lnTo>
                  <a:lnTo>
                    <a:pt x="270" y="774"/>
                  </a:lnTo>
                  <a:lnTo>
                    <a:pt x="264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64" y="750"/>
                  </a:lnTo>
                  <a:lnTo>
                    <a:pt x="264" y="744"/>
                  </a:lnTo>
                  <a:lnTo>
                    <a:pt x="264" y="738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26"/>
                  </a:lnTo>
                  <a:lnTo>
                    <a:pt x="276" y="720"/>
                  </a:lnTo>
                  <a:lnTo>
                    <a:pt x="282" y="720"/>
                  </a:lnTo>
                  <a:lnTo>
                    <a:pt x="282" y="714"/>
                  </a:lnTo>
                  <a:lnTo>
                    <a:pt x="282" y="708"/>
                  </a:lnTo>
                  <a:lnTo>
                    <a:pt x="276" y="708"/>
                  </a:lnTo>
                  <a:lnTo>
                    <a:pt x="276" y="702"/>
                  </a:lnTo>
                  <a:lnTo>
                    <a:pt x="270" y="702"/>
                  </a:lnTo>
                  <a:lnTo>
                    <a:pt x="270" y="696"/>
                  </a:lnTo>
                  <a:lnTo>
                    <a:pt x="264" y="690"/>
                  </a:lnTo>
                  <a:lnTo>
                    <a:pt x="258" y="690"/>
                  </a:lnTo>
                  <a:lnTo>
                    <a:pt x="258" y="684"/>
                  </a:lnTo>
                  <a:lnTo>
                    <a:pt x="252" y="684"/>
                  </a:lnTo>
                  <a:lnTo>
                    <a:pt x="252" y="678"/>
                  </a:lnTo>
                  <a:lnTo>
                    <a:pt x="246" y="678"/>
                  </a:lnTo>
                  <a:lnTo>
                    <a:pt x="240" y="678"/>
                  </a:lnTo>
                  <a:lnTo>
                    <a:pt x="240" y="684"/>
                  </a:lnTo>
                  <a:lnTo>
                    <a:pt x="246" y="684"/>
                  </a:lnTo>
                  <a:lnTo>
                    <a:pt x="252" y="690"/>
                  </a:lnTo>
                  <a:lnTo>
                    <a:pt x="258" y="690"/>
                  </a:lnTo>
                  <a:lnTo>
                    <a:pt x="258" y="696"/>
                  </a:lnTo>
                  <a:lnTo>
                    <a:pt x="258" y="702"/>
                  </a:lnTo>
                  <a:lnTo>
                    <a:pt x="264" y="702"/>
                  </a:lnTo>
                  <a:lnTo>
                    <a:pt x="270" y="708"/>
                  </a:lnTo>
                  <a:lnTo>
                    <a:pt x="270" y="714"/>
                  </a:lnTo>
                  <a:lnTo>
                    <a:pt x="270" y="720"/>
                  </a:lnTo>
                  <a:lnTo>
                    <a:pt x="276" y="720"/>
                  </a:lnTo>
                  <a:lnTo>
                    <a:pt x="270" y="720"/>
                  </a:lnTo>
                  <a:lnTo>
                    <a:pt x="270" y="726"/>
                  </a:lnTo>
                  <a:lnTo>
                    <a:pt x="264" y="726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52" y="738"/>
                  </a:lnTo>
                  <a:lnTo>
                    <a:pt x="252" y="744"/>
                  </a:lnTo>
                  <a:lnTo>
                    <a:pt x="252" y="750"/>
                  </a:lnTo>
                  <a:lnTo>
                    <a:pt x="252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58" y="774"/>
                  </a:lnTo>
                  <a:lnTo>
                    <a:pt x="258" y="780"/>
                  </a:lnTo>
                  <a:lnTo>
                    <a:pt x="264" y="786"/>
                  </a:lnTo>
                  <a:lnTo>
                    <a:pt x="264" y="792"/>
                  </a:lnTo>
                  <a:lnTo>
                    <a:pt x="264" y="798"/>
                  </a:lnTo>
                  <a:lnTo>
                    <a:pt x="270" y="810"/>
                  </a:lnTo>
                  <a:lnTo>
                    <a:pt x="270" y="816"/>
                  </a:lnTo>
                  <a:lnTo>
                    <a:pt x="270" y="822"/>
                  </a:lnTo>
                  <a:lnTo>
                    <a:pt x="276" y="822"/>
                  </a:lnTo>
                  <a:lnTo>
                    <a:pt x="276" y="828"/>
                  </a:lnTo>
                  <a:lnTo>
                    <a:pt x="276" y="834"/>
                  </a:lnTo>
                  <a:lnTo>
                    <a:pt x="276" y="840"/>
                  </a:lnTo>
                  <a:lnTo>
                    <a:pt x="276" y="846"/>
                  </a:lnTo>
                  <a:lnTo>
                    <a:pt x="282" y="852"/>
                  </a:lnTo>
                  <a:lnTo>
                    <a:pt x="282" y="858"/>
                  </a:lnTo>
                  <a:lnTo>
                    <a:pt x="294" y="864"/>
                  </a:lnTo>
                  <a:lnTo>
                    <a:pt x="300" y="870"/>
                  </a:lnTo>
                  <a:lnTo>
                    <a:pt x="300" y="876"/>
                  </a:lnTo>
                  <a:lnTo>
                    <a:pt x="288" y="876"/>
                  </a:lnTo>
                  <a:lnTo>
                    <a:pt x="282" y="876"/>
                  </a:lnTo>
                  <a:lnTo>
                    <a:pt x="276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2" y="882"/>
                  </a:lnTo>
                  <a:lnTo>
                    <a:pt x="246" y="882"/>
                  </a:lnTo>
                  <a:lnTo>
                    <a:pt x="240" y="882"/>
                  </a:lnTo>
                  <a:lnTo>
                    <a:pt x="234" y="882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204" y="876"/>
                  </a:lnTo>
                  <a:lnTo>
                    <a:pt x="198" y="876"/>
                  </a:lnTo>
                  <a:lnTo>
                    <a:pt x="198" y="870"/>
                  </a:lnTo>
                  <a:lnTo>
                    <a:pt x="198" y="852"/>
                  </a:lnTo>
                  <a:lnTo>
                    <a:pt x="198" y="846"/>
                  </a:lnTo>
                  <a:lnTo>
                    <a:pt x="204" y="846"/>
                  </a:lnTo>
                  <a:lnTo>
                    <a:pt x="198" y="840"/>
                  </a:lnTo>
                  <a:lnTo>
                    <a:pt x="198" y="834"/>
                  </a:lnTo>
                  <a:lnTo>
                    <a:pt x="198" y="828"/>
                  </a:lnTo>
                  <a:lnTo>
                    <a:pt x="198" y="822"/>
                  </a:lnTo>
                  <a:lnTo>
                    <a:pt x="198" y="816"/>
                  </a:lnTo>
                  <a:lnTo>
                    <a:pt x="198" y="810"/>
                  </a:lnTo>
                  <a:lnTo>
                    <a:pt x="192" y="810"/>
                  </a:lnTo>
                  <a:lnTo>
                    <a:pt x="192" y="804"/>
                  </a:lnTo>
                  <a:lnTo>
                    <a:pt x="192" y="798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2" y="774"/>
                  </a:lnTo>
                  <a:lnTo>
                    <a:pt x="192" y="768"/>
                  </a:lnTo>
                  <a:lnTo>
                    <a:pt x="198" y="768"/>
                  </a:lnTo>
                  <a:lnTo>
                    <a:pt x="198" y="762"/>
                  </a:lnTo>
                  <a:lnTo>
                    <a:pt x="198" y="756"/>
                  </a:lnTo>
                  <a:lnTo>
                    <a:pt x="204" y="756"/>
                  </a:lnTo>
                  <a:lnTo>
                    <a:pt x="204" y="750"/>
                  </a:lnTo>
                  <a:lnTo>
                    <a:pt x="210" y="744"/>
                  </a:lnTo>
                  <a:lnTo>
                    <a:pt x="210" y="738"/>
                  </a:lnTo>
                  <a:lnTo>
                    <a:pt x="210" y="732"/>
                  </a:lnTo>
                  <a:lnTo>
                    <a:pt x="210" y="726"/>
                  </a:lnTo>
                  <a:lnTo>
                    <a:pt x="210" y="720"/>
                  </a:lnTo>
                  <a:lnTo>
                    <a:pt x="204" y="714"/>
                  </a:lnTo>
                  <a:lnTo>
                    <a:pt x="204" y="720"/>
                  </a:lnTo>
                  <a:lnTo>
                    <a:pt x="204" y="732"/>
                  </a:lnTo>
                  <a:lnTo>
                    <a:pt x="204" y="738"/>
                  </a:lnTo>
                  <a:lnTo>
                    <a:pt x="198" y="738"/>
                  </a:lnTo>
                  <a:lnTo>
                    <a:pt x="198" y="744"/>
                  </a:lnTo>
                  <a:lnTo>
                    <a:pt x="198" y="750"/>
                  </a:lnTo>
                  <a:lnTo>
                    <a:pt x="192" y="756"/>
                  </a:lnTo>
                  <a:lnTo>
                    <a:pt x="186" y="762"/>
                  </a:lnTo>
                  <a:lnTo>
                    <a:pt x="186" y="768"/>
                  </a:lnTo>
                  <a:lnTo>
                    <a:pt x="186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98"/>
                  </a:lnTo>
                  <a:lnTo>
                    <a:pt x="186" y="804"/>
                  </a:lnTo>
                  <a:lnTo>
                    <a:pt x="186" y="810"/>
                  </a:lnTo>
                  <a:lnTo>
                    <a:pt x="192" y="816"/>
                  </a:lnTo>
                  <a:lnTo>
                    <a:pt x="192" y="828"/>
                  </a:lnTo>
                  <a:lnTo>
                    <a:pt x="192" y="834"/>
                  </a:lnTo>
                  <a:lnTo>
                    <a:pt x="186" y="834"/>
                  </a:lnTo>
                  <a:lnTo>
                    <a:pt x="186" y="828"/>
                  </a:lnTo>
                  <a:lnTo>
                    <a:pt x="180" y="822"/>
                  </a:lnTo>
                  <a:lnTo>
                    <a:pt x="180" y="816"/>
                  </a:lnTo>
                  <a:lnTo>
                    <a:pt x="180" y="810"/>
                  </a:lnTo>
                  <a:lnTo>
                    <a:pt x="174" y="810"/>
                  </a:lnTo>
                  <a:lnTo>
                    <a:pt x="174" y="804"/>
                  </a:lnTo>
                  <a:lnTo>
                    <a:pt x="174" y="798"/>
                  </a:lnTo>
                  <a:lnTo>
                    <a:pt x="174" y="792"/>
                  </a:lnTo>
                  <a:lnTo>
                    <a:pt x="168" y="786"/>
                  </a:lnTo>
                  <a:lnTo>
                    <a:pt x="168" y="780"/>
                  </a:lnTo>
                  <a:lnTo>
                    <a:pt x="162" y="780"/>
                  </a:lnTo>
                  <a:lnTo>
                    <a:pt x="168" y="774"/>
                  </a:lnTo>
                  <a:lnTo>
                    <a:pt x="168" y="768"/>
                  </a:lnTo>
                  <a:lnTo>
                    <a:pt x="174" y="768"/>
                  </a:lnTo>
                  <a:lnTo>
                    <a:pt x="168" y="768"/>
                  </a:lnTo>
                  <a:lnTo>
                    <a:pt x="162" y="774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50" y="774"/>
                  </a:lnTo>
                  <a:lnTo>
                    <a:pt x="144" y="774"/>
                  </a:lnTo>
                  <a:lnTo>
                    <a:pt x="144" y="768"/>
                  </a:lnTo>
                  <a:lnTo>
                    <a:pt x="144" y="762"/>
                  </a:lnTo>
                  <a:lnTo>
                    <a:pt x="138" y="756"/>
                  </a:lnTo>
                  <a:lnTo>
                    <a:pt x="132" y="756"/>
                  </a:lnTo>
                  <a:lnTo>
                    <a:pt x="138" y="756"/>
                  </a:lnTo>
                  <a:lnTo>
                    <a:pt x="138" y="762"/>
                  </a:lnTo>
                  <a:lnTo>
                    <a:pt x="138" y="768"/>
                  </a:lnTo>
                  <a:lnTo>
                    <a:pt x="144" y="768"/>
                  </a:lnTo>
                  <a:lnTo>
                    <a:pt x="144" y="774"/>
                  </a:lnTo>
                  <a:lnTo>
                    <a:pt x="150" y="780"/>
                  </a:lnTo>
                  <a:lnTo>
                    <a:pt x="156" y="780"/>
                  </a:lnTo>
                  <a:lnTo>
                    <a:pt x="156" y="786"/>
                  </a:lnTo>
                  <a:lnTo>
                    <a:pt x="162" y="786"/>
                  </a:lnTo>
                  <a:lnTo>
                    <a:pt x="168" y="792"/>
                  </a:lnTo>
                  <a:lnTo>
                    <a:pt x="168" y="798"/>
                  </a:lnTo>
                  <a:lnTo>
                    <a:pt x="168" y="804"/>
                  </a:lnTo>
                  <a:lnTo>
                    <a:pt x="174" y="810"/>
                  </a:lnTo>
                  <a:lnTo>
                    <a:pt x="174" y="816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68" y="828"/>
                  </a:lnTo>
                  <a:lnTo>
                    <a:pt x="168" y="834"/>
                  </a:lnTo>
                  <a:lnTo>
                    <a:pt x="174" y="840"/>
                  </a:lnTo>
                  <a:lnTo>
                    <a:pt x="180" y="840"/>
                  </a:lnTo>
                  <a:lnTo>
                    <a:pt x="180" y="846"/>
                  </a:lnTo>
                  <a:lnTo>
                    <a:pt x="186" y="846"/>
                  </a:lnTo>
                  <a:lnTo>
                    <a:pt x="186" y="852"/>
                  </a:lnTo>
                  <a:lnTo>
                    <a:pt x="186" y="858"/>
                  </a:lnTo>
                  <a:lnTo>
                    <a:pt x="186" y="864"/>
                  </a:lnTo>
                  <a:lnTo>
                    <a:pt x="192" y="864"/>
                  </a:lnTo>
                  <a:lnTo>
                    <a:pt x="192" y="870"/>
                  </a:lnTo>
                  <a:lnTo>
                    <a:pt x="192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6" y="888"/>
                  </a:lnTo>
                  <a:lnTo>
                    <a:pt x="180" y="888"/>
                  </a:lnTo>
                  <a:lnTo>
                    <a:pt x="174" y="888"/>
                  </a:lnTo>
                  <a:lnTo>
                    <a:pt x="168" y="894"/>
                  </a:lnTo>
                  <a:lnTo>
                    <a:pt x="162" y="894"/>
                  </a:lnTo>
                  <a:lnTo>
                    <a:pt x="156" y="894"/>
                  </a:lnTo>
                  <a:lnTo>
                    <a:pt x="150" y="894"/>
                  </a:lnTo>
                  <a:lnTo>
                    <a:pt x="144" y="894"/>
                  </a:lnTo>
                  <a:lnTo>
                    <a:pt x="144" y="900"/>
                  </a:lnTo>
                  <a:lnTo>
                    <a:pt x="138" y="894"/>
                  </a:lnTo>
                  <a:lnTo>
                    <a:pt x="138" y="900"/>
                  </a:lnTo>
                  <a:lnTo>
                    <a:pt x="132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6" y="882"/>
                  </a:lnTo>
                  <a:lnTo>
                    <a:pt x="126" y="876"/>
                  </a:lnTo>
                  <a:lnTo>
                    <a:pt x="120" y="876"/>
                  </a:lnTo>
                  <a:lnTo>
                    <a:pt x="126" y="870"/>
                  </a:lnTo>
                  <a:lnTo>
                    <a:pt x="126" y="864"/>
                  </a:lnTo>
                  <a:lnTo>
                    <a:pt x="126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26" y="828"/>
                  </a:lnTo>
                  <a:lnTo>
                    <a:pt x="126" y="822"/>
                  </a:lnTo>
                  <a:lnTo>
                    <a:pt x="126" y="816"/>
                  </a:lnTo>
                  <a:lnTo>
                    <a:pt x="126" y="810"/>
                  </a:lnTo>
                  <a:lnTo>
                    <a:pt x="126" y="804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20" y="792"/>
                  </a:lnTo>
                  <a:lnTo>
                    <a:pt x="114" y="792"/>
                  </a:lnTo>
                  <a:lnTo>
                    <a:pt x="114" y="786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96" y="780"/>
                  </a:lnTo>
                  <a:lnTo>
                    <a:pt x="96" y="774"/>
                  </a:lnTo>
                  <a:lnTo>
                    <a:pt x="90" y="774"/>
                  </a:lnTo>
                  <a:lnTo>
                    <a:pt x="90" y="768"/>
                  </a:lnTo>
                  <a:close/>
                  <a:moveTo>
                    <a:pt x="96" y="780"/>
                  </a:moveTo>
                  <a:lnTo>
                    <a:pt x="102" y="780"/>
                  </a:lnTo>
                  <a:lnTo>
                    <a:pt x="102" y="786"/>
                  </a:lnTo>
                  <a:lnTo>
                    <a:pt x="108" y="786"/>
                  </a:lnTo>
                  <a:lnTo>
                    <a:pt x="114" y="792"/>
                  </a:lnTo>
                  <a:lnTo>
                    <a:pt x="120" y="798"/>
                  </a:lnTo>
                  <a:lnTo>
                    <a:pt x="120" y="804"/>
                  </a:lnTo>
                  <a:lnTo>
                    <a:pt x="126" y="810"/>
                  </a:lnTo>
                  <a:lnTo>
                    <a:pt x="126" y="816"/>
                  </a:lnTo>
                  <a:lnTo>
                    <a:pt x="126" y="822"/>
                  </a:lnTo>
                  <a:lnTo>
                    <a:pt x="120" y="828"/>
                  </a:lnTo>
                  <a:lnTo>
                    <a:pt x="120" y="840"/>
                  </a:lnTo>
                  <a:lnTo>
                    <a:pt x="120" y="852"/>
                  </a:lnTo>
                  <a:lnTo>
                    <a:pt x="120" y="858"/>
                  </a:lnTo>
                  <a:lnTo>
                    <a:pt x="120" y="864"/>
                  </a:lnTo>
                  <a:lnTo>
                    <a:pt x="120" y="870"/>
                  </a:lnTo>
                  <a:lnTo>
                    <a:pt x="114" y="870"/>
                  </a:lnTo>
                  <a:lnTo>
                    <a:pt x="108" y="870"/>
                  </a:lnTo>
                  <a:lnTo>
                    <a:pt x="108" y="876"/>
                  </a:lnTo>
                  <a:lnTo>
                    <a:pt x="114" y="876"/>
                  </a:lnTo>
                  <a:lnTo>
                    <a:pt x="120" y="876"/>
                  </a:lnTo>
                  <a:lnTo>
                    <a:pt x="120" y="882"/>
                  </a:lnTo>
                  <a:lnTo>
                    <a:pt x="114" y="888"/>
                  </a:lnTo>
                  <a:lnTo>
                    <a:pt x="120" y="888"/>
                  </a:lnTo>
                  <a:lnTo>
                    <a:pt x="120" y="894"/>
                  </a:lnTo>
                  <a:lnTo>
                    <a:pt x="114" y="894"/>
                  </a:lnTo>
                  <a:lnTo>
                    <a:pt x="108" y="894"/>
                  </a:lnTo>
                  <a:lnTo>
                    <a:pt x="96" y="894"/>
                  </a:lnTo>
                  <a:lnTo>
                    <a:pt x="96" y="882"/>
                  </a:lnTo>
                  <a:lnTo>
                    <a:pt x="96" y="876"/>
                  </a:lnTo>
                  <a:lnTo>
                    <a:pt x="84" y="870"/>
                  </a:lnTo>
                  <a:lnTo>
                    <a:pt x="72" y="864"/>
                  </a:lnTo>
                  <a:lnTo>
                    <a:pt x="72" y="852"/>
                  </a:lnTo>
                  <a:lnTo>
                    <a:pt x="72" y="840"/>
                  </a:lnTo>
                  <a:lnTo>
                    <a:pt x="78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90" y="792"/>
                  </a:lnTo>
                  <a:lnTo>
                    <a:pt x="96" y="780"/>
                  </a:lnTo>
                  <a:close/>
                  <a:moveTo>
                    <a:pt x="492" y="810"/>
                  </a:moveTo>
                  <a:lnTo>
                    <a:pt x="498" y="810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510" y="792"/>
                  </a:lnTo>
                  <a:lnTo>
                    <a:pt x="516" y="786"/>
                  </a:lnTo>
                  <a:lnTo>
                    <a:pt x="522" y="780"/>
                  </a:lnTo>
                  <a:lnTo>
                    <a:pt x="522" y="774"/>
                  </a:lnTo>
                  <a:lnTo>
                    <a:pt x="528" y="768"/>
                  </a:lnTo>
                  <a:lnTo>
                    <a:pt x="528" y="762"/>
                  </a:lnTo>
                  <a:lnTo>
                    <a:pt x="534" y="762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46" y="780"/>
                  </a:lnTo>
                  <a:lnTo>
                    <a:pt x="552" y="786"/>
                  </a:lnTo>
                  <a:lnTo>
                    <a:pt x="558" y="786"/>
                  </a:lnTo>
                  <a:lnTo>
                    <a:pt x="564" y="786"/>
                  </a:lnTo>
                  <a:lnTo>
                    <a:pt x="576" y="786"/>
                  </a:lnTo>
                  <a:lnTo>
                    <a:pt x="582" y="786"/>
                  </a:lnTo>
                  <a:lnTo>
                    <a:pt x="588" y="786"/>
                  </a:lnTo>
                  <a:lnTo>
                    <a:pt x="594" y="786"/>
                  </a:lnTo>
                  <a:lnTo>
                    <a:pt x="588" y="792"/>
                  </a:lnTo>
                  <a:lnTo>
                    <a:pt x="588" y="798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82" y="822"/>
                  </a:lnTo>
                  <a:lnTo>
                    <a:pt x="588" y="828"/>
                  </a:lnTo>
                  <a:lnTo>
                    <a:pt x="588" y="834"/>
                  </a:lnTo>
                  <a:lnTo>
                    <a:pt x="582" y="840"/>
                  </a:lnTo>
                  <a:lnTo>
                    <a:pt x="570" y="840"/>
                  </a:lnTo>
                  <a:lnTo>
                    <a:pt x="558" y="846"/>
                  </a:lnTo>
                  <a:lnTo>
                    <a:pt x="552" y="846"/>
                  </a:lnTo>
                  <a:lnTo>
                    <a:pt x="534" y="852"/>
                  </a:lnTo>
                  <a:lnTo>
                    <a:pt x="522" y="858"/>
                  </a:lnTo>
                  <a:lnTo>
                    <a:pt x="510" y="858"/>
                  </a:lnTo>
                  <a:lnTo>
                    <a:pt x="498" y="864"/>
                  </a:lnTo>
                  <a:lnTo>
                    <a:pt x="474" y="864"/>
                  </a:lnTo>
                  <a:lnTo>
                    <a:pt x="468" y="858"/>
                  </a:lnTo>
                  <a:lnTo>
                    <a:pt x="468" y="852"/>
                  </a:lnTo>
                  <a:lnTo>
                    <a:pt x="468" y="846"/>
                  </a:lnTo>
                  <a:lnTo>
                    <a:pt x="474" y="840"/>
                  </a:lnTo>
                  <a:lnTo>
                    <a:pt x="474" y="834"/>
                  </a:lnTo>
                  <a:lnTo>
                    <a:pt x="480" y="828"/>
                  </a:lnTo>
                  <a:lnTo>
                    <a:pt x="492" y="822"/>
                  </a:lnTo>
                  <a:lnTo>
                    <a:pt x="492" y="810"/>
                  </a:lnTo>
                  <a:close/>
                  <a:moveTo>
                    <a:pt x="384" y="720"/>
                  </a:moveTo>
                  <a:lnTo>
                    <a:pt x="384" y="726"/>
                  </a:lnTo>
                  <a:lnTo>
                    <a:pt x="390" y="726"/>
                  </a:lnTo>
                  <a:lnTo>
                    <a:pt x="396" y="726"/>
                  </a:lnTo>
                  <a:lnTo>
                    <a:pt x="402" y="732"/>
                  </a:lnTo>
                  <a:lnTo>
                    <a:pt x="408" y="732"/>
                  </a:lnTo>
                  <a:lnTo>
                    <a:pt x="414" y="732"/>
                  </a:lnTo>
                  <a:lnTo>
                    <a:pt x="414" y="738"/>
                  </a:lnTo>
                  <a:lnTo>
                    <a:pt x="414" y="744"/>
                  </a:lnTo>
                  <a:lnTo>
                    <a:pt x="414" y="750"/>
                  </a:lnTo>
                  <a:lnTo>
                    <a:pt x="414" y="756"/>
                  </a:lnTo>
                  <a:lnTo>
                    <a:pt x="414" y="762"/>
                  </a:lnTo>
                  <a:lnTo>
                    <a:pt x="420" y="768"/>
                  </a:lnTo>
                  <a:lnTo>
                    <a:pt x="420" y="774"/>
                  </a:lnTo>
                  <a:lnTo>
                    <a:pt x="426" y="780"/>
                  </a:lnTo>
                  <a:lnTo>
                    <a:pt x="426" y="786"/>
                  </a:lnTo>
                  <a:lnTo>
                    <a:pt x="420" y="786"/>
                  </a:lnTo>
                  <a:lnTo>
                    <a:pt x="420" y="792"/>
                  </a:lnTo>
                  <a:lnTo>
                    <a:pt x="420" y="798"/>
                  </a:lnTo>
                  <a:lnTo>
                    <a:pt x="420" y="804"/>
                  </a:lnTo>
                  <a:lnTo>
                    <a:pt x="426" y="804"/>
                  </a:lnTo>
                  <a:lnTo>
                    <a:pt x="426" y="810"/>
                  </a:lnTo>
                  <a:lnTo>
                    <a:pt x="426" y="816"/>
                  </a:lnTo>
                  <a:lnTo>
                    <a:pt x="432" y="816"/>
                  </a:lnTo>
                  <a:lnTo>
                    <a:pt x="438" y="816"/>
                  </a:lnTo>
                  <a:lnTo>
                    <a:pt x="438" y="822"/>
                  </a:lnTo>
                  <a:lnTo>
                    <a:pt x="432" y="822"/>
                  </a:lnTo>
                  <a:lnTo>
                    <a:pt x="426" y="828"/>
                  </a:lnTo>
                  <a:lnTo>
                    <a:pt x="420" y="828"/>
                  </a:lnTo>
                  <a:lnTo>
                    <a:pt x="414" y="828"/>
                  </a:lnTo>
                  <a:lnTo>
                    <a:pt x="408" y="828"/>
                  </a:lnTo>
                  <a:lnTo>
                    <a:pt x="402" y="828"/>
                  </a:lnTo>
                  <a:lnTo>
                    <a:pt x="402" y="822"/>
                  </a:lnTo>
                  <a:lnTo>
                    <a:pt x="396" y="822"/>
                  </a:lnTo>
                  <a:lnTo>
                    <a:pt x="402" y="822"/>
                  </a:lnTo>
                  <a:lnTo>
                    <a:pt x="402" y="816"/>
                  </a:lnTo>
                  <a:lnTo>
                    <a:pt x="396" y="816"/>
                  </a:lnTo>
                  <a:lnTo>
                    <a:pt x="396" y="810"/>
                  </a:lnTo>
                  <a:lnTo>
                    <a:pt x="396" y="804"/>
                  </a:lnTo>
                  <a:lnTo>
                    <a:pt x="390" y="798"/>
                  </a:lnTo>
                  <a:lnTo>
                    <a:pt x="390" y="792"/>
                  </a:lnTo>
                  <a:lnTo>
                    <a:pt x="390" y="786"/>
                  </a:lnTo>
                  <a:lnTo>
                    <a:pt x="390" y="780"/>
                  </a:lnTo>
                  <a:lnTo>
                    <a:pt x="390" y="774"/>
                  </a:lnTo>
                  <a:lnTo>
                    <a:pt x="390" y="768"/>
                  </a:lnTo>
                  <a:lnTo>
                    <a:pt x="390" y="762"/>
                  </a:lnTo>
                  <a:lnTo>
                    <a:pt x="384" y="756"/>
                  </a:lnTo>
                  <a:lnTo>
                    <a:pt x="384" y="750"/>
                  </a:lnTo>
                  <a:lnTo>
                    <a:pt x="384" y="744"/>
                  </a:lnTo>
                  <a:lnTo>
                    <a:pt x="378" y="744"/>
                  </a:lnTo>
                  <a:lnTo>
                    <a:pt x="384" y="744"/>
                  </a:lnTo>
                  <a:lnTo>
                    <a:pt x="384" y="738"/>
                  </a:lnTo>
                  <a:lnTo>
                    <a:pt x="378" y="738"/>
                  </a:lnTo>
                  <a:lnTo>
                    <a:pt x="378" y="732"/>
                  </a:lnTo>
                  <a:lnTo>
                    <a:pt x="378" y="726"/>
                  </a:lnTo>
                  <a:lnTo>
                    <a:pt x="378" y="720"/>
                  </a:lnTo>
                  <a:lnTo>
                    <a:pt x="384" y="720"/>
                  </a:lnTo>
                  <a:close/>
                  <a:moveTo>
                    <a:pt x="330" y="738"/>
                  </a:moveTo>
                  <a:lnTo>
                    <a:pt x="336" y="732"/>
                  </a:lnTo>
                  <a:lnTo>
                    <a:pt x="336" y="726"/>
                  </a:lnTo>
                  <a:lnTo>
                    <a:pt x="342" y="720"/>
                  </a:lnTo>
                  <a:lnTo>
                    <a:pt x="348" y="720"/>
                  </a:lnTo>
                  <a:lnTo>
                    <a:pt x="360" y="720"/>
                  </a:lnTo>
                  <a:lnTo>
                    <a:pt x="366" y="726"/>
                  </a:lnTo>
                  <a:lnTo>
                    <a:pt x="372" y="732"/>
                  </a:lnTo>
                  <a:lnTo>
                    <a:pt x="372" y="738"/>
                  </a:lnTo>
                  <a:lnTo>
                    <a:pt x="366" y="750"/>
                  </a:lnTo>
                  <a:lnTo>
                    <a:pt x="372" y="756"/>
                  </a:lnTo>
                  <a:lnTo>
                    <a:pt x="372" y="762"/>
                  </a:lnTo>
                  <a:lnTo>
                    <a:pt x="372" y="768"/>
                  </a:lnTo>
                  <a:lnTo>
                    <a:pt x="372" y="774"/>
                  </a:lnTo>
                  <a:lnTo>
                    <a:pt x="372" y="780"/>
                  </a:lnTo>
                  <a:lnTo>
                    <a:pt x="372" y="774"/>
                  </a:lnTo>
                  <a:lnTo>
                    <a:pt x="366" y="768"/>
                  </a:lnTo>
                  <a:lnTo>
                    <a:pt x="366" y="762"/>
                  </a:lnTo>
                  <a:lnTo>
                    <a:pt x="366" y="756"/>
                  </a:lnTo>
                  <a:lnTo>
                    <a:pt x="360" y="756"/>
                  </a:lnTo>
                  <a:lnTo>
                    <a:pt x="360" y="750"/>
                  </a:lnTo>
                  <a:lnTo>
                    <a:pt x="354" y="750"/>
                  </a:lnTo>
                  <a:lnTo>
                    <a:pt x="348" y="744"/>
                  </a:lnTo>
                  <a:lnTo>
                    <a:pt x="342" y="744"/>
                  </a:lnTo>
                  <a:lnTo>
                    <a:pt x="336" y="744"/>
                  </a:lnTo>
                  <a:lnTo>
                    <a:pt x="330" y="73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01" name="Freeform 6">
              <a:extLst>
                <a:ext uri="{FF2B5EF4-FFF2-40B4-BE49-F238E27FC236}">
                  <a16:creationId xmlns:a16="http://schemas.microsoft.com/office/drawing/2014/main" id="{0656C385-F30A-4AC8-AE9F-B1F66208B38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3123" y="4163918"/>
              <a:ext cx="266107" cy="248252"/>
            </a:xfrm>
            <a:custGeom>
              <a:avLst/>
              <a:gdLst>
                <a:gd name="T0" fmla="*/ 33 w 504"/>
                <a:gd name="T1" fmla="*/ 41 h 468"/>
                <a:gd name="T2" fmla="*/ 26 w 504"/>
                <a:gd name="T3" fmla="*/ 39 h 468"/>
                <a:gd name="T4" fmla="*/ 21 w 504"/>
                <a:gd name="T5" fmla="*/ 38 h 468"/>
                <a:gd name="T6" fmla="*/ 18 w 504"/>
                <a:gd name="T7" fmla="*/ 38 h 468"/>
                <a:gd name="T8" fmla="*/ 15 w 504"/>
                <a:gd name="T9" fmla="*/ 39 h 468"/>
                <a:gd name="T10" fmla="*/ 12 w 504"/>
                <a:gd name="T11" fmla="*/ 38 h 468"/>
                <a:gd name="T12" fmla="*/ 9 w 504"/>
                <a:gd name="T13" fmla="*/ 37 h 468"/>
                <a:gd name="T14" fmla="*/ 7 w 504"/>
                <a:gd name="T15" fmla="*/ 32 h 468"/>
                <a:gd name="T16" fmla="*/ 6 w 504"/>
                <a:gd name="T17" fmla="*/ 26 h 468"/>
                <a:gd name="T18" fmla="*/ 3 w 504"/>
                <a:gd name="T19" fmla="*/ 24 h 468"/>
                <a:gd name="T20" fmla="*/ 1 w 504"/>
                <a:gd name="T21" fmla="*/ 24 h 468"/>
                <a:gd name="T22" fmla="*/ 2 w 504"/>
                <a:gd name="T23" fmla="*/ 18 h 468"/>
                <a:gd name="T24" fmla="*/ 1 w 504"/>
                <a:gd name="T25" fmla="*/ 17 h 468"/>
                <a:gd name="T26" fmla="*/ 0 w 504"/>
                <a:gd name="T27" fmla="*/ 17 h 468"/>
                <a:gd name="T28" fmla="*/ 0 w 504"/>
                <a:gd name="T29" fmla="*/ 15 h 468"/>
                <a:gd name="T30" fmla="*/ 2 w 504"/>
                <a:gd name="T31" fmla="*/ 12 h 468"/>
                <a:gd name="T32" fmla="*/ 4 w 504"/>
                <a:gd name="T33" fmla="*/ 10 h 468"/>
                <a:gd name="T34" fmla="*/ 6 w 504"/>
                <a:gd name="T35" fmla="*/ 8 h 468"/>
                <a:gd name="T36" fmla="*/ 8 w 504"/>
                <a:gd name="T37" fmla="*/ 8 h 468"/>
                <a:gd name="T38" fmla="*/ 10 w 504"/>
                <a:gd name="T39" fmla="*/ 9 h 468"/>
                <a:gd name="T40" fmla="*/ 12 w 504"/>
                <a:gd name="T41" fmla="*/ 10 h 468"/>
                <a:gd name="T42" fmla="*/ 12 w 504"/>
                <a:gd name="T43" fmla="*/ 11 h 468"/>
                <a:gd name="T44" fmla="*/ 14 w 504"/>
                <a:gd name="T45" fmla="*/ 8 h 468"/>
                <a:gd name="T46" fmla="*/ 15 w 504"/>
                <a:gd name="T47" fmla="*/ 7 h 468"/>
                <a:gd name="T48" fmla="*/ 17 w 504"/>
                <a:gd name="T49" fmla="*/ 6 h 468"/>
                <a:gd name="T50" fmla="*/ 19 w 504"/>
                <a:gd name="T51" fmla="*/ 3 h 468"/>
                <a:gd name="T52" fmla="*/ 20 w 504"/>
                <a:gd name="T53" fmla="*/ 2 h 468"/>
                <a:gd name="T54" fmla="*/ 22 w 504"/>
                <a:gd name="T55" fmla="*/ 1 h 468"/>
                <a:gd name="T56" fmla="*/ 27 w 504"/>
                <a:gd name="T57" fmla="*/ 1 h 468"/>
                <a:gd name="T58" fmla="*/ 30 w 504"/>
                <a:gd name="T59" fmla="*/ 2 h 468"/>
                <a:gd name="T60" fmla="*/ 31 w 504"/>
                <a:gd name="T61" fmla="*/ 2 h 468"/>
                <a:gd name="T62" fmla="*/ 34 w 504"/>
                <a:gd name="T63" fmla="*/ 0 h 468"/>
                <a:gd name="T64" fmla="*/ 37 w 504"/>
                <a:gd name="T65" fmla="*/ 1 h 468"/>
                <a:gd name="T66" fmla="*/ 41 w 504"/>
                <a:gd name="T67" fmla="*/ 2 h 468"/>
                <a:gd name="T68" fmla="*/ 42 w 504"/>
                <a:gd name="T69" fmla="*/ 4 h 468"/>
                <a:gd name="T70" fmla="*/ 42 w 504"/>
                <a:gd name="T71" fmla="*/ 10 h 468"/>
                <a:gd name="T72" fmla="*/ 41 w 504"/>
                <a:gd name="T73" fmla="*/ 14 h 468"/>
                <a:gd name="T74" fmla="*/ 42 w 504"/>
                <a:gd name="T75" fmla="*/ 15 h 468"/>
                <a:gd name="T76" fmla="*/ 44 w 504"/>
                <a:gd name="T77" fmla="*/ 18 h 468"/>
                <a:gd name="T78" fmla="*/ 43 w 504"/>
                <a:gd name="T79" fmla="*/ 19 h 468"/>
                <a:gd name="T80" fmla="*/ 42 w 504"/>
                <a:gd name="T81" fmla="*/ 21 h 468"/>
                <a:gd name="T82" fmla="*/ 42 w 504"/>
                <a:gd name="T83" fmla="*/ 23 h 468"/>
                <a:gd name="T84" fmla="*/ 39 w 504"/>
                <a:gd name="T85" fmla="*/ 27 h 468"/>
                <a:gd name="T86" fmla="*/ 38 w 504"/>
                <a:gd name="T87" fmla="*/ 29 h 468"/>
                <a:gd name="T88" fmla="*/ 38 w 504"/>
                <a:gd name="T89" fmla="*/ 31 h 468"/>
                <a:gd name="T90" fmla="*/ 36 w 504"/>
                <a:gd name="T91" fmla="*/ 32 h 468"/>
                <a:gd name="T92" fmla="*/ 35 w 504"/>
                <a:gd name="T93" fmla="*/ 34 h 468"/>
                <a:gd name="T94" fmla="*/ 34 w 504"/>
                <a:gd name="T95" fmla="*/ 38 h 46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04"/>
                <a:gd name="T145" fmla="*/ 0 h 468"/>
                <a:gd name="T146" fmla="*/ 504 w 504"/>
                <a:gd name="T147" fmla="*/ 468 h 46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04" h="468">
                  <a:moveTo>
                    <a:pt x="390" y="456"/>
                  </a:moveTo>
                  <a:lnTo>
                    <a:pt x="384" y="468"/>
                  </a:lnTo>
                  <a:lnTo>
                    <a:pt x="378" y="468"/>
                  </a:lnTo>
                  <a:lnTo>
                    <a:pt x="354" y="468"/>
                  </a:lnTo>
                  <a:lnTo>
                    <a:pt x="348" y="462"/>
                  </a:lnTo>
                  <a:lnTo>
                    <a:pt x="300" y="456"/>
                  </a:lnTo>
                  <a:lnTo>
                    <a:pt x="270" y="444"/>
                  </a:lnTo>
                  <a:lnTo>
                    <a:pt x="252" y="438"/>
                  </a:lnTo>
                  <a:lnTo>
                    <a:pt x="240" y="438"/>
                  </a:lnTo>
                  <a:lnTo>
                    <a:pt x="234" y="438"/>
                  </a:lnTo>
                  <a:lnTo>
                    <a:pt x="228" y="444"/>
                  </a:lnTo>
                  <a:lnTo>
                    <a:pt x="210" y="444"/>
                  </a:lnTo>
                  <a:lnTo>
                    <a:pt x="198" y="444"/>
                  </a:lnTo>
                  <a:lnTo>
                    <a:pt x="198" y="450"/>
                  </a:lnTo>
                  <a:lnTo>
                    <a:pt x="168" y="456"/>
                  </a:lnTo>
                  <a:lnTo>
                    <a:pt x="150" y="450"/>
                  </a:lnTo>
                  <a:lnTo>
                    <a:pt x="144" y="444"/>
                  </a:lnTo>
                  <a:lnTo>
                    <a:pt x="132" y="438"/>
                  </a:lnTo>
                  <a:lnTo>
                    <a:pt x="138" y="432"/>
                  </a:lnTo>
                  <a:lnTo>
                    <a:pt x="114" y="432"/>
                  </a:lnTo>
                  <a:lnTo>
                    <a:pt x="102" y="426"/>
                  </a:lnTo>
                  <a:lnTo>
                    <a:pt x="90" y="414"/>
                  </a:lnTo>
                  <a:lnTo>
                    <a:pt x="72" y="402"/>
                  </a:lnTo>
                  <a:lnTo>
                    <a:pt x="78" y="366"/>
                  </a:lnTo>
                  <a:lnTo>
                    <a:pt x="78" y="330"/>
                  </a:lnTo>
                  <a:lnTo>
                    <a:pt x="66" y="318"/>
                  </a:lnTo>
                  <a:lnTo>
                    <a:pt x="66" y="300"/>
                  </a:lnTo>
                  <a:lnTo>
                    <a:pt x="66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30" y="282"/>
                  </a:lnTo>
                  <a:lnTo>
                    <a:pt x="24" y="282"/>
                  </a:lnTo>
                  <a:lnTo>
                    <a:pt x="12" y="276"/>
                  </a:lnTo>
                  <a:lnTo>
                    <a:pt x="0" y="282"/>
                  </a:lnTo>
                  <a:lnTo>
                    <a:pt x="12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2" y="198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6" y="180"/>
                  </a:lnTo>
                  <a:lnTo>
                    <a:pt x="12" y="186"/>
                  </a:lnTo>
                  <a:lnTo>
                    <a:pt x="18" y="138"/>
                  </a:lnTo>
                  <a:lnTo>
                    <a:pt x="24" y="126"/>
                  </a:lnTo>
                  <a:lnTo>
                    <a:pt x="30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20" y="102"/>
                  </a:lnTo>
                  <a:lnTo>
                    <a:pt x="126" y="108"/>
                  </a:lnTo>
                  <a:lnTo>
                    <a:pt x="126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0"/>
                  </a:lnTo>
                  <a:lnTo>
                    <a:pt x="156" y="96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16" y="42"/>
                  </a:lnTo>
                  <a:lnTo>
                    <a:pt x="222" y="36"/>
                  </a:lnTo>
                  <a:lnTo>
                    <a:pt x="228" y="36"/>
                  </a:lnTo>
                  <a:lnTo>
                    <a:pt x="228" y="30"/>
                  </a:lnTo>
                  <a:lnTo>
                    <a:pt x="228" y="24"/>
                  </a:lnTo>
                  <a:lnTo>
                    <a:pt x="246" y="18"/>
                  </a:lnTo>
                  <a:lnTo>
                    <a:pt x="252" y="18"/>
                  </a:lnTo>
                  <a:lnTo>
                    <a:pt x="258" y="12"/>
                  </a:lnTo>
                  <a:lnTo>
                    <a:pt x="270" y="6"/>
                  </a:lnTo>
                  <a:lnTo>
                    <a:pt x="288" y="6"/>
                  </a:lnTo>
                  <a:lnTo>
                    <a:pt x="312" y="12"/>
                  </a:lnTo>
                  <a:lnTo>
                    <a:pt x="324" y="12"/>
                  </a:lnTo>
                  <a:lnTo>
                    <a:pt x="336" y="18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14" y="12"/>
                  </a:lnTo>
                  <a:lnTo>
                    <a:pt x="426" y="12"/>
                  </a:lnTo>
                  <a:lnTo>
                    <a:pt x="444" y="18"/>
                  </a:lnTo>
                  <a:lnTo>
                    <a:pt x="462" y="18"/>
                  </a:lnTo>
                  <a:lnTo>
                    <a:pt x="474" y="18"/>
                  </a:lnTo>
                  <a:lnTo>
                    <a:pt x="480" y="18"/>
                  </a:lnTo>
                  <a:lnTo>
                    <a:pt x="486" y="36"/>
                  </a:lnTo>
                  <a:lnTo>
                    <a:pt x="480" y="42"/>
                  </a:lnTo>
                  <a:lnTo>
                    <a:pt x="480" y="54"/>
                  </a:lnTo>
                  <a:lnTo>
                    <a:pt x="486" y="78"/>
                  </a:lnTo>
                  <a:lnTo>
                    <a:pt x="486" y="114"/>
                  </a:lnTo>
                  <a:lnTo>
                    <a:pt x="486" y="150"/>
                  </a:lnTo>
                  <a:lnTo>
                    <a:pt x="468" y="150"/>
                  </a:lnTo>
                  <a:lnTo>
                    <a:pt x="474" y="162"/>
                  </a:lnTo>
                  <a:lnTo>
                    <a:pt x="480" y="162"/>
                  </a:lnTo>
                  <a:lnTo>
                    <a:pt x="486" y="174"/>
                  </a:lnTo>
                  <a:lnTo>
                    <a:pt x="492" y="174"/>
                  </a:lnTo>
                  <a:lnTo>
                    <a:pt x="492" y="192"/>
                  </a:lnTo>
                  <a:lnTo>
                    <a:pt x="498" y="198"/>
                  </a:lnTo>
                  <a:lnTo>
                    <a:pt x="504" y="204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8" y="222"/>
                  </a:lnTo>
                  <a:lnTo>
                    <a:pt x="492" y="228"/>
                  </a:lnTo>
                  <a:lnTo>
                    <a:pt x="492" y="234"/>
                  </a:lnTo>
                  <a:lnTo>
                    <a:pt x="492" y="240"/>
                  </a:lnTo>
                  <a:lnTo>
                    <a:pt x="486" y="246"/>
                  </a:lnTo>
                  <a:lnTo>
                    <a:pt x="486" y="258"/>
                  </a:lnTo>
                  <a:lnTo>
                    <a:pt x="480" y="264"/>
                  </a:lnTo>
                  <a:lnTo>
                    <a:pt x="474" y="276"/>
                  </a:lnTo>
                  <a:lnTo>
                    <a:pt x="468" y="288"/>
                  </a:lnTo>
                  <a:lnTo>
                    <a:pt x="456" y="306"/>
                  </a:lnTo>
                  <a:lnTo>
                    <a:pt x="456" y="312"/>
                  </a:lnTo>
                  <a:lnTo>
                    <a:pt x="444" y="318"/>
                  </a:lnTo>
                  <a:lnTo>
                    <a:pt x="432" y="336"/>
                  </a:lnTo>
                  <a:lnTo>
                    <a:pt x="432" y="342"/>
                  </a:lnTo>
                  <a:lnTo>
                    <a:pt x="432" y="348"/>
                  </a:lnTo>
                  <a:lnTo>
                    <a:pt x="432" y="354"/>
                  </a:lnTo>
                  <a:lnTo>
                    <a:pt x="426" y="366"/>
                  </a:lnTo>
                  <a:lnTo>
                    <a:pt x="420" y="366"/>
                  </a:lnTo>
                  <a:lnTo>
                    <a:pt x="420" y="372"/>
                  </a:lnTo>
                  <a:lnTo>
                    <a:pt x="414" y="378"/>
                  </a:lnTo>
                  <a:lnTo>
                    <a:pt x="414" y="390"/>
                  </a:lnTo>
                  <a:lnTo>
                    <a:pt x="408" y="390"/>
                  </a:lnTo>
                  <a:lnTo>
                    <a:pt x="408" y="402"/>
                  </a:lnTo>
                  <a:lnTo>
                    <a:pt x="402" y="414"/>
                  </a:lnTo>
                  <a:lnTo>
                    <a:pt x="396" y="438"/>
                  </a:lnTo>
                  <a:lnTo>
                    <a:pt x="396" y="444"/>
                  </a:lnTo>
                  <a:lnTo>
                    <a:pt x="390" y="45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11" name="Freeform 7">
              <a:extLst>
                <a:ext uri="{FF2B5EF4-FFF2-40B4-BE49-F238E27FC236}">
                  <a16:creationId xmlns:a16="http://schemas.microsoft.com/office/drawing/2014/main" id="{0D8DE62D-4554-4314-9F3A-7208D89B4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90838" y="4128134"/>
              <a:ext cx="283995" cy="411516"/>
            </a:xfrm>
            <a:custGeom>
              <a:avLst/>
              <a:gdLst>
                <a:gd name="T0" fmla="*/ 39 w 534"/>
                <a:gd name="T1" fmla="*/ 35 h 774"/>
                <a:gd name="T2" fmla="*/ 35 w 534"/>
                <a:gd name="T3" fmla="*/ 31 h 774"/>
                <a:gd name="T4" fmla="*/ 32 w 534"/>
                <a:gd name="T5" fmla="*/ 29 h 774"/>
                <a:gd name="T6" fmla="*/ 32 w 534"/>
                <a:gd name="T7" fmla="*/ 31 h 774"/>
                <a:gd name="T8" fmla="*/ 29 w 534"/>
                <a:gd name="T9" fmla="*/ 33 h 774"/>
                <a:gd name="T10" fmla="*/ 27 w 534"/>
                <a:gd name="T11" fmla="*/ 36 h 774"/>
                <a:gd name="T12" fmla="*/ 30 w 534"/>
                <a:gd name="T13" fmla="*/ 38 h 774"/>
                <a:gd name="T14" fmla="*/ 29 w 534"/>
                <a:gd name="T15" fmla="*/ 40 h 774"/>
                <a:gd name="T16" fmla="*/ 25 w 534"/>
                <a:gd name="T17" fmla="*/ 40 h 774"/>
                <a:gd name="T18" fmla="*/ 23 w 534"/>
                <a:gd name="T19" fmla="*/ 42 h 774"/>
                <a:gd name="T20" fmla="*/ 22 w 534"/>
                <a:gd name="T21" fmla="*/ 47 h 774"/>
                <a:gd name="T22" fmla="*/ 22 w 534"/>
                <a:gd name="T23" fmla="*/ 51 h 774"/>
                <a:gd name="T24" fmla="*/ 22 w 534"/>
                <a:gd name="T25" fmla="*/ 54 h 774"/>
                <a:gd name="T26" fmla="*/ 21 w 534"/>
                <a:gd name="T27" fmla="*/ 56 h 774"/>
                <a:gd name="T28" fmla="*/ 19 w 534"/>
                <a:gd name="T29" fmla="*/ 58 h 774"/>
                <a:gd name="T30" fmla="*/ 20 w 534"/>
                <a:gd name="T31" fmla="*/ 59 h 774"/>
                <a:gd name="T32" fmla="*/ 19 w 534"/>
                <a:gd name="T33" fmla="*/ 62 h 774"/>
                <a:gd name="T34" fmla="*/ 19 w 534"/>
                <a:gd name="T35" fmla="*/ 64 h 774"/>
                <a:gd name="T36" fmla="*/ 20 w 534"/>
                <a:gd name="T37" fmla="*/ 66 h 774"/>
                <a:gd name="T38" fmla="*/ 17 w 534"/>
                <a:gd name="T39" fmla="*/ 66 h 774"/>
                <a:gd name="T40" fmla="*/ 16 w 534"/>
                <a:gd name="T41" fmla="*/ 65 h 774"/>
                <a:gd name="T42" fmla="*/ 13 w 534"/>
                <a:gd name="T43" fmla="*/ 65 h 774"/>
                <a:gd name="T44" fmla="*/ 11 w 534"/>
                <a:gd name="T45" fmla="*/ 65 h 774"/>
                <a:gd name="T46" fmla="*/ 8 w 534"/>
                <a:gd name="T47" fmla="*/ 65 h 774"/>
                <a:gd name="T48" fmla="*/ 8 w 534"/>
                <a:gd name="T49" fmla="*/ 64 h 774"/>
                <a:gd name="T50" fmla="*/ 5 w 534"/>
                <a:gd name="T51" fmla="*/ 65 h 774"/>
                <a:gd name="T52" fmla="*/ 3 w 534"/>
                <a:gd name="T53" fmla="*/ 65 h 774"/>
                <a:gd name="T54" fmla="*/ 0 w 534"/>
                <a:gd name="T55" fmla="*/ 64 h 774"/>
                <a:gd name="T56" fmla="*/ 0 w 534"/>
                <a:gd name="T57" fmla="*/ 62 h 774"/>
                <a:gd name="T58" fmla="*/ 3 w 534"/>
                <a:gd name="T59" fmla="*/ 60 h 774"/>
                <a:gd name="T60" fmla="*/ 6 w 534"/>
                <a:gd name="T61" fmla="*/ 57 h 774"/>
                <a:gd name="T62" fmla="*/ 8 w 534"/>
                <a:gd name="T63" fmla="*/ 50 h 774"/>
                <a:gd name="T64" fmla="*/ 6 w 534"/>
                <a:gd name="T65" fmla="*/ 45 h 774"/>
                <a:gd name="T66" fmla="*/ 8 w 534"/>
                <a:gd name="T67" fmla="*/ 41 h 774"/>
                <a:gd name="T68" fmla="*/ 9 w 534"/>
                <a:gd name="T69" fmla="*/ 38 h 774"/>
                <a:gd name="T70" fmla="*/ 10 w 534"/>
                <a:gd name="T71" fmla="*/ 36 h 774"/>
                <a:gd name="T72" fmla="*/ 12 w 534"/>
                <a:gd name="T73" fmla="*/ 33 h 774"/>
                <a:gd name="T74" fmla="*/ 14 w 534"/>
                <a:gd name="T75" fmla="*/ 29 h 774"/>
                <a:gd name="T76" fmla="*/ 16 w 534"/>
                <a:gd name="T77" fmla="*/ 26 h 774"/>
                <a:gd name="T78" fmla="*/ 16 w 534"/>
                <a:gd name="T79" fmla="*/ 24 h 774"/>
                <a:gd name="T80" fmla="*/ 16 w 534"/>
                <a:gd name="T81" fmla="*/ 21 h 774"/>
                <a:gd name="T82" fmla="*/ 13 w 534"/>
                <a:gd name="T83" fmla="*/ 19 h 774"/>
                <a:gd name="T84" fmla="*/ 14 w 534"/>
                <a:gd name="T85" fmla="*/ 10 h 774"/>
                <a:gd name="T86" fmla="*/ 14 w 534"/>
                <a:gd name="T87" fmla="*/ 7 h 774"/>
                <a:gd name="T88" fmla="*/ 8 w 534"/>
                <a:gd name="T89" fmla="*/ 7 h 774"/>
                <a:gd name="T90" fmla="*/ 7 w 534"/>
                <a:gd name="T91" fmla="*/ 3 h 774"/>
                <a:gd name="T92" fmla="*/ 11 w 534"/>
                <a:gd name="T93" fmla="*/ 1 h 774"/>
                <a:gd name="T94" fmla="*/ 12 w 534"/>
                <a:gd name="T95" fmla="*/ 0 h 774"/>
                <a:gd name="T96" fmla="*/ 16 w 534"/>
                <a:gd name="T97" fmla="*/ 2 h 774"/>
                <a:gd name="T98" fmla="*/ 20 w 534"/>
                <a:gd name="T99" fmla="*/ 2 h 774"/>
                <a:gd name="T100" fmla="*/ 23 w 534"/>
                <a:gd name="T101" fmla="*/ 3 h 774"/>
                <a:gd name="T102" fmla="*/ 23 w 534"/>
                <a:gd name="T103" fmla="*/ 10 h 774"/>
                <a:gd name="T104" fmla="*/ 29 w 534"/>
                <a:gd name="T105" fmla="*/ 12 h 774"/>
                <a:gd name="T106" fmla="*/ 35 w 534"/>
                <a:gd name="T107" fmla="*/ 12 h 774"/>
                <a:gd name="T108" fmla="*/ 38 w 534"/>
                <a:gd name="T109" fmla="*/ 17 h 774"/>
                <a:gd name="T110" fmla="*/ 40 w 534"/>
                <a:gd name="T111" fmla="*/ 19 h 774"/>
                <a:gd name="T112" fmla="*/ 44 w 534"/>
                <a:gd name="T113" fmla="*/ 23 h 774"/>
                <a:gd name="T114" fmla="*/ 44 w 534"/>
                <a:gd name="T115" fmla="*/ 30 h 774"/>
                <a:gd name="T116" fmla="*/ 46 w 534"/>
                <a:gd name="T117" fmla="*/ 36 h 774"/>
                <a:gd name="T118" fmla="*/ 41 w 534"/>
                <a:gd name="T119" fmla="*/ 37 h 77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34"/>
                <a:gd name="T181" fmla="*/ 0 h 774"/>
                <a:gd name="T182" fmla="*/ 534 w 534"/>
                <a:gd name="T183" fmla="*/ 774 h 77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34" h="774">
                  <a:moveTo>
                    <a:pt x="462" y="426"/>
                  </a:moveTo>
                  <a:lnTo>
                    <a:pt x="462" y="414"/>
                  </a:lnTo>
                  <a:lnTo>
                    <a:pt x="450" y="402"/>
                  </a:lnTo>
                  <a:lnTo>
                    <a:pt x="444" y="396"/>
                  </a:lnTo>
                  <a:lnTo>
                    <a:pt x="420" y="396"/>
                  </a:lnTo>
                  <a:lnTo>
                    <a:pt x="408" y="390"/>
                  </a:lnTo>
                  <a:lnTo>
                    <a:pt x="402" y="366"/>
                  </a:lnTo>
                  <a:lnTo>
                    <a:pt x="390" y="354"/>
                  </a:lnTo>
                  <a:lnTo>
                    <a:pt x="384" y="336"/>
                  </a:lnTo>
                  <a:lnTo>
                    <a:pt x="378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8" y="348"/>
                  </a:lnTo>
                  <a:lnTo>
                    <a:pt x="360" y="354"/>
                  </a:lnTo>
                  <a:lnTo>
                    <a:pt x="360" y="390"/>
                  </a:lnTo>
                  <a:lnTo>
                    <a:pt x="348" y="390"/>
                  </a:lnTo>
                  <a:lnTo>
                    <a:pt x="342" y="384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90"/>
                  </a:lnTo>
                  <a:lnTo>
                    <a:pt x="312" y="402"/>
                  </a:lnTo>
                  <a:lnTo>
                    <a:pt x="306" y="420"/>
                  </a:lnTo>
                  <a:lnTo>
                    <a:pt x="324" y="414"/>
                  </a:lnTo>
                  <a:lnTo>
                    <a:pt x="330" y="414"/>
                  </a:lnTo>
                  <a:lnTo>
                    <a:pt x="336" y="420"/>
                  </a:lnTo>
                  <a:lnTo>
                    <a:pt x="336" y="432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6"/>
                  </a:lnTo>
                  <a:lnTo>
                    <a:pt x="318" y="456"/>
                  </a:lnTo>
                  <a:lnTo>
                    <a:pt x="300" y="456"/>
                  </a:lnTo>
                  <a:lnTo>
                    <a:pt x="288" y="462"/>
                  </a:lnTo>
                  <a:lnTo>
                    <a:pt x="276" y="462"/>
                  </a:lnTo>
                  <a:lnTo>
                    <a:pt x="270" y="462"/>
                  </a:lnTo>
                  <a:lnTo>
                    <a:pt x="270" y="468"/>
                  </a:lnTo>
                  <a:lnTo>
                    <a:pt x="252" y="468"/>
                  </a:lnTo>
                  <a:lnTo>
                    <a:pt x="258" y="480"/>
                  </a:lnTo>
                  <a:lnTo>
                    <a:pt x="258" y="492"/>
                  </a:lnTo>
                  <a:lnTo>
                    <a:pt x="258" y="498"/>
                  </a:lnTo>
                  <a:lnTo>
                    <a:pt x="258" y="510"/>
                  </a:lnTo>
                  <a:lnTo>
                    <a:pt x="252" y="540"/>
                  </a:lnTo>
                  <a:lnTo>
                    <a:pt x="246" y="564"/>
                  </a:lnTo>
                  <a:lnTo>
                    <a:pt x="246" y="570"/>
                  </a:lnTo>
                  <a:lnTo>
                    <a:pt x="252" y="576"/>
                  </a:lnTo>
                  <a:lnTo>
                    <a:pt x="246" y="582"/>
                  </a:lnTo>
                  <a:lnTo>
                    <a:pt x="252" y="600"/>
                  </a:lnTo>
                  <a:lnTo>
                    <a:pt x="258" y="606"/>
                  </a:lnTo>
                  <a:lnTo>
                    <a:pt x="258" y="612"/>
                  </a:lnTo>
                  <a:lnTo>
                    <a:pt x="252" y="618"/>
                  </a:lnTo>
                  <a:lnTo>
                    <a:pt x="246" y="624"/>
                  </a:lnTo>
                  <a:lnTo>
                    <a:pt x="246" y="630"/>
                  </a:lnTo>
                  <a:lnTo>
                    <a:pt x="246" y="636"/>
                  </a:lnTo>
                  <a:lnTo>
                    <a:pt x="240" y="642"/>
                  </a:lnTo>
                  <a:lnTo>
                    <a:pt x="234" y="654"/>
                  </a:lnTo>
                  <a:lnTo>
                    <a:pt x="228" y="654"/>
                  </a:lnTo>
                  <a:lnTo>
                    <a:pt x="222" y="660"/>
                  </a:lnTo>
                  <a:lnTo>
                    <a:pt x="216" y="666"/>
                  </a:lnTo>
                  <a:lnTo>
                    <a:pt x="210" y="666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22" y="684"/>
                  </a:lnTo>
                  <a:lnTo>
                    <a:pt x="222" y="690"/>
                  </a:lnTo>
                  <a:lnTo>
                    <a:pt x="222" y="696"/>
                  </a:lnTo>
                  <a:lnTo>
                    <a:pt x="222" y="702"/>
                  </a:lnTo>
                  <a:lnTo>
                    <a:pt x="216" y="708"/>
                  </a:lnTo>
                  <a:lnTo>
                    <a:pt x="210" y="720"/>
                  </a:lnTo>
                  <a:lnTo>
                    <a:pt x="216" y="732"/>
                  </a:lnTo>
                  <a:lnTo>
                    <a:pt x="210" y="732"/>
                  </a:lnTo>
                  <a:lnTo>
                    <a:pt x="216" y="738"/>
                  </a:lnTo>
                  <a:lnTo>
                    <a:pt x="216" y="744"/>
                  </a:lnTo>
                  <a:lnTo>
                    <a:pt x="222" y="750"/>
                  </a:lnTo>
                  <a:lnTo>
                    <a:pt x="228" y="756"/>
                  </a:lnTo>
                  <a:lnTo>
                    <a:pt x="222" y="762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04" y="762"/>
                  </a:lnTo>
                  <a:lnTo>
                    <a:pt x="198" y="762"/>
                  </a:lnTo>
                  <a:lnTo>
                    <a:pt x="192" y="762"/>
                  </a:lnTo>
                  <a:lnTo>
                    <a:pt x="186" y="756"/>
                  </a:lnTo>
                  <a:lnTo>
                    <a:pt x="180" y="750"/>
                  </a:lnTo>
                  <a:lnTo>
                    <a:pt x="180" y="744"/>
                  </a:lnTo>
                  <a:lnTo>
                    <a:pt x="174" y="744"/>
                  </a:lnTo>
                  <a:lnTo>
                    <a:pt x="156" y="750"/>
                  </a:lnTo>
                  <a:lnTo>
                    <a:pt x="150" y="750"/>
                  </a:lnTo>
                  <a:lnTo>
                    <a:pt x="144" y="750"/>
                  </a:lnTo>
                  <a:lnTo>
                    <a:pt x="138" y="750"/>
                  </a:lnTo>
                  <a:lnTo>
                    <a:pt x="138" y="744"/>
                  </a:lnTo>
                  <a:lnTo>
                    <a:pt x="132" y="744"/>
                  </a:lnTo>
                  <a:lnTo>
                    <a:pt x="120" y="744"/>
                  </a:lnTo>
                  <a:lnTo>
                    <a:pt x="114" y="738"/>
                  </a:lnTo>
                  <a:lnTo>
                    <a:pt x="108" y="744"/>
                  </a:lnTo>
                  <a:lnTo>
                    <a:pt x="102" y="744"/>
                  </a:lnTo>
                  <a:lnTo>
                    <a:pt x="96" y="744"/>
                  </a:lnTo>
                  <a:lnTo>
                    <a:pt x="96" y="738"/>
                  </a:lnTo>
                  <a:lnTo>
                    <a:pt x="96" y="744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44"/>
                  </a:lnTo>
                  <a:lnTo>
                    <a:pt x="72" y="750"/>
                  </a:lnTo>
                  <a:lnTo>
                    <a:pt x="66" y="750"/>
                  </a:lnTo>
                  <a:lnTo>
                    <a:pt x="60" y="750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0"/>
                  </a:lnTo>
                  <a:lnTo>
                    <a:pt x="30" y="750"/>
                  </a:lnTo>
                  <a:lnTo>
                    <a:pt x="24" y="744"/>
                  </a:lnTo>
                  <a:lnTo>
                    <a:pt x="18" y="738"/>
                  </a:lnTo>
                  <a:lnTo>
                    <a:pt x="6" y="738"/>
                  </a:lnTo>
                  <a:lnTo>
                    <a:pt x="0" y="732"/>
                  </a:lnTo>
                  <a:lnTo>
                    <a:pt x="0" y="726"/>
                  </a:lnTo>
                  <a:lnTo>
                    <a:pt x="0" y="720"/>
                  </a:lnTo>
                  <a:lnTo>
                    <a:pt x="6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8" y="702"/>
                  </a:lnTo>
                  <a:lnTo>
                    <a:pt x="24" y="696"/>
                  </a:lnTo>
                  <a:lnTo>
                    <a:pt x="30" y="696"/>
                  </a:lnTo>
                  <a:lnTo>
                    <a:pt x="48" y="690"/>
                  </a:lnTo>
                  <a:lnTo>
                    <a:pt x="54" y="678"/>
                  </a:lnTo>
                  <a:lnTo>
                    <a:pt x="66" y="672"/>
                  </a:lnTo>
                  <a:lnTo>
                    <a:pt x="66" y="654"/>
                  </a:lnTo>
                  <a:lnTo>
                    <a:pt x="72" y="636"/>
                  </a:lnTo>
                  <a:lnTo>
                    <a:pt x="72" y="612"/>
                  </a:lnTo>
                  <a:lnTo>
                    <a:pt x="84" y="594"/>
                  </a:lnTo>
                  <a:lnTo>
                    <a:pt x="90" y="576"/>
                  </a:lnTo>
                  <a:lnTo>
                    <a:pt x="96" y="552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72" y="522"/>
                  </a:lnTo>
                  <a:lnTo>
                    <a:pt x="78" y="510"/>
                  </a:lnTo>
                  <a:lnTo>
                    <a:pt x="78" y="504"/>
                  </a:lnTo>
                  <a:lnTo>
                    <a:pt x="84" y="480"/>
                  </a:lnTo>
                  <a:lnTo>
                    <a:pt x="90" y="468"/>
                  </a:lnTo>
                  <a:lnTo>
                    <a:pt x="90" y="456"/>
                  </a:lnTo>
                  <a:lnTo>
                    <a:pt x="96" y="456"/>
                  </a:lnTo>
                  <a:lnTo>
                    <a:pt x="96" y="444"/>
                  </a:lnTo>
                  <a:lnTo>
                    <a:pt x="102" y="438"/>
                  </a:lnTo>
                  <a:lnTo>
                    <a:pt x="102" y="432"/>
                  </a:lnTo>
                  <a:lnTo>
                    <a:pt x="108" y="432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14" y="408"/>
                  </a:lnTo>
                  <a:lnTo>
                    <a:pt x="114" y="402"/>
                  </a:lnTo>
                  <a:lnTo>
                    <a:pt x="126" y="384"/>
                  </a:lnTo>
                  <a:lnTo>
                    <a:pt x="138" y="378"/>
                  </a:lnTo>
                  <a:lnTo>
                    <a:pt x="138" y="372"/>
                  </a:lnTo>
                  <a:lnTo>
                    <a:pt x="150" y="354"/>
                  </a:lnTo>
                  <a:lnTo>
                    <a:pt x="156" y="342"/>
                  </a:lnTo>
                  <a:lnTo>
                    <a:pt x="162" y="330"/>
                  </a:lnTo>
                  <a:lnTo>
                    <a:pt x="168" y="324"/>
                  </a:lnTo>
                  <a:lnTo>
                    <a:pt x="168" y="312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74" y="294"/>
                  </a:lnTo>
                  <a:lnTo>
                    <a:pt x="180" y="288"/>
                  </a:lnTo>
                  <a:lnTo>
                    <a:pt x="180" y="276"/>
                  </a:lnTo>
                  <a:lnTo>
                    <a:pt x="186" y="276"/>
                  </a:lnTo>
                  <a:lnTo>
                    <a:pt x="186" y="270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40"/>
                  </a:lnTo>
                  <a:lnTo>
                    <a:pt x="168" y="240"/>
                  </a:lnTo>
                  <a:lnTo>
                    <a:pt x="162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68" y="216"/>
                  </a:lnTo>
                  <a:lnTo>
                    <a:pt x="168" y="180"/>
                  </a:lnTo>
                  <a:lnTo>
                    <a:pt x="168" y="144"/>
                  </a:lnTo>
                  <a:lnTo>
                    <a:pt x="162" y="120"/>
                  </a:lnTo>
                  <a:lnTo>
                    <a:pt x="162" y="108"/>
                  </a:lnTo>
                  <a:lnTo>
                    <a:pt x="168" y="102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44" y="84"/>
                  </a:lnTo>
                  <a:lnTo>
                    <a:pt x="126" y="84"/>
                  </a:lnTo>
                  <a:lnTo>
                    <a:pt x="108" y="78"/>
                  </a:lnTo>
                  <a:lnTo>
                    <a:pt x="96" y="78"/>
                  </a:lnTo>
                  <a:lnTo>
                    <a:pt x="78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8" y="36"/>
                  </a:lnTo>
                  <a:lnTo>
                    <a:pt x="96" y="24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56" y="0"/>
                  </a:lnTo>
                  <a:lnTo>
                    <a:pt x="156" y="6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18"/>
                  </a:lnTo>
                  <a:lnTo>
                    <a:pt x="198" y="18"/>
                  </a:lnTo>
                  <a:lnTo>
                    <a:pt x="210" y="18"/>
                  </a:lnTo>
                  <a:lnTo>
                    <a:pt x="222" y="18"/>
                  </a:lnTo>
                  <a:lnTo>
                    <a:pt x="234" y="12"/>
                  </a:lnTo>
                  <a:lnTo>
                    <a:pt x="252" y="18"/>
                  </a:lnTo>
                  <a:lnTo>
                    <a:pt x="252" y="24"/>
                  </a:lnTo>
                  <a:lnTo>
                    <a:pt x="258" y="36"/>
                  </a:lnTo>
                  <a:lnTo>
                    <a:pt x="258" y="66"/>
                  </a:lnTo>
                  <a:lnTo>
                    <a:pt x="252" y="84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82" y="126"/>
                  </a:lnTo>
                  <a:lnTo>
                    <a:pt x="294" y="132"/>
                  </a:lnTo>
                  <a:lnTo>
                    <a:pt x="306" y="138"/>
                  </a:lnTo>
                  <a:lnTo>
                    <a:pt x="324" y="138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60" y="144"/>
                  </a:lnTo>
                  <a:lnTo>
                    <a:pt x="396" y="144"/>
                  </a:lnTo>
                  <a:lnTo>
                    <a:pt x="408" y="150"/>
                  </a:lnTo>
                  <a:lnTo>
                    <a:pt x="414" y="180"/>
                  </a:lnTo>
                  <a:lnTo>
                    <a:pt x="420" y="186"/>
                  </a:lnTo>
                  <a:lnTo>
                    <a:pt x="426" y="192"/>
                  </a:lnTo>
                  <a:lnTo>
                    <a:pt x="426" y="198"/>
                  </a:lnTo>
                  <a:lnTo>
                    <a:pt x="432" y="198"/>
                  </a:lnTo>
                  <a:lnTo>
                    <a:pt x="438" y="210"/>
                  </a:lnTo>
                  <a:lnTo>
                    <a:pt x="450" y="216"/>
                  </a:lnTo>
                  <a:lnTo>
                    <a:pt x="468" y="228"/>
                  </a:lnTo>
                  <a:lnTo>
                    <a:pt x="492" y="234"/>
                  </a:lnTo>
                  <a:lnTo>
                    <a:pt x="492" y="246"/>
                  </a:lnTo>
                  <a:lnTo>
                    <a:pt x="492" y="270"/>
                  </a:lnTo>
                  <a:lnTo>
                    <a:pt x="486" y="294"/>
                  </a:lnTo>
                  <a:lnTo>
                    <a:pt x="486" y="312"/>
                  </a:lnTo>
                  <a:lnTo>
                    <a:pt x="486" y="330"/>
                  </a:lnTo>
                  <a:lnTo>
                    <a:pt x="492" y="348"/>
                  </a:lnTo>
                  <a:lnTo>
                    <a:pt x="498" y="360"/>
                  </a:lnTo>
                  <a:lnTo>
                    <a:pt x="510" y="366"/>
                  </a:lnTo>
                  <a:lnTo>
                    <a:pt x="516" y="384"/>
                  </a:lnTo>
                  <a:lnTo>
                    <a:pt x="522" y="414"/>
                  </a:lnTo>
                  <a:lnTo>
                    <a:pt x="528" y="414"/>
                  </a:lnTo>
                  <a:lnTo>
                    <a:pt x="534" y="426"/>
                  </a:lnTo>
                  <a:lnTo>
                    <a:pt x="528" y="432"/>
                  </a:lnTo>
                  <a:lnTo>
                    <a:pt x="468" y="426"/>
                  </a:lnTo>
                  <a:lnTo>
                    <a:pt x="462" y="4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3" name="Freeform 8">
              <a:extLst>
                <a:ext uri="{FF2B5EF4-FFF2-40B4-BE49-F238E27FC236}">
                  <a16:creationId xmlns:a16="http://schemas.microsoft.com/office/drawing/2014/main" id="{D473457C-872E-4E31-888A-D60FD52063A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98175" y="4307054"/>
              <a:ext cx="295177" cy="348894"/>
            </a:xfrm>
            <a:custGeom>
              <a:avLst/>
              <a:gdLst>
                <a:gd name="T0" fmla="*/ 3 w 552"/>
                <a:gd name="T1" fmla="*/ 46 h 660"/>
                <a:gd name="T2" fmla="*/ 4 w 552"/>
                <a:gd name="T3" fmla="*/ 42 h 660"/>
                <a:gd name="T4" fmla="*/ 2 w 552"/>
                <a:gd name="T5" fmla="*/ 38 h 660"/>
                <a:gd name="T6" fmla="*/ 0 w 552"/>
                <a:gd name="T7" fmla="*/ 34 h 660"/>
                <a:gd name="T8" fmla="*/ 2 w 552"/>
                <a:gd name="T9" fmla="*/ 30 h 660"/>
                <a:gd name="T10" fmla="*/ 3 w 552"/>
                <a:gd name="T11" fmla="*/ 27 h 660"/>
                <a:gd name="T12" fmla="*/ 5 w 552"/>
                <a:gd name="T13" fmla="*/ 23 h 660"/>
                <a:gd name="T14" fmla="*/ 5 w 552"/>
                <a:gd name="T15" fmla="*/ 15 h 660"/>
                <a:gd name="T16" fmla="*/ 6 w 552"/>
                <a:gd name="T17" fmla="*/ 11 h 660"/>
                <a:gd name="T18" fmla="*/ 11 w 552"/>
                <a:gd name="T19" fmla="*/ 9 h 660"/>
                <a:gd name="T20" fmla="*/ 10 w 552"/>
                <a:gd name="T21" fmla="*/ 5 h 660"/>
                <a:gd name="T22" fmla="*/ 12 w 552"/>
                <a:gd name="T23" fmla="*/ 1 h 660"/>
                <a:gd name="T24" fmla="*/ 16 w 552"/>
                <a:gd name="T25" fmla="*/ 2 h 660"/>
                <a:gd name="T26" fmla="*/ 23 w 552"/>
                <a:gd name="T27" fmla="*/ 8 h 660"/>
                <a:gd name="T28" fmla="*/ 23 w 552"/>
                <a:gd name="T29" fmla="*/ 11 h 660"/>
                <a:gd name="T30" fmla="*/ 27 w 552"/>
                <a:gd name="T31" fmla="*/ 12 h 660"/>
                <a:gd name="T32" fmla="*/ 29 w 552"/>
                <a:gd name="T33" fmla="*/ 17 h 660"/>
                <a:gd name="T34" fmla="*/ 31 w 552"/>
                <a:gd name="T35" fmla="*/ 15 h 660"/>
                <a:gd name="T36" fmla="*/ 33 w 552"/>
                <a:gd name="T37" fmla="*/ 17 h 660"/>
                <a:gd name="T38" fmla="*/ 36 w 552"/>
                <a:gd name="T39" fmla="*/ 23 h 660"/>
                <a:gd name="T40" fmla="*/ 41 w 552"/>
                <a:gd name="T41" fmla="*/ 33 h 660"/>
                <a:gd name="T42" fmla="*/ 43 w 552"/>
                <a:gd name="T43" fmla="*/ 36 h 660"/>
                <a:gd name="T44" fmla="*/ 43 w 552"/>
                <a:gd name="T45" fmla="*/ 37 h 660"/>
                <a:gd name="T46" fmla="*/ 41 w 552"/>
                <a:gd name="T47" fmla="*/ 35 h 660"/>
                <a:gd name="T48" fmla="*/ 43 w 552"/>
                <a:gd name="T49" fmla="*/ 37 h 660"/>
                <a:gd name="T50" fmla="*/ 44 w 552"/>
                <a:gd name="T51" fmla="*/ 39 h 660"/>
                <a:gd name="T52" fmla="*/ 47 w 552"/>
                <a:gd name="T53" fmla="*/ 41 h 660"/>
                <a:gd name="T54" fmla="*/ 47 w 552"/>
                <a:gd name="T55" fmla="*/ 44 h 660"/>
                <a:gd name="T56" fmla="*/ 48 w 552"/>
                <a:gd name="T57" fmla="*/ 46 h 660"/>
                <a:gd name="T58" fmla="*/ 47 w 552"/>
                <a:gd name="T59" fmla="*/ 46 h 660"/>
                <a:gd name="T60" fmla="*/ 44 w 552"/>
                <a:gd name="T61" fmla="*/ 46 h 660"/>
                <a:gd name="T62" fmla="*/ 47 w 552"/>
                <a:gd name="T63" fmla="*/ 47 h 660"/>
                <a:gd name="T64" fmla="*/ 47 w 552"/>
                <a:gd name="T65" fmla="*/ 49 h 660"/>
                <a:gd name="T66" fmla="*/ 47 w 552"/>
                <a:gd name="T67" fmla="*/ 52 h 660"/>
                <a:gd name="T68" fmla="*/ 46 w 552"/>
                <a:gd name="T69" fmla="*/ 53 h 660"/>
                <a:gd name="T70" fmla="*/ 43 w 552"/>
                <a:gd name="T71" fmla="*/ 54 h 660"/>
                <a:gd name="T72" fmla="*/ 37 w 552"/>
                <a:gd name="T73" fmla="*/ 54 h 660"/>
                <a:gd name="T74" fmla="*/ 30 w 552"/>
                <a:gd name="T75" fmla="*/ 54 h 660"/>
                <a:gd name="T76" fmla="*/ 29 w 552"/>
                <a:gd name="T77" fmla="*/ 53 h 660"/>
                <a:gd name="T78" fmla="*/ 27 w 552"/>
                <a:gd name="T79" fmla="*/ 53 h 660"/>
                <a:gd name="T80" fmla="*/ 29 w 552"/>
                <a:gd name="T81" fmla="*/ 53 h 660"/>
                <a:gd name="T82" fmla="*/ 28 w 552"/>
                <a:gd name="T83" fmla="*/ 54 h 660"/>
                <a:gd name="T84" fmla="*/ 24 w 552"/>
                <a:gd name="T85" fmla="*/ 54 h 660"/>
                <a:gd name="T86" fmla="*/ 20 w 552"/>
                <a:gd name="T87" fmla="*/ 55 h 660"/>
                <a:gd name="T88" fmla="*/ 15 w 552"/>
                <a:gd name="T89" fmla="*/ 56 h 660"/>
                <a:gd name="T90" fmla="*/ 12 w 552"/>
                <a:gd name="T91" fmla="*/ 56 h 660"/>
                <a:gd name="T92" fmla="*/ 11 w 552"/>
                <a:gd name="T93" fmla="*/ 57 h 660"/>
                <a:gd name="T94" fmla="*/ 9 w 552"/>
                <a:gd name="T95" fmla="*/ 57 h 660"/>
                <a:gd name="T96" fmla="*/ 7 w 552"/>
                <a:gd name="T97" fmla="*/ 56 h 660"/>
                <a:gd name="T98" fmla="*/ 5 w 552"/>
                <a:gd name="T99" fmla="*/ 55 h 660"/>
                <a:gd name="T100" fmla="*/ 7 w 552"/>
                <a:gd name="T101" fmla="*/ 54 h 660"/>
                <a:gd name="T102" fmla="*/ 5 w 552"/>
                <a:gd name="T103" fmla="*/ 54 h 660"/>
                <a:gd name="T104" fmla="*/ 5 w 552"/>
                <a:gd name="T105" fmla="*/ 53 h 660"/>
                <a:gd name="T106" fmla="*/ 4 w 552"/>
                <a:gd name="T107" fmla="*/ 49 h 660"/>
                <a:gd name="T108" fmla="*/ 45 w 552"/>
                <a:gd name="T109" fmla="*/ 38 h 66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52"/>
                <a:gd name="T166" fmla="*/ 0 h 660"/>
                <a:gd name="T167" fmla="*/ 552 w 552"/>
                <a:gd name="T168" fmla="*/ 660 h 66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52" h="660">
                  <a:moveTo>
                    <a:pt x="36" y="564"/>
                  </a:moveTo>
                  <a:lnTo>
                    <a:pt x="36" y="558"/>
                  </a:lnTo>
                  <a:lnTo>
                    <a:pt x="36" y="552"/>
                  </a:lnTo>
                  <a:lnTo>
                    <a:pt x="42" y="546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34"/>
                  </a:lnTo>
                  <a:lnTo>
                    <a:pt x="36" y="528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54" y="510"/>
                  </a:lnTo>
                  <a:lnTo>
                    <a:pt x="54" y="504"/>
                  </a:lnTo>
                  <a:lnTo>
                    <a:pt x="54" y="498"/>
                  </a:lnTo>
                  <a:lnTo>
                    <a:pt x="48" y="492"/>
                  </a:lnTo>
                  <a:lnTo>
                    <a:pt x="42" y="486"/>
                  </a:lnTo>
                  <a:lnTo>
                    <a:pt x="42" y="480"/>
                  </a:lnTo>
                  <a:lnTo>
                    <a:pt x="42" y="468"/>
                  </a:lnTo>
                  <a:lnTo>
                    <a:pt x="30" y="456"/>
                  </a:lnTo>
                  <a:lnTo>
                    <a:pt x="30" y="450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2"/>
                  </a:lnTo>
                  <a:lnTo>
                    <a:pt x="18" y="426"/>
                  </a:lnTo>
                  <a:lnTo>
                    <a:pt x="24" y="420"/>
                  </a:lnTo>
                  <a:lnTo>
                    <a:pt x="18" y="414"/>
                  </a:lnTo>
                  <a:lnTo>
                    <a:pt x="12" y="408"/>
                  </a:lnTo>
                  <a:lnTo>
                    <a:pt x="12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6" y="384"/>
                  </a:lnTo>
                  <a:lnTo>
                    <a:pt x="12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8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36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54" y="270"/>
                  </a:lnTo>
                  <a:lnTo>
                    <a:pt x="48" y="264"/>
                  </a:lnTo>
                  <a:lnTo>
                    <a:pt x="42" y="246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8" y="204"/>
                  </a:lnTo>
                  <a:lnTo>
                    <a:pt x="54" y="174"/>
                  </a:lnTo>
                  <a:lnTo>
                    <a:pt x="54" y="162"/>
                  </a:lnTo>
                  <a:lnTo>
                    <a:pt x="54" y="156"/>
                  </a:lnTo>
                  <a:lnTo>
                    <a:pt x="54" y="144"/>
                  </a:lnTo>
                  <a:lnTo>
                    <a:pt x="48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72" y="126"/>
                  </a:lnTo>
                  <a:lnTo>
                    <a:pt x="84" y="126"/>
                  </a:lnTo>
                  <a:lnTo>
                    <a:pt x="96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2" y="84"/>
                  </a:lnTo>
                  <a:lnTo>
                    <a:pt x="126" y="78"/>
                  </a:lnTo>
                  <a:lnTo>
                    <a:pt x="120" y="78"/>
                  </a:lnTo>
                  <a:lnTo>
                    <a:pt x="102" y="84"/>
                  </a:lnTo>
                  <a:lnTo>
                    <a:pt x="108" y="66"/>
                  </a:lnTo>
                  <a:lnTo>
                    <a:pt x="114" y="54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8" y="4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6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74" y="0"/>
                  </a:lnTo>
                  <a:lnTo>
                    <a:pt x="180" y="0"/>
                  </a:lnTo>
                  <a:lnTo>
                    <a:pt x="186" y="18"/>
                  </a:lnTo>
                  <a:lnTo>
                    <a:pt x="198" y="30"/>
                  </a:lnTo>
                  <a:lnTo>
                    <a:pt x="204" y="54"/>
                  </a:lnTo>
                  <a:lnTo>
                    <a:pt x="216" y="60"/>
                  </a:lnTo>
                  <a:lnTo>
                    <a:pt x="240" y="60"/>
                  </a:lnTo>
                  <a:lnTo>
                    <a:pt x="246" y="66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2" y="120"/>
                  </a:lnTo>
                  <a:lnTo>
                    <a:pt x="25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6" y="126"/>
                  </a:lnTo>
                  <a:lnTo>
                    <a:pt x="282" y="120"/>
                  </a:lnTo>
                  <a:lnTo>
                    <a:pt x="282" y="126"/>
                  </a:lnTo>
                  <a:lnTo>
                    <a:pt x="294" y="126"/>
                  </a:lnTo>
                  <a:lnTo>
                    <a:pt x="300" y="132"/>
                  </a:lnTo>
                  <a:lnTo>
                    <a:pt x="306" y="144"/>
                  </a:lnTo>
                  <a:lnTo>
                    <a:pt x="312" y="144"/>
                  </a:lnTo>
                  <a:lnTo>
                    <a:pt x="312" y="150"/>
                  </a:lnTo>
                  <a:lnTo>
                    <a:pt x="312" y="162"/>
                  </a:lnTo>
                  <a:lnTo>
                    <a:pt x="312" y="174"/>
                  </a:lnTo>
                  <a:lnTo>
                    <a:pt x="324" y="180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30" y="192"/>
                  </a:lnTo>
                  <a:lnTo>
                    <a:pt x="336" y="198"/>
                  </a:lnTo>
                  <a:lnTo>
                    <a:pt x="342" y="192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54" y="180"/>
                  </a:lnTo>
                  <a:lnTo>
                    <a:pt x="354" y="174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84" y="192"/>
                  </a:lnTo>
                  <a:lnTo>
                    <a:pt x="390" y="204"/>
                  </a:lnTo>
                  <a:lnTo>
                    <a:pt x="390" y="210"/>
                  </a:lnTo>
                  <a:lnTo>
                    <a:pt x="390" y="216"/>
                  </a:lnTo>
                  <a:lnTo>
                    <a:pt x="384" y="234"/>
                  </a:lnTo>
                  <a:lnTo>
                    <a:pt x="390" y="240"/>
                  </a:lnTo>
                  <a:lnTo>
                    <a:pt x="408" y="252"/>
                  </a:lnTo>
                  <a:lnTo>
                    <a:pt x="414" y="264"/>
                  </a:lnTo>
                  <a:lnTo>
                    <a:pt x="408" y="300"/>
                  </a:lnTo>
                  <a:lnTo>
                    <a:pt x="414" y="312"/>
                  </a:lnTo>
                  <a:lnTo>
                    <a:pt x="426" y="336"/>
                  </a:lnTo>
                  <a:lnTo>
                    <a:pt x="438" y="354"/>
                  </a:lnTo>
                  <a:lnTo>
                    <a:pt x="444" y="366"/>
                  </a:lnTo>
                  <a:lnTo>
                    <a:pt x="456" y="366"/>
                  </a:lnTo>
                  <a:lnTo>
                    <a:pt x="474" y="378"/>
                  </a:lnTo>
                  <a:lnTo>
                    <a:pt x="474" y="384"/>
                  </a:lnTo>
                  <a:lnTo>
                    <a:pt x="480" y="390"/>
                  </a:lnTo>
                  <a:lnTo>
                    <a:pt x="486" y="396"/>
                  </a:lnTo>
                  <a:lnTo>
                    <a:pt x="486" y="402"/>
                  </a:lnTo>
                  <a:lnTo>
                    <a:pt x="480" y="408"/>
                  </a:lnTo>
                  <a:lnTo>
                    <a:pt x="486" y="408"/>
                  </a:lnTo>
                  <a:lnTo>
                    <a:pt x="486" y="414"/>
                  </a:lnTo>
                  <a:lnTo>
                    <a:pt x="492" y="414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32"/>
                  </a:lnTo>
                  <a:lnTo>
                    <a:pt x="498" y="438"/>
                  </a:lnTo>
                  <a:lnTo>
                    <a:pt x="492" y="432"/>
                  </a:lnTo>
                  <a:lnTo>
                    <a:pt x="486" y="426"/>
                  </a:lnTo>
                  <a:lnTo>
                    <a:pt x="486" y="420"/>
                  </a:lnTo>
                  <a:lnTo>
                    <a:pt x="486" y="414"/>
                  </a:lnTo>
                  <a:lnTo>
                    <a:pt x="480" y="414"/>
                  </a:lnTo>
                  <a:lnTo>
                    <a:pt x="480" y="408"/>
                  </a:lnTo>
                  <a:lnTo>
                    <a:pt x="474" y="408"/>
                  </a:lnTo>
                  <a:lnTo>
                    <a:pt x="468" y="408"/>
                  </a:lnTo>
                  <a:lnTo>
                    <a:pt x="468" y="402"/>
                  </a:lnTo>
                  <a:lnTo>
                    <a:pt x="462" y="402"/>
                  </a:lnTo>
                  <a:lnTo>
                    <a:pt x="462" y="408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80" y="426"/>
                  </a:lnTo>
                  <a:lnTo>
                    <a:pt x="486" y="426"/>
                  </a:lnTo>
                  <a:lnTo>
                    <a:pt x="486" y="432"/>
                  </a:lnTo>
                  <a:lnTo>
                    <a:pt x="492" y="438"/>
                  </a:lnTo>
                  <a:lnTo>
                    <a:pt x="498" y="438"/>
                  </a:lnTo>
                  <a:lnTo>
                    <a:pt x="504" y="444"/>
                  </a:lnTo>
                  <a:lnTo>
                    <a:pt x="510" y="444"/>
                  </a:lnTo>
                  <a:lnTo>
                    <a:pt x="510" y="450"/>
                  </a:lnTo>
                  <a:lnTo>
                    <a:pt x="510" y="456"/>
                  </a:lnTo>
                  <a:lnTo>
                    <a:pt x="516" y="456"/>
                  </a:lnTo>
                  <a:lnTo>
                    <a:pt x="516" y="462"/>
                  </a:lnTo>
                  <a:lnTo>
                    <a:pt x="522" y="462"/>
                  </a:lnTo>
                  <a:lnTo>
                    <a:pt x="522" y="468"/>
                  </a:lnTo>
                  <a:lnTo>
                    <a:pt x="528" y="468"/>
                  </a:lnTo>
                  <a:lnTo>
                    <a:pt x="534" y="468"/>
                  </a:lnTo>
                  <a:lnTo>
                    <a:pt x="534" y="474"/>
                  </a:lnTo>
                  <a:lnTo>
                    <a:pt x="540" y="474"/>
                  </a:lnTo>
                  <a:lnTo>
                    <a:pt x="540" y="480"/>
                  </a:lnTo>
                  <a:lnTo>
                    <a:pt x="546" y="486"/>
                  </a:lnTo>
                  <a:lnTo>
                    <a:pt x="546" y="492"/>
                  </a:lnTo>
                  <a:lnTo>
                    <a:pt x="546" y="498"/>
                  </a:lnTo>
                  <a:lnTo>
                    <a:pt x="546" y="504"/>
                  </a:lnTo>
                  <a:lnTo>
                    <a:pt x="540" y="504"/>
                  </a:lnTo>
                  <a:lnTo>
                    <a:pt x="546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10"/>
                  </a:lnTo>
                  <a:lnTo>
                    <a:pt x="552" y="516"/>
                  </a:lnTo>
                  <a:lnTo>
                    <a:pt x="552" y="522"/>
                  </a:lnTo>
                  <a:lnTo>
                    <a:pt x="552" y="528"/>
                  </a:lnTo>
                  <a:lnTo>
                    <a:pt x="552" y="534"/>
                  </a:lnTo>
                  <a:lnTo>
                    <a:pt x="552" y="540"/>
                  </a:lnTo>
                  <a:lnTo>
                    <a:pt x="546" y="540"/>
                  </a:lnTo>
                  <a:lnTo>
                    <a:pt x="546" y="546"/>
                  </a:lnTo>
                  <a:lnTo>
                    <a:pt x="546" y="540"/>
                  </a:lnTo>
                  <a:lnTo>
                    <a:pt x="546" y="534"/>
                  </a:lnTo>
                  <a:lnTo>
                    <a:pt x="540" y="534"/>
                  </a:lnTo>
                  <a:lnTo>
                    <a:pt x="540" y="528"/>
                  </a:lnTo>
                  <a:lnTo>
                    <a:pt x="534" y="528"/>
                  </a:lnTo>
                  <a:lnTo>
                    <a:pt x="528" y="528"/>
                  </a:lnTo>
                  <a:lnTo>
                    <a:pt x="522" y="528"/>
                  </a:lnTo>
                  <a:lnTo>
                    <a:pt x="516" y="528"/>
                  </a:lnTo>
                  <a:lnTo>
                    <a:pt x="510" y="528"/>
                  </a:lnTo>
                  <a:lnTo>
                    <a:pt x="510" y="534"/>
                  </a:lnTo>
                  <a:lnTo>
                    <a:pt x="510" y="528"/>
                  </a:lnTo>
                  <a:lnTo>
                    <a:pt x="516" y="528"/>
                  </a:lnTo>
                  <a:lnTo>
                    <a:pt x="522" y="528"/>
                  </a:lnTo>
                  <a:lnTo>
                    <a:pt x="528" y="528"/>
                  </a:lnTo>
                  <a:lnTo>
                    <a:pt x="534" y="534"/>
                  </a:lnTo>
                  <a:lnTo>
                    <a:pt x="540" y="534"/>
                  </a:lnTo>
                  <a:lnTo>
                    <a:pt x="540" y="540"/>
                  </a:lnTo>
                  <a:lnTo>
                    <a:pt x="540" y="546"/>
                  </a:lnTo>
                  <a:lnTo>
                    <a:pt x="546" y="546"/>
                  </a:lnTo>
                  <a:lnTo>
                    <a:pt x="546" y="552"/>
                  </a:lnTo>
                  <a:lnTo>
                    <a:pt x="552" y="552"/>
                  </a:lnTo>
                  <a:lnTo>
                    <a:pt x="552" y="558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0" y="576"/>
                  </a:lnTo>
                  <a:lnTo>
                    <a:pt x="540" y="582"/>
                  </a:lnTo>
                  <a:lnTo>
                    <a:pt x="540" y="588"/>
                  </a:lnTo>
                  <a:lnTo>
                    <a:pt x="534" y="594"/>
                  </a:lnTo>
                  <a:lnTo>
                    <a:pt x="534" y="600"/>
                  </a:lnTo>
                  <a:lnTo>
                    <a:pt x="528" y="600"/>
                  </a:lnTo>
                  <a:lnTo>
                    <a:pt x="522" y="594"/>
                  </a:lnTo>
                  <a:lnTo>
                    <a:pt x="528" y="600"/>
                  </a:lnTo>
                  <a:lnTo>
                    <a:pt x="534" y="600"/>
                  </a:lnTo>
                  <a:lnTo>
                    <a:pt x="534" y="606"/>
                  </a:lnTo>
                  <a:lnTo>
                    <a:pt x="528" y="606"/>
                  </a:lnTo>
                  <a:lnTo>
                    <a:pt x="528" y="612"/>
                  </a:lnTo>
                  <a:lnTo>
                    <a:pt x="522" y="612"/>
                  </a:lnTo>
                  <a:lnTo>
                    <a:pt x="522" y="618"/>
                  </a:lnTo>
                  <a:lnTo>
                    <a:pt x="522" y="624"/>
                  </a:lnTo>
                  <a:lnTo>
                    <a:pt x="510" y="624"/>
                  </a:lnTo>
                  <a:lnTo>
                    <a:pt x="498" y="624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0" y="624"/>
                  </a:lnTo>
                  <a:lnTo>
                    <a:pt x="474" y="624"/>
                  </a:lnTo>
                  <a:lnTo>
                    <a:pt x="468" y="618"/>
                  </a:lnTo>
                  <a:lnTo>
                    <a:pt x="456" y="618"/>
                  </a:lnTo>
                  <a:lnTo>
                    <a:pt x="450" y="618"/>
                  </a:lnTo>
                  <a:lnTo>
                    <a:pt x="426" y="618"/>
                  </a:lnTo>
                  <a:lnTo>
                    <a:pt x="420" y="618"/>
                  </a:lnTo>
                  <a:lnTo>
                    <a:pt x="414" y="618"/>
                  </a:lnTo>
                  <a:lnTo>
                    <a:pt x="408" y="618"/>
                  </a:lnTo>
                  <a:lnTo>
                    <a:pt x="396" y="618"/>
                  </a:lnTo>
                  <a:lnTo>
                    <a:pt x="366" y="618"/>
                  </a:lnTo>
                  <a:lnTo>
                    <a:pt x="348" y="624"/>
                  </a:lnTo>
                  <a:lnTo>
                    <a:pt x="342" y="624"/>
                  </a:lnTo>
                  <a:lnTo>
                    <a:pt x="342" y="618"/>
                  </a:lnTo>
                  <a:lnTo>
                    <a:pt x="336" y="618"/>
                  </a:lnTo>
                  <a:lnTo>
                    <a:pt x="336" y="612"/>
                  </a:lnTo>
                  <a:lnTo>
                    <a:pt x="342" y="612"/>
                  </a:lnTo>
                  <a:lnTo>
                    <a:pt x="348" y="612"/>
                  </a:lnTo>
                  <a:lnTo>
                    <a:pt x="342" y="612"/>
                  </a:lnTo>
                  <a:lnTo>
                    <a:pt x="336" y="612"/>
                  </a:lnTo>
                  <a:lnTo>
                    <a:pt x="336" y="606"/>
                  </a:lnTo>
                  <a:lnTo>
                    <a:pt x="330" y="606"/>
                  </a:lnTo>
                  <a:lnTo>
                    <a:pt x="330" y="600"/>
                  </a:lnTo>
                  <a:lnTo>
                    <a:pt x="324" y="600"/>
                  </a:lnTo>
                  <a:lnTo>
                    <a:pt x="324" y="606"/>
                  </a:lnTo>
                  <a:lnTo>
                    <a:pt x="318" y="606"/>
                  </a:lnTo>
                  <a:lnTo>
                    <a:pt x="318" y="612"/>
                  </a:lnTo>
                  <a:lnTo>
                    <a:pt x="312" y="612"/>
                  </a:lnTo>
                  <a:lnTo>
                    <a:pt x="306" y="606"/>
                  </a:lnTo>
                  <a:lnTo>
                    <a:pt x="306" y="612"/>
                  </a:lnTo>
                  <a:lnTo>
                    <a:pt x="312" y="612"/>
                  </a:lnTo>
                  <a:lnTo>
                    <a:pt x="318" y="612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30" y="606"/>
                  </a:lnTo>
                  <a:lnTo>
                    <a:pt x="336" y="612"/>
                  </a:lnTo>
                  <a:lnTo>
                    <a:pt x="336" y="618"/>
                  </a:lnTo>
                  <a:lnTo>
                    <a:pt x="330" y="618"/>
                  </a:lnTo>
                  <a:lnTo>
                    <a:pt x="336" y="618"/>
                  </a:lnTo>
                  <a:lnTo>
                    <a:pt x="336" y="624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288" y="624"/>
                  </a:lnTo>
                  <a:lnTo>
                    <a:pt x="282" y="624"/>
                  </a:lnTo>
                  <a:lnTo>
                    <a:pt x="270" y="630"/>
                  </a:lnTo>
                  <a:lnTo>
                    <a:pt x="264" y="630"/>
                  </a:lnTo>
                  <a:lnTo>
                    <a:pt x="258" y="630"/>
                  </a:lnTo>
                  <a:lnTo>
                    <a:pt x="252" y="630"/>
                  </a:lnTo>
                  <a:lnTo>
                    <a:pt x="246" y="630"/>
                  </a:lnTo>
                  <a:lnTo>
                    <a:pt x="240" y="630"/>
                  </a:lnTo>
                  <a:lnTo>
                    <a:pt x="228" y="636"/>
                  </a:lnTo>
                  <a:lnTo>
                    <a:pt x="222" y="636"/>
                  </a:lnTo>
                  <a:lnTo>
                    <a:pt x="210" y="636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42"/>
                  </a:lnTo>
                  <a:lnTo>
                    <a:pt x="186" y="642"/>
                  </a:lnTo>
                  <a:lnTo>
                    <a:pt x="180" y="642"/>
                  </a:lnTo>
                  <a:lnTo>
                    <a:pt x="168" y="642"/>
                  </a:lnTo>
                  <a:lnTo>
                    <a:pt x="162" y="642"/>
                  </a:lnTo>
                  <a:lnTo>
                    <a:pt x="162" y="648"/>
                  </a:lnTo>
                  <a:lnTo>
                    <a:pt x="156" y="648"/>
                  </a:lnTo>
                  <a:lnTo>
                    <a:pt x="150" y="648"/>
                  </a:lnTo>
                  <a:lnTo>
                    <a:pt x="144" y="648"/>
                  </a:lnTo>
                  <a:lnTo>
                    <a:pt x="138" y="648"/>
                  </a:lnTo>
                  <a:lnTo>
                    <a:pt x="132" y="648"/>
                  </a:lnTo>
                  <a:lnTo>
                    <a:pt x="126" y="642"/>
                  </a:lnTo>
                  <a:lnTo>
                    <a:pt x="126" y="636"/>
                  </a:lnTo>
                  <a:lnTo>
                    <a:pt x="120" y="636"/>
                  </a:lnTo>
                  <a:lnTo>
                    <a:pt x="126" y="642"/>
                  </a:lnTo>
                  <a:lnTo>
                    <a:pt x="126" y="648"/>
                  </a:lnTo>
                  <a:lnTo>
                    <a:pt x="132" y="648"/>
                  </a:lnTo>
                  <a:lnTo>
                    <a:pt x="126" y="654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54"/>
                  </a:lnTo>
                  <a:lnTo>
                    <a:pt x="108" y="660"/>
                  </a:lnTo>
                  <a:lnTo>
                    <a:pt x="108" y="654"/>
                  </a:lnTo>
                  <a:lnTo>
                    <a:pt x="102" y="654"/>
                  </a:lnTo>
                  <a:lnTo>
                    <a:pt x="102" y="660"/>
                  </a:lnTo>
                  <a:lnTo>
                    <a:pt x="108" y="660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0" y="660"/>
                  </a:lnTo>
                  <a:lnTo>
                    <a:pt x="90" y="654"/>
                  </a:lnTo>
                  <a:lnTo>
                    <a:pt x="84" y="648"/>
                  </a:lnTo>
                  <a:lnTo>
                    <a:pt x="84" y="642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72" y="636"/>
                  </a:lnTo>
                  <a:lnTo>
                    <a:pt x="78" y="636"/>
                  </a:lnTo>
                  <a:lnTo>
                    <a:pt x="72" y="636"/>
                  </a:lnTo>
                  <a:lnTo>
                    <a:pt x="66" y="636"/>
                  </a:lnTo>
                  <a:lnTo>
                    <a:pt x="60" y="636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60" y="618"/>
                  </a:lnTo>
                  <a:lnTo>
                    <a:pt x="66" y="618"/>
                  </a:lnTo>
                  <a:lnTo>
                    <a:pt x="72" y="618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2" y="612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12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54" y="618"/>
                  </a:lnTo>
                  <a:lnTo>
                    <a:pt x="54" y="624"/>
                  </a:lnTo>
                  <a:lnTo>
                    <a:pt x="48" y="618"/>
                  </a:lnTo>
                  <a:lnTo>
                    <a:pt x="42" y="618"/>
                  </a:lnTo>
                  <a:lnTo>
                    <a:pt x="42" y="612"/>
                  </a:lnTo>
                  <a:lnTo>
                    <a:pt x="48" y="606"/>
                  </a:lnTo>
                  <a:lnTo>
                    <a:pt x="54" y="606"/>
                  </a:lnTo>
                  <a:lnTo>
                    <a:pt x="54" y="600"/>
                  </a:lnTo>
                  <a:lnTo>
                    <a:pt x="54" y="594"/>
                  </a:lnTo>
                  <a:lnTo>
                    <a:pt x="54" y="588"/>
                  </a:lnTo>
                  <a:lnTo>
                    <a:pt x="48" y="588"/>
                  </a:lnTo>
                  <a:lnTo>
                    <a:pt x="48" y="582"/>
                  </a:lnTo>
                  <a:lnTo>
                    <a:pt x="42" y="582"/>
                  </a:lnTo>
                  <a:lnTo>
                    <a:pt x="42" y="570"/>
                  </a:lnTo>
                  <a:lnTo>
                    <a:pt x="42" y="564"/>
                  </a:lnTo>
                  <a:lnTo>
                    <a:pt x="36" y="564"/>
                  </a:lnTo>
                  <a:close/>
                  <a:moveTo>
                    <a:pt x="498" y="420"/>
                  </a:moveTo>
                  <a:lnTo>
                    <a:pt x="504" y="426"/>
                  </a:lnTo>
                  <a:lnTo>
                    <a:pt x="510" y="432"/>
                  </a:lnTo>
                  <a:lnTo>
                    <a:pt x="516" y="432"/>
                  </a:lnTo>
                  <a:lnTo>
                    <a:pt x="516" y="438"/>
                  </a:lnTo>
                  <a:lnTo>
                    <a:pt x="510" y="438"/>
                  </a:lnTo>
                  <a:lnTo>
                    <a:pt x="504" y="438"/>
                  </a:lnTo>
                  <a:lnTo>
                    <a:pt x="504" y="432"/>
                  </a:lnTo>
                  <a:lnTo>
                    <a:pt x="498" y="432"/>
                  </a:lnTo>
                  <a:lnTo>
                    <a:pt x="498" y="426"/>
                  </a:lnTo>
                  <a:lnTo>
                    <a:pt x="498" y="4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4" name="Freeform 9">
              <a:extLst>
                <a:ext uri="{FF2B5EF4-FFF2-40B4-BE49-F238E27FC236}">
                  <a16:creationId xmlns:a16="http://schemas.microsoft.com/office/drawing/2014/main" id="{E0116D32-BD2E-45EA-B818-A3082585D5F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3055" y="2468650"/>
              <a:ext cx="800556" cy="1207710"/>
            </a:xfrm>
            <a:custGeom>
              <a:avLst/>
              <a:gdLst>
                <a:gd name="T0" fmla="*/ 24 w 1506"/>
                <a:gd name="T1" fmla="*/ 190 h 2274"/>
                <a:gd name="T2" fmla="*/ 25 w 1506"/>
                <a:gd name="T3" fmla="*/ 180 h 2274"/>
                <a:gd name="T4" fmla="*/ 21 w 1506"/>
                <a:gd name="T5" fmla="*/ 174 h 2274"/>
                <a:gd name="T6" fmla="*/ 17 w 1506"/>
                <a:gd name="T7" fmla="*/ 170 h 2274"/>
                <a:gd name="T8" fmla="*/ 12 w 1506"/>
                <a:gd name="T9" fmla="*/ 168 h 2274"/>
                <a:gd name="T10" fmla="*/ 10 w 1506"/>
                <a:gd name="T11" fmla="*/ 173 h 2274"/>
                <a:gd name="T12" fmla="*/ 7 w 1506"/>
                <a:gd name="T13" fmla="*/ 174 h 2274"/>
                <a:gd name="T14" fmla="*/ 0 w 1506"/>
                <a:gd name="T15" fmla="*/ 163 h 2274"/>
                <a:gd name="T16" fmla="*/ 16 w 1506"/>
                <a:gd name="T17" fmla="*/ 140 h 2274"/>
                <a:gd name="T18" fmla="*/ 19 w 1506"/>
                <a:gd name="T19" fmla="*/ 137 h 2274"/>
                <a:gd name="T20" fmla="*/ 24 w 1506"/>
                <a:gd name="T21" fmla="*/ 126 h 2274"/>
                <a:gd name="T22" fmla="*/ 23 w 1506"/>
                <a:gd name="T23" fmla="*/ 105 h 2274"/>
                <a:gd name="T24" fmla="*/ 14 w 1506"/>
                <a:gd name="T25" fmla="*/ 86 h 2274"/>
                <a:gd name="T26" fmla="*/ 8 w 1506"/>
                <a:gd name="T27" fmla="*/ 84 h 2274"/>
                <a:gd name="T28" fmla="*/ 5 w 1506"/>
                <a:gd name="T29" fmla="*/ 79 h 2274"/>
                <a:gd name="T30" fmla="*/ 16 w 1506"/>
                <a:gd name="T31" fmla="*/ 71 h 2274"/>
                <a:gd name="T32" fmla="*/ 28 w 1506"/>
                <a:gd name="T33" fmla="*/ 55 h 2274"/>
                <a:gd name="T34" fmla="*/ 29 w 1506"/>
                <a:gd name="T35" fmla="*/ 48 h 2274"/>
                <a:gd name="T36" fmla="*/ 35 w 1506"/>
                <a:gd name="T37" fmla="*/ 50 h 2274"/>
                <a:gd name="T38" fmla="*/ 42 w 1506"/>
                <a:gd name="T39" fmla="*/ 47 h 2274"/>
                <a:gd name="T40" fmla="*/ 63 w 1506"/>
                <a:gd name="T41" fmla="*/ 34 h 2274"/>
                <a:gd name="T42" fmla="*/ 74 w 1506"/>
                <a:gd name="T43" fmla="*/ 27 h 2274"/>
                <a:gd name="T44" fmla="*/ 81 w 1506"/>
                <a:gd name="T45" fmla="*/ 20 h 2274"/>
                <a:gd name="T46" fmla="*/ 89 w 1506"/>
                <a:gd name="T47" fmla="*/ 20 h 2274"/>
                <a:gd name="T48" fmla="*/ 98 w 1506"/>
                <a:gd name="T49" fmla="*/ 27 h 2274"/>
                <a:gd name="T50" fmla="*/ 106 w 1506"/>
                <a:gd name="T51" fmla="*/ 17 h 2274"/>
                <a:gd name="T52" fmla="*/ 111 w 1506"/>
                <a:gd name="T53" fmla="*/ 8 h 2274"/>
                <a:gd name="T54" fmla="*/ 121 w 1506"/>
                <a:gd name="T55" fmla="*/ 2 h 2274"/>
                <a:gd name="T56" fmla="*/ 129 w 1506"/>
                <a:gd name="T57" fmla="*/ 5 h 2274"/>
                <a:gd name="T58" fmla="*/ 125 w 1506"/>
                <a:gd name="T59" fmla="*/ 12 h 2274"/>
                <a:gd name="T60" fmla="*/ 122 w 1506"/>
                <a:gd name="T61" fmla="*/ 20 h 2274"/>
                <a:gd name="T62" fmla="*/ 122 w 1506"/>
                <a:gd name="T63" fmla="*/ 27 h 2274"/>
                <a:gd name="T64" fmla="*/ 120 w 1506"/>
                <a:gd name="T65" fmla="*/ 36 h 2274"/>
                <a:gd name="T66" fmla="*/ 116 w 1506"/>
                <a:gd name="T67" fmla="*/ 43 h 2274"/>
                <a:gd name="T68" fmla="*/ 109 w 1506"/>
                <a:gd name="T69" fmla="*/ 47 h 2274"/>
                <a:gd name="T70" fmla="*/ 108 w 1506"/>
                <a:gd name="T71" fmla="*/ 54 h 2274"/>
                <a:gd name="T72" fmla="*/ 106 w 1506"/>
                <a:gd name="T73" fmla="*/ 59 h 2274"/>
                <a:gd name="T74" fmla="*/ 109 w 1506"/>
                <a:gd name="T75" fmla="*/ 64 h 2274"/>
                <a:gd name="T76" fmla="*/ 106 w 1506"/>
                <a:gd name="T77" fmla="*/ 70 h 2274"/>
                <a:gd name="T78" fmla="*/ 105 w 1506"/>
                <a:gd name="T79" fmla="*/ 75 h 2274"/>
                <a:gd name="T80" fmla="*/ 101 w 1506"/>
                <a:gd name="T81" fmla="*/ 78 h 2274"/>
                <a:gd name="T82" fmla="*/ 92 w 1506"/>
                <a:gd name="T83" fmla="*/ 81 h 2274"/>
                <a:gd name="T84" fmla="*/ 85 w 1506"/>
                <a:gd name="T85" fmla="*/ 85 h 2274"/>
                <a:gd name="T86" fmla="*/ 87 w 1506"/>
                <a:gd name="T87" fmla="*/ 91 h 2274"/>
                <a:gd name="T88" fmla="*/ 86 w 1506"/>
                <a:gd name="T89" fmla="*/ 98 h 2274"/>
                <a:gd name="T90" fmla="*/ 86 w 1506"/>
                <a:gd name="T91" fmla="*/ 103 h 2274"/>
                <a:gd name="T92" fmla="*/ 82 w 1506"/>
                <a:gd name="T93" fmla="*/ 111 h 2274"/>
                <a:gd name="T94" fmla="*/ 81 w 1506"/>
                <a:gd name="T95" fmla="*/ 116 h 2274"/>
                <a:gd name="T96" fmla="*/ 78 w 1506"/>
                <a:gd name="T97" fmla="*/ 120 h 2274"/>
                <a:gd name="T98" fmla="*/ 76 w 1506"/>
                <a:gd name="T99" fmla="*/ 126 h 2274"/>
                <a:gd name="T100" fmla="*/ 68 w 1506"/>
                <a:gd name="T101" fmla="*/ 129 h 2274"/>
                <a:gd name="T102" fmla="*/ 62 w 1506"/>
                <a:gd name="T103" fmla="*/ 131 h 2274"/>
                <a:gd name="T104" fmla="*/ 58 w 1506"/>
                <a:gd name="T105" fmla="*/ 136 h 2274"/>
                <a:gd name="T106" fmla="*/ 51 w 1506"/>
                <a:gd name="T107" fmla="*/ 138 h 2274"/>
                <a:gd name="T108" fmla="*/ 51 w 1506"/>
                <a:gd name="T109" fmla="*/ 147 h 2274"/>
                <a:gd name="T110" fmla="*/ 49 w 1506"/>
                <a:gd name="T111" fmla="*/ 159 h 2274"/>
                <a:gd name="T112" fmla="*/ 48 w 1506"/>
                <a:gd name="T113" fmla="*/ 166 h 2274"/>
                <a:gd name="T114" fmla="*/ 41 w 1506"/>
                <a:gd name="T115" fmla="*/ 174 h 2274"/>
                <a:gd name="T116" fmla="*/ 39 w 1506"/>
                <a:gd name="T117" fmla="*/ 181 h 2274"/>
                <a:gd name="T118" fmla="*/ 37 w 1506"/>
                <a:gd name="T119" fmla="*/ 190 h 2274"/>
                <a:gd name="T120" fmla="*/ 29 w 1506"/>
                <a:gd name="T121" fmla="*/ 198 h 22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06"/>
                <a:gd name="T184" fmla="*/ 0 h 2274"/>
                <a:gd name="T185" fmla="*/ 1506 w 1506"/>
                <a:gd name="T186" fmla="*/ 2274 h 227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06" h="2274">
                  <a:moveTo>
                    <a:pt x="330" y="2274"/>
                  </a:moveTo>
                  <a:lnTo>
                    <a:pt x="318" y="2262"/>
                  </a:lnTo>
                  <a:lnTo>
                    <a:pt x="312" y="2238"/>
                  </a:lnTo>
                  <a:lnTo>
                    <a:pt x="312" y="2232"/>
                  </a:lnTo>
                  <a:lnTo>
                    <a:pt x="294" y="2214"/>
                  </a:lnTo>
                  <a:lnTo>
                    <a:pt x="288" y="2208"/>
                  </a:lnTo>
                  <a:lnTo>
                    <a:pt x="288" y="2202"/>
                  </a:lnTo>
                  <a:lnTo>
                    <a:pt x="276" y="2196"/>
                  </a:lnTo>
                  <a:lnTo>
                    <a:pt x="276" y="2190"/>
                  </a:lnTo>
                  <a:lnTo>
                    <a:pt x="282" y="2190"/>
                  </a:lnTo>
                  <a:lnTo>
                    <a:pt x="282" y="2184"/>
                  </a:lnTo>
                  <a:lnTo>
                    <a:pt x="276" y="2172"/>
                  </a:lnTo>
                  <a:lnTo>
                    <a:pt x="276" y="2166"/>
                  </a:lnTo>
                  <a:lnTo>
                    <a:pt x="282" y="2166"/>
                  </a:lnTo>
                  <a:lnTo>
                    <a:pt x="282" y="2154"/>
                  </a:lnTo>
                  <a:lnTo>
                    <a:pt x="276" y="2136"/>
                  </a:lnTo>
                  <a:lnTo>
                    <a:pt x="276" y="2112"/>
                  </a:lnTo>
                  <a:lnTo>
                    <a:pt x="282" y="2088"/>
                  </a:lnTo>
                  <a:lnTo>
                    <a:pt x="282" y="2082"/>
                  </a:lnTo>
                  <a:lnTo>
                    <a:pt x="282" y="2076"/>
                  </a:lnTo>
                  <a:lnTo>
                    <a:pt x="282" y="2070"/>
                  </a:lnTo>
                  <a:lnTo>
                    <a:pt x="288" y="2070"/>
                  </a:lnTo>
                  <a:lnTo>
                    <a:pt x="288" y="2064"/>
                  </a:lnTo>
                  <a:lnTo>
                    <a:pt x="282" y="2052"/>
                  </a:lnTo>
                  <a:lnTo>
                    <a:pt x="282" y="2046"/>
                  </a:lnTo>
                  <a:lnTo>
                    <a:pt x="276" y="2040"/>
                  </a:lnTo>
                  <a:lnTo>
                    <a:pt x="270" y="2034"/>
                  </a:lnTo>
                  <a:lnTo>
                    <a:pt x="264" y="2022"/>
                  </a:lnTo>
                  <a:lnTo>
                    <a:pt x="258" y="2022"/>
                  </a:lnTo>
                  <a:lnTo>
                    <a:pt x="258" y="2016"/>
                  </a:lnTo>
                  <a:lnTo>
                    <a:pt x="252" y="2016"/>
                  </a:lnTo>
                  <a:lnTo>
                    <a:pt x="246" y="2016"/>
                  </a:lnTo>
                  <a:lnTo>
                    <a:pt x="240" y="2010"/>
                  </a:lnTo>
                  <a:lnTo>
                    <a:pt x="234" y="2004"/>
                  </a:lnTo>
                  <a:lnTo>
                    <a:pt x="228" y="2004"/>
                  </a:lnTo>
                  <a:lnTo>
                    <a:pt x="228" y="1998"/>
                  </a:lnTo>
                  <a:lnTo>
                    <a:pt x="228" y="1992"/>
                  </a:lnTo>
                  <a:lnTo>
                    <a:pt x="222" y="1992"/>
                  </a:lnTo>
                  <a:lnTo>
                    <a:pt x="222" y="1986"/>
                  </a:lnTo>
                  <a:lnTo>
                    <a:pt x="216" y="1986"/>
                  </a:lnTo>
                  <a:lnTo>
                    <a:pt x="210" y="1980"/>
                  </a:lnTo>
                  <a:lnTo>
                    <a:pt x="216" y="1974"/>
                  </a:lnTo>
                  <a:lnTo>
                    <a:pt x="210" y="1968"/>
                  </a:lnTo>
                  <a:lnTo>
                    <a:pt x="198" y="1956"/>
                  </a:lnTo>
                  <a:lnTo>
                    <a:pt x="192" y="1956"/>
                  </a:lnTo>
                  <a:lnTo>
                    <a:pt x="186" y="1956"/>
                  </a:lnTo>
                  <a:lnTo>
                    <a:pt x="180" y="1944"/>
                  </a:lnTo>
                  <a:lnTo>
                    <a:pt x="180" y="1938"/>
                  </a:lnTo>
                  <a:lnTo>
                    <a:pt x="174" y="1932"/>
                  </a:lnTo>
                  <a:lnTo>
                    <a:pt x="168" y="1932"/>
                  </a:lnTo>
                  <a:lnTo>
                    <a:pt x="162" y="1932"/>
                  </a:lnTo>
                  <a:lnTo>
                    <a:pt x="150" y="1932"/>
                  </a:lnTo>
                  <a:lnTo>
                    <a:pt x="150" y="1926"/>
                  </a:lnTo>
                  <a:lnTo>
                    <a:pt x="150" y="1932"/>
                  </a:lnTo>
                  <a:lnTo>
                    <a:pt x="144" y="1932"/>
                  </a:lnTo>
                  <a:lnTo>
                    <a:pt x="138" y="1932"/>
                  </a:lnTo>
                  <a:lnTo>
                    <a:pt x="132" y="1932"/>
                  </a:lnTo>
                  <a:lnTo>
                    <a:pt x="132" y="1938"/>
                  </a:lnTo>
                  <a:lnTo>
                    <a:pt x="126" y="1944"/>
                  </a:lnTo>
                  <a:lnTo>
                    <a:pt x="126" y="1956"/>
                  </a:lnTo>
                  <a:lnTo>
                    <a:pt x="120" y="1968"/>
                  </a:lnTo>
                  <a:lnTo>
                    <a:pt x="120" y="1974"/>
                  </a:lnTo>
                  <a:lnTo>
                    <a:pt x="120" y="1980"/>
                  </a:lnTo>
                  <a:lnTo>
                    <a:pt x="126" y="1980"/>
                  </a:lnTo>
                  <a:lnTo>
                    <a:pt x="120" y="1986"/>
                  </a:lnTo>
                  <a:lnTo>
                    <a:pt x="120" y="1992"/>
                  </a:lnTo>
                  <a:lnTo>
                    <a:pt x="114" y="1992"/>
                  </a:lnTo>
                  <a:lnTo>
                    <a:pt x="114" y="1986"/>
                  </a:lnTo>
                  <a:lnTo>
                    <a:pt x="108" y="1992"/>
                  </a:lnTo>
                  <a:lnTo>
                    <a:pt x="108" y="1998"/>
                  </a:lnTo>
                  <a:lnTo>
                    <a:pt x="114" y="2004"/>
                  </a:lnTo>
                  <a:lnTo>
                    <a:pt x="108" y="2004"/>
                  </a:lnTo>
                  <a:lnTo>
                    <a:pt x="102" y="2010"/>
                  </a:lnTo>
                  <a:lnTo>
                    <a:pt x="102" y="2004"/>
                  </a:lnTo>
                  <a:lnTo>
                    <a:pt x="90" y="2004"/>
                  </a:lnTo>
                  <a:lnTo>
                    <a:pt x="84" y="2004"/>
                  </a:lnTo>
                  <a:lnTo>
                    <a:pt x="78" y="1998"/>
                  </a:lnTo>
                  <a:lnTo>
                    <a:pt x="78" y="1992"/>
                  </a:lnTo>
                  <a:lnTo>
                    <a:pt x="78" y="1986"/>
                  </a:lnTo>
                  <a:lnTo>
                    <a:pt x="72" y="1986"/>
                  </a:lnTo>
                  <a:lnTo>
                    <a:pt x="66" y="1980"/>
                  </a:lnTo>
                  <a:lnTo>
                    <a:pt x="66" y="1968"/>
                  </a:lnTo>
                  <a:lnTo>
                    <a:pt x="60" y="1956"/>
                  </a:lnTo>
                  <a:lnTo>
                    <a:pt x="60" y="1950"/>
                  </a:lnTo>
                  <a:lnTo>
                    <a:pt x="48" y="1944"/>
                  </a:lnTo>
                  <a:lnTo>
                    <a:pt x="30" y="1926"/>
                  </a:lnTo>
                  <a:lnTo>
                    <a:pt x="12" y="1890"/>
                  </a:lnTo>
                  <a:lnTo>
                    <a:pt x="6" y="1872"/>
                  </a:lnTo>
                  <a:lnTo>
                    <a:pt x="0" y="1854"/>
                  </a:lnTo>
                  <a:lnTo>
                    <a:pt x="6" y="1824"/>
                  </a:lnTo>
                  <a:lnTo>
                    <a:pt x="30" y="1794"/>
                  </a:lnTo>
                  <a:lnTo>
                    <a:pt x="66" y="1752"/>
                  </a:lnTo>
                  <a:lnTo>
                    <a:pt x="72" y="1752"/>
                  </a:lnTo>
                  <a:lnTo>
                    <a:pt x="78" y="1746"/>
                  </a:lnTo>
                  <a:lnTo>
                    <a:pt x="84" y="1746"/>
                  </a:lnTo>
                  <a:lnTo>
                    <a:pt x="90" y="1746"/>
                  </a:lnTo>
                  <a:lnTo>
                    <a:pt x="138" y="1674"/>
                  </a:lnTo>
                  <a:lnTo>
                    <a:pt x="186" y="1620"/>
                  </a:lnTo>
                  <a:lnTo>
                    <a:pt x="186" y="1614"/>
                  </a:lnTo>
                  <a:lnTo>
                    <a:pt x="186" y="1608"/>
                  </a:lnTo>
                  <a:lnTo>
                    <a:pt x="192" y="1608"/>
                  </a:lnTo>
                  <a:lnTo>
                    <a:pt x="192" y="1614"/>
                  </a:lnTo>
                  <a:lnTo>
                    <a:pt x="198" y="1614"/>
                  </a:lnTo>
                  <a:lnTo>
                    <a:pt x="198" y="1608"/>
                  </a:lnTo>
                  <a:lnTo>
                    <a:pt x="198" y="1602"/>
                  </a:lnTo>
                  <a:lnTo>
                    <a:pt x="204" y="1602"/>
                  </a:lnTo>
                  <a:lnTo>
                    <a:pt x="204" y="1596"/>
                  </a:lnTo>
                  <a:lnTo>
                    <a:pt x="210" y="1590"/>
                  </a:lnTo>
                  <a:lnTo>
                    <a:pt x="216" y="1590"/>
                  </a:lnTo>
                  <a:lnTo>
                    <a:pt x="216" y="1584"/>
                  </a:lnTo>
                  <a:lnTo>
                    <a:pt x="222" y="1584"/>
                  </a:lnTo>
                  <a:lnTo>
                    <a:pt x="228" y="1572"/>
                  </a:lnTo>
                  <a:lnTo>
                    <a:pt x="222" y="1572"/>
                  </a:lnTo>
                  <a:lnTo>
                    <a:pt x="228" y="1566"/>
                  </a:lnTo>
                  <a:lnTo>
                    <a:pt x="228" y="1560"/>
                  </a:lnTo>
                  <a:lnTo>
                    <a:pt x="252" y="1548"/>
                  </a:lnTo>
                  <a:lnTo>
                    <a:pt x="276" y="1530"/>
                  </a:lnTo>
                  <a:lnTo>
                    <a:pt x="282" y="1512"/>
                  </a:lnTo>
                  <a:lnTo>
                    <a:pt x="282" y="1506"/>
                  </a:lnTo>
                  <a:lnTo>
                    <a:pt x="282" y="1494"/>
                  </a:lnTo>
                  <a:lnTo>
                    <a:pt x="282" y="1452"/>
                  </a:lnTo>
                  <a:lnTo>
                    <a:pt x="288" y="1440"/>
                  </a:lnTo>
                  <a:lnTo>
                    <a:pt x="294" y="1440"/>
                  </a:lnTo>
                  <a:lnTo>
                    <a:pt x="294" y="1428"/>
                  </a:lnTo>
                  <a:lnTo>
                    <a:pt x="324" y="1368"/>
                  </a:lnTo>
                  <a:lnTo>
                    <a:pt x="330" y="1362"/>
                  </a:lnTo>
                  <a:lnTo>
                    <a:pt x="330" y="1356"/>
                  </a:lnTo>
                  <a:lnTo>
                    <a:pt x="360" y="1338"/>
                  </a:lnTo>
                  <a:lnTo>
                    <a:pt x="366" y="1296"/>
                  </a:lnTo>
                  <a:lnTo>
                    <a:pt x="354" y="1278"/>
                  </a:lnTo>
                  <a:lnTo>
                    <a:pt x="336" y="1230"/>
                  </a:lnTo>
                  <a:lnTo>
                    <a:pt x="270" y="1212"/>
                  </a:lnTo>
                  <a:lnTo>
                    <a:pt x="264" y="1212"/>
                  </a:lnTo>
                  <a:lnTo>
                    <a:pt x="252" y="1200"/>
                  </a:lnTo>
                  <a:lnTo>
                    <a:pt x="234" y="1188"/>
                  </a:lnTo>
                  <a:lnTo>
                    <a:pt x="222" y="1182"/>
                  </a:lnTo>
                  <a:lnTo>
                    <a:pt x="228" y="1104"/>
                  </a:lnTo>
                  <a:lnTo>
                    <a:pt x="228" y="1098"/>
                  </a:lnTo>
                  <a:lnTo>
                    <a:pt x="198" y="1038"/>
                  </a:lnTo>
                  <a:lnTo>
                    <a:pt x="192" y="1032"/>
                  </a:lnTo>
                  <a:lnTo>
                    <a:pt x="180" y="1020"/>
                  </a:lnTo>
                  <a:lnTo>
                    <a:pt x="168" y="996"/>
                  </a:lnTo>
                  <a:lnTo>
                    <a:pt x="162" y="990"/>
                  </a:lnTo>
                  <a:lnTo>
                    <a:pt x="156" y="990"/>
                  </a:lnTo>
                  <a:lnTo>
                    <a:pt x="150" y="990"/>
                  </a:lnTo>
                  <a:lnTo>
                    <a:pt x="132" y="990"/>
                  </a:lnTo>
                  <a:lnTo>
                    <a:pt x="120" y="984"/>
                  </a:lnTo>
                  <a:lnTo>
                    <a:pt x="120" y="990"/>
                  </a:lnTo>
                  <a:lnTo>
                    <a:pt x="114" y="990"/>
                  </a:lnTo>
                  <a:lnTo>
                    <a:pt x="102" y="984"/>
                  </a:lnTo>
                  <a:lnTo>
                    <a:pt x="96" y="984"/>
                  </a:lnTo>
                  <a:lnTo>
                    <a:pt x="96" y="978"/>
                  </a:lnTo>
                  <a:lnTo>
                    <a:pt x="90" y="978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84" y="960"/>
                  </a:lnTo>
                  <a:lnTo>
                    <a:pt x="84" y="954"/>
                  </a:lnTo>
                  <a:lnTo>
                    <a:pt x="78" y="948"/>
                  </a:lnTo>
                  <a:lnTo>
                    <a:pt x="72" y="948"/>
                  </a:lnTo>
                  <a:lnTo>
                    <a:pt x="72" y="942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06"/>
                  </a:lnTo>
                  <a:lnTo>
                    <a:pt x="60" y="888"/>
                  </a:lnTo>
                  <a:lnTo>
                    <a:pt x="54" y="882"/>
                  </a:lnTo>
                  <a:lnTo>
                    <a:pt x="60" y="882"/>
                  </a:lnTo>
                  <a:lnTo>
                    <a:pt x="72" y="876"/>
                  </a:lnTo>
                  <a:lnTo>
                    <a:pt x="78" y="876"/>
                  </a:lnTo>
                  <a:lnTo>
                    <a:pt x="90" y="870"/>
                  </a:lnTo>
                  <a:lnTo>
                    <a:pt x="90" y="864"/>
                  </a:lnTo>
                  <a:lnTo>
                    <a:pt x="96" y="840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80" y="822"/>
                  </a:lnTo>
                  <a:lnTo>
                    <a:pt x="204" y="798"/>
                  </a:lnTo>
                  <a:lnTo>
                    <a:pt x="222" y="786"/>
                  </a:lnTo>
                  <a:lnTo>
                    <a:pt x="252" y="780"/>
                  </a:lnTo>
                  <a:lnTo>
                    <a:pt x="264" y="762"/>
                  </a:lnTo>
                  <a:lnTo>
                    <a:pt x="276" y="762"/>
                  </a:lnTo>
                  <a:lnTo>
                    <a:pt x="288" y="744"/>
                  </a:lnTo>
                  <a:lnTo>
                    <a:pt x="306" y="738"/>
                  </a:lnTo>
                  <a:lnTo>
                    <a:pt x="318" y="732"/>
                  </a:lnTo>
                  <a:lnTo>
                    <a:pt x="324" y="648"/>
                  </a:lnTo>
                  <a:lnTo>
                    <a:pt x="324" y="636"/>
                  </a:lnTo>
                  <a:lnTo>
                    <a:pt x="324" y="630"/>
                  </a:lnTo>
                  <a:lnTo>
                    <a:pt x="330" y="624"/>
                  </a:lnTo>
                  <a:lnTo>
                    <a:pt x="324" y="618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24" y="588"/>
                  </a:lnTo>
                  <a:lnTo>
                    <a:pt x="318" y="576"/>
                  </a:lnTo>
                  <a:lnTo>
                    <a:pt x="318" y="570"/>
                  </a:lnTo>
                  <a:lnTo>
                    <a:pt x="324" y="570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30" y="558"/>
                  </a:lnTo>
                  <a:lnTo>
                    <a:pt x="336" y="558"/>
                  </a:lnTo>
                  <a:lnTo>
                    <a:pt x="342" y="558"/>
                  </a:lnTo>
                  <a:lnTo>
                    <a:pt x="348" y="558"/>
                  </a:lnTo>
                  <a:lnTo>
                    <a:pt x="354" y="564"/>
                  </a:lnTo>
                  <a:lnTo>
                    <a:pt x="360" y="564"/>
                  </a:lnTo>
                  <a:lnTo>
                    <a:pt x="366" y="570"/>
                  </a:lnTo>
                  <a:lnTo>
                    <a:pt x="366" y="576"/>
                  </a:lnTo>
                  <a:lnTo>
                    <a:pt x="372" y="570"/>
                  </a:lnTo>
                  <a:lnTo>
                    <a:pt x="378" y="570"/>
                  </a:lnTo>
                  <a:lnTo>
                    <a:pt x="390" y="570"/>
                  </a:lnTo>
                  <a:lnTo>
                    <a:pt x="402" y="570"/>
                  </a:lnTo>
                  <a:lnTo>
                    <a:pt x="408" y="570"/>
                  </a:lnTo>
                  <a:lnTo>
                    <a:pt x="414" y="564"/>
                  </a:lnTo>
                  <a:lnTo>
                    <a:pt x="420" y="564"/>
                  </a:lnTo>
                  <a:lnTo>
                    <a:pt x="420" y="570"/>
                  </a:lnTo>
                  <a:lnTo>
                    <a:pt x="426" y="570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44" y="570"/>
                  </a:lnTo>
                  <a:lnTo>
                    <a:pt x="450" y="564"/>
                  </a:lnTo>
                  <a:lnTo>
                    <a:pt x="474" y="558"/>
                  </a:lnTo>
                  <a:lnTo>
                    <a:pt x="486" y="54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40" y="474"/>
                  </a:lnTo>
                  <a:lnTo>
                    <a:pt x="558" y="456"/>
                  </a:lnTo>
                  <a:lnTo>
                    <a:pt x="582" y="450"/>
                  </a:lnTo>
                  <a:lnTo>
                    <a:pt x="594" y="414"/>
                  </a:lnTo>
                  <a:lnTo>
                    <a:pt x="612" y="390"/>
                  </a:lnTo>
                  <a:lnTo>
                    <a:pt x="636" y="390"/>
                  </a:lnTo>
                  <a:lnTo>
                    <a:pt x="666" y="390"/>
                  </a:lnTo>
                  <a:lnTo>
                    <a:pt x="696" y="390"/>
                  </a:lnTo>
                  <a:lnTo>
                    <a:pt x="726" y="390"/>
                  </a:lnTo>
                  <a:lnTo>
                    <a:pt x="762" y="378"/>
                  </a:lnTo>
                  <a:lnTo>
                    <a:pt x="780" y="366"/>
                  </a:lnTo>
                  <a:lnTo>
                    <a:pt x="780" y="342"/>
                  </a:lnTo>
                  <a:lnTo>
                    <a:pt x="786" y="342"/>
                  </a:lnTo>
                  <a:lnTo>
                    <a:pt x="786" y="336"/>
                  </a:lnTo>
                  <a:lnTo>
                    <a:pt x="786" y="330"/>
                  </a:lnTo>
                  <a:lnTo>
                    <a:pt x="786" y="324"/>
                  </a:lnTo>
                  <a:lnTo>
                    <a:pt x="816" y="318"/>
                  </a:lnTo>
                  <a:lnTo>
                    <a:pt x="834" y="312"/>
                  </a:lnTo>
                  <a:lnTo>
                    <a:pt x="840" y="318"/>
                  </a:lnTo>
                  <a:lnTo>
                    <a:pt x="852" y="318"/>
                  </a:lnTo>
                  <a:lnTo>
                    <a:pt x="858" y="306"/>
                  </a:lnTo>
                  <a:lnTo>
                    <a:pt x="864" y="288"/>
                  </a:lnTo>
                  <a:lnTo>
                    <a:pt x="870" y="282"/>
                  </a:lnTo>
                  <a:lnTo>
                    <a:pt x="876" y="276"/>
                  </a:lnTo>
                  <a:lnTo>
                    <a:pt x="882" y="264"/>
                  </a:lnTo>
                  <a:lnTo>
                    <a:pt x="882" y="258"/>
                  </a:lnTo>
                  <a:lnTo>
                    <a:pt x="888" y="252"/>
                  </a:lnTo>
                  <a:lnTo>
                    <a:pt x="894" y="240"/>
                  </a:lnTo>
                  <a:lnTo>
                    <a:pt x="906" y="228"/>
                  </a:lnTo>
                  <a:lnTo>
                    <a:pt x="912" y="228"/>
                  </a:lnTo>
                  <a:lnTo>
                    <a:pt x="936" y="228"/>
                  </a:lnTo>
                  <a:lnTo>
                    <a:pt x="942" y="222"/>
                  </a:lnTo>
                  <a:lnTo>
                    <a:pt x="948" y="216"/>
                  </a:lnTo>
                  <a:lnTo>
                    <a:pt x="954" y="216"/>
                  </a:lnTo>
                  <a:lnTo>
                    <a:pt x="960" y="216"/>
                  </a:lnTo>
                  <a:lnTo>
                    <a:pt x="966" y="216"/>
                  </a:lnTo>
                  <a:lnTo>
                    <a:pt x="978" y="216"/>
                  </a:lnTo>
                  <a:lnTo>
                    <a:pt x="990" y="222"/>
                  </a:lnTo>
                  <a:lnTo>
                    <a:pt x="996" y="222"/>
                  </a:lnTo>
                  <a:lnTo>
                    <a:pt x="1002" y="228"/>
                  </a:lnTo>
                  <a:lnTo>
                    <a:pt x="1014" y="234"/>
                  </a:lnTo>
                  <a:lnTo>
                    <a:pt x="1020" y="234"/>
                  </a:lnTo>
                  <a:lnTo>
                    <a:pt x="1032" y="240"/>
                  </a:lnTo>
                  <a:lnTo>
                    <a:pt x="1044" y="240"/>
                  </a:lnTo>
                  <a:lnTo>
                    <a:pt x="1050" y="240"/>
                  </a:lnTo>
                  <a:lnTo>
                    <a:pt x="1056" y="246"/>
                  </a:lnTo>
                  <a:lnTo>
                    <a:pt x="1068" y="264"/>
                  </a:lnTo>
                  <a:lnTo>
                    <a:pt x="1086" y="276"/>
                  </a:lnTo>
                  <a:lnTo>
                    <a:pt x="1092" y="276"/>
                  </a:lnTo>
                  <a:lnTo>
                    <a:pt x="1104" y="282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8" y="312"/>
                  </a:lnTo>
                  <a:lnTo>
                    <a:pt x="1152" y="324"/>
                  </a:lnTo>
                  <a:lnTo>
                    <a:pt x="1188" y="324"/>
                  </a:lnTo>
                  <a:lnTo>
                    <a:pt x="1206" y="318"/>
                  </a:lnTo>
                  <a:lnTo>
                    <a:pt x="1200" y="294"/>
                  </a:lnTo>
                  <a:lnTo>
                    <a:pt x="1206" y="252"/>
                  </a:lnTo>
                  <a:lnTo>
                    <a:pt x="1218" y="222"/>
                  </a:lnTo>
                  <a:lnTo>
                    <a:pt x="1212" y="222"/>
                  </a:lnTo>
                  <a:lnTo>
                    <a:pt x="1212" y="216"/>
                  </a:lnTo>
                  <a:lnTo>
                    <a:pt x="1218" y="204"/>
                  </a:lnTo>
                  <a:lnTo>
                    <a:pt x="1224" y="198"/>
                  </a:lnTo>
                  <a:lnTo>
                    <a:pt x="1224" y="192"/>
                  </a:lnTo>
                  <a:lnTo>
                    <a:pt x="1236" y="180"/>
                  </a:lnTo>
                  <a:lnTo>
                    <a:pt x="1254" y="156"/>
                  </a:lnTo>
                  <a:lnTo>
                    <a:pt x="1260" y="150"/>
                  </a:lnTo>
                  <a:lnTo>
                    <a:pt x="1260" y="144"/>
                  </a:lnTo>
                  <a:lnTo>
                    <a:pt x="1266" y="138"/>
                  </a:lnTo>
                  <a:lnTo>
                    <a:pt x="1272" y="138"/>
                  </a:lnTo>
                  <a:lnTo>
                    <a:pt x="1272" y="120"/>
                  </a:lnTo>
                  <a:lnTo>
                    <a:pt x="1278" y="114"/>
                  </a:lnTo>
                  <a:lnTo>
                    <a:pt x="1278" y="108"/>
                  </a:lnTo>
                  <a:lnTo>
                    <a:pt x="1278" y="102"/>
                  </a:lnTo>
                  <a:lnTo>
                    <a:pt x="1278" y="90"/>
                  </a:lnTo>
                  <a:lnTo>
                    <a:pt x="1278" y="84"/>
                  </a:lnTo>
                  <a:lnTo>
                    <a:pt x="1278" y="78"/>
                  </a:lnTo>
                  <a:lnTo>
                    <a:pt x="1278" y="72"/>
                  </a:lnTo>
                  <a:lnTo>
                    <a:pt x="1278" y="60"/>
                  </a:lnTo>
                  <a:lnTo>
                    <a:pt x="1284" y="48"/>
                  </a:lnTo>
                  <a:lnTo>
                    <a:pt x="1284" y="24"/>
                  </a:lnTo>
                  <a:lnTo>
                    <a:pt x="1284" y="18"/>
                  </a:lnTo>
                  <a:lnTo>
                    <a:pt x="1308" y="24"/>
                  </a:lnTo>
                  <a:lnTo>
                    <a:pt x="1332" y="30"/>
                  </a:lnTo>
                  <a:lnTo>
                    <a:pt x="1368" y="30"/>
                  </a:lnTo>
                  <a:lnTo>
                    <a:pt x="1392" y="24"/>
                  </a:lnTo>
                  <a:lnTo>
                    <a:pt x="1410" y="18"/>
                  </a:lnTo>
                  <a:lnTo>
                    <a:pt x="1416" y="6"/>
                  </a:lnTo>
                  <a:lnTo>
                    <a:pt x="1500" y="6"/>
                  </a:lnTo>
                  <a:lnTo>
                    <a:pt x="1506" y="0"/>
                  </a:lnTo>
                  <a:lnTo>
                    <a:pt x="1506" y="6"/>
                  </a:lnTo>
                  <a:lnTo>
                    <a:pt x="1506" y="18"/>
                  </a:lnTo>
                  <a:lnTo>
                    <a:pt x="1506" y="24"/>
                  </a:lnTo>
                  <a:lnTo>
                    <a:pt x="1500" y="30"/>
                  </a:lnTo>
                  <a:lnTo>
                    <a:pt x="1500" y="42"/>
                  </a:lnTo>
                  <a:lnTo>
                    <a:pt x="1494" y="54"/>
                  </a:lnTo>
                  <a:lnTo>
                    <a:pt x="1488" y="60"/>
                  </a:lnTo>
                  <a:lnTo>
                    <a:pt x="1482" y="60"/>
                  </a:lnTo>
                  <a:lnTo>
                    <a:pt x="1476" y="66"/>
                  </a:lnTo>
                  <a:lnTo>
                    <a:pt x="1476" y="72"/>
                  </a:lnTo>
                  <a:lnTo>
                    <a:pt x="1476" y="78"/>
                  </a:lnTo>
                  <a:lnTo>
                    <a:pt x="1470" y="78"/>
                  </a:lnTo>
                  <a:lnTo>
                    <a:pt x="1464" y="90"/>
                  </a:lnTo>
                  <a:lnTo>
                    <a:pt x="1458" y="96"/>
                  </a:lnTo>
                  <a:lnTo>
                    <a:pt x="1458" y="102"/>
                  </a:lnTo>
                  <a:lnTo>
                    <a:pt x="1452" y="120"/>
                  </a:lnTo>
                  <a:lnTo>
                    <a:pt x="1452" y="132"/>
                  </a:lnTo>
                  <a:lnTo>
                    <a:pt x="1446" y="144"/>
                  </a:lnTo>
                  <a:lnTo>
                    <a:pt x="1446" y="150"/>
                  </a:lnTo>
                  <a:lnTo>
                    <a:pt x="1440" y="150"/>
                  </a:lnTo>
                  <a:lnTo>
                    <a:pt x="1434" y="156"/>
                  </a:lnTo>
                  <a:lnTo>
                    <a:pt x="1428" y="168"/>
                  </a:lnTo>
                  <a:lnTo>
                    <a:pt x="1422" y="168"/>
                  </a:lnTo>
                  <a:lnTo>
                    <a:pt x="1416" y="174"/>
                  </a:lnTo>
                  <a:lnTo>
                    <a:pt x="1410" y="186"/>
                  </a:lnTo>
                  <a:lnTo>
                    <a:pt x="1410" y="204"/>
                  </a:lnTo>
                  <a:lnTo>
                    <a:pt x="1404" y="210"/>
                  </a:lnTo>
                  <a:lnTo>
                    <a:pt x="1404" y="216"/>
                  </a:lnTo>
                  <a:lnTo>
                    <a:pt x="1410" y="228"/>
                  </a:lnTo>
                  <a:lnTo>
                    <a:pt x="1410" y="234"/>
                  </a:lnTo>
                  <a:lnTo>
                    <a:pt x="1410" y="240"/>
                  </a:lnTo>
                  <a:lnTo>
                    <a:pt x="1416" y="252"/>
                  </a:lnTo>
                  <a:lnTo>
                    <a:pt x="1416" y="258"/>
                  </a:lnTo>
                  <a:lnTo>
                    <a:pt x="1422" y="264"/>
                  </a:lnTo>
                  <a:lnTo>
                    <a:pt x="1422" y="270"/>
                  </a:lnTo>
                  <a:lnTo>
                    <a:pt x="1422" y="282"/>
                  </a:lnTo>
                  <a:lnTo>
                    <a:pt x="1416" y="288"/>
                  </a:lnTo>
                  <a:lnTo>
                    <a:pt x="1410" y="294"/>
                  </a:lnTo>
                  <a:lnTo>
                    <a:pt x="1404" y="300"/>
                  </a:lnTo>
                  <a:lnTo>
                    <a:pt x="1404" y="306"/>
                  </a:lnTo>
                  <a:lnTo>
                    <a:pt x="1398" y="324"/>
                  </a:lnTo>
                  <a:lnTo>
                    <a:pt x="1404" y="330"/>
                  </a:lnTo>
                  <a:lnTo>
                    <a:pt x="1404" y="342"/>
                  </a:lnTo>
                  <a:lnTo>
                    <a:pt x="1392" y="354"/>
                  </a:lnTo>
                  <a:lnTo>
                    <a:pt x="1392" y="360"/>
                  </a:lnTo>
                  <a:lnTo>
                    <a:pt x="1392" y="372"/>
                  </a:lnTo>
                  <a:lnTo>
                    <a:pt x="1392" y="384"/>
                  </a:lnTo>
                  <a:lnTo>
                    <a:pt x="1392" y="396"/>
                  </a:lnTo>
                  <a:lnTo>
                    <a:pt x="1392" y="408"/>
                  </a:lnTo>
                  <a:lnTo>
                    <a:pt x="1386" y="414"/>
                  </a:lnTo>
                  <a:lnTo>
                    <a:pt x="1380" y="420"/>
                  </a:lnTo>
                  <a:lnTo>
                    <a:pt x="1380" y="426"/>
                  </a:lnTo>
                  <a:lnTo>
                    <a:pt x="1368" y="432"/>
                  </a:lnTo>
                  <a:lnTo>
                    <a:pt x="1362" y="444"/>
                  </a:lnTo>
                  <a:lnTo>
                    <a:pt x="1362" y="450"/>
                  </a:lnTo>
                  <a:lnTo>
                    <a:pt x="1362" y="462"/>
                  </a:lnTo>
                  <a:lnTo>
                    <a:pt x="1362" y="468"/>
                  </a:lnTo>
                  <a:lnTo>
                    <a:pt x="1362" y="474"/>
                  </a:lnTo>
                  <a:lnTo>
                    <a:pt x="1356" y="474"/>
                  </a:lnTo>
                  <a:lnTo>
                    <a:pt x="1350" y="480"/>
                  </a:lnTo>
                  <a:lnTo>
                    <a:pt x="1344" y="486"/>
                  </a:lnTo>
                  <a:lnTo>
                    <a:pt x="1338" y="498"/>
                  </a:lnTo>
                  <a:lnTo>
                    <a:pt x="1332" y="510"/>
                  </a:lnTo>
                  <a:lnTo>
                    <a:pt x="1320" y="510"/>
                  </a:lnTo>
                  <a:lnTo>
                    <a:pt x="1314" y="516"/>
                  </a:lnTo>
                  <a:lnTo>
                    <a:pt x="1302" y="522"/>
                  </a:lnTo>
                  <a:lnTo>
                    <a:pt x="1296" y="522"/>
                  </a:lnTo>
                  <a:lnTo>
                    <a:pt x="1284" y="516"/>
                  </a:lnTo>
                  <a:lnTo>
                    <a:pt x="1278" y="516"/>
                  </a:lnTo>
                  <a:lnTo>
                    <a:pt x="1272" y="522"/>
                  </a:lnTo>
                  <a:lnTo>
                    <a:pt x="1266" y="522"/>
                  </a:lnTo>
                  <a:lnTo>
                    <a:pt x="1266" y="528"/>
                  </a:lnTo>
                  <a:lnTo>
                    <a:pt x="1254" y="540"/>
                  </a:lnTo>
                  <a:lnTo>
                    <a:pt x="1248" y="546"/>
                  </a:lnTo>
                  <a:lnTo>
                    <a:pt x="1242" y="558"/>
                  </a:lnTo>
                  <a:lnTo>
                    <a:pt x="1230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30" y="594"/>
                  </a:lnTo>
                  <a:lnTo>
                    <a:pt x="1230" y="600"/>
                  </a:lnTo>
                  <a:lnTo>
                    <a:pt x="1236" y="606"/>
                  </a:lnTo>
                  <a:lnTo>
                    <a:pt x="1242" y="606"/>
                  </a:lnTo>
                  <a:lnTo>
                    <a:pt x="1242" y="612"/>
                  </a:lnTo>
                  <a:lnTo>
                    <a:pt x="1242" y="618"/>
                  </a:lnTo>
                  <a:lnTo>
                    <a:pt x="1242" y="624"/>
                  </a:lnTo>
                  <a:lnTo>
                    <a:pt x="1236" y="630"/>
                  </a:lnTo>
                  <a:lnTo>
                    <a:pt x="1230" y="642"/>
                  </a:lnTo>
                  <a:lnTo>
                    <a:pt x="1230" y="648"/>
                  </a:lnTo>
                  <a:lnTo>
                    <a:pt x="1218" y="654"/>
                  </a:lnTo>
                  <a:lnTo>
                    <a:pt x="1212" y="654"/>
                  </a:lnTo>
                  <a:lnTo>
                    <a:pt x="1212" y="660"/>
                  </a:lnTo>
                  <a:lnTo>
                    <a:pt x="1212" y="666"/>
                  </a:lnTo>
                  <a:lnTo>
                    <a:pt x="1212" y="672"/>
                  </a:lnTo>
                  <a:lnTo>
                    <a:pt x="1212" y="678"/>
                  </a:lnTo>
                  <a:lnTo>
                    <a:pt x="1218" y="684"/>
                  </a:lnTo>
                  <a:lnTo>
                    <a:pt x="1218" y="690"/>
                  </a:lnTo>
                  <a:lnTo>
                    <a:pt x="1224" y="696"/>
                  </a:lnTo>
                  <a:lnTo>
                    <a:pt x="1230" y="702"/>
                  </a:lnTo>
                  <a:lnTo>
                    <a:pt x="1236" y="696"/>
                  </a:lnTo>
                  <a:lnTo>
                    <a:pt x="1242" y="702"/>
                  </a:lnTo>
                  <a:lnTo>
                    <a:pt x="1248" y="708"/>
                  </a:lnTo>
                  <a:lnTo>
                    <a:pt x="1254" y="714"/>
                  </a:lnTo>
                  <a:lnTo>
                    <a:pt x="1254" y="720"/>
                  </a:lnTo>
                  <a:lnTo>
                    <a:pt x="1260" y="720"/>
                  </a:lnTo>
                  <a:lnTo>
                    <a:pt x="1254" y="732"/>
                  </a:lnTo>
                  <a:lnTo>
                    <a:pt x="1248" y="738"/>
                  </a:lnTo>
                  <a:lnTo>
                    <a:pt x="1242" y="744"/>
                  </a:lnTo>
                  <a:lnTo>
                    <a:pt x="1236" y="750"/>
                  </a:lnTo>
                  <a:lnTo>
                    <a:pt x="1236" y="756"/>
                  </a:lnTo>
                  <a:lnTo>
                    <a:pt x="1236" y="762"/>
                  </a:lnTo>
                  <a:lnTo>
                    <a:pt x="1236" y="768"/>
                  </a:lnTo>
                  <a:lnTo>
                    <a:pt x="1236" y="780"/>
                  </a:lnTo>
                  <a:lnTo>
                    <a:pt x="1230" y="780"/>
                  </a:lnTo>
                  <a:lnTo>
                    <a:pt x="1230" y="786"/>
                  </a:lnTo>
                  <a:lnTo>
                    <a:pt x="1230" y="792"/>
                  </a:lnTo>
                  <a:lnTo>
                    <a:pt x="1230" y="804"/>
                  </a:lnTo>
                  <a:lnTo>
                    <a:pt x="1224" y="810"/>
                  </a:lnTo>
                  <a:lnTo>
                    <a:pt x="1218" y="816"/>
                  </a:lnTo>
                  <a:lnTo>
                    <a:pt x="1224" y="822"/>
                  </a:lnTo>
                  <a:lnTo>
                    <a:pt x="1224" y="828"/>
                  </a:lnTo>
                  <a:lnTo>
                    <a:pt x="1218" y="834"/>
                  </a:lnTo>
                  <a:lnTo>
                    <a:pt x="1224" y="834"/>
                  </a:lnTo>
                  <a:lnTo>
                    <a:pt x="1224" y="840"/>
                  </a:lnTo>
                  <a:lnTo>
                    <a:pt x="1224" y="846"/>
                  </a:lnTo>
                  <a:lnTo>
                    <a:pt x="1224" y="852"/>
                  </a:lnTo>
                  <a:lnTo>
                    <a:pt x="1218" y="858"/>
                  </a:lnTo>
                  <a:lnTo>
                    <a:pt x="1218" y="870"/>
                  </a:lnTo>
                  <a:lnTo>
                    <a:pt x="1212" y="870"/>
                  </a:lnTo>
                  <a:lnTo>
                    <a:pt x="1212" y="876"/>
                  </a:lnTo>
                  <a:lnTo>
                    <a:pt x="1206" y="888"/>
                  </a:lnTo>
                  <a:lnTo>
                    <a:pt x="1200" y="882"/>
                  </a:lnTo>
                  <a:lnTo>
                    <a:pt x="1194" y="888"/>
                  </a:lnTo>
                  <a:lnTo>
                    <a:pt x="1188" y="894"/>
                  </a:lnTo>
                  <a:lnTo>
                    <a:pt x="1182" y="894"/>
                  </a:lnTo>
                  <a:lnTo>
                    <a:pt x="1182" y="900"/>
                  </a:lnTo>
                  <a:lnTo>
                    <a:pt x="1176" y="900"/>
                  </a:lnTo>
                  <a:lnTo>
                    <a:pt x="1170" y="894"/>
                  </a:lnTo>
                  <a:lnTo>
                    <a:pt x="1164" y="900"/>
                  </a:lnTo>
                  <a:lnTo>
                    <a:pt x="1158" y="900"/>
                  </a:lnTo>
                  <a:lnTo>
                    <a:pt x="1152" y="900"/>
                  </a:lnTo>
                  <a:lnTo>
                    <a:pt x="1140" y="900"/>
                  </a:lnTo>
                  <a:lnTo>
                    <a:pt x="1134" y="900"/>
                  </a:lnTo>
                  <a:lnTo>
                    <a:pt x="1128" y="906"/>
                  </a:lnTo>
                  <a:lnTo>
                    <a:pt x="1110" y="906"/>
                  </a:lnTo>
                  <a:lnTo>
                    <a:pt x="1104" y="906"/>
                  </a:lnTo>
                  <a:lnTo>
                    <a:pt x="1098" y="906"/>
                  </a:lnTo>
                  <a:lnTo>
                    <a:pt x="1092" y="912"/>
                  </a:lnTo>
                  <a:lnTo>
                    <a:pt x="1080" y="918"/>
                  </a:lnTo>
                  <a:lnTo>
                    <a:pt x="1068" y="930"/>
                  </a:lnTo>
                  <a:lnTo>
                    <a:pt x="1062" y="930"/>
                  </a:lnTo>
                  <a:lnTo>
                    <a:pt x="1056" y="930"/>
                  </a:lnTo>
                  <a:lnTo>
                    <a:pt x="1050" y="930"/>
                  </a:lnTo>
                  <a:lnTo>
                    <a:pt x="1050" y="936"/>
                  </a:lnTo>
                  <a:lnTo>
                    <a:pt x="1038" y="942"/>
                  </a:lnTo>
                  <a:lnTo>
                    <a:pt x="1032" y="948"/>
                  </a:lnTo>
                  <a:lnTo>
                    <a:pt x="1026" y="954"/>
                  </a:lnTo>
                  <a:lnTo>
                    <a:pt x="1020" y="960"/>
                  </a:lnTo>
                  <a:lnTo>
                    <a:pt x="1014" y="966"/>
                  </a:lnTo>
                  <a:lnTo>
                    <a:pt x="1002" y="966"/>
                  </a:lnTo>
                  <a:lnTo>
                    <a:pt x="990" y="978"/>
                  </a:lnTo>
                  <a:lnTo>
                    <a:pt x="984" y="978"/>
                  </a:lnTo>
                  <a:lnTo>
                    <a:pt x="978" y="984"/>
                  </a:lnTo>
                  <a:lnTo>
                    <a:pt x="972" y="984"/>
                  </a:lnTo>
                  <a:lnTo>
                    <a:pt x="978" y="990"/>
                  </a:lnTo>
                  <a:lnTo>
                    <a:pt x="972" y="996"/>
                  </a:lnTo>
                  <a:lnTo>
                    <a:pt x="978" y="1002"/>
                  </a:lnTo>
                  <a:lnTo>
                    <a:pt x="1002" y="1002"/>
                  </a:lnTo>
                  <a:lnTo>
                    <a:pt x="1002" y="1008"/>
                  </a:lnTo>
                  <a:lnTo>
                    <a:pt x="1008" y="1020"/>
                  </a:lnTo>
                  <a:lnTo>
                    <a:pt x="1002" y="1026"/>
                  </a:lnTo>
                  <a:lnTo>
                    <a:pt x="1002" y="1032"/>
                  </a:lnTo>
                  <a:lnTo>
                    <a:pt x="1002" y="1050"/>
                  </a:lnTo>
                  <a:lnTo>
                    <a:pt x="1002" y="1056"/>
                  </a:lnTo>
                  <a:lnTo>
                    <a:pt x="1008" y="1062"/>
                  </a:lnTo>
                  <a:lnTo>
                    <a:pt x="1008" y="1074"/>
                  </a:lnTo>
                  <a:lnTo>
                    <a:pt x="1008" y="1086"/>
                  </a:lnTo>
                  <a:lnTo>
                    <a:pt x="996" y="1092"/>
                  </a:lnTo>
                  <a:lnTo>
                    <a:pt x="996" y="1098"/>
                  </a:lnTo>
                  <a:lnTo>
                    <a:pt x="996" y="1104"/>
                  </a:lnTo>
                  <a:lnTo>
                    <a:pt x="990" y="1110"/>
                  </a:lnTo>
                  <a:lnTo>
                    <a:pt x="990" y="1116"/>
                  </a:lnTo>
                  <a:lnTo>
                    <a:pt x="996" y="1122"/>
                  </a:lnTo>
                  <a:lnTo>
                    <a:pt x="990" y="1128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96" y="1140"/>
                  </a:lnTo>
                  <a:lnTo>
                    <a:pt x="996" y="1146"/>
                  </a:lnTo>
                  <a:lnTo>
                    <a:pt x="996" y="1152"/>
                  </a:lnTo>
                  <a:lnTo>
                    <a:pt x="996" y="1158"/>
                  </a:lnTo>
                  <a:lnTo>
                    <a:pt x="996" y="1164"/>
                  </a:lnTo>
                  <a:lnTo>
                    <a:pt x="996" y="1170"/>
                  </a:lnTo>
                  <a:lnTo>
                    <a:pt x="996" y="1176"/>
                  </a:lnTo>
                  <a:lnTo>
                    <a:pt x="990" y="1182"/>
                  </a:lnTo>
                  <a:lnTo>
                    <a:pt x="990" y="1188"/>
                  </a:lnTo>
                  <a:lnTo>
                    <a:pt x="984" y="1200"/>
                  </a:lnTo>
                  <a:lnTo>
                    <a:pt x="990" y="1206"/>
                  </a:lnTo>
                  <a:lnTo>
                    <a:pt x="990" y="1212"/>
                  </a:lnTo>
                  <a:lnTo>
                    <a:pt x="990" y="1218"/>
                  </a:lnTo>
                  <a:lnTo>
                    <a:pt x="978" y="1230"/>
                  </a:lnTo>
                  <a:lnTo>
                    <a:pt x="972" y="1236"/>
                  </a:lnTo>
                  <a:lnTo>
                    <a:pt x="972" y="1242"/>
                  </a:lnTo>
                  <a:lnTo>
                    <a:pt x="966" y="1248"/>
                  </a:lnTo>
                  <a:lnTo>
                    <a:pt x="960" y="1260"/>
                  </a:lnTo>
                  <a:lnTo>
                    <a:pt x="954" y="1266"/>
                  </a:lnTo>
                  <a:lnTo>
                    <a:pt x="942" y="1278"/>
                  </a:lnTo>
                  <a:lnTo>
                    <a:pt x="936" y="1278"/>
                  </a:lnTo>
                  <a:lnTo>
                    <a:pt x="936" y="1284"/>
                  </a:lnTo>
                  <a:lnTo>
                    <a:pt x="936" y="1296"/>
                  </a:lnTo>
                  <a:lnTo>
                    <a:pt x="936" y="1302"/>
                  </a:lnTo>
                  <a:lnTo>
                    <a:pt x="942" y="1302"/>
                  </a:lnTo>
                  <a:lnTo>
                    <a:pt x="942" y="1308"/>
                  </a:lnTo>
                  <a:lnTo>
                    <a:pt x="936" y="1314"/>
                  </a:lnTo>
                  <a:lnTo>
                    <a:pt x="930" y="1320"/>
                  </a:lnTo>
                  <a:lnTo>
                    <a:pt x="930" y="1326"/>
                  </a:lnTo>
                  <a:lnTo>
                    <a:pt x="930" y="1332"/>
                  </a:lnTo>
                  <a:lnTo>
                    <a:pt x="936" y="1338"/>
                  </a:lnTo>
                  <a:lnTo>
                    <a:pt x="936" y="1344"/>
                  </a:lnTo>
                  <a:lnTo>
                    <a:pt x="942" y="1356"/>
                  </a:lnTo>
                  <a:lnTo>
                    <a:pt x="948" y="1368"/>
                  </a:lnTo>
                  <a:lnTo>
                    <a:pt x="942" y="1380"/>
                  </a:lnTo>
                  <a:lnTo>
                    <a:pt x="936" y="1386"/>
                  </a:lnTo>
                  <a:lnTo>
                    <a:pt x="930" y="1392"/>
                  </a:lnTo>
                  <a:lnTo>
                    <a:pt x="924" y="1392"/>
                  </a:lnTo>
                  <a:lnTo>
                    <a:pt x="918" y="1386"/>
                  </a:lnTo>
                  <a:lnTo>
                    <a:pt x="912" y="1386"/>
                  </a:lnTo>
                  <a:lnTo>
                    <a:pt x="906" y="1386"/>
                  </a:lnTo>
                  <a:lnTo>
                    <a:pt x="900" y="1386"/>
                  </a:lnTo>
                  <a:lnTo>
                    <a:pt x="900" y="1392"/>
                  </a:lnTo>
                  <a:lnTo>
                    <a:pt x="894" y="1392"/>
                  </a:lnTo>
                  <a:lnTo>
                    <a:pt x="888" y="1392"/>
                  </a:lnTo>
                  <a:lnTo>
                    <a:pt x="888" y="1398"/>
                  </a:lnTo>
                  <a:lnTo>
                    <a:pt x="882" y="1404"/>
                  </a:lnTo>
                  <a:lnTo>
                    <a:pt x="882" y="1416"/>
                  </a:lnTo>
                  <a:lnTo>
                    <a:pt x="882" y="1428"/>
                  </a:lnTo>
                  <a:lnTo>
                    <a:pt x="882" y="1434"/>
                  </a:lnTo>
                  <a:lnTo>
                    <a:pt x="870" y="1440"/>
                  </a:lnTo>
                  <a:lnTo>
                    <a:pt x="864" y="1452"/>
                  </a:lnTo>
                  <a:lnTo>
                    <a:pt x="870" y="1452"/>
                  </a:lnTo>
                  <a:lnTo>
                    <a:pt x="864" y="1458"/>
                  </a:lnTo>
                  <a:lnTo>
                    <a:pt x="858" y="1464"/>
                  </a:lnTo>
                  <a:lnTo>
                    <a:pt x="852" y="1464"/>
                  </a:lnTo>
                  <a:lnTo>
                    <a:pt x="846" y="1458"/>
                  </a:lnTo>
                  <a:lnTo>
                    <a:pt x="840" y="1458"/>
                  </a:lnTo>
                  <a:lnTo>
                    <a:pt x="828" y="1470"/>
                  </a:lnTo>
                  <a:lnTo>
                    <a:pt x="810" y="1482"/>
                  </a:lnTo>
                  <a:lnTo>
                    <a:pt x="804" y="1488"/>
                  </a:lnTo>
                  <a:lnTo>
                    <a:pt x="798" y="1488"/>
                  </a:lnTo>
                  <a:lnTo>
                    <a:pt x="792" y="1488"/>
                  </a:lnTo>
                  <a:lnTo>
                    <a:pt x="786" y="1488"/>
                  </a:lnTo>
                  <a:lnTo>
                    <a:pt x="768" y="1482"/>
                  </a:lnTo>
                  <a:lnTo>
                    <a:pt x="762" y="1476"/>
                  </a:lnTo>
                  <a:lnTo>
                    <a:pt x="744" y="1476"/>
                  </a:lnTo>
                  <a:lnTo>
                    <a:pt x="738" y="1476"/>
                  </a:lnTo>
                  <a:lnTo>
                    <a:pt x="732" y="1476"/>
                  </a:lnTo>
                  <a:lnTo>
                    <a:pt x="726" y="1482"/>
                  </a:lnTo>
                  <a:lnTo>
                    <a:pt x="726" y="1488"/>
                  </a:lnTo>
                  <a:lnTo>
                    <a:pt x="726" y="1494"/>
                  </a:lnTo>
                  <a:lnTo>
                    <a:pt x="726" y="1500"/>
                  </a:lnTo>
                  <a:lnTo>
                    <a:pt x="720" y="1500"/>
                  </a:lnTo>
                  <a:lnTo>
                    <a:pt x="720" y="1506"/>
                  </a:lnTo>
                  <a:lnTo>
                    <a:pt x="714" y="1512"/>
                  </a:lnTo>
                  <a:lnTo>
                    <a:pt x="714" y="1518"/>
                  </a:lnTo>
                  <a:lnTo>
                    <a:pt x="708" y="1518"/>
                  </a:lnTo>
                  <a:lnTo>
                    <a:pt x="708" y="1530"/>
                  </a:lnTo>
                  <a:lnTo>
                    <a:pt x="708" y="1536"/>
                  </a:lnTo>
                  <a:lnTo>
                    <a:pt x="708" y="1542"/>
                  </a:lnTo>
                  <a:lnTo>
                    <a:pt x="696" y="1554"/>
                  </a:lnTo>
                  <a:lnTo>
                    <a:pt x="690" y="1560"/>
                  </a:lnTo>
                  <a:lnTo>
                    <a:pt x="684" y="1566"/>
                  </a:lnTo>
                  <a:lnTo>
                    <a:pt x="672" y="1566"/>
                  </a:lnTo>
                  <a:lnTo>
                    <a:pt x="666" y="1566"/>
                  </a:lnTo>
                  <a:lnTo>
                    <a:pt x="660" y="1566"/>
                  </a:lnTo>
                  <a:lnTo>
                    <a:pt x="654" y="1572"/>
                  </a:lnTo>
                  <a:lnTo>
                    <a:pt x="654" y="1578"/>
                  </a:lnTo>
                  <a:lnTo>
                    <a:pt x="642" y="1578"/>
                  </a:lnTo>
                  <a:lnTo>
                    <a:pt x="630" y="1572"/>
                  </a:lnTo>
                  <a:lnTo>
                    <a:pt x="624" y="1572"/>
                  </a:lnTo>
                  <a:lnTo>
                    <a:pt x="618" y="1578"/>
                  </a:lnTo>
                  <a:lnTo>
                    <a:pt x="612" y="1584"/>
                  </a:lnTo>
                  <a:lnTo>
                    <a:pt x="606" y="1584"/>
                  </a:lnTo>
                  <a:lnTo>
                    <a:pt x="600" y="1590"/>
                  </a:lnTo>
                  <a:lnTo>
                    <a:pt x="594" y="1590"/>
                  </a:lnTo>
                  <a:lnTo>
                    <a:pt x="588" y="1590"/>
                  </a:lnTo>
                  <a:lnTo>
                    <a:pt x="582" y="1590"/>
                  </a:lnTo>
                  <a:lnTo>
                    <a:pt x="582" y="1596"/>
                  </a:lnTo>
                  <a:lnTo>
                    <a:pt x="576" y="1614"/>
                  </a:lnTo>
                  <a:lnTo>
                    <a:pt x="570" y="1632"/>
                  </a:lnTo>
                  <a:lnTo>
                    <a:pt x="570" y="1638"/>
                  </a:lnTo>
                  <a:lnTo>
                    <a:pt x="576" y="1644"/>
                  </a:lnTo>
                  <a:lnTo>
                    <a:pt x="576" y="1650"/>
                  </a:lnTo>
                  <a:lnTo>
                    <a:pt x="582" y="1662"/>
                  </a:lnTo>
                  <a:lnTo>
                    <a:pt x="582" y="1668"/>
                  </a:lnTo>
                  <a:lnTo>
                    <a:pt x="588" y="1692"/>
                  </a:lnTo>
                  <a:lnTo>
                    <a:pt x="594" y="1728"/>
                  </a:lnTo>
                  <a:lnTo>
                    <a:pt x="594" y="1752"/>
                  </a:lnTo>
                  <a:lnTo>
                    <a:pt x="594" y="1764"/>
                  </a:lnTo>
                  <a:lnTo>
                    <a:pt x="582" y="1770"/>
                  </a:lnTo>
                  <a:lnTo>
                    <a:pt x="582" y="1782"/>
                  </a:lnTo>
                  <a:lnTo>
                    <a:pt x="576" y="1788"/>
                  </a:lnTo>
                  <a:lnTo>
                    <a:pt x="570" y="1794"/>
                  </a:lnTo>
                  <a:lnTo>
                    <a:pt x="564" y="1806"/>
                  </a:lnTo>
                  <a:lnTo>
                    <a:pt x="564" y="1812"/>
                  </a:lnTo>
                  <a:lnTo>
                    <a:pt x="558" y="1812"/>
                  </a:lnTo>
                  <a:lnTo>
                    <a:pt x="564" y="1824"/>
                  </a:lnTo>
                  <a:lnTo>
                    <a:pt x="564" y="1830"/>
                  </a:lnTo>
                  <a:lnTo>
                    <a:pt x="564" y="1842"/>
                  </a:lnTo>
                  <a:lnTo>
                    <a:pt x="564" y="1848"/>
                  </a:lnTo>
                  <a:lnTo>
                    <a:pt x="564" y="1854"/>
                  </a:lnTo>
                  <a:lnTo>
                    <a:pt x="570" y="1860"/>
                  </a:lnTo>
                  <a:lnTo>
                    <a:pt x="570" y="1866"/>
                  </a:lnTo>
                  <a:lnTo>
                    <a:pt x="570" y="1872"/>
                  </a:lnTo>
                  <a:lnTo>
                    <a:pt x="570" y="1878"/>
                  </a:lnTo>
                  <a:lnTo>
                    <a:pt x="564" y="1890"/>
                  </a:lnTo>
                  <a:lnTo>
                    <a:pt x="558" y="1896"/>
                  </a:lnTo>
                  <a:lnTo>
                    <a:pt x="552" y="1908"/>
                  </a:lnTo>
                  <a:lnTo>
                    <a:pt x="546" y="1914"/>
                  </a:lnTo>
                  <a:lnTo>
                    <a:pt x="540" y="1920"/>
                  </a:lnTo>
                  <a:lnTo>
                    <a:pt x="534" y="1932"/>
                  </a:lnTo>
                  <a:lnTo>
                    <a:pt x="528" y="1944"/>
                  </a:lnTo>
                  <a:lnTo>
                    <a:pt x="516" y="1950"/>
                  </a:lnTo>
                  <a:lnTo>
                    <a:pt x="510" y="1956"/>
                  </a:lnTo>
                  <a:lnTo>
                    <a:pt x="498" y="1962"/>
                  </a:lnTo>
                  <a:lnTo>
                    <a:pt x="492" y="1974"/>
                  </a:lnTo>
                  <a:lnTo>
                    <a:pt x="486" y="1980"/>
                  </a:lnTo>
                  <a:lnTo>
                    <a:pt x="480" y="1998"/>
                  </a:lnTo>
                  <a:lnTo>
                    <a:pt x="474" y="2004"/>
                  </a:lnTo>
                  <a:lnTo>
                    <a:pt x="474" y="2010"/>
                  </a:lnTo>
                  <a:lnTo>
                    <a:pt x="474" y="2016"/>
                  </a:lnTo>
                  <a:lnTo>
                    <a:pt x="468" y="2016"/>
                  </a:lnTo>
                  <a:lnTo>
                    <a:pt x="468" y="2028"/>
                  </a:lnTo>
                  <a:lnTo>
                    <a:pt x="462" y="2034"/>
                  </a:lnTo>
                  <a:lnTo>
                    <a:pt x="456" y="2040"/>
                  </a:lnTo>
                  <a:lnTo>
                    <a:pt x="456" y="2052"/>
                  </a:lnTo>
                  <a:lnTo>
                    <a:pt x="450" y="2058"/>
                  </a:lnTo>
                  <a:lnTo>
                    <a:pt x="450" y="2070"/>
                  </a:lnTo>
                  <a:lnTo>
                    <a:pt x="450" y="2076"/>
                  </a:lnTo>
                  <a:lnTo>
                    <a:pt x="450" y="2082"/>
                  </a:lnTo>
                  <a:lnTo>
                    <a:pt x="444" y="2088"/>
                  </a:lnTo>
                  <a:lnTo>
                    <a:pt x="438" y="2094"/>
                  </a:lnTo>
                  <a:lnTo>
                    <a:pt x="444" y="2100"/>
                  </a:lnTo>
                  <a:lnTo>
                    <a:pt x="444" y="2124"/>
                  </a:lnTo>
                  <a:lnTo>
                    <a:pt x="444" y="2142"/>
                  </a:lnTo>
                  <a:lnTo>
                    <a:pt x="444" y="2160"/>
                  </a:lnTo>
                  <a:lnTo>
                    <a:pt x="450" y="2166"/>
                  </a:lnTo>
                  <a:lnTo>
                    <a:pt x="456" y="2178"/>
                  </a:lnTo>
                  <a:lnTo>
                    <a:pt x="438" y="2184"/>
                  </a:lnTo>
                  <a:lnTo>
                    <a:pt x="432" y="2184"/>
                  </a:lnTo>
                  <a:lnTo>
                    <a:pt x="426" y="2190"/>
                  </a:lnTo>
                  <a:lnTo>
                    <a:pt x="408" y="2190"/>
                  </a:lnTo>
                  <a:lnTo>
                    <a:pt x="402" y="2196"/>
                  </a:lnTo>
                  <a:lnTo>
                    <a:pt x="396" y="2196"/>
                  </a:lnTo>
                  <a:lnTo>
                    <a:pt x="384" y="2208"/>
                  </a:lnTo>
                  <a:lnTo>
                    <a:pt x="378" y="2220"/>
                  </a:lnTo>
                  <a:lnTo>
                    <a:pt x="366" y="2232"/>
                  </a:lnTo>
                  <a:lnTo>
                    <a:pt x="366" y="2238"/>
                  </a:lnTo>
                  <a:lnTo>
                    <a:pt x="360" y="2238"/>
                  </a:lnTo>
                  <a:lnTo>
                    <a:pt x="360" y="2244"/>
                  </a:lnTo>
                  <a:lnTo>
                    <a:pt x="354" y="2244"/>
                  </a:lnTo>
                  <a:lnTo>
                    <a:pt x="330" y="227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5" name="Freeform 10">
              <a:extLst>
                <a:ext uri="{FF2B5EF4-FFF2-40B4-BE49-F238E27FC236}">
                  <a16:creationId xmlns:a16="http://schemas.microsoft.com/office/drawing/2014/main" id="{3AD2FC58-3490-4B7F-A8BE-621F3CDD69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1996" y="1931890"/>
              <a:ext cx="805029" cy="1037736"/>
            </a:xfrm>
            <a:custGeom>
              <a:avLst/>
              <a:gdLst>
                <a:gd name="T0" fmla="*/ 124 w 1512"/>
                <a:gd name="T1" fmla="*/ 76 h 1956"/>
                <a:gd name="T2" fmla="*/ 120 w 1512"/>
                <a:gd name="T3" fmla="*/ 80 h 1956"/>
                <a:gd name="T4" fmla="*/ 106 w 1512"/>
                <a:gd name="T5" fmla="*/ 84 h 1956"/>
                <a:gd name="T6" fmla="*/ 105 w 1512"/>
                <a:gd name="T7" fmla="*/ 91 h 1956"/>
                <a:gd name="T8" fmla="*/ 101 w 1512"/>
                <a:gd name="T9" fmla="*/ 99 h 1956"/>
                <a:gd name="T10" fmla="*/ 105 w 1512"/>
                <a:gd name="T11" fmla="*/ 107 h 1956"/>
                <a:gd name="T12" fmla="*/ 119 w 1512"/>
                <a:gd name="T13" fmla="*/ 116 h 1956"/>
                <a:gd name="T14" fmla="*/ 121 w 1512"/>
                <a:gd name="T15" fmla="*/ 128 h 1956"/>
                <a:gd name="T16" fmla="*/ 112 w 1512"/>
                <a:gd name="T17" fmla="*/ 136 h 1956"/>
                <a:gd name="T18" fmla="*/ 119 w 1512"/>
                <a:gd name="T19" fmla="*/ 143 h 1956"/>
                <a:gd name="T20" fmla="*/ 126 w 1512"/>
                <a:gd name="T21" fmla="*/ 148 h 1956"/>
                <a:gd name="T22" fmla="*/ 126 w 1512"/>
                <a:gd name="T23" fmla="*/ 160 h 1956"/>
                <a:gd name="T24" fmla="*/ 104 w 1512"/>
                <a:gd name="T25" fmla="*/ 170 h 1956"/>
                <a:gd name="T26" fmla="*/ 99 w 1512"/>
                <a:gd name="T27" fmla="*/ 164 h 1956"/>
                <a:gd name="T28" fmla="*/ 73 w 1512"/>
                <a:gd name="T29" fmla="*/ 152 h 1956"/>
                <a:gd name="T30" fmla="*/ 56 w 1512"/>
                <a:gd name="T31" fmla="*/ 165 h 1956"/>
                <a:gd name="T32" fmla="*/ 33 w 1512"/>
                <a:gd name="T33" fmla="*/ 162 h 1956"/>
                <a:gd name="T34" fmla="*/ 25 w 1512"/>
                <a:gd name="T35" fmla="*/ 155 h 1956"/>
                <a:gd name="T36" fmla="*/ 31 w 1512"/>
                <a:gd name="T37" fmla="*/ 142 h 1956"/>
                <a:gd name="T38" fmla="*/ 24 w 1512"/>
                <a:gd name="T39" fmla="*/ 137 h 1956"/>
                <a:gd name="T40" fmla="*/ 14 w 1512"/>
                <a:gd name="T41" fmla="*/ 136 h 1956"/>
                <a:gd name="T42" fmla="*/ 11 w 1512"/>
                <a:gd name="T43" fmla="*/ 125 h 1956"/>
                <a:gd name="T44" fmla="*/ 3 w 1512"/>
                <a:gd name="T45" fmla="*/ 116 h 1956"/>
                <a:gd name="T46" fmla="*/ 2 w 1512"/>
                <a:gd name="T47" fmla="*/ 106 h 1956"/>
                <a:gd name="T48" fmla="*/ 5 w 1512"/>
                <a:gd name="T49" fmla="*/ 101 h 1956"/>
                <a:gd name="T50" fmla="*/ 2 w 1512"/>
                <a:gd name="T51" fmla="*/ 95 h 1956"/>
                <a:gd name="T52" fmla="*/ 1 w 1512"/>
                <a:gd name="T53" fmla="*/ 88 h 1956"/>
                <a:gd name="T54" fmla="*/ 4 w 1512"/>
                <a:gd name="T55" fmla="*/ 80 h 1956"/>
                <a:gd name="T56" fmla="*/ 12 w 1512"/>
                <a:gd name="T57" fmla="*/ 73 h 1956"/>
                <a:gd name="T58" fmla="*/ 16 w 1512"/>
                <a:gd name="T59" fmla="*/ 68 h 1956"/>
                <a:gd name="T60" fmla="*/ 22 w 1512"/>
                <a:gd name="T61" fmla="*/ 66 h 1956"/>
                <a:gd name="T62" fmla="*/ 32 w 1512"/>
                <a:gd name="T63" fmla="*/ 65 h 1956"/>
                <a:gd name="T64" fmla="*/ 45 w 1512"/>
                <a:gd name="T65" fmla="*/ 66 h 1956"/>
                <a:gd name="T66" fmla="*/ 50 w 1512"/>
                <a:gd name="T67" fmla="*/ 70 h 1956"/>
                <a:gd name="T68" fmla="*/ 55 w 1512"/>
                <a:gd name="T69" fmla="*/ 70 h 1956"/>
                <a:gd name="T70" fmla="*/ 63 w 1512"/>
                <a:gd name="T71" fmla="*/ 71 h 1956"/>
                <a:gd name="T72" fmla="*/ 61 w 1512"/>
                <a:gd name="T73" fmla="*/ 75 h 1956"/>
                <a:gd name="T74" fmla="*/ 66 w 1512"/>
                <a:gd name="T75" fmla="*/ 84 h 1956"/>
                <a:gd name="T76" fmla="*/ 81 w 1512"/>
                <a:gd name="T77" fmla="*/ 85 h 1956"/>
                <a:gd name="T78" fmla="*/ 83 w 1512"/>
                <a:gd name="T79" fmla="*/ 79 h 1956"/>
                <a:gd name="T80" fmla="*/ 89 w 1512"/>
                <a:gd name="T81" fmla="*/ 77 h 1956"/>
                <a:gd name="T82" fmla="*/ 89 w 1512"/>
                <a:gd name="T83" fmla="*/ 73 h 1956"/>
                <a:gd name="T84" fmla="*/ 83 w 1512"/>
                <a:gd name="T85" fmla="*/ 72 h 1956"/>
                <a:gd name="T86" fmla="*/ 77 w 1512"/>
                <a:gd name="T87" fmla="*/ 70 h 1956"/>
                <a:gd name="T88" fmla="*/ 71 w 1512"/>
                <a:gd name="T89" fmla="*/ 70 h 1956"/>
                <a:gd name="T90" fmla="*/ 59 w 1512"/>
                <a:gd name="T91" fmla="*/ 58 h 1956"/>
                <a:gd name="T92" fmla="*/ 54 w 1512"/>
                <a:gd name="T93" fmla="*/ 45 h 1956"/>
                <a:gd name="T94" fmla="*/ 49 w 1512"/>
                <a:gd name="T95" fmla="*/ 42 h 1956"/>
                <a:gd name="T96" fmla="*/ 51 w 1512"/>
                <a:gd name="T97" fmla="*/ 39 h 1956"/>
                <a:gd name="T98" fmla="*/ 55 w 1512"/>
                <a:gd name="T99" fmla="*/ 36 h 1956"/>
                <a:gd name="T100" fmla="*/ 63 w 1512"/>
                <a:gd name="T101" fmla="*/ 34 h 1956"/>
                <a:gd name="T102" fmla="*/ 68 w 1512"/>
                <a:gd name="T103" fmla="*/ 32 h 1956"/>
                <a:gd name="T104" fmla="*/ 73 w 1512"/>
                <a:gd name="T105" fmla="*/ 29 h 1956"/>
                <a:gd name="T106" fmla="*/ 78 w 1512"/>
                <a:gd name="T107" fmla="*/ 27 h 1956"/>
                <a:gd name="T108" fmla="*/ 81 w 1512"/>
                <a:gd name="T109" fmla="*/ 17 h 1956"/>
                <a:gd name="T110" fmla="*/ 84 w 1512"/>
                <a:gd name="T111" fmla="*/ 6 h 1956"/>
                <a:gd name="T112" fmla="*/ 95 w 1512"/>
                <a:gd name="T113" fmla="*/ 6 h 1956"/>
                <a:gd name="T114" fmla="*/ 99 w 1512"/>
                <a:gd name="T115" fmla="*/ 3 h 1956"/>
                <a:gd name="T116" fmla="*/ 103 w 1512"/>
                <a:gd name="T117" fmla="*/ 0 h 1956"/>
                <a:gd name="T118" fmla="*/ 110 w 1512"/>
                <a:gd name="T119" fmla="*/ 4 h 1956"/>
                <a:gd name="T120" fmla="*/ 114 w 1512"/>
                <a:gd name="T121" fmla="*/ 33 h 1956"/>
                <a:gd name="T122" fmla="*/ 117 w 1512"/>
                <a:gd name="T123" fmla="*/ 41 h 1956"/>
                <a:gd name="T124" fmla="*/ 119 w 1512"/>
                <a:gd name="T125" fmla="*/ 62 h 195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12"/>
                <a:gd name="T190" fmla="*/ 0 h 1956"/>
                <a:gd name="T191" fmla="*/ 1512 w 1512"/>
                <a:gd name="T192" fmla="*/ 1956 h 195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12" h="1956">
                  <a:moveTo>
                    <a:pt x="1512" y="780"/>
                  </a:moveTo>
                  <a:lnTo>
                    <a:pt x="1482" y="786"/>
                  </a:lnTo>
                  <a:lnTo>
                    <a:pt x="1476" y="792"/>
                  </a:lnTo>
                  <a:lnTo>
                    <a:pt x="1476" y="798"/>
                  </a:lnTo>
                  <a:lnTo>
                    <a:pt x="1476" y="804"/>
                  </a:lnTo>
                  <a:lnTo>
                    <a:pt x="1476" y="816"/>
                  </a:lnTo>
                  <a:lnTo>
                    <a:pt x="1470" y="834"/>
                  </a:lnTo>
                  <a:lnTo>
                    <a:pt x="1464" y="840"/>
                  </a:lnTo>
                  <a:lnTo>
                    <a:pt x="1452" y="852"/>
                  </a:lnTo>
                  <a:lnTo>
                    <a:pt x="1440" y="864"/>
                  </a:lnTo>
                  <a:lnTo>
                    <a:pt x="1434" y="864"/>
                  </a:lnTo>
                  <a:lnTo>
                    <a:pt x="1434" y="870"/>
                  </a:lnTo>
                  <a:lnTo>
                    <a:pt x="1422" y="876"/>
                  </a:lnTo>
                  <a:lnTo>
                    <a:pt x="1410" y="894"/>
                  </a:lnTo>
                  <a:lnTo>
                    <a:pt x="1404" y="894"/>
                  </a:lnTo>
                  <a:lnTo>
                    <a:pt x="1404" y="900"/>
                  </a:lnTo>
                  <a:lnTo>
                    <a:pt x="1404" y="906"/>
                  </a:lnTo>
                  <a:lnTo>
                    <a:pt x="1410" y="918"/>
                  </a:lnTo>
                  <a:lnTo>
                    <a:pt x="1404" y="918"/>
                  </a:lnTo>
                  <a:lnTo>
                    <a:pt x="1392" y="924"/>
                  </a:lnTo>
                  <a:lnTo>
                    <a:pt x="1386" y="924"/>
                  </a:lnTo>
                  <a:lnTo>
                    <a:pt x="1380" y="924"/>
                  </a:lnTo>
                  <a:lnTo>
                    <a:pt x="1380" y="930"/>
                  </a:lnTo>
                  <a:lnTo>
                    <a:pt x="1374" y="930"/>
                  </a:lnTo>
                  <a:lnTo>
                    <a:pt x="1374" y="924"/>
                  </a:lnTo>
                  <a:lnTo>
                    <a:pt x="1374" y="918"/>
                  </a:lnTo>
                  <a:lnTo>
                    <a:pt x="1368" y="912"/>
                  </a:lnTo>
                  <a:lnTo>
                    <a:pt x="1368" y="906"/>
                  </a:lnTo>
                  <a:lnTo>
                    <a:pt x="1368" y="900"/>
                  </a:lnTo>
                  <a:lnTo>
                    <a:pt x="1368" y="894"/>
                  </a:lnTo>
                  <a:lnTo>
                    <a:pt x="1362" y="894"/>
                  </a:lnTo>
                  <a:lnTo>
                    <a:pt x="1326" y="894"/>
                  </a:lnTo>
                  <a:lnTo>
                    <a:pt x="1302" y="906"/>
                  </a:lnTo>
                  <a:lnTo>
                    <a:pt x="1284" y="918"/>
                  </a:lnTo>
                  <a:lnTo>
                    <a:pt x="1284" y="924"/>
                  </a:lnTo>
                  <a:lnTo>
                    <a:pt x="1278" y="930"/>
                  </a:lnTo>
                  <a:lnTo>
                    <a:pt x="1266" y="930"/>
                  </a:lnTo>
                  <a:lnTo>
                    <a:pt x="1236" y="954"/>
                  </a:lnTo>
                  <a:lnTo>
                    <a:pt x="1212" y="972"/>
                  </a:lnTo>
                  <a:lnTo>
                    <a:pt x="1218" y="996"/>
                  </a:lnTo>
                  <a:lnTo>
                    <a:pt x="1224" y="1008"/>
                  </a:lnTo>
                  <a:lnTo>
                    <a:pt x="1236" y="1014"/>
                  </a:lnTo>
                  <a:lnTo>
                    <a:pt x="1242" y="1026"/>
                  </a:lnTo>
                  <a:lnTo>
                    <a:pt x="1248" y="1038"/>
                  </a:lnTo>
                  <a:lnTo>
                    <a:pt x="1260" y="1050"/>
                  </a:lnTo>
                  <a:lnTo>
                    <a:pt x="1260" y="1056"/>
                  </a:lnTo>
                  <a:lnTo>
                    <a:pt x="1260" y="1074"/>
                  </a:lnTo>
                  <a:lnTo>
                    <a:pt x="1254" y="1074"/>
                  </a:lnTo>
                  <a:lnTo>
                    <a:pt x="1236" y="1056"/>
                  </a:lnTo>
                  <a:lnTo>
                    <a:pt x="1224" y="1050"/>
                  </a:lnTo>
                  <a:lnTo>
                    <a:pt x="1212" y="1050"/>
                  </a:lnTo>
                  <a:lnTo>
                    <a:pt x="1206" y="1050"/>
                  </a:lnTo>
                  <a:lnTo>
                    <a:pt x="1200" y="1056"/>
                  </a:lnTo>
                  <a:lnTo>
                    <a:pt x="1194" y="1062"/>
                  </a:lnTo>
                  <a:lnTo>
                    <a:pt x="1188" y="1068"/>
                  </a:lnTo>
                  <a:lnTo>
                    <a:pt x="1188" y="1074"/>
                  </a:lnTo>
                  <a:lnTo>
                    <a:pt x="1176" y="1086"/>
                  </a:lnTo>
                  <a:lnTo>
                    <a:pt x="1170" y="1086"/>
                  </a:lnTo>
                  <a:lnTo>
                    <a:pt x="1170" y="1092"/>
                  </a:lnTo>
                  <a:lnTo>
                    <a:pt x="1164" y="1098"/>
                  </a:lnTo>
                  <a:lnTo>
                    <a:pt x="1158" y="1110"/>
                  </a:lnTo>
                  <a:lnTo>
                    <a:pt x="1152" y="1116"/>
                  </a:lnTo>
                  <a:lnTo>
                    <a:pt x="1152" y="1122"/>
                  </a:lnTo>
                  <a:lnTo>
                    <a:pt x="1146" y="1128"/>
                  </a:lnTo>
                  <a:lnTo>
                    <a:pt x="1152" y="1140"/>
                  </a:lnTo>
                  <a:lnTo>
                    <a:pt x="1158" y="1140"/>
                  </a:lnTo>
                  <a:lnTo>
                    <a:pt x="1164" y="1146"/>
                  </a:lnTo>
                  <a:lnTo>
                    <a:pt x="1164" y="1152"/>
                  </a:lnTo>
                  <a:lnTo>
                    <a:pt x="1170" y="1164"/>
                  </a:lnTo>
                  <a:lnTo>
                    <a:pt x="1164" y="1176"/>
                  </a:lnTo>
                  <a:lnTo>
                    <a:pt x="1170" y="1182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82" y="1218"/>
                  </a:lnTo>
                  <a:lnTo>
                    <a:pt x="1188" y="1218"/>
                  </a:lnTo>
                  <a:lnTo>
                    <a:pt x="1194" y="1218"/>
                  </a:lnTo>
                  <a:lnTo>
                    <a:pt x="1194" y="1224"/>
                  </a:lnTo>
                  <a:lnTo>
                    <a:pt x="1200" y="1230"/>
                  </a:lnTo>
                  <a:lnTo>
                    <a:pt x="1200" y="1248"/>
                  </a:lnTo>
                  <a:lnTo>
                    <a:pt x="1212" y="1266"/>
                  </a:lnTo>
                  <a:lnTo>
                    <a:pt x="1218" y="1278"/>
                  </a:lnTo>
                  <a:lnTo>
                    <a:pt x="1224" y="1284"/>
                  </a:lnTo>
                  <a:lnTo>
                    <a:pt x="1236" y="1296"/>
                  </a:lnTo>
                  <a:lnTo>
                    <a:pt x="1242" y="1302"/>
                  </a:lnTo>
                  <a:lnTo>
                    <a:pt x="1242" y="1308"/>
                  </a:lnTo>
                  <a:lnTo>
                    <a:pt x="1272" y="1308"/>
                  </a:lnTo>
                  <a:lnTo>
                    <a:pt x="1296" y="1314"/>
                  </a:lnTo>
                  <a:lnTo>
                    <a:pt x="1320" y="1320"/>
                  </a:lnTo>
                  <a:lnTo>
                    <a:pt x="1338" y="1320"/>
                  </a:lnTo>
                  <a:lnTo>
                    <a:pt x="1356" y="1332"/>
                  </a:lnTo>
                  <a:lnTo>
                    <a:pt x="1368" y="1344"/>
                  </a:lnTo>
                  <a:lnTo>
                    <a:pt x="1374" y="1362"/>
                  </a:lnTo>
                  <a:lnTo>
                    <a:pt x="1368" y="1362"/>
                  </a:lnTo>
                  <a:lnTo>
                    <a:pt x="1368" y="1398"/>
                  </a:lnTo>
                  <a:lnTo>
                    <a:pt x="1368" y="1410"/>
                  </a:lnTo>
                  <a:lnTo>
                    <a:pt x="1368" y="1428"/>
                  </a:lnTo>
                  <a:lnTo>
                    <a:pt x="1368" y="1434"/>
                  </a:lnTo>
                  <a:lnTo>
                    <a:pt x="1368" y="1440"/>
                  </a:lnTo>
                  <a:lnTo>
                    <a:pt x="1374" y="1446"/>
                  </a:lnTo>
                  <a:lnTo>
                    <a:pt x="1374" y="1452"/>
                  </a:lnTo>
                  <a:lnTo>
                    <a:pt x="1380" y="1458"/>
                  </a:lnTo>
                  <a:lnTo>
                    <a:pt x="1386" y="1464"/>
                  </a:lnTo>
                  <a:lnTo>
                    <a:pt x="1386" y="1470"/>
                  </a:lnTo>
                  <a:lnTo>
                    <a:pt x="1380" y="1476"/>
                  </a:lnTo>
                  <a:lnTo>
                    <a:pt x="1374" y="1482"/>
                  </a:lnTo>
                  <a:lnTo>
                    <a:pt x="1362" y="1500"/>
                  </a:lnTo>
                  <a:lnTo>
                    <a:pt x="1362" y="1506"/>
                  </a:lnTo>
                  <a:lnTo>
                    <a:pt x="1362" y="1512"/>
                  </a:lnTo>
                  <a:lnTo>
                    <a:pt x="1362" y="1518"/>
                  </a:lnTo>
                  <a:lnTo>
                    <a:pt x="1362" y="1524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38" y="1548"/>
                  </a:lnTo>
                  <a:lnTo>
                    <a:pt x="1296" y="1548"/>
                  </a:lnTo>
                  <a:lnTo>
                    <a:pt x="1290" y="1554"/>
                  </a:lnTo>
                  <a:lnTo>
                    <a:pt x="1284" y="1560"/>
                  </a:lnTo>
                  <a:lnTo>
                    <a:pt x="1284" y="1566"/>
                  </a:lnTo>
                  <a:lnTo>
                    <a:pt x="1290" y="1578"/>
                  </a:lnTo>
                  <a:lnTo>
                    <a:pt x="1296" y="1590"/>
                  </a:lnTo>
                  <a:lnTo>
                    <a:pt x="1302" y="1590"/>
                  </a:lnTo>
                  <a:lnTo>
                    <a:pt x="1308" y="1596"/>
                  </a:lnTo>
                  <a:lnTo>
                    <a:pt x="1320" y="1602"/>
                  </a:lnTo>
                  <a:lnTo>
                    <a:pt x="1326" y="1602"/>
                  </a:lnTo>
                  <a:lnTo>
                    <a:pt x="1326" y="1608"/>
                  </a:lnTo>
                  <a:lnTo>
                    <a:pt x="1332" y="1614"/>
                  </a:lnTo>
                  <a:lnTo>
                    <a:pt x="1344" y="1620"/>
                  </a:lnTo>
                  <a:lnTo>
                    <a:pt x="1356" y="1626"/>
                  </a:lnTo>
                  <a:lnTo>
                    <a:pt x="1356" y="1632"/>
                  </a:lnTo>
                  <a:lnTo>
                    <a:pt x="1356" y="1638"/>
                  </a:lnTo>
                  <a:lnTo>
                    <a:pt x="1362" y="1644"/>
                  </a:lnTo>
                  <a:lnTo>
                    <a:pt x="1368" y="1644"/>
                  </a:lnTo>
                  <a:lnTo>
                    <a:pt x="1380" y="1650"/>
                  </a:lnTo>
                  <a:lnTo>
                    <a:pt x="1386" y="1650"/>
                  </a:lnTo>
                  <a:lnTo>
                    <a:pt x="1386" y="1656"/>
                  </a:lnTo>
                  <a:lnTo>
                    <a:pt x="1392" y="1656"/>
                  </a:lnTo>
                  <a:lnTo>
                    <a:pt x="1398" y="1662"/>
                  </a:lnTo>
                  <a:lnTo>
                    <a:pt x="1410" y="1674"/>
                  </a:lnTo>
                  <a:lnTo>
                    <a:pt x="1428" y="1680"/>
                  </a:lnTo>
                  <a:lnTo>
                    <a:pt x="1428" y="1686"/>
                  </a:lnTo>
                  <a:lnTo>
                    <a:pt x="1428" y="1698"/>
                  </a:lnTo>
                  <a:lnTo>
                    <a:pt x="1434" y="1704"/>
                  </a:lnTo>
                  <a:lnTo>
                    <a:pt x="1434" y="1710"/>
                  </a:lnTo>
                  <a:lnTo>
                    <a:pt x="1440" y="1710"/>
                  </a:lnTo>
                  <a:lnTo>
                    <a:pt x="1446" y="1710"/>
                  </a:lnTo>
                  <a:lnTo>
                    <a:pt x="1446" y="1716"/>
                  </a:lnTo>
                  <a:lnTo>
                    <a:pt x="1440" y="1722"/>
                  </a:lnTo>
                  <a:lnTo>
                    <a:pt x="1440" y="1728"/>
                  </a:lnTo>
                  <a:lnTo>
                    <a:pt x="1440" y="1734"/>
                  </a:lnTo>
                  <a:lnTo>
                    <a:pt x="1440" y="1740"/>
                  </a:lnTo>
                  <a:lnTo>
                    <a:pt x="1440" y="1746"/>
                  </a:lnTo>
                  <a:lnTo>
                    <a:pt x="1440" y="1788"/>
                  </a:lnTo>
                  <a:lnTo>
                    <a:pt x="1440" y="1800"/>
                  </a:lnTo>
                  <a:lnTo>
                    <a:pt x="1440" y="1806"/>
                  </a:lnTo>
                  <a:lnTo>
                    <a:pt x="1440" y="1836"/>
                  </a:lnTo>
                  <a:lnTo>
                    <a:pt x="1440" y="1848"/>
                  </a:lnTo>
                  <a:lnTo>
                    <a:pt x="1446" y="1848"/>
                  </a:lnTo>
                  <a:lnTo>
                    <a:pt x="1446" y="1854"/>
                  </a:lnTo>
                  <a:lnTo>
                    <a:pt x="1452" y="1848"/>
                  </a:lnTo>
                  <a:lnTo>
                    <a:pt x="1458" y="1854"/>
                  </a:lnTo>
                  <a:lnTo>
                    <a:pt x="1452" y="1860"/>
                  </a:lnTo>
                  <a:lnTo>
                    <a:pt x="1452" y="1866"/>
                  </a:lnTo>
                  <a:lnTo>
                    <a:pt x="1458" y="1872"/>
                  </a:lnTo>
                  <a:lnTo>
                    <a:pt x="1464" y="1884"/>
                  </a:lnTo>
                  <a:lnTo>
                    <a:pt x="1428" y="1878"/>
                  </a:lnTo>
                  <a:lnTo>
                    <a:pt x="1356" y="1890"/>
                  </a:lnTo>
                  <a:lnTo>
                    <a:pt x="1296" y="1926"/>
                  </a:lnTo>
                  <a:lnTo>
                    <a:pt x="1266" y="1944"/>
                  </a:lnTo>
                  <a:lnTo>
                    <a:pt x="1224" y="1944"/>
                  </a:lnTo>
                  <a:lnTo>
                    <a:pt x="1188" y="1956"/>
                  </a:lnTo>
                  <a:lnTo>
                    <a:pt x="1188" y="1950"/>
                  </a:lnTo>
                  <a:lnTo>
                    <a:pt x="1176" y="1944"/>
                  </a:lnTo>
                  <a:lnTo>
                    <a:pt x="1176" y="1938"/>
                  </a:lnTo>
                  <a:lnTo>
                    <a:pt x="1170" y="1938"/>
                  </a:lnTo>
                  <a:lnTo>
                    <a:pt x="1164" y="1932"/>
                  </a:lnTo>
                  <a:lnTo>
                    <a:pt x="1158" y="1926"/>
                  </a:lnTo>
                  <a:lnTo>
                    <a:pt x="1158" y="1920"/>
                  </a:lnTo>
                  <a:lnTo>
                    <a:pt x="1152" y="1920"/>
                  </a:lnTo>
                  <a:lnTo>
                    <a:pt x="1146" y="1914"/>
                  </a:lnTo>
                  <a:lnTo>
                    <a:pt x="1146" y="1908"/>
                  </a:lnTo>
                  <a:lnTo>
                    <a:pt x="1140" y="1908"/>
                  </a:lnTo>
                  <a:lnTo>
                    <a:pt x="1134" y="1902"/>
                  </a:lnTo>
                  <a:lnTo>
                    <a:pt x="1134" y="1896"/>
                  </a:lnTo>
                  <a:lnTo>
                    <a:pt x="1116" y="1896"/>
                  </a:lnTo>
                  <a:lnTo>
                    <a:pt x="1104" y="1884"/>
                  </a:lnTo>
                  <a:lnTo>
                    <a:pt x="1092" y="1860"/>
                  </a:lnTo>
                  <a:lnTo>
                    <a:pt x="1068" y="1854"/>
                  </a:lnTo>
                  <a:lnTo>
                    <a:pt x="1032" y="1842"/>
                  </a:lnTo>
                  <a:lnTo>
                    <a:pt x="1008" y="1836"/>
                  </a:lnTo>
                  <a:lnTo>
                    <a:pt x="978" y="1824"/>
                  </a:lnTo>
                  <a:lnTo>
                    <a:pt x="942" y="1818"/>
                  </a:lnTo>
                  <a:lnTo>
                    <a:pt x="924" y="1806"/>
                  </a:lnTo>
                  <a:lnTo>
                    <a:pt x="906" y="1788"/>
                  </a:lnTo>
                  <a:lnTo>
                    <a:pt x="894" y="1776"/>
                  </a:lnTo>
                  <a:lnTo>
                    <a:pt x="864" y="1758"/>
                  </a:lnTo>
                  <a:lnTo>
                    <a:pt x="834" y="1752"/>
                  </a:lnTo>
                  <a:lnTo>
                    <a:pt x="798" y="1746"/>
                  </a:lnTo>
                  <a:lnTo>
                    <a:pt x="792" y="1806"/>
                  </a:lnTo>
                  <a:lnTo>
                    <a:pt x="798" y="1812"/>
                  </a:lnTo>
                  <a:lnTo>
                    <a:pt x="810" y="1830"/>
                  </a:lnTo>
                  <a:lnTo>
                    <a:pt x="792" y="1842"/>
                  </a:lnTo>
                  <a:lnTo>
                    <a:pt x="768" y="1842"/>
                  </a:lnTo>
                  <a:lnTo>
                    <a:pt x="708" y="1848"/>
                  </a:lnTo>
                  <a:lnTo>
                    <a:pt x="690" y="1860"/>
                  </a:lnTo>
                  <a:lnTo>
                    <a:pt x="690" y="1866"/>
                  </a:lnTo>
                  <a:lnTo>
                    <a:pt x="678" y="1878"/>
                  </a:lnTo>
                  <a:lnTo>
                    <a:pt x="660" y="1884"/>
                  </a:lnTo>
                  <a:lnTo>
                    <a:pt x="660" y="1902"/>
                  </a:lnTo>
                  <a:lnTo>
                    <a:pt x="642" y="1902"/>
                  </a:lnTo>
                  <a:lnTo>
                    <a:pt x="582" y="1914"/>
                  </a:lnTo>
                  <a:lnTo>
                    <a:pt x="534" y="1908"/>
                  </a:lnTo>
                  <a:lnTo>
                    <a:pt x="510" y="1908"/>
                  </a:lnTo>
                  <a:lnTo>
                    <a:pt x="510" y="1896"/>
                  </a:lnTo>
                  <a:lnTo>
                    <a:pt x="492" y="1896"/>
                  </a:lnTo>
                  <a:lnTo>
                    <a:pt x="486" y="1902"/>
                  </a:lnTo>
                  <a:lnTo>
                    <a:pt x="474" y="1908"/>
                  </a:lnTo>
                  <a:lnTo>
                    <a:pt x="450" y="1908"/>
                  </a:lnTo>
                  <a:lnTo>
                    <a:pt x="432" y="1902"/>
                  </a:lnTo>
                  <a:lnTo>
                    <a:pt x="426" y="1896"/>
                  </a:lnTo>
                  <a:lnTo>
                    <a:pt x="402" y="1884"/>
                  </a:lnTo>
                  <a:lnTo>
                    <a:pt x="390" y="1872"/>
                  </a:lnTo>
                  <a:lnTo>
                    <a:pt x="384" y="1872"/>
                  </a:lnTo>
                  <a:lnTo>
                    <a:pt x="378" y="1872"/>
                  </a:lnTo>
                  <a:lnTo>
                    <a:pt x="378" y="1866"/>
                  </a:lnTo>
                  <a:lnTo>
                    <a:pt x="372" y="1860"/>
                  </a:lnTo>
                  <a:lnTo>
                    <a:pt x="372" y="1854"/>
                  </a:lnTo>
                  <a:lnTo>
                    <a:pt x="366" y="1842"/>
                  </a:lnTo>
                  <a:lnTo>
                    <a:pt x="366" y="1836"/>
                  </a:lnTo>
                  <a:lnTo>
                    <a:pt x="348" y="1830"/>
                  </a:lnTo>
                  <a:lnTo>
                    <a:pt x="348" y="1806"/>
                  </a:lnTo>
                  <a:lnTo>
                    <a:pt x="348" y="1800"/>
                  </a:lnTo>
                  <a:lnTo>
                    <a:pt x="348" y="1782"/>
                  </a:lnTo>
                  <a:lnTo>
                    <a:pt x="336" y="1788"/>
                  </a:lnTo>
                  <a:lnTo>
                    <a:pt x="312" y="1794"/>
                  </a:lnTo>
                  <a:lnTo>
                    <a:pt x="288" y="1788"/>
                  </a:lnTo>
                  <a:lnTo>
                    <a:pt x="264" y="1758"/>
                  </a:lnTo>
                  <a:lnTo>
                    <a:pt x="270" y="1758"/>
                  </a:lnTo>
                  <a:lnTo>
                    <a:pt x="270" y="1752"/>
                  </a:lnTo>
                  <a:lnTo>
                    <a:pt x="276" y="1752"/>
                  </a:lnTo>
                  <a:lnTo>
                    <a:pt x="282" y="1746"/>
                  </a:lnTo>
                  <a:lnTo>
                    <a:pt x="300" y="1746"/>
                  </a:lnTo>
                  <a:lnTo>
                    <a:pt x="312" y="1746"/>
                  </a:lnTo>
                  <a:lnTo>
                    <a:pt x="336" y="1710"/>
                  </a:lnTo>
                  <a:lnTo>
                    <a:pt x="342" y="1692"/>
                  </a:lnTo>
                  <a:lnTo>
                    <a:pt x="348" y="1680"/>
                  </a:lnTo>
                  <a:lnTo>
                    <a:pt x="342" y="1650"/>
                  </a:lnTo>
                  <a:lnTo>
                    <a:pt x="354" y="1644"/>
                  </a:lnTo>
                  <a:lnTo>
                    <a:pt x="354" y="1638"/>
                  </a:lnTo>
                  <a:lnTo>
                    <a:pt x="360" y="1632"/>
                  </a:lnTo>
                  <a:lnTo>
                    <a:pt x="354" y="1626"/>
                  </a:lnTo>
                  <a:lnTo>
                    <a:pt x="348" y="1626"/>
                  </a:lnTo>
                  <a:lnTo>
                    <a:pt x="348" y="1620"/>
                  </a:lnTo>
                  <a:lnTo>
                    <a:pt x="342" y="1620"/>
                  </a:lnTo>
                  <a:lnTo>
                    <a:pt x="348" y="1614"/>
                  </a:lnTo>
                  <a:lnTo>
                    <a:pt x="324" y="1566"/>
                  </a:lnTo>
                  <a:lnTo>
                    <a:pt x="318" y="1566"/>
                  </a:lnTo>
                  <a:lnTo>
                    <a:pt x="306" y="1572"/>
                  </a:lnTo>
                  <a:lnTo>
                    <a:pt x="300" y="1572"/>
                  </a:lnTo>
                  <a:lnTo>
                    <a:pt x="294" y="1578"/>
                  </a:lnTo>
                  <a:lnTo>
                    <a:pt x="288" y="1584"/>
                  </a:lnTo>
                  <a:lnTo>
                    <a:pt x="282" y="1584"/>
                  </a:lnTo>
                  <a:lnTo>
                    <a:pt x="282" y="1578"/>
                  </a:lnTo>
                  <a:lnTo>
                    <a:pt x="276" y="1578"/>
                  </a:lnTo>
                  <a:lnTo>
                    <a:pt x="270" y="1578"/>
                  </a:lnTo>
                  <a:lnTo>
                    <a:pt x="264" y="1578"/>
                  </a:lnTo>
                  <a:lnTo>
                    <a:pt x="258" y="1578"/>
                  </a:lnTo>
                  <a:lnTo>
                    <a:pt x="252" y="1578"/>
                  </a:lnTo>
                  <a:lnTo>
                    <a:pt x="252" y="1584"/>
                  </a:lnTo>
                  <a:lnTo>
                    <a:pt x="246" y="1584"/>
                  </a:lnTo>
                  <a:lnTo>
                    <a:pt x="210" y="1584"/>
                  </a:lnTo>
                  <a:lnTo>
                    <a:pt x="204" y="1584"/>
                  </a:lnTo>
                  <a:lnTo>
                    <a:pt x="192" y="1584"/>
                  </a:lnTo>
                  <a:lnTo>
                    <a:pt x="168" y="1596"/>
                  </a:lnTo>
                  <a:lnTo>
                    <a:pt x="156" y="1572"/>
                  </a:lnTo>
                  <a:lnTo>
                    <a:pt x="156" y="1566"/>
                  </a:lnTo>
                  <a:lnTo>
                    <a:pt x="156" y="1560"/>
                  </a:lnTo>
                  <a:lnTo>
                    <a:pt x="162" y="1548"/>
                  </a:lnTo>
                  <a:lnTo>
                    <a:pt x="162" y="1542"/>
                  </a:lnTo>
                  <a:lnTo>
                    <a:pt x="162" y="1536"/>
                  </a:lnTo>
                  <a:lnTo>
                    <a:pt x="168" y="1530"/>
                  </a:lnTo>
                  <a:lnTo>
                    <a:pt x="168" y="1524"/>
                  </a:lnTo>
                  <a:lnTo>
                    <a:pt x="168" y="1518"/>
                  </a:lnTo>
                  <a:lnTo>
                    <a:pt x="174" y="1518"/>
                  </a:lnTo>
                  <a:lnTo>
                    <a:pt x="174" y="1506"/>
                  </a:lnTo>
                  <a:lnTo>
                    <a:pt x="156" y="1470"/>
                  </a:lnTo>
                  <a:lnTo>
                    <a:pt x="138" y="1464"/>
                  </a:lnTo>
                  <a:lnTo>
                    <a:pt x="126" y="1446"/>
                  </a:lnTo>
                  <a:lnTo>
                    <a:pt x="126" y="1440"/>
                  </a:lnTo>
                  <a:lnTo>
                    <a:pt x="126" y="1434"/>
                  </a:lnTo>
                  <a:lnTo>
                    <a:pt x="120" y="1428"/>
                  </a:lnTo>
                  <a:lnTo>
                    <a:pt x="126" y="1398"/>
                  </a:lnTo>
                  <a:lnTo>
                    <a:pt x="120" y="1374"/>
                  </a:lnTo>
                  <a:lnTo>
                    <a:pt x="60" y="1374"/>
                  </a:lnTo>
                  <a:lnTo>
                    <a:pt x="60" y="1368"/>
                  </a:lnTo>
                  <a:lnTo>
                    <a:pt x="54" y="1362"/>
                  </a:lnTo>
                  <a:lnTo>
                    <a:pt x="48" y="1356"/>
                  </a:lnTo>
                  <a:lnTo>
                    <a:pt x="42" y="1356"/>
                  </a:lnTo>
                  <a:lnTo>
                    <a:pt x="42" y="1350"/>
                  </a:lnTo>
                  <a:lnTo>
                    <a:pt x="36" y="1344"/>
                  </a:lnTo>
                  <a:lnTo>
                    <a:pt x="36" y="1338"/>
                  </a:lnTo>
                  <a:lnTo>
                    <a:pt x="30" y="1332"/>
                  </a:lnTo>
                  <a:lnTo>
                    <a:pt x="30" y="1326"/>
                  </a:lnTo>
                  <a:lnTo>
                    <a:pt x="18" y="1326"/>
                  </a:lnTo>
                  <a:lnTo>
                    <a:pt x="18" y="1320"/>
                  </a:lnTo>
                  <a:lnTo>
                    <a:pt x="18" y="1326"/>
                  </a:lnTo>
                  <a:lnTo>
                    <a:pt x="6" y="1320"/>
                  </a:lnTo>
                  <a:lnTo>
                    <a:pt x="0" y="1314"/>
                  </a:lnTo>
                  <a:lnTo>
                    <a:pt x="12" y="1266"/>
                  </a:lnTo>
                  <a:lnTo>
                    <a:pt x="6" y="1242"/>
                  </a:lnTo>
                  <a:lnTo>
                    <a:pt x="12" y="1236"/>
                  </a:lnTo>
                  <a:lnTo>
                    <a:pt x="12" y="1230"/>
                  </a:lnTo>
                  <a:lnTo>
                    <a:pt x="18" y="1230"/>
                  </a:lnTo>
                  <a:lnTo>
                    <a:pt x="18" y="1224"/>
                  </a:lnTo>
                  <a:lnTo>
                    <a:pt x="24" y="1218"/>
                  </a:lnTo>
                  <a:lnTo>
                    <a:pt x="24" y="1212"/>
                  </a:lnTo>
                  <a:lnTo>
                    <a:pt x="30" y="1212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48" y="1188"/>
                  </a:lnTo>
                  <a:lnTo>
                    <a:pt x="48" y="1182"/>
                  </a:lnTo>
                  <a:lnTo>
                    <a:pt x="48" y="1176"/>
                  </a:lnTo>
                  <a:lnTo>
                    <a:pt x="48" y="1170"/>
                  </a:lnTo>
                  <a:lnTo>
                    <a:pt x="54" y="1170"/>
                  </a:lnTo>
                  <a:lnTo>
                    <a:pt x="60" y="1164"/>
                  </a:lnTo>
                  <a:lnTo>
                    <a:pt x="60" y="1158"/>
                  </a:lnTo>
                  <a:lnTo>
                    <a:pt x="66" y="1152"/>
                  </a:lnTo>
                  <a:lnTo>
                    <a:pt x="60" y="1140"/>
                  </a:lnTo>
                  <a:lnTo>
                    <a:pt x="60" y="1134"/>
                  </a:lnTo>
                  <a:lnTo>
                    <a:pt x="54" y="1134"/>
                  </a:lnTo>
                  <a:lnTo>
                    <a:pt x="54" y="1128"/>
                  </a:lnTo>
                  <a:lnTo>
                    <a:pt x="48" y="1122"/>
                  </a:lnTo>
                  <a:lnTo>
                    <a:pt x="48" y="1116"/>
                  </a:lnTo>
                  <a:lnTo>
                    <a:pt x="48" y="1110"/>
                  </a:lnTo>
                  <a:lnTo>
                    <a:pt x="42" y="1104"/>
                  </a:lnTo>
                  <a:lnTo>
                    <a:pt x="42" y="1098"/>
                  </a:lnTo>
                  <a:lnTo>
                    <a:pt x="36" y="1092"/>
                  </a:lnTo>
                  <a:lnTo>
                    <a:pt x="30" y="1092"/>
                  </a:lnTo>
                  <a:lnTo>
                    <a:pt x="24" y="1092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18" y="1080"/>
                  </a:lnTo>
                  <a:lnTo>
                    <a:pt x="18" y="1074"/>
                  </a:lnTo>
                  <a:lnTo>
                    <a:pt x="12" y="1068"/>
                  </a:lnTo>
                  <a:lnTo>
                    <a:pt x="6" y="1068"/>
                  </a:lnTo>
                  <a:lnTo>
                    <a:pt x="12" y="1056"/>
                  </a:lnTo>
                  <a:lnTo>
                    <a:pt x="6" y="1056"/>
                  </a:lnTo>
                  <a:lnTo>
                    <a:pt x="6" y="1050"/>
                  </a:lnTo>
                  <a:lnTo>
                    <a:pt x="6" y="1044"/>
                  </a:lnTo>
                  <a:lnTo>
                    <a:pt x="6" y="1026"/>
                  </a:lnTo>
                  <a:lnTo>
                    <a:pt x="12" y="1020"/>
                  </a:lnTo>
                  <a:lnTo>
                    <a:pt x="12" y="1014"/>
                  </a:lnTo>
                  <a:lnTo>
                    <a:pt x="18" y="1014"/>
                  </a:lnTo>
                  <a:lnTo>
                    <a:pt x="18" y="1008"/>
                  </a:lnTo>
                  <a:lnTo>
                    <a:pt x="18" y="1002"/>
                  </a:lnTo>
                  <a:lnTo>
                    <a:pt x="18" y="990"/>
                  </a:lnTo>
                  <a:lnTo>
                    <a:pt x="12" y="972"/>
                  </a:lnTo>
                  <a:lnTo>
                    <a:pt x="18" y="954"/>
                  </a:lnTo>
                  <a:lnTo>
                    <a:pt x="18" y="948"/>
                  </a:lnTo>
                  <a:lnTo>
                    <a:pt x="24" y="948"/>
                  </a:lnTo>
                  <a:lnTo>
                    <a:pt x="24" y="930"/>
                  </a:lnTo>
                  <a:lnTo>
                    <a:pt x="30" y="930"/>
                  </a:lnTo>
                  <a:lnTo>
                    <a:pt x="36" y="918"/>
                  </a:lnTo>
                  <a:lnTo>
                    <a:pt x="42" y="918"/>
                  </a:lnTo>
                  <a:lnTo>
                    <a:pt x="48" y="918"/>
                  </a:lnTo>
                  <a:lnTo>
                    <a:pt x="78" y="912"/>
                  </a:lnTo>
                  <a:lnTo>
                    <a:pt x="90" y="894"/>
                  </a:lnTo>
                  <a:lnTo>
                    <a:pt x="96" y="894"/>
                  </a:lnTo>
                  <a:lnTo>
                    <a:pt x="102" y="888"/>
                  </a:lnTo>
                  <a:lnTo>
                    <a:pt x="102" y="882"/>
                  </a:lnTo>
                  <a:lnTo>
                    <a:pt x="114" y="870"/>
                  </a:lnTo>
                  <a:lnTo>
                    <a:pt x="120" y="864"/>
                  </a:lnTo>
                  <a:lnTo>
                    <a:pt x="120" y="852"/>
                  </a:lnTo>
                  <a:lnTo>
                    <a:pt x="120" y="846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32" y="840"/>
                  </a:lnTo>
                  <a:lnTo>
                    <a:pt x="138" y="840"/>
                  </a:lnTo>
                  <a:lnTo>
                    <a:pt x="138" y="834"/>
                  </a:lnTo>
                  <a:lnTo>
                    <a:pt x="144" y="834"/>
                  </a:lnTo>
                  <a:lnTo>
                    <a:pt x="144" y="828"/>
                  </a:lnTo>
                  <a:lnTo>
                    <a:pt x="150" y="828"/>
                  </a:lnTo>
                  <a:lnTo>
                    <a:pt x="156" y="822"/>
                  </a:lnTo>
                  <a:lnTo>
                    <a:pt x="162" y="816"/>
                  </a:lnTo>
                  <a:lnTo>
                    <a:pt x="162" y="822"/>
                  </a:lnTo>
                  <a:lnTo>
                    <a:pt x="162" y="816"/>
                  </a:lnTo>
                  <a:lnTo>
                    <a:pt x="162" y="810"/>
                  </a:lnTo>
                  <a:lnTo>
                    <a:pt x="168" y="810"/>
                  </a:lnTo>
                  <a:lnTo>
                    <a:pt x="174" y="804"/>
                  </a:lnTo>
                  <a:lnTo>
                    <a:pt x="180" y="798"/>
                  </a:lnTo>
                  <a:lnTo>
                    <a:pt x="180" y="786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8" y="780"/>
                  </a:lnTo>
                  <a:lnTo>
                    <a:pt x="204" y="774"/>
                  </a:lnTo>
                  <a:lnTo>
                    <a:pt x="210" y="774"/>
                  </a:lnTo>
                  <a:lnTo>
                    <a:pt x="216" y="768"/>
                  </a:lnTo>
                  <a:lnTo>
                    <a:pt x="222" y="762"/>
                  </a:lnTo>
                  <a:lnTo>
                    <a:pt x="228" y="762"/>
                  </a:lnTo>
                  <a:lnTo>
                    <a:pt x="228" y="768"/>
                  </a:lnTo>
                  <a:lnTo>
                    <a:pt x="234" y="768"/>
                  </a:lnTo>
                  <a:lnTo>
                    <a:pt x="240" y="762"/>
                  </a:lnTo>
                  <a:lnTo>
                    <a:pt x="252" y="762"/>
                  </a:lnTo>
                  <a:lnTo>
                    <a:pt x="264" y="768"/>
                  </a:lnTo>
                  <a:lnTo>
                    <a:pt x="294" y="756"/>
                  </a:lnTo>
                  <a:lnTo>
                    <a:pt x="294" y="750"/>
                  </a:lnTo>
                  <a:lnTo>
                    <a:pt x="300" y="750"/>
                  </a:lnTo>
                  <a:lnTo>
                    <a:pt x="306" y="744"/>
                  </a:lnTo>
                  <a:lnTo>
                    <a:pt x="342" y="750"/>
                  </a:lnTo>
                  <a:lnTo>
                    <a:pt x="348" y="750"/>
                  </a:lnTo>
                  <a:lnTo>
                    <a:pt x="348" y="744"/>
                  </a:lnTo>
                  <a:lnTo>
                    <a:pt x="354" y="744"/>
                  </a:lnTo>
                  <a:lnTo>
                    <a:pt x="360" y="744"/>
                  </a:lnTo>
                  <a:lnTo>
                    <a:pt x="360" y="750"/>
                  </a:lnTo>
                  <a:lnTo>
                    <a:pt x="366" y="750"/>
                  </a:lnTo>
                  <a:lnTo>
                    <a:pt x="366" y="744"/>
                  </a:lnTo>
                  <a:lnTo>
                    <a:pt x="366" y="738"/>
                  </a:lnTo>
                  <a:lnTo>
                    <a:pt x="372" y="744"/>
                  </a:lnTo>
                  <a:lnTo>
                    <a:pt x="378" y="744"/>
                  </a:lnTo>
                  <a:lnTo>
                    <a:pt x="384" y="750"/>
                  </a:lnTo>
                  <a:lnTo>
                    <a:pt x="444" y="774"/>
                  </a:lnTo>
                  <a:lnTo>
                    <a:pt x="450" y="774"/>
                  </a:lnTo>
                  <a:lnTo>
                    <a:pt x="456" y="768"/>
                  </a:lnTo>
                  <a:lnTo>
                    <a:pt x="462" y="768"/>
                  </a:lnTo>
                  <a:lnTo>
                    <a:pt x="462" y="762"/>
                  </a:lnTo>
                  <a:lnTo>
                    <a:pt x="468" y="762"/>
                  </a:lnTo>
                  <a:lnTo>
                    <a:pt x="474" y="756"/>
                  </a:lnTo>
                  <a:lnTo>
                    <a:pt x="480" y="750"/>
                  </a:lnTo>
                  <a:lnTo>
                    <a:pt x="516" y="756"/>
                  </a:lnTo>
                  <a:lnTo>
                    <a:pt x="522" y="756"/>
                  </a:lnTo>
                  <a:lnTo>
                    <a:pt x="522" y="762"/>
                  </a:lnTo>
                  <a:lnTo>
                    <a:pt x="522" y="768"/>
                  </a:lnTo>
                  <a:lnTo>
                    <a:pt x="522" y="774"/>
                  </a:lnTo>
                  <a:lnTo>
                    <a:pt x="528" y="780"/>
                  </a:lnTo>
                  <a:lnTo>
                    <a:pt x="540" y="780"/>
                  </a:lnTo>
                  <a:lnTo>
                    <a:pt x="540" y="804"/>
                  </a:lnTo>
                  <a:lnTo>
                    <a:pt x="540" y="810"/>
                  </a:lnTo>
                  <a:lnTo>
                    <a:pt x="546" y="810"/>
                  </a:lnTo>
                  <a:lnTo>
                    <a:pt x="552" y="810"/>
                  </a:lnTo>
                  <a:lnTo>
                    <a:pt x="558" y="810"/>
                  </a:lnTo>
                  <a:lnTo>
                    <a:pt x="564" y="810"/>
                  </a:lnTo>
                  <a:lnTo>
                    <a:pt x="570" y="810"/>
                  </a:lnTo>
                  <a:lnTo>
                    <a:pt x="576" y="810"/>
                  </a:lnTo>
                  <a:lnTo>
                    <a:pt x="576" y="816"/>
                  </a:lnTo>
                  <a:lnTo>
                    <a:pt x="588" y="816"/>
                  </a:lnTo>
                  <a:lnTo>
                    <a:pt x="594" y="816"/>
                  </a:lnTo>
                  <a:lnTo>
                    <a:pt x="600" y="822"/>
                  </a:lnTo>
                  <a:lnTo>
                    <a:pt x="606" y="816"/>
                  </a:lnTo>
                  <a:lnTo>
                    <a:pt x="612" y="816"/>
                  </a:lnTo>
                  <a:lnTo>
                    <a:pt x="612" y="810"/>
                  </a:lnTo>
                  <a:lnTo>
                    <a:pt x="624" y="810"/>
                  </a:lnTo>
                  <a:lnTo>
                    <a:pt x="624" y="804"/>
                  </a:lnTo>
                  <a:lnTo>
                    <a:pt x="630" y="798"/>
                  </a:lnTo>
                  <a:lnTo>
                    <a:pt x="636" y="798"/>
                  </a:lnTo>
                  <a:lnTo>
                    <a:pt x="636" y="804"/>
                  </a:lnTo>
                  <a:lnTo>
                    <a:pt x="642" y="804"/>
                  </a:lnTo>
                  <a:lnTo>
                    <a:pt x="648" y="804"/>
                  </a:lnTo>
                  <a:lnTo>
                    <a:pt x="654" y="804"/>
                  </a:lnTo>
                  <a:lnTo>
                    <a:pt x="660" y="804"/>
                  </a:lnTo>
                  <a:lnTo>
                    <a:pt x="678" y="798"/>
                  </a:lnTo>
                  <a:lnTo>
                    <a:pt x="714" y="786"/>
                  </a:lnTo>
                  <a:lnTo>
                    <a:pt x="714" y="792"/>
                  </a:lnTo>
                  <a:lnTo>
                    <a:pt x="714" y="798"/>
                  </a:lnTo>
                  <a:lnTo>
                    <a:pt x="714" y="804"/>
                  </a:lnTo>
                  <a:lnTo>
                    <a:pt x="720" y="804"/>
                  </a:lnTo>
                  <a:lnTo>
                    <a:pt x="720" y="810"/>
                  </a:lnTo>
                  <a:lnTo>
                    <a:pt x="720" y="816"/>
                  </a:lnTo>
                  <a:lnTo>
                    <a:pt x="726" y="822"/>
                  </a:lnTo>
                  <a:lnTo>
                    <a:pt x="732" y="828"/>
                  </a:lnTo>
                  <a:lnTo>
                    <a:pt x="732" y="834"/>
                  </a:lnTo>
                  <a:lnTo>
                    <a:pt x="732" y="846"/>
                  </a:lnTo>
                  <a:lnTo>
                    <a:pt x="732" y="858"/>
                  </a:lnTo>
                  <a:lnTo>
                    <a:pt x="738" y="858"/>
                  </a:lnTo>
                  <a:lnTo>
                    <a:pt x="732" y="864"/>
                  </a:lnTo>
                  <a:lnTo>
                    <a:pt x="732" y="870"/>
                  </a:lnTo>
                  <a:lnTo>
                    <a:pt x="726" y="870"/>
                  </a:lnTo>
                  <a:lnTo>
                    <a:pt x="726" y="876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0" y="882"/>
                  </a:lnTo>
                  <a:lnTo>
                    <a:pt x="690" y="912"/>
                  </a:lnTo>
                  <a:lnTo>
                    <a:pt x="696" y="936"/>
                  </a:lnTo>
                  <a:lnTo>
                    <a:pt x="702" y="936"/>
                  </a:lnTo>
                  <a:lnTo>
                    <a:pt x="702" y="930"/>
                  </a:lnTo>
                  <a:lnTo>
                    <a:pt x="708" y="930"/>
                  </a:lnTo>
                  <a:lnTo>
                    <a:pt x="708" y="924"/>
                  </a:lnTo>
                  <a:lnTo>
                    <a:pt x="708" y="918"/>
                  </a:lnTo>
                  <a:lnTo>
                    <a:pt x="714" y="918"/>
                  </a:lnTo>
                  <a:lnTo>
                    <a:pt x="720" y="954"/>
                  </a:lnTo>
                  <a:lnTo>
                    <a:pt x="726" y="966"/>
                  </a:lnTo>
                  <a:lnTo>
                    <a:pt x="744" y="966"/>
                  </a:lnTo>
                  <a:lnTo>
                    <a:pt x="756" y="972"/>
                  </a:lnTo>
                  <a:lnTo>
                    <a:pt x="792" y="990"/>
                  </a:lnTo>
                  <a:lnTo>
                    <a:pt x="828" y="978"/>
                  </a:lnTo>
                  <a:lnTo>
                    <a:pt x="834" y="978"/>
                  </a:lnTo>
                  <a:lnTo>
                    <a:pt x="840" y="978"/>
                  </a:lnTo>
                  <a:lnTo>
                    <a:pt x="840" y="984"/>
                  </a:lnTo>
                  <a:lnTo>
                    <a:pt x="846" y="984"/>
                  </a:lnTo>
                  <a:lnTo>
                    <a:pt x="858" y="972"/>
                  </a:lnTo>
                  <a:lnTo>
                    <a:pt x="882" y="972"/>
                  </a:lnTo>
                  <a:lnTo>
                    <a:pt x="888" y="984"/>
                  </a:lnTo>
                  <a:lnTo>
                    <a:pt x="900" y="990"/>
                  </a:lnTo>
                  <a:lnTo>
                    <a:pt x="924" y="996"/>
                  </a:lnTo>
                  <a:lnTo>
                    <a:pt x="930" y="990"/>
                  </a:lnTo>
                  <a:lnTo>
                    <a:pt x="930" y="984"/>
                  </a:lnTo>
                  <a:lnTo>
                    <a:pt x="924" y="978"/>
                  </a:lnTo>
                  <a:lnTo>
                    <a:pt x="906" y="972"/>
                  </a:lnTo>
                  <a:lnTo>
                    <a:pt x="900" y="966"/>
                  </a:lnTo>
                  <a:lnTo>
                    <a:pt x="900" y="960"/>
                  </a:lnTo>
                  <a:lnTo>
                    <a:pt x="900" y="954"/>
                  </a:lnTo>
                  <a:lnTo>
                    <a:pt x="900" y="948"/>
                  </a:lnTo>
                  <a:lnTo>
                    <a:pt x="912" y="936"/>
                  </a:lnTo>
                  <a:lnTo>
                    <a:pt x="912" y="924"/>
                  </a:lnTo>
                  <a:lnTo>
                    <a:pt x="918" y="924"/>
                  </a:lnTo>
                  <a:lnTo>
                    <a:pt x="918" y="918"/>
                  </a:lnTo>
                  <a:lnTo>
                    <a:pt x="936" y="906"/>
                  </a:lnTo>
                  <a:lnTo>
                    <a:pt x="942" y="906"/>
                  </a:lnTo>
                  <a:lnTo>
                    <a:pt x="948" y="906"/>
                  </a:lnTo>
                  <a:lnTo>
                    <a:pt x="954" y="906"/>
                  </a:lnTo>
                  <a:lnTo>
                    <a:pt x="960" y="906"/>
                  </a:lnTo>
                  <a:lnTo>
                    <a:pt x="966" y="912"/>
                  </a:lnTo>
                  <a:lnTo>
                    <a:pt x="972" y="906"/>
                  </a:lnTo>
                  <a:lnTo>
                    <a:pt x="978" y="906"/>
                  </a:lnTo>
                  <a:lnTo>
                    <a:pt x="984" y="900"/>
                  </a:lnTo>
                  <a:lnTo>
                    <a:pt x="984" y="894"/>
                  </a:lnTo>
                  <a:lnTo>
                    <a:pt x="990" y="894"/>
                  </a:lnTo>
                  <a:lnTo>
                    <a:pt x="996" y="888"/>
                  </a:lnTo>
                  <a:lnTo>
                    <a:pt x="1002" y="888"/>
                  </a:lnTo>
                  <a:lnTo>
                    <a:pt x="1008" y="882"/>
                  </a:lnTo>
                  <a:lnTo>
                    <a:pt x="1014" y="882"/>
                  </a:lnTo>
                  <a:lnTo>
                    <a:pt x="1020" y="882"/>
                  </a:lnTo>
                  <a:lnTo>
                    <a:pt x="1020" y="888"/>
                  </a:lnTo>
                  <a:lnTo>
                    <a:pt x="1026" y="882"/>
                  </a:lnTo>
                  <a:lnTo>
                    <a:pt x="1026" y="876"/>
                  </a:lnTo>
                  <a:lnTo>
                    <a:pt x="1026" y="870"/>
                  </a:lnTo>
                  <a:lnTo>
                    <a:pt x="1032" y="864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44" y="852"/>
                  </a:lnTo>
                  <a:lnTo>
                    <a:pt x="1038" y="846"/>
                  </a:lnTo>
                  <a:lnTo>
                    <a:pt x="1038" y="840"/>
                  </a:lnTo>
                  <a:lnTo>
                    <a:pt x="1032" y="840"/>
                  </a:lnTo>
                  <a:lnTo>
                    <a:pt x="1026" y="840"/>
                  </a:lnTo>
                  <a:lnTo>
                    <a:pt x="1020" y="840"/>
                  </a:lnTo>
                  <a:lnTo>
                    <a:pt x="1014" y="846"/>
                  </a:lnTo>
                  <a:lnTo>
                    <a:pt x="1008" y="846"/>
                  </a:lnTo>
                  <a:lnTo>
                    <a:pt x="1002" y="840"/>
                  </a:lnTo>
                  <a:lnTo>
                    <a:pt x="996" y="840"/>
                  </a:lnTo>
                  <a:lnTo>
                    <a:pt x="990" y="834"/>
                  </a:lnTo>
                  <a:lnTo>
                    <a:pt x="984" y="834"/>
                  </a:lnTo>
                  <a:lnTo>
                    <a:pt x="978" y="834"/>
                  </a:lnTo>
                  <a:lnTo>
                    <a:pt x="972" y="834"/>
                  </a:lnTo>
                  <a:lnTo>
                    <a:pt x="966" y="834"/>
                  </a:lnTo>
                  <a:lnTo>
                    <a:pt x="966" y="828"/>
                  </a:lnTo>
                  <a:lnTo>
                    <a:pt x="960" y="828"/>
                  </a:lnTo>
                  <a:lnTo>
                    <a:pt x="954" y="828"/>
                  </a:lnTo>
                  <a:lnTo>
                    <a:pt x="942" y="828"/>
                  </a:lnTo>
                  <a:lnTo>
                    <a:pt x="936" y="828"/>
                  </a:lnTo>
                  <a:lnTo>
                    <a:pt x="930" y="828"/>
                  </a:lnTo>
                  <a:lnTo>
                    <a:pt x="918" y="828"/>
                  </a:lnTo>
                  <a:lnTo>
                    <a:pt x="918" y="822"/>
                  </a:lnTo>
                  <a:lnTo>
                    <a:pt x="912" y="828"/>
                  </a:lnTo>
                  <a:lnTo>
                    <a:pt x="912" y="822"/>
                  </a:lnTo>
                  <a:lnTo>
                    <a:pt x="906" y="816"/>
                  </a:lnTo>
                  <a:lnTo>
                    <a:pt x="900" y="816"/>
                  </a:lnTo>
                  <a:lnTo>
                    <a:pt x="894" y="816"/>
                  </a:lnTo>
                  <a:lnTo>
                    <a:pt x="888" y="816"/>
                  </a:lnTo>
                  <a:lnTo>
                    <a:pt x="882" y="816"/>
                  </a:lnTo>
                  <a:lnTo>
                    <a:pt x="882" y="810"/>
                  </a:lnTo>
                  <a:lnTo>
                    <a:pt x="876" y="804"/>
                  </a:lnTo>
                  <a:lnTo>
                    <a:pt x="870" y="804"/>
                  </a:lnTo>
                  <a:lnTo>
                    <a:pt x="864" y="798"/>
                  </a:lnTo>
                  <a:lnTo>
                    <a:pt x="858" y="798"/>
                  </a:lnTo>
                  <a:lnTo>
                    <a:pt x="858" y="804"/>
                  </a:lnTo>
                  <a:lnTo>
                    <a:pt x="852" y="804"/>
                  </a:lnTo>
                  <a:lnTo>
                    <a:pt x="846" y="804"/>
                  </a:lnTo>
                  <a:lnTo>
                    <a:pt x="846" y="798"/>
                  </a:lnTo>
                  <a:lnTo>
                    <a:pt x="840" y="804"/>
                  </a:lnTo>
                  <a:lnTo>
                    <a:pt x="834" y="804"/>
                  </a:lnTo>
                  <a:lnTo>
                    <a:pt x="828" y="804"/>
                  </a:lnTo>
                  <a:lnTo>
                    <a:pt x="828" y="810"/>
                  </a:lnTo>
                  <a:lnTo>
                    <a:pt x="822" y="810"/>
                  </a:lnTo>
                  <a:lnTo>
                    <a:pt x="810" y="804"/>
                  </a:lnTo>
                  <a:lnTo>
                    <a:pt x="810" y="798"/>
                  </a:lnTo>
                  <a:lnTo>
                    <a:pt x="780" y="798"/>
                  </a:lnTo>
                  <a:lnTo>
                    <a:pt x="756" y="774"/>
                  </a:lnTo>
                  <a:lnTo>
                    <a:pt x="750" y="768"/>
                  </a:lnTo>
                  <a:lnTo>
                    <a:pt x="750" y="744"/>
                  </a:lnTo>
                  <a:lnTo>
                    <a:pt x="732" y="738"/>
                  </a:lnTo>
                  <a:lnTo>
                    <a:pt x="732" y="720"/>
                  </a:lnTo>
                  <a:lnTo>
                    <a:pt x="714" y="690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6" y="666"/>
                  </a:lnTo>
                  <a:lnTo>
                    <a:pt x="690" y="666"/>
                  </a:lnTo>
                  <a:lnTo>
                    <a:pt x="678" y="672"/>
                  </a:lnTo>
                  <a:lnTo>
                    <a:pt x="678" y="654"/>
                  </a:lnTo>
                  <a:lnTo>
                    <a:pt x="684" y="630"/>
                  </a:lnTo>
                  <a:lnTo>
                    <a:pt x="690" y="618"/>
                  </a:lnTo>
                  <a:lnTo>
                    <a:pt x="696" y="612"/>
                  </a:lnTo>
                  <a:lnTo>
                    <a:pt x="696" y="588"/>
                  </a:lnTo>
                  <a:lnTo>
                    <a:pt x="690" y="576"/>
                  </a:lnTo>
                  <a:lnTo>
                    <a:pt x="696" y="552"/>
                  </a:lnTo>
                  <a:lnTo>
                    <a:pt x="684" y="522"/>
                  </a:lnTo>
                  <a:lnTo>
                    <a:pt x="672" y="504"/>
                  </a:lnTo>
                  <a:lnTo>
                    <a:pt x="654" y="504"/>
                  </a:lnTo>
                  <a:lnTo>
                    <a:pt x="642" y="504"/>
                  </a:lnTo>
                  <a:lnTo>
                    <a:pt x="624" y="510"/>
                  </a:lnTo>
                  <a:lnTo>
                    <a:pt x="612" y="516"/>
                  </a:lnTo>
                  <a:lnTo>
                    <a:pt x="594" y="516"/>
                  </a:lnTo>
                  <a:lnTo>
                    <a:pt x="588" y="516"/>
                  </a:lnTo>
                  <a:lnTo>
                    <a:pt x="588" y="522"/>
                  </a:lnTo>
                  <a:lnTo>
                    <a:pt x="582" y="516"/>
                  </a:lnTo>
                  <a:lnTo>
                    <a:pt x="588" y="510"/>
                  </a:lnTo>
                  <a:lnTo>
                    <a:pt x="582" y="510"/>
                  </a:lnTo>
                  <a:lnTo>
                    <a:pt x="582" y="504"/>
                  </a:lnTo>
                  <a:lnTo>
                    <a:pt x="576" y="498"/>
                  </a:lnTo>
                  <a:lnTo>
                    <a:pt x="570" y="498"/>
                  </a:lnTo>
                  <a:lnTo>
                    <a:pt x="570" y="492"/>
                  </a:lnTo>
                  <a:lnTo>
                    <a:pt x="564" y="492"/>
                  </a:lnTo>
                  <a:lnTo>
                    <a:pt x="570" y="486"/>
                  </a:lnTo>
                  <a:lnTo>
                    <a:pt x="564" y="486"/>
                  </a:lnTo>
                  <a:lnTo>
                    <a:pt x="564" y="480"/>
                  </a:lnTo>
                  <a:lnTo>
                    <a:pt x="564" y="474"/>
                  </a:lnTo>
                  <a:lnTo>
                    <a:pt x="558" y="468"/>
                  </a:lnTo>
                  <a:lnTo>
                    <a:pt x="564" y="468"/>
                  </a:lnTo>
                  <a:lnTo>
                    <a:pt x="564" y="462"/>
                  </a:lnTo>
                  <a:lnTo>
                    <a:pt x="570" y="462"/>
                  </a:lnTo>
                  <a:lnTo>
                    <a:pt x="570" y="456"/>
                  </a:lnTo>
                  <a:lnTo>
                    <a:pt x="570" y="450"/>
                  </a:lnTo>
                  <a:lnTo>
                    <a:pt x="576" y="450"/>
                  </a:lnTo>
                  <a:lnTo>
                    <a:pt x="576" y="444"/>
                  </a:lnTo>
                  <a:lnTo>
                    <a:pt x="582" y="438"/>
                  </a:lnTo>
                  <a:lnTo>
                    <a:pt x="588" y="438"/>
                  </a:lnTo>
                  <a:lnTo>
                    <a:pt x="588" y="444"/>
                  </a:lnTo>
                  <a:lnTo>
                    <a:pt x="594" y="438"/>
                  </a:lnTo>
                  <a:lnTo>
                    <a:pt x="594" y="432"/>
                  </a:lnTo>
                  <a:lnTo>
                    <a:pt x="600" y="432"/>
                  </a:lnTo>
                  <a:lnTo>
                    <a:pt x="600" y="426"/>
                  </a:lnTo>
                  <a:lnTo>
                    <a:pt x="600" y="420"/>
                  </a:lnTo>
                  <a:lnTo>
                    <a:pt x="606" y="420"/>
                  </a:lnTo>
                  <a:lnTo>
                    <a:pt x="600" y="420"/>
                  </a:lnTo>
                  <a:lnTo>
                    <a:pt x="600" y="414"/>
                  </a:lnTo>
                  <a:lnTo>
                    <a:pt x="606" y="408"/>
                  </a:lnTo>
                  <a:lnTo>
                    <a:pt x="612" y="408"/>
                  </a:lnTo>
                  <a:lnTo>
                    <a:pt x="612" y="414"/>
                  </a:lnTo>
                  <a:lnTo>
                    <a:pt x="618" y="414"/>
                  </a:lnTo>
                  <a:lnTo>
                    <a:pt x="624" y="414"/>
                  </a:lnTo>
                  <a:lnTo>
                    <a:pt x="630" y="414"/>
                  </a:lnTo>
                  <a:lnTo>
                    <a:pt x="636" y="414"/>
                  </a:lnTo>
                  <a:lnTo>
                    <a:pt x="642" y="408"/>
                  </a:lnTo>
                  <a:lnTo>
                    <a:pt x="648" y="408"/>
                  </a:lnTo>
                  <a:lnTo>
                    <a:pt x="660" y="408"/>
                  </a:lnTo>
                  <a:lnTo>
                    <a:pt x="666" y="402"/>
                  </a:lnTo>
                  <a:lnTo>
                    <a:pt x="672" y="402"/>
                  </a:lnTo>
                  <a:lnTo>
                    <a:pt x="684" y="396"/>
                  </a:lnTo>
                  <a:lnTo>
                    <a:pt x="690" y="396"/>
                  </a:lnTo>
                  <a:lnTo>
                    <a:pt x="696" y="396"/>
                  </a:lnTo>
                  <a:lnTo>
                    <a:pt x="702" y="396"/>
                  </a:lnTo>
                  <a:lnTo>
                    <a:pt x="708" y="396"/>
                  </a:lnTo>
                  <a:lnTo>
                    <a:pt x="714" y="390"/>
                  </a:lnTo>
                  <a:lnTo>
                    <a:pt x="714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32" y="384"/>
                  </a:lnTo>
                  <a:lnTo>
                    <a:pt x="738" y="378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56" y="372"/>
                  </a:lnTo>
                  <a:lnTo>
                    <a:pt x="762" y="366"/>
                  </a:lnTo>
                  <a:lnTo>
                    <a:pt x="768" y="366"/>
                  </a:lnTo>
                  <a:lnTo>
                    <a:pt x="774" y="366"/>
                  </a:lnTo>
                  <a:lnTo>
                    <a:pt x="774" y="360"/>
                  </a:lnTo>
                  <a:lnTo>
                    <a:pt x="780" y="366"/>
                  </a:lnTo>
                  <a:lnTo>
                    <a:pt x="786" y="366"/>
                  </a:lnTo>
                  <a:lnTo>
                    <a:pt x="786" y="360"/>
                  </a:lnTo>
                  <a:lnTo>
                    <a:pt x="792" y="354"/>
                  </a:lnTo>
                  <a:lnTo>
                    <a:pt x="786" y="354"/>
                  </a:lnTo>
                  <a:lnTo>
                    <a:pt x="792" y="348"/>
                  </a:lnTo>
                  <a:lnTo>
                    <a:pt x="798" y="348"/>
                  </a:lnTo>
                  <a:lnTo>
                    <a:pt x="804" y="348"/>
                  </a:lnTo>
                  <a:lnTo>
                    <a:pt x="810" y="342"/>
                  </a:lnTo>
                  <a:lnTo>
                    <a:pt x="816" y="342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28" y="336"/>
                  </a:lnTo>
                  <a:lnTo>
                    <a:pt x="834" y="336"/>
                  </a:lnTo>
                  <a:lnTo>
                    <a:pt x="840" y="336"/>
                  </a:lnTo>
                  <a:lnTo>
                    <a:pt x="846" y="330"/>
                  </a:lnTo>
                  <a:lnTo>
                    <a:pt x="852" y="330"/>
                  </a:lnTo>
                  <a:lnTo>
                    <a:pt x="858" y="330"/>
                  </a:lnTo>
                  <a:lnTo>
                    <a:pt x="864" y="324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0" y="312"/>
                  </a:lnTo>
                  <a:lnTo>
                    <a:pt x="876" y="312"/>
                  </a:lnTo>
                  <a:lnTo>
                    <a:pt x="882" y="312"/>
                  </a:lnTo>
                  <a:lnTo>
                    <a:pt x="882" y="318"/>
                  </a:lnTo>
                  <a:lnTo>
                    <a:pt x="888" y="312"/>
                  </a:lnTo>
                  <a:lnTo>
                    <a:pt x="894" y="306"/>
                  </a:lnTo>
                  <a:lnTo>
                    <a:pt x="900" y="306"/>
                  </a:lnTo>
                  <a:lnTo>
                    <a:pt x="906" y="306"/>
                  </a:lnTo>
                  <a:lnTo>
                    <a:pt x="912" y="300"/>
                  </a:lnTo>
                  <a:lnTo>
                    <a:pt x="906" y="294"/>
                  </a:lnTo>
                  <a:lnTo>
                    <a:pt x="912" y="276"/>
                  </a:lnTo>
                  <a:lnTo>
                    <a:pt x="912" y="252"/>
                  </a:lnTo>
                  <a:lnTo>
                    <a:pt x="906" y="234"/>
                  </a:lnTo>
                  <a:lnTo>
                    <a:pt x="912" y="228"/>
                  </a:lnTo>
                  <a:lnTo>
                    <a:pt x="912" y="216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24" y="192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36" y="186"/>
                  </a:lnTo>
                  <a:lnTo>
                    <a:pt x="930" y="180"/>
                  </a:lnTo>
                  <a:lnTo>
                    <a:pt x="930" y="174"/>
                  </a:lnTo>
                  <a:lnTo>
                    <a:pt x="936" y="156"/>
                  </a:lnTo>
                  <a:lnTo>
                    <a:pt x="930" y="156"/>
                  </a:lnTo>
                  <a:lnTo>
                    <a:pt x="924" y="150"/>
                  </a:lnTo>
                  <a:lnTo>
                    <a:pt x="942" y="78"/>
                  </a:lnTo>
                  <a:lnTo>
                    <a:pt x="948" y="78"/>
                  </a:lnTo>
                  <a:lnTo>
                    <a:pt x="954" y="66"/>
                  </a:lnTo>
                  <a:lnTo>
                    <a:pt x="954" y="72"/>
                  </a:lnTo>
                  <a:lnTo>
                    <a:pt x="954" y="66"/>
                  </a:lnTo>
                  <a:lnTo>
                    <a:pt x="960" y="66"/>
                  </a:lnTo>
                  <a:lnTo>
                    <a:pt x="966" y="66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54"/>
                  </a:lnTo>
                  <a:lnTo>
                    <a:pt x="990" y="54"/>
                  </a:lnTo>
                  <a:lnTo>
                    <a:pt x="996" y="48"/>
                  </a:lnTo>
                  <a:lnTo>
                    <a:pt x="1002" y="48"/>
                  </a:lnTo>
                  <a:lnTo>
                    <a:pt x="1032" y="48"/>
                  </a:lnTo>
                  <a:lnTo>
                    <a:pt x="1062" y="48"/>
                  </a:lnTo>
                  <a:lnTo>
                    <a:pt x="1068" y="78"/>
                  </a:lnTo>
                  <a:lnTo>
                    <a:pt x="1086" y="78"/>
                  </a:lnTo>
                  <a:lnTo>
                    <a:pt x="1092" y="66"/>
                  </a:lnTo>
                  <a:lnTo>
                    <a:pt x="1092" y="60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8" y="48"/>
                  </a:lnTo>
                  <a:lnTo>
                    <a:pt x="1104" y="48"/>
                  </a:lnTo>
                  <a:lnTo>
                    <a:pt x="1110" y="48"/>
                  </a:lnTo>
                  <a:lnTo>
                    <a:pt x="1110" y="42"/>
                  </a:lnTo>
                  <a:lnTo>
                    <a:pt x="1110" y="36"/>
                  </a:lnTo>
                  <a:lnTo>
                    <a:pt x="1116" y="36"/>
                  </a:lnTo>
                  <a:lnTo>
                    <a:pt x="1116" y="30"/>
                  </a:lnTo>
                  <a:lnTo>
                    <a:pt x="1122" y="30"/>
                  </a:lnTo>
                  <a:lnTo>
                    <a:pt x="1128" y="30"/>
                  </a:lnTo>
                  <a:lnTo>
                    <a:pt x="1134" y="30"/>
                  </a:lnTo>
                  <a:lnTo>
                    <a:pt x="1140" y="24"/>
                  </a:lnTo>
                  <a:lnTo>
                    <a:pt x="1152" y="18"/>
                  </a:lnTo>
                  <a:lnTo>
                    <a:pt x="1158" y="18"/>
                  </a:lnTo>
                  <a:lnTo>
                    <a:pt x="1152" y="12"/>
                  </a:lnTo>
                  <a:lnTo>
                    <a:pt x="1152" y="6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8"/>
                  </a:lnTo>
                  <a:lnTo>
                    <a:pt x="1170" y="12"/>
                  </a:lnTo>
                  <a:lnTo>
                    <a:pt x="1170" y="6"/>
                  </a:lnTo>
                  <a:lnTo>
                    <a:pt x="1176" y="6"/>
                  </a:lnTo>
                  <a:lnTo>
                    <a:pt x="1176" y="0"/>
                  </a:lnTo>
                  <a:lnTo>
                    <a:pt x="1182" y="6"/>
                  </a:lnTo>
                  <a:lnTo>
                    <a:pt x="1188" y="6"/>
                  </a:lnTo>
                  <a:lnTo>
                    <a:pt x="1188" y="0"/>
                  </a:lnTo>
                  <a:lnTo>
                    <a:pt x="1194" y="6"/>
                  </a:lnTo>
                  <a:lnTo>
                    <a:pt x="1200" y="12"/>
                  </a:lnTo>
                  <a:lnTo>
                    <a:pt x="1206" y="18"/>
                  </a:lnTo>
                  <a:lnTo>
                    <a:pt x="1212" y="18"/>
                  </a:lnTo>
                  <a:lnTo>
                    <a:pt x="1218" y="24"/>
                  </a:lnTo>
                  <a:lnTo>
                    <a:pt x="1236" y="36"/>
                  </a:lnTo>
                  <a:lnTo>
                    <a:pt x="1242" y="36"/>
                  </a:lnTo>
                  <a:lnTo>
                    <a:pt x="1248" y="42"/>
                  </a:lnTo>
                  <a:lnTo>
                    <a:pt x="1248" y="48"/>
                  </a:lnTo>
                  <a:lnTo>
                    <a:pt x="1260" y="48"/>
                  </a:lnTo>
                  <a:lnTo>
                    <a:pt x="1260" y="108"/>
                  </a:lnTo>
                  <a:lnTo>
                    <a:pt x="1266" y="168"/>
                  </a:lnTo>
                  <a:lnTo>
                    <a:pt x="1278" y="234"/>
                  </a:lnTo>
                  <a:lnTo>
                    <a:pt x="1284" y="240"/>
                  </a:lnTo>
                  <a:lnTo>
                    <a:pt x="1290" y="264"/>
                  </a:lnTo>
                  <a:lnTo>
                    <a:pt x="1296" y="288"/>
                  </a:lnTo>
                  <a:lnTo>
                    <a:pt x="1296" y="300"/>
                  </a:lnTo>
                  <a:lnTo>
                    <a:pt x="1296" y="312"/>
                  </a:lnTo>
                  <a:lnTo>
                    <a:pt x="1296" y="324"/>
                  </a:lnTo>
                  <a:lnTo>
                    <a:pt x="1296" y="354"/>
                  </a:lnTo>
                  <a:lnTo>
                    <a:pt x="1302" y="366"/>
                  </a:lnTo>
                  <a:lnTo>
                    <a:pt x="1308" y="372"/>
                  </a:lnTo>
                  <a:lnTo>
                    <a:pt x="1308" y="384"/>
                  </a:lnTo>
                  <a:lnTo>
                    <a:pt x="1314" y="390"/>
                  </a:lnTo>
                  <a:lnTo>
                    <a:pt x="1308" y="408"/>
                  </a:lnTo>
                  <a:lnTo>
                    <a:pt x="1314" y="408"/>
                  </a:lnTo>
                  <a:lnTo>
                    <a:pt x="1314" y="414"/>
                  </a:lnTo>
                  <a:lnTo>
                    <a:pt x="1308" y="420"/>
                  </a:lnTo>
                  <a:lnTo>
                    <a:pt x="1308" y="432"/>
                  </a:lnTo>
                  <a:lnTo>
                    <a:pt x="1320" y="432"/>
                  </a:lnTo>
                  <a:lnTo>
                    <a:pt x="1320" y="444"/>
                  </a:lnTo>
                  <a:lnTo>
                    <a:pt x="1332" y="444"/>
                  </a:lnTo>
                  <a:lnTo>
                    <a:pt x="1338" y="450"/>
                  </a:lnTo>
                  <a:lnTo>
                    <a:pt x="1344" y="456"/>
                  </a:lnTo>
                  <a:lnTo>
                    <a:pt x="1344" y="462"/>
                  </a:lnTo>
                  <a:lnTo>
                    <a:pt x="1344" y="474"/>
                  </a:lnTo>
                  <a:lnTo>
                    <a:pt x="1350" y="474"/>
                  </a:lnTo>
                  <a:lnTo>
                    <a:pt x="1368" y="504"/>
                  </a:lnTo>
                  <a:lnTo>
                    <a:pt x="1374" y="534"/>
                  </a:lnTo>
                  <a:lnTo>
                    <a:pt x="1380" y="558"/>
                  </a:lnTo>
                  <a:lnTo>
                    <a:pt x="1386" y="576"/>
                  </a:lnTo>
                  <a:lnTo>
                    <a:pt x="1386" y="600"/>
                  </a:lnTo>
                  <a:lnTo>
                    <a:pt x="1386" y="624"/>
                  </a:lnTo>
                  <a:lnTo>
                    <a:pt x="1386" y="648"/>
                  </a:lnTo>
                  <a:lnTo>
                    <a:pt x="1386" y="684"/>
                  </a:lnTo>
                  <a:lnTo>
                    <a:pt x="1380" y="684"/>
                  </a:lnTo>
                  <a:lnTo>
                    <a:pt x="1374" y="696"/>
                  </a:lnTo>
                  <a:lnTo>
                    <a:pt x="1368" y="702"/>
                  </a:lnTo>
                  <a:lnTo>
                    <a:pt x="1362" y="708"/>
                  </a:lnTo>
                  <a:lnTo>
                    <a:pt x="1356" y="714"/>
                  </a:lnTo>
                  <a:lnTo>
                    <a:pt x="1350" y="720"/>
                  </a:lnTo>
                  <a:lnTo>
                    <a:pt x="1338" y="720"/>
                  </a:lnTo>
                  <a:lnTo>
                    <a:pt x="1338" y="738"/>
                  </a:lnTo>
                  <a:lnTo>
                    <a:pt x="1362" y="750"/>
                  </a:lnTo>
                  <a:lnTo>
                    <a:pt x="1362" y="756"/>
                  </a:lnTo>
                  <a:lnTo>
                    <a:pt x="1374" y="756"/>
                  </a:lnTo>
                  <a:lnTo>
                    <a:pt x="1410" y="774"/>
                  </a:lnTo>
                  <a:lnTo>
                    <a:pt x="1446" y="774"/>
                  </a:lnTo>
                  <a:lnTo>
                    <a:pt x="1482" y="768"/>
                  </a:lnTo>
                  <a:lnTo>
                    <a:pt x="1500" y="774"/>
                  </a:lnTo>
                  <a:lnTo>
                    <a:pt x="1512" y="78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6" name="Freeform 11">
              <a:extLst>
                <a:ext uri="{FF2B5EF4-FFF2-40B4-BE49-F238E27FC236}">
                  <a16:creationId xmlns:a16="http://schemas.microsoft.com/office/drawing/2014/main" id="{1FF8E66F-B850-456A-B132-C45FEEDE95C6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2475" y="2345643"/>
              <a:ext cx="445003" cy="603855"/>
            </a:xfrm>
            <a:custGeom>
              <a:avLst/>
              <a:gdLst>
                <a:gd name="T0" fmla="*/ 47 w 840"/>
                <a:gd name="T1" fmla="*/ 98 h 1134"/>
                <a:gd name="T2" fmla="*/ 41 w 840"/>
                <a:gd name="T3" fmla="*/ 98 h 1134"/>
                <a:gd name="T4" fmla="*/ 37 w 840"/>
                <a:gd name="T5" fmla="*/ 98 h 1134"/>
                <a:gd name="T6" fmla="*/ 29 w 840"/>
                <a:gd name="T7" fmla="*/ 97 h 1134"/>
                <a:gd name="T8" fmla="*/ 27 w 840"/>
                <a:gd name="T9" fmla="*/ 94 h 1134"/>
                <a:gd name="T10" fmla="*/ 26 w 840"/>
                <a:gd name="T11" fmla="*/ 93 h 1134"/>
                <a:gd name="T12" fmla="*/ 26 w 840"/>
                <a:gd name="T13" fmla="*/ 83 h 1134"/>
                <a:gd name="T14" fmla="*/ 26 w 840"/>
                <a:gd name="T15" fmla="*/ 81 h 1134"/>
                <a:gd name="T16" fmla="*/ 23 w 840"/>
                <a:gd name="T17" fmla="*/ 77 h 1134"/>
                <a:gd name="T18" fmla="*/ 19 w 840"/>
                <a:gd name="T19" fmla="*/ 75 h 1134"/>
                <a:gd name="T20" fmla="*/ 16 w 840"/>
                <a:gd name="T21" fmla="*/ 72 h 1134"/>
                <a:gd name="T22" fmla="*/ 13 w 840"/>
                <a:gd name="T23" fmla="*/ 70 h 1134"/>
                <a:gd name="T24" fmla="*/ 17 w 840"/>
                <a:gd name="T25" fmla="*/ 67 h 1134"/>
                <a:gd name="T26" fmla="*/ 19 w 840"/>
                <a:gd name="T27" fmla="*/ 63 h 1134"/>
                <a:gd name="T28" fmla="*/ 20 w 840"/>
                <a:gd name="T29" fmla="*/ 59 h 1134"/>
                <a:gd name="T30" fmla="*/ 19 w 840"/>
                <a:gd name="T31" fmla="*/ 55 h 1134"/>
                <a:gd name="T32" fmla="*/ 17 w 840"/>
                <a:gd name="T33" fmla="*/ 47 h 1134"/>
                <a:gd name="T34" fmla="*/ 8 w 840"/>
                <a:gd name="T35" fmla="*/ 45 h 1134"/>
                <a:gd name="T36" fmla="*/ 4 w 840"/>
                <a:gd name="T37" fmla="*/ 39 h 1134"/>
                <a:gd name="T38" fmla="*/ 2 w 840"/>
                <a:gd name="T39" fmla="*/ 35 h 1134"/>
                <a:gd name="T40" fmla="*/ 0 w 840"/>
                <a:gd name="T41" fmla="*/ 31 h 1134"/>
                <a:gd name="T42" fmla="*/ 2 w 840"/>
                <a:gd name="T43" fmla="*/ 27 h 1134"/>
                <a:gd name="T44" fmla="*/ 5 w 840"/>
                <a:gd name="T45" fmla="*/ 24 h 1134"/>
                <a:gd name="T46" fmla="*/ 10 w 840"/>
                <a:gd name="T47" fmla="*/ 26 h 1134"/>
                <a:gd name="T48" fmla="*/ 7 w 840"/>
                <a:gd name="T49" fmla="*/ 20 h 1134"/>
                <a:gd name="T50" fmla="*/ 12 w 840"/>
                <a:gd name="T51" fmla="*/ 12 h 1134"/>
                <a:gd name="T52" fmla="*/ 19 w 840"/>
                <a:gd name="T53" fmla="*/ 10 h 1134"/>
                <a:gd name="T54" fmla="*/ 20 w 840"/>
                <a:gd name="T55" fmla="*/ 13 h 1134"/>
                <a:gd name="T56" fmla="*/ 22 w 840"/>
                <a:gd name="T57" fmla="*/ 11 h 1134"/>
                <a:gd name="T58" fmla="*/ 25 w 840"/>
                <a:gd name="T59" fmla="*/ 7 h 1134"/>
                <a:gd name="T60" fmla="*/ 29 w 840"/>
                <a:gd name="T61" fmla="*/ 2 h 1134"/>
                <a:gd name="T62" fmla="*/ 33 w 840"/>
                <a:gd name="T63" fmla="*/ 1 h 1134"/>
                <a:gd name="T64" fmla="*/ 37 w 840"/>
                <a:gd name="T65" fmla="*/ 2 h 1134"/>
                <a:gd name="T66" fmla="*/ 39 w 840"/>
                <a:gd name="T67" fmla="*/ 4 h 1134"/>
                <a:gd name="T68" fmla="*/ 43 w 840"/>
                <a:gd name="T69" fmla="*/ 5 h 1134"/>
                <a:gd name="T70" fmla="*/ 46 w 840"/>
                <a:gd name="T71" fmla="*/ 11 h 1134"/>
                <a:gd name="T72" fmla="*/ 49 w 840"/>
                <a:gd name="T73" fmla="*/ 12 h 1134"/>
                <a:gd name="T74" fmla="*/ 52 w 840"/>
                <a:gd name="T75" fmla="*/ 15 h 1134"/>
                <a:gd name="T76" fmla="*/ 54 w 840"/>
                <a:gd name="T77" fmla="*/ 18 h 1134"/>
                <a:gd name="T78" fmla="*/ 55 w 840"/>
                <a:gd name="T79" fmla="*/ 22 h 1134"/>
                <a:gd name="T80" fmla="*/ 56 w 840"/>
                <a:gd name="T81" fmla="*/ 26 h 1134"/>
                <a:gd name="T82" fmla="*/ 55 w 840"/>
                <a:gd name="T83" fmla="*/ 32 h 1134"/>
                <a:gd name="T84" fmla="*/ 55 w 840"/>
                <a:gd name="T85" fmla="*/ 36 h 1134"/>
                <a:gd name="T86" fmla="*/ 54 w 840"/>
                <a:gd name="T87" fmla="*/ 39 h 1134"/>
                <a:gd name="T88" fmla="*/ 56 w 840"/>
                <a:gd name="T89" fmla="*/ 39 h 1134"/>
                <a:gd name="T90" fmla="*/ 58 w 840"/>
                <a:gd name="T91" fmla="*/ 39 h 1134"/>
                <a:gd name="T92" fmla="*/ 61 w 840"/>
                <a:gd name="T93" fmla="*/ 39 h 1134"/>
                <a:gd name="T94" fmla="*/ 60 w 840"/>
                <a:gd name="T95" fmla="*/ 49 h 1134"/>
                <a:gd name="T96" fmla="*/ 59 w 840"/>
                <a:gd name="T97" fmla="*/ 53 h 1134"/>
                <a:gd name="T98" fmla="*/ 59 w 840"/>
                <a:gd name="T99" fmla="*/ 56 h 1134"/>
                <a:gd name="T100" fmla="*/ 60 w 840"/>
                <a:gd name="T101" fmla="*/ 59 h 1134"/>
                <a:gd name="T102" fmla="*/ 64 w 840"/>
                <a:gd name="T103" fmla="*/ 61 h 1134"/>
                <a:gd name="T104" fmla="*/ 69 w 840"/>
                <a:gd name="T105" fmla="*/ 63 h 1134"/>
                <a:gd name="T106" fmla="*/ 72 w 840"/>
                <a:gd name="T107" fmla="*/ 69 h 1134"/>
                <a:gd name="T108" fmla="*/ 72 w 840"/>
                <a:gd name="T109" fmla="*/ 73 h 1134"/>
                <a:gd name="T110" fmla="*/ 72 w 840"/>
                <a:gd name="T111" fmla="*/ 83 h 1134"/>
                <a:gd name="T112" fmla="*/ 63 w 840"/>
                <a:gd name="T113" fmla="*/ 88 h 1134"/>
                <a:gd name="T114" fmla="*/ 52 w 840"/>
                <a:gd name="T115" fmla="*/ 95 h 11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40"/>
                <a:gd name="T175" fmla="*/ 0 h 1134"/>
                <a:gd name="T176" fmla="*/ 840 w 840"/>
                <a:gd name="T177" fmla="*/ 1134 h 11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40" h="1134">
                  <a:moveTo>
                    <a:pt x="564" y="1110"/>
                  </a:moveTo>
                  <a:lnTo>
                    <a:pt x="564" y="1104"/>
                  </a:lnTo>
                  <a:lnTo>
                    <a:pt x="558" y="1104"/>
                  </a:lnTo>
                  <a:lnTo>
                    <a:pt x="552" y="1110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28" y="1128"/>
                  </a:lnTo>
                  <a:lnTo>
                    <a:pt x="498" y="1128"/>
                  </a:lnTo>
                  <a:lnTo>
                    <a:pt x="492" y="1128"/>
                  </a:lnTo>
                  <a:lnTo>
                    <a:pt x="486" y="1128"/>
                  </a:lnTo>
                  <a:lnTo>
                    <a:pt x="480" y="1128"/>
                  </a:lnTo>
                  <a:lnTo>
                    <a:pt x="474" y="1134"/>
                  </a:lnTo>
                  <a:lnTo>
                    <a:pt x="468" y="1134"/>
                  </a:lnTo>
                  <a:lnTo>
                    <a:pt x="462" y="1134"/>
                  </a:lnTo>
                  <a:lnTo>
                    <a:pt x="456" y="1134"/>
                  </a:lnTo>
                  <a:lnTo>
                    <a:pt x="456" y="1128"/>
                  </a:lnTo>
                  <a:lnTo>
                    <a:pt x="450" y="1122"/>
                  </a:lnTo>
                  <a:lnTo>
                    <a:pt x="426" y="1128"/>
                  </a:lnTo>
                  <a:lnTo>
                    <a:pt x="414" y="1128"/>
                  </a:lnTo>
                  <a:lnTo>
                    <a:pt x="348" y="1134"/>
                  </a:lnTo>
                  <a:lnTo>
                    <a:pt x="348" y="1128"/>
                  </a:lnTo>
                  <a:lnTo>
                    <a:pt x="342" y="1128"/>
                  </a:lnTo>
                  <a:lnTo>
                    <a:pt x="336" y="1122"/>
                  </a:lnTo>
                  <a:lnTo>
                    <a:pt x="330" y="1122"/>
                  </a:lnTo>
                  <a:lnTo>
                    <a:pt x="324" y="1116"/>
                  </a:lnTo>
                  <a:lnTo>
                    <a:pt x="324" y="1110"/>
                  </a:lnTo>
                  <a:lnTo>
                    <a:pt x="318" y="1110"/>
                  </a:lnTo>
                  <a:lnTo>
                    <a:pt x="318" y="1104"/>
                  </a:lnTo>
                  <a:lnTo>
                    <a:pt x="312" y="1092"/>
                  </a:lnTo>
                  <a:lnTo>
                    <a:pt x="306" y="1086"/>
                  </a:lnTo>
                  <a:lnTo>
                    <a:pt x="306" y="1080"/>
                  </a:lnTo>
                  <a:lnTo>
                    <a:pt x="312" y="1074"/>
                  </a:lnTo>
                  <a:lnTo>
                    <a:pt x="306" y="1068"/>
                  </a:lnTo>
                  <a:lnTo>
                    <a:pt x="300" y="1074"/>
                  </a:lnTo>
                  <a:lnTo>
                    <a:pt x="300" y="1068"/>
                  </a:lnTo>
                  <a:lnTo>
                    <a:pt x="294" y="1068"/>
                  </a:lnTo>
                  <a:lnTo>
                    <a:pt x="294" y="1056"/>
                  </a:lnTo>
                  <a:lnTo>
                    <a:pt x="294" y="1026"/>
                  </a:lnTo>
                  <a:lnTo>
                    <a:pt x="294" y="1020"/>
                  </a:lnTo>
                  <a:lnTo>
                    <a:pt x="294" y="1008"/>
                  </a:lnTo>
                  <a:lnTo>
                    <a:pt x="294" y="966"/>
                  </a:lnTo>
                  <a:lnTo>
                    <a:pt x="294" y="960"/>
                  </a:lnTo>
                  <a:lnTo>
                    <a:pt x="294" y="954"/>
                  </a:lnTo>
                  <a:lnTo>
                    <a:pt x="294" y="948"/>
                  </a:lnTo>
                  <a:lnTo>
                    <a:pt x="294" y="942"/>
                  </a:lnTo>
                  <a:lnTo>
                    <a:pt x="300" y="936"/>
                  </a:lnTo>
                  <a:lnTo>
                    <a:pt x="300" y="930"/>
                  </a:lnTo>
                  <a:lnTo>
                    <a:pt x="294" y="930"/>
                  </a:lnTo>
                  <a:lnTo>
                    <a:pt x="288" y="930"/>
                  </a:lnTo>
                  <a:lnTo>
                    <a:pt x="288" y="924"/>
                  </a:lnTo>
                  <a:lnTo>
                    <a:pt x="282" y="918"/>
                  </a:lnTo>
                  <a:lnTo>
                    <a:pt x="282" y="906"/>
                  </a:lnTo>
                  <a:lnTo>
                    <a:pt x="282" y="900"/>
                  </a:lnTo>
                  <a:lnTo>
                    <a:pt x="264" y="894"/>
                  </a:lnTo>
                  <a:lnTo>
                    <a:pt x="252" y="882"/>
                  </a:lnTo>
                  <a:lnTo>
                    <a:pt x="246" y="876"/>
                  </a:lnTo>
                  <a:lnTo>
                    <a:pt x="240" y="876"/>
                  </a:lnTo>
                  <a:lnTo>
                    <a:pt x="240" y="870"/>
                  </a:lnTo>
                  <a:lnTo>
                    <a:pt x="234" y="870"/>
                  </a:lnTo>
                  <a:lnTo>
                    <a:pt x="222" y="864"/>
                  </a:lnTo>
                  <a:lnTo>
                    <a:pt x="216" y="864"/>
                  </a:lnTo>
                  <a:lnTo>
                    <a:pt x="210" y="858"/>
                  </a:lnTo>
                  <a:lnTo>
                    <a:pt x="210" y="852"/>
                  </a:lnTo>
                  <a:lnTo>
                    <a:pt x="210" y="846"/>
                  </a:lnTo>
                  <a:lnTo>
                    <a:pt x="198" y="840"/>
                  </a:lnTo>
                  <a:lnTo>
                    <a:pt x="186" y="834"/>
                  </a:lnTo>
                  <a:lnTo>
                    <a:pt x="180" y="828"/>
                  </a:lnTo>
                  <a:lnTo>
                    <a:pt x="180" y="822"/>
                  </a:lnTo>
                  <a:lnTo>
                    <a:pt x="174" y="822"/>
                  </a:lnTo>
                  <a:lnTo>
                    <a:pt x="162" y="816"/>
                  </a:lnTo>
                  <a:lnTo>
                    <a:pt x="156" y="810"/>
                  </a:lnTo>
                  <a:lnTo>
                    <a:pt x="150" y="810"/>
                  </a:lnTo>
                  <a:lnTo>
                    <a:pt x="144" y="798"/>
                  </a:lnTo>
                  <a:lnTo>
                    <a:pt x="138" y="786"/>
                  </a:lnTo>
                  <a:lnTo>
                    <a:pt x="138" y="780"/>
                  </a:lnTo>
                  <a:lnTo>
                    <a:pt x="144" y="774"/>
                  </a:lnTo>
                  <a:lnTo>
                    <a:pt x="150" y="768"/>
                  </a:lnTo>
                  <a:lnTo>
                    <a:pt x="192" y="768"/>
                  </a:lnTo>
                  <a:lnTo>
                    <a:pt x="210" y="762"/>
                  </a:lnTo>
                  <a:lnTo>
                    <a:pt x="216" y="756"/>
                  </a:lnTo>
                  <a:lnTo>
                    <a:pt x="216" y="744"/>
                  </a:lnTo>
                  <a:lnTo>
                    <a:pt x="216" y="738"/>
                  </a:lnTo>
                  <a:lnTo>
                    <a:pt x="216" y="732"/>
                  </a:lnTo>
                  <a:lnTo>
                    <a:pt x="216" y="726"/>
                  </a:lnTo>
                  <a:lnTo>
                    <a:pt x="216" y="720"/>
                  </a:lnTo>
                  <a:lnTo>
                    <a:pt x="228" y="702"/>
                  </a:lnTo>
                  <a:lnTo>
                    <a:pt x="234" y="696"/>
                  </a:lnTo>
                  <a:lnTo>
                    <a:pt x="240" y="690"/>
                  </a:lnTo>
                  <a:lnTo>
                    <a:pt x="240" y="684"/>
                  </a:lnTo>
                  <a:lnTo>
                    <a:pt x="234" y="678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0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22" y="630"/>
                  </a:lnTo>
                  <a:lnTo>
                    <a:pt x="222" y="618"/>
                  </a:lnTo>
                  <a:lnTo>
                    <a:pt x="222" y="582"/>
                  </a:lnTo>
                  <a:lnTo>
                    <a:pt x="228" y="582"/>
                  </a:lnTo>
                  <a:lnTo>
                    <a:pt x="222" y="564"/>
                  </a:lnTo>
                  <a:lnTo>
                    <a:pt x="210" y="552"/>
                  </a:lnTo>
                  <a:lnTo>
                    <a:pt x="192" y="540"/>
                  </a:lnTo>
                  <a:lnTo>
                    <a:pt x="174" y="540"/>
                  </a:lnTo>
                  <a:lnTo>
                    <a:pt x="150" y="534"/>
                  </a:lnTo>
                  <a:lnTo>
                    <a:pt x="126" y="528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90" y="516"/>
                  </a:lnTo>
                  <a:lnTo>
                    <a:pt x="78" y="504"/>
                  </a:lnTo>
                  <a:lnTo>
                    <a:pt x="72" y="498"/>
                  </a:lnTo>
                  <a:lnTo>
                    <a:pt x="66" y="486"/>
                  </a:lnTo>
                  <a:lnTo>
                    <a:pt x="54" y="468"/>
                  </a:lnTo>
                  <a:lnTo>
                    <a:pt x="54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42" y="438"/>
                  </a:lnTo>
                  <a:lnTo>
                    <a:pt x="36" y="438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24" y="384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2" y="360"/>
                  </a:lnTo>
                  <a:lnTo>
                    <a:pt x="6" y="360"/>
                  </a:lnTo>
                  <a:lnTo>
                    <a:pt x="0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0"/>
                  </a:lnTo>
                  <a:lnTo>
                    <a:pt x="18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8" y="270"/>
                  </a:lnTo>
                  <a:lnTo>
                    <a:pt x="90" y="276"/>
                  </a:lnTo>
                  <a:lnTo>
                    <a:pt x="108" y="294"/>
                  </a:lnTo>
                  <a:lnTo>
                    <a:pt x="114" y="294"/>
                  </a:lnTo>
                  <a:lnTo>
                    <a:pt x="114" y="276"/>
                  </a:lnTo>
                  <a:lnTo>
                    <a:pt x="114" y="270"/>
                  </a:lnTo>
                  <a:lnTo>
                    <a:pt x="102" y="258"/>
                  </a:lnTo>
                  <a:lnTo>
                    <a:pt x="96" y="246"/>
                  </a:lnTo>
                  <a:lnTo>
                    <a:pt x="90" y="234"/>
                  </a:lnTo>
                  <a:lnTo>
                    <a:pt x="78" y="228"/>
                  </a:lnTo>
                  <a:lnTo>
                    <a:pt x="72" y="216"/>
                  </a:lnTo>
                  <a:lnTo>
                    <a:pt x="66" y="192"/>
                  </a:lnTo>
                  <a:lnTo>
                    <a:pt x="90" y="174"/>
                  </a:lnTo>
                  <a:lnTo>
                    <a:pt x="120" y="150"/>
                  </a:lnTo>
                  <a:lnTo>
                    <a:pt x="132" y="150"/>
                  </a:lnTo>
                  <a:lnTo>
                    <a:pt x="138" y="144"/>
                  </a:lnTo>
                  <a:lnTo>
                    <a:pt x="138" y="138"/>
                  </a:lnTo>
                  <a:lnTo>
                    <a:pt x="156" y="126"/>
                  </a:lnTo>
                  <a:lnTo>
                    <a:pt x="180" y="114"/>
                  </a:lnTo>
                  <a:lnTo>
                    <a:pt x="216" y="114"/>
                  </a:lnTo>
                  <a:lnTo>
                    <a:pt x="222" y="114"/>
                  </a:lnTo>
                  <a:lnTo>
                    <a:pt x="222" y="120"/>
                  </a:lnTo>
                  <a:lnTo>
                    <a:pt x="222" y="126"/>
                  </a:lnTo>
                  <a:lnTo>
                    <a:pt x="222" y="132"/>
                  </a:lnTo>
                  <a:lnTo>
                    <a:pt x="228" y="138"/>
                  </a:lnTo>
                  <a:lnTo>
                    <a:pt x="228" y="144"/>
                  </a:lnTo>
                  <a:lnTo>
                    <a:pt x="228" y="150"/>
                  </a:lnTo>
                  <a:lnTo>
                    <a:pt x="234" y="150"/>
                  </a:lnTo>
                  <a:lnTo>
                    <a:pt x="234" y="144"/>
                  </a:lnTo>
                  <a:lnTo>
                    <a:pt x="240" y="144"/>
                  </a:lnTo>
                  <a:lnTo>
                    <a:pt x="246" y="144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58" y="126"/>
                  </a:lnTo>
                  <a:lnTo>
                    <a:pt x="258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76" y="96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6" y="72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36"/>
                  </a:lnTo>
                  <a:lnTo>
                    <a:pt x="330" y="24"/>
                  </a:lnTo>
                  <a:lnTo>
                    <a:pt x="330" y="18"/>
                  </a:lnTo>
                  <a:lnTo>
                    <a:pt x="330" y="12"/>
                  </a:lnTo>
                  <a:lnTo>
                    <a:pt x="336" y="6"/>
                  </a:lnTo>
                  <a:lnTo>
                    <a:pt x="366" y="0"/>
                  </a:lnTo>
                  <a:lnTo>
                    <a:pt x="372" y="6"/>
                  </a:lnTo>
                  <a:lnTo>
                    <a:pt x="384" y="12"/>
                  </a:lnTo>
                  <a:lnTo>
                    <a:pt x="402" y="12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18"/>
                  </a:lnTo>
                  <a:lnTo>
                    <a:pt x="420" y="18"/>
                  </a:lnTo>
                  <a:lnTo>
                    <a:pt x="426" y="24"/>
                  </a:lnTo>
                  <a:lnTo>
                    <a:pt x="432" y="30"/>
                  </a:lnTo>
                  <a:lnTo>
                    <a:pt x="438" y="36"/>
                  </a:lnTo>
                  <a:lnTo>
                    <a:pt x="444" y="42"/>
                  </a:lnTo>
                  <a:lnTo>
                    <a:pt x="450" y="42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16" y="78"/>
                  </a:lnTo>
                  <a:lnTo>
                    <a:pt x="522" y="102"/>
                  </a:lnTo>
                  <a:lnTo>
                    <a:pt x="522" y="108"/>
                  </a:lnTo>
                  <a:lnTo>
                    <a:pt x="528" y="126"/>
                  </a:lnTo>
                  <a:lnTo>
                    <a:pt x="534" y="126"/>
                  </a:lnTo>
                  <a:lnTo>
                    <a:pt x="540" y="120"/>
                  </a:lnTo>
                  <a:lnTo>
                    <a:pt x="546" y="126"/>
                  </a:lnTo>
                  <a:lnTo>
                    <a:pt x="552" y="126"/>
                  </a:lnTo>
                  <a:lnTo>
                    <a:pt x="558" y="132"/>
                  </a:lnTo>
                  <a:lnTo>
                    <a:pt x="564" y="138"/>
                  </a:lnTo>
                  <a:lnTo>
                    <a:pt x="570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594" y="168"/>
                  </a:lnTo>
                  <a:lnTo>
                    <a:pt x="600" y="174"/>
                  </a:lnTo>
                  <a:lnTo>
                    <a:pt x="606" y="180"/>
                  </a:lnTo>
                  <a:lnTo>
                    <a:pt x="606" y="186"/>
                  </a:lnTo>
                  <a:lnTo>
                    <a:pt x="612" y="192"/>
                  </a:lnTo>
                  <a:lnTo>
                    <a:pt x="612" y="198"/>
                  </a:lnTo>
                  <a:lnTo>
                    <a:pt x="624" y="204"/>
                  </a:lnTo>
                  <a:lnTo>
                    <a:pt x="624" y="210"/>
                  </a:lnTo>
                  <a:lnTo>
                    <a:pt x="630" y="216"/>
                  </a:lnTo>
                  <a:lnTo>
                    <a:pt x="636" y="222"/>
                  </a:lnTo>
                  <a:lnTo>
                    <a:pt x="636" y="228"/>
                  </a:lnTo>
                  <a:lnTo>
                    <a:pt x="636" y="234"/>
                  </a:lnTo>
                  <a:lnTo>
                    <a:pt x="636" y="252"/>
                  </a:lnTo>
                  <a:lnTo>
                    <a:pt x="636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42" y="276"/>
                  </a:lnTo>
                  <a:lnTo>
                    <a:pt x="642" y="282"/>
                  </a:lnTo>
                  <a:lnTo>
                    <a:pt x="642" y="288"/>
                  </a:lnTo>
                  <a:lnTo>
                    <a:pt x="642" y="300"/>
                  </a:lnTo>
                  <a:lnTo>
                    <a:pt x="642" y="306"/>
                  </a:lnTo>
                  <a:lnTo>
                    <a:pt x="636" y="312"/>
                  </a:lnTo>
                  <a:lnTo>
                    <a:pt x="636" y="324"/>
                  </a:lnTo>
                  <a:lnTo>
                    <a:pt x="636" y="342"/>
                  </a:lnTo>
                  <a:lnTo>
                    <a:pt x="630" y="354"/>
                  </a:lnTo>
                  <a:lnTo>
                    <a:pt x="630" y="366"/>
                  </a:lnTo>
                  <a:lnTo>
                    <a:pt x="624" y="378"/>
                  </a:lnTo>
                  <a:lnTo>
                    <a:pt x="624" y="384"/>
                  </a:lnTo>
                  <a:lnTo>
                    <a:pt x="636" y="396"/>
                  </a:lnTo>
                  <a:lnTo>
                    <a:pt x="636" y="402"/>
                  </a:lnTo>
                  <a:lnTo>
                    <a:pt x="636" y="408"/>
                  </a:lnTo>
                  <a:lnTo>
                    <a:pt x="630" y="414"/>
                  </a:lnTo>
                  <a:lnTo>
                    <a:pt x="630" y="420"/>
                  </a:lnTo>
                  <a:lnTo>
                    <a:pt x="630" y="426"/>
                  </a:lnTo>
                  <a:lnTo>
                    <a:pt x="630" y="432"/>
                  </a:lnTo>
                  <a:lnTo>
                    <a:pt x="624" y="438"/>
                  </a:lnTo>
                  <a:lnTo>
                    <a:pt x="624" y="444"/>
                  </a:lnTo>
                  <a:lnTo>
                    <a:pt x="624" y="450"/>
                  </a:lnTo>
                  <a:lnTo>
                    <a:pt x="630" y="450"/>
                  </a:lnTo>
                  <a:lnTo>
                    <a:pt x="630" y="456"/>
                  </a:lnTo>
                  <a:lnTo>
                    <a:pt x="630" y="462"/>
                  </a:lnTo>
                  <a:lnTo>
                    <a:pt x="636" y="468"/>
                  </a:lnTo>
                  <a:lnTo>
                    <a:pt x="642" y="456"/>
                  </a:lnTo>
                  <a:lnTo>
                    <a:pt x="642" y="450"/>
                  </a:lnTo>
                  <a:lnTo>
                    <a:pt x="648" y="450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60" y="444"/>
                  </a:lnTo>
                  <a:lnTo>
                    <a:pt x="666" y="450"/>
                  </a:lnTo>
                  <a:lnTo>
                    <a:pt x="672" y="444"/>
                  </a:lnTo>
                  <a:lnTo>
                    <a:pt x="678" y="444"/>
                  </a:lnTo>
                  <a:lnTo>
                    <a:pt x="684" y="438"/>
                  </a:lnTo>
                  <a:lnTo>
                    <a:pt x="690" y="438"/>
                  </a:lnTo>
                  <a:lnTo>
                    <a:pt x="696" y="438"/>
                  </a:lnTo>
                  <a:lnTo>
                    <a:pt x="702" y="444"/>
                  </a:lnTo>
                  <a:lnTo>
                    <a:pt x="702" y="450"/>
                  </a:lnTo>
                  <a:lnTo>
                    <a:pt x="708" y="450"/>
                  </a:lnTo>
                  <a:lnTo>
                    <a:pt x="708" y="456"/>
                  </a:lnTo>
                  <a:lnTo>
                    <a:pt x="708" y="462"/>
                  </a:lnTo>
                  <a:lnTo>
                    <a:pt x="708" y="468"/>
                  </a:lnTo>
                  <a:lnTo>
                    <a:pt x="708" y="504"/>
                  </a:lnTo>
                  <a:lnTo>
                    <a:pt x="696" y="564"/>
                  </a:lnTo>
                  <a:lnTo>
                    <a:pt x="696" y="582"/>
                  </a:lnTo>
                  <a:lnTo>
                    <a:pt x="696" y="600"/>
                  </a:lnTo>
                  <a:lnTo>
                    <a:pt x="690" y="606"/>
                  </a:lnTo>
                  <a:lnTo>
                    <a:pt x="684" y="606"/>
                  </a:lnTo>
                  <a:lnTo>
                    <a:pt x="690" y="612"/>
                  </a:lnTo>
                  <a:lnTo>
                    <a:pt x="684" y="612"/>
                  </a:lnTo>
                  <a:lnTo>
                    <a:pt x="678" y="618"/>
                  </a:lnTo>
                  <a:lnTo>
                    <a:pt x="672" y="624"/>
                  </a:lnTo>
                  <a:lnTo>
                    <a:pt x="666" y="630"/>
                  </a:lnTo>
                  <a:lnTo>
                    <a:pt x="660" y="636"/>
                  </a:lnTo>
                  <a:lnTo>
                    <a:pt x="672" y="636"/>
                  </a:lnTo>
                  <a:lnTo>
                    <a:pt x="678" y="642"/>
                  </a:lnTo>
                  <a:lnTo>
                    <a:pt x="678" y="648"/>
                  </a:lnTo>
                  <a:lnTo>
                    <a:pt x="684" y="654"/>
                  </a:lnTo>
                  <a:lnTo>
                    <a:pt x="690" y="666"/>
                  </a:lnTo>
                  <a:lnTo>
                    <a:pt x="690" y="672"/>
                  </a:lnTo>
                  <a:lnTo>
                    <a:pt x="696" y="672"/>
                  </a:lnTo>
                  <a:lnTo>
                    <a:pt x="696" y="684"/>
                  </a:lnTo>
                  <a:lnTo>
                    <a:pt x="708" y="690"/>
                  </a:lnTo>
                  <a:lnTo>
                    <a:pt x="720" y="696"/>
                  </a:lnTo>
                  <a:lnTo>
                    <a:pt x="726" y="696"/>
                  </a:lnTo>
                  <a:lnTo>
                    <a:pt x="732" y="696"/>
                  </a:lnTo>
                  <a:lnTo>
                    <a:pt x="738" y="696"/>
                  </a:lnTo>
                  <a:lnTo>
                    <a:pt x="738" y="702"/>
                  </a:lnTo>
                  <a:lnTo>
                    <a:pt x="738" y="708"/>
                  </a:lnTo>
                  <a:lnTo>
                    <a:pt x="738" y="714"/>
                  </a:lnTo>
                  <a:lnTo>
                    <a:pt x="744" y="714"/>
                  </a:lnTo>
                  <a:lnTo>
                    <a:pt x="756" y="720"/>
                  </a:lnTo>
                  <a:lnTo>
                    <a:pt x="780" y="726"/>
                  </a:lnTo>
                  <a:lnTo>
                    <a:pt x="792" y="732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22" y="774"/>
                  </a:lnTo>
                  <a:lnTo>
                    <a:pt x="834" y="786"/>
                  </a:lnTo>
                  <a:lnTo>
                    <a:pt x="834" y="792"/>
                  </a:lnTo>
                  <a:lnTo>
                    <a:pt x="834" y="798"/>
                  </a:lnTo>
                  <a:lnTo>
                    <a:pt x="828" y="798"/>
                  </a:lnTo>
                  <a:lnTo>
                    <a:pt x="828" y="804"/>
                  </a:lnTo>
                  <a:lnTo>
                    <a:pt x="834" y="816"/>
                  </a:lnTo>
                  <a:lnTo>
                    <a:pt x="834" y="834"/>
                  </a:lnTo>
                  <a:lnTo>
                    <a:pt x="834" y="840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34" y="858"/>
                  </a:lnTo>
                  <a:lnTo>
                    <a:pt x="834" y="864"/>
                  </a:lnTo>
                  <a:lnTo>
                    <a:pt x="834" y="876"/>
                  </a:lnTo>
                  <a:lnTo>
                    <a:pt x="828" y="960"/>
                  </a:lnTo>
                  <a:lnTo>
                    <a:pt x="816" y="966"/>
                  </a:lnTo>
                  <a:lnTo>
                    <a:pt x="798" y="972"/>
                  </a:lnTo>
                  <a:lnTo>
                    <a:pt x="786" y="990"/>
                  </a:lnTo>
                  <a:lnTo>
                    <a:pt x="774" y="990"/>
                  </a:lnTo>
                  <a:lnTo>
                    <a:pt x="762" y="1008"/>
                  </a:lnTo>
                  <a:lnTo>
                    <a:pt x="732" y="1014"/>
                  </a:lnTo>
                  <a:lnTo>
                    <a:pt x="714" y="1026"/>
                  </a:lnTo>
                  <a:lnTo>
                    <a:pt x="690" y="1050"/>
                  </a:lnTo>
                  <a:lnTo>
                    <a:pt x="654" y="1056"/>
                  </a:lnTo>
                  <a:lnTo>
                    <a:pt x="630" y="1056"/>
                  </a:lnTo>
                  <a:lnTo>
                    <a:pt x="606" y="1068"/>
                  </a:lnTo>
                  <a:lnTo>
                    <a:pt x="600" y="1092"/>
                  </a:lnTo>
                  <a:lnTo>
                    <a:pt x="600" y="1098"/>
                  </a:lnTo>
                  <a:lnTo>
                    <a:pt x="588" y="1104"/>
                  </a:lnTo>
                  <a:lnTo>
                    <a:pt x="582" y="1104"/>
                  </a:lnTo>
                  <a:lnTo>
                    <a:pt x="570" y="1110"/>
                  </a:lnTo>
                  <a:lnTo>
                    <a:pt x="564" y="111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7" name="Freeform 12">
              <a:extLst>
                <a:ext uri="{FF2B5EF4-FFF2-40B4-BE49-F238E27FC236}">
                  <a16:creationId xmlns:a16="http://schemas.microsoft.com/office/drawing/2014/main" id="{6C93C114-E5D0-49BB-A44C-A127CE01CFE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810" y="2271838"/>
              <a:ext cx="923547" cy="845397"/>
            </a:xfrm>
            <a:custGeom>
              <a:avLst/>
              <a:gdLst>
                <a:gd name="T0" fmla="*/ 138 w 1740"/>
                <a:gd name="T1" fmla="*/ 134 h 1590"/>
                <a:gd name="T2" fmla="*/ 128 w 1740"/>
                <a:gd name="T3" fmla="*/ 131 h 1590"/>
                <a:gd name="T4" fmla="*/ 121 w 1740"/>
                <a:gd name="T5" fmla="*/ 130 h 1590"/>
                <a:gd name="T6" fmla="*/ 119 w 1740"/>
                <a:gd name="T7" fmla="*/ 134 h 1590"/>
                <a:gd name="T8" fmla="*/ 110 w 1740"/>
                <a:gd name="T9" fmla="*/ 132 h 1590"/>
                <a:gd name="T10" fmla="*/ 111 w 1740"/>
                <a:gd name="T11" fmla="*/ 127 h 1590"/>
                <a:gd name="T12" fmla="*/ 103 w 1740"/>
                <a:gd name="T13" fmla="*/ 117 h 1590"/>
                <a:gd name="T14" fmla="*/ 93 w 1740"/>
                <a:gd name="T15" fmla="*/ 123 h 1590"/>
                <a:gd name="T16" fmla="*/ 80 w 1740"/>
                <a:gd name="T17" fmla="*/ 118 h 1590"/>
                <a:gd name="T18" fmla="*/ 66 w 1740"/>
                <a:gd name="T19" fmla="*/ 117 h 1590"/>
                <a:gd name="T20" fmla="*/ 66 w 1740"/>
                <a:gd name="T21" fmla="*/ 110 h 1590"/>
                <a:gd name="T22" fmla="*/ 69 w 1740"/>
                <a:gd name="T23" fmla="*/ 107 h 1590"/>
                <a:gd name="T24" fmla="*/ 68 w 1740"/>
                <a:gd name="T25" fmla="*/ 102 h 1590"/>
                <a:gd name="T26" fmla="*/ 68 w 1740"/>
                <a:gd name="T27" fmla="*/ 96 h 1590"/>
                <a:gd name="T28" fmla="*/ 67 w 1740"/>
                <a:gd name="T29" fmla="*/ 82 h 1590"/>
                <a:gd name="T30" fmla="*/ 58 w 1740"/>
                <a:gd name="T31" fmla="*/ 82 h 1590"/>
                <a:gd name="T32" fmla="*/ 52 w 1740"/>
                <a:gd name="T33" fmla="*/ 82 h 1590"/>
                <a:gd name="T34" fmla="*/ 46 w 1740"/>
                <a:gd name="T35" fmla="*/ 80 h 1590"/>
                <a:gd name="T36" fmla="*/ 45 w 1740"/>
                <a:gd name="T37" fmla="*/ 74 h 1590"/>
                <a:gd name="T38" fmla="*/ 52 w 1740"/>
                <a:gd name="T39" fmla="*/ 70 h 1590"/>
                <a:gd name="T40" fmla="*/ 52 w 1740"/>
                <a:gd name="T41" fmla="*/ 64 h 1590"/>
                <a:gd name="T42" fmla="*/ 42 w 1740"/>
                <a:gd name="T43" fmla="*/ 53 h 1590"/>
                <a:gd name="T44" fmla="*/ 35 w 1740"/>
                <a:gd name="T45" fmla="*/ 52 h 1590"/>
                <a:gd name="T46" fmla="*/ 20 w 1740"/>
                <a:gd name="T47" fmla="*/ 51 h 1590"/>
                <a:gd name="T48" fmla="*/ 17 w 1740"/>
                <a:gd name="T49" fmla="*/ 56 h 1590"/>
                <a:gd name="T50" fmla="*/ 11 w 1740"/>
                <a:gd name="T51" fmla="*/ 61 h 1590"/>
                <a:gd name="T52" fmla="*/ 7 w 1740"/>
                <a:gd name="T53" fmla="*/ 63 h 1590"/>
                <a:gd name="T54" fmla="*/ 0 w 1740"/>
                <a:gd name="T55" fmla="*/ 55 h 1590"/>
                <a:gd name="T56" fmla="*/ 2 w 1740"/>
                <a:gd name="T57" fmla="*/ 50 h 1590"/>
                <a:gd name="T58" fmla="*/ 0 w 1740"/>
                <a:gd name="T59" fmla="*/ 44 h 1590"/>
                <a:gd name="T60" fmla="*/ 2 w 1740"/>
                <a:gd name="T61" fmla="*/ 38 h 1590"/>
                <a:gd name="T62" fmla="*/ 7 w 1740"/>
                <a:gd name="T63" fmla="*/ 35 h 1590"/>
                <a:gd name="T64" fmla="*/ 11 w 1740"/>
                <a:gd name="T65" fmla="*/ 30 h 1590"/>
                <a:gd name="T66" fmla="*/ 21 w 1740"/>
                <a:gd name="T67" fmla="*/ 26 h 1590"/>
                <a:gd name="T68" fmla="*/ 29 w 1740"/>
                <a:gd name="T69" fmla="*/ 25 h 1590"/>
                <a:gd name="T70" fmla="*/ 35 w 1740"/>
                <a:gd name="T71" fmla="*/ 21 h 1590"/>
                <a:gd name="T72" fmla="*/ 36 w 1740"/>
                <a:gd name="T73" fmla="*/ 16 h 1590"/>
                <a:gd name="T74" fmla="*/ 41 w 1740"/>
                <a:gd name="T75" fmla="*/ 11 h 1590"/>
                <a:gd name="T76" fmla="*/ 51 w 1740"/>
                <a:gd name="T77" fmla="*/ 9 h 1590"/>
                <a:gd name="T78" fmla="*/ 59 w 1740"/>
                <a:gd name="T79" fmla="*/ 21 h 1590"/>
                <a:gd name="T80" fmla="*/ 65 w 1740"/>
                <a:gd name="T81" fmla="*/ 13 h 1590"/>
                <a:gd name="T82" fmla="*/ 73 w 1740"/>
                <a:gd name="T83" fmla="*/ 8 h 1590"/>
                <a:gd name="T84" fmla="*/ 82 w 1740"/>
                <a:gd name="T85" fmla="*/ 12 h 1590"/>
                <a:gd name="T86" fmla="*/ 88 w 1740"/>
                <a:gd name="T87" fmla="*/ 12 h 1590"/>
                <a:gd name="T88" fmla="*/ 99 w 1740"/>
                <a:gd name="T89" fmla="*/ 7 h 1590"/>
                <a:gd name="T90" fmla="*/ 114 w 1740"/>
                <a:gd name="T91" fmla="*/ 0 h 1590"/>
                <a:gd name="T92" fmla="*/ 117 w 1740"/>
                <a:gd name="T93" fmla="*/ 10 h 1590"/>
                <a:gd name="T94" fmla="*/ 132 w 1740"/>
                <a:gd name="T95" fmla="*/ 17 h 1590"/>
                <a:gd name="T96" fmla="*/ 140 w 1740"/>
                <a:gd name="T97" fmla="*/ 25 h 1590"/>
                <a:gd name="T98" fmla="*/ 140 w 1740"/>
                <a:gd name="T99" fmla="*/ 33 h 1590"/>
                <a:gd name="T100" fmla="*/ 140 w 1740"/>
                <a:gd name="T101" fmla="*/ 44 h 1590"/>
                <a:gd name="T102" fmla="*/ 138 w 1740"/>
                <a:gd name="T103" fmla="*/ 48 h 1590"/>
                <a:gd name="T104" fmla="*/ 141 w 1740"/>
                <a:gd name="T105" fmla="*/ 49 h 1590"/>
                <a:gd name="T106" fmla="*/ 146 w 1740"/>
                <a:gd name="T107" fmla="*/ 50 h 1590"/>
                <a:gd name="T108" fmla="*/ 149 w 1740"/>
                <a:gd name="T109" fmla="*/ 59 h 1590"/>
                <a:gd name="T110" fmla="*/ 148 w 1740"/>
                <a:gd name="T111" fmla="*/ 67 h 1590"/>
                <a:gd name="T112" fmla="*/ 141 w 1740"/>
                <a:gd name="T113" fmla="*/ 78 h 1590"/>
                <a:gd name="T114" fmla="*/ 141 w 1740"/>
                <a:gd name="T115" fmla="*/ 91 h 1590"/>
                <a:gd name="T116" fmla="*/ 138 w 1740"/>
                <a:gd name="T117" fmla="*/ 102 h 1590"/>
                <a:gd name="T118" fmla="*/ 138 w 1740"/>
                <a:gd name="T119" fmla="*/ 110 h 1590"/>
                <a:gd name="T120" fmla="*/ 144 w 1740"/>
                <a:gd name="T121" fmla="*/ 118 h 1590"/>
                <a:gd name="T122" fmla="*/ 143 w 1740"/>
                <a:gd name="T123" fmla="*/ 125 h 159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740"/>
                <a:gd name="T187" fmla="*/ 0 h 1590"/>
                <a:gd name="T188" fmla="*/ 1740 w 1740"/>
                <a:gd name="T189" fmla="*/ 1590 h 159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740" h="1590">
                  <a:moveTo>
                    <a:pt x="1638" y="1458"/>
                  </a:moveTo>
                  <a:lnTo>
                    <a:pt x="1638" y="1482"/>
                  </a:lnTo>
                  <a:lnTo>
                    <a:pt x="1638" y="1500"/>
                  </a:lnTo>
                  <a:lnTo>
                    <a:pt x="1626" y="1500"/>
                  </a:lnTo>
                  <a:lnTo>
                    <a:pt x="1620" y="1500"/>
                  </a:lnTo>
                  <a:lnTo>
                    <a:pt x="1614" y="1500"/>
                  </a:lnTo>
                  <a:lnTo>
                    <a:pt x="1614" y="1506"/>
                  </a:lnTo>
                  <a:lnTo>
                    <a:pt x="1614" y="1512"/>
                  </a:lnTo>
                  <a:lnTo>
                    <a:pt x="1620" y="1518"/>
                  </a:lnTo>
                  <a:lnTo>
                    <a:pt x="1614" y="1524"/>
                  </a:lnTo>
                  <a:lnTo>
                    <a:pt x="1590" y="1536"/>
                  </a:lnTo>
                  <a:lnTo>
                    <a:pt x="1584" y="1566"/>
                  </a:lnTo>
                  <a:lnTo>
                    <a:pt x="1578" y="1590"/>
                  </a:lnTo>
                  <a:lnTo>
                    <a:pt x="1548" y="1590"/>
                  </a:lnTo>
                  <a:lnTo>
                    <a:pt x="1542" y="1584"/>
                  </a:lnTo>
                  <a:lnTo>
                    <a:pt x="1542" y="1572"/>
                  </a:lnTo>
                  <a:lnTo>
                    <a:pt x="1536" y="1566"/>
                  </a:lnTo>
                  <a:lnTo>
                    <a:pt x="1536" y="1554"/>
                  </a:lnTo>
                  <a:lnTo>
                    <a:pt x="1536" y="1548"/>
                  </a:lnTo>
                  <a:lnTo>
                    <a:pt x="1506" y="1530"/>
                  </a:lnTo>
                  <a:lnTo>
                    <a:pt x="1488" y="1506"/>
                  </a:lnTo>
                  <a:lnTo>
                    <a:pt x="1464" y="1500"/>
                  </a:lnTo>
                  <a:lnTo>
                    <a:pt x="1470" y="1494"/>
                  </a:lnTo>
                  <a:lnTo>
                    <a:pt x="1470" y="1488"/>
                  </a:lnTo>
                  <a:lnTo>
                    <a:pt x="1470" y="1482"/>
                  </a:lnTo>
                  <a:lnTo>
                    <a:pt x="1428" y="1464"/>
                  </a:lnTo>
                  <a:lnTo>
                    <a:pt x="1404" y="1470"/>
                  </a:lnTo>
                  <a:lnTo>
                    <a:pt x="1398" y="1470"/>
                  </a:lnTo>
                  <a:lnTo>
                    <a:pt x="1392" y="1476"/>
                  </a:lnTo>
                  <a:lnTo>
                    <a:pt x="1386" y="1476"/>
                  </a:lnTo>
                  <a:lnTo>
                    <a:pt x="1386" y="1482"/>
                  </a:lnTo>
                  <a:lnTo>
                    <a:pt x="1392" y="1482"/>
                  </a:lnTo>
                  <a:lnTo>
                    <a:pt x="1386" y="1488"/>
                  </a:lnTo>
                  <a:lnTo>
                    <a:pt x="1386" y="1494"/>
                  </a:lnTo>
                  <a:lnTo>
                    <a:pt x="1380" y="1494"/>
                  </a:lnTo>
                  <a:lnTo>
                    <a:pt x="1380" y="1500"/>
                  </a:lnTo>
                  <a:lnTo>
                    <a:pt x="1380" y="1512"/>
                  </a:lnTo>
                  <a:lnTo>
                    <a:pt x="1380" y="1518"/>
                  </a:lnTo>
                  <a:lnTo>
                    <a:pt x="1380" y="1524"/>
                  </a:lnTo>
                  <a:lnTo>
                    <a:pt x="1380" y="1530"/>
                  </a:lnTo>
                  <a:lnTo>
                    <a:pt x="1374" y="1536"/>
                  </a:lnTo>
                  <a:lnTo>
                    <a:pt x="1374" y="1542"/>
                  </a:lnTo>
                  <a:lnTo>
                    <a:pt x="1368" y="1542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44" y="1554"/>
                  </a:lnTo>
                  <a:lnTo>
                    <a:pt x="1332" y="1560"/>
                  </a:lnTo>
                  <a:lnTo>
                    <a:pt x="1302" y="1554"/>
                  </a:lnTo>
                  <a:lnTo>
                    <a:pt x="1290" y="1554"/>
                  </a:lnTo>
                  <a:lnTo>
                    <a:pt x="1278" y="1542"/>
                  </a:lnTo>
                  <a:lnTo>
                    <a:pt x="1272" y="1530"/>
                  </a:lnTo>
                  <a:lnTo>
                    <a:pt x="1272" y="1524"/>
                  </a:lnTo>
                  <a:lnTo>
                    <a:pt x="1272" y="1518"/>
                  </a:lnTo>
                  <a:lnTo>
                    <a:pt x="1266" y="1518"/>
                  </a:lnTo>
                  <a:lnTo>
                    <a:pt x="1266" y="1512"/>
                  </a:lnTo>
                  <a:lnTo>
                    <a:pt x="1266" y="1506"/>
                  </a:lnTo>
                  <a:lnTo>
                    <a:pt x="1272" y="1506"/>
                  </a:lnTo>
                  <a:lnTo>
                    <a:pt x="1272" y="1500"/>
                  </a:lnTo>
                  <a:lnTo>
                    <a:pt x="1278" y="1500"/>
                  </a:lnTo>
                  <a:lnTo>
                    <a:pt x="1278" y="1494"/>
                  </a:lnTo>
                  <a:lnTo>
                    <a:pt x="1278" y="1488"/>
                  </a:lnTo>
                  <a:lnTo>
                    <a:pt x="1284" y="1488"/>
                  </a:lnTo>
                  <a:lnTo>
                    <a:pt x="1284" y="1482"/>
                  </a:lnTo>
                  <a:lnTo>
                    <a:pt x="1290" y="1476"/>
                  </a:lnTo>
                  <a:lnTo>
                    <a:pt x="1284" y="1470"/>
                  </a:lnTo>
                  <a:lnTo>
                    <a:pt x="1278" y="1458"/>
                  </a:lnTo>
                  <a:lnTo>
                    <a:pt x="1278" y="1452"/>
                  </a:lnTo>
                  <a:lnTo>
                    <a:pt x="1260" y="1428"/>
                  </a:lnTo>
                  <a:lnTo>
                    <a:pt x="1254" y="1416"/>
                  </a:lnTo>
                  <a:lnTo>
                    <a:pt x="1254" y="1410"/>
                  </a:lnTo>
                  <a:lnTo>
                    <a:pt x="1248" y="1398"/>
                  </a:lnTo>
                  <a:lnTo>
                    <a:pt x="1242" y="1398"/>
                  </a:lnTo>
                  <a:lnTo>
                    <a:pt x="1236" y="1398"/>
                  </a:lnTo>
                  <a:lnTo>
                    <a:pt x="1218" y="1386"/>
                  </a:lnTo>
                  <a:lnTo>
                    <a:pt x="1212" y="1362"/>
                  </a:lnTo>
                  <a:lnTo>
                    <a:pt x="1200" y="1344"/>
                  </a:lnTo>
                  <a:lnTo>
                    <a:pt x="1188" y="1338"/>
                  </a:lnTo>
                  <a:lnTo>
                    <a:pt x="1164" y="1338"/>
                  </a:lnTo>
                  <a:lnTo>
                    <a:pt x="1158" y="1344"/>
                  </a:lnTo>
                  <a:lnTo>
                    <a:pt x="1152" y="1350"/>
                  </a:lnTo>
                  <a:lnTo>
                    <a:pt x="1152" y="1356"/>
                  </a:lnTo>
                  <a:lnTo>
                    <a:pt x="1140" y="1362"/>
                  </a:lnTo>
                  <a:lnTo>
                    <a:pt x="1134" y="1380"/>
                  </a:lnTo>
                  <a:lnTo>
                    <a:pt x="1116" y="1398"/>
                  </a:lnTo>
                  <a:lnTo>
                    <a:pt x="1110" y="1416"/>
                  </a:lnTo>
                  <a:lnTo>
                    <a:pt x="1086" y="1416"/>
                  </a:lnTo>
                  <a:lnTo>
                    <a:pt x="1080" y="1410"/>
                  </a:lnTo>
                  <a:lnTo>
                    <a:pt x="1074" y="1410"/>
                  </a:lnTo>
                  <a:lnTo>
                    <a:pt x="1074" y="1404"/>
                  </a:lnTo>
                  <a:lnTo>
                    <a:pt x="1062" y="1404"/>
                  </a:lnTo>
                  <a:lnTo>
                    <a:pt x="1062" y="1380"/>
                  </a:lnTo>
                  <a:lnTo>
                    <a:pt x="1038" y="1380"/>
                  </a:lnTo>
                  <a:lnTo>
                    <a:pt x="1026" y="1350"/>
                  </a:lnTo>
                  <a:lnTo>
                    <a:pt x="996" y="1326"/>
                  </a:lnTo>
                  <a:lnTo>
                    <a:pt x="966" y="1314"/>
                  </a:lnTo>
                  <a:lnTo>
                    <a:pt x="954" y="1320"/>
                  </a:lnTo>
                  <a:lnTo>
                    <a:pt x="942" y="1338"/>
                  </a:lnTo>
                  <a:lnTo>
                    <a:pt x="930" y="1338"/>
                  </a:lnTo>
                  <a:lnTo>
                    <a:pt x="924" y="1350"/>
                  </a:lnTo>
                  <a:lnTo>
                    <a:pt x="906" y="1356"/>
                  </a:lnTo>
                  <a:lnTo>
                    <a:pt x="846" y="1356"/>
                  </a:lnTo>
                  <a:lnTo>
                    <a:pt x="834" y="1368"/>
                  </a:lnTo>
                  <a:lnTo>
                    <a:pt x="810" y="1362"/>
                  </a:lnTo>
                  <a:lnTo>
                    <a:pt x="792" y="1362"/>
                  </a:lnTo>
                  <a:lnTo>
                    <a:pt x="780" y="1368"/>
                  </a:lnTo>
                  <a:lnTo>
                    <a:pt x="762" y="1368"/>
                  </a:lnTo>
                  <a:lnTo>
                    <a:pt x="762" y="1362"/>
                  </a:lnTo>
                  <a:lnTo>
                    <a:pt x="750" y="1362"/>
                  </a:lnTo>
                  <a:lnTo>
                    <a:pt x="750" y="1338"/>
                  </a:lnTo>
                  <a:lnTo>
                    <a:pt x="762" y="1338"/>
                  </a:lnTo>
                  <a:lnTo>
                    <a:pt x="762" y="1326"/>
                  </a:lnTo>
                  <a:lnTo>
                    <a:pt x="762" y="1314"/>
                  </a:lnTo>
                  <a:lnTo>
                    <a:pt x="732" y="1314"/>
                  </a:lnTo>
                  <a:lnTo>
                    <a:pt x="726" y="1308"/>
                  </a:lnTo>
                  <a:lnTo>
                    <a:pt x="732" y="1284"/>
                  </a:lnTo>
                  <a:lnTo>
                    <a:pt x="732" y="1278"/>
                  </a:lnTo>
                  <a:lnTo>
                    <a:pt x="738" y="1272"/>
                  </a:lnTo>
                  <a:lnTo>
                    <a:pt x="738" y="1266"/>
                  </a:lnTo>
                  <a:lnTo>
                    <a:pt x="744" y="1266"/>
                  </a:lnTo>
                  <a:lnTo>
                    <a:pt x="750" y="1272"/>
                  </a:lnTo>
                  <a:lnTo>
                    <a:pt x="756" y="1266"/>
                  </a:lnTo>
                  <a:lnTo>
                    <a:pt x="762" y="1266"/>
                  </a:lnTo>
                  <a:lnTo>
                    <a:pt x="768" y="1260"/>
                  </a:lnTo>
                  <a:lnTo>
                    <a:pt x="774" y="1260"/>
                  </a:lnTo>
                  <a:lnTo>
                    <a:pt x="780" y="1254"/>
                  </a:lnTo>
                  <a:lnTo>
                    <a:pt x="774" y="1254"/>
                  </a:lnTo>
                  <a:lnTo>
                    <a:pt x="768" y="1254"/>
                  </a:lnTo>
                  <a:lnTo>
                    <a:pt x="774" y="1248"/>
                  </a:lnTo>
                  <a:lnTo>
                    <a:pt x="774" y="1242"/>
                  </a:lnTo>
                  <a:lnTo>
                    <a:pt x="780" y="1236"/>
                  </a:lnTo>
                  <a:lnTo>
                    <a:pt x="786" y="1236"/>
                  </a:lnTo>
                  <a:lnTo>
                    <a:pt x="792" y="1230"/>
                  </a:lnTo>
                  <a:lnTo>
                    <a:pt x="792" y="1236"/>
                  </a:lnTo>
                  <a:lnTo>
                    <a:pt x="798" y="1236"/>
                  </a:lnTo>
                  <a:lnTo>
                    <a:pt x="798" y="1230"/>
                  </a:lnTo>
                  <a:lnTo>
                    <a:pt x="804" y="1230"/>
                  </a:lnTo>
                  <a:lnTo>
                    <a:pt x="804" y="1218"/>
                  </a:lnTo>
                  <a:lnTo>
                    <a:pt x="804" y="1206"/>
                  </a:lnTo>
                  <a:lnTo>
                    <a:pt x="792" y="1188"/>
                  </a:lnTo>
                  <a:lnTo>
                    <a:pt x="768" y="1182"/>
                  </a:lnTo>
                  <a:lnTo>
                    <a:pt x="768" y="1170"/>
                  </a:lnTo>
                  <a:lnTo>
                    <a:pt x="774" y="1170"/>
                  </a:lnTo>
                  <a:lnTo>
                    <a:pt x="780" y="1170"/>
                  </a:lnTo>
                  <a:lnTo>
                    <a:pt x="786" y="1170"/>
                  </a:lnTo>
                  <a:lnTo>
                    <a:pt x="780" y="1152"/>
                  </a:lnTo>
                  <a:lnTo>
                    <a:pt x="780" y="1146"/>
                  </a:lnTo>
                  <a:lnTo>
                    <a:pt x="744" y="1140"/>
                  </a:lnTo>
                  <a:lnTo>
                    <a:pt x="732" y="1128"/>
                  </a:lnTo>
                  <a:lnTo>
                    <a:pt x="720" y="1122"/>
                  </a:lnTo>
                  <a:lnTo>
                    <a:pt x="732" y="1116"/>
                  </a:lnTo>
                  <a:lnTo>
                    <a:pt x="750" y="1104"/>
                  </a:lnTo>
                  <a:lnTo>
                    <a:pt x="756" y="1116"/>
                  </a:lnTo>
                  <a:lnTo>
                    <a:pt x="774" y="1116"/>
                  </a:lnTo>
                  <a:lnTo>
                    <a:pt x="780" y="1104"/>
                  </a:lnTo>
                  <a:lnTo>
                    <a:pt x="780" y="1080"/>
                  </a:lnTo>
                  <a:lnTo>
                    <a:pt x="786" y="1080"/>
                  </a:lnTo>
                  <a:lnTo>
                    <a:pt x="786" y="1074"/>
                  </a:lnTo>
                  <a:lnTo>
                    <a:pt x="792" y="1074"/>
                  </a:lnTo>
                  <a:lnTo>
                    <a:pt x="786" y="1068"/>
                  </a:lnTo>
                  <a:lnTo>
                    <a:pt x="786" y="1062"/>
                  </a:lnTo>
                  <a:lnTo>
                    <a:pt x="786" y="1056"/>
                  </a:lnTo>
                  <a:lnTo>
                    <a:pt x="792" y="1050"/>
                  </a:lnTo>
                  <a:lnTo>
                    <a:pt x="786" y="1020"/>
                  </a:lnTo>
                  <a:lnTo>
                    <a:pt x="780" y="960"/>
                  </a:lnTo>
                  <a:lnTo>
                    <a:pt x="768" y="942"/>
                  </a:lnTo>
                  <a:lnTo>
                    <a:pt x="732" y="936"/>
                  </a:lnTo>
                  <a:lnTo>
                    <a:pt x="732" y="942"/>
                  </a:lnTo>
                  <a:lnTo>
                    <a:pt x="726" y="942"/>
                  </a:lnTo>
                  <a:lnTo>
                    <a:pt x="720" y="936"/>
                  </a:lnTo>
                  <a:lnTo>
                    <a:pt x="714" y="942"/>
                  </a:lnTo>
                  <a:lnTo>
                    <a:pt x="708" y="942"/>
                  </a:lnTo>
                  <a:lnTo>
                    <a:pt x="702" y="942"/>
                  </a:lnTo>
                  <a:lnTo>
                    <a:pt x="690" y="936"/>
                  </a:lnTo>
                  <a:lnTo>
                    <a:pt x="684" y="936"/>
                  </a:lnTo>
                  <a:lnTo>
                    <a:pt x="678" y="936"/>
                  </a:lnTo>
                  <a:lnTo>
                    <a:pt x="672" y="936"/>
                  </a:lnTo>
                  <a:lnTo>
                    <a:pt x="666" y="942"/>
                  </a:lnTo>
                  <a:lnTo>
                    <a:pt x="660" y="942"/>
                  </a:lnTo>
                  <a:lnTo>
                    <a:pt x="654" y="942"/>
                  </a:lnTo>
                  <a:lnTo>
                    <a:pt x="648" y="942"/>
                  </a:lnTo>
                  <a:lnTo>
                    <a:pt x="642" y="936"/>
                  </a:lnTo>
                  <a:lnTo>
                    <a:pt x="636" y="936"/>
                  </a:lnTo>
                  <a:lnTo>
                    <a:pt x="630" y="930"/>
                  </a:lnTo>
                  <a:lnTo>
                    <a:pt x="618" y="930"/>
                  </a:lnTo>
                  <a:lnTo>
                    <a:pt x="612" y="930"/>
                  </a:lnTo>
                  <a:lnTo>
                    <a:pt x="606" y="936"/>
                  </a:lnTo>
                  <a:lnTo>
                    <a:pt x="600" y="942"/>
                  </a:lnTo>
                  <a:lnTo>
                    <a:pt x="600" y="936"/>
                  </a:lnTo>
                  <a:lnTo>
                    <a:pt x="594" y="930"/>
                  </a:lnTo>
                  <a:lnTo>
                    <a:pt x="588" y="930"/>
                  </a:lnTo>
                  <a:lnTo>
                    <a:pt x="582" y="930"/>
                  </a:lnTo>
                  <a:lnTo>
                    <a:pt x="576" y="930"/>
                  </a:lnTo>
                  <a:lnTo>
                    <a:pt x="564" y="936"/>
                  </a:lnTo>
                  <a:lnTo>
                    <a:pt x="558" y="936"/>
                  </a:lnTo>
                  <a:lnTo>
                    <a:pt x="546" y="924"/>
                  </a:lnTo>
                  <a:lnTo>
                    <a:pt x="540" y="924"/>
                  </a:lnTo>
                  <a:lnTo>
                    <a:pt x="534" y="918"/>
                  </a:lnTo>
                  <a:lnTo>
                    <a:pt x="528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6" y="918"/>
                  </a:lnTo>
                  <a:lnTo>
                    <a:pt x="516" y="912"/>
                  </a:lnTo>
                  <a:lnTo>
                    <a:pt x="510" y="894"/>
                  </a:lnTo>
                  <a:lnTo>
                    <a:pt x="510" y="882"/>
                  </a:lnTo>
                  <a:lnTo>
                    <a:pt x="510" y="876"/>
                  </a:lnTo>
                  <a:lnTo>
                    <a:pt x="516" y="870"/>
                  </a:lnTo>
                  <a:lnTo>
                    <a:pt x="510" y="864"/>
                  </a:lnTo>
                  <a:lnTo>
                    <a:pt x="516" y="858"/>
                  </a:lnTo>
                  <a:lnTo>
                    <a:pt x="522" y="858"/>
                  </a:lnTo>
                  <a:lnTo>
                    <a:pt x="528" y="858"/>
                  </a:lnTo>
                  <a:lnTo>
                    <a:pt x="522" y="852"/>
                  </a:lnTo>
                  <a:lnTo>
                    <a:pt x="528" y="852"/>
                  </a:lnTo>
                  <a:lnTo>
                    <a:pt x="528" y="846"/>
                  </a:lnTo>
                  <a:lnTo>
                    <a:pt x="552" y="846"/>
                  </a:lnTo>
                  <a:lnTo>
                    <a:pt x="558" y="840"/>
                  </a:lnTo>
                  <a:lnTo>
                    <a:pt x="564" y="828"/>
                  </a:lnTo>
                  <a:lnTo>
                    <a:pt x="570" y="816"/>
                  </a:lnTo>
                  <a:lnTo>
                    <a:pt x="582" y="810"/>
                  </a:lnTo>
                  <a:lnTo>
                    <a:pt x="588" y="804"/>
                  </a:lnTo>
                  <a:lnTo>
                    <a:pt x="594" y="804"/>
                  </a:lnTo>
                  <a:lnTo>
                    <a:pt x="594" y="792"/>
                  </a:lnTo>
                  <a:lnTo>
                    <a:pt x="600" y="786"/>
                  </a:lnTo>
                  <a:lnTo>
                    <a:pt x="606" y="780"/>
                  </a:lnTo>
                  <a:lnTo>
                    <a:pt x="612" y="774"/>
                  </a:lnTo>
                  <a:lnTo>
                    <a:pt x="618" y="774"/>
                  </a:lnTo>
                  <a:lnTo>
                    <a:pt x="618" y="768"/>
                  </a:lnTo>
                  <a:lnTo>
                    <a:pt x="618" y="762"/>
                  </a:lnTo>
                  <a:lnTo>
                    <a:pt x="624" y="756"/>
                  </a:lnTo>
                  <a:lnTo>
                    <a:pt x="618" y="750"/>
                  </a:lnTo>
                  <a:lnTo>
                    <a:pt x="618" y="744"/>
                  </a:lnTo>
                  <a:lnTo>
                    <a:pt x="600" y="738"/>
                  </a:lnTo>
                  <a:lnTo>
                    <a:pt x="558" y="744"/>
                  </a:lnTo>
                  <a:lnTo>
                    <a:pt x="552" y="732"/>
                  </a:lnTo>
                  <a:lnTo>
                    <a:pt x="546" y="720"/>
                  </a:lnTo>
                  <a:lnTo>
                    <a:pt x="564" y="702"/>
                  </a:lnTo>
                  <a:lnTo>
                    <a:pt x="570" y="684"/>
                  </a:lnTo>
                  <a:lnTo>
                    <a:pt x="564" y="648"/>
                  </a:lnTo>
                  <a:lnTo>
                    <a:pt x="534" y="624"/>
                  </a:lnTo>
                  <a:lnTo>
                    <a:pt x="504" y="612"/>
                  </a:lnTo>
                  <a:lnTo>
                    <a:pt x="498" y="606"/>
                  </a:lnTo>
                  <a:lnTo>
                    <a:pt x="492" y="600"/>
                  </a:lnTo>
                  <a:lnTo>
                    <a:pt x="486" y="606"/>
                  </a:lnTo>
                  <a:lnTo>
                    <a:pt x="480" y="558"/>
                  </a:lnTo>
                  <a:lnTo>
                    <a:pt x="462" y="546"/>
                  </a:lnTo>
                  <a:lnTo>
                    <a:pt x="408" y="540"/>
                  </a:lnTo>
                  <a:lnTo>
                    <a:pt x="408" y="546"/>
                  </a:lnTo>
                  <a:lnTo>
                    <a:pt x="408" y="558"/>
                  </a:lnTo>
                  <a:lnTo>
                    <a:pt x="408" y="564"/>
                  </a:lnTo>
                  <a:lnTo>
                    <a:pt x="408" y="570"/>
                  </a:lnTo>
                  <a:lnTo>
                    <a:pt x="414" y="582"/>
                  </a:lnTo>
                  <a:lnTo>
                    <a:pt x="408" y="594"/>
                  </a:lnTo>
                  <a:lnTo>
                    <a:pt x="414" y="594"/>
                  </a:lnTo>
                  <a:lnTo>
                    <a:pt x="408" y="600"/>
                  </a:lnTo>
                  <a:lnTo>
                    <a:pt x="348" y="600"/>
                  </a:lnTo>
                  <a:lnTo>
                    <a:pt x="324" y="600"/>
                  </a:lnTo>
                  <a:lnTo>
                    <a:pt x="324" y="612"/>
                  </a:lnTo>
                  <a:lnTo>
                    <a:pt x="306" y="618"/>
                  </a:lnTo>
                  <a:lnTo>
                    <a:pt x="312" y="618"/>
                  </a:lnTo>
                  <a:lnTo>
                    <a:pt x="294" y="588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76"/>
                  </a:lnTo>
                  <a:lnTo>
                    <a:pt x="240" y="582"/>
                  </a:lnTo>
                  <a:lnTo>
                    <a:pt x="234" y="582"/>
                  </a:lnTo>
                  <a:lnTo>
                    <a:pt x="228" y="588"/>
                  </a:lnTo>
                  <a:lnTo>
                    <a:pt x="222" y="588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8" y="600"/>
                  </a:lnTo>
                  <a:lnTo>
                    <a:pt x="192" y="612"/>
                  </a:lnTo>
                  <a:lnTo>
                    <a:pt x="192" y="618"/>
                  </a:lnTo>
                  <a:lnTo>
                    <a:pt x="198" y="624"/>
                  </a:lnTo>
                  <a:lnTo>
                    <a:pt x="192" y="624"/>
                  </a:lnTo>
                  <a:lnTo>
                    <a:pt x="192" y="630"/>
                  </a:lnTo>
                  <a:lnTo>
                    <a:pt x="192" y="642"/>
                  </a:lnTo>
                  <a:lnTo>
                    <a:pt x="180" y="648"/>
                  </a:lnTo>
                  <a:lnTo>
                    <a:pt x="174" y="654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6"/>
                  </a:lnTo>
                  <a:lnTo>
                    <a:pt x="156" y="672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90"/>
                  </a:lnTo>
                  <a:lnTo>
                    <a:pt x="132" y="690"/>
                  </a:lnTo>
                  <a:lnTo>
                    <a:pt x="126" y="702"/>
                  </a:lnTo>
                  <a:lnTo>
                    <a:pt x="132" y="708"/>
                  </a:lnTo>
                  <a:lnTo>
                    <a:pt x="126" y="708"/>
                  </a:lnTo>
                  <a:lnTo>
                    <a:pt x="120" y="708"/>
                  </a:lnTo>
                  <a:lnTo>
                    <a:pt x="114" y="708"/>
                  </a:lnTo>
                  <a:lnTo>
                    <a:pt x="108" y="708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78" y="720"/>
                  </a:lnTo>
                  <a:lnTo>
                    <a:pt x="72" y="720"/>
                  </a:lnTo>
                  <a:lnTo>
                    <a:pt x="66" y="720"/>
                  </a:lnTo>
                  <a:lnTo>
                    <a:pt x="54" y="732"/>
                  </a:lnTo>
                  <a:lnTo>
                    <a:pt x="48" y="702"/>
                  </a:lnTo>
                  <a:lnTo>
                    <a:pt x="36" y="666"/>
                  </a:lnTo>
                  <a:lnTo>
                    <a:pt x="0" y="660"/>
                  </a:lnTo>
                  <a:lnTo>
                    <a:pt x="6" y="660"/>
                  </a:lnTo>
                  <a:lnTo>
                    <a:pt x="6" y="654"/>
                  </a:lnTo>
                  <a:lnTo>
                    <a:pt x="6" y="648"/>
                  </a:lnTo>
                  <a:lnTo>
                    <a:pt x="6" y="642"/>
                  </a:lnTo>
                  <a:lnTo>
                    <a:pt x="6" y="624"/>
                  </a:lnTo>
                  <a:lnTo>
                    <a:pt x="6" y="612"/>
                  </a:lnTo>
                  <a:lnTo>
                    <a:pt x="6" y="606"/>
                  </a:lnTo>
                  <a:lnTo>
                    <a:pt x="12" y="612"/>
                  </a:lnTo>
                  <a:lnTo>
                    <a:pt x="18" y="606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30" y="594"/>
                  </a:lnTo>
                  <a:lnTo>
                    <a:pt x="30" y="588"/>
                  </a:lnTo>
                  <a:lnTo>
                    <a:pt x="30" y="582"/>
                  </a:lnTo>
                  <a:lnTo>
                    <a:pt x="24" y="576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18" y="558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36" y="528"/>
                  </a:lnTo>
                  <a:lnTo>
                    <a:pt x="30" y="522"/>
                  </a:lnTo>
                  <a:lnTo>
                    <a:pt x="24" y="522"/>
                  </a:lnTo>
                  <a:lnTo>
                    <a:pt x="18" y="510"/>
                  </a:lnTo>
                  <a:lnTo>
                    <a:pt x="12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8" y="474"/>
                  </a:lnTo>
                  <a:lnTo>
                    <a:pt x="12" y="468"/>
                  </a:lnTo>
                  <a:lnTo>
                    <a:pt x="12" y="462"/>
                  </a:lnTo>
                  <a:lnTo>
                    <a:pt x="18" y="456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0" y="420"/>
                  </a:lnTo>
                  <a:lnTo>
                    <a:pt x="30" y="414"/>
                  </a:lnTo>
                  <a:lnTo>
                    <a:pt x="48" y="414"/>
                  </a:lnTo>
                  <a:lnTo>
                    <a:pt x="54" y="408"/>
                  </a:lnTo>
                  <a:lnTo>
                    <a:pt x="60" y="402"/>
                  </a:lnTo>
                  <a:lnTo>
                    <a:pt x="66" y="402"/>
                  </a:lnTo>
                  <a:lnTo>
                    <a:pt x="72" y="402"/>
                  </a:lnTo>
                  <a:lnTo>
                    <a:pt x="78" y="408"/>
                  </a:lnTo>
                  <a:lnTo>
                    <a:pt x="84" y="396"/>
                  </a:lnTo>
                  <a:lnTo>
                    <a:pt x="90" y="390"/>
                  </a:lnTo>
                  <a:lnTo>
                    <a:pt x="90" y="378"/>
                  </a:lnTo>
                  <a:lnTo>
                    <a:pt x="96" y="372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8" y="354"/>
                  </a:lnTo>
                  <a:lnTo>
                    <a:pt x="114" y="348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32" y="336"/>
                  </a:lnTo>
                  <a:lnTo>
                    <a:pt x="132" y="330"/>
                  </a:lnTo>
                  <a:lnTo>
                    <a:pt x="138" y="324"/>
                  </a:lnTo>
                  <a:lnTo>
                    <a:pt x="138" y="318"/>
                  </a:lnTo>
                  <a:lnTo>
                    <a:pt x="144" y="306"/>
                  </a:lnTo>
                  <a:lnTo>
                    <a:pt x="156" y="306"/>
                  </a:lnTo>
                  <a:lnTo>
                    <a:pt x="186" y="300"/>
                  </a:lnTo>
                  <a:lnTo>
                    <a:pt x="198" y="300"/>
                  </a:lnTo>
                  <a:lnTo>
                    <a:pt x="210" y="300"/>
                  </a:lnTo>
                  <a:lnTo>
                    <a:pt x="222" y="300"/>
                  </a:lnTo>
                  <a:lnTo>
                    <a:pt x="246" y="300"/>
                  </a:lnTo>
                  <a:lnTo>
                    <a:pt x="264" y="312"/>
                  </a:lnTo>
                  <a:lnTo>
                    <a:pt x="270" y="312"/>
                  </a:lnTo>
                  <a:lnTo>
                    <a:pt x="282" y="306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300" y="306"/>
                  </a:lnTo>
                  <a:lnTo>
                    <a:pt x="312" y="306"/>
                  </a:lnTo>
                  <a:lnTo>
                    <a:pt x="318" y="300"/>
                  </a:lnTo>
                  <a:lnTo>
                    <a:pt x="324" y="300"/>
                  </a:lnTo>
                  <a:lnTo>
                    <a:pt x="330" y="294"/>
                  </a:lnTo>
                  <a:lnTo>
                    <a:pt x="336" y="288"/>
                  </a:lnTo>
                  <a:lnTo>
                    <a:pt x="354" y="288"/>
                  </a:lnTo>
                  <a:lnTo>
                    <a:pt x="360" y="288"/>
                  </a:lnTo>
                  <a:lnTo>
                    <a:pt x="366" y="282"/>
                  </a:lnTo>
                  <a:lnTo>
                    <a:pt x="372" y="282"/>
                  </a:lnTo>
                  <a:lnTo>
                    <a:pt x="378" y="282"/>
                  </a:lnTo>
                  <a:lnTo>
                    <a:pt x="384" y="276"/>
                  </a:lnTo>
                  <a:lnTo>
                    <a:pt x="384" y="270"/>
                  </a:lnTo>
                  <a:lnTo>
                    <a:pt x="390" y="264"/>
                  </a:lnTo>
                  <a:lnTo>
                    <a:pt x="402" y="258"/>
                  </a:lnTo>
                  <a:lnTo>
                    <a:pt x="402" y="252"/>
                  </a:lnTo>
                  <a:lnTo>
                    <a:pt x="402" y="246"/>
                  </a:lnTo>
                  <a:lnTo>
                    <a:pt x="408" y="234"/>
                  </a:lnTo>
                  <a:lnTo>
                    <a:pt x="414" y="234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14" y="216"/>
                  </a:lnTo>
                  <a:lnTo>
                    <a:pt x="414" y="210"/>
                  </a:lnTo>
                  <a:lnTo>
                    <a:pt x="420" y="210"/>
                  </a:lnTo>
                  <a:lnTo>
                    <a:pt x="414" y="198"/>
                  </a:lnTo>
                  <a:lnTo>
                    <a:pt x="414" y="192"/>
                  </a:lnTo>
                  <a:lnTo>
                    <a:pt x="420" y="192"/>
                  </a:lnTo>
                  <a:lnTo>
                    <a:pt x="420" y="186"/>
                  </a:lnTo>
                  <a:lnTo>
                    <a:pt x="420" y="174"/>
                  </a:lnTo>
                  <a:lnTo>
                    <a:pt x="420" y="168"/>
                  </a:lnTo>
                  <a:lnTo>
                    <a:pt x="426" y="162"/>
                  </a:lnTo>
                  <a:lnTo>
                    <a:pt x="432" y="156"/>
                  </a:lnTo>
                  <a:lnTo>
                    <a:pt x="438" y="144"/>
                  </a:lnTo>
                  <a:lnTo>
                    <a:pt x="444" y="144"/>
                  </a:lnTo>
                  <a:lnTo>
                    <a:pt x="450" y="138"/>
                  </a:lnTo>
                  <a:lnTo>
                    <a:pt x="456" y="138"/>
                  </a:lnTo>
                  <a:lnTo>
                    <a:pt x="462" y="132"/>
                  </a:lnTo>
                  <a:lnTo>
                    <a:pt x="462" y="126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0"/>
                  </a:lnTo>
                  <a:lnTo>
                    <a:pt x="486" y="108"/>
                  </a:lnTo>
                  <a:lnTo>
                    <a:pt x="492" y="108"/>
                  </a:lnTo>
                  <a:lnTo>
                    <a:pt x="498" y="102"/>
                  </a:lnTo>
                  <a:lnTo>
                    <a:pt x="504" y="96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40" y="102"/>
                  </a:lnTo>
                  <a:lnTo>
                    <a:pt x="552" y="108"/>
                  </a:lnTo>
                  <a:lnTo>
                    <a:pt x="582" y="102"/>
                  </a:lnTo>
                  <a:lnTo>
                    <a:pt x="594" y="126"/>
                  </a:lnTo>
                  <a:lnTo>
                    <a:pt x="594" y="144"/>
                  </a:lnTo>
                  <a:lnTo>
                    <a:pt x="588" y="156"/>
                  </a:lnTo>
                  <a:lnTo>
                    <a:pt x="588" y="168"/>
                  </a:lnTo>
                  <a:lnTo>
                    <a:pt x="582" y="180"/>
                  </a:lnTo>
                  <a:lnTo>
                    <a:pt x="570" y="192"/>
                  </a:lnTo>
                  <a:lnTo>
                    <a:pt x="594" y="192"/>
                  </a:lnTo>
                  <a:lnTo>
                    <a:pt x="618" y="198"/>
                  </a:lnTo>
                  <a:lnTo>
                    <a:pt x="642" y="210"/>
                  </a:lnTo>
                  <a:lnTo>
                    <a:pt x="660" y="234"/>
                  </a:lnTo>
                  <a:lnTo>
                    <a:pt x="678" y="246"/>
                  </a:lnTo>
                  <a:lnTo>
                    <a:pt x="684" y="252"/>
                  </a:lnTo>
                  <a:lnTo>
                    <a:pt x="702" y="252"/>
                  </a:lnTo>
                  <a:lnTo>
                    <a:pt x="732" y="234"/>
                  </a:lnTo>
                  <a:lnTo>
                    <a:pt x="732" y="222"/>
                  </a:lnTo>
                  <a:lnTo>
                    <a:pt x="720" y="216"/>
                  </a:lnTo>
                  <a:lnTo>
                    <a:pt x="714" y="198"/>
                  </a:lnTo>
                  <a:lnTo>
                    <a:pt x="714" y="174"/>
                  </a:lnTo>
                  <a:lnTo>
                    <a:pt x="720" y="162"/>
                  </a:lnTo>
                  <a:lnTo>
                    <a:pt x="726" y="162"/>
                  </a:lnTo>
                  <a:lnTo>
                    <a:pt x="732" y="156"/>
                  </a:lnTo>
                  <a:lnTo>
                    <a:pt x="744" y="150"/>
                  </a:lnTo>
                  <a:lnTo>
                    <a:pt x="774" y="162"/>
                  </a:lnTo>
                  <a:lnTo>
                    <a:pt x="786" y="162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16" y="150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2" y="132"/>
                  </a:lnTo>
                  <a:lnTo>
                    <a:pt x="822" y="114"/>
                  </a:lnTo>
                  <a:lnTo>
                    <a:pt x="828" y="108"/>
                  </a:lnTo>
                  <a:lnTo>
                    <a:pt x="834" y="96"/>
                  </a:lnTo>
                  <a:lnTo>
                    <a:pt x="846" y="96"/>
                  </a:lnTo>
                  <a:lnTo>
                    <a:pt x="858" y="90"/>
                  </a:lnTo>
                  <a:lnTo>
                    <a:pt x="870" y="84"/>
                  </a:lnTo>
                  <a:lnTo>
                    <a:pt x="888" y="84"/>
                  </a:lnTo>
                  <a:lnTo>
                    <a:pt x="894" y="90"/>
                  </a:lnTo>
                  <a:lnTo>
                    <a:pt x="894" y="102"/>
                  </a:lnTo>
                  <a:lnTo>
                    <a:pt x="900" y="102"/>
                  </a:lnTo>
                  <a:lnTo>
                    <a:pt x="906" y="114"/>
                  </a:lnTo>
                  <a:lnTo>
                    <a:pt x="930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54" y="138"/>
                  </a:lnTo>
                  <a:lnTo>
                    <a:pt x="966" y="144"/>
                  </a:lnTo>
                  <a:lnTo>
                    <a:pt x="966" y="150"/>
                  </a:lnTo>
                  <a:lnTo>
                    <a:pt x="972" y="150"/>
                  </a:lnTo>
                  <a:lnTo>
                    <a:pt x="978" y="150"/>
                  </a:lnTo>
                  <a:lnTo>
                    <a:pt x="978" y="144"/>
                  </a:lnTo>
                  <a:lnTo>
                    <a:pt x="984" y="144"/>
                  </a:lnTo>
                  <a:lnTo>
                    <a:pt x="990" y="138"/>
                  </a:lnTo>
                  <a:lnTo>
                    <a:pt x="996" y="138"/>
                  </a:lnTo>
                  <a:lnTo>
                    <a:pt x="1002" y="138"/>
                  </a:lnTo>
                  <a:lnTo>
                    <a:pt x="1008" y="138"/>
                  </a:lnTo>
                  <a:lnTo>
                    <a:pt x="1026" y="132"/>
                  </a:lnTo>
                  <a:lnTo>
                    <a:pt x="1044" y="126"/>
                  </a:lnTo>
                  <a:lnTo>
                    <a:pt x="1056" y="120"/>
                  </a:lnTo>
                  <a:lnTo>
                    <a:pt x="1062" y="108"/>
                  </a:lnTo>
                  <a:lnTo>
                    <a:pt x="1056" y="102"/>
                  </a:lnTo>
                  <a:lnTo>
                    <a:pt x="1062" y="96"/>
                  </a:lnTo>
                  <a:lnTo>
                    <a:pt x="1074" y="90"/>
                  </a:lnTo>
                  <a:lnTo>
                    <a:pt x="1080" y="84"/>
                  </a:lnTo>
                  <a:lnTo>
                    <a:pt x="1128" y="84"/>
                  </a:lnTo>
                  <a:lnTo>
                    <a:pt x="1134" y="84"/>
                  </a:lnTo>
                  <a:lnTo>
                    <a:pt x="1140" y="78"/>
                  </a:lnTo>
                  <a:lnTo>
                    <a:pt x="1152" y="72"/>
                  </a:lnTo>
                  <a:lnTo>
                    <a:pt x="1164" y="66"/>
                  </a:lnTo>
                  <a:lnTo>
                    <a:pt x="1170" y="60"/>
                  </a:lnTo>
                  <a:lnTo>
                    <a:pt x="1188" y="48"/>
                  </a:lnTo>
                  <a:lnTo>
                    <a:pt x="1200" y="36"/>
                  </a:lnTo>
                  <a:lnTo>
                    <a:pt x="1218" y="24"/>
                  </a:lnTo>
                  <a:lnTo>
                    <a:pt x="1248" y="24"/>
                  </a:lnTo>
                  <a:lnTo>
                    <a:pt x="1272" y="24"/>
                  </a:lnTo>
                  <a:lnTo>
                    <a:pt x="1284" y="12"/>
                  </a:lnTo>
                  <a:lnTo>
                    <a:pt x="1302" y="0"/>
                  </a:lnTo>
                  <a:lnTo>
                    <a:pt x="1314" y="0"/>
                  </a:lnTo>
                  <a:lnTo>
                    <a:pt x="1326" y="18"/>
                  </a:lnTo>
                  <a:lnTo>
                    <a:pt x="1338" y="30"/>
                  </a:lnTo>
                  <a:lnTo>
                    <a:pt x="1338" y="54"/>
                  </a:lnTo>
                  <a:lnTo>
                    <a:pt x="1332" y="72"/>
                  </a:lnTo>
                  <a:lnTo>
                    <a:pt x="1326" y="72"/>
                  </a:lnTo>
                  <a:lnTo>
                    <a:pt x="1326" y="78"/>
                  </a:lnTo>
                  <a:lnTo>
                    <a:pt x="1326" y="102"/>
                  </a:lnTo>
                  <a:lnTo>
                    <a:pt x="1332" y="102"/>
                  </a:lnTo>
                  <a:lnTo>
                    <a:pt x="1332" y="108"/>
                  </a:lnTo>
                  <a:lnTo>
                    <a:pt x="1344" y="114"/>
                  </a:lnTo>
                  <a:lnTo>
                    <a:pt x="1350" y="114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404" y="132"/>
                  </a:lnTo>
                  <a:lnTo>
                    <a:pt x="1404" y="138"/>
                  </a:lnTo>
                  <a:lnTo>
                    <a:pt x="1410" y="150"/>
                  </a:lnTo>
                  <a:lnTo>
                    <a:pt x="1416" y="162"/>
                  </a:lnTo>
                  <a:lnTo>
                    <a:pt x="1428" y="168"/>
                  </a:lnTo>
                  <a:lnTo>
                    <a:pt x="1440" y="180"/>
                  </a:lnTo>
                  <a:lnTo>
                    <a:pt x="1476" y="174"/>
                  </a:lnTo>
                  <a:lnTo>
                    <a:pt x="1494" y="174"/>
                  </a:lnTo>
                  <a:lnTo>
                    <a:pt x="1512" y="192"/>
                  </a:lnTo>
                  <a:lnTo>
                    <a:pt x="1518" y="204"/>
                  </a:lnTo>
                  <a:lnTo>
                    <a:pt x="1530" y="216"/>
                  </a:lnTo>
                  <a:lnTo>
                    <a:pt x="1548" y="228"/>
                  </a:lnTo>
                  <a:lnTo>
                    <a:pt x="1548" y="234"/>
                  </a:lnTo>
                  <a:lnTo>
                    <a:pt x="1542" y="246"/>
                  </a:lnTo>
                  <a:lnTo>
                    <a:pt x="1560" y="246"/>
                  </a:lnTo>
                  <a:lnTo>
                    <a:pt x="1560" y="252"/>
                  </a:lnTo>
                  <a:lnTo>
                    <a:pt x="1566" y="258"/>
                  </a:lnTo>
                  <a:lnTo>
                    <a:pt x="1578" y="270"/>
                  </a:lnTo>
                  <a:lnTo>
                    <a:pt x="1596" y="270"/>
                  </a:lnTo>
                  <a:lnTo>
                    <a:pt x="1602" y="288"/>
                  </a:lnTo>
                  <a:lnTo>
                    <a:pt x="1608" y="306"/>
                  </a:lnTo>
                  <a:lnTo>
                    <a:pt x="1608" y="318"/>
                  </a:lnTo>
                  <a:lnTo>
                    <a:pt x="1608" y="324"/>
                  </a:lnTo>
                  <a:lnTo>
                    <a:pt x="1614" y="330"/>
                  </a:lnTo>
                  <a:lnTo>
                    <a:pt x="1614" y="336"/>
                  </a:lnTo>
                  <a:lnTo>
                    <a:pt x="1614" y="342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08" y="390"/>
                  </a:lnTo>
                  <a:lnTo>
                    <a:pt x="1602" y="390"/>
                  </a:lnTo>
                  <a:lnTo>
                    <a:pt x="1602" y="396"/>
                  </a:lnTo>
                  <a:lnTo>
                    <a:pt x="1584" y="420"/>
                  </a:lnTo>
                  <a:lnTo>
                    <a:pt x="1584" y="426"/>
                  </a:lnTo>
                  <a:lnTo>
                    <a:pt x="1602" y="474"/>
                  </a:lnTo>
                  <a:lnTo>
                    <a:pt x="1608" y="480"/>
                  </a:lnTo>
                  <a:lnTo>
                    <a:pt x="1608" y="486"/>
                  </a:lnTo>
                  <a:lnTo>
                    <a:pt x="1614" y="486"/>
                  </a:lnTo>
                  <a:lnTo>
                    <a:pt x="1608" y="504"/>
                  </a:lnTo>
                  <a:lnTo>
                    <a:pt x="1572" y="504"/>
                  </a:lnTo>
                  <a:lnTo>
                    <a:pt x="1560" y="510"/>
                  </a:lnTo>
                  <a:lnTo>
                    <a:pt x="1554" y="522"/>
                  </a:lnTo>
                  <a:lnTo>
                    <a:pt x="1560" y="552"/>
                  </a:lnTo>
                  <a:lnTo>
                    <a:pt x="1566" y="552"/>
                  </a:lnTo>
                  <a:lnTo>
                    <a:pt x="1566" y="558"/>
                  </a:lnTo>
                  <a:lnTo>
                    <a:pt x="1572" y="558"/>
                  </a:lnTo>
                  <a:lnTo>
                    <a:pt x="1578" y="558"/>
                  </a:lnTo>
                  <a:lnTo>
                    <a:pt x="1578" y="552"/>
                  </a:lnTo>
                  <a:lnTo>
                    <a:pt x="1584" y="552"/>
                  </a:lnTo>
                  <a:lnTo>
                    <a:pt x="1590" y="552"/>
                  </a:lnTo>
                  <a:lnTo>
                    <a:pt x="1590" y="546"/>
                  </a:lnTo>
                  <a:lnTo>
                    <a:pt x="1596" y="546"/>
                  </a:lnTo>
                  <a:lnTo>
                    <a:pt x="1602" y="552"/>
                  </a:lnTo>
                  <a:lnTo>
                    <a:pt x="1602" y="546"/>
                  </a:lnTo>
                  <a:lnTo>
                    <a:pt x="1608" y="546"/>
                  </a:lnTo>
                  <a:lnTo>
                    <a:pt x="1608" y="552"/>
                  </a:lnTo>
                  <a:lnTo>
                    <a:pt x="1614" y="552"/>
                  </a:lnTo>
                  <a:lnTo>
                    <a:pt x="1614" y="546"/>
                  </a:lnTo>
                  <a:lnTo>
                    <a:pt x="1620" y="552"/>
                  </a:lnTo>
                  <a:lnTo>
                    <a:pt x="1626" y="552"/>
                  </a:lnTo>
                  <a:lnTo>
                    <a:pt x="1626" y="558"/>
                  </a:lnTo>
                  <a:lnTo>
                    <a:pt x="1632" y="558"/>
                  </a:lnTo>
                  <a:lnTo>
                    <a:pt x="1638" y="558"/>
                  </a:lnTo>
                  <a:lnTo>
                    <a:pt x="1644" y="558"/>
                  </a:lnTo>
                  <a:lnTo>
                    <a:pt x="1650" y="558"/>
                  </a:lnTo>
                  <a:lnTo>
                    <a:pt x="1650" y="564"/>
                  </a:lnTo>
                  <a:lnTo>
                    <a:pt x="1656" y="564"/>
                  </a:lnTo>
                  <a:lnTo>
                    <a:pt x="1662" y="564"/>
                  </a:lnTo>
                  <a:lnTo>
                    <a:pt x="1668" y="564"/>
                  </a:lnTo>
                  <a:lnTo>
                    <a:pt x="1668" y="570"/>
                  </a:lnTo>
                  <a:lnTo>
                    <a:pt x="1674" y="570"/>
                  </a:lnTo>
                  <a:lnTo>
                    <a:pt x="1680" y="570"/>
                  </a:lnTo>
                  <a:lnTo>
                    <a:pt x="1686" y="576"/>
                  </a:lnTo>
                  <a:lnTo>
                    <a:pt x="1686" y="582"/>
                  </a:lnTo>
                  <a:lnTo>
                    <a:pt x="1710" y="588"/>
                  </a:lnTo>
                  <a:lnTo>
                    <a:pt x="1710" y="594"/>
                  </a:lnTo>
                  <a:lnTo>
                    <a:pt x="1704" y="600"/>
                  </a:lnTo>
                  <a:lnTo>
                    <a:pt x="1710" y="624"/>
                  </a:lnTo>
                  <a:lnTo>
                    <a:pt x="1698" y="672"/>
                  </a:lnTo>
                  <a:lnTo>
                    <a:pt x="1704" y="678"/>
                  </a:lnTo>
                  <a:lnTo>
                    <a:pt x="1716" y="684"/>
                  </a:lnTo>
                  <a:lnTo>
                    <a:pt x="1716" y="678"/>
                  </a:lnTo>
                  <a:lnTo>
                    <a:pt x="1716" y="684"/>
                  </a:lnTo>
                  <a:lnTo>
                    <a:pt x="1728" y="684"/>
                  </a:lnTo>
                  <a:lnTo>
                    <a:pt x="1728" y="690"/>
                  </a:lnTo>
                  <a:lnTo>
                    <a:pt x="1734" y="696"/>
                  </a:lnTo>
                  <a:lnTo>
                    <a:pt x="1734" y="702"/>
                  </a:lnTo>
                  <a:lnTo>
                    <a:pt x="1740" y="708"/>
                  </a:lnTo>
                  <a:lnTo>
                    <a:pt x="1740" y="714"/>
                  </a:lnTo>
                  <a:lnTo>
                    <a:pt x="1710" y="714"/>
                  </a:lnTo>
                  <a:lnTo>
                    <a:pt x="1710" y="756"/>
                  </a:lnTo>
                  <a:lnTo>
                    <a:pt x="1704" y="762"/>
                  </a:lnTo>
                  <a:lnTo>
                    <a:pt x="1698" y="762"/>
                  </a:lnTo>
                  <a:lnTo>
                    <a:pt x="1698" y="768"/>
                  </a:lnTo>
                  <a:lnTo>
                    <a:pt x="1698" y="774"/>
                  </a:lnTo>
                  <a:lnTo>
                    <a:pt x="1692" y="780"/>
                  </a:lnTo>
                  <a:lnTo>
                    <a:pt x="1692" y="786"/>
                  </a:lnTo>
                  <a:lnTo>
                    <a:pt x="1686" y="786"/>
                  </a:lnTo>
                  <a:lnTo>
                    <a:pt x="1668" y="798"/>
                  </a:lnTo>
                  <a:lnTo>
                    <a:pt x="1662" y="810"/>
                  </a:lnTo>
                  <a:lnTo>
                    <a:pt x="1650" y="810"/>
                  </a:lnTo>
                  <a:lnTo>
                    <a:pt x="1644" y="816"/>
                  </a:lnTo>
                  <a:lnTo>
                    <a:pt x="1638" y="816"/>
                  </a:lnTo>
                  <a:lnTo>
                    <a:pt x="1626" y="852"/>
                  </a:lnTo>
                  <a:lnTo>
                    <a:pt x="1620" y="888"/>
                  </a:lnTo>
                  <a:lnTo>
                    <a:pt x="1626" y="888"/>
                  </a:lnTo>
                  <a:lnTo>
                    <a:pt x="1638" y="912"/>
                  </a:lnTo>
                  <a:lnTo>
                    <a:pt x="1644" y="918"/>
                  </a:lnTo>
                  <a:lnTo>
                    <a:pt x="1650" y="966"/>
                  </a:lnTo>
                  <a:lnTo>
                    <a:pt x="1626" y="972"/>
                  </a:lnTo>
                  <a:lnTo>
                    <a:pt x="1608" y="978"/>
                  </a:lnTo>
                  <a:lnTo>
                    <a:pt x="1614" y="984"/>
                  </a:lnTo>
                  <a:lnTo>
                    <a:pt x="1620" y="984"/>
                  </a:lnTo>
                  <a:lnTo>
                    <a:pt x="1620" y="1020"/>
                  </a:lnTo>
                  <a:lnTo>
                    <a:pt x="1614" y="1038"/>
                  </a:lnTo>
                  <a:lnTo>
                    <a:pt x="1620" y="1044"/>
                  </a:lnTo>
                  <a:lnTo>
                    <a:pt x="1626" y="1056"/>
                  </a:lnTo>
                  <a:lnTo>
                    <a:pt x="1626" y="1074"/>
                  </a:lnTo>
                  <a:lnTo>
                    <a:pt x="1620" y="1080"/>
                  </a:lnTo>
                  <a:lnTo>
                    <a:pt x="1620" y="1104"/>
                  </a:lnTo>
                  <a:lnTo>
                    <a:pt x="1620" y="1110"/>
                  </a:lnTo>
                  <a:lnTo>
                    <a:pt x="1614" y="1116"/>
                  </a:lnTo>
                  <a:lnTo>
                    <a:pt x="1608" y="1140"/>
                  </a:lnTo>
                  <a:lnTo>
                    <a:pt x="1602" y="1146"/>
                  </a:lnTo>
                  <a:lnTo>
                    <a:pt x="1602" y="1164"/>
                  </a:lnTo>
                  <a:lnTo>
                    <a:pt x="1596" y="1170"/>
                  </a:lnTo>
                  <a:lnTo>
                    <a:pt x="1590" y="1164"/>
                  </a:lnTo>
                  <a:lnTo>
                    <a:pt x="1584" y="1164"/>
                  </a:lnTo>
                  <a:lnTo>
                    <a:pt x="1578" y="1164"/>
                  </a:lnTo>
                  <a:lnTo>
                    <a:pt x="1578" y="1188"/>
                  </a:lnTo>
                  <a:lnTo>
                    <a:pt x="1584" y="1194"/>
                  </a:lnTo>
                  <a:lnTo>
                    <a:pt x="1590" y="1194"/>
                  </a:lnTo>
                  <a:lnTo>
                    <a:pt x="1590" y="1212"/>
                  </a:lnTo>
                  <a:lnTo>
                    <a:pt x="1584" y="1212"/>
                  </a:lnTo>
                  <a:lnTo>
                    <a:pt x="1584" y="1224"/>
                  </a:lnTo>
                  <a:lnTo>
                    <a:pt x="1578" y="1224"/>
                  </a:lnTo>
                  <a:lnTo>
                    <a:pt x="1578" y="1236"/>
                  </a:lnTo>
                  <a:lnTo>
                    <a:pt x="1584" y="1254"/>
                  </a:lnTo>
                  <a:lnTo>
                    <a:pt x="1584" y="1260"/>
                  </a:lnTo>
                  <a:lnTo>
                    <a:pt x="1590" y="1260"/>
                  </a:lnTo>
                  <a:lnTo>
                    <a:pt x="1590" y="1266"/>
                  </a:lnTo>
                  <a:lnTo>
                    <a:pt x="1596" y="1284"/>
                  </a:lnTo>
                  <a:lnTo>
                    <a:pt x="1602" y="1278"/>
                  </a:lnTo>
                  <a:lnTo>
                    <a:pt x="1608" y="1284"/>
                  </a:lnTo>
                  <a:lnTo>
                    <a:pt x="1632" y="1350"/>
                  </a:lnTo>
                  <a:lnTo>
                    <a:pt x="1638" y="1356"/>
                  </a:lnTo>
                  <a:lnTo>
                    <a:pt x="1644" y="1356"/>
                  </a:lnTo>
                  <a:lnTo>
                    <a:pt x="1650" y="1356"/>
                  </a:lnTo>
                  <a:lnTo>
                    <a:pt x="1656" y="1356"/>
                  </a:lnTo>
                  <a:lnTo>
                    <a:pt x="1662" y="1362"/>
                  </a:lnTo>
                  <a:lnTo>
                    <a:pt x="1668" y="1356"/>
                  </a:lnTo>
                  <a:lnTo>
                    <a:pt x="1668" y="1380"/>
                  </a:lnTo>
                  <a:lnTo>
                    <a:pt x="1662" y="1392"/>
                  </a:lnTo>
                  <a:lnTo>
                    <a:pt x="1656" y="1404"/>
                  </a:lnTo>
                  <a:lnTo>
                    <a:pt x="1656" y="1410"/>
                  </a:lnTo>
                  <a:lnTo>
                    <a:pt x="1656" y="1416"/>
                  </a:lnTo>
                  <a:lnTo>
                    <a:pt x="1650" y="1422"/>
                  </a:lnTo>
                  <a:lnTo>
                    <a:pt x="1650" y="1428"/>
                  </a:lnTo>
                  <a:lnTo>
                    <a:pt x="1644" y="1428"/>
                  </a:lnTo>
                  <a:lnTo>
                    <a:pt x="1644" y="1434"/>
                  </a:lnTo>
                  <a:lnTo>
                    <a:pt x="1638" y="1434"/>
                  </a:lnTo>
                  <a:lnTo>
                    <a:pt x="1638" y="1440"/>
                  </a:lnTo>
                  <a:lnTo>
                    <a:pt x="1632" y="1440"/>
                  </a:lnTo>
                  <a:lnTo>
                    <a:pt x="1638" y="145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8" name="Freeform 13">
              <a:extLst>
                <a:ext uri="{FF2B5EF4-FFF2-40B4-BE49-F238E27FC236}">
                  <a16:creationId xmlns:a16="http://schemas.microsoft.com/office/drawing/2014/main" id="{66308D9B-1739-4227-AAC3-BB866CD1F5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63374" y="2969626"/>
              <a:ext cx="330956" cy="357840"/>
            </a:xfrm>
            <a:custGeom>
              <a:avLst/>
              <a:gdLst>
                <a:gd name="T0" fmla="*/ 11 w 624"/>
                <a:gd name="T1" fmla="*/ 59 h 672"/>
                <a:gd name="T2" fmla="*/ 4 w 624"/>
                <a:gd name="T3" fmla="*/ 58 h 672"/>
                <a:gd name="T4" fmla="*/ 3 w 624"/>
                <a:gd name="T5" fmla="*/ 58 h 672"/>
                <a:gd name="T6" fmla="*/ 2 w 624"/>
                <a:gd name="T7" fmla="*/ 11 h 672"/>
                <a:gd name="T8" fmla="*/ 13 w 624"/>
                <a:gd name="T9" fmla="*/ 11 h 672"/>
                <a:gd name="T10" fmla="*/ 14 w 624"/>
                <a:gd name="T11" fmla="*/ 11 h 672"/>
                <a:gd name="T12" fmla="*/ 15 w 624"/>
                <a:gd name="T13" fmla="*/ 12 h 672"/>
                <a:gd name="T14" fmla="*/ 18 w 624"/>
                <a:gd name="T15" fmla="*/ 14 h 672"/>
                <a:gd name="T16" fmla="*/ 21 w 624"/>
                <a:gd name="T17" fmla="*/ 16 h 672"/>
                <a:gd name="T18" fmla="*/ 22 w 624"/>
                <a:gd name="T19" fmla="*/ 18 h 672"/>
                <a:gd name="T20" fmla="*/ 23 w 624"/>
                <a:gd name="T21" fmla="*/ 19 h 672"/>
                <a:gd name="T22" fmla="*/ 24 w 624"/>
                <a:gd name="T23" fmla="*/ 19 h 672"/>
                <a:gd name="T24" fmla="*/ 26 w 624"/>
                <a:gd name="T25" fmla="*/ 19 h 672"/>
                <a:gd name="T26" fmla="*/ 27 w 624"/>
                <a:gd name="T27" fmla="*/ 18 h 672"/>
                <a:gd name="T28" fmla="*/ 29 w 624"/>
                <a:gd name="T29" fmla="*/ 15 h 672"/>
                <a:gd name="T30" fmla="*/ 30 w 624"/>
                <a:gd name="T31" fmla="*/ 14 h 672"/>
                <a:gd name="T32" fmla="*/ 31 w 624"/>
                <a:gd name="T33" fmla="*/ 12 h 672"/>
                <a:gd name="T34" fmla="*/ 32 w 624"/>
                <a:gd name="T35" fmla="*/ 12 h 672"/>
                <a:gd name="T36" fmla="*/ 33 w 624"/>
                <a:gd name="T37" fmla="*/ 10 h 672"/>
                <a:gd name="T38" fmla="*/ 34 w 624"/>
                <a:gd name="T39" fmla="*/ 8 h 672"/>
                <a:gd name="T40" fmla="*/ 34 w 624"/>
                <a:gd name="T41" fmla="*/ 6 h 672"/>
                <a:gd name="T42" fmla="*/ 35 w 624"/>
                <a:gd name="T43" fmla="*/ 4 h 672"/>
                <a:gd name="T44" fmla="*/ 42 w 624"/>
                <a:gd name="T45" fmla="*/ 3 h 672"/>
                <a:gd name="T46" fmla="*/ 44 w 624"/>
                <a:gd name="T47" fmla="*/ 2 h 672"/>
                <a:gd name="T48" fmla="*/ 46 w 624"/>
                <a:gd name="T49" fmla="*/ 0 h 672"/>
                <a:gd name="T50" fmla="*/ 51 w 624"/>
                <a:gd name="T51" fmla="*/ 3 h 672"/>
                <a:gd name="T52" fmla="*/ 54 w 624"/>
                <a:gd name="T53" fmla="*/ 6 h 672"/>
                <a:gd name="T54" fmla="*/ 54 w 624"/>
                <a:gd name="T55" fmla="*/ 8 h 672"/>
                <a:gd name="T56" fmla="*/ 52 w 624"/>
                <a:gd name="T57" fmla="*/ 9 h 672"/>
                <a:gd name="T58" fmla="*/ 49 w 624"/>
                <a:gd name="T59" fmla="*/ 11 h 672"/>
                <a:gd name="T60" fmla="*/ 48 w 624"/>
                <a:gd name="T61" fmla="*/ 14 h 672"/>
                <a:gd name="T62" fmla="*/ 46 w 624"/>
                <a:gd name="T63" fmla="*/ 22 h 672"/>
                <a:gd name="T64" fmla="*/ 45 w 624"/>
                <a:gd name="T65" fmla="*/ 39 h 672"/>
                <a:gd name="T66" fmla="*/ 43 w 624"/>
                <a:gd name="T67" fmla="*/ 43 h 672"/>
                <a:gd name="T68" fmla="*/ 39 w 624"/>
                <a:gd name="T69" fmla="*/ 50 h 672"/>
                <a:gd name="T70" fmla="*/ 36 w 624"/>
                <a:gd name="T71" fmla="*/ 53 h 672"/>
                <a:gd name="T72" fmla="*/ 32 w 624"/>
                <a:gd name="T73" fmla="*/ 56 h 672"/>
                <a:gd name="T74" fmla="*/ 30 w 624"/>
                <a:gd name="T75" fmla="*/ 58 h 672"/>
                <a:gd name="T76" fmla="*/ 20 w 624"/>
                <a:gd name="T77" fmla="*/ 59 h 672"/>
                <a:gd name="T78" fmla="*/ 15 w 624"/>
                <a:gd name="T79" fmla="*/ 59 h 67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24"/>
                <a:gd name="T121" fmla="*/ 0 h 672"/>
                <a:gd name="T122" fmla="*/ 624 w 624"/>
                <a:gd name="T123" fmla="*/ 672 h 67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24" h="672">
                  <a:moveTo>
                    <a:pt x="168" y="672"/>
                  </a:moveTo>
                  <a:lnTo>
                    <a:pt x="132" y="672"/>
                  </a:lnTo>
                  <a:lnTo>
                    <a:pt x="72" y="666"/>
                  </a:lnTo>
                  <a:lnTo>
                    <a:pt x="42" y="666"/>
                  </a:lnTo>
                  <a:lnTo>
                    <a:pt x="36" y="666"/>
                  </a:lnTo>
                  <a:lnTo>
                    <a:pt x="30" y="660"/>
                  </a:lnTo>
                  <a:lnTo>
                    <a:pt x="0" y="660"/>
                  </a:lnTo>
                  <a:lnTo>
                    <a:pt x="24" y="120"/>
                  </a:lnTo>
                  <a:lnTo>
                    <a:pt x="60" y="120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62" y="120"/>
                  </a:lnTo>
                  <a:lnTo>
                    <a:pt x="168" y="120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10" y="156"/>
                  </a:lnTo>
                  <a:lnTo>
                    <a:pt x="222" y="174"/>
                  </a:lnTo>
                  <a:lnTo>
                    <a:pt x="240" y="186"/>
                  </a:lnTo>
                  <a:lnTo>
                    <a:pt x="252" y="198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216"/>
                  </a:lnTo>
                  <a:lnTo>
                    <a:pt x="270" y="216"/>
                  </a:lnTo>
                  <a:lnTo>
                    <a:pt x="282" y="222"/>
                  </a:lnTo>
                  <a:lnTo>
                    <a:pt x="288" y="222"/>
                  </a:lnTo>
                  <a:lnTo>
                    <a:pt x="294" y="216"/>
                  </a:lnTo>
                  <a:lnTo>
                    <a:pt x="294" y="210"/>
                  </a:lnTo>
                  <a:lnTo>
                    <a:pt x="312" y="204"/>
                  </a:lnTo>
                  <a:lnTo>
                    <a:pt x="330" y="186"/>
                  </a:lnTo>
                  <a:lnTo>
                    <a:pt x="336" y="174"/>
                  </a:lnTo>
                  <a:lnTo>
                    <a:pt x="342" y="162"/>
                  </a:lnTo>
                  <a:lnTo>
                    <a:pt x="342" y="156"/>
                  </a:lnTo>
                  <a:lnTo>
                    <a:pt x="348" y="150"/>
                  </a:lnTo>
                  <a:lnTo>
                    <a:pt x="354" y="144"/>
                  </a:lnTo>
                  <a:lnTo>
                    <a:pt x="360" y="138"/>
                  </a:lnTo>
                  <a:lnTo>
                    <a:pt x="366" y="132"/>
                  </a:lnTo>
                  <a:lnTo>
                    <a:pt x="372" y="114"/>
                  </a:lnTo>
                  <a:lnTo>
                    <a:pt x="378" y="114"/>
                  </a:lnTo>
                  <a:lnTo>
                    <a:pt x="378" y="96"/>
                  </a:lnTo>
                  <a:lnTo>
                    <a:pt x="390" y="96"/>
                  </a:lnTo>
                  <a:lnTo>
                    <a:pt x="396" y="84"/>
                  </a:lnTo>
                  <a:lnTo>
                    <a:pt x="396" y="72"/>
                  </a:lnTo>
                  <a:lnTo>
                    <a:pt x="396" y="54"/>
                  </a:lnTo>
                  <a:lnTo>
                    <a:pt x="408" y="42"/>
                  </a:lnTo>
                  <a:lnTo>
                    <a:pt x="468" y="42"/>
                  </a:lnTo>
                  <a:lnTo>
                    <a:pt x="486" y="36"/>
                  </a:lnTo>
                  <a:lnTo>
                    <a:pt x="492" y="24"/>
                  </a:lnTo>
                  <a:lnTo>
                    <a:pt x="504" y="24"/>
                  </a:lnTo>
                  <a:lnTo>
                    <a:pt x="516" y="6"/>
                  </a:lnTo>
                  <a:lnTo>
                    <a:pt x="528" y="0"/>
                  </a:lnTo>
                  <a:lnTo>
                    <a:pt x="558" y="12"/>
                  </a:lnTo>
                  <a:lnTo>
                    <a:pt x="588" y="36"/>
                  </a:lnTo>
                  <a:lnTo>
                    <a:pt x="600" y="66"/>
                  </a:lnTo>
                  <a:lnTo>
                    <a:pt x="624" y="66"/>
                  </a:lnTo>
                  <a:lnTo>
                    <a:pt x="624" y="90"/>
                  </a:lnTo>
                  <a:lnTo>
                    <a:pt x="618" y="90"/>
                  </a:lnTo>
                  <a:lnTo>
                    <a:pt x="618" y="96"/>
                  </a:lnTo>
                  <a:lnTo>
                    <a:pt x="600" y="102"/>
                  </a:lnTo>
                  <a:lnTo>
                    <a:pt x="588" y="108"/>
                  </a:lnTo>
                  <a:lnTo>
                    <a:pt x="570" y="120"/>
                  </a:lnTo>
                  <a:lnTo>
                    <a:pt x="564" y="138"/>
                  </a:lnTo>
                  <a:lnTo>
                    <a:pt x="558" y="162"/>
                  </a:lnTo>
                  <a:lnTo>
                    <a:pt x="540" y="210"/>
                  </a:lnTo>
                  <a:lnTo>
                    <a:pt x="528" y="252"/>
                  </a:lnTo>
                  <a:lnTo>
                    <a:pt x="528" y="402"/>
                  </a:lnTo>
                  <a:lnTo>
                    <a:pt x="522" y="444"/>
                  </a:lnTo>
                  <a:lnTo>
                    <a:pt x="510" y="468"/>
                  </a:lnTo>
                  <a:lnTo>
                    <a:pt x="498" y="498"/>
                  </a:lnTo>
                  <a:lnTo>
                    <a:pt x="474" y="534"/>
                  </a:lnTo>
                  <a:lnTo>
                    <a:pt x="456" y="570"/>
                  </a:lnTo>
                  <a:lnTo>
                    <a:pt x="444" y="576"/>
                  </a:lnTo>
                  <a:lnTo>
                    <a:pt x="420" y="606"/>
                  </a:lnTo>
                  <a:lnTo>
                    <a:pt x="390" y="624"/>
                  </a:lnTo>
                  <a:lnTo>
                    <a:pt x="372" y="642"/>
                  </a:lnTo>
                  <a:lnTo>
                    <a:pt x="366" y="654"/>
                  </a:lnTo>
                  <a:lnTo>
                    <a:pt x="342" y="660"/>
                  </a:lnTo>
                  <a:lnTo>
                    <a:pt x="300" y="666"/>
                  </a:lnTo>
                  <a:lnTo>
                    <a:pt x="234" y="672"/>
                  </a:lnTo>
                  <a:lnTo>
                    <a:pt x="192" y="672"/>
                  </a:lnTo>
                  <a:lnTo>
                    <a:pt x="168" y="67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9" name="Freeform 14">
              <a:extLst>
                <a:ext uri="{FF2B5EF4-FFF2-40B4-BE49-F238E27FC236}">
                  <a16:creationId xmlns:a16="http://schemas.microsoft.com/office/drawing/2014/main" id="{2EA1E999-9CDF-4391-8BC9-7DE71AF9C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0460" y="2983045"/>
              <a:ext cx="905658" cy="561362"/>
            </a:xfrm>
            <a:custGeom>
              <a:avLst/>
              <a:gdLst>
                <a:gd name="T0" fmla="*/ 31 w 1704"/>
                <a:gd name="T1" fmla="*/ 78 h 1056"/>
                <a:gd name="T2" fmla="*/ 23 w 1704"/>
                <a:gd name="T3" fmla="*/ 78 h 1056"/>
                <a:gd name="T4" fmla="*/ 11 w 1704"/>
                <a:gd name="T5" fmla="*/ 79 h 1056"/>
                <a:gd name="T6" fmla="*/ 1 w 1704"/>
                <a:gd name="T7" fmla="*/ 81 h 1056"/>
                <a:gd name="T8" fmla="*/ 0 w 1704"/>
                <a:gd name="T9" fmla="*/ 62 h 1056"/>
                <a:gd name="T10" fmla="*/ 9 w 1704"/>
                <a:gd name="T11" fmla="*/ 56 h 1056"/>
                <a:gd name="T12" fmla="*/ 27 w 1704"/>
                <a:gd name="T13" fmla="*/ 48 h 1056"/>
                <a:gd name="T14" fmla="*/ 35 w 1704"/>
                <a:gd name="T15" fmla="*/ 20 h 1056"/>
                <a:gd name="T16" fmla="*/ 43 w 1704"/>
                <a:gd name="T17" fmla="*/ 6 h 1056"/>
                <a:gd name="T18" fmla="*/ 47 w 1704"/>
                <a:gd name="T19" fmla="*/ 7 h 1056"/>
                <a:gd name="T20" fmla="*/ 52 w 1704"/>
                <a:gd name="T21" fmla="*/ 0 h 1056"/>
                <a:gd name="T22" fmla="*/ 59 w 1704"/>
                <a:gd name="T23" fmla="*/ 5 h 1056"/>
                <a:gd name="T24" fmla="*/ 63 w 1704"/>
                <a:gd name="T25" fmla="*/ 12 h 1056"/>
                <a:gd name="T26" fmla="*/ 62 w 1704"/>
                <a:gd name="T27" fmla="*/ 15 h 1056"/>
                <a:gd name="T28" fmla="*/ 62 w 1704"/>
                <a:gd name="T29" fmla="*/ 18 h 1056"/>
                <a:gd name="T30" fmla="*/ 70 w 1704"/>
                <a:gd name="T31" fmla="*/ 18 h 1056"/>
                <a:gd name="T32" fmla="*/ 71 w 1704"/>
                <a:gd name="T33" fmla="*/ 14 h 1056"/>
                <a:gd name="T34" fmla="*/ 72 w 1704"/>
                <a:gd name="T35" fmla="*/ 12 h 1056"/>
                <a:gd name="T36" fmla="*/ 78 w 1704"/>
                <a:gd name="T37" fmla="*/ 14 h 1056"/>
                <a:gd name="T38" fmla="*/ 85 w 1704"/>
                <a:gd name="T39" fmla="*/ 21 h 1056"/>
                <a:gd name="T40" fmla="*/ 91 w 1704"/>
                <a:gd name="T41" fmla="*/ 15 h 1056"/>
                <a:gd name="T42" fmla="*/ 93 w 1704"/>
                <a:gd name="T43" fmla="*/ 10 h 1056"/>
                <a:gd name="T44" fmla="*/ 101 w 1704"/>
                <a:gd name="T45" fmla="*/ 14 h 1056"/>
                <a:gd name="T46" fmla="*/ 103 w 1704"/>
                <a:gd name="T47" fmla="*/ 19 h 1056"/>
                <a:gd name="T48" fmla="*/ 115 w 1704"/>
                <a:gd name="T49" fmla="*/ 20 h 1056"/>
                <a:gd name="T50" fmla="*/ 118 w 1704"/>
                <a:gd name="T51" fmla="*/ 23 h 1056"/>
                <a:gd name="T52" fmla="*/ 117 w 1704"/>
                <a:gd name="T53" fmla="*/ 27 h 1056"/>
                <a:gd name="T54" fmla="*/ 111 w 1704"/>
                <a:gd name="T55" fmla="*/ 33 h 1056"/>
                <a:gd name="T56" fmla="*/ 108 w 1704"/>
                <a:gd name="T57" fmla="*/ 36 h 1056"/>
                <a:gd name="T58" fmla="*/ 109 w 1704"/>
                <a:gd name="T59" fmla="*/ 40 h 1056"/>
                <a:gd name="T60" fmla="*/ 111 w 1704"/>
                <a:gd name="T61" fmla="*/ 43 h 1056"/>
                <a:gd name="T62" fmla="*/ 113 w 1704"/>
                <a:gd name="T63" fmla="*/ 50 h 1056"/>
                <a:gd name="T64" fmla="*/ 121 w 1704"/>
                <a:gd name="T65" fmla="*/ 55 h 1056"/>
                <a:gd name="T66" fmla="*/ 132 w 1704"/>
                <a:gd name="T67" fmla="*/ 52 h 1056"/>
                <a:gd name="T68" fmla="*/ 148 w 1704"/>
                <a:gd name="T69" fmla="*/ 58 h 1056"/>
                <a:gd name="T70" fmla="*/ 148 w 1704"/>
                <a:gd name="T71" fmla="*/ 61 h 1056"/>
                <a:gd name="T72" fmla="*/ 148 w 1704"/>
                <a:gd name="T73" fmla="*/ 64 h 1056"/>
                <a:gd name="T74" fmla="*/ 135 w 1704"/>
                <a:gd name="T75" fmla="*/ 61 h 1056"/>
                <a:gd name="T76" fmla="*/ 135 w 1704"/>
                <a:gd name="T77" fmla="*/ 66 h 1056"/>
                <a:gd name="T78" fmla="*/ 137 w 1704"/>
                <a:gd name="T79" fmla="*/ 71 h 1056"/>
                <a:gd name="T80" fmla="*/ 136 w 1704"/>
                <a:gd name="T81" fmla="*/ 79 h 1056"/>
                <a:gd name="T82" fmla="*/ 126 w 1704"/>
                <a:gd name="T83" fmla="*/ 84 h 1056"/>
                <a:gd name="T84" fmla="*/ 121 w 1704"/>
                <a:gd name="T85" fmla="*/ 79 h 1056"/>
                <a:gd name="T86" fmla="*/ 117 w 1704"/>
                <a:gd name="T87" fmla="*/ 75 h 1056"/>
                <a:gd name="T88" fmla="*/ 98 w 1704"/>
                <a:gd name="T89" fmla="*/ 74 h 1056"/>
                <a:gd name="T90" fmla="*/ 81 w 1704"/>
                <a:gd name="T91" fmla="*/ 75 h 1056"/>
                <a:gd name="T92" fmla="*/ 83 w 1704"/>
                <a:gd name="T93" fmla="*/ 88 h 1056"/>
                <a:gd name="T94" fmla="*/ 82 w 1704"/>
                <a:gd name="T95" fmla="*/ 91 h 1056"/>
                <a:gd name="T96" fmla="*/ 77 w 1704"/>
                <a:gd name="T97" fmla="*/ 90 h 1056"/>
                <a:gd name="T98" fmla="*/ 73 w 1704"/>
                <a:gd name="T99" fmla="*/ 86 h 1056"/>
                <a:gd name="T100" fmla="*/ 68 w 1704"/>
                <a:gd name="T101" fmla="*/ 85 h 1056"/>
                <a:gd name="T102" fmla="*/ 64 w 1704"/>
                <a:gd name="T103" fmla="*/ 83 h 1056"/>
                <a:gd name="T104" fmla="*/ 57 w 1704"/>
                <a:gd name="T105" fmla="*/ 81 h 1056"/>
                <a:gd name="T106" fmla="*/ 52 w 1704"/>
                <a:gd name="T107" fmla="*/ 80 h 1056"/>
                <a:gd name="T108" fmla="*/ 50 w 1704"/>
                <a:gd name="T109" fmla="*/ 80 h 1056"/>
                <a:gd name="T110" fmla="*/ 46 w 1704"/>
                <a:gd name="T111" fmla="*/ 79 h 1056"/>
                <a:gd name="T112" fmla="*/ 41 w 1704"/>
                <a:gd name="T113" fmla="*/ 78 h 10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04"/>
                <a:gd name="T172" fmla="*/ 0 h 1056"/>
                <a:gd name="T173" fmla="*/ 1704 w 1704"/>
                <a:gd name="T174" fmla="*/ 1056 h 10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04" h="1056">
                  <a:moveTo>
                    <a:pt x="450" y="888"/>
                  </a:moveTo>
                  <a:lnTo>
                    <a:pt x="420" y="888"/>
                  </a:lnTo>
                  <a:lnTo>
                    <a:pt x="414" y="888"/>
                  </a:lnTo>
                  <a:lnTo>
                    <a:pt x="396" y="888"/>
                  </a:lnTo>
                  <a:lnTo>
                    <a:pt x="372" y="888"/>
                  </a:lnTo>
                  <a:lnTo>
                    <a:pt x="366" y="888"/>
                  </a:lnTo>
                  <a:lnTo>
                    <a:pt x="360" y="888"/>
                  </a:lnTo>
                  <a:lnTo>
                    <a:pt x="348" y="888"/>
                  </a:lnTo>
                  <a:lnTo>
                    <a:pt x="330" y="894"/>
                  </a:lnTo>
                  <a:lnTo>
                    <a:pt x="324" y="894"/>
                  </a:lnTo>
                  <a:lnTo>
                    <a:pt x="312" y="888"/>
                  </a:lnTo>
                  <a:lnTo>
                    <a:pt x="300" y="888"/>
                  </a:lnTo>
                  <a:lnTo>
                    <a:pt x="282" y="888"/>
                  </a:lnTo>
                  <a:lnTo>
                    <a:pt x="270" y="888"/>
                  </a:lnTo>
                  <a:lnTo>
                    <a:pt x="240" y="882"/>
                  </a:lnTo>
                  <a:lnTo>
                    <a:pt x="222" y="882"/>
                  </a:lnTo>
                  <a:lnTo>
                    <a:pt x="198" y="882"/>
                  </a:lnTo>
                  <a:lnTo>
                    <a:pt x="174" y="894"/>
                  </a:lnTo>
                  <a:lnTo>
                    <a:pt x="162" y="900"/>
                  </a:lnTo>
                  <a:lnTo>
                    <a:pt x="144" y="906"/>
                  </a:lnTo>
                  <a:lnTo>
                    <a:pt x="126" y="912"/>
                  </a:lnTo>
                  <a:lnTo>
                    <a:pt x="102" y="924"/>
                  </a:lnTo>
                  <a:lnTo>
                    <a:pt x="78" y="930"/>
                  </a:lnTo>
                  <a:lnTo>
                    <a:pt x="72" y="936"/>
                  </a:lnTo>
                  <a:lnTo>
                    <a:pt x="30" y="954"/>
                  </a:lnTo>
                  <a:lnTo>
                    <a:pt x="12" y="966"/>
                  </a:lnTo>
                  <a:lnTo>
                    <a:pt x="12" y="954"/>
                  </a:lnTo>
                  <a:lnTo>
                    <a:pt x="12" y="930"/>
                  </a:lnTo>
                  <a:lnTo>
                    <a:pt x="12" y="894"/>
                  </a:lnTo>
                  <a:lnTo>
                    <a:pt x="30" y="828"/>
                  </a:lnTo>
                  <a:lnTo>
                    <a:pt x="36" y="798"/>
                  </a:lnTo>
                  <a:lnTo>
                    <a:pt x="18" y="774"/>
                  </a:lnTo>
                  <a:lnTo>
                    <a:pt x="18" y="756"/>
                  </a:lnTo>
                  <a:lnTo>
                    <a:pt x="6" y="738"/>
                  </a:lnTo>
                  <a:lnTo>
                    <a:pt x="0" y="714"/>
                  </a:lnTo>
                  <a:lnTo>
                    <a:pt x="12" y="678"/>
                  </a:lnTo>
                  <a:lnTo>
                    <a:pt x="18" y="678"/>
                  </a:lnTo>
                  <a:lnTo>
                    <a:pt x="24" y="672"/>
                  </a:lnTo>
                  <a:lnTo>
                    <a:pt x="30" y="666"/>
                  </a:lnTo>
                  <a:lnTo>
                    <a:pt x="42" y="648"/>
                  </a:lnTo>
                  <a:lnTo>
                    <a:pt x="66" y="648"/>
                  </a:lnTo>
                  <a:lnTo>
                    <a:pt x="108" y="648"/>
                  </a:lnTo>
                  <a:lnTo>
                    <a:pt x="174" y="642"/>
                  </a:lnTo>
                  <a:lnTo>
                    <a:pt x="216" y="636"/>
                  </a:lnTo>
                  <a:lnTo>
                    <a:pt x="240" y="630"/>
                  </a:lnTo>
                  <a:lnTo>
                    <a:pt x="246" y="618"/>
                  </a:lnTo>
                  <a:lnTo>
                    <a:pt x="264" y="600"/>
                  </a:lnTo>
                  <a:lnTo>
                    <a:pt x="294" y="582"/>
                  </a:lnTo>
                  <a:lnTo>
                    <a:pt x="318" y="552"/>
                  </a:lnTo>
                  <a:lnTo>
                    <a:pt x="330" y="546"/>
                  </a:lnTo>
                  <a:lnTo>
                    <a:pt x="348" y="510"/>
                  </a:lnTo>
                  <a:lnTo>
                    <a:pt x="372" y="474"/>
                  </a:lnTo>
                  <a:lnTo>
                    <a:pt x="384" y="444"/>
                  </a:lnTo>
                  <a:lnTo>
                    <a:pt x="396" y="420"/>
                  </a:lnTo>
                  <a:lnTo>
                    <a:pt x="402" y="378"/>
                  </a:lnTo>
                  <a:lnTo>
                    <a:pt x="402" y="228"/>
                  </a:lnTo>
                  <a:lnTo>
                    <a:pt x="414" y="186"/>
                  </a:lnTo>
                  <a:lnTo>
                    <a:pt x="432" y="138"/>
                  </a:lnTo>
                  <a:lnTo>
                    <a:pt x="438" y="114"/>
                  </a:lnTo>
                  <a:lnTo>
                    <a:pt x="444" y="96"/>
                  </a:lnTo>
                  <a:lnTo>
                    <a:pt x="462" y="84"/>
                  </a:lnTo>
                  <a:lnTo>
                    <a:pt x="474" y="78"/>
                  </a:lnTo>
                  <a:lnTo>
                    <a:pt x="492" y="72"/>
                  </a:lnTo>
                  <a:lnTo>
                    <a:pt x="492" y="66"/>
                  </a:lnTo>
                  <a:lnTo>
                    <a:pt x="498" y="66"/>
                  </a:lnTo>
                  <a:lnTo>
                    <a:pt x="510" y="66"/>
                  </a:lnTo>
                  <a:lnTo>
                    <a:pt x="510" y="72"/>
                  </a:lnTo>
                  <a:lnTo>
                    <a:pt x="516" y="72"/>
                  </a:lnTo>
                  <a:lnTo>
                    <a:pt x="522" y="78"/>
                  </a:lnTo>
                  <a:lnTo>
                    <a:pt x="546" y="78"/>
                  </a:lnTo>
                  <a:lnTo>
                    <a:pt x="552" y="60"/>
                  </a:lnTo>
                  <a:lnTo>
                    <a:pt x="570" y="42"/>
                  </a:lnTo>
                  <a:lnTo>
                    <a:pt x="576" y="24"/>
                  </a:lnTo>
                  <a:lnTo>
                    <a:pt x="588" y="18"/>
                  </a:lnTo>
                  <a:lnTo>
                    <a:pt x="588" y="12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624" y="0"/>
                  </a:lnTo>
                  <a:lnTo>
                    <a:pt x="636" y="6"/>
                  </a:lnTo>
                  <a:lnTo>
                    <a:pt x="648" y="24"/>
                  </a:lnTo>
                  <a:lnTo>
                    <a:pt x="654" y="48"/>
                  </a:lnTo>
                  <a:lnTo>
                    <a:pt x="672" y="60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0" y="72"/>
                  </a:lnTo>
                  <a:lnTo>
                    <a:pt x="690" y="78"/>
                  </a:lnTo>
                  <a:lnTo>
                    <a:pt x="696" y="90"/>
                  </a:lnTo>
                  <a:lnTo>
                    <a:pt x="714" y="114"/>
                  </a:lnTo>
                  <a:lnTo>
                    <a:pt x="714" y="120"/>
                  </a:lnTo>
                  <a:lnTo>
                    <a:pt x="720" y="132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20" y="150"/>
                  </a:lnTo>
                  <a:lnTo>
                    <a:pt x="714" y="150"/>
                  </a:lnTo>
                  <a:lnTo>
                    <a:pt x="714" y="156"/>
                  </a:lnTo>
                  <a:lnTo>
                    <a:pt x="714" y="162"/>
                  </a:lnTo>
                  <a:lnTo>
                    <a:pt x="708" y="162"/>
                  </a:lnTo>
                  <a:lnTo>
                    <a:pt x="708" y="168"/>
                  </a:lnTo>
                  <a:lnTo>
                    <a:pt x="702" y="168"/>
                  </a:lnTo>
                  <a:lnTo>
                    <a:pt x="702" y="174"/>
                  </a:lnTo>
                  <a:lnTo>
                    <a:pt x="702" y="180"/>
                  </a:lnTo>
                  <a:lnTo>
                    <a:pt x="708" y="180"/>
                  </a:lnTo>
                  <a:lnTo>
                    <a:pt x="708" y="186"/>
                  </a:lnTo>
                  <a:lnTo>
                    <a:pt x="708" y="192"/>
                  </a:lnTo>
                  <a:lnTo>
                    <a:pt x="714" y="204"/>
                  </a:lnTo>
                  <a:lnTo>
                    <a:pt x="726" y="216"/>
                  </a:lnTo>
                  <a:lnTo>
                    <a:pt x="738" y="216"/>
                  </a:lnTo>
                  <a:lnTo>
                    <a:pt x="768" y="222"/>
                  </a:lnTo>
                  <a:lnTo>
                    <a:pt x="780" y="216"/>
                  </a:lnTo>
                  <a:lnTo>
                    <a:pt x="792" y="204"/>
                  </a:lnTo>
                  <a:lnTo>
                    <a:pt x="798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6" y="192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6" y="174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22" y="156"/>
                  </a:lnTo>
                  <a:lnTo>
                    <a:pt x="822" y="150"/>
                  </a:lnTo>
                  <a:lnTo>
                    <a:pt x="828" y="144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8" y="138"/>
                  </a:lnTo>
                  <a:lnTo>
                    <a:pt x="834" y="132"/>
                  </a:lnTo>
                  <a:lnTo>
                    <a:pt x="840" y="132"/>
                  </a:lnTo>
                  <a:lnTo>
                    <a:pt x="864" y="126"/>
                  </a:lnTo>
                  <a:lnTo>
                    <a:pt x="906" y="144"/>
                  </a:lnTo>
                  <a:lnTo>
                    <a:pt x="906" y="150"/>
                  </a:lnTo>
                  <a:lnTo>
                    <a:pt x="906" y="156"/>
                  </a:lnTo>
                  <a:lnTo>
                    <a:pt x="900" y="162"/>
                  </a:lnTo>
                  <a:lnTo>
                    <a:pt x="924" y="168"/>
                  </a:lnTo>
                  <a:lnTo>
                    <a:pt x="942" y="192"/>
                  </a:lnTo>
                  <a:lnTo>
                    <a:pt x="972" y="210"/>
                  </a:lnTo>
                  <a:lnTo>
                    <a:pt x="972" y="216"/>
                  </a:lnTo>
                  <a:lnTo>
                    <a:pt x="972" y="228"/>
                  </a:lnTo>
                  <a:lnTo>
                    <a:pt x="978" y="234"/>
                  </a:lnTo>
                  <a:lnTo>
                    <a:pt x="978" y="246"/>
                  </a:lnTo>
                  <a:lnTo>
                    <a:pt x="984" y="252"/>
                  </a:lnTo>
                  <a:lnTo>
                    <a:pt x="1014" y="252"/>
                  </a:lnTo>
                  <a:lnTo>
                    <a:pt x="1020" y="228"/>
                  </a:lnTo>
                  <a:lnTo>
                    <a:pt x="1026" y="198"/>
                  </a:lnTo>
                  <a:lnTo>
                    <a:pt x="1050" y="186"/>
                  </a:lnTo>
                  <a:lnTo>
                    <a:pt x="1056" y="180"/>
                  </a:lnTo>
                  <a:lnTo>
                    <a:pt x="1050" y="174"/>
                  </a:lnTo>
                  <a:lnTo>
                    <a:pt x="1050" y="168"/>
                  </a:lnTo>
                  <a:lnTo>
                    <a:pt x="1050" y="162"/>
                  </a:lnTo>
                  <a:lnTo>
                    <a:pt x="1056" y="162"/>
                  </a:lnTo>
                  <a:lnTo>
                    <a:pt x="1062" y="162"/>
                  </a:lnTo>
                  <a:lnTo>
                    <a:pt x="1074" y="162"/>
                  </a:lnTo>
                  <a:lnTo>
                    <a:pt x="1074" y="144"/>
                  </a:lnTo>
                  <a:lnTo>
                    <a:pt x="1074" y="120"/>
                  </a:lnTo>
                  <a:lnTo>
                    <a:pt x="1092" y="120"/>
                  </a:lnTo>
                  <a:lnTo>
                    <a:pt x="1098" y="126"/>
                  </a:lnTo>
                  <a:lnTo>
                    <a:pt x="1134" y="132"/>
                  </a:lnTo>
                  <a:lnTo>
                    <a:pt x="1146" y="132"/>
                  </a:lnTo>
                  <a:lnTo>
                    <a:pt x="1158" y="150"/>
                  </a:lnTo>
                  <a:lnTo>
                    <a:pt x="1158" y="156"/>
                  </a:lnTo>
                  <a:lnTo>
                    <a:pt x="1158" y="162"/>
                  </a:lnTo>
                  <a:lnTo>
                    <a:pt x="1158" y="180"/>
                  </a:lnTo>
                  <a:lnTo>
                    <a:pt x="1158" y="186"/>
                  </a:lnTo>
                  <a:lnTo>
                    <a:pt x="1164" y="192"/>
                  </a:lnTo>
                  <a:lnTo>
                    <a:pt x="1176" y="198"/>
                  </a:lnTo>
                  <a:lnTo>
                    <a:pt x="1182" y="198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8"/>
                  </a:lnTo>
                  <a:lnTo>
                    <a:pt x="1188" y="234"/>
                  </a:lnTo>
                  <a:lnTo>
                    <a:pt x="1212" y="234"/>
                  </a:lnTo>
                  <a:lnTo>
                    <a:pt x="1242" y="234"/>
                  </a:lnTo>
                  <a:lnTo>
                    <a:pt x="1248" y="234"/>
                  </a:lnTo>
                  <a:lnTo>
                    <a:pt x="1278" y="240"/>
                  </a:lnTo>
                  <a:lnTo>
                    <a:pt x="1320" y="234"/>
                  </a:lnTo>
                  <a:lnTo>
                    <a:pt x="1332" y="228"/>
                  </a:lnTo>
                  <a:lnTo>
                    <a:pt x="1344" y="228"/>
                  </a:lnTo>
                  <a:lnTo>
                    <a:pt x="1350" y="234"/>
                  </a:lnTo>
                  <a:lnTo>
                    <a:pt x="1350" y="240"/>
                  </a:lnTo>
                  <a:lnTo>
                    <a:pt x="1356" y="246"/>
                  </a:lnTo>
                  <a:lnTo>
                    <a:pt x="1350" y="252"/>
                  </a:lnTo>
                  <a:lnTo>
                    <a:pt x="1356" y="264"/>
                  </a:lnTo>
                  <a:lnTo>
                    <a:pt x="1356" y="270"/>
                  </a:lnTo>
                  <a:lnTo>
                    <a:pt x="1356" y="276"/>
                  </a:lnTo>
                  <a:lnTo>
                    <a:pt x="1356" y="282"/>
                  </a:lnTo>
                  <a:lnTo>
                    <a:pt x="1356" y="288"/>
                  </a:lnTo>
                  <a:lnTo>
                    <a:pt x="1350" y="294"/>
                  </a:lnTo>
                  <a:lnTo>
                    <a:pt x="1344" y="300"/>
                  </a:lnTo>
                  <a:lnTo>
                    <a:pt x="1344" y="306"/>
                  </a:lnTo>
                  <a:lnTo>
                    <a:pt x="1338" y="312"/>
                  </a:lnTo>
                  <a:lnTo>
                    <a:pt x="1326" y="342"/>
                  </a:lnTo>
                  <a:lnTo>
                    <a:pt x="1320" y="348"/>
                  </a:lnTo>
                  <a:lnTo>
                    <a:pt x="1314" y="354"/>
                  </a:lnTo>
                  <a:lnTo>
                    <a:pt x="1290" y="354"/>
                  </a:lnTo>
                  <a:lnTo>
                    <a:pt x="1284" y="360"/>
                  </a:lnTo>
                  <a:lnTo>
                    <a:pt x="1278" y="378"/>
                  </a:lnTo>
                  <a:lnTo>
                    <a:pt x="1278" y="384"/>
                  </a:lnTo>
                  <a:lnTo>
                    <a:pt x="1272" y="390"/>
                  </a:lnTo>
                  <a:lnTo>
                    <a:pt x="1266" y="396"/>
                  </a:lnTo>
                  <a:lnTo>
                    <a:pt x="1260" y="396"/>
                  </a:lnTo>
                  <a:lnTo>
                    <a:pt x="1248" y="402"/>
                  </a:lnTo>
                  <a:lnTo>
                    <a:pt x="1242" y="408"/>
                  </a:lnTo>
                  <a:lnTo>
                    <a:pt x="1242" y="414"/>
                  </a:lnTo>
                  <a:lnTo>
                    <a:pt x="1242" y="420"/>
                  </a:lnTo>
                  <a:lnTo>
                    <a:pt x="1236" y="432"/>
                  </a:lnTo>
                  <a:lnTo>
                    <a:pt x="1242" y="432"/>
                  </a:lnTo>
                  <a:lnTo>
                    <a:pt x="1242" y="444"/>
                  </a:lnTo>
                  <a:lnTo>
                    <a:pt x="1242" y="456"/>
                  </a:lnTo>
                  <a:lnTo>
                    <a:pt x="1248" y="456"/>
                  </a:lnTo>
                  <a:lnTo>
                    <a:pt x="1254" y="462"/>
                  </a:lnTo>
                  <a:lnTo>
                    <a:pt x="1248" y="468"/>
                  </a:lnTo>
                  <a:lnTo>
                    <a:pt x="1254" y="468"/>
                  </a:lnTo>
                  <a:lnTo>
                    <a:pt x="1266" y="474"/>
                  </a:lnTo>
                  <a:lnTo>
                    <a:pt x="1266" y="480"/>
                  </a:lnTo>
                  <a:lnTo>
                    <a:pt x="1266" y="486"/>
                  </a:lnTo>
                  <a:lnTo>
                    <a:pt x="1272" y="486"/>
                  </a:lnTo>
                  <a:lnTo>
                    <a:pt x="1272" y="492"/>
                  </a:lnTo>
                  <a:lnTo>
                    <a:pt x="1290" y="510"/>
                  </a:lnTo>
                  <a:lnTo>
                    <a:pt x="1296" y="516"/>
                  </a:lnTo>
                  <a:lnTo>
                    <a:pt x="1302" y="540"/>
                  </a:lnTo>
                  <a:lnTo>
                    <a:pt x="1302" y="546"/>
                  </a:lnTo>
                  <a:lnTo>
                    <a:pt x="1302" y="558"/>
                  </a:lnTo>
                  <a:lnTo>
                    <a:pt x="1302" y="570"/>
                  </a:lnTo>
                  <a:lnTo>
                    <a:pt x="1302" y="576"/>
                  </a:lnTo>
                  <a:lnTo>
                    <a:pt x="1344" y="570"/>
                  </a:lnTo>
                  <a:lnTo>
                    <a:pt x="1350" y="582"/>
                  </a:lnTo>
                  <a:lnTo>
                    <a:pt x="1368" y="594"/>
                  </a:lnTo>
                  <a:lnTo>
                    <a:pt x="1374" y="600"/>
                  </a:lnTo>
                  <a:lnTo>
                    <a:pt x="1380" y="600"/>
                  </a:lnTo>
                  <a:lnTo>
                    <a:pt x="1380" y="618"/>
                  </a:lnTo>
                  <a:lnTo>
                    <a:pt x="1386" y="624"/>
                  </a:lnTo>
                  <a:lnTo>
                    <a:pt x="1404" y="624"/>
                  </a:lnTo>
                  <a:lnTo>
                    <a:pt x="1410" y="612"/>
                  </a:lnTo>
                  <a:lnTo>
                    <a:pt x="1428" y="606"/>
                  </a:lnTo>
                  <a:lnTo>
                    <a:pt x="1488" y="606"/>
                  </a:lnTo>
                  <a:lnTo>
                    <a:pt x="1506" y="606"/>
                  </a:lnTo>
                  <a:lnTo>
                    <a:pt x="1512" y="600"/>
                  </a:lnTo>
                  <a:lnTo>
                    <a:pt x="1524" y="594"/>
                  </a:lnTo>
                  <a:lnTo>
                    <a:pt x="1554" y="594"/>
                  </a:lnTo>
                  <a:lnTo>
                    <a:pt x="1578" y="606"/>
                  </a:lnTo>
                  <a:lnTo>
                    <a:pt x="1596" y="624"/>
                  </a:lnTo>
                  <a:lnTo>
                    <a:pt x="1650" y="642"/>
                  </a:lnTo>
                  <a:lnTo>
                    <a:pt x="1686" y="648"/>
                  </a:lnTo>
                  <a:lnTo>
                    <a:pt x="1698" y="654"/>
                  </a:lnTo>
                  <a:lnTo>
                    <a:pt x="1698" y="660"/>
                  </a:lnTo>
                  <a:lnTo>
                    <a:pt x="1692" y="666"/>
                  </a:lnTo>
                  <a:lnTo>
                    <a:pt x="1692" y="672"/>
                  </a:lnTo>
                  <a:lnTo>
                    <a:pt x="1698" y="678"/>
                  </a:lnTo>
                  <a:lnTo>
                    <a:pt x="1698" y="684"/>
                  </a:lnTo>
                  <a:lnTo>
                    <a:pt x="1692" y="684"/>
                  </a:lnTo>
                  <a:lnTo>
                    <a:pt x="1692" y="690"/>
                  </a:lnTo>
                  <a:lnTo>
                    <a:pt x="1698" y="696"/>
                  </a:lnTo>
                  <a:lnTo>
                    <a:pt x="1698" y="702"/>
                  </a:lnTo>
                  <a:lnTo>
                    <a:pt x="1698" y="708"/>
                  </a:lnTo>
                  <a:lnTo>
                    <a:pt x="1704" y="714"/>
                  </a:lnTo>
                  <a:lnTo>
                    <a:pt x="1704" y="720"/>
                  </a:lnTo>
                  <a:lnTo>
                    <a:pt x="1704" y="726"/>
                  </a:lnTo>
                  <a:lnTo>
                    <a:pt x="1704" y="732"/>
                  </a:lnTo>
                  <a:lnTo>
                    <a:pt x="1704" y="738"/>
                  </a:lnTo>
                  <a:lnTo>
                    <a:pt x="1698" y="726"/>
                  </a:lnTo>
                  <a:lnTo>
                    <a:pt x="1668" y="720"/>
                  </a:lnTo>
                  <a:lnTo>
                    <a:pt x="1626" y="714"/>
                  </a:lnTo>
                  <a:lnTo>
                    <a:pt x="1614" y="708"/>
                  </a:lnTo>
                  <a:lnTo>
                    <a:pt x="1578" y="696"/>
                  </a:lnTo>
                  <a:lnTo>
                    <a:pt x="1566" y="696"/>
                  </a:lnTo>
                  <a:lnTo>
                    <a:pt x="1548" y="702"/>
                  </a:lnTo>
                  <a:lnTo>
                    <a:pt x="1542" y="714"/>
                  </a:lnTo>
                  <a:lnTo>
                    <a:pt x="1536" y="732"/>
                  </a:lnTo>
                  <a:lnTo>
                    <a:pt x="1530" y="750"/>
                  </a:lnTo>
                  <a:lnTo>
                    <a:pt x="1536" y="750"/>
                  </a:lnTo>
                  <a:lnTo>
                    <a:pt x="1542" y="756"/>
                  </a:lnTo>
                  <a:lnTo>
                    <a:pt x="1542" y="762"/>
                  </a:lnTo>
                  <a:lnTo>
                    <a:pt x="1548" y="762"/>
                  </a:lnTo>
                  <a:lnTo>
                    <a:pt x="1554" y="762"/>
                  </a:lnTo>
                  <a:lnTo>
                    <a:pt x="1554" y="768"/>
                  </a:lnTo>
                  <a:lnTo>
                    <a:pt x="1560" y="774"/>
                  </a:lnTo>
                  <a:lnTo>
                    <a:pt x="1566" y="774"/>
                  </a:lnTo>
                  <a:lnTo>
                    <a:pt x="1584" y="792"/>
                  </a:lnTo>
                  <a:lnTo>
                    <a:pt x="1584" y="810"/>
                  </a:lnTo>
                  <a:lnTo>
                    <a:pt x="1572" y="816"/>
                  </a:lnTo>
                  <a:lnTo>
                    <a:pt x="1578" y="834"/>
                  </a:lnTo>
                  <a:lnTo>
                    <a:pt x="1578" y="846"/>
                  </a:lnTo>
                  <a:lnTo>
                    <a:pt x="1584" y="858"/>
                  </a:lnTo>
                  <a:lnTo>
                    <a:pt x="1590" y="864"/>
                  </a:lnTo>
                  <a:lnTo>
                    <a:pt x="1590" y="876"/>
                  </a:lnTo>
                  <a:lnTo>
                    <a:pt x="1578" y="888"/>
                  </a:lnTo>
                  <a:lnTo>
                    <a:pt x="1560" y="906"/>
                  </a:lnTo>
                  <a:lnTo>
                    <a:pt x="1536" y="930"/>
                  </a:lnTo>
                  <a:lnTo>
                    <a:pt x="1530" y="930"/>
                  </a:lnTo>
                  <a:lnTo>
                    <a:pt x="1506" y="942"/>
                  </a:lnTo>
                  <a:lnTo>
                    <a:pt x="1488" y="948"/>
                  </a:lnTo>
                  <a:lnTo>
                    <a:pt x="1476" y="954"/>
                  </a:lnTo>
                  <a:lnTo>
                    <a:pt x="1458" y="960"/>
                  </a:lnTo>
                  <a:lnTo>
                    <a:pt x="1452" y="966"/>
                  </a:lnTo>
                  <a:lnTo>
                    <a:pt x="1446" y="966"/>
                  </a:lnTo>
                  <a:lnTo>
                    <a:pt x="1434" y="972"/>
                  </a:lnTo>
                  <a:lnTo>
                    <a:pt x="1434" y="954"/>
                  </a:lnTo>
                  <a:lnTo>
                    <a:pt x="1422" y="942"/>
                  </a:lnTo>
                  <a:lnTo>
                    <a:pt x="1398" y="924"/>
                  </a:lnTo>
                  <a:lnTo>
                    <a:pt x="1398" y="912"/>
                  </a:lnTo>
                  <a:lnTo>
                    <a:pt x="1398" y="906"/>
                  </a:lnTo>
                  <a:lnTo>
                    <a:pt x="1398" y="900"/>
                  </a:lnTo>
                  <a:lnTo>
                    <a:pt x="1380" y="900"/>
                  </a:lnTo>
                  <a:lnTo>
                    <a:pt x="1380" y="894"/>
                  </a:lnTo>
                  <a:lnTo>
                    <a:pt x="1368" y="888"/>
                  </a:lnTo>
                  <a:lnTo>
                    <a:pt x="1362" y="882"/>
                  </a:lnTo>
                  <a:lnTo>
                    <a:pt x="1356" y="876"/>
                  </a:lnTo>
                  <a:lnTo>
                    <a:pt x="1350" y="864"/>
                  </a:lnTo>
                  <a:lnTo>
                    <a:pt x="1344" y="858"/>
                  </a:lnTo>
                  <a:lnTo>
                    <a:pt x="1314" y="870"/>
                  </a:lnTo>
                  <a:lnTo>
                    <a:pt x="1272" y="876"/>
                  </a:lnTo>
                  <a:lnTo>
                    <a:pt x="1218" y="870"/>
                  </a:lnTo>
                  <a:lnTo>
                    <a:pt x="1200" y="864"/>
                  </a:lnTo>
                  <a:lnTo>
                    <a:pt x="1182" y="864"/>
                  </a:lnTo>
                  <a:lnTo>
                    <a:pt x="1134" y="858"/>
                  </a:lnTo>
                  <a:lnTo>
                    <a:pt x="1110" y="840"/>
                  </a:lnTo>
                  <a:lnTo>
                    <a:pt x="1086" y="828"/>
                  </a:lnTo>
                  <a:lnTo>
                    <a:pt x="1044" y="816"/>
                  </a:lnTo>
                  <a:lnTo>
                    <a:pt x="1014" y="816"/>
                  </a:lnTo>
                  <a:lnTo>
                    <a:pt x="990" y="822"/>
                  </a:lnTo>
                  <a:lnTo>
                    <a:pt x="948" y="858"/>
                  </a:lnTo>
                  <a:lnTo>
                    <a:pt x="930" y="864"/>
                  </a:lnTo>
                  <a:lnTo>
                    <a:pt x="924" y="876"/>
                  </a:lnTo>
                  <a:lnTo>
                    <a:pt x="918" y="906"/>
                  </a:lnTo>
                  <a:lnTo>
                    <a:pt x="924" y="930"/>
                  </a:lnTo>
                  <a:lnTo>
                    <a:pt x="948" y="984"/>
                  </a:lnTo>
                  <a:lnTo>
                    <a:pt x="954" y="1008"/>
                  </a:lnTo>
                  <a:lnTo>
                    <a:pt x="948" y="1014"/>
                  </a:lnTo>
                  <a:lnTo>
                    <a:pt x="954" y="1014"/>
                  </a:lnTo>
                  <a:lnTo>
                    <a:pt x="954" y="1032"/>
                  </a:lnTo>
                  <a:lnTo>
                    <a:pt x="966" y="1044"/>
                  </a:lnTo>
                  <a:lnTo>
                    <a:pt x="960" y="1056"/>
                  </a:lnTo>
                  <a:lnTo>
                    <a:pt x="954" y="1056"/>
                  </a:lnTo>
                  <a:lnTo>
                    <a:pt x="948" y="1056"/>
                  </a:lnTo>
                  <a:lnTo>
                    <a:pt x="942" y="1056"/>
                  </a:lnTo>
                  <a:lnTo>
                    <a:pt x="936" y="1050"/>
                  </a:lnTo>
                  <a:lnTo>
                    <a:pt x="930" y="1044"/>
                  </a:lnTo>
                  <a:lnTo>
                    <a:pt x="924" y="1044"/>
                  </a:lnTo>
                  <a:lnTo>
                    <a:pt x="918" y="1038"/>
                  </a:lnTo>
                  <a:lnTo>
                    <a:pt x="912" y="1038"/>
                  </a:lnTo>
                  <a:lnTo>
                    <a:pt x="906" y="1032"/>
                  </a:lnTo>
                  <a:lnTo>
                    <a:pt x="900" y="1032"/>
                  </a:lnTo>
                  <a:lnTo>
                    <a:pt x="888" y="1026"/>
                  </a:lnTo>
                  <a:lnTo>
                    <a:pt x="882" y="1026"/>
                  </a:lnTo>
                  <a:lnTo>
                    <a:pt x="876" y="1026"/>
                  </a:lnTo>
                  <a:lnTo>
                    <a:pt x="864" y="1014"/>
                  </a:lnTo>
                  <a:lnTo>
                    <a:pt x="846" y="1008"/>
                  </a:lnTo>
                  <a:lnTo>
                    <a:pt x="840" y="996"/>
                  </a:lnTo>
                  <a:lnTo>
                    <a:pt x="840" y="990"/>
                  </a:lnTo>
                  <a:lnTo>
                    <a:pt x="834" y="990"/>
                  </a:lnTo>
                  <a:lnTo>
                    <a:pt x="828" y="990"/>
                  </a:lnTo>
                  <a:lnTo>
                    <a:pt x="816" y="990"/>
                  </a:lnTo>
                  <a:lnTo>
                    <a:pt x="810" y="990"/>
                  </a:lnTo>
                  <a:lnTo>
                    <a:pt x="804" y="984"/>
                  </a:lnTo>
                  <a:lnTo>
                    <a:pt x="792" y="978"/>
                  </a:lnTo>
                  <a:lnTo>
                    <a:pt x="786" y="972"/>
                  </a:lnTo>
                  <a:lnTo>
                    <a:pt x="780" y="972"/>
                  </a:lnTo>
                  <a:lnTo>
                    <a:pt x="768" y="966"/>
                  </a:lnTo>
                  <a:lnTo>
                    <a:pt x="762" y="966"/>
                  </a:lnTo>
                  <a:lnTo>
                    <a:pt x="756" y="966"/>
                  </a:lnTo>
                  <a:lnTo>
                    <a:pt x="750" y="966"/>
                  </a:lnTo>
                  <a:lnTo>
                    <a:pt x="744" y="966"/>
                  </a:lnTo>
                  <a:lnTo>
                    <a:pt x="738" y="960"/>
                  </a:lnTo>
                  <a:lnTo>
                    <a:pt x="732" y="954"/>
                  </a:lnTo>
                  <a:lnTo>
                    <a:pt x="720" y="954"/>
                  </a:lnTo>
                  <a:lnTo>
                    <a:pt x="714" y="948"/>
                  </a:lnTo>
                  <a:lnTo>
                    <a:pt x="708" y="948"/>
                  </a:lnTo>
                  <a:lnTo>
                    <a:pt x="696" y="948"/>
                  </a:lnTo>
                  <a:lnTo>
                    <a:pt x="684" y="942"/>
                  </a:lnTo>
                  <a:lnTo>
                    <a:pt x="678" y="936"/>
                  </a:lnTo>
                  <a:lnTo>
                    <a:pt x="660" y="930"/>
                  </a:lnTo>
                  <a:lnTo>
                    <a:pt x="642" y="924"/>
                  </a:lnTo>
                  <a:lnTo>
                    <a:pt x="636" y="924"/>
                  </a:lnTo>
                  <a:lnTo>
                    <a:pt x="630" y="924"/>
                  </a:lnTo>
                  <a:lnTo>
                    <a:pt x="618" y="924"/>
                  </a:lnTo>
                  <a:lnTo>
                    <a:pt x="618" y="918"/>
                  </a:lnTo>
                  <a:lnTo>
                    <a:pt x="606" y="918"/>
                  </a:lnTo>
                  <a:lnTo>
                    <a:pt x="600" y="918"/>
                  </a:lnTo>
                  <a:lnTo>
                    <a:pt x="594" y="918"/>
                  </a:lnTo>
                  <a:lnTo>
                    <a:pt x="594" y="912"/>
                  </a:lnTo>
                  <a:lnTo>
                    <a:pt x="588" y="912"/>
                  </a:lnTo>
                  <a:lnTo>
                    <a:pt x="582" y="912"/>
                  </a:lnTo>
                  <a:lnTo>
                    <a:pt x="582" y="918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58" y="918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12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00"/>
                  </a:lnTo>
                  <a:lnTo>
                    <a:pt x="516" y="900"/>
                  </a:lnTo>
                  <a:lnTo>
                    <a:pt x="510" y="900"/>
                  </a:lnTo>
                  <a:lnTo>
                    <a:pt x="486" y="894"/>
                  </a:lnTo>
                  <a:lnTo>
                    <a:pt x="474" y="888"/>
                  </a:lnTo>
                  <a:lnTo>
                    <a:pt x="468" y="888"/>
                  </a:lnTo>
                  <a:lnTo>
                    <a:pt x="450" y="88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0" name="Freeform 15">
              <a:extLst>
                <a:ext uri="{FF2B5EF4-FFF2-40B4-BE49-F238E27FC236}">
                  <a16:creationId xmlns:a16="http://schemas.microsoft.com/office/drawing/2014/main" id="{8B991D7A-45C6-40F6-A035-24DFC733305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382" y="2652043"/>
              <a:ext cx="724526" cy="695552"/>
            </a:xfrm>
            <a:custGeom>
              <a:avLst/>
              <a:gdLst>
                <a:gd name="T0" fmla="*/ 44 w 1362"/>
                <a:gd name="T1" fmla="*/ 106 h 1308"/>
                <a:gd name="T2" fmla="*/ 32 w 1362"/>
                <a:gd name="T3" fmla="*/ 109 h 1308"/>
                <a:gd name="T4" fmla="*/ 25 w 1362"/>
                <a:gd name="T5" fmla="*/ 105 h 1308"/>
                <a:gd name="T6" fmla="*/ 22 w 1362"/>
                <a:gd name="T7" fmla="*/ 97 h 1308"/>
                <a:gd name="T8" fmla="*/ 21 w 1362"/>
                <a:gd name="T9" fmla="*/ 95 h 1308"/>
                <a:gd name="T10" fmla="*/ 20 w 1362"/>
                <a:gd name="T11" fmla="*/ 90 h 1308"/>
                <a:gd name="T12" fmla="*/ 23 w 1362"/>
                <a:gd name="T13" fmla="*/ 87 h 1308"/>
                <a:gd name="T14" fmla="*/ 29 w 1362"/>
                <a:gd name="T15" fmla="*/ 81 h 1308"/>
                <a:gd name="T16" fmla="*/ 30 w 1362"/>
                <a:gd name="T17" fmla="*/ 78 h 1308"/>
                <a:gd name="T18" fmla="*/ 27 w 1362"/>
                <a:gd name="T19" fmla="*/ 75 h 1308"/>
                <a:gd name="T20" fmla="*/ 15 w 1362"/>
                <a:gd name="T21" fmla="*/ 73 h 1308"/>
                <a:gd name="T22" fmla="*/ 12 w 1362"/>
                <a:gd name="T23" fmla="*/ 69 h 1308"/>
                <a:gd name="T24" fmla="*/ 5 w 1362"/>
                <a:gd name="T25" fmla="*/ 65 h 1308"/>
                <a:gd name="T26" fmla="*/ 6 w 1362"/>
                <a:gd name="T27" fmla="*/ 62 h 1308"/>
                <a:gd name="T28" fmla="*/ 7 w 1362"/>
                <a:gd name="T29" fmla="*/ 56 h 1308"/>
                <a:gd name="T30" fmla="*/ 2 w 1362"/>
                <a:gd name="T31" fmla="*/ 49 h 1308"/>
                <a:gd name="T32" fmla="*/ 0 w 1362"/>
                <a:gd name="T33" fmla="*/ 44 h 1308"/>
                <a:gd name="T34" fmla="*/ 0 w 1362"/>
                <a:gd name="T35" fmla="*/ 39 h 1308"/>
                <a:gd name="T36" fmla="*/ 3 w 1362"/>
                <a:gd name="T37" fmla="*/ 35 h 1308"/>
                <a:gd name="T38" fmla="*/ 3 w 1362"/>
                <a:gd name="T39" fmla="*/ 28 h 1308"/>
                <a:gd name="T40" fmla="*/ 6 w 1362"/>
                <a:gd name="T41" fmla="*/ 18 h 1308"/>
                <a:gd name="T42" fmla="*/ 6 w 1362"/>
                <a:gd name="T43" fmla="*/ 8 h 1308"/>
                <a:gd name="T44" fmla="*/ 10 w 1362"/>
                <a:gd name="T45" fmla="*/ 5 h 1308"/>
                <a:gd name="T46" fmla="*/ 15 w 1362"/>
                <a:gd name="T47" fmla="*/ 0 h 1308"/>
                <a:gd name="T48" fmla="*/ 21 w 1362"/>
                <a:gd name="T49" fmla="*/ 7 h 1308"/>
                <a:gd name="T50" fmla="*/ 25 w 1362"/>
                <a:gd name="T51" fmla="*/ 15 h 1308"/>
                <a:gd name="T52" fmla="*/ 24 w 1362"/>
                <a:gd name="T53" fmla="*/ 19 h 1308"/>
                <a:gd name="T54" fmla="*/ 32 w 1362"/>
                <a:gd name="T55" fmla="*/ 19 h 1308"/>
                <a:gd name="T56" fmla="*/ 35 w 1362"/>
                <a:gd name="T57" fmla="*/ 20 h 1308"/>
                <a:gd name="T58" fmla="*/ 40 w 1362"/>
                <a:gd name="T59" fmla="*/ 23 h 1308"/>
                <a:gd name="T60" fmla="*/ 40 w 1362"/>
                <a:gd name="T61" fmla="*/ 26 h 1308"/>
                <a:gd name="T62" fmla="*/ 34 w 1362"/>
                <a:gd name="T63" fmla="*/ 35 h 1308"/>
                <a:gd name="T64" fmla="*/ 41 w 1362"/>
                <a:gd name="T65" fmla="*/ 37 h 1308"/>
                <a:gd name="T66" fmla="*/ 43 w 1362"/>
                <a:gd name="T67" fmla="*/ 44 h 1308"/>
                <a:gd name="T68" fmla="*/ 48 w 1362"/>
                <a:gd name="T69" fmla="*/ 47 h 1308"/>
                <a:gd name="T70" fmla="*/ 57 w 1362"/>
                <a:gd name="T71" fmla="*/ 48 h 1308"/>
                <a:gd name="T72" fmla="*/ 70 w 1362"/>
                <a:gd name="T73" fmla="*/ 44 h 1308"/>
                <a:gd name="T74" fmla="*/ 80 w 1362"/>
                <a:gd name="T75" fmla="*/ 34 h 1308"/>
                <a:gd name="T76" fmla="*/ 95 w 1362"/>
                <a:gd name="T77" fmla="*/ 41 h 1308"/>
                <a:gd name="T78" fmla="*/ 109 w 1362"/>
                <a:gd name="T79" fmla="*/ 47 h 1308"/>
                <a:gd name="T80" fmla="*/ 111 w 1362"/>
                <a:gd name="T81" fmla="*/ 50 h 1308"/>
                <a:gd name="T82" fmla="*/ 113 w 1362"/>
                <a:gd name="T83" fmla="*/ 53 h 1308"/>
                <a:gd name="T84" fmla="*/ 113 w 1362"/>
                <a:gd name="T85" fmla="*/ 55 h 1308"/>
                <a:gd name="T86" fmla="*/ 113 w 1362"/>
                <a:gd name="T87" fmla="*/ 59 h 1308"/>
                <a:gd name="T88" fmla="*/ 113 w 1362"/>
                <a:gd name="T89" fmla="*/ 62 h 1308"/>
                <a:gd name="T90" fmla="*/ 115 w 1362"/>
                <a:gd name="T91" fmla="*/ 65 h 1308"/>
                <a:gd name="T92" fmla="*/ 115 w 1362"/>
                <a:gd name="T93" fmla="*/ 67 h 1308"/>
                <a:gd name="T94" fmla="*/ 116 w 1362"/>
                <a:gd name="T95" fmla="*/ 69 h 1308"/>
                <a:gd name="T96" fmla="*/ 116 w 1362"/>
                <a:gd name="T97" fmla="*/ 71 h 1308"/>
                <a:gd name="T98" fmla="*/ 118 w 1362"/>
                <a:gd name="T99" fmla="*/ 75 h 1308"/>
                <a:gd name="T100" fmla="*/ 116 w 1362"/>
                <a:gd name="T101" fmla="*/ 77 h 1308"/>
                <a:gd name="T102" fmla="*/ 116 w 1362"/>
                <a:gd name="T103" fmla="*/ 79 h 1308"/>
                <a:gd name="T104" fmla="*/ 101 w 1362"/>
                <a:gd name="T105" fmla="*/ 87 h 1308"/>
                <a:gd name="T106" fmla="*/ 85 w 1362"/>
                <a:gd name="T107" fmla="*/ 103 h 1308"/>
                <a:gd name="T108" fmla="*/ 67 w 1362"/>
                <a:gd name="T109" fmla="*/ 114 h 130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62"/>
                <a:gd name="T166" fmla="*/ 0 h 1308"/>
                <a:gd name="T167" fmla="*/ 1362 w 1362"/>
                <a:gd name="T168" fmla="*/ 1308 h 130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62" h="1308">
                  <a:moveTo>
                    <a:pt x="684" y="1278"/>
                  </a:moveTo>
                  <a:lnTo>
                    <a:pt x="672" y="1272"/>
                  </a:lnTo>
                  <a:lnTo>
                    <a:pt x="636" y="1266"/>
                  </a:lnTo>
                  <a:lnTo>
                    <a:pt x="582" y="1248"/>
                  </a:lnTo>
                  <a:lnTo>
                    <a:pt x="564" y="1230"/>
                  </a:lnTo>
                  <a:lnTo>
                    <a:pt x="540" y="1218"/>
                  </a:lnTo>
                  <a:lnTo>
                    <a:pt x="510" y="1218"/>
                  </a:lnTo>
                  <a:lnTo>
                    <a:pt x="498" y="1224"/>
                  </a:lnTo>
                  <a:lnTo>
                    <a:pt x="492" y="1230"/>
                  </a:lnTo>
                  <a:lnTo>
                    <a:pt x="474" y="1230"/>
                  </a:lnTo>
                  <a:lnTo>
                    <a:pt x="414" y="1230"/>
                  </a:lnTo>
                  <a:lnTo>
                    <a:pt x="396" y="1236"/>
                  </a:lnTo>
                  <a:lnTo>
                    <a:pt x="390" y="1248"/>
                  </a:lnTo>
                  <a:lnTo>
                    <a:pt x="372" y="1248"/>
                  </a:lnTo>
                  <a:lnTo>
                    <a:pt x="366" y="1242"/>
                  </a:lnTo>
                  <a:lnTo>
                    <a:pt x="366" y="1224"/>
                  </a:lnTo>
                  <a:lnTo>
                    <a:pt x="360" y="1224"/>
                  </a:lnTo>
                  <a:lnTo>
                    <a:pt x="354" y="1218"/>
                  </a:lnTo>
                  <a:lnTo>
                    <a:pt x="336" y="1206"/>
                  </a:lnTo>
                  <a:lnTo>
                    <a:pt x="330" y="1194"/>
                  </a:lnTo>
                  <a:lnTo>
                    <a:pt x="288" y="1200"/>
                  </a:lnTo>
                  <a:lnTo>
                    <a:pt x="288" y="1194"/>
                  </a:lnTo>
                  <a:lnTo>
                    <a:pt x="288" y="1182"/>
                  </a:lnTo>
                  <a:lnTo>
                    <a:pt x="288" y="1170"/>
                  </a:lnTo>
                  <a:lnTo>
                    <a:pt x="288" y="1164"/>
                  </a:lnTo>
                  <a:lnTo>
                    <a:pt x="282" y="1140"/>
                  </a:lnTo>
                  <a:lnTo>
                    <a:pt x="276" y="1134"/>
                  </a:lnTo>
                  <a:lnTo>
                    <a:pt x="258" y="1116"/>
                  </a:lnTo>
                  <a:lnTo>
                    <a:pt x="258" y="1110"/>
                  </a:lnTo>
                  <a:lnTo>
                    <a:pt x="252" y="1110"/>
                  </a:lnTo>
                  <a:lnTo>
                    <a:pt x="252" y="1104"/>
                  </a:lnTo>
                  <a:lnTo>
                    <a:pt x="252" y="1098"/>
                  </a:lnTo>
                  <a:lnTo>
                    <a:pt x="240" y="1092"/>
                  </a:lnTo>
                  <a:lnTo>
                    <a:pt x="234" y="1092"/>
                  </a:lnTo>
                  <a:lnTo>
                    <a:pt x="240" y="1086"/>
                  </a:lnTo>
                  <a:lnTo>
                    <a:pt x="234" y="1080"/>
                  </a:lnTo>
                  <a:lnTo>
                    <a:pt x="228" y="1080"/>
                  </a:lnTo>
                  <a:lnTo>
                    <a:pt x="228" y="1068"/>
                  </a:lnTo>
                  <a:lnTo>
                    <a:pt x="228" y="1056"/>
                  </a:lnTo>
                  <a:lnTo>
                    <a:pt x="222" y="1056"/>
                  </a:lnTo>
                  <a:lnTo>
                    <a:pt x="228" y="1044"/>
                  </a:lnTo>
                  <a:lnTo>
                    <a:pt x="228" y="1038"/>
                  </a:lnTo>
                  <a:lnTo>
                    <a:pt x="228" y="1032"/>
                  </a:lnTo>
                  <a:lnTo>
                    <a:pt x="234" y="1026"/>
                  </a:lnTo>
                  <a:lnTo>
                    <a:pt x="246" y="1020"/>
                  </a:lnTo>
                  <a:lnTo>
                    <a:pt x="252" y="1020"/>
                  </a:lnTo>
                  <a:lnTo>
                    <a:pt x="258" y="1014"/>
                  </a:lnTo>
                  <a:lnTo>
                    <a:pt x="264" y="1008"/>
                  </a:lnTo>
                  <a:lnTo>
                    <a:pt x="264" y="1002"/>
                  </a:lnTo>
                  <a:lnTo>
                    <a:pt x="270" y="984"/>
                  </a:lnTo>
                  <a:lnTo>
                    <a:pt x="276" y="978"/>
                  </a:lnTo>
                  <a:lnTo>
                    <a:pt x="300" y="978"/>
                  </a:lnTo>
                  <a:lnTo>
                    <a:pt x="306" y="972"/>
                  </a:lnTo>
                  <a:lnTo>
                    <a:pt x="312" y="966"/>
                  </a:lnTo>
                  <a:lnTo>
                    <a:pt x="324" y="936"/>
                  </a:lnTo>
                  <a:lnTo>
                    <a:pt x="330" y="930"/>
                  </a:lnTo>
                  <a:lnTo>
                    <a:pt x="330" y="924"/>
                  </a:lnTo>
                  <a:lnTo>
                    <a:pt x="336" y="918"/>
                  </a:lnTo>
                  <a:lnTo>
                    <a:pt x="342" y="912"/>
                  </a:lnTo>
                  <a:lnTo>
                    <a:pt x="342" y="906"/>
                  </a:lnTo>
                  <a:lnTo>
                    <a:pt x="342" y="900"/>
                  </a:lnTo>
                  <a:lnTo>
                    <a:pt x="342" y="894"/>
                  </a:lnTo>
                  <a:lnTo>
                    <a:pt x="342" y="888"/>
                  </a:lnTo>
                  <a:lnTo>
                    <a:pt x="336" y="876"/>
                  </a:lnTo>
                  <a:lnTo>
                    <a:pt x="342" y="870"/>
                  </a:lnTo>
                  <a:lnTo>
                    <a:pt x="336" y="864"/>
                  </a:lnTo>
                  <a:lnTo>
                    <a:pt x="336" y="858"/>
                  </a:lnTo>
                  <a:lnTo>
                    <a:pt x="330" y="852"/>
                  </a:lnTo>
                  <a:lnTo>
                    <a:pt x="318" y="852"/>
                  </a:lnTo>
                  <a:lnTo>
                    <a:pt x="306" y="858"/>
                  </a:lnTo>
                  <a:lnTo>
                    <a:pt x="264" y="864"/>
                  </a:lnTo>
                  <a:lnTo>
                    <a:pt x="234" y="858"/>
                  </a:lnTo>
                  <a:lnTo>
                    <a:pt x="228" y="858"/>
                  </a:lnTo>
                  <a:lnTo>
                    <a:pt x="198" y="858"/>
                  </a:lnTo>
                  <a:lnTo>
                    <a:pt x="174" y="858"/>
                  </a:lnTo>
                  <a:lnTo>
                    <a:pt x="168" y="852"/>
                  </a:lnTo>
                  <a:lnTo>
                    <a:pt x="168" y="840"/>
                  </a:lnTo>
                  <a:lnTo>
                    <a:pt x="168" y="834"/>
                  </a:lnTo>
                  <a:lnTo>
                    <a:pt x="168" y="822"/>
                  </a:lnTo>
                  <a:lnTo>
                    <a:pt x="162" y="822"/>
                  </a:lnTo>
                  <a:lnTo>
                    <a:pt x="150" y="816"/>
                  </a:lnTo>
                  <a:lnTo>
                    <a:pt x="144" y="810"/>
                  </a:lnTo>
                  <a:lnTo>
                    <a:pt x="144" y="804"/>
                  </a:lnTo>
                  <a:lnTo>
                    <a:pt x="144" y="786"/>
                  </a:lnTo>
                  <a:lnTo>
                    <a:pt x="144" y="780"/>
                  </a:lnTo>
                  <a:lnTo>
                    <a:pt x="144" y="774"/>
                  </a:lnTo>
                  <a:lnTo>
                    <a:pt x="132" y="756"/>
                  </a:lnTo>
                  <a:lnTo>
                    <a:pt x="120" y="756"/>
                  </a:lnTo>
                  <a:lnTo>
                    <a:pt x="84" y="750"/>
                  </a:lnTo>
                  <a:lnTo>
                    <a:pt x="78" y="744"/>
                  </a:lnTo>
                  <a:lnTo>
                    <a:pt x="60" y="744"/>
                  </a:lnTo>
                  <a:lnTo>
                    <a:pt x="54" y="726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66" y="720"/>
                  </a:lnTo>
                  <a:lnTo>
                    <a:pt x="66" y="714"/>
                  </a:lnTo>
                  <a:lnTo>
                    <a:pt x="72" y="714"/>
                  </a:lnTo>
                  <a:lnTo>
                    <a:pt x="72" y="708"/>
                  </a:lnTo>
                  <a:lnTo>
                    <a:pt x="78" y="702"/>
                  </a:lnTo>
                  <a:lnTo>
                    <a:pt x="78" y="696"/>
                  </a:lnTo>
                  <a:lnTo>
                    <a:pt x="78" y="690"/>
                  </a:lnTo>
                  <a:lnTo>
                    <a:pt x="84" y="678"/>
                  </a:lnTo>
                  <a:lnTo>
                    <a:pt x="90" y="666"/>
                  </a:lnTo>
                  <a:lnTo>
                    <a:pt x="90" y="642"/>
                  </a:lnTo>
                  <a:lnTo>
                    <a:pt x="84" y="648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66" y="642"/>
                  </a:lnTo>
                  <a:lnTo>
                    <a:pt x="60" y="642"/>
                  </a:lnTo>
                  <a:lnTo>
                    <a:pt x="54" y="636"/>
                  </a:lnTo>
                  <a:lnTo>
                    <a:pt x="30" y="570"/>
                  </a:lnTo>
                  <a:lnTo>
                    <a:pt x="24" y="564"/>
                  </a:lnTo>
                  <a:lnTo>
                    <a:pt x="18" y="570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6"/>
                  </a:lnTo>
                  <a:lnTo>
                    <a:pt x="6" y="540"/>
                  </a:lnTo>
                  <a:lnTo>
                    <a:pt x="0" y="522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2" y="480"/>
                  </a:lnTo>
                  <a:lnTo>
                    <a:pt x="6" y="480"/>
                  </a:lnTo>
                  <a:lnTo>
                    <a:pt x="0" y="474"/>
                  </a:lnTo>
                  <a:lnTo>
                    <a:pt x="0" y="450"/>
                  </a:lnTo>
                  <a:lnTo>
                    <a:pt x="6" y="450"/>
                  </a:lnTo>
                  <a:lnTo>
                    <a:pt x="12" y="450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32"/>
                  </a:lnTo>
                  <a:lnTo>
                    <a:pt x="30" y="426"/>
                  </a:lnTo>
                  <a:lnTo>
                    <a:pt x="36" y="402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2" y="366"/>
                  </a:lnTo>
                  <a:lnTo>
                    <a:pt x="48" y="360"/>
                  </a:lnTo>
                  <a:lnTo>
                    <a:pt x="48" y="342"/>
                  </a:lnTo>
                  <a:lnTo>
                    <a:pt x="42" y="330"/>
                  </a:lnTo>
                  <a:lnTo>
                    <a:pt x="36" y="324"/>
                  </a:lnTo>
                  <a:lnTo>
                    <a:pt x="42" y="306"/>
                  </a:lnTo>
                  <a:lnTo>
                    <a:pt x="42" y="270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48" y="258"/>
                  </a:lnTo>
                  <a:lnTo>
                    <a:pt x="72" y="252"/>
                  </a:lnTo>
                  <a:lnTo>
                    <a:pt x="66" y="204"/>
                  </a:lnTo>
                  <a:lnTo>
                    <a:pt x="60" y="198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8" y="13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84" y="96"/>
                  </a:lnTo>
                  <a:lnTo>
                    <a:pt x="90" y="84"/>
                  </a:lnTo>
                  <a:lnTo>
                    <a:pt x="108" y="72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20" y="60"/>
                  </a:lnTo>
                  <a:lnTo>
                    <a:pt x="120" y="54"/>
                  </a:lnTo>
                  <a:lnTo>
                    <a:pt x="120" y="48"/>
                  </a:lnTo>
                  <a:lnTo>
                    <a:pt x="126" y="48"/>
                  </a:lnTo>
                  <a:lnTo>
                    <a:pt x="132" y="42"/>
                  </a:lnTo>
                  <a:lnTo>
                    <a:pt x="132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240" y="18"/>
                  </a:lnTo>
                  <a:lnTo>
                    <a:pt x="246" y="42"/>
                  </a:lnTo>
                  <a:lnTo>
                    <a:pt x="240" y="72"/>
                  </a:lnTo>
                  <a:lnTo>
                    <a:pt x="246" y="78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8" y="108"/>
                  </a:lnTo>
                  <a:lnTo>
                    <a:pt x="276" y="114"/>
                  </a:lnTo>
                  <a:lnTo>
                    <a:pt x="294" y="150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82" y="186"/>
                  </a:lnTo>
                  <a:lnTo>
                    <a:pt x="282" y="192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76" y="216"/>
                  </a:lnTo>
                  <a:lnTo>
                    <a:pt x="288" y="240"/>
                  </a:lnTo>
                  <a:lnTo>
                    <a:pt x="312" y="228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66" y="228"/>
                  </a:lnTo>
                  <a:lnTo>
                    <a:pt x="372" y="228"/>
                  </a:lnTo>
                  <a:lnTo>
                    <a:pt x="372" y="222"/>
                  </a:lnTo>
                  <a:lnTo>
                    <a:pt x="378" y="222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6" y="222"/>
                  </a:lnTo>
                  <a:lnTo>
                    <a:pt x="402" y="222"/>
                  </a:lnTo>
                  <a:lnTo>
                    <a:pt x="402" y="228"/>
                  </a:lnTo>
                  <a:lnTo>
                    <a:pt x="408" y="228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26" y="216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68" y="258"/>
                  </a:lnTo>
                  <a:lnTo>
                    <a:pt x="462" y="264"/>
                  </a:lnTo>
                  <a:lnTo>
                    <a:pt x="468" y="264"/>
                  </a:lnTo>
                  <a:lnTo>
                    <a:pt x="468" y="270"/>
                  </a:lnTo>
                  <a:lnTo>
                    <a:pt x="474" y="270"/>
                  </a:lnTo>
                  <a:lnTo>
                    <a:pt x="480" y="276"/>
                  </a:lnTo>
                  <a:lnTo>
                    <a:pt x="474" y="282"/>
                  </a:lnTo>
                  <a:lnTo>
                    <a:pt x="474" y="288"/>
                  </a:lnTo>
                  <a:lnTo>
                    <a:pt x="462" y="294"/>
                  </a:lnTo>
                  <a:lnTo>
                    <a:pt x="468" y="324"/>
                  </a:lnTo>
                  <a:lnTo>
                    <a:pt x="462" y="336"/>
                  </a:lnTo>
                  <a:lnTo>
                    <a:pt x="456" y="354"/>
                  </a:lnTo>
                  <a:lnTo>
                    <a:pt x="432" y="390"/>
                  </a:lnTo>
                  <a:lnTo>
                    <a:pt x="420" y="390"/>
                  </a:lnTo>
                  <a:lnTo>
                    <a:pt x="402" y="390"/>
                  </a:lnTo>
                  <a:lnTo>
                    <a:pt x="396" y="396"/>
                  </a:lnTo>
                  <a:lnTo>
                    <a:pt x="390" y="396"/>
                  </a:lnTo>
                  <a:lnTo>
                    <a:pt x="390" y="402"/>
                  </a:lnTo>
                  <a:lnTo>
                    <a:pt x="384" y="402"/>
                  </a:lnTo>
                  <a:lnTo>
                    <a:pt x="408" y="432"/>
                  </a:lnTo>
                  <a:lnTo>
                    <a:pt x="432" y="438"/>
                  </a:lnTo>
                  <a:lnTo>
                    <a:pt x="456" y="432"/>
                  </a:lnTo>
                  <a:lnTo>
                    <a:pt x="468" y="426"/>
                  </a:lnTo>
                  <a:lnTo>
                    <a:pt x="468" y="444"/>
                  </a:lnTo>
                  <a:lnTo>
                    <a:pt x="468" y="450"/>
                  </a:lnTo>
                  <a:lnTo>
                    <a:pt x="468" y="474"/>
                  </a:lnTo>
                  <a:lnTo>
                    <a:pt x="486" y="480"/>
                  </a:lnTo>
                  <a:lnTo>
                    <a:pt x="486" y="486"/>
                  </a:lnTo>
                  <a:lnTo>
                    <a:pt x="492" y="498"/>
                  </a:lnTo>
                  <a:lnTo>
                    <a:pt x="492" y="504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504" y="516"/>
                  </a:lnTo>
                  <a:lnTo>
                    <a:pt x="510" y="516"/>
                  </a:lnTo>
                  <a:lnTo>
                    <a:pt x="522" y="528"/>
                  </a:lnTo>
                  <a:lnTo>
                    <a:pt x="546" y="540"/>
                  </a:lnTo>
                  <a:lnTo>
                    <a:pt x="552" y="546"/>
                  </a:lnTo>
                  <a:lnTo>
                    <a:pt x="570" y="552"/>
                  </a:lnTo>
                  <a:lnTo>
                    <a:pt x="594" y="552"/>
                  </a:lnTo>
                  <a:lnTo>
                    <a:pt x="606" y="546"/>
                  </a:lnTo>
                  <a:lnTo>
                    <a:pt x="612" y="540"/>
                  </a:lnTo>
                  <a:lnTo>
                    <a:pt x="630" y="540"/>
                  </a:lnTo>
                  <a:lnTo>
                    <a:pt x="630" y="552"/>
                  </a:lnTo>
                  <a:lnTo>
                    <a:pt x="654" y="552"/>
                  </a:lnTo>
                  <a:lnTo>
                    <a:pt x="702" y="558"/>
                  </a:lnTo>
                  <a:lnTo>
                    <a:pt x="762" y="546"/>
                  </a:lnTo>
                  <a:lnTo>
                    <a:pt x="780" y="546"/>
                  </a:lnTo>
                  <a:lnTo>
                    <a:pt x="780" y="528"/>
                  </a:lnTo>
                  <a:lnTo>
                    <a:pt x="798" y="522"/>
                  </a:lnTo>
                  <a:lnTo>
                    <a:pt x="810" y="510"/>
                  </a:lnTo>
                  <a:lnTo>
                    <a:pt x="810" y="504"/>
                  </a:lnTo>
                  <a:lnTo>
                    <a:pt x="828" y="492"/>
                  </a:lnTo>
                  <a:lnTo>
                    <a:pt x="888" y="486"/>
                  </a:lnTo>
                  <a:lnTo>
                    <a:pt x="912" y="486"/>
                  </a:lnTo>
                  <a:lnTo>
                    <a:pt x="930" y="474"/>
                  </a:lnTo>
                  <a:lnTo>
                    <a:pt x="918" y="456"/>
                  </a:lnTo>
                  <a:lnTo>
                    <a:pt x="912" y="450"/>
                  </a:lnTo>
                  <a:lnTo>
                    <a:pt x="918" y="390"/>
                  </a:lnTo>
                  <a:lnTo>
                    <a:pt x="954" y="396"/>
                  </a:lnTo>
                  <a:lnTo>
                    <a:pt x="984" y="402"/>
                  </a:lnTo>
                  <a:lnTo>
                    <a:pt x="1014" y="420"/>
                  </a:lnTo>
                  <a:lnTo>
                    <a:pt x="1026" y="432"/>
                  </a:lnTo>
                  <a:lnTo>
                    <a:pt x="1044" y="450"/>
                  </a:lnTo>
                  <a:lnTo>
                    <a:pt x="1062" y="462"/>
                  </a:lnTo>
                  <a:lnTo>
                    <a:pt x="1098" y="468"/>
                  </a:lnTo>
                  <a:lnTo>
                    <a:pt x="1128" y="480"/>
                  </a:lnTo>
                  <a:lnTo>
                    <a:pt x="1152" y="486"/>
                  </a:lnTo>
                  <a:lnTo>
                    <a:pt x="1188" y="498"/>
                  </a:lnTo>
                  <a:lnTo>
                    <a:pt x="1212" y="504"/>
                  </a:lnTo>
                  <a:lnTo>
                    <a:pt x="1224" y="528"/>
                  </a:lnTo>
                  <a:lnTo>
                    <a:pt x="1236" y="540"/>
                  </a:lnTo>
                  <a:lnTo>
                    <a:pt x="1254" y="540"/>
                  </a:lnTo>
                  <a:lnTo>
                    <a:pt x="1254" y="546"/>
                  </a:lnTo>
                  <a:lnTo>
                    <a:pt x="1260" y="552"/>
                  </a:lnTo>
                  <a:lnTo>
                    <a:pt x="1266" y="552"/>
                  </a:lnTo>
                  <a:lnTo>
                    <a:pt x="1266" y="558"/>
                  </a:lnTo>
                  <a:lnTo>
                    <a:pt x="1272" y="564"/>
                  </a:lnTo>
                  <a:lnTo>
                    <a:pt x="1278" y="564"/>
                  </a:lnTo>
                  <a:lnTo>
                    <a:pt x="1278" y="570"/>
                  </a:lnTo>
                  <a:lnTo>
                    <a:pt x="1284" y="576"/>
                  </a:lnTo>
                  <a:lnTo>
                    <a:pt x="1290" y="582"/>
                  </a:lnTo>
                  <a:lnTo>
                    <a:pt x="1296" y="582"/>
                  </a:lnTo>
                  <a:lnTo>
                    <a:pt x="1296" y="588"/>
                  </a:lnTo>
                  <a:lnTo>
                    <a:pt x="1308" y="594"/>
                  </a:lnTo>
                  <a:lnTo>
                    <a:pt x="1308" y="600"/>
                  </a:lnTo>
                  <a:lnTo>
                    <a:pt x="1308" y="606"/>
                  </a:lnTo>
                  <a:lnTo>
                    <a:pt x="1314" y="612"/>
                  </a:lnTo>
                  <a:lnTo>
                    <a:pt x="1308" y="618"/>
                  </a:lnTo>
                  <a:lnTo>
                    <a:pt x="1314" y="618"/>
                  </a:lnTo>
                  <a:lnTo>
                    <a:pt x="1314" y="624"/>
                  </a:lnTo>
                  <a:lnTo>
                    <a:pt x="1308" y="624"/>
                  </a:lnTo>
                  <a:lnTo>
                    <a:pt x="1302" y="630"/>
                  </a:lnTo>
                  <a:lnTo>
                    <a:pt x="1302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296" y="654"/>
                  </a:lnTo>
                  <a:lnTo>
                    <a:pt x="1302" y="660"/>
                  </a:lnTo>
                  <a:lnTo>
                    <a:pt x="1302" y="666"/>
                  </a:lnTo>
                  <a:lnTo>
                    <a:pt x="1308" y="666"/>
                  </a:lnTo>
                  <a:lnTo>
                    <a:pt x="1308" y="672"/>
                  </a:lnTo>
                  <a:lnTo>
                    <a:pt x="1308" y="678"/>
                  </a:lnTo>
                  <a:lnTo>
                    <a:pt x="1308" y="684"/>
                  </a:lnTo>
                  <a:lnTo>
                    <a:pt x="1308" y="690"/>
                  </a:lnTo>
                  <a:lnTo>
                    <a:pt x="1302" y="696"/>
                  </a:lnTo>
                  <a:lnTo>
                    <a:pt x="1302" y="702"/>
                  </a:lnTo>
                  <a:lnTo>
                    <a:pt x="1308" y="702"/>
                  </a:lnTo>
                  <a:lnTo>
                    <a:pt x="1302" y="708"/>
                  </a:lnTo>
                  <a:lnTo>
                    <a:pt x="1308" y="714"/>
                  </a:lnTo>
                  <a:lnTo>
                    <a:pt x="1308" y="720"/>
                  </a:lnTo>
                  <a:lnTo>
                    <a:pt x="1308" y="726"/>
                  </a:lnTo>
                  <a:lnTo>
                    <a:pt x="1308" y="732"/>
                  </a:lnTo>
                  <a:lnTo>
                    <a:pt x="1314" y="732"/>
                  </a:lnTo>
                  <a:lnTo>
                    <a:pt x="1314" y="738"/>
                  </a:lnTo>
                  <a:lnTo>
                    <a:pt x="1320" y="744"/>
                  </a:lnTo>
                  <a:lnTo>
                    <a:pt x="1326" y="750"/>
                  </a:lnTo>
                  <a:lnTo>
                    <a:pt x="1320" y="750"/>
                  </a:lnTo>
                  <a:lnTo>
                    <a:pt x="1320" y="756"/>
                  </a:lnTo>
                  <a:lnTo>
                    <a:pt x="1314" y="756"/>
                  </a:lnTo>
                  <a:lnTo>
                    <a:pt x="1314" y="762"/>
                  </a:lnTo>
                  <a:lnTo>
                    <a:pt x="1314" y="768"/>
                  </a:lnTo>
                  <a:lnTo>
                    <a:pt x="1320" y="768"/>
                  </a:lnTo>
                  <a:lnTo>
                    <a:pt x="1320" y="762"/>
                  </a:lnTo>
                  <a:lnTo>
                    <a:pt x="1320" y="768"/>
                  </a:lnTo>
                  <a:lnTo>
                    <a:pt x="1326" y="774"/>
                  </a:lnTo>
                  <a:lnTo>
                    <a:pt x="1332" y="774"/>
                  </a:lnTo>
                  <a:lnTo>
                    <a:pt x="1332" y="780"/>
                  </a:lnTo>
                  <a:lnTo>
                    <a:pt x="1332" y="786"/>
                  </a:lnTo>
                  <a:lnTo>
                    <a:pt x="1332" y="792"/>
                  </a:lnTo>
                  <a:lnTo>
                    <a:pt x="1338" y="786"/>
                  </a:lnTo>
                  <a:lnTo>
                    <a:pt x="1338" y="792"/>
                  </a:lnTo>
                  <a:lnTo>
                    <a:pt x="1344" y="798"/>
                  </a:lnTo>
                  <a:lnTo>
                    <a:pt x="1344" y="804"/>
                  </a:lnTo>
                  <a:lnTo>
                    <a:pt x="1344" y="810"/>
                  </a:lnTo>
                  <a:lnTo>
                    <a:pt x="1344" y="816"/>
                  </a:lnTo>
                  <a:lnTo>
                    <a:pt x="1344" y="822"/>
                  </a:lnTo>
                  <a:lnTo>
                    <a:pt x="1338" y="828"/>
                  </a:lnTo>
                  <a:lnTo>
                    <a:pt x="1332" y="828"/>
                  </a:lnTo>
                  <a:lnTo>
                    <a:pt x="1338" y="840"/>
                  </a:lnTo>
                  <a:lnTo>
                    <a:pt x="1344" y="846"/>
                  </a:lnTo>
                  <a:lnTo>
                    <a:pt x="1344" y="852"/>
                  </a:lnTo>
                  <a:lnTo>
                    <a:pt x="1350" y="852"/>
                  </a:lnTo>
                  <a:lnTo>
                    <a:pt x="1356" y="858"/>
                  </a:lnTo>
                  <a:lnTo>
                    <a:pt x="1362" y="858"/>
                  </a:lnTo>
                  <a:lnTo>
                    <a:pt x="1362" y="870"/>
                  </a:lnTo>
                  <a:lnTo>
                    <a:pt x="1356" y="870"/>
                  </a:lnTo>
                  <a:lnTo>
                    <a:pt x="1356" y="876"/>
                  </a:lnTo>
                  <a:lnTo>
                    <a:pt x="1350" y="876"/>
                  </a:lnTo>
                  <a:lnTo>
                    <a:pt x="1344" y="876"/>
                  </a:lnTo>
                  <a:lnTo>
                    <a:pt x="1344" y="882"/>
                  </a:lnTo>
                  <a:lnTo>
                    <a:pt x="1338" y="882"/>
                  </a:lnTo>
                  <a:lnTo>
                    <a:pt x="1338" y="888"/>
                  </a:lnTo>
                  <a:lnTo>
                    <a:pt x="1338" y="894"/>
                  </a:lnTo>
                  <a:lnTo>
                    <a:pt x="1344" y="900"/>
                  </a:lnTo>
                  <a:lnTo>
                    <a:pt x="1344" y="906"/>
                  </a:lnTo>
                  <a:lnTo>
                    <a:pt x="1338" y="906"/>
                  </a:lnTo>
                  <a:lnTo>
                    <a:pt x="1332" y="912"/>
                  </a:lnTo>
                  <a:lnTo>
                    <a:pt x="1332" y="918"/>
                  </a:lnTo>
                  <a:lnTo>
                    <a:pt x="1326" y="918"/>
                  </a:lnTo>
                  <a:lnTo>
                    <a:pt x="1332" y="924"/>
                  </a:lnTo>
                  <a:lnTo>
                    <a:pt x="1284" y="942"/>
                  </a:lnTo>
                  <a:lnTo>
                    <a:pt x="1236" y="948"/>
                  </a:lnTo>
                  <a:lnTo>
                    <a:pt x="1194" y="966"/>
                  </a:lnTo>
                  <a:lnTo>
                    <a:pt x="1170" y="1002"/>
                  </a:lnTo>
                  <a:lnTo>
                    <a:pt x="1134" y="1020"/>
                  </a:lnTo>
                  <a:lnTo>
                    <a:pt x="1116" y="1032"/>
                  </a:lnTo>
                  <a:lnTo>
                    <a:pt x="1098" y="1050"/>
                  </a:lnTo>
                  <a:lnTo>
                    <a:pt x="1074" y="1074"/>
                  </a:lnTo>
                  <a:lnTo>
                    <a:pt x="1008" y="1134"/>
                  </a:lnTo>
                  <a:lnTo>
                    <a:pt x="990" y="1158"/>
                  </a:lnTo>
                  <a:lnTo>
                    <a:pt x="978" y="1182"/>
                  </a:lnTo>
                  <a:lnTo>
                    <a:pt x="960" y="1194"/>
                  </a:lnTo>
                  <a:lnTo>
                    <a:pt x="942" y="1212"/>
                  </a:lnTo>
                  <a:lnTo>
                    <a:pt x="912" y="1242"/>
                  </a:lnTo>
                  <a:lnTo>
                    <a:pt x="888" y="1254"/>
                  </a:lnTo>
                  <a:lnTo>
                    <a:pt x="864" y="1278"/>
                  </a:lnTo>
                  <a:lnTo>
                    <a:pt x="828" y="1296"/>
                  </a:lnTo>
                  <a:lnTo>
                    <a:pt x="774" y="1308"/>
                  </a:lnTo>
                  <a:lnTo>
                    <a:pt x="732" y="1302"/>
                  </a:lnTo>
                  <a:lnTo>
                    <a:pt x="702" y="1284"/>
                  </a:lnTo>
                  <a:lnTo>
                    <a:pt x="684" y="12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1" name="Freeform 16">
              <a:extLst>
                <a:ext uri="{FF2B5EF4-FFF2-40B4-BE49-F238E27FC236}">
                  <a16:creationId xmlns:a16="http://schemas.microsoft.com/office/drawing/2014/main" id="{D8D8591A-D9DB-4301-BEBD-D8F5A26DA9E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3001" y="2929369"/>
              <a:ext cx="914601" cy="1037736"/>
            </a:xfrm>
            <a:custGeom>
              <a:avLst/>
              <a:gdLst>
                <a:gd name="T0" fmla="*/ 144 w 1722"/>
                <a:gd name="T1" fmla="*/ 131 h 1956"/>
                <a:gd name="T2" fmla="*/ 142 w 1722"/>
                <a:gd name="T3" fmla="*/ 139 h 1956"/>
                <a:gd name="T4" fmla="*/ 137 w 1722"/>
                <a:gd name="T5" fmla="*/ 143 h 1956"/>
                <a:gd name="T6" fmla="*/ 133 w 1722"/>
                <a:gd name="T7" fmla="*/ 147 h 1956"/>
                <a:gd name="T8" fmla="*/ 132 w 1722"/>
                <a:gd name="T9" fmla="*/ 152 h 1956"/>
                <a:gd name="T10" fmla="*/ 130 w 1722"/>
                <a:gd name="T11" fmla="*/ 159 h 1956"/>
                <a:gd name="T12" fmla="*/ 127 w 1722"/>
                <a:gd name="T13" fmla="*/ 164 h 1956"/>
                <a:gd name="T14" fmla="*/ 123 w 1722"/>
                <a:gd name="T15" fmla="*/ 168 h 1956"/>
                <a:gd name="T16" fmla="*/ 117 w 1722"/>
                <a:gd name="T17" fmla="*/ 169 h 1956"/>
                <a:gd name="T18" fmla="*/ 110 w 1722"/>
                <a:gd name="T19" fmla="*/ 168 h 1956"/>
                <a:gd name="T20" fmla="*/ 104 w 1722"/>
                <a:gd name="T21" fmla="*/ 166 h 1956"/>
                <a:gd name="T22" fmla="*/ 101 w 1722"/>
                <a:gd name="T23" fmla="*/ 159 h 1956"/>
                <a:gd name="T24" fmla="*/ 95 w 1722"/>
                <a:gd name="T25" fmla="*/ 156 h 1956"/>
                <a:gd name="T26" fmla="*/ 89 w 1722"/>
                <a:gd name="T27" fmla="*/ 151 h 1956"/>
                <a:gd name="T28" fmla="*/ 87 w 1722"/>
                <a:gd name="T29" fmla="*/ 144 h 1956"/>
                <a:gd name="T30" fmla="*/ 82 w 1722"/>
                <a:gd name="T31" fmla="*/ 141 h 1956"/>
                <a:gd name="T32" fmla="*/ 76 w 1722"/>
                <a:gd name="T33" fmla="*/ 134 h 1956"/>
                <a:gd name="T34" fmla="*/ 74 w 1722"/>
                <a:gd name="T35" fmla="*/ 143 h 1956"/>
                <a:gd name="T36" fmla="*/ 68 w 1722"/>
                <a:gd name="T37" fmla="*/ 147 h 1956"/>
                <a:gd name="T38" fmla="*/ 54 w 1722"/>
                <a:gd name="T39" fmla="*/ 144 h 1956"/>
                <a:gd name="T40" fmla="*/ 51 w 1722"/>
                <a:gd name="T41" fmla="*/ 142 h 1956"/>
                <a:gd name="T42" fmla="*/ 42 w 1722"/>
                <a:gd name="T43" fmla="*/ 151 h 1956"/>
                <a:gd name="T44" fmla="*/ 33 w 1722"/>
                <a:gd name="T45" fmla="*/ 154 h 1956"/>
                <a:gd name="T46" fmla="*/ 31 w 1722"/>
                <a:gd name="T47" fmla="*/ 159 h 1956"/>
                <a:gd name="T48" fmla="*/ 29 w 1722"/>
                <a:gd name="T49" fmla="*/ 166 h 1956"/>
                <a:gd name="T50" fmla="*/ 25 w 1722"/>
                <a:gd name="T51" fmla="*/ 169 h 1956"/>
                <a:gd name="T52" fmla="*/ 27 w 1722"/>
                <a:gd name="T53" fmla="*/ 154 h 1956"/>
                <a:gd name="T54" fmla="*/ 37 w 1722"/>
                <a:gd name="T55" fmla="*/ 133 h 1956"/>
                <a:gd name="T56" fmla="*/ 36 w 1722"/>
                <a:gd name="T57" fmla="*/ 109 h 1956"/>
                <a:gd name="T58" fmla="*/ 27 w 1722"/>
                <a:gd name="T59" fmla="*/ 101 h 1956"/>
                <a:gd name="T60" fmla="*/ 5 w 1722"/>
                <a:gd name="T61" fmla="*/ 98 h 1956"/>
                <a:gd name="T62" fmla="*/ 2 w 1722"/>
                <a:gd name="T63" fmla="*/ 93 h 1956"/>
                <a:gd name="T64" fmla="*/ 12 w 1722"/>
                <a:gd name="T65" fmla="*/ 82 h 1956"/>
                <a:gd name="T66" fmla="*/ 9 w 1722"/>
                <a:gd name="T67" fmla="*/ 74 h 1956"/>
                <a:gd name="T68" fmla="*/ 23 w 1722"/>
                <a:gd name="T69" fmla="*/ 72 h 1956"/>
                <a:gd name="T70" fmla="*/ 22 w 1722"/>
                <a:gd name="T71" fmla="*/ 67 h 1956"/>
                <a:gd name="T72" fmla="*/ 48 w 1722"/>
                <a:gd name="T73" fmla="*/ 57 h 1956"/>
                <a:gd name="T74" fmla="*/ 78 w 1722"/>
                <a:gd name="T75" fmla="*/ 34 h 1956"/>
                <a:gd name="T76" fmla="*/ 81 w 1722"/>
                <a:gd name="T77" fmla="*/ 31 h 1956"/>
                <a:gd name="T78" fmla="*/ 80 w 1722"/>
                <a:gd name="T79" fmla="*/ 26 h 1956"/>
                <a:gd name="T80" fmla="*/ 78 w 1722"/>
                <a:gd name="T81" fmla="*/ 21 h 1956"/>
                <a:gd name="T82" fmla="*/ 77 w 1722"/>
                <a:gd name="T83" fmla="*/ 18 h 1956"/>
                <a:gd name="T84" fmla="*/ 77 w 1722"/>
                <a:gd name="T85" fmla="*/ 12 h 1956"/>
                <a:gd name="T86" fmla="*/ 77 w 1722"/>
                <a:gd name="T87" fmla="*/ 7 h 1956"/>
                <a:gd name="T88" fmla="*/ 102 w 1722"/>
                <a:gd name="T89" fmla="*/ 2 h 1956"/>
                <a:gd name="T90" fmla="*/ 115 w 1722"/>
                <a:gd name="T91" fmla="*/ 3 h 1956"/>
                <a:gd name="T92" fmla="*/ 123 w 1722"/>
                <a:gd name="T93" fmla="*/ 3 h 1956"/>
                <a:gd name="T94" fmla="*/ 125 w 1722"/>
                <a:gd name="T95" fmla="*/ 9 h 1956"/>
                <a:gd name="T96" fmla="*/ 133 w 1722"/>
                <a:gd name="T97" fmla="*/ 13 h 1956"/>
                <a:gd name="T98" fmla="*/ 149 w 1722"/>
                <a:gd name="T99" fmla="*/ 37 h 1956"/>
                <a:gd name="T100" fmla="*/ 141 w 1722"/>
                <a:gd name="T101" fmla="*/ 57 h 1956"/>
                <a:gd name="T102" fmla="*/ 135 w 1722"/>
                <a:gd name="T103" fmla="*/ 63 h 1956"/>
                <a:gd name="T104" fmla="*/ 124 w 1722"/>
                <a:gd name="T105" fmla="*/ 77 h 1956"/>
                <a:gd name="T106" fmla="*/ 123 w 1722"/>
                <a:gd name="T107" fmla="*/ 96 h 1956"/>
                <a:gd name="T108" fmla="*/ 127 w 1722"/>
                <a:gd name="T109" fmla="*/ 97 h 1956"/>
                <a:gd name="T110" fmla="*/ 129 w 1722"/>
                <a:gd name="T111" fmla="*/ 92 h 1956"/>
                <a:gd name="T112" fmla="*/ 134 w 1722"/>
                <a:gd name="T113" fmla="*/ 94 h 1956"/>
                <a:gd name="T114" fmla="*/ 138 w 1722"/>
                <a:gd name="T115" fmla="*/ 99 h 1956"/>
                <a:gd name="T116" fmla="*/ 142 w 1722"/>
                <a:gd name="T117" fmla="*/ 104 h 1956"/>
                <a:gd name="T118" fmla="*/ 141 w 1722"/>
                <a:gd name="T119" fmla="*/ 115 h 19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722"/>
                <a:gd name="T181" fmla="*/ 0 h 1956"/>
                <a:gd name="T182" fmla="*/ 1722 w 1722"/>
                <a:gd name="T183" fmla="*/ 1956 h 19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722" h="1956">
                  <a:moveTo>
                    <a:pt x="1686" y="1404"/>
                  </a:moveTo>
                  <a:lnTo>
                    <a:pt x="1680" y="1416"/>
                  </a:lnTo>
                  <a:lnTo>
                    <a:pt x="1674" y="1422"/>
                  </a:lnTo>
                  <a:lnTo>
                    <a:pt x="1674" y="1428"/>
                  </a:lnTo>
                  <a:lnTo>
                    <a:pt x="1668" y="1428"/>
                  </a:lnTo>
                  <a:lnTo>
                    <a:pt x="1668" y="1434"/>
                  </a:lnTo>
                  <a:lnTo>
                    <a:pt x="1662" y="1446"/>
                  </a:lnTo>
                  <a:lnTo>
                    <a:pt x="1656" y="1464"/>
                  </a:lnTo>
                  <a:lnTo>
                    <a:pt x="1656" y="1476"/>
                  </a:lnTo>
                  <a:lnTo>
                    <a:pt x="1656" y="1488"/>
                  </a:lnTo>
                  <a:lnTo>
                    <a:pt x="1662" y="1500"/>
                  </a:lnTo>
                  <a:lnTo>
                    <a:pt x="1662" y="1506"/>
                  </a:lnTo>
                  <a:lnTo>
                    <a:pt x="1662" y="1524"/>
                  </a:lnTo>
                  <a:lnTo>
                    <a:pt x="1668" y="1542"/>
                  </a:lnTo>
                  <a:lnTo>
                    <a:pt x="1674" y="1560"/>
                  </a:lnTo>
                  <a:lnTo>
                    <a:pt x="1680" y="1578"/>
                  </a:lnTo>
                  <a:lnTo>
                    <a:pt x="1686" y="1578"/>
                  </a:lnTo>
                  <a:lnTo>
                    <a:pt x="1686" y="1584"/>
                  </a:lnTo>
                  <a:lnTo>
                    <a:pt x="1686" y="1590"/>
                  </a:lnTo>
                  <a:lnTo>
                    <a:pt x="1686" y="1596"/>
                  </a:lnTo>
                  <a:lnTo>
                    <a:pt x="1680" y="1596"/>
                  </a:lnTo>
                  <a:lnTo>
                    <a:pt x="1674" y="1602"/>
                  </a:lnTo>
                  <a:lnTo>
                    <a:pt x="1662" y="1602"/>
                  </a:lnTo>
                  <a:lnTo>
                    <a:pt x="1638" y="1596"/>
                  </a:lnTo>
                  <a:lnTo>
                    <a:pt x="1632" y="1596"/>
                  </a:lnTo>
                  <a:lnTo>
                    <a:pt x="1626" y="1602"/>
                  </a:lnTo>
                  <a:lnTo>
                    <a:pt x="1620" y="1602"/>
                  </a:lnTo>
                  <a:lnTo>
                    <a:pt x="1614" y="1602"/>
                  </a:lnTo>
                  <a:lnTo>
                    <a:pt x="1602" y="1602"/>
                  </a:lnTo>
                  <a:lnTo>
                    <a:pt x="1602" y="1608"/>
                  </a:lnTo>
                  <a:lnTo>
                    <a:pt x="1602" y="1620"/>
                  </a:lnTo>
                  <a:lnTo>
                    <a:pt x="1596" y="1620"/>
                  </a:lnTo>
                  <a:lnTo>
                    <a:pt x="1590" y="1620"/>
                  </a:lnTo>
                  <a:lnTo>
                    <a:pt x="1584" y="1626"/>
                  </a:lnTo>
                  <a:lnTo>
                    <a:pt x="1584" y="1632"/>
                  </a:lnTo>
                  <a:lnTo>
                    <a:pt x="1578" y="1644"/>
                  </a:lnTo>
                  <a:lnTo>
                    <a:pt x="1572" y="1644"/>
                  </a:lnTo>
                  <a:lnTo>
                    <a:pt x="1566" y="1644"/>
                  </a:lnTo>
                  <a:lnTo>
                    <a:pt x="1566" y="1650"/>
                  </a:lnTo>
                  <a:lnTo>
                    <a:pt x="1560" y="1650"/>
                  </a:lnTo>
                  <a:lnTo>
                    <a:pt x="1554" y="1650"/>
                  </a:lnTo>
                  <a:lnTo>
                    <a:pt x="1548" y="1650"/>
                  </a:lnTo>
                  <a:lnTo>
                    <a:pt x="1548" y="1656"/>
                  </a:lnTo>
                  <a:lnTo>
                    <a:pt x="1542" y="1668"/>
                  </a:lnTo>
                  <a:lnTo>
                    <a:pt x="1542" y="1674"/>
                  </a:lnTo>
                  <a:lnTo>
                    <a:pt x="1542" y="1692"/>
                  </a:lnTo>
                  <a:lnTo>
                    <a:pt x="1536" y="1698"/>
                  </a:lnTo>
                  <a:lnTo>
                    <a:pt x="1530" y="1698"/>
                  </a:lnTo>
                  <a:lnTo>
                    <a:pt x="1524" y="1698"/>
                  </a:lnTo>
                  <a:lnTo>
                    <a:pt x="1518" y="1704"/>
                  </a:lnTo>
                  <a:lnTo>
                    <a:pt x="1512" y="1710"/>
                  </a:lnTo>
                  <a:lnTo>
                    <a:pt x="1506" y="1722"/>
                  </a:lnTo>
                  <a:lnTo>
                    <a:pt x="1500" y="1728"/>
                  </a:lnTo>
                  <a:lnTo>
                    <a:pt x="1500" y="1734"/>
                  </a:lnTo>
                  <a:lnTo>
                    <a:pt x="1512" y="1734"/>
                  </a:lnTo>
                  <a:lnTo>
                    <a:pt x="1518" y="1740"/>
                  </a:lnTo>
                  <a:lnTo>
                    <a:pt x="1518" y="1746"/>
                  </a:lnTo>
                  <a:lnTo>
                    <a:pt x="1518" y="1752"/>
                  </a:lnTo>
                  <a:lnTo>
                    <a:pt x="1518" y="1758"/>
                  </a:lnTo>
                  <a:lnTo>
                    <a:pt x="1524" y="1758"/>
                  </a:lnTo>
                  <a:lnTo>
                    <a:pt x="1524" y="1764"/>
                  </a:lnTo>
                  <a:lnTo>
                    <a:pt x="1530" y="1770"/>
                  </a:lnTo>
                  <a:lnTo>
                    <a:pt x="1518" y="1770"/>
                  </a:lnTo>
                  <a:lnTo>
                    <a:pt x="1512" y="1782"/>
                  </a:lnTo>
                  <a:lnTo>
                    <a:pt x="1512" y="1788"/>
                  </a:lnTo>
                  <a:lnTo>
                    <a:pt x="1518" y="1788"/>
                  </a:lnTo>
                  <a:lnTo>
                    <a:pt x="1524" y="1800"/>
                  </a:lnTo>
                  <a:lnTo>
                    <a:pt x="1524" y="1806"/>
                  </a:lnTo>
                  <a:lnTo>
                    <a:pt x="1518" y="1812"/>
                  </a:lnTo>
                  <a:lnTo>
                    <a:pt x="1512" y="1818"/>
                  </a:lnTo>
                  <a:lnTo>
                    <a:pt x="1506" y="1818"/>
                  </a:lnTo>
                  <a:lnTo>
                    <a:pt x="1500" y="1824"/>
                  </a:lnTo>
                  <a:lnTo>
                    <a:pt x="1500" y="1836"/>
                  </a:lnTo>
                  <a:lnTo>
                    <a:pt x="1500" y="1842"/>
                  </a:lnTo>
                  <a:lnTo>
                    <a:pt x="1500" y="1848"/>
                  </a:lnTo>
                  <a:lnTo>
                    <a:pt x="1500" y="1854"/>
                  </a:lnTo>
                  <a:lnTo>
                    <a:pt x="1494" y="1860"/>
                  </a:lnTo>
                  <a:lnTo>
                    <a:pt x="1488" y="1860"/>
                  </a:lnTo>
                  <a:lnTo>
                    <a:pt x="1488" y="1866"/>
                  </a:lnTo>
                  <a:lnTo>
                    <a:pt x="1482" y="1872"/>
                  </a:lnTo>
                  <a:lnTo>
                    <a:pt x="1482" y="1878"/>
                  </a:lnTo>
                  <a:lnTo>
                    <a:pt x="1482" y="1884"/>
                  </a:lnTo>
                  <a:lnTo>
                    <a:pt x="1476" y="1890"/>
                  </a:lnTo>
                  <a:lnTo>
                    <a:pt x="1470" y="1890"/>
                  </a:lnTo>
                  <a:lnTo>
                    <a:pt x="1470" y="1896"/>
                  </a:lnTo>
                  <a:lnTo>
                    <a:pt x="1464" y="1896"/>
                  </a:lnTo>
                  <a:lnTo>
                    <a:pt x="1458" y="1896"/>
                  </a:lnTo>
                  <a:lnTo>
                    <a:pt x="1452" y="1896"/>
                  </a:lnTo>
                  <a:lnTo>
                    <a:pt x="1440" y="1890"/>
                  </a:lnTo>
                  <a:lnTo>
                    <a:pt x="1434" y="1896"/>
                  </a:lnTo>
                  <a:lnTo>
                    <a:pt x="1428" y="1896"/>
                  </a:lnTo>
                  <a:lnTo>
                    <a:pt x="1422" y="1896"/>
                  </a:lnTo>
                  <a:lnTo>
                    <a:pt x="1422" y="1902"/>
                  </a:lnTo>
                  <a:lnTo>
                    <a:pt x="1416" y="1902"/>
                  </a:lnTo>
                  <a:lnTo>
                    <a:pt x="1422" y="1914"/>
                  </a:lnTo>
                  <a:lnTo>
                    <a:pt x="1422" y="1932"/>
                  </a:lnTo>
                  <a:lnTo>
                    <a:pt x="1416" y="1938"/>
                  </a:lnTo>
                  <a:lnTo>
                    <a:pt x="1422" y="1938"/>
                  </a:lnTo>
                  <a:lnTo>
                    <a:pt x="1404" y="1938"/>
                  </a:lnTo>
                  <a:lnTo>
                    <a:pt x="1392" y="1944"/>
                  </a:lnTo>
                  <a:lnTo>
                    <a:pt x="1386" y="1944"/>
                  </a:lnTo>
                  <a:lnTo>
                    <a:pt x="1374" y="1944"/>
                  </a:lnTo>
                  <a:lnTo>
                    <a:pt x="1368" y="1950"/>
                  </a:lnTo>
                  <a:lnTo>
                    <a:pt x="1374" y="1956"/>
                  </a:lnTo>
                  <a:lnTo>
                    <a:pt x="1368" y="1956"/>
                  </a:lnTo>
                  <a:lnTo>
                    <a:pt x="1356" y="1956"/>
                  </a:lnTo>
                  <a:lnTo>
                    <a:pt x="1350" y="1956"/>
                  </a:lnTo>
                  <a:lnTo>
                    <a:pt x="1350" y="1950"/>
                  </a:lnTo>
                  <a:lnTo>
                    <a:pt x="1344" y="1944"/>
                  </a:lnTo>
                  <a:lnTo>
                    <a:pt x="1332" y="1938"/>
                  </a:lnTo>
                  <a:lnTo>
                    <a:pt x="1326" y="1938"/>
                  </a:lnTo>
                  <a:lnTo>
                    <a:pt x="1320" y="1938"/>
                  </a:lnTo>
                  <a:lnTo>
                    <a:pt x="1314" y="1944"/>
                  </a:lnTo>
                  <a:lnTo>
                    <a:pt x="1308" y="1944"/>
                  </a:lnTo>
                  <a:lnTo>
                    <a:pt x="1302" y="1944"/>
                  </a:lnTo>
                  <a:lnTo>
                    <a:pt x="1296" y="1938"/>
                  </a:lnTo>
                  <a:lnTo>
                    <a:pt x="1284" y="1938"/>
                  </a:lnTo>
                  <a:lnTo>
                    <a:pt x="1278" y="1938"/>
                  </a:lnTo>
                  <a:lnTo>
                    <a:pt x="1272" y="1938"/>
                  </a:lnTo>
                  <a:lnTo>
                    <a:pt x="1266" y="1932"/>
                  </a:lnTo>
                  <a:lnTo>
                    <a:pt x="1260" y="1932"/>
                  </a:lnTo>
                  <a:lnTo>
                    <a:pt x="1254" y="1920"/>
                  </a:lnTo>
                  <a:lnTo>
                    <a:pt x="1248" y="1920"/>
                  </a:lnTo>
                  <a:lnTo>
                    <a:pt x="1242" y="1920"/>
                  </a:lnTo>
                  <a:lnTo>
                    <a:pt x="1236" y="1926"/>
                  </a:lnTo>
                  <a:lnTo>
                    <a:pt x="1236" y="1932"/>
                  </a:lnTo>
                  <a:lnTo>
                    <a:pt x="1230" y="1932"/>
                  </a:lnTo>
                  <a:lnTo>
                    <a:pt x="1224" y="1932"/>
                  </a:lnTo>
                  <a:lnTo>
                    <a:pt x="1218" y="1938"/>
                  </a:lnTo>
                  <a:lnTo>
                    <a:pt x="1212" y="1932"/>
                  </a:lnTo>
                  <a:lnTo>
                    <a:pt x="1206" y="1926"/>
                  </a:lnTo>
                  <a:lnTo>
                    <a:pt x="1206" y="1908"/>
                  </a:lnTo>
                  <a:lnTo>
                    <a:pt x="1206" y="1884"/>
                  </a:lnTo>
                  <a:lnTo>
                    <a:pt x="1206" y="1866"/>
                  </a:lnTo>
                  <a:lnTo>
                    <a:pt x="1212" y="1848"/>
                  </a:lnTo>
                  <a:lnTo>
                    <a:pt x="1212" y="1842"/>
                  </a:lnTo>
                  <a:lnTo>
                    <a:pt x="1206" y="1836"/>
                  </a:lnTo>
                  <a:lnTo>
                    <a:pt x="1200" y="1830"/>
                  </a:lnTo>
                  <a:lnTo>
                    <a:pt x="1194" y="1824"/>
                  </a:lnTo>
                  <a:lnTo>
                    <a:pt x="1188" y="1824"/>
                  </a:lnTo>
                  <a:lnTo>
                    <a:pt x="1182" y="1824"/>
                  </a:lnTo>
                  <a:lnTo>
                    <a:pt x="1176" y="1824"/>
                  </a:lnTo>
                  <a:lnTo>
                    <a:pt x="1170" y="1818"/>
                  </a:lnTo>
                  <a:lnTo>
                    <a:pt x="1164" y="1830"/>
                  </a:lnTo>
                  <a:lnTo>
                    <a:pt x="1152" y="1836"/>
                  </a:lnTo>
                  <a:lnTo>
                    <a:pt x="1146" y="1842"/>
                  </a:lnTo>
                  <a:lnTo>
                    <a:pt x="1140" y="1842"/>
                  </a:lnTo>
                  <a:lnTo>
                    <a:pt x="1134" y="1842"/>
                  </a:lnTo>
                  <a:lnTo>
                    <a:pt x="1128" y="1842"/>
                  </a:lnTo>
                  <a:lnTo>
                    <a:pt x="1116" y="1836"/>
                  </a:lnTo>
                  <a:lnTo>
                    <a:pt x="1110" y="1842"/>
                  </a:lnTo>
                  <a:lnTo>
                    <a:pt x="1092" y="1830"/>
                  </a:lnTo>
                  <a:lnTo>
                    <a:pt x="1092" y="1824"/>
                  </a:lnTo>
                  <a:lnTo>
                    <a:pt x="1092" y="1806"/>
                  </a:lnTo>
                  <a:lnTo>
                    <a:pt x="1092" y="1800"/>
                  </a:lnTo>
                  <a:lnTo>
                    <a:pt x="1092" y="1794"/>
                  </a:lnTo>
                  <a:lnTo>
                    <a:pt x="1086" y="1788"/>
                  </a:lnTo>
                  <a:lnTo>
                    <a:pt x="1080" y="1794"/>
                  </a:lnTo>
                  <a:lnTo>
                    <a:pt x="1074" y="1788"/>
                  </a:lnTo>
                  <a:lnTo>
                    <a:pt x="1068" y="1770"/>
                  </a:lnTo>
                  <a:lnTo>
                    <a:pt x="1056" y="1764"/>
                  </a:lnTo>
                  <a:lnTo>
                    <a:pt x="1050" y="1764"/>
                  </a:lnTo>
                  <a:lnTo>
                    <a:pt x="1044" y="1764"/>
                  </a:lnTo>
                  <a:lnTo>
                    <a:pt x="1038" y="1758"/>
                  </a:lnTo>
                  <a:lnTo>
                    <a:pt x="1032" y="1752"/>
                  </a:lnTo>
                  <a:lnTo>
                    <a:pt x="1032" y="1746"/>
                  </a:lnTo>
                  <a:lnTo>
                    <a:pt x="1032" y="1740"/>
                  </a:lnTo>
                  <a:lnTo>
                    <a:pt x="1032" y="1734"/>
                  </a:lnTo>
                  <a:lnTo>
                    <a:pt x="1026" y="1734"/>
                  </a:lnTo>
                  <a:lnTo>
                    <a:pt x="1032" y="1728"/>
                  </a:lnTo>
                  <a:lnTo>
                    <a:pt x="1032" y="1722"/>
                  </a:lnTo>
                  <a:lnTo>
                    <a:pt x="1044" y="1686"/>
                  </a:lnTo>
                  <a:lnTo>
                    <a:pt x="1044" y="1680"/>
                  </a:lnTo>
                  <a:lnTo>
                    <a:pt x="1032" y="1674"/>
                  </a:lnTo>
                  <a:lnTo>
                    <a:pt x="1026" y="1674"/>
                  </a:lnTo>
                  <a:lnTo>
                    <a:pt x="1026" y="1668"/>
                  </a:lnTo>
                  <a:lnTo>
                    <a:pt x="1020" y="1662"/>
                  </a:lnTo>
                  <a:lnTo>
                    <a:pt x="1014" y="1668"/>
                  </a:lnTo>
                  <a:lnTo>
                    <a:pt x="1008" y="1662"/>
                  </a:lnTo>
                  <a:lnTo>
                    <a:pt x="1002" y="1662"/>
                  </a:lnTo>
                  <a:lnTo>
                    <a:pt x="1002" y="1668"/>
                  </a:lnTo>
                  <a:lnTo>
                    <a:pt x="996" y="1668"/>
                  </a:lnTo>
                  <a:lnTo>
                    <a:pt x="996" y="1662"/>
                  </a:lnTo>
                  <a:lnTo>
                    <a:pt x="984" y="1662"/>
                  </a:lnTo>
                  <a:lnTo>
                    <a:pt x="984" y="1656"/>
                  </a:lnTo>
                  <a:lnTo>
                    <a:pt x="978" y="1650"/>
                  </a:lnTo>
                  <a:lnTo>
                    <a:pt x="978" y="1644"/>
                  </a:lnTo>
                  <a:lnTo>
                    <a:pt x="966" y="1650"/>
                  </a:lnTo>
                  <a:lnTo>
                    <a:pt x="960" y="1638"/>
                  </a:lnTo>
                  <a:lnTo>
                    <a:pt x="954" y="1632"/>
                  </a:lnTo>
                  <a:lnTo>
                    <a:pt x="948" y="1632"/>
                  </a:lnTo>
                  <a:lnTo>
                    <a:pt x="942" y="1626"/>
                  </a:lnTo>
                  <a:lnTo>
                    <a:pt x="942" y="1614"/>
                  </a:lnTo>
                  <a:lnTo>
                    <a:pt x="930" y="1608"/>
                  </a:lnTo>
                  <a:lnTo>
                    <a:pt x="924" y="1614"/>
                  </a:lnTo>
                  <a:lnTo>
                    <a:pt x="912" y="1608"/>
                  </a:lnTo>
                  <a:lnTo>
                    <a:pt x="888" y="1590"/>
                  </a:lnTo>
                  <a:lnTo>
                    <a:pt x="894" y="1578"/>
                  </a:lnTo>
                  <a:lnTo>
                    <a:pt x="894" y="1572"/>
                  </a:lnTo>
                  <a:lnTo>
                    <a:pt x="894" y="1566"/>
                  </a:lnTo>
                  <a:lnTo>
                    <a:pt x="894" y="1548"/>
                  </a:lnTo>
                  <a:lnTo>
                    <a:pt x="888" y="1548"/>
                  </a:lnTo>
                  <a:lnTo>
                    <a:pt x="882" y="1542"/>
                  </a:lnTo>
                  <a:lnTo>
                    <a:pt x="876" y="1542"/>
                  </a:lnTo>
                  <a:lnTo>
                    <a:pt x="876" y="1536"/>
                  </a:lnTo>
                  <a:lnTo>
                    <a:pt x="870" y="1542"/>
                  </a:lnTo>
                  <a:lnTo>
                    <a:pt x="870" y="1554"/>
                  </a:lnTo>
                  <a:lnTo>
                    <a:pt x="870" y="1566"/>
                  </a:lnTo>
                  <a:lnTo>
                    <a:pt x="870" y="1578"/>
                  </a:lnTo>
                  <a:lnTo>
                    <a:pt x="870" y="1584"/>
                  </a:lnTo>
                  <a:lnTo>
                    <a:pt x="864" y="1584"/>
                  </a:lnTo>
                  <a:lnTo>
                    <a:pt x="870" y="1602"/>
                  </a:lnTo>
                  <a:lnTo>
                    <a:pt x="864" y="1608"/>
                  </a:lnTo>
                  <a:lnTo>
                    <a:pt x="870" y="1614"/>
                  </a:lnTo>
                  <a:lnTo>
                    <a:pt x="864" y="1644"/>
                  </a:lnTo>
                  <a:lnTo>
                    <a:pt x="858" y="1650"/>
                  </a:lnTo>
                  <a:lnTo>
                    <a:pt x="858" y="1656"/>
                  </a:lnTo>
                  <a:lnTo>
                    <a:pt x="852" y="1662"/>
                  </a:lnTo>
                  <a:lnTo>
                    <a:pt x="852" y="1680"/>
                  </a:lnTo>
                  <a:lnTo>
                    <a:pt x="846" y="1686"/>
                  </a:lnTo>
                  <a:lnTo>
                    <a:pt x="834" y="1692"/>
                  </a:lnTo>
                  <a:lnTo>
                    <a:pt x="828" y="1692"/>
                  </a:lnTo>
                  <a:lnTo>
                    <a:pt x="822" y="1698"/>
                  </a:lnTo>
                  <a:lnTo>
                    <a:pt x="822" y="1704"/>
                  </a:lnTo>
                  <a:lnTo>
                    <a:pt x="816" y="1704"/>
                  </a:lnTo>
                  <a:lnTo>
                    <a:pt x="804" y="1692"/>
                  </a:lnTo>
                  <a:lnTo>
                    <a:pt x="786" y="1698"/>
                  </a:lnTo>
                  <a:lnTo>
                    <a:pt x="780" y="1698"/>
                  </a:lnTo>
                  <a:lnTo>
                    <a:pt x="756" y="1698"/>
                  </a:lnTo>
                  <a:lnTo>
                    <a:pt x="744" y="1698"/>
                  </a:lnTo>
                  <a:lnTo>
                    <a:pt x="738" y="1698"/>
                  </a:lnTo>
                  <a:lnTo>
                    <a:pt x="732" y="1704"/>
                  </a:lnTo>
                  <a:lnTo>
                    <a:pt x="726" y="1704"/>
                  </a:lnTo>
                  <a:lnTo>
                    <a:pt x="678" y="1710"/>
                  </a:lnTo>
                  <a:lnTo>
                    <a:pt x="642" y="1710"/>
                  </a:lnTo>
                  <a:lnTo>
                    <a:pt x="618" y="1680"/>
                  </a:lnTo>
                  <a:lnTo>
                    <a:pt x="618" y="1674"/>
                  </a:lnTo>
                  <a:lnTo>
                    <a:pt x="618" y="1668"/>
                  </a:lnTo>
                  <a:lnTo>
                    <a:pt x="624" y="1662"/>
                  </a:lnTo>
                  <a:lnTo>
                    <a:pt x="624" y="1656"/>
                  </a:lnTo>
                  <a:lnTo>
                    <a:pt x="624" y="1650"/>
                  </a:lnTo>
                  <a:lnTo>
                    <a:pt x="618" y="1650"/>
                  </a:lnTo>
                  <a:lnTo>
                    <a:pt x="618" y="1644"/>
                  </a:lnTo>
                  <a:lnTo>
                    <a:pt x="618" y="1638"/>
                  </a:lnTo>
                  <a:lnTo>
                    <a:pt x="618" y="1632"/>
                  </a:lnTo>
                  <a:lnTo>
                    <a:pt x="618" y="1626"/>
                  </a:lnTo>
                  <a:lnTo>
                    <a:pt x="612" y="1626"/>
                  </a:lnTo>
                  <a:lnTo>
                    <a:pt x="612" y="1620"/>
                  </a:lnTo>
                  <a:lnTo>
                    <a:pt x="606" y="1614"/>
                  </a:lnTo>
                  <a:lnTo>
                    <a:pt x="594" y="1626"/>
                  </a:lnTo>
                  <a:lnTo>
                    <a:pt x="594" y="1632"/>
                  </a:lnTo>
                  <a:lnTo>
                    <a:pt x="588" y="1638"/>
                  </a:lnTo>
                  <a:lnTo>
                    <a:pt x="582" y="1638"/>
                  </a:lnTo>
                  <a:lnTo>
                    <a:pt x="564" y="1656"/>
                  </a:lnTo>
                  <a:lnTo>
                    <a:pt x="558" y="1662"/>
                  </a:lnTo>
                  <a:lnTo>
                    <a:pt x="552" y="1662"/>
                  </a:lnTo>
                  <a:lnTo>
                    <a:pt x="540" y="1674"/>
                  </a:lnTo>
                  <a:lnTo>
                    <a:pt x="534" y="1680"/>
                  </a:lnTo>
                  <a:lnTo>
                    <a:pt x="522" y="1692"/>
                  </a:lnTo>
                  <a:lnTo>
                    <a:pt x="516" y="1704"/>
                  </a:lnTo>
                  <a:lnTo>
                    <a:pt x="510" y="1704"/>
                  </a:lnTo>
                  <a:lnTo>
                    <a:pt x="504" y="1704"/>
                  </a:lnTo>
                  <a:lnTo>
                    <a:pt x="486" y="1722"/>
                  </a:lnTo>
                  <a:lnTo>
                    <a:pt x="480" y="1740"/>
                  </a:lnTo>
                  <a:lnTo>
                    <a:pt x="474" y="1740"/>
                  </a:lnTo>
                  <a:lnTo>
                    <a:pt x="468" y="1746"/>
                  </a:lnTo>
                  <a:lnTo>
                    <a:pt x="456" y="1758"/>
                  </a:lnTo>
                  <a:lnTo>
                    <a:pt x="444" y="1770"/>
                  </a:lnTo>
                  <a:lnTo>
                    <a:pt x="438" y="1782"/>
                  </a:lnTo>
                  <a:lnTo>
                    <a:pt x="426" y="1788"/>
                  </a:lnTo>
                  <a:lnTo>
                    <a:pt x="420" y="1788"/>
                  </a:lnTo>
                  <a:lnTo>
                    <a:pt x="420" y="1782"/>
                  </a:lnTo>
                  <a:lnTo>
                    <a:pt x="414" y="1782"/>
                  </a:lnTo>
                  <a:lnTo>
                    <a:pt x="390" y="1782"/>
                  </a:lnTo>
                  <a:lnTo>
                    <a:pt x="390" y="1776"/>
                  </a:lnTo>
                  <a:lnTo>
                    <a:pt x="384" y="1776"/>
                  </a:lnTo>
                  <a:lnTo>
                    <a:pt x="378" y="1776"/>
                  </a:lnTo>
                  <a:lnTo>
                    <a:pt x="372" y="1776"/>
                  </a:lnTo>
                  <a:lnTo>
                    <a:pt x="366" y="1770"/>
                  </a:lnTo>
                  <a:lnTo>
                    <a:pt x="366" y="1776"/>
                  </a:lnTo>
                  <a:lnTo>
                    <a:pt x="360" y="1788"/>
                  </a:lnTo>
                  <a:lnTo>
                    <a:pt x="360" y="1794"/>
                  </a:lnTo>
                  <a:lnTo>
                    <a:pt x="360" y="1800"/>
                  </a:lnTo>
                  <a:lnTo>
                    <a:pt x="354" y="1806"/>
                  </a:lnTo>
                  <a:lnTo>
                    <a:pt x="354" y="1812"/>
                  </a:lnTo>
                  <a:lnTo>
                    <a:pt x="354" y="1824"/>
                  </a:lnTo>
                  <a:lnTo>
                    <a:pt x="348" y="1830"/>
                  </a:lnTo>
                  <a:lnTo>
                    <a:pt x="354" y="1836"/>
                  </a:lnTo>
                  <a:lnTo>
                    <a:pt x="348" y="1842"/>
                  </a:lnTo>
                  <a:lnTo>
                    <a:pt x="354" y="1848"/>
                  </a:lnTo>
                  <a:lnTo>
                    <a:pt x="348" y="1854"/>
                  </a:lnTo>
                  <a:lnTo>
                    <a:pt x="354" y="1854"/>
                  </a:lnTo>
                  <a:lnTo>
                    <a:pt x="348" y="1860"/>
                  </a:lnTo>
                  <a:lnTo>
                    <a:pt x="348" y="1866"/>
                  </a:lnTo>
                  <a:lnTo>
                    <a:pt x="342" y="1866"/>
                  </a:lnTo>
                  <a:lnTo>
                    <a:pt x="342" y="1872"/>
                  </a:lnTo>
                  <a:lnTo>
                    <a:pt x="342" y="1878"/>
                  </a:lnTo>
                  <a:lnTo>
                    <a:pt x="342" y="1884"/>
                  </a:lnTo>
                  <a:lnTo>
                    <a:pt x="336" y="1896"/>
                  </a:lnTo>
                  <a:lnTo>
                    <a:pt x="330" y="1914"/>
                  </a:lnTo>
                  <a:lnTo>
                    <a:pt x="324" y="1920"/>
                  </a:lnTo>
                  <a:lnTo>
                    <a:pt x="324" y="1926"/>
                  </a:lnTo>
                  <a:lnTo>
                    <a:pt x="318" y="1944"/>
                  </a:lnTo>
                  <a:lnTo>
                    <a:pt x="318" y="1950"/>
                  </a:lnTo>
                  <a:lnTo>
                    <a:pt x="312" y="1956"/>
                  </a:lnTo>
                  <a:lnTo>
                    <a:pt x="312" y="1950"/>
                  </a:lnTo>
                  <a:lnTo>
                    <a:pt x="306" y="1950"/>
                  </a:lnTo>
                  <a:lnTo>
                    <a:pt x="306" y="1956"/>
                  </a:lnTo>
                  <a:lnTo>
                    <a:pt x="300" y="1950"/>
                  </a:lnTo>
                  <a:lnTo>
                    <a:pt x="294" y="1956"/>
                  </a:lnTo>
                  <a:lnTo>
                    <a:pt x="288" y="1950"/>
                  </a:lnTo>
                  <a:lnTo>
                    <a:pt x="288" y="1944"/>
                  </a:lnTo>
                  <a:lnTo>
                    <a:pt x="282" y="1938"/>
                  </a:lnTo>
                  <a:lnTo>
                    <a:pt x="282" y="1932"/>
                  </a:lnTo>
                  <a:lnTo>
                    <a:pt x="282" y="1890"/>
                  </a:lnTo>
                  <a:lnTo>
                    <a:pt x="288" y="1860"/>
                  </a:lnTo>
                  <a:lnTo>
                    <a:pt x="294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300" y="1818"/>
                  </a:lnTo>
                  <a:lnTo>
                    <a:pt x="306" y="1794"/>
                  </a:lnTo>
                  <a:lnTo>
                    <a:pt x="306" y="1788"/>
                  </a:lnTo>
                  <a:lnTo>
                    <a:pt x="306" y="1782"/>
                  </a:lnTo>
                  <a:lnTo>
                    <a:pt x="312" y="1776"/>
                  </a:lnTo>
                  <a:lnTo>
                    <a:pt x="306" y="1776"/>
                  </a:lnTo>
                  <a:lnTo>
                    <a:pt x="312" y="1770"/>
                  </a:lnTo>
                  <a:lnTo>
                    <a:pt x="312" y="1740"/>
                  </a:lnTo>
                  <a:lnTo>
                    <a:pt x="318" y="1722"/>
                  </a:lnTo>
                  <a:lnTo>
                    <a:pt x="312" y="1722"/>
                  </a:lnTo>
                  <a:lnTo>
                    <a:pt x="300" y="1716"/>
                  </a:lnTo>
                  <a:lnTo>
                    <a:pt x="306" y="1716"/>
                  </a:lnTo>
                  <a:lnTo>
                    <a:pt x="312" y="1710"/>
                  </a:lnTo>
                  <a:lnTo>
                    <a:pt x="324" y="1674"/>
                  </a:lnTo>
                  <a:lnTo>
                    <a:pt x="366" y="1590"/>
                  </a:lnTo>
                  <a:lnTo>
                    <a:pt x="408" y="1548"/>
                  </a:lnTo>
                  <a:lnTo>
                    <a:pt x="426" y="1530"/>
                  </a:lnTo>
                  <a:lnTo>
                    <a:pt x="432" y="1500"/>
                  </a:lnTo>
                  <a:lnTo>
                    <a:pt x="426" y="1494"/>
                  </a:lnTo>
                  <a:lnTo>
                    <a:pt x="426" y="1482"/>
                  </a:lnTo>
                  <a:lnTo>
                    <a:pt x="432" y="1464"/>
                  </a:lnTo>
                  <a:lnTo>
                    <a:pt x="438" y="1428"/>
                  </a:lnTo>
                  <a:lnTo>
                    <a:pt x="462" y="1398"/>
                  </a:lnTo>
                  <a:lnTo>
                    <a:pt x="468" y="1362"/>
                  </a:lnTo>
                  <a:lnTo>
                    <a:pt x="462" y="1314"/>
                  </a:lnTo>
                  <a:lnTo>
                    <a:pt x="444" y="1284"/>
                  </a:lnTo>
                  <a:lnTo>
                    <a:pt x="432" y="1260"/>
                  </a:lnTo>
                  <a:lnTo>
                    <a:pt x="426" y="1260"/>
                  </a:lnTo>
                  <a:lnTo>
                    <a:pt x="420" y="1254"/>
                  </a:lnTo>
                  <a:lnTo>
                    <a:pt x="408" y="1260"/>
                  </a:lnTo>
                  <a:lnTo>
                    <a:pt x="402" y="1260"/>
                  </a:lnTo>
                  <a:lnTo>
                    <a:pt x="402" y="1254"/>
                  </a:lnTo>
                  <a:lnTo>
                    <a:pt x="396" y="1254"/>
                  </a:lnTo>
                  <a:lnTo>
                    <a:pt x="396" y="1248"/>
                  </a:lnTo>
                  <a:lnTo>
                    <a:pt x="384" y="1248"/>
                  </a:lnTo>
                  <a:lnTo>
                    <a:pt x="372" y="1230"/>
                  </a:lnTo>
                  <a:lnTo>
                    <a:pt x="360" y="1212"/>
                  </a:lnTo>
                  <a:lnTo>
                    <a:pt x="348" y="1188"/>
                  </a:lnTo>
                  <a:lnTo>
                    <a:pt x="324" y="1170"/>
                  </a:lnTo>
                  <a:lnTo>
                    <a:pt x="318" y="1170"/>
                  </a:lnTo>
                  <a:lnTo>
                    <a:pt x="312" y="1158"/>
                  </a:lnTo>
                  <a:lnTo>
                    <a:pt x="312" y="1152"/>
                  </a:lnTo>
                  <a:lnTo>
                    <a:pt x="306" y="1146"/>
                  </a:lnTo>
                  <a:lnTo>
                    <a:pt x="270" y="1122"/>
                  </a:lnTo>
                  <a:lnTo>
                    <a:pt x="240" y="1122"/>
                  </a:lnTo>
                  <a:lnTo>
                    <a:pt x="180" y="1116"/>
                  </a:lnTo>
                  <a:lnTo>
                    <a:pt x="174" y="1122"/>
                  </a:lnTo>
                  <a:lnTo>
                    <a:pt x="174" y="1128"/>
                  </a:lnTo>
                  <a:lnTo>
                    <a:pt x="168" y="1122"/>
                  </a:lnTo>
                  <a:lnTo>
                    <a:pt x="162" y="1116"/>
                  </a:lnTo>
                  <a:lnTo>
                    <a:pt x="144" y="1122"/>
                  </a:lnTo>
                  <a:lnTo>
                    <a:pt x="120" y="1122"/>
                  </a:lnTo>
                  <a:lnTo>
                    <a:pt x="54" y="1134"/>
                  </a:lnTo>
                  <a:lnTo>
                    <a:pt x="24" y="1152"/>
                  </a:lnTo>
                  <a:lnTo>
                    <a:pt x="6" y="1146"/>
                  </a:lnTo>
                  <a:lnTo>
                    <a:pt x="0" y="1134"/>
                  </a:lnTo>
                  <a:lnTo>
                    <a:pt x="0" y="1128"/>
                  </a:lnTo>
                  <a:lnTo>
                    <a:pt x="18" y="1110"/>
                  </a:lnTo>
                  <a:lnTo>
                    <a:pt x="24" y="1104"/>
                  </a:lnTo>
                  <a:lnTo>
                    <a:pt x="24" y="1098"/>
                  </a:lnTo>
                  <a:lnTo>
                    <a:pt x="30" y="1086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24" y="1074"/>
                  </a:lnTo>
                  <a:lnTo>
                    <a:pt x="18" y="1068"/>
                  </a:lnTo>
                  <a:lnTo>
                    <a:pt x="24" y="1062"/>
                  </a:lnTo>
                  <a:lnTo>
                    <a:pt x="42" y="1056"/>
                  </a:lnTo>
                  <a:lnTo>
                    <a:pt x="54" y="1050"/>
                  </a:lnTo>
                  <a:lnTo>
                    <a:pt x="72" y="1044"/>
                  </a:lnTo>
                  <a:lnTo>
                    <a:pt x="96" y="1032"/>
                  </a:lnTo>
                  <a:lnTo>
                    <a:pt x="102" y="1032"/>
                  </a:lnTo>
                  <a:lnTo>
                    <a:pt x="126" y="1008"/>
                  </a:lnTo>
                  <a:lnTo>
                    <a:pt x="144" y="990"/>
                  </a:lnTo>
                  <a:lnTo>
                    <a:pt x="156" y="978"/>
                  </a:lnTo>
                  <a:lnTo>
                    <a:pt x="156" y="966"/>
                  </a:lnTo>
                  <a:lnTo>
                    <a:pt x="150" y="960"/>
                  </a:lnTo>
                  <a:lnTo>
                    <a:pt x="144" y="948"/>
                  </a:lnTo>
                  <a:lnTo>
                    <a:pt x="144" y="936"/>
                  </a:lnTo>
                  <a:lnTo>
                    <a:pt x="138" y="918"/>
                  </a:lnTo>
                  <a:lnTo>
                    <a:pt x="150" y="912"/>
                  </a:lnTo>
                  <a:lnTo>
                    <a:pt x="150" y="894"/>
                  </a:lnTo>
                  <a:lnTo>
                    <a:pt x="132" y="876"/>
                  </a:lnTo>
                  <a:lnTo>
                    <a:pt x="126" y="876"/>
                  </a:lnTo>
                  <a:lnTo>
                    <a:pt x="120" y="870"/>
                  </a:lnTo>
                  <a:lnTo>
                    <a:pt x="120" y="864"/>
                  </a:lnTo>
                  <a:lnTo>
                    <a:pt x="114" y="864"/>
                  </a:lnTo>
                  <a:lnTo>
                    <a:pt x="108" y="864"/>
                  </a:lnTo>
                  <a:lnTo>
                    <a:pt x="108" y="858"/>
                  </a:lnTo>
                  <a:lnTo>
                    <a:pt x="102" y="852"/>
                  </a:lnTo>
                  <a:lnTo>
                    <a:pt x="96" y="852"/>
                  </a:lnTo>
                  <a:lnTo>
                    <a:pt x="102" y="834"/>
                  </a:lnTo>
                  <a:lnTo>
                    <a:pt x="108" y="816"/>
                  </a:lnTo>
                  <a:lnTo>
                    <a:pt x="114" y="804"/>
                  </a:lnTo>
                  <a:lnTo>
                    <a:pt x="132" y="798"/>
                  </a:lnTo>
                  <a:lnTo>
                    <a:pt x="144" y="798"/>
                  </a:lnTo>
                  <a:lnTo>
                    <a:pt x="180" y="810"/>
                  </a:lnTo>
                  <a:lnTo>
                    <a:pt x="192" y="816"/>
                  </a:lnTo>
                  <a:lnTo>
                    <a:pt x="234" y="822"/>
                  </a:lnTo>
                  <a:lnTo>
                    <a:pt x="264" y="828"/>
                  </a:lnTo>
                  <a:lnTo>
                    <a:pt x="270" y="840"/>
                  </a:lnTo>
                  <a:lnTo>
                    <a:pt x="270" y="834"/>
                  </a:lnTo>
                  <a:lnTo>
                    <a:pt x="270" y="828"/>
                  </a:lnTo>
                  <a:lnTo>
                    <a:pt x="270" y="822"/>
                  </a:lnTo>
                  <a:lnTo>
                    <a:pt x="270" y="816"/>
                  </a:lnTo>
                  <a:lnTo>
                    <a:pt x="264" y="810"/>
                  </a:lnTo>
                  <a:lnTo>
                    <a:pt x="264" y="804"/>
                  </a:lnTo>
                  <a:lnTo>
                    <a:pt x="264" y="798"/>
                  </a:lnTo>
                  <a:lnTo>
                    <a:pt x="258" y="792"/>
                  </a:lnTo>
                  <a:lnTo>
                    <a:pt x="258" y="786"/>
                  </a:lnTo>
                  <a:lnTo>
                    <a:pt x="264" y="786"/>
                  </a:lnTo>
                  <a:lnTo>
                    <a:pt x="264" y="780"/>
                  </a:lnTo>
                  <a:lnTo>
                    <a:pt x="258" y="774"/>
                  </a:lnTo>
                  <a:lnTo>
                    <a:pt x="258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82" y="762"/>
                  </a:lnTo>
                  <a:lnTo>
                    <a:pt x="312" y="780"/>
                  </a:lnTo>
                  <a:lnTo>
                    <a:pt x="354" y="786"/>
                  </a:lnTo>
                  <a:lnTo>
                    <a:pt x="408" y="774"/>
                  </a:lnTo>
                  <a:lnTo>
                    <a:pt x="444" y="756"/>
                  </a:lnTo>
                  <a:lnTo>
                    <a:pt x="468" y="732"/>
                  </a:lnTo>
                  <a:lnTo>
                    <a:pt x="492" y="720"/>
                  </a:lnTo>
                  <a:lnTo>
                    <a:pt x="522" y="690"/>
                  </a:lnTo>
                  <a:lnTo>
                    <a:pt x="540" y="672"/>
                  </a:lnTo>
                  <a:lnTo>
                    <a:pt x="558" y="660"/>
                  </a:lnTo>
                  <a:lnTo>
                    <a:pt x="570" y="636"/>
                  </a:lnTo>
                  <a:lnTo>
                    <a:pt x="588" y="612"/>
                  </a:lnTo>
                  <a:lnTo>
                    <a:pt x="654" y="552"/>
                  </a:lnTo>
                  <a:lnTo>
                    <a:pt x="678" y="528"/>
                  </a:lnTo>
                  <a:lnTo>
                    <a:pt x="696" y="510"/>
                  </a:lnTo>
                  <a:lnTo>
                    <a:pt x="714" y="498"/>
                  </a:lnTo>
                  <a:lnTo>
                    <a:pt x="750" y="480"/>
                  </a:lnTo>
                  <a:lnTo>
                    <a:pt x="774" y="444"/>
                  </a:lnTo>
                  <a:lnTo>
                    <a:pt x="816" y="426"/>
                  </a:lnTo>
                  <a:lnTo>
                    <a:pt x="864" y="420"/>
                  </a:lnTo>
                  <a:lnTo>
                    <a:pt x="912" y="402"/>
                  </a:lnTo>
                  <a:lnTo>
                    <a:pt x="906" y="396"/>
                  </a:lnTo>
                  <a:lnTo>
                    <a:pt x="912" y="396"/>
                  </a:lnTo>
                  <a:lnTo>
                    <a:pt x="912" y="390"/>
                  </a:lnTo>
                  <a:lnTo>
                    <a:pt x="918" y="384"/>
                  </a:lnTo>
                  <a:lnTo>
                    <a:pt x="924" y="384"/>
                  </a:lnTo>
                  <a:lnTo>
                    <a:pt x="924" y="378"/>
                  </a:lnTo>
                  <a:lnTo>
                    <a:pt x="918" y="372"/>
                  </a:lnTo>
                  <a:lnTo>
                    <a:pt x="918" y="366"/>
                  </a:lnTo>
                  <a:lnTo>
                    <a:pt x="918" y="360"/>
                  </a:lnTo>
                  <a:lnTo>
                    <a:pt x="924" y="360"/>
                  </a:lnTo>
                  <a:lnTo>
                    <a:pt x="924" y="354"/>
                  </a:lnTo>
                  <a:lnTo>
                    <a:pt x="930" y="354"/>
                  </a:lnTo>
                  <a:lnTo>
                    <a:pt x="936" y="354"/>
                  </a:lnTo>
                  <a:lnTo>
                    <a:pt x="936" y="348"/>
                  </a:lnTo>
                  <a:lnTo>
                    <a:pt x="942" y="348"/>
                  </a:lnTo>
                  <a:lnTo>
                    <a:pt x="942" y="336"/>
                  </a:lnTo>
                  <a:lnTo>
                    <a:pt x="936" y="336"/>
                  </a:lnTo>
                  <a:lnTo>
                    <a:pt x="930" y="330"/>
                  </a:lnTo>
                  <a:lnTo>
                    <a:pt x="924" y="330"/>
                  </a:lnTo>
                  <a:lnTo>
                    <a:pt x="924" y="324"/>
                  </a:lnTo>
                  <a:lnTo>
                    <a:pt x="918" y="318"/>
                  </a:lnTo>
                  <a:lnTo>
                    <a:pt x="912" y="306"/>
                  </a:lnTo>
                  <a:lnTo>
                    <a:pt x="918" y="306"/>
                  </a:lnTo>
                  <a:lnTo>
                    <a:pt x="924" y="300"/>
                  </a:lnTo>
                  <a:lnTo>
                    <a:pt x="924" y="294"/>
                  </a:lnTo>
                  <a:lnTo>
                    <a:pt x="924" y="288"/>
                  </a:lnTo>
                  <a:lnTo>
                    <a:pt x="924" y="282"/>
                  </a:lnTo>
                  <a:lnTo>
                    <a:pt x="924" y="276"/>
                  </a:lnTo>
                  <a:lnTo>
                    <a:pt x="918" y="270"/>
                  </a:lnTo>
                  <a:lnTo>
                    <a:pt x="918" y="264"/>
                  </a:lnTo>
                  <a:lnTo>
                    <a:pt x="912" y="270"/>
                  </a:lnTo>
                  <a:lnTo>
                    <a:pt x="912" y="264"/>
                  </a:lnTo>
                  <a:lnTo>
                    <a:pt x="912" y="258"/>
                  </a:lnTo>
                  <a:lnTo>
                    <a:pt x="912" y="252"/>
                  </a:lnTo>
                  <a:lnTo>
                    <a:pt x="906" y="252"/>
                  </a:lnTo>
                  <a:lnTo>
                    <a:pt x="900" y="246"/>
                  </a:lnTo>
                  <a:lnTo>
                    <a:pt x="900" y="240"/>
                  </a:lnTo>
                  <a:lnTo>
                    <a:pt x="900" y="246"/>
                  </a:lnTo>
                  <a:lnTo>
                    <a:pt x="894" y="246"/>
                  </a:lnTo>
                  <a:lnTo>
                    <a:pt x="894" y="240"/>
                  </a:lnTo>
                  <a:lnTo>
                    <a:pt x="894" y="234"/>
                  </a:lnTo>
                  <a:lnTo>
                    <a:pt x="900" y="234"/>
                  </a:lnTo>
                  <a:lnTo>
                    <a:pt x="900" y="228"/>
                  </a:lnTo>
                  <a:lnTo>
                    <a:pt x="906" y="228"/>
                  </a:lnTo>
                  <a:lnTo>
                    <a:pt x="900" y="222"/>
                  </a:lnTo>
                  <a:lnTo>
                    <a:pt x="894" y="216"/>
                  </a:lnTo>
                  <a:lnTo>
                    <a:pt x="894" y="210"/>
                  </a:lnTo>
                  <a:lnTo>
                    <a:pt x="888" y="210"/>
                  </a:lnTo>
                  <a:lnTo>
                    <a:pt x="888" y="204"/>
                  </a:lnTo>
                  <a:lnTo>
                    <a:pt x="888" y="198"/>
                  </a:lnTo>
                  <a:lnTo>
                    <a:pt x="888" y="192"/>
                  </a:lnTo>
                  <a:lnTo>
                    <a:pt x="882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82" y="174"/>
                  </a:lnTo>
                  <a:lnTo>
                    <a:pt x="888" y="168"/>
                  </a:lnTo>
                  <a:lnTo>
                    <a:pt x="888" y="162"/>
                  </a:lnTo>
                  <a:lnTo>
                    <a:pt x="888" y="156"/>
                  </a:lnTo>
                  <a:lnTo>
                    <a:pt x="888" y="150"/>
                  </a:lnTo>
                  <a:lnTo>
                    <a:pt x="888" y="144"/>
                  </a:lnTo>
                  <a:lnTo>
                    <a:pt x="882" y="144"/>
                  </a:lnTo>
                  <a:lnTo>
                    <a:pt x="882" y="138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76" y="120"/>
                  </a:lnTo>
                  <a:lnTo>
                    <a:pt x="882" y="114"/>
                  </a:lnTo>
                  <a:lnTo>
                    <a:pt x="882" y="108"/>
                  </a:lnTo>
                  <a:lnTo>
                    <a:pt x="888" y="102"/>
                  </a:lnTo>
                  <a:lnTo>
                    <a:pt x="894" y="102"/>
                  </a:lnTo>
                  <a:lnTo>
                    <a:pt x="894" y="96"/>
                  </a:lnTo>
                  <a:lnTo>
                    <a:pt x="888" y="96"/>
                  </a:lnTo>
                  <a:lnTo>
                    <a:pt x="894" y="90"/>
                  </a:lnTo>
                  <a:lnTo>
                    <a:pt x="888" y="84"/>
                  </a:lnTo>
                  <a:lnTo>
                    <a:pt x="888" y="78"/>
                  </a:lnTo>
                  <a:lnTo>
                    <a:pt x="924" y="66"/>
                  </a:lnTo>
                  <a:lnTo>
                    <a:pt x="966" y="66"/>
                  </a:lnTo>
                  <a:lnTo>
                    <a:pt x="996" y="48"/>
                  </a:lnTo>
                  <a:lnTo>
                    <a:pt x="1056" y="12"/>
                  </a:lnTo>
                  <a:lnTo>
                    <a:pt x="1128" y="0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0" y="18"/>
                  </a:lnTo>
                  <a:lnTo>
                    <a:pt x="1176" y="24"/>
                  </a:lnTo>
                  <a:lnTo>
                    <a:pt x="1182" y="24"/>
                  </a:lnTo>
                  <a:lnTo>
                    <a:pt x="1188" y="30"/>
                  </a:lnTo>
                  <a:lnTo>
                    <a:pt x="1194" y="30"/>
                  </a:lnTo>
                  <a:lnTo>
                    <a:pt x="1194" y="36"/>
                  </a:lnTo>
                  <a:lnTo>
                    <a:pt x="1260" y="30"/>
                  </a:lnTo>
                  <a:lnTo>
                    <a:pt x="1272" y="30"/>
                  </a:lnTo>
                  <a:lnTo>
                    <a:pt x="1296" y="24"/>
                  </a:lnTo>
                  <a:lnTo>
                    <a:pt x="1302" y="30"/>
                  </a:lnTo>
                  <a:lnTo>
                    <a:pt x="1302" y="36"/>
                  </a:lnTo>
                  <a:lnTo>
                    <a:pt x="1308" y="36"/>
                  </a:lnTo>
                  <a:lnTo>
                    <a:pt x="1314" y="36"/>
                  </a:lnTo>
                  <a:lnTo>
                    <a:pt x="1320" y="36"/>
                  </a:lnTo>
                  <a:lnTo>
                    <a:pt x="1326" y="30"/>
                  </a:lnTo>
                  <a:lnTo>
                    <a:pt x="1332" y="30"/>
                  </a:lnTo>
                  <a:lnTo>
                    <a:pt x="1338" y="30"/>
                  </a:lnTo>
                  <a:lnTo>
                    <a:pt x="1344" y="30"/>
                  </a:lnTo>
                  <a:lnTo>
                    <a:pt x="1374" y="30"/>
                  </a:lnTo>
                  <a:lnTo>
                    <a:pt x="1386" y="30"/>
                  </a:lnTo>
                  <a:lnTo>
                    <a:pt x="1392" y="24"/>
                  </a:lnTo>
                  <a:lnTo>
                    <a:pt x="1398" y="12"/>
                  </a:lnTo>
                  <a:lnTo>
                    <a:pt x="1404" y="6"/>
                  </a:lnTo>
                  <a:lnTo>
                    <a:pt x="1410" y="6"/>
                  </a:lnTo>
                  <a:lnTo>
                    <a:pt x="1410" y="12"/>
                  </a:lnTo>
                  <a:lnTo>
                    <a:pt x="1416" y="18"/>
                  </a:lnTo>
                  <a:lnTo>
                    <a:pt x="1416" y="36"/>
                  </a:lnTo>
                  <a:lnTo>
                    <a:pt x="1434" y="54"/>
                  </a:lnTo>
                  <a:lnTo>
                    <a:pt x="1434" y="60"/>
                  </a:lnTo>
                  <a:lnTo>
                    <a:pt x="1434" y="66"/>
                  </a:lnTo>
                  <a:lnTo>
                    <a:pt x="1434" y="72"/>
                  </a:lnTo>
                  <a:lnTo>
                    <a:pt x="1428" y="72"/>
                  </a:lnTo>
                  <a:lnTo>
                    <a:pt x="1428" y="78"/>
                  </a:lnTo>
                  <a:lnTo>
                    <a:pt x="1434" y="78"/>
                  </a:lnTo>
                  <a:lnTo>
                    <a:pt x="1440" y="84"/>
                  </a:lnTo>
                  <a:lnTo>
                    <a:pt x="1440" y="90"/>
                  </a:lnTo>
                  <a:lnTo>
                    <a:pt x="1440" y="96"/>
                  </a:lnTo>
                  <a:lnTo>
                    <a:pt x="1446" y="96"/>
                  </a:lnTo>
                  <a:lnTo>
                    <a:pt x="1446" y="108"/>
                  </a:lnTo>
                  <a:lnTo>
                    <a:pt x="1452" y="108"/>
                  </a:lnTo>
                  <a:lnTo>
                    <a:pt x="1452" y="114"/>
                  </a:lnTo>
                  <a:lnTo>
                    <a:pt x="1458" y="114"/>
                  </a:lnTo>
                  <a:lnTo>
                    <a:pt x="1470" y="120"/>
                  </a:lnTo>
                  <a:lnTo>
                    <a:pt x="1476" y="120"/>
                  </a:lnTo>
                  <a:lnTo>
                    <a:pt x="1476" y="114"/>
                  </a:lnTo>
                  <a:lnTo>
                    <a:pt x="1488" y="120"/>
                  </a:lnTo>
                  <a:lnTo>
                    <a:pt x="1506" y="120"/>
                  </a:lnTo>
                  <a:lnTo>
                    <a:pt x="1512" y="120"/>
                  </a:lnTo>
                  <a:lnTo>
                    <a:pt x="1518" y="120"/>
                  </a:lnTo>
                  <a:lnTo>
                    <a:pt x="1524" y="126"/>
                  </a:lnTo>
                  <a:lnTo>
                    <a:pt x="1536" y="150"/>
                  </a:lnTo>
                  <a:lnTo>
                    <a:pt x="1548" y="162"/>
                  </a:lnTo>
                  <a:lnTo>
                    <a:pt x="1554" y="168"/>
                  </a:lnTo>
                  <a:lnTo>
                    <a:pt x="1584" y="228"/>
                  </a:lnTo>
                  <a:lnTo>
                    <a:pt x="1584" y="234"/>
                  </a:lnTo>
                  <a:lnTo>
                    <a:pt x="1578" y="312"/>
                  </a:lnTo>
                  <a:lnTo>
                    <a:pt x="1590" y="318"/>
                  </a:lnTo>
                  <a:lnTo>
                    <a:pt x="1608" y="330"/>
                  </a:lnTo>
                  <a:lnTo>
                    <a:pt x="1620" y="342"/>
                  </a:lnTo>
                  <a:lnTo>
                    <a:pt x="1626" y="342"/>
                  </a:lnTo>
                  <a:lnTo>
                    <a:pt x="1692" y="360"/>
                  </a:lnTo>
                  <a:lnTo>
                    <a:pt x="1710" y="408"/>
                  </a:lnTo>
                  <a:lnTo>
                    <a:pt x="1722" y="426"/>
                  </a:lnTo>
                  <a:lnTo>
                    <a:pt x="1716" y="468"/>
                  </a:lnTo>
                  <a:lnTo>
                    <a:pt x="1686" y="486"/>
                  </a:lnTo>
                  <a:lnTo>
                    <a:pt x="1686" y="492"/>
                  </a:lnTo>
                  <a:lnTo>
                    <a:pt x="1680" y="498"/>
                  </a:lnTo>
                  <a:lnTo>
                    <a:pt x="1650" y="558"/>
                  </a:lnTo>
                  <a:lnTo>
                    <a:pt x="1650" y="570"/>
                  </a:lnTo>
                  <a:lnTo>
                    <a:pt x="1644" y="570"/>
                  </a:lnTo>
                  <a:lnTo>
                    <a:pt x="1638" y="582"/>
                  </a:lnTo>
                  <a:lnTo>
                    <a:pt x="1638" y="624"/>
                  </a:lnTo>
                  <a:lnTo>
                    <a:pt x="1638" y="636"/>
                  </a:lnTo>
                  <a:lnTo>
                    <a:pt x="1638" y="642"/>
                  </a:lnTo>
                  <a:lnTo>
                    <a:pt x="1632" y="660"/>
                  </a:lnTo>
                  <a:lnTo>
                    <a:pt x="1608" y="678"/>
                  </a:lnTo>
                  <a:lnTo>
                    <a:pt x="1584" y="690"/>
                  </a:lnTo>
                  <a:lnTo>
                    <a:pt x="1584" y="696"/>
                  </a:lnTo>
                  <a:lnTo>
                    <a:pt x="1578" y="702"/>
                  </a:lnTo>
                  <a:lnTo>
                    <a:pt x="1584" y="702"/>
                  </a:lnTo>
                  <a:lnTo>
                    <a:pt x="1578" y="714"/>
                  </a:lnTo>
                  <a:lnTo>
                    <a:pt x="1572" y="714"/>
                  </a:lnTo>
                  <a:lnTo>
                    <a:pt x="1572" y="720"/>
                  </a:lnTo>
                  <a:lnTo>
                    <a:pt x="1566" y="720"/>
                  </a:lnTo>
                  <a:lnTo>
                    <a:pt x="1560" y="726"/>
                  </a:lnTo>
                  <a:lnTo>
                    <a:pt x="1560" y="732"/>
                  </a:lnTo>
                  <a:lnTo>
                    <a:pt x="1554" y="732"/>
                  </a:lnTo>
                  <a:lnTo>
                    <a:pt x="1554" y="738"/>
                  </a:lnTo>
                  <a:lnTo>
                    <a:pt x="1554" y="744"/>
                  </a:lnTo>
                  <a:lnTo>
                    <a:pt x="1548" y="744"/>
                  </a:lnTo>
                  <a:lnTo>
                    <a:pt x="1548" y="738"/>
                  </a:lnTo>
                  <a:lnTo>
                    <a:pt x="1542" y="738"/>
                  </a:lnTo>
                  <a:lnTo>
                    <a:pt x="1542" y="744"/>
                  </a:lnTo>
                  <a:lnTo>
                    <a:pt x="1542" y="750"/>
                  </a:lnTo>
                  <a:lnTo>
                    <a:pt x="1494" y="804"/>
                  </a:lnTo>
                  <a:lnTo>
                    <a:pt x="1446" y="876"/>
                  </a:lnTo>
                  <a:lnTo>
                    <a:pt x="1440" y="876"/>
                  </a:lnTo>
                  <a:lnTo>
                    <a:pt x="1434" y="876"/>
                  </a:lnTo>
                  <a:lnTo>
                    <a:pt x="1428" y="882"/>
                  </a:lnTo>
                  <a:lnTo>
                    <a:pt x="1422" y="882"/>
                  </a:lnTo>
                  <a:lnTo>
                    <a:pt x="1386" y="924"/>
                  </a:lnTo>
                  <a:lnTo>
                    <a:pt x="1362" y="954"/>
                  </a:lnTo>
                  <a:lnTo>
                    <a:pt x="1356" y="984"/>
                  </a:lnTo>
                  <a:lnTo>
                    <a:pt x="1362" y="1002"/>
                  </a:lnTo>
                  <a:lnTo>
                    <a:pt x="1368" y="1020"/>
                  </a:lnTo>
                  <a:lnTo>
                    <a:pt x="1386" y="1056"/>
                  </a:lnTo>
                  <a:lnTo>
                    <a:pt x="1404" y="1074"/>
                  </a:lnTo>
                  <a:lnTo>
                    <a:pt x="1416" y="1080"/>
                  </a:lnTo>
                  <a:lnTo>
                    <a:pt x="1416" y="1086"/>
                  </a:lnTo>
                  <a:lnTo>
                    <a:pt x="1422" y="1098"/>
                  </a:lnTo>
                  <a:lnTo>
                    <a:pt x="1422" y="1110"/>
                  </a:lnTo>
                  <a:lnTo>
                    <a:pt x="1428" y="1116"/>
                  </a:lnTo>
                  <a:lnTo>
                    <a:pt x="1434" y="1116"/>
                  </a:lnTo>
                  <a:lnTo>
                    <a:pt x="1434" y="1122"/>
                  </a:lnTo>
                  <a:lnTo>
                    <a:pt x="1434" y="1128"/>
                  </a:lnTo>
                  <a:lnTo>
                    <a:pt x="1440" y="1134"/>
                  </a:lnTo>
                  <a:lnTo>
                    <a:pt x="1446" y="1134"/>
                  </a:lnTo>
                  <a:lnTo>
                    <a:pt x="1458" y="1134"/>
                  </a:lnTo>
                  <a:lnTo>
                    <a:pt x="1458" y="1140"/>
                  </a:lnTo>
                  <a:lnTo>
                    <a:pt x="1464" y="1134"/>
                  </a:lnTo>
                  <a:lnTo>
                    <a:pt x="1470" y="1134"/>
                  </a:lnTo>
                  <a:lnTo>
                    <a:pt x="1464" y="1128"/>
                  </a:lnTo>
                  <a:lnTo>
                    <a:pt x="1464" y="1122"/>
                  </a:lnTo>
                  <a:lnTo>
                    <a:pt x="1470" y="1116"/>
                  </a:lnTo>
                  <a:lnTo>
                    <a:pt x="1470" y="1122"/>
                  </a:lnTo>
                  <a:lnTo>
                    <a:pt x="1476" y="1122"/>
                  </a:lnTo>
                  <a:lnTo>
                    <a:pt x="1476" y="1116"/>
                  </a:lnTo>
                  <a:lnTo>
                    <a:pt x="1482" y="1110"/>
                  </a:lnTo>
                  <a:lnTo>
                    <a:pt x="1476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82" y="1086"/>
                  </a:lnTo>
                  <a:lnTo>
                    <a:pt x="1482" y="1074"/>
                  </a:lnTo>
                  <a:lnTo>
                    <a:pt x="1488" y="1068"/>
                  </a:lnTo>
                  <a:lnTo>
                    <a:pt x="1488" y="1062"/>
                  </a:lnTo>
                  <a:lnTo>
                    <a:pt x="1494" y="1062"/>
                  </a:lnTo>
                  <a:lnTo>
                    <a:pt x="1500" y="1062"/>
                  </a:lnTo>
                  <a:lnTo>
                    <a:pt x="1506" y="1062"/>
                  </a:lnTo>
                  <a:lnTo>
                    <a:pt x="1506" y="1056"/>
                  </a:lnTo>
                  <a:lnTo>
                    <a:pt x="1506" y="1062"/>
                  </a:lnTo>
                  <a:lnTo>
                    <a:pt x="1518" y="1062"/>
                  </a:lnTo>
                  <a:lnTo>
                    <a:pt x="1524" y="1062"/>
                  </a:lnTo>
                  <a:lnTo>
                    <a:pt x="1530" y="1062"/>
                  </a:lnTo>
                  <a:lnTo>
                    <a:pt x="1536" y="1068"/>
                  </a:lnTo>
                  <a:lnTo>
                    <a:pt x="1536" y="1074"/>
                  </a:lnTo>
                  <a:lnTo>
                    <a:pt x="1542" y="1086"/>
                  </a:lnTo>
                  <a:lnTo>
                    <a:pt x="1548" y="1086"/>
                  </a:lnTo>
                  <a:lnTo>
                    <a:pt x="1554" y="1086"/>
                  </a:lnTo>
                  <a:lnTo>
                    <a:pt x="1566" y="1098"/>
                  </a:lnTo>
                  <a:lnTo>
                    <a:pt x="1572" y="1104"/>
                  </a:lnTo>
                  <a:lnTo>
                    <a:pt x="1566" y="1110"/>
                  </a:lnTo>
                  <a:lnTo>
                    <a:pt x="1572" y="1116"/>
                  </a:lnTo>
                  <a:lnTo>
                    <a:pt x="1578" y="1116"/>
                  </a:lnTo>
                  <a:lnTo>
                    <a:pt x="1578" y="1122"/>
                  </a:lnTo>
                  <a:lnTo>
                    <a:pt x="1584" y="1122"/>
                  </a:lnTo>
                  <a:lnTo>
                    <a:pt x="1584" y="1128"/>
                  </a:lnTo>
                  <a:lnTo>
                    <a:pt x="1584" y="1134"/>
                  </a:lnTo>
                  <a:lnTo>
                    <a:pt x="1590" y="1134"/>
                  </a:lnTo>
                  <a:lnTo>
                    <a:pt x="1596" y="1140"/>
                  </a:lnTo>
                  <a:lnTo>
                    <a:pt x="1602" y="1146"/>
                  </a:lnTo>
                  <a:lnTo>
                    <a:pt x="1608" y="1146"/>
                  </a:lnTo>
                  <a:lnTo>
                    <a:pt x="1614" y="1146"/>
                  </a:lnTo>
                  <a:lnTo>
                    <a:pt x="1614" y="1152"/>
                  </a:lnTo>
                  <a:lnTo>
                    <a:pt x="1620" y="1152"/>
                  </a:lnTo>
                  <a:lnTo>
                    <a:pt x="1626" y="1164"/>
                  </a:lnTo>
                  <a:lnTo>
                    <a:pt x="1632" y="1170"/>
                  </a:lnTo>
                  <a:lnTo>
                    <a:pt x="1638" y="1176"/>
                  </a:lnTo>
                  <a:lnTo>
                    <a:pt x="1638" y="1182"/>
                  </a:lnTo>
                  <a:lnTo>
                    <a:pt x="1644" y="1194"/>
                  </a:lnTo>
                  <a:lnTo>
                    <a:pt x="1644" y="1200"/>
                  </a:lnTo>
                  <a:lnTo>
                    <a:pt x="1638" y="1200"/>
                  </a:lnTo>
                  <a:lnTo>
                    <a:pt x="1638" y="1206"/>
                  </a:lnTo>
                  <a:lnTo>
                    <a:pt x="1638" y="1212"/>
                  </a:lnTo>
                  <a:lnTo>
                    <a:pt x="1638" y="1218"/>
                  </a:lnTo>
                  <a:lnTo>
                    <a:pt x="1632" y="1242"/>
                  </a:lnTo>
                  <a:lnTo>
                    <a:pt x="1632" y="1266"/>
                  </a:lnTo>
                  <a:lnTo>
                    <a:pt x="1638" y="1284"/>
                  </a:lnTo>
                  <a:lnTo>
                    <a:pt x="1638" y="1296"/>
                  </a:lnTo>
                  <a:lnTo>
                    <a:pt x="1632" y="1296"/>
                  </a:lnTo>
                  <a:lnTo>
                    <a:pt x="1632" y="1302"/>
                  </a:lnTo>
                  <a:lnTo>
                    <a:pt x="1638" y="1314"/>
                  </a:lnTo>
                  <a:lnTo>
                    <a:pt x="1638" y="1320"/>
                  </a:lnTo>
                  <a:lnTo>
                    <a:pt x="1632" y="1320"/>
                  </a:lnTo>
                  <a:lnTo>
                    <a:pt x="1632" y="1326"/>
                  </a:lnTo>
                  <a:lnTo>
                    <a:pt x="1644" y="1332"/>
                  </a:lnTo>
                  <a:lnTo>
                    <a:pt x="1644" y="1338"/>
                  </a:lnTo>
                  <a:lnTo>
                    <a:pt x="1650" y="1344"/>
                  </a:lnTo>
                  <a:lnTo>
                    <a:pt x="1668" y="1362"/>
                  </a:lnTo>
                  <a:lnTo>
                    <a:pt x="1668" y="1368"/>
                  </a:lnTo>
                  <a:lnTo>
                    <a:pt x="1674" y="1392"/>
                  </a:lnTo>
                  <a:lnTo>
                    <a:pt x="1686" y="140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2" name="Freeform 17">
              <a:extLst>
                <a:ext uri="{FF2B5EF4-FFF2-40B4-BE49-F238E27FC236}">
                  <a16:creationId xmlns:a16="http://schemas.microsoft.com/office/drawing/2014/main" id="{9F9DF7AF-2203-4CCB-AF1B-32CDAF87CC5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416927"/>
              <a:ext cx="816209" cy="574781"/>
            </a:xfrm>
            <a:custGeom>
              <a:avLst/>
              <a:gdLst>
                <a:gd name="T0" fmla="*/ 115 w 1536"/>
                <a:gd name="T1" fmla="*/ 89 h 1080"/>
                <a:gd name="T2" fmla="*/ 113 w 1536"/>
                <a:gd name="T3" fmla="*/ 92 h 1080"/>
                <a:gd name="T4" fmla="*/ 107 w 1536"/>
                <a:gd name="T5" fmla="*/ 93 h 1080"/>
                <a:gd name="T6" fmla="*/ 108 w 1536"/>
                <a:gd name="T7" fmla="*/ 90 h 1080"/>
                <a:gd name="T8" fmla="*/ 105 w 1536"/>
                <a:gd name="T9" fmla="*/ 87 h 1080"/>
                <a:gd name="T10" fmla="*/ 102 w 1536"/>
                <a:gd name="T11" fmla="*/ 85 h 1080"/>
                <a:gd name="T12" fmla="*/ 89 w 1536"/>
                <a:gd name="T13" fmla="*/ 80 h 1080"/>
                <a:gd name="T14" fmla="*/ 85 w 1536"/>
                <a:gd name="T15" fmla="*/ 82 h 1080"/>
                <a:gd name="T16" fmla="*/ 82 w 1536"/>
                <a:gd name="T17" fmla="*/ 80 h 1080"/>
                <a:gd name="T18" fmla="*/ 80 w 1536"/>
                <a:gd name="T19" fmla="*/ 75 h 1080"/>
                <a:gd name="T20" fmla="*/ 75 w 1536"/>
                <a:gd name="T21" fmla="*/ 72 h 1080"/>
                <a:gd name="T22" fmla="*/ 61 w 1536"/>
                <a:gd name="T23" fmla="*/ 70 h 1080"/>
                <a:gd name="T24" fmla="*/ 62 w 1536"/>
                <a:gd name="T25" fmla="*/ 72 h 1080"/>
                <a:gd name="T26" fmla="*/ 58 w 1536"/>
                <a:gd name="T27" fmla="*/ 75 h 1080"/>
                <a:gd name="T28" fmla="*/ 49 w 1536"/>
                <a:gd name="T29" fmla="*/ 76 h 1080"/>
                <a:gd name="T30" fmla="*/ 41 w 1536"/>
                <a:gd name="T31" fmla="*/ 79 h 1080"/>
                <a:gd name="T32" fmla="*/ 41 w 1536"/>
                <a:gd name="T33" fmla="*/ 77 h 1080"/>
                <a:gd name="T34" fmla="*/ 39 w 1536"/>
                <a:gd name="T35" fmla="*/ 74 h 1080"/>
                <a:gd name="T36" fmla="*/ 28 w 1536"/>
                <a:gd name="T37" fmla="*/ 78 h 1080"/>
                <a:gd name="T38" fmla="*/ 18 w 1536"/>
                <a:gd name="T39" fmla="*/ 85 h 1080"/>
                <a:gd name="T40" fmla="*/ 18 w 1536"/>
                <a:gd name="T41" fmla="*/ 77 h 1080"/>
                <a:gd name="T42" fmla="*/ 19 w 1536"/>
                <a:gd name="T43" fmla="*/ 69 h 1080"/>
                <a:gd name="T44" fmla="*/ 16 w 1536"/>
                <a:gd name="T45" fmla="*/ 69 h 1080"/>
                <a:gd name="T46" fmla="*/ 11 w 1536"/>
                <a:gd name="T47" fmla="*/ 69 h 1080"/>
                <a:gd name="T48" fmla="*/ 5 w 1536"/>
                <a:gd name="T49" fmla="*/ 68 h 1080"/>
                <a:gd name="T50" fmla="*/ 1 w 1536"/>
                <a:gd name="T51" fmla="*/ 63 h 1080"/>
                <a:gd name="T52" fmla="*/ 3 w 1536"/>
                <a:gd name="T53" fmla="*/ 59 h 1080"/>
                <a:gd name="T54" fmla="*/ 9 w 1536"/>
                <a:gd name="T55" fmla="*/ 54 h 1080"/>
                <a:gd name="T56" fmla="*/ 15 w 1536"/>
                <a:gd name="T57" fmla="*/ 47 h 1080"/>
                <a:gd name="T58" fmla="*/ 17 w 1536"/>
                <a:gd name="T59" fmla="*/ 40 h 1080"/>
                <a:gd name="T60" fmla="*/ 12 w 1536"/>
                <a:gd name="T61" fmla="*/ 33 h 1080"/>
                <a:gd name="T62" fmla="*/ 10 w 1536"/>
                <a:gd name="T63" fmla="*/ 21 h 1080"/>
                <a:gd name="T64" fmla="*/ 6 w 1536"/>
                <a:gd name="T65" fmla="*/ 14 h 1080"/>
                <a:gd name="T66" fmla="*/ 7 w 1536"/>
                <a:gd name="T67" fmla="*/ 9 h 1080"/>
                <a:gd name="T68" fmla="*/ 12 w 1536"/>
                <a:gd name="T69" fmla="*/ 7 h 1080"/>
                <a:gd name="T70" fmla="*/ 16 w 1536"/>
                <a:gd name="T71" fmla="*/ 8 h 1080"/>
                <a:gd name="T72" fmla="*/ 19 w 1536"/>
                <a:gd name="T73" fmla="*/ 8 h 1080"/>
                <a:gd name="T74" fmla="*/ 22 w 1536"/>
                <a:gd name="T75" fmla="*/ 9 h 1080"/>
                <a:gd name="T76" fmla="*/ 29 w 1536"/>
                <a:gd name="T77" fmla="*/ 12 h 1080"/>
                <a:gd name="T78" fmla="*/ 33 w 1536"/>
                <a:gd name="T79" fmla="*/ 13 h 1080"/>
                <a:gd name="T80" fmla="*/ 38 w 1536"/>
                <a:gd name="T81" fmla="*/ 15 h 1080"/>
                <a:gd name="T82" fmla="*/ 42 w 1536"/>
                <a:gd name="T83" fmla="*/ 17 h 1080"/>
                <a:gd name="T84" fmla="*/ 47 w 1536"/>
                <a:gd name="T85" fmla="*/ 19 h 1080"/>
                <a:gd name="T86" fmla="*/ 51 w 1536"/>
                <a:gd name="T87" fmla="*/ 21 h 1080"/>
                <a:gd name="T88" fmla="*/ 50 w 1536"/>
                <a:gd name="T89" fmla="*/ 15 h 1080"/>
                <a:gd name="T90" fmla="*/ 56 w 1536"/>
                <a:gd name="T91" fmla="*/ 0 h 1080"/>
                <a:gd name="T92" fmla="*/ 74 w 1536"/>
                <a:gd name="T93" fmla="*/ 5 h 1080"/>
                <a:gd name="T94" fmla="*/ 87 w 1536"/>
                <a:gd name="T95" fmla="*/ 6 h 1080"/>
                <a:gd name="T96" fmla="*/ 92 w 1536"/>
                <a:gd name="T97" fmla="*/ 11 h 1080"/>
                <a:gd name="T98" fmla="*/ 95 w 1536"/>
                <a:gd name="T99" fmla="*/ 15 h 1080"/>
                <a:gd name="T100" fmla="*/ 93 w 1536"/>
                <a:gd name="T101" fmla="*/ 20 h 1080"/>
                <a:gd name="T102" fmla="*/ 108 w 1536"/>
                <a:gd name="T103" fmla="*/ 18 h 1080"/>
                <a:gd name="T104" fmla="*/ 120 w 1536"/>
                <a:gd name="T105" fmla="*/ 21 h 1080"/>
                <a:gd name="T106" fmla="*/ 127 w 1536"/>
                <a:gd name="T107" fmla="*/ 29 h 1080"/>
                <a:gd name="T108" fmla="*/ 130 w 1536"/>
                <a:gd name="T109" fmla="*/ 30 h 1080"/>
                <a:gd name="T110" fmla="*/ 130 w 1536"/>
                <a:gd name="T111" fmla="*/ 49 h 1080"/>
                <a:gd name="T112" fmla="*/ 120 w 1536"/>
                <a:gd name="T113" fmla="*/ 69 h 1080"/>
                <a:gd name="T114" fmla="*/ 119 w 1536"/>
                <a:gd name="T115" fmla="*/ 74 h 1080"/>
                <a:gd name="T116" fmla="*/ 118 w 1536"/>
                <a:gd name="T117" fmla="*/ 80 h 108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536"/>
                <a:gd name="T178" fmla="*/ 0 h 1080"/>
                <a:gd name="T179" fmla="*/ 1536 w 1536"/>
                <a:gd name="T180" fmla="*/ 1080 h 108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536" h="1080">
                  <a:moveTo>
                    <a:pt x="1350" y="1020"/>
                  </a:moveTo>
                  <a:lnTo>
                    <a:pt x="1350" y="1026"/>
                  </a:lnTo>
                  <a:lnTo>
                    <a:pt x="1344" y="1026"/>
                  </a:lnTo>
                  <a:lnTo>
                    <a:pt x="1338" y="1032"/>
                  </a:lnTo>
                  <a:lnTo>
                    <a:pt x="1332" y="1026"/>
                  </a:lnTo>
                  <a:lnTo>
                    <a:pt x="1326" y="1026"/>
                  </a:lnTo>
                  <a:lnTo>
                    <a:pt x="1320" y="1020"/>
                  </a:lnTo>
                  <a:lnTo>
                    <a:pt x="1314" y="1026"/>
                  </a:lnTo>
                  <a:lnTo>
                    <a:pt x="1314" y="1032"/>
                  </a:lnTo>
                  <a:lnTo>
                    <a:pt x="1308" y="1038"/>
                  </a:lnTo>
                  <a:lnTo>
                    <a:pt x="1308" y="1044"/>
                  </a:lnTo>
                  <a:lnTo>
                    <a:pt x="1308" y="1050"/>
                  </a:lnTo>
                  <a:lnTo>
                    <a:pt x="1308" y="1056"/>
                  </a:lnTo>
                  <a:lnTo>
                    <a:pt x="1308" y="1062"/>
                  </a:lnTo>
                  <a:lnTo>
                    <a:pt x="1296" y="1068"/>
                  </a:lnTo>
                  <a:lnTo>
                    <a:pt x="1284" y="1074"/>
                  </a:lnTo>
                  <a:lnTo>
                    <a:pt x="1272" y="1080"/>
                  </a:lnTo>
                  <a:lnTo>
                    <a:pt x="1260" y="1080"/>
                  </a:lnTo>
                  <a:lnTo>
                    <a:pt x="1254" y="1074"/>
                  </a:lnTo>
                  <a:lnTo>
                    <a:pt x="1236" y="1074"/>
                  </a:lnTo>
                  <a:lnTo>
                    <a:pt x="1230" y="1074"/>
                  </a:lnTo>
                  <a:lnTo>
                    <a:pt x="1236" y="1074"/>
                  </a:lnTo>
                  <a:lnTo>
                    <a:pt x="1236" y="1068"/>
                  </a:lnTo>
                  <a:lnTo>
                    <a:pt x="1236" y="1062"/>
                  </a:lnTo>
                  <a:lnTo>
                    <a:pt x="1236" y="1056"/>
                  </a:lnTo>
                  <a:lnTo>
                    <a:pt x="1242" y="1050"/>
                  </a:lnTo>
                  <a:lnTo>
                    <a:pt x="1242" y="1044"/>
                  </a:lnTo>
                  <a:lnTo>
                    <a:pt x="1242" y="1038"/>
                  </a:lnTo>
                  <a:lnTo>
                    <a:pt x="1248" y="1032"/>
                  </a:lnTo>
                  <a:lnTo>
                    <a:pt x="1236" y="1026"/>
                  </a:lnTo>
                  <a:lnTo>
                    <a:pt x="1218" y="1020"/>
                  </a:lnTo>
                  <a:lnTo>
                    <a:pt x="1224" y="1014"/>
                  </a:lnTo>
                  <a:lnTo>
                    <a:pt x="1218" y="1008"/>
                  </a:lnTo>
                  <a:lnTo>
                    <a:pt x="1218" y="1002"/>
                  </a:lnTo>
                  <a:lnTo>
                    <a:pt x="1212" y="1008"/>
                  </a:lnTo>
                  <a:lnTo>
                    <a:pt x="1206" y="1002"/>
                  </a:lnTo>
                  <a:lnTo>
                    <a:pt x="1212" y="1002"/>
                  </a:lnTo>
                  <a:lnTo>
                    <a:pt x="1212" y="996"/>
                  </a:lnTo>
                  <a:lnTo>
                    <a:pt x="1200" y="990"/>
                  </a:lnTo>
                  <a:lnTo>
                    <a:pt x="1200" y="984"/>
                  </a:lnTo>
                  <a:lnTo>
                    <a:pt x="1188" y="984"/>
                  </a:lnTo>
                  <a:lnTo>
                    <a:pt x="1176" y="978"/>
                  </a:lnTo>
                  <a:lnTo>
                    <a:pt x="1164" y="960"/>
                  </a:lnTo>
                  <a:lnTo>
                    <a:pt x="1152" y="936"/>
                  </a:lnTo>
                  <a:lnTo>
                    <a:pt x="1146" y="936"/>
                  </a:lnTo>
                  <a:lnTo>
                    <a:pt x="1128" y="900"/>
                  </a:lnTo>
                  <a:lnTo>
                    <a:pt x="1038" y="912"/>
                  </a:lnTo>
                  <a:lnTo>
                    <a:pt x="1038" y="918"/>
                  </a:lnTo>
                  <a:lnTo>
                    <a:pt x="1032" y="924"/>
                  </a:lnTo>
                  <a:lnTo>
                    <a:pt x="1026" y="918"/>
                  </a:lnTo>
                  <a:lnTo>
                    <a:pt x="1020" y="924"/>
                  </a:lnTo>
                  <a:lnTo>
                    <a:pt x="1008" y="936"/>
                  </a:lnTo>
                  <a:lnTo>
                    <a:pt x="990" y="936"/>
                  </a:lnTo>
                  <a:lnTo>
                    <a:pt x="990" y="942"/>
                  </a:lnTo>
                  <a:lnTo>
                    <a:pt x="996" y="942"/>
                  </a:lnTo>
                  <a:lnTo>
                    <a:pt x="984" y="948"/>
                  </a:lnTo>
                  <a:lnTo>
                    <a:pt x="972" y="948"/>
                  </a:lnTo>
                  <a:lnTo>
                    <a:pt x="960" y="948"/>
                  </a:lnTo>
                  <a:lnTo>
                    <a:pt x="948" y="942"/>
                  </a:lnTo>
                  <a:lnTo>
                    <a:pt x="948" y="936"/>
                  </a:lnTo>
                  <a:lnTo>
                    <a:pt x="942" y="936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30" y="924"/>
                  </a:lnTo>
                  <a:lnTo>
                    <a:pt x="936" y="918"/>
                  </a:lnTo>
                  <a:lnTo>
                    <a:pt x="918" y="918"/>
                  </a:lnTo>
                  <a:lnTo>
                    <a:pt x="918" y="900"/>
                  </a:lnTo>
                  <a:lnTo>
                    <a:pt x="924" y="900"/>
                  </a:lnTo>
                  <a:lnTo>
                    <a:pt x="924" y="894"/>
                  </a:lnTo>
                  <a:lnTo>
                    <a:pt x="924" y="870"/>
                  </a:lnTo>
                  <a:lnTo>
                    <a:pt x="924" y="864"/>
                  </a:lnTo>
                  <a:lnTo>
                    <a:pt x="918" y="858"/>
                  </a:lnTo>
                  <a:lnTo>
                    <a:pt x="918" y="852"/>
                  </a:lnTo>
                  <a:lnTo>
                    <a:pt x="906" y="840"/>
                  </a:lnTo>
                  <a:lnTo>
                    <a:pt x="894" y="834"/>
                  </a:lnTo>
                  <a:lnTo>
                    <a:pt x="876" y="822"/>
                  </a:lnTo>
                  <a:lnTo>
                    <a:pt x="870" y="828"/>
                  </a:lnTo>
                  <a:lnTo>
                    <a:pt x="858" y="816"/>
                  </a:lnTo>
                  <a:lnTo>
                    <a:pt x="810" y="798"/>
                  </a:lnTo>
                  <a:lnTo>
                    <a:pt x="774" y="792"/>
                  </a:lnTo>
                  <a:lnTo>
                    <a:pt x="732" y="798"/>
                  </a:lnTo>
                  <a:lnTo>
                    <a:pt x="726" y="804"/>
                  </a:lnTo>
                  <a:lnTo>
                    <a:pt x="714" y="810"/>
                  </a:lnTo>
                  <a:lnTo>
                    <a:pt x="702" y="810"/>
                  </a:lnTo>
                  <a:lnTo>
                    <a:pt x="690" y="810"/>
                  </a:lnTo>
                  <a:lnTo>
                    <a:pt x="696" y="816"/>
                  </a:lnTo>
                  <a:lnTo>
                    <a:pt x="696" y="822"/>
                  </a:lnTo>
                  <a:lnTo>
                    <a:pt x="702" y="822"/>
                  </a:lnTo>
                  <a:lnTo>
                    <a:pt x="708" y="822"/>
                  </a:lnTo>
                  <a:lnTo>
                    <a:pt x="708" y="828"/>
                  </a:lnTo>
                  <a:lnTo>
                    <a:pt x="708" y="834"/>
                  </a:lnTo>
                  <a:lnTo>
                    <a:pt x="714" y="834"/>
                  </a:lnTo>
                  <a:lnTo>
                    <a:pt x="708" y="846"/>
                  </a:lnTo>
                  <a:lnTo>
                    <a:pt x="708" y="852"/>
                  </a:lnTo>
                  <a:lnTo>
                    <a:pt x="702" y="852"/>
                  </a:lnTo>
                  <a:lnTo>
                    <a:pt x="696" y="858"/>
                  </a:lnTo>
                  <a:lnTo>
                    <a:pt x="690" y="864"/>
                  </a:lnTo>
                  <a:lnTo>
                    <a:pt x="666" y="870"/>
                  </a:lnTo>
                  <a:lnTo>
                    <a:pt x="660" y="876"/>
                  </a:lnTo>
                  <a:lnTo>
                    <a:pt x="642" y="876"/>
                  </a:lnTo>
                  <a:lnTo>
                    <a:pt x="606" y="882"/>
                  </a:lnTo>
                  <a:lnTo>
                    <a:pt x="588" y="882"/>
                  </a:lnTo>
                  <a:lnTo>
                    <a:pt x="582" y="876"/>
                  </a:lnTo>
                  <a:lnTo>
                    <a:pt x="576" y="876"/>
                  </a:lnTo>
                  <a:lnTo>
                    <a:pt x="564" y="876"/>
                  </a:lnTo>
                  <a:lnTo>
                    <a:pt x="552" y="882"/>
                  </a:lnTo>
                  <a:lnTo>
                    <a:pt x="540" y="894"/>
                  </a:lnTo>
                  <a:lnTo>
                    <a:pt x="534" y="906"/>
                  </a:lnTo>
                  <a:lnTo>
                    <a:pt x="528" y="912"/>
                  </a:lnTo>
                  <a:lnTo>
                    <a:pt x="516" y="924"/>
                  </a:lnTo>
                  <a:lnTo>
                    <a:pt x="486" y="930"/>
                  </a:lnTo>
                  <a:lnTo>
                    <a:pt x="474" y="912"/>
                  </a:lnTo>
                  <a:lnTo>
                    <a:pt x="474" y="906"/>
                  </a:lnTo>
                  <a:lnTo>
                    <a:pt x="468" y="906"/>
                  </a:lnTo>
                  <a:lnTo>
                    <a:pt x="468" y="900"/>
                  </a:lnTo>
                  <a:lnTo>
                    <a:pt x="462" y="894"/>
                  </a:lnTo>
                  <a:lnTo>
                    <a:pt x="456" y="894"/>
                  </a:lnTo>
                  <a:lnTo>
                    <a:pt x="462" y="888"/>
                  </a:lnTo>
                  <a:lnTo>
                    <a:pt x="468" y="888"/>
                  </a:lnTo>
                  <a:lnTo>
                    <a:pt x="462" y="882"/>
                  </a:lnTo>
                  <a:lnTo>
                    <a:pt x="462" y="876"/>
                  </a:lnTo>
                  <a:lnTo>
                    <a:pt x="456" y="870"/>
                  </a:lnTo>
                  <a:lnTo>
                    <a:pt x="456" y="864"/>
                  </a:lnTo>
                  <a:lnTo>
                    <a:pt x="450" y="858"/>
                  </a:lnTo>
                  <a:lnTo>
                    <a:pt x="444" y="858"/>
                  </a:lnTo>
                  <a:lnTo>
                    <a:pt x="444" y="852"/>
                  </a:lnTo>
                  <a:lnTo>
                    <a:pt x="438" y="852"/>
                  </a:lnTo>
                  <a:lnTo>
                    <a:pt x="438" y="858"/>
                  </a:lnTo>
                  <a:lnTo>
                    <a:pt x="402" y="870"/>
                  </a:lnTo>
                  <a:lnTo>
                    <a:pt x="390" y="882"/>
                  </a:lnTo>
                  <a:lnTo>
                    <a:pt x="384" y="900"/>
                  </a:lnTo>
                  <a:lnTo>
                    <a:pt x="342" y="900"/>
                  </a:lnTo>
                  <a:lnTo>
                    <a:pt x="324" y="900"/>
                  </a:lnTo>
                  <a:lnTo>
                    <a:pt x="294" y="906"/>
                  </a:lnTo>
                  <a:lnTo>
                    <a:pt x="282" y="948"/>
                  </a:lnTo>
                  <a:lnTo>
                    <a:pt x="282" y="978"/>
                  </a:lnTo>
                  <a:lnTo>
                    <a:pt x="270" y="1008"/>
                  </a:lnTo>
                  <a:lnTo>
                    <a:pt x="240" y="1014"/>
                  </a:lnTo>
                  <a:lnTo>
                    <a:pt x="216" y="996"/>
                  </a:lnTo>
                  <a:lnTo>
                    <a:pt x="204" y="984"/>
                  </a:lnTo>
                  <a:lnTo>
                    <a:pt x="192" y="966"/>
                  </a:lnTo>
                  <a:lnTo>
                    <a:pt x="186" y="948"/>
                  </a:lnTo>
                  <a:lnTo>
                    <a:pt x="174" y="948"/>
                  </a:lnTo>
                  <a:lnTo>
                    <a:pt x="174" y="936"/>
                  </a:lnTo>
                  <a:lnTo>
                    <a:pt x="186" y="924"/>
                  </a:lnTo>
                  <a:lnTo>
                    <a:pt x="198" y="906"/>
                  </a:lnTo>
                  <a:lnTo>
                    <a:pt x="204" y="888"/>
                  </a:lnTo>
                  <a:lnTo>
                    <a:pt x="222" y="870"/>
                  </a:lnTo>
                  <a:lnTo>
                    <a:pt x="234" y="858"/>
                  </a:lnTo>
                  <a:lnTo>
                    <a:pt x="234" y="852"/>
                  </a:lnTo>
                  <a:lnTo>
                    <a:pt x="222" y="852"/>
                  </a:lnTo>
                  <a:lnTo>
                    <a:pt x="228" y="810"/>
                  </a:lnTo>
                  <a:lnTo>
                    <a:pt x="222" y="798"/>
                  </a:lnTo>
                  <a:lnTo>
                    <a:pt x="216" y="798"/>
                  </a:lnTo>
                  <a:lnTo>
                    <a:pt x="216" y="792"/>
                  </a:lnTo>
                  <a:lnTo>
                    <a:pt x="210" y="792"/>
                  </a:lnTo>
                  <a:lnTo>
                    <a:pt x="204" y="798"/>
                  </a:lnTo>
                  <a:lnTo>
                    <a:pt x="204" y="792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0" y="786"/>
                  </a:lnTo>
                  <a:lnTo>
                    <a:pt x="174" y="792"/>
                  </a:lnTo>
                  <a:lnTo>
                    <a:pt x="162" y="792"/>
                  </a:lnTo>
                  <a:lnTo>
                    <a:pt x="156" y="792"/>
                  </a:lnTo>
                  <a:lnTo>
                    <a:pt x="156" y="798"/>
                  </a:lnTo>
                  <a:lnTo>
                    <a:pt x="138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6" y="804"/>
                  </a:lnTo>
                  <a:lnTo>
                    <a:pt x="102" y="810"/>
                  </a:lnTo>
                  <a:lnTo>
                    <a:pt x="90" y="810"/>
                  </a:lnTo>
                  <a:lnTo>
                    <a:pt x="72" y="798"/>
                  </a:lnTo>
                  <a:lnTo>
                    <a:pt x="66" y="780"/>
                  </a:lnTo>
                  <a:lnTo>
                    <a:pt x="60" y="780"/>
                  </a:lnTo>
                  <a:lnTo>
                    <a:pt x="60" y="768"/>
                  </a:lnTo>
                  <a:lnTo>
                    <a:pt x="54" y="768"/>
                  </a:lnTo>
                  <a:lnTo>
                    <a:pt x="24" y="756"/>
                  </a:lnTo>
                  <a:lnTo>
                    <a:pt x="18" y="744"/>
                  </a:lnTo>
                  <a:lnTo>
                    <a:pt x="12" y="738"/>
                  </a:lnTo>
                  <a:lnTo>
                    <a:pt x="18" y="732"/>
                  </a:lnTo>
                  <a:lnTo>
                    <a:pt x="12" y="726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8" y="696"/>
                  </a:lnTo>
                  <a:lnTo>
                    <a:pt x="24" y="708"/>
                  </a:lnTo>
                  <a:lnTo>
                    <a:pt x="36" y="702"/>
                  </a:lnTo>
                  <a:lnTo>
                    <a:pt x="36" y="678"/>
                  </a:lnTo>
                  <a:lnTo>
                    <a:pt x="36" y="660"/>
                  </a:lnTo>
                  <a:lnTo>
                    <a:pt x="42" y="654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72" y="624"/>
                  </a:lnTo>
                  <a:lnTo>
                    <a:pt x="90" y="618"/>
                  </a:lnTo>
                  <a:lnTo>
                    <a:pt x="102" y="618"/>
                  </a:lnTo>
                  <a:lnTo>
                    <a:pt x="114" y="612"/>
                  </a:lnTo>
                  <a:lnTo>
                    <a:pt x="138" y="606"/>
                  </a:lnTo>
                  <a:lnTo>
                    <a:pt x="144" y="606"/>
                  </a:lnTo>
                  <a:lnTo>
                    <a:pt x="150" y="594"/>
                  </a:lnTo>
                  <a:lnTo>
                    <a:pt x="156" y="576"/>
                  </a:lnTo>
                  <a:lnTo>
                    <a:pt x="168" y="552"/>
                  </a:lnTo>
                  <a:lnTo>
                    <a:pt x="168" y="540"/>
                  </a:lnTo>
                  <a:lnTo>
                    <a:pt x="180" y="522"/>
                  </a:lnTo>
                  <a:lnTo>
                    <a:pt x="186" y="498"/>
                  </a:lnTo>
                  <a:lnTo>
                    <a:pt x="198" y="480"/>
                  </a:lnTo>
                  <a:lnTo>
                    <a:pt x="204" y="486"/>
                  </a:lnTo>
                  <a:lnTo>
                    <a:pt x="210" y="480"/>
                  </a:lnTo>
                  <a:lnTo>
                    <a:pt x="204" y="474"/>
                  </a:lnTo>
                  <a:lnTo>
                    <a:pt x="198" y="462"/>
                  </a:lnTo>
                  <a:lnTo>
                    <a:pt x="192" y="456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50"/>
                  </a:lnTo>
                  <a:lnTo>
                    <a:pt x="132" y="426"/>
                  </a:lnTo>
                  <a:lnTo>
                    <a:pt x="132" y="396"/>
                  </a:lnTo>
                  <a:lnTo>
                    <a:pt x="132" y="378"/>
                  </a:lnTo>
                  <a:lnTo>
                    <a:pt x="126" y="348"/>
                  </a:lnTo>
                  <a:lnTo>
                    <a:pt x="132" y="312"/>
                  </a:lnTo>
                  <a:lnTo>
                    <a:pt x="126" y="288"/>
                  </a:lnTo>
                  <a:lnTo>
                    <a:pt x="138" y="282"/>
                  </a:lnTo>
                  <a:lnTo>
                    <a:pt x="126" y="264"/>
                  </a:lnTo>
                  <a:lnTo>
                    <a:pt x="126" y="258"/>
                  </a:lnTo>
                  <a:lnTo>
                    <a:pt x="120" y="246"/>
                  </a:lnTo>
                  <a:lnTo>
                    <a:pt x="126" y="234"/>
                  </a:lnTo>
                  <a:lnTo>
                    <a:pt x="114" y="228"/>
                  </a:lnTo>
                  <a:lnTo>
                    <a:pt x="114" y="222"/>
                  </a:lnTo>
                  <a:lnTo>
                    <a:pt x="96" y="204"/>
                  </a:lnTo>
                  <a:lnTo>
                    <a:pt x="84" y="180"/>
                  </a:lnTo>
                  <a:lnTo>
                    <a:pt x="78" y="168"/>
                  </a:lnTo>
                  <a:lnTo>
                    <a:pt x="72" y="162"/>
                  </a:lnTo>
                  <a:lnTo>
                    <a:pt x="66" y="144"/>
                  </a:lnTo>
                  <a:lnTo>
                    <a:pt x="60" y="138"/>
                  </a:lnTo>
                  <a:lnTo>
                    <a:pt x="66" y="126"/>
                  </a:lnTo>
                  <a:lnTo>
                    <a:pt x="66" y="114"/>
                  </a:lnTo>
                  <a:lnTo>
                    <a:pt x="72" y="114"/>
                  </a:lnTo>
                  <a:lnTo>
                    <a:pt x="72" y="108"/>
                  </a:lnTo>
                  <a:lnTo>
                    <a:pt x="78" y="102"/>
                  </a:lnTo>
                  <a:lnTo>
                    <a:pt x="78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120" y="78"/>
                  </a:lnTo>
                  <a:lnTo>
                    <a:pt x="144" y="84"/>
                  </a:lnTo>
                  <a:lnTo>
                    <a:pt x="150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74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92" y="102"/>
                  </a:lnTo>
                  <a:lnTo>
                    <a:pt x="198" y="96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16" y="96"/>
                  </a:lnTo>
                  <a:lnTo>
                    <a:pt x="222" y="96"/>
                  </a:lnTo>
                  <a:lnTo>
                    <a:pt x="228" y="96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94" y="114"/>
                  </a:lnTo>
                  <a:lnTo>
                    <a:pt x="312" y="120"/>
                  </a:lnTo>
                  <a:lnTo>
                    <a:pt x="318" y="126"/>
                  </a:lnTo>
                  <a:lnTo>
                    <a:pt x="330" y="132"/>
                  </a:lnTo>
                  <a:lnTo>
                    <a:pt x="342" y="132"/>
                  </a:lnTo>
                  <a:lnTo>
                    <a:pt x="348" y="132"/>
                  </a:lnTo>
                  <a:lnTo>
                    <a:pt x="354" y="138"/>
                  </a:lnTo>
                  <a:lnTo>
                    <a:pt x="366" y="138"/>
                  </a:lnTo>
                  <a:lnTo>
                    <a:pt x="372" y="144"/>
                  </a:lnTo>
                  <a:lnTo>
                    <a:pt x="378" y="150"/>
                  </a:lnTo>
                  <a:lnTo>
                    <a:pt x="384" y="150"/>
                  </a:lnTo>
                  <a:lnTo>
                    <a:pt x="390" y="150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14" y="156"/>
                  </a:lnTo>
                  <a:lnTo>
                    <a:pt x="420" y="156"/>
                  </a:lnTo>
                  <a:lnTo>
                    <a:pt x="426" y="162"/>
                  </a:lnTo>
                  <a:lnTo>
                    <a:pt x="438" y="168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62" y="174"/>
                  </a:lnTo>
                  <a:lnTo>
                    <a:pt x="468" y="174"/>
                  </a:lnTo>
                  <a:lnTo>
                    <a:pt x="474" y="174"/>
                  </a:lnTo>
                  <a:lnTo>
                    <a:pt x="474" y="180"/>
                  </a:lnTo>
                  <a:lnTo>
                    <a:pt x="480" y="192"/>
                  </a:lnTo>
                  <a:lnTo>
                    <a:pt x="498" y="198"/>
                  </a:lnTo>
                  <a:lnTo>
                    <a:pt x="510" y="210"/>
                  </a:lnTo>
                  <a:lnTo>
                    <a:pt x="516" y="210"/>
                  </a:lnTo>
                  <a:lnTo>
                    <a:pt x="522" y="210"/>
                  </a:lnTo>
                  <a:lnTo>
                    <a:pt x="534" y="216"/>
                  </a:lnTo>
                  <a:lnTo>
                    <a:pt x="540" y="216"/>
                  </a:lnTo>
                  <a:lnTo>
                    <a:pt x="546" y="222"/>
                  </a:lnTo>
                  <a:lnTo>
                    <a:pt x="552" y="222"/>
                  </a:lnTo>
                  <a:lnTo>
                    <a:pt x="558" y="228"/>
                  </a:lnTo>
                  <a:lnTo>
                    <a:pt x="564" y="228"/>
                  </a:lnTo>
                  <a:lnTo>
                    <a:pt x="570" y="234"/>
                  </a:lnTo>
                  <a:lnTo>
                    <a:pt x="576" y="240"/>
                  </a:lnTo>
                  <a:lnTo>
                    <a:pt x="582" y="240"/>
                  </a:lnTo>
                  <a:lnTo>
                    <a:pt x="588" y="240"/>
                  </a:lnTo>
                  <a:lnTo>
                    <a:pt x="594" y="240"/>
                  </a:lnTo>
                  <a:lnTo>
                    <a:pt x="600" y="228"/>
                  </a:lnTo>
                  <a:lnTo>
                    <a:pt x="588" y="216"/>
                  </a:lnTo>
                  <a:lnTo>
                    <a:pt x="588" y="198"/>
                  </a:lnTo>
                  <a:lnTo>
                    <a:pt x="582" y="198"/>
                  </a:lnTo>
                  <a:lnTo>
                    <a:pt x="588" y="192"/>
                  </a:lnTo>
                  <a:lnTo>
                    <a:pt x="582" y="168"/>
                  </a:lnTo>
                  <a:lnTo>
                    <a:pt x="558" y="114"/>
                  </a:lnTo>
                  <a:lnTo>
                    <a:pt x="552" y="90"/>
                  </a:lnTo>
                  <a:lnTo>
                    <a:pt x="558" y="60"/>
                  </a:lnTo>
                  <a:lnTo>
                    <a:pt x="564" y="48"/>
                  </a:lnTo>
                  <a:lnTo>
                    <a:pt x="582" y="42"/>
                  </a:lnTo>
                  <a:lnTo>
                    <a:pt x="624" y="6"/>
                  </a:lnTo>
                  <a:lnTo>
                    <a:pt x="648" y="0"/>
                  </a:lnTo>
                  <a:lnTo>
                    <a:pt x="678" y="0"/>
                  </a:lnTo>
                  <a:lnTo>
                    <a:pt x="720" y="12"/>
                  </a:lnTo>
                  <a:lnTo>
                    <a:pt x="744" y="24"/>
                  </a:lnTo>
                  <a:lnTo>
                    <a:pt x="768" y="42"/>
                  </a:lnTo>
                  <a:lnTo>
                    <a:pt x="816" y="48"/>
                  </a:lnTo>
                  <a:lnTo>
                    <a:pt x="834" y="48"/>
                  </a:lnTo>
                  <a:lnTo>
                    <a:pt x="852" y="54"/>
                  </a:lnTo>
                  <a:lnTo>
                    <a:pt x="906" y="60"/>
                  </a:lnTo>
                  <a:lnTo>
                    <a:pt x="948" y="54"/>
                  </a:lnTo>
                  <a:lnTo>
                    <a:pt x="978" y="42"/>
                  </a:lnTo>
                  <a:lnTo>
                    <a:pt x="984" y="48"/>
                  </a:lnTo>
                  <a:lnTo>
                    <a:pt x="990" y="60"/>
                  </a:lnTo>
                  <a:lnTo>
                    <a:pt x="996" y="66"/>
                  </a:lnTo>
                  <a:lnTo>
                    <a:pt x="1002" y="72"/>
                  </a:lnTo>
                  <a:lnTo>
                    <a:pt x="1014" y="78"/>
                  </a:lnTo>
                  <a:lnTo>
                    <a:pt x="1014" y="84"/>
                  </a:lnTo>
                  <a:lnTo>
                    <a:pt x="1032" y="84"/>
                  </a:lnTo>
                  <a:lnTo>
                    <a:pt x="1032" y="90"/>
                  </a:lnTo>
                  <a:lnTo>
                    <a:pt x="1032" y="96"/>
                  </a:lnTo>
                  <a:lnTo>
                    <a:pt x="1032" y="108"/>
                  </a:lnTo>
                  <a:lnTo>
                    <a:pt x="1056" y="126"/>
                  </a:lnTo>
                  <a:lnTo>
                    <a:pt x="1068" y="138"/>
                  </a:lnTo>
                  <a:lnTo>
                    <a:pt x="1068" y="156"/>
                  </a:lnTo>
                  <a:lnTo>
                    <a:pt x="1080" y="150"/>
                  </a:lnTo>
                  <a:lnTo>
                    <a:pt x="1086" y="150"/>
                  </a:lnTo>
                  <a:lnTo>
                    <a:pt x="1092" y="156"/>
                  </a:lnTo>
                  <a:lnTo>
                    <a:pt x="1092" y="162"/>
                  </a:lnTo>
                  <a:lnTo>
                    <a:pt x="1092" y="168"/>
                  </a:lnTo>
                  <a:lnTo>
                    <a:pt x="1098" y="168"/>
                  </a:lnTo>
                  <a:lnTo>
                    <a:pt x="1092" y="180"/>
                  </a:lnTo>
                  <a:lnTo>
                    <a:pt x="1092" y="186"/>
                  </a:lnTo>
                  <a:lnTo>
                    <a:pt x="1086" y="192"/>
                  </a:lnTo>
                  <a:lnTo>
                    <a:pt x="1068" y="210"/>
                  </a:lnTo>
                  <a:lnTo>
                    <a:pt x="1068" y="216"/>
                  </a:lnTo>
                  <a:lnTo>
                    <a:pt x="1074" y="228"/>
                  </a:lnTo>
                  <a:lnTo>
                    <a:pt x="1092" y="234"/>
                  </a:lnTo>
                  <a:lnTo>
                    <a:pt x="1122" y="216"/>
                  </a:lnTo>
                  <a:lnTo>
                    <a:pt x="1188" y="204"/>
                  </a:lnTo>
                  <a:lnTo>
                    <a:pt x="1212" y="204"/>
                  </a:lnTo>
                  <a:lnTo>
                    <a:pt x="1230" y="198"/>
                  </a:lnTo>
                  <a:lnTo>
                    <a:pt x="1236" y="204"/>
                  </a:lnTo>
                  <a:lnTo>
                    <a:pt x="1242" y="210"/>
                  </a:lnTo>
                  <a:lnTo>
                    <a:pt x="1242" y="204"/>
                  </a:lnTo>
                  <a:lnTo>
                    <a:pt x="1248" y="198"/>
                  </a:lnTo>
                  <a:lnTo>
                    <a:pt x="1308" y="204"/>
                  </a:lnTo>
                  <a:lnTo>
                    <a:pt x="1338" y="204"/>
                  </a:lnTo>
                  <a:lnTo>
                    <a:pt x="1374" y="228"/>
                  </a:lnTo>
                  <a:lnTo>
                    <a:pt x="1380" y="234"/>
                  </a:lnTo>
                  <a:lnTo>
                    <a:pt x="1380" y="240"/>
                  </a:lnTo>
                  <a:lnTo>
                    <a:pt x="1386" y="252"/>
                  </a:lnTo>
                  <a:lnTo>
                    <a:pt x="1392" y="252"/>
                  </a:lnTo>
                  <a:lnTo>
                    <a:pt x="1416" y="270"/>
                  </a:lnTo>
                  <a:lnTo>
                    <a:pt x="1428" y="294"/>
                  </a:lnTo>
                  <a:lnTo>
                    <a:pt x="1440" y="312"/>
                  </a:lnTo>
                  <a:lnTo>
                    <a:pt x="1452" y="330"/>
                  </a:lnTo>
                  <a:lnTo>
                    <a:pt x="1464" y="330"/>
                  </a:lnTo>
                  <a:lnTo>
                    <a:pt x="1464" y="336"/>
                  </a:lnTo>
                  <a:lnTo>
                    <a:pt x="1470" y="336"/>
                  </a:lnTo>
                  <a:lnTo>
                    <a:pt x="1470" y="342"/>
                  </a:lnTo>
                  <a:lnTo>
                    <a:pt x="1476" y="342"/>
                  </a:lnTo>
                  <a:lnTo>
                    <a:pt x="1488" y="336"/>
                  </a:lnTo>
                  <a:lnTo>
                    <a:pt x="1494" y="342"/>
                  </a:lnTo>
                  <a:lnTo>
                    <a:pt x="1500" y="342"/>
                  </a:lnTo>
                  <a:lnTo>
                    <a:pt x="1512" y="366"/>
                  </a:lnTo>
                  <a:lnTo>
                    <a:pt x="1530" y="396"/>
                  </a:lnTo>
                  <a:lnTo>
                    <a:pt x="1536" y="444"/>
                  </a:lnTo>
                  <a:lnTo>
                    <a:pt x="1530" y="480"/>
                  </a:lnTo>
                  <a:lnTo>
                    <a:pt x="1506" y="510"/>
                  </a:lnTo>
                  <a:lnTo>
                    <a:pt x="1500" y="546"/>
                  </a:lnTo>
                  <a:lnTo>
                    <a:pt x="1494" y="564"/>
                  </a:lnTo>
                  <a:lnTo>
                    <a:pt x="1494" y="576"/>
                  </a:lnTo>
                  <a:lnTo>
                    <a:pt x="1500" y="582"/>
                  </a:lnTo>
                  <a:lnTo>
                    <a:pt x="1494" y="612"/>
                  </a:lnTo>
                  <a:lnTo>
                    <a:pt x="1476" y="630"/>
                  </a:lnTo>
                  <a:lnTo>
                    <a:pt x="1434" y="672"/>
                  </a:lnTo>
                  <a:lnTo>
                    <a:pt x="1392" y="756"/>
                  </a:lnTo>
                  <a:lnTo>
                    <a:pt x="1380" y="792"/>
                  </a:lnTo>
                  <a:lnTo>
                    <a:pt x="1374" y="798"/>
                  </a:lnTo>
                  <a:lnTo>
                    <a:pt x="1368" y="798"/>
                  </a:lnTo>
                  <a:lnTo>
                    <a:pt x="1380" y="804"/>
                  </a:lnTo>
                  <a:lnTo>
                    <a:pt x="1386" y="804"/>
                  </a:lnTo>
                  <a:lnTo>
                    <a:pt x="1380" y="822"/>
                  </a:lnTo>
                  <a:lnTo>
                    <a:pt x="1380" y="852"/>
                  </a:lnTo>
                  <a:lnTo>
                    <a:pt x="1374" y="858"/>
                  </a:lnTo>
                  <a:lnTo>
                    <a:pt x="1380" y="858"/>
                  </a:lnTo>
                  <a:lnTo>
                    <a:pt x="1374" y="864"/>
                  </a:lnTo>
                  <a:lnTo>
                    <a:pt x="1374" y="870"/>
                  </a:lnTo>
                  <a:lnTo>
                    <a:pt x="1374" y="876"/>
                  </a:lnTo>
                  <a:lnTo>
                    <a:pt x="1368" y="900"/>
                  </a:lnTo>
                  <a:lnTo>
                    <a:pt x="1362" y="906"/>
                  </a:lnTo>
                  <a:lnTo>
                    <a:pt x="1362" y="918"/>
                  </a:lnTo>
                  <a:lnTo>
                    <a:pt x="1362" y="924"/>
                  </a:lnTo>
                  <a:lnTo>
                    <a:pt x="1356" y="942"/>
                  </a:lnTo>
                  <a:lnTo>
                    <a:pt x="1350" y="972"/>
                  </a:lnTo>
                  <a:lnTo>
                    <a:pt x="1350" y="1014"/>
                  </a:lnTo>
                  <a:lnTo>
                    <a:pt x="1350" y="10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3" name="Freeform 18">
              <a:extLst>
                <a:ext uri="{FF2B5EF4-FFF2-40B4-BE49-F238E27FC236}">
                  <a16:creationId xmlns:a16="http://schemas.microsoft.com/office/drawing/2014/main" id="{EC11F2E0-3C06-46E2-8AD2-66EBE00FFE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32346" y="3837389"/>
              <a:ext cx="556811" cy="818559"/>
            </a:xfrm>
            <a:custGeom>
              <a:avLst/>
              <a:gdLst>
                <a:gd name="T0" fmla="*/ 12 w 1044"/>
                <a:gd name="T1" fmla="*/ 95 h 1542"/>
                <a:gd name="T2" fmla="*/ 7 w 1044"/>
                <a:gd name="T3" fmla="*/ 93 h 1542"/>
                <a:gd name="T4" fmla="*/ 0 w 1044"/>
                <a:gd name="T5" fmla="*/ 88 h 1542"/>
                <a:gd name="T6" fmla="*/ 3 w 1044"/>
                <a:gd name="T7" fmla="*/ 74 h 1542"/>
                <a:gd name="T8" fmla="*/ 4 w 1044"/>
                <a:gd name="T9" fmla="*/ 59 h 1542"/>
                <a:gd name="T10" fmla="*/ 7 w 1044"/>
                <a:gd name="T11" fmla="*/ 52 h 1542"/>
                <a:gd name="T12" fmla="*/ 20 w 1044"/>
                <a:gd name="T13" fmla="*/ 50 h 1542"/>
                <a:gd name="T14" fmla="*/ 24 w 1044"/>
                <a:gd name="T15" fmla="*/ 46 h 1542"/>
                <a:gd name="T16" fmla="*/ 29 w 1044"/>
                <a:gd name="T17" fmla="*/ 33 h 1542"/>
                <a:gd name="T18" fmla="*/ 32 w 1044"/>
                <a:gd name="T19" fmla="*/ 26 h 1542"/>
                <a:gd name="T20" fmla="*/ 30 w 1044"/>
                <a:gd name="T21" fmla="*/ 20 h 1542"/>
                <a:gd name="T22" fmla="*/ 26 w 1044"/>
                <a:gd name="T23" fmla="*/ 17 h 1542"/>
                <a:gd name="T24" fmla="*/ 28 w 1044"/>
                <a:gd name="T25" fmla="*/ 12 h 1542"/>
                <a:gd name="T26" fmla="*/ 44 w 1044"/>
                <a:gd name="T27" fmla="*/ 5 h 1542"/>
                <a:gd name="T28" fmla="*/ 57 w 1044"/>
                <a:gd name="T29" fmla="*/ 2 h 1542"/>
                <a:gd name="T30" fmla="*/ 65 w 1044"/>
                <a:gd name="T31" fmla="*/ 12 h 1542"/>
                <a:gd name="T32" fmla="*/ 81 w 1044"/>
                <a:gd name="T33" fmla="*/ 9 h 1542"/>
                <a:gd name="T34" fmla="*/ 91 w 1044"/>
                <a:gd name="T35" fmla="*/ 20 h 1542"/>
                <a:gd name="T36" fmla="*/ 89 w 1044"/>
                <a:gd name="T37" fmla="*/ 28 h 1542"/>
                <a:gd name="T38" fmla="*/ 83 w 1044"/>
                <a:gd name="T39" fmla="*/ 33 h 1542"/>
                <a:gd name="T40" fmla="*/ 74 w 1044"/>
                <a:gd name="T41" fmla="*/ 42 h 1542"/>
                <a:gd name="T42" fmla="*/ 58 w 1044"/>
                <a:gd name="T43" fmla="*/ 57 h 1542"/>
                <a:gd name="T44" fmla="*/ 54 w 1044"/>
                <a:gd name="T45" fmla="*/ 65 h 1542"/>
                <a:gd name="T46" fmla="*/ 59 w 1044"/>
                <a:gd name="T47" fmla="*/ 74 h 1542"/>
                <a:gd name="T48" fmla="*/ 55 w 1044"/>
                <a:gd name="T49" fmla="*/ 84 h 1542"/>
                <a:gd name="T50" fmla="*/ 52 w 1044"/>
                <a:gd name="T51" fmla="*/ 98 h 1542"/>
                <a:gd name="T52" fmla="*/ 47 w 1044"/>
                <a:gd name="T53" fmla="*/ 105 h 1542"/>
                <a:gd name="T54" fmla="*/ 42 w 1044"/>
                <a:gd name="T55" fmla="*/ 111 h 1542"/>
                <a:gd name="T56" fmla="*/ 43 w 1044"/>
                <a:gd name="T57" fmla="*/ 120 h 1542"/>
                <a:gd name="T58" fmla="*/ 45 w 1044"/>
                <a:gd name="T59" fmla="*/ 125 h 1542"/>
                <a:gd name="T60" fmla="*/ 44 w 1044"/>
                <a:gd name="T61" fmla="*/ 130 h 1542"/>
                <a:gd name="T62" fmla="*/ 45 w 1044"/>
                <a:gd name="T63" fmla="*/ 131 h 1542"/>
                <a:gd name="T64" fmla="*/ 48 w 1044"/>
                <a:gd name="T65" fmla="*/ 133 h 1542"/>
                <a:gd name="T66" fmla="*/ 39 w 1044"/>
                <a:gd name="T67" fmla="*/ 133 h 1542"/>
                <a:gd name="T68" fmla="*/ 42 w 1044"/>
                <a:gd name="T69" fmla="*/ 132 h 1542"/>
                <a:gd name="T70" fmla="*/ 38 w 1044"/>
                <a:gd name="T71" fmla="*/ 133 h 1542"/>
                <a:gd name="T72" fmla="*/ 37 w 1044"/>
                <a:gd name="T73" fmla="*/ 129 h 1542"/>
                <a:gd name="T74" fmla="*/ 40 w 1044"/>
                <a:gd name="T75" fmla="*/ 125 h 1542"/>
                <a:gd name="T76" fmla="*/ 40 w 1044"/>
                <a:gd name="T77" fmla="*/ 120 h 1542"/>
                <a:gd name="T78" fmla="*/ 40 w 1044"/>
                <a:gd name="T79" fmla="*/ 117 h 1542"/>
                <a:gd name="T80" fmla="*/ 37 w 1044"/>
                <a:gd name="T81" fmla="*/ 120 h 1542"/>
                <a:gd name="T82" fmla="*/ 34 w 1044"/>
                <a:gd name="T83" fmla="*/ 122 h 1542"/>
                <a:gd name="T84" fmla="*/ 36 w 1044"/>
                <a:gd name="T85" fmla="*/ 120 h 1542"/>
                <a:gd name="T86" fmla="*/ 30 w 1044"/>
                <a:gd name="T87" fmla="*/ 120 h 1542"/>
                <a:gd name="T88" fmla="*/ 31 w 1044"/>
                <a:gd name="T89" fmla="*/ 113 h 1542"/>
                <a:gd name="T90" fmla="*/ 29 w 1044"/>
                <a:gd name="T91" fmla="*/ 112 h 1542"/>
                <a:gd name="T92" fmla="*/ 31 w 1044"/>
                <a:gd name="T93" fmla="*/ 117 h 1542"/>
                <a:gd name="T94" fmla="*/ 27 w 1044"/>
                <a:gd name="T95" fmla="*/ 116 h 1542"/>
                <a:gd name="T96" fmla="*/ 25 w 1044"/>
                <a:gd name="T97" fmla="*/ 112 h 1542"/>
                <a:gd name="T98" fmla="*/ 21 w 1044"/>
                <a:gd name="T99" fmla="*/ 109 h 1542"/>
                <a:gd name="T100" fmla="*/ 21 w 1044"/>
                <a:gd name="T101" fmla="*/ 113 h 1542"/>
                <a:gd name="T102" fmla="*/ 40 w 1044"/>
                <a:gd name="T103" fmla="*/ 120 h 1542"/>
                <a:gd name="T104" fmla="*/ 40 w 1044"/>
                <a:gd name="T105" fmla="*/ 121 h 1542"/>
                <a:gd name="T106" fmla="*/ 40 w 1044"/>
                <a:gd name="T107" fmla="*/ 116 h 1542"/>
                <a:gd name="T108" fmla="*/ 38 w 1044"/>
                <a:gd name="T109" fmla="*/ 120 h 1542"/>
                <a:gd name="T110" fmla="*/ 23 w 1044"/>
                <a:gd name="T111" fmla="*/ 110 h 1542"/>
                <a:gd name="T112" fmla="*/ 37 w 1044"/>
                <a:gd name="T113" fmla="*/ 124 h 1542"/>
                <a:gd name="T114" fmla="*/ 40 w 1044"/>
                <a:gd name="T115" fmla="*/ 125 h 1542"/>
                <a:gd name="T116" fmla="*/ 38 w 1044"/>
                <a:gd name="T117" fmla="*/ 128 h 1542"/>
                <a:gd name="T118" fmla="*/ 25 w 1044"/>
                <a:gd name="T119" fmla="*/ 117 h 1542"/>
                <a:gd name="T120" fmla="*/ 27 w 1044"/>
                <a:gd name="T121" fmla="*/ 127 h 1542"/>
                <a:gd name="T122" fmla="*/ 24 w 1044"/>
                <a:gd name="T123" fmla="*/ 113 h 15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4"/>
                <a:gd name="T187" fmla="*/ 0 h 1542"/>
                <a:gd name="T188" fmla="*/ 1044 w 1044"/>
                <a:gd name="T189" fmla="*/ 1542 h 154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4" h="1542">
                  <a:moveTo>
                    <a:pt x="234" y="1278"/>
                  </a:moveTo>
                  <a:lnTo>
                    <a:pt x="228" y="1272"/>
                  </a:lnTo>
                  <a:lnTo>
                    <a:pt x="222" y="1266"/>
                  </a:lnTo>
                  <a:lnTo>
                    <a:pt x="222" y="1260"/>
                  </a:lnTo>
                  <a:lnTo>
                    <a:pt x="204" y="1248"/>
                  </a:lnTo>
                  <a:lnTo>
                    <a:pt x="192" y="1248"/>
                  </a:lnTo>
                  <a:lnTo>
                    <a:pt x="186" y="1236"/>
                  </a:lnTo>
                  <a:lnTo>
                    <a:pt x="174" y="1218"/>
                  </a:lnTo>
                  <a:lnTo>
                    <a:pt x="162" y="1194"/>
                  </a:lnTo>
                  <a:lnTo>
                    <a:pt x="156" y="1182"/>
                  </a:lnTo>
                  <a:lnTo>
                    <a:pt x="162" y="1146"/>
                  </a:lnTo>
                  <a:lnTo>
                    <a:pt x="156" y="1134"/>
                  </a:lnTo>
                  <a:lnTo>
                    <a:pt x="138" y="1122"/>
                  </a:lnTo>
                  <a:lnTo>
                    <a:pt x="132" y="1116"/>
                  </a:lnTo>
                  <a:lnTo>
                    <a:pt x="138" y="1098"/>
                  </a:lnTo>
                  <a:lnTo>
                    <a:pt x="138" y="1092"/>
                  </a:lnTo>
                  <a:lnTo>
                    <a:pt x="138" y="1086"/>
                  </a:lnTo>
                  <a:lnTo>
                    <a:pt x="132" y="1074"/>
                  </a:lnTo>
                  <a:lnTo>
                    <a:pt x="126" y="1074"/>
                  </a:lnTo>
                  <a:lnTo>
                    <a:pt x="126" y="1068"/>
                  </a:lnTo>
                  <a:lnTo>
                    <a:pt x="120" y="1062"/>
                  </a:lnTo>
                  <a:lnTo>
                    <a:pt x="120" y="1056"/>
                  </a:lnTo>
                  <a:lnTo>
                    <a:pt x="114" y="1050"/>
                  </a:lnTo>
                  <a:lnTo>
                    <a:pt x="108" y="1050"/>
                  </a:lnTo>
                  <a:lnTo>
                    <a:pt x="102" y="1056"/>
                  </a:lnTo>
                  <a:lnTo>
                    <a:pt x="102" y="1062"/>
                  </a:lnTo>
                  <a:lnTo>
                    <a:pt x="96" y="1062"/>
                  </a:lnTo>
                  <a:lnTo>
                    <a:pt x="96" y="1068"/>
                  </a:lnTo>
                  <a:lnTo>
                    <a:pt x="96" y="1074"/>
                  </a:lnTo>
                  <a:lnTo>
                    <a:pt x="90" y="1074"/>
                  </a:lnTo>
                  <a:lnTo>
                    <a:pt x="84" y="1080"/>
                  </a:lnTo>
                  <a:lnTo>
                    <a:pt x="78" y="1074"/>
                  </a:lnTo>
                  <a:lnTo>
                    <a:pt x="72" y="1074"/>
                  </a:lnTo>
                  <a:lnTo>
                    <a:pt x="72" y="1068"/>
                  </a:lnTo>
                  <a:lnTo>
                    <a:pt x="72" y="1062"/>
                  </a:lnTo>
                  <a:lnTo>
                    <a:pt x="60" y="1056"/>
                  </a:lnTo>
                  <a:lnTo>
                    <a:pt x="60" y="1044"/>
                  </a:lnTo>
                  <a:lnTo>
                    <a:pt x="60" y="1032"/>
                  </a:lnTo>
                  <a:lnTo>
                    <a:pt x="60" y="1026"/>
                  </a:lnTo>
                  <a:lnTo>
                    <a:pt x="54" y="1026"/>
                  </a:lnTo>
                  <a:lnTo>
                    <a:pt x="48" y="1014"/>
                  </a:lnTo>
                  <a:lnTo>
                    <a:pt x="42" y="1008"/>
                  </a:lnTo>
                  <a:lnTo>
                    <a:pt x="30" y="1008"/>
                  </a:lnTo>
                  <a:lnTo>
                    <a:pt x="30" y="1002"/>
                  </a:lnTo>
                  <a:lnTo>
                    <a:pt x="24" y="1008"/>
                  </a:lnTo>
                  <a:lnTo>
                    <a:pt x="12" y="1008"/>
                  </a:lnTo>
                  <a:lnTo>
                    <a:pt x="6" y="1008"/>
                  </a:lnTo>
                  <a:lnTo>
                    <a:pt x="0" y="1008"/>
                  </a:lnTo>
                  <a:lnTo>
                    <a:pt x="0" y="1002"/>
                  </a:lnTo>
                  <a:lnTo>
                    <a:pt x="6" y="990"/>
                  </a:lnTo>
                  <a:lnTo>
                    <a:pt x="6" y="984"/>
                  </a:lnTo>
                  <a:lnTo>
                    <a:pt x="0" y="978"/>
                  </a:lnTo>
                  <a:lnTo>
                    <a:pt x="6" y="972"/>
                  </a:lnTo>
                  <a:lnTo>
                    <a:pt x="12" y="972"/>
                  </a:lnTo>
                  <a:lnTo>
                    <a:pt x="72" y="978"/>
                  </a:lnTo>
                  <a:lnTo>
                    <a:pt x="78" y="972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30"/>
                  </a:lnTo>
                  <a:lnTo>
                    <a:pt x="54" y="912"/>
                  </a:lnTo>
                  <a:lnTo>
                    <a:pt x="42" y="906"/>
                  </a:lnTo>
                  <a:lnTo>
                    <a:pt x="36" y="894"/>
                  </a:lnTo>
                  <a:lnTo>
                    <a:pt x="30" y="876"/>
                  </a:lnTo>
                  <a:lnTo>
                    <a:pt x="30" y="858"/>
                  </a:lnTo>
                  <a:lnTo>
                    <a:pt x="30" y="840"/>
                  </a:lnTo>
                  <a:lnTo>
                    <a:pt x="36" y="816"/>
                  </a:lnTo>
                  <a:lnTo>
                    <a:pt x="36" y="792"/>
                  </a:lnTo>
                  <a:lnTo>
                    <a:pt x="36" y="780"/>
                  </a:lnTo>
                  <a:lnTo>
                    <a:pt x="12" y="774"/>
                  </a:lnTo>
                  <a:lnTo>
                    <a:pt x="24" y="756"/>
                  </a:lnTo>
                  <a:lnTo>
                    <a:pt x="24" y="744"/>
                  </a:lnTo>
                  <a:lnTo>
                    <a:pt x="30" y="738"/>
                  </a:lnTo>
                  <a:lnTo>
                    <a:pt x="30" y="732"/>
                  </a:lnTo>
                  <a:lnTo>
                    <a:pt x="36" y="720"/>
                  </a:lnTo>
                  <a:lnTo>
                    <a:pt x="42" y="714"/>
                  </a:lnTo>
                  <a:lnTo>
                    <a:pt x="54" y="708"/>
                  </a:lnTo>
                  <a:lnTo>
                    <a:pt x="60" y="702"/>
                  </a:lnTo>
                  <a:lnTo>
                    <a:pt x="48" y="690"/>
                  </a:lnTo>
                  <a:lnTo>
                    <a:pt x="48" y="684"/>
                  </a:lnTo>
                  <a:lnTo>
                    <a:pt x="48" y="678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66"/>
                  </a:lnTo>
                  <a:lnTo>
                    <a:pt x="72" y="654"/>
                  </a:lnTo>
                  <a:lnTo>
                    <a:pt x="72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84" y="630"/>
                  </a:lnTo>
                  <a:lnTo>
                    <a:pt x="90" y="630"/>
                  </a:lnTo>
                  <a:lnTo>
                    <a:pt x="96" y="630"/>
                  </a:lnTo>
                  <a:lnTo>
                    <a:pt x="96" y="624"/>
                  </a:lnTo>
                  <a:lnTo>
                    <a:pt x="90" y="624"/>
                  </a:lnTo>
                  <a:lnTo>
                    <a:pt x="84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90" y="600"/>
                  </a:lnTo>
                  <a:lnTo>
                    <a:pt x="84" y="600"/>
                  </a:lnTo>
                  <a:lnTo>
                    <a:pt x="78" y="594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126" y="564"/>
                  </a:lnTo>
                  <a:lnTo>
                    <a:pt x="144" y="564"/>
                  </a:lnTo>
                  <a:lnTo>
                    <a:pt x="156" y="582"/>
                  </a:lnTo>
                  <a:lnTo>
                    <a:pt x="162" y="600"/>
                  </a:lnTo>
                  <a:lnTo>
                    <a:pt x="180" y="588"/>
                  </a:lnTo>
                  <a:lnTo>
                    <a:pt x="192" y="588"/>
                  </a:lnTo>
                  <a:lnTo>
                    <a:pt x="198" y="588"/>
                  </a:lnTo>
                  <a:lnTo>
                    <a:pt x="210" y="582"/>
                  </a:lnTo>
                  <a:lnTo>
                    <a:pt x="216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58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46" y="558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58" y="570"/>
                  </a:lnTo>
                  <a:lnTo>
                    <a:pt x="264" y="570"/>
                  </a:lnTo>
                  <a:lnTo>
                    <a:pt x="270" y="564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46"/>
                  </a:lnTo>
                  <a:lnTo>
                    <a:pt x="276" y="540"/>
                  </a:lnTo>
                  <a:lnTo>
                    <a:pt x="276" y="534"/>
                  </a:lnTo>
                  <a:lnTo>
                    <a:pt x="276" y="528"/>
                  </a:lnTo>
                  <a:lnTo>
                    <a:pt x="282" y="528"/>
                  </a:lnTo>
                  <a:lnTo>
                    <a:pt x="282" y="522"/>
                  </a:lnTo>
                  <a:lnTo>
                    <a:pt x="282" y="516"/>
                  </a:lnTo>
                  <a:lnTo>
                    <a:pt x="282" y="510"/>
                  </a:lnTo>
                  <a:lnTo>
                    <a:pt x="282" y="504"/>
                  </a:lnTo>
                  <a:lnTo>
                    <a:pt x="282" y="492"/>
                  </a:lnTo>
                  <a:lnTo>
                    <a:pt x="288" y="486"/>
                  </a:lnTo>
                  <a:lnTo>
                    <a:pt x="300" y="480"/>
                  </a:lnTo>
                  <a:lnTo>
                    <a:pt x="306" y="462"/>
                  </a:lnTo>
                  <a:lnTo>
                    <a:pt x="318" y="444"/>
                  </a:lnTo>
                  <a:lnTo>
                    <a:pt x="330" y="444"/>
                  </a:lnTo>
                  <a:lnTo>
                    <a:pt x="330" y="432"/>
                  </a:lnTo>
                  <a:lnTo>
                    <a:pt x="342" y="432"/>
                  </a:lnTo>
                  <a:lnTo>
                    <a:pt x="354" y="402"/>
                  </a:lnTo>
                  <a:lnTo>
                    <a:pt x="348" y="390"/>
                  </a:lnTo>
                  <a:lnTo>
                    <a:pt x="336" y="384"/>
                  </a:lnTo>
                  <a:lnTo>
                    <a:pt x="336" y="360"/>
                  </a:lnTo>
                  <a:lnTo>
                    <a:pt x="336" y="354"/>
                  </a:lnTo>
                  <a:lnTo>
                    <a:pt x="336" y="342"/>
                  </a:lnTo>
                  <a:lnTo>
                    <a:pt x="342" y="336"/>
                  </a:lnTo>
                  <a:lnTo>
                    <a:pt x="342" y="324"/>
                  </a:lnTo>
                  <a:lnTo>
                    <a:pt x="372" y="324"/>
                  </a:lnTo>
                  <a:lnTo>
                    <a:pt x="378" y="324"/>
                  </a:lnTo>
                  <a:lnTo>
                    <a:pt x="378" y="318"/>
                  </a:lnTo>
                  <a:lnTo>
                    <a:pt x="372" y="312"/>
                  </a:lnTo>
                  <a:lnTo>
                    <a:pt x="378" y="312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84" y="300"/>
                  </a:lnTo>
                  <a:lnTo>
                    <a:pt x="384" y="294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66" y="294"/>
                  </a:lnTo>
                  <a:lnTo>
                    <a:pt x="366" y="288"/>
                  </a:lnTo>
                  <a:lnTo>
                    <a:pt x="372" y="288"/>
                  </a:lnTo>
                  <a:lnTo>
                    <a:pt x="372" y="282"/>
                  </a:lnTo>
                  <a:lnTo>
                    <a:pt x="366" y="276"/>
                  </a:lnTo>
                  <a:lnTo>
                    <a:pt x="360" y="270"/>
                  </a:lnTo>
                  <a:lnTo>
                    <a:pt x="360" y="264"/>
                  </a:lnTo>
                  <a:lnTo>
                    <a:pt x="354" y="264"/>
                  </a:lnTo>
                  <a:lnTo>
                    <a:pt x="348" y="258"/>
                  </a:lnTo>
                  <a:lnTo>
                    <a:pt x="354" y="258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40"/>
                  </a:lnTo>
                  <a:lnTo>
                    <a:pt x="354" y="240"/>
                  </a:lnTo>
                  <a:lnTo>
                    <a:pt x="342" y="234"/>
                  </a:lnTo>
                  <a:lnTo>
                    <a:pt x="342" y="228"/>
                  </a:lnTo>
                  <a:lnTo>
                    <a:pt x="348" y="228"/>
                  </a:lnTo>
                  <a:lnTo>
                    <a:pt x="342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6" y="216"/>
                  </a:lnTo>
                  <a:lnTo>
                    <a:pt x="330" y="222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24" y="210"/>
                  </a:lnTo>
                  <a:lnTo>
                    <a:pt x="318" y="210"/>
                  </a:lnTo>
                  <a:lnTo>
                    <a:pt x="318" y="204"/>
                  </a:lnTo>
                  <a:lnTo>
                    <a:pt x="312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294" y="192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300" y="174"/>
                  </a:lnTo>
                  <a:lnTo>
                    <a:pt x="300" y="168"/>
                  </a:lnTo>
                  <a:lnTo>
                    <a:pt x="300" y="162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88" y="150"/>
                  </a:lnTo>
                  <a:lnTo>
                    <a:pt x="288" y="144"/>
                  </a:lnTo>
                  <a:lnTo>
                    <a:pt x="282" y="144"/>
                  </a:lnTo>
                  <a:lnTo>
                    <a:pt x="282" y="138"/>
                  </a:lnTo>
                  <a:lnTo>
                    <a:pt x="312" y="132"/>
                  </a:lnTo>
                  <a:lnTo>
                    <a:pt x="324" y="120"/>
                  </a:lnTo>
                  <a:lnTo>
                    <a:pt x="330" y="114"/>
                  </a:lnTo>
                  <a:lnTo>
                    <a:pt x="336" y="102"/>
                  </a:lnTo>
                  <a:lnTo>
                    <a:pt x="348" y="90"/>
                  </a:lnTo>
                  <a:lnTo>
                    <a:pt x="360" y="84"/>
                  </a:lnTo>
                  <a:lnTo>
                    <a:pt x="372" y="84"/>
                  </a:lnTo>
                  <a:lnTo>
                    <a:pt x="378" y="84"/>
                  </a:lnTo>
                  <a:lnTo>
                    <a:pt x="384" y="90"/>
                  </a:lnTo>
                  <a:lnTo>
                    <a:pt x="402" y="90"/>
                  </a:lnTo>
                  <a:lnTo>
                    <a:pt x="438" y="84"/>
                  </a:lnTo>
                  <a:lnTo>
                    <a:pt x="456" y="84"/>
                  </a:lnTo>
                  <a:lnTo>
                    <a:pt x="462" y="78"/>
                  </a:lnTo>
                  <a:lnTo>
                    <a:pt x="486" y="72"/>
                  </a:lnTo>
                  <a:lnTo>
                    <a:pt x="492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04" y="54"/>
                  </a:lnTo>
                  <a:lnTo>
                    <a:pt x="510" y="42"/>
                  </a:lnTo>
                  <a:lnTo>
                    <a:pt x="504" y="42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498" y="30"/>
                  </a:lnTo>
                  <a:lnTo>
                    <a:pt x="492" y="30"/>
                  </a:lnTo>
                  <a:lnTo>
                    <a:pt x="492" y="24"/>
                  </a:lnTo>
                  <a:lnTo>
                    <a:pt x="486" y="18"/>
                  </a:lnTo>
                  <a:lnTo>
                    <a:pt x="498" y="18"/>
                  </a:lnTo>
                  <a:lnTo>
                    <a:pt x="510" y="18"/>
                  </a:lnTo>
                  <a:lnTo>
                    <a:pt x="522" y="12"/>
                  </a:lnTo>
                  <a:lnTo>
                    <a:pt x="528" y="6"/>
                  </a:lnTo>
                  <a:lnTo>
                    <a:pt x="570" y="0"/>
                  </a:lnTo>
                  <a:lnTo>
                    <a:pt x="606" y="6"/>
                  </a:lnTo>
                  <a:lnTo>
                    <a:pt x="654" y="24"/>
                  </a:lnTo>
                  <a:lnTo>
                    <a:pt x="666" y="36"/>
                  </a:lnTo>
                  <a:lnTo>
                    <a:pt x="672" y="30"/>
                  </a:lnTo>
                  <a:lnTo>
                    <a:pt x="690" y="42"/>
                  </a:lnTo>
                  <a:lnTo>
                    <a:pt x="702" y="48"/>
                  </a:lnTo>
                  <a:lnTo>
                    <a:pt x="714" y="60"/>
                  </a:lnTo>
                  <a:lnTo>
                    <a:pt x="714" y="66"/>
                  </a:lnTo>
                  <a:lnTo>
                    <a:pt x="720" y="72"/>
                  </a:lnTo>
                  <a:lnTo>
                    <a:pt x="720" y="78"/>
                  </a:lnTo>
                  <a:lnTo>
                    <a:pt x="720" y="102"/>
                  </a:lnTo>
                  <a:lnTo>
                    <a:pt x="720" y="108"/>
                  </a:lnTo>
                  <a:lnTo>
                    <a:pt x="714" y="108"/>
                  </a:lnTo>
                  <a:lnTo>
                    <a:pt x="714" y="126"/>
                  </a:lnTo>
                  <a:lnTo>
                    <a:pt x="732" y="126"/>
                  </a:lnTo>
                  <a:lnTo>
                    <a:pt x="726" y="132"/>
                  </a:lnTo>
                  <a:lnTo>
                    <a:pt x="738" y="132"/>
                  </a:lnTo>
                  <a:lnTo>
                    <a:pt x="738" y="138"/>
                  </a:lnTo>
                  <a:lnTo>
                    <a:pt x="738" y="144"/>
                  </a:lnTo>
                  <a:lnTo>
                    <a:pt x="744" y="144"/>
                  </a:lnTo>
                  <a:lnTo>
                    <a:pt x="744" y="150"/>
                  </a:lnTo>
                  <a:lnTo>
                    <a:pt x="756" y="156"/>
                  </a:lnTo>
                  <a:lnTo>
                    <a:pt x="768" y="156"/>
                  </a:lnTo>
                  <a:lnTo>
                    <a:pt x="780" y="156"/>
                  </a:lnTo>
                  <a:lnTo>
                    <a:pt x="792" y="150"/>
                  </a:lnTo>
                  <a:lnTo>
                    <a:pt x="786" y="150"/>
                  </a:lnTo>
                  <a:lnTo>
                    <a:pt x="786" y="144"/>
                  </a:lnTo>
                  <a:lnTo>
                    <a:pt x="804" y="144"/>
                  </a:lnTo>
                  <a:lnTo>
                    <a:pt x="816" y="132"/>
                  </a:lnTo>
                  <a:lnTo>
                    <a:pt x="822" y="126"/>
                  </a:lnTo>
                  <a:lnTo>
                    <a:pt x="828" y="132"/>
                  </a:lnTo>
                  <a:lnTo>
                    <a:pt x="834" y="126"/>
                  </a:lnTo>
                  <a:lnTo>
                    <a:pt x="834" y="120"/>
                  </a:lnTo>
                  <a:lnTo>
                    <a:pt x="924" y="108"/>
                  </a:lnTo>
                  <a:lnTo>
                    <a:pt x="942" y="144"/>
                  </a:lnTo>
                  <a:lnTo>
                    <a:pt x="948" y="144"/>
                  </a:lnTo>
                  <a:lnTo>
                    <a:pt x="960" y="168"/>
                  </a:lnTo>
                  <a:lnTo>
                    <a:pt x="972" y="186"/>
                  </a:lnTo>
                  <a:lnTo>
                    <a:pt x="984" y="192"/>
                  </a:lnTo>
                  <a:lnTo>
                    <a:pt x="996" y="192"/>
                  </a:lnTo>
                  <a:lnTo>
                    <a:pt x="996" y="198"/>
                  </a:lnTo>
                  <a:lnTo>
                    <a:pt x="1008" y="204"/>
                  </a:lnTo>
                  <a:lnTo>
                    <a:pt x="1008" y="210"/>
                  </a:lnTo>
                  <a:lnTo>
                    <a:pt x="1002" y="210"/>
                  </a:lnTo>
                  <a:lnTo>
                    <a:pt x="1008" y="216"/>
                  </a:lnTo>
                  <a:lnTo>
                    <a:pt x="1014" y="210"/>
                  </a:lnTo>
                  <a:lnTo>
                    <a:pt x="1014" y="216"/>
                  </a:lnTo>
                  <a:lnTo>
                    <a:pt x="1020" y="222"/>
                  </a:lnTo>
                  <a:lnTo>
                    <a:pt x="1014" y="228"/>
                  </a:lnTo>
                  <a:lnTo>
                    <a:pt x="1032" y="234"/>
                  </a:lnTo>
                  <a:lnTo>
                    <a:pt x="1044" y="240"/>
                  </a:lnTo>
                  <a:lnTo>
                    <a:pt x="1038" y="246"/>
                  </a:lnTo>
                  <a:lnTo>
                    <a:pt x="1038" y="252"/>
                  </a:lnTo>
                  <a:lnTo>
                    <a:pt x="1038" y="258"/>
                  </a:lnTo>
                  <a:lnTo>
                    <a:pt x="1032" y="264"/>
                  </a:lnTo>
                  <a:lnTo>
                    <a:pt x="1032" y="270"/>
                  </a:lnTo>
                  <a:lnTo>
                    <a:pt x="1032" y="276"/>
                  </a:lnTo>
                  <a:lnTo>
                    <a:pt x="1032" y="282"/>
                  </a:lnTo>
                  <a:lnTo>
                    <a:pt x="1026" y="282"/>
                  </a:lnTo>
                  <a:lnTo>
                    <a:pt x="1026" y="288"/>
                  </a:lnTo>
                  <a:lnTo>
                    <a:pt x="1026" y="294"/>
                  </a:lnTo>
                  <a:lnTo>
                    <a:pt x="1026" y="300"/>
                  </a:lnTo>
                  <a:lnTo>
                    <a:pt x="1026" y="306"/>
                  </a:lnTo>
                  <a:lnTo>
                    <a:pt x="1020" y="318"/>
                  </a:lnTo>
                  <a:lnTo>
                    <a:pt x="1020" y="324"/>
                  </a:lnTo>
                  <a:lnTo>
                    <a:pt x="1014" y="324"/>
                  </a:lnTo>
                  <a:lnTo>
                    <a:pt x="1014" y="330"/>
                  </a:lnTo>
                  <a:lnTo>
                    <a:pt x="1014" y="336"/>
                  </a:lnTo>
                  <a:lnTo>
                    <a:pt x="1008" y="366"/>
                  </a:lnTo>
                  <a:lnTo>
                    <a:pt x="1002" y="366"/>
                  </a:lnTo>
                  <a:lnTo>
                    <a:pt x="984" y="354"/>
                  </a:lnTo>
                  <a:lnTo>
                    <a:pt x="978" y="354"/>
                  </a:lnTo>
                  <a:lnTo>
                    <a:pt x="972" y="354"/>
                  </a:lnTo>
                  <a:lnTo>
                    <a:pt x="966" y="348"/>
                  </a:lnTo>
                  <a:lnTo>
                    <a:pt x="954" y="348"/>
                  </a:lnTo>
                  <a:lnTo>
                    <a:pt x="948" y="348"/>
                  </a:lnTo>
                  <a:lnTo>
                    <a:pt x="948" y="360"/>
                  </a:lnTo>
                  <a:lnTo>
                    <a:pt x="948" y="366"/>
                  </a:lnTo>
                  <a:lnTo>
                    <a:pt x="948" y="372"/>
                  </a:lnTo>
                  <a:lnTo>
                    <a:pt x="948" y="378"/>
                  </a:lnTo>
                  <a:lnTo>
                    <a:pt x="948" y="384"/>
                  </a:lnTo>
                  <a:lnTo>
                    <a:pt x="942" y="384"/>
                  </a:lnTo>
                  <a:lnTo>
                    <a:pt x="942" y="390"/>
                  </a:lnTo>
                  <a:lnTo>
                    <a:pt x="936" y="390"/>
                  </a:lnTo>
                  <a:lnTo>
                    <a:pt x="942" y="390"/>
                  </a:lnTo>
                  <a:lnTo>
                    <a:pt x="936" y="396"/>
                  </a:lnTo>
                  <a:lnTo>
                    <a:pt x="930" y="402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2" y="432"/>
                  </a:lnTo>
                  <a:lnTo>
                    <a:pt x="900" y="450"/>
                  </a:lnTo>
                  <a:lnTo>
                    <a:pt x="894" y="456"/>
                  </a:lnTo>
                  <a:lnTo>
                    <a:pt x="888" y="456"/>
                  </a:lnTo>
                  <a:lnTo>
                    <a:pt x="882" y="456"/>
                  </a:lnTo>
                  <a:lnTo>
                    <a:pt x="876" y="456"/>
                  </a:lnTo>
                  <a:lnTo>
                    <a:pt x="864" y="462"/>
                  </a:lnTo>
                  <a:lnTo>
                    <a:pt x="852" y="474"/>
                  </a:lnTo>
                  <a:lnTo>
                    <a:pt x="846" y="480"/>
                  </a:lnTo>
                  <a:lnTo>
                    <a:pt x="840" y="486"/>
                  </a:lnTo>
                  <a:lnTo>
                    <a:pt x="834" y="498"/>
                  </a:lnTo>
                  <a:lnTo>
                    <a:pt x="828" y="510"/>
                  </a:lnTo>
                  <a:lnTo>
                    <a:pt x="816" y="522"/>
                  </a:lnTo>
                  <a:lnTo>
                    <a:pt x="798" y="540"/>
                  </a:lnTo>
                  <a:lnTo>
                    <a:pt x="780" y="558"/>
                  </a:lnTo>
                  <a:lnTo>
                    <a:pt x="774" y="558"/>
                  </a:lnTo>
                  <a:lnTo>
                    <a:pt x="756" y="576"/>
                  </a:lnTo>
                  <a:lnTo>
                    <a:pt x="732" y="600"/>
                  </a:lnTo>
                  <a:lnTo>
                    <a:pt x="726" y="600"/>
                  </a:lnTo>
                  <a:lnTo>
                    <a:pt x="720" y="606"/>
                  </a:lnTo>
                  <a:lnTo>
                    <a:pt x="714" y="612"/>
                  </a:lnTo>
                  <a:lnTo>
                    <a:pt x="690" y="630"/>
                  </a:lnTo>
                  <a:lnTo>
                    <a:pt x="678" y="636"/>
                  </a:lnTo>
                  <a:lnTo>
                    <a:pt x="672" y="642"/>
                  </a:lnTo>
                  <a:lnTo>
                    <a:pt x="660" y="660"/>
                  </a:lnTo>
                  <a:lnTo>
                    <a:pt x="642" y="666"/>
                  </a:lnTo>
                  <a:lnTo>
                    <a:pt x="636" y="678"/>
                  </a:lnTo>
                  <a:lnTo>
                    <a:pt x="630" y="678"/>
                  </a:lnTo>
                  <a:lnTo>
                    <a:pt x="630" y="684"/>
                  </a:lnTo>
                  <a:lnTo>
                    <a:pt x="630" y="690"/>
                  </a:lnTo>
                  <a:lnTo>
                    <a:pt x="636" y="696"/>
                  </a:lnTo>
                  <a:lnTo>
                    <a:pt x="642" y="696"/>
                  </a:lnTo>
                  <a:lnTo>
                    <a:pt x="648" y="702"/>
                  </a:lnTo>
                  <a:lnTo>
                    <a:pt x="648" y="708"/>
                  </a:lnTo>
                  <a:lnTo>
                    <a:pt x="642" y="708"/>
                  </a:lnTo>
                  <a:lnTo>
                    <a:pt x="636" y="714"/>
                  </a:lnTo>
                  <a:lnTo>
                    <a:pt x="636" y="720"/>
                  </a:lnTo>
                  <a:lnTo>
                    <a:pt x="642" y="726"/>
                  </a:lnTo>
                  <a:lnTo>
                    <a:pt x="636" y="738"/>
                  </a:lnTo>
                  <a:lnTo>
                    <a:pt x="618" y="756"/>
                  </a:lnTo>
                  <a:lnTo>
                    <a:pt x="612" y="750"/>
                  </a:lnTo>
                  <a:lnTo>
                    <a:pt x="612" y="756"/>
                  </a:lnTo>
                  <a:lnTo>
                    <a:pt x="618" y="762"/>
                  </a:lnTo>
                  <a:lnTo>
                    <a:pt x="618" y="768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36" y="786"/>
                  </a:lnTo>
                  <a:lnTo>
                    <a:pt x="642" y="792"/>
                  </a:lnTo>
                  <a:lnTo>
                    <a:pt x="642" y="798"/>
                  </a:lnTo>
                  <a:lnTo>
                    <a:pt x="648" y="804"/>
                  </a:lnTo>
                  <a:lnTo>
                    <a:pt x="654" y="810"/>
                  </a:lnTo>
                  <a:lnTo>
                    <a:pt x="660" y="816"/>
                  </a:lnTo>
                  <a:lnTo>
                    <a:pt x="666" y="816"/>
                  </a:lnTo>
                  <a:lnTo>
                    <a:pt x="666" y="822"/>
                  </a:lnTo>
                  <a:lnTo>
                    <a:pt x="672" y="828"/>
                  </a:lnTo>
                  <a:lnTo>
                    <a:pt x="672" y="840"/>
                  </a:lnTo>
                  <a:lnTo>
                    <a:pt x="672" y="846"/>
                  </a:lnTo>
                  <a:lnTo>
                    <a:pt x="666" y="852"/>
                  </a:lnTo>
                  <a:lnTo>
                    <a:pt x="660" y="864"/>
                  </a:lnTo>
                  <a:lnTo>
                    <a:pt x="654" y="876"/>
                  </a:lnTo>
                  <a:lnTo>
                    <a:pt x="648" y="882"/>
                  </a:lnTo>
                  <a:lnTo>
                    <a:pt x="642" y="888"/>
                  </a:lnTo>
                  <a:lnTo>
                    <a:pt x="642" y="894"/>
                  </a:lnTo>
                  <a:lnTo>
                    <a:pt x="642" y="906"/>
                  </a:lnTo>
                  <a:lnTo>
                    <a:pt x="630" y="918"/>
                  </a:lnTo>
                  <a:lnTo>
                    <a:pt x="630" y="924"/>
                  </a:lnTo>
                  <a:lnTo>
                    <a:pt x="624" y="930"/>
                  </a:lnTo>
                  <a:lnTo>
                    <a:pt x="630" y="936"/>
                  </a:lnTo>
                  <a:lnTo>
                    <a:pt x="630" y="942"/>
                  </a:lnTo>
                  <a:lnTo>
                    <a:pt x="630" y="948"/>
                  </a:lnTo>
                  <a:lnTo>
                    <a:pt x="630" y="954"/>
                  </a:lnTo>
                  <a:lnTo>
                    <a:pt x="630" y="960"/>
                  </a:lnTo>
                  <a:lnTo>
                    <a:pt x="624" y="966"/>
                  </a:lnTo>
                  <a:lnTo>
                    <a:pt x="618" y="990"/>
                  </a:lnTo>
                  <a:lnTo>
                    <a:pt x="618" y="1008"/>
                  </a:lnTo>
                  <a:lnTo>
                    <a:pt x="612" y="1026"/>
                  </a:lnTo>
                  <a:lnTo>
                    <a:pt x="612" y="1038"/>
                  </a:lnTo>
                  <a:lnTo>
                    <a:pt x="612" y="1050"/>
                  </a:lnTo>
                  <a:lnTo>
                    <a:pt x="612" y="1056"/>
                  </a:lnTo>
                  <a:lnTo>
                    <a:pt x="612" y="1062"/>
                  </a:lnTo>
                  <a:lnTo>
                    <a:pt x="612" y="1068"/>
                  </a:lnTo>
                  <a:lnTo>
                    <a:pt x="612" y="1086"/>
                  </a:lnTo>
                  <a:lnTo>
                    <a:pt x="612" y="1092"/>
                  </a:lnTo>
                  <a:lnTo>
                    <a:pt x="606" y="1098"/>
                  </a:lnTo>
                  <a:lnTo>
                    <a:pt x="600" y="1110"/>
                  </a:lnTo>
                  <a:lnTo>
                    <a:pt x="600" y="1116"/>
                  </a:lnTo>
                  <a:lnTo>
                    <a:pt x="594" y="1122"/>
                  </a:lnTo>
                  <a:lnTo>
                    <a:pt x="594" y="1128"/>
                  </a:lnTo>
                  <a:lnTo>
                    <a:pt x="588" y="1134"/>
                  </a:lnTo>
                  <a:lnTo>
                    <a:pt x="582" y="1140"/>
                  </a:lnTo>
                  <a:lnTo>
                    <a:pt x="570" y="1140"/>
                  </a:lnTo>
                  <a:lnTo>
                    <a:pt x="564" y="1146"/>
                  </a:lnTo>
                  <a:lnTo>
                    <a:pt x="570" y="1146"/>
                  </a:lnTo>
                  <a:lnTo>
                    <a:pt x="564" y="1152"/>
                  </a:lnTo>
                  <a:lnTo>
                    <a:pt x="558" y="1158"/>
                  </a:lnTo>
                  <a:lnTo>
                    <a:pt x="552" y="1164"/>
                  </a:lnTo>
                  <a:lnTo>
                    <a:pt x="552" y="1170"/>
                  </a:lnTo>
                  <a:lnTo>
                    <a:pt x="546" y="1176"/>
                  </a:lnTo>
                  <a:lnTo>
                    <a:pt x="546" y="1182"/>
                  </a:lnTo>
                  <a:lnTo>
                    <a:pt x="546" y="1188"/>
                  </a:lnTo>
                  <a:lnTo>
                    <a:pt x="540" y="1188"/>
                  </a:lnTo>
                  <a:lnTo>
                    <a:pt x="540" y="1194"/>
                  </a:lnTo>
                  <a:lnTo>
                    <a:pt x="528" y="1206"/>
                  </a:lnTo>
                  <a:lnTo>
                    <a:pt x="528" y="1212"/>
                  </a:lnTo>
                  <a:lnTo>
                    <a:pt x="534" y="1212"/>
                  </a:lnTo>
                  <a:lnTo>
                    <a:pt x="540" y="1218"/>
                  </a:lnTo>
                  <a:lnTo>
                    <a:pt x="534" y="1218"/>
                  </a:lnTo>
                  <a:lnTo>
                    <a:pt x="528" y="1218"/>
                  </a:lnTo>
                  <a:lnTo>
                    <a:pt x="528" y="1224"/>
                  </a:lnTo>
                  <a:lnTo>
                    <a:pt x="522" y="1230"/>
                  </a:lnTo>
                  <a:lnTo>
                    <a:pt x="516" y="1236"/>
                  </a:lnTo>
                  <a:lnTo>
                    <a:pt x="522" y="1236"/>
                  </a:lnTo>
                  <a:lnTo>
                    <a:pt x="516" y="1242"/>
                  </a:lnTo>
                  <a:lnTo>
                    <a:pt x="510" y="1242"/>
                  </a:lnTo>
                  <a:lnTo>
                    <a:pt x="504" y="1248"/>
                  </a:lnTo>
                  <a:lnTo>
                    <a:pt x="510" y="1260"/>
                  </a:lnTo>
                  <a:lnTo>
                    <a:pt x="504" y="1266"/>
                  </a:lnTo>
                  <a:lnTo>
                    <a:pt x="492" y="1266"/>
                  </a:lnTo>
                  <a:lnTo>
                    <a:pt x="486" y="1272"/>
                  </a:lnTo>
                  <a:lnTo>
                    <a:pt x="486" y="1278"/>
                  </a:lnTo>
                  <a:lnTo>
                    <a:pt x="480" y="1278"/>
                  </a:lnTo>
                  <a:lnTo>
                    <a:pt x="480" y="1284"/>
                  </a:lnTo>
                  <a:lnTo>
                    <a:pt x="480" y="1290"/>
                  </a:lnTo>
                  <a:lnTo>
                    <a:pt x="480" y="1296"/>
                  </a:lnTo>
                  <a:lnTo>
                    <a:pt x="492" y="1302"/>
                  </a:lnTo>
                  <a:lnTo>
                    <a:pt x="492" y="1308"/>
                  </a:lnTo>
                  <a:lnTo>
                    <a:pt x="492" y="1320"/>
                  </a:lnTo>
                  <a:lnTo>
                    <a:pt x="492" y="1332"/>
                  </a:lnTo>
                  <a:lnTo>
                    <a:pt x="498" y="1344"/>
                  </a:lnTo>
                  <a:lnTo>
                    <a:pt x="498" y="1350"/>
                  </a:lnTo>
                  <a:lnTo>
                    <a:pt x="498" y="1356"/>
                  </a:lnTo>
                  <a:lnTo>
                    <a:pt x="504" y="1362"/>
                  </a:lnTo>
                  <a:lnTo>
                    <a:pt x="498" y="1362"/>
                  </a:lnTo>
                  <a:lnTo>
                    <a:pt x="498" y="1368"/>
                  </a:lnTo>
                  <a:lnTo>
                    <a:pt x="492" y="1368"/>
                  </a:lnTo>
                  <a:lnTo>
                    <a:pt x="492" y="1374"/>
                  </a:lnTo>
                  <a:lnTo>
                    <a:pt x="492" y="1380"/>
                  </a:lnTo>
                  <a:lnTo>
                    <a:pt x="498" y="1380"/>
                  </a:lnTo>
                  <a:lnTo>
                    <a:pt x="504" y="1380"/>
                  </a:lnTo>
                  <a:lnTo>
                    <a:pt x="498" y="1386"/>
                  </a:lnTo>
                  <a:lnTo>
                    <a:pt x="498" y="1392"/>
                  </a:lnTo>
                  <a:lnTo>
                    <a:pt x="498" y="1398"/>
                  </a:lnTo>
                  <a:lnTo>
                    <a:pt x="498" y="1404"/>
                  </a:lnTo>
                  <a:lnTo>
                    <a:pt x="498" y="1410"/>
                  </a:lnTo>
                  <a:lnTo>
                    <a:pt x="498" y="1416"/>
                  </a:lnTo>
                  <a:lnTo>
                    <a:pt x="492" y="1416"/>
                  </a:lnTo>
                  <a:lnTo>
                    <a:pt x="498" y="1416"/>
                  </a:lnTo>
                  <a:lnTo>
                    <a:pt x="504" y="1416"/>
                  </a:lnTo>
                  <a:lnTo>
                    <a:pt x="504" y="1422"/>
                  </a:lnTo>
                  <a:lnTo>
                    <a:pt x="510" y="1428"/>
                  </a:lnTo>
                  <a:lnTo>
                    <a:pt x="510" y="1434"/>
                  </a:lnTo>
                  <a:lnTo>
                    <a:pt x="510" y="1440"/>
                  </a:lnTo>
                  <a:lnTo>
                    <a:pt x="516" y="1446"/>
                  </a:lnTo>
                  <a:lnTo>
                    <a:pt x="516" y="1452"/>
                  </a:lnTo>
                  <a:lnTo>
                    <a:pt x="516" y="1458"/>
                  </a:lnTo>
                  <a:lnTo>
                    <a:pt x="516" y="1464"/>
                  </a:lnTo>
                  <a:lnTo>
                    <a:pt x="516" y="1482"/>
                  </a:lnTo>
                  <a:lnTo>
                    <a:pt x="516" y="1488"/>
                  </a:lnTo>
                  <a:lnTo>
                    <a:pt x="522" y="1488"/>
                  </a:lnTo>
                  <a:lnTo>
                    <a:pt x="522" y="1494"/>
                  </a:lnTo>
                  <a:lnTo>
                    <a:pt x="522" y="1500"/>
                  </a:lnTo>
                  <a:lnTo>
                    <a:pt x="516" y="1506"/>
                  </a:lnTo>
                  <a:lnTo>
                    <a:pt x="510" y="1500"/>
                  </a:lnTo>
                  <a:lnTo>
                    <a:pt x="504" y="1500"/>
                  </a:lnTo>
                  <a:lnTo>
                    <a:pt x="504" y="1494"/>
                  </a:lnTo>
                  <a:lnTo>
                    <a:pt x="504" y="1488"/>
                  </a:lnTo>
                  <a:lnTo>
                    <a:pt x="504" y="1482"/>
                  </a:lnTo>
                  <a:lnTo>
                    <a:pt x="504" y="1488"/>
                  </a:lnTo>
                  <a:lnTo>
                    <a:pt x="504" y="1494"/>
                  </a:lnTo>
                  <a:lnTo>
                    <a:pt x="504" y="1500"/>
                  </a:lnTo>
                  <a:lnTo>
                    <a:pt x="498" y="1500"/>
                  </a:lnTo>
                  <a:lnTo>
                    <a:pt x="492" y="1500"/>
                  </a:lnTo>
                  <a:lnTo>
                    <a:pt x="492" y="1494"/>
                  </a:lnTo>
                  <a:lnTo>
                    <a:pt x="492" y="1488"/>
                  </a:lnTo>
                  <a:lnTo>
                    <a:pt x="492" y="1494"/>
                  </a:lnTo>
                  <a:lnTo>
                    <a:pt x="492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00"/>
                  </a:lnTo>
                  <a:lnTo>
                    <a:pt x="510" y="1500"/>
                  </a:lnTo>
                  <a:lnTo>
                    <a:pt x="510" y="1506"/>
                  </a:lnTo>
                  <a:lnTo>
                    <a:pt x="516" y="1506"/>
                  </a:lnTo>
                  <a:lnTo>
                    <a:pt x="510" y="1506"/>
                  </a:lnTo>
                  <a:lnTo>
                    <a:pt x="510" y="1512"/>
                  </a:lnTo>
                  <a:lnTo>
                    <a:pt x="516" y="1506"/>
                  </a:lnTo>
                  <a:lnTo>
                    <a:pt x="522" y="1506"/>
                  </a:lnTo>
                  <a:lnTo>
                    <a:pt x="528" y="1506"/>
                  </a:lnTo>
                  <a:lnTo>
                    <a:pt x="528" y="1500"/>
                  </a:lnTo>
                  <a:lnTo>
                    <a:pt x="534" y="1500"/>
                  </a:lnTo>
                  <a:lnTo>
                    <a:pt x="534" y="1506"/>
                  </a:lnTo>
                  <a:lnTo>
                    <a:pt x="540" y="1512"/>
                  </a:lnTo>
                  <a:lnTo>
                    <a:pt x="540" y="1518"/>
                  </a:lnTo>
                  <a:lnTo>
                    <a:pt x="546" y="1518"/>
                  </a:lnTo>
                  <a:lnTo>
                    <a:pt x="540" y="1518"/>
                  </a:lnTo>
                  <a:lnTo>
                    <a:pt x="540" y="1524"/>
                  </a:lnTo>
                  <a:lnTo>
                    <a:pt x="534" y="1524"/>
                  </a:lnTo>
                  <a:lnTo>
                    <a:pt x="540" y="1524"/>
                  </a:lnTo>
                  <a:lnTo>
                    <a:pt x="546" y="1524"/>
                  </a:lnTo>
                  <a:lnTo>
                    <a:pt x="546" y="1530"/>
                  </a:lnTo>
                  <a:lnTo>
                    <a:pt x="540" y="1530"/>
                  </a:lnTo>
                  <a:lnTo>
                    <a:pt x="540" y="1536"/>
                  </a:lnTo>
                  <a:lnTo>
                    <a:pt x="534" y="1542"/>
                  </a:lnTo>
                  <a:lnTo>
                    <a:pt x="528" y="1542"/>
                  </a:lnTo>
                  <a:lnTo>
                    <a:pt x="522" y="1542"/>
                  </a:lnTo>
                  <a:lnTo>
                    <a:pt x="516" y="1542"/>
                  </a:lnTo>
                  <a:lnTo>
                    <a:pt x="510" y="1542"/>
                  </a:lnTo>
                  <a:lnTo>
                    <a:pt x="504" y="1542"/>
                  </a:lnTo>
                  <a:lnTo>
                    <a:pt x="492" y="1542"/>
                  </a:lnTo>
                  <a:lnTo>
                    <a:pt x="486" y="1536"/>
                  </a:lnTo>
                  <a:lnTo>
                    <a:pt x="480" y="1536"/>
                  </a:lnTo>
                  <a:lnTo>
                    <a:pt x="468" y="1536"/>
                  </a:lnTo>
                  <a:lnTo>
                    <a:pt x="468" y="1542"/>
                  </a:lnTo>
                  <a:lnTo>
                    <a:pt x="462" y="1542"/>
                  </a:lnTo>
                  <a:lnTo>
                    <a:pt x="456" y="1542"/>
                  </a:lnTo>
                  <a:lnTo>
                    <a:pt x="450" y="1542"/>
                  </a:lnTo>
                  <a:lnTo>
                    <a:pt x="444" y="1542"/>
                  </a:lnTo>
                  <a:lnTo>
                    <a:pt x="444" y="1536"/>
                  </a:lnTo>
                  <a:lnTo>
                    <a:pt x="450" y="1536"/>
                  </a:lnTo>
                  <a:lnTo>
                    <a:pt x="456" y="1536"/>
                  </a:lnTo>
                  <a:lnTo>
                    <a:pt x="450" y="1536"/>
                  </a:lnTo>
                  <a:lnTo>
                    <a:pt x="444" y="1536"/>
                  </a:lnTo>
                  <a:lnTo>
                    <a:pt x="444" y="1530"/>
                  </a:lnTo>
                  <a:lnTo>
                    <a:pt x="450" y="1530"/>
                  </a:lnTo>
                  <a:lnTo>
                    <a:pt x="456" y="1524"/>
                  </a:lnTo>
                  <a:lnTo>
                    <a:pt x="456" y="1518"/>
                  </a:lnTo>
                  <a:lnTo>
                    <a:pt x="462" y="1518"/>
                  </a:lnTo>
                  <a:lnTo>
                    <a:pt x="462" y="1524"/>
                  </a:lnTo>
                  <a:lnTo>
                    <a:pt x="468" y="1524"/>
                  </a:lnTo>
                  <a:lnTo>
                    <a:pt x="474" y="1524"/>
                  </a:lnTo>
                  <a:lnTo>
                    <a:pt x="474" y="1518"/>
                  </a:lnTo>
                  <a:lnTo>
                    <a:pt x="480" y="1518"/>
                  </a:lnTo>
                  <a:lnTo>
                    <a:pt x="474" y="1518"/>
                  </a:lnTo>
                  <a:lnTo>
                    <a:pt x="474" y="1524"/>
                  </a:lnTo>
                  <a:lnTo>
                    <a:pt x="468" y="1524"/>
                  </a:lnTo>
                  <a:lnTo>
                    <a:pt x="462" y="1518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62" y="1512"/>
                  </a:lnTo>
                  <a:lnTo>
                    <a:pt x="462" y="1506"/>
                  </a:lnTo>
                  <a:lnTo>
                    <a:pt x="456" y="1506"/>
                  </a:lnTo>
                  <a:lnTo>
                    <a:pt x="456" y="1512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50" y="1518"/>
                  </a:lnTo>
                  <a:lnTo>
                    <a:pt x="444" y="1518"/>
                  </a:lnTo>
                  <a:lnTo>
                    <a:pt x="444" y="1524"/>
                  </a:lnTo>
                  <a:lnTo>
                    <a:pt x="438" y="1524"/>
                  </a:lnTo>
                  <a:lnTo>
                    <a:pt x="438" y="1530"/>
                  </a:lnTo>
                  <a:lnTo>
                    <a:pt x="432" y="1530"/>
                  </a:lnTo>
                  <a:lnTo>
                    <a:pt x="432" y="1536"/>
                  </a:lnTo>
                  <a:lnTo>
                    <a:pt x="426" y="1530"/>
                  </a:lnTo>
                  <a:lnTo>
                    <a:pt x="420" y="1530"/>
                  </a:lnTo>
                  <a:lnTo>
                    <a:pt x="414" y="1530"/>
                  </a:lnTo>
                  <a:lnTo>
                    <a:pt x="414" y="1524"/>
                  </a:lnTo>
                  <a:lnTo>
                    <a:pt x="408" y="1518"/>
                  </a:lnTo>
                  <a:lnTo>
                    <a:pt x="414" y="1512"/>
                  </a:lnTo>
                  <a:lnTo>
                    <a:pt x="408" y="1512"/>
                  </a:lnTo>
                  <a:lnTo>
                    <a:pt x="408" y="1506"/>
                  </a:lnTo>
                  <a:lnTo>
                    <a:pt x="408" y="1500"/>
                  </a:lnTo>
                  <a:lnTo>
                    <a:pt x="408" y="1494"/>
                  </a:lnTo>
                  <a:lnTo>
                    <a:pt x="408" y="1488"/>
                  </a:lnTo>
                  <a:lnTo>
                    <a:pt x="408" y="1494"/>
                  </a:lnTo>
                  <a:lnTo>
                    <a:pt x="414" y="1494"/>
                  </a:lnTo>
                  <a:lnTo>
                    <a:pt x="420" y="1494"/>
                  </a:lnTo>
                  <a:lnTo>
                    <a:pt x="420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82"/>
                  </a:lnTo>
                  <a:lnTo>
                    <a:pt x="426" y="1476"/>
                  </a:lnTo>
                  <a:lnTo>
                    <a:pt x="432" y="1476"/>
                  </a:lnTo>
                  <a:lnTo>
                    <a:pt x="432" y="1470"/>
                  </a:lnTo>
                  <a:lnTo>
                    <a:pt x="438" y="1470"/>
                  </a:lnTo>
                  <a:lnTo>
                    <a:pt x="444" y="1464"/>
                  </a:lnTo>
                  <a:lnTo>
                    <a:pt x="450" y="1458"/>
                  </a:lnTo>
                  <a:lnTo>
                    <a:pt x="456" y="1458"/>
                  </a:lnTo>
                  <a:lnTo>
                    <a:pt x="462" y="1452"/>
                  </a:lnTo>
                  <a:lnTo>
                    <a:pt x="468" y="1452"/>
                  </a:lnTo>
                  <a:lnTo>
                    <a:pt x="468" y="1446"/>
                  </a:lnTo>
                  <a:lnTo>
                    <a:pt x="462" y="1440"/>
                  </a:lnTo>
                  <a:lnTo>
                    <a:pt x="456" y="1434"/>
                  </a:lnTo>
                  <a:lnTo>
                    <a:pt x="456" y="1428"/>
                  </a:lnTo>
                  <a:lnTo>
                    <a:pt x="456" y="1422"/>
                  </a:lnTo>
                  <a:lnTo>
                    <a:pt x="456" y="1416"/>
                  </a:lnTo>
                  <a:lnTo>
                    <a:pt x="450" y="1410"/>
                  </a:lnTo>
                  <a:lnTo>
                    <a:pt x="444" y="1410"/>
                  </a:lnTo>
                  <a:lnTo>
                    <a:pt x="450" y="1410"/>
                  </a:lnTo>
                  <a:lnTo>
                    <a:pt x="450" y="1404"/>
                  </a:lnTo>
                  <a:lnTo>
                    <a:pt x="456" y="1404"/>
                  </a:lnTo>
                  <a:lnTo>
                    <a:pt x="462" y="1404"/>
                  </a:lnTo>
                  <a:lnTo>
                    <a:pt x="468" y="1398"/>
                  </a:lnTo>
                  <a:lnTo>
                    <a:pt x="462" y="1398"/>
                  </a:lnTo>
                  <a:lnTo>
                    <a:pt x="462" y="1392"/>
                  </a:lnTo>
                  <a:lnTo>
                    <a:pt x="456" y="1392"/>
                  </a:lnTo>
                  <a:lnTo>
                    <a:pt x="456" y="1386"/>
                  </a:lnTo>
                  <a:lnTo>
                    <a:pt x="462" y="1386"/>
                  </a:lnTo>
                  <a:lnTo>
                    <a:pt x="468" y="1386"/>
                  </a:lnTo>
                  <a:lnTo>
                    <a:pt x="474" y="1386"/>
                  </a:lnTo>
                  <a:lnTo>
                    <a:pt x="468" y="1386"/>
                  </a:lnTo>
                  <a:lnTo>
                    <a:pt x="462" y="1386"/>
                  </a:lnTo>
                  <a:lnTo>
                    <a:pt x="456" y="1380"/>
                  </a:lnTo>
                  <a:lnTo>
                    <a:pt x="456" y="1374"/>
                  </a:lnTo>
                  <a:lnTo>
                    <a:pt x="462" y="1374"/>
                  </a:lnTo>
                  <a:lnTo>
                    <a:pt x="462" y="1368"/>
                  </a:lnTo>
                  <a:lnTo>
                    <a:pt x="456" y="1374"/>
                  </a:lnTo>
                  <a:lnTo>
                    <a:pt x="456" y="1368"/>
                  </a:lnTo>
                  <a:lnTo>
                    <a:pt x="456" y="1362"/>
                  </a:lnTo>
                  <a:lnTo>
                    <a:pt x="450" y="1362"/>
                  </a:lnTo>
                  <a:lnTo>
                    <a:pt x="450" y="1356"/>
                  </a:lnTo>
                  <a:lnTo>
                    <a:pt x="450" y="1350"/>
                  </a:lnTo>
                  <a:lnTo>
                    <a:pt x="450" y="1344"/>
                  </a:lnTo>
                  <a:lnTo>
                    <a:pt x="456" y="1344"/>
                  </a:lnTo>
                  <a:lnTo>
                    <a:pt x="456" y="1338"/>
                  </a:lnTo>
                  <a:lnTo>
                    <a:pt x="462" y="1338"/>
                  </a:lnTo>
                  <a:lnTo>
                    <a:pt x="462" y="1332"/>
                  </a:lnTo>
                  <a:lnTo>
                    <a:pt x="456" y="1332"/>
                  </a:lnTo>
                  <a:lnTo>
                    <a:pt x="456" y="1326"/>
                  </a:lnTo>
                  <a:lnTo>
                    <a:pt x="450" y="1326"/>
                  </a:lnTo>
                  <a:lnTo>
                    <a:pt x="444" y="1326"/>
                  </a:lnTo>
                  <a:lnTo>
                    <a:pt x="444" y="1332"/>
                  </a:lnTo>
                  <a:lnTo>
                    <a:pt x="438" y="1332"/>
                  </a:lnTo>
                  <a:lnTo>
                    <a:pt x="438" y="1338"/>
                  </a:lnTo>
                  <a:lnTo>
                    <a:pt x="432" y="1338"/>
                  </a:lnTo>
                  <a:lnTo>
                    <a:pt x="432" y="1344"/>
                  </a:lnTo>
                  <a:lnTo>
                    <a:pt x="432" y="1350"/>
                  </a:lnTo>
                  <a:lnTo>
                    <a:pt x="426" y="1356"/>
                  </a:lnTo>
                  <a:lnTo>
                    <a:pt x="426" y="1368"/>
                  </a:lnTo>
                  <a:lnTo>
                    <a:pt x="426" y="1374"/>
                  </a:lnTo>
                  <a:lnTo>
                    <a:pt x="426" y="1380"/>
                  </a:lnTo>
                  <a:lnTo>
                    <a:pt x="432" y="1386"/>
                  </a:lnTo>
                  <a:lnTo>
                    <a:pt x="432" y="1392"/>
                  </a:lnTo>
                  <a:lnTo>
                    <a:pt x="432" y="1398"/>
                  </a:lnTo>
                  <a:lnTo>
                    <a:pt x="426" y="1398"/>
                  </a:lnTo>
                  <a:lnTo>
                    <a:pt x="420" y="1398"/>
                  </a:lnTo>
                  <a:lnTo>
                    <a:pt x="414" y="1398"/>
                  </a:lnTo>
                  <a:lnTo>
                    <a:pt x="420" y="1398"/>
                  </a:lnTo>
                  <a:lnTo>
                    <a:pt x="414" y="1404"/>
                  </a:lnTo>
                  <a:lnTo>
                    <a:pt x="420" y="1404"/>
                  </a:lnTo>
                  <a:lnTo>
                    <a:pt x="414" y="1404"/>
                  </a:lnTo>
                  <a:lnTo>
                    <a:pt x="408" y="1404"/>
                  </a:lnTo>
                  <a:lnTo>
                    <a:pt x="402" y="1410"/>
                  </a:lnTo>
                  <a:lnTo>
                    <a:pt x="402" y="1404"/>
                  </a:lnTo>
                  <a:lnTo>
                    <a:pt x="396" y="1404"/>
                  </a:lnTo>
                  <a:lnTo>
                    <a:pt x="390" y="1404"/>
                  </a:lnTo>
                  <a:lnTo>
                    <a:pt x="384" y="1404"/>
                  </a:lnTo>
                  <a:lnTo>
                    <a:pt x="384" y="1398"/>
                  </a:lnTo>
                  <a:lnTo>
                    <a:pt x="384" y="1392"/>
                  </a:lnTo>
                  <a:lnTo>
                    <a:pt x="390" y="1392"/>
                  </a:lnTo>
                  <a:lnTo>
                    <a:pt x="390" y="1386"/>
                  </a:lnTo>
                  <a:lnTo>
                    <a:pt x="390" y="1380"/>
                  </a:lnTo>
                  <a:lnTo>
                    <a:pt x="396" y="1380"/>
                  </a:lnTo>
                  <a:lnTo>
                    <a:pt x="402" y="1380"/>
                  </a:lnTo>
                  <a:lnTo>
                    <a:pt x="408" y="1380"/>
                  </a:lnTo>
                  <a:lnTo>
                    <a:pt x="408" y="1374"/>
                  </a:lnTo>
                  <a:lnTo>
                    <a:pt x="414" y="1374"/>
                  </a:lnTo>
                  <a:lnTo>
                    <a:pt x="414" y="1368"/>
                  </a:lnTo>
                  <a:lnTo>
                    <a:pt x="414" y="1362"/>
                  </a:lnTo>
                  <a:lnTo>
                    <a:pt x="414" y="1368"/>
                  </a:lnTo>
                  <a:lnTo>
                    <a:pt x="414" y="1374"/>
                  </a:lnTo>
                  <a:lnTo>
                    <a:pt x="408" y="1374"/>
                  </a:lnTo>
                  <a:lnTo>
                    <a:pt x="402" y="1380"/>
                  </a:lnTo>
                  <a:lnTo>
                    <a:pt x="396" y="1380"/>
                  </a:lnTo>
                  <a:lnTo>
                    <a:pt x="396" y="1374"/>
                  </a:lnTo>
                  <a:lnTo>
                    <a:pt x="390" y="1374"/>
                  </a:lnTo>
                  <a:lnTo>
                    <a:pt x="390" y="1368"/>
                  </a:lnTo>
                  <a:lnTo>
                    <a:pt x="384" y="1368"/>
                  </a:lnTo>
                  <a:lnTo>
                    <a:pt x="384" y="1374"/>
                  </a:lnTo>
                  <a:lnTo>
                    <a:pt x="378" y="1374"/>
                  </a:lnTo>
                  <a:lnTo>
                    <a:pt x="378" y="1380"/>
                  </a:lnTo>
                  <a:lnTo>
                    <a:pt x="372" y="1380"/>
                  </a:lnTo>
                  <a:lnTo>
                    <a:pt x="366" y="1386"/>
                  </a:lnTo>
                  <a:lnTo>
                    <a:pt x="360" y="1386"/>
                  </a:lnTo>
                  <a:lnTo>
                    <a:pt x="354" y="1386"/>
                  </a:lnTo>
                  <a:lnTo>
                    <a:pt x="354" y="1380"/>
                  </a:lnTo>
                  <a:lnTo>
                    <a:pt x="348" y="1380"/>
                  </a:lnTo>
                  <a:lnTo>
                    <a:pt x="342" y="1380"/>
                  </a:lnTo>
                  <a:lnTo>
                    <a:pt x="342" y="1374"/>
                  </a:lnTo>
                  <a:lnTo>
                    <a:pt x="336" y="1368"/>
                  </a:lnTo>
                  <a:lnTo>
                    <a:pt x="342" y="1368"/>
                  </a:lnTo>
                  <a:lnTo>
                    <a:pt x="342" y="1362"/>
                  </a:lnTo>
                  <a:lnTo>
                    <a:pt x="348" y="1362"/>
                  </a:lnTo>
                  <a:lnTo>
                    <a:pt x="354" y="1362"/>
                  </a:lnTo>
                  <a:lnTo>
                    <a:pt x="354" y="1356"/>
                  </a:lnTo>
                  <a:lnTo>
                    <a:pt x="348" y="1356"/>
                  </a:lnTo>
                  <a:lnTo>
                    <a:pt x="348" y="1350"/>
                  </a:lnTo>
                  <a:lnTo>
                    <a:pt x="348" y="1344"/>
                  </a:lnTo>
                  <a:lnTo>
                    <a:pt x="354" y="1338"/>
                  </a:lnTo>
                  <a:lnTo>
                    <a:pt x="354" y="1332"/>
                  </a:lnTo>
                  <a:lnTo>
                    <a:pt x="354" y="1326"/>
                  </a:lnTo>
                  <a:lnTo>
                    <a:pt x="354" y="1320"/>
                  </a:lnTo>
                  <a:lnTo>
                    <a:pt x="354" y="1314"/>
                  </a:lnTo>
                  <a:lnTo>
                    <a:pt x="354" y="1308"/>
                  </a:lnTo>
                  <a:lnTo>
                    <a:pt x="348" y="1308"/>
                  </a:lnTo>
                  <a:lnTo>
                    <a:pt x="348" y="1302"/>
                  </a:lnTo>
                  <a:lnTo>
                    <a:pt x="342" y="1296"/>
                  </a:lnTo>
                  <a:lnTo>
                    <a:pt x="336" y="1296"/>
                  </a:lnTo>
                  <a:lnTo>
                    <a:pt x="336" y="1290"/>
                  </a:lnTo>
                  <a:lnTo>
                    <a:pt x="330" y="1290"/>
                  </a:lnTo>
                  <a:lnTo>
                    <a:pt x="324" y="1290"/>
                  </a:lnTo>
                  <a:lnTo>
                    <a:pt x="324" y="1284"/>
                  </a:lnTo>
                  <a:lnTo>
                    <a:pt x="318" y="1284"/>
                  </a:lnTo>
                  <a:lnTo>
                    <a:pt x="318" y="1278"/>
                  </a:lnTo>
                  <a:lnTo>
                    <a:pt x="312" y="1278"/>
                  </a:lnTo>
                  <a:lnTo>
                    <a:pt x="312" y="1272"/>
                  </a:lnTo>
                  <a:lnTo>
                    <a:pt x="312" y="1278"/>
                  </a:lnTo>
                  <a:lnTo>
                    <a:pt x="318" y="1284"/>
                  </a:lnTo>
                  <a:lnTo>
                    <a:pt x="324" y="1290"/>
                  </a:lnTo>
                  <a:lnTo>
                    <a:pt x="330" y="1290"/>
                  </a:lnTo>
                  <a:lnTo>
                    <a:pt x="330" y="1296"/>
                  </a:lnTo>
                  <a:lnTo>
                    <a:pt x="336" y="1296"/>
                  </a:lnTo>
                  <a:lnTo>
                    <a:pt x="336" y="1302"/>
                  </a:lnTo>
                  <a:lnTo>
                    <a:pt x="342" y="1302"/>
                  </a:lnTo>
                  <a:lnTo>
                    <a:pt x="348" y="1302"/>
                  </a:lnTo>
                  <a:lnTo>
                    <a:pt x="348" y="1308"/>
                  </a:lnTo>
                  <a:lnTo>
                    <a:pt x="348" y="1314"/>
                  </a:lnTo>
                  <a:lnTo>
                    <a:pt x="354" y="1314"/>
                  </a:lnTo>
                  <a:lnTo>
                    <a:pt x="354" y="1320"/>
                  </a:lnTo>
                  <a:lnTo>
                    <a:pt x="354" y="1326"/>
                  </a:lnTo>
                  <a:lnTo>
                    <a:pt x="348" y="1326"/>
                  </a:lnTo>
                  <a:lnTo>
                    <a:pt x="348" y="1332"/>
                  </a:lnTo>
                  <a:lnTo>
                    <a:pt x="348" y="1338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2" y="1350"/>
                  </a:lnTo>
                  <a:lnTo>
                    <a:pt x="336" y="1350"/>
                  </a:lnTo>
                  <a:lnTo>
                    <a:pt x="330" y="1350"/>
                  </a:lnTo>
                  <a:lnTo>
                    <a:pt x="330" y="1356"/>
                  </a:lnTo>
                  <a:lnTo>
                    <a:pt x="330" y="1350"/>
                  </a:lnTo>
                  <a:lnTo>
                    <a:pt x="324" y="1350"/>
                  </a:lnTo>
                  <a:lnTo>
                    <a:pt x="318" y="1344"/>
                  </a:lnTo>
                  <a:lnTo>
                    <a:pt x="318" y="1350"/>
                  </a:lnTo>
                  <a:lnTo>
                    <a:pt x="312" y="1344"/>
                  </a:lnTo>
                  <a:lnTo>
                    <a:pt x="312" y="1338"/>
                  </a:lnTo>
                  <a:lnTo>
                    <a:pt x="306" y="1338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6" y="1326"/>
                  </a:lnTo>
                  <a:lnTo>
                    <a:pt x="306" y="1320"/>
                  </a:lnTo>
                  <a:lnTo>
                    <a:pt x="306" y="1326"/>
                  </a:lnTo>
                  <a:lnTo>
                    <a:pt x="312" y="1326"/>
                  </a:lnTo>
                  <a:lnTo>
                    <a:pt x="312" y="1320"/>
                  </a:lnTo>
                  <a:lnTo>
                    <a:pt x="306" y="1320"/>
                  </a:lnTo>
                  <a:lnTo>
                    <a:pt x="300" y="1320"/>
                  </a:lnTo>
                  <a:lnTo>
                    <a:pt x="294" y="1320"/>
                  </a:lnTo>
                  <a:lnTo>
                    <a:pt x="294" y="1314"/>
                  </a:lnTo>
                  <a:lnTo>
                    <a:pt x="288" y="1314"/>
                  </a:lnTo>
                  <a:lnTo>
                    <a:pt x="288" y="1308"/>
                  </a:lnTo>
                  <a:lnTo>
                    <a:pt x="288" y="1302"/>
                  </a:lnTo>
                  <a:lnTo>
                    <a:pt x="294" y="1302"/>
                  </a:lnTo>
                  <a:lnTo>
                    <a:pt x="294" y="1296"/>
                  </a:lnTo>
                  <a:lnTo>
                    <a:pt x="288" y="1296"/>
                  </a:lnTo>
                  <a:lnTo>
                    <a:pt x="288" y="1290"/>
                  </a:lnTo>
                  <a:lnTo>
                    <a:pt x="288" y="1296"/>
                  </a:lnTo>
                  <a:lnTo>
                    <a:pt x="294" y="1302"/>
                  </a:lnTo>
                  <a:lnTo>
                    <a:pt x="288" y="1302"/>
                  </a:lnTo>
                  <a:lnTo>
                    <a:pt x="282" y="1296"/>
                  </a:lnTo>
                  <a:lnTo>
                    <a:pt x="276" y="1296"/>
                  </a:lnTo>
                  <a:lnTo>
                    <a:pt x="276" y="1290"/>
                  </a:lnTo>
                  <a:lnTo>
                    <a:pt x="270" y="1290"/>
                  </a:lnTo>
                  <a:lnTo>
                    <a:pt x="264" y="1284"/>
                  </a:lnTo>
                  <a:lnTo>
                    <a:pt x="264" y="1278"/>
                  </a:lnTo>
                  <a:lnTo>
                    <a:pt x="264" y="1272"/>
                  </a:lnTo>
                  <a:lnTo>
                    <a:pt x="264" y="1266"/>
                  </a:lnTo>
                  <a:lnTo>
                    <a:pt x="258" y="1266"/>
                  </a:lnTo>
                  <a:lnTo>
                    <a:pt x="252" y="1266"/>
                  </a:lnTo>
                  <a:lnTo>
                    <a:pt x="246" y="1260"/>
                  </a:lnTo>
                  <a:lnTo>
                    <a:pt x="240" y="1254"/>
                  </a:lnTo>
                  <a:lnTo>
                    <a:pt x="240" y="1260"/>
                  </a:lnTo>
                  <a:lnTo>
                    <a:pt x="240" y="1266"/>
                  </a:lnTo>
                  <a:lnTo>
                    <a:pt x="240" y="1272"/>
                  </a:lnTo>
                  <a:lnTo>
                    <a:pt x="246" y="1272"/>
                  </a:lnTo>
                  <a:lnTo>
                    <a:pt x="246" y="1278"/>
                  </a:lnTo>
                  <a:lnTo>
                    <a:pt x="246" y="1284"/>
                  </a:lnTo>
                  <a:lnTo>
                    <a:pt x="252" y="1284"/>
                  </a:lnTo>
                  <a:lnTo>
                    <a:pt x="252" y="1290"/>
                  </a:lnTo>
                  <a:lnTo>
                    <a:pt x="258" y="1296"/>
                  </a:lnTo>
                  <a:lnTo>
                    <a:pt x="264" y="1302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58" y="1314"/>
                  </a:lnTo>
                  <a:lnTo>
                    <a:pt x="258" y="1308"/>
                  </a:lnTo>
                  <a:lnTo>
                    <a:pt x="252" y="1308"/>
                  </a:lnTo>
                  <a:lnTo>
                    <a:pt x="252" y="1302"/>
                  </a:lnTo>
                  <a:lnTo>
                    <a:pt x="246" y="1302"/>
                  </a:lnTo>
                  <a:lnTo>
                    <a:pt x="246" y="1296"/>
                  </a:lnTo>
                  <a:lnTo>
                    <a:pt x="240" y="1296"/>
                  </a:lnTo>
                  <a:lnTo>
                    <a:pt x="240" y="1290"/>
                  </a:lnTo>
                  <a:lnTo>
                    <a:pt x="234" y="1284"/>
                  </a:lnTo>
                  <a:lnTo>
                    <a:pt x="234" y="1278"/>
                  </a:lnTo>
                  <a:close/>
                  <a:moveTo>
                    <a:pt x="444" y="1332"/>
                  </a:moveTo>
                  <a:lnTo>
                    <a:pt x="450" y="1326"/>
                  </a:lnTo>
                  <a:lnTo>
                    <a:pt x="456" y="1326"/>
                  </a:lnTo>
                  <a:lnTo>
                    <a:pt x="456" y="1332"/>
                  </a:lnTo>
                  <a:lnTo>
                    <a:pt x="456" y="1338"/>
                  </a:lnTo>
                  <a:lnTo>
                    <a:pt x="450" y="1338"/>
                  </a:lnTo>
                  <a:lnTo>
                    <a:pt x="444" y="1338"/>
                  </a:lnTo>
                  <a:lnTo>
                    <a:pt x="444" y="1332"/>
                  </a:lnTo>
                  <a:close/>
                  <a:moveTo>
                    <a:pt x="444" y="1368"/>
                  </a:moveTo>
                  <a:lnTo>
                    <a:pt x="456" y="1368"/>
                  </a:lnTo>
                  <a:lnTo>
                    <a:pt x="456" y="1374"/>
                  </a:lnTo>
                  <a:lnTo>
                    <a:pt x="444" y="1374"/>
                  </a:lnTo>
                  <a:lnTo>
                    <a:pt x="444" y="1368"/>
                  </a:lnTo>
                  <a:close/>
                  <a:moveTo>
                    <a:pt x="444" y="1386"/>
                  </a:moveTo>
                  <a:lnTo>
                    <a:pt x="444" y="1380"/>
                  </a:lnTo>
                  <a:lnTo>
                    <a:pt x="444" y="1374"/>
                  </a:lnTo>
                  <a:lnTo>
                    <a:pt x="444" y="1380"/>
                  </a:lnTo>
                  <a:lnTo>
                    <a:pt x="450" y="1380"/>
                  </a:lnTo>
                  <a:lnTo>
                    <a:pt x="456" y="1380"/>
                  </a:lnTo>
                  <a:lnTo>
                    <a:pt x="456" y="1386"/>
                  </a:lnTo>
                  <a:lnTo>
                    <a:pt x="456" y="1392"/>
                  </a:lnTo>
                  <a:lnTo>
                    <a:pt x="462" y="1392"/>
                  </a:lnTo>
                  <a:lnTo>
                    <a:pt x="462" y="1398"/>
                  </a:lnTo>
                  <a:lnTo>
                    <a:pt x="462" y="1404"/>
                  </a:lnTo>
                  <a:lnTo>
                    <a:pt x="456" y="1404"/>
                  </a:lnTo>
                  <a:lnTo>
                    <a:pt x="450" y="1404"/>
                  </a:lnTo>
                  <a:lnTo>
                    <a:pt x="450" y="1398"/>
                  </a:lnTo>
                  <a:lnTo>
                    <a:pt x="444" y="1398"/>
                  </a:lnTo>
                  <a:lnTo>
                    <a:pt x="444" y="1392"/>
                  </a:lnTo>
                  <a:lnTo>
                    <a:pt x="444" y="1386"/>
                  </a:lnTo>
                  <a:close/>
                  <a:moveTo>
                    <a:pt x="438" y="1362"/>
                  </a:moveTo>
                  <a:lnTo>
                    <a:pt x="444" y="1356"/>
                  </a:lnTo>
                  <a:lnTo>
                    <a:pt x="450" y="1356"/>
                  </a:lnTo>
                  <a:lnTo>
                    <a:pt x="450" y="1362"/>
                  </a:lnTo>
                  <a:lnTo>
                    <a:pt x="450" y="1368"/>
                  </a:lnTo>
                  <a:lnTo>
                    <a:pt x="444" y="1368"/>
                  </a:lnTo>
                  <a:lnTo>
                    <a:pt x="444" y="1362"/>
                  </a:lnTo>
                  <a:lnTo>
                    <a:pt x="438" y="1362"/>
                  </a:lnTo>
                  <a:close/>
                  <a:moveTo>
                    <a:pt x="438" y="1350"/>
                  </a:moveTo>
                  <a:lnTo>
                    <a:pt x="438" y="1344"/>
                  </a:lnTo>
                  <a:lnTo>
                    <a:pt x="438" y="1338"/>
                  </a:lnTo>
                  <a:lnTo>
                    <a:pt x="444" y="1338"/>
                  </a:lnTo>
                  <a:lnTo>
                    <a:pt x="450" y="1338"/>
                  </a:lnTo>
                  <a:lnTo>
                    <a:pt x="456" y="1338"/>
                  </a:lnTo>
                  <a:lnTo>
                    <a:pt x="450" y="1344"/>
                  </a:lnTo>
                  <a:lnTo>
                    <a:pt x="444" y="1350"/>
                  </a:lnTo>
                  <a:lnTo>
                    <a:pt x="438" y="1350"/>
                  </a:lnTo>
                  <a:close/>
                  <a:moveTo>
                    <a:pt x="432" y="1380"/>
                  </a:moveTo>
                  <a:lnTo>
                    <a:pt x="432" y="1368"/>
                  </a:lnTo>
                  <a:lnTo>
                    <a:pt x="432" y="1362"/>
                  </a:lnTo>
                  <a:lnTo>
                    <a:pt x="432" y="1356"/>
                  </a:lnTo>
                  <a:lnTo>
                    <a:pt x="438" y="1356"/>
                  </a:lnTo>
                  <a:lnTo>
                    <a:pt x="438" y="1362"/>
                  </a:lnTo>
                  <a:lnTo>
                    <a:pt x="438" y="1368"/>
                  </a:lnTo>
                  <a:lnTo>
                    <a:pt x="438" y="1374"/>
                  </a:lnTo>
                  <a:lnTo>
                    <a:pt x="438" y="1380"/>
                  </a:lnTo>
                  <a:lnTo>
                    <a:pt x="438" y="1386"/>
                  </a:lnTo>
                  <a:lnTo>
                    <a:pt x="438" y="1380"/>
                  </a:lnTo>
                  <a:lnTo>
                    <a:pt x="432" y="1380"/>
                  </a:lnTo>
                  <a:close/>
                  <a:moveTo>
                    <a:pt x="246" y="1272"/>
                  </a:moveTo>
                  <a:lnTo>
                    <a:pt x="252" y="1272"/>
                  </a:lnTo>
                  <a:lnTo>
                    <a:pt x="252" y="1278"/>
                  </a:lnTo>
                  <a:lnTo>
                    <a:pt x="246" y="1278"/>
                  </a:lnTo>
                  <a:lnTo>
                    <a:pt x="246" y="1272"/>
                  </a:lnTo>
                  <a:close/>
                  <a:moveTo>
                    <a:pt x="426" y="1416"/>
                  </a:moveTo>
                  <a:lnTo>
                    <a:pt x="432" y="1410"/>
                  </a:lnTo>
                  <a:lnTo>
                    <a:pt x="438" y="1410"/>
                  </a:lnTo>
                  <a:lnTo>
                    <a:pt x="438" y="1416"/>
                  </a:lnTo>
                  <a:lnTo>
                    <a:pt x="438" y="1422"/>
                  </a:lnTo>
                  <a:lnTo>
                    <a:pt x="432" y="1422"/>
                  </a:lnTo>
                  <a:lnTo>
                    <a:pt x="426" y="1422"/>
                  </a:lnTo>
                  <a:lnTo>
                    <a:pt x="426" y="1416"/>
                  </a:lnTo>
                  <a:close/>
                  <a:moveTo>
                    <a:pt x="246" y="1266"/>
                  </a:moveTo>
                  <a:lnTo>
                    <a:pt x="252" y="1266"/>
                  </a:lnTo>
                  <a:lnTo>
                    <a:pt x="258" y="1272"/>
                  </a:lnTo>
                  <a:lnTo>
                    <a:pt x="258" y="1278"/>
                  </a:lnTo>
                  <a:lnTo>
                    <a:pt x="258" y="1284"/>
                  </a:lnTo>
                  <a:lnTo>
                    <a:pt x="252" y="1284"/>
                  </a:lnTo>
                  <a:lnTo>
                    <a:pt x="252" y="1278"/>
                  </a:lnTo>
                  <a:lnTo>
                    <a:pt x="252" y="1272"/>
                  </a:lnTo>
                  <a:lnTo>
                    <a:pt x="252" y="1266"/>
                  </a:lnTo>
                  <a:lnTo>
                    <a:pt x="246" y="1266"/>
                  </a:lnTo>
                  <a:close/>
                  <a:moveTo>
                    <a:pt x="408" y="1458"/>
                  </a:moveTo>
                  <a:lnTo>
                    <a:pt x="408" y="1452"/>
                  </a:lnTo>
                  <a:lnTo>
                    <a:pt x="414" y="1452"/>
                  </a:lnTo>
                  <a:lnTo>
                    <a:pt x="414" y="1446"/>
                  </a:lnTo>
                  <a:lnTo>
                    <a:pt x="414" y="1440"/>
                  </a:lnTo>
                  <a:lnTo>
                    <a:pt x="420" y="1440"/>
                  </a:lnTo>
                  <a:lnTo>
                    <a:pt x="420" y="1434"/>
                  </a:lnTo>
                  <a:lnTo>
                    <a:pt x="420" y="1428"/>
                  </a:lnTo>
                  <a:lnTo>
                    <a:pt x="420" y="1422"/>
                  </a:lnTo>
                  <a:lnTo>
                    <a:pt x="426" y="1422"/>
                  </a:lnTo>
                  <a:lnTo>
                    <a:pt x="432" y="1428"/>
                  </a:lnTo>
                  <a:lnTo>
                    <a:pt x="438" y="1428"/>
                  </a:lnTo>
                  <a:lnTo>
                    <a:pt x="438" y="1434"/>
                  </a:lnTo>
                  <a:lnTo>
                    <a:pt x="438" y="1428"/>
                  </a:lnTo>
                  <a:lnTo>
                    <a:pt x="438" y="1422"/>
                  </a:lnTo>
                  <a:lnTo>
                    <a:pt x="444" y="1416"/>
                  </a:lnTo>
                  <a:lnTo>
                    <a:pt x="444" y="1410"/>
                  </a:lnTo>
                  <a:lnTo>
                    <a:pt x="450" y="1416"/>
                  </a:lnTo>
                  <a:lnTo>
                    <a:pt x="456" y="1416"/>
                  </a:lnTo>
                  <a:lnTo>
                    <a:pt x="456" y="1422"/>
                  </a:lnTo>
                  <a:lnTo>
                    <a:pt x="456" y="1428"/>
                  </a:lnTo>
                  <a:lnTo>
                    <a:pt x="456" y="1434"/>
                  </a:lnTo>
                  <a:lnTo>
                    <a:pt x="456" y="1440"/>
                  </a:lnTo>
                  <a:lnTo>
                    <a:pt x="462" y="1440"/>
                  </a:lnTo>
                  <a:lnTo>
                    <a:pt x="462" y="1446"/>
                  </a:lnTo>
                  <a:lnTo>
                    <a:pt x="462" y="1452"/>
                  </a:lnTo>
                  <a:lnTo>
                    <a:pt x="456" y="1452"/>
                  </a:lnTo>
                  <a:lnTo>
                    <a:pt x="450" y="1452"/>
                  </a:lnTo>
                  <a:lnTo>
                    <a:pt x="444" y="1446"/>
                  </a:lnTo>
                  <a:lnTo>
                    <a:pt x="444" y="1452"/>
                  </a:lnTo>
                  <a:lnTo>
                    <a:pt x="450" y="1452"/>
                  </a:lnTo>
                  <a:lnTo>
                    <a:pt x="450" y="1458"/>
                  </a:lnTo>
                  <a:lnTo>
                    <a:pt x="444" y="1458"/>
                  </a:lnTo>
                  <a:lnTo>
                    <a:pt x="438" y="1464"/>
                  </a:lnTo>
                  <a:lnTo>
                    <a:pt x="438" y="1458"/>
                  </a:lnTo>
                  <a:lnTo>
                    <a:pt x="432" y="1458"/>
                  </a:lnTo>
                  <a:lnTo>
                    <a:pt x="426" y="1458"/>
                  </a:lnTo>
                  <a:lnTo>
                    <a:pt x="432" y="1458"/>
                  </a:lnTo>
                  <a:lnTo>
                    <a:pt x="438" y="1464"/>
                  </a:lnTo>
                  <a:lnTo>
                    <a:pt x="432" y="1464"/>
                  </a:lnTo>
                  <a:lnTo>
                    <a:pt x="432" y="1470"/>
                  </a:lnTo>
                  <a:lnTo>
                    <a:pt x="426" y="1470"/>
                  </a:lnTo>
                  <a:lnTo>
                    <a:pt x="420" y="1476"/>
                  </a:lnTo>
                  <a:lnTo>
                    <a:pt x="420" y="1470"/>
                  </a:lnTo>
                  <a:lnTo>
                    <a:pt x="414" y="1470"/>
                  </a:lnTo>
                  <a:lnTo>
                    <a:pt x="414" y="1464"/>
                  </a:lnTo>
                  <a:lnTo>
                    <a:pt x="414" y="1458"/>
                  </a:lnTo>
                  <a:lnTo>
                    <a:pt x="408" y="1458"/>
                  </a:lnTo>
                  <a:close/>
                  <a:moveTo>
                    <a:pt x="270" y="1326"/>
                  </a:moveTo>
                  <a:lnTo>
                    <a:pt x="270" y="1320"/>
                  </a:lnTo>
                  <a:lnTo>
                    <a:pt x="276" y="1320"/>
                  </a:lnTo>
                  <a:lnTo>
                    <a:pt x="282" y="1326"/>
                  </a:lnTo>
                  <a:lnTo>
                    <a:pt x="288" y="1326"/>
                  </a:lnTo>
                  <a:lnTo>
                    <a:pt x="288" y="1332"/>
                  </a:lnTo>
                  <a:lnTo>
                    <a:pt x="288" y="1338"/>
                  </a:lnTo>
                  <a:lnTo>
                    <a:pt x="288" y="1344"/>
                  </a:lnTo>
                  <a:lnTo>
                    <a:pt x="282" y="1344"/>
                  </a:lnTo>
                  <a:lnTo>
                    <a:pt x="282" y="1338"/>
                  </a:lnTo>
                  <a:lnTo>
                    <a:pt x="276" y="1338"/>
                  </a:lnTo>
                  <a:lnTo>
                    <a:pt x="276" y="1332"/>
                  </a:lnTo>
                  <a:lnTo>
                    <a:pt x="270" y="1332"/>
                  </a:lnTo>
                  <a:lnTo>
                    <a:pt x="270" y="1326"/>
                  </a:lnTo>
                  <a:close/>
                  <a:moveTo>
                    <a:pt x="288" y="1458"/>
                  </a:moveTo>
                  <a:lnTo>
                    <a:pt x="294" y="1458"/>
                  </a:lnTo>
                  <a:lnTo>
                    <a:pt x="294" y="1452"/>
                  </a:lnTo>
                  <a:lnTo>
                    <a:pt x="294" y="1446"/>
                  </a:lnTo>
                  <a:lnTo>
                    <a:pt x="300" y="1446"/>
                  </a:lnTo>
                  <a:lnTo>
                    <a:pt x="300" y="1440"/>
                  </a:lnTo>
                  <a:lnTo>
                    <a:pt x="306" y="1440"/>
                  </a:lnTo>
                  <a:lnTo>
                    <a:pt x="306" y="1446"/>
                  </a:lnTo>
                  <a:lnTo>
                    <a:pt x="312" y="1452"/>
                  </a:lnTo>
                  <a:lnTo>
                    <a:pt x="306" y="1452"/>
                  </a:lnTo>
                  <a:lnTo>
                    <a:pt x="306" y="1458"/>
                  </a:lnTo>
                  <a:lnTo>
                    <a:pt x="312" y="1464"/>
                  </a:lnTo>
                  <a:lnTo>
                    <a:pt x="306" y="1464"/>
                  </a:lnTo>
                  <a:lnTo>
                    <a:pt x="306" y="1470"/>
                  </a:lnTo>
                  <a:lnTo>
                    <a:pt x="300" y="1476"/>
                  </a:lnTo>
                  <a:lnTo>
                    <a:pt x="294" y="1476"/>
                  </a:lnTo>
                  <a:lnTo>
                    <a:pt x="294" y="1470"/>
                  </a:lnTo>
                  <a:lnTo>
                    <a:pt x="288" y="1470"/>
                  </a:lnTo>
                  <a:lnTo>
                    <a:pt x="288" y="1464"/>
                  </a:lnTo>
                  <a:lnTo>
                    <a:pt x="288" y="1458"/>
                  </a:lnTo>
                  <a:close/>
                  <a:moveTo>
                    <a:pt x="270" y="1296"/>
                  </a:moveTo>
                  <a:lnTo>
                    <a:pt x="276" y="1296"/>
                  </a:lnTo>
                  <a:lnTo>
                    <a:pt x="282" y="1296"/>
                  </a:lnTo>
                  <a:lnTo>
                    <a:pt x="288" y="1296"/>
                  </a:lnTo>
                  <a:lnTo>
                    <a:pt x="288" y="1302"/>
                  </a:lnTo>
                  <a:lnTo>
                    <a:pt x="282" y="1308"/>
                  </a:lnTo>
                  <a:lnTo>
                    <a:pt x="276" y="1308"/>
                  </a:lnTo>
                  <a:lnTo>
                    <a:pt x="276" y="1302"/>
                  </a:lnTo>
                  <a:lnTo>
                    <a:pt x="270" y="12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4" name="Freeform 19">
              <a:extLst>
                <a:ext uri="{FF2B5EF4-FFF2-40B4-BE49-F238E27FC236}">
                  <a16:creationId xmlns:a16="http://schemas.microsoft.com/office/drawing/2014/main" id="{5B9020B8-E1C1-4611-A248-9642BBD69C9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7043" y="3765821"/>
              <a:ext cx="333193" cy="398097"/>
            </a:xfrm>
            <a:custGeom>
              <a:avLst/>
              <a:gdLst>
                <a:gd name="T0" fmla="*/ 30 w 624"/>
                <a:gd name="T1" fmla="*/ 61 h 750"/>
                <a:gd name="T2" fmla="*/ 27 w 624"/>
                <a:gd name="T3" fmla="*/ 62 h 750"/>
                <a:gd name="T4" fmla="*/ 23 w 624"/>
                <a:gd name="T5" fmla="*/ 59 h 750"/>
                <a:gd name="T6" fmla="*/ 20 w 624"/>
                <a:gd name="T7" fmla="*/ 58 h 750"/>
                <a:gd name="T8" fmla="*/ 19 w 624"/>
                <a:gd name="T9" fmla="*/ 56 h 750"/>
                <a:gd name="T10" fmla="*/ 17 w 624"/>
                <a:gd name="T11" fmla="*/ 55 h 750"/>
                <a:gd name="T12" fmla="*/ 16 w 624"/>
                <a:gd name="T13" fmla="*/ 51 h 750"/>
                <a:gd name="T14" fmla="*/ 14 w 624"/>
                <a:gd name="T15" fmla="*/ 48 h 750"/>
                <a:gd name="T16" fmla="*/ 12 w 624"/>
                <a:gd name="T17" fmla="*/ 46 h 750"/>
                <a:gd name="T18" fmla="*/ 12 w 624"/>
                <a:gd name="T19" fmla="*/ 44 h 750"/>
                <a:gd name="T20" fmla="*/ 11 w 624"/>
                <a:gd name="T21" fmla="*/ 41 h 750"/>
                <a:gd name="T22" fmla="*/ 8 w 624"/>
                <a:gd name="T23" fmla="*/ 38 h 750"/>
                <a:gd name="T24" fmla="*/ 6 w 624"/>
                <a:gd name="T25" fmla="*/ 38 h 750"/>
                <a:gd name="T26" fmla="*/ 6 w 624"/>
                <a:gd name="T27" fmla="*/ 35 h 750"/>
                <a:gd name="T28" fmla="*/ 7 w 624"/>
                <a:gd name="T29" fmla="*/ 31 h 750"/>
                <a:gd name="T30" fmla="*/ 10 w 624"/>
                <a:gd name="T31" fmla="*/ 27 h 750"/>
                <a:gd name="T32" fmla="*/ 8 w 624"/>
                <a:gd name="T33" fmla="*/ 23 h 750"/>
                <a:gd name="T34" fmla="*/ 6 w 624"/>
                <a:gd name="T35" fmla="*/ 23 h 750"/>
                <a:gd name="T36" fmla="*/ 3 w 624"/>
                <a:gd name="T37" fmla="*/ 22 h 750"/>
                <a:gd name="T38" fmla="*/ 0 w 624"/>
                <a:gd name="T39" fmla="*/ 22 h 750"/>
                <a:gd name="T40" fmla="*/ 0 w 624"/>
                <a:gd name="T41" fmla="*/ 19 h 750"/>
                <a:gd name="T42" fmla="*/ 1 w 624"/>
                <a:gd name="T43" fmla="*/ 18 h 750"/>
                <a:gd name="T44" fmla="*/ 2 w 624"/>
                <a:gd name="T45" fmla="*/ 14 h 750"/>
                <a:gd name="T46" fmla="*/ 4 w 624"/>
                <a:gd name="T47" fmla="*/ 17 h 750"/>
                <a:gd name="T48" fmla="*/ 6 w 624"/>
                <a:gd name="T49" fmla="*/ 17 h 750"/>
                <a:gd name="T50" fmla="*/ 7 w 624"/>
                <a:gd name="T51" fmla="*/ 17 h 750"/>
                <a:gd name="T52" fmla="*/ 9 w 624"/>
                <a:gd name="T53" fmla="*/ 15 h 750"/>
                <a:gd name="T54" fmla="*/ 10 w 624"/>
                <a:gd name="T55" fmla="*/ 14 h 750"/>
                <a:gd name="T56" fmla="*/ 11 w 624"/>
                <a:gd name="T57" fmla="*/ 12 h 750"/>
                <a:gd name="T58" fmla="*/ 13 w 624"/>
                <a:gd name="T59" fmla="*/ 12 h 750"/>
                <a:gd name="T60" fmla="*/ 18 w 624"/>
                <a:gd name="T61" fmla="*/ 10 h 750"/>
                <a:gd name="T62" fmla="*/ 22 w 624"/>
                <a:gd name="T63" fmla="*/ 4 h 750"/>
                <a:gd name="T64" fmla="*/ 24 w 624"/>
                <a:gd name="T65" fmla="*/ 4 h 750"/>
                <a:gd name="T66" fmla="*/ 26 w 624"/>
                <a:gd name="T67" fmla="*/ 2 h 750"/>
                <a:gd name="T68" fmla="*/ 29 w 624"/>
                <a:gd name="T69" fmla="*/ 0 h 750"/>
                <a:gd name="T70" fmla="*/ 32 w 624"/>
                <a:gd name="T71" fmla="*/ 2 h 750"/>
                <a:gd name="T72" fmla="*/ 34 w 624"/>
                <a:gd name="T73" fmla="*/ 5 h 750"/>
                <a:gd name="T74" fmla="*/ 35 w 624"/>
                <a:gd name="T75" fmla="*/ 8 h 750"/>
                <a:gd name="T76" fmla="*/ 39 w 624"/>
                <a:gd name="T77" fmla="*/ 11 h 750"/>
                <a:gd name="T78" fmla="*/ 42 w 624"/>
                <a:gd name="T79" fmla="*/ 14 h 750"/>
                <a:gd name="T80" fmla="*/ 46 w 624"/>
                <a:gd name="T81" fmla="*/ 12 h 750"/>
                <a:gd name="T82" fmla="*/ 49 w 624"/>
                <a:gd name="T83" fmla="*/ 12 h 750"/>
                <a:gd name="T84" fmla="*/ 51 w 624"/>
                <a:gd name="T85" fmla="*/ 12 h 750"/>
                <a:gd name="T86" fmla="*/ 53 w 624"/>
                <a:gd name="T87" fmla="*/ 12 h 750"/>
                <a:gd name="T88" fmla="*/ 53 w 624"/>
                <a:gd name="T89" fmla="*/ 17 h 750"/>
                <a:gd name="T90" fmla="*/ 51 w 624"/>
                <a:gd name="T91" fmla="*/ 20 h 750"/>
                <a:gd name="T92" fmla="*/ 49 w 624"/>
                <a:gd name="T93" fmla="*/ 26 h 750"/>
                <a:gd name="T94" fmla="*/ 47 w 624"/>
                <a:gd name="T95" fmla="*/ 26 h 750"/>
                <a:gd name="T96" fmla="*/ 44 w 624"/>
                <a:gd name="T97" fmla="*/ 26 h 750"/>
                <a:gd name="T98" fmla="*/ 43 w 624"/>
                <a:gd name="T99" fmla="*/ 27 h 750"/>
                <a:gd name="T100" fmla="*/ 45 w 624"/>
                <a:gd name="T101" fmla="*/ 32 h 750"/>
                <a:gd name="T102" fmla="*/ 44 w 624"/>
                <a:gd name="T103" fmla="*/ 43 h 750"/>
                <a:gd name="T104" fmla="*/ 44 w 624"/>
                <a:gd name="T105" fmla="*/ 47 h 750"/>
                <a:gd name="T106" fmla="*/ 44 w 624"/>
                <a:gd name="T107" fmla="*/ 54 h 750"/>
                <a:gd name="T108" fmla="*/ 41 w 624"/>
                <a:gd name="T109" fmla="*/ 60 h 750"/>
                <a:gd name="T110" fmla="*/ 42 w 624"/>
                <a:gd name="T111" fmla="*/ 62 h 750"/>
                <a:gd name="T112" fmla="*/ 43 w 624"/>
                <a:gd name="T113" fmla="*/ 65 h 750"/>
                <a:gd name="T114" fmla="*/ 39 w 624"/>
                <a:gd name="T115" fmla="*/ 63 h 750"/>
                <a:gd name="T116" fmla="*/ 35 w 624"/>
                <a:gd name="T117" fmla="*/ 62 h 75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24"/>
                <a:gd name="T178" fmla="*/ 0 h 750"/>
                <a:gd name="T179" fmla="*/ 624 w 624"/>
                <a:gd name="T180" fmla="*/ 750 h 75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24" h="750">
                  <a:moveTo>
                    <a:pt x="390" y="702"/>
                  </a:moveTo>
                  <a:lnTo>
                    <a:pt x="372" y="696"/>
                  </a:lnTo>
                  <a:lnTo>
                    <a:pt x="360" y="702"/>
                  </a:lnTo>
                  <a:lnTo>
                    <a:pt x="348" y="702"/>
                  </a:lnTo>
                  <a:lnTo>
                    <a:pt x="336" y="702"/>
                  </a:lnTo>
                  <a:lnTo>
                    <a:pt x="330" y="702"/>
                  </a:lnTo>
                  <a:lnTo>
                    <a:pt x="318" y="708"/>
                  </a:lnTo>
                  <a:lnTo>
                    <a:pt x="306" y="708"/>
                  </a:lnTo>
                  <a:lnTo>
                    <a:pt x="294" y="690"/>
                  </a:lnTo>
                  <a:lnTo>
                    <a:pt x="294" y="684"/>
                  </a:lnTo>
                  <a:lnTo>
                    <a:pt x="276" y="684"/>
                  </a:lnTo>
                  <a:lnTo>
                    <a:pt x="270" y="678"/>
                  </a:lnTo>
                  <a:lnTo>
                    <a:pt x="240" y="672"/>
                  </a:lnTo>
                  <a:lnTo>
                    <a:pt x="234" y="672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6"/>
                  </a:lnTo>
                  <a:lnTo>
                    <a:pt x="216" y="660"/>
                  </a:lnTo>
                  <a:lnTo>
                    <a:pt x="216" y="654"/>
                  </a:lnTo>
                  <a:lnTo>
                    <a:pt x="216" y="642"/>
                  </a:lnTo>
                  <a:lnTo>
                    <a:pt x="210" y="642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36"/>
                  </a:lnTo>
                  <a:lnTo>
                    <a:pt x="192" y="624"/>
                  </a:lnTo>
                  <a:lnTo>
                    <a:pt x="186" y="612"/>
                  </a:lnTo>
                  <a:lnTo>
                    <a:pt x="186" y="600"/>
                  </a:lnTo>
                  <a:lnTo>
                    <a:pt x="186" y="588"/>
                  </a:lnTo>
                  <a:lnTo>
                    <a:pt x="180" y="582"/>
                  </a:lnTo>
                  <a:lnTo>
                    <a:pt x="180" y="570"/>
                  </a:lnTo>
                  <a:lnTo>
                    <a:pt x="174" y="558"/>
                  </a:lnTo>
                  <a:lnTo>
                    <a:pt x="162" y="558"/>
                  </a:lnTo>
                  <a:lnTo>
                    <a:pt x="144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38" y="534"/>
                  </a:lnTo>
                  <a:lnTo>
                    <a:pt x="138" y="528"/>
                  </a:lnTo>
                  <a:lnTo>
                    <a:pt x="132" y="522"/>
                  </a:lnTo>
                  <a:lnTo>
                    <a:pt x="144" y="522"/>
                  </a:lnTo>
                  <a:lnTo>
                    <a:pt x="144" y="510"/>
                  </a:lnTo>
                  <a:lnTo>
                    <a:pt x="144" y="504"/>
                  </a:lnTo>
                  <a:lnTo>
                    <a:pt x="138" y="492"/>
                  </a:lnTo>
                  <a:lnTo>
                    <a:pt x="138" y="474"/>
                  </a:lnTo>
                  <a:lnTo>
                    <a:pt x="126" y="468"/>
                  </a:lnTo>
                  <a:lnTo>
                    <a:pt x="120" y="456"/>
                  </a:lnTo>
                  <a:lnTo>
                    <a:pt x="114" y="450"/>
                  </a:lnTo>
                  <a:lnTo>
                    <a:pt x="108" y="438"/>
                  </a:lnTo>
                  <a:lnTo>
                    <a:pt x="96" y="432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60" y="426"/>
                  </a:lnTo>
                  <a:lnTo>
                    <a:pt x="66" y="420"/>
                  </a:lnTo>
                  <a:lnTo>
                    <a:pt x="66" y="408"/>
                  </a:lnTo>
                  <a:lnTo>
                    <a:pt x="72" y="408"/>
                  </a:lnTo>
                  <a:lnTo>
                    <a:pt x="72" y="384"/>
                  </a:lnTo>
                  <a:lnTo>
                    <a:pt x="72" y="366"/>
                  </a:lnTo>
                  <a:lnTo>
                    <a:pt x="78" y="354"/>
                  </a:lnTo>
                  <a:lnTo>
                    <a:pt x="84" y="354"/>
                  </a:lnTo>
                  <a:lnTo>
                    <a:pt x="90" y="348"/>
                  </a:lnTo>
                  <a:lnTo>
                    <a:pt x="102" y="336"/>
                  </a:lnTo>
                  <a:lnTo>
                    <a:pt x="114" y="324"/>
                  </a:lnTo>
                  <a:lnTo>
                    <a:pt x="120" y="312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20" y="276"/>
                  </a:lnTo>
                  <a:lnTo>
                    <a:pt x="96" y="270"/>
                  </a:lnTo>
                  <a:lnTo>
                    <a:pt x="84" y="270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72" y="264"/>
                  </a:lnTo>
                  <a:lnTo>
                    <a:pt x="60" y="252"/>
                  </a:lnTo>
                  <a:lnTo>
                    <a:pt x="42" y="252"/>
                  </a:lnTo>
                  <a:lnTo>
                    <a:pt x="42" y="258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18" y="252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42" y="156"/>
                  </a:lnTo>
                  <a:lnTo>
                    <a:pt x="48" y="198"/>
                  </a:lnTo>
                  <a:lnTo>
                    <a:pt x="48" y="204"/>
                  </a:lnTo>
                  <a:lnTo>
                    <a:pt x="54" y="198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204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192"/>
                  </a:lnTo>
                  <a:lnTo>
                    <a:pt x="96" y="186"/>
                  </a:lnTo>
                  <a:lnTo>
                    <a:pt x="102" y="180"/>
                  </a:lnTo>
                  <a:lnTo>
                    <a:pt x="102" y="174"/>
                  </a:lnTo>
                  <a:lnTo>
                    <a:pt x="108" y="168"/>
                  </a:lnTo>
                  <a:lnTo>
                    <a:pt x="108" y="162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0"/>
                  </a:lnTo>
                  <a:lnTo>
                    <a:pt x="132" y="144"/>
                  </a:lnTo>
                  <a:lnTo>
                    <a:pt x="138" y="138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0" y="132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74" y="126"/>
                  </a:lnTo>
                  <a:lnTo>
                    <a:pt x="204" y="120"/>
                  </a:lnTo>
                  <a:lnTo>
                    <a:pt x="210" y="78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54"/>
                  </a:lnTo>
                  <a:lnTo>
                    <a:pt x="276" y="54"/>
                  </a:lnTo>
                  <a:lnTo>
                    <a:pt x="276" y="48"/>
                  </a:lnTo>
                  <a:lnTo>
                    <a:pt x="282" y="48"/>
                  </a:lnTo>
                  <a:lnTo>
                    <a:pt x="288" y="42"/>
                  </a:lnTo>
                  <a:lnTo>
                    <a:pt x="294" y="42"/>
                  </a:lnTo>
                  <a:lnTo>
                    <a:pt x="294" y="18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0"/>
                  </a:lnTo>
                  <a:lnTo>
                    <a:pt x="336" y="0"/>
                  </a:lnTo>
                  <a:lnTo>
                    <a:pt x="342" y="0"/>
                  </a:lnTo>
                  <a:lnTo>
                    <a:pt x="354" y="6"/>
                  </a:lnTo>
                  <a:lnTo>
                    <a:pt x="366" y="18"/>
                  </a:lnTo>
                  <a:lnTo>
                    <a:pt x="378" y="36"/>
                  </a:lnTo>
                  <a:lnTo>
                    <a:pt x="390" y="42"/>
                  </a:lnTo>
                  <a:lnTo>
                    <a:pt x="390" y="48"/>
                  </a:lnTo>
                  <a:lnTo>
                    <a:pt x="396" y="60"/>
                  </a:lnTo>
                  <a:lnTo>
                    <a:pt x="402" y="72"/>
                  </a:lnTo>
                  <a:lnTo>
                    <a:pt x="408" y="78"/>
                  </a:lnTo>
                  <a:lnTo>
                    <a:pt x="402" y="84"/>
                  </a:lnTo>
                  <a:lnTo>
                    <a:pt x="408" y="90"/>
                  </a:lnTo>
                  <a:lnTo>
                    <a:pt x="414" y="102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50" y="126"/>
                  </a:lnTo>
                  <a:lnTo>
                    <a:pt x="456" y="126"/>
                  </a:lnTo>
                  <a:lnTo>
                    <a:pt x="462" y="144"/>
                  </a:lnTo>
                  <a:lnTo>
                    <a:pt x="480" y="156"/>
                  </a:lnTo>
                  <a:lnTo>
                    <a:pt x="492" y="156"/>
                  </a:lnTo>
                  <a:lnTo>
                    <a:pt x="516" y="150"/>
                  </a:lnTo>
                  <a:lnTo>
                    <a:pt x="516" y="144"/>
                  </a:lnTo>
                  <a:lnTo>
                    <a:pt x="516" y="138"/>
                  </a:lnTo>
                  <a:lnTo>
                    <a:pt x="528" y="138"/>
                  </a:lnTo>
                  <a:lnTo>
                    <a:pt x="546" y="144"/>
                  </a:lnTo>
                  <a:lnTo>
                    <a:pt x="546" y="138"/>
                  </a:lnTo>
                  <a:lnTo>
                    <a:pt x="552" y="138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76" y="138"/>
                  </a:lnTo>
                  <a:lnTo>
                    <a:pt x="582" y="138"/>
                  </a:lnTo>
                  <a:lnTo>
                    <a:pt x="588" y="138"/>
                  </a:lnTo>
                  <a:lnTo>
                    <a:pt x="594" y="138"/>
                  </a:lnTo>
                  <a:lnTo>
                    <a:pt x="594" y="144"/>
                  </a:lnTo>
                  <a:lnTo>
                    <a:pt x="600" y="138"/>
                  </a:lnTo>
                  <a:lnTo>
                    <a:pt x="606" y="138"/>
                  </a:lnTo>
                  <a:lnTo>
                    <a:pt x="606" y="144"/>
                  </a:lnTo>
                  <a:lnTo>
                    <a:pt x="612" y="144"/>
                  </a:lnTo>
                  <a:lnTo>
                    <a:pt x="618" y="156"/>
                  </a:lnTo>
                  <a:lnTo>
                    <a:pt x="612" y="198"/>
                  </a:lnTo>
                  <a:lnTo>
                    <a:pt x="624" y="198"/>
                  </a:lnTo>
                  <a:lnTo>
                    <a:pt x="624" y="204"/>
                  </a:lnTo>
                  <a:lnTo>
                    <a:pt x="612" y="216"/>
                  </a:lnTo>
                  <a:lnTo>
                    <a:pt x="594" y="234"/>
                  </a:lnTo>
                  <a:lnTo>
                    <a:pt x="588" y="252"/>
                  </a:lnTo>
                  <a:lnTo>
                    <a:pt x="576" y="270"/>
                  </a:lnTo>
                  <a:lnTo>
                    <a:pt x="564" y="282"/>
                  </a:lnTo>
                  <a:lnTo>
                    <a:pt x="564" y="294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8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34" y="294"/>
                  </a:lnTo>
                  <a:lnTo>
                    <a:pt x="522" y="300"/>
                  </a:lnTo>
                  <a:lnTo>
                    <a:pt x="510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498" y="324"/>
                  </a:lnTo>
                  <a:lnTo>
                    <a:pt x="504" y="336"/>
                  </a:lnTo>
                  <a:lnTo>
                    <a:pt x="510" y="348"/>
                  </a:lnTo>
                  <a:lnTo>
                    <a:pt x="516" y="366"/>
                  </a:lnTo>
                  <a:lnTo>
                    <a:pt x="522" y="432"/>
                  </a:lnTo>
                  <a:lnTo>
                    <a:pt x="522" y="456"/>
                  </a:lnTo>
                  <a:lnTo>
                    <a:pt x="504" y="492"/>
                  </a:lnTo>
                  <a:lnTo>
                    <a:pt x="504" y="498"/>
                  </a:lnTo>
                  <a:lnTo>
                    <a:pt x="498" y="504"/>
                  </a:lnTo>
                  <a:lnTo>
                    <a:pt x="498" y="522"/>
                  </a:lnTo>
                  <a:lnTo>
                    <a:pt x="504" y="534"/>
                  </a:lnTo>
                  <a:lnTo>
                    <a:pt x="510" y="546"/>
                  </a:lnTo>
                  <a:lnTo>
                    <a:pt x="516" y="558"/>
                  </a:lnTo>
                  <a:lnTo>
                    <a:pt x="516" y="588"/>
                  </a:lnTo>
                  <a:lnTo>
                    <a:pt x="516" y="600"/>
                  </a:lnTo>
                  <a:lnTo>
                    <a:pt x="510" y="618"/>
                  </a:lnTo>
                  <a:lnTo>
                    <a:pt x="504" y="636"/>
                  </a:lnTo>
                  <a:lnTo>
                    <a:pt x="504" y="642"/>
                  </a:lnTo>
                  <a:lnTo>
                    <a:pt x="474" y="654"/>
                  </a:lnTo>
                  <a:lnTo>
                    <a:pt x="474" y="690"/>
                  </a:lnTo>
                  <a:lnTo>
                    <a:pt x="474" y="696"/>
                  </a:lnTo>
                  <a:lnTo>
                    <a:pt x="480" y="702"/>
                  </a:lnTo>
                  <a:lnTo>
                    <a:pt x="486" y="708"/>
                  </a:lnTo>
                  <a:lnTo>
                    <a:pt x="492" y="708"/>
                  </a:lnTo>
                  <a:lnTo>
                    <a:pt x="498" y="726"/>
                  </a:lnTo>
                  <a:lnTo>
                    <a:pt x="504" y="726"/>
                  </a:lnTo>
                  <a:lnTo>
                    <a:pt x="504" y="738"/>
                  </a:lnTo>
                  <a:lnTo>
                    <a:pt x="498" y="744"/>
                  </a:lnTo>
                  <a:lnTo>
                    <a:pt x="486" y="750"/>
                  </a:lnTo>
                  <a:lnTo>
                    <a:pt x="474" y="744"/>
                  </a:lnTo>
                  <a:lnTo>
                    <a:pt x="462" y="744"/>
                  </a:lnTo>
                  <a:lnTo>
                    <a:pt x="456" y="732"/>
                  </a:lnTo>
                  <a:lnTo>
                    <a:pt x="444" y="732"/>
                  </a:lnTo>
                  <a:lnTo>
                    <a:pt x="432" y="726"/>
                  </a:lnTo>
                  <a:lnTo>
                    <a:pt x="420" y="720"/>
                  </a:lnTo>
                  <a:lnTo>
                    <a:pt x="408" y="708"/>
                  </a:lnTo>
                  <a:lnTo>
                    <a:pt x="402" y="708"/>
                  </a:lnTo>
                  <a:lnTo>
                    <a:pt x="390" y="70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5" name="Freeform 20">
              <a:extLst>
                <a:ext uri="{FF2B5EF4-FFF2-40B4-BE49-F238E27FC236}">
                  <a16:creationId xmlns:a16="http://schemas.microsoft.com/office/drawing/2014/main" id="{B8342C3B-ECEC-465F-AAFF-4815B8AC392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870937"/>
              <a:ext cx="313067" cy="377968"/>
            </a:xfrm>
            <a:custGeom>
              <a:avLst/>
              <a:gdLst>
                <a:gd name="T0" fmla="*/ 15 w 588"/>
                <a:gd name="T1" fmla="*/ 59 h 714"/>
                <a:gd name="T2" fmla="*/ 14 w 588"/>
                <a:gd name="T3" fmla="*/ 58 h 714"/>
                <a:gd name="T4" fmla="*/ 9 w 588"/>
                <a:gd name="T5" fmla="*/ 54 h 714"/>
                <a:gd name="T6" fmla="*/ 4 w 588"/>
                <a:gd name="T7" fmla="*/ 54 h 714"/>
                <a:gd name="T8" fmla="*/ 0 w 588"/>
                <a:gd name="T9" fmla="*/ 50 h 714"/>
                <a:gd name="T10" fmla="*/ 0 w 588"/>
                <a:gd name="T11" fmla="*/ 44 h 714"/>
                <a:gd name="T12" fmla="*/ 4 w 588"/>
                <a:gd name="T13" fmla="*/ 46 h 714"/>
                <a:gd name="T14" fmla="*/ 7 w 588"/>
                <a:gd name="T15" fmla="*/ 47 h 714"/>
                <a:gd name="T16" fmla="*/ 10 w 588"/>
                <a:gd name="T17" fmla="*/ 46 h 714"/>
                <a:gd name="T18" fmla="*/ 8 w 588"/>
                <a:gd name="T19" fmla="*/ 44 h 714"/>
                <a:gd name="T20" fmla="*/ 10 w 588"/>
                <a:gd name="T21" fmla="*/ 39 h 714"/>
                <a:gd name="T22" fmla="*/ 11 w 588"/>
                <a:gd name="T23" fmla="*/ 34 h 714"/>
                <a:gd name="T24" fmla="*/ 9 w 588"/>
                <a:gd name="T25" fmla="*/ 28 h 714"/>
                <a:gd name="T26" fmla="*/ 11 w 588"/>
                <a:gd name="T27" fmla="*/ 22 h 714"/>
                <a:gd name="T28" fmla="*/ 10 w 588"/>
                <a:gd name="T29" fmla="*/ 12 h 714"/>
                <a:gd name="T30" fmla="*/ 9 w 588"/>
                <a:gd name="T31" fmla="*/ 9 h 714"/>
                <a:gd name="T32" fmla="*/ 12 w 588"/>
                <a:gd name="T33" fmla="*/ 8 h 714"/>
                <a:gd name="T34" fmla="*/ 14 w 588"/>
                <a:gd name="T35" fmla="*/ 7 h 714"/>
                <a:gd name="T36" fmla="*/ 17 w 588"/>
                <a:gd name="T37" fmla="*/ 10 h 714"/>
                <a:gd name="T38" fmla="*/ 23 w 588"/>
                <a:gd name="T39" fmla="*/ 14 h 714"/>
                <a:gd name="T40" fmla="*/ 28 w 588"/>
                <a:gd name="T41" fmla="*/ 4 h 714"/>
                <a:gd name="T42" fmla="*/ 35 w 588"/>
                <a:gd name="T43" fmla="*/ 2 h 714"/>
                <a:gd name="T44" fmla="*/ 38 w 588"/>
                <a:gd name="T45" fmla="*/ 0 h 714"/>
                <a:gd name="T46" fmla="*/ 40 w 588"/>
                <a:gd name="T47" fmla="*/ 2 h 714"/>
                <a:gd name="T48" fmla="*/ 39 w 588"/>
                <a:gd name="T49" fmla="*/ 4 h 714"/>
                <a:gd name="T50" fmla="*/ 41 w 588"/>
                <a:gd name="T51" fmla="*/ 5 h 714"/>
                <a:gd name="T52" fmla="*/ 42 w 588"/>
                <a:gd name="T53" fmla="*/ 7 h 714"/>
                <a:gd name="T54" fmla="*/ 43 w 588"/>
                <a:gd name="T55" fmla="*/ 9 h 714"/>
                <a:gd name="T56" fmla="*/ 43 w 588"/>
                <a:gd name="T57" fmla="*/ 10 h 714"/>
                <a:gd name="T58" fmla="*/ 43 w 588"/>
                <a:gd name="T59" fmla="*/ 12 h 714"/>
                <a:gd name="T60" fmla="*/ 44 w 588"/>
                <a:gd name="T61" fmla="*/ 12 h 714"/>
                <a:gd name="T62" fmla="*/ 46 w 588"/>
                <a:gd name="T63" fmla="*/ 13 h 714"/>
                <a:gd name="T64" fmla="*/ 47 w 588"/>
                <a:gd name="T65" fmla="*/ 14 h 714"/>
                <a:gd name="T66" fmla="*/ 48 w 588"/>
                <a:gd name="T67" fmla="*/ 15 h 714"/>
                <a:gd name="T68" fmla="*/ 49 w 588"/>
                <a:gd name="T69" fmla="*/ 15 h 714"/>
                <a:gd name="T70" fmla="*/ 48 w 588"/>
                <a:gd name="T71" fmla="*/ 17 h 714"/>
                <a:gd name="T72" fmla="*/ 49 w 588"/>
                <a:gd name="T73" fmla="*/ 19 h 714"/>
                <a:gd name="T74" fmla="*/ 49 w 588"/>
                <a:gd name="T75" fmla="*/ 20 h 714"/>
                <a:gd name="T76" fmla="*/ 51 w 588"/>
                <a:gd name="T77" fmla="*/ 21 h 714"/>
                <a:gd name="T78" fmla="*/ 50 w 588"/>
                <a:gd name="T79" fmla="*/ 22 h 714"/>
                <a:gd name="T80" fmla="*/ 47 w 588"/>
                <a:gd name="T81" fmla="*/ 23 h 714"/>
                <a:gd name="T82" fmla="*/ 47 w 588"/>
                <a:gd name="T83" fmla="*/ 26 h 714"/>
                <a:gd name="T84" fmla="*/ 47 w 588"/>
                <a:gd name="T85" fmla="*/ 32 h 714"/>
                <a:gd name="T86" fmla="*/ 44 w 588"/>
                <a:gd name="T87" fmla="*/ 35 h 714"/>
                <a:gd name="T88" fmla="*/ 42 w 588"/>
                <a:gd name="T89" fmla="*/ 39 h 714"/>
                <a:gd name="T90" fmla="*/ 42 w 588"/>
                <a:gd name="T91" fmla="*/ 41 h 714"/>
                <a:gd name="T92" fmla="*/ 42 w 588"/>
                <a:gd name="T93" fmla="*/ 42 h 714"/>
                <a:gd name="T94" fmla="*/ 41 w 588"/>
                <a:gd name="T95" fmla="*/ 44 h 714"/>
                <a:gd name="T96" fmla="*/ 39 w 588"/>
                <a:gd name="T97" fmla="*/ 43 h 714"/>
                <a:gd name="T98" fmla="*/ 37 w 588"/>
                <a:gd name="T99" fmla="*/ 44 h 714"/>
                <a:gd name="T100" fmla="*/ 35 w 588"/>
                <a:gd name="T101" fmla="*/ 46 h 714"/>
                <a:gd name="T102" fmla="*/ 31 w 588"/>
                <a:gd name="T103" fmla="*/ 45 h 714"/>
                <a:gd name="T104" fmla="*/ 24 w 588"/>
                <a:gd name="T105" fmla="*/ 45 h 714"/>
                <a:gd name="T106" fmla="*/ 25 w 588"/>
                <a:gd name="T107" fmla="*/ 47 h 714"/>
                <a:gd name="T108" fmla="*/ 25 w 588"/>
                <a:gd name="T109" fmla="*/ 49 h 714"/>
                <a:gd name="T110" fmla="*/ 25 w 588"/>
                <a:gd name="T111" fmla="*/ 50 h 714"/>
                <a:gd name="T112" fmla="*/ 24 w 588"/>
                <a:gd name="T113" fmla="*/ 51 h 714"/>
                <a:gd name="T114" fmla="*/ 22 w 588"/>
                <a:gd name="T115" fmla="*/ 53 h 714"/>
                <a:gd name="T116" fmla="*/ 23 w 588"/>
                <a:gd name="T117" fmla="*/ 56 h 714"/>
                <a:gd name="T118" fmla="*/ 20 w 588"/>
                <a:gd name="T119" fmla="*/ 58 h 714"/>
                <a:gd name="T120" fmla="*/ 19 w 588"/>
                <a:gd name="T121" fmla="*/ 62 h 7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8"/>
                <a:gd name="T184" fmla="*/ 0 h 714"/>
                <a:gd name="T185" fmla="*/ 588 w 588"/>
                <a:gd name="T186" fmla="*/ 714 h 7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8" h="714">
                  <a:moveTo>
                    <a:pt x="216" y="714"/>
                  </a:moveTo>
                  <a:lnTo>
                    <a:pt x="198" y="702"/>
                  </a:lnTo>
                  <a:lnTo>
                    <a:pt x="186" y="696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74" y="678"/>
                  </a:lnTo>
                  <a:lnTo>
                    <a:pt x="168" y="672"/>
                  </a:lnTo>
                  <a:lnTo>
                    <a:pt x="162" y="666"/>
                  </a:lnTo>
                  <a:lnTo>
                    <a:pt x="156" y="636"/>
                  </a:lnTo>
                  <a:lnTo>
                    <a:pt x="144" y="630"/>
                  </a:lnTo>
                  <a:lnTo>
                    <a:pt x="108" y="630"/>
                  </a:lnTo>
                  <a:lnTo>
                    <a:pt x="102" y="624"/>
                  </a:lnTo>
                  <a:lnTo>
                    <a:pt x="96" y="624"/>
                  </a:lnTo>
                  <a:lnTo>
                    <a:pt x="72" y="624"/>
                  </a:lnTo>
                  <a:lnTo>
                    <a:pt x="54" y="624"/>
                  </a:lnTo>
                  <a:lnTo>
                    <a:pt x="42" y="618"/>
                  </a:lnTo>
                  <a:lnTo>
                    <a:pt x="30" y="612"/>
                  </a:lnTo>
                  <a:lnTo>
                    <a:pt x="6" y="606"/>
                  </a:lnTo>
                  <a:lnTo>
                    <a:pt x="0" y="606"/>
                  </a:lnTo>
                  <a:lnTo>
                    <a:pt x="0" y="570"/>
                  </a:lnTo>
                  <a:lnTo>
                    <a:pt x="6" y="552"/>
                  </a:lnTo>
                  <a:lnTo>
                    <a:pt x="6" y="522"/>
                  </a:lnTo>
                  <a:lnTo>
                    <a:pt x="0" y="510"/>
                  </a:lnTo>
                  <a:lnTo>
                    <a:pt x="0" y="504"/>
                  </a:lnTo>
                  <a:lnTo>
                    <a:pt x="12" y="510"/>
                  </a:lnTo>
                  <a:lnTo>
                    <a:pt x="18" y="510"/>
                  </a:lnTo>
                  <a:lnTo>
                    <a:pt x="30" y="522"/>
                  </a:lnTo>
                  <a:lnTo>
                    <a:pt x="42" y="528"/>
                  </a:lnTo>
                  <a:lnTo>
                    <a:pt x="54" y="534"/>
                  </a:lnTo>
                  <a:lnTo>
                    <a:pt x="66" y="534"/>
                  </a:lnTo>
                  <a:lnTo>
                    <a:pt x="72" y="546"/>
                  </a:lnTo>
                  <a:lnTo>
                    <a:pt x="84" y="546"/>
                  </a:lnTo>
                  <a:lnTo>
                    <a:pt x="96" y="552"/>
                  </a:lnTo>
                  <a:lnTo>
                    <a:pt x="108" y="546"/>
                  </a:lnTo>
                  <a:lnTo>
                    <a:pt x="114" y="540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90" y="504"/>
                  </a:lnTo>
                  <a:lnTo>
                    <a:pt x="84" y="498"/>
                  </a:lnTo>
                  <a:lnTo>
                    <a:pt x="84" y="492"/>
                  </a:lnTo>
                  <a:lnTo>
                    <a:pt x="84" y="456"/>
                  </a:lnTo>
                  <a:lnTo>
                    <a:pt x="114" y="444"/>
                  </a:lnTo>
                  <a:lnTo>
                    <a:pt x="114" y="438"/>
                  </a:lnTo>
                  <a:lnTo>
                    <a:pt x="120" y="420"/>
                  </a:lnTo>
                  <a:lnTo>
                    <a:pt x="126" y="402"/>
                  </a:lnTo>
                  <a:lnTo>
                    <a:pt x="126" y="390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14" y="336"/>
                  </a:lnTo>
                  <a:lnTo>
                    <a:pt x="108" y="324"/>
                  </a:lnTo>
                  <a:lnTo>
                    <a:pt x="108" y="306"/>
                  </a:lnTo>
                  <a:lnTo>
                    <a:pt x="114" y="300"/>
                  </a:lnTo>
                  <a:lnTo>
                    <a:pt x="114" y="294"/>
                  </a:lnTo>
                  <a:lnTo>
                    <a:pt x="132" y="258"/>
                  </a:lnTo>
                  <a:lnTo>
                    <a:pt x="132" y="234"/>
                  </a:lnTo>
                  <a:lnTo>
                    <a:pt x="126" y="168"/>
                  </a:lnTo>
                  <a:lnTo>
                    <a:pt x="120" y="150"/>
                  </a:lnTo>
                  <a:lnTo>
                    <a:pt x="114" y="138"/>
                  </a:lnTo>
                  <a:lnTo>
                    <a:pt x="108" y="126"/>
                  </a:lnTo>
                  <a:lnTo>
                    <a:pt x="108" y="120"/>
                  </a:lnTo>
                  <a:lnTo>
                    <a:pt x="108" y="114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20" y="96"/>
                  </a:lnTo>
                  <a:lnTo>
                    <a:pt x="132" y="102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56" y="90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96"/>
                  </a:lnTo>
                  <a:lnTo>
                    <a:pt x="186" y="96"/>
                  </a:lnTo>
                  <a:lnTo>
                    <a:pt x="192" y="114"/>
                  </a:lnTo>
                  <a:lnTo>
                    <a:pt x="204" y="132"/>
                  </a:lnTo>
                  <a:lnTo>
                    <a:pt x="216" y="144"/>
                  </a:lnTo>
                  <a:lnTo>
                    <a:pt x="240" y="162"/>
                  </a:lnTo>
                  <a:lnTo>
                    <a:pt x="270" y="156"/>
                  </a:lnTo>
                  <a:lnTo>
                    <a:pt x="282" y="126"/>
                  </a:lnTo>
                  <a:lnTo>
                    <a:pt x="282" y="96"/>
                  </a:lnTo>
                  <a:lnTo>
                    <a:pt x="294" y="54"/>
                  </a:lnTo>
                  <a:lnTo>
                    <a:pt x="324" y="48"/>
                  </a:lnTo>
                  <a:lnTo>
                    <a:pt x="342" y="48"/>
                  </a:lnTo>
                  <a:lnTo>
                    <a:pt x="384" y="48"/>
                  </a:lnTo>
                  <a:lnTo>
                    <a:pt x="390" y="30"/>
                  </a:lnTo>
                  <a:lnTo>
                    <a:pt x="402" y="18"/>
                  </a:lnTo>
                  <a:lnTo>
                    <a:pt x="438" y="6"/>
                  </a:lnTo>
                  <a:lnTo>
                    <a:pt x="438" y="0"/>
                  </a:lnTo>
                  <a:lnTo>
                    <a:pt x="444" y="0"/>
                  </a:lnTo>
                  <a:lnTo>
                    <a:pt x="444" y="6"/>
                  </a:lnTo>
                  <a:lnTo>
                    <a:pt x="450" y="6"/>
                  </a:lnTo>
                  <a:lnTo>
                    <a:pt x="456" y="12"/>
                  </a:lnTo>
                  <a:lnTo>
                    <a:pt x="456" y="18"/>
                  </a:lnTo>
                  <a:lnTo>
                    <a:pt x="462" y="24"/>
                  </a:lnTo>
                  <a:lnTo>
                    <a:pt x="462" y="30"/>
                  </a:lnTo>
                  <a:lnTo>
                    <a:pt x="468" y="36"/>
                  </a:lnTo>
                  <a:lnTo>
                    <a:pt x="462" y="36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74" y="60"/>
                  </a:lnTo>
                  <a:lnTo>
                    <a:pt x="486" y="78"/>
                  </a:lnTo>
                  <a:lnTo>
                    <a:pt x="486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8" y="102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498" y="114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504" y="126"/>
                  </a:lnTo>
                  <a:lnTo>
                    <a:pt x="498" y="132"/>
                  </a:lnTo>
                  <a:lnTo>
                    <a:pt x="504" y="138"/>
                  </a:lnTo>
                  <a:lnTo>
                    <a:pt x="504" y="132"/>
                  </a:lnTo>
                  <a:lnTo>
                    <a:pt x="510" y="132"/>
                  </a:lnTo>
                  <a:lnTo>
                    <a:pt x="510" y="138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56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6" y="168"/>
                  </a:lnTo>
                  <a:lnTo>
                    <a:pt x="552" y="168"/>
                  </a:lnTo>
                  <a:lnTo>
                    <a:pt x="546" y="168"/>
                  </a:lnTo>
                  <a:lnTo>
                    <a:pt x="546" y="174"/>
                  </a:lnTo>
                  <a:lnTo>
                    <a:pt x="558" y="180"/>
                  </a:lnTo>
                  <a:lnTo>
                    <a:pt x="564" y="180"/>
                  </a:lnTo>
                  <a:lnTo>
                    <a:pt x="564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52" y="198"/>
                  </a:lnTo>
                  <a:lnTo>
                    <a:pt x="558" y="204"/>
                  </a:lnTo>
                  <a:lnTo>
                    <a:pt x="564" y="204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22"/>
                  </a:lnTo>
                  <a:lnTo>
                    <a:pt x="576" y="228"/>
                  </a:lnTo>
                  <a:lnTo>
                    <a:pt x="570" y="228"/>
                  </a:lnTo>
                  <a:lnTo>
                    <a:pt x="570" y="234"/>
                  </a:lnTo>
                  <a:lnTo>
                    <a:pt x="576" y="234"/>
                  </a:lnTo>
                  <a:lnTo>
                    <a:pt x="582" y="234"/>
                  </a:lnTo>
                  <a:lnTo>
                    <a:pt x="588" y="234"/>
                  </a:lnTo>
                  <a:lnTo>
                    <a:pt x="588" y="240"/>
                  </a:lnTo>
                  <a:lnTo>
                    <a:pt x="588" y="246"/>
                  </a:lnTo>
                  <a:lnTo>
                    <a:pt x="588" y="252"/>
                  </a:lnTo>
                  <a:lnTo>
                    <a:pt x="582" y="252"/>
                  </a:lnTo>
                  <a:lnTo>
                    <a:pt x="576" y="252"/>
                  </a:lnTo>
                  <a:lnTo>
                    <a:pt x="582" y="258"/>
                  </a:lnTo>
                  <a:lnTo>
                    <a:pt x="582" y="264"/>
                  </a:lnTo>
                  <a:lnTo>
                    <a:pt x="576" y="264"/>
                  </a:lnTo>
                  <a:lnTo>
                    <a:pt x="546" y="264"/>
                  </a:lnTo>
                  <a:lnTo>
                    <a:pt x="546" y="276"/>
                  </a:lnTo>
                  <a:lnTo>
                    <a:pt x="540" y="282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40" y="324"/>
                  </a:lnTo>
                  <a:lnTo>
                    <a:pt x="552" y="330"/>
                  </a:lnTo>
                  <a:lnTo>
                    <a:pt x="558" y="342"/>
                  </a:lnTo>
                  <a:lnTo>
                    <a:pt x="546" y="372"/>
                  </a:lnTo>
                  <a:lnTo>
                    <a:pt x="534" y="372"/>
                  </a:lnTo>
                  <a:lnTo>
                    <a:pt x="534" y="384"/>
                  </a:lnTo>
                  <a:lnTo>
                    <a:pt x="522" y="384"/>
                  </a:lnTo>
                  <a:lnTo>
                    <a:pt x="510" y="402"/>
                  </a:lnTo>
                  <a:lnTo>
                    <a:pt x="504" y="420"/>
                  </a:lnTo>
                  <a:lnTo>
                    <a:pt x="492" y="426"/>
                  </a:lnTo>
                  <a:lnTo>
                    <a:pt x="486" y="432"/>
                  </a:lnTo>
                  <a:lnTo>
                    <a:pt x="486" y="444"/>
                  </a:lnTo>
                  <a:lnTo>
                    <a:pt x="486" y="450"/>
                  </a:lnTo>
                  <a:lnTo>
                    <a:pt x="486" y="456"/>
                  </a:lnTo>
                  <a:lnTo>
                    <a:pt x="486" y="462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80" y="474"/>
                  </a:lnTo>
                  <a:lnTo>
                    <a:pt x="480" y="480"/>
                  </a:lnTo>
                  <a:lnTo>
                    <a:pt x="480" y="486"/>
                  </a:lnTo>
                  <a:lnTo>
                    <a:pt x="480" y="492"/>
                  </a:lnTo>
                  <a:lnTo>
                    <a:pt x="480" y="498"/>
                  </a:lnTo>
                  <a:lnTo>
                    <a:pt x="474" y="504"/>
                  </a:lnTo>
                  <a:lnTo>
                    <a:pt x="468" y="510"/>
                  </a:lnTo>
                  <a:lnTo>
                    <a:pt x="462" y="510"/>
                  </a:lnTo>
                  <a:lnTo>
                    <a:pt x="456" y="504"/>
                  </a:lnTo>
                  <a:lnTo>
                    <a:pt x="456" y="498"/>
                  </a:lnTo>
                  <a:lnTo>
                    <a:pt x="450" y="498"/>
                  </a:lnTo>
                  <a:lnTo>
                    <a:pt x="444" y="498"/>
                  </a:lnTo>
                  <a:lnTo>
                    <a:pt x="438" y="498"/>
                  </a:lnTo>
                  <a:lnTo>
                    <a:pt x="432" y="498"/>
                  </a:lnTo>
                  <a:lnTo>
                    <a:pt x="426" y="504"/>
                  </a:lnTo>
                  <a:lnTo>
                    <a:pt x="426" y="510"/>
                  </a:lnTo>
                  <a:lnTo>
                    <a:pt x="420" y="516"/>
                  </a:lnTo>
                  <a:lnTo>
                    <a:pt x="414" y="522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84" y="528"/>
                  </a:lnTo>
                  <a:lnTo>
                    <a:pt x="366" y="540"/>
                  </a:lnTo>
                  <a:lnTo>
                    <a:pt x="360" y="522"/>
                  </a:lnTo>
                  <a:lnTo>
                    <a:pt x="348" y="504"/>
                  </a:lnTo>
                  <a:lnTo>
                    <a:pt x="330" y="504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34"/>
                  </a:lnTo>
                  <a:lnTo>
                    <a:pt x="288" y="540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2" y="540"/>
                  </a:lnTo>
                  <a:lnTo>
                    <a:pt x="282" y="546"/>
                  </a:lnTo>
                  <a:lnTo>
                    <a:pt x="288" y="552"/>
                  </a:lnTo>
                  <a:lnTo>
                    <a:pt x="294" y="564"/>
                  </a:lnTo>
                  <a:lnTo>
                    <a:pt x="300" y="564"/>
                  </a:lnTo>
                  <a:lnTo>
                    <a:pt x="300" y="570"/>
                  </a:lnTo>
                  <a:lnTo>
                    <a:pt x="294" y="570"/>
                  </a:lnTo>
                  <a:lnTo>
                    <a:pt x="288" y="570"/>
                  </a:lnTo>
                  <a:lnTo>
                    <a:pt x="288" y="576"/>
                  </a:lnTo>
                  <a:lnTo>
                    <a:pt x="288" y="582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606"/>
                  </a:lnTo>
                  <a:lnTo>
                    <a:pt x="264" y="612"/>
                  </a:lnTo>
                  <a:lnTo>
                    <a:pt x="258" y="612"/>
                  </a:lnTo>
                  <a:lnTo>
                    <a:pt x="252" y="612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52" y="630"/>
                  </a:lnTo>
                  <a:lnTo>
                    <a:pt x="264" y="642"/>
                  </a:lnTo>
                  <a:lnTo>
                    <a:pt x="258" y="648"/>
                  </a:lnTo>
                  <a:lnTo>
                    <a:pt x="246" y="654"/>
                  </a:lnTo>
                  <a:lnTo>
                    <a:pt x="240" y="660"/>
                  </a:lnTo>
                  <a:lnTo>
                    <a:pt x="234" y="672"/>
                  </a:lnTo>
                  <a:lnTo>
                    <a:pt x="234" y="678"/>
                  </a:lnTo>
                  <a:lnTo>
                    <a:pt x="228" y="684"/>
                  </a:lnTo>
                  <a:lnTo>
                    <a:pt x="228" y="696"/>
                  </a:lnTo>
                  <a:lnTo>
                    <a:pt x="216" y="71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6" name="Freeform 21">
              <a:extLst>
                <a:ext uri="{FF2B5EF4-FFF2-40B4-BE49-F238E27FC236}">
                  <a16:creationId xmlns:a16="http://schemas.microsoft.com/office/drawing/2014/main" id="{DCB1E808-522D-4C19-B741-CC5DD56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4178" y="3866464"/>
              <a:ext cx="250453" cy="371259"/>
            </a:xfrm>
            <a:custGeom>
              <a:avLst/>
              <a:gdLst>
                <a:gd name="T0" fmla="*/ 0 w 468"/>
                <a:gd name="T1" fmla="*/ 61 h 696"/>
                <a:gd name="T2" fmla="*/ 1 w 468"/>
                <a:gd name="T3" fmla="*/ 58 h 696"/>
                <a:gd name="T4" fmla="*/ 2 w 468"/>
                <a:gd name="T5" fmla="*/ 54 h 696"/>
                <a:gd name="T6" fmla="*/ 3 w 468"/>
                <a:gd name="T7" fmla="*/ 51 h 696"/>
                <a:gd name="T8" fmla="*/ 4 w 468"/>
                <a:gd name="T9" fmla="*/ 48 h 696"/>
                <a:gd name="T10" fmla="*/ 6 w 468"/>
                <a:gd name="T11" fmla="*/ 44 h 696"/>
                <a:gd name="T12" fmla="*/ 5 w 468"/>
                <a:gd name="T13" fmla="*/ 41 h 696"/>
                <a:gd name="T14" fmla="*/ 7 w 468"/>
                <a:gd name="T15" fmla="*/ 38 h 696"/>
                <a:gd name="T16" fmla="*/ 8 w 468"/>
                <a:gd name="T17" fmla="*/ 36 h 696"/>
                <a:gd name="T18" fmla="*/ 7 w 468"/>
                <a:gd name="T19" fmla="*/ 33 h 696"/>
                <a:gd name="T20" fmla="*/ 6 w 468"/>
                <a:gd name="T21" fmla="*/ 29 h 696"/>
                <a:gd name="T22" fmla="*/ 4 w 468"/>
                <a:gd name="T23" fmla="*/ 22 h 696"/>
                <a:gd name="T24" fmla="*/ 2 w 468"/>
                <a:gd name="T25" fmla="*/ 14 h 696"/>
                <a:gd name="T26" fmla="*/ 12 w 468"/>
                <a:gd name="T27" fmla="*/ 11 h 696"/>
                <a:gd name="T28" fmla="*/ 14 w 468"/>
                <a:gd name="T29" fmla="*/ 2 h 696"/>
                <a:gd name="T30" fmla="*/ 16 w 468"/>
                <a:gd name="T31" fmla="*/ 0 h 696"/>
                <a:gd name="T32" fmla="*/ 17 w 468"/>
                <a:gd name="T33" fmla="*/ 0 h 696"/>
                <a:gd name="T34" fmla="*/ 18 w 468"/>
                <a:gd name="T35" fmla="*/ 1 h 696"/>
                <a:gd name="T36" fmla="*/ 17 w 468"/>
                <a:gd name="T37" fmla="*/ 2 h 696"/>
                <a:gd name="T38" fmla="*/ 17 w 468"/>
                <a:gd name="T39" fmla="*/ 4 h 696"/>
                <a:gd name="T40" fmla="*/ 17 w 468"/>
                <a:gd name="T41" fmla="*/ 6 h 696"/>
                <a:gd name="T42" fmla="*/ 20 w 468"/>
                <a:gd name="T43" fmla="*/ 6 h 696"/>
                <a:gd name="T44" fmla="*/ 22 w 468"/>
                <a:gd name="T45" fmla="*/ 5 h 696"/>
                <a:gd name="T46" fmla="*/ 24 w 468"/>
                <a:gd name="T47" fmla="*/ 7 h 696"/>
                <a:gd name="T48" fmla="*/ 28 w 468"/>
                <a:gd name="T49" fmla="*/ 7 h 696"/>
                <a:gd name="T50" fmla="*/ 28 w 468"/>
                <a:gd name="T51" fmla="*/ 11 h 696"/>
                <a:gd name="T52" fmla="*/ 25 w 468"/>
                <a:gd name="T53" fmla="*/ 14 h 696"/>
                <a:gd name="T54" fmla="*/ 23 w 468"/>
                <a:gd name="T55" fmla="*/ 15 h 696"/>
                <a:gd name="T56" fmla="*/ 23 w 468"/>
                <a:gd name="T57" fmla="*/ 19 h 696"/>
                <a:gd name="T58" fmla="*/ 23 w 468"/>
                <a:gd name="T59" fmla="*/ 21 h 696"/>
                <a:gd name="T60" fmla="*/ 24 w 468"/>
                <a:gd name="T61" fmla="*/ 21 h 696"/>
                <a:gd name="T62" fmla="*/ 27 w 468"/>
                <a:gd name="T63" fmla="*/ 23 h 696"/>
                <a:gd name="T64" fmla="*/ 29 w 468"/>
                <a:gd name="T65" fmla="*/ 24 h 696"/>
                <a:gd name="T66" fmla="*/ 29 w 468"/>
                <a:gd name="T67" fmla="*/ 28 h 696"/>
                <a:gd name="T68" fmla="*/ 29 w 468"/>
                <a:gd name="T69" fmla="*/ 29 h 696"/>
                <a:gd name="T70" fmla="*/ 29 w 468"/>
                <a:gd name="T71" fmla="*/ 32 h 696"/>
                <a:gd name="T72" fmla="*/ 32 w 468"/>
                <a:gd name="T73" fmla="*/ 32 h 696"/>
                <a:gd name="T74" fmla="*/ 33 w 468"/>
                <a:gd name="T75" fmla="*/ 35 h 696"/>
                <a:gd name="T76" fmla="*/ 34 w 468"/>
                <a:gd name="T77" fmla="*/ 38 h 696"/>
                <a:gd name="T78" fmla="*/ 35 w 468"/>
                <a:gd name="T79" fmla="*/ 39 h 696"/>
                <a:gd name="T80" fmla="*/ 36 w 468"/>
                <a:gd name="T81" fmla="*/ 40 h 696"/>
                <a:gd name="T82" fmla="*/ 37 w 468"/>
                <a:gd name="T83" fmla="*/ 41 h 696"/>
                <a:gd name="T84" fmla="*/ 38 w 468"/>
                <a:gd name="T85" fmla="*/ 42 h 696"/>
                <a:gd name="T86" fmla="*/ 41 w 468"/>
                <a:gd name="T87" fmla="*/ 44 h 696"/>
                <a:gd name="T88" fmla="*/ 40 w 468"/>
                <a:gd name="T89" fmla="*/ 44 h 696"/>
                <a:gd name="T90" fmla="*/ 37 w 468"/>
                <a:gd name="T91" fmla="*/ 45 h 696"/>
                <a:gd name="T92" fmla="*/ 36 w 468"/>
                <a:gd name="T93" fmla="*/ 48 h 696"/>
                <a:gd name="T94" fmla="*/ 34 w 468"/>
                <a:gd name="T95" fmla="*/ 49 h 696"/>
                <a:gd name="T96" fmla="*/ 32 w 468"/>
                <a:gd name="T97" fmla="*/ 51 h 696"/>
                <a:gd name="T98" fmla="*/ 31 w 468"/>
                <a:gd name="T99" fmla="*/ 51 h 696"/>
                <a:gd name="T100" fmla="*/ 26 w 468"/>
                <a:gd name="T101" fmla="*/ 49 h 696"/>
                <a:gd name="T102" fmla="*/ 23 w 468"/>
                <a:gd name="T103" fmla="*/ 51 h 696"/>
                <a:gd name="T104" fmla="*/ 21 w 468"/>
                <a:gd name="T105" fmla="*/ 51 h 696"/>
                <a:gd name="T106" fmla="*/ 20 w 468"/>
                <a:gd name="T107" fmla="*/ 52 h 696"/>
                <a:gd name="T108" fmla="*/ 17 w 468"/>
                <a:gd name="T109" fmla="*/ 55 h 696"/>
                <a:gd name="T110" fmla="*/ 15 w 468"/>
                <a:gd name="T111" fmla="*/ 56 h 696"/>
                <a:gd name="T112" fmla="*/ 15 w 468"/>
                <a:gd name="T113" fmla="*/ 59 h 696"/>
                <a:gd name="T114" fmla="*/ 14 w 468"/>
                <a:gd name="T115" fmla="*/ 59 h 696"/>
                <a:gd name="T116" fmla="*/ 12 w 468"/>
                <a:gd name="T117" fmla="*/ 59 h 696"/>
                <a:gd name="T118" fmla="*/ 11 w 468"/>
                <a:gd name="T119" fmla="*/ 57 h 696"/>
                <a:gd name="T120" fmla="*/ 9 w 468"/>
                <a:gd name="T121" fmla="*/ 57 h 696"/>
                <a:gd name="T122" fmla="*/ 6 w 468"/>
                <a:gd name="T123" fmla="*/ 58 h 696"/>
                <a:gd name="T124" fmla="*/ 4 w 468"/>
                <a:gd name="T125" fmla="*/ 60 h 69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8"/>
                <a:gd name="T190" fmla="*/ 0 h 696"/>
                <a:gd name="T191" fmla="*/ 468 w 468"/>
                <a:gd name="T192" fmla="*/ 696 h 69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8" h="696">
                  <a:moveTo>
                    <a:pt x="30" y="696"/>
                  </a:moveTo>
                  <a:lnTo>
                    <a:pt x="18" y="696"/>
                  </a:lnTo>
                  <a:lnTo>
                    <a:pt x="6" y="696"/>
                  </a:lnTo>
                  <a:lnTo>
                    <a:pt x="0" y="690"/>
                  </a:lnTo>
                  <a:lnTo>
                    <a:pt x="6" y="678"/>
                  </a:lnTo>
                  <a:lnTo>
                    <a:pt x="12" y="666"/>
                  </a:lnTo>
                  <a:lnTo>
                    <a:pt x="18" y="654"/>
                  </a:lnTo>
                  <a:lnTo>
                    <a:pt x="18" y="642"/>
                  </a:lnTo>
                  <a:lnTo>
                    <a:pt x="18" y="618"/>
                  </a:lnTo>
                  <a:lnTo>
                    <a:pt x="24" y="606"/>
                  </a:lnTo>
                  <a:lnTo>
                    <a:pt x="30" y="594"/>
                  </a:lnTo>
                  <a:lnTo>
                    <a:pt x="30" y="582"/>
                  </a:lnTo>
                  <a:lnTo>
                    <a:pt x="36" y="576"/>
                  </a:lnTo>
                  <a:lnTo>
                    <a:pt x="42" y="564"/>
                  </a:lnTo>
                  <a:lnTo>
                    <a:pt x="48" y="546"/>
                  </a:lnTo>
                  <a:lnTo>
                    <a:pt x="48" y="528"/>
                  </a:lnTo>
                  <a:lnTo>
                    <a:pt x="60" y="516"/>
                  </a:lnTo>
                  <a:lnTo>
                    <a:pt x="66" y="504"/>
                  </a:lnTo>
                  <a:lnTo>
                    <a:pt x="66" y="492"/>
                  </a:lnTo>
                  <a:lnTo>
                    <a:pt x="60" y="480"/>
                  </a:lnTo>
                  <a:lnTo>
                    <a:pt x="54" y="468"/>
                  </a:lnTo>
                  <a:lnTo>
                    <a:pt x="60" y="456"/>
                  </a:lnTo>
                  <a:lnTo>
                    <a:pt x="72" y="450"/>
                  </a:lnTo>
                  <a:lnTo>
                    <a:pt x="84" y="438"/>
                  </a:lnTo>
                  <a:lnTo>
                    <a:pt x="90" y="426"/>
                  </a:lnTo>
                  <a:lnTo>
                    <a:pt x="90" y="420"/>
                  </a:lnTo>
                  <a:lnTo>
                    <a:pt x="90" y="408"/>
                  </a:lnTo>
                  <a:lnTo>
                    <a:pt x="90" y="402"/>
                  </a:lnTo>
                  <a:lnTo>
                    <a:pt x="84" y="396"/>
                  </a:lnTo>
                  <a:lnTo>
                    <a:pt x="78" y="378"/>
                  </a:lnTo>
                  <a:lnTo>
                    <a:pt x="72" y="360"/>
                  </a:lnTo>
                  <a:lnTo>
                    <a:pt x="66" y="348"/>
                  </a:lnTo>
                  <a:lnTo>
                    <a:pt x="72" y="336"/>
                  </a:lnTo>
                  <a:lnTo>
                    <a:pt x="66" y="306"/>
                  </a:lnTo>
                  <a:lnTo>
                    <a:pt x="54" y="276"/>
                  </a:lnTo>
                  <a:lnTo>
                    <a:pt x="42" y="252"/>
                  </a:lnTo>
                  <a:lnTo>
                    <a:pt x="36" y="222"/>
                  </a:lnTo>
                  <a:lnTo>
                    <a:pt x="30" y="192"/>
                  </a:lnTo>
                  <a:lnTo>
                    <a:pt x="24" y="162"/>
                  </a:lnTo>
                  <a:lnTo>
                    <a:pt x="42" y="174"/>
                  </a:lnTo>
                  <a:lnTo>
                    <a:pt x="120" y="138"/>
                  </a:lnTo>
                  <a:lnTo>
                    <a:pt x="132" y="126"/>
                  </a:lnTo>
                  <a:lnTo>
                    <a:pt x="120" y="54"/>
                  </a:lnTo>
                  <a:lnTo>
                    <a:pt x="156" y="30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0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8" y="18"/>
                  </a:lnTo>
                  <a:lnTo>
                    <a:pt x="198" y="24"/>
                  </a:lnTo>
                  <a:lnTo>
                    <a:pt x="198" y="30"/>
                  </a:lnTo>
                  <a:lnTo>
                    <a:pt x="198" y="42"/>
                  </a:lnTo>
                  <a:lnTo>
                    <a:pt x="198" y="48"/>
                  </a:lnTo>
                  <a:lnTo>
                    <a:pt x="192" y="60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28" y="60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34" y="60"/>
                  </a:lnTo>
                  <a:lnTo>
                    <a:pt x="252" y="60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312" y="84"/>
                  </a:lnTo>
                  <a:lnTo>
                    <a:pt x="318" y="96"/>
                  </a:lnTo>
                  <a:lnTo>
                    <a:pt x="318" y="102"/>
                  </a:lnTo>
                  <a:lnTo>
                    <a:pt x="312" y="120"/>
                  </a:lnTo>
                  <a:lnTo>
                    <a:pt x="306" y="132"/>
                  </a:lnTo>
                  <a:lnTo>
                    <a:pt x="294" y="144"/>
                  </a:lnTo>
                  <a:lnTo>
                    <a:pt x="282" y="156"/>
                  </a:lnTo>
                  <a:lnTo>
                    <a:pt x="276" y="162"/>
                  </a:lnTo>
                  <a:lnTo>
                    <a:pt x="270" y="162"/>
                  </a:lnTo>
                  <a:lnTo>
                    <a:pt x="264" y="174"/>
                  </a:lnTo>
                  <a:lnTo>
                    <a:pt x="264" y="192"/>
                  </a:lnTo>
                  <a:lnTo>
                    <a:pt x="264" y="216"/>
                  </a:lnTo>
                  <a:lnTo>
                    <a:pt x="258" y="216"/>
                  </a:lnTo>
                  <a:lnTo>
                    <a:pt x="258" y="228"/>
                  </a:lnTo>
                  <a:lnTo>
                    <a:pt x="252" y="234"/>
                  </a:lnTo>
                  <a:lnTo>
                    <a:pt x="258" y="240"/>
                  </a:lnTo>
                  <a:lnTo>
                    <a:pt x="264" y="240"/>
                  </a:lnTo>
                  <a:lnTo>
                    <a:pt x="270" y="240"/>
                  </a:lnTo>
                  <a:lnTo>
                    <a:pt x="276" y="240"/>
                  </a:lnTo>
                  <a:lnTo>
                    <a:pt x="288" y="240"/>
                  </a:lnTo>
                  <a:lnTo>
                    <a:pt x="300" y="246"/>
                  </a:lnTo>
                  <a:lnTo>
                    <a:pt x="306" y="258"/>
                  </a:lnTo>
                  <a:lnTo>
                    <a:pt x="312" y="264"/>
                  </a:lnTo>
                  <a:lnTo>
                    <a:pt x="318" y="276"/>
                  </a:lnTo>
                  <a:lnTo>
                    <a:pt x="330" y="282"/>
                  </a:lnTo>
                  <a:lnTo>
                    <a:pt x="330" y="300"/>
                  </a:lnTo>
                  <a:lnTo>
                    <a:pt x="336" y="312"/>
                  </a:lnTo>
                  <a:lnTo>
                    <a:pt x="336" y="318"/>
                  </a:lnTo>
                  <a:lnTo>
                    <a:pt x="336" y="330"/>
                  </a:lnTo>
                  <a:lnTo>
                    <a:pt x="324" y="330"/>
                  </a:lnTo>
                  <a:lnTo>
                    <a:pt x="330" y="336"/>
                  </a:lnTo>
                  <a:lnTo>
                    <a:pt x="330" y="342"/>
                  </a:lnTo>
                  <a:lnTo>
                    <a:pt x="336" y="348"/>
                  </a:lnTo>
                  <a:lnTo>
                    <a:pt x="330" y="360"/>
                  </a:lnTo>
                  <a:lnTo>
                    <a:pt x="336" y="372"/>
                  </a:lnTo>
                  <a:lnTo>
                    <a:pt x="354" y="366"/>
                  </a:lnTo>
                  <a:lnTo>
                    <a:pt x="366" y="366"/>
                  </a:lnTo>
                  <a:lnTo>
                    <a:pt x="372" y="378"/>
                  </a:lnTo>
                  <a:lnTo>
                    <a:pt x="372" y="390"/>
                  </a:lnTo>
                  <a:lnTo>
                    <a:pt x="378" y="396"/>
                  </a:lnTo>
                  <a:lnTo>
                    <a:pt x="378" y="408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44"/>
                  </a:lnTo>
                  <a:lnTo>
                    <a:pt x="390" y="444"/>
                  </a:lnTo>
                  <a:lnTo>
                    <a:pt x="396" y="444"/>
                  </a:lnTo>
                  <a:lnTo>
                    <a:pt x="402" y="450"/>
                  </a:lnTo>
                  <a:lnTo>
                    <a:pt x="408" y="450"/>
                  </a:lnTo>
                  <a:lnTo>
                    <a:pt x="408" y="462"/>
                  </a:lnTo>
                  <a:lnTo>
                    <a:pt x="408" y="468"/>
                  </a:lnTo>
                  <a:lnTo>
                    <a:pt x="414" y="474"/>
                  </a:lnTo>
                  <a:lnTo>
                    <a:pt x="420" y="474"/>
                  </a:lnTo>
                  <a:lnTo>
                    <a:pt x="420" y="480"/>
                  </a:lnTo>
                  <a:lnTo>
                    <a:pt x="426" y="480"/>
                  </a:lnTo>
                  <a:lnTo>
                    <a:pt x="432" y="480"/>
                  </a:lnTo>
                  <a:lnTo>
                    <a:pt x="462" y="486"/>
                  </a:lnTo>
                  <a:lnTo>
                    <a:pt x="468" y="492"/>
                  </a:lnTo>
                  <a:lnTo>
                    <a:pt x="468" y="498"/>
                  </a:lnTo>
                  <a:lnTo>
                    <a:pt x="462" y="498"/>
                  </a:lnTo>
                  <a:lnTo>
                    <a:pt x="456" y="498"/>
                  </a:lnTo>
                  <a:lnTo>
                    <a:pt x="456" y="504"/>
                  </a:lnTo>
                  <a:lnTo>
                    <a:pt x="456" y="510"/>
                  </a:lnTo>
                  <a:lnTo>
                    <a:pt x="450" y="516"/>
                  </a:lnTo>
                  <a:lnTo>
                    <a:pt x="426" y="516"/>
                  </a:lnTo>
                  <a:lnTo>
                    <a:pt x="408" y="528"/>
                  </a:lnTo>
                  <a:lnTo>
                    <a:pt x="408" y="546"/>
                  </a:lnTo>
                  <a:lnTo>
                    <a:pt x="414" y="552"/>
                  </a:lnTo>
                  <a:lnTo>
                    <a:pt x="408" y="558"/>
                  </a:lnTo>
                  <a:lnTo>
                    <a:pt x="402" y="564"/>
                  </a:lnTo>
                  <a:lnTo>
                    <a:pt x="384" y="564"/>
                  </a:lnTo>
                  <a:lnTo>
                    <a:pt x="372" y="564"/>
                  </a:lnTo>
                  <a:lnTo>
                    <a:pt x="372" y="576"/>
                  </a:lnTo>
                  <a:lnTo>
                    <a:pt x="366" y="576"/>
                  </a:lnTo>
                  <a:lnTo>
                    <a:pt x="366" y="582"/>
                  </a:lnTo>
                  <a:lnTo>
                    <a:pt x="360" y="582"/>
                  </a:lnTo>
                  <a:lnTo>
                    <a:pt x="348" y="576"/>
                  </a:lnTo>
                  <a:lnTo>
                    <a:pt x="336" y="570"/>
                  </a:lnTo>
                  <a:lnTo>
                    <a:pt x="324" y="570"/>
                  </a:lnTo>
                  <a:lnTo>
                    <a:pt x="300" y="564"/>
                  </a:lnTo>
                  <a:lnTo>
                    <a:pt x="282" y="564"/>
                  </a:lnTo>
                  <a:lnTo>
                    <a:pt x="270" y="570"/>
                  </a:lnTo>
                  <a:lnTo>
                    <a:pt x="264" y="576"/>
                  </a:lnTo>
                  <a:lnTo>
                    <a:pt x="258" y="576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34" y="594"/>
                  </a:lnTo>
                  <a:lnTo>
                    <a:pt x="228" y="600"/>
                  </a:lnTo>
                  <a:lnTo>
                    <a:pt x="210" y="618"/>
                  </a:lnTo>
                  <a:lnTo>
                    <a:pt x="210" y="624"/>
                  </a:lnTo>
                  <a:lnTo>
                    <a:pt x="192" y="630"/>
                  </a:lnTo>
                  <a:lnTo>
                    <a:pt x="186" y="630"/>
                  </a:lnTo>
                  <a:lnTo>
                    <a:pt x="180" y="636"/>
                  </a:lnTo>
                  <a:lnTo>
                    <a:pt x="174" y="642"/>
                  </a:lnTo>
                  <a:lnTo>
                    <a:pt x="168" y="642"/>
                  </a:lnTo>
                  <a:lnTo>
                    <a:pt x="168" y="654"/>
                  </a:lnTo>
                  <a:lnTo>
                    <a:pt x="168" y="678"/>
                  </a:lnTo>
                  <a:lnTo>
                    <a:pt x="162" y="684"/>
                  </a:lnTo>
                  <a:lnTo>
                    <a:pt x="156" y="684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72"/>
                  </a:lnTo>
                  <a:lnTo>
                    <a:pt x="138" y="672"/>
                  </a:lnTo>
                  <a:lnTo>
                    <a:pt x="138" y="666"/>
                  </a:lnTo>
                  <a:lnTo>
                    <a:pt x="132" y="660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48"/>
                  </a:lnTo>
                  <a:lnTo>
                    <a:pt x="102" y="654"/>
                  </a:lnTo>
                  <a:lnTo>
                    <a:pt x="90" y="654"/>
                  </a:lnTo>
                  <a:lnTo>
                    <a:pt x="84" y="654"/>
                  </a:lnTo>
                  <a:lnTo>
                    <a:pt x="72" y="660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36" y="684"/>
                  </a:lnTo>
                  <a:lnTo>
                    <a:pt x="30" y="6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7" name="Freeform 22">
              <a:extLst>
                <a:ext uri="{FF2B5EF4-FFF2-40B4-BE49-F238E27FC236}">
                  <a16:creationId xmlns:a16="http://schemas.microsoft.com/office/drawing/2014/main" id="{2F7A477D-6CF8-44B3-8B32-64EE03DC4D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2895" y="3967106"/>
              <a:ext cx="610479" cy="507686"/>
            </a:xfrm>
            <a:custGeom>
              <a:avLst/>
              <a:gdLst>
                <a:gd name="T0" fmla="*/ 87 w 1146"/>
                <a:gd name="T1" fmla="*/ 56 h 954"/>
                <a:gd name="T2" fmla="*/ 83 w 1146"/>
                <a:gd name="T3" fmla="*/ 66 h 954"/>
                <a:gd name="T4" fmla="*/ 74 w 1146"/>
                <a:gd name="T5" fmla="*/ 69 h 954"/>
                <a:gd name="T6" fmla="*/ 67 w 1146"/>
                <a:gd name="T7" fmla="*/ 75 h 954"/>
                <a:gd name="T8" fmla="*/ 59 w 1146"/>
                <a:gd name="T9" fmla="*/ 78 h 954"/>
                <a:gd name="T10" fmla="*/ 52 w 1146"/>
                <a:gd name="T11" fmla="*/ 77 h 954"/>
                <a:gd name="T12" fmla="*/ 48 w 1146"/>
                <a:gd name="T13" fmla="*/ 79 h 954"/>
                <a:gd name="T14" fmla="*/ 41 w 1146"/>
                <a:gd name="T15" fmla="*/ 82 h 954"/>
                <a:gd name="T16" fmla="*/ 29 w 1146"/>
                <a:gd name="T17" fmla="*/ 78 h 954"/>
                <a:gd name="T18" fmla="*/ 28 w 1146"/>
                <a:gd name="T19" fmla="*/ 76 h 954"/>
                <a:gd name="T20" fmla="*/ 28 w 1146"/>
                <a:gd name="T21" fmla="*/ 72 h 954"/>
                <a:gd name="T22" fmla="*/ 28 w 1146"/>
                <a:gd name="T23" fmla="*/ 74 h 954"/>
                <a:gd name="T24" fmla="*/ 21 w 1146"/>
                <a:gd name="T25" fmla="*/ 74 h 954"/>
                <a:gd name="T26" fmla="*/ 20 w 1146"/>
                <a:gd name="T27" fmla="*/ 67 h 954"/>
                <a:gd name="T28" fmla="*/ 23 w 1146"/>
                <a:gd name="T29" fmla="*/ 64 h 954"/>
                <a:gd name="T30" fmla="*/ 28 w 1146"/>
                <a:gd name="T31" fmla="*/ 65 h 954"/>
                <a:gd name="T32" fmla="*/ 32 w 1146"/>
                <a:gd name="T33" fmla="*/ 62 h 954"/>
                <a:gd name="T34" fmla="*/ 31 w 1146"/>
                <a:gd name="T35" fmla="*/ 56 h 954"/>
                <a:gd name="T36" fmla="*/ 36 w 1146"/>
                <a:gd name="T37" fmla="*/ 54 h 954"/>
                <a:gd name="T38" fmla="*/ 38 w 1146"/>
                <a:gd name="T39" fmla="*/ 54 h 954"/>
                <a:gd name="T40" fmla="*/ 32 w 1146"/>
                <a:gd name="T41" fmla="*/ 54 h 954"/>
                <a:gd name="T42" fmla="*/ 29 w 1146"/>
                <a:gd name="T43" fmla="*/ 59 h 954"/>
                <a:gd name="T44" fmla="*/ 26 w 1146"/>
                <a:gd name="T45" fmla="*/ 59 h 954"/>
                <a:gd name="T46" fmla="*/ 25 w 1146"/>
                <a:gd name="T47" fmla="*/ 61 h 954"/>
                <a:gd name="T48" fmla="*/ 20 w 1146"/>
                <a:gd name="T49" fmla="*/ 61 h 954"/>
                <a:gd name="T50" fmla="*/ 11 w 1146"/>
                <a:gd name="T51" fmla="*/ 54 h 954"/>
                <a:gd name="T52" fmla="*/ 14 w 1146"/>
                <a:gd name="T53" fmla="*/ 50 h 954"/>
                <a:gd name="T54" fmla="*/ 21 w 1146"/>
                <a:gd name="T55" fmla="*/ 51 h 954"/>
                <a:gd name="T56" fmla="*/ 24 w 1146"/>
                <a:gd name="T57" fmla="*/ 50 h 954"/>
                <a:gd name="T58" fmla="*/ 28 w 1146"/>
                <a:gd name="T59" fmla="*/ 48 h 954"/>
                <a:gd name="T60" fmla="*/ 30 w 1146"/>
                <a:gd name="T61" fmla="*/ 49 h 954"/>
                <a:gd name="T62" fmla="*/ 26 w 1146"/>
                <a:gd name="T63" fmla="*/ 47 h 954"/>
                <a:gd name="T64" fmla="*/ 20 w 1146"/>
                <a:gd name="T65" fmla="*/ 50 h 954"/>
                <a:gd name="T66" fmla="*/ 20 w 1146"/>
                <a:gd name="T67" fmla="*/ 44 h 954"/>
                <a:gd name="T68" fmla="*/ 19 w 1146"/>
                <a:gd name="T69" fmla="*/ 46 h 954"/>
                <a:gd name="T70" fmla="*/ 15 w 1146"/>
                <a:gd name="T71" fmla="*/ 49 h 954"/>
                <a:gd name="T72" fmla="*/ 8 w 1146"/>
                <a:gd name="T73" fmla="*/ 48 h 954"/>
                <a:gd name="T74" fmla="*/ 6 w 1146"/>
                <a:gd name="T75" fmla="*/ 41 h 954"/>
                <a:gd name="T76" fmla="*/ 10 w 1146"/>
                <a:gd name="T77" fmla="*/ 41 h 954"/>
                <a:gd name="T78" fmla="*/ 9 w 1146"/>
                <a:gd name="T79" fmla="*/ 39 h 954"/>
                <a:gd name="T80" fmla="*/ 14 w 1146"/>
                <a:gd name="T81" fmla="*/ 35 h 954"/>
                <a:gd name="T82" fmla="*/ 19 w 1146"/>
                <a:gd name="T83" fmla="*/ 32 h 954"/>
                <a:gd name="T84" fmla="*/ 20 w 1146"/>
                <a:gd name="T85" fmla="*/ 29 h 954"/>
                <a:gd name="T86" fmla="*/ 27 w 1146"/>
                <a:gd name="T87" fmla="*/ 27 h 954"/>
                <a:gd name="T88" fmla="*/ 33 w 1146"/>
                <a:gd name="T89" fmla="*/ 28 h 954"/>
                <a:gd name="T90" fmla="*/ 44 w 1146"/>
                <a:gd name="T91" fmla="*/ 27 h 954"/>
                <a:gd name="T92" fmla="*/ 52 w 1146"/>
                <a:gd name="T93" fmla="*/ 41 h 954"/>
                <a:gd name="T94" fmla="*/ 61 w 1146"/>
                <a:gd name="T95" fmla="*/ 40 h 954"/>
                <a:gd name="T96" fmla="*/ 69 w 1146"/>
                <a:gd name="T97" fmla="*/ 34 h 954"/>
                <a:gd name="T98" fmla="*/ 62 w 1146"/>
                <a:gd name="T99" fmla="*/ 12 h 954"/>
                <a:gd name="T100" fmla="*/ 74 w 1146"/>
                <a:gd name="T101" fmla="*/ 8 h 954"/>
                <a:gd name="T102" fmla="*/ 87 w 1146"/>
                <a:gd name="T103" fmla="*/ 1 h 954"/>
                <a:gd name="T104" fmla="*/ 99 w 1146"/>
                <a:gd name="T105" fmla="*/ 12 h 954"/>
                <a:gd name="T106" fmla="*/ 98 w 1146"/>
                <a:gd name="T107" fmla="*/ 27 h 954"/>
                <a:gd name="T108" fmla="*/ 16 w 1146"/>
                <a:gd name="T109" fmla="*/ 33 h 954"/>
                <a:gd name="T110" fmla="*/ 11 w 1146"/>
                <a:gd name="T111" fmla="*/ 36 h 954"/>
                <a:gd name="T112" fmla="*/ 5 w 1146"/>
                <a:gd name="T113" fmla="*/ 41 h 954"/>
                <a:gd name="T114" fmla="*/ 2 w 1146"/>
                <a:gd name="T115" fmla="*/ 36 h 954"/>
                <a:gd name="T116" fmla="*/ 5 w 1146"/>
                <a:gd name="T117" fmla="*/ 26 h 954"/>
                <a:gd name="T118" fmla="*/ 10 w 1146"/>
                <a:gd name="T119" fmla="*/ 20 h 954"/>
                <a:gd name="T120" fmla="*/ 13 w 1146"/>
                <a:gd name="T121" fmla="*/ 20 h 954"/>
                <a:gd name="T122" fmla="*/ 15 w 1146"/>
                <a:gd name="T123" fmla="*/ 27 h 95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46"/>
                <a:gd name="T187" fmla="*/ 0 h 954"/>
                <a:gd name="T188" fmla="*/ 1146 w 1146"/>
                <a:gd name="T189" fmla="*/ 954 h 95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46" h="954">
                  <a:moveTo>
                    <a:pt x="1056" y="498"/>
                  </a:moveTo>
                  <a:lnTo>
                    <a:pt x="1044" y="510"/>
                  </a:lnTo>
                  <a:lnTo>
                    <a:pt x="1032" y="516"/>
                  </a:lnTo>
                  <a:lnTo>
                    <a:pt x="1038" y="528"/>
                  </a:lnTo>
                  <a:lnTo>
                    <a:pt x="1050" y="540"/>
                  </a:lnTo>
                  <a:lnTo>
                    <a:pt x="1050" y="546"/>
                  </a:lnTo>
                  <a:lnTo>
                    <a:pt x="1050" y="564"/>
                  </a:lnTo>
                  <a:lnTo>
                    <a:pt x="1038" y="576"/>
                  </a:lnTo>
                  <a:lnTo>
                    <a:pt x="1032" y="588"/>
                  </a:lnTo>
                  <a:lnTo>
                    <a:pt x="1020" y="594"/>
                  </a:lnTo>
                  <a:lnTo>
                    <a:pt x="1008" y="594"/>
                  </a:lnTo>
                  <a:lnTo>
                    <a:pt x="1002" y="600"/>
                  </a:lnTo>
                  <a:lnTo>
                    <a:pt x="996" y="612"/>
                  </a:lnTo>
                  <a:lnTo>
                    <a:pt x="996" y="624"/>
                  </a:lnTo>
                  <a:lnTo>
                    <a:pt x="996" y="648"/>
                  </a:lnTo>
                  <a:lnTo>
                    <a:pt x="996" y="660"/>
                  </a:lnTo>
                  <a:lnTo>
                    <a:pt x="1002" y="672"/>
                  </a:lnTo>
                  <a:lnTo>
                    <a:pt x="1002" y="684"/>
                  </a:lnTo>
                  <a:lnTo>
                    <a:pt x="996" y="684"/>
                  </a:lnTo>
                  <a:lnTo>
                    <a:pt x="984" y="690"/>
                  </a:lnTo>
                  <a:lnTo>
                    <a:pt x="972" y="690"/>
                  </a:lnTo>
                  <a:lnTo>
                    <a:pt x="966" y="696"/>
                  </a:lnTo>
                  <a:lnTo>
                    <a:pt x="966" y="702"/>
                  </a:lnTo>
                  <a:lnTo>
                    <a:pt x="966" y="714"/>
                  </a:lnTo>
                  <a:lnTo>
                    <a:pt x="972" y="726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2" y="756"/>
                  </a:lnTo>
                  <a:lnTo>
                    <a:pt x="966" y="756"/>
                  </a:lnTo>
                  <a:lnTo>
                    <a:pt x="942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18" y="768"/>
                  </a:lnTo>
                  <a:lnTo>
                    <a:pt x="906" y="768"/>
                  </a:lnTo>
                  <a:lnTo>
                    <a:pt x="894" y="762"/>
                  </a:lnTo>
                  <a:lnTo>
                    <a:pt x="882" y="756"/>
                  </a:lnTo>
                  <a:lnTo>
                    <a:pt x="876" y="756"/>
                  </a:lnTo>
                  <a:lnTo>
                    <a:pt x="876" y="762"/>
                  </a:lnTo>
                  <a:lnTo>
                    <a:pt x="864" y="768"/>
                  </a:lnTo>
                  <a:lnTo>
                    <a:pt x="858" y="774"/>
                  </a:lnTo>
                  <a:lnTo>
                    <a:pt x="852" y="774"/>
                  </a:lnTo>
                  <a:lnTo>
                    <a:pt x="840" y="780"/>
                  </a:lnTo>
                  <a:lnTo>
                    <a:pt x="840" y="786"/>
                  </a:lnTo>
                  <a:lnTo>
                    <a:pt x="840" y="792"/>
                  </a:lnTo>
                  <a:lnTo>
                    <a:pt x="840" y="804"/>
                  </a:lnTo>
                  <a:lnTo>
                    <a:pt x="840" y="810"/>
                  </a:lnTo>
                  <a:lnTo>
                    <a:pt x="828" y="816"/>
                  </a:lnTo>
                  <a:lnTo>
                    <a:pt x="810" y="810"/>
                  </a:lnTo>
                  <a:lnTo>
                    <a:pt x="792" y="810"/>
                  </a:lnTo>
                  <a:lnTo>
                    <a:pt x="786" y="816"/>
                  </a:lnTo>
                  <a:lnTo>
                    <a:pt x="780" y="816"/>
                  </a:lnTo>
                  <a:lnTo>
                    <a:pt x="780" y="822"/>
                  </a:lnTo>
                  <a:lnTo>
                    <a:pt x="780" y="828"/>
                  </a:lnTo>
                  <a:lnTo>
                    <a:pt x="780" y="834"/>
                  </a:lnTo>
                  <a:lnTo>
                    <a:pt x="786" y="840"/>
                  </a:lnTo>
                  <a:lnTo>
                    <a:pt x="786" y="846"/>
                  </a:lnTo>
                  <a:lnTo>
                    <a:pt x="786" y="852"/>
                  </a:lnTo>
                  <a:lnTo>
                    <a:pt x="780" y="858"/>
                  </a:lnTo>
                  <a:lnTo>
                    <a:pt x="768" y="858"/>
                  </a:lnTo>
                  <a:lnTo>
                    <a:pt x="762" y="864"/>
                  </a:lnTo>
                  <a:lnTo>
                    <a:pt x="756" y="864"/>
                  </a:lnTo>
                  <a:lnTo>
                    <a:pt x="750" y="870"/>
                  </a:lnTo>
                  <a:lnTo>
                    <a:pt x="744" y="876"/>
                  </a:lnTo>
                  <a:lnTo>
                    <a:pt x="732" y="876"/>
                  </a:lnTo>
                  <a:lnTo>
                    <a:pt x="726" y="876"/>
                  </a:lnTo>
                  <a:lnTo>
                    <a:pt x="720" y="870"/>
                  </a:lnTo>
                  <a:lnTo>
                    <a:pt x="714" y="864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6" y="876"/>
                  </a:lnTo>
                  <a:lnTo>
                    <a:pt x="696" y="882"/>
                  </a:lnTo>
                  <a:lnTo>
                    <a:pt x="696" y="894"/>
                  </a:lnTo>
                  <a:lnTo>
                    <a:pt x="690" y="900"/>
                  </a:lnTo>
                  <a:lnTo>
                    <a:pt x="684" y="900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54" y="888"/>
                  </a:lnTo>
                  <a:lnTo>
                    <a:pt x="654" y="882"/>
                  </a:lnTo>
                  <a:lnTo>
                    <a:pt x="642" y="876"/>
                  </a:lnTo>
                  <a:lnTo>
                    <a:pt x="636" y="876"/>
                  </a:lnTo>
                  <a:lnTo>
                    <a:pt x="630" y="876"/>
                  </a:lnTo>
                  <a:lnTo>
                    <a:pt x="630" y="870"/>
                  </a:lnTo>
                  <a:lnTo>
                    <a:pt x="618" y="858"/>
                  </a:lnTo>
                  <a:lnTo>
                    <a:pt x="612" y="858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06" y="876"/>
                  </a:lnTo>
                  <a:lnTo>
                    <a:pt x="606" y="882"/>
                  </a:lnTo>
                  <a:lnTo>
                    <a:pt x="606" y="888"/>
                  </a:lnTo>
                  <a:lnTo>
                    <a:pt x="600" y="894"/>
                  </a:lnTo>
                  <a:lnTo>
                    <a:pt x="594" y="894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76" y="894"/>
                  </a:lnTo>
                  <a:lnTo>
                    <a:pt x="582" y="900"/>
                  </a:lnTo>
                  <a:lnTo>
                    <a:pt x="576" y="906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64" y="918"/>
                  </a:lnTo>
                  <a:lnTo>
                    <a:pt x="558" y="918"/>
                  </a:lnTo>
                  <a:lnTo>
                    <a:pt x="558" y="912"/>
                  </a:lnTo>
                  <a:lnTo>
                    <a:pt x="552" y="906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06"/>
                  </a:lnTo>
                  <a:lnTo>
                    <a:pt x="534" y="906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0" y="924"/>
                  </a:lnTo>
                  <a:lnTo>
                    <a:pt x="504" y="924"/>
                  </a:lnTo>
                  <a:lnTo>
                    <a:pt x="498" y="930"/>
                  </a:lnTo>
                  <a:lnTo>
                    <a:pt x="492" y="924"/>
                  </a:lnTo>
                  <a:lnTo>
                    <a:pt x="486" y="930"/>
                  </a:lnTo>
                  <a:lnTo>
                    <a:pt x="480" y="942"/>
                  </a:lnTo>
                  <a:lnTo>
                    <a:pt x="468" y="948"/>
                  </a:lnTo>
                  <a:lnTo>
                    <a:pt x="444" y="942"/>
                  </a:lnTo>
                  <a:lnTo>
                    <a:pt x="438" y="954"/>
                  </a:lnTo>
                  <a:lnTo>
                    <a:pt x="426" y="954"/>
                  </a:lnTo>
                  <a:lnTo>
                    <a:pt x="420" y="948"/>
                  </a:lnTo>
                  <a:lnTo>
                    <a:pt x="408" y="936"/>
                  </a:lnTo>
                  <a:lnTo>
                    <a:pt x="396" y="936"/>
                  </a:lnTo>
                  <a:lnTo>
                    <a:pt x="390" y="930"/>
                  </a:lnTo>
                  <a:lnTo>
                    <a:pt x="390" y="924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66" y="924"/>
                  </a:lnTo>
                  <a:lnTo>
                    <a:pt x="360" y="924"/>
                  </a:lnTo>
                  <a:lnTo>
                    <a:pt x="348" y="918"/>
                  </a:lnTo>
                  <a:lnTo>
                    <a:pt x="342" y="906"/>
                  </a:lnTo>
                  <a:lnTo>
                    <a:pt x="336" y="906"/>
                  </a:lnTo>
                  <a:lnTo>
                    <a:pt x="330" y="906"/>
                  </a:lnTo>
                  <a:lnTo>
                    <a:pt x="312" y="906"/>
                  </a:lnTo>
                  <a:lnTo>
                    <a:pt x="312" y="900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888"/>
                  </a:lnTo>
                  <a:lnTo>
                    <a:pt x="312" y="882"/>
                  </a:lnTo>
                  <a:lnTo>
                    <a:pt x="306" y="876"/>
                  </a:lnTo>
                  <a:lnTo>
                    <a:pt x="312" y="876"/>
                  </a:lnTo>
                  <a:lnTo>
                    <a:pt x="312" y="870"/>
                  </a:lnTo>
                  <a:lnTo>
                    <a:pt x="318" y="876"/>
                  </a:lnTo>
                  <a:lnTo>
                    <a:pt x="318" y="870"/>
                  </a:lnTo>
                  <a:lnTo>
                    <a:pt x="324" y="876"/>
                  </a:lnTo>
                  <a:lnTo>
                    <a:pt x="330" y="876"/>
                  </a:lnTo>
                  <a:lnTo>
                    <a:pt x="336" y="876"/>
                  </a:lnTo>
                  <a:lnTo>
                    <a:pt x="342" y="876"/>
                  </a:lnTo>
                  <a:lnTo>
                    <a:pt x="336" y="876"/>
                  </a:lnTo>
                  <a:lnTo>
                    <a:pt x="330" y="870"/>
                  </a:lnTo>
                  <a:lnTo>
                    <a:pt x="324" y="870"/>
                  </a:lnTo>
                  <a:lnTo>
                    <a:pt x="318" y="870"/>
                  </a:lnTo>
                  <a:lnTo>
                    <a:pt x="312" y="870"/>
                  </a:lnTo>
                  <a:lnTo>
                    <a:pt x="318" y="864"/>
                  </a:lnTo>
                  <a:lnTo>
                    <a:pt x="318" y="858"/>
                  </a:lnTo>
                  <a:lnTo>
                    <a:pt x="318" y="852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6" y="846"/>
                  </a:lnTo>
                  <a:lnTo>
                    <a:pt x="312" y="828"/>
                  </a:lnTo>
                  <a:lnTo>
                    <a:pt x="312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06" y="816"/>
                  </a:lnTo>
                  <a:lnTo>
                    <a:pt x="306" y="810"/>
                  </a:lnTo>
                  <a:lnTo>
                    <a:pt x="306" y="816"/>
                  </a:lnTo>
                  <a:lnTo>
                    <a:pt x="312" y="822"/>
                  </a:lnTo>
                  <a:lnTo>
                    <a:pt x="306" y="822"/>
                  </a:lnTo>
                  <a:lnTo>
                    <a:pt x="306" y="828"/>
                  </a:lnTo>
                  <a:lnTo>
                    <a:pt x="306" y="834"/>
                  </a:lnTo>
                  <a:lnTo>
                    <a:pt x="300" y="840"/>
                  </a:lnTo>
                  <a:lnTo>
                    <a:pt x="300" y="846"/>
                  </a:lnTo>
                  <a:lnTo>
                    <a:pt x="306" y="852"/>
                  </a:lnTo>
                  <a:lnTo>
                    <a:pt x="306" y="858"/>
                  </a:lnTo>
                  <a:lnTo>
                    <a:pt x="312" y="858"/>
                  </a:lnTo>
                  <a:lnTo>
                    <a:pt x="312" y="864"/>
                  </a:lnTo>
                  <a:lnTo>
                    <a:pt x="306" y="864"/>
                  </a:lnTo>
                  <a:lnTo>
                    <a:pt x="300" y="864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82" y="870"/>
                  </a:lnTo>
                  <a:lnTo>
                    <a:pt x="276" y="870"/>
                  </a:lnTo>
                  <a:lnTo>
                    <a:pt x="270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8" y="870"/>
                  </a:lnTo>
                  <a:lnTo>
                    <a:pt x="252" y="870"/>
                  </a:lnTo>
                  <a:lnTo>
                    <a:pt x="252" y="864"/>
                  </a:lnTo>
                  <a:lnTo>
                    <a:pt x="246" y="858"/>
                  </a:lnTo>
                  <a:lnTo>
                    <a:pt x="246" y="852"/>
                  </a:lnTo>
                  <a:lnTo>
                    <a:pt x="246" y="846"/>
                  </a:lnTo>
                  <a:lnTo>
                    <a:pt x="246" y="840"/>
                  </a:lnTo>
                  <a:lnTo>
                    <a:pt x="246" y="834"/>
                  </a:lnTo>
                  <a:lnTo>
                    <a:pt x="246" y="828"/>
                  </a:lnTo>
                  <a:lnTo>
                    <a:pt x="246" y="822"/>
                  </a:lnTo>
                  <a:lnTo>
                    <a:pt x="240" y="816"/>
                  </a:lnTo>
                  <a:lnTo>
                    <a:pt x="240" y="810"/>
                  </a:lnTo>
                  <a:lnTo>
                    <a:pt x="240" y="804"/>
                  </a:lnTo>
                  <a:lnTo>
                    <a:pt x="240" y="798"/>
                  </a:lnTo>
                  <a:lnTo>
                    <a:pt x="234" y="798"/>
                  </a:lnTo>
                  <a:lnTo>
                    <a:pt x="234" y="792"/>
                  </a:lnTo>
                  <a:lnTo>
                    <a:pt x="234" y="786"/>
                  </a:lnTo>
                  <a:lnTo>
                    <a:pt x="234" y="780"/>
                  </a:lnTo>
                  <a:lnTo>
                    <a:pt x="228" y="780"/>
                  </a:lnTo>
                  <a:lnTo>
                    <a:pt x="228" y="774"/>
                  </a:lnTo>
                  <a:lnTo>
                    <a:pt x="228" y="768"/>
                  </a:lnTo>
                  <a:lnTo>
                    <a:pt x="222" y="762"/>
                  </a:lnTo>
                  <a:lnTo>
                    <a:pt x="222" y="756"/>
                  </a:lnTo>
                  <a:lnTo>
                    <a:pt x="222" y="750"/>
                  </a:lnTo>
                  <a:lnTo>
                    <a:pt x="222" y="744"/>
                  </a:lnTo>
                  <a:lnTo>
                    <a:pt x="222" y="738"/>
                  </a:lnTo>
                  <a:lnTo>
                    <a:pt x="216" y="732"/>
                  </a:lnTo>
                  <a:lnTo>
                    <a:pt x="222" y="732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32"/>
                  </a:lnTo>
                  <a:lnTo>
                    <a:pt x="246" y="732"/>
                  </a:lnTo>
                  <a:lnTo>
                    <a:pt x="246" y="738"/>
                  </a:lnTo>
                  <a:lnTo>
                    <a:pt x="252" y="738"/>
                  </a:lnTo>
                  <a:lnTo>
                    <a:pt x="258" y="738"/>
                  </a:lnTo>
                  <a:lnTo>
                    <a:pt x="258" y="732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8" y="732"/>
                  </a:lnTo>
                  <a:lnTo>
                    <a:pt x="294" y="732"/>
                  </a:lnTo>
                  <a:lnTo>
                    <a:pt x="300" y="732"/>
                  </a:lnTo>
                  <a:lnTo>
                    <a:pt x="300" y="738"/>
                  </a:lnTo>
                  <a:lnTo>
                    <a:pt x="306" y="738"/>
                  </a:lnTo>
                  <a:lnTo>
                    <a:pt x="306" y="744"/>
                  </a:lnTo>
                  <a:lnTo>
                    <a:pt x="306" y="750"/>
                  </a:lnTo>
                  <a:lnTo>
                    <a:pt x="312" y="750"/>
                  </a:lnTo>
                  <a:lnTo>
                    <a:pt x="312" y="756"/>
                  </a:lnTo>
                  <a:lnTo>
                    <a:pt x="318" y="756"/>
                  </a:lnTo>
                  <a:lnTo>
                    <a:pt x="318" y="750"/>
                  </a:lnTo>
                  <a:lnTo>
                    <a:pt x="312" y="750"/>
                  </a:lnTo>
                  <a:lnTo>
                    <a:pt x="312" y="744"/>
                  </a:lnTo>
                  <a:lnTo>
                    <a:pt x="318" y="738"/>
                  </a:lnTo>
                  <a:lnTo>
                    <a:pt x="324" y="738"/>
                  </a:lnTo>
                  <a:lnTo>
                    <a:pt x="330" y="738"/>
                  </a:lnTo>
                  <a:lnTo>
                    <a:pt x="336" y="738"/>
                  </a:lnTo>
                  <a:lnTo>
                    <a:pt x="342" y="738"/>
                  </a:lnTo>
                  <a:lnTo>
                    <a:pt x="348" y="732"/>
                  </a:lnTo>
                  <a:lnTo>
                    <a:pt x="354" y="732"/>
                  </a:lnTo>
                  <a:lnTo>
                    <a:pt x="360" y="732"/>
                  </a:lnTo>
                  <a:lnTo>
                    <a:pt x="360" y="726"/>
                  </a:lnTo>
                  <a:lnTo>
                    <a:pt x="366" y="726"/>
                  </a:lnTo>
                  <a:lnTo>
                    <a:pt x="366" y="720"/>
                  </a:lnTo>
                  <a:lnTo>
                    <a:pt x="366" y="714"/>
                  </a:lnTo>
                  <a:lnTo>
                    <a:pt x="360" y="708"/>
                  </a:lnTo>
                  <a:lnTo>
                    <a:pt x="354" y="708"/>
                  </a:lnTo>
                  <a:lnTo>
                    <a:pt x="348" y="702"/>
                  </a:lnTo>
                  <a:lnTo>
                    <a:pt x="354" y="702"/>
                  </a:lnTo>
                  <a:lnTo>
                    <a:pt x="354" y="696"/>
                  </a:lnTo>
                  <a:lnTo>
                    <a:pt x="348" y="696"/>
                  </a:lnTo>
                  <a:lnTo>
                    <a:pt x="348" y="690"/>
                  </a:lnTo>
                  <a:lnTo>
                    <a:pt x="342" y="690"/>
                  </a:lnTo>
                  <a:lnTo>
                    <a:pt x="342" y="684"/>
                  </a:lnTo>
                  <a:lnTo>
                    <a:pt x="342" y="678"/>
                  </a:lnTo>
                  <a:lnTo>
                    <a:pt x="342" y="666"/>
                  </a:lnTo>
                  <a:lnTo>
                    <a:pt x="342" y="660"/>
                  </a:lnTo>
                  <a:lnTo>
                    <a:pt x="348" y="654"/>
                  </a:lnTo>
                  <a:lnTo>
                    <a:pt x="348" y="642"/>
                  </a:lnTo>
                  <a:lnTo>
                    <a:pt x="354" y="642"/>
                  </a:lnTo>
                  <a:lnTo>
                    <a:pt x="360" y="642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66" y="642"/>
                  </a:lnTo>
                  <a:lnTo>
                    <a:pt x="372" y="642"/>
                  </a:lnTo>
                  <a:lnTo>
                    <a:pt x="378" y="642"/>
                  </a:lnTo>
                  <a:lnTo>
                    <a:pt x="384" y="642"/>
                  </a:lnTo>
                  <a:lnTo>
                    <a:pt x="390" y="642"/>
                  </a:lnTo>
                  <a:lnTo>
                    <a:pt x="396" y="642"/>
                  </a:lnTo>
                  <a:lnTo>
                    <a:pt x="396" y="636"/>
                  </a:lnTo>
                  <a:lnTo>
                    <a:pt x="402" y="636"/>
                  </a:lnTo>
                  <a:lnTo>
                    <a:pt x="408" y="636"/>
                  </a:lnTo>
                  <a:lnTo>
                    <a:pt x="402" y="636"/>
                  </a:lnTo>
                  <a:lnTo>
                    <a:pt x="402" y="630"/>
                  </a:lnTo>
                  <a:lnTo>
                    <a:pt x="408" y="630"/>
                  </a:lnTo>
                  <a:lnTo>
                    <a:pt x="408" y="624"/>
                  </a:lnTo>
                  <a:lnTo>
                    <a:pt x="408" y="618"/>
                  </a:lnTo>
                  <a:lnTo>
                    <a:pt x="414" y="618"/>
                  </a:lnTo>
                  <a:lnTo>
                    <a:pt x="420" y="618"/>
                  </a:lnTo>
                  <a:lnTo>
                    <a:pt x="426" y="624"/>
                  </a:lnTo>
                  <a:lnTo>
                    <a:pt x="432" y="624"/>
                  </a:lnTo>
                  <a:lnTo>
                    <a:pt x="438" y="624"/>
                  </a:lnTo>
                  <a:lnTo>
                    <a:pt x="438" y="618"/>
                  </a:lnTo>
                  <a:lnTo>
                    <a:pt x="444" y="618"/>
                  </a:lnTo>
                  <a:lnTo>
                    <a:pt x="450" y="618"/>
                  </a:lnTo>
                  <a:lnTo>
                    <a:pt x="444" y="618"/>
                  </a:lnTo>
                  <a:lnTo>
                    <a:pt x="438" y="618"/>
                  </a:lnTo>
                  <a:lnTo>
                    <a:pt x="438" y="612"/>
                  </a:lnTo>
                  <a:lnTo>
                    <a:pt x="438" y="618"/>
                  </a:lnTo>
                  <a:lnTo>
                    <a:pt x="432" y="624"/>
                  </a:lnTo>
                  <a:lnTo>
                    <a:pt x="426" y="618"/>
                  </a:lnTo>
                  <a:lnTo>
                    <a:pt x="420" y="612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402" y="624"/>
                  </a:lnTo>
                  <a:lnTo>
                    <a:pt x="396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78" y="630"/>
                  </a:lnTo>
                  <a:lnTo>
                    <a:pt x="378" y="636"/>
                  </a:lnTo>
                  <a:lnTo>
                    <a:pt x="372" y="630"/>
                  </a:lnTo>
                  <a:lnTo>
                    <a:pt x="366" y="630"/>
                  </a:lnTo>
                  <a:lnTo>
                    <a:pt x="360" y="630"/>
                  </a:lnTo>
                  <a:lnTo>
                    <a:pt x="354" y="630"/>
                  </a:lnTo>
                  <a:lnTo>
                    <a:pt x="354" y="636"/>
                  </a:lnTo>
                  <a:lnTo>
                    <a:pt x="348" y="636"/>
                  </a:lnTo>
                  <a:lnTo>
                    <a:pt x="348" y="642"/>
                  </a:lnTo>
                  <a:lnTo>
                    <a:pt x="342" y="642"/>
                  </a:lnTo>
                  <a:lnTo>
                    <a:pt x="342" y="648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6" y="660"/>
                  </a:lnTo>
                  <a:lnTo>
                    <a:pt x="336" y="666"/>
                  </a:lnTo>
                  <a:lnTo>
                    <a:pt x="330" y="672"/>
                  </a:lnTo>
                  <a:lnTo>
                    <a:pt x="330" y="678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24" y="696"/>
                  </a:lnTo>
                  <a:lnTo>
                    <a:pt x="324" y="702"/>
                  </a:lnTo>
                  <a:lnTo>
                    <a:pt x="318" y="702"/>
                  </a:lnTo>
                  <a:lnTo>
                    <a:pt x="318" y="708"/>
                  </a:lnTo>
                  <a:lnTo>
                    <a:pt x="312" y="708"/>
                  </a:lnTo>
                  <a:lnTo>
                    <a:pt x="312" y="702"/>
                  </a:lnTo>
                  <a:lnTo>
                    <a:pt x="306" y="702"/>
                  </a:lnTo>
                  <a:lnTo>
                    <a:pt x="300" y="702"/>
                  </a:lnTo>
                  <a:lnTo>
                    <a:pt x="294" y="696"/>
                  </a:lnTo>
                  <a:lnTo>
                    <a:pt x="288" y="696"/>
                  </a:lnTo>
                  <a:lnTo>
                    <a:pt x="282" y="690"/>
                  </a:lnTo>
                  <a:lnTo>
                    <a:pt x="288" y="684"/>
                  </a:lnTo>
                  <a:lnTo>
                    <a:pt x="294" y="684"/>
                  </a:lnTo>
                  <a:lnTo>
                    <a:pt x="294" y="678"/>
                  </a:lnTo>
                  <a:lnTo>
                    <a:pt x="300" y="678"/>
                  </a:lnTo>
                  <a:lnTo>
                    <a:pt x="294" y="678"/>
                  </a:lnTo>
                  <a:lnTo>
                    <a:pt x="294" y="672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94" y="672"/>
                  </a:lnTo>
                  <a:lnTo>
                    <a:pt x="288" y="678"/>
                  </a:lnTo>
                  <a:lnTo>
                    <a:pt x="282" y="684"/>
                  </a:lnTo>
                  <a:lnTo>
                    <a:pt x="282" y="678"/>
                  </a:lnTo>
                  <a:lnTo>
                    <a:pt x="276" y="678"/>
                  </a:lnTo>
                  <a:lnTo>
                    <a:pt x="282" y="684"/>
                  </a:lnTo>
                  <a:lnTo>
                    <a:pt x="282" y="690"/>
                  </a:lnTo>
                  <a:lnTo>
                    <a:pt x="282" y="696"/>
                  </a:lnTo>
                  <a:lnTo>
                    <a:pt x="288" y="702"/>
                  </a:lnTo>
                  <a:lnTo>
                    <a:pt x="294" y="708"/>
                  </a:lnTo>
                  <a:lnTo>
                    <a:pt x="294" y="714"/>
                  </a:lnTo>
                  <a:lnTo>
                    <a:pt x="288" y="714"/>
                  </a:lnTo>
                  <a:lnTo>
                    <a:pt x="282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64" y="714"/>
                  </a:lnTo>
                  <a:lnTo>
                    <a:pt x="258" y="714"/>
                  </a:lnTo>
                  <a:lnTo>
                    <a:pt x="252" y="714"/>
                  </a:lnTo>
                  <a:lnTo>
                    <a:pt x="246" y="714"/>
                  </a:lnTo>
                  <a:lnTo>
                    <a:pt x="240" y="714"/>
                  </a:lnTo>
                  <a:lnTo>
                    <a:pt x="240" y="708"/>
                  </a:lnTo>
                  <a:lnTo>
                    <a:pt x="234" y="708"/>
                  </a:lnTo>
                  <a:lnTo>
                    <a:pt x="228" y="708"/>
                  </a:lnTo>
                  <a:lnTo>
                    <a:pt x="222" y="702"/>
                  </a:lnTo>
                  <a:lnTo>
                    <a:pt x="216" y="702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2" y="690"/>
                  </a:lnTo>
                  <a:lnTo>
                    <a:pt x="186" y="690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68" y="684"/>
                  </a:lnTo>
                  <a:lnTo>
                    <a:pt x="168" y="678"/>
                  </a:lnTo>
                  <a:lnTo>
                    <a:pt x="156" y="672"/>
                  </a:lnTo>
                  <a:lnTo>
                    <a:pt x="150" y="660"/>
                  </a:lnTo>
                  <a:lnTo>
                    <a:pt x="126" y="630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12"/>
                  </a:lnTo>
                  <a:lnTo>
                    <a:pt x="126" y="606"/>
                  </a:lnTo>
                  <a:lnTo>
                    <a:pt x="126" y="600"/>
                  </a:lnTo>
                  <a:lnTo>
                    <a:pt x="132" y="594"/>
                  </a:lnTo>
                  <a:lnTo>
                    <a:pt x="138" y="594"/>
                  </a:lnTo>
                  <a:lnTo>
                    <a:pt x="144" y="588"/>
                  </a:lnTo>
                  <a:lnTo>
                    <a:pt x="144" y="582"/>
                  </a:lnTo>
                  <a:lnTo>
                    <a:pt x="150" y="582"/>
                  </a:lnTo>
                  <a:lnTo>
                    <a:pt x="150" y="576"/>
                  </a:lnTo>
                  <a:lnTo>
                    <a:pt x="156" y="576"/>
                  </a:lnTo>
                  <a:lnTo>
                    <a:pt x="156" y="582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8" y="576"/>
                  </a:lnTo>
                  <a:lnTo>
                    <a:pt x="174" y="576"/>
                  </a:lnTo>
                  <a:lnTo>
                    <a:pt x="180" y="582"/>
                  </a:lnTo>
                  <a:lnTo>
                    <a:pt x="192" y="582"/>
                  </a:lnTo>
                  <a:lnTo>
                    <a:pt x="198" y="582"/>
                  </a:lnTo>
                  <a:lnTo>
                    <a:pt x="204" y="582"/>
                  </a:lnTo>
                  <a:lnTo>
                    <a:pt x="210" y="582"/>
                  </a:lnTo>
                  <a:lnTo>
                    <a:pt x="216" y="588"/>
                  </a:lnTo>
                  <a:lnTo>
                    <a:pt x="222" y="588"/>
                  </a:lnTo>
                  <a:lnTo>
                    <a:pt x="234" y="588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46" y="594"/>
                  </a:lnTo>
                  <a:lnTo>
                    <a:pt x="252" y="588"/>
                  </a:lnTo>
                  <a:lnTo>
                    <a:pt x="258" y="588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52" y="600"/>
                  </a:lnTo>
                  <a:lnTo>
                    <a:pt x="246" y="600"/>
                  </a:lnTo>
                  <a:lnTo>
                    <a:pt x="246" y="606"/>
                  </a:lnTo>
                  <a:lnTo>
                    <a:pt x="246" y="600"/>
                  </a:lnTo>
                  <a:lnTo>
                    <a:pt x="252" y="600"/>
                  </a:lnTo>
                  <a:lnTo>
                    <a:pt x="258" y="594"/>
                  </a:lnTo>
                  <a:lnTo>
                    <a:pt x="264" y="594"/>
                  </a:lnTo>
                  <a:lnTo>
                    <a:pt x="264" y="588"/>
                  </a:lnTo>
                  <a:lnTo>
                    <a:pt x="270" y="588"/>
                  </a:lnTo>
                  <a:lnTo>
                    <a:pt x="270" y="582"/>
                  </a:lnTo>
                  <a:lnTo>
                    <a:pt x="270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76" y="564"/>
                  </a:lnTo>
                  <a:lnTo>
                    <a:pt x="270" y="558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58"/>
                  </a:lnTo>
                  <a:lnTo>
                    <a:pt x="282" y="558"/>
                  </a:lnTo>
                  <a:lnTo>
                    <a:pt x="288" y="558"/>
                  </a:lnTo>
                  <a:lnTo>
                    <a:pt x="294" y="558"/>
                  </a:lnTo>
                  <a:lnTo>
                    <a:pt x="300" y="558"/>
                  </a:lnTo>
                  <a:lnTo>
                    <a:pt x="306" y="558"/>
                  </a:lnTo>
                  <a:lnTo>
                    <a:pt x="312" y="558"/>
                  </a:lnTo>
                  <a:lnTo>
                    <a:pt x="318" y="558"/>
                  </a:lnTo>
                  <a:lnTo>
                    <a:pt x="318" y="564"/>
                  </a:lnTo>
                  <a:lnTo>
                    <a:pt x="324" y="564"/>
                  </a:lnTo>
                  <a:lnTo>
                    <a:pt x="324" y="570"/>
                  </a:lnTo>
                  <a:lnTo>
                    <a:pt x="330" y="570"/>
                  </a:lnTo>
                  <a:lnTo>
                    <a:pt x="336" y="570"/>
                  </a:lnTo>
                  <a:lnTo>
                    <a:pt x="342" y="570"/>
                  </a:lnTo>
                  <a:lnTo>
                    <a:pt x="348" y="570"/>
                  </a:lnTo>
                  <a:lnTo>
                    <a:pt x="354" y="570"/>
                  </a:lnTo>
                  <a:lnTo>
                    <a:pt x="360" y="570"/>
                  </a:lnTo>
                  <a:lnTo>
                    <a:pt x="366" y="570"/>
                  </a:lnTo>
                  <a:lnTo>
                    <a:pt x="360" y="570"/>
                  </a:lnTo>
                  <a:lnTo>
                    <a:pt x="360" y="564"/>
                  </a:lnTo>
                  <a:lnTo>
                    <a:pt x="354" y="564"/>
                  </a:lnTo>
                  <a:lnTo>
                    <a:pt x="348" y="564"/>
                  </a:lnTo>
                  <a:lnTo>
                    <a:pt x="342" y="564"/>
                  </a:lnTo>
                  <a:lnTo>
                    <a:pt x="342" y="570"/>
                  </a:lnTo>
                  <a:lnTo>
                    <a:pt x="336" y="564"/>
                  </a:lnTo>
                  <a:lnTo>
                    <a:pt x="336" y="570"/>
                  </a:lnTo>
                  <a:lnTo>
                    <a:pt x="336" y="564"/>
                  </a:lnTo>
                  <a:lnTo>
                    <a:pt x="330" y="564"/>
                  </a:lnTo>
                  <a:lnTo>
                    <a:pt x="324" y="558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18" y="558"/>
                  </a:lnTo>
                  <a:lnTo>
                    <a:pt x="312" y="552"/>
                  </a:lnTo>
                  <a:lnTo>
                    <a:pt x="312" y="558"/>
                  </a:lnTo>
                  <a:lnTo>
                    <a:pt x="312" y="552"/>
                  </a:lnTo>
                  <a:lnTo>
                    <a:pt x="306" y="552"/>
                  </a:lnTo>
                  <a:lnTo>
                    <a:pt x="300" y="546"/>
                  </a:lnTo>
                  <a:lnTo>
                    <a:pt x="294" y="546"/>
                  </a:lnTo>
                  <a:lnTo>
                    <a:pt x="288" y="546"/>
                  </a:lnTo>
                  <a:lnTo>
                    <a:pt x="282" y="546"/>
                  </a:lnTo>
                  <a:lnTo>
                    <a:pt x="276" y="546"/>
                  </a:lnTo>
                  <a:lnTo>
                    <a:pt x="276" y="552"/>
                  </a:lnTo>
                  <a:lnTo>
                    <a:pt x="270" y="552"/>
                  </a:lnTo>
                  <a:lnTo>
                    <a:pt x="270" y="558"/>
                  </a:lnTo>
                  <a:lnTo>
                    <a:pt x="270" y="564"/>
                  </a:lnTo>
                  <a:lnTo>
                    <a:pt x="264" y="570"/>
                  </a:lnTo>
                  <a:lnTo>
                    <a:pt x="258" y="576"/>
                  </a:lnTo>
                  <a:lnTo>
                    <a:pt x="258" y="582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34" y="576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16" y="552"/>
                  </a:lnTo>
                  <a:lnTo>
                    <a:pt x="216" y="546"/>
                  </a:lnTo>
                  <a:lnTo>
                    <a:pt x="216" y="540"/>
                  </a:lnTo>
                  <a:lnTo>
                    <a:pt x="222" y="534"/>
                  </a:lnTo>
                  <a:lnTo>
                    <a:pt x="222" y="528"/>
                  </a:lnTo>
                  <a:lnTo>
                    <a:pt x="228" y="522"/>
                  </a:lnTo>
                  <a:lnTo>
                    <a:pt x="228" y="516"/>
                  </a:lnTo>
                  <a:lnTo>
                    <a:pt x="228" y="510"/>
                  </a:lnTo>
                  <a:lnTo>
                    <a:pt x="234" y="510"/>
                  </a:lnTo>
                  <a:lnTo>
                    <a:pt x="240" y="516"/>
                  </a:lnTo>
                  <a:lnTo>
                    <a:pt x="246" y="522"/>
                  </a:lnTo>
                  <a:lnTo>
                    <a:pt x="246" y="516"/>
                  </a:lnTo>
                  <a:lnTo>
                    <a:pt x="240" y="516"/>
                  </a:lnTo>
                  <a:lnTo>
                    <a:pt x="240" y="510"/>
                  </a:lnTo>
                  <a:lnTo>
                    <a:pt x="234" y="510"/>
                  </a:lnTo>
                  <a:lnTo>
                    <a:pt x="234" y="504"/>
                  </a:lnTo>
                  <a:lnTo>
                    <a:pt x="228" y="504"/>
                  </a:lnTo>
                  <a:lnTo>
                    <a:pt x="222" y="504"/>
                  </a:lnTo>
                  <a:lnTo>
                    <a:pt x="222" y="498"/>
                  </a:lnTo>
                  <a:lnTo>
                    <a:pt x="222" y="504"/>
                  </a:lnTo>
                  <a:lnTo>
                    <a:pt x="222" y="510"/>
                  </a:lnTo>
                  <a:lnTo>
                    <a:pt x="222" y="516"/>
                  </a:lnTo>
                  <a:lnTo>
                    <a:pt x="216" y="522"/>
                  </a:lnTo>
                  <a:lnTo>
                    <a:pt x="216" y="528"/>
                  </a:lnTo>
                  <a:lnTo>
                    <a:pt x="210" y="528"/>
                  </a:lnTo>
                  <a:lnTo>
                    <a:pt x="216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04" y="546"/>
                  </a:lnTo>
                  <a:lnTo>
                    <a:pt x="204" y="552"/>
                  </a:lnTo>
                  <a:lnTo>
                    <a:pt x="204" y="558"/>
                  </a:lnTo>
                  <a:lnTo>
                    <a:pt x="204" y="564"/>
                  </a:lnTo>
                  <a:lnTo>
                    <a:pt x="198" y="570"/>
                  </a:lnTo>
                  <a:lnTo>
                    <a:pt x="192" y="564"/>
                  </a:lnTo>
                  <a:lnTo>
                    <a:pt x="186" y="564"/>
                  </a:lnTo>
                  <a:lnTo>
                    <a:pt x="180" y="564"/>
                  </a:lnTo>
                  <a:lnTo>
                    <a:pt x="174" y="564"/>
                  </a:lnTo>
                  <a:lnTo>
                    <a:pt x="168" y="564"/>
                  </a:lnTo>
                  <a:lnTo>
                    <a:pt x="162" y="564"/>
                  </a:lnTo>
                  <a:lnTo>
                    <a:pt x="156" y="570"/>
                  </a:lnTo>
                  <a:lnTo>
                    <a:pt x="150" y="570"/>
                  </a:lnTo>
                  <a:lnTo>
                    <a:pt x="150" y="564"/>
                  </a:lnTo>
                  <a:lnTo>
                    <a:pt x="150" y="570"/>
                  </a:lnTo>
                  <a:lnTo>
                    <a:pt x="150" y="576"/>
                  </a:lnTo>
                  <a:lnTo>
                    <a:pt x="144" y="576"/>
                  </a:lnTo>
                  <a:lnTo>
                    <a:pt x="138" y="576"/>
                  </a:lnTo>
                  <a:lnTo>
                    <a:pt x="132" y="582"/>
                  </a:lnTo>
                  <a:lnTo>
                    <a:pt x="126" y="582"/>
                  </a:lnTo>
                  <a:lnTo>
                    <a:pt x="120" y="582"/>
                  </a:lnTo>
                  <a:lnTo>
                    <a:pt x="114" y="576"/>
                  </a:lnTo>
                  <a:lnTo>
                    <a:pt x="108" y="564"/>
                  </a:lnTo>
                  <a:lnTo>
                    <a:pt x="102" y="558"/>
                  </a:lnTo>
                  <a:lnTo>
                    <a:pt x="96" y="552"/>
                  </a:lnTo>
                  <a:lnTo>
                    <a:pt x="90" y="546"/>
                  </a:lnTo>
                  <a:lnTo>
                    <a:pt x="90" y="540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2"/>
                  </a:lnTo>
                  <a:lnTo>
                    <a:pt x="78" y="516"/>
                  </a:lnTo>
                  <a:lnTo>
                    <a:pt x="72" y="510"/>
                  </a:lnTo>
                  <a:lnTo>
                    <a:pt x="66" y="504"/>
                  </a:lnTo>
                  <a:lnTo>
                    <a:pt x="66" y="498"/>
                  </a:lnTo>
                  <a:lnTo>
                    <a:pt x="66" y="492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6" y="474"/>
                  </a:lnTo>
                  <a:lnTo>
                    <a:pt x="72" y="474"/>
                  </a:lnTo>
                  <a:lnTo>
                    <a:pt x="72" y="468"/>
                  </a:lnTo>
                  <a:lnTo>
                    <a:pt x="78" y="462"/>
                  </a:lnTo>
                  <a:lnTo>
                    <a:pt x="78" y="456"/>
                  </a:lnTo>
                  <a:lnTo>
                    <a:pt x="84" y="456"/>
                  </a:lnTo>
                  <a:lnTo>
                    <a:pt x="84" y="450"/>
                  </a:lnTo>
                  <a:lnTo>
                    <a:pt x="84" y="444"/>
                  </a:lnTo>
                  <a:lnTo>
                    <a:pt x="90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02" y="450"/>
                  </a:lnTo>
                  <a:lnTo>
                    <a:pt x="108" y="450"/>
                  </a:lnTo>
                  <a:lnTo>
                    <a:pt x="108" y="456"/>
                  </a:lnTo>
                  <a:lnTo>
                    <a:pt x="108" y="462"/>
                  </a:lnTo>
                  <a:lnTo>
                    <a:pt x="114" y="462"/>
                  </a:lnTo>
                  <a:lnTo>
                    <a:pt x="114" y="468"/>
                  </a:lnTo>
                  <a:lnTo>
                    <a:pt x="114" y="474"/>
                  </a:lnTo>
                  <a:lnTo>
                    <a:pt x="114" y="480"/>
                  </a:lnTo>
                  <a:lnTo>
                    <a:pt x="114" y="486"/>
                  </a:lnTo>
                  <a:lnTo>
                    <a:pt x="120" y="486"/>
                  </a:lnTo>
                  <a:lnTo>
                    <a:pt x="126" y="486"/>
                  </a:lnTo>
                  <a:lnTo>
                    <a:pt x="132" y="486"/>
                  </a:lnTo>
                  <a:lnTo>
                    <a:pt x="126" y="480"/>
                  </a:lnTo>
                  <a:lnTo>
                    <a:pt x="120" y="480"/>
                  </a:lnTo>
                  <a:lnTo>
                    <a:pt x="114" y="480"/>
                  </a:lnTo>
                  <a:lnTo>
                    <a:pt x="120" y="480"/>
                  </a:lnTo>
                  <a:lnTo>
                    <a:pt x="120" y="474"/>
                  </a:lnTo>
                  <a:lnTo>
                    <a:pt x="120" y="468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108" y="450"/>
                  </a:lnTo>
                  <a:lnTo>
                    <a:pt x="108" y="444"/>
                  </a:lnTo>
                  <a:lnTo>
                    <a:pt x="114" y="438"/>
                  </a:lnTo>
                  <a:lnTo>
                    <a:pt x="120" y="438"/>
                  </a:lnTo>
                  <a:lnTo>
                    <a:pt x="120" y="432"/>
                  </a:lnTo>
                  <a:lnTo>
                    <a:pt x="132" y="426"/>
                  </a:lnTo>
                  <a:lnTo>
                    <a:pt x="138" y="420"/>
                  </a:lnTo>
                  <a:lnTo>
                    <a:pt x="144" y="420"/>
                  </a:lnTo>
                  <a:lnTo>
                    <a:pt x="144" y="414"/>
                  </a:lnTo>
                  <a:lnTo>
                    <a:pt x="144" y="420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6" y="414"/>
                  </a:lnTo>
                  <a:lnTo>
                    <a:pt x="162" y="414"/>
                  </a:lnTo>
                  <a:lnTo>
                    <a:pt x="162" y="408"/>
                  </a:lnTo>
                  <a:lnTo>
                    <a:pt x="168" y="408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86" y="396"/>
                  </a:lnTo>
                  <a:lnTo>
                    <a:pt x="186" y="390"/>
                  </a:lnTo>
                  <a:lnTo>
                    <a:pt x="192" y="390"/>
                  </a:lnTo>
                  <a:lnTo>
                    <a:pt x="198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210" y="378"/>
                  </a:lnTo>
                  <a:lnTo>
                    <a:pt x="210" y="372"/>
                  </a:lnTo>
                  <a:lnTo>
                    <a:pt x="216" y="372"/>
                  </a:lnTo>
                  <a:lnTo>
                    <a:pt x="222" y="366"/>
                  </a:lnTo>
                  <a:lnTo>
                    <a:pt x="228" y="360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6" y="348"/>
                  </a:lnTo>
                  <a:lnTo>
                    <a:pt x="252" y="348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0" y="342"/>
                  </a:lnTo>
                  <a:lnTo>
                    <a:pt x="234" y="342"/>
                  </a:lnTo>
                  <a:lnTo>
                    <a:pt x="228" y="336"/>
                  </a:lnTo>
                  <a:lnTo>
                    <a:pt x="222" y="336"/>
                  </a:lnTo>
                  <a:lnTo>
                    <a:pt x="216" y="336"/>
                  </a:lnTo>
                  <a:lnTo>
                    <a:pt x="222" y="324"/>
                  </a:lnTo>
                  <a:lnTo>
                    <a:pt x="222" y="318"/>
                  </a:lnTo>
                  <a:lnTo>
                    <a:pt x="222" y="312"/>
                  </a:lnTo>
                  <a:lnTo>
                    <a:pt x="234" y="318"/>
                  </a:lnTo>
                  <a:lnTo>
                    <a:pt x="246" y="318"/>
                  </a:lnTo>
                  <a:lnTo>
                    <a:pt x="258" y="318"/>
                  </a:lnTo>
                  <a:lnTo>
                    <a:pt x="270" y="312"/>
                  </a:lnTo>
                  <a:lnTo>
                    <a:pt x="276" y="312"/>
                  </a:lnTo>
                  <a:lnTo>
                    <a:pt x="288" y="324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94" y="306"/>
                  </a:lnTo>
                  <a:lnTo>
                    <a:pt x="300" y="300"/>
                  </a:lnTo>
                  <a:lnTo>
                    <a:pt x="306" y="306"/>
                  </a:lnTo>
                  <a:lnTo>
                    <a:pt x="312" y="318"/>
                  </a:lnTo>
                  <a:lnTo>
                    <a:pt x="318" y="312"/>
                  </a:lnTo>
                  <a:lnTo>
                    <a:pt x="324" y="312"/>
                  </a:lnTo>
                  <a:lnTo>
                    <a:pt x="330" y="312"/>
                  </a:lnTo>
                  <a:lnTo>
                    <a:pt x="342" y="306"/>
                  </a:lnTo>
                  <a:lnTo>
                    <a:pt x="348" y="306"/>
                  </a:lnTo>
                  <a:lnTo>
                    <a:pt x="348" y="312"/>
                  </a:lnTo>
                  <a:lnTo>
                    <a:pt x="348" y="318"/>
                  </a:lnTo>
                  <a:lnTo>
                    <a:pt x="354" y="318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60" y="336"/>
                  </a:lnTo>
                  <a:lnTo>
                    <a:pt x="366" y="330"/>
                  </a:lnTo>
                  <a:lnTo>
                    <a:pt x="378" y="324"/>
                  </a:lnTo>
                  <a:lnTo>
                    <a:pt x="384" y="324"/>
                  </a:lnTo>
                  <a:lnTo>
                    <a:pt x="384" y="318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6"/>
                  </a:lnTo>
                  <a:lnTo>
                    <a:pt x="402" y="306"/>
                  </a:lnTo>
                  <a:lnTo>
                    <a:pt x="408" y="306"/>
                  </a:lnTo>
                  <a:lnTo>
                    <a:pt x="414" y="300"/>
                  </a:lnTo>
                  <a:lnTo>
                    <a:pt x="420" y="300"/>
                  </a:lnTo>
                  <a:lnTo>
                    <a:pt x="426" y="300"/>
                  </a:lnTo>
                  <a:lnTo>
                    <a:pt x="432" y="300"/>
                  </a:lnTo>
                  <a:lnTo>
                    <a:pt x="444" y="288"/>
                  </a:lnTo>
                  <a:lnTo>
                    <a:pt x="450" y="294"/>
                  </a:lnTo>
                  <a:lnTo>
                    <a:pt x="468" y="300"/>
                  </a:lnTo>
                  <a:lnTo>
                    <a:pt x="498" y="312"/>
                  </a:lnTo>
                  <a:lnTo>
                    <a:pt x="504" y="324"/>
                  </a:lnTo>
                  <a:lnTo>
                    <a:pt x="516" y="330"/>
                  </a:lnTo>
                  <a:lnTo>
                    <a:pt x="516" y="336"/>
                  </a:lnTo>
                  <a:lnTo>
                    <a:pt x="540" y="342"/>
                  </a:lnTo>
                  <a:lnTo>
                    <a:pt x="558" y="372"/>
                  </a:lnTo>
                  <a:lnTo>
                    <a:pt x="594" y="384"/>
                  </a:lnTo>
                  <a:lnTo>
                    <a:pt x="606" y="402"/>
                  </a:lnTo>
                  <a:lnTo>
                    <a:pt x="600" y="420"/>
                  </a:lnTo>
                  <a:lnTo>
                    <a:pt x="588" y="444"/>
                  </a:lnTo>
                  <a:lnTo>
                    <a:pt x="588" y="450"/>
                  </a:lnTo>
                  <a:lnTo>
                    <a:pt x="588" y="456"/>
                  </a:lnTo>
                  <a:lnTo>
                    <a:pt x="594" y="456"/>
                  </a:lnTo>
                  <a:lnTo>
                    <a:pt x="594" y="462"/>
                  </a:lnTo>
                  <a:lnTo>
                    <a:pt x="594" y="468"/>
                  </a:lnTo>
                  <a:lnTo>
                    <a:pt x="594" y="474"/>
                  </a:lnTo>
                  <a:lnTo>
                    <a:pt x="600" y="474"/>
                  </a:lnTo>
                  <a:lnTo>
                    <a:pt x="606" y="480"/>
                  </a:lnTo>
                  <a:lnTo>
                    <a:pt x="606" y="486"/>
                  </a:lnTo>
                  <a:lnTo>
                    <a:pt x="612" y="486"/>
                  </a:lnTo>
                  <a:lnTo>
                    <a:pt x="618" y="486"/>
                  </a:lnTo>
                  <a:lnTo>
                    <a:pt x="624" y="486"/>
                  </a:lnTo>
                  <a:lnTo>
                    <a:pt x="636" y="486"/>
                  </a:lnTo>
                  <a:lnTo>
                    <a:pt x="642" y="486"/>
                  </a:lnTo>
                  <a:lnTo>
                    <a:pt x="648" y="480"/>
                  </a:lnTo>
                  <a:lnTo>
                    <a:pt x="654" y="474"/>
                  </a:lnTo>
                  <a:lnTo>
                    <a:pt x="660" y="468"/>
                  </a:lnTo>
                  <a:lnTo>
                    <a:pt x="666" y="468"/>
                  </a:lnTo>
                  <a:lnTo>
                    <a:pt x="684" y="468"/>
                  </a:lnTo>
                  <a:lnTo>
                    <a:pt x="696" y="468"/>
                  </a:lnTo>
                  <a:lnTo>
                    <a:pt x="696" y="462"/>
                  </a:lnTo>
                  <a:lnTo>
                    <a:pt x="702" y="456"/>
                  </a:lnTo>
                  <a:lnTo>
                    <a:pt x="708" y="450"/>
                  </a:lnTo>
                  <a:lnTo>
                    <a:pt x="714" y="450"/>
                  </a:lnTo>
                  <a:lnTo>
                    <a:pt x="720" y="450"/>
                  </a:lnTo>
                  <a:lnTo>
                    <a:pt x="720" y="438"/>
                  </a:lnTo>
                  <a:lnTo>
                    <a:pt x="726" y="432"/>
                  </a:lnTo>
                  <a:lnTo>
                    <a:pt x="738" y="420"/>
                  </a:lnTo>
                  <a:lnTo>
                    <a:pt x="744" y="420"/>
                  </a:lnTo>
                  <a:lnTo>
                    <a:pt x="750" y="414"/>
                  </a:lnTo>
                  <a:lnTo>
                    <a:pt x="762" y="408"/>
                  </a:lnTo>
                  <a:lnTo>
                    <a:pt x="768" y="408"/>
                  </a:lnTo>
                  <a:lnTo>
                    <a:pt x="768" y="402"/>
                  </a:lnTo>
                  <a:lnTo>
                    <a:pt x="780" y="396"/>
                  </a:lnTo>
                  <a:lnTo>
                    <a:pt x="786" y="396"/>
                  </a:lnTo>
                  <a:lnTo>
                    <a:pt x="786" y="390"/>
                  </a:lnTo>
                  <a:lnTo>
                    <a:pt x="792" y="384"/>
                  </a:lnTo>
                  <a:lnTo>
                    <a:pt x="792" y="378"/>
                  </a:lnTo>
                  <a:lnTo>
                    <a:pt x="798" y="366"/>
                  </a:lnTo>
                  <a:lnTo>
                    <a:pt x="804" y="360"/>
                  </a:lnTo>
                  <a:lnTo>
                    <a:pt x="816" y="342"/>
                  </a:lnTo>
                  <a:lnTo>
                    <a:pt x="816" y="312"/>
                  </a:lnTo>
                  <a:lnTo>
                    <a:pt x="804" y="300"/>
                  </a:lnTo>
                  <a:lnTo>
                    <a:pt x="798" y="288"/>
                  </a:lnTo>
                  <a:lnTo>
                    <a:pt x="762" y="264"/>
                  </a:lnTo>
                  <a:lnTo>
                    <a:pt x="738" y="234"/>
                  </a:lnTo>
                  <a:lnTo>
                    <a:pt x="738" y="222"/>
                  </a:lnTo>
                  <a:lnTo>
                    <a:pt x="744" y="210"/>
                  </a:lnTo>
                  <a:lnTo>
                    <a:pt x="732" y="174"/>
                  </a:lnTo>
                  <a:lnTo>
                    <a:pt x="714" y="156"/>
                  </a:lnTo>
                  <a:lnTo>
                    <a:pt x="708" y="144"/>
                  </a:lnTo>
                  <a:lnTo>
                    <a:pt x="714" y="126"/>
                  </a:lnTo>
                  <a:lnTo>
                    <a:pt x="720" y="114"/>
                  </a:lnTo>
                  <a:lnTo>
                    <a:pt x="732" y="102"/>
                  </a:lnTo>
                  <a:lnTo>
                    <a:pt x="744" y="102"/>
                  </a:lnTo>
                  <a:lnTo>
                    <a:pt x="762" y="108"/>
                  </a:lnTo>
                  <a:lnTo>
                    <a:pt x="774" y="114"/>
                  </a:lnTo>
                  <a:lnTo>
                    <a:pt x="780" y="138"/>
                  </a:lnTo>
                  <a:lnTo>
                    <a:pt x="786" y="144"/>
                  </a:lnTo>
                  <a:lnTo>
                    <a:pt x="798" y="138"/>
                  </a:lnTo>
                  <a:lnTo>
                    <a:pt x="804" y="132"/>
                  </a:lnTo>
                  <a:lnTo>
                    <a:pt x="816" y="120"/>
                  </a:lnTo>
                  <a:lnTo>
                    <a:pt x="816" y="108"/>
                  </a:lnTo>
                  <a:lnTo>
                    <a:pt x="828" y="102"/>
                  </a:lnTo>
                  <a:lnTo>
                    <a:pt x="828" y="96"/>
                  </a:lnTo>
                  <a:lnTo>
                    <a:pt x="840" y="96"/>
                  </a:lnTo>
                  <a:lnTo>
                    <a:pt x="840" y="84"/>
                  </a:lnTo>
                  <a:lnTo>
                    <a:pt x="852" y="90"/>
                  </a:lnTo>
                  <a:lnTo>
                    <a:pt x="852" y="96"/>
                  </a:lnTo>
                  <a:lnTo>
                    <a:pt x="870" y="90"/>
                  </a:lnTo>
                  <a:lnTo>
                    <a:pt x="894" y="78"/>
                  </a:lnTo>
                  <a:lnTo>
                    <a:pt x="912" y="78"/>
                  </a:lnTo>
                  <a:lnTo>
                    <a:pt x="942" y="66"/>
                  </a:lnTo>
                  <a:lnTo>
                    <a:pt x="942" y="60"/>
                  </a:lnTo>
                  <a:lnTo>
                    <a:pt x="954" y="48"/>
                  </a:lnTo>
                  <a:lnTo>
                    <a:pt x="966" y="30"/>
                  </a:lnTo>
                  <a:lnTo>
                    <a:pt x="978" y="30"/>
                  </a:lnTo>
                  <a:lnTo>
                    <a:pt x="978" y="24"/>
                  </a:lnTo>
                  <a:lnTo>
                    <a:pt x="984" y="12"/>
                  </a:lnTo>
                  <a:lnTo>
                    <a:pt x="990" y="12"/>
                  </a:lnTo>
                  <a:lnTo>
                    <a:pt x="996" y="12"/>
                  </a:lnTo>
                  <a:lnTo>
                    <a:pt x="1014" y="6"/>
                  </a:lnTo>
                  <a:lnTo>
                    <a:pt x="1026" y="6"/>
                  </a:lnTo>
                  <a:lnTo>
                    <a:pt x="1044" y="6"/>
                  </a:lnTo>
                  <a:lnTo>
                    <a:pt x="1050" y="6"/>
                  </a:lnTo>
                  <a:lnTo>
                    <a:pt x="1056" y="6"/>
                  </a:lnTo>
                  <a:lnTo>
                    <a:pt x="1062" y="6"/>
                  </a:lnTo>
                  <a:lnTo>
                    <a:pt x="1068" y="6"/>
                  </a:lnTo>
                  <a:lnTo>
                    <a:pt x="1074" y="6"/>
                  </a:lnTo>
                  <a:lnTo>
                    <a:pt x="1080" y="6"/>
                  </a:lnTo>
                  <a:lnTo>
                    <a:pt x="1086" y="0"/>
                  </a:lnTo>
                  <a:lnTo>
                    <a:pt x="1092" y="30"/>
                  </a:lnTo>
                  <a:lnTo>
                    <a:pt x="1098" y="60"/>
                  </a:lnTo>
                  <a:lnTo>
                    <a:pt x="1110" y="84"/>
                  </a:lnTo>
                  <a:lnTo>
                    <a:pt x="1122" y="114"/>
                  </a:lnTo>
                  <a:lnTo>
                    <a:pt x="1128" y="144"/>
                  </a:lnTo>
                  <a:lnTo>
                    <a:pt x="1122" y="156"/>
                  </a:lnTo>
                  <a:lnTo>
                    <a:pt x="1128" y="168"/>
                  </a:lnTo>
                  <a:lnTo>
                    <a:pt x="1134" y="186"/>
                  </a:lnTo>
                  <a:lnTo>
                    <a:pt x="1140" y="204"/>
                  </a:lnTo>
                  <a:lnTo>
                    <a:pt x="1146" y="210"/>
                  </a:lnTo>
                  <a:lnTo>
                    <a:pt x="1146" y="216"/>
                  </a:lnTo>
                  <a:lnTo>
                    <a:pt x="1146" y="228"/>
                  </a:lnTo>
                  <a:lnTo>
                    <a:pt x="1146" y="234"/>
                  </a:lnTo>
                  <a:lnTo>
                    <a:pt x="1140" y="246"/>
                  </a:lnTo>
                  <a:lnTo>
                    <a:pt x="1128" y="258"/>
                  </a:lnTo>
                  <a:lnTo>
                    <a:pt x="1116" y="264"/>
                  </a:lnTo>
                  <a:lnTo>
                    <a:pt x="1110" y="276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2" y="312"/>
                  </a:lnTo>
                  <a:lnTo>
                    <a:pt x="1116" y="324"/>
                  </a:lnTo>
                  <a:lnTo>
                    <a:pt x="1104" y="336"/>
                  </a:lnTo>
                  <a:lnTo>
                    <a:pt x="1104" y="354"/>
                  </a:lnTo>
                  <a:lnTo>
                    <a:pt x="1098" y="372"/>
                  </a:lnTo>
                  <a:lnTo>
                    <a:pt x="1092" y="384"/>
                  </a:lnTo>
                  <a:lnTo>
                    <a:pt x="1086" y="390"/>
                  </a:lnTo>
                  <a:lnTo>
                    <a:pt x="1086" y="402"/>
                  </a:lnTo>
                  <a:lnTo>
                    <a:pt x="1080" y="414"/>
                  </a:lnTo>
                  <a:lnTo>
                    <a:pt x="1074" y="426"/>
                  </a:lnTo>
                  <a:lnTo>
                    <a:pt x="1074" y="450"/>
                  </a:lnTo>
                  <a:lnTo>
                    <a:pt x="1074" y="462"/>
                  </a:lnTo>
                  <a:lnTo>
                    <a:pt x="1068" y="474"/>
                  </a:lnTo>
                  <a:lnTo>
                    <a:pt x="1062" y="486"/>
                  </a:lnTo>
                  <a:lnTo>
                    <a:pt x="1056" y="498"/>
                  </a:lnTo>
                  <a:close/>
                  <a:moveTo>
                    <a:pt x="186" y="378"/>
                  </a:moveTo>
                  <a:lnTo>
                    <a:pt x="186" y="384"/>
                  </a:lnTo>
                  <a:lnTo>
                    <a:pt x="180" y="390"/>
                  </a:lnTo>
                  <a:lnTo>
                    <a:pt x="174" y="396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14"/>
                  </a:lnTo>
                  <a:lnTo>
                    <a:pt x="126" y="414"/>
                  </a:lnTo>
                  <a:lnTo>
                    <a:pt x="120" y="414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2" y="426"/>
                  </a:lnTo>
                  <a:lnTo>
                    <a:pt x="102" y="432"/>
                  </a:lnTo>
                  <a:lnTo>
                    <a:pt x="96" y="432"/>
                  </a:lnTo>
                  <a:lnTo>
                    <a:pt x="90" y="432"/>
                  </a:lnTo>
                  <a:lnTo>
                    <a:pt x="84" y="438"/>
                  </a:lnTo>
                  <a:lnTo>
                    <a:pt x="78" y="438"/>
                  </a:lnTo>
                  <a:lnTo>
                    <a:pt x="78" y="444"/>
                  </a:lnTo>
                  <a:lnTo>
                    <a:pt x="72" y="444"/>
                  </a:lnTo>
                  <a:lnTo>
                    <a:pt x="72" y="450"/>
                  </a:lnTo>
                  <a:lnTo>
                    <a:pt x="66" y="456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48" y="468"/>
                  </a:lnTo>
                  <a:lnTo>
                    <a:pt x="42" y="468"/>
                  </a:lnTo>
                  <a:lnTo>
                    <a:pt x="42" y="462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8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0" y="396"/>
                  </a:lnTo>
                  <a:lnTo>
                    <a:pt x="6" y="384"/>
                  </a:lnTo>
                  <a:lnTo>
                    <a:pt x="18" y="372"/>
                  </a:lnTo>
                  <a:lnTo>
                    <a:pt x="30" y="348"/>
                  </a:lnTo>
                  <a:lnTo>
                    <a:pt x="30" y="342"/>
                  </a:lnTo>
                  <a:lnTo>
                    <a:pt x="42" y="330"/>
                  </a:lnTo>
                  <a:lnTo>
                    <a:pt x="42" y="324"/>
                  </a:lnTo>
                  <a:lnTo>
                    <a:pt x="48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60" y="282"/>
                  </a:lnTo>
                  <a:lnTo>
                    <a:pt x="60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2" y="258"/>
                  </a:lnTo>
                  <a:lnTo>
                    <a:pt x="84" y="246"/>
                  </a:lnTo>
                  <a:lnTo>
                    <a:pt x="90" y="234"/>
                  </a:lnTo>
                  <a:lnTo>
                    <a:pt x="96" y="234"/>
                  </a:lnTo>
                  <a:lnTo>
                    <a:pt x="96" y="228"/>
                  </a:lnTo>
                  <a:lnTo>
                    <a:pt x="102" y="222"/>
                  </a:lnTo>
                  <a:lnTo>
                    <a:pt x="102" y="228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14" y="228"/>
                  </a:lnTo>
                  <a:lnTo>
                    <a:pt x="114" y="234"/>
                  </a:lnTo>
                  <a:lnTo>
                    <a:pt x="120" y="228"/>
                  </a:lnTo>
                  <a:lnTo>
                    <a:pt x="120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26" y="228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8" y="234"/>
                  </a:lnTo>
                  <a:lnTo>
                    <a:pt x="144" y="234"/>
                  </a:lnTo>
                  <a:lnTo>
                    <a:pt x="144" y="228"/>
                  </a:lnTo>
                  <a:lnTo>
                    <a:pt x="150" y="228"/>
                  </a:lnTo>
                  <a:lnTo>
                    <a:pt x="156" y="228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46"/>
                  </a:lnTo>
                  <a:lnTo>
                    <a:pt x="162" y="240"/>
                  </a:lnTo>
                  <a:lnTo>
                    <a:pt x="162" y="246"/>
                  </a:lnTo>
                  <a:lnTo>
                    <a:pt x="162" y="258"/>
                  </a:lnTo>
                  <a:lnTo>
                    <a:pt x="162" y="264"/>
                  </a:lnTo>
                  <a:lnTo>
                    <a:pt x="156" y="270"/>
                  </a:lnTo>
                  <a:lnTo>
                    <a:pt x="162" y="270"/>
                  </a:lnTo>
                  <a:lnTo>
                    <a:pt x="162" y="282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86" y="288"/>
                  </a:lnTo>
                  <a:lnTo>
                    <a:pt x="186" y="294"/>
                  </a:lnTo>
                  <a:lnTo>
                    <a:pt x="180" y="300"/>
                  </a:lnTo>
                  <a:lnTo>
                    <a:pt x="174" y="318"/>
                  </a:lnTo>
                  <a:lnTo>
                    <a:pt x="174" y="324"/>
                  </a:lnTo>
                  <a:lnTo>
                    <a:pt x="168" y="330"/>
                  </a:lnTo>
                  <a:lnTo>
                    <a:pt x="168" y="342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74" y="360"/>
                  </a:lnTo>
                  <a:lnTo>
                    <a:pt x="180" y="366"/>
                  </a:lnTo>
                  <a:lnTo>
                    <a:pt x="186" y="3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8" name="Freeform 23">
              <a:extLst>
                <a:ext uri="{FF2B5EF4-FFF2-40B4-BE49-F238E27FC236}">
                  <a16:creationId xmlns:a16="http://schemas.microsoft.com/office/drawing/2014/main" id="{A539A33E-3F6E-4AF7-BD88-1853165307F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6312" y="3604793"/>
              <a:ext cx="581410" cy="621747"/>
            </a:xfrm>
            <a:custGeom>
              <a:avLst/>
              <a:gdLst>
                <a:gd name="T0" fmla="*/ 90 w 1092"/>
                <a:gd name="T1" fmla="*/ 60 h 1170"/>
                <a:gd name="T2" fmla="*/ 83 w 1092"/>
                <a:gd name="T3" fmla="*/ 62 h 1170"/>
                <a:gd name="T4" fmla="*/ 72 w 1092"/>
                <a:gd name="T5" fmla="*/ 68 h 1170"/>
                <a:gd name="T6" fmla="*/ 68 w 1092"/>
                <a:gd name="T7" fmla="*/ 71 h 1170"/>
                <a:gd name="T8" fmla="*/ 61 w 1092"/>
                <a:gd name="T9" fmla="*/ 69 h 1170"/>
                <a:gd name="T10" fmla="*/ 64 w 1092"/>
                <a:gd name="T11" fmla="*/ 82 h 1170"/>
                <a:gd name="T12" fmla="*/ 67 w 1092"/>
                <a:gd name="T13" fmla="*/ 93 h 1170"/>
                <a:gd name="T14" fmla="*/ 62 w 1092"/>
                <a:gd name="T15" fmla="*/ 96 h 1170"/>
                <a:gd name="T16" fmla="*/ 59 w 1092"/>
                <a:gd name="T17" fmla="*/ 99 h 1170"/>
                <a:gd name="T18" fmla="*/ 53 w 1092"/>
                <a:gd name="T19" fmla="*/ 101 h 1170"/>
                <a:gd name="T20" fmla="*/ 50 w 1092"/>
                <a:gd name="T21" fmla="*/ 100 h 1170"/>
                <a:gd name="T22" fmla="*/ 50 w 1092"/>
                <a:gd name="T23" fmla="*/ 93 h 1170"/>
                <a:gd name="T24" fmla="*/ 37 w 1092"/>
                <a:gd name="T25" fmla="*/ 85 h 1170"/>
                <a:gd name="T26" fmla="*/ 32 w 1092"/>
                <a:gd name="T27" fmla="*/ 86 h 1170"/>
                <a:gd name="T28" fmla="*/ 29 w 1092"/>
                <a:gd name="T29" fmla="*/ 88 h 1170"/>
                <a:gd name="T30" fmla="*/ 27 w 1092"/>
                <a:gd name="T31" fmla="*/ 86 h 1170"/>
                <a:gd name="T32" fmla="*/ 23 w 1092"/>
                <a:gd name="T33" fmla="*/ 87 h 1170"/>
                <a:gd name="T34" fmla="*/ 17 w 1092"/>
                <a:gd name="T35" fmla="*/ 87 h 1170"/>
                <a:gd name="T36" fmla="*/ 18 w 1092"/>
                <a:gd name="T37" fmla="*/ 89 h 1170"/>
                <a:gd name="T38" fmla="*/ 16 w 1092"/>
                <a:gd name="T39" fmla="*/ 92 h 1170"/>
                <a:gd name="T40" fmla="*/ 12 w 1092"/>
                <a:gd name="T41" fmla="*/ 89 h 1170"/>
                <a:gd name="T42" fmla="*/ 13 w 1092"/>
                <a:gd name="T43" fmla="*/ 84 h 1170"/>
                <a:gd name="T44" fmla="*/ 12 w 1092"/>
                <a:gd name="T45" fmla="*/ 80 h 1170"/>
                <a:gd name="T46" fmla="*/ 10 w 1092"/>
                <a:gd name="T47" fmla="*/ 80 h 1170"/>
                <a:gd name="T48" fmla="*/ 8 w 1092"/>
                <a:gd name="T49" fmla="*/ 79 h 1170"/>
                <a:gd name="T50" fmla="*/ 6 w 1092"/>
                <a:gd name="T51" fmla="*/ 78 h 1170"/>
                <a:gd name="T52" fmla="*/ 6 w 1092"/>
                <a:gd name="T53" fmla="*/ 77 h 1170"/>
                <a:gd name="T54" fmla="*/ 4 w 1092"/>
                <a:gd name="T55" fmla="*/ 75 h 1170"/>
                <a:gd name="T56" fmla="*/ 0 w 1092"/>
                <a:gd name="T57" fmla="*/ 72 h 1170"/>
                <a:gd name="T58" fmla="*/ 0 w 1092"/>
                <a:gd name="T59" fmla="*/ 69 h 1170"/>
                <a:gd name="T60" fmla="*/ 3 w 1092"/>
                <a:gd name="T61" fmla="*/ 67 h 1170"/>
                <a:gd name="T62" fmla="*/ 6 w 1092"/>
                <a:gd name="T63" fmla="*/ 62 h 1170"/>
                <a:gd name="T64" fmla="*/ 8 w 1092"/>
                <a:gd name="T65" fmla="*/ 58 h 1170"/>
                <a:gd name="T66" fmla="*/ 5 w 1092"/>
                <a:gd name="T67" fmla="*/ 54 h 1170"/>
                <a:gd name="T68" fmla="*/ 6 w 1092"/>
                <a:gd name="T69" fmla="*/ 50 h 1170"/>
                <a:gd name="T70" fmla="*/ 8 w 1092"/>
                <a:gd name="T71" fmla="*/ 46 h 1170"/>
                <a:gd name="T72" fmla="*/ 10 w 1092"/>
                <a:gd name="T73" fmla="*/ 43 h 1170"/>
                <a:gd name="T74" fmla="*/ 14 w 1092"/>
                <a:gd name="T75" fmla="*/ 38 h 1170"/>
                <a:gd name="T76" fmla="*/ 31 w 1092"/>
                <a:gd name="T77" fmla="*/ 40 h 1170"/>
                <a:gd name="T78" fmla="*/ 30 w 1092"/>
                <a:gd name="T79" fmla="*/ 46 h 1170"/>
                <a:gd name="T80" fmla="*/ 36 w 1092"/>
                <a:gd name="T81" fmla="*/ 47 h 1170"/>
                <a:gd name="T82" fmla="*/ 41 w 1092"/>
                <a:gd name="T83" fmla="*/ 44 h 1170"/>
                <a:gd name="T84" fmla="*/ 43 w 1092"/>
                <a:gd name="T85" fmla="*/ 39 h 1170"/>
                <a:gd name="T86" fmla="*/ 44 w 1092"/>
                <a:gd name="T87" fmla="*/ 35 h 1170"/>
                <a:gd name="T88" fmla="*/ 44 w 1092"/>
                <a:gd name="T89" fmla="*/ 29 h 1170"/>
                <a:gd name="T90" fmla="*/ 48 w 1092"/>
                <a:gd name="T91" fmla="*/ 24 h 1170"/>
                <a:gd name="T92" fmla="*/ 49 w 1092"/>
                <a:gd name="T93" fmla="*/ 19 h 1170"/>
                <a:gd name="T94" fmla="*/ 51 w 1092"/>
                <a:gd name="T95" fmla="*/ 14 h 1170"/>
                <a:gd name="T96" fmla="*/ 54 w 1092"/>
                <a:gd name="T97" fmla="*/ 10 h 1170"/>
                <a:gd name="T98" fmla="*/ 53 w 1092"/>
                <a:gd name="T99" fmla="*/ 7 h 1170"/>
                <a:gd name="T100" fmla="*/ 55 w 1092"/>
                <a:gd name="T101" fmla="*/ 3 h 1170"/>
                <a:gd name="T102" fmla="*/ 58 w 1092"/>
                <a:gd name="T103" fmla="*/ 0 h 1170"/>
                <a:gd name="T104" fmla="*/ 65 w 1092"/>
                <a:gd name="T105" fmla="*/ 2 h 1170"/>
                <a:gd name="T106" fmla="*/ 61 w 1092"/>
                <a:gd name="T107" fmla="*/ 6 h 1170"/>
                <a:gd name="T108" fmla="*/ 67 w 1092"/>
                <a:gd name="T109" fmla="*/ 7 h 1170"/>
                <a:gd name="T110" fmla="*/ 71 w 1092"/>
                <a:gd name="T111" fmla="*/ 6 h 1170"/>
                <a:gd name="T112" fmla="*/ 75 w 1092"/>
                <a:gd name="T113" fmla="*/ 9 h 1170"/>
                <a:gd name="T114" fmla="*/ 82 w 1092"/>
                <a:gd name="T115" fmla="*/ 12 h 1170"/>
                <a:gd name="T116" fmla="*/ 84 w 1092"/>
                <a:gd name="T117" fmla="*/ 17 h 1170"/>
                <a:gd name="T118" fmla="*/ 94 w 1092"/>
                <a:gd name="T119" fmla="*/ 23 h 1170"/>
                <a:gd name="T120" fmla="*/ 94 w 1092"/>
                <a:gd name="T121" fmla="*/ 34 h 1170"/>
                <a:gd name="T122" fmla="*/ 90 w 1092"/>
                <a:gd name="T123" fmla="*/ 41 h 1170"/>
                <a:gd name="T124" fmla="*/ 91 w 1092"/>
                <a:gd name="T125" fmla="*/ 51 h 11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92"/>
                <a:gd name="T190" fmla="*/ 0 h 1170"/>
                <a:gd name="T191" fmla="*/ 1092 w 1092"/>
                <a:gd name="T192" fmla="*/ 1170 h 117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92" h="1170">
                  <a:moveTo>
                    <a:pt x="1056" y="654"/>
                  </a:moveTo>
                  <a:lnTo>
                    <a:pt x="1062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0"/>
                  </a:lnTo>
                  <a:lnTo>
                    <a:pt x="1038" y="690"/>
                  </a:lnTo>
                  <a:lnTo>
                    <a:pt x="1032" y="690"/>
                  </a:lnTo>
                  <a:lnTo>
                    <a:pt x="1026" y="690"/>
                  </a:lnTo>
                  <a:lnTo>
                    <a:pt x="1020" y="690"/>
                  </a:lnTo>
                  <a:lnTo>
                    <a:pt x="1002" y="690"/>
                  </a:lnTo>
                  <a:lnTo>
                    <a:pt x="990" y="690"/>
                  </a:lnTo>
                  <a:lnTo>
                    <a:pt x="972" y="696"/>
                  </a:lnTo>
                  <a:lnTo>
                    <a:pt x="966" y="696"/>
                  </a:lnTo>
                  <a:lnTo>
                    <a:pt x="960" y="696"/>
                  </a:lnTo>
                  <a:lnTo>
                    <a:pt x="954" y="708"/>
                  </a:lnTo>
                  <a:lnTo>
                    <a:pt x="954" y="714"/>
                  </a:lnTo>
                  <a:lnTo>
                    <a:pt x="942" y="714"/>
                  </a:lnTo>
                  <a:lnTo>
                    <a:pt x="930" y="732"/>
                  </a:lnTo>
                  <a:lnTo>
                    <a:pt x="918" y="744"/>
                  </a:lnTo>
                  <a:lnTo>
                    <a:pt x="918" y="750"/>
                  </a:lnTo>
                  <a:lnTo>
                    <a:pt x="888" y="762"/>
                  </a:lnTo>
                  <a:lnTo>
                    <a:pt x="870" y="762"/>
                  </a:lnTo>
                  <a:lnTo>
                    <a:pt x="846" y="774"/>
                  </a:lnTo>
                  <a:lnTo>
                    <a:pt x="828" y="780"/>
                  </a:lnTo>
                  <a:lnTo>
                    <a:pt x="828" y="774"/>
                  </a:lnTo>
                  <a:lnTo>
                    <a:pt x="816" y="768"/>
                  </a:lnTo>
                  <a:lnTo>
                    <a:pt x="816" y="780"/>
                  </a:lnTo>
                  <a:lnTo>
                    <a:pt x="804" y="780"/>
                  </a:lnTo>
                  <a:lnTo>
                    <a:pt x="804" y="786"/>
                  </a:lnTo>
                  <a:lnTo>
                    <a:pt x="792" y="792"/>
                  </a:lnTo>
                  <a:lnTo>
                    <a:pt x="792" y="804"/>
                  </a:lnTo>
                  <a:lnTo>
                    <a:pt x="780" y="816"/>
                  </a:lnTo>
                  <a:lnTo>
                    <a:pt x="774" y="822"/>
                  </a:lnTo>
                  <a:lnTo>
                    <a:pt x="762" y="828"/>
                  </a:lnTo>
                  <a:lnTo>
                    <a:pt x="756" y="822"/>
                  </a:lnTo>
                  <a:lnTo>
                    <a:pt x="750" y="798"/>
                  </a:lnTo>
                  <a:lnTo>
                    <a:pt x="738" y="792"/>
                  </a:lnTo>
                  <a:lnTo>
                    <a:pt x="720" y="786"/>
                  </a:lnTo>
                  <a:lnTo>
                    <a:pt x="708" y="786"/>
                  </a:lnTo>
                  <a:lnTo>
                    <a:pt x="696" y="798"/>
                  </a:lnTo>
                  <a:lnTo>
                    <a:pt x="690" y="810"/>
                  </a:lnTo>
                  <a:lnTo>
                    <a:pt x="684" y="828"/>
                  </a:lnTo>
                  <a:lnTo>
                    <a:pt x="690" y="840"/>
                  </a:lnTo>
                  <a:lnTo>
                    <a:pt x="708" y="858"/>
                  </a:lnTo>
                  <a:lnTo>
                    <a:pt x="720" y="894"/>
                  </a:lnTo>
                  <a:lnTo>
                    <a:pt x="714" y="906"/>
                  </a:lnTo>
                  <a:lnTo>
                    <a:pt x="714" y="918"/>
                  </a:lnTo>
                  <a:lnTo>
                    <a:pt x="738" y="948"/>
                  </a:lnTo>
                  <a:lnTo>
                    <a:pt x="774" y="972"/>
                  </a:lnTo>
                  <a:lnTo>
                    <a:pt x="780" y="984"/>
                  </a:lnTo>
                  <a:lnTo>
                    <a:pt x="792" y="996"/>
                  </a:lnTo>
                  <a:lnTo>
                    <a:pt x="792" y="1026"/>
                  </a:lnTo>
                  <a:lnTo>
                    <a:pt x="780" y="1044"/>
                  </a:lnTo>
                  <a:lnTo>
                    <a:pt x="774" y="1050"/>
                  </a:lnTo>
                  <a:lnTo>
                    <a:pt x="768" y="1062"/>
                  </a:lnTo>
                  <a:lnTo>
                    <a:pt x="768" y="1068"/>
                  </a:lnTo>
                  <a:lnTo>
                    <a:pt x="762" y="1074"/>
                  </a:lnTo>
                  <a:lnTo>
                    <a:pt x="762" y="1080"/>
                  </a:lnTo>
                  <a:lnTo>
                    <a:pt x="756" y="1080"/>
                  </a:lnTo>
                  <a:lnTo>
                    <a:pt x="744" y="1086"/>
                  </a:lnTo>
                  <a:lnTo>
                    <a:pt x="744" y="1092"/>
                  </a:lnTo>
                  <a:lnTo>
                    <a:pt x="738" y="1092"/>
                  </a:lnTo>
                  <a:lnTo>
                    <a:pt x="726" y="1098"/>
                  </a:lnTo>
                  <a:lnTo>
                    <a:pt x="720" y="1104"/>
                  </a:lnTo>
                  <a:lnTo>
                    <a:pt x="714" y="1104"/>
                  </a:lnTo>
                  <a:lnTo>
                    <a:pt x="702" y="1116"/>
                  </a:lnTo>
                  <a:lnTo>
                    <a:pt x="696" y="1122"/>
                  </a:lnTo>
                  <a:lnTo>
                    <a:pt x="696" y="1134"/>
                  </a:lnTo>
                  <a:lnTo>
                    <a:pt x="690" y="1134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72" y="1146"/>
                  </a:lnTo>
                  <a:lnTo>
                    <a:pt x="672" y="1152"/>
                  </a:lnTo>
                  <a:lnTo>
                    <a:pt x="660" y="1152"/>
                  </a:lnTo>
                  <a:lnTo>
                    <a:pt x="642" y="1152"/>
                  </a:lnTo>
                  <a:lnTo>
                    <a:pt x="636" y="1152"/>
                  </a:lnTo>
                  <a:lnTo>
                    <a:pt x="630" y="1158"/>
                  </a:lnTo>
                  <a:lnTo>
                    <a:pt x="624" y="1164"/>
                  </a:lnTo>
                  <a:lnTo>
                    <a:pt x="618" y="1170"/>
                  </a:lnTo>
                  <a:lnTo>
                    <a:pt x="612" y="1170"/>
                  </a:lnTo>
                  <a:lnTo>
                    <a:pt x="600" y="1170"/>
                  </a:lnTo>
                  <a:lnTo>
                    <a:pt x="594" y="1170"/>
                  </a:lnTo>
                  <a:lnTo>
                    <a:pt x="588" y="1170"/>
                  </a:lnTo>
                  <a:lnTo>
                    <a:pt x="582" y="1170"/>
                  </a:lnTo>
                  <a:lnTo>
                    <a:pt x="582" y="1164"/>
                  </a:lnTo>
                  <a:lnTo>
                    <a:pt x="576" y="1158"/>
                  </a:lnTo>
                  <a:lnTo>
                    <a:pt x="570" y="1158"/>
                  </a:lnTo>
                  <a:lnTo>
                    <a:pt x="570" y="1152"/>
                  </a:lnTo>
                  <a:lnTo>
                    <a:pt x="570" y="1146"/>
                  </a:lnTo>
                  <a:lnTo>
                    <a:pt x="570" y="1140"/>
                  </a:lnTo>
                  <a:lnTo>
                    <a:pt x="564" y="1140"/>
                  </a:lnTo>
                  <a:lnTo>
                    <a:pt x="564" y="1134"/>
                  </a:lnTo>
                  <a:lnTo>
                    <a:pt x="564" y="1128"/>
                  </a:lnTo>
                  <a:lnTo>
                    <a:pt x="576" y="1104"/>
                  </a:lnTo>
                  <a:lnTo>
                    <a:pt x="582" y="1086"/>
                  </a:lnTo>
                  <a:lnTo>
                    <a:pt x="570" y="1068"/>
                  </a:lnTo>
                  <a:lnTo>
                    <a:pt x="534" y="1056"/>
                  </a:lnTo>
                  <a:lnTo>
                    <a:pt x="516" y="1026"/>
                  </a:lnTo>
                  <a:lnTo>
                    <a:pt x="492" y="1020"/>
                  </a:lnTo>
                  <a:lnTo>
                    <a:pt x="492" y="1014"/>
                  </a:lnTo>
                  <a:lnTo>
                    <a:pt x="480" y="1008"/>
                  </a:lnTo>
                  <a:lnTo>
                    <a:pt x="474" y="996"/>
                  </a:lnTo>
                  <a:lnTo>
                    <a:pt x="444" y="984"/>
                  </a:lnTo>
                  <a:lnTo>
                    <a:pt x="426" y="978"/>
                  </a:lnTo>
                  <a:lnTo>
                    <a:pt x="420" y="972"/>
                  </a:lnTo>
                  <a:lnTo>
                    <a:pt x="408" y="984"/>
                  </a:lnTo>
                  <a:lnTo>
                    <a:pt x="402" y="984"/>
                  </a:lnTo>
                  <a:lnTo>
                    <a:pt x="396" y="984"/>
                  </a:lnTo>
                  <a:lnTo>
                    <a:pt x="390" y="984"/>
                  </a:lnTo>
                  <a:lnTo>
                    <a:pt x="384" y="990"/>
                  </a:lnTo>
                  <a:lnTo>
                    <a:pt x="378" y="990"/>
                  </a:lnTo>
                  <a:lnTo>
                    <a:pt x="372" y="990"/>
                  </a:lnTo>
                  <a:lnTo>
                    <a:pt x="372" y="996"/>
                  </a:lnTo>
                  <a:lnTo>
                    <a:pt x="366" y="996"/>
                  </a:lnTo>
                  <a:lnTo>
                    <a:pt x="360" y="1002"/>
                  </a:lnTo>
                  <a:lnTo>
                    <a:pt x="360" y="1008"/>
                  </a:lnTo>
                  <a:lnTo>
                    <a:pt x="354" y="1008"/>
                  </a:lnTo>
                  <a:lnTo>
                    <a:pt x="342" y="1014"/>
                  </a:lnTo>
                  <a:lnTo>
                    <a:pt x="336" y="1020"/>
                  </a:lnTo>
                  <a:lnTo>
                    <a:pt x="336" y="1014"/>
                  </a:lnTo>
                  <a:lnTo>
                    <a:pt x="330" y="1014"/>
                  </a:lnTo>
                  <a:lnTo>
                    <a:pt x="330" y="1008"/>
                  </a:lnTo>
                  <a:lnTo>
                    <a:pt x="330" y="1002"/>
                  </a:lnTo>
                  <a:lnTo>
                    <a:pt x="324" y="1002"/>
                  </a:lnTo>
                  <a:lnTo>
                    <a:pt x="324" y="996"/>
                  </a:lnTo>
                  <a:lnTo>
                    <a:pt x="324" y="990"/>
                  </a:lnTo>
                  <a:lnTo>
                    <a:pt x="318" y="990"/>
                  </a:lnTo>
                  <a:lnTo>
                    <a:pt x="306" y="996"/>
                  </a:lnTo>
                  <a:lnTo>
                    <a:pt x="300" y="996"/>
                  </a:lnTo>
                  <a:lnTo>
                    <a:pt x="294" y="996"/>
                  </a:lnTo>
                  <a:lnTo>
                    <a:pt x="288" y="1002"/>
                  </a:lnTo>
                  <a:lnTo>
                    <a:pt x="282" y="990"/>
                  </a:lnTo>
                  <a:lnTo>
                    <a:pt x="276" y="984"/>
                  </a:lnTo>
                  <a:lnTo>
                    <a:pt x="270" y="990"/>
                  </a:lnTo>
                  <a:lnTo>
                    <a:pt x="270" y="996"/>
                  </a:lnTo>
                  <a:lnTo>
                    <a:pt x="270" y="1002"/>
                  </a:lnTo>
                  <a:lnTo>
                    <a:pt x="264" y="1008"/>
                  </a:lnTo>
                  <a:lnTo>
                    <a:pt x="252" y="996"/>
                  </a:lnTo>
                  <a:lnTo>
                    <a:pt x="246" y="996"/>
                  </a:lnTo>
                  <a:lnTo>
                    <a:pt x="234" y="1002"/>
                  </a:lnTo>
                  <a:lnTo>
                    <a:pt x="222" y="1002"/>
                  </a:lnTo>
                  <a:lnTo>
                    <a:pt x="210" y="1002"/>
                  </a:lnTo>
                  <a:lnTo>
                    <a:pt x="198" y="996"/>
                  </a:lnTo>
                  <a:lnTo>
                    <a:pt x="198" y="1002"/>
                  </a:lnTo>
                  <a:lnTo>
                    <a:pt x="198" y="1008"/>
                  </a:lnTo>
                  <a:lnTo>
                    <a:pt x="192" y="1020"/>
                  </a:lnTo>
                  <a:lnTo>
                    <a:pt x="198" y="1020"/>
                  </a:lnTo>
                  <a:lnTo>
                    <a:pt x="204" y="1020"/>
                  </a:lnTo>
                  <a:lnTo>
                    <a:pt x="210" y="1026"/>
                  </a:lnTo>
                  <a:lnTo>
                    <a:pt x="216" y="1026"/>
                  </a:lnTo>
                  <a:lnTo>
                    <a:pt x="216" y="1032"/>
                  </a:lnTo>
                  <a:lnTo>
                    <a:pt x="210" y="1032"/>
                  </a:lnTo>
                  <a:lnTo>
                    <a:pt x="210" y="1038"/>
                  </a:lnTo>
                  <a:lnTo>
                    <a:pt x="204" y="1038"/>
                  </a:lnTo>
                  <a:lnTo>
                    <a:pt x="204" y="1044"/>
                  </a:lnTo>
                  <a:lnTo>
                    <a:pt x="198" y="1044"/>
                  </a:lnTo>
                  <a:lnTo>
                    <a:pt x="192" y="1044"/>
                  </a:lnTo>
                  <a:lnTo>
                    <a:pt x="186" y="1050"/>
                  </a:lnTo>
                  <a:lnTo>
                    <a:pt x="186" y="1056"/>
                  </a:lnTo>
                  <a:lnTo>
                    <a:pt x="180" y="1056"/>
                  </a:lnTo>
                  <a:lnTo>
                    <a:pt x="180" y="1062"/>
                  </a:lnTo>
                  <a:lnTo>
                    <a:pt x="174" y="1062"/>
                  </a:lnTo>
                  <a:lnTo>
                    <a:pt x="168" y="1062"/>
                  </a:lnTo>
                  <a:lnTo>
                    <a:pt x="162" y="1062"/>
                  </a:lnTo>
                  <a:lnTo>
                    <a:pt x="156" y="1050"/>
                  </a:lnTo>
                  <a:lnTo>
                    <a:pt x="150" y="1044"/>
                  </a:lnTo>
                  <a:lnTo>
                    <a:pt x="150" y="1038"/>
                  </a:lnTo>
                  <a:lnTo>
                    <a:pt x="144" y="1032"/>
                  </a:lnTo>
                  <a:lnTo>
                    <a:pt x="144" y="1026"/>
                  </a:lnTo>
                  <a:lnTo>
                    <a:pt x="144" y="1014"/>
                  </a:lnTo>
                  <a:lnTo>
                    <a:pt x="150" y="1008"/>
                  </a:lnTo>
                  <a:lnTo>
                    <a:pt x="150" y="1002"/>
                  </a:lnTo>
                  <a:lnTo>
                    <a:pt x="156" y="984"/>
                  </a:lnTo>
                  <a:lnTo>
                    <a:pt x="162" y="978"/>
                  </a:lnTo>
                  <a:lnTo>
                    <a:pt x="162" y="972"/>
                  </a:lnTo>
                  <a:lnTo>
                    <a:pt x="150" y="966"/>
                  </a:lnTo>
                  <a:lnTo>
                    <a:pt x="144" y="966"/>
                  </a:lnTo>
                  <a:lnTo>
                    <a:pt x="138" y="966"/>
                  </a:lnTo>
                  <a:lnTo>
                    <a:pt x="138" y="954"/>
                  </a:lnTo>
                  <a:lnTo>
                    <a:pt x="132" y="954"/>
                  </a:lnTo>
                  <a:lnTo>
                    <a:pt x="138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8" y="924"/>
                  </a:lnTo>
                  <a:lnTo>
                    <a:pt x="132" y="930"/>
                  </a:lnTo>
                  <a:lnTo>
                    <a:pt x="132" y="924"/>
                  </a:lnTo>
                  <a:lnTo>
                    <a:pt x="126" y="918"/>
                  </a:lnTo>
                  <a:lnTo>
                    <a:pt x="132" y="918"/>
                  </a:lnTo>
                  <a:lnTo>
                    <a:pt x="132" y="912"/>
                  </a:lnTo>
                  <a:lnTo>
                    <a:pt x="126" y="912"/>
                  </a:lnTo>
                  <a:lnTo>
                    <a:pt x="120" y="912"/>
                  </a:lnTo>
                  <a:lnTo>
                    <a:pt x="120" y="918"/>
                  </a:lnTo>
                  <a:lnTo>
                    <a:pt x="114" y="918"/>
                  </a:lnTo>
                  <a:lnTo>
                    <a:pt x="114" y="912"/>
                  </a:lnTo>
                  <a:lnTo>
                    <a:pt x="108" y="912"/>
                  </a:lnTo>
                  <a:lnTo>
                    <a:pt x="102" y="912"/>
                  </a:lnTo>
                  <a:lnTo>
                    <a:pt x="108" y="906"/>
                  </a:lnTo>
                  <a:lnTo>
                    <a:pt x="102" y="906"/>
                  </a:lnTo>
                  <a:lnTo>
                    <a:pt x="96" y="906"/>
                  </a:lnTo>
                  <a:lnTo>
                    <a:pt x="96" y="912"/>
                  </a:lnTo>
                  <a:lnTo>
                    <a:pt x="90" y="918"/>
                  </a:lnTo>
                  <a:lnTo>
                    <a:pt x="90" y="912"/>
                  </a:lnTo>
                  <a:lnTo>
                    <a:pt x="84" y="912"/>
                  </a:lnTo>
                  <a:lnTo>
                    <a:pt x="84" y="918"/>
                  </a:lnTo>
                  <a:lnTo>
                    <a:pt x="78" y="918"/>
                  </a:lnTo>
                  <a:lnTo>
                    <a:pt x="78" y="912"/>
                  </a:lnTo>
                  <a:lnTo>
                    <a:pt x="78" y="906"/>
                  </a:lnTo>
                  <a:lnTo>
                    <a:pt x="72" y="900"/>
                  </a:lnTo>
                  <a:lnTo>
                    <a:pt x="78" y="900"/>
                  </a:lnTo>
                  <a:lnTo>
                    <a:pt x="72" y="900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8" y="888"/>
                  </a:lnTo>
                  <a:lnTo>
                    <a:pt x="72" y="888"/>
                  </a:lnTo>
                  <a:lnTo>
                    <a:pt x="72" y="882"/>
                  </a:lnTo>
                  <a:lnTo>
                    <a:pt x="66" y="876"/>
                  </a:lnTo>
                  <a:lnTo>
                    <a:pt x="60" y="882"/>
                  </a:lnTo>
                  <a:lnTo>
                    <a:pt x="54" y="876"/>
                  </a:lnTo>
                  <a:lnTo>
                    <a:pt x="54" y="882"/>
                  </a:lnTo>
                  <a:lnTo>
                    <a:pt x="48" y="882"/>
                  </a:lnTo>
                  <a:lnTo>
                    <a:pt x="42" y="870"/>
                  </a:lnTo>
                  <a:lnTo>
                    <a:pt x="42" y="864"/>
                  </a:lnTo>
                  <a:lnTo>
                    <a:pt x="36" y="858"/>
                  </a:lnTo>
                  <a:lnTo>
                    <a:pt x="36" y="852"/>
                  </a:lnTo>
                  <a:lnTo>
                    <a:pt x="30" y="852"/>
                  </a:lnTo>
                  <a:lnTo>
                    <a:pt x="30" y="846"/>
                  </a:lnTo>
                  <a:lnTo>
                    <a:pt x="24" y="846"/>
                  </a:lnTo>
                  <a:lnTo>
                    <a:pt x="18" y="840"/>
                  </a:lnTo>
                  <a:lnTo>
                    <a:pt x="12" y="834"/>
                  </a:lnTo>
                  <a:lnTo>
                    <a:pt x="0" y="828"/>
                  </a:lnTo>
                  <a:lnTo>
                    <a:pt x="0" y="822"/>
                  </a:lnTo>
                  <a:lnTo>
                    <a:pt x="0" y="816"/>
                  </a:lnTo>
                  <a:lnTo>
                    <a:pt x="0" y="810"/>
                  </a:lnTo>
                  <a:lnTo>
                    <a:pt x="6" y="804"/>
                  </a:lnTo>
                  <a:lnTo>
                    <a:pt x="12" y="804"/>
                  </a:lnTo>
                  <a:lnTo>
                    <a:pt x="12" y="798"/>
                  </a:lnTo>
                  <a:lnTo>
                    <a:pt x="12" y="792"/>
                  </a:lnTo>
                  <a:lnTo>
                    <a:pt x="6" y="792"/>
                  </a:lnTo>
                  <a:lnTo>
                    <a:pt x="6" y="786"/>
                  </a:lnTo>
                  <a:lnTo>
                    <a:pt x="6" y="780"/>
                  </a:lnTo>
                  <a:lnTo>
                    <a:pt x="18" y="780"/>
                  </a:lnTo>
                  <a:lnTo>
                    <a:pt x="18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0" y="774"/>
                  </a:lnTo>
                  <a:lnTo>
                    <a:pt x="36" y="768"/>
                  </a:lnTo>
                  <a:lnTo>
                    <a:pt x="42" y="768"/>
                  </a:lnTo>
                  <a:lnTo>
                    <a:pt x="60" y="750"/>
                  </a:lnTo>
                  <a:lnTo>
                    <a:pt x="60" y="744"/>
                  </a:lnTo>
                  <a:lnTo>
                    <a:pt x="54" y="738"/>
                  </a:lnTo>
                  <a:lnTo>
                    <a:pt x="60" y="732"/>
                  </a:lnTo>
                  <a:lnTo>
                    <a:pt x="54" y="732"/>
                  </a:lnTo>
                  <a:lnTo>
                    <a:pt x="60" y="726"/>
                  </a:lnTo>
                  <a:lnTo>
                    <a:pt x="66" y="720"/>
                  </a:lnTo>
                  <a:lnTo>
                    <a:pt x="72" y="714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84" y="696"/>
                  </a:lnTo>
                  <a:lnTo>
                    <a:pt x="90" y="684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66"/>
                  </a:lnTo>
                  <a:lnTo>
                    <a:pt x="90" y="660"/>
                  </a:lnTo>
                  <a:lnTo>
                    <a:pt x="84" y="654"/>
                  </a:lnTo>
                  <a:lnTo>
                    <a:pt x="84" y="648"/>
                  </a:lnTo>
                  <a:lnTo>
                    <a:pt x="78" y="636"/>
                  </a:lnTo>
                  <a:lnTo>
                    <a:pt x="66" y="630"/>
                  </a:lnTo>
                  <a:lnTo>
                    <a:pt x="66" y="624"/>
                  </a:lnTo>
                  <a:lnTo>
                    <a:pt x="60" y="624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60" y="600"/>
                  </a:lnTo>
                  <a:lnTo>
                    <a:pt x="66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6" y="588"/>
                  </a:lnTo>
                  <a:lnTo>
                    <a:pt x="66" y="582"/>
                  </a:lnTo>
                  <a:lnTo>
                    <a:pt x="72" y="582"/>
                  </a:lnTo>
                  <a:lnTo>
                    <a:pt x="78" y="576"/>
                  </a:lnTo>
                  <a:lnTo>
                    <a:pt x="72" y="576"/>
                  </a:lnTo>
                  <a:lnTo>
                    <a:pt x="66" y="570"/>
                  </a:lnTo>
                  <a:lnTo>
                    <a:pt x="72" y="564"/>
                  </a:lnTo>
                  <a:lnTo>
                    <a:pt x="78" y="558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90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102" y="516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0" y="504"/>
                  </a:lnTo>
                  <a:lnTo>
                    <a:pt x="120" y="498"/>
                  </a:lnTo>
                  <a:lnTo>
                    <a:pt x="120" y="492"/>
                  </a:lnTo>
                  <a:lnTo>
                    <a:pt x="126" y="480"/>
                  </a:lnTo>
                  <a:lnTo>
                    <a:pt x="132" y="474"/>
                  </a:lnTo>
                  <a:lnTo>
                    <a:pt x="132" y="468"/>
                  </a:lnTo>
                  <a:lnTo>
                    <a:pt x="138" y="462"/>
                  </a:lnTo>
                  <a:lnTo>
                    <a:pt x="138" y="456"/>
                  </a:lnTo>
                  <a:lnTo>
                    <a:pt x="138" y="450"/>
                  </a:lnTo>
                  <a:lnTo>
                    <a:pt x="144" y="444"/>
                  </a:lnTo>
                  <a:lnTo>
                    <a:pt x="162" y="438"/>
                  </a:lnTo>
                  <a:lnTo>
                    <a:pt x="186" y="438"/>
                  </a:lnTo>
                  <a:lnTo>
                    <a:pt x="210" y="444"/>
                  </a:lnTo>
                  <a:lnTo>
                    <a:pt x="276" y="450"/>
                  </a:lnTo>
                  <a:lnTo>
                    <a:pt x="342" y="450"/>
                  </a:lnTo>
                  <a:lnTo>
                    <a:pt x="348" y="450"/>
                  </a:lnTo>
                  <a:lnTo>
                    <a:pt x="354" y="450"/>
                  </a:lnTo>
                  <a:lnTo>
                    <a:pt x="360" y="456"/>
                  </a:lnTo>
                  <a:lnTo>
                    <a:pt x="354" y="462"/>
                  </a:lnTo>
                  <a:lnTo>
                    <a:pt x="354" y="468"/>
                  </a:lnTo>
                  <a:lnTo>
                    <a:pt x="354" y="474"/>
                  </a:lnTo>
                  <a:lnTo>
                    <a:pt x="348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48" y="498"/>
                  </a:lnTo>
                  <a:lnTo>
                    <a:pt x="342" y="510"/>
                  </a:lnTo>
                  <a:lnTo>
                    <a:pt x="348" y="528"/>
                  </a:lnTo>
                  <a:lnTo>
                    <a:pt x="348" y="534"/>
                  </a:lnTo>
                  <a:lnTo>
                    <a:pt x="354" y="552"/>
                  </a:lnTo>
                  <a:lnTo>
                    <a:pt x="366" y="546"/>
                  </a:lnTo>
                  <a:lnTo>
                    <a:pt x="372" y="540"/>
                  </a:lnTo>
                  <a:lnTo>
                    <a:pt x="384" y="540"/>
                  </a:lnTo>
                  <a:lnTo>
                    <a:pt x="396" y="534"/>
                  </a:lnTo>
                  <a:lnTo>
                    <a:pt x="402" y="534"/>
                  </a:lnTo>
                  <a:lnTo>
                    <a:pt x="414" y="546"/>
                  </a:lnTo>
                  <a:lnTo>
                    <a:pt x="432" y="540"/>
                  </a:lnTo>
                  <a:lnTo>
                    <a:pt x="450" y="534"/>
                  </a:lnTo>
                  <a:lnTo>
                    <a:pt x="450" y="528"/>
                  </a:lnTo>
                  <a:lnTo>
                    <a:pt x="456" y="528"/>
                  </a:lnTo>
                  <a:lnTo>
                    <a:pt x="456" y="522"/>
                  </a:lnTo>
                  <a:lnTo>
                    <a:pt x="456" y="516"/>
                  </a:lnTo>
                  <a:lnTo>
                    <a:pt x="462" y="516"/>
                  </a:lnTo>
                  <a:lnTo>
                    <a:pt x="468" y="510"/>
                  </a:lnTo>
                  <a:lnTo>
                    <a:pt x="468" y="504"/>
                  </a:lnTo>
                  <a:lnTo>
                    <a:pt x="474" y="504"/>
                  </a:lnTo>
                  <a:lnTo>
                    <a:pt x="480" y="504"/>
                  </a:lnTo>
                  <a:lnTo>
                    <a:pt x="486" y="498"/>
                  </a:lnTo>
                  <a:lnTo>
                    <a:pt x="492" y="498"/>
                  </a:lnTo>
                  <a:lnTo>
                    <a:pt x="486" y="480"/>
                  </a:lnTo>
                  <a:lnTo>
                    <a:pt x="492" y="462"/>
                  </a:lnTo>
                  <a:lnTo>
                    <a:pt x="498" y="444"/>
                  </a:lnTo>
                  <a:lnTo>
                    <a:pt x="498" y="426"/>
                  </a:lnTo>
                  <a:lnTo>
                    <a:pt x="498" y="420"/>
                  </a:lnTo>
                  <a:lnTo>
                    <a:pt x="504" y="426"/>
                  </a:lnTo>
                  <a:lnTo>
                    <a:pt x="504" y="420"/>
                  </a:lnTo>
                  <a:lnTo>
                    <a:pt x="510" y="420"/>
                  </a:lnTo>
                  <a:lnTo>
                    <a:pt x="510" y="414"/>
                  </a:lnTo>
                  <a:lnTo>
                    <a:pt x="510" y="408"/>
                  </a:lnTo>
                  <a:lnTo>
                    <a:pt x="504" y="402"/>
                  </a:lnTo>
                  <a:lnTo>
                    <a:pt x="504" y="396"/>
                  </a:lnTo>
                  <a:lnTo>
                    <a:pt x="504" y="384"/>
                  </a:lnTo>
                  <a:lnTo>
                    <a:pt x="504" y="378"/>
                  </a:lnTo>
                  <a:lnTo>
                    <a:pt x="504" y="360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510" y="348"/>
                  </a:lnTo>
                  <a:lnTo>
                    <a:pt x="510" y="336"/>
                  </a:lnTo>
                  <a:lnTo>
                    <a:pt x="516" y="330"/>
                  </a:lnTo>
                  <a:lnTo>
                    <a:pt x="522" y="324"/>
                  </a:lnTo>
                  <a:lnTo>
                    <a:pt x="528" y="318"/>
                  </a:lnTo>
                  <a:lnTo>
                    <a:pt x="534" y="312"/>
                  </a:lnTo>
                  <a:lnTo>
                    <a:pt x="534" y="300"/>
                  </a:lnTo>
                  <a:lnTo>
                    <a:pt x="540" y="294"/>
                  </a:lnTo>
                  <a:lnTo>
                    <a:pt x="546" y="288"/>
                  </a:lnTo>
                  <a:lnTo>
                    <a:pt x="552" y="276"/>
                  </a:lnTo>
                  <a:lnTo>
                    <a:pt x="558" y="264"/>
                  </a:lnTo>
                  <a:lnTo>
                    <a:pt x="558" y="258"/>
                  </a:lnTo>
                  <a:lnTo>
                    <a:pt x="558" y="252"/>
                  </a:lnTo>
                  <a:lnTo>
                    <a:pt x="558" y="246"/>
                  </a:lnTo>
                  <a:lnTo>
                    <a:pt x="564" y="246"/>
                  </a:lnTo>
                  <a:lnTo>
                    <a:pt x="564" y="240"/>
                  </a:lnTo>
                  <a:lnTo>
                    <a:pt x="570" y="234"/>
                  </a:lnTo>
                  <a:lnTo>
                    <a:pt x="564" y="216"/>
                  </a:lnTo>
                  <a:lnTo>
                    <a:pt x="564" y="210"/>
                  </a:lnTo>
                  <a:lnTo>
                    <a:pt x="570" y="210"/>
                  </a:lnTo>
                  <a:lnTo>
                    <a:pt x="570" y="204"/>
                  </a:lnTo>
                  <a:lnTo>
                    <a:pt x="570" y="198"/>
                  </a:lnTo>
                  <a:lnTo>
                    <a:pt x="582" y="180"/>
                  </a:lnTo>
                  <a:lnTo>
                    <a:pt x="582" y="174"/>
                  </a:lnTo>
                  <a:lnTo>
                    <a:pt x="582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606" y="150"/>
                  </a:lnTo>
                  <a:lnTo>
                    <a:pt x="612" y="150"/>
                  </a:lnTo>
                  <a:lnTo>
                    <a:pt x="618" y="150"/>
                  </a:lnTo>
                  <a:lnTo>
                    <a:pt x="624" y="138"/>
                  </a:lnTo>
                  <a:lnTo>
                    <a:pt x="618" y="132"/>
                  </a:lnTo>
                  <a:lnTo>
                    <a:pt x="618" y="126"/>
                  </a:lnTo>
                  <a:lnTo>
                    <a:pt x="618" y="120"/>
                  </a:lnTo>
                  <a:lnTo>
                    <a:pt x="618" y="114"/>
                  </a:lnTo>
                  <a:lnTo>
                    <a:pt x="612" y="108"/>
                  </a:lnTo>
                  <a:lnTo>
                    <a:pt x="612" y="102"/>
                  </a:lnTo>
                  <a:lnTo>
                    <a:pt x="618" y="90"/>
                  </a:lnTo>
                  <a:lnTo>
                    <a:pt x="624" y="84"/>
                  </a:lnTo>
                  <a:lnTo>
                    <a:pt x="618" y="84"/>
                  </a:lnTo>
                  <a:lnTo>
                    <a:pt x="618" y="78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0" y="72"/>
                  </a:lnTo>
                  <a:lnTo>
                    <a:pt x="600" y="66"/>
                  </a:lnTo>
                  <a:lnTo>
                    <a:pt x="600" y="60"/>
                  </a:lnTo>
                  <a:lnTo>
                    <a:pt x="600" y="48"/>
                  </a:lnTo>
                  <a:lnTo>
                    <a:pt x="612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36"/>
                  </a:lnTo>
                  <a:lnTo>
                    <a:pt x="630" y="30"/>
                  </a:lnTo>
                  <a:lnTo>
                    <a:pt x="636" y="24"/>
                  </a:lnTo>
                  <a:lnTo>
                    <a:pt x="642" y="24"/>
                  </a:lnTo>
                  <a:lnTo>
                    <a:pt x="648" y="24"/>
                  </a:lnTo>
                  <a:lnTo>
                    <a:pt x="648" y="18"/>
                  </a:lnTo>
                  <a:lnTo>
                    <a:pt x="654" y="12"/>
                  </a:lnTo>
                  <a:lnTo>
                    <a:pt x="660" y="0"/>
                  </a:lnTo>
                  <a:lnTo>
                    <a:pt x="678" y="0"/>
                  </a:lnTo>
                  <a:lnTo>
                    <a:pt x="696" y="0"/>
                  </a:lnTo>
                  <a:lnTo>
                    <a:pt x="702" y="0"/>
                  </a:lnTo>
                  <a:lnTo>
                    <a:pt x="714" y="0"/>
                  </a:lnTo>
                  <a:lnTo>
                    <a:pt x="720" y="6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44" y="24"/>
                  </a:lnTo>
                  <a:lnTo>
                    <a:pt x="744" y="30"/>
                  </a:lnTo>
                  <a:lnTo>
                    <a:pt x="732" y="42"/>
                  </a:lnTo>
                  <a:lnTo>
                    <a:pt x="726" y="42"/>
                  </a:lnTo>
                  <a:lnTo>
                    <a:pt x="720" y="42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54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90"/>
                  </a:lnTo>
                  <a:lnTo>
                    <a:pt x="726" y="84"/>
                  </a:lnTo>
                  <a:lnTo>
                    <a:pt x="738" y="84"/>
                  </a:lnTo>
                  <a:lnTo>
                    <a:pt x="750" y="96"/>
                  </a:lnTo>
                  <a:lnTo>
                    <a:pt x="768" y="96"/>
                  </a:lnTo>
                  <a:lnTo>
                    <a:pt x="768" y="90"/>
                  </a:lnTo>
                  <a:lnTo>
                    <a:pt x="774" y="84"/>
                  </a:lnTo>
                  <a:lnTo>
                    <a:pt x="780" y="78"/>
                  </a:lnTo>
                  <a:lnTo>
                    <a:pt x="786" y="78"/>
                  </a:lnTo>
                  <a:lnTo>
                    <a:pt x="792" y="72"/>
                  </a:lnTo>
                  <a:lnTo>
                    <a:pt x="804" y="72"/>
                  </a:lnTo>
                  <a:lnTo>
                    <a:pt x="804" y="66"/>
                  </a:lnTo>
                  <a:lnTo>
                    <a:pt x="810" y="66"/>
                  </a:lnTo>
                  <a:lnTo>
                    <a:pt x="810" y="72"/>
                  </a:lnTo>
                  <a:lnTo>
                    <a:pt x="816" y="66"/>
                  </a:lnTo>
                  <a:lnTo>
                    <a:pt x="828" y="66"/>
                  </a:lnTo>
                  <a:lnTo>
                    <a:pt x="834" y="72"/>
                  </a:lnTo>
                  <a:lnTo>
                    <a:pt x="840" y="72"/>
                  </a:lnTo>
                  <a:lnTo>
                    <a:pt x="840" y="78"/>
                  </a:lnTo>
                  <a:lnTo>
                    <a:pt x="840" y="84"/>
                  </a:lnTo>
                  <a:lnTo>
                    <a:pt x="852" y="84"/>
                  </a:lnTo>
                  <a:lnTo>
                    <a:pt x="858" y="96"/>
                  </a:lnTo>
                  <a:lnTo>
                    <a:pt x="864" y="108"/>
                  </a:lnTo>
                  <a:lnTo>
                    <a:pt x="876" y="114"/>
                  </a:lnTo>
                  <a:lnTo>
                    <a:pt x="894" y="114"/>
                  </a:lnTo>
                  <a:lnTo>
                    <a:pt x="906" y="114"/>
                  </a:lnTo>
                  <a:lnTo>
                    <a:pt x="906" y="126"/>
                  </a:lnTo>
                  <a:lnTo>
                    <a:pt x="912" y="144"/>
                  </a:lnTo>
                  <a:lnTo>
                    <a:pt x="930" y="138"/>
                  </a:lnTo>
                  <a:lnTo>
                    <a:pt x="936" y="138"/>
                  </a:lnTo>
                  <a:lnTo>
                    <a:pt x="942" y="144"/>
                  </a:lnTo>
                  <a:lnTo>
                    <a:pt x="948" y="150"/>
                  </a:lnTo>
                  <a:lnTo>
                    <a:pt x="954" y="156"/>
                  </a:lnTo>
                  <a:lnTo>
                    <a:pt x="954" y="168"/>
                  </a:lnTo>
                  <a:lnTo>
                    <a:pt x="954" y="174"/>
                  </a:lnTo>
                  <a:lnTo>
                    <a:pt x="960" y="180"/>
                  </a:lnTo>
                  <a:lnTo>
                    <a:pt x="966" y="186"/>
                  </a:lnTo>
                  <a:lnTo>
                    <a:pt x="960" y="186"/>
                  </a:lnTo>
                  <a:lnTo>
                    <a:pt x="966" y="192"/>
                  </a:lnTo>
                  <a:lnTo>
                    <a:pt x="966" y="198"/>
                  </a:lnTo>
                  <a:lnTo>
                    <a:pt x="978" y="204"/>
                  </a:lnTo>
                  <a:lnTo>
                    <a:pt x="1050" y="186"/>
                  </a:lnTo>
                  <a:lnTo>
                    <a:pt x="1056" y="198"/>
                  </a:lnTo>
                  <a:lnTo>
                    <a:pt x="1068" y="210"/>
                  </a:lnTo>
                  <a:lnTo>
                    <a:pt x="1074" y="216"/>
                  </a:lnTo>
                  <a:lnTo>
                    <a:pt x="1080" y="252"/>
                  </a:lnTo>
                  <a:lnTo>
                    <a:pt x="1086" y="270"/>
                  </a:lnTo>
                  <a:lnTo>
                    <a:pt x="1092" y="282"/>
                  </a:lnTo>
                  <a:lnTo>
                    <a:pt x="1086" y="300"/>
                  </a:lnTo>
                  <a:lnTo>
                    <a:pt x="1074" y="330"/>
                  </a:lnTo>
                  <a:lnTo>
                    <a:pt x="1068" y="336"/>
                  </a:lnTo>
                  <a:lnTo>
                    <a:pt x="1062" y="348"/>
                  </a:lnTo>
                  <a:lnTo>
                    <a:pt x="1062" y="360"/>
                  </a:lnTo>
                  <a:lnTo>
                    <a:pt x="1068" y="378"/>
                  </a:lnTo>
                  <a:lnTo>
                    <a:pt x="1074" y="390"/>
                  </a:lnTo>
                  <a:lnTo>
                    <a:pt x="1068" y="396"/>
                  </a:lnTo>
                  <a:lnTo>
                    <a:pt x="1068" y="408"/>
                  </a:lnTo>
                  <a:lnTo>
                    <a:pt x="1062" y="414"/>
                  </a:lnTo>
                  <a:lnTo>
                    <a:pt x="1050" y="432"/>
                  </a:lnTo>
                  <a:lnTo>
                    <a:pt x="1044" y="450"/>
                  </a:lnTo>
                  <a:lnTo>
                    <a:pt x="1038" y="456"/>
                  </a:lnTo>
                  <a:lnTo>
                    <a:pt x="1026" y="468"/>
                  </a:lnTo>
                  <a:lnTo>
                    <a:pt x="1026" y="474"/>
                  </a:lnTo>
                  <a:lnTo>
                    <a:pt x="1026" y="480"/>
                  </a:lnTo>
                  <a:lnTo>
                    <a:pt x="1032" y="492"/>
                  </a:lnTo>
                  <a:lnTo>
                    <a:pt x="1044" y="504"/>
                  </a:lnTo>
                  <a:lnTo>
                    <a:pt x="1044" y="516"/>
                  </a:lnTo>
                  <a:lnTo>
                    <a:pt x="1038" y="528"/>
                  </a:lnTo>
                  <a:lnTo>
                    <a:pt x="1032" y="546"/>
                  </a:lnTo>
                  <a:lnTo>
                    <a:pt x="1032" y="570"/>
                  </a:lnTo>
                  <a:lnTo>
                    <a:pt x="1050" y="594"/>
                  </a:lnTo>
                  <a:lnTo>
                    <a:pt x="1056" y="624"/>
                  </a:lnTo>
                  <a:lnTo>
                    <a:pt x="1056" y="65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9" name="Freeform 24">
              <a:extLst>
                <a:ext uri="{FF2B5EF4-FFF2-40B4-BE49-F238E27FC236}">
                  <a16:creationId xmlns:a16="http://schemas.microsoft.com/office/drawing/2014/main" id="{CAE689DA-332A-4F73-BDE6-8865C9170AA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84829" y="3213406"/>
              <a:ext cx="851989" cy="744754"/>
            </a:xfrm>
            <a:custGeom>
              <a:avLst/>
              <a:gdLst>
                <a:gd name="T0" fmla="*/ 116 w 1602"/>
                <a:gd name="T1" fmla="*/ 91 h 1404"/>
                <a:gd name="T2" fmla="*/ 111 w 1602"/>
                <a:gd name="T3" fmla="*/ 95 h 1404"/>
                <a:gd name="T4" fmla="*/ 102 w 1602"/>
                <a:gd name="T5" fmla="*/ 101 h 1404"/>
                <a:gd name="T6" fmla="*/ 99 w 1602"/>
                <a:gd name="T7" fmla="*/ 103 h 1404"/>
                <a:gd name="T8" fmla="*/ 96 w 1602"/>
                <a:gd name="T9" fmla="*/ 106 h 1404"/>
                <a:gd name="T10" fmla="*/ 93 w 1602"/>
                <a:gd name="T11" fmla="*/ 108 h 1404"/>
                <a:gd name="T12" fmla="*/ 88 w 1602"/>
                <a:gd name="T13" fmla="*/ 106 h 1404"/>
                <a:gd name="T14" fmla="*/ 86 w 1602"/>
                <a:gd name="T15" fmla="*/ 108 h 1404"/>
                <a:gd name="T16" fmla="*/ 81 w 1602"/>
                <a:gd name="T17" fmla="*/ 119 h 1404"/>
                <a:gd name="T18" fmla="*/ 71 w 1602"/>
                <a:gd name="T19" fmla="*/ 109 h 1404"/>
                <a:gd name="T20" fmla="*/ 72 w 1602"/>
                <a:gd name="T21" fmla="*/ 101 h 1404"/>
                <a:gd name="T22" fmla="*/ 74 w 1602"/>
                <a:gd name="T23" fmla="*/ 93 h 1404"/>
                <a:gd name="T24" fmla="*/ 73 w 1602"/>
                <a:gd name="T25" fmla="*/ 82 h 1404"/>
                <a:gd name="T26" fmla="*/ 64 w 1602"/>
                <a:gd name="T27" fmla="*/ 79 h 1404"/>
                <a:gd name="T28" fmla="*/ 59 w 1602"/>
                <a:gd name="T29" fmla="*/ 75 h 1404"/>
                <a:gd name="T30" fmla="*/ 54 w 1602"/>
                <a:gd name="T31" fmla="*/ 71 h 1404"/>
                <a:gd name="T32" fmla="*/ 51 w 1602"/>
                <a:gd name="T33" fmla="*/ 70 h 1404"/>
                <a:gd name="T34" fmla="*/ 45 w 1602"/>
                <a:gd name="T35" fmla="*/ 71 h 1404"/>
                <a:gd name="T36" fmla="*/ 43 w 1602"/>
                <a:gd name="T37" fmla="*/ 68 h 1404"/>
                <a:gd name="T38" fmla="*/ 43 w 1602"/>
                <a:gd name="T39" fmla="*/ 64 h 1404"/>
                <a:gd name="T40" fmla="*/ 36 w 1602"/>
                <a:gd name="T41" fmla="*/ 66 h 1404"/>
                <a:gd name="T42" fmla="*/ 31 w 1602"/>
                <a:gd name="T43" fmla="*/ 55 h 1404"/>
                <a:gd name="T44" fmla="*/ 25 w 1602"/>
                <a:gd name="T45" fmla="*/ 53 h 1404"/>
                <a:gd name="T46" fmla="*/ 19 w 1602"/>
                <a:gd name="T47" fmla="*/ 51 h 1404"/>
                <a:gd name="T48" fmla="*/ 17 w 1602"/>
                <a:gd name="T49" fmla="*/ 43 h 1404"/>
                <a:gd name="T50" fmla="*/ 17 w 1602"/>
                <a:gd name="T51" fmla="*/ 39 h 1404"/>
                <a:gd name="T52" fmla="*/ 12 w 1602"/>
                <a:gd name="T53" fmla="*/ 39 h 1404"/>
                <a:gd name="T54" fmla="*/ 10 w 1602"/>
                <a:gd name="T55" fmla="*/ 35 h 1404"/>
                <a:gd name="T56" fmla="*/ 5 w 1602"/>
                <a:gd name="T57" fmla="*/ 30 h 1404"/>
                <a:gd name="T58" fmla="*/ 3 w 1602"/>
                <a:gd name="T59" fmla="*/ 27 h 1404"/>
                <a:gd name="T60" fmla="*/ 2 w 1602"/>
                <a:gd name="T61" fmla="*/ 25 h 1404"/>
                <a:gd name="T62" fmla="*/ 0 w 1602"/>
                <a:gd name="T63" fmla="*/ 22 h 1404"/>
                <a:gd name="T64" fmla="*/ 8 w 1602"/>
                <a:gd name="T65" fmla="*/ 14 h 1404"/>
                <a:gd name="T66" fmla="*/ 16 w 1602"/>
                <a:gd name="T67" fmla="*/ 16 h 1404"/>
                <a:gd name="T68" fmla="*/ 31 w 1602"/>
                <a:gd name="T69" fmla="*/ 18 h 1404"/>
                <a:gd name="T70" fmla="*/ 43 w 1602"/>
                <a:gd name="T71" fmla="*/ 17 h 1404"/>
                <a:gd name="T72" fmla="*/ 47 w 1602"/>
                <a:gd name="T73" fmla="*/ 6 h 1404"/>
                <a:gd name="T74" fmla="*/ 52 w 1602"/>
                <a:gd name="T75" fmla="*/ 0 h 1404"/>
                <a:gd name="T76" fmla="*/ 55 w 1602"/>
                <a:gd name="T77" fmla="*/ 3 h 1404"/>
                <a:gd name="T78" fmla="*/ 59 w 1602"/>
                <a:gd name="T79" fmla="*/ 9 h 1404"/>
                <a:gd name="T80" fmla="*/ 62 w 1602"/>
                <a:gd name="T81" fmla="*/ 16 h 1404"/>
                <a:gd name="T82" fmla="*/ 66 w 1602"/>
                <a:gd name="T83" fmla="*/ 20 h 1404"/>
                <a:gd name="T84" fmla="*/ 70 w 1602"/>
                <a:gd name="T85" fmla="*/ 25 h 1404"/>
                <a:gd name="T86" fmla="*/ 74 w 1602"/>
                <a:gd name="T87" fmla="*/ 30 h 1404"/>
                <a:gd name="T88" fmla="*/ 76 w 1602"/>
                <a:gd name="T89" fmla="*/ 27 h 1404"/>
                <a:gd name="T90" fmla="*/ 78 w 1602"/>
                <a:gd name="T91" fmla="*/ 27 h 1404"/>
                <a:gd name="T92" fmla="*/ 78 w 1602"/>
                <a:gd name="T93" fmla="*/ 23 h 1404"/>
                <a:gd name="T94" fmla="*/ 82 w 1602"/>
                <a:gd name="T95" fmla="*/ 20 h 1404"/>
                <a:gd name="T96" fmla="*/ 82 w 1602"/>
                <a:gd name="T97" fmla="*/ 18 h 1404"/>
                <a:gd name="T98" fmla="*/ 90 w 1602"/>
                <a:gd name="T99" fmla="*/ 24 h 1404"/>
                <a:gd name="T100" fmla="*/ 90 w 1602"/>
                <a:gd name="T101" fmla="*/ 45 h 1404"/>
                <a:gd name="T102" fmla="*/ 104 w 1602"/>
                <a:gd name="T103" fmla="*/ 41 h 1404"/>
                <a:gd name="T104" fmla="*/ 117 w 1602"/>
                <a:gd name="T105" fmla="*/ 39 h 1404"/>
                <a:gd name="T106" fmla="*/ 125 w 1602"/>
                <a:gd name="T107" fmla="*/ 39 h 1404"/>
                <a:gd name="T108" fmla="*/ 127 w 1602"/>
                <a:gd name="T109" fmla="*/ 43 h 1404"/>
                <a:gd name="T110" fmla="*/ 131 w 1602"/>
                <a:gd name="T111" fmla="*/ 53 h 1404"/>
                <a:gd name="T112" fmla="*/ 133 w 1602"/>
                <a:gd name="T113" fmla="*/ 60 h 1404"/>
                <a:gd name="T114" fmla="*/ 138 w 1602"/>
                <a:gd name="T115" fmla="*/ 73 h 1404"/>
                <a:gd name="T116" fmla="*/ 136 w 1602"/>
                <a:gd name="T117" fmla="*/ 80 h 1404"/>
                <a:gd name="T118" fmla="*/ 129 w 1602"/>
                <a:gd name="T119" fmla="*/ 87 h 1404"/>
                <a:gd name="T120" fmla="*/ 123 w 1602"/>
                <a:gd name="T121" fmla="*/ 95 h 14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02"/>
                <a:gd name="T184" fmla="*/ 0 h 1404"/>
                <a:gd name="T185" fmla="*/ 1602 w 1602"/>
                <a:gd name="T186" fmla="*/ 1404 h 14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02" h="1404">
                  <a:moveTo>
                    <a:pt x="1392" y="1080"/>
                  </a:moveTo>
                  <a:lnTo>
                    <a:pt x="1380" y="1074"/>
                  </a:lnTo>
                  <a:lnTo>
                    <a:pt x="1368" y="1056"/>
                  </a:lnTo>
                  <a:lnTo>
                    <a:pt x="1356" y="1044"/>
                  </a:lnTo>
                  <a:lnTo>
                    <a:pt x="1344" y="1038"/>
                  </a:lnTo>
                  <a:lnTo>
                    <a:pt x="1338" y="1038"/>
                  </a:lnTo>
                  <a:lnTo>
                    <a:pt x="1332" y="1038"/>
                  </a:lnTo>
                  <a:lnTo>
                    <a:pt x="1326" y="1044"/>
                  </a:lnTo>
                  <a:lnTo>
                    <a:pt x="1320" y="1044"/>
                  </a:lnTo>
                  <a:lnTo>
                    <a:pt x="1314" y="1044"/>
                  </a:lnTo>
                  <a:lnTo>
                    <a:pt x="1296" y="1056"/>
                  </a:lnTo>
                  <a:lnTo>
                    <a:pt x="1296" y="1080"/>
                  </a:lnTo>
                  <a:lnTo>
                    <a:pt x="1290" y="1080"/>
                  </a:lnTo>
                  <a:lnTo>
                    <a:pt x="1284" y="1086"/>
                  </a:lnTo>
                  <a:lnTo>
                    <a:pt x="1278" y="1086"/>
                  </a:lnTo>
                  <a:lnTo>
                    <a:pt x="1278" y="1092"/>
                  </a:lnTo>
                  <a:lnTo>
                    <a:pt x="1272" y="1092"/>
                  </a:lnTo>
                  <a:lnTo>
                    <a:pt x="1266" y="1086"/>
                  </a:lnTo>
                  <a:lnTo>
                    <a:pt x="1260" y="1086"/>
                  </a:lnTo>
                  <a:lnTo>
                    <a:pt x="1260" y="1098"/>
                  </a:lnTo>
                  <a:lnTo>
                    <a:pt x="1248" y="1098"/>
                  </a:lnTo>
                  <a:lnTo>
                    <a:pt x="1212" y="1116"/>
                  </a:lnTo>
                  <a:lnTo>
                    <a:pt x="1206" y="1158"/>
                  </a:lnTo>
                  <a:lnTo>
                    <a:pt x="1176" y="1164"/>
                  </a:lnTo>
                  <a:lnTo>
                    <a:pt x="1158" y="1164"/>
                  </a:lnTo>
                  <a:lnTo>
                    <a:pt x="1152" y="1164"/>
                  </a:lnTo>
                  <a:lnTo>
                    <a:pt x="1152" y="1170"/>
                  </a:lnTo>
                  <a:lnTo>
                    <a:pt x="1152" y="1176"/>
                  </a:lnTo>
                  <a:lnTo>
                    <a:pt x="1146" y="1176"/>
                  </a:lnTo>
                  <a:lnTo>
                    <a:pt x="1140" y="1176"/>
                  </a:lnTo>
                  <a:lnTo>
                    <a:pt x="1134" y="1182"/>
                  </a:lnTo>
                  <a:lnTo>
                    <a:pt x="1134" y="1188"/>
                  </a:lnTo>
                  <a:lnTo>
                    <a:pt x="1128" y="1194"/>
                  </a:lnTo>
                  <a:lnTo>
                    <a:pt x="1122" y="1194"/>
                  </a:lnTo>
                  <a:lnTo>
                    <a:pt x="1116" y="1194"/>
                  </a:lnTo>
                  <a:lnTo>
                    <a:pt x="1110" y="1200"/>
                  </a:lnTo>
                  <a:lnTo>
                    <a:pt x="1110" y="1206"/>
                  </a:lnTo>
                  <a:lnTo>
                    <a:pt x="1104" y="1212"/>
                  </a:lnTo>
                  <a:lnTo>
                    <a:pt x="1104" y="1218"/>
                  </a:lnTo>
                  <a:lnTo>
                    <a:pt x="1098" y="1224"/>
                  </a:lnTo>
                  <a:lnTo>
                    <a:pt x="1092" y="1230"/>
                  </a:lnTo>
                  <a:lnTo>
                    <a:pt x="1086" y="1230"/>
                  </a:lnTo>
                  <a:lnTo>
                    <a:pt x="1080" y="1230"/>
                  </a:lnTo>
                  <a:lnTo>
                    <a:pt x="1080" y="1242"/>
                  </a:lnTo>
                  <a:lnTo>
                    <a:pt x="1074" y="1242"/>
                  </a:lnTo>
                  <a:lnTo>
                    <a:pt x="1068" y="1242"/>
                  </a:lnTo>
                  <a:lnTo>
                    <a:pt x="1068" y="1236"/>
                  </a:lnTo>
                  <a:lnTo>
                    <a:pt x="1062" y="1242"/>
                  </a:lnTo>
                  <a:lnTo>
                    <a:pt x="1056" y="1236"/>
                  </a:lnTo>
                  <a:lnTo>
                    <a:pt x="1050" y="1242"/>
                  </a:lnTo>
                  <a:lnTo>
                    <a:pt x="1050" y="1236"/>
                  </a:lnTo>
                  <a:lnTo>
                    <a:pt x="1044" y="1194"/>
                  </a:lnTo>
                  <a:lnTo>
                    <a:pt x="1032" y="1194"/>
                  </a:lnTo>
                  <a:lnTo>
                    <a:pt x="1032" y="1200"/>
                  </a:lnTo>
                  <a:lnTo>
                    <a:pt x="1026" y="1200"/>
                  </a:lnTo>
                  <a:lnTo>
                    <a:pt x="1014" y="1218"/>
                  </a:lnTo>
                  <a:lnTo>
                    <a:pt x="1014" y="1224"/>
                  </a:lnTo>
                  <a:lnTo>
                    <a:pt x="1014" y="1236"/>
                  </a:lnTo>
                  <a:lnTo>
                    <a:pt x="1014" y="1242"/>
                  </a:lnTo>
                  <a:lnTo>
                    <a:pt x="1008" y="1242"/>
                  </a:lnTo>
                  <a:lnTo>
                    <a:pt x="1002" y="1236"/>
                  </a:lnTo>
                  <a:lnTo>
                    <a:pt x="1002" y="1230"/>
                  </a:lnTo>
                  <a:lnTo>
                    <a:pt x="996" y="1236"/>
                  </a:lnTo>
                  <a:lnTo>
                    <a:pt x="990" y="1236"/>
                  </a:lnTo>
                  <a:lnTo>
                    <a:pt x="990" y="1230"/>
                  </a:lnTo>
                  <a:lnTo>
                    <a:pt x="984" y="1236"/>
                  </a:lnTo>
                  <a:lnTo>
                    <a:pt x="978" y="1248"/>
                  </a:lnTo>
                  <a:lnTo>
                    <a:pt x="972" y="1254"/>
                  </a:lnTo>
                  <a:lnTo>
                    <a:pt x="966" y="1260"/>
                  </a:lnTo>
                  <a:lnTo>
                    <a:pt x="930" y="1284"/>
                  </a:lnTo>
                  <a:lnTo>
                    <a:pt x="942" y="1356"/>
                  </a:lnTo>
                  <a:lnTo>
                    <a:pt x="930" y="1368"/>
                  </a:lnTo>
                  <a:lnTo>
                    <a:pt x="852" y="1404"/>
                  </a:lnTo>
                  <a:lnTo>
                    <a:pt x="834" y="1392"/>
                  </a:lnTo>
                  <a:lnTo>
                    <a:pt x="834" y="1362"/>
                  </a:lnTo>
                  <a:lnTo>
                    <a:pt x="828" y="1332"/>
                  </a:lnTo>
                  <a:lnTo>
                    <a:pt x="810" y="1308"/>
                  </a:lnTo>
                  <a:lnTo>
                    <a:pt x="810" y="1284"/>
                  </a:lnTo>
                  <a:lnTo>
                    <a:pt x="816" y="1266"/>
                  </a:lnTo>
                  <a:lnTo>
                    <a:pt x="822" y="1254"/>
                  </a:lnTo>
                  <a:lnTo>
                    <a:pt x="822" y="1242"/>
                  </a:lnTo>
                  <a:lnTo>
                    <a:pt x="810" y="1230"/>
                  </a:lnTo>
                  <a:lnTo>
                    <a:pt x="804" y="1218"/>
                  </a:lnTo>
                  <a:lnTo>
                    <a:pt x="804" y="1212"/>
                  </a:lnTo>
                  <a:lnTo>
                    <a:pt x="804" y="1206"/>
                  </a:lnTo>
                  <a:lnTo>
                    <a:pt x="816" y="1194"/>
                  </a:lnTo>
                  <a:lnTo>
                    <a:pt x="822" y="1188"/>
                  </a:lnTo>
                  <a:lnTo>
                    <a:pt x="828" y="1170"/>
                  </a:lnTo>
                  <a:lnTo>
                    <a:pt x="840" y="1152"/>
                  </a:lnTo>
                  <a:lnTo>
                    <a:pt x="846" y="1146"/>
                  </a:lnTo>
                  <a:lnTo>
                    <a:pt x="846" y="1134"/>
                  </a:lnTo>
                  <a:lnTo>
                    <a:pt x="852" y="1128"/>
                  </a:lnTo>
                  <a:lnTo>
                    <a:pt x="846" y="1116"/>
                  </a:lnTo>
                  <a:lnTo>
                    <a:pt x="840" y="1098"/>
                  </a:lnTo>
                  <a:lnTo>
                    <a:pt x="840" y="1086"/>
                  </a:lnTo>
                  <a:lnTo>
                    <a:pt x="846" y="1074"/>
                  </a:lnTo>
                  <a:lnTo>
                    <a:pt x="852" y="1068"/>
                  </a:lnTo>
                  <a:lnTo>
                    <a:pt x="864" y="1038"/>
                  </a:lnTo>
                  <a:lnTo>
                    <a:pt x="870" y="1020"/>
                  </a:lnTo>
                  <a:lnTo>
                    <a:pt x="864" y="1008"/>
                  </a:lnTo>
                  <a:lnTo>
                    <a:pt x="858" y="990"/>
                  </a:lnTo>
                  <a:lnTo>
                    <a:pt x="852" y="954"/>
                  </a:lnTo>
                  <a:lnTo>
                    <a:pt x="846" y="948"/>
                  </a:lnTo>
                  <a:lnTo>
                    <a:pt x="834" y="936"/>
                  </a:lnTo>
                  <a:lnTo>
                    <a:pt x="828" y="924"/>
                  </a:lnTo>
                  <a:lnTo>
                    <a:pt x="756" y="942"/>
                  </a:lnTo>
                  <a:lnTo>
                    <a:pt x="744" y="936"/>
                  </a:lnTo>
                  <a:lnTo>
                    <a:pt x="744" y="930"/>
                  </a:lnTo>
                  <a:lnTo>
                    <a:pt x="738" y="924"/>
                  </a:lnTo>
                  <a:lnTo>
                    <a:pt x="744" y="924"/>
                  </a:lnTo>
                  <a:lnTo>
                    <a:pt x="738" y="918"/>
                  </a:lnTo>
                  <a:lnTo>
                    <a:pt x="732" y="912"/>
                  </a:lnTo>
                  <a:lnTo>
                    <a:pt x="732" y="906"/>
                  </a:lnTo>
                  <a:lnTo>
                    <a:pt x="732" y="894"/>
                  </a:lnTo>
                  <a:lnTo>
                    <a:pt x="726" y="888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6"/>
                  </a:lnTo>
                  <a:lnTo>
                    <a:pt x="690" y="882"/>
                  </a:lnTo>
                  <a:lnTo>
                    <a:pt x="684" y="864"/>
                  </a:lnTo>
                  <a:lnTo>
                    <a:pt x="684" y="852"/>
                  </a:lnTo>
                  <a:lnTo>
                    <a:pt x="672" y="852"/>
                  </a:lnTo>
                  <a:lnTo>
                    <a:pt x="654" y="852"/>
                  </a:lnTo>
                  <a:lnTo>
                    <a:pt x="642" y="846"/>
                  </a:lnTo>
                  <a:lnTo>
                    <a:pt x="636" y="834"/>
                  </a:lnTo>
                  <a:lnTo>
                    <a:pt x="630" y="822"/>
                  </a:lnTo>
                  <a:lnTo>
                    <a:pt x="618" y="822"/>
                  </a:lnTo>
                  <a:lnTo>
                    <a:pt x="618" y="816"/>
                  </a:lnTo>
                  <a:lnTo>
                    <a:pt x="618" y="810"/>
                  </a:lnTo>
                  <a:lnTo>
                    <a:pt x="612" y="810"/>
                  </a:lnTo>
                  <a:lnTo>
                    <a:pt x="606" y="804"/>
                  </a:lnTo>
                  <a:lnTo>
                    <a:pt x="594" y="804"/>
                  </a:lnTo>
                  <a:lnTo>
                    <a:pt x="588" y="810"/>
                  </a:lnTo>
                  <a:lnTo>
                    <a:pt x="588" y="804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70" y="810"/>
                  </a:lnTo>
                  <a:lnTo>
                    <a:pt x="564" y="816"/>
                  </a:lnTo>
                  <a:lnTo>
                    <a:pt x="558" y="816"/>
                  </a:lnTo>
                  <a:lnTo>
                    <a:pt x="552" y="822"/>
                  </a:lnTo>
                  <a:lnTo>
                    <a:pt x="546" y="828"/>
                  </a:lnTo>
                  <a:lnTo>
                    <a:pt x="546" y="834"/>
                  </a:lnTo>
                  <a:lnTo>
                    <a:pt x="528" y="834"/>
                  </a:lnTo>
                  <a:lnTo>
                    <a:pt x="516" y="822"/>
                  </a:lnTo>
                  <a:lnTo>
                    <a:pt x="504" y="822"/>
                  </a:lnTo>
                  <a:lnTo>
                    <a:pt x="492" y="82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6" y="792"/>
                  </a:lnTo>
                  <a:lnTo>
                    <a:pt x="492" y="786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504" y="780"/>
                  </a:lnTo>
                  <a:lnTo>
                    <a:pt x="510" y="780"/>
                  </a:lnTo>
                  <a:lnTo>
                    <a:pt x="522" y="768"/>
                  </a:lnTo>
                  <a:lnTo>
                    <a:pt x="522" y="762"/>
                  </a:lnTo>
                  <a:lnTo>
                    <a:pt x="504" y="756"/>
                  </a:lnTo>
                  <a:lnTo>
                    <a:pt x="498" y="756"/>
                  </a:lnTo>
                  <a:lnTo>
                    <a:pt x="498" y="744"/>
                  </a:lnTo>
                  <a:lnTo>
                    <a:pt x="492" y="738"/>
                  </a:lnTo>
                  <a:lnTo>
                    <a:pt x="480" y="738"/>
                  </a:lnTo>
                  <a:lnTo>
                    <a:pt x="474" y="738"/>
                  </a:lnTo>
                  <a:lnTo>
                    <a:pt x="456" y="738"/>
                  </a:lnTo>
                  <a:lnTo>
                    <a:pt x="438" y="738"/>
                  </a:lnTo>
                  <a:lnTo>
                    <a:pt x="432" y="750"/>
                  </a:lnTo>
                  <a:lnTo>
                    <a:pt x="426" y="756"/>
                  </a:lnTo>
                  <a:lnTo>
                    <a:pt x="426" y="762"/>
                  </a:lnTo>
                  <a:lnTo>
                    <a:pt x="420" y="762"/>
                  </a:lnTo>
                  <a:lnTo>
                    <a:pt x="408" y="744"/>
                  </a:lnTo>
                  <a:lnTo>
                    <a:pt x="408" y="732"/>
                  </a:lnTo>
                  <a:lnTo>
                    <a:pt x="390" y="714"/>
                  </a:lnTo>
                  <a:lnTo>
                    <a:pt x="384" y="702"/>
                  </a:lnTo>
                  <a:lnTo>
                    <a:pt x="384" y="690"/>
                  </a:lnTo>
                  <a:lnTo>
                    <a:pt x="372" y="690"/>
                  </a:lnTo>
                  <a:lnTo>
                    <a:pt x="366" y="660"/>
                  </a:lnTo>
                  <a:lnTo>
                    <a:pt x="354" y="630"/>
                  </a:lnTo>
                  <a:lnTo>
                    <a:pt x="348" y="630"/>
                  </a:lnTo>
                  <a:lnTo>
                    <a:pt x="336" y="630"/>
                  </a:lnTo>
                  <a:lnTo>
                    <a:pt x="330" y="630"/>
                  </a:lnTo>
                  <a:lnTo>
                    <a:pt x="318" y="630"/>
                  </a:lnTo>
                  <a:lnTo>
                    <a:pt x="312" y="624"/>
                  </a:lnTo>
                  <a:lnTo>
                    <a:pt x="306" y="624"/>
                  </a:lnTo>
                  <a:lnTo>
                    <a:pt x="294" y="618"/>
                  </a:lnTo>
                  <a:lnTo>
                    <a:pt x="288" y="612"/>
                  </a:lnTo>
                  <a:lnTo>
                    <a:pt x="276" y="600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58" y="588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8"/>
                  </a:lnTo>
                  <a:lnTo>
                    <a:pt x="216" y="582"/>
                  </a:lnTo>
                  <a:lnTo>
                    <a:pt x="210" y="588"/>
                  </a:lnTo>
                  <a:lnTo>
                    <a:pt x="198" y="582"/>
                  </a:lnTo>
                  <a:lnTo>
                    <a:pt x="180" y="582"/>
                  </a:lnTo>
                  <a:lnTo>
                    <a:pt x="174" y="552"/>
                  </a:lnTo>
                  <a:lnTo>
                    <a:pt x="168" y="504"/>
                  </a:lnTo>
                  <a:lnTo>
                    <a:pt x="186" y="504"/>
                  </a:lnTo>
                  <a:lnTo>
                    <a:pt x="192" y="504"/>
                  </a:lnTo>
                  <a:lnTo>
                    <a:pt x="192" y="498"/>
                  </a:lnTo>
                  <a:lnTo>
                    <a:pt x="192" y="492"/>
                  </a:lnTo>
                  <a:lnTo>
                    <a:pt x="192" y="486"/>
                  </a:lnTo>
                  <a:lnTo>
                    <a:pt x="198" y="486"/>
                  </a:lnTo>
                  <a:lnTo>
                    <a:pt x="198" y="480"/>
                  </a:lnTo>
                  <a:lnTo>
                    <a:pt x="204" y="474"/>
                  </a:lnTo>
                  <a:lnTo>
                    <a:pt x="210" y="468"/>
                  </a:lnTo>
                  <a:lnTo>
                    <a:pt x="198" y="462"/>
                  </a:lnTo>
                  <a:lnTo>
                    <a:pt x="192" y="444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32"/>
                  </a:lnTo>
                  <a:lnTo>
                    <a:pt x="168" y="438"/>
                  </a:lnTo>
                  <a:lnTo>
                    <a:pt x="150" y="450"/>
                  </a:lnTo>
                  <a:lnTo>
                    <a:pt x="144" y="456"/>
                  </a:lnTo>
                  <a:lnTo>
                    <a:pt x="132" y="456"/>
                  </a:lnTo>
                  <a:lnTo>
                    <a:pt x="126" y="468"/>
                  </a:lnTo>
                  <a:lnTo>
                    <a:pt x="114" y="468"/>
                  </a:lnTo>
                  <a:lnTo>
                    <a:pt x="108" y="468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14"/>
                  </a:lnTo>
                  <a:lnTo>
                    <a:pt x="108" y="396"/>
                  </a:lnTo>
                  <a:lnTo>
                    <a:pt x="120" y="396"/>
                  </a:lnTo>
                  <a:lnTo>
                    <a:pt x="126" y="384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84" y="354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0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60" y="318"/>
                  </a:lnTo>
                  <a:lnTo>
                    <a:pt x="42" y="324"/>
                  </a:lnTo>
                  <a:lnTo>
                    <a:pt x="36" y="318"/>
                  </a:lnTo>
                  <a:lnTo>
                    <a:pt x="36" y="312"/>
                  </a:lnTo>
                  <a:lnTo>
                    <a:pt x="36" y="306"/>
                  </a:lnTo>
                  <a:lnTo>
                    <a:pt x="36" y="300"/>
                  </a:lnTo>
                  <a:lnTo>
                    <a:pt x="30" y="300"/>
                  </a:lnTo>
                  <a:lnTo>
                    <a:pt x="30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24" y="276"/>
                  </a:lnTo>
                  <a:lnTo>
                    <a:pt x="18" y="276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18" y="234"/>
                  </a:lnTo>
                  <a:lnTo>
                    <a:pt x="30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42" y="192"/>
                  </a:lnTo>
                  <a:lnTo>
                    <a:pt x="66" y="186"/>
                  </a:lnTo>
                  <a:lnTo>
                    <a:pt x="90" y="156"/>
                  </a:lnTo>
                  <a:lnTo>
                    <a:pt x="102" y="144"/>
                  </a:lnTo>
                  <a:lnTo>
                    <a:pt x="138" y="150"/>
                  </a:lnTo>
                  <a:lnTo>
                    <a:pt x="162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0" y="180"/>
                  </a:lnTo>
                  <a:lnTo>
                    <a:pt x="174" y="180"/>
                  </a:lnTo>
                  <a:lnTo>
                    <a:pt x="180" y="186"/>
                  </a:lnTo>
                  <a:lnTo>
                    <a:pt x="186" y="186"/>
                  </a:lnTo>
                  <a:lnTo>
                    <a:pt x="198" y="192"/>
                  </a:lnTo>
                  <a:lnTo>
                    <a:pt x="216" y="198"/>
                  </a:lnTo>
                  <a:lnTo>
                    <a:pt x="252" y="204"/>
                  </a:lnTo>
                  <a:lnTo>
                    <a:pt x="258" y="210"/>
                  </a:lnTo>
                  <a:lnTo>
                    <a:pt x="306" y="216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84" y="210"/>
                  </a:lnTo>
                  <a:lnTo>
                    <a:pt x="408" y="222"/>
                  </a:lnTo>
                  <a:lnTo>
                    <a:pt x="438" y="228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86" y="222"/>
                  </a:lnTo>
                  <a:lnTo>
                    <a:pt x="492" y="210"/>
                  </a:lnTo>
                  <a:lnTo>
                    <a:pt x="492" y="198"/>
                  </a:lnTo>
                  <a:lnTo>
                    <a:pt x="486" y="180"/>
                  </a:lnTo>
                  <a:lnTo>
                    <a:pt x="492" y="162"/>
                  </a:lnTo>
                  <a:lnTo>
                    <a:pt x="510" y="96"/>
                  </a:lnTo>
                  <a:lnTo>
                    <a:pt x="516" y="84"/>
                  </a:lnTo>
                  <a:lnTo>
                    <a:pt x="522" y="84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34" y="72"/>
                  </a:lnTo>
                  <a:lnTo>
                    <a:pt x="534" y="60"/>
                  </a:lnTo>
                  <a:lnTo>
                    <a:pt x="540" y="36"/>
                  </a:lnTo>
                  <a:lnTo>
                    <a:pt x="546" y="6"/>
                  </a:lnTo>
                  <a:lnTo>
                    <a:pt x="558" y="6"/>
                  </a:lnTo>
                  <a:lnTo>
                    <a:pt x="564" y="0"/>
                  </a:lnTo>
                  <a:lnTo>
                    <a:pt x="582" y="0"/>
                  </a:lnTo>
                  <a:lnTo>
                    <a:pt x="588" y="0"/>
                  </a:lnTo>
                  <a:lnTo>
                    <a:pt x="594" y="6"/>
                  </a:lnTo>
                  <a:lnTo>
                    <a:pt x="600" y="12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24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36" y="36"/>
                  </a:lnTo>
                  <a:lnTo>
                    <a:pt x="642" y="36"/>
                  </a:lnTo>
                  <a:lnTo>
                    <a:pt x="642" y="42"/>
                  </a:lnTo>
                  <a:lnTo>
                    <a:pt x="648" y="54"/>
                  </a:lnTo>
                  <a:lnTo>
                    <a:pt x="660" y="72"/>
                  </a:lnTo>
                  <a:lnTo>
                    <a:pt x="666" y="78"/>
                  </a:lnTo>
                  <a:lnTo>
                    <a:pt x="672" y="90"/>
                  </a:lnTo>
                  <a:lnTo>
                    <a:pt x="678" y="102"/>
                  </a:lnTo>
                  <a:lnTo>
                    <a:pt x="678" y="114"/>
                  </a:lnTo>
                  <a:lnTo>
                    <a:pt x="684" y="132"/>
                  </a:lnTo>
                  <a:lnTo>
                    <a:pt x="684" y="144"/>
                  </a:lnTo>
                  <a:lnTo>
                    <a:pt x="690" y="162"/>
                  </a:lnTo>
                  <a:lnTo>
                    <a:pt x="696" y="168"/>
                  </a:lnTo>
                  <a:lnTo>
                    <a:pt x="696" y="180"/>
                  </a:lnTo>
                  <a:lnTo>
                    <a:pt x="702" y="186"/>
                  </a:lnTo>
                  <a:lnTo>
                    <a:pt x="708" y="186"/>
                  </a:lnTo>
                  <a:lnTo>
                    <a:pt x="714" y="198"/>
                  </a:lnTo>
                  <a:lnTo>
                    <a:pt x="720" y="198"/>
                  </a:lnTo>
                  <a:lnTo>
                    <a:pt x="732" y="204"/>
                  </a:lnTo>
                  <a:lnTo>
                    <a:pt x="738" y="210"/>
                  </a:lnTo>
                  <a:lnTo>
                    <a:pt x="738" y="216"/>
                  </a:lnTo>
                  <a:lnTo>
                    <a:pt x="744" y="222"/>
                  </a:lnTo>
                  <a:lnTo>
                    <a:pt x="750" y="228"/>
                  </a:lnTo>
                  <a:lnTo>
                    <a:pt x="756" y="228"/>
                  </a:lnTo>
                  <a:lnTo>
                    <a:pt x="768" y="240"/>
                  </a:lnTo>
                  <a:lnTo>
                    <a:pt x="774" y="252"/>
                  </a:lnTo>
                  <a:lnTo>
                    <a:pt x="780" y="258"/>
                  </a:lnTo>
                  <a:lnTo>
                    <a:pt x="786" y="258"/>
                  </a:lnTo>
                  <a:lnTo>
                    <a:pt x="798" y="264"/>
                  </a:lnTo>
                  <a:lnTo>
                    <a:pt x="798" y="270"/>
                  </a:lnTo>
                  <a:lnTo>
                    <a:pt x="798" y="276"/>
                  </a:lnTo>
                  <a:lnTo>
                    <a:pt x="810" y="288"/>
                  </a:lnTo>
                  <a:lnTo>
                    <a:pt x="816" y="288"/>
                  </a:lnTo>
                  <a:lnTo>
                    <a:pt x="816" y="300"/>
                  </a:lnTo>
                  <a:lnTo>
                    <a:pt x="816" y="306"/>
                  </a:lnTo>
                  <a:lnTo>
                    <a:pt x="822" y="318"/>
                  </a:lnTo>
                  <a:lnTo>
                    <a:pt x="828" y="324"/>
                  </a:lnTo>
                  <a:lnTo>
                    <a:pt x="834" y="330"/>
                  </a:lnTo>
                  <a:lnTo>
                    <a:pt x="846" y="336"/>
                  </a:lnTo>
                  <a:lnTo>
                    <a:pt x="846" y="342"/>
                  </a:lnTo>
                  <a:lnTo>
                    <a:pt x="852" y="348"/>
                  </a:lnTo>
                  <a:lnTo>
                    <a:pt x="852" y="354"/>
                  </a:lnTo>
                  <a:lnTo>
                    <a:pt x="858" y="354"/>
                  </a:lnTo>
                  <a:lnTo>
                    <a:pt x="858" y="348"/>
                  </a:lnTo>
                  <a:lnTo>
                    <a:pt x="864" y="342"/>
                  </a:lnTo>
                  <a:lnTo>
                    <a:pt x="864" y="336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76" y="306"/>
                  </a:lnTo>
                  <a:lnTo>
                    <a:pt x="870" y="300"/>
                  </a:lnTo>
                  <a:lnTo>
                    <a:pt x="870" y="294"/>
                  </a:lnTo>
                  <a:lnTo>
                    <a:pt x="876" y="294"/>
                  </a:lnTo>
                  <a:lnTo>
                    <a:pt x="882" y="300"/>
                  </a:lnTo>
                  <a:lnTo>
                    <a:pt x="888" y="300"/>
                  </a:lnTo>
                  <a:lnTo>
                    <a:pt x="888" y="306"/>
                  </a:lnTo>
                  <a:lnTo>
                    <a:pt x="894" y="300"/>
                  </a:lnTo>
                  <a:lnTo>
                    <a:pt x="900" y="294"/>
                  </a:lnTo>
                  <a:lnTo>
                    <a:pt x="894" y="288"/>
                  </a:lnTo>
                  <a:lnTo>
                    <a:pt x="888" y="282"/>
                  </a:lnTo>
                  <a:lnTo>
                    <a:pt x="888" y="276"/>
                  </a:lnTo>
                  <a:lnTo>
                    <a:pt x="894" y="276"/>
                  </a:lnTo>
                  <a:lnTo>
                    <a:pt x="900" y="276"/>
                  </a:lnTo>
                  <a:lnTo>
                    <a:pt x="900" y="270"/>
                  </a:lnTo>
                  <a:lnTo>
                    <a:pt x="906" y="264"/>
                  </a:lnTo>
                  <a:lnTo>
                    <a:pt x="906" y="258"/>
                  </a:lnTo>
                  <a:lnTo>
                    <a:pt x="918" y="264"/>
                  </a:lnTo>
                  <a:lnTo>
                    <a:pt x="918" y="258"/>
                  </a:lnTo>
                  <a:lnTo>
                    <a:pt x="924" y="252"/>
                  </a:lnTo>
                  <a:lnTo>
                    <a:pt x="930" y="252"/>
                  </a:lnTo>
                  <a:lnTo>
                    <a:pt x="930" y="246"/>
                  </a:lnTo>
                  <a:lnTo>
                    <a:pt x="936" y="234"/>
                  </a:lnTo>
                  <a:lnTo>
                    <a:pt x="942" y="228"/>
                  </a:lnTo>
                  <a:lnTo>
                    <a:pt x="942" y="222"/>
                  </a:lnTo>
                  <a:lnTo>
                    <a:pt x="948" y="222"/>
                  </a:lnTo>
                  <a:lnTo>
                    <a:pt x="948" y="216"/>
                  </a:lnTo>
                  <a:lnTo>
                    <a:pt x="942" y="216"/>
                  </a:lnTo>
                  <a:lnTo>
                    <a:pt x="936" y="216"/>
                  </a:lnTo>
                  <a:lnTo>
                    <a:pt x="936" y="210"/>
                  </a:lnTo>
                  <a:lnTo>
                    <a:pt x="942" y="210"/>
                  </a:lnTo>
                  <a:lnTo>
                    <a:pt x="972" y="210"/>
                  </a:lnTo>
                  <a:lnTo>
                    <a:pt x="1032" y="216"/>
                  </a:lnTo>
                  <a:lnTo>
                    <a:pt x="1068" y="216"/>
                  </a:lnTo>
                  <a:lnTo>
                    <a:pt x="1056" y="234"/>
                  </a:lnTo>
                  <a:lnTo>
                    <a:pt x="1050" y="240"/>
                  </a:lnTo>
                  <a:lnTo>
                    <a:pt x="1044" y="246"/>
                  </a:lnTo>
                  <a:lnTo>
                    <a:pt x="1038" y="246"/>
                  </a:lnTo>
                  <a:lnTo>
                    <a:pt x="1026" y="282"/>
                  </a:lnTo>
                  <a:lnTo>
                    <a:pt x="1032" y="306"/>
                  </a:lnTo>
                  <a:lnTo>
                    <a:pt x="1044" y="324"/>
                  </a:lnTo>
                  <a:lnTo>
                    <a:pt x="1044" y="342"/>
                  </a:lnTo>
                  <a:lnTo>
                    <a:pt x="1062" y="366"/>
                  </a:lnTo>
                  <a:lnTo>
                    <a:pt x="1056" y="396"/>
                  </a:lnTo>
                  <a:lnTo>
                    <a:pt x="1038" y="462"/>
                  </a:lnTo>
                  <a:lnTo>
                    <a:pt x="1038" y="498"/>
                  </a:lnTo>
                  <a:lnTo>
                    <a:pt x="1038" y="522"/>
                  </a:lnTo>
                  <a:lnTo>
                    <a:pt x="1038" y="534"/>
                  </a:lnTo>
                  <a:lnTo>
                    <a:pt x="1056" y="522"/>
                  </a:lnTo>
                  <a:lnTo>
                    <a:pt x="1098" y="504"/>
                  </a:lnTo>
                  <a:lnTo>
                    <a:pt x="1104" y="498"/>
                  </a:lnTo>
                  <a:lnTo>
                    <a:pt x="1128" y="492"/>
                  </a:lnTo>
                  <a:lnTo>
                    <a:pt x="1152" y="480"/>
                  </a:lnTo>
                  <a:lnTo>
                    <a:pt x="1170" y="474"/>
                  </a:lnTo>
                  <a:lnTo>
                    <a:pt x="1188" y="468"/>
                  </a:lnTo>
                  <a:lnTo>
                    <a:pt x="1200" y="462"/>
                  </a:lnTo>
                  <a:lnTo>
                    <a:pt x="1224" y="450"/>
                  </a:lnTo>
                  <a:lnTo>
                    <a:pt x="1248" y="450"/>
                  </a:lnTo>
                  <a:lnTo>
                    <a:pt x="1266" y="450"/>
                  </a:lnTo>
                  <a:lnTo>
                    <a:pt x="1296" y="456"/>
                  </a:lnTo>
                  <a:lnTo>
                    <a:pt x="1308" y="456"/>
                  </a:lnTo>
                  <a:lnTo>
                    <a:pt x="1326" y="456"/>
                  </a:lnTo>
                  <a:lnTo>
                    <a:pt x="1338" y="456"/>
                  </a:lnTo>
                  <a:lnTo>
                    <a:pt x="1350" y="462"/>
                  </a:lnTo>
                  <a:lnTo>
                    <a:pt x="1356" y="462"/>
                  </a:lnTo>
                  <a:lnTo>
                    <a:pt x="1374" y="456"/>
                  </a:lnTo>
                  <a:lnTo>
                    <a:pt x="1386" y="456"/>
                  </a:lnTo>
                  <a:lnTo>
                    <a:pt x="1392" y="456"/>
                  </a:lnTo>
                  <a:lnTo>
                    <a:pt x="1398" y="456"/>
                  </a:lnTo>
                  <a:lnTo>
                    <a:pt x="1422" y="456"/>
                  </a:lnTo>
                  <a:lnTo>
                    <a:pt x="1440" y="456"/>
                  </a:lnTo>
                  <a:lnTo>
                    <a:pt x="1446" y="456"/>
                  </a:lnTo>
                  <a:lnTo>
                    <a:pt x="1476" y="456"/>
                  </a:lnTo>
                  <a:lnTo>
                    <a:pt x="1470" y="468"/>
                  </a:lnTo>
                  <a:lnTo>
                    <a:pt x="1470" y="474"/>
                  </a:lnTo>
                  <a:lnTo>
                    <a:pt x="1470" y="486"/>
                  </a:lnTo>
                  <a:lnTo>
                    <a:pt x="1464" y="492"/>
                  </a:lnTo>
                  <a:lnTo>
                    <a:pt x="1464" y="498"/>
                  </a:lnTo>
                  <a:lnTo>
                    <a:pt x="1458" y="498"/>
                  </a:lnTo>
                  <a:lnTo>
                    <a:pt x="1458" y="510"/>
                  </a:lnTo>
                  <a:lnTo>
                    <a:pt x="1452" y="522"/>
                  </a:lnTo>
                  <a:lnTo>
                    <a:pt x="1458" y="528"/>
                  </a:lnTo>
                  <a:lnTo>
                    <a:pt x="1464" y="546"/>
                  </a:lnTo>
                  <a:lnTo>
                    <a:pt x="1470" y="552"/>
                  </a:lnTo>
                  <a:lnTo>
                    <a:pt x="1476" y="564"/>
                  </a:lnTo>
                  <a:lnTo>
                    <a:pt x="1488" y="588"/>
                  </a:lnTo>
                  <a:lnTo>
                    <a:pt x="1506" y="606"/>
                  </a:lnTo>
                  <a:lnTo>
                    <a:pt x="1506" y="612"/>
                  </a:lnTo>
                  <a:lnTo>
                    <a:pt x="1518" y="618"/>
                  </a:lnTo>
                  <a:lnTo>
                    <a:pt x="1512" y="630"/>
                  </a:lnTo>
                  <a:lnTo>
                    <a:pt x="1518" y="642"/>
                  </a:lnTo>
                  <a:lnTo>
                    <a:pt x="1518" y="648"/>
                  </a:lnTo>
                  <a:lnTo>
                    <a:pt x="1530" y="666"/>
                  </a:lnTo>
                  <a:lnTo>
                    <a:pt x="1518" y="672"/>
                  </a:lnTo>
                  <a:lnTo>
                    <a:pt x="1524" y="696"/>
                  </a:lnTo>
                  <a:lnTo>
                    <a:pt x="1518" y="732"/>
                  </a:lnTo>
                  <a:lnTo>
                    <a:pt x="1524" y="762"/>
                  </a:lnTo>
                  <a:lnTo>
                    <a:pt x="1524" y="780"/>
                  </a:lnTo>
                  <a:lnTo>
                    <a:pt x="1524" y="810"/>
                  </a:lnTo>
                  <a:lnTo>
                    <a:pt x="1530" y="834"/>
                  </a:lnTo>
                  <a:lnTo>
                    <a:pt x="1536" y="846"/>
                  </a:lnTo>
                  <a:lnTo>
                    <a:pt x="1542" y="846"/>
                  </a:lnTo>
                  <a:lnTo>
                    <a:pt x="1584" y="840"/>
                  </a:lnTo>
                  <a:lnTo>
                    <a:pt x="1590" y="846"/>
                  </a:lnTo>
                  <a:lnTo>
                    <a:pt x="1596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90" y="864"/>
                  </a:lnTo>
                  <a:lnTo>
                    <a:pt x="1578" y="882"/>
                  </a:lnTo>
                  <a:lnTo>
                    <a:pt x="1572" y="906"/>
                  </a:lnTo>
                  <a:lnTo>
                    <a:pt x="1560" y="924"/>
                  </a:lnTo>
                  <a:lnTo>
                    <a:pt x="1560" y="936"/>
                  </a:lnTo>
                  <a:lnTo>
                    <a:pt x="1548" y="960"/>
                  </a:lnTo>
                  <a:lnTo>
                    <a:pt x="1542" y="978"/>
                  </a:lnTo>
                  <a:lnTo>
                    <a:pt x="1536" y="990"/>
                  </a:lnTo>
                  <a:lnTo>
                    <a:pt x="1530" y="990"/>
                  </a:lnTo>
                  <a:lnTo>
                    <a:pt x="1506" y="996"/>
                  </a:lnTo>
                  <a:lnTo>
                    <a:pt x="1494" y="1002"/>
                  </a:lnTo>
                  <a:lnTo>
                    <a:pt x="1482" y="1002"/>
                  </a:lnTo>
                  <a:lnTo>
                    <a:pt x="1464" y="1008"/>
                  </a:lnTo>
                  <a:lnTo>
                    <a:pt x="1446" y="1026"/>
                  </a:lnTo>
                  <a:lnTo>
                    <a:pt x="1440" y="1026"/>
                  </a:lnTo>
                  <a:lnTo>
                    <a:pt x="1434" y="1038"/>
                  </a:lnTo>
                  <a:lnTo>
                    <a:pt x="1428" y="1044"/>
                  </a:lnTo>
                  <a:lnTo>
                    <a:pt x="1428" y="1062"/>
                  </a:lnTo>
                  <a:lnTo>
                    <a:pt x="1428" y="1086"/>
                  </a:lnTo>
                  <a:lnTo>
                    <a:pt x="1416" y="1092"/>
                  </a:lnTo>
                  <a:lnTo>
                    <a:pt x="1410" y="1080"/>
                  </a:lnTo>
                  <a:lnTo>
                    <a:pt x="1392" y="10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0" name="Freeform 25">
              <a:extLst>
                <a:ext uri="{FF2B5EF4-FFF2-40B4-BE49-F238E27FC236}">
                  <a16:creationId xmlns:a16="http://schemas.microsoft.com/office/drawing/2014/main" id="{39FDFF90-5ACF-4D65-81AD-C44D2CBE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70228" y="3063559"/>
              <a:ext cx="644023" cy="704498"/>
            </a:xfrm>
            <a:custGeom>
              <a:avLst/>
              <a:gdLst>
                <a:gd name="T0" fmla="*/ 74 w 1212"/>
                <a:gd name="T1" fmla="*/ 113 h 1326"/>
                <a:gd name="T2" fmla="*/ 60 w 1212"/>
                <a:gd name="T3" fmla="*/ 116 h 1326"/>
                <a:gd name="T4" fmla="*/ 62 w 1212"/>
                <a:gd name="T5" fmla="*/ 110 h 1326"/>
                <a:gd name="T6" fmla="*/ 60 w 1212"/>
                <a:gd name="T7" fmla="*/ 105 h 1326"/>
                <a:gd name="T8" fmla="*/ 52 w 1212"/>
                <a:gd name="T9" fmla="*/ 96 h 1326"/>
                <a:gd name="T10" fmla="*/ 47 w 1212"/>
                <a:gd name="T11" fmla="*/ 98 h 1326"/>
                <a:gd name="T12" fmla="*/ 44 w 1212"/>
                <a:gd name="T13" fmla="*/ 93 h 1326"/>
                <a:gd name="T14" fmla="*/ 40 w 1212"/>
                <a:gd name="T15" fmla="*/ 96 h 1326"/>
                <a:gd name="T16" fmla="*/ 35 w 1212"/>
                <a:gd name="T17" fmla="*/ 102 h 1326"/>
                <a:gd name="T18" fmla="*/ 27 w 1212"/>
                <a:gd name="T19" fmla="*/ 100 h 1326"/>
                <a:gd name="T20" fmla="*/ 23 w 1212"/>
                <a:gd name="T21" fmla="*/ 96 h 1326"/>
                <a:gd name="T22" fmla="*/ 20 w 1212"/>
                <a:gd name="T23" fmla="*/ 90 h 1326"/>
                <a:gd name="T24" fmla="*/ 18 w 1212"/>
                <a:gd name="T25" fmla="*/ 89 h 1326"/>
                <a:gd name="T26" fmla="*/ 18 w 1212"/>
                <a:gd name="T27" fmla="*/ 85 h 1326"/>
                <a:gd name="T28" fmla="*/ 19 w 1212"/>
                <a:gd name="T29" fmla="*/ 83 h 1326"/>
                <a:gd name="T30" fmla="*/ 19 w 1212"/>
                <a:gd name="T31" fmla="*/ 82 h 1326"/>
                <a:gd name="T32" fmla="*/ 20 w 1212"/>
                <a:gd name="T33" fmla="*/ 79 h 1326"/>
                <a:gd name="T34" fmla="*/ 19 w 1212"/>
                <a:gd name="T35" fmla="*/ 75 h 1326"/>
                <a:gd name="T36" fmla="*/ 17 w 1212"/>
                <a:gd name="T37" fmla="*/ 77 h 1326"/>
                <a:gd name="T38" fmla="*/ 14 w 1212"/>
                <a:gd name="T39" fmla="*/ 76 h 1326"/>
                <a:gd name="T40" fmla="*/ 12 w 1212"/>
                <a:gd name="T41" fmla="*/ 71 h 1326"/>
                <a:gd name="T42" fmla="*/ 8 w 1212"/>
                <a:gd name="T43" fmla="*/ 69 h 1326"/>
                <a:gd name="T44" fmla="*/ 0 w 1212"/>
                <a:gd name="T45" fmla="*/ 72 h 1326"/>
                <a:gd name="T46" fmla="*/ 2 w 1212"/>
                <a:gd name="T47" fmla="*/ 67 h 1326"/>
                <a:gd name="T48" fmla="*/ 3 w 1212"/>
                <a:gd name="T49" fmla="*/ 61 h 1326"/>
                <a:gd name="T50" fmla="*/ 4 w 1212"/>
                <a:gd name="T51" fmla="*/ 56 h 1326"/>
                <a:gd name="T52" fmla="*/ 4 w 1212"/>
                <a:gd name="T53" fmla="*/ 52 h 1326"/>
                <a:gd name="T54" fmla="*/ 2 w 1212"/>
                <a:gd name="T55" fmla="*/ 47 h 1326"/>
                <a:gd name="T56" fmla="*/ 2 w 1212"/>
                <a:gd name="T57" fmla="*/ 42 h 1326"/>
                <a:gd name="T58" fmla="*/ 5 w 1212"/>
                <a:gd name="T59" fmla="*/ 39 h 1326"/>
                <a:gd name="T60" fmla="*/ 5 w 1212"/>
                <a:gd name="T61" fmla="*/ 35 h 1326"/>
                <a:gd name="T62" fmla="*/ 7 w 1212"/>
                <a:gd name="T63" fmla="*/ 31 h 1326"/>
                <a:gd name="T64" fmla="*/ 14 w 1212"/>
                <a:gd name="T65" fmla="*/ 31 h 1326"/>
                <a:gd name="T66" fmla="*/ 18 w 1212"/>
                <a:gd name="T67" fmla="*/ 27 h 1326"/>
                <a:gd name="T68" fmla="*/ 22 w 1212"/>
                <a:gd name="T69" fmla="*/ 24 h 1326"/>
                <a:gd name="T70" fmla="*/ 27 w 1212"/>
                <a:gd name="T71" fmla="*/ 20 h 1326"/>
                <a:gd name="T72" fmla="*/ 35 w 1212"/>
                <a:gd name="T73" fmla="*/ 21 h 1326"/>
                <a:gd name="T74" fmla="*/ 61 w 1212"/>
                <a:gd name="T75" fmla="*/ 8 h 1326"/>
                <a:gd name="T76" fmla="*/ 73 w 1212"/>
                <a:gd name="T77" fmla="*/ 4 h 1326"/>
                <a:gd name="T78" fmla="*/ 86 w 1212"/>
                <a:gd name="T79" fmla="*/ 12 h 1326"/>
                <a:gd name="T80" fmla="*/ 92 w 1212"/>
                <a:gd name="T81" fmla="*/ 13 h 1326"/>
                <a:gd name="T82" fmla="*/ 86 w 1212"/>
                <a:gd name="T83" fmla="*/ 18 h 1326"/>
                <a:gd name="T84" fmla="*/ 88 w 1212"/>
                <a:gd name="T85" fmla="*/ 33 h 1326"/>
                <a:gd name="T86" fmla="*/ 97 w 1212"/>
                <a:gd name="T87" fmla="*/ 49 h 1326"/>
                <a:gd name="T88" fmla="*/ 102 w 1212"/>
                <a:gd name="T89" fmla="*/ 57 h 1326"/>
                <a:gd name="T90" fmla="*/ 104 w 1212"/>
                <a:gd name="T91" fmla="*/ 67 h 1326"/>
                <a:gd name="T92" fmla="*/ 101 w 1212"/>
                <a:gd name="T93" fmla="*/ 69 h 1326"/>
                <a:gd name="T94" fmla="*/ 97 w 1212"/>
                <a:gd name="T95" fmla="*/ 69 h 1326"/>
                <a:gd name="T96" fmla="*/ 96 w 1212"/>
                <a:gd name="T97" fmla="*/ 71 h 1326"/>
                <a:gd name="T98" fmla="*/ 93 w 1212"/>
                <a:gd name="T99" fmla="*/ 70 h 1326"/>
                <a:gd name="T100" fmla="*/ 86 w 1212"/>
                <a:gd name="T101" fmla="*/ 69 h 1326"/>
                <a:gd name="T102" fmla="*/ 82 w 1212"/>
                <a:gd name="T103" fmla="*/ 73 h 1326"/>
                <a:gd name="T104" fmla="*/ 79 w 1212"/>
                <a:gd name="T105" fmla="*/ 74 h 1326"/>
                <a:gd name="T106" fmla="*/ 78 w 1212"/>
                <a:gd name="T107" fmla="*/ 79 h 1326"/>
                <a:gd name="T108" fmla="*/ 78 w 1212"/>
                <a:gd name="T109" fmla="*/ 83 h 1326"/>
                <a:gd name="T110" fmla="*/ 82 w 1212"/>
                <a:gd name="T111" fmla="*/ 87 h 1326"/>
                <a:gd name="T112" fmla="*/ 83 w 1212"/>
                <a:gd name="T113" fmla="*/ 90 h 1326"/>
                <a:gd name="T114" fmla="*/ 82 w 1212"/>
                <a:gd name="T115" fmla="*/ 94 h 1326"/>
                <a:gd name="T116" fmla="*/ 82 w 1212"/>
                <a:gd name="T117" fmla="*/ 98 h 1326"/>
                <a:gd name="T118" fmla="*/ 82 w 1212"/>
                <a:gd name="T119" fmla="*/ 104 h 1326"/>
                <a:gd name="T120" fmla="*/ 78 w 1212"/>
                <a:gd name="T121" fmla="*/ 110 h 132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12"/>
                <a:gd name="T184" fmla="*/ 0 h 1326"/>
                <a:gd name="T185" fmla="*/ 1212 w 1212"/>
                <a:gd name="T186" fmla="*/ 1326 h 132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12" h="1326">
                  <a:moveTo>
                    <a:pt x="906" y="1290"/>
                  </a:moveTo>
                  <a:lnTo>
                    <a:pt x="906" y="1296"/>
                  </a:lnTo>
                  <a:lnTo>
                    <a:pt x="900" y="1296"/>
                  </a:lnTo>
                  <a:lnTo>
                    <a:pt x="876" y="1290"/>
                  </a:lnTo>
                  <a:lnTo>
                    <a:pt x="870" y="1290"/>
                  </a:lnTo>
                  <a:lnTo>
                    <a:pt x="864" y="1296"/>
                  </a:lnTo>
                  <a:lnTo>
                    <a:pt x="852" y="1296"/>
                  </a:lnTo>
                  <a:lnTo>
                    <a:pt x="840" y="1302"/>
                  </a:lnTo>
                  <a:lnTo>
                    <a:pt x="834" y="1308"/>
                  </a:lnTo>
                  <a:lnTo>
                    <a:pt x="822" y="1320"/>
                  </a:lnTo>
                  <a:lnTo>
                    <a:pt x="816" y="1320"/>
                  </a:lnTo>
                  <a:lnTo>
                    <a:pt x="732" y="1320"/>
                  </a:lnTo>
                  <a:lnTo>
                    <a:pt x="696" y="1320"/>
                  </a:lnTo>
                  <a:lnTo>
                    <a:pt x="690" y="1326"/>
                  </a:lnTo>
                  <a:lnTo>
                    <a:pt x="678" y="1326"/>
                  </a:lnTo>
                  <a:lnTo>
                    <a:pt x="672" y="1308"/>
                  </a:lnTo>
                  <a:lnTo>
                    <a:pt x="696" y="1302"/>
                  </a:lnTo>
                  <a:lnTo>
                    <a:pt x="708" y="1296"/>
                  </a:lnTo>
                  <a:lnTo>
                    <a:pt x="720" y="1284"/>
                  </a:lnTo>
                  <a:lnTo>
                    <a:pt x="714" y="1278"/>
                  </a:lnTo>
                  <a:lnTo>
                    <a:pt x="714" y="1266"/>
                  </a:lnTo>
                  <a:lnTo>
                    <a:pt x="708" y="1260"/>
                  </a:lnTo>
                  <a:lnTo>
                    <a:pt x="708" y="1254"/>
                  </a:lnTo>
                  <a:lnTo>
                    <a:pt x="708" y="1248"/>
                  </a:lnTo>
                  <a:lnTo>
                    <a:pt x="702" y="1236"/>
                  </a:lnTo>
                  <a:lnTo>
                    <a:pt x="702" y="1230"/>
                  </a:lnTo>
                  <a:lnTo>
                    <a:pt x="702" y="1218"/>
                  </a:lnTo>
                  <a:lnTo>
                    <a:pt x="696" y="1200"/>
                  </a:lnTo>
                  <a:lnTo>
                    <a:pt x="696" y="1182"/>
                  </a:lnTo>
                  <a:lnTo>
                    <a:pt x="666" y="1182"/>
                  </a:lnTo>
                  <a:lnTo>
                    <a:pt x="672" y="1134"/>
                  </a:lnTo>
                  <a:lnTo>
                    <a:pt x="666" y="1128"/>
                  </a:lnTo>
                  <a:lnTo>
                    <a:pt x="660" y="1092"/>
                  </a:lnTo>
                  <a:lnTo>
                    <a:pt x="654" y="1098"/>
                  </a:lnTo>
                  <a:lnTo>
                    <a:pt x="594" y="1098"/>
                  </a:lnTo>
                  <a:lnTo>
                    <a:pt x="576" y="1098"/>
                  </a:lnTo>
                  <a:lnTo>
                    <a:pt x="570" y="1104"/>
                  </a:lnTo>
                  <a:lnTo>
                    <a:pt x="564" y="1110"/>
                  </a:lnTo>
                  <a:lnTo>
                    <a:pt x="558" y="1110"/>
                  </a:lnTo>
                  <a:lnTo>
                    <a:pt x="552" y="1110"/>
                  </a:lnTo>
                  <a:lnTo>
                    <a:pt x="546" y="1110"/>
                  </a:lnTo>
                  <a:lnTo>
                    <a:pt x="546" y="1116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10" y="1128"/>
                  </a:lnTo>
                  <a:lnTo>
                    <a:pt x="522" y="1104"/>
                  </a:lnTo>
                  <a:lnTo>
                    <a:pt x="510" y="1098"/>
                  </a:lnTo>
                  <a:lnTo>
                    <a:pt x="510" y="1074"/>
                  </a:lnTo>
                  <a:lnTo>
                    <a:pt x="504" y="1068"/>
                  </a:lnTo>
                  <a:lnTo>
                    <a:pt x="498" y="1068"/>
                  </a:lnTo>
                  <a:lnTo>
                    <a:pt x="492" y="1068"/>
                  </a:lnTo>
                  <a:lnTo>
                    <a:pt x="474" y="1080"/>
                  </a:lnTo>
                  <a:lnTo>
                    <a:pt x="474" y="1086"/>
                  </a:lnTo>
                  <a:lnTo>
                    <a:pt x="474" y="1092"/>
                  </a:lnTo>
                  <a:lnTo>
                    <a:pt x="468" y="1098"/>
                  </a:lnTo>
                  <a:lnTo>
                    <a:pt x="462" y="1104"/>
                  </a:lnTo>
                  <a:lnTo>
                    <a:pt x="456" y="1110"/>
                  </a:lnTo>
                  <a:lnTo>
                    <a:pt x="456" y="1122"/>
                  </a:lnTo>
                  <a:lnTo>
                    <a:pt x="456" y="1128"/>
                  </a:lnTo>
                  <a:lnTo>
                    <a:pt x="450" y="1140"/>
                  </a:lnTo>
                  <a:lnTo>
                    <a:pt x="444" y="1146"/>
                  </a:lnTo>
                  <a:lnTo>
                    <a:pt x="426" y="1170"/>
                  </a:lnTo>
                  <a:lnTo>
                    <a:pt x="408" y="1176"/>
                  </a:lnTo>
                  <a:lnTo>
                    <a:pt x="402" y="1170"/>
                  </a:lnTo>
                  <a:lnTo>
                    <a:pt x="396" y="1170"/>
                  </a:lnTo>
                  <a:lnTo>
                    <a:pt x="396" y="1158"/>
                  </a:lnTo>
                  <a:lnTo>
                    <a:pt x="384" y="1152"/>
                  </a:lnTo>
                  <a:lnTo>
                    <a:pt x="372" y="1140"/>
                  </a:lnTo>
                  <a:lnTo>
                    <a:pt x="354" y="1140"/>
                  </a:lnTo>
                  <a:lnTo>
                    <a:pt x="306" y="1146"/>
                  </a:lnTo>
                  <a:lnTo>
                    <a:pt x="294" y="1134"/>
                  </a:lnTo>
                  <a:lnTo>
                    <a:pt x="294" y="1128"/>
                  </a:lnTo>
                  <a:lnTo>
                    <a:pt x="288" y="1122"/>
                  </a:lnTo>
                  <a:lnTo>
                    <a:pt x="276" y="1122"/>
                  </a:lnTo>
                  <a:lnTo>
                    <a:pt x="276" y="1110"/>
                  </a:lnTo>
                  <a:lnTo>
                    <a:pt x="276" y="1104"/>
                  </a:lnTo>
                  <a:lnTo>
                    <a:pt x="270" y="1098"/>
                  </a:lnTo>
                  <a:lnTo>
                    <a:pt x="264" y="1086"/>
                  </a:lnTo>
                  <a:lnTo>
                    <a:pt x="264" y="1074"/>
                  </a:lnTo>
                  <a:lnTo>
                    <a:pt x="258" y="1068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34" y="1038"/>
                  </a:lnTo>
                  <a:lnTo>
                    <a:pt x="228" y="1038"/>
                  </a:lnTo>
                  <a:lnTo>
                    <a:pt x="222" y="1038"/>
                  </a:lnTo>
                  <a:lnTo>
                    <a:pt x="216" y="1038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0"/>
                  </a:lnTo>
                  <a:lnTo>
                    <a:pt x="204" y="1014"/>
                  </a:lnTo>
                  <a:lnTo>
                    <a:pt x="204" y="1008"/>
                  </a:lnTo>
                  <a:lnTo>
                    <a:pt x="198" y="1002"/>
                  </a:lnTo>
                  <a:lnTo>
                    <a:pt x="198" y="996"/>
                  </a:lnTo>
                  <a:lnTo>
                    <a:pt x="198" y="990"/>
                  </a:lnTo>
                  <a:lnTo>
                    <a:pt x="204" y="990"/>
                  </a:lnTo>
                  <a:lnTo>
                    <a:pt x="204" y="984"/>
                  </a:lnTo>
                  <a:lnTo>
                    <a:pt x="210" y="978"/>
                  </a:lnTo>
                  <a:lnTo>
                    <a:pt x="210" y="972"/>
                  </a:lnTo>
                  <a:lnTo>
                    <a:pt x="210" y="966"/>
                  </a:lnTo>
                  <a:lnTo>
                    <a:pt x="216" y="960"/>
                  </a:lnTo>
                  <a:lnTo>
                    <a:pt x="216" y="954"/>
                  </a:lnTo>
                  <a:lnTo>
                    <a:pt x="210" y="954"/>
                  </a:lnTo>
                  <a:lnTo>
                    <a:pt x="204" y="954"/>
                  </a:lnTo>
                  <a:lnTo>
                    <a:pt x="216" y="954"/>
                  </a:lnTo>
                  <a:lnTo>
                    <a:pt x="216" y="948"/>
                  </a:lnTo>
                  <a:lnTo>
                    <a:pt x="210" y="948"/>
                  </a:lnTo>
                  <a:lnTo>
                    <a:pt x="210" y="942"/>
                  </a:lnTo>
                  <a:lnTo>
                    <a:pt x="216" y="942"/>
                  </a:lnTo>
                  <a:lnTo>
                    <a:pt x="222" y="942"/>
                  </a:lnTo>
                  <a:lnTo>
                    <a:pt x="222" y="936"/>
                  </a:lnTo>
                  <a:lnTo>
                    <a:pt x="216" y="936"/>
                  </a:lnTo>
                  <a:lnTo>
                    <a:pt x="210" y="936"/>
                  </a:lnTo>
                  <a:lnTo>
                    <a:pt x="210" y="930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22" y="918"/>
                  </a:lnTo>
                  <a:lnTo>
                    <a:pt x="228" y="912"/>
                  </a:lnTo>
                  <a:lnTo>
                    <a:pt x="228" y="906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2" y="888"/>
                  </a:lnTo>
                  <a:lnTo>
                    <a:pt x="222" y="882"/>
                  </a:lnTo>
                  <a:lnTo>
                    <a:pt x="222" y="876"/>
                  </a:lnTo>
                  <a:lnTo>
                    <a:pt x="222" y="858"/>
                  </a:lnTo>
                  <a:lnTo>
                    <a:pt x="216" y="858"/>
                  </a:lnTo>
                  <a:lnTo>
                    <a:pt x="216" y="852"/>
                  </a:lnTo>
                  <a:lnTo>
                    <a:pt x="210" y="852"/>
                  </a:lnTo>
                  <a:lnTo>
                    <a:pt x="210" y="840"/>
                  </a:lnTo>
                  <a:lnTo>
                    <a:pt x="198" y="840"/>
                  </a:lnTo>
                  <a:lnTo>
                    <a:pt x="198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0" y="894"/>
                  </a:lnTo>
                  <a:lnTo>
                    <a:pt x="180" y="906"/>
                  </a:lnTo>
                  <a:lnTo>
                    <a:pt x="156" y="912"/>
                  </a:lnTo>
                  <a:lnTo>
                    <a:pt x="156" y="894"/>
                  </a:lnTo>
                  <a:lnTo>
                    <a:pt x="156" y="882"/>
                  </a:lnTo>
                  <a:lnTo>
                    <a:pt x="156" y="876"/>
                  </a:lnTo>
                  <a:lnTo>
                    <a:pt x="150" y="876"/>
                  </a:lnTo>
                  <a:lnTo>
                    <a:pt x="144" y="876"/>
                  </a:lnTo>
                  <a:lnTo>
                    <a:pt x="138" y="870"/>
                  </a:lnTo>
                  <a:lnTo>
                    <a:pt x="132" y="864"/>
                  </a:lnTo>
                  <a:lnTo>
                    <a:pt x="138" y="840"/>
                  </a:lnTo>
                  <a:lnTo>
                    <a:pt x="132" y="840"/>
                  </a:lnTo>
                  <a:lnTo>
                    <a:pt x="138" y="810"/>
                  </a:lnTo>
                  <a:lnTo>
                    <a:pt x="144" y="804"/>
                  </a:lnTo>
                  <a:lnTo>
                    <a:pt x="144" y="798"/>
                  </a:lnTo>
                  <a:lnTo>
                    <a:pt x="156" y="798"/>
                  </a:lnTo>
                  <a:lnTo>
                    <a:pt x="156" y="792"/>
                  </a:lnTo>
                  <a:lnTo>
                    <a:pt x="120" y="792"/>
                  </a:lnTo>
                  <a:lnTo>
                    <a:pt x="108" y="786"/>
                  </a:lnTo>
                  <a:lnTo>
                    <a:pt x="96" y="786"/>
                  </a:lnTo>
                  <a:lnTo>
                    <a:pt x="96" y="780"/>
                  </a:lnTo>
                  <a:lnTo>
                    <a:pt x="78" y="780"/>
                  </a:lnTo>
                  <a:lnTo>
                    <a:pt x="72" y="804"/>
                  </a:lnTo>
                  <a:lnTo>
                    <a:pt x="60" y="816"/>
                  </a:lnTo>
                  <a:lnTo>
                    <a:pt x="36" y="828"/>
                  </a:lnTo>
                  <a:lnTo>
                    <a:pt x="18" y="840"/>
                  </a:lnTo>
                  <a:lnTo>
                    <a:pt x="0" y="822"/>
                  </a:lnTo>
                  <a:lnTo>
                    <a:pt x="6" y="816"/>
                  </a:lnTo>
                  <a:lnTo>
                    <a:pt x="12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18" y="786"/>
                  </a:lnTo>
                  <a:lnTo>
                    <a:pt x="24" y="780"/>
                  </a:lnTo>
                  <a:lnTo>
                    <a:pt x="24" y="768"/>
                  </a:lnTo>
                  <a:lnTo>
                    <a:pt x="24" y="762"/>
                  </a:lnTo>
                  <a:lnTo>
                    <a:pt x="24" y="750"/>
                  </a:lnTo>
                  <a:lnTo>
                    <a:pt x="36" y="714"/>
                  </a:lnTo>
                  <a:lnTo>
                    <a:pt x="36" y="708"/>
                  </a:lnTo>
                  <a:lnTo>
                    <a:pt x="42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6" y="690"/>
                  </a:lnTo>
                  <a:lnTo>
                    <a:pt x="42" y="684"/>
                  </a:lnTo>
                  <a:lnTo>
                    <a:pt x="42" y="672"/>
                  </a:lnTo>
                  <a:lnTo>
                    <a:pt x="42" y="666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48" y="648"/>
                  </a:lnTo>
                  <a:lnTo>
                    <a:pt x="54" y="642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54" y="612"/>
                  </a:lnTo>
                  <a:lnTo>
                    <a:pt x="48" y="606"/>
                  </a:lnTo>
                  <a:lnTo>
                    <a:pt x="48" y="600"/>
                  </a:lnTo>
                  <a:lnTo>
                    <a:pt x="42" y="600"/>
                  </a:lnTo>
                  <a:lnTo>
                    <a:pt x="36" y="594"/>
                  </a:lnTo>
                  <a:lnTo>
                    <a:pt x="36" y="588"/>
                  </a:lnTo>
                  <a:lnTo>
                    <a:pt x="30" y="582"/>
                  </a:lnTo>
                  <a:lnTo>
                    <a:pt x="30" y="570"/>
                  </a:lnTo>
                  <a:lnTo>
                    <a:pt x="18" y="552"/>
                  </a:lnTo>
                  <a:lnTo>
                    <a:pt x="18" y="546"/>
                  </a:lnTo>
                  <a:lnTo>
                    <a:pt x="18" y="540"/>
                  </a:lnTo>
                  <a:lnTo>
                    <a:pt x="18" y="528"/>
                  </a:lnTo>
                  <a:lnTo>
                    <a:pt x="18" y="522"/>
                  </a:lnTo>
                  <a:lnTo>
                    <a:pt x="24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30" y="474"/>
                  </a:lnTo>
                  <a:lnTo>
                    <a:pt x="36" y="474"/>
                  </a:lnTo>
                  <a:lnTo>
                    <a:pt x="42" y="468"/>
                  </a:lnTo>
                  <a:lnTo>
                    <a:pt x="48" y="468"/>
                  </a:lnTo>
                  <a:lnTo>
                    <a:pt x="48" y="462"/>
                  </a:lnTo>
                  <a:lnTo>
                    <a:pt x="48" y="456"/>
                  </a:lnTo>
                  <a:lnTo>
                    <a:pt x="54" y="450"/>
                  </a:lnTo>
                  <a:lnTo>
                    <a:pt x="60" y="438"/>
                  </a:lnTo>
                  <a:lnTo>
                    <a:pt x="54" y="438"/>
                  </a:lnTo>
                  <a:lnTo>
                    <a:pt x="54" y="432"/>
                  </a:ln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54" y="402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6" y="384"/>
                  </a:lnTo>
                  <a:lnTo>
                    <a:pt x="72" y="372"/>
                  </a:lnTo>
                  <a:lnTo>
                    <a:pt x="78" y="366"/>
                  </a:lnTo>
                  <a:lnTo>
                    <a:pt x="84" y="360"/>
                  </a:lnTo>
                  <a:lnTo>
                    <a:pt x="102" y="360"/>
                  </a:lnTo>
                  <a:lnTo>
                    <a:pt x="114" y="36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8" y="360"/>
                  </a:lnTo>
                  <a:lnTo>
                    <a:pt x="156" y="360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74" y="342"/>
                  </a:lnTo>
                  <a:lnTo>
                    <a:pt x="180" y="342"/>
                  </a:lnTo>
                  <a:lnTo>
                    <a:pt x="186" y="336"/>
                  </a:lnTo>
                  <a:lnTo>
                    <a:pt x="192" y="330"/>
                  </a:lnTo>
                  <a:lnTo>
                    <a:pt x="204" y="312"/>
                  </a:lnTo>
                  <a:lnTo>
                    <a:pt x="210" y="312"/>
                  </a:lnTo>
                  <a:lnTo>
                    <a:pt x="216" y="306"/>
                  </a:lnTo>
                  <a:lnTo>
                    <a:pt x="216" y="300"/>
                  </a:lnTo>
                  <a:lnTo>
                    <a:pt x="222" y="288"/>
                  </a:lnTo>
                  <a:lnTo>
                    <a:pt x="234" y="288"/>
                  </a:lnTo>
                  <a:lnTo>
                    <a:pt x="240" y="282"/>
                  </a:lnTo>
                  <a:lnTo>
                    <a:pt x="246" y="282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70" y="270"/>
                  </a:lnTo>
                  <a:lnTo>
                    <a:pt x="276" y="264"/>
                  </a:lnTo>
                  <a:lnTo>
                    <a:pt x="282" y="26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8" y="234"/>
                  </a:lnTo>
                  <a:lnTo>
                    <a:pt x="330" y="234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72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14" y="240"/>
                  </a:lnTo>
                  <a:lnTo>
                    <a:pt x="444" y="216"/>
                  </a:lnTo>
                  <a:lnTo>
                    <a:pt x="480" y="204"/>
                  </a:lnTo>
                  <a:lnTo>
                    <a:pt x="600" y="150"/>
                  </a:lnTo>
                  <a:lnTo>
                    <a:pt x="648" y="126"/>
                  </a:lnTo>
                  <a:lnTo>
                    <a:pt x="702" y="96"/>
                  </a:lnTo>
                  <a:lnTo>
                    <a:pt x="708" y="54"/>
                  </a:lnTo>
                  <a:lnTo>
                    <a:pt x="720" y="24"/>
                  </a:lnTo>
                  <a:lnTo>
                    <a:pt x="738" y="12"/>
                  </a:lnTo>
                  <a:lnTo>
                    <a:pt x="768" y="0"/>
                  </a:lnTo>
                  <a:lnTo>
                    <a:pt x="792" y="6"/>
                  </a:lnTo>
                  <a:lnTo>
                    <a:pt x="804" y="12"/>
                  </a:lnTo>
                  <a:lnTo>
                    <a:pt x="834" y="48"/>
                  </a:lnTo>
                  <a:lnTo>
                    <a:pt x="834" y="60"/>
                  </a:lnTo>
                  <a:lnTo>
                    <a:pt x="852" y="84"/>
                  </a:lnTo>
                  <a:lnTo>
                    <a:pt x="864" y="96"/>
                  </a:lnTo>
                  <a:lnTo>
                    <a:pt x="888" y="102"/>
                  </a:lnTo>
                  <a:lnTo>
                    <a:pt x="978" y="120"/>
                  </a:lnTo>
                  <a:lnTo>
                    <a:pt x="984" y="126"/>
                  </a:lnTo>
                  <a:lnTo>
                    <a:pt x="984" y="132"/>
                  </a:lnTo>
                  <a:lnTo>
                    <a:pt x="996" y="138"/>
                  </a:lnTo>
                  <a:lnTo>
                    <a:pt x="1038" y="126"/>
                  </a:lnTo>
                  <a:lnTo>
                    <a:pt x="1056" y="114"/>
                  </a:lnTo>
                  <a:lnTo>
                    <a:pt x="1068" y="126"/>
                  </a:lnTo>
                  <a:lnTo>
                    <a:pt x="1074" y="132"/>
                  </a:lnTo>
                  <a:lnTo>
                    <a:pt x="1068" y="138"/>
                  </a:lnTo>
                  <a:lnTo>
                    <a:pt x="1056" y="150"/>
                  </a:lnTo>
                  <a:lnTo>
                    <a:pt x="1038" y="162"/>
                  </a:lnTo>
                  <a:lnTo>
                    <a:pt x="1038" y="168"/>
                  </a:lnTo>
                  <a:lnTo>
                    <a:pt x="1020" y="174"/>
                  </a:lnTo>
                  <a:lnTo>
                    <a:pt x="1014" y="180"/>
                  </a:lnTo>
                  <a:lnTo>
                    <a:pt x="1008" y="186"/>
                  </a:lnTo>
                  <a:lnTo>
                    <a:pt x="1002" y="198"/>
                  </a:lnTo>
                  <a:lnTo>
                    <a:pt x="984" y="204"/>
                  </a:lnTo>
                  <a:lnTo>
                    <a:pt x="984" y="246"/>
                  </a:lnTo>
                  <a:lnTo>
                    <a:pt x="978" y="270"/>
                  </a:lnTo>
                  <a:lnTo>
                    <a:pt x="990" y="306"/>
                  </a:lnTo>
                  <a:lnTo>
                    <a:pt x="990" y="324"/>
                  </a:lnTo>
                  <a:lnTo>
                    <a:pt x="1002" y="336"/>
                  </a:lnTo>
                  <a:lnTo>
                    <a:pt x="1020" y="372"/>
                  </a:lnTo>
                  <a:lnTo>
                    <a:pt x="1014" y="378"/>
                  </a:lnTo>
                  <a:lnTo>
                    <a:pt x="1014" y="384"/>
                  </a:lnTo>
                  <a:lnTo>
                    <a:pt x="1020" y="384"/>
                  </a:lnTo>
                  <a:lnTo>
                    <a:pt x="1020" y="396"/>
                  </a:lnTo>
                  <a:lnTo>
                    <a:pt x="1062" y="468"/>
                  </a:lnTo>
                  <a:lnTo>
                    <a:pt x="1092" y="522"/>
                  </a:lnTo>
                  <a:lnTo>
                    <a:pt x="1110" y="546"/>
                  </a:lnTo>
                  <a:lnTo>
                    <a:pt x="1122" y="564"/>
                  </a:lnTo>
                  <a:lnTo>
                    <a:pt x="1134" y="576"/>
                  </a:lnTo>
                  <a:lnTo>
                    <a:pt x="1146" y="582"/>
                  </a:lnTo>
                  <a:lnTo>
                    <a:pt x="1146" y="588"/>
                  </a:lnTo>
                  <a:lnTo>
                    <a:pt x="1164" y="600"/>
                  </a:lnTo>
                  <a:lnTo>
                    <a:pt x="1170" y="612"/>
                  </a:lnTo>
                  <a:lnTo>
                    <a:pt x="1170" y="624"/>
                  </a:lnTo>
                  <a:lnTo>
                    <a:pt x="1176" y="654"/>
                  </a:lnTo>
                  <a:lnTo>
                    <a:pt x="1176" y="666"/>
                  </a:lnTo>
                  <a:lnTo>
                    <a:pt x="1182" y="684"/>
                  </a:lnTo>
                  <a:lnTo>
                    <a:pt x="1194" y="696"/>
                  </a:lnTo>
                  <a:lnTo>
                    <a:pt x="1212" y="696"/>
                  </a:lnTo>
                  <a:lnTo>
                    <a:pt x="1206" y="762"/>
                  </a:lnTo>
                  <a:lnTo>
                    <a:pt x="1200" y="768"/>
                  </a:lnTo>
                  <a:lnTo>
                    <a:pt x="1194" y="768"/>
                  </a:lnTo>
                  <a:lnTo>
                    <a:pt x="1194" y="774"/>
                  </a:lnTo>
                  <a:lnTo>
                    <a:pt x="1188" y="774"/>
                  </a:lnTo>
                  <a:lnTo>
                    <a:pt x="1182" y="780"/>
                  </a:lnTo>
                  <a:lnTo>
                    <a:pt x="1176" y="780"/>
                  </a:lnTo>
                  <a:lnTo>
                    <a:pt x="1170" y="780"/>
                  </a:lnTo>
                  <a:lnTo>
                    <a:pt x="1164" y="786"/>
                  </a:lnTo>
                  <a:lnTo>
                    <a:pt x="1158" y="786"/>
                  </a:lnTo>
                  <a:lnTo>
                    <a:pt x="1152" y="786"/>
                  </a:lnTo>
                  <a:lnTo>
                    <a:pt x="1140" y="786"/>
                  </a:lnTo>
                  <a:lnTo>
                    <a:pt x="1134" y="786"/>
                  </a:lnTo>
                  <a:lnTo>
                    <a:pt x="1134" y="780"/>
                  </a:lnTo>
                  <a:lnTo>
                    <a:pt x="1122" y="780"/>
                  </a:lnTo>
                  <a:lnTo>
                    <a:pt x="1116" y="786"/>
                  </a:lnTo>
                  <a:lnTo>
                    <a:pt x="1116" y="792"/>
                  </a:lnTo>
                  <a:lnTo>
                    <a:pt x="1122" y="804"/>
                  </a:lnTo>
                  <a:lnTo>
                    <a:pt x="1128" y="804"/>
                  </a:lnTo>
                  <a:lnTo>
                    <a:pt x="1128" y="816"/>
                  </a:lnTo>
                  <a:lnTo>
                    <a:pt x="1122" y="822"/>
                  </a:lnTo>
                  <a:lnTo>
                    <a:pt x="1116" y="816"/>
                  </a:lnTo>
                  <a:lnTo>
                    <a:pt x="1110" y="816"/>
                  </a:lnTo>
                  <a:lnTo>
                    <a:pt x="1104" y="816"/>
                  </a:lnTo>
                  <a:lnTo>
                    <a:pt x="1098" y="816"/>
                  </a:lnTo>
                  <a:lnTo>
                    <a:pt x="1098" y="822"/>
                  </a:lnTo>
                  <a:lnTo>
                    <a:pt x="1092" y="834"/>
                  </a:lnTo>
                  <a:lnTo>
                    <a:pt x="1092" y="840"/>
                  </a:lnTo>
                  <a:lnTo>
                    <a:pt x="1074" y="840"/>
                  </a:lnTo>
                  <a:lnTo>
                    <a:pt x="1074" y="828"/>
                  </a:lnTo>
                  <a:lnTo>
                    <a:pt x="1062" y="804"/>
                  </a:lnTo>
                  <a:lnTo>
                    <a:pt x="1056" y="792"/>
                  </a:lnTo>
                  <a:lnTo>
                    <a:pt x="1056" y="786"/>
                  </a:lnTo>
                  <a:lnTo>
                    <a:pt x="1026" y="780"/>
                  </a:lnTo>
                  <a:lnTo>
                    <a:pt x="1026" y="768"/>
                  </a:lnTo>
                  <a:lnTo>
                    <a:pt x="1008" y="768"/>
                  </a:lnTo>
                  <a:lnTo>
                    <a:pt x="1002" y="780"/>
                  </a:lnTo>
                  <a:lnTo>
                    <a:pt x="996" y="792"/>
                  </a:lnTo>
                  <a:lnTo>
                    <a:pt x="978" y="798"/>
                  </a:lnTo>
                  <a:lnTo>
                    <a:pt x="972" y="810"/>
                  </a:lnTo>
                  <a:lnTo>
                    <a:pt x="972" y="822"/>
                  </a:lnTo>
                  <a:lnTo>
                    <a:pt x="978" y="828"/>
                  </a:lnTo>
                  <a:lnTo>
                    <a:pt x="978" y="834"/>
                  </a:lnTo>
                  <a:lnTo>
                    <a:pt x="960" y="840"/>
                  </a:lnTo>
                  <a:lnTo>
                    <a:pt x="936" y="840"/>
                  </a:lnTo>
                  <a:lnTo>
                    <a:pt x="918" y="846"/>
                  </a:lnTo>
                  <a:lnTo>
                    <a:pt x="912" y="840"/>
                  </a:lnTo>
                  <a:lnTo>
                    <a:pt x="912" y="834"/>
                  </a:lnTo>
                  <a:lnTo>
                    <a:pt x="906" y="834"/>
                  </a:lnTo>
                  <a:lnTo>
                    <a:pt x="906" y="840"/>
                  </a:lnTo>
                  <a:lnTo>
                    <a:pt x="900" y="846"/>
                  </a:lnTo>
                  <a:lnTo>
                    <a:pt x="906" y="852"/>
                  </a:lnTo>
                  <a:lnTo>
                    <a:pt x="900" y="864"/>
                  </a:lnTo>
                  <a:lnTo>
                    <a:pt x="900" y="876"/>
                  </a:lnTo>
                  <a:lnTo>
                    <a:pt x="900" y="882"/>
                  </a:lnTo>
                  <a:lnTo>
                    <a:pt x="894" y="888"/>
                  </a:lnTo>
                  <a:lnTo>
                    <a:pt x="900" y="900"/>
                  </a:lnTo>
                  <a:lnTo>
                    <a:pt x="900" y="906"/>
                  </a:lnTo>
                  <a:lnTo>
                    <a:pt x="894" y="906"/>
                  </a:lnTo>
                  <a:lnTo>
                    <a:pt x="894" y="912"/>
                  </a:lnTo>
                  <a:lnTo>
                    <a:pt x="900" y="918"/>
                  </a:lnTo>
                  <a:lnTo>
                    <a:pt x="900" y="924"/>
                  </a:lnTo>
                  <a:lnTo>
                    <a:pt x="900" y="948"/>
                  </a:lnTo>
                  <a:lnTo>
                    <a:pt x="888" y="948"/>
                  </a:lnTo>
                  <a:lnTo>
                    <a:pt x="888" y="954"/>
                  </a:lnTo>
                  <a:lnTo>
                    <a:pt x="894" y="954"/>
                  </a:lnTo>
                  <a:lnTo>
                    <a:pt x="900" y="960"/>
                  </a:lnTo>
                  <a:lnTo>
                    <a:pt x="900" y="972"/>
                  </a:lnTo>
                  <a:lnTo>
                    <a:pt x="906" y="984"/>
                  </a:lnTo>
                  <a:lnTo>
                    <a:pt x="912" y="984"/>
                  </a:lnTo>
                  <a:lnTo>
                    <a:pt x="918" y="990"/>
                  </a:lnTo>
                  <a:lnTo>
                    <a:pt x="936" y="990"/>
                  </a:lnTo>
                  <a:lnTo>
                    <a:pt x="936" y="996"/>
                  </a:lnTo>
                  <a:lnTo>
                    <a:pt x="942" y="996"/>
                  </a:lnTo>
                  <a:lnTo>
                    <a:pt x="942" y="1002"/>
                  </a:lnTo>
                  <a:lnTo>
                    <a:pt x="942" y="1008"/>
                  </a:lnTo>
                  <a:lnTo>
                    <a:pt x="948" y="1008"/>
                  </a:lnTo>
                  <a:lnTo>
                    <a:pt x="948" y="1014"/>
                  </a:lnTo>
                  <a:lnTo>
                    <a:pt x="948" y="1020"/>
                  </a:lnTo>
                  <a:lnTo>
                    <a:pt x="954" y="1032"/>
                  </a:lnTo>
                  <a:lnTo>
                    <a:pt x="948" y="1038"/>
                  </a:lnTo>
                  <a:lnTo>
                    <a:pt x="954" y="1044"/>
                  </a:lnTo>
                  <a:lnTo>
                    <a:pt x="954" y="1056"/>
                  </a:lnTo>
                  <a:lnTo>
                    <a:pt x="960" y="1056"/>
                  </a:lnTo>
                  <a:lnTo>
                    <a:pt x="960" y="1062"/>
                  </a:lnTo>
                  <a:lnTo>
                    <a:pt x="954" y="1068"/>
                  </a:lnTo>
                  <a:lnTo>
                    <a:pt x="948" y="1074"/>
                  </a:lnTo>
                  <a:lnTo>
                    <a:pt x="948" y="1080"/>
                  </a:lnTo>
                  <a:lnTo>
                    <a:pt x="948" y="1086"/>
                  </a:lnTo>
                  <a:lnTo>
                    <a:pt x="942" y="1092"/>
                  </a:lnTo>
                  <a:lnTo>
                    <a:pt x="942" y="1098"/>
                  </a:lnTo>
                  <a:lnTo>
                    <a:pt x="942" y="1104"/>
                  </a:lnTo>
                  <a:lnTo>
                    <a:pt x="942" y="1110"/>
                  </a:lnTo>
                  <a:lnTo>
                    <a:pt x="936" y="1116"/>
                  </a:lnTo>
                  <a:lnTo>
                    <a:pt x="936" y="1122"/>
                  </a:lnTo>
                  <a:lnTo>
                    <a:pt x="936" y="1128"/>
                  </a:lnTo>
                  <a:lnTo>
                    <a:pt x="936" y="1134"/>
                  </a:lnTo>
                  <a:lnTo>
                    <a:pt x="942" y="1146"/>
                  </a:lnTo>
                  <a:lnTo>
                    <a:pt x="936" y="1158"/>
                  </a:lnTo>
                  <a:lnTo>
                    <a:pt x="936" y="1170"/>
                  </a:lnTo>
                  <a:lnTo>
                    <a:pt x="936" y="1194"/>
                  </a:lnTo>
                  <a:lnTo>
                    <a:pt x="930" y="1200"/>
                  </a:lnTo>
                  <a:lnTo>
                    <a:pt x="930" y="1212"/>
                  </a:lnTo>
                  <a:lnTo>
                    <a:pt x="918" y="1218"/>
                  </a:lnTo>
                  <a:lnTo>
                    <a:pt x="918" y="1230"/>
                  </a:lnTo>
                  <a:lnTo>
                    <a:pt x="906" y="1230"/>
                  </a:lnTo>
                  <a:lnTo>
                    <a:pt x="900" y="1254"/>
                  </a:lnTo>
                  <a:lnTo>
                    <a:pt x="900" y="1260"/>
                  </a:lnTo>
                  <a:lnTo>
                    <a:pt x="900" y="1266"/>
                  </a:lnTo>
                  <a:lnTo>
                    <a:pt x="900" y="1272"/>
                  </a:lnTo>
                  <a:lnTo>
                    <a:pt x="900" y="1278"/>
                  </a:lnTo>
                  <a:lnTo>
                    <a:pt x="900" y="1284"/>
                  </a:lnTo>
                  <a:lnTo>
                    <a:pt x="906" y="129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1" name="Freeform 26">
              <a:extLst>
                <a:ext uri="{FF2B5EF4-FFF2-40B4-BE49-F238E27FC236}">
                  <a16:creationId xmlns:a16="http://schemas.microsoft.com/office/drawing/2014/main" id="{25725EFE-FE00-49A8-A87A-6752B785C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79173" y="3477313"/>
              <a:ext cx="650731" cy="559125"/>
            </a:xfrm>
            <a:custGeom>
              <a:avLst/>
              <a:gdLst>
                <a:gd name="T0" fmla="*/ 95 w 1224"/>
                <a:gd name="T1" fmla="*/ 89 h 1050"/>
                <a:gd name="T2" fmla="*/ 90 w 1224"/>
                <a:gd name="T3" fmla="*/ 84 h 1050"/>
                <a:gd name="T4" fmla="*/ 84 w 1224"/>
                <a:gd name="T5" fmla="*/ 83 h 1050"/>
                <a:gd name="T6" fmla="*/ 82 w 1224"/>
                <a:gd name="T7" fmla="*/ 80 h 1050"/>
                <a:gd name="T8" fmla="*/ 85 w 1224"/>
                <a:gd name="T9" fmla="*/ 77 h 1050"/>
                <a:gd name="T10" fmla="*/ 81 w 1224"/>
                <a:gd name="T11" fmla="*/ 76 h 1050"/>
                <a:gd name="T12" fmla="*/ 77 w 1224"/>
                <a:gd name="T13" fmla="*/ 77 h 1050"/>
                <a:gd name="T14" fmla="*/ 78 w 1224"/>
                <a:gd name="T15" fmla="*/ 73 h 1050"/>
                <a:gd name="T16" fmla="*/ 59 w 1224"/>
                <a:gd name="T17" fmla="*/ 71 h 1050"/>
                <a:gd name="T18" fmla="*/ 41 w 1224"/>
                <a:gd name="T19" fmla="*/ 73 h 1050"/>
                <a:gd name="T20" fmla="*/ 33 w 1224"/>
                <a:gd name="T21" fmla="*/ 71 h 1050"/>
                <a:gd name="T22" fmla="*/ 30 w 1224"/>
                <a:gd name="T23" fmla="*/ 75 h 1050"/>
                <a:gd name="T24" fmla="*/ 27 w 1224"/>
                <a:gd name="T25" fmla="*/ 80 h 1050"/>
                <a:gd name="T26" fmla="*/ 12 w 1224"/>
                <a:gd name="T27" fmla="*/ 81 h 1050"/>
                <a:gd name="T28" fmla="*/ 9 w 1224"/>
                <a:gd name="T29" fmla="*/ 84 h 1050"/>
                <a:gd name="T30" fmla="*/ 6 w 1224"/>
                <a:gd name="T31" fmla="*/ 83 h 1050"/>
                <a:gd name="T32" fmla="*/ 1 w 1224"/>
                <a:gd name="T33" fmla="*/ 83 h 1050"/>
                <a:gd name="T34" fmla="*/ 3 w 1224"/>
                <a:gd name="T35" fmla="*/ 77 h 1050"/>
                <a:gd name="T36" fmla="*/ 5 w 1224"/>
                <a:gd name="T37" fmla="*/ 70 h 1050"/>
                <a:gd name="T38" fmla="*/ 2 w 1224"/>
                <a:gd name="T39" fmla="*/ 65 h 1050"/>
                <a:gd name="T40" fmla="*/ 3 w 1224"/>
                <a:gd name="T41" fmla="*/ 58 h 1050"/>
                <a:gd name="T42" fmla="*/ 4 w 1224"/>
                <a:gd name="T43" fmla="*/ 51 h 1050"/>
                <a:gd name="T44" fmla="*/ 3 w 1224"/>
                <a:gd name="T45" fmla="*/ 47 h 1050"/>
                <a:gd name="T46" fmla="*/ 4 w 1224"/>
                <a:gd name="T47" fmla="*/ 39 h 1050"/>
                <a:gd name="T48" fmla="*/ 6 w 1224"/>
                <a:gd name="T49" fmla="*/ 29 h 1050"/>
                <a:gd name="T50" fmla="*/ 3 w 1224"/>
                <a:gd name="T51" fmla="*/ 22 h 1050"/>
                <a:gd name="T52" fmla="*/ 2 w 1224"/>
                <a:gd name="T53" fmla="*/ 14 h 1050"/>
                <a:gd name="T54" fmla="*/ 0 w 1224"/>
                <a:gd name="T55" fmla="*/ 6 h 1050"/>
                <a:gd name="T56" fmla="*/ 9 w 1224"/>
                <a:gd name="T57" fmla="*/ 1 h 1050"/>
                <a:gd name="T58" fmla="*/ 11 w 1224"/>
                <a:gd name="T59" fmla="*/ 8 h 1050"/>
                <a:gd name="T60" fmla="*/ 15 w 1224"/>
                <a:gd name="T61" fmla="*/ 9 h 1050"/>
                <a:gd name="T62" fmla="*/ 18 w 1224"/>
                <a:gd name="T63" fmla="*/ 8 h 1050"/>
                <a:gd name="T64" fmla="*/ 18 w 1224"/>
                <a:gd name="T65" fmla="*/ 13 h 1050"/>
                <a:gd name="T66" fmla="*/ 17 w 1224"/>
                <a:gd name="T67" fmla="*/ 15 h 1050"/>
                <a:gd name="T68" fmla="*/ 17 w 1224"/>
                <a:gd name="T69" fmla="*/ 17 h 1050"/>
                <a:gd name="T70" fmla="*/ 17 w 1224"/>
                <a:gd name="T71" fmla="*/ 21 h 1050"/>
                <a:gd name="T72" fmla="*/ 21 w 1224"/>
                <a:gd name="T73" fmla="*/ 25 h 1050"/>
                <a:gd name="T74" fmla="*/ 24 w 1224"/>
                <a:gd name="T75" fmla="*/ 31 h 1050"/>
                <a:gd name="T76" fmla="*/ 35 w 1224"/>
                <a:gd name="T77" fmla="*/ 34 h 1050"/>
                <a:gd name="T78" fmla="*/ 40 w 1224"/>
                <a:gd name="T79" fmla="*/ 27 h 1050"/>
                <a:gd name="T80" fmla="*/ 46 w 1224"/>
                <a:gd name="T81" fmla="*/ 30 h 1050"/>
                <a:gd name="T82" fmla="*/ 51 w 1224"/>
                <a:gd name="T83" fmla="*/ 27 h 1050"/>
                <a:gd name="T84" fmla="*/ 59 w 1224"/>
                <a:gd name="T85" fmla="*/ 39 h 1050"/>
                <a:gd name="T86" fmla="*/ 59 w 1224"/>
                <a:gd name="T87" fmla="*/ 45 h 1050"/>
                <a:gd name="T88" fmla="*/ 72 w 1224"/>
                <a:gd name="T89" fmla="*/ 45 h 1050"/>
                <a:gd name="T90" fmla="*/ 79 w 1224"/>
                <a:gd name="T91" fmla="*/ 44 h 1050"/>
                <a:gd name="T92" fmla="*/ 87 w 1224"/>
                <a:gd name="T93" fmla="*/ 48 h 1050"/>
                <a:gd name="T94" fmla="*/ 93 w 1224"/>
                <a:gd name="T95" fmla="*/ 50 h 1050"/>
                <a:gd name="T96" fmla="*/ 98 w 1224"/>
                <a:gd name="T97" fmla="*/ 51 h 1050"/>
                <a:gd name="T98" fmla="*/ 106 w 1224"/>
                <a:gd name="T99" fmla="*/ 50 h 1050"/>
                <a:gd name="T100" fmla="*/ 104 w 1224"/>
                <a:gd name="T101" fmla="*/ 54 h 1050"/>
                <a:gd name="T102" fmla="*/ 104 w 1224"/>
                <a:gd name="T103" fmla="*/ 60 h 1050"/>
                <a:gd name="T104" fmla="*/ 101 w 1224"/>
                <a:gd name="T105" fmla="*/ 63 h 1050"/>
                <a:gd name="T106" fmla="*/ 98 w 1224"/>
                <a:gd name="T107" fmla="*/ 66 h 1050"/>
                <a:gd name="T108" fmla="*/ 95 w 1224"/>
                <a:gd name="T109" fmla="*/ 68 h 1050"/>
                <a:gd name="T110" fmla="*/ 93 w 1224"/>
                <a:gd name="T111" fmla="*/ 72 h 1050"/>
                <a:gd name="T112" fmla="*/ 98 w 1224"/>
                <a:gd name="T113" fmla="*/ 75 h 1050"/>
                <a:gd name="T114" fmla="*/ 102 w 1224"/>
                <a:gd name="T115" fmla="*/ 77 h 1050"/>
                <a:gd name="T116" fmla="*/ 107 w 1224"/>
                <a:gd name="T117" fmla="*/ 76 h 1050"/>
                <a:gd name="T118" fmla="*/ 104 w 1224"/>
                <a:gd name="T119" fmla="*/ 84 h 1050"/>
                <a:gd name="T120" fmla="*/ 103 w 1224"/>
                <a:gd name="T121" fmla="*/ 87 h 1050"/>
                <a:gd name="T122" fmla="*/ 104 w 1224"/>
                <a:gd name="T123" fmla="*/ 91 h 105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24"/>
                <a:gd name="T187" fmla="*/ 0 h 1050"/>
                <a:gd name="T188" fmla="*/ 1224 w 1224"/>
                <a:gd name="T189" fmla="*/ 1050 h 105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24" h="1050">
                  <a:moveTo>
                    <a:pt x="1128" y="1032"/>
                  </a:moveTo>
                  <a:lnTo>
                    <a:pt x="1122" y="1026"/>
                  </a:lnTo>
                  <a:lnTo>
                    <a:pt x="1116" y="1026"/>
                  </a:lnTo>
                  <a:lnTo>
                    <a:pt x="1110" y="1026"/>
                  </a:lnTo>
                  <a:lnTo>
                    <a:pt x="1104" y="1026"/>
                  </a:lnTo>
                  <a:lnTo>
                    <a:pt x="1104" y="1020"/>
                  </a:lnTo>
                  <a:lnTo>
                    <a:pt x="1098" y="1020"/>
                  </a:lnTo>
                  <a:lnTo>
                    <a:pt x="1092" y="1020"/>
                  </a:lnTo>
                  <a:lnTo>
                    <a:pt x="1086" y="1020"/>
                  </a:lnTo>
                  <a:lnTo>
                    <a:pt x="1080" y="1014"/>
                  </a:lnTo>
                  <a:lnTo>
                    <a:pt x="1068" y="1014"/>
                  </a:lnTo>
                  <a:lnTo>
                    <a:pt x="1062" y="1014"/>
                  </a:lnTo>
                  <a:lnTo>
                    <a:pt x="1062" y="1008"/>
                  </a:lnTo>
                  <a:lnTo>
                    <a:pt x="1062" y="990"/>
                  </a:lnTo>
                  <a:lnTo>
                    <a:pt x="1062" y="984"/>
                  </a:lnTo>
                  <a:lnTo>
                    <a:pt x="1062" y="972"/>
                  </a:lnTo>
                  <a:lnTo>
                    <a:pt x="1044" y="966"/>
                  </a:lnTo>
                  <a:lnTo>
                    <a:pt x="1026" y="966"/>
                  </a:lnTo>
                  <a:lnTo>
                    <a:pt x="1014" y="966"/>
                  </a:lnTo>
                  <a:lnTo>
                    <a:pt x="996" y="966"/>
                  </a:lnTo>
                  <a:lnTo>
                    <a:pt x="996" y="972"/>
                  </a:lnTo>
                  <a:lnTo>
                    <a:pt x="990" y="972"/>
                  </a:lnTo>
                  <a:lnTo>
                    <a:pt x="984" y="966"/>
                  </a:lnTo>
                  <a:lnTo>
                    <a:pt x="978" y="966"/>
                  </a:lnTo>
                  <a:lnTo>
                    <a:pt x="978" y="960"/>
                  </a:lnTo>
                  <a:lnTo>
                    <a:pt x="972" y="954"/>
                  </a:lnTo>
                  <a:lnTo>
                    <a:pt x="966" y="954"/>
                  </a:lnTo>
                  <a:lnTo>
                    <a:pt x="960" y="954"/>
                  </a:lnTo>
                  <a:lnTo>
                    <a:pt x="954" y="954"/>
                  </a:lnTo>
                  <a:lnTo>
                    <a:pt x="954" y="948"/>
                  </a:lnTo>
                  <a:lnTo>
                    <a:pt x="942" y="942"/>
                  </a:lnTo>
                  <a:lnTo>
                    <a:pt x="936" y="942"/>
                  </a:lnTo>
                  <a:lnTo>
                    <a:pt x="936" y="936"/>
                  </a:lnTo>
                  <a:lnTo>
                    <a:pt x="936" y="930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42" y="918"/>
                  </a:lnTo>
                  <a:lnTo>
                    <a:pt x="948" y="918"/>
                  </a:lnTo>
                  <a:lnTo>
                    <a:pt x="960" y="918"/>
                  </a:lnTo>
                  <a:lnTo>
                    <a:pt x="966" y="912"/>
                  </a:lnTo>
                  <a:lnTo>
                    <a:pt x="978" y="906"/>
                  </a:lnTo>
                  <a:lnTo>
                    <a:pt x="978" y="900"/>
                  </a:lnTo>
                  <a:lnTo>
                    <a:pt x="978" y="894"/>
                  </a:lnTo>
                  <a:lnTo>
                    <a:pt x="978" y="888"/>
                  </a:lnTo>
                  <a:lnTo>
                    <a:pt x="972" y="888"/>
                  </a:lnTo>
                  <a:lnTo>
                    <a:pt x="978" y="888"/>
                  </a:lnTo>
                  <a:lnTo>
                    <a:pt x="978" y="882"/>
                  </a:lnTo>
                  <a:lnTo>
                    <a:pt x="972" y="876"/>
                  </a:lnTo>
                  <a:lnTo>
                    <a:pt x="966" y="870"/>
                  </a:lnTo>
                  <a:lnTo>
                    <a:pt x="954" y="876"/>
                  </a:lnTo>
                  <a:lnTo>
                    <a:pt x="948" y="876"/>
                  </a:lnTo>
                  <a:lnTo>
                    <a:pt x="942" y="870"/>
                  </a:lnTo>
                  <a:lnTo>
                    <a:pt x="936" y="876"/>
                  </a:lnTo>
                  <a:lnTo>
                    <a:pt x="930" y="876"/>
                  </a:lnTo>
                  <a:lnTo>
                    <a:pt x="924" y="882"/>
                  </a:lnTo>
                  <a:lnTo>
                    <a:pt x="912" y="888"/>
                  </a:lnTo>
                  <a:lnTo>
                    <a:pt x="906" y="894"/>
                  </a:lnTo>
                  <a:lnTo>
                    <a:pt x="900" y="900"/>
                  </a:lnTo>
                  <a:lnTo>
                    <a:pt x="894" y="888"/>
                  </a:lnTo>
                  <a:lnTo>
                    <a:pt x="888" y="894"/>
                  </a:lnTo>
                  <a:lnTo>
                    <a:pt x="882" y="888"/>
                  </a:lnTo>
                  <a:lnTo>
                    <a:pt x="876" y="894"/>
                  </a:lnTo>
                  <a:lnTo>
                    <a:pt x="876" y="888"/>
                  </a:lnTo>
                  <a:lnTo>
                    <a:pt x="876" y="882"/>
                  </a:lnTo>
                  <a:lnTo>
                    <a:pt x="876" y="876"/>
                  </a:lnTo>
                  <a:lnTo>
                    <a:pt x="870" y="858"/>
                  </a:lnTo>
                  <a:lnTo>
                    <a:pt x="864" y="858"/>
                  </a:lnTo>
                  <a:lnTo>
                    <a:pt x="870" y="852"/>
                  </a:lnTo>
                  <a:lnTo>
                    <a:pt x="870" y="846"/>
                  </a:lnTo>
                  <a:lnTo>
                    <a:pt x="876" y="846"/>
                  </a:lnTo>
                  <a:lnTo>
                    <a:pt x="882" y="846"/>
                  </a:lnTo>
                  <a:lnTo>
                    <a:pt x="888" y="840"/>
                  </a:lnTo>
                  <a:lnTo>
                    <a:pt x="894" y="834"/>
                  </a:lnTo>
                  <a:lnTo>
                    <a:pt x="894" y="828"/>
                  </a:lnTo>
                  <a:lnTo>
                    <a:pt x="894" y="816"/>
                  </a:lnTo>
                  <a:lnTo>
                    <a:pt x="858" y="810"/>
                  </a:lnTo>
                  <a:lnTo>
                    <a:pt x="858" y="816"/>
                  </a:lnTo>
                  <a:lnTo>
                    <a:pt x="852" y="816"/>
                  </a:lnTo>
                  <a:lnTo>
                    <a:pt x="780" y="816"/>
                  </a:lnTo>
                  <a:lnTo>
                    <a:pt x="750" y="816"/>
                  </a:lnTo>
                  <a:lnTo>
                    <a:pt x="684" y="816"/>
                  </a:lnTo>
                  <a:lnTo>
                    <a:pt x="636" y="816"/>
                  </a:lnTo>
                  <a:lnTo>
                    <a:pt x="612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0" y="816"/>
                  </a:lnTo>
                  <a:lnTo>
                    <a:pt x="480" y="822"/>
                  </a:lnTo>
                  <a:lnTo>
                    <a:pt x="480" y="834"/>
                  </a:lnTo>
                  <a:lnTo>
                    <a:pt x="474" y="840"/>
                  </a:lnTo>
                  <a:lnTo>
                    <a:pt x="468" y="840"/>
                  </a:lnTo>
                  <a:lnTo>
                    <a:pt x="432" y="840"/>
                  </a:lnTo>
                  <a:lnTo>
                    <a:pt x="426" y="834"/>
                  </a:lnTo>
                  <a:lnTo>
                    <a:pt x="420" y="834"/>
                  </a:lnTo>
                  <a:lnTo>
                    <a:pt x="420" y="828"/>
                  </a:lnTo>
                  <a:lnTo>
                    <a:pt x="414" y="822"/>
                  </a:lnTo>
                  <a:lnTo>
                    <a:pt x="408" y="822"/>
                  </a:lnTo>
                  <a:lnTo>
                    <a:pt x="396" y="822"/>
                  </a:lnTo>
                  <a:lnTo>
                    <a:pt x="396" y="816"/>
                  </a:lnTo>
                  <a:lnTo>
                    <a:pt x="384" y="816"/>
                  </a:lnTo>
                  <a:lnTo>
                    <a:pt x="372" y="810"/>
                  </a:lnTo>
                  <a:lnTo>
                    <a:pt x="372" y="804"/>
                  </a:lnTo>
                  <a:lnTo>
                    <a:pt x="366" y="804"/>
                  </a:lnTo>
                  <a:lnTo>
                    <a:pt x="360" y="804"/>
                  </a:lnTo>
                  <a:lnTo>
                    <a:pt x="348" y="828"/>
                  </a:lnTo>
                  <a:lnTo>
                    <a:pt x="348" y="834"/>
                  </a:lnTo>
                  <a:lnTo>
                    <a:pt x="348" y="852"/>
                  </a:lnTo>
                  <a:lnTo>
                    <a:pt x="348" y="858"/>
                  </a:lnTo>
                  <a:lnTo>
                    <a:pt x="342" y="864"/>
                  </a:lnTo>
                  <a:lnTo>
                    <a:pt x="342" y="870"/>
                  </a:lnTo>
                  <a:lnTo>
                    <a:pt x="330" y="876"/>
                  </a:lnTo>
                  <a:lnTo>
                    <a:pt x="324" y="888"/>
                  </a:lnTo>
                  <a:lnTo>
                    <a:pt x="324" y="894"/>
                  </a:lnTo>
                  <a:lnTo>
                    <a:pt x="330" y="900"/>
                  </a:lnTo>
                  <a:lnTo>
                    <a:pt x="330" y="906"/>
                  </a:lnTo>
                  <a:lnTo>
                    <a:pt x="324" y="906"/>
                  </a:lnTo>
                  <a:lnTo>
                    <a:pt x="318" y="912"/>
                  </a:lnTo>
                  <a:lnTo>
                    <a:pt x="312" y="918"/>
                  </a:lnTo>
                  <a:lnTo>
                    <a:pt x="306" y="924"/>
                  </a:lnTo>
                  <a:lnTo>
                    <a:pt x="288" y="924"/>
                  </a:lnTo>
                  <a:lnTo>
                    <a:pt x="282" y="924"/>
                  </a:lnTo>
                  <a:lnTo>
                    <a:pt x="276" y="930"/>
                  </a:lnTo>
                  <a:lnTo>
                    <a:pt x="270" y="930"/>
                  </a:lnTo>
                  <a:lnTo>
                    <a:pt x="264" y="930"/>
                  </a:lnTo>
                  <a:lnTo>
                    <a:pt x="198" y="930"/>
                  </a:lnTo>
                  <a:lnTo>
                    <a:pt x="132" y="930"/>
                  </a:lnTo>
                  <a:lnTo>
                    <a:pt x="132" y="936"/>
                  </a:lnTo>
                  <a:lnTo>
                    <a:pt x="132" y="942"/>
                  </a:lnTo>
                  <a:lnTo>
                    <a:pt x="132" y="948"/>
                  </a:lnTo>
                  <a:lnTo>
                    <a:pt x="126" y="948"/>
                  </a:lnTo>
                  <a:lnTo>
                    <a:pt x="120" y="948"/>
                  </a:lnTo>
                  <a:lnTo>
                    <a:pt x="120" y="954"/>
                  </a:lnTo>
                  <a:lnTo>
                    <a:pt x="114" y="954"/>
                  </a:lnTo>
                  <a:lnTo>
                    <a:pt x="114" y="960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02" y="966"/>
                  </a:lnTo>
                  <a:lnTo>
                    <a:pt x="102" y="972"/>
                  </a:lnTo>
                  <a:lnTo>
                    <a:pt x="96" y="972"/>
                  </a:lnTo>
                  <a:lnTo>
                    <a:pt x="96" y="966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78" y="960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60"/>
                  </a:lnTo>
                  <a:lnTo>
                    <a:pt x="54" y="966"/>
                  </a:lnTo>
                  <a:lnTo>
                    <a:pt x="48" y="966"/>
                  </a:lnTo>
                  <a:lnTo>
                    <a:pt x="42" y="966"/>
                  </a:lnTo>
                  <a:lnTo>
                    <a:pt x="36" y="966"/>
                  </a:lnTo>
                  <a:lnTo>
                    <a:pt x="30" y="966"/>
                  </a:lnTo>
                  <a:lnTo>
                    <a:pt x="24" y="960"/>
                  </a:lnTo>
                  <a:lnTo>
                    <a:pt x="18" y="960"/>
                  </a:lnTo>
                  <a:lnTo>
                    <a:pt x="12" y="960"/>
                  </a:lnTo>
                  <a:lnTo>
                    <a:pt x="12" y="948"/>
                  </a:lnTo>
                  <a:lnTo>
                    <a:pt x="18" y="942"/>
                  </a:lnTo>
                  <a:lnTo>
                    <a:pt x="18" y="936"/>
                  </a:lnTo>
                  <a:lnTo>
                    <a:pt x="18" y="930"/>
                  </a:lnTo>
                  <a:lnTo>
                    <a:pt x="18" y="924"/>
                  </a:lnTo>
                  <a:lnTo>
                    <a:pt x="18" y="912"/>
                  </a:lnTo>
                  <a:lnTo>
                    <a:pt x="24" y="906"/>
                  </a:lnTo>
                  <a:lnTo>
                    <a:pt x="30" y="900"/>
                  </a:lnTo>
                  <a:lnTo>
                    <a:pt x="36" y="894"/>
                  </a:lnTo>
                  <a:lnTo>
                    <a:pt x="36" y="882"/>
                  </a:lnTo>
                  <a:lnTo>
                    <a:pt x="30" y="876"/>
                  </a:lnTo>
                  <a:lnTo>
                    <a:pt x="30" y="870"/>
                  </a:lnTo>
                  <a:lnTo>
                    <a:pt x="24" y="858"/>
                  </a:lnTo>
                  <a:lnTo>
                    <a:pt x="24" y="846"/>
                  </a:lnTo>
                  <a:lnTo>
                    <a:pt x="36" y="822"/>
                  </a:lnTo>
                  <a:lnTo>
                    <a:pt x="42" y="816"/>
                  </a:lnTo>
                  <a:lnTo>
                    <a:pt x="48" y="816"/>
                  </a:lnTo>
                  <a:lnTo>
                    <a:pt x="60" y="804"/>
                  </a:lnTo>
                  <a:lnTo>
                    <a:pt x="60" y="786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54" y="762"/>
                  </a:lnTo>
                  <a:lnTo>
                    <a:pt x="42" y="762"/>
                  </a:lnTo>
                  <a:lnTo>
                    <a:pt x="36" y="762"/>
                  </a:lnTo>
                  <a:lnTo>
                    <a:pt x="30" y="762"/>
                  </a:lnTo>
                  <a:lnTo>
                    <a:pt x="30" y="756"/>
                  </a:lnTo>
                  <a:lnTo>
                    <a:pt x="24" y="750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702"/>
                  </a:lnTo>
                  <a:lnTo>
                    <a:pt x="36" y="684"/>
                  </a:lnTo>
                  <a:lnTo>
                    <a:pt x="36" y="678"/>
                  </a:lnTo>
                  <a:lnTo>
                    <a:pt x="36" y="666"/>
                  </a:lnTo>
                  <a:lnTo>
                    <a:pt x="36" y="654"/>
                  </a:lnTo>
                  <a:lnTo>
                    <a:pt x="18" y="654"/>
                  </a:lnTo>
                  <a:lnTo>
                    <a:pt x="18" y="648"/>
                  </a:lnTo>
                  <a:lnTo>
                    <a:pt x="18" y="618"/>
                  </a:lnTo>
                  <a:lnTo>
                    <a:pt x="18" y="612"/>
                  </a:lnTo>
                  <a:lnTo>
                    <a:pt x="24" y="612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54" y="588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76"/>
                  </a:lnTo>
                  <a:lnTo>
                    <a:pt x="48" y="564"/>
                  </a:lnTo>
                  <a:lnTo>
                    <a:pt x="42" y="564"/>
                  </a:lnTo>
                  <a:lnTo>
                    <a:pt x="36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6" y="540"/>
                  </a:lnTo>
                  <a:lnTo>
                    <a:pt x="48" y="534"/>
                  </a:lnTo>
                  <a:lnTo>
                    <a:pt x="54" y="528"/>
                  </a:lnTo>
                  <a:lnTo>
                    <a:pt x="60" y="504"/>
                  </a:lnTo>
                  <a:lnTo>
                    <a:pt x="60" y="492"/>
                  </a:lnTo>
                  <a:lnTo>
                    <a:pt x="54" y="492"/>
                  </a:lnTo>
                  <a:lnTo>
                    <a:pt x="54" y="480"/>
                  </a:lnTo>
                  <a:lnTo>
                    <a:pt x="48" y="456"/>
                  </a:lnTo>
                  <a:lnTo>
                    <a:pt x="42" y="450"/>
                  </a:lnTo>
                  <a:lnTo>
                    <a:pt x="36" y="444"/>
                  </a:lnTo>
                  <a:lnTo>
                    <a:pt x="36" y="420"/>
                  </a:lnTo>
                  <a:lnTo>
                    <a:pt x="36" y="408"/>
                  </a:lnTo>
                  <a:lnTo>
                    <a:pt x="36" y="37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60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6" y="300"/>
                  </a:lnTo>
                  <a:lnTo>
                    <a:pt x="60" y="294"/>
                  </a:lnTo>
                  <a:lnTo>
                    <a:pt x="60" y="288"/>
                  </a:lnTo>
                  <a:lnTo>
                    <a:pt x="54" y="282"/>
                  </a:lnTo>
                  <a:lnTo>
                    <a:pt x="42" y="276"/>
                  </a:lnTo>
                  <a:lnTo>
                    <a:pt x="36" y="276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0" y="252"/>
                  </a:lnTo>
                  <a:lnTo>
                    <a:pt x="24" y="246"/>
                  </a:lnTo>
                  <a:lnTo>
                    <a:pt x="24" y="240"/>
                  </a:lnTo>
                  <a:lnTo>
                    <a:pt x="24" y="228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62"/>
                  </a:lnTo>
                  <a:lnTo>
                    <a:pt x="24" y="144"/>
                  </a:lnTo>
                  <a:lnTo>
                    <a:pt x="24" y="132"/>
                  </a:lnTo>
                  <a:lnTo>
                    <a:pt x="24" y="114"/>
                  </a:lnTo>
                  <a:lnTo>
                    <a:pt x="24" y="102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18" y="48"/>
                  </a:lnTo>
                  <a:lnTo>
                    <a:pt x="42" y="36"/>
                  </a:lnTo>
                  <a:lnTo>
                    <a:pt x="54" y="24"/>
                  </a:lnTo>
                  <a:lnTo>
                    <a:pt x="60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10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14" y="60"/>
                  </a:lnTo>
                  <a:lnTo>
                    <a:pt x="120" y="60"/>
                  </a:lnTo>
                  <a:lnTo>
                    <a:pt x="114" y="84"/>
                  </a:lnTo>
                  <a:lnTo>
                    <a:pt x="120" y="90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38" y="114"/>
                  </a:lnTo>
                  <a:lnTo>
                    <a:pt x="138" y="132"/>
                  </a:lnTo>
                  <a:lnTo>
                    <a:pt x="162" y="126"/>
                  </a:lnTo>
                  <a:lnTo>
                    <a:pt x="162" y="114"/>
                  </a:lnTo>
                  <a:lnTo>
                    <a:pt x="174" y="108"/>
                  </a:lnTo>
                  <a:lnTo>
                    <a:pt x="174" y="102"/>
                  </a:lnTo>
                  <a:lnTo>
                    <a:pt x="180" y="96"/>
                  </a:lnTo>
                  <a:lnTo>
                    <a:pt x="180" y="60"/>
                  </a:lnTo>
                  <a:lnTo>
                    <a:pt x="192" y="60"/>
                  </a:lnTo>
                  <a:lnTo>
                    <a:pt x="192" y="72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04" y="108"/>
                  </a:lnTo>
                  <a:lnTo>
                    <a:pt x="204" y="114"/>
                  </a:lnTo>
                  <a:lnTo>
                    <a:pt x="204" y="120"/>
                  </a:lnTo>
                  <a:lnTo>
                    <a:pt x="204" y="126"/>
                  </a:lnTo>
                  <a:lnTo>
                    <a:pt x="210" y="126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8" y="174"/>
                  </a:lnTo>
                  <a:lnTo>
                    <a:pt x="198" y="180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86" y="204"/>
                  </a:lnTo>
                  <a:lnTo>
                    <a:pt x="186" y="210"/>
                  </a:lnTo>
                  <a:lnTo>
                    <a:pt x="180" y="210"/>
                  </a:lnTo>
                  <a:lnTo>
                    <a:pt x="180" y="216"/>
                  </a:lnTo>
                  <a:lnTo>
                    <a:pt x="180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92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8" y="258"/>
                  </a:lnTo>
                  <a:lnTo>
                    <a:pt x="204" y="258"/>
                  </a:lnTo>
                  <a:lnTo>
                    <a:pt x="210" y="258"/>
                  </a:lnTo>
                  <a:lnTo>
                    <a:pt x="216" y="258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34" y="276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46" y="306"/>
                  </a:lnTo>
                  <a:lnTo>
                    <a:pt x="252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42"/>
                  </a:lnTo>
                  <a:lnTo>
                    <a:pt x="270" y="342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88" y="366"/>
                  </a:lnTo>
                  <a:lnTo>
                    <a:pt x="336" y="360"/>
                  </a:lnTo>
                  <a:lnTo>
                    <a:pt x="354" y="360"/>
                  </a:lnTo>
                  <a:lnTo>
                    <a:pt x="366" y="372"/>
                  </a:lnTo>
                  <a:lnTo>
                    <a:pt x="378" y="378"/>
                  </a:lnTo>
                  <a:lnTo>
                    <a:pt x="378" y="390"/>
                  </a:lnTo>
                  <a:lnTo>
                    <a:pt x="384" y="390"/>
                  </a:lnTo>
                  <a:lnTo>
                    <a:pt x="390" y="396"/>
                  </a:lnTo>
                  <a:lnTo>
                    <a:pt x="408" y="390"/>
                  </a:lnTo>
                  <a:lnTo>
                    <a:pt x="426" y="366"/>
                  </a:lnTo>
                  <a:lnTo>
                    <a:pt x="432" y="360"/>
                  </a:lnTo>
                  <a:lnTo>
                    <a:pt x="438" y="348"/>
                  </a:lnTo>
                  <a:lnTo>
                    <a:pt x="438" y="342"/>
                  </a:lnTo>
                  <a:lnTo>
                    <a:pt x="438" y="330"/>
                  </a:lnTo>
                  <a:lnTo>
                    <a:pt x="444" y="324"/>
                  </a:lnTo>
                  <a:lnTo>
                    <a:pt x="450" y="318"/>
                  </a:lnTo>
                  <a:lnTo>
                    <a:pt x="456" y="312"/>
                  </a:lnTo>
                  <a:lnTo>
                    <a:pt x="456" y="306"/>
                  </a:lnTo>
                  <a:lnTo>
                    <a:pt x="456" y="300"/>
                  </a:lnTo>
                  <a:lnTo>
                    <a:pt x="474" y="288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92" y="294"/>
                  </a:lnTo>
                  <a:lnTo>
                    <a:pt x="492" y="318"/>
                  </a:lnTo>
                  <a:lnTo>
                    <a:pt x="504" y="324"/>
                  </a:lnTo>
                  <a:lnTo>
                    <a:pt x="492" y="348"/>
                  </a:lnTo>
                  <a:lnTo>
                    <a:pt x="522" y="348"/>
                  </a:lnTo>
                  <a:lnTo>
                    <a:pt x="528" y="342"/>
                  </a:lnTo>
                  <a:lnTo>
                    <a:pt x="528" y="336"/>
                  </a:lnTo>
                  <a:lnTo>
                    <a:pt x="528" y="330"/>
                  </a:lnTo>
                  <a:lnTo>
                    <a:pt x="534" y="330"/>
                  </a:lnTo>
                  <a:lnTo>
                    <a:pt x="540" y="330"/>
                  </a:lnTo>
                  <a:lnTo>
                    <a:pt x="546" y="330"/>
                  </a:lnTo>
                  <a:lnTo>
                    <a:pt x="552" y="324"/>
                  </a:lnTo>
                  <a:lnTo>
                    <a:pt x="558" y="318"/>
                  </a:lnTo>
                  <a:lnTo>
                    <a:pt x="576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8" y="348"/>
                  </a:lnTo>
                  <a:lnTo>
                    <a:pt x="654" y="354"/>
                  </a:lnTo>
                  <a:lnTo>
                    <a:pt x="648" y="402"/>
                  </a:lnTo>
                  <a:lnTo>
                    <a:pt x="678" y="402"/>
                  </a:lnTo>
                  <a:lnTo>
                    <a:pt x="678" y="420"/>
                  </a:lnTo>
                  <a:lnTo>
                    <a:pt x="684" y="438"/>
                  </a:lnTo>
                  <a:lnTo>
                    <a:pt x="684" y="450"/>
                  </a:lnTo>
                  <a:lnTo>
                    <a:pt x="684" y="456"/>
                  </a:lnTo>
                  <a:lnTo>
                    <a:pt x="690" y="468"/>
                  </a:lnTo>
                  <a:lnTo>
                    <a:pt x="690" y="474"/>
                  </a:lnTo>
                  <a:lnTo>
                    <a:pt x="690" y="480"/>
                  </a:lnTo>
                  <a:lnTo>
                    <a:pt x="696" y="486"/>
                  </a:lnTo>
                  <a:lnTo>
                    <a:pt x="696" y="498"/>
                  </a:lnTo>
                  <a:lnTo>
                    <a:pt x="702" y="504"/>
                  </a:lnTo>
                  <a:lnTo>
                    <a:pt x="690" y="516"/>
                  </a:lnTo>
                  <a:lnTo>
                    <a:pt x="678" y="522"/>
                  </a:lnTo>
                  <a:lnTo>
                    <a:pt x="654" y="528"/>
                  </a:lnTo>
                  <a:lnTo>
                    <a:pt x="660" y="546"/>
                  </a:lnTo>
                  <a:lnTo>
                    <a:pt x="672" y="546"/>
                  </a:lnTo>
                  <a:lnTo>
                    <a:pt x="678" y="540"/>
                  </a:lnTo>
                  <a:lnTo>
                    <a:pt x="714" y="540"/>
                  </a:lnTo>
                  <a:lnTo>
                    <a:pt x="798" y="540"/>
                  </a:lnTo>
                  <a:lnTo>
                    <a:pt x="804" y="540"/>
                  </a:lnTo>
                  <a:lnTo>
                    <a:pt x="816" y="528"/>
                  </a:lnTo>
                  <a:lnTo>
                    <a:pt x="822" y="522"/>
                  </a:lnTo>
                  <a:lnTo>
                    <a:pt x="834" y="516"/>
                  </a:lnTo>
                  <a:lnTo>
                    <a:pt x="846" y="516"/>
                  </a:lnTo>
                  <a:lnTo>
                    <a:pt x="852" y="510"/>
                  </a:lnTo>
                  <a:lnTo>
                    <a:pt x="858" y="510"/>
                  </a:lnTo>
                  <a:lnTo>
                    <a:pt x="882" y="516"/>
                  </a:lnTo>
                  <a:lnTo>
                    <a:pt x="888" y="516"/>
                  </a:lnTo>
                  <a:lnTo>
                    <a:pt x="888" y="510"/>
                  </a:lnTo>
                  <a:lnTo>
                    <a:pt x="894" y="510"/>
                  </a:lnTo>
                  <a:lnTo>
                    <a:pt x="906" y="504"/>
                  </a:lnTo>
                  <a:lnTo>
                    <a:pt x="918" y="498"/>
                  </a:lnTo>
                  <a:lnTo>
                    <a:pt x="930" y="492"/>
                  </a:lnTo>
                  <a:lnTo>
                    <a:pt x="936" y="492"/>
                  </a:lnTo>
                  <a:lnTo>
                    <a:pt x="948" y="492"/>
                  </a:lnTo>
                  <a:lnTo>
                    <a:pt x="954" y="528"/>
                  </a:lnTo>
                  <a:lnTo>
                    <a:pt x="954" y="564"/>
                  </a:lnTo>
                  <a:lnTo>
                    <a:pt x="972" y="564"/>
                  </a:lnTo>
                  <a:lnTo>
                    <a:pt x="978" y="558"/>
                  </a:lnTo>
                  <a:lnTo>
                    <a:pt x="990" y="552"/>
                  </a:lnTo>
                  <a:lnTo>
                    <a:pt x="1002" y="540"/>
                  </a:lnTo>
                  <a:lnTo>
                    <a:pt x="1026" y="534"/>
                  </a:lnTo>
                  <a:lnTo>
                    <a:pt x="1032" y="540"/>
                  </a:lnTo>
                  <a:lnTo>
                    <a:pt x="1044" y="546"/>
                  </a:lnTo>
                  <a:lnTo>
                    <a:pt x="1062" y="552"/>
                  </a:lnTo>
                  <a:lnTo>
                    <a:pt x="1068" y="552"/>
                  </a:lnTo>
                  <a:lnTo>
                    <a:pt x="1068" y="570"/>
                  </a:lnTo>
                  <a:lnTo>
                    <a:pt x="1068" y="576"/>
                  </a:lnTo>
                  <a:lnTo>
                    <a:pt x="1068" y="582"/>
                  </a:lnTo>
                  <a:lnTo>
                    <a:pt x="1068" y="588"/>
                  </a:lnTo>
                  <a:lnTo>
                    <a:pt x="1068" y="594"/>
                  </a:lnTo>
                  <a:lnTo>
                    <a:pt x="1080" y="600"/>
                  </a:lnTo>
                  <a:lnTo>
                    <a:pt x="1086" y="606"/>
                  </a:lnTo>
                  <a:lnTo>
                    <a:pt x="1092" y="594"/>
                  </a:lnTo>
                  <a:lnTo>
                    <a:pt x="1104" y="588"/>
                  </a:lnTo>
                  <a:lnTo>
                    <a:pt x="1116" y="588"/>
                  </a:lnTo>
                  <a:lnTo>
                    <a:pt x="1122" y="588"/>
                  </a:lnTo>
                  <a:lnTo>
                    <a:pt x="1122" y="594"/>
                  </a:lnTo>
                  <a:lnTo>
                    <a:pt x="1128" y="594"/>
                  </a:lnTo>
                  <a:lnTo>
                    <a:pt x="1134" y="594"/>
                  </a:lnTo>
                  <a:lnTo>
                    <a:pt x="1140" y="594"/>
                  </a:lnTo>
                  <a:lnTo>
                    <a:pt x="1146" y="588"/>
                  </a:lnTo>
                  <a:lnTo>
                    <a:pt x="1158" y="582"/>
                  </a:lnTo>
                  <a:lnTo>
                    <a:pt x="1164" y="576"/>
                  </a:lnTo>
                  <a:lnTo>
                    <a:pt x="1176" y="576"/>
                  </a:lnTo>
                  <a:lnTo>
                    <a:pt x="1194" y="576"/>
                  </a:lnTo>
                  <a:lnTo>
                    <a:pt x="1218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24" y="594"/>
                  </a:lnTo>
                  <a:lnTo>
                    <a:pt x="1212" y="600"/>
                  </a:lnTo>
                  <a:lnTo>
                    <a:pt x="1206" y="606"/>
                  </a:lnTo>
                  <a:lnTo>
                    <a:pt x="1200" y="606"/>
                  </a:lnTo>
                  <a:lnTo>
                    <a:pt x="1200" y="612"/>
                  </a:lnTo>
                  <a:lnTo>
                    <a:pt x="1194" y="612"/>
                  </a:lnTo>
                  <a:lnTo>
                    <a:pt x="1194" y="618"/>
                  </a:lnTo>
                  <a:lnTo>
                    <a:pt x="1194" y="624"/>
                  </a:lnTo>
                  <a:lnTo>
                    <a:pt x="1194" y="630"/>
                  </a:lnTo>
                  <a:lnTo>
                    <a:pt x="1194" y="648"/>
                  </a:lnTo>
                  <a:lnTo>
                    <a:pt x="1194" y="660"/>
                  </a:lnTo>
                  <a:lnTo>
                    <a:pt x="1194" y="666"/>
                  </a:lnTo>
                  <a:lnTo>
                    <a:pt x="1194" y="672"/>
                  </a:lnTo>
                  <a:lnTo>
                    <a:pt x="1194" y="678"/>
                  </a:lnTo>
                  <a:lnTo>
                    <a:pt x="1188" y="684"/>
                  </a:lnTo>
                  <a:lnTo>
                    <a:pt x="1188" y="690"/>
                  </a:lnTo>
                  <a:lnTo>
                    <a:pt x="1188" y="696"/>
                  </a:lnTo>
                  <a:lnTo>
                    <a:pt x="1188" y="702"/>
                  </a:lnTo>
                  <a:lnTo>
                    <a:pt x="1188" y="708"/>
                  </a:lnTo>
                  <a:lnTo>
                    <a:pt x="1188" y="714"/>
                  </a:lnTo>
                  <a:lnTo>
                    <a:pt x="1182" y="720"/>
                  </a:lnTo>
                  <a:lnTo>
                    <a:pt x="1170" y="720"/>
                  </a:lnTo>
                  <a:lnTo>
                    <a:pt x="1158" y="726"/>
                  </a:lnTo>
                  <a:lnTo>
                    <a:pt x="1152" y="726"/>
                  </a:lnTo>
                  <a:lnTo>
                    <a:pt x="1152" y="732"/>
                  </a:lnTo>
                  <a:lnTo>
                    <a:pt x="1146" y="738"/>
                  </a:lnTo>
                  <a:lnTo>
                    <a:pt x="1140" y="738"/>
                  </a:lnTo>
                  <a:lnTo>
                    <a:pt x="1140" y="744"/>
                  </a:lnTo>
                  <a:lnTo>
                    <a:pt x="1134" y="744"/>
                  </a:lnTo>
                  <a:lnTo>
                    <a:pt x="1128" y="744"/>
                  </a:lnTo>
                  <a:lnTo>
                    <a:pt x="1122" y="750"/>
                  </a:lnTo>
                  <a:lnTo>
                    <a:pt x="1128" y="750"/>
                  </a:lnTo>
                  <a:lnTo>
                    <a:pt x="1122" y="756"/>
                  </a:lnTo>
                  <a:lnTo>
                    <a:pt x="1116" y="756"/>
                  </a:lnTo>
                  <a:lnTo>
                    <a:pt x="1110" y="762"/>
                  </a:lnTo>
                  <a:lnTo>
                    <a:pt x="1104" y="762"/>
                  </a:lnTo>
                  <a:lnTo>
                    <a:pt x="1104" y="768"/>
                  </a:lnTo>
                  <a:lnTo>
                    <a:pt x="1098" y="768"/>
                  </a:lnTo>
                  <a:lnTo>
                    <a:pt x="1098" y="774"/>
                  </a:lnTo>
                  <a:lnTo>
                    <a:pt x="1092" y="774"/>
                  </a:lnTo>
                  <a:lnTo>
                    <a:pt x="1092" y="780"/>
                  </a:lnTo>
                  <a:lnTo>
                    <a:pt x="1086" y="780"/>
                  </a:lnTo>
                  <a:lnTo>
                    <a:pt x="1086" y="786"/>
                  </a:lnTo>
                  <a:lnTo>
                    <a:pt x="1080" y="786"/>
                  </a:lnTo>
                  <a:lnTo>
                    <a:pt x="1080" y="792"/>
                  </a:lnTo>
                  <a:lnTo>
                    <a:pt x="1080" y="798"/>
                  </a:lnTo>
                  <a:lnTo>
                    <a:pt x="1080" y="804"/>
                  </a:lnTo>
                  <a:lnTo>
                    <a:pt x="1086" y="810"/>
                  </a:lnTo>
                  <a:lnTo>
                    <a:pt x="1080" y="816"/>
                  </a:lnTo>
                  <a:lnTo>
                    <a:pt x="1080" y="822"/>
                  </a:lnTo>
                  <a:lnTo>
                    <a:pt x="1074" y="822"/>
                  </a:lnTo>
                  <a:lnTo>
                    <a:pt x="1068" y="828"/>
                  </a:lnTo>
                  <a:lnTo>
                    <a:pt x="1074" y="828"/>
                  </a:lnTo>
                  <a:lnTo>
                    <a:pt x="1074" y="834"/>
                  </a:lnTo>
                  <a:lnTo>
                    <a:pt x="1080" y="846"/>
                  </a:lnTo>
                  <a:lnTo>
                    <a:pt x="1086" y="846"/>
                  </a:lnTo>
                  <a:lnTo>
                    <a:pt x="1092" y="852"/>
                  </a:lnTo>
                  <a:lnTo>
                    <a:pt x="1092" y="858"/>
                  </a:lnTo>
                  <a:lnTo>
                    <a:pt x="1098" y="858"/>
                  </a:lnTo>
                  <a:lnTo>
                    <a:pt x="1110" y="864"/>
                  </a:lnTo>
                  <a:lnTo>
                    <a:pt x="1116" y="864"/>
                  </a:lnTo>
                  <a:lnTo>
                    <a:pt x="1122" y="864"/>
                  </a:lnTo>
                  <a:lnTo>
                    <a:pt x="1128" y="864"/>
                  </a:lnTo>
                  <a:lnTo>
                    <a:pt x="1134" y="876"/>
                  </a:lnTo>
                  <a:lnTo>
                    <a:pt x="1140" y="882"/>
                  </a:lnTo>
                  <a:lnTo>
                    <a:pt x="1140" y="888"/>
                  </a:lnTo>
                  <a:lnTo>
                    <a:pt x="1152" y="918"/>
                  </a:lnTo>
                  <a:lnTo>
                    <a:pt x="1158" y="894"/>
                  </a:lnTo>
                  <a:lnTo>
                    <a:pt x="1164" y="888"/>
                  </a:lnTo>
                  <a:lnTo>
                    <a:pt x="1164" y="882"/>
                  </a:lnTo>
                  <a:lnTo>
                    <a:pt x="1176" y="864"/>
                  </a:lnTo>
                  <a:lnTo>
                    <a:pt x="1182" y="858"/>
                  </a:lnTo>
                  <a:lnTo>
                    <a:pt x="1188" y="846"/>
                  </a:lnTo>
                  <a:lnTo>
                    <a:pt x="1200" y="840"/>
                  </a:lnTo>
                  <a:lnTo>
                    <a:pt x="1212" y="840"/>
                  </a:lnTo>
                  <a:lnTo>
                    <a:pt x="1218" y="846"/>
                  </a:lnTo>
                  <a:lnTo>
                    <a:pt x="1224" y="858"/>
                  </a:lnTo>
                  <a:lnTo>
                    <a:pt x="1224" y="864"/>
                  </a:lnTo>
                  <a:lnTo>
                    <a:pt x="1224" y="876"/>
                  </a:lnTo>
                  <a:lnTo>
                    <a:pt x="1212" y="912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00" y="930"/>
                  </a:lnTo>
                  <a:lnTo>
                    <a:pt x="1200" y="942"/>
                  </a:lnTo>
                  <a:lnTo>
                    <a:pt x="1194" y="948"/>
                  </a:lnTo>
                  <a:lnTo>
                    <a:pt x="1194" y="960"/>
                  </a:lnTo>
                  <a:lnTo>
                    <a:pt x="1194" y="966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70" y="984"/>
                  </a:lnTo>
                  <a:lnTo>
                    <a:pt x="1164" y="984"/>
                  </a:lnTo>
                  <a:lnTo>
                    <a:pt x="1158" y="984"/>
                  </a:lnTo>
                  <a:lnTo>
                    <a:pt x="1146" y="984"/>
                  </a:lnTo>
                  <a:lnTo>
                    <a:pt x="1140" y="990"/>
                  </a:lnTo>
                  <a:lnTo>
                    <a:pt x="1140" y="996"/>
                  </a:lnTo>
                  <a:lnTo>
                    <a:pt x="1152" y="996"/>
                  </a:lnTo>
                  <a:lnTo>
                    <a:pt x="1176" y="1002"/>
                  </a:lnTo>
                  <a:lnTo>
                    <a:pt x="1194" y="1008"/>
                  </a:lnTo>
                  <a:lnTo>
                    <a:pt x="1206" y="1008"/>
                  </a:lnTo>
                  <a:lnTo>
                    <a:pt x="1218" y="1014"/>
                  </a:lnTo>
                  <a:lnTo>
                    <a:pt x="1212" y="1038"/>
                  </a:lnTo>
                  <a:lnTo>
                    <a:pt x="1212" y="1044"/>
                  </a:lnTo>
                  <a:lnTo>
                    <a:pt x="1206" y="1044"/>
                  </a:lnTo>
                  <a:lnTo>
                    <a:pt x="1206" y="1050"/>
                  </a:lnTo>
                  <a:lnTo>
                    <a:pt x="1194" y="1050"/>
                  </a:lnTo>
                  <a:lnTo>
                    <a:pt x="1188" y="1044"/>
                  </a:lnTo>
                  <a:lnTo>
                    <a:pt x="1158" y="1020"/>
                  </a:lnTo>
                  <a:lnTo>
                    <a:pt x="1152" y="1020"/>
                  </a:lnTo>
                  <a:lnTo>
                    <a:pt x="1140" y="1020"/>
                  </a:lnTo>
                  <a:lnTo>
                    <a:pt x="1134" y="1020"/>
                  </a:lnTo>
                  <a:lnTo>
                    <a:pt x="1134" y="1026"/>
                  </a:lnTo>
                  <a:lnTo>
                    <a:pt x="1134" y="1032"/>
                  </a:lnTo>
                  <a:lnTo>
                    <a:pt x="1128" y="1032"/>
                  </a:lnTo>
                  <a:close/>
                </a:path>
              </a:pathLst>
            </a:custGeom>
            <a:solidFill>
              <a:srgbClr val="BFBFBF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2" name="Freeform 27">
              <a:extLst>
                <a:ext uri="{FF2B5EF4-FFF2-40B4-BE49-F238E27FC236}">
                  <a16:creationId xmlns:a16="http://schemas.microsoft.com/office/drawing/2014/main" id="{CE95C9DF-B651-4085-946F-65424BC51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2063" y="3421400"/>
              <a:ext cx="342138" cy="377969"/>
            </a:xfrm>
            <a:custGeom>
              <a:avLst/>
              <a:gdLst>
                <a:gd name="T0" fmla="*/ 43 w 642"/>
                <a:gd name="T1" fmla="*/ 41 h 708"/>
                <a:gd name="T2" fmla="*/ 39 w 642"/>
                <a:gd name="T3" fmla="*/ 41 h 708"/>
                <a:gd name="T4" fmla="*/ 38 w 642"/>
                <a:gd name="T5" fmla="*/ 47 h 708"/>
                <a:gd name="T6" fmla="*/ 38 w 642"/>
                <a:gd name="T7" fmla="*/ 49 h 708"/>
                <a:gd name="T8" fmla="*/ 38 w 642"/>
                <a:gd name="T9" fmla="*/ 50 h 708"/>
                <a:gd name="T10" fmla="*/ 36 w 642"/>
                <a:gd name="T11" fmla="*/ 52 h 708"/>
                <a:gd name="T12" fmla="*/ 35 w 642"/>
                <a:gd name="T13" fmla="*/ 53 h 708"/>
                <a:gd name="T14" fmla="*/ 33 w 642"/>
                <a:gd name="T15" fmla="*/ 55 h 708"/>
                <a:gd name="T16" fmla="*/ 32 w 642"/>
                <a:gd name="T17" fmla="*/ 56 h 708"/>
                <a:gd name="T18" fmla="*/ 31 w 642"/>
                <a:gd name="T19" fmla="*/ 59 h 708"/>
                <a:gd name="T20" fmla="*/ 26 w 642"/>
                <a:gd name="T21" fmla="*/ 59 h 708"/>
                <a:gd name="T22" fmla="*/ 23 w 642"/>
                <a:gd name="T23" fmla="*/ 61 h 708"/>
                <a:gd name="T24" fmla="*/ 20 w 642"/>
                <a:gd name="T25" fmla="*/ 61 h 708"/>
                <a:gd name="T26" fmla="*/ 17 w 642"/>
                <a:gd name="T27" fmla="*/ 59 h 708"/>
                <a:gd name="T28" fmla="*/ 15 w 642"/>
                <a:gd name="T29" fmla="*/ 56 h 708"/>
                <a:gd name="T30" fmla="*/ 9 w 642"/>
                <a:gd name="T31" fmla="*/ 58 h 708"/>
                <a:gd name="T32" fmla="*/ 6 w 642"/>
                <a:gd name="T33" fmla="*/ 52 h 708"/>
                <a:gd name="T34" fmla="*/ 2 w 642"/>
                <a:gd name="T35" fmla="*/ 53 h 708"/>
                <a:gd name="T36" fmla="*/ 1 w 642"/>
                <a:gd name="T37" fmla="*/ 51 h 708"/>
                <a:gd name="T38" fmla="*/ 4 w 642"/>
                <a:gd name="T39" fmla="*/ 47 h 708"/>
                <a:gd name="T40" fmla="*/ 5 w 642"/>
                <a:gd name="T41" fmla="*/ 41 h 708"/>
                <a:gd name="T42" fmla="*/ 5 w 642"/>
                <a:gd name="T43" fmla="*/ 38 h 708"/>
                <a:gd name="T44" fmla="*/ 5 w 642"/>
                <a:gd name="T45" fmla="*/ 35 h 708"/>
                <a:gd name="T46" fmla="*/ 6 w 642"/>
                <a:gd name="T47" fmla="*/ 33 h 708"/>
                <a:gd name="T48" fmla="*/ 5 w 642"/>
                <a:gd name="T49" fmla="*/ 29 h 708"/>
                <a:gd name="T50" fmla="*/ 4 w 642"/>
                <a:gd name="T51" fmla="*/ 28 h 708"/>
                <a:gd name="T52" fmla="*/ 1 w 642"/>
                <a:gd name="T53" fmla="*/ 26 h 708"/>
                <a:gd name="T54" fmla="*/ 1 w 642"/>
                <a:gd name="T55" fmla="*/ 24 h 708"/>
                <a:gd name="T56" fmla="*/ 1 w 642"/>
                <a:gd name="T57" fmla="*/ 20 h 708"/>
                <a:gd name="T58" fmla="*/ 1 w 642"/>
                <a:gd name="T59" fmla="*/ 16 h 708"/>
                <a:gd name="T60" fmla="*/ 2 w 642"/>
                <a:gd name="T61" fmla="*/ 14 h 708"/>
                <a:gd name="T62" fmla="*/ 8 w 642"/>
                <a:gd name="T63" fmla="*/ 14 h 708"/>
                <a:gd name="T64" fmla="*/ 9 w 642"/>
                <a:gd name="T65" fmla="*/ 10 h 708"/>
                <a:gd name="T66" fmla="*/ 15 w 642"/>
                <a:gd name="T67" fmla="*/ 9 h 708"/>
                <a:gd name="T68" fmla="*/ 18 w 642"/>
                <a:gd name="T69" fmla="*/ 14 h 708"/>
                <a:gd name="T70" fmla="*/ 20 w 642"/>
                <a:gd name="T71" fmla="*/ 12 h 708"/>
                <a:gd name="T72" fmla="*/ 20 w 642"/>
                <a:gd name="T73" fmla="*/ 11 h 708"/>
                <a:gd name="T74" fmla="*/ 21 w 642"/>
                <a:gd name="T75" fmla="*/ 9 h 708"/>
                <a:gd name="T76" fmla="*/ 24 w 642"/>
                <a:gd name="T77" fmla="*/ 9 h 708"/>
                <a:gd name="T78" fmla="*/ 27 w 642"/>
                <a:gd name="T79" fmla="*/ 8 h 708"/>
                <a:gd name="T80" fmla="*/ 33 w 642"/>
                <a:gd name="T81" fmla="*/ 2 h 708"/>
                <a:gd name="T82" fmla="*/ 42 w 642"/>
                <a:gd name="T83" fmla="*/ 2 h 708"/>
                <a:gd name="T84" fmla="*/ 49 w 642"/>
                <a:gd name="T85" fmla="*/ 1 h 708"/>
                <a:gd name="T86" fmla="*/ 53 w 642"/>
                <a:gd name="T87" fmla="*/ 4 h 708"/>
                <a:gd name="T88" fmla="*/ 55 w 642"/>
                <a:gd name="T89" fmla="*/ 4 h 708"/>
                <a:gd name="T90" fmla="*/ 55 w 642"/>
                <a:gd name="T91" fmla="*/ 7 h 708"/>
                <a:gd name="T92" fmla="*/ 52 w 642"/>
                <a:gd name="T93" fmla="*/ 9 h 708"/>
                <a:gd name="T94" fmla="*/ 49 w 642"/>
                <a:gd name="T95" fmla="*/ 12 h 708"/>
                <a:gd name="T96" fmla="*/ 47 w 642"/>
                <a:gd name="T97" fmla="*/ 14 h 708"/>
                <a:gd name="T98" fmla="*/ 47 w 642"/>
                <a:gd name="T99" fmla="*/ 17 h 708"/>
                <a:gd name="T100" fmla="*/ 45 w 642"/>
                <a:gd name="T101" fmla="*/ 26 h 708"/>
                <a:gd name="T102" fmla="*/ 50 w 642"/>
                <a:gd name="T103" fmla="*/ 37 h 70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42"/>
                <a:gd name="T157" fmla="*/ 0 h 708"/>
                <a:gd name="T158" fmla="*/ 642 w 642"/>
                <a:gd name="T159" fmla="*/ 708 h 70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42" h="708">
                  <a:moveTo>
                    <a:pt x="576" y="468"/>
                  </a:moveTo>
                  <a:lnTo>
                    <a:pt x="564" y="468"/>
                  </a:lnTo>
                  <a:lnTo>
                    <a:pt x="516" y="468"/>
                  </a:lnTo>
                  <a:lnTo>
                    <a:pt x="498" y="474"/>
                  </a:lnTo>
                  <a:lnTo>
                    <a:pt x="492" y="468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68" y="474"/>
                  </a:lnTo>
                  <a:lnTo>
                    <a:pt x="456" y="468"/>
                  </a:lnTo>
                  <a:lnTo>
                    <a:pt x="444" y="474"/>
                  </a:lnTo>
                  <a:lnTo>
                    <a:pt x="438" y="492"/>
                  </a:lnTo>
                  <a:lnTo>
                    <a:pt x="438" y="504"/>
                  </a:lnTo>
                  <a:lnTo>
                    <a:pt x="432" y="516"/>
                  </a:lnTo>
                  <a:lnTo>
                    <a:pt x="432" y="528"/>
                  </a:lnTo>
                  <a:lnTo>
                    <a:pt x="432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52"/>
                  </a:lnTo>
                  <a:lnTo>
                    <a:pt x="432" y="558"/>
                  </a:lnTo>
                  <a:lnTo>
                    <a:pt x="438" y="564"/>
                  </a:lnTo>
                  <a:lnTo>
                    <a:pt x="444" y="564"/>
                  </a:lnTo>
                  <a:lnTo>
                    <a:pt x="438" y="564"/>
                  </a:lnTo>
                  <a:lnTo>
                    <a:pt x="438" y="570"/>
                  </a:lnTo>
                  <a:lnTo>
                    <a:pt x="432" y="570"/>
                  </a:lnTo>
                  <a:lnTo>
                    <a:pt x="432" y="576"/>
                  </a:lnTo>
                  <a:lnTo>
                    <a:pt x="426" y="588"/>
                  </a:lnTo>
                  <a:lnTo>
                    <a:pt x="420" y="594"/>
                  </a:lnTo>
                  <a:lnTo>
                    <a:pt x="420" y="600"/>
                  </a:lnTo>
                  <a:lnTo>
                    <a:pt x="414" y="600"/>
                  </a:lnTo>
                  <a:lnTo>
                    <a:pt x="414" y="606"/>
                  </a:lnTo>
                  <a:lnTo>
                    <a:pt x="408" y="606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396" y="612"/>
                  </a:lnTo>
                  <a:lnTo>
                    <a:pt x="390" y="612"/>
                  </a:lnTo>
                  <a:lnTo>
                    <a:pt x="390" y="618"/>
                  </a:lnTo>
                  <a:lnTo>
                    <a:pt x="384" y="618"/>
                  </a:lnTo>
                  <a:lnTo>
                    <a:pt x="378" y="618"/>
                  </a:lnTo>
                  <a:lnTo>
                    <a:pt x="378" y="624"/>
                  </a:lnTo>
                  <a:lnTo>
                    <a:pt x="384" y="630"/>
                  </a:lnTo>
                  <a:lnTo>
                    <a:pt x="384" y="636"/>
                  </a:lnTo>
                  <a:lnTo>
                    <a:pt x="378" y="630"/>
                  </a:lnTo>
                  <a:lnTo>
                    <a:pt x="372" y="636"/>
                  </a:lnTo>
                  <a:lnTo>
                    <a:pt x="372" y="642"/>
                  </a:lnTo>
                  <a:lnTo>
                    <a:pt x="366" y="642"/>
                  </a:lnTo>
                  <a:lnTo>
                    <a:pt x="360" y="654"/>
                  </a:lnTo>
                  <a:lnTo>
                    <a:pt x="354" y="666"/>
                  </a:lnTo>
                  <a:lnTo>
                    <a:pt x="354" y="672"/>
                  </a:lnTo>
                  <a:lnTo>
                    <a:pt x="354" y="678"/>
                  </a:lnTo>
                  <a:lnTo>
                    <a:pt x="354" y="684"/>
                  </a:lnTo>
                  <a:lnTo>
                    <a:pt x="348" y="678"/>
                  </a:lnTo>
                  <a:lnTo>
                    <a:pt x="324" y="678"/>
                  </a:lnTo>
                  <a:lnTo>
                    <a:pt x="306" y="678"/>
                  </a:lnTo>
                  <a:lnTo>
                    <a:pt x="294" y="678"/>
                  </a:lnTo>
                  <a:lnTo>
                    <a:pt x="288" y="684"/>
                  </a:lnTo>
                  <a:lnTo>
                    <a:pt x="276" y="690"/>
                  </a:lnTo>
                  <a:lnTo>
                    <a:pt x="270" y="696"/>
                  </a:lnTo>
                  <a:lnTo>
                    <a:pt x="264" y="696"/>
                  </a:lnTo>
                  <a:lnTo>
                    <a:pt x="258" y="696"/>
                  </a:lnTo>
                  <a:lnTo>
                    <a:pt x="252" y="696"/>
                  </a:lnTo>
                  <a:lnTo>
                    <a:pt x="252" y="690"/>
                  </a:lnTo>
                  <a:lnTo>
                    <a:pt x="246" y="690"/>
                  </a:lnTo>
                  <a:lnTo>
                    <a:pt x="234" y="690"/>
                  </a:lnTo>
                  <a:lnTo>
                    <a:pt x="222" y="696"/>
                  </a:lnTo>
                  <a:lnTo>
                    <a:pt x="216" y="708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8" y="690"/>
                  </a:lnTo>
                  <a:lnTo>
                    <a:pt x="198" y="684"/>
                  </a:lnTo>
                  <a:lnTo>
                    <a:pt x="198" y="678"/>
                  </a:lnTo>
                  <a:lnTo>
                    <a:pt x="198" y="672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74" y="648"/>
                  </a:lnTo>
                  <a:lnTo>
                    <a:pt x="162" y="642"/>
                  </a:lnTo>
                  <a:lnTo>
                    <a:pt x="156" y="636"/>
                  </a:lnTo>
                  <a:lnTo>
                    <a:pt x="132" y="642"/>
                  </a:lnTo>
                  <a:lnTo>
                    <a:pt x="120" y="654"/>
                  </a:lnTo>
                  <a:lnTo>
                    <a:pt x="108" y="660"/>
                  </a:lnTo>
                  <a:lnTo>
                    <a:pt x="102" y="666"/>
                  </a:lnTo>
                  <a:lnTo>
                    <a:pt x="84" y="666"/>
                  </a:lnTo>
                  <a:lnTo>
                    <a:pt x="84" y="630"/>
                  </a:lnTo>
                  <a:lnTo>
                    <a:pt x="78" y="594"/>
                  </a:lnTo>
                  <a:lnTo>
                    <a:pt x="66" y="594"/>
                  </a:lnTo>
                  <a:lnTo>
                    <a:pt x="60" y="594"/>
                  </a:lnTo>
                  <a:lnTo>
                    <a:pt x="48" y="600"/>
                  </a:lnTo>
                  <a:lnTo>
                    <a:pt x="36" y="606"/>
                  </a:lnTo>
                  <a:lnTo>
                    <a:pt x="24" y="612"/>
                  </a:lnTo>
                  <a:lnTo>
                    <a:pt x="18" y="612"/>
                  </a:lnTo>
                  <a:lnTo>
                    <a:pt x="12" y="606"/>
                  </a:lnTo>
                  <a:lnTo>
                    <a:pt x="12" y="600"/>
                  </a:lnTo>
                  <a:lnTo>
                    <a:pt x="12" y="594"/>
                  </a:lnTo>
                  <a:lnTo>
                    <a:pt x="12" y="588"/>
                  </a:lnTo>
                  <a:lnTo>
                    <a:pt x="12" y="582"/>
                  </a:lnTo>
                  <a:lnTo>
                    <a:pt x="12" y="576"/>
                  </a:lnTo>
                  <a:lnTo>
                    <a:pt x="18" y="552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42" y="534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48" y="492"/>
                  </a:lnTo>
                  <a:lnTo>
                    <a:pt x="48" y="480"/>
                  </a:lnTo>
                  <a:lnTo>
                    <a:pt x="54" y="468"/>
                  </a:lnTo>
                  <a:lnTo>
                    <a:pt x="48" y="456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66" y="390"/>
                  </a:lnTo>
                  <a:lnTo>
                    <a:pt x="72" y="384"/>
                  </a:lnTo>
                  <a:lnTo>
                    <a:pt x="72" y="378"/>
                  </a:lnTo>
                  <a:lnTo>
                    <a:pt x="66" y="378"/>
                  </a:lnTo>
                  <a:lnTo>
                    <a:pt x="66" y="366"/>
                  </a:lnTo>
                  <a:lnTo>
                    <a:pt x="60" y="360"/>
                  </a:lnTo>
                  <a:lnTo>
                    <a:pt x="66" y="354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48" y="312"/>
                  </a:lnTo>
                  <a:lnTo>
                    <a:pt x="30" y="312"/>
                  </a:lnTo>
                  <a:lnTo>
                    <a:pt x="24" y="306"/>
                  </a:lnTo>
                  <a:lnTo>
                    <a:pt x="18" y="306"/>
                  </a:lnTo>
                  <a:lnTo>
                    <a:pt x="12" y="294"/>
                  </a:lnTo>
                  <a:lnTo>
                    <a:pt x="12" y="282"/>
                  </a:lnTo>
                  <a:lnTo>
                    <a:pt x="6" y="276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12" y="270"/>
                  </a:lnTo>
                  <a:lnTo>
                    <a:pt x="12" y="246"/>
                  </a:lnTo>
                  <a:lnTo>
                    <a:pt x="12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8" y="174"/>
                  </a:lnTo>
                  <a:lnTo>
                    <a:pt x="12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48" y="162"/>
                  </a:lnTo>
                  <a:lnTo>
                    <a:pt x="72" y="162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84" y="132"/>
                  </a:lnTo>
                  <a:lnTo>
                    <a:pt x="90" y="120"/>
                  </a:lnTo>
                  <a:lnTo>
                    <a:pt x="108" y="114"/>
                  </a:lnTo>
                  <a:lnTo>
                    <a:pt x="114" y="102"/>
                  </a:lnTo>
                  <a:lnTo>
                    <a:pt x="120" y="90"/>
                  </a:lnTo>
                  <a:lnTo>
                    <a:pt x="138" y="90"/>
                  </a:lnTo>
                  <a:lnTo>
                    <a:pt x="138" y="102"/>
                  </a:lnTo>
                  <a:lnTo>
                    <a:pt x="168" y="108"/>
                  </a:lnTo>
                  <a:lnTo>
                    <a:pt x="168" y="114"/>
                  </a:lnTo>
                  <a:lnTo>
                    <a:pt x="174" y="126"/>
                  </a:lnTo>
                  <a:lnTo>
                    <a:pt x="186" y="150"/>
                  </a:lnTo>
                  <a:lnTo>
                    <a:pt x="186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34" y="144"/>
                  </a:lnTo>
                  <a:lnTo>
                    <a:pt x="240" y="138"/>
                  </a:lnTo>
                  <a:lnTo>
                    <a:pt x="240" y="126"/>
                  </a:lnTo>
                  <a:lnTo>
                    <a:pt x="234" y="126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34" y="102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82" y="102"/>
                  </a:lnTo>
                  <a:lnTo>
                    <a:pt x="288" y="102"/>
                  </a:lnTo>
                  <a:lnTo>
                    <a:pt x="294" y="102"/>
                  </a:lnTo>
                  <a:lnTo>
                    <a:pt x="300" y="96"/>
                  </a:lnTo>
                  <a:lnTo>
                    <a:pt x="306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84"/>
                  </a:lnTo>
                  <a:lnTo>
                    <a:pt x="324" y="18"/>
                  </a:lnTo>
                  <a:lnTo>
                    <a:pt x="360" y="18"/>
                  </a:lnTo>
                  <a:lnTo>
                    <a:pt x="378" y="18"/>
                  </a:lnTo>
                  <a:lnTo>
                    <a:pt x="378" y="30"/>
                  </a:lnTo>
                  <a:lnTo>
                    <a:pt x="390" y="30"/>
                  </a:lnTo>
                  <a:lnTo>
                    <a:pt x="432" y="30"/>
                  </a:lnTo>
                  <a:lnTo>
                    <a:pt x="456" y="24"/>
                  </a:lnTo>
                  <a:lnTo>
                    <a:pt x="480" y="24"/>
                  </a:lnTo>
                  <a:lnTo>
                    <a:pt x="498" y="30"/>
                  </a:lnTo>
                  <a:lnTo>
                    <a:pt x="522" y="18"/>
                  </a:lnTo>
                  <a:lnTo>
                    <a:pt x="528" y="0"/>
                  </a:lnTo>
                  <a:lnTo>
                    <a:pt x="558" y="6"/>
                  </a:lnTo>
                  <a:lnTo>
                    <a:pt x="558" y="12"/>
                  </a:lnTo>
                  <a:lnTo>
                    <a:pt x="570" y="18"/>
                  </a:lnTo>
                  <a:lnTo>
                    <a:pt x="576" y="24"/>
                  </a:lnTo>
                  <a:lnTo>
                    <a:pt x="588" y="36"/>
                  </a:lnTo>
                  <a:lnTo>
                    <a:pt x="594" y="48"/>
                  </a:lnTo>
                  <a:lnTo>
                    <a:pt x="606" y="48"/>
                  </a:lnTo>
                  <a:lnTo>
                    <a:pt x="606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42"/>
                  </a:lnTo>
                  <a:lnTo>
                    <a:pt x="636" y="42"/>
                  </a:lnTo>
                  <a:lnTo>
                    <a:pt x="636" y="48"/>
                  </a:lnTo>
                  <a:lnTo>
                    <a:pt x="642" y="54"/>
                  </a:lnTo>
                  <a:lnTo>
                    <a:pt x="636" y="60"/>
                  </a:lnTo>
                  <a:lnTo>
                    <a:pt x="636" y="66"/>
                  </a:lnTo>
                  <a:lnTo>
                    <a:pt x="636" y="78"/>
                  </a:lnTo>
                  <a:lnTo>
                    <a:pt x="624" y="84"/>
                  </a:lnTo>
                  <a:lnTo>
                    <a:pt x="618" y="90"/>
                  </a:lnTo>
                  <a:lnTo>
                    <a:pt x="612" y="90"/>
                  </a:lnTo>
                  <a:lnTo>
                    <a:pt x="600" y="102"/>
                  </a:lnTo>
                  <a:lnTo>
                    <a:pt x="594" y="108"/>
                  </a:lnTo>
                  <a:lnTo>
                    <a:pt x="582" y="114"/>
                  </a:lnTo>
                  <a:lnTo>
                    <a:pt x="570" y="132"/>
                  </a:lnTo>
                  <a:lnTo>
                    <a:pt x="564" y="132"/>
                  </a:lnTo>
                  <a:lnTo>
                    <a:pt x="564" y="138"/>
                  </a:lnTo>
                  <a:lnTo>
                    <a:pt x="558" y="144"/>
                  </a:lnTo>
                  <a:lnTo>
                    <a:pt x="558" y="150"/>
                  </a:lnTo>
                  <a:lnTo>
                    <a:pt x="552" y="150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0" y="162"/>
                  </a:lnTo>
                  <a:lnTo>
                    <a:pt x="534" y="168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6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28" y="234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16" y="294"/>
                  </a:lnTo>
                  <a:lnTo>
                    <a:pt x="516" y="312"/>
                  </a:lnTo>
                  <a:lnTo>
                    <a:pt x="528" y="318"/>
                  </a:lnTo>
                  <a:lnTo>
                    <a:pt x="540" y="360"/>
                  </a:lnTo>
                  <a:lnTo>
                    <a:pt x="558" y="408"/>
                  </a:lnTo>
                  <a:lnTo>
                    <a:pt x="570" y="426"/>
                  </a:lnTo>
                  <a:lnTo>
                    <a:pt x="576" y="432"/>
                  </a:lnTo>
                  <a:lnTo>
                    <a:pt x="576" y="438"/>
                  </a:lnTo>
                  <a:lnTo>
                    <a:pt x="576" y="444"/>
                  </a:lnTo>
                  <a:lnTo>
                    <a:pt x="576" y="46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3" name="Freeform 28">
              <a:extLst>
                <a:ext uri="{FF2B5EF4-FFF2-40B4-BE49-F238E27FC236}">
                  <a16:creationId xmlns:a16="http://schemas.microsoft.com/office/drawing/2014/main" id="{CF9B4F31-BF73-448E-83AA-188F6CF1BDC5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4879" y="3432583"/>
              <a:ext cx="324248" cy="270616"/>
            </a:xfrm>
            <a:custGeom>
              <a:avLst/>
              <a:gdLst>
                <a:gd name="T0" fmla="*/ 5 w 606"/>
                <a:gd name="T1" fmla="*/ 36 h 510"/>
                <a:gd name="T2" fmla="*/ 4 w 606"/>
                <a:gd name="T3" fmla="*/ 34 h 510"/>
                <a:gd name="T4" fmla="*/ 0 w 606"/>
                <a:gd name="T5" fmla="*/ 25 h 510"/>
                <a:gd name="T6" fmla="*/ 1 w 606"/>
                <a:gd name="T7" fmla="*/ 20 h 510"/>
                <a:gd name="T8" fmla="*/ 2 w 606"/>
                <a:gd name="T9" fmla="*/ 15 h 510"/>
                <a:gd name="T10" fmla="*/ 2 w 606"/>
                <a:gd name="T11" fmla="*/ 13 h 510"/>
                <a:gd name="T12" fmla="*/ 3 w 606"/>
                <a:gd name="T13" fmla="*/ 12 h 510"/>
                <a:gd name="T14" fmla="*/ 4 w 606"/>
                <a:gd name="T15" fmla="*/ 11 h 510"/>
                <a:gd name="T16" fmla="*/ 4 w 606"/>
                <a:gd name="T17" fmla="*/ 10 h 510"/>
                <a:gd name="T18" fmla="*/ 7 w 606"/>
                <a:gd name="T19" fmla="*/ 8 h 510"/>
                <a:gd name="T20" fmla="*/ 9 w 606"/>
                <a:gd name="T21" fmla="*/ 6 h 510"/>
                <a:gd name="T22" fmla="*/ 11 w 606"/>
                <a:gd name="T23" fmla="*/ 4 h 510"/>
                <a:gd name="T24" fmla="*/ 12 w 606"/>
                <a:gd name="T25" fmla="*/ 3 h 510"/>
                <a:gd name="T26" fmla="*/ 13 w 606"/>
                <a:gd name="T27" fmla="*/ 4 h 510"/>
                <a:gd name="T28" fmla="*/ 15 w 606"/>
                <a:gd name="T29" fmla="*/ 2 h 510"/>
                <a:gd name="T30" fmla="*/ 17 w 606"/>
                <a:gd name="T31" fmla="*/ 2 h 510"/>
                <a:gd name="T32" fmla="*/ 19 w 606"/>
                <a:gd name="T33" fmla="*/ 5 h 510"/>
                <a:gd name="T34" fmla="*/ 22 w 606"/>
                <a:gd name="T35" fmla="*/ 5 h 510"/>
                <a:gd name="T36" fmla="*/ 25 w 606"/>
                <a:gd name="T37" fmla="*/ 6 h 510"/>
                <a:gd name="T38" fmla="*/ 29 w 606"/>
                <a:gd name="T39" fmla="*/ 1 h 510"/>
                <a:gd name="T40" fmla="*/ 38 w 606"/>
                <a:gd name="T41" fmla="*/ 0 h 510"/>
                <a:gd name="T42" fmla="*/ 38 w 606"/>
                <a:gd name="T43" fmla="*/ 5 h 510"/>
                <a:gd name="T44" fmla="*/ 41 w 606"/>
                <a:gd name="T45" fmla="*/ 4 h 510"/>
                <a:gd name="T46" fmla="*/ 45 w 606"/>
                <a:gd name="T47" fmla="*/ 2 h 510"/>
                <a:gd name="T48" fmla="*/ 46 w 606"/>
                <a:gd name="T49" fmla="*/ 2 h 510"/>
                <a:gd name="T50" fmla="*/ 47 w 606"/>
                <a:gd name="T51" fmla="*/ 5 h 510"/>
                <a:gd name="T52" fmla="*/ 45 w 606"/>
                <a:gd name="T53" fmla="*/ 6 h 510"/>
                <a:gd name="T54" fmla="*/ 45 w 606"/>
                <a:gd name="T55" fmla="*/ 7 h 510"/>
                <a:gd name="T56" fmla="*/ 43 w 606"/>
                <a:gd name="T57" fmla="*/ 8 h 510"/>
                <a:gd name="T58" fmla="*/ 45 w 606"/>
                <a:gd name="T59" fmla="*/ 15 h 510"/>
                <a:gd name="T60" fmla="*/ 49 w 606"/>
                <a:gd name="T61" fmla="*/ 15 h 510"/>
                <a:gd name="T62" fmla="*/ 51 w 606"/>
                <a:gd name="T63" fmla="*/ 15 h 510"/>
                <a:gd name="T64" fmla="*/ 53 w 606"/>
                <a:gd name="T65" fmla="*/ 16 h 510"/>
                <a:gd name="T66" fmla="*/ 52 w 606"/>
                <a:gd name="T67" fmla="*/ 20 h 510"/>
                <a:gd name="T68" fmla="*/ 48 w 606"/>
                <a:gd name="T69" fmla="*/ 23 h 510"/>
                <a:gd name="T70" fmla="*/ 45 w 606"/>
                <a:gd name="T71" fmla="*/ 25 h 510"/>
                <a:gd name="T72" fmla="*/ 44 w 606"/>
                <a:gd name="T73" fmla="*/ 28 h 510"/>
                <a:gd name="T74" fmla="*/ 43 w 606"/>
                <a:gd name="T75" fmla="*/ 33 h 510"/>
                <a:gd name="T76" fmla="*/ 39 w 606"/>
                <a:gd name="T77" fmla="*/ 38 h 510"/>
                <a:gd name="T78" fmla="*/ 37 w 606"/>
                <a:gd name="T79" fmla="*/ 41 h 510"/>
                <a:gd name="T80" fmla="*/ 31 w 606"/>
                <a:gd name="T81" fmla="*/ 44 h 510"/>
                <a:gd name="T82" fmla="*/ 28 w 606"/>
                <a:gd name="T83" fmla="*/ 43 h 510"/>
                <a:gd name="T84" fmla="*/ 28 w 606"/>
                <a:gd name="T85" fmla="*/ 41 h 510"/>
                <a:gd name="T86" fmla="*/ 28 w 606"/>
                <a:gd name="T87" fmla="*/ 40 h 510"/>
                <a:gd name="T88" fmla="*/ 27 w 606"/>
                <a:gd name="T89" fmla="*/ 38 h 510"/>
                <a:gd name="T90" fmla="*/ 27 w 606"/>
                <a:gd name="T91" fmla="*/ 36 h 510"/>
                <a:gd name="T92" fmla="*/ 24 w 606"/>
                <a:gd name="T93" fmla="*/ 35 h 510"/>
                <a:gd name="T94" fmla="*/ 16 w 606"/>
                <a:gd name="T95" fmla="*/ 34 h 510"/>
                <a:gd name="T96" fmla="*/ 13 w 606"/>
                <a:gd name="T97" fmla="*/ 34 h 510"/>
                <a:gd name="T98" fmla="*/ 9 w 606"/>
                <a:gd name="T99" fmla="*/ 36 h 510"/>
                <a:gd name="T100" fmla="*/ 8 w 606"/>
                <a:gd name="T101" fmla="*/ 38 h 510"/>
                <a:gd name="T102" fmla="*/ 7 w 606"/>
                <a:gd name="T103" fmla="*/ 39 h 51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06"/>
                <a:gd name="T157" fmla="*/ 0 h 510"/>
                <a:gd name="T158" fmla="*/ 606 w 606"/>
                <a:gd name="T159" fmla="*/ 510 h 51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06" h="510">
                  <a:moveTo>
                    <a:pt x="60" y="450"/>
                  </a:move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42" y="390"/>
                  </a:lnTo>
                  <a:lnTo>
                    <a:pt x="24" y="342"/>
                  </a:lnTo>
                  <a:lnTo>
                    <a:pt x="12" y="300"/>
                  </a:lnTo>
                  <a:lnTo>
                    <a:pt x="0" y="294"/>
                  </a:lnTo>
                  <a:lnTo>
                    <a:pt x="0" y="276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24" y="192"/>
                  </a:lnTo>
                  <a:lnTo>
                    <a:pt x="24" y="180"/>
                  </a:lnTo>
                  <a:lnTo>
                    <a:pt x="24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6" y="96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108" y="66"/>
                  </a:lnTo>
                  <a:lnTo>
                    <a:pt x="120" y="60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36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62" y="36"/>
                  </a:lnTo>
                  <a:lnTo>
                    <a:pt x="162" y="30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0" y="54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46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76" y="66"/>
                  </a:lnTo>
                  <a:lnTo>
                    <a:pt x="312" y="66"/>
                  </a:lnTo>
                  <a:lnTo>
                    <a:pt x="318" y="60"/>
                  </a:lnTo>
                  <a:lnTo>
                    <a:pt x="330" y="12"/>
                  </a:lnTo>
                  <a:lnTo>
                    <a:pt x="414" y="6"/>
                  </a:lnTo>
                  <a:lnTo>
                    <a:pt x="420" y="0"/>
                  </a:lnTo>
                  <a:lnTo>
                    <a:pt x="426" y="6"/>
                  </a:lnTo>
                  <a:lnTo>
                    <a:pt x="426" y="12"/>
                  </a:lnTo>
                  <a:lnTo>
                    <a:pt x="426" y="54"/>
                  </a:lnTo>
                  <a:lnTo>
                    <a:pt x="432" y="54"/>
                  </a:lnTo>
                  <a:lnTo>
                    <a:pt x="444" y="54"/>
                  </a:lnTo>
                  <a:lnTo>
                    <a:pt x="450" y="42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86" y="24"/>
                  </a:lnTo>
                  <a:lnTo>
                    <a:pt x="504" y="18"/>
                  </a:lnTo>
                  <a:lnTo>
                    <a:pt x="510" y="12"/>
                  </a:lnTo>
                  <a:lnTo>
                    <a:pt x="516" y="18"/>
                  </a:lnTo>
                  <a:lnTo>
                    <a:pt x="522" y="24"/>
                  </a:lnTo>
                  <a:lnTo>
                    <a:pt x="510" y="30"/>
                  </a:lnTo>
                  <a:lnTo>
                    <a:pt x="516" y="48"/>
                  </a:lnTo>
                  <a:lnTo>
                    <a:pt x="528" y="54"/>
                  </a:lnTo>
                  <a:lnTo>
                    <a:pt x="522" y="60"/>
                  </a:lnTo>
                  <a:lnTo>
                    <a:pt x="516" y="66"/>
                  </a:lnTo>
                  <a:lnTo>
                    <a:pt x="516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0" y="84"/>
                  </a:lnTo>
                  <a:lnTo>
                    <a:pt x="510" y="90"/>
                  </a:lnTo>
                  <a:lnTo>
                    <a:pt x="504" y="90"/>
                  </a:lnTo>
                  <a:lnTo>
                    <a:pt x="486" y="90"/>
                  </a:lnTo>
                  <a:lnTo>
                    <a:pt x="492" y="138"/>
                  </a:lnTo>
                  <a:lnTo>
                    <a:pt x="498" y="168"/>
                  </a:lnTo>
                  <a:lnTo>
                    <a:pt x="516" y="168"/>
                  </a:lnTo>
                  <a:lnTo>
                    <a:pt x="528" y="174"/>
                  </a:lnTo>
                  <a:lnTo>
                    <a:pt x="534" y="168"/>
                  </a:lnTo>
                  <a:lnTo>
                    <a:pt x="558" y="174"/>
                  </a:lnTo>
                  <a:lnTo>
                    <a:pt x="564" y="168"/>
                  </a:lnTo>
                  <a:lnTo>
                    <a:pt x="570" y="168"/>
                  </a:lnTo>
                  <a:lnTo>
                    <a:pt x="576" y="174"/>
                  </a:lnTo>
                  <a:lnTo>
                    <a:pt x="588" y="168"/>
                  </a:lnTo>
                  <a:lnTo>
                    <a:pt x="594" y="168"/>
                  </a:lnTo>
                  <a:lnTo>
                    <a:pt x="594" y="186"/>
                  </a:lnTo>
                  <a:lnTo>
                    <a:pt x="606" y="198"/>
                  </a:lnTo>
                  <a:lnTo>
                    <a:pt x="600" y="210"/>
                  </a:lnTo>
                  <a:lnTo>
                    <a:pt x="588" y="234"/>
                  </a:lnTo>
                  <a:lnTo>
                    <a:pt x="564" y="246"/>
                  </a:lnTo>
                  <a:lnTo>
                    <a:pt x="546" y="258"/>
                  </a:lnTo>
                  <a:lnTo>
                    <a:pt x="540" y="270"/>
                  </a:lnTo>
                  <a:lnTo>
                    <a:pt x="534" y="294"/>
                  </a:lnTo>
                  <a:lnTo>
                    <a:pt x="528" y="300"/>
                  </a:lnTo>
                  <a:lnTo>
                    <a:pt x="516" y="294"/>
                  </a:lnTo>
                  <a:lnTo>
                    <a:pt x="510" y="300"/>
                  </a:lnTo>
                  <a:lnTo>
                    <a:pt x="498" y="318"/>
                  </a:lnTo>
                  <a:lnTo>
                    <a:pt x="492" y="324"/>
                  </a:lnTo>
                  <a:lnTo>
                    <a:pt x="486" y="336"/>
                  </a:lnTo>
                  <a:lnTo>
                    <a:pt x="486" y="354"/>
                  </a:lnTo>
                  <a:lnTo>
                    <a:pt x="486" y="384"/>
                  </a:lnTo>
                  <a:lnTo>
                    <a:pt x="474" y="408"/>
                  </a:lnTo>
                  <a:lnTo>
                    <a:pt x="450" y="426"/>
                  </a:lnTo>
                  <a:lnTo>
                    <a:pt x="444" y="444"/>
                  </a:lnTo>
                  <a:lnTo>
                    <a:pt x="426" y="474"/>
                  </a:lnTo>
                  <a:lnTo>
                    <a:pt x="420" y="486"/>
                  </a:lnTo>
                  <a:lnTo>
                    <a:pt x="414" y="486"/>
                  </a:lnTo>
                  <a:lnTo>
                    <a:pt x="414" y="498"/>
                  </a:lnTo>
                  <a:lnTo>
                    <a:pt x="378" y="504"/>
                  </a:lnTo>
                  <a:lnTo>
                    <a:pt x="348" y="510"/>
                  </a:lnTo>
                  <a:lnTo>
                    <a:pt x="330" y="510"/>
                  </a:lnTo>
                  <a:lnTo>
                    <a:pt x="324" y="504"/>
                  </a:lnTo>
                  <a:lnTo>
                    <a:pt x="318" y="504"/>
                  </a:lnTo>
                  <a:lnTo>
                    <a:pt x="312" y="504"/>
                  </a:lnTo>
                  <a:lnTo>
                    <a:pt x="312" y="498"/>
                  </a:lnTo>
                  <a:lnTo>
                    <a:pt x="312" y="486"/>
                  </a:lnTo>
                  <a:lnTo>
                    <a:pt x="312" y="480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56"/>
                  </a:lnTo>
                  <a:lnTo>
                    <a:pt x="312" y="450"/>
                  </a:lnTo>
                  <a:lnTo>
                    <a:pt x="306" y="444"/>
                  </a:lnTo>
                  <a:lnTo>
                    <a:pt x="306" y="438"/>
                  </a:lnTo>
                  <a:lnTo>
                    <a:pt x="300" y="426"/>
                  </a:lnTo>
                  <a:lnTo>
                    <a:pt x="300" y="420"/>
                  </a:lnTo>
                  <a:lnTo>
                    <a:pt x="294" y="414"/>
                  </a:lnTo>
                  <a:lnTo>
                    <a:pt x="294" y="408"/>
                  </a:lnTo>
                  <a:lnTo>
                    <a:pt x="270" y="408"/>
                  </a:lnTo>
                  <a:lnTo>
                    <a:pt x="246" y="408"/>
                  </a:lnTo>
                  <a:lnTo>
                    <a:pt x="222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56" y="402"/>
                  </a:lnTo>
                  <a:lnTo>
                    <a:pt x="144" y="396"/>
                  </a:lnTo>
                  <a:lnTo>
                    <a:pt x="126" y="396"/>
                  </a:lnTo>
                  <a:lnTo>
                    <a:pt x="108" y="408"/>
                  </a:lnTo>
                  <a:lnTo>
                    <a:pt x="102" y="414"/>
                  </a:lnTo>
                  <a:lnTo>
                    <a:pt x="102" y="420"/>
                  </a:lnTo>
                  <a:lnTo>
                    <a:pt x="96" y="426"/>
                  </a:lnTo>
                  <a:lnTo>
                    <a:pt x="96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78" y="450"/>
                  </a:lnTo>
                  <a:lnTo>
                    <a:pt x="60" y="45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4" name="Freeform 29">
              <a:extLst>
                <a:ext uri="{FF2B5EF4-FFF2-40B4-BE49-F238E27FC236}">
                  <a16:creationId xmlns:a16="http://schemas.microsoft.com/office/drawing/2014/main" id="{B6AC2B96-1504-4082-8778-17130FDA021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401" y="3537698"/>
              <a:ext cx="559048" cy="641876"/>
            </a:xfrm>
            <a:custGeom>
              <a:avLst/>
              <a:gdLst>
                <a:gd name="T0" fmla="*/ 39 w 1056"/>
                <a:gd name="T1" fmla="*/ 94 h 1206"/>
                <a:gd name="T2" fmla="*/ 35 w 1056"/>
                <a:gd name="T3" fmla="*/ 103 h 1206"/>
                <a:gd name="T4" fmla="*/ 29 w 1056"/>
                <a:gd name="T5" fmla="*/ 99 h 1206"/>
                <a:gd name="T6" fmla="*/ 23 w 1056"/>
                <a:gd name="T7" fmla="*/ 94 h 1206"/>
                <a:gd name="T8" fmla="*/ 21 w 1056"/>
                <a:gd name="T9" fmla="*/ 91 h 1206"/>
                <a:gd name="T10" fmla="*/ 18 w 1056"/>
                <a:gd name="T11" fmla="*/ 89 h 1206"/>
                <a:gd name="T12" fmla="*/ 15 w 1056"/>
                <a:gd name="T13" fmla="*/ 86 h 1206"/>
                <a:gd name="T14" fmla="*/ 11 w 1056"/>
                <a:gd name="T15" fmla="*/ 83 h 1206"/>
                <a:gd name="T16" fmla="*/ 8 w 1056"/>
                <a:gd name="T17" fmla="*/ 81 h 1206"/>
                <a:gd name="T18" fmla="*/ 6 w 1056"/>
                <a:gd name="T19" fmla="*/ 79 h 1206"/>
                <a:gd name="T20" fmla="*/ 13 w 1056"/>
                <a:gd name="T21" fmla="*/ 78 h 1206"/>
                <a:gd name="T22" fmla="*/ 8 w 1056"/>
                <a:gd name="T23" fmla="*/ 75 h 1206"/>
                <a:gd name="T24" fmla="*/ 13 w 1056"/>
                <a:gd name="T25" fmla="*/ 71 h 1206"/>
                <a:gd name="T26" fmla="*/ 10 w 1056"/>
                <a:gd name="T27" fmla="*/ 63 h 1206"/>
                <a:gd name="T28" fmla="*/ 6 w 1056"/>
                <a:gd name="T29" fmla="*/ 66 h 1206"/>
                <a:gd name="T30" fmla="*/ 1 w 1056"/>
                <a:gd name="T31" fmla="*/ 63 h 1206"/>
                <a:gd name="T32" fmla="*/ 1 w 1056"/>
                <a:gd name="T33" fmla="*/ 59 h 1206"/>
                <a:gd name="T34" fmla="*/ 3 w 1056"/>
                <a:gd name="T35" fmla="*/ 57 h 1206"/>
                <a:gd name="T36" fmla="*/ 6 w 1056"/>
                <a:gd name="T37" fmla="*/ 55 h 1206"/>
                <a:gd name="T38" fmla="*/ 10 w 1056"/>
                <a:gd name="T39" fmla="*/ 51 h 1206"/>
                <a:gd name="T40" fmla="*/ 11 w 1056"/>
                <a:gd name="T41" fmla="*/ 46 h 1206"/>
                <a:gd name="T42" fmla="*/ 14 w 1056"/>
                <a:gd name="T43" fmla="*/ 42 h 1206"/>
                <a:gd name="T44" fmla="*/ 15 w 1056"/>
                <a:gd name="T45" fmla="*/ 36 h 1206"/>
                <a:gd name="T46" fmla="*/ 17 w 1056"/>
                <a:gd name="T47" fmla="*/ 34 h 1206"/>
                <a:gd name="T48" fmla="*/ 20 w 1056"/>
                <a:gd name="T49" fmla="*/ 31 h 1206"/>
                <a:gd name="T50" fmla="*/ 21 w 1056"/>
                <a:gd name="T51" fmla="*/ 29 h 1206"/>
                <a:gd name="T52" fmla="*/ 23 w 1056"/>
                <a:gd name="T53" fmla="*/ 22 h 1206"/>
                <a:gd name="T54" fmla="*/ 35 w 1056"/>
                <a:gd name="T55" fmla="*/ 22 h 1206"/>
                <a:gd name="T56" fmla="*/ 41 w 1056"/>
                <a:gd name="T57" fmla="*/ 18 h 1206"/>
                <a:gd name="T58" fmla="*/ 54 w 1056"/>
                <a:gd name="T59" fmla="*/ 20 h 1206"/>
                <a:gd name="T60" fmla="*/ 54 w 1056"/>
                <a:gd name="T61" fmla="*/ 26 h 1206"/>
                <a:gd name="T62" fmla="*/ 64 w 1056"/>
                <a:gd name="T63" fmla="*/ 25 h 1206"/>
                <a:gd name="T64" fmla="*/ 71 w 1056"/>
                <a:gd name="T65" fmla="*/ 10 h 1206"/>
                <a:gd name="T66" fmla="*/ 80 w 1056"/>
                <a:gd name="T67" fmla="*/ 1 h 1206"/>
                <a:gd name="T68" fmla="*/ 86 w 1056"/>
                <a:gd name="T69" fmla="*/ 2 h 1206"/>
                <a:gd name="T70" fmla="*/ 91 w 1056"/>
                <a:gd name="T71" fmla="*/ 13 h 1206"/>
                <a:gd name="T72" fmla="*/ 88 w 1056"/>
                <a:gd name="T73" fmla="*/ 17 h 1206"/>
                <a:gd name="T74" fmla="*/ 89 w 1056"/>
                <a:gd name="T75" fmla="*/ 21 h 1206"/>
                <a:gd name="T76" fmla="*/ 86 w 1056"/>
                <a:gd name="T77" fmla="*/ 25 h 1206"/>
                <a:gd name="T78" fmla="*/ 85 w 1056"/>
                <a:gd name="T79" fmla="*/ 31 h 1206"/>
                <a:gd name="T80" fmla="*/ 83 w 1056"/>
                <a:gd name="T81" fmla="*/ 36 h 1206"/>
                <a:gd name="T82" fmla="*/ 80 w 1056"/>
                <a:gd name="T83" fmla="*/ 42 h 1206"/>
                <a:gd name="T84" fmla="*/ 80 w 1056"/>
                <a:gd name="T85" fmla="*/ 47 h 1206"/>
                <a:gd name="T86" fmla="*/ 77 w 1056"/>
                <a:gd name="T87" fmla="*/ 55 h 1206"/>
                <a:gd name="T88" fmla="*/ 75 w 1056"/>
                <a:gd name="T89" fmla="*/ 57 h 1206"/>
                <a:gd name="T90" fmla="*/ 66 w 1056"/>
                <a:gd name="T91" fmla="*/ 57 h 1206"/>
                <a:gd name="T92" fmla="*/ 66 w 1056"/>
                <a:gd name="T93" fmla="*/ 51 h 1206"/>
                <a:gd name="T94" fmla="*/ 48 w 1056"/>
                <a:gd name="T95" fmla="*/ 50 h 1206"/>
                <a:gd name="T96" fmla="*/ 46 w 1056"/>
                <a:gd name="T97" fmla="*/ 55 h 1206"/>
                <a:gd name="T98" fmla="*/ 42 w 1056"/>
                <a:gd name="T99" fmla="*/ 59 h 1206"/>
                <a:gd name="T100" fmla="*/ 41 w 1056"/>
                <a:gd name="T101" fmla="*/ 62 h 1206"/>
                <a:gd name="T102" fmla="*/ 43 w 1056"/>
                <a:gd name="T103" fmla="*/ 67 h 1206"/>
                <a:gd name="T104" fmla="*/ 42 w 1056"/>
                <a:gd name="T105" fmla="*/ 72 h 1206"/>
                <a:gd name="T106" fmla="*/ 39 w 1056"/>
                <a:gd name="T107" fmla="*/ 77 h 1206"/>
                <a:gd name="T108" fmla="*/ 36 w 1056"/>
                <a:gd name="T109" fmla="*/ 80 h 1206"/>
                <a:gd name="T110" fmla="*/ 37 w 1056"/>
                <a:gd name="T111" fmla="*/ 83 h 1206"/>
                <a:gd name="T112" fmla="*/ 40 w 1056"/>
                <a:gd name="T113" fmla="*/ 87 h 1206"/>
                <a:gd name="T114" fmla="*/ 42 w 1056"/>
                <a:gd name="T115" fmla="*/ 89 h 12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56"/>
                <a:gd name="T175" fmla="*/ 0 h 1206"/>
                <a:gd name="T176" fmla="*/ 1056 w 1056"/>
                <a:gd name="T177" fmla="*/ 1206 h 12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56" h="1206">
                  <a:moveTo>
                    <a:pt x="492" y="1032"/>
                  </a:moveTo>
                  <a:lnTo>
                    <a:pt x="486" y="1038"/>
                  </a:lnTo>
                  <a:lnTo>
                    <a:pt x="486" y="1044"/>
                  </a:lnTo>
                  <a:lnTo>
                    <a:pt x="480" y="1044"/>
                  </a:lnTo>
                  <a:lnTo>
                    <a:pt x="474" y="1056"/>
                  </a:lnTo>
                  <a:lnTo>
                    <a:pt x="462" y="1068"/>
                  </a:lnTo>
                  <a:lnTo>
                    <a:pt x="456" y="1080"/>
                  </a:lnTo>
                  <a:lnTo>
                    <a:pt x="450" y="1080"/>
                  </a:lnTo>
                  <a:lnTo>
                    <a:pt x="450" y="1086"/>
                  </a:lnTo>
                  <a:lnTo>
                    <a:pt x="450" y="1092"/>
                  </a:lnTo>
                  <a:lnTo>
                    <a:pt x="444" y="1104"/>
                  </a:lnTo>
                  <a:lnTo>
                    <a:pt x="444" y="1116"/>
                  </a:lnTo>
                  <a:lnTo>
                    <a:pt x="438" y="1128"/>
                  </a:lnTo>
                  <a:lnTo>
                    <a:pt x="432" y="1134"/>
                  </a:lnTo>
                  <a:lnTo>
                    <a:pt x="432" y="1140"/>
                  </a:lnTo>
                  <a:lnTo>
                    <a:pt x="420" y="1152"/>
                  </a:lnTo>
                  <a:lnTo>
                    <a:pt x="420" y="1158"/>
                  </a:lnTo>
                  <a:lnTo>
                    <a:pt x="408" y="1182"/>
                  </a:lnTo>
                  <a:lnTo>
                    <a:pt x="396" y="1194"/>
                  </a:lnTo>
                  <a:lnTo>
                    <a:pt x="390" y="1206"/>
                  </a:lnTo>
                  <a:lnTo>
                    <a:pt x="390" y="1200"/>
                  </a:lnTo>
                  <a:lnTo>
                    <a:pt x="384" y="1194"/>
                  </a:lnTo>
                  <a:lnTo>
                    <a:pt x="378" y="1188"/>
                  </a:lnTo>
                  <a:lnTo>
                    <a:pt x="366" y="1176"/>
                  </a:lnTo>
                  <a:lnTo>
                    <a:pt x="366" y="1170"/>
                  </a:lnTo>
                  <a:lnTo>
                    <a:pt x="348" y="1152"/>
                  </a:lnTo>
                  <a:lnTo>
                    <a:pt x="336" y="1140"/>
                  </a:lnTo>
                  <a:lnTo>
                    <a:pt x="330" y="1134"/>
                  </a:lnTo>
                  <a:lnTo>
                    <a:pt x="324" y="1128"/>
                  </a:lnTo>
                  <a:lnTo>
                    <a:pt x="318" y="1122"/>
                  </a:lnTo>
                  <a:lnTo>
                    <a:pt x="312" y="1116"/>
                  </a:lnTo>
                  <a:lnTo>
                    <a:pt x="306" y="1110"/>
                  </a:lnTo>
                  <a:lnTo>
                    <a:pt x="300" y="1104"/>
                  </a:lnTo>
                  <a:lnTo>
                    <a:pt x="294" y="1098"/>
                  </a:lnTo>
                  <a:lnTo>
                    <a:pt x="276" y="1080"/>
                  </a:lnTo>
                  <a:lnTo>
                    <a:pt x="270" y="1080"/>
                  </a:lnTo>
                  <a:lnTo>
                    <a:pt x="270" y="1074"/>
                  </a:lnTo>
                  <a:lnTo>
                    <a:pt x="264" y="1068"/>
                  </a:lnTo>
                  <a:lnTo>
                    <a:pt x="258" y="1062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40" y="1050"/>
                  </a:lnTo>
                  <a:lnTo>
                    <a:pt x="234" y="1044"/>
                  </a:lnTo>
                  <a:lnTo>
                    <a:pt x="228" y="1044"/>
                  </a:lnTo>
                  <a:lnTo>
                    <a:pt x="222" y="1038"/>
                  </a:lnTo>
                  <a:lnTo>
                    <a:pt x="222" y="1032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6"/>
                  </a:lnTo>
                  <a:lnTo>
                    <a:pt x="204" y="1020"/>
                  </a:lnTo>
                  <a:lnTo>
                    <a:pt x="204" y="1014"/>
                  </a:lnTo>
                  <a:lnTo>
                    <a:pt x="198" y="1014"/>
                  </a:lnTo>
                  <a:lnTo>
                    <a:pt x="192" y="1014"/>
                  </a:lnTo>
                  <a:lnTo>
                    <a:pt x="192" y="1008"/>
                  </a:lnTo>
                  <a:lnTo>
                    <a:pt x="186" y="1008"/>
                  </a:lnTo>
                  <a:lnTo>
                    <a:pt x="186" y="1002"/>
                  </a:lnTo>
                  <a:lnTo>
                    <a:pt x="180" y="1002"/>
                  </a:lnTo>
                  <a:lnTo>
                    <a:pt x="174" y="996"/>
                  </a:lnTo>
                  <a:lnTo>
                    <a:pt x="168" y="996"/>
                  </a:lnTo>
                  <a:lnTo>
                    <a:pt x="168" y="990"/>
                  </a:lnTo>
                  <a:lnTo>
                    <a:pt x="162" y="990"/>
                  </a:lnTo>
                  <a:lnTo>
                    <a:pt x="162" y="984"/>
                  </a:lnTo>
                  <a:lnTo>
                    <a:pt x="150" y="978"/>
                  </a:lnTo>
                  <a:lnTo>
                    <a:pt x="144" y="972"/>
                  </a:lnTo>
                  <a:lnTo>
                    <a:pt x="138" y="972"/>
                  </a:lnTo>
                  <a:lnTo>
                    <a:pt x="138" y="966"/>
                  </a:lnTo>
                  <a:lnTo>
                    <a:pt x="132" y="966"/>
                  </a:lnTo>
                  <a:lnTo>
                    <a:pt x="126" y="960"/>
                  </a:lnTo>
                  <a:lnTo>
                    <a:pt x="126" y="954"/>
                  </a:lnTo>
                  <a:lnTo>
                    <a:pt x="120" y="954"/>
                  </a:lnTo>
                  <a:lnTo>
                    <a:pt x="114" y="948"/>
                  </a:lnTo>
                  <a:lnTo>
                    <a:pt x="108" y="948"/>
                  </a:lnTo>
                  <a:lnTo>
                    <a:pt x="108" y="942"/>
                  </a:lnTo>
                  <a:lnTo>
                    <a:pt x="102" y="942"/>
                  </a:lnTo>
                  <a:lnTo>
                    <a:pt x="96" y="942"/>
                  </a:lnTo>
                  <a:lnTo>
                    <a:pt x="96" y="936"/>
                  </a:lnTo>
                  <a:lnTo>
                    <a:pt x="90" y="936"/>
                  </a:lnTo>
                  <a:lnTo>
                    <a:pt x="90" y="930"/>
                  </a:lnTo>
                  <a:lnTo>
                    <a:pt x="84" y="930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18"/>
                  </a:lnTo>
                  <a:lnTo>
                    <a:pt x="66" y="918"/>
                  </a:lnTo>
                  <a:lnTo>
                    <a:pt x="66" y="912"/>
                  </a:lnTo>
                  <a:lnTo>
                    <a:pt x="66" y="906"/>
                  </a:lnTo>
                  <a:lnTo>
                    <a:pt x="72" y="906"/>
                  </a:lnTo>
                  <a:lnTo>
                    <a:pt x="84" y="906"/>
                  </a:lnTo>
                  <a:lnTo>
                    <a:pt x="90" y="906"/>
                  </a:lnTo>
                  <a:lnTo>
                    <a:pt x="120" y="930"/>
                  </a:lnTo>
                  <a:lnTo>
                    <a:pt x="126" y="936"/>
                  </a:lnTo>
                  <a:lnTo>
                    <a:pt x="138" y="936"/>
                  </a:lnTo>
                  <a:lnTo>
                    <a:pt x="138" y="930"/>
                  </a:lnTo>
                  <a:lnTo>
                    <a:pt x="144" y="930"/>
                  </a:lnTo>
                  <a:lnTo>
                    <a:pt x="144" y="924"/>
                  </a:lnTo>
                  <a:lnTo>
                    <a:pt x="150" y="900"/>
                  </a:lnTo>
                  <a:lnTo>
                    <a:pt x="138" y="894"/>
                  </a:lnTo>
                  <a:lnTo>
                    <a:pt x="126" y="894"/>
                  </a:lnTo>
                  <a:lnTo>
                    <a:pt x="108" y="888"/>
                  </a:lnTo>
                  <a:lnTo>
                    <a:pt x="84" y="882"/>
                  </a:lnTo>
                  <a:lnTo>
                    <a:pt x="72" y="882"/>
                  </a:lnTo>
                  <a:lnTo>
                    <a:pt x="72" y="876"/>
                  </a:lnTo>
                  <a:lnTo>
                    <a:pt x="78" y="870"/>
                  </a:lnTo>
                  <a:lnTo>
                    <a:pt x="90" y="870"/>
                  </a:lnTo>
                  <a:lnTo>
                    <a:pt x="96" y="870"/>
                  </a:lnTo>
                  <a:lnTo>
                    <a:pt x="102" y="870"/>
                  </a:lnTo>
                  <a:lnTo>
                    <a:pt x="114" y="870"/>
                  </a:lnTo>
                  <a:lnTo>
                    <a:pt x="120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34"/>
                  </a:lnTo>
                  <a:lnTo>
                    <a:pt x="132" y="828"/>
                  </a:lnTo>
                  <a:lnTo>
                    <a:pt x="132" y="816"/>
                  </a:lnTo>
                  <a:lnTo>
                    <a:pt x="150" y="816"/>
                  </a:lnTo>
                  <a:lnTo>
                    <a:pt x="150" y="804"/>
                  </a:lnTo>
                  <a:lnTo>
                    <a:pt x="144" y="798"/>
                  </a:lnTo>
                  <a:lnTo>
                    <a:pt x="156" y="762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32"/>
                  </a:lnTo>
                  <a:lnTo>
                    <a:pt x="144" y="726"/>
                  </a:lnTo>
                  <a:lnTo>
                    <a:pt x="132" y="726"/>
                  </a:lnTo>
                  <a:lnTo>
                    <a:pt x="120" y="732"/>
                  </a:lnTo>
                  <a:lnTo>
                    <a:pt x="114" y="744"/>
                  </a:lnTo>
                  <a:lnTo>
                    <a:pt x="108" y="750"/>
                  </a:lnTo>
                  <a:lnTo>
                    <a:pt x="96" y="768"/>
                  </a:lnTo>
                  <a:lnTo>
                    <a:pt x="96" y="774"/>
                  </a:lnTo>
                  <a:lnTo>
                    <a:pt x="90" y="780"/>
                  </a:lnTo>
                  <a:lnTo>
                    <a:pt x="84" y="804"/>
                  </a:lnTo>
                  <a:lnTo>
                    <a:pt x="72" y="774"/>
                  </a:lnTo>
                  <a:lnTo>
                    <a:pt x="72" y="768"/>
                  </a:lnTo>
                  <a:lnTo>
                    <a:pt x="66" y="762"/>
                  </a:lnTo>
                  <a:lnTo>
                    <a:pt x="60" y="750"/>
                  </a:lnTo>
                  <a:lnTo>
                    <a:pt x="54" y="750"/>
                  </a:lnTo>
                  <a:lnTo>
                    <a:pt x="48" y="750"/>
                  </a:lnTo>
                  <a:lnTo>
                    <a:pt x="42" y="750"/>
                  </a:lnTo>
                  <a:lnTo>
                    <a:pt x="30" y="744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12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2" y="702"/>
                  </a:lnTo>
                  <a:lnTo>
                    <a:pt x="18" y="696"/>
                  </a:lnTo>
                  <a:lnTo>
                    <a:pt x="12" y="690"/>
                  </a:lnTo>
                  <a:lnTo>
                    <a:pt x="12" y="684"/>
                  </a:lnTo>
                  <a:lnTo>
                    <a:pt x="12" y="678"/>
                  </a:lnTo>
                  <a:lnTo>
                    <a:pt x="12" y="672"/>
                  </a:lnTo>
                  <a:lnTo>
                    <a:pt x="18" y="672"/>
                  </a:lnTo>
                  <a:lnTo>
                    <a:pt x="18" y="666"/>
                  </a:lnTo>
                  <a:lnTo>
                    <a:pt x="24" y="666"/>
                  </a:lnTo>
                  <a:lnTo>
                    <a:pt x="24" y="660"/>
                  </a:lnTo>
                  <a:lnTo>
                    <a:pt x="30" y="660"/>
                  </a:lnTo>
                  <a:lnTo>
                    <a:pt x="30" y="654"/>
                  </a:lnTo>
                  <a:lnTo>
                    <a:pt x="36" y="654"/>
                  </a:lnTo>
                  <a:lnTo>
                    <a:pt x="36" y="648"/>
                  </a:lnTo>
                  <a:lnTo>
                    <a:pt x="42" y="648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60" y="630"/>
                  </a:lnTo>
                  <a:lnTo>
                    <a:pt x="66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78" y="624"/>
                  </a:lnTo>
                  <a:lnTo>
                    <a:pt x="84" y="618"/>
                  </a:lnTo>
                  <a:lnTo>
                    <a:pt x="84" y="612"/>
                  </a:lnTo>
                  <a:lnTo>
                    <a:pt x="90" y="612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20" y="588"/>
                  </a:lnTo>
                  <a:lnTo>
                    <a:pt x="120" y="582"/>
                  </a:lnTo>
                  <a:lnTo>
                    <a:pt x="120" y="576"/>
                  </a:lnTo>
                  <a:lnTo>
                    <a:pt x="120" y="570"/>
                  </a:lnTo>
                  <a:lnTo>
                    <a:pt x="126" y="564"/>
                  </a:lnTo>
                  <a:lnTo>
                    <a:pt x="126" y="558"/>
                  </a:lnTo>
                  <a:lnTo>
                    <a:pt x="126" y="552"/>
                  </a:lnTo>
                  <a:lnTo>
                    <a:pt x="126" y="546"/>
                  </a:lnTo>
                  <a:lnTo>
                    <a:pt x="126" y="534"/>
                  </a:lnTo>
                  <a:lnTo>
                    <a:pt x="126" y="516"/>
                  </a:lnTo>
                  <a:lnTo>
                    <a:pt x="126" y="510"/>
                  </a:lnTo>
                  <a:lnTo>
                    <a:pt x="126" y="504"/>
                  </a:lnTo>
                  <a:lnTo>
                    <a:pt x="126" y="498"/>
                  </a:lnTo>
                  <a:lnTo>
                    <a:pt x="132" y="498"/>
                  </a:lnTo>
                  <a:lnTo>
                    <a:pt x="132" y="492"/>
                  </a:lnTo>
                  <a:lnTo>
                    <a:pt x="138" y="492"/>
                  </a:lnTo>
                  <a:lnTo>
                    <a:pt x="144" y="486"/>
                  </a:lnTo>
                  <a:lnTo>
                    <a:pt x="156" y="480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6" y="462"/>
                  </a:lnTo>
                  <a:lnTo>
                    <a:pt x="156" y="456"/>
                  </a:lnTo>
                  <a:lnTo>
                    <a:pt x="156" y="450"/>
                  </a:lnTo>
                  <a:lnTo>
                    <a:pt x="162" y="438"/>
                  </a:lnTo>
                  <a:lnTo>
                    <a:pt x="168" y="426"/>
                  </a:lnTo>
                  <a:lnTo>
                    <a:pt x="174" y="426"/>
                  </a:lnTo>
                  <a:lnTo>
                    <a:pt x="174" y="420"/>
                  </a:lnTo>
                  <a:lnTo>
                    <a:pt x="180" y="414"/>
                  </a:lnTo>
                  <a:lnTo>
                    <a:pt x="186" y="420"/>
                  </a:lnTo>
                  <a:lnTo>
                    <a:pt x="186" y="414"/>
                  </a:lnTo>
                  <a:lnTo>
                    <a:pt x="180" y="408"/>
                  </a:lnTo>
                  <a:lnTo>
                    <a:pt x="180" y="402"/>
                  </a:lnTo>
                  <a:lnTo>
                    <a:pt x="186" y="402"/>
                  </a:lnTo>
                  <a:lnTo>
                    <a:pt x="192" y="402"/>
                  </a:lnTo>
                  <a:lnTo>
                    <a:pt x="192" y="396"/>
                  </a:lnTo>
                  <a:lnTo>
                    <a:pt x="198" y="396"/>
                  </a:lnTo>
                  <a:lnTo>
                    <a:pt x="204" y="396"/>
                  </a:lnTo>
                  <a:lnTo>
                    <a:pt x="210" y="396"/>
                  </a:lnTo>
                  <a:lnTo>
                    <a:pt x="210" y="390"/>
                  </a:lnTo>
                  <a:lnTo>
                    <a:pt x="216" y="390"/>
                  </a:lnTo>
                  <a:lnTo>
                    <a:pt x="216" y="384"/>
                  </a:lnTo>
                  <a:lnTo>
                    <a:pt x="222" y="384"/>
                  </a:lnTo>
                  <a:lnTo>
                    <a:pt x="222" y="378"/>
                  </a:lnTo>
                  <a:lnTo>
                    <a:pt x="228" y="372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0" y="348"/>
                  </a:lnTo>
                  <a:lnTo>
                    <a:pt x="234" y="342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46" y="330"/>
                  </a:lnTo>
                  <a:lnTo>
                    <a:pt x="246" y="324"/>
                  </a:lnTo>
                  <a:lnTo>
                    <a:pt x="234" y="318"/>
                  </a:lnTo>
                  <a:lnTo>
                    <a:pt x="234" y="312"/>
                  </a:lnTo>
                  <a:lnTo>
                    <a:pt x="234" y="300"/>
                  </a:lnTo>
                  <a:lnTo>
                    <a:pt x="240" y="288"/>
                  </a:lnTo>
                  <a:lnTo>
                    <a:pt x="240" y="276"/>
                  </a:lnTo>
                  <a:lnTo>
                    <a:pt x="246" y="258"/>
                  </a:lnTo>
                  <a:lnTo>
                    <a:pt x="258" y="252"/>
                  </a:lnTo>
                  <a:lnTo>
                    <a:pt x="270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294" y="252"/>
                  </a:lnTo>
                  <a:lnTo>
                    <a:pt x="300" y="258"/>
                  </a:lnTo>
                  <a:lnTo>
                    <a:pt x="318" y="252"/>
                  </a:lnTo>
                  <a:lnTo>
                    <a:pt x="366" y="252"/>
                  </a:lnTo>
                  <a:lnTo>
                    <a:pt x="378" y="252"/>
                  </a:lnTo>
                  <a:lnTo>
                    <a:pt x="396" y="252"/>
                  </a:lnTo>
                  <a:lnTo>
                    <a:pt x="408" y="252"/>
                  </a:lnTo>
                  <a:lnTo>
                    <a:pt x="408" y="246"/>
                  </a:lnTo>
                  <a:lnTo>
                    <a:pt x="414" y="240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20" y="216"/>
                  </a:lnTo>
                  <a:lnTo>
                    <a:pt x="426" y="210"/>
                  </a:lnTo>
                  <a:lnTo>
                    <a:pt x="444" y="198"/>
                  </a:lnTo>
                  <a:lnTo>
                    <a:pt x="462" y="198"/>
                  </a:lnTo>
                  <a:lnTo>
                    <a:pt x="474" y="204"/>
                  </a:lnTo>
                  <a:lnTo>
                    <a:pt x="498" y="198"/>
                  </a:lnTo>
                  <a:lnTo>
                    <a:pt x="498" y="204"/>
                  </a:lnTo>
                  <a:lnTo>
                    <a:pt x="540" y="210"/>
                  </a:lnTo>
                  <a:lnTo>
                    <a:pt x="564" y="210"/>
                  </a:lnTo>
                  <a:lnTo>
                    <a:pt x="588" y="210"/>
                  </a:lnTo>
                  <a:lnTo>
                    <a:pt x="612" y="210"/>
                  </a:lnTo>
                  <a:lnTo>
                    <a:pt x="612" y="216"/>
                  </a:lnTo>
                  <a:lnTo>
                    <a:pt x="618" y="222"/>
                  </a:lnTo>
                  <a:lnTo>
                    <a:pt x="618" y="228"/>
                  </a:lnTo>
                  <a:lnTo>
                    <a:pt x="624" y="240"/>
                  </a:lnTo>
                  <a:lnTo>
                    <a:pt x="624" y="246"/>
                  </a:lnTo>
                  <a:lnTo>
                    <a:pt x="630" y="252"/>
                  </a:lnTo>
                  <a:lnTo>
                    <a:pt x="630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0" y="282"/>
                  </a:lnTo>
                  <a:lnTo>
                    <a:pt x="630" y="288"/>
                  </a:lnTo>
                  <a:lnTo>
                    <a:pt x="630" y="300"/>
                  </a:lnTo>
                  <a:lnTo>
                    <a:pt x="630" y="306"/>
                  </a:lnTo>
                  <a:lnTo>
                    <a:pt x="636" y="306"/>
                  </a:lnTo>
                  <a:lnTo>
                    <a:pt x="642" y="306"/>
                  </a:lnTo>
                  <a:lnTo>
                    <a:pt x="648" y="312"/>
                  </a:lnTo>
                  <a:lnTo>
                    <a:pt x="666" y="312"/>
                  </a:lnTo>
                  <a:lnTo>
                    <a:pt x="696" y="306"/>
                  </a:lnTo>
                  <a:lnTo>
                    <a:pt x="732" y="300"/>
                  </a:lnTo>
                  <a:lnTo>
                    <a:pt x="732" y="288"/>
                  </a:lnTo>
                  <a:lnTo>
                    <a:pt x="738" y="288"/>
                  </a:lnTo>
                  <a:lnTo>
                    <a:pt x="744" y="276"/>
                  </a:lnTo>
                  <a:lnTo>
                    <a:pt x="762" y="246"/>
                  </a:lnTo>
                  <a:lnTo>
                    <a:pt x="768" y="228"/>
                  </a:lnTo>
                  <a:lnTo>
                    <a:pt x="792" y="210"/>
                  </a:lnTo>
                  <a:lnTo>
                    <a:pt x="804" y="186"/>
                  </a:lnTo>
                  <a:lnTo>
                    <a:pt x="804" y="156"/>
                  </a:lnTo>
                  <a:lnTo>
                    <a:pt x="804" y="138"/>
                  </a:lnTo>
                  <a:lnTo>
                    <a:pt x="810" y="126"/>
                  </a:lnTo>
                  <a:lnTo>
                    <a:pt x="816" y="120"/>
                  </a:lnTo>
                  <a:lnTo>
                    <a:pt x="828" y="102"/>
                  </a:lnTo>
                  <a:lnTo>
                    <a:pt x="834" y="96"/>
                  </a:lnTo>
                  <a:lnTo>
                    <a:pt x="846" y="102"/>
                  </a:lnTo>
                  <a:lnTo>
                    <a:pt x="852" y="96"/>
                  </a:lnTo>
                  <a:lnTo>
                    <a:pt x="858" y="72"/>
                  </a:lnTo>
                  <a:lnTo>
                    <a:pt x="864" y="60"/>
                  </a:lnTo>
                  <a:lnTo>
                    <a:pt x="882" y="48"/>
                  </a:lnTo>
                  <a:lnTo>
                    <a:pt x="906" y="36"/>
                  </a:lnTo>
                  <a:lnTo>
                    <a:pt x="918" y="12"/>
                  </a:lnTo>
                  <a:lnTo>
                    <a:pt x="924" y="0"/>
                  </a:lnTo>
                  <a:lnTo>
                    <a:pt x="930" y="6"/>
                  </a:lnTo>
                  <a:lnTo>
                    <a:pt x="942" y="12"/>
                  </a:lnTo>
                  <a:lnTo>
                    <a:pt x="948" y="12"/>
                  </a:lnTo>
                  <a:lnTo>
                    <a:pt x="954" y="18"/>
                  </a:lnTo>
                  <a:lnTo>
                    <a:pt x="966" y="18"/>
                  </a:lnTo>
                  <a:lnTo>
                    <a:pt x="972" y="18"/>
                  </a:lnTo>
                  <a:lnTo>
                    <a:pt x="984" y="18"/>
                  </a:lnTo>
                  <a:lnTo>
                    <a:pt x="990" y="18"/>
                  </a:lnTo>
                  <a:lnTo>
                    <a:pt x="1002" y="48"/>
                  </a:lnTo>
                  <a:lnTo>
                    <a:pt x="1008" y="78"/>
                  </a:lnTo>
                  <a:lnTo>
                    <a:pt x="1020" y="78"/>
                  </a:lnTo>
                  <a:lnTo>
                    <a:pt x="1020" y="90"/>
                  </a:lnTo>
                  <a:lnTo>
                    <a:pt x="1026" y="102"/>
                  </a:lnTo>
                  <a:lnTo>
                    <a:pt x="1044" y="120"/>
                  </a:lnTo>
                  <a:lnTo>
                    <a:pt x="1044" y="132"/>
                  </a:lnTo>
                  <a:lnTo>
                    <a:pt x="1056" y="150"/>
                  </a:lnTo>
                  <a:lnTo>
                    <a:pt x="1050" y="150"/>
                  </a:lnTo>
                  <a:lnTo>
                    <a:pt x="1044" y="156"/>
                  </a:lnTo>
                  <a:lnTo>
                    <a:pt x="1044" y="162"/>
                  </a:lnTo>
                  <a:lnTo>
                    <a:pt x="1038" y="162"/>
                  </a:lnTo>
                  <a:lnTo>
                    <a:pt x="1032" y="162"/>
                  </a:lnTo>
                  <a:lnTo>
                    <a:pt x="1026" y="168"/>
                  </a:lnTo>
                  <a:lnTo>
                    <a:pt x="1014" y="174"/>
                  </a:lnTo>
                  <a:lnTo>
                    <a:pt x="1014" y="186"/>
                  </a:lnTo>
                  <a:lnTo>
                    <a:pt x="1014" y="192"/>
                  </a:lnTo>
                  <a:lnTo>
                    <a:pt x="1014" y="198"/>
                  </a:lnTo>
                  <a:lnTo>
                    <a:pt x="1020" y="204"/>
                  </a:lnTo>
                  <a:lnTo>
                    <a:pt x="1026" y="204"/>
                  </a:lnTo>
                  <a:lnTo>
                    <a:pt x="1032" y="204"/>
                  </a:lnTo>
                  <a:lnTo>
                    <a:pt x="1032" y="210"/>
                  </a:lnTo>
                  <a:lnTo>
                    <a:pt x="1038" y="210"/>
                  </a:lnTo>
                  <a:lnTo>
                    <a:pt x="1032" y="216"/>
                  </a:lnTo>
                  <a:lnTo>
                    <a:pt x="1026" y="228"/>
                  </a:lnTo>
                  <a:lnTo>
                    <a:pt x="1026" y="234"/>
                  </a:lnTo>
                  <a:lnTo>
                    <a:pt x="1032" y="240"/>
                  </a:lnTo>
                  <a:lnTo>
                    <a:pt x="1032" y="246"/>
                  </a:lnTo>
                  <a:lnTo>
                    <a:pt x="1032" y="252"/>
                  </a:lnTo>
                  <a:lnTo>
                    <a:pt x="1032" y="258"/>
                  </a:lnTo>
                  <a:lnTo>
                    <a:pt x="1038" y="264"/>
                  </a:lnTo>
                  <a:lnTo>
                    <a:pt x="1032" y="276"/>
                  </a:lnTo>
                  <a:lnTo>
                    <a:pt x="1026" y="276"/>
                  </a:lnTo>
                  <a:lnTo>
                    <a:pt x="1020" y="276"/>
                  </a:lnTo>
                  <a:lnTo>
                    <a:pt x="996" y="282"/>
                  </a:lnTo>
                  <a:lnTo>
                    <a:pt x="996" y="288"/>
                  </a:lnTo>
                  <a:lnTo>
                    <a:pt x="996" y="294"/>
                  </a:lnTo>
                  <a:lnTo>
                    <a:pt x="996" y="300"/>
                  </a:lnTo>
                  <a:lnTo>
                    <a:pt x="996" y="306"/>
                  </a:lnTo>
                  <a:lnTo>
                    <a:pt x="984" y="324"/>
                  </a:lnTo>
                  <a:lnTo>
                    <a:pt x="984" y="330"/>
                  </a:lnTo>
                  <a:lnTo>
                    <a:pt x="984" y="336"/>
                  </a:lnTo>
                  <a:lnTo>
                    <a:pt x="978" y="336"/>
                  </a:lnTo>
                  <a:lnTo>
                    <a:pt x="978" y="342"/>
                  </a:lnTo>
                  <a:lnTo>
                    <a:pt x="984" y="360"/>
                  </a:lnTo>
                  <a:lnTo>
                    <a:pt x="978" y="366"/>
                  </a:lnTo>
                  <a:lnTo>
                    <a:pt x="978" y="372"/>
                  </a:lnTo>
                  <a:lnTo>
                    <a:pt x="972" y="372"/>
                  </a:lnTo>
                  <a:lnTo>
                    <a:pt x="972" y="378"/>
                  </a:lnTo>
                  <a:lnTo>
                    <a:pt x="972" y="384"/>
                  </a:lnTo>
                  <a:lnTo>
                    <a:pt x="972" y="390"/>
                  </a:lnTo>
                  <a:lnTo>
                    <a:pt x="966" y="402"/>
                  </a:lnTo>
                  <a:lnTo>
                    <a:pt x="960" y="414"/>
                  </a:lnTo>
                  <a:lnTo>
                    <a:pt x="954" y="420"/>
                  </a:lnTo>
                  <a:lnTo>
                    <a:pt x="948" y="426"/>
                  </a:lnTo>
                  <a:lnTo>
                    <a:pt x="948" y="438"/>
                  </a:lnTo>
                  <a:lnTo>
                    <a:pt x="942" y="444"/>
                  </a:lnTo>
                  <a:lnTo>
                    <a:pt x="936" y="450"/>
                  </a:lnTo>
                  <a:lnTo>
                    <a:pt x="930" y="456"/>
                  </a:lnTo>
                  <a:lnTo>
                    <a:pt x="924" y="462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18" y="522"/>
                  </a:lnTo>
                  <a:lnTo>
                    <a:pt x="918" y="528"/>
                  </a:lnTo>
                  <a:lnTo>
                    <a:pt x="924" y="534"/>
                  </a:lnTo>
                  <a:lnTo>
                    <a:pt x="924" y="540"/>
                  </a:lnTo>
                  <a:lnTo>
                    <a:pt x="924" y="546"/>
                  </a:lnTo>
                  <a:lnTo>
                    <a:pt x="918" y="546"/>
                  </a:lnTo>
                  <a:lnTo>
                    <a:pt x="918" y="552"/>
                  </a:lnTo>
                  <a:lnTo>
                    <a:pt x="912" y="546"/>
                  </a:lnTo>
                  <a:lnTo>
                    <a:pt x="912" y="552"/>
                  </a:lnTo>
                  <a:lnTo>
                    <a:pt x="912" y="570"/>
                  </a:lnTo>
                  <a:lnTo>
                    <a:pt x="906" y="588"/>
                  </a:lnTo>
                  <a:lnTo>
                    <a:pt x="900" y="606"/>
                  </a:lnTo>
                  <a:lnTo>
                    <a:pt x="906" y="624"/>
                  </a:lnTo>
                  <a:lnTo>
                    <a:pt x="900" y="624"/>
                  </a:lnTo>
                  <a:lnTo>
                    <a:pt x="894" y="630"/>
                  </a:lnTo>
                  <a:lnTo>
                    <a:pt x="888" y="630"/>
                  </a:lnTo>
                  <a:lnTo>
                    <a:pt x="882" y="630"/>
                  </a:lnTo>
                  <a:lnTo>
                    <a:pt x="882" y="636"/>
                  </a:lnTo>
                  <a:lnTo>
                    <a:pt x="876" y="642"/>
                  </a:lnTo>
                  <a:lnTo>
                    <a:pt x="870" y="642"/>
                  </a:lnTo>
                  <a:lnTo>
                    <a:pt x="870" y="648"/>
                  </a:lnTo>
                  <a:lnTo>
                    <a:pt x="870" y="654"/>
                  </a:lnTo>
                  <a:lnTo>
                    <a:pt x="864" y="654"/>
                  </a:lnTo>
                  <a:lnTo>
                    <a:pt x="864" y="660"/>
                  </a:lnTo>
                  <a:lnTo>
                    <a:pt x="846" y="666"/>
                  </a:lnTo>
                  <a:lnTo>
                    <a:pt x="828" y="672"/>
                  </a:lnTo>
                  <a:lnTo>
                    <a:pt x="816" y="660"/>
                  </a:lnTo>
                  <a:lnTo>
                    <a:pt x="810" y="660"/>
                  </a:lnTo>
                  <a:lnTo>
                    <a:pt x="798" y="666"/>
                  </a:lnTo>
                  <a:lnTo>
                    <a:pt x="786" y="666"/>
                  </a:lnTo>
                  <a:lnTo>
                    <a:pt x="780" y="672"/>
                  </a:lnTo>
                  <a:lnTo>
                    <a:pt x="768" y="678"/>
                  </a:lnTo>
                  <a:lnTo>
                    <a:pt x="762" y="660"/>
                  </a:lnTo>
                  <a:lnTo>
                    <a:pt x="762" y="654"/>
                  </a:lnTo>
                  <a:lnTo>
                    <a:pt x="756" y="636"/>
                  </a:lnTo>
                  <a:lnTo>
                    <a:pt x="762" y="624"/>
                  </a:lnTo>
                  <a:lnTo>
                    <a:pt x="756" y="606"/>
                  </a:lnTo>
                  <a:lnTo>
                    <a:pt x="756" y="600"/>
                  </a:lnTo>
                  <a:lnTo>
                    <a:pt x="762" y="594"/>
                  </a:lnTo>
                  <a:lnTo>
                    <a:pt x="768" y="600"/>
                  </a:lnTo>
                  <a:lnTo>
                    <a:pt x="768" y="594"/>
                  </a:lnTo>
                  <a:lnTo>
                    <a:pt x="768" y="588"/>
                  </a:lnTo>
                  <a:lnTo>
                    <a:pt x="774" y="582"/>
                  </a:lnTo>
                  <a:lnTo>
                    <a:pt x="768" y="576"/>
                  </a:lnTo>
                  <a:lnTo>
                    <a:pt x="762" y="576"/>
                  </a:lnTo>
                  <a:lnTo>
                    <a:pt x="756" y="576"/>
                  </a:lnTo>
                  <a:lnTo>
                    <a:pt x="690" y="576"/>
                  </a:lnTo>
                  <a:lnTo>
                    <a:pt x="624" y="570"/>
                  </a:lnTo>
                  <a:lnTo>
                    <a:pt x="600" y="564"/>
                  </a:lnTo>
                  <a:lnTo>
                    <a:pt x="576" y="564"/>
                  </a:lnTo>
                  <a:lnTo>
                    <a:pt x="558" y="570"/>
                  </a:lnTo>
                  <a:lnTo>
                    <a:pt x="552" y="576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46" y="594"/>
                  </a:lnTo>
                  <a:lnTo>
                    <a:pt x="546" y="600"/>
                  </a:lnTo>
                  <a:lnTo>
                    <a:pt x="540" y="606"/>
                  </a:lnTo>
                  <a:lnTo>
                    <a:pt x="534" y="618"/>
                  </a:lnTo>
                  <a:lnTo>
                    <a:pt x="534" y="624"/>
                  </a:lnTo>
                  <a:lnTo>
                    <a:pt x="534" y="630"/>
                  </a:lnTo>
                  <a:lnTo>
                    <a:pt x="534" y="636"/>
                  </a:lnTo>
                  <a:lnTo>
                    <a:pt x="528" y="636"/>
                  </a:lnTo>
                  <a:lnTo>
                    <a:pt x="516" y="642"/>
                  </a:lnTo>
                  <a:lnTo>
                    <a:pt x="516" y="648"/>
                  </a:lnTo>
                  <a:lnTo>
                    <a:pt x="510" y="648"/>
                  </a:lnTo>
                  <a:lnTo>
                    <a:pt x="504" y="654"/>
                  </a:lnTo>
                  <a:lnTo>
                    <a:pt x="492" y="666"/>
                  </a:lnTo>
                  <a:lnTo>
                    <a:pt x="492" y="672"/>
                  </a:lnTo>
                  <a:lnTo>
                    <a:pt x="492" y="684"/>
                  </a:lnTo>
                  <a:lnTo>
                    <a:pt x="486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92" y="702"/>
                  </a:lnTo>
                  <a:lnTo>
                    <a:pt x="486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74" y="720"/>
                  </a:lnTo>
                  <a:lnTo>
                    <a:pt x="480" y="726"/>
                  </a:lnTo>
                  <a:lnTo>
                    <a:pt x="474" y="726"/>
                  </a:lnTo>
                  <a:lnTo>
                    <a:pt x="474" y="738"/>
                  </a:lnTo>
                  <a:lnTo>
                    <a:pt x="474" y="744"/>
                  </a:lnTo>
                  <a:lnTo>
                    <a:pt x="474" y="750"/>
                  </a:lnTo>
                  <a:lnTo>
                    <a:pt x="480" y="750"/>
                  </a:lnTo>
                  <a:lnTo>
                    <a:pt x="480" y="756"/>
                  </a:lnTo>
                  <a:lnTo>
                    <a:pt x="492" y="762"/>
                  </a:lnTo>
                  <a:lnTo>
                    <a:pt x="498" y="774"/>
                  </a:lnTo>
                  <a:lnTo>
                    <a:pt x="498" y="780"/>
                  </a:lnTo>
                  <a:lnTo>
                    <a:pt x="504" y="786"/>
                  </a:lnTo>
                  <a:lnTo>
                    <a:pt x="510" y="792"/>
                  </a:lnTo>
                  <a:lnTo>
                    <a:pt x="504" y="798"/>
                  </a:lnTo>
                  <a:lnTo>
                    <a:pt x="504" y="804"/>
                  </a:lnTo>
                  <a:lnTo>
                    <a:pt x="504" y="810"/>
                  </a:lnTo>
                  <a:lnTo>
                    <a:pt x="498" y="822"/>
                  </a:lnTo>
                  <a:lnTo>
                    <a:pt x="492" y="828"/>
                  </a:lnTo>
                  <a:lnTo>
                    <a:pt x="492" y="834"/>
                  </a:lnTo>
                  <a:lnTo>
                    <a:pt x="486" y="840"/>
                  </a:lnTo>
                  <a:lnTo>
                    <a:pt x="480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74" y="858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876"/>
                  </a:lnTo>
                  <a:lnTo>
                    <a:pt x="456" y="894"/>
                  </a:lnTo>
                  <a:lnTo>
                    <a:pt x="450" y="894"/>
                  </a:lnTo>
                  <a:lnTo>
                    <a:pt x="444" y="900"/>
                  </a:lnTo>
                  <a:lnTo>
                    <a:pt x="444" y="894"/>
                  </a:lnTo>
                  <a:lnTo>
                    <a:pt x="438" y="894"/>
                  </a:lnTo>
                  <a:lnTo>
                    <a:pt x="432" y="900"/>
                  </a:lnTo>
                  <a:lnTo>
                    <a:pt x="432" y="906"/>
                  </a:lnTo>
                  <a:lnTo>
                    <a:pt x="420" y="906"/>
                  </a:lnTo>
                  <a:lnTo>
                    <a:pt x="420" y="912"/>
                  </a:lnTo>
                  <a:lnTo>
                    <a:pt x="420" y="918"/>
                  </a:lnTo>
                  <a:lnTo>
                    <a:pt x="426" y="918"/>
                  </a:lnTo>
                  <a:lnTo>
                    <a:pt x="426" y="924"/>
                  </a:lnTo>
                  <a:lnTo>
                    <a:pt x="426" y="930"/>
                  </a:lnTo>
                  <a:lnTo>
                    <a:pt x="420" y="930"/>
                  </a:lnTo>
                  <a:lnTo>
                    <a:pt x="414" y="936"/>
                  </a:lnTo>
                  <a:lnTo>
                    <a:pt x="414" y="942"/>
                  </a:lnTo>
                  <a:lnTo>
                    <a:pt x="414" y="948"/>
                  </a:lnTo>
                  <a:lnTo>
                    <a:pt x="414" y="954"/>
                  </a:lnTo>
                  <a:lnTo>
                    <a:pt x="426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44" y="972"/>
                  </a:lnTo>
                  <a:lnTo>
                    <a:pt x="444" y="978"/>
                  </a:lnTo>
                  <a:lnTo>
                    <a:pt x="450" y="978"/>
                  </a:lnTo>
                  <a:lnTo>
                    <a:pt x="450" y="984"/>
                  </a:lnTo>
                  <a:lnTo>
                    <a:pt x="456" y="990"/>
                  </a:lnTo>
                  <a:lnTo>
                    <a:pt x="456" y="996"/>
                  </a:lnTo>
                  <a:lnTo>
                    <a:pt x="462" y="1008"/>
                  </a:lnTo>
                  <a:lnTo>
                    <a:pt x="468" y="1008"/>
                  </a:lnTo>
                  <a:lnTo>
                    <a:pt x="468" y="1002"/>
                  </a:lnTo>
                  <a:lnTo>
                    <a:pt x="474" y="1008"/>
                  </a:lnTo>
                  <a:lnTo>
                    <a:pt x="480" y="1002"/>
                  </a:lnTo>
                  <a:lnTo>
                    <a:pt x="486" y="1008"/>
                  </a:lnTo>
                  <a:lnTo>
                    <a:pt x="486" y="1014"/>
                  </a:lnTo>
                  <a:lnTo>
                    <a:pt x="492" y="1014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86" y="1026"/>
                  </a:lnTo>
                  <a:lnTo>
                    <a:pt x="492" y="1026"/>
                  </a:lnTo>
                  <a:lnTo>
                    <a:pt x="486" y="1026"/>
                  </a:lnTo>
                  <a:lnTo>
                    <a:pt x="492" y="1032"/>
                  </a:lnTo>
                  <a:close/>
                </a:path>
              </a:pathLst>
            </a:custGeom>
            <a:solidFill>
              <a:srgbClr val="2A4F1D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5" name="Freeform 30">
              <a:extLst>
                <a:ext uri="{FF2B5EF4-FFF2-40B4-BE49-F238E27FC236}">
                  <a16:creationId xmlns:a16="http://schemas.microsoft.com/office/drawing/2014/main" id="{85C7B827-0C1A-4D72-AEBD-F01CFE7EC12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3645" y="3904484"/>
              <a:ext cx="559048" cy="111825"/>
            </a:xfrm>
            <a:custGeom>
              <a:avLst/>
              <a:gdLst>
                <a:gd name="T0" fmla="*/ 69 w 1056"/>
                <a:gd name="T1" fmla="*/ 7 h 210"/>
                <a:gd name="T2" fmla="*/ 63 w 1056"/>
                <a:gd name="T3" fmla="*/ 5 h 210"/>
                <a:gd name="T4" fmla="*/ 57 w 1056"/>
                <a:gd name="T5" fmla="*/ 5 h 210"/>
                <a:gd name="T6" fmla="*/ 54 w 1056"/>
                <a:gd name="T7" fmla="*/ 6 h 210"/>
                <a:gd name="T8" fmla="*/ 51 w 1056"/>
                <a:gd name="T9" fmla="*/ 7 h 210"/>
                <a:gd name="T10" fmla="*/ 46 w 1056"/>
                <a:gd name="T11" fmla="*/ 9 h 210"/>
                <a:gd name="T12" fmla="*/ 42 w 1056"/>
                <a:gd name="T13" fmla="*/ 8 h 210"/>
                <a:gd name="T14" fmla="*/ 42 w 1056"/>
                <a:gd name="T15" fmla="*/ 5 h 210"/>
                <a:gd name="T16" fmla="*/ 41 w 1056"/>
                <a:gd name="T17" fmla="*/ 7 h 210"/>
                <a:gd name="T18" fmla="*/ 38 w 1056"/>
                <a:gd name="T19" fmla="*/ 10 h 210"/>
                <a:gd name="T20" fmla="*/ 37 w 1056"/>
                <a:gd name="T21" fmla="*/ 12 h 210"/>
                <a:gd name="T22" fmla="*/ 37 w 1056"/>
                <a:gd name="T23" fmla="*/ 15 h 210"/>
                <a:gd name="T24" fmla="*/ 37 w 1056"/>
                <a:gd name="T25" fmla="*/ 16 h 210"/>
                <a:gd name="T26" fmla="*/ 38 w 1056"/>
                <a:gd name="T27" fmla="*/ 16 h 210"/>
                <a:gd name="T28" fmla="*/ 34 w 1056"/>
                <a:gd name="T29" fmla="*/ 16 h 210"/>
                <a:gd name="T30" fmla="*/ 26 w 1056"/>
                <a:gd name="T31" fmla="*/ 16 h 210"/>
                <a:gd name="T32" fmla="*/ 20 w 1056"/>
                <a:gd name="T33" fmla="*/ 17 h 210"/>
                <a:gd name="T34" fmla="*/ 13 w 1056"/>
                <a:gd name="T35" fmla="*/ 17 h 210"/>
                <a:gd name="T36" fmla="*/ 6 w 1056"/>
                <a:gd name="T37" fmla="*/ 17 h 210"/>
                <a:gd name="T38" fmla="*/ 1 w 1056"/>
                <a:gd name="T39" fmla="*/ 18 h 210"/>
                <a:gd name="T40" fmla="*/ 3 w 1056"/>
                <a:gd name="T41" fmla="*/ 14 h 210"/>
                <a:gd name="T42" fmla="*/ 8 w 1056"/>
                <a:gd name="T43" fmla="*/ 15 h 210"/>
                <a:gd name="T44" fmla="*/ 11 w 1056"/>
                <a:gd name="T45" fmla="*/ 12 h 210"/>
                <a:gd name="T46" fmla="*/ 26 w 1056"/>
                <a:gd name="T47" fmla="*/ 10 h 210"/>
                <a:gd name="T48" fmla="*/ 29 w 1056"/>
                <a:gd name="T49" fmla="*/ 5 h 210"/>
                <a:gd name="T50" fmla="*/ 34 w 1056"/>
                <a:gd name="T51" fmla="*/ 1 h 210"/>
                <a:gd name="T52" fmla="*/ 41 w 1056"/>
                <a:gd name="T53" fmla="*/ 3 h 210"/>
                <a:gd name="T54" fmla="*/ 73 w 1056"/>
                <a:gd name="T55" fmla="*/ 1 h 210"/>
                <a:gd name="T56" fmla="*/ 75 w 1056"/>
                <a:gd name="T57" fmla="*/ 4 h 210"/>
                <a:gd name="T58" fmla="*/ 85 w 1056"/>
                <a:gd name="T59" fmla="*/ 15 h 210"/>
                <a:gd name="T60" fmla="*/ 91 w 1056"/>
                <a:gd name="T61" fmla="*/ 18 h 210"/>
                <a:gd name="T62" fmla="*/ 85 w 1056"/>
                <a:gd name="T63" fmla="*/ 18 h 210"/>
                <a:gd name="T64" fmla="*/ 79 w 1056"/>
                <a:gd name="T65" fmla="*/ 16 h 210"/>
                <a:gd name="T66" fmla="*/ 74 w 1056"/>
                <a:gd name="T67" fmla="*/ 16 h 210"/>
                <a:gd name="T68" fmla="*/ 69 w 1056"/>
                <a:gd name="T69" fmla="*/ 15 h 210"/>
                <a:gd name="T70" fmla="*/ 65 w 1056"/>
                <a:gd name="T71" fmla="*/ 14 h 210"/>
                <a:gd name="T72" fmla="*/ 59 w 1056"/>
                <a:gd name="T73" fmla="*/ 15 h 210"/>
                <a:gd name="T74" fmla="*/ 54 w 1056"/>
                <a:gd name="T75" fmla="*/ 15 h 210"/>
                <a:gd name="T76" fmla="*/ 49 w 1056"/>
                <a:gd name="T77" fmla="*/ 15 h 210"/>
                <a:gd name="T78" fmla="*/ 42 w 1056"/>
                <a:gd name="T79" fmla="*/ 15 h 210"/>
                <a:gd name="T80" fmla="*/ 38 w 1056"/>
                <a:gd name="T81" fmla="*/ 16 h 210"/>
                <a:gd name="T82" fmla="*/ 41 w 1056"/>
                <a:gd name="T83" fmla="*/ 14 h 210"/>
                <a:gd name="T84" fmla="*/ 42 w 1056"/>
                <a:gd name="T85" fmla="*/ 13 h 210"/>
                <a:gd name="T86" fmla="*/ 45 w 1056"/>
                <a:gd name="T87" fmla="*/ 13 h 210"/>
                <a:gd name="T88" fmla="*/ 48 w 1056"/>
                <a:gd name="T89" fmla="*/ 12 h 210"/>
                <a:gd name="T90" fmla="*/ 51 w 1056"/>
                <a:gd name="T91" fmla="*/ 11 h 210"/>
                <a:gd name="T92" fmla="*/ 54 w 1056"/>
                <a:gd name="T93" fmla="*/ 9 h 210"/>
                <a:gd name="T94" fmla="*/ 57 w 1056"/>
                <a:gd name="T95" fmla="*/ 8 h 210"/>
                <a:gd name="T96" fmla="*/ 60 w 1056"/>
                <a:gd name="T97" fmla="*/ 5 h 210"/>
                <a:gd name="T98" fmla="*/ 65 w 1056"/>
                <a:gd name="T99" fmla="*/ 5 h 210"/>
                <a:gd name="T100" fmla="*/ 72 w 1056"/>
                <a:gd name="T101" fmla="*/ 7 h 210"/>
                <a:gd name="T102" fmla="*/ 77 w 1056"/>
                <a:gd name="T103" fmla="*/ 11 h 210"/>
                <a:gd name="T104" fmla="*/ 69 w 1056"/>
                <a:gd name="T105" fmla="*/ 10 h 210"/>
                <a:gd name="T106" fmla="*/ 72 w 1056"/>
                <a:gd name="T107" fmla="*/ 12 h 210"/>
                <a:gd name="T108" fmla="*/ 78 w 1056"/>
                <a:gd name="T109" fmla="*/ 15 h 210"/>
                <a:gd name="T110" fmla="*/ 84 w 1056"/>
                <a:gd name="T111" fmla="*/ 14 h 210"/>
                <a:gd name="T112" fmla="*/ 84 w 1056"/>
                <a:gd name="T113" fmla="*/ 14 h 210"/>
                <a:gd name="T114" fmla="*/ 78 w 1056"/>
                <a:gd name="T115" fmla="*/ 13 h 210"/>
                <a:gd name="T116" fmla="*/ 76 w 1056"/>
                <a:gd name="T117" fmla="*/ 14 h 210"/>
                <a:gd name="T118" fmla="*/ 38 w 1056"/>
                <a:gd name="T119" fmla="*/ 12 h 210"/>
                <a:gd name="T120" fmla="*/ 41 w 1056"/>
                <a:gd name="T121" fmla="*/ 12 h 210"/>
                <a:gd name="T122" fmla="*/ 40 w 1056"/>
                <a:gd name="T123" fmla="*/ 14 h 2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6"/>
                <a:gd name="T187" fmla="*/ 0 h 210"/>
                <a:gd name="T188" fmla="*/ 1056 w 1056"/>
                <a:gd name="T189" fmla="*/ 210 h 21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6" h="210">
                  <a:moveTo>
                    <a:pt x="870" y="90"/>
                  </a:moveTo>
                  <a:lnTo>
                    <a:pt x="864" y="90"/>
                  </a:lnTo>
                  <a:lnTo>
                    <a:pt x="852" y="84"/>
                  </a:lnTo>
                  <a:lnTo>
                    <a:pt x="846" y="84"/>
                  </a:lnTo>
                  <a:lnTo>
                    <a:pt x="846" y="78"/>
                  </a:lnTo>
                  <a:lnTo>
                    <a:pt x="840" y="78"/>
                  </a:lnTo>
                  <a:lnTo>
                    <a:pt x="834" y="78"/>
                  </a:lnTo>
                  <a:lnTo>
                    <a:pt x="834" y="72"/>
                  </a:lnTo>
                  <a:lnTo>
                    <a:pt x="804" y="78"/>
                  </a:lnTo>
                  <a:lnTo>
                    <a:pt x="798" y="78"/>
                  </a:lnTo>
                  <a:lnTo>
                    <a:pt x="792" y="72"/>
                  </a:lnTo>
                  <a:lnTo>
                    <a:pt x="780" y="60"/>
                  </a:lnTo>
                  <a:lnTo>
                    <a:pt x="768" y="54"/>
                  </a:lnTo>
                  <a:lnTo>
                    <a:pt x="756" y="54"/>
                  </a:lnTo>
                  <a:lnTo>
                    <a:pt x="750" y="54"/>
                  </a:lnTo>
                  <a:lnTo>
                    <a:pt x="750" y="48"/>
                  </a:lnTo>
                  <a:lnTo>
                    <a:pt x="744" y="48"/>
                  </a:lnTo>
                  <a:lnTo>
                    <a:pt x="738" y="48"/>
                  </a:lnTo>
                  <a:lnTo>
                    <a:pt x="732" y="48"/>
                  </a:lnTo>
                  <a:lnTo>
                    <a:pt x="732" y="54"/>
                  </a:lnTo>
                  <a:lnTo>
                    <a:pt x="726" y="48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48"/>
                  </a:lnTo>
                  <a:lnTo>
                    <a:pt x="702" y="48"/>
                  </a:lnTo>
                  <a:lnTo>
                    <a:pt x="696" y="48"/>
                  </a:lnTo>
                  <a:lnTo>
                    <a:pt x="684" y="48"/>
                  </a:lnTo>
                  <a:lnTo>
                    <a:pt x="678" y="48"/>
                  </a:lnTo>
                  <a:lnTo>
                    <a:pt x="672" y="48"/>
                  </a:lnTo>
                  <a:lnTo>
                    <a:pt x="666" y="54"/>
                  </a:lnTo>
                  <a:lnTo>
                    <a:pt x="660" y="54"/>
                  </a:lnTo>
                  <a:lnTo>
                    <a:pt x="660" y="48"/>
                  </a:lnTo>
                  <a:lnTo>
                    <a:pt x="654" y="48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42" y="54"/>
                  </a:lnTo>
                  <a:lnTo>
                    <a:pt x="63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30" y="66"/>
                  </a:lnTo>
                  <a:lnTo>
                    <a:pt x="624" y="66"/>
                  </a:lnTo>
                  <a:lnTo>
                    <a:pt x="618" y="66"/>
                  </a:lnTo>
                  <a:lnTo>
                    <a:pt x="618" y="72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6" y="84"/>
                  </a:lnTo>
                  <a:lnTo>
                    <a:pt x="600" y="84"/>
                  </a:lnTo>
                  <a:lnTo>
                    <a:pt x="594" y="90"/>
                  </a:lnTo>
                  <a:lnTo>
                    <a:pt x="588" y="90"/>
                  </a:lnTo>
                  <a:lnTo>
                    <a:pt x="588" y="84"/>
                  </a:lnTo>
                  <a:lnTo>
                    <a:pt x="582" y="84"/>
                  </a:lnTo>
                  <a:lnTo>
                    <a:pt x="576" y="84"/>
                  </a:lnTo>
                  <a:lnTo>
                    <a:pt x="570" y="84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58" y="96"/>
                  </a:lnTo>
                  <a:lnTo>
                    <a:pt x="552" y="96"/>
                  </a:lnTo>
                  <a:lnTo>
                    <a:pt x="546" y="102"/>
                  </a:lnTo>
                  <a:lnTo>
                    <a:pt x="540" y="102"/>
                  </a:lnTo>
                  <a:lnTo>
                    <a:pt x="534" y="102"/>
                  </a:lnTo>
                  <a:lnTo>
                    <a:pt x="528" y="102"/>
                  </a:lnTo>
                  <a:lnTo>
                    <a:pt x="528" y="108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16" y="102"/>
                  </a:lnTo>
                  <a:lnTo>
                    <a:pt x="510" y="102"/>
                  </a:lnTo>
                  <a:lnTo>
                    <a:pt x="504" y="102"/>
                  </a:lnTo>
                  <a:lnTo>
                    <a:pt x="498" y="102"/>
                  </a:lnTo>
                  <a:lnTo>
                    <a:pt x="498" y="96"/>
                  </a:lnTo>
                  <a:lnTo>
                    <a:pt x="492" y="96"/>
                  </a:lnTo>
                  <a:lnTo>
                    <a:pt x="492" y="90"/>
                  </a:lnTo>
                  <a:lnTo>
                    <a:pt x="492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498" y="66"/>
                  </a:lnTo>
                  <a:lnTo>
                    <a:pt x="504" y="60"/>
                  </a:lnTo>
                  <a:lnTo>
                    <a:pt x="498" y="60"/>
                  </a:lnTo>
                  <a:lnTo>
                    <a:pt x="498" y="54"/>
                  </a:lnTo>
                  <a:lnTo>
                    <a:pt x="492" y="54"/>
                  </a:lnTo>
                  <a:lnTo>
                    <a:pt x="492" y="60"/>
                  </a:lnTo>
                  <a:lnTo>
                    <a:pt x="486" y="60"/>
                  </a:lnTo>
                  <a:lnTo>
                    <a:pt x="486" y="66"/>
                  </a:lnTo>
                  <a:lnTo>
                    <a:pt x="480" y="66"/>
                  </a:lnTo>
                  <a:lnTo>
                    <a:pt x="474" y="72"/>
                  </a:lnTo>
                  <a:lnTo>
                    <a:pt x="474" y="66"/>
                  </a:lnTo>
                  <a:lnTo>
                    <a:pt x="474" y="72"/>
                  </a:lnTo>
                  <a:lnTo>
                    <a:pt x="468" y="72"/>
                  </a:lnTo>
                  <a:lnTo>
                    <a:pt x="468" y="78"/>
                  </a:lnTo>
                  <a:lnTo>
                    <a:pt x="468" y="84"/>
                  </a:lnTo>
                  <a:lnTo>
                    <a:pt x="462" y="90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0" y="84"/>
                  </a:lnTo>
                  <a:lnTo>
                    <a:pt x="450" y="90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44" y="102"/>
                  </a:lnTo>
                  <a:lnTo>
                    <a:pt x="444" y="108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38" y="126"/>
                  </a:lnTo>
                  <a:lnTo>
                    <a:pt x="438" y="132"/>
                  </a:lnTo>
                  <a:lnTo>
                    <a:pt x="438" y="138"/>
                  </a:lnTo>
                  <a:lnTo>
                    <a:pt x="438" y="144"/>
                  </a:lnTo>
                  <a:lnTo>
                    <a:pt x="432" y="144"/>
                  </a:lnTo>
                  <a:lnTo>
                    <a:pt x="432" y="150"/>
                  </a:lnTo>
                  <a:lnTo>
                    <a:pt x="432" y="144"/>
                  </a:lnTo>
                  <a:lnTo>
                    <a:pt x="426" y="144"/>
                  </a:lnTo>
                  <a:lnTo>
                    <a:pt x="426" y="150"/>
                  </a:lnTo>
                  <a:lnTo>
                    <a:pt x="426" y="156"/>
                  </a:lnTo>
                  <a:lnTo>
                    <a:pt x="432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2"/>
                  </a:lnTo>
                  <a:lnTo>
                    <a:pt x="432" y="168"/>
                  </a:lnTo>
                  <a:lnTo>
                    <a:pt x="426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44" y="168"/>
                  </a:lnTo>
                  <a:lnTo>
                    <a:pt x="444" y="174"/>
                  </a:lnTo>
                  <a:lnTo>
                    <a:pt x="444" y="180"/>
                  </a:lnTo>
                  <a:lnTo>
                    <a:pt x="444" y="186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2" y="192"/>
                  </a:lnTo>
                  <a:lnTo>
                    <a:pt x="426" y="192"/>
                  </a:lnTo>
                  <a:lnTo>
                    <a:pt x="420" y="186"/>
                  </a:lnTo>
                  <a:lnTo>
                    <a:pt x="414" y="186"/>
                  </a:lnTo>
                  <a:lnTo>
                    <a:pt x="408" y="186"/>
                  </a:lnTo>
                  <a:lnTo>
                    <a:pt x="402" y="186"/>
                  </a:lnTo>
                  <a:lnTo>
                    <a:pt x="396" y="186"/>
                  </a:lnTo>
                  <a:lnTo>
                    <a:pt x="390" y="186"/>
                  </a:lnTo>
                  <a:lnTo>
                    <a:pt x="384" y="186"/>
                  </a:lnTo>
                  <a:lnTo>
                    <a:pt x="378" y="186"/>
                  </a:lnTo>
                  <a:lnTo>
                    <a:pt x="372" y="186"/>
                  </a:lnTo>
                  <a:lnTo>
                    <a:pt x="354" y="186"/>
                  </a:lnTo>
                  <a:lnTo>
                    <a:pt x="342" y="186"/>
                  </a:lnTo>
                  <a:lnTo>
                    <a:pt x="324" y="186"/>
                  </a:lnTo>
                  <a:lnTo>
                    <a:pt x="312" y="186"/>
                  </a:lnTo>
                  <a:lnTo>
                    <a:pt x="306" y="186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82" y="186"/>
                  </a:lnTo>
                  <a:lnTo>
                    <a:pt x="270" y="186"/>
                  </a:lnTo>
                  <a:lnTo>
                    <a:pt x="264" y="186"/>
                  </a:lnTo>
                  <a:lnTo>
                    <a:pt x="258" y="192"/>
                  </a:lnTo>
                  <a:lnTo>
                    <a:pt x="258" y="186"/>
                  </a:lnTo>
                  <a:lnTo>
                    <a:pt x="246" y="186"/>
                  </a:lnTo>
                  <a:lnTo>
                    <a:pt x="240" y="186"/>
                  </a:lnTo>
                  <a:lnTo>
                    <a:pt x="234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2"/>
                  </a:lnTo>
                  <a:lnTo>
                    <a:pt x="204" y="192"/>
                  </a:lnTo>
                  <a:lnTo>
                    <a:pt x="198" y="192"/>
                  </a:lnTo>
                  <a:lnTo>
                    <a:pt x="192" y="192"/>
                  </a:lnTo>
                  <a:lnTo>
                    <a:pt x="180" y="192"/>
                  </a:lnTo>
                  <a:lnTo>
                    <a:pt x="168" y="192"/>
                  </a:lnTo>
                  <a:lnTo>
                    <a:pt x="162" y="192"/>
                  </a:lnTo>
                  <a:lnTo>
                    <a:pt x="150" y="192"/>
                  </a:lnTo>
                  <a:lnTo>
                    <a:pt x="138" y="192"/>
                  </a:lnTo>
                  <a:lnTo>
                    <a:pt x="132" y="192"/>
                  </a:lnTo>
                  <a:lnTo>
                    <a:pt x="120" y="192"/>
                  </a:lnTo>
                  <a:lnTo>
                    <a:pt x="114" y="192"/>
                  </a:lnTo>
                  <a:lnTo>
                    <a:pt x="108" y="192"/>
                  </a:lnTo>
                  <a:lnTo>
                    <a:pt x="102" y="192"/>
                  </a:lnTo>
                  <a:lnTo>
                    <a:pt x="90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2" y="198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36" y="198"/>
                  </a:lnTo>
                  <a:lnTo>
                    <a:pt x="30" y="204"/>
                  </a:lnTo>
                  <a:lnTo>
                    <a:pt x="24" y="204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6" y="210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54" y="156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56"/>
                  </a:lnTo>
                  <a:lnTo>
                    <a:pt x="78" y="162"/>
                  </a:lnTo>
                  <a:lnTo>
                    <a:pt x="84" y="162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9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0" y="126"/>
                  </a:lnTo>
                  <a:lnTo>
                    <a:pt x="276" y="120"/>
                  </a:lnTo>
                  <a:lnTo>
                    <a:pt x="282" y="120"/>
                  </a:lnTo>
                  <a:lnTo>
                    <a:pt x="300" y="120"/>
                  </a:lnTo>
                  <a:lnTo>
                    <a:pt x="306" y="114"/>
                  </a:lnTo>
                  <a:lnTo>
                    <a:pt x="312" y="108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8"/>
                  </a:lnTo>
                  <a:lnTo>
                    <a:pt x="342" y="30"/>
                  </a:lnTo>
                  <a:lnTo>
                    <a:pt x="342" y="24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8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24"/>
                  </a:lnTo>
                  <a:lnTo>
                    <a:pt x="414" y="30"/>
                  </a:lnTo>
                  <a:lnTo>
                    <a:pt x="420" y="30"/>
                  </a:lnTo>
                  <a:lnTo>
                    <a:pt x="42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74" y="30"/>
                  </a:lnTo>
                  <a:lnTo>
                    <a:pt x="474" y="18"/>
                  </a:lnTo>
                  <a:lnTo>
                    <a:pt x="474" y="12"/>
                  </a:lnTo>
                  <a:lnTo>
                    <a:pt x="480" y="12"/>
                  </a:lnTo>
                  <a:lnTo>
                    <a:pt x="486" y="12"/>
                  </a:lnTo>
                  <a:lnTo>
                    <a:pt x="606" y="12"/>
                  </a:lnTo>
                  <a:lnTo>
                    <a:pt x="630" y="12"/>
                  </a:lnTo>
                  <a:lnTo>
                    <a:pt x="678" y="12"/>
                  </a:lnTo>
                  <a:lnTo>
                    <a:pt x="744" y="12"/>
                  </a:lnTo>
                  <a:lnTo>
                    <a:pt x="774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2" y="6"/>
                  </a:lnTo>
                  <a:lnTo>
                    <a:pt x="888" y="12"/>
                  </a:lnTo>
                  <a:lnTo>
                    <a:pt x="888" y="24"/>
                  </a:lnTo>
                  <a:lnTo>
                    <a:pt x="888" y="30"/>
                  </a:lnTo>
                  <a:lnTo>
                    <a:pt x="882" y="36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64" y="42"/>
                  </a:lnTo>
                  <a:lnTo>
                    <a:pt x="864" y="48"/>
                  </a:lnTo>
                  <a:lnTo>
                    <a:pt x="858" y="54"/>
                  </a:lnTo>
                  <a:lnTo>
                    <a:pt x="864" y="54"/>
                  </a:lnTo>
                  <a:lnTo>
                    <a:pt x="870" y="72"/>
                  </a:lnTo>
                  <a:lnTo>
                    <a:pt x="870" y="78"/>
                  </a:lnTo>
                  <a:lnTo>
                    <a:pt x="870" y="84"/>
                  </a:lnTo>
                  <a:lnTo>
                    <a:pt x="870" y="90"/>
                  </a:lnTo>
                  <a:close/>
                  <a:moveTo>
                    <a:pt x="972" y="156"/>
                  </a:moveTo>
                  <a:lnTo>
                    <a:pt x="972" y="162"/>
                  </a:lnTo>
                  <a:lnTo>
                    <a:pt x="978" y="162"/>
                  </a:lnTo>
                  <a:lnTo>
                    <a:pt x="984" y="168"/>
                  </a:lnTo>
                  <a:lnTo>
                    <a:pt x="990" y="168"/>
                  </a:lnTo>
                  <a:lnTo>
                    <a:pt x="990" y="162"/>
                  </a:lnTo>
                  <a:lnTo>
                    <a:pt x="1008" y="162"/>
                  </a:lnTo>
                  <a:lnTo>
                    <a:pt x="1020" y="162"/>
                  </a:lnTo>
                  <a:lnTo>
                    <a:pt x="1038" y="162"/>
                  </a:lnTo>
                  <a:lnTo>
                    <a:pt x="1056" y="168"/>
                  </a:lnTo>
                  <a:lnTo>
                    <a:pt x="1056" y="180"/>
                  </a:lnTo>
                  <a:lnTo>
                    <a:pt x="1056" y="186"/>
                  </a:lnTo>
                  <a:lnTo>
                    <a:pt x="1056" y="204"/>
                  </a:lnTo>
                  <a:lnTo>
                    <a:pt x="1050" y="204"/>
                  </a:lnTo>
                  <a:lnTo>
                    <a:pt x="1044" y="204"/>
                  </a:lnTo>
                  <a:lnTo>
                    <a:pt x="1038" y="204"/>
                  </a:lnTo>
                  <a:lnTo>
                    <a:pt x="1032" y="204"/>
                  </a:lnTo>
                  <a:lnTo>
                    <a:pt x="1026" y="204"/>
                  </a:lnTo>
                  <a:lnTo>
                    <a:pt x="1020" y="204"/>
                  </a:lnTo>
                  <a:lnTo>
                    <a:pt x="1014" y="204"/>
                  </a:lnTo>
                  <a:lnTo>
                    <a:pt x="1008" y="204"/>
                  </a:lnTo>
                  <a:lnTo>
                    <a:pt x="1002" y="204"/>
                  </a:lnTo>
                  <a:lnTo>
                    <a:pt x="996" y="204"/>
                  </a:lnTo>
                  <a:lnTo>
                    <a:pt x="984" y="204"/>
                  </a:lnTo>
                  <a:lnTo>
                    <a:pt x="984" y="198"/>
                  </a:lnTo>
                  <a:lnTo>
                    <a:pt x="978" y="198"/>
                  </a:lnTo>
                  <a:lnTo>
                    <a:pt x="966" y="198"/>
                  </a:lnTo>
                  <a:lnTo>
                    <a:pt x="948" y="192"/>
                  </a:lnTo>
                  <a:lnTo>
                    <a:pt x="942" y="192"/>
                  </a:lnTo>
                  <a:lnTo>
                    <a:pt x="936" y="192"/>
                  </a:lnTo>
                  <a:lnTo>
                    <a:pt x="924" y="192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12" y="186"/>
                  </a:lnTo>
                  <a:lnTo>
                    <a:pt x="906" y="186"/>
                  </a:lnTo>
                  <a:lnTo>
                    <a:pt x="900" y="186"/>
                  </a:lnTo>
                  <a:lnTo>
                    <a:pt x="894" y="186"/>
                  </a:lnTo>
                  <a:lnTo>
                    <a:pt x="888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76" y="180"/>
                  </a:lnTo>
                  <a:lnTo>
                    <a:pt x="870" y="180"/>
                  </a:lnTo>
                  <a:lnTo>
                    <a:pt x="864" y="180"/>
                  </a:lnTo>
                  <a:lnTo>
                    <a:pt x="858" y="180"/>
                  </a:lnTo>
                  <a:lnTo>
                    <a:pt x="852" y="180"/>
                  </a:lnTo>
                  <a:lnTo>
                    <a:pt x="852" y="174"/>
                  </a:lnTo>
                  <a:lnTo>
                    <a:pt x="846" y="174"/>
                  </a:lnTo>
                  <a:lnTo>
                    <a:pt x="840" y="174"/>
                  </a:lnTo>
                  <a:lnTo>
                    <a:pt x="834" y="174"/>
                  </a:lnTo>
                  <a:lnTo>
                    <a:pt x="828" y="174"/>
                  </a:lnTo>
                  <a:lnTo>
                    <a:pt x="822" y="174"/>
                  </a:lnTo>
                  <a:lnTo>
                    <a:pt x="816" y="174"/>
                  </a:lnTo>
                  <a:lnTo>
                    <a:pt x="810" y="168"/>
                  </a:lnTo>
                  <a:lnTo>
                    <a:pt x="804" y="168"/>
                  </a:lnTo>
                  <a:lnTo>
                    <a:pt x="798" y="168"/>
                  </a:lnTo>
                  <a:lnTo>
                    <a:pt x="792" y="168"/>
                  </a:lnTo>
                  <a:lnTo>
                    <a:pt x="786" y="168"/>
                  </a:lnTo>
                  <a:lnTo>
                    <a:pt x="780" y="168"/>
                  </a:lnTo>
                  <a:lnTo>
                    <a:pt x="774" y="168"/>
                  </a:lnTo>
                  <a:lnTo>
                    <a:pt x="768" y="168"/>
                  </a:lnTo>
                  <a:lnTo>
                    <a:pt x="762" y="168"/>
                  </a:lnTo>
                  <a:lnTo>
                    <a:pt x="756" y="168"/>
                  </a:lnTo>
                  <a:lnTo>
                    <a:pt x="750" y="168"/>
                  </a:lnTo>
                  <a:lnTo>
                    <a:pt x="750" y="162"/>
                  </a:lnTo>
                  <a:lnTo>
                    <a:pt x="744" y="168"/>
                  </a:lnTo>
                  <a:lnTo>
                    <a:pt x="738" y="162"/>
                  </a:lnTo>
                  <a:lnTo>
                    <a:pt x="732" y="162"/>
                  </a:lnTo>
                  <a:lnTo>
                    <a:pt x="726" y="162"/>
                  </a:lnTo>
                  <a:lnTo>
                    <a:pt x="714" y="162"/>
                  </a:lnTo>
                  <a:lnTo>
                    <a:pt x="702" y="162"/>
                  </a:lnTo>
                  <a:lnTo>
                    <a:pt x="696" y="168"/>
                  </a:lnTo>
                  <a:lnTo>
                    <a:pt x="690" y="168"/>
                  </a:lnTo>
                  <a:lnTo>
                    <a:pt x="684" y="168"/>
                  </a:lnTo>
                  <a:lnTo>
                    <a:pt x="678" y="168"/>
                  </a:lnTo>
                  <a:lnTo>
                    <a:pt x="672" y="168"/>
                  </a:lnTo>
                  <a:lnTo>
                    <a:pt x="666" y="168"/>
                  </a:lnTo>
                  <a:lnTo>
                    <a:pt x="660" y="168"/>
                  </a:lnTo>
                  <a:lnTo>
                    <a:pt x="654" y="168"/>
                  </a:lnTo>
                  <a:lnTo>
                    <a:pt x="648" y="174"/>
                  </a:lnTo>
                  <a:lnTo>
                    <a:pt x="648" y="168"/>
                  </a:lnTo>
                  <a:lnTo>
                    <a:pt x="642" y="174"/>
                  </a:lnTo>
                  <a:lnTo>
                    <a:pt x="636" y="174"/>
                  </a:lnTo>
                  <a:lnTo>
                    <a:pt x="630" y="174"/>
                  </a:lnTo>
                  <a:lnTo>
                    <a:pt x="624" y="174"/>
                  </a:lnTo>
                  <a:lnTo>
                    <a:pt x="618" y="174"/>
                  </a:lnTo>
                  <a:lnTo>
                    <a:pt x="612" y="174"/>
                  </a:lnTo>
                  <a:lnTo>
                    <a:pt x="606" y="174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74"/>
                  </a:lnTo>
                  <a:lnTo>
                    <a:pt x="582" y="174"/>
                  </a:lnTo>
                  <a:lnTo>
                    <a:pt x="576" y="174"/>
                  </a:lnTo>
                  <a:lnTo>
                    <a:pt x="570" y="174"/>
                  </a:lnTo>
                  <a:lnTo>
                    <a:pt x="564" y="174"/>
                  </a:lnTo>
                  <a:lnTo>
                    <a:pt x="558" y="174"/>
                  </a:lnTo>
                  <a:lnTo>
                    <a:pt x="552" y="174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0" y="174"/>
                  </a:lnTo>
                  <a:lnTo>
                    <a:pt x="504" y="174"/>
                  </a:lnTo>
                  <a:lnTo>
                    <a:pt x="498" y="174"/>
                  </a:lnTo>
                  <a:lnTo>
                    <a:pt x="492" y="174"/>
                  </a:lnTo>
                  <a:lnTo>
                    <a:pt x="486" y="174"/>
                  </a:lnTo>
                  <a:lnTo>
                    <a:pt x="480" y="174"/>
                  </a:lnTo>
                  <a:lnTo>
                    <a:pt x="474" y="174"/>
                  </a:lnTo>
                  <a:lnTo>
                    <a:pt x="468" y="174"/>
                  </a:lnTo>
                  <a:lnTo>
                    <a:pt x="462" y="174"/>
                  </a:lnTo>
                  <a:lnTo>
                    <a:pt x="456" y="174"/>
                  </a:lnTo>
                  <a:lnTo>
                    <a:pt x="450" y="180"/>
                  </a:lnTo>
                  <a:lnTo>
                    <a:pt x="450" y="186"/>
                  </a:lnTo>
                  <a:lnTo>
                    <a:pt x="450" y="192"/>
                  </a:lnTo>
                  <a:lnTo>
                    <a:pt x="444" y="192"/>
                  </a:lnTo>
                  <a:lnTo>
                    <a:pt x="444" y="186"/>
                  </a:lnTo>
                  <a:lnTo>
                    <a:pt x="444" y="180"/>
                  </a:lnTo>
                  <a:lnTo>
                    <a:pt x="450" y="180"/>
                  </a:lnTo>
                  <a:lnTo>
                    <a:pt x="450" y="174"/>
                  </a:lnTo>
                  <a:lnTo>
                    <a:pt x="450" y="168"/>
                  </a:lnTo>
                  <a:lnTo>
                    <a:pt x="450" y="162"/>
                  </a:lnTo>
                  <a:lnTo>
                    <a:pt x="456" y="162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62" y="162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74" y="168"/>
                  </a:lnTo>
                  <a:lnTo>
                    <a:pt x="480" y="168"/>
                  </a:lnTo>
                  <a:lnTo>
                    <a:pt x="480" y="162"/>
                  </a:lnTo>
                  <a:lnTo>
                    <a:pt x="480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56"/>
                  </a:lnTo>
                  <a:lnTo>
                    <a:pt x="492" y="156"/>
                  </a:lnTo>
                  <a:lnTo>
                    <a:pt x="486" y="150"/>
                  </a:lnTo>
                  <a:lnTo>
                    <a:pt x="492" y="150"/>
                  </a:lnTo>
                  <a:lnTo>
                    <a:pt x="498" y="150"/>
                  </a:lnTo>
                  <a:lnTo>
                    <a:pt x="498" y="156"/>
                  </a:lnTo>
                  <a:lnTo>
                    <a:pt x="504" y="156"/>
                  </a:lnTo>
                  <a:lnTo>
                    <a:pt x="504" y="162"/>
                  </a:lnTo>
                  <a:lnTo>
                    <a:pt x="504" y="156"/>
                  </a:lnTo>
                  <a:lnTo>
                    <a:pt x="510" y="156"/>
                  </a:lnTo>
                  <a:lnTo>
                    <a:pt x="510" y="150"/>
                  </a:lnTo>
                  <a:lnTo>
                    <a:pt x="516" y="150"/>
                  </a:lnTo>
                  <a:lnTo>
                    <a:pt x="522" y="150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28" y="150"/>
                  </a:lnTo>
                  <a:lnTo>
                    <a:pt x="528" y="144"/>
                  </a:lnTo>
                  <a:lnTo>
                    <a:pt x="540" y="144"/>
                  </a:lnTo>
                  <a:lnTo>
                    <a:pt x="546" y="144"/>
                  </a:lnTo>
                  <a:lnTo>
                    <a:pt x="552" y="138"/>
                  </a:lnTo>
                  <a:lnTo>
                    <a:pt x="552" y="132"/>
                  </a:lnTo>
                  <a:lnTo>
                    <a:pt x="558" y="132"/>
                  </a:lnTo>
                  <a:lnTo>
                    <a:pt x="558" y="126"/>
                  </a:lnTo>
                  <a:lnTo>
                    <a:pt x="558" y="120"/>
                  </a:lnTo>
                  <a:lnTo>
                    <a:pt x="558" y="114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6" y="114"/>
                  </a:lnTo>
                  <a:lnTo>
                    <a:pt x="582" y="120"/>
                  </a:lnTo>
                  <a:lnTo>
                    <a:pt x="588" y="120"/>
                  </a:lnTo>
                  <a:lnTo>
                    <a:pt x="588" y="126"/>
                  </a:lnTo>
                  <a:lnTo>
                    <a:pt x="588" y="120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600" y="114"/>
                  </a:lnTo>
                  <a:lnTo>
                    <a:pt x="606" y="114"/>
                  </a:lnTo>
                  <a:lnTo>
                    <a:pt x="618" y="114"/>
                  </a:lnTo>
                  <a:lnTo>
                    <a:pt x="618" y="108"/>
                  </a:lnTo>
                  <a:lnTo>
                    <a:pt x="624" y="108"/>
                  </a:lnTo>
                  <a:lnTo>
                    <a:pt x="624" y="102"/>
                  </a:lnTo>
                  <a:lnTo>
                    <a:pt x="630" y="102"/>
                  </a:lnTo>
                  <a:lnTo>
                    <a:pt x="636" y="102"/>
                  </a:lnTo>
                  <a:lnTo>
                    <a:pt x="636" y="108"/>
                  </a:lnTo>
                  <a:lnTo>
                    <a:pt x="642" y="108"/>
                  </a:lnTo>
                  <a:lnTo>
                    <a:pt x="648" y="108"/>
                  </a:lnTo>
                  <a:lnTo>
                    <a:pt x="648" y="102"/>
                  </a:lnTo>
                  <a:lnTo>
                    <a:pt x="654" y="102"/>
                  </a:lnTo>
                  <a:lnTo>
                    <a:pt x="660" y="102"/>
                  </a:lnTo>
                  <a:lnTo>
                    <a:pt x="660" y="96"/>
                  </a:lnTo>
                  <a:lnTo>
                    <a:pt x="660" y="90"/>
                  </a:lnTo>
                  <a:lnTo>
                    <a:pt x="666" y="90"/>
                  </a:lnTo>
                  <a:lnTo>
                    <a:pt x="666" y="84"/>
                  </a:lnTo>
                  <a:lnTo>
                    <a:pt x="672" y="78"/>
                  </a:lnTo>
                  <a:lnTo>
                    <a:pt x="672" y="72"/>
                  </a:lnTo>
                  <a:lnTo>
                    <a:pt x="678" y="66"/>
                  </a:lnTo>
                  <a:lnTo>
                    <a:pt x="684" y="66"/>
                  </a:lnTo>
                  <a:lnTo>
                    <a:pt x="684" y="60"/>
                  </a:lnTo>
                  <a:lnTo>
                    <a:pt x="690" y="60"/>
                  </a:lnTo>
                  <a:lnTo>
                    <a:pt x="696" y="60"/>
                  </a:lnTo>
                  <a:lnTo>
                    <a:pt x="702" y="60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66"/>
                  </a:lnTo>
                  <a:lnTo>
                    <a:pt x="720" y="66"/>
                  </a:lnTo>
                  <a:lnTo>
                    <a:pt x="720" y="60"/>
                  </a:lnTo>
                  <a:lnTo>
                    <a:pt x="726" y="60"/>
                  </a:lnTo>
                  <a:lnTo>
                    <a:pt x="732" y="60"/>
                  </a:lnTo>
                  <a:lnTo>
                    <a:pt x="744" y="60"/>
                  </a:lnTo>
                  <a:lnTo>
                    <a:pt x="750" y="54"/>
                  </a:lnTo>
                  <a:lnTo>
                    <a:pt x="762" y="60"/>
                  </a:lnTo>
                  <a:lnTo>
                    <a:pt x="774" y="60"/>
                  </a:lnTo>
                  <a:lnTo>
                    <a:pt x="774" y="66"/>
                  </a:lnTo>
                  <a:lnTo>
                    <a:pt x="780" y="72"/>
                  </a:lnTo>
                  <a:lnTo>
                    <a:pt x="786" y="78"/>
                  </a:lnTo>
                  <a:lnTo>
                    <a:pt x="792" y="78"/>
                  </a:lnTo>
                  <a:lnTo>
                    <a:pt x="810" y="84"/>
                  </a:lnTo>
                  <a:lnTo>
                    <a:pt x="822" y="84"/>
                  </a:lnTo>
                  <a:lnTo>
                    <a:pt x="828" y="84"/>
                  </a:lnTo>
                  <a:lnTo>
                    <a:pt x="834" y="84"/>
                  </a:lnTo>
                  <a:lnTo>
                    <a:pt x="840" y="96"/>
                  </a:lnTo>
                  <a:lnTo>
                    <a:pt x="846" y="102"/>
                  </a:lnTo>
                  <a:lnTo>
                    <a:pt x="858" y="102"/>
                  </a:lnTo>
                  <a:lnTo>
                    <a:pt x="864" y="102"/>
                  </a:lnTo>
                  <a:lnTo>
                    <a:pt x="876" y="96"/>
                  </a:lnTo>
                  <a:lnTo>
                    <a:pt x="882" y="102"/>
                  </a:lnTo>
                  <a:lnTo>
                    <a:pt x="888" y="108"/>
                  </a:lnTo>
                  <a:lnTo>
                    <a:pt x="888" y="114"/>
                  </a:lnTo>
                  <a:lnTo>
                    <a:pt x="888" y="120"/>
                  </a:lnTo>
                  <a:lnTo>
                    <a:pt x="888" y="126"/>
                  </a:lnTo>
                  <a:lnTo>
                    <a:pt x="888" y="132"/>
                  </a:lnTo>
                  <a:lnTo>
                    <a:pt x="882" y="132"/>
                  </a:lnTo>
                  <a:lnTo>
                    <a:pt x="864" y="126"/>
                  </a:lnTo>
                  <a:lnTo>
                    <a:pt x="852" y="120"/>
                  </a:lnTo>
                  <a:lnTo>
                    <a:pt x="840" y="126"/>
                  </a:lnTo>
                  <a:lnTo>
                    <a:pt x="834" y="120"/>
                  </a:lnTo>
                  <a:lnTo>
                    <a:pt x="828" y="120"/>
                  </a:lnTo>
                  <a:lnTo>
                    <a:pt x="822" y="120"/>
                  </a:lnTo>
                  <a:lnTo>
                    <a:pt x="810" y="114"/>
                  </a:lnTo>
                  <a:lnTo>
                    <a:pt x="804" y="114"/>
                  </a:lnTo>
                  <a:lnTo>
                    <a:pt x="798" y="114"/>
                  </a:lnTo>
                  <a:lnTo>
                    <a:pt x="792" y="114"/>
                  </a:lnTo>
                  <a:lnTo>
                    <a:pt x="786" y="114"/>
                  </a:lnTo>
                  <a:lnTo>
                    <a:pt x="780" y="114"/>
                  </a:lnTo>
                  <a:lnTo>
                    <a:pt x="780" y="126"/>
                  </a:lnTo>
                  <a:lnTo>
                    <a:pt x="786" y="126"/>
                  </a:lnTo>
                  <a:lnTo>
                    <a:pt x="798" y="126"/>
                  </a:lnTo>
                  <a:lnTo>
                    <a:pt x="804" y="126"/>
                  </a:lnTo>
                  <a:lnTo>
                    <a:pt x="822" y="132"/>
                  </a:lnTo>
                  <a:lnTo>
                    <a:pt x="828" y="132"/>
                  </a:lnTo>
                  <a:lnTo>
                    <a:pt x="834" y="132"/>
                  </a:lnTo>
                  <a:lnTo>
                    <a:pt x="840" y="144"/>
                  </a:lnTo>
                  <a:lnTo>
                    <a:pt x="846" y="150"/>
                  </a:lnTo>
                  <a:lnTo>
                    <a:pt x="858" y="150"/>
                  </a:lnTo>
                  <a:lnTo>
                    <a:pt x="864" y="162"/>
                  </a:lnTo>
                  <a:lnTo>
                    <a:pt x="870" y="162"/>
                  </a:lnTo>
                  <a:lnTo>
                    <a:pt x="876" y="168"/>
                  </a:lnTo>
                  <a:lnTo>
                    <a:pt x="888" y="168"/>
                  </a:lnTo>
                  <a:lnTo>
                    <a:pt x="894" y="174"/>
                  </a:lnTo>
                  <a:lnTo>
                    <a:pt x="900" y="174"/>
                  </a:lnTo>
                  <a:lnTo>
                    <a:pt x="918" y="174"/>
                  </a:lnTo>
                  <a:lnTo>
                    <a:pt x="924" y="174"/>
                  </a:lnTo>
                  <a:lnTo>
                    <a:pt x="930" y="174"/>
                  </a:lnTo>
                  <a:lnTo>
                    <a:pt x="942" y="174"/>
                  </a:lnTo>
                  <a:lnTo>
                    <a:pt x="954" y="174"/>
                  </a:lnTo>
                  <a:lnTo>
                    <a:pt x="960" y="174"/>
                  </a:lnTo>
                  <a:lnTo>
                    <a:pt x="966" y="174"/>
                  </a:lnTo>
                  <a:lnTo>
                    <a:pt x="966" y="168"/>
                  </a:lnTo>
                  <a:lnTo>
                    <a:pt x="972" y="162"/>
                  </a:lnTo>
                  <a:lnTo>
                    <a:pt x="972" y="156"/>
                  </a:lnTo>
                  <a:close/>
                  <a:moveTo>
                    <a:pt x="942" y="174"/>
                  </a:moveTo>
                  <a:lnTo>
                    <a:pt x="936" y="174"/>
                  </a:lnTo>
                  <a:lnTo>
                    <a:pt x="936" y="168"/>
                  </a:lnTo>
                  <a:lnTo>
                    <a:pt x="936" y="162"/>
                  </a:lnTo>
                  <a:lnTo>
                    <a:pt x="948" y="162"/>
                  </a:lnTo>
                  <a:lnTo>
                    <a:pt x="948" y="156"/>
                  </a:lnTo>
                  <a:lnTo>
                    <a:pt x="954" y="156"/>
                  </a:lnTo>
                  <a:lnTo>
                    <a:pt x="960" y="156"/>
                  </a:lnTo>
                  <a:lnTo>
                    <a:pt x="966" y="156"/>
                  </a:lnTo>
                  <a:lnTo>
                    <a:pt x="966" y="162"/>
                  </a:lnTo>
                  <a:lnTo>
                    <a:pt x="960" y="168"/>
                  </a:lnTo>
                  <a:lnTo>
                    <a:pt x="942" y="174"/>
                  </a:lnTo>
                  <a:close/>
                  <a:moveTo>
                    <a:pt x="900" y="168"/>
                  </a:moveTo>
                  <a:lnTo>
                    <a:pt x="894" y="168"/>
                  </a:lnTo>
                  <a:lnTo>
                    <a:pt x="882" y="156"/>
                  </a:lnTo>
                  <a:lnTo>
                    <a:pt x="882" y="150"/>
                  </a:lnTo>
                  <a:lnTo>
                    <a:pt x="888" y="156"/>
                  </a:lnTo>
                  <a:lnTo>
                    <a:pt x="894" y="150"/>
                  </a:lnTo>
                  <a:lnTo>
                    <a:pt x="900" y="150"/>
                  </a:lnTo>
                  <a:lnTo>
                    <a:pt x="906" y="150"/>
                  </a:lnTo>
                  <a:lnTo>
                    <a:pt x="912" y="150"/>
                  </a:lnTo>
                  <a:lnTo>
                    <a:pt x="924" y="150"/>
                  </a:lnTo>
                  <a:lnTo>
                    <a:pt x="924" y="156"/>
                  </a:lnTo>
                  <a:lnTo>
                    <a:pt x="924" y="162"/>
                  </a:lnTo>
                  <a:lnTo>
                    <a:pt x="924" y="168"/>
                  </a:lnTo>
                  <a:lnTo>
                    <a:pt x="918" y="168"/>
                  </a:lnTo>
                  <a:lnTo>
                    <a:pt x="906" y="168"/>
                  </a:lnTo>
                  <a:lnTo>
                    <a:pt x="900" y="168"/>
                  </a:lnTo>
                  <a:close/>
                  <a:moveTo>
                    <a:pt x="870" y="162"/>
                  </a:moveTo>
                  <a:lnTo>
                    <a:pt x="876" y="162"/>
                  </a:lnTo>
                  <a:lnTo>
                    <a:pt x="876" y="168"/>
                  </a:lnTo>
                  <a:lnTo>
                    <a:pt x="870" y="168"/>
                  </a:lnTo>
                  <a:lnTo>
                    <a:pt x="870" y="162"/>
                  </a:lnTo>
                  <a:close/>
                  <a:moveTo>
                    <a:pt x="450" y="162"/>
                  </a:moveTo>
                  <a:lnTo>
                    <a:pt x="444" y="162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2" y="150"/>
                  </a:lnTo>
                  <a:lnTo>
                    <a:pt x="438" y="150"/>
                  </a:lnTo>
                  <a:lnTo>
                    <a:pt x="438" y="144"/>
                  </a:lnTo>
                  <a:lnTo>
                    <a:pt x="438" y="150"/>
                  </a:lnTo>
                  <a:lnTo>
                    <a:pt x="444" y="150"/>
                  </a:lnTo>
                  <a:lnTo>
                    <a:pt x="450" y="150"/>
                  </a:lnTo>
                  <a:lnTo>
                    <a:pt x="450" y="156"/>
                  </a:lnTo>
                  <a:lnTo>
                    <a:pt x="456" y="156"/>
                  </a:lnTo>
                  <a:lnTo>
                    <a:pt x="456" y="150"/>
                  </a:lnTo>
                  <a:lnTo>
                    <a:pt x="456" y="156"/>
                  </a:lnTo>
                  <a:lnTo>
                    <a:pt x="462" y="150"/>
                  </a:lnTo>
                  <a:lnTo>
                    <a:pt x="462" y="144"/>
                  </a:lnTo>
                  <a:lnTo>
                    <a:pt x="468" y="144"/>
                  </a:lnTo>
                  <a:lnTo>
                    <a:pt x="468" y="150"/>
                  </a:lnTo>
                  <a:lnTo>
                    <a:pt x="474" y="150"/>
                  </a:lnTo>
                  <a:lnTo>
                    <a:pt x="480" y="150"/>
                  </a:lnTo>
                  <a:lnTo>
                    <a:pt x="480" y="156"/>
                  </a:lnTo>
                  <a:lnTo>
                    <a:pt x="480" y="162"/>
                  </a:lnTo>
                  <a:lnTo>
                    <a:pt x="474" y="162"/>
                  </a:lnTo>
                  <a:lnTo>
                    <a:pt x="474" y="168"/>
                  </a:lnTo>
                  <a:lnTo>
                    <a:pt x="474" y="162"/>
                  </a:lnTo>
                  <a:lnTo>
                    <a:pt x="468" y="162"/>
                  </a:lnTo>
                  <a:lnTo>
                    <a:pt x="462" y="162"/>
                  </a:lnTo>
                  <a:lnTo>
                    <a:pt x="456" y="162"/>
                  </a:lnTo>
                  <a:lnTo>
                    <a:pt x="450" y="16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6" name="Freeform 31">
              <a:extLst>
                <a:ext uri="{FF2B5EF4-FFF2-40B4-BE49-F238E27FC236}">
                  <a16:creationId xmlns:a16="http://schemas.microsoft.com/office/drawing/2014/main" id="{0989F057-38E8-4AA5-8B73-27F6355E235C}"/>
                </a:ext>
              </a:extLst>
            </p:cNvPr>
            <p:cNvSpPr>
              <a:spLocks/>
            </p:cNvSpPr>
            <p:nvPr/>
          </p:nvSpPr>
          <p:spPr bwMode="gray">
            <a:xfrm>
              <a:off x="792590" y="2728084"/>
              <a:ext cx="1182944" cy="740282"/>
            </a:xfrm>
            <a:custGeom>
              <a:avLst/>
              <a:gdLst>
                <a:gd name="T0" fmla="*/ 138 w 2226"/>
                <a:gd name="T1" fmla="*/ 121 h 1392"/>
                <a:gd name="T2" fmla="*/ 133 w 2226"/>
                <a:gd name="T3" fmla="*/ 119 h 1392"/>
                <a:gd name="T4" fmla="*/ 128 w 2226"/>
                <a:gd name="T5" fmla="*/ 117 h 1392"/>
                <a:gd name="T6" fmla="*/ 119 w 2226"/>
                <a:gd name="T7" fmla="*/ 116 h 1392"/>
                <a:gd name="T8" fmla="*/ 101 w 2226"/>
                <a:gd name="T9" fmla="*/ 116 h 1392"/>
                <a:gd name="T10" fmla="*/ 94 w 2226"/>
                <a:gd name="T11" fmla="*/ 104 h 1392"/>
                <a:gd name="T12" fmla="*/ 82 w 2226"/>
                <a:gd name="T13" fmla="*/ 83 h 1392"/>
                <a:gd name="T14" fmla="*/ 87 w 2226"/>
                <a:gd name="T15" fmla="*/ 69 h 1392"/>
                <a:gd name="T16" fmla="*/ 82 w 2226"/>
                <a:gd name="T17" fmla="*/ 65 h 1392"/>
                <a:gd name="T18" fmla="*/ 59 w 2226"/>
                <a:gd name="T19" fmla="*/ 57 h 1392"/>
                <a:gd name="T20" fmla="*/ 29 w 2226"/>
                <a:gd name="T21" fmla="*/ 77 h 1392"/>
                <a:gd name="T22" fmla="*/ 20 w 2226"/>
                <a:gd name="T23" fmla="*/ 78 h 1392"/>
                <a:gd name="T24" fmla="*/ 15 w 2226"/>
                <a:gd name="T25" fmla="*/ 82 h 1392"/>
                <a:gd name="T26" fmla="*/ 8 w 2226"/>
                <a:gd name="T27" fmla="*/ 86 h 1392"/>
                <a:gd name="T28" fmla="*/ 1 w 2226"/>
                <a:gd name="T29" fmla="*/ 88 h 1392"/>
                <a:gd name="T30" fmla="*/ 0 w 2226"/>
                <a:gd name="T31" fmla="*/ 82 h 1392"/>
                <a:gd name="T32" fmla="*/ 0 w 2226"/>
                <a:gd name="T33" fmla="*/ 76 h 1392"/>
                <a:gd name="T34" fmla="*/ 2 w 2226"/>
                <a:gd name="T35" fmla="*/ 70 h 1392"/>
                <a:gd name="T36" fmla="*/ 3 w 2226"/>
                <a:gd name="T37" fmla="*/ 65 h 1392"/>
                <a:gd name="T38" fmla="*/ 2 w 2226"/>
                <a:gd name="T39" fmla="*/ 63 h 1392"/>
                <a:gd name="T40" fmla="*/ 9 w 2226"/>
                <a:gd name="T41" fmla="*/ 60 h 1392"/>
                <a:gd name="T42" fmla="*/ 17 w 2226"/>
                <a:gd name="T43" fmla="*/ 59 h 1392"/>
                <a:gd name="T44" fmla="*/ 22 w 2226"/>
                <a:gd name="T45" fmla="*/ 51 h 1392"/>
                <a:gd name="T46" fmla="*/ 23 w 2226"/>
                <a:gd name="T47" fmla="*/ 43 h 1392"/>
                <a:gd name="T48" fmla="*/ 27 w 2226"/>
                <a:gd name="T49" fmla="*/ 34 h 1392"/>
                <a:gd name="T50" fmla="*/ 30 w 2226"/>
                <a:gd name="T51" fmla="*/ 27 h 1392"/>
                <a:gd name="T52" fmla="*/ 33 w 2226"/>
                <a:gd name="T53" fmla="*/ 22 h 1392"/>
                <a:gd name="T54" fmla="*/ 42 w 2226"/>
                <a:gd name="T55" fmla="*/ 17 h 1392"/>
                <a:gd name="T56" fmla="*/ 47 w 2226"/>
                <a:gd name="T57" fmla="*/ 14 h 1392"/>
                <a:gd name="T58" fmla="*/ 49 w 2226"/>
                <a:gd name="T59" fmla="*/ 5 h 1392"/>
                <a:gd name="T60" fmla="*/ 53 w 2226"/>
                <a:gd name="T61" fmla="*/ 0 h 1392"/>
                <a:gd name="T62" fmla="*/ 55 w 2226"/>
                <a:gd name="T63" fmla="*/ 4 h 1392"/>
                <a:gd name="T64" fmla="*/ 59 w 2226"/>
                <a:gd name="T65" fmla="*/ 7 h 1392"/>
                <a:gd name="T66" fmla="*/ 63 w 2226"/>
                <a:gd name="T67" fmla="*/ 7 h 1392"/>
                <a:gd name="T68" fmla="*/ 66 w 2226"/>
                <a:gd name="T69" fmla="*/ 9 h 1392"/>
                <a:gd name="T70" fmla="*/ 67 w 2226"/>
                <a:gd name="T71" fmla="*/ 12 h 1392"/>
                <a:gd name="T72" fmla="*/ 67 w 2226"/>
                <a:gd name="T73" fmla="*/ 13 h 1392"/>
                <a:gd name="T74" fmla="*/ 70 w 2226"/>
                <a:gd name="T75" fmla="*/ 15 h 1392"/>
                <a:gd name="T76" fmla="*/ 74 w 2226"/>
                <a:gd name="T77" fmla="*/ 17 h 1392"/>
                <a:gd name="T78" fmla="*/ 78 w 2226"/>
                <a:gd name="T79" fmla="*/ 18 h 1392"/>
                <a:gd name="T80" fmla="*/ 97 w 2226"/>
                <a:gd name="T81" fmla="*/ 40 h 1392"/>
                <a:gd name="T82" fmla="*/ 102 w 2226"/>
                <a:gd name="T83" fmla="*/ 44 h 1392"/>
                <a:gd name="T84" fmla="*/ 110 w 2226"/>
                <a:gd name="T85" fmla="*/ 49 h 1392"/>
                <a:gd name="T86" fmla="*/ 113 w 2226"/>
                <a:gd name="T87" fmla="*/ 53 h 1392"/>
                <a:gd name="T88" fmla="*/ 118 w 2226"/>
                <a:gd name="T89" fmla="*/ 57 h 1392"/>
                <a:gd name="T90" fmla="*/ 124 w 2226"/>
                <a:gd name="T91" fmla="*/ 54 h 1392"/>
                <a:gd name="T92" fmla="*/ 133 w 2226"/>
                <a:gd name="T93" fmla="*/ 58 h 1392"/>
                <a:gd name="T94" fmla="*/ 137 w 2226"/>
                <a:gd name="T95" fmla="*/ 64 h 1392"/>
                <a:gd name="T96" fmla="*/ 145 w 2226"/>
                <a:gd name="T97" fmla="*/ 65 h 1392"/>
                <a:gd name="T98" fmla="*/ 152 w 2226"/>
                <a:gd name="T99" fmla="*/ 67 h 1392"/>
                <a:gd name="T100" fmla="*/ 161 w 2226"/>
                <a:gd name="T101" fmla="*/ 72 h 1392"/>
                <a:gd name="T102" fmla="*/ 168 w 2226"/>
                <a:gd name="T103" fmla="*/ 76 h 1392"/>
                <a:gd name="T104" fmla="*/ 177 w 2226"/>
                <a:gd name="T105" fmla="*/ 78 h 1392"/>
                <a:gd name="T106" fmla="*/ 184 w 2226"/>
                <a:gd name="T107" fmla="*/ 78 h 1392"/>
                <a:gd name="T108" fmla="*/ 190 w 2226"/>
                <a:gd name="T109" fmla="*/ 81 h 1392"/>
                <a:gd name="T110" fmla="*/ 192 w 2226"/>
                <a:gd name="T111" fmla="*/ 86 h 1392"/>
                <a:gd name="T112" fmla="*/ 187 w 2226"/>
                <a:gd name="T113" fmla="*/ 99 h 1392"/>
                <a:gd name="T114" fmla="*/ 165 w 2226"/>
                <a:gd name="T115" fmla="*/ 97 h 1392"/>
                <a:gd name="T116" fmla="*/ 155 w 2226"/>
                <a:gd name="T117" fmla="*/ 92 h 1392"/>
                <a:gd name="T118" fmla="*/ 146 w 2226"/>
                <a:gd name="T119" fmla="*/ 102 h 1392"/>
                <a:gd name="T120" fmla="*/ 149 w 2226"/>
                <a:gd name="T121" fmla="*/ 106 h 1392"/>
                <a:gd name="T122" fmla="*/ 151 w 2226"/>
                <a:gd name="T123" fmla="*/ 108 h 1392"/>
                <a:gd name="T124" fmla="*/ 157 w 2226"/>
                <a:gd name="T125" fmla="*/ 113 h 13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1392"/>
                <a:gd name="T191" fmla="*/ 2226 w 2226"/>
                <a:gd name="T192" fmla="*/ 1392 h 13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1392">
                  <a:moveTo>
                    <a:pt x="1782" y="1326"/>
                  </a:moveTo>
                  <a:lnTo>
                    <a:pt x="1776" y="1332"/>
                  </a:lnTo>
                  <a:lnTo>
                    <a:pt x="1692" y="1338"/>
                  </a:lnTo>
                  <a:lnTo>
                    <a:pt x="1680" y="1386"/>
                  </a:lnTo>
                  <a:lnTo>
                    <a:pt x="1674" y="1392"/>
                  </a:lnTo>
                  <a:lnTo>
                    <a:pt x="1638" y="1392"/>
                  </a:lnTo>
                  <a:lnTo>
                    <a:pt x="1620" y="1392"/>
                  </a:lnTo>
                  <a:lnTo>
                    <a:pt x="1614" y="1392"/>
                  </a:lnTo>
                  <a:lnTo>
                    <a:pt x="1608" y="1386"/>
                  </a:lnTo>
                  <a:lnTo>
                    <a:pt x="1584" y="1386"/>
                  </a:lnTo>
                  <a:lnTo>
                    <a:pt x="1578" y="1386"/>
                  </a:lnTo>
                  <a:lnTo>
                    <a:pt x="1572" y="1380"/>
                  </a:lnTo>
                  <a:lnTo>
                    <a:pt x="1578" y="1356"/>
                  </a:lnTo>
                  <a:lnTo>
                    <a:pt x="1572" y="1356"/>
                  </a:lnTo>
                  <a:lnTo>
                    <a:pt x="1560" y="1350"/>
                  </a:lnTo>
                  <a:lnTo>
                    <a:pt x="1554" y="1350"/>
                  </a:lnTo>
                  <a:lnTo>
                    <a:pt x="1542" y="1350"/>
                  </a:lnTo>
                  <a:lnTo>
                    <a:pt x="1530" y="1350"/>
                  </a:lnTo>
                  <a:lnTo>
                    <a:pt x="1524" y="1356"/>
                  </a:lnTo>
                  <a:lnTo>
                    <a:pt x="1524" y="1362"/>
                  </a:lnTo>
                  <a:lnTo>
                    <a:pt x="1512" y="1374"/>
                  </a:lnTo>
                  <a:lnTo>
                    <a:pt x="1506" y="1374"/>
                  </a:lnTo>
                  <a:lnTo>
                    <a:pt x="1500" y="1368"/>
                  </a:lnTo>
                  <a:lnTo>
                    <a:pt x="1500" y="1362"/>
                  </a:lnTo>
                  <a:lnTo>
                    <a:pt x="1488" y="1362"/>
                  </a:lnTo>
                  <a:lnTo>
                    <a:pt x="1482" y="1356"/>
                  </a:lnTo>
                  <a:lnTo>
                    <a:pt x="1482" y="1350"/>
                  </a:lnTo>
                  <a:lnTo>
                    <a:pt x="1476" y="1350"/>
                  </a:lnTo>
                  <a:lnTo>
                    <a:pt x="1470" y="1344"/>
                  </a:lnTo>
                  <a:lnTo>
                    <a:pt x="1464" y="1344"/>
                  </a:lnTo>
                  <a:lnTo>
                    <a:pt x="1452" y="1350"/>
                  </a:lnTo>
                  <a:lnTo>
                    <a:pt x="1452" y="1356"/>
                  </a:lnTo>
                  <a:lnTo>
                    <a:pt x="1440" y="1356"/>
                  </a:lnTo>
                  <a:lnTo>
                    <a:pt x="1434" y="1344"/>
                  </a:lnTo>
                  <a:lnTo>
                    <a:pt x="1422" y="1332"/>
                  </a:lnTo>
                  <a:lnTo>
                    <a:pt x="1416" y="1326"/>
                  </a:lnTo>
                  <a:lnTo>
                    <a:pt x="1404" y="1320"/>
                  </a:lnTo>
                  <a:lnTo>
                    <a:pt x="1404" y="1314"/>
                  </a:lnTo>
                  <a:lnTo>
                    <a:pt x="1374" y="1308"/>
                  </a:lnTo>
                  <a:lnTo>
                    <a:pt x="1368" y="1326"/>
                  </a:lnTo>
                  <a:lnTo>
                    <a:pt x="1344" y="1338"/>
                  </a:lnTo>
                  <a:lnTo>
                    <a:pt x="1326" y="1332"/>
                  </a:lnTo>
                  <a:lnTo>
                    <a:pt x="1302" y="1332"/>
                  </a:lnTo>
                  <a:lnTo>
                    <a:pt x="1278" y="1338"/>
                  </a:lnTo>
                  <a:lnTo>
                    <a:pt x="1236" y="1338"/>
                  </a:lnTo>
                  <a:lnTo>
                    <a:pt x="1224" y="1338"/>
                  </a:lnTo>
                  <a:lnTo>
                    <a:pt x="1224" y="1326"/>
                  </a:lnTo>
                  <a:lnTo>
                    <a:pt x="1206" y="1326"/>
                  </a:lnTo>
                  <a:lnTo>
                    <a:pt x="1170" y="1326"/>
                  </a:lnTo>
                  <a:lnTo>
                    <a:pt x="1152" y="1326"/>
                  </a:lnTo>
                  <a:lnTo>
                    <a:pt x="1140" y="1314"/>
                  </a:lnTo>
                  <a:lnTo>
                    <a:pt x="1134" y="1296"/>
                  </a:lnTo>
                  <a:lnTo>
                    <a:pt x="1134" y="1284"/>
                  </a:lnTo>
                  <a:lnTo>
                    <a:pt x="1128" y="1254"/>
                  </a:lnTo>
                  <a:lnTo>
                    <a:pt x="1128" y="1242"/>
                  </a:lnTo>
                  <a:lnTo>
                    <a:pt x="1122" y="1230"/>
                  </a:lnTo>
                  <a:lnTo>
                    <a:pt x="1104" y="1218"/>
                  </a:lnTo>
                  <a:lnTo>
                    <a:pt x="1104" y="1212"/>
                  </a:lnTo>
                  <a:lnTo>
                    <a:pt x="1092" y="1206"/>
                  </a:lnTo>
                  <a:lnTo>
                    <a:pt x="1080" y="1194"/>
                  </a:lnTo>
                  <a:lnTo>
                    <a:pt x="1068" y="1176"/>
                  </a:lnTo>
                  <a:lnTo>
                    <a:pt x="1050" y="1152"/>
                  </a:lnTo>
                  <a:lnTo>
                    <a:pt x="1020" y="1098"/>
                  </a:lnTo>
                  <a:lnTo>
                    <a:pt x="978" y="1026"/>
                  </a:lnTo>
                  <a:lnTo>
                    <a:pt x="978" y="1014"/>
                  </a:lnTo>
                  <a:lnTo>
                    <a:pt x="972" y="1014"/>
                  </a:lnTo>
                  <a:lnTo>
                    <a:pt x="972" y="1008"/>
                  </a:lnTo>
                  <a:lnTo>
                    <a:pt x="978" y="1002"/>
                  </a:lnTo>
                  <a:lnTo>
                    <a:pt x="960" y="966"/>
                  </a:lnTo>
                  <a:lnTo>
                    <a:pt x="948" y="954"/>
                  </a:lnTo>
                  <a:lnTo>
                    <a:pt x="948" y="936"/>
                  </a:lnTo>
                  <a:lnTo>
                    <a:pt x="936" y="900"/>
                  </a:lnTo>
                  <a:lnTo>
                    <a:pt x="942" y="876"/>
                  </a:lnTo>
                  <a:lnTo>
                    <a:pt x="942" y="834"/>
                  </a:lnTo>
                  <a:lnTo>
                    <a:pt x="960" y="828"/>
                  </a:lnTo>
                  <a:lnTo>
                    <a:pt x="966" y="816"/>
                  </a:lnTo>
                  <a:lnTo>
                    <a:pt x="972" y="810"/>
                  </a:lnTo>
                  <a:lnTo>
                    <a:pt x="978" y="804"/>
                  </a:lnTo>
                  <a:lnTo>
                    <a:pt x="996" y="798"/>
                  </a:lnTo>
                  <a:lnTo>
                    <a:pt x="996" y="792"/>
                  </a:lnTo>
                  <a:lnTo>
                    <a:pt x="1014" y="780"/>
                  </a:lnTo>
                  <a:lnTo>
                    <a:pt x="1026" y="768"/>
                  </a:lnTo>
                  <a:lnTo>
                    <a:pt x="1032" y="762"/>
                  </a:lnTo>
                  <a:lnTo>
                    <a:pt x="1026" y="756"/>
                  </a:lnTo>
                  <a:lnTo>
                    <a:pt x="1014" y="744"/>
                  </a:lnTo>
                  <a:lnTo>
                    <a:pt x="996" y="756"/>
                  </a:lnTo>
                  <a:lnTo>
                    <a:pt x="954" y="768"/>
                  </a:lnTo>
                  <a:lnTo>
                    <a:pt x="942" y="762"/>
                  </a:lnTo>
                  <a:lnTo>
                    <a:pt x="942" y="756"/>
                  </a:lnTo>
                  <a:lnTo>
                    <a:pt x="936" y="750"/>
                  </a:lnTo>
                  <a:lnTo>
                    <a:pt x="846" y="732"/>
                  </a:lnTo>
                  <a:lnTo>
                    <a:pt x="822" y="726"/>
                  </a:lnTo>
                  <a:lnTo>
                    <a:pt x="810" y="714"/>
                  </a:lnTo>
                  <a:lnTo>
                    <a:pt x="792" y="690"/>
                  </a:lnTo>
                  <a:lnTo>
                    <a:pt x="792" y="678"/>
                  </a:lnTo>
                  <a:lnTo>
                    <a:pt x="762" y="642"/>
                  </a:lnTo>
                  <a:lnTo>
                    <a:pt x="750" y="636"/>
                  </a:lnTo>
                  <a:lnTo>
                    <a:pt x="726" y="630"/>
                  </a:lnTo>
                  <a:lnTo>
                    <a:pt x="696" y="642"/>
                  </a:lnTo>
                  <a:lnTo>
                    <a:pt x="678" y="654"/>
                  </a:lnTo>
                  <a:lnTo>
                    <a:pt x="666" y="684"/>
                  </a:lnTo>
                  <a:lnTo>
                    <a:pt x="660" y="726"/>
                  </a:lnTo>
                  <a:lnTo>
                    <a:pt x="606" y="756"/>
                  </a:lnTo>
                  <a:lnTo>
                    <a:pt x="558" y="780"/>
                  </a:lnTo>
                  <a:lnTo>
                    <a:pt x="438" y="834"/>
                  </a:lnTo>
                  <a:lnTo>
                    <a:pt x="402" y="846"/>
                  </a:lnTo>
                  <a:lnTo>
                    <a:pt x="372" y="870"/>
                  </a:lnTo>
                  <a:lnTo>
                    <a:pt x="360" y="876"/>
                  </a:lnTo>
                  <a:lnTo>
                    <a:pt x="354" y="876"/>
                  </a:lnTo>
                  <a:lnTo>
                    <a:pt x="330" y="882"/>
                  </a:lnTo>
                  <a:lnTo>
                    <a:pt x="306" y="882"/>
                  </a:lnTo>
                  <a:lnTo>
                    <a:pt x="300" y="876"/>
                  </a:lnTo>
                  <a:lnTo>
                    <a:pt x="294" y="876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76" y="864"/>
                  </a:lnTo>
                  <a:lnTo>
                    <a:pt x="270" y="870"/>
                  </a:lnTo>
                  <a:lnTo>
                    <a:pt x="264" y="870"/>
                  </a:lnTo>
                  <a:lnTo>
                    <a:pt x="240" y="894"/>
                  </a:lnTo>
                  <a:lnTo>
                    <a:pt x="234" y="894"/>
                  </a:lnTo>
                  <a:lnTo>
                    <a:pt x="228" y="900"/>
                  </a:lnTo>
                  <a:lnTo>
                    <a:pt x="222" y="906"/>
                  </a:lnTo>
                  <a:lnTo>
                    <a:pt x="210" y="912"/>
                  </a:lnTo>
                  <a:lnTo>
                    <a:pt x="204" y="912"/>
                  </a:lnTo>
                  <a:lnTo>
                    <a:pt x="198" y="912"/>
                  </a:lnTo>
                  <a:lnTo>
                    <a:pt x="192" y="918"/>
                  </a:lnTo>
                  <a:lnTo>
                    <a:pt x="180" y="918"/>
                  </a:lnTo>
                  <a:lnTo>
                    <a:pt x="174" y="930"/>
                  </a:lnTo>
                  <a:lnTo>
                    <a:pt x="174" y="936"/>
                  </a:lnTo>
                  <a:lnTo>
                    <a:pt x="168" y="942"/>
                  </a:lnTo>
                  <a:lnTo>
                    <a:pt x="162" y="942"/>
                  </a:lnTo>
                  <a:lnTo>
                    <a:pt x="150" y="960"/>
                  </a:lnTo>
                  <a:lnTo>
                    <a:pt x="144" y="966"/>
                  </a:lnTo>
                  <a:lnTo>
                    <a:pt x="138" y="972"/>
                  </a:lnTo>
                  <a:lnTo>
                    <a:pt x="132" y="972"/>
                  </a:lnTo>
                  <a:lnTo>
                    <a:pt x="126" y="984"/>
                  </a:lnTo>
                  <a:lnTo>
                    <a:pt x="120" y="984"/>
                  </a:lnTo>
                  <a:lnTo>
                    <a:pt x="114" y="990"/>
                  </a:lnTo>
                  <a:lnTo>
                    <a:pt x="96" y="990"/>
                  </a:lnTo>
                  <a:lnTo>
                    <a:pt x="90" y="990"/>
                  </a:lnTo>
                  <a:lnTo>
                    <a:pt x="78" y="990"/>
                  </a:lnTo>
                  <a:lnTo>
                    <a:pt x="72" y="990"/>
                  </a:lnTo>
                  <a:lnTo>
                    <a:pt x="60" y="990"/>
                  </a:lnTo>
                  <a:lnTo>
                    <a:pt x="42" y="990"/>
                  </a:lnTo>
                  <a:lnTo>
                    <a:pt x="36" y="996"/>
                  </a:lnTo>
                  <a:lnTo>
                    <a:pt x="30" y="1002"/>
                  </a:lnTo>
                  <a:lnTo>
                    <a:pt x="24" y="1014"/>
                  </a:lnTo>
                  <a:lnTo>
                    <a:pt x="24" y="1020"/>
                  </a:lnTo>
                  <a:lnTo>
                    <a:pt x="18" y="1020"/>
                  </a:lnTo>
                  <a:lnTo>
                    <a:pt x="12" y="1014"/>
                  </a:lnTo>
                  <a:lnTo>
                    <a:pt x="12" y="1008"/>
                  </a:lnTo>
                  <a:lnTo>
                    <a:pt x="12" y="990"/>
                  </a:lnTo>
                  <a:lnTo>
                    <a:pt x="12" y="984"/>
                  </a:lnTo>
                  <a:lnTo>
                    <a:pt x="12" y="972"/>
                  </a:lnTo>
                  <a:lnTo>
                    <a:pt x="12" y="966"/>
                  </a:lnTo>
                  <a:lnTo>
                    <a:pt x="6" y="966"/>
                  </a:lnTo>
                  <a:lnTo>
                    <a:pt x="6" y="960"/>
                  </a:lnTo>
                  <a:lnTo>
                    <a:pt x="6" y="954"/>
                  </a:lnTo>
                  <a:lnTo>
                    <a:pt x="6" y="948"/>
                  </a:lnTo>
                  <a:lnTo>
                    <a:pt x="6" y="942"/>
                  </a:lnTo>
                  <a:lnTo>
                    <a:pt x="12" y="930"/>
                  </a:lnTo>
                  <a:lnTo>
                    <a:pt x="6" y="924"/>
                  </a:lnTo>
                  <a:lnTo>
                    <a:pt x="6" y="918"/>
                  </a:lnTo>
                  <a:lnTo>
                    <a:pt x="6" y="912"/>
                  </a:lnTo>
                  <a:lnTo>
                    <a:pt x="6" y="906"/>
                  </a:lnTo>
                  <a:lnTo>
                    <a:pt x="6" y="900"/>
                  </a:lnTo>
                  <a:lnTo>
                    <a:pt x="0" y="894"/>
                  </a:lnTo>
                  <a:lnTo>
                    <a:pt x="0" y="888"/>
                  </a:lnTo>
                  <a:lnTo>
                    <a:pt x="0" y="882"/>
                  </a:lnTo>
                  <a:lnTo>
                    <a:pt x="6" y="876"/>
                  </a:lnTo>
                  <a:lnTo>
                    <a:pt x="6" y="870"/>
                  </a:lnTo>
                  <a:lnTo>
                    <a:pt x="18" y="864"/>
                  </a:lnTo>
                  <a:lnTo>
                    <a:pt x="18" y="858"/>
                  </a:lnTo>
                  <a:lnTo>
                    <a:pt x="18" y="846"/>
                  </a:lnTo>
                  <a:lnTo>
                    <a:pt x="18" y="834"/>
                  </a:lnTo>
                  <a:lnTo>
                    <a:pt x="18" y="828"/>
                  </a:lnTo>
                  <a:lnTo>
                    <a:pt x="24" y="828"/>
                  </a:lnTo>
                  <a:lnTo>
                    <a:pt x="24" y="810"/>
                  </a:lnTo>
                  <a:lnTo>
                    <a:pt x="24" y="804"/>
                  </a:lnTo>
                  <a:lnTo>
                    <a:pt x="18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24" y="792"/>
                  </a:lnTo>
                  <a:lnTo>
                    <a:pt x="30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6" y="762"/>
                  </a:lnTo>
                  <a:lnTo>
                    <a:pt x="36" y="756"/>
                  </a:lnTo>
                  <a:lnTo>
                    <a:pt x="30" y="756"/>
                  </a:lnTo>
                  <a:lnTo>
                    <a:pt x="30" y="750"/>
                  </a:lnTo>
                  <a:lnTo>
                    <a:pt x="36" y="750"/>
                  </a:lnTo>
                  <a:lnTo>
                    <a:pt x="36" y="744"/>
                  </a:lnTo>
                  <a:lnTo>
                    <a:pt x="30" y="744"/>
                  </a:lnTo>
                  <a:lnTo>
                    <a:pt x="30" y="738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0" y="732"/>
                  </a:lnTo>
                  <a:lnTo>
                    <a:pt x="36" y="726"/>
                  </a:lnTo>
                  <a:lnTo>
                    <a:pt x="30" y="726"/>
                  </a:lnTo>
                  <a:lnTo>
                    <a:pt x="24" y="726"/>
                  </a:lnTo>
                  <a:lnTo>
                    <a:pt x="30" y="720"/>
                  </a:lnTo>
                  <a:lnTo>
                    <a:pt x="30" y="714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696"/>
                  </a:lnTo>
                  <a:lnTo>
                    <a:pt x="66" y="702"/>
                  </a:lnTo>
                  <a:lnTo>
                    <a:pt x="78" y="702"/>
                  </a:lnTo>
                  <a:lnTo>
                    <a:pt x="84" y="702"/>
                  </a:lnTo>
                  <a:lnTo>
                    <a:pt x="96" y="696"/>
                  </a:lnTo>
                  <a:lnTo>
                    <a:pt x="102" y="690"/>
                  </a:lnTo>
                  <a:lnTo>
                    <a:pt x="102" y="684"/>
                  </a:lnTo>
                  <a:lnTo>
                    <a:pt x="114" y="684"/>
                  </a:lnTo>
                  <a:lnTo>
                    <a:pt x="144" y="684"/>
                  </a:lnTo>
                  <a:lnTo>
                    <a:pt x="150" y="690"/>
                  </a:lnTo>
                  <a:lnTo>
                    <a:pt x="162" y="696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6" y="690"/>
                  </a:lnTo>
                  <a:lnTo>
                    <a:pt x="192" y="690"/>
                  </a:lnTo>
                  <a:lnTo>
                    <a:pt x="198" y="684"/>
                  </a:lnTo>
                  <a:lnTo>
                    <a:pt x="204" y="684"/>
                  </a:lnTo>
                  <a:lnTo>
                    <a:pt x="210" y="684"/>
                  </a:lnTo>
                  <a:lnTo>
                    <a:pt x="222" y="678"/>
                  </a:lnTo>
                  <a:lnTo>
                    <a:pt x="228" y="678"/>
                  </a:lnTo>
                  <a:lnTo>
                    <a:pt x="228" y="660"/>
                  </a:lnTo>
                  <a:lnTo>
                    <a:pt x="234" y="642"/>
                  </a:lnTo>
                  <a:lnTo>
                    <a:pt x="246" y="618"/>
                  </a:lnTo>
                  <a:lnTo>
                    <a:pt x="252" y="618"/>
                  </a:lnTo>
                  <a:lnTo>
                    <a:pt x="252" y="600"/>
                  </a:lnTo>
                  <a:lnTo>
                    <a:pt x="252" y="588"/>
                  </a:lnTo>
                  <a:lnTo>
                    <a:pt x="252" y="582"/>
                  </a:lnTo>
                  <a:lnTo>
                    <a:pt x="258" y="576"/>
                  </a:lnTo>
                  <a:lnTo>
                    <a:pt x="270" y="564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70" y="522"/>
                  </a:lnTo>
                  <a:lnTo>
                    <a:pt x="270" y="510"/>
                  </a:lnTo>
                  <a:lnTo>
                    <a:pt x="270" y="498"/>
                  </a:lnTo>
                  <a:lnTo>
                    <a:pt x="258" y="468"/>
                  </a:lnTo>
                  <a:lnTo>
                    <a:pt x="252" y="456"/>
                  </a:lnTo>
                  <a:lnTo>
                    <a:pt x="258" y="444"/>
                  </a:lnTo>
                  <a:lnTo>
                    <a:pt x="264" y="432"/>
                  </a:lnTo>
                  <a:lnTo>
                    <a:pt x="270" y="426"/>
                  </a:lnTo>
                  <a:lnTo>
                    <a:pt x="276" y="420"/>
                  </a:lnTo>
                  <a:lnTo>
                    <a:pt x="288" y="420"/>
                  </a:lnTo>
                  <a:lnTo>
                    <a:pt x="288" y="414"/>
                  </a:lnTo>
                  <a:lnTo>
                    <a:pt x="294" y="414"/>
                  </a:lnTo>
                  <a:lnTo>
                    <a:pt x="306" y="390"/>
                  </a:lnTo>
                  <a:lnTo>
                    <a:pt x="312" y="384"/>
                  </a:lnTo>
                  <a:lnTo>
                    <a:pt x="318" y="378"/>
                  </a:lnTo>
                  <a:lnTo>
                    <a:pt x="318" y="372"/>
                  </a:lnTo>
                  <a:lnTo>
                    <a:pt x="324" y="366"/>
                  </a:lnTo>
                  <a:lnTo>
                    <a:pt x="330" y="354"/>
                  </a:lnTo>
                  <a:lnTo>
                    <a:pt x="336" y="348"/>
                  </a:lnTo>
                  <a:lnTo>
                    <a:pt x="336" y="330"/>
                  </a:lnTo>
                  <a:lnTo>
                    <a:pt x="342" y="324"/>
                  </a:lnTo>
                  <a:lnTo>
                    <a:pt x="342" y="318"/>
                  </a:lnTo>
                  <a:lnTo>
                    <a:pt x="348" y="318"/>
                  </a:lnTo>
                  <a:lnTo>
                    <a:pt x="360" y="318"/>
                  </a:lnTo>
                  <a:lnTo>
                    <a:pt x="372" y="318"/>
                  </a:lnTo>
                  <a:lnTo>
                    <a:pt x="384" y="306"/>
                  </a:lnTo>
                  <a:lnTo>
                    <a:pt x="396" y="300"/>
                  </a:lnTo>
                  <a:lnTo>
                    <a:pt x="396" y="294"/>
                  </a:lnTo>
                  <a:lnTo>
                    <a:pt x="396" y="288"/>
                  </a:lnTo>
                  <a:lnTo>
                    <a:pt x="390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2"/>
                  </a:lnTo>
                  <a:lnTo>
                    <a:pt x="378" y="246"/>
                  </a:lnTo>
                  <a:lnTo>
                    <a:pt x="384" y="228"/>
                  </a:lnTo>
                  <a:lnTo>
                    <a:pt x="390" y="216"/>
                  </a:lnTo>
                  <a:lnTo>
                    <a:pt x="402" y="210"/>
                  </a:lnTo>
                  <a:lnTo>
                    <a:pt x="408" y="210"/>
                  </a:lnTo>
                  <a:lnTo>
                    <a:pt x="420" y="204"/>
                  </a:lnTo>
                  <a:lnTo>
                    <a:pt x="444" y="198"/>
                  </a:lnTo>
                  <a:lnTo>
                    <a:pt x="462" y="192"/>
                  </a:lnTo>
                  <a:lnTo>
                    <a:pt x="474" y="186"/>
                  </a:lnTo>
                  <a:lnTo>
                    <a:pt x="480" y="192"/>
                  </a:lnTo>
                  <a:lnTo>
                    <a:pt x="492" y="192"/>
                  </a:lnTo>
                  <a:lnTo>
                    <a:pt x="498" y="192"/>
                  </a:lnTo>
                  <a:lnTo>
                    <a:pt x="504" y="192"/>
                  </a:lnTo>
                  <a:lnTo>
                    <a:pt x="510" y="192"/>
                  </a:lnTo>
                  <a:lnTo>
                    <a:pt x="516" y="186"/>
                  </a:lnTo>
                  <a:lnTo>
                    <a:pt x="522" y="180"/>
                  </a:lnTo>
                  <a:lnTo>
                    <a:pt x="522" y="174"/>
                  </a:lnTo>
                  <a:lnTo>
                    <a:pt x="528" y="168"/>
                  </a:lnTo>
                  <a:lnTo>
                    <a:pt x="534" y="168"/>
                  </a:lnTo>
                  <a:lnTo>
                    <a:pt x="534" y="156"/>
                  </a:lnTo>
                  <a:lnTo>
                    <a:pt x="534" y="150"/>
                  </a:lnTo>
                  <a:lnTo>
                    <a:pt x="552" y="138"/>
                  </a:lnTo>
                  <a:lnTo>
                    <a:pt x="558" y="126"/>
                  </a:lnTo>
                  <a:lnTo>
                    <a:pt x="558" y="114"/>
                  </a:lnTo>
                  <a:lnTo>
                    <a:pt x="564" y="102"/>
                  </a:lnTo>
                  <a:lnTo>
                    <a:pt x="564" y="96"/>
                  </a:lnTo>
                  <a:lnTo>
                    <a:pt x="564" y="90"/>
                  </a:lnTo>
                  <a:lnTo>
                    <a:pt x="564" y="72"/>
                  </a:lnTo>
                  <a:lnTo>
                    <a:pt x="564" y="60"/>
                  </a:lnTo>
                  <a:lnTo>
                    <a:pt x="564" y="54"/>
                  </a:lnTo>
                  <a:lnTo>
                    <a:pt x="570" y="42"/>
                  </a:lnTo>
                  <a:lnTo>
                    <a:pt x="576" y="42"/>
                  </a:lnTo>
                  <a:lnTo>
                    <a:pt x="582" y="36"/>
                  </a:lnTo>
                  <a:lnTo>
                    <a:pt x="594" y="36"/>
                  </a:lnTo>
                  <a:lnTo>
                    <a:pt x="594" y="30"/>
                  </a:lnTo>
                  <a:lnTo>
                    <a:pt x="600" y="24"/>
                  </a:lnTo>
                  <a:lnTo>
                    <a:pt x="600" y="12"/>
                  </a:lnTo>
                  <a:lnTo>
                    <a:pt x="606" y="6"/>
                  </a:lnTo>
                  <a:lnTo>
                    <a:pt x="606" y="0"/>
                  </a:lnTo>
                  <a:lnTo>
                    <a:pt x="612" y="0"/>
                  </a:lnTo>
                  <a:lnTo>
                    <a:pt x="618" y="0"/>
                  </a:lnTo>
                  <a:lnTo>
                    <a:pt x="624" y="6"/>
                  </a:lnTo>
                  <a:lnTo>
                    <a:pt x="624" y="12"/>
                  </a:lnTo>
                  <a:lnTo>
                    <a:pt x="624" y="18"/>
                  </a:lnTo>
                  <a:lnTo>
                    <a:pt x="624" y="24"/>
                  </a:lnTo>
                  <a:lnTo>
                    <a:pt x="624" y="30"/>
                  </a:lnTo>
                  <a:lnTo>
                    <a:pt x="630" y="30"/>
                  </a:lnTo>
                  <a:lnTo>
                    <a:pt x="630" y="36"/>
                  </a:lnTo>
                  <a:lnTo>
                    <a:pt x="630" y="42"/>
                  </a:lnTo>
                  <a:lnTo>
                    <a:pt x="630" y="48"/>
                  </a:lnTo>
                  <a:lnTo>
                    <a:pt x="636" y="54"/>
                  </a:lnTo>
                  <a:lnTo>
                    <a:pt x="642" y="48"/>
                  </a:lnTo>
                  <a:lnTo>
                    <a:pt x="648" y="48"/>
                  </a:lnTo>
                  <a:lnTo>
                    <a:pt x="648" y="60"/>
                  </a:lnTo>
                  <a:lnTo>
                    <a:pt x="654" y="66"/>
                  </a:lnTo>
                  <a:lnTo>
                    <a:pt x="660" y="72"/>
                  </a:lnTo>
                  <a:lnTo>
                    <a:pt x="666" y="72"/>
                  </a:lnTo>
                  <a:lnTo>
                    <a:pt x="666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72" y="66"/>
                  </a:lnTo>
                  <a:lnTo>
                    <a:pt x="678" y="66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6" y="66"/>
                  </a:lnTo>
                  <a:lnTo>
                    <a:pt x="696" y="72"/>
                  </a:lnTo>
                  <a:lnTo>
                    <a:pt x="702" y="72"/>
                  </a:lnTo>
                  <a:lnTo>
                    <a:pt x="708" y="72"/>
                  </a:lnTo>
                  <a:lnTo>
                    <a:pt x="720" y="66"/>
                  </a:lnTo>
                  <a:lnTo>
                    <a:pt x="726" y="78"/>
                  </a:lnTo>
                  <a:lnTo>
                    <a:pt x="744" y="84"/>
                  </a:lnTo>
                  <a:lnTo>
                    <a:pt x="744" y="90"/>
                  </a:lnTo>
                  <a:lnTo>
                    <a:pt x="744" y="96"/>
                  </a:lnTo>
                  <a:lnTo>
                    <a:pt x="738" y="96"/>
                  </a:lnTo>
                  <a:lnTo>
                    <a:pt x="738" y="102"/>
                  </a:lnTo>
                  <a:lnTo>
                    <a:pt x="732" y="102"/>
                  </a:lnTo>
                  <a:lnTo>
                    <a:pt x="732" y="108"/>
                  </a:lnTo>
                  <a:lnTo>
                    <a:pt x="738" y="108"/>
                  </a:lnTo>
                  <a:lnTo>
                    <a:pt x="744" y="114"/>
                  </a:lnTo>
                  <a:lnTo>
                    <a:pt x="750" y="108"/>
                  </a:lnTo>
                  <a:lnTo>
                    <a:pt x="756" y="108"/>
                  </a:lnTo>
                  <a:lnTo>
                    <a:pt x="762" y="108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80" y="120"/>
                  </a:lnTo>
                  <a:lnTo>
                    <a:pt x="774" y="120"/>
                  </a:lnTo>
                  <a:lnTo>
                    <a:pt x="768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74" y="138"/>
                  </a:lnTo>
                  <a:lnTo>
                    <a:pt x="774" y="132"/>
                  </a:lnTo>
                  <a:lnTo>
                    <a:pt x="780" y="132"/>
                  </a:lnTo>
                  <a:lnTo>
                    <a:pt x="786" y="132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44"/>
                  </a:lnTo>
                  <a:lnTo>
                    <a:pt x="786" y="150"/>
                  </a:lnTo>
                  <a:lnTo>
                    <a:pt x="780" y="150"/>
                  </a:lnTo>
                  <a:lnTo>
                    <a:pt x="774" y="150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74" y="162"/>
                  </a:lnTo>
                  <a:lnTo>
                    <a:pt x="780" y="162"/>
                  </a:lnTo>
                  <a:lnTo>
                    <a:pt x="786" y="168"/>
                  </a:lnTo>
                  <a:lnTo>
                    <a:pt x="792" y="162"/>
                  </a:lnTo>
                  <a:lnTo>
                    <a:pt x="798" y="168"/>
                  </a:lnTo>
                  <a:lnTo>
                    <a:pt x="798" y="174"/>
                  </a:lnTo>
                  <a:lnTo>
                    <a:pt x="804" y="168"/>
                  </a:lnTo>
                  <a:lnTo>
                    <a:pt x="810" y="168"/>
                  </a:lnTo>
                  <a:lnTo>
                    <a:pt x="810" y="174"/>
                  </a:lnTo>
                  <a:lnTo>
                    <a:pt x="816" y="168"/>
                  </a:lnTo>
                  <a:lnTo>
                    <a:pt x="822" y="162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74"/>
                  </a:lnTo>
                  <a:lnTo>
                    <a:pt x="834" y="192"/>
                  </a:lnTo>
                  <a:lnTo>
                    <a:pt x="834" y="198"/>
                  </a:lnTo>
                  <a:lnTo>
                    <a:pt x="840" y="192"/>
                  </a:lnTo>
                  <a:lnTo>
                    <a:pt x="846" y="192"/>
                  </a:lnTo>
                  <a:lnTo>
                    <a:pt x="852" y="186"/>
                  </a:lnTo>
                  <a:lnTo>
                    <a:pt x="858" y="192"/>
                  </a:lnTo>
                  <a:lnTo>
                    <a:pt x="864" y="192"/>
                  </a:lnTo>
                  <a:lnTo>
                    <a:pt x="870" y="198"/>
                  </a:lnTo>
                  <a:lnTo>
                    <a:pt x="876" y="180"/>
                  </a:lnTo>
                  <a:lnTo>
                    <a:pt x="882" y="180"/>
                  </a:lnTo>
                  <a:lnTo>
                    <a:pt x="888" y="180"/>
                  </a:lnTo>
                  <a:lnTo>
                    <a:pt x="894" y="186"/>
                  </a:lnTo>
                  <a:lnTo>
                    <a:pt x="888" y="198"/>
                  </a:lnTo>
                  <a:lnTo>
                    <a:pt x="894" y="204"/>
                  </a:lnTo>
                  <a:lnTo>
                    <a:pt x="906" y="210"/>
                  </a:lnTo>
                  <a:lnTo>
                    <a:pt x="918" y="246"/>
                  </a:lnTo>
                  <a:lnTo>
                    <a:pt x="930" y="258"/>
                  </a:lnTo>
                  <a:lnTo>
                    <a:pt x="942" y="282"/>
                  </a:lnTo>
                  <a:lnTo>
                    <a:pt x="966" y="288"/>
                  </a:lnTo>
                  <a:lnTo>
                    <a:pt x="972" y="300"/>
                  </a:lnTo>
                  <a:lnTo>
                    <a:pt x="972" y="318"/>
                  </a:lnTo>
                  <a:lnTo>
                    <a:pt x="996" y="336"/>
                  </a:lnTo>
                  <a:lnTo>
                    <a:pt x="1050" y="390"/>
                  </a:lnTo>
                  <a:lnTo>
                    <a:pt x="1116" y="462"/>
                  </a:lnTo>
                  <a:lnTo>
                    <a:pt x="1122" y="468"/>
                  </a:lnTo>
                  <a:lnTo>
                    <a:pt x="1128" y="474"/>
                  </a:lnTo>
                  <a:lnTo>
                    <a:pt x="1140" y="474"/>
                  </a:lnTo>
                  <a:lnTo>
                    <a:pt x="1152" y="486"/>
                  </a:lnTo>
                  <a:lnTo>
                    <a:pt x="1152" y="492"/>
                  </a:lnTo>
                  <a:lnTo>
                    <a:pt x="1158" y="492"/>
                  </a:lnTo>
                  <a:lnTo>
                    <a:pt x="1164" y="492"/>
                  </a:lnTo>
                  <a:lnTo>
                    <a:pt x="1170" y="504"/>
                  </a:lnTo>
                  <a:lnTo>
                    <a:pt x="1176" y="504"/>
                  </a:lnTo>
                  <a:lnTo>
                    <a:pt x="1176" y="510"/>
                  </a:lnTo>
                  <a:lnTo>
                    <a:pt x="1200" y="516"/>
                  </a:lnTo>
                  <a:lnTo>
                    <a:pt x="1200" y="522"/>
                  </a:lnTo>
                  <a:lnTo>
                    <a:pt x="1212" y="534"/>
                  </a:lnTo>
                  <a:lnTo>
                    <a:pt x="1218" y="540"/>
                  </a:lnTo>
                  <a:lnTo>
                    <a:pt x="1224" y="552"/>
                  </a:lnTo>
                  <a:lnTo>
                    <a:pt x="1230" y="552"/>
                  </a:lnTo>
                  <a:lnTo>
                    <a:pt x="1242" y="552"/>
                  </a:lnTo>
                  <a:lnTo>
                    <a:pt x="1248" y="558"/>
                  </a:lnTo>
                  <a:lnTo>
                    <a:pt x="1254" y="558"/>
                  </a:lnTo>
                  <a:lnTo>
                    <a:pt x="1260" y="564"/>
                  </a:lnTo>
                  <a:lnTo>
                    <a:pt x="1266" y="564"/>
                  </a:lnTo>
                  <a:lnTo>
                    <a:pt x="1272" y="564"/>
                  </a:lnTo>
                  <a:lnTo>
                    <a:pt x="1284" y="564"/>
                  </a:lnTo>
                  <a:lnTo>
                    <a:pt x="1290" y="570"/>
                  </a:lnTo>
                  <a:lnTo>
                    <a:pt x="1296" y="576"/>
                  </a:lnTo>
                  <a:lnTo>
                    <a:pt x="1302" y="588"/>
                  </a:lnTo>
                  <a:lnTo>
                    <a:pt x="1296" y="594"/>
                  </a:lnTo>
                  <a:lnTo>
                    <a:pt x="1296" y="600"/>
                  </a:lnTo>
                  <a:lnTo>
                    <a:pt x="1296" y="606"/>
                  </a:lnTo>
                  <a:lnTo>
                    <a:pt x="1290" y="612"/>
                  </a:lnTo>
                  <a:lnTo>
                    <a:pt x="1290" y="624"/>
                  </a:lnTo>
                  <a:lnTo>
                    <a:pt x="1290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308" y="654"/>
                  </a:lnTo>
                  <a:lnTo>
                    <a:pt x="1320" y="654"/>
                  </a:lnTo>
                  <a:lnTo>
                    <a:pt x="1326" y="660"/>
                  </a:lnTo>
                  <a:lnTo>
                    <a:pt x="1338" y="654"/>
                  </a:lnTo>
                  <a:lnTo>
                    <a:pt x="1344" y="654"/>
                  </a:lnTo>
                  <a:lnTo>
                    <a:pt x="1356" y="654"/>
                  </a:lnTo>
                  <a:lnTo>
                    <a:pt x="1362" y="648"/>
                  </a:lnTo>
                  <a:lnTo>
                    <a:pt x="1368" y="642"/>
                  </a:lnTo>
                  <a:lnTo>
                    <a:pt x="1374" y="636"/>
                  </a:lnTo>
                  <a:lnTo>
                    <a:pt x="1380" y="636"/>
                  </a:lnTo>
                  <a:lnTo>
                    <a:pt x="1392" y="636"/>
                  </a:lnTo>
                  <a:lnTo>
                    <a:pt x="1398" y="636"/>
                  </a:lnTo>
                  <a:lnTo>
                    <a:pt x="1404" y="636"/>
                  </a:lnTo>
                  <a:lnTo>
                    <a:pt x="1410" y="630"/>
                  </a:lnTo>
                  <a:lnTo>
                    <a:pt x="1410" y="624"/>
                  </a:lnTo>
                  <a:lnTo>
                    <a:pt x="1422" y="618"/>
                  </a:lnTo>
                  <a:lnTo>
                    <a:pt x="1428" y="618"/>
                  </a:lnTo>
                  <a:lnTo>
                    <a:pt x="1440" y="612"/>
                  </a:lnTo>
                  <a:lnTo>
                    <a:pt x="1446" y="612"/>
                  </a:lnTo>
                  <a:lnTo>
                    <a:pt x="1458" y="612"/>
                  </a:lnTo>
                  <a:lnTo>
                    <a:pt x="1470" y="624"/>
                  </a:lnTo>
                  <a:lnTo>
                    <a:pt x="1488" y="642"/>
                  </a:lnTo>
                  <a:lnTo>
                    <a:pt x="1500" y="648"/>
                  </a:lnTo>
                  <a:lnTo>
                    <a:pt x="1512" y="654"/>
                  </a:lnTo>
                  <a:lnTo>
                    <a:pt x="1518" y="660"/>
                  </a:lnTo>
                  <a:lnTo>
                    <a:pt x="1524" y="660"/>
                  </a:lnTo>
                  <a:lnTo>
                    <a:pt x="1530" y="660"/>
                  </a:lnTo>
                  <a:lnTo>
                    <a:pt x="1536" y="666"/>
                  </a:lnTo>
                  <a:lnTo>
                    <a:pt x="1542" y="672"/>
                  </a:lnTo>
                  <a:lnTo>
                    <a:pt x="1548" y="672"/>
                  </a:lnTo>
                  <a:lnTo>
                    <a:pt x="1554" y="684"/>
                  </a:lnTo>
                  <a:lnTo>
                    <a:pt x="1554" y="690"/>
                  </a:lnTo>
                  <a:lnTo>
                    <a:pt x="1566" y="702"/>
                  </a:lnTo>
                  <a:lnTo>
                    <a:pt x="1572" y="720"/>
                  </a:lnTo>
                  <a:lnTo>
                    <a:pt x="1572" y="726"/>
                  </a:lnTo>
                  <a:lnTo>
                    <a:pt x="1578" y="732"/>
                  </a:lnTo>
                  <a:lnTo>
                    <a:pt x="1584" y="738"/>
                  </a:lnTo>
                  <a:lnTo>
                    <a:pt x="1590" y="738"/>
                  </a:lnTo>
                  <a:lnTo>
                    <a:pt x="1596" y="738"/>
                  </a:lnTo>
                  <a:lnTo>
                    <a:pt x="1602" y="744"/>
                  </a:lnTo>
                  <a:lnTo>
                    <a:pt x="1608" y="744"/>
                  </a:lnTo>
                  <a:lnTo>
                    <a:pt x="1614" y="744"/>
                  </a:lnTo>
                  <a:lnTo>
                    <a:pt x="1626" y="744"/>
                  </a:lnTo>
                  <a:lnTo>
                    <a:pt x="1638" y="744"/>
                  </a:lnTo>
                  <a:lnTo>
                    <a:pt x="1650" y="744"/>
                  </a:lnTo>
                  <a:lnTo>
                    <a:pt x="1662" y="744"/>
                  </a:lnTo>
                  <a:lnTo>
                    <a:pt x="1668" y="744"/>
                  </a:lnTo>
                  <a:lnTo>
                    <a:pt x="1674" y="744"/>
                  </a:lnTo>
                  <a:lnTo>
                    <a:pt x="1686" y="744"/>
                  </a:lnTo>
                  <a:lnTo>
                    <a:pt x="1698" y="750"/>
                  </a:lnTo>
                  <a:lnTo>
                    <a:pt x="1704" y="750"/>
                  </a:lnTo>
                  <a:lnTo>
                    <a:pt x="1716" y="756"/>
                  </a:lnTo>
                  <a:lnTo>
                    <a:pt x="1722" y="756"/>
                  </a:lnTo>
                  <a:lnTo>
                    <a:pt x="1728" y="756"/>
                  </a:lnTo>
                  <a:lnTo>
                    <a:pt x="1734" y="762"/>
                  </a:lnTo>
                  <a:lnTo>
                    <a:pt x="1740" y="768"/>
                  </a:lnTo>
                  <a:lnTo>
                    <a:pt x="1758" y="780"/>
                  </a:lnTo>
                  <a:lnTo>
                    <a:pt x="1770" y="780"/>
                  </a:lnTo>
                  <a:lnTo>
                    <a:pt x="1776" y="780"/>
                  </a:lnTo>
                  <a:lnTo>
                    <a:pt x="1782" y="780"/>
                  </a:lnTo>
                  <a:lnTo>
                    <a:pt x="1800" y="798"/>
                  </a:lnTo>
                  <a:lnTo>
                    <a:pt x="1818" y="810"/>
                  </a:lnTo>
                  <a:lnTo>
                    <a:pt x="1830" y="816"/>
                  </a:lnTo>
                  <a:lnTo>
                    <a:pt x="1836" y="822"/>
                  </a:lnTo>
                  <a:lnTo>
                    <a:pt x="1836" y="828"/>
                  </a:lnTo>
                  <a:lnTo>
                    <a:pt x="1842" y="828"/>
                  </a:lnTo>
                  <a:lnTo>
                    <a:pt x="1848" y="834"/>
                  </a:lnTo>
                  <a:lnTo>
                    <a:pt x="1854" y="840"/>
                  </a:lnTo>
                  <a:lnTo>
                    <a:pt x="1860" y="846"/>
                  </a:lnTo>
                  <a:lnTo>
                    <a:pt x="1872" y="852"/>
                  </a:lnTo>
                  <a:lnTo>
                    <a:pt x="1884" y="852"/>
                  </a:lnTo>
                  <a:lnTo>
                    <a:pt x="1896" y="852"/>
                  </a:lnTo>
                  <a:lnTo>
                    <a:pt x="1902" y="846"/>
                  </a:lnTo>
                  <a:lnTo>
                    <a:pt x="1908" y="852"/>
                  </a:lnTo>
                  <a:lnTo>
                    <a:pt x="1920" y="858"/>
                  </a:lnTo>
                  <a:lnTo>
                    <a:pt x="1926" y="870"/>
                  </a:lnTo>
                  <a:lnTo>
                    <a:pt x="1938" y="888"/>
                  </a:lnTo>
                  <a:lnTo>
                    <a:pt x="1944" y="900"/>
                  </a:lnTo>
                  <a:lnTo>
                    <a:pt x="1950" y="900"/>
                  </a:lnTo>
                  <a:lnTo>
                    <a:pt x="1962" y="906"/>
                  </a:lnTo>
                  <a:lnTo>
                    <a:pt x="1968" y="906"/>
                  </a:lnTo>
                  <a:lnTo>
                    <a:pt x="1980" y="906"/>
                  </a:lnTo>
                  <a:lnTo>
                    <a:pt x="1998" y="906"/>
                  </a:lnTo>
                  <a:lnTo>
                    <a:pt x="2010" y="900"/>
                  </a:lnTo>
                  <a:lnTo>
                    <a:pt x="2022" y="900"/>
                  </a:lnTo>
                  <a:lnTo>
                    <a:pt x="2028" y="900"/>
                  </a:lnTo>
                  <a:lnTo>
                    <a:pt x="2034" y="906"/>
                  </a:lnTo>
                  <a:lnTo>
                    <a:pt x="2046" y="906"/>
                  </a:lnTo>
                  <a:lnTo>
                    <a:pt x="2052" y="900"/>
                  </a:lnTo>
                  <a:lnTo>
                    <a:pt x="2058" y="900"/>
                  </a:lnTo>
                  <a:lnTo>
                    <a:pt x="2064" y="900"/>
                  </a:lnTo>
                  <a:lnTo>
                    <a:pt x="2070" y="900"/>
                  </a:lnTo>
                  <a:lnTo>
                    <a:pt x="2076" y="900"/>
                  </a:lnTo>
                  <a:lnTo>
                    <a:pt x="2076" y="906"/>
                  </a:lnTo>
                  <a:lnTo>
                    <a:pt x="2088" y="906"/>
                  </a:lnTo>
                  <a:lnTo>
                    <a:pt x="2106" y="900"/>
                  </a:lnTo>
                  <a:lnTo>
                    <a:pt x="2118" y="900"/>
                  </a:lnTo>
                  <a:lnTo>
                    <a:pt x="2130" y="900"/>
                  </a:lnTo>
                  <a:lnTo>
                    <a:pt x="2142" y="900"/>
                  </a:lnTo>
                  <a:lnTo>
                    <a:pt x="2148" y="906"/>
                  </a:lnTo>
                  <a:lnTo>
                    <a:pt x="2154" y="906"/>
                  </a:lnTo>
                  <a:lnTo>
                    <a:pt x="2160" y="906"/>
                  </a:lnTo>
                  <a:lnTo>
                    <a:pt x="2166" y="906"/>
                  </a:lnTo>
                  <a:lnTo>
                    <a:pt x="2178" y="918"/>
                  </a:lnTo>
                  <a:lnTo>
                    <a:pt x="2178" y="924"/>
                  </a:lnTo>
                  <a:lnTo>
                    <a:pt x="2184" y="924"/>
                  </a:lnTo>
                  <a:lnTo>
                    <a:pt x="2190" y="924"/>
                  </a:lnTo>
                  <a:lnTo>
                    <a:pt x="2196" y="924"/>
                  </a:lnTo>
                  <a:lnTo>
                    <a:pt x="2202" y="918"/>
                  </a:lnTo>
                  <a:lnTo>
                    <a:pt x="2208" y="918"/>
                  </a:lnTo>
                  <a:lnTo>
                    <a:pt x="2214" y="918"/>
                  </a:lnTo>
                  <a:lnTo>
                    <a:pt x="2226" y="918"/>
                  </a:lnTo>
                  <a:lnTo>
                    <a:pt x="2220" y="948"/>
                  </a:lnTo>
                  <a:lnTo>
                    <a:pt x="2214" y="972"/>
                  </a:lnTo>
                  <a:lnTo>
                    <a:pt x="2214" y="984"/>
                  </a:lnTo>
                  <a:lnTo>
                    <a:pt x="2208" y="990"/>
                  </a:lnTo>
                  <a:lnTo>
                    <a:pt x="2208" y="996"/>
                  </a:lnTo>
                  <a:lnTo>
                    <a:pt x="2202" y="996"/>
                  </a:lnTo>
                  <a:lnTo>
                    <a:pt x="2196" y="996"/>
                  </a:lnTo>
                  <a:lnTo>
                    <a:pt x="2190" y="1008"/>
                  </a:lnTo>
                  <a:lnTo>
                    <a:pt x="2172" y="1074"/>
                  </a:lnTo>
                  <a:lnTo>
                    <a:pt x="2166" y="1092"/>
                  </a:lnTo>
                  <a:lnTo>
                    <a:pt x="2172" y="1110"/>
                  </a:lnTo>
                  <a:lnTo>
                    <a:pt x="2172" y="1122"/>
                  </a:lnTo>
                  <a:lnTo>
                    <a:pt x="2166" y="1134"/>
                  </a:lnTo>
                  <a:lnTo>
                    <a:pt x="2148" y="1140"/>
                  </a:lnTo>
                  <a:lnTo>
                    <a:pt x="2148" y="1134"/>
                  </a:lnTo>
                  <a:lnTo>
                    <a:pt x="2118" y="1140"/>
                  </a:lnTo>
                  <a:lnTo>
                    <a:pt x="2088" y="1134"/>
                  </a:lnTo>
                  <a:lnTo>
                    <a:pt x="2064" y="1122"/>
                  </a:lnTo>
                  <a:lnTo>
                    <a:pt x="2034" y="1122"/>
                  </a:lnTo>
                  <a:lnTo>
                    <a:pt x="2022" y="1128"/>
                  </a:lnTo>
                  <a:lnTo>
                    <a:pt x="1986" y="1128"/>
                  </a:lnTo>
                  <a:lnTo>
                    <a:pt x="1938" y="1122"/>
                  </a:lnTo>
                  <a:lnTo>
                    <a:pt x="1932" y="1116"/>
                  </a:lnTo>
                  <a:lnTo>
                    <a:pt x="1896" y="1110"/>
                  </a:lnTo>
                  <a:lnTo>
                    <a:pt x="1878" y="1104"/>
                  </a:lnTo>
                  <a:lnTo>
                    <a:pt x="1866" y="1098"/>
                  </a:lnTo>
                  <a:lnTo>
                    <a:pt x="1860" y="1098"/>
                  </a:lnTo>
                  <a:lnTo>
                    <a:pt x="1854" y="1092"/>
                  </a:lnTo>
                  <a:lnTo>
                    <a:pt x="1860" y="1092"/>
                  </a:lnTo>
                  <a:lnTo>
                    <a:pt x="1860" y="1086"/>
                  </a:lnTo>
                  <a:lnTo>
                    <a:pt x="1854" y="1086"/>
                  </a:lnTo>
                  <a:lnTo>
                    <a:pt x="1842" y="1080"/>
                  </a:lnTo>
                  <a:lnTo>
                    <a:pt x="1818" y="1062"/>
                  </a:lnTo>
                  <a:lnTo>
                    <a:pt x="1782" y="1056"/>
                  </a:lnTo>
                  <a:lnTo>
                    <a:pt x="1770" y="1068"/>
                  </a:lnTo>
                  <a:lnTo>
                    <a:pt x="1746" y="1098"/>
                  </a:lnTo>
                  <a:lnTo>
                    <a:pt x="1722" y="1104"/>
                  </a:lnTo>
                  <a:lnTo>
                    <a:pt x="1710" y="1122"/>
                  </a:lnTo>
                  <a:lnTo>
                    <a:pt x="1710" y="1128"/>
                  </a:lnTo>
                  <a:lnTo>
                    <a:pt x="1710" y="1140"/>
                  </a:lnTo>
                  <a:lnTo>
                    <a:pt x="1698" y="1146"/>
                  </a:lnTo>
                  <a:lnTo>
                    <a:pt x="1686" y="1152"/>
                  </a:lnTo>
                  <a:lnTo>
                    <a:pt x="1680" y="1164"/>
                  </a:lnTo>
                  <a:lnTo>
                    <a:pt x="1680" y="1170"/>
                  </a:lnTo>
                  <a:lnTo>
                    <a:pt x="1686" y="1170"/>
                  </a:lnTo>
                  <a:lnTo>
                    <a:pt x="1686" y="1176"/>
                  </a:lnTo>
                  <a:lnTo>
                    <a:pt x="1698" y="1188"/>
                  </a:lnTo>
                  <a:lnTo>
                    <a:pt x="1704" y="1188"/>
                  </a:lnTo>
                  <a:lnTo>
                    <a:pt x="1698" y="1194"/>
                  </a:lnTo>
                  <a:lnTo>
                    <a:pt x="1704" y="1194"/>
                  </a:lnTo>
                  <a:lnTo>
                    <a:pt x="1704" y="1200"/>
                  </a:lnTo>
                  <a:lnTo>
                    <a:pt x="1704" y="1206"/>
                  </a:lnTo>
                  <a:lnTo>
                    <a:pt x="1704" y="1212"/>
                  </a:lnTo>
                  <a:lnTo>
                    <a:pt x="1704" y="1218"/>
                  </a:lnTo>
                  <a:lnTo>
                    <a:pt x="1710" y="1218"/>
                  </a:lnTo>
                  <a:lnTo>
                    <a:pt x="1710" y="1212"/>
                  </a:lnTo>
                  <a:lnTo>
                    <a:pt x="1716" y="1212"/>
                  </a:lnTo>
                  <a:lnTo>
                    <a:pt x="1716" y="1218"/>
                  </a:lnTo>
                  <a:lnTo>
                    <a:pt x="1716" y="1224"/>
                  </a:lnTo>
                  <a:lnTo>
                    <a:pt x="1716" y="1230"/>
                  </a:lnTo>
                  <a:lnTo>
                    <a:pt x="1722" y="1236"/>
                  </a:lnTo>
                  <a:lnTo>
                    <a:pt x="1740" y="1230"/>
                  </a:lnTo>
                  <a:lnTo>
                    <a:pt x="1734" y="1236"/>
                  </a:lnTo>
                  <a:lnTo>
                    <a:pt x="1734" y="1242"/>
                  </a:lnTo>
                  <a:lnTo>
                    <a:pt x="1734" y="1248"/>
                  </a:lnTo>
                  <a:lnTo>
                    <a:pt x="1734" y="1254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52" y="1266"/>
                  </a:lnTo>
                  <a:lnTo>
                    <a:pt x="1764" y="1266"/>
                  </a:lnTo>
                  <a:lnTo>
                    <a:pt x="1788" y="1260"/>
                  </a:lnTo>
                  <a:lnTo>
                    <a:pt x="1800" y="1260"/>
                  </a:lnTo>
                  <a:lnTo>
                    <a:pt x="1806" y="1272"/>
                  </a:lnTo>
                  <a:lnTo>
                    <a:pt x="1806" y="1296"/>
                  </a:lnTo>
                  <a:lnTo>
                    <a:pt x="1800" y="1308"/>
                  </a:lnTo>
                  <a:lnTo>
                    <a:pt x="1788" y="1308"/>
                  </a:lnTo>
                  <a:lnTo>
                    <a:pt x="1782" y="13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7" name="Freeform 32">
              <a:extLst>
                <a:ext uri="{FF2B5EF4-FFF2-40B4-BE49-F238E27FC236}">
                  <a16:creationId xmlns:a16="http://schemas.microsoft.com/office/drawing/2014/main" id="{1EF84438-BF7A-47D2-9156-E231EA2A279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3295" y="2316568"/>
              <a:ext cx="1290281" cy="1084704"/>
            </a:xfrm>
            <a:custGeom>
              <a:avLst/>
              <a:gdLst>
                <a:gd name="T0" fmla="*/ 177 w 2430"/>
                <a:gd name="T1" fmla="*/ 169 h 2040"/>
                <a:gd name="T2" fmla="*/ 174 w 2430"/>
                <a:gd name="T3" fmla="*/ 173 h 2040"/>
                <a:gd name="T4" fmla="*/ 169 w 2430"/>
                <a:gd name="T5" fmla="*/ 171 h 2040"/>
                <a:gd name="T6" fmla="*/ 160 w 2430"/>
                <a:gd name="T7" fmla="*/ 163 h 2040"/>
                <a:gd name="T8" fmla="*/ 154 w 2430"/>
                <a:gd name="T9" fmla="*/ 149 h 2040"/>
                <a:gd name="T10" fmla="*/ 144 w 2430"/>
                <a:gd name="T11" fmla="*/ 147 h 2040"/>
                <a:gd name="T12" fmla="*/ 133 w 2430"/>
                <a:gd name="T13" fmla="*/ 146 h 2040"/>
                <a:gd name="T14" fmla="*/ 121 w 2430"/>
                <a:gd name="T15" fmla="*/ 145 h 2040"/>
                <a:gd name="T16" fmla="*/ 110 w 2430"/>
                <a:gd name="T17" fmla="*/ 137 h 2040"/>
                <a:gd name="T18" fmla="*/ 97 w 2430"/>
                <a:gd name="T19" fmla="*/ 131 h 2040"/>
                <a:gd name="T20" fmla="*/ 87 w 2430"/>
                <a:gd name="T21" fmla="*/ 125 h 2040"/>
                <a:gd name="T22" fmla="*/ 75 w 2430"/>
                <a:gd name="T23" fmla="*/ 122 h 2040"/>
                <a:gd name="T24" fmla="*/ 65 w 2430"/>
                <a:gd name="T25" fmla="*/ 122 h 2040"/>
                <a:gd name="T26" fmla="*/ 59 w 2430"/>
                <a:gd name="T27" fmla="*/ 115 h 2040"/>
                <a:gd name="T28" fmla="*/ 50 w 2430"/>
                <a:gd name="T29" fmla="*/ 107 h 2040"/>
                <a:gd name="T30" fmla="*/ 28 w 2430"/>
                <a:gd name="T31" fmla="*/ 84 h 2040"/>
                <a:gd name="T32" fmla="*/ 22 w 2430"/>
                <a:gd name="T33" fmla="*/ 82 h 2040"/>
                <a:gd name="T34" fmla="*/ 20 w 2430"/>
                <a:gd name="T35" fmla="*/ 79 h 2040"/>
                <a:gd name="T36" fmla="*/ 16 w 2430"/>
                <a:gd name="T37" fmla="*/ 76 h 2040"/>
                <a:gd name="T38" fmla="*/ 11 w 2430"/>
                <a:gd name="T39" fmla="*/ 74 h 2040"/>
                <a:gd name="T40" fmla="*/ 7 w 2430"/>
                <a:gd name="T41" fmla="*/ 69 h 2040"/>
                <a:gd name="T42" fmla="*/ 0 w 2430"/>
                <a:gd name="T43" fmla="*/ 60 h 2040"/>
                <a:gd name="T44" fmla="*/ 10 w 2430"/>
                <a:gd name="T45" fmla="*/ 53 h 2040"/>
                <a:gd name="T46" fmla="*/ 15 w 2430"/>
                <a:gd name="T47" fmla="*/ 40 h 2040"/>
                <a:gd name="T48" fmla="*/ 9 w 2430"/>
                <a:gd name="T49" fmla="*/ 29 h 2040"/>
                <a:gd name="T50" fmla="*/ 7 w 2430"/>
                <a:gd name="T51" fmla="*/ 16 h 2040"/>
                <a:gd name="T52" fmla="*/ 18 w 2430"/>
                <a:gd name="T53" fmla="*/ 21 h 2040"/>
                <a:gd name="T54" fmla="*/ 48 w 2430"/>
                <a:gd name="T55" fmla="*/ 27 h 2040"/>
                <a:gd name="T56" fmla="*/ 62 w 2430"/>
                <a:gd name="T57" fmla="*/ 25 h 2040"/>
                <a:gd name="T58" fmla="*/ 59 w 2430"/>
                <a:gd name="T59" fmla="*/ 42 h 2040"/>
                <a:gd name="T60" fmla="*/ 54 w 2430"/>
                <a:gd name="T61" fmla="*/ 65 h 2040"/>
                <a:gd name="T62" fmla="*/ 65 w 2430"/>
                <a:gd name="T63" fmla="*/ 60 h 2040"/>
                <a:gd name="T64" fmla="*/ 68 w 2430"/>
                <a:gd name="T65" fmla="*/ 40 h 2040"/>
                <a:gd name="T66" fmla="*/ 75 w 2430"/>
                <a:gd name="T67" fmla="*/ 36 h 2040"/>
                <a:gd name="T68" fmla="*/ 83 w 2430"/>
                <a:gd name="T69" fmla="*/ 29 h 2040"/>
                <a:gd name="T70" fmla="*/ 81 w 2430"/>
                <a:gd name="T71" fmla="*/ 17 h 2040"/>
                <a:gd name="T72" fmla="*/ 66 w 2430"/>
                <a:gd name="T73" fmla="*/ 7 h 2040"/>
                <a:gd name="T74" fmla="*/ 80 w 2430"/>
                <a:gd name="T75" fmla="*/ 5 h 2040"/>
                <a:gd name="T76" fmla="*/ 89 w 2430"/>
                <a:gd name="T77" fmla="*/ 1 h 2040"/>
                <a:gd name="T78" fmla="*/ 101 w 2430"/>
                <a:gd name="T79" fmla="*/ 10 h 2040"/>
                <a:gd name="T80" fmla="*/ 103 w 2430"/>
                <a:gd name="T81" fmla="*/ 18 h 2040"/>
                <a:gd name="T82" fmla="*/ 110 w 2430"/>
                <a:gd name="T83" fmla="*/ 23 h 2040"/>
                <a:gd name="T84" fmla="*/ 121 w 2430"/>
                <a:gd name="T85" fmla="*/ 20 h 2040"/>
                <a:gd name="T86" fmla="*/ 129 w 2430"/>
                <a:gd name="T87" fmla="*/ 15 h 2040"/>
                <a:gd name="T88" fmla="*/ 142 w 2430"/>
                <a:gd name="T89" fmla="*/ 23 h 2040"/>
                <a:gd name="T90" fmla="*/ 141 w 2430"/>
                <a:gd name="T91" fmla="*/ 30 h 2040"/>
                <a:gd name="T92" fmla="*/ 140 w 2430"/>
                <a:gd name="T93" fmla="*/ 38 h 2040"/>
                <a:gd name="T94" fmla="*/ 139 w 2430"/>
                <a:gd name="T95" fmla="*/ 46 h 2040"/>
                <a:gd name="T96" fmla="*/ 147 w 2430"/>
                <a:gd name="T97" fmla="*/ 54 h 2040"/>
                <a:gd name="T98" fmla="*/ 152 w 2430"/>
                <a:gd name="T99" fmla="*/ 50 h 2040"/>
                <a:gd name="T100" fmla="*/ 159 w 2430"/>
                <a:gd name="T101" fmla="*/ 43 h 2040"/>
                <a:gd name="T102" fmla="*/ 174 w 2430"/>
                <a:gd name="T103" fmla="*/ 41 h 2040"/>
                <a:gd name="T104" fmla="*/ 190 w 2430"/>
                <a:gd name="T105" fmla="*/ 57 h 2040"/>
                <a:gd name="T106" fmla="*/ 187 w 2430"/>
                <a:gd name="T107" fmla="*/ 66 h 2040"/>
                <a:gd name="T108" fmla="*/ 183 w 2430"/>
                <a:gd name="T109" fmla="*/ 72 h 2040"/>
                <a:gd name="T110" fmla="*/ 194 w 2430"/>
                <a:gd name="T111" fmla="*/ 73 h 2040"/>
                <a:gd name="T112" fmla="*/ 202 w 2430"/>
                <a:gd name="T113" fmla="*/ 74 h 2040"/>
                <a:gd name="T114" fmla="*/ 204 w 2430"/>
                <a:gd name="T115" fmla="*/ 89 h 2040"/>
                <a:gd name="T116" fmla="*/ 208 w 2430"/>
                <a:gd name="T117" fmla="*/ 99 h 2040"/>
                <a:gd name="T118" fmla="*/ 203 w 2430"/>
                <a:gd name="T119" fmla="*/ 103 h 2040"/>
                <a:gd name="T120" fmla="*/ 209 w 2430"/>
                <a:gd name="T121" fmla="*/ 111 h 2040"/>
                <a:gd name="T122" fmla="*/ 204 w 2430"/>
                <a:gd name="T123" fmla="*/ 124 h 2040"/>
                <a:gd name="T124" fmla="*/ 190 w 2430"/>
                <a:gd name="T125" fmla="*/ 117 h 20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30"/>
                <a:gd name="T190" fmla="*/ 0 h 2040"/>
                <a:gd name="T191" fmla="*/ 2430 w 2430"/>
                <a:gd name="T192" fmla="*/ 2040 h 20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30" h="2040">
                  <a:moveTo>
                    <a:pt x="2076" y="1896"/>
                  </a:moveTo>
                  <a:lnTo>
                    <a:pt x="2070" y="1896"/>
                  </a:lnTo>
                  <a:lnTo>
                    <a:pt x="2070" y="1902"/>
                  </a:lnTo>
                  <a:lnTo>
                    <a:pt x="2076" y="1902"/>
                  </a:lnTo>
                  <a:lnTo>
                    <a:pt x="2082" y="1902"/>
                  </a:lnTo>
                  <a:lnTo>
                    <a:pt x="2082" y="1908"/>
                  </a:lnTo>
                  <a:lnTo>
                    <a:pt x="2076" y="1908"/>
                  </a:lnTo>
                  <a:lnTo>
                    <a:pt x="2076" y="1914"/>
                  </a:lnTo>
                  <a:lnTo>
                    <a:pt x="2070" y="1920"/>
                  </a:lnTo>
                  <a:lnTo>
                    <a:pt x="2064" y="1932"/>
                  </a:lnTo>
                  <a:lnTo>
                    <a:pt x="2064" y="1938"/>
                  </a:lnTo>
                  <a:lnTo>
                    <a:pt x="2058" y="1938"/>
                  </a:lnTo>
                  <a:lnTo>
                    <a:pt x="2052" y="1944"/>
                  </a:lnTo>
                  <a:lnTo>
                    <a:pt x="2052" y="1950"/>
                  </a:lnTo>
                  <a:lnTo>
                    <a:pt x="2040" y="1944"/>
                  </a:lnTo>
                  <a:lnTo>
                    <a:pt x="2040" y="1950"/>
                  </a:lnTo>
                  <a:lnTo>
                    <a:pt x="2034" y="1956"/>
                  </a:lnTo>
                  <a:lnTo>
                    <a:pt x="2034" y="1962"/>
                  </a:lnTo>
                  <a:lnTo>
                    <a:pt x="2028" y="1962"/>
                  </a:lnTo>
                  <a:lnTo>
                    <a:pt x="2022" y="1962"/>
                  </a:lnTo>
                  <a:lnTo>
                    <a:pt x="2022" y="1968"/>
                  </a:lnTo>
                  <a:lnTo>
                    <a:pt x="2028" y="1974"/>
                  </a:lnTo>
                  <a:lnTo>
                    <a:pt x="2034" y="1980"/>
                  </a:lnTo>
                  <a:lnTo>
                    <a:pt x="2028" y="1986"/>
                  </a:lnTo>
                  <a:lnTo>
                    <a:pt x="2022" y="1992"/>
                  </a:lnTo>
                  <a:lnTo>
                    <a:pt x="2022" y="1986"/>
                  </a:lnTo>
                  <a:lnTo>
                    <a:pt x="2016" y="1986"/>
                  </a:lnTo>
                  <a:lnTo>
                    <a:pt x="2010" y="1980"/>
                  </a:lnTo>
                  <a:lnTo>
                    <a:pt x="2004" y="1980"/>
                  </a:lnTo>
                  <a:lnTo>
                    <a:pt x="2004" y="1986"/>
                  </a:lnTo>
                  <a:lnTo>
                    <a:pt x="2010" y="1992"/>
                  </a:lnTo>
                  <a:lnTo>
                    <a:pt x="2010" y="1998"/>
                  </a:lnTo>
                  <a:lnTo>
                    <a:pt x="2004" y="2004"/>
                  </a:lnTo>
                  <a:lnTo>
                    <a:pt x="1998" y="2004"/>
                  </a:lnTo>
                  <a:lnTo>
                    <a:pt x="1998" y="2022"/>
                  </a:lnTo>
                  <a:lnTo>
                    <a:pt x="1998" y="2028"/>
                  </a:lnTo>
                  <a:lnTo>
                    <a:pt x="1992" y="2034"/>
                  </a:lnTo>
                  <a:lnTo>
                    <a:pt x="1992" y="2040"/>
                  </a:lnTo>
                  <a:lnTo>
                    <a:pt x="1986" y="2040"/>
                  </a:lnTo>
                  <a:lnTo>
                    <a:pt x="1986" y="2034"/>
                  </a:lnTo>
                  <a:lnTo>
                    <a:pt x="1980" y="2028"/>
                  </a:lnTo>
                  <a:lnTo>
                    <a:pt x="1980" y="2022"/>
                  </a:lnTo>
                  <a:lnTo>
                    <a:pt x="1968" y="2016"/>
                  </a:lnTo>
                  <a:lnTo>
                    <a:pt x="1962" y="2010"/>
                  </a:lnTo>
                  <a:lnTo>
                    <a:pt x="1956" y="2004"/>
                  </a:lnTo>
                  <a:lnTo>
                    <a:pt x="1950" y="1992"/>
                  </a:lnTo>
                  <a:lnTo>
                    <a:pt x="1950" y="1986"/>
                  </a:lnTo>
                  <a:lnTo>
                    <a:pt x="1950" y="1974"/>
                  </a:lnTo>
                  <a:lnTo>
                    <a:pt x="1944" y="1974"/>
                  </a:lnTo>
                  <a:lnTo>
                    <a:pt x="1932" y="1962"/>
                  </a:lnTo>
                  <a:lnTo>
                    <a:pt x="1932" y="1956"/>
                  </a:lnTo>
                  <a:lnTo>
                    <a:pt x="1932" y="1950"/>
                  </a:lnTo>
                  <a:lnTo>
                    <a:pt x="1920" y="1944"/>
                  </a:lnTo>
                  <a:lnTo>
                    <a:pt x="1914" y="1944"/>
                  </a:lnTo>
                  <a:lnTo>
                    <a:pt x="1908" y="1938"/>
                  </a:lnTo>
                  <a:lnTo>
                    <a:pt x="1902" y="1926"/>
                  </a:lnTo>
                  <a:lnTo>
                    <a:pt x="1890" y="1914"/>
                  </a:lnTo>
                  <a:lnTo>
                    <a:pt x="1884" y="1914"/>
                  </a:lnTo>
                  <a:lnTo>
                    <a:pt x="1878" y="1908"/>
                  </a:lnTo>
                  <a:lnTo>
                    <a:pt x="1872" y="1902"/>
                  </a:lnTo>
                  <a:lnTo>
                    <a:pt x="1872" y="1896"/>
                  </a:lnTo>
                  <a:lnTo>
                    <a:pt x="1866" y="1890"/>
                  </a:lnTo>
                  <a:lnTo>
                    <a:pt x="1854" y="1884"/>
                  </a:lnTo>
                  <a:lnTo>
                    <a:pt x="1848" y="1884"/>
                  </a:lnTo>
                  <a:lnTo>
                    <a:pt x="1842" y="1872"/>
                  </a:lnTo>
                  <a:lnTo>
                    <a:pt x="1836" y="1872"/>
                  </a:lnTo>
                  <a:lnTo>
                    <a:pt x="1830" y="1866"/>
                  </a:lnTo>
                  <a:lnTo>
                    <a:pt x="1830" y="1854"/>
                  </a:lnTo>
                  <a:lnTo>
                    <a:pt x="1824" y="1848"/>
                  </a:lnTo>
                  <a:lnTo>
                    <a:pt x="1818" y="1830"/>
                  </a:lnTo>
                  <a:lnTo>
                    <a:pt x="1818" y="1818"/>
                  </a:lnTo>
                  <a:lnTo>
                    <a:pt x="1812" y="1800"/>
                  </a:lnTo>
                  <a:lnTo>
                    <a:pt x="1812" y="1788"/>
                  </a:lnTo>
                  <a:lnTo>
                    <a:pt x="1806" y="1776"/>
                  </a:lnTo>
                  <a:lnTo>
                    <a:pt x="1800" y="1764"/>
                  </a:lnTo>
                  <a:lnTo>
                    <a:pt x="1794" y="1758"/>
                  </a:lnTo>
                  <a:lnTo>
                    <a:pt x="1782" y="1740"/>
                  </a:lnTo>
                  <a:lnTo>
                    <a:pt x="1776" y="1728"/>
                  </a:lnTo>
                  <a:lnTo>
                    <a:pt x="1776" y="1722"/>
                  </a:lnTo>
                  <a:lnTo>
                    <a:pt x="1770" y="1722"/>
                  </a:lnTo>
                  <a:lnTo>
                    <a:pt x="1770" y="1716"/>
                  </a:lnTo>
                  <a:lnTo>
                    <a:pt x="1764" y="1716"/>
                  </a:lnTo>
                  <a:lnTo>
                    <a:pt x="1758" y="1710"/>
                  </a:lnTo>
                  <a:lnTo>
                    <a:pt x="1752" y="1704"/>
                  </a:lnTo>
                  <a:lnTo>
                    <a:pt x="1746" y="1704"/>
                  </a:lnTo>
                  <a:lnTo>
                    <a:pt x="1740" y="1704"/>
                  </a:lnTo>
                  <a:lnTo>
                    <a:pt x="1734" y="1704"/>
                  </a:lnTo>
                  <a:lnTo>
                    <a:pt x="1734" y="1698"/>
                  </a:lnTo>
                  <a:lnTo>
                    <a:pt x="1728" y="1692"/>
                  </a:lnTo>
                  <a:lnTo>
                    <a:pt x="1722" y="1686"/>
                  </a:lnTo>
                  <a:lnTo>
                    <a:pt x="1716" y="1686"/>
                  </a:lnTo>
                  <a:lnTo>
                    <a:pt x="1698" y="1686"/>
                  </a:lnTo>
                  <a:lnTo>
                    <a:pt x="1692" y="1692"/>
                  </a:lnTo>
                  <a:lnTo>
                    <a:pt x="1680" y="1692"/>
                  </a:lnTo>
                  <a:lnTo>
                    <a:pt x="1668" y="1692"/>
                  </a:lnTo>
                  <a:lnTo>
                    <a:pt x="1662" y="1692"/>
                  </a:lnTo>
                  <a:lnTo>
                    <a:pt x="1656" y="1692"/>
                  </a:lnTo>
                  <a:lnTo>
                    <a:pt x="1650" y="1698"/>
                  </a:lnTo>
                  <a:lnTo>
                    <a:pt x="1644" y="1698"/>
                  </a:lnTo>
                  <a:lnTo>
                    <a:pt x="1638" y="1698"/>
                  </a:lnTo>
                  <a:lnTo>
                    <a:pt x="1632" y="1698"/>
                  </a:lnTo>
                  <a:lnTo>
                    <a:pt x="1632" y="1692"/>
                  </a:lnTo>
                  <a:lnTo>
                    <a:pt x="1620" y="1680"/>
                  </a:lnTo>
                  <a:lnTo>
                    <a:pt x="1614" y="1680"/>
                  </a:lnTo>
                  <a:lnTo>
                    <a:pt x="1608" y="1680"/>
                  </a:lnTo>
                  <a:lnTo>
                    <a:pt x="1602" y="1680"/>
                  </a:lnTo>
                  <a:lnTo>
                    <a:pt x="1596" y="1674"/>
                  </a:lnTo>
                  <a:lnTo>
                    <a:pt x="1584" y="1674"/>
                  </a:lnTo>
                  <a:lnTo>
                    <a:pt x="1572" y="1674"/>
                  </a:lnTo>
                  <a:lnTo>
                    <a:pt x="1560" y="1674"/>
                  </a:lnTo>
                  <a:lnTo>
                    <a:pt x="1542" y="1680"/>
                  </a:lnTo>
                  <a:lnTo>
                    <a:pt x="1530" y="1680"/>
                  </a:lnTo>
                  <a:lnTo>
                    <a:pt x="1530" y="1674"/>
                  </a:lnTo>
                  <a:lnTo>
                    <a:pt x="1524" y="1674"/>
                  </a:lnTo>
                  <a:lnTo>
                    <a:pt x="1518" y="1674"/>
                  </a:lnTo>
                  <a:lnTo>
                    <a:pt x="1512" y="1674"/>
                  </a:lnTo>
                  <a:lnTo>
                    <a:pt x="1506" y="1674"/>
                  </a:lnTo>
                  <a:lnTo>
                    <a:pt x="1500" y="1680"/>
                  </a:lnTo>
                  <a:lnTo>
                    <a:pt x="1488" y="1680"/>
                  </a:lnTo>
                  <a:lnTo>
                    <a:pt x="1482" y="1674"/>
                  </a:lnTo>
                  <a:lnTo>
                    <a:pt x="1476" y="1674"/>
                  </a:lnTo>
                  <a:lnTo>
                    <a:pt x="1464" y="1674"/>
                  </a:lnTo>
                  <a:lnTo>
                    <a:pt x="1452" y="1680"/>
                  </a:lnTo>
                  <a:lnTo>
                    <a:pt x="1434" y="1680"/>
                  </a:lnTo>
                  <a:lnTo>
                    <a:pt x="1422" y="1680"/>
                  </a:lnTo>
                  <a:lnTo>
                    <a:pt x="1416" y="1680"/>
                  </a:lnTo>
                  <a:lnTo>
                    <a:pt x="1404" y="1674"/>
                  </a:lnTo>
                  <a:lnTo>
                    <a:pt x="1398" y="1674"/>
                  </a:lnTo>
                  <a:lnTo>
                    <a:pt x="1392" y="1662"/>
                  </a:lnTo>
                  <a:lnTo>
                    <a:pt x="1380" y="1644"/>
                  </a:lnTo>
                  <a:lnTo>
                    <a:pt x="1374" y="1632"/>
                  </a:lnTo>
                  <a:lnTo>
                    <a:pt x="1362" y="1626"/>
                  </a:lnTo>
                  <a:lnTo>
                    <a:pt x="1356" y="1620"/>
                  </a:lnTo>
                  <a:lnTo>
                    <a:pt x="1350" y="1626"/>
                  </a:lnTo>
                  <a:lnTo>
                    <a:pt x="1338" y="1626"/>
                  </a:lnTo>
                  <a:lnTo>
                    <a:pt x="1326" y="1626"/>
                  </a:lnTo>
                  <a:lnTo>
                    <a:pt x="1314" y="1620"/>
                  </a:lnTo>
                  <a:lnTo>
                    <a:pt x="1308" y="1614"/>
                  </a:lnTo>
                  <a:lnTo>
                    <a:pt x="1302" y="1608"/>
                  </a:lnTo>
                  <a:lnTo>
                    <a:pt x="1296" y="1602"/>
                  </a:lnTo>
                  <a:lnTo>
                    <a:pt x="1290" y="1602"/>
                  </a:lnTo>
                  <a:lnTo>
                    <a:pt x="1290" y="1596"/>
                  </a:lnTo>
                  <a:lnTo>
                    <a:pt x="1284" y="1590"/>
                  </a:lnTo>
                  <a:lnTo>
                    <a:pt x="1272" y="1584"/>
                  </a:lnTo>
                  <a:lnTo>
                    <a:pt x="1254" y="1572"/>
                  </a:lnTo>
                  <a:lnTo>
                    <a:pt x="1236" y="1554"/>
                  </a:lnTo>
                  <a:lnTo>
                    <a:pt x="1230" y="1554"/>
                  </a:lnTo>
                  <a:lnTo>
                    <a:pt x="1224" y="1554"/>
                  </a:lnTo>
                  <a:lnTo>
                    <a:pt x="1212" y="1554"/>
                  </a:lnTo>
                  <a:lnTo>
                    <a:pt x="1194" y="1542"/>
                  </a:lnTo>
                  <a:lnTo>
                    <a:pt x="1188" y="1536"/>
                  </a:lnTo>
                  <a:lnTo>
                    <a:pt x="1182" y="1530"/>
                  </a:lnTo>
                  <a:lnTo>
                    <a:pt x="1176" y="1530"/>
                  </a:lnTo>
                  <a:lnTo>
                    <a:pt x="1170" y="1530"/>
                  </a:lnTo>
                  <a:lnTo>
                    <a:pt x="1158" y="1524"/>
                  </a:lnTo>
                  <a:lnTo>
                    <a:pt x="1152" y="1524"/>
                  </a:lnTo>
                  <a:lnTo>
                    <a:pt x="1140" y="1518"/>
                  </a:lnTo>
                  <a:lnTo>
                    <a:pt x="1128" y="1518"/>
                  </a:lnTo>
                  <a:lnTo>
                    <a:pt x="1122" y="1518"/>
                  </a:lnTo>
                  <a:lnTo>
                    <a:pt x="1116" y="1518"/>
                  </a:lnTo>
                  <a:lnTo>
                    <a:pt x="1104" y="1518"/>
                  </a:lnTo>
                  <a:lnTo>
                    <a:pt x="1092" y="1518"/>
                  </a:lnTo>
                  <a:lnTo>
                    <a:pt x="1080" y="1518"/>
                  </a:lnTo>
                  <a:lnTo>
                    <a:pt x="1068" y="1518"/>
                  </a:lnTo>
                  <a:lnTo>
                    <a:pt x="1062" y="1518"/>
                  </a:lnTo>
                  <a:lnTo>
                    <a:pt x="1056" y="1518"/>
                  </a:lnTo>
                  <a:lnTo>
                    <a:pt x="1050" y="1512"/>
                  </a:lnTo>
                  <a:lnTo>
                    <a:pt x="1044" y="1512"/>
                  </a:lnTo>
                  <a:lnTo>
                    <a:pt x="1038" y="1512"/>
                  </a:lnTo>
                  <a:lnTo>
                    <a:pt x="1032" y="1506"/>
                  </a:lnTo>
                  <a:lnTo>
                    <a:pt x="1026" y="1500"/>
                  </a:lnTo>
                  <a:lnTo>
                    <a:pt x="1026" y="1494"/>
                  </a:lnTo>
                  <a:lnTo>
                    <a:pt x="1020" y="1476"/>
                  </a:lnTo>
                  <a:lnTo>
                    <a:pt x="1008" y="1464"/>
                  </a:lnTo>
                  <a:lnTo>
                    <a:pt x="1008" y="1458"/>
                  </a:lnTo>
                  <a:lnTo>
                    <a:pt x="1002" y="1446"/>
                  </a:lnTo>
                  <a:lnTo>
                    <a:pt x="996" y="1446"/>
                  </a:lnTo>
                  <a:lnTo>
                    <a:pt x="990" y="1440"/>
                  </a:lnTo>
                  <a:lnTo>
                    <a:pt x="984" y="1434"/>
                  </a:lnTo>
                  <a:lnTo>
                    <a:pt x="978" y="1434"/>
                  </a:lnTo>
                  <a:lnTo>
                    <a:pt x="972" y="1434"/>
                  </a:lnTo>
                  <a:lnTo>
                    <a:pt x="966" y="1428"/>
                  </a:lnTo>
                  <a:lnTo>
                    <a:pt x="954" y="1422"/>
                  </a:lnTo>
                  <a:lnTo>
                    <a:pt x="942" y="1416"/>
                  </a:lnTo>
                  <a:lnTo>
                    <a:pt x="924" y="1398"/>
                  </a:lnTo>
                  <a:lnTo>
                    <a:pt x="912" y="1386"/>
                  </a:lnTo>
                  <a:lnTo>
                    <a:pt x="900" y="1386"/>
                  </a:lnTo>
                  <a:lnTo>
                    <a:pt x="894" y="1386"/>
                  </a:lnTo>
                  <a:lnTo>
                    <a:pt x="882" y="1392"/>
                  </a:lnTo>
                  <a:lnTo>
                    <a:pt x="876" y="1392"/>
                  </a:lnTo>
                  <a:lnTo>
                    <a:pt x="864" y="1398"/>
                  </a:lnTo>
                  <a:lnTo>
                    <a:pt x="864" y="1404"/>
                  </a:lnTo>
                  <a:lnTo>
                    <a:pt x="858" y="1410"/>
                  </a:lnTo>
                  <a:lnTo>
                    <a:pt x="852" y="1410"/>
                  </a:lnTo>
                  <a:lnTo>
                    <a:pt x="846" y="1410"/>
                  </a:lnTo>
                  <a:lnTo>
                    <a:pt x="834" y="1410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10" y="1428"/>
                  </a:lnTo>
                  <a:lnTo>
                    <a:pt x="798" y="1428"/>
                  </a:lnTo>
                  <a:lnTo>
                    <a:pt x="792" y="1428"/>
                  </a:lnTo>
                  <a:lnTo>
                    <a:pt x="780" y="1434"/>
                  </a:lnTo>
                  <a:lnTo>
                    <a:pt x="774" y="1428"/>
                  </a:lnTo>
                  <a:lnTo>
                    <a:pt x="762" y="1428"/>
                  </a:lnTo>
                  <a:lnTo>
                    <a:pt x="756" y="1422"/>
                  </a:lnTo>
                  <a:lnTo>
                    <a:pt x="750" y="1416"/>
                  </a:lnTo>
                  <a:lnTo>
                    <a:pt x="744" y="1410"/>
                  </a:lnTo>
                  <a:lnTo>
                    <a:pt x="744" y="1398"/>
                  </a:lnTo>
                  <a:lnTo>
                    <a:pt x="744" y="1386"/>
                  </a:lnTo>
                  <a:lnTo>
                    <a:pt x="750" y="1380"/>
                  </a:lnTo>
                  <a:lnTo>
                    <a:pt x="750" y="1374"/>
                  </a:lnTo>
                  <a:lnTo>
                    <a:pt x="750" y="1368"/>
                  </a:lnTo>
                  <a:lnTo>
                    <a:pt x="756" y="1362"/>
                  </a:lnTo>
                  <a:lnTo>
                    <a:pt x="750" y="1350"/>
                  </a:lnTo>
                  <a:lnTo>
                    <a:pt x="744" y="1344"/>
                  </a:lnTo>
                  <a:lnTo>
                    <a:pt x="738" y="1338"/>
                  </a:lnTo>
                  <a:lnTo>
                    <a:pt x="726" y="1338"/>
                  </a:lnTo>
                  <a:lnTo>
                    <a:pt x="720" y="1338"/>
                  </a:lnTo>
                  <a:lnTo>
                    <a:pt x="714" y="1338"/>
                  </a:lnTo>
                  <a:lnTo>
                    <a:pt x="708" y="1332"/>
                  </a:lnTo>
                  <a:lnTo>
                    <a:pt x="702" y="1332"/>
                  </a:lnTo>
                  <a:lnTo>
                    <a:pt x="696" y="1326"/>
                  </a:lnTo>
                  <a:lnTo>
                    <a:pt x="684" y="1326"/>
                  </a:lnTo>
                  <a:lnTo>
                    <a:pt x="678" y="1326"/>
                  </a:lnTo>
                  <a:lnTo>
                    <a:pt x="672" y="1314"/>
                  </a:lnTo>
                  <a:lnTo>
                    <a:pt x="666" y="1308"/>
                  </a:lnTo>
                  <a:lnTo>
                    <a:pt x="654" y="1296"/>
                  </a:lnTo>
                  <a:lnTo>
                    <a:pt x="654" y="1290"/>
                  </a:lnTo>
                  <a:lnTo>
                    <a:pt x="630" y="1284"/>
                  </a:lnTo>
                  <a:lnTo>
                    <a:pt x="630" y="1278"/>
                  </a:lnTo>
                  <a:lnTo>
                    <a:pt x="624" y="1278"/>
                  </a:lnTo>
                  <a:lnTo>
                    <a:pt x="618" y="1266"/>
                  </a:lnTo>
                  <a:lnTo>
                    <a:pt x="612" y="1266"/>
                  </a:lnTo>
                  <a:lnTo>
                    <a:pt x="606" y="1266"/>
                  </a:lnTo>
                  <a:lnTo>
                    <a:pt x="606" y="1260"/>
                  </a:lnTo>
                  <a:lnTo>
                    <a:pt x="594" y="1248"/>
                  </a:lnTo>
                  <a:lnTo>
                    <a:pt x="582" y="1248"/>
                  </a:lnTo>
                  <a:lnTo>
                    <a:pt x="576" y="1242"/>
                  </a:lnTo>
                  <a:lnTo>
                    <a:pt x="570" y="1236"/>
                  </a:lnTo>
                  <a:lnTo>
                    <a:pt x="504" y="1164"/>
                  </a:lnTo>
                  <a:lnTo>
                    <a:pt x="450" y="1110"/>
                  </a:lnTo>
                  <a:lnTo>
                    <a:pt x="426" y="1092"/>
                  </a:lnTo>
                  <a:lnTo>
                    <a:pt x="426" y="1074"/>
                  </a:lnTo>
                  <a:lnTo>
                    <a:pt x="420" y="1062"/>
                  </a:lnTo>
                  <a:lnTo>
                    <a:pt x="396" y="1056"/>
                  </a:lnTo>
                  <a:lnTo>
                    <a:pt x="384" y="1032"/>
                  </a:lnTo>
                  <a:lnTo>
                    <a:pt x="372" y="1020"/>
                  </a:lnTo>
                  <a:lnTo>
                    <a:pt x="360" y="984"/>
                  </a:lnTo>
                  <a:lnTo>
                    <a:pt x="348" y="978"/>
                  </a:lnTo>
                  <a:lnTo>
                    <a:pt x="342" y="972"/>
                  </a:lnTo>
                  <a:lnTo>
                    <a:pt x="348" y="960"/>
                  </a:lnTo>
                  <a:lnTo>
                    <a:pt x="342" y="954"/>
                  </a:lnTo>
                  <a:lnTo>
                    <a:pt x="336" y="954"/>
                  </a:lnTo>
                  <a:lnTo>
                    <a:pt x="330" y="954"/>
                  </a:lnTo>
                  <a:lnTo>
                    <a:pt x="324" y="972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0" y="966"/>
                  </a:lnTo>
                  <a:lnTo>
                    <a:pt x="294" y="966"/>
                  </a:lnTo>
                  <a:lnTo>
                    <a:pt x="288" y="972"/>
                  </a:lnTo>
                  <a:lnTo>
                    <a:pt x="288" y="966"/>
                  </a:lnTo>
                  <a:lnTo>
                    <a:pt x="282" y="948"/>
                  </a:lnTo>
                  <a:lnTo>
                    <a:pt x="282" y="942"/>
                  </a:lnTo>
                  <a:lnTo>
                    <a:pt x="276" y="942"/>
                  </a:lnTo>
                  <a:lnTo>
                    <a:pt x="276" y="936"/>
                  </a:lnTo>
                  <a:lnTo>
                    <a:pt x="270" y="942"/>
                  </a:lnTo>
                  <a:lnTo>
                    <a:pt x="264" y="948"/>
                  </a:lnTo>
                  <a:lnTo>
                    <a:pt x="264" y="942"/>
                  </a:lnTo>
                  <a:lnTo>
                    <a:pt x="258" y="942"/>
                  </a:lnTo>
                  <a:lnTo>
                    <a:pt x="252" y="948"/>
                  </a:lnTo>
                  <a:lnTo>
                    <a:pt x="252" y="942"/>
                  </a:lnTo>
                  <a:lnTo>
                    <a:pt x="246" y="936"/>
                  </a:lnTo>
                  <a:lnTo>
                    <a:pt x="240" y="942"/>
                  </a:lnTo>
                  <a:lnTo>
                    <a:pt x="234" y="936"/>
                  </a:lnTo>
                  <a:lnTo>
                    <a:pt x="228" y="936"/>
                  </a:lnTo>
                  <a:lnTo>
                    <a:pt x="222" y="936"/>
                  </a:lnTo>
                  <a:lnTo>
                    <a:pt x="222" y="930"/>
                  </a:lnTo>
                  <a:lnTo>
                    <a:pt x="222" y="924"/>
                  </a:lnTo>
                  <a:lnTo>
                    <a:pt x="228" y="924"/>
                  </a:lnTo>
                  <a:lnTo>
                    <a:pt x="234" y="924"/>
                  </a:lnTo>
                  <a:lnTo>
                    <a:pt x="240" y="924"/>
                  </a:lnTo>
                  <a:lnTo>
                    <a:pt x="240" y="918"/>
                  </a:lnTo>
                  <a:lnTo>
                    <a:pt x="246" y="918"/>
                  </a:lnTo>
                  <a:lnTo>
                    <a:pt x="246" y="912"/>
                  </a:lnTo>
                  <a:lnTo>
                    <a:pt x="240" y="906"/>
                  </a:lnTo>
                  <a:lnTo>
                    <a:pt x="234" y="906"/>
                  </a:lnTo>
                  <a:lnTo>
                    <a:pt x="228" y="906"/>
                  </a:lnTo>
                  <a:lnTo>
                    <a:pt x="228" y="912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8" y="894"/>
                  </a:lnTo>
                  <a:lnTo>
                    <a:pt x="234" y="894"/>
                  </a:lnTo>
                  <a:lnTo>
                    <a:pt x="228" y="888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198" y="888"/>
                  </a:lnTo>
                  <a:lnTo>
                    <a:pt x="192" y="882"/>
                  </a:lnTo>
                  <a:lnTo>
                    <a:pt x="186" y="882"/>
                  </a:lnTo>
                  <a:lnTo>
                    <a:pt x="186" y="876"/>
                  </a:lnTo>
                  <a:lnTo>
                    <a:pt x="192" y="876"/>
                  </a:lnTo>
                  <a:lnTo>
                    <a:pt x="192" y="870"/>
                  </a:lnTo>
                  <a:lnTo>
                    <a:pt x="198" y="870"/>
                  </a:lnTo>
                  <a:lnTo>
                    <a:pt x="198" y="864"/>
                  </a:lnTo>
                  <a:lnTo>
                    <a:pt x="198" y="858"/>
                  </a:lnTo>
                  <a:lnTo>
                    <a:pt x="180" y="852"/>
                  </a:lnTo>
                  <a:lnTo>
                    <a:pt x="174" y="840"/>
                  </a:lnTo>
                  <a:lnTo>
                    <a:pt x="162" y="846"/>
                  </a:lnTo>
                  <a:lnTo>
                    <a:pt x="156" y="846"/>
                  </a:lnTo>
                  <a:lnTo>
                    <a:pt x="150" y="846"/>
                  </a:lnTo>
                  <a:lnTo>
                    <a:pt x="150" y="840"/>
                  </a:lnTo>
                  <a:lnTo>
                    <a:pt x="138" y="834"/>
                  </a:lnTo>
                  <a:lnTo>
                    <a:pt x="132" y="834"/>
                  </a:lnTo>
                  <a:lnTo>
                    <a:pt x="132" y="840"/>
                  </a:lnTo>
                  <a:lnTo>
                    <a:pt x="126" y="840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58"/>
                  </a:lnTo>
                  <a:lnTo>
                    <a:pt x="120" y="846"/>
                  </a:lnTo>
                  <a:lnTo>
                    <a:pt x="114" y="846"/>
                  </a:lnTo>
                  <a:lnTo>
                    <a:pt x="108" y="840"/>
                  </a:lnTo>
                  <a:lnTo>
                    <a:pt x="102" y="834"/>
                  </a:lnTo>
                  <a:lnTo>
                    <a:pt x="102" y="822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78" y="804"/>
                  </a:lnTo>
                  <a:lnTo>
                    <a:pt x="78" y="798"/>
                  </a:lnTo>
                  <a:lnTo>
                    <a:pt x="78" y="792"/>
                  </a:lnTo>
                  <a:lnTo>
                    <a:pt x="78" y="786"/>
                  </a:lnTo>
                  <a:lnTo>
                    <a:pt x="78" y="780"/>
                  </a:lnTo>
                  <a:lnTo>
                    <a:pt x="72" y="774"/>
                  </a:lnTo>
                  <a:lnTo>
                    <a:pt x="66" y="774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60" y="762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6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2" y="666"/>
                  </a:lnTo>
                  <a:lnTo>
                    <a:pt x="18" y="648"/>
                  </a:lnTo>
                  <a:lnTo>
                    <a:pt x="24" y="636"/>
                  </a:lnTo>
                  <a:lnTo>
                    <a:pt x="30" y="630"/>
                  </a:lnTo>
                  <a:lnTo>
                    <a:pt x="30" y="624"/>
                  </a:lnTo>
                  <a:lnTo>
                    <a:pt x="30" y="612"/>
                  </a:lnTo>
                  <a:lnTo>
                    <a:pt x="30" y="606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66" y="582"/>
                  </a:lnTo>
                  <a:lnTo>
                    <a:pt x="72" y="588"/>
                  </a:lnTo>
                  <a:lnTo>
                    <a:pt x="84" y="594"/>
                  </a:lnTo>
                  <a:lnTo>
                    <a:pt x="90" y="600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14" y="612"/>
                  </a:lnTo>
                  <a:lnTo>
                    <a:pt x="120" y="612"/>
                  </a:lnTo>
                  <a:lnTo>
                    <a:pt x="126" y="618"/>
                  </a:lnTo>
                  <a:lnTo>
                    <a:pt x="138" y="594"/>
                  </a:lnTo>
                  <a:lnTo>
                    <a:pt x="138" y="582"/>
                  </a:lnTo>
                  <a:lnTo>
                    <a:pt x="138" y="570"/>
                  </a:lnTo>
                  <a:lnTo>
                    <a:pt x="138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50" y="528"/>
                  </a:lnTo>
                  <a:lnTo>
                    <a:pt x="156" y="510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62"/>
                  </a:lnTo>
                  <a:lnTo>
                    <a:pt x="168" y="450"/>
                  </a:lnTo>
                  <a:lnTo>
                    <a:pt x="168" y="444"/>
                  </a:lnTo>
                  <a:lnTo>
                    <a:pt x="162" y="432"/>
                  </a:lnTo>
                  <a:lnTo>
                    <a:pt x="162" y="426"/>
                  </a:lnTo>
                  <a:lnTo>
                    <a:pt x="156" y="420"/>
                  </a:lnTo>
                  <a:lnTo>
                    <a:pt x="144" y="414"/>
                  </a:lnTo>
                  <a:lnTo>
                    <a:pt x="132" y="402"/>
                  </a:lnTo>
                  <a:lnTo>
                    <a:pt x="126" y="390"/>
                  </a:lnTo>
                  <a:lnTo>
                    <a:pt x="120" y="384"/>
                  </a:lnTo>
                  <a:lnTo>
                    <a:pt x="120" y="372"/>
                  </a:lnTo>
                  <a:lnTo>
                    <a:pt x="114" y="360"/>
                  </a:lnTo>
                  <a:lnTo>
                    <a:pt x="108" y="360"/>
                  </a:lnTo>
                  <a:lnTo>
                    <a:pt x="108" y="354"/>
                  </a:lnTo>
                  <a:lnTo>
                    <a:pt x="102" y="348"/>
                  </a:lnTo>
                  <a:lnTo>
                    <a:pt x="102" y="342"/>
                  </a:lnTo>
                  <a:lnTo>
                    <a:pt x="108" y="330"/>
                  </a:lnTo>
                  <a:lnTo>
                    <a:pt x="114" y="312"/>
                  </a:lnTo>
                  <a:lnTo>
                    <a:pt x="114" y="300"/>
                  </a:lnTo>
                  <a:lnTo>
                    <a:pt x="120" y="288"/>
                  </a:lnTo>
                  <a:lnTo>
                    <a:pt x="120" y="282"/>
                  </a:lnTo>
                  <a:lnTo>
                    <a:pt x="114" y="270"/>
                  </a:lnTo>
                  <a:lnTo>
                    <a:pt x="114" y="258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84" y="222"/>
                  </a:lnTo>
                  <a:lnTo>
                    <a:pt x="84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84" y="186"/>
                  </a:lnTo>
                  <a:lnTo>
                    <a:pt x="84" y="180"/>
                  </a:lnTo>
                  <a:lnTo>
                    <a:pt x="108" y="174"/>
                  </a:lnTo>
                  <a:lnTo>
                    <a:pt x="132" y="186"/>
                  </a:lnTo>
                  <a:lnTo>
                    <a:pt x="138" y="192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56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74" y="204"/>
                  </a:lnTo>
                  <a:lnTo>
                    <a:pt x="180" y="216"/>
                  </a:lnTo>
                  <a:lnTo>
                    <a:pt x="186" y="228"/>
                  </a:lnTo>
                  <a:lnTo>
                    <a:pt x="192" y="234"/>
                  </a:lnTo>
                  <a:lnTo>
                    <a:pt x="198" y="234"/>
                  </a:lnTo>
                  <a:lnTo>
                    <a:pt x="204" y="240"/>
                  </a:lnTo>
                  <a:lnTo>
                    <a:pt x="210" y="240"/>
                  </a:lnTo>
                  <a:lnTo>
                    <a:pt x="216" y="240"/>
                  </a:lnTo>
                  <a:lnTo>
                    <a:pt x="222" y="240"/>
                  </a:lnTo>
                  <a:lnTo>
                    <a:pt x="228" y="246"/>
                  </a:lnTo>
                  <a:lnTo>
                    <a:pt x="234" y="246"/>
                  </a:lnTo>
                  <a:lnTo>
                    <a:pt x="240" y="246"/>
                  </a:lnTo>
                  <a:lnTo>
                    <a:pt x="252" y="252"/>
                  </a:lnTo>
                  <a:lnTo>
                    <a:pt x="330" y="246"/>
                  </a:lnTo>
                  <a:lnTo>
                    <a:pt x="360" y="228"/>
                  </a:lnTo>
                  <a:lnTo>
                    <a:pt x="396" y="228"/>
                  </a:lnTo>
                  <a:lnTo>
                    <a:pt x="402" y="240"/>
                  </a:lnTo>
                  <a:lnTo>
                    <a:pt x="432" y="240"/>
                  </a:lnTo>
                  <a:lnTo>
                    <a:pt x="450" y="258"/>
                  </a:lnTo>
                  <a:lnTo>
                    <a:pt x="468" y="258"/>
                  </a:lnTo>
                  <a:lnTo>
                    <a:pt x="474" y="294"/>
                  </a:lnTo>
                  <a:lnTo>
                    <a:pt x="558" y="318"/>
                  </a:lnTo>
                  <a:lnTo>
                    <a:pt x="588" y="318"/>
                  </a:lnTo>
                  <a:lnTo>
                    <a:pt x="588" y="312"/>
                  </a:lnTo>
                  <a:lnTo>
                    <a:pt x="594" y="306"/>
                  </a:lnTo>
                  <a:lnTo>
                    <a:pt x="600" y="306"/>
                  </a:lnTo>
                  <a:lnTo>
                    <a:pt x="612" y="300"/>
                  </a:lnTo>
                  <a:lnTo>
                    <a:pt x="618" y="300"/>
                  </a:lnTo>
                  <a:lnTo>
                    <a:pt x="630" y="300"/>
                  </a:lnTo>
                  <a:lnTo>
                    <a:pt x="642" y="306"/>
                  </a:lnTo>
                  <a:lnTo>
                    <a:pt x="660" y="306"/>
                  </a:lnTo>
                  <a:lnTo>
                    <a:pt x="666" y="306"/>
                  </a:lnTo>
                  <a:lnTo>
                    <a:pt x="672" y="306"/>
                  </a:lnTo>
                  <a:lnTo>
                    <a:pt x="684" y="300"/>
                  </a:lnTo>
                  <a:lnTo>
                    <a:pt x="696" y="294"/>
                  </a:lnTo>
                  <a:lnTo>
                    <a:pt x="702" y="288"/>
                  </a:lnTo>
                  <a:lnTo>
                    <a:pt x="714" y="282"/>
                  </a:lnTo>
                  <a:lnTo>
                    <a:pt x="714" y="288"/>
                  </a:lnTo>
                  <a:lnTo>
                    <a:pt x="726" y="300"/>
                  </a:lnTo>
                  <a:lnTo>
                    <a:pt x="732" y="306"/>
                  </a:lnTo>
                  <a:lnTo>
                    <a:pt x="732" y="318"/>
                  </a:lnTo>
                  <a:lnTo>
                    <a:pt x="732" y="330"/>
                  </a:lnTo>
                  <a:lnTo>
                    <a:pt x="726" y="342"/>
                  </a:lnTo>
                  <a:lnTo>
                    <a:pt x="720" y="354"/>
                  </a:lnTo>
                  <a:lnTo>
                    <a:pt x="720" y="360"/>
                  </a:lnTo>
                  <a:lnTo>
                    <a:pt x="714" y="372"/>
                  </a:lnTo>
                  <a:lnTo>
                    <a:pt x="714" y="378"/>
                  </a:lnTo>
                  <a:lnTo>
                    <a:pt x="714" y="408"/>
                  </a:lnTo>
                  <a:lnTo>
                    <a:pt x="708" y="420"/>
                  </a:lnTo>
                  <a:lnTo>
                    <a:pt x="714" y="432"/>
                  </a:lnTo>
                  <a:lnTo>
                    <a:pt x="708" y="450"/>
                  </a:lnTo>
                  <a:lnTo>
                    <a:pt x="708" y="468"/>
                  </a:lnTo>
                  <a:lnTo>
                    <a:pt x="696" y="480"/>
                  </a:lnTo>
                  <a:lnTo>
                    <a:pt x="684" y="486"/>
                  </a:lnTo>
                  <a:lnTo>
                    <a:pt x="672" y="492"/>
                  </a:lnTo>
                  <a:lnTo>
                    <a:pt x="660" y="498"/>
                  </a:lnTo>
                  <a:lnTo>
                    <a:pt x="654" y="510"/>
                  </a:lnTo>
                  <a:lnTo>
                    <a:pt x="648" y="516"/>
                  </a:lnTo>
                  <a:lnTo>
                    <a:pt x="642" y="522"/>
                  </a:lnTo>
                  <a:lnTo>
                    <a:pt x="630" y="522"/>
                  </a:lnTo>
                  <a:lnTo>
                    <a:pt x="624" y="528"/>
                  </a:lnTo>
                  <a:lnTo>
                    <a:pt x="618" y="540"/>
                  </a:lnTo>
                  <a:lnTo>
                    <a:pt x="618" y="558"/>
                  </a:lnTo>
                  <a:lnTo>
                    <a:pt x="612" y="576"/>
                  </a:lnTo>
                  <a:lnTo>
                    <a:pt x="612" y="684"/>
                  </a:lnTo>
                  <a:lnTo>
                    <a:pt x="618" y="696"/>
                  </a:lnTo>
                  <a:lnTo>
                    <a:pt x="636" y="696"/>
                  </a:lnTo>
                  <a:lnTo>
                    <a:pt x="636" y="720"/>
                  </a:lnTo>
                  <a:lnTo>
                    <a:pt x="636" y="732"/>
                  </a:lnTo>
                  <a:lnTo>
                    <a:pt x="618" y="750"/>
                  </a:lnTo>
                  <a:lnTo>
                    <a:pt x="606" y="762"/>
                  </a:lnTo>
                  <a:lnTo>
                    <a:pt x="600" y="774"/>
                  </a:lnTo>
                  <a:lnTo>
                    <a:pt x="594" y="798"/>
                  </a:lnTo>
                  <a:lnTo>
                    <a:pt x="606" y="798"/>
                  </a:lnTo>
                  <a:lnTo>
                    <a:pt x="660" y="792"/>
                  </a:lnTo>
                  <a:lnTo>
                    <a:pt x="696" y="798"/>
                  </a:lnTo>
                  <a:lnTo>
                    <a:pt x="720" y="798"/>
                  </a:lnTo>
                  <a:lnTo>
                    <a:pt x="720" y="786"/>
                  </a:lnTo>
                  <a:lnTo>
                    <a:pt x="720" y="774"/>
                  </a:lnTo>
                  <a:lnTo>
                    <a:pt x="702" y="762"/>
                  </a:lnTo>
                  <a:lnTo>
                    <a:pt x="702" y="750"/>
                  </a:lnTo>
                  <a:lnTo>
                    <a:pt x="702" y="726"/>
                  </a:lnTo>
                  <a:lnTo>
                    <a:pt x="714" y="714"/>
                  </a:lnTo>
                  <a:lnTo>
                    <a:pt x="720" y="702"/>
                  </a:lnTo>
                  <a:lnTo>
                    <a:pt x="720" y="696"/>
                  </a:lnTo>
                  <a:lnTo>
                    <a:pt x="744" y="690"/>
                  </a:lnTo>
                  <a:lnTo>
                    <a:pt x="744" y="696"/>
                  </a:lnTo>
                  <a:lnTo>
                    <a:pt x="756" y="696"/>
                  </a:lnTo>
                  <a:lnTo>
                    <a:pt x="762" y="690"/>
                  </a:lnTo>
                  <a:lnTo>
                    <a:pt x="768" y="690"/>
                  </a:lnTo>
                  <a:lnTo>
                    <a:pt x="774" y="696"/>
                  </a:lnTo>
                  <a:lnTo>
                    <a:pt x="780" y="696"/>
                  </a:lnTo>
                  <a:lnTo>
                    <a:pt x="786" y="696"/>
                  </a:lnTo>
                  <a:lnTo>
                    <a:pt x="804" y="684"/>
                  </a:lnTo>
                  <a:lnTo>
                    <a:pt x="810" y="684"/>
                  </a:lnTo>
                  <a:lnTo>
                    <a:pt x="810" y="654"/>
                  </a:lnTo>
                  <a:lnTo>
                    <a:pt x="816" y="588"/>
                  </a:lnTo>
                  <a:lnTo>
                    <a:pt x="804" y="582"/>
                  </a:lnTo>
                  <a:lnTo>
                    <a:pt x="798" y="552"/>
                  </a:lnTo>
                  <a:lnTo>
                    <a:pt x="798" y="480"/>
                  </a:lnTo>
                  <a:lnTo>
                    <a:pt x="780" y="468"/>
                  </a:lnTo>
                  <a:lnTo>
                    <a:pt x="780" y="462"/>
                  </a:lnTo>
                  <a:lnTo>
                    <a:pt x="774" y="450"/>
                  </a:lnTo>
                  <a:lnTo>
                    <a:pt x="762" y="444"/>
                  </a:lnTo>
                  <a:lnTo>
                    <a:pt x="762" y="438"/>
                  </a:lnTo>
                  <a:lnTo>
                    <a:pt x="768" y="432"/>
                  </a:lnTo>
                  <a:lnTo>
                    <a:pt x="774" y="426"/>
                  </a:lnTo>
                  <a:lnTo>
                    <a:pt x="780" y="426"/>
                  </a:lnTo>
                  <a:lnTo>
                    <a:pt x="780" y="414"/>
                  </a:lnTo>
                  <a:lnTo>
                    <a:pt x="834" y="414"/>
                  </a:lnTo>
                  <a:lnTo>
                    <a:pt x="834" y="426"/>
                  </a:lnTo>
                  <a:lnTo>
                    <a:pt x="840" y="432"/>
                  </a:lnTo>
                  <a:lnTo>
                    <a:pt x="846" y="432"/>
                  </a:lnTo>
                  <a:lnTo>
                    <a:pt x="852" y="432"/>
                  </a:lnTo>
                  <a:lnTo>
                    <a:pt x="858" y="432"/>
                  </a:lnTo>
                  <a:lnTo>
                    <a:pt x="870" y="432"/>
                  </a:lnTo>
                  <a:lnTo>
                    <a:pt x="870" y="426"/>
                  </a:lnTo>
                  <a:lnTo>
                    <a:pt x="870" y="420"/>
                  </a:lnTo>
                  <a:lnTo>
                    <a:pt x="876" y="420"/>
                  </a:lnTo>
                  <a:lnTo>
                    <a:pt x="882" y="420"/>
                  </a:lnTo>
                  <a:lnTo>
                    <a:pt x="894" y="414"/>
                  </a:lnTo>
                  <a:lnTo>
                    <a:pt x="900" y="414"/>
                  </a:lnTo>
                  <a:lnTo>
                    <a:pt x="906" y="408"/>
                  </a:lnTo>
                  <a:lnTo>
                    <a:pt x="918" y="408"/>
                  </a:lnTo>
                  <a:lnTo>
                    <a:pt x="924" y="402"/>
                  </a:lnTo>
                  <a:lnTo>
                    <a:pt x="930" y="384"/>
                  </a:lnTo>
                  <a:lnTo>
                    <a:pt x="948" y="396"/>
                  </a:lnTo>
                  <a:lnTo>
                    <a:pt x="954" y="384"/>
                  </a:lnTo>
                  <a:lnTo>
                    <a:pt x="960" y="384"/>
                  </a:lnTo>
                  <a:lnTo>
                    <a:pt x="972" y="384"/>
                  </a:lnTo>
                  <a:lnTo>
                    <a:pt x="978" y="378"/>
                  </a:lnTo>
                  <a:lnTo>
                    <a:pt x="972" y="366"/>
                  </a:lnTo>
                  <a:lnTo>
                    <a:pt x="966" y="342"/>
                  </a:lnTo>
                  <a:lnTo>
                    <a:pt x="960" y="330"/>
                  </a:lnTo>
                  <a:lnTo>
                    <a:pt x="942" y="324"/>
                  </a:lnTo>
                  <a:lnTo>
                    <a:pt x="936" y="318"/>
                  </a:lnTo>
                  <a:lnTo>
                    <a:pt x="936" y="294"/>
                  </a:lnTo>
                  <a:lnTo>
                    <a:pt x="942" y="294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282"/>
                  </a:lnTo>
                  <a:lnTo>
                    <a:pt x="954" y="276"/>
                  </a:lnTo>
                  <a:lnTo>
                    <a:pt x="960" y="276"/>
                  </a:lnTo>
                  <a:lnTo>
                    <a:pt x="966" y="276"/>
                  </a:lnTo>
                  <a:lnTo>
                    <a:pt x="960" y="258"/>
                  </a:lnTo>
                  <a:lnTo>
                    <a:pt x="954" y="240"/>
                  </a:lnTo>
                  <a:lnTo>
                    <a:pt x="948" y="204"/>
                  </a:lnTo>
                  <a:lnTo>
                    <a:pt x="954" y="204"/>
                  </a:lnTo>
                  <a:lnTo>
                    <a:pt x="960" y="198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00" y="186"/>
                  </a:lnTo>
                  <a:lnTo>
                    <a:pt x="876" y="180"/>
                  </a:lnTo>
                  <a:lnTo>
                    <a:pt x="858" y="180"/>
                  </a:lnTo>
                  <a:lnTo>
                    <a:pt x="852" y="168"/>
                  </a:lnTo>
                  <a:lnTo>
                    <a:pt x="834" y="156"/>
                  </a:lnTo>
                  <a:lnTo>
                    <a:pt x="822" y="156"/>
                  </a:lnTo>
                  <a:lnTo>
                    <a:pt x="804" y="156"/>
                  </a:lnTo>
                  <a:lnTo>
                    <a:pt x="804" y="150"/>
                  </a:lnTo>
                  <a:lnTo>
                    <a:pt x="792" y="144"/>
                  </a:lnTo>
                  <a:lnTo>
                    <a:pt x="762" y="138"/>
                  </a:lnTo>
                  <a:lnTo>
                    <a:pt x="768" y="120"/>
                  </a:lnTo>
                  <a:lnTo>
                    <a:pt x="756" y="120"/>
                  </a:lnTo>
                  <a:lnTo>
                    <a:pt x="744" y="108"/>
                  </a:lnTo>
                  <a:lnTo>
                    <a:pt x="744" y="96"/>
                  </a:lnTo>
                  <a:lnTo>
                    <a:pt x="762" y="84"/>
                  </a:lnTo>
                  <a:lnTo>
                    <a:pt x="768" y="84"/>
                  </a:lnTo>
                  <a:lnTo>
                    <a:pt x="768" y="72"/>
                  </a:lnTo>
                  <a:lnTo>
                    <a:pt x="780" y="66"/>
                  </a:lnTo>
                  <a:lnTo>
                    <a:pt x="798" y="54"/>
                  </a:lnTo>
                  <a:lnTo>
                    <a:pt x="792" y="54"/>
                  </a:lnTo>
                  <a:lnTo>
                    <a:pt x="798" y="36"/>
                  </a:lnTo>
                  <a:lnTo>
                    <a:pt x="804" y="36"/>
                  </a:lnTo>
                  <a:lnTo>
                    <a:pt x="816" y="30"/>
                  </a:lnTo>
                  <a:lnTo>
                    <a:pt x="828" y="30"/>
                  </a:lnTo>
                  <a:lnTo>
                    <a:pt x="846" y="12"/>
                  </a:lnTo>
                  <a:lnTo>
                    <a:pt x="876" y="0"/>
                  </a:lnTo>
                  <a:lnTo>
                    <a:pt x="882" y="6"/>
                  </a:lnTo>
                  <a:lnTo>
                    <a:pt x="900" y="6"/>
                  </a:lnTo>
                  <a:lnTo>
                    <a:pt x="912" y="36"/>
                  </a:lnTo>
                  <a:lnTo>
                    <a:pt x="918" y="42"/>
                  </a:lnTo>
                  <a:lnTo>
                    <a:pt x="924" y="54"/>
                  </a:lnTo>
                  <a:lnTo>
                    <a:pt x="930" y="54"/>
                  </a:lnTo>
                  <a:lnTo>
                    <a:pt x="930" y="78"/>
                  </a:lnTo>
                  <a:lnTo>
                    <a:pt x="954" y="72"/>
                  </a:lnTo>
                  <a:lnTo>
                    <a:pt x="954" y="60"/>
                  </a:lnTo>
                  <a:lnTo>
                    <a:pt x="966" y="66"/>
                  </a:lnTo>
                  <a:lnTo>
                    <a:pt x="966" y="78"/>
                  </a:lnTo>
                  <a:lnTo>
                    <a:pt x="960" y="84"/>
                  </a:lnTo>
                  <a:lnTo>
                    <a:pt x="954" y="102"/>
                  </a:lnTo>
                  <a:lnTo>
                    <a:pt x="972" y="102"/>
                  </a:lnTo>
                  <a:lnTo>
                    <a:pt x="978" y="84"/>
                  </a:lnTo>
                  <a:lnTo>
                    <a:pt x="984" y="72"/>
                  </a:lnTo>
                  <a:lnTo>
                    <a:pt x="990" y="72"/>
                  </a:lnTo>
                  <a:lnTo>
                    <a:pt x="996" y="18"/>
                  </a:lnTo>
                  <a:lnTo>
                    <a:pt x="990" y="12"/>
                  </a:lnTo>
                  <a:lnTo>
                    <a:pt x="1014" y="12"/>
                  </a:lnTo>
                  <a:lnTo>
                    <a:pt x="1026" y="12"/>
                  </a:lnTo>
                  <a:lnTo>
                    <a:pt x="1026" y="24"/>
                  </a:lnTo>
                  <a:lnTo>
                    <a:pt x="1050" y="24"/>
                  </a:lnTo>
                  <a:lnTo>
                    <a:pt x="1050" y="36"/>
                  </a:lnTo>
                  <a:lnTo>
                    <a:pt x="1062" y="66"/>
                  </a:lnTo>
                  <a:lnTo>
                    <a:pt x="1074" y="66"/>
                  </a:lnTo>
                  <a:lnTo>
                    <a:pt x="1080" y="60"/>
                  </a:lnTo>
                  <a:lnTo>
                    <a:pt x="1074" y="24"/>
                  </a:lnTo>
                  <a:lnTo>
                    <a:pt x="1086" y="18"/>
                  </a:lnTo>
                  <a:lnTo>
                    <a:pt x="1086" y="12"/>
                  </a:lnTo>
                  <a:lnTo>
                    <a:pt x="1104" y="6"/>
                  </a:lnTo>
                  <a:lnTo>
                    <a:pt x="1122" y="0"/>
                  </a:lnTo>
                  <a:lnTo>
                    <a:pt x="1134" y="6"/>
                  </a:lnTo>
                  <a:lnTo>
                    <a:pt x="1134" y="42"/>
                  </a:lnTo>
                  <a:lnTo>
                    <a:pt x="1140" y="72"/>
                  </a:lnTo>
                  <a:lnTo>
                    <a:pt x="1158" y="114"/>
                  </a:lnTo>
                  <a:lnTo>
                    <a:pt x="1170" y="114"/>
                  </a:lnTo>
                  <a:lnTo>
                    <a:pt x="1170" y="126"/>
                  </a:lnTo>
                  <a:lnTo>
                    <a:pt x="1182" y="126"/>
                  </a:lnTo>
                  <a:lnTo>
                    <a:pt x="1182" y="138"/>
                  </a:lnTo>
                  <a:lnTo>
                    <a:pt x="1194" y="144"/>
                  </a:lnTo>
                  <a:lnTo>
                    <a:pt x="1194" y="156"/>
                  </a:lnTo>
                  <a:lnTo>
                    <a:pt x="1188" y="156"/>
                  </a:lnTo>
                  <a:lnTo>
                    <a:pt x="1194" y="162"/>
                  </a:lnTo>
                  <a:lnTo>
                    <a:pt x="1194" y="168"/>
                  </a:lnTo>
                  <a:lnTo>
                    <a:pt x="1188" y="168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82" y="180"/>
                  </a:lnTo>
                  <a:lnTo>
                    <a:pt x="1188" y="186"/>
                  </a:lnTo>
                  <a:lnTo>
                    <a:pt x="1188" y="192"/>
                  </a:lnTo>
                  <a:lnTo>
                    <a:pt x="1182" y="198"/>
                  </a:lnTo>
                  <a:lnTo>
                    <a:pt x="1182" y="204"/>
                  </a:lnTo>
                  <a:lnTo>
                    <a:pt x="1182" y="210"/>
                  </a:lnTo>
                  <a:lnTo>
                    <a:pt x="1188" y="210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2"/>
                  </a:lnTo>
                  <a:lnTo>
                    <a:pt x="1194" y="264"/>
                  </a:lnTo>
                  <a:lnTo>
                    <a:pt x="1200" y="264"/>
                  </a:lnTo>
                  <a:lnTo>
                    <a:pt x="1212" y="264"/>
                  </a:lnTo>
                  <a:lnTo>
                    <a:pt x="1212" y="258"/>
                  </a:lnTo>
                  <a:lnTo>
                    <a:pt x="1224" y="258"/>
                  </a:lnTo>
                  <a:lnTo>
                    <a:pt x="1248" y="252"/>
                  </a:lnTo>
                  <a:lnTo>
                    <a:pt x="1248" y="264"/>
                  </a:lnTo>
                  <a:lnTo>
                    <a:pt x="1254" y="264"/>
                  </a:lnTo>
                  <a:lnTo>
                    <a:pt x="1254" y="270"/>
                  </a:lnTo>
                  <a:lnTo>
                    <a:pt x="1260" y="270"/>
                  </a:lnTo>
                  <a:lnTo>
                    <a:pt x="1266" y="270"/>
                  </a:lnTo>
                  <a:lnTo>
                    <a:pt x="1272" y="270"/>
                  </a:lnTo>
                  <a:lnTo>
                    <a:pt x="1272" y="264"/>
                  </a:lnTo>
                  <a:lnTo>
                    <a:pt x="1272" y="258"/>
                  </a:lnTo>
                  <a:lnTo>
                    <a:pt x="1278" y="258"/>
                  </a:lnTo>
                  <a:lnTo>
                    <a:pt x="1278" y="252"/>
                  </a:lnTo>
                  <a:lnTo>
                    <a:pt x="1290" y="252"/>
                  </a:lnTo>
                  <a:lnTo>
                    <a:pt x="1296" y="246"/>
                  </a:lnTo>
                  <a:lnTo>
                    <a:pt x="1308" y="246"/>
                  </a:lnTo>
                  <a:lnTo>
                    <a:pt x="1308" y="240"/>
                  </a:lnTo>
                  <a:lnTo>
                    <a:pt x="1320" y="240"/>
                  </a:lnTo>
                  <a:lnTo>
                    <a:pt x="1326" y="246"/>
                  </a:lnTo>
                  <a:lnTo>
                    <a:pt x="1338" y="246"/>
                  </a:lnTo>
                  <a:lnTo>
                    <a:pt x="1338" y="240"/>
                  </a:lnTo>
                  <a:lnTo>
                    <a:pt x="1350" y="240"/>
                  </a:lnTo>
                  <a:lnTo>
                    <a:pt x="1386" y="234"/>
                  </a:lnTo>
                  <a:lnTo>
                    <a:pt x="1398" y="228"/>
                  </a:lnTo>
                  <a:lnTo>
                    <a:pt x="1404" y="216"/>
                  </a:lnTo>
                  <a:lnTo>
                    <a:pt x="1416" y="204"/>
                  </a:lnTo>
                  <a:lnTo>
                    <a:pt x="1434" y="192"/>
                  </a:lnTo>
                  <a:lnTo>
                    <a:pt x="1446" y="198"/>
                  </a:lnTo>
                  <a:lnTo>
                    <a:pt x="1446" y="204"/>
                  </a:lnTo>
                  <a:lnTo>
                    <a:pt x="1452" y="210"/>
                  </a:lnTo>
                  <a:lnTo>
                    <a:pt x="1464" y="222"/>
                  </a:lnTo>
                  <a:lnTo>
                    <a:pt x="1464" y="228"/>
                  </a:lnTo>
                  <a:lnTo>
                    <a:pt x="1464" y="234"/>
                  </a:lnTo>
                  <a:lnTo>
                    <a:pt x="1470" y="240"/>
                  </a:lnTo>
                  <a:lnTo>
                    <a:pt x="1476" y="228"/>
                  </a:lnTo>
                  <a:lnTo>
                    <a:pt x="1476" y="222"/>
                  </a:lnTo>
                  <a:lnTo>
                    <a:pt x="1482" y="210"/>
                  </a:lnTo>
                  <a:lnTo>
                    <a:pt x="1488" y="192"/>
                  </a:lnTo>
                  <a:lnTo>
                    <a:pt x="1488" y="186"/>
                  </a:lnTo>
                  <a:lnTo>
                    <a:pt x="1488" y="180"/>
                  </a:lnTo>
                  <a:lnTo>
                    <a:pt x="1500" y="180"/>
                  </a:lnTo>
                  <a:lnTo>
                    <a:pt x="1500" y="174"/>
                  </a:lnTo>
                  <a:lnTo>
                    <a:pt x="1518" y="162"/>
                  </a:lnTo>
                  <a:lnTo>
                    <a:pt x="1536" y="150"/>
                  </a:lnTo>
                  <a:lnTo>
                    <a:pt x="1554" y="168"/>
                  </a:lnTo>
                  <a:lnTo>
                    <a:pt x="1572" y="180"/>
                  </a:lnTo>
                  <a:lnTo>
                    <a:pt x="1596" y="216"/>
                  </a:lnTo>
                  <a:lnTo>
                    <a:pt x="1602" y="216"/>
                  </a:lnTo>
                  <a:lnTo>
                    <a:pt x="1614" y="228"/>
                  </a:lnTo>
                  <a:lnTo>
                    <a:pt x="1614" y="234"/>
                  </a:lnTo>
                  <a:lnTo>
                    <a:pt x="1620" y="240"/>
                  </a:lnTo>
                  <a:lnTo>
                    <a:pt x="1620" y="246"/>
                  </a:lnTo>
                  <a:lnTo>
                    <a:pt x="1626" y="252"/>
                  </a:lnTo>
                  <a:lnTo>
                    <a:pt x="1632" y="258"/>
                  </a:lnTo>
                  <a:lnTo>
                    <a:pt x="1632" y="264"/>
                  </a:lnTo>
                  <a:lnTo>
                    <a:pt x="1638" y="264"/>
                  </a:lnTo>
                  <a:lnTo>
                    <a:pt x="1638" y="270"/>
                  </a:lnTo>
                  <a:lnTo>
                    <a:pt x="1638" y="276"/>
                  </a:lnTo>
                  <a:lnTo>
                    <a:pt x="1638" y="282"/>
                  </a:lnTo>
                  <a:lnTo>
                    <a:pt x="1644" y="288"/>
                  </a:lnTo>
                  <a:lnTo>
                    <a:pt x="1644" y="294"/>
                  </a:lnTo>
                  <a:lnTo>
                    <a:pt x="1644" y="300"/>
                  </a:lnTo>
                  <a:lnTo>
                    <a:pt x="1644" y="306"/>
                  </a:lnTo>
                  <a:lnTo>
                    <a:pt x="1650" y="306"/>
                  </a:lnTo>
                  <a:lnTo>
                    <a:pt x="1650" y="312"/>
                  </a:lnTo>
                  <a:lnTo>
                    <a:pt x="1650" y="318"/>
                  </a:lnTo>
                  <a:lnTo>
                    <a:pt x="1650" y="324"/>
                  </a:lnTo>
                  <a:lnTo>
                    <a:pt x="1644" y="330"/>
                  </a:lnTo>
                  <a:lnTo>
                    <a:pt x="1626" y="330"/>
                  </a:lnTo>
                  <a:lnTo>
                    <a:pt x="1626" y="336"/>
                  </a:lnTo>
                  <a:lnTo>
                    <a:pt x="1626" y="342"/>
                  </a:lnTo>
                  <a:lnTo>
                    <a:pt x="1626" y="348"/>
                  </a:lnTo>
                  <a:lnTo>
                    <a:pt x="1620" y="354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14" y="390"/>
                  </a:lnTo>
                  <a:lnTo>
                    <a:pt x="1614" y="396"/>
                  </a:lnTo>
                  <a:lnTo>
                    <a:pt x="1614" y="402"/>
                  </a:lnTo>
                  <a:lnTo>
                    <a:pt x="1614" y="408"/>
                  </a:lnTo>
                  <a:lnTo>
                    <a:pt x="1614" y="414"/>
                  </a:lnTo>
                  <a:lnTo>
                    <a:pt x="1602" y="420"/>
                  </a:lnTo>
                  <a:lnTo>
                    <a:pt x="1602" y="426"/>
                  </a:lnTo>
                  <a:lnTo>
                    <a:pt x="1608" y="432"/>
                  </a:lnTo>
                  <a:lnTo>
                    <a:pt x="1614" y="426"/>
                  </a:lnTo>
                  <a:lnTo>
                    <a:pt x="1620" y="438"/>
                  </a:lnTo>
                  <a:lnTo>
                    <a:pt x="1626" y="438"/>
                  </a:lnTo>
                  <a:lnTo>
                    <a:pt x="1632" y="444"/>
                  </a:lnTo>
                  <a:lnTo>
                    <a:pt x="1626" y="456"/>
                  </a:lnTo>
                  <a:lnTo>
                    <a:pt x="1626" y="468"/>
                  </a:lnTo>
                  <a:lnTo>
                    <a:pt x="1620" y="474"/>
                  </a:lnTo>
                  <a:lnTo>
                    <a:pt x="1614" y="474"/>
                  </a:lnTo>
                  <a:lnTo>
                    <a:pt x="1614" y="486"/>
                  </a:lnTo>
                  <a:lnTo>
                    <a:pt x="1614" y="492"/>
                  </a:lnTo>
                  <a:lnTo>
                    <a:pt x="1620" y="492"/>
                  </a:lnTo>
                  <a:lnTo>
                    <a:pt x="1626" y="498"/>
                  </a:lnTo>
                  <a:lnTo>
                    <a:pt x="1626" y="504"/>
                  </a:lnTo>
                  <a:lnTo>
                    <a:pt x="1626" y="510"/>
                  </a:lnTo>
                  <a:lnTo>
                    <a:pt x="1620" y="516"/>
                  </a:lnTo>
                  <a:lnTo>
                    <a:pt x="1620" y="522"/>
                  </a:lnTo>
                  <a:lnTo>
                    <a:pt x="1614" y="522"/>
                  </a:lnTo>
                  <a:lnTo>
                    <a:pt x="1608" y="528"/>
                  </a:lnTo>
                  <a:lnTo>
                    <a:pt x="1602" y="522"/>
                  </a:lnTo>
                  <a:lnTo>
                    <a:pt x="1602" y="528"/>
                  </a:lnTo>
                  <a:lnTo>
                    <a:pt x="1602" y="540"/>
                  </a:lnTo>
                  <a:lnTo>
                    <a:pt x="1602" y="558"/>
                  </a:lnTo>
                  <a:lnTo>
                    <a:pt x="1602" y="564"/>
                  </a:lnTo>
                  <a:lnTo>
                    <a:pt x="1602" y="570"/>
                  </a:lnTo>
                  <a:lnTo>
                    <a:pt x="1602" y="576"/>
                  </a:lnTo>
                  <a:lnTo>
                    <a:pt x="1596" y="576"/>
                  </a:lnTo>
                  <a:lnTo>
                    <a:pt x="1632" y="582"/>
                  </a:lnTo>
                  <a:lnTo>
                    <a:pt x="1644" y="618"/>
                  </a:lnTo>
                  <a:lnTo>
                    <a:pt x="1650" y="648"/>
                  </a:lnTo>
                  <a:lnTo>
                    <a:pt x="1662" y="636"/>
                  </a:lnTo>
                  <a:lnTo>
                    <a:pt x="1668" y="636"/>
                  </a:lnTo>
                  <a:lnTo>
                    <a:pt x="1674" y="636"/>
                  </a:lnTo>
                  <a:lnTo>
                    <a:pt x="1680" y="630"/>
                  </a:lnTo>
                  <a:lnTo>
                    <a:pt x="1686" y="630"/>
                  </a:lnTo>
                  <a:lnTo>
                    <a:pt x="1692" y="630"/>
                  </a:lnTo>
                  <a:lnTo>
                    <a:pt x="1698" y="630"/>
                  </a:lnTo>
                  <a:lnTo>
                    <a:pt x="1704" y="630"/>
                  </a:lnTo>
                  <a:lnTo>
                    <a:pt x="1704" y="624"/>
                  </a:lnTo>
                  <a:lnTo>
                    <a:pt x="1710" y="624"/>
                  </a:lnTo>
                  <a:lnTo>
                    <a:pt x="1716" y="624"/>
                  </a:lnTo>
                  <a:lnTo>
                    <a:pt x="1722" y="624"/>
                  </a:lnTo>
                  <a:lnTo>
                    <a:pt x="1728" y="624"/>
                  </a:lnTo>
                  <a:lnTo>
                    <a:pt x="1722" y="618"/>
                  </a:lnTo>
                  <a:lnTo>
                    <a:pt x="1728" y="606"/>
                  </a:lnTo>
                  <a:lnTo>
                    <a:pt x="1734" y="606"/>
                  </a:lnTo>
                  <a:lnTo>
                    <a:pt x="1740" y="600"/>
                  </a:lnTo>
                  <a:lnTo>
                    <a:pt x="1746" y="594"/>
                  </a:lnTo>
                  <a:lnTo>
                    <a:pt x="1752" y="588"/>
                  </a:lnTo>
                  <a:lnTo>
                    <a:pt x="1752" y="582"/>
                  </a:lnTo>
                  <a:lnTo>
                    <a:pt x="1758" y="576"/>
                  </a:lnTo>
                  <a:lnTo>
                    <a:pt x="1764" y="576"/>
                  </a:lnTo>
                  <a:lnTo>
                    <a:pt x="1770" y="570"/>
                  </a:lnTo>
                  <a:lnTo>
                    <a:pt x="1776" y="564"/>
                  </a:lnTo>
                  <a:lnTo>
                    <a:pt x="1788" y="558"/>
                  </a:lnTo>
                  <a:lnTo>
                    <a:pt x="1788" y="546"/>
                  </a:lnTo>
                  <a:lnTo>
                    <a:pt x="1788" y="540"/>
                  </a:lnTo>
                  <a:lnTo>
                    <a:pt x="1794" y="540"/>
                  </a:lnTo>
                  <a:lnTo>
                    <a:pt x="1788" y="534"/>
                  </a:lnTo>
                  <a:lnTo>
                    <a:pt x="1788" y="528"/>
                  </a:lnTo>
                  <a:lnTo>
                    <a:pt x="1794" y="516"/>
                  </a:lnTo>
                  <a:lnTo>
                    <a:pt x="1800" y="510"/>
                  </a:lnTo>
                  <a:lnTo>
                    <a:pt x="1812" y="510"/>
                  </a:lnTo>
                  <a:lnTo>
                    <a:pt x="1818" y="504"/>
                  </a:lnTo>
                  <a:lnTo>
                    <a:pt x="1824" y="504"/>
                  </a:lnTo>
                  <a:lnTo>
                    <a:pt x="1830" y="498"/>
                  </a:lnTo>
                  <a:lnTo>
                    <a:pt x="1836" y="498"/>
                  </a:lnTo>
                  <a:lnTo>
                    <a:pt x="1848" y="492"/>
                  </a:lnTo>
                  <a:lnTo>
                    <a:pt x="1848" y="480"/>
                  </a:lnTo>
                  <a:lnTo>
                    <a:pt x="1854" y="480"/>
                  </a:lnTo>
                  <a:lnTo>
                    <a:pt x="1890" y="504"/>
                  </a:lnTo>
                  <a:lnTo>
                    <a:pt x="1908" y="534"/>
                  </a:lnTo>
                  <a:lnTo>
                    <a:pt x="1902" y="534"/>
                  </a:lnTo>
                  <a:lnTo>
                    <a:pt x="1920" y="528"/>
                  </a:lnTo>
                  <a:lnTo>
                    <a:pt x="1920" y="516"/>
                  </a:lnTo>
                  <a:lnTo>
                    <a:pt x="1944" y="516"/>
                  </a:lnTo>
                  <a:lnTo>
                    <a:pt x="2004" y="516"/>
                  </a:lnTo>
                  <a:lnTo>
                    <a:pt x="2010" y="510"/>
                  </a:lnTo>
                  <a:lnTo>
                    <a:pt x="2004" y="510"/>
                  </a:lnTo>
                  <a:lnTo>
                    <a:pt x="2010" y="498"/>
                  </a:lnTo>
                  <a:lnTo>
                    <a:pt x="2004" y="486"/>
                  </a:lnTo>
                  <a:lnTo>
                    <a:pt x="2004" y="480"/>
                  </a:lnTo>
                  <a:lnTo>
                    <a:pt x="2004" y="474"/>
                  </a:lnTo>
                  <a:lnTo>
                    <a:pt x="2004" y="462"/>
                  </a:lnTo>
                  <a:lnTo>
                    <a:pt x="2004" y="456"/>
                  </a:lnTo>
                  <a:lnTo>
                    <a:pt x="2058" y="462"/>
                  </a:lnTo>
                  <a:lnTo>
                    <a:pt x="2076" y="474"/>
                  </a:lnTo>
                  <a:lnTo>
                    <a:pt x="2082" y="522"/>
                  </a:lnTo>
                  <a:lnTo>
                    <a:pt x="2088" y="516"/>
                  </a:lnTo>
                  <a:lnTo>
                    <a:pt x="2094" y="522"/>
                  </a:lnTo>
                  <a:lnTo>
                    <a:pt x="2100" y="528"/>
                  </a:lnTo>
                  <a:lnTo>
                    <a:pt x="2130" y="540"/>
                  </a:lnTo>
                  <a:lnTo>
                    <a:pt x="2160" y="564"/>
                  </a:lnTo>
                  <a:lnTo>
                    <a:pt x="2166" y="600"/>
                  </a:lnTo>
                  <a:lnTo>
                    <a:pt x="2160" y="618"/>
                  </a:lnTo>
                  <a:lnTo>
                    <a:pt x="2142" y="636"/>
                  </a:lnTo>
                  <a:lnTo>
                    <a:pt x="2148" y="648"/>
                  </a:lnTo>
                  <a:lnTo>
                    <a:pt x="2154" y="660"/>
                  </a:lnTo>
                  <a:lnTo>
                    <a:pt x="2196" y="654"/>
                  </a:lnTo>
                  <a:lnTo>
                    <a:pt x="2214" y="660"/>
                  </a:lnTo>
                  <a:lnTo>
                    <a:pt x="2214" y="666"/>
                  </a:lnTo>
                  <a:lnTo>
                    <a:pt x="2220" y="672"/>
                  </a:lnTo>
                  <a:lnTo>
                    <a:pt x="2214" y="678"/>
                  </a:lnTo>
                  <a:lnTo>
                    <a:pt x="2214" y="684"/>
                  </a:lnTo>
                  <a:lnTo>
                    <a:pt x="2214" y="690"/>
                  </a:lnTo>
                  <a:lnTo>
                    <a:pt x="2208" y="690"/>
                  </a:lnTo>
                  <a:lnTo>
                    <a:pt x="2202" y="696"/>
                  </a:lnTo>
                  <a:lnTo>
                    <a:pt x="2196" y="702"/>
                  </a:lnTo>
                  <a:lnTo>
                    <a:pt x="2190" y="708"/>
                  </a:lnTo>
                  <a:lnTo>
                    <a:pt x="2190" y="720"/>
                  </a:lnTo>
                  <a:lnTo>
                    <a:pt x="2184" y="720"/>
                  </a:lnTo>
                  <a:lnTo>
                    <a:pt x="2178" y="726"/>
                  </a:lnTo>
                  <a:lnTo>
                    <a:pt x="2166" y="732"/>
                  </a:lnTo>
                  <a:lnTo>
                    <a:pt x="2160" y="744"/>
                  </a:lnTo>
                  <a:lnTo>
                    <a:pt x="2154" y="756"/>
                  </a:lnTo>
                  <a:lnTo>
                    <a:pt x="2148" y="762"/>
                  </a:lnTo>
                  <a:lnTo>
                    <a:pt x="2124" y="762"/>
                  </a:lnTo>
                  <a:lnTo>
                    <a:pt x="2124" y="768"/>
                  </a:lnTo>
                  <a:lnTo>
                    <a:pt x="2118" y="768"/>
                  </a:lnTo>
                  <a:lnTo>
                    <a:pt x="2124" y="774"/>
                  </a:lnTo>
                  <a:lnTo>
                    <a:pt x="2118" y="774"/>
                  </a:lnTo>
                  <a:lnTo>
                    <a:pt x="2112" y="774"/>
                  </a:lnTo>
                  <a:lnTo>
                    <a:pt x="2106" y="780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06" y="798"/>
                  </a:lnTo>
                  <a:lnTo>
                    <a:pt x="2106" y="810"/>
                  </a:lnTo>
                  <a:lnTo>
                    <a:pt x="2112" y="828"/>
                  </a:lnTo>
                  <a:lnTo>
                    <a:pt x="2112" y="834"/>
                  </a:lnTo>
                  <a:lnTo>
                    <a:pt x="2112" y="840"/>
                  </a:lnTo>
                  <a:lnTo>
                    <a:pt x="2112" y="834"/>
                  </a:lnTo>
                  <a:lnTo>
                    <a:pt x="2124" y="834"/>
                  </a:lnTo>
                  <a:lnTo>
                    <a:pt x="2130" y="834"/>
                  </a:lnTo>
                  <a:lnTo>
                    <a:pt x="2136" y="840"/>
                  </a:lnTo>
                  <a:lnTo>
                    <a:pt x="2142" y="840"/>
                  </a:lnTo>
                  <a:lnTo>
                    <a:pt x="2154" y="852"/>
                  </a:lnTo>
                  <a:lnTo>
                    <a:pt x="2160" y="852"/>
                  </a:lnTo>
                  <a:lnTo>
                    <a:pt x="2172" y="846"/>
                  </a:lnTo>
                  <a:lnTo>
                    <a:pt x="2178" y="846"/>
                  </a:lnTo>
                  <a:lnTo>
                    <a:pt x="2184" y="846"/>
                  </a:lnTo>
                  <a:lnTo>
                    <a:pt x="2190" y="846"/>
                  </a:lnTo>
                  <a:lnTo>
                    <a:pt x="2196" y="852"/>
                  </a:lnTo>
                  <a:lnTo>
                    <a:pt x="2196" y="858"/>
                  </a:lnTo>
                  <a:lnTo>
                    <a:pt x="2202" y="852"/>
                  </a:lnTo>
                  <a:lnTo>
                    <a:pt x="2208" y="846"/>
                  </a:lnTo>
                  <a:lnTo>
                    <a:pt x="2214" y="846"/>
                  </a:lnTo>
                  <a:lnTo>
                    <a:pt x="2226" y="846"/>
                  </a:lnTo>
                  <a:lnTo>
                    <a:pt x="2232" y="852"/>
                  </a:lnTo>
                  <a:lnTo>
                    <a:pt x="2238" y="852"/>
                  </a:lnTo>
                  <a:lnTo>
                    <a:pt x="2244" y="858"/>
                  </a:lnTo>
                  <a:lnTo>
                    <a:pt x="2250" y="858"/>
                  </a:lnTo>
                  <a:lnTo>
                    <a:pt x="2256" y="858"/>
                  </a:lnTo>
                  <a:lnTo>
                    <a:pt x="2262" y="858"/>
                  </a:lnTo>
                  <a:lnTo>
                    <a:pt x="2268" y="852"/>
                  </a:lnTo>
                  <a:lnTo>
                    <a:pt x="2274" y="852"/>
                  </a:lnTo>
                  <a:lnTo>
                    <a:pt x="2280" y="852"/>
                  </a:lnTo>
                  <a:lnTo>
                    <a:pt x="2286" y="852"/>
                  </a:lnTo>
                  <a:lnTo>
                    <a:pt x="2298" y="858"/>
                  </a:lnTo>
                  <a:lnTo>
                    <a:pt x="2304" y="858"/>
                  </a:lnTo>
                  <a:lnTo>
                    <a:pt x="2310" y="858"/>
                  </a:lnTo>
                  <a:lnTo>
                    <a:pt x="2316" y="852"/>
                  </a:lnTo>
                  <a:lnTo>
                    <a:pt x="2322" y="858"/>
                  </a:lnTo>
                  <a:lnTo>
                    <a:pt x="2328" y="858"/>
                  </a:lnTo>
                  <a:lnTo>
                    <a:pt x="2328" y="852"/>
                  </a:lnTo>
                  <a:lnTo>
                    <a:pt x="2364" y="858"/>
                  </a:lnTo>
                  <a:lnTo>
                    <a:pt x="2376" y="876"/>
                  </a:lnTo>
                  <a:lnTo>
                    <a:pt x="2382" y="936"/>
                  </a:lnTo>
                  <a:lnTo>
                    <a:pt x="2388" y="966"/>
                  </a:lnTo>
                  <a:lnTo>
                    <a:pt x="2382" y="972"/>
                  </a:lnTo>
                  <a:lnTo>
                    <a:pt x="2382" y="978"/>
                  </a:lnTo>
                  <a:lnTo>
                    <a:pt x="2382" y="984"/>
                  </a:lnTo>
                  <a:lnTo>
                    <a:pt x="2388" y="990"/>
                  </a:lnTo>
                  <a:lnTo>
                    <a:pt x="2382" y="990"/>
                  </a:lnTo>
                  <a:lnTo>
                    <a:pt x="2382" y="996"/>
                  </a:lnTo>
                  <a:lnTo>
                    <a:pt x="2376" y="996"/>
                  </a:lnTo>
                  <a:lnTo>
                    <a:pt x="2376" y="1020"/>
                  </a:lnTo>
                  <a:lnTo>
                    <a:pt x="2370" y="1032"/>
                  </a:lnTo>
                  <a:lnTo>
                    <a:pt x="2352" y="1032"/>
                  </a:lnTo>
                  <a:lnTo>
                    <a:pt x="2346" y="1020"/>
                  </a:lnTo>
                  <a:lnTo>
                    <a:pt x="2328" y="1032"/>
                  </a:lnTo>
                  <a:lnTo>
                    <a:pt x="2316" y="1038"/>
                  </a:lnTo>
                  <a:lnTo>
                    <a:pt x="2328" y="1044"/>
                  </a:lnTo>
                  <a:lnTo>
                    <a:pt x="2340" y="1056"/>
                  </a:lnTo>
                  <a:lnTo>
                    <a:pt x="2376" y="1062"/>
                  </a:lnTo>
                  <a:lnTo>
                    <a:pt x="2376" y="1068"/>
                  </a:lnTo>
                  <a:lnTo>
                    <a:pt x="2382" y="1086"/>
                  </a:lnTo>
                  <a:lnTo>
                    <a:pt x="2376" y="1086"/>
                  </a:lnTo>
                  <a:lnTo>
                    <a:pt x="2370" y="1086"/>
                  </a:lnTo>
                  <a:lnTo>
                    <a:pt x="2364" y="1086"/>
                  </a:lnTo>
                  <a:lnTo>
                    <a:pt x="2364" y="1098"/>
                  </a:lnTo>
                  <a:lnTo>
                    <a:pt x="2388" y="1104"/>
                  </a:lnTo>
                  <a:lnTo>
                    <a:pt x="2400" y="1122"/>
                  </a:lnTo>
                  <a:lnTo>
                    <a:pt x="2400" y="1134"/>
                  </a:lnTo>
                  <a:lnTo>
                    <a:pt x="2400" y="1146"/>
                  </a:lnTo>
                  <a:lnTo>
                    <a:pt x="2394" y="1146"/>
                  </a:lnTo>
                  <a:lnTo>
                    <a:pt x="2394" y="1152"/>
                  </a:lnTo>
                  <a:lnTo>
                    <a:pt x="2388" y="1152"/>
                  </a:lnTo>
                  <a:lnTo>
                    <a:pt x="2388" y="1146"/>
                  </a:lnTo>
                  <a:lnTo>
                    <a:pt x="2382" y="1152"/>
                  </a:lnTo>
                  <a:lnTo>
                    <a:pt x="2376" y="1152"/>
                  </a:lnTo>
                  <a:lnTo>
                    <a:pt x="2370" y="1158"/>
                  </a:lnTo>
                  <a:lnTo>
                    <a:pt x="2370" y="1164"/>
                  </a:lnTo>
                  <a:lnTo>
                    <a:pt x="2364" y="1170"/>
                  </a:lnTo>
                  <a:lnTo>
                    <a:pt x="2370" y="1170"/>
                  </a:lnTo>
                  <a:lnTo>
                    <a:pt x="2376" y="1170"/>
                  </a:lnTo>
                  <a:lnTo>
                    <a:pt x="2370" y="1176"/>
                  </a:lnTo>
                  <a:lnTo>
                    <a:pt x="2364" y="1176"/>
                  </a:lnTo>
                  <a:lnTo>
                    <a:pt x="2358" y="1182"/>
                  </a:lnTo>
                  <a:lnTo>
                    <a:pt x="2352" y="1182"/>
                  </a:lnTo>
                  <a:lnTo>
                    <a:pt x="2346" y="1188"/>
                  </a:lnTo>
                  <a:lnTo>
                    <a:pt x="2340" y="1182"/>
                  </a:lnTo>
                  <a:lnTo>
                    <a:pt x="2334" y="1182"/>
                  </a:lnTo>
                  <a:lnTo>
                    <a:pt x="2334" y="1188"/>
                  </a:lnTo>
                  <a:lnTo>
                    <a:pt x="2328" y="1194"/>
                  </a:lnTo>
                  <a:lnTo>
                    <a:pt x="2328" y="1200"/>
                  </a:lnTo>
                  <a:lnTo>
                    <a:pt x="2322" y="1224"/>
                  </a:lnTo>
                  <a:lnTo>
                    <a:pt x="2328" y="1230"/>
                  </a:lnTo>
                  <a:lnTo>
                    <a:pt x="2358" y="1230"/>
                  </a:lnTo>
                  <a:lnTo>
                    <a:pt x="2358" y="1242"/>
                  </a:lnTo>
                  <a:lnTo>
                    <a:pt x="2358" y="1254"/>
                  </a:lnTo>
                  <a:lnTo>
                    <a:pt x="2346" y="1254"/>
                  </a:lnTo>
                  <a:lnTo>
                    <a:pt x="2346" y="1278"/>
                  </a:lnTo>
                  <a:lnTo>
                    <a:pt x="2358" y="1278"/>
                  </a:lnTo>
                  <a:lnTo>
                    <a:pt x="2358" y="1284"/>
                  </a:lnTo>
                  <a:lnTo>
                    <a:pt x="2376" y="1284"/>
                  </a:lnTo>
                  <a:lnTo>
                    <a:pt x="2388" y="1278"/>
                  </a:lnTo>
                  <a:lnTo>
                    <a:pt x="2406" y="1278"/>
                  </a:lnTo>
                  <a:lnTo>
                    <a:pt x="2430" y="1284"/>
                  </a:lnTo>
                  <a:lnTo>
                    <a:pt x="2430" y="1302"/>
                  </a:lnTo>
                  <a:lnTo>
                    <a:pt x="2430" y="1314"/>
                  </a:lnTo>
                  <a:lnTo>
                    <a:pt x="2424" y="1326"/>
                  </a:lnTo>
                  <a:lnTo>
                    <a:pt x="2412" y="1326"/>
                  </a:lnTo>
                  <a:lnTo>
                    <a:pt x="2412" y="1344"/>
                  </a:lnTo>
                  <a:lnTo>
                    <a:pt x="2406" y="1344"/>
                  </a:lnTo>
                  <a:lnTo>
                    <a:pt x="2400" y="1362"/>
                  </a:lnTo>
                  <a:lnTo>
                    <a:pt x="2394" y="1368"/>
                  </a:lnTo>
                  <a:lnTo>
                    <a:pt x="2388" y="1374"/>
                  </a:lnTo>
                  <a:lnTo>
                    <a:pt x="2382" y="1380"/>
                  </a:lnTo>
                  <a:lnTo>
                    <a:pt x="2376" y="1386"/>
                  </a:lnTo>
                  <a:lnTo>
                    <a:pt x="2376" y="1392"/>
                  </a:lnTo>
                  <a:lnTo>
                    <a:pt x="2370" y="1404"/>
                  </a:lnTo>
                  <a:lnTo>
                    <a:pt x="2364" y="1416"/>
                  </a:lnTo>
                  <a:lnTo>
                    <a:pt x="2346" y="1434"/>
                  </a:lnTo>
                  <a:lnTo>
                    <a:pt x="2328" y="1440"/>
                  </a:lnTo>
                  <a:lnTo>
                    <a:pt x="2328" y="1446"/>
                  </a:lnTo>
                  <a:lnTo>
                    <a:pt x="2322" y="1452"/>
                  </a:lnTo>
                  <a:lnTo>
                    <a:pt x="2316" y="1452"/>
                  </a:lnTo>
                  <a:lnTo>
                    <a:pt x="2304" y="1446"/>
                  </a:lnTo>
                  <a:lnTo>
                    <a:pt x="2298" y="1446"/>
                  </a:lnTo>
                  <a:lnTo>
                    <a:pt x="2298" y="1434"/>
                  </a:lnTo>
                  <a:lnTo>
                    <a:pt x="2292" y="1434"/>
                  </a:lnTo>
                  <a:lnTo>
                    <a:pt x="2286" y="1428"/>
                  </a:lnTo>
                  <a:lnTo>
                    <a:pt x="2274" y="1416"/>
                  </a:lnTo>
                  <a:lnTo>
                    <a:pt x="2256" y="1404"/>
                  </a:lnTo>
                  <a:lnTo>
                    <a:pt x="2244" y="1386"/>
                  </a:lnTo>
                  <a:lnTo>
                    <a:pt x="2220" y="1368"/>
                  </a:lnTo>
                  <a:lnTo>
                    <a:pt x="2208" y="1362"/>
                  </a:lnTo>
                  <a:lnTo>
                    <a:pt x="2202" y="1350"/>
                  </a:lnTo>
                  <a:lnTo>
                    <a:pt x="2196" y="1350"/>
                  </a:lnTo>
                  <a:lnTo>
                    <a:pt x="2190" y="1356"/>
                  </a:lnTo>
                  <a:lnTo>
                    <a:pt x="2184" y="1356"/>
                  </a:lnTo>
                  <a:lnTo>
                    <a:pt x="2094" y="1350"/>
                  </a:lnTo>
                  <a:lnTo>
                    <a:pt x="2058" y="1350"/>
                  </a:lnTo>
                  <a:lnTo>
                    <a:pt x="2034" y="1890"/>
                  </a:lnTo>
                  <a:lnTo>
                    <a:pt x="2064" y="1890"/>
                  </a:lnTo>
                  <a:lnTo>
                    <a:pt x="2070" y="1896"/>
                  </a:lnTo>
                  <a:lnTo>
                    <a:pt x="2076" y="18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8" name="Freeform 33">
              <a:extLst>
                <a:ext uri="{FF2B5EF4-FFF2-40B4-BE49-F238E27FC236}">
                  <a16:creationId xmlns:a16="http://schemas.microsoft.com/office/drawing/2014/main" id="{0E96F118-1F4D-4E52-AF27-149259451CD6}"/>
                </a:ext>
              </a:extLst>
            </p:cNvPr>
            <p:cNvSpPr>
              <a:spLocks/>
            </p:cNvSpPr>
            <p:nvPr/>
          </p:nvSpPr>
          <p:spPr bwMode="gray">
            <a:xfrm>
              <a:off x="1266662" y="1459989"/>
              <a:ext cx="903421" cy="778302"/>
            </a:xfrm>
            <a:custGeom>
              <a:avLst/>
              <a:gdLst>
                <a:gd name="T0" fmla="*/ 143 w 1698"/>
                <a:gd name="T1" fmla="*/ 43 h 1464"/>
                <a:gd name="T2" fmla="*/ 131 w 1698"/>
                <a:gd name="T3" fmla="*/ 44 h 1464"/>
                <a:gd name="T4" fmla="*/ 126 w 1698"/>
                <a:gd name="T5" fmla="*/ 41 h 1464"/>
                <a:gd name="T6" fmla="*/ 119 w 1698"/>
                <a:gd name="T7" fmla="*/ 45 h 1464"/>
                <a:gd name="T8" fmla="*/ 111 w 1698"/>
                <a:gd name="T9" fmla="*/ 46 h 1464"/>
                <a:gd name="T10" fmla="*/ 107 w 1698"/>
                <a:gd name="T11" fmla="*/ 50 h 1464"/>
                <a:gd name="T12" fmla="*/ 107 w 1698"/>
                <a:gd name="T13" fmla="*/ 60 h 1464"/>
                <a:gd name="T14" fmla="*/ 104 w 1698"/>
                <a:gd name="T15" fmla="*/ 62 h 1464"/>
                <a:gd name="T16" fmla="*/ 97 w 1698"/>
                <a:gd name="T17" fmla="*/ 59 h 1464"/>
                <a:gd name="T18" fmla="*/ 92 w 1698"/>
                <a:gd name="T19" fmla="*/ 59 h 1464"/>
                <a:gd name="T20" fmla="*/ 90 w 1698"/>
                <a:gd name="T21" fmla="*/ 62 h 1464"/>
                <a:gd name="T22" fmla="*/ 93 w 1698"/>
                <a:gd name="T23" fmla="*/ 77 h 1464"/>
                <a:gd name="T24" fmla="*/ 85 w 1698"/>
                <a:gd name="T25" fmla="*/ 88 h 1464"/>
                <a:gd name="T26" fmla="*/ 70 w 1698"/>
                <a:gd name="T27" fmla="*/ 89 h 1464"/>
                <a:gd name="T28" fmla="*/ 65 w 1698"/>
                <a:gd name="T29" fmla="*/ 88 h 1464"/>
                <a:gd name="T30" fmla="*/ 50 w 1698"/>
                <a:gd name="T31" fmla="*/ 88 h 1464"/>
                <a:gd name="T32" fmla="*/ 48 w 1698"/>
                <a:gd name="T33" fmla="*/ 107 h 1464"/>
                <a:gd name="T34" fmla="*/ 47 w 1698"/>
                <a:gd name="T35" fmla="*/ 120 h 1464"/>
                <a:gd name="T36" fmla="*/ 43 w 1698"/>
                <a:gd name="T37" fmla="*/ 121 h 1464"/>
                <a:gd name="T38" fmla="*/ 40 w 1698"/>
                <a:gd name="T39" fmla="*/ 120 h 1464"/>
                <a:gd name="T40" fmla="*/ 35 w 1698"/>
                <a:gd name="T41" fmla="*/ 122 h 1464"/>
                <a:gd name="T42" fmla="*/ 29 w 1698"/>
                <a:gd name="T43" fmla="*/ 123 h 1464"/>
                <a:gd name="T44" fmla="*/ 24 w 1698"/>
                <a:gd name="T45" fmla="*/ 125 h 1464"/>
                <a:gd name="T46" fmla="*/ 20 w 1698"/>
                <a:gd name="T47" fmla="*/ 125 h 1464"/>
                <a:gd name="T48" fmla="*/ 18 w 1698"/>
                <a:gd name="T49" fmla="*/ 122 h 1464"/>
                <a:gd name="T50" fmla="*/ 26 w 1698"/>
                <a:gd name="T51" fmla="*/ 108 h 1464"/>
                <a:gd name="T52" fmla="*/ 24 w 1698"/>
                <a:gd name="T53" fmla="*/ 89 h 1464"/>
                <a:gd name="T54" fmla="*/ 28 w 1698"/>
                <a:gd name="T55" fmla="*/ 85 h 1464"/>
                <a:gd name="T56" fmla="*/ 32 w 1698"/>
                <a:gd name="T57" fmla="*/ 80 h 1464"/>
                <a:gd name="T58" fmla="*/ 36 w 1698"/>
                <a:gd name="T59" fmla="*/ 86 h 1464"/>
                <a:gd name="T60" fmla="*/ 39 w 1698"/>
                <a:gd name="T61" fmla="*/ 80 h 1464"/>
                <a:gd name="T62" fmla="*/ 41 w 1698"/>
                <a:gd name="T63" fmla="*/ 73 h 1464"/>
                <a:gd name="T64" fmla="*/ 38 w 1698"/>
                <a:gd name="T65" fmla="*/ 64 h 1464"/>
                <a:gd name="T66" fmla="*/ 39 w 1698"/>
                <a:gd name="T67" fmla="*/ 59 h 1464"/>
                <a:gd name="T68" fmla="*/ 32 w 1698"/>
                <a:gd name="T69" fmla="*/ 54 h 1464"/>
                <a:gd name="T70" fmla="*/ 32 w 1698"/>
                <a:gd name="T71" fmla="*/ 45 h 1464"/>
                <a:gd name="T72" fmla="*/ 31 w 1698"/>
                <a:gd name="T73" fmla="*/ 41 h 1464"/>
                <a:gd name="T74" fmla="*/ 24 w 1698"/>
                <a:gd name="T75" fmla="*/ 43 h 1464"/>
                <a:gd name="T76" fmla="*/ 17 w 1698"/>
                <a:gd name="T77" fmla="*/ 40 h 1464"/>
                <a:gd name="T78" fmla="*/ 11 w 1698"/>
                <a:gd name="T79" fmla="*/ 38 h 1464"/>
                <a:gd name="T80" fmla="*/ 2 w 1698"/>
                <a:gd name="T81" fmla="*/ 36 h 1464"/>
                <a:gd name="T82" fmla="*/ 0 w 1698"/>
                <a:gd name="T83" fmla="*/ 24 h 1464"/>
                <a:gd name="T84" fmla="*/ 11 w 1698"/>
                <a:gd name="T85" fmla="*/ 18 h 1464"/>
                <a:gd name="T86" fmla="*/ 19 w 1698"/>
                <a:gd name="T87" fmla="*/ 10 h 1464"/>
                <a:gd name="T88" fmla="*/ 28 w 1698"/>
                <a:gd name="T89" fmla="*/ 9 h 1464"/>
                <a:gd name="T90" fmla="*/ 40 w 1698"/>
                <a:gd name="T91" fmla="*/ 6 h 1464"/>
                <a:gd name="T92" fmla="*/ 49 w 1698"/>
                <a:gd name="T93" fmla="*/ 8 h 1464"/>
                <a:gd name="T94" fmla="*/ 56 w 1698"/>
                <a:gd name="T95" fmla="*/ 8 h 1464"/>
                <a:gd name="T96" fmla="*/ 64 w 1698"/>
                <a:gd name="T97" fmla="*/ 7 h 1464"/>
                <a:gd name="T98" fmla="*/ 74 w 1698"/>
                <a:gd name="T99" fmla="*/ 1 h 1464"/>
                <a:gd name="T100" fmla="*/ 83 w 1698"/>
                <a:gd name="T101" fmla="*/ 3 h 1464"/>
                <a:gd name="T102" fmla="*/ 99 w 1698"/>
                <a:gd name="T103" fmla="*/ 9 h 1464"/>
                <a:gd name="T104" fmla="*/ 112 w 1698"/>
                <a:gd name="T105" fmla="*/ 14 h 1464"/>
                <a:gd name="T106" fmla="*/ 119 w 1698"/>
                <a:gd name="T107" fmla="*/ 12 h 1464"/>
                <a:gd name="T108" fmla="*/ 128 w 1698"/>
                <a:gd name="T109" fmla="*/ 17 h 1464"/>
                <a:gd name="T110" fmla="*/ 141 w 1698"/>
                <a:gd name="T111" fmla="*/ 29 h 1464"/>
                <a:gd name="T112" fmla="*/ 145 w 1698"/>
                <a:gd name="T113" fmla="*/ 35 h 14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98"/>
                <a:gd name="T172" fmla="*/ 0 h 1464"/>
                <a:gd name="T173" fmla="*/ 1698 w 1698"/>
                <a:gd name="T174" fmla="*/ 1464 h 14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98" h="1464">
                  <a:moveTo>
                    <a:pt x="1698" y="462"/>
                  </a:moveTo>
                  <a:lnTo>
                    <a:pt x="1686" y="468"/>
                  </a:lnTo>
                  <a:lnTo>
                    <a:pt x="1680" y="474"/>
                  </a:lnTo>
                  <a:lnTo>
                    <a:pt x="1674" y="480"/>
                  </a:lnTo>
                  <a:lnTo>
                    <a:pt x="1668" y="480"/>
                  </a:lnTo>
                  <a:lnTo>
                    <a:pt x="1662" y="486"/>
                  </a:lnTo>
                  <a:lnTo>
                    <a:pt x="1656" y="492"/>
                  </a:lnTo>
                  <a:lnTo>
                    <a:pt x="1644" y="498"/>
                  </a:lnTo>
                  <a:lnTo>
                    <a:pt x="1626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0" y="516"/>
                  </a:lnTo>
                  <a:lnTo>
                    <a:pt x="1590" y="522"/>
                  </a:lnTo>
                  <a:lnTo>
                    <a:pt x="1566" y="522"/>
                  </a:lnTo>
                  <a:lnTo>
                    <a:pt x="1506" y="510"/>
                  </a:lnTo>
                  <a:lnTo>
                    <a:pt x="1500" y="510"/>
                  </a:lnTo>
                  <a:lnTo>
                    <a:pt x="1488" y="504"/>
                  </a:lnTo>
                  <a:lnTo>
                    <a:pt x="1482" y="498"/>
                  </a:lnTo>
                  <a:lnTo>
                    <a:pt x="1476" y="498"/>
                  </a:lnTo>
                  <a:lnTo>
                    <a:pt x="1476" y="492"/>
                  </a:lnTo>
                  <a:lnTo>
                    <a:pt x="1470" y="492"/>
                  </a:lnTo>
                  <a:lnTo>
                    <a:pt x="1464" y="486"/>
                  </a:lnTo>
                  <a:lnTo>
                    <a:pt x="1452" y="486"/>
                  </a:lnTo>
                  <a:lnTo>
                    <a:pt x="1446" y="474"/>
                  </a:lnTo>
                  <a:lnTo>
                    <a:pt x="1434" y="468"/>
                  </a:lnTo>
                  <a:lnTo>
                    <a:pt x="1416" y="468"/>
                  </a:lnTo>
                  <a:lnTo>
                    <a:pt x="1392" y="468"/>
                  </a:lnTo>
                  <a:lnTo>
                    <a:pt x="1374" y="474"/>
                  </a:lnTo>
                  <a:lnTo>
                    <a:pt x="1368" y="474"/>
                  </a:lnTo>
                  <a:lnTo>
                    <a:pt x="1368" y="486"/>
                  </a:lnTo>
                  <a:lnTo>
                    <a:pt x="1368" y="498"/>
                  </a:lnTo>
                  <a:lnTo>
                    <a:pt x="1368" y="522"/>
                  </a:lnTo>
                  <a:lnTo>
                    <a:pt x="1368" y="534"/>
                  </a:lnTo>
                  <a:lnTo>
                    <a:pt x="1362" y="546"/>
                  </a:lnTo>
                  <a:lnTo>
                    <a:pt x="1356" y="546"/>
                  </a:lnTo>
                  <a:lnTo>
                    <a:pt x="1344" y="540"/>
                  </a:lnTo>
                  <a:lnTo>
                    <a:pt x="1338" y="534"/>
                  </a:lnTo>
                  <a:lnTo>
                    <a:pt x="1308" y="522"/>
                  </a:lnTo>
                  <a:lnTo>
                    <a:pt x="1296" y="522"/>
                  </a:lnTo>
                  <a:lnTo>
                    <a:pt x="1278" y="528"/>
                  </a:lnTo>
                  <a:lnTo>
                    <a:pt x="1260" y="534"/>
                  </a:lnTo>
                  <a:lnTo>
                    <a:pt x="1242" y="546"/>
                  </a:lnTo>
                  <a:lnTo>
                    <a:pt x="1236" y="552"/>
                  </a:lnTo>
                  <a:lnTo>
                    <a:pt x="1224" y="558"/>
                  </a:lnTo>
                  <a:lnTo>
                    <a:pt x="1218" y="558"/>
                  </a:lnTo>
                  <a:lnTo>
                    <a:pt x="1218" y="564"/>
                  </a:lnTo>
                  <a:lnTo>
                    <a:pt x="1224" y="570"/>
                  </a:lnTo>
                  <a:lnTo>
                    <a:pt x="1224" y="582"/>
                  </a:lnTo>
                  <a:lnTo>
                    <a:pt x="1224" y="594"/>
                  </a:lnTo>
                  <a:lnTo>
                    <a:pt x="1212" y="618"/>
                  </a:lnTo>
                  <a:lnTo>
                    <a:pt x="1212" y="624"/>
                  </a:lnTo>
                  <a:lnTo>
                    <a:pt x="1212" y="630"/>
                  </a:lnTo>
                  <a:lnTo>
                    <a:pt x="1212" y="636"/>
                  </a:lnTo>
                  <a:lnTo>
                    <a:pt x="1218" y="654"/>
                  </a:lnTo>
                  <a:lnTo>
                    <a:pt x="1224" y="672"/>
                  </a:lnTo>
                  <a:lnTo>
                    <a:pt x="1230" y="696"/>
                  </a:lnTo>
                  <a:lnTo>
                    <a:pt x="1236" y="708"/>
                  </a:lnTo>
                  <a:lnTo>
                    <a:pt x="1236" y="714"/>
                  </a:lnTo>
                  <a:lnTo>
                    <a:pt x="1236" y="720"/>
                  </a:lnTo>
                  <a:lnTo>
                    <a:pt x="1218" y="726"/>
                  </a:lnTo>
                  <a:lnTo>
                    <a:pt x="1212" y="726"/>
                  </a:lnTo>
                  <a:lnTo>
                    <a:pt x="1206" y="726"/>
                  </a:lnTo>
                  <a:lnTo>
                    <a:pt x="1194" y="720"/>
                  </a:lnTo>
                  <a:lnTo>
                    <a:pt x="1194" y="714"/>
                  </a:lnTo>
                  <a:lnTo>
                    <a:pt x="1176" y="714"/>
                  </a:lnTo>
                  <a:lnTo>
                    <a:pt x="1164" y="708"/>
                  </a:lnTo>
                  <a:lnTo>
                    <a:pt x="1158" y="708"/>
                  </a:lnTo>
                  <a:lnTo>
                    <a:pt x="1140" y="702"/>
                  </a:lnTo>
                  <a:lnTo>
                    <a:pt x="1134" y="696"/>
                  </a:lnTo>
                  <a:lnTo>
                    <a:pt x="1128" y="690"/>
                  </a:lnTo>
                  <a:lnTo>
                    <a:pt x="1116" y="678"/>
                  </a:lnTo>
                  <a:lnTo>
                    <a:pt x="1110" y="678"/>
                  </a:lnTo>
                  <a:lnTo>
                    <a:pt x="1104" y="672"/>
                  </a:lnTo>
                  <a:lnTo>
                    <a:pt x="1092" y="672"/>
                  </a:lnTo>
                  <a:lnTo>
                    <a:pt x="1086" y="672"/>
                  </a:lnTo>
                  <a:lnTo>
                    <a:pt x="1080" y="672"/>
                  </a:lnTo>
                  <a:lnTo>
                    <a:pt x="1074" y="672"/>
                  </a:lnTo>
                  <a:lnTo>
                    <a:pt x="1068" y="672"/>
                  </a:lnTo>
                  <a:lnTo>
                    <a:pt x="1062" y="678"/>
                  </a:lnTo>
                  <a:lnTo>
                    <a:pt x="1056" y="678"/>
                  </a:lnTo>
                  <a:lnTo>
                    <a:pt x="1056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6"/>
                  </a:lnTo>
                  <a:lnTo>
                    <a:pt x="1032" y="708"/>
                  </a:lnTo>
                  <a:lnTo>
                    <a:pt x="1026" y="708"/>
                  </a:lnTo>
                  <a:lnTo>
                    <a:pt x="1032" y="714"/>
                  </a:lnTo>
                  <a:lnTo>
                    <a:pt x="1026" y="720"/>
                  </a:lnTo>
                  <a:lnTo>
                    <a:pt x="1020" y="720"/>
                  </a:lnTo>
                  <a:lnTo>
                    <a:pt x="1014" y="732"/>
                  </a:lnTo>
                  <a:lnTo>
                    <a:pt x="1014" y="744"/>
                  </a:lnTo>
                  <a:lnTo>
                    <a:pt x="1038" y="810"/>
                  </a:lnTo>
                  <a:lnTo>
                    <a:pt x="1050" y="834"/>
                  </a:lnTo>
                  <a:lnTo>
                    <a:pt x="1056" y="858"/>
                  </a:lnTo>
                  <a:lnTo>
                    <a:pt x="1062" y="876"/>
                  </a:lnTo>
                  <a:lnTo>
                    <a:pt x="1068" y="882"/>
                  </a:lnTo>
                  <a:lnTo>
                    <a:pt x="1062" y="972"/>
                  </a:lnTo>
                  <a:lnTo>
                    <a:pt x="1056" y="972"/>
                  </a:lnTo>
                  <a:lnTo>
                    <a:pt x="1050" y="996"/>
                  </a:lnTo>
                  <a:lnTo>
                    <a:pt x="1044" y="1014"/>
                  </a:lnTo>
                  <a:lnTo>
                    <a:pt x="1008" y="1014"/>
                  </a:lnTo>
                  <a:lnTo>
                    <a:pt x="1008" y="1008"/>
                  </a:lnTo>
                  <a:lnTo>
                    <a:pt x="990" y="1008"/>
                  </a:lnTo>
                  <a:lnTo>
                    <a:pt x="972" y="1014"/>
                  </a:lnTo>
                  <a:lnTo>
                    <a:pt x="948" y="1020"/>
                  </a:lnTo>
                  <a:lnTo>
                    <a:pt x="918" y="1026"/>
                  </a:lnTo>
                  <a:lnTo>
                    <a:pt x="840" y="1032"/>
                  </a:lnTo>
                  <a:lnTo>
                    <a:pt x="834" y="1032"/>
                  </a:lnTo>
                  <a:lnTo>
                    <a:pt x="834" y="1026"/>
                  </a:lnTo>
                  <a:lnTo>
                    <a:pt x="822" y="1026"/>
                  </a:lnTo>
                  <a:lnTo>
                    <a:pt x="816" y="1032"/>
                  </a:lnTo>
                  <a:lnTo>
                    <a:pt x="804" y="1032"/>
                  </a:lnTo>
                  <a:lnTo>
                    <a:pt x="798" y="1026"/>
                  </a:lnTo>
                  <a:lnTo>
                    <a:pt x="780" y="1026"/>
                  </a:lnTo>
                  <a:lnTo>
                    <a:pt x="762" y="1026"/>
                  </a:lnTo>
                  <a:lnTo>
                    <a:pt x="756" y="1026"/>
                  </a:lnTo>
                  <a:lnTo>
                    <a:pt x="750" y="1026"/>
                  </a:lnTo>
                  <a:lnTo>
                    <a:pt x="756" y="1020"/>
                  </a:lnTo>
                  <a:lnTo>
                    <a:pt x="750" y="1020"/>
                  </a:lnTo>
                  <a:lnTo>
                    <a:pt x="744" y="1014"/>
                  </a:lnTo>
                  <a:lnTo>
                    <a:pt x="684" y="1020"/>
                  </a:lnTo>
                  <a:lnTo>
                    <a:pt x="648" y="1020"/>
                  </a:lnTo>
                  <a:lnTo>
                    <a:pt x="630" y="1020"/>
                  </a:lnTo>
                  <a:lnTo>
                    <a:pt x="618" y="1020"/>
                  </a:lnTo>
                  <a:lnTo>
                    <a:pt x="606" y="1014"/>
                  </a:lnTo>
                  <a:lnTo>
                    <a:pt x="582" y="1014"/>
                  </a:lnTo>
                  <a:lnTo>
                    <a:pt x="576" y="1014"/>
                  </a:lnTo>
                  <a:lnTo>
                    <a:pt x="570" y="1014"/>
                  </a:lnTo>
                  <a:lnTo>
                    <a:pt x="564" y="1020"/>
                  </a:lnTo>
                  <a:lnTo>
                    <a:pt x="558" y="1026"/>
                  </a:lnTo>
                  <a:lnTo>
                    <a:pt x="552" y="1032"/>
                  </a:lnTo>
                  <a:lnTo>
                    <a:pt x="552" y="1038"/>
                  </a:lnTo>
                  <a:lnTo>
                    <a:pt x="558" y="1194"/>
                  </a:lnTo>
                  <a:lnTo>
                    <a:pt x="558" y="1206"/>
                  </a:lnTo>
                  <a:lnTo>
                    <a:pt x="552" y="1218"/>
                  </a:lnTo>
                  <a:lnTo>
                    <a:pt x="552" y="1236"/>
                  </a:lnTo>
                  <a:lnTo>
                    <a:pt x="546" y="1272"/>
                  </a:lnTo>
                  <a:lnTo>
                    <a:pt x="546" y="1308"/>
                  </a:lnTo>
                  <a:lnTo>
                    <a:pt x="540" y="1332"/>
                  </a:lnTo>
                  <a:lnTo>
                    <a:pt x="546" y="1356"/>
                  </a:lnTo>
                  <a:lnTo>
                    <a:pt x="546" y="1362"/>
                  </a:lnTo>
                  <a:lnTo>
                    <a:pt x="546" y="1374"/>
                  </a:lnTo>
                  <a:lnTo>
                    <a:pt x="546" y="1380"/>
                  </a:lnTo>
                  <a:lnTo>
                    <a:pt x="540" y="1380"/>
                  </a:lnTo>
                  <a:lnTo>
                    <a:pt x="522" y="1380"/>
                  </a:lnTo>
                  <a:lnTo>
                    <a:pt x="516" y="1380"/>
                  </a:lnTo>
                  <a:lnTo>
                    <a:pt x="516" y="1386"/>
                  </a:lnTo>
                  <a:lnTo>
                    <a:pt x="516" y="1392"/>
                  </a:lnTo>
                  <a:lnTo>
                    <a:pt x="510" y="1392"/>
                  </a:lnTo>
                  <a:lnTo>
                    <a:pt x="504" y="1386"/>
                  </a:lnTo>
                  <a:lnTo>
                    <a:pt x="498" y="1392"/>
                  </a:lnTo>
                  <a:lnTo>
                    <a:pt x="492" y="1398"/>
                  </a:lnTo>
                  <a:lnTo>
                    <a:pt x="486" y="1398"/>
                  </a:lnTo>
                  <a:lnTo>
                    <a:pt x="486" y="1392"/>
                  </a:lnTo>
                  <a:lnTo>
                    <a:pt x="486" y="1380"/>
                  </a:lnTo>
                  <a:lnTo>
                    <a:pt x="486" y="1374"/>
                  </a:lnTo>
                  <a:lnTo>
                    <a:pt x="480" y="1374"/>
                  </a:lnTo>
                  <a:lnTo>
                    <a:pt x="474" y="1374"/>
                  </a:lnTo>
                  <a:lnTo>
                    <a:pt x="468" y="1380"/>
                  </a:lnTo>
                  <a:lnTo>
                    <a:pt x="462" y="1380"/>
                  </a:lnTo>
                  <a:lnTo>
                    <a:pt x="456" y="1380"/>
                  </a:lnTo>
                  <a:lnTo>
                    <a:pt x="450" y="1386"/>
                  </a:lnTo>
                  <a:lnTo>
                    <a:pt x="444" y="1386"/>
                  </a:lnTo>
                  <a:lnTo>
                    <a:pt x="444" y="1392"/>
                  </a:lnTo>
                  <a:lnTo>
                    <a:pt x="432" y="1398"/>
                  </a:lnTo>
                  <a:lnTo>
                    <a:pt x="426" y="1404"/>
                  </a:lnTo>
                  <a:lnTo>
                    <a:pt x="420" y="1404"/>
                  </a:lnTo>
                  <a:lnTo>
                    <a:pt x="408" y="1404"/>
                  </a:lnTo>
                  <a:lnTo>
                    <a:pt x="378" y="1410"/>
                  </a:lnTo>
                  <a:lnTo>
                    <a:pt x="372" y="1410"/>
                  </a:lnTo>
                  <a:lnTo>
                    <a:pt x="360" y="1410"/>
                  </a:lnTo>
                  <a:lnTo>
                    <a:pt x="354" y="1416"/>
                  </a:lnTo>
                  <a:lnTo>
                    <a:pt x="348" y="1416"/>
                  </a:lnTo>
                  <a:lnTo>
                    <a:pt x="342" y="1410"/>
                  </a:lnTo>
                  <a:lnTo>
                    <a:pt x="336" y="1410"/>
                  </a:lnTo>
                  <a:lnTo>
                    <a:pt x="336" y="1416"/>
                  </a:lnTo>
                  <a:lnTo>
                    <a:pt x="330" y="1422"/>
                  </a:lnTo>
                  <a:lnTo>
                    <a:pt x="324" y="1422"/>
                  </a:lnTo>
                  <a:lnTo>
                    <a:pt x="318" y="1422"/>
                  </a:lnTo>
                  <a:lnTo>
                    <a:pt x="312" y="1428"/>
                  </a:lnTo>
                  <a:lnTo>
                    <a:pt x="312" y="1434"/>
                  </a:lnTo>
                  <a:lnTo>
                    <a:pt x="300" y="1428"/>
                  </a:lnTo>
                  <a:lnTo>
                    <a:pt x="288" y="1434"/>
                  </a:lnTo>
                  <a:lnTo>
                    <a:pt x="282" y="1440"/>
                  </a:lnTo>
                  <a:lnTo>
                    <a:pt x="282" y="1446"/>
                  </a:lnTo>
                  <a:lnTo>
                    <a:pt x="276" y="1446"/>
                  </a:lnTo>
                  <a:lnTo>
                    <a:pt x="276" y="1452"/>
                  </a:lnTo>
                  <a:lnTo>
                    <a:pt x="270" y="1452"/>
                  </a:lnTo>
                  <a:lnTo>
                    <a:pt x="258" y="1464"/>
                  </a:lnTo>
                  <a:lnTo>
                    <a:pt x="240" y="1458"/>
                  </a:lnTo>
                  <a:lnTo>
                    <a:pt x="234" y="1452"/>
                  </a:lnTo>
                  <a:lnTo>
                    <a:pt x="234" y="1446"/>
                  </a:lnTo>
                  <a:lnTo>
                    <a:pt x="228" y="1446"/>
                  </a:lnTo>
                  <a:lnTo>
                    <a:pt x="222" y="1440"/>
                  </a:lnTo>
                  <a:lnTo>
                    <a:pt x="216" y="1440"/>
                  </a:lnTo>
                  <a:lnTo>
                    <a:pt x="210" y="1428"/>
                  </a:lnTo>
                  <a:lnTo>
                    <a:pt x="210" y="1422"/>
                  </a:lnTo>
                  <a:lnTo>
                    <a:pt x="198" y="1416"/>
                  </a:lnTo>
                  <a:lnTo>
                    <a:pt x="204" y="1410"/>
                  </a:lnTo>
                  <a:lnTo>
                    <a:pt x="210" y="1404"/>
                  </a:lnTo>
                  <a:lnTo>
                    <a:pt x="210" y="1398"/>
                  </a:lnTo>
                  <a:lnTo>
                    <a:pt x="252" y="1368"/>
                  </a:lnTo>
                  <a:lnTo>
                    <a:pt x="276" y="1350"/>
                  </a:lnTo>
                  <a:lnTo>
                    <a:pt x="300" y="1338"/>
                  </a:lnTo>
                  <a:lnTo>
                    <a:pt x="294" y="1314"/>
                  </a:lnTo>
                  <a:lnTo>
                    <a:pt x="288" y="1308"/>
                  </a:lnTo>
                  <a:lnTo>
                    <a:pt x="300" y="1266"/>
                  </a:lnTo>
                  <a:lnTo>
                    <a:pt x="300" y="1242"/>
                  </a:lnTo>
                  <a:lnTo>
                    <a:pt x="300" y="1206"/>
                  </a:lnTo>
                  <a:lnTo>
                    <a:pt x="300" y="1164"/>
                  </a:lnTo>
                  <a:lnTo>
                    <a:pt x="294" y="1134"/>
                  </a:lnTo>
                  <a:lnTo>
                    <a:pt x="282" y="1086"/>
                  </a:lnTo>
                  <a:lnTo>
                    <a:pt x="276" y="1074"/>
                  </a:lnTo>
                  <a:lnTo>
                    <a:pt x="276" y="1056"/>
                  </a:lnTo>
                  <a:lnTo>
                    <a:pt x="270" y="1038"/>
                  </a:lnTo>
                  <a:lnTo>
                    <a:pt x="270" y="1020"/>
                  </a:lnTo>
                  <a:lnTo>
                    <a:pt x="282" y="1020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94" y="1002"/>
                  </a:lnTo>
                  <a:lnTo>
                    <a:pt x="306" y="996"/>
                  </a:lnTo>
                  <a:lnTo>
                    <a:pt x="312" y="990"/>
                  </a:lnTo>
                  <a:lnTo>
                    <a:pt x="318" y="990"/>
                  </a:lnTo>
                  <a:lnTo>
                    <a:pt x="324" y="984"/>
                  </a:lnTo>
                  <a:lnTo>
                    <a:pt x="324" y="978"/>
                  </a:lnTo>
                  <a:lnTo>
                    <a:pt x="324" y="972"/>
                  </a:lnTo>
                  <a:lnTo>
                    <a:pt x="324" y="954"/>
                  </a:lnTo>
                  <a:lnTo>
                    <a:pt x="336" y="948"/>
                  </a:lnTo>
                  <a:lnTo>
                    <a:pt x="342" y="936"/>
                  </a:lnTo>
                  <a:lnTo>
                    <a:pt x="348" y="924"/>
                  </a:lnTo>
                  <a:lnTo>
                    <a:pt x="354" y="924"/>
                  </a:lnTo>
                  <a:lnTo>
                    <a:pt x="372" y="924"/>
                  </a:lnTo>
                  <a:lnTo>
                    <a:pt x="372" y="930"/>
                  </a:lnTo>
                  <a:lnTo>
                    <a:pt x="378" y="930"/>
                  </a:lnTo>
                  <a:lnTo>
                    <a:pt x="378" y="936"/>
                  </a:lnTo>
                  <a:lnTo>
                    <a:pt x="384" y="936"/>
                  </a:lnTo>
                  <a:lnTo>
                    <a:pt x="384" y="942"/>
                  </a:lnTo>
                  <a:lnTo>
                    <a:pt x="402" y="942"/>
                  </a:lnTo>
                  <a:lnTo>
                    <a:pt x="402" y="996"/>
                  </a:lnTo>
                  <a:lnTo>
                    <a:pt x="414" y="996"/>
                  </a:lnTo>
                  <a:lnTo>
                    <a:pt x="420" y="996"/>
                  </a:lnTo>
                  <a:lnTo>
                    <a:pt x="426" y="996"/>
                  </a:lnTo>
                  <a:lnTo>
                    <a:pt x="432" y="996"/>
                  </a:lnTo>
                  <a:lnTo>
                    <a:pt x="438" y="996"/>
                  </a:lnTo>
                  <a:lnTo>
                    <a:pt x="438" y="942"/>
                  </a:lnTo>
                  <a:lnTo>
                    <a:pt x="444" y="930"/>
                  </a:lnTo>
                  <a:lnTo>
                    <a:pt x="444" y="924"/>
                  </a:lnTo>
                  <a:lnTo>
                    <a:pt x="444" y="918"/>
                  </a:lnTo>
                  <a:lnTo>
                    <a:pt x="462" y="918"/>
                  </a:lnTo>
                  <a:lnTo>
                    <a:pt x="474" y="906"/>
                  </a:lnTo>
                  <a:lnTo>
                    <a:pt x="480" y="900"/>
                  </a:lnTo>
                  <a:lnTo>
                    <a:pt x="486" y="888"/>
                  </a:lnTo>
                  <a:lnTo>
                    <a:pt x="492" y="876"/>
                  </a:lnTo>
                  <a:lnTo>
                    <a:pt x="492" y="858"/>
                  </a:lnTo>
                  <a:lnTo>
                    <a:pt x="480" y="858"/>
                  </a:lnTo>
                  <a:lnTo>
                    <a:pt x="474" y="840"/>
                  </a:lnTo>
                  <a:lnTo>
                    <a:pt x="450" y="834"/>
                  </a:lnTo>
                  <a:lnTo>
                    <a:pt x="438" y="816"/>
                  </a:lnTo>
                  <a:lnTo>
                    <a:pt x="432" y="792"/>
                  </a:lnTo>
                  <a:lnTo>
                    <a:pt x="432" y="786"/>
                  </a:lnTo>
                  <a:lnTo>
                    <a:pt x="432" y="774"/>
                  </a:lnTo>
                  <a:lnTo>
                    <a:pt x="432" y="762"/>
                  </a:lnTo>
                  <a:lnTo>
                    <a:pt x="438" y="750"/>
                  </a:lnTo>
                  <a:lnTo>
                    <a:pt x="438" y="738"/>
                  </a:lnTo>
                  <a:lnTo>
                    <a:pt x="444" y="732"/>
                  </a:lnTo>
                  <a:lnTo>
                    <a:pt x="450" y="732"/>
                  </a:lnTo>
                  <a:lnTo>
                    <a:pt x="456" y="732"/>
                  </a:lnTo>
                  <a:lnTo>
                    <a:pt x="456" y="726"/>
                  </a:lnTo>
                  <a:lnTo>
                    <a:pt x="456" y="714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44" y="684"/>
                  </a:lnTo>
                  <a:lnTo>
                    <a:pt x="438" y="666"/>
                  </a:lnTo>
                  <a:lnTo>
                    <a:pt x="426" y="666"/>
                  </a:lnTo>
                  <a:lnTo>
                    <a:pt x="432" y="666"/>
                  </a:lnTo>
                  <a:lnTo>
                    <a:pt x="420" y="666"/>
                  </a:lnTo>
                  <a:lnTo>
                    <a:pt x="414" y="660"/>
                  </a:lnTo>
                  <a:lnTo>
                    <a:pt x="396" y="654"/>
                  </a:lnTo>
                  <a:lnTo>
                    <a:pt x="384" y="642"/>
                  </a:lnTo>
                  <a:lnTo>
                    <a:pt x="366" y="624"/>
                  </a:lnTo>
                  <a:lnTo>
                    <a:pt x="354" y="606"/>
                  </a:lnTo>
                  <a:lnTo>
                    <a:pt x="342" y="588"/>
                  </a:lnTo>
                  <a:lnTo>
                    <a:pt x="342" y="582"/>
                  </a:lnTo>
                  <a:lnTo>
                    <a:pt x="360" y="564"/>
                  </a:lnTo>
                  <a:lnTo>
                    <a:pt x="372" y="540"/>
                  </a:lnTo>
                  <a:lnTo>
                    <a:pt x="366" y="528"/>
                  </a:lnTo>
                  <a:lnTo>
                    <a:pt x="366" y="522"/>
                  </a:lnTo>
                  <a:lnTo>
                    <a:pt x="372" y="516"/>
                  </a:lnTo>
                  <a:lnTo>
                    <a:pt x="384" y="504"/>
                  </a:lnTo>
                  <a:lnTo>
                    <a:pt x="378" y="492"/>
                  </a:lnTo>
                  <a:lnTo>
                    <a:pt x="378" y="486"/>
                  </a:lnTo>
                  <a:lnTo>
                    <a:pt x="378" y="480"/>
                  </a:lnTo>
                  <a:lnTo>
                    <a:pt x="378" y="474"/>
                  </a:lnTo>
                  <a:lnTo>
                    <a:pt x="378" y="468"/>
                  </a:lnTo>
                  <a:lnTo>
                    <a:pt x="366" y="468"/>
                  </a:lnTo>
                  <a:lnTo>
                    <a:pt x="360" y="474"/>
                  </a:lnTo>
                  <a:lnTo>
                    <a:pt x="354" y="480"/>
                  </a:lnTo>
                  <a:lnTo>
                    <a:pt x="348" y="486"/>
                  </a:lnTo>
                  <a:lnTo>
                    <a:pt x="348" y="492"/>
                  </a:lnTo>
                  <a:lnTo>
                    <a:pt x="336" y="510"/>
                  </a:lnTo>
                  <a:lnTo>
                    <a:pt x="300" y="516"/>
                  </a:lnTo>
                  <a:lnTo>
                    <a:pt x="300" y="510"/>
                  </a:lnTo>
                  <a:lnTo>
                    <a:pt x="282" y="504"/>
                  </a:lnTo>
                  <a:lnTo>
                    <a:pt x="282" y="498"/>
                  </a:lnTo>
                  <a:lnTo>
                    <a:pt x="264" y="486"/>
                  </a:lnTo>
                  <a:lnTo>
                    <a:pt x="258" y="492"/>
                  </a:lnTo>
                  <a:lnTo>
                    <a:pt x="234" y="492"/>
                  </a:lnTo>
                  <a:lnTo>
                    <a:pt x="222" y="486"/>
                  </a:lnTo>
                  <a:lnTo>
                    <a:pt x="204" y="480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92" y="462"/>
                  </a:lnTo>
                  <a:lnTo>
                    <a:pt x="186" y="462"/>
                  </a:lnTo>
                  <a:lnTo>
                    <a:pt x="180" y="468"/>
                  </a:lnTo>
                  <a:lnTo>
                    <a:pt x="150" y="450"/>
                  </a:lnTo>
                  <a:lnTo>
                    <a:pt x="144" y="438"/>
                  </a:lnTo>
                  <a:lnTo>
                    <a:pt x="138" y="438"/>
                  </a:lnTo>
                  <a:lnTo>
                    <a:pt x="132" y="432"/>
                  </a:lnTo>
                  <a:lnTo>
                    <a:pt x="126" y="432"/>
                  </a:lnTo>
                  <a:lnTo>
                    <a:pt x="120" y="432"/>
                  </a:lnTo>
                  <a:lnTo>
                    <a:pt x="102" y="426"/>
                  </a:lnTo>
                  <a:lnTo>
                    <a:pt x="96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2" y="414"/>
                  </a:lnTo>
                  <a:lnTo>
                    <a:pt x="60" y="414"/>
                  </a:lnTo>
                  <a:lnTo>
                    <a:pt x="30" y="414"/>
                  </a:lnTo>
                  <a:lnTo>
                    <a:pt x="24" y="414"/>
                  </a:lnTo>
                  <a:lnTo>
                    <a:pt x="12" y="414"/>
                  </a:lnTo>
                  <a:lnTo>
                    <a:pt x="0" y="420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0" y="336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30" y="270"/>
                  </a:lnTo>
                  <a:lnTo>
                    <a:pt x="42" y="270"/>
                  </a:lnTo>
                  <a:lnTo>
                    <a:pt x="54" y="264"/>
                  </a:lnTo>
                  <a:lnTo>
                    <a:pt x="78" y="240"/>
                  </a:lnTo>
                  <a:lnTo>
                    <a:pt x="102" y="216"/>
                  </a:lnTo>
                  <a:lnTo>
                    <a:pt x="114" y="210"/>
                  </a:lnTo>
                  <a:lnTo>
                    <a:pt x="120" y="204"/>
                  </a:lnTo>
                  <a:lnTo>
                    <a:pt x="126" y="198"/>
                  </a:lnTo>
                  <a:lnTo>
                    <a:pt x="138" y="18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38"/>
                  </a:lnTo>
                  <a:lnTo>
                    <a:pt x="210" y="126"/>
                  </a:lnTo>
                  <a:lnTo>
                    <a:pt x="216" y="120"/>
                  </a:lnTo>
                  <a:lnTo>
                    <a:pt x="222" y="120"/>
                  </a:lnTo>
                  <a:lnTo>
                    <a:pt x="258" y="114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300" y="102"/>
                  </a:lnTo>
                  <a:lnTo>
                    <a:pt x="312" y="102"/>
                  </a:lnTo>
                  <a:lnTo>
                    <a:pt x="318" y="102"/>
                  </a:lnTo>
                  <a:lnTo>
                    <a:pt x="348" y="96"/>
                  </a:lnTo>
                  <a:lnTo>
                    <a:pt x="366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408" y="84"/>
                  </a:lnTo>
                  <a:lnTo>
                    <a:pt x="420" y="84"/>
                  </a:lnTo>
                  <a:lnTo>
                    <a:pt x="462" y="72"/>
                  </a:lnTo>
                  <a:lnTo>
                    <a:pt x="474" y="72"/>
                  </a:lnTo>
                  <a:lnTo>
                    <a:pt x="474" y="78"/>
                  </a:lnTo>
                  <a:lnTo>
                    <a:pt x="492" y="90"/>
                  </a:lnTo>
                  <a:lnTo>
                    <a:pt x="498" y="90"/>
                  </a:lnTo>
                  <a:lnTo>
                    <a:pt x="522" y="96"/>
                  </a:lnTo>
                  <a:lnTo>
                    <a:pt x="540" y="96"/>
                  </a:lnTo>
                  <a:lnTo>
                    <a:pt x="546" y="96"/>
                  </a:lnTo>
                  <a:lnTo>
                    <a:pt x="558" y="96"/>
                  </a:lnTo>
                  <a:lnTo>
                    <a:pt x="564" y="96"/>
                  </a:lnTo>
                  <a:lnTo>
                    <a:pt x="576" y="96"/>
                  </a:lnTo>
                  <a:lnTo>
                    <a:pt x="588" y="96"/>
                  </a:lnTo>
                  <a:lnTo>
                    <a:pt x="612" y="90"/>
                  </a:lnTo>
                  <a:lnTo>
                    <a:pt x="624" y="90"/>
                  </a:lnTo>
                  <a:lnTo>
                    <a:pt x="636" y="90"/>
                  </a:lnTo>
                  <a:lnTo>
                    <a:pt x="642" y="90"/>
                  </a:lnTo>
                  <a:lnTo>
                    <a:pt x="648" y="96"/>
                  </a:lnTo>
                  <a:lnTo>
                    <a:pt x="660" y="96"/>
                  </a:lnTo>
                  <a:lnTo>
                    <a:pt x="666" y="96"/>
                  </a:lnTo>
                  <a:lnTo>
                    <a:pt x="672" y="96"/>
                  </a:lnTo>
                  <a:lnTo>
                    <a:pt x="684" y="96"/>
                  </a:lnTo>
                  <a:lnTo>
                    <a:pt x="708" y="96"/>
                  </a:lnTo>
                  <a:lnTo>
                    <a:pt x="714" y="96"/>
                  </a:lnTo>
                  <a:lnTo>
                    <a:pt x="726" y="96"/>
                  </a:lnTo>
                  <a:lnTo>
                    <a:pt x="738" y="84"/>
                  </a:lnTo>
                  <a:lnTo>
                    <a:pt x="744" y="78"/>
                  </a:lnTo>
                  <a:lnTo>
                    <a:pt x="756" y="66"/>
                  </a:lnTo>
                  <a:lnTo>
                    <a:pt x="774" y="42"/>
                  </a:lnTo>
                  <a:lnTo>
                    <a:pt x="780" y="30"/>
                  </a:lnTo>
                  <a:lnTo>
                    <a:pt x="816" y="24"/>
                  </a:lnTo>
                  <a:lnTo>
                    <a:pt x="840" y="18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64" y="6"/>
                  </a:lnTo>
                  <a:lnTo>
                    <a:pt x="870" y="6"/>
                  </a:lnTo>
                  <a:lnTo>
                    <a:pt x="894" y="0"/>
                  </a:lnTo>
                  <a:lnTo>
                    <a:pt x="900" y="6"/>
                  </a:lnTo>
                  <a:lnTo>
                    <a:pt x="930" y="18"/>
                  </a:lnTo>
                  <a:lnTo>
                    <a:pt x="942" y="24"/>
                  </a:lnTo>
                  <a:lnTo>
                    <a:pt x="954" y="30"/>
                  </a:lnTo>
                  <a:lnTo>
                    <a:pt x="1026" y="60"/>
                  </a:lnTo>
                  <a:lnTo>
                    <a:pt x="1032" y="60"/>
                  </a:lnTo>
                  <a:lnTo>
                    <a:pt x="1038" y="66"/>
                  </a:lnTo>
                  <a:lnTo>
                    <a:pt x="1068" y="72"/>
                  </a:lnTo>
                  <a:lnTo>
                    <a:pt x="1098" y="84"/>
                  </a:lnTo>
                  <a:lnTo>
                    <a:pt x="1122" y="90"/>
                  </a:lnTo>
                  <a:lnTo>
                    <a:pt x="1122" y="96"/>
                  </a:lnTo>
                  <a:lnTo>
                    <a:pt x="1140" y="102"/>
                  </a:lnTo>
                  <a:lnTo>
                    <a:pt x="1182" y="114"/>
                  </a:lnTo>
                  <a:lnTo>
                    <a:pt x="1188" y="114"/>
                  </a:lnTo>
                  <a:lnTo>
                    <a:pt x="1200" y="120"/>
                  </a:lnTo>
                  <a:lnTo>
                    <a:pt x="1212" y="126"/>
                  </a:lnTo>
                  <a:lnTo>
                    <a:pt x="1224" y="126"/>
                  </a:lnTo>
                  <a:lnTo>
                    <a:pt x="1248" y="138"/>
                  </a:lnTo>
                  <a:lnTo>
                    <a:pt x="1272" y="150"/>
                  </a:lnTo>
                  <a:lnTo>
                    <a:pt x="1284" y="156"/>
                  </a:lnTo>
                  <a:lnTo>
                    <a:pt x="1290" y="162"/>
                  </a:lnTo>
                  <a:lnTo>
                    <a:pt x="1296" y="162"/>
                  </a:lnTo>
                  <a:lnTo>
                    <a:pt x="1308" y="156"/>
                  </a:lnTo>
                  <a:lnTo>
                    <a:pt x="1320" y="150"/>
                  </a:lnTo>
                  <a:lnTo>
                    <a:pt x="1326" y="150"/>
                  </a:lnTo>
                  <a:lnTo>
                    <a:pt x="1338" y="144"/>
                  </a:lnTo>
                  <a:lnTo>
                    <a:pt x="1362" y="144"/>
                  </a:lnTo>
                  <a:lnTo>
                    <a:pt x="1368" y="144"/>
                  </a:lnTo>
                  <a:lnTo>
                    <a:pt x="1374" y="144"/>
                  </a:lnTo>
                  <a:lnTo>
                    <a:pt x="1386" y="150"/>
                  </a:lnTo>
                  <a:lnTo>
                    <a:pt x="1392" y="150"/>
                  </a:lnTo>
                  <a:lnTo>
                    <a:pt x="1398" y="150"/>
                  </a:lnTo>
                  <a:lnTo>
                    <a:pt x="1416" y="162"/>
                  </a:lnTo>
                  <a:lnTo>
                    <a:pt x="1458" y="186"/>
                  </a:lnTo>
                  <a:lnTo>
                    <a:pt x="1464" y="186"/>
                  </a:lnTo>
                  <a:lnTo>
                    <a:pt x="1470" y="192"/>
                  </a:lnTo>
                  <a:lnTo>
                    <a:pt x="1482" y="204"/>
                  </a:lnTo>
                  <a:lnTo>
                    <a:pt x="1512" y="234"/>
                  </a:lnTo>
                  <a:lnTo>
                    <a:pt x="1554" y="276"/>
                  </a:lnTo>
                  <a:lnTo>
                    <a:pt x="1560" y="276"/>
                  </a:lnTo>
                  <a:lnTo>
                    <a:pt x="1566" y="282"/>
                  </a:lnTo>
                  <a:lnTo>
                    <a:pt x="1578" y="294"/>
                  </a:lnTo>
                  <a:lnTo>
                    <a:pt x="1602" y="318"/>
                  </a:lnTo>
                  <a:lnTo>
                    <a:pt x="1614" y="330"/>
                  </a:lnTo>
                  <a:lnTo>
                    <a:pt x="1620" y="336"/>
                  </a:lnTo>
                  <a:lnTo>
                    <a:pt x="1626" y="342"/>
                  </a:lnTo>
                  <a:lnTo>
                    <a:pt x="1632" y="354"/>
                  </a:lnTo>
                  <a:lnTo>
                    <a:pt x="1644" y="366"/>
                  </a:lnTo>
                  <a:lnTo>
                    <a:pt x="1650" y="378"/>
                  </a:lnTo>
                  <a:lnTo>
                    <a:pt x="1650" y="384"/>
                  </a:lnTo>
                  <a:lnTo>
                    <a:pt x="1656" y="384"/>
                  </a:lnTo>
                  <a:lnTo>
                    <a:pt x="1662" y="402"/>
                  </a:lnTo>
                  <a:lnTo>
                    <a:pt x="1668" y="408"/>
                  </a:lnTo>
                  <a:lnTo>
                    <a:pt x="1674" y="426"/>
                  </a:lnTo>
                  <a:lnTo>
                    <a:pt x="1686" y="438"/>
                  </a:lnTo>
                  <a:lnTo>
                    <a:pt x="1698" y="46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9" name="Freeform 34">
              <a:extLst>
                <a:ext uri="{FF2B5EF4-FFF2-40B4-BE49-F238E27FC236}">
                  <a16:creationId xmlns:a16="http://schemas.microsoft.com/office/drawing/2014/main" id="{94603F24-8CF7-4226-A433-00D18CA7D9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1988" y="1681402"/>
              <a:ext cx="869877" cy="1060101"/>
            </a:xfrm>
            <a:custGeom>
              <a:avLst/>
              <a:gdLst>
                <a:gd name="T0" fmla="*/ 4 w 1638"/>
                <a:gd name="T1" fmla="*/ 111 h 1998"/>
                <a:gd name="T2" fmla="*/ 6 w 1638"/>
                <a:gd name="T3" fmla="*/ 87 h 1998"/>
                <a:gd name="T4" fmla="*/ 10 w 1638"/>
                <a:gd name="T5" fmla="*/ 80 h 1998"/>
                <a:gd name="T6" fmla="*/ 10 w 1638"/>
                <a:gd name="T7" fmla="*/ 71 h 1998"/>
                <a:gd name="T8" fmla="*/ 9 w 1638"/>
                <a:gd name="T9" fmla="*/ 56 h 1998"/>
                <a:gd name="T10" fmla="*/ 8 w 1638"/>
                <a:gd name="T11" fmla="*/ 40 h 1998"/>
                <a:gd name="T12" fmla="*/ 20 w 1638"/>
                <a:gd name="T13" fmla="*/ 30 h 1998"/>
                <a:gd name="T14" fmla="*/ 30 w 1638"/>
                <a:gd name="T15" fmla="*/ 19 h 1998"/>
                <a:gd name="T16" fmla="*/ 35 w 1638"/>
                <a:gd name="T17" fmla="*/ 2 h 1998"/>
                <a:gd name="T18" fmla="*/ 47 w 1638"/>
                <a:gd name="T19" fmla="*/ 2 h 1998"/>
                <a:gd name="T20" fmla="*/ 56 w 1638"/>
                <a:gd name="T21" fmla="*/ 7 h 1998"/>
                <a:gd name="T22" fmla="*/ 67 w 1638"/>
                <a:gd name="T23" fmla="*/ 5 h 1998"/>
                <a:gd name="T24" fmla="*/ 65 w 1638"/>
                <a:gd name="T25" fmla="*/ 15 h 1998"/>
                <a:gd name="T26" fmla="*/ 74 w 1638"/>
                <a:gd name="T27" fmla="*/ 24 h 1998"/>
                <a:gd name="T28" fmla="*/ 73 w 1638"/>
                <a:gd name="T29" fmla="*/ 33 h 1998"/>
                <a:gd name="T30" fmla="*/ 74 w 1638"/>
                <a:gd name="T31" fmla="*/ 44 h 1998"/>
                <a:gd name="T32" fmla="*/ 68 w 1638"/>
                <a:gd name="T33" fmla="*/ 45 h 1998"/>
                <a:gd name="T34" fmla="*/ 63 w 1638"/>
                <a:gd name="T35" fmla="*/ 50 h 1998"/>
                <a:gd name="T36" fmla="*/ 61 w 1638"/>
                <a:gd name="T37" fmla="*/ 62 h 1998"/>
                <a:gd name="T38" fmla="*/ 53 w 1638"/>
                <a:gd name="T39" fmla="*/ 86 h 1998"/>
                <a:gd name="T40" fmla="*/ 59 w 1638"/>
                <a:gd name="T41" fmla="*/ 90 h 1998"/>
                <a:gd name="T42" fmla="*/ 65 w 1638"/>
                <a:gd name="T43" fmla="*/ 86 h 1998"/>
                <a:gd name="T44" fmla="*/ 74 w 1638"/>
                <a:gd name="T45" fmla="*/ 84 h 1998"/>
                <a:gd name="T46" fmla="*/ 79 w 1638"/>
                <a:gd name="T47" fmla="*/ 85 h 1998"/>
                <a:gd name="T48" fmla="*/ 84 w 1638"/>
                <a:gd name="T49" fmla="*/ 84 h 1998"/>
                <a:gd name="T50" fmla="*/ 91 w 1638"/>
                <a:gd name="T51" fmla="*/ 84 h 1998"/>
                <a:gd name="T52" fmla="*/ 94 w 1638"/>
                <a:gd name="T53" fmla="*/ 81 h 1998"/>
                <a:gd name="T54" fmla="*/ 100 w 1638"/>
                <a:gd name="T55" fmla="*/ 81 h 1998"/>
                <a:gd name="T56" fmla="*/ 102 w 1638"/>
                <a:gd name="T57" fmla="*/ 84 h 1998"/>
                <a:gd name="T58" fmla="*/ 108 w 1638"/>
                <a:gd name="T59" fmla="*/ 85 h 1998"/>
                <a:gd name="T60" fmla="*/ 113 w 1638"/>
                <a:gd name="T61" fmla="*/ 88 h 1998"/>
                <a:gd name="T62" fmla="*/ 116 w 1638"/>
                <a:gd name="T63" fmla="*/ 88 h 1998"/>
                <a:gd name="T64" fmla="*/ 123 w 1638"/>
                <a:gd name="T65" fmla="*/ 87 h 1998"/>
                <a:gd name="T66" fmla="*/ 128 w 1638"/>
                <a:gd name="T67" fmla="*/ 86 h 1998"/>
                <a:gd name="T68" fmla="*/ 132 w 1638"/>
                <a:gd name="T69" fmla="*/ 90 h 1998"/>
                <a:gd name="T70" fmla="*/ 138 w 1638"/>
                <a:gd name="T71" fmla="*/ 96 h 1998"/>
                <a:gd name="T72" fmla="*/ 138 w 1638"/>
                <a:gd name="T73" fmla="*/ 110 h 1998"/>
                <a:gd name="T74" fmla="*/ 137 w 1638"/>
                <a:gd name="T75" fmla="*/ 118 h 1998"/>
                <a:gd name="T76" fmla="*/ 133 w 1638"/>
                <a:gd name="T77" fmla="*/ 124 h 1998"/>
                <a:gd name="T78" fmla="*/ 122 w 1638"/>
                <a:gd name="T79" fmla="*/ 125 h 1998"/>
                <a:gd name="T80" fmla="*/ 116 w 1638"/>
                <a:gd name="T81" fmla="*/ 127 h 1998"/>
                <a:gd name="T82" fmla="*/ 108 w 1638"/>
                <a:gd name="T83" fmla="*/ 123 h 1998"/>
                <a:gd name="T84" fmla="*/ 109 w 1638"/>
                <a:gd name="T85" fmla="*/ 119 h 1998"/>
                <a:gd name="T86" fmla="*/ 104 w 1638"/>
                <a:gd name="T87" fmla="*/ 104 h 1998"/>
                <a:gd name="T88" fmla="*/ 94 w 1638"/>
                <a:gd name="T89" fmla="*/ 105 h 1998"/>
                <a:gd name="T90" fmla="*/ 88 w 1638"/>
                <a:gd name="T91" fmla="*/ 109 h 1998"/>
                <a:gd name="T92" fmla="*/ 76 w 1638"/>
                <a:gd name="T93" fmla="*/ 107 h 1998"/>
                <a:gd name="T94" fmla="*/ 72 w 1638"/>
                <a:gd name="T95" fmla="*/ 114 h 1998"/>
                <a:gd name="T96" fmla="*/ 86 w 1638"/>
                <a:gd name="T97" fmla="*/ 121 h 1998"/>
                <a:gd name="T98" fmla="*/ 87 w 1638"/>
                <a:gd name="T99" fmla="*/ 129 h 1998"/>
                <a:gd name="T100" fmla="*/ 86 w 1638"/>
                <a:gd name="T101" fmla="*/ 137 h 1998"/>
                <a:gd name="T102" fmla="*/ 79 w 1638"/>
                <a:gd name="T103" fmla="*/ 141 h 1998"/>
                <a:gd name="T104" fmla="*/ 73 w 1638"/>
                <a:gd name="T105" fmla="*/ 144 h 1998"/>
                <a:gd name="T106" fmla="*/ 72 w 1638"/>
                <a:gd name="T107" fmla="*/ 164 h 1998"/>
                <a:gd name="T108" fmla="*/ 68 w 1638"/>
                <a:gd name="T109" fmla="*/ 172 h 1998"/>
                <a:gd name="T110" fmla="*/ 59 w 1638"/>
                <a:gd name="T111" fmla="*/ 164 h 1998"/>
                <a:gd name="T112" fmla="*/ 65 w 1638"/>
                <a:gd name="T113" fmla="*/ 146 h 1998"/>
                <a:gd name="T114" fmla="*/ 69 w 1638"/>
                <a:gd name="T115" fmla="*/ 133 h 1998"/>
                <a:gd name="T116" fmla="*/ 61 w 1638"/>
                <a:gd name="T117" fmla="*/ 131 h 1998"/>
                <a:gd name="T118" fmla="*/ 43 w 1638"/>
                <a:gd name="T119" fmla="*/ 125 h 1998"/>
                <a:gd name="T120" fmla="*/ 23 w 1638"/>
                <a:gd name="T121" fmla="*/ 125 h 1998"/>
                <a:gd name="T122" fmla="*/ 17 w 1638"/>
                <a:gd name="T123" fmla="*/ 121 h 19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638"/>
                <a:gd name="T187" fmla="*/ 0 h 1998"/>
                <a:gd name="T188" fmla="*/ 1638 w 1638"/>
                <a:gd name="T189" fmla="*/ 1998 h 19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638" h="1998">
                  <a:moveTo>
                    <a:pt x="144" y="1380"/>
                  </a:moveTo>
                  <a:lnTo>
                    <a:pt x="150" y="1368"/>
                  </a:lnTo>
                  <a:lnTo>
                    <a:pt x="150" y="1362"/>
                  </a:lnTo>
                  <a:lnTo>
                    <a:pt x="150" y="1356"/>
                  </a:lnTo>
                  <a:lnTo>
                    <a:pt x="144" y="1356"/>
                  </a:lnTo>
                  <a:lnTo>
                    <a:pt x="138" y="1356"/>
                  </a:lnTo>
                  <a:lnTo>
                    <a:pt x="126" y="1356"/>
                  </a:lnTo>
                  <a:lnTo>
                    <a:pt x="114" y="1344"/>
                  </a:lnTo>
                  <a:lnTo>
                    <a:pt x="84" y="1320"/>
                  </a:lnTo>
                  <a:lnTo>
                    <a:pt x="54" y="1296"/>
                  </a:lnTo>
                  <a:lnTo>
                    <a:pt x="48" y="1290"/>
                  </a:lnTo>
                  <a:lnTo>
                    <a:pt x="42" y="1278"/>
                  </a:lnTo>
                  <a:lnTo>
                    <a:pt x="30" y="1272"/>
                  </a:lnTo>
                  <a:lnTo>
                    <a:pt x="0" y="1248"/>
                  </a:lnTo>
                  <a:lnTo>
                    <a:pt x="6" y="1230"/>
                  </a:lnTo>
                  <a:lnTo>
                    <a:pt x="12" y="1194"/>
                  </a:lnTo>
                  <a:lnTo>
                    <a:pt x="18" y="1170"/>
                  </a:lnTo>
                  <a:lnTo>
                    <a:pt x="30" y="1134"/>
                  </a:lnTo>
                  <a:lnTo>
                    <a:pt x="36" y="1086"/>
                  </a:lnTo>
                  <a:lnTo>
                    <a:pt x="42" y="1050"/>
                  </a:lnTo>
                  <a:lnTo>
                    <a:pt x="48" y="1044"/>
                  </a:lnTo>
                  <a:lnTo>
                    <a:pt x="54" y="1026"/>
                  </a:lnTo>
                  <a:lnTo>
                    <a:pt x="60" y="1014"/>
                  </a:lnTo>
                  <a:lnTo>
                    <a:pt x="66" y="1002"/>
                  </a:lnTo>
                  <a:lnTo>
                    <a:pt x="66" y="996"/>
                  </a:lnTo>
                  <a:lnTo>
                    <a:pt x="72" y="996"/>
                  </a:lnTo>
                  <a:lnTo>
                    <a:pt x="72" y="990"/>
                  </a:lnTo>
                  <a:lnTo>
                    <a:pt x="78" y="990"/>
                  </a:lnTo>
                  <a:lnTo>
                    <a:pt x="90" y="978"/>
                  </a:lnTo>
                  <a:lnTo>
                    <a:pt x="96" y="966"/>
                  </a:lnTo>
                  <a:lnTo>
                    <a:pt x="102" y="966"/>
                  </a:lnTo>
                  <a:lnTo>
                    <a:pt x="114" y="954"/>
                  </a:lnTo>
                  <a:lnTo>
                    <a:pt x="120" y="954"/>
                  </a:lnTo>
                  <a:lnTo>
                    <a:pt x="120" y="948"/>
                  </a:lnTo>
                  <a:lnTo>
                    <a:pt x="114" y="930"/>
                  </a:lnTo>
                  <a:lnTo>
                    <a:pt x="114" y="924"/>
                  </a:lnTo>
                  <a:lnTo>
                    <a:pt x="108" y="918"/>
                  </a:lnTo>
                  <a:lnTo>
                    <a:pt x="102" y="912"/>
                  </a:lnTo>
                  <a:lnTo>
                    <a:pt x="90" y="906"/>
                  </a:lnTo>
                  <a:lnTo>
                    <a:pt x="84" y="900"/>
                  </a:lnTo>
                  <a:lnTo>
                    <a:pt x="84" y="888"/>
                  </a:lnTo>
                  <a:lnTo>
                    <a:pt x="84" y="882"/>
                  </a:lnTo>
                  <a:lnTo>
                    <a:pt x="78" y="858"/>
                  </a:lnTo>
                  <a:lnTo>
                    <a:pt x="78" y="852"/>
                  </a:lnTo>
                  <a:lnTo>
                    <a:pt x="84" y="846"/>
                  </a:lnTo>
                  <a:lnTo>
                    <a:pt x="84" y="840"/>
                  </a:lnTo>
                  <a:lnTo>
                    <a:pt x="96" y="828"/>
                  </a:lnTo>
                  <a:lnTo>
                    <a:pt x="114" y="816"/>
                  </a:lnTo>
                  <a:lnTo>
                    <a:pt x="114" y="810"/>
                  </a:lnTo>
                  <a:lnTo>
                    <a:pt x="114" y="804"/>
                  </a:lnTo>
                  <a:lnTo>
                    <a:pt x="108" y="780"/>
                  </a:lnTo>
                  <a:lnTo>
                    <a:pt x="96" y="756"/>
                  </a:lnTo>
                  <a:lnTo>
                    <a:pt x="96" y="750"/>
                  </a:lnTo>
                  <a:lnTo>
                    <a:pt x="90" y="720"/>
                  </a:lnTo>
                  <a:lnTo>
                    <a:pt x="90" y="708"/>
                  </a:lnTo>
                  <a:lnTo>
                    <a:pt x="90" y="690"/>
                  </a:lnTo>
                  <a:lnTo>
                    <a:pt x="96" y="672"/>
                  </a:lnTo>
                  <a:lnTo>
                    <a:pt x="90" y="666"/>
                  </a:lnTo>
                  <a:lnTo>
                    <a:pt x="96" y="666"/>
                  </a:lnTo>
                  <a:lnTo>
                    <a:pt x="102" y="642"/>
                  </a:lnTo>
                  <a:lnTo>
                    <a:pt x="108" y="624"/>
                  </a:lnTo>
                  <a:lnTo>
                    <a:pt x="102" y="618"/>
                  </a:lnTo>
                  <a:lnTo>
                    <a:pt x="102" y="588"/>
                  </a:lnTo>
                  <a:lnTo>
                    <a:pt x="102" y="564"/>
                  </a:lnTo>
                  <a:lnTo>
                    <a:pt x="102" y="546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0"/>
                  </a:lnTo>
                  <a:lnTo>
                    <a:pt x="96" y="498"/>
                  </a:lnTo>
                  <a:lnTo>
                    <a:pt x="96" y="486"/>
                  </a:lnTo>
                  <a:lnTo>
                    <a:pt x="96" y="474"/>
                  </a:lnTo>
                  <a:lnTo>
                    <a:pt x="96" y="462"/>
                  </a:lnTo>
                  <a:lnTo>
                    <a:pt x="114" y="450"/>
                  </a:lnTo>
                  <a:lnTo>
                    <a:pt x="126" y="438"/>
                  </a:lnTo>
                  <a:lnTo>
                    <a:pt x="132" y="432"/>
                  </a:lnTo>
                  <a:lnTo>
                    <a:pt x="144" y="426"/>
                  </a:lnTo>
                  <a:lnTo>
                    <a:pt x="144" y="420"/>
                  </a:lnTo>
                  <a:lnTo>
                    <a:pt x="156" y="414"/>
                  </a:lnTo>
                  <a:lnTo>
                    <a:pt x="162" y="408"/>
                  </a:lnTo>
                  <a:lnTo>
                    <a:pt x="180" y="396"/>
                  </a:lnTo>
                  <a:lnTo>
                    <a:pt x="210" y="372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34" y="348"/>
                  </a:lnTo>
                  <a:lnTo>
                    <a:pt x="240" y="348"/>
                  </a:lnTo>
                  <a:lnTo>
                    <a:pt x="246" y="342"/>
                  </a:lnTo>
                  <a:lnTo>
                    <a:pt x="276" y="318"/>
                  </a:lnTo>
                  <a:lnTo>
                    <a:pt x="282" y="312"/>
                  </a:lnTo>
                  <a:lnTo>
                    <a:pt x="288" y="306"/>
                  </a:lnTo>
                  <a:lnTo>
                    <a:pt x="300" y="288"/>
                  </a:lnTo>
                  <a:lnTo>
                    <a:pt x="306" y="276"/>
                  </a:lnTo>
                  <a:lnTo>
                    <a:pt x="324" y="246"/>
                  </a:lnTo>
                  <a:lnTo>
                    <a:pt x="330" y="240"/>
                  </a:lnTo>
                  <a:lnTo>
                    <a:pt x="336" y="234"/>
                  </a:lnTo>
                  <a:lnTo>
                    <a:pt x="342" y="228"/>
                  </a:lnTo>
                  <a:lnTo>
                    <a:pt x="342" y="216"/>
                  </a:lnTo>
                  <a:lnTo>
                    <a:pt x="354" y="204"/>
                  </a:lnTo>
                  <a:lnTo>
                    <a:pt x="360" y="204"/>
                  </a:lnTo>
                  <a:lnTo>
                    <a:pt x="366" y="186"/>
                  </a:lnTo>
                  <a:lnTo>
                    <a:pt x="384" y="162"/>
                  </a:lnTo>
                  <a:lnTo>
                    <a:pt x="390" y="144"/>
                  </a:lnTo>
                  <a:lnTo>
                    <a:pt x="396" y="114"/>
                  </a:lnTo>
                  <a:lnTo>
                    <a:pt x="396" y="102"/>
                  </a:lnTo>
                  <a:lnTo>
                    <a:pt x="402" y="90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08" y="36"/>
                  </a:lnTo>
                  <a:lnTo>
                    <a:pt x="408" y="24"/>
                  </a:lnTo>
                  <a:lnTo>
                    <a:pt x="408" y="6"/>
                  </a:lnTo>
                  <a:lnTo>
                    <a:pt x="420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68" y="0"/>
                  </a:lnTo>
                  <a:lnTo>
                    <a:pt x="480" y="0"/>
                  </a:lnTo>
                  <a:lnTo>
                    <a:pt x="492" y="0"/>
                  </a:lnTo>
                  <a:lnTo>
                    <a:pt x="498" y="0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8" y="18"/>
                  </a:lnTo>
                  <a:lnTo>
                    <a:pt x="534" y="18"/>
                  </a:lnTo>
                  <a:lnTo>
                    <a:pt x="540" y="18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8" y="36"/>
                  </a:lnTo>
                  <a:lnTo>
                    <a:pt x="588" y="54"/>
                  </a:lnTo>
                  <a:lnTo>
                    <a:pt x="594" y="48"/>
                  </a:lnTo>
                  <a:lnTo>
                    <a:pt x="600" y="48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12" y="66"/>
                  </a:lnTo>
                  <a:lnTo>
                    <a:pt x="630" y="72"/>
                  </a:lnTo>
                  <a:lnTo>
                    <a:pt x="642" y="78"/>
                  </a:lnTo>
                  <a:lnTo>
                    <a:pt x="666" y="78"/>
                  </a:lnTo>
                  <a:lnTo>
                    <a:pt x="672" y="72"/>
                  </a:lnTo>
                  <a:lnTo>
                    <a:pt x="690" y="84"/>
                  </a:lnTo>
                  <a:lnTo>
                    <a:pt x="690" y="90"/>
                  </a:lnTo>
                  <a:lnTo>
                    <a:pt x="708" y="96"/>
                  </a:lnTo>
                  <a:lnTo>
                    <a:pt x="708" y="102"/>
                  </a:lnTo>
                  <a:lnTo>
                    <a:pt x="744" y="96"/>
                  </a:lnTo>
                  <a:lnTo>
                    <a:pt x="756" y="78"/>
                  </a:lnTo>
                  <a:lnTo>
                    <a:pt x="756" y="72"/>
                  </a:lnTo>
                  <a:lnTo>
                    <a:pt x="762" y="66"/>
                  </a:lnTo>
                  <a:lnTo>
                    <a:pt x="768" y="60"/>
                  </a:lnTo>
                  <a:lnTo>
                    <a:pt x="774" y="54"/>
                  </a:lnTo>
                  <a:lnTo>
                    <a:pt x="786" y="54"/>
                  </a:lnTo>
                  <a:lnTo>
                    <a:pt x="786" y="60"/>
                  </a:lnTo>
                  <a:lnTo>
                    <a:pt x="786" y="66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92" y="90"/>
                  </a:lnTo>
                  <a:lnTo>
                    <a:pt x="780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26"/>
                  </a:lnTo>
                  <a:lnTo>
                    <a:pt x="768" y="150"/>
                  </a:lnTo>
                  <a:lnTo>
                    <a:pt x="750" y="168"/>
                  </a:lnTo>
                  <a:lnTo>
                    <a:pt x="750" y="174"/>
                  </a:lnTo>
                  <a:lnTo>
                    <a:pt x="762" y="192"/>
                  </a:lnTo>
                  <a:lnTo>
                    <a:pt x="774" y="210"/>
                  </a:lnTo>
                  <a:lnTo>
                    <a:pt x="792" y="228"/>
                  </a:lnTo>
                  <a:lnTo>
                    <a:pt x="804" y="240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40" y="252"/>
                  </a:lnTo>
                  <a:lnTo>
                    <a:pt x="834" y="252"/>
                  </a:lnTo>
                  <a:lnTo>
                    <a:pt x="846" y="252"/>
                  </a:lnTo>
                  <a:lnTo>
                    <a:pt x="852" y="270"/>
                  </a:lnTo>
                  <a:lnTo>
                    <a:pt x="858" y="282"/>
                  </a:lnTo>
                  <a:lnTo>
                    <a:pt x="858" y="288"/>
                  </a:lnTo>
                  <a:lnTo>
                    <a:pt x="864" y="300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58" y="318"/>
                  </a:lnTo>
                  <a:lnTo>
                    <a:pt x="852" y="318"/>
                  </a:lnTo>
                  <a:lnTo>
                    <a:pt x="846" y="324"/>
                  </a:lnTo>
                  <a:lnTo>
                    <a:pt x="846" y="336"/>
                  </a:lnTo>
                  <a:lnTo>
                    <a:pt x="840" y="348"/>
                  </a:lnTo>
                  <a:lnTo>
                    <a:pt x="840" y="360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46" y="402"/>
                  </a:lnTo>
                  <a:lnTo>
                    <a:pt x="858" y="420"/>
                  </a:lnTo>
                  <a:lnTo>
                    <a:pt x="882" y="426"/>
                  </a:lnTo>
                  <a:lnTo>
                    <a:pt x="888" y="444"/>
                  </a:lnTo>
                  <a:lnTo>
                    <a:pt x="900" y="444"/>
                  </a:lnTo>
                  <a:lnTo>
                    <a:pt x="900" y="462"/>
                  </a:lnTo>
                  <a:lnTo>
                    <a:pt x="894" y="474"/>
                  </a:lnTo>
                  <a:lnTo>
                    <a:pt x="888" y="486"/>
                  </a:lnTo>
                  <a:lnTo>
                    <a:pt x="882" y="492"/>
                  </a:lnTo>
                  <a:lnTo>
                    <a:pt x="870" y="504"/>
                  </a:lnTo>
                  <a:lnTo>
                    <a:pt x="852" y="504"/>
                  </a:lnTo>
                  <a:lnTo>
                    <a:pt x="852" y="510"/>
                  </a:lnTo>
                  <a:lnTo>
                    <a:pt x="852" y="516"/>
                  </a:lnTo>
                  <a:lnTo>
                    <a:pt x="846" y="528"/>
                  </a:lnTo>
                  <a:lnTo>
                    <a:pt x="846" y="582"/>
                  </a:lnTo>
                  <a:lnTo>
                    <a:pt x="840" y="582"/>
                  </a:lnTo>
                  <a:lnTo>
                    <a:pt x="834" y="582"/>
                  </a:lnTo>
                  <a:lnTo>
                    <a:pt x="828" y="582"/>
                  </a:lnTo>
                  <a:lnTo>
                    <a:pt x="822" y="582"/>
                  </a:lnTo>
                  <a:lnTo>
                    <a:pt x="810" y="582"/>
                  </a:lnTo>
                  <a:lnTo>
                    <a:pt x="810" y="528"/>
                  </a:lnTo>
                  <a:lnTo>
                    <a:pt x="792" y="528"/>
                  </a:lnTo>
                  <a:lnTo>
                    <a:pt x="792" y="522"/>
                  </a:lnTo>
                  <a:lnTo>
                    <a:pt x="786" y="522"/>
                  </a:lnTo>
                  <a:lnTo>
                    <a:pt x="786" y="516"/>
                  </a:lnTo>
                  <a:lnTo>
                    <a:pt x="780" y="516"/>
                  </a:lnTo>
                  <a:lnTo>
                    <a:pt x="780" y="510"/>
                  </a:lnTo>
                  <a:lnTo>
                    <a:pt x="762" y="510"/>
                  </a:lnTo>
                  <a:lnTo>
                    <a:pt x="756" y="510"/>
                  </a:lnTo>
                  <a:lnTo>
                    <a:pt x="750" y="522"/>
                  </a:lnTo>
                  <a:lnTo>
                    <a:pt x="744" y="534"/>
                  </a:lnTo>
                  <a:lnTo>
                    <a:pt x="732" y="540"/>
                  </a:lnTo>
                  <a:lnTo>
                    <a:pt x="732" y="558"/>
                  </a:lnTo>
                  <a:lnTo>
                    <a:pt x="732" y="564"/>
                  </a:lnTo>
                  <a:lnTo>
                    <a:pt x="732" y="570"/>
                  </a:lnTo>
                  <a:lnTo>
                    <a:pt x="726" y="576"/>
                  </a:lnTo>
                  <a:lnTo>
                    <a:pt x="720" y="576"/>
                  </a:lnTo>
                  <a:lnTo>
                    <a:pt x="714" y="582"/>
                  </a:lnTo>
                  <a:lnTo>
                    <a:pt x="702" y="588"/>
                  </a:lnTo>
                  <a:lnTo>
                    <a:pt x="696" y="594"/>
                  </a:lnTo>
                  <a:lnTo>
                    <a:pt x="690" y="600"/>
                  </a:lnTo>
                  <a:lnTo>
                    <a:pt x="690" y="606"/>
                  </a:lnTo>
                  <a:lnTo>
                    <a:pt x="678" y="606"/>
                  </a:lnTo>
                  <a:lnTo>
                    <a:pt x="678" y="624"/>
                  </a:lnTo>
                  <a:lnTo>
                    <a:pt x="684" y="642"/>
                  </a:lnTo>
                  <a:lnTo>
                    <a:pt x="684" y="660"/>
                  </a:lnTo>
                  <a:lnTo>
                    <a:pt x="690" y="672"/>
                  </a:lnTo>
                  <a:lnTo>
                    <a:pt x="702" y="720"/>
                  </a:lnTo>
                  <a:lnTo>
                    <a:pt x="708" y="750"/>
                  </a:lnTo>
                  <a:lnTo>
                    <a:pt x="708" y="792"/>
                  </a:lnTo>
                  <a:lnTo>
                    <a:pt x="708" y="828"/>
                  </a:lnTo>
                  <a:lnTo>
                    <a:pt x="708" y="852"/>
                  </a:lnTo>
                  <a:lnTo>
                    <a:pt x="696" y="894"/>
                  </a:lnTo>
                  <a:lnTo>
                    <a:pt x="702" y="900"/>
                  </a:lnTo>
                  <a:lnTo>
                    <a:pt x="708" y="924"/>
                  </a:lnTo>
                  <a:lnTo>
                    <a:pt x="684" y="936"/>
                  </a:lnTo>
                  <a:lnTo>
                    <a:pt x="660" y="954"/>
                  </a:lnTo>
                  <a:lnTo>
                    <a:pt x="618" y="984"/>
                  </a:lnTo>
                  <a:lnTo>
                    <a:pt x="618" y="990"/>
                  </a:lnTo>
                  <a:lnTo>
                    <a:pt x="612" y="996"/>
                  </a:lnTo>
                  <a:lnTo>
                    <a:pt x="606" y="1002"/>
                  </a:lnTo>
                  <a:lnTo>
                    <a:pt x="618" y="1008"/>
                  </a:lnTo>
                  <a:lnTo>
                    <a:pt x="618" y="1014"/>
                  </a:lnTo>
                  <a:lnTo>
                    <a:pt x="624" y="1026"/>
                  </a:lnTo>
                  <a:lnTo>
                    <a:pt x="630" y="1026"/>
                  </a:lnTo>
                  <a:lnTo>
                    <a:pt x="636" y="1032"/>
                  </a:lnTo>
                  <a:lnTo>
                    <a:pt x="642" y="1032"/>
                  </a:lnTo>
                  <a:lnTo>
                    <a:pt x="642" y="1038"/>
                  </a:lnTo>
                  <a:lnTo>
                    <a:pt x="648" y="1044"/>
                  </a:lnTo>
                  <a:lnTo>
                    <a:pt x="666" y="1050"/>
                  </a:lnTo>
                  <a:lnTo>
                    <a:pt x="678" y="1038"/>
                  </a:lnTo>
                  <a:lnTo>
                    <a:pt x="684" y="1038"/>
                  </a:lnTo>
                  <a:lnTo>
                    <a:pt x="684" y="1032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20"/>
                  </a:lnTo>
                  <a:lnTo>
                    <a:pt x="708" y="1014"/>
                  </a:lnTo>
                  <a:lnTo>
                    <a:pt x="720" y="1020"/>
                  </a:lnTo>
                  <a:lnTo>
                    <a:pt x="720" y="1014"/>
                  </a:lnTo>
                  <a:lnTo>
                    <a:pt x="726" y="1008"/>
                  </a:lnTo>
                  <a:lnTo>
                    <a:pt x="732" y="1008"/>
                  </a:lnTo>
                  <a:lnTo>
                    <a:pt x="738" y="1008"/>
                  </a:lnTo>
                  <a:lnTo>
                    <a:pt x="744" y="1002"/>
                  </a:lnTo>
                  <a:lnTo>
                    <a:pt x="744" y="996"/>
                  </a:lnTo>
                  <a:lnTo>
                    <a:pt x="750" y="996"/>
                  </a:lnTo>
                  <a:lnTo>
                    <a:pt x="756" y="1002"/>
                  </a:lnTo>
                  <a:lnTo>
                    <a:pt x="762" y="1002"/>
                  </a:lnTo>
                  <a:lnTo>
                    <a:pt x="768" y="996"/>
                  </a:lnTo>
                  <a:lnTo>
                    <a:pt x="780" y="996"/>
                  </a:lnTo>
                  <a:lnTo>
                    <a:pt x="786" y="996"/>
                  </a:lnTo>
                  <a:lnTo>
                    <a:pt x="816" y="990"/>
                  </a:lnTo>
                  <a:lnTo>
                    <a:pt x="828" y="990"/>
                  </a:lnTo>
                  <a:lnTo>
                    <a:pt x="834" y="990"/>
                  </a:lnTo>
                  <a:lnTo>
                    <a:pt x="840" y="984"/>
                  </a:lnTo>
                  <a:lnTo>
                    <a:pt x="852" y="978"/>
                  </a:lnTo>
                  <a:lnTo>
                    <a:pt x="852" y="972"/>
                  </a:lnTo>
                  <a:lnTo>
                    <a:pt x="858" y="972"/>
                  </a:lnTo>
                  <a:lnTo>
                    <a:pt x="864" y="966"/>
                  </a:lnTo>
                  <a:lnTo>
                    <a:pt x="870" y="966"/>
                  </a:lnTo>
                  <a:lnTo>
                    <a:pt x="876" y="966"/>
                  </a:lnTo>
                  <a:lnTo>
                    <a:pt x="882" y="960"/>
                  </a:lnTo>
                  <a:lnTo>
                    <a:pt x="888" y="960"/>
                  </a:lnTo>
                  <a:lnTo>
                    <a:pt x="894" y="960"/>
                  </a:lnTo>
                  <a:lnTo>
                    <a:pt x="894" y="966"/>
                  </a:lnTo>
                  <a:lnTo>
                    <a:pt x="894" y="978"/>
                  </a:lnTo>
                  <a:lnTo>
                    <a:pt x="894" y="984"/>
                  </a:lnTo>
                  <a:lnTo>
                    <a:pt x="900" y="984"/>
                  </a:lnTo>
                  <a:lnTo>
                    <a:pt x="906" y="978"/>
                  </a:lnTo>
                  <a:lnTo>
                    <a:pt x="912" y="972"/>
                  </a:lnTo>
                  <a:lnTo>
                    <a:pt x="918" y="978"/>
                  </a:lnTo>
                  <a:lnTo>
                    <a:pt x="924" y="978"/>
                  </a:lnTo>
                  <a:lnTo>
                    <a:pt x="924" y="972"/>
                  </a:lnTo>
                  <a:lnTo>
                    <a:pt x="924" y="966"/>
                  </a:lnTo>
                  <a:lnTo>
                    <a:pt x="930" y="966"/>
                  </a:lnTo>
                  <a:lnTo>
                    <a:pt x="948" y="966"/>
                  </a:lnTo>
                  <a:lnTo>
                    <a:pt x="954" y="966"/>
                  </a:lnTo>
                  <a:lnTo>
                    <a:pt x="954" y="960"/>
                  </a:lnTo>
                  <a:lnTo>
                    <a:pt x="960" y="960"/>
                  </a:lnTo>
                  <a:lnTo>
                    <a:pt x="966" y="960"/>
                  </a:lnTo>
                  <a:lnTo>
                    <a:pt x="966" y="966"/>
                  </a:lnTo>
                  <a:lnTo>
                    <a:pt x="978" y="972"/>
                  </a:lnTo>
                  <a:lnTo>
                    <a:pt x="978" y="978"/>
                  </a:lnTo>
                  <a:lnTo>
                    <a:pt x="978" y="984"/>
                  </a:lnTo>
                  <a:lnTo>
                    <a:pt x="984" y="978"/>
                  </a:lnTo>
                  <a:lnTo>
                    <a:pt x="990" y="978"/>
                  </a:lnTo>
                  <a:lnTo>
                    <a:pt x="996" y="984"/>
                  </a:lnTo>
                  <a:lnTo>
                    <a:pt x="1002" y="990"/>
                  </a:lnTo>
                  <a:lnTo>
                    <a:pt x="1008" y="972"/>
                  </a:lnTo>
                  <a:lnTo>
                    <a:pt x="1026" y="972"/>
                  </a:lnTo>
                  <a:lnTo>
                    <a:pt x="1032" y="972"/>
                  </a:lnTo>
                  <a:lnTo>
                    <a:pt x="1038" y="972"/>
                  </a:lnTo>
                  <a:lnTo>
                    <a:pt x="1050" y="972"/>
                  </a:lnTo>
                  <a:lnTo>
                    <a:pt x="1056" y="972"/>
                  </a:lnTo>
                  <a:lnTo>
                    <a:pt x="1062" y="966"/>
                  </a:lnTo>
                  <a:lnTo>
                    <a:pt x="1074" y="966"/>
                  </a:lnTo>
                  <a:lnTo>
                    <a:pt x="1074" y="960"/>
                  </a:lnTo>
                  <a:lnTo>
                    <a:pt x="1080" y="954"/>
                  </a:lnTo>
                  <a:lnTo>
                    <a:pt x="1080" y="948"/>
                  </a:lnTo>
                  <a:lnTo>
                    <a:pt x="1074" y="948"/>
                  </a:lnTo>
                  <a:lnTo>
                    <a:pt x="1068" y="948"/>
                  </a:lnTo>
                  <a:lnTo>
                    <a:pt x="1062" y="942"/>
                  </a:lnTo>
                  <a:lnTo>
                    <a:pt x="1068" y="936"/>
                  </a:lnTo>
                  <a:lnTo>
                    <a:pt x="1074" y="936"/>
                  </a:lnTo>
                  <a:lnTo>
                    <a:pt x="1080" y="936"/>
                  </a:lnTo>
                  <a:lnTo>
                    <a:pt x="1086" y="942"/>
                  </a:lnTo>
                  <a:lnTo>
                    <a:pt x="1092" y="942"/>
                  </a:lnTo>
                  <a:lnTo>
                    <a:pt x="1098" y="948"/>
                  </a:lnTo>
                  <a:lnTo>
                    <a:pt x="1104" y="954"/>
                  </a:lnTo>
                  <a:lnTo>
                    <a:pt x="1110" y="954"/>
                  </a:lnTo>
                  <a:lnTo>
                    <a:pt x="1116" y="948"/>
                  </a:lnTo>
                  <a:lnTo>
                    <a:pt x="1122" y="942"/>
                  </a:lnTo>
                  <a:lnTo>
                    <a:pt x="1128" y="942"/>
                  </a:lnTo>
                  <a:lnTo>
                    <a:pt x="1134" y="942"/>
                  </a:lnTo>
                  <a:lnTo>
                    <a:pt x="1140" y="948"/>
                  </a:lnTo>
                  <a:lnTo>
                    <a:pt x="1146" y="942"/>
                  </a:lnTo>
                  <a:lnTo>
                    <a:pt x="1152" y="942"/>
                  </a:lnTo>
                  <a:lnTo>
                    <a:pt x="1152" y="930"/>
                  </a:lnTo>
                  <a:lnTo>
                    <a:pt x="1164" y="936"/>
                  </a:lnTo>
                  <a:lnTo>
                    <a:pt x="1158" y="942"/>
                  </a:lnTo>
                  <a:lnTo>
                    <a:pt x="1158" y="948"/>
                  </a:lnTo>
                  <a:lnTo>
                    <a:pt x="1146" y="954"/>
                  </a:lnTo>
                  <a:lnTo>
                    <a:pt x="1152" y="954"/>
                  </a:lnTo>
                  <a:lnTo>
                    <a:pt x="1158" y="954"/>
                  </a:lnTo>
                  <a:lnTo>
                    <a:pt x="1158" y="948"/>
                  </a:lnTo>
                  <a:lnTo>
                    <a:pt x="1164" y="948"/>
                  </a:lnTo>
                  <a:lnTo>
                    <a:pt x="1170" y="948"/>
                  </a:lnTo>
                  <a:lnTo>
                    <a:pt x="1176" y="954"/>
                  </a:lnTo>
                  <a:lnTo>
                    <a:pt x="1176" y="966"/>
                  </a:lnTo>
                  <a:lnTo>
                    <a:pt x="1182" y="972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88" y="984"/>
                  </a:lnTo>
                  <a:lnTo>
                    <a:pt x="1194" y="984"/>
                  </a:lnTo>
                  <a:lnTo>
                    <a:pt x="1200" y="984"/>
                  </a:lnTo>
                  <a:lnTo>
                    <a:pt x="1212" y="984"/>
                  </a:lnTo>
                  <a:lnTo>
                    <a:pt x="1218" y="990"/>
                  </a:lnTo>
                  <a:lnTo>
                    <a:pt x="1224" y="990"/>
                  </a:lnTo>
                  <a:lnTo>
                    <a:pt x="1224" y="984"/>
                  </a:lnTo>
                  <a:lnTo>
                    <a:pt x="1230" y="990"/>
                  </a:lnTo>
                  <a:lnTo>
                    <a:pt x="1236" y="984"/>
                  </a:lnTo>
                  <a:lnTo>
                    <a:pt x="1242" y="984"/>
                  </a:lnTo>
                  <a:lnTo>
                    <a:pt x="1248" y="990"/>
                  </a:lnTo>
                  <a:lnTo>
                    <a:pt x="1254" y="990"/>
                  </a:lnTo>
                  <a:lnTo>
                    <a:pt x="1254" y="996"/>
                  </a:lnTo>
                  <a:lnTo>
                    <a:pt x="1254" y="1002"/>
                  </a:lnTo>
                  <a:lnTo>
                    <a:pt x="1254" y="1008"/>
                  </a:lnTo>
                  <a:lnTo>
                    <a:pt x="1260" y="1014"/>
                  </a:lnTo>
                  <a:lnTo>
                    <a:pt x="1266" y="1014"/>
                  </a:lnTo>
                  <a:lnTo>
                    <a:pt x="1272" y="1014"/>
                  </a:lnTo>
                  <a:lnTo>
                    <a:pt x="1278" y="1020"/>
                  </a:lnTo>
                  <a:lnTo>
                    <a:pt x="1284" y="1020"/>
                  </a:lnTo>
                  <a:lnTo>
                    <a:pt x="1290" y="1014"/>
                  </a:lnTo>
                  <a:lnTo>
                    <a:pt x="1290" y="1008"/>
                  </a:lnTo>
                  <a:lnTo>
                    <a:pt x="1296" y="1008"/>
                  </a:lnTo>
                  <a:lnTo>
                    <a:pt x="1302" y="1014"/>
                  </a:lnTo>
                  <a:lnTo>
                    <a:pt x="1308" y="1014"/>
                  </a:lnTo>
                  <a:lnTo>
                    <a:pt x="1314" y="1008"/>
                  </a:lnTo>
                  <a:lnTo>
                    <a:pt x="1320" y="1008"/>
                  </a:lnTo>
                  <a:lnTo>
                    <a:pt x="1320" y="1002"/>
                  </a:lnTo>
                  <a:lnTo>
                    <a:pt x="1320" y="996"/>
                  </a:lnTo>
                  <a:lnTo>
                    <a:pt x="1332" y="1002"/>
                  </a:lnTo>
                  <a:lnTo>
                    <a:pt x="1332" y="1008"/>
                  </a:lnTo>
                  <a:lnTo>
                    <a:pt x="1326" y="1014"/>
                  </a:lnTo>
                  <a:lnTo>
                    <a:pt x="1332" y="1014"/>
                  </a:lnTo>
                  <a:lnTo>
                    <a:pt x="1338" y="1014"/>
                  </a:lnTo>
                  <a:lnTo>
                    <a:pt x="1338" y="1008"/>
                  </a:lnTo>
                  <a:lnTo>
                    <a:pt x="1344" y="1008"/>
                  </a:lnTo>
                  <a:lnTo>
                    <a:pt x="1350" y="1008"/>
                  </a:lnTo>
                  <a:lnTo>
                    <a:pt x="1356" y="1014"/>
                  </a:lnTo>
                  <a:lnTo>
                    <a:pt x="1356" y="1008"/>
                  </a:lnTo>
                  <a:lnTo>
                    <a:pt x="1362" y="1014"/>
                  </a:lnTo>
                  <a:lnTo>
                    <a:pt x="1392" y="1014"/>
                  </a:lnTo>
                  <a:lnTo>
                    <a:pt x="1398" y="1014"/>
                  </a:lnTo>
                  <a:lnTo>
                    <a:pt x="1404" y="1008"/>
                  </a:lnTo>
                  <a:lnTo>
                    <a:pt x="1404" y="1014"/>
                  </a:lnTo>
                  <a:lnTo>
                    <a:pt x="1410" y="1008"/>
                  </a:lnTo>
                  <a:lnTo>
                    <a:pt x="1416" y="1008"/>
                  </a:lnTo>
                  <a:lnTo>
                    <a:pt x="1422" y="1002"/>
                  </a:lnTo>
                  <a:lnTo>
                    <a:pt x="1428" y="1002"/>
                  </a:lnTo>
                  <a:lnTo>
                    <a:pt x="1428" y="996"/>
                  </a:lnTo>
                  <a:lnTo>
                    <a:pt x="1428" y="990"/>
                  </a:lnTo>
                  <a:lnTo>
                    <a:pt x="1440" y="1002"/>
                  </a:lnTo>
                  <a:lnTo>
                    <a:pt x="1446" y="1002"/>
                  </a:lnTo>
                  <a:lnTo>
                    <a:pt x="1452" y="1002"/>
                  </a:lnTo>
                  <a:lnTo>
                    <a:pt x="1446" y="996"/>
                  </a:lnTo>
                  <a:lnTo>
                    <a:pt x="1452" y="996"/>
                  </a:lnTo>
                  <a:lnTo>
                    <a:pt x="1458" y="996"/>
                  </a:lnTo>
                  <a:lnTo>
                    <a:pt x="1464" y="996"/>
                  </a:lnTo>
                  <a:lnTo>
                    <a:pt x="1464" y="1002"/>
                  </a:lnTo>
                  <a:lnTo>
                    <a:pt x="1476" y="1014"/>
                  </a:lnTo>
                  <a:lnTo>
                    <a:pt x="1476" y="1008"/>
                  </a:lnTo>
                  <a:lnTo>
                    <a:pt x="1482" y="1008"/>
                  </a:lnTo>
                  <a:lnTo>
                    <a:pt x="1488" y="1020"/>
                  </a:lnTo>
                  <a:lnTo>
                    <a:pt x="1494" y="1020"/>
                  </a:lnTo>
                  <a:lnTo>
                    <a:pt x="1500" y="1014"/>
                  </a:lnTo>
                  <a:lnTo>
                    <a:pt x="1500" y="1020"/>
                  </a:lnTo>
                  <a:lnTo>
                    <a:pt x="1506" y="1026"/>
                  </a:lnTo>
                  <a:lnTo>
                    <a:pt x="1512" y="1032"/>
                  </a:lnTo>
                  <a:lnTo>
                    <a:pt x="1518" y="1032"/>
                  </a:lnTo>
                  <a:lnTo>
                    <a:pt x="1518" y="1038"/>
                  </a:lnTo>
                  <a:lnTo>
                    <a:pt x="1518" y="1044"/>
                  </a:lnTo>
                  <a:lnTo>
                    <a:pt x="1524" y="1044"/>
                  </a:lnTo>
                  <a:lnTo>
                    <a:pt x="1524" y="1050"/>
                  </a:lnTo>
                  <a:lnTo>
                    <a:pt x="1530" y="1056"/>
                  </a:lnTo>
                  <a:lnTo>
                    <a:pt x="1548" y="1062"/>
                  </a:lnTo>
                  <a:lnTo>
                    <a:pt x="1560" y="1074"/>
                  </a:lnTo>
                  <a:lnTo>
                    <a:pt x="1560" y="1080"/>
                  </a:lnTo>
                  <a:lnTo>
                    <a:pt x="1560" y="1086"/>
                  </a:lnTo>
                  <a:lnTo>
                    <a:pt x="1566" y="1086"/>
                  </a:lnTo>
                  <a:lnTo>
                    <a:pt x="1572" y="1098"/>
                  </a:lnTo>
                  <a:lnTo>
                    <a:pt x="1572" y="1104"/>
                  </a:lnTo>
                  <a:lnTo>
                    <a:pt x="1584" y="1110"/>
                  </a:lnTo>
                  <a:lnTo>
                    <a:pt x="1590" y="1116"/>
                  </a:lnTo>
                  <a:lnTo>
                    <a:pt x="1596" y="1116"/>
                  </a:lnTo>
                  <a:lnTo>
                    <a:pt x="1608" y="1122"/>
                  </a:lnTo>
                  <a:lnTo>
                    <a:pt x="1620" y="1140"/>
                  </a:lnTo>
                  <a:lnTo>
                    <a:pt x="1626" y="1158"/>
                  </a:lnTo>
                  <a:lnTo>
                    <a:pt x="1638" y="1200"/>
                  </a:lnTo>
                  <a:lnTo>
                    <a:pt x="1638" y="1218"/>
                  </a:lnTo>
                  <a:lnTo>
                    <a:pt x="1620" y="1230"/>
                  </a:lnTo>
                  <a:lnTo>
                    <a:pt x="1554" y="1230"/>
                  </a:lnTo>
                  <a:lnTo>
                    <a:pt x="1560" y="1248"/>
                  </a:lnTo>
                  <a:lnTo>
                    <a:pt x="1584" y="1260"/>
                  </a:lnTo>
                  <a:lnTo>
                    <a:pt x="1584" y="1266"/>
                  </a:lnTo>
                  <a:lnTo>
                    <a:pt x="1578" y="1272"/>
                  </a:lnTo>
                  <a:lnTo>
                    <a:pt x="1572" y="1272"/>
                  </a:lnTo>
                  <a:lnTo>
                    <a:pt x="1566" y="1278"/>
                  </a:lnTo>
                  <a:lnTo>
                    <a:pt x="1566" y="1284"/>
                  </a:lnTo>
                  <a:lnTo>
                    <a:pt x="1560" y="1290"/>
                  </a:lnTo>
                  <a:lnTo>
                    <a:pt x="1554" y="1290"/>
                  </a:lnTo>
                  <a:lnTo>
                    <a:pt x="1554" y="1296"/>
                  </a:lnTo>
                  <a:lnTo>
                    <a:pt x="1554" y="1302"/>
                  </a:lnTo>
                  <a:lnTo>
                    <a:pt x="1560" y="1332"/>
                  </a:lnTo>
                  <a:lnTo>
                    <a:pt x="1566" y="1356"/>
                  </a:lnTo>
                  <a:lnTo>
                    <a:pt x="1572" y="1356"/>
                  </a:lnTo>
                  <a:lnTo>
                    <a:pt x="1572" y="1362"/>
                  </a:lnTo>
                  <a:lnTo>
                    <a:pt x="1578" y="1362"/>
                  </a:lnTo>
                  <a:lnTo>
                    <a:pt x="1560" y="1374"/>
                  </a:lnTo>
                  <a:lnTo>
                    <a:pt x="1560" y="1380"/>
                  </a:lnTo>
                  <a:lnTo>
                    <a:pt x="1548" y="1380"/>
                  </a:lnTo>
                  <a:lnTo>
                    <a:pt x="1548" y="1386"/>
                  </a:lnTo>
                  <a:lnTo>
                    <a:pt x="1548" y="1392"/>
                  </a:lnTo>
                  <a:lnTo>
                    <a:pt x="1542" y="1410"/>
                  </a:lnTo>
                  <a:lnTo>
                    <a:pt x="1536" y="1422"/>
                  </a:lnTo>
                  <a:lnTo>
                    <a:pt x="1536" y="1428"/>
                  </a:lnTo>
                  <a:lnTo>
                    <a:pt x="1530" y="1440"/>
                  </a:lnTo>
                  <a:lnTo>
                    <a:pt x="1524" y="1434"/>
                  </a:lnTo>
                  <a:lnTo>
                    <a:pt x="1524" y="1428"/>
                  </a:lnTo>
                  <a:lnTo>
                    <a:pt x="1524" y="1422"/>
                  </a:lnTo>
                  <a:lnTo>
                    <a:pt x="1512" y="1410"/>
                  </a:lnTo>
                  <a:lnTo>
                    <a:pt x="1506" y="1404"/>
                  </a:lnTo>
                  <a:lnTo>
                    <a:pt x="1506" y="1398"/>
                  </a:lnTo>
                  <a:lnTo>
                    <a:pt x="1494" y="1392"/>
                  </a:lnTo>
                  <a:lnTo>
                    <a:pt x="1476" y="1404"/>
                  </a:lnTo>
                  <a:lnTo>
                    <a:pt x="1464" y="1416"/>
                  </a:lnTo>
                  <a:lnTo>
                    <a:pt x="1458" y="1428"/>
                  </a:lnTo>
                  <a:lnTo>
                    <a:pt x="1446" y="1434"/>
                  </a:lnTo>
                  <a:lnTo>
                    <a:pt x="1410" y="1440"/>
                  </a:lnTo>
                  <a:lnTo>
                    <a:pt x="1398" y="1440"/>
                  </a:lnTo>
                  <a:lnTo>
                    <a:pt x="1398" y="1446"/>
                  </a:lnTo>
                  <a:lnTo>
                    <a:pt x="1386" y="1446"/>
                  </a:lnTo>
                  <a:lnTo>
                    <a:pt x="1380" y="1440"/>
                  </a:lnTo>
                  <a:lnTo>
                    <a:pt x="1368" y="1440"/>
                  </a:lnTo>
                  <a:lnTo>
                    <a:pt x="1368" y="1446"/>
                  </a:lnTo>
                  <a:lnTo>
                    <a:pt x="1356" y="1446"/>
                  </a:lnTo>
                  <a:lnTo>
                    <a:pt x="1350" y="1452"/>
                  </a:lnTo>
                  <a:lnTo>
                    <a:pt x="1338" y="1452"/>
                  </a:lnTo>
                  <a:lnTo>
                    <a:pt x="1338" y="1458"/>
                  </a:lnTo>
                  <a:lnTo>
                    <a:pt x="1332" y="1458"/>
                  </a:lnTo>
                  <a:lnTo>
                    <a:pt x="1332" y="1464"/>
                  </a:lnTo>
                  <a:lnTo>
                    <a:pt x="1332" y="1470"/>
                  </a:lnTo>
                  <a:lnTo>
                    <a:pt x="1326" y="1470"/>
                  </a:lnTo>
                  <a:lnTo>
                    <a:pt x="1320" y="1470"/>
                  </a:lnTo>
                  <a:lnTo>
                    <a:pt x="1314" y="1470"/>
                  </a:lnTo>
                  <a:lnTo>
                    <a:pt x="1314" y="1464"/>
                  </a:lnTo>
                  <a:lnTo>
                    <a:pt x="1308" y="1464"/>
                  </a:lnTo>
                  <a:lnTo>
                    <a:pt x="1308" y="1452"/>
                  </a:lnTo>
                  <a:lnTo>
                    <a:pt x="1284" y="1458"/>
                  </a:lnTo>
                  <a:lnTo>
                    <a:pt x="1272" y="1458"/>
                  </a:lnTo>
                  <a:lnTo>
                    <a:pt x="1272" y="1464"/>
                  </a:lnTo>
                  <a:lnTo>
                    <a:pt x="1260" y="1464"/>
                  </a:lnTo>
                  <a:lnTo>
                    <a:pt x="1254" y="1464"/>
                  </a:lnTo>
                  <a:lnTo>
                    <a:pt x="1242" y="1422"/>
                  </a:lnTo>
                  <a:lnTo>
                    <a:pt x="1242" y="1416"/>
                  </a:lnTo>
                  <a:lnTo>
                    <a:pt x="1242" y="1410"/>
                  </a:lnTo>
                  <a:lnTo>
                    <a:pt x="1248" y="1410"/>
                  </a:lnTo>
                  <a:lnTo>
                    <a:pt x="1242" y="1410"/>
                  </a:lnTo>
                  <a:lnTo>
                    <a:pt x="1242" y="1404"/>
                  </a:lnTo>
                  <a:lnTo>
                    <a:pt x="1242" y="1398"/>
                  </a:lnTo>
                  <a:lnTo>
                    <a:pt x="1248" y="1392"/>
                  </a:lnTo>
                  <a:lnTo>
                    <a:pt x="1248" y="1386"/>
                  </a:lnTo>
                  <a:lnTo>
                    <a:pt x="1242" y="1380"/>
                  </a:lnTo>
                  <a:lnTo>
                    <a:pt x="1248" y="1380"/>
                  </a:lnTo>
                  <a:lnTo>
                    <a:pt x="1248" y="1374"/>
                  </a:lnTo>
                  <a:lnTo>
                    <a:pt x="1248" y="1368"/>
                  </a:lnTo>
                  <a:lnTo>
                    <a:pt x="1254" y="1368"/>
                  </a:lnTo>
                  <a:lnTo>
                    <a:pt x="1254" y="1362"/>
                  </a:lnTo>
                  <a:lnTo>
                    <a:pt x="1248" y="1356"/>
                  </a:lnTo>
                  <a:lnTo>
                    <a:pt x="1254" y="1356"/>
                  </a:lnTo>
                  <a:lnTo>
                    <a:pt x="1254" y="1344"/>
                  </a:lnTo>
                  <a:lnTo>
                    <a:pt x="1242" y="1338"/>
                  </a:lnTo>
                  <a:lnTo>
                    <a:pt x="1242" y="1326"/>
                  </a:lnTo>
                  <a:lnTo>
                    <a:pt x="1230" y="1326"/>
                  </a:lnTo>
                  <a:lnTo>
                    <a:pt x="1230" y="1314"/>
                  </a:lnTo>
                  <a:lnTo>
                    <a:pt x="1218" y="1314"/>
                  </a:lnTo>
                  <a:lnTo>
                    <a:pt x="1200" y="1272"/>
                  </a:lnTo>
                  <a:lnTo>
                    <a:pt x="1194" y="1242"/>
                  </a:lnTo>
                  <a:lnTo>
                    <a:pt x="1194" y="1206"/>
                  </a:lnTo>
                  <a:lnTo>
                    <a:pt x="1182" y="1200"/>
                  </a:lnTo>
                  <a:lnTo>
                    <a:pt x="1164" y="1206"/>
                  </a:lnTo>
                  <a:lnTo>
                    <a:pt x="1146" y="1212"/>
                  </a:lnTo>
                  <a:lnTo>
                    <a:pt x="1146" y="1218"/>
                  </a:lnTo>
                  <a:lnTo>
                    <a:pt x="1134" y="1224"/>
                  </a:lnTo>
                  <a:lnTo>
                    <a:pt x="1140" y="1260"/>
                  </a:lnTo>
                  <a:lnTo>
                    <a:pt x="1134" y="1266"/>
                  </a:lnTo>
                  <a:lnTo>
                    <a:pt x="1122" y="1266"/>
                  </a:lnTo>
                  <a:lnTo>
                    <a:pt x="1110" y="1236"/>
                  </a:lnTo>
                  <a:lnTo>
                    <a:pt x="1110" y="1224"/>
                  </a:lnTo>
                  <a:lnTo>
                    <a:pt x="1086" y="1224"/>
                  </a:lnTo>
                  <a:lnTo>
                    <a:pt x="1086" y="1212"/>
                  </a:lnTo>
                  <a:lnTo>
                    <a:pt x="1074" y="1212"/>
                  </a:lnTo>
                  <a:lnTo>
                    <a:pt x="1050" y="1212"/>
                  </a:lnTo>
                  <a:lnTo>
                    <a:pt x="1056" y="1218"/>
                  </a:lnTo>
                  <a:lnTo>
                    <a:pt x="1050" y="1272"/>
                  </a:lnTo>
                  <a:lnTo>
                    <a:pt x="1044" y="1272"/>
                  </a:lnTo>
                  <a:lnTo>
                    <a:pt x="1038" y="1284"/>
                  </a:lnTo>
                  <a:lnTo>
                    <a:pt x="1032" y="1302"/>
                  </a:lnTo>
                  <a:lnTo>
                    <a:pt x="1014" y="1302"/>
                  </a:lnTo>
                  <a:lnTo>
                    <a:pt x="1020" y="1284"/>
                  </a:lnTo>
                  <a:lnTo>
                    <a:pt x="1026" y="1278"/>
                  </a:lnTo>
                  <a:lnTo>
                    <a:pt x="1026" y="1266"/>
                  </a:lnTo>
                  <a:lnTo>
                    <a:pt x="1014" y="1260"/>
                  </a:lnTo>
                  <a:lnTo>
                    <a:pt x="1014" y="1272"/>
                  </a:lnTo>
                  <a:lnTo>
                    <a:pt x="990" y="1278"/>
                  </a:lnTo>
                  <a:lnTo>
                    <a:pt x="990" y="1254"/>
                  </a:lnTo>
                  <a:lnTo>
                    <a:pt x="984" y="1254"/>
                  </a:lnTo>
                  <a:lnTo>
                    <a:pt x="978" y="1242"/>
                  </a:lnTo>
                  <a:lnTo>
                    <a:pt x="972" y="1236"/>
                  </a:lnTo>
                  <a:lnTo>
                    <a:pt x="960" y="1206"/>
                  </a:lnTo>
                  <a:lnTo>
                    <a:pt x="942" y="1206"/>
                  </a:lnTo>
                  <a:lnTo>
                    <a:pt x="936" y="1200"/>
                  </a:lnTo>
                  <a:lnTo>
                    <a:pt x="906" y="1212"/>
                  </a:lnTo>
                  <a:lnTo>
                    <a:pt x="888" y="1230"/>
                  </a:lnTo>
                  <a:lnTo>
                    <a:pt x="876" y="1230"/>
                  </a:lnTo>
                  <a:lnTo>
                    <a:pt x="864" y="1236"/>
                  </a:lnTo>
                  <a:lnTo>
                    <a:pt x="858" y="1236"/>
                  </a:lnTo>
                  <a:lnTo>
                    <a:pt x="852" y="1254"/>
                  </a:lnTo>
                  <a:lnTo>
                    <a:pt x="858" y="1254"/>
                  </a:lnTo>
                  <a:lnTo>
                    <a:pt x="840" y="1266"/>
                  </a:lnTo>
                  <a:lnTo>
                    <a:pt x="828" y="1272"/>
                  </a:lnTo>
                  <a:lnTo>
                    <a:pt x="828" y="1284"/>
                  </a:lnTo>
                  <a:lnTo>
                    <a:pt x="822" y="1284"/>
                  </a:lnTo>
                  <a:lnTo>
                    <a:pt x="804" y="1296"/>
                  </a:lnTo>
                  <a:lnTo>
                    <a:pt x="804" y="1308"/>
                  </a:lnTo>
                  <a:lnTo>
                    <a:pt x="816" y="1320"/>
                  </a:lnTo>
                  <a:lnTo>
                    <a:pt x="828" y="1320"/>
                  </a:lnTo>
                  <a:lnTo>
                    <a:pt x="822" y="1338"/>
                  </a:lnTo>
                  <a:lnTo>
                    <a:pt x="852" y="1344"/>
                  </a:lnTo>
                  <a:lnTo>
                    <a:pt x="864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94" y="1356"/>
                  </a:lnTo>
                  <a:lnTo>
                    <a:pt x="912" y="1368"/>
                  </a:lnTo>
                  <a:lnTo>
                    <a:pt x="918" y="1380"/>
                  </a:lnTo>
                  <a:lnTo>
                    <a:pt x="936" y="1380"/>
                  </a:lnTo>
                  <a:lnTo>
                    <a:pt x="960" y="1386"/>
                  </a:lnTo>
                  <a:lnTo>
                    <a:pt x="990" y="1386"/>
                  </a:lnTo>
                  <a:lnTo>
                    <a:pt x="990" y="1392"/>
                  </a:lnTo>
                  <a:lnTo>
                    <a:pt x="1020" y="1398"/>
                  </a:lnTo>
                  <a:lnTo>
                    <a:pt x="1014" y="1404"/>
                  </a:lnTo>
                  <a:lnTo>
                    <a:pt x="1008" y="1404"/>
                  </a:lnTo>
                  <a:lnTo>
                    <a:pt x="1014" y="1440"/>
                  </a:lnTo>
                  <a:lnTo>
                    <a:pt x="1020" y="1458"/>
                  </a:lnTo>
                  <a:lnTo>
                    <a:pt x="1026" y="1476"/>
                  </a:lnTo>
                  <a:lnTo>
                    <a:pt x="1020" y="1476"/>
                  </a:lnTo>
                  <a:lnTo>
                    <a:pt x="1014" y="1476"/>
                  </a:lnTo>
                  <a:lnTo>
                    <a:pt x="1014" y="1482"/>
                  </a:lnTo>
                  <a:lnTo>
                    <a:pt x="1014" y="1488"/>
                  </a:lnTo>
                  <a:lnTo>
                    <a:pt x="1002" y="1488"/>
                  </a:lnTo>
                  <a:lnTo>
                    <a:pt x="1002" y="1494"/>
                  </a:lnTo>
                  <a:lnTo>
                    <a:pt x="996" y="1494"/>
                  </a:lnTo>
                  <a:lnTo>
                    <a:pt x="996" y="1518"/>
                  </a:lnTo>
                  <a:lnTo>
                    <a:pt x="1002" y="1524"/>
                  </a:lnTo>
                  <a:lnTo>
                    <a:pt x="1020" y="1530"/>
                  </a:lnTo>
                  <a:lnTo>
                    <a:pt x="1026" y="1542"/>
                  </a:lnTo>
                  <a:lnTo>
                    <a:pt x="1032" y="1566"/>
                  </a:lnTo>
                  <a:lnTo>
                    <a:pt x="1038" y="1578"/>
                  </a:lnTo>
                  <a:lnTo>
                    <a:pt x="1032" y="1584"/>
                  </a:lnTo>
                  <a:lnTo>
                    <a:pt x="1020" y="1584"/>
                  </a:lnTo>
                  <a:lnTo>
                    <a:pt x="1014" y="1584"/>
                  </a:lnTo>
                  <a:lnTo>
                    <a:pt x="1008" y="1596"/>
                  </a:lnTo>
                  <a:lnTo>
                    <a:pt x="990" y="1584"/>
                  </a:lnTo>
                  <a:lnTo>
                    <a:pt x="984" y="1602"/>
                  </a:lnTo>
                  <a:lnTo>
                    <a:pt x="978" y="1608"/>
                  </a:lnTo>
                  <a:lnTo>
                    <a:pt x="966" y="1608"/>
                  </a:lnTo>
                  <a:lnTo>
                    <a:pt x="960" y="1614"/>
                  </a:lnTo>
                  <a:lnTo>
                    <a:pt x="954" y="1614"/>
                  </a:lnTo>
                  <a:lnTo>
                    <a:pt x="942" y="1620"/>
                  </a:lnTo>
                  <a:lnTo>
                    <a:pt x="936" y="1620"/>
                  </a:lnTo>
                  <a:lnTo>
                    <a:pt x="930" y="1620"/>
                  </a:lnTo>
                  <a:lnTo>
                    <a:pt x="930" y="1626"/>
                  </a:lnTo>
                  <a:lnTo>
                    <a:pt x="930" y="1632"/>
                  </a:lnTo>
                  <a:lnTo>
                    <a:pt x="918" y="1632"/>
                  </a:lnTo>
                  <a:lnTo>
                    <a:pt x="912" y="1632"/>
                  </a:lnTo>
                  <a:lnTo>
                    <a:pt x="906" y="1632"/>
                  </a:lnTo>
                  <a:lnTo>
                    <a:pt x="900" y="1632"/>
                  </a:lnTo>
                  <a:lnTo>
                    <a:pt x="894" y="1626"/>
                  </a:lnTo>
                  <a:lnTo>
                    <a:pt x="894" y="1614"/>
                  </a:lnTo>
                  <a:lnTo>
                    <a:pt x="840" y="1614"/>
                  </a:lnTo>
                  <a:lnTo>
                    <a:pt x="840" y="1626"/>
                  </a:lnTo>
                  <a:lnTo>
                    <a:pt x="834" y="1626"/>
                  </a:lnTo>
                  <a:lnTo>
                    <a:pt x="828" y="1632"/>
                  </a:lnTo>
                  <a:lnTo>
                    <a:pt x="822" y="1638"/>
                  </a:lnTo>
                  <a:lnTo>
                    <a:pt x="822" y="1644"/>
                  </a:lnTo>
                  <a:lnTo>
                    <a:pt x="834" y="1650"/>
                  </a:lnTo>
                  <a:lnTo>
                    <a:pt x="840" y="1662"/>
                  </a:lnTo>
                  <a:lnTo>
                    <a:pt x="840" y="1668"/>
                  </a:lnTo>
                  <a:lnTo>
                    <a:pt x="858" y="1680"/>
                  </a:lnTo>
                  <a:lnTo>
                    <a:pt x="858" y="1752"/>
                  </a:lnTo>
                  <a:lnTo>
                    <a:pt x="864" y="1782"/>
                  </a:lnTo>
                  <a:lnTo>
                    <a:pt x="876" y="1788"/>
                  </a:lnTo>
                  <a:lnTo>
                    <a:pt x="870" y="1854"/>
                  </a:lnTo>
                  <a:lnTo>
                    <a:pt x="870" y="1884"/>
                  </a:lnTo>
                  <a:lnTo>
                    <a:pt x="864" y="1884"/>
                  </a:lnTo>
                  <a:lnTo>
                    <a:pt x="846" y="1896"/>
                  </a:lnTo>
                  <a:lnTo>
                    <a:pt x="840" y="1896"/>
                  </a:lnTo>
                  <a:lnTo>
                    <a:pt x="834" y="1896"/>
                  </a:lnTo>
                  <a:lnTo>
                    <a:pt x="828" y="1890"/>
                  </a:lnTo>
                  <a:lnTo>
                    <a:pt x="822" y="1890"/>
                  </a:lnTo>
                  <a:lnTo>
                    <a:pt x="816" y="1896"/>
                  </a:lnTo>
                  <a:lnTo>
                    <a:pt x="804" y="1896"/>
                  </a:lnTo>
                  <a:lnTo>
                    <a:pt x="804" y="1890"/>
                  </a:lnTo>
                  <a:lnTo>
                    <a:pt x="780" y="1896"/>
                  </a:lnTo>
                  <a:lnTo>
                    <a:pt x="780" y="1902"/>
                  </a:lnTo>
                  <a:lnTo>
                    <a:pt x="774" y="1914"/>
                  </a:lnTo>
                  <a:lnTo>
                    <a:pt x="762" y="1926"/>
                  </a:lnTo>
                  <a:lnTo>
                    <a:pt x="762" y="1950"/>
                  </a:lnTo>
                  <a:lnTo>
                    <a:pt x="762" y="1962"/>
                  </a:lnTo>
                  <a:lnTo>
                    <a:pt x="780" y="1974"/>
                  </a:lnTo>
                  <a:lnTo>
                    <a:pt x="780" y="1986"/>
                  </a:lnTo>
                  <a:lnTo>
                    <a:pt x="780" y="1998"/>
                  </a:lnTo>
                  <a:lnTo>
                    <a:pt x="756" y="1998"/>
                  </a:lnTo>
                  <a:lnTo>
                    <a:pt x="720" y="1992"/>
                  </a:lnTo>
                  <a:lnTo>
                    <a:pt x="666" y="1998"/>
                  </a:lnTo>
                  <a:lnTo>
                    <a:pt x="654" y="1998"/>
                  </a:lnTo>
                  <a:lnTo>
                    <a:pt x="660" y="1974"/>
                  </a:lnTo>
                  <a:lnTo>
                    <a:pt x="666" y="1962"/>
                  </a:lnTo>
                  <a:lnTo>
                    <a:pt x="678" y="1950"/>
                  </a:lnTo>
                  <a:lnTo>
                    <a:pt x="696" y="1932"/>
                  </a:lnTo>
                  <a:lnTo>
                    <a:pt x="696" y="1920"/>
                  </a:lnTo>
                  <a:lnTo>
                    <a:pt x="696" y="1896"/>
                  </a:lnTo>
                  <a:lnTo>
                    <a:pt x="678" y="1896"/>
                  </a:lnTo>
                  <a:lnTo>
                    <a:pt x="672" y="1884"/>
                  </a:lnTo>
                  <a:lnTo>
                    <a:pt x="672" y="1776"/>
                  </a:lnTo>
                  <a:lnTo>
                    <a:pt x="678" y="1758"/>
                  </a:lnTo>
                  <a:lnTo>
                    <a:pt x="678" y="1740"/>
                  </a:lnTo>
                  <a:lnTo>
                    <a:pt x="684" y="1728"/>
                  </a:lnTo>
                  <a:lnTo>
                    <a:pt x="690" y="1722"/>
                  </a:lnTo>
                  <a:lnTo>
                    <a:pt x="702" y="1722"/>
                  </a:lnTo>
                  <a:lnTo>
                    <a:pt x="708" y="1716"/>
                  </a:lnTo>
                  <a:lnTo>
                    <a:pt x="714" y="1710"/>
                  </a:lnTo>
                  <a:lnTo>
                    <a:pt x="720" y="1698"/>
                  </a:lnTo>
                  <a:lnTo>
                    <a:pt x="732" y="1692"/>
                  </a:lnTo>
                  <a:lnTo>
                    <a:pt x="744" y="1686"/>
                  </a:lnTo>
                  <a:lnTo>
                    <a:pt x="756" y="1680"/>
                  </a:lnTo>
                  <a:lnTo>
                    <a:pt x="768" y="1668"/>
                  </a:lnTo>
                  <a:lnTo>
                    <a:pt x="768" y="1650"/>
                  </a:lnTo>
                  <a:lnTo>
                    <a:pt x="774" y="1632"/>
                  </a:lnTo>
                  <a:lnTo>
                    <a:pt x="768" y="1620"/>
                  </a:lnTo>
                  <a:lnTo>
                    <a:pt x="774" y="1608"/>
                  </a:lnTo>
                  <a:lnTo>
                    <a:pt x="774" y="1578"/>
                  </a:lnTo>
                  <a:lnTo>
                    <a:pt x="774" y="1572"/>
                  </a:lnTo>
                  <a:lnTo>
                    <a:pt x="780" y="1560"/>
                  </a:lnTo>
                  <a:lnTo>
                    <a:pt x="780" y="1554"/>
                  </a:lnTo>
                  <a:lnTo>
                    <a:pt x="786" y="1542"/>
                  </a:lnTo>
                  <a:lnTo>
                    <a:pt x="792" y="1530"/>
                  </a:lnTo>
                  <a:lnTo>
                    <a:pt x="792" y="1518"/>
                  </a:lnTo>
                  <a:lnTo>
                    <a:pt x="792" y="1506"/>
                  </a:lnTo>
                  <a:lnTo>
                    <a:pt x="786" y="1500"/>
                  </a:lnTo>
                  <a:lnTo>
                    <a:pt x="774" y="1488"/>
                  </a:lnTo>
                  <a:lnTo>
                    <a:pt x="774" y="1482"/>
                  </a:lnTo>
                  <a:lnTo>
                    <a:pt x="762" y="1488"/>
                  </a:lnTo>
                  <a:lnTo>
                    <a:pt x="756" y="1494"/>
                  </a:lnTo>
                  <a:lnTo>
                    <a:pt x="744" y="1500"/>
                  </a:lnTo>
                  <a:lnTo>
                    <a:pt x="732" y="1506"/>
                  </a:lnTo>
                  <a:lnTo>
                    <a:pt x="726" y="1506"/>
                  </a:lnTo>
                  <a:lnTo>
                    <a:pt x="720" y="1506"/>
                  </a:lnTo>
                  <a:lnTo>
                    <a:pt x="702" y="1506"/>
                  </a:lnTo>
                  <a:lnTo>
                    <a:pt x="690" y="1500"/>
                  </a:lnTo>
                  <a:lnTo>
                    <a:pt x="678" y="1500"/>
                  </a:lnTo>
                  <a:lnTo>
                    <a:pt x="672" y="1500"/>
                  </a:lnTo>
                  <a:lnTo>
                    <a:pt x="660" y="1506"/>
                  </a:lnTo>
                  <a:lnTo>
                    <a:pt x="654" y="1506"/>
                  </a:lnTo>
                  <a:lnTo>
                    <a:pt x="648" y="1512"/>
                  </a:lnTo>
                  <a:lnTo>
                    <a:pt x="648" y="1518"/>
                  </a:lnTo>
                  <a:lnTo>
                    <a:pt x="618" y="1518"/>
                  </a:lnTo>
                  <a:lnTo>
                    <a:pt x="534" y="1494"/>
                  </a:lnTo>
                  <a:lnTo>
                    <a:pt x="528" y="1458"/>
                  </a:lnTo>
                  <a:lnTo>
                    <a:pt x="510" y="1458"/>
                  </a:lnTo>
                  <a:lnTo>
                    <a:pt x="492" y="1440"/>
                  </a:lnTo>
                  <a:lnTo>
                    <a:pt x="462" y="1440"/>
                  </a:lnTo>
                  <a:lnTo>
                    <a:pt x="456" y="1428"/>
                  </a:lnTo>
                  <a:lnTo>
                    <a:pt x="420" y="1428"/>
                  </a:lnTo>
                  <a:lnTo>
                    <a:pt x="390" y="1446"/>
                  </a:lnTo>
                  <a:lnTo>
                    <a:pt x="312" y="1452"/>
                  </a:lnTo>
                  <a:lnTo>
                    <a:pt x="300" y="1446"/>
                  </a:lnTo>
                  <a:lnTo>
                    <a:pt x="294" y="1446"/>
                  </a:lnTo>
                  <a:lnTo>
                    <a:pt x="288" y="1446"/>
                  </a:lnTo>
                  <a:lnTo>
                    <a:pt x="282" y="1440"/>
                  </a:lnTo>
                  <a:lnTo>
                    <a:pt x="276" y="1440"/>
                  </a:lnTo>
                  <a:lnTo>
                    <a:pt x="270" y="1440"/>
                  </a:lnTo>
                  <a:lnTo>
                    <a:pt x="264" y="1440"/>
                  </a:lnTo>
                  <a:lnTo>
                    <a:pt x="258" y="1434"/>
                  </a:lnTo>
                  <a:lnTo>
                    <a:pt x="252" y="1434"/>
                  </a:lnTo>
                  <a:lnTo>
                    <a:pt x="246" y="1428"/>
                  </a:lnTo>
                  <a:lnTo>
                    <a:pt x="240" y="1416"/>
                  </a:lnTo>
                  <a:lnTo>
                    <a:pt x="234" y="1404"/>
                  </a:lnTo>
                  <a:lnTo>
                    <a:pt x="228" y="1398"/>
                  </a:lnTo>
                  <a:lnTo>
                    <a:pt x="222" y="1398"/>
                  </a:lnTo>
                  <a:lnTo>
                    <a:pt x="216" y="1404"/>
                  </a:lnTo>
                  <a:lnTo>
                    <a:pt x="210" y="1404"/>
                  </a:lnTo>
                  <a:lnTo>
                    <a:pt x="204" y="1404"/>
                  </a:lnTo>
                  <a:lnTo>
                    <a:pt x="204" y="1398"/>
                  </a:lnTo>
                  <a:lnTo>
                    <a:pt x="198" y="1392"/>
                  </a:lnTo>
                  <a:lnTo>
                    <a:pt x="192" y="1386"/>
                  </a:lnTo>
                  <a:lnTo>
                    <a:pt x="168" y="1374"/>
                  </a:lnTo>
                  <a:lnTo>
                    <a:pt x="144" y="13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0" name="Freeform 35">
              <a:extLst>
                <a:ext uri="{FF2B5EF4-FFF2-40B4-BE49-F238E27FC236}">
                  <a16:creationId xmlns:a16="http://schemas.microsoft.com/office/drawing/2014/main" id="{F64BF16E-9D62-438E-A1CC-CD4088AC7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2895" y="1706004"/>
              <a:ext cx="767013" cy="785011"/>
            </a:xfrm>
            <a:custGeom>
              <a:avLst/>
              <a:gdLst>
                <a:gd name="T0" fmla="*/ 102 w 1440"/>
                <a:gd name="T1" fmla="*/ 104 h 1476"/>
                <a:gd name="T2" fmla="*/ 99 w 1440"/>
                <a:gd name="T3" fmla="*/ 108 h 1476"/>
                <a:gd name="T4" fmla="*/ 98 w 1440"/>
                <a:gd name="T5" fmla="*/ 112 h 1476"/>
                <a:gd name="T6" fmla="*/ 96 w 1440"/>
                <a:gd name="T7" fmla="*/ 116 h 1476"/>
                <a:gd name="T8" fmla="*/ 91 w 1440"/>
                <a:gd name="T9" fmla="*/ 118 h 1476"/>
                <a:gd name="T10" fmla="*/ 87 w 1440"/>
                <a:gd name="T11" fmla="*/ 120 h 1476"/>
                <a:gd name="T12" fmla="*/ 75 w 1440"/>
                <a:gd name="T13" fmla="*/ 120 h 1476"/>
                <a:gd name="T14" fmla="*/ 72 w 1440"/>
                <a:gd name="T15" fmla="*/ 123 h 1476"/>
                <a:gd name="T16" fmla="*/ 69 w 1440"/>
                <a:gd name="T17" fmla="*/ 128 h 1476"/>
                <a:gd name="T18" fmla="*/ 67 w 1440"/>
                <a:gd name="T19" fmla="*/ 127 h 1476"/>
                <a:gd name="T20" fmla="*/ 66 w 1440"/>
                <a:gd name="T21" fmla="*/ 123 h 1476"/>
                <a:gd name="T22" fmla="*/ 63 w 1440"/>
                <a:gd name="T23" fmla="*/ 119 h 1476"/>
                <a:gd name="T24" fmla="*/ 54 w 1440"/>
                <a:gd name="T25" fmla="*/ 114 h 1476"/>
                <a:gd name="T26" fmla="*/ 55 w 1440"/>
                <a:gd name="T27" fmla="*/ 106 h 1476"/>
                <a:gd name="T28" fmla="*/ 60 w 1440"/>
                <a:gd name="T29" fmla="*/ 100 h 1476"/>
                <a:gd name="T30" fmla="*/ 55 w 1440"/>
                <a:gd name="T31" fmla="*/ 91 h 1476"/>
                <a:gd name="T32" fmla="*/ 51 w 1440"/>
                <a:gd name="T33" fmla="*/ 86 h 1476"/>
                <a:gd name="T34" fmla="*/ 47 w 1440"/>
                <a:gd name="T35" fmla="*/ 85 h 1476"/>
                <a:gd name="T36" fmla="*/ 44 w 1440"/>
                <a:gd name="T37" fmla="*/ 82 h 1476"/>
                <a:gd name="T38" fmla="*/ 41 w 1440"/>
                <a:gd name="T39" fmla="*/ 83 h 1476"/>
                <a:gd name="T40" fmla="*/ 36 w 1440"/>
                <a:gd name="T41" fmla="*/ 83 h 1476"/>
                <a:gd name="T42" fmla="*/ 33 w 1440"/>
                <a:gd name="T43" fmla="*/ 83 h 1476"/>
                <a:gd name="T44" fmla="*/ 30 w 1440"/>
                <a:gd name="T45" fmla="*/ 83 h 1476"/>
                <a:gd name="T46" fmla="*/ 27 w 1440"/>
                <a:gd name="T47" fmla="*/ 83 h 1476"/>
                <a:gd name="T48" fmla="*/ 24 w 1440"/>
                <a:gd name="T49" fmla="*/ 82 h 1476"/>
                <a:gd name="T50" fmla="*/ 21 w 1440"/>
                <a:gd name="T51" fmla="*/ 80 h 1476"/>
                <a:gd name="T52" fmla="*/ 18 w 1440"/>
                <a:gd name="T53" fmla="*/ 79 h 1476"/>
                <a:gd name="T54" fmla="*/ 17 w 1440"/>
                <a:gd name="T55" fmla="*/ 78 h 1476"/>
                <a:gd name="T56" fmla="*/ 12 w 1440"/>
                <a:gd name="T57" fmla="*/ 78 h 1476"/>
                <a:gd name="T58" fmla="*/ 12 w 1440"/>
                <a:gd name="T59" fmla="*/ 78 h 1476"/>
                <a:gd name="T60" fmla="*/ 7 w 1440"/>
                <a:gd name="T61" fmla="*/ 80 h 1476"/>
                <a:gd name="T62" fmla="*/ 3 w 1440"/>
                <a:gd name="T63" fmla="*/ 81 h 1476"/>
                <a:gd name="T64" fmla="*/ 0 w 1440"/>
                <a:gd name="T65" fmla="*/ 76 h 1476"/>
                <a:gd name="T66" fmla="*/ 1 w 1440"/>
                <a:gd name="T67" fmla="*/ 50 h 1476"/>
                <a:gd name="T68" fmla="*/ 8 w 1440"/>
                <a:gd name="T69" fmla="*/ 48 h 1476"/>
                <a:gd name="T70" fmla="*/ 20 w 1440"/>
                <a:gd name="T71" fmla="*/ 49 h 1476"/>
                <a:gd name="T72" fmla="*/ 26 w 1440"/>
                <a:gd name="T73" fmla="*/ 50 h 1476"/>
                <a:gd name="T74" fmla="*/ 44 w 1440"/>
                <a:gd name="T75" fmla="*/ 47 h 1476"/>
                <a:gd name="T76" fmla="*/ 41 w 1440"/>
                <a:gd name="T77" fmla="*/ 24 h 1476"/>
                <a:gd name="T78" fmla="*/ 44 w 1440"/>
                <a:gd name="T79" fmla="*/ 20 h 1476"/>
                <a:gd name="T80" fmla="*/ 47 w 1440"/>
                <a:gd name="T81" fmla="*/ 18 h 1476"/>
                <a:gd name="T82" fmla="*/ 54 w 1440"/>
                <a:gd name="T83" fmla="*/ 21 h 1476"/>
                <a:gd name="T84" fmla="*/ 61 w 1440"/>
                <a:gd name="T85" fmla="*/ 23 h 1476"/>
                <a:gd name="T86" fmla="*/ 59 w 1440"/>
                <a:gd name="T87" fmla="*/ 14 h 1476"/>
                <a:gd name="T88" fmla="*/ 61 w 1440"/>
                <a:gd name="T89" fmla="*/ 8 h 1476"/>
                <a:gd name="T90" fmla="*/ 71 w 1440"/>
                <a:gd name="T91" fmla="*/ 7 h 1476"/>
                <a:gd name="T92" fmla="*/ 75 w 1440"/>
                <a:gd name="T93" fmla="*/ 0 h 1476"/>
                <a:gd name="T94" fmla="*/ 82 w 1440"/>
                <a:gd name="T95" fmla="*/ 3 h 1476"/>
                <a:gd name="T96" fmla="*/ 93 w 1440"/>
                <a:gd name="T97" fmla="*/ 5 h 1476"/>
                <a:gd name="T98" fmla="*/ 100 w 1440"/>
                <a:gd name="T99" fmla="*/ 1 h 1476"/>
                <a:gd name="T100" fmla="*/ 104 w 1440"/>
                <a:gd name="T101" fmla="*/ 4 h 1476"/>
                <a:gd name="T102" fmla="*/ 110 w 1440"/>
                <a:gd name="T103" fmla="*/ 10 h 1476"/>
                <a:gd name="T104" fmla="*/ 115 w 1440"/>
                <a:gd name="T105" fmla="*/ 23 h 1476"/>
                <a:gd name="T106" fmla="*/ 117 w 1440"/>
                <a:gd name="T107" fmla="*/ 42 h 1476"/>
                <a:gd name="T108" fmla="*/ 121 w 1440"/>
                <a:gd name="T109" fmla="*/ 52 h 1476"/>
                <a:gd name="T110" fmla="*/ 118 w 1440"/>
                <a:gd name="T111" fmla="*/ 62 h 1476"/>
                <a:gd name="T112" fmla="*/ 124 w 1440"/>
                <a:gd name="T113" fmla="*/ 66 h 1476"/>
                <a:gd name="T114" fmla="*/ 121 w 1440"/>
                <a:gd name="T115" fmla="*/ 71 h 1476"/>
                <a:gd name="T116" fmla="*/ 115 w 1440"/>
                <a:gd name="T117" fmla="*/ 76 h 1476"/>
                <a:gd name="T118" fmla="*/ 109 w 1440"/>
                <a:gd name="T119" fmla="*/ 76 h 1476"/>
                <a:gd name="T120" fmla="*/ 105 w 1440"/>
                <a:gd name="T121" fmla="*/ 86 h 1476"/>
                <a:gd name="T122" fmla="*/ 107 w 1440"/>
                <a:gd name="T123" fmla="*/ 97 h 147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40"/>
                <a:gd name="T187" fmla="*/ 0 h 1476"/>
                <a:gd name="T188" fmla="*/ 1440 w 1440"/>
                <a:gd name="T189" fmla="*/ 1476 h 147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40" h="1476">
                  <a:moveTo>
                    <a:pt x="1212" y="1164"/>
                  </a:moveTo>
                  <a:lnTo>
                    <a:pt x="1206" y="1170"/>
                  </a:lnTo>
                  <a:lnTo>
                    <a:pt x="1200" y="1176"/>
                  </a:lnTo>
                  <a:lnTo>
                    <a:pt x="1194" y="1176"/>
                  </a:lnTo>
                  <a:lnTo>
                    <a:pt x="1188" y="1188"/>
                  </a:lnTo>
                  <a:lnTo>
                    <a:pt x="1182" y="1194"/>
                  </a:lnTo>
                  <a:lnTo>
                    <a:pt x="1176" y="1194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64" y="1206"/>
                  </a:lnTo>
                  <a:lnTo>
                    <a:pt x="1158" y="1206"/>
                  </a:lnTo>
                  <a:lnTo>
                    <a:pt x="1152" y="1212"/>
                  </a:lnTo>
                  <a:lnTo>
                    <a:pt x="1146" y="1212"/>
                  </a:lnTo>
                  <a:lnTo>
                    <a:pt x="1140" y="1224"/>
                  </a:lnTo>
                  <a:lnTo>
                    <a:pt x="1134" y="1230"/>
                  </a:lnTo>
                  <a:lnTo>
                    <a:pt x="1128" y="1236"/>
                  </a:lnTo>
                  <a:lnTo>
                    <a:pt x="1128" y="1242"/>
                  </a:lnTo>
                  <a:lnTo>
                    <a:pt x="1128" y="1254"/>
                  </a:lnTo>
                  <a:lnTo>
                    <a:pt x="1128" y="1260"/>
                  </a:lnTo>
                  <a:lnTo>
                    <a:pt x="1122" y="1260"/>
                  </a:lnTo>
                  <a:lnTo>
                    <a:pt x="1122" y="1266"/>
                  </a:lnTo>
                  <a:lnTo>
                    <a:pt x="1128" y="1278"/>
                  </a:lnTo>
                  <a:lnTo>
                    <a:pt x="1122" y="1278"/>
                  </a:lnTo>
                  <a:lnTo>
                    <a:pt x="1122" y="1284"/>
                  </a:lnTo>
                  <a:lnTo>
                    <a:pt x="1128" y="1290"/>
                  </a:lnTo>
                  <a:lnTo>
                    <a:pt x="1122" y="1296"/>
                  </a:lnTo>
                  <a:lnTo>
                    <a:pt x="1122" y="1302"/>
                  </a:lnTo>
                  <a:lnTo>
                    <a:pt x="1116" y="1302"/>
                  </a:lnTo>
                  <a:lnTo>
                    <a:pt x="1110" y="1314"/>
                  </a:lnTo>
                  <a:lnTo>
                    <a:pt x="1110" y="1320"/>
                  </a:lnTo>
                  <a:lnTo>
                    <a:pt x="1110" y="1326"/>
                  </a:lnTo>
                  <a:lnTo>
                    <a:pt x="1098" y="1332"/>
                  </a:lnTo>
                  <a:lnTo>
                    <a:pt x="1092" y="1338"/>
                  </a:lnTo>
                  <a:lnTo>
                    <a:pt x="1092" y="1344"/>
                  </a:lnTo>
                  <a:lnTo>
                    <a:pt x="1086" y="1350"/>
                  </a:lnTo>
                  <a:lnTo>
                    <a:pt x="1080" y="1350"/>
                  </a:lnTo>
                  <a:lnTo>
                    <a:pt x="1074" y="1350"/>
                  </a:lnTo>
                  <a:lnTo>
                    <a:pt x="1068" y="1356"/>
                  </a:lnTo>
                  <a:lnTo>
                    <a:pt x="1062" y="1356"/>
                  </a:lnTo>
                  <a:lnTo>
                    <a:pt x="1044" y="1356"/>
                  </a:lnTo>
                  <a:lnTo>
                    <a:pt x="1038" y="1362"/>
                  </a:lnTo>
                  <a:lnTo>
                    <a:pt x="1032" y="1368"/>
                  </a:lnTo>
                  <a:lnTo>
                    <a:pt x="1026" y="1368"/>
                  </a:lnTo>
                  <a:lnTo>
                    <a:pt x="1020" y="1374"/>
                  </a:lnTo>
                  <a:lnTo>
                    <a:pt x="1008" y="1374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74"/>
                  </a:lnTo>
                  <a:lnTo>
                    <a:pt x="978" y="1380"/>
                  </a:lnTo>
                  <a:lnTo>
                    <a:pt x="972" y="1380"/>
                  </a:lnTo>
                  <a:lnTo>
                    <a:pt x="954" y="1368"/>
                  </a:lnTo>
                  <a:lnTo>
                    <a:pt x="930" y="1368"/>
                  </a:lnTo>
                  <a:lnTo>
                    <a:pt x="918" y="1368"/>
                  </a:lnTo>
                  <a:lnTo>
                    <a:pt x="906" y="1368"/>
                  </a:lnTo>
                  <a:lnTo>
                    <a:pt x="894" y="1368"/>
                  </a:lnTo>
                  <a:lnTo>
                    <a:pt x="864" y="1374"/>
                  </a:lnTo>
                  <a:lnTo>
                    <a:pt x="852" y="1374"/>
                  </a:lnTo>
                  <a:lnTo>
                    <a:pt x="846" y="1386"/>
                  </a:lnTo>
                  <a:lnTo>
                    <a:pt x="846" y="1392"/>
                  </a:lnTo>
                  <a:lnTo>
                    <a:pt x="840" y="1398"/>
                  </a:lnTo>
                  <a:lnTo>
                    <a:pt x="840" y="1404"/>
                  </a:lnTo>
                  <a:lnTo>
                    <a:pt x="834" y="1416"/>
                  </a:lnTo>
                  <a:lnTo>
                    <a:pt x="828" y="1416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04" y="1428"/>
                  </a:lnTo>
                  <a:lnTo>
                    <a:pt x="804" y="1434"/>
                  </a:lnTo>
                  <a:lnTo>
                    <a:pt x="804" y="1440"/>
                  </a:lnTo>
                  <a:lnTo>
                    <a:pt x="798" y="1446"/>
                  </a:lnTo>
                  <a:lnTo>
                    <a:pt x="798" y="1458"/>
                  </a:lnTo>
                  <a:lnTo>
                    <a:pt x="792" y="1464"/>
                  </a:lnTo>
                  <a:lnTo>
                    <a:pt x="786" y="1476"/>
                  </a:lnTo>
                  <a:lnTo>
                    <a:pt x="780" y="1470"/>
                  </a:lnTo>
                  <a:lnTo>
                    <a:pt x="774" y="1470"/>
                  </a:lnTo>
                  <a:lnTo>
                    <a:pt x="768" y="1470"/>
                  </a:lnTo>
                  <a:lnTo>
                    <a:pt x="762" y="1476"/>
                  </a:lnTo>
                  <a:lnTo>
                    <a:pt x="762" y="1470"/>
                  </a:lnTo>
                  <a:lnTo>
                    <a:pt x="762" y="1464"/>
                  </a:lnTo>
                  <a:lnTo>
                    <a:pt x="762" y="1458"/>
                  </a:lnTo>
                  <a:lnTo>
                    <a:pt x="756" y="1458"/>
                  </a:lnTo>
                  <a:lnTo>
                    <a:pt x="756" y="1452"/>
                  </a:lnTo>
                  <a:lnTo>
                    <a:pt x="756" y="1446"/>
                  </a:lnTo>
                  <a:lnTo>
                    <a:pt x="756" y="1440"/>
                  </a:lnTo>
                  <a:lnTo>
                    <a:pt x="750" y="1434"/>
                  </a:lnTo>
                  <a:lnTo>
                    <a:pt x="750" y="1428"/>
                  </a:lnTo>
                  <a:lnTo>
                    <a:pt x="750" y="1422"/>
                  </a:lnTo>
                  <a:lnTo>
                    <a:pt x="750" y="1416"/>
                  </a:lnTo>
                  <a:lnTo>
                    <a:pt x="744" y="1416"/>
                  </a:lnTo>
                  <a:lnTo>
                    <a:pt x="744" y="1410"/>
                  </a:lnTo>
                  <a:lnTo>
                    <a:pt x="738" y="1404"/>
                  </a:lnTo>
                  <a:lnTo>
                    <a:pt x="732" y="1398"/>
                  </a:lnTo>
                  <a:lnTo>
                    <a:pt x="732" y="1392"/>
                  </a:lnTo>
                  <a:lnTo>
                    <a:pt x="726" y="1386"/>
                  </a:lnTo>
                  <a:lnTo>
                    <a:pt x="726" y="1380"/>
                  </a:lnTo>
                  <a:lnTo>
                    <a:pt x="714" y="1368"/>
                  </a:lnTo>
                  <a:lnTo>
                    <a:pt x="708" y="1368"/>
                  </a:lnTo>
                  <a:lnTo>
                    <a:pt x="684" y="1332"/>
                  </a:lnTo>
                  <a:lnTo>
                    <a:pt x="666" y="1320"/>
                  </a:lnTo>
                  <a:lnTo>
                    <a:pt x="648" y="1302"/>
                  </a:lnTo>
                  <a:lnTo>
                    <a:pt x="630" y="1314"/>
                  </a:lnTo>
                  <a:lnTo>
                    <a:pt x="624" y="1314"/>
                  </a:lnTo>
                  <a:lnTo>
                    <a:pt x="624" y="1308"/>
                  </a:lnTo>
                  <a:lnTo>
                    <a:pt x="618" y="1308"/>
                  </a:lnTo>
                  <a:lnTo>
                    <a:pt x="612" y="1284"/>
                  </a:lnTo>
                  <a:lnTo>
                    <a:pt x="606" y="1254"/>
                  </a:lnTo>
                  <a:lnTo>
                    <a:pt x="606" y="1248"/>
                  </a:lnTo>
                  <a:lnTo>
                    <a:pt x="606" y="1242"/>
                  </a:lnTo>
                  <a:lnTo>
                    <a:pt x="612" y="1242"/>
                  </a:lnTo>
                  <a:lnTo>
                    <a:pt x="618" y="1236"/>
                  </a:lnTo>
                  <a:lnTo>
                    <a:pt x="618" y="1230"/>
                  </a:lnTo>
                  <a:lnTo>
                    <a:pt x="624" y="1224"/>
                  </a:lnTo>
                  <a:lnTo>
                    <a:pt x="630" y="1224"/>
                  </a:lnTo>
                  <a:lnTo>
                    <a:pt x="636" y="1218"/>
                  </a:lnTo>
                  <a:lnTo>
                    <a:pt x="636" y="1212"/>
                  </a:lnTo>
                  <a:lnTo>
                    <a:pt x="612" y="1200"/>
                  </a:lnTo>
                  <a:lnTo>
                    <a:pt x="606" y="1182"/>
                  </a:lnTo>
                  <a:lnTo>
                    <a:pt x="672" y="1182"/>
                  </a:lnTo>
                  <a:lnTo>
                    <a:pt x="690" y="1170"/>
                  </a:lnTo>
                  <a:lnTo>
                    <a:pt x="690" y="1152"/>
                  </a:lnTo>
                  <a:lnTo>
                    <a:pt x="678" y="1110"/>
                  </a:lnTo>
                  <a:lnTo>
                    <a:pt x="672" y="1092"/>
                  </a:lnTo>
                  <a:lnTo>
                    <a:pt x="660" y="1074"/>
                  </a:lnTo>
                  <a:lnTo>
                    <a:pt x="648" y="1068"/>
                  </a:lnTo>
                  <a:lnTo>
                    <a:pt x="642" y="1068"/>
                  </a:lnTo>
                  <a:lnTo>
                    <a:pt x="636" y="1062"/>
                  </a:lnTo>
                  <a:lnTo>
                    <a:pt x="624" y="1056"/>
                  </a:lnTo>
                  <a:lnTo>
                    <a:pt x="624" y="1050"/>
                  </a:lnTo>
                  <a:lnTo>
                    <a:pt x="618" y="1038"/>
                  </a:lnTo>
                  <a:lnTo>
                    <a:pt x="612" y="1038"/>
                  </a:lnTo>
                  <a:lnTo>
                    <a:pt x="612" y="1032"/>
                  </a:lnTo>
                  <a:lnTo>
                    <a:pt x="612" y="1026"/>
                  </a:lnTo>
                  <a:lnTo>
                    <a:pt x="600" y="1014"/>
                  </a:lnTo>
                  <a:lnTo>
                    <a:pt x="582" y="1008"/>
                  </a:lnTo>
                  <a:lnTo>
                    <a:pt x="576" y="1002"/>
                  </a:lnTo>
                  <a:lnTo>
                    <a:pt x="576" y="996"/>
                  </a:lnTo>
                  <a:lnTo>
                    <a:pt x="570" y="996"/>
                  </a:lnTo>
                  <a:lnTo>
                    <a:pt x="570" y="990"/>
                  </a:lnTo>
                  <a:lnTo>
                    <a:pt x="570" y="984"/>
                  </a:lnTo>
                  <a:lnTo>
                    <a:pt x="564" y="984"/>
                  </a:lnTo>
                  <a:lnTo>
                    <a:pt x="558" y="978"/>
                  </a:lnTo>
                  <a:lnTo>
                    <a:pt x="552" y="972"/>
                  </a:lnTo>
                  <a:lnTo>
                    <a:pt x="552" y="966"/>
                  </a:lnTo>
                  <a:lnTo>
                    <a:pt x="546" y="972"/>
                  </a:lnTo>
                  <a:lnTo>
                    <a:pt x="540" y="972"/>
                  </a:lnTo>
                  <a:lnTo>
                    <a:pt x="534" y="960"/>
                  </a:lnTo>
                  <a:lnTo>
                    <a:pt x="528" y="960"/>
                  </a:lnTo>
                  <a:lnTo>
                    <a:pt x="528" y="966"/>
                  </a:lnTo>
                  <a:lnTo>
                    <a:pt x="516" y="954"/>
                  </a:lnTo>
                  <a:lnTo>
                    <a:pt x="516" y="948"/>
                  </a:lnTo>
                  <a:lnTo>
                    <a:pt x="510" y="948"/>
                  </a:lnTo>
                  <a:lnTo>
                    <a:pt x="504" y="948"/>
                  </a:lnTo>
                  <a:lnTo>
                    <a:pt x="498" y="948"/>
                  </a:lnTo>
                  <a:lnTo>
                    <a:pt x="504" y="954"/>
                  </a:lnTo>
                  <a:lnTo>
                    <a:pt x="498" y="954"/>
                  </a:lnTo>
                  <a:lnTo>
                    <a:pt x="492" y="954"/>
                  </a:lnTo>
                  <a:lnTo>
                    <a:pt x="480" y="942"/>
                  </a:lnTo>
                  <a:lnTo>
                    <a:pt x="480" y="948"/>
                  </a:lnTo>
                  <a:lnTo>
                    <a:pt x="480" y="954"/>
                  </a:lnTo>
                  <a:lnTo>
                    <a:pt x="474" y="954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56" y="966"/>
                  </a:lnTo>
                  <a:lnTo>
                    <a:pt x="456" y="960"/>
                  </a:lnTo>
                  <a:lnTo>
                    <a:pt x="450" y="966"/>
                  </a:lnTo>
                  <a:lnTo>
                    <a:pt x="444" y="966"/>
                  </a:lnTo>
                  <a:lnTo>
                    <a:pt x="414" y="966"/>
                  </a:lnTo>
                  <a:lnTo>
                    <a:pt x="408" y="960"/>
                  </a:lnTo>
                  <a:lnTo>
                    <a:pt x="408" y="966"/>
                  </a:lnTo>
                  <a:lnTo>
                    <a:pt x="402" y="960"/>
                  </a:lnTo>
                  <a:lnTo>
                    <a:pt x="396" y="960"/>
                  </a:lnTo>
                  <a:lnTo>
                    <a:pt x="390" y="960"/>
                  </a:lnTo>
                  <a:lnTo>
                    <a:pt x="390" y="966"/>
                  </a:lnTo>
                  <a:lnTo>
                    <a:pt x="384" y="966"/>
                  </a:lnTo>
                  <a:lnTo>
                    <a:pt x="378" y="966"/>
                  </a:lnTo>
                  <a:lnTo>
                    <a:pt x="384" y="960"/>
                  </a:lnTo>
                  <a:lnTo>
                    <a:pt x="384" y="954"/>
                  </a:lnTo>
                  <a:lnTo>
                    <a:pt x="372" y="948"/>
                  </a:lnTo>
                  <a:lnTo>
                    <a:pt x="372" y="954"/>
                  </a:lnTo>
                  <a:lnTo>
                    <a:pt x="372" y="960"/>
                  </a:lnTo>
                  <a:lnTo>
                    <a:pt x="366" y="960"/>
                  </a:lnTo>
                  <a:lnTo>
                    <a:pt x="360" y="966"/>
                  </a:lnTo>
                  <a:lnTo>
                    <a:pt x="354" y="966"/>
                  </a:lnTo>
                  <a:lnTo>
                    <a:pt x="348" y="960"/>
                  </a:lnTo>
                  <a:lnTo>
                    <a:pt x="342" y="960"/>
                  </a:lnTo>
                  <a:lnTo>
                    <a:pt x="342" y="966"/>
                  </a:lnTo>
                  <a:lnTo>
                    <a:pt x="336" y="972"/>
                  </a:lnTo>
                  <a:lnTo>
                    <a:pt x="330" y="972"/>
                  </a:lnTo>
                  <a:lnTo>
                    <a:pt x="324" y="966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6" y="954"/>
                  </a:lnTo>
                  <a:lnTo>
                    <a:pt x="306" y="948"/>
                  </a:lnTo>
                  <a:lnTo>
                    <a:pt x="306" y="942"/>
                  </a:lnTo>
                  <a:lnTo>
                    <a:pt x="300" y="942"/>
                  </a:lnTo>
                  <a:lnTo>
                    <a:pt x="294" y="936"/>
                  </a:lnTo>
                  <a:lnTo>
                    <a:pt x="288" y="936"/>
                  </a:lnTo>
                  <a:lnTo>
                    <a:pt x="282" y="942"/>
                  </a:lnTo>
                  <a:lnTo>
                    <a:pt x="276" y="936"/>
                  </a:lnTo>
                  <a:lnTo>
                    <a:pt x="276" y="942"/>
                  </a:lnTo>
                  <a:lnTo>
                    <a:pt x="270" y="942"/>
                  </a:lnTo>
                  <a:lnTo>
                    <a:pt x="264" y="936"/>
                  </a:lnTo>
                  <a:lnTo>
                    <a:pt x="252" y="936"/>
                  </a:lnTo>
                  <a:lnTo>
                    <a:pt x="246" y="936"/>
                  </a:lnTo>
                  <a:lnTo>
                    <a:pt x="240" y="936"/>
                  </a:lnTo>
                  <a:lnTo>
                    <a:pt x="234" y="936"/>
                  </a:lnTo>
                  <a:lnTo>
                    <a:pt x="240" y="924"/>
                  </a:lnTo>
                  <a:lnTo>
                    <a:pt x="234" y="924"/>
                  </a:lnTo>
                  <a:lnTo>
                    <a:pt x="228" y="918"/>
                  </a:lnTo>
                  <a:lnTo>
                    <a:pt x="228" y="906"/>
                  </a:lnTo>
                  <a:lnTo>
                    <a:pt x="222" y="900"/>
                  </a:lnTo>
                  <a:lnTo>
                    <a:pt x="216" y="900"/>
                  </a:lnTo>
                  <a:lnTo>
                    <a:pt x="210" y="900"/>
                  </a:lnTo>
                  <a:lnTo>
                    <a:pt x="210" y="906"/>
                  </a:lnTo>
                  <a:lnTo>
                    <a:pt x="204" y="906"/>
                  </a:lnTo>
                  <a:lnTo>
                    <a:pt x="198" y="906"/>
                  </a:lnTo>
                  <a:lnTo>
                    <a:pt x="210" y="900"/>
                  </a:lnTo>
                  <a:lnTo>
                    <a:pt x="210" y="894"/>
                  </a:lnTo>
                  <a:lnTo>
                    <a:pt x="216" y="888"/>
                  </a:lnTo>
                  <a:lnTo>
                    <a:pt x="204" y="882"/>
                  </a:lnTo>
                  <a:lnTo>
                    <a:pt x="204" y="894"/>
                  </a:lnTo>
                  <a:lnTo>
                    <a:pt x="198" y="894"/>
                  </a:lnTo>
                  <a:lnTo>
                    <a:pt x="192" y="900"/>
                  </a:lnTo>
                  <a:lnTo>
                    <a:pt x="186" y="894"/>
                  </a:lnTo>
                  <a:lnTo>
                    <a:pt x="180" y="894"/>
                  </a:lnTo>
                  <a:lnTo>
                    <a:pt x="174" y="894"/>
                  </a:lnTo>
                  <a:lnTo>
                    <a:pt x="168" y="900"/>
                  </a:lnTo>
                  <a:lnTo>
                    <a:pt x="162" y="906"/>
                  </a:lnTo>
                  <a:lnTo>
                    <a:pt x="156" y="906"/>
                  </a:lnTo>
                  <a:lnTo>
                    <a:pt x="150" y="900"/>
                  </a:lnTo>
                  <a:lnTo>
                    <a:pt x="144" y="894"/>
                  </a:lnTo>
                  <a:lnTo>
                    <a:pt x="138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0" y="888"/>
                  </a:lnTo>
                  <a:lnTo>
                    <a:pt x="114" y="894"/>
                  </a:lnTo>
                  <a:lnTo>
                    <a:pt x="120" y="900"/>
                  </a:lnTo>
                  <a:lnTo>
                    <a:pt x="126" y="900"/>
                  </a:lnTo>
                  <a:lnTo>
                    <a:pt x="132" y="900"/>
                  </a:lnTo>
                  <a:lnTo>
                    <a:pt x="132" y="906"/>
                  </a:lnTo>
                  <a:lnTo>
                    <a:pt x="126" y="912"/>
                  </a:lnTo>
                  <a:lnTo>
                    <a:pt x="126" y="918"/>
                  </a:lnTo>
                  <a:lnTo>
                    <a:pt x="114" y="918"/>
                  </a:lnTo>
                  <a:lnTo>
                    <a:pt x="108" y="924"/>
                  </a:lnTo>
                  <a:lnTo>
                    <a:pt x="102" y="924"/>
                  </a:lnTo>
                  <a:lnTo>
                    <a:pt x="90" y="924"/>
                  </a:lnTo>
                  <a:lnTo>
                    <a:pt x="84" y="924"/>
                  </a:lnTo>
                  <a:lnTo>
                    <a:pt x="78" y="924"/>
                  </a:lnTo>
                  <a:lnTo>
                    <a:pt x="60" y="924"/>
                  </a:lnTo>
                  <a:lnTo>
                    <a:pt x="54" y="942"/>
                  </a:lnTo>
                  <a:lnTo>
                    <a:pt x="48" y="936"/>
                  </a:lnTo>
                  <a:lnTo>
                    <a:pt x="42" y="930"/>
                  </a:lnTo>
                  <a:lnTo>
                    <a:pt x="36" y="930"/>
                  </a:lnTo>
                  <a:lnTo>
                    <a:pt x="30" y="936"/>
                  </a:lnTo>
                  <a:lnTo>
                    <a:pt x="30" y="930"/>
                  </a:lnTo>
                  <a:lnTo>
                    <a:pt x="30" y="924"/>
                  </a:lnTo>
                  <a:lnTo>
                    <a:pt x="18" y="918"/>
                  </a:lnTo>
                  <a:lnTo>
                    <a:pt x="18" y="912"/>
                  </a:lnTo>
                  <a:lnTo>
                    <a:pt x="12" y="912"/>
                  </a:lnTo>
                  <a:lnTo>
                    <a:pt x="6" y="912"/>
                  </a:lnTo>
                  <a:lnTo>
                    <a:pt x="6" y="900"/>
                  </a:lnTo>
                  <a:lnTo>
                    <a:pt x="6" y="894"/>
                  </a:lnTo>
                  <a:lnTo>
                    <a:pt x="0" y="870"/>
                  </a:lnTo>
                  <a:lnTo>
                    <a:pt x="6" y="846"/>
                  </a:lnTo>
                  <a:lnTo>
                    <a:pt x="6" y="810"/>
                  </a:lnTo>
                  <a:lnTo>
                    <a:pt x="12" y="774"/>
                  </a:lnTo>
                  <a:lnTo>
                    <a:pt x="12" y="756"/>
                  </a:lnTo>
                  <a:lnTo>
                    <a:pt x="18" y="744"/>
                  </a:lnTo>
                  <a:lnTo>
                    <a:pt x="18" y="732"/>
                  </a:lnTo>
                  <a:lnTo>
                    <a:pt x="12" y="576"/>
                  </a:lnTo>
                  <a:lnTo>
                    <a:pt x="12" y="570"/>
                  </a:lnTo>
                  <a:lnTo>
                    <a:pt x="18" y="564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42" y="552"/>
                  </a:lnTo>
                  <a:lnTo>
                    <a:pt x="66" y="552"/>
                  </a:lnTo>
                  <a:lnTo>
                    <a:pt x="78" y="558"/>
                  </a:lnTo>
                  <a:lnTo>
                    <a:pt x="90" y="558"/>
                  </a:lnTo>
                  <a:lnTo>
                    <a:pt x="108" y="558"/>
                  </a:lnTo>
                  <a:lnTo>
                    <a:pt x="144" y="558"/>
                  </a:lnTo>
                  <a:lnTo>
                    <a:pt x="204" y="552"/>
                  </a:lnTo>
                  <a:lnTo>
                    <a:pt x="210" y="558"/>
                  </a:lnTo>
                  <a:lnTo>
                    <a:pt x="216" y="558"/>
                  </a:lnTo>
                  <a:lnTo>
                    <a:pt x="210" y="564"/>
                  </a:lnTo>
                  <a:lnTo>
                    <a:pt x="216" y="564"/>
                  </a:lnTo>
                  <a:lnTo>
                    <a:pt x="222" y="564"/>
                  </a:lnTo>
                  <a:lnTo>
                    <a:pt x="240" y="564"/>
                  </a:lnTo>
                  <a:lnTo>
                    <a:pt x="258" y="564"/>
                  </a:lnTo>
                  <a:lnTo>
                    <a:pt x="264" y="570"/>
                  </a:lnTo>
                  <a:lnTo>
                    <a:pt x="276" y="570"/>
                  </a:lnTo>
                  <a:lnTo>
                    <a:pt x="282" y="564"/>
                  </a:lnTo>
                  <a:lnTo>
                    <a:pt x="294" y="564"/>
                  </a:lnTo>
                  <a:lnTo>
                    <a:pt x="294" y="570"/>
                  </a:lnTo>
                  <a:lnTo>
                    <a:pt x="300" y="570"/>
                  </a:lnTo>
                  <a:lnTo>
                    <a:pt x="378" y="564"/>
                  </a:lnTo>
                  <a:lnTo>
                    <a:pt x="408" y="558"/>
                  </a:lnTo>
                  <a:lnTo>
                    <a:pt x="432" y="552"/>
                  </a:lnTo>
                  <a:lnTo>
                    <a:pt x="450" y="546"/>
                  </a:lnTo>
                  <a:lnTo>
                    <a:pt x="468" y="546"/>
                  </a:lnTo>
                  <a:lnTo>
                    <a:pt x="468" y="552"/>
                  </a:lnTo>
                  <a:lnTo>
                    <a:pt x="504" y="552"/>
                  </a:lnTo>
                  <a:lnTo>
                    <a:pt x="510" y="534"/>
                  </a:lnTo>
                  <a:lnTo>
                    <a:pt x="516" y="510"/>
                  </a:lnTo>
                  <a:lnTo>
                    <a:pt x="522" y="510"/>
                  </a:lnTo>
                  <a:lnTo>
                    <a:pt x="528" y="420"/>
                  </a:lnTo>
                  <a:lnTo>
                    <a:pt x="522" y="414"/>
                  </a:lnTo>
                  <a:lnTo>
                    <a:pt x="516" y="396"/>
                  </a:lnTo>
                  <a:lnTo>
                    <a:pt x="510" y="372"/>
                  </a:lnTo>
                  <a:lnTo>
                    <a:pt x="498" y="348"/>
                  </a:lnTo>
                  <a:lnTo>
                    <a:pt x="474" y="282"/>
                  </a:lnTo>
                  <a:lnTo>
                    <a:pt x="474" y="270"/>
                  </a:lnTo>
                  <a:lnTo>
                    <a:pt x="480" y="258"/>
                  </a:lnTo>
                  <a:lnTo>
                    <a:pt x="486" y="258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92" y="246"/>
                  </a:lnTo>
                  <a:lnTo>
                    <a:pt x="504" y="234"/>
                  </a:lnTo>
                  <a:lnTo>
                    <a:pt x="510" y="228"/>
                  </a:lnTo>
                  <a:lnTo>
                    <a:pt x="516" y="228"/>
                  </a:lnTo>
                  <a:lnTo>
                    <a:pt x="516" y="222"/>
                  </a:lnTo>
                  <a:lnTo>
                    <a:pt x="516" y="216"/>
                  </a:lnTo>
                  <a:lnTo>
                    <a:pt x="522" y="216"/>
                  </a:lnTo>
                  <a:lnTo>
                    <a:pt x="528" y="210"/>
                  </a:lnTo>
                  <a:lnTo>
                    <a:pt x="534" y="210"/>
                  </a:lnTo>
                  <a:lnTo>
                    <a:pt x="540" y="210"/>
                  </a:lnTo>
                  <a:lnTo>
                    <a:pt x="546" y="210"/>
                  </a:lnTo>
                  <a:lnTo>
                    <a:pt x="552" y="210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16"/>
                  </a:lnTo>
                  <a:lnTo>
                    <a:pt x="588" y="228"/>
                  </a:lnTo>
                  <a:lnTo>
                    <a:pt x="594" y="234"/>
                  </a:lnTo>
                  <a:lnTo>
                    <a:pt x="600" y="240"/>
                  </a:lnTo>
                  <a:lnTo>
                    <a:pt x="618" y="246"/>
                  </a:lnTo>
                  <a:lnTo>
                    <a:pt x="624" y="246"/>
                  </a:lnTo>
                  <a:lnTo>
                    <a:pt x="636" y="252"/>
                  </a:lnTo>
                  <a:lnTo>
                    <a:pt x="654" y="252"/>
                  </a:lnTo>
                  <a:lnTo>
                    <a:pt x="654" y="258"/>
                  </a:lnTo>
                  <a:lnTo>
                    <a:pt x="666" y="264"/>
                  </a:lnTo>
                  <a:lnTo>
                    <a:pt x="672" y="264"/>
                  </a:lnTo>
                  <a:lnTo>
                    <a:pt x="678" y="264"/>
                  </a:lnTo>
                  <a:lnTo>
                    <a:pt x="696" y="258"/>
                  </a:lnTo>
                  <a:lnTo>
                    <a:pt x="696" y="252"/>
                  </a:lnTo>
                  <a:lnTo>
                    <a:pt x="696" y="246"/>
                  </a:lnTo>
                  <a:lnTo>
                    <a:pt x="690" y="234"/>
                  </a:lnTo>
                  <a:lnTo>
                    <a:pt x="684" y="210"/>
                  </a:lnTo>
                  <a:lnTo>
                    <a:pt x="678" y="192"/>
                  </a:lnTo>
                  <a:lnTo>
                    <a:pt x="672" y="174"/>
                  </a:lnTo>
                  <a:lnTo>
                    <a:pt x="672" y="168"/>
                  </a:lnTo>
                  <a:lnTo>
                    <a:pt x="672" y="162"/>
                  </a:lnTo>
                  <a:lnTo>
                    <a:pt x="672" y="156"/>
                  </a:lnTo>
                  <a:lnTo>
                    <a:pt x="684" y="132"/>
                  </a:lnTo>
                  <a:lnTo>
                    <a:pt x="684" y="120"/>
                  </a:lnTo>
                  <a:lnTo>
                    <a:pt x="684" y="108"/>
                  </a:lnTo>
                  <a:lnTo>
                    <a:pt x="678" y="102"/>
                  </a:lnTo>
                  <a:lnTo>
                    <a:pt x="678" y="96"/>
                  </a:lnTo>
                  <a:lnTo>
                    <a:pt x="684" y="96"/>
                  </a:lnTo>
                  <a:lnTo>
                    <a:pt x="696" y="90"/>
                  </a:lnTo>
                  <a:lnTo>
                    <a:pt x="702" y="84"/>
                  </a:lnTo>
                  <a:lnTo>
                    <a:pt x="720" y="72"/>
                  </a:lnTo>
                  <a:lnTo>
                    <a:pt x="738" y="66"/>
                  </a:lnTo>
                  <a:lnTo>
                    <a:pt x="756" y="60"/>
                  </a:lnTo>
                  <a:lnTo>
                    <a:pt x="768" y="60"/>
                  </a:lnTo>
                  <a:lnTo>
                    <a:pt x="798" y="72"/>
                  </a:lnTo>
                  <a:lnTo>
                    <a:pt x="804" y="78"/>
                  </a:lnTo>
                  <a:lnTo>
                    <a:pt x="816" y="84"/>
                  </a:lnTo>
                  <a:lnTo>
                    <a:pt x="822" y="84"/>
                  </a:lnTo>
                  <a:lnTo>
                    <a:pt x="828" y="72"/>
                  </a:lnTo>
                  <a:lnTo>
                    <a:pt x="828" y="60"/>
                  </a:lnTo>
                  <a:lnTo>
                    <a:pt x="828" y="36"/>
                  </a:lnTo>
                  <a:lnTo>
                    <a:pt x="828" y="24"/>
                  </a:lnTo>
                  <a:lnTo>
                    <a:pt x="828" y="12"/>
                  </a:lnTo>
                  <a:lnTo>
                    <a:pt x="834" y="12"/>
                  </a:lnTo>
                  <a:lnTo>
                    <a:pt x="852" y="6"/>
                  </a:lnTo>
                  <a:lnTo>
                    <a:pt x="876" y="6"/>
                  </a:lnTo>
                  <a:lnTo>
                    <a:pt x="894" y="6"/>
                  </a:lnTo>
                  <a:lnTo>
                    <a:pt x="906" y="12"/>
                  </a:lnTo>
                  <a:lnTo>
                    <a:pt x="912" y="24"/>
                  </a:lnTo>
                  <a:lnTo>
                    <a:pt x="924" y="24"/>
                  </a:lnTo>
                  <a:lnTo>
                    <a:pt x="930" y="30"/>
                  </a:lnTo>
                  <a:lnTo>
                    <a:pt x="936" y="30"/>
                  </a:lnTo>
                  <a:lnTo>
                    <a:pt x="936" y="36"/>
                  </a:lnTo>
                  <a:lnTo>
                    <a:pt x="942" y="36"/>
                  </a:lnTo>
                  <a:lnTo>
                    <a:pt x="948" y="42"/>
                  </a:lnTo>
                  <a:lnTo>
                    <a:pt x="960" y="48"/>
                  </a:lnTo>
                  <a:lnTo>
                    <a:pt x="966" y="48"/>
                  </a:lnTo>
                  <a:lnTo>
                    <a:pt x="1026" y="60"/>
                  </a:lnTo>
                  <a:lnTo>
                    <a:pt x="1050" y="60"/>
                  </a:lnTo>
                  <a:lnTo>
                    <a:pt x="1050" y="54"/>
                  </a:lnTo>
                  <a:lnTo>
                    <a:pt x="1062" y="54"/>
                  </a:lnTo>
                  <a:lnTo>
                    <a:pt x="1074" y="48"/>
                  </a:lnTo>
                  <a:lnTo>
                    <a:pt x="1086" y="42"/>
                  </a:lnTo>
                  <a:lnTo>
                    <a:pt x="1104" y="36"/>
                  </a:lnTo>
                  <a:lnTo>
                    <a:pt x="1116" y="30"/>
                  </a:lnTo>
                  <a:lnTo>
                    <a:pt x="1122" y="24"/>
                  </a:lnTo>
                  <a:lnTo>
                    <a:pt x="1128" y="18"/>
                  </a:lnTo>
                  <a:lnTo>
                    <a:pt x="1134" y="18"/>
                  </a:lnTo>
                  <a:lnTo>
                    <a:pt x="1140" y="12"/>
                  </a:lnTo>
                  <a:lnTo>
                    <a:pt x="1146" y="6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24"/>
                  </a:lnTo>
                  <a:lnTo>
                    <a:pt x="1176" y="36"/>
                  </a:lnTo>
                  <a:lnTo>
                    <a:pt x="1188" y="42"/>
                  </a:lnTo>
                  <a:lnTo>
                    <a:pt x="1200" y="54"/>
                  </a:lnTo>
                  <a:lnTo>
                    <a:pt x="1224" y="84"/>
                  </a:lnTo>
                  <a:lnTo>
                    <a:pt x="1224" y="90"/>
                  </a:lnTo>
                  <a:lnTo>
                    <a:pt x="1236" y="96"/>
                  </a:lnTo>
                  <a:lnTo>
                    <a:pt x="1236" y="108"/>
                  </a:lnTo>
                  <a:lnTo>
                    <a:pt x="1248" y="114"/>
                  </a:lnTo>
                  <a:lnTo>
                    <a:pt x="1254" y="114"/>
                  </a:lnTo>
                  <a:lnTo>
                    <a:pt x="1260" y="114"/>
                  </a:lnTo>
                  <a:lnTo>
                    <a:pt x="1296" y="114"/>
                  </a:lnTo>
                  <a:lnTo>
                    <a:pt x="1302" y="114"/>
                  </a:lnTo>
                  <a:lnTo>
                    <a:pt x="1320" y="108"/>
                  </a:lnTo>
                  <a:lnTo>
                    <a:pt x="1326" y="108"/>
                  </a:lnTo>
                  <a:lnTo>
                    <a:pt x="1326" y="138"/>
                  </a:lnTo>
                  <a:lnTo>
                    <a:pt x="1326" y="210"/>
                  </a:lnTo>
                  <a:lnTo>
                    <a:pt x="1320" y="252"/>
                  </a:lnTo>
                  <a:lnTo>
                    <a:pt x="1320" y="270"/>
                  </a:lnTo>
                  <a:lnTo>
                    <a:pt x="1320" y="288"/>
                  </a:lnTo>
                  <a:lnTo>
                    <a:pt x="1320" y="318"/>
                  </a:lnTo>
                  <a:lnTo>
                    <a:pt x="1326" y="354"/>
                  </a:lnTo>
                  <a:lnTo>
                    <a:pt x="1326" y="372"/>
                  </a:lnTo>
                  <a:lnTo>
                    <a:pt x="1332" y="420"/>
                  </a:lnTo>
                  <a:lnTo>
                    <a:pt x="1332" y="450"/>
                  </a:lnTo>
                  <a:lnTo>
                    <a:pt x="1338" y="480"/>
                  </a:lnTo>
                  <a:lnTo>
                    <a:pt x="1344" y="486"/>
                  </a:lnTo>
                  <a:lnTo>
                    <a:pt x="1338" y="492"/>
                  </a:lnTo>
                  <a:lnTo>
                    <a:pt x="1344" y="492"/>
                  </a:lnTo>
                  <a:lnTo>
                    <a:pt x="1344" y="498"/>
                  </a:lnTo>
                  <a:lnTo>
                    <a:pt x="1350" y="498"/>
                  </a:lnTo>
                  <a:lnTo>
                    <a:pt x="1350" y="522"/>
                  </a:lnTo>
                  <a:lnTo>
                    <a:pt x="1362" y="564"/>
                  </a:lnTo>
                  <a:lnTo>
                    <a:pt x="1368" y="582"/>
                  </a:lnTo>
                  <a:lnTo>
                    <a:pt x="1380" y="600"/>
                  </a:lnTo>
                  <a:lnTo>
                    <a:pt x="1386" y="636"/>
                  </a:lnTo>
                  <a:lnTo>
                    <a:pt x="1380" y="660"/>
                  </a:lnTo>
                  <a:lnTo>
                    <a:pt x="1380" y="678"/>
                  </a:lnTo>
                  <a:lnTo>
                    <a:pt x="1380" y="684"/>
                  </a:lnTo>
                  <a:lnTo>
                    <a:pt x="1374" y="684"/>
                  </a:lnTo>
                  <a:lnTo>
                    <a:pt x="1368" y="690"/>
                  </a:lnTo>
                  <a:lnTo>
                    <a:pt x="1356" y="702"/>
                  </a:lnTo>
                  <a:lnTo>
                    <a:pt x="1350" y="708"/>
                  </a:lnTo>
                  <a:lnTo>
                    <a:pt x="1356" y="714"/>
                  </a:lnTo>
                  <a:lnTo>
                    <a:pt x="1368" y="726"/>
                  </a:lnTo>
                  <a:lnTo>
                    <a:pt x="1380" y="738"/>
                  </a:lnTo>
                  <a:lnTo>
                    <a:pt x="1386" y="744"/>
                  </a:lnTo>
                  <a:lnTo>
                    <a:pt x="1392" y="744"/>
                  </a:lnTo>
                  <a:lnTo>
                    <a:pt x="1410" y="750"/>
                  </a:lnTo>
                  <a:lnTo>
                    <a:pt x="1416" y="756"/>
                  </a:lnTo>
                  <a:lnTo>
                    <a:pt x="1422" y="756"/>
                  </a:lnTo>
                  <a:lnTo>
                    <a:pt x="1422" y="762"/>
                  </a:lnTo>
                  <a:lnTo>
                    <a:pt x="1428" y="774"/>
                  </a:lnTo>
                  <a:lnTo>
                    <a:pt x="1428" y="780"/>
                  </a:lnTo>
                  <a:lnTo>
                    <a:pt x="1434" y="780"/>
                  </a:lnTo>
                  <a:lnTo>
                    <a:pt x="1440" y="798"/>
                  </a:lnTo>
                  <a:lnTo>
                    <a:pt x="1422" y="816"/>
                  </a:lnTo>
                  <a:lnTo>
                    <a:pt x="1386" y="810"/>
                  </a:lnTo>
                  <a:lnTo>
                    <a:pt x="1380" y="816"/>
                  </a:lnTo>
                  <a:lnTo>
                    <a:pt x="1374" y="840"/>
                  </a:lnTo>
                  <a:lnTo>
                    <a:pt x="1350" y="852"/>
                  </a:lnTo>
                  <a:lnTo>
                    <a:pt x="1350" y="858"/>
                  </a:lnTo>
                  <a:lnTo>
                    <a:pt x="1350" y="864"/>
                  </a:lnTo>
                  <a:lnTo>
                    <a:pt x="1344" y="864"/>
                  </a:lnTo>
                  <a:lnTo>
                    <a:pt x="1338" y="870"/>
                  </a:lnTo>
                  <a:lnTo>
                    <a:pt x="1332" y="876"/>
                  </a:lnTo>
                  <a:lnTo>
                    <a:pt x="1314" y="876"/>
                  </a:lnTo>
                  <a:lnTo>
                    <a:pt x="1314" y="870"/>
                  </a:lnTo>
                  <a:lnTo>
                    <a:pt x="1308" y="870"/>
                  </a:lnTo>
                  <a:lnTo>
                    <a:pt x="1302" y="864"/>
                  </a:lnTo>
                  <a:lnTo>
                    <a:pt x="1296" y="864"/>
                  </a:lnTo>
                  <a:lnTo>
                    <a:pt x="1284" y="870"/>
                  </a:lnTo>
                  <a:lnTo>
                    <a:pt x="1266" y="870"/>
                  </a:lnTo>
                  <a:lnTo>
                    <a:pt x="1260" y="870"/>
                  </a:lnTo>
                  <a:lnTo>
                    <a:pt x="1248" y="876"/>
                  </a:lnTo>
                  <a:lnTo>
                    <a:pt x="1236" y="876"/>
                  </a:lnTo>
                  <a:lnTo>
                    <a:pt x="1230" y="882"/>
                  </a:lnTo>
                  <a:lnTo>
                    <a:pt x="1224" y="894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18" y="942"/>
                  </a:lnTo>
                  <a:lnTo>
                    <a:pt x="1212" y="948"/>
                  </a:lnTo>
                  <a:lnTo>
                    <a:pt x="1200" y="984"/>
                  </a:lnTo>
                  <a:lnTo>
                    <a:pt x="1194" y="1008"/>
                  </a:lnTo>
                  <a:lnTo>
                    <a:pt x="1218" y="1038"/>
                  </a:lnTo>
                  <a:lnTo>
                    <a:pt x="1224" y="1044"/>
                  </a:lnTo>
                  <a:lnTo>
                    <a:pt x="1224" y="1062"/>
                  </a:lnTo>
                  <a:lnTo>
                    <a:pt x="1236" y="1080"/>
                  </a:lnTo>
                  <a:lnTo>
                    <a:pt x="1236" y="1086"/>
                  </a:lnTo>
                  <a:lnTo>
                    <a:pt x="1230" y="1092"/>
                  </a:lnTo>
                  <a:lnTo>
                    <a:pt x="1224" y="1110"/>
                  </a:lnTo>
                  <a:lnTo>
                    <a:pt x="1218" y="1122"/>
                  </a:lnTo>
                  <a:lnTo>
                    <a:pt x="1224" y="1140"/>
                  </a:lnTo>
                  <a:lnTo>
                    <a:pt x="1218" y="1146"/>
                  </a:lnTo>
                  <a:lnTo>
                    <a:pt x="1218" y="1152"/>
                  </a:lnTo>
                  <a:lnTo>
                    <a:pt x="1212" y="116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1" name="Freeform 36">
              <a:extLst>
                <a:ext uri="{FF2B5EF4-FFF2-40B4-BE49-F238E27FC236}">
                  <a16:creationId xmlns:a16="http://schemas.microsoft.com/office/drawing/2014/main" id="{B9C0D6BE-CB1C-4E69-B224-1ABF097AA8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90208" y="1647855"/>
              <a:ext cx="742415" cy="758173"/>
            </a:xfrm>
            <a:custGeom>
              <a:avLst/>
              <a:gdLst>
                <a:gd name="T0" fmla="*/ 75 w 1398"/>
                <a:gd name="T1" fmla="*/ 48 h 1428"/>
                <a:gd name="T2" fmla="*/ 68 w 1398"/>
                <a:gd name="T3" fmla="*/ 54 h 1428"/>
                <a:gd name="T4" fmla="*/ 57 w 1398"/>
                <a:gd name="T5" fmla="*/ 59 h 1428"/>
                <a:gd name="T6" fmla="*/ 55 w 1398"/>
                <a:gd name="T7" fmla="*/ 68 h 1428"/>
                <a:gd name="T8" fmla="*/ 55 w 1398"/>
                <a:gd name="T9" fmla="*/ 77 h 1428"/>
                <a:gd name="T10" fmla="*/ 57 w 1398"/>
                <a:gd name="T11" fmla="*/ 81 h 1428"/>
                <a:gd name="T12" fmla="*/ 56 w 1398"/>
                <a:gd name="T13" fmla="*/ 86 h 1428"/>
                <a:gd name="T14" fmla="*/ 57 w 1398"/>
                <a:gd name="T15" fmla="*/ 89 h 1428"/>
                <a:gd name="T16" fmla="*/ 58 w 1398"/>
                <a:gd name="T17" fmla="*/ 92 h 1428"/>
                <a:gd name="T18" fmla="*/ 58 w 1398"/>
                <a:gd name="T19" fmla="*/ 96 h 1428"/>
                <a:gd name="T20" fmla="*/ 49 w 1398"/>
                <a:gd name="T21" fmla="*/ 100 h 1428"/>
                <a:gd name="T22" fmla="*/ 47 w 1398"/>
                <a:gd name="T23" fmla="*/ 108 h 1428"/>
                <a:gd name="T24" fmla="*/ 48 w 1398"/>
                <a:gd name="T25" fmla="*/ 113 h 1428"/>
                <a:gd name="T26" fmla="*/ 43 w 1398"/>
                <a:gd name="T27" fmla="*/ 114 h 1428"/>
                <a:gd name="T28" fmla="*/ 39 w 1398"/>
                <a:gd name="T29" fmla="*/ 113 h 1428"/>
                <a:gd name="T30" fmla="*/ 33 w 1398"/>
                <a:gd name="T31" fmla="*/ 109 h 1428"/>
                <a:gd name="T32" fmla="*/ 29 w 1398"/>
                <a:gd name="T33" fmla="*/ 114 h 1428"/>
                <a:gd name="T34" fmla="*/ 22 w 1398"/>
                <a:gd name="T35" fmla="*/ 115 h 1428"/>
                <a:gd name="T36" fmla="*/ 21 w 1398"/>
                <a:gd name="T37" fmla="*/ 121 h 1428"/>
                <a:gd name="T38" fmla="*/ 12 w 1398"/>
                <a:gd name="T39" fmla="*/ 119 h 1428"/>
                <a:gd name="T40" fmla="*/ 9 w 1398"/>
                <a:gd name="T41" fmla="*/ 113 h 1428"/>
                <a:gd name="T42" fmla="*/ 2 w 1398"/>
                <a:gd name="T43" fmla="*/ 109 h 1428"/>
                <a:gd name="T44" fmla="*/ 4 w 1398"/>
                <a:gd name="T45" fmla="*/ 103 h 1428"/>
                <a:gd name="T46" fmla="*/ 2 w 1398"/>
                <a:gd name="T47" fmla="*/ 91 h 1428"/>
                <a:gd name="T48" fmla="*/ 6 w 1398"/>
                <a:gd name="T49" fmla="*/ 85 h 1428"/>
                <a:gd name="T50" fmla="*/ 10 w 1398"/>
                <a:gd name="T51" fmla="*/ 85 h 1428"/>
                <a:gd name="T52" fmla="*/ 15 w 1398"/>
                <a:gd name="T53" fmla="*/ 82 h 1428"/>
                <a:gd name="T54" fmla="*/ 20 w 1398"/>
                <a:gd name="T55" fmla="*/ 77 h 1428"/>
                <a:gd name="T56" fmla="*/ 16 w 1398"/>
                <a:gd name="T57" fmla="*/ 73 h 1428"/>
                <a:gd name="T58" fmla="*/ 16 w 1398"/>
                <a:gd name="T59" fmla="*/ 69 h 1428"/>
                <a:gd name="T60" fmla="*/ 14 w 1398"/>
                <a:gd name="T61" fmla="*/ 54 h 1428"/>
                <a:gd name="T62" fmla="*/ 12 w 1398"/>
                <a:gd name="T63" fmla="*/ 48 h 1428"/>
                <a:gd name="T64" fmla="*/ 11 w 1398"/>
                <a:gd name="T65" fmla="*/ 31 h 1428"/>
                <a:gd name="T66" fmla="*/ 14 w 1398"/>
                <a:gd name="T67" fmla="*/ 18 h 1428"/>
                <a:gd name="T68" fmla="*/ 19 w 1398"/>
                <a:gd name="T69" fmla="*/ 15 h 1428"/>
                <a:gd name="T70" fmla="*/ 26 w 1398"/>
                <a:gd name="T71" fmla="*/ 13 h 1428"/>
                <a:gd name="T72" fmla="*/ 34 w 1398"/>
                <a:gd name="T73" fmla="*/ 12 h 1428"/>
                <a:gd name="T74" fmla="*/ 39 w 1398"/>
                <a:gd name="T75" fmla="*/ 9 h 1428"/>
                <a:gd name="T76" fmla="*/ 43 w 1398"/>
                <a:gd name="T77" fmla="*/ 7 h 1428"/>
                <a:gd name="T78" fmla="*/ 48 w 1398"/>
                <a:gd name="T79" fmla="*/ 3 h 1428"/>
                <a:gd name="T80" fmla="*/ 54 w 1398"/>
                <a:gd name="T81" fmla="*/ 0 h 1428"/>
                <a:gd name="T82" fmla="*/ 58 w 1398"/>
                <a:gd name="T83" fmla="*/ 0 h 1428"/>
                <a:gd name="T84" fmla="*/ 66 w 1398"/>
                <a:gd name="T85" fmla="*/ 2 h 1428"/>
                <a:gd name="T86" fmla="*/ 70 w 1398"/>
                <a:gd name="T87" fmla="*/ 3 h 1428"/>
                <a:gd name="T88" fmla="*/ 75 w 1398"/>
                <a:gd name="T89" fmla="*/ 6 h 1428"/>
                <a:gd name="T90" fmla="*/ 80 w 1398"/>
                <a:gd name="T91" fmla="*/ 9 h 1428"/>
                <a:gd name="T92" fmla="*/ 83 w 1398"/>
                <a:gd name="T93" fmla="*/ 12 h 1428"/>
                <a:gd name="T94" fmla="*/ 87 w 1398"/>
                <a:gd name="T95" fmla="*/ 15 h 1428"/>
                <a:gd name="T96" fmla="*/ 94 w 1398"/>
                <a:gd name="T97" fmla="*/ 15 h 1428"/>
                <a:gd name="T98" fmla="*/ 99 w 1398"/>
                <a:gd name="T99" fmla="*/ 21 h 1428"/>
                <a:gd name="T100" fmla="*/ 103 w 1398"/>
                <a:gd name="T101" fmla="*/ 23 h 1428"/>
                <a:gd name="T102" fmla="*/ 110 w 1398"/>
                <a:gd name="T103" fmla="*/ 26 h 1428"/>
                <a:gd name="T104" fmla="*/ 116 w 1398"/>
                <a:gd name="T105" fmla="*/ 27 h 1428"/>
                <a:gd name="T106" fmla="*/ 120 w 1398"/>
                <a:gd name="T107" fmla="*/ 27 h 1428"/>
                <a:gd name="T108" fmla="*/ 116 w 1398"/>
                <a:gd name="T109" fmla="*/ 35 h 1428"/>
                <a:gd name="T110" fmla="*/ 104 w 1398"/>
                <a:gd name="T111" fmla="*/ 37 h 1428"/>
                <a:gd name="T112" fmla="*/ 97 w 1398"/>
                <a:gd name="T113" fmla="*/ 34 h 1428"/>
                <a:gd name="T114" fmla="*/ 91 w 1398"/>
                <a:gd name="T115" fmla="*/ 29 h 1428"/>
                <a:gd name="T116" fmla="*/ 75 w 1398"/>
                <a:gd name="T117" fmla="*/ 29 h 1428"/>
                <a:gd name="T118" fmla="*/ 72 w 1398"/>
                <a:gd name="T119" fmla="*/ 39 h 1428"/>
                <a:gd name="T120" fmla="*/ 80 w 1398"/>
                <a:gd name="T121" fmla="*/ 41 h 142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98"/>
                <a:gd name="T184" fmla="*/ 0 h 1428"/>
                <a:gd name="T185" fmla="*/ 1398 w 1398"/>
                <a:gd name="T186" fmla="*/ 1428 h 142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98" h="1428">
                  <a:moveTo>
                    <a:pt x="924" y="474"/>
                  </a:moveTo>
                  <a:lnTo>
                    <a:pt x="900" y="480"/>
                  </a:lnTo>
                  <a:lnTo>
                    <a:pt x="864" y="486"/>
                  </a:lnTo>
                  <a:lnTo>
                    <a:pt x="864" y="504"/>
                  </a:lnTo>
                  <a:lnTo>
                    <a:pt x="858" y="522"/>
                  </a:lnTo>
                  <a:lnTo>
                    <a:pt x="864" y="528"/>
                  </a:lnTo>
                  <a:lnTo>
                    <a:pt x="864" y="552"/>
                  </a:lnTo>
                  <a:lnTo>
                    <a:pt x="852" y="552"/>
                  </a:lnTo>
                  <a:lnTo>
                    <a:pt x="846" y="564"/>
                  </a:lnTo>
                  <a:lnTo>
                    <a:pt x="840" y="582"/>
                  </a:lnTo>
                  <a:lnTo>
                    <a:pt x="834" y="594"/>
                  </a:lnTo>
                  <a:lnTo>
                    <a:pt x="828" y="606"/>
                  </a:lnTo>
                  <a:lnTo>
                    <a:pt x="828" y="618"/>
                  </a:lnTo>
                  <a:lnTo>
                    <a:pt x="786" y="630"/>
                  </a:lnTo>
                  <a:lnTo>
                    <a:pt x="774" y="636"/>
                  </a:lnTo>
                  <a:lnTo>
                    <a:pt x="762" y="642"/>
                  </a:lnTo>
                  <a:lnTo>
                    <a:pt x="744" y="648"/>
                  </a:lnTo>
                  <a:lnTo>
                    <a:pt x="714" y="660"/>
                  </a:lnTo>
                  <a:lnTo>
                    <a:pt x="696" y="666"/>
                  </a:lnTo>
                  <a:lnTo>
                    <a:pt x="666" y="672"/>
                  </a:lnTo>
                  <a:lnTo>
                    <a:pt x="654" y="684"/>
                  </a:lnTo>
                  <a:lnTo>
                    <a:pt x="648" y="684"/>
                  </a:lnTo>
                  <a:lnTo>
                    <a:pt x="642" y="696"/>
                  </a:lnTo>
                  <a:lnTo>
                    <a:pt x="636" y="696"/>
                  </a:lnTo>
                  <a:lnTo>
                    <a:pt x="630" y="714"/>
                  </a:lnTo>
                  <a:lnTo>
                    <a:pt x="624" y="738"/>
                  </a:lnTo>
                  <a:lnTo>
                    <a:pt x="624" y="762"/>
                  </a:lnTo>
                  <a:lnTo>
                    <a:pt x="630" y="780"/>
                  </a:lnTo>
                  <a:lnTo>
                    <a:pt x="636" y="804"/>
                  </a:lnTo>
                  <a:lnTo>
                    <a:pt x="642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6" y="834"/>
                  </a:lnTo>
                  <a:lnTo>
                    <a:pt x="636" y="870"/>
                  </a:lnTo>
                  <a:lnTo>
                    <a:pt x="636" y="882"/>
                  </a:lnTo>
                  <a:lnTo>
                    <a:pt x="636" y="906"/>
                  </a:lnTo>
                  <a:lnTo>
                    <a:pt x="630" y="906"/>
                  </a:lnTo>
                  <a:lnTo>
                    <a:pt x="636" y="918"/>
                  </a:lnTo>
                  <a:lnTo>
                    <a:pt x="642" y="918"/>
                  </a:lnTo>
                  <a:lnTo>
                    <a:pt x="642" y="930"/>
                  </a:lnTo>
                  <a:lnTo>
                    <a:pt x="648" y="936"/>
                  </a:lnTo>
                  <a:lnTo>
                    <a:pt x="654" y="936"/>
                  </a:lnTo>
                  <a:lnTo>
                    <a:pt x="654" y="942"/>
                  </a:lnTo>
                  <a:lnTo>
                    <a:pt x="654" y="948"/>
                  </a:lnTo>
                  <a:lnTo>
                    <a:pt x="648" y="954"/>
                  </a:lnTo>
                  <a:lnTo>
                    <a:pt x="648" y="960"/>
                  </a:lnTo>
                  <a:lnTo>
                    <a:pt x="648" y="966"/>
                  </a:lnTo>
                  <a:lnTo>
                    <a:pt x="648" y="972"/>
                  </a:lnTo>
                  <a:lnTo>
                    <a:pt x="648" y="990"/>
                  </a:lnTo>
                  <a:lnTo>
                    <a:pt x="654" y="996"/>
                  </a:lnTo>
                  <a:lnTo>
                    <a:pt x="648" y="1002"/>
                  </a:lnTo>
                  <a:lnTo>
                    <a:pt x="648" y="1008"/>
                  </a:lnTo>
                  <a:lnTo>
                    <a:pt x="654" y="1014"/>
                  </a:lnTo>
                  <a:lnTo>
                    <a:pt x="654" y="1020"/>
                  </a:lnTo>
                  <a:lnTo>
                    <a:pt x="654" y="1026"/>
                  </a:lnTo>
                  <a:lnTo>
                    <a:pt x="660" y="1026"/>
                  </a:lnTo>
                  <a:lnTo>
                    <a:pt x="660" y="1032"/>
                  </a:lnTo>
                  <a:lnTo>
                    <a:pt x="660" y="1038"/>
                  </a:lnTo>
                  <a:lnTo>
                    <a:pt x="666" y="1044"/>
                  </a:lnTo>
                  <a:lnTo>
                    <a:pt x="672" y="1050"/>
                  </a:lnTo>
                  <a:lnTo>
                    <a:pt x="672" y="1056"/>
                  </a:lnTo>
                  <a:lnTo>
                    <a:pt x="672" y="1062"/>
                  </a:lnTo>
                  <a:lnTo>
                    <a:pt x="672" y="1068"/>
                  </a:lnTo>
                  <a:lnTo>
                    <a:pt x="672" y="1074"/>
                  </a:lnTo>
                  <a:lnTo>
                    <a:pt x="678" y="1074"/>
                  </a:lnTo>
                  <a:lnTo>
                    <a:pt x="678" y="1080"/>
                  </a:lnTo>
                  <a:lnTo>
                    <a:pt x="678" y="1086"/>
                  </a:lnTo>
                  <a:lnTo>
                    <a:pt x="672" y="1092"/>
                  </a:lnTo>
                  <a:lnTo>
                    <a:pt x="672" y="1098"/>
                  </a:lnTo>
                  <a:lnTo>
                    <a:pt x="672" y="1104"/>
                  </a:lnTo>
                  <a:lnTo>
                    <a:pt x="666" y="1116"/>
                  </a:lnTo>
                  <a:lnTo>
                    <a:pt x="624" y="1122"/>
                  </a:lnTo>
                  <a:lnTo>
                    <a:pt x="576" y="1134"/>
                  </a:lnTo>
                  <a:lnTo>
                    <a:pt x="570" y="1140"/>
                  </a:lnTo>
                  <a:lnTo>
                    <a:pt x="570" y="1146"/>
                  </a:lnTo>
                  <a:lnTo>
                    <a:pt x="564" y="1146"/>
                  </a:lnTo>
                  <a:lnTo>
                    <a:pt x="564" y="1152"/>
                  </a:lnTo>
                  <a:lnTo>
                    <a:pt x="564" y="1164"/>
                  </a:lnTo>
                  <a:lnTo>
                    <a:pt x="564" y="1170"/>
                  </a:lnTo>
                  <a:lnTo>
                    <a:pt x="564" y="1176"/>
                  </a:lnTo>
                  <a:lnTo>
                    <a:pt x="546" y="1176"/>
                  </a:lnTo>
                  <a:lnTo>
                    <a:pt x="540" y="1212"/>
                  </a:lnTo>
                  <a:lnTo>
                    <a:pt x="540" y="1230"/>
                  </a:lnTo>
                  <a:lnTo>
                    <a:pt x="546" y="1242"/>
                  </a:lnTo>
                  <a:lnTo>
                    <a:pt x="546" y="1254"/>
                  </a:lnTo>
                  <a:lnTo>
                    <a:pt x="558" y="1266"/>
                  </a:lnTo>
                  <a:lnTo>
                    <a:pt x="576" y="1272"/>
                  </a:lnTo>
                  <a:lnTo>
                    <a:pt x="570" y="1278"/>
                  </a:lnTo>
                  <a:lnTo>
                    <a:pt x="576" y="1284"/>
                  </a:lnTo>
                  <a:lnTo>
                    <a:pt x="570" y="1296"/>
                  </a:lnTo>
                  <a:lnTo>
                    <a:pt x="558" y="1302"/>
                  </a:lnTo>
                  <a:lnTo>
                    <a:pt x="540" y="1308"/>
                  </a:lnTo>
                  <a:lnTo>
                    <a:pt x="522" y="1314"/>
                  </a:lnTo>
                  <a:lnTo>
                    <a:pt x="516" y="1314"/>
                  </a:lnTo>
                  <a:lnTo>
                    <a:pt x="510" y="1314"/>
                  </a:lnTo>
                  <a:lnTo>
                    <a:pt x="504" y="1314"/>
                  </a:lnTo>
                  <a:lnTo>
                    <a:pt x="498" y="1320"/>
                  </a:lnTo>
                  <a:lnTo>
                    <a:pt x="492" y="1320"/>
                  </a:lnTo>
                  <a:lnTo>
                    <a:pt x="492" y="1326"/>
                  </a:lnTo>
                  <a:lnTo>
                    <a:pt x="486" y="1326"/>
                  </a:lnTo>
                  <a:lnTo>
                    <a:pt x="480" y="1326"/>
                  </a:lnTo>
                  <a:lnTo>
                    <a:pt x="480" y="1320"/>
                  </a:lnTo>
                  <a:lnTo>
                    <a:pt x="468" y="1314"/>
                  </a:lnTo>
                  <a:lnTo>
                    <a:pt x="462" y="1308"/>
                  </a:lnTo>
                  <a:lnTo>
                    <a:pt x="456" y="1302"/>
                  </a:lnTo>
                  <a:lnTo>
                    <a:pt x="444" y="1296"/>
                  </a:lnTo>
                  <a:lnTo>
                    <a:pt x="420" y="1290"/>
                  </a:lnTo>
                  <a:lnTo>
                    <a:pt x="414" y="1278"/>
                  </a:lnTo>
                  <a:lnTo>
                    <a:pt x="408" y="1278"/>
                  </a:lnTo>
                  <a:lnTo>
                    <a:pt x="408" y="1266"/>
                  </a:lnTo>
                  <a:lnTo>
                    <a:pt x="402" y="1260"/>
                  </a:lnTo>
                  <a:lnTo>
                    <a:pt x="384" y="1260"/>
                  </a:lnTo>
                  <a:lnTo>
                    <a:pt x="372" y="1266"/>
                  </a:lnTo>
                  <a:lnTo>
                    <a:pt x="360" y="1272"/>
                  </a:lnTo>
                  <a:lnTo>
                    <a:pt x="348" y="1272"/>
                  </a:lnTo>
                  <a:lnTo>
                    <a:pt x="342" y="1284"/>
                  </a:lnTo>
                  <a:lnTo>
                    <a:pt x="336" y="1290"/>
                  </a:lnTo>
                  <a:lnTo>
                    <a:pt x="336" y="1308"/>
                  </a:lnTo>
                  <a:lnTo>
                    <a:pt x="336" y="1314"/>
                  </a:lnTo>
                  <a:lnTo>
                    <a:pt x="336" y="1320"/>
                  </a:lnTo>
                  <a:lnTo>
                    <a:pt x="330" y="1326"/>
                  </a:lnTo>
                  <a:lnTo>
                    <a:pt x="330" y="1332"/>
                  </a:lnTo>
                  <a:lnTo>
                    <a:pt x="330" y="1338"/>
                  </a:lnTo>
                  <a:lnTo>
                    <a:pt x="300" y="1338"/>
                  </a:lnTo>
                  <a:lnTo>
                    <a:pt x="288" y="1338"/>
                  </a:lnTo>
                  <a:lnTo>
                    <a:pt x="258" y="1326"/>
                  </a:lnTo>
                  <a:lnTo>
                    <a:pt x="246" y="1332"/>
                  </a:lnTo>
                  <a:lnTo>
                    <a:pt x="240" y="1338"/>
                  </a:lnTo>
                  <a:lnTo>
                    <a:pt x="234" y="1338"/>
                  </a:lnTo>
                  <a:lnTo>
                    <a:pt x="228" y="1350"/>
                  </a:lnTo>
                  <a:lnTo>
                    <a:pt x="228" y="1374"/>
                  </a:lnTo>
                  <a:lnTo>
                    <a:pt x="234" y="1392"/>
                  </a:lnTo>
                  <a:lnTo>
                    <a:pt x="246" y="1398"/>
                  </a:lnTo>
                  <a:lnTo>
                    <a:pt x="246" y="1410"/>
                  </a:lnTo>
                  <a:lnTo>
                    <a:pt x="216" y="1428"/>
                  </a:lnTo>
                  <a:lnTo>
                    <a:pt x="198" y="1428"/>
                  </a:lnTo>
                  <a:lnTo>
                    <a:pt x="192" y="1422"/>
                  </a:lnTo>
                  <a:lnTo>
                    <a:pt x="174" y="1410"/>
                  </a:lnTo>
                  <a:lnTo>
                    <a:pt x="156" y="1386"/>
                  </a:lnTo>
                  <a:lnTo>
                    <a:pt x="132" y="1374"/>
                  </a:lnTo>
                  <a:lnTo>
                    <a:pt x="108" y="1368"/>
                  </a:lnTo>
                  <a:lnTo>
                    <a:pt x="84" y="1368"/>
                  </a:lnTo>
                  <a:lnTo>
                    <a:pt x="96" y="1356"/>
                  </a:lnTo>
                  <a:lnTo>
                    <a:pt x="102" y="1344"/>
                  </a:lnTo>
                  <a:lnTo>
                    <a:pt x="102" y="1332"/>
                  </a:lnTo>
                  <a:lnTo>
                    <a:pt x="108" y="1320"/>
                  </a:lnTo>
                  <a:lnTo>
                    <a:pt x="108" y="1302"/>
                  </a:lnTo>
                  <a:lnTo>
                    <a:pt x="96" y="1278"/>
                  </a:lnTo>
                  <a:lnTo>
                    <a:pt x="66" y="1284"/>
                  </a:lnTo>
                  <a:lnTo>
                    <a:pt x="54" y="1278"/>
                  </a:lnTo>
                  <a:lnTo>
                    <a:pt x="36" y="1278"/>
                  </a:lnTo>
                  <a:lnTo>
                    <a:pt x="18" y="1284"/>
                  </a:lnTo>
                  <a:lnTo>
                    <a:pt x="18" y="1272"/>
                  </a:lnTo>
                  <a:lnTo>
                    <a:pt x="24" y="1260"/>
                  </a:lnTo>
                  <a:lnTo>
                    <a:pt x="24" y="1254"/>
                  </a:lnTo>
                  <a:lnTo>
                    <a:pt x="30" y="1248"/>
                  </a:lnTo>
                  <a:lnTo>
                    <a:pt x="24" y="1230"/>
                  </a:lnTo>
                  <a:lnTo>
                    <a:pt x="30" y="1218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30" y="1170"/>
                  </a:lnTo>
                  <a:lnTo>
                    <a:pt x="30" y="1152"/>
                  </a:lnTo>
                  <a:lnTo>
                    <a:pt x="24" y="1146"/>
                  </a:lnTo>
                  <a:lnTo>
                    <a:pt x="0" y="1116"/>
                  </a:lnTo>
                  <a:lnTo>
                    <a:pt x="6" y="1092"/>
                  </a:lnTo>
                  <a:lnTo>
                    <a:pt x="18" y="1056"/>
                  </a:lnTo>
                  <a:lnTo>
                    <a:pt x="24" y="1050"/>
                  </a:lnTo>
                  <a:lnTo>
                    <a:pt x="24" y="1038"/>
                  </a:lnTo>
                  <a:lnTo>
                    <a:pt x="24" y="1026"/>
                  </a:lnTo>
                  <a:lnTo>
                    <a:pt x="30" y="1002"/>
                  </a:lnTo>
                  <a:lnTo>
                    <a:pt x="36" y="990"/>
                  </a:lnTo>
                  <a:lnTo>
                    <a:pt x="42" y="984"/>
                  </a:lnTo>
                  <a:lnTo>
                    <a:pt x="54" y="984"/>
                  </a:lnTo>
                  <a:lnTo>
                    <a:pt x="66" y="978"/>
                  </a:lnTo>
                  <a:lnTo>
                    <a:pt x="72" y="978"/>
                  </a:lnTo>
                  <a:lnTo>
                    <a:pt x="90" y="978"/>
                  </a:lnTo>
                  <a:lnTo>
                    <a:pt x="102" y="972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78"/>
                  </a:lnTo>
                  <a:lnTo>
                    <a:pt x="120" y="984"/>
                  </a:lnTo>
                  <a:lnTo>
                    <a:pt x="138" y="984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6" y="972"/>
                  </a:lnTo>
                  <a:lnTo>
                    <a:pt x="156" y="966"/>
                  </a:lnTo>
                  <a:lnTo>
                    <a:pt x="156" y="960"/>
                  </a:lnTo>
                  <a:lnTo>
                    <a:pt x="180" y="948"/>
                  </a:lnTo>
                  <a:lnTo>
                    <a:pt x="186" y="924"/>
                  </a:lnTo>
                  <a:lnTo>
                    <a:pt x="192" y="918"/>
                  </a:lnTo>
                  <a:lnTo>
                    <a:pt x="228" y="924"/>
                  </a:lnTo>
                  <a:lnTo>
                    <a:pt x="246" y="906"/>
                  </a:lnTo>
                  <a:lnTo>
                    <a:pt x="240" y="888"/>
                  </a:lnTo>
                  <a:lnTo>
                    <a:pt x="234" y="888"/>
                  </a:lnTo>
                  <a:lnTo>
                    <a:pt x="234" y="882"/>
                  </a:lnTo>
                  <a:lnTo>
                    <a:pt x="228" y="870"/>
                  </a:lnTo>
                  <a:lnTo>
                    <a:pt x="228" y="864"/>
                  </a:lnTo>
                  <a:lnTo>
                    <a:pt x="222" y="864"/>
                  </a:lnTo>
                  <a:lnTo>
                    <a:pt x="216" y="858"/>
                  </a:lnTo>
                  <a:lnTo>
                    <a:pt x="198" y="852"/>
                  </a:lnTo>
                  <a:lnTo>
                    <a:pt x="192" y="852"/>
                  </a:lnTo>
                  <a:lnTo>
                    <a:pt x="186" y="846"/>
                  </a:lnTo>
                  <a:lnTo>
                    <a:pt x="174" y="834"/>
                  </a:lnTo>
                  <a:lnTo>
                    <a:pt x="162" y="822"/>
                  </a:lnTo>
                  <a:lnTo>
                    <a:pt x="156" y="816"/>
                  </a:lnTo>
                  <a:lnTo>
                    <a:pt x="162" y="810"/>
                  </a:lnTo>
                  <a:lnTo>
                    <a:pt x="174" y="798"/>
                  </a:lnTo>
                  <a:lnTo>
                    <a:pt x="180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68"/>
                  </a:lnTo>
                  <a:lnTo>
                    <a:pt x="192" y="744"/>
                  </a:lnTo>
                  <a:lnTo>
                    <a:pt x="186" y="708"/>
                  </a:lnTo>
                  <a:lnTo>
                    <a:pt x="174" y="690"/>
                  </a:lnTo>
                  <a:lnTo>
                    <a:pt x="168" y="672"/>
                  </a:lnTo>
                  <a:lnTo>
                    <a:pt x="156" y="630"/>
                  </a:lnTo>
                  <a:lnTo>
                    <a:pt x="156" y="606"/>
                  </a:lnTo>
                  <a:lnTo>
                    <a:pt x="150" y="606"/>
                  </a:lnTo>
                  <a:lnTo>
                    <a:pt x="150" y="600"/>
                  </a:lnTo>
                  <a:lnTo>
                    <a:pt x="144" y="600"/>
                  </a:lnTo>
                  <a:lnTo>
                    <a:pt x="150" y="594"/>
                  </a:lnTo>
                  <a:lnTo>
                    <a:pt x="144" y="588"/>
                  </a:lnTo>
                  <a:lnTo>
                    <a:pt x="138" y="558"/>
                  </a:lnTo>
                  <a:lnTo>
                    <a:pt x="138" y="528"/>
                  </a:lnTo>
                  <a:lnTo>
                    <a:pt x="132" y="480"/>
                  </a:lnTo>
                  <a:lnTo>
                    <a:pt x="132" y="462"/>
                  </a:lnTo>
                  <a:lnTo>
                    <a:pt x="126" y="426"/>
                  </a:lnTo>
                  <a:lnTo>
                    <a:pt x="126" y="396"/>
                  </a:lnTo>
                  <a:lnTo>
                    <a:pt x="126" y="378"/>
                  </a:lnTo>
                  <a:lnTo>
                    <a:pt x="126" y="360"/>
                  </a:lnTo>
                  <a:lnTo>
                    <a:pt x="132" y="318"/>
                  </a:lnTo>
                  <a:lnTo>
                    <a:pt x="132" y="24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2" y="210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92" y="198"/>
                  </a:lnTo>
                  <a:lnTo>
                    <a:pt x="198" y="198"/>
                  </a:lnTo>
                  <a:lnTo>
                    <a:pt x="216" y="180"/>
                  </a:lnTo>
                  <a:lnTo>
                    <a:pt x="222" y="174"/>
                  </a:lnTo>
                  <a:lnTo>
                    <a:pt x="222" y="168"/>
                  </a:lnTo>
                  <a:lnTo>
                    <a:pt x="228" y="168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44"/>
                  </a:lnTo>
                  <a:lnTo>
                    <a:pt x="258" y="144"/>
                  </a:lnTo>
                  <a:lnTo>
                    <a:pt x="276" y="150"/>
                  </a:lnTo>
                  <a:lnTo>
                    <a:pt x="300" y="150"/>
                  </a:lnTo>
                  <a:lnTo>
                    <a:pt x="312" y="150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8" y="156"/>
                  </a:lnTo>
                  <a:lnTo>
                    <a:pt x="354" y="150"/>
                  </a:lnTo>
                  <a:lnTo>
                    <a:pt x="372" y="144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08" y="126"/>
                  </a:lnTo>
                  <a:lnTo>
                    <a:pt x="414" y="120"/>
                  </a:lnTo>
                  <a:lnTo>
                    <a:pt x="420" y="120"/>
                  </a:lnTo>
                  <a:lnTo>
                    <a:pt x="426" y="120"/>
                  </a:lnTo>
                  <a:lnTo>
                    <a:pt x="432" y="114"/>
                  </a:lnTo>
                  <a:lnTo>
                    <a:pt x="450" y="102"/>
                  </a:lnTo>
                  <a:lnTo>
                    <a:pt x="456" y="96"/>
                  </a:lnTo>
                  <a:lnTo>
                    <a:pt x="468" y="90"/>
                  </a:lnTo>
                  <a:lnTo>
                    <a:pt x="474" y="90"/>
                  </a:lnTo>
                  <a:lnTo>
                    <a:pt x="480" y="84"/>
                  </a:lnTo>
                  <a:lnTo>
                    <a:pt x="486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504" y="72"/>
                  </a:lnTo>
                  <a:lnTo>
                    <a:pt x="510" y="66"/>
                  </a:lnTo>
                  <a:lnTo>
                    <a:pt x="516" y="66"/>
                  </a:lnTo>
                  <a:lnTo>
                    <a:pt x="522" y="60"/>
                  </a:lnTo>
                  <a:lnTo>
                    <a:pt x="552" y="42"/>
                  </a:lnTo>
                  <a:lnTo>
                    <a:pt x="558" y="36"/>
                  </a:lnTo>
                  <a:lnTo>
                    <a:pt x="576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94" y="18"/>
                  </a:lnTo>
                  <a:lnTo>
                    <a:pt x="600" y="12"/>
                  </a:lnTo>
                  <a:lnTo>
                    <a:pt x="612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6"/>
                  </a:lnTo>
                  <a:lnTo>
                    <a:pt x="648" y="6"/>
                  </a:lnTo>
                  <a:lnTo>
                    <a:pt x="660" y="6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38" y="18"/>
                  </a:lnTo>
                  <a:lnTo>
                    <a:pt x="744" y="18"/>
                  </a:lnTo>
                  <a:lnTo>
                    <a:pt x="756" y="18"/>
                  </a:lnTo>
                  <a:lnTo>
                    <a:pt x="762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80" y="24"/>
                  </a:lnTo>
                  <a:lnTo>
                    <a:pt x="792" y="24"/>
                  </a:lnTo>
                  <a:lnTo>
                    <a:pt x="792" y="30"/>
                  </a:lnTo>
                  <a:lnTo>
                    <a:pt x="810" y="30"/>
                  </a:lnTo>
                  <a:lnTo>
                    <a:pt x="822" y="36"/>
                  </a:lnTo>
                  <a:lnTo>
                    <a:pt x="834" y="42"/>
                  </a:lnTo>
                  <a:lnTo>
                    <a:pt x="840" y="48"/>
                  </a:lnTo>
                  <a:lnTo>
                    <a:pt x="846" y="54"/>
                  </a:lnTo>
                  <a:lnTo>
                    <a:pt x="852" y="60"/>
                  </a:lnTo>
                  <a:lnTo>
                    <a:pt x="858" y="66"/>
                  </a:lnTo>
                  <a:lnTo>
                    <a:pt x="864" y="66"/>
                  </a:lnTo>
                  <a:lnTo>
                    <a:pt x="864" y="72"/>
                  </a:lnTo>
                  <a:lnTo>
                    <a:pt x="876" y="78"/>
                  </a:lnTo>
                  <a:lnTo>
                    <a:pt x="900" y="84"/>
                  </a:lnTo>
                  <a:lnTo>
                    <a:pt x="906" y="90"/>
                  </a:lnTo>
                  <a:lnTo>
                    <a:pt x="912" y="90"/>
                  </a:lnTo>
                  <a:lnTo>
                    <a:pt x="912" y="96"/>
                  </a:lnTo>
                  <a:lnTo>
                    <a:pt x="924" y="108"/>
                  </a:lnTo>
                  <a:lnTo>
                    <a:pt x="930" y="108"/>
                  </a:lnTo>
                  <a:lnTo>
                    <a:pt x="936" y="114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60" y="138"/>
                  </a:lnTo>
                  <a:lnTo>
                    <a:pt x="966" y="144"/>
                  </a:lnTo>
                  <a:lnTo>
                    <a:pt x="972" y="156"/>
                  </a:lnTo>
                  <a:lnTo>
                    <a:pt x="978" y="162"/>
                  </a:lnTo>
                  <a:lnTo>
                    <a:pt x="984" y="162"/>
                  </a:lnTo>
                  <a:lnTo>
                    <a:pt x="990" y="168"/>
                  </a:lnTo>
                  <a:lnTo>
                    <a:pt x="996" y="174"/>
                  </a:lnTo>
                  <a:lnTo>
                    <a:pt x="1002" y="180"/>
                  </a:lnTo>
                  <a:lnTo>
                    <a:pt x="1008" y="180"/>
                  </a:lnTo>
                  <a:lnTo>
                    <a:pt x="1020" y="180"/>
                  </a:lnTo>
                  <a:lnTo>
                    <a:pt x="1038" y="174"/>
                  </a:lnTo>
                  <a:lnTo>
                    <a:pt x="1050" y="174"/>
                  </a:lnTo>
                  <a:lnTo>
                    <a:pt x="1056" y="174"/>
                  </a:lnTo>
                  <a:lnTo>
                    <a:pt x="1068" y="180"/>
                  </a:lnTo>
                  <a:lnTo>
                    <a:pt x="1080" y="180"/>
                  </a:lnTo>
                  <a:lnTo>
                    <a:pt x="1086" y="186"/>
                  </a:lnTo>
                  <a:lnTo>
                    <a:pt x="1098" y="192"/>
                  </a:lnTo>
                  <a:lnTo>
                    <a:pt x="1116" y="204"/>
                  </a:lnTo>
                  <a:lnTo>
                    <a:pt x="1122" y="210"/>
                  </a:lnTo>
                  <a:lnTo>
                    <a:pt x="1134" y="222"/>
                  </a:lnTo>
                  <a:lnTo>
                    <a:pt x="1146" y="234"/>
                  </a:lnTo>
                  <a:lnTo>
                    <a:pt x="1146" y="240"/>
                  </a:lnTo>
                  <a:lnTo>
                    <a:pt x="1152" y="246"/>
                  </a:lnTo>
                  <a:lnTo>
                    <a:pt x="1152" y="252"/>
                  </a:lnTo>
                  <a:lnTo>
                    <a:pt x="1152" y="258"/>
                  </a:lnTo>
                  <a:lnTo>
                    <a:pt x="1164" y="258"/>
                  </a:lnTo>
                  <a:lnTo>
                    <a:pt x="1170" y="264"/>
                  </a:lnTo>
                  <a:lnTo>
                    <a:pt x="1182" y="270"/>
                  </a:lnTo>
                  <a:lnTo>
                    <a:pt x="1188" y="270"/>
                  </a:lnTo>
                  <a:lnTo>
                    <a:pt x="1194" y="270"/>
                  </a:lnTo>
                  <a:lnTo>
                    <a:pt x="1206" y="276"/>
                  </a:lnTo>
                  <a:lnTo>
                    <a:pt x="1224" y="282"/>
                  </a:lnTo>
                  <a:lnTo>
                    <a:pt x="1236" y="282"/>
                  </a:lnTo>
                  <a:lnTo>
                    <a:pt x="1242" y="288"/>
                  </a:lnTo>
                  <a:lnTo>
                    <a:pt x="1254" y="288"/>
                  </a:lnTo>
                  <a:lnTo>
                    <a:pt x="1266" y="294"/>
                  </a:lnTo>
                  <a:lnTo>
                    <a:pt x="1272" y="294"/>
                  </a:lnTo>
                  <a:lnTo>
                    <a:pt x="1284" y="300"/>
                  </a:lnTo>
                  <a:lnTo>
                    <a:pt x="1290" y="300"/>
                  </a:lnTo>
                  <a:lnTo>
                    <a:pt x="1296" y="300"/>
                  </a:lnTo>
                  <a:lnTo>
                    <a:pt x="1302" y="306"/>
                  </a:lnTo>
                  <a:lnTo>
                    <a:pt x="1326" y="312"/>
                  </a:lnTo>
                  <a:lnTo>
                    <a:pt x="1338" y="312"/>
                  </a:lnTo>
                  <a:lnTo>
                    <a:pt x="1338" y="318"/>
                  </a:lnTo>
                  <a:lnTo>
                    <a:pt x="1344" y="318"/>
                  </a:lnTo>
                  <a:lnTo>
                    <a:pt x="1350" y="318"/>
                  </a:lnTo>
                  <a:lnTo>
                    <a:pt x="1362" y="324"/>
                  </a:lnTo>
                  <a:lnTo>
                    <a:pt x="1368" y="318"/>
                  </a:lnTo>
                  <a:lnTo>
                    <a:pt x="1374" y="318"/>
                  </a:lnTo>
                  <a:lnTo>
                    <a:pt x="1386" y="318"/>
                  </a:lnTo>
                  <a:lnTo>
                    <a:pt x="1398" y="324"/>
                  </a:lnTo>
                  <a:lnTo>
                    <a:pt x="1398" y="342"/>
                  </a:lnTo>
                  <a:lnTo>
                    <a:pt x="1356" y="342"/>
                  </a:lnTo>
                  <a:lnTo>
                    <a:pt x="1350" y="348"/>
                  </a:lnTo>
                  <a:lnTo>
                    <a:pt x="1350" y="372"/>
                  </a:lnTo>
                  <a:lnTo>
                    <a:pt x="1338" y="384"/>
                  </a:lnTo>
                  <a:lnTo>
                    <a:pt x="1332" y="408"/>
                  </a:lnTo>
                  <a:lnTo>
                    <a:pt x="1320" y="420"/>
                  </a:lnTo>
                  <a:lnTo>
                    <a:pt x="1254" y="426"/>
                  </a:lnTo>
                  <a:lnTo>
                    <a:pt x="1248" y="432"/>
                  </a:lnTo>
                  <a:lnTo>
                    <a:pt x="1230" y="432"/>
                  </a:lnTo>
                  <a:lnTo>
                    <a:pt x="1212" y="432"/>
                  </a:lnTo>
                  <a:lnTo>
                    <a:pt x="1212" y="426"/>
                  </a:lnTo>
                  <a:lnTo>
                    <a:pt x="1200" y="426"/>
                  </a:lnTo>
                  <a:lnTo>
                    <a:pt x="1182" y="414"/>
                  </a:lnTo>
                  <a:lnTo>
                    <a:pt x="1182" y="420"/>
                  </a:lnTo>
                  <a:lnTo>
                    <a:pt x="1164" y="420"/>
                  </a:lnTo>
                  <a:lnTo>
                    <a:pt x="1158" y="414"/>
                  </a:lnTo>
                  <a:lnTo>
                    <a:pt x="1152" y="408"/>
                  </a:lnTo>
                  <a:lnTo>
                    <a:pt x="1146" y="402"/>
                  </a:lnTo>
                  <a:lnTo>
                    <a:pt x="1122" y="396"/>
                  </a:lnTo>
                  <a:lnTo>
                    <a:pt x="1116" y="366"/>
                  </a:lnTo>
                  <a:lnTo>
                    <a:pt x="1116" y="348"/>
                  </a:lnTo>
                  <a:lnTo>
                    <a:pt x="1110" y="342"/>
                  </a:lnTo>
                  <a:lnTo>
                    <a:pt x="1104" y="336"/>
                  </a:lnTo>
                  <a:lnTo>
                    <a:pt x="1092" y="330"/>
                  </a:lnTo>
                  <a:lnTo>
                    <a:pt x="1074" y="330"/>
                  </a:lnTo>
                  <a:lnTo>
                    <a:pt x="1044" y="330"/>
                  </a:lnTo>
                  <a:lnTo>
                    <a:pt x="1014" y="336"/>
                  </a:lnTo>
                  <a:lnTo>
                    <a:pt x="984" y="342"/>
                  </a:lnTo>
                  <a:lnTo>
                    <a:pt x="978" y="330"/>
                  </a:lnTo>
                  <a:lnTo>
                    <a:pt x="966" y="324"/>
                  </a:lnTo>
                  <a:lnTo>
                    <a:pt x="888" y="336"/>
                  </a:lnTo>
                  <a:lnTo>
                    <a:pt x="888" y="330"/>
                  </a:lnTo>
                  <a:lnTo>
                    <a:pt x="870" y="336"/>
                  </a:lnTo>
                  <a:lnTo>
                    <a:pt x="858" y="336"/>
                  </a:lnTo>
                  <a:lnTo>
                    <a:pt x="852" y="354"/>
                  </a:lnTo>
                  <a:lnTo>
                    <a:pt x="852" y="402"/>
                  </a:lnTo>
                  <a:lnTo>
                    <a:pt x="840" y="414"/>
                  </a:lnTo>
                  <a:lnTo>
                    <a:pt x="834" y="420"/>
                  </a:lnTo>
                  <a:lnTo>
                    <a:pt x="834" y="444"/>
                  </a:lnTo>
                  <a:lnTo>
                    <a:pt x="834" y="450"/>
                  </a:lnTo>
                  <a:lnTo>
                    <a:pt x="852" y="456"/>
                  </a:lnTo>
                  <a:lnTo>
                    <a:pt x="864" y="462"/>
                  </a:lnTo>
                  <a:lnTo>
                    <a:pt x="894" y="456"/>
                  </a:lnTo>
                  <a:lnTo>
                    <a:pt x="900" y="468"/>
                  </a:lnTo>
                  <a:lnTo>
                    <a:pt x="918" y="462"/>
                  </a:lnTo>
                  <a:lnTo>
                    <a:pt x="924" y="468"/>
                  </a:lnTo>
                  <a:lnTo>
                    <a:pt x="924" y="47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2" name="Freeform 37">
              <a:extLst>
                <a:ext uri="{FF2B5EF4-FFF2-40B4-BE49-F238E27FC236}">
                  <a16:creationId xmlns:a16="http://schemas.microsoft.com/office/drawing/2014/main" id="{DED8A1FF-B656-4D37-BD26-5B0A7B1A4A6D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441" y="1898343"/>
              <a:ext cx="567992" cy="686605"/>
            </a:xfrm>
            <a:custGeom>
              <a:avLst/>
              <a:gdLst>
                <a:gd name="T0" fmla="*/ 79 w 1068"/>
                <a:gd name="T1" fmla="*/ 72 h 1290"/>
                <a:gd name="T2" fmla="*/ 75 w 1068"/>
                <a:gd name="T3" fmla="*/ 73 h 1290"/>
                <a:gd name="T4" fmla="*/ 72 w 1068"/>
                <a:gd name="T5" fmla="*/ 76 h 1290"/>
                <a:gd name="T6" fmla="*/ 70 w 1068"/>
                <a:gd name="T7" fmla="*/ 78 h 1290"/>
                <a:gd name="T8" fmla="*/ 67 w 1068"/>
                <a:gd name="T9" fmla="*/ 82 h 1290"/>
                <a:gd name="T10" fmla="*/ 61 w 1068"/>
                <a:gd name="T11" fmla="*/ 86 h 1290"/>
                <a:gd name="T12" fmla="*/ 60 w 1068"/>
                <a:gd name="T13" fmla="*/ 93 h 1290"/>
                <a:gd name="T14" fmla="*/ 59 w 1068"/>
                <a:gd name="T15" fmla="*/ 97 h 1290"/>
                <a:gd name="T16" fmla="*/ 61 w 1068"/>
                <a:gd name="T17" fmla="*/ 101 h 1290"/>
                <a:gd name="T18" fmla="*/ 63 w 1068"/>
                <a:gd name="T19" fmla="*/ 104 h 1290"/>
                <a:gd name="T20" fmla="*/ 62 w 1068"/>
                <a:gd name="T21" fmla="*/ 108 h 1290"/>
                <a:gd name="T22" fmla="*/ 60 w 1068"/>
                <a:gd name="T23" fmla="*/ 111 h 1290"/>
                <a:gd name="T24" fmla="*/ 56 w 1068"/>
                <a:gd name="T25" fmla="*/ 111 h 1290"/>
                <a:gd name="T26" fmla="*/ 53 w 1068"/>
                <a:gd name="T27" fmla="*/ 110 h 1290"/>
                <a:gd name="T28" fmla="*/ 50 w 1068"/>
                <a:gd name="T29" fmla="*/ 109 h 1290"/>
                <a:gd name="T30" fmla="*/ 47 w 1068"/>
                <a:gd name="T31" fmla="*/ 110 h 1290"/>
                <a:gd name="T32" fmla="*/ 51 w 1068"/>
                <a:gd name="T33" fmla="*/ 104 h 1290"/>
                <a:gd name="T34" fmla="*/ 50 w 1068"/>
                <a:gd name="T35" fmla="*/ 95 h 1290"/>
                <a:gd name="T36" fmla="*/ 51 w 1068"/>
                <a:gd name="T37" fmla="*/ 90 h 1290"/>
                <a:gd name="T38" fmla="*/ 47 w 1068"/>
                <a:gd name="T39" fmla="*/ 84 h 1290"/>
                <a:gd name="T40" fmla="*/ 42 w 1068"/>
                <a:gd name="T41" fmla="*/ 78 h 1290"/>
                <a:gd name="T42" fmla="*/ 33 w 1068"/>
                <a:gd name="T43" fmla="*/ 73 h 1290"/>
                <a:gd name="T44" fmla="*/ 26 w 1068"/>
                <a:gd name="T45" fmla="*/ 68 h 1290"/>
                <a:gd name="T46" fmla="*/ 22 w 1068"/>
                <a:gd name="T47" fmla="*/ 63 h 1290"/>
                <a:gd name="T48" fmla="*/ 11 w 1068"/>
                <a:gd name="T49" fmla="*/ 67 h 1290"/>
                <a:gd name="T50" fmla="*/ 0 w 1068"/>
                <a:gd name="T51" fmla="*/ 68 h 1290"/>
                <a:gd name="T52" fmla="*/ 2 w 1068"/>
                <a:gd name="T53" fmla="*/ 59 h 1290"/>
                <a:gd name="T54" fmla="*/ 12 w 1068"/>
                <a:gd name="T55" fmla="*/ 55 h 1290"/>
                <a:gd name="T56" fmla="*/ 12 w 1068"/>
                <a:gd name="T57" fmla="*/ 51 h 1290"/>
                <a:gd name="T58" fmla="*/ 10 w 1068"/>
                <a:gd name="T59" fmla="*/ 47 h 1290"/>
                <a:gd name="T60" fmla="*/ 9 w 1068"/>
                <a:gd name="T61" fmla="*/ 42 h 1290"/>
                <a:gd name="T62" fmla="*/ 8 w 1068"/>
                <a:gd name="T63" fmla="*/ 38 h 1290"/>
                <a:gd name="T64" fmla="*/ 8 w 1068"/>
                <a:gd name="T65" fmla="*/ 29 h 1290"/>
                <a:gd name="T66" fmla="*/ 10 w 1068"/>
                <a:gd name="T67" fmla="*/ 18 h 1290"/>
                <a:gd name="T68" fmla="*/ 25 w 1068"/>
                <a:gd name="T69" fmla="*/ 12 h 1290"/>
                <a:gd name="T70" fmla="*/ 27 w 1068"/>
                <a:gd name="T71" fmla="*/ 4 h 1290"/>
                <a:gd name="T72" fmla="*/ 35 w 1068"/>
                <a:gd name="T73" fmla="*/ 6 h 1290"/>
                <a:gd name="T74" fmla="*/ 39 w 1068"/>
                <a:gd name="T75" fmla="*/ 8 h 1290"/>
                <a:gd name="T76" fmla="*/ 41 w 1068"/>
                <a:gd name="T77" fmla="*/ 3 h 1290"/>
                <a:gd name="T78" fmla="*/ 45 w 1068"/>
                <a:gd name="T79" fmla="*/ 0 h 1290"/>
                <a:gd name="T80" fmla="*/ 51 w 1068"/>
                <a:gd name="T81" fmla="*/ 0 h 1290"/>
                <a:gd name="T82" fmla="*/ 56 w 1068"/>
                <a:gd name="T83" fmla="*/ 4 h 1290"/>
                <a:gd name="T84" fmla="*/ 62 w 1068"/>
                <a:gd name="T85" fmla="*/ 12 h 1290"/>
                <a:gd name="T86" fmla="*/ 58 w 1068"/>
                <a:gd name="T87" fmla="*/ 17 h 1290"/>
                <a:gd name="T88" fmla="*/ 60 w 1068"/>
                <a:gd name="T89" fmla="*/ 18 h 1290"/>
                <a:gd name="T90" fmla="*/ 64 w 1068"/>
                <a:gd name="T91" fmla="*/ 16 h 1290"/>
                <a:gd name="T92" fmla="*/ 68 w 1068"/>
                <a:gd name="T93" fmla="*/ 18 h 1290"/>
                <a:gd name="T94" fmla="*/ 71 w 1068"/>
                <a:gd name="T95" fmla="*/ 27 h 1290"/>
                <a:gd name="T96" fmla="*/ 74 w 1068"/>
                <a:gd name="T97" fmla="*/ 30 h 1290"/>
                <a:gd name="T98" fmla="*/ 82 w 1068"/>
                <a:gd name="T99" fmla="*/ 30 h 1290"/>
                <a:gd name="T100" fmla="*/ 87 w 1068"/>
                <a:gd name="T101" fmla="*/ 35 h 1290"/>
                <a:gd name="T102" fmla="*/ 85 w 1068"/>
                <a:gd name="T103" fmla="*/ 42 h 1290"/>
                <a:gd name="T104" fmla="*/ 81 w 1068"/>
                <a:gd name="T105" fmla="*/ 46 h 1290"/>
                <a:gd name="T106" fmla="*/ 86 w 1068"/>
                <a:gd name="T107" fmla="*/ 50 h 1290"/>
                <a:gd name="T108" fmla="*/ 89 w 1068"/>
                <a:gd name="T109" fmla="*/ 58 h 1290"/>
                <a:gd name="T110" fmla="*/ 92 w 1068"/>
                <a:gd name="T111" fmla="*/ 61 h 1290"/>
                <a:gd name="T112" fmla="*/ 86 w 1068"/>
                <a:gd name="T113" fmla="*/ 66 h 1290"/>
                <a:gd name="T114" fmla="*/ 85 w 1068"/>
                <a:gd name="T115" fmla="*/ 70 h 129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68"/>
                <a:gd name="T175" fmla="*/ 0 h 1290"/>
                <a:gd name="T176" fmla="*/ 1068 w 1068"/>
                <a:gd name="T177" fmla="*/ 1290 h 129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68" h="1290">
                  <a:moveTo>
                    <a:pt x="978" y="804"/>
                  </a:moveTo>
                  <a:lnTo>
                    <a:pt x="972" y="810"/>
                  </a:lnTo>
                  <a:lnTo>
                    <a:pt x="966" y="810"/>
                  </a:lnTo>
                  <a:lnTo>
                    <a:pt x="966" y="816"/>
                  </a:lnTo>
                  <a:lnTo>
                    <a:pt x="936" y="828"/>
                  </a:lnTo>
                  <a:lnTo>
                    <a:pt x="924" y="822"/>
                  </a:lnTo>
                  <a:lnTo>
                    <a:pt x="912" y="822"/>
                  </a:lnTo>
                  <a:lnTo>
                    <a:pt x="906" y="828"/>
                  </a:lnTo>
                  <a:lnTo>
                    <a:pt x="900" y="828"/>
                  </a:lnTo>
                  <a:lnTo>
                    <a:pt x="900" y="822"/>
                  </a:lnTo>
                  <a:lnTo>
                    <a:pt x="894" y="822"/>
                  </a:lnTo>
                  <a:lnTo>
                    <a:pt x="888" y="828"/>
                  </a:lnTo>
                  <a:lnTo>
                    <a:pt x="882" y="834"/>
                  </a:lnTo>
                  <a:lnTo>
                    <a:pt x="876" y="834"/>
                  </a:lnTo>
                  <a:lnTo>
                    <a:pt x="870" y="840"/>
                  </a:lnTo>
                  <a:lnTo>
                    <a:pt x="864" y="840"/>
                  </a:lnTo>
                  <a:lnTo>
                    <a:pt x="864" y="846"/>
                  </a:lnTo>
                  <a:lnTo>
                    <a:pt x="858" y="846"/>
                  </a:lnTo>
                  <a:lnTo>
                    <a:pt x="852" y="846"/>
                  </a:lnTo>
                  <a:lnTo>
                    <a:pt x="852" y="858"/>
                  </a:lnTo>
                  <a:lnTo>
                    <a:pt x="846" y="864"/>
                  </a:lnTo>
                  <a:lnTo>
                    <a:pt x="840" y="870"/>
                  </a:lnTo>
                  <a:lnTo>
                    <a:pt x="834" y="870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34" y="876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10" y="894"/>
                  </a:lnTo>
                  <a:lnTo>
                    <a:pt x="810" y="900"/>
                  </a:lnTo>
                  <a:lnTo>
                    <a:pt x="804" y="900"/>
                  </a:lnTo>
                  <a:lnTo>
                    <a:pt x="798" y="900"/>
                  </a:lnTo>
                  <a:lnTo>
                    <a:pt x="798" y="906"/>
                  </a:lnTo>
                  <a:lnTo>
                    <a:pt x="792" y="906"/>
                  </a:lnTo>
                  <a:lnTo>
                    <a:pt x="792" y="912"/>
                  </a:lnTo>
                  <a:lnTo>
                    <a:pt x="792" y="924"/>
                  </a:lnTo>
                  <a:lnTo>
                    <a:pt x="786" y="930"/>
                  </a:lnTo>
                  <a:lnTo>
                    <a:pt x="774" y="942"/>
                  </a:lnTo>
                  <a:lnTo>
                    <a:pt x="774" y="948"/>
                  </a:lnTo>
                  <a:lnTo>
                    <a:pt x="768" y="954"/>
                  </a:lnTo>
                  <a:lnTo>
                    <a:pt x="762" y="954"/>
                  </a:lnTo>
                  <a:lnTo>
                    <a:pt x="750" y="972"/>
                  </a:lnTo>
                  <a:lnTo>
                    <a:pt x="720" y="978"/>
                  </a:lnTo>
                  <a:lnTo>
                    <a:pt x="714" y="978"/>
                  </a:lnTo>
                  <a:lnTo>
                    <a:pt x="708" y="978"/>
                  </a:lnTo>
                  <a:lnTo>
                    <a:pt x="702" y="990"/>
                  </a:lnTo>
                  <a:lnTo>
                    <a:pt x="696" y="990"/>
                  </a:lnTo>
                  <a:lnTo>
                    <a:pt x="696" y="1008"/>
                  </a:lnTo>
                  <a:lnTo>
                    <a:pt x="690" y="1008"/>
                  </a:lnTo>
                  <a:lnTo>
                    <a:pt x="690" y="1014"/>
                  </a:lnTo>
                  <a:lnTo>
                    <a:pt x="684" y="1032"/>
                  </a:lnTo>
                  <a:lnTo>
                    <a:pt x="690" y="1050"/>
                  </a:lnTo>
                  <a:lnTo>
                    <a:pt x="690" y="1062"/>
                  </a:lnTo>
                  <a:lnTo>
                    <a:pt x="690" y="1068"/>
                  </a:lnTo>
                  <a:lnTo>
                    <a:pt x="690" y="1074"/>
                  </a:lnTo>
                  <a:lnTo>
                    <a:pt x="684" y="1074"/>
                  </a:lnTo>
                  <a:lnTo>
                    <a:pt x="684" y="1080"/>
                  </a:lnTo>
                  <a:lnTo>
                    <a:pt x="678" y="1086"/>
                  </a:lnTo>
                  <a:lnTo>
                    <a:pt x="678" y="1104"/>
                  </a:lnTo>
                  <a:lnTo>
                    <a:pt x="678" y="1110"/>
                  </a:lnTo>
                  <a:lnTo>
                    <a:pt x="678" y="1116"/>
                  </a:lnTo>
                  <a:lnTo>
                    <a:pt x="684" y="1116"/>
                  </a:lnTo>
                  <a:lnTo>
                    <a:pt x="678" y="1128"/>
                  </a:lnTo>
                  <a:lnTo>
                    <a:pt x="684" y="1128"/>
                  </a:lnTo>
                  <a:lnTo>
                    <a:pt x="690" y="1134"/>
                  </a:lnTo>
                  <a:lnTo>
                    <a:pt x="690" y="1140"/>
                  </a:lnTo>
                  <a:lnTo>
                    <a:pt x="696" y="1140"/>
                  </a:lnTo>
                  <a:lnTo>
                    <a:pt x="696" y="1146"/>
                  </a:lnTo>
                  <a:lnTo>
                    <a:pt x="696" y="1152"/>
                  </a:lnTo>
                  <a:lnTo>
                    <a:pt x="702" y="1152"/>
                  </a:lnTo>
                  <a:lnTo>
                    <a:pt x="708" y="1152"/>
                  </a:lnTo>
                  <a:lnTo>
                    <a:pt x="714" y="1158"/>
                  </a:lnTo>
                  <a:lnTo>
                    <a:pt x="714" y="1164"/>
                  </a:lnTo>
                  <a:lnTo>
                    <a:pt x="720" y="1170"/>
                  </a:lnTo>
                  <a:lnTo>
                    <a:pt x="720" y="1176"/>
                  </a:lnTo>
                  <a:lnTo>
                    <a:pt x="720" y="1182"/>
                  </a:lnTo>
                  <a:lnTo>
                    <a:pt x="726" y="1188"/>
                  </a:lnTo>
                  <a:lnTo>
                    <a:pt x="726" y="1194"/>
                  </a:lnTo>
                  <a:lnTo>
                    <a:pt x="732" y="1194"/>
                  </a:lnTo>
                  <a:lnTo>
                    <a:pt x="732" y="1200"/>
                  </a:lnTo>
                  <a:lnTo>
                    <a:pt x="738" y="1212"/>
                  </a:lnTo>
                  <a:lnTo>
                    <a:pt x="732" y="1218"/>
                  </a:lnTo>
                  <a:lnTo>
                    <a:pt x="732" y="1224"/>
                  </a:lnTo>
                  <a:lnTo>
                    <a:pt x="726" y="1230"/>
                  </a:lnTo>
                  <a:lnTo>
                    <a:pt x="720" y="1230"/>
                  </a:lnTo>
                  <a:lnTo>
                    <a:pt x="720" y="1236"/>
                  </a:lnTo>
                  <a:lnTo>
                    <a:pt x="720" y="1242"/>
                  </a:lnTo>
                  <a:lnTo>
                    <a:pt x="720" y="1248"/>
                  </a:lnTo>
                  <a:lnTo>
                    <a:pt x="714" y="1248"/>
                  </a:lnTo>
                  <a:lnTo>
                    <a:pt x="714" y="1254"/>
                  </a:lnTo>
                  <a:lnTo>
                    <a:pt x="708" y="1260"/>
                  </a:lnTo>
                  <a:lnTo>
                    <a:pt x="702" y="1272"/>
                  </a:lnTo>
                  <a:lnTo>
                    <a:pt x="696" y="1272"/>
                  </a:lnTo>
                  <a:lnTo>
                    <a:pt x="696" y="1278"/>
                  </a:lnTo>
                  <a:lnTo>
                    <a:pt x="690" y="1284"/>
                  </a:lnTo>
                  <a:lnTo>
                    <a:pt x="690" y="1290"/>
                  </a:lnTo>
                  <a:lnTo>
                    <a:pt x="684" y="1290"/>
                  </a:lnTo>
                  <a:lnTo>
                    <a:pt x="660" y="1284"/>
                  </a:lnTo>
                  <a:lnTo>
                    <a:pt x="660" y="1278"/>
                  </a:lnTo>
                  <a:lnTo>
                    <a:pt x="654" y="1272"/>
                  </a:lnTo>
                  <a:lnTo>
                    <a:pt x="648" y="1272"/>
                  </a:lnTo>
                  <a:lnTo>
                    <a:pt x="642" y="1272"/>
                  </a:lnTo>
                  <a:lnTo>
                    <a:pt x="642" y="1266"/>
                  </a:lnTo>
                  <a:lnTo>
                    <a:pt x="636" y="1266"/>
                  </a:lnTo>
                  <a:lnTo>
                    <a:pt x="630" y="1266"/>
                  </a:lnTo>
                  <a:lnTo>
                    <a:pt x="624" y="1266"/>
                  </a:lnTo>
                  <a:lnTo>
                    <a:pt x="624" y="1260"/>
                  </a:lnTo>
                  <a:lnTo>
                    <a:pt x="618" y="1260"/>
                  </a:lnTo>
                  <a:lnTo>
                    <a:pt x="612" y="1260"/>
                  </a:lnTo>
                  <a:lnTo>
                    <a:pt x="606" y="1260"/>
                  </a:lnTo>
                  <a:lnTo>
                    <a:pt x="600" y="1260"/>
                  </a:lnTo>
                  <a:lnTo>
                    <a:pt x="600" y="1254"/>
                  </a:lnTo>
                  <a:lnTo>
                    <a:pt x="594" y="1254"/>
                  </a:lnTo>
                  <a:lnTo>
                    <a:pt x="588" y="1248"/>
                  </a:lnTo>
                  <a:lnTo>
                    <a:pt x="588" y="1254"/>
                  </a:lnTo>
                  <a:lnTo>
                    <a:pt x="582" y="1254"/>
                  </a:lnTo>
                  <a:lnTo>
                    <a:pt x="582" y="1248"/>
                  </a:lnTo>
                  <a:lnTo>
                    <a:pt x="576" y="1248"/>
                  </a:lnTo>
                  <a:lnTo>
                    <a:pt x="576" y="1254"/>
                  </a:lnTo>
                  <a:lnTo>
                    <a:pt x="570" y="1248"/>
                  </a:lnTo>
                  <a:lnTo>
                    <a:pt x="564" y="1248"/>
                  </a:lnTo>
                  <a:lnTo>
                    <a:pt x="564" y="1254"/>
                  </a:lnTo>
                  <a:lnTo>
                    <a:pt x="558" y="1254"/>
                  </a:lnTo>
                  <a:lnTo>
                    <a:pt x="552" y="1254"/>
                  </a:lnTo>
                  <a:lnTo>
                    <a:pt x="552" y="1260"/>
                  </a:lnTo>
                  <a:lnTo>
                    <a:pt x="546" y="1260"/>
                  </a:lnTo>
                  <a:lnTo>
                    <a:pt x="540" y="1260"/>
                  </a:lnTo>
                  <a:lnTo>
                    <a:pt x="540" y="1254"/>
                  </a:lnTo>
                  <a:lnTo>
                    <a:pt x="534" y="1254"/>
                  </a:lnTo>
                  <a:lnTo>
                    <a:pt x="528" y="1224"/>
                  </a:lnTo>
                  <a:lnTo>
                    <a:pt x="534" y="1212"/>
                  </a:lnTo>
                  <a:lnTo>
                    <a:pt x="546" y="1206"/>
                  </a:lnTo>
                  <a:lnTo>
                    <a:pt x="582" y="1206"/>
                  </a:lnTo>
                  <a:lnTo>
                    <a:pt x="588" y="1188"/>
                  </a:lnTo>
                  <a:lnTo>
                    <a:pt x="582" y="1188"/>
                  </a:lnTo>
                  <a:lnTo>
                    <a:pt x="582" y="1182"/>
                  </a:lnTo>
                  <a:lnTo>
                    <a:pt x="576" y="1176"/>
                  </a:lnTo>
                  <a:lnTo>
                    <a:pt x="558" y="1128"/>
                  </a:lnTo>
                  <a:lnTo>
                    <a:pt x="558" y="1122"/>
                  </a:lnTo>
                  <a:lnTo>
                    <a:pt x="576" y="1098"/>
                  </a:lnTo>
                  <a:lnTo>
                    <a:pt x="576" y="1092"/>
                  </a:lnTo>
                  <a:lnTo>
                    <a:pt x="582" y="1092"/>
                  </a:lnTo>
                  <a:lnTo>
                    <a:pt x="582" y="1086"/>
                  </a:lnTo>
                  <a:lnTo>
                    <a:pt x="582" y="1080"/>
                  </a:lnTo>
                  <a:lnTo>
                    <a:pt x="582" y="1074"/>
                  </a:lnTo>
                  <a:lnTo>
                    <a:pt x="588" y="1074"/>
                  </a:lnTo>
                  <a:lnTo>
                    <a:pt x="588" y="1062"/>
                  </a:lnTo>
                  <a:lnTo>
                    <a:pt x="588" y="1056"/>
                  </a:lnTo>
                  <a:lnTo>
                    <a:pt x="588" y="1044"/>
                  </a:lnTo>
                  <a:lnTo>
                    <a:pt x="588" y="1038"/>
                  </a:lnTo>
                  <a:lnTo>
                    <a:pt x="588" y="1032"/>
                  </a:lnTo>
                  <a:lnTo>
                    <a:pt x="582" y="1026"/>
                  </a:lnTo>
                  <a:lnTo>
                    <a:pt x="582" y="1020"/>
                  </a:lnTo>
                  <a:lnTo>
                    <a:pt x="582" y="1008"/>
                  </a:lnTo>
                  <a:lnTo>
                    <a:pt x="576" y="990"/>
                  </a:lnTo>
                  <a:lnTo>
                    <a:pt x="570" y="972"/>
                  </a:lnTo>
                  <a:lnTo>
                    <a:pt x="552" y="972"/>
                  </a:lnTo>
                  <a:lnTo>
                    <a:pt x="540" y="960"/>
                  </a:lnTo>
                  <a:lnTo>
                    <a:pt x="534" y="954"/>
                  </a:lnTo>
                  <a:lnTo>
                    <a:pt x="534" y="948"/>
                  </a:lnTo>
                  <a:lnTo>
                    <a:pt x="516" y="948"/>
                  </a:lnTo>
                  <a:lnTo>
                    <a:pt x="522" y="936"/>
                  </a:lnTo>
                  <a:lnTo>
                    <a:pt x="522" y="930"/>
                  </a:lnTo>
                  <a:lnTo>
                    <a:pt x="504" y="918"/>
                  </a:lnTo>
                  <a:lnTo>
                    <a:pt x="492" y="906"/>
                  </a:lnTo>
                  <a:lnTo>
                    <a:pt x="486" y="894"/>
                  </a:lnTo>
                  <a:lnTo>
                    <a:pt x="468" y="876"/>
                  </a:lnTo>
                  <a:lnTo>
                    <a:pt x="450" y="876"/>
                  </a:lnTo>
                  <a:lnTo>
                    <a:pt x="414" y="882"/>
                  </a:lnTo>
                  <a:lnTo>
                    <a:pt x="402" y="870"/>
                  </a:lnTo>
                  <a:lnTo>
                    <a:pt x="390" y="864"/>
                  </a:lnTo>
                  <a:lnTo>
                    <a:pt x="384" y="852"/>
                  </a:lnTo>
                  <a:lnTo>
                    <a:pt x="378" y="840"/>
                  </a:lnTo>
                  <a:lnTo>
                    <a:pt x="378" y="834"/>
                  </a:lnTo>
                  <a:lnTo>
                    <a:pt x="360" y="822"/>
                  </a:lnTo>
                  <a:lnTo>
                    <a:pt x="342" y="828"/>
                  </a:lnTo>
                  <a:lnTo>
                    <a:pt x="324" y="816"/>
                  </a:lnTo>
                  <a:lnTo>
                    <a:pt x="318" y="816"/>
                  </a:lnTo>
                  <a:lnTo>
                    <a:pt x="306" y="810"/>
                  </a:lnTo>
                  <a:lnTo>
                    <a:pt x="306" y="804"/>
                  </a:lnTo>
                  <a:lnTo>
                    <a:pt x="300" y="804"/>
                  </a:lnTo>
                  <a:lnTo>
                    <a:pt x="300" y="780"/>
                  </a:lnTo>
                  <a:lnTo>
                    <a:pt x="300" y="774"/>
                  </a:lnTo>
                  <a:lnTo>
                    <a:pt x="306" y="774"/>
                  </a:lnTo>
                  <a:lnTo>
                    <a:pt x="312" y="756"/>
                  </a:lnTo>
                  <a:lnTo>
                    <a:pt x="312" y="732"/>
                  </a:lnTo>
                  <a:lnTo>
                    <a:pt x="300" y="720"/>
                  </a:lnTo>
                  <a:lnTo>
                    <a:pt x="288" y="702"/>
                  </a:lnTo>
                  <a:lnTo>
                    <a:pt x="276" y="702"/>
                  </a:lnTo>
                  <a:lnTo>
                    <a:pt x="258" y="714"/>
                  </a:lnTo>
                  <a:lnTo>
                    <a:pt x="246" y="726"/>
                  </a:lnTo>
                  <a:lnTo>
                    <a:pt x="222" y="726"/>
                  </a:lnTo>
                  <a:lnTo>
                    <a:pt x="192" y="726"/>
                  </a:lnTo>
                  <a:lnTo>
                    <a:pt x="174" y="738"/>
                  </a:lnTo>
                  <a:lnTo>
                    <a:pt x="162" y="750"/>
                  </a:lnTo>
                  <a:lnTo>
                    <a:pt x="144" y="762"/>
                  </a:lnTo>
                  <a:lnTo>
                    <a:pt x="138" y="768"/>
                  </a:lnTo>
                  <a:lnTo>
                    <a:pt x="126" y="774"/>
                  </a:lnTo>
                  <a:lnTo>
                    <a:pt x="114" y="780"/>
                  </a:lnTo>
                  <a:lnTo>
                    <a:pt x="108" y="786"/>
                  </a:lnTo>
                  <a:lnTo>
                    <a:pt x="102" y="786"/>
                  </a:lnTo>
                  <a:lnTo>
                    <a:pt x="54" y="786"/>
                  </a:lnTo>
                  <a:lnTo>
                    <a:pt x="48" y="792"/>
                  </a:lnTo>
                  <a:lnTo>
                    <a:pt x="36" y="798"/>
                  </a:lnTo>
                  <a:lnTo>
                    <a:pt x="18" y="792"/>
                  </a:lnTo>
                  <a:lnTo>
                    <a:pt x="6" y="780"/>
                  </a:lnTo>
                  <a:lnTo>
                    <a:pt x="6" y="768"/>
                  </a:lnTo>
                  <a:lnTo>
                    <a:pt x="0" y="756"/>
                  </a:lnTo>
                  <a:lnTo>
                    <a:pt x="0" y="738"/>
                  </a:lnTo>
                  <a:lnTo>
                    <a:pt x="6" y="702"/>
                  </a:lnTo>
                  <a:lnTo>
                    <a:pt x="24" y="702"/>
                  </a:lnTo>
                  <a:lnTo>
                    <a:pt x="24" y="696"/>
                  </a:lnTo>
                  <a:lnTo>
                    <a:pt x="24" y="690"/>
                  </a:lnTo>
                  <a:lnTo>
                    <a:pt x="24" y="678"/>
                  </a:lnTo>
                  <a:lnTo>
                    <a:pt x="24" y="672"/>
                  </a:lnTo>
                  <a:lnTo>
                    <a:pt x="30" y="672"/>
                  </a:lnTo>
                  <a:lnTo>
                    <a:pt x="30" y="666"/>
                  </a:lnTo>
                  <a:lnTo>
                    <a:pt x="36" y="660"/>
                  </a:lnTo>
                  <a:lnTo>
                    <a:pt x="84" y="648"/>
                  </a:lnTo>
                  <a:lnTo>
                    <a:pt x="126" y="642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32" y="618"/>
                  </a:lnTo>
                  <a:lnTo>
                    <a:pt x="138" y="612"/>
                  </a:lnTo>
                  <a:lnTo>
                    <a:pt x="138" y="606"/>
                  </a:lnTo>
                  <a:lnTo>
                    <a:pt x="138" y="600"/>
                  </a:lnTo>
                  <a:lnTo>
                    <a:pt x="132" y="600"/>
                  </a:lnTo>
                  <a:lnTo>
                    <a:pt x="132" y="594"/>
                  </a:lnTo>
                  <a:lnTo>
                    <a:pt x="132" y="588"/>
                  </a:lnTo>
                  <a:lnTo>
                    <a:pt x="132" y="582"/>
                  </a:lnTo>
                  <a:lnTo>
                    <a:pt x="132" y="576"/>
                  </a:lnTo>
                  <a:lnTo>
                    <a:pt x="126" y="570"/>
                  </a:lnTo>
                  <a:lnTo>
                    <a:pt x="120" y="564"/>
                  </a:lnTo>
                  <a:lnTo>
                    <a:pt x="120" y="558"/>
                  </a:lnTo>
                  <a:lnTo>
                    <a:pt x="120" y="552"/>
                  </a:lnTo>
                  <a:lnTo>
                    <a:pt x="114" y="552"/>
                  </a:lnTo>
                  <a:lnTo>
                    <a:pt x="114" y="546"/>
                  </a:lnTo>
                  <a:lnTo>
                    <a:pt x="114" y="540"/>
                  </a:lnTo>
                  <a:lnTo>
                    <a:pt x="108" y="534"/>
                  </a:lnTo>
                  <a:lnTo>
                    <a:pt x="108" y="528"/>
                  </a:lnTo>
                  <a:lnTo>
                    <a:pt x="114" y="522"/>
                  </a:lnTo>
                  <a:lnTo>
                    <a:pt x="108" y="516"/>
                  </a:lnTo>
                  <a:lnTo>
                    <a:pt x="108" y="498"/>
                  </a:lnTo>
                  <a:lnTo>
                    <a:pt x="108" y="492"/>
                  </a:lnTo>
                  <a:lnTo>
                    <a:pt x="108" y="486"/>
                  </a:lnTo>
                  <a:lnTo>
                    <a:pt x="108" y="480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08" y="462"/>
                  </a:lnTo>
                  <a:lnTo>
                    <a:pt x="102" y="456"/>
                  </a:lnTo>
                  <a:lnTo>
                    <a:pt x="102" y="444"/>
                  </a:lnTo>
                  <a:lnTo>
                    <a:pt x="96" y="444"/>
                  </a:lnTo>
                  <a:lnTo>
                    <a:pt x="90" y="432"/>
                  </a:lnTo>
                  <a:lnTo>
                    <a:pt x="96" y="432"/>
                  </a:lnTo>
                  <a:lnTo>
                    <a:pt x="96" y="408"/>
                  </a:lnTo>
                  <a:lnTo>
                    <a:pt x="96" y="396"/>
                  </a:lnTo>
                  <a:lnTo>
                    <a:pt x="96" y="360"/>
                  </a:lnTo>
                  <a:lnTo>
                    <a:pt x="96" y="354"/>
                  </a:lnTo>
                  <a:lnTo>
                    <a:pt x="102" y="354"/>
                  </a:lnTo>
                  <a:lnTo>
                    <a:pt x="102" y="348"/>
                  </a:lnTo>
                  <a:lnTo>
                    <a:pt x="96" y="330"/>
                  </a:lnTo>
                  <a:lnTo>
                    <a:pt x="90" y="306"/>
                  </a:lnTo>
                  <a:lnTo>
                    <a:pt x="84" y="288"/>
                  </a:lnTo>
                  <a:lnTo>
                    <a:pt x="84" y="264"/>
                  </a:lnTo>
                  <a:lnTo>
                    <a:pt x="90" y="240"/>
                  </a:lnTo>
                  <a:lnTo>
                    <a:pt x="96" y="222"/>
                  </a:lnTo>
                  <a:lnTo>
                    <a:pt x="102" y="222"/>
                  </a:lnTo>
                  <a:lnTo>
                    <a:pt x="108" y="210"/>
                  </a:lnTo>
                  <a:lnTo>
                    <a:pt x="114" y="210"/>
                  </a:lnTo>
                  <a:lnTo>
                    <a:pt x="126" y="198"/>
                  </a:lnTo>
                  <a:lnTo>
                    <a:pt x="156" y="192"/>
                  </a:lnTo>
                  <a:lnTo>
                    <a:pt x="174" y="186"/>
                  </a:lnTo>
                  <a:lnTo>
                    <a:pt x="204" y="174"/>
                  </a:lnTo>
                  <a:lnTo>
                    <a:pt x="222" y="168"/>
                  </a:lnTo>
                  <a:lnTo>
                    <a:pt x="234" y="162"/>
                  </a:lnTo>
                  <a:lnTo>
                    <a:pt x="246" y="156"/>
                  </a:lnTo>
                  <a:lnTo>
                    <a:pt x="288" y="144"/>
                  </a:lnTo>
                  <a:lnTo>
                    <a:pt x="288" y="132"/>
                  </a:lnTo>
                  <a:lnTo>
                    <a:pt x="294" y="120"/>
                  </a:lnTo>
                  <a:lnTo>
                    <a:pt x="300" y="108"/>
                  </a:lnTo>
                  <a:lnTo>
                    <a:pt x="306" y="90"/>
                  </a:lnTo>
                  <a:lnTo>
                    <a:pt x="312" y="78"/>
                  </a:lnTo>
                  <a:lnTo>
                    <a:pt x="324" y="78"/>
                  </a:lnTo>
                  <a:lnTo>
                    <a:pt x="324" y="54"/>
                  </a:lnTo>
                  <a:lnTo>
                    <a:pt x="318" y="48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60" y="6"/>
                  </a:lnTo>
                  <a:lnTo>
                    <a:pt x="384" y="0"/>
                  </a:lnTo>
                  <a:lnTo>
                    <a:pt x="390" y="6"/>
                  </a:lnTo>
                  <a:lnTo>
                    <a:pt x="390" y="18"/>
                  </a:lnTo>
                  <a:lnTo>
                    <a:pt x="390" y="54"/>
                  </a:lnTo>
                  <a:lnTo>
                    <a:pt x="396" y="66"/>
                  </a:lnTo>
                  <a:lnTo>
                    <a:pt x="414" y="84"/>
                  </a:lnTo>
                  <a:lnTo>
                    <a:pt x="426" y="90"/>
                  </a:lnTo>
                  <a:lnTo>
                    <a:pt x="432" y="96"/>
                  </a:lnTo>
                  <a:lnTo>
                    <a:pt x="426" y="102"/>
                  </a:lnTo>
                  <a:lnTo>
                    <a:pt x="438" y="102"/>
                  </a:lnTo>
                  <a:lnTo>
                    <a:pt x="444" y="108"/>
                  </a:lnTo>
                  <a:lnTo>
                    <a:pt x="444" y="102"/>
                  </a:lnTo>
                  <a:lnTo>
                    <a:pt x="450" y="90"/>
                  </a:lnTo>
                  <a:lnTo>
                    <a:pt x="450" y="84"/>
                  </a:lnTo>
                  <a:lnTo>
                    <a:pt x="450" y="78"/>
                  </a:lnTo>
                  <a:lnTo>
                    <a:pt x="456" y="72"/>
                  </a:lnTo>
                  <a:lnTo>
                    <a:pt x="462" y="66"/>
                  </a:lnTo>
                  <a:lnTo>
                    <a:pt x="462" y="60"/>
                  </a:lnTo>
                  <a:lnTo>
                    <a:pt x="462" y="54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74" y="24"/>
                  </a:lnTo>
                  <a:lnTo>
                    <a:pt x="480" y="18"/>
                  </a:lnTo>
                  <a:lnTo>
                    <a:pt x="486" y="12"/>
                  </a:lnTo>
                  <a:lnTo>
                    <a:pt x="492" y="12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2" y="6"/>
                  </a:lnTo>
                  <a:lnTo>
                    <a:pt x="534" y="6"/>
                  </a:lnTo>
                  <a:lnTo>
                    <a:pt x="540" y="6"/>
                  </a:lnTo>
                  <a:lnTo>
                    <a:pt x="546" y="6"/>
                  </a:lnTo>
                  <a:lnTo>
                    <a:pt x="564" y="0"/>
                  </a:lnTo>
                  <a:lnTo>
                    <a:pt x="570" y="0"/>
                  </a:lnTo>
                  <a:lnTo>
                    <a:pt x="576" y="6"/>
                  </a:lnTo>
                  <a:lnTo>
                    <a:pt x="582" y="6"/>
                  </a:lnTo>
                  <a:lnTo>
                    <a:pt x="594" y="6"/>
                  </a:lnTo>
                  <a:lnTo>
                    <a:pt x="600" y="6"/>
                  </a:lnTo>
                  <a:lnTo>
                    <a:pt x="606" y="6"/>
                  </a:lnTo>
                  <a:lnTo>
                    <a:pt x="624" y="0"/>
                  </a:lnTo>
                  <a:lnTo>
                    <a:pt x="636" y="0"/>
                  </a:lnTo>
                  <a:lnTo>
                    <a:pt x="636" y="6"/>
                  </a:lnTo>
                  <a:lnTo>
                    <a:pt x="654" y="18"/>
                  </a:lnTo>
                  <a:lnTo>
                    <a:pt x="654" y="30"/>
                  </a:lnTo>
                  <a:lnTo>
                    <a:pt x="642" y="42"/>
                  </a:lnTo>
                  <a:lnTo>
                    <a:pt x="630" y="66"/>
                  </a:lnTo>
                  <a:lnTo>
                    <a:pt x="636" y="84"/>
                  </a:lnTo>
                  <a:lnTo>
                    <a:pt x="636" y="96"/>
                  </a:lnTo>
                  <a:lnTo>
                    <a:pt x="648" y="102"/>
                  </a:lnTo>
                  <a:lnTo>
                    <a:pt x="672" y="114"/>
                  </a:lnTo>
                  <a:lnTo>
                    <a:pt x="702" y="120"/>
                  </a:lnTo>
                  <a:lnTo>
                    <a:pt x="714" y="126"/>
                  </a:lnTo>
                  <a:lnTo>
                    <a:pt x="720" y="144"/>
                  </a:lnTo>
                  <a:lnTo>
                    <a:pt x="720" y="156"/>
                  </a:lnTo>
                  <a:lnTo>
                    <a:pt x="708" y="156"/>
                  </a:lnTo>
                  <a:lnTo>
                    <a:pt x="702" y="162"/>
                  </a:lnTo>
                  <a:lnTo>
                    <a:pt x="702" y="174"/>
                  </a:lnTo>
                  <a:lnTo>
                    <a:pt x="696" y="174"/>
                  </a:lnTo>
                  <a:lnTo>
                    <a:pt x="690" y="180"/>
                  </a:lnTo>
                  <a:lnTo>
                    <a:pt x="678" y="186"/>
                  </a:lnTo>
                  <a:lnTo>
                    <a:pt x="672" y="192"/>
                  </a:lnTo>
                  <a:lnTo>
                    <a:pt x="654" y="210"/>
                  </a:lnTo>
                  <a:lnTo>
                    <a:pt x="654" y="216"/>
                  </a:lnTo>
                  <a:lnTo>
                    <a:pt x="648" y="246"/>
                  </a:lnTo>
                  <a:lnTo>
                    <a:pt x="660" y="246"/>
                  </a:lnTo>
                  <a:lnTo>
                    <a:pt x="666" y="234"/>
                  </a:lnTo>
                  <a:lnTo>
                    <a:pt x="678" y="240"/>
                  </a:lnTo>
                  <a:lnTo>
                    <a:pt x="684" y="228"/>
                  </a:lnTo>
                  <a:lnTo>
                    <a:pt x="690" y="210"/>
                  </a:lnTo>
                  <a:lnTo>
                    <a:pt x="696" y="204"/>
                  </a:lnTo>
                  <a:lnTo>
                    <a:pt x="702" y="204"/>
                  </a:lnTo>
                  <a:lnTo>
                    <a:pt x="708" y="192"/>
                  </a:lnTo>
                  <a:lnTo>
                    <a:pt x="714" y="192"/>
                  </a:lnTo>
                  <a:lnTo>
                    <a:pt x="714" y="186"/>
                  </a:lnTo>
                  <a:lnTo>
                    <a:pt x="726" y="186"/>
                  </a:lnTo>
                  <a:lnTo>
                    <a:pt x="732" y="186"/>
                  </a:lnTo>
                  <a:lnTo>
                    <a:pt x="738" y="186"/>
                  </a:lnTo>
                  <a:lnTo>
                    <a:pt x="744" y="216"/>
                  </a:lnTo>
                  <a:lnTo>
                    <a:pt x="750" y="210"/>
                  </a:lnTo>
                  <a:lnTo>
                    <a:pt x="750" y="204"/>
                  </a:lnTo>
                  <a:lnTo>
                    <a:pt x="756" y="192"/>
                  </a:lnTo>
                  <a:lnTo>
                    <a:pt x="762" y="192"/>
                  </a:lnTo>
                  <a:lnTo>
                    <a:pt x="768" y="192"/>
                  </a:lnTo>
                  <a:lnTo>
                    <a:pt x="780" y="186"/>
                  </a:lnTo>
                  <a:lnTo>
                    <a:pt x="786" y="204"/>
                  </a:lnTo>
                  <a:lnTo>
                    <a:pt x="774" y="210"/>
                  </a:lnTo>
                  <a:lnTo>
                    <a:pt x="774" y="234"/>
                  </a:lnTo>
                  <a:lnTo>
                    <a:pt x="780" y="246"/>
                  </a:lnTo>
                  <a:lnTo>
                    <a:pt x="804" y="264"/>
                  </a:lnTo>
                  <a:lnTo>
                    <a:pt x="816" y="276"/>
                  </a:lnTo>
                  <a:lnTo>
                    <a:pt x="822" y="288"/>
                  </a:lnTo>
                  <a:lnTo>
                    <a:pt x="822" y="312"/>
                  </a:lnTo>
                  <a:lnTo>
                    <a:pt x="816" y="312"/>
                  </a:lnTo>
                  <a:lnTo>
                    <a:pt x="810" y="318"/>
                  </a:lnTo>
                  <a:lnTo>
                    <a:pt x="810" y="348"/>
                  </a:lnTo>
                  <a:lnTo>
                    <a:pt x="816" y="348"/>
                  </a:lnTo>
                  <a:lnTo>
                    <a:pt x="816" y="342"/>
                  </a:lnTo>
                  <a:lnTo>
                    <a:pt x="834" y="342"/>
                  </a:lnTo>
                  <a:lnTo>
                    <a:pt x="834" y="348"/>
                  </a:lnTo>
                  <a:lnTo>
                    <a:pt x="846" y="348"/>
                  </a:lnTo>
                  <a:lnTo>
                    <a:pt x="846" y="342"/>
                  </a:lnTo>
                  <a:lnTo>
                    <a:pt x="882" y="342"/>
                  </a:lnTo>
                  <a:lnTo>
                    <a:pt x="894" y="366"/>
                  </a:lnTo>
                  <a:lnTo>
                    <a:pt x="900" y="372"/>
                  </a:lnTo>
                  <a:lnTo>
                    <a:pt x="906" y="384"/>
                  </a:lnTo>
                  <a:lnTo>
                    <a:pt x="924" y="384"/>
                  </a:lnTo>
                  <a:lnTo>
                    <a:pt x="930" y="372"/>
                  </a:lnTo>
                  <a:lnTo>
                    <a:pt x="936" y="372"/>
                  </a:lnTo>
                  <a:lnTo>
                    <a:pt x="942" y="348"/>
                  </a:lnTo>
                  <a:lnTo>
                    <a:pt x="954" y="348"/>
                  </a:lnTo>
                  <a:lnTo>
                    <a:pt x="954" y="342"/>
                  </a:lnTo>
                  <a:lnTo>
                    <a:pt x="984" y="342"/>
                  </a:lnTo>
                  <a:lnTo>
                    <a:pt x="978" y="390"/>
                  </a:lnTo>
                  <a:lnTo>
                    <a:pt x="984" y="390"/>
                  </a:lnTo>
                  <a:lnTo>
                    <a:pt x="990" y="396"/>
                  </a:lnTo>
                  <a:lnTo>
                    <a:pt x="996" y="396"/>
                  </a:lnTo>
                  <a:lnTo>
                    <a:pt x="1002" y="396"/>
                  </a:lnTo>
                  <a:lnTo>
                    <a:pt x="1002" y="408"/>
                  </a:lnTo>
                  <a:lnTo>
                    <a:pt x="990" y="414"/>
                  </a:lnTo>
                  <a:lnTo>
                    <a:pt x="984" y="426"/>
                  </a:lnTo>
                  <a:lnTo>
                    <a:pt x="990" y="444"/>
                  </a:lnTo>
                  <a:lnTo>
                    <a:pt x="996" y="450"/>
                  </a:lnTo>
                  <a:lnTo>
                    <a:pt x="990" y="462"/>
                  </a:lnTo>
                  <a:lnTo>
                    <a:pt x="990" y="468"/>
                  </a:lnTo>
                  <a:lnTo>
                    <a:pt x="984" y="480"/>
                  </a:lnTo>
                  <a:lnTo>
                    <a:pt x="978" y="486"/>
                  </a:lnTo>
                  <a:lnTo>
                    <a:pt x="972" y="486"/>
                  </a:lnTo>
                  <a:lnTo>
                    <a:pt x="966" y="492"/>
                  </a:lnTo>
                  <a:lnTo>
                    <a:pt x="966" y="498"/>
                  </a:lnTo>
                  <a:lnTo>
                    <a:pt x="954" y="510"/>
                  </a:lnTo>
                  <a:lnTo>
                    <a:pt x="948" y="510"/>
                  </a:lnTo>
                  <a:lnTo>
                    <a:pt x="942" y="516"/>
                  </a:lnTo>
                  <a:lnTo>
                    <a:pt x="936" y="528"/>
                  </a:lnTo>
                  <a:lnTo>
                    <a:pt x="936" y="534"/>
                  </a:lnTo>
                  <a:lnTo>
                    <a:pt x="936" y="546"/>
                  </a:lnTo>
                  <a:lnTo>
                    <a:pt x="936" y="558"/>
                  </a:lnTo>
                  <a:lnTo>
                    <a:pt x="948" y="558"/>
                  </a:lnTo>
                  <a:lnTo>
                    <a:pt x="954" y="558"/>
                  </a:lnTo>
                  <a:lnTo>
                    <a:pt x="996" y="558"/>
                  </a:lnTo>
                  <a:lnTo>
                    <a:pt x="1002" y="570"/>
                  </a:lnTo>
                  <a:lnTo>
                    <a:pt x="996" y="576"/>
                  </a:lnTo>
                  <a:lnTo>
                    <a:pt x="996" y="588"/>
                  </a:lnTo>
                  <a:lnTo>
                    <a:pt x="984" y="588"/>
                  </a:lnTo>
                  <a:lnTo>
                    <a:pt x="990" y="612"/>
                  </a:lnTo>
                  <a:lnTo>
                    <a:pt x="1014" y="606"/>
                  </a:lnTo>
                  <a:lnTo>
                    <a:pt x="1014" y="636"/>
                  </a:lnTo>
                  <a:lnTo>
                    <a:pt x="1014" y="648"/>
                  </a:lnTo>
                  <a:lnTo>
                    <a:pt x="1020" y="648"/>
                  </a:lnTo>
                  <a:lnTo>
                    <a:pt x="1026" y="660"/>
                  </a:lnTo>
                  <a:lnTo>
                    <a:pt x="1038" y="654"/>
                  </a:lnTo>
                  <a:lnTo>
                    <a:pt x="1050" y="654"/>
                  </a:lnTo>
                  <a:lnTo>
                    <a:pt x="1062" y="654"/>
                  </a:lnTo>
                  <a:lnTo>
                    <a:pt x="1068" y="660"/>
                  </a:lnTo>
                  <a:lnTo>
                    <a:pt x="1068" y="678"/>
                  </a:lnTo>
                  <a:lnTo>
                    <a:pt x="1068" y="684"/>
                  </a:lnTo>
                  <a:lnTo>
                    <a:pt x="1062" y="690"/>
                  </a:lnTo>
                  <a:lnTo>
                    <a:pt x="1056" y="696"/>
                  </a:lnTo>
                  <a:lnTo>
                    <a:pt x="1056" y="702"/>
                  </a:lnTo>
                  <a:lnTo>
                    <a:pt x="1038" y="714"/>
                  </a:lnTo>
                  <a:lnTo>
                    <a:pt x="1026" y="720"/>
                  </a:lnTo>
                  <a:lnTo>
                    <a:pt x="1008" y="726"/>
                  </a:lnTo>
                  <a:lnTo>
                    <a:pt x="1008" y="732"/>
                  </a:lnTo>
                  <a:lnTo>
                    <a:pt x="990" y="732"/>
                  </a:lnTo>
                  <a:lnTo>
                    <a:pt x="984" y="744"/>
                  </a:lnTo>
                  <a:lnTo>
                    <a:pt x="990" y="750"/>
                  </a:lnTo>
                  <a:lnTo>
                    <a:pt x="984" y="762"/>
                  </a:lnTo>
                  <a:lnTo>
                    <a:pt x="984" y="768"/>
                  </a:lnTo>
                  <a:lnTo>
                    <a:pt x="984" y="774"/>
                  </a:lnTo>
                  <a:lnTo>
                    <a:pt x="984" y="780"/>
                  </a:lnTo>
                  <a:lnTo>
                    <a:pt x="984" y="786"/>
                  </a:lnTo>
                  <a:lnTo>
                    <a:pt x="984" y="792"/>
                  </a:lnTo>
                  <a:lnTo>
                    <a:pt x="978" y="798"/>
                  </a:lnTo>
                  <a:lnTo>
                    <a:pt x="978" y="80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3" name="Freeform 38">
              <a:extLst>
                <a:ext uri="{FF2B5EF4-FFF2-40B4-BE49-F238E27FC236}">
                  <a16:creationId xmlns:a16="http://schemas.microsoft.com/office/drawing/2014/main" id="{819B99CE-D972-4530-8964-A992C1EC87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2825" y="1634436"/>
              <a:ext cx="959326" cy="959458"/>
            </a:xfrm>
            <a:custGeom>
              <a:avLst/>
              <a:gdLst>
                <a:gd name="T0" fmla="*/ 105 w 1806"/>
                <a:gd name="T1" fmla="*/ 155 h 1806"/>
                <a:gd name="T2" fmla="*/ 103 w 1806"/>
                <a:gd name="T3" fmla="*/ 155 h 1806"/>
                <a:gd name="T4" fmla="*/ 103 w 1806"/>
                <a:gd name="T5" fmla="*/ 150 h 1806"/>
                <a:gd name="T6" fmla="*/ 104 w 1806"/>
                <a:gd name="T7" fmla="*/ 141 h 1806"/>
                <a:gd name="T8" fmla="*/ 104 w 1806"/>
                <a:gd name="T9" fmla="*/ 136 h 1806"/>
                <a:gd name="T10" fmla="*/ 100 w 1806"/>
                <a:gd name="T11" fmla="*/ 131 h 1806"/>
                <a:gd name="T12" fmla="*/ 96 w 1806"/>
                <a:gd name="T13" fmla="*/ 127 h 1806"/>
                <a:gd name="T14" fmla="*/ 91 w 1806"/>
                <a:gd name="T15" fmla="*/ 121 h 1806"/>
                <a:gd name="T16" fmla="*/ 87 w 1806"/>
                <a:gd name="T17" fmla="*/ 120 h 1806"/>
                <a:gd name="T18" fmla="*/ 81 w 1806"/>
                <a:gd name="T19" fmla="*/ 117 h 1806"/>
                <a:gd name="T20" fmla="*/ 65 w 1806"/>
                <a:gd name="T21" fmla="*/ 113 h 1806"/>
                <a:gd name="T22" fmla="*/ 69 w 1806"/>
                <a:gd name="T23" fmla="*/ 105 h 1806"/>
                <a:gd name="T24" fmla="*/ 66 w 1806"/>
                <a:gd name="T25" fmla="*/ 89 h 1806"/>
                <a:gd name="T26" fmla="*/ 63 w 1806"/>
                <a:gd name="T27" fmla="*/ 84 h 1806"/>
                <a:gd name="T28" fmla="*/ 62 w 1806"/>
                <a:gd name="T29" fmla="*/ 74 h 1806"/>
                <a:gd name="T30" fmla="*/ 58 w 1806"/>
                <a:gd name="T31" fmla="*/ 52 h 1806"/>
                <a:gd name="T32" fmla="*/ 53 w 1806"/>
                <a:gd name="T33" fmla="*/ 49 h 1806"/>
                <a:gd name="T34" fmla="*/ 51 w 1806"/>
                <a:gd name="T35" fmla="*/ 36 h 1806"/>
                <a:gd name="T36" fmla="*/ 43 w 1806"/>
                <a:gd name="T37" fmla="*/ 32 h 1806"/>
                <a:gd name="T38" fmla="*/ 33 w 1806"/>
                <a:gd name="T39" fmla="*/ 30 h 1806"/>
                <a:gd name="T40" fmla="*/ 30 w 1806"/>
                <a:gd name="T41" fmla="*/ 21 h 1806"/>
                <a:gd name="T42" fmla="*/ 17 w 1806"/>
                <a:gd name="T43" fmla="*/ 25 h 1806"/>
                <a:gd name="T44" fmla="*/ 4 w 1806"/>
                <a:gd name="T45" fmla="*/ 33 h 1806"/>
                <a:gd name="T46" fmla="*/ 7 w 1806"/>
                <a:gd name="T47" fmla="*/ 26 h 1806"/>
                <a:gd name="T48" fmla="*/ 11 w 1806"/>
                <a:gd name="T49" fmla="*/ 20 h 1806"/>
                <a:gd name="T50" fmla="*/ 18 w 1806"/>
                <a:gd name="T51" fmla="*/ 12 h 1806"/>
                <a:gd name="T52" fmla="*/ 26 w 1806"/>
                <a:gd name="T53" fmla="*/ 8 h 1806"/>
                <a:gd name="T54" fmla="*/ 35 w 1806"/>
                <a:gd name="T55" fmla="*/ 6 h 1806"/>
                <a:gd name="T56" fmla="*/ 44 w 1806"/>
                <a:gd name="T57" fmla="*/ 5 h 1806"/>
                <a:gd name="T58" fmla="*/ 54 w 1806"/>
                <a:gd name="T59" fmla="*/ 2 h 1806"/>
                <a:gd name="T60" fmla="*/ 65 w 1806"/>
                <a:gd name="T61" fmla="*/ 0 h 1806"/>
                <a:gd name="T62" fmla="*/ 76 w 1806"/>
                <a:gd name="T63" fmla="*/ 0 h 1806"/>
                <a:gd name="T64" fmla="*/ 85 w 1806"/>
                <a:gd name="T65" fmla="*/ 0 h 1806"/>
                <a:gd name="T66" fmla="*/ 97 w 1806"/>
                <a:gd name="T67" fmla="*/ 0 h 1806"/>
                <a:gd name="T68" fmla="*/ 108 w 1806"/>
                <a:gd name="T69" fmla="*/ 3 h 1806"/>
                <a:gd name="T70" fmla="*/ 115 w 1806"/>
                <a:gd name="T71" fmla="*/ 5 h 1806"/>
                <a:gd name="T72" fmla="*/ 123 w 1806"/>
                <a:gd name="T73" fmla="*/ 7 h 1806"/>
                <a:gd name="T74" fmla="*/ 133 w 1806"/>
                <a:gd name="T75" fmla="*/ 14 h 1806"/>
                <a:gd name="T76" fmla="*/ 138 w 1806"/>
                <a:gd name="T77" fmla="*/ 16 h 1806"/>
                <a:gd name="T78" fmla="*/ 140 w 1806"/>
                <a:gd name="T79" fmla="*/ 14 h 1806"/>
                <a:gd name="T80" fmla="*/ 145 w 1806"/>
                <a:gd name="T81" fmla="*/ 16 h 1806"/>
                <a:gd name="T82" fmla="*/ 147 w 1806"/>
                <a:gd name="T83" fmla="*/ 16 h 1806"/>
                <a:gd name="T84" fmla="*/ 150 w 1806"/>
                <a:gd name="T85" fmla="*/ 17 h 1806"/>
                <a:gd name="T86" fmla="*/ 152 w 1806"/>
                <a:gd name="T87" fmla="*/ 18 h 1806"/>
                <a:gd name="T88" fmla="*/ 155 w 1806"/>
                <a:gd name="T89" fmla="*/ 37 h 1806"/>
                <a:gd name="T90" fmla="*/ 146 w 1806"/>
                <a:gd name="T91" fmla="*/ 66 h 1806"/>
                <a:gd name="T92" fmla="*/ 143 w 1806"/>
                <a:gd name="T93" fmla="*/ 88 h 1806"/>
                <a:gd name="T94" fmla="*/ 144 w 1806"/>
                <a:gd name="T95" fmla="*/ 98 h 1806"/>
                <a:gd name="T96" fmla="*/ 137 w 1806"/>
                <a:gd name="T97" fmla="*/ 118 h 1806"/>
                <a:gd name="T98" fmla="*/ 132 w 1806"/>
                <a:gd name="T99" fmla="*/ 129 h 1806"/>
                <a:gd name="T100" fmla="*/ 124 w 1806"/>
                <a:gd name="T101" fmla="*/ 135 h 1806"/>
                <a:gd name="T102" fmla="*/ 119 w 1806"/>
                <a:gd name="T103" fmla="*/ 136 h 1806"/>
                <a:gd name="T104" fmla="*/ 116 w 1806"/>
                <a:gd name="T105" fmla="*/ 137 h 1806"/>
                <a:gd name="T106" fmla="*/ 112 w 1806"/>
                <a:gd name="T107" fmla="*/ 139 h 1806"/>
                <a:gd name="T108" fmla="*/ 112 w 1806"/>
                <a:gd name="T109" fmla="*/ 141 h 1806"/>
                <a:gd name="T110" fmla="*/ 116 w 1806"/>
                <a:gd name="T111" fmla="*/ 146 h 1806"/>
                <a:gd name="T112" fmla="*/ 116 w 1806"/>
                <a:gd name="T113" fmla="*/ 151 h 1806"/>
                <a:gd name="T114" fmla="*/ 113 w 1806"/>
                <a:gd name="T115" fmla="*/ 153 h 18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6"/>
                <a:gd name="T175" fmla="*/ 0 h 1806"/>
                <a:gd name="T176" fmla="*/ 1806 w 1806"/>
                <a:gd name="T177" fmla="*/ 1806 h 18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6" h="1806">
                  <a:moveTo>
                    <a:pt x="1260" y="1776"/>
                  </a:moveTo>
                  <a:lnTo>
                    <a:pt x="1254" y="1776"/>
                  </a:lnTo>
                  <a:lnTo>
                    <a:pt x="1248" y="1776"/>
                  </a:lnTo>
                  <a:lnTo>
                    <a:pt x="1242" y="1782"/>
                  </a:lnTo>
                  <a:lnTo>
                    <a:pt x="1236" y="1782"/>
                  </a:lnTo>
                  <a:lnTo>
                    <a:pt x="1230" y="1788"/>
                  </a:lnTo>
                  <a:lnTo>
                    <a:pt x="1224" y="1782"/>
                  </a:lnTo>
                  <a:lnTo>
                    <a:pt x="1218" y="1782"/>
                  </a:lnTo>
                  <a:lnTo>
                    <a:pt x="1218" y="1788"/>
                  </a:lnTo>
                  <a:lnTo>
                    <a:pt x="1212" y="1788"/>
                  </a:lnTo>
                  <a:lnTo>
                    <a:pt x="1206" y="1788"/>
                  </a:lnTo>
                  <a:lnTo>
                    <a:pt x="1206" y="1794"/>
                  </a:lnTo>
                  <a:lnTo>
                    <a:pt x="1200" y="1806"/>
                  </a:lnTo>
                  <a:lnTo>
                    <a:pt x="1194" y="1800"/>
                  </a:lnTo>
                  <a:lnTo>
                    <a:pt x="1194" y="1794"/>
                  </a:lnTo>
                  <a:lnTo>
                    <a:pt x="1194" y="1788"/>
                  </a:lnTo>
                  <a:lnTo>
                    <a:pt x="1188" y="1788"/>
                  </a:lnTo>
                  <a:lnTo>
                    <a:pt x="1188" y="1782"/>
                  </a:lnTo>
                  <a:lnTo>
                    <a:pt x="1188" y="1776"/>
                  </a:lnTo>
                  <a:lnTo>
                    <a:pt x="1194" y="1770"/>
                  </a:lnTo>
                  <a:lnTo>
                    <a:pt x="1194" y="1764"/>
                  </a:lnTo>
                  <a:lnTo>
                    <a:pt x="1194" y="1758"/>
                  </a:lnTo>
                  <a:lnTo>
                    <a:pt x="1194" y="1752"/>
                  </a:lnTo>
                  <a:lnTo>
                    <a:pt x="1200" y="1746"/>
                  </a:lnTo>
                  <a:lnTo>
                    <a:pt x="1200" y="1740"/>
                  </a:lnTo>
                  <a:lnTo>
                    <a:pt x="1200" y="1734"/>
                  </a:lnTo>
                  <a:lnTo>
                    <a:pt x="1188" y="1722"/>
                  </a:lnTo>
                  <a:lnTo>
                    <a:pt x="1188" y="1716"/>
                  </a:lnTo>
                  <a:lnTo>
                    <a:pt x="1194" y="1704"/>
                  </a:lnTo>
                  <a:lnTo>
                    <a:pt x="1194" y="1692"/>
                  </a:lnTo>
                  <a:lnTo>
                    <a:pt x="1200" y="1680"/>
                  </a:lnTo>
                  <a:lnTo>
                    <a:pt x="1200" y="1662"/>
                  </a:lnTo>
                  <a:lnTo>
                    <a:pt x="1200" y="1650"/>
                  </a:lnTo>
                  <a:lnTo>
                    <a:pt x="1206" y="1644"/>
                  </a:lnTo>
                  <a:lnTo>
                    <a:pt x="1206" y="1638"/>
                  </a:lnTo>
                  <a:lnTo>
                    <a:pt x="1206" y="1626"/>
                  </a:lnTo>
                  <a:lnTo>
                    <a:pt x="1206" y="1620"/>
                  </a:lnTo>
                  <a:lnTo>
                    <a:pt x="1206" y="1614"/>
                  </a:lnTo>
                  <a:lnTo>
                    <a:pt x="1200" y="1608"/>
                  </a:lnTo>
                  <a:lnTo>
                    <a:pt x="1200" y="1602"/>
                  </a:lnTo>
                  <a:lnTo>
                    <a:pt x="1200" y="1596"/>
                  </a:lnTo>
                  <a:lnTo>
                    <a:pt x="1200" y="1590"/>
                  </a:lnTo>
                  <a:lnTo>
                    <a:pt x="1200" y="1572"/>
                  </a:lnTo>
                  <a:lnTo>
                    <a:pt x="1200" y="1566"/>
                  </a:lnTo>
                  <a:lnTo>
                    <a:pt x="1200" y="1560"/>
                  </a:lnTo>
                  <a:lnTo>
                    <a:pt x="1194" y="1554"/>
                  </a:lnTo>
                  <a:lnTo>
                    <a:pt x="1188" y="1548"/>
                  </a:lnTo>
                  <a:lnTo>
                    <a:pt x="1188" y="1542"/>
                  </a:lnTo>
                  <a:lnTo>
                    <a:pt x="1176" y="1536"/>
                  </a:lnTo>
                  <a:lnTo>
                    <a:pt x="1176" y="1530"/>
                  </a:lnTo>
                  <a:lnTo>
                    <a:pt x="1170" y="1524"/>
                  </a:lnTo>
                  <a:lnTo>
                    <a:pt x="1170" y="1518"/>
                  </a:lnTo>
                  <a:lnTo>
                    <a:pt x="1164" y="1512"/>
                  </a:lnTo>
                  <a:lnTo>
                    <a:pt x="1158" y="1506"/>
                  </a:lnTo>
                  <a:lnTo>
                    <a:pt x="1152" y="1500"/>
                  </a:lnTo>
                  <a:lnTo>
                    <a:pt x="1146" y="1494"/>
                  </a:lnTo>
                  <a:lnTo>
                    <a:pt x="1140" y="1488"/>
                  </a:lnTo>
                  <a:lnTo>
                    <a:pt x="1134" y="1482"/>
                  </a:lnTo>
                  <a:lnTo>
                    <a:pt x="1128" y="1476"/>
                  </a:lnTo>
                  <a:lnTo>
                    <a:pt x="1122" y="1470"/>
                  </a:lnTo>
                  <a:lnTo>
                    <a:pt x="1116" y="1464"/>
                  </a:lnTo>
                  <a:lnTo>
                    <a:pt x="1110" y="1464"/>
                  </a:lnTo>
                  <a:lnTo>
                    <a:pt x="1104" y="1458"/>
                  </a:lnTo>
                  <a:lnTo>
                    <a:pt x="1098" y="1464"/>
                  </a:lnTo>
                  <a:lnTo>
                    <a:pt x="1092" y="1464"/>
                  </a:lnTo>
                  <a:lnTo>
                    <a:pt x="1086" y="1446"/>
                  </a:lnTo>
                  <a:lnTo>
                    <a:pt x="1086" y="1440"/>
                  </a:lnTo>
                  <a:lnTo>
                    <a:pt x="1080" y="1416"/>
                  </a:lnTo>
                  <a:lnTo>
                    <a:pt x="1068" y="1404"/>
                  </a:lnTo>
                  <a:lnTo>
                    <a:pt x="1062" y="1398"/>
                  </a:lnTo>
                  <a:lnTo>
                    <a:pt x="1056" y="1398"/>
                  </a:lnTo>
                  <a:lnTo>
                    <a:pt x="1050" y="1398"/>
                  </a:lnTo>
                  <a:lnTo>
                    <a:pt x="1044" y="1398"/>
                  </a:lnTo>
                  <a:lnTo>
                    <a:pt x="1044" y="1392"/>
                  </a:lnTo>
                  <a:lnTo>
                    <a:pt x="1038" y="1392"/>
                  </a:lnTo>
                  <a:lnTo>
                    <a:pt x="1032" y="1392"/>
                  </a:lnTo>
                  <a:lnTo>
                    <a:pt x="1020" y="1386"/>
                  </a:lnTo>
                  <a:lnTo>
                    <a:pt x="1014" y="1386"/>
                  </a:lnTo>
                  <a:lnTo>
                    <a:pt x="1014" y="1380"/>
                  </a:lnTo>
                  <a:lnTo>
                    <a:pt x="1008" y="1380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62"/>
                  </a:lnTo>
                  <a:lnTo>
                    <a:pt x="984" y="1356"/>
                  </a:lnTo>
                  <a:lnTo>
                    <a:pt x="978" y="1356"/>
                  </a:lnTo>
                  <a:lnTo>
                    <a:pt x="972" y="1356"/>
                  </a:lnTo>
                  <a:lnTo>
                    <a:pt x="966" y="1356"/>
                  </a:lnTo>
                  <a:lnTo>
                    <a:pt x="966" y="1350"/>
                  </a:lnTo>
                  <a:lnTo>
                    <a:pt x="948" y="1350"/>
                  </a:lnTo>
                  <a:lnTo>
                    <a:pt x="936" y="1344"/>
                  </a:lnTo>
                  <a:lnTo>
                    <a:pt x="930" y="1338"/>
                  </a:lnTo>
                  <a:lnTo>
                    <a:pt x="918" y="1332"/>
                  </a:lnTo>
                  <a:lnTo>
                    <a:pt x="900" y="1326"/>
                  </a:lnTo>
                  <a:lnTo>
                    <a:pt x="864" y="1332"/>
                  </a:lnTo>
                  <a:lnTo>
                    <a:pt x="828" y="1332"/>
                  </a:lnTo>
                  <a:lnTo>
                    <a:pt x="792" y="1314"/>
                  </a:lnTo>
                  <a:lnTo>
                    <a:pt x="780" y="1314"/>
                  </a:lnTo>
                  <a:lnTo>
                    <a:pt x="780" y="1308"/>
                  </a:lnTo>
                  <a:lnTo>
                    <a:pt x="756" y="1296"/>
                  </a:lnTo>
                  <a:lnTo>
                    <a:pt x="756" y="1278"/>
                  </a:lnTo>
                  <a:lnTo>
                    <a:pt x="768" y="1278"/>
                  </a:lnTo>
                  <a:lnTo>
                    <a:pt x="774" y="1272"/>
                  </a:lnTo>
                  <a:lnTo>
                    <a:pt x="780" y="1266"/>
                  </a:lnTo>
                  <a:lnTo>
                    <a:pt x="786" y="1260"/>
                  </a:lnTo>
                  <a:lnTo>
                    <a:pt x="792" y="1254"/>
                  </a:lnTo>
                  <a:lnTo>
                    <a:pt x="798" y="1242"/>
                  </a:lnTo>
                  <a:lnTo>
                    <a:pt x="804" y="1242"/>
                  </a:lnTo>
                  <a:lnTo>
                    <a:pt x="804" y="1206"/>
                  </a:lnTo>
                  <a:lnTo>
                    <a:pt x="804" y="1182"/>
                  </a:lnTo>
                  <a:lnTo>
                    <a:pt x="804" y="1158"/>
                  </a:lnTo>
                  <a:lnTo>
                    <a:pt x="804" y="1134"/>
                  </a:lnTo>
                  <a:lnTo>
                    <a:pt x="798" y="1116"/>
                  </a:lnTo>
                  <a:lnTo>
                    <a:pt x="792" y="1092"/>
                  </a:lnTo>
                  <a:lnTo>
                    <a:pt x="786" y="1062"/>
                  </a:lnTo>
                  <a:lnTo>
                    <a:pt x="768" y="1032"/>
                  </a:lnTo>
                  <a:lnTo>
                    <a:pt x="762" y="1032"/>
                  </a:lnTo>
                  <a:lnTo>
                    <a:pt x="762" y="1020"/>
                  </a:lnTo>
                  <a:lnTo>
                    <a:pt x="762" y="1014"/>
                  </a:lnTo>
                  <a:lnTo>
                    <a:pt x="756" y="1008"/>
                  </a:lnTo>
                  <a:lnTo>
                    <a:pt x="750" y="1002"/>
                  </a:lnTo>
                  <a:lnTo>
                    <a:pt x="738" y="1002"/>
                  </a:lnTo>
                  <a:lnTo>
                    <a:pt x="738" y="990"/>
                  </a:lnTo>
                  <a:lnTo>
                    <a:pt x="726" y="990"/>
                  </a:lnTo>
                  <a:lnTo>
                    <a:pt x="726" y="978"/>
                  </a:lnTo>
                  <a:lnTo>
                    <a:pt x="732" y="972"/>
                  </a:lnTo>
                  <a:lnTo>
                    <a:pt x="732" y="966"/>
                  </a:lnTo>
                  <a:lnTo>
                    <a:pt x="726" y="966"/>
                  </a:lnTo>
                  <a:lnTo>
                    <a:pt x="732" y="948"/>
                  </a:lnTo>
                  <a:lnTo>
                    <a:pt x="726" y="942"/>
                  </a:lnTo>
                  <a:lnTo>
                    <a:pt x="726" y="930"/>
                  </a:lnTo>
                  <a:lnTo>
                    <a:pt x="720" y="924"/>
                  </a:lnTo>
                  <a:lnTo>
                    <a:pt x="714" y="912"/>
                  </a:lnTo>
                  <a:lnTo>
                    <a:pt x="714" y="882"/>
                  </a:lnTo>
                  <a:lnTo>
                    <a:pt x="714" y="870"/>
                  </a:lnTo>
                  <a:lnTo>
                    <a:pt x="714" y="858"/>
                  </a:lnTo>
                  <a:lnTo>
                    <a:pt x="714" y="846"/>
                  </a:lnTo>
                  <a:lnTo>
                    <a:pt x="708" y="822"/>
                  </a:lnTo>
                  <a:lnTo>
                    <a:pt x="702" y="798"/>
                  </a:lnTo>
                  <a:lnTo>
                    <a:pt x="696" y="792"/>
                  </a:lnTo>
                  <a:lnTo>
                    <a:pt x="684" y="726"/>
                  </a:lnTo>
                  <a:lnTo>
                    <a:pt x="678" y="666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66" y="600"/>
                  </a:lnTo>
                  <a:lnTo>
                    <a:pt x="660" y="594"/>
                  </a:lnTo>
                  <a:lnTo>
                    <a:pt x="654" y="594"/>
                  </a:lnTo>
                  <a:lnTo>
                    <a:pt x="636" y="582"/>
                  </a:lnTo>
                  <a:lnTo>
                    <a:pt x="630" y="576"/>
                  </a:lnTo>
                  <a:lnTo>
                    <a:pt x="624" y="576"/>
                  </a:lnTo>
                  <a:lnTo>
                    <a:pt x="618" y="570"/>
                  </a:lnTo>
                  <a:lnTo>
                    <a:pt x="612" y="564"/>
                  </a:lnTo>
                  <a:lnTo>
                    <a:pt x="606" y="558"/>
                  </a:lnTo>
                  <a:lnTo>
                    <a:pt x="606" y="564"/>
                  </a:lnTo>
                  <a:lnTo>
                    <a:pt x="600" y="564"/>
                  </a:lnTo>
                  <a:lnTo>
                    <a:pt x="594" y="558"/>
                  </a:lnTo>
                  <a:lnTo>
                    <a:pt x="594" y="540"/>
                  </a:lnTo>
                  <a:lnTo>
                    <a:pt x="594" y="528"/>
                  </a:lnTo>
                  <a:lnTo>
                    <a:pt x="594" y="516"/>
                  </a:lnTo>
                  <a:lnTo>
                    <a:pt x="594" y="510"/>
                  </a:lnTo>
                  <a:lnTo>
                    <a:pt x="594" y="492"/>
                  </a:lnTo>
                  <a:lnTo>
                    <a:pt x="594" y="456"/>
                  </a:lnTo>
                  <a:lnTo>
                    <a:pt x="588" y="414"/>
                  </a:lnTo>
                  <a:lnTo>
                    <a:pt x="588" y="408"/>
                  </a:lnTo>
                  <a:lnTo>
                    <a:pt x="582" y="396"/>
                  </a:lnTo>
                  <a:lnTo>
                    <a:pt x="582" y="384"/>
                  </a:lnTo>
                  <a:lnTo>
                    <a:pt x="582" y="372"/>
                  </a:lnTo>
                  <a:lnTo>
                    <a:pt x="564" y="372"/>
                  </a:lnTo>
                  <a:lnTo>
                    <a:pt x="552" y="366"/>
                  </a:lnTo>
                  <a:lnTo>
                    <a:pt x="552" y="372"/>
                  </a:lnTo>
                  <a:lnTo>
                    <a:pt x="498" y="372"/>
                  </a:lnTo>
                  <a:lnTo>
                    <a:pt x="498" y="366"/>
                  </a:lnTo>
                  <a:lnTo>
                    <a:pt x="474" y="360"/>
                  </a:lnTo>
                  <a:lnTo>
                    <a:pt x="456" y="354"/>
                  </a:lnTo>
                  <a:lnTo>
                    <a:pt x="438" y="348"/>
                  </a:lnTo>
                  <a:lnTo>
                    <a:pt x="426" y="354"/>
                  </a:lnTo>
                  <a:lnTo>
                    <a:pt x="408" y="360"/>
                  </a:lnTo>
                  <a:lnTo>
                    <a:pt x="378" y="360"/>
                  </a:lnTo>
                  <a:lnTo>
                    <a:pt x="378" y="354"/>
                  </a:lnTo>
                  <a:lnTo>
                    <a:pt x="378" y="348"/>
                  </a:lnTo>
                  <a:lnTo>
                    <a:pt x="378" y="342"/>
                  </a:lnTo>
                  <a:lnTo>
                    <a:pt x="390" y="330"/>
                  </a:lnTo>
                  <a:lnTo>
                    <a:pt x="396" y="312"/>
                  </a:lnTo>
                  <a:lnTo>
                    <a:pt x="396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8"/>
                  </a:lnTo>
                  <a:lnTo>
                    <a:pt x="372" y="234"/>
                  </a:lnTo>
                  <a:lnTo>
                    <a:pt x="354" y="234"/>
                  </a:lnTo>
                  <a:lnTo>
                    <a:pt x="342" y="246"/>
                  </a:lnTo>
                  <a:lnTo>
                    <a:pt x="330" y="252"/>
                  </a:lnTo>
                  <a:lnTo>
                    <a:pt x="318" y="252"/>
                  </a:lnTo>
                  <a:lnTo>
                    <a:pt x="276" y="258"/>
                  </a:lnTo>
                  <a:lnTo>
                    <a:pt x="276" y="264"/>
                  </a:lnTo>
                  <a:lnTo>
                    <a:pt x="252" y="270"/>
                  </a:lnTo>
                  <a:lnTo>
                    <a:pt x="240" y="270"/>
                  </a:lnTo>
                  <a:lnTo>
                    <a:pt x="228" y="276"/>
                  </a:lnTo>
                  <a:lnTo>
                    <a:pt x="210" y="282"/>
                  </a:lnTo>
                  <a:lnTo>
                    <a:pt x="198" y="288"/>
                  </a:lnTo>
                  <a:lnTo>
                    <a:pt x="186" y="294"/>
                  </a:lnTo>
                  <a:lnTo>
                    <a:pt x="174" y="330"/>
                  </a:lnTo>
                  <a:lnTo>
                    <a:pt x="162" y="342"/>
                  </a:lnTo>
                  <a:lnTo>
                    <a:pt x="156" y="354"/>
                  </a:lnTo>
                  <a:lnTo>
                    <a:pt x="150" y="360"/>
                  </a:lnTo>
                  <a:lnTo>
                    <a:pt x="150" y="366"/>
                  </a:lnTo>
                  <a:lnTo>
                    <a:pt x="108" y="372"/>
                  </a:lnTo>
                  <a:lnTo>
                    <a:pt x="60" y="378"/>
                  </a:lnTo>
                  <a:lnTo>
                    <a:pt x="42" y="378"/>
                  </a:lnTo>
                  <a:lnTo>
                    <a:pt x="12" y="378"/>
                  </a:lnTo>
                  <a:lnTo>
                    <a:pt x="6" y="378"/>
                  </a:lnTo>
                  <a:lnTo>
                    <a:pt x="0" y="366"/>
                  </a:lnTo>
                  <a:lnTo>
                    <a:pt x="12" y="360"/>
                  </a:lnTo>
                  <a:lnTo>
                    <a:pt x="24" y="348"/>
                  </a:lnTo>
                  <a:lnTo>
                    <a:pt x="30" y="342"/>
                  </a:lnTo>
                  <a:lnTo>
                    <a:pt x="36" y="330"/>
                  </a:lnTo>
                  <a:lnTo>
                    <a:pt x="72" y="300"/>
                  </a:lnTo>
                  <a:lnTo>
                    <a:pt x="78" y="294"/>
                  </a:lnTo>
                  <a:lnTo>
                    <a:pt x="78" y="288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96" y="270"/>
                  </a:lnTo>
                  <a:lnTo>
                    <a:pt x="102" y="264"/>
                  </a:lnTo>
                  <a:lnTo>
                    <a:pt x="108" y="258"/>
                  </a:lnTo>
                  <a:lnTo>
                    <a:pt x="114" y="246"/>
                  </a:lnTo>
                  <a:lnTo>
                    <a:pt x="120" y="240"/>
                  </a:lnTo>
                  <a:lnTo>
                    <a:pt x="126" y="234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0" y="210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86" y="174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22" y="138"/>
                  </a:lnTo>
                  <a:lnTo>
                    <a:pt x="234" y="132"/>
                  </a:lnTo>
                  <a:lnTo>
                    <a:pt x="246" y="126"/>
                  </a:lnTo>
                  <a:lnTo>
                    <a:pt x="246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88" y="102"/>
                  </a:lnTo>
                  <a:lnTo>
                    <a:pt x="300" y="96"/>
                  </a:lnTo>
                  <a:lnTo>
                    <a:pt x="306" y="90"/>
                  </a:lnTo>
                  <a:lnTo>
                    <a:pt x="318" y="90"/>
                  </a:lnTo>
                  <a:lnTo>
                    <a:pt x="324" y="84"/>
                  </a:lnTo>
                  <a:lnTo>
                    <a:pt x="348" y="72"/>
                  </a:lnTo>
                  <a:lnTo>
                    <a:pt x="354" y="72"/>
                  </a:lnTo>
                  <a:lnTo>
                    <a:pt x="384" y="66"/>
                  </a:lnTo>
                  <a:lnTo>
                    <a:pt x="390" y="66"/>
                  </a:lnTo>
                  <a:lnTo>
                    <a:pt x="396" y="66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66"/>
                  </a:lnTo>
                  <a:lnTo>
                    <a:pt x="438" y="66"/>
                  </a:lnTo>
                  <a:lnTo>
                    <a:pt x="468" y="66"/>
                  </a:lnTo>
                  <a:lnTo>
                    <a:pt x="480" y="66"/>
                  </a:lnTo>
                  <a:lnTo>
                    <a:pt x="486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22" y="60"/>
                  </a:lnTo>
                  <a:lnTo>
                    <a:pt x="534" y="54"/>
                  </a:lnTo>
                  <a:lnTo>
                    <a:pt x="564" y="42"/>
                  </a:lnTo>
                  <a:lnTo>
                    <a:pt x="570" y="42"/>
                  </a:lnTo>
                  <a:lnTo>
                    <a:pt x="582" y="36"/>
                  </a:lnTo>
                  <a:lnTo>
                    <a:pt x="588" y="36"/>
                  </a:lnTo>
                  <a:lnTo>
                    <a:pt x="600" y="30"/>
                  </a:lnTo>
                  <a:lnTo>
                    <a:pt x="606" y="30"/>
                  </a:lnTo>
                  <a:lnTo>
                    <a:pt x="618" y="24"/>
                  </a:lnTo>
                  <a:lnTo>
                    <a:pt x="642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72" y="12"/>
                  </a:lnTo>
                  <a:lnTo>
                    <a:pt x="696" y="12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50" y="6"/>
                  </a:lnTo>
                  <a:lnTo>
                    <a:pt x="768" y="6"/>
                  </a:lnTo>
                  <a:lnTo>
                    <a:pt x="774" y="6"/>
                  </a:lnTo>
                  <a:lnTo>
                    <a:pt x="786" y="6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6" y="6"/>
                  </a:lnTo>
                  <a:lnTo>
                    <a:pt x="846" y="6"/>
                  </a:lnTo>
                  <a:lnTo>
                    <a:pt x="852" y="0"/>
                  </a:lnTo>
                  <a:lnTo>
                    <a:pt x="876" y="0"/>
                  </a:lnTo>
                  <a:lnTo>
                    <a:pt x="876" y="6"/>
                  </a:lnTo>
                  <a:lnTo>
                    <a:pt x="888" y="0"/>
                  </a:lnTo>
                  <a:lnTo>
                    <a:pt x="900" y="0"/>
                  </a:lnTo>
                  <a:lnTo>
                    <a:pt x="906" y="0"/>
                  </a:lnTo>
                  <a:lnTo>
                    <a:pt x="912" y="0"/>
                  </a:lnTo>
                  <a:lnTo>
                    <a:pt x="948" y="0"/>
                  </a:lnTo>
                  <a:lnTo>
                    <a:pt x="954" y="0"/>
                  </a:lnTo>
                  <a:lnTo>
                    <a:pt x="972" y="0"/>
                  </a:lnTo>
                  <a:lnTo>
                    <a:pt x="978" y="0"/>
                  </a:lnTo>
                  <a:lnTo>
                    <a:pt x="996" y="0"/>
                  </a:lnTo>
                  <a:lnTo>
                    <a:pt x="1032" y="0"/>
                  </a:lnTo>
                  <a:lnTo>
                    <a:pt x="1044" y="0"/>
                  </a:lnTo>
                  <a:lnTo>
                    <a:pt x="1050" y="0"/>
                  </a:lnTo>
                  <a:lnTo>
                    <a:pt x="1056" y="6"/>
                  </a:lnTo>
                  <a:lnTo>
                    <a:pt x="1056" y="0"/>
                  </a:lnTo>
                  <a:lnTo>
                    <a:pt x="1074" y="0"/>
                  </a:lnTo>
                  <a:lnTo>
                    <a:pt x="1098" y="6"/>
                  </a:lnTo>
                  <a:lnTo>
                    <a:pt x="1116" y="6"/>
                  </a:lnTo>
                  <a:lnTo>
                    <a:pt x="1140" y="12"/>
                  </a:lnTo>
                  <a:lnTo>
                    <a:pt x="1152" y="12"/>
                  </a:lnTo>
                  <a:lnTo>
                    <a:pt x="1158" y="12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6" y="12"/>
                  </a:lnTo>
                  <a:lnTo>
                    <a:pt x="1194" y="18"/>
                  </a:lnTo>
                  <a:lnTo>
                    <a:pt x="1206" y="18"/>
                  </a:lnTo>
                  <a:lnTo>
                    <a:pt x="1242" y="36"/>
                  </a:lnTo>
                  <a:lnTo>
                    <a:pt x="1248" y="36"/>
                  </a:lnTo>
                  <a:lnTo>
                    <a:pt x="1254" y="36"/>
                  </a:lnTo>
                  <a:lnTo>
                    <a:pt x="1260" y="42"/>
                  </a:lnTo>
                  <a:lnTo>
                    <a:pt x="1272" y="48"/>
                  </a:lnTo>
                  <a:lnTo>
                    <a:pt x="1278" y="48"/>
                  </a:lnTo>
                  <a:lnTo>
                    <a:pt x="1284" y="48"/>
                  </a:lnTo>
                  <a:lnTo>
                    <a:pt x="1290" y="54"/>
                  </a:lnTo>
                  <a:lnTo>
                    <a:pt x="1308" y="60"/>
                  </a:lnTo>
                  <a:lnTo>
                    <a:pt x="1326" y="60"/>
                  </a:lnTo>
                  <a:lnTo>
                    <a:pt x="1338" y="66"/>
                  </a:lnTo>
                  <a:lnTo>
                    <a:pt x="1344" y="66"/>
                  </a:lnTo>
                  <a:lnTo>
                    <a:pt x="1350" y="66"/>
                  </a:lnTo>
                  <a:lnTo>
                    <a:pt x="1356" y="66"/>
                  </a:lnTo>
                  <a:lnTo>
                    <a:pt x="1362" y="72"/>
                  </a:lnTo>
                  <a:lnTo>
                    <a:pt x="1368" y="72"/>
                  </a:lnTo>
                  <a:lnTo>
                    <a:pt x="1380" y="72"/>
                  </a:lnTo>
                  <a:lnTo>
                    <a:pt x="1386" y="72"/>
                  </a:lnTo>
                  <a:lnTo>
                    <a:pt x="1422" y="84"/>
                  </a:lnTo>
                  <a:lnTo>
                    <a:pt x="1428" y="84"/>
                  </a:lnTo>
                  <a:lnTo>
                    <a:pt x="1446" y="90"/>
                  </a:lnTo>
                  <a:lnTo>
                    <a:pt x="1458" y="102"/>
                  </a:lnTo>
                  <a:lnTo>
                    <a:pt x="1494" y="126"/>
                  </a:lnTo>
                  <a:lnTo>
                    <a:pt x="1500" y="132"/>
                  </a:lnTo>
                  <a:lnTo>
                    <a:pt x="1512" y="138"/>
                  </a:lnTo>
                  <a:lnTo>
                    <a:pt x="1512" y="144"/>
                  </a:lnTo>
                  <a:lnTo>
                    <a:pt x="1518" y="150"/>
                  </a:lnTo>
                  <a:lnTo>
                    <a:pt x="1530" y="156"/>
                  </a:lnTo>
                  <a:lnTo>
                    <a:pt x="1530" y="162"/>
                  </a:lnTo>
                  <a:lnTo>
                    <a:pt x="1548" y="168"/>
                  </a:lnTo>
                  <a:lnTo>
                    <a:pt x="1566" y="180"/>
                  </a:lnTo>
                  <a:lnTo>
                    <a:pt x="1578" y="186"/>
                  </a:lnTo>
                  <a:lnTo>
                    <a:pt x="1578" y="180"/>
                  </a:lnTo>
                  <a:lnTo>
                    <a:pt x="1584" y="186"/>
                  </a:lnTo>
                  <a:lnTo>
                    <a:pt x="1584" y="174"/>
                  </a:lnTo>
                  <a:lnTo>
                    <a:pt x="1590" y="174"/>
                  </a:lnTo>
                  <a:lnTo>
                    <a:pt x="1590" y="180"/>
                  </a:lnTo>
                  <a:lnTo>
                    <a:pt x="1596" y="180"/>
                  </a:lnTo>
                  <a:lnTo>
                    <a:pt x="1596" y="174"/>
                  </a:lnTo>
                  <a:lnTo>
                    <a:pt x="1602" y="174"/>
                  </a:lnTo>
                  <a:lnTo>
                    <a:pt x="1608" y="174"/>
                  </a:lnTo>
                  <a:lnTo>
                    <a:pt x="1614" y="180"/>
                  </a:lnTo>
                  <a:lnTo>
                    <a:pt x="1620" y="174"/>
                  </a:lnTo>
                  <a:lnTo>
                    <a:pt x="1614" y="168"/>
                  </a:lnTo>
                  <a:lnTo>
                    <a:pt x="1614" y="162"/>
                  </a:lnTo>
                  <a:lnTo>
                    <a:pt x="1620" y="162"/>
                  </a:lnTo>
                  <a:lnTo>
                    <a:pt x="1626" y="162"/>
                  </a:lnTo>
                  <a:lnTo>
                    <a:pt x="1632" y="162"/>
                  </a:lnTo>
                  <a:lnTo>
                    <a:pt x="1638" y="168"/>
                  </a:lnTo>
                  <a:lnTo>
                    <a:pt x="1644" y="168"/>
                  </a:lnTo>
                  <a:lnTo>
                    <a:pt x="1650" y="174"/>
                  </a:lnTo>
                  <a:lnTo>
                    <a:pt x="1656" y="168"/>
                  </a:lnTo>
                  <a:lnTo>
                    <a:pt x="1668" y="168"/>
                  </a:lnTo>
                  <a:lnTo>
                    <a:pt x="1674" y="174"/>
                  </a:lnTo>
                  <a:lnTo>
                    <a:pt x="1674" y="180"/>
                  </a:lnTo>
                  <a:lnTo>
                    <a:pt x="1674" y="186"/>
                  </a:lnTo>
                  <a:lnTo>
                    <a:pt x="1680" y="186"/>
                  </a:lnTo>
                  <a:lnTo>
                    <a:pt x="1680" y="192"/>
                  </a:lnTo>
                  <a:lnTo>
                    <a:pt x="1686" y="192"/>
                  </a:lnTo>
                  <a:lnTo>
                    <a:pt x="1686" y="186"/>
                  </a:lnTo>
                  <a:lnTo>
                    <a:pt x="1680" y="186"/>
                  </a:lnTo>
                  <a:lnTo>
                    <a:pt x="1686" y="180"/>
                  </a:lnTo>
                  <a:lnTo>
                    <a:pt x="1692" y="180"/>
                  </a:lnTo>
                  <a:lnTo>
                    <a:pt x="1698" y="180"/>
                  </a:lnTo>
                  <a:lnTo>
                    <a:pt x="1704" y="180"/>
                  </a:lnTo>
                  <a:lnTo>
                    <a:pt x="1704" y="186"/>
                  </a:lnTo>
                  <a:lnTo>
                    <a:pt x="1710" y="186"/>
                  </a:lnTo>
                  <a:lnTo>
                    <a:pt x="1716" y="186"/>
                  </a:lnTo>
                  <a:lnTo>
                    <a:pt x="1716" y="192"/>
                  </a:lnTo>
                  <a:lnTo>
                    <a:pt x="1716" y="198"/>
                  </a:lnTo>
                  <a:lnTo>
                    <a:pt x="1722" y="192"/>
                  </a:lnTo>
                  <a:lnTo>
                    <a:pt x="1722" y="186"/>
                  </a:lnTo>
                  <a:lnTo>
                    <a:pt x="1728" y="192"/>
                  </a:lnTo>
                  <a:lnTo>
                    <a:pt x="1734" y="192"/>
                  </a:lnTo>
                  <a:lnTo>
                    <a:pt x="1734" y="186"/>
                  </a:lnTo>
                  <a:lnTo>
                    <a:pt x="1740" y="186"/>
                  </a:lnTo>
                  <a:lnTo>
                    <a:pt x="1740" y="192"/>
                  </a:lnTo>
                  <a:lnTo>
                    <a:pt x="1746" y="192"/>
                  </a:lnTo>
                  <a:lnTo>
                    <a:pt x="1758" y="192"/>
                  </a:lnTo>
                  <a:lnTo>
                    <a:pt x="1764" y="192"/>
                  </a:lnTo>
                  <a:lnTo>
                    <a:pt x="1764" y="198"/>
                  </a:lnTo>
                  <a:lnTo>
                    <a:pt x="1758" y="204"/>
                  </a:lnTo>
                  <a:lnTo>
                    <a:pt x="1752" y="210"/>
                  </a:lnTo>
                  <a:lnTo>
                    <a:pt x="1746" y="216"/>
                  </a:lnTo>
                  <a:lnTo>
                    <a:pt x="1746" y="222"/>
                  </a:lnTo>
                  <a:lnTo>
                    <a:pt x="1734" y="228"/>
                  </a:lnTo>
                  <a:lnTo>
                    <a:pt x="1734" y="234"/>
                  </a:lnTo>
                  <a:lnTo>
                    <a:pt x="1734" y="258"/>
                  </a:lnTo>
                  <a:lnTo>
                    <a:pt x="1740" y="330"/>
                  </a:lnTo>
                  <a:lnTo>
                    <a:pt x="1746" y="372"/>
                  </a:lnTo>
                  <a:lnTo>
                    <a:pt x="1788" y="426"/>
                  </a:lnTo>
                  <a:lnTo>
                    <a:pt x="1806" y="438"/>
                  </a:lnTo>
                  <a:lnTo>
                    <a:pt x="1794" y="480"/>
                  </a:lnTo>
                  <a:lnTo>
                    <a:pt x="1770" y="516"/>
                  </a:lnTo>
                  <a:lnTo>
                    <a:pt x="1746" y="546"/>
                  </a:lnTo>
                  <a:lnTo>
                    <a:pt x="1716" y="570"/>
                  </a:lnTo>
                  <a:lnTo>
                    <a:pt x="1680" y="594"/>
                  </a:lnTo>
                  <a:lnTo>
                    <a:pt x="1668" y="630"/>
                  </a:lnTo>
                  <a:lnTo>
                    <a:pt x="1680" y="684"/>
                  </a:lnTo>
                  <a:lnTo>
                    <a:pt x="1686" y="756"/>
                  </a:lnTo>
                  <a:lnTo>
                    <a:pt x="1662" y="870"/>
                  </a:lnTo>
                  <a:lnTo>
                    <a:pt x="1656" y="888"/>
                  </a:lnTo>
                  <a:lnTo>
                    <a:pt x="1650" y="972"/>
                  </a:lnTo>
                  <a:lnTo>
                    <a:pt x="1656" y="978"/>
                  </a:lnTo>
                  <a:lnTo>
                    <a:pt x="1650" y="984"/>
                  </a:lnTo>
                  <a:lnTo>
                    <a:pt x="1650" y="990"/>
                  </a:lnTo>
                  <a:lnTo>
                    <a:pt x="1650" y="1002"/>
                  </a:lnTo>
                  <a:lnTo>
                    <a:pt x="1656" y="1008"/>
                  </a:lnTo>
                  <a:lnTo>
                    <a:pt x="1656" y="1014"/>
                  </a:lnTo>
                  <a:lnTo>
                    <a:pt x="1662" y="1026"/>
                  </a:lnTo>
                  <a:lnTo>
                    <a:pt x="1650" y="1032"/>
                  </a:lnTo>
                  <a:lnTo>
                    <a:pt x="1638" y="1044"/>
                  </a:lnTo>
                  <a:lnTo>
                    <a:pt x="1626" y="1080"/>
                  </a:lnTo>
                  <a:lnTo>
                    <a:pt x="1614" y="1116"/>
                  </a:lnTo>
                  <a:lnTo>
                    <a:pt x="1614" y="1128"/>
                  </a:lnTo>
                  <a:lnTo>
                    <a:pt x="1626" y="1134"/>
                  </a:lnTo>
                  <a:lnTo>
                    <a:pt x="1644" y="1134"/>
                  </a:lnTo>
                  <a:lnTo>
                    <a:pt x="1662" y="1134"/>
                  </a:lnTo>
                  <a:lnTo>
                    <a:pt x="1680" y="1140"/>
                  </a:lnTo>
                  <a:lnTo>
                    <a:pt x="1698" y="1170"/>
                  </a:lnTo>
                  <a:lnTo>
                    <a:pt x="1704" y="1194"/>
                  </a:lnTo>
                  <a:lnTo>
                    <a:pt x="1692" y="1206"/>
                  </a:lnTo>
                  <a:lnTo>
                    <a:pt x="1662" y="1242"/>
                  </a:lnTo>
                  <a:lnTo>
                    <a:pt x="1632" y="1266"/>
                  </a:lnTo>
                  <a:lnTo>
                    <a:pt x="1620" y="1314"/>
                  </a:lnTo>
                  <a:lnTo>
                    <a:pt x="1584" y="1356"/>
                  </a:lnTo>
                  <a:lnTo>
                    <a:pt x="1578" y="1356"/>
                  </a:lnTo>
                  <a:lnTo>
                    <a:pt x="1578" y="1362"/>
                  </a:lnTo>
                  <a:lnTo>
                    <a:pt x="1572" y="1410"/>
                  </a:lnTo>
                  <a:lnTo>
                    <a:pt x="1584" y="1452"/>
                  </a:lnTo>
                  <a:lnTo>
                    <a:pt x="1608" y="1476"/>
                  </a:lnTo>
                  <a:lnTo>
                    <a:pt x="1596" y="1476"/>
                  </a:lnTo>
                  <a:lnTo>
                    <a:pt x="1584" y="1482"/>
                  </a:lnTo>
                  <a:lnTo>
                    <a:pt x="1560" y="1482"/>
                  </a:lnTo>
                  <a:lnTo>
                    <a:pt x="1536" y="1482"/>
                  </a:lnTo>
                  <a:lnTo>
                    <a:pt x="1524" y="1482"/>
                  </a:lnTo>
                  <a:lnTo>
                    <a:pt x="1506" y="1500"/>
                  </a:lnTo>
                  <a:lnTo>
                    <a:pt x="1482" y="1530"/>
                  </a:lnTo>
                  <a:lnTo>
                    <a:pt x="1452" y="1542"/>
                  </a:lnTo>
                  <a:lnTo>
                    <a:pt x="1446" y="1542"/>
                  </a:lnTo>
                  <a:lnTo>
                    <a:pt x="1440" y="1542"/>
                  </a:lnTo>
                  <a:lnTo>
                    <a:pt x="1440" y="1548"/>
                  </a:lnTo>
                  <a:lnTo>
                    <a:pt x="1434" y="1548"/>
                  </a:lnTo>
                  <a:lnTo>
                    <a:pt x="1428" y="1548"/>
                  </a:lnTo>
                  <a:lnTo>
                    <a:pt x="1428" y="1554"/>
                  </a:lnTo>
                  <a:lnTo>
                    <a:pt x="1422" y="1560"/>
                  </a:lnTo>
                  <a:lnTo>
                    <a:pt x="1416" y="1560"/>
                  </a:lnTo>
                  <a:lnTo>
                    <a:pt x="1410" y="1566"/>
                  </a:lnTo>
                  <a:lnTo>
                    <a:pt x="1410" y="1560"/>
                  </a:lnTo>
                  <a:lnTo>
                    <a:pt x="1404" y="1560"/>
                  </a:lnTo>
                  <a:lnTo>
                    <a:pt x="1392" y="1560"/>
                  </a:lnTo>
                  <a:lnTo>
                    <a:pt x="1386" y="1560"/>
                  </a:lnTo>
                  <a:lnTo>
                    <a:pt x="1380" y="1566"/>
                  </a:lnTo>
                  <a:lnTo>
                    <a:pt x="1374" y="1560"/>
                  </a:lnTo>
                  <a:lnTo>
                    <a:pt x="1368" y="1566"/>
                  </a:lnTo>
                  <a:lnTo>
                    <a:pt x="1362" y="1566"/>
                  </a:lnTo>
                  <a:lnTo>
                    <a:pt x="1362" y="1572"/>
                  </a:lnTo>
                  <a:lnTo>
                    <a:pt x="1356" y="1572"/>
                  </a:lnTo>
                  <a:lnTo>
                    <a:pt x="1356" y="1578"/>
                  </a:lnTo>
                  <a:lnTo>
                    <a:pt x="1350" y="1578"/>
                  </a:lnTo>
                  <a:lnTo>
                    <a:pt x="1350" y="1572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32" y="1584"/>
                  </a:lnTo>
                  <a:lnTo>
                    <a:pt x="1326" y="1590"/>
                  </a:lnTo>
                  <a:lnTo>
                    <a:pt x="1320" y="1584"/>
                  </a:lnTo>
                  <a:lnTo>
                    <a:pt x="1314" y="1590"/>
                  </a:lnTo>
                  <a:lnTo>
                    <a:pt x="1308" y="1596"/>
                  </a:lnTo>
                  <a:lnTo>
                    <a:pt x="1302" y="1596"/>
                  </a:lnTo>
                  <a:lnTo>
                    <a:pt x="1296" y="1596"/>
                  </a:lnTo>
                  <a:lnTo>
                    <a:pt x="1290" y="1596"/>
                  </a:lnTo>
                  <a:lnTo>
                    <a:pt x="1284" y="1596"/>
                  </a:lnTo>
                  <a:lnTo>
                    <a:pt x="1278" y="1602"/>
                  </a:lnTo>
                  <a:lnTo>
                    <a:pt x="1266" y="1602"/>
                  </a:lnTo>
                  <a:lnTo>
                    <a:pt x="1272" y="1608"/>
                  </a:lnTo>
                  <a:lnTo>
                    <a:pt x="1278" y="1608"/>
                  </a:lnTo>
                  <a:lnTo>
                    <a:pt x="1284" y="1608"/>
                  </a:lnTo>
                  <a:lnTo>
                    <a:pt x="1290" y="1614"/>
                  </a:lnTo>
                  <a:lnTo>
                    <a:pt x="1296" y="1620"/>
                  </a:lnTo>
                  <a:lnTo>
                    <a:pt x="1302" y="1626"/>
                  </a:lnTo>
                  <a:lnTo>
                    <a:pt x="1308" y="1632"/>
                  </a:lnTo>
                  <a:lnTo>
                    <a:pt x="1314" y="1638"/>
                  </a:lnTo>
                  <a:lnTo>
                    <a:pt x="1314" y="1644"/>
                  </a:lnTo>
                  <a:lnTo>
                    <a:pt x="1320" y="1644"/>
                  </a:lnTo>
                  <a:lnTo>
                    <a:pt x="1320" y="1650"/>
                  </a:lnTo>
                  <a:lnTo>
                    <a:pt x="1326" y="1656"/>
                  </a:lnTo>
                  <a:lnTo>
                    <a:pt x="1332" y="1668"/>
                  </a:lnTo>
                  <a:lnTo>
                    <a:pt x="1338" y="1680"/>
                  </a:lnTo>
                  <a:lnTo>
                    <a:pt x="1338" y="1698"/>
                  </a:lnTo>
                  <a:lnTo>
                    <a:pt x="1350" y="1710"/>
                  </a:lnTo>
                  <a:lnTo>
                    <a:pt x="1350" y="1716"/>
                  </a:lnTo>
                  <a:lnTo>
                    <a:pt x="1350" y="1722"/>
                  </a:lnTo>
                  <a:lnTo>
                    <a:pt x="1350" y="1728"/>
                  </a:lnTo>
                  <a:lnTo>
                    <a:pt x="1356" y="1728"/>
                  </a:lnTo>
                  <a:lnTo>
                    <a:pt x="1356" y="1734"/>
                  </a:lnTo>
                  <a:lnTo>
                    <a:pt x="1350" y="1734"/>
                  </a:lnTo>
                  <a:lnTo>
                    <a:pt x="1344" y="1740"/>
                  </a:lnTo>
                  <a:lnTo>
                    <a:pt x="1338" y="1740"/>
                  </a:lnTo>
                  <a:lnTo>
                    <a:pt x="1332" y="1746"/>
                  </a:lnTo>
                  <a:lnTo>
                    <a:pt x="1326" y="1746"/>
                  </a:lnTo>
                  <a:lnTo>
                    <a:pt x="1326" y="1752"/>
                  </a:lnTo>
                  <a:lnTo>
                    <a:pt x="1320" y="1752"/>
                  </a:lnTo>
                  <a:lnTo>
                    <a:pt x="1320" y="1758"/>
                  </a:lnTo>
                  <a:lnTo>
                    <a:pt x="1314" y="1758"/>
                  </a:lnTo>
                  <a:lnTo>
                    <a:pt x="1308" y="1758"/>
                  </a:lnTo>
                  <a:lnTo>
                    <a:pt x="1302" y="1758"/>
                  </a:lnTo>
                  <a:lnTo>
                    <a:pt x="1296" y="1758"/>
                  </a:lnTo>
                  <a:lnTo>
                    <a:pt x="1290" y="1764"/>
                  </a:lnTo>
                  <a:lnTo>
                    <a:pt x="1284" y="1770"/>
                  </a:lnTo>
                  <a:lnTo>
                    <a:pt x="1278" y="1770"/>
                  </a:lnTo>
                  <a:lnTo>
                    <a:pt x="1272" y="1770"/>
                  </a:lnTo>
                  <a:lnTo>
                    <a:pt x="1266" y="1770"/>
                  </a:lnTo>
                  <a:lnTo>
                    <a:pt x="1266" y="1776"/>
                  </a:lnTo>
                  <a:lnTo>
                    <a:pt x="1260" y="1776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4" name="Freeform 39">
              <a:extLst>
                <a:ext uri="{FF2B5EF4-FFF2-40B4-BE49-F238E27FC236}">
                  <a16:creationId xmlns:a16="http://schemas.microsoft.com/office/drawing/2014/main" id="{E01CDA8B-32C7-421A-B23E-968CAC7F78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2974" y="1759680"/>
              <a:ext cx="825155" cy="700024"/>
            </a:xfrm>
            <a:custGeom>
              <a:avLst/>
              <a:gdLst>
                <a:gd name="T0" fmla="*/ 60 w 1554"/>
                <a:gd name="T1" fmla="*/ 86 h 1320"/>
                <a:gd name="T2" fmla="*/ 66 w 1554"/>
                <a:gd name="T3" fmla="*/ 80 h 1320"/>
                <a:gd name="T4" fmla="*/ 61 w 1554"/>
                <a:gd name="T5" fmla="*/ 73 h 1320"/>
                <a:gd name="T6" fmla="*/ 57 w 1554"/>
                <a:gd name="T7" fmla="*/ 67 h 1320"/>
                <a:gd name="T8" fmla="*/ 60 w 1554"/>
                <a:gd name="T9" fmla="*/ 59 h 1320"/>
                <a:gd name="T10" fmla="*/ 56 w 1554"/>
                <a:gd name="T11" fmla="*/ 55 h 1320"/>
                <a:gd name="T12" fmla="*/ 45 w 1554"/>
                <a:gd name="T13" fmla="*/ 53 h 1320"/>
                <a:gd name="T14" fmla="*/ 42 w 1554"/>
                <a:gd name="T15" fmla="*/ 41 h 1320"/>
                <a:gd name="T16" fmla="*/ 37 w 1554"/>
                <a:gd name="T17" fmla="*/ 39 h 1320"/>
                <a:gd name="T18" fmla="*/ 31 w 1554"/>
                <a:gd name="T19" fmla="*/ 44 h 1320"/>
                <a:gd name="T20" fmla="*/ 37 w 1554"/>
                <a:gd name="T21" fmla="*/ 35 h 1320"/>
                <a:gd name="T22" fmla="*/ 30 w 1554"/>
                <a:gd name="T23" fmla="*/ 23 h 1320"/>
                <a:gd name="T24" fmla="*/ 21 w 1554"/>
                <a:gd name="T25" fmla="*/ 23 h 1320"/>
                <a:gd name="T26" fmla="*/ 15 w 1554"/>
                <a:gd name="T27" fmla="*/ 27 h 1320"/>
                <a:gd name="T28" fmla="*/ 11 w 1554"/>
                <a:gd name="T29" fmla="*/ 32 h 1320"/>
                <a:gd name="T30" fmla="*/ 6 w 1554"/>
                <a:gd name="T31" fmla="*/ 22 h 1320"/>
                <a:gd name="T32" fmla="*/ 3 w 1554"/>
                <a:gd name="T33" fmla="*/ 11 h 1320"/>
                <a:gd name="T34" fmla="*/ 24 w 1554"/>
                <a:gd name="T35" fmla="*/ 12 h 1320"/>
                <a:gd name="T36" fmla="*/ 33 w 1554"/>
                <a:gd name="T37" fmla="*/ 19 h 1320"/>
                <a:gd name="T38" fmla="*/ 49 w 1554"/>
                <a:gd name="T39" fmla="*/ 12 h 1320"/>
                <a:gd name="T40" fmla="*/ 58 w 1554"/>
                <a:gd name="T41" fmla="*/ 10 h 1320"/>
                <a:gd name="T42" fmla="*/ 68 w 1554"/>
                <a:gd name="T43" fmla="*/ 11 h 1320"/>
                <a:gd name="T44" fmla="*/ 79 w 1554"/>
                <a:gd name="T45" fmla="*/ 12 h 1320"/>
                <a:gd name="T46" fmla="*/ 96 w 1554"/>
                <a:gd name="T47" fmla="*/ 11 h 1320"/>
                <a:gd name="T48" fmla="*/ 107 w 1554"/>
                <a:gd name="T49" fmla="*/ 2 h 1320"/>
                <a:gd name="T50" fmla="*/ 117 w 1554"/>
                <a:gd name="T51" fmla="*/ 8 h 1320"/>
                <a:gd name="T52" fmla="*/ 126 w 1554"/>
                <a:gd name="T53" fmla="*/ 12 h 1320"/>
                <a:gd name="T54" fmla="*/ 134 w 1554"/>
                <a:gd name="T55" fmla="*/ 24 h 1320"/>
                <a:gd name="T56" fmla="*/ 133 w 1554"/>
                <a:gd name="T57" fmla="*/ 29 h 1320"/>
                <a:gd name="T58" fmla="*/ 129 w 1554"/>
                <a:gd name="T59" fmla="*/ 31 h 1320"/>
                <a:gd name="T60" fmla="*/ 125 w 1554"/>
                <a:gd name="T61" fmla="*/ 32 h 1320"/>
                <a:gd name="T62" fmla="*/ 115 w 1554"/>
                <a:gd name="T63" fmla="*/ 34 h 1320"/>
                <a:gd name="T64" fmla="*/ 113 w 1554"/>
                <a:gd name="T65" fmla="*/ 44 h 1320"/>
                <a:gd name="T66" fmla="*/ 111 w 1554"/>
                <a:gd name="T67" fmla="*/ 54 h 1320"/>
                <a:gd name="T68" fmla="*/ 107 w 1554"/>
                <a:gd name="T69" fmla="*/ 56 h 1320"/>
                <a:gd name="T70" fmla="*/ 102 w 1554"/>
                <a:gd name="T71" fmla="*/ 58 h 1320"/>
                <a:gd name="T72" fmla="*/ 99 w 1554"/>
                <a:gd name="T73" fmla="*/ 60 h 1320"/>
                <a:gd name="T74" fmla="*/ 93 w 1554"/>
                <a:gd name="T75" fmla="*/ 62 h 1320"/>
                <a:gd name="T76" fmla="*/ 87 w 1554"/>
                <a:gd name="T77" fmla="*/ 64 h 1320"/>
                <a:gd name="T78" fmla="*/ 84 w 1554"/>
                <a:gd name="T79" fmla="*/ 65 h 1320"/>
                <a:gd name="T80" fmla="*/ 81 w 1554"/>
                <a:gd name="T81" fmla="*/ 69 h 1320"/>
                <a:gd name="T82" fmla="*/ 83 w 1554"/>
                <a:gd name="T83" fmla="*/ 72 h 1320"/>
                <a:gd name="T84" fmla="*/ 92 w 1554"/>
                <a:gd name="T85" fmla="*/ 73 h 1320"/>
                <a:gd name="T86" fmla="*/ 93 w 1554"/>
                <a:gd name="T87" fmla="*/ 87 h 1320"/>
                <a:gd name="T88" fmla="*/ 104 w 1554"/>
                <a:gd name="T89" fmla="*/ 98 h 1320"/>
                <a:gd name="T90" fmla="*/ 108 w 1554"/>
                <a:gd name="T91" fmla="*/ 98 h 1320"/>
                <a:gd name="T92" fmla="*/ 112 w 1554"/>
                <a:gd name="T93" fmla="*/ 100 h 1320"/>
                <a:gd name="T94" fmla="*/ 118 w 1554"/>
                <a:gd name="T95" fmla="*/ 100 h 1320"/>
                <a:gd name="T96" fmla="*/ 122 w 1554"/>
                <a:gd name="T97" fmla="*/ 102 h 1320"/>
                <a:gd name="T98" fmla="*/ 118 w 1554"/>
                <a:gd name="T99" fmla="*/ 105 h 1320"/>
                <a:gd name="T100" fmla="*/ 114 w 1554"/>
                <a:gd name="T101" fmla="*/ 107 h 1320"/>
                <a:gd name="T102" fmla="*/ 113 w 1554"/>
                <a:gd name="T103" fmla="*/ 113 h 1320"/>
                <a:gd name="T104" fmla="*/ 104 w 1554"/>
                <a:gd name="T105" fmla="*/ 113 h 1320"/>
                <a:gd name="T106" fmla="*/ 93 w 1554"/>
                <a:gd name="T107" fmla="*/ 109 h 1320"/>
                <a:gd name="T108" fmla="*/ 96 w 1554"/>
                <a:gd name="T109" fmla="*/ 103 h 1320"/>
                <a:gd name="T110" fmla="*/ 95 w 1554"/>
                <a:gd name="T111" fmla="*/ 97 h 1320"/>
                <a:gd name="T112" fmla="*/ 87 w 1554"/>
                <a:gd name="T113" fmla="*/ 98 h 1320"/>
                <a:gd name="T114" fmla="*/ 81 w 1554"/>
                <a:gd name="T115" fmla="*/ 98 h 1320"/>
                <a:gd name="T116" fmla="*/ 78 w 1554"/>
                <a:gd name="T117" fmla="*/ 93 h 1320"/>
                <a:gd name="T118" fmla="*/ 65 w 1554"/>
                <a:gd name="T119" fmla="*/ 92 h 1320"/>
                <a:gd name="T120" fmla="*/ 59 w 1554"/>
                <a:gd name="T121" fmla="*/ 92 h 13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54"/>
                <a:gd name="T184" fmla="*/ 0 h 1320"/>
                <a:gd name="T185" fmla="*/ 1554 w 1554"/>
                <a:gd name="T186" fmla="*/ 1320 h 132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54" h="1320">
                  <a:moveTo>
                    <a:pt x="684" y="1068"/>
                  </a:moveTo>
                  <a:lnTo>
                    <a:pt x="684" y="1062"/>
                  </a:lnTo>
                  <a:lnTo>
                    <a:pt x="690" y="1056"/>
                  </a:lnTo>
                  <a:lnTo>
                    <a:pt x="690" y="1050"/>
                  </a:lnTo>
                  <a:lnTo>
                    <a:pt x="690" y="1044"/>
                  </a:lnTo>
                  <a:lnTo>
                    <a:pt x="690" y="1038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14"/>
                  </a:lnTo>
                  <a:lnTo>
                    <a:pt x="690" y="1008"/>
                  </a:lnTo>
                  <a:lnTo>
                    <a:pt x="696" y="996"/>
                  </a:lnTo>
                  <a:lnTo>
                    <a:pt x="714" y="996"/>
                  </a:lnTo>
                  <a:lnTo>
                    <a:pt x="714" y="990"/>
                  </a:lnTo>
                  <a:lnTo>
                    <a:pt x="732" y="984"/>
                  </a:lnTo>
                  <a:lnTo>
                    <a:pt x="744" y="978"/>
                  </a:lnTo>
                  <a:lnTo>
                    <a:pt x="762" y="966"/>
                  </a:lnTo>
                  <a:lnTo>
                    <a:pt x="762" y="960"/>
                  </a:lnTo>
                  <a:lnTo>
                    <a:pt x="768" y="954"/>
                  </a:lnTo>
                  <a:lnTo>
                    <a:pt x="774" y="948"/>
                  </a:lnTo>
                  <a:lnTo>
                    <a:pt x="774" y="942"/>
                  </a:lnTo>
                  <a:lnTo>
                    <a:pt x="774" y="924"/>
                  </a:lnTo>
                  <a:lnTo>
                    <a:pt x="768" y="918"/>
                  </a:lnTo>
                  <a:lnTo>
                    <a:pt x="756" y="918"/>
                  </a:lnTo>
                  <a:lnTo>
                    <a:pt x="744" y="918"/>
                  </a:lnTo>
                  <a:lnTo>
                    <a:pt x="732" y="924"/>
                  </a:lnTo>
                  <a:lnTo>
                    <a:pt x="726" y="912"/>
                  </a:lnTo>
                  <a:lnTo>
                    <a:pt x="720" y="912"/>
                  </a:lnTo>
                  <a:lnTo>
                    <a:pt x="720" y="900"/>
                  </a:lnTo>
                  <a:lnTo>
                    <a:pt x="720" y="870"/>
                  </a:lnTo>
                  <a:lnTo>
                    <a:pt x="696" y="876"/>
                  </a:lnTo>
                  <a:lnTo>
                    <a:pt x="690" y="852"/>
                  </a:lnTo>
                  <a:lnTo>
                    <a:pt x="702" y="852"/>
                  </a:lnTo>
                  <a:lnTo>
                    <a:pt x="702" y="840"/>
                  </a:lnTo>
                  <a:lnTo>
                    <a:pt x="708" y="834"/>
                  </a:lnTo>
                  <a:lnTo>
                    <a:pt x="702" y="822"/>
                  </a:lnTo>
                  <a:lnTo>
                    <a:pt x="660" y="822"/>
                  </a:lnTo>
                  <a:lnTo>
                    <a:pt x="654" y="822"/>
                  </a:lnTo>
                  <a:lnTo>
                    <a:pt x="642" y="822"/>
                  </a:lnTo>
                  <a:lnTo>
                    <a:pt x="642" y="810"/>
                  </a:lnTo>
                  <a:lnTo>
                    <a:pt x="642" y="798"/>
                  </a:lnTo>
                  <a:lnTo>
                    <a:pt x="642" y="792"/>
                  </a:lnTo>
                  <a:lnTo>
                    <a:pt x="648" y="780"/>
                  </a:lnTo>
                  <a:lnTo>
                    <a:pt x="654" y="774"/>
                  </a:lnTo>
                  <a:lnTo>
                    <a:pt x="660" y="774"/>
                  </a:lnTo>
                  <a:lnTo>
                    <a:pt x="672" y="762"/>
                  </a:lnTo>
                  <a:lnTo>
                    <a:pt x="672" y="756"/>
                  </a:lnTo>
                  <a:lnTo>
                    <a:pt x="678" y="750"/>
                  </a:lnTo>
                  <a:lnTo>
                    <a:pt x="684" y="750"/>
                  </a:lnTo>
                  <a:lnTo>
                    <a:pt x="690" y="744"/>
                  </a:lnTo>
                  <a:lnTo>
                    <a:pt x="696" y="732"/>
                  </a:lnTo>
                  <a:lnTo>
                    <a:pt x="696" y="726"/>
                  </a:lnTo>
                  <a:lnTo>
                    <a:pt x="702" y="714"/>
                  </a:lnTo>
                  <a:lnTo>
                    <a:pt x="696" y="708"/>
                  </a:lnTo>
                  <a:lnTo>
                    <a:pt x="690" y="690"/>
                  </a:lnTo>
                  <a:lnTo>
                    <a:pt x="696" y="678"/>
                  </a:lnTo>
                  <a:lnTo>
                    <a:pt x="708" y="672"/>
                  </a:lnTo>
                  <a:lnTo>
                    <a:pt x="708" y="660"/>
                  </a:lnTo>
                  <a:lnTo>
                    <a:pt x="702" y="660"/>
                  </a:lnTo>
                  <a:lnTo>
                    <a:pt x="696" y="660"/>
                  </a:lnTo>
                  <a:lnTo>
                    <a:pt x="690" y="654"/>
                  </a:lnTo>
                  <a:lnTo>
                    <a:pt x="684" y="654"/>
                  </a:lnTo>
                  <a:lnTo>
                    <a:pt x="690" y="606"/>
                  </a:lnTo>
                  <a:lnTo>
                    <a:pt x="660" y="606"/>
                  </a:lnTo>
                  <a:lnTo>
                    <a:pt x="660" y="612"/>
                  </a:lnTo>
                  <a:lnTo>
                    <a:pt x="648" y="612"/>
                  </a:lnTo>
                  <a:lnTo>
                    <a:pt x="642" y="636"/>
                  </a:lnTo>
                  <a:lnTo>
                    <a:pt x="636" y="636"/>
                  </a:lnTo>
                  <a:lnTo>
                    <a:pt x="630" y="648"/>
                  </a:lnTo>
                  <a:lnTo>
                    <a:pt x="612" y="648"/>
                  </a:lnTo>
                  <a:lnTo>
                    <a:pt x="606" y="636"/>
                  </a:lnTo>
                  <a:lnTo>
                    <a:pt x="600" y="630"/>
                  </a:lnTo>
                  <a:lnTo>
                    <a:pt x="588" y="606"/>
                  </a:lnTo>
                  <a:lnTo>
                    <a:pt x="552" y="606"/>
                  </a:lnTo>
                  <a:lnTo>
                    <a:pt x="552" y="612"/>
                  </a:lnTo>
                  <a:lnTo>
                    <a:pt x="540" y="612"/>
                  </a:lnTo>
                  <a:lnTo>
                    <a:pt x="540" y="606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16" y="612"/>
                  </a:lnTo>
                  <a:lnTo>
                    <a:pt x="516" y="582"/>
                  </a:lnTo>
                  <a:lnTo>
                    <a:pt x="522" y="576"/>
                  </a:lnTo>
                  <a:lnTo>
                    <a:pt x="528" y="576"/>
                  </a:lnTo>
                  <a:lnTo>
                    <a:pt x="528" y="552"/>
                  </a:lnTo>
                  <a:lnTo>
                    <a:pt x="522" y="540"/>
                  </a:lnTo>
                  <a:lnTo>
                    <a:pt x="510" y="528"/>
                  </a:lnTo>
                  <a:lnTo>
                    <a:pt x="486" y="510"/>
                  </a:lnTo>
                  <a:lnTo>
                    <a:pt x="480" y="498"/>
                  </a:lnTo>
                  <a:lnTo>
                    <a:pt x="480" y="474"/>
                  </a:lnTo>
                  <a:lnTo>
                    <a:pt x="492" y="468"/>
                  </a:lnTo>
                  <a:lnTo>
                    <a:pt x="486" y="450"/>
                  </a:lnTo>
                  <a:lnTo>
                    <a:pt x="474" y="456"/>
                  </a:lnTo>
                  <a:lnTo>
                    <a:pt x="468" y="456"/>
                  </a:lnTo>
                  <a:lnTo>
                    <a:pt x="462" y="456"/>
                  </a:lnTo>
                  <a:lnTo>
                    <a:pt x="456" y="468"/>
                  </a:lnTo>
                  <a:lnTo>
                    <a:pt x="456" y="474"/>
                  </a:lnTo>
                  <a:lnTo>
                    <a:pt x="450" y="480"/>
                  </a:lnTo>
                  <a:lnTo>
                    <a:pt x="444" y="450"/>
                  </a:lnTo>
                  <a:lnTo>
                    <a:pt x="438" y="450"/>
                  </a:lnTo>
                  <a:lnTo>
                    <a:pt x="432" y="450"/>
                  </a:lnTo>
                  <a:lnTo>
                    <a:pt x="420" y="450"/>
                  </a:lnTo>
                  <a:lnTo>
                    <a:pt x="420" y="456"/>
                  </a:lnTo>
                  <a:lnTo>
                    <a:pt x="414" y="456"/>
                  </a:lnTo>
                  <a:lnTo>
                    <a:pt x="408" y="468"/>
                  </a:lnTo>
                  <a:lnTo>
                    <a:pt x="402" y="468"/>
                  </a:lnTo>
                  <a:lnTo>
                    <a:pt x="396" y="474"/>
                  </a:lnTo>
                  <a:lnTo>
                    <a:pt x="390" y="492"/>
                  </a:lnTo>
                  <a:lnTo>
                    <a:pt x="384" y="504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54" y="510"/>
                  </a:lnTo>
                  <a:lnTo>
                    <a:pt x="360" y="480"/>
                  </a:lnTo>
                  <a:lnTo>
                    <a:pt x="360" y="474"/>
                  </a:lnTo>
                  <a:lnTo>
                    <a:pt x="378" y="456"/>
                  </a:lnTo>
                  <a:lnTo>
                    <a:pt x="384" y="450"/>
                  </a:lnTo>
                  <a:lnTo>
                    <a:pt x="396" y="444"/>
                  </a:lnTo>
                  <a:lnTo>
                    <a:pt x="402" y="438"/>
                  </a:lnTo>
                  <a:lnTo>
                    <a:pt x="408" y="438"/>
                  </a:lnTo>
                  <a:lnTo>
                    <a:pt x="408" y="426"/>
                  </a:lnTo>
                  <a:lnTo>
                    <a:pt x="414" y="420"/>
                  </a:lnTo>
                  <a:lnTo>
                    <a:pt x="426" y="420"/>
                  </a:lnTo>
                  <a:lnTo>
                    <a:pt x="426" y="408"/>
                  </a:lnTo>
                  <a:lnTo>
                    <a:pt x="420" y="390"/>
                  </a:lnTo>
                  <a:lnTo>
                    <a:pt x="408" y="384"/>
                  </a:lnTo>
                  <a:lnTo>
                    <a:pt x="378" y="378"/>
                  </a:lnTo>
                  <a:lnTo>
                    <a:pt x="354" y="366"/>
                  </a:lnTo>
                  <a:lnTo>
                    <a:pt x="342" y="360"/>
                  </a:lnTo>
                  <a:lnTo>
                    <a:pt x="342" y="348"/>
                  </a:lnTo>
                  <a:lnTo>
                    <a:pt x="336" y="330"/>
                  </a:lnTo>
                  <a:lnTo>
                    <a:pt x="348" y="306"/>
                  </a:lnTo>
                  <a:lnTo>
                    <a:pt x="360" y="294"/>
                  </a:lnTo>
                  <a:lnTo>
                    <a:pt x="360" y="282"/>
                  </a:lnTo>
                  <a:lnTo>
                    <a:pt x="342" y="270"/>
                  </a:lnTo>
                  <a:lnTo>
                    <a:pt x="342" y="264"/>
                  </a:lnTo>
                  <a:lnTo>
                    <a:pt x="330" y="264"/>
                  </a:lnTo>
                  <a:lnTo>
                    <a:pt x="312" y="270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88" y="270"/>
                  </a:lnTo>
                  <a:lnTo>
                    <a:pt x="282" y="270"/>
                  </a:lnTo>
                  <a:lnTo>
                    <a:pt x="276" y="264"/>
                  </a:lnTo>
                  <a:lnTo>
                    <a:pt x="270" y="264"/>
                  </a:lnTo>
                  <a:lnTo>
                    <a:pt x="252" y="270"/>
                  </a:lnTo>
                  <a:lnTo>
                    <a:pt x="246" y="270"/>
                  </a:lnTo>
                  <a:lnTo>
                    <a:pt x="240" y="270"/>
                  </a:lnTo>
                  <a:lnTo>
                    <a:pt x="228" y="270"/>
                  </a:lnTo>
                  <a:lnTo>
                    <a:pt x="216" y="276"/>
                  </a:lnTo>
                  <a:lnTo>
                    <a:pt x="210" y="270"/>
                  </a:lnTo>
                  <a:lnTo>
                    <a:pt x="204" y="270"/>
                  </a:lnTo>
                  <a:lnTo>
                    <a:pt x="198" y="276"/>
                  </a:lnTo>
                  <a:lnTo>
                    <a:pt x="192" y="276"/>
                  </a:lnTo>
                  <a:lnTo>
                    <a:pt x="186" y="282"/>
                  </a:lnTo>
                  <a:lnTo>
                    <a:pt x="180" y="288"/>
                  </a:lnTo>
                  <a:lnTo>
                    <a:pt x="174" y="300"/>
                  </a:lnTo>
                  <a:lnTo>
                    <a:pt x="168" y="306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8" y="330"/>
                  </a:lnTo>
                  <a:lnTo>
                    <a:pt x="162" y="336"/>
                  </a:lnTo>
                  <a:lnTo>
                    <a:pt x="156" y="342"/>
                  </a:lnTo>
                  <a:lnTo>
                    <a:pt x="156" y="348"/>
                  </a:lnTo>
                  <a:lnTo>
                    <a:pt x="156" y="354"/>
                  </a:lnTo>
                  <a:lnTo>
                    <a:pt x="150" y="366"/>
                  </a:lnTo>
                  <a:lnTo>
                    <a:pt x="150" y="372"/>
                  </a:lnTo>
                  <a:lnTo>
                    <a:pt x="144" y="366"/>
                  </a:lnTo>
                  <a:lnTo>
                    <a:pt x="132" y="366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20" y="348"/>
                  </a:lnTo>
                  <a:lnTo>
                    <a:pt x="102" y="330"/>
                  </a:lnTo>
                  <a:lnTo>
                    <a:pt x="96" y="318"/>
                  </a:lnTo>
                  <a:lnTo>
                    <a:pt x="96" y="282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0" y="258"/>
                  </a:lnTo>
                  <a:lnTo>
                    <a:pt x="84" y="252"/>
                  </a:lnTo>
                  <a:lnTo>
                    <a:pt x="66" y="258"/>
                  </a:lnTo>
                  <a:lnTo>
                    <a:pt x="60" y="246"/>
                  </a:lnTo>
                  <a:lnTo>
                    <a:pt x="30" y="252"/>
                  </a:lnTo>
                  <a:lnTo>
                    <a:pt x="18" y="246"/>
                  </a:lnTo>
                  <a:lnTo>
                    <a:pt x="0" y="240"/>
                  </a:lnTo>
                  <a:lnTo>
                    <a:pt x="0" y="234"/>
                  </a:lnTo>
                  <a:lnTo>
                    <a:pt x="0" y="210"/>
                  </a:lnTo>
                  <a:lnTo>
                    <a:pt x="6" y="204"/>
                  </a:lnTo>
                  <a:lnTo>
                    <a:pt x="18" y="192"/>
                  </a:lnTo>
                  <a:lnTo>
                    <a:pt x="18" y="144"/>
                  </a:lnTo>
                  <a:lnTo>
                    <a:pt x="24" y="126"/>
                  </a:lnTo>
                  <a:lnTo>
                    <a:pt x="36" y="126"/>
                  </a:lnTo>
                  <a:lnTo>
                    <a:pt x="54" y="120"/>
                  </a:lnTo>
                  <a:lnTo>
                    <a:pt x="54" y="126"/>
                  </a:lnTo>
                  <a:lnTo>
                    <a:pt x="132" y="114"/>
                  </a:lnTo>
                  <a:lnTo>
                    <a:pt x="144" y="120"/>
                  </a:lnTo>
                  <a:lnTo>
                    <a:pt x="150" y="132"/>
                  </a:lnTo>
                  <a:lnTo>
                    <a:pt x="180" y="126"/>
                  </a:lnTo>
                  <a:lnTo>
                    <a:pt x="210" y="120"/>
                  </a:lnTo>
                  <a:lnTo>
                    <a:pt x="240" y="120"/>
                  </a:lnTo>
                  <a:lnTo>
                    <a:pt x="258" y="120"/>
                  </a:lnTo>
                  <a:lnTo>
                    <a:pt x="270" y="126"/>
                  </a:lnTo>
                  <a:lnTo>
                    <a:pt x="276" y="132"/>
                  </a:lnTo>
                  <a:lnTo>
                    <a:pt x="282" y="138"/>
                  </a:lnTo>
                  <a:lnTo>
                    <a:pt x="282" y="156"/>
                  </a:lnTo>
                  <a:lnTo>
                    <a:pt x="288" y="186"/>
                  </a:lnTo>
                  <a:lnTo>
                    <a:pt x="312" y="192"/>
                  </a:lnTo>
                  <a:lnTo>
                    <a:pt x="318" y="198"/>
                  </a:lnTo>
                  <a:lnTo>
                    <a:pt x="324" y="204"/>
                  </a:lnTo>
                  <a:lnTo>
                    <a:pt x="330" y="210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66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86" y="210"/>
                  </a:lnTo>
                  <a:lnTo>
                    <a:pt x="498" y="198"/>
                  </a:lnTo>
                  <a:lnTo>
                    <a:pt x="504" y="174"/>
                  </a:lnTo>
                  <a:lnTo>
                    <a:pt x="516" y="162"/>
                  </a:lnTo>
                  <a:lnTo>
                    <a:pt x="516" y="138"/>
                  </a:lnTo>
                  <a:lnTo>
                    <a:pt x="522" y="132"/>
                  </a:lnTo>
                  <a:lnTo>
                    <a:pt x="564" y="132"/>
                  </a:lnTo>
                  <a:lnTo>
                    <a:pt x="564" y="114"/>
                  </a:lnTo>
                  <a:lnTo>
                    <a:pt x="582" y="114"/>
                  </a:lnTo>
                  <a:lnTo>
                    <a:pt x="594" y="114"/>
                  </a:lnTo>
                  <a:lnTo>
                    <a:pt x="606" y="114"/>
                  </a:lnTo>
                  <a:lnTo>
                    <a:pt x="612" y="114"/>
                  </a:lnTo>
                  <a:lnTo>
                    <a:pt x="630" y="114"/>
                  </a:lnTo>
                  <a:lnTo>
                    <a:pt x="636" y="114"/>
                  </a:lnTo>
                  <a:lnTo>
                    <a:pt x="648" y="114"/>
                  </a:lnTo>
                  <a:lnTo>
                    <a:pt x="654" y="114"/>
                  </a:lnTo>
                  <a:lnTo>
                    <a:pt x="660" y="120"/>
                  </a:lnTo>
                  <a:lnTo>
                    <a:pt x="672" y="120"/>
                  </a:lnTo>
                  <a:lnTo>
                    <a:pt x="684" y="120"/>
                  </a:lnTo>
                  <a:lnTo>
                    <a:pt x="690" y="120"/>
                  </a:lnTo>
                  <a:lnTo>
                    <a:pt x="702" y="120"/>
                  </a:lnTo>
                  <a:lnTo>
                    <a:pt x="708" y="120"/>
                  </a:lnTo>
                  <a:lnTo>
                    <a:pt x="726" y="126"/>
                  </a:lnTo>
                  <a:lnTo>
                    <a:pt x="732" y="126"/>
                  </a:lnTo>
                  <a:lnTo>
                    <a:pt x="738" y="126"/>
                  </a:lnTo>
                  <a:lnTo>
                    <a:pt x="750" y="126"/>
                  </a:lnTo>
                  <a:lnTo>
                    <a:pt x="756" y="126"/>
                  </a:lnTo>
                  <a:lnTo>
                    <a:pt x="768" y="126"/>
                  </a:lnTo>
                  <a:lnTo>
                    <a:pt x="780" y="126"/>
                  </a:lnTo>
                  <a:lnTo>
                    <a:pt x="786" y="120"/>
                  </a:lnTo>
                  <a:lnTo>
                    <a:pt x="792" y="120"/>
                  </a:lnTo>
                  <a:lnTo>
                    <a:pt x="810" y="120"/>
                  </a:lnTo>
                  <a:lnTo>
                    <a:pt x="822" y="120"/>
                  </a:lnTo>
                  <a:lnTo>
                    <a:pt x="846" y="126"/>
                  </a:lnTo>
                  <a:lnTo>
                    <a:pt x="858" y="126"/>
                  </a:lnTo>
                  <a:lnTo>
                    <a:pt x="870" y="132"/>
                  </a:lnTo>
                  <a:lnTo>
                    <a:pt x="882" y="132"/>
                  </a:lnTo>
                  <a:lnTo>
                    <a:pt x="894" y="132"/>
                  </a:lnTo>
                  <a:lnTo>
                    <a:pt x="900" y="132"/>
                  </a:lnTo>
                  <a:lnTo>
                    <a:pt x="912" y="132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36" y="132"/>
                  </a:lnTo>
                  <a:lnTo>
                    <a:pt x="960" y="132"/>
                  </a:lnTo>
                  <a:lnTo>
                    <a:pt x="966" y="144"/>
                  </a:lnTo>
                  <a:lnTo>
                    <a:pt x="972" y="144"/>
                  </a:lnTo>
                  <a:lnTo>
                    <a:pt x="1002" y="144"/>
                  </a:lnTo>
                  <a:lnTo>
                    <a:pt x="1020" y="144"/>
                  </a:lnTo>
                  <a:lnTo>
                    <a:pt x="1068" y="138"/>
                  </a:lnTo>
                  <a:lnTo>
                    <a:pt x="1110" y="132"/>
                  </a:lnTo>
                  <a:lnTo>
                    <a:pt x="1110" y="126"/>
                  </a:lnTo>
                  <a:lnTo>
                    <a:pt x="1116" y="120"/>
                  </a:lnTo>
                  <a:lnTo>
                    <a:pt x="1122" y="108"/>
                  </a:lnTo>
                  <a:lnTo>
                    <a:pt x="1134" y="96"/>
                  </a:lnTo>
                  <a:lnTo>
                    <a:pt x="1146" y="60"/>
                  </a:lnTo>
                  <a:lnTo>
                    <a:pt x="1158" y="54"/>
                  </a:lnTo>
                  <a:lnTo>
                    <a:pt x="1170" y="48"/>
                  </a:lnTo>
                  <a:lnTo>
                    <a:pt x="1188" y="42"/>
                  </a:lnTo>
                  <a:lnTo>
                    <a:pt x="1200" y="36"/>
                  </a:lnTo>
                  <a:lnTo>
                    <a:pt x="1212" y="36"/>
                  </a:lnTo>
                  <a:lnTo>
                    <a:pt x="1236" y="30"/>
                  </a:lnTo>
                  <a:lnTo>
                    <a:pt x="1236" y="24"/>
                  </a:lnTo>
                  <a:lnTo>
                    <a:pt x="1278" y="18"/>
                  </a:lnTo>
                  <a:lnTo>
                    <a:pt x="1290" y="18"/>
                  </a:lnTo>
                  <a:lnTo>
                    <a:pt x="1302" y="12"/>
                  </a:lnTo>
                  <a:lnTo>
                    <a:pt x="1314" y="0"/>
                  </a:lnTo>
                  <a:lnTo>
                    <a:pt x="1332" y="0"/>
                  </a:lnTo>
                  <a:lnTo>
                    <a:pt x="1338" y="24"/>
                  </a:lnTo>
                  <a:lnTo>
                    <a:pt x="1344" y="30"/>
                  </a:lnTo>
                  <a:lnTo>
                    <a:pt x="1350" y="42"/>
                  </a:lnTo>
                  <a:lnTo>
                    <a:pt x="1356" y="48"/>
                  </a:lnTo>
                  <a:lnTo>
                    <a:pt x="1356" y="78"/>
                  </a:lnTo>
                  <a:lnTo>
                    <a:pt x="1350" y="96"/>
                  </a:lnTo>
                  <a:lnTo>
                    <a:pt x="1338" y="108"/>
                  </a:lnTo>
                  <a:lnTo>
                    <a:pt x="1338" y="114"/>
                  </a:lnTo>
                  <a:lnTo>
                    <a:pt x="1338" y="120"/>
                  </a:lnTo>
                  <a:lnTo>
                    <a:pt x="1338" y="126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398" y="114"/>
                  </a:lnTo>
                  <a:lnTo>
                    <a:pt x="1416" y="120"/>
                  </a:lnTo>
                  <a:lnTo>
                    <a:pt x="1434" y="126"/>
                  </a:lnTo>
                  <a:lnTo>
                    <a:pt x="1458" y="132"/>
                  </a:lnTo>
                  <a:lnTo>
                    <a:pt x="1458" y="138"/>
                  </a:lnTo>
                  <a:lnTo>
                    <a:pt x="1512" y="138"/>
                  </a:lnTo>
                  <a:lnTo>
                    <a:pt x="1512" y="132"/>
                  </a:lnTo>
                  <a:lnTo>
                    <a:pt x="1524" y="138"/>
                  </a:lnTo>
                  <a:lnTo>
                    <a:pt x="1542" y="138"/>
                  </a:lnTo>
                  <a:lnTo>
                    <a:pt x="1542" y="150"/>
                  </a:lnTo>
                  <a:lnTo>
                    <a:pt x="1542" y="162"/>
                  </a:lnTo>
                  <a:lnTo>
                    <a:pt x="1548" y="174"/>
                  </a:lnTo>
                  <a:lnTo>
                    <a:pt x="1548" y="180"/>
                  </a:lnTo>
                  <a:lnTo>
                    <a:pt x="1554" y="222"/>
                  </a:lnTo>
                  <a:lnTo>
                    <a:pt x="1554" y="258"/>
                  </a:lnTo>
                  <a:lnTo>
                    <a:pt x="1554" y="276"/>
                  </a:lnTo>
                  <a:lnTo>
                    <a:pt x="1554" y="282"/>
                  </a:lnTo>
                  <a:lnTo>
                    <a:pt x="1554" y="294"/>
                  </a:lnTo>
                  <a:lnTo>
                    <a:pt x="1554" y="306"/>
                  </a:lnTo>
                  <a:lnTo>
                    <a:pt x="1554" y="324"/>
                  </a:lnTo>
                  <a:lnTo>
                    <a:pt x="1554" y="330"/>
                  </a:lnTo>
                  <a:lnTo>
                    <a:pt x="1548" y="330"/>
                  </a:lnTo>
                  <a:lnTo>
                    <a:pt x="1548" y="336"/>
                  </a:lnTo>
                  <a:lnTo>
                    <a:pt x="1548" y="342"/>
                  </a:lnTo>
                  <a:lnTo>
                    <a:pt x="1542" y="336"/>
                  </a:lnTo>
                  <a:lnTo>
                    <a:pt x="1542" y="330"/>
                  </a:lnTo>
                  <a:lnTo>
                    <a:pt x="1536" y="330"/>
                  </a:lnTo>
                  <a:lnTo>
                    <a:pt x="1530" y="330"/>
                  </a:lnTo>
                  <a:lnTo>
                    <a:pt x="1530" y="336"/>
                  </a:lnTo>
                  <a:lnTo>
                    <a:pt x="1536" y="342"/>
                  </a:lnTo>
                  <a:lnTo>
                    <a:pt x="1530" y="342"/>
                  </a:lnTo>
                  <a:lnTo>
                    <a:pt x="1518" y="348"/>
                  </a:lnTo>
                  <a:lnTo>
                    <a:pt x="1512" y="354"/>
                  </a:lnTo>
                  <a:lnTo>
                    <a:pt x="1506" y="354"/>
                  </a:lnTo>
                  <a:lnTo>
                    <a:pt x="1500" y="354"/>
                  </a:lnTo>
                  <a:lnTo>
                    <a:pt x="1494" y="354"/>
                  </a:lnTo>
                  <a:lnTo>
                    <a:pt x="1494" y="360"/>
                  </a:lnTo>
                  <a:lnTo>
                    <a:pt x="1488" y="360"/>
                  </a:lnTo>
                  <a:lnTo>
                    <a:pt x="1488" y="366"/>
                  </a:lnTo>
                  <a:lnTo>
                    <a:pt x="1488" y="372"/>
                  </a:lnTo>
                  <a:lnTo>
                    <a:pt x="1482" y="372"/>
                  </a:lnTo>
                  <a:lnTo>
                    <a:pt x="1476" y="372"/>
                  </a:lnTo>
                  <a:lnTo>
                    <a:pt x="1470" y="372"/>
                  </a:lnTo>
                  <a:lnTo>
                    <a:pt x="1470" y="378"/>
                  </a:lnTo>
                  <a:lnTo>
                    <a:pt x="1470" y="384"/>
                  </a:lnTo>
                  <a:lnTo>
                    <a:pt x="1470" y="390"/>
                  </a:lnTo>
                  <a:lnTo>
                    <a:pt x="1464" y="402"/>
                  </a:lnTo>
                  <a:lnTo>
                    <a:pt x="1446" y="402"/>
                  </a:lnTo>
                  <a:lnTo>
                    <a:pt x="1440" y="372"/>
                  </a:lnTo>
                  <a:lnTo>
                    <a:pt x="1410" y="372"/>
                  </a:lnTo>
                  <a:lnTo>
                    <a:pt x="1380" y="372"/>
                  </a:lnTo>
                  <a:lnTo>
                    <a:pt x="1374" y="372"/>
                  </a:lnTo>
                  <a:lnTo>
                    <a:pt x="1368" y="378"/>
                  </a:lnTo>
                  <a:lnTo>
                    <a:pt x="1362" y="378"/>
                  </a:lnTo>
                  <a:lnTo>
                    <a:pt x="1356" y="378"/>
                  </a:lnTo>
                  <a:lnTo>
                    <a:pt x="1350" y="384"/>
                  </a:lnTo>
                  <a:lnTo>
                    <a:pt x="1350" y="390"/>
                  </a:lnTo>
                  <a:lnTo>
                    <a:pt x="1344" y="390"/>
                  </a:lnTo>
                  <a:lnTo>
                    <a:pt x="1338" y="390"/>
                  </a:lnTo>
                  <a:lnTo>
                    <a:pt x="1332" y="390"/>
                  </a:lnTo>
                  <a:lnTo>
                    <a:pt x="1332" y="396"/>
                  </a:lnTo>
                  <a:lnTo>
                    <a:pt x="1332" y="390"/>
                  </a:lnTo>
                  <a:lnTo>
                    <a:pt x="1326" y="402"/>
                  </a:lnTo>
                  <a:lnTo>
                    <a:pt x="1320" y="402"/>
                  </a:lnTo>
                  <a:lnTo>
                    <a:pt x="1302" y="474"/>
                  </a:lnTo>
                  <a:lnTo>
                    <a:pt x="1308" y="480"/>
                  </a:lnTo>
                  <a:lnTo>
                    <a:pt x="1314" y="480"/>
                  </a:lnTo>
                  <a:lnTo>
                    <a:pt x="1308" y="498"/>
                  </a:lnTo>
                  <a:lnTo>
                    <a:pt x="1308" y="504"/>
                  </a:lnTo>
                  <a:lnTo>
                    <a:pt x="1314" y="510"/>
                  </a:lnTo>
                  <a:lnTo>
                    <a:pt x="1308" y="510"/>
                  </a:lnTo>
                  <a:lnTo>
                    <a:pt x="1308" y="516"/>
                  </a:lnTo>
                  <a:lnTo>
                    <a:pt x="1302" y="516"/>
                  </a:lnTo>
                  <a:lnTo>
                    <a:pt x="1296" y="510"/>
                  </a:lnTo>
                  <a:lnTo>
                    <a:pt x="1296" y="516"/>
                  </a:lnTo>
                  <a:lnTo>
                    <a:pt x="1290" y="540"/>
                  </a:lnTo>
                  <a:lnTo>
                    <a:pt x="1290" y="552"/>
                  </a:lnTo>
                  <a:lnTo>
                    <a:pt x="1284" y="558"/>
                  </a:lnTo>
                  <a:lnTo>
                    <a:pt x="1290" y="576"/>
                  </a:lnTo>
                  <a:lnTo>
                    <a:pt x="1290" y="600"/>
                  </a:lnTo>
                  <a:lnTo>
                    <a:pt x="1284" y="618"/>
                  </a:lnTo>
                  <a:lnTo>
                    <a:pt x="1290" y="624"/>
                  </a:lnTo>
                  <a:lnTo>
                    <a:pt x="1284" y="630"/>
                  </a:lnTo>
                  <a:lnTo>
                    <a:pt x="1278" y="630"/>
                  </a:lnTo>
                  <a:lnTo>
                    <a:pt x="1272" y="630"/>
                  </a:lnTo>
                  <a:lnTo>
                    <a:pt x="1266" y="636"/>
                  </a:lnTo>
                  <a:lnTo>
                    <a:pt x="1260" y="642"/>
                  </a:lnTo>
                  <a:lnTo>
                    <a:pt x="1260" y="636"/>
                  </a:lnTo>
                  <a:lnTo>
                    <a:pt x="1254" y="636"/>
                  </a:lnTo>
                  <a:lnTo>
                    <a:pt x="1248" y="636"/>
                  </a:lnTo>
                  <a:lnTo>
                    <a:pt x="1248" y="642"/>
                  </a:lnTo>
                  <a:lnTo>
                    <a:pt x="1242" y="642"/>
                  </a:lnTo>
                  <a:lnTo>
                    <a:pt x="1242" y="648"/>
                  </a:lnTo>
                  <a:lnTo>
                    <a:pt x="1236" y="654"/>
                  </a:lnTo>
                  <a:lnTo>
                    <a:pt x="1230" y="654"/>
                  </a:lnTo>
                  <a:lnTo>
                    <a:pt x="1224" y="654"/>
                  </a:lnTo>
                  <a:lnTo>
                    <a:pt x="1218" y="660"/>
                  </a:lnTo>
                  <a:lnTo>
                    <a:pt x="1212" y="660"/>
                  </a:lnTo>
                  <a:lnTo>
                    <a:pt x="1206" y="660"/>
                  </a:lnTo>
                  <a:lnTo>
                    <a:pt x="1200" y="660"/>
                  </a:lnTo>
                  <a:lnTo>
                    <a:pt x="1200" y="666"/>
                  </a:lnTo>
                  <a:lnTo>
                    <a:pt x="1194" y="666"/>
                  </a:lnTo>
                  <a:lnTo>
                    <a:pt x="1188" y="666"/>
                  </a:lnTo>
                  <a:lnTo>
                    <a:pt x="1182" y="672"/>
                  </a:lnTo>
                  <a:lnTo>
                    <a:pt x="1176" y="672"/>
                  </a:lnTo>
                  <a:lnTo>
                    <a:pt x="1170" y="672"/>
                  </a:lnTo>
                  <a:lnTo>
                    <a:pt x="1164" y="678"/>
                  </a:lnTo>
                  <a:lnTo>
                    <a:pt x="1170" y="678"/>
                  </a:lnTo>
                  <a:lnTo>
                    <a:pt x="1164" y="684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52" y="684"/>
                  </a:lnTo>
                  <a:lnTo>
                    <a:pt x="1152" y="690"/>
                  </a:lnTo>
                  <a:lnTo>
                    <a:pt x="1146" y="690"/>
                  </a:lnTo>
                  <a:lnTo>
                    <a:pt x="1140" y="690"/>
                  </a:lnTo>
                  <a:lnTo>
                    <a:pt x="1134" y="696"/>
                  </a:lnTo>
                  <a:lnTo>
                    <a:pt x="1128" y="696"/>
                  </a:lnTo>
                  <a:lnTo>
                    <a:pt x="1122" y="702"/>
                  </a:lnTo>
                  <a:lnTo>
                    <a:pt x="1116" y="702"/>
                  </a:lnTo>
                  <a:lnTo>
                    <a:pt x="1110" y="708"/>
                  </a:lnTo>
                  <a:lnTo>
                    <a:pt x="1104" y="708"/>
                  </a:lnTo>
                  <a:lnTo>
                    <a:pt x="1098" y="708"/>
                  </a:lnTo>
                  <a:lnTo>
                    <a:pt x="1092" y="708"/>
                  </a:lnTo>
                  <a:lnTo>
                    <a:pt x="1092" y="714"/>
                  </a:lnTo>
                  <a:lnTo>
                    <a:pt x="1086" y="720"/>
                  </a:lnTo>
                  <a:lnTo>
                    <a:pt x="1080" y="720"/>
                  </a:lnTo>
                  <a:lnTo>
                    <a:pt x="1074" y="720"/>
                  </a:lnTo>
                  <a:lnTo>
                    <a:pt x="1068" y="720"/>
                  </a:lnTo>
                  <a:lnTo>
                    <a:pt x="1062" y="720"/>
                  </a:lnTo>
                  <a:lnTo>
                    <a:pt x="1050" y="726"/>
                  </a:lnTo>
                  <a:lnTo>
                    <a:pt x="1044" y="726"/>
                  </a:lnTo>
                  <a:lnTo>
                    <a:pt x="1038" y="732"/>
                  </a:lnTo>
                  <a:lnTo>
                    <a:pt x="1026" y="732"/>
                  </a:lnTo>
                  <a:lnTo>
                    <a:pt x="1020" y="732"/>
                  </a:lnTo>
                  <a:lnTo>
                    <a:pt x="1014" y="738"/>
                  </a:lnTo>
                  <a:lnTo>
                    <a:pt x="1008" y="738"/>
                  </a:lnTo>
                  <a:lnTo>
                    <a:pt x="1002" y="738"/>
                  </a:lnTo>
                  <a:lnTo>
                    <a:pt x="996" y="738"/>
                  </a:lnTo>
                  <a:lnTo>
                    <a:pt x="990" y="738"/>
                  </a:lnTo>
                  <a:lnTo>
                    <a:pt x="990" y="732"/>
                  </a:lnTo>
                  <a:lnTo>
                    <a:pt x="984" y="732"/>
                  </a:lnTo>
                  <a:lnTo>
                    <a:pt x="978" y="738"/>
                  </a:lnTo>
                  <a:lnTo>
                    <a:pt x="978" y="744"/>
                  </a:lnTo>
                  <a:lnTo>
                    <a:pt x="984" y="744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8" y="756"/>
                  </a:lnTo>
                  <a:lnTo>
                    <a:pt x="972" y="756"/>
                  </a:lnTo>
                  <a:lnTo>
                    <a:pt x="972" y="762"/>
                  </a:lnTo>
                  <a:lnTo>
                    <a:pt x="966" y="768"/>
                  </a:lnTo>
                  <a:lnTo>
                    <a:pt x="966" y="762"/>
                  </a:lnTo>
                  <a:lnTo>
                    <a:pt x="960" y="762"/>
                  </a:lnTo>
                  <a:lnTo>
                    <a:pt x="954" y="768"/>
                  </a:lnTo>
                  <a:lnTo>
                    <a:pt x="954" y="774"/>
                  </a:lnTo>
                  <a:lnTo>
                    <a:pt x="948" y="774"/>
                  </a:lnTo>
                  <a:lnTo>
                    <a:pt x="948" y="780"/>
                  </a:lnTo>
                  <a:lnTo>
                    <a:pt x="948" y="786"/>
                  </a:lnTo>
                  <a:lnTo>
                    <a:pt x="942" y="786"/>
                  </a:lnTo>
                  <a:lnTo>
                    <a:pt x="942" y="792"/>
                  </a:lnTo>
                  <a:lnTo>
                    <a:pt x="936" y="792"/>
                  </a:lnTo>
                  <a:lnTo>
                    <a:pt x="942" y="798"/>
                  </a:lnTo>
                  <a:lnTo>
                    <a:pt x="942" y="804"/>
                  </a:lnTo>
                  <a:lnTo>
                    <a:pt x="942" y="810"/>
                  </a:lnTo>
                  <a:lnTo>
                    <a:pt x="948" y="810"/>
                  </a:lnTo>
                  <a:lnTo>
                    <a:pt x="942" y="816"/>
                  </a:lnTo>
                  <a:lnTo>
                    <a:pt x="948" y="816"/>
                  </a:lnTo>
                  <a:lnTo>
                    <a:pt x="948" y="822"/>
                  </a:lnTo>
                  <a:lnTo>
                    <a:pt x="954" y="822"/>
                  </a:lnTo>
                  <a:lnTo>
                    <a:pt x="960" y="828"/>
                  </a:lnTo>
                  <a:lnTo>
                    <a:pt x="960" y="834"/>
                  </a:lnTo>
                  <a:lnTo>
                    <a:pt x="966" y="834"/>
                  </a:lnTo>
                  <a:lnTo>
                    <a:pt x="960" y="840"/>
                  </a:lnTo>
                  <a:lnTo>
                    <a:pt x="966" y="846"/>
                  </a:lnTo>
                  <a:lnTo>
                    <a:pt x="966" y="840"/>
                  </a:lnTo>
                  <a:lnTo>
                    <a:pt x="972" y="840"/>
                  </a:lnTo>
                  <a:lnTo>
                    <a:pt x="990" y="840"/>
                  </a:lnTo>
                  <a:lnTo>
                    <a:pt x="1002" y="834"/>
                  </a:lnTo>
                  <a:lnTo>
                    <a:pt x="1020" y="828"/>
                  </a:lnTo>
                  <a:lnTo>
                    <a:pt x="1032" y="828"/>
                  </a:lnTo>
                  <a:lnTo>
                    <a:pt x="1050" y="828"/>
                  </a:lnTo>
                  <a:lnTo>
                    <a:pt x="1062" y="846"/>
                  </a:lnTo>
                  <a:lnTo>
                    <a:pt x="1074" y="876"/>
                  </a:lnTo>
                  <a:lnTo>
                    <a:pt x="1068" y="900"/>
                  </a:lnTo>
                  <a:lnTo>
                    <a:pt x="1074" y="912"/>
                  </a:lnTo>
                  <a:lnTo>
                    <a:pt x="1074" y="936"/>
                  </a:lnTo>
                  <a:lnTo>
                    <a:pt x="1068" y="942"/>
                  </a:lnTo>
                  <a:lnTo>
                    <a:pt x="1062" y="954"/>
                  </a:lnTo>
                  <a:lnTo>
                    <a:pt x="1056" y="978"/>
                  </a:lnTo>
                  <a:lnTo>
                    <a:pt x="1056" y="996"/>
                  </a:lnTo>
                  <a:lnTo>
                    <a:pt x="1068" y="990"/>
                  </a:lnTo>
                  <a:lnTo>
                    <a:pt x="1074" y="990"/>
                  </a:lnTo>
                  <a:lnTo>
                    <a:pt x="1074" y="1008"/>
                  </a:lnTo>
                  <a:lnTo>
                    <a:pt x="1080" y="1008"/>
                  </a:lnTo>
                  <a:lnTo>
                    <a:pt x="1092" y="1014"/>
                  </a:lnTo>
                  <a:lnTo>
                    <a:pt x="1110" y="1044"/>
                  </a:lnTo>
                  <a:lnTo>
                    <a:pt x="1110" y="1062"/>
                  </a:lnTo>
                  <a:lnTo>
                    <a:pt x="1128" y="1068"/>
                  </a:lnTo>
                  <a:lnTo>
                    <a:pt x="1128" y="1092"/>
                  </a:lnTo>
                  <a:lnTo>
                    <a:pt x="1134" y="1098"/>
                  </a:lnTo>
                  <a:lnTo>
                    <a:pt x="1158" y="1122"/>
                  </a:lnTo>
                  <a:lnTo>
                    <a:pt x="1188" y="1122"/>
                  </a:lnTo>
                  <a:lnTo>
                    <a:pt x="1188" y="1128"/>
                  </a:lnTo>
                  <a:lnTo>
                    <a:pt x="1200" y="1134"/>
                  </a:lnTo>
                  <a:lnTo>
                    <a:pt x="1206" y="1134"/>
                  </a:lnTo>
                  <a:lnTo>
                    <a:pt x="1206" y="1128"/>
                  </a:lnTo>
                  <a:lnTo>
                    <a:pt x="1212" y="1128"/>
                  </a:lnTo>
                  <a:lnTo>
                    <a:pt x="1218" y="1128"/>
                  </a:lnTo>
                  <a:lnTo>
                    <a:pt x="1224" y="1122"/>
                  </a:lnTo>
                  <a:lnTo>
                    <a:pt x="1224" y="1128"/>
                  </a:lnTo>
                  <a:lnTo>
                    <a:pt x="1230" y="1128"/>
                  </a:lnTo>
                  <a:lnTo>
                    <a:pt x="1236" y="1128"/>
                  </a:lnTo>
                  <a:lnTo>
                    <a:pt x="1236" y="1122"/>
                  </a:lnTo>
                  <a:lnTo>
                    <a:pt x="1242" y="1122"/>
                  </a:lnTo>
                  <a:lnTo>
                    <a:pt x="1248" y="1128"/>
                  </a:lnTo>
                  <a:lnTo>
                    <a:pt x="1254" y="1128"/>
                  </a:lnTo>
                  <a:lnTo>
                    <a:pt x="1260" y="1134"/>
                  </a:lnTo>
                  <a:lnTo>
                    <a:pt x="1260" y="1140"/>
                  </a:lnTo>
                  <a:lnTo>
                    <a:pt x="1266" y="1140"/>
                  </a:lnTo>
                  <a:lnTo>
                    <a:pt x="1272" y="1140"/>
                  </a:lnTo>
                  <a:lnTo>
                    <a:pt x="1278" y="1140"/>
                  </a:lnTo>
                  <a:lnTo>
                    <a:pt x="1284" y="1140"/>
                  </a:lnTo>
                  <a:lnTo>
                    <a:pt x="1290" y="1146"/>
                  </a:lnTo>
                  <a:lnTo>
                    <a:pt x="1290" y="1152"/>
                  </a:lnTo>
                  <a:lnTo>
                    <a:pt x="1296" y="1146"/>
                  </a:lnTo>
                  <a:lnTo>
                    <a:pt x="1296" y="1152"/>
                  </a:lnTo>
                  <a:lnTo>
                    <a:pt x="1308" y="1152"/>
                  </a:lnTo>
                  <a:lnTo>
                    <a:pt x="1314" y="1152"/>
                  </a:lnTo>
                  <a:lnTo>
                    <a:pt x="1320" y="1152"/>
                  </a:lnTo>
                  <a:lnTo>
                    <a:pt x="1332" y="1152"/>
                  </a:lnTo>
                  <a:lnTo>
                    <a:pt x="1338" y="1152"/>
                  </a:lnTo>
                  <a:lnTo>
                    <a:pt x="1344" y="1152"/>
                  </a:lnTo>
                  <a:lnTo>
                    <a:pt x="1344" y="1158"/>
                  </a:lnTo>
                  <a:lnTo>
                    <a:pt x="1350" y="1158"/>
                  </a:lnTo>
                  <a:lnTo>
                    <a:pt x="1356" y="1158"/>
                  </a:lnTo>
                  <a:lnTo>
                    <a:pt x="1362" y="1158"/>
                  </a:lnTo>
                  <a:lnTo>
                    <a:pt x="1368" y="1158"/>
                  </a:lnTo>
                  <a:lnTo>
                    <a:pt x="1374" y="1164"/>
                  </a:lnTo>
                  <a:lnTo>
                    <a:pt x="1380" y="1164"/>
                  </a:lnTo>
                  <a:lnTo>
                    <a:pt x="1386" y="1170"/>
                  </a:lnTo>
                  <a:lnTo>
                    <a:pt x="1392" y="1170"/>
                  </a:lnTo>
                  <a:lnTo>
                    <a:pt x="1398" y="1164"/>
                  </a:lnTo>
                  <a:lnTo>
                    <a:pt x="1404" y="1164"/>
                  </a:lnTo>
                  <a:lnTo>
                    <a:pt x="1410" y="1164"/>
                  </a:lnTo>
                  <a:lnTo>
                    <a:pt x="1416" y="1164"/>
                  </a:lnTo>
                  <a:lnTo>
                    <a:pt x="1416" y="1170"/>
                  </a:lnTo>
                  <a:lnTo>
                    <a:pt x="1422" y="1176"/>
                  </a:lnTo>
                  <a:lnTo>
                    <a:pt x="1416" y="1176"/>
                  </a:lnTo>
                  <a:lnTo>
                    <a:pt x="1416" y="1182"/>
                  </a:lnTo>
                  <a:lnTo>
                    <a:pt x="1410" y="1188"/>
                  </a:lnTo>
                  <a:lnTo>
                    <a:pt x="1404" y="1194"/>
                  </a:lnTo>
                  <a:lnTo>
                    <a:pt x="1404" y="1200"/>
                  </a:lnTo>
                  <a:lnTo>
                    <a:pt x="1404" y="1206"/>
                  </a:lnTo>
                  <a:lnTo>
                    <a:pt x="1398" y="1212"/>
                  </a:lnTo>
                  <a:lnTo>
                    <a:pt x="1398" y="1206"/>
                  </a:lnTo>
                  <a:lnTo>
                    <a:pt x="1392" y="1206"/>
                  </a:lnTo>
                  <a:lnTo>
                    <a:pt x="1386" y="1206"/>
                  </a:lnTo>
                  <a:lnTo>
                    <a:pt x="1380" y="1212"/>
                  </a:lnTo>
                  <a:lnTo>
                    <a:pt x="1374" y="1212"/>
                  </a:lnTo>
                  <a:lnTo>
                    <a:pt x="1368" y="1218"/>
                  </a:lnTo>
                  <a:lnTo>
                    <a:pt x="1362" y="1218"/>
                  </a:lnTo>
                  <a:lnTo>
                    <a:pt x="1362" y="1224"/>
                  </a:lnTo>
                  <a:lnTo>
                    <a:pt x="1356" y="1230"/>
                  </a:lnTo>
                  <a:lnTo>
                    <a:pt x="1350" y="1230"/>
                  </a:lnTo>
                  <a:lnTo>
                    <a:pt x="1344" y="1236"/>
                  </a:lnTo>
                  <a:lnTo>
                    <a:pt x="1338" y="1230"/>
                  </a:lnTo>
                  <a:lnTo>
                    <a:pt x="1332" y="1230"/>
                  </a:lnTo>
                  <a:lnTo>
                    <a:pt x="1326" y="1230"/>
                  </a:lnTo>
                  <a:lnTo>
                    <a:pt x="1320" y="1230"/>
                  </a:lnTo>
                  <a:lnTo>
                    <a:pt x="1314" y="1230"/>
                  </a:lnTo>
                  <a:lnTo>
                    <a:pt x="1296" y="1242"/>
                  </a:lnTo>
                  <a:lnTo>
                    <a:pt x="1296" y="1248"/>
                  </a:lnTo>
                  <a:lnTo>
                    <a:pt x="1290" y="1248"/>
                  </a:lnTo>
                  <a:lnTo>
                    <a:pt x="1290" y="1260"/>
                  </a:lnTo>
                  <a:lnTo>
                    <a:pt x="1278" y="1272"/>
                  </a:lnTo>
                  <a:lnTo>
                    <a:pt x="1278" y="1278"/>
                  </a:lnTo>
                  <a:lnTo>
                    <a:pt x="1278" y="1284"/>
                  </a:lnTo>
                  <a:lnTo>
                    <a:pt x="1278" y="1290"/>
                  </a:lnTo>
                  <a:lnTo>
                    <a:pt x="1284" y="1296"/>
                  </a:lnTo>
                  <a:lnTo>
                    <a:pt x="1302" y="1302"/>
                  </a:lnTo>
                  <a:lnTo>
                    <a:pt x="1308" y="1308"/>
                  </a:lnTo>
                  <a:lnTo>
                    <a:pt x="1308" y="1314"/>
                  </a:lnTo>
                  <a:lnTo>
                    <a:pt x="1302" y="1320"/>
                  </a:lnTo>
                  <a:lnTo>
                    <a:pt x="1278" y="1314"/>
                  </a:lnTo>
                  <a:lnTo>
                    <a:pt x="1266" y="1308"/>
                  </a:lnTo>
                  <a:lnTo>
                    <a:pt x="1260" y="1296"/>
                  </a:lnTo>
                  <a:lnTo>
                    <a:pt x="1236" y="1296"/>
                  </a:lnTo>
                  <a:lnTo>
                    <a:pt x="1224" y="1308"/>
                  </a:lnTo>
                  <a:lnTo>
                    <a:pt x="1218" y="1308"/>
                  </a:lnTo>
                  <a:lnTo>
                    <a:pt x="1218" y="1302"/>
                  </a:lnTo>
                  <a:lnTo>
                    <a:pt x="1212" y="1302"/>
                  </a:lnTo>
                  <a:lnTo>
                    <a:pt x="1206" y="1302"/>
                  </a:lnTo>
                  <a:lnTo>
                    <a:pt x="1170" y="1314"/>
                  </a:lnTo>
                  <a:lnTo>
                    <a:pt x="1134" y="1296"/>
                  </a:lnTo>
                  <a:lnTo>
                    <a:pt x="1122" y="1290"/>
                  </a:lnTo>
                  <a:lnTo>
                    <a:pt x="1104" y="1290"/>
                  </a:lnTo>
                  <a:lnTo>
                    <a:pt x="1098" y="1278"/>
                  </a:lnTo>
                  <a:lnTo>
                    <a:pt x="1092" y="1242"/>
                  </a:lnTo>
                  <a:lnTo>
                    <a:pt x="1086" y="1242"/>
                  </a:lnTo>
                  <a:lnTo>
                    <a:pt x="1086" y="1248"/>
                  </a:lnTo>
                  <a:lnTo>
                    <a:pt x="1086" y="1254"/>
                  </a:lnTo>
                  <a:lnTo>
                    <a:pt x="1080" y="1254"/>
                  </a:lnTo>
                  <a:lnTo>
                    <a:pt x="1080" y="1260"/>
                  </a:lnTo>
                  <a:lnTo>
                    <a:pt x="1074" y="1260"/>
                  </a:lnTo>
                  <a:lnTo>
                    <a:pt x="1068" y="1236"/>
                  </a:lnTo>
                  <a:lnTo>
                    <a:pt x="1068" y="1206"/>
                  </a:lnTo>
                  <a:lnTo>
                    <a:pt x="1080" y="1194"/>
                  </a:lnTo>
                  <a:lnTo>
                    <a:pt x="1086" y="1194"/>
                  </a:lnTo>
                  <a:lnTo>
                    <a:pt x="1092" y="1200"/>
                  </a:lnTo>
                  <a:lnTo>
                    <a:pt x="1098" y="1206"/>
                  </a:lnTo>
                  <a:lnTo>
                    <a:pt x="1104" y="1200"/>
                  </a:lnTo>
                  <a:lnTo>
                    <a:pt x="1104" y="1194"/>
                  </a:lnTo>
                  <a:lnTo>
                    <a:pt x="1110" y="1194"/>
                  </a:lnTo>
                  <a:lnTo>
                    <a:pt x="1110" y="1188"/>
                  </a:lnTo>
                  <a:lnTo>
                    <a:pt x="1116" y="1182"/>
                  </a:lnTo>
                  <a:lnTo>
                    <a:pt x="1110" y="1182"/>
                  </a:lnTo>
                  <a:lnTo>
                    <a:pt x="1110" y="1170"/>
                  </a:lnTo>
                  <a:lnTo>
                    <a:pt x="1110" y="1158"/>
                  </a:lnTo>
                  <a:lnTo>
                    <a:pt x="1110" y="1152"/>
                  </a:lnTo>
                  <a:lnTo>
                    <a:pt x="1104" y="1146"/>
                  </a:lnTo>
                  <a:lnTo>
                    <a:pt x="1098" y="1140"/>
                  </a:lnTo>
                  <a:lnTo>
                    <a:pt x="1098" y="1134"/>
                  </a:lnTo>
                  <a:lnTo>
                    <a:pt x="1098" y="1128"/>
                  </a:lnTo>
                  <a:lnTo>
                    <a:pt x="1092" y="1128"/>
                  </a:lnTo>
                  <a:lnTo>
                    <a:pt x="1092" y="1122"/>
                  </a:lnTo>
                  <a:lnTo>
                    <a:pt x="1092" y="1116"/>
                  </a:lnTo>
                  <a:lnTo>
                    <a:pt x="1092" y="1110"/>
                  </a:lnTo>
                  <a:lnTo>
                    <a:pt x="1056" y="1122"/>
                  </a:lnTo>
                  <a:lnTo>
                    <a:pt x="1038" y="1128"/>
                  </a:lnTo>
                  <a:lnTo>
                    <a:pt x="1032" y="1128"/>
                  </a:lnTo>
                  <a:lnTo>
                    <a:pt x="1026" y="1128"/>
                  </a:lnTo>
                  <a:lnTo>
                    <a:pt x="1020" y="1128"/>
                  </a:lnTo>
                  <a:lnTo>
                    <a:pt x="1014" y="1128"/>
                  </a:lnTo>
                  <a:lnTo>
                    <a:pt x="1014" y="1122"/>
                  </a:lnTo>
                  <a:lnTo>
                    <a:pt x="1008" y="1122"/>
                  </a:lnTo>
                  <a:lnTo>
                    <a:pt x="1002" y="1128"/>
                  </a:lnTo>
                  <a:lnTo>
                    <a:pt x="1002" y="1134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84" y="1140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66" y="1140"/>
                  </a:lnTo>
                  <a:lnTo>
                    <a:pt x="954" y="1140"/>
                  </a:lnTo>
                  <a:lnTo>
                    <a:pt x="954" y="1134"/>
                  </a:lnTo>
                  <a:lnTo>
                    <a:pt x="948" y="1134"/>
                  </a:lnTo>
                  <a:lnTo>
                    <a:pt x="942" y="1134"/>
                  </a:lnTo>
                  <a:lnTo>
                    <a:pt x="936" y="1134"/>
                  </a:lnTo>
                  <a:lnTo>
                    <a:pt x="930" y="1134"/>
                  </a:lnTo>
                  <a:lnTo>
                    <a:pt x="924" y="1134"/>
                  </a:lnTo>
                  <a:lnTo>
                    <a:pt x="918" y="1134"/>
                  </a:lnTo>
                  <a:lnTo>
                    <a:pt x="918" y="1128"/>
                  </a:lnTo>
                  <a:lnTo>
                    <a:pt x="918" y="1104"/>
                  </a:lnTo>
                  <a:lnTo>
                    <a:pt x="906" y="1104"/>
                  </a:lnTo>
                  <a:lnTo>
                    <a:pt x="900" y="1098"/>
                  </a:lnTo>
                  <a:lnTo>
                    <a:pt x="900" y="1092"/>
                  </a:lnTo>
                  <a:lnTo>
                    <a:pt x="900" y="1086"/>
                  </a:lnTo>
                  <a:lnTo>
                    <a:pt x="900" y="1080"/>
                  </a:lnTo>
                  <a:lnTo>
                    <a:pt x="894" y="1080"/>
                  </a:lnTo>
                  <a:lnTo>
                    <a:pt x="858" y="1074"/>
                  </a:lnTo>
                  <a:lnTo>
                    <a:pt x="852" y="1080"/>
                  </a:lnTo>
                  <a:lnTo>
                    <a:pt x="846" y="1086"/>
                  </a:lnTo>
                  <a:lnTo>
                    <a:pt x="840" y="1086"/>
                  </a:lnTo>
                  <a:lnTo>
                    <a:pt x="840" y="1092"/>
                  </a:lnTo>
                  <a:lnTo>
                    <a:pt x="834" y="1092"/>
                  </a:lnTo>
                  <a:lnTo>
                    <a:pt x="828" y="1098"/>
                  </a:lnTo>
                  <a:lnTo>
                    <a:pt x="822" y="1098"/>
                  </a:lnTo>
                  <a:lnTo>
                    <a:pt x="762" y="1074"/>
                  </a:lnTo>
                  <a:lnTo>
                    <a:pt x="756" y="1068"/>
                  </a:lnTo>
                  <a:lnTo>
                    <a:pt x="750" y="1068"/>
                  </a:lnTo>
                  <a:lnTo>
                    <a:pt x="744" y="1062"/>
                  </a:lnTo>
                  <a:lnTo>
                    <a:pt x="744" y="1068"/>
                  </a:lnTo>
                  <a:lnTo>
                    <a:pt x="744" y="1074"/>
                  </a:lnTo>
                  <a:lnTo>
                    <a:pt x="738" y="1074"/>
                  </a:lnTo>
                  <a:lnTo>
                    <a:pt x="738" y="1068"/>
                  </a:lnTo>
                  <a:lnTo>
                    <a:pt x="732" y="1068"/>
                  </a:lnTo>
                  <a:lnTo>
                    <a:pt x="726" y="1068"/>
                  </a:lnTo>
                  <a:lnTo>
                    <a:pt x="726" y="1074"/>
                  </a:lnTo>
                  <a:lnTo>
                    <a:pt x="720" y="1074"/>
                  </a:lnTo>
                  <a:lnTo>
                    <a:pt x="684" y="106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5" name="Freeform 40">
              <a:extLst>
                <a:ext uri="{FF2B5EF4-FFF2-40B4-BE49-F238E27FC236}">
                  <a16:creationId xmlns:a16="http://schemas.microsoft.com/office/drawing/2014/main" id="{37EC2F22-BDB9-4162-8FA4-08493F6898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3558" y="1520374"/>
              <a:ext cx="1057717" cy="1252440"/>
            </a:xfrm>
            <a:custGeom>
              <a:avLst/>
              <a:gdLst>
                <a:gd name="T0" fmla="*/ 98 w 1992"/>
                <a:gd name="T1" fmla="*/ 162 h 2358"/>
                <a:gd name="T2" fmla="*/ 93 w 1992"/>
                <a:gd name="T3" fmla="*/ 172 h 2358"/>
                <a:gd name="T4" fmla="*/ 82 w 1992"/>
                <a:gd name="T5" fmla="*/ 179 h 2358"/>
                <a:gd name="T6" fmla="*/ 70 w 1992"/>
                <a:gd name="T7" fmla="*/ 174 h 2358"/>
                <a:gd name="T8" fmla="*/ 62 w 1992"/>
                <a:gd name="T9" fmla="*/ 182 h 2358"/>
                <a:gd name="T10" fmla="*/ 45 w 1992"/>
                <a:gd name="T11" fmla="*/ 189 h 2358"/>
                <a:gd name="T12" fmla="*/ 24 w 1992"/>
                <a:gd name="T13" fmla="*/ 205 h 2358"/>
                <a:gd name="T14" fmla="*/ 17 w 1992"/>
                <a:gd name="T15" fmla="*/ 204 h 2358"/>
                <a:gd name="T16" fmla="*/ 7 w 1992"/>
                <a:gd name="T17" fmla="*/ 197 h 2358"/>
                <a:gd name="T18" fmla="*/ 1 w 1992"/>
                <a:gd name="T19" fmla="*/ 191 h 2358"/>
                <a:gd name="T20" fmla="*/ 4 w 1992"/>
                <a:gd name="T21" fmla="*/ 175 h 2358"/>
                <a:gd name="T22" fmla="*/ 7 w 1992"/>
                <a:gd name="T23" fmla="*/ 172 h 2358"/>
                <a:gd name="T24" fmla="*/ 11 w 1992"/>
                <a:gd name="T25" fmla="*/ 168 h 2358"/>
                <a:gd name="T26" fmla="*/ 5 w 1992"/>
                <a:gd name="T27" fmla="*/ 159 h 2358"/>
                <a:gd name="T28" fmla="*/ 10 w 1992"/>
                <a:gd name="T29" fmla="*/ 156 h 2358"/>
                <a:gd name="T30" fmla="*/ 15 w 1992"/>
                <a:gd name="T31" fmla="*/ 155 h 2358"/>
                <a:gd name="T32" fmla="*/ 24 w 1992"/>
                <a:gd name="T33" fmla="*/ 149 h 2358"/>
                <a:gd name="T34" fmla="*/ 38 w 1992"/>
                <a:gd name="T35" fmla="*/ 127 h 2358"/>
                <a:gd name="T36" fmla="*/ 38 w 1992"/>
                <a:gd name="T37" fmla="*/ 107 h 2358"/>
                <a:gd name="T38" fmla="*/ 45 w 1992"/>
                <a:gd name="T39" fmla="*/ 66 h 2358"/>
                <a:gd name="T40" fmla="*/ 47 w 1992"/>
                <a:gd name="T41" fmla="*/ 36 h 2358"/>
                <a:gd name="T42" fmla="*/ 51 w 1992"/>
                <a:gd name="T43" fmla="*/ 35 h 2358"/>
                <a:gd name="T44" fmla="*/ 55 w 1992"/>
                <a:gd name="T45" fmla="*/ 30 h 2358"/>
                <a:gd name="T46" fmla="*/ 56 w 1992"/>
                <a:gd name="T47" fmla="*/ 27 h 2358"/>
                <a:gd name="T48" fmla="*/ 60 w 1992"/>
                <a:gd name="T49" fmla="*/ 23 h 2358"/>
                <a:gd name="T50" fmla="*/ 63 w 1992"/>
                <a:gd name="T51" fmla="*/ 23 h 2358"/>
                <a:gd name="T52" fmla="*/ 70 w 1992"/>
                <a:gd name="T53" fmla="*/ 18 h 2358"/>
                <a:gd name="T54" fmla="*/ 71 w 1992"/>
                <a:gd name="T55" fmla="*/ 15 h 2358"/>
                <a:gd name="T56" fmla="*/ 72 w 1992"/>
                <a:gd name="T57" fmla="*/ 13 h 2358"/>
                <a:gd name="T58" fmla="*/ 77 w 1992"/>
                <a:gd name="T59" fmla="*/ 12 h 2358"/>
                <a:gd name="T60" fmla="*/ 83 w 1992"/>
                <a:gd name="T61" fmla="*/ 10 h 2358"/>
                <a:gd name="T62" fmla="*/ 87 w 1992"/>
                <a:gd name="T63" fmla="*/ 10 h 2358"/>
                <a:gd name="T64" fmla="*/ 89 w 1992"/>
                <a:gd name="T65" fmla="*/ 10 h 2358"/>
                <a:gd name="T66" fmla="*/ 93 w 1992"/>
                <a:gd name="T67" fmla="*/ 8 h 2358"/>
                <a:gd name="T68" fmla="*/ 95 w 1992"/>
                <a:gd name="T69" fmla="*/ 4 h 2358"/>
                <a:gd name="T70" fmla="*/ 99 w 1992"/>
                <a:gd name="T71" fmla="*/ 0 h 2358"/>
                <a:gd name="T72" fmla="*/ 111 w 1992"/>
                <a:gd name="T73" fmla="*/ 0 h 2358"/>
                <a:gd name="T74" fmla="*/ 121 w 1992"/>
                <a:gd name="T75" fmla="*/ 9 h 2358"/>
                <a:gd name="T76" fmla="*/ 128 w 1992"/>
                <a:gd name="T77" fmla="*/ 19 h 2358"/>
                <a:gd name="T78" fmla="*/ 138 w 1992"/>
                <a:gd name="T79" fmla="*/ 33 h 2358"/>
                <a:gd name="T80" fmla="*/ 142 w 1992"/>
                <a:gd name="T81" fmla="*/ 47 h 2358"/>
                <a:gd name="T82" fmla="*/ 145 w 1992"/>
                <a:gd name="T83" fmla="*/ 62 h 2358"/>
                <a:gd name="T84" fmla="*/ 145 w 1992"/>
                <a:gd name="T85" fmla="*/ 70 h 2358"/>
                <a:gd name="T86" fmla="*/ 147 w 1992"/>
                <a:gd name="T87" fmla="*/ 75 h 2358"/>
                <a:gd name="T88" fmla="*/ 153 w 1992"/>
                <a:gd name="T89" fmla="*/ 75 h 2358"/>
                <a:gd name="T90" fmla="*/ 160 w 1992"/>
                <a:gd name="T91" fmla="*/ 76 h 2358"/>
                <a:gd name="T92" fmla="*/ 164 w 1992"/>
                <a:gd name="T93" fmla="*/ 79 h 2358"/>
                <a:gd name="T94" fmla="*/ 168 w 1992"/>
                <a:gd name="T95" fmla="*/ 83 h 2358"/>
                <a:gd name="T96" fmla="*/ 172 w 1992"/>
                <a:gd name="T97" fmla="*/ 86 h 2358"/>
                <a:gd name="T98" fmla="*/ 170 w 1992"/>
                <a:gd name="T99" fmla="*/ 93 h 2358"/>
                <a:gd name="T100" fmla="*/ 170 w 1992"/>
                <a:gd name="T101" fmla="*/ 99 h 2358"/>
                <a:gd name="T102" fmla="*/ 169 w 1992"/>
                <a:gd name="T103" fmla="*/ 106 h 2358"/>
                <a:gd name="T104" fmla="*/ 166 w 1992"/>
                <a:gd name="T105" fmla="*/ 113 h 2358"/>
                <a:gd name="T106" fmla="*/ 170 w 1992"/>
                <a:gd name="T107" fmla="*/ 122 h 2358"/>
                <a:gd name="T108" fmla="*/ 159 w 1992"/>
                <a:gd name="T109" fmla="*/ 128 h 2358"/>
                <a:gd name="T110" fmla="*/ 148 w 1992"/>
                <a:gd name="T111" fmla="*/ 134 h 2358"/>
                <a:gd name="T112" fmla="*/ 139 w 1992"/>
                <a:gd name="T113" fmla="*/ 136 h 2358"/>
                <a:gd name="T114" fmla="*/ 132 w 1992"/>
                <a:gd name="T115" fmla="*/ 138 h 2358"/>
                <a:gd name="T116" fmla="*/ 128 w 1992"/>
                <a:gd name="T117" fmla="*/ 145 h 2358"/>
                <a:gd name="T118" fmla="*/ 124 w 1992"/>
                <a:gd name="T119" fmla="*/ 150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92"/>
                <a:gd name="T181" fmla="*/ 0 h 2358"/>
                <a:gd name="T182" fmla="*/ 1992 w 1992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92" h="2358">
                  <a:moveTo>
                    <a:pt x="1356" y="1782"/>
                  </a:moveTo>
                  <a:lnTo>
                    <a:pt x="1350" y="1788"/>
                  </a:lnTo>
                  <a:lnTo>
                    <a:pt x="1266" y="1788"/>
                  </a:lnTo>
                  <a:lnTo>
                    <a:pt x="1260" y="1800"/>
                  </a:lnTo>
                  <a:lnTo>
                    <a:pt x="1242" y="1806"/>
                  </a:lnTo>
                  <a:lnTo>
                    <a:pt x="1218" y="1812"/>
                  </a:lnTo>
                  <a:lnTo>
                    <a:pt x="1182" y="1812"/>
                  </a:lnTo>
                  <a:lnTo>
                    <a:pt x="1158" y="1806"/>
                  </a:lnTo>
                  <a:lnTo>
                    <a:pt x="1134" y="1800"/>
                  </a:lnTo>
                  <a:lnTo>
                    <a:pt x="1134" y="1806"/>
                  </a:lnTo>
                  <a:lnTo>
                    <a:pt x="1134" y="1830"/>
                  </a:lnTo>
                  <a:lnTo>
                    <a:pt x="1128" y="1842"/>
                  </a:lnTo>
                  <a:lnTo>
                    <a:pt x="1128" y="1854"/>
                  </a:lnTo>
                  <a:lnTo>
                    <a:pt x="1128" y="1860"/>
                  </a:lnTo>
                  <a:lnTo>
                    <a:pt x="1128" y="1866"/>
                  </a:lnTo>
                  <a:lnTo>
                    <a:pt x="1128" y="1872"/>
                  </a:lnTo>
                  <a:lnTo>
                    <a:pt x="1128" y="1884"/>
                  </a:lnTo>
                  <a:lnTo>
                    <a:pt x="1128" y="1890"/>
                  </a:lnTo>
                  <a:lnTo>
                    <a:pt x="1128" y="1896"/>
                  </a:lnTo>
                  <a:lnTo>
                    <a:pt x="1122" y="1902"/>
                  </a:lnTo>
                  <a:lnTo>
                    <a:pt x="1122" y="1920"/>
                  </a:lnTo>
                  <a:lnTo>
                    <a:pt x="1116" y="1920"/>
                  </a:lnTo>
                  <a:lnTo>
                    <a:pt x="1110" y="1926"/>
                  </a:lnTo>
                  <a:lnTo>
                    <a:pt x="1110" y="1932"/>
                  </a:lnTo>
                  <a:lnTo>
                    <a:pt x="1104" y="1938"/>
                  </a:lnTo>
                  <a:lnTo>
                    <a:pt x="1086" y="1962"/>
                  </a:lnTo>
                  <a:lnTo>
                    <a:pt x="1074" y="1974"/>
                  </a:lnTo>
                  <a:lnTo>
                    <a:pt x="1074" y="1980"/>
                  </a:lnTo>
                  <a:lnTo>
                    <a:pt x="1068" y="1986"/>
                  </a:lnTo>
                  <a:lnTo>
                    <a:pt x="1062" y="1998"/>
                  </a:lnTo>
                  <a:lnTo>
                    <a:pt x="1062" y="2004"/>
                  </a:lnTo>
                  <a:lnTo>
                    <a:pt x="1068" y="2004"/>
                  </a:lnTo>
                  <a:lnTo>
                    <a:pt x="1056" y="2034"/>
                  </a:lnTo>
                  <a:lnTo>
                    <a:pt x="1050" y="2076"/>
                  </a:lnTo>
                  <a:lnTo>
                    <a:pt x="1056" y="2100"/>
                  </a:lnTo>
                  <a:lnTo>
                    <a:pt x="1038" y="2106"/>
                  </a:lnTo>
                  <a:lnTo>
                    <a:pt x="1002" y="2106"/>
                  </a:lnTo>
                  <a:lnTo>
                    <a:pt x="978" y="2094"/>
                  </a:lnTo>
                  <a:lnTo>
                    <a:pt x="972" y="2082"/>
                  </a:lnTo>
                  <a:lnTo>
                    <a:pt x="966" y="2070"/>
                  </a:lnTo>
                  <a:lnTo>
                    <a:pt x="954" y="2064"/>
                  </a:lnTo>
                  <a:lnTo>
                    <a:pt x="942" y="2058"/>
                  </a:lnTo>
                  <a:lnTo>
                    <a:pt x="936" y="2058"/>
                  </a:lnTo>
                  <a:lnTo>
                    <a:pt x="918" y="2046"/>
                  </a:lnTo>
                  <a:lnTo>
                    <a:pt x="906" y="2028"/>
                  </a:lnTo>
                  <a:lnTo>
                    <a:pt x="900" y="2022"/>
                  </a:lnTo>
                  <a:lnTo>
                    <a:pt x="894" y="2022"/>
                  </a:lnTo>
                  <a:lnTo>
                    <a:pt x="882" y="2022"/>
                  </a:lnTo>
                  <a:lnTo>
                    <a:pt x="870" y="2016"/>
                  </a:lnTo>
                  <a:lnTo>
                    <a:pt x="864" y="2016"/>
                  </a:lnTo>
                  <a:lnTo>
                    <a:pt x="852" y="2010"/>
                  </a:lnTo>
                  <a:lnTo>
                    <a:pt x="846" y="2004"/>
                  </a:lnTo>
                  <a:lnTo>
                    <a:pt x="840" y="2004"/>
                  </a:lnTo>
                  <a:lnTo>
                    <a:pt x="828" y="1998"/>
                  </a:lnTo>
                  <a:lnTo>
                    <a:pt x="816" y="1998"/>
                  </a:lnTo>
                  <a:lnTo>
                    <a:pt x="810" y="1998"/>
                  </a:lnTo>
                  <a:lnTo>
                    <a:pt x="804" y="1998"/>
                  </a:lnTo>
                  <a:lnTo>
                    <a:pt x="798" y="1998"/>
                  </a:lnTo>
                  <a:lnTo>
                    <a:pt x="792" y="2004"/>
                  </a:lnTo>
                  <a:lnTo>
                    <a:pt x="786" y="2010"/>
                  </a:lnTo>
                  <a:lnTo>
                    <a:pt x="762" y="2010"/>
                  </a:lnTo>
                  <a:lnTo>
                    <a:pt x="756" y="2010"/>
                  </a:lnTo>
                  <a:lnTo>
                    <a:pt x="744" y="2022"/>
                  </a:lnTo>
                  <a:lnTo>
                    <a:pt x="738" y="2034"/>
                  </a:lnTo>
                  <a:lnTo>
                    <a:pt x="732" y="2040"/>
                  </a:lnTo>
                  <a:lnTo>
                    <a:pt x="732" y="2046"/>
                  </a:lnTo>
                  <a:lnTo>
                    <a:pt x="726" y="2058"/>
                  </a:lnTo>
                  <a:lnTo>
                    <a:pt x="720" y="2064"/>
                  </a:lnTo>
                  <a:lnTo>
                    <a:pt x="714" y="2070"/>
                  </a:lnTo>
                  <a:lnTo>
                    <a:pt x="708" y="2088"/>
                  </a:lnTo>
                  <a:lnTo>
                    <a:pt x="702" y="2100"/>
                  </a:lnTo>
                  <a:lnTo>
                    <a:pt x="690" y="2100"/>
                  </a:lnTo>
                  <a:lnTo>
                    <a:pt x="684" y="2094"/>
                  </a:lnTo>
                  <a:lnTo>
                    <a:pt x="666" y="2100"/>
                  </a:lnTo>
                  <a:lnTo>
                    <a:pt x="636" y="2106"/>
                  </a:lnTo>
                  <a:lnTo>
                    <a:pt x="636" y="2112"/>
                  </a:lnTo>
                  <a:lnTo>
                    <a:pt x="636" y="2118"/>
                  </a:lnTo>
                  <a:lnTo>
                    <a:pt x="636" y="2124"/>
                  </a:lnTo>
                  <a:lnTo>
                    <a:pt x="630" y="2124"/>
                  </a:lnTo>
                  <a:lnTo>
                    <a:pt x="630" y="2148"/>
                  </a:lnTo>
                  <a:lnTo>
                    <a:pt x="612" y="2160"/>
                  </a:lnTo>
                  <a:lnTo>
                    <a:pt x="576" y="2172"/>
                  </a:lnTo>
                  <a:lnTo>
                    <a:pt x="546" y="2172"/>
                  </a:lnTo>
                  <a:lnTo>
                    <a:pt x="516" y="2172"/>
                  </a:lnTo>
                  <a:lnTo>
                    <a:pt x="486" y="2172"/>
                  </a:lnTo>
                  <a:lnTo>
                    <a:pt x="462" y="2172"/>
                  </a:lnTo>
                  <a:lnTo>
                    <a:pt x="444" y="2196"/>
                  </a:lnTo>
                  <a:lnTo>
                    <a:pt x="432" y="2232"/>
                  </a:lnTo>
                  <a:lnTo>
                    <a:pt x="408" y="2238"/>
                  </a:lnTo>
                  <a:lnTo>
                    <a:pt x="390" y="2256"/>
                  </a:lnTo>
                  <a:lnTo>
                    <a:pt x="372" y="2274"/>
                  </a:lnTo>
                  <a:lnTo>
                    <a:pt x="360" y="2274"/>
                  </a:lnTo>
                  <a:lnTo>
                    <a:pt x="336" y="2328"/>
                  </a:lnTo>
                  <a:lnTo>
                    <a:pt x="324" y="2340"/>
                  </a:lnTo>
                  <a:lnTo>
                    <a:pt x="300" y="2346"/>
                  </a:lnTo>
                  <a:lnTo>
                    <a:pt x="294" y="2352"/>
                  </a:lnTo>
                  <a:lnTo>
                    <a:pt x="288" y="2352"/>
                  </a:lnTo>
                  <a:lnTo>
                    <a:pt x="282" y="2352"/>
                  </a:lnTo>
                  <a:lnTo>
                    <a:pt x="276" y="2352"/>
                  </a:lnTo>
                  <a:lnTo>
                    <a:pt x="270" y="2352"/>
                  </a:lnTo>
                  <a:lnTo>
                    <a:pt x="270" y="2346"/>
                  </a:lnTo>
                  <a:lnTo>
                    <a:pt x="264" y="2346"/>
                  </a:lnTo>
                  <a:lnTo>
                    <a:pt x="258" y="2352"/>
                  </a:lnTo>
                  <a:lnTo>
                    <a:pt x="252" y="2352"/>
                  </a:lnTo>
                  <a:lnTo>
                    <a:pt x="240" y="2352"/>
                  </a:lnTo>
                  <a:lnTo>
                    <a:pt x="228" y="2352"/>
                  </a:lnTo>
                  <a:lnTo>
                    <a:pt x="222" y="2352"/>
                  </a:lnTo>
                  <a:lnTo>
                    <a:pt x="216" y="2358"/>
                  </a:lnTo>
                  <a:lnTo>
                    <a:pt x="216" y="2352"/>
                  </a:lnTo>
                  <a:lnTo>
                    <a:pt x="210" y="2346"/>
                  </a:lnTo>
                  <a:lnTo>
                    <a:pt x="204" y="2346"/>
                  </a:lnTo>
                  <a:lnTo>
                    <a:pt x="198" y="2340"/>
                  </a:lnTo>
                  <a:lnTo>
                    <a:pt x="192" y="2340"/>
                  </a:lnTo>
                  <a:lnTo>
                    <a:pt x="186" y="2340"/>
                  </a:lnTo>
                  <a:lnTo>
                    <a:pt x="180" y="2340"/>
                  </a:lnTo>
                  <a:lnTo>
                    <a:pt x="174" y="2340"/>
                  </a:lnTo>
                  <a:lnTo>
                    <a:pt x="162" y="2328"/>
                  </a:lnTo>
                  <a:lnTo>
                    <a:pt x="156" y="2322"/>
                  </a:lnTo>
                  <a:lnTo>
                    <a:pt x="156" y="2316"/>
                  </a:lnTo>
                  <a:lnTo>
                    <a:pt x="156" y="2310"/>
                  </a:lnTo>
                  <a:lnTo>
                    <a:pt x="132" y="2286"/>
                  </a:lnTo>
                  <a:lnTo>
                    <a:pt x="120" y="2280"/>
                  </a:lnTo>
                  <a:lnTo>
                    <a:pt x="96" y="2274"/>
                  </a:lnTo>
                  <a:lnTo>
                    <a:pt x="84" y="2268"/>
                  </a:lnTo>
                  <a:lnTo>
                    <a:pt x="78" y="2268"/>
                  </a:lnTo>
                  <a:lnTo>
                    <a:pt x="78" y="2262"/>
                  </a:lnTo>
                  <a:lnTo>
                    <a:pt x="78" y="2256"/>
                  </a:lnTo>
                  <a:lnTo>
                    <a:pt x="78" y="2250"/>
                  </a:lnTo>
                  <a:lnTo>
                    <a:pt x="72" y="2250"/>
                  </a:lnTo>
                  <a:lnTo>
                    <a:pt x="66" y="2250"/>
                  </a:lnTo>
                  <a:lnTo>
                    <a:pt x="60" y="2250"/>
                  </a:lnTo>
                  <a:lnTo>
                    <a:pt x="48" y="2244"/>
                  </a:lnTo>
                  <a:lnTo>
                    <a:pt x="36" y="2238"/>
                  </a:lnTo>
                  <a:lnTo>
                    <a:pt x="36" y="2226"/>
                  </a:lnTo>
                  <a:lnTo>
                    <a:pt x="30" y="2226"/>
                  </a:lnTo>
                  <a:lnTo>
                    <a:pt x="30" y="2220"/>
                  </a:lnTo>
                  <a:lnTo>
                    <a:pt x="24" y="2208"/>
                  </a:lnTo>
                  <a:lnTo>
                    <a:pt x="18" y="2202"/>
                  </a:lnTo>
                  <a:lnTo>
                    <a:pt x="18" y="2196"/>
                  </a:lnTo>
                  <a:lnTo>
                    <a:pt x="12" y="2190"/>
                  </a:lnTo>
                  <a:lnTo>
                    <a:pt x="0" y="2190"/>
                  </a:lnTo>
                  <a:lnTo>
                    <a:pt x="6" y="2184"/>
                  </a:lnTo>
                  <a:lnTo>
                    <a:pt x="12" y="2178"/>
                  </a:lnTo>
                  <a:lnTo>
                    <a:pt x="18" y="2172"/>
                  </a:lnTo>
                  <a:lnTo>
                    <a:pt x="24" y="2166"/>
                  </a:lnTo>
                  <a:lnTo>
                    <a:pt x="30" y="2166"/>
                  </a:lnTo>
                  <a:lnTo>
                    <a:pt x="24" y="2160"/>
                  </a:lnTo>
                  <a:lnTo>
                    <a:pt x="30" y="2160"/>
                  </a:lnTo>
                  <a:lnTo>
                    <a:pt x="36" y="2154"/>
                  </a:lnTo>
                  <a:lnTo>
                    <a:pt x="36" y="2136"/>
                  </a:lnTo>
                  <a:lnTo>
                    <a:pt x="36" y="2118"/>
                  </a:lnTo>
                  <a:lnTo>
                    <a:pt x="48" y="2058"/>
                  </a:lnTo>
                  <a:lnTo>
                    <a:pt x="48" y="2022"/>
                  </a:lnTo>
                  <a:lnTo>
                    <a:pt x="48" y="2016"/>
                  </a:lnTo>
                  <a:lnTo>
                    <a:pt x="48" y="2010"/>
                  </a:lnTo>
                  <a:lnTo>
                    <a:pt x="48" y="2004"/>
                  </a:lnTo>
                  <a:lnTo>
                    <a:pt x="42" y="2004"/>
                  </a:lnTo>
                  <a:lnTo>
                    <a:pt x="42" y="1998"/>
                  </a:lnTo>
                  <a:lnTo>
                    <a:pt x="36" y="1992"/>
                  </a:lnTo>
                  <a:lnTo>
                    <a:pt x="42" y="1992"/>
                  </a:lnTo>
                  <a:lnTo>
                    <a:pt x="42" y="1986"/>
                  </a:lnTo>
                  <a:lnTo>
                    <a:pt x="48" y="1986"/>
                  </a:lnTo>
                  <a:lnTo>
                    <a:pt x="54" y="1986"/>
                  </a:lnTo>
                  <a:lnTo>
                    <a:pt x="60" y="1986"/>
                  </a:lnTo>
                  <a:lnTo>
                    <a:pt x="66" y="1980"/>
                  </a:lnTo>
                  <a:lnTo>
                    <a:pt x="72" y="1974"/>
                  </a:lnTo>
                  <a:lnTo>
                    <a:pt x="78" y="1974"/>
                  </a:lnTo>
                  <a:lnTo>
                    <a:pt x="84" y="1974"/>
                  </a:lnTo>
                  <a:lnTo>
                    <a:pt x="90" y="1974"/>
                  </a:lnTo>
                  <a:lnTo>
                    <a:pt x="96" y="1974"/>
                  </a:lnTo>
                  <a:lnTo>
                    <a:pt x="96" y="1968"/>
                  </a:lnTo>
                  <a:lnTo>
                    <a:pt x="102" y="1968"/>
                  </a:lnTo>
                  <a:lnTo>
                    <a:pt x="102" y="1962"/>
                  </a:lnTo>
                  <a:lnTo>
                    <a:pt x="108" y="1962"/>
                  </a:lnTo>
                  <a:lnTo>
                    <a:pt x="114" y="1956"/>
                  </a:lnTo>
                  <a:lnTo>
                    <a:pt x="120" y="1956"/>
                  </a:lnTo>
                  <a:lnTo>
                    <a:pt x="126" y="1950"/>
                  </a:lnTo>
                  <a:lnTo>
                    <a:pt x="132" y="1950"/>
                  </a:lnTo>
                  <a:lnTo>
                    <a:pt x="132" y="1944"/>
                  </a:lnTo>
                  <a:lnTo>
                    <a:pt x="126" y="1944"/>
                  </a:lnTo>
                  <a:lnTo>
                    <a:pt x="126" y="1938"/>
                  </a:lnTo>
                  <a:lnTo>
                    <a:pt x="126" y="1932"/>
                  </a:lnTo>
                  <a:lnTo>
                    <a:pt x="126" y="1926"/>
                  </a:lnTo>
                  <a:lnTo>
                    <a:pt x="114" y="1914"/>
                  </a:lnTo>
                  <a:lnTo>
                    <a:pt x="114" y="1896"/>
                  </a:lnTo>
                  <a:lnTo>
                    <a:pt x="108" y="1884"/>
                  </a:lnTo>
                  <a:lnTo>
                    <a:pt x="102" y="1872"/>
                  </a:lnTo>
                  <a:lnTo>
                    <a:pt x="96" y="1866"/>
                  </a:lnTo>
                  <a:lnTo>
                    <a:pt x="96" y="1860"/>
                  </a:lnTo>
                  <a:lnTo>
                    <a:pt x="90" y="1860"/>
                  </a:lnTo>
                  <a:lnTo>
                    <a:pt x="90" y="1854"/>
                  </a:lnTo>
                  <a:lnTo>
                    <a:pt x="84" y="1848"/>
                  </a:lnTo>
                  <a:lnTo>
                    <a:pt x="78" y="1842"/>
                  </a:lnTo>
                  <a:lnTo>
                    <a:pt x="72" y="1836"/>
                  </a:lnTo>
                  <a:lnTo>
                    <a:pt x="66" y="1830"/>
                  </a:lnTo>
                  <a:lnTo>
                    <a:pt x="60" y="1824"/>
                  </a:lnTo>
                  <a:lnTo>
                    <a:pt x="54" y="1824"/>
                  </a:lnTo>
                  <a:lnTo>
                    <a:pt x="48" y="1824"/>
                  </a:lnTo>
                  <a:lnTo>
                    <a:pt x="42" y="1818"/>
                  </a:lnTo>
                  <a:lnTo>
                    <a:pt x="54" y="1818"/>
                  </a:lnTo>
                  <a:lnTo>
                    <a:pt x="60" y="1812"/>
                  </a:lnTo>
                  <a:lnTo>
                    <a:pt x="66" y="1812"/>
                  </a:lnTo>
                  <a:lnTo>
                    <a:pt x="72" y="1812"/>
                  </a:lnTo>
                  <a:lnTo>
                    <a:pt x="78" y="1812"/>
                  </a:lnTo>
                  <a:lnTo>
                    <a:pt x="84" y="1812"/>
                  </a:lnTo>
                  <a:lnTo>
                    <a:pt x="90" y="1806"/>
                  </a:lnTo>
                  <a:lnTo>
                    <a:pt x="96" y="1800"/>
                  </a:lnTo>
                  <a:lnTo>
                    <a:pt x="102" y="1806"/>
                  </a:lnTo>
                  <a:lnTo>
                    <a:pt x="108" y="1800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26" y="1788"/>
                  </a:lnTo>
                  <a:lnTo>
                    <a:pt x="126" y="1794"/>
                  </a:lnTo>
                  <a:lnTo>
                    <a:pt x="132" y="1794"/>
                  </a:lnTo>
                  <a:lnTo>
                    <a:pt x="132" y="1788"/>
                  </a:lnTo>
                  <a:lnTo>
                    <a:pt x="138" y="1788"/>
                  </a:lnTo>
                  <a:lnTo>
                    <a:pt x="138" y="1782"/>
                  </a:lnTo>
                  <a:lnTo>
                    <a:pt x="144" y="1782"/>
                  </a:lnTo>
                  <a:lnTo>
                    <a:pt x="150" y="1776"/>
                  </a:lnTo>
                  <a:lnTo>
                    <a:pt x="156" y="1782"/>
                  </a:lnTo>
                  <a:lnTo>
                    <a:pt x="162" y="1776"/>
                  </a:lnTo>
                  <a:lnTo>
                    <a:pt x="168" y="1776"/>
                  </a:lnTo>
                  <a:lnTo>
                    <a:pt x="180" y="1776"/>
                  </a:lnTo>
                  <a:lnTo>
                    <a:pt x="186" y="1776"/>
                  </a:lnTo>
                  <a:lnTo>
                    <a:pt x="186" y="1782"/>
                  </a:lnTo>
                  <a:lnTo>
                    <a:pt x="192" y="1776"/>
                  </a:lnTo>
                  <a:lnTo>
                    <a:pt x="198" y="1776"/>
                  </a:lnTo>
                  <a:lnTo>
                    <a:pt x="204" y="1770"/>
                  </a:lnTo>
                  <a:lnTo>
                    <a:pt x="204" y="1764"/>
                  </a:lnTo>
                  <a:lnTo>
                    <a:pt x="210" y="1764"/>
                  </a:lnTo>
                  <a:lnTo>
                    <a:pt x="216" y="1764"/>
                  </a:lnTo>
                  <a:lnTo>
                    <a:pt x="216" y="1758"/>
                  </a:lnTo>
                  <a:lnTo>
                    <a:pt x="222" y="1758"/>
                  </a:lnTo>
                  <a:lnTo>
                    <a:pt x="228" y="1758"/>
                  </a:lnTo>
                  <a:lnTo>
                    <a:pt x="258" y="1746"/>
                  </a:lnTo>
                  <a:lnTo>
                    <a:pt x="282" y="1716"/>
                  </a:lnTo>
                  <a:lnTo>
                    <a:pt x="300" y="1698"/>
                  </a:lnTo>
                  <a:lnTo>
                    <a:pt x="312" y="1698"/>
                  </a:lnTo>
                  <a:lnTo>
                    <a:pt x="336" y="1698"/>
                  </a:lnTo>
                  <a:lnTo>
                    <a:pt x="360" y="1698"/>
                  </a:lnTo>
                  <a:lnTo>
                    <a:pt x="372" y="1692"/>
                  </a:lnTo>
                  <a:lnTo>
                    <a:pt x="384" y="1692"/>
                  </a:lnTo>
                  <a:lnTo>
                    <a:pt x="360" y="1668"/>
                  </a:lnTo>
                  <a:lnTo>
                    <a:pt x="348" y="1626"/>
                  </a:lnTo>
                  <a:lnTo>
                    <a:pt x="354" y="1578"/>
                  </a:lnTo>
                  <a:lnTo>
                    <a:pt x="354" y="1572"/>
                  </a:lnTo>
                  <a:lnTo>
                    <a:pt x="360" y="1572"/>
                  </a:lnTo>
                  <a:lnTo>
                    <a:pt x="396" y="1530"/>
                  </a:lnTo>
                  <a:lnTo>
                    <a:pt x="408" y="1482"/>
                  </a:lnTo>
                  <a:lnTo>
                    <a:pt x="438" y="1458"/>
                  </a:lnTo>
                  <a:lnTo>
                    <a:pt x="468" y="1422"/>
                  </a:lnTo>
                  <a:lnTo>
                    <a:pt x="480" y="1410"/>
                  </a:lnTo>
                  <a:lnTo>
                    <a:pt x="474" y="1386"/>
                  </a:lnTo>
                  <a:lnTo>
                    <a:pt x="456" y="1356"/>
                  </a:lnTo>
                  <a:lnTo>
                    <a:pt x="438" y="1350"/>
                  </a:lnTo>
                  <a:lnTo>
                    <a:pt x="420" y="1350"/>
                  </a:lnTo>
                  <a:lnTo>
                    <a:pt x="402" y="1350"/>
                  </a:lnTo>
                  <a:lnTo>
                    <a:pt x="390" y="1344"/>
                  </a:lnTo>
                  <a:lnTo>
                    <a:pt x="390" y="1332"/>
                  </a:lnTo>
                  <a:lnTo>
                    <a:pt x="402" y="1296"/>
                  </a:lnTo>
                  <a:lnTo>
                    <a:pt x="414" y="1260"/>
                  </a:lnTo>
                  <a:lnTo>
                    <a:pt x="426" y="1248"/>
                  </a:lnTo>
                  <a:lnTo>
                    <a:pt x="438" y="1242"/>
                  </a:lnTo>
                  <a:lnTo>
                    <a:pt x="432" y="1230"/>
                  </a:lnTo>
                  <a:lnTo>
                    <a:pt x="432" y="1224"/>
                  </a:lnTo>
                  <a:lnTo>
                    <a:pt x="426" y="1218"/>
                  </a:lnTo>
                  <a:lnTo>
                    <a:pt x="426" y="1206"/>
                  </a:lnTo>
                  <a:lnTo>
                    <a:pt x="426" y="1200"/>
                  </a:lnTo>
                  <a:lnTo>
                    <a:pt x="432" y="1194"/>
                  </a:lnTo>
                  <a:lnTo>
                    <a:pt x="426" y="1188"/>
                  </a:lnTo>
                  <a:lnTo>
                    <a:pt x="432" y="1104"/>
                  </a:lnTo>
                  <a:lnTo>
                    <a:pt x="438" y="1086"/>
                  </a:lnTo>
                  <a:lnTo>
                    <a:pt x="462" y="972"/>
                  </a:lnTo>
                  <a:lnTo>
                    <a:pt x="456" y="900"/>
                  </a:lnTo>
                  <a:lnTo>
                    <a:pt x="444" y="846"/>
                  </a:lnTo>
                  <a:lnTo>
                    <a:pt x="456" y="810"/>
                  </a:lnTo>
                  <a:lnTo>
                    <a:pt x="492" y="786"/>
                  </a:lnTo>
                  <a:lnTo>
                    <a:pt x="522" y="762"/>
                  </a:lnTo>
                  <a:lnTo>
                    <a:pt x="546" y="732"/>
                  </a:lnTo>
                  <a:lnTo>
                    <a:pt x="570" y="696"/>
                  </a:lnTo>
                  <a:lnTo>
                    <a:pt x="582" y="654"/>
                  </a:lnTo>
                  <a:lnTo>
                    <a:pt x="564" y="642"/>
                  </a:lnTo>
                  <a:lnTo>
                    <a:pt x="522" y="588"/>
                  </a:lnTo>
                  <a:lnTo>
                    <a:pt x="516" y="546"/>
                  </a:lnTo>
                  <a:lnTo>
                    <a:pt x="510" y="474"/>
                  </a:lnTo>
                  <a:lnTo>
                    <a:pt x="510" y="450"/>
                  </a:lnTo>
                  <a:lnTo>
                    <a:pt x="510" y="444"/>
                  </a:lnTo>
                  <a:lnTo>
                    <a:pt x="522" y="438"/>
                  </a:lnTo>
                  <a:lnTo>
                    <a:pt x="522" y="432"/>
                  </a:lnTo>
                  <a:lnTo>
                    <a:pt x="528" y="426"/>
                  </a:lnTo>
                  <a:lnTo>
                    <a:pt x="534" y="420"/>
                  </a:lnTo>
                  <a:lnTo>
                    <a:pt x="540" y="414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08"/>
                  </a:lnTo>
                  <a:lnTo>
                    <a:pt x="546" y="408"/>
                  </a:lnTo>
                  <a:lnTo>
                    <a:pt x="558" y="414"/>
                  </a:lnTo>
                  <a:lnTo>
                    <a:pt x="564" y="414"/>
                  </a:lnTo>
                  <a:lnTo>
                    <a:pt x="570" y="414"/>
                  </a:lnTo>
                  <a:lnTo>
                    <a:pt x="582" y="414"/>
                  </a:lnTo>
                  <a:lnTo>
                    <a:pt x="582" y="420"/>
                  </a:lnTo>
                  <a:lnTo>
                    <a:pt x="588" y="414"/>
                  </a:lnTo>
                  <a:lnTo>
                    <a:pt x="582" y="408"/>
                  </a:lnTo>
                  <a:lnTo>
                    <a:pt x="588" y="402"/>
                  </a:lnTo>
                  <a:lnTo>
                    <a:pt x="594" y="402"/>
                  </a:lnTo>
                  <a:lnTo>
                    <a:pt x="594" y="396"/>
                  </a:lnTo>
                  <a:lnTo>
                    <a:pt x="594" y="390"/>
                  </a:lnTo>
                  <a:lnTo>
                    <a:pt x="594" y="384"/>
                  </a:lnTo>
                  <a:lnTo>
                    <a:pt x="594" y="378"/>
                  </a:lnTo>
                  <a:lnTo>
                    <a:pt x="600" y="366"/>
                  </a:lnTo>
                  <a:lnTo>
                    <a:pt x="606" y="366"/>
                  </a:lnTo>
                  <a:lnTo>
                    <a:pt x="612" y="360"/>
                  </a:lnTo>
                  <a:lnTo>
                    <a:pt x="612" y="366"/>
                  </a:lnTo>
                  <a:lnTo>
                    <a:pt x="618" y="366"/>
                  </a:lnTo>
                  <a:lnTo>
                    <a:pt x="624" y="366"/>
                  </a:lnTo>
                  <a:lnTo>
                    <a:pt x="630" y="360"/>
                  </a:lnTo>
                  <a:lnTo>
                    <a:pt x="636" y="354"/>
                  </a:lnTo>
                  <a:lnTo>
                    <a:pt x="630" y="354"/>
                  </a:lnTo>
                  <a:lnTo>
                    <a:pt x="630" y="348"/>
                  </a:lnTo>
                  <a:lnTo>
                    <a:pt x="630" y="342"/>
                  </a:lnTo>
                  <a:lnTo>
                    <a:pt x="636" y="342"/>
                  </a:lnTo>
                  <a:lnTo>
                    <a:pt x="642" y="336"/>
                  </a:lnTo>
                  <a:lnTo>
                    <a:pt x="636" y="330"/>
                  </a:lnTo>
                  <a:lnTo>
                    <a:pt x="630" y="336"/>
                  </a:lnTo>
                  <a:lnTo>
                    <a:pt x="624" y="336"/>
                  </a:lnTo>
                  <a:lnTo>
                    <a:pt x="624" y="330"/>
                  </a:lnTo>
                  <a:lnTo>
                    <a:pt x="624" y="324"/>
                  </a:lnTo>
                  <a:lnTo>
                    <a:pt x="618" y="324"/>
                  </a:lnTo>
                  <a:lnTo>
                    <a:pt x="624" y="324"/>
                  </a:lnTo>
                  <a:lnTo>
                    <a:pt x="630" y="330"/>
                  </a:lnTo>
                  <a:lnTo>
                    <a:pt x="630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2" y="306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8" y="288"/>
                  </a:lnTo>
                  <a:lnTo>
                    <a:pt x="648" y="282"/>
                  </a:lnTo>
                  <a:lnTo>
                    <a:pt x="654" y="288"/>
                  </a:lnTo>
                  <a:lnTo>
                    <a:pt x="654" y="282"/>
                  </a:lnTo>
                  <a:lnTo>
                    <a:pt x="660" y="282"/>
                  </a:lnTo>
                  <a:lnTo>
                    <a:pt x="666" y="282"/>
                  </a:lnTo>
                  <a:lnTo>
                    <a:pt x="672" y="282"/>
                  </a:lnTo>
                  <a:lnTo>
                    <a:pt x="678" y="282"/>
                  </a:lnTo>
                  <a:lnTo>
                    <a:pt x="684" y="276"/>
                  </a:lnTo>
                  <a:lnTo>
                    <a:pt x="690" y="270"/>
                  </a:lnTo>
                  <a:lnTo>
                    <a:pt x="690" y="264"/>
                  </a:lnTo>
                  <a:lnTo>
                    <a:pt x="690" y="270"/>
                  </a:lnTo>
                  <a:lnTo>
                    <a:pt x="690" y="276"/>
                  </a:lnTo>
                  <a:lnTo>
                    <a:pt x="696" y="276"/>
                  </a:lnTo>
                  <a:lnTo>
                    <a:pt x="702" y="276"/>
                  </a:lnTo>
                  <a:lnTo>
                    <a:pt x="702" y="282"/>
                  </a:lnTo>
                  <a:lnTo>
                    <a:pt x="708" y="282"/>
                  </a:lnTo>
                  <a:lnTo>
                    <a:pt x="720" y="270"/>
                  </a:lnTo>
                  <a:lnTo>
                    <a:pt x="720" y="264"/>
                  </a:lnTo>
                  <a:lnTo>
                    <a:pt x="720" y="258"/>
                  </a:lnTo>
                  <a:lnTo>
                    <a:pt x="726" y="258"/>
                  </a:lnTo>
                  <a:lnTo>
                    <a:pt x="732" y="258"/>
                  </a:lnTo>
                  <a:lnTo>
                    <a:pt x="732" y="264"/>
                  </a:lnTo>
                  <a:lnTo>
                    <a:pt x="738" y="264"/>
                  </a:lnTo>
                  <a:lnTo>
                    <a:pt x="738" y="258"/>
                  </a:lnTo>
                  <a:lnTo>
                    <a:pt x="732" y="258"/>
                  </a:lnTo>
                  <a:lnTo>
                    <a:pt x="732" y="252"/>
                  </a:lnTo>
                  <a:lnTo>
                    <a:pt x="744" y="252"/>
                  </a:lnTo>
                  <a:lnTo>
                    <a:pt x="750" y="252"/>
                  </a:lnTo>
                  <a:lnTo>
                    <a:pt x="750" y="246"/>
                  </a:lnTo>
                  <a:lnTo>
                    <a:pt x="750" y="240"/>
                  </a:lnTo>
                  <a:lnTo>
                    <a:pt x="762" y="234"/>
                  </a:lnTo>
                  <a:lnTo>
                    <a:pt x="768" y="234"/>
                  </a:lnTo>
                  <a:lnTo>
                    <a:pt x="774" y="234"/>
                  </a:lnTo>
                  <a:lnTo>
                    <a:pt x="780" y="228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16"/>
                  </a:lnTo>
                  <a:lnTo>
                    <a:pt x="792" y="210"/>
                  </a:lnTo>
                  <a:lnTo>
                    <a:pt x="804" y="204"/>
                  </a:lnTo>
                  <a:lnTo>
                    <a:pt x="804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0" y="192"/>
                  </a:lnTo>
                  <a:lnTo>
                    <a:pt x="798" y="186"/>
                  </a:lnTo>
                  <a:lnTo>
                    <a:pt x="810" y="186"/>
                  </a:lnTo>
                  <a:lnTo>
                    <a:pt x="810" y="180"/>
                  </a:lnTo>
                  <a:lnTo>
                    <a:pt x="810" y="186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0" y="180"/>
                  </a:lnTo>
                  <a:lnTo>
                    <a:pt x="816" y="174"/>
                  </a:lnTo>
                  <a:lnTo>
                    <a:pt x="822" y="174"/>
                  </a:lnTo>
                  <a:lnTo>
                    <a:pt x="822" y="180"/>
                  </a:lnTo>
                  <a:lnTo>
                    <a:pt x="828" y="180"/>
                  </a:lnTo>
                  <a:lnTo>
                    <a:pt x="828" y="174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62"/>
                  </a:lnTo>
                  <a:lnTo>
                    <a:pt x="828" y="156"/>
                  </a:lnTo>
                  <a:lnTo>
                    <a:pt x="822" y="156"/>
                  </a:lnTo>
                  <a:lnTo>
                    <a:pt x="828" y="156"/>
                  </a:lnTo>
                  <a:lnTo>
                    <a:pt x="828" y="150"/>
                  </a:lnTo>
                  <a:lnTo>
                    <a:pt x="834" y="150"/>
                  </a:lnTo>
                  <a:lnTo>
                    <a:pt x="840" y="156"/>
                  </a:lnTo>
                  <a:lnTo>
                    <a:pt x="840" y="150"/>
                  </a:lnTo>
                  <a:lnTo>
                    <a:pt x="834" y="150"/>
                  </a:lnTo>
                  <a:lnTo>
                    <a:pt x="834" y="144"/>
                  </a:lnTo>
                  <a:lnTo>
                    <a:pt x="840" y="138"/>
                  </a:lnTo>
                  <a:lnTo>
                    <a:pt x="846" y="144"/>
                  </a:lnTo>
                  <a:lnTo>
                    <a:pt x="846" y="150"/>
                  </a:lnTo>
                  <a:lnTo>
                    <a:pt x="852" y="150"/>
                  </a:lnTo>
                  <a:lnTo>
                    <a:pt x="858" y="150"/>
                  </a:lnTo>
                  <a:lnTo>
                    <a:pt x="870" y="150"/>
                  </a:lnTo>
                  <a:lnTo>
                    <a:pt x="870" y="144"/>
                  </a:lnTo>
                  <a:lnTo>
                    <a:pt x="876" y="138"/>
                  </a:lnTo>
                  <a:lnTo>
                    <a:pt x="882" y="138"/>
                  </a:lnTo>
                  <a:lnTo>
                    <a:pt x="888" y="132"/>
                  </a:lnTo>
                  <a:lnTo>
                    <a:pt x="888" y="138"/>
                  </a:lnTo>
                  <a:lnTo>
                    <a:pt x="894" y="138"/>
                  </a:lnTo>
                  <a:lnTo>
                    <a:pt x="894" y="132"/>
                  </a:lnTo>
                  <a:lnTo>
                    <a:pt x="900" y="126"/>
                  </a:lnTo>
                  <a:lnTo>
                    <a:pt x="900" y="132"/>
                  </a:lnTo>
                  <a:lnTo>
                    <a:pt x="906" y="132"/>
                  </a:lnTo>
                  <a:lnTo>
                    <a:pt x="912" y="132"/>
                  </a:lnTo>
                  <a:lnTo>
                    <a:pt x="918" y="126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24" y="126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8" y="120"/>
                  </a:lnTo>
                  <a:lnTo>
                    <a:pt x="948" y="114"/>
                  </a:lnTo>
                  <a:lnTo>
                    <a:pt x="948" y="108"/>
                  </a:lnTo>
                  <a:lnTo>
                    <a:pt x="954" y="114"/>
                  </a:lnTo>
                  <a:lnTo>
                    <a:pt x="960" y="108"/>
                  </a:lnTo>
                  <a:lnTo>
                    <a:pt x="966" y="108"/>
                  </a:lnTo>
                  <a:lnTo>
                    <a:pt x="972" y="108"/>
                  </a:lnTo>
                  <a:lnTo>
                    <a:pt x="966" y="114"/>
                  </a:lnTo>
                  <a:lnTo>
                    <a:pt x="960" y="114"/>
                  </a:lnTo>
                  <a:lnTo>
                    <a:pt x="960" y="120"/>
                  </a:lnTo>
                  <a:lnTo>
                    <a:pt x="966" y="126"/>
                  </a:lnTo>
                  <a:lnTo>
                    <a:pt x="972" y="126"/>
                  </a:lnTo>
                  <a:lnTo>
                    <a:pt x="978" y="126"/>
                  </a:lnTo>
                  <a:lnTo>
                    <a:pt x="984" y="120"/>
                  </a:lnTo>
                  <a:lnTo>
                    <a:pt x="984" y="114"/>
                  </a:lnTo>
                  <a:lnTo>
                    <a:pt x="996" y="126"/>
                  </a:lnTo>
                  <a:lnTo>
                    <a:pt x="996" y="120"/>
                  </a:lnTo>
                  <a:lnTo>
                    <a:pt x="1002" y="120"/>
                  </a:lnTo>
                  <a:lnTo>
                    <a:pt x="996" y="114"/>
                  </a:lnTo>
                  <a:lnTo>
                    <a:pt x="1002" y="114"/>
                  </a:lnTo>
                  <a:lnTo>
                    <a:pt x="1008" y="114"/>
                  </a:lnTo>
                  <a:lnTo>
                    <a:pt x="1008" y="108"/>
                  </a:lnTo>
                  <a:lnTo>
                    <a:pt x="1014" y="108"/>
                  </a:lnTo>
                  <a:lnTo>
                    <a:pt x="1008" y="114"/>
                  </a:lnTo>
                  <a:lnTo>
                    <a:pt x="1008" y="120"/>
                  </a:lnTo>
                  <a:lnTo>
                    <a:pt x="1008" y="126"/>
                  </a:lnTo>
                  <a:lnTo>
                    <a:pt x="1014" y="126"/>
                  </a:lnTo>
                  <a:lnTo>
                    <a:pt x="1014" y="132"/>
                  </a:lnTo>
                  <a:lnTo>
                    <a:pt x="1020" y="132"/>
                  </a:lnTo>
                  <a:lnTo>
                    <a:pt x="1020" y="126"/>
                  </a:lnTo>
                  <a:lnTo>
                    <a:pt x="1020" y="120"/>
                  </a:lnTo>
                  <a:lnTo>
                    <a:pt x="1032" y="120"/>
                  </a:lnTo>
                  <a:lnTo>
                    <a:pt x="1038" y="120"/>
                  </a:lnTo>
                  <a:lnTo>
                    <a:pt x="1038" y="126"/>
                  </a:lnTo>
                  <a:lnTo>
                    <a:pt x="1044" y="132"/>
                  </a:lnTo>
                  <a:lnTo>
                    <a:pt x="1044" y="126"/>
                  </a:lnTo>
                  <a:lnTo>
                    <a:pt x="1050" y="120"/>
                  </a:lnTo>
                  <a:lnTo>
                    <a:pt x="1050" y="114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68" y="102"/>
                  </a:lnTo>
                  <a:lnTo>
                    <a:pt x="1074" y="96"/>
                  </a:lnTo>
                  <a:lnTo>
                    <a:pt x="1074" y="90"/>
                  </a:lnTo>
                  <a:lnTo>
                    <a:pt x="1068" y="90"/>
                  </a:lnTo>
                  <a:lnTo>
                    <a:pt x="1068" y="84"/>
                  </a:lnTo>
                  <a:lnTo>
                    <a:pt x="1080" y="84"/>
                  </a:lnTo>
                  <a:lnTo>
                    <a:pt x="1086" y="78"/>
                  </a:lnTo>
                  <a:lnTo>
                    <a:pt x="1086" y="72"/>
                  </a:lnTo>
                  <a:lnTo>
                    <a:pt x="1080" y="78"/>
                  </a:lnTo>
                  <a:lnTo>
                    <a:pt x="1080" y="72"/>
                  </a:lnTo>
                  <a:lnTo>
                    <a:pt x="1080" y="66"/>
                  </a:lnTo>
                  <a:lnTo>
                    <a:pt x="1074" y="66"/>
                  </a:lnTo>
                  <a:lnTo>
                    <a:pt x="1080" y="66"/>
                  </a:lnTo>
                  <a:lnTo>
                    <a:pt x="1080" y="60"/>
                  </a:lnTo>
                  <a:lnTo>
                    <a:pt x="1086" y="60"/>
                  </a:lnTo>
                  <a:lnTo>
                    <a:pt x="1086" y="54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2" y="42"/>
                  </a:lnTo>
                  <a:lnTo>
                    <a:pt x="1098" y="42"/>
                  </a:lnTo>
                  <a:lnTo>
                    <a:pt x="1104" y="36"/>
                  </a:lnTo>
                  <a:lnTo>
                    <a:pt x="1110" y="36"/>
                  </a:lnTo>
                  <a:lnTo>
                    <a:pt x="1110" y="30"/>
                  </a:lnTo>
                  <a:lnTo>
                    <a:pt x="1110" y="24"/>
                  </a:lnTo>
                  <a:lnTo>
                    <a:pt x="1116" y="24"/>
                  </a:lnTo>
                  <a:lnTo>
                    <a:pt x="1116" y="18"/>
                  </a:lnTo>
                  <a:lnTo>
                    <a:pt x="1122" y="18"/>
                  </a:lnTo>
                  <a:lnTo>
                    <a:pt x="1128" y="18"/>
                  </a:lnTo>
                  <a:lnTo>
                    <a:pt x="1134" y="12"/>
                  </a:lnTo>
                  <a:lnTo>
                    <a:pt x="1134" y="6"/>
                  </a:lnTo>
                  <a:lnTo>
                    <a:pt x="1140" y="6"/>
                  </a:lnTo>
                  <a:lnTo>
                    <a:pt x="1146" y="0"/>
                  </a:lnTo>
                  <a:lnTo>
                    <a:pt x="1152" y="0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70" y="0"/>
                  </a:lnTo>
                  <a:lnTo>
                    <a:pt x="1176" y="6"/>
                  </a:lnTo>
                  <a:lnTo>
                    <a:pt x="1182" y="6"/>
                  </a:lnTo>
                  <a:lnTo>
                    <a:pt x="1194" y="6"/>
                  </a:lnTo>
                  <a:lnTo>
                    <a:pt x="1200" y="6"/>
                  </a:lnTo>
                  <a:lnTo>
                    <a:pt x="1212" y="0"/>
                  </a:lnTo>
                  <a:lnTo>
                    <a:pt x="1212" y="6"/>
                  </a:lnTo>
                  <a:lnTo>
                    <a:pt x="1218" y="6"/>
                  </a:lnTo>
                  <a:lnTo>
                    <a:pt x="1266" y="6"/>
                  </a:lnTo>
                  <a:lnTo>
                    <a:pt x="1272" y="0"/>
                  </a:lnTo>
                  <a:lnTo>
                    <a:pt x="1278" y="6"/>
                  </a:lnTo>
                  <a:lnTo>
                    <a:pt x="1290" y="6"/>
                  </a:lnTo>
                  <a:lnTo>
                    <a:pt x="1296" y="6"/>
                  </a:lnTo>
                  <a:lnTo>
                    <a:pt x="1308" y="6"/>
                  </a:lnTo>
                  <a:lnTo>
                    <a:pt x="1314" y="6"/>
                  </a:lnTo>
                  <a:lnTo>
                    <a:pt x="1320" y="6"/>
                  </a:lnTo>
                  <a:lnTo>
                    <a:pt x="1326" y="12"/>
                  </a:lnTo>
                  <a:lnTo>
                    <a:pt x="1338" y="30"/>
                  </a:lnTo>
                  <a:lnTo>
                    <a:pt x="1344" y="36"/>
                  </a:lnTo>
                  <a:lnTo>
                    <a:pt x="1356" y="48"/>
                  </a:lnTo>
                  <a:lnTo>
                    <a:pt x="1362" y="60"/>
                  </a:lnTo>
                  <a:lnTo>
                    <a:pt x="1368" y="66"/>
                  </a:lnTo>
                  <a:lnTo>
                    <a:pt x="1374" y="72"/>
                  </a:lnTo>
                  <a:lnTo>
                    <a:pt x="1374" y="78"/>
                  </a:lnTo>
                  <a:lnTo>
                    <a:pt x="1398" y="108"/>
                  </a:lnTo>
                  <a:lnTo>
                    <a:pt x="1398" y="114"/>
                  </a:lnTo>
                  <a:lnTo>
                    <a:pt x="1404" y="114"/>
                  </a:lnTo>
                  <a:lnTo>
                    <a:pt x="1404" y="120"/>
                  </a:lnTo>
                  <a:lnTo>
                    <a:pt x="1410" y="132"/>
                  </a:lnTo>
                  <a:lnTo>
                    <a:pt x="1416" y="132"/>
                  </a:lnTo>
                  <a:lnTo>
                    <a:pt x="1416" y="138"/>
                  </a:lnTo>
                  <a:lnTo>
                    <a:pt x="1422" y="144"/>
                  </a:lnTo>
                  <a:lnTo>
                    <a:pt x="1428" y="150"/>
                  </a:lnTo>
                  <a:lnTo>
                    <a:pt x="1428" y="156"/>
                  </a:lnTo>
                  <a:lnTo>
                    <a:pt x="1458" y="192"/>
                  </a:lnTo>
                  <a:lnTo>
                    <a:pt x="1458" y="198"/>
                  </a:lnTo>
                  <a:lnTo>
                    <a:pt x="1464" y="204"/>
                  </a:lnTo>
                  <a:lnTo>
                    <a:pt x="1470" y="210"/>
                  </a:lnTo>
                  <a:lnTo>
                    <a:pt x="1476" y="216"/>
                  </a:lnTo>
                  <a:lnTo>
                    <a:pt x="1482" y="228"/>
                  </a:lnTo>
                  <a:lnTo>
                    <a:pt x="1488" y="234"/>
                  </a:lnTo>
                  <a:lnTo>
                    <a:pt x="1512" y="270"/>
                  </a:lnTo>
                  <a:lnTo>
                    <a:pt x="1512" y="276"/>
                  </a:lnTo>
                  <a:lnTo>
                    <a:pt x="1530" y="300"/>
                  </a:lnTo>
                  <a:lnTo>
                    <a:pt x="1536" y="306"/>
                  </a:lnTo>
                  <a:lnTo>
                    <a:pt x="1542" y="312"/>
                  </a:lnTo>
                  <a:lnTo>
                    <a:pt x="1542" y="318"/>
                  </a:lnTo>
                  <a:lnTo>
                    <a:pt x="1560" y="336"/>
                  </a:lnTo>
                  <a:lnTo>
                    <a:pt x="1566" y="348"/>
                  </a:lnTo>
                  <a:lnTo>
                    <a:pt x="1572" y="354"/>
                  </a:lnTo>
                  <a:lnTo>
                    <a:pt x="1578" y="360"/>
                  </a:lnTo>
                  <a:lnTo>
                    <a:pt x="1584" y="378"/>
                  </a:lnTo>
                  <a:lnTo>
                    <a:pt x="1590" y="378"/>
                  </a:lnTo>
                  <a:lnTo>
                    <a:pt x="1596" y="390"/>
                  </a:lnTo>
                  <a:lnTo>
                    <a:pt x="1602" y="396"/>
                  </a:lnTo>
                  <a:lnTo>
                    <a:pt x="1608" y="408"/>
                  </a:lnTo>
                  <a:lnTo>
                    <a:pt x="1614" y="408"/>
                  </a:lnTo>
                  <a:lnTo>
                    <a:pt x="1614" y="432"/>
                  </a:lnTo>
                  <a:lnTo>
                    <a:pt x="1620" y="438"/>
                  </a:lnTo>
                  <a:lnTo>
                    <a:pt x="1620" y="450"/>
                  </a:lnTo>
                  <a:lnTo>
                    <a:pt x="1620" y="462"/>
                  </a:lnTo>
                  <a:lnTo>
                    <a:pt x="1626" y="474"/>
                  </a:lnTo>
                  <a:lnTo>
                    <a:pt x="1626" y="480"/>
                  </a:lnTo>
                  <a:lnTo>
                    <a:pt x="1626" y="486"/>
                  </a:lnTo>
                  <a:lnTo>
                    <a:pt x="1632" y="522"/>
                  </a:lnTo>
                  <a:lnTo>
                    <a:pt x="1632" y="528"/>
                  </a:lnTo>
                  <a:lnTo>
                    <a:pt x="1632" y="534"/>
                  </a:lnTo>
                  <a:lnTo>
                    <a:pt x="1638" y="540"/>
                  </a:lnTo>
                  <a:lnTo>
                    <a:pt x="1638" y="558"/>
                  </a:lnTo>
                  <a:lnTo>
                    <a:pt x="1638" y="570"/>
                  </a:lnTo>
                  <a:lnTo>
                    <a:pt x="1644" y="582"/>
                  </a:lnTo>
                  <a:lnTo>
                    <a:pt x="1650" y="618"/>
                  </a:lnTo>
                  <a:lnTo>
                    <a:pt x="1650" y="624"/>
                  </a:lnTo>
                  <a:lnTo>
                    <a:pt x="1650" y="636"/>
                  </a:lnTo>
                  <a:lnTo>
                    <a:pt x="1656" y="642"/>
                  </a:lnTo>
                  <a:lnTo>
                    <a:pt x="1656" y="648"/>
                  </a:lnTo>
                  <a:lnTo>
                    <a:pt x="1656" y="654"/>
                  </a:lnTo>
                  <a:lnTo>
                    <a:pt x="1656" y="660"/>
                  </a:lnTo>
                  <a:lnTo>
                    <a:pt x="1662" y="696"/>
                  </a:lnTo>
                  <a:lnTo>
                    <a:pt x="1668" y="708"/>
                  </a:lnTo>
                  <a:lnTo>
                    <a:pt x="1668" y="714"/>
                  </a:lnTo>
                  <a:lnTo>
                    <a:pt x="1668" y="732"/>
                  </a:lnTo>
                  <a:lnTo>
                    <a:pt x="1668" y="744"/>
                  </a:lnTo>
                  <a:lnTo>
                    <a:pt x="1674" y="756"/>
                  </a:lnTo>
                  <a:lnTo>
                    <a:pt x="1680" y="762"/>
                  </a:lnTo>
                  <a:lnTo>
                    <a:pt x="1680" y="768"/>
                  </a:lnTo>
                  <a:lnTo>
                    <a:pt x="1680" y="774"/>
                  </a:lnTo>
                  <a:lnTo>
                    <a:pt x="1680" y="780"/>
                  </a:lnTo>
                  <a:lnTo>
                    <a:pt x="1674" y="786"/>
                  </a:lnTo>
                  <a:lnTo>
                    <a:pt x="1668" y="792"/>
                  </a:lnTo>
                  <a:lnTo>
                    <a:pt x="1668" y="798"/>
                  </a:lnTo>
                  <a:lnTo>
                    <a:pt x="1668" y="804"/>
                  </a:lnTo>
                  <a:lnTo>
                    <a:pt x="1674" y="804"/>
                  </a:lnTo>
                  <a:lnTo>
                    <a:pt x="1668" y="810"/>
                  </a:lnTo>
                  <a:lnTo>
                    <a:pt x="1674" y="810"/>
                  </a:lnTo>
                  <a:lnTo>
                    <a:pt x="1680" y="810"/>
                  </a:lnTo>
                  <a:lnTo>
                    <a:pt x="1680" y="816"/>
                  </a:lnTo>
                  <a:lnTo>
                    <a:pt x="1680" y="822"/>
                  </a:lnTo>
                  <a:lnTo>
                    <a:pt x="1674" y="822"/>
                  </a:lnTo>
                  <a:lnTo>
                    <a:pt x="1674" y="828"/>
                  </a:lnTo>
                  <a:lnTo>
                    <a:pt x="1668" y="828"/>
                  </a:lnTo>
                  <a:lnTo>
                    <a:pt x="1674" y="834"/>
                  </a:lnTo>
                  <a:lnTo>
                    <a:pt x="1668" y="834"/>
                  </a:lnTo>
                  <a:lnTo>
                    <a:pt x="1668" y="840"/>
                  </a:lnTo>
                  <a:lnTo>
                    <a:pt x="1674" y="840"/>
                  </a:lnTo>
                  <a:lnTo>
                    <a:pt x="1686" y="852"/>
                  </a:lnTo>
                  <a:lnTo>
                    <a:pt x="1692" y="858"/>
                  </a:lnTo>
                  <a:lnTo>
                    <a:pt x="1698" y="858"/>
                  </a:lnTo>
                  <a:lnTo>
                    <a:pt x="1698" y="864"/>
                  </a:lnTo>
                  <a:lnTo>
                    <a:pt x="1698" y="870"/>
                  </a:lnTo>
                  <a:lnTo>
                    <a:pt x="1704" y="864"/>
                  </a:lnTo>
                  <a:lnTo>
                    <a:pt x="1716" y="864"/>
                  </a:lnTo>
                  <a:lnTo>
                    <a:pt x="1722" y="864"/>
                  </a:lnTo>
                  <a:lnTo>
                    <a:pt x="1728" y="864"/>
                  </a:lnTo>
                  <a:lnTo>
                    <a:pt x="1734" y="864"/>
                  </a:lnTo>
                  <a:lnTo>
                    <a:pt x="1740" y="864"/>
                  </a:lnTo>
                  <a:lnTo>
                    <a:pt x="1746" y="876"/>
                  </a:lnTo>
                  <a:lnTo>
                    <a:pt x="1746" y="870"/>
                  </a:lnTo>
                  <a:lnTo>
                    <a:pt x="1740" y="864"/>
                  </a:lnTo>
                  <a:lnTo>
                    <a:pt x="1746" y="864"/>
                  </a:lnTo>
                  <a:lnTo>
                    <a:pt x="1752" y="870"/>
                  </a:lnTo>
                  <a:lnTo>
                    <a:pt x="1758" y="864"/>
                  </a:lnTo>
                  <a:lnTo>
                    <a:pt x="1764" y="864"/>
                  </a:lnTo>
                  <a:lnTo>
                    <a:pt x="1770" y="858"/>
                  </a:lnTo>
                  <a:lnTo>
                    <a:pt x="1782" y="864"/>
                  </a:lnTo>
                  <a:lnTo>
                    <a:pt x="1782" y="870"/>
                  </a:lnTo>
                  <a:lnTo>
                    <a:pt x="1788" y="864"/>
                  </a:lnTo>
                  <a:lnTo>
                    <a:pt x="1794" y="864"/>
                  </a:lnTo>
                  <a:lnTo>
                    <a:pt x="1800" y="870"/>
                  </a:lnTo>
                  <a:lnTo>
                    <a:pt x="1818" y="864"/>
                  </a:lnTo>
                  <a:lnTo>
                    <a:pt x="1824" y="870"/>
                  </a:lnTo>
                  <a:lnTo>
                    <a:pt x="1830" y="864"/>
                  </a:lnTo>
                  <a:lnTo>
                    <a:pt x="1836" y="864"/>
                  </a:lnTo>
                  <a:lnTo>
                    <a:pt x="1842" y="870"/>
                  </a:lnTo>
                  <a:lnTo>
                    <a:pt x="1842" y="876"/>
                  </a:lnTo>
                  <a:lnTo>
                    <a:pt x="1848" y="876"/>
                  </a:lnTo>
                  <a:lnTo>
                    <a:pt x="1848" y="870"/>
                  </a:lnTo>
                  <a:lnTo>
                    <a:pt x="1854" y="870"/>
                  </a:lnTo>
                  <a:lnTo>
                    <a:pt x="1860" y="870"/>
                  </a:lnTo>
                  <a:lnTo>
                    <a:pt x="1860" y="876"/>
                  </a:lnTo>
                  <a:lnTo>
                    <a:pt x="1866" y="876"/>
                  </a:lnTo>
                  <a:lnTo>
                    <a:pt x="1866" y="882"/>
                  </a:lnTo>
                  <a:lnTo>
                    <a:pt x="1872" y="882"/>
                  </a:lnTo>
                  <a:lnTo>
                    <a:pt x="1878" y="888"/>
                  </a:lnTo>
                  <a:lnTo>
                    <a:pt x="1890" y="888"/>
                  </a:lnTo>
                  <a:lnTo>
                    <a:pt x="1890" y="894"/>
                  </a:lnTo>
                  <a:lnTo>
                    <a:pt x="1890" y="900"/>
                  </a:lnTo>
                  <a:lnTo>
                    <a:pt x="1884" y="900"/>
                  </a:lnTo>
                  <a:lnTo>
                    <a:pt x="1884" y="906"/>
                  </a:lnTo>
                  <a:lnTo>
                    <a:pt x="1884" y="912"/>
                  </a:lnTo>
                  <a:lnTo>
                    <a:pt x="1890" y="912"/>
                  </a:lnTo>
                  <a:lnTo>
                    <a:pt x="1896" y="912"/>
                  </a:lnTo>
                  <a:lnTo>
                    <a:pt x="1902" y="912"/>
                  </a:lnTo>
                  <a:lnTo>
                    <a:pt x="1908" y="918"/>
                  </a:lnTo>
                  <a:lnTo>
                    <a:pt x="1908" y="924"/>
                  </a:lnTo>
                  <a:lnTo>
                    <a:pt x="1908" y="930"/>
                  </a:lnTo>
                  <a:lnTo>
                    <a:pt x="1908" y="936"/>
                  </a:lnTo>
                  <a:lnTo>
                    <a:pt x="1914" y="936"/>
                  </a:lnTo>
                  <a:lnTo>
                    <a:pt x="1914" y="942"/>
                  </a:lnTo>
                  <a:lnTo>
                    <a:pt x="1908" y="948"/>
                  </a:lnTo>
                  <a:lnTo>
                    <a:pt x="1914" y="948"/>
                  </a:lnTo>
                  <a:lnTo>
                    <a:pt x="1920" y="954"/>
                  </a:lnTo>
                  <a:lnTo>
                    <a:pt x="1926" y="954"/>
                  </a:lnTo>
                  <a:lnTo>
                    <a:pt x="1932" y="954"/>
                  </a:lnTo>
                  <a:lnTo>
                    <a:pt x="1938" y="954"/>
                  </a:lnTo>
                  <a:lnTo>
                    <a:pt x="1938" y="960"/>
                  </a:lnTo>
                  <a:lnTo>
                    <a:pt x="1944" y="966"/>
                  </a:lnTo>
                  <a:lnTo>
                    <a:pt x="1944" y="972"/>
                  </a:lnTo>
                  <a:lnTo>
                    <a:pt x="1944" y="978"/>
                  </a:lnTo>
                  <a:lnTo>
                    <a:pt x="1950" y="978"/>
                  </a:lnTo>
                  <a:lnTo>
                    <a:pt x="1950" y="984"/>
                  </a:lnTo>
                  <a:lnTo>
                    <a:pt x="1956" y="984"/>
                  </a:lnTo>
                  <a:lnTo>
                    <a:pt x="1962" y="984"/>
                  </a:lnTo>
                  <a:lnTo>
                    <a:pt x="1962" y="978"/>
                  </a:lnTo>
                  <a:lnTo>
                    <a:pt x="1968" y="978"/>
                  </a:lnTo>
                  <a:lnTo>
                    <a:pt x="1974" y="978"/>
                  </a:lnTo>
                  <a:lnTo>
                    <a:pt x="1980" y="972"/>
                  </a:lnTo>
                  <a:lnTo>
                    <a:pt x="1980" y="978"/>
                  </a:lnTo>
                  <a:lnTo>
                    <a:pt x="1980" y="984"/>
                  </a:lnTo>
                  <a:lnTo>
                    <a:pt x="1986" y="984"/>
                  </a:lnTo>
                  <a:lnTo>
                    <a:pt x="1992" y="990"/>
                  </a:lnTo>
                  <a:lnTo>
                    <a:pt x="1992" y="996"/>
                  </a:lnTo>
                  <a:lnTo>
                    <a:pt x="1992" y="1002"/>
                  </a:lnTo>
                  <a:lnTo>
                    <a:pt x="1974" y="1008"/>
                  </a:lnTo>
                  <a:lnTo>
                    <a:pt x="1974" y="1014"/>
                  </a:lnTo>
                  <a:lnTo>
                    <a:pt x="1974" y="1020"/>
                  </a:lnTo>
                  <a:lnTo>
                    <a:pt x="1974" y="1026"/>
                  </a:lnTo>
                  <a:lnTo>
                    <a:pt x="1968" y="1038"/>
                  </a:lnTo>
                  <a:lnTo>
                    <a:pt x="1968" y="1044"/>
                  </a:lnTo>
                  <a:lnTo>
                    <a:pt x="1974" y="1056"/>
                  </a:lnTo>
                  <a:lnTo>
                    <a:pt x="1968" y="1062"/>
                  </a:lnTo>
                  <a:lnTo>
                    <a:pt x="1962" y="1062"/>
                  </a:lnTo>
                  <a:lnTo>
                    <a:pt x="1956" y="1068"/>
                  </a:lnTo>
                  <a:lnTo>
                    <a:pt x="1956" y="1074"/>
                  </a:lnTo>
                  <a:lnTo>
                    <a:pt x="1956" y="1080"/>
                  </a:lnTo>
                  <a:lnTo>
                    <a:pt x="1956" y="1086"/>
                  </a:lnTo>
                  <a:lnTo>
                    <a:pt x="1956" y="1092"/>
                  </a:lnTo>
                  <a:lnTo>
                    <a:pt x="1962" y="1092"/>
                  </a:lnTo>
                  <a:lnTo>
                    <a:pt x="1962" y="1104"/>
                  </a:lnTo>
                  <a:lnTo>
                    <a:pt x="1968" y="1110"/>
                  </a:lnTo>
                  <a:lnTo>
                    <a:pt x="1968" y="1116"/>
                  </a:lnTo>
                  <a:lnTo>
                    <a:pt x="1974" y="1116"/>
                  </a:lnTo>
                  <a:lnTo>
                    <a:pt x="1974" y="1122"/>
                  </a:lnTo>
                  <a:lnTo>
                    <a:pt x="1980" y="1122"/>
                  </a:lnTo>
                  <a:lnTo>
                    <a:pt x="1974" y="1128"/>
                  </a:lnTo>
                  <a:lnTo>
                    <a:pt x="1968" y="1134"/>
                  </a:lnTo>
                  <a:lnTo>
                    <a:pt x="1962" y="1140"/>
                  </a:lnTo>
                  <a:lnTo>
                    <a:pt x="1962" y="1146"/>
                  </a:lnTo>
                  <a:lnTo>
                    <a:pt x="1968" y="1152"/>
                  </a:lnTo>
                  <a:lnTo>
                    <a:pt x="1968" y="1158"/>
                  </a:lnTo>
                  <a:lnTo>
                    <a:pt x="1962" y="1158"/>
                  </a:lnTo>
                  <a:lnTo>
                    <a:pt x="1962" y="1164"/>
                  </a:lnTo>
                  <a:lnTo>
                    <a:pt x="1956" y="1164"/>
                  </a:lnTo>
                  <a:lnTo>
                    <a:pt x="1956" y="1170"/>
                  </a:lnTo>
                  <a:lnTo>
                    <a:pt x="1944" y="1182"/>
                  </a:lnTo>
                  <a:lnTo>
                    <a:pt x="1944" y="1188"/>
                  </a:lnTo>
                  <a:lnTo>
                    <a:pt x="1950" y="1188"/>
                  </a:lnTo>
                  <a:lnTo>
                    <a:pt x="1944" y="1200"/>
                  </a:lnTo>
                  <a:lnTo>
                    <a:pt x="1944" y="1206"/>
                  </a:lnTo>
                  <a:lnTo>
                    <a:pt x="1944" y="1212"/>
                  </a:lnTo>
                  <a:lnTo>
                    <a:pt x="1944" y="1218"/>
                  </a:lnTo>
                  <a:lnTo>
                    <a:pt x="1944" y="1230"/>
                  </a:lnTo>
                  <a:lnTo>
                    <a:pt x="1944" y="1236"/>
                  </a:lnTo>
                  <a:lnTo>
                    <a:pt x="1944" y="1242"/>
                  </a:lnTo>
                  <a:lnTo>
                    <a:pt x="1938" y="1248"/>
                  </a:lnTo>
                  <a:lnTo>
                    <a:pt x="1938" y="1254"/>
                  </a:lnTo>
                  <a:lnTo>
                    <a:pt x="1932" y="1254"/>
                  </a:lnTo>
                  <a:lnTo>
                    <a:pt x="1926" y="1260"/>
                  </a:lnTo>
                  <a:lnTo>
                    <a:pt x="1920" y="1266"/>
                  </a:lnTo>
                  <a:lnTo>
                    <a:pt x="1914" y="1272"/>
                  </a:lnTo>
                  <a:lnTo>
                    <a:pt x="1908" y="1272"/>
                  </a:lnTo>
                  <a:lnTo>
                    <a:pt x="1908" y="1278"/>
                  </a:lnTo>
                  <a:lnTo>
                    <a:pt x="1914" y="1278"/>
                  </a:lnTo>
                  <a:lnTo>
                    <a:pt x="1914" y="1290"/>
                  </a:lnTo>
                  <a:lnTo>
                    <a:pt x="1920" y="1296"/>
                  </a:lnTo>
                  <a:lnTo>
                    <a:pt x="1938" y="1302"/>
                  </a:lnTo>
                  <a:lnTo>
                    <a:pt x="1944" y="1308"/>
                  </a:lnTo>
                  <a:lnTo>
                    <a:pt x="1950" y="1314"/>
                  </a:lnTo>
                  <a:lnTo>
                    <a:pt x="1956" y="1314"/>
                  </a:lnTo>
                  <a:lnTo>
                    <a:pt x="1962" y="1320"/>
                  </a:lnTo>
                  <a:lnTo>
                    <a:pt x="1962" y="1326"/>
                  </a:lnTo>
                  <a:lnTo>
                    <a:pt x="1968" y="1326"/>
                  </a:lnTo>
                  <a:lnTo>
                    <a:pt x="1968" y="1332"/>
                  </a:lnTo>
                  <a:lnTo>
                    <a:pt x="1968" y="1344"/>
                  </a:lnTo>
                  <a:lnTo>
                    <a:pt x="1968" y="1350"/>
                  </a:lnTo>
                  <a:lnTo>
                    <a:pt x="1968" y="1368"/>
                  </a:lnTo>
                  <a:lnTo>
                    <a:pt x="1962" y="1380"/>
                  </a:lnTo>
                  <a:lnTo>
                    <a:pt x="1968" y="1392"/>
                  </a:lnTo>
                  <a:lnTo>
                    <a:pt x="1962" y="1398"/>
                  </a:lnTo>
                  <a:lnTo>
                    <a:pt x="1956" y="1404"/>
                  </a:lnTo>
                  <a:lnTo>
                    <a:pt x="1950" y="1410"/>
                  </a:lnTo>
                  <a:lnTo>
                    <a:pt x="1944" y="1410"/>
                  </a:lnTo>
                  <a:lnTo>
                    <a:pt x="1932" y="1416"/>
                  </a:lnTo>
                  <a:lnTo>
                    <a:pt x="1926" y="1416"/>
                  </a:lnTo>
                  <a:lnTo>
                    <a:pt x="1896" y="1428"/>
                  </a:lnTo>
                  <a:lnTo>
                    <a:pt x="1884" y="1434"/>
                  </a:lnTo>
                  <a:lnTo>
                    <a:pt x="1878" y="1434"/>
                  </a:lnTo>
                  <a:lnTo>
                    <a:pt x="1866" y="1434"/>
                  </a:lnTo>
                  <a:lnTo>
                    <a:pt x="1854" y="1440"/>
                  </a:lnTo>
                  <a:lnTo>
                    <a:pt x="1848" y="1440"/>
                  </a:lnTo>
                  <a:lnTo>
                    <a:pt x="1842" y="1446"/>
                  </a:lnTo>
                  <a:lnTo>
                    <a:pt x="1842" y="1458"/>
                  </a:lnTo>
                  <a:lnTo>
                    <a:pt x="1836" y="1470"/>
                  </a:lnTo>
                  <a:lnTo>
                    <a:pt x="1830" y="1476"/>
                  </a:lnTo>
                  <a:lnTo>
                    <a:pt x="1824" y="1476"/>
                  </a:lnTo>
                  <a:lnTo>
                    <a:pt x="1806" y="1482"/>
                  </a:lnTo>
                  <a:lnTo>
                    <a:pt x="1800" y="1488"/>
                  </a:lnTo>
                  <a:lnTo>
                    <a:pt x="1794" y="1488"/>
                  </a:lnTo>
                  <a:lnTo>
                    <a:pt x="1788" y="1488"/>
                  </a:lnTo>
                  <a:lnTo>
                    <a:pt x="1776" y="1494"/>
                  </a:lnTo>
                  <a:lnTo>
                    <a:pt x="1764" y="1494"/>
                  </a:lnTo>
                  <a:lnTo>
                    <a:pt x="1758" y="1500"/>
                  </a:lnTo>
                  <a:lnTo>
                    <a:pt x="1746" y="1506"/>
                  </a:lnTo>
                  <a:lnTo>
                    <a:pt x="1728" y="1518"/>
                  </a:lnTo>
                  <a:lnTo>
                    <a:pt x="1716" y="1524"/>
                  </a:lnTo>
                  <a:lnTo>
                    <a:pt x="1710" y="1530"/>
                  </a:lnTo>
                  <a:lnTo>
                    <a:pt x="1704" y="1536"/>
                  </a:lnTo>
                  <a:lnTo>
                    <a:pt x="1698" y="1542"/>
                  </a:lnTo>
                  <a:lnTo>
                    <a:pt x="1692" y="1554"/>
                  </a:lnTo>
                  <a:lnTo>
                    <a:pt x="1686" y="1560"/>
                  </a:lnTo>
                  <a:lnTo>
                    <a:pt x="1680" y="1560"/>
                  </a:lnTo>
                  <a:lnTo>
                    <a:pt x="1674" y="1560"/>
                  </a:lnTo>
                  <a:lnTo>
                    <a:pt x="1656" y="1572"/>
                  </a:lnTo>
                  <a:lnTo>
                    <a:pt x="1650" y="1572"/>
                  </a:lnTo>
                  <a:lnTo>
                    <a:pt x="1644" y="1572"/>
                  </a:lnTo>
                  <a:lnTo>
                    <a:pt x="1638" y="1578"/>
                  </a:lnTo>
                  <a:lnTo>
                    <a:pt x="1632" y="1578"/>
                  </a:lnTo>
                  <a:lnTo>
                    <a:pt x="1626" y="1578"/>
                  </a:lnTo>
                  <a:lnTo>
                    <a:pt x="1620" y="1572"/>
                  </a:lnTo>
                  <a:lnTo>
                    <a:pt x="1614" y="1572"/>
                  </a:lnTo>
                  <a:lnTo>
                    <a:pt x="1608" y="1566"/>
                  </a:lnTo>
                  <a:lnTo>
                    <a:pt x="1602" y="1560"/>
                  </a:lnTo>
                  <a:lnTo>
                    <a:pt x="1596" y="1554"/>
                  </a:lnTo>
                  <a:lnTo>
                    <a:pt x="1590" y="1548"/>
                  </a:lnTo>
                  <a:lnTo>
                    <a:pt x="1578" y="1548"/>
                  </a:lnTo>
                  <a:lnTo>
                    <a:pt x="1572" y="1548"/>
                  </a:lnTo>
                  <a:lnTo>
                    <a:pt x="1566" y="1548"/>
                  </a:lnTo>
                  <a:lnTo>
                    <a:pt x="1554" y="1536"/>
                  </a:lnTo>
                  <a:lnTo>
                    <a:pt x="1548" y="1536"/>
                  </a:lnTo>
                  <a:lnTo>
                    <a:pt x="1542" y="1542"/>
                  </a:lnTo>
                  <a:lnTo>
                    <a:pt x="1536" y="1548"/>
                  </a:lnTo>
                  <a:lnTo>
                    <a:pt x="1536" y="1566"/>
                  </a:lnTo>
                  <a:lnTo>
                    <a:pt x="1530" y="1572"/>
                  </a:lnTo>
                  <a:lnTo>
                    <a:pt x="1524" y="1578"/>
                  </a:lnTo>
                  <a:lnTo>
                    <a:pt x="1518" y="1584"/>
                  </a:lnTo>
                  <a:lnTo>
                    <a:pt x="1512" y="1596"/>
                  </a:lnTo>
                  <a:lnTo>
                    <a:pt x="1506" y="1602"/>
                  </a:lnTo>
                  <a:lnTo>
                    <a:pt x="1506" y="1608"/>
                  </a:lnTo>
                  <a:lnTo>
                    <a:pt x="1506" y="1614"/>
                  </a:lnTo>
                  <a:lnTo>
                    <a:pt x="1500" y="1614"/>
                  </a:lnTo>
                  <a:lnTo>
                    <a:pt x="1500" y="1620"/>
                  </a:lnTo>
                  <a:lnTo>
                    <a:pt x="1500" y="1626"/>
                  </a:lnTo>
                  <a:lnTo>
                    <a:pt x="1494" y="1632"/>
                  </a:lnTo>
                  <a:lnTo>
                    <a:pt x="1488" y="1638"/>
                  </a:lnTo>
                  <a:lnTo>
                    <a:pt x="1482" y="1638"/>
                  </a:lnTo>
                  <a:lnTo>
                    <a:pt x="1482" y="1644"/>
                  </a:lnTo>
                  <a:lnTo>
                    <a:pt x="1482" y="1650"/>
                  </a:lnTo>
                  <a:lnTo>
                    <a:pt x="1482" y="1656"/>
                  </a:lnTo>
                  <a:lnTo>
                    <a:pt x="1476" y="1662"/>
                  </a:lnTo>
                  <a:lnTo>
                    <a:pt x="1470" y="1668"/>
                  </a:lnTo>
                  <a:lnTo>
                    <a:pt x="1464" y="1674"/>
                  </a:lnTo>
                  <a:lnTo>
                    <a:pt x="1464" y="1680"/>
                  </a:lnTo>
                  <a:lnTo>
                    <a:pt x="1458" y="1680"/>
                  </a:lnTo>
                  <a:lnTo>
                    <a:pt x="1452" y="1686"/>
                  </a:lnTo>
                  <a:lnTo>
                    <a:pt x="1446" y="1686"/>
                  </a:lnTo>
                  <a:lnTo>
                    <a:pt x="1440" y="1698"/>
                  </a:lnTo>
                  <a:lnTo>
                    <a:pt x="1440" y="1704"/>
                  </a:lnTo>
                  <a:lnTo>
                    <a:pt x="1434" y="1710"/>
                  </a:lnTo>
                  <a:lnTo>
                    <a:pt x="1434" y="1716"/>
                  </a:lnTo>
                  <a:lnTo>
                    <a:pt x="1428" y="1716"/>
                  </a:lnTo>
                  <a:lnTo>
                    <a:pt x="1428" y="1722"/>
                  </a:lnTo>
                  <a:lnTo>
                    <a:pt x="1428" y="1728"/>
                  </a:lnTo>
                  <a:lnTo>
                    <a:pt x="1422" y="1728"/>
                  </a:lnTo>
                  <a:lnTo>
                    <a:pt x="1422" y="1734"/>
                  </a:lnTo>
                  <a:lnTo>
                    <a:pt x="1416" y="1734"/>
                  </a:lnTo>
                  <a:lnTo>
                    <a:pt x="1410" y="1734"/>
                  </a:lnTo>
                  <a:lnTo>
                    <a:pt x="1392" y="1746"/>
                  </a:lnTo>
                  <a:lnTo>
                    <a:pt x="1386" y="1746"/>
                  </a:lnTo>
                  <a:lnTo>
                    <a:pt x="1368" y="1752"/>
                  </a:lnTo>
                  <a:lnTo>
                    <a:pt x="1362" y="1758"/>
                  </a:lnTo>
                  <a:lnTo>
                    <a:pt x="1362" y="1770"/>
                  </a:lnTo>
                  <a:lnTo>
                    <a:pt x="1356" y="178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pic>
        <p:nvPicPr>
          <p:cNvPr id="23609" name="Picture 13">
            <a:extLst>
              <a:ext uri="{FF2B5EF4-FFF2-40B4-BE49-F238E27FC236}">
                <a16:creationId xmlns:a16="http://schemas.microsoft.com/office/drawing/2014/main" id="{952964D5-F0ED-4CAE-B71C-DB4A723FA5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0" y="3006725"/>
            <a:ext cx="1116013" cy="155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9" name="TextBox 378">
            <a:extLst>
              <a:ext uri="{FF2B5EF4-FFF2-40B4-BE49-F238E27FC236}">
                <a16:creationId xmlns:a16="http://schemas.microsoft.com/office/drawing/2014/main" id="{1B3FD4BF-4685-4C74-821F-10048D6246BF}"/>
              </a:ext>
            </a:extLst>
          </p:cNvPr>
          <p:cNvSpPr txBox="1"/>
          <p:nvPr/>
        </p:nvSpPr>
        <p:spPr>
          <a:xfrm>
            <a:off x="6124575" y="957263"/>
            <a:ext cx="3475038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Competitive Advantages</a:t>
            </a: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455FE7A1-ADE5-4F7B-A489-00196671A53E}"/>
              </a:ext>
            </a:extLst>
          </p:cNvPr>
          <p:cNvSpPr/>
          <p:nvPr/>
        </p:nvSpPr>
        <p:spPr>
          <a:xfrm>
            <a:off x="4267248" y="1187511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dbl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N</a:t>
            </a:r>
            <a:r>
              <a:rPr kumimoji="0" lang="en-US" sz="1600" b="0" i="0" u="none" strike="no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10.9bn/$35.8m</a:t>
            </a:r>
            <a:endParaRPr kumimoji="0" lang="en-MY" sz="1600" b="0" i="0" u="none" strike="noStrike" kern="1200" cap="none" spc="-15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EBB25788-D073-4A78-9D6C-DF3836CFFFBB}"/>
              </a:ext>
            </a:extLst>
          </p:cNvPr>
          <p:cNvSpPr txBox="1"/>
          <p:nvPr/>
        </p:nvSpPr>
        <p:spPr>
          <a:xfrm>
            <a:off x="4267200" y="955675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IGR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 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(2017)</a:t>
            </a: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6F07DF39-553B-44F0-8864-1F897C2BD79A}"/>
              </a:ext>
            </a:extLst>
          </p:cNvPr>
          <p:cNvSpPr/>
          <p:nvPr/>
        </p:nvSpPr>
        <p:spPr>
          <a:xfrm>
            <a:off x="4267252" y="1809750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dbl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N</a:t>
            </a:r>
            <a:r>
              <a:rPr kumimoji="0" lang="en-US" sz="1600" b="0" i="0" u="none" strike="no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181.4bn/$594.8bn</a:t>
            </a:r>
            <a:endParaRPr kumimoji="0" lang="en-MY" sz="1600" b="0" i="0" u="none" strike="noStrike" kern="1200" cap="none" spc="-15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2508695A-2D2C-45A3-80FE-9C2CB18200C2}"/>
              </a:ext>
            </a:extLst>
          </p:cNvPr>
          <p:cNvSpPr txBox="1"/>
          <p:nvPr/>
        </p:nvSpPr>
        <p:spPr>
          <a:xfrm>
            <a:off x="4267200" y="1576388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Budget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 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(2018)</a:t>
            </a: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86A33ABE-3AE3-40A7-A6A6-1B757A6A9B0F}"/>
              </a:ext>
            </a:extLst>
          </p:cNvPr>
          <p:cNvSpPr/>
          <p:nvPr/>
        </p:nvSpPr>
        <p:spPr>
          <a:xfrm>
            <a:off x="4256076" y="2667155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dbl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N</a:t>
            </a:r>
            <a:r>
              <a:rPr kumimoji="0" lang="en-US" sz="1600" b="0" i="0" u="none" strike="no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2.2tn /$7.3m</a:t>
            </a:r>
            <a:endParaRPr kumimoji="0" lang="en-MY" sz="1600" b="0" i="0" u="none" strike="noStrike" kern="1200" cap="none" spc="-15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1E919764-A18B-4532-A533-A84A31D7FEFE}"/>
              </a:ext>
            </a:extLst>
          </p:cNvPr>
          <p:cNvSpPr txBox="1"/>
          <p:nvPr/>
        </p:nvSpPr>
        <p:spPr>
          <a:xfrm>
            <a:off x="4256088" y="2185988"/>
            <a:ext cx="1811337" cy="50641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Househol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Consumption 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(2017)</a:t>
            </a:r>
          </a:p>
        </p:txBody>
      </p:sp>
      <p:sp>
        <p:nvSpPr>
          <p:cNvPr id="96" name="Plaque 95">
            <a:extLst>
              <a:ext uri="{FF2B5EF4-FFF2-40B4-BE49-F238E27FC236}">
                <a16:creationId xmlns:a16="http://schemas.microsoft.com/office/drawing/2014/main" id="{E3BE1182-17B4-4194-8641-F1EA2CCBB757}"/>
              </a:ext>
            </a:extLst>
          </p:cNvPr>
          <p:cNvSpPr/>
          <p:nvPr/>
        </p:nvSpPr>
        <p:spPr>
          <a:xfrm>
            <a:off x="5656263" y="2805113"/>
            <a:ext cx="411162" cy="153987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dirty="0">
                <a:solidFill>
                  <a:prstClr val="white"/>
                </a:solidFill>
                <a:latin typeface="Calibri" panose="020F0502020204030204" pitchFamily="34" charset="0"/>
              </a:rPr>
              <a:t>8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of 36</a:t>
            </a:r>
          </a:p>
        </p:txBody>
      </p:sp>
      <p:sp>
        <p:nvSpPr>
          <p:cNvPr id="99" name="Plaque 98">
            <a:extLst>
              <a:ext uri="{FF2B5EF4-FFF2-40B4-BE49-F238E27FC236}">
                <a16:creationId xmlns:a16="http://schemas.microsoft.com/office/drawing/2014/main" id="{8620E393-1C52-4CE1-9888-20922FA6DFEA}"/>
              </a:ext>
            </a:extLst>
          </p:cNvPr>
          <p:cNvSpPr/>
          <p:nvPr/>
        </p:nvSpPr>
        <p:spPr>
          <a:xfrm>
            <a:off x="5638800" y="1960612"/>
            <a:ext cx="428626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dirty="0">
                <a:solidFill>
                  <a:prstClr val="white"/>
                </a:solidFill>
                <a:latin typeface="Calibri" panose="020F0502020204030204" pitchFamily="34" charset="0"/>
              </a:rPr>
              <a:t>16 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f 36</a:t>
            </a:r>
          </a:p>
        </p:txBody>
      </p:sp>
      <p:sp>
        <p:nvSpPr>
          <p:cNvPr id="100" name="Plaque 99">
            <a:extLst>
              <a:ext uri="{FF2B5EF4-FFF2-40B4-BE49-F238E27FC236}">
                <a16:creationId xmlns:a16="http://schemas.microsoft.com/office/drawing/2014/main" id="{3BFA6D28-9A42-4459-8BF1-090CE1B45216}"/>
              </a:ext>
            </a:extLst>
          </p:cNvPr>
          <p:cNvSpPr/>
          <p:nvPr/>
        </p:nvSpPr>
        <p:spPr>
          <a:xfrm>
            <a:off x="5638800" y="1333500"/>
            <a:ext cx="430213" cy="1539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of 36</a:t>
            </a:r>
          </a:p>
        </p:txBody>
      </p:sp>
      <p:sp>
        <p:nvSpPr>
          <p:cNvPr id="101" name="Pentagon 19">
            <a:extLst>
              <a:ext uri="{FF2B5EF4-FFF2-40B4-BE49-F238E27FC236}">
                <a16:creationId xmlns:a16="http://schemas.microsoft.com/office/drawing/2014/main" id="{CCD74FA4-19D0-4356-90C9-B3B49BCC3F54}"/>
              </a:ext>
            </a:extLst>
          </p:cNvPr>
          <p:cNvSpPr>
            <a:spLocks/>
          </p:cNvSpPr>
          <p:nvPr/>
        </p:nvSpPr>
        <p:spPr bwMode="auto">
          <a:xfrm>
            <a:off x="688340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dirty="0">
                <a:solidFill>
                  <a:prstClr val="white"/>
                </a:solidFill>
                <a:latin typeface="Calibri" panose="020F0502020204030204" pitchFamily="34" charset="0"/>
              </a:rPr>
              <a:t>37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of 37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12EE735-1E43-4799-A46A-5D0787F375CE}"/>
              </a:ext>
            </a:extLst>
          </p:cNvPr>
          <p:cNvSpPr/>
          <p:nvPr/>
        </p:nvSpPr>
        <p:spPr>
          <a:xfrm>
            <a:off x="6880225" y="5726113"/>
            <a:ext cx="642938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rting a Business</a:t>
            </a:r>
          </a:p>
        </p:txBody>
      </p:sp>
      <p:pic>
        <p:nvPicPr>
          <p:cNvPr id="23622" name="Picture 3">
            <a:extLst>
              <a:ext uri="{FF2B5EF4-FFF2-40B4-BE49-F238E27FC236}">
                <a16:creationId xmlns:a16="http://schemas.microsoft.com/office/drawing/2014/main" id="{53FAD0C6-8FFE-437B-B7E4-F2A938D3BE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350" y="5249863"/>
            <a:ext cx="41910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23" name="Freeform 15">
            <a:extLst>
              <a:ext uri="{FF2B5EF4-FFF2-40B4-BE49-F238E27FC236}">
                <a16:creationId xmlns:a16="http://schemas.microsoft.com/office/drawing/2014/main" id="{183A3C8B-011E-4D99-9165-3FF03A2D3207}"/>
              </a:ext>
            </a:extLst>
          </p:cNvPr>
          <p:cNvSpPr>
            <a:spLocks noEditPoints="1"/>
          </p:cNvSpPr>
          <p:nvPr/>
        </p:nvSpPr>
        <p:spPr bwMode="auto">
          <a:xfrm>
            <a:off x="9093200" y="5257800"/>
            <a:ext cx="276225" cy="347663"/>
          </a:xfrm>
          <a:custGeom>
            <a:avLst/>
            <a:gdLst>
              <a:gd name="T0" fmla="*/ 2147483646 w 3556"/>
              <a:gd name="T1" fmla="*/ 2147483646 h 3950"/>
              <a:gd name="T2" fmla="*/ 2147483646 w 3556"/>
              <a:gd name="T3" fmla="*/ 2147483646 h 3950"/>
              <a:gd name="T4" fmla="*/ 2147483646 w 3556"/>
              <a:gd name="T5" fmla="*/ 2147483646 h 3950"/>
              <a:gd name="T6" fmla="*/ 2147483646 w 3556"/>
              <a:gd name="T7" fmla="*/ 2147483646 h 3950"/>
              <a:gd name="T8" fmla="*/ 2147483646 w 3556"/>
              <a:gd name="T9" fmla="*/ 2147483646 h 3950"/>
              <a:gd name="T10" fmla="*/ 2147483646 w 3556"/>
              <a:gd name="T11" fmla="*/ 2147483646 h 3950"/>
              <a:gd name="T12" fmla="*/ 2147483646 w 3556"/>
              <a:gd name="T13" fmla="*/ 2147483646 h 3950"/>
              <a:gd name="T14" fmla="*/ 2147483646 w 3556"/>
              <a:gd name="T15" fmla="*/ 2147483646 h 3950"/>
              <a:gd name="T16" fmla="*/ 2147483646 w 3556"/>
              <a:gd name="T17" fmla="*/ 2147483646 h 3950"/>
              <a:gd name="T18" fmla="*/ 2147483646 w 3556"/>
              <a:gd name="T19" fmla="*/ 2147483646 h 3950"/>
              <a:gd name="T20" fmla="*/ 2147483646 w 3556"/>
              <a:gd name="T21" fmla="*/ 2147483646 h 3950"/>
              <a:gd name="T22" fmla="*/ 0 w 3556"/>
              <a:gd name="T23" fmla="*/ 2147483646 h 3950"/>
              <a:gd name="T24" fmla="*/ 2147483646 w 3556"/>
              <a:gd name="T25" fmla="*/ 2147483646 h 3950"/>
              <a:gd name="T26" fmla="*/ 2147483646 w 3556"/>
              <a:gd name="T27" fmla="*/ 2147483646 h 3950"/>
              <a:gd name="T28" fmla="*/ 2147483646 w 3556"/>
              <a:gd name="T29" fmla="*/ 2147483646 h 3950"/>
              <a:gd name="T30" fmla="*/ 2147483646 w 3556"/>
              <a:gd name="T31" fmla="*/ 2147483646 h 3950"/>
              <a:gd name="T32" fmla="*/ 2147483646 w 3556"/>
              <a:gd name="T33" fmla="*/ 2147483646 h 3950"/>
              <a:gd name="T34" fmla="*/ 2147483646 w 3556"/>
              <a:gd name="T35" fmla="*/ 2147483646 h 3950"/>
              <a:gd name="T36" fmla="*/ 2147483646 w 3556"/>
              <a:gd name="T37" fmla="*/ 2147483646 h 3950"/>
              <a:gd name="T38" fmla="*/ 2147483646 w 3556"/>
              <a:gd name="T39" fmla="*/ 2147483646 h 3950"/>
              <a:gd name="T40" fmla="*/ 2147483646 w 3556"/>
              <a:gd name="T41" fmla="*/ 2147483646 h 3950"/>
              <a:gd name="T42" fmla="*/ 2147483646 w 3556"/>
              <a:gd name="T43" fmla="*/ 2147483646 h 3950"/>
              <a:gd name="T44" fmla="*/ 2147483646 w 3556"/>
              <a:gd name="T45" fmla="*/ 2147483646 h 3950"/>
              <a:gd name="T46" fmla="*/ 2147483646 w 3556"/>
              <a:gd name="T47" fmla="*/ 2147483646 h 3950"/>
              <a:gd name="T48" fmla="*/ 2147483646 w 3556"/>
              <a:gd name="T49" fmla="*/ 2147483646 h 3950"/>
              <a:gd name="T50" fmla="*/ 2147483646 w 3556"/>
              <a:gd name="T51" fmla="*/ 2147483646 h 3950"/>
              <a:gd name="T52" fmla="*/ 2147483646 w 3556"/>
              <a:gd name="T53" fmla="*/ 2147483646 h 3950"/>
              <a:gd name="T54" fmla="*/ 2147483646 w 3556"/>
              <a:gd name="T55" fmla="*/ 2147483646 h 3950"/>
              <a:gd name="T56" fmla="*/ 2147483646 w 3556"/>
              <a:gd name="T57" fmla="*/ 2147483646 h 3950"/>
              <a:gd name="T58" fmla="*/ 2147483646 w 3556"/>
              <a:gd name="T59" fmla="*/ 2147483646 h 3950"/>
              <a:gd name="T60" fmla="*/ 2147483646 w 3556"/>
              <a:gd name="T61" fmla="*/ 2147483646 h 3950"/>
              <a:gd name="T62" fmla="*/ 2147483646 w 3556"/>
              <a:gd name="T63" fmla="*/ 2147483646 h 3950"/>
              <a:gd name="T64" fmla="*/ 2147483646 w 3556"/>
              <a:gd name="T65" fmla="*/ 2147483646 h 3950"/>
              <a:gd name="T66" fmla="*/ 2147483646 w 3556"/>
              <a:gd name="T67" fmla="*/ 2147483646 h 3950"/>
              <a:gd name="T68" fmla="*/ 2147483646 w 3556"/>
              <a:gd name="T69" fmla="*/ 2147483646 h 3950"/>
              <a:gd name="T70" fmla="*/ 2147483646 w 3556"/>
              <a:gd name="T71" fmla="*/ 2147483646 h 3950"/>
              <a:gd name="T72" fmla="*/ 2147483646 w 3556"/>
              <a:gd name="T73" fmla="*/ 2147483646 h 3950"/>
              <a:gd name="T74" fmla="*/ 2147483646 w 3556"/>
              <a:gd name="T75" fmla="*/ 2147483646 h 3950"/>
              <a:gd name="T76" fmla="*/ 2147483646 w 3556"/>
              <a:gd name="T77" fmla="*/ 2147483646 h 3950"/>
              <a:gd name="T78" fmla="*/ 2147483646 w 3556"/>
              <a:gd name="T79" fmla="*/ 2147483646 h 3950"/>
              <a:gd name="T80" fmla="*/ 2147483646 w 3556"/>
              <a:gd name="T81" fmla="*/ 0 h 3950"/>
              <a:gd name="T82" fmla="*/ 2147483646 w 3556"/>
              <a:gd name="T83" fmla="*/ 2147483646 h 3950"/>
              <a:gd name="T84" fmla="*/ 2147483646 w 3556"/>
              <a:gd name="T85" fmla="*/ 2147483646 h 3950"/>
              <a:gd name="T86" fmla="*/ 2147483646 w 3556"/>
              <a:gd name="T87" fmla="*/ 2147483646 h 395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556"/>
              <a:gd name="T133" fmla="*/ 0 h 3950"/>
              <a:gd name="T134" fmla="*/ 3556 w 3556"/>
              <a:gd name="T135" fmla="*/ 3950 h 395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556" h="3950">
                <a:moveTo>
                  <a:pt x="909" y="3917"/>
                </a:moveTo>
                <a:cubicBezTo>
                  <a:pt x="824" y="3832"/>
                  <a:pt x="894" y="3725"/>
                  <a:pt x="1036" y="3725"/>
                </a:cubicBezTo>
                <a:cubicBezTo>
                  <a:pt x="1119" y="3725"/>
                  <a:pt x="1129" y="3717"/>
                  <a:pt x="1129" y="3645"/>
                </a:cubicBezTo>
                <a:cubicBezTo>
                  <a:pt x="1129" y="3472"/>
                  <a:pt x="1135" y="3471"/>
                  <a:pt x="2192" y="3471"/>
                </a:cubicBezTo>
                <a:cubicBezTo>
                  <a:pt x="3086" y="3471"/>
                  <a:pt x="3155" y="3475"/>
                  <a:pt x="3199" y="3523"/>
                </a:cubicBezTo>
                <a:cubicBezTo>
                  <a:pt x="3225" y="3551"/>
                  <a:pt x="3246" y="3608"/>
                  <a:pt x="3246" y="3648"/>
                </a:cubicBezTo>
                <a:cubicBezTo>
                  <a:pt x="3246" y="3712"/>
                  <a:pt x="3259" y="3723"/>
                  <a:pt x="3349" y="3730"/>
                </a:cubicBezTo>
                <a:cubicBezTo>
                  <a:pt x="3470" y="3741"/>
                  <a:pt x="3530" y="3811"/>
                  <a:pt x="3482" y="3887"/>
                </a:cubicBezTo>
                <a:cubicBezTo>
                  <a:pt x="3453" y="3933"/>
                  <a:pt x="3356" y="3937"/>
                  <a:pt x="2197" y="3944"/>
                </a:cubicBezTo>
                <a:cubicBezTo>
                  <a:pt x="1245" y="3950"/>
                  <a:pt x="935" y="3943"/>
                  <a:pt x="909" y="3917"/>
                </a:cubicBezTo>
                <a:close/>
                <a:moveTo>
                  <a:pt x="87" y="3370"/>
                </a:moveTo>
                <a:cubicBezTo>
                  <a:pt x="24" y="3317"/>
                  <a:pt x="0" y="3272"/>
                  <a:pt x="0" y="3209"/>
                </a:cubicBezTo>
                <a:cubicBezTo>
                  <a:pt x="0" y="3132"/>
                  <a:pt x="86" y="3035"/>
                  <a:pt x="705" y="2414"/>
                </a:cubicBezTo>
                <a:lnTo>
                  <a:pt x="1411" y="1706"/>
                </a:lnTo>
                <a:lnTo>
                  <a:pt x="1235" y="1530"/>
                </a:lnTo>
                <a:lnTo>
                  <a:pt x="1059" y="1355"/>
                </a:lnTo>
                <a:lnTo>
                  <a:pt x="1510" y="903"/>
                </a:lnTo>
                <a:lnTo>
                  <a:pt x="1960" y="452"/>
                </a:lnTo>
                <a:lnTo>
                  <a:pt x="2135" y="624"/>
                </a:lnTo>
                <a:cubicBezTo>
                  <a:pt x="2305" y="793"/>
                  <a:pt x="2310" y="796"/>
                  <a:pt x="2374" y="751"/>
                </a:cubicBezTo>
                <a:cubicBezTo>
                  <a:pt x="2469" y="685"/>
                  <a:pt x="2547" y="695"/>
                  <a:pt x="2633" y="785"/>
                </a:cubicBezTo>
                <a:cubicBezTo>
                  <a:pt x="2720" y="875"/>
                  <a:pt x="2731" y="974"/>
                  <a:pt x="2662" y="1050"/>
                </a:cubicBezTo>
                <a:cubicBezTo>
                  <a:pt x="2616" y="1100"/>
                  <a:pt x="2624" y="1112"/>
                  <a:pt x="2823" y="1313"/>
                </a:cubicBezTo>
                <a:lnTo>
                  <a:pt x="3033" y="1524"/>
                </a:lnTo>
                <a:lnTo>
                  <a:pt x="2582" y="1975"/>
                </a:lnTo>
                <a:lnTo>
                  <a:pt x="2132" y="2427"/>
                </a:lnTo>
                <a:lnTo>
                  <a:pt x="1933" y="2229"/>
                </a:lnTo>
                <a:cubicBezTo>
                  <a:pt x="1824" y="2121"/>
                  <a:pt x="1722" y="2032"/>
                  <a:pt x="1707" y="2032"/>
                </a:cubicBezTo>
                <a:cubicBezTo>
                  <a:pt x="1693" y="2032"/>
                  <a:pt x="1362" y="2349"/>
                  <a:pt x="973" y="2737"/>
                </a:cubicBezTo>
                <a:cubicBezTo>
                  <a:pt x="584" y="3125"/>
                  <a:pt x="245" y="3443"/>
                  <a:pt x="220" y="3443"/>
                </a:cubicBezTo>
                <a:cubicBezTo>
                  <a:pt x="194" y="3443"/>
                  <a:pt x="135" y="3410"/>
                  <a:pt x="87" y="3370"/>
                </a:cubicBezTo>
                <a:close/>
                <a:moveTo>
                  <a:pt x="2258" y="2887"/>
                </a:moveTo>
                <a:cubicBezTo>
                  <a:pt x="2196" y="2865"/>
                  <a:pt x="2145" y="2792"/>
                  <a:pt x="2145" y="2725"/>
                </a:cubicBezTo>
                <a:cubicBezTo>
                  <a:pt x="2145" y="2686"/>
                  <a:pt x="2337" y="2474"/>
                  <a:pt x="2703" y="2109"/>
                </a:cubicBezTo>
                <a:cubicBezTo>
                  <a:pt x="3289" y="1523"/>
                  <a:pt x="3346" y="1485"/>
                  <a:pt x="3453" y="1604"/>
                </a:cubicBezTo>
                <a:cubicBezTo>
                  <a:pt x="3556" y="1717"/>
                  <a:pt x="3522" y="1766"/>
                  <a:pt x="2956" y="2331"/>
                </a:cubicBezTo>
                <a:cubicBezTo>
                  <a:pt x="2657" y="2630"/>
                  <a:pt x="2388" y="2880"/>
                  <a:pt x="2357" y="2888"/>
                </a:cubicBezTo>
                <a:cubicBezTo>
                  <a:pt x="2326" y="2895"/>
                  <a:pt x="2281" y="2895"/>
                  <a:pt x="2258" y="2887"/>
                </a:cubicBezTo>
                <a:close/>
                <a:moveTo>
                  <a:pt x="637" y="1282"/>
                </a:moveTo>
                <a:cubicBezTo>
                  <a:pt x="528" y="1172"/>
                  <a:pt x="568" y="1113"/>
                  <a:pt x="1137" y="544"/>
                </a:cubicBezTo>
                <a:cubicBezTo>
                  <a:pt x="1607" y="74"/>
                  <a:pt x="1693" y="0"/>
                  <a:pt x="1767" y="0"/>
                </a:cubicBezTo>
                <a:cubicBezTo>
                  <a:pt x="1862" y="0"/>
                  <a:pt x="1947" y="73"/>
                  <a:pt x="1947" y="156"/>
                </a:cubicBezTo>
                <a:cubicBezTo>
                  <a:pt x="1947" y="186"/>
                  <a:pt x="1715" y="442"/>
                  <a:pt x="1391" y="767"/>
                </a:cubicBezTo>
                <a:cubicBezTo>
                  <a:pt x="808" y="1353"/>
                  <a:pt x="749" y="1393"/>
                  <a:pt x="637" y="12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" name="Group 118">
            <a:extLst>
              <a:ext uri="{FF2B5EF4-FFF2-40B4-BE49-F238E27FC236}">
                <a16:creationId xmlns:a16="http://schemas.microsoft.com/office/drawing/2014/main" id="{FB3D6A90-C4FD-433A-A1C1-A4B3864804A5}"/>
              </a:ext>
            </a:extLst>
          </p:cNvPr>
          <p:cNvGrpSpPr/>
          <p:nvPr/>
        </p:nvGrpSpPr>
        <p:grpSpPr>
          <a:xfrm>
            <a:off x="8409631" y="5248358"/>
            <a:ext cx="346498" cy="347472"/>
            <a:chOff x="1468138" y="5997240"/>
            <a:chExt cx="283642" cy="307072"/>
          </a:xfrm>
          <a:solidFill>
            <a:schemeClr val="bg1"/>
          </a:solidFill>
        </p:grpSpPr>
        <p:sp>
          <p:nvSpPr>
            <p:cNvPr id="120" name="Freeform 16">
              <a:extLst>
                <a:ext uri="{FF2B5EF4-FFF2-40B4-BE49-F238E27FC236}">
                  <a16:creationId xmlns:a16="http://schemas.microsoft.com/office/drawing/2014/main" id="{D6134FC8-4249-4088-8AE8-003C8AAC7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6136" y="6255221"/>
              <a:ext cx="26428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1 w 349"/>
                <a:gd name="T25" fmla="*/ 226 h 350"/>
                <a:gd name="T26" fmla="*/ 225 w 349"/>
                <a:gd name="T27" fmla="*/ 213 h 350"/>
                <a:gd name="T28" fmla="*/ 234 w 349"/>
                <a:gd name="T29" fmla="*/ 194 h 350"/>
                <a:gd name="T30" fmla="*/ 237 w 349"/>
                <a:gd name="T31" fmla="*/ 175 h 350"/>
                <a:gd name="T32" fmla="*/ 235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5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4 w 349"/>
                <a:gd name="T47" fmla="*/ 3 h 350"/>
                <a:gd name="T48" fmla="*/ 234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8 w 349"/>
                <a:gd name="T55" fmla="*/ 63 h 350"/>
                <a:gd name="T56" fmla="*/ 325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5 w 349"/>
                <a:gd name="T65" fmla="*/ 210 h 350"/>
                <a:gd name="T66" fmla="*/ 335 w 349"/>
                <a:gd name="T67" fmla="*/ 243 h 350"/>
                <a:gd name="T68" fmla="*/ 319 w 349"/>
                <a:gd name="T69" fmla="*/ 273 h 350"/>
                <a:gd name="T70" fmla="*/ 297 w 349"/>
                <a:gd name="T71" fmla="*/ 299 h 350"/>
                <a:gd name="T72" fmla="*/ 272 w 349"/>
                <a:gd name="T73" fmla="*/ 319 h 350"/>
                <a:gd name="T74" fmla="*/ 242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39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29 w 349"/>
                <a:gd name="T89" fmla="*/ 273 h 350"/>
                <a:gd name="T90" fmla="*/ 14 w 349"/>
                <a:gd name="T91" fmla="*/ 243 h 350"/>
                <a:gd name="T92" fmla="*/ 3 w 349"/>
                <a:gd name="T93" fmla="*/ 210 h 350"/>
                <a:gd name="T94" fmla="*/ 0 w 349"/>
                <a:gd name="T95" fmla="*/ 175 h 350"/>
                <a:gd name="T96" fmla="*/ 3 w 349"/>
                <a:gd name="T97" fmla="*/ 140 h 350"/>
                <a:gd name="T98" fmla="*/ 14 w 349"/>
                <a:gd name="T99" fmla="*/ 107 h 350"/>
                <a:gd name="T100" fmla="*/ 29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39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1" y="226"/>
                  </a:lnTo>
                  <a:lnTo>
                    <a:pt x="225" y="213"/>
                  </a:lnTo>
                  <a:lnTo>
                    <a:pt x="234" y="194"/>
                  </a:lnTo>
                  <a:lnTo>
                    <a:pt x="237" y="175"/>
                  </a:lnTo>
                  <a:lnTo>
                    <a:pt x="235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5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4" y="3"/>
                  </a:lnTo>
                  <a:lnTo>
                    <a:pt x="234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8" y="63"/>
                  </a:lnTo>
                  <a:lnTo>
                    <a:pt x="325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5" y="210"/>
                  </a:lnTo>
                  <a:lnTo>
                    <a:pt x="335" y="243"/>
                  </a:lnTo>
                  <a:lnTo>
                    <a:pt x="319" y="273"/>
                  </a:lnTo>
                  <a:lnTo>
                    <a:pt x="297" y="299"/>
                  </a:lnTo>
                  <a:lnTo>
                    <a:pt x="272" y="319"/>
                  </a:lnTo>
                  <a:lnTo>
                    <a:pt x="242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39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29" y="273"/>
                  </a:lnTo>
                  <a:lnTo>
                    <a:pt x="14" y="243"/>
                  </a:lnTo>
                  <a:lnTo>
                    <a:pt x="3" y="210"/>
                  </a:lnTo>
                  <a:lnTo>
                    <a:pt x="0" y="175"/>
                  </a:lnTo>
                  <a:lnTo>
                    <a:pt x="3" y="140"/>
                  </a:lnTo>
                  <a:lnTo>
                    <a:pt x="14" y="107"/>
                  </a:lnTo>
                  <a:lnTo>
                    <a:pt x="29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39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1" name="Freeform 17">
              <a:extLst>
                <a:ext uri="{FF2B5EF4-FFF2-40B4-BE49-F238E27FC236}">
                  <a16:creationId xmlns:a16="http://schemas.microsoft.com/office/drawing/2014/main" id="{67A5F0B0-C078-4A85-9E32-409FF0B3D5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2133" y="6255221"/>
              <a:ext cx="26656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2 w 349"/>
                <a:gd name="T25" fmla="*/ 226 h 350"/>
                <a:gd name="T26" fmla="*/ 226 w 349"/>
                <a:gd name="T27" fmla="*/ 213 h 350"/>
                <a:gd name="T28" fmla="*/ 235 w 349"/>
                <a:gd name="T29" fmla="*/ 194 h 350"/>
                <a:gd name="T30" fmla="*/ 237 w 349"/>
                <a:gd name="T31" fmla="*/ 175 h 350"/>
                <a:gd name="T32" fmla="*/ 236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7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5 w 349"/>
                <a:gd name="T47" fmla="*/ 3 h 350"/>
                <a:gd name="T48" fmla="*/ 235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9 w 349"/>
                <a:gd name="T55" fmla="*/ 63 h 350"/>
                <a:gd name="T56" fmla="*/ 326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6 w 349"/>
                <a:gd name="T65" fmla="*/ 210 h 350"/>
                <a:gd name="T66" fmla="*/ 336 w 349"/>
                <a:gd name="T67" fmla="*/ 243 h 350"/>
                <a:gd name="T68" fmla="*/ 319 w 349"/>
                <a:gd name="T69" fmla="*/ 273 h 350"/>
                <a:gd name="T70" fmla="*/ 298 w 349"/>
                <a:gd name="T71" fmla="*/ 299 h 350"/>
                <a:gd name="T72" fmla="*/ 272 w 349"/>
                <a:gd name="T73" fmla="*/ 319 h 350"/>
                <a:gd name="T74" fmla="*/ 243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40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30 w 349"/>
                <a:gd name="T89" fmla="*/ 273 h 350"/>
                <a:gd name="T90" fmla="*/ 14 w 349"/>
                <a:gd name="T91" fmla="*/ 243 h 350"/>
                <a:gd name="T92" fmla="*/ 4 w 349"/>
                <a:gd name="T93" fmla="*/ 210 h 350"/>
                <a:gd name="T94" fmla="*/ 0 w 349"/>
                <a:gd name="T95" fmla="*/ 175 h 350"/>
                <a:gd name="T96" fmla="*/ 4 w 349"/>
                <a:gd name="T97" fmla="*/ 140 h 350"/>
                <a:gd name="T98" fmla="*/ 14 w 349"/>
                <a:gd name="T99" fmla="*/ 107 h 350"/>
                <a:gd name="T100" fmla="*/ 30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40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7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7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5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19" y="273"/>
                  </a:lnTo>
                  <a:lnTo>
                    <a:pt x="298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2" name="Freeform 18">
              <a:extLst>
                <a:ext uri="{FF2B5EF4-FFF2-40B4-BE49-F238E27FC236}">
                  <a16:creationId xmlns:a16="http://schemas.microsoft.com/office/drawing/2014/main" id="{BF1784DA-3E40-44FD-998D-DB1DD379C0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8357" y="6255221"/>
              <a:ext cx="26428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7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1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7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8 w 350"/>
                <a:gd name="T31" fmla="*/ 175 h 350"/>
                <a:gd name="T32" fmla="*/ 236 w 350"/>
                <a:gd name="T33" fmla="*/ 158 h 350"/>
                <a:gd name="T34" fmla="*/ 229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7 w 350"/>
                <a:gd name="T53" fmla="*/ 41 h 350"/>
                <a:gd name="T54" fmla="*/ 309 w 350"/>
                <a:gd name="T55" fmla="*/ 63 h 350"/>
                <a:gd name="T56" fmla="*/ 326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2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7 w 350"/>
                <a:gd name="T85" fmla="*/ 319 h 350"/>
                <a:gd name="T86" fmla="*/ 51 w 350"/>
                <a:gd name="T87" fmla="*/ 299 h 350"/>
                <a:gd name="T88" fmla="*/ 30 w 350"/>
                <a:gd name="T89" fmla="*/ 273 h 350"/>
                <a:gd name="T90" fmla="*/ 14 w 350"/>
                <a:gd name="T91" fmla="*/ 243 h 350"/>
                <a:gd name="T92" fmla="*/ 4 w 350"/>
                <a:gd name="T93" fmla="*/ 210 h 350"/>
                <a:gd name="T94" fmla="*/ 0 w 350"/>
                <a:gd name="T95" fmla="*/ 175 h 350"/>
                <a:gd name="T96" fmla="*/ 4 w 350"/>
                <a:gd name="T97" fmla="*/ 140 h 350"/>
                <a:gd name="T98" fmla="*/ 14 w 350"/>
                <a:gd name="T99" fmla="*/ 107 h 350"/>
                <a:gd name="T100" fmla="*/ 30 w 350"/>
                <a:gd name="T101" fmla="*/ 78 h 350"/>
                <a:gd name="T102" fmla="*/ 51 w 350"/>
                <a:gd name="T103" fmla="*/ 52 h 350"/>
                <a:gd name="T104" fmla="*/ 77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8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3" name="Freeform 19">
              <a:extLst>
                <a:ext uri="{FF2B5EF4-FFF2-40B4-BE49-F238E27FC236}">
                  <a16:creationId xmlns:a16="http://schemas.microsoft.com/office/drawing/2014/main" id="{FF26547B-24B3-4108-8095-A2794E966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4353" y="6255221"/>
              <a:ext cx="26656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8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3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8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9 w 350"/>
                <a:gd name="T31" fmla="*/ 175 h 350"/>
                <a:gd name="T32" fmla="*/ 236 w 350"/>
                <a:gd name="T33" fmla="*/ 158 h 350"/>
                <a:gd name="T34" fmla="*/ 231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8 w 350"/>
                <a:gd name="T53" fmla="*/ 41 h 350"/>
                <a:gd name="T54" fmla="*/ 309 w 350"/>
                <a:gd name="T55" fmla="*/ 63 h 350"/>
                <a:gd name="T56" fmla="*/ 327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3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8 w 350"/>
                <a:gd name="T85" fmla="*/ 319 h 350"/>
                <a:gd name="T86" fmla="*/ 53 w 350"/>
                <a:gd name="T87" fmla="*/ 299 h 350"/>
                <a:gd name="T88" fmla="*/ 31 w 350"/>
                <a:gd name="T89" fmla="*/ 273 h 350"/>
                <a:gd name="T90" fmla="*/ 15 w 350"/>
                <a:gd name="T91" fmla="*/ 243 h 350"/>
                <a:gd name="T92" fmla="*/ 5 w 350"/>
                <a:gd name="T93" fmla="*/ 210 h 350"/>
                <a:gd name="T94" fmla="*/ 0 w 350"/>
                <a:gd name="T95" fmla="*/ 175 h 350"/>
                <a:gd name="T96" fmla="*/ 5 w 350"/>
                <a:gd name="T97" fmla="*/ 140 h 350"/>
                <a:gd name="T98" fmla="*/ 15 w 350"/>
                <a:gd name="T99" fmla="*/ 107 h 350"/>
                <a:gd name="T100" fmla="*/ 31 w 350"/>
                <a:gd name="T101" fmla="*/ 78 h 350"/>
                <a:gd name="T102" fmla="*/ 53 w 350"/>
                <a:gd name="T103" fmla="*/ 52 h 350"/>
                <a:gd name="T104" fmla="*/ 78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8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3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8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9" y="175"/>
                  </a:lnTo>
                  <a:lnTo>
                    <a:pt x="236" y="158"/>
                  </a:lnTo>
                  <a:lnTo>
                    <a:pt x="231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8" y="41"/>
                  </a:lnTo>
                  <a:lnTo>
                    <a:pt x="309" y="63"/>
                  </a:lnTo>
                  <a:lnTo>
                    <a:pt x="327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3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8" y="319"/>
                  </a:lnTo>
                  <a:lnTo>
                    <a:pt x="53" y="299"/>
                  </a:lnTo>
                  <a:lnTo>
                    <a:pt x="31" y="273"/>
                  </a:lnTo>
                  <a:lnTo>
                    <a:pt x="15" y="243"/>
                  </a:lnTo>
                  <a:lnTo>
                    <a:pt x="5" y="210"/>
                  </a:lnTo>
                  <a:lnTo>
                    <a:pt x="0" y="175"/>
                  </a:lnTo>
                  <a:lnTo>
                    <a:pt x="5" y="140"/>
                  </a:lnTo>
                  <a:lnTo>
                    <a:pt x="15" y="107"/>
                  </a:lnTo>
                  <a:lnTo>
                    <a:pt x="31" y="78"/>
                  </a:lnTo>
                  <a:lnTo>
                    <a:pt x="53" y="52"/>
                  </a:lnTo>
                  <a:lnTo>
                    <a:pt x="78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4" name="Freeform 20">
              <a:extLst>
                <a:ext uri="{FF2B5EF4-FFF2-40B4-BE49-F238E27FC236}">
                  <a16:creationId xmlns:a16="http://schemas.microsoft.com/office/drawing/2014/main" id="{6F553FA1-4728-401A-8C20-F18E165CA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80832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2 h 111"/>
                <a:gd name="T10" fmla="*/ 168 w 171"/>
                <a:gd name="T11" fmla="*/ 37 h 111"/>
                <a:gd name="T12" fmla="*/ 171 w 171"/>
                <a:gd name="T13" fmla="*/ 55 h 111"/>
                <a:gd name="T14" fmla="*/ 168 w 171"/>
                <a:gd name="T15" fmla="*/ 72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8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8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2 h 111"/>
                <a:gd name="T34" fmla="*/ 0 w 171"/>
                <a:gd name="T35" fmla="*/ 55 h 111"/>
                <a:gd name="T36" fmla="*/ 2 w 171"/>
                <a:gd name="T37" fmla="*/ 37 h 111"/>
                <a:gd name="T38" fmla="*/ 10 w 171"/>
                <a:gd name="T39" fmla="*/ 22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2"/>
                  </a:lnTo>
                  <a:lnTo>
                    <a:pt x="168" y="37"/>
                  </a:lnTo>
                  <a:lnTo>
                    <a:pt x="171" y="55"/>
                  </a:lnTo>
                  <a:lnTo>
                    <a:pt x="168" y="72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8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8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2"/>
                  </a:lnTo>
                  <a:lnTo>
                    <a:pt x="0" y="55"/>
                  </a:lnTo>
                  <a:lnTo>
                    <a:pt x="2" y="37"/>
                  </a:lnTo>
                  <a:lnTo>
                    <a:pt x="10" y="22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5" name="Freeform 21">
              <a:extLst>
                <a:ext uri="{FF2B5EF4-FFF2-40B4-BE49-F238E27FC236}">
                  <a16:creationId xmlns:a16="http://schemas.microsoft.com/office/drawing/2014/main" id="{2A783787-5E9B-43C9-9BF4-073950C97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95860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3 h 111"/>
                <a:gd name="T10" fmla="*/ 168 w 171"/>
                <a:gd name="T11" fmla="*/ 38 h 111"/>
                <a:gd name="T12" fmla="*/ 171 w 171"/>
                <a:gd name="T13" fmla="*/ 55 h 111"/>
                <a:gd name="T14" fmla="*/ 168 w 171"/>
                <a:gd name="T15" fmla="*/ 74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9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9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4 h 111"/>
                <a:gd name="T34" fmla="*/ 0 w 171"/>
                <a:gd name="T35" fmla="*/ 55 h 111"/>
                <a:gd name="T36" fmla="*/ 2 w 171"/>
                <a:gd name="T37" fmla="*/ 38 h 111"/>
                <a:gd name="T38" fmla="*/ 10 w 171"/>
                <a:gd name="T39" fmla="*/ 23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3"/>
                  </a:lnTo>
                  <a:lnTo>
                    <a:pt x="168" y="38"/>
                  </a:lnTo>
                  <a:lnTo>
                    <a:pt x="171" y="55"/>
                  </a:lnTo>
                  <a:lnTo>
                    <a:pt x="168" y="74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9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9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4"/>
                  </a:lnTo>
                  <a:lnTo>
                    <a:pt x="0" y="55"/>
                  </a:lnTo>
                  <a:lnTo>
                    <a:pt x="2" y="38"/>
                  </a:lnTo>
                  <a:lnTo>
                    <a:pt x="10" y="23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6" name="Freeform 22">
              <a:extLst>
                <a:ext uri="{FF2B5EF4-FFF2-40B4-BE49-F238E27FC236}">
                  <a16:creationId xmlns:a16="http://schemas.microsoft.com/office/drawing/2014/main" id="{6465D05A-ED22-49B3-924E-6DFC4C8C8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8138" y="5997240"/>
              <a:ext cx="283642" cy="307072"/>
            </a:xfrm>
            <a:custGeom>
              <a:avLst/>
              <a:gdLst>
                <a:gd name="T0" fmla="*/ 185 w 3736"/>
                <a:gd name="T1" fmla="*/ 3069 h 3678"/>
                <a:gd name="T2" fmla="*/ 125 w 3736"/>
                <a:gd name="T3" fmla="*/ 3352 h 3678"/>
                <a:gd name="T4" fmla="*/ 325 w 3736"/>
                <a:gd name="T5" fmla="*/ 3554 h 3678"/>
                <a:gd name="T6" fmla="*/ 2002 w 3736"/>
                <a:gd name="T7" fmla="*/ 3518 h 3678"/>
                <a:gd name="T8" fmla="*/ 2140 w 3736"/>
                <a:gd name="T9" fmla="*/ 3266 h 3678"/>
                <a:gd name="T10" fmla="*/ 2002 w 3736"/>
                <a:gd name="T11" fmla="*/ 3013 h 3678"/>
                <a:gd name="T12" fmla="*/ 943 w 3736"/>
                <a:gd name="T13" fmla="*/ 2853 h 3678"/>
                <a:gd name="T14" fmla="*/ 2970 w 3736"/>
                <a:gd name="T15" fmla="*/ 2765 h 3678"/>
                <a:gd name="T16" fmla="*/ 3240 w 3736"/>
                <a:gd name="T17" fmla="*/ 2787 h 3678"/>
                <a:gd name="T18" fmla="*/ 3506 w 3736"/>
                <a:gd name="T19" fmla="*/ 2599 h 3678"/>
                <a:gd name="T20" fmla="*/ 302 w 3736"/>
                <a:gd name="T21" fmla="*/ 2099 h 3678"/>
                <a:gd name="T22" fmla="*/ 333 w 3736"/>
                <a:gd name="T23" fmla="*/ 2613 h 3678"/>
                <a:gd name="T24" fmla="*/ 3524 w 3736"/>
                <a:gd name="T25" fmla="*/ 1966 h 3678"/>
                <a:gd name="T26" fmla="*/ 3542 w 3736"/>
                <a:gd name="T27" fmla="*/ 2077 h 3678"/>
                <a:gd name="T28" fmla="*/ 3622 w 3736"/>
                <a:gd name="T29" fmla="*/ 1998 h 3678"/>
                <a:gd name="T30" fmla="*/ 893 w 3736"/>
                <a:gd name="T31" fmla="*/ 1458 h 3678"/>
                <a:gd name="T32" fmla="*/ 1843 w 3736"/>
                <a:gd name="T33" fmla="*/ 2616 h 3678"/>
                <a:gd name="T34" fmla="*/ 1132 w 3736"/>
                <a:gd name="T35" fmla="*/ 2414 h 3678"/>
                <a:gd name="T36" fmla="*/ 954 w 3736"/>
                <a:gd name="T37" fmla="*/ 2256 h 3678"/>
                <a:gd name="T38" fmla="*/ 1082 w 3736"/>
                <a:gd name="T39" fmla="*/ 2271 h 3678"/>
                <a:gd name="T40" fmla="*/ 1271 w 3736"/>
                <a:gd name="T41" fmla="*/ 1557 h 3678"/>
                <a:gd name="T42" fmla="*/ 1360 w 3736"/>
                <a:gd name="T43" fmla="*/ 1601 h 3678"/>
                <a:gd name="T44" fmla="*/ 1958 w 3736"/>
                <a:gd name="T45" fmla="*/ 2171 h 3678"/>
                <a:gd name="T46" fmla="*/ 1525 w 3736"/>
                <a:gd name="T47" fmla="*/ 1457 h 3678"/>
                <a:gd name="T48" fmla="*/ 2749 w 3736"/>
                <a:gd name="T49" fmla="*/ 361 h 3678"/>
                <a:gd name="T50" fmla="*/ 3541 w 3736"/>
                <a:gd name="T51" fmla="*/ 1844 h 3678"/>
                <a:gd name="T52" fmla="*/ 1658 w 3736"/>
                <a:gd name="T53" fmla="*/ 1439 h 3678"/>
                <a:gd name="T54" fmla="*/ 2419 w 3736"/>
                <a:gd name="T55" fmla="*/ 427 h 3678"/>
                <a:gd name="T56" fmla="*/ 2498 w 3736"/>
                <a:gd name="T57" fmla="*/ 124 h 3678"/>
                <a:gd name="T58" fmla="*/ 2441 w 3736"/>
                <a:gd name="T59" fmla="*/ 287 h 3678"/>
                <a:gd name="T60" fmla="*/ 2599 w 3736"/>
                <a:gd name="T61" fmla="*/ 347 h 3678"/>
                <a:gd name="T62" fmla="*/ 2672 w 3736"/>
                <a:gd name="T63" fmla="*/ 256 h 3678"/>
                <a:gd name="T64" fmla="*/ 2625 w 3736"/>
                <a:gd name="T65" fmla="*/ 136 h 3678"/>
                <a:gd name="T66" fmla="*/ 2665 w 3736"/>
                <a:gd name="T67" fmla="*/ 28 h 3678"/>
                <a:gd name="T68" fmla="*/ 3734 w 3736"/>
                <a:gd name="T69" fmla="*/ 1986 h 3678"/>
                <a:gd name="T70" fmla="*/ 3646 w 3736"/>
                <a:gd name="T71" fmla="*/ 2170 h 3678"/>
                <a:gd name="T72" fmla="*/ 3580 w 3736"/>
                <a:gd name="T73" fmla="*/ 2724 h 3678"/>
                <a:gd name="T74" fmla="*/ 3180 w 3736"/>
                <a:gd name="T75" fmla="*/ 2918 h 3678"/>
                <a:gd name="T76" fmla="*/ 2865 w 3736"/>
                <a:gd name="T77" fmla="*/ 2826 h 3678"/>
                <a:gd name="T78" fmla="*/ 2459 w 3736"/>
                <a:gd name="T79" fmla="*/ 2397 h 3678"/>
                <a:gd name="T80" fmla="*/ 3431 w 3736"/>
                <a:gd name="T81" fmla="*/ 2200 h 3678"/>
                <a:gd name="T82" fmla="*/ 3506 w 3736"/>
                <a:gd name="T83" fmla="*/ 2183 h 3678"/>
                <a:gd name="T84" fmla="*/ 1983 w 3736"/>
                <a:gd name="T85" fmla="*/ 1926 h 3678"/>
                <a:gd name="T86" fmla="*/ 2073 w 3736"/>
                <a:gd name="T87" fmla="*/ 2433 h 3678"/>
                <a:gd name="T88" fmla="*/ 2059 w 3736"/>
                <a:gd name="T89" fmla="*/ 2469 h 3678"/>
                <a:gd name="T90" fmla="*/ 2043 w 3736"/>
                <a:gd name="T91" fmla="*/ 2482 h 3678"/>
                <a:gd name="T92" fmla="*/ 2024 w 3736"/>
                <a:gd name="T93" fmla="*/ 2489 h 3678"/>
                <a:gd name="T94" fmla="*/ 1942 w 3736"/>
                <a:gd name="T95" fmla="*/ 2705 h 3678"/>
                <a:gd name="T96" fmla="*/ 1890 w 3736"/>
                <a:gd name="T97" fmla="*/ 2857 h 3678"/>
                <a:gd name="T98" fmla="*/ 2177 w 3736"/>
                <a:gd name="T99" fmla="*/ 3030 h 3678"/>
                <a:gd name="T100" fmla="*/ 2238 w 3736"/>
                <a:gd name="T101" fmla="*/ 3367 h 3678"/>
                <a:gd name="T102" fmla="*/ 2032 w 3736"/>
                <a:gd name="T103" fmla="*/ 3630 h 3678"/>
                <a:gd name="T104" fmla="*/ 311 w 3736"/>
                <a:gd name="T105" fmla="*/ 3666 h 3678"/>
                <a:gd name="T106" fmla="*/ 49 w 3736"/>
                <a:gd name="T107" fmla="*/ 3460 h 3678"/>
                <a:gd name="T108" fmla="*/ 28 w 3736"/>
                <a:gd name="T109" fmla="*/ 3116 h 3678"/>
                <a:gd name="T110" fmla="*/ 263 w 3736"/>
                <a:gd name="T111" fmla="*/ 2882 h 3678"/>
                <a:gd name="T112" fmla="*/ 317 w 3736"/>
                <a:gd name="T113" fmla="*/ 2724 h 3678"/>
                <a:gd name="T114" fmla="*/ 178 w 3736"/>
                <a:gd name="T115" fmla="*/ 2553 h 3678"/>
                <a:gd name="T116" fmla="*/ 284 w 3736"/>
                <a:gd name="T117" fmla="*/ 1975 h 3678"/>
                <a:gd name="T118" fmla="*/ 740 w 3736"/>
                <a:gd name="T119" fmla="*/ 1477 h 3678"/>
                <a:gd name="T120" fmla="*/ 963 w 3736"/>
                <a:gd name="T121" fmla="*/ 1310 h 3678"/>
                <a:gd name="T122" fmla="*/ 2410 w 3736"/>
                <a:gd name="T123" fmla="*/ 48 h 3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6" h="3678">
                  <a:moveTo>
                    <a:pt x="413" y="2964"/>
                  </a:moveTo>
                  <a:lnTo>
                    <a:pt x="367" y="2968"/>
                  </a:lnTo>
                  <a:lnTo>
                    <a:pt x="325" y="2978"/>
                  </a:lnTo>
                  <a:lnTo>
                    <a:pt x="286" y="2993"/>
                  </a:lnTo>
                  <a:lnTo>
                    <a:pt x="248" y="3013"/>
                  </a:lnTo>
                  <a:lnTo>
                    <a:pt x="215" y="3039"/>
                  </a:lnTo>
                  <a:lnTo>
                    <a:pt x="185" y="3069"/>
                  </a:lnTo>
                  <a:lnTo>
                    <a:pt x="160" y="3102"/>
                  </a:lnTo>
                  <a:lnTo>
                    <a:pt x="139" y="3139"/>
                  </a:lnTo>
                  <a:lnTo>
                    <a:pt x="125" y="3179"/>
                  </a:lnTo>
                  <a:lnTo>
                    <a:pt x="114" y="3222"/>
                  </a:lnTo>
                  <a:lnTo>
                    <a:pt x="111" y="3266"/>
                  </a:lnTo>
                  <a:lnTo>
                    <a:pt x="114" y="3310"/>
                  </a:lnTo>
                  <a:lnTo>
                    <a:pt x="125" y="3352"/>
                  </a:lnTo>
                  <a:lnTo>
                    <a:pt x="139" y="3393"/>
                  </a:lnTo>
                  <a:lnTo>
                    <a:pt x="160" y="3430"/>
                  </a:lnTo>
                  <a:lnTo>
                    <a:pt x="185" y="3464"/>
                  </a:lnTo>
                  <a:lnTo>
                    <a:pt x="215" y="3493"/>
                  </a:lnTo>
                  <a:lnTo>
                    <a:pt x="248" y="3518"/>
                  </a:lnTo>
                  <a:lnTo>
                    <a:pt x="286" y="3538"/>
                  </a:lnTo>
                  <a:lnTo>
                    <a:pt x="325" y="3554"/>
                  </a:lnTo>
                  <a:lnTo>
                    <a:pt x="367" y="3563"/>
                  </a:lnTo>
                  <a:lnTo>
                    <a:pt x="413" y="3567"/>
                  </a:lnTo>
                  <a:lnTo>
                    <a:pt x="1838" y="3567"/>
                  </a:lnTo>
                  <a:lnTo>
                    <a:pt x="1882" y="3563"/>
                  </a:lnTo>
                  <a:lnTo>
                    <a:pt x="1925" y="3554"/>
                  </a:lnTo>
                  <a:lnTo>
                    <a:pt x="1965" y="3538"/>
                  </a:lnTo>
                  <a:lnTo>
                    <a:pt x="2002" y="3518"/>
                  </a:lnTo>
                  <a:lnTo>
                    <a:pt x="2035" y="3493"/>
                  </a:lnTo>
                  <a:lnTo>
                    <a:pt x="2065" y="3464"/>
                  </a:lnTo>
                  <a:lnTo>
                    <a:pt x="2091" y="3430"/>
                  </a:lnTo>
                  <a:lnTo>
                    <a:pt x="2111" y="3393"/>
                  </a:lnTo>
                  <a:lnTo>
                    <a:pt x="2126" y="3352"/>
                  </a:lnTo>
                  <a:lnTo>
                    <a:pt x="2136" y="3310"/>
                  </a:lnTo>
                  <a:lnTo>
                    <a:pt x="2140" y="3266"/>
                  </a:lnTo>
                  <a:lnTo>
                    <a:pt x="2136" y="3222"/>
                  </a:lnTo>
                  <a:lnTo>
                    <a:pt x="2126" y="3179"/>
                  </a:lnTo>
                  <a:lnTo>
                    <a:pt x="2111" y="3139"/>
                  </a:lnTo>
                  <a:lnTo>
                    <a:pt x="2091" y="3102"/>
                  </a:lnTo>
                  <a:lnTo>
                    <a:pt x="2065" y="3069"/>
                  </a:lnTo>
                  <a:lnTo>
                    <a:pt x="2035" y="3039"/>
                  </a:lnTo>
                  <a:lnTo>
                    <a:pt x="2002" y="3013"/>
                  </a:lnTo>
                  <a:lnTo>
                    <a:pt x="1965" y="2993"/>
                  </a:lnTo>
                  <a:lnTo>
                    <a:pt x="1925" y="2978"/>
                  </a:lnTo>
                  <a:lnTo>
                    <a:pt x="1882" y="2968"/>
                  </a:lnTo>
                  <a:lnTo>
                    <a:pt x="1838" y="2964"/>
                  </a:lnTo>
                  <a:lnTo>
                    <a:pt x="413" y="2964"/>
                  </a:lnTo>
                  <a:close/>
                  <a:moveTo>
                    <a:pt x="943" y="2727"/>
                  </a:moveTo>
                  <a:lnTo>
                    <a:pt x="943" y="2853"/>
                  </a:lnTo>
                  <a:lnTo>
                    <a:pt x="1307" y="2853"/>
                  </a:lnTo>
                  <a:lnTo>
                    <a:pt x="1307" y="2727"/>
                  </a:lnTo>
                  <a:lnTo>
                    <a:pt x="943" y="2727"/>
                  </a:lnTo>
                  <a:close/>
                  <a:moveTo>
                    <a:pt x="3407" y="2328"/>
                  </a:moveTo>
                  <a:lnTo>
                    <a:pt x="2754" y="2590"/>
                  </a:lnTo>
                  <a:lnTo>
                    <a:pt x="2936" y="2741"/>
                  </a:lnTo>
                  <a:lnTo>
                    <a:pt x="2970" y="2765"/>
                  </a:lnTo>
                  <a:lnTo>
                    <a:pt x="3005" y="2783"/>
                  </a:lnTo>
                  <a:lnTo>
                    <a:pt x="3042" y="2797"/>
                  </a:lnTo>
                  <a:lnTo>
                    <a:pt x="3081" y="2806"/>
                  </a:lnTo>
                  <a:lnTo>
                    <a:pt x="3121" y="2809"/>
                  </a:lnTo>
                  <a:lnTo>
                    <a:pt x="3161" y="2808"/>
                  </a:lnTo>
                  <a:lnTo>
                    <a:pt x="3201" y="2800"/>
                  </a:lnTo>
                  <a:lnTo>
                    <a:pt x="3240" y="2787"/>
                  </a:lnTo>
                  <a:lnTo>
                    <a:pt x="3429" y="2711"/>
                  </a:lnTo>
                  <a:lnTo>
                    <a:pt x="3452" y="2700"/>
                  </a:lnTo>
                  <a:lnTo>
                    <a:pt x="3470" y="2684"/>
                  </a:lnTo>
                  <a:lnTo>
                    <a:pt x="3485" y="2666"/>
                  </a:lnTo>
                  <a:lnTo>
                    <a:pt x="3496" y="2646"/>
                  </a:lnTo>
                  <a:lnTo>
                    <a:pt x="3504" y="2623"/>
                  </a:lnTo>
                  <a:lnTo>
                    <a:pt x="3506" y="2599"/>
                  </a:lnTo>
                  <a:lnTo>
                    <a:pt x="3504" y="2575"/>
                  </a:lnTo>
                  <a:lnTo>
                    <a:pt x="3497" y="2551"/>
                  </a:lnTo>
                  <a:lnTo>
                    <a:pt x="3407" y="2328"/>
                  </a:lnTo>
                  <a:close/>
                  <a:moveTo>
                    <a:pt x="353" y="2073"/>
                  </a:moveTo>
                  <a:lnTo>
                    <a:pt x="333" y="2076"/>
                  </a:lnTo>
                  <a:lnTo>
                    <a:pt x="315" y="2085"/>
                  </a:lnTo>
                  <a:lnTo>
                    <a:pt x="302" y="2099"/>
                  </a:lnTo>
                  <a:lnTo>
                    <a:pt x="292" y="2116"/>
                  </a:lnTo>
                  <a:lnTo>
                    <a:pt x="289" y="2136"/>
                  </a:lnTo>
                  <a:lnTo>
                    <a:pt x="289" y="2553"/>
                  </a:lnTo>
                  <a:lnTo>
                    <a:pt x="292" y="2572"/>
                  </a:lnTo>
                  <a:lnTo>
                    <a:pt x="302" y="2590"/>
                  </a:lnTo>
                  <a:lnTo>
                    <a:pt x="315" y="2604"/>
                  </a:lnTo>
                  <a:lnTo>
                    <a:pt x="333" y="2613"/>
                  </a:lnTo>
                  <a:lnTo>
                    <a:pt x="353" y="2616"/>
                  </a:lnTo>
                  <a:lnTo>
                    <a:pt x="713" y="2616"/>
                  </a:lnTo>
                  <a:lnTo>
                    <a:pt x="713" y="2073"/>
                  </a:lnTo>
                  <a:lnTo>
                    <a:pt x="353" y="2073"/>
                  </a:lnTo>
                  <a:close/>
                  <a:moveTo>
                    <a:pt x="3562" y="1955"/>
                  </a:moveTo>
                  <a:lnTo>
                    <a:pt x="3542" y="1957"/>
                  </a:lnTo>
                  <a:lnTo>
                    <a:pt x="3524" y="1966"/>
                  </a:lnTo>
                  <a:lnTo>
                    <a:pt x="3511" y="1980"/>
                  </a:lnTo>
                  <a:lnTo>
                    <a:pt x="3502" y="1998"/>
                  </a:lnTo>
                  <a:lnTo>
                    <a:pt x="3498" y="2017"/>
                  </a:lnTo>
                  <a:lnTo>
                    <a:pt x="3502" y="2038"/>
                  </a:lnTo>
                  <a:lnTo>
                    <a:pt x="3511" y="2055"/>
                  </a:lnTo>
                  <a:lnTo>
                    <a:pt x="3524" y="2068"/>
                  </a:lnTo>
                  <a:lnTo>
                    <a:pt x="3542" y="2077"/>
                  </a:lnTo>
                  <a:lnTo>
                    <a:pt x="3562" y="2081"/>
                  </a:lnTo>
                  <a:lnTo>
                    <a:pt x="3582" y="2077"/>
                  </a:lnTo>
                  <a:lnTo>
                    <a:pt x="3599" y="2068"/>
                  </a:lnTo>
                  <a:lnTo>
                    <a:pt x="3613" y="2055"/>
                  </a:lnTo>
                  <a:lnTo>
                    <a:pt x="3622" y="2038"/>
                  </a:lnTo>
                  <a:lnTo>
                    <a:pt x="3625" y="2017"/>
                  </a:lnTo>
                  <a:lnTo>
                    <a:pt x="3622" y="1998"/>
                  </a:lnTo>
                  <a:lnTo>
                    <a:pt x="3613" y="1980"/>
                  </a:lnTo>
                  <a:lnTo>
                    <a:pt x="3599" y="1966"/>
                  </a:lnTo>
                  <a:lnTo>
                    <a:pt x="3582" y="1957"/>
                  </a:lnTo>
                  <a:lnTo>
                    <a:pt x="3562" y="1955"/>
                  </a:lnTo>
                  <a:close/>
                  <a:moveTo>
                    <a:pt x="950" y="1428"/>
                  </a:moveTo>
                  <a:lnTo>
                    <a:pt x="921" y="1441"/>
                  </a:lnTo>
                  <a:lnTo>
                    <a:pt x="893" y="1458"/>
                  </a:lnTo>
                  <a:lnTo>
                    <a:pt x="871" y="1481"/>
                  </a:lnTo>
                  <a:lnTo>
                    <a:pt x="851" y="1507"/>
                  </a:lnTo>
                  <a:lnTo>
                    <a:pt x="837" y="1536"/>
                  </a:lnTo>
                  <a:lnTo>
                    <a:pt x="828" y="1568"/>
                  </a:lnTo>
                  <a:lnTo>
                    <a:pt x="824" y="1601"/>
                  </a:lnTo>
                  <a:lnTo>
                    <a:pt x="824" y="2616"/>
                  </a:lnTo>
                  <a:lnTo>
                    <a:pt x="1843" y="2616"/>
                  </a:lnTo>
                  <a:lnTo>
                    <a:pt x="1843" y="2489"/>
                  </a:lnTo>
                  <a:lnTo>
                    <a:pt x="1556" y="2489"/>
                  </a:lnTo>
                  <a:lnTo>
                    <a:pt x="1468" y="2487"/>
                  </a:lnTo>
                  <a:lnTo>
                    <a:pt x="1382" y="2478"/>
                  </a:lnTo>
                  <a:lnTo>
                    <a:pt x="1297" y="2462"/>
                  </a:lnTo>
                  <a:lnTo>
                    <a:pt x="1213" y="2441"/>
                  </a:lnTo>
                  <a:lnTo>
                    <a:pt x="1132" y="2414"/>
                  </a:lnTo>
                  <a:lnTo>
                    <a:pt x="1050" y="2382"/>
                  </a:lnTo>
                  <a:lnTo>
                    <a:pt x="1026" y="2369"/>
                  </a:lnTo>
                  <a:lnTo>
                    <a:pt x="1005" y="2352"/>
                  </a:lnTo>
                  <a:lnTo>
                    <a:pt x="985" y="2331"/>
                  </a:lnTo>
                  <a:lnTo>
                    <a:pt x="971" y="2309"/>
                  </a:lnTo>
                  <a:lnTo>
                    <a:pt x="960" y="2284"/>
                  </a:lnTo>
                  <a:lnTo>
                    <a:pt x="954" y="2256"/>
                  </a:lnTo>
                  <a:lnTo>
                    <a:pt x="950" y="2228"/>
                  </a:lnTo>
                  <a:lnTo>
                    <a:pt x="950" y="1428"/>
                  </a:lnTo>
                  <a:close/>
                  <a:moveTo>
                    <a:pt x="1062" y="1419"/>
                  </a:moveTo>
                  <a:lnTo>
                    <a:pt x="1062" y="2228"/>
                  </a:lnTo>
                  <a:lnTo>
                    <a:pt x="1065" y="2245"/>
                  </a:lnTo>
                  <a:lnTo>
                    <a:pt x="1071" y="2259"/>
                  </a:lnTo>
                  <a:lnTo>
                    <a:pt x="1082" y="2271"/>
                  </a:lnTo>
                  <a:lnTo>
                    <a:pt x="1095" y="2280"/>
                  </a:lnTo>
                  <a:lnTo>
                    <a:pt x="1171" y="2311"/>
                  </a:lnTo>
                  <a:lnTo>
                    <a:pt x="1248" y="2335"/>
                  </a:lnTo>
                  <a:lnTo>
                    <a:pt x="1248" y="1601"/>
                  </a:lnTo>
                  <a:lnTo>
                    <a:pt x="1251" y="1584"/>
                  </a:lnTo>
                  <a:lnTo>
                    <a:pt x="1259" y="1568"/>
                  </a:lnTo>
                  <a:lnTo>
                    <a:pt x="1271" y="1557"/>
                  </a:lnTo>
                  <a:lnTo>
                    <a:pt x="1286" y="1549"/>
                  </a:lnTo>
                  <a:lnTo>
                    <a:pt x="1304" y="1545"/>
                  </a:lnTo>
                  <a:lnTo>
                    <a:pt x="1321" y="1549"/>
                  </a:lnTo>
                  <a:lnTo>
                    <a:pt x="1337" y="1557"/>
                  </a:lnTo>
                  <a:lnTo>
                    <a:pt x="1348" y="1568"/>
                  </a:lnTo>
                  <a:lnTo>
                    <a:pt x="1356" y="1584"/>
                  </a:lnTo>
                  <a:lnTo>
                    <a:pt x="1360" y="1601"/>
                  </a:lnTo>
                  <a:lnTo>
                    <a:pt x="1360" y="2361"/>
                  </a:lnTo>
                  <a:lnTo>
                    <a:pt x="1424" y="2370"/>
                  </a:lnTo>
                  <a:lnTo>
                    <a:pt x="1490" y="2376"/>
                  </a:lnTo>
                  <a:lnTo>
                    <a:pt x="1556" y="2378"/>
                  </a:lnTo>
                  <a:lnTo>
                    <a:pt x="1961" y="2378"/>
                  </a:lnTo>
                  <a:lnTo>
                    <a:pt x="1961" y="2221"/>
                  </a:lnTo>
                  <a:lnTo>
                    <a:pt x="1958" y="2171"/>
                  </a:lnTo>
                  <a:lnTo>
                    <a:pt x="1949" y="2123"/>
                  </a:lnTo>
                  <a:lnTo>
                    <a:pt x="1936" y="2076"/>
                  </a:lnTo>
                  <a:lnTo>
                    <a:pt x="1915" y="2031"/>
                  </a:lnTo>
                  <a:lnTo>
                    <a:pt x="1890" y="1988"/>
                  </a:lnTo>
                  <a:lnTo>
                    <a:pt x="1566" y="1500"/>
                  </a:lnTo>
                  <a:lnTo>
                    <a:pt x="1547" y="1477"/>
                  </a:lnTo>
                  <a:lnTo>
                    <a:pt x="1525" y="1457"/>
                  </a:lnTo>
                  <a:lnTo>
                    <a:pt x="1500" y="1441"/>
                  </a:lnTo>
                  <a:lnTo>
                    <a:pt x="1473" y="1428"/>
                  </a:lnTo>
                  <a:lnTo>
                    <a:pt x="1445" y="1422"/>
                  </a:lnTo>
                  <a:lnTo>
                    <a:pt x="1414" y="1419"/>
                  </a:lnTo>
                  <a:lnTo>
                    <a:pt x="1062" y="1419"/>
                  </a:lnTo>
                  <a:close/>
                  <a:moveTo>
                    <a:pt x="2753" y="353"/>
                  </a:moveTo>
                  <a:lnTo>
                    <a:pt x="2749" y="361"/>
                  </a:lnTo>
                  <a:lnTo>
                    <a:pt x="2571" y="659"/>
                  </a:lnTo>
                  <a:lnTo>
                    <a:pt x="3419" y="1917"/>
                  </a:lnTo>
                  <a:lnTo>
                    <a:pt x="3437" y="1895"/>
                  </a:lnTo>
                  <a:lnTo>
                    <a:pt x="3460" y="1876"/>
                  </a:lnTo>
                  <a:lnTo>
                    <a:pt x="3485" y="1861"/>
                  </a:lnTo>
                  <a:lnTo>
                    <a:pt x="3512" y="1850"/>
                  </a:lnTo>
                  <a:lnTo>
                    <a:pt x="3541" y="1844"/>
                  </a:lnTo>
                  <a:lnTo>
                    <a:pt x="2753" y="353"/>
                  </a:lnTo>
                  <a:close/>
                  <a:moveTo>
                    <a:pt x="2334" y="320"/>
                  </a:moveTo>
                  <a:lnTo>
                    <a:pt x="1562" y="1348"/>
                  </a:lnTo>
                  <a:lnTo>
                    <a:pt x="1590" y="1366"/>
                  </a:lnTo>
                  <a:lnTo>
                    <a:pt x="1616" y="1387"/>
                  </a:lnTo>
                  <a:lnTo>
                    <a:pt x="1638" y="1411"/>
                  </a:lnTo>
                  <a:lnTo>
                    <a:pt x="1658" y="1439"/>
                  </a:lnTo>
                  <a:lnTo>
                    <a:pt x="1827" y="1690"/>
                  </a:lnTo>
                  <a:lnTo>
                    <a:pt x="2555" y="467"/>
                  </a:lnTo>
                  <a:lnTo>
                    <a:pt x="2551" y="467"/>
                  </a:lnTo>
                  <a:lnTo>
                    <a:pt x="2515" y="465"/>
                  </a:lnTo>
                  <a:lnTo>
                    <a:pt x="2481" y="457"/>
                  </a:lnTo>
                  <a:lnTo>
                    <a:pt x="2448" y="444"/>
                  </a:lnTo>
                  <a:lnTo>
                    <a:pt x="2419" y="427"/>
                  </a:lnTo>
                  <a:lnTo>
                    <a:pt x="2391" y="405"/>
                  </a:lnTo>
                  <a:lnTo>
                    <a:pt x="2369" y="380"/>
                  </a:lnTo>
                  <a:lnTo>
                    <a:pt x="2349" y="351"/>
                  </a:lnTo>
                  <a:lnTo>
                    <a:pt x="2334" y="320"/>
                  </a:lnTo>
                  <a:close/>
                  <a:moveTo>
                    <a:pt x="2551" y="111"/>
                  </a:moveTo>
                  <a:lnTo>
                    <a:pt x="2523" y="115"/>
                  </a:lnTo>
                  <a:lnTo>
                    <a:pt x="2498" y="124"/>
                  </a:lnTo>
                  <a:lnTo>
                    <a:pt x="2475" y="138"/>
                  </a:lnTo>
                  <a:lnTo>
                    <a:pt x="2456" y="157"/>
                  </a:lnTo>
                  <a:lnTo>
                    <a:pt x="2441" y="180"/>
                  </a:lnTo>
                  <a:lnTo>
                    <a:pt x="2432" y="205"/>
                  </a:lnTo>
                  <a:lnTo>
                    <a:pt x="2429" y="234"/>
                  </a:lnTo>
                  <a:lnTo>
                    <a:pt x="2432" y="262"/>
                  </a:lnTo>
                  <a:lnTo>
                    <a:pt x="2441" y="287"/>
                  </a:lnTo>
                  <a:lnTo>
                    <a:pt x="2456" y="311"/>
                  </a:lnTo>
                  <a:lnTo>
                    <a:pt x="2475" y="329"/>
                  </a:lnTo>
                  <a:lnTo>
                    <a:pt x="2498" y="344"/>
                  </a:lnTo>
                  <a:lnTo>
                    <a:pt x="2523" y="353"/>
                  </a:lnTo>
                  <a:lnTo>
                    <a:pt x="2551" y="356"/>
                  </a:lnTo>
                  <a:lnTo>
                    <a:pt x="2576" y="354"/>
                  </a:lnTo>
                  <a:lnTo>
                    <a:pt x="2599" y="347"/>
                  </a:lnTo>
                  <a:lnTo>
                    <a:pt x="2619" y="336"/>
                  </a:lnTo>
                  <a:lnTo>
                    <a:pt x="2638" y="321"/>
                  </a:lnTo>
                  <a:lnTo>
                    <a:pt x="2653" y="303"/>
                  </a:lnTo>
                  <a:lnTo>
                    <a:pt x="2656" y="298"/>
                  </a:lnTo>
                  <a:lnTo>
                    <a:pt x="2657" y="297"/>
                  </a:lnTo>
                  <a:lnTo>
                    <a:pt x="2666" y="278"/>
                  </a:lnTo>
                  <a:lnTo>
                    <a:pt x="2672" y="256"/>
                  </a:lnTo>
                  <a:lnTo>
                    <a:pt x="2674" y="234"/>
                  </a:lnTo>
                  <a:lnTo>
                    <a:pt x="2672" y="210"/>
                  </a:lnTo>
                  <a:lnTo>
                    <a:pt x="2665" y="187"/>
                  </a:lnTo>
                  <a:lnTo>
                    <a:pt x="2661" y="180"/>
                  </a:lnTo>
                  <a:lnTo>
                    <a:pt x="2658" y="174"/>
                  </a:lnTo>
                  <a:lnTo>
                    <a:pt x="2643" y="153"/>
                  </a:lnTo>
                  <a:lnTo>
                    <a:pt x="2625" y="136"/>
                  </a:lnTo>
                  <a:lnTo>
                    <a:pt x="2603" y="123"/>
                  </a:lnTo>
                  <a:lnTo>
                    <a:pt x="2579" y="115"/>
                  </a:lnTo>
                  <a:lnTo>
                    <a:pt x="2551" y="111"/>
                  </a:lnTo>
                  <a:close/>
                  <a:moveTo>
                    <a:pt x="2551" y="0"/>
                  </a:moveTo>
                  <a:lnTo>
                    <a:pt x="2591" y="3"/>
                  </a:lnTo>
                  <a:lnTo>
                    <a:pt x="2630" y="12"/>
                  </a:lnTo>
                  <a:lnTo>
                    <a:pt x="2665" y="28"/>
                  </a:lnTo>
                  <a:lnTo>
                    <a:pt x="2696" y="50"/>
                  </a:lnTo>
                  <a:lnTo>
                    <a:pt x="2724" y="75"/>
                  </a:lnTo>
                  <a:lnTo>
                    <a:pt x="2747" y="106"/>
                  </a:lnTo>
                  <a:lnTo>
                    <a:pt x="2766" y="138"/>
                  </a:lnTo>
                  <a:lnTo>
                    <a:pt x="3713" y="1930"/>
                  </a:lnTo>
                  <a:lnTo>
                    <a:pt x="3726" y="1957"/>
                  </a:lnTo>
                  <a:lnTo>
                    <a:pt x="3734" y="1986"/>
                  </a:lnTo>
                  <a:lnTo>
                    <a:pt x="3736" y="2017"/>
                  </a:lnTo>
                  <a:lnTo>
                    <a:pt x="3733" y="2050"/>
                  </a:lnTo>
                  <a:lnTo>
                    <a:pt x="3725" y="2080"/>
                  </a:lnTo>
                  <a:lnTo>
                    <a:pt x="3711" y="2108"/>
                  </a:lnTo>
                  <a:lnTo>
                    <a:pt x="3693" y="2132"/>
                  </a:lnTo>
                  <a:lnTo>
                    <a:pt x="3672" y="2153"/>
                  </a:lnTo>
                  <a:lnTo>
                    <a:pt x="3646" y="2170"/>
                  </a:lnTo>
                  <a:lnTo>
                    <a:pt x="3617" y="2183"/>
                  </a:lnTo>
                  <a:lnTo>
                    <a:pt x="3617" y="2612"/>
                  </a:lnTo>
                  <a:lnTo>
                    <a:pt x="3617" y="2620"/>
                  </a:lnTo>
                  <a:lnTo>
                    <a:pt x="3616" y="2626"/>
                  </a:lnTo>
                  <a:lnTo>
                    <a:pt x="3609" y="2660"/>
                  </a:lnTo>
                  <a:lnTo>
                    <a:pt x="3597" y="2693"/>
                  </a:lnTo>
                  <a:lnTo>
                    <a:pt x="3580" y="2724"/>
                  </a:lnTo>
                  <a:lnTo>
                    <a:pt x="3559" y="2752"/>
                  </a:lnTo>
                  <a:lnTo>
                    <a:pt x="3533" y="2777"/>
                  </a:lnTo>
                  <a:lnTo>
                    <a:pt x="3504" y="2799"/>
                  </a:lnTo>
                  <a:lnTo>
                    <a:pt x="3471" y="2815"/>
                  </a:lnTo>
                  <a:lnTo>
                    <a:pt x="3282" y="2891"/>
                  </a:lnTo>
                  <a:lnTo>
                    <a:pt x="3231" y="2908"/>
                  </a:lnTo>
                  <a:lnTo>
                    <a:pt x="3180" y="2918"/>
                  </a:lnTo>
                  <a:lnTo>
                    <a:pt x="3127" y="2920"/>
                  </a:lnTo>
                  <a:lnTo>
                    <a:pt x="3081" y="2918"/>
                  </a:lnTo>
                  <a:lnTo>
                    <a:pt x="3034" y="2910"/>
                  </a:lnTo>
                  <a:lnTo>
                    <a:pt x="2989" y="2896"/>
                  </a:lnTo>
                  <a:lnTo>
                    <a:pt x="2946" y="2878"/>
                  </a:lnTo>
                  <a:lnTo>
                    <a:pt x="2904" y="2855"/>
                  </a:lnTo>
                  <a:lnTo>
                    <a:pt x="2865" y="2826"/>
                  </a:lnTo>
                  <a:lnTo>
                    <a:pt x="2454" y="2487"/>
                  </a:lnTo>
                  <a:lnTo>
                    <a:pt x="2442" y="2474"/>
                  </a:lnTo>
                  <a:lnTo>
                    <a:pt x="2436" y="2458"/>
                  </a:lnTo>
                  <a:lnTo>
                    <a:pt x="2433" y="2441"/>
                  </a:lnTo>
                  <a:lnTo>
                    <a:pt x="2438" y="2424"/>
                  </a:lnTo>
                  <a:lnTo>
                    <a:pt x="2447" y="2409"/>
                  </a:lnTo>
                  <a:lnTo>
                    <a:pt x="2459" y="2397"/>
                  </a:lnTo>
                  <a:lnTo>
                    <a:pt x="2475" y="2390"/>
                  </a:lnTo>
                  <a:lnTo>
                    <a:pt x="2492" y="2388"/>
                  </a:lnTo>
                  <a:lnTo>
                    <a:pt x="2509" y="2393"/>
                  </a:lnTo>
                  <a:lnTo>
                    <a:pt x="2525" y="2402"/>
                  </a:lnTo>
                  <a:lnTo>
                    <a:pt x="2656" y="2509"/>
                  </a:lnTo>
                  <a:lnTo>
                    <a:pt x="3418" y="2203"/>
                  </a:lnTo>
                  <a:lnTo>
                    <a:pt x="3431" y="2200"/>
                  </a:lnTo>
                  <a:lnTo>
                    <a:pt x="3446" y="2200"/>
                  </a:lnTo>
                  <a:lnTo>
                    <a:pt x="3460" y="2204"/>
                  </a:lnTo>
                  <a:lnTo>
                    <a:pt x="3472" y="2211"/>
                  </a:lnTo>
                  <a:lnTo>
                    <a:pt x="3482" y="2221"/>
                  </a:lnTo>
                  <a:lnTo>
                    <a:pt x="3490" y="2235"/>
                  </a:lnTo>
                  <a:lnTo>
                    <a:pt x="3506" y="2275"/>
                  </a:lnTo>
                  <a:lnTo>
                    <a:pt x="3506" y="2183"/>
                  </a:lnTo>
                  <a:lnTo>
                    <a:pt x="3478" y="2170"/>
                  </a:lnTo>
                  <a:lnTo>
                    <a:pt x="3452" y="2152"/>
                  </a:lnTo>
                  <a:lnTo>
                    <a:pt x="3429" y="2131"/>
                  </a:lnTo>
                  <a:lnTo>
                    <a:pt x="3411" y="2106"/>
                  </a:lnTo>
                  <a:lnTo>
                    <a:pt x="2507" y="766"/>
                  </a:lnTo>
                  <a:lnTo>
                    <a:pt x="1895" y="1794"/>
                  </a:lnTo>
                  <a:lnTo>
                    <a:pt x="1983" y="1926"/>
                  </a:lnTo>
                  <a:lnTo>
                    <a:pt x="2010" y="1971"/>
                  </a:lnTo>
                  <a:lnTo>
                    <a:pt x="2032" y="2018"/>
                  </a:lnTo>
                  <a:lnTo>
                    <a:pt x="2050" y="2067"/>
                  </a:lnTo>
                  <a:lnTo>
                    <a:pt x="2063" y="2117"/>
                  </a:lnTo>
                  <a:lnTo>
                    <a:pt x="2069" y="2168"/>
                  </a:lnTo>
                  <a:lnTo>
                    <a:pt x="2073" y="2221"/>
                  </a:lnTo>
                  <a:lnTo>
                    <a:pt x="2073" y="2433"/>
                  </a:lnTo>
                  <a:lnTo>
                    <a:pt x="2072" y="2441"/>
                  </a:lnTo>
                  <a:lnTo>
                    <a:pt x="2069" y="2452"/>
                  </a:lnTo>
                  <a:lnTo>
                    <a:pt x="2066" y="2460"/>
                  </a:lnTo>
                  <a:lnTo>
                    <a:pt x="2064" y="2463"/>
                  </a:lnTo>
                  <a:lnTo>
                    <a:pt x="2063" y="2465"/>
                  </a:lnTo>
                  <a:lnTo>
                    <a:pt x="2060" y="2469"/>
                  </a:lnTo>
                  <a:lnTo>
                    <a:pt x="2059" y="2469"/>
                  </a:lnTo>
                  <a:lnTo>
                    <a:pt x="2058" y="2471"/>
                  </a:lnTo>
                  <a:lnTo>
                    <a:pt x="2056" y="2473"/>
                  </a:lnTo>
                  <a:lnTo>
                    <a:pt x="2055" y="2474"/>
                  </a:lnTo>
                  <a:lnTo>
                    <a:pt x="2052" y="2477"/>
                  </a:lnTo>
                  <a:lnTo>
                    <a:pt x="2050" y="2478"/>
                  </a:lnTo>
                  <a:lnTo>
                    <a:pt x="2048" y="2480"/>
                  </a:lnTo>
                  <a:lnTo>
                    <a:pt x="2043" y="2482"/>
                  </a:lnTo>
                  <a:lnTo>
                    <a:pt x="2039" y="2485"/>
                  </a:lnTo>
                  <a:lnTo>
                    <a:pt x="2039" y="2485"/>
                  </a:lnTo>
                  <a:lnTo>
                    <a:pt x="2035" y="2486"/>
                  </a:lnTo>
                  <a:lnTo>
                    <a:pt x="2033" y="2487"/>
                  </a:lnTo>
                  <a:lnTo>
                    <a:pt x="2031" y="2488"/>
                  </a:lnTo>
                  <a:lnTo>
                    <a:pt x="2027" y="2488"/>
                  </a:lnTo>
                  <a:lnTo>
                    <a:pt x="2024" y="2489"/>
                  </a:lnTo>
                  <a:lnTo>
                    <a:pt x="2023" y="2489"/>
                  </a:lnTo>
                  <a:lnTo>
                    <a:pt x="2019" y="2489"/>
                  </a:lnTo>
                  <a:lnTo>
                    <a:pt x="2017" y="2489"/>
                  </a:lnTo>
                  <a:lnTo>
                    <a:pt x="1954" y="2489"/>
                  </a:lnTo>
                  <a:lnTo>
                    <a:pt x="1954" y="2672"/>
                  </a:lnTo>
                  <a:lnTo>
                    <a:pt x="1950" y="2689"/>
                  </a:lnTo>
                  <a:lnTo>
                    <a:pt x="1942" y="2705"/>
                  </a:lnTo>
                  <a:lnTo>
                    <a:pt x="1931" y="2716"/>
                  </a:lnTo>
                  <a:lnTo>
                    <a:pt x="1915" y="2724"/>
                  </a:lnTo>
                  <a:lnTo>
                    <a:pt x="1898" y="2727"/>
                  </a:lnTo>
                  <a:lnTo>
                    <a:pt x="1418" y="2727"/>
                  </a:lnTo>
                  <a:lnTo>
                    <a:pt x="1418" y="2853"/>
                  </a:lnTo>
                  <a:lnTo>
                    <a:pt x="1838" y="2853"/>
                  </a:lnTo>
                  <a:lnTo>
                    <a:pt x="1890" y="2857"/>
                  </a:lnTo>
                  <a:lnTo>
                    <a:pt x="1940" y="2866"/>
                  </a:lnTo>
                  <a:lnTo>
                    <a:pt x="1988" y="2882"/>
                  </a:lnTo>
                  <a:lnTo>
                    <a:pt x="2032" y="2902"/>
                  </a:lnTo>
                  <a:lnTo>
                    <a:pt x="2074" y="2927"/>
                  </a:lnTo>
                  <a:lnTo>
                    <a:pt x="2112" y="2958"/>
                  </a:lnTo>
                  <a:lnTo>
                    <a:pt x="2146" y="2992"/>
                  </a:lnTo>
                  <a:lnTo>
                    <a:pt x="2177" y="3030"/>
                  </a:lnTo>
                  <a:lnTo>
                    <a:pt x="2202" y="3072"/>
                  </a:lnTo>
                  <a:lnTo>
                    <a:pt x="2222" y="3116"/>
                  </a:lnTo>
                  <a:lnTo>
                    <a:pt x="2238" y="3164"/>
                  </a:lnTo>
                  <a:lnTo>
                    <a:pt x="2247" y="3214"/>
                  </a:lnTo>
                  <a:lnTo>
                    <a:pt x="2251" y="3266"/>
                  </a:lnTo>
                  <a:lnTo>
                    <a:pt x="2247" y="3317"/>
                  </a:lnTo>
                  <a:lnTo>
                    <a:pt x="2238" y="3367"/>
                  </a:lnTo>
                  <a:lnTo>
                    <a:pt x="2222" y="3415"/>
                  </a:lnTo>
                  <a:lnTo>
                    <a:pt x="2202" y="3460"/>
                  </a:lnTo>
                  <a:lnTo>
                    <a:pt x="2177" y="3501"/>
                  </a:lnTo>
                  <a:lnTo>
                    <a:pt x="2146" y="3540"/>
                  </a:lnTo>
                  <a:lnTo>
                    <a:pt x="2112" y="3574"/>
                  </a:lnTo>
                  <a:lnTo>
                    <a:pt x="2074" y="3604"/>
                  </a:lnTo>
                  <a:lnTo>
                    <a:pt x="2032" y="3630"/>
                  </a:lnTo>
                  <a:lnTo>
                    <a:pt x="1988" y="3651"/>
                  </a:lnTo>
                  <a:lnTo>
                    <a:pt x="1940" y="3666"/>
                  </a:lnTo>
                  <a:lnTo>
                    <a:pt x="1890" y="3676"/>
                  </a:lnTo>
                  <a:lnTo>
                    <a:pt x="1838" y="3678"/>
                  </a:lnTo>
                  <a:lnTo>
                    <a:pt x="413" y="3678"/>
                  </a:lnTo>
                  <a:lnTo>
                    <a:pt x="360" y="3676"/>
                  </a:lnTo>
                  <a:lnTo>
                    <a:pt x="311" y="3666"/>
                  </a:lnTo>
                  <a:lnTo>
                    <a:pt x="263" y="3651"/>
                  </a:lnTo>
                  <a:lnTo>
                    <a:pt x="219" y="3630"/>
                  </a:lnTo>
                  <a:lnTo>
                    <a:pt x="177" y="3604"/>
                  </a:lnTo>
                  <a:lnTo>
                    <a:pt x="138" y="3574"/>
                  </a:lnTo>
                  <a:lnTo>
                    <a:pt x="104" y="3540"/>
                  </a:lnTo>
                  <a:lnTo>
                    <a:pt x="74" y="3501"/>
                  </a:lnTo>
                  <a:lnTo>
                    <a:pt x="49" y="3460"/>
                  </a:lnTo>
                  <a:lnTo>
                    <a:pt x="28" y="3415"/>
                  </a:lnTo>
                  <a:lnTo>
                    <a:pt x="12" y="3367"/>
                  </a:lnTo>
                  <a:lnTo>
                    <a:pt x="3" y="3317"/>
                  </a:lnTo>
                  <a:lnTo>
                    <a:pt x="0" y="3266"/>
                  </a:lnTo>
                  <a:lnTo>
                    <a:pt x="3" y="3214"/>
                  </a:lnTo>
                  <a:lnTo>
                    <a:pt x="12" y="3164"/>
                  </a:lnTo>
                  <a:lnTo>
                    <a:pt x="28" y="3116"/>
                  </a:lnTo>
                  <a:lnTo>
                    <a:pt x="49" y="3072"/>
                  </a:lnTo>
                  <a:lnTo>
                    <a:pt x="74" y="3030"/>
                  </a:lnTo>
                  <a:lnTo>
                    <a:pt x="104" y="2992"/>
                  </a:lnTo>
                  <a:lnTo>
                    <a:pt x="138" y="2958"/>
                  </a:lnTo>
                  <a:lnTo>
                    <a:pt x="177" y="2927"/>
                  </a:lnTo>
                  <a:lnTo>
                    <a:pt x="219" y="2902"/>
                  </a:lnTo>
                  <a:lnTo>
                    <a:pt x="263" y="2882"/>
                  </a:lnTo>
                  <a:lnTo>
                    <a:pt x="311" y="2866"/>
                  </a:lnTo>
                  <a:lnTo>
                    <a:pt x="360" y="2857"/>
                  </a:lnTo>
                  <a:lnTo>
                    <a:pt x="413" y="2853"/>
                  </a:lnTo>
                  <a:lnTo>
                    <a:pt x="832" y="2853"/>
                  </a:lnTo>
                  <a:lnTo>
                    <a:pt x="832" y="2727"/>
                  </a:lnTo>
                  <a:lnTo>
                    <a:pt x="353" y="2727"/>
                  </a:lnTo>
                  <a:lnTo>
                    <a:pt x="317" y="2724"/>
                  </a:lnTo>
                  <a:lnTo>
                    <a:pt x="284" y="2714"/>
                  </a:lnTo>
                  <a:lnTo>
                    <a:pt x="255" y="2698"/>
                  </a:lnTo>
                  <a:lnTo>
                    <a:pt x="229" y="2676"/>
                  </a:lnTo>
                  <a:lnTo>
                    <a:pt x="209" y="2650"/>
                  </a:lnTo>
                  <a:lnTo>
                    <a:pt x="192" y="2621"/>
                  </a:lnTo>
                  <a:lnTo>
                    <a:pt x="181" y="2588"/>
                  </a:lnTo>
                  <a:lnTo>
                    <a:pt x="178" y="2553"/>
                  </a:lnTo>
                  <a:lnTo>
                    <a:pt x="178" y="2136"/>
                  </a:lnTo>
                  <a:lnTo>
                    <a:pt x="181" y="2101"/>
                  </a:lnTo>
                  <a:lnTo>
                    <a:pt x="192" y="2068"/>
                  </a:lnTo>
                  <a:lnTo>
                    <a:pt x="209" y="2039"/>
                  </a:lnTo>
                  <a:lnTo>
                    <a:pt x="229" y="2013"/>
                  </a:lnTo>
                  <a:lnTo>
                    <a:pt x="255" y="1991"/>
                  </a:lnTo>
                  <a:lnTo>
                    <a:pt x="284" y="1975"/>
                  </a:lnTo>
                  <a:lnTo>
                    <a:pt x="317" y="1965"/>
                  </a:lnTo>
                  <a:lnTo>
                    <a:pt x="353" y="1962"/>
                  </a:lnTo>
                  <a:lnTo>
                    <a:pt x="713" y="1962"/>
                  </a:lnTo>
                  <a:lnTo>
                    <a:pt x="713" y="1601"/>
                  </a:lnTo>
                  <a:lnTo>
                    <a:pt x="717" y="1558"/>
                  </a:lnTo>
                  <a:lnTo>
                    <a:pt x="726" y="1517"/>
                  </a:lnTo>
                  <a:lnTo>
                    <a:pt x="740" y="1477"/>
                  </a:lnTo>
                  <a:lnTo>
                    <a:pt x="761" y="1442"/>
                  </a:lnTo>
                  <a:lnTo>
                    <a:pt x="785" y="1409"/>
                  </a:lnTo>
                  <a:lnTo>
                    <a:pt x="814" y="1380"/>
                  </a:lnTo>
                  <a:lnTo>
                    <a:pt x="847" y="1355"/>
                  </a:lnTo>
                  <a:lnTo>
                    <a:pt x="883" y="1335"/>
                  </a:lnTo>
                  <a:lnTo>
                    <a:pt x="922" y="1321"/>
                  </a:lnTo>
                  <a:lnTo>
                    <a:pt x="963" y="1310"/>
                  </a:lnTo>
                  <a:lnTo>
                    <a:pt x="1007" y="1308"/>
                  </a:lnTo>
                  <a:lnTo>
                    <a:pt x="1414" y="1308"/>
                  </a:lnTo>
                  <a:lnTo>
                    <a:pt x="1452" y="1310"/>
                  </a:lnTo>
                  <a:lnTo>
                    <a:pt x="2359" y="101"/>
                  </a:lnTo>
                  <a:lnTo>
                    <a:pt x="2359" y="101"/>
                  </a:lnTo>
                  <a:lnTo>
                    <a:pt x="2382" y="73"/>
                  </a:lnTo>
                  <a:lnTo>
                    <a:pt x="2410" y="48"/>
                  </a:lnTo>
                  <a:lnTo>
                    <a:pt x="2441" y="27"/>
                  </a:lnTo>
                  <a:lnTo>
                    <a:pt x="2475" y="12"/>
                  </a:lnTo>
                  <a:lnTo>
                    <a:pt x="2513" y="3"/>
                  </a:lnTo>
                  <a:lnTo>
                    <a:pt x="2551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</p:grpSp>
      <p:sp>
        <p:nvSpPr>
          <p:cNvPr id="23625" name="TextBox 158">
            <a:extLst>
              <a:ext uri="{FF2B5EF4-FFF2-40B4-BE49-F238E27FC236}">
                <a16:creationId xmlns:a16="http://schemas.microsoft.com/office/drawing/2014/main" id="{E039C87F-72AD-4054-B63A-554ACFFB9E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4663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26" name="TextBox 159">
            <a:extLst>
              <a:ext uri="{FF2B5EF4-FFF2-40B4-BE49-F238E27FC236}">
                <a16:creationId xmlns:a16="http://schemas.microsoft.com/office/drawing/2014/main" id="{C89D28E8-6E73-4458-A352-42A749EC09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3488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27" name="TextBox 127">
            <a:extLst>
              <a:ext uri="{FF2B5EF4-FFF2-40B4-BE49-F238E27FC236}">
                <a16:creationId xmlns:a16="http://schemas.microsoft.com/office/drawing/2014/main" id="{D2C4F5E9-E854-4896-8355-45DEC69063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7813" y="6378575"/>
            <a:ext cx="426243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Sources: National Bureau of Statistics, World Bank Report on Doing Business in Nigeria 2018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climate-data.org, State Government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Exchange rate= $1/N305 (Central Bank of Nigeria)</a:t>
            </a:r>
          </a:p>
        </p:txBody>
      </p:sp>
      <p:sp>
        <p:nvSpPr>
          <p:cNvPr id="23628" name="TextBox 128">
            <a:extLst>
              <a:ext uri="{FF2B5EF4-FFF2-40B4-BE49-F238E27FC236}">
                <a16:creationId xmlns:a16="http://schemas.microsoft.com/office/drawing/2014/main" id="{409BCC6F-A5F0-4C79-BB4A-38A1ABC14F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08572" y="3649889"/>
            <a:ext cx="84670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Deep Sea Port</a:t>
            </a:r>
          </a:p>
        </p:txBody>
      </p:sp>
      <p:sp>
        <p:nvSpPr>
          <p:cNvPr id="23629" name="TextBox 129">
            <a:extLst>
              <a:ext uri="{FF2B5EF4-FFF2-40B4-BE49-F238E27FC236}">
                <a16:creationId xmlns:a16="http://schemas.microsoft.com/office/drawing/2014/main" id="{489E7B41-20C9-4493-8E7D-07238EB8FA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2892" y="3654980"/>
            <a:ext cx="58541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altLang="en-US" sz="900" dirty="0">
                <a:solidFill>
                  <a:prstClr val="black"/>
                </a:solidFill>
                <a:latin typeface="Calibri" panose="020F0502020204030204" pitchFamily="34" charset="0"/>
              </a:rPr>
              <a:t>Bitumen</a:t>
            </a:r>
            <a:endParaRPr kumimoji="0" lang="en-GB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30" name="TextBox 130">
            <a:extLst>
              <a:ext uri="{FF2B5EF4-FFF2-40B4-BE49-F238E27FC236}">
                <a16:creationId xmlns:a16="http://schemas.microsoft.com/office/drawing/2014/main" id="{048DE5D8-5309-42DA-9D97-2935A10CB7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31" name="TextBox 131">
            <a:extLst>
              <a:ext uri="{FF2B5EF4-FFF2-40B4-BE49-F238E27FC236}">
                <a16:creationId xmlns:a16="http://schemas.microsoft.com/office/drawing/2014/main" id="{FF8B6C80-43E2-43AF-A364-A31845F05C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5388" y="3656613"/>
            <a:ext cx="47000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Cocoa</a:t>
            </a:r>
          </a:p>
        </p:txBody>
      </p:sp>
      <p:sp>
        <p:nvSpPr>
          <p:cNvPr id="23632" name="TextBox 132">
            <a:extLst>
              <a:ext uri="{FF2B5EF4-FFF2-40B4-BE49-F238E27FC236}">
                <a16:creationId xmlns:a16="http://schemas.microsoft.com/office/drawing/2014/main" id="{A1C640C1-61D1-4BA5-8A76-E684397E8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18114" y="3650683"/>
            <a:ext cx="57579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Oil Palm</a:t>
            </a:r>
          </a:p>
        </p:txBody>
      </p:sp>
      <p:sp>
        <p:nvSpPr>
          <p:cNvPr id="23638" name="TextBox 141">
            <a:extLst>
              <a:ext uri="{FF2B5EF4-FFF2-40B4-BE49-F238E27FC236}">
                <a16:creationId xmlns:a16="http://schemas.microsoft.com/office/drawing/2014/main" id="{EE481231-8673-4FD7-B5CC-900AEE7A9F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8233" y="3652271"/>
            <a:ext cx="61587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altLang="en-US" sz="900" dirty="0">
                <a:solidFill>
                  <a:prstClr val="black"/>
                </a:solidFill>
                <a:latin typeface="Calibri" panose="020F0502020204030204" pitchFamily="34" charset="0"/>
              </a:rPr>
              <a:t>Cocoyam</a:t>
            </a:r>
            <a:endParaRPr kumimoji="0" lang="en-GB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49" name="TextBox 165">
            <a:extLst>
              <a:ext uri="{FF2B5EF4-FFF2-40B4-BE49-F238E27FC236}">
                <a16:creationId xmlns:a16="http://schemas.microsoft.com/office/drawing/2014/main" id="{1242633E-9CB1-48ED-83F4-2223DFC7ED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57411" y="4440510"/>
            <a:ext cx="75373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Logistic Hub</a:t>
            </a:r>
          </a:p>
        </p:txBody>
      </p:sp>
      <p:sp>
        <p:nvSpPr>
          <p:cNvPr id="23650" name="TextBox 166">
            <a:extLst>
              <a:ext uri="{FF2B5EF4-FFF2-40B4-BE49-F238E27FC236}">
                <a16:creationId xmlns:a16="http://schemas.microsoft.com/office/drawing/2014/main" id="{6B51369B-8FA6-464A-B908-12B0FFE6B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1379" y="4434134"/>
            <a:ext cx="51969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Timber</a:t>
            </a:r>
          </a:p>
        </p:txBody>
      </p:sp>
      <p:sp>
        <p:nvSpPr>
          <p:cNvPr id="23652" name="TextBox 168">
            <a:extLst>
              <a:ext uri="{FF2B5EF4-FFF2-40B4-BE49-F238E27FC236}">
                <a16:creationId xmlns:a16="http://schemas.microsoft.com/office/drawing/2014/main" id="{1C04917D-B2C3-4C21-8CC2-A45C349B4B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27356" y="4438083"/>
            <a:ext cx="61747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Oil &amp; Gas</a:t>
            </a:r>
          </a:p>
        </p:txBody>
      </p:sp>
      <p:sp>
        <p:nvSpPr>
          <p:cNvPr id="23653" name="TextBox 169">
            <a:extLst>
              <a:ext uri="{FF2B5EF4-FFF2-40B4-BE49-F238E27FC236}">
                <a16:creationId xmlns:a16="http://schemas.microsoft.com/office/drawing/2014/main" id="{4BADA327-4F2D-4897-B7C0-4647A1484B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4401" y="4439116"/>
            <a:ext cx="652462" cy="13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Education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8A28B48-1841-45BB-BFBC-EADE77B37C6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779712" y="2589213"/>
          <a:ext cx="1482725" cy="812800"/>
        </p:xfrm>
        <a:graphic>
          <a:graphicData uri="http://schemas.openxmlformats.org/drawingml/2006/table">
            <a:tbl>
              <a:tblPr/>
              <a:tblGrid>
                <a:gridCol w="11367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9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32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GB" sz="1000" b="1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Domestic</a:t>
                      </a:r>
                      <a:r>
                        <a:rPr lang="en-GB" sz="10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US" sz="1000" b="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International 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Railway</a:t>
                      </a:r>
                      <a:r>
                        <a:rPr lang="en-GB" sz="1000" b="1" kern="1200" baseline="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 Station</a:t>
                      </a:r>
                      <a:endParaRPr lang="en-GB" sz="1000" b="1" kern="1200" dirty="0">
                        <a:solidFill>
                          <a:srgbClr val="292929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32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Sea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7" name="TextBox 136">
            <a:extLst>
              <a:ext uri="{FF2B5EF4-FFF2-40B4-BE49-F238E27FC236}">
                <a16:creationId xmlns:a16="http://schemas.microsoft.com/office/drawing/2014/main" id="{2F4C4876-7073-4C13-A183-127A8909BDC0}"/>
              </a:ext>
            </a:extLst>
          </p:cNvPr>
          <p:cNvSpPr txBox="1"/>
          <p:nvPr/>
        </p:nvSpPr>
        <p:spPr>
          <a:xfrm>
            <a:off x="538163" y="5268913"/>
            <a:ext cx="373856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For further details</a:t>
            </a:r>
          </a:p>
        </p:txBody>
      </p:sp>
      <p:sp>
        <p:nvSpPr>
          <p:cNvPr id="23676" name="TextBox 156">
            <a:extLst>
              <a:ext uri="{FF2B5EF4-FFF2-40B4-BE49-F238E27FC236}">
                <a16:creationId xmlns:a16="http://schemas.microsoft.com/office/drawing/2014/main" id="{95D66AAF-6B48-4B9E-9E5B-F1BB063A89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6300" y="6342063"/>
            <a:ext cx="37306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Abbreviations: </a:t>
            </a:r>
            <a:r>
              <a:rPr kumimoji="0" lang="en-GB" alt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	NICPS</a:t>
            </a:r>
            <a: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: Nigerian Investment Certification Programme for States             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	</a:t>
            </a:r>
            <a:r>
              <a:rPr kumimoji="0" lang="en-GB" alt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IGR</a:t>
            </a:r>
            <a: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:     Internal Generated Revenue</a:t>
            </a:r>
          </a:p>
        </p:txBody>
      </p:sp>
      <p:sp>
        <p:nvSpPr>
          <p:cNvPr id="23677" name="TextBox 150">
            <a:extLst>
              <a:ext uri="{FF2B5EF4-FFF2-40B4-BE49-F238E27FC236}">
                <a16:creationId xmlns:a16="http://schemas.microsoft.com/office/drawing/2014/main" id="{0C3C74AA-958A-427A-94BC-BA3C6F707F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8638" y="5489575"/>
            <a:ext cx="2465387" cy="722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 algn="just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Oil was first discovered in </a:t>
            </a:r>
            <a:r>
              <a:rPr lang="en-US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Araromi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 Sea Side in 1908</a:t>
            </a:r>
            <a:endParaRPr kumimoji="0" lang="en-MY" alt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678" name="TextBox 152">
            <a:extLst>
              <a:ext uri="{FF2B5EF4-FFF2-40B4-BE49-F238E27FC236}">
                <a16:creationId xmlns:a16="http://schemas.microsoft.com/office/drawing/2014/main" id="{BFAF6896-F732-45FC-AC47-950DF99D9E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55284" y="1136569"/>
            <a:ext cx="3446463" cy="1492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15888" indent="-11588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75,000+ tons of quality cocoa annually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Largest Bitumen deposit in Afric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True deep-sea port with co-located free-trade zon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The longest coast line in Nigeria of 180km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Natural transit hub to Nigeria hinterland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42 potential tourist attractions centr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D4E23C6-26A0-4545-B8F7-7007C8EEBFE4}"/>
              </a:ext>
            </a:extLst>
          </p:cNvPr>
          <p:cNvSpPr txBox="1"/>
          <p:nvPr/>
        </p:nvSpPr>
        <p:spPr>
          <a:xfrm>
            <a:off x="4338638" y="5265738"/>
            <a:ext cx="247491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Did you know?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sp>
        <p:nvSpPr>
          <p:cNvPr id="132" name="Text Placeholder 42">
            <a:extLst>
              <a:ext uri="{FF2B5EF4-FFF2-40B4-BE49-F238E27FC236}">
                <a16:creationId xmlns:a16="http://schemas.microsoft.com/office/drawing/2014/main" id="{D510D0DC-1548-4249-8DB1-9A1055126D07}"/>
              </a:ext>
            </a:extLst>
          </p:cNvPr>
          <p:cNvSpPr txBox="1">
            <a:spLocks/>
          </p:cNvSpPr>
          <p:nvPr/>
        </p:nvSpPr>
        <p:spPr>
          <a:xfrm>
            <a:off x="498995" y="5500878"/>
            <a:ext cx="3804661" cy="701675"/>
          </a:xfrm>
          <a:prstGeom prst="rect">
            <a:avLst/>
          </a:prstGeom>
        </p:spPr>
        <p:txBody>
          <a:bodyPr lIns="36576" tIns="0" rIns="36576" bIns="0"/>
          <a:lstStyle>
            <a:lvl1pPr marL="0" indent="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/>
              <a:buNone/>
              <a:defRPr sz="800" b="1" baseline="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6575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93763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 charset="0"/>
              <a:buChar char="►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50950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619250" indent="-188913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0764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25336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29908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34480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</a:rPr>
              <a:t>NIGERIAN INVESTMENT PROMOTION COMMISSION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Arial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hlinkClick r:id="rId7"/>
              </a:rPr>
              <a:t>statesco@nipc.gov.ng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Arial"/>
              <a:buNone/>
              <a:tabLst/>
              <a:defRPr/>
            </a:pPr>
            <a:endParaRPr kumimoji="0" lang="en-US" sz="5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</a:endParaRPr>
          </a:p>
          <a:p>
            <a:pPr lvl="0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000" kern="0" dirty="0">
                <a:solidFill>
                  <a:prstClr val="black"/>
                </a:solidFill>
              </a:rPr>
              <a:t>ONDO STATE DEVELOPMENT AND INVESTMENT PROMOTION AGENCY</a:t>
            </a:r>
          </a:p>
          <a:p>
            <a:pPr lvl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 err="1">
                <a:solidFill>
                  <a:prstClr val="black"/>
                </a:solidFill>
                <a:hlinkClick r:id="rId8"/>
              </a:rPr>
              <a:t>boye@ondipa.org</a:t>
            </a:r>
            <a:r>
              <a:rPr lang="en-US" sz="1000" b="0" kern="0" dirty="0">
                <a:solidFill>
                  <a:prstClr val="black"/>
                </a:solidFill>
              </a:rPr>
              <a:t>  </a:t>
            </a:r>
          </a:p>
        </p:txBody>
      </p:sp>
      <p:graphicFrame>
        <p:nvGraphicFramePr>
          <p:cNvPr id="158" name="Group 76">
            <a:extLst>
              <a:ext uri="{FF2B5EF4-FFF2-40B4-BE49-F238E27FC236}">
                <a16:creationId xmlns:a16="http://schemas.microsoft.com/office/drawing/2014/main" id="{57830D68-CF73-4A3E-9D36-141B03AADBF7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41338" y="3402013"/>
          <a:ext cx="3735387" cy="1827306"/>
        </p:xfrm>
        <a:graphic>
          <a:graphicData uri="http://schemas.openxmlformats.org/drawingml/2006/table">
            <a:tbl>
              <a:tblPr/>
              <a:tblGrid>
                <a:gridCol w="1316931">
                  <a:extLst>
                    <a:ext uri="{9D8B030D-6E8A-4147-A177-3AD203B41FA5}">
                      <a16:colId xmlns:a16="http://schemas.microsoft.com/office/drawing/2014/main" val="2027704273"/>
                    </a:ext>
                  </a:extLst>
                </a:gridCol>
                <a:gridCol w="603796">
                  <a:extLst>
                    <a:ext uri="{9D8B030D-6E8A-4147-A177-3AD203B41FA5}">
                      <a16:colId xmlns:a16="http://schemas.microsoft.com/office/drawing/2014/main" val="3432768286"/>
                    </a:ext>
                  </a:extLst>
                </a:gridCol>
                <a:gridCol w="744015">
                  <a:extLst>
                    <a:ext uri="{9D8B030D-6E8A-4147-A177-3AD203B41FA5}">
                      <a16:colId xmlns:a16="http://schemas.microsoft.com/office/drawing/2014/main" val="3730294207"/>
                    </a:ext>
                  </a:extLst>
                </a:gridCol>
                <a:gridCol w="1070645">
                  <a:extLst>
                    <a:ext uri="{9D8B030D-6E8A-4147-A177-3AD203B41FA5}">
                      <a16:colId xmlns:a16="http://schemas.microsoft.com/office/drawing/2014/main" val="2258321117"/>
                    </a:ext>
                  </a:extLst>
                </a:gridCol>
              </a:tblGrid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apital</a:t>
                      </a:r>
                      <a:endParaRPr kumimoji="0" lang="en-SG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292929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SG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Akure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703009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nd Are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5,820 km</a:t>
                      </a:r>
                      <a:r>
                        <a:rPr kumimoji="0" lang="en-US" altLang="en-US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25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603614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Population (2017E)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4, 651, 129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19of 37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505851"/>
                  </a:ext>
                </a:extLst>
              </a:tr>
              <a:tr h="203024">
                <a:tc row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Dem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0-14: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,769,275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8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130093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5-64: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,708,747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58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387564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65+: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+mn-cs"/>
                        </a:rPr>
                        <a:t>   173,107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[4%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38801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bour force 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,390,328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12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797882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limate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ropical  savanna &amp; tropical monsoon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3942226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op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Rocky &amp; swampy 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32899"/>
                  </a:ext>
                </a:extLst>
              </a:tr>
            </a:tbl>
          </a:graphicData>
        </a:graphic>
      </p:graphicFrame>
      <p:pic>
        <p:nvPicPr>
          <p:cNvPr id="129" name="Picture 5">
            <a:extLst>
              <a:ext uri="{FF2B5EF4-FFF2-40B4-BE49-F238E27FC236}">
                <a16:creationId xmlns:a16="http://schemas.microsoft.com/office/drawing/2014/main" id="{F63162D8-9995-40E0-965D-36866B75EC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5106" y="3927980"/>
            <a:ext cx="377851" cy="3975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5" name="Picture 6">
            <a:extLst>
              <a:ext uri="{FF2B5EF4-FFF2-40B4-BE49-F238E27FC236}">
                <a16:creationId xmlns:a16="http://schemas.microsoft.com/office/drawing/2014/main" id="{A4E7A644-F6A4-4EA2-B174-25F6AFD2933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42" t="54495" r="55846" b="9535"/>
          <a:stretch/>
        </p:blipFill>
        <p:spPr bwMode="auto">
          <a:xfrm>
            <a:off x="7616726" y="3090164"/>
            <a:ext cx="411657" cy="4544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6" name="Picture 135">
            <a:extLst>
              <a:ext uri="{FF2B5EF4-FFF2-40B4-BE49-F238E27FC236}">
                <a16:creationId xmlns:a16="http://schemas.microsoft.com/office/drawing/2014/main" id="{D3546223-7232-4639-9FF1-A1A440987E6A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49106" r="81105" b="11688"/>
          <a:stretch/>
        </p:blipFill>
        <p:spPr>
          <a:xfrm rot="10800000">
            <a:off x="6958437" y="3906198"/>
            <a:ext cx="260974" cy="433201"/>
          </a:xfrm>
          <a:prstGeom prst="rect">
            <a:avLst/>
          </a:prstGeom>
        </p:spPr>
      </p:pic>
      <p:pic>
        <p:nvPicPr>
          <p:cNvPr id="139" name="Picture 10">
            <a:extLst>
              <a:ext uri="{FF2B5EF4-FFF2-40B4-BE49-F238E27FC236}">
                <a16:creationId xmlns:a16="http://schemas.microsoft.com/office/drawing/2014/main" id="{1EA5B740-3B46-42DB-A409-19182FEF8A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0615" y="3962882"/>
            <a:ext cx="444881" cy="3339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1" name="Picture 2">
            <a:extLst>
              <a:ext uri="{FF2B5EF4-FFF2-40B4-BE49-F238E27FC236}">
                <a16:creationId xmlns:a16="http://schemas.microsoft.com/office/drawing/2014/main" id="{8A2E5659-181F-4F98-A42A-E1AFDFF9CB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2664" y="3149328"/>
            <a:ext cx="360795" cy="39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2" name="Picture 141">
            <a:extLst>
              <a:ext uri="{FF2B5EF4-FFF2-40B4-BE49-F238E27FC236}">
                <a16:creationId xmlns:a16="http://schemas.microsoft.com/office/drawing/2014/main" id="{1D8B69EB-8E86-48D0-9343-56BA8DE0E676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4186" y="3124593"/>
            <a:ext cx="482712" cy="422204"/>
          </a:xfrm>
          <a:prstGeom prst="rect">
            <a:avLst/>
          </a:prstGeom>
        </p:spPr>
      </p:pic>
      <p:pic>
        <p:nvPicPr>
          <p:cNvPr id="149" name="Picture 3">
            <a:extLst>
              <a:ext uri="{FF2B5EF4-FFF2-40B4-BE49-F238E27FC236}">
                <a16:creationId xmlns:a16="http://schemas.microsoft.com/office/drawing/2014/main" id="{F8794C69-F26F-4C43-88A9-3179785A6D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5260" y="2978763"/>
            <a:ext cx="579896" cy="659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0" name="Picture 149">
            <a:extLst>
              <a:ext uri="{FF2B5EF4-FFF2-40B4-BE49-F238E27FC236}">
                <a16:creationId xmlns:a16="http://schemas.microsoft.com/office/drawing/2014/main" id="{ECC2346D-EF98-446A-B9BA-AFE565532840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063093" y="3153646"/>
            <a:ext cx="375166" cy="362555"/>
          </a:xfrm>
          <a:prstGeom prst="rect">
            <a:avLst/>
          </a:prstGeom>
        </p:spPr>
      </p:pic>
      <p:pic>
        <p:nvPicPr>
          <p:cNvPr id="151" name="Picture 150">
            <a:extLst>
              <a:ext uri="{FF2B5EF4-FFF2-40B4-BE49-F238E27FC236}">
                <a16:creationId xmlns:a16="http://schemas.microsoft.com/office/drawing/2014/main" id="{17017CF9-F262-40B7-BE0E-DCD628E647F8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2935" t="59695" r="41328" b="2840"/>
          <a:stretch/>
        </p:blipFill>
        <p:spPr>
          <a:xfrm flipH="1">
            <a:off x="9030608" y="3977837"/>
            <a:ext cx="450740" cy="302975"/>
          </a:xfrm>
          <a:prstGeom prst="rect">
            <a:avLst/>
          </a:prstGeom>
        </p:spPr>
      </p:pic>
      <p:pic>
        <p:nvPicPr>
          <p:cNvPr id="159" name="Picture 158">
            <a:extLst>
              <a:ext uri="{FF2B5EF4-FFF2-40B4-BE49-F238E27FC236}">
                <a16:creationId xmlns:a16="http://schemas.microsoft.com/office/drawing/2014/main" id="{A2C8B3FE-3482-4FF1-903E-D684237E78C5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222924" y="3934809"/>
            <a:ext cx="389027" cy="389027"/>
          </a:xfrm>
          <a:prstGeom prst="rect">
            <a:avLst/>
          </a:prstGeom>
        </p:spPr>
      </p:pic>
      <p:sp>
        <p:nvSpPr>
          <p:cNvPr id="160" name="TextBox 166">
            <a:extLst>
              <a:ext uri="{FF2B5EF4-FFF2-40B4-BE49-F238E27FC236}">
                <a16:creationId xmlns:a16="http://schemas.microsoft.com/office/drawing/2014/main" id="{FD7BA23F-5DFF-488A-B43A-938237BA88A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17479" y="4434134"/>
            <a:ext cx="54534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altLang="en-US" sz="900" dirty="0">
                <a:solidFill>
                  <a:prstClr val="black"/>
                </a:solidFill>
                <a:latin typeface="Calibri" panose="020F0502020204030204" pitchFamily="34" charset="0"/>
              </a:rPr>
              <a:t>Cashew</a:t>
            </a:r>
            <a:endParaRPr kumimoji="0" lang="en-GB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7" name="Oval 126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238751" y="3833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FF015425-7997-4612-9D0E-1F6C433DFCC7}"/>
              </a:ext>
            </a:extLst>
          </p:cNvPr>
          <p:cNvSpPr/>
          <p:nvPr/>
        </p:nvSpPr>
        <p:spPr>
          <a:xfrm>
            <a:off x="6080877" y="3040856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4C0B7457-CABD-4AC8-8A1A-1FD468581E4D}"/>
              </a:ext>
            </a:extLst>
          </p:cNvPr>
          <p:cNvSpPr/>
          <p:nvPr/>
        </p:nvSpPr>
        <p:spPr>
          <a:xfrm>
            <a:off x="6784796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id="{2D626A89-F50C-45A3-9271-5D3F2EEA9C83}"/>
              </a:ext>
            </a:extLst>
          </p:cNvPr>
          <p:cNvSpPr/>
          <p:nvPr/>
        </p:nvSpPr>
        <p:spPr>
          <a:xfrm>
            <a:off x="7518399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4" name="Oval 133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240713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4D1FAA17-3EFF-404B-B4C4-B468BCE2E9A5}"/>
              </a:ext>
            </a:extLst>
          </p:cNvPr>
          <p:cNvSpPr/>
          <p:nvPr/>
        </p:nvSpPr>
        <p:spPr>
          <a:xfrm>
            <a:off x="6078265" y="3836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E861211D-5D09-4577-8A09-FD96D972A5D4}"/>
              </a:ext>
            </a:extLst>
          </p:cNvPr>
          <p:cNvSpPr/>
          <p:nvPr/>
        </p:nvSpPr>
        <p:spPr>
          <a:xfrm>
            <a:off x="6780509" y="3833831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3CBEFD1C-6360-47CD-AEDD-DFB49FC0E0C7}"/>
              </a:ext>
            </a:extLst>
          </p:cNvPr>
          <p:cNvSpPr/>
          <p:nvPr/>
        </p:nvSpPr>
        <p:spPr>
          <a:xfrm>
            <a:off x="7518603" y="3830834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4" name="Oval 143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953126" y="3843338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955088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6" name="object 41">
            <a:extLst>
              <a:ext uri="{FF2B5EF4-FFF2-40B4-BE49-F238E27FC236}">
                <a16:creationId xmlns:a16="http://schemas.microsoft.com/office/drawing/2014/main" id="{2CCB99A3-0CDA-4815-A7F5-E90EBA59CD5F}"/>
              </a:ext>
            </a:extLst>
          </p:cNvPr>
          <p:cNvSpPr txBox="1"/>
          <p:nvPr/>
        </p:nvSpPr>
        <p:spPr>
          <a:xfrm>
            <a:off x="4583798" y="4623825"/>
            <a:ext cx="1340600" cy="646331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R="5080" indent="12700" algn="ctr">
              <a:lnSpc>
                <a:spcPct val="100000"/>
              </a:lnSpc>
            </a:pPr>
            <a:r>
              <a:rPr lang="en-GB" sz="1400" b="1" spc="-5" dirty="0">
                <a:solidFill>
                  <a:srgbClr val="FF0000"/>
                </a:solidFill>
                <a:latin typeface="Calibri" panose="020F0502020204030204" pitchFamily="34" charset="0"/>
                <a:cs typeface="Arial"/>
              </a:rPr>
              <a:t>State Investment Certification Process  Ongoing</a:t>
            </a:r>
            <a:endParaRPr sz="1400" b="1" dirty="0">
              <a:solidFill>
                <a:srgbClr val="FF0000"/>
              </a:solidFill>
              <a:latin typeface="Calibri" panose="020F0502020204030204" pitchFamily="34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1545195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Pentagon 19">
            <a:extLst>
              <a:ext uri="{FF2B5EF4-FFF2-40B4-BE49-F238E27FC236}">
                <a16:creationId xmlns:a16="http://schemas.microsoft.com/office/drawing/2014/main" id="{CAD93C59-72A9-4F6D-A654-02B9F8A5EFF9}"/>
              </a:ext>
            </a:extLst>
          </p:cNvPr>
          <p:cNvSpPr>
            <a:spLocks/>
          </p:cNvSpPr>
          <p:nvPr/>
        </p:nvSpPr>
        <p:spPr bwMode="auto">
          <a:xfrm>
            <a:off x="756602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31 of 37</a:t>
            </a:r>
          </a:p>
        </p:txBody>
      </p:sp>
      <p:sp>
        <p:nvSpPr>
          <p:cNvPr id="376" name="Pentagon 19">
            <a:extLst>
              <a:ext uri="{FF2B5EF4-FFF2-40B4-BE49-F238E27FC236}">
                <a16:creationId xmlns:a16="http://schemas.microsoft.com/office/drawing/2014/main" id="{1BDC5465-6022-4404-B4D8-ED55CF961B8A}"/>
              </a:ext>
            </a:extLst>
          </p:cNvPr>
          <p:cNvSpPr>
            <a:spLocks/>
          </p:cNvSpPr>
          <p:nvPr/>
        </p:nvSpPr>
        <p:spPr bwMode="auto">
          <a:xfrm>
            <a:off x="824865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4 of 3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57F1EBC-D01A-4083-B657-63AFB1490839}"/>
              </a:ext>
            </a:extLst>
          </p:cNvPr>
          <p:cNvSpPr txBox="1"/>
          <p:nvPr/>
        </p:nvSpPr>
        <p:spPr>
          <a:xfrm>
            <a:off x="6122988" y="2749550"/>
            <a:ext cx="3475037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Investment Opportunit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D251BD-538A-4F4F-847E-620EEDA298A0}"/>
              </a:ext>
            </a:extLst>
          </p:cNvPr>
          <p:cNvSpPr txBox="1"/>
          <p:nvPr/>
        </p:nvSpPr>
        <p:spPr>
          <a:xfrm>
            <a:off x="6881813" y="4632911"/>
            <a:ext cx="2697162" cy="33855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Doing Business Ranking(2018)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1B8F13C-F732-4DA1-9250-DB02936E7688}"/>
              </a:ext>
            </a:extLst>
          </p:cNvPr>
          <p:cNvSpPr/>
          <p:nvPr/>
        </p:nvSpPr>
        <p:spPr>
          <a:xfrm>
            <a:off x="756602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egistering Propert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6BA1818-32ED-44D1-975C-958200BDD124}"/>
              </a:ext>
            </a:extLst>
          </p:cNvPr>
          <p:cNvSpPr/>
          <p:nvPr/>
        </p:nvSpPr>
        <p:spPr>
          <a:xfrm>
            <a:off x="8248650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ealing with Construction Permits</a:t>
            </a:r>
          </a:p>
        </p:txBody>
      </p:sp>
      <p:sp>
        <p:nvSpPr>
          <p:cNvPr id="23560" name="TextBox 174">
            <a:extLst>
              <a:ext uri="{FF2B5EF4-FFF2-40B4-BE49-F238E27FC236}">
                <a16:creationId xmlns:a16="http://schemas.microsoft.com/office/drawing/2014/main" id="{1573FD4E-62B9-45E8-8F28-CED990ED2D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0B63A6C-2A5E-4CA3-BC66-4CBC6008BC9A}"/>
              </a:ext>
            </a:extLst>
          </p:cNvPr>
          <p:cNvSpPr/>
          <p:nvPr/>
        </p:nvSpPr>
        <p:spPr>
          <a:xfrm>
            <a:off x="893127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nforcing Contracts</a:t>
            </a:r>
          </a:p>
        </p:txBody>
      </p:sp>
      <p:pic>
        <p:nvPicPr>
          <p:cNvPr id="23562" name="Picture 4">
            <a:extLst>
              <a:ext uri="{FF2B5EF4-FFF2-40B4-BE49-F238E27FC236}">
                <a16:creationId xmlns:a16="http://schemas.microsoft.com/office/drawing/2014/main" id="{7C8EEAB2-0239-4BB5-94B3-23E319AF1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513" y="5249863"/>
            <a:ext cx="439737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6" name="Pentagon 19">
            <a:extLst>
              <a:ext uri="{FF2B5EF4-FFF2-40B4-BE49-F238E27FC236}">
                <a16:creationId xmlns:a16="http://schemas.microsoft.com/office/drawing/2014/main" id="{5F8E9670-D71A-4765-B6B5-D711BC9AD6E1}"/>
              </a:ext>
            </a:extLst>
          </p:cNvPr>
          <p:cNvSpPr>
            <a:spLocks/>
          </p:cNvSpPr>
          <p:nvPr/>
        </p:nvSpPr>
        <p:spPr bwMode="auto">
          <a:xfrm>
            <a:off x="893127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1</a:t>
            </a:r>
            <a:r>
              <a:rPr kumimoji="0" lang="en-GB" sz="10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f 37</a:t>
            </a:r>
          </a:p>
        </p:txBody>
      </p:sp>
      <p:sp>
        <p:nvSpPr>
          <p:cNvPr id="23564" name="Title 3">
            <a:extLst>
              <a:ext uri="{FF2B5EF4-FFF2-40B4-BE49-F238E27FC236}">
                <a16:creationId xmlns:a16="http://schemas.microsoft.com/office/drawing/2014/main" id="{C62A749B-CFC7-4224-A789-D20A772AC33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en-GB" altLang="en-US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sun</a:t>
            </a:r>
            <a:r>
              <a:rPr lang="en-GB" alt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State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6882DF2C-9120-4A66-8487-575D9494F4D6}"/>
              </a:ext>
            </a:extLst>
          </p:cNvPr>
          <p:cNvSpPr txBox="1"/>
          <p:nvPr/>
        </p:nvSpPr>
        <p:spPr>
          <a:xfrm rot="16200000">
            <a:off x="-2290084" y="3478372"/>
            <a:ext cx="5303837" cy="2743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Land of Virtue</a:t>
            </a:r>
          </a:p>
        </p:txBody>
      </p:sp>
      <p:grpSp>
        <p:nvGrpSpPr>
          <p:cNvPr id="23566" name="Group 9">
            <a:extLst>
              <a:ext uri="{FF2B5EF4-FFF2-40B4-BE49-F238E27FC236}">
                <a16:creationId xmlns:a16="http://schemas.microsoft.com/office/drawing/2014/main" id="{5B6131BD-3CE3-4FC4-B13A-FA9B797C1EF5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41338" y="963613"/>
            <a:ext cx="2897187" cy="2319337"/>
            <a:chOff x="770228" y="1459989"/>
            <a:chExt cx="4081047" cy="3267527"/>
          </a:xfrm>
        </p:grpSpPr>
        <p:sp>
          <p:nvSpPr>
            <p:cNvPr id="299" name="Freeform 4">
              <a:extLst>
                <a:ext uri="{FF2B5EF4-FFF2-40B4-BE49-F238E27FC236}">
                  <a16:creationId xmlns:a16="http://schemas.microsoft.com/office/drawing/2014/main" id="{B6150C82-CBE5-48B4-B60C-C210BB7B26A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91538" y="4349548"/>
              <a:ext cx="418167" cy="377968"/>
            </a:xfrm>
            <a:custGeom>
              <a:avLst/>
              <a:gdLst>
                <a:gd name="T0" fmla="*/ 12 w 786"/>
                <a:gd name="T1" fmla="*/ 19 h 714"/>
                <a:gd name="T2" fmla="*/ 22 w 786"/>
                <a:gd name="T3" fmla="*/ 18 h 714"/>
                <a:gd name="T4" fmla="*/ 27 w 786"/>
                <a:gd name="T5" fmla="*/ 17 h 714"/>
                <a:gd name="T6" fmla="*/ 30 w 786"/>
                <a:gd name="T7" fmla="*/ 14 h 714"/>
                <a:gd name="T8" fmla="*/ 37 w 786"/>
                <a:gd name="T9" fmla="*/ 16 h 714"/>
                <a:gd name="T10" fmla="*/ 43 w 786"/>
                <a:gd name="T11" fmla="*/ 13 h 714"/>
                <a:gd name="T12" fmla="*/ 48 w 786"/>
                <a:gd name="T13" fmla="*/ 8 h 714"/>
                <a:gd name="T14" fmla="*/ 55 w 786"/>
                <a:gd name="T15" fmla="*/ 4 h 714"/>
                <a:gd name="T16" fmla="*/ 66 w 786"/>
                <a:gd name="T17" fmla="*/ 0 h 714"/>
                <a:gd name="T18" fmla="*/ 63 w 786"/>
                <a:gd name="T19" fmla="*/ 12 h 714"/>
                <a:gd name="T20" fmla="*/ 59 w 786"/>
                <a:gd name="T21" fmla="*/ 19 h 714"/>
                <a:gd name="T22" fmla="*/ 57 w 786"/>
                <a:gd name="T23" fmla="*/ 29 h 714"/>
                <a:gd name="T24" fmla="*/ 59 w 786"/>
                <a:gd name="T25" fmla="*/ 36 h 714"/>
                <a:gd name="T26" fmla="*/ 66 w 786"/>
                <a:gd name="T27" fmla="*/ 35 h 714"/>
                <a:gd name="T28" fmla="*/ 64 w 786"/>
                <a:gd name="T29" fmla="*/ 41 h 714"/>
                <a:gd name="T30" fmla="*/ 64 w 786"/>
                <a:gd name="T31" fmla="*/ 48 h 714"/>
                <a:gd name="T32" fmla="*/ 63 w 786"/>
                <a:gd name="T33" fmla="*/ 56 h 714"/>
                <a:gd name="T34" fmla="*/ 60 w 786"/>
                <a:gd name="T35" fmla="*/ 60 h 714"/>
                <a:gd name="T36" fmla="*/ 57 w 786"/>
                <a:gd name="T37" fmla="*/ 58 h 714"/>
                <a:gd name="T38" fmla="*/ 54 w 786"/>
                <a:gd name="T39" fmla="*/ 54 h 714"/>
                <a:gd name="T40" fmla="*/ 53 w 786"/>
                <a:gd name="T41" fmla="*/ 51 h 714"/>
                <a:gd name="T42" fmla="*/ 51 w 786"/>
                <a:gd name="T43" fmla="*/ 53 h 714"/>
                <a:gd name="T44" fmla="*/ 49 w 786"/>
                <a:gd name="T45" fmla="*/ 54 h 714"/>
                <a:gd name="T46" fmla="*/ 47 w 786"/>
                <a:gd name="T47" fmla="*/ 50 h 714"/>
                <a:gd name="T48" fmla="*/ 48 w 786"/>
                <a:gd name="T49" fmla="*/ 54 h 714"/>
                <a:gd name="T50" fmla="*/ 47 w 786"/>
                <a:gd name="T51" fmla="*/ 54 h 714"/>
                <a:gd name="T52" fmla="*/ 46 w 786"/>
                <a:gd name="T53" fmla="*/ 59 h 714"/>
                <a:gd name="T54" fmla="*/ 47 w 786"/>
                <a:gd name="T55" fmla="*/ 62 h 714"/>
                <a:gd name="T56" fmla="*/ 42 w 786"/>
                <a:gd name="T57" fmla="*/ 62 h 714"/>
                <a:gd name="T58" fmla="*/ 39 w 786"/>
                <a:gd name="T59" fmla="*/ 57 h 714"/>
                <a:gd name="T60" fmla="*/ 40 w 786"/>
                <a:gd name="T61" fmla="*/ 54 h 714"/>
                <a:gd name="T62" fmla="*/ 43 w 786"/>
                <a:gd name="T63" fmla="*/ 55 h 714"/>
                <a:gd name="T64" fmla="*/ 40 w 786"/>
                <a:gd name="T65" fmla="*/ 53 h 714"/>
                <a:gd name="T66" fmla="*/ 38 w 786"/>
                <a:gd name="T67" fmla="*/ 57 h 714"/>
                <a:gd name="T68" fmla="*/ 37 w 786"/>
                <a:gd name="T69" fmla="*/ 57 h 714"/>
                <a:gd name="T70" fmla="*/ 37 w 786"/>
                <a:gd name="T71" fmla="*/ 60 h 714"/>
                <a:gd name="T72" fmla="*/ 33 w 786"/>
                <a:gd name="T73" fmla="*/ 56 h 714"/>
                <a:gd name="T74" fmla="*/ 32 w 786"/>
                <a:gd name="T75" fmla="*/ 58 h 714"/>
                <a:gd name="T76" fmla="*/ 26 w 786"/>
                <a:gd name="T77" fmla="*/ 54 h 714"/>
                <a:gd name="T78" fmla="*/ 26 w 786"/>
                <a:gd name="T79" fmla="*/ 54 h 714"/>
                <a:gd name="T80" fmla="*/ 24 w 786"/>
                <a:gd name="T81" fmla="*/ 51 h 714"/>
                <a:gd name="T82" fmla="*/ 22 w 786"/>
                <a:gd name="T83" fmla="*/ 51 h 714"/>
                <a:gd name="T84" fmla="*/ 20 w 786"/>
                <a:gd name="T85" fmla="*/ 50 h 714"/>
                <a:gd name="T86" fmla="*/ 20 w 786"/>
                <a:gd name="T87" fmla="*/ 48 h 714"/>
                <a:gd name="T88" fmla="*/ 18 w 786"/>
                <a:gd name="T89" fmla="*/ 47 h 714"/>
                <a:gd name="T90" fmla="*/ 15 w 786"/>
                <a:gd name="T91" fmla="*/ 45 h 714"/>
                <a:gd name="T92" fmla="*/ 11 w 786"/>
                <a:gd name="T93" fmla="*/ 39 h 714"/>
                <a:gd name="T94" fmla="*/ 12 w 786"/>
                <a:gd name="T95" fmla="*/ 36 h 714"/>
                <a:gd name="T96" fmla="*/ 7 w 786"/>
                <a:gd name="T97" fmla="*/ 33 h 714"/>
                <a:gd name="T98" fmla="*/ 5 w 786"/>
                <a:gd name="T99" fmla="*/ 28 h 714"/>
                <a:gd name="T100" fmla="*/ 7 w 786"/>
                <a:gd name="T101" fmla="*/ 30 h 714"/>
                <a:gd name="T102" fmla="*/ 4 w 786"/>
                <a:gd name="T103" fmla="*/ 24 h 714"/>
                <a:gd name="T104" fmla="*/ 2 w 786"/>
                <a:gd name="T105" fmla="*/ 20 h 714"/>
                <a:gd name="T106" fmla="*/ 0 w 786"/>
                <a:gd name="T107" fmla="*/ 15 h 714"/>
                <a:gd name="T108" fmla="*/ 4 w 786"/>
                <a:gd name="T109" fmla="*/ 16 h 714"/>
                <a:gd name="T110" fmla="*/ 55 w 786"/>
                <a:gd name="T111" fmla="*/ 60 h 714"/>
                <a:gd name="T112" fmla="*/ 47 w 786"/>
                <a:gd name="T113" fmla="*/ 60 h 714"/>
                <a:gd name="T114" fmla="*/ 51 w 786"/>
                <a:gd name="T115" fmla="*/ 54 h 714"/>
                <a:gd name="T116" fmla="*/ 54 w 786"/>
                <a:gd name="T117" fmla="*/ 56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86"/>
                <a:gd name="T178" fmla="*/ 0 h 714"/>
                <a:gd name="T179" fmla="*/ 786 w 786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86" h="714">
                  <a:moveTo>
                    <a:pt x="54" y="186"/>
                  </a:moveTo>
                  <a:lnTo>
                    <a:pt x="54" y="192"/>
                  </a:lnTo>
                  <a:lnTo>
                    <a:pt x="72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204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20" y="210"/>
                  </a:lnTo>
                  <a:lnTo>
                    <a:pt x="126" y="210"/>
                  </a:lnTo>
                  <a:lnTo>
                    <a:pt x="132" y="210"/>
                  </a:lnTo>
                  <a:lnTo>
                    <a:pt x="132" y="216"/>
                  </a:lnTo>
                  <a:lnTo>
                    <a:pt x="138" y="222"/>
                  </a:lnTo>
                  <a:lnTo>
                    <a:pt x="150" y="222"/>
                  </a:lnTo>
                  <a:lnTo>
                    <a:pt x="162" y="234"/>
                  </a:lnTo>
                  <a:lnTo>
                    <a:pt x="168" y="240"/>
                  </a:lnTo>
                  <a:lnTo>
                    <a:pt x="180" y="240"/>
                  </a:lnTo>
                  <a:lnTo>
                    <a:pt x="186" y="228"/>
                  </a:lnTo>
                  <a:lnTo>
                    <a:pt x="210" y="234"/>
                  </a:lnTo>
                  <a:lnTo>
                    <a:pt x="222" y="228"/>
                  </a:lnTo>
                  <a:lnTo>
                    <a:pt x="228" y="216"/>
                  </a:lnTo>
                  <a:lnTo>
                    <a:pt x="234" y="210"/>
                  </a:lnTo>
                  <a:lnTo>
                    <a:pt x="240" y="216"/>
                  </a:lnTo>
                  <a:lnTo>
                    <a:pt x="246" y="210"/>
                  </a:lnTo>
                  <a:lnTo>
                    <a:pt x="252" y="210"/>
                  </a:lnTo>
                  <a:lnTo>
                    <a:pt x="258" y="210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192"/>
                  </a:lnTo>
                  <a:lnTo>
                    <a:pt x="270" y="192"/>
                  </a:lnTo>
                  <a:lnTo>
                    <a:pt x="276" y="192"/>
                  </a:lnTo>
                  <a:lnTo>
                    <a:pt x="282" y="192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192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198"/>
                  </a:lnTo>
                  <a:lnTo>
                    <a:pt x="312" y="198"/>
                  </a:lnTo>
                  <a:lnTo>
                    <a:pt x="312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24" y="186"/>
                  </a:lnTo>
                  <a:lnTo>
                    <a:pt x="318" y="180"/>
                  </a:lnTo>
                  <a:lnTo>
                    <a:pt x="324" y="180"/>
                  </a:lnTo>
                  <a:lnTo>
                    <a:pt x="330" y="186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74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54" y="144"/>
                  </a:lnTo>
                  <a:lnTo>
                    <a:pt x="360" y="144"/>
                  </a:lnTo>
                  <a:lnTo>
                    <a:pt x="372" y="156"/>
                  </a:lnTo>
                  <a:lnTo>
                    <a:pt x="372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96" y="168"/>
                  </a:lnTo>
                  <a:lnTo>
                    <a:pt x="396" y="174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26" y="186"/>
                  </a:lnTo>
                  <a:lnTo>
                    <a:pt x="432" y="186"/>
                  </a:lnTo>
                  <a:lnTo>
                    <a:pt x="438" y="180"/>
                  </a:lnTo>
                  <a:lnTo>
                    <a:pt x="438" y="168"/>
                  </a:lnTo>
                  <a:lnTo>
                    <a:pt x="438" y="162"/>
                  </a:lnTo>
                  <a:lnTo>
                    <a:pt x="444" y="156"/>
                  </a:lnTo>
                  <a:lnTo>
                    <a:pt x="450" y="156"/>
                  </a:lnTo>
                  <a:lnTo>
                    <a:pt x="456" y="150"/>
                  </a:lnTo>
                  <a:lnTo>
                    <a:pt x="462" y="156"/>
                  </a:lnTo>
                  <a:lnTo>
                    <a:pt x="468" y="162"/>
                  </a:lnTo>
                  <a:lnTo>
                    <a:pt x="474" y="162"/>
                  </a:lnTo>
                  <a:lnTo>
                    <a:pt x="486" y="162"/>
                  </a:lnTo>
                  <a:lnTo>
                    <a:pt x="492" y="156"/>
                  </a:lnTo>
                  <a:lnTo>
                    <a:pt x="498" y="150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28" y="126"/>
                  </a:lnTo>
                  <a:lnTo>
                    <a:pt x="522" y="120"/>
                  </a:lnTo>
                  <a:lnTo>
                    <a:pt x="522" y="114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28" y="102"/>
                  </a:lnTo>
                  <a:lnTo>
                    <a:pt x="534" y="96"/>
                  </a:lnTo>
                  <a:lnTo>
                    <a:pt x="552" y="96"/>
                  </a:lnTo>
                  <a:lnTo>
                    <a:pt x="570" y="102"/>
                  </a:lnTo>
                  <a:lnTo>
                    <a:pt x="582" y="96"/>
                  </a:lnTo>
                  <a:lnTo>
                    <a:pt x="582" y="90"/>
                  </a:lnTo>
                  <a:lnTo>
                    <a:pt x="582" y="78"/>
                  </a:lnTo>
                  <a:lnTo>
                    <a:pt x="582" y="72"/>
                  </a:lnTo>
                  <a:lnTo>
                    <a:pt x="582" y="66"/>
                  </a:lnTo>
                  <a:lnTo>
                    <a:pt x="594" y="60"/>
                  </a:lnTo>
                  <a:lnTo>
                    <a:pt x="600" y="60"/>
                  </a:lnTo>
                  <a:lnTo>
                    <a:pt x="606" y="54"/>
                  </a:lnTo>
                  <a:lnTo>
                    <a:pt x="618" y="48"/>
                  </a:lnTo>
                  <a:lnTo>
                    <a:pt x="618" y="42"/>
                  </a:lnTo>
                  <a:lnTo>
                    <a:pt x="624" y="42"/>
                  </a:lnTo>
                  <a:lnTo>
                    <a:pt x="636" y="48"/>
                  </a:lnTo>
                  <a:lnTo>
                    <a:pt x="648" y="54"/>
                  </a:lnTo>
                  <a:lnTo>
                    <a:pt x="660" y="54"/>
                  </a:lnTo>
                  <a:lnTo>
                    <a:pt x="666" y="60"/>
                  </a:lnTo>
                  <a:lnTo>
                    <a:pt x="672" y="54"/>
                  </a:lnTo>
                  <a:lnTo>
                    <a:pt x="684" y="48"/>
                  </a:lnTo>
                  <a:lnTo>
                    <a:pt x="708" y="42"/>
                  </a:lnTo>
                  <a:lnTo>
                    <a:pt x="714" y="42"/>
                  </a:lnTo>
                  <a:lnTo>
                    <a:pt x="720" y="36"/>
                  </a:lnTo>
                  <a:lnTo>
                    <a:pt x="720" y="30"/>
                  </a:lnTo>
                  <a:lnTo>
                    <a:pt x="714" y="12"/>
                  </a:lnTo>
                  <a:lnTo>
                    <a:pt x="708" y="0"/>
                  </a:lnTo>
                  <a:lnTo>
                    <a:pt x="738" y="6"/>
                  </a:lnTo>
                  <a:lnTo>
                    <a:pt x="756" y="6"/>
                  </a:lnTo>
                  <a:lnTo>
                    <a:pt x="762" y="42"/>
                  </a:lnTo>
                  <a:lnTo>
                    <a:pt x="738" y="72"/>
                  </a:lnTo>
                  <a:lnTo>
                    <a:pt x="750" y="90"/>
                  </a:lnTo>
                  <a:lnTo>
                    <a:pt x="762" y="96"/>
                  </a:lnTo>
                  <a:lnTo>
                    <a:pt x="756" y="102"/>
                  </a:lnTo>
                  <a:lnTo>
                    <a:pt x="750" y="108"/>
                  </a:lnTo>
                  <a:lnTo>
                    <a:pt x="750" y="114"/>
                  </a:lnTo>
                  <a:lnTo>
                    <a:pt x="750" y="120"/>
                  </a:lnTo>
                  <a:lnTo>
                    <a:pt x="750" y="126"/>
                  </a:lnTo>
                  <a:lnTo>
                    <a:pt x="750" y="132"/>
                  </a:lnTo>
                  <a:lnTo>
                    <a:pt x="738" y="132"/>
                  </a:lnTo>
                  <a:lnTo>
                    <a:pt x="732" y="138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14" y="144"/>
                  </a:lnTo>
                  <a:lnTo>
                    <a:pt x="714" y="150"/>
                  </a:lnTo>
                  <a:lnTo>
                    <a:pt x="720" y="156"/>
                  </a:lnTo>
                  <a:lnTo>
                    <a:pt x="720" y="162"/>
                  </a:lnTo>
                  <a:lnTo>
                    <a:pt x="714" y="162"/>
                  </a:lnTo>
                  <a:lnTo>
                    <a:pt x="708" y="168"/>
                  </a:lnTo>
                  <a:lnTo>
                    <a:pt x="708" y="180"/>
                  </a:lnTo>
                  <a:lnTo>
                    <a:pt x="708" y="192"/>
                  </a:lnTo>
                  <a:lnTo>
                    <a:pt x="696" y="198"/>
                  </a:lnTo>
                  <a:lnTo>
                    <a:pt x="696" y="204"/>
                  </a:lnTo>
                  <a:lnTo>
                    <a:pt x="684" y="210"/>
                  </a:lnTo>
                  <a:lnTo>
                    <a:pt x="684" y="216"/>
                  </a:lnTo>
                  <a:lnTo>
                    <a:pt x="684" y="222"/>
                  </a:lnTo>
                  <a:lnTo>
                    <a:pt x="678" y="228"/>
                  </a:lnTo>
                  <a:lnTo>
                    <a:pt x="678" y="234"/>
                  </a:lnTo>
                  <a:lnTo>
                    <a:pt x="672" y="240"/>
                  </a:lnTo>
                  <a:lnTo>
                    <a:pt x="672" y="252"/>
                  </a:lnTo>
                  <a:lnTo>
                    <a:pt x="672" y="258"/>
                  </a:lnTo>
                  <a:lnTo>
                    <a:pt x="666" y="264"/>
                  </a:lnTo>
                  <a:lnTo>
                    <a:pt x="678" y="264"/>
                  </a:lnTo>
                  <a:lnTo>
                    <a:pt x="684" y="276"/>
                  </a:lnTo>
                  <a:lnTo>
                    <a:pt x="684" y="288"/>
                  </a:lnTo>
                  <a:lnTo>
                    <a:pt x="672" y="300"/>
                  </a:lnTo>
                  <a:lnTo>
                    <a:pt x="660" y="318"/>
                  </a:lnTo>
                  <a:lnTo>
                    <a:pt x="660" y="336"/>
                  </a:lnTo>
                  <a:lnTo>
                    <a:pt x="654" y="342"/>
                  </a:lnTo>
                  <a:lnTo>
                    <a:pt x="660" y="354"/>
                  </a:lnTo>
                  <a:lnTo>
                    <a:pt x="660" y="366"/>
                  </a:lnTo>
                  <a:lnTo>
                    <a:pt x="666" y="378"/>
                  </a:lnTo>
                  <a:lnTo>
                    <a:pt x="672" y="390"/>
                  </a:lnTo>
                  <a:lnTo>
                    <a:pt x="678" y="396"/>
                  </a:lnTo>
                  <a:lnTo>
                    <a:pt x="684" y="390"/>
                  </a:lnTo>
                  <a:lnTo>
                    <a:pt x="690" y="390"/>
                  </a:lnTo>
                  <a:lnTo>
                    <a:pt x="690" y="396"/>
                  </a:lnTo>
                  <a:lnTo>
                    <a:pt x="684" y="396"/>
                  </a:lnTo>
                  <a:lnTo>
                    <a:pt x="684" y="402"/>
                  </a:lnTo>
                  <a:lnTo>
                    <a:pt x="684" y="408"/>
                  </a:lnTo>
                  <a:lnTo>
                    <a:pt x="678" y="414"/>
                  </a:lnTo>
                  <a:lnTo>
                    <a:pt x="684" y="414"/>
                  </a:lnTo>
                  <a:lnTo>
                    <a:pt x="684" y="420"/>
                  </a:lnTo>
                  <a:lnTo>
                    <a:pt x="684" y="426"/>
                  </a:lnTo>
                  <a:lnTo>
                    <a:pt x="690" y="420"/>
                  </a:lnTo>
                  <a:lnTo>
                    <a:pt x="696" y="420"/>
                  </a:lnTo>
                  <a:lnTo>
                    <a:pt x="696" y="426"/>
                  </a:lnTo>
                  <a:lnTo>
                    <a:pt x="690" y="426"/>
                  </a:lnTo>
                  <a:lnTo>
                    <a:pt x="696" y="426"/>
                  </a:lnTo>
                  <a:lnTo>
                    <a:pt x="708" y="426"/>
                  </a:lnTo>
                  <a:lnTo>
                    <a:pt x="726" y="414"/>
                  </a:lnTo>
                  <a:lnTo>
                    <a:pt x="732" y="408"/>
                  </a:lnTo>
                  <a:lnTo>
                    <a:pt x="744" y="402"/>
                  </a:lnTo>
                  <a:lnTo>
                    <a:pt x="756" y="402"/>
                  </a:lnTo>
                  <a:lnTo>
                    <a:pt x="768" y="402"/>
                  </a:lnTo>
                  <a:lnTo>
                    <a:pt x="786" y="408"/>
                  </a:lnTo>
                  <a:lnTo>
                    <a:pt x="786" y="414"/>
                  </a:lnTo>
                  <a:lnTo>
                    <a:pt x="774" y="420"/>
                  </a:lnTo>
                  <a:lnTo>
                    <a:pt x="774" y="426"/>
                  </a:lnTo>
                  <a:lnTo>
                    <a:pt x="768" y="432"/>
                  </a:lnTo>
                  <a:lnTo>
                    <a:pt x="762" y="438"/>
                  </a:lnTo>
                  <a:lnTo>
                    <a:pt x="756" y="438"/>
                  </a:lnTo>
                  <a:lnTo>
                    <a:pt x="756" y="444"/>
                  </a:lnTo>
                  <a:lnTo>
                    <a:pt x="756" y="450"/>
                  </a:lnTo>
                  <a:lnTo>
                    <a:pt x="762" y="450"/>
                  </a:lnTo>
                  <a:lnTo>
                    <a:pt x="750" y="456"/>
                  </a:lnTo>
                  <a:lnTo>
                    <a:pt x="738" y="468"/>
                  </a:lnTo>
                  <a:lnTo>
                    <a:pt x="726" y="480"/>
                  </a:lnTo>
                  <a:lnTo>
                    <a:pt x="726" y="486"/>
                  </a:lnTo>
                  <a:lnTo>
                    <a:pt x="732" y="486"/>
                  </a:lnTo>
                  <a:lnTo>
                    <a:pt x="732" y="492"/>
                  </a:lnTo>
                  <a:lnTo>
                    <a:pt x="732" y="504"/>
                  </a:lnTo>
                  <a:lnTo>
                    <a:pt x="738" y="504"/>
                  </a:lnTo>
                  <a:lnTo>
                    <a:pt x="744" y="510"/>
                  </a:lnTo>
                  <a:lnTo>
                    <a:pt x="738" y="522"/>
                  </a:lnTo>
                  <a:lnTo>
                    <a:pt x="744" y="528"/>
                  </a:lnTo>
                  <a:lnTo>
                    <a:pt x="756" y="534"/>
                  </a:lnTo>
                  <a:lnTo>
                    <a:pt x="756" y="540"/>
                  </a:lnTo>
                  <a:lnTo>
                    <a:pt x="744" y="552"/>
                  </a:lnTo>
                  <a:lnTo>
                    <a:pt x="738" y="552"/>
                  </a:lnTo>
                  <a:lnTo>
                    <a:pt x="738" y="558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64"/>
                  </a:lnTo>
                  <a:lnTo>
                    <a:pt x="744" y="576"/>
                  </a:lnTo>
                  <a:lnTo>
                    <a:pt x="738" y="588"/>
                  </a:lnTo>
                  <a:lnTo>
                    <a:pt x="738" y="594"/>
                  </a:lnTo>
                  <a:lnTo>
                    <a:pt x="738" y="600"/>
                  </a:lnTo>
                  <a:lnTo>
                    <a:pt x="738" y="606"/>
                  </a:lnTo>
                  <a:lnTo>
                    <a:pt x="732" y="612"/>
                  </a:lnTo>
                  <a:lnTo>
                    <a:pt x="726" y="624"/>
                  </a:lnTo>
                  <a:lnTo>
                    <a:pt x="726" y="636"/>
                  </a:lnTo>
                  <a:lnTo>
                    <a:pt x="726" y="648"/>
                  </a:lnTo>
                  <a:lnTo>
                    <a:pt x="738" y="654"/>
                  </a:lnTo>
                  <a:lnTo>
                    <a:pt x="750" y="660"/>
                  </a:lnTo>
                  <a:lnTo>
                    <a:pt x="750" y="666"/>
                  </a:lnTo>
                  <a:lnTo>
                    <a:pt x="750" y="678"/>
                  </a:lnTo>
                  <a:lnTo>
                    <a:pt x="744" y="678"/>
                  </a:lnTo>
                  <a:lnTo>
                    <a:pt x="738" y="684"/>
                  </a:lnTo>
                  <a:lnTo>
                    <a:pt x="732" y="684"/>
                  </a:lnTo>
                  <a:lnTo>
                    <a:pt x="720" y="678"/>
                  </a:lnTo>
                  <a:lnTo>
                    <a:pt x="714" y="684"/>
                  </a:lnTo>
                  <a:lnTo>
                    <a:pt x="708" y="684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0" y="690"/>
                  </a:lnTo>
                  <a:lnTo>
                    <a:pt x="690" y="684"/>
                  </a:lnTo>
                  <a:lnTo>
                    <a:pt x="690" y="690"/>
                  </a:lnTo>
                  <a:lnTo>
                    <a:pt x="684" y="690"/>
                  </a:lnTo>
                  <a:lnTo>
                    <a:pt x="684" y="684"/>
                  </a:lnTo>
                  <a:lnTo>
                    <a:pt x="678" y="684"/>
                  </a:lnTo>
                  <a:lnTo>
                    <a:pt x="672" y="678"/>
                  </a:lnTo>
                  <a:lnTo>
                    <a:pt x="672" y="672"/>
                  </a:lnTo>
                  <a:lnTo>
                    <a:pt x="678" y="672"/>
                  </a:lnTo>
                  <a:lnTo>
                    <a:pt x="672" y="672"/>
                  </a:lnTo>
                  <a:lnTo>
                    <a:pt x="666" y="672"/>
                  </a:lnTo>
                  <a:lnTo>
                    <a:pt x="660" y="672"/>
                  </a:lnTo>
                  <a:lnTo>
                    <a:pt x="654" y="672"/>
                  </a:lnTo>
                  <a:lnTo>
                    <a:pt x="654" y="666"/>
                  </a:lnTo>
                  <a:lnTo>
                    <a:pt x="648" y="666"/>
                  </a:lnTo>
                  <a:lnTo>
                    <a:pt x="642" y="660"/>
                  </a:lnTo>
                  <a:lnTo>
                    <a:pt x="642" y="654"/>
                  </a:lnTo>
                  <a:lnTo>
                    <a:pt x="642" y="648"/>
                  </a:lnTo>
                  <a:lnTo>
                    <a:pt x="636" y="648"/>
                  </a:lnTo>
                  <a:lnTo>
                    <a:pt x="630" y="648"/>
                  </a:lnTo>
                  <a:lnTo>
                    <a:pt x="624" y="648"/>
                  </a:lnTo>
                  <a:lnTo>
                    <a:pt x="624" y="642"/>
                  </a:lnTo>
                  <a:lnTo>
                    <a:pt x="618" y="636"/>
                  </a:lnTo>
                  <a:lnTo>
                    <a:pt x="624" y="636"/>
                  </a:lnTo>
                  <a:lnTo>
                    <a:pt x="624" y="630"/>
                  </a:lnTo>
                  <a:lnTo>
                    <a:pt x="618" y="630"/>
                  </a:lnTo>
                  <a:lnTo>
                    <a:pt x="618" y="624"/>
                  </a:lnTo>
                  <a:lnTo>
                    <a:pt x="618" y="618"/>
                  </a:lnTo>
                  <a:lnTo>
                    <a:pt x="618" y="612"/>
                  </a:lnTo>
                  <a:lnTo>
                    <a:pt x="618" y="606"/>
                  </a:lnTo>
                  <a:lnTo>
                    <a:pt x="624" y="606"/>
                  </a:lnTo>
                  <a:lnTo>
                    <a:pt x="624" y="600"/>
                  </a:lnTo>
                  <a:lnTo>
                    <a:pt x="618" y="600"/>
                  </a:lnTo>
                  <a:lnTo>
                    <a:pt x="618" y="594"/>
                  </a:lnTo>
                  <a:lnTo>
                    <a:pt x="618" y="588"/>
                  </a:lnTo>
                  <a:lnTo>
                    <a:pt x="618" y="582"/>
                  </a:lnTo>
                  <a:lnTo>
                    <a:pt x="612" y="582"/>
                  </a:lnTo>
                  <a:lnTo>
                    <a:pt x="606" y="582"/>
                  </a:lnTo>
                  <a:lnTo>
                    <a:pt x="612" y="582"/>
                  </a:lnTo>
                  <a:lnTo>
                    <a:pt x="612" y="588"/>
                  </a:lnTo>
                  <a:lnTo>
                    <a:pt x="612" y="594"/>
                  </a:lnTo>
                  <a:lnTo>
                    <a:pt x="618" y="594"/>
                  </a:lnTo>
                  <a:lnTo>
                    <a:pt x="618" y="600"/>
                  </a:lnTo>
                  <a:lnTo>
                    <a:pt x="618" y="606"/>
                  </a:lnTo>
                  <a:lnTo>
                    <a:pt x="618" y="612"/>
                  </a:lnTo>
                  <a:lnTo>
                    <a:pt x="612" y="612"/>
                  </a:lnTo>
                  <a:lnTo>
                    <a:pt x="612" y="618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94" y="612"/>
                  </a:lnTo>
                  <a:lnTo>
                    <a:pt x="588" y="606"/>
                  </a:lnTo>
                  <a:lnTo>
                    <a:pt x="588" y="612"/>
                  </a:lnTo>
                  <a:lnTo>
                    <a:pt x="594" y="612"/>
                  </a:lnTo>
                  <a:lnTo>
                    <a:pt x="594" y="618"/>
                  </a:lnTo>
                  <a:lnTo>
                    <a:pt x="588" y="618"/>
                  </a:lnTo>
                  <a:lnTo>
                    <a:pt x="588" y="624"/>
                  </a:lnTo>
                  <a:lnTo>
                    <a:pt x="582" y="624"/>
                  </a:lnTo>
                  <a:lnTo>
                    <a:pt x="582" y="630"/>
                  </a:lnTo>
                  <a:lnTo>
                    <a:pt x="576" y="630"/>
                  </a:lnTo>
                  <a:lnTo>
                    <a:pt x="576" y="636"/>
                  </a:lnTo>
                  <a:lnTo>
                    <a:pt x="570" y="636"/>
                  </a:lnTo>
                  <a:lnTo>
                    <a:pt x="570" y="642"/>
                  </a:lnTo>
                  <a:lnTo>
                    <a:pt x="564" y="642"/>
                  </a:lnTo>
                  <a:lnTo>
                    <a:pt x="564" y="636"/>
                  </a:lnTo>
                  <a:lnTo>
                    <a:pt x="564" y="630"/>
                  </a:lnTo>
                  <a:lnTo>
                    <a:pt x="564" y="624"/>
                  </a:lnTo>
                  <a:lnTo>
                    <a:pt x="564" y="618"/>
                  </a:lnTo>
                  <a:lnTo>
                    <a:pt x="570" y="612"/>
                  </a:lnTo>
                  <a:lnTo>
                    <a:pt x="564" y="606"/>
                  </a:lnTo>
                  <a:lnTo>
                    <a:pt x="564" y="600"/>
                  </a:lnTo>
                  <a:lnTo>
                    <a:pt x="564" y="594"/>
                  </a:lnTo>
                  <a:lnTo>
                    <a:pt x="558" y="594"/>
                  </a:lnTo>
                  <a:lnTo>
                    <a:pt x="558" y="588"/>
                  </a:lnTo>
                  <a:lnTo>
                    <a:pt x="552" y="582"/>
                  </a:lnTo>
                  <a:lnTo>
                    <a:pt x="552" y="576"/>
                  </a:lnTo>
                  <a:lnTo>
                    <a:pt x="552" y="570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6" y="582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58" y="588"/>
                  </a:lnTo>
                  <a:lnTo>
                    <a:pt x="558" y="594"/>
                  </a:lnTo>
                  <a:lnTo>
                    <a:pt x="558" y="600"/>
                  </a:lnTo>
                  <a:lnTo>
                    <a:pt x="558" y="606"/>
                  </a:lnTo>
                  <a:lnTo>
                    <a:pt x="552" y="612"/>
                  </a:lnTo>
                  <a:lnTo>
                    <a:pt x="558" y="612"/>
                  </a:lnTo>
                  <a:lnTo>
                    <a:pt x="558" y="618"/>
                  </a:lnTo>
                  <a:lnTo>
                    <a:pt x="558" y="624"/>
                  </a:lnTo>
                  <a:lnTo>
                    <a:pt x="558" y="630"/>
                  </a:lnTo>
                  <a:lnTo>
                    <a:pt x="552" y="630"/>
                  </a:lnTo>
                  <a:lnTo>
                    <a:pt x="552" y="624"/>
                  </a:lnTo>
                  <a:lnTo>
                    <a:pt x="546" y="624"/>
                  </a:lnTo>
                  <a:lnTo>
                    <a:pt x="546" y="618"/>
                  </a:lnTo>
                  <a:lnTo>
                    <a:pt x="546" y="612"/>
                  </a:lnTo>
                  <a:lnTo>
                    <a:pt x="540" y="612"/>
                  </a:lnTo>
                  <a:lnTo>
                    <a:pt x="534" y="612"/>
                  </a:lnTo>
                  <a:lnTo>
                    <a:pt x="528" y="612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28" y="618"/>
                  </a:lnTo>
                  <a:lnTo>
                    <a:pt x="534" y="618"/>
                  </a:lnTo>
                  <a:lnTo>
                    <a:pt x="540" y="618"/>
                  </a:lnTo>
                  <a:lnTo>
                    <a:pt x="540" y="624"/>
                  </a:lnTo>
                  <a:lnTo>
                    <a:pt x="546" y="624"/>
                  </a:lnTo>
                  <a:lnTo>
                    <a:pt x="546" y="630"/>
                  </a:lnTo>
                  <a:lnTo>
                    <a:pt x="552" y="630"/>
                  </a:lnTo>
                  <a:lnTo>
                    <a:pt x="552" y="636"/>
                  </a:lnTo>
                  <a:lnTo>
                    <a:pt x="546" y="642"/>
                  </a:lnTo>
                  <a:lnTo>
                    <a:pt x="546" y="648"/>
                  </a:lnTo>
                  <a:lnTo>
                    <a:pt x="540" y="648"/>
                  </a:lnTo>
                  <a:lnTo>
                    <a:pt x="540" y="654"/>
                  </a:lnTo>
                  <a:lnTo>
                    <a:pt x="540" y="660"/>
                  </a:lnTo>
                  <a:lnTo>
                    <a:pt x="534" y="666"/>
                  </a:lnTo>
                  <a:lnTo>
                    <a:pt x="534" y="672"/>
                  </a:lnTo>
                  <a:lnTo>
                    <a:pt x="534" y="678"/>
                  </a:lnTo>
                  <a:lnTo>
                    <a:pt x="534" y="684"/>
                  </a:lnTo>
                  <a:lnTo>
                    <a:pt x="534" y="678"/>
                  </a:lnTo>
                  <a:lnTo>
                    <a:pt x="528" y="678"/>
                  </a:lnTo>
                  <a:lnTo>
                    <a:pt x="528" y="684"/>
                  </a:lnTo>
                  <a:lnTo>
                    <a:pt x="522" y="690"/>
                  </a:lnTo>
                  <a:lnTo>
                    <a:pt x="528" y="690"/>
                  </a:lnTo>
                  <a:lnTo>
                    <a:pt x="528" y="684"/>
                  </a:lnTo>
                  <a:lnTo>
                    <a:pt x="534" y="684"/>
                  </a:lnTo>
                  <a:lnTo>
                    <a:pt x="534" y="690"/>
                  </a:lnTo>
                  <a:lnTo>
                    <a:pt x="534" y="696"/>
                  </a:lnTo>
                  <a:lnTo>
                    <a:pt x="540" y="696"/>
                  </a:lnTo>
                  <a:lnTo>
                    <a:pt x="540" y="702"/>
                  </a:lnTo>
                  <a:lnTo>
                    <a:pt x="540" y="708"/>
                  </a:lnTo>
                  <a:lnTo>
                    <a:pt x="534" y="708"/>
                  </a:lnTo>
                  <a:lnTo>
                    <a:pt x="528" y="708"/>
                  </a:lnTo>
                  <a:lnTo>
                    <a:pt x="522" y="708"/>
                  </a:lnTo>
                  <a:lnTo>
                    <a:pt x="516" y="708"/>
                  </a:lnTo>
                  <a:lnTo>
                    <a:pt x="510" y="708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2" y="708"/>
                  </a:lnTo>
                  <a:lnTo>
                    <a:pt x="486" y="714"/>
                  </a:lnTo>
                  <a:lnTo>
                    <a:pt x="480" y="708"/>
                  </a:lnTo>
                  <a:lnTo>
                    <a:pt x="474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68" y="714"/>
                  </a:lnTo>
                  <a:lnTo>
                    <a:pt x="456" y="714"/>
                  </a:lnTo>
                  <a:lnTo>
                    <a:pt x="450" y="714"/>
                  </a:lnTo>
                  <a:lnTo>
                    <a:pt x="450" y="708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50" y="690"/>
                  </a:lnTo>
                  <a:lnTo>
                    <a:pt x="450" y="684"/>
                  </a:lnTo>
                  <a:lnTo>
                    <a:pt x="450" y="678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56" y="660"/>
                  </a:lnTo>
                  <a:lnTo>
                    <a:pt x="462" y="660"/>
                  </a:lnTo>
                  <a:lnTo>
                    <a:pt x="462" y="654"/>
                  </a:lnTo>
                  <a:lnTo>
                    <a:pt x="456" y="654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48"/>
                  </a:lnTo>
                  <a:lnTo>
                    <a:pt x="444" y="648"/>
                  </a:lnTo>
                  <a:lnTo>
                    <a:pt x="444" y="642"/>
                  </a:lnTo>
                  <a:lnTo>
                    <a:pt x="444" y="636"/>
                  </a:lnTo>
                  <a:lnTo>
                    <a:pt x="450" y="636"/>
                  </a:lnTo>
                  <a:lnTo>
                    <a:pt x="450" y="630"/>
                  </a:lnTo>
                  <a:lnTo>
                    <a:pt x="456" y="630"/>
                  </a:lnTo>
                  <a:lnTo>
                    <a:pt x="462" y="630"/>
                  </a:lnTo>
                  <a:lnTo>
                    <a:pt x="462" y="624"/>
                  </a:lnTo>
                  <a:lnTo>
                    <a:pt x="468" y="624"/>
                  </a:lnTo>
                  <a:lnTo>
                    <a:pt x="474" y="624"/>
                  </a:lnTo>
                  <a:lnTo>
                    <a:pt x="474" y="618"/>
                  </a:lnTo>
                  <a:lnTo>
                    <a:pt x="480" y="618"/>
                  </a:lnTo>
                  <a:lnTo>
                    <a:pt x="486" y="618"/>
                  </a:lnTo>
                  <a:lnTo>
                    <a:pt x="486" y="624"/>
                  </a:lnTo>
                  <a:lnTo>
                    <a:pt x="486" y="636"/>
                  </a:lnTo>
                  <a:lnTo>
                    <a:pt x="486" y="642"/>
                  </a:lnTo>
                  <a:lnTo>
                    <a:pt x="486" y="648"/>
                  </a:lnTo>
                  <a:lnTo>
                    <a:pt x="492" y="648"/>
                  </a:lnTo>
                  <a:lnTo>
                    <a:pt x="492" y="642"/>
                  </a:lnTo>
                  <a:lnTo>
                    <a:pt x="498" y="636"/>
                  </a:lnTo>
                  <a:lnTo>
                    <a:pt x="492" y="636"/>
                  </a:lnTo>
                  <a:lnTo>
                    <a:pt x="492" y="630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6" y="618"/>
                  </a:lnTo>
                  <a:lnTo>
                    <a:pt x="486" y="612"/>
                  </a:lnTo>
                  <a:lnTo>
                    <a:pt x="486" y="606"/>
                  </a:lnTo>
                  <a:lnTo>
                    <a:pt x="480" y="606"/>
                  </a:lnTo>
                  <a:lnTo>
                    <a:pt x="480" y="612"/>
                  </a:lnTo>
                  <a:lnTo>
                    <a:pt x="474" y="618"/>
                  </a:lnTo>
                  <a:lnTo>
                    <a:pt x="468" y="618"/>
                  </a:lnTo>
                  <a:lnTo>
                    <a:pt x="462" y="618"/>
                  </a:lnTo>
                  <a:lnTo>
                    <a:pt x="462" y="612"/>
                  </a:lnTo>
                  <a:lnTo>
                    <a:pt x="456" y="612"/>
                  </a:lnTo>
                  <a:lnTo>
                    <a:pt x="456" y="618"/>
                  </a:lnTo>
                  <a:lnTo>
                    <a:pt x="462" y="618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30"/>
                  </a:lnTo>
                  <a:lnTo>
                    <a:pt x="444" y="630"/>
                  </a:lnTo>
                  <a:lnTo>
                    <a:pt x="444" y="636"/>
                  </a:lnTo>
                  <a:lnTo>
                    <a:pt x="444" y="642"/>
                  </a:lnTo>
                  <a:lnTo>
                    <a:pt x="444" y="654"/>
                  </a:lnTo>
                  <a:lnTo>
                    <a:pt x="444" y="660"/>
                  </a:lnTo>
                  <a:lnTo>
                    <a:pt x="438" y="660"/>
                  </a:lnTo>
                  <a:lnTo>
                    <a:pt x="432" y="660"/>
                  </a:lnTo>
                  <a:lnTo>
                    <a:pt x="432" y="654"/>
                  </a:lnTo>
                  <a:lnTo>
                    <a:pt x="438" y="654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48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26" y="660"/>
                  </a:lnTo>
                  <a:lnTo>
                    <a:pt x="432" y="666"/>
                  </a:lnTo>
                  <a:lnTo>
                    <a:pt x="432" y="672"/>
                  </a:lnTo>
                  <a:lnTo>
                    <a:pt x="438" y="672"/>
                  </a:lnTo>
                  <a:lnTo>
                    <a:pt x="438" y="678"/>
                  </a:lnTo>
                  <a:lnTo>
                    <a:pt x="444" y="678"/>
                  </a:lnTo>
                  <a:lnTo>
                    <a:pt x="444" y="684"/>
                  </a:lnTo>
                  <a:lnTo>
                    <a:pt x="438" y="690"/>
                  </a:lnTo>
                  <a:lnTo>
                    <a:pt x="438" y="696"/>
                  </a:lnTo>
                  <a:lnTo>
                    <a:pt x="438" y="702"/>
                  </a:lnTo>
                  <a:lnTo>
                    <a:pt x="432" y="702"/>
                  </a:lnTo>
                  <a:lnTo>
                    <a:pt x="426" y="702"/>
                  </a:lnTo>
                  <a:lnTo>
                    <a:pt x="426" y="696"/>
                  </a:lnTo>
                  <a:lnTo>
                    <a:pt x="414" y="696"/>
                  </a:lnTo>
                  <a:lnTo>
                    <a:pt x="402" y="696"/>
                  </a:lnTo>
                  <a:lnTo>
                    <a:pt x="402" y="690"/>
                  </a:lnTo>
                  <a:lnTo>
                    <a:pt x="396" y="690"/>
                  </a:lnTo>
                  <a:lnTo>
                    <a:pt x="390" y="690"/>
                  </a:lnTo>
                  <a:lnTo>
                    <a:pt x="384" y="690"/>
                  </a:lnTo>
                  <a:lnTo>
                    <a:pt x="384" y="684"/>
                  </a:lnTo>
                  <a:lnTo>
                    <a:pt x="384" y="678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390" y="660"/>
                  </a:lnTo>
                  <a:lnTo>
                    <a:pt x="390" y="654"/>
                  </a:lnTo>
                  <a:lnTo>
                    <a:pt x="384" y="648"/>
                  </a:lnTo>
                  <a:lnTo>
                    <a:pt x="384" y="642"/>
                  </a:lnTo>
                  <a:lnTo>
                    <a:pt x="378" y="636"/>
                  </a:lnTo>
                  <a:lnTo>
                    <a:pt x="378" y="642"/>
                  </a:lnTo>
                  <a:lnTo>
                    <a:pt x="378" y="648"/>
                  </a:lnTo>
                  <a:lnTo>
                    <a:pt x="372" y="648"/>
                  </a:lnTo>
                  <a:lnTo>
                    <a:pt x="378" y="654"/>
                  </a:lnTo>
                  <a:lnTo>
                    <a:pt x="378" y="660"/>
                  </a:lnTo>
                  <a:lnTo>
                    <a:pt x="378" y="666"/>
                  </a:lnTo>
                  <a:lnTo>
                    <a:pt x="372" y="672"/>
                  </a:lnTo>
                  <a:lnTo>
                    <a:pt x="378" y="672"/>
                  </a:lnTo>
                  <a:lnTo>
                    <a:pt x="378" y="678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54" y="666"/>
                  </a:lnTo>
                  <a:lnTo>
                    <a:pt x="354" y="660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0" y="654"/>
                  </a:lnTo>
                  <a:lnTo>
                    <a:pt x="324" y="648"/>
                  </a:lnTo>
                  <a:lnTo>
                    <a:pt x="318" y="648"/>
                  </a:lnTo>
                  <a:lnTo>
                    <a:pt x="318" y="642"/>
                  </a:lnTo>
                  <a:lnTo>
                    <a:pt x="312" y="642"/>
                  </a:lnTo>
                  <a:lnTo>
                    <a:pt x="306" y="636"/>
                  </a:lnTo>
                  <a:lnTo>
                    <a:pt x="300" y="636"/>
                  </a:lnTo>
                  <a:lnTo>
                    <a:pt x="300" y="630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0" y="618"/>
                  </a:lnTo>
                  <a:lnTo>
                    <a:pt x="306" y="612"/>
                  </a:lnTo>
                  <a:lnTo>
                    <a:pt x="300" y="612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294" y="612"/>
                  </a:lnTo>
                  <a:lnTo>
                    <a:pt x="288" y="618"/>
                  </a:lnTo>
                  <a:lnTo>
                    <a:pt x="288" y="612"/>
                  </a:lnTo>
                  <a:lnTo>
                    <a:pt x="288" y="618"/>
                  </a:lnTo>
                  <a:lnTo>
                    <a:pt x="294" y="618"/>
                  </a:lnTo>
                  <a:lnTo>
                    <a:pt x="300" y="624"/>
                  </a:lnTo>
                  <a:lnTo>
                    <a:pt x="294" y="624"/>
                  </a:lnTo>
                  <a:lnTo>
                    <a:pt x="288" y="624"/>
                  </a:lnTo>
                  <a:lnTo>
                    <a:pt x="282" y="61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70" y="600"/>
                  </a:lnTo>
                  <a:lnTo>
                    <a:pt x="270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82" y="588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594"/>
                  </a:lnTo>
                  <a:lnTo>
                    <a:pt x="264" y="600"/>
                  </a:lnTo>
                  <a:lnTo>
                    <a:pt x="264" y="594"/>
                  </a:lnTo>
                  <a:lnTo>
                    <a:pt x="270" y="594"/>
                  </a:lnTo>
                  <a:lnTo>
                    <a:pt x="270" y="588"/>
                  </a:lnTo>
                  <a:lnTo>
                    <a:pt x="264" y="594"/>
                  </a:lnTo>
                  <a:lnTo>
                    <a:pt x="258" y="594"/>
                  </a:lnTo>
                  <a:lnTo>
                    <a:pt x="258" y="588"/>
                  </a:lnTo>
                  <a:lnTo>
                    <a:pt x="252" y="588"/>
                  </a:lnTo>
                  <a:lnTo>
                    <a:pt x="246" y="588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52" y="588"/>
                  </a:lnTo>
                  <a:lnTo>
                    <a:pt x="252" y="594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46" y="594"/>
                  </a:lnTo>
                  <a:lnTo>
                    <a:pt x="246" y="588"/>
                  </a:lnTo>
                  <a:lnTo>
                    <a:pt x="240" y="588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2" y="570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64"/>
                  </a:lnTo>
                  <a:lnTo>
                    <a:pt x="234" y="564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34" y="558"/>
                  </a:lnTo>
                  <a:lnTo>
                    <a:pt x="228" y="558"/>
                  </a:lnTo>
                  <a:lnTo>
                    <a:pt x="222" y="558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2" y="564"/>
                  </a:lnTo>
                  <a:lnTo>
                    <a:pt x="222" y="558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04" y="546"/>
                  </a:lnTo>
                  <a:lnTo>
                    <a:pt x="204" y="540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10" y="540"/>
                  </a:lnTo>
                  <a:lnTo>
                    <a:pt x="210" y="534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8"/>
                  </a:lnTo>
                  <a:lnTo>
                    <a:pt x="174" y="516"/>
                  </a:lnTo>
                  <a:lnTo>
                    <a:pt x="168" y="510"/>
                  </a:lnTo>
                  <a:lnTo>
                    <a:pt x="162" y="504"/>
                  </a:lnTo>
                  <a:lnTo>
                    <a:pt x="156" y="498"/>
                  </a:lnTo>
                  <a:lnTo>
                    <a:pt x="156" y="492"/>
                  </a:lnTo>
                  <a:lnTo>
                    <a:pt x="150" y="486"/>
                  </a:lnTo>
                  <a:lnTo>
                    <a:pt x="144" y="480"/>
                  </a:lnTo>
                  <a:lnTo>
                    <a:pt x="144" y="474"/>
                  </a:lnTo>
                  <a:lnTo>
                    <a:pt x="138" y="474"/>
                  </a:lnTo>
                  <a:lnTo>
                    <a:pt x="138" y="468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26" y="450"/>
                  </a:lnTo>
                  <a:lnTo>
                    <a:pt x="126" y="444"/>
                  </a:lnTo>
                  <a:lnTo>
                    <a:pt x="114" y="438"/>
                  </a:lnTo>
                  <a:lnTo>
                    <a:pt x="114" y="432"/>
                  </a:lnTo>
                  <a:lnTo>
                    <a:pt x="114" y="426"/>
                  </a:lnTo>
                  <a:lnTo>
                    <a:pt x="114" y="432"/>
                  </a:lnTo>
                  <a:lnTo>
                    <a:pt x="120" y="432"/>
                  </a:lnTo>
                  <a:lnTo>
                    <a:pt x="120" y="438"/>
                  </a:lnTo>
                  <a:lnTo>
                    <a:pt x="120" y="444"/>
                  </a:lnTo>
                  <a:lnTo>
                    <a:pt x="126" y="444"/>
                  </a:lnTo>
                  <a:lnTo>
                    <a:pt x="126" y="438"/>
                  </a:lnTo>
                  <a:lnTo>
                    <a:pt x="120" y="438"/>
                  </a:lnTo>
                  <a:lnTo>
                    <a:pt x="126" y="432"/>
                  </a:lnTo>
                  <a:lnTo>
                    <a:pt x="126" y="426"/>
                  </a:lnTo>
                  <a:lnTo>
                    <a:pt x="132" y="420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08" y="414"/>
                  </a:lnTo>
                  <a:lnTo>
                    <a:pt x="102" y="414"/>
                  </a:lnTo>
                  <a:lnTo>
                    <a:pt x="102" y="408"/>
                  </a:lnTo>
                  <a:lnTo>
                    <a:pt x="96" y="402"/>
                  </a:lnTo>
                  <a:lnTo>
                    <a:pt x="96" y="396"/>
                  </a:lnTo>
                  <a:lnTo>
                    <a:pt x="96" y="390"/>
                  </a:lnTo>
                  <a:lnTo>
                    <a:pt x="90" y="390"/>
                  </a:lnTo>
                  <a:lnTo>
                    <a:pt x="90" y="384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78" y="372"/>
                  </a:lnTo>
                  <a:lnTo>
                    <a:pt x="78" y="366"/>
                  </a:lnTo>
                  <a:lnTo>
                    <a:pt x="78" y="360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6" y="348"/>
                  </a:lnTo>
                  <a:lnTo>
                    <a:pt x="66" y="342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6" y="336"/>
                  </a:lnTo>
                  <a:lnTo>
                    <a:pt x="66" y="342"/>
                  </a:lnTo>
                  <a:lnTo>
                    <a:pt x="72" y="348"/>
                  </a:lnTo>
                  <a:lnTo>
                    <a:pt x="78" y="354"/>
                  </a:lnTo>
                  <a:lnTo>
                    <a:pt x="84" y="360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0" y="360"/>
                  </a:lnTo>
                  <a:lnTo>
                    <a:pt x="84" y="360"/>
                  </a:lnTo>
                  <a:lnTo>
                    <a:pt x="84" y="354"/>
                  </a:lnTo>
                  <a:lnTo>
                    <a:pt x="78" y="348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66" y="330"/>
                  </a:lnTo>
                  <a:lnTo>
                    <a:pt x="66" y="324"/>
                  </a:lnTo>
                  <a:lnTo>
                    <a:pt x="60" y="318"/>
                  </a:lnTo>
                  <a:lnTo>
                    <a:pt x="60" y="312"/>
                  </a:lnTo>
                  <a:lnTo>
                    <a:pt x="54" y="306"/>
                  </a:lnTo>
                  <a:lnTo>
                    <a:pt x="54" y="300"/>
                  </a:lnTo>
                  <a:lnTo>
                    <a:pt x="54" y="294"/>
                  </a:lnTo>
                  <a:lnTo>
                    <a:pt x="48" y="288"/>
                  </a:lnTo>
                  <a:lnTo>
                    <a:pt x="48" y="294"/>
                  </a:lnTo>
                  <a:lnTo>
                    <a:pt x="48" y="288"/>
                  </a:lnTo>
                  <a:lnTo>
                    <a:pt x="48" y="282"/>
                  </a:lnTo>
                  <a:lnTo>
                    <a:pt x="48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18" y="216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62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68"/>
                  </a:lnTo>
                  <a:lnTo>
                    <a:pt x="42" y="168"/>
                  </a:lnTo>
                  <a:lnTo>
                    <a:pt x="42" y="174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86"/>
                  </a:lnTo>
                  <a:close/>
                  <a:moveTo>
                    <a:pt x="642" y="660"/>
                  </a:moveTo>
                  <a:lnTo>
                    <a:pt x="642" y="666"/>
                  </a:lnTo>
                  <a:lnTo>
                    <a:pt x="648" y="666"/>
                  </a:lnTo>
                  <a:lnTo>
                    <a:pt x="648" y="672"/>
                  </a:lnTo>
                  <a:lnTo>
                    <a:pt x="648" y="678"/>
                  </a:lnTo>
                  <a:lnTo>
                    <a:pt x="654" y="678"/>
                  </a:lnTo>
                  <a:lnTo>
                    <a:pt x="654" y="684"/>
                  </a:lnTo>
                  <a:lnTo>
                    <a:pt x="660" y="684"/>
                  </a:lnTo>
                  <a:lnTo>
                    <a:pt x="660" y="690"/>
                  </a:lnTo>
                  <a:lnTo>
                    <a:pt x="654" y="690"/>
                  </a:lnTo>
                  <a:lnTo>
                    <a:pt x="648" y="690"/>
                  </a:lnTo>
                  <a:lnTo>
                    <a:pt x="636" y="696"/>
                  </a:lnTo>
                  <a:lnTo>
                    <a:pt x="630" y="696"/>
                  </a:lnTo>
                  <a:lnTo>
                    <a:pt x="624" y="696"/>
                  </a:lnTo>
                  <a:lnTo>
                    <a:pt x="618" y="696"/>
                  </a:lnTo>
                  <a:lnTo>
                    <a:pt x="612" y="696"/>
                  </a:lnTo>
                  <a:lnTo>
                    <a:pt x="594" y="696"/>
                  </a:lnTo>
                  <a:lnTo>
                    <a:pt x="588" y="696"/>
                  </a:lnTo>
                  <a:lnTo>
                    <a:pt x="582" y="696"/>
                  </a:lnTo>
                  <a:lnTo>
                    <a:pt x="570" y="702"/>
                  </a:lnTo>
                  <a:lnTo>
                    <a:pt x="564" y="702"/>
                  </a:lnTo>
                  <a:lnTo>
                    <a:pt x="558" y="702"/>
                  </a:lnTo>
                  <a:lnTo>
                    <a:pt x="552" y="702"/>
                  </a:lnTo>
                  <a:lnTo>
                    <a:pt x="552" y="696"/>
                  </a:lnTo>
                  <a:lnTo>
                    <a:pt x="546" y="696"/>
                  </a:lnTo>
                  <a:lnTo>
                    <a:pt x="546" y="690"/>
                  </a:lnTo>
                  <a:lnTo>
                    <a:pt x="552" y="684"/>
                  </a:lnTo>
                  <a:lnTo>
                    <a:pt x="552" y="678"/>
                  </a:lnTo>
                  <a:lnTo>
                    <a:pt x="558" y="672"/>
                  </a:lnTo>
                  <a:lnTo>
                    <a:pt x="558" y="666"/>
                  </a:lnTo>
                  <a:lnTo>
                    <a:pt x="564" y="666"/>
                  </a:lnTo>
                  <a:lnTo>
                    <a:pt x="570" y="666"/>
                  </a:lnTo>
                  <a:lnTo>
                    <a:pt x="570" y="654"/>
                  </a:lnTo>
                  <a:lnTo>
                    <a:pt x="570" y="648"/>
                  </a:lnTo>
                  <a:lnTo>
                    <a:pt x="582" y="642"/>
                  </a:lnTo>
                  <a:lnTo>
                    <a:pt x="582" y="636"/>
                  </a:lnTo>
                  <a:lnTo>
                    <a:pt x="588" y="636"/>
                  </a:lnTo>
                  <a:lnTo>
                    <a:pt x="588" y="630"/>
                  </a:lnTo>
                  <a:lnTo>
                    <a:pt x="594" y="624"/>
                  </a:lnTo>
                  <a:lnTo>
                    <a:pt x="594" y="618"/>
                  </a:lnTo>
                  <a:lnTo>
                    <a:pt x="600" y="618"/>
                  </a:lnTo>
                  <a:lnTo>
                    <a:pt x="600" y="612"/>
                  </a:lnTo>
                  <a:lnTo>
                    <a:pt x="606" y="612"/>
                  </a:lnTo>
                  <a:lnTo>
                    <a:pt x="606" y="618"/>
                  </a:lnTo>
                  <a:lnTo>
                    <a:pt x="612" y="618"/>
                  </a:lnTo>
                  <a:lnTo>
                    <a:pt x="618" y="618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18" y="636"/>
                  </a:lnTo>
                  <a:lnTo>
                    <a:pt x="618" y="642"/>
                  </a:lnTo>
                  <a:lnTo>
                    <a:pt x="618" y="648"/>
                  </a:lnTo>
                  <a:lnTo>
                    <a:pt x="624" y="648"/>
                  </a:lnTo>
                  <a:lnTo>
                    <a:pt x="630" y="648"/>
                  </a:lnTo>
                  <a:lnTo>
                    <a:pt x="636" y="654"/>
                  </a:lnTo>
                  <a:lnTo>
                    <a:pt x="642" y="654"/>
                  </a:lnTo>
                  <a:lnTo>
                    <a:pt x="642" y="66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00" name="Freeform 5">
              <a:extLst>
                <a:ext uri="{FF2B5EF4-FFF2-40B4-BE49-F238E27FC236}">
                  <a16:creationId xmlns:a16="http://schemas.microsoft.com/office/drawing/2014/main" id="{5577BDCA-F2C7-42E0-A391-018D79AA29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0384" y="4231013"/>
              <a:ext cx="404750" cy="480848"/>
            </a:xfrm>
            <a:custGeom>
              <a:avLst/>
              <a:gdLst>
                <a:gd name="T0" fmla="*/ 9 w 762"/>
                <a:gd name="T1" fmla="*/ 58 h 900"/>
                <a:gd name="T2" fmla="*/ 4 w 762"/>
                <a:gd name="T3" fmla="*/ 56 h 900"/>
                <a:gd name="T4" fmla="*/ 0 w 762"/>
                <a:gd name="T5" fmla="*/ 49 h 900"/>
                <a:gd name="T6" fmla="*/ 4 w 762"/>
                <a:gd name="T7" fmla="*/ 36 h 900"/>
                <a:gd name="T8" fmla="*/ 8 w 762"/>
                <a:gd name="T9" fmla="*/ 28 h 900"/>
                <a:gd name="T10" fmla="*/ 7 w 762"/>
                <a:gd name="T11" fmla="*/ 13 h 900"/>
                <a:gd name="T12" fmla="*/ 15 w 762"/>
                <a:gd name="T13" fmla="*/ 0 h 900"/>
                <a:gd name="T14" fmla="*/ 16 w 762"/>
                <a:gd name="T15" fmla="*/ 13 h 900"/>
                <a:gd name="T16" fmla="*/ 31 w 762"/>
                <a:gd name="T17" fmla="*/ 28 h 900"/>
                <a:gd name="T18" fmla="*/ 49 w 762"/>
                <a:gd name="T19" fmla="*/ 33 h 900"/>
                <a:gd name="T20" fmla="*/ 42 w 762"/>
                <a:gd name="T21" fmla="*/ 48 h 900"/>
                <a:gd name="T22" fmla="*/ 51 w 762"/>
                <a:gd name="T23" fmla="*/ 48 h 900"/>
                <a:gd name="T24" fmla="*/ 61 w 762"/>
                <a:gd name="T25" fmla="*/ 51 h 900"/>
                <a:gd name="T26" fmla="*/ 63 w 762"/>
                <a:gd name="T27" fmla="*/ 60 h 900"/>
                <a:gd name="T28" fmla="*/ 63 w 762"/>
                <a:gd name="T29" fmla="*/ 66 h 900"/>
                <a:gd name="T30" fmla="*/ 65 w 762"/>
                <a:gd name="T31" fmla="*/ 69 h 900"/>
                <a:gd name="T32" fmla="*/ 66 w 762"/>
                <a:gd name="T33" fmla="*/ 72 h 900"/>
                <a:gd name="T34" fmla="*/ 56 w 762"/>
                <a:gd name="T35" fmla="*/ 73 h 900"/>
                <a:gd name="T36" fmla="*/ 55 w 762"/>
                <a:gd name="T37" fmla="*/ 69 h 900"/>
                <a:gd name="T38" fmla="*/ 57 w 762"/>
                <a:gd name="T39" fmla="*/ 67 h 900"/>
                <a:gd name="T40" fmla="*/ 55 w 762"/>
                <a:gd name="T41" fmla="*/ 65 h 900"/>
                <a:gd name="T42" fmla="*/ 53 w 762"/>
                <a:gd name="T43" fmla="*/ 68 h 900"/>
                <a:gd name="T44" fmla="*/ 49 w 762"/>
                <a:gd name="T45" fmla="*/ 68 h 900"/>
                <a:gd name="T46" fmla="*/ 44 w 762"/>
                <a:gd name="T47" fmla="*/ 63 h 900"/>
                <a:gd name="T48" fmla="*/ 40 w 762"/>
                <a:gd name="T49" fmla="*/ 59 h 900"/>
                <a:gd name="T50" fmla="*/ 38 w 762"/>
                <a:gd name="T51" fmla="*/ 57 h 900"/>
                <a:gd name="T52" fmla="*/ 43 w 762"/>
                <a:gd name="T53" fmla="*/ 62 h 900"/>
                <a:gd name="T54" fmla="*/ 43 w 762"/>
                <a:gd name="T55" fmla="*/ 66 h 900"/>
                <a:gd name="T56" fmla="*/ 41 w 762"/>
                <a:gd name="T57" fmla="*/ 71 h 900"/>
                <a:gd name="T58" fmla="*/ 37 w 762"/>
                <a:gd name="T59" fmla="*/ 69 h 900"/>
                <a:gd name="T60" fmla="*/ 35 w 762"/>
                <a:gd name="T61" fmla="*/ 64 h 900"/>
                <a:gd name="T62" fmla="*/ 31 w 762"/>
                <a:gd name="T63" fmla="*/ 57 h 900"/>
                <a:gd name="T64" fmla="*/ 30 w 762"/>
                <a:gd name="T65" fmla="*/ 62 h 900"/>
                <a:gd name="T66" fmla="*/ 29 w 762"/>
                <a:gd name="T67" fmla="*/ 61 h 900"/>
                <a:gd name="T68" fmla="*/ 31 w 762"/>
                <a:gd name="T69" fmla="*/ 66 h 900"/>
                <a:gd name="T70" fmla="*/ 33 w 762"/>
                <a:gd name="T71" fmla="*/ 72 h 900"/>
                <a:gd name="T72" fmla="*/ 32 w 762"/>
                <a:gd name="T73" fmla="*/ 76 h 900"/>
                <a:gd name="T74" fmla="*/ 28 w 762"/>
                <a:gd name="T75" fmla="*/ 75 h 900"/>
                <a:gd name="T76" fmla="*/ 24 w 762"/>
                <a:gd name="T77" fmla="*/ 69 h 900"/>
                <a:gd name="T78" fmla="*/ 24 w 762"/>
                <a:gd name="T79" fmla="*/ 62 h 900"/>
                <a:gd name="T80" fmla="*/ 23 w 762"/>
                <a:gd name="T81" fmla="*/ 62 h 900"/>
                <a:gd name="T82" fmla="*/ 23 w 762"/>
                <a:gd name="T83" fmla="*/ 68 h 900"/>
                <a:gd name="T84" fmla="*/ 25 w 762"/>
                <a:gd name="T85" fmla="*/ 77 h 900"/>
                <a:gd name="T86" fmla="*/ 17 w 762"/>
                <a:gd name="T87" fmla="*/ 74 h 900"/>
                <a:gd name="T88" fmla="*/ 17 w 762"/>
                <a:gd name="T89" fmla="*/ 67 h 900"/>
                <a:gd name="T90" fmla="*/ 16 w 762"/>
                <a:gd name="T91" fmla="*/ 67 h 900"/>
                <a:gd name="T92" fmla="*/ 15 w 762"/>
                <a:gd name="T93" fmla="*/ 71 h 900"/>
                <a:gd name="T94" fmla="*/ 12 w 762"/>
                <a:gd name="T95" fmla="*/ 68 h 900"/>
                <a:gd name="T96" fmla="*/ 15 w 762"/>
                <a:gd name="T97" fmla="*/ 72 h 900"/>
                <a:gd name="T98" fmla="*/ 17 w 762"/>
                <a:gd name="T99" fmla="*/ 77 h 900"/>
                <a:gd name="T100" fmla="*/ 11 w 762"/>
                <a:gd name="T101" fmla="*/ 77 h 900"/>
                <a:gd name="T102" fmla="*/ 10 w 762"/>
                <a:gd name="T103" fmla="*/ 69 h 900"/>
                <a:gd name="T104" fmla="*/ 11 w 762"/>
                <a:gd name="T105" fmla="*/ 72 h 900"/>
                <a:gd name="T106" fmla="*/ 9 w 762"/>
                <a:gd name="T107" fmla="*/ 78 h 900"/>
                <a:gd name="T108" fmla="*/ 43 w 762"/>
                <a:gd name="T109" fmla="*/ 71 h 900"/>
                <a:gd name="T110" fmla="*/ 51 w 762"/>
                <a:gd name="T111" fmla="*/ 69 h 900"/>
                <a:gd name="T112" fmla="*/ 43 w 762"/>
                <a:gd name="T113" fmla="*/ 76 h 900"/>
                <a:gd name="T114" fmla="*/ 36 w 762"/>
                <a:gd name="T115" fmla="*/ 65 h 900"/>
                <a:gd name="T116" fmla="*/ 38 w 762"/>
                <a:gd name="T117" fmla="*/ 72 h 900"/>
                <a:gd name="T118" fmla="*/ 34 w 762"/>
                <a:gd name="T119" fmla="*/ 69 h 900"/>
                <a:gd name="T120" fmla="*/ 29 w 762"/>
                <a:gd name="T121" fmla="*/ 64 h 900"/>
                <a:gd name="T122" fmla="*/ 32 w 762"/>
                <a:gd name="T123" fmla="*/ 66 h 9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900"/>
                <a:gd name="T188" fmla="*/ 762 w 762"/>
                <a:gd name="T189" fmla="*/ 900 h 90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900">
                  <a:moveTo>
                    <a:pt x="90" y="768"/>
                  </a:moveTo>
                  <a:lnTo>
                    <a:pt x="102" y="756"/>
                  </a:lnTo>
                  <a:lnTo>
                    <a:pt x="102" y="750"/>
                  </a:lnTo>
                  <a:lnTo>
                    <a:pt x="90" y="744"/>
                  </a:lnTo>
                  <a:lnTo>
                    <a:pt x="84" y="738"/>
                  </a:lnTo>
                  <a:lnTo>
                    <a:pt x="90" y="726"/>
                  </a:lnTo>
                  <a:lnTo>
                    <a:pt x="84" y="720"/>
                  </a:lnTo>
                  <a:lnTo>
                    <a:pt x="78" y="720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72" y="702"/>
                  </a:lnTo>
                  <a:lnTo>
                    <a:pt x="72" y="696"/>
                  </a:lnTo>
                  <a:lnTo>
                    <a:pt x="84" y="684"/>
                  </a:lnTo>
                  <a:lnTo>
                    <a:pt x="96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102" y="654"/>
                  </a:lnTo>
                  <a:lnTo>
                    <a:pt x="108" y="654"/>
                  </a:lnTo>
                  <a:lnTo>
                    <a:pt x="114" y="648"/>
                  </a:lnTo>
                  <a:lnTo>
                    <a:pt x="120" y="642"/>
                  </a:lnTo>
                  <a:lnTo>
                    <a:pt x="120" y="636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14" y="618"/>
                  </a:lnTo>
                  <a:lnTo>
                    <a:pt x="102" y="618"/>
                  </a:lnTo>
                  <a:lnTo>
                    <a:pt x="90" y="618"/>
                  </a:lnTo>
                  <a:lnTo>
                    <a:pt x="78" y="624"/>
                  </a:lnTo>
                  <a:lnTo>
                    <a:pt x="72" y="630"/>
                  </a:lnTo>
                  <a:lnTo>
                    <a:pt x="54" y="642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42" y="642"/>
                  </a:lnTo>
                  <a:lnTo>
                    <a:pt x="42" y="636"/>
                  </a:lnTo>
                  <a:lnTo>
                    <a:pt x="36" y="636"/>
                  </a:lnTo>
                  <a:lnTo>
                    <a:pt x="30" y="642"/>
                  </a:lnTo>
                  <a:lnTo>
                    <a:pt x="30" y="636"/>
                  </a:lnTo>
                  <a:lnTo>
                    <a:pt x="30" y="630"/>
                  </a:lnTo>
                  <a:lnTo>
                    <a:pt x="24" y="630"/>
                  </a:lnTo>
                  <a:lnTo>
                    <a:pt x="30" y="624"/>
                  </a:lnTo>
                  <a:lnTo>
                    <a:pt x="30" y="618"/>
                  </a:lnTo>
                  <a:lnTo>
                    <a:pt x="30" y="612"/>
                  </a:lnTo>
                  <a:lnTo>
                    <a:pt x="36" y="612"/>
                  </a:lnTo>
                  <a:lnTo>
                    <a:pt x="36" y="606"/>
                  </a:lnTo>
                  <a:lnTo>
                    <a:pt x="30" y="606"/>
                  </a:lnTo>
                  <a:lnTo>
                    <a:pt x="24" y="612"/>
                  </a:lnTo>
                  <a:lnTo>
                    <a:pt x="18" y="606"/>
                  </a:lnTo>
                  <a:lnTo>
                    <a:pt x="12" y="594"/>
                  </a:lnTo>
                  <a:lnTo>
                    <a:pt x="6" y="582"/>
                  </a:lnTo>
                  <a:lnTo>
                    <a:pt x="6" y="570"/>
                  </a:lnTo>
                  <a:lnTo>
                    <a:pt x="0" y="558"/>
                  </a:lnTo>
                  <a:lnTo>
                    <a:pt x="6" y="552"/>
                  </a:lnTo>
                  <a:lnTo>
                    <a:pt x="6" y="534"/>
                  </a:lnTo>
                  <a:lnTo>
                    <a:pt x="18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12" y="480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54" y="408"/>
                  </a:lnTo>
                  <a:lnTo>
                    <a:pt x="54" y="396"/>
                  </a:lnTo>
                  <a:lnTo>
                    <a:pt x="54" y="384"/>
                  </a:lnTo>
                  <a:lnTo>
                    <a:pt x="60" y="378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66"/>
                  </a:lnTo>
                  <a:lnTo>
                    <a:pt x="60" y="360"/>
                  </a:lnTo>
                  <a:lnTo>
                    <a:pt x="66" y="360"/>
                  </a:lnTo>
                  <a:lnTo>
                    <a:pt x="72" y="354"/>
                  </a:lnTo>
                  <a:lnTo>
                    <a:pt x="78" y="354"/>
                  </a:lnTo>
                  <a:lnTo>
                    <a:pt x="84" y="348"/>
                  </a:lnTo>
                  <a:lnTo>
                    <a:pt x="96" y="348"/>
                  </a:lnTo>
                  <a:lnTo>
                    <a:pt x="96" y="342"/>
                  </a:lnTo>
                  <a:lnTo>
                    <a:pt x="96" y="336"/>
                  </a:lnTo>
                  <a:lnTo>
                    <a:pt x="96" y="330"/>
                  </a:lnTo>
                  <a:lnTo>
                    <a:pt x="96" y="324"/>
                  </a:lnTo>
                  <a:lnTo>
                    <a:pt x="102" y="318"/>
                  </a:lnTo>
                  <a:lnTo>
                    <a:pt x="108" y="312"/>
                  </a:lnTo>
                  <a:lnTo>
                    <a:pt x="96" y="306"/>
                  </a:lnTo>
                  <a:lnTo>
                    <a:pt x="84" y="288"/>
                  </a:lnTo>
                  <a:lnTo>
                    <a:pt x="108" y="258"/>
                  </a:lnTo>
                  <a:lnTo>
                    <a:pt x="102" y="222"/>
                  </a:lnTo>
                  <a:lnTo>
                    <a:pt x="84" y="222"/>
                  </a:lnTo>
                  <a:lnTo>
                    <a:pt x="54" y="216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2"/>
                  </a:lnTo>
                  <a:lnTo>
                    <a:pt x="72" y="192"/>
                  </a:lnTo>
                  <a:lnTo>
                    <a:pt x="84" y="186"/>
                  </a:lnTo>
                  <a:lnTo>
                    <a:pt x="90" y="186"/>
                  </a:lnTo>
                  <a:lnTo>
                    <a:pt x="90" y="174"/>
                  </a:lnTo>
                  <a:lnTo>
                    <a:pt x="84" y="162"/>
                  </a:lnTo>
                  <a:lnTo>
                    <a:pt x="84" y="150"/>
                  </a:lnTo>
                  <a:lnTo>
                    <a:pt x="84" y="126"/>
                  </a:lnTo>
                  <a:lnTo>
                    <a:pt x="84" y="114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8" y="96"/>
                  </a:lnTo>
                  <a:lnTo>
                    <a:pt x="120" y="90"/>
                  </a:lnTo>
                  <a:lnTo>
                    <a:pt x="126" y="78"/>
                  </a:lnTo>
                  <a:lnTo>
                    <a:pt x="138" y="66"/>
                  </a:lnTo>
                  <a:lnTo>
                    <a:pt x="138" y="48"/>
                  </a:lnTo>
                  <a:lnTo>
                    <a:pt x="138" y="42"/>
                  </a:lnTo>
                  <a:lnTo>
                    <a:pt x="126" y="30"/>
                  </a:lnTo>
                  <a:lnTo>
                    <a:pt x="120" y="18"/>
                  </a:lnTo>
                  <a:lnTo>
                    <a:pt x="132" y="12"/>
                  </a:lnTo>
                  <a:lnTo>
                    <a:pt x="144" y="0"/>
                  </a:lnTo>
                  <a:lnTo>
                    <a:pt x="150" y="6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6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74" y="66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68" y="72"/>
                  </a:lnTo>
                  <a:lnTo>
                    <a:pt x="156" y="150"/>
                  </a:lnTo>
                  <a:lnTo>
                    <a:pt x="168" y="144"/>
                  </a:lnTo>
                  <a:lnTo>
                    <a:pt x="180" y="150"/>
                  </a:lnTo>
                  <a:lnTo>
                    <a:pt x="186" y="150"/>
                  </a:lnTo>
                  <a:lnTo>
                    <a:pt x="186" y="144"/>
                  </a:lnTo>
                  <a:lnTo>
                    <a:pt x="192" y="150"/>
                  </a:lnTo>
                  <a:lnTo>
                    <a:pt x="222" y="150"/>
                  </a:lnTo>
                  <a:lnTo>
                    <a:pt x="222" y="168"/>
                  </a:lnTo>
                  <a:lnTo>
                    <a:pt x="222" y="186"/>
                  </a:lnTo>
                  <a:lnTo>
                    <a:pt x="234" y="198"/>
                  </a:lnTo>
                  <a:lnTo>
                    <a:pt x="234" y="234"/>
                  </a:lnTo>
                  <a:lnTo>
                    <a:pt x="228" y="270"/>
                  </a:lnTo>
                  <a:lnTo>
                    <a:pt x="246" y="282"/>
                  </a:lnTo>
                  <a:lnTo>
                    <a:pt x="258" y="294"/>
                  </a:lnTo>
                  <a:lnTo>
                    <a:pt x="270" y="300"/>
                  </a:lnTo>
                  <a:lnTo>
                    <a:pt x="294" y="300"/>
                  </a:lnTo>
                  <a:lnTo>
                    <a:pt x="288" y="306"/>
                  </a:lnTo>
                  <a:lnTo>
                    <a:pt x="300" y="312"/>
                  </a:lnTo>
                  <a:lnTo>
                    <a:pt x="306" y="318"/>
                  </a:lnTo>
                  <a:lnTo>
                    <a:pt x="324" y="324"/>
                  </a:lnTo>
                  <a:lnTo>
                    <a:pt x="354" y="318"/>
                  </a:lnTo>
                  <a:lnTo>
                    <a:pt x="354" y="312"/>
                  </a:lnTo>
                  <a:lnTo>
                    <a:pt x="366" y="312"/>
                  </a:lnTo>
                  <a:lnTo>
                    <a:pt x="384" y="312"/>
                  </a:lnTo>
                  <a:lnTo>
                    <a:pt x="390" y="306"/>
                  </a:lnTo>
                  <a:lnTo>
                    <a:pt x="396" y="306"/>
                  </a:lnTo>
                  <a:lnTo>
                    <a:pt x="408" y="306"/>
                  </a:lnTo>
                  <a:lnTo>
                    <a:pt x="426" y="312"/>
                  </a:lnTo>
                  <a:lnTo>
                    <a:pt x="456" y="324"/>
                  </a:lnTo>
                  <a:lnTo>
                    <a:pt x="504" y="330"/>
                  </a:lnTo>
                  <a:lnTo>
                    <a:pt x="510" y="336"/>
                  </a:lnTo>
                  <a:lnTo>
                    <a:pt x="534" y="336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58" y="330"/>
                  </a:lnTo>
                  <a:lnTo>
                    <a:pt x="564" y="330"/>
                  </a:lnTo>
                  <a:lnTo>
                    <a:pt x="570" y="354"/>
                  </a:lnTo>
                  <a:lnTo>
                    <a:pt x="564" y="378"/>
                  </a:lnTo>
                  <a:lnTo>
                    <a:pt x="558" y="396"/>
                  </a:lnTo>
                  <a:lnTo>
                    <a:pt x="546" y="414"/>
                  </a:lnTo>
                  <a:lnTo>
                    <a:pt x="546" y="438"/>
                  </a:lnTo>
                  <a:lnTo>
                    <a:pt x="540" y="456"/>
                  </a:lnTo>
                  <a:lnTo>
                    <a:pt x="540" y="474"/>
                  </a:lnTo>
                  <a:lnTo>
                    <a:pt x="528" y="480"/>
                  </a:lnTo>
                  <a:lnTo>
                    <a:pt x="522" y="492"/>
                  </a:lnTo>
                  <a:lnTo>
                    <a:pt x="504" y="498"/>
                  </a:lnTo>
                  <a:lnTo>
                    <a:pt x="498" y="498"/>
                  </a:lnTo>
                  <a:lnTo>
                    <a:pt x="492" y="504"/>
                  </a:lnTo>
                  <a:lnTo>
                    <a:pt x="486" y="510"/>
                  </a:lnTo>
                  <a:lnTo>
                    <a:pt x="480" y="510"/>
                  </a:lnTo>
                  <a:lnTo>
                    <a:pt x="480" y="516"/>
                  </a:lnTo>
                  <a:lnTo>
                    <a:pt x="474" y="522"/>
                  </a:lnTo>
                  <a:lnTo>
                    <a:pt x="474" y="528"/>
                  </a:lnTo>
                  <a:lnTo>
                    <a:pt x="474" y="534"/>
                  </a:lnTo>
                  <a:lnTo>
                    <a:pt x="480" y="540"/>
                  </a:lnTo>
                  <a:lnTo>
                    <a:pt x="492" y="540"/>
                  </a:lnTo>
                  <a:lnTo>
                    <a:pt x="498" y="546"/>
                  </a:lnTo>
                  <a:lnTo>
                    <a:pt x="504" y="552"/>
                  </a:lnTo>
                  <a:lnTo>
                    <a:pt x="510" y="552"/>
                  </a:lnTo>
                  <a:lnTo>
                    <a:pt x="516" y="558"/>
                  </a:lnTo>
                  <a:lnTo>
                    <a:pt x="528" y="558"/>
                  </a:lnTo>
                  <a:lnTo>
                    <a:pt x="534" y="552"/>
                  </a:lnTo>
                  <a:lnTo>
                    <a:pt x="540" y="552"/>
                  </a:lnTo>
                  <a:lnTo>
                    <a:pt x="546" y="552"/>
                  </a:lnTo>
                  <a:lnTo>
                    <a:pt x="558" y="546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70" y="546"/>
                  </a:lnTo>
                  <a:lnTo>
                    <a:pt x="570" y="540"/>
                  </a:lnTo>
                  <a:lnTo>
                    <a:pt x="570" y="546"/>
                  </a:lnTo>
                  <a:lnTo>
                    <a:pt x="576" y="546"/>
                  </a:lnTo>
                  <a:lnTo>
                    <a:pt x="582" y="546"/>
                  </a:lnTo>
                  <a:lnTo>
                    <a:pt x="588" y="540"/>
                  </a:lnTo>
                  <a:lnTo>
                    <a:pt x="594" y="546"/>
                  </a:lnTo>
                  <a:lnTo>
                    <a:pt x="606" y="546"/>
                  </a:lnTo>
                  <a:lnTo>
                    <a:pt x="612" y="546"/>
                  </a:lnTo>
                  <a:lnTo>
                    <a:pt x="612" y="552"/>
                  </a:lnTo>
                  <a:lnTo>
                    <a:pt x="618" y="552"/>
                  </a:lnTo>
                  <a:lnTo>
                    <a:pt x="624" y="552"/>
                  </a:lnTo>
                  <a:lnTo>
                    <a:pt x="630" y="552"/>
                  </a:lnTo>
                  <a:lnTo>
                    <a:pt x="648" y="546"/>
                  </a:lnTo>
                  <a:lnTo>
                    <a:pt x="654" y="546"/>
                  </a:lnTo>
                  <a:lnTo>
                    <a:pt x="654" y="552"/>
                  </a:lnTo>
                  <a:lnTo>
                    <a:pt x="660" y="558"/>
                  </a:lnTo>
                  <a:lnTo>
                    <a:pt x="666" y="564"/>
                  </a:lnTo>
                  <a:lnTo>
                    <a:pt x="672" y="564"/>
                  </a:lnTo>
                  <a:lnTo>
                    <a:pt x="678" y="564"/>
                  </a:lnTo>
                  <a:lnTo>
                    <a:pt x="696" y="576"/>
                  </a:lnTo>
                  <a:lnTo>
                    <a:pt x="696" y="582"/>
                  </a:lnTo>
                  <a:lnTo>
                    <a:pt x="708" y="588"/>
                  </a:lnTo>
                  <a:lnTo>
                    <a:pt x="708" y="594"/>
                  </a:lnTo>
                  <a:lnTo>
                    <a:pt x="720" y="606"/>
                  </a:lnTo>
                  <a:lnTo>
                    <a:pt x="720" y="618"/>
                  </a:lnTo>
                  <a:lnTo>
                    <a:pt x="720" y="624"/>
                  </a:lnTo>
                  <a:lnTo>
                    <a:pt x="726" y="630"/>
                  </a:lnTo>
                  <a:lnTo>
                    <a:pt x="732" y="636"/>
                  </a:lnTo>
                  <a:lnTo>
                    <a:pt x="732" y="642"/>
                  </a:lnTo>
                  <a:lnTo>
                    <a:pt x="732" y="648"/>
                  </a:lnTo>
                  <a:lnTo>
                    <a:pt x="726" y="654"/>
                  </a:lnTo>
                  <a:lnTo>
                    <a:pt x="720" y="660"/>
                  </a:lnTo>
                  <a:lnTo>
                    <a:pt x="714" y="666"/>
                  </a:lnTo>
                  <a:lnTo>
                    <a:pt x="714" y="672"/>
                  </a:lnTo>
                  <a:lnTo>
                    <a:pt x="714" y="678"/>
                  </a:lnTo>
                  <a:lnTo>
                    <a:pt x="720" y="678"/>
                  </a:lnTo>
                  <a:lnTo>
                    <a:pt x="720" y="684"/>
                  </a:lnTo>
                  <a:lnTo>
                    <a:pt x="714" y="690"/>
                  </a:lnTo>
                  <a:lnTo>
                    <a:pt x="714" y="696"/>
                  </a:lnTo>
                  <a:lnTo>
                    <a:pt x="714" y="702"/>
                  </a:lnTo>
                  <a:lnTo>
                    <a:pt x="714" y="708"/>
                  </a:lnTo>
                  <a:lnTo>
                    <a:pt x="720" y="708"/>
                  </a:lnTo>
                  <a:lnTo>
                    <a:pt x="720" y="720"/>
                  </a:lnTo>
                  <a:lnTo>
                    <a:pt x="720" y="726"/>
                  </a:lnTo>
                  <a:lnTo>
                    <a:pt x="726" y="726"/>
                  </a:lnTo>
                  <a:lnTo>
                    <a:pt x="726" y="732"/>
                  </a:lnTo>
                  <a:lnTo>
                    <a:pt x="732" y="732"/>
                  </a:lnTo>
                  <a:lnTo>
                    <a:pt x="732" y="738"/>
                  </a:lnTo>
                  <a:lnTo>
                    <a:pt x="726" y="738"/>
                  </a:lnTo>
                  <a:lnTo>
                    <a:pt x="720" y="738"/>
                  </a:lnTo>
                  <a:lnTo>
                    <a:pt x="720" y="744"/>
                  </a:lnTo>
                  <a:lnTo>
                    <a:pt x="720" y="750"/>
                  </a:lnTo>
                  <a:lnTo>
                    <a:pt x="714" y="750"/>
                  </a:lnTo>
                  <a:lnTo>
                    <a:pt x="714" y="756"/>
                  </a:lnTo>
                  <a:lnTo>
                    <a:pt x="720" y="756"/>
                  </a:lnTo>
                  <a:lnTo>
                    <a:pt x="714" y="762"/>
                  </a:lnTo>
                  <a:lnTo>
                    <a:pt x="720" y="762"/>
                  </a:lnTo>
                  <a:lnTo>
                    <a:pt x="726" y="768"/>
                  </a:lnTo>
                  <a:lnTo>
                    <a:pt x="726" y="774"/>
                  </a:lnTo>
                  <a:lnTo>
                    <a:pt x="732" y="774"/>
                  </a:lnTo>
                  <a:lnTo>
                    <a:pt x="732" y="780"/>
                  </a:lnTo>
                  <a:lnTo>
                    <a:pt x="726" y="780"/>
                  </a:lnTo>
                  <a:lnTo>
                    <a:pt x="726" y="786"/>
                  </a:lnTo>
                  <a:lnTo>
                    <a:pt x="720" y="786"/>
                  </a:lnTo>
                  <a:lnTo>
                    <a:pt x="726" y="786"/>
                  </a:lnTo>
                  <a:lnTo>
                    <a:pt x="732" y="780"/>
                  </a:lnTo>
                  <a:lnTo>
                    <a:pt x="738" y="780"/>
                  </a:lnTo>
                  <a:lnTo>
                    <a:pt x="744" y="780"/>
                  </a:lnTo>
                  <a:lnTo>
                    <a:pt x="744" y="786"/>
                  </a:lnTo>
                  <a:lnTo>
                    <a:pt x="750" y="786"/>
                  </a:lnTo>
                  <a:lnTo>
                    <a:pt x="744" y="786"/>
                  </a:lnTo>
                  <a:lnTo>
                    <a:pt x="744" y="792"/>
                  </a:lnTo>
                  <a:lnTo>
                    <a:pt x="744" y="786"/>
                  </a:lnTo>
                  <a:lnTo>
                    <a:pt x="738" y="792"/>
                  </a:lnTo>
                  <a:lnTo>
                    <a:pt x="744" y="792"/>
                  </a:lnTo>
                  <a:lnTo>
                    <a:pt x="750" y="792"/>
                  </a:lnTo>
                  <a:lnTo>
                    <a:pt x="750" y="786"/>
                  </a:lnTo>
                  <a:lnTo>
                    <a:pt x="756" y="786"/>
                  </a:lnTo>
                  <a:lnTo>
                    <a:pt x="756" y="792"/>
                  </a:lnTo>
                  <a:lnTo>
                    <a:pt x="762" y="792"/>
                  </a:lnTo>
                  <a:lnTo>
                    <a:pt x="756" y="798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0" y="810"/>
                  </a:lnTo>
                  <a:lnTo>
                    <a:pt x="756" y="810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6" y="816"/>
                  </a:lnTo>
                  <a:lnTo>
                    <a:pt x="750" y="816"/>
                  </a:lnTo>
                  <a:lnTo>
                    <a:pt x="738" y="810"/>
                  </a:lnTo>
                  <a:lnTo>
                    <a:pt x="732" y="810"/>
                  </a:lnTo>
                  <a:lnTo>
                    <a:pt x="732" y="816"/>
                  </a:lnTo>
                  <a:lnTo>
                    <a:pt x="726" y="810"/>
                  </a:lnTo>
                  <a:lnTo>
                    <a:pt x="714" y="816"/>
                  </a:lnTo>
                  <a:lnTo>
                    <a:pt x="708" y="816"/>
                  </a:lnTo>
                  <a:lnTo>
                    <a:pt x="702" y="816"/>
                  </a:lnTo>
                  <a:lnTo>
                    <a:pt x="696" y="816"/>
                  </a:lnTo>
                  <a:lnTo>
                    <a:pt x="690" y="822"/>
                  </a:lnTo>
                  <a:lnTo>
                    <a:pt x="684" y="822"/>
                  </a:lnTo>
                  <a:lnTo>
                    <a:pt x="678" y="822"/>
                  </a:lnTo>
                  <a:lnTo>
                    <a:pt x="672" y="822"/>
                  </a:lnTo>
                  <a:lnTo>
                    <a:pt x="666" y="822"/>
                  </a:lnTo>
                  <a:lnTo>
                    <a:pt x="666" y="828"/>
                  </a:lnTo>
                  <a:lnTo>
                    <a:pt x="654" y="828"/>
                  </a:lnTo>
                  <a:lnTo>
                    <a:pt x="648" y="828"/>
                  </a:lnTo>
                  <a:lnTo>
                    <a:pt x="642" y="828"/>
                  </a:lnTo>
                  <a:lnTo>
                    <a:pt x="630" y="828"/>
                  </a:lnTo>
                  <a:lnTo>
                    <a:pt x="624" y="822"/>
                  </a:lnTo>
                  <a:lnTo>
                    <a:pt x="618" y="822"/>
                  </a:lnTo>
                  <a:lnTo>
                    <a:pt x="612" y="822"/>
                  </a:lnTo>
                  <a:lnTo>
                    <a:pt x="606" y="822"/>
                  </a:lnTo>
                  <a:lnTo>
                    <a:pt x="600" y="822"/>
                  </a:lnTo>
                  <a:lnTo>
                    <a:pt x="594" y="822"/>
                  </a:lnTo>
                  <a:lnTo>
                    <a:pt x="594" y="816"/>
                  </a:lnTo>
                  <a:lnTo>
                    <a:pt x="594" y="810"/>
                  </a:lnTo>
                  <a:lnTo>
                    <a:pt x="600" y="804"/>
                  </a:lnTo>
                  <a:lnTo>
                    <a:pt x="600" y="798"/>
                  </a:lnTo>
                  <a:lnTo>
                    <a:pt x="600" y="792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2" y="786"/>
                  </a:lnTo>
                  <a:lnTo>
                    <a:pt x="618" y="786"/>
                  </a:lnTo>
                  <a:lnTo>
                    <a:pt x="624" y="786"/>
                  </a:lnTo>
                  <a:lnTo>
                    <a:pt x="624" y="780"/>
                  </a:lnTo>
                  <a:lnTo>
                    <a:pt x="630" y="780"/>
                  </a:lnTo>
                  <a:lnTo>
                    <a:pt x="630" y="774"/>
                  </a:lnTo>
                  <a:lnTo>
                    <a:pt x="636" y="774"/>
                  </a:lnTo>
                  <a:lnTo>
                    <a:pt x="642" y="780"/>
                  </a:lnTo>
                  <a:lnTo>
                    <a:pt x="642" y="786"/>
                  </a:lnTo>
                  <a:lnTo>
                    <a:pt x="642" y="792"/>
                  </a:lnTo>
                  <a:lnTo>
                    <a:pt x="648" y="792"/>
                  </a:lnTo>
                  <a:lnTo>
                    <a:pt x="648" y="786"/>
                  </a:lnTo>
                  <a:lnTo>
                    <a:pt x="642" y="786"/>
                  </a:lnTo>
                  <a:lnTo>
                    <a:pt x="642" y="780"/>
                  </a:lnTo>
                  <a:lnTo>
                    <a:pt x="642" y="774"/>
                  </a:lnTo>
                  <a:lnTo>
                    <a:pt x="648" y="768"/>
                  </a:lnTo>
                  <a:lnTo>
                    <a:pt x="642" y="768"/>
                  </a:lnTo>
                  <a:lnTo>
                    <a:pt x="648" y="768"/>
                  </a:lnTo>
                  <a:lnTo>
                    <a:pt x="648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66" y="762"/>
                  </a:lnTo>
                  <a:lnTo>
                    <a:pt x="672" y="756"/>
                  </a:lnTo>
                  <a:lnTo>
                    <a:pt x="666" y="756"/>
                  </a:lnTo>
                  <a:lnTo>
                    <a:pt x="660" y="756"/>
                  </a:lnTo>
                  <a:lnTo>
                    <a:pt x="660" y="750"/>
                  </a:lnTo>
                  <a:lnTo>
                    <a:pt x="654" y="750"/>
                  </a:lnTo>
                  <a:lnTo>
                    <a:pt x="648" y="750"/>
                  </a:lnTo>
                  <a:lnTo>
                    <a:pt x="648" y="756"/>
                  </a:lnTo>
                  <a:lnTo>
                    <a:pt x="642" y="756"/>
                  </a:lnTo>
                  <a:lnTo>
                    <a:pt x="642" y="750"/>
                  </a:lnTo>
                  <a:lnTo>
                    <a:pt x="642" y="744"/>
                  </a:lnTo>
                  <a:lnTo>
                    <a:pt x="642" y="750"/>
                  </a:lnTo>
                  <a:lnTo>
                    <a:pt x="636" y="750"/>
                  </a:lnTo>
                  <a:lnTo>
                    <a:pt x="636" y="744"/>
                  </a:lnTo>
                  <a:lnTo>
                    <a:pt x="630" y="744"/>
                  </a:lnTo>
                  <a:lnTo>
                    <a:pt x="630" y="738"/>
                  </a:lnTo>
                  <a:lnTo>
                    <a:pt x="630" y="744"/>
                  </a:lnTo>
                  <a:lnTo>
                    <a:pt x="630" y="750"/>
                  </a:lnTo>
                  <a:lnTo>
                    <a:pt x="636" y="750"/>
                  </a:lnTo>
                  <a:lnTo>
                    <a:pt x="636" y="756"/>
                  </a:lnTo>
                  <a:lnTo>
                    <a:pt x="630" y="756"/>
                  </a:lnTo>
                  <a:lnTo>
                    <a:pt x="636" y="762"/>
                  </a:lnTo>
                  <a:lnTo>
                    <a:pt x="630" y="762"/>
                  </a:lnTo>
                  <a:lnTo>
                    <a:pt x="624" y="762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24" y="786"/>
                  </a:lnTo>
                  <a:lnTo>
                    <a:pt x="618" y="786"/>
                  </a:lnTo>
                  <a:lnTo>
                    <a:pt x="618" y="78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12" y="774"/>
                  </a:lnTo>
                  <a:lnTo>
                    <a:pt x="612" y="780"/>
                  </a:lnTo>
                  <a:lnTo>
                    <a:pt x="606" y="780"/>
                  </a:lnTo>
                  <a:lnTo>
                    <a:pt x="600" y="780"/>
                  </a:lnTo>
                  <a:lnTo>
                    <a:pt x="600" y="774"/>
                  </a:lnTo>
                  <a:lnTo>
                    <a:pt x="594" y="768"/>
                  </a:lnTo>
                  <a:lnTo>
                    <a:pt x="594" y="762"/>
                  </a:lnTo>
                  <a:lnTo>
                    <a:pt x="594" y="756"/>
                  </a:lnTo>
                  <a:lnTo>
                    <a:pt x="594" y="762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594" y="780"/>
                  </a:lnTo>
                  <a:lnTo>
                    <a:pt x="588" y="780"/>
                  </a:lnTo>
                  <a:lnTo>
                    <a:pt x="582" y="780"/>
                  </a:lnTo>
                  <a:lnTo>
                    <a:pt x="576" y="780"/>
                  </a:lnTo>
                  <a:lnTo>
                    <a:pt x="570" y="780"/>
                  </a:lnTo>
                  <a:lnTo>
                    <a:pt x="564" y="780"/>
                  </a:lnTo>
                  <a:lnTo>
                    <a:pt x="564" y="786"/>
                  </a:lnTo>
                  <a:lnTo>
                    <a:pt x="558" y="786"/>
                  </a:lnTo>
                  <a:lnTo>
                    <a:pt x="552" y="786"/>
                  </a:lnTo>
                  <a:lnTo>
                    <a:pt x="552" y="780"/>
                  </a:lnTo>
                  <a:lnTo>
                    <a:pt x="552" y="774"/>
                  </a:lnTo>
                  <a:lnTo>
                    <a:pt x="552" y="768"/>
                  </a:lnTo>
                  <a:lnTo>
                    <a:pt x="546" y="768"/>
                  </a:lnTo>
                  <a:lnTo>
                    <a:pt x="540" y="762"/>
                  </a:lnTo>
                  <a:lnTo>
                    <a:pt x="540" y="756"/>
                  </a:lnTo>
                  <a:lnTo>
                    <a:pt x="534" y="756"/>
                  </a:lnTo>
                  <a:lnTo>
                    <a:pt x="534" y="750"/>
                  </a:lnTo>
                  <a:lnTo>
                    <a:pt x="534" y="744"/>
                  </a:lnTo>
                  <a:lnTo>
                    <a:pt x="528" y="738"/>
                  </a:lnTo>
                  <a:lnTo>
                    <a:pt x="522" y="738"/>
                  </a:lnTo>
                  <a:lnTo>
                    <a:pt x="522" y="732"/>
                  </a:lnTo>
                  <a:lnTo>
                    <a:pt x="510" y="726"/>
                  </a:lnTo>
                  <a:lnTo>
                    <a:pt x="510" y="720"/>
                  </a:lnTo>
                  <a:lnTo>
                    <a:pt x="504" y="720"/>
                  </a:lnTo>
                  <a:lnTo>
                    <a:pt x="504" y="714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8" y="702"/>
                  </a:lnTo>
                  <a:lnTo>
                    <a:pt x="498" y="696"/>
                  </a:lnTo>
                  <a:lnTo>
                    <a:pt x="492" y="690"/>
                  </a:lnTo>
                  <a:lnTo>
                    <a:pt x="492" y="684"/>
                  </a:lnTo>
                  <a:lnTo>
                    <a:pt x="486" y="684"/>
                  </a:lnTo>
                  <a:lnTo>
                    <a:pt x="486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74" y="678"/>
                  </a:lnTo>
                  <a:lnTo>
                    <a:pt x="468" y="678"/>
                  </a:lnTo>
                  <a:lnTo>
                    <a:pt x="462" y="678"/>
                  </a:lnTo>
                  <a:lnTo>
                    <a:pt x="462" y="672"/>
                  </a:lnTo>
                  <a:lnTo>
                    <a:pt x="456" y="672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44" y="666"/>
                  </a:lnTo>
                  <a:lnTo>
                    <a:pt x="438" y="660"/>
                  </a:lnTo>
                  <a:lnTo>
                    <a:pt x="438" y="648"/>
                  </a:lnTo>
                  <a:lnTo>
                    <a:pt x="438" y="642"/>
                  </a:lnTo>
                  <a:lnTo>
                    <a:pt x="438" y="636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36"/>
                  </a:lnTo>
                  <a:lnTo>
                    <a:pt x="420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60"/>
                  </a:lnTo>
                  <a:lnTo>
                    <a:pt x="432" y="666"/>
                  </a:lnTo>
                  <a:lnTo>
                    <a:pt x="438" y="666"/>
                  </a:lnTo>
                  <a:lnTo>
                    <a:pt x="438" y="672"/>
                  </a:lnTo>
                  <a:lnTo>
                    <a:pt x="444" y="672"/>
                  </a:lnTo>
                  <a:lnTo>
                    <a:pt x="444" y="678"/>
                  </a:lnTo>
                  <a:lnTo>
                    <a:pt x="450" y="678"/>
                  </a:lnTo>
                  <a:lnTo>
                    <a:pt x="456" y="678"/>
                  </a:lnTo>
                  <a:lnTo>
                    <a:pt x="456" y="684"/>
                  </a:lnTo>
                  <a:lnTo>
                    <a:pt x="462" y="684"/>
                  </a:lnTo>
                  <a:lnTo>
                    <a:pt x="468" y="684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80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86" y="708"/>
                  </a:lnTo>
                  <a:lnTo>
                    <a:pt x="492" y="714"/>
                  </a:lnTo>
                  <a:lnTo>
                    <a:pt x="492" y="720"/>
                  </a:lnTo>
                  <a:lnTo>
                    <a:pt x="492" y="726"/>
                  </a:lnTo>
                  <a:lnTo>
                    <a:pt x="498" y="732"/>
                  </a:lnTo>
                  <a:lnTo>
                    <a:pt x="492" y="738"/>
                  </a:lnTo>
                  <a:lnTo>
                    <a:pt x="492" y="744"/>
                  </a:lnTo>
                  <a:lnTo>
                    <a:pt x="492" y="750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68" y="738"/>
                  </a:lnTo>
                  <a:lnTo>
                    <a:pt x="468" y="744"/>
                  </a:lnTo>
                  <a:lnTo>
                    <a:pt x="474" y="750"/>
                  </a:lnTo>
                  <a:lnTo>
                    <a:pt x="480" y="756"/>
                  </a:lnTo>
                  <a:lnTo>
                    <a:pt x="486" y="756"/>
                  </a:lnTo>
                  <a:lnTo>
                    <a:pt x="492" y="762"/>
                  </a:lnTo>
                  <a:lnTo>
                    <a:pt x="498" y="768"/>
                  </a:lnTo>
                  <a:lnTo>
                    <a:pt x="492" y="774"/>
                  </a:lnTo>
                  <a:lnTo>
                    <a:pt x="492" y="780"/>
                  </a:lnTo>
                  <a:lnTo>
                    <a:pt x="498" y="780"/>
                  </a:lnTo>
                  <a:lnTo>
                    <a:pt x="492" y="786"/>
                  </a:lnTo>
                  <a:lnTo>
                    <a:pt x="492" y="792"/>
                  </a:lnTo>
                  <a:lnTo>
                    <a:pt x="492" y="79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0" y="810"/>
                  </a:lnTo>
                  <a:lnTo>
                    <a:pt x="480" y="804"/>
                  </a:lnTo>
                  <a:lnTo>
                    <a:pt x="474" y="804"/>
                  </a:lnTo>
                  <a:lnTo>
                    <a:pt x="474" y="798"/>
                  </a:lnTo>
                  <a:lnTo>
                    <a:pt x="474" y="804"/>
                  </a:lnTo>
                  <a:lnTo>
                    <a:pt x="468" y="804"/>
                  </a:lnTo>
                  <a:lnTo>
                    <a:pt x="468" y="810"/>
                  </a:lnTo>
                  <a:lnTo>
                    <a:pt x="462" y="810"/>
                  </a:lnTo>
                  <a:lnTo>
                    <a:pt x="456" y="810"/>
                  </a:lnTo>
                  <a:lnTo>
                    <a:pt x="450" y="810"/>
                  </a:lnTo>
                  <a:lnTo>
                    <a:pt x="450" y="816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50" y="822"/>
                  </a:lnTo>
                  <a:lnTo>
                    <a:pt x="450" y="816"/>
                  </a:lnTo>
                  <a:lnTo>
                    <a:pt x="444" y="816"/>
                  </a:lnTo>
                  <a:lnTo>
                    <a:pt x="438" y="810"/>
                  </a:lnTo>
                  <a:lnTo>
                    <a:pt x="432" y="810"/>
                  </a:lnTo>
                  <a:lnTo>
                    <a:pt x="426" y="804"/>
                  </a:lnTo>
                  <a:lnTo>
                    <a:pt x="426" y="798"/>
                  </a:lnTo>
                  <a:lnTo>
                    <a:pt x="420" y="798"/>
                  </a:lnTo>
                  <a:lnTo>
                    <a:pt x="426" y="798"/>
                  </a:lnTo>
                  <a:lnTo>
                    <a:pt x="426" y="792"/>
                  </a:lnTo>
                  <a:lnTo>
                    <a:pt x="426" y="786"/>
                  </a:lnTo>
                  <a:lnTo>
                    <a:pt x="432" y="786"/>
                  </a:lnTo>
                  <a:lnTo>
                    <a:pt x="432" y="780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0" y="756"/>
                  </a:lnTo>
                  <a:lnTo>
                    <a:pt x="420" y="750"/>
                  </a:lnTo>
                  <a:lnTo>
                    <a:pt x="414" y="750"/>
                  </a:lnTo>
                  <a:lnTo>
                    <a:pt x="420" y="750"/>
                  </a:lnTo>
                  <a:lnTo>
                    <a:pt x="420" y="744"/>
                  </a:lnTo>
                  <a:lnTo>
                    <a:pt x="414" y="744"/>
                  </a:lnTo>
                  <a:lnTo>
                    <a:pt x="414" y="738"/>
                  </a:lnTo>
                  <a:lnTo>
                    <a:pt x="414" y="732"/>
                  </a:lnTo>
                  <a:lnTo>
                    <a:pt x="408" y="732"/>
                  </a:lnTo>
                  <a:lnTo>
                    <a:pt x="408" y="726"/>
                  </a:lnTo>
                  <a:lnTo>
                    <a:pt x="402" y="726"/>
                  </a:lnTo>
                  <a:lnTo>
                    <a:pt x="396" y="726"/>
                  </a:lnTo>
                  <a:lnTo>
                    <a:pt x="390" y="726"/>
                  </a:lnTo>
                  <a:lnTo>
                    <a:pt x="390" y="720"/>
                  </a:lnTo>
                  <a:lnTo>
                    <a:pt x="390" y="714"/>
                  </a:lnTo>
                  <a:lnTo>
                    <a:pt x="384" y="708"/>
                  </a:lnTo>
                  <a:lnTo>
                    <a:pt x="384" y="702"/>
                  </a:lnTo>
                  <a:lnTo>
                    <a:pt x="378" y="702"/>
                  </a:lnTo>
                  <a:lnTo>
                    <a:pt x="378" y="696"/>
                  </a:lnTo>
                  <a:lnTo>
                    <a:pt x="378" y="690"/>
                  </a:lnTo>
                  <a:lnTo>
                    <a:pt x="372" y="684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66" y="666"/>
                  </a:lnTo>
                  <a:lnTo>
                    <a:pt x="366" y="660"/>
                  </a:lnTo>
                  <a:lnTo>
                    <a:pt x="366" y="654"/>
                  </a:lnTo>
                  <a:lnTo>
                    <a:pt x="360" y="648"/>
                  </a:lnTo>
                  <a:lnTo>
                    <a:pt x="360" y="654"/>
                  </a:lnTo>
                  <a:lnTo>
                    <a:pt x="360" y="660"/>
                  </a:lnTo>
                  <a:lnTo>
                    <a:pt x="360" y="666"/>
                  </a:lnTo>
                  <a:lnTo>
                    <a:pt x="360" y="672"/>
                  </a:lnTo>
                  <a:lnTo>
                    <a:pt x="360" y="678"/>
                  </a:lnTo>
                  <a:lnTo>
                    <a:pt x="366" y="678"/>
                  </a:lnTo>
                  <a:lnTo>
                    <a:pt x="366" y="684"/>
                  </a:lnTo>
                  <a:lnTo>
                    <a:pt x="366" y="690"/>
                  </a:lnTo>
                  <a:lnTo>
                    <a:pt x="372" y="696"/>
                  </a:lnTo>
                  <a:lnTo>
                    <a:pt x="372" y="702"/>
                  </a:lnTo>
                  <a:lnTo>
                    <a:pt x="372" y="708"/>
                  </a:lnTo>
                  <a:lnTo>
                    <a:pt x="372" y="714"/>
                  </a:lnTo>
                  <a:lnTo>
                    <a:pt x="366" y="714"/>
                  </a:lnTo>
                  <a:lnTo>
                    <a:pt x="360" y="714"/>
                  </a:lnTo>
                  <a:lnTo>
                    <a:pt x="354" y="714"/>
                  </a:lnTo>
                  <a:lnTo>
                    <a:pt x="348" y="714"/>
                  </a:lnTo>
                  <a:lnTo>
                    <a:pt x="348" y="708"/>
                  </a:lnTo>
                  <a:lnTo>
                    <a:pt x="342" y="708"/>
                  </a:lnTo>
                  <a:lnTo>
                    <a:pt x="342" y="702"/>
                  </a:lnTo>
                  <a:lnTo>
                    <a:pt x="342" y="696"/>
                  </a:lnTo>
                  <a:lnTo>
                    <a:pt x="336" y="696"/>
                  </a:lnTo>
                  <a:lnTo>
                    <a:pt x="336" y="690"/>
                  </a:lnTo>
                  <a:lnTo>
                    <a:pt x="336" y="684"/>
                  </a:lnTo>
                  <a:lnTo>
                    <a:pt x="330" y="684"/>
                  </a:lnTo>
                  <a:lnTo>
                    <a:pt x="330" y="678"/>
                  </a:lnTo>
                  <a:lnTo>
                    <a:pt x="324" y="672"/>
                  </a:lnTo>
                  <a:lnTo>
                    <a:pt x="324" y="666"/>
                  </a:lnTo>
                  <a:lnTo>
                    <a:pt x="318" y="666"/>
                  </a:lnTo>
                  <a:lnTo>
                    <a:pt x="318" y="672"/>
                  </a:lnTo>
                  <a:lnTo>
                    <a:pt x="324" y="672"/>
                  </a:lnTo>
                  <a:lnTo>
                    <a:pt x="324" y="678"/>
                  </a:lnTo>
                  <a:lnTo>
                    <a:pt x="324" y="684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30" y="696"/>
                  </a:lnTo>
                  <a:lnTo>
                    <a:pt x="336" y="702"/>
                  </a:lnTo>
                  <a:lnTo>
                    <a:pt x="342" y="708"/>
                  </a:lnTo>
                  <a:lnTo>
                    <a:pt x="342" y="714"/>
                  </a:lnTo>
                  <a:lnTo>
                    <a:pt x="348" y="720"/>
                  </a:lnTo>
                  <a:lnTo>
                    <a:pt x="342" y="720"/>
                  </a:lnTo>
                  <a:lnTo>
                    <a:pt x="336" y="720"/>
                  </a:lnTo>
                  <a:lnTo>
                    <a:pt x="330" y="720"/>
                  </a:lnTo>
                  <a:lnTo>
                    <a:pt x="330" y="726"/>
                  </a:lnTo>
                  <a:lnTo>
                    <a:pt x="336" y="726"/>
                  </a:lnTo>
                  <a:lnTo>
                    <a:pt x="330" y="732"/>
                  </a:lnTo>
                  <a:lnTo>
                    <a:pt x="330" y="738"/>
                  </a:lnTo>
                  <a:lnTo>
                    <a:pt x="330" y="744"/>
                  </a:lnTo>
                  <a:lnTo>
                    <a:pt x="336" y="744"/>
                  </a:lnTo>
                  <a:lnTo>
                    <a:pt x="342" y="744"/>
                  </a:lnTo>
                  <a:lnTo>
                    <a:pt x="348" y="744"/>
                  </a:lnTo>
                  <a:lnTo>
                    <a:pt x="348" y="750"/>
                  </a:lnTo>
                  <a:lnTo>
                    <a:pt x="354" y="750"/>
                  </a:lnTo>
                  <a:lnTo>
                    <a:pt x="360" y="756"/>
                  </a:lnTo>
                  <a:lnTo>
                    <a:pt x="360" y="762"/>
                  </a:lnTo>
                  <a:lnTo>
                    <a:pt x="366" y="762"/>
                  </a:lnTo>
                  <a:lnTo>
                    <a:pt x="366" y="768"/>
                  </a:lnTo>
                  <a:lnTo>
                    <a:pt x="366" y="774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72" y="792"/>
                  </a:lnTo>
                  <a:lnTo>
                    <a:pt x="372" y="798"/>
                  </a:lnTo>
                  <a:lnTo>
                    <a:pt x="372" y="804"/>
                  </a:lnTo>
                  <a:lnTo>
                    <a:pt x="378" y="804"/>
                  </a:lnTo>
                  <a:lnTo>
                    <a:pt x="378" y="810"/>
                  </a:lnTo>
                  <a:lnTo>
                    <a:pt x="378" y="816"/>
                  </a:lnTo>
                  <a:lnTo>
                    <a:pt x="372" y="816"/>
                  </a:lnTo>
                  <a:lnTo>
                    <a:pt x="378" y="816"/>
                  </a:lnTo>
                  <a:lnTo>
                    <a:pt x="378" y="822"/>
                  </a:lnTo>
                  <a:lnTo>
                    <a:pt x="378" y="828"/>
                  </a:lnTo>
                  <a:lnTo>
                    <a:pt x="378" y="834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0" y="864"/>
                  </a:lnTo>
                  <a:lnTo>
                    <a:pt x="384" y="864"/>
                  </a:lnTo>
                  <a:lnTo>
                    <a:pt x="384" y="870"/>
                  </a:lnTo>
                  <a:lnTo>
                    <a:pt x="378" y="864"/>
                  </a:lnTo>
                  <a:lnTo>
                    <a:pt x="372" y="864"/>
                  </a:lnTo>
                  <a:lnTo>
                    <a:pt x="366" y="858"/>
                  </a:lnTo>
                  <a:lnTo>
                    <a:pt x="366" y="852"/>
                  </a:lnTo>
                  <a:lnTo>
                    <a:pt x="360" y="852"/>
                  </a:lnTo>
                  <a:lnTo>
                    <a:pt x="360" y="858"/>
                  </a:lnTo>
                  <a:lnTo>
                    <a:pt x="366" y="858"/>
                  </a:lnTo>
                  <a:lnTo>
                    <a:pt x="366" y="864"/>
                  </a:lnTo>
                  <a:lnTo>
                    <a:pt x="360" y="864"/>
                  </a:lnTo>
                  <a:lnTo>
                    <a:pt x="354" y="864"/>
                  </a:lnTo>
                  <a:lnTo>
                    <a:pt x="354" y="870"/>
                  </a:lnTo>
                  <a:lnTo>
                    <a:pt x="354" y="864"/>
                  </a:lnTo>
                  <a:lnTo>
                    <a:pt x="348" y="864"/>
                  </a:lnTo>
                  <a:lnTo>
                    <a:pt x="342" y="864"/>
                  </a:lnTo>
                  <a:lnTo>
                    <a:pt x="342" y="858"/>
                  </a:lnTo>
                  <a:lnTo>
                    <a:pt x="336" y="858"/>
                  </a:lnTo>
                  <a:lnTo>
                    <a:pt x="330" y="858"/>
                  </a:lnTo>
                  <a:lnTo>
                    <a:pt x="324" y="858"/>
                  </a:lnTo>
                  <a:lnTo>
                    <a:pt x="318" y="858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0" y="852"/>
                  </a:lnTo>
                  <a:lnTo>
                    <a:pt x="294" y="852"/>
                  </a:lnTo>
                  <a:lnTo>
                    <a:pt x="294" y="846"/>
                  </a:lnTo>
                  <a:lnTo>
                    <a:pt x="288" y="840"/>
                  </a:lnTo>
                  <a:lnTo>
                    <a:pt x="288" y="828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2" y="816"/>
                  </a:lnTo>
                  <a:lnTo>
                    <a:pt x="282" y="810"/>
                  </a:lnTo>
                  <a:lnTo>
                    <a:pt x="276" y="810"/>
                  </a:lnTo>
                  <a:lnTo>
                    <a:pt x="276" y="804"/>
                  </a:lnTo>
                  <a:lnTo>
                    <a:pt x="276" y="798"/>
                  </a:lnTo>
                  <a:lnTo>
                    <a:pt x="276" y="792"/>
                  </a:lnTo>
                  <a:lnTo>
                    <a:pt x="270" y="786"/>
                  </a:lnTo>
                  <a:lnTo>
                    <a:pt x="270" y="780"/>
                  </a:lnTo>
                  <a:lnTo>
                    <a:pt x="270" y="774"/>
                  </a:lnTo>
                  <a:lnTo>
                    <a:pt x="264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64" y="750"/>
                  </a:lnTo>
                  <a:lnTo>
                    <a:pt x="264" y="744"/>
                  </a:lnTo>
                  <a:lnTo>
                    <a:pt x="264" y="738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26"/>
                  </a:lnTo>
                  <a:lnTo>
                    <a:pt x="276" y="720"/>
                  </a:lnTo>
                  <a:lnTo>
                    <a:pt x="282" y="720"/>
                  </a:lnTo>
                  <a:lnTo>
                    <a:pt x="282" y="714"/>
                  </a:lnTo>
                  <a:lnTo>
                    <a:pt x="282" y="708"/>
                  </a:lnTo>
                  <a:lnTo>
                    <a:pt x="276" y="708"/>
                  </a:lnTo>
                  <a:lnTo>
                    <a:pt x="276" y="702"/>
                  </a:lnTo>
                  <a:lnTo>
                    <a:pt x="270" y="702"/>
                  </a:lnTo>
                  <a:lnTo>
                    <a:pt x="270" y="696"/>
                  </a:lnTo>
                  <a:lnTo>
                    <a:pt x="264" y="690"/>
                  </a:lnTo>
                  <a:lnTo>
                    <a:pt x="258" y="690"/>
                  </a:lnTo>
                  <a:lnTo>
                    <a:pt x="258" y="684"/>
                  </a:lnTo>
                  <a:lnTo>
                    <a:pt x="252" y="684"/>
                  </a:lnTo>
                  <a:lnTo>
                    <a:pt x="252" y="678"/>
                  </a:lnTo>
                  <a:lnTo>
                    <a:pt x="246" y="678"/>
                  </a:lnTo>
                  <a:lnTo>
                    <a:pt x="240" y="678"/>
                  </a:lnTo>
                  <a:lnTo>
                    <a:pt x="240" y="684"/>
                  </a:lnTo>
                  <a:lnTo>
                    <a:pt x="246" y="684"/>
                  </a:lnTo>
                  <a:lnTo>
                    <a:pt x="252" y="690"/>
                  </a:lnTo>
                  <a:lnTo>
                    <a:pt x="258" y="690"/>
                  </a:lnTo>
                  <a:lnTo>
                    <a:pt x="258" y="696"/>
                  </a:lnTo>
                  <a:lnTo>
                    <a:pt x="258" y="702"/>
                  </a:lnTo>
                  <a:lnTo>
                    <a:pt x="264" y="702"/>
                  </a:lnTo>
                  <a:lnTo>
                    <a:pt x="270" y="708"/>
                  </a:lnTo>
                  <a:lnTo>
                    <a:pt x="270" y="714"/>
                  </a:lnTo>
                  <a:lnTo>
                    <a:pt x="270" y="720"/>
                  </a:lnTo>
                  <a:lnTo>
                    <a:pt x="276" y="720"/>
                  </a:lnTo>
                  <a:lnTo>
                    <a:pt x="270" y="720"/>
                  </a:lnTo>
                  <a:lnTo>
                    <a:pt x="270" y="726"/>
                  </a:lnTo>
                  <a:lnTo>
                    <a:pt x="264" y="726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52" y="738"/>
                  </a:lnTo>
                  <a:lnTo>
                    <a:pt x="252" y="744"/>
                  </a:lnTo>
                  <a:lnTo>
                    <a:pt x="252" y="750"/>
                  </a:lnTo>
                  <a:lnTo>
                    <a:pt x="252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58" y="774"/>
                  </a:lnTo>
                  <a:lnTo>
                    <a:pt x="258" y="780"/>
                  </a:lnTo>
                  <a:lnTo>
                    <a:pt x="264" y="786"/>
                  </a:lnTo>
                  <a:lnTo>
                    <a:pt x="264" y="792"/>
                  </a:lnTo>
                  <a:lnTo>
                    <a:pt x="264" y="798"/>
                  </a:lnTo>
                  <a:lnTo>
                    <a:pt x="270" y="810"/>
                  </a:lnTo>
                  <a:lnTo>
                    <a:pt x="270" y="816"/>
                  </a:lnTo>
                  <a:lnTo>
                    <a:pt x="270" y="822"/>
                  </a:lnTo>
                  <a:lnTo>
                    <a:pt x="276" y="822"/>
                  </a:lnTo>
                  <a:lnTo>
                    <a:pt x="276" y="828"/>
                  </a:lnTo>
                  <a:lnTo>
                    <a:pt x="276" y="834"/>
                  </a:lnTo>
                  <a:lnTo>
                    <a:pt x="276" y="840"/>
                  </a:lnTo>
                  <a:lnTo>
                    <a:pt x="276" y="846"/>
                  </a:lnTo>
                  <a:lnTo>
                    <a:pt x="282" y="852"/>
                  </a:lnTo>
                  <a:lnTo>
                    <a:pt x="282" y="858"/>
                  </a:lnTo>
                  <a:lnTo>
                    <a:pt x="294" y="864"/>
                  </a:lnTo>
                  <a:lnTo>
                    <a:pt x="300" y="870"/>
                  </a:lnTo>
                  <a:lnTo>
                    <a:pt x="300" y="876"/>
                  </a:lnTo>
                  <a:lnTo>
                    <a:pt x="288" y="876"/>
                  </a:lnTo>
                  <a:lnTo>
                    <a:pt x="282" y="876"/>
                  </a:lnTo>
                  <a:lnTo>
                    <a:pt x="276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2" y="882"/>
                  </a:lnTo>
                  <a:lnTo>
                    <a:pt x="246" y="882"/>
                  </a:lnTo>
                  <a:lnTo>
                    <a:pt x="240" y="882"/>
                  </a:lnTo>
                  <a:lnTo>
                    <a:pt x="234" y="882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204" y="876"/>
                  </a:lnTo>
                  <a:lnTo>
                    <a:pt x="198" y="876"/>
                  </a:lnTo>
                  <a:lnTo>
                    <a:pt x="198" y="870"/>
                  </a:lnTo>
                  <a:lnTo>
                    <a:pt x="198" y="852"/>
                  </a:lnTo>
                  <a:lnTo>
                    <a:pt x="198" y="846"/>
                  </a:lnTo>
                  <a:lnTo>
                    <a:pt x="204" y="846"/>
                  </a:lnTo>
                  <a:lnTo>
                    <a:pt x="198" y="840"/>
                  </a:lnTo>
                  <a:lnTo>
                    <a:pt x="198" y="834"/>
                  </a:lnTo>
                  <a:lnTo>
                    <a:pt x="198" y="828"/>
                  </a:lnTo>
                  <a:lnTo>
                    <a:pt x="198" y="822"/>
                  </a:lnTo>
                  <a:lnTo>
                    <a:pt x="198" y="816"/>
                  </a:lnTo>
                  <a:lnTo>
                    <a:pt x="198" y="810"/>
                  </a:lnTo>
                  <a:lnTo>
                    <a:pt x="192" y="810"/>
                  </a:lnTo>
                  <a:lnTo>
                    <a:pt x="192" y="804"/>
                  </a:lnTo>
                  <a:lnTo>
                    <a:pt x="192" y="798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2" y="774"/>
                  </a:lnTo>
                  <a:lnTo>
                    <a:pt x="192" y="768"/>
                  </a:lnTo>
                  <a:lnTo>
                    <a:pt x="198" y="768"/>
                  </a:lnTo>
                  <a:lnTo>
                    <a:pt x="198" y="762"/>
                  </a:lnTo>
                  <a:lnTo>
                    <a:pt x="198" y="756"/>
                  </a:lnTo>
                  <a:lnTo>
                    <a:pt x="204" y="756"/>
                  </a:lnTo>
                  <a:lnTo>
                    <a:pt x="204" y="750"/>
                  </a:lnTo>
                  <a:lnTo>
                    <a:pt x="210" y="744"/>
                  </a:lnTo>
                  <a:lnTo>
                    <a:pt x="210" y="738"/>
                  </a:lnTo>
                  <a:lnTo>
                    <a:pt x="210" y="732"/>
                  </a:lnTo>
                  <a:lnTo>
                    <a:pt x="210" y="726"/>
                  </a:lnTo>
                  <a:lnTo>
                    <a:pt x="210" y="720"/>
                  </a:lnTo>
                  <a:lnTo>
                    <a:pt x="204" y="714"/>
                  </a:lnTo>
                  <a:lnTo>
                    <a:pt x="204" y="720"/>
                  </a:lnTo>
                  <a:lnTo>
                    <a:pt x="204" y="732"/>
                  </a:lnTo>
                  <a:lnTo>
                    <a:pt x="204" y="738"/>
                  </a:lnTo>
                  <a:lnTo>
                    <a:pt x="198" y="738"/>
                  </a:lnTo>
                  <a:lnTo>
                    <a:pt x="198" y="744"/>
                  </a:lnTo>
                  <a:lnTo>
                    <a:pt x="198" y="750"/>
                  </a:lnTo>
                  <a:lnTo>
                    <a:pt x="192" y="756"/>
                  </a:lnTo>
                  <a:lnTo>
                    <a:pt x="186" y="762"/>
                  </a:lnTo>
                  <a:lnTo>
                    <a:pt x="186" y="768"/>
                  </a:lnTo>
                  <a:lnTo>
                    <a:pt x="186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98"/>
                  </a:lnTo>
                  <a:lnTo>
                    <a:pt x="186" y="804"/>
                  </a:lnTo>
                  <a:lnTo>
                    <a:pt x="186" y="810"/>
                  </a:lnTo>
                  <a:lnTo>
                    <a:pt x="192" y="816"/>
                  </a:lnTo>
                  <a:lnTo>
                    <a:pt x="192" y="828"/>
                  </a:lnTo>
                  <a:lnTo>
                    <a:pt x="192" y="834"/>
                  </a:lnTo>
                  <a:lnTo>
                    <a:pt x="186" y="834"/>
                  </a:lnTo>
                  <a:lnTo>
                    <a:pt x="186" y="828"/>
                  </a:lnTo>
                  <a:lnTo>
                    <a:pt x="180" y="822"/>
                  </a:lnTo>
                  <a:lnTo>
                    <a:pt x="180" y="816"/>
                  </a:lnTo>
                  <a:lnTo>
                    <a:pt x="180" y="810"/>
                  </a:lnTo>
                  <a:lnTo>
                    <a:pt x="174" y="810"/>
                  </a:lnTo>
                  <a:lnTo>
                    <a:pt x="174" y="804"/>
                  </a:lnTo>
                  <a:lnTo>
                    <a:pt x="174" y="798"/>
                  </a:lnTo>
                  <a:lnTo>
                    <a:pt x="174" y="792"/>
                  </a:lnTo>
                  <a:lnTo>
                    <a:pt x="168" y="786"/>
                  </a:lnTo>
                  <a:lnTo>
                    <a:pt x="168" y="780"/>
                  </a:lnTo>
                  <a:lnTo>
                    <a:pt x="162" y="780"/>
                  </a:lnTo>
                  <a:lnTo>
                    <a:pt x="168" y="774"/>
                  </a:lnTo>
                  <a:lnTo>
                    <a:pt x="168" y="768"/>
                  </a:lnTo>
                  <a:lnTo>
                    <a:pt x="174" y="768"/>
                  </a:lnTo>
                  <a:lnTo>
                    <a:pt x="168" y="768"/>
                  </a:lnTo>
                  <a:lnTo>
                    <a:pt x="162" y="774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50" y="774"/>
                  </a:lnTo>
                  <a:lnTo>
                    <a:pt x="144" y="774"/>
                  </a:lnTo>
                  <a:lnTo>
                    <a:pt x="144" y="768"/>
                  </a:lnTo>
                  <a:lnTo>
                    <a:pt x="144" y="762"/>
                  </a:lnTo>
                  <a:lnTo>
                    <a:pt x="138" y="756"/>
                  </a:lnTo>
                  <a:lnTo>
                    <a:pt x="132" y="756"/>
                  </a:lnTo>
                  <a:lnTo>
                    <a:pt x="138" y="756"/>
                  </a:lnTo>
                  <a:lnTo>
                    <a:pt x="138" y="762"/>
                  </a:lnTo>
                  <a:lnTo>
                    <a:pt x="138" y="768"/>
                  </a:lnTo>
                  <a:lnTo>
                    <a:pt x="144" y="768"/>
                  </a:lnTo>
                  <a:lnTo>
                    <a:pt x="144" y="774"/>
                  </a:lnTo>
                  <a:lnTo>
                    <a:pt x="150" y="780"/>
                  </a:lnTo>
                  <a:lnTo>
                    <a:pt x="156" y="780"/>
                  </a:lnTo>
                  <a:lnTo>
                    <a:pt x="156" y="786"/>
                  </a:lnTo>
                  <a:lnTo>
                    <a:pt x="162" y="786"/>
                  </a:lnTo>
                  <a:lnTo>
                    <a:pt x="168" y="792"/>
                  </a:lnTo>
                  <a:lnTo>
                    <a:pt x="168" y="798"/>
                  </a:lnTo>
                  <a:lnTo>
                    <a:pt x="168" y="804"/>
                  </a:lnTo>
                  <a:lnTo>
                    <a:pt x="174" y="810"/>
                  </a:lnTo>
                  <a:lnTo>
                    <a:pt x="174" y="816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68" y="828"/>
                  </a:lnTo>
                  <a:lnTo>
                    <a:pt x="168" y="834"/>
                  </a:lnTo>
                  <a:lnTo>
                    <a:pt x="174" y="840"/>
                  </a:lnTo>
                  <a:lnTo>
                    <a:pt x="180" y="840"/>
                  </a:lnTo>
                  <a:lnTo>
                    <a:pt x="180" y="846"/>
                  </a:lnTo>
                  <a:lnTo>
                    <a:pt x="186" y="846"/>
                  </a:lnTo>
                  <a:lnTo>
                    <a:pt x="186" y="852"/>
                  </a:lnTo>
                  <a:lnTo>
                    <a:pt x="186" y="858"/>
                  </a:lnTo>
                  <a:lnTo>
                    <a:pt x="186" y="864"/>
                  </a:lnTo>
                  <a:lnTo>
                    <a:pt x="192" y="864"/>
                  </a:lnTo>
                  <a:lnTo>
                    <a:pt x="192" y="870"/>
                  </a:lnTo>
                  <a:lnTo>
                    <a:pt x="192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6" y="888"/>
                  </a:lnTo>
                  <a:lnTo>
                    <a:pt x="180" y="888"/>
                  </a:lnTo>
                  <a:lnTo>
                    <a:pt x="174" y="888"/>
                  </a:lnTo>
                  <a:lnTo>
                    <a:pt x="168" y="894"/>
                  </a:lnTo>
                  <a:lnTo>
                    <a:pt x="162" y="894"/>
                  </a:lnTo>
                  <a:lnTo>
                    <a:pt x="156" y="894"/>
                  </a:lnTo>
                  <a:lnTo>
                    <a:pt x="150" y="894"/>
                  </a:lnTo>
                  <a:lnTo>
                    <a:pt x="144" y="894"/>
                  </a:lnTo>
                  <a:lnTo>
                    <a:pt x="144" y="900"/>
                  </a:lnTo>
                  <a:lnTo>
                    <a:pt x="138" y="894"/>
                  </a:lnTo>
                  <a:lnTo>
                    <a:pt x="138" y="900"/>
                  </a:lnTo>
                  <a:lnTo>
                    <a:pt x="132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6" y="882"/>
                  </a:lnTo>
                  <a:lnTo>
                    <a:pt x="126" y="876"/>
                  </a:lnTo>
                  <a:lnTo>
                    <a:pt x="120" y="876"/>
                  </a:lnTo>
                  <a:lnTo>
                    <a:pt x="126" y="870"/>
                  </a:lnTo>
                  <a:lnTo>
                    <a:pt x="126" y="864"/>
                  </a:lnTo>
                  <a:lnTo>
                    <a:pt x="126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26" y="828"/>
                  </a:lnTo>
                  <a:lnTo>
                    <a:pt x="126" y="822"/>
                  </a:lnTo>
                  <a:lnTo>
                    <a:pt x="126" y="816"/>
                  </a:lnTo>
                  <a:lnTo>
                    <a:pt x="126" y="810"/>
                  </a:lnTo>
                  <a:lnTo>
                    <a:pt x="126" y="804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20" y="792"/>
                  </a:lnTo>
                  <a:lnTo>
                    <a:pt x="114" y="792"/>
                  </a:lnTo>
                  <a:lnTo>
                    <a:pt x="114" y="786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96" y="780"/>
                  </a:lnTo>
                  <a:lnTo>
                    <a:pt x="96" y="774"/>
                  </a:lnTo>
                  <a:lnTo>
                    <a:pt x="90" y="774"/>
                  </a:lnTo>
                  <a:lnTo>
                    <a:pt x="90" y="768"/>
                  </a:lnTo>
                  <a:close/>
                  <a:moveTo>
                    <a:pt x="96" y="780"/>
                  </a:moveTo>
                  <a:lnTo>
                    <a:pt x="102" y="780"/>
                  </a:lnTo>
                  <a:lnTo>
                    <a:pt x="102" y="786"/>
                  </a:lnTo>
                  <a:lnTo>
                    <a:pt x="108" y="786"/>
                  </a:lnTo>
                  <a:lnTo>
                    <a:pt x="114" y="792"/>
                  </a:lnTo>
                  <a:lnTo>
                    <a:pt x="120" y="798"/>
                  </a:lnTo>
                  <a:lnTo>
                    <a:pt x="120" y="804"/>
                  </a:lnTo>
                  <a:lnTo>
                    <a:pt x="126" y="810"/>
                  </a:lnTo>
                  <a:lnTo>
                    <a:pt x="126" y="816"/>
                  </a:lnTo>
                  <a:lnTo>
                    <a:pt x="126" y="822"/>
                  </a:lnTo>
                  <a:lnTo>
                    <a:pt x="120" y="828"/>
                  </a:lnTo>
                  <a:lnTo>
                    <a:pt x="120" y="840"/>
                  </a:lnTo>
                  <a:lnTo>
                    <a:pt x="120" y="852"/>
                  </a:lnTo>
                  <a:lnTo>
                    <a:pt x="120" y="858"/>
                  </a:lnTo>
                  <a:lnTo>
                    <a:pt x="120" y="864"/>
                  </a:lnTo>
                  <a:lnTo>
                    <a:pt x="120" y="870"/>
                  </a:lnTo>
                  <a:lnTo>
                    <a:pt x="114" y="870"/>
                  </a:lnTo>
                  <a:lnTo>
                    <a:pt x="108" y="870"/>
                  </a:lnTo>
                  <a:lnTo>
                    <a:pt x="108" y="876"/>
                  </a:lnTo>
                  <a:lnTo>
                    <a:pt x="114" y="876"/>
                  </a:lnTo>
                  <a:lnTo>
                    <a:pt x="120" y="876"/>
                  </a:lnTo>
                  <a:lnTo>
                    <a:pt x="120" y="882"/>
                  </a:lnTo>
                  <a:lnTo>
                    <a:pt x="114" y="888"/>
                  </a:lnTo>
                  <a:lnTo>
                    <a:pt x="120" y="888"/>
                  </a:lnTo>
                  <a:lnTo>
                    <a:pt x="120" y="894"/>
                  </a:lnTo>
                  <a:lnTo>
                    <a:pt x="114" y="894"/>
                  </a:lnTo>
                  <a:lnTo>
                    <a:pt x="108" y="894"/>
                  </a:lnTo>
                  <a:lnTo>
                    <a:pt x="96" y="894"/>
                  </a:lnTo>
                  <a:lnTo>
                    <a:pt x="96" y="882"/>
                  </a:lnTo>
                  <a:lnTo>
                    <a:pt x="96" y="876"/>
                  </a:lnTo>
                  <a:lnTo>
                    <a:pt x="84" y="870"/>
                  </a:lnTo>
                  <a:lnTo>
                    <a:pt x="72" y="864"/>
                  </a:lnTo>
                  <a:lnTo>
                    <a:pt x="72" y="852"/>
                  </a:lnTo>
                  <a:lnTo>
                    <a:pt x="72" y="840"/>
                  </a:lnTo>
                  <a:lnTo>
                    <a:pt x="78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90" y="792"/>
                  </a:lnTo>
                  <a:lnTo>
                    <a:pt x="96" y="780"/>
                  </a:lnTo>
                  <a:close/>
                  <a:moveTo>
                    <a:pt x="492" y="810"/>
                  </a:moveTo>
                  <a:lnTo>
                    <a:pt x="498" y="810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510" y="792"/>
                  </a:lnTo>
                  <a:lnTo>
                    <a:pt x="516" y="786"/>
                  </a:lnTo>
                  <a:lnTo>
                    <a:pt x="522" y="780"/>
                  </a:lnTo>
                  <a:lnTo>
                    <a:pt x="522" y="774"/>
                  </a:lnTo>
                  <a:lnTo>
                    <a:pt x="528" y="768"/>
                  </a:lnTo>
                  <a:lnTo>
                    <a:pt x="528" y="762"/>
                  </a:lnTo>
                  <a:lnTo>
                    <a:pt x="534" y="762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46" y="780"/>
                  </a:lnTo>
                  <a:lnTo>
                    <a:pt x="552" y="786"/>
                  </a:lnTo>
                  <a:lnTo>
                    <a:pt x="558" y="786"/>
                  </a:lnTo>
                  <a:lnTo>
                    <a:pt x="564" y="786"/>
                  </a:lnTo>
                  <a:lnTo>
                    <a:pt x="576" y="786"/>
                  </a:lnTo>
                  <a:lnTo>
                    <a:pt x="582" y="786"/>
                  </a:lnTo>
                  <a:lnTo>
                    <a:pt x="588" y="786"/>
                  </a:lnTo>
                  <a:lnTo>
                    <a:pt x="594" y="786"/>
                  </a:lnTo>
                  <a:lnTo>
                    <a:pt x="588" y="792"/>
                  </a:lnTo>
                  <a:lnTo>
                    <a:pt x="588" y="798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82" y="822"/>
                  </a:lnTo>
                  <a:lnTo>
                    <a:pt x="588" y="828"/>
                  </a:lnTo>
                  <a:lnTo>
                    <a:pt x="588" y="834"/>
                  </a:lnTo>
                  <a:lnTo>
                    <a:pt x="582" y="840"/>
                  </a:lnTo>
                  <a:lnTo>
                    <a:pt x="570" y="840"/>
                  </a:lnTo>
                  <a:lnTo>
                    <a:pt x="558" y="846"/>
                  </a:lnTo>
                  <a:lnTo>
                    <a:pt x="552" y="846"/>
                  </a:lnTo>
                  <a:lnTo>
                    <a:pt x="534" y="852"/>
                  </a:lnTo>
                  <a:lnTo>
                    <a:pt x="522" y="858"/>
                  </a:lnTo>
                  <a:lnTo>
                    <a:pt x="510" y="858"/>
                  </a:lnTo>
                  <a:lnTo>
                    <a:pt x="498" y="864"/>
                  </a:lnTo>
                  <a:lnTo>
                    <a:pt x="474" y="864"/>
                  </a:lnTo>
                  <a:lnTo>
                    <a:pt x="468" y="858"/>
                  </a:lnTo>
                  <a:lnTo>
                    <a:pt x="468" y="852"/>
                  </a:lnTo>
                  <a:lnTo>
                    <a:pt x="468" y="846"/>
                  </a:lnTo>
                  <a:lnTo>
                    <a:pt x="474" y="840"/>
                  </a:lnTo>
                  <a:lnTo>
                    <a:pt x="474" y="834"/>
                  </a:lnTo>
                  <a:lnTo>
                    <a:pt x="480" y="828"/>
                  </a:lnTo>
                  <a:lnTo>
                    <a:pt x="492" y="822"/>
                  </a:lnTo>
                  <a:lnTo>
                    <a:pt x="492" y="810"/>
                  </a:lnTo>
                  <a:close/>
                  <a:moveTo>
                    <a:pt x="384" y="720"/>
                  </a:moveTo>
                  <a:lnTo>
                    <a:pt x="384" y="726"/>
                  </a:lnTo>
                  <a:lnTo>
                    <a:pt x="390" y="726"/>
                  </a:lnTo>
                  <a:lnTo>
                    <a:pt x="396" y="726"/>
                  </a:lnTo>
                  <a:lnTo>
                    <a:pt x="402" y="732"/>
                  </a:lnTo>
                  <a:lnTo>
                    <a:pt x="408" y="732"/>
                  </a:lnTo>
                  <a:lnTo>
                    <a:pt x="414" y="732"/>
                  </a:lnTo>
                  <a:lnTo>
                    <a:pt x="414" y="738"/>
                  </a:lnTo>
                  <a:lnTo>
                    <a:pt x="414" y="744"/>
                  </a:lnTo>
                  <a:lnTo>
                    <a:pt x="414" y="750"/>
                  </a:lnTo>
                  <a:lnTo>
                    <a:pt x="414" y="756"/>
                  </a:lnTo>
                  <a:lnTo>
                    <a:pt x="414" y="762"/>
                  </a:lnTo>
                  <a:lnTo>
                    <a:pt x="420" y="768"/>
                  </a:lnTo>
                  <a:lnTo>
                    <a:pt x="420" y="774"/>
                  </a:lnTo>
                  <a:lnTo>
                    <a:pt x="426" y="780"/>
                  </a:lnTo>
                  <a:lnTo>
                    <a:pt x="426" y="786"/>
                  </a:lnTo>
                  <a:lnTo>
                    <a:pt x="420" y="786"/>
                  </a:lnTo>
                  <a:lnTo>
                    <a:pt x="420" y="792"/>
                  </a:lnTo>
                  <a:lnTo>
                    <a:pt x="420" y="798"/>
                  </a:lnTo>
                  <a:lnTo>
                    <a:pt x="420" y="804"/>
                  </a:lnTo>
                  <a:lnTo>
                    <a:pt x="426" y="804"/>
                  </a:lnTo>
                  <a:lnTo>
                    <a:pt x="426" y="810"/>
                  </a:lnTo>
                  <a:lnTo>
                    <a:pt x="426" y="816"/>
                  </a:lnTo>
                  <a:lnTo>
                    <a:pt x="432" y="816"/>
                  </a:lnTo>
                  <a:lnTo>
                    <a:pt x="438" y="816"/>
                  </a:lnTo>
                  <a:lnTo>
                    <a:pt x="438" y="822"/>
                  </a:lnTo>
                  <a:lnTo>
                    <a:pt x="432" y="822"/>
                  </a:lnTo>
                  <a:lnTo>
                    <a:pt x="426" y="828"/>
                  </a:lnTo>
                  <a:lnTo>
                    <a:pt x="420" y="828"/>
                  </a:lnTo>
                  <a:lnTo>
                    <a:pt x="414" y="828"/>
                  </a:lnTo>
                  <a:lnTo>
                    <a:pt x="408" y="828"/>
                  </a:lnTo>
                  <a:lnTo>
                    <a:pt x="402" y="828"/>
                  </a:lnTo>
                  <a:lnTo>
                    <a:pt x="402" y="822"/>
                  </a:lnTo>
                  <a:lnTo>
                    <a:pt x="396" y="822"/>
                  </a:lnTo>
                  <a:lnTo>
                    <a:pt x="402" y="822"/>
                  </a:lnTo>
                  <a:lnTo>
                    <a:pt x="402" y="816"/>
                  </a:lnTo>
                  <a:lnTo>
                    <a:pt x="396" y="816"/>
                  </a:lnTo>
                  <a:lnTo>
                    <a:pt x="396" y="810"/>
                  </a:lnTo>
                  <a:lnTo>
                    <a:pt x="396" y="804"/>
                  </a:lnTo>
                  <a:lnTo>
                    <a:pt x="390" y="798"/>
                  </a:lnTo>
                  <a:lnTo>
                    <a:pt x="390" y="792"/>
                  </a:lnTo>
                  <a:lnTo>
                    <a:pt x="390" y="786"/>
                  </a:lnTo>
                  <a:lnTo>
                    <a:pt x="390" y="780"/>
                  </a:lnTo>
                  <a:lnTo>
                    <a:pt x="390" y="774"/>
                  </a:lnTo>
                  <a:lnTo>
                    <a:pt x="390" y="768"/>
                  </a:lnTo>
                  <a:lnTo>
                    <a:pt x="390" y="762"/>
                  </a:lnTo>
                  <a:lnTo>
                    <a:pt x="384" y="756"/>
                  </a:lnTo>
                  <a:lnTo>
                    <a:pt x="384" y="750"/>
                  </a:lnTo>
                  <a:lnTo>
                    <a:pt x="384" y="744"/>
                  </a:lnTo>
                  <a:lnTo>
                    <a:pt x="378" y="744"/>
                  </a:lnTo>
                  <a:lnTo>
                    <a:pt x="384" y="744"/>
                  </a:lnTo>
                  <a:lnTo>
                    <a:pt x="384" y="738"/>
                  </a:lnTo>
                  <a:lnTo>
                    <a:pt x="378" y="738"/>
                  </a:lnTo>
                  <a:lnTo>
                    <a:pt x="378" y="732"/>
                  </a:lnTo>
                  <a:lnTo>
                    <a:pt x="378" y="726"/>
                  </a:lnTo>
                  <a:lnTo>
                    <a:pt x="378" y="720"/>
                  </a:lnTo>
                  <a:lnTo>
                    <a:pt x="384" y="720"/>
                  </a:lnTo>
                  <a:close/>
                  <a:moveTo>
                    <a:pt x="330" y="738"/>
                  </a:moveTo>
                  <a:lnTo>
                    <a:pt x="336" y="732"/>
                  </a:lnTo>
                  <a:lnTo>
                    <a:pt x="336" y="726"/>
                  </a:lnTo>
                  <a:lnTo>
                    <a:pt x="342" y="720"/>
                  </a:lnTo>
                  <a:lnTo>
                    <a:pt x="348" y="720"/>
                  </a:lnTo>
                  <a:lnTo>
                    <a:pt x="360" y="720"/>
                  </a:lnTo>
                  <a:lnTo>
                    <a:pt x="366" y="726"/>
                  </a:lnTo>
                  <a:lnTo>
                    <a:pt x="372" y="732"/>
                  </a:lnTo>
                  <a:lnTo>
                    <a:pt x="372" y="738"/>
                  </a:lnTo>
                  <a:lnTo>
                    <a:pt x="366" y="750"/>
                  </a:lnTo>
                  <a:lnTo>
                    <a:pt x="372" y="756"/>
                  </a:lnTo>
                  <a:lnTo>
                    <a:pt x="372" y="762"/>
                  </a:lnTo>
                  <a:lnTo>
                    <a:pt x="372" y="768"/>
                  </a:lnTo>
                  <a:lnTo>
                    <a:pt x="372" y="774"/>
                  </a:lnTo>
                  <a:lnTo>
                    <a:pt x="372" y="780"/>
                  </a:lnTo>
                  <a:lnTo>
                    <a:pt x="372" y="774"/>
                  </a:lnTo>
                  <a:lnTo>
                    <a:pt x="366" y="768"/>
                  </a:lnTo>
                  <a:lnTo>
                    <a:pt x="366" y="762"/>
                  </a:lnTo>
                  <a:lnTo>
                    <a:pt x="366" y="756"/>
                  </a:lnTo>
                  <a:lnTo>
                    <a:pt x="360" y="756"/>
                  </a:lnTo>
                  <a:lnTo>
                    <a:pt x="360" y="750"/>
                  </a:lnTo>
                  <a:lnTo>
                    <a:pt x="354" y="750"/>
                  </a:lnTo>
                  <a:lnTo>
                    <a:pt x="348" y="744"/>
                  </a:lnTo>
                  <a:lnTo>
                    <a:pt x="342" y="744"/>
                  </a:lnTo>
                  <a:lnTo>
                    <a:pt x="336" y="744"/>
                  </a:lnTo>
                  <a:lnTo>
                    <a:pt x="330" y="73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01" name="Freeform 6">
              <a:extLst>
                <a:ext uri="{FF2B5EF4-FFF2-40B4-BE49-F238E27FC236}">
                  <a16:creationId xmlns:a16="http://schemas.microsoft.com/office/drawing/2014/main" id="{0656C385-F30A-4AC8-AE9F-B1F66208B38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3123" y="4163918"/>
              <a:ext cx="266107" cy="248252"/>
            </a:xfrm>
            <a:custGeom>
              <a:avLst/>
              <a:gdLst>
                <a:gd name="T0" fmla="*/ 33 w 504"/>
                <a:gd name="T1" fmla="*/ 41 h 468"/>
                <a:gd name="T2" fmla="*/ 26 w 504"/>
                <a:gd name="T3" fmla="*/ 39 h 468"/>
                <a:gd name="T4" fmla="*/ 21 w 504"/>
                <a:gd name="T5" fmla="*/ 38 h 468"/>
                <a:gd name="T6" fmla="*/ 18 w 504"/>
                <a:gd name="T7" fmla="*/ 38 h 468"/>
                <a:gd name="T8" fmla="*/ 15 w 504"/>
                <a:gd name="T9" fmla="*/ 39 h 468"/>
                <a:gd name="T10" fmla="*/ 12 w 504"/>
                <a:gd name="T11" fmla="*/ 38 h 468"/>
                <a:gd name="T12" fmla="*/ 9 w 504"/>
                <a:gd name="T13" fmla="*/ 37 h 468"/>
                <a:gd name="T14" fmla="*/ 7 w 504"/>
                <a:gd name="T15" fmla="*/ 32 h 468"/>
                <a:gd name="T16" fmla="*/ 6 w 504"/>
                <a:gd name="T17" fmla="*/ 26 h 468"/>
                <a:gd name="T18" fmla="*/ 3 w 504"/>
                <a:gd name="T19" fmla="*/ 24 h 468"/>
                <a:gd name="T20" fmla="*/ 1 w 504"/>
                <a:gd name="T21" fmla="*/ 24 h 468"/>
                <a:gd name="T22" fmla="*/ 2 w 504"/>
                <a:gd name="T23" fmla="*/ 18 h 468"/>
                <a:gd name="T24" fmla="*/ 1 w 504"/>
                <a:gd name="T25" fmla="*/ 17 h 468"/>
                <a:gd name="T26" fmla="*/ 0 w 504"/>
                <a:gd name="T27" fmla="*/ 17 h 468"/>
                <a:gd name="T28" fmla="*/ 0 w 504"/>
                <a:gd name="T29" fmla="*/ 15 h 468"/>
                <a:gd name="T30" fmla="*/ 2 w 504"/>
                <a:gd name="T31" fmla="*/ 12 h 468"/>
                <a:gd name="T32" fmla="*/ 4 w 504"/>
                <a:gd name="T33" fmla="*/ 10 h 468"/>
                <a:gd name="T34" fmla="*/ 6 w 504"/>
                <a:gd name="T35" fmla="*/ 8 h 468"/>
                <a:gd name="T36" fmla="*/ 8 w 504"/>
                <a:gd name="T37" fmla="*/ 8 h 468"/>
                <a:gd name="T38" fmla="*/ 10 w 504"/>
                <a:gd name="T39" fmla="*/ 9 h 468"/>
                <a:gd name="T40" fmla="*/ 12 w 504"/>
                <a:gd name="T41" fmla="*/ 10 h 468"/>
                <a:gd name="T42" fmla="*/ 12 w 504"/>
                <a:gd name="T43" fmla="*/ 11 h 468"/>
                <a:gd name="T44" fmla="*/ 14 w 504"/>
                <a:gd name="T45" fmla="*/ 8 h 468"/>
                <a:gd name="T46" fmla="*/ 15 w 504"/>
                <a:gd name="T47" fmla="*/ 7 h 468"/>
                <a:gd name="T48" fmla="*/ 17 w 504"/>
                <a:gd name="T49" fmla="*/ 6 h 468"/>
                <a:gd name="T50" fmla="*/ 19 w 504"/>
                <a:gd name="T51" fmla="*/ 3 h 468"/>
                <a:gd name="T52" fmla="*/ 20 w 504"/>
                <a:gd name="T53" fmla="*/ 2 h 468"/>
                <a:gd name="T54" fmla="*/ 22 w 504"/>
                <a:gd name="T55" fmla="*/ 1 h 468"/>
                <a:gd name="T56" fmla="*/ 27 w 504"/>
                <a:gd name="T57" fmla="*/ 1 h 468"/>
                <a:gd name="T58" fmla="*/ 30 w 504"/>
                <a:gd name="T59" fmla="*/ 2 h 468"/>
                <a:gd name="T60" fmla="*/ 31 w 504"/>
                <a:gd name="T61" fmla="*/ 2 h 468"/>
                <a:gd name="T62" fmla="*/ 34 w 504"/>
                <a:gd name="T63" fmla="*/ 0 h 468"/>
                <a:gd name="T64" fmla="*/ 37 w 504"/>
                <a:gd name="T65" fmla="*/ 1 h 468"/>
                <a:gd name="T66" fmla="*/ 41 w 504"/>
                <a:gd name="T67" fmla="*/ 2 h 468"/>
                <a:gd name="T68" fmla="*/ 42 w 504"/>
                <a:gd name="T69" fmla="*/ 4 h 468"/>
                <a:gd name="T70" fmla="*/ 42 w 504"/>
                <a:gd name="T71" fmla="*/ 10 h 468"/>
                <a:gd name="T72" fmla="*/ 41 w 504"/>
                <a:gd name="T73" fmla="*/ 14 h 468"/>
                <a:gd name="T74" fmla="*/ 42 w 504"/>
                <a:gd name="T75" fmla="*/ 15 h 468"/>
                <a:gd name="T76" fmla="*/ 44 w 504"/>
                <a:gd name="T77" fmla="*/ 18 h 468"/>
                <a:gd name="T78" fmla="*/ 43 w 504"/>
                <a:gd name="T79" fmla="*/ 19 h 468"/>
                <a:gd name="T80" fmla="*/ 42 w 504"/>
                <a:gd name="T81" fmla="*/ 21 h 468"/>
                <a:gd name="T82" fmla="*/ 42 w 504"/>
                <a:gd name="T83" fmla="*/ 23 h 468"/>
                <a:gd name="T84" fmla="*/ 39 w 504"/>
                <a:gd name="T85" fmla="*/ 27 h 468"/>
                <a:gd name="T86" fmla="*/ 38 w 504"/>
                <a:gd name="T87" fmla="*/ 29 h 468"/>
                <a:gd name="T88" fmla="*/ 38 w 504"/>
                <a:gd name="T89" fmla="*/ 31 h 468"/>
                <a:gd name="T90" fmla="*/ 36 w 504"/>
                <a:gd name="T91" fmla="*/ 32 h 468"/>
                <a:gd name="T92" fmla="*/ 35 w 504"/>
                <a:gd name="T93" fmla="*/ 34 h 468"/>
                <a:gd name="T94" fmla="*/ 34 w 504"/>
                <a:gd name="T95" fmla="*/ 38 h 46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04"/>
                <a:gd name="T145" fmla="*/ 0 h 468"/>
                <a:gd name="T146" fmla="*/ 504 w 504"/>
                <a:gd name="T147" fmla="*/ 468 h 46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04" h="468">
                  <a:moveTo>
                    <a:pt x="390" y="456"/>
                  </a:moveTo>
                  <a:lnTo>
                    <a:pt x="384" y="468"/>
                  </a:lnTo>
                  <a:lnTo>
                    <a:pt x="378" y="468"/>
                  </a:lnTo>
                  <a:lnTo>
                    <a:pt x="354" y="468"/>
                  </a:lnTo>
                  <a:lnTo>
                    <a:pt x="348" y="462"/>
                  </a:lnTo>
                  <a:lnTo>
                    <a:pt x="300" y="456"/>
                  </a:lnTo>
                  <a:lnTo>
                    <a:pt x="270" y="444"/>
                  </a:lnTo>
                  <a:lnTo>
                    <a:pt x="252" y="438"/>
                  </a:lnTo>
                  <a:lnTo>
                    <a:pt x="240" y="438"/>
                  </a:lnTo>
                  <a:lnTo>
                    <a:pt x="234" y="438"/>
                  </a:lnTo>
                  <a:lnTo>
                    <a:pt x="228" y="444"/>
                  </a:lnTo>
                  <a:lnTo>
                    <a:pt x="210" y="444"/>
                  </a:lnTo>
                  <a:lnTo>
                    <a:pt x="198" y="444"/>
                  </a:lnTo>
                  <a:lnTo>
                    <a:pt x="198" y="450"/>
                  </a:lnTo>
                  <a:lnTo>
                    <a:pt x="168" y="456"/>
                  </a:lnTo>
                  <a:lnTo>
                    <a:pt x="150" y="450"/>
                  </a:lnTo>
                  <a:lnTo>
                    <a:pt x="144" y="444"/>
                  </a:lnTo>
                  <a:lnTo>
                    <a:pt x="132" y="438"/>
                  </a:lnTo>
                  <a:lnTo>
                    <a:pt x="138" y="432"/>
                  </a:lnTo>
                  <a:lnTo>
                    <a:pt x="114" y="432"/>
                  </a:lnTo>
                  <a:lnTo>
                    <a:pt x="102" y="426"/>
                  </a:lnTo>
                  <a:lnTo>
                    <a:pt x="90" y="414"/>
                  </a:lnTo>
                  <a:lnTo>
                    <a:pt x="72" y="402"/>
                  </a:lnTo>
                  <a:lnTo>
                    <a:pt x="78" y="366"/>
                  </a:lnTo>
                  <a:lnTo>
                    <a:pt x="78" y="330"/>
                  </a:lnTo>
                  <a:lnTo>
                    <a:pt x="66" y="318"/>
                  </a:lnTo>
                  <a:lnTo>
                    <a:pt x="66" y="300"/>
                  </a:lnTo>
                  <a:lnTo>
                    <a:pt x="66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30" y="282"/>
                  </a:lnTo>
                  <a:lnTo>
                    <a:pt x="24" y="282"/>
                  </a:lnTo>
                  <a:lnTo>
                    <a:pt x="12" y="276"/>
                  </a:lnTo>
                  <a:lnTo>
                    <a:pt x="0" y="282"/>
                  </a:lnTo>
                  <a:lnTo>
                    <a:pt x="12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2" y="198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6" y="180"/>
                  </a:lnTo>
                  <a:lnTo>
                    <a:pt x="12" y="186"/>
                  </a:lnTo>
                  <a:lnTo>
                    <a:pt x="18" y="138"/>
                  </a:lnTo>
                  <a:lnTo>
                    <a:pt x="24" y="126"/>
                  </a:lnTo>
                  <a:lnTo>
                    <a:pt x="30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20" y="102"/>
                  </a:lnTo>
                  <a:lnTo>
                    <a:pt x="126" y="108"/>
                  </a:lnTo>
                  <a:lnTo>
                    <a:pt x="126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0"/>
                  </a:lnTo>
                  <a:lnTo>
                    <a:pt x="156" y="96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16" y="42"/>
                  </a:lnTo>
                  <a:lnTo>
                    <a:pt x="222" y="36"/>
                  </a:lnTo>
                  <a:lnTo>
                    <a:pt x="228" y="36"/>
                  </a:lnTo>
                  <a:lnTo>
                    <a:pt x="228" y="30"/>
                  </a:lnTo>
                  <a:lnTo>
                    <a:pt x="228" y="24"/>
                  </a:lnTo>
                  <a:lnTo>
                    <a:pt x="246" y="18"/>
                  </a:lnTo>
                  <a:lnTo>
                    <a:pt x="252" y="18"/>
                  </a:lnTo>
                  <a:lnTo>
                    <a:pt x="258" y="12"/>
                  </a:lnTo>
                  <a:lnTo>
                    <a:pt x="270" y="6"/>
                  </a:lnTo>
                  <a:lnTo>
                    <a:pt x="288" y="6"/>
                  </a:lnTo>
                  <a:lnTo>
                    <a:pt x="312" y="12"/>
                  </a:lnTo>
                  <a:lnTo>
                    <a:pt x="324" y="12"/>
                  </a:lnTo>
                  <a:lnTo>
                    <a:pt x="336" y="18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14" y="12"/>
                  </a:lnTo>
                  <a:lnTo>
                    <a:pt x="426" y="12"/>
                  </a:lnTo>
                  <a:lnTo>
                    <a:pt x="444" y="18"/>
                  </a:lnTo>
                  <a:lnTo>
                    <a:pt x="462" y="18"/>
                  </a:lnTo>
                  <a:lnTo>
                    <a:pt x="474" y="18"/>
                  </a:lnTo>
                  <a:lnTo>
                    <a:pt x="480" y="18"/>
                  </a:lnTo>
                  <a:lnTo>
                    <a:pt x="486" y="36"/>
                  </a:lnTo>
                  <a:lnTo>
                    <a:pt x="480" y="42"/>
                  </a:lnTo>
                  <a:lnTo>
                    <a:pt x="480" y="54"/>
                  </a:lnTo>
                  <a:lnTo>
                    <a:pt x="486" y="78"/>
                  </a:lnTo>
                  <a:lnTo>
                    <a:pt x="486" y="114"/>
                  </a:lnTo>
                  <a:lnTo>
                    <a:pt x="486" y="150"/>
                  </a:lnTo>
                  <a:lnTo>
                    <a:pt x="468" y="150"/>
                  </a:lnTo>
                  <a:lnTo>
                    <a:pt x="474" y="162"/>
                  </a:lnTo>
                  <a:lnTo>
                    <a:pt x="480" y="162"/>
                  </a:lnTo>
                  <a:lnTo>
                    <a:pt x="486" y="174"/>
                  </a:lnTo>
                  <a:lnTo>
                    <a:pt x="492" y="174"/>
                  </a:lnTo>
                  <a:lnTo>
                    <a:pt x="492" y="192"/>
                  </a:lnTo>
                  <a:lnTo>
                    <a:pt x="498" y="198"/>
                  </a:lnTo>
                  <a:lnTo>
                    <a:pt x="504" y="204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8" y="222"/>
                  </a:lnTo>
                  <a:lnTo>
                    <a:pt x="492" y="228"/>
                  </a:lnTo>
                  <a:lnTo>
                    <a:pt x="492" y="234"/>
                  </a:lnTo>
                  <a:lnTo>
                    <a:pt x="492" y="240"/>
                  </a:lnTo>
                  <a:lnTo>
                    <a:pt x="486" y="246"/>
                  </a:lnTo>
                  <a:lnTo>
                    <a:pt x="486" y="258"/>
                  </a:lnTo>
                  <a:lnTo>
                    <a:pt x="480" y="264"/>
                  </a:lnTo>
                  <a:lnTo>
                    <a:pt x="474" y="276"/>
                  </a:lnTo>
                  <a:lnTo>
                    <a:pt x="468" y="288"/>
                  </a:lnTo>
                  <a:lnTo>
                    <a:pt x="456" y="306"/>
                  </a:lnTo>
                  <a:lnTo>
                    <a:pt x="456" y="312"/>
                  </a:lnTo>
                  <a:lnTo>
                    <a:pt x="444" y="318"/>
                  </a:lnTo>
                  <a:lnTo>
                    <a:pt x="432" y="336"/>
                  </a:lnTo>
                  <a:lnTo>
                    <a:pt x="432" y="342"/>
                  </a:lnTo>
                  <a:lnTo>
                    <a:pt x="432" y="348"/>
                  </a:lnTo>
                  <a:lnTo>
                    <a:pt x="432" y="354"/>
                  </a:lnTo>
                  <a:lnTo>
                    <a:pt x="426" y="366"/>
                  </a:lnTo>
                  <a:lnTo>
                    <a:pt x="420" y="366"/>
                  </a:lnTo>
                  <a:lnTo>
                    <a:pt x="420" y="372"/>
                  </a:lnTo>
                  <a:lnTo>
                    <a:pt x="414" y="378"/>
                  </a:lnTo>
                  <a:lnTo>
                    <a:pt x="414" y="390"/>
                  </a:lnTo>
                  <a:lnTo>
                    <a:pt x="408" y="390"/>
                  </a:lnTo>
                  <a:lnTo>
                    <a:pt x="408" y="402"/>
                  </a:lnTo>
                  <a:lnTo>
                    <a:pt x="402" y="414"/>
                  </a:lnTo>
                  <a:lnTo>
                    <a:pt x="396" y="438"/>
                  </a:lnTo>
                  <a:lnTo>
                    <a:pt x="396" y="444"/>
                  </a:lnTo>
                  <a:lnTo>
                    <a:pt x="390" y="45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11" name="Freeform 7">
              <a:extLst>
                <a:ext uri="{FF2B5EF4-FFF2-40B4-BE49-F238E27FC236}">
                  <a16:creationId xmlns:a16="http://schemas.microsoft.com/office/drawing/2014/main" id="{0D8DE62D-4554-4314-9F3A-7208D89B4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90838" y="4128134"/>
              <a:ext cx="283995" cy="411516"/>
            </a:xfrm>
            <a:custGeom>
              <a:avLst/>
              <a:gdLst>
                <a:gd name="T0" fmla="*/ 39 w 534"/>
                <a:gd name="T1" fmla="*/ 35 h 774"/>
                <a:gd name="T2" fmla="*/ 35 w 534"/>
                <a:gd name="T3" fmla="*/ 31 h 774"/>
                <a:gd name="T4" fmla="*/ 32 w 534"/>
                <a:gd name="T5" fmla="*/ 29 h 774"/>
                <a:gd name="T6" fmla="*/ 32 w 534"/>
                <a:gd name="T7" fmla="*/ 31 h 774"/>
                <a:gd name="T8" fmla="*/ 29 w 534"/>
                <a:gd name="T9" fmla="*/ 33 h 774"/>
                <a:gd name="T10" fmla="*/ 27 w 534"/>
                <a:gd name="T11" fmla="*/ 36 h 774"/>
                <a:gd name="T12" fmla="*/ 30 w 534"/>
                <a:gd name="T13" fmla="*/ 38 h 774"/>
                <a:gd name="T14" fmla="*/ 29 w 534"/>
                <a:gd name="T15" fmla="*/ 40 h 774"/>
                <a:gd name="T16" fmla="*/ 25 w 534"/>
                <a:gd name="T17" fmla="*/ 40 h 774"/>
                <a:gd name="T18" fmla="*/ 23 w 534"/>
                <a:gd name="T19" fmla="*/ 42 h 774"/>
                <a:gd name="T20" fmla="*/ 22 w 534"/>
                <a:gd name="T21" fmla="*/ 47 h 774"/>
                <a:gd name="T22" fmla="*/ 22 w 534"/>
                <a:gd name="T23" fmla="*/ 51 h 774"/>
                <a:gd name="T24" fmla="*/ 22 w 534"/>
                <a:gd name="T25" fmla="*/ 54 h 774"/>
                <a:gd name="T26" fmla="*/ 21 w 534"/>
                <a:gd name="T27" fmla="*/ 56 h 774"/>
                <a:gd name="T28" fmla="*/ 19 w 534"/>
                <a:gd name="T29" fmla="*/ 58 h 774"/>
                <a:gd name="T30" fmla="*/ 20 w 534"/>
                <a:gd name="T31" fmla="*/ 59 h 774"/>
                <a:gd name="T32" fmla="*/ 19 w 534"/>
                <a:gd name="T33" fmla="*/ 62 h 774"/>
                <a:gd name="T34" fmla="*/ 19 w 534"/>
                <a:gd name="T35" fmla="*/ 64 h 774"/>
                <a:gd name="T36" fmla="*/ 20 w 534"/>
                <a:gd name="T37" fmla="*/ 66 h 774"/>
                <a:gd name="T38" fmla="*/ 17 w 534"/>
                <a:gd name="T39" fmla="*/ 66 h 774"/>
                <a:gd name="T40" fmla="*/ 16 w 534"/>
                <a:gd name="T41" fmla="*/ 65 h 774"/>
                <a:gd name="T42" fmla="*/ 13 w 534"/>
                <a:gd name="T43" fmla="*/ 65 h 774"/>
                <a:gd name="T44" fmla="*/ 11 w 534"/>
                <a:gd name="T45" fmla="*/ 65 h 774"/>
                <a:gd name="T46" fmla="*/ 8 w 534"/>
                <a:gd name="T47" fmla="*/ 65 h 774"/>
                <a:gd name="T48" fmla="*/ 8 w 534"/>
                <a:gd name="T49" fmla="*/ 64 h 774"/>
                <a:gd name="T50" fmla="*/ 5 w 534"/>
                <a:gd name="T51" fmla="*/ 65 h 774"/>
                <a:gd name="T52" fmla="*/ 3 w 534"/>
                <a:gd name="T53" fmla="*/ 65 h 774"/>
                <a:gd name="T54" fmla="*/ 0 w 534"/>
                <a:gd name="T55" fmla="*/ 64 h 774"/>
                <a:gd name="T56" fmla="*/ 0 w 534"/>
                <a:gd name="T57" fmla="*/ 62 h 774"/>
                <a:gd name="T58" fmla="*/ 3 w 534"/>
                <a:gd name="T59" fmla="*/ 60 h 774"/>
                <a:gd name="T60" fmla="*/ 6 w 534"/>
                <a:gd name="T61" fmla="*/ 57 h 774"/>
                <a:gd name="T62" fmla="*/ 8 w 534"/>
                <a:gd name="T63" fmla="*/ 50 h 774"/>
                <a:gd name="T64" fmla="*/ 6 w 534"/>
                <a:gd name="T65" fmla="*/ 45 h 774"/>
                <a:gd name="T66" fmla="*/ 8 w 534"/>
                <a:gd name="T67" fmla="*/ 41 h 774"/>
                <a:gd name="T68" fmla="*/ 9 w 534"/>
                <a:gd name="T69" fmla="*/ 38 h 774"/>
                <a:gd name="T70" fmla="*/ 10 w 534"/>
                <a:gd name="T71" fmla="*/ 36 h 774"/>
                <a:gd name="T72" fmla="*/ 12 w 534"/>
                <a:gd name="T73" fmla="*/ 33 h 774"/>
                <a:gd name="T74" fmla="*/ 14 w 534"/>
                <a:gd name="T75" fmla="*/ 29 h 774"/>
                <a:gd name="T76" fmla="*/ 16 w 534"/>
                <a:gd name="T77" fmla="*/ 26 h 774"/>
                <a:gd name="T78" fmla="*/ 16 w 534"/>
                <a:gd name="T79" fmla="*/ 24 h 774"/>
                <a:gd name="T80" fmla="*/ 16 w 534"/>
                <a:gd name="T81" fmla="*/ 21 h 774"/>
                <a:gd name="T82" fmla="*/ 13 w 534"/>
                <a:gd name="T83" fmla="*/ 19 h 774"/>
                <a:gd name="T84" fmla="*/ 14 w 534"/>
                <a:gd name="T85" fmla="*/ 10 h 774"/>
                <a:gd name="T86" fmla="*/ 14 w 534"/>
                <a:gd name="T87" fmla="*/ 7 h 774"/>
                <a:gd name="T88" fmla="*/ 8 w 534"/>
                <a:gd name="T89" fmla="*/ 7 h 774"/>
                <a:gd name="T90" fmla="*/ 7 w 534"/>
                <a:gd name="T91" fmla="*/ 3 h 774"/>
                <a:gd name="T92" fmla="*/ 11 w 534"/>
                <a:gd name="T93" fmla="*/ 1 h 774"/>
                <a:gd name="T94" fmla="*/ 12 w 534"/>
                <a:gd name="T95" fmla="*/ 0 h 774"/>
                <a:gd name="T96" fmla="*/ 16 w 534"/>
                <a:gd name="T97" fmla="*/ 2 h 774"/>
                <a:gd name="T98" fmla="*/ 20 w 534"/>
                <a:gd name="T99" fmla="*/ 2 h 774"/>
                <a:gd name="T100" fmla="*/ 23 w 534"/>
                <a:gd name="T101" fmla="*/ 3 h 774"/>
                <a:gd name="T102" fmla="*/ 23 w 534"/>
                <a:gd name="T103" fmla="*/ 10 h 774"/>
                <a:gd name="T104" fmla="*/ 29 w 534"/>
                <a:gd name="T105" fmla="*/ 12 h 774"/>
                <a:gd name="T106" fmla="*/ 35 w 534"/>
                <a:gd name="T107" fmla="*/ 12 h 774"/>
                <a:gd name="T108" fmla="*/ 38 w 534"/>
                <a:gd name="T109" fmla="*/ 17 h 774"/>
                <a:gd name="T110" fmla="*/ 40 w 534"/>
                <a:gd name="T111" fmla="*/ 19 h 774"/>
                <a:gd name="T112" fmla="*/ 44 w 534"/>
                <a:gd name="T113" fmla="*/ 23 h 774"/>
                <a:gd name="T114" fmla="*/ 44 w 534"/>
                <a:gd name="T115" fmla="*/ 30 h 774"/>
                <a:gd name="T116" fmla="*/ 46 w 534"/>
                <a:gd name="T117" fmla="*/ 36 h 774"/>
                <a:gd name="T118" fmla="*/ 41 w 534"/>
                <a:gd name="T119" fmla="*/ 37 h 77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34"/>
                <a:gd name="T181" fmla="*/ 0 h 774"/>
                <a:gd name="T182" fmla="*/ 534 w 534"/>
                <a:gd name="T183" fmla="*/ 774 h 77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34" h="774">
                  <a:moveTo>
                    <a:pt x="462" y="426"/>
                  </a:moveTo>
                  <a:lnTo>
                    <a:pt x="462" y="414"/>
                  </a:lnTo>
                  <a:lnTo>
                    <a:pt x="450" y="402"/>
                  </a:lnTo>
                  <a:lnTo>
                    <a:pt x="444" y="396"/>
                  </a:lnTo>
                  <a:lnTo>
                    <a:pt x="420" y="396"/>
                  </a:lnTo>
                  <a:lnTo>
                    <a:pt x="408" y="390"/>
                  </a:lnTo>
                  <a:lnTo>
                    <a:pt x="402" y="366"/>
                  </a:lnTo>
                  <a:lnTo>
                    <a:pt x="390" y="354"/>
                  </a:lnTo>
                  <a:lnTo>
                    <a:pt x="384" y="336"/>
                  </a:lnTo>
                  <a:lnTo>
                    <a:pt x="378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8" y="348"/>
                  </a:lnTo>
                  <a:lnTo>
                    <a:pt x="360" y="354"/>
                  </a:lnTo>
                  <a:lnTo>
                    <a:pt x="360" y="390"/>
                  </a:lnTo>
                  <a:lnTo>
                    <a:pt x="348" y="390"/>
                  </a:lnTo>
                  <a:lnTo>
                    <a:pt x="342" y="384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90"/>
                  </a:lnTo>
                  <a:lnTo>
                    <a:pt x="312" y="402"/>
                  </a:lnTo>
                  <a:lnTo>
                    <a:pt x="306" y="420"/>
                  </a:lnTo>
                  <a:lnTo>
                    <a:pt x="324" y="414"/>
                  </a:lnTo>
                  <a:lnTo>
                    <a:pt x="330" y="414"/>
                  </a:lnTo>
                  <a:lnTo>
                    <a:pt x="336" y="420"/>
                  </a:lnTo>
                  <a:lnTo>
                    <a:pt x="336" y="432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6"/>
                  </a:lnTo>
                  <a:lnTo>
                    <a:pt x="318" y="456"/>
                  </a:lnTo>
                  <a:lnTo>
                    <a:pt x="300" y="456"/>
                  </a:lnTo>
                  <a:lnTo>
                    <a:pt x="288" y="462"/>
                  </a:lnTo>
                  <a:lnTo>
                    <a:pt x="276" y="462"/>
                  </a:lnTo>
                  <a:lnTo>
                    <a:pt x="270" y="462"/>
                  </a:lnTo>
                  <a:lnTo>
                    <a:pt x="270" y="468"/>
                  </a:lnTo>
                  <a:lnTo>
                    <a:pt x="252" y="468"/>
                  </a:lnTo>
                  <a:lnTo>
                    <a:pt x="258" y="480"/>
                  </a:lnTo>
                  <a:lnTo>
                    <a:pt x="258" y="492"/>
                  </a:lnTo>
                  <a:lnTo>
                    <a:pt x="258" y="498"/>
                  </a:lnTo>
                  <a:lnTo>
                    <a:pt x="258" y="510"/>
                  </a:lnTo>
                  <a:lnTo>
                    <a:pt x="252" y="540"/>
                  </a:lnTo>
                  <a:lnTo>
                    <a:pt x="246" y="564"/>
                  </a:lnTo>
                  <a:lnTo>
                    <a:pt x="246" y="570"/>
                  </a:lnTo>
                  <a:lnTo>
                    <a:pt x="252" y="576"/>
                  </a:lnTo>
                  <a:lnTo>
                    <a:pt x="246" y="582"/>
                  </a:lnTo>
                  <a:lnTo>
                    <a:pt x="252" y="600"/>
                  </a:lnTo>
                  <a:lnTo>
                    <a:pt x="258" y="606"/>
                  </a:lnTo>
                  <a:lnTo>
                    <a:pt x="258" y="612"/>
                  </a:lnTo>
                  <a:lnTo>
                    <a:pt x="252" y="618"/>
                  </a:lnTo>
                  <a:lnTo>
                    <a:pt x="246" y="624"/>
                  </a:lnTo>
                  <a:lnTo>
                    <a:pt x="246" y="630"/>
                  </a:lnTo>
                  <a:lnTo>
                    <a:pt x="246" y="636"/>
                  </a:lnTo>
                  <a:lnTo>
                    <a:pt x="240" y="642"/>
                  </a:lnTo>
                  <a:lnTo>
                    <a:pt x="234" y="654"/>
                  </a:lnTo>
                  <a:lnTo>
                    <a:pt x="228" y="654"/>
                  </a:lnTo>
                  <a:lnTo>
                    <a:pt x="222" y="660"/>
                  </a:lnTo>
                  <a:lnTo>
                    <a:pt x="216" y="666"/>
                  </a:lnTo>
                  <a:lnTo>
                    <a:pt x="210" y="666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22" y="684"/>
                  </a:lnTo>
                  <a:lnTo>
                    <a:pt x="222" y="690"/>
                  </a:lnTo>
                  <a:lnTo>
                    <a:pt x="222" y="696"/>
                  </a:lnTo>
                  <a:lnTo>
                    <a:pt x="222" y="702"/>
                  </a:lnTo>
                  <a:lnTo>
                    <a:pt x="216" y="708"/>
                  </a:lnTo>
                  <a:lnTo>
                    <a:pt x="210" y="720"/>
                  </a:lnTo>
                  <a:lnTo>
                    <a:pt x="216" y="732"/>
                  </a:lnTo>
                  <a:lnTo>
                    <a:pt x="210" y="732"/>
                  </a:lnTo>
                  <a:lnTo>
                    <a:pt x="216" y="738"/>
                  </a:lnTo>
                  <a:lnTo>
                    <a:pt x="216" y="744"/>
                  </a:lnTo>
                  <a:lnTo>
                    <a:pt x="222" y="750"/>
                  </a:lnTo>
                  <a:lnTo>
                    <a:pt x="228" y="756"/>
                  </a:lnTo>
                  <a:lnTo>
                    <a:pt x="222" y="762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04" y="762"/>
                  </a:lnTo>
                  <a:lnTo>
                    <a:pt x="198" y="762"/>
                  </a:lnTo>
                  <a:lnTo>
                    <a:pt x="192" y="762"/>
                  </a:lnTo>
                  <a:lnTo>
                    <a:pt x="186" y="756"/>
                  </a:lnTo>
                  <a:lnTo>
                    <a:pt x="180" y="750"/>
                  </a:lnTo>
                  <a:lnTo>
                    <a:pt x="180" y="744"/>
                  </a:lnTo>
                  <a:lnTo>
                    <a:pt x="174" y="744"/>
                  </a:lnTo>
                  <a:lnTo>
                    <a:pt x="156" y="750"/>
                  </a:lnTo>
                  <a:lnTo>
                    <a:pt x="150" y="750"/>
                  </a:lnTo>
                  <a:lnTo>
                    <a:pt x="144" y="750"/>
                  </a:lnTo>
                  <a:lnTo>
                    <a:pt x="138" y="750"/>
                  </a:lnTo>
                  <a:lnTo>
                    <a:pt x="138" y="744"/>
                  </a:lnTo>
                  <a:lnTo>
                    <a:pt x="132" y="744"/>
                  </a:lnTo>
                  <a:lnTo>
                    <a:pt x="120" y="744"/>
                  </a:lnTo>
                  <a:lnTo>
                    <a:pt x="114" y="738"/>
                  </a:lnTo>
                  <a:lnTo>
                    <a:pt x="108" y="744"/>
                  </a:lnTo>
                  <a:lnTo>
                    <a:pt x="102" y="744"/>
                  </a:lnTo>
                  <a:lnTo>
                    <a:pt x="96" y="744"/>
                  </a:lnTo>
                  <a:lnTo>
                    <a:pt x="96" y="738"/>
                  </a:lnTo>
                  <a:lnTo>
                    <a:pt x="96" y="744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44"/>
                  </a:lnTo>
                  <a:lnTo>
                    <a:pt x="72" y="750"/>
                  </a:lnTo>
                  <a:lnTo>
                    <a:pt x="66" y="750"/>
                  </a:lnTo>
                  <a:lnTo>
                    <a:pt x="60" y="750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0"/>
                  </a:lnTo>
                  <a:lnTo>
                    <a:pt x="30" y="750"/>
                  </a:lnTo>
                  <a:lnTo>
                    <a:pt x="24" y="744"/>
                  </a:lnTo>
                  <a:lnTo>
                    <a:pt x="18" y="738"/>
                  </a:lnTo>
                  <a:lnTo>
                    <a:pt x="6" y="738"/>
                  </a:lnTo>
                  <a:lnTo>
                    <a:pt x="0" y="732"/>
                  </a:lnTo>
                  <a:lnTo>
                    <a:pt x="0" y="726"/>
                  </a:lnTo>
                  <a:lnTo>
                    <a:pt x="0" y="720"/>
                  </a:lnTo>
                  <a:lnTo>
                    <a:pt x="6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8" y="702"/>
                  </a:lnTo>
                  <a:lnTo>
                    <a:pt x="24" y="696"/>
                  </a:lnTo>
                  <a:lnTo>
                    <a:pt x="30" y="696"/>
                  </a:lnTo>
                  <a:lnTo>
                    <a:pt x="48" y="690"/>
                  </a:lnTo>
                  <a:lnTo>
                    <a:pt x="54" y="678"/>
                  </a:lnTo>
                  <a:lnTo>
                    <a:pt x="66" y="672"/>
                  </a:lnTo>
                  <a:lnTo>
                    <a:pt x="66" y="654"/>
                  </a:lnTo>
                  <a:lnTo>
                    <a:pt x="72" y="636"/>
                  </a:lnTo>
                  <a:lnTo>
                    <a:pt x="72" y="612"/>
                  </a:lnTo>
                  <a:lnTo>
                    <a:pt x="84" y="594"/>
                  </a:lnTo>
                  <a:lnTo>
                    <a:pt x="90" y="576"/>
                  </a:lnTo>
                  <a:lnTo>
                    <a:pt x="96" y="552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72" y="522"/>
                  </a:lnTo>
                  <a:lnTo>
                    <a:pt x="78" y="510"/>
                  </a:lnTo>
                  <a:lnTo>
                    <a:pt x="78" y="504"/>
                  </a:lnTo>
                  <a:lnTo>
                    <a:pt x="84" y="480"/>
                  </a:lnTo>
                  <a:lnTo>
                    <a:pt x="90" y="468"/>
                  </a:lnTo>
                  <a:lnTo>
                    <a:pt x="90" y="456"/>
                  </a:lnTo>
                  <a:lnTo>
                    <a:pt x="96" y="456"/>
                  </a:lnTo>
                  <a:lnTo>
                    <a:pt x="96" y="444"/>
                  </a:lnTo>
                  <a:lnTo>
                    <a:pt x="102" y="438"/>
                  </a:lnTo>
                  <a:lnTo>
                    <a:pt x="102" y="432"/>
                  </a:lnTo>
                  <a:lnTo>
                    <a:pt x="108" y="432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14" y="408"/>
                  </a:lnTo>
                  <a:lnTo>
                    <a:pt x="114" y="402"/>
                  </a:lnTo>
                  <a:lnTo>
                    <a:pt x="126" y="384"/>
                  </a:lnTo>
                  <a:lnTo>
                    <a:pt x="138" y="378"/>
                  </a:lnTo>
                  <a:lnTo>
                    <a:pt x="138" y="372"/>
                  </a:lnTo>
                  <a:lnTo>
                    <a:pt x="150" y="354"/>
                  </a:lnTo>
                  <a:lnTo>
                    <a:pt x="156" y="342"/>
                  </a:lnTo>
                  <a:lnTo>
                    <a:pt x="162" y="330"/>
                  </a:lnTo>
                  <a:lnTo>
                    <a:pt x="168" y="324"/>
                  </a:lnTo>
                  <a:lnTo>
                    <a:pt x="168" y="312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74" y="294"/>
                  </a:lnTo>
                  <a:lnTo>
                    <a:pt x="180" y="288"/>
                  </a:lnTo>
                  <a:lnTo>
                    <a:pt x="180" y="276"/>
                  </a:lnTo>
                  <a:lnTo>
                    <a:pt x="186" y="276"/>
                  </a:lnTo>
                  <a:lnTo>
                    <a:pt x="186" y="270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40"/>
                  </a:lnTo>
                  <a:lnTo>
                    <a:pt x="168" y="240"/>
                  </a:lnTo>
                  <a:lnTo>
                    <a:pt x="162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68" y="216"/>
                  </a:lnTo>
                  <a:lnTo>
                    <a:pt x="168" y="180"/>
                  </a:lnTo>
                  <a:lnTo>
                    <a:pt x="168" y="144"/>
                  </a:lnTo>
                  <a:lnTo>
                    <a:pt x="162" y="120"/>
                  </a:lnTo>
                  <a:lnTo>
                    <a:pt x="162" y="108"/>
                  </a:lnTo>
                  <a:lnTo>
                    <a:pt x="168" y="102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44" y="84"/>
                  </a:lnTo>
                  <a:lnTo>
                    <a:pt x="126" y="84"/>
                  </a:lnTo>
                  <a:lnTo>
                    <a:pt x="108" y="78"/>
                  </a:lnTo>
                  <a:lnTo>
                    <a:pt x="96" y="78"/>
                  </a:lnTo>
                  <a:lnTo>
                    <a:pt x="78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8" y="36"/>
                  </a:lnTo>
                  <a:lnTo>
                    <a:pt x="96" y="24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56" y="0"/>
                  </a:lnTo>
                  <a:lnTo>
                    <a:pt x="156" y="6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18"/>
                  </a:lnTo>
                  <a:lnTo>
                    <a:pt x="198" y="18"/>
                  </a:lnTo>
                  <a:lnTo>
                    <a:pt x="210" y="18"/>
                  </a:lnTo>
                  <a:lnTo>
                    <a:pt x="222" y="18"/>
                  </a:lnTo>
                  <a:lnTo>
                    <a:pt x="234" y="12"/>
                  </a:lnTo>
                  <a:lnTo>
                    <a:pt x="252" y="18"/>
                  </a:lnTo>
                  <a:lnTo>
                    <a:pt x="252" y="24"/>
                  </a:lnTo>
                  <a:lnTo>
                    <a:pt x="258" y="36"/>
                  </a:lnTo>
                  <a:lnTo>
                    <a:pt x="258" y="66"/>
                  </a:lnTo>
                  <a:lnTo>
                    <a:pt x="252" y="84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82" y="126"/>
                  </a:lnTo>
                  <a:lnTo>
                    <a:pt x="294" y="132"/>
                  </a:lnTo>
                  <a:lnTo>
                    <a:pt x="306" y="138"/>
                  </a:lnTo>
                  <a:lnTo>
                    <a:pt x="324" y="138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60" y="144"/>
                  </a:lnTo>
                  <a:lnTo>
                    <a:pt x="396" y="144"/>
                  </a:lnTo>
                  <a:lnTo>
                    <a:pt x="408" y="150"/>
                  </a:lnTo>
                  <a:lnTo>
                    <a:pt x="414" y="180"/>
                  </a:lnTo>
                  <a:lnTo>
                    <a:pt x="420" y="186"/>
                  </a:lnTo>
                  <a:lnTo>
                    <a:pt x="426" y="192"/>
                  </a:lnTo>
                  <a:lnTo>
                    <a:pt x="426" y="198"/>
                  </a:lnTo>
                  <a:lnTo>
                    <a:pt x="432" y="198"/>
                  </a:lnTo>
                  <a:lnTo>
                    <a:pt x="438" y="210"/>
                  </a:lnTo>
                  <a:lnTo>
                    <a:pt x="450" y="216"/>
                  </a:lnTo>
                  <a:lnTo>
                    <a:pt x="468" y="228"/>
                  </a:lnTo>
                  <a:lnTo>
                    <a:pt x="492" y="234"/>
                  </a:lnTo>
                  <a:lnTo>
                    <a:pt x="492" y="246"/>
                  </a:lnTo>
                  <a:lnTo>
                    <a:pt x="492" y="270"/>
                  </a:lnTo>
                  <a:lnTo>
                    <a:pt x="486" y="294"/>
                  </a:lnTo>
                  <a:lnTo>
                    <a:pt x="486" y="312"/>
                  </a:lnTo>
                  <a:lnTo>
                    <a:pt x="486" y="330"/>
                  </a:lnTo>
                  <a:lnTo>
                    <a:pt x="492" y="348"/>
                  </a:lnTo>
                  <a:lnTo>
                    <a:pt x="498" y="360"/>
                  </a:lnTo>
                  <a:lnTo>
                    <a:pt x="510" y="366"/>
                  </a:lnTo>
                  <a:lnTo>
                    <a:pt x="516" y="384"/>
                  </a:lnTo>
                  <a:lnTo>
                    <a:pt x="522" y="414"/>
                  </a:lnTo>
                  <a:lnTo>
                    <a:pt x="528" y="414"/>
                  </a:lnTo>
                  <a:lnTo>
                    <a:pt x="534" y="426"/>
                  </a:lnTo>
                  <a:lnTo>
                    <a:pt x="528" y="432"/>
                  </a:lnTo>
                  <a:lnTo>
                    <a:pt x="468" y="426"/>
                  </a:lnTo>
                  <a:lnTo>
                    <a:pt x="462" y="4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3" name="Freeform 8">
              <a:extLst>
                <a:ext uri="{FF2B5EF4-FFF2-40B4-BE49-F238E27FC236}">
                  <a16:creationId xmlns:a16="http://schemas.microsoft.com/office/drawing/2014/main" id="{D473457C-872E-4E31-888A-D60FD52063A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98175" y="4307054"/>
              <a:ext cx="295177" cy="348894"/>
            </a:xfrm>
            <a:custGeom>
              <a:avLst/>
              <a:gdLst>
                <a:gd name="T0" fmla="*/ 3 w 552"/>
                <a:gd name="T1" fmla="*/ 46 h 660"/>
                <a:gd name="T2" fmla="*/ 4 w 552"/>
                <a:gd name="T3" fmla="*/ 42 h 660"/>
                <a:gd name="T4" fmla="*/ 2 w 552"/>
                <a:gd name="T5" fmla="*/ 38 h 660"/>
                <a:gd name="T6" fmla="*/ 0 w 552"/>
                <a:gd name="T7" fmla="*/ 34 h 660"/>
                <a:gd name="T8" fmla="*/ 2 w 552"/>
                <a:gd name="T9" fmla="*/ 30 h 660"/>
                <a:gd name="T10" fmla="*/ 3 w 552"/>
                <a:gd name="T11" fmla="*/ 27 h 660"/>
                <a:gd name="T12" fmla="*/ 5 w 552"/>
                <a:gd name="T13" fmla="*/ 23 h 660"/>
                <a:gd name="T14" fmla="*/ 5 w 552"/>
                <a:gd name="T15" fmla="*/ 15 h 660"/>
                <a:gd name="T16" fmla="*/ 6 w 552"/>
                <a:gd name="T17" fmla="*/ 11 h 660"/>
                <a:gd name="T18" fmla="*/ 11 w 552"/>
                <a:gd name="T19" fmla="*/ 9 h 660"/>
                <a:gd name="T20" fmla="*/ 10 w 552"/>
                <a:gd name="T21" fmla="*/ 5 h 660"/>
                <a:gd name="T22" fmla="*/ 12 w 552"/>
                <a:gd name="T23" fmla="*/ 1 h 660"/>
                <a:gd name="T24" fmla="*/ 16 w 552"/>
                <a:gd name="T25" fmla="*/ 2 h 660"/>
                <a:gd name="T26" fmla="*/ 23 w 552"/>
                <a:gd name="T27" fmla="*/ 8 h 660"/>
                <a:gd name="T28" fmla="*/ 23 w 552"/>
                <a:gd name="T29" fmla="*/ 11 h 660"/>
                <a:gd name="T30" fmla="*/ 27 w 552"/>
                <a:gd name="T31" fmla="*/ 12 h 660"/>
                <a:gd name="T32" fmla="*/ 29 w 552"/>
                <a:gd name="T33" fmla="*/ 17 h 660"/>
                <a:gd name="T34" fmla="*/ 31 w 552"/>
                <a:gd name="T35" fmla="*/ 15 h 660"/>
                <a:gd name="T36" fmla="*/ 33 w 552"/>
                <a:gd name="T37" fmla="*/ 17 h 660"/>
                <a:gd name="T38" fmla="*/ 36 w 552"/>
                <a:gd name="T39" fmla="*/ 23 h 660"/>
                <a:gd name="T40" fmla="*/ 41 w 552"/>
                <a:gd name="T41" fmla="*/ 33 h 660"/>
                <a:gd name="T42" fmla="*/ 43 w 552"/>
                <a:gd name="T43" fmla="*/ 36 h 660"/>
                <a:gd name="T44" fmla="*/ 43 w 552"/>
                <a:gd name="T45" fmla="*/ 37 h 660"/>
                <a:gd name="T46" fmla="*/ 41 w 552"/>
                <a:gd name="T47" fmla="*/ 35 h 660"/>
                <a:gd name="T48" fmla="*/ 43 w 552"/>
                <a:gd name="T49" fmla="*/ 37 h 660"/>
                <a:gd name="T50" fmla="*/ 44 w 552"/>
                <a:gd name="T51" fmla="*/ 39 h 660"/>
                <a:gd name="T52" fmla="*/ 47 w 552"/>
                <a:gd name="T53" fmla="*/ 41 h 660"/>
                <a:gd name="T54" fmla="*/ 47 w 552"/>
                <a:gd name="T55" fmla="*/ 44 h 660"/>
                <a:gd name="T56" fmla="*/ 48 w 552"/>
                <a:gd name="T57" fmla="*/ 46 h 660"/>
                <a:gd name="T58" fmla="*/ 47 w 552"/>
                <a:gd name="T59" fmla="*/ 46 h 660"/>
                <a:gd name="T60" fmla="*/ 44 w 552"/>
                <a:gd name="T61" fmla="*/ 46 h 660"/>
                <a:gd name="T62" fmla="*/ 47 w 552"/>
                <a:gd name="T63" fmla="*/ 47 h 660"/>
                <a:gd name="T64" fmla="*/ 47 w 552"/>
                <a:gd name="T65" fmla="*/ 49 h 660"/>
                <a:gd name="T66" fmla="*/ 47 w 552"/>
                <a:gd name="T67" fmla="*/ 52 h 660"/>
                <a:gd name="T68" fmla="*/ 46 w 552"/>
                <a:gd name="T69" fmla="*/ 53 h 660"/>
                <a:gd name="T70" fmla="*/ 43 w 552"/>
                <a:gd name="T71" fmla="*/ 54 h 660"/>
                <a:gd name="T72" fmla="*/ 37 w 552"/>
                <a:gd name="T73" fmla="*/ 54 h 660"/>
                <a:gd name="T74" fmla="*/ 30 w 552"/>
                <a:gd name="T75" fmla="*/ 54 h 660"/>
                <a:gd name="T76" fmla="*/ 29 w 552"/>
                <a:gd name="T77" fmla="*/ 53 h 660"/>
                <a:gd name="T78" fmla="*/ 27 w 552"/>
                <a:gd name="T79" fmla="*/ 53 h 660"/>
                <a:gd name="T80" fmla="*/ 29 w 552"/>
                <a:gd name="T81" fmla="*/ 53 h 660"/>
                <a:gd name="T82" fmla="*/ 28 w 552"/>
                <a:gd name="T83" fmla="*/ 54 h 660"/>
                <a:gd name="T84" fmla="*/ 24 w 552"/>
                <a:gd name="T85" fmla="*/ 54 h 660"/>
                <a:gd name="T86" fmla="*/ 20 w 552"/>
                <a:gd name="T87" fmla="*/ 55 h 660"/>
                <a:gd name="T88" fmla="*/ 15 w 552"/>
                <a:gd name="T89" fmla="*/ 56 h 660"/>
                <a:gd name="T90" fmla="*/ 12 w 552"/>
                <a:gd name="T91" fmla="*/ 56 h 660"/>
                <a:gd name="T92" fmla="*/ 11 w 552"/>
                <a:gd name="T93" fmla="*/ 57 h 660"/>
                <a:gd name="T94" fmla="*/ 9 w 552"/>
                <a:gd name="T95" fmla="*/ 57 h 660"/>
                <a:gd name="T96" fmla="*/ 7 w 552"/>
                <a:gd name="T97" fmla="*/ 56 h 660"/>
                <a:gd name="T98" fmla="*/ 5 w 552"/>
                <a:gd name="T99" fmla="*/ 55 h 660"/>
                <a:gd name="T100" fmla="*/ 7 w 552"/>
                <a:gd name="T101" fmla="*/ 54 h 660"/>
                <a:gd name="T102" fmla="*/ 5 w 552"/>
                <a:gd name="T103" fmla="*/ 54 h 660"/>
                <a:gd name="T104" fmla="*/ 5 w 552"/>
                <a:gd name="T105" fmla="*/ 53 h 660"/>
                <a:gd name="T106" fmla="*/ 4 w 552"/>
                <a:gd name="T107" fmla="*/ 49 h 660"/>
                <a:gd name="T108" fmla="*/ 45 w 552"/>
                <a:gd name="T109" fmla="*/ 38 h 66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52"/>
                <a:gd name="T166" fmla="*/ 0 h 660"/>
                <a:gd name="T167" fmla="*/ 552 w 552"/>
                <a:gd name="T168" fmla="*/ 660 h 66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52" h="660">
                  <a:moveTo>
                    <a:pt x="36" y="564"/>
                  </a:moveTo>
                  <a:lnTo>
                    <a:pt x="36" y="558"/>
                  </a:lnTo>
                  <a:lnTo>
                    <a:pt x="36" y="552"/>
                  </a:lnTo>
                  <a:lnTo>
                    <a:pt x="42" y="546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34"/>
                  </a:lnTo>
                  <a:lnTo>
                    <a:pt x="36" y="528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54" y="510"/>
                  </a:lnTo>
                  <a:lnTo>
                    <a:pt x="54" y="504"/>
                  </a:lnTo>
                  <a:lnTo>
                    <a:pt x="54" y="498"/>
                  </a:lnTo>
                  <a:lnTo>
                    <a:pt x="48" y="492"/>
                  </a:lnTo>
                  <a:lnTo>
                    <a:pt x="42" y="486"/>
                  </a:lnTo>
                  <a:lnTo>
                    <a:pt x="42" y="480"/>
                  </a:lnTo>
                  <a:lnTo>
                    <a:pt x="42" y="468"/>
                  </a:lnTo>
                  <a:lnTo>
                    <a:pt x="30" y="456"/>
                  </a:lnTo>
                  <a:lnTo>
                    <a:pt x="30" y="450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2"/>
                  </a:lnTo>
                  <a:lnTo>
                    <a:pt x="18" y="426"/>
                  </a:lnTo>
                  <a:lnTo>
                    <a:pt x="24" y="420"/>
                  </a:lnTo>
                  <a:lnTo>
                    <a:pt x="18" y="414"/>
                  </a:lnTo>
                  <a:lnTo>
                    <a:pt x="12" y="408"/>
                  </a:lnTo>
                  <a:lnTo>
                    <a:pt x="12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6" y="384"/>
                  </a:lnTo>
                  <a:lnTo>
                    <a:pt x="12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8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36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54" y="270"/>
                  </a:lnTo>
                  <a:lnTo>
                    <a:pt x="48" y="264"/>
                  </a:lnTo>
                  <a:lnTo>
                    <a:pt x="42" y="246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8" y="204"/>
                  </a:lnTo>
                  <a:lnTo>
                    <a:pt x="54" y="174"/>
                  </a:lnTo>
                  <a:lnTo>
                    <a:pt x="54" y="162"/>
                  </a:lnTo>
                  <a:lnTo>
                    <a:pt x="54" y="156"/>
                  </a:lnTo>
                  <a:lnTo>
                    <a:pt x="54" y="144"/>
                  </a:lnTo>
                  <a:lnTo>
                    <a:pt x="48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72" y="126"/>
                  </a:lnTo>
                  <a:lnTo>
                    <a:pt x="84" y="126"/>
                  </a:lnTo>
                  <a:lnTo>
                    <a:pt x="96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2" y="84"/>
                  </a:lnTo>
                  <a:lnTo>
                    <a:pt x="126" y="78"/>
                  </a:lnTo>
                  <a:lnTo>
                    <a:pt x="120" y="78"/>
                  </a:lnTo>
                  <a:lnTo>
                    <a:pt x="102" y="84"/>
                  </a:lnTo>
                  <a:lnTo>
                    <a:pt x="108" y="66"/>
                  </a:lnTo>
                  <a:lnTo>
                    <a:pt x="114" y="54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8" y="4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6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74" y="0"/>
                  </a:lnTo>
                  <a:lnTo>
                    <a:pt x="180" y="0"/>
                  </a:lnTo>
                  <a:lnTo>
                    <a:pt x="186" y="18"/>
                  </a:lnTo>
                  <a:lnTo>
                    <a:pt x="198" y="30"/>
                  </a:lnTo>
                  <a:lnTo>
                    <a:pt x="204" y="54"/>
                  </a:lnTo>
                  <a:lnTo>
                    <a:pt x="216" y="60"/>
                  </a:lnTo>
                  <a:lnTo>
                    <a:pt x="240" y="60"/>
                  </a:lnTo>
                  <a:lnTo>
                    <a:pt x="246" y="66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2" y="120"/>
                  </a:lnTo>
                  <a:lnTo>
                    <a:pt x="25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6" y="126"/>
                  </a:lnTo>
                  <a:lnTo>
                    <a:pt x="282" y="120"/>
                  </a:lnTo>
                  <a:lnTo>
                    <a:pt x="282" y="126"/>
                  </a:lnTo>
                  <a:lnTo>
                    <a:pt x="294" y="126"/>
                  </a:lnTo>
                  <a:lnTo>
                    <a:pt x="300" y="132"/>
                  </a:lnTo>
                  <a:lnTo>
                    <a:pt x="306" y="144"/>
                  </a:lnTo>
                  <a:lnTo>
                    <a:pt x="312" y="144"/>
                  </a:lnTo>
                  <a:lnTo>
                    <a:pt x="312" y="150"/>
                  </a:lnTo>
                  <a:lnTo>
                    <a:pt x="312" y="162"/>
                  </a:lnTo>
                  <a:lnTo>
                    <a:pt x="312" y="174"/>
                  </a:lnTo>
                  <a:lnTo>
                    <a:pt x="324" y="180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30" y="192"/>
                  </a:lnTo>
                  <a:lnTo>
                    <a:pt x="336" y="198"/>
                  </a:lnTo>
                  <a:lnTo>
                    <a:pt x="342" y="192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54" y="180"/>
                  </a:lnTo>
                  <a:lnTo>
                    <a:pt x="354" y="174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84" y="192"/>
                  </a:lnTo>
                  <a:lnTo>
                    <a:pt x="390" y="204"/>
                  </a:lnTo>
                  <a:lnTo>
                    <a:pt x="390" y="210"/>
                  </a:lnTo>
                  <a:lnTo>
                    <a:pt x="390" y="216"/>
                  </a:lnTo>
                  <a:lnTo>
                    <a:pt x="384" y="234"/>
                  </a:lnTo>
                  <a:lnTo>
                    <a:pt x="390" y="240"/>
                  </a:lnTo>
                  <a:lnTo>
                    <a:pt x="408" y="252"/>
                  </a:lnTo>
                  <a:lnTo>
                    <a:pt x="414" y="264"/>
                  </a:lnTo>
                  <a:lnTo>
                    <a:pt x="408" y="300"/>
                  </a:lnTo>
                  <a:lnTo>
                    <a:pt x="414" y="312"/>
                  </a:lnTo>
                  <a:lnTo>
                    <a:pt x="426" y="336"/>
                  </a:lnTo>
                  <a:lnTo>
                    <a:pt x="438" y="354"/>
                  </a:lnTo>
                  <a:lnTo>
                    <a:pt x="444" y="366"/>
                  </a:lnTo>
                  <a:lnTo>
                    <a:pt x="456" y="366"/>
                  </a:lnTo>
                  <a:lnTo>
                    <a:pt x="474" y="378"/>
                  </a:lnTo>
                  <a:lnTo>
                    <a:pt x="474" y="384"/>
                  </a:lnTo>
                  <a:lnTo>
                    <a:pt x="480" y="390"/>
                  </a:lnTo>
                  <a:lnTo>
                    <a:pt x="486" y="396"/>
                  </a:lnTo>
                  <a:lnTo>
                    <a:pt x="486" y="402"/>
                  </a:lnTo>
                  <a:lnTo>
                    <a:pt x="480" y="408"/>
                  </a:lnTo>
                  <a:lnTo>
                    <a:pt x="486" y="408"/>
                  </a:lnTo>
                  <a:lnTo>
                    <a:pt x="486" y="414"/>
                  </a:lnTo>
                  <a:lnTo>
                    <a:pt x="492" y="414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32"/>
                  </a:lnTo>
                  <a:lnTo>
                    <a:pt x="498" y="438"/>
                  </a:lnTo>
                  <a:lnTo>
                    <a:pt x="492" y="432"/>
                  </a:lnTo>
                  <a:lnTo>
                    <a:pt x="486" y="426"/>
                  </a:lnTo>
                  <a:lnTo>
                    <a:pt x="486" y="420"/>
                  </a:lnTo>
                  <a:lnTo>
                    <a:pt x="486" y="414"/>
                  </a:lnTo>
                  <a:lnTo>
                    <a:pt x="480" y="414"/>
                  </a:lnTo>
                  <a:lnTo>
                    <a:pt x="480" y="408"/>
                  </a:lnTo>
                  <a:lnTo>
                    <a:pt x="474" y="408"/>
                  </a:lnTo>
                  <a:lnTo>
                    <a:pt x="468" y="408"/>
                  </a:lnTo>
                  <a:lnTo>
                    <a:pt x="468" y="402"/>
                  </a:lnTo>
                  <a:lnTo>
                    <a:pt x="462" y="402"/>
                  </a:lnTo>
                  <a:lnTo>
                    <a:pt x="462" y="408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80" y="426"/>
                  </a:lnTo>
                  <a:lnTo>
                    <a:pt x="486" y="426"/>
                  </a:lnTo>
                  <a:lnTo>
                    <a:pt x="486" y="432"/>
                  </a:lnTo>
                  <a:lnTo>
                    <a:pt x="492" y="438"/>
                  </a:lnTo>
                  <a:lnTo>
                    <a:pt x="498" y="438"/>
                  </a:lnTo>
                  <a:lnTo>
                    <a:pt x="504" y="444"/>
                  </a:lnTo>
                  <a:lnTo>
                    <a:pt x="510" y="444"/>
                  </a:lnTo>
                  <a:lnTo>
                    <a:pt x="510" y="450"/>
                  </a:lnTo>
                  <a:lnTo>
                    <a:pt x="510" y="456"/>
                  </a:lnTo>
                  <a:lnTo>
                    <a:pt x="516" y="456"/>
                  </a:lnTo>
                  <a:lnTo>
                    <a:pt x="516" y="462"/>
                  </a:lnTo>
                  <a:lnTo>
                    <a:pt x="522" y="462"/>
                  </a:lnTo>
                  <a:lnTo>
                    <a:pt x="522" y="468"/>
                  </a:lnTo>
                  <a:lnTo>
                    <a:pt x="528" y="468"/>
                  </a:lnTo>
                  <a:lnTo>
                    <a:pt x="534" y="468"/>
                  </a:lnTo>
                  <a:lnTo>
                    <a:pt x="534" y="474"/>
                  </a:lnTo>
                  <a:lnTo>
                    <a:pt x="540" y="474"/>
                  </a:lnTo>
                  <a:lnTo>
                    <a:pt x="540" y="480"/>
                  </a:lnTo>
                  <a:lnTo>
                    <a:pt x="546" y="486"/>
                  </a:lnTo>
                  <a:lnTo>
                    <a:pt x="546" y="492"/>
                  </a:lnTo>
                  <a:lnTo>
                    <a:pt x="546" y="498"/>
                  </a:lnTo>
                  <a:lnTo>
                    <a:pt x="546" y="504"/>
                  </a:lnTo>
                  <a:lnTo>
                    <a:pt x="540" y="504"/>
                  </a:lnTo>
                  <a:lnTo>
                    <a:pt x="546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10"/>
                  </a:lnTo>
                  <a:lnTo>
                    <a:pt x="552" y="516"/>
                  </a:lnTo>
                  <a:lnTo>
                    <a:pt x="552" y="522"/>
                  </a:lnTo>
                  <a:lnTo>
                    <a:pt x="552" y="528"/>
                  </a:lnTo>
                  <a:lnTo>
                    <a:pt x="552" y="534"/>
                  </a:lnTo>
                  <a:lnTo>
                    <a:pt x="552" y="540"/>
                  </a:lnTo>
                  <a:lnTo>
                    <a:pt x="546" y="540"/>
                  </a:lnTo>
                  <a:lnTo>
                    <a:pt x="546" y="546"/>
                  </a:lnTo>
                  <a:lnTo>
                    <a:pt x="546" y="540"/>
                  </a:lnTo>
                  <a:lnTo>
                    <a:pt x="546" y="534"/>
                  </a:lnTo>
                  <a:lnTo>
                    <a:pt x="540" y="534"/>
                  </a:lnTo>
                  <a:lnTo>
                    <a:pt x="540" y="528"/>
                  </a:lnTo>
                  <a:lnTo>
                    <a:pt x="534" y="528"/>
                  </a:lnTo>
                  <a:lnTo>
                    <a:pt x="528" y="528"/>
                  </a:lnTo>
                  <a:lnTo>
                    <a:pt x="522" y="528"/>
                  </a:lnTo>
                  <a:lnTo>
                    <a:pt x="516" y="528"/>
                  </a:lnTo>
                  <a:lnTo>
                    <a:pt x="510" y="528"/>
                  </a:lnTo>
                  <a:lnTo>
                    <a:pt x="510" y="534"/>
                  </a:lnTo>
                  <a:lnTo>
                    <a:pt x="510" y="528"/>
                  </a:lnTo>
                  <a:lnTo>
                    <a:pt x="516" y="528"/>
                  </a:lnTo>
                  <a:lnTo>
                    <a:pt x="522" y="528"/>
                  </a:lnTo>
                  <a:lnTo>
                    <a:pt x="528" y="528"/>
                  </a:lnTo>
                  <a:lnTo>
                    <a:pt x="534" y="534"/>
                  </a:lnTo>
                  <a:lnTo>
                    <a:pt x="540" y="534"/>
                  </a:lnTo>
                  <a:lnTo>
                    <a:pt x="540" y="540"/>
                  </a:lnTo>
                  <a:lnTo>
                    <a:pt x="540" y="546"/>
                  </a:lnTo>
                  <a:lnTo>
                    <a:pt x="546" y="546"/>
                  </a:lnTo>
                  <a:lnTo>
                    <a:pt x="546" y="552"/>
                  </a:lnTo>
                  <a:lnTo>
                    <a:pt x="552" y="552"/>
                  </a:lnTo>
                  <a:lnTo>
                    <a:pt x="552" y="558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0" y="576"/>
                  </a:lnTo>
                  <a:lnTo>
                    <a:pt x="540" y="582"/>
                  </a:lnTo>
                  <a:lnTo>
                    <a:pt x="540" y="588"/>
                  </a:lnTo>
                  <a:lnTo>
                    <a:pt x="534" y="594"/>
                  </a:lnTo>
                  <a:lnTo>
                    <a:pt x="534" y="600"/>
                  </a:lnTo>
                  <a:lnTo>
                    <a:pt x="528" y="600"/>
                  </a:lnTo>
                  <a:lnTo>
                    <a:pt x="522" y="594"/>
                  </a:lnTo>
                  <a:lnTo>
                    <a:pt x="528" y="600"/>
                  </a:lnTo>
                  <a:lnTo>
                    <a:pt x="534" y="600"/>
                  </a:lnTo>
                  <a:lnTo>
                    <a:pt x="534" y="606"/>
                  </a:lnTo>
                  <a:lnTo>
                    <a:pt x="528" y="606"/>
                  </a:lnTo>
                  <a:lnTo>
                    <a:pt x="528" y="612"/>
                  </a:lnTo>
                  <a:lnTo>
                    <a:pt x="522" y="612"/>
                  </a:lnTo>
                  <a:lnTo>
                    <a:pt x="522" y="618"/>
                  </a:lnTo>
                  <a:lnTo>
                    <a:pt x="522" y="624"/>
                  </a:lnTo>
                  <a:lnTo>
                    <a:pt x="510" y="624"/>
                  </a:lnTo>
                  <a:lnTo>
                    <a:pt x="498" y="624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0" y="624"/>
                  </a:lnTo>
                  <a:lnTo>
                    <a:pt x="474" y="624"/>
                  </a:lnTo>
                  <a:lnTo>
                    <a:pt x="468" y="618"/>
                  </a:lnTo>
                  <a:lnTo>
                    <a:pt x="456" y="618"/>
                  </a:lnTo>
                  <a:lnTo>
                    <a:pt x="450" y="618"/>
                  </a:lnTo>
                  <a:lnTo>
                    <a:pt x="426" y="618"/>
                  </a:lnTo>
                  <a:lnTo>
                    <a:pt x="420" y="618"/>
                  </a:lnTo>
                  <a:lnTo>
                    <a:pt x="414" y="618"/>
                  </a:lnTo>
                  <a:lnTo>
                    <a:pt x="408" y="618"/>
                  </a:lnTo>
                  <a:lnTo>
                    <a:pt x="396" y="618"/>
                  </a:lnTo>
                  <a:lnTo>
                    <a:pt x="366" y="618"/>
                  </a:lnTo>
                  <a:lnTo>
                    <a:pt x="348" y="624"/>
                  </a:lnTo>
                  <a:lnTo>
                    <a:pt x="342" y="624"/>
                  </a:lnTo>
                  <a:lnTo>
                    <a:pt x="342" y="618"/>
                  </a:lnTo>
                  <a:lnTo>
                    <a:pt x="336" y="618"/>
                  </a:lnTo>
                  <a:lnTo>
                    <a:pt x="336" y="612"/>
                  </a:lnTo>
                  <a:lnTo>
                    <a:pt x="342" y="612"/>
                  </a:lnTo>
                  <a:lnTo>
                    <a:pt x="348" y="612"/>
                  </a:lnTo>
                  <a:lnTo>
                    <a:pt x="342" y="612"/>
                  </a:lnTo>
                  <a:lnTo>
                    <a:pt x="336" y="612"/>
                  </a:lnTo>
                  <a:lnTo>
                    <a:pt x="336" y="606"/>
                  </a:lnTo>
                  <a:lnTo>
                    <a:pt x="330" y="606"/>
                  </a:lnTo>
                  <a:lnTo>
                    <a:pt x="330" y="600"/>
                  </a:lnTo>
                  <a:lnTo>
                    <a:pt x="324" y="600"/>
                  </a:lnTo>
                  <a:lnTo>
                    <a:pt x="324" y="606"/>
                  </a:lnTo>
                  <a:lnTo>
                    <a:pt x="318" y="606"/>
                  </a:lnTo>
                  <a:lnTo>
                    <a:pt x="318" y="612"/>
                  </a:lnTo>
                  <a:lnTo>
                    <a:pt x="312" y="612"/>
                  </a:lnTo>
                  <a:lnTo>
                    <a:pt x="306" y="606"/>
                  </a:lnTo>
                  <a:lnTo>
                    <a:pt x="306" y="612"/>
                  </a:lnTo>
                  <a:lnTo>
                    <a:pt x="312" y="612"/>
                  </a:lnTo>
                  <a:lnTo>
                    <a:pt x="318" y="612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30" y="606"/>
                  </a:lnTo>
                  <a:lnTo>
                    <a:pt x="336" y="612"/>
                  </a:lnTo>
                  <a:lnTo>
                    <a:pt x="336" y="618"/>
                  </a:lnTo>
                  <a:lnTo>
                    <a:pt x="330" y="618"/>
                  </a:lnTo>
                  <a:lnTo>
                    <a:pt x="336" y="618"/>
                  </a:lnTo>
                  <a:lnTo>
                    <a:pt x="336" y="624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288" y="624"/>
                  </a:lnTo>
                  <a:lnTo>
                    <a:pt x="282" y="624"/>
                  </a:lnTo>
                  <a:lnTo>
                    <a:pt x="270" y="630"/>
                  </a:lnTo>
                  <a:lnTo>
                    <a:pt x="264" y="630"/>
                  </a:lnTo>
                  <a:lnTo>
                    <a:pt x="258" y="630"/>
                  </a:lnTo>
                  <a:lnTo>
                    <a:pt x="252" y="630"/>
                  </a:lnTo>
                  <a:lnTo>
                    <a:pt x="246" y="630"/>
                  </a:lnTo>
                  <a:lnTo>
                    <a:pt x="240" y="630"/>
                  </a:lnTo>
                  <a:lnTo>
                    <a:pt x="228" y="636"/>
                  </a:lnTo>
                  <a:lnTo>
                    <a:pt x="222" y="636"/>
                  </a:lnTo>
                  <a:lnTo>
                    <a:pt x="210" y="636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42"/>
                  </a:lnTo>
                  <a:lnTo>
                    <a:pt x="186" y="642"/>
                  </a:lnTo>
                  <a:lnTo>
                    <a:pt x="180" y="642"/>
                  </a:lnTo>
                  <a:lnTo>
                    <a:pt x="168" y="642"/>
                  </a:lnTo>
                  <a:lnTo>
                    <a:pt x="162" y="642"/>
                  </a:lnTo>
                  <a:lnTo>
                    <a:pt x="162" y="648"/>
                  </a:lnTo>
                  <a:lnTo>
                    <a:pt x="156" y="648"/>
                  </a:lnTo>
                  <a:lnTo>
                    <a:pt x="150" y="648"/>
                  </a:lnTo>
                  <a:lnTo>
                    <a:pt x="144" y="648"/>
                  </a:lnTo>
                  <a:lnTo>
                    <a:pt x="138" y="648"/>
                  </a:lnTo>
                  <a:lnTo>
                    <a:pt x="132" y="648"/>
                  </a:lnTo>
                  <a:lnTo>
                    <a:pt x="126" y="642"/>
                  </a:lnTo>
                  <a:lnTo>
                    <a:pt x="126" y="636"/>
                  </a:lnTo>
                  <a:lnTo>
                    <a:pt x="120" y="636"/>
                  </a:lnTo>
                  <a:lnTo>
                    <a:pt x="126" y="642"/>
                  </a:lnTo>
                  <a:lnTo>
                    <a:pt x="126" y="648"/>
                  </a:lnTo>
                  <a:lnTo>
                    <a:pt x="132" y="648"/>
                  </a:lnTo>
                  <a:lnTo>
                    <a:pt x="126" y="654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54"/>
                  </a:lnTo>
                  <a:lnTo>
                    <a:pt x="108" y="660"/>
                  </a:lnTo>
                  <a:lnTo>
                    <a:pt x="108" y="654"/>
                  </a:lnTo>
                  <a:lnTo>
                    <a:pt x="102" y="654"/>
                  </a:lnTo>
                  <a:lnTo>
                    <a:pt x="102" y="660"/>
                  </a:lnTo>
                  <a:lnTo>
                    <a:pt x="108" y="660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0" y="660"/>
                  </a:lnTo>
                  <a:lnTo>
                    <a:pt x="90" y="654"/>
                  </a:lnTo>
                  <a:lnTo>
                    <a:pt x="84" y="648"/>
                  </a:lnTo>
                  <a:lnTo>
                    <a:pt x="84" y="642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72" y="636"/>
                  </a:lnTo>
                  <a:lnTo>
                    <a:pt x="78" y="636"/>
                  </a:lnTo>
                  <a:lnTo>
                    <a:pt x="72" y="636"/>
                  </a:lnTo>
                  <a:lnTo>
                    <a:pt x="66" y="636"/>
                  </a:lnTo>
                  <a:lnTo>
                    <a:pt x="60" y="636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60" y="618"/>
                  </a:lnTo>
                  <a:lnTo>
                    <a:pt x="66" y="618"/>
                  </a:lnTo>
                  <a:lnTo>
                    <a:pt x="72" y="618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2" y="612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12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54" y="618"/>
                  </a:lnTo>
                  <a:lnTo>
                    <a:pt x="54" y="624"/>
                  </a:lnTo>
                  <a:lnTo>
                    <a:pt x="48" y="618"/>
                  </a:lnTo>
                  <a:lnTo>
                    <a:pt x="42" y="618"/>
                  </a:lnTo>
                  <a:lnTo>
                    <a:pt x="42" y="612"/>
                  </a:lnTo>
                  <a:lnTo>
                    <a:pt x="48" y="606"/>
                  </a:lnTo>
                  <a:lnTo>
                    <a:pt x="54" y="606"/>
                  </a:lnTo>
                  <a:lnTo>
                    <a:pt x="54" y="600"/>
                  </a:lnTo>
                  <a:lnTo>
                    <a:pt x="54" y="594"/>
                  </a:lnTo>
                  <a:lnTo>
                    <a:pt x="54" y="588"/>
                  </a:lnTo>
                  <a:lnTo>
                    <a:pt x="48" y="588"/>
                  </a:lnTo>
                  <a:lnTo>
                    <a:pt x="48" y="582"/>
                  </a:lnTo>
                  <a:lnTo>
                    <a:pt x="42" y="582"/>
                  </a:lnTo>
                  <a:lnTo>
                    <a:pt x="42" y="570"/>
                  </a:lnTo>
                  <a:lnTo>
                    <a:pt x="42" y="564"/>
                  </a:lnTo>
                  <a:lnTo>
                    <a:pt x="36" y="564"/>
                  </a:lnTo>
                  <a:close/>
                  <a:moveTo>
                    <a:pt x="498" y="420"/>
                  </a:moveTo>
                  <a:lnTo>
                    <a:pt x="504" y="426"/>
                  </a:lnTo>
                  <a:lnTo>
                    <a:pt x="510" y="432"/>
                  </a:lnTo>
                  <a:lnTo>
                    <a:pt x="516" y="432"/>
                  </a:lnTo>
                  <a:lnTo>
                    <a:pt x="516" y="438"/>
                  </a:lnTo>
                  <a:lnTo>
                    <a:pt x="510" y="438"/>
                  </a:lnTo>
                  <a:lnTo>
                    <a:pt x="504" y="438"/>
                  </a:lnTo>
                  <a:lnTo>
                    <a:pt x="504" y="432"/>
                  </a:lnTo>
                  <a:lnTo>
                    <a:pt x="498" y="432"/>
                  </a:lnTo>
                  <a:lnTo>
                    <a:pt x="498" y="426"/>
                  </a:lnTo>
                  <a:lnTo>
                    <a:pt x="498" y="4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4" name="Freeform 9">
              <a:extLst>
                <a:ext uri="{FF2B5EF4-FFF2-40B4-BE49-F238E27FC236}">
                  <a16:creationId xmlns:a16="http://schemas.microsoft.com/office/drawing/2014/main" id="{E0116D32-BD2E-45EA-B818-A3082585D5F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3055" y="2468650"/>
              <a:ext cx="800556" cy="1207710"/>
            </a:xfrm>
            <a:custGeom>
              <a:avLst/>
              <a:gdLst>
                <a:gd name="T0" fmla="*/ 24 w 1506"/>
                <a:gd name="T1" fmla="*/ 190 h 2274"/>
                <a:gd name="T2" fmla="*/ 25 w 1506"/>
                <a:gd name="T3" fmla="*/ 180 h 2274"/>
                <a:gd name="T4" fmla="*/ 21 w 1506"/>
                <a:gd name="T5" fmla="*/ 174 h 2274"/>
                <a:gd name="T6" fmla="*/ 17 w 1506"/>
                <a:gd name="T7" fmla="*/ 170 h 2274"/>
                <a:gd name="T8" fmla="*/ 12 w 1506"/>
                <a:gd name="T9" fmla="*/ 168 h 2274"/>
                <a:gd name="T10" fmla="*/ 10 w 1506"/>
                <a:gd name="T11" fmla="*/ 173 h 2274"/>
                <a:gd name="T12" fmla="*/ 7 w 1506"/>
                <a:gd name="T13" fmla="*/ 174 h 2274"/>
                <a:gd name="T14" fmla="*/ 0 w 1506"/>
                <a:gd name="T15" fmla="*/ 163 h 2274"/>
                <a:gd name="T16" fmla="*/ 16 w 1506"/>
                <a:gd name="T17" fmla="*/ 140 h 2274"/>
                <a:gd name="T18" fmla="*/ 19 w 1506"/>
                <a:gd name="T19" fmla="*/ 137 h 2274"/>
                <a:gd name="T20" fmla="*/ 24 w 1506"/>
                <a:gd name="T21" fmla="*/ 126 h 2274"/>
                <a:gd name="T22" fmla="*/ 23 w 1506"/>
                <a:gd name="T23" fmla="*/ 105 h 2274"/>
                <a:gd name="T24" fmla="*/ 14 w 1506"/>
                <a:gd name="T25" fmla="*/ 86 h 2274"/>
                <a:gd name="T26" fmla="*/ 8 w 1506"/>
                <a:gd name="T27" fmla="*/ 84 h 2274"/>
                <a:gd name="T28" fmla="*/ 5 w 1506"/>
                <a:gd name="T29" fmla="*/ 79 h 2274"/>
                <a:gd name="T30" fmla="*/ 16 w 1506"/>
                <a:gd name="T31" fmla="*/ 71 h 2274"/>
                <a:gd name="T32" fmla="*/ 28 w 1506"/>
                <a:gd name="T33" fmla="*/ 55 h 2274"/>
                <a:gd name="T34" fmla="*/ 29 w 1506"/>
                <a:gd name="T35" fmla="*/ 48 h 2274"/>
                <a:gd name="T36" fmla="*/ 35 w 1506"/>
                <a:gd name="T37" fmla="*/ 50 h 2274"/>
                <a:gd name="T38" fmla="*/ 42 w 1506"/>
                <a:gd name="T39" fmla="*/ 47 h 2274"/>
                <a:gd name="T40" fmla="*/ 63 w 1506"/>
                <a:gd name="T41" fmla="*/ 34 h 2274"/>
                <a:gd name="T42" fmla="*/ 74 w 1506"/>
                <a:gd name="T43" fmla="*/ 27 h 2274"/>
                <a:gd name="T44" fmla="*/ 81 w 1506"/>
                <a:gd name="T45" fmla="*/ 20 h 2274"/>
                <a:gd name="T46" fmla="*/ 89 w 1506"/>
                <a:gd name="T47" fmla="*/ 20 h 2274"/>
                <a:gd name="T48" fmla="*/ 98 w 1506"/>
                <a:gd name="T49" fmla="*/ 27 h 2274"/>
                <a:gd name="T50" fmla="*/ 106 w 1506"/>
                <a:gd name="T51" fmla="*/ 17 h 2274"/>
                <a:gd name="T52" fmla="*/ 111 w 1506"/>
                <a:gd name="T53" fmla="*/ 8 h 2274"/>
                <a:gd name="T54" fmla="*/ 121 w 1506"/>
                <a:gd name="T55" fmla="*/ 2 h 2274"/>
                <a:gd name="T56" fmla="*/ 129 w 1506"/>
                <a:gd name="T57" fmla="*/ 5 h 2274"/>
                <a:gd name="T58" fmla="*/ 125 w 1506"/>
                <a:gd name="T59" fmla="*/ 12 h 2274"/>
                <a:gd name="T60" fmla="*/ 122 w 1506"/>
                <a:gd name="T61" fmla="*/ 20 h 2274"/>
                <a:gd name="T62" fmla="*/ 122 w 1506"/>
                <a:gd name="T63" fmla="*/ 27 h 2274"/>
                <a:gd name="T64" fmla="*/ 120 w 1506"/>
                <a:gd name="T65" fmla="*/ 36 h 2274"/>
                <a:gd name="T66" fmla="*/ 116 w 1506"/>
                <a:gd name="T67" fmla="*/ 43 h 2274"/>
                <a:gd name="T68" fmla="*/ 109 w 1506"/>
                <a:gd name="T69" fmla="*/ 47 h 2274"/>
                <a:gd name="T70" fmla="*/ 108 w 1506"/>
                <a:gd name="T71" fmla="*/ 54 h 2274"/>
                <a:gd name="T72" fmla="*/ 106 w 1506"/>
                <a:gd name="T73" fmla="*/ 59 h 2274"/>
                <a:gd name="T74" fmla="*/ 109 w 1506"/>
                <a:gd name="T75" fmla="*/ 64 h 2274"/>
                <a:gd name="T76" fmla="*/ 106 w 1506"/>
                <a:gd name="T77" fmla="*/ 70 h 2274"/>
                <a:gd name="T78" fmla="*/ 105 w 1506"/>
                <a:gd name="T79" fmla="*/ 75 h 2274"/>
                <a:gd name="T80" fmla="*/ 101 w 1506"/>
                <a:gd name="T81" fmla="*/ 78 h 2274"/>
                <a:gd name="T82" fmla="*/ 92 w 1506"/>
                <a:gd name="T83" fmla="*/ 81 h 2274"/>
                <a:gd name="T84" fmla="*/ 85 w 1506"/>
                <a:gd name="T85" fmla="*/ 85 h 2274"/>
                <a:gd name="T86" fmla="*/ 87 w 1506"/>
                <a:gd name="T87" fmla="*/ 91 h 2274"/>
                <a:gd name="T88" fmla="*/ 86 w 1506"/>
                <a:gd name="T89" fmla="*/ 98 h 2274"/>
                <a:gd name="T90" fmla="*/ 86 w 1506"/>
                <a:gd name="T91" fmla="*/ 103 h 2274"/>
                <a:gd name="T92" fmla="*/ 82 w 1506"/>
                <a:gd name="T93" fmla="*/ 111 h 2274"/>
                <a:gd name="T94" fmla="*/ 81 w 1506"/>
                <a:gd name="T95" fmla="*/ 116 h 2274"/>
                <a:gd name="T96" fmla="*/ 78 w 1506"/>
                <a:gd name="T97" fmla="*/ 120 h 2274"/>
                <a:gd name="T98" fmla="*/ 76 w 1506"/>
                <a:gd name="T99" fmla="*/ 126 h 2274"/>
                <a:gd name="T100" fmla="*/ 68 w 1506"/>
                <a:gd name="T101" fmla="*/ 129 h 2274"/>
                <a:gd name="T102" fmla="*/ 62 w 1506"/>
                <a:gd name="T103" fmla="*/ 131 h 2274"/>
                <a:gd name="T104" fmla="*/ 58 w 1506"/>
                <a:gd name="T105" fmla="*/ 136 h 2274"/>
                <a:gd name="T106" fmla="*/ 51 w 1506"/>
                <a:gd name="T107" fmla="*/ 138 h 2274"/>
                <a:gd name="T108" fmla="*/ 51 w 1506"/>
                <a:gd name="T109" fmla="*/ 147 h 2274"/>
                <a:gd name="T110" fmla="*/ 49 w 1506"/>
                <a:gd name="T111" fmla="*/ 159 h 2274"/>
                <a:gd name="T112" fmla="*/ 48 w 1506"/>
                <a:gd name="T113" fmla="*/ 166 h 2274"/>
                <a:gd name="T114" fmla="*/ 41 w 1506"/>
                <a:gd name="T115" fmla="*/ 174 h 2274"/>
                <a:gd name="T116" fmla="*/ 39 w 1506"/>
                <a:gd name="T117" fmla="*/ 181 h 2274"/>
                <a:gd name="T118" fmla="*/ 37 w 1506"/>
                <a:gd name="T119" fmla="*/ 190 h 2274"/>
                <a:gd name="T120" fmla="*/ 29 w 1506"/>
                <a:gd name="T121" fmla="*/ 198 h 22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06"/>
                <a:gd name="T184" fmla="*/ 0 h 2274"/>
                <a:gd name="T185" fmla="*/ 1506 w 1506"/>
                <a:gd name="T186" fmla="*/ 2274 h 227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06" h="2274">
                  <a:moveTo>
                    <a:pt x="330" y="2274"/>
                  </a:moveTo>
                  <a:lnTo>
                    <a:pt x="318" y="2262"/>
                  </a:lnTo>
                  <a:lnTo>
                    <a:pt x="312" y="2238"/>
                  </a:lnTo>
                  <a:lnTo>
                    <a:pt x="312" y="2232"/>
                  </a:lnTo>
                  <a:lnTo>
                    <a:pt x="294" y="2214"/>
                  </a:lnTo>
                  <a:lnTo>
                    <a:pt x="288" y="2208"/>
                  </a:lnTo>
                  <a:lnTo>
                    <a:pt x="288" y="2202"/>
                  </a:lnTo>
                  <a:lnTo>
                    <a:pt x="276" y="2196"/>
                  </a:lnTo>
                  <a:lnTo>
                    <a:pt x="276" y="2190"/>
                  </a:lnTo>
                  <a:lnTo>
                    <a:pt x="282" y="2190"/>
                  </a:lnTo>
                  <a:lnTo>
                    <a:pt x="282" y="2184"/>
                  </a:lnTo>
                  <a:lnTo>
                    <a:pt x="276" y="2172"/>
                  </a:lnTo>
                  <a:lnTo>
                    <a:pt x="276" y="2166"/>
                  </a:lnTo>
                  <a:lnTo>
                    <a:pt x="282" y="2166"/>
                  </a:lnTo>
                  <a:lnTo>
                    <a:pt x="282" y="2154"/>
                  </a:lnTo>
                  <a:lnTo>
                    <a:pt x="276" y="2136"/>
                  </a:lnTo>
                  <a:lnTo>
                    <a:pt x="276" y="2112"/>
                  </a:lnTo>
                  <a:lnTo>
                    <a:pt x="282" y="2088"/>
                  </a:lnTo>
                  <a:lnTo>
                    <a:pt x="282" y="2082"/>
                  </a:lnTo>
                  <a:lnTo>
                    <a:pt x="282" y="2076"/>
                  </a:lnTo>
                  <a:lnTo>
                    <a:pt x="282" y="2070"/>
                  </a:lnTo>
                  <a:lnTo>
                    <a:pt x="288" y="2070"/>
                  </a:lnTo>
                  <a:lnTo>
                    <a:pt x="288" y="2064"/>
                  </a:lnTo>
                  <a:lnTo>
                    <a:pt x="282" y="2052"/>
                  </a:lnTo>
                  <a:lnTo>
                    <a:pt x="282" y="2046"/>
                  </a:lnTo>
                  <a:lnTo>
                    <a:pt x="276" y="2040"/>
                  </a:lnTo>
                  <a:lnTo>
                    <a:pt x="270" y="2034"/>
                  </a:lnTo>
                  <a:lnTo>
                    <a:pt x="264" y="2022"/>
                  </a:lnTo>
                  <a:lnTo>
                    <a:pt x="258" y="2022"/>
                  </a:lnTo>
                  <a:lnTo>
                    <a:pt x="258" y="2016"/>
                  </a:lnTo>
                  <a:lnTo>
                    <a:pt x="252" y="2016"/>
                  </a:lnTo>
                  <a:lnTo>
                    <a:pt x="246" y="2016"/>
                  </a:lnTo>
                  <a:lnTo>
                    <a:pt x="240" y="2010"/>
                  </a:lnTo>
                  <a:lnTo>
                    <a:pt x="234" y="2004"/>
                  </a:lnTo>
                  <a:lnTo>
                    <a:pt x="228" y="2004"/>
                  </a:lnTo>
                  <a:lnTo>
                    <a:pt x="228" y="1998"/>
                  </a:lnTo>
                  <a:lnTo>
                    <a:pt x="228" y="1992"/>
                  </a:lnTo>
                  <a:lnTo>
                    <a:pt x="222" y="1992"/>
                  </a:lnTo>
                  <a:lnTo>
                    <a:pt x="222" y="1986"/>
                  </a:lnTo>
                  <a:lnTo>
                    <a:pt x="216" y="1986"/>
                  </a:lnTo>
                  <a:lnTo>
                    <a:pt x="210" y="1980"/>
                  </a:lnTo>
                  <a:lnTo>
                    <a:pt x="216" y="1974"/>
                  </a:lnTo>
                  <a:lnTo>
                    <a:pt x="210" y="1968"/>
                  </a:lnTo>
                  <a:lnTo>
                    <a:pt x="198" y="1956"/>
                  </a:lnTo>
                  <a:lnTo>
                    <a:pt x="192" y="1956"/>
                  </a:lnTo>
                  <a:lnTo>
                    <a:pt x="186" y="1956"/>
                  </a:lnTo>
                  <a:lnTo>
                    <a:pt x="180" y="1944"/>
                  </a:lnTo>
                  <a:lnTo>
                    <a:pt x="180" y="1938"/>
                  </a:lnTo>
                  <a:lnTo>
                    <a:pt x="174" y="1932"/>
                  </a:lnTo>
                  <a:lnTo>
                    <a:pt x="168" y="1932"/>
                  </a:lnTo>
                  <a:lnTo>
                    <a:pt x="162" y="1932"/>
                  </a:lnTo>
                  <a:lnTo>
                    <a:pt x="150" y="1932"/>
                  </a:lnTo>
                  <a:lnTo>
                    <a:pt x="150" y="1926"/>
                  </a:lnTo>
                  <a:lnTo>
                    <a:pt x="150" y="1932"/>
                  </a:lnTo>
                  <a:lnTo>
                    <a:pt x="144" y="1932"/>
                  </a:lnTo>
                  <a:lnTo>
                    <a:pt x="138" y="1932"/>
                  </a:lnTo>
                  <a:lnTo>
                    <a:pt x="132" y="1932"/>
                  </a:lnTo>
                  <a:lnTo>
                    <a:pt x="132" y="1938"/>
                  </a:lnTo>
                  <a:lnTo>
                    <a:pt x="126" y="1944"/>
                  </a:lnTo>
                  <a:lnTo>
                    <a:pt x="126" y="1956"/>
                  </a:lnTo>
                  <a:lnTo>
                    <a:pt x="120" y="1968"/>
                  </a:lnTo>
                  <a:lnTo>
                    <a:pt x="120" y="1974"/>
                  </a:lnTo>
                  <a:lnTo>
                    <a:pt x="120" y="1980"/>
                  </a:lnTo>
                  <a:lnTo>
                    <a:pt x="126" y="1980"/>
                  </a:lnTo>
                  <a:lnTo>
                    <a:pt x="120" y="1986"/>
                  </a:lnTo>
                  <a:lnTo>
                    <a:pt x="120" y="1992"/>
                  </a:lnTo>
                  <a:lnTo>
                    <a:pt x="114" y="1992"/>
                  </a:lnTo>
                  <a:lnTo>
                    <a:pt x="114" y="1986"/>
                  </a:lnTo>
                  <a:lnTo>
                    <a:pt x="108" y="1992"/>
                  </a:lnTo>
                  <a:lnTo>
                    <a:pt x="108" y="1998"/>
                  </a:lnTo>
                  <a:lnTo>
                    <a:pt x="114" y="2004"/>
                  </a:lnTo>
                  <a:lnTo>
                    <a:pt x="108" y="2004"/>
                  </a:lnTo>
                  <a:lnTo>
                    <a:pt x="102" y="2010"/>
                  </a:lnTo>
                  <a:lnTo>
                    <a:pt x="102" y="2004"/>
                  </a:lnTo>
                  <a:lnTo>
                    <a:pt x="90" y="2004"/>
                  </a:lnTo>
                  <a:lnTo>
                    <a:pt x="84" y="2004"/>
                  </a:lnTo>
                  <a:lnTo>
                    <a:pt x="78" y="1998"/>
                  </a:lnTo>
                  <a:lnTo>
                    <a:pt x="78" y="1992"/>
                  </a:lnTo>
                  <a:lnTo>
                    <a:pt x="78" y="1986"/>
                  </a:lnTo>
                  <a:lnTo>
                    <a:pt x="72" y="1986"/>
                  </a:lnTo>
                  <a:lnTo>
                    <a:pt x="66" y="1980"/>
                  </a:lnTo>
                  <a:lnTo>
                    <a:pt x="66" y="1968"/>
                  </a:lnTo>
                  <a:lnTo>
                    <a:pt x="60" y="1956"/>
                  </a:lnTo>
                  <a:lnTo>
                    <a:pt x="60" y="1950"/>
                  </a:lnTo>
                  <a:lnTo>
                    <a:pt x="48" y="1944"/>
                  </a:lnTo>
                  <a:lnTo>
                    <a:pt x="30" y="1926"/>
                  </a:lnTo>
                  <a:lnTo>
                    <a:pt x="12" y="1890"/>
                  </a:lnTo>
                  <a:lnTo>
                    <a:pt x="6" y="1872"/>
                  </a:lnTo>
                  <a:lnTo>
                    <a:pt x="0" y="1854"/>
                  </a:lnTo>
                  <a:lnTo>
                    <a:pt x="6" y="1824"/>
                  </a:lnTo>
                  <a:lnTo>
                    <a:pt x="30" y="1794"/>
                  </a:lnTo>
                  <a:lnTo>
                    <a:pt x="66" y="1752"/>
                  </a:lnTo>
                  <a:lnTo>
                    <a:pt x="72" y="1752"/>
                  </a:lnTo>
                  <a:lnTo>
                    <a:pt x="78" y="1746"/>
                  </a:lnTo>
                  <a:lnTo>
                    <a:pt x="84" y="1746"/>
                  </a:lnTo>
                  <a:lnTo>
                    <a:pt x="90" y="1746"/>
                  </a:lnTo>
                  <a:lnTo>
                    <a:pt x="138" y="1674"/>
                  </a:lnTo>
                  <a:lnTo>
                    <a:pt x="186" y="1620"/>
                  </a:lnTo>
                  <a:lnTo>
                    <a:pt x="186" y="1614"/>
                  </a:lnTo>
                  <a:lnTo>
                    <a:pt x="186" y="1608"/>
                  </a:lnTo>
                  <a:lnTo>
                    <a:pt x="192" y="1608"/>
                  </a:lnTo>
                  <a:lnTo>
                    <a:pt x="192" y="1614"/>
                  </a:lnTo>
                  <a:lnTo>
                    <a:pt x="198" y="1614"/>
                  </a:lnTo>
                  <a:lnTo>
                    <a:pt x="198" y="1608"/>
                  </a:lnTo>
                  <a:lnTo>
                    <a:pt x="198" y="1602"/>
                  </a:lnTo>
                  <a:lnTo>
                    <a:pt x="204" y="1602"/>
                  </a:lnTo>
                  <a:lnTo>
                    <a:pt x="204" y="1596"/>
                  </a:lnTo>
                  <a:lnTo>
                    <a:pt x="210" y="1590"/>
                  </a:lnTo>
                  <a:lnTo>
                    <a:pt x="216" y="1590"/>
                  </a:lnTo>
                  <a:lnTo>
                    <a:pt x="216" y="1584"/>
                  </a:lnTo>
                  <a:lnTo>
                    <a:pt x="222" y="1584"/>
                  </a:lnTo>
                  <a:lnTo>
                    <a:pt x="228" y="1572"/>
                  </a:lnTo>
                  <a:lnTo>
                    <a:pt x="222" y="1572"/>
                  </a:lnTo>
                  <a:lnTo>
                    <a:pt x="228" y="1566"/>
                  </a:lnTo>
                  <a:lnTo>
                    <a:pt x="228" y="1560"/>
                  </a:lnTo>
                  <a:lnTo>
                    <a:pt x="252" y="1548"/>
                  </a:lnTo>
                  <a:lnTo>
                    <a:pt x="276" y="1530"/>
                  </a:lnTo>
                  <a:lnTo>
                    <a:pt x="282" y="1512"/>
                  </a:lnTo>
                  <a:lnTo>
                    <a:pt x="282" y="1506"/>
                  </a:lnTo>
                  <a:lnTo>
                    <a:pt x="282" y="1494"/>
                  </a:lnTo>
                  <a:lnTo>
                    <a:pt x="282" y="1452"/>
                  </a:lnTo>
                  <a:lnTo>
                    <a:pt x="288" y="1440"/>
                  </a:lnTo>
                  <a:lnTo>
                    <a:pt x="294" y="1440"/>
                  </a:lnTo>
                  <a:lnTo>
                    <a:pt x="294" y="1428"/>
                  </a:lnTo>
                  <a:lnTo>
                    <a:pt x="324" y="1368"/>
                  </a:lnTo>
                  <a:lnTo>
                    <a:pt x="330" y="1362"/>
                  </a:lnTo>
                  <a:lnTo>
                    <a:pt x="330" y="1356"/>
                  </a:lnTo>
                  <a:lnTo>
                    <a:pt x="360" y="1338"/>
                  </a:lnTo>
                  <a:lnTo>
                    <a:pt x="366" y="1296"/>
                  </a:lnTo>
                  <a:lnTo>
                    <a:pt x="354" y="1278"/>
                  </a:lnTo>
                  <a:lnTo>
                    <a:pt x="336" y="1230"/>
                  </a:lnTo>
                  <a:lnTo>
                    <a:pt x="270" y="1212"/>
                  </a:lnTo>
                  <a:lnTo>
                    <a:pt x="264" y="1212"/>
                  </a:lnTo>
                  <a:lnTo>
                    <a:pt x="252" y="1200"/>
                  </a:lnTo>
                  <a:lnTo>
                    <a:pt x="234" y="1188"/>
                  </a:lnTo>
                  <a:lnTo>
                    <a:pt x="222" y="1182"/>
                  </a:lnTo>
                  <a:lnTo>
                    <a:pt x="228" y="1104"/>
                  </a:lnTo>
                  <a:lnTo>
                    <a:pt x="228" y="1098"/>
                  </a:lnTo>
                  <a:lnTo>
                    <a:pt x="198" y="1038"/>
                  </a:lnTo>
                  <a:lnTo>
                    <a:pt x="192" y="1032"/>
                  </a:lnTo>
                  <a:lnTo>
                    <a:pt x="180" y="1020"/>
                  </a:lnTo>
                  <a:lnTo>
                    <a:pt x="168" y="996"/>
                  </a:lnTo>
                  <a:lnTo>
                    <a:pt x="162" y="990"/>
                  </a:lnTo>
                  <a:lnTo>
                    <a:pt x="156" y="990"/>
                  </a:lnTo>
                  <a:lnTo>
                    <a:pt x="150" y="990"/>
                  </a:lnTo>
                  <a:lnTo>
                    <a:pt x="132" y="990"/>
                  </a:lnTo>
                  <a:lnTo>
                    <a:pt x="120" y="984"/>
                  </a:lnTo>
                  <a:lnTo>
                    <a:pt x="120" y="990"/>
                  </a:lnTo>
                  <a:lnTo>
                    <a:pt x="114" y="990"/>
                  </a:lnTo>
                  <a:lnTo>
                    <a:pt x="102" y="984"/>
                  </a:lnTo>
                  <a:lnTo>
                    <a:pt x="96" y="984"/>
                  </a:lnTo>
                  <a:lnTo>
                    <a:pt x="96" y="978"/>
                  </a:lnTo>
                  <a:lnTo>
                    <a:pt x="90" y="978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84" y="960"/>
                  </a:lnTo>
                  <a:lnTo>
                    <a:pt x="84" y="954"/>
                  </a:lnTo>
                  <a:lnTo>
                    <a:pt x="78" y="948"/>
                  </a:lnTo>
                  <a:lnTo>
                    <a:pt x="72" y="948"/>
                  </a:lnTo>
                  <a:lnTo>
                    <a:pt x="72" y="942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06"/>
                  </a:lnTo>
                  <a:lnTo>
                    <a:pt x="60" y="888"/>
                  </a:lnTo>
                  <a:lnTo>
                    <a:pt x="54" y="882"/>
                  </a:lnTo>
                  <a:lnTo>
                    <a:pt x="60" y="882"/>
                  </a:lnTo>
                  <a:lnTo>
                    <a:pt x="72" y="876"/>
                  </a:lnTo>
                  <a:lnTo>
                    <a:pt x="78" y="876"/>
                  </a:lnTo>
                  <a:lnTo>
                    <a:pt x="90" y="870"/>
                  </a:lnTo>
                  <a:lnTo>
                    <a:pt x="90" y="864"/>
                  </a:lnTo>
                  <a:lnTo>
                    <a:pt x="96" y="840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80" y="822"/>
                  </a:lnTo>
                  <a:lnTo>
                    <a:pt x="204" y="798"/>
                  </a:lnTo>
                  <a:lnTo>
                    <a:pt x="222" y="786"/>
                  </a:lnTo>
                  <a:lnTo>
                    <a:pt x="252" y="780"/>
                  </a:lnTo>
                  <a:lnTo>
                    <a:pt x="264" y="762"/>
                  </a:lnTo>
                  <a:lnTo>
                    <a:pt x="276" y="762"/>
                  </a:lnTo>
                  <a:lnTo>
                    <a:pt x="288" y="744"/>
                  </a:lnTo>
                  <a:lnTo>
                    <a:pt x="306" y="738"/>
                  </a:lnTo>
                  <a:lnTo>
                    <a:pt x="318" y="732"/>
                  </a:lnTo>
                  <a:lnTo>
                    <a:pt x="324" y="648"/>
                  </a:lnTo>
                  <a:lnTo>
                    <a:pt x="324" y="636"/>
                  </a:lnTo>
                  <a:lnTo>
                    <a:pt x="324" y="630"/>
                  </a:lnTo>
                  <a:lnTo>
                    <a:pt x="330" y="624"/>
                  </a:lnTo>
                  <a:lnTo>
                    <a:pt x="324" y="618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24" y="588"/>
                  </a:lnTo>
                  <a:lnTo>
                    <a:pt x="318" y="576"/>
                  </a:lnTo>
                  <a:lnTo>
                    <a:pt x="318" y="570"/>
                  </a:lnTo>
                  <a:lnTo>
                    <a:pt x="324" y="570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30" y="558"/>
                  </a:lnTo>
                  <a:lnTo>
                    <a:pt x="336" y="558"/>
                  </a:lnTo>
                  <a:lnTo>
                    <a:pt x="342" y="558"/>
                  </a:lnTo>
                  <a:lnTo>
                    <a:pt x="348" y="558"/>
                  </a:lnTo>
                  <a:lnTo>
                    <a:pt x="354" y="564"/>
                  </a:lnTo>
                  <a:lnTo>
                    <a:pt x="360" y="564"/>
                  </a:lnTo>
                  <a:lnTo>
                    <a:pt x="366" y="570"/>
                  </a:lnTo>
                  <a:lnTo>
                    <a:pt x="366" y="576"/>
                  </a:lnTo>
                  <a:lnTo>
                    <a:pt x="372" y="570"/>
                  </a:lnTo>
                  <a:lnTo>
                    <a:pt x="378" y="570"/>
                  </a:lnTo>
                  <a:lnTo>
                    <a:pt x="390" y="570"/>
                  </a:lnTo>
                  <a:lnTo>
                    <a:pt x="402" y="570"/>
                  </a:lnTo>
                  <a:lnTo>
                    <a:pt x="408" y="570"/>
                  </a:lnTo>
                  <a:lnTo>
                    <a:pt x="414" y="564"/>
                  </a:lnTo>
                  <a:lnTo>
                    <a:pt x="420" y="564"/>
                  </a:lnTo>
                  <a:lnTo>
                    <a:pt x="420" y="570"/>
                  </a:lnTo>
                  <a:lnTo>
                    <a:pt x="426" y="570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44" y="570"/>
                  </a:lnTo>
                  <a:lnTo>
                    <a:pt x="450" y="564"/>
                  </a:lnTo>
                  <a:lnTo>
                    <a:pt x="474" y="558"/>
                  </a:lnTo>
                  <a:lnTo>
                    <a:pt x="486" y="54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40" y="474"/>
                  </a:lnTo>
                  <a:lnTo>
                    <a:pt x="558" y="456"/>
                  </a:lnTo>
                  <a:lnTo>
                    <a:pt x="582" y="450"/>
                  </a:lnTo>
                  <a:lnTo>
                    <a:pt x="594" y="414"/>
                  </a:lnTo>
                  <a:lnTo>
                    <a:pt x="612" y="390"/>
                  </a:lnTo>
                  <a:lnTo>
                    <a:pt x="636" y="390"/>
                  </a:lnTo>
                  <a:lnTo>
                    <a:pt x="666" y="390"/>
                  </a:lnTo>
                  <a:lnTo>
                    <a:pt x="696" y="390"/>
                  </a:lnTo>
                  <a:lnTo>
                    <a:pt x="726" y="390"/>
                  </a:lnTo>
                  <a:lnTo>
                    <a:pt x="762" y="378"/>
                  </a:lnTo>
                  <a:lnTo>
                    <a:pt x="780" y="366"/>
                  </a:lnTo>
                  <a:lnTo>
                    <a:pt x="780" y="342"/>
                  </a:lnTo>
                  <a:lnTo>
                    <a:pt x="786" y="342"/>
                  </a:lnTo>
                  <a:lnTo>
                    <a:pt x="786" y="336"/>
                  </a:lnTo>
                  <a:lnTo>
                    <a:pt x="786" y="330"/>
                  </a:lnTo>
                  <a:lnTo>
                    <a:pt x="786" y="324"/>
                  </a:lnTo>
                  <a:lnTo>
                    <a:pt x="816" y="318"/>
                  </a:lnTo>
                  <a:lnTo>
                    <a:pt x="834" y="312"/>
                  </a:lnTo>
                  <a:lnTo>
                    <a:pt x="840" y="318"/>
                  </a:lnTo>
                  <a:lnTo>
                    <a:pt x="852" y="318"/>
                  </a:lnTo>
                  <a:lnTo>
                    <a:pt x="858" y="306"/>
                  </a:lnTo>
                  <a:lnTo>
                    <a:pt x="864" y="288"/>
                  </a:lnTo>
                  <a:lnTo>
                    <a:pt x="870" y="282"/>
                  </a:lnTo>
                  <a:lnTo>
                    <a:pt x="876" y="276"/>
                  </a:lnTo>
                  <a:lnTo>
                    <a:pt x="882" y="264"/>
                  </a:lnTo>
                  <a:lnTo>
                    <a:pt x="882" y="258"/>
                  </a:lnTo>
                  <a:lnTo>
                    <a:pt x="888" y="252"/>
                  </a:lnTo>
                  <a:lnTo>
                    <a:pt x="894" y="240"/>
                  </a:lnTo>
                  <a:lnTo>
                    <a:pt x="906" y="228"/>
                  </a:lnTo>
                  <a:lnTo>
                    <a:pt x="912" y="228"/>
                  </a:lnTo>
                  <a:lnTo>
                    <a:pt x="936" y="228"/>
                  </a:lnTo>
                  <a:lnTo>
                    <a:pt x="942" y="222"/>
                  </a:lnTo>
                  <a:lnTo>
                    <a:pt x="948" y="216"/>
                  </a:lnTo>
                  <a:lnTo>
                    <a:pt x="954" y="216"/>
                  </a:lnTo>
                  <a:lnTo>
                    <a:pt x="960" y="216"/>
                  </a:lnTo>
                  <a:lnTo>
                    <a:pt x="966" y="216"/>
                  </a:lnTo>
                  <a:lnTo>
                    <a:pt x="978" y="216"/>
                  </a:lnTo>
                  <a:lnTo>
                    <a:pt x="990" y="222"/>
                  </a:lnTo>
                  <a:lnTo>
                    <a:pt x="996" y="222"/>
                  </a:lnTo>
                  <a:lnTo>
                    <a:pt x="1002" y="228"/>
                  </a:lnTo>
                  <a:lnTo>
                    <a:pt x="1014" y="234"/>
                  </a:lnTo>
                  <a:lnTo>
                    <a:pt x="1020" y="234"/>
                  </a:lnTo>
                  <a:lnTo>
                    <a:pt x="1032" y="240"/>
                  </a:lnTo>
                  <a:lnTo>
                    <a:pt x="1044" y="240"/>
                  </a:lnTo>
                  <a:lnTo>
                    <a:pt x="1050" y="240"/>
                  </a:lnTo>
                  <a:lnTo>
                    <a:pt x="1056" y="246"/>
                  </a:lnTo>
                  <a:lnTo>
                    <a:pt x="1068" y="264"/>
                  </a:lnTo>
                  <a:lnTo>
                    <a:pt x="1086" y="276"/>
                  </a:lnTo>
                  <a:lnTo>
                    <a:pt x="1092" y="276"/>
                  </a:lnTo>
                  <a:lnTo>
                    <a:pt x="1104" y="282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8" y="312"/>
                  </a:lnTo>
                  <a:lnTo>
                    <a:pt x="1152" y="324"/>
                  </a:lnTo>
                  <a:lnTo>
                    <a:pt x="1188" y="324"/>
                  </a:lnTo>
                  <a:lnTo>
                    <a:pt x="1206" y="318"/>
                  </a:lnTo>
                  <a:lnTo>
                    <a:pt x="1200" y="294"/>
                  </a:lnTo>
                  <a:lnTo>
                    <a:pt x="1206" y="252"/>
                  </a:lnTo>
                  <a:lnTo>
                    <a:pt x="1218" y="222"/>
                  </a:lnTo>
                  <a:lnTo>
                    <a:pt x="1212" y="222"/>
                  </a:lnTo>
                  <a:lnTo>
                    <a:pt x="1212" y="216"/>
                  </a:lnTo>
                  <a:lnTo>
                    <a:pt x="1218" y="204"/>
                  </a:lnTo>
                  <a:lnTo>
                    <a:pt x="1224" y="198"/>
                  </a:lnTo>
                  <a:lnTo>
                    <a:pt x="1224" y="192"/>
                  </a:lnTo>
                  <a:lnTo>
                    <a:pt x="1236" y="180"/>
                  </a:lnTo>
                  <a:lnTo>
                    <a:pt x="1254" y="156"/>
                  </a:lnTo>
                  <a:lnTo>
                    <a:pt x="1260" y="150"/>
                  </a:lnTo>
                  <a:lnTo>
                    <a:pt x="1260" y="144"/>
                  </a:lnTo>
                  <a:lnTo>
                    <a:pt x="1266" y="138"/>
                  </a:lnTo>
                  <a:lnTo>
                    <a:pt x="1272" y="138"/>
                  </a:lnTo>
                  <a:lnTo>
                    <a:pt x="1272" y="120"/>
                  </a:lnTo>
                  <a:lnTo>
                    <a:pt x="1278" y="114"/>
                  </a:lnTo>
                  <a:lnTo>
                    <a:pt x="1278" y="108"/>
                  </a:lnTo>
                  <a:lnTo>
                    <a:pt x="1278" y="102"/>
                  </a:lnTo>
                  <a:lnTo>
                    <a:pt x="1278" y="90"/>
                  </a:lnTo>
                  <a:lnTo>
                    <a:pt x="1278" y="84"/>
                  </a:lnTo>
                  <a:lnTo>
                    <a:pt x="1278" y="78"/>
                  </a:lnTo>
                  <a:lnTo>
                    <a:pt x="1278" y="72"/>
                  </a:lnTo>
                  <a:lnTo>
                    <a:pt x="1278" y="60"/>
                  </a:lnTo>
                  <a:lnTo>
                    <a:pt x="1284" y="48"/>
                  </a:lnTo>
                  <a:lnTo>
                    <a:pt x="1284" y="24"/>
                  </a:lnTo>
                  <a:lnTo>
                    <a:pt x="1284" y="18"/>
                  </a:lnTo>
                  <a:lnTo>
                    <a:pt x="1308" y="24"/>
                  </a:lnTo>
                  <a:lnTo>
                    <a:pt x="1332" y="30"/>
                  </a:lnTo>
                  <a:lnTo>
                    <a:pt x="1368" y="30"/>
                  </a:lnTo>
                  <a:lnTo>
                    <a:pt x="1392" y="24"/>
                  </a:lnTo>
                  <a:lnTo>
                    <a:pt x="1410" y="18"/>
                  </a:lnTo>
                  <a:lnTo>
                    <a:pt x="1416" y="6"/>
                  </a:lnTo>
                  <a:lnTo>
                    <a:pt x="1500" y="6"/>
                  </a:lnTo>
                  <a:lnTo>
                    <a:pt x="1506" y="0"/>
                  </a:lnTo>
                  <a:lnTo>
                    <a:pt x="1506" y="6"/>
                  </a:lnTo>
                  <a:lnTo>
                    <a:pt x="1506" y="18"/>
                  </a:lnTo>
                  <a:lnTo>
                    <a:pt x="1506" y="24"/>
                  </a:lnTo>
                  <a:lnTo>
                    <a:pt x="1500" y="30"/>
                  </a:lnTo>
                  <a:lnTo>
                    <a:pt x="1500" y="42"/>
                  </a:lnTo>
                  <a:lnTo>
                    <a:pt x="1494" y="54"/>
                  </a:lnTo>
                  <a:lnTo>
                    <a:pt x="1488" y="60"/>
                  </a:lnTo>
                  <a:lnTo>
                    <a:pt x="1482" y="60"/>
                  </a:lnTo>
                  <a:lnTo>
                    <a:pt x="1476" y="66"/>
                  </a:lnTo>
                  <a:lnTo>
                    <a:pt x="1476" y="72"/>
                  </a:lnTo>
                  <a:lnTo>
                    <a:pt x="1476" y="78"/>
                  </a:lnTo>
                  <a:lnTo>
                    <a:pt x="1470" y="78"/>
                  </a:lnTo>
                  <a:lnTo>
                    <a:pt x="1464" y="90"/>
                  </a:lnTo>
                  <a:lnTo>
                    <a:pt x="1458" y="96"/>
                  </a:lnTo>
                  <a:lnTo>
                    <a:pt x="1458" y="102"/>
                  </a:lnTo>
                  <a:lnTo>
                    <a:pt x="1452" y="120"/>
                  </a:lnTo>
                  <a:lnTo>
                    <a:pt x="1452" y="132"/>
                  </a:lnTo>
                  <a:lnTo>
                    <a:pt x="1446" y="144"/>
                  </a:lnTo>
                  <a:lnTo>
                    <a:pt x="1446" y="150"/>
                  </a:lnTo>
                  <a:lnTo>
                    <a:pt x="1440" y="150"/>
                  </a:lnTo>
                  <a:lnTo>
                    <a:pt x="1434" y="156"/>
                  </a:lnTo>
                  <a:lnTo>
                    <a:pt x="1428" y="168"/>
                  </a:lnTo>
                  <a:lnTo>
                    <a:pt x="1422" y="168"/>
                  </a:lnTo>
                  <a:lnTo>
                    <a:pt x="1416" y="174"/>
                  </a:lnTo>
                  <a:lnTo>
                    <a:pt x="1410" y="186"/>
                  </a:lnTo>
                  <a:lnTo>
                    <a:pt x="1410" y="204"/>
                  </a:lnTo>
                  <a:lnTo>
                    <a:pt x="1404" y="210"/>
                  </a:lnTo>
                  <a:lnTo>
                    <a:pt x="1404" y="216"/>
                  </a:lnTo>
                  <a:lnTo>
                    <a:pt x="1410" y="228"/>
                  </a:lnTo>
                  <a:lnTo>
                    <a:pt x="1410" y="234"/>
                  </a:lnTo>
                  <a:lnTo>
                    <a:pt x="1410" y="240"/>
                  </a:lnTo>
                  <a:lnTo>
                    <a:pt x="1416" y="252"/>
                  </a:lnTo>
                  <a:lnTo>
                    <a:pt x="1416" y="258"/>
                  </a:lnTo>
                  <a:lnTo>
                    <a:pt x="1422" y="264"/>
                  </a:lnTo>
                  <a:lnTo>
                    <a:pt x="1422" y="270"/>
                  </a:lnTo>
                  <a:lnTo>
                    <a:pt x="1422" y="282"/>
                  </a:lnTo>
                  <a:lnTo>
                    <a:pt x="1416" y="288"/>
                  </a:lnTo>
                  <a:lnTo>
                    <a:pt x="1410" y="294"/>
                  </a:lnTo>
                  <a:lnTo>
                    <a:pt x="1404" y="300"/>
                  </a:lnTo>
                  <a:lnTo>
                    <a:pt x="1404" y="306"/>
                  </a:lnTo>
                  <a:lnTo>
                    <a:pt x="1398" y="324"/>
                  </a:lnTo>
                  <a:lnTo>
                    <a:pt x="1404" y="330"/>
                  </a:lnTo>
                  <a:lnTo>
                    <a:pt x="1404" y="342"/>
                  </a:lnTo>
                  <a:lnTo>
                    <a:pt x="1392" y="354"/>
                  </a:lnTo>
                  <a:lnTo>
                    <a:pt x="1392" y="360"/>
                  </a:lnTo>
                  <a:lnTo>
                    <a:pt x="1392" y="372"/>
                  </a:lnTo>
                  <a:lnTo>
                    <a:pt x="1392" y="384"/>
                  </a:lnTo>
                  <a:lnTo>
                    <a:pt x="1392" y="396"/>
                  </a:lnTo>
                  <a:lnTo>
                    <a:pt x="1392" y="408"/>
                  </a:lnTo>
                  <a:lnTo>
                    <a:pt x="1386" y="414"/>
                  </a:lnTo>
                  <a:lnTo>
                    <a:pt x="1380" y="420"/>
                  </a:lnTo>
                  <a:lnTo>
                    <a:pt x="1380" y="426"/>
                  </a:lnTo>
                  <a:lnTo>
                    <a:pt x="1368" y="432"/>
                  </a:lnTo>
                  <a:lnTo>
                    <a:pt x="1362" y="444"/>
                  </a:lnTo>
                  <a:lnTo>
                    <a:pt x="1362" y="450"/>
                  </a:lnTo>
                  <a:lnTo>
                    <a:pt x="1362" y="462"/>
                  </a:lnTo>
                  <a:lnTo>
                    <a:pt x="1362" y="468"/>
                  </a:lnTo>
                  <a:lnTo>
                    <a:pt x="1362" y="474"/>
                  </a:lnTo>
                  <a:lnTo>
                    <a:pt x="1356" y="474"/>
                  </a:lnTo>
                  <a:lnTo>
                    <a:pt x="1350" y="480"/>
                  </a:lnTo>
                  <a:lnTo>
                    <a:pt x="1344" y="486"/>
                  </a:lnTo>
                  <a:lnTo>
                    <a:pt x="1338" y="498"/>
                  </a:lnTo>
                  <a:lnTo>
                    <a:pt x="1332" y="510"/>
                  </a:lnTo>
                  <a:lnTo>
                    <a:pt x="1320" y="510"/>
                  </a:lnTo>
                  <a:lnTo>
                    <a:pt x="1314" y="516"/>
                  </a:lnTo>
                  <a:lnTo>
                    <a:pt x="1302" y="522"/>
                  </a:lnTo>
                  <a:lnTo>
                    <a:pt x="1296" y="522"/>
                  </a:lnTo>
                  <a:lnTo>
                    <a:pt x="1284" y="516"/>
                  </a:lnTo>
                  <a:lnTo>
                    <a:pt x="1278" y="516"/>
                  </a:lnTo>
                  <a:lnTo>
                    <a:pt x="1272" y="522"/>
                  </a:lnTo>
                  <a:lnTo>
                    <a:pt x="1266" y="522"/>
                  </a:lnTo>
                  <a:lnTo>
                    <a:pt x="1266" y="528"/>
                  </a:lnTo>
                  <a:lnTo>
                    <a:pt x="1254" y="540"/>
                  </a:lnTo>
                  <a:lnTo>
                    <a:pt x="1248" y="546"/>
                  </a:lnTo>
                  <a:lnTo>
                    <a:pt x="1242" y="558"/>
                  </a:lnTo>
                  <a:lnTo>
                    <a:pt x="1230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30" y="594"/>
                  </a:lnTo>
                  <a:lnTo>
                    <a:pt x="1230" y="600"/>
                  </a:lnTo>
                  <a:lnTo>
                    <a:pt x="1236" y="606"/>
                  </a:lnTo>
                  <a:lnTo>
                    <a:pt x="1242" y="606"/>
                  </a:lnTo>
                  <a:lnTo>
                    <a:pt x="1242" y="612"/>
                  </a:lnTo>
                  <a:lnTo>
                    <a:pt x="1242" y="618"/>
                  </a:lnTo>
                  <a:lnTo>
                    <a:pt x="1242" y="624"/>
                  </a:lnTo>
                  <a:lnTo>
                    <a:pt x="1236" y="630"/>
                  </a:lnTo>
                  <a:lnTo>
                    <a:pt x="1230" y="642"/>
                  </a:lnTo>
                  <a:lnTo>
                    <a:pt x="1230" y="648"/>
                  </a:lnTo>
                  <a:lnTo>
                    <a:pt x="1218" y="654"/>
                  </a:lnTo>
                  <a:lnTo>
                    <a:pt x="1212" y="654"/>
                  </a:lnTo>
                  <a:lnTo>
                    <a:pt x="1212" y="660"/>
                  </a:lnTo>
                  <a:lnTo>
                    <a:pt x="1212" y="666"/>
                  </a:lnTo>
                  <a:lnTo>
                    <a:pt x="1212" y="672"/>
                  </a:lnTo>
                  <a:lnTo>
                    <a:pt x="1212" y="678"/>
                  </a:lnTo>
                  <a:lnTo>
                    <a:pt x="1218" y="684"/>
                  </a:lnTo>
                  <a:lnTo>
                    <a:pt x="1218" y="690"/>
                  </a:lnTo>
                  <a:lnTo>
                    <a:pt x="1224" y="696"/>
                  </a:lnTo>
                  <a:lnTo>
                    <a:pt x="1230" y="702"/>
                  </a:lnTo>
                  <a:lnTo>
                    <a:pt x="1236" y="696"/>
                  </a:lnTo>
                  <a:lnTo>
                    <a:pt x="1242" y="702"/>
                  </a:lnTo>
                  <a:lnTo>
                    <a:pt x="1248" y="708"/>
                  </a:lnTo>
                  <a:lnTo>
                    <a:pt x="1254" y="714"/>
                  </a:lnTo>
                  <a:lnTo>
                    <a:pt x="1254" y="720"/>
                  </a:lnTo>
                  <a:lnTo>
                    <a:pt x="1260" y="720"/>
                  </a:lnTo>
                  <a:lnTo>
                    <a:pt x="1254" y="732"/>
                  </a:lnTo>
                  <a:lnTo>
                    <a:pt x="1248" y="738"/>
                  </a:lnTo>
                  <a:lnTo>
                    <a:pt x="1242" y="744"/>
                  </a:lnTo>
                  <a:lnTo>
                    <a:pt x="1236" y="750"/>
                  </a:lnTo>
                  <a:lnTo>
                    <a:pt x="1236" y="756"/>
                  </a:lnTo>
                  <a:lnTo>
                    <a:pt x="1236" y="762"/>
                  </a:lnTo>
                  <a:lnTo>
                    <a:pt x="1236" y="768"/>
                  </a:lnTo>
                  <a:lnTo>
                    <a:pt x="1236" y="780"/>
                  </a:lnTo>
                  <a:lnTo>
                    <a:pt x="1230" y="780"/>
                  </a:lnTo>
                  <a:lnTo>
                    <a:pt x="1230" y="786"/>
                  </a:lnTo>
                  <a:lnTo>
                    <a:pt x="1230" y="792"/>
                  </a:lnTo>
                  <a:lnTo>
                    <a:pt x="1230" y="804"/>
                  </a:lnTo>
                  <a:lnTo>
                    <a:pt x="1224" y="810"/>
                  </a:lnTo>
                  <a:lnTo>
                    <a:pt x="1218" y="816"/>
                  </a:lnTo>
                  <a:lnTo>
                    <a:pt x="1224" y="822"/>
                  </a:lnTo>
                  <a:lnTo>
                    <a:pt x="1224" y="828"/>
                  </a:lnTo>
                  <a:lnTo>
                    <a:pt x="1218" y="834"/>
                  </a:lnTo>
                  <a:lnTo>
                    <a:pt x="1224" y="834"/>
                  </a:lnTo>
                  <a:lnTo>
                    <a:pt x="1224" y="840"/>
                  </a:lnTo>
                  <a:lnTo>
                    <a:pt x="1224" y="846"/>
                  </a:lnTo>
                  <a:lnTo>
                    <a:pt x="1224" y="852"/>
                  </a:lnTo>
                  <a:lnTo>
                    <a:pt x="1218" y="858"/>
                  </a:lnTo>
                  <a:lnTo>
                    <a:pt x="1218" y="870"/>
                  </a:lnTo>
                  <a:lnTo>
                    <a:pt x="1212" y="870"/>
                  </a:lnTo>
                  <a:lnTo>
                    <a:pt x="1212" y="876"/>
                  </a:lnTo>
                  <a:lnTo>
                    <a:pt x="1206" y="888"/>
                  </a:lnTo>
                  <a:lnTo>
                    <a:pt x="1200" y="882"/>
                  </a:lnTo>
                  <a:lnTo>
                    <a:pt x="1194" y="888"/>
                  </a:lnTo>
                  <a:lnTo>
                    <a:pt x="1188" y="894"/>
                  </a:lnTo>
                  <a:lnTo>
                    <a:pt x="1182" y="894"/>
                  </a:lnTo>
                  <a:lnTo>
                    <a:pt x="1182" y="900"/>
                  </a:lnTo>
                  <a:lnTo>
                    <a:pt x="1176" y="900"/>
                  </a:lnTo>
                  <a:lnTo>
                    <a:pt x="1170" y="894"/>
                  </a:lnTo>
                  <a:lnTo>
                    <a:pt x="1164" y="900"/>
                  </a:lnTo>
                  <a:lnTo>
                    <a:pt x="1158" y="900"/>
                  </a:lnTo>
                  <a:lnTo>
                    <a:pt x="1152" y="900"/>
                  </a:lnTo>
                  <a:lnTo>
                    <a:pt x="1140" y="900"/>
                  </a:lnTo>
                  <a:lnTo>
                    <a:pt x="1134" y="900"/>
                  </a:lnTo>
                  <a:lnTo>
                    <a:pt x="1128" y="906"/>
                  </a:lnTo>
                  <a:lnTo>
                    <a:pt x="1110" y="906"/>
                  </a:lnTo>
                  <a:lnTo>
                    <a:pt x="1104" y="906"/>
                  </a:lnTo>
                  <a:lnTo>
                    <a:pt x="1098" y="906"/>
                  </a:lnTo>
                  <a:lnTo>
                    <a:pt x="1092" y="912"/>
                  </a:lnTo>
                  <a:lnTo>
                    <a:pt x="1080" y="918"/>
                  </a:lnTo>
                  <a:lnTo>
                    <a:pt x="1068" y="930"/>
                  </a:lnTo>
                  <a:lnTo>
                    <a:pt x="1062" y="930"/>
                  </a:lnTo>
                  <a:lnTo>
                    <a:pt x="1056" y="930"/>
                  </a:lnTo>
                  <a:lnTo>
                    <a:pt x="1050" y="930"/>
                  </a:lnTo>
                  <a:lnTo>
                    <a:pt x="1050" y="936"/>
                  </a:lnTo>
                  <a:lnTo>
                    <a:pt x="1038" y="942"/>
                  </a:lnTo>
                  <a:lnTo>
                    <a:pt x="1032" y="948"/>
                  </a:lnTo>
                  <a:lnTo>
                    <a:pt x="1026" y="954"/>
                  </a:lnTo>
                  <a:lnTo>
                    <a:pt x="1020" y="960"/>
                  </a:lnTo>
                  <a:lnTo>
                    <a:pt x="1014" y="966"/>
                  </a:lnTo>
                  <a:lnTo>
                    <a:pt x="1002" y="966"/>
                  </a:lnTo>
                  <a:lnTo>
                    <a:pt x="990" y="978"/>
                  </a:lnTo>
                  <a:lnTo>
                    <a:pt x="984" y="978"/>
                  </a:lnTo>
                  <a:lnTo>
                    <a:pt x="978" y="984"/>
                  </a:lnTo>
                  <a:lnTo>
                    <a:pt x="972" y="984"/>
                  </a:lnTo>
                  <a:lnTo>
                    <a:pt x="978" y="990"/>
                  </a:lnTo>
                  <a:lnTo>
                    <a:pt x="972" y="996"/>
                  </a:lnTo>
                  <a:lnTo>
                    <a:pt x="978" y="1002"/>
                  </a:lnTo>
                  <a:lnTo>
                    <a:pt x="1002" y="1002"/>
                  </a:lnTo>
                  <a:lnTo>
                    <a:pt x="1002" y="1008"/>
                  </a:lnTo>
                  <a:lnTo>
                    <a:pt x="1008" y="1020"/>
                  </a:lnTo>
                  <a:lnTo>
                    <a:pt x="1002" y="1026"/>
                  </a:lnTo>
                  <a:lnTo>
                    <a:pt x="1002" y="1032"/>
                  </a:lnTo>
                  <a:lnTo>
                    <a:pt x="1002" y="1050"/>
                  </a:lnTo>
                  <a:lnTo>
                    <a:pt x="1002" y="1056"/>
                  </a:lnTo>
                  <a:lnTo>
                    <a:pt x="1008" y="1062"/>
                  </a:lnTo>
                  <a:lnTo>
                    <a:pt x="1008" y="1074"/>
                  </a:lnTo>
                  <a:lnTo>
                    <a:pt x="1008" y="1086"/>
                  </a:lnTo>
                  <a:lnTo>
                    <a:pt x="996" y="1092"/>
                  </a:lnTo>
                  <a:lnTo>
                    <a:pt x="996" y="1098"/>
                  </a:lnTo>
                  <a:lnTo>
                    <a:pt x="996" y="1104"/>
                  </a:lnTo>
                  <a:lnTo>
                    <a:pt x="990" y="1110"/>
                  </a:lnTo>
                  <a:lnTo>
                    <a:pt x="990" y="1116"/>
                  </a:lnTo>
                  <a:lnTo>
                    <a:pt x="996" y="1122"/>
                  </a:lnTo>
                  <a:lnTo>
                    <a:pt x="990" y="1128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96" y="1140"/>
                  </a:lnTo>
                  <a:lnTo>
                    <a:pt x="996" y="1146"/>
                  </a:lnTo>
                  <a:lnTo>
                    <a:pt x="996" y="1152"/>
                  </a:lnTo>
                  <a:lnTo>
                    <a:pt x="996" y="1158"/>
                  </a:lnTo>
                  <a:lnTo>
                    <a:pt x="996" y="1164"/>
                  </a:lnTo>
                  <a:lnTo>
                    <a:pt x="996" y="1170"/>
                  </a:lnTo>
                  <a:lnTo>
                    <a:pt x="996" y="1176"/>
                  </a:lnTo>
                  <a:lnTo>
                    <a:pt x="990" y="1182"/>
                  </a:lnTo>
                  <a:lnTo>
                    <a:pt x="990" y="1188"/>
                  </a:lnTo>
                  <a:lnTo>
                    <a:pt x="984" y="1200"/>
                  </a:lnTo>
                  <a:lnTo>
                    <a:pt x="990" y="1206"/>
                  </a:lnTo>
                  <a:lnTo>
                    <a:pt x="990" y="1212"/>
                  </a:lnTo>
                  <a:lnTo>
                    <a:pt x="990" y="1218"/>
                  </a:lnTo>
                  <a:lnTo>
                    <a:pt x="978" y="1230"/>
                  </a:lnTo>
                  <a:lnTo>
                    <a:pt x="972" y="1236"/>
                  </a:lnTo>
                  <a:lnTo>
                    <a:pt x="972" y="1242"/>
                  </a:lnTo>
                  <a:lnTo>
                    <a:pt x="966" y="1248"/>
                  </a:lnTo>
                  <a:lnTo>
                    <a:pt x="960" y="1260"/>
                  </a:lnTo>
                  <a:lnTo>
                    <a:pt x="954" y="1266"/>
                  </a:lnTo>
                  <a:lnTo>
                    <a:pt x="942" y="1278"/>
                  </a:lnTo>
                  <a:lnTo>
                    <a:pt x="936" y="1278"/>
                  </a:lnTo>
                  <a:lnTo>
                    <a:pt x="936" y="1284"/>
                  </a:lnTo>
                  <a:lnTo>
                    <a:pt x="936" y="1296"/>
                  </a:lnTo>
                  <a:lnTo>
                    <a:pt x="936" y="1302"/>
                  </a:lnTo>
                  <a:lnTo>
                    <a:pt x="942" y="1302"/>
                  </a:lnTo>
                  <a:lnTo>
                    <a:pt x="942" y="1308"/>
                  </a:lnTo>
                  <a:lnTo>
                    <a:pt x="936" y="1314"/>
                  </a:lnTo>
                  <a:lnTo>
                    <a:pt x="930" y="1320"/>
                  </a:lnTo>
                  <a:lnTo>
                    <a:pt x="930" y="1326"/>
                  </a:lnTo>
                  <a:lnTo>
                    <a:pt x="930" y="1332"/>
                  </a:lnTo>
                  <a:lnTo>
                    <a:pt x="936" y="1338"/>
                  </a:lnTo>
                  <a:lnTo>
                    <a:pt x="936" y="1344"/>
                  </a:lnTo>
                  <a:lnTo>
                    <a:pt x="942" y="1356"/>
                  </a:lnTo>
                  <a:lnTo>
                    <a:pt x="948" y="1368"/>
                  </a:lnTo>
                  <a:lnTo>
                    <a:pt x="942" y="1380"/>
                  </a:lnTo>
                  <a:lnTo>
                    <a:pt x="936" y="1386"/>
                  </a:lnTo>
                  <a:lnTo>
                    <a:pt x="930" y="1392"/>
                  </a:lnTo>
                  <a:lnTo>
                    <a:pt x="924" y="1392"/>
                  </a:lnTo>
                  <a:lnTo>
                    <a:pt x="918" y="1386"/>
                  </a:lnTo>
                  <a:lnTo>
                    <a:pt x="912" y="1386"/>
                  </a:lnTo>
                  <a:lnTo>
                    <a:pt x="906" y="1386"/>
                  </a:lnTo>
                  <a:lnTo>
                    <a:pt x="900" y="1386"/>
                  </a:lnTo>
                  <a:lnTo>
                    <a:pt x="900" y="1392"/>
                  </a:lnTo>
                  <a:lnTo>
                    <a:pt x="894" y="1392"/>
                  </a:lnTo>
                  <a:lnTo>
                    <a:pt x="888" y="1392"/>
                  </a:lnTo>
                  <a:lnTo>
                    <a:pt x="888" y="1398"/>
                  </a:lnTo>
                  <a:lnTo>
                    <a:pt x="882" y="1404"/>
                  </a:lnTo>
                  <a:lnTo>
                    <a:pt x="882" y="1416"/>
                  </a:lnTo>
                  <a:lnTo>
                    <a:pt x="882" y="1428"/>
                  </a:lnTo>
                  <a:lnTo>
                    <a:pt x="882" y="1434"/>
                  </a:lnTo>
                  <a:lnTo>
                    <a:pt x="870" y="1440"/>
                  </a:lnTo>
                  <a:lnTo>
                    <a:pt x="864" y="1452"/>
                  </a:lnTo>
                  <a:lnTo>
                    <a:pt x="870" y="1452"/>
                  </a:lnTo>
                  <a:lnTo>
                    <a:pt x="864" y="1458"/>
                  </a:lnTo>
                  <a:lnTo>
                    <a:pt x="858" y="1464"/>
                  </a:lnTo>
                  <a:lnTo>
                    <a:pt x="852" y="1464"/>
                  </a:lnTo>
                  <a:lnTo>
                    <a:pt x="846" y="1458"/>
                  </a:lnTo>
                  <a:lnTo>
                    <a:pt x="840" y="1458"/>
                  </a:lnTo>
                  <a:lnTo>
                    <a:pt x="828" y="1470"/>
                  </a:lnTo>
                  <a:lnTo>
                    <a:pt x="810" y="1482"/>
                  </a:lnTo>
                  <a:lnTo>
                    <a:pt x="804" y="1488"/>
                  </a:lnTo>
                  <a:lnTo>
                    <a:pt x="798" y="1488"/>
                  </a:lnTo>
                  <a:lnTo>
                    <a:pt x="792" y="1488"/>
                  </a:lnTo>
                  <a:lnTo>
                    <a:pt x="786" y="1488"/>
                  </a:lnTo>
                  <a:lnTo>
                    <a:pt x="768" y="1482"/>
                  </a:lnTo>
                  <a:lnTo>
                    <a:pt x="762" y="1476"/>
                  </a:lnTo>
                  <a:lnTo>
                    <a:pt x="744" y="1476"/>
                  </a:lnTo>
                  <a:lnTo>
                    <a:pt x="738" y="1476"/>
                  </a:lnTo>
                  <a:lnTo>
                    <a:pt x="732" y="1476"/>
                  </a:lnTo>
                  <a:lnTo>
                    <a:pt x="726" y="1482"/>
                  </a:lnTo>
                  <a:lnTo>
                    <a:pt x="726" y="1488"/>
                  </a:lnTo>
                  <a:lnTo>
                    <a:pt x="726" y="1494"/>
                  </a:lnTo>
                  <a:lnTo>
                    <a:pt x="726" y="1500"/>
                  </a:lnTo>
                  <a:lnTo>
                    <a:pt x="720" y="1500"/>
                  </a:lnTo>
                  <a:lnTo>
                    <a:pt x="720" y="1506"/>
                  </a:lnTo>
                  <a:lnTo>
                    <a:pt x="714" y="1512"/>
                  </a:lnTo>
                  <a:lnTo>
                    <a:pt x="714" y="1518"/>
                  </a:lnTo>
                  <a:lnTo>
                    <a:pt x="708" y="1518"/>
                  </a:lnTo>
                  <a:lnTo>
                    <a:pt x="708" y="1530"/>
                  </a:lnTo>
                  <a:lnTo>
                    <a:pt x="708" y="1536"/>
                  </a:lnTo>
                  <a:lnTo>
                    <a:pt x="708" y="1542"/>
                  </a:lnTo>
                  <a:lnTo>
                    <a:pt x="696" y="1554"/>
                  </a:lnTo>
                  <a:lnTo>
                    <a:pt x="690" y="1560"/>
                  </a:lnTo>
                  <a:lnTo>
                    <a:pt x="684" y="1566"/>
                  </a:lnTo>
                  <a:lnTo>
                    <a:pt x="672" y="1566"/>
                  </a:lnTo>
                  <a:lnTo>
                    <a:pt x="666" y="1566"/>
                  </a:lnTo>
                  <a:lnTo>
                    <a:pt x="660" y="1566"/>
                  </a:lnTo>
                  <a:lnTo>
                    <a:pt x="654" y="1572"/>
                  </a:lnTo>
                  <a:lnTo>
                    <a:pt x="654" y="1578"/>
                  </a:lnTo>
                  <a:lnTo>
                    <a:pt x="642" y="1578"/>
                  </a:lnTo>
                  <a:lnTo>
                    <a:pt x="630" y="1572"/>
                  </a:lnTo>
                  <a:lnTo>
                    <a:pt x="624" y="1572"/>
                  </a:lnTo>
                  <a:lnTo>
                    <a:pt x="618" y="1578"/>
                  </a:lnTo>
                  <a:lnTo>
                    <a:pt x="612" y="1584"/>
                  </a:lnTo>
                  <a:lnTo>
                    <a:pt x="606" y="1584"/>
                  </a:lnTo>
                  <a:lnTo>
                    <a:pt x="600" y="1590"/>
                  </a:lnTo>
                  <a:lnTo>
                    <a:pt x="594" y="1590"/>
                  </a:lnTo>
                  <a:lnTo>
                    <a:pt x="588" y="1590"/>
                  </a:lnTo>
                  <a:lnTo>
                    <a:pt x="582" y="1590"/>
                  </a:lnTo>
                  <a:lnTo>
                    <a:pt x="582" y="1596"/>
                  </a:lnTo>
                  <a:lnTo>
                    <a:pt x="576" y="1614"/>
                  </a:lnTo>
                  <a:lnTo>
                    <a:pt x="570" y="1632"/>
                  </a:lnTo>
                  <a:lnTo>
                    <a:pt x="570" y="1638"/>
                  </a:lnTo>
                  <a:lnTo>
                    <a:pt x="576" y="1644"/>
                  </a:lnTo>
                  <a:lnTo>
                    <a:pt x="576" y="1650"/>
                  </a:lnTo>
                  <a:lnTo>
                    <a:pt x="582" y="1662"/>
                  </a:lnTo>
                  <a:lnTo>
                    <a:pt x="582" y="1668"/>
                  </a:lnTo>
                  <a:lnTo>
                    <a:pt x="588" y="1692"/>
                  </a:lnTo>
                  <a:lnTo>
                    <a:pt x="594" y="1728"/>
                  </a:lnTo>
                  <a:lnTo>
                    <a:pt x="594" y="1752"/>
                  </a:lnTo>
                  <a:lnTo>
                    <a:pt x="594" y="1764"/>
                  </a:lnTo>
                  <a:lnTo>
                    <a:pt x="582" y="1770"/>
                  </a:lnTo>
                  <a:lnTo>
                    <a:pt x="582" y="1782"/>
                  </a:lnTo>
                  <a:lnTo>
                    <a:pt x="576" y="1788"/>
                  </a:lnTo>
                  <a:lnTo>
                    <a:pt x="570" y="1794"/>
                  </a:lnTo>
                  <a:lnTo>
                    <a:pt x="564" y="1806"/>
                  </a:lnTo>
                  <a:lnTo>
                    <a:pt x="564" y="1812"/>
                  </a:lnTo>
                  <a:lnTo>
                    <a:pt x="558" y="1812"/>
                  </a:lnTo>
                  <a:lnTo>
                    <a:pt x="564" y="1824"/>
                  </a:lnTo>
                  <a:lnTo>
                    <a:pt x="564" y="1830"/>
                  </a:lnTo>
                  <a:lnTo>
                    <a:pt x="564" y="1842"/>
                  </a:lnTo>
                  <a:lnTo>
                    <a:pt x="564" y="1848"/>
                  </a:lnTo>
                  <a:lnTo>
                    <a:pt x="564" y="1854"/>
                  </a:lnTo>
                  <a:lnTo>
                    <a:pt x="570" y="1860"/>
                  </a:lnTo>
                  <a:lnTo>
                    <a:pt x="570" y="1866"/>
                  </a:lnTo>
                  <a:lnTo>
                    <a:pt x="570" y="1872"/>
                  </a:lnTo>
                  <a:lnTo>
                    <a:pt x="570" y="1878"/>
                  </a:lnTo>
                  <a:lnTo>
                    <a:pt x="564" y="1890"/>
                  </a:lnTo>
                  <a:lnTo>
                    <a:pt x="558" y="1896"/>
                  </a:lnTo>
                  <a:lnTo>
                    <a:pt x="552" y="1908"/>
                  </a:lnTo>
                  <a:lnTo>
                    <a:pt x="546" y="1914"/>
                  </a:lnTo>
                  <a:lnTo>
                    <a:pt x="540" y="1920"/>
                  </a:lnTo>
                  <a:lnTo>
                    <a:pt x="534" y="1932"/>
                  </a:lnTo>
                  <a:lnTo>
                    <a:pt x="528" y="1944"/>
                  </a:lnTo>
                  <a:lnTo>
                    <a:pt x="516" y="1950"/>
                  </a:lnTo>
                  <a:lnTo>
                    <a:pt x="510" y="1956"/>
                  </a:lnTo>
                  <a:lnTo>
                    <a:pt x="498" y="1962"/>
                  </a:lnTo>
                  <a:lnTo>
                    <a:pt x="492" y="1974"/>
                  </a:lnTo>
                  <a:lnTo>
                    <a:pt x="486" y="1980"/>
                  </a:lnTo>
                  <a:lnTo>
                    <a:pt x="480" y="1998"/>
                  </a:lnTo>
                  <a:lnTo>
                    <a:pt x="474" y="2004"/>
                  </a:lnTo>
                  <a:lnTo>
                    <a:pt x="474" y="2010"/>
                  </a:lnTo>
                  <a:lnTo>
                    <a:pt x="474" y="2016"/>
                  </a:lnTo>
                  <a:lnTo>
                    <a:pt x="468" y="2016"/>
                  </a:lnTo>
                  <a:lnTo>
                    <a:pt x="468" y="2028"/>
                  </a:lnTo>
                  <a:lnTo>
                    <a:pt x="462" y="2034"/>
                  </a:lnTo>
                  <a:lnTo>
                    <a:pt x="456" y="2040"/>
                  </a:lnTo>
                  <a:lnTo>
                    <a:pt x="456" y="2052"/>
                  </a:lnTo>
                  <a:lnTo>
                    <a:pt x="450" y="2058"/>
                  </a:lnTo>
                  <a:lnTo>
                    <a:pt x="450" y="2070"/>
                  </a:lnTo>
                  <a:lnTo>
                    <a:pt x="450" y="2076"/>
                  </a:lnTo>
                  <a:lnTo>
                    <a:pt x="450" y="2082"/>
                  </a:lnTo>
                  <a:lnTo>
                    <a:pt x="444" y="2088"/>
                  </a:lnTo>
                  <a:lnTo>
                    <a:pt x="438" y="2094"/>
                  </a:lnTo>
                  <a:lnTo>
                    <a:pt x="444" y="2100"/>
                  </a:lnTo>
                  <a:lnTo>
                    <a:pt x="444" y="2124"/>
                  </a:lnTo>
                  <a:lnTo>
                    <a:pt x="444" y="2142"/>
                  </a:lnTo>
                  <a:lnTo>
                    <a:pt x="444" y="2160"/>
                  </a:lnTo>
                  <a:lnTo>
                    <a:pt x="450" y="2166"/>
                  </a:lnTo>
                  <a:lnTo>
                    <a:pt x="456" y="2178"/>
                  </a:lnTo>
                  <a:lnTo>
                    <a:pt x="438" y="2184"/>
                  </a:lnTo>
                  <a:lnTo>
                    <a:pt x="432" y="2184"/>
                  </a:lnTo>
                  <a:lnTo>
                    <a:pt x="426" y="2190"/>
                  </a:lnTo>
                  <a:lnTo>
                    <a:pt x="408" y="2190"/>
                  </a:lnTo>
                  <a:lnTo>
                    <a:pt x="402" y="2196"/>
                  </a:lnTo>
                  <a:lnTo>
                    <a:pt x="396" y="2196"/>
                  </a:lnTo>
                  <a:lnTo>
                    <a:pt x="384" y="2208"/>
                  </a:lnTo>
                  <a:lnTo>
                    <a:pt x="378" y="2220"/>
                  </a:lnTo>
                  <a:lnTo>
                    <a:pt x="366" y="2232"/>
                  </a:lnTo>
                  <a:lnTo>
                    <a:pt x="366" y="2238"/>
                  </a:lnTo>
                  <a:lnTo>
                    <a:pt x="360" y="2238"/>
                  </a:lnTo>
                  <a:lnTo>
                    <a:pt x="360" y="2244"/>
                  </a:lnTo>
                  <a:lnTo>
                    <a:pt x="354" y="2244"/>
                  </a:lnTo>
                  <a:lnTo>
                    <a:pt x="330" y="227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5" name="Freeform 10">
              <a:extLst>
                <a:ext uri="{FF2B5EF4-FFF2-40B4-BE49-F238E27FC236}">
                  <a16:creationId xmlns:a16="http://schemas.microsoft.com/office/drawing/2014/main" id="{3AD2FC58-3490-4B7F-A8BE-621F3CDD69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1996" y="1931890"/>
              <a:ext cx="805029" cy="1037736"/>
            </a:xfrm>
            <a:custGeom>
              <a:avLst/>
              <a:gdLst>
                <a:gd name="T0" fmla="*/ 124 w 1512"/>
                <a:gd name="T1" fmla="*/ 76 h 1956"/>
                <a:gd name="T2" fmla="*/ 120 w 1512"/>
                <a:gd name="T3" fmla="*/ 80 h 1956"/>
                <a:gd name="T4" fmla="*/ 106 w 1512"/>
                <a:gd name="T5" fmla="*/ 84 h 1956"/>
                <a:gd name="T6" fmla="*/ 105 w 1512"/>
                <a:gd name="T7" fmla="*/ 91 h 1956"/>
                <a:gd name="T8" fmla="*/ 101 w 1512"/>
                <a:gd name="T9" fmla="*/ 99 h 1956"/>
                <a:gd name="T10" fmla="*/ 105 w 1512"/>
                <a:gd name="T11" fmla="*/ 107 h 1956"/>
                <a:gd name="T12" fmla="*/ 119 w 1512"/>
                <a:gd name="T13" fmla="*/ 116 h 1956"/>
                <a:gd name="T14" fmla="*/ 121 w 1512"/>
                <a:gd name="T15" fmla="*/ 128 h 1956"/>
                <a:gd name="T16" fmla="*/ 112 w 1512"/>
                <a:gd name="T17" fmla="*/ 136 h 1956"/>
                <a:gd name="T18" fmla="*/ 119 w 1512"/>
                <a:gd name="T19" fmla="*/ 143 h 1956"/>
                <a:gd name="T20" fmla="*/ 126 w 1512"/>
                <a:gd name="T21" fmla="*/ 148 h 1956"/>
                <a:gd name="T22" fmla="*/ 126 w 1512"/>
                <a:gd name="T23" fmla="*/ 160 h 1956"/>
                <a:gd name="T24" fmla="*/ 104 w 1512"/>
                <a:gd name="T25" fmla="*/ 170 h 1956"/>
                <a:gd name="T26" fmla="*/ 99 w 1512"/>
                <a:gd name="T27" fmla="*/ 164 h 1956"/>
                <a:gd name="T28" fmla="*/ 73 w 1512"/>
                <a:gd name="T29" fmla="*/ 152 h 1956"/>
                <a:gd name="T30" fmla="*/ 56 w 1512"/>
                <a:gd name="T31" fmla="*/ 165 h 1956"/>
                <a:gd name="T32" fmla="*/ 33 w 1512"/>
                <a:gd name="T33" fmla="*/ 162 h 1956"/>
                <a:gd name="T34" fmla="*/ 25 w 1512"/>
                <a:gd name="T35" fmla="*/ 155 h 1956"/>
                <a:gd name="T36" fmla="*/ 31 w 1512"/>
                <a:gd name="T37" fmla="*/ 142 h 1956"/>
                <a:gd name="T38" fmla="*/ 24 w 1512"/>
                <a:gd name="T39" fmla="*/ 137 h 1956"/>
                <a:gd name="T40" fmla="*/ 14 w 1512"/>
                <a:gd name="T41" fmla="*/ 136 h 1956"/>
                <a:gd name="T42" fmla="*/ 11 w 1512"/>
                <a:gd name="T43" fmla="*/ 125 h 1956"/>
                <a:gd name="T44" fmla="*/ 3 w 1512"/>
                <a:gd name="T45" fmla="*/ 116 h 1956"/>
                <a:gd name="T46" fmla="*/ 2 w 1512"/>
                <a:gd name="T47" fmla="*/ 106 h 1956"/>
                <a:gd name="T48" fmla="*/ 5 w 1512"/>
                <a:gd name="T49" fmla="*/ 101 h 1956"/>
                <a:gd name="T50" fmla="*/ 2 w 1512"/>
                <a:gd name="T51" fmla="*/ 95 h 1956"/>
                <a:gd name="T52" fmla="*/ 1 w 1512"/>
                <a:gd name="T53" fmla="*/ 88 h 1956"/>
                <a:gd name="T54" fmla="*/ 4 w 1512"/>
                <a:gd name="T55" fmla="*/ 80 h 1956"/>
                <a:gd name="T56" fmla="*/ 12 w 1512"/>
                <a:gd name="T57" fmla="*/ 73 h 1956"/>
                <a:gd name="T58" fmla="*/ 16 w 1512"/>
                <a:gd name="T59" fmla="*/ 68 h 1956"/>
                <a:gd name="T60" fmla="*/ 22 w 1512"/>
                <a:gd name="T61" fmla="*/ 66 h 1956"/>
                <a:gd name="T62" fmla="*/ 32 w 1512"/>
                <a:gd name="T63" fmla="*/ 65 h 1956"/>
                <a:gd name="T64" fmla="*/ 45 w 1512"/>
                <a:gd name="T65" fmla="*/ 66 h 1956"/>
                <a:gd name="T66" fmla="*/ 50 w 1512"/>
                <a:gd name="T67" fmla="*/ 70 h 1956"/>
                <a:gd name="T68" fmla="*/ 55 w 1512"/>
                <a:gd name="T69" fmla="*/ 70 h 1956"/>
                <a:gd name="T70" fmla="*/ 63 w 1512"/>
                <a:gd name="T71" fmla="*/ 71 h 1956"/>
                <a:gd name="T72" fmla="*/ 61 w 1512"/>
                <a:gd name="T73" fmla="*/ 75 h 1956"/>
                <a:gd name="T74" fmla="*/ 66 w 1512"/>
                <a:gd name="T75" fmla="*/ 84 h 1956"/>
                <a:gd name="T76" fmla="*/ 81 w 1512"/>
                <a:gd name="T77" fmla="*/ 85 h 1956"/>
                <a:gd name="T78" fmla="*/ 83 w 1512"/>
                <a:gd name="T79" fmla="*/ 79 h 1956"/>
                <a:gd name="T80" fmla="*/ 89 w 1512"/>
                <a:gd name="T81" fmla="*/ 77 h 1956"/>
                <a:gd name="T82" fmla="*/ 89 w 1512"/>
                <a:gd name="T83" fmla="*/ 73 h 1956"/>
                <a:gd name="T84" fmla="*/ 83 w 1512"/>
                <a:gd name="T85" fmla="*/ 72 h 1956"/>
                <a:gd name="T86" fmla="*/ 77 w 1512"/>
                <a:gd name="T87" fmla="*/ 70 h 1956"/>
                <a:gd name="T88" fmla="*/ 71 w 1512"/>
                <a:gd name="T89" fmla="*/ 70 h 1956"/>
                <a:gd name="T90" fmla="*/ 59 w 1512"/>
                <a:gd name="T91" fmla="*/ 58 h 1956"/>
                <a:gd name="T92" fmla="*/ 54 w 1512"/>
                <a:gd name="T93" fmla="*/ 45 h 1956"/>
                <a:gd name="T94" fmla="*/ 49 w 1512"/>
                <a:gd name="T95" fmla="*/ 42 h 1956"/>
                <a:gd name="T96" fmla="*/ 51 w 1512"/>
                <a:gd name="T97" fmla="*/ 39 h 1956"/>
                <a:gd name="T98" fmla="*/ 55 w 1512"/>
                <a:gd name="T99" fmla="*/ 36 h 1956"/>
                <a:gd name="T100" fmla="*/ 63 w 1512"/>
                <a:gd name="T101" fmla="*/ 34 h 1956"/>
                <a:gd name="T102" fmla="*/ 68 w 1512"/>
                <a:gd name="T103" fmla="*/ 32 h 1956"/>
                <a:gd name="T104" fmla="*/ 73 w 1512"/>
                <a:gd name="T105" fmla="*/ 29 h 1956"/>
                <a:gd name="T106" fmla="*/ 78 w 1512"/>
                <a:gd name="T107" fmla="*/ 27 h 1956"/>
                <a:gd name="T108" fmla="*/ 81 w 1512"/>
                <a:gd name="T109" fmla="*/ 17 h 1956"/>
                <a:gd name="T110" fmla="*/ 84 w 1512"/>
                <a:gd name="T111" fmla="*/ 6 h 1956"/>
                <a:gd name="T112" fmla="*/ 95 w 1512"/>
                <a:gd name="T113" fmla="*/ 6 h 1956"/>
                <a:gd name="T114" fmla="*/ 99 w 1512"/>
                <a:gd name="T115" fmla="*/ 3 h 1956"/>
                <a:gd name="T116" fmla="*/ 103 w 1512"/>
                <a:gd name="T117" fmla="*/ 0 h 1956"/>
                <a:gd name="T118" fmla="*/ 110 w 1512"/>
                <a:gd name="T119" fmla="*/ 4 h 1956"/>
                <a:gd name="T120" fmla="*/ 114 w 1512"/>
                <a:gd name="T121" fmla="*/ 33 h 1956"/>
                <a:gd name="T122" fmla="*/ 117 w 1512"/>
                <a:gd name="T123" fmla="*/ 41 h 1956"/>
                <a:gd name="T124" fmla="*/ 119 w 1512"/>
                <a:gd name="T125" fmla="*/ 62 h 195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12"/>
                <a:gd name="T190" fmla="*/ 0 h 1956"/>
                <a:gd name="T191" fmla="*/ 1512 w 1512"/>
                <a:gd name="T192" fmla="*/ 1956 h 195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12" h="1956">
                  <a:moveTo>
                    <a:pt x="1512" y="780"/>
                  </a:moveTo>
                  <a:lnTo>
                    <a:pt x="1482" y="786"/>
                  </a:lnTo>
                  <a:lnTo>
                    <a:pt x="1476" y="792"/>
                  </a:lnTo>
                  <a:lnTo>
                    <a:pt x="1476" y="798"/>
                  </a:lnTo>
                  <a:lnTo>
                    <a:pt x="1476" y="804"/>
                  </a:lnTo>
                  <a:lnTo>
                    <a:pt x="1476" y="816"/>
                  </a:lnTo>
                  <a:lnTo>
                    <a:pt x="1470" y="834"/>
                  </a:lnTo>
                  <a:lnTo>
                    <a:pt x="1464" y="840"/>
                  </a:lnTo>
                  <a:lnTo>
                    <a:pt x="1452" y="852"/>
                  </a:lnTo>
                  <a:lnTo>
                    <a:pt x="1440" y="864"/>
                  </a:lnTo>
                  <a:lnTo>
                    <a:pt x="1434" y="864"/>
                  </a:lnTo>
                  <a:lnTo>
                    <a:pt x="1434" y="870"/>
                  </a:lnTo>
                  <a:lnTo>
                    <a:pt x="1422" y="876"/>
                  </a:lnTo>
                  <a:lnTo>
                    <a:pt x="1410" y="894"/>
                  </a:lnTo>
                  <a:lnTo>
                    <a:pt x="1404" y="894"/>
                  </a:lnTo>
                  <a:lnTo>
                    <a:pt x="1404" y="900"/>
                  </a:lnTo>
                  <a:lnTo>
                    <a:pt x="1404" y="906"/>
                  </a:lnTo>
                  <a:lnTo>
                    <a:pt x="1410" y="918"/>
                  </a:lnTo>
                  <a:lnTo>
                    <a:pt x="1404" y="918"/>
                  </a:lnTo>
                  <a:lnTo>
                    <a:pt x="1392" y="924"/>
                  </a:lnTo>
                  <a:lnTo>
                    <a:pt x="1386" y="924"/>
                  </a:lnTo>
                  <a:lnTo>
                    <a:pt x="1380" y="924"/>
                  </a:lnTo>
                  <a:lnTo>
                    <a:pt x="1380" y="930"/>
                  </a:lnTo>
                  <a:lnTo>
                    <a:pt x="1374" y="930"/>
                  </a:lnTo>
                  <a:lnTo>
                    <a:pt x="1374" y="924"/>
                  </a:lnTo>
                  <a:lnTo>
                    <a:pt x="1374" y="918"/>
                  </a:lnTo>
                  <a:lnTo>
                    <a:pt x="1368" y="912"/>
                  </a:lnTo>
                  <a:lnTo>
                    <a:pt x="1368" y="906"/>
                  </a:lnTo>
                  <a:lnTo>
                    <a:pt x="1368" y="900"/>
                  </a:lnTo>
                  <a:lnTo>
                    <a:pt x="1368" y="894"/>
                  </a:lnTo>
                  <a:lnTo>
                    <a:pt x="1362" y="894"/>
                  </a:lnTo>
                  <a:lnTo>
                    <a:pt x="1326" y="894"/>
                  </a:lnTo>
                  <a:lnTo>
                    <a:pt x="1302" y="906"/>
                  </a:lnTo>
                  <a:lnTo>
                    <a:pt x="1284" y="918"/>
                  </a:lnTo>
                  <a:lnTo>
                    <a:pt x="1284" y="924"/>
                  </a:lnTo>
                  <a:lnTo>
                    <a:pt x="1278" y="930"/>
                  </a:lnTo>
                  <a:lnTo>
                    <a:pt x="1266" y="930"/>
                  </a:lnTo>
                  <a:lnTo>
                    <a:pt x="1236" y="954"/>
                  </a:lnTo>
                  <a:lnTo>
                    <a:pt x="1212" y="972"/>
                  </a:lnTo>
                  <a:lnTo>
                    <a:pt x="1218" y="996"/>
                  </a:lnTo>
                  <a:lnTo>
                    <a:pt x="1224" y="1008"/>
                  </a:lnTo>
                  <a:lnTo>
                    <a:pt x="1236" y="1014"/>
                  </a:lnTo>
                  <a:lnTo>
                    <a:pt x="1242" y="1026"/>
                  </a:lnTo>
                  <a:lnTo>
                    <a:pt x="1248" y="1038"/>
                  </a:lnTo>
                  <a:lnTo>
                    <a:pt x="1260" y="1050"/>
                  </a:lnTo>
                  <a:lnTo>
                    <a:pt x="1260" y="1056"/>
                  </a:lnTo>
                  <a:lnTo>
                    <a:pt x="1260" y="1074"/>
                  </a:lnTo>
                  <a:lnTo>
                    <a:pt x="1254" y="1074"/>
                  </a:lnTo>
                  <a:lnTo>
                    <a:pt x="1236" y="1056"/>
                  </a:lnTo>
                  <a:lnTo>
                    <a:pt x="1224" y="1050"/>
                  </a:lnTo>
                  <a:lnTo>
                    <a:pt x="1212" y="1050"/>
                  </a:lnTo>
                  <a:lnTo>
                    <a:pt x="1206" y="1050"/>
                  </a:lnTo>
                  <a:lnTo>
                    <a:pt x="1200" y="1056"/>
                  </a:lnTo>
                  <a:lnTo>
                    <a:pt x="1194" y="1062"/>
                  </a:lnTo>
                  <a:lnTo>
                    <a:pt x="1188" y="1068"/>
                  </a:lnTo>
                  <a:lnTo>
                    <a:pt x="1188" y="1074"/>
                  </a:lnTo>
                  <a:lnTo>
                    <a:pt x="1176" y="1086"/>
                  </a:lnTo>
                  <a:lnTo>
                    <a:pt x="1170" y="1086"/>
                  </a:lnTo>
                  <a:lnTo>
                    <a:pt x="1170" y="1092"/>
                  </a:lnTo>
                  <a:lnTo>
                    <a:pt x="1164" y="1098"/>
                  </a:lnTo>
                  <a:lnTo>
                    <a:pt x="1158" y="1110"/>
                  </a:lnTo>
                  <a:lnTo>
                    <a:pt x="1152" y="1116"/>
                  </a:lnTo>
                  <a:lnTo>
                    <a:pt x="1152" y="1122"/>
                  </a:lnTo>
                  <a:lnTo>
                    <a:pt x="1146" y="1128"/>
                  </a:lnTo>
                  <a:lnTo>
                    <a:pt x="1152" y="1140"/>
                  </a:lnTo>
                  <a:lnTo>
                    <a:pt x="1158" y="1140"/>
                  </a:lnTo>
                  <a:lnTo>
                    <a:pt x="1164" y="1146"/>
                  </a:lnTo>
                  <a:lnTo>
                    <a:pt x="1164" y="1152"/>
                  </a:lnTo>
                  <a:lnTo>
                    <a:pt x="1170" y="1164"/>
                  </a:lnTo>
                  <a:lnTo>
                    <a:pt x="1164" y="1176"/>
                  </a:lnTo>
                  <a:lnTo>
                    <a:pt x="1170" y="1182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82" y="1218"/>
                  </a:lnTo>
                  <a:lnTo>
                    <a:pt x="1188" y="1218"/>
                  </a:lnTo>
                  <a:lnTo>
                    <a:pt x="1194" y="1218"/>
                  </a:lnTo>
                  <a:lnTo>
                    <a:pt x="1194" y="1224"/>
                  </a:lnTo>
                  <a:lnTo>
                    <a:pt x="1200" y="1230"/>
                  </a:lnTo>
                  <a:lnTo>
                    <a:pt x="1200" y="1248"/>
                  </a:lnTo>
                  <a:lnTo>
                    <a:pt x="1212" y="1266"/>
                  </a:lnTo>
                  <a:lnTo>
                    <a:pt x="1218" y="1278"/>
                  </a:lnTo>
                  <a:lnTo>
                    <a:pt x="1224" y="1284"/>
                  </a:lnTo>
                  <a:lnTo>
                    <a:pt x="1236" y="1296"/>
                  </a:lnTo>
                  <a:lnTo>
                    <a:pt x="1242" y="1302"/>
                  </a:lnTo>
                  <a:lnTo>
                    <a:pt x="1242" y="1308"/>
                  </a:lnTo>
                  <a:lnTo>
                    <a:pt x="1272" y="1308"/>
                  </a:lnTo>
                  <a:lnTo>
                    <a:pt x="1296" y="1314"/>
                  </a:lnTo>
                  <a:lnTo>
                    <a:pt x="1320" y="1320"/>
                  </a:lnTo>
                  <a:lnTo>
                    <a:pt x="1338" y="1320"/>
                  </a:lnTo>
                  <a:lnTo>
                    <a:pt x="1356" y="1332"/>
                  </a:lnTo>
                  <a:lnTo>
                    <a:pt x="1368" y="1344"/>
                  </a:lnTo>
                  <a:lnTo>
                    <a:pt x="1374" y="1362"/>
                  </a:lnTo>
                  <a:lnTo>
                    <a:pt x="1368" y="1362"/>
                  </a:lnTo>
                  <a:lnTo>
                    <a:pt x="1368" y="1398"/>
                  </a:lnTo>
                  <a:lnTo>
                    <a:pt x="1368" y="1410"/>
                  </a:lnTo>
                  <a:lnTo>
                    <a:pt x="1368" y="1428"/>
                  </a:lnTo>
                  <a:lnTo>
                    <a:pt x="1368" y="1434"/>
                  </a:lnTo>
                  <a:lnTo>
                    <a:pt x="1368" y="1440"/>
                  </a:lnTo>
                  <a:lnTo>
                    <a:pt x="1374" y="1446"/>
                  </a:lnTo>
                  <a:lnTo>
                    <a:pt x="1374" y="1452"/>
                  </a:lnTo>
                  <a:lnTo>
                    <a:pt x="1380" y="1458"/>
                  </a:lnTo>
                  <a:lnTo>
                    <a:pt x="1386" y="1464"/>
                  </a:lnTo>
                  <a:lnTo>
                    <a:pt x="1386" y="1470"/>
                  </a:lnTo>
                  <a:lnTo>
                    <a:pt x="1380" y="1476"/>
                  </a:lnTo>
                  <a:lnTo>
                    <a:pt x="1374" y="1482"/>
                  </a:lnTo>
                  <a:lnTo>
                    <a:pt x="1362" y="1500"/>
                  </a:lnTo>
                  <a:lnTo>
                    <a:pt x="1362" y="1506"/>
                  </a:lnTo>
                  <a:lnTo>
                    <a:pt x="1362" y="1512"/>
                  </a:lnTo>
                  <a:lnTo>
                    <a:pt x="1362" y="1518"/>
                  </a:lnTo>
                  <a:lnTo>
                    <a:pt x="1362" y="1524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38" y="1548"/>
                  </a:lnTo>
                  <a:lnTo>
                    <a:pt x="1296" y="1548"/>
                  </a:lnTo>
                  <a:lnTo>
                    <a:pt x="1290" y="1554"/>
                  </a:lnTo>
                  <a:lnTo>
                    <a:pt x="1284" y="1560"/>
                  </a:lnTo>
                  <a:lnTo>
                    <a:pt x="1284" y="1566"/>
                  </a:lnTo>
                  <a:lnTo>
                    <a:pt x="1290" y="1578"/>
                  </a:lnTo>
                  <a:lnTo>
                    <a:pt x="1296" y="1590"/>
                  </a:lnTo>
                  <a:lnTo>
                    <a:pt x="1302" y="1590"/>
                  </a:lnTo>
                  <a:lnTo>
                    <a:pt x="1308" y="1596"/>
                  </a:lnTo>
                  <a:lnTo>
                    <a:pt x="1320" y="1602"/>
                  </a:lnTo>
                  <a:lnTo>
                    <a:pt x="1326" y="1602"/>
                  </a:lnTo>
                  <a:lnTo>
                    <a:pt x="1326" y="1608"/>
                  </a:lnTo>
                  <a:lnTo>
                    <a:pt x="1332" y="1614"/>
                  </a:lnTo>
                  <a:lnTo>
                    <a:pt x="1344" y="1620"/>
                  </a:lnTo>
                  <a:lnTo>
                    <a:pt x="1356" y="1626"/>
                  </a:lnTo>
                  <a:lnTo>
                    <a:pt x="1356" y="1632"/>
                  </a:lnTo>
                  <a:lnTo>
                    <a:pt x="1356" y="1638"/>
                  </a:lnTo>
                  <a:lnTo>
                    <a:pt x="1362" y="1644"/>
                  </a:lnTo>
                  <a:lnTo>
                    <a:pt x="1368" y="1644"/>
                  </a:lnTo>
                  <a:lnTo>
                    <a:pt x="1380" y="1650"/>
                  </a:lnTo>
                  <a:lnTo>
                    <a:pt x="1386" y="1650"/>
                  </a:lnTo>
                  <a:lnTo>
                    <a:pt x="1386" y="1656"/>
                  </a:lnTo>
                  <a:lnTo>
                    <a:pt x="1392" y="1656"/>
                  </a:lnTo>
                  <a:lnTo>
                    <a:pt x="1398" y="1662"/>
                  </a:lnTo>
                  <a:lnTo>
                    <a:pt x="1410" y="1674"/>
                  </a:lnTo>
                  <a:lnTo>
                    <a:pt x="1428" y="1680"/>
                  </a:lnTo>
                  <a:lnTo>
                    <a:pt x="1428" y="1686"/>
                  </a:lnTo>
                  <a:lnTo>
                    <a:pt x="1428" y="1698"/>
                  </a:lnTo>
                  <a:lnTo>
                    <a:pt x="1434" y="1704"/>
                  </a:lnTo>
                  <a:lnTo>
                    <a:pt x="1434" y="1710"/>
                  </a:lnTo>
                  <a:lnTo>
                    <a:pt x="1440" y="1710"/>
                  </a:lnTo>
                  <a:lnTo>
                    <a:pt x="1446" y="1710"/>
                  </a:lnTo>
                  <a:lnTo>
                    <a:pt x="1446" y="1716"/>
                  </a:lnTo>
                  <a:lnTo>
                    <a:pt x="1440" y="1722"/>
                  </a:lnTo>
                  <a:lnTo>
                    <a:pt x="1440" y="1728"/>
                  </a:lnTo>
                  <a:lnTo>
                    <a:pt x="1440" y="1734"/>
                  </a:lnTo>
                  <a:lnTo>
                    <a:pt x="1440" y="1740"/>
                  </a:lnTo>
                  <a:lnTo>
                    <a:pt x="1440" y="1746"/>
                  </a:lnTo>
                  <a:lnTo>
                    <a:pt x="1440" y="1788"/>
                  </a:lnTo>
                  <a:lnTo>
                    <a:pt x="1440" y="1800"/>
                  </a:lnTo>
                  <a:lnTo>
                    <a:pt x="1440" y="1806"/>
                  </a:lnTo>
                  <a:lnTo>
                    <a:pt x="1440" y="1836"/>
                  </a:lnTo>
                  <a:lnTo>
                    <a:pt x="1440" y="1848"/>
                  </a:lnTo>
                  <a:lnTo>
                    <a:pt x="1446" y="1848"/>
                  </a:lnTo>
                  <a:lnTo>
                    <a:pt x="1446" y="1854"/>
                  </a:lnTo>
                  <a:lnTo>
                    <a:pt x="1452" y="1848"/>
                  </a:lnTo>
                  <a:lnTo>
                    <a:pt x="1458" y="1854"/>
                  </a:lnTo>
                  <a:lnTo>
                    <a:pt x="1452" y="1860"/>
                  </a:lnTo>
                  <a:lnTo>
                    <a:pt x="1452" y="1866"/>
                  </a:lnTo>
                  <a:lnTo>
                    <a:pt x="1458" y="1872"/>
                  </a:lnTo>
                  <a:lnTo>
                    <a:pt x="1464" y="1884"/>
                  </a:lnTo>
                  <a:lnTo>
                    <a:pt x="1428" y="1878"/>
                  </a:lnTo>
                  <a:lnTo>
                    <a:pt x="1356" y="1890"/>
                  </a:lnTo>
                  <a:lnTo>
                    <a:pt x="1296" y="1926"/>
                  </a:lnTo>
                  <a:lnTo>
                    <a:pt x="1266" y="1944"/>
                  </a:lnTo>
                  <a:lnTo>
                    <a:pt x="1224" y="1944"/>
                  </a:lnTo>
                  <a:lnTo>
                    <a:pt x="1188" y="1956"/>
                  </a:lnTo>
                  <a:lnTo>
                    <a:pt x="1188" y="1950"/>
                  </a:lnTo>
                  <a:lnTo>
                    <a:pt x="1176" y="1944"/>
                  </a:lnTo>
                  <a:lnTo>
                    <a:pt x="1176" y="1938"/>
                  </a:lnTo>
                  <a:lnTo>
                    <a:pt x="1170" y="1938"/>
                  </a:lnTo>
                  <a:lnTo>
                    <a:pt x="1164" y="1932"/>
                  </a:lnTo>
                  <a:lnTo>
                    <a:pt x="1158" y="1926"/>
                  </a:lnTo>
                  <a:lnTo>
                    <a:pt x="1158" y="1920"/>
                  </a:lnTo>
                  <a:lnTo>
                    <a:pt x="1152" y="1920"/>
                  </a:lnTo>
                  <a:lnTo>
                    <a:pt x="1146" y="1914"/>
                  </a:lnTo>
                  <a:lnTo>
                    <a:pt x="1146" y="1908"/>
                  </a:lnTo>
                  <a:lnTo>
                    <a:pt x="1140" y="1908"/>
                  </a:lnTo>
                  <a:lnTo>
                    <a:pt x="1134" y="1902"/>
                  </a:lnTo>
                  <a:lnTo>
                    <a:pt x="1134" y="1896"/>
                  </a:lnTo>
                  <a:lnTo>
                    <a:pt x="1116" y="1896"/>
                  </a:lnTo>
                  <a:lnTo>
                    <a:pt x="1104" y="1884"/>
                  </a:lnTo>
                  <a:lnTo>
                    <a:pt x="1092" y="1860"/>
                  </a:lnTo>
                  <a:lnTo>
                    <a:pt x="1068" y="1854"/>
                  </a:lnTo>
                  <a:lnTo>
                    <a:pt x="1032" y="1842"/>
                  </a:lnTo>
                  <a:lnTo>
                    <a:pt x="1008" y="1836"/>
                  </a:lnTo>
                  <a:lnTo>
                    <a:pt x="978" y="1824"/>
                  </a:lnTo>
                  <a:lnTo>
                    <a:pt x="942" y="1818"/>
                  </a:lnTo>
                  <a:lnTo>
                    <a:pt x="924" y="1806"/>
                  </a:lnTo>
                  <a:lnTo>
                    <a:pt x="906" y="1788"/>
                  </a:lnTo>
                  <a:lnTo>
                    <a:pt x="894" y="1776"/>
                  </a:lnTo>
                  <a:lnTo>
                    <a:pt x="864" y="1758"/>
                  </a:lnTo>
                  <a:lnTo>
                    <a:pt x="834" y="1752"/>
                  </a:lnTo>
                  <a:lnTo>
                    <a:pt x="798" y="1746"/>
                  </a:lnTo>
                  <a:lnTo>
                    <a:pt x="792" y="1806"/>
                  </a:lnTo>
                  <a:lnTo>
                    <a:pt x="798" y="1812"/>
                  </a:lnTo>
                  <a:lnTo>
                    <a:pt x="810" y="1830"/>
                  </a:lnTo>
                  <a:lnTo>
                    <a:pt x="792" y="1842"/>
                  </a:lnTo>
                  <a:lnTo>
                    <a:pt x="768" y="1842"/>
                  </a:lnTo>
                  <a:lnTo>
                    <a:pt x="708" y="1848"/>
                  </a:lnTo>
                  <a:lnTo>
                    <a:pt x="690" y="1860"/>
                  </a:lnTo>
                  <a:lnTo>
                    <a:pt x="690" y="1866"/>
                  </a:lnTo>
                  <a:lnTo>
                    <a:pt x="678" y="1878"/>
                  </a:lnTo>
                  <a:lnTo>
                    <a:pt x="660" y="1884"/>
                  </a:lnTo>
                  <a:lnTo>
                    <a:pt x="660" y="1902"/>
                  </a:lnTo>
                  <a:lnTo>
                    <a:pt x="642" y="1902"/>
                  </a:lnTo>
                  <a:lnTo>
                    <a:pt x="582" y="1914"/>
                  </a:lnTo>
                  <a:lnTo>
                    <a:pt x="534" y="1908"/>
                  </a:lnTo>
                  <a:lnTo>
                    <a:pt x="510" y="1908"/>
                  </a:lnTo>
                  <a:lnTo>
                    <a:pt x="510" y="1896"/>
                  </a:lnTo>
                  <a:lnTo>
                    <a:pt x="492" y="1896"/>
                  </a:lnTo>
                  <a:lnTo>
                    <a:pt x="486" y="1902"/>
                  </a:lnTo>
                  <a:lnTo>
                    <a:pt x="474" y="1908"/>
                  </a:lnTo>
                  <a:lnTo>
                    <a:pt x="450" y="1908"/>
                  </a:lnTo>
                  <a:lnTo>
                    <a:pt x="432" y="1902"/>
                  </a:lnTo>
                  <a:lnTo>
                    <a:pt x="426" y="1896"/>
                  </a:lnTo>
                  <a:lnTo>
                    <a:pt x="402" y="1884"/>
                  </a:lnTo>
                  <a:lnTo>
                    <a:pt x="390" y="1872"/>
                  </a:lnTo>
                  <a:lnTo>
                    <a:pt x="384" y="1872"/>
                  </a:lnTo>
                  <a:lnTo>
                    <a:pt x="378" y="1872"/>
                  </a:lnTo>
                  <a:lnTo>
                    <a:pt x="378" y="1866"/>
                  </a:lnTo>
                  <a:lnTo>
                    <a:pt x="372" y="1860"/>
                  </a:lnTo>
                  <a:lnTo>
                    <a:pt x="372" y="1854"/>
                  </a:lnTo>
                  <a:lnTo>
                    <a:pt x="366" y="1842"/>
                  </a:lnTo>
                  <a:lnTo>
                    <a:pt x="366" y="1836"/>
                  </a:lnTo>
                  <a:lnTo>
                    <a:pt x="348" y="1830"/>
                  </a:lnTo>
                  <a:lnTo>
                    <a:pt x="348" y="1806"/>
                  </a:lnTo>
                  <a:lnTo>
                    <a:pt x="348" y="1800"/>
                  </a:lnTo>
                  <a:lnTo>
                    <a:pt x="348" y="1782"/>
                  </a:lnTo>
                  <a:lnTo>
                    <a:pt x="336" y="1788"/>
                  </a:lnTo>
                  <a:lnTo>
                    <a:pt x="312" y="1794"/>
                  </a:lnTo>
                  <a:lnTo>
                    <a:pt x="288" y="1788"/>
                  </a:lnTo>
                  <a:lnTo>
                    <a:pt x="264" y="1758"/>
                  </a:lnTo>
                  <a:lnTo>
                    <a:pt x="270" y="1758"/>
                  </a:lnTo>
                  <a:lnTo>
                    <a:pt x="270" y="1752"/>
                  </a:lnTo>
                  <a:lnTo>
                    <a:pt x="276" y="1752"/>
                  </a:lnTo>
                  <a:lnTo>
                    <a:pt x="282" y="1746"/>
                  </a:lnTo>
                  <a:lnTo>
                    <a:pt x="300" y="1746"/>
                  </a:lnTo>
                  <a:lnTo>
                    <a:pt x="312" y="1746"/>
                  </a:lnTo>
                  <a:lnTo>
                    <a:pt x="336" y="1710"/>
                  </a:lnTo>
                  <a:lnTo>
                    <a:pt x="342" y="1692"/>
                  </a:lnTo>
                  <a:lnTo>
                    <a:pt x="348" y="1680"/>
                  </a:lnTo>
                  <a:lnTo>
                    <a:pt x="342" y="1650"/>
                  </a:lnTo>
                  <a:lnTo>
                    <a:pt x="354" y="1644"/>
                  </a:lnTo>
                  <a:lnTo>
                    <a:pt x="354" y="1638"/>
                  </a:lnTo>
                  <a:lnTo>
                    <a:pt x="360" y="1632"/>
                  </a:lnTo>
                  <a:lnTo>
                    <a:pt x="354" y="1626"/>
                  </a:lnTo>
                  <a:lnTo>
                    <a:pt x="348" y="1626"/>
                  </a:lnTo>
                  <a:lnTo>
                    <a:pt x="348" y="1620"/>
                  </a:lnTo>
                  <a:lnTo>
                    <a:pt x="342" y="1620"/>
                  </a:lnTo>
                  <a:lnTo>
                    <a:pt x="348" y="1614"/>
                  </a:lnTo>
                  <a:lnTo>
                    <a:pt x="324" y="1566"/>
                  </a:lnTo>
                  <a:lnTo>
                    <a:pt x="318" y="1566"/>
                  </a:lnTo>
                  <a:lnTo>
                    <a:pt x="306" y="1572"/>
                  </a:lnTo>
                  <a:lnTo>
                    <a:pt x="300" y="1572"/>
                  </a:lnTo>
                  <a:lnTo>
                    <a:pt x="294" y="1578"/>
                  </a:lnTo>
                  <a:lnTo>
                    <a:pt x="288" y="1584"/>
                  </a:lnTo>
                  <a:lnTo>
                    <a:pt x="282" y="1584"/>
                  </a:lnTo>
                  <a:lnTo>
                    <a:pt x="282" y="1578"/>
                  </a:lnTo>
                  <a:lnTo>
                    <a:pt x="276" y="1578"/>
                  </a:lnTo>
                  <a:lnTo>
                    <a:pt x="270" y="1578"/>
                  </a:lnTo>
                  <a:lnTo>
                    <a:pt x="264" y="1578"/>
                  </a:lnTo>
                  <a:lnTo>
                    <a:pt x="258" y="1578"/>
                  </a:lnTo>
                  <a:lnTo>
                    <a:pt x="252" y="1578"/>
                  </a:lnTo>
                  <a:lnTo>
                    <a:pt x="252" y="1584"/>
                  </a:lnTo>
                  <a:lnTo>
                    <a:pt x="246" y="1584"/>
                  </a:lnTo>
                  <a:lnTo>
                    <a:pt x="210" y="1584"/>
                  </a:lnTo>
                  <a:lnTo>
                    <a:pt x="204" y="1584"/>
                  </a:lnTo>
                  <a:lnTo>
                    <a:pt x="192" y="1584"/>
                  </a:lnTo>
                  <a:lnTo>
                    <a:pt x="168" y="1596"/>
                  </a:lnTo>
                  <a:lnTo>
                    <a:pt x="156" y="1572"/>
                  </a:lnTo>
                  <a:lnTo>
                    <a:pt x="156" y="1566"/>
                  </a:lnTo>
                  <a:lnTo>
                    <a:pt x="156" y="1560"/>
                  </a:lnTo>
                  <a:lnTo>
                    <a:pt x="162" y="1548"/>
                  </a:lnTo>
                  <a:lnTo>
                    <a:pt x="162" y="1542"/>
                  </a:lnTo>
                  <a:lnTo>
                    <a:pt x="162" y="1536"/>
                  </a:lnTo>
                  <a:lnTo>
                    <a:pt x="168" y="1530"/>
                  </a:lnTo>
                  <a:lnTo>
                    <a:pt x="168" y="1524"/>
                  </a:lnTo>
                  <a:lnTo>
                    <a:pt x="168" y="1518"/>
                  </a:lnTo>
                  <a:lnTo>
                    <a:pt x="174" y="1518"/>
                  </a:lnTo>
                  <a:lnTo>
                    <a:pt x="174" y="1506"/>
                  </a:lnTo>
                  <a:lnTo>
                    <a:pt x="156" y="1470"/>
                  </a:lnTo>
                  <a:lnTo>
                    <a:pt x="138" y="1464"/>
                  </a:lnTo>
                  <a:lnTo>
                    <a:pt x="126" y="1446"/>
                  </a:lnTo>
                  <a:lnTo>
                    <a:pt x="126" y="1440"/>
                  </a:lnTo>
                  <a:lnTo>
                    <a:pt x="126" y="1434"/>
                  </a:lnTo>
                  <a:lnTo>
                    <a:pt x="120" y="1428"/>
                  </a:lnTo>
                  <a:lnTo>
                    <a:pt x="126" y="1398"/>
                  </a:lnTo>
                  <a:lnTo>
                    <a:pt x="120" y="1374"/>
                  </a:lnTo>
                  <a:lnTo>
                    <a:pt x="60" y="1374"/>
                  </a:lnTo>
                  <a:lnTo>
                    <a:pt x="60" y="1368"/>
                  </a:lnTo>
                  <a:lnTo>
                    <a:pt x="54" y="1362"/>
                  </a:lnTo>
                  <a:lnTo>
                    <a:pt x="48" y="1356"/>
                  </a:lnTo>
                  <a:lnTo>
                    <a:pt x="42" y="1356"/>
                  </a:lnTo>
                  <a:lnTo>
                    <a:pt x="42" y="1350"/>
                  </a:lnTo>
                  <a:lnTo>
                    <a:pt x="36" y="1344"/>
                  </a:lnTo>
                  <a:lnTo>
                    <a:pt x="36" y="1338"/>
                  </a:lnTo>
                  <a:lnTo>
                    <a:pt x="30" y="1332"/>
                  </a:lnTo>
                  <a:lnTo>
                    <a:pt x="30" y="1326"/>
                  </a:lnTo>
                  <a:lnTo>
                    <a:pt x="18" y="1326"/>
                  </a:lnTo>
                  <a:lnTo>
                    <a:pt x="18" y="1320"/>
                  </a:lnTo>
                  <a:lnTo>
                    <a:pt x="18" y="1326"/>
                  </a:lnTo>
                  <a:lnTo>
                    <a:pt x="6" y="1320"/>
                  </a:lnTo>
                  <a:lnTo>
                    <a:pt x="0" y="1314"/>
                  </a:lnTo>
                  <a:lnTo>
                    <a:pt x="12" y="1266"/>
                  </a:lnTo>
                  <a:lnTo>
                    <a:pt x="6" y="1242"/>
                  </a:lnTo>
                  <a:lnTo>
                    <a:pt x="12" y="1236"/>
                  </a:lnTo>
                  <a:lnTo>
                    <a:pt x="12" y="1230"/>
                  </a:lnTo>
                  <a:lnTo>
                    <a:pt x="18" y="1230"/>
                  </a:lnTo>
                  <a:lnTo>
                    <a:pt x="18" y="1224"/>
                  </a:lnTo>
                  <a:lnTo>
                    <a:pt x="24" y="1218"/>
                  </a:lnTo>
                  <a:lnTo>
                    <a:pt x="24" y="1212"/>
                  </a:lnTo>
                  <a:lnTo>
                    <a:pt x="30" y="1212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48" y="1188"/>
                  </a:lnTo>
                  <a:lnTo>
                    <a:pt x="48" y="1182"/>
                  </a:lnTo>
                  <a:lnTo>
                    <a:pt x="48" y="1176"/>
                  </a:lnTo>
                  <a:lnTo>
                    <a:pt x="48" y="1170"/>
                  </a:lnTo>
                  <a:lnTo>
                    <a:pt x="54" y="1170"/>
                  </a:lnTo>
                  <a:lnTo>
                    <a:pt x="60" y="1164"/>
                  </a:lnTo>
                  <a:lnTo>
                    <a:pt x="60" y="1158"/>
                  </a:lnTo>
                  <a:lnTo>
                    <a:pt x="66" y="1152"/>
                  </a:lnTo>
                  <a:lnTo>
                    <a:pt x="60" y="1140"/>
                  </a:lnTo>
                  <a:lnTo>
                    <a:pt x="60" y="1134"/>
                  </a:lnTo>
                  <a:lnTo>
                    <a:pt x="54" y="1134"/>
                  </a:lnTo>
                  <a:lnTo>
                    <a:pt x="54" y="1128"/>
                  </a:lnTo>
                  <a:lnTo>
                    <a:pt x="48" y="1122"/>
                  </a:lnTo>
                  <a:lnTo>
                    <a:pt x="48" y="1116"/>
                  </a:lnTo>
                  <a:lnTo>
                    <a:pt x="48" y="1110"/>
                  </a:lnTo>
                  <a:lnTo>
                    <a:pt x="42" y="1104"/>
                  </a:lnTo>
                  <a:lnTo>
                    <a:pt x="42" y="1098"/>
                  </a:lnTo>
                  <a:lnTo>
                    <a:pt x="36" y="1092"/>
                  </a:lnTo>
                  <a:lnTo>
                    <a:pt x="30" y="1092"/>
                  </a:lnTo>
                  <a:lnTo>
                    <a:pt x="24" y="1092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18" y="1080"/>
                  </a:lnTo>
                  <a:lnTo>
                    <a:pt x="18" y="1074"/>
                  </a:lnTo>
                  <a:lnTo>
                    <a:pt x="12" y="1068"/>
                  </a:lnTo>
                  <a:lnTo>
                    <a:pt x="6" y="1068"/>
                  </a:lnTo>
                  <a:lnTo>
                    <a:pt x="12" y="1056"/>
                  </a:lnTo>
                  <a:lnTo>
                    <a:pt x="6" y="1056"/>
                  </a:lnTo>
                  <a:lnTo>
                    <a:pt x="6" y="1050"/>
                  </a:lnTo>
                  <a:lnTo>
                    <a:pt x="6" y="1044"/>
                  </a:lnTo>
                  <a:lnTo>
                    <a:pt x="6" y="1026"/>
                  </a:lnTo>
                  <a:lnTo>
                    <a:pt x="12" y="1020"/>
                  </a:lnTo>
                  <a:lnTo>
                    <a:pt x="12" y="1014"/>
                  </a:lnTo>
                  <a:lnTo>
                    <a:pt x="18" y="1014"/>
                  </a:lnTo>
                  <a:lnTo>
                    <a:pt x="18" y="1008"/>
                  </a:lnTo>
                  <a:lnTo>
                    <a:pt x="18" y="1002"/>
                  </a:lnTo>
                  <a:lnTo>
                    <a:pt x="18" y="990"/>
                  </a:lnTo>
                  <a:lnTo>
                    <a:pt x="12" y="972"/>
                  </a:lnTo>
                  <a:lnTo>
                    <a:pt x="18" y="954"/>
                  </a:lnTo>
                  <a:lnTo>
                    <a:pt x="18" y="948"/>
                  </a:lnTo>
                  <a:lnTo>
                    <a:pt x="24" y="948"/>
                  </a:lnTo>
                  <a:lnTo>
                    <a:pt x="24" y="930"/>
                  </a:lnTo>
                  <a:lnTo>
                    <a:pt x="30" y="930"/>
                  </a:lnTo>
                  <a:lnTo>
                    <a:pt x="36" y="918"/>
                  </a:lnTo>
                  <a:lnTo>
                    <a:pt x="42" y="918"/>
                  </a:lnTo>
                  <a:lnTo>
                    <a:pt x="48" y="918"/>
                  </a:lnTo>
                  <a:lnTo>
                    <a:pt x="78" y="912"/>
                  </a:lnTo>
                  <a:lnTo>
                    <a:pt x="90" y="894"/>
                  </a:lnTo>
                  <a:lnTo>
                    <a:pt x="96" y="894"/>
                  </a:lnTo>
                  <a:lnTo>
                    <a:pt x="102" y="888"/>
                  </a:lnTo>
                  <a:lnTo>
                    <a:pt x="102" y="882"/>
                  </a:lnTo>
                  <a:lnTo>
                    <a:pt x="114" y="870"/>
                  </a:lnTo>
                  <a:lnTo>
                    <a:pt x="120" y="864"/>
                  </a:lnTo>
                  <a:lnTo>
                    <a:pt x="120" y="852"/>
                  </a:lnTo>
                  <a:lnTo>
                    <a:pt x="120" y="846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32" y="840"/>
                  </a:lnTo>
                  <a:lnTo>
                    <a:pt x="138" y="840"/>
                  </a:lnTo>
                  <a:lnTo>
                    <a:pt x="138" y="834"/>
                  </a:lnTo>
                  <a:lnTo>
                    <a:pt x="144" y="834"/>
                  </a:lnTo>
                  <a:lnTo>
                    <a:pt x="144" y="828"/>
                  </a:lnTo>
                  <a:lnTo>
                    <a:pt x="150" y="828"/>
                  </a:lnTo>
                  <a:lnTo>
                    <a:pt x="156" y="822"/>
                  </a:lnTo>
                  <a:lnTo>
                    <a:pt x="162" y="816"/>
                  </a:lnTo>
                  <a:lnTo>
                    <a:pt x="162" y="822"/>
                  </a:lnTo>
                  <a:lnTo>
                    <a:pt x="162" y="816"/>
                  </a:lnTo>
                  <a:lnTo>
                    <a:pt x="162" y="810"/>
                  </a:lnTo>
                  <a:lnTo>
                    <a:pt x="168" y="810"/>
                  </a:lnTo>
                  <a:lnTo>
                    <a:pt x="174" y="804"/>
                  </a:lnTo>
                  <a:lnTo>
                    <a:pt x="180" y="798"/>
                  </a:lnTo>
                  <a:lnTo>
                    <a:pt x="180" y="786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8" y="780"/>
                  </a:lnTo>
                  <a:lnTo>
                    <a:pt x="204" y="774"/>
                  </a:lnTo>
                  <a:lnTo>
                    <a:pt x="210" y="774"/>
                  </a:lnTo>
                  <a:lnTo>
                    <a:pt x="216" y="768"/>
                  </a:lnTo>
                  <a:lnTo>
                    <a:pt x="222" y="762"/>
                  </a:lnTo>
                  <a:lnTo>
                    <a:pt x="228" y="762"/>
                  </a:lnTo>
                  <a:lnTo>
                    <a:pt x="228" y="768"/>
                  </a:lnTo>
                  <a:lnTo>
                    <a:pt x="234" y="768"/>
                  </a:lnTo>
                  <a:lnTo>
                    <a:pt x="240" y="762"/>
                  </a:lnTo>
                  <a:lnTo>
                    <a:pt x="252" y="762"/>
                  </a:lnTo>
                  <a:lnTo>
                    <a:pt x="264" y="768"/>
                  </a:lnTo>
                  <a:lnTo>
                    <a:pt x="294" y="756"/>
                  </a:lnTo>
                  <a:lnTo>
                    <a:pt x="294" y="750"/>
                  </a:lnTo>
                  <a:lnTo>
                    <a:pt x="300" y="750"/>
                  </a:lnTo>
                  <a:lnTo>
                    <a:pt x="306" y="744"/>
                  </a:lnTo>
                  <a:lnTo>
                    <a:pt x="342" y="750"/>
                  </a:lnTo>
                  <a:lnTo>
                    <a:pt x="348" y="750"/>
                  </a:lnTo>
                  <a:lnTo>
                    <a:pt x="348" y="744"/>
                  </a:lnTo>
                  <a:lnTo>
                    <a:pt x="354" y="744"/>
                  </a:lnTo>
                  <a:lnTo>
                    <a:pt x="360" y="744"/>
                  </a:lnTo>
                  <a:lnTo>
                    <a:pt x="360" y="750"/>
                  </a:lnTo>
                  <a:lnTo>
                    <a:pt x="366" y="750"/>
                  </a:lnTo>
                  <a:lnTo>
                    <a:pt x="366" y="744"/>
                  </a:lnTo>
                  <a:lnTo>
                    <a:pt x="366" y="738"/>
                  </a:lnTo>
                  <a:lnTo>
                    <a:pt x="372" y="744"/>
                  </a:lnTo>
                  <a:lnTo>
                    <a:pt x="378" y="744"/>
                  </a:lnTo>
                  <a:lnTo>
                    <a:pt x="384" y="750"/>
                  </a:lnTo>
                  <a:lnTo>
                    <a:pt x="444" y="774"/>
                  </a:lnTo>
                  <a:lnTo>
                    <a:pt x="450" y="774"/>
                  </a:lnTo>
                  <a:lnTo>
                    <a:pt x="456" y="768"/>
                  </a:lnTo>
                  <a:lnTo>
                    <a:pt x="462" y="768"/>
                  </a:lnTo>
                  <a:lnTo>
                    <a:pt x="462" y="762"/>
                  </a:lnTo>
                  <a:lnTo>
                    <a:pt x="468" y="762"/>
                  </a:lnTo>
                  <a:lnTo>
                    <a:pt x="474" y="756"/>
                  </a:lnTo>
                  <a:lnTo>
                    <a:pt x="480" y="750"/>
                  </a:lnTo>
                  <a:lnTo>
                    <a:pt x="516" y="756"/>
                  </a:lnTo>
                  <a:lnTo>
                    <a:pt x="522" y="756"/>
                  </a:lnTo>
                  <a:lnTo>
                    <a:pt x="522" y="762"/>
                  </a:lnTo>
                  <a:lnTo>
                    <a:pt x="522" y="768"/>
                  </a:lnTo>
                  <a:lnTo>
                    <a:pt x="522" y="774"/>
                  </a:lnTo>
                  <a:lnTo>
                    <a:pt x="528" y="780"/>
                  </a:lnTo>
                  <a:lnTo>
                    <a:pt x="540" y="780"/>
                  </a:lnTo>
                  <a:lnTo>
                    <a:pt x="540" y="804"/>
                  </a:lnTo>
                  <a:lnTo>
                    <a:pt x="540" y="810"/>
                  </a:lnTo>
                  <a:lnTo>
                    <a:pt x="546" y="810"/>
                  </a:lnTo>
                  <a:lnTo>
                    <a:pt x="552" y="810"/>
                  </a:lnTo>
                  <a:lnTo>
                    <a:pt x="558" y="810"/>
                  </a:lnTo>
                  <a:lnTo>
                    <a:pt x="564" y="810"/>
                  </a:lnTo>
                  <a:lnTo>
                    <a:pt x="570" y="810"/>
                  </a:lnTo>
                  <a:lnTo>
                    <a:pt x="576" y="810"/>
                  </a:lnTo>
                  <a:lnTo>
                    <a:pt x="576" y="816"/>
                  </a:lnTo>
                  <a:lnTo>
                    <a:pt x="588" y="816"/>
                  </a:lnTo>
                  <a:lnTo>
                    <a:pt x="594" y="816"/>
                  </a:lnTo>
                  <a:lnTo>
                    <a:pt x="600" y="822"/>
                  </a:lnTo>
                  <a:lnTo>
                    <a:pt x="606" y="816"/>
                  </a:lnTo>
                  <a:lnTo>
                    <a:pt x="612" y="816"/>
                  </a:lnTo>
                  <a:lnTo>
                    <a:pt x="612" y="810"/>
                  </a:lnTo>
                  <a:lnTo>
                    <a:pt x="624" y="810"/>
                  </a:lnTo>
                  <a:lnTo>
                    <a:pt x="624" y="804"/>
                  </a:lnTo>
                  <a:lnTo>
                    <a:pt x="630" y="798"/>
                  </a:lnTo>
                  <a:lnTo>
                    <a:pt x="636" y="798"/>
                  </a:lnTo>
                  <a:lnTo>
                    <a:pt x="636" y="804"/>
                  </a:lnTo>
                  <a:lnTo>
                    <a:pt x="642" y="804"/>
                  </a:lnTo>
                  <a:lnTo>
                    <a:pt x="648" y="804"/>
                  </a:lnTo>
                  <a:lnTo>
                    <a:pt x="654" y="804"/>
                  </a:lnTo>
                  <a:lnTo>
                    <a:pt x="660" y="804"/>
                  </a:lnTo>
                  <a:lnTo>
                    <a:pt x="678" y="798"/>
                  </a:lnTo>
                  <a:lnTo>
                    <a:pt x="714" y="786"/>
                  </a:lnTo>
                  <a:lnTo>
                    <a:pt x="714" y="792"/>
                  </a:lnTo>
                  <a:lnTo>
                    <a:pt x="714" y="798"/>
                  </a:lnTo>
                  <a:lnTo>
                    <a:pt x="714" y="804"/>
                  </a:lnTo>
                  <a:lnTo>
                    <a:pt x="720" y="804"/>
                  </a:lnTo>
                  <a:lnTo>
                    <a:pt x="720" y="810"/>
                  </a:lnTo>
                  <a:lnTo>
                    <a:pt x="720" y="816"/>
                  </a:lnTo>
                  <a:lnTo>
                    <a:pt x="726" y="822"/>
                  </a:lnTo>
                  <a:lnTo>
                    <a:pt x="732" y="828"/>
                  </a:lnTo>
                  <a:lnTo>
                    <a:pt x="732" y="834"/>
                  </a:lnTo>
                  <a:lnTo>
                    <a:pt x="732" y="846"/>
                  </a:lnTo>
                  <a:lnTo>
                    <a:pt x="732" y="858"/>
                  </a:lnTo>
                  <a:lnTo>
                    <a:pt x="738" y="858"/>
                  </a:lnTo>
                  <a:lnTo>
                    <a:pt x="732" y="864"/>
                  </a:lnTo>
                  <a:lnTo>
                    <a:pt x="732" y="870"/>
                  </a:lnTo>
                  <a:lnTo>
                    <a:pt x="726" y="870"/>
                  </a:lnTo>
                  <a:lnTo>
                    <a:pt x="726" y="876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0" y="882"/>
                  </a:lnTo>
                  <a:lnTo>
                    <a:pt x="690" y="912"/>
                  </a:lnTo>
                  <a:lnTo>
                    <a:pt x="696" y="936"/>
                  </a:lnTo>
                  <a:lnTo>
                    <a:pt x="702" y="936"/>
                  </a:lnTo>
                  <a:lnTo>
                    <a:pt x="702" y="930"/>
                  </a:lnTo>
                  <a:lnTo>
                    <a:pt x="708" y="930"/>
                  </a:lnTo>
                  <a:lnTo>
                    <a:pt x="708" y="924"/>
                  </a:lnTo>
                  <a:lnTo>
                    <a:pt x="708" y="918"/>
                  </a:lnTo>
                  <a:lnTo>
                    <a:pt x="714" y="918"/>
                  </a:lnTo>
                  <a:lnTo>
                    <a:pt x="720" y="954"/>
                  </a:lnTo>
                  <a:lnTo>
                    <a:pt x="726" y="966"/>
                  </a:lnTo>
                  <a:lnTo>
                    <a:pt x="744" y="966"/>
                  </a:lnTo>
                  <a:lnTo>
                    <a:pt x="756" y="972"/>
                  </a:lnTo>
                  <a:lnTo>
                    <a:pt x="792" y="990"/>
                  </a:lnTo>
                  <a:lnTo>
                    <a:pt x="828" y="978"/>
                  </a:lnTo>
                  <a:lnTo>
                    <a:pt x="834" y="978"/>
                  </a:lnTo>
                  <a:lnTo>
                    <a:pt x="840" y="978"/>
                  </a:lnTo>
                  <a:lnTo>
                    <a:pt x="840" y="984"/>
                  </a:lnTo>
                  <a:lnTo>
                    <a:pt x="846" y="984"/>
                  </a:lnTo>
                  <a:lnTo>
                    <a:pt x="858" y="972"/>
                  </a:lnTo>
                  <a:lnTo>
                    <a:pt x="882" y="972"/>
                  </a:lnTo>
                  <a:lnTo>
                    <a:pt x="888" y="984"/>
                  </a:lnTo>
                  <a:lnTo>
                    <a:pt x="900" y="990"/>
                  </a:lnTo>
                  <a:lnTo>
                    <a:pt x="924" y="996"/>
                  </a:lnTo>
                  <a:lnTo>
                    <a:pt x="930" y="990"/>
                  </a:lnTo>
                  <a:lnTo>
                    <a:pt x="930" y="984"/>
                  </a:lnTo>
                  <a:lnTo>
                    <a:pt x="924" y="978"/>
                  </a:lnTo>
                  <a:lnTo>
                    <a:pt x="906" y="972"/>
                  </a:lnTo>
                  <a:lnTo>
                    <a:pt x="900" y="966"/>
                  </a:lnTo>
                  <a:lnTo>
                    <a:pt x="900" y="960"/>
                  </a:lnTo>
                  <a:lnTo>
                    <a:pt x="900" y="954"/>
                  </a:lnTo>
                  <a:lnTo>
                    <a:pt x="900" y="948"/>
                  </a:lnTo>
                  <a:lnTo>
                    <a:pt x="912" y="936"/>
                  </a:lnTo>
                  <a:lnTo>
                    <a:pt x="912" y="924"/>
                  </a:lnTo>
                  <a:lnTo>
                    <a:pt x="918" y="924"/>
                  </a:lnTo>
                  <a:lnTo>
                    <a:pt x="918" y="918"/>
                  </a:lnTo>
                  <a:lnTo>
                    <a:pt x="936" y="906"/>
                  </a:lnTo>
                  <a:lnTo>
                    <a:pt x="942" y="906"/>
                  </a:lnTo>
                  <a:lnTo>
                    <a:pt x="948" y="906"/>
                  </a:lnTo>
                  <a:lnTo>
                    <a:pt x="954" y="906"/>
                  </a:lnTo>
                  <a:lnTo>
                    <a:pt x="960" y="906"/>
                  </a:lnTo>
                  <a:lnTo>
                    <a:pt x="966" y="912"/>
                  </a:lnTo>
                  <a:lnTo>
                    <a:pt x="972" y="906"/>
                  </a:lnTo>
                  <a:lnTo>
                    <a:pt x="978" y="906"/>
                  </a:lnTo>
                  <a:lnTo>
                    <a:pt x="984" y="900"/>
                  </a:lnTo>
                  <a:lnTo>
                    <a:pt x="984" y="894"/>
                  </a:lnTo>
                  <a:lnTo>
                    <a:pt x="990" y="894"/>
                  </a:lnTo>
                  <a:lnTo>
                    <a:pt x="996" y="888"/>
                  </a:lnTo>
                  <a:lnTo>
                    <a:pt x="1002" y="888"/>
                  </a:lnTo>
                  <a:lnTo>
                    <a:pt x="1008" y="882"/>
                  </a:lnTo>
                  <a:lnTo>
                    <a:pt x="1014" y="882"/>
                  </a:lnTo>
                  <a:lnTo>
                    <a:pt x="1020" y="882"/>
                  </a:lnTo>
                  <a:lnTo>
                    <a:pt x="1020" y="888"/>
                  </a:lnTo>
                  <a:lnTo>
                    <a:pt x="1026" y="882"/>
                  </a:lnTo>
                  <a:lnTo>
                    <a:pt x="1026" y="876"/>
                  </a:lnTo>
                  <a:lnTo>
                    <a:pt x="1026" y="870"/>
                  </a:lnTo>
                  <a:lnTo>
                    <a:pt x="1032" y="864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44" y="852"/>
                  </a:lnTo>
                  <a:lnTo>
                    <a:pt x="1038" y="846"/>
                  </a:lnTo>
                  <a:lnTo>
                    <a:pt x="1038" y="840"/>
                  </a:lnTo>
                  <a:lnTo>
                    <a:pt x="1032" y="840"/>
                  </a:lnTo>
                  <a:lnTo>
                    <a:pt x="1026" y="840"/>
                  </a:lnTo>
                  <a:lnTo>
                    <a:pt x="1020" y="840"/>
                  </a:lnTo>
                  <a:lnTo>
                    <a:pt x="1014" y="846"/>
                  </a:lnTo>
                  <a:lnTo>
                    <a:pt x="1008" y="846"/>
                  </a:lnTo>
                  <a:lnTo>
                    <a:pt x="1002" y="840"/>
                  </a:lnTo>
                  <a:lnTo>
                    <a:pt x="996" y="840"/>
                  </a:lnTo>
                  <a:lnTo>
                    <a:pt x="990" y="834"/>
                  </a:lnTo>
                  <a:lnTo>
                    <a:pt x="984" y="834"/>
                  </a:lnTo>
                  <a:lnTo>
                    <a:pt x="978" y="834"/>
                  </a:lnTo>
                  <a:lnTo>
                    <a:pt x="972" y="834"/>
                  </a:lnTo>
                  <a:lnTo>
                    <a:pt x="966" y="834"/>
                  </a:lnTo>
                  <a:lnTo>
                    <a:pt x="966" y="828"/>
                  </a:lnTo>
                  <a:lnTo>
                    <a:pt x="960" y="828"/>
                  </a:lnTo>
                  <a:lnTo>
                    <a:pt x="954" y="828"/>
                  </a:lnTo>
                  <a:lnTo>
                    <a:pt x="942" y="828"/>
                  </a:lnTo>
                  <a:lnTo>
                    <a:pt x="936" y="828"/>
                  </a:lnTo>
                  <a:lnTo>
                    <a:pt x="930" y="828"/>
                  </a:lnTo>
                  <a:lnTo>
                    <a:pt x="918" y="828"/>
                  </a:lnTo>
                  <a:lnTo>
                    <a:pt x="918" y="822"/>
                  </a:lnTo>
                  <a:lnTo>
                    <a:pt x="912" y="828"/>
                  </a:lnTo>
                  <a:lnTo>
                    <a:pt x="912" y="822"/>
                  </a:lnTo>
                  <a:lnTo>
                    <a:pt x="906" y="816"/>
                  </a:lnTo>
                  <a:lnTo>
                    <a:pt x="900" y="816"/>
                  </a:lnTo>
                  <a:lnTo>
                    <a:pt x="894" y="816"/>
                  </a:lnTo>
                  <a:lnTo>
                    <a:pt x="888" y="816"/>
                  </a:lnTo>
                  <a:lnTo>
                    <a:pt x="882" y="816"/>
                  </a:lnTo>
                  <a:lnTo>
                    <a:pt x="882" y="810"/>
                  </a:lnTo>
                  <a:lnTo>
                    <a:pt x="876" y="804"/>
                  </a:lnTo>
                  <a:lnTo>
                    <a:pt x="870" y="804"/>
                  </a:lnTo>
                  <a:lnTo>
                    <a:pt x="864" y="798"/>
                  </a:lnTo>
                  <a:lnTo>
                    <a:pt x="858" y="798"/>
                  </a:lnTo>
                  <a:lnTo>
                    <a:pt x="858" y="804"/>
                  </a:lnTo>
                  <a:lnTo>
                    <a:pt x="852" y="804"/>
                  </a:lnTo>
                  <a:lnTo>
                    <a:pt x="846" y="804"/>
                  </a:lnTo>
                  <a:lnTo>
                    <a:pt x="846" y="798"/>
                  </a:lnTo>
                  <a:lnTo>
                    <a:pt x="840" y="804"/>
                  </a:lnTo>
                  <a:lnTo>
                    <a:pt x="834" y="804"/>
                  </a:lnTo>
                  <a:lnTo>
                    <a:pt x="828" y="804"/>
                  </a:lnTo>
                  <a:lnTo>
                    <a:pt x="828" y="810"/>
                  </a:lnTo>
                  <a:lnTo>
                    <a:pt x="822" y="810"/>
                  </a:lnTo>
                  <a:lnTo>
                    <a:pt x="810" y="804"/>
                  </a:lnTo>
                  <a:lnTo>
                    <a:pt x="810" y="798"/>
                  </a:lnTo>
                  <a:lnTo>
                    <a:pt x="780" y="798"/>
                  </a:lnTo>
                  <a:lnTo>
                    <a:pt x="756" y="774"/>
                  </a:lnTo>
                  <a:lnTo>
                    <a:pt x="750" y="768"/>
                  </a:lnTo>
                  <a:lnTo>
                    <a:pt x="750" y="744"/>
                  </a:lnTo>
                  <a:lnTo>
                    <a:pt x="732" y="738"/>
                  </a:lnTo>
                  <a:lnTo>
                    <a:pt x="732" y="720"/>
                  </a:lnTo>
                  <a:lnTo>
                    <a:pt x="714" y="690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6" y="666"/>
                  </a:lnTo>
                  <a:lnTo>
                    <a:pt x="690" y="666"/>
                  </a:lnTo>
                  <a:lnTo>
                    <a:pt x="678" y="672"/>
                  </a:lnTo>
                  <a:lnTo>
                    <a:pt x="678" y="654"/>
                  </a:lnTo>
                  <a:lnTo>
                    <a:pt x="684" y="630"/>
                  </a:lnTo>
                  <a:lnTo>
                    <a:pt x="690" y="618"/>
                  </a:lnTo>
                  <a:lnTo>
                    <a:pt x="696" y="612"/>
                  </a:lnTo>
                  <a:lnTo>
                    <a:pt x="696" y="588"/>
                  </a:lnTo>
                  <a:lnTo>
                    <a:pt x="690" y="576"/>
                  </a:lnTo>
                  <a:lnTo>
                    <a:pt x="696" y="552"/>
                  </a:lnTo>
                  <a:lnTo>
                    <a:pt x="684" y="522"/>
                  </a:lnTo>
                  <a:lnTo>
                    <a:pt x="672" y="504"/>
                  </a:lnTo>
                  <a:lnTo>
                    <a:pt x="654" y="504"/>
                  </a:lnTo>
                  <a:lnTo>
                    <a:pt x="642" y="504"/>
                  </a:lnTo>
                  <a:lnTo>
                    <a:pt x="624" y="510"/>
                  </a:lnTo>
                  <a:lnTo>
                    <a:pt x="612" y="516"/>
                  </a:lnTo>
                  <a:lnTo>
                    <a:pt x="594" y="516"/>
                  </a:lnTo>
                  <a:lnTo>
                    <a:pt x="588" y="516"/>
                  </a:lnTo>
                  <a:lnTo>
                    <a:pt x="588" y="522"/>
                  </a:lnTo>
                  <a:lnTo>
                    <a:pt x="582" y="516"/>
                  </a:lnTo>
                  <a:lnTo>
                    <a:pt x="588" y="510"/>
                  </a:lnTo>
                  <a:lnTo>
                    <a:pt x="582" y="510"/>
                  </a:lnTo>
                  <a:lnTo>
                    <a:pt x="582" y="504"/>
                  </a:lnTo>
                  <a:lnTo>
                    <a:pt x="576" y="498"/>
                  </a:lnTo>
                  <a:lnTo>
                    <a:pt x="570" y="498"/>
                  </a:lnTo>
                  <a:lnTo>
                    <a:pt x="570" y="492"/>
                  </a:lnTo>
                  <a:lnTo>
                    <a:pt x="564" y="492"/>
                  </a:lnTo>
                  <a:lnTo>
                    <a:pt x="570" y="486"/>
                  </a:lnTo>
                  <a:lnTo>
                    <a:pt x="564" y="486"/>
                  </a:lnTo>
                  <a:lnTo>
                    <a:pt x="564" y="480"/>
                  </a:lnTo>
                  <a:lnTo>
                    <a:pt x="564" y="474"/>
                  </a:lnTo>
                  <a:lnTo>
                    <a:pt x="558" y="468"/>
                  </a:lnTo>
                  <a:lnTo>
                    <a:pt x="564" y="468"/>
                  </a:lnTo>
                  <a:lnTo>
                    <a:pt x="564" y="462"/>
                  </a:lnTo>
                  <a:lnTo>
                    <a:pt x="570" y="462"/>
                  </a:lnTo>
                  <a:lnTo>
                    <a:pt x="570" y="456"/>
                  </a:lnTo>
                  <a:lnTo>
                    <a:pt x="570" y="450"/>
                  </a:lnTo>
                  <a:lnTo>
                    <a:pt x="576" y="450"/>
                  </a:lnTo>
                  <a:lnTo>
                    <a:pt x="576" y="444"/>
                  </a:lnTo>
                  <a:lnTo>
                    <a:pt x="582" y="438"/>
                  </a:lnTo>
                  <a:lnTo>
                    <a:pt x="588" y="438"/>
                  </a:lnTo>
                  <a:lnTo>
                    <a:pt x="588" y="444"/>
                  </a:lnTo>
                  <a:lnTo>
                    <a:pt x="594" y="438"/>
                  </a:lnTo>
                  <a:lnTo>
                    <a:pt x="594" y="432"/>
                  </a:lnTo>
                  <a:lnTo>
                    <a:pt x="600" y="432"/>
                  </a:lnTo>
                  <a:lnTo>
                    <a:pt x="600" y="426"/>
                  </a:lnTo>
                  <a:lnTo>
                    <a:pt x="600" y="420"/>
                  </a:lnTo>
                  <a:lnTo>
                    <a:pt x="606" y="420"/>
                  </a:lnTo>
                  <a:lnTo>
                    <a:pt x="600" y="420"/>
                  </a:lnTo>
                  <a:lnTo>
                    <a:pt x="600" y="414"/>
                  </a:lnTo>
                  <a:lnTo>
                    <a:pt x="606" y="408"/>
                  </a:lnTo>
                  <a:lnTo>
                    <a:pt x="612" y="408"/>
                  </a:lnTo>
                  <a:lnTo>
                    <a:pt x="612" y="414"/>
                  </a:lnTo>
                  <a:lnTo>
                    <a:pt x="618" y="414"/>
                  </a:lnTo>
                  <a:lnTo>
                    <a:pt x="624" y="414"/>
                  </a:lnTo>
                  <a:lnTo>
                    <a:pt x="630" y="414"/>
                  </a:lnTo>
                  <a:lnTo>
                    <a:pt x="636" y="414"/>
                  </a:lnTo>
                  <a:lnTo>
                    <a:pt x="642" y="408"/>
                  </a:lnTo>
                  <a:lnTo>
                    <a:pt x="648" y="408"/>
                  </a:lnTo>
                  <a:lnTo>
                    <a:pt x="660" y="408"/>
                  </a:lnTo>
                  <a:lnTo>
                    <a:pt x="666" y="402"/>
                  </a:lnTo>
                  <a:lnTo>
                    <a:pt x="672" y="402"/>
                  </a:lnTo>
                  <a:lnTo>
                    <a:pt x="684" y="396"/>
                  </a:lnTo>
                  <a:lnTo>
                    <a:pt x="690" y="396"/>
                  </a:lnTo>
                  <a:lnTo>
                    <a:pt x="696" y="396"/>
                  </a:lnTo>
                  <a:lnTo>
                    <a:pt x="702" y="396"/>
                  </a:lnTo>
                  <a:lnTo>
                    <a:pt x="708" y="396"/>
                  </a:lnTo>
                  <a:lnTo>
                    <a:pt x="714" y="390"/>
                  </a:lnTo>
                  <a:lnTo>
                    <a:pt x="714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32" y="384"/>
                  </a:lnTo>
                  <a:lnTo>
                    <a:pt x="738" y="378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56" y="372"/>
                  </a:lnTo>
                  <a:lnTo>
                    <a:pt x="762" y="366"/>
                  </a:lnTo>
                  <a:lnTo>
                    <a:pt x="768" y="366"/>
                  </a:lnTo>
                  <a:lnTo>
                    <a:pt x="774" y="366"/>
                  </a:lnTo>
                  <a:lnTo>
                    <a:pt x="774" y="360"/>
                  </a:lnTo>
                  <a:lnTo>
                    <a:pt x="780" y="366"/>
                  </a:lnTo>
                  <a:lnTo>
                    <a:pt x="786" y="366"/>
                  </a:lnTo>
                  <a:lnTo>
                    <a:pt x="786" y="360"/>
                  </a:lnTo>
                  <a:lnTo>
                    <a:pt x="792" y="354"/>
                  </a:lnTo>
                  <a:lnTo>
                    <a:pt x="786" y="354"/>
                  </a:lnTo>
                  <a:lnTo>
                    <a:pt x="792" y="348"/>
                  </a:lnTo>
                  <a:lnTo>
                    <a:pt x="798" y="348"/>
                  </a:lnTo>
                  <a:lnTo>
                    <a:pt x="804" y="348"/>
                  </a:lnTo>
                  <a:lnTo>
                    <a:pt x="810" y="342"/>
                  </a:lnTo>
                  <a:lnTo>
                    <a:pt x="816" y="342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28" y="336"/>
                  </a:lnTo>
                  <a:lnTo>
                    <a:pt x="834" y="336"/>
                  </a:lnTo>
                  <a:lnTo>
                    <a:pt x="840" y="336"/>
                  </a:lnTo>
                  <a:lnTo>
                    <a:pt x="846" y="330"/>
                  </a:lnTo>
                  <a:lnTo>
                    <a:pt x="852" y="330"/>
                  </a:lnTo>
                  <a:lnTo>
                    <a:pt x="858" y="330"/>
                  </a:lnTo>
                  <a:lnTo>
                    <a:pt x="864" y="324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0" y="312"/>
                  </a:lnTo>
                  <a:lnTo>
                    <a:pt x="876" y="312"/>
                  </a:lnTo>
                  <a:lnTo>
                    <a:pt x="882" y="312"/>
                  </a:lnTo>
                  <a:lnTo>
                    <a:pt x="882" y="318"/>
                  </a:lnTo>
                  <a:lnTo>
                    <a:pt x="888" y="312"/>
                  </a:lnTo>
                  <a:lnTo>
                    <a:pt x="894" y="306"/>
                  </a:lnTo>
                  <a:lnTo>
                    <a:pt x="900" y="306"/>
                  </a:lnTo>
                  <a:lnTo>
                    <a:pt x="906" y="306"/>
                  </a:lnTo>
                  <a:lnTo>
                    <a:pt x="912" y="300"/>
                  </a:lnTo>
                  <a:lnTo>
                    <a:pt x="906" y="294"/>
                  </a:lnTo>
                  <a:lnTo>
                    <a:pt x="912" y="276"/>
                  </a:lnTo>
                  <a:lnTo>
                    <a:pt x="912" y="252"/>
                  </a:lnTo>
                  <a:lnTo>
                    <a:pt x="906" y="234"/>
                  </a:lnTo>
                  <a:lnTo>
                    <a:pt x="912" y="228"/>
                  </a:lnTo>
                  <a:lnTo>
                    <a:pt x="912" y="216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24" y="192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36" y="186"/>
                  </a:lnTo>
                  <a:lnTo>
                    <a:pt x="930" y="180"/>
                  </a:lnTo>
                  <a:lnTo>
                    <a:pt x="930" y="174"/>
                  </a:lnTo>
                  <a:lnTo>
                    <a:pt x="936" y="156"/>
                  </a:lnTo>
                  <a:lnTo>
                    <a:pt x="930" y="156"/>
                  </a:lnTo>
                  <a:lnTo>
                    <a:pt x="924" y="150"/>
                  </a:lnTo>
                  <a:lnTo>
                    <a:pt x="942" y="78"/>
                  </a:lnTo>
                  <a:lnTo>
                    <a:pt x="948" y="78"/>
                  </a:lnTo>
                  <a:lnTo>
                    <a:pt x="954" y="66"/>
                  </a:lnTo>
                  <a:lnTo>
                    <a:pt x="954" y="72"/>
                  </a:lnTo>
                  <a:lnTo>
                    <a:pt x="954" y="66"/>
                  </a:lnTo>
                  <a:lnTo>
                    <a:pt x="960" y="66"/>
                  </a:lnTo>
                  <a:lnTo>
                    <a:pt x="966" y="66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54"/>
                  </a:lnTo>
                  <a:lnTo>
                    <a:pt x="990" y="54"/>
                  </a:lnTo>
                  <a:lnTo>
                    <a:pt x="996" y="48"/>
                  </a:lnTo>
                  <a:lnTo>
                    <a:pt x="1002" y="48"/>
                  </a:lnTo>
                  <a:lnTo>
                    <a:pt x="1032" y="48"/>
                  </a:lnTo>
                  <a:lnTo>
                    <a:pt x="1062" y="48"/>
                  </a:lnTo>
                  <a:lnTo>
                    <a:pt x="1068" y="78"/>
                  </a:lnTo>
                  <a:lnTo>
                    <a:pt x="1086" y="78"/>
                  </a:lnTo>
                  <a:lnTo>
                    <a:pt x="1092" y="66"/>
                  </a:lnTo>
                  <a:lnTo>
                    <a:pt x="1092" y="60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8" y="48"/>
                  </a:lnTo>
                  <a:lnTo>
                    <a:pt x="1104" y="48"/>
                  </a:lnTo>
                  <a:lnTo>
                    <a:pt x="1110" y="48"/>
                  </a:lnTo>
                  <a:lnTo>
                    <a:pt x="1110" y="42"/>
                  </a:lnTo>
                  <a:lnTo>
                    <a:pt x="1110" y="36"/>
                  </a:lnTo>
                  <a:lnTo>
                    <a:pt x="1116" y="36"/>
                  </a:lnTo>
                  <a:lnTo>
                    <a:pt x="1116" y="30"/>
                  </a:lnTo>
                  <a:lnTo>
                    <a:pt x="1122" y="30"/>
                  </a:lnTo>
                  <a:lnTo>
                    <a:pt x="1128" y="30"/>
                  </a:lnTo>
                  <a:lnTo>
                    <a:pt x="1134" y="30"/>
                  </a:lnTo>
                  <a:lnTo>
                    <a:pt x="1140" y="24"/>
                  </a:lnTo>
                  <a:lnTo>
                    <a:pt x="1152" y="18"/>
                  </a:lnTo>
                  <a:lnTo>
                    <a:pt x="1158" y="18"/>
                  </a:lnTo>
                  <a:lnTo>
                    <a:pt x="1152" y="12"/>
                  </a:lnTo>
                  <a:lnTo>
                    <a:pt x="1152" y="6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8"/>
                  </a:lnTo>
                  <a:lnTo>
                    <a:pt x="1170" y="12"/>
                  </a:lnTo>
                  <a:lnTo>
                    <a:pt x="1170" y="6"/>
                  </a:lnTo>
                  <a:lnTo>
                    <a:pt x="1176" y="6"/>
                  </a:lnTo>
                  <a:lnTo>
                    <a:pt x="1176" y="0"/>
                  </a:lnTo>
                  <a:lnTo>
                    <a:pt x="1182" y="6"/>
                  </a:lnTo>
                  <a:lnTo>
                    <a:pt x="1188" y="6"/>
                  </a:lnTo>
                  <a:lnTo>
                    <a:pt x="1188" y="0"/>
                  </a:lnTo>
                  <a:lnTo>
                    <a:pt x="1194" y="6"/>
                  </a:lnTo>
                  <a:lnTo>
                    <a:pt x="1200" y="12"/>
                  </a:lnTo>
                  <a:lnTo>
                    <a:pt x="1206" y="18"/>
                  </a:lnTo>
                  <a:lnTo>
                    <a:pt x="1212" y="18"/>
                  </a:lnTo>
                  <a:lnTo>
                    <a:pt x="1218" y="24"/>
                  </a:lnTo>
                  <a:lnTo>
                    <a:pt x="1236" y="36"/>
                  </a:lnTo>
                  <a:lnTo>
                    <a:pt x="1242" y="36"/>
                  </a:lnTo>
                  <a:lnTo>
                    <a:pt x="1248" y="42"/>
                  </a:lnTo>
                  <a:lnTo>
                    <a:pt x="1248" y="48"/>
                  </a:lnTo>
                  <a:lnTo>
                    <a:pt x="1260" y="48"/>
                  </a:lnTo>
                  <a:lnTo>
                    <a:pt x="1260" y="108"/>
                  </a:lnTo>
                  <a:lnTo>
                    <a:pt x="1266" y="168"/>
                  </a:lnTo>
                  <a:lnTo>
                    <a:pt x="1278" y="234"/>
                  </a:lnTo>
                  <a:lnTo>
                    <a:pt x="1284" y="240"/>
                  </a:lnTo>
                  <a:lnTo>
                    <a:pt x="1290" y="264"/>
                  </a:lnTo>
                  <a:lnTo>
                    <a:pt x="1296" y="288"/>
                  </a:lnTo>
                  <a:lnTo>
                    <a:pt x="1296" y="300"/>
                  </a:lnTo>
                  <a:lnTo>
                    <a:pt x="1296" y="312"/>
                  </a:lnTo>
                  <a:lnTo>
                    <a:pt x="1296" y="324"/>
                  </a:lnTo>
                  <a:lnTo>
                    <a:pt x="1296" y="354"/>
                  </a:lnTo>
                  <a:lnTo>
                    <a:pt x="1302" y="366"/>
                  </a:lnTo>
                  <a:lnTo>
                    <a:pt x="1308" y="372"/>
                  </a:lnTo>
                  <a:lnTo>
                    <a:pt x="1308" y="384"/>
                  </a:lnTo>
                  <a:lnTo>
                    <a:pt x="1314" y="390"/>
                  </a:lnTo>
                  <a:lnTo>
                    <a:pt x="1308" y="408"/>
                  </a:lnTo>
                  <a:lnTo>
                    <a:pt x="1314" y="408"/>
                  </a:lnTo>
                  <a:lnTo>
                    <a:pt x="1314" y="414"/>
                  </a:lnTo>
                  <a:lnTo>
                    <a:pt x="1308" y="420"/>
                  </a:lnTo>
                  <a:lnTo>
                    <a:pt x="1308" y="432"/>
                  </a:lnTo>
                  <a:lnTo>
                    <a:pt x="1320" y="432"/>
                  </a:lnTo>
                  <a:lnTo>
                    <a:pt x="1320" y="444"/>
                  </a:lnTo>
                  <a:lnTo>
                    <a:pt x="1332" y="444"/>
                  </a:lnTo>
                  <a:lnTo>
                    <a:pt x="1338" y="450"/>
                  </a:lnTo>
                  <a:lnTo>
                    <a:pt x="1344" y="456"/>
                  </a:lnTo>
                  <a:lnTo>
                    <a:pt x="1344" y="462"/>
                  </a:lnTo>
                  <a:lnTo>
                    <a:pt x="1344" y="474"/>
                  </a:lnTo>
                  <a:lnTo>
                    <a:pt x="1350" y="474"/>
                  </a:lnTo>
                  <a:lnTo>
                    <a:pt x="1368" y="504"/>
                  </a:lnTo>
                  <a:lnTo>
                    <a:pt x="1374" y="534"/>
                  </a:lnTo>
                  <a:lnTo>
                    <a:pt x="1380" y="558"/>
                  </a:lnTo>
                  <a:lnTo>
                    <a:pt x="1386" y="576"/>
                  </a:lnTo>
                  <a:lnTo>
                    <a:pt x="1386" y="600"/>
                  </a:lnTo>
                  <a:lnTo>
                    <a:pt x="1386" y="624"/>
                  </a:lnTo>
                  <a:lnTo>
                    <a:pt x="1386" y="648"/>
                  </a:lnTo>
                  <a:lnTo>
                    <a:pt x="1386" y="684"/>
                  </a:lnTo>
                  <a:lnTo>
                    <a:pt x="1380" y="684"/>
                  </a:lnTo>
                  <a:lnTo>
                    <a:pt x="1374" y="696"/>
                  </a:lnTo>
                  <a:lnTo>
                    <a:pt x="1368" y="702"/>
                  </a:lnTo>
                  <a:lnTo>
                    <a:pt x="1362" y="708"/>
                  </a:lnTo>
                  <a:lnTo>
                    <a:pt x="1356" y="714"/>
                  </a:lnTo>
                  <a:lnTo>
                    <a:pt x="1350" y="720"/>
                  </a:lnTo>
                  <a:lnTo>
                    <a:pt x="1338" y="720"/>
                  </a:lnTo>
                  <a:lnTo>
                    <a:pt x="1338" y="738"/>
                  </a:lnTo>
                  <a:lnTo>
                    <a:pt x="1362" y="750"/>
                  </a:lnTo>
                  <a:lnTo>
                    <a:pt x="1362" y="756"/>
                  </a:lnTo>
                  <a:lnTo>
                    <a:pt x="1374" y="756"/>
                  </a:lnTo>
                  <a:lnTo>
                    <a:pt x="1410" y="774"/>
                  </a:lnTo>
                  <a:lnTo>
                    <a:pt x="1446" y="774"/>
                  </a:lnTo>
                  <a:lnTo>
                    <a:pt x="1482" y="768"/>
                  </a:lnTo>
                  <a:lnTo>
                    <a:pt x="1500" y="774"/>
                  </a:lnTo>
                  <a:lnTo>
                    <a:pt x="1512" y="78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6" name="Freeform 11">
              <a:extLst>
                <a:ext uri="{FF2B5EF4-FFF2-40B4-BE49-F238E27FC236}">
                  <a16:creationId xmlns:a16="http://schemas.microsoft.com/office/drawing/2014/main" id="{1FF8E66F-B850-456A-B132-C45FEEDE95C6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2475" y="2345643"/>
              <a:ext cx="445003" cy="603855"/>
            </a:xfrm>
            <a:custGeom>
              <a:avLst/>
              <a:gdLst>
                <a:gd name="T0" fmla="*/ 47 w 840"/>
                <a:gd name="T1" fmla="*/ 98 h 1134"/>
                <a:gd name="T2" fmla="*/ 41 w 840"/>
                <a:gd name="T3" fmla="*/ 98 h 1134"/>
                <a:gd name="T4" fmla="*/ 37 w 840"/>
                <a:gd name="T5" fmla="*/ 98 h 1134"/>
                <a:gd name="T6" fmla="*/ 29 w 840"/>
                <a:gd name="T7" fmla="*/ 97 h 1134"/>
                <a:gd name="T8" fmla="*/ 27 w 840"/>
                <a:gd name="T9" fmla="*/ 94 h 1134"/>
                <a:gd name="T10" fmla="*/ 26 w 840"/>
                <a:gd name="T11" fmla="*/ 93 h 1134"/>
                <a:gd name="T12" fmla="*/ 26 w 840"/>
                <a:gd name="T13" fmla="*/ 83 h 1134"/>
                <a:gd name="T14" fmla="*/ 26 w 840"/>
                <a:gd name="T15" fmla="*/ 81 h 1134"/>
                <a:gd name="T16" fmla="*/ 23 w 840"/>
                <a:gd name="T17" fmla="*/ 77 h 1134"/>
                <a:gd name="T18" fmla="*/ 19 w 840"/>
                <a:gd name="T19" fmla="*/ 75 h 1134"/>
                <a:gd name="T20" fmla="*/ 16 w 840"/>
                <a:gd name="T21" fmla="*/ 72 h 1134"/>
                <a:gd name="T22" fmla="*/ 13 w 840"/>
                <a:gd name="T23" fmla="*/ 70 h 1134"/>
                <a:gd name="T24" fmla="*/ 17 w 840"/>
                <a:gd name="T25" fmla="*/ 67 h 1134"/>
                <a:gd name="T26" fmla="*/ 19 w 840"/>
                <a:gd name="T27" fmla="*/ 63 h 1134"/>
                <a:gd name="T28" fmla="*/ 20 w 840"/>
                <a:gd name="T29" fmla="*/ 59 h 1134"/>
                <a:gd name="T30" fmla="*/ 19 w 840"/>
                <a:gd name="T31" fmla="*/ 55 h 1134"/>
                <a:gd name="T32" fmla="*/ 17 w 840"/>
                <a:gd name="T33" fmla="*/ 47 h 1134"/>
                <a:gd name="T34" fmla="*/ 8 w 840"/>
                <a:gd name="T35" fmla="*/ 45 h 1134"/>
                <a:gd name="T36" fmla="*/ 4 w 840"/>
                <a:gd name="T37" fmla="*/ 39 h 1134"/>
                <a:gd name="T38" fmla="*/ 2 w 840"/>
                <a:gd name="T39" fmla="*/ 35 h 1134"/>
                <a:gd name="T40" fmla="*/ 0 w 840"/>
                <a:gd name="T41" fmla="*/ 31 h 1134"/>
                <a:gd name="T42" fmla="*/ 2 w 840"/>
                <a:gd name="T43" fmla="*/ 27 h 1134"/>
                <a:gd name="T44" fmla="*/ 5 w 840"/>
                <a:gd name="T45" fmla="*/ 24 h 1134"/>
                <a:gd name="T46" fmla="*/ 10 w 840"/>
                <a:gd name="T47" fmla="*/ 26 h 1134"/>
                <a:gd name="T48" fmla="*/ 7 w 840"/>
                <a:gd name="T49" fmla="*/ 20 h 1134"/>
                <a:gd name="T50" fmla="*/ 12 w 840"/>
                <a:gd name="T51" fmla="*/ 12 h 1134"/>
                <a:gd name="T52" fmla="*/ 19 w 840"/>
                <a:gd name="T53" fmla="*/ 10 h 1134"/>
                <a:gd name="T54" fmla="*/ 20 w 840"/>
                <a:gd name="T55" fmla="*/ 13 h 1134"/>
                <a:gd name="T56" fmla="*/ 22 w 840"/>
                <a:gd name="T57" fmla="*/ 11 h 1134"/>
                <a:gd name="T58" fmla="*/ 25 w 840"/>
                <a:gd name="T59" fmla="*/ 7 h 1134"/>
                <a:gd name="T60" fmla="*/ 29 w 840"/>
                <a:gd name="T61" fmla="*/ 2 h 1134"/>
                <a:gd name="T62" fmla="*/ 33 w 840"/>
                <a:gd name="T63" fmla="*/ 1 h 1134"/>
                <a:gd name="T64" fmla="*/ 37 w 840"/>
                <a:gd name="T65" fmla="*/ 2 h 1134"/>
                <a:gd name="T66" fmla="*/ 39 w 840"/>
                <a:gd name="T67" fmla="*/ 4 h 1134"/>
                <a:gd name="T68" fmla="*/ 43 w 840"/>
                <a:gd name="T69" fmla="*/ 5 h 1134"/>
                <a:gd name="T70" fmla="*/ 46 w 840"/>
                <a:gd name="T71" fmla="*/ 11 h 1134"/>
                <a:gd name="T72" fmla="*/ 49 w 840"/>
                <a:gd name="T73" fmla="*/ 12 h 1134"/>
                <a:gd name="T74" fmla="*/ 52 w 840"/>
                <a:gd name="T75" fmla="*/ 15 h 1134"/>
                <a:gd name="T76" fmla="*/ 54 w 840"/>
                <a:gd name="T77" fmla="*/ 18 h 1134"/>
                <a:gd name="T78" fmla="*/ 55 w 840"/>
                <a:gd name="T79" fmla="*/ 22 h 1134"/>
                <a:gd name="T80" fmla="*/ 56 w 840"/>
                <a:gd name="T81" fmla="*/ 26 h 1134"/>
                <a:gd name="T82" fmla="*/ 55 w 840"/>
                <a:gd name="T83" fmla="*/ 32 h 1134"/>
                <a:gd name="T84" fmla="*/ 55 w 840"/>
                <a:gd name="T85" fmla="*/ 36 h 1134"/>
                <a:gd name="T86" fmla="*/ 54 w 840"/>
                <a:gd name="T87" fmla="*/ 39 h 1134"/>
                <a:gd name="T88" fmla="*/ 56 w 840"/>
                <a:gd name="T89" fmla="*/ 39 h 1134"/>
                <a:gd name="T90" fmla="*/ 58 w 840"/>
                <a:gd name="T91" fmla="*/ 39 h 1134"/>
                <a:gd name="T92" fmla="*/ 61 w 840"/>
                <a:gd name="T93" fmla="*/ 39 h 1134"/>
                <a:gd name="T94" fmla="*/ 60 w 840"/>
                <a:gd name="T95" fmla="*/ 49 h 1134"/>
                <a:gd name="T96" fmla="*/ 59 w 840"/>
                <a:gd name="T97" fmla="*/ 53 h 1134"/>
                <a:gd name="T98" fmla="*/ 59 w 840"/>
                <a:gd name="T99" fmla="*/ 56 h 1134"/>
                <a:gd name="T100" fmla="*/ 60 w 840"/>
                <a:gd name="T101" fmla="*/ 59 h 1134"/>
                <a:gd name="T102" fmla="*/ 64 w 840"/>
                <a:gd name="T103" fmla="*/ 61 h 1134"/>
                <a:gd name="T104" fmla="*/ 69 w 840"/>
                <a:gd name="T105" fmla="*/ 63 h 1134"/>
                <a:gd name="T106" fmla="*/ 72 w 840"/>
                <a:gd name="T107" fmla="*/ 69 h 1134"/>
                <a:gd name="T108" fmla="*/ 72 w 840"/>
                <a:gd name="T109" fmla="*/ 73 h 1134"/>
                <a:gd name="T110" fmla="*/ 72 w 840"/>
                <a:gd name="T111" fmla="*/ 83 h 1134"/>
                <a:gd name="T112" fmla="*/ 63 w 840"/>
                <a:gd name="T113" fmla="*/ 88 h 1134"/>
                <a:gd name="T114" fmla="*/ 52 w 840"/>
                <a:gd name="T115" fmla="*/ 95 h 11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40"/>
                <a:gd name="T175" fmla="*/ 0 h 1134"/>
                <a:gd name="T176" fmla="*/ 840 w 840"/>
                <a:gd name="T177" fmla="*/ 1134 h 11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40" h="1134">
                  <a:moveTo>
                    <a:pt x="564" y="1110"/>
                  </a:moveTo>
                  <a:lnTo>
                    <a:pt x="564" y="1104"/>
                  </a:lnTo>
                  <a:lnTo>
                    <a:pt x="558" y="1104"/>
                  </a:lnTo>
                  <a:lnTo>
                    <a:pt x="552" y="1110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28" y="1128"/>
                  </a:lnTo>
                  <a:lnTo>
                    <a:pt x="498" y="1128"/>
                  </a:lnTo>
                  <a:lnTo>
                    <a:pt x="492" y="1128"/>
                  </a:lnTo>
                  <a:lnTo>
                    <a:pt x="486" y="1128"/>
                  </a:lnTo>
                  <a:lnTo>
                    <a:pt x="480" y="1128"/>
                  </a:lnTo>
                  <a:lnTo>
                    <a:pt x="474" y="1134"/>
                  </a:lnTo>
                  <a:lnTo>
                    <a:pt x="468" y="1134"/>
                  </a:lnTo>
                  <a:lnTo>
                    <a:pt x="462" y="1134"/>
                  </a:lnTo>
                  <a:lnTo>
                    <a:pt x="456" y="1134"/>
                  </a:lnTo>
                  <a:lnTo>
                    <a:pt x="456" y="1128"/>
                  </a:lnTo>
                  <a:lnTo>
                    <a:pt x="450" y="1122"/>
                  </a:lnTo>
                  <a:lnTo>
                    <a:pt x="426" y="1128"/>
                  </a:lnTo>
                  <a:lnTo>
                    <a:pt x="414" y="1128"/>
                  </a:lnTo>
                  <a:lnTo>
                    <a:pt x="348" y="1134"/>
                  </a:lnTo>
                  <a:lnTo>
                    <a:pt x="348" y="1128"/>
                  </a:lnTo>
                  <a:lnTo>
                    <a:pt x="342" y="1128"/>
                  </a:lnTo>
                  <a:lnTo>
                    <a:pt x="336" y="1122"/>
                  </a:lnTo>
                  <a:lnTo>
                    <a:pt x="330" y="1122"/>
                  </a:lnTo>
                  <a:lnTo>
                    <a:pt x="324" y="1116"/>
                  </a:lnTo>
                  <a:lnTo>
                    <a:pt x="324" y="1110"/>
                  </a:lnTo>
                  <a:lnTo>
                    <a:pt x="318" y="1110"/>
                  </a:lnTo>
                  <a:lnTo>
                    <a:pt x="318" y="1104"/>
                  </a:lnTo>
                  <a:lnTo>
                    <a:pt x="312" y="1092"/>
                  </a:lnTo>
                  <a:lnTo>
                    <a:pt x="306" y="1086"/>
                  </a:lnTo>
                  <a:lnTo>
                    <a:pt x="306" y="1080"/>
                  </a:lnTo>
                  <a:lnTo>
                    <a:pt x="312" y="1074"/>
                  </a:lnTo>
                  <a:lnTo>
                    <a:pt x="306" y="1068"/>
                  </a:lnTo>
                  <a:lnTo>
                    <a:pt x="300" y="1074"/>
                  </a:lnTo>
                  <a:lnTo>
                    <a:pt x="300" y="1068"/>
                  </a:lnTo>
                  <a:lnTo>
                    <a:pt x="294" y="1068"/>
                  </a:lnTo>
                  <a:lnTo>
                    <a:pt x="294" y="1056"/>
                  </a:lnTo>
                  <a:lnTo>
                    <a:pt x="294" y="1026"/>
                  </a:lnTo>
                  <a:lnTo>
                    <a:pt x="294" y="1020"/>
                  </a:lnTo>
                  <a:lnTo>
                    <a:pt x="294" y="1008"/>
                  </a:lnTo>
                  <a:lnTo>
                    <a:pt x="294" y="966"/>
                  </a:lnTo>
                  <a:lnTo>
                    <a:pt x="294" y="960"/>
                  </a:lnTo>
                  <a:lnTo>
                    <a:pt x="294" y="954"/>
                  </a:lnTo>
                  <a:lnTo>
                    <a:pt x="294" y="948"/>
                  </a:lnTo>
                  <a:lnTo>
                    <a:pt x="294" y="942"/>
                  </a:lnTo>
                  <a:lnTo>
                    <a:pt x="300" y="936"/>
                  </a:lnTo>
                  <a:lnTo>
                    <a:pt x="300" y="930"/>
                  </a:lnTo>
                  <a:lnTo>
                    <a:pt x="294" y="930"/>
                  </a:lnTo>
                  <a:lnTo>
                    <a:pt x="288" y="930"/>
                  </a:lnTo>
                  <a:lnTo>
                    <a:pt x="288" y="924"/>
                  </a:lnTo>
                  <a:lnTo>
                    <a:pt x="282" y="918"/>
                  </a:lnTo>
                  <a:lnTo>
                    <a:pt x="282" y="906"/>
                  </a:lnTo>
                  <a:lnTo>
                    <a:pt x="282" y="900"/>
                  </a:lnTo>
                  <a:lnTo>
                    <a:pt x="264" y="894"/>
                  </a:lnTo>
                  <a:lnTo>
                    <a:pt x="252" y="882"/>
                  </a:lnTo>
                  <a:lnTo>
                    <a:pt x="246" y="876"/>
                  </a:lnTo>
                  <a:lnTo>
                    <a:pt x="240" y="876"/>
                  </a:lnTo>
                  <a:lnTo>
                    <a:pt x="240" y="870"/>
                  </a:lnTo>
                  <a:lnTo>
                    <a:pt x="234" y="870"/>
                  </a:lnTo>
                  <a:lnTo>
                    <a:pt x="222" y="864"/>
                  </a:lnTo>
                  <a:lnTo>
                    <a:pt x="216" y="864"/>
                  </a:lnTo>
                  <a:lnTo>
                    <a:pt x="210" y="858"/>
                  </a:lnTo>
                  <a:lnTo>
                    <a:pt x="210" y="852"/>
                  </a:lnTo>
                  <a:lnTo>
                    <a:pt x="210" y="846"/>
                  </a:lnTo>
                  <a:lnTo>
                    <a:pt x="198" y="840"/>
                  </a:lnTo>
                  <a:lnTo>
                    <a:pt x="186" y="834"/>
                  </a:lnTo>
                  <a:lnTo>
                    <a:pt x="180" y="828"/>
                  </a:lnTo>
                  <a:lnTo>
                    <a:pt x="180" y="822"/>
                  </a:lnTo>
                  <a:lnTo>
                    <a:pt x="174" y="822"/>
                  </a:lnTo>
                  <a:lnTo>
                    <a:pt x="162" y="816"/>
                  </a:lnTo>
                  <a:lnTo>
                    <a:pt x="156" y="810"/>
                  </a:lnTo>
                  <a:lnTo>
                    <a:pt x="150" y="810"/>
                  </a:lnTo>
                  <a:lnTo>
                    <a:pt x="144" y="798"/>
                  </a:lnTo>
                  <a:lnTo>
                    <a:pt x="138" y="786"/>
                  </a:lnTo>
                  <a:lnTo>
                    <a:pt x="138" y="780"/>
                  </a:lnTo>
                  <a:lnTo>
                    <a:pt x="144" y="774"/>
                  </a:lnTo>
                  <a:lnTo>
                    <a:pt x="150" y="768"/>
                  </a:lnTo>
                  <a:lnTo>
                    <a:pt x="192" y="768"/>
                  </a:lnTo>
                  <a:lnTo>
                    <a:pt x="210" y="762"/>
                  </a:lnTo>
                  <a:lnTo>
                    <a:pt x="216" y="756"/>
                  </a:lnTo>
                  <a:lnTo>
                    <a:pt x="216" y="744"/>
                  </a:lnTo>
                  <a:lnTo>
                    <a:pt x="216" y="738"/>
                  </a:lnTo>
                  <a:lnTo>
                    <a:pt x="216" y="732"/>
                  </a:lnTo>
                  <a:lnTo>
                    <a:pt x="216" y="726"/>
                  </a:lnTo>
                  <a:lnTo>
                    <a:pt x="216" y="720"/>
                  </a:lnTo>
                  <a:lnTo>
                    <a:pt x="228" y="702"/>
                  </a:lnTo>
                  <a:lnTo>
                    <a:pt x="234" y="696"/>
                  </a:lnTo>
                  <a:lnTo>
                    <a:pt x="240" y="690"/>
                  </a:lnTo>
                  <a:lnTo>
                    <a:pt x="240" y="684"/>
                  </a:lnTo>
                  <a:lnTo>
                    <a:pt x="234" y="678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0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22" y="630"/>
                  </a:lnTo>
                  <a:lnTo>
                    <a:pt x="222" y="618"/>
                  </a:lnTo>
                  <a:lnTo>
                    <a:pt x="222" y="582"/>
                  </a:lnTo>
                  <a:lnTo>
                    <a:pt x="228" y="582"/>
                  </a:lnTo>
                  <a:lnTo>
                    <a:pt x="222" y="564"/>
                  </a:lnTo>
                  <a:lnTo>
                    <a:pt x="210" y="552"/>
                  </a:lnTo>
                  <a:lnTo>
                    <a:pt x="192" y="540"/>
                  </a:lnTo>
                  <a:lnTo>
                    <a:pt x="174" y="540"/>
                  </a:lnTo>
                  <a:lnTo>
                    <a:pt x="150" y="534"/>
                  </a:lnTo>
                  <a:lnTo>
                    <a:pt x="126" y="528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90" y="516"/>
                  </a:lnTo>
                  <a:lnTo>
                    <a:pt x="78" y="504"/>
                  </a:lnTo>
                  <a:lnTo>
                    <a:pt x="72" y="498"/>
                  </a:lnTo>
                  <a:lnTo>
                    <a:pt x="66" y="486"/>
                  </a:lnTo>
                  <a:lnTo>
                    <a:pt x="54" y="468"/>
                  </a:lnTo>
                  <a:lnTo>
                    <a:pt x="54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42" y="438"/>
                  </a:lnTo>
                  <a:lnTo>
                    <a:pt x="36" y="438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24" y="384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2" y="360"/>
                  </a:lnTo>
                  <a:lnTo>
                    <a:pt x="6" y="360"/>
                  </a:lnTo>
                  <a:lnTo>
                    <a:pt x="0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0"/>
                  </a:lnTo>
                  <a:lnTo>
                    <a:pt x="18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8" y="270"/>
                  </a:lnTo>
                  <a:lnTo>
                    <a:pt x="90" y="276"/>
                  </a:lnTo>
                  <a:lnTo>
                    <a:pt x="108" y="294"/>
                  </a:lnTo>
                  <a:lnTo>
                    <a:pt x="114" y="294"/>
                  </a:lnTo>
                  <a:lnTo>
                    <a:pt x="114" y="276"/>
                  </a:lnTo>
                  <a:lnTo>
                    <a:pt x="114" y="270"/>
                  </a:lnTo>
                  <a:lnTo>
                    <a:pt x="102" y="258"/>
                  </a:lnTo>
                  <a:lnTo>
                    <a:pt x="96" y="246"/>
                  </a:lnTo>
                  <a:lnTo>
                    <a:pt x="90" y="234"/>
                  </a:lnTo>
                  <a:lnTo>
                    <a:pt x="78" y="228"/>
                  </a:lnTo>
                  <a:lnTo>
                    <a:pt x="72" y="216"/>
                  </a:lnTo>
                  <a:lnTo>
                    <a:pt x="66" y="192"/>
                  </a:lnTo>
                  <a:lnTo>
                    <a:pt x="90" y="174"/>
                  </a:lnTo>
                  <a:lnTo>
                    <a:pt x="120" y="150"/>
                  </a:lnTo>
                  <a:lnTo>
                    <a:pt x="132" y="150"/>
                  </a:lnTo>
                  <a:lnTo>
                    <a:pt x="138" y="144"/>
                  </a:lnTo>
                  <a:lnTo>
                    <a:pt x="138" y="138"/>
                  </a:lnTo>
                  <a:lnTo>
                    <a:pt x="156" y="126"/>
                  </a:lnTo>
                  <a:lnTo>
                    <a:pt x="180" y="114"/>
                  </a:lnTo>
                  <a:lnTo>
                    <a:pt x="216" y="114"/>
                  </a:lnTo>
                  <a:lnTo>
                    <a:pt x="222" y="114"/>
                  </a:lnTo>
                  <a:lnTo>
                    <a:pt x="222" y="120"/>
                  </a:lnTo>
                  <a:lnTo>
                    <a:pt x="222" y="126"/>
                  </a:lnTo>
                  <a:lnTo>
                    <a:pt x="222" y="132"/>
                  </a:lnTo>
                  <a:lnTo>
                    <a:pt x="228" y="138"/>
                  </a:lnTo>
                  <a:lnTo>
                    <a:pt x="228" y="144"/>
                  </a:lnTo>
                  <a:lnTo>
                    <a:pt x="228" y="150"/>
                  </a:lnTo>
                  <a:lnTo>
                    <a:pt x="234" y="150"/>
                  </a:lnTo>
                  <a:lnTo>
                    <a:pt x="234" y="144"/>
                  </a:lnTo>
                  <a:lnTo>
                    <a:pt x="240" y="144"/>
                  </a:lnTo>
                  <a:lnTo>
                    <a:pt x="246" y="144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58" y="126"/>
                  </a:lnTo>
                  <a:lnTo>
                    <a:pt x="258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76" y="96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6" y="72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36"/>
                  </a:lnTo>
                  <a:lnTo>
                    <a:pt x="330" y="24"/>
                  </a:lnTo>
                  <a:lnTo>
                    <a:pt x="330" y="18"/>
                  </a:lnTo>
                  <a:lnTo>
                    <a:pt x="330" y="12"/>
                  </a:lnTo>
                  <a:lnTo>
                    <a:pt x="336" y="6"/>
                  </a:lnTo>
                  <a:lnTo>
                    <a:pt x="366" y="0"/>
                  </a:lnTo>
                  <a:lnTo>
                    <a:pt x="372" y="6"/>
                  </a:lnTo>
                  <a:lnTo>
                    <a:pt x="384" y="12"/>
                  </a:lnTo>
                  <a:lnTo>
                    <a:pt x="402" y="12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18"/>
                  </a:lnTo>
                  <a:lnTo>
                    <a:pt x="420" y="18"/>
                  </a:lnTo>
                  <a:lnTo>
                    <a:pt x="426" y="24"/>
                  </a:lnTo>
                  <a:lnTo>
                    <a:pt x="432" y="30"/>
                  </a:lnTo>
                  <a:lnTo>
                    <a:pt x="438" y="36"/>
                  </a:lnTo>
                  <a:lnTo>
                    <a:pt x="444" y="42"/>
                  </a:lnTo>
                  <a:lnTo>
                    <a:pt x="450" y="42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16" y="78"/>
                  </a:lnTo>
                  <a:lnTo>
                    <a:pt x="522" y="102"/>
                  </a:lnTo>
                  <a:lnTo>
                    <a:pt x="522" y="108"/>
                  </a:lnTo>
                  <a:lnTo>
                    <a:pt x="528" y="126"/>
                  </a:lnTo>
                  <a:lnTo>
                    <a:pt x="534" y="126"/>
                  </a:lnTo>
                  <a:lnTo>
                    <a:pt x="540" y="120"/>
                  </a:lnTo>
                  <a:lnTo>
                    <a:pt x="546" y="126"/>
                  </a:lnTo>
                  <a:lnTo>
                    <a:pt x="552" y="126"/>
                  </a:lnTo>
                  <a:lnTo>
                    <a:pt x="558" y="132"/>
                  </a:lnTo>
                  <a:lnTo>
                    <a:pt x="564" y="138"/>
                  </a:lnTo>
                  <a:lnTo>
                    <a:pt x="570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594" y="168"/>
                  </a:lnTo>
                  <a:lnTo>
                    <a:pt x="600" y="174"/>
                  </a:lnTo>
                  <a:lnTo>
                    <a:pt x="606" y="180"/>
                  </a:lnTo>
                  <a:lnTo>
                    <a:pt x="606" y="186"/>
                  </a:lnTo>
                  <a:lnTo>
                    <a:pt x="612" y="192"/>
                  </a:lnTo>
                  <a:lnTo>
                    <a:pt x="612" y="198"/>
                  </a:lnTo>
                  <a:lnTo>
                    <a:pt x="624" y="204"/>
                  </a:lnTo>
                  <a:lnTo>
                    <a:pt x="624" y="210"/>
                  </a:lnTo>
                  <a:lnTo>
                    <a:pt x="630" y="216"/>
                  </a:lnTo>
                  <a:lnTo>
                    <a:pt x="636" y="222"/>
                  </a:lnTo>
                  <a:lnTo>
                    <a:pt x="636" y="228"/>
                  </a:lnTo>
                  <a:lnTo>
                    <a:pt x="636" y="234"/>
                  </a:lnTo>
                  <a:lnTo>
                    <a:pt x="636" y="252"/>
                  </a:lnTo>
                  <a:lnTo>
                    <a:pt x="636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42" y="276"/>
                  </a:lnTo>
                  <a:lnTo>
                    <a:pt x="642" y="282"/>
                  </a:lnTo>
                  <a:lnTo>
                    <a:pt x="642" y="288"/>
                  </a:lnTo>
                  <a:lnTo>
                    <a:pt x="642" y="300"/>
                  </a:lnTo>
                  <a:lnTo>
                    <a:pt x="642" y="306"/>
                  </a:lnTo>
                  <a:lnTo>
                    <a:pt x="636" y="312"/>
                  </a:lnTo>
                  <a:lnTo>
                    <a:pt x="636" y="324"/>
                  </a:lnTo>
                  <a:lnTo>
                    <a:pt x="636" y="342"/>
                  </a:lnTo>
                  <a:lnTo>
                    <a:pt x="630" y="354"/>
                  </a:lnTo>
                  <a:lnTo>
                    <a:pt x="630" y="366"/>
                  </a:lnTo>
                  <a:lnTo>
                    <a:pt x="624" y="378"/>
                  </a:lnTo>
                  <a:lnTo>
                    <a:pt x="624" y="384"/>
                  </a:lnTo>
                  <a:lnTo>
                    <a:pt x="636" y="396"/>
                  </a:lnTo>
                  <a:lnTo>
                    <a:pt x="636" y="402"/>
                  </a:lnTo>
                  <a:lnTo>
                    <a:pt x="636" y="408"/>
                  </a:lnTo>
                  <a:lnTo>
                    <a:pt x="630" y="414"/>
                  </a:lnTo>
                  <a:lnTo>
                    <a:pt x="630" y="420"/>
                  </a:lnTo>
                  <a:lnTo>
                    <a:pt x="630" y="426"/>
                  </a:lnTo>
                  <a:lnTo>
                    <a:pt x="630" y="432"/>
                  </a:lnTo>
                  <a:lnTo>
                    <a:pt x="624" y="438"/>
                  </a:lnTo>
                  <a:lnTo>
                    <a:pt x="624" y="444"/>
                  </a:lnTo>
                  <a:lnTo>
                    <a:pt x="624" y="450"/>
                  </a:lnTo>
                  <a:lnTo>
                    <a:pt x="630" y="450"/>
                  </a:lnTo>
                  <a:lnTo>
                    <a:pt x="630" y="456"/>
                  </a:lnTo>
                  <a:lnTo>
                    <a:pt x="630" y="462"/>
                  </a:lnTo>
                  <a:lnTo>
                    <a:pt x="636" y="468"/>
                  </a:lnTo>
                  <a:lnTo>
                    <a:pt x="642" y="456"/>
                  </a:lnTo>
                  <a:lnTo>
                    <a:pt x="642" y="450"/>
                  </a:lnTo>
                  <a:lnTo>
                    <a:pt x="648" y="450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60" y="444"/>
                  </a:lnTo>
                  <a:lnTo>
                    <a:pt x="666" y="450"/>
                  </a:lnTo>
                  <a:lnTo>
                    <a:pt x="672" y="444"/>
                  </a:lnTo>
                  <a:lnTo>
                    <a:pt x="678" y="444"/>
                  </a:lnTo>
                  <a:lnTo>
                    <a:pt x="684" y="438"/>
                  </a:lnTo>
                  <a:lnTo>
                    <a:pt x="690" y="438"/>
                  </a:lnTo>
                  <a:lnTo>
                    <a:pt x="696" y="438"/>
                  </a:lnTo>
                  <a:lnTo>
                    <a:pt x="702" y="444"/>
                  </a:lnTo>
                  <a:lnTo>
                    <a:pt x="702" y="450"/>
                  </a:lnTo>
                  <a:lnTo>
                    <a:pt x="708" y="450"/>
                  </a:lnTo>
                  <a:lnTo>
                    <a:pt x="708" y="456"/>
                  </a:lnTo>
                  <a:lnTo>
                    <a:pt x="708" y="462"/>
                  </a:lnTo>
                  <a:lnTo>
                    <a:pt x="708" y="468"/>
                  </a:lnTo>
                  <a:lnTo>
                    <a:pt x="708" y="504"/>
                  </a:lnTo>
                  <a:lnTo>
                    <a:pt x="696" y="564"/>
                  </a:lnTo>
                  <a:lnTo>
                    <a:pt x="696" y="582"/>
                  </a:lnTo>
                  <a:lnTo>
                    <a:pt x="696" y="600"/>
                  </a:lnTo>
                  <a:lnTo>
                    <a:pt x="690" y="606"/>
                  </a:lnTo>
                  <a:lnTo>
                    <a:pt x="684" y="606"/>
                  </a:lnTo>
                  <a:lnTo>
                    <a:pt x="690" y="612"/>
                  </a:lnTo>
                  <a:lnTo>
                    <a:pt x="684" y="612"/>
                  </a:lnTo>
                  <a:lnTo>
                    <a:pt x="678" y="618"/>
                  </a:lnTo>
                  <a:lnTo>
                    <a:pt x="672" y="624"/>
                  </a:lnTo>
                  <a:lnTo>
                    <a:pt x="666" y="630"/>
                  </a:lnTo>
                  <a:lnTo>
                    <a:pt x="660" y="636"/>
                  </a:lnTo>
                  <a:lnTo>
                    <a:pt x="672" y="636"/>
                  </a:lnTo>
                  <a:lnTo>
                    <a:pt x="678" y="642"/>
                  </a:lnTo>
                  <a:lnTo>
                    <a:pt x="678" y="648"/>
                  </a:lnTo>
                  <a:lnTo>
                    <a:pt x="684" y="654"/>
                  </a:lnTo>
                  <a:lnTo>
                    <a:pt x="690" y="666"/>
                  </a:lnTo>
                  <a:lnTo>
                    <a:pt x="690" y="672"/>
                  </a:lnTo>
                  <a:lnTo>
                    <a:pt x="696" y="672"/>
                  </a:lnTo>
                  <a:lnTo>
                    <a:pt x="696" y="684"/>
                  </a:lnTo>
                  <a:lnTo>
                    <a:pt x="708" y="690"/>
                  </a:lnTo>
                  <a:lnTo>
                    <a:pt x="720" y="696"/>
                  </a:lnTo>
                  <a:lnTo>
                    <a:pt x="726" y="696"/>
                  </a:lnTo>
                  <a:lnTo>
                    <a:pt x="732" y="696"/>
                  </a:lnTo>
                  <a:lnTo>
                    <a:pt x="738" y="696"/>
                  </a:lnTo>
                  <a:lnTo>
                    <a:pt x="738" y="702"/>
                  </a:lnTo>
                  <a:lnTo>
                    <a:pt x="738" y="708"/>
                  </a:lnTo>
                  <a:lnTo>
                    <a:pt x="738" y="714"/>
                  </a:lnTo>
                  <a:lnTo>
                    <a:pt x="744" y="714"/>
                  </a:lnTo>
                  <a:lnTo>
                    <a:pt x="756" y="720"/>
                  </a:lnTo>
                  <a:lnTo>
                    <a:pt x="780" y="726"/>
                  </a:lnTo>
                  <a:lnTo>
                    <a:pt x="792" y="732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22" y="774"/>
                  </a:lnTo>
                  <a:lnTo>
                    <a:pt x="834" y="786"/>
                  </a:lnTo>
                  <a:lnTo>
                    <a:pt x="834" y="792"/>
                  </a:lnTo>
                  <a:lnTo>
                    <a:pt x="834" y="798"/>
                  </a:lnTo>
                  <a:lnTo>
                    <a:pt x="828" y="798"/>
                  </a:lnTo>
                  <a:lnTo>
                    <a:pt x="828" y="804"/>
                  </a:lnTo>
                  <a:lnTo>
                    <a:pt x="834" y="816"/>
                  </a:lnTo>
                  <a:lnTo>
                    <a:pt x="834" y="834"/>
                  </a:lnTo>
                  <a:lnTo>
                    <a:pt x="834" y="840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34" y="858"/>
                  </a:lnTo>
                  <a:lnTo>
                    <a:pt x="834" y="864"/>
                  </a:lnTo>
                  <a:lnTo>
                    <a:pt x="834" y="876"/>
                  </a:lnTo>
                  <a:lnTo>
                    <a:pt x="828" y="960"/>
                  </a:lnTo>
                  <a:lnTo>
                    <a:pt x="816" y="966"/>
                  </a:lnTo>
                  <a:lnTo>
                    <a:pt x="798" y="972"/>
                  </a:lnTo>
                  <a:lnTo>
                    <a:pt x="786" y="990"/>
                  </a:lnTo>
                  <a:lnTo>
                    <a:pt x="774" y="990"/>
                  </a:lnTo>
                  <a:lnTo>
                    <a:pt x="762" y="1008"/>
                  </a:lnTo>
                  <a:lnTo>
                    <a:pt x="732" y="1014"/>
                  </a:lnTo>
                  <a:lnTo>
                    <a:pt x="714" y="1026"/>
                  </a:lnTo>
                  <a:lnTo>
                    <a:pt x="690" y="1050"/>
                  </a:lnTo>
                  <a:lnTo>
                    <a:pt x="654" y="1056"/>
                  </a:lnTo>
                  <a:lnTo>
                    <a:pt x="630" y="1056"/>
                  </a:lnTo>
                  <a:lnTo>
                    <a:pt x="606" y="1068"/>
                  </a:lnTo>
                  <a:lnTo>
                    <a:pt x="600" y="1092"/>
                  </a:lnTo>
                  <a:lnTo>
                    <a:pt x="600" y="1098"/>
                  </a:lnTo>
                  <a:lnTo>
                    <a:pt x="588" y="1104"/>
                  </a:lnTo>
                  <a:lnTo>
                    <a:pt x="582" y="1104"/>
                  </a:lnTo>
                  <a:lnTo>
                    <a:pt x="570" y="1110"/>
                  </a:lnTo>
                  <a:lnTo>
                    <a:pt x="564" y="111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7" name="Freeform 12">
              <a:extLst>
                <a:ext uri="{FF2B5EF4-FFF2-40B4-BE49-F238E27FC236}">
                  <a16:creationId xmlns:a16="http://schemas.microsoft.com/office/drawing/2014/main" id="{6C93C114-E5D0-49BB-A44C-A127CE01CFE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810" y="2271838"/>
              <a:ext cx="923547" cy="845397"/>
            </a:xfrm>
            <a:custGeom>
              <a:avLst/>
              <a:gdLst>
                <a:gd name="T0" fmla="*/ 138 w 1740"/>
                <a:gd name="T1" fmla="*/ 134 h 1590"/>
                <a:gd name="T2" fmla="*/ 128 w 1740"/>
                <a:gd name="T3" fmla="*/ 131 h 1590"/>
                <a:gd name="T4" fmla="*/ 121 w 1740"/>
                <a:gd name="T5" fmla="*/ 130 h 1590"/>
                <a:gd name="T6" fmla="*/ 119 w 1740"/>
                <a:gd name="T7" fmla="*/ 134 h 1590"/>
                <a:gd name="T8" fmla="*/ 110 w 1740"/>
                <a:gd name="T9" fmla="*/ 132 h 1590"/>
                <a:gd name="T10" fmla="*/ 111 w 1740"/>
                <a:gd name="T11" fmla="*/ 127 h 1590"/>
                <a:gd name="T12" fmla="*/ 103 w 1740"/>
                <a:gd name="T13" fmla="*/ 117 h 1590"/>
                <a:gd name="T14" fmla="*/ 93 w 1740"/>
                <a:gd name="T15" fmla="*/ 123 h 1590"/>
                <a:gd name="T16" fmla="*/ 80 w 1740"/>
                <a:gd name="T17" fmla="*/ 118 h 1590"/>
                <a:gd name="T18" fmla="*/ 66 w 1740"/>
                <a:gd name="T19" fmla="*/ 117 h 1590"/>
                <a:gd name="T20" fmla="*/ 66 w 1740"/>
                <a:gd name="T21" fmla="*/ 110 h 1590"/>
                <a:gd name="T22" fmla="*/ 69 w 1740"/>
                <a:gd name="T23" fmla="*/ 107 h 1590"/>
                <a:gd name="T24" fmla="*/ 68 w 1740"/>
                <a:gd name="T25" fmla="*/ 102 h 1590"/>
                <a:gd name="T26" fmla="*/ 68 w 1740"/>
                <a:gd name="T27" fmla="*/ 96 h 1590"/>
                <a:gd name="T28" fmla="*/ 67 w 1740"/>
                <a:gd name="T29" fmla="*/ 82 h 1590"/>
                <a:gd name="T30" fmla="*/ 58 w 1740"/>
                <a:gd name="T31" fmla="*/ 82 h 1590"/>
                <a:gd name="T32" fmla="*/ 52 w 1740"/>
                <a:gd name="T33" fmla="*/ 82 h 1590"/>
                <a:gd name="T34" fmla="*/ 46 w 1740"/>
                <a:gd name="T35" fmla="*/ 80 h 1590"/>
                <a:gd name="T36" fmla="*/ 45 w 1740"/>
                <a:gd name="T37" fmla="*/ 74 h 1590"/>
                <a:gd name="T38" fmla="*/ 52 w 1740"/>
                <a:gd name="T39" fmla="*/ 70 h 1590"/>
                <a:gd name="T40" fmla="*/ 52 w 1740"/>
                <a:gd name="T41" fmla="*/ 64 h 1590"/>
                <a:gd name="T42" fmla="*/ 42 w 1740"/>
                <a:gd name="T43" fmla="*/ 53 h 1590"/>
                <a:gd name="T44" fmla="*/ 35 w 1740"/>
                <a:gd name="T45" fmla="*/ 52 h 1590"/>
                <a:gd name="T46" fmla="*/ 20 w 1740"/>
                <a:gd name="T47" fmla="*/ 51 h 1590"/>
                <a:gd name="T48" fmla="*/ 17 w 1740"/>
                <a:gd name="T49" fmla="*/ 56 h 1590"/>
                <a:gd name="T50" fmla="*/ 11 w 1740"/>
                <a:gd name="T51" fmla="*/ 61 h 1590"/>
                <a:gd name="T52" fmla="*/ 7 w 1740"/>
                <a:gd name="T53" fmla="*/ 63 h 1590"/>
                <a:gd name="T54" fmla="*/ 0 w 1740"/>
                <a:gd name="T55" fmla="*/ 55 h 1590"/>
                <a:gd name="T56" fmla="*/ 2 w 1740"/>
                <a:gd name="T57" fmla="*/ 50 h 1590"/>
                <a:gd name="T58" fmla="*/ 0 w 1740"/>
                <a:gd name="T59" fmla="*/ 44 h 1590"/>
                <a:gd name="T60" fmla="*/ 2 w 1740"/>
                <a:gd name="T61" fmla="*/ 38 h 1590"/>
                <a:gd name="T62" fmla="*/ 7 w 1740"/>
                <a:gd name="T63" fmla="*/ 35 h 1590"/>
                <a:gd name="T64" fmla="*/ 11 w 1740"/>
                <a:gd name="T65" fmla="*/ 30 h 1590"/>
                <a:gd name="T66" fmla="*/ 21 w 1740"/>
                <a:gd name="T67" fmla="*/ 26 h 1590"/>
                <a:gd name="T68" fmla="*/ 29 w 1740"/>
                <a:gd name="T69" fmla="*/ 25 h 1590"/>
                <a:gd name="T70" fmla="*/ 35 w 1740"/>
                <a:gd name="T71" fmla="*/ 21 h 1590"/>
                <a:gd name="T72" fmla="*/ 36 w 1740"/>
                <a:gd name="T73" fmla="*/ 16 h 1590"/>
                <a:gd name="T74" fmla="*/ 41 w 1740"/>
                <a:gd name="T75" fmla="*/ 11 h 1590"/>
                <a:gd name="T76" fmla="*/ 51 w 1740"/>
                <a:gd name="T77" fmla="*/ 9 h 1590"/>
                <a:gd name="T78" fmla="*/ 59 w 1740"/>
                <a:gd name="T79" fmla="*/ 21 h 1590"/>
                <a:gd name="T80" fmla="*/ 65 w 1740"/>
                <a:gd name="T81" fmla="*/ 13 h 1590"/>
                <a:gd name="T82" fmla="*/ 73 w 1740"/>
                <a:gd name="T83" fmla="*/ 8 h 1590"/>
                <a:gd name="T84" fmla="*/ 82 w 1740"/>
                <a:gd name="T85" fmla="*/ 12 h 1590"/>
                <a:gd name="T86" fmla="*/ 88 w 1740"/>
                <a:gd name="T87" fmla="*/ 12 h 1590"/>
                <a:gd name="T88" fmla="*/ 99 w 1740"/>
                <a:gd name="T89" fmla="*/ 7 h 1590"/>
                <a:gd name="T90" fmla="*/ 114 w 1740"/>
                <a:gd name="T91" fmla="*/ 0 h 1590"/>
                <a:gd name="T92" fmla="*/ 117 w 1740"/>
                <a:gd name="T93" fmla="*/ 10 h 1590"/>
                <a:gd name="T94" fmla="*/ 132 w 1740"/>
                <a:gd name="T95" fmla="*/ 17 h 1590"/>
                <a:gd name="T96" fmla="*/ 140 w 1740"/>
                <a:gd name="T97" fmla="*/ 25 h 1590"/>
                <a:gd name="T98" fmla="*/ 140 w 1740"/>
                <a:gd name="T99" fmla="*/ 33 h 1590"/>
                <a:gd name="T100" fmla="*/ 140 w 1740"/>
                <a:gd name="T101" fmla="*/ 44 h 1590"/>
                <a:gd name="T102" fmla="*/ 138 w 1740"/>
                <a:gd name="T103" fmla="*/ 48 h 1590"/>
                <a:gd name="T104" fmla="*/ 141 w 1740"/>
                <a:gd name="T105" fmla="*/ 49 h 1590"/>
                <a:gd name="T106" fmla="*/ 146 w 1740"/>
                <a:gd name="T107" fmla="*/ 50 h 1590"/>
                <a:gd name="T108" fmla="*/ 149 w 1740"/>
                <a:gd name="T109" fmla="*/ 59 h 1590"/>
                <a:gd name="T110" fmla="*/ 148 w 1740"/>
                <a:gd name="T111" fmla="*/ 67 h 1590"/>
                <a:gd name="T112" fmla="*/ 141 w 1740"/>
                <a:gd name="T113" fmla="*/ 78 h 1590"/>
                <a:gd name="T114" fmla="*/ 141 w 1740"/>
                <a:gd name="T115" fmla="*/ 91 h 1590"/>
                <a:gd name="T116" fmla="*/ 138 w 1740"/>
                <a:gd name="T117" fmla="*/ 102 h 1590"/>
                <a:gd name="T118" fmla="*/ 138 w 1740"/>
                <a:gd name="T119" fmla="*/ 110 h 1590"/>
                <a:gd name="T120" fmla="*/ 144 w 1740"/>
                <a:gd name="T121" fmla="*/ 118 h 1590"/>
                <a:gd name="T122" fmla="*/ 143 w 1740"/>
                <a:gd name="T123" fmla="*/ 125 h 159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740"/>
                <a:gd name="T187" fmla="*/ 0 h 1590"/>
                <a:gd name="T188" fmla="*/ 1740 w 1740"/>
                <a:gd name="T189" fmla="*/ 1590 h 159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740" h="1590">
                  <a:moveTo>
                    <a:pt x="1638" y="1458"/>
                  </a:moveTo>
                  <a:lnTo>
                    <a:pt x="1638" y="1482"/>
                  </a:lnTo>
                  <a:lnTo>
                    <a:pt x="1638" y="1500"/>
                  </a:lnTo>
                  <a:lnTo>
                    <a:pt x="1626" y="1500"/>
                  </a:lnTo>
                  <a:lnTo>
                    <a:pt x="1620" y="1500"/>
                  </a:lnTo>
                  <a:lnTo>
                    <a:pt x="1614" y="1500"/>
                  </a:lnTo>
                  <a:lnTo>
                    <a:pt x="1614" y="1506"/>
                  </a:lnTo>
                  <a:lnTo>
                    <a:pt x="1614" y="1512"/>
                  </a:lnTo>
                  <a:lnTo>
                    <a:pt x="1620" y="1518"/>
                  </a:lnTo>
                  <a:lnTo>
                    <a:pt x="1614" y="1524"/>
                  </a:lnTo>
                  <a:lnTo>
                    <a:pt x="1590" y="1536"/>
                  </a:lnTo>
                  <a:lnTo>
                    <a:pt x="1584" y="1566"/>
                  </a:lnTo>
                  <a:lnTo>
                    <a:pt x="1578" y="1590"/>
                  </a:lnTo>
                  <a:lnTo>
                    <a:pt x="1548" y="1590"/>
                  </a:lnTo>
                  <a:lnTo>
                    <a:pt x="1542" y="1584"/>
                  </a:lnTo>
                  <a:lnTo>
                    <a:pt x="1542" y="1572"/>
                  </a:lnTo>
                  <a:lnTo>
                    <a:pt x="1536" y="1566"/>
                  </a:lnTo>
                  <a:lnTo>
                    <a:pt x="1536" y="1554"/>
                  </a:lnTo>
                  <a:lnTo>
                    <a:pt x="1536" y="1548"/>
                  </a:lnTo>
                  <a:lnTo>
                    <a:pt x="1506" y="1530"/>
                  </a:lnTo>
                  <a:lnTo>
                    <a:pt x="1488" y="1506"/>
                  </a:lnTo>
                  <a:lnTo>
                    <a:pt x="1464" y="1500"/>
                  </a:lnTo>
                  <a:lnTo>
                    <a:pt x="1470" y="1494"/>
                  </a:lnTo>
                  <a:lnTo>
                    <a:pt x="1470" y="1488"/>
                  </a:lnTo>
                  <a:lnTo>
                    <a:pt x="1470" y="1482"/>
                  </a:lnTo>
                  <a:lnTo>
                    <a:pt x="1428" y="1464"/>
                  </a:lnTo>
                  <a:lnTo>
                    <a:pt x="1404" y="1470"/>
                  </a:lnTo>
                  <a:lnTo>
                    <a:pt x="1398" y="1470"/>
                  </a:lnTo>
                  <a:lnTo>
                    <a:pt x="1392" y="1476"/>
                  </a:lnTo>
                  <a:lnTo>
                    <a:pt x="1386" y="1476"/>
                  </a:lnTo>
                  <a:lnTo>
                    <a:pt x="1386" y="1482"/>
                  </a:lnTo>
                  <a:lnTo>
                    <a:pt x="1392" y="1482"/>
                  </a:lnTo>
                  <a:lnTo>
                    <a:pt x="1386" y="1488"/>
                  </a:lnTo>
                  <a:lnTo>
                    <a:pt x="1386" y="1494"/>
                  </a:lnTo>
                  <a:lnTo>
                    <a:pt x="1380" y="1494"/>
                  </a:lnTo>
                  <a:lnTo>
                    <a:pt x="1380" y="1500"/>
                  </a:lnTo>
                  <a:lnTo>
                    <a:pt x="1380" y="1512"/>
                  </a:lnTo>
                  <a:lnTo>
                    <a:pt x="1380" y="1518"/>
                  </a:lnTo>
                  <a:lnTo>
                    <a:pt x="1380" y="1524"/>
                  </a:lnTo>
                  <a:lnTo>
                    <a:pt x="1380" y="1530"/>
                  </a:lnTo>
                  <a:lnTo>
                    <a:pt x="1374" y="1536"/>
                  </a:lnTo>
                  <a:lnTo>
                    <a:pt x="1374" y="1542"/>
                  </a:lnTo>
                  <a:lnTo>
                    <a:pt x="1368" y="1542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44" y="1554"/>
                  </a:lnTo>
                  <a:lnTo>
                    <a:pt x="1332" y="1560"/>
                  </a:lnTo>
                  <a:lnTo>
                    <a:pt x="1302" y="1554"/>
                  </a:lnTo>
                  <a:lnTo>
                    <a:pt x="1290" y="1554"/>
                  </a:lnTo>
                  <a:lnTo>
                    <a:pt x="1278" y="1542"/>
                  </a:lnTo>
                  <a:lnTo>
                    <a:pt x="1272" y="1530"/>
                  </a:lnTo>
                  <a:lnTo>
                    <a:pt x="1272" y="1524"/>
                  </a:lnTo>
                  <a:lnTo>
                    <a:pt x="1272" y="1518"/>
                  </a:lnTo>
                  <a:lnTo>
                    <a:pt x="1266" y="1518"/>
                  </a:lnTo>
                  <a:lnTo>
                    <a:pt x="1266" y="1512"/>
                  </a:lnTo>
                  <a:lnTo>
                    <a:pt x="1266" y="1506"/>
                  </a:lnTo>
                  <a:lnTo>
                    <a:pt x="1272" y="1506"/>
                  </a:lnTo>
                  <a:lnTo>
                    <a:pt x="1272" y="1500"/>
                  </a:lnTo>
                  <a:lnTo>
                    <a:pt x="1278" y="1500"/>
                  </a:lnTo>
                  <a:lnTo>
                    <a:pt x="1278" y="1494"/>
                  </a:lnTo>
                  <a:lnTo>
                    <a:pt x="1278" y="1488"/>
                  </a:lnTo>
                  <a:lnTo>
                    <a:pt x="1284" y="1488"/>
                  </a:lnTo>
                  <a:lnTo>
                    <a:pt x="1284" y="1482"/>
                  </a:lnTo>
                  <a:lnTo>
                    <a:pt x="1290" y="1476"/>
                  </a:lnTo>
                  <a:lnTo>
                    <a:pt x="1284" y="1470"/>
                  </a:lnTo>
                  <a:lnTo>
                    <a:pt x="1278" y="1458"/>
                  </a:lnTo>
                  <a:lnTo>
                    <a:pt x="1278" y="1452"/>
                  </a:lnTo>
                  <a:lnTo>
                    <a:pt x="1260" y="1428"/>
                  </a:lnTo>
                  <a:lnTo>
                    <a:pt x="1254" y="1416"/>
                  </a:lnTo>
                  <a:lnTo>
                    <a:pt x="1254" y="1410"/>
                  </a:lnTo>
                  <a:lnTo>
                    <a:pt x="1248" y="1398"/>
                  </a:lnTo>
                  <a:lnTo>
                    <a:pt x="1242" y="1398"/>
                  </a:lnTo>
                  <a:lnTo>
                    <a:pt x="1236" y="1398"/>
                  </a:lnTo>
                  <a:lnTo>
                    <a:pt x="1218" y="1386"/>
                  </a:lnTo>
                  <a:lnTo>
                    <a:pt x="1212" y="1362"/>
                  </a:lnTo>
                  <a:lnTo>
                    <a:pt x="1200" y="1344"/>
                  </a:lnTo>
                  <a:lnTo>
                    <a:pt x="1188" y="1338"/>
                  </a:lnTo>
                  <a:lnTo>
                    <a:pt x="1164" y="1338"/>
                  </a:lnTo>
                  <a:lnTo>
                    <a:pt x="1158" y="1344"/>
                  </a:lnTo>
                  <a:lnTo>
                    <a:pt x="1152" y="1350"/>
                  </a:lnTo>
                  <a:lnTo>
                    <a:pt x="1152" y="1356"/>
                  </a:lnTo>
                  <a:lnTo>
                    <a:pt x="1140" y="1362"/>
                  </a:lnTo>
                  <a:lnTo>
                    <a:pt x="1134" y="1380"/>
                  </a:lnTo>
                  <a:lnTo>
                    <a:pt x="1116" y="1398"/>
                  </a:lnTo>
                  <a:lnTo>
                    <a:pt x="1110" y="1416"/>
                  </a:lnTo>
                  <a:lnTo>
                    <a:pt x="1086" y="1416"/>
                  </a:lnTo>
                  <a:lnTo>
                    <a:pt x="1080" y="1410"/>
                  </a:lnTo>
                  <a:lnTo>
                    <a:pt x="1074" y="1410"/>
                  </a:lnTo>
                  <a:lnTo>
                    <a:pt x="1074" y="1404"/>
                  </a:lnTo>
                  <a:lnTo>
                    <a:pt x="1062" y="1404"/>
                  </a:lnTo>
                  <a:lnTo>
                    <a:pt x="1062" y="1380"/>
                  </a:lnTo>
                  <a:lnTo>
                    <a:pt x="1038" y="1380"/>
                  </a:lnTo>
                  <a:lnTo>
                    <a:pt x="1026" y="1350"/>
                  </a:lnTo>
                  <a:lnTo>
                    <a:pt x="996" y="1326"/>
                  </a:lnTo>
                  <a:lnTo>
                    <a:pt x="966" y="1314"/>
                  </a:lnTo>
                  <a:lnTo>
                    <a:pt x="954" y="1320"/>
                  </a:lnTo>
                  <a:lnTo>
                    <a:pt x="942" y="1338"/>
                  </a:lnTo>
                  <a:lnTo>
                    <a:pt x="930" y="1338"/>
                  </a:lnTo>
                  <a:lnTo>
                    <a:pt x="924" y="1350"/>
                  </a:lnTo>
                  <a:lnTo>
                    <a:pt x="906" y="1356"/>
                  </a:lnTo>
                  <a:lnTo>
                    <a:pt x="846" y="1356"/>
                  </a:lnTo>
                  <a:lnTo>
                    <a:pt x="834" y="1368"/>
                  </a:lnTo>
                  <a:lnTo>
                    <a:pt x="810" y="1362"/>
                  </a:lnTo>
                  <a:lnTo>
                    <a:pt x="792" y="1362"/>
                  </a:lnTo>
                  <a:lnTo>
                    <a:pt x="780" y="1368"/>
                  </a:lnTo>
                  <a:lnTo>
                    <a:pt x="762" y="1368"/>
                  </a:lnTo>
                  <a:lnTo>
                    <a:pt x="762" y="1362"/>
                  </a:lnTo>
                  <a:lnTo>
                    <a:pt x="750" y="1362"/>
                  </a:lnTo>
                  <a:lnTo>
                    <a:pt x="750" y="1338"/>
                  </a:lnTo>
                  <a:lnTo>
                    <a:pt x="762" y="1338"/>
                  </a:lnTo>
                  <a:lnTo>
                    <a:pt x="762" y="1326"/>
                  </a:lnTo>
                  <a:lnTo>
                    <a:pt x="762" y="1314"/>
                  </a:lnTo>
                  <a:lnTo>
                    <a:pt x="732" y="1314"/>
                  </a:lnTo>
                  <a:lnTo>
                    <a:pt x="726" y="1308"/>
                  </a:lnTo>
                  <a:lnTo>
                    <a:pt x="732" y="1284"/>
                  </a:lnTo>
                  <a:lnTo>
                    <a:pt x="732" y="1278"/>
                  </a:lnTo>
                  <a:lnTo>
                    <a:pt x="738" y="1272"/>
                  </a:lnTo>
                  <a:lnTo>
                    <a:pt x="738" y="1266"/>
                  </a:lnTo>
                  <a:lnTo>
                    <a:pt x="744" y="1266"/>
                  </a:lnTo>
                  <a:lnTo>
                    <a:pt x="750" y="1272"/>
                  </a:lnTo>
                  <a:lnTo>
                    <a:pt x="756" y="1266"/>
                  </a:lnTo>
                  <a:lnTo>
                    <a:pt x="762" y="1266"/>
                  </a:lnTo>
                  <a:lnTo>
                    <a:pt x="768" y="1260"/>
                  </a:lnTo>
                  <a:lnTo>
                    <a:pt x="774" y="1260"/>
                  </a:lnTo>
                  <a:lnTo>
                    <a:pt x="780" y="1254"/>
                  </a:lnTo>
                  <a:lnTo>
                    <a:pt x="774" y="1254"/>
                  </a:lnTo>
                  <a:lnTo>
                    <a:pt x="768" y="1254"/>
                  </a:lnTo>
                  <a:lnTo>
                    <a:pt x="774" y="1248"/>
                  </a:lnTo>
                  <a:lnTo>
                    <a:pt x="774" y="1242"/>
                  </a:lnTo>
                  <a:lnTo>
                    <a:pt x="780" y="1236"/>
                  </a:lnTo>
                  <a:lnTo>
                    <a:pt x="786" y="1236"/>
                  </a:lnTo>
                  <a:lnTo>
                    <a:pt x="792" y="1230"/>
                  </a:lnTo>
                  <a:lnTo>
                    <a:pt x="792" y="1236"/>
                  </a:lnTo>
                  <a:lnTo>
                    <a:pt x="798" y="1236"/>
                  </a:lnTo>
                  <a:lnTo>
                    <a:pt x="798" y="1230"/>
                  </a:lnTo>
                  <a:lnTo>
                    <a:pt x="804" y="1230"/>
                  </a:lnTo>
                  <a:lnTo>
                    <a:pt x="804" y="1218"/>
                  </a:lnTo>
                  <a:lnTo>
                    <a:pt x="804" y="1206"/>
                  </a:lnTo>
                  <a:lnTo>
                    <a:pt x="792" y="1188"/>
                  </a:lnTo>
                  <a:lnTo>
                    <a:pt x="768" y="1182"/>
                  </a:lnTo>
                  <a:lnTo>
                    <a:pt x="768" y="1170"/>
                  </a:lnTo>
                  <a:lnTo>
                    <a:pt x="774" y="1170"/>
                  </a:lnTo>
                  <a:lnTo>
                    <a:pt x="780" y="1170"/>
                  </a:lnTo>
                  <a:lnTo>
                    <a:pt x="786" y="1170"/>
                  </a:lnTo>
                  <a:lnTo>
                    <a:pt x="780" y="1152"/>
                  </a:lnTo>
                  <a:lnTo>
                    <a:pt x="780" y="1146"/>
                  </a:lnTo>
                  <a:lnTo>
                    <a:pt x="744" y="1140"/>
                  </a:lnTo>
                  <a:lnTo>
                    <a:pt x="732" y="1128"/>
                  </a:lnTo>
                  <a:lnTo>
                    <a:pt x="720" y="1122"/>
                  </a:lnTo>
                  <a:lnTo>
                    <a:pt x="732" y="1116"/>
                  </a:lnTo>
                  <a:lnTo>
                    <a:pt x="750" y="1104"/>
                  </a:lnTo>
                  <a:lnTo>
                    <a:pt x="756" y="1116"/>
                  </a:lnTo>
                  <a:lnTo>
                    <a:pt x="774" y="1116"/>
                  </a:lnTo>
                  <a:lnTo>
                    <a:pt x="780" y="1104"/>
                  </a:lnTo>
                  <a:lnTo>
                    <a:pt x="780" y="1080"/>
                  </a:lnTo>
                  <a:lnTo>
                    <a:pt x="786" y="1080"/>
                  </a:lnTo>
                  <a:lnTo>
                    <a:pt x="786" y="1074"/>
                  </a:lnTo>
                  <a:lnTo>
                    <a:pt x="792" y="1074"/>
                  </a:lnTo>
                  <a:lnTo>
                    <a:pt x="786" y="1068"/>
                  </a:lnTo>
                  <a:lnTo>
                    <a:pt x="786" y="1062"/>
                  </a:lnTo>
                  <a:lnTo>
                    <a:pt x="786" y="1056"/>
                  </a:lnTo>
                  <a:lnTo>
                    <a:pt x="792" y="1050"/>
                  </a:lnTo>
                  <a:lnTo>
                    <a:pt x="786" y="1020"/>
                  </a:lnTo>
                  <a:lnTo>
                    <a:pt x="780" y="960"/>
                  </a:lnTo>
                  <a:lnTo>
                    <a:pt x="768" y="942"/>
                  </a:lnTo>
                  <a:lnTo>
                    <a:pt x="732" y="936"/>
                  </a:lnTo>
                  <a:lnTo>
                    <a:pt x="732" y="942"/>
                  </a:lnTo>
                  <a:lnTo>
                    <a:pt x="726" y="942"/>
                  </a:lnTo>
                  <a:lnTo>
                    <a:pt x="720" y="936"/>
                  </a:lnTo>
                  <a:lnTo>
                    <a:pt x="714" y="942"/>
                  </a:lnTo>
                  <a:lnTo>
                    <a:pt x="708" y="942"/>
                  </a:lnTo>
                  <a:lnTo>
                    <a:pt x="702" y="942"/>
                  </a:lnTo>
                  <a:lnTo>
                    <a:pt x="690" y="936"/>
                  </a:lnTo>
                  <a:lnTo>
                    <a:pt x="684" y="936"/>
                  </a:lnTo>
                  <a:lnTo>
                    <a:pt x="678" y="936"/>
                  </a:lnTo>
                  <a:lnTo>
                    <a:pt x="672" y="936"/>
                  </a:lnTo>
                  <a:lnTo>
                    <a:pt x="666" y="942"/>
                  </a:lnTo>
                  <a:lnTo>
                    <a:pt x="660" y="942"/>
                  </a:lnTo>
                  <a:lnTo>
                    <a:pt x="654" y="942"/>
                  </a:lnTo>
                  <a:lnTo>
                    <a:pt x="648" y="942"/>
                  </a:lnTo>
                  <a:lnTo>
                    <a:pt x="642" y="936"/>
                  </a:lnTo>
                  <a:lnTo>
                    <a:pt x="636" y="936"/>
                  </a:lnTo>
                  <a:lnTo>
                    <a:pt x="630" y="930"/>
                  </a:lnTo>
                  <a:lnTo>
                    <a:pt x="618" y="930"/>
                  </a:lnTo>
                  <a:lnTo>
                    <a:pt x="612" y="930"/>
                  </a:lnTo>
                  <a:lnTo>
                    <a:pt x="606" y="936"/>
                  </a:lnTo>
                  <a:lnTo>
                    <a:pt x="600" y="942"/>
                  </a:lnTo>
                  <a:lnTo>
                    <a:pt x="600" y="936"/>
                  </a:lnTo>
                  <a:lnTo>
                    <a:pt x="594" y="930"/>
                  </a:lnTo>
                  <a:lnTo>
                    <a:pt x="588" y="930"/>
                  </a:lnTo>
                  <a:lnTo>
                    <a:pt x="582" y="930"/>
                  </a:lnTo>
                  <a:lnTo>
                    <a:pt x="576" y="930"/>
                  </a:lnTo>
                  <a:lnTo>
                    <a:pt x="564" y="936"/>
                  </a:lnTo>
                  <a:lnTo>
                    <a:pt x="558" y="936"/>
                  </a:lnTo>
                  <a:lnTo>
                    <a:pt x="546" y="924"/>
                  </a:lnTo>
                  <a:lnTo>
                    <a:pt x="540" y="924"/>
                  </a:lnTo>
                  <a:lnTo>
                    <a:pt x="534" y="918"/>
                  </a:lnTo>
                  <a:lnTo>
                    <a:pt x="528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6" y="918"/>
                  </a:lnTo>
                  <a:lnTo>
                    <a:pt x="516" y="912"/>
                  </a:lnTo>
                  <a:lnTo>
                    <a:pt x="510" y="894"/>
                  </a:lnTo>
                  <a:lnTo>
                    <a:pt x="510" y="882"/>
                  </a:lnTo>
                  <a:lnTo>
                    <a:pt x="510" y="876"/>
                  </a:lnTo>
                  <a:lnTo>
                    <a:pt x="516" y="870"/>
                  </a:lnTo>
                  <a:lnTo>
                    <a:pt x="510" y="864"/>
                  </a:lnTo>
                  <a:lnTo>
                    <a:pt x="516" y="858"/>
                  </a:lnTo>
                  <a:lnTo>
                    <a:pt x="522" y="858"/>
                  </a:lnTo>
                  <a:lnTo>
                    <a:pt x="528" y="858"/>
                  </a:lnTo>
                  <a:lnTo>
                    <a:pt x="522" y="852"/>
                  </a:lnTo>
                  <a:lnTo>
                    <a:pt x="528" y="852"/>
                  </a:lnTo>
                  <a:lnTo>
                    <a:pt x="528" y="846"/>
                  </a:lnTo>
                  <a:lnTo>
                    <a:pt x="552" y="846"/>
                  </a:lnTo>
                  <a:lnTo>
                    <a:pt x="558" y="840"/>
                  </a:lnTo>
                  <a:lnTo>
                    <a:pt x="564" y="828"/>
                  </a:lnTo>
                  <a:lnTo>
                    <a:pt x="570" y="816"/>
                  </a:lnTo>
                  <a:lnTo>
                    <a:pt x="582" y="810"/>
                  </a:lnTo>
                  <a:lnTo>
                    <a:pt x="588" y="804"/>
                  </a:lnTo>
                  <a:lnTo>
                    <a:pt x="594" y="804"/>
                  </a:lnTo>
                  <a:lnTo>
                    <a:pt x="594" y="792"/>
                  </a:lnTo>
                  <a:lnTo>
                    <a:pt x="600" y="786"/>
                  </a:lnTo>
                  <a:lnTo>
                    <a:pt x="606" y="780"/>
                  </a:lnTo>
                  <a:lnTo>
                    <a:pt x="612" y="774"/>
                  </a:lnTo>
                  <a:lnTo>
                    <a:pt x="618" y="774"/>
                  </a:lnTo>
                  <a:lnTo>
                    <a:pt x="618" y="768"/>
                  </a:lnTo>
                  <a:lnTo>
                    <a:pt x="618" y="762"/>
                  </a:lnTo>
                  <a:lnTo>
                    <a:pt x="624" y="756"/>
                  </a:lnTo>
                  <a:lnTo>
                    <a:pt x="618" y="750"/>
                  </a:lnTo>
                  <a:lnTo>
                    <a:pt x="618" y="744"/>
                  </a:lnTo>
                  <a:lnTo>
                    <a:pt x="600" y="738"/>
                  </a:lnTo>
                  <a:lnTo>
                    <a:pt x="558" y="744"/>
                  </a:lnTo>
                  <a:lnTo>
                    <a:pt x="552" y="732"/>
                  </a:lnTo>
                  <a:lnTo>
                    <a:pt x="546" y="720"/>
                  </a:lnTo>
                  <a:lnTo>
                    <a:pt x="564" y="702"/>
                  </a:lnTo>
                  <a:lnTo>
                    <a:pt x="570" y="684"/>
                  </a:lnTo>
                  <a:lnTo>
                    <a:pt x="564" y="648"/>
                  </a:lnTo>
                  <a:lnTo>
                    <a:pt x="534" y="624"/>
                  </a:lnTo>
                  <a:lnTo>
                    <a:pt x="504" y="612"/>
                  </a:lnTo>
                  <a:lnTo>
                    <a:pt x="498" y="606"/>
                  </a:lnTo>
                  <a:lnTo>
                    <a:pt x="492" y="600"/>
                  </a:lnTo>
                  <a:lnTo>
                    <a:pt x="486" y="606"/>
                  </a:lnTo>
                  <a:lnTo>
                    <a:pt x="480" y="558"/>
                  </a:lnTo>
                  <a:lnTo>
                    <a:pt x="462" y="546"/>
                  </a:lnTo>
                  <a:lnTo>
                    <a:pt x="408" y="540"/>
                  </a:lnTo>
                  <a:lnTo>
                    <a:pt x="408" y="546"/>
                  </a:lnTo>
                  <a:lnTo>
                    <a:pt x="408" y="558"/>
                  </a:lnTo>
                  <a:lnTo>
                    <a:pt x="408" y="564"/>
                  </a:lnTo>
                  <a:lnTo>
                    <a:pt x="408" y="570"/>
                  </a:lnTo>
                  <a:lnTo>
                    <a:pt x="414" y="582"/>
                  </a:lnTo>
                  <a:lnTo>
                    <a:pt x="408" y="594"/>
                  </a:lnTo>
                  <a:lnTo>
                    <a:pt x="414" y="594"/>
                  </a:lnTo>
                  <a:lnTo>
                    <a:pt x="408" y="600"/>
                  </a:lnTo>
                  <a:lnTo>
                    <a:pt x="348" y="600"/>
                  </a:lnTo>
                  <a:lnTo>
                    <a:pt x="324" y="600"/>
                  </a:lnTo>
                  <a:lnTo>
                    <a:pt x="324" y="612"/>
                  </a:lnTo>
                  <a:lnTo>
                    <a:pt x="306" y="618"/>
                  </a:lnTo>
                  <a:lnTo>
                    <a:pt x="312" y="618"/>
                  </a:lnTo>
                  <a:lnTo>
                    <a:pt x="294" y="588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76"/>
                  </a:lnTo>
                  <a:lnTo>
                    <a:pt x="240" y="582"/>
                  </a:lnTo>
                  <a:lnTo>
                    <a:pt x="234" y="582"/>
                  </a:lnTo>
                  <a:lnTo>
                    <a:pt x="228" y="588"/>
                  </a:lnTo>
                  <a:lnTo>
                    <a:pt x="222" y="588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8" y="600"/>
                  </a:lnTo>
                  <a:lnTo>
                    <a:pt x="192" y="612"/>
                  </a:lnTo>
                  <a:lnTo>
                    <a:pt x="192" y="618"/>
                  </a:lnTo>
                  <a:lnTo>
                    <a:pt x="198" y="624"/>
                  </a:lnTo>
                  <a:lnTo>
                    <a:pt x="192" y="624"/>
                  </a:lnTo>
                  <a:lnTo>
                    <a:pt x="192" y="630"/>
                  </a:lnTo>
                  <a:lnTo>
                    <a:pt x="192" y="642"/>
                  </a:lnTo>
                  <a:lnTo>
                    <a:pt x="180" y="648"/>
                  </a:lnTo>
                  <a:lnTo>
                    <a:pt x="174" y="654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6"/>
                  </a:lnTo>
                  <a:lnTo>
                    <a:pt x="156" y="672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90"/>
                  </a:lnTo>
                  <a:lnTo>
                    <a:pt x="132" y="690"/>
                  </a:lnTo>
                  <a:lnTo>
                    <a:pt x="126" y="702"/>
                  </a:lnTo>
                  <a:lnTo>
                    <a:pt x="132" y="708"/>
                  </a:lnTo>
                  <a:lnTo>
                    <a:pt x="126" y="708"/>
                  </a:lnTo>
                  <a:lnTo>
                    <a:pt x="120" y="708"/>
                  </a:lnTo>
                  <a:lnTo>
                    <a:pt x="114" y="708"/>
                  </a:lnTo>
                  <a:lnTo>
                    <a:pt x="108" y="708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78" y="720"/>
                  </a:lnTo>
                  <a:lnTo>
                    <a:pt x="72" y="720"/>
                  </a:lnTo>
                  <a:lnTo>
                    <a:pt x="66" y="720"/>
                  </a:lnTo>
                  <a:lnTo>
                    <a:pt x="54" y="732"/>
                  </a:lnTo>
                  <a:lnTo>
                    <a:pt x="48" y="702"/>
                  </a:lnTo>
                  <a:lnTo>
                    <a:pt x="36" y="666"/>
                  </a:lnTo>
                  <a:lnTo>
                    <a:pt x="0" y="660"/>
                  </a:lnTo>
                  <a:lnTo>
                    <a:pt x="6" y="660"/>
                  </a:lnTo>
                  <a:lnTo>
                    <a:pt x="6" y="654"/>
                  </a:lnTo>
                  <a:lnTo>
                    <a:pt x="6" y="648"/>
                  </a:lnTo>
                  <a:lnTo>
                    <a:pt x="6" y="642"/>
                  </a:lnTo>
                  <a:lnTo>
                    <a:pt x="6" y="624"/>
                  </a:lnTo>
                  <a:lnTo>
                    <a:pt x="6" y="612"/>
                  </a:lnTo>
                  <a:lnTo>
                    <a:pt x="6" y="606"/>
                  </a:lnTo>
                  <a:lnTo>
                    <a:pt x="12" y="612"/>
                  </a:lnTo>
                  <a:lnTo>
                    <a:pt x="18" y="606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30" y="594"/>
                  </a:lnTo>
                  <a:lnTo>
                    <a:pt x="30" y="588"/>
                  </a:lnTo>
                  <a:lnTo>
                    <a:pt x="30" y="582"/>
                  </a:lnTo>
                  <a:lnTo>
                    <a:pt x="24" y="576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18" y="558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36" y="528"/>
                  </a:lnTo>
                  <a:lnTo>
                    <a:pt x="30" y="522"/>
                  </a:lnTo>
                  <a:lnTo>
                    <a:pt x="24" y="522"/>
                  </a:lnTo>
                  <a:lnTo>
                    <a:pt x="18" y="510"/>
                  </a:lnTo>
                  <a:lnTo>
                    <a:pt x="12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8" y="474"/>
                  </a:lnTo>
                  <a:lnTo>
                    <a:pt x="12" y="468"/>
                  </a:lnTo>
                  <a:lnTo>
                    <a:pt x="12" y="462"/>
                  </a:lnTo>
                  <a:lnTo>
                    <a:pt x="18" y="456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0" y="420"/>
                  </a:lnTo>
                  <a:lnTo>
                    <a:pt x="30" y="414"/>
                  </a:lnTo>
                  <a:lnTo>
                    <a:pt x="48" y="414"/>
                  </a:lnTo>
                  <a:lnTo>
                    <a:pt x="54" y="408"/>
                  </a:lnTo>
                  <a:lnTo>
                    <a:pt x="60" y="402"/>
                  </a:lnTo>
                  <a:lnTo>
                    <a:pt x="66" y="402"/>
                  </a:lnTo>
                  <a:lnTo>
                    <a:pt x="72" y="402"/>
                  </a:lnTo>
                  <a:lnTo>
                    <a:pt x="78" y="408"/>
                  </a:lnTo>
                  <a:lnTo>
                    <a:pt x="84" y="396"/>
                  </a:lnTo>
                  <a:lnTo>
                    <a:pt x="90" y="390"/>
                  </a:lnTo>
                  <a:lnTo>
                    <a:pt x="90" y="378"/>
                  </a:lnTo>
                  <a:lnTo>
                    <a:pt x="96" y="372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8" y="354"/>
                  </a:lnTo>
                  <a:lnTo>
                    <a:pt x="114" y="348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32" y="336"/>
                  </a:lnTo>
                  <a:lnTo>
                    <a:pt x="132" y="330"/>
                  </a:lnTo>
                  <a:lnTo>
                    <a:pt x="138" y="324"/>
                  </a:lnTo>
                  <a:lnTo>
                    <a:pt x="138" y="318"/>
                  </a:lnTo>
                  <a:lnTo>
                    <a:pt x="144" y="306"/>
                  </a:lnTo>
                  <a:lnTo>
                    <a:pt x="156" y="306"/>
                  </a:lnTo>
                  <a:lnTo>
                    <a:pt x="186" y="300"/>
                  </a:lnTo>
                  <a:lnTo>
                    <a:pt x="198" y="300"/>
                  </a:lnTo>
                  <a:lnTo>
                    <a:pt x="210" y="300"/>
                  </a:lnTo>
                  <a:lnTo>
                    <a:pt x="222" y="300"/>
                  </a:lnTo>
                  <a:lnTo>
                    <a:pt x="246" y="300"/>
                  </a:lnTo>
                  <a:lnTo>
                    <a:pt x="264" y="312"/>
                  </a:lnTo>
                  <a:lnTo>
                    <a:pt x="270" y="312"/>
                  </a:lnTo>
                  <a:lnTo>
                    <a:pt x="282" y="306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300" y="306"/>
                  </a:lnTo>
                  <a:lnTo>
                    <a:pt x="312" y="306"/>
                  </a:lnTo>
                  <a:lnTo>
                    <a:pt x="318" y="300"/>
                  </a:lnTo>
                  <a:lnTo>
                    <a:pt x="324" y="300"/>
                  </a:lnTo>
                  <a:lnTo>
                    <a:pt x="330" y="294"/>
                  </a:lnTo>
                  <a:lnTo>
                    <a:pt x="336" y="288"/>
                  </a:lnTo>
                  <a:lnTo>
                    <a:pt x="354" y="288"/>
                  </a:lnTo>
                  <a:lnTo>
                    <a:pt x="360" y="288"/>
                  </a:lnTo>
                  <a:lnTo>
                    <a:pt x="366" y="282"/>
                  </a:lnTo>
                  <a:lnTo>
                    <a:pt x="372" y="282"/>
                  </a:lnTo>
                  <a:lnTo>
                    <a:pt x="378" y="282"/>
                  </a:lnTo>
                  <a:lnTo>
                    <a:pt x="384" y="276"/>
                  </a:lnTo>
                  <a:lnTo>
                    <a:pt x="384" y="270"/>
                  </a:lnTo>
                  <a:lnTo>
                    <a:pt x="390" y="264"/>
                  </a:lnTo>
                  <a:lnTo>
                    <a:pt x="402" y="258"/>
                  </a:lnTo>
                  <a:lnTo>
                    <a:pt x="402" y="252"/>
                  </a:lnTo>
                  <a:lnTo>
                    <a:pt x="402" y="246"/>
                  </a:lnTo>
                  <a:lnTo>
                    <a:pt x="408" y="234"/>
                  </a:lnTo>
                  <a:lnTo>
                    <a:pt x="414" y="234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14" y="216"/>
                  </a:lnTo>
                  <a:lnTo>
                    <a:pt x="414" y="210"/>
                  </a:lnTo>
                  <a:lnTo>
                    <a:pt x="420" y="210"/>
                  </a:lnTo>
                  <a:lnTo>
                    <a:pt x="414" y="198"/>
                  </a:lnTo>
                  <a:lnTo>
                    <a:pt x="414" y="192"/>
                  </a:lnTo>
                  <a:lnTo>
                    <a:pt x="420" y="192"/>
                  </a:lnTo>
                  <a:lnTo>
                    <a:pt x="420" y="186"/>
                  </a:lnTo>
                  <a:lnTo>
                    <a:pt x="420" y="174"/>
                  </a:lnTo>
                  <a:lnTo>
                    <a:pt x="420" y="168"/>
                  </a:lnTo>
                  <a:lnTo>
                    <a:pt x="426" y="162"/>
                  </a:lnTo>
                  <a:lnTo>
                    <a:pt x="432" y="156"/>
                  </a:lnTo>
                  <a:lnTo>
                    <a:pt x="438" y="144"/>
                  </a:lnTo>
                  <a:lnTo>
                    <a:pt x="444" y="144"/>
                  </a:lnTo>
                  <a:lnTo>
                    <a:pt x="450" y="138"/>
                  </a:lnTo>
                  <a:lnTo>
                    <a:pt x="456" y="138"/>
                  </a:lnTo>
                  <a:lnTo>
                    <a:pt x="462" y="132"/>
                  </a:lnTo>
                  <a:lnTo>
                    <a:pt x="462" y="126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0"/>
                  </a:lnTo>
                  <a:lnTo>
                    <a:pt x="486" y="108"/>
                  </a:lnTo>
                  <a:lnTo>
                    <a:pt x="492" y="108"/>
                  </a:lnTo>
                  <a:lnTo>
                    <a:pt x="498" y="102"/>
                  </a:lnTo>
                  <a:lnTo>
                    <a:pt x="504" y="96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40" y="102"/>
                  </a:lnTo>
                  <a:lnTo>
                    <a:pt x="552" y="108"/>
                  </a:lnTo>
                  <a:lnTo>
                    <a:pt x="582" y="102"/>
                  </a:lnTo>
                  <a:lnTo>
                    <a:pt x="594" y="126"/>
                  </a:lnTo>
                  <a:lnTo>
                    <a:pt x="594" y="144"/>
                  </a:lnTo>
                  <a:lnTo>
                    <a:pt x="588" y="156"/>
                  </a:lnTo>
                  <a:lnTo>
                    <a:pt x="588" y="168"/>
                  </a:lnTo>
                  <a:lnTo>
                    <a:pt x="582" y="180"/>
                  </a:lnTo>
                  <a:lnTo>
                    <a:pt x="570" y="192"/>
                  </a:lnTo>
                  <a:lnTo>
                    <a:pt x="594" y="192"/>
                  </a:lnTo>
                  <a:lnTo>
                    <a:pt x="618" y="198"/>
                  </a:lnTo>
                  <a:lnTo>
                    <a:pt x="642" y="210"/>
                  </a:lnTo>
                  <a:lnTo>
                    <a:pt x="660" y="234"/>
                  </a:lnTo>
                  <a:lnTo>
                    <a:pt x="678" y="246"/>
                  </a:lnTo>
                  <a:lnTo>
                    <a:pt x="684" y="252"/>
                  </a:lnTo>
                  <a:lnTo>
                    <a:pt x="702" y="252"/>
                  </a:lnTo>
                  <a:lnTo>
                    <a:pt x="732" y="234"/>
                  </a:lnTo>
                  <a:lnTo>
                    <a:pt x="732" y="222"/>
                  </a:lnTo>
                  <a:lnTo>
                    <a:pt x="720" y="216"/>
                  </a:lnTo>
                  <a:lnTo>
                    <a:pt x="714" y="198"/>
                  </a:lnTo>
                  <a:lnTo>
                    <a:pt x="714" y="174"/>
                  </a:lnTo>
                  <a:lnTo>
                    <a:pt x="720" y="162"/>
                  </a:lnTo>
                  <a:lnTo>
                    <a:pt x="726" y="162"/>
                  </a:lnTo>
                  <a:lnTo>
                    <a:pt x="732" y="156"/>
                  </a:lnTo>
                  <a:lnTo>
                    <a:pt x="744" y="150"/>
                  </a:lnTo>
                  <a:lnTo>
                    <a:pt x="774" y="162"/>
                  </a:lnTo>
                  <a:lnTo>
                    <a:pt x="786" y="162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16" y="150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2" y="132"/>
                  </a:lnTo>
                  <a:lnTo>
                    <a:pt x="822" y="114"/>
                  </a:lnTo>
                  <a:lnTo>
                    <a:pt x="828" y="108"/>
                  </a:lnTo>
                  <a:lnTo>
                    <a:pt x="834" y="96"/>
                  </a:lnTo>
                  <a:lnTo>
                    <a:pt x="846" y="96"/>
                  </a:lnTo>
                  <a:lnTo>
                    <a:pt x="858" y="90"/>
                  </a:lnTo>
                  <a:lnTo>
                    <a:pt x="870" y="84"/>
                  </a:lnTo>
                  <a:lnTo>
                    <a:pt x="888" y="84"/>
                  </a:lnTo>
                  <a:lnTo>
                    <a:pt x="894" y="90"/>
                  </a:lnTo>
                  <a:lnTo>
                    <a:pt x="894" y="102"/>
                  </a:lnTo>
                  <a:lnTo>
                    <a:pt x="900" y="102"/>
                  </a:lnTo>
                  <a:lnTo>
                    <a:pt x="906" y="114"/>
                  </a:lnTo>
                  <a:lnTo>
                    <a:pt x="930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54" y="138"/>
                  </a:lnTo>
                  <a:lnTo>
                    <a:pt x="966" y="144"/>
                  </a:lnTo>
                  <a:lnTo>
                    <a:pt x="966" y="150"/>
                  </a:lnTo>
                  <a:lnTo>
                    <a:pt x="972" y="150"/>
                  </a:lnTo>
                  <a:lnTo>
                    <a:pt x="978" y="150"/>
                  </a:lnTo>
                  <a:lnTo>
                    <a:pt x="978" y="144"/>
                  </a:lnTo>
                  <a:lnTo>
                    <a:pt x="984" y="144"/>
                  </a:lnTo>
                  <a:lnTo>
                    <a:pt x="990" y="138"/>
                  </a:lnTo>
                  <a:lnTo>
                    <a:pt x="996" y="138"/>
                  </a:lnTo>
                  <a:lnTo>
                    <a:pt x="1002" y="138"/>
                  </a:lnTo>
                  <a:lnTo>
                    <a:pt x="1008" y="138"/>
                  </a:lnTo>
                  <a:lnTo>
                    <a:pt x="1026" y="132"/>
                  </a:lnTo>
                  <a:lnTo>
                    <a:pt x="1044" y="126"/>
                  </a:lnTo>
                  <a:lnTo>
                    <a:pt x="1056" y="120"/>
                  </a:lnTo>
                  <a:lnTo>
                    <a:pt x="1062" y="108"/>
                  </a:lnTo>
                  <a:lnTo>
                    <a:pt x="1056" y="102"/>
                  </a:lnTo>
                  <a:lnTo>
                    <a:pt x="1062" y="96"/>
                  </a:lnTo>
                  <a:lnTo>
                    <a:pt x="1074" y="90"/>
                  </a:lnTo>
                  <a:lnTo>
                    <a:pt x="1080" y="84"/>
                  </a:lnTo>
                  <a:lnTo>
                    <a:pt x="1128" y="84"/>
                  </a:lnTo>
                  <a:lnTo>
                    <a:pt x="1134" y="84"/>
                  </a:lnTo>
                  <a:lnTo>
                    <a:pt x="1140" y="78"/>
                  </a:lnTo>
                  <a:lnTo>
                    <a:pt x="1152" y="72"/>
                  </a:lnTo>
                  <a:lnTo>
                    <a:pt x="1164" y="66"/>
                  </a:lnTo>
                  <a:lnTo>
                    <a:pt x="1170" y="60"/>
                  </a:lnTo>
                  <a:lnTo>
                    <a:pt x="1188" y="48"/>
                  </a:lnTo>
                  <a:lnTo>
                    <a:pt x="1200" y="36"/>
                  </a:lnTo>
                  <a:lnTo>
                    <a:pt x="1218" y="24"/>
                  </a:lnTo>
                  <a:lnTo>
                    <a:pt x="1248" y="24"/>
                  </a:lnTo>
                  <a:lnTo>
                    <a:pt x="1272" y="24"/>
                  </a:lnTo>
                  <a:lnTo>
                    <a:pt x="1284" y="12"/>
                  </a:lnTo>
                  <a:lnTo>
                    <a:pt x="1302" y="0"/>
                  </a:lnTo>
                  <a:lnTo>
                    <a:pt x="1314" y="0"/>
                  </a:lnTo>
                  <a:lnTo>
                    <a:pt x="1326" y="18"/>
                  </a:lnTo>
                  <a:lnTo>
                    <a:pt x="1338" y="30"/>
                  </a:lnTo>
                  <a:lnTo>
                    <a:pt x="1338" y="54"/>
                  </a:lnTo>
                  <a:lnTo>
                    <a:pt x="1332" y="72"/>
                  </a:lnTo>
                  <a:lnTo>
                    <a:pt x="1326" y="72"/>
                  </a:lnTo>
                  <a:lnTo>
                    <a:pt x="1326" y="78"/>
                  </a:lnTo>
                  <a:lnTo>
                    <a:pt x="1326" y="102"/>
                  </a:lnTo>
                  <a:lnTo>
                    <a:pt x="1332" y="102"/>
                  </a:lnTo>
                  <a:lnTo>
                    <a:pt x="1332" y="108"/>
                  </a:lnTo>
                  <a:lnTo>
                    <a:pt x="1344" y="114"/>
                  </a:lnTo>
                  <a:lnTo>
                    <a:pt x="1350" y="114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404" y="132"/>
                  </a:lnTo>
                  <a:lnTo>
                    <a:pt x="1404" y="138"/>
                  </a:lnTo>
                  <a:lnTo>
                    <a:pt x="1410" y="150"/>
                  </a:lnTo>
                  <a:lnTo>
                    <a:pt x="1416" y="162"/>
                  </a:lnTo>
                  <a:lnTo>
                    <a:pt x="1428" y="168"/>
                  </a:lnTo>
                  <a:lnTo>
                    <a:pt x="1440" y="180"/>
                  </a:lnTo>
                  <a:lnTo>
                    <a:pt x="1476" y="174"/>
                  </a:lnTo>
                  <a:lnTo>
                    <a:pt x="1494" y="174"/>
                  </a:lnTo>
                  <a:lnTo>
                    <a:pt x="1512" y="192"/>
                  </a:lnTo>
                  <a:lnTo>
                    <a:pt x="1518" y="204"/>
                  </a:lnTo>
                  <a:lnTo>
                    <a:pt x="1530" y="216"/>
                  </a:lnTo>
                  <a:lnTo>
                    <a:pt x="1548" y="228"/>
                  </a:lnTo>
                  <a:lnTo>
                    <a:pt x="1548" y="234"/>
                  </a:lnTo>
                  <a:lnTo>
                    <a:pt x="1542" y="246"/>
                  </a:lnTo>
                  <a:lnTo>
                    <a:pt x="1560" y="246"/>
                  </a:lnTo>
                  <a:lnTo>
                    <a:pt x="1560" y="252"/>
                  </a:lnTo>
                  <a:lnTo>
                    <a:pt x="1566" y="258"/>
                  </a:lnTo>
                  <a:lnTo>
                    <a:pt x="1578" y="270"/>
                  </a:lnTo>
                  <a:lnTo>
                    <a:pt x="1596" y="270"/>
                  </a:lnTo>
                  <a:lnTo>
                    <a:pt x="1602" y="288"/>
                  </a:lnTo>
                  <a:lnTo>
                    <a:pt x="1608" y="306"/>
                  </a:lnTo>
                  <a:lnTo>
                    <a:pt x="1608" y="318"/>
                  </a:lnTo>
                  <a:lnTo>
                    <a:pt x="1608" y="324"/>
                  </a:lnTo>
                  <a:lnTo>
                    <a:pt x="1614" y="330"/>
                  </a:lnTo>
                  <a:lnTo>
                    <a:pt x="1614" y="336"/>
                  </a:lnTo>
                  <a:lnTo>
                    <a:pt x="1614" y="342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08" y="390"/>
                  </a:lnTo>
                  <a:lnTo>
                    <a:pt x="1602" y="390"/>
                  </a:lnTo>
                  <a:lnTo>
                    <a:pt x="1602" y="396"/>
                  </a:lnTo>
                  <a:lnTo>
                    <a:pt x="1584" y="420"/>
                  </a:lnTo>
                  <a:lnTo>
                    <a:pt x="1584" y="426"/>
                  </a:lnTo>
                  <a:lnTo>
                    <a:pt x="1602" y="474"/>
                  </a:lnTo>
                  <a:lnTo>
                    <a:pt x="1608" y="480"/>
                  </a:lnTo>
                  <a:lnTo>
                    <a:pt x="1608" y="486"/>
                  </a:lnTo>
                  <a:lnTo>
                    <a:pt x="1614" y="486"/>
                  </a:lnTo>
                  <a:lnTo>
                    <a:pt x="1608" y="504"/>
                  </a:lnTo>
                  <a:lnTo>
                    <a:pt x="1572" y="504"/>
                  </a:lnTo>
                  <a:lnTo>
                    <a:pt x="1560" y="510"/>
                  </a:lnTo>
                  <a:lnTo>
                    <a:pt x="1554" y="522"/>
                  </a:lnTo>
                  <a:lnTo>
                    <a:pt x="1560" y="552"/>
                  </a:lnTo>
                  <a:lnTo>
                    <a:pt x="1566" y="552"/>
                  </a:lnTo>
                  <a:lnTo>
                    <a:pt x="1566" y="558"/>
                  </a:lnTo>
                  <a:lnTo>
                    <a:pt x="1572" y="558"/>
                  </a:lnTo>
                  <a:lnTo>
                    <a:pt x="1578" y="558"/>
                  </a:lnTo>
                  <a:lnTo>
                    <a:pt x="1578" y="552"/>
                  </a:lnTo>
                  <a:lnTo>
                    <a:pt x="1584" y="552"/>
                  </a:lnTo>
                  <a:lnTo>
                    <a:pt x="1590" y="552"/>
                  </a:lnTo>
                  <a:lnTo>
                    <a:pt x="1590" y="546"/>
                  </a:lnTo>
                  <a:lnTo>
                    <a:pt x="1596" y="546"/>
                  </a:lnTo>
                  <a:lnTo>
                    <a:pt x="1602" y="552"/>
                  </a:lnTo>
                  <a:lnTo>
                    <a:pt x="1602" y="546"/>
                  </a:lnTo>
                  <a:lnTo>
                    <a:pt x="1608" y="546"/>
                  </a:lnTo>
                  <a:lnTo>
                    <a:pt x="1608" y="552"/>
                  </a:lnTo>
                  <a:lnTo>
                    <a:pt x="1614" y="552"/>
                  </a:lnTo>
                  <a:lnTo>
                    <a:pt x="1614" y="546"/>
                  </a:lnTo>
                  <a:lnTo>
                    <a:pt x="1620" y="552"/>
                  </a:lnTo>
                  <a:lnTo>
                    <a:pt x="1626" y="552"/>
                  </a:lnTo>
                  <a:lnTo>
                    <a:pt x="1626" y="558"/>
                  </a:lnTo>
                  <a:lnTo>
                    <a:pt x="1632" y="558"/>
                  </a:lnTo>
                  <a:lnTo>
                    <a:pt x="1638" y="558"/>
                  </a:lnTo>
                  <a:lnTo>
                    <a:pt x="1644" y="558"/>
                  </a:lnTo>
                  <a:lnTo>
                    <a:pt x="1650" y="558"/>
                  </a:lnTo>
                  <a:lnTo>
                    <a:pt x="1650" y="564"/>
                  </a:lnTo>
                  <a:lnTo>
                    <a:pt x="1656" y="564"/>
                  </a:lnTo>
                  <a:lnTo>
                    <a:pt x="1662" y="564"/>
                  </a:lnTo>
                  <a:lnTo>
                    <a:pt x="1668" y="564"/>
                  </a:lnTo>
                  <a:lnTo>
                    <a:pt x="1668" y="570"/>
                  </a:lnTo>
                  <a:lnTo>
                    <a:pt x="1674" y="570"/>
                  </a:lnTo>
                  <a:lnTo>
                    <a:pt x="1680" y="570"/>
                  </a:lnTo>
                  <a:lnTo>
                    <a:pt x="1686" y="576"/>
                  </a:lnTo>
                  <a:lnTo>
                    <a:pt x="1686" y="582"/>
                  </a:lnTo>
                  <a:lnTo>
                    <a:pt x="1710" y="588"/>
                  </a:lnTo>
                  <a:lnTo>
                    <a:pt x="1710" y="594"/>
                  </a:lnTo>
                  <a:lnTo>
                    <a:pt x="1704" y="600"/>
                  </a:lnTo>
                  <a:lnTo>
                    <a:pt x="1710" y="624"/>
                  </a:lnTo>
                  <a:lnTo>
                    <a:pt x="1698" y="672"/>
                  </a:lnTo>
                  <a:lnTo>
                    <a:pt x="1704" y="678"/>
                  </a:lnTo>
                  <a:lnTo>
                    <a:pt x="1716" y="684"/>
                  </a:lnTo>
                  <a:lnTo>
                    <a:pt x="1716" y="678"/>
                  </a:lnTo>
                  <a:lnTo>
                    <a:pt x="1716" y="684"/>
                  </a:lnTo>
                  <a:lnTo>
                    <a:pt x="1728" y="684"/>
                  </a:lnTo>
                  <a:lnTo>
                    <a:pt x="1728" y="690"/>
                  </a:lnTo>
                  <a:lnTo>
                    <a:pt x="1734" y="696"/>
                  </a:lnTo>
                  <a:lnTo>
                    <a:pt x="1734" y="702"/>
                  </a:lnTo>
                  <a:lnTo>
                    <a:pt x="1740" y="708"/>
                  </a:lnTo>
                  <a:lnTo>
                    <a:pt x="1740" y="714"/>
                  </a:lnTo>
                  <a:lnTo>
                    <a:pt x="1710" y="714"/>
                  </a:lnTo>
                  <a:lnTo>
                    <a:pt x="1710" y="756"/>
                  </a:lnTo>
                  <a:lnTo>
                    <a:pt x="1704" y="762"/>
                  </a:lnTo>
                  <a:lnTo>
                    <a:pt x="1698" y="762"/>
                  </a:lnTo>
                  <a:lnTo>
                    <a:pt x="1698" y="768"/>
                  </a:lnTo>
                  <a:lnTo>
                    <a:pt x="1698" y="774"/>
                  </a:lnTo>
                  <a:lnTo>
                    <a:pt x="1692" y="780"/>
                  </a:lnTo>
                  <a:lnTo>
                    <a:pt x="1692" y="786"/>
                  </a:lnTo>
                  <a:lnTo>
                    <a:pt x="1686" y="786"/>
                  </a:lnTo>
                  <a:lnTo>
                    <a:pt x="1668" y="798"/>
                  </a:lnTo>
                  <a:lnTo>
                    <a:pt x="1662" y="810"/>
                  </a:lnTo>
                  <a:lnTo>
                    <a:pt x="1650" y="810"/>
                  </a:lnTo>
                  <a:lnTo>
                    <a:pt x="1644" y="816"/>
                  </a:lnTo>
                  <a:lnTo>
                    <a:pt x="1638" y="816"/>
                  </a:lnTo>
                  <a:lnTo>
                    <a:pt x="1626" y="852"/>
                  </a:lnTo>
                  <a:lnTo>
                    <a:pt x="1620" y="888"/>
                  </a:lnTo>
                  <a:lnTo>
                    <a:pt x="1626" y="888"/>
                  </a:lnTo>
                  <a:lnTo>
                    <a:pt x="1638" y="912"/>
                  </a:lnTo>
                  <a:lnTo>
                    <a:pt x="1644" y="918"/>
                  </a:lnTo>
                  <a:lnTo>
                    <a:pt x="1650" y="966"/>
                  </a:lnTo>
                  <a:lnTo>
                    <a:pt x="1626" y="972"/>
                  </a:lnTo>
                  <a:lnTo>
                    <a:pt x="1608" y="978"/>
                  </a:lnTo>
                  <a:lnTo>
                    <a:pt x="1614" y="984"/>
                  </a:lnTo>
                  <a:lnTo>
                    <a:pt x="1620" y="984"/>
                  </a:lnTo>
                  <a:lnTo>
                    <a:pt x="1620" y="1020"/>
                  </a:lnTo>
                  <a:lnTo>
                    <a:pt x="1614" y="1038"/>
                  </a:lnTo>
                  <a:lnTo>
                    <a:pt x="1620" y="1044"/>
                  </a:lnTo>
                  <a:lnTo>
                    <a:pt x="1626" y="1056"/>
                  </a:lnTo>
                  <a:lnTo>
                    <a:pt x="1626" y="1074"/>
                  </a:lnTo>
                  <a:lnTo>
                    <a:pt x="1620" y="1080"/>
                  </a:lnTo>
                  <a:lnTo>
                    <a:pt x="1620" y="1104"/>
                  </a:lnTo>
                  <a:lnTo>
                    <a:pt x="1620" y="1110"/>
                  </a:lnTo>
                  <a:lnTo>
                    <a:pt x="1614" y="1116"/>
                  </a:lnTo>
                  <a:lnTo>
                    <a:pt x="1608" y="1140"/>
                  </a:lnTo>
                  <a:lnTo>
                    <a:pt x="1602" y="1146"/>
                  </a:lnTo>
                  <a:lnTo>
                    <a:pt x="1602" y="1164"/>
                  </a:lnTo>
                  <a:lnTo>
                    <a:pt x="1596" y="1170"/>
                  </a:lnTo>
                  <a:lnTo>
                    <a:pt x="1590" y="1164"/>
                  </a:lnTo>
                  <a:lnTo>
                    <a:pt x="1584" y="1164"/>
                  </a:lnTo>
                  <a:lnTo>
                    <a:pt x="1578" y="1164"/>
                  </a:lnTo>
                  <a:lnTo>
                    <a:pt x="1578" y="1188"/>
                  </a:lnTo>
                  <a:lnTo>
                    <a:pt x="1584" y="1194"/>
                  </a:lnTo>
                  <a:lnTo>
                    <a:pt x="1590" y="1194"/>
                  </a:lnTo>
                  <a:lnTo>
                    <a:pt x="1590" y="1212"/>
                  </a:lnTo>
                  <a:lnTo>
                    <a:pt x="1584" y="1212"/>
                  </a:lnTo>
                  <a:lnTo>
                    <a:pt x="1584" y="1224"/>
                  </a:lnTo>
                  <a:lnTo>
                    <a:pt x="1578" y="1224"/>
                  </a:lnTo>
                  <a:lnTo>
                    <a:pt x="1578" y="1236"/>
                  </a:lnTo>
                  <a:lnTo>
                    <a:pt x="1584" y="1254"/>
                  </a:lnTo>
                  <a:lnTo>
                    <a:pt x="1584" y="1260"/>
                  </a:lnTo>
                  <a:lnTo>
                    <a:pt x="1590" y="1260"/>
                  </a:lnTo>
                  <a:lnTo>
                    <a:pt x="1590" y="1266"/>
                  </a:lnTo>
                  <a:lnTo>
                    <a:pt x="1596" y="1284"/>
                  </a:lnTo>
                  <a:lnTo>
                    <a:pt x="1602" y="1278"/>
                  </a:lnTo>
                  <a:lnTo>
                    <a:pt x="1608" y="1284"/>
                  </a:lnTo>
                  <a:lnTo>
                    <a:pt x="1632" y="1350"/>
                  </a:lnTo>
                  <a:lnTo>
                    <a:pt x="1638" y="1356"/>
                  </a:lnTo>
                  <a:lnTo>
                    <a:pt x="1644" y="1356"/>
                  </a:lnTo>
                  <a:lnTo>
                    <a:pt x="1650" y="1356"/>
                  </a:lnTo>
                  <a:lnTo>
                    <a:pt x="1656" y="1356"/>
                  </a:lnTo>
                  <a:lnTo>
                    <a:pt x="1662" y="1362"/>
                  </a:lnTo>
                  <a:lnTo>
                    <a:pt x="1668" y="1356"/>
                  </a:lnTo>
                  <a:lnTo>
                    <a:pt x="1668" y="1380"/>
                  </a:lnTo>
                  <a:lnTo>
                    <a:pt x="1662" y="1392"/>
                  </a:lnTo>
                  <a:lnTo>
                    <a:pt x="1656" y="1404"/>
                  </a:lnTo>
                  <a:lnTo>
                    <a:pt x="1656" y="1410"/>
                  </a:lnTo>
                  <a:lnTo>
                    <a:pt x="1656" y="1416"/>
                  </a:lnTo>
                  <a:lnTo>
                    <a:pt x="1650" y="1422"/>
                  </a:lnTo>
                  <a:lnTo>
                    <a:pt x="1650" y="1428"/>
                  </a:lnTo>
                  <a:lnTo>
                    <a:pt x="1644" y="1428"/>
                  </a:lnTo>
                  <a:lnTo>
                    <a:pt x="1644" y="1434"/>
                  </a:lnTo>
                  <a:lnTo>
                    <a:pt x="1638" y="1434"/>
                  </a:lnTo>
                  <a:lnTo>
                    <a:pt x="1638" y="1440"/>
                  </a:lnTo>
                  <a:lnTo>
                    <a:pt x="1632" y="1440"/>
                  </a:lnTo>
                  <a:lnTo>
                    <a:pt x="1638" y="145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8" name="Freeform 13">
              <a:extLst>
                <a:ext uri="{FF2B5EF4-FFF2-40B4-BE49-F238E27FC236}">
                  <a16:creationId xmlns:a16="http://schemas.microsoft.com/office/drawing/2014/main" id="{66308D9B-1739-4227-AAC3-BB866CD1F5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63374" y="2969626"/>
              <a:ext cx="330956" cy="357840"/>
            </a:xfrm>
            <a:custGeom>
              <a:avLst/>
              <a:gdLst>
                <a:gd name="T0" fmla="*/ 11 w 624"/>
                <a:gd name="T1" fmla="*/ 59 h 672"/>
                <a:gd name="T2" fmla="*/ 4 w 624"/>
                <a:gd name="T3" fmla="*/ 58 h 672"/>
                <a:gd name="T4" fmla="*/ 3 w 624"/>
                <a:gd name="T5" fmla="*/ 58 h 672"/>
                <a:gd name="T6" fmla="*/ 2 w 624"/>
                <a:gd name="T7" fmla="*/ 11 h 672"/>
                <a:gd name="T8" fmla="*/ 13 w 624"/>
                <a:gd name="T9" fmla="*/ 11 h 672"/>
                <a:gd name="T10" fmla="*/ 14 w 624"/>
                <a:gd name="T11" fmla="*/ 11 h 672"/>
                <a:gd name="T12" fmla="*/ 15 w 624"/>
                <a:gd name="T13" fmla="*/ 12 h 672"/>
                <a:gd name="T14" fmla="*/ 18 w 624"/>
                <a:gd name="T15" fmla="*/ 14 h 672"/>
                <a:gd name="T16" fmla="*/ 21 w 624"/>
                <a:gd name="T17" fmla="*/ 16 h 672"/>
                <a:gd name="T18" fmla="*/ 22 w 624"/>
                <a:gd name="T19" fmla="*/ 18 h 672"/>
                <a:gd name="T20" fmla="*/ 23 w 624"/>
                <a:gd name="T21" fmla="*/ 19 h 672"/>
                <a:gd name="T22" fmla="*/ 24 w 624"/>
                <a:gd name="T23" fmla="*/ 19 h 672"/>
                <a:gd name="T24" fmla="*/ 26 w 624"/>
                <a:gd name="T25" fmla="*/ 19 h 672"/>
                <a:gd name="T26" fmla="*/ 27 w 624"/>
                <a:gd name="T27" fmla="*/ 18 h 672"/>
                <a:gd name="T28" fmla="*/ 29 w 624"/>
                <a:gd name="T29" fmla="*/ 15 h 672"/>
                <a:gd name="T30" fmla="*/ 30 w 624"/>
                <a:gd name="T31" fmla="*/ 14 h 672"/>
                <a:gd name="T32" fmla="*/ 31 w 624"/>
                <a:gd name="T33" fmla="*/ 12 h 672"/>
                <a:gd name="T34" fmla="*/ 32 w 624"/>
                <a:gd name="T35" fmla="*/ 12 h 672"/>
                <a:gd name="T36" fmla="*/ 33 w 624"/>
                <a:gd name="T37" fmla="*/ 10 h 672"/>
                <a:gd name="T38" fmla="*/ 34 w 624"/>
                <a:gd name="T39" fmla="*/ 8 h 672"/>
                <a:gd name="T40" fmla="*/ 34 w 624"/>
                <a:gd name="T41" fmla="*/ 6 h 672"/>
                <a:gd name="T42" fmla="*/ 35 w 624"/>
                <a:gd name="T43" fmla="*/ 4 h 672"/>
                <a:gd name="T44" fmla="*/ 42 w 624"/>
                <a:gd name="T45" fmla="*/ 3 h 672"/>
                <a:gd name="T46" fmla="*/ 44 w 624"/>
                <a:gd name="T47" fmla="*/ 2 h 672"/>
                <a:gd name="T48" fmla="*/ 46 w 624"/>
                <a:gd name="T49" fmla="*/ 0 h 672"/>
                <a:gd name="T50" fmla="*/ 51 w 624"/>
                <a:gd name="T51" fmla="*/ 3 h 672"/>
                <a:gd name="T52" fmla="*/ 54 w 624"/>
                <a:gd name="T53" fmla="*/ 6 h 672"/>
                <a:gd name="T54" fmla="*/ 54 w 624"/>
                <a:gd name="T55" fmla="*/ 8 h 672"/>
                <a:gd name="T56" fmla="*/ 52 w 624"/>
                <a:gd name="T57" fmla="*/ 9 h 672"/>
                <a:gd name="T58" fmla="*/ 49 w 624"/>
                <a:gd name="T59" fmla="*/ 11 h 672"/>
                <a:gd name="T60" fmla="*/ 48 w 624"/>
                <a:gd name="T61" fmla="*/ 14 h 672"/>
                <a:gd name="T62" fmla="*/ 46 w 624"/>
                <a:gd name="T63" fmla="*/ 22 h 672"/>
                <a:gd name="T64" fmla="*/ 45 w 624"/>
                <a:gd name="T65" fmla="*/ 39 h 672"/>
                <a:gd name="T66" fmla="*/ 43 w 624"/>
                <a:gd name="T67" fmla="*/ 43 h 672"/>
                <a:gd name="T68" fmla="*/ 39 w 624"/>
                <a:gd name="T69" fmla="*/ 50 h 672"/>
                <a:gd name="T70" fmla="*/ 36 w 624"/>
                <a:gd name="T71" fmla="*/ 53 h 672"/>
                <a:gd name="T72" fmla="*/ 32 w 624"/>
                <a:gd name="T73" fmla="*/ 56 h 672"/>
                <a:gd name="T74" fmla="*/ 30 w 624"/>
                <a:gd name="T75" fmla="*/ 58 h 672"/>
                <a:gd name="T76" fmla="*/ 20 w 624"/>
                <a:gd name="T77" fmla="*/ 59 h 672"/>
                <a:gd name="T78" fmla="*/ 15 w 624"/>
                <a:gd name="T79" fmla="*/ 59 h 67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24"/>
                <a:gd name="T121" fmla="*/ 0 h 672"/>
                <a:gd name="T122" fmla="*/ 624 w 624"/>
                <a:gd name="T123" fmla="*/ 672 h 67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24" h="672">
                  <a:moveTo>
                    <a:pt x="168" y="672"/>
                  </a:moveTo>
                  <a:lnTo>
                    <a:pt x="132" y="672"/>
                  </a:lnTo>
                  <a:lnTo>
                    <a:pt x="72" y="666"/>
                  </a:lnTo>
                  <a:lnTo>
                    <a:pt x="42" y="666"/>
                  </a:lnTo>
                  <a:lnTo>
                    <a:pt x="36" y="666"/>
                  </a:lnTo>
                  <a:lnTo>
                    <a:pt x="30" y="660"/>
                  </a:lnTo>
                  <a:lnTo>
                    <a:pt x="0" y="660"/>
                  </a:lnTo>
                  <a:lnTo>
                    <a:pt x="24" y="120"/>
                  </a:lnTo>
                  <a:lnTo>
                    <a:pt x="60" y="120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62" y="120"/>
                  </a:lnTo>
                  <a:lnTo>
                    <a:pt x="168" y="120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10" y="156"/>
                  </a:lnTo>
                  <a:lnTo>
                    <a:pt x="222" y="174"/>
                  </a:lnTo>
                  <a:lnTo>
                    <a:pt x="240" y="186"/>
                  </a:lnTo>
                  <a:lnTo>
                    <a:pt x="252" y="198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216"/>
                  </a:lnTo>
                  <a:lnTo>
                    <a:pt x="270" y="216"/>
                  </a:lnTo>
                  <a:lnTo>
                    <a:pt x="282" y="222"/>
                  </a:lnTo>
                  <a:lnTo>
                    <a:pt x="288" y="222"/>
                  </a:lnTo>
                  <a:lnTo>
                    <a:pt x="294" y="216"/>
                  </a:lnTo>
                  <a:lnTo>
                    <a:pt x="294" y="210"/>
                  </a:lnTo>
                  <a:lnTo>
                    <a:pt x="312" y="204"/>
                  </a:lnTo>
                  <a:lnTo>
                    <a:pt x="330" y="186"/>
                  </a:lnTo>
                  <a:lnTo>
                    <a:pt x="336" y="174"/>
                  </a:lnTo>
                  <a:lnTo>
                    <a:pt x="342" y="162"/>
                  </a:lnTo>
                  <a:lnTo>
                    <a:pt x="342" y="156"/>
                  </a:lnTo>
                  <a:lnTo>
                    <a:pt x="348" y="150"/>
                  </a:lnTo>
                  <a:lnTo>
                    <a:pt x="354" y="144"/>
                  </a:lnTo>
                  <a:lnTo>
                    <a:pt x="360" y="138"/>
                  </a:lnTo>
                  <a:lnTo>
                    <a:pt x="366" y="132"/>
                  </a:lnTo>
                  <a:lnTo>
                    <a:pt x="372" y="114"/>
                  </a:lnTo>
                  <a:lnTo>
                    <a:pt x="378" y="114"/>
                  </a:lnTo>
                  <a:lnTo>
                    <a:pt x="378" y="96"/>
                  </a:lnTo>
                  <a:lnTo>
                    <a:pt x="390" y="96"/>
                  </a:lnTo>
                  <a:lnTo>
                    <a:pt x="396" y="84"/>
                  </a:lnTo>
                  <a:lnTo>
                    <a:pt x="396" y="72"/>
                  </a:lnTo>
                  <a:lnTo>
                    <a:pt x="396" y="54"/>
                  </a:lnTo>
                  <a:lnTo>
                    <a:pt x="408" y="42"/>
                  </a:lnTo>
                  <a:lnTo>
                    <a:pt x="468" y="42"/>
                  </a:lnTo>
                  <a:lnTo>
                    <a:pt x="486" y="36"/>
                  </a:lnTo>
                  <a:lnTo>
                    <a:pt x="492" y="24"/>
                  </a:lnTo>
                  <a:lnTo>
                    <a:pt x="504" y="24"/>
                  </a:lnTo>
                  <a:lnTo>
                    <a:pt x="516" y="6"/>
                  </a:lnTo>
                  <a:lnTo>
                    <a:pt x="528" y="0"/>
                  </a:lnTo>
                  <a:lnTo>
                    <a:pt x="558" y="12"/>
                  </a:lnTo>
                  <a:lnTo>
                    <a:pt x="588" y="36"/>
                  </a:lnTo>
                  <a:lnTo>
                    <a:pt x="600" y="66"/>
                  </a:lnTo>
                  <a:lnTo>
                    <a:pt x="624" y="66"/>
                  </a:lnTo>
                  <a:lnTo>
                    <a:pt x="624" y="90"/>
                  </a:lnTo>
                  <a:lnTo>
                    <a:pt x="618" y="90"/>
                  </a:lnTo>
                  <a:lnTo>
                    <a:pt x="618" y="96"/>
                  </a:lnTo>
                  <a:lnTo>
                    <a:pt x="600" y="102"/>
                  </a:lnTo>
                  <a:lnTo>
                    <a:pt x="588" y="108"/>
                  </a:lnTo>
                  <a:lnTo>
                    <a:pt x="570" y="120"/>
                  </a:lnTo>
                  <a:lnTo>
                    <a:pt x="564" y="138"/>
                  </a:lnTo>
                  <a:lnTo>
                    <a:pt x="558" y="162"/>
                  </a:lnTo>
                  <a:lnTo>
                    <a:pt x="540" y="210"/>
                  </a:lnTo>
                  <a:lnTo>
                    <a:pt x="528" y="252"/>
                  </a:lnTo>
                  <a:lnTo>
                    <a:pt x="528" y="402"/>
                  </a:lnTo>
                  <a:lnTo>
                    <a:pt x="522" y="444"/>
                  </a:lnTo>
                  <a:lnTo>
                    <a:pt x="510" y="468"/>
                  </a:lnTo>
                  <a:lnTo>
                    <a:pt x="498" y="498"/>
                  </a:lnTo>
                  <a:lnTo>
                    <a:pt x="474" y="534"/>
                  </a:lnTo>
                  <a:lnTo>
                    <a:pt x="456" y="570"/>
                  </a:lnTo>
                  <a:lnTo>
                    <a:pt x="444" y="576"/>
                  </a:lnTo>
                  <a:lnTo>
                    <a:pt x="420" y="606"/>
                  </a:lnTo>
                  <a:lnTo>
                    <a:pt x="390" y="624"/>
                  </a:lnTo>
                  <a:lnTo>
                    <a:pt x="372" y="642"/>
                  </a:lnTo>
                  <a:lnTo>
                    <a:pt x="366" y="654"/>
                  </a:lnTo>
                  <a:lnTo>
                    <a:pt x="342" y="660"/>
                  </a:lnTo>
                  <a:lnTo>
                    <a:pt x="300" y="666"/>
                  </a:lnTo>
                  <a:lnTo>
                    <a:pt x="234" y="672"/>
                  </a:lnTo>
                  <a:lnTo>
                    <a:pt x="192" y="672"/>
                  </a:lnTo>
                  <a:lnTo>
                    <a:pt x="168" y="67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9" name="Freeform 14">
              <a:extLst>
                <a:ext uri="{FF2B5EF4-FFF2-40B4-BE49-F238E27FC236}">
                  <a16:creationId xmlns:a16="http://schemas.microsoft.com/office/drawing/2014/main" id="{2EA1E999-9CDF-4391-8BC9-7DE71AF9C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0460" y="2983045"/>
              <a:ext cx="905658" cy="561362"/>
            </a:xfrm>
            <a:custGeom>
              <a:avLst/>
              <a:gdLst>
                <a:gd name="T0" fmla="*/ 31 w 1704"/>
                <a:gd name="T1" fmla="*/ 78 h 1056"/>
                <a:gd name="T2" fmla="*/ 23 w 1704"/>
                <a:gd name="T3" fmla="*/ 78 h 1056"/>
                <a:gd name="T4" fmla="*/ 11 w 1704"/>
                <a:gd name="T5" fmla="*/ 79 h 1056"/>
                <a:gd name="T6" fmla="*/ 1 w 1704"/>
                <a:gd name="T7" fmla="*/ 81 h 1056"/>
                <a:gd name="T8" fmla="*/ 0 w 1704"/>
                <a:gd name="T9" fmla="*/ 62 h 1056"/>
                <a:gd name="T10" fmla="*/ 9 w 1704"/>
                <a:gd name="T11" fmla="*/ 56 h 1056"/>
                <a:gd name="T12" fmla="*/ 27 w 1704"/>
                <a:gd name="T13" fmla="*/ 48 h 1056"/>
                <a:gd name="T14" fmla="*/ 35 w 1704"/>
                <a:gd name="T15" fmla="*/ 20 h 1056"/>
                <a:gd name="T16" fmla="*/ 43 w 1704"/>
                <a:gd name="T17" fmla="*/ 6 h 1056"/>
                <a:gd name="T18" fmla="*/ 47 w 1704"/>
                <a:gd name="T19" fmla="*/ 7 h 1056"/>
                <a:gd name="T20" fmla="*/ 52 w 1704"/>
                <a:gd name="T21" fmla="*/ 0 h 1056"/>
                <a:gd name="T22" fmla="*/ 59 w 1704"/>
                <a:gd name="T23" fmla="*/ 5 h 1056"/>
                <a:gd name="T24" fmla="*/ 63 w 1704"/>
                <a:gd name="T25" fmla="*/ 12 h 1056"/>
                <a:gd name="T26" fmla="*/ 62 w 1704"/>
                <a:gd name="T27" fmla="*/ 15 h 1056"/>
                <a:gd name="T28" fmla="*/ 62 w 1704"/>
                <a:gd name="T29" fmla="*/ 18 h 1056"/>
                <a:gd name="T30" fmla="*/ 70 w 1704"/>
                <a:gd name="T31" fmla="*/ 18 h 1056"/>
                <a:gd name="T32" fmla="*/ 71 w 1704"/>
                <a:gd name="T33" fmla="*/ 14 h 1056"/>
                <a:gd name="T34" fmla="*/ 72 w 1704"/>
                <a:gd name="T35" fmla="*/ 12 h 1056"/>
                <a:gd name="T36" fmla="*/ 78 w 1704"/>
                <a:gd name="T37" fmla="*/ 14 h 1056"/>
                <a:gd name="T38" fmla="*/ 85 w 1704"/>
                <a:gd name="T39" fmla="*/ 21 h 1056"/>
                <a:gd name="T40" fmla="*/ 91 w 1704"/>
                <a:gd name="T41" fmla="*/ 15 h 1056"/>
                <a:gd name="T42" fmla="*/ 93 w 1704"/>
                <a:gd name="T43" fmla="*/ 10 h 1056"/>
                <a:gd name="T44" fmla="*/ 101 w 1704"/>
                <a:gd name="T45" fmla="*/ 14 h 1056"/>
                <a:gd name="T46" fmla="*/ 103 w 1704"/>
                <a:gd name="T47" fmla="*/ 19 h 1056"/>
                <a:gd name="T48" fmla="*/ 115 w 1704"/>
                <a:gd name="T49" fmla="*/ 20 h 1056"/>
                <a:gd name="T50" fmla="*/ 118 w 1704"/>
                <a:gd name="T51" fmla="*/ 23 h 1056"/>
                <a:gd name="T52" fmla="*/ 117 w 1704"/>
                <a:gd name="T53" fmla="*/ 27 h 1056"/>
                <a:gd name="T54" fmla="*/ 111 w 1704"/>
                <a:gd name="T55" fmla="*/ 33 h 1056"/>
                <a:gd name="T56" fmla="*/ 108 w 1704"/>
                <a:gd name="T57" fmla="*/ 36 h 1056"/>
                <a:gd name="T58" fmla="*/ 109 w 1704"/>
                <a:gd name="T59" fmla="*/ 40 h 1056"/>
                <a:gd name="T60" fmla="*/ 111 w 1704"/>
                <a:gd name="T61" fmla="*/ 43 h 1056"/>
                <a:gd name="T62" fmla="*/ 113 w 1704"/>
                <a:gd name="T63" fmla="*/ 50 h 1056"/>
                <a:gd name="T64" fmla="*/ 121 w 1704"/>
                <a:gd name="T65" fmla="*/ 55 h 1056"/>
                <a:gd name="T66" fmla="*/ 132 w 1704"/>
                <a:gd name="T67" fmla="*/ 52 h 1056"/>
                <a:gd name="T68" fmla="*/ 148 w 1704"/>
                <a:gd name="T69" fmla="*/ 58 h 1056"/>
                <a:gd name="T70" fmla="*/ 148 w 1704"/>
                <a:gd name="T71" fmla="*/ 61 h 1056"/>
                <a:gd name="T72" fmla="*/ 148 w 1704"/>
                <a:gd name="T73" fmla="*/ 64 h 1056"/>
                <a:gd name="T74" fmla="*/ 135 w 1704"/>
                <a:gd name="T75" fmla="*/ 61 h 1056"/>
                <a:gd name="T76" fmla="*/ 135 w 1704"/>
                <a:gd name="T77" fmla="*/ 66 h 1056"/>
                <a:gd name="T78" fmla="*/ 137 w 1704"/>
                <a:gd name="T79" fmla="*/ 71 h 1056"/>
                <a:gd name="T80" fmla="*/ 136 w 1704"/>
                <a:gd name="T81" fmla="*/ 79 h 1056"/>
                <a:gd name="T82" fmla="*/ 126 w 1704"/>
                <a:gd name="T83" fmla="*/ 84 h 1056"/>
                <a:gd name="T84" fmla="*/ 121 w 1704"/>
                <a:gd name="T85" fmla="*/ 79 h 1056"/>
                <a:gd name="T86" fmla="*/ 117 w 1704"/>
                <a:gd name="T87" fmla="*/ 75 h 1056"/>
                <a:gd name="T88" fmla="*/ 98 w 1704"/>
                <a:gd name="T89" fmla="*/ 74 h 1056"/>
                <a:gd name="T90" fmla="*/ 81 w 1704"/>
                <a:gd name="T91" fmla="*/ 75 h 1056"/>
                <a:gd name="T92" fmla="*/ 83 w 1704"/>
                <a:gd name="T93" fmla="*/ 88 h 1056"/>
                <a:gd name="T94" fmla="*/ 82 w 1704"/>
                <a:gd name="T95" fmla="*/ 91 h 1056"/>
                <a:gd name="T96" fmla="*/ 77 w 1704"/>
                <a:gd name="T97" fmla="*/ 90 h 1056"/>
                <a:gd name="T98" fmla="*/ 73 w 1704"/>
                <a:gd name="T99" fmla="*/ 86 h 1056"/>
                <a:gd name="T100" fmla="*/ 68 w 1704"/>
                <a:gd name="T101" fmla="*/ 85 h 1056"/>
                <a:gd name="T102" fmla="*/ 64 w 1704"/>
                <a:gd name="T103" fmla="*/ 83 h 1056"/>
                <a:gd name="T104" fmla="*/ 57 w 1704"/>
                <a:gd name="T105" fmla="*/ 81 h 1056"/>
                <a:gd name="T106" fmla="*/ 52 w 1704"/>
                <a:gd name="T107" fmla="*/ 80 h 1056"/>
                <a:gd name="T108" fmla="*/ 50 w 1704"/>
                <a:gd name="T109" fmla="*/ 80 h 1056"/>
                <a:gd name="T110" fmla="*/ 46 w 1704"/>
                <a:gd name="T111" fmla="*/ 79 h 1056"/>
                <a:gd name="T112" fmla="*/ 41 w 1704"/>
                <a:gd name="T113" fmla="*/ 78 h 10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04"/>
                <a:gd name="T172" fmla="*/ 0 h 1056"/>
                <a:gd name="T173" fmla="*/ 1704 w 1704"/>
                <a:gd name="T174" fmla="*/ 1056 h 10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04" h="1056">
                  <a:moveTo>
                    <a:pt x="450" y="888"/>
                  </a:moveTo>
                  <a:lnTo>
                    <a:pt x="420" y="888"/>
                  </a:lnTo>
                  <a:lnTo>
                    <a:pt x="414" y="888"/>
                  </a:lnTo>
                  <a:lnTo>
                    <a:pt x="396" y="888"/>
                  </a:lnTo>
                  <a:lnTo>
                    <a:pt x="372" y="888"/>
                  </a:lnTo>
                  <a:lnTo>
                    <a:pt x="366" y="888"/>
                  </a:lnTo>
                  <a:lnTo>
                    <a:pt x="360" y="888"/>
                  </a:lnTo>
                  <a:lnTo>
                    <a:pt x="348" y="888"/>
                  </a:lnTo>
                  <a:lnTo>
                    <a:pt x="330" y="894"/>
                  </a:lnTo>
                  <a:lnTo>
                    <a:pt x="324" y="894"/>
                  </a:lnTo>
                  <a:lnTo>
                    <a:pt x="312" y="888"/>
                  </a:lnTo>
                  <a:lnTo>
                    <a:pt x="300" y="888"/>
                  </a:lnTo>
                  <a:lnTo>
                    <a:pt x="282" y="888"/>
                  </a:lnTo>
                  <a:lnTo>
                    <a:pt x="270" y="888"/>
                  </a:lnTo>
                  <a:lnTo>
                    <a:pt x="240" y="882"/>
                  </a:lnTo>
                  <a:lnTo>
                    <a:pt x="222" y="882"/>
                  </a:lnTo>
                  <a:lnTo>
                    <a:pt x="198" y="882"/>
                  </a:lnTo>
                  <a:lnTo>
                    <a:pt x="174" y="894"/>
                  </a:lnTo>
                  <a:lnTo>
                    <a:pt x="162" y="900"/>
                  </a:lnTo>
                  <a:lnTo>
                    <a:pt x="144" y="906"/>
                  </a:lnTo>
                  <a:lnTo>
                    <a:pt x="126" y="912"/>
                  </a:lnTo>
                  <a:lnTo>
                    <a:pt x="102" y="924"/>
                  </a:lnTo>
                  <a:lnTo>
                    <a:pt x="78" y="930"/>
                  </a:lnTo>
                  <a:lnTo>
                    <a:pt x="72" y="936"/>
                  </a:lnTo>
                  <a:lnTo>
                    <a:pt x="30" y="954"/>
                  </a:lnTo>
                  <a:lnTo>
                    <a:pt x="12" y="966"/>
                  </a:lnTo>
                  <a:lnTo>
                    <a:pt x="12" y="954"/>
                  </a:lnTo>
                  <a:lnTo>
                    <a:pt x="12" y="930"/>
                  </a:lnTo>
                  <a:lnTo>
                    <a:pt x="12" y="894"/>
                  </a:lnTo>
                  <a:lnTo>
                    <a:pt x="30" y="828"/>
                  </a:lnTo>
                  <a:lnTo>
                    <a:pt x="36" y="798"/>
                  </a:lnTo>
                  <a:lnTo>
                    <a:pt x="18" y="774"/>
                  </a:lnTo>
                  <a:lnTo>
                    <a:pt x="18" y="756"/>
                  </a:lnTo>
                  <a:lnTo>
                    <a:pt x="6" y="738"/>
                  </a:lnTo>
                  <a:lnTo>
                    <a:pt x="0" y="714"/>
                  </a:lnTo>
                  <a:lnTo>
                    <a:pt x="12" y="678"/>
                  </a:lnTo>
                  <a:lnTo>
                    <a:pt x="18" y="678"/>
                  </a:lnTo>
                  <a:lnTo>
                    <a:pt x="24" y="672"/>
                  </a:lnTo>
                  <a:lnTo>
                    <a:pt x="30" y="666"/>
                  </a:lnTo>
                  <a:lnTo>
                    <a:pt x="42" y="648"/>
                  </a:lnTo>
                  <a:lnTo>
                    <a:pt x="66" y="648"/>
                  </a:lnTo>
                  <a:lnTo>
                    <a:pt x="108" y="648"/>
                  </a:lnTo>
                  <a:lnTo>
                    <a:pt x="174" y="642"/>
                  </a:lnTo>
                  <a:lnTo>
                    <a:pt x="216" y="636"/>
                  </a:lnTo>
                  <a:lnTo>
                    <a:pt x="240" y="630"/>
                  </a:lnTo>
                  <a:lnTo>
                    <a:pt x="246" y="618"/>
                  </a:lnTo>
                  <a:lnTo>
                    <a:pt x="264" y="600"/>
                  </a:lnTo>
                  <a:lnTo>
                    <a:pt x="294" y="582"/>
                  </a:lnTo>
                  <a:lnTo>
                    <a:pt x="318" y="552"/>
                  </a:lnTo>
                  <a:lnTo>
                    <a:pt x="330" y="546"/>
                  </a:lnTo>
                  <a:lnTo>
                    <a:pt x="348" y="510"/>
                  </a:lnTo>
                  <a:lnTo>
                    <a:pt x="372" y="474"/>
                  </a:lnTo>
                  <a:lnTo>
                    <a:pt x="384" y="444"/>
                  </a:lnTo>
                  <a:lnTo>
                    <a:pt x="396" y="420"/>
                  </a:lnTo>
                  <a:lnTo>
                    <a:pt x="402" y="378"/>
                  </a:lnTo>
                  <a:lnTo>
                    <a:pt x="402" y="228"/>
                  </a:lnTo>
                  <a:lnTo>
                    <a:pt x="414" y="186"/>
                  </a:lnTo>
                  <a:lnTo>
                    <a:pt x="432" y="138"/>
                  </a:lnTo>
                  <a:lnTo>
                    <a:pt x="438" y="114"/>
                  </a:lnTo>
                  <a:lnTo>
                    <a:pt x="444" y="96"/>
                  </a:lnTo>
                  <a:lnTo>
                    <a:pt x="462" y="84"/>
                  </a:lnTo>
                  <a:lnTo>
                    <a:pt x="474" y="78"/>
                  </a:lnTo>
                  <a:lnTo>
                    <a:pt x="492" y="72"/>
                  </a:lnTo>
                  <a:lnTo>
                    <a:pt x="492" y="66"/>
                  </a:lnTo>
                  <a:lnTo>
                    <a:pt x="498" y="66"/>
                  </a:lnTo>
                  <a:lnTo>
                    <a:pt x="510" y="66"/>
                  </a:lnTo>
                  <a:lnTo>
                    <a:pt x="510" y="72"/>
                  </a:lnTo>
                  <a:lnTo>
                    <a:pt x="516" y="72"/>
                  </a:lnTo>
                  <a:lnTo>
                    <a:pt x="522" y="78"/>
                  </a:lnTo>
                  <a:lnTo>
                    <a:pt x="546" y="78"/>
                  </a:lnTo>
                  <a:lnTo>
                    <a:pt x="552" y="60"/>
                  </a:lnTo>
                  <a:lnTo>
                    <a:pt x="570" y="42"/>
                  </a:lnTo>
                  <a:lnTo>
                    <a:pt x="576" y="24"/>
                  </a:lnTo>
                  <a:lnTo>
                    <a:pt x="588" y="18"/>
                  </a:lnTo>
                  <a:lnTo>
                    <a:pt x="588" y="12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624" y="0"/>
                  </a:lnTo>
                  <a:lnTo>
                    <a:pt x="636" y="6"/>
                  </a:lnTo>
                  <a:lnTo>
                    <a:pt x="648" y="24"/>
                  </a:lnTo>
                  <a:lnTo>
                    <a:pt x="654" y="48"/>
                  </a:lnTo>
                  <a:lnTo>
                    <a:pt x="672" y="60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0" y="72"/>
                  </a:lnTo>
                  <a:lnTo>
                    <a:pt x="690" y="78"/>
                  </a:lnTo>
                  <a:lnTo>
                    <a:pt x="696" y="90"/>
                  </a:lnTo>
                  <a:lnTo>
                    <a:pt x="714" y="114"/>
                  </a:lnTo>
                  <a:lnTo>
                    <a:pt x="714" y="120"/>
                  </a:lnTo>
                  <a:lnTo>
                    <a:pt x="720" y="132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20" y="150"/>
                  </a:lnTo>
                  <a:lnTo>
                    <a:pt x="714" y="150"/>
                  </a:lnTo>
                  <a:lnTo>
                    <a:pt x="714" y="156"/>
                  </a:lnTo>
                  <a:lnTo>
                    <a:pt x="714" y="162"/>
                  </a:lnTo>
                  <a:lnTo>
                    <a:pt x="708" y="162"/>
                  </a:lnTo>
                  <a:lnTo>
                    <a:pt x="708" y="168"/>
                  </a:lnTo>
                  <a:lnTo>
                    <a:pt x="702" y="168"/>
                  </a:lnTo>
                  <a:lnTo>
                    <a:pt x="702" y="174"/>
                  </a:lnTo>
                  <a:lnTo>
                    <a:pt x="702" y="180"/>
                  </a:lnTo>
                  <a:lnTo>
                    <a:pt x="708" y="180"/>
                  </a:lnTo>
                  <a:lnTo>
                    <a:pt x="708" y="186"/>
                  </a:lnTo>
                  <a:lnTo>
                    <a:pt x="708" y="192"/>
                  </a:lnTo>
                  <a:lnTo>
                    <a:pt x="714" y="204"/>
                  </a:lnTo>
                  <a:lnTo>
                    <a:pt x="726" y="216"/>
                  </a:lnTo>
                  <a:lnTo>
                    <a:pt x="738" y="216"/>
                  </a:lnTo>
                  <a:lnTo>
                    <a:pt x="768" y="222"/>
                  </a:lnTo>
                  <a:lnTo>
                    <a:pt x="780" y="216"/>
                  </a:lnTo>
                  <a:lnTo>
                    <a:pt x="792" y="204"/>
                  </a:lnTo>
                  <a:lnTo>
                    <a:pt x="798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6" y="192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6" y="174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22" y="156"/>
                  </a:lnTo>
                  <a:lnTo>
                    <a:pt x="822" y="150"/>
                  </a:lnTo>
                  <a:lnTo>
                    <a:pt x="828" y="144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8" y="138"/>
                  </a:lnTo>
                  <a:lnTo>
                    <a:pt x="834" y="132"/>
                  </a:lnTo>
                  <a:lnTo>
                    <a:pt x="840" y="132"/>
                  </a:lnTo>
                  <a:lnTo>
                    <a:pt x="864" y="126"/>
                  </a:lnTo>
                  <a:lnTo>
                    <a:pt x="906" y="144"/>
                  </a:lnTo>
                  <a:lnTo>
                    <a:pt x="906" y="150"/>
                  </a:lnTo>
                  <a:lnTo>
                    <a:pt x="906" y="156"/>
                  </a:lnTo>
                  <a:lnTo>
                    <a:pt x="900" y="162"/>
                  </a:lnTo>
                  <a:lnTo>
                    <a:pt x="924" y="168"/>
                  </a:lnTo>
                  <a:lnTo>
                    <a:pt x="942" y="192"/>
                  </a:lnTo>
                  <a:lnTo>
                    <a:pt x="972" y="210"/>
                  </a:lnTo>
                  <a:lnTo>
                    <a:pt x="972" y="216"/>
                  </a:lnTo>
                  <a:lnTo>
                    <a:pt x="972" y="228"/>
                  </a:lnTo>
                  <a:lnTo>
                    <a:pt x="978" y="234"/>
                  </a:lnTo>
                  <a:lnTo>
                    <a:pt x="978" y="246"/>
                  </a:lnTo>
                  <a:lnTo>
                    <a:pt x="984" y="252"/>
                  </a:lnTo>
                  <a:lnTo>
                    <a:pt x="1014" y="252"/>
                  </a:lnTo>
                  <a:lnTo>
                    <a:pt x="1020" y="228"/>
                  </a:lnTo>
                  <a:lnTo>
                    <a:pt x="1026" y="198"/>
                  </a:lnTo>
                  <a:lnTo>
                    <a:pt x="1050" y="186"/>
                  </a:lnTo>
                  <a:lnTo>
                    <a:pt x="1056" y="180"/>
                  </a:lnTo>
                  <a:lnTo>
                    <a:pt x="1050" y="174"/>
                  </a:lnTo>
                  <a:lnTo>
                    <a:pt x="1050" y="168"/>
                  </a:lnTo>
                  <a:lnTo>
                    <a:pt x="1050" y="162"/>
                  </a:lnTo>
                  <a:lnTo>
                    <a:pt x="1056" y="162"/>
                  </a:lnTo>
                  <a:lnTo>
                    <a:pt x="1062" y="162"/>
                  </a:lnTo>
                  <a:lnTo>
                    <a:pt x="1074" y="162"/>
                  </a:lnTo>
                  <a:lnTo>
                    <a:pt x="1074" y="144"/>
                  </a:lnTo>
                  <a:lnTo>
                    <a:pt x="1074" y="120"/>
                  </a:lnTo>
                  <a:lnTo>
                    <a:pt x="1092" y="120"/>
                  </a:lnTo>
                  <a:lnTo>
                    <a:pt x="1098" y="126"/>
                  </a:lnTo>
                  <a:lnTo>
                    <a:pt x="1134" y="132"/>
                  </a:lnTo>
                  <a:lnTo>
                    <a:pt x="1146" y="132"/>
                  </a:lnTo>
                  <a:lnTo>
                    <a:pt x="1158" y="150"/>
                  </a:lnTo>
                  <a:lnTo>
                    <a:pt x="1158" y="156"/>
                  </a:lnTo>
                  <a:lnTo>
                    <a:pt x="1158" y="162"/>
                  </a:lnTo>
                  <a:lnTo>
                    <a:pt x="1158" y="180"/>
                  </a:lnTo>
                  <a:lnTo>
                    <a:pt x="1158" y="186"/>
                  </a:lnTo>
                  <a:lnTo>
                    <a:pt x="1164" y="192"/>
                  </a:lnTo>
                  <a:lnTo>
                    <a:pt x="1176" y="198"/>
                  </a:lnTo>
                  <a:lnTo>
                    <a:pt x="1182" y="198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8"/>
                  </a:lnTo>
                  <a:lnTo>
                    <a:pt x="1188" y="234"/>
                  </a:lnTo>
                  <a:lnTo>
                    <a:pt x="1212" y="234"/>
                  </a:lnTo>
                  <a:lnTo>
                    <a:pt x="1242" y="234"/>
                  </a:lnTo>
                  <a:lnTo>
                    <a:pt x="1248" y="234"/>
                  </a:lnTo>
                  <a:lnTo>
                    <a:pt x="1278" y="240"/>
                  </a:lnTo>
                  <a:lnTo>
                    <a:pt x="1320" y="234"/>
                  </a:lnTo>
                  <a:lnTo>
                    <a:pt x="1332" y="228"/>
                  </a:lnTo>
                  <a:lnTo>
                    <a:pt x="1344" y="228"/>
                  </a:lnTo>
                  <a:lnTo>
                    <a:pt x="1350" y="234"/>
                  </a:lnTo>
                  <a:lnTo>
                    <a:pt x="1350" y="240"/>
                  </a:lnTo>
                  <a:lnTo>
                    <a:pt x="1356" y="246"/>
                  </a:lnTo>
                  <a:lnTo>
                    <a:pt x="1350" y="252"/>
                  </a:lnTo>
                  <a:lnTo>
                    <a:pt x="1356" y="264"/>
                  </a:lnTo>
                  <a:lnTo>
                    <a:pt x="1356" y="270"/>
                  </a:lnTo>
                  <a:lnTo>
                    <a:pt x="1356" y="276"/>
                  </a:lnTo>
                  <a:lnTo>
                    <a:pt x="1356" y="282"/>
                  </a:lnTo>
                  <a:lnTo>
                    <a:pt x="1356" y="288"/>
                  </a:lnTo>
                  <a:lnTo>
                    <a:pt x="1350" y="294"/>
                  </a:lnTo>
                  <a:lnTo>
                    <a:pt x="1344" y="300"/>
                  </a:lnTo>
                  <a:lnTo>
                    <a:pt x="1344" y="306"/>
                  </a:lnTo>
                  <a:lnTo>
                    <a:pt x="1338" y="312"/>
                  </a:lnTo>
                  <a:lnTo>
                    <a:pt x="1326" y="342"/>
                  </a:lnTo>
                  <a:lnTo>
                    <a:pt x="1320" y="348"/>
                  </a:lnTo>
                  <a:lnTo>
                    <a:pt x="1314" y="354"/>
                  </a:lnTo>
                  <a:lnTo>
                    <a:pt x="1290" y="354"/>
                  </a:lnTo>
                  <a:lnTo>
                    <a:pt x="1284" y="360"/>
                  </a:lnTo>
                  <a:lnTo>
                    <a:pt x="1278" y="378"/>
                  </a:lnTo>
                  <a:lnTo>
                    <a:pt x="1278" y="384"/>
                  </a:lnTo>
                  <a:lnTo>
                    <a:pt x="1272" y="390"/>
                  </a:lnTo>
                  <a:lnTo>
                    <a:pt x="1266" y="396"/>
                  </a:lnTo>
                  <a:lnTo>
                    <a:pt x="1260" y="396"/>
                  </a:lnTo>
                  <a:lnTo>
                    <a:pt x="1248" y="402"/>
                  </a:lnTo>
                  <a:lnTo>
                    <a:pt x="1242" y="408"/>
                  </a:lnTo>
                  <a:lnTo>
                    <a:pt x="1242" y="414"/>
                  </a:lnTo>
                  <a:lnTo>
                    <a:pt x="1242" y="420"/>
                  </a:lnTo>
                  <a:lnTo>
                    <a:pt x="1236" y="432"/>
                  </a:lnTo>
                  <a:lnTo>
                    <a:pt x="1242" y="432"/>
                  </a:lnTo>
                  <a:lnTo>
                    <a:pt x="1242" y="444"/>
                  </a:lnTo>
                  <a:lnTo>
                    <a:pt x="1242" y="456"/>
                  </a:lnTo>
                  <a:lnTo>
                    <a:pt x="1248" y="456"/>
                  </a:lnTo>
                  <a:lnTo>
                    <a:pt x="1254" y="462"/>
                  </a:lnTo>
                  <a:lnTo>
                    <a:pt x="1248" y="468"/>
                  </a:lnTo>
                  <a:lnTo>
                    <a:pt x="1254" y="468"/>
                  </a:lnTo>
                  <a:lnTo>
                    <a:pt x="1266" y="474"/>
                  </a:lnTo>
                  <a:lnTo>
                    <a:pt x="1266" y="480"/>
                  </a:lnTo>
                  <a:lnTo>
                    <a:pt x="1266" y="486"/>
                  </a:lnTo>
                  <a:lnTo>
                    <a:pt x="1272" y="486"/>
                  </a:lnTo>
                  <a:lnTo>
                    <a:pt x="1272" y="492"/>
                  </a:lnTo>
                  <a:lnTo>
                    <a:pt x="1290" y="510"/>
                  </a:lnTo>
                  <a:lnTo>
                    <a:pt x="1296" y="516"/>
                  </a:lnTo>
                  <a:lnTo>
                    <a:pt x="1302" y="540"/>
                  </a:lnTo>
                  <a:lnTo>
                    <a:pt x="1302" y="546"/>
                  </a:lnTo>
                  <a:lnTo>
                    <a:pt x="1302" y="558"/>
                  </a:lnTo>
                  <a:lnTo>
                    <a:pt x="1302" y="570"/>
                  </a:lnTo>
                  <a:lnTo>
                    <a:pt x="1302" y="576"/>
                  </a:lnTo>
                  <a:lnTo>
                    <a:pt x="1344" y="570"/>
                  </a:lnTo>
                  <a:lnTo>
                    <a:pt x="1350" y="582"/>
                  </a:lnTo>
                  <a:lnTo>
                    <a:pt x="1368" y="594"/>
                  </a:lnTo>
                  <a:lnTo>
                    <a:pt x="1374" y="600"/>
                  </a:lnTo>
                  <a:lnTo>
                    <a:pt x="1380" y="600"/>
                  </a:lnTo>
                  <a:lnTo>
                    <a:pt x="1380" y="618"/>
                  </a:lnTo>
                  <a:lnTo>
                    <a:pt x="1386" y="624"/>
                  </a:lnTo>
                  <a:lnTo>
                    <a:pt x="1404" y="624"/>
                  </a:lnTo>
                  <a:lnTo>
                    <a:pt x="1410" y="612"/>
                  </a:lnTo>
                  <a:lnTo>
                    <a:pt x="1428" y="606"/>
                  </a:lnTo>
                  <a:lnTo>
                    <a:pt x="1488" y="606"/>
                  </a:lnTo>
                  <a:lnTo>
                    <a:pt x="1506" y="606"/>
                  </a:lnTo>
                  <a:lnTo>
                    <a:pt x="1512" y="600"/>
                  </a:lnTo>
                  <a:lnTo>
                    <a:pt x="1524" y="594"/>
                  </a:lnTo>
                  <a:lnTo>
                    <a:pt x="1554" y="594"/>
                  </a:lnTo>
                  <a:lnTo>
                    <a:pt x="1578" y="606"/>
                  </a:lnTo>
                  <a:lnTo>
                    <a:pt x="1596" y="624"/>
                  </a:lnTo>
                  <a:lnTo>
                    <a:pt x="1650" y="642"/>
                  </a:lnTo>
                  <a:lnTo>
                    <a:pt x="1686" y="648"/>
                  </a:lnTo>
                  <a:lnTo>
                    <a:pt x="1698" y="654"/>
                  </a:lnTo>
                  <a:lnTo>
                    <a:pt x="1698" y="660"/>
                  </a:lnTo>
                  <a:lnTo>
                    <a:pt x="1692" y="666"/>
                  </a:lnTo>
                  <a:lnTo>
                    <a:pt x="1692" y="672"/>
                  </a:lnTo>
                  <a:lnTo>
                    <a:pt x="1698" y="678"/>
                  </a:lnTo>
                  <a:lnTo>
                    <a:pt x="1698" y="684"/>
                  </a:lnTo>
                  <a:lnTo>
                    <a:pt x="1692" y="684"/>
                  </a:lnTo>
                  <a:lnTo>
                    <a:pt x="1692" y="690"/>
                  </a:lnTo>
                  <a:lnTo>
                    <a:pt x="1698" y="696"/>
                  </a:lnTo>
                  <a:lnTo>
                    <a:pt x="1698" y="702"/>
                  </a:lnTo>
                  <a:lnTo>
                    <a:pt x="1698" y="708"/>
                  </a:lnTo>
                  <a:lnTo>
                    <a:pt x="1704" y="714"/>
                  </a:lnTo>
                  <a:lnTo>
                    <a:pt x="1704" y="720"/>
                  </a:lnTo>
                  <a:lnTo>
                    <a:pt x="1704" y="726"/>
                  </a:lnTo>
                  <a:lnTo>
                    <a:pt x="1704" y="732"/>
                  </a:lnTo>
                  <a:lnTo>
                    <a:pt x="1704" y="738"/>
                  </a:lnTo>
                  <a:lnTo>
                    <a:pt x="1698" y="726"/>
                  </a:lnTo>
                  <a:lnTo>
                    <a:pt x="1668" y="720"/>
                  </a:lnTo>
                  <a:lnTo>
                    <a:pt x="1626" y="714"/>
                  </a:lnTo>
                  <a:lnTo>
                    <a:pt x="1614" y="708"/>
                  </a:lnTo>
                  <a:lnTo>
                    <a:pt x="1578" y="696"/>
                  </a:lnTo>
                  <a:lnTo>
                    <a:pt x="1566" y="696"/>
                  </a:lnTo>
                  <a:lnTo>
                    <a:pt x="1548" y="702"/>
                  </a:lnTo>
                  <a:lnTo>
                    <a:pt x="1542" y="714"/>
                  </a:lnTo>
                  <a:lnTo>
                    <a:pt x="1536" y="732"/>
                  </a:lnTo>
                  <a:lnTo>
                    <a:pt x="1530" y="750"/>
                  </a:lnTo>
                  <a:lnTo>
                    <a:pt x="1536" y="750"/>
                  </a:lnTo>
                  <a:lnTo>
                    <a:pt x="1542" y="756"/>
                  </a:lnTo>
                  <a:lnTo>
                    <a:pt x="1542" y="762"/>
                  </a:lnTo>
                  <a:lnTo>
                    <a:pt x="1548" y="762"/>
                  </a:lnTo>
                  <a:lnTo>
                    <a:pt x="1554" y="762"/>
                  </a:lnTo>
                  <a:lnTo>
                    <a:pt x="1554" y="768"/>
                  </a:lnTo>
                  <a:lnTo>
                    <a:pt x="1560" y="774"/>
                  </a:lnTo>
                  <a:lnTo>
                    <a:pt x="1566" y="774"/>
                  </a:lnTo>
                  <a:lnTo>
                    <a:pt x="1584" y="792"/>
                  </a:lnTo>
                  <a:lnTo>
                    <a:pt x="1584" y="810"/>
                  </a:lnTo>
                  <a:lnTo>
                    <a:pt x="1572" y="816"/>
                  </a:lnTo>
                  <a:lnTo>
                    <a:pt x="1578" y="834"/>
                  </a:lnTo>
                  <a:lnTo>
                    <a:pt x="1578" y="846"/>
                  </a:lnTo>
                  <a:lnTo>
                    <a:pt x="1584" y="858"/>
                  </a:lnTo>
                  <a:lnTo>
                    <a:pt x="1590" y="864"/>
                  </a:lnTo>
                  <a:lnTo>
                    <a:pt x="1590" y="876"/>
                  </a:lnTo>
                  <a:lnTo>
                    <a:pt x="1578" y="888"/>
                  </a:lnTo>
                  <a:lnTo>
                    <a:pt x="1560" y="906"/>
                  </a:lnTo>
                  <a:lnTo>
                    <a:pt x="1536" y="930"/>
                  </a:lnTo>
                  <a:lnTo>
                    <a:pt x="1530" y="930"/>
                  </a:lnTo>
                  <a:lnTo>
                    <a:pt x="1506" y="942"/>
                  </a:lnTo>
                  <a:lnTo>
                    <a:pt x="1488" y="948"/>
                  </a:lnTo>
                  <a:lnTo>
                    <a:pt x="1476" y="954"/>
                  </a:lnTo>
                  <a:lnTo>
                    <a:pt x="1458" y="960"/>
                  </a:lnTo>
                  <a:lnTo>
                    <a:pt x="1452" y="966"/>
                  </a:lnTo>
                  <a:lnTo>
                    <a:pt x="1446" y="966"/>
                  </a:lnTo>
                  <a:lnTo>
                    <a:pt x="1434" y="972"/>
                  </a:lnTo>
                  <a:lnTo>
                    <a:pt x="1434" y="954"/>
                  </a:lnTo>
                  <a:lnTo>
                    <a:pt x="1422" y="942"/>
                  </a:lnTo>
                  <a:lnTo>
                    <a:pt x="1398" y="924"/>
                  </a:lnTo>
                  <a:lnTo>
                    <a:pt x="1398" y="912"/>
                  </a:lnTo>
                  <a:lnTo>
                    <a:pt x="1398" y="906"/>
                  </a:lnTo>
                  <a:lnTo>
                    <a:pt x="1398" y="900"/>
                  </a:lnTo>
                  <a:lnTo>
                    <a:pt x="1380" y="900"/>
                  </a:lnTo>
                  <a:lnTo>
                    <a:pt x="1380" y="894"/>
                  </a:lnTo>
                  <a:lnTo>
                    <a:pt x="1368" y="888"/>
                  </a:lnTo>
                  <a:lnTo>
                    <a:pt x="1362" y="882"/>
                  </a:lnTo>
                  <a:lnTo>
                    <a:pt x="1356" y="876"/>
                  </a:lnTo>
                  <a:lnTo>
                    <a:pt x="1350" y="864"/>
                  </a:lnTo>
                  <a:lnTo>
                    <a:pt x="1344" y="858"/>
                  </a:lnTo>
                  <a:lnTo>
                    <a:pt x="1314" y="870"/>
                  </a:lnTo>
                  <a:lnTo>
                    <a:pt x="1272" y="876"/>
                  </a:lnTo>
                  <a:lnTo>
                    <a:pt x="1218" y="870"/>
                  </a:lnTo>
                  <a:lnTo>
                    <a:pt x="1200" y="864"/>
                  </a:lnTo>
                  <a:lnTo>
                    <a:pt x="1182" y="864"/>
                  </a:lnTo>
                  <a:lnTo>
                    <a:pt x="1134" y="858"/>
                  </a:lnTo>
                  <a:lnTo>
                    <a:pt x="1110" y="840"/>
                  </a:lnTo>
                  <a:lnTo>
                    <a:pt x="1086" y="828"/>
                  </a:lnTo>
                  <a:lnTo>
                    <a:pt x="1044" y="816"/>
                  </a:lnTo>
                  <a:lnTo>
                    <a:pt x="1014" y="816"/>
                  </a:lnTo>
                  <a:lnTo>
                    <a:pt x="990" y="822"/>
                  </a:lnTo>
                  <a:lnTo>
                    <a:pt x="948" y="858"/>
                  </a:lnTo>
                  <a:lnTo>
                    <a:pt x="930" y="864"/>
                  </a:lnTo>
                  <a:lnTo>
                    <a:pt x="924" y="876"/>
                  </a:lnTo>
                  <a:lnTo>
                    <a:pt x="918" y="906"/>
                  </a:lnTo>
                  <a:lnTo>
                    <a:pt x="924" y="930"/>
                  </a:lnTo>
                  <a:lnTo>
                    <a:pt x="948" y="984"/>
                  </a:lnTo>
                  <a:lnTo>
                    <a:pt x="954" y="1008"/>
                  </a:lnTo>
                  <a:lnTo>
                    <a:pt x="948" y="1014"/>
                  </a:lnTo>
                  <a:lnTo>
                    <a:pt x="954" y="1014"/>
                  </a:lnTo>
                  <a:lnTo>
                    <a:pt x="954" y="1032"/>
                  </a:lnTo>
                  <a:lnTo>
                    <a:pt x="966" y="1044"/>
                  </a:lnTo>
                  <a:lnTo>
                    <a:pt x="960" y="1056"/>
                  </a:lnTo>
                  <a:lnTo>
                    <a:pt x="954" y="1056"/>
                  </a:lnTo>
                  <a:lnTo>
                    <a:pt x="948" y="1056"/>
                  </a:lnTo>
                  <a:lnTo>
                    <a:pt x="942" y="1056"/>
                  </a:lnTo>
                  <a:lnTo>
                    <a:pt x="936" y="1050"/>
                  </a:lnTo>
                  <a:lnTo>
                    <a:pt x="930" y="1044"/>
                  </a:lnTo>
                  <a:lnTo>
                    <a:pt x="924" y="1044"/>
                  </a:lnTo>
                  <a:lnTo>
                    <a:pt x="918" y="1038"/>
                  </a:lnTo>
                  <a:lnTo>
                    <a:pt x="912" y="1038"/>
                  </a:lnTo>
                  <a:lnTo>
                    <a:pt x="906" y="1032"/>
                  </a:lnTo>
                  <a:lnTo>
                    <a:pt x="900" y="1032"/>
                  </a:lnTo>
                  <a:lnTo>
                    <a:pt x="888" y="1026"/>
                  </a:lnTo>
                  <a:lnTo>
                    <a:pt x="882" y="1026"/>
                  </a:lnTo>
                  <a:lnTo>
                    <a:pt x="876" y="1026"/>
                  </a:lnTo>
                  <a:lnTo>
                    <a:pt x="864" y="1014"/>
                  </a:lnTo>
                  <a:lnTo>
                    <a:pt x="846" y="1008"/>
                  </a:lnTo>
                  <a:lnTo>
                    <a:pt x="840" y="996"/>
                  </a:lnTo>
                  <a:lnTo>
                    <a:pt x="840" y="990"/>
                  </a:lnTo>
                  <a:lnTo>
                    <a:pt x="834" y="990"/>
                  </a:lnTo>
                  <a:lnTo>
                    <a:pt x="828" y="990"/>
                  </a:lnTo>
                  <a:lnTo>
                    <a:pt x="816" y="990"/>
                  </a:lnTo>
                  <a:lnTo>
                    <a:pt x="810" y="990"/>
                  </a:lnTo>
                  <a:lnTo>
                    <a:pt x="804" y="984"/>
                  </a:lnTo>
                  <a:lnTo>
                    <a:pt x="792" y="978"/>
                  </a:lnTo>
                  <a:lnTo>
                    <a:pt x="786" y="972"/>
                  </a:lnTo>
                  <a:lnTo>
                    <a:pt x="780" y="972"/>
                  </a:lnTo>
                  <a:lnTo>
                    <a:pt x="768" y="966"/>
                  </a:lnTo>
                  <a:lnTo>
                    <a:pt x="762" y="966"/>
                  </a:lnTo>
                  <a:lnTo>
                    <a:pt x="756" y="966"/>
                  </a:lnTo>
                  <a:lnTo>
                    <a:pt x="750" y="966"/>
                  </a:lnTo>
                  <a:lnTo>
                    <a:pt x="744" y="966"/>
                  </a:lnTo>
                  <a:lnTo>
                    <a:pt x="738" y="960"/>
                  </a:lnTo>
                  <a:lnTo>
                    <a:pt x="732" y="954"/>
                  </a:lnTo>
                  <a:lnTo>
                    <a:pt x="720" y="954"/>
                  </a:lnTo>
                  <a:lnTo>
                    <a:pt x="714" y="948"/>
                  </a:lnTo>
                  <a:lnTo>
                    <a:pt x="708" y="948"/>
                  </a:lnTo>
                  <a:lnTo>
                    <a:pt x="696" y="948"/>
                  </a:lnTo>
                  <a:lnTo>
                    <a:pt x="684" y="942"/>
                  </a:lnTo>
                  <a:lnTo>
                    <a:pt x="678" y="936"/>
                  </a:lnTo>
                  <a:lnTo>
                    <a:pt x="660" y="930"/>
                  </a:lnTo>
                  <a:lnTo>
                    <a:pt x="642" y="924"/>
                  </a:lnTo>
                  <a:lnTo>
                    <a:pt x="636" y="924"/>
                  </a:lnTo>
                  <a:lnTo>
                    <a:pt x="630" y="924"/>
                  </a:lnTo>
                  <a:lnTo>
                    <a:pt x="618" y="924"/>
                  </a:lnTo>
                  <a:lnTo>
                    <a:pt x="618" y="918"/>
                  </a:lnTo>
                  <a:lnTo>
                    <a:pt x="606" y="918"/>
                  </a:lnTo>
                  <a:lnTo>
                    <a:pt x="600" y="918"/>
                  </a:lnTo>
                  <a:lnTo>
                    <a:pt x="594" y="918"/>
                  </a:lnTo>
                  <a:lnTo>
                    <a:pt x="594" y="912"/>
                  </a:lnTo>
                  <a:lnTo>
                    <a:pt x="588" y="912"/>
                  </a:lnTo>
                  <a:lnTo>
                    <a:pt x="582" y="912"/>
                  </a:lnTo>
                  <a:lnTo>
                    <a:pt x="582" y="918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58" y="918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12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00"/>
                  </a:lnTo>
                  <a:lnTo>
                    <a:pt x="516" y="900"/>
                  </a:lnTo>
                  <a:lnTo>
                    <a:pt x="510" y="900"/>
                  </a:lnTo>
                  <a:lnTo>
                    <a:pt x="486" y="894"/>
                  </a:lnTo>
                  <a:lnTo>
                    <a:pt x="474" y="888"/>
                  </a:lnTo>
                  <a:lnTo>
                    <a:pt x="468" y="888"/>
                  </a:lnTo>
                  <a:lnTo>
                    <a:pt x="450" y="88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0" name="Freeform 15">
              <a:extLst>
                <a:ext uri="{FF2B5EF4-FFF2-40B4-BE49-F238E27FC236}">
                  <a16:creationId xmlns:a16="http://schemas.microsoft.com/office/drawing/2014/main" id="{8B991D7A-45C6-40F6-A035-24DFC733305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382" y="2652043"/>
              <a:ext cx="724526" cy="695552"/>
            </a:xfrm>
            <a:custGeom>
              <a:avLst/>
              <a:gdLst>
                <a:gd name="T0" fmla="*/ 44 w 1362"/>
                <a:gd name="T1" fmla="*/ 106 h 1308"/>
                <a:gd name="T2" fmla="*/ 32 w 1362"/>
                <a:gd name="T3" fmla="*/ 109 h 1308"/>
                <a:gd name="T4" fmla="*/ 25 w 1362"/>
                <a:gd name="T5" fmla="*/ 105 h 1308"/>
                <a:gd name="T6" fmla="*/ 22 w 1362"/>
                <a:gd name="T7" fmla="*/ 97 h 1308"/>
                <a:gd name="T8" fmla="*/ 21 w 1362"/>
                <a:gd name="T9" fmla="*/ 95 h 1308"/>
                <a:gd name="T10" fmla="*/ 20 w 1362"/>
                <a:gd name="T11" fmla="*/ 90 h 1308"/>
                <a:gd name="T12" fmla="*/ 23 w 1362"/>
                <a:gd name="T13" fmla="*/ 87 h 1308"/>
                <a:gd name="T14" fmla="*/ 29 w 1362"/>
                <a:gd name="T15" fmla="*/ 81 h 1308"/>
                <a:gd name="T16" fmla="*/ 30 w 1362"/>
                <a:gd name="T17" fmla="*/ 78 h 1308"/>
                <a:gd name="T18" fmla="*/ 27 w 1362"/>
                <a:gd name="T19" fmla="*/ 75 h 1308"/>
                <a:gd name="T20" fmla="*/ 15 w 1362"/>
                <a:gd name="T21" fmla="*/ 73 h 1308"/>
                <a:gd name="T22" fmla="*/ 12 w 1362"/>
                <a:gd name="T23" fmla="*/ 69 h 1308"/>
                <a:gd name="T24" fmla="*/ 5 w 1362"/>
                <a:gd name="T25" fmla="*/ 65 h 1308"/>
                <a:gd name="T26" fmla="*/ 6 w 1362"/>
                <a:gd name="T27" fmla="*/ 62 h 1308"/>
                <a:gd name="T28" fmla="*/ 7 w 1362"/>
                <a:gd name="T29" fmla="*/ 56 h 1308"/>
                <a:gd name="T30" fmla="*/ 2 w 1362"/>
                <a:gd name="T31" fmla="*/ 49 h 1308"/>
                <a:gd name="T32" fmla="*/ 0 w 1362"/>
                <a:gd name="T33" fmla="*/ 44 h 1308"/>
                <a:gd name="T34" fmla="*/ 0 w 1362"/>
                <a:gd name="T35" fmla="*/ 39 h 1308"/>
                <a:gd name="T36" fmla="*/ 3 w 1362"/>
                <a:gd name="T37" fmla="*/ 35 h 1308"/>
                <a:gd name="T38" fmla="*/ 3 w 1362"/>
                <a:gd name="T39" fmla="*/ 28 h 1308"/>
                <a:gd name="T40" fmla="*/ 6 w 1362"/>
                <a:gd name="T41" fmla="*/ 18 h 1308"/>
                <a:gd name="T42" fmla="*/ 6 w 1362"/>
                <a:gd name="T43" fmla="*/ 8 h 1308"/>
                <a:gd name="T44" fmla="*/ 10 w 1362"/>
                <a:gd name="T45" fmla="*/ 5 h 1308"/>
                <a:gd name="T46" fmla="*/ 15 w 1362"/>
                <a:gd name="T47" fmla="*/ 0 h 1308"/>
                <a:gd name="T48" fmla="*/ 21 w 1362"/>
                <a:gd name="T49" fmla="*/ 7 h 1308"/>
                <a:gd name="T50" fmla="*/ 25 w 1362"/>
                <a:gd name="T51" fmla="*/ 15 h 1308"/>
                <a:gd name="T52" fmla="*/ 24 w 1362"/>
                <a:gd name="T53" fmla="*/ 19 h 1308"/>
                <a:gd name="T54" fmla="*/ 32 w 1362"/>
                <a:gd name="T55" fmla="*/ 19 h 1308"/>
                <a:gd name="T56" fmla="*/ 35 w 1362"/>
                <a:gd name="T57" fmla="*/ 20 h 1308"/>
                <a:gd name="T58" fmla="*/ 40 w 1362"/>
                <a:gd name="T59" fmla="*/ 23 h 1308"/>
                <a:gd name="T60" fmla="*/ 40 w 1362"/>
                <a:gd name="T61" fmla="*/ 26 h 1308"/>
                <a:gd name="T62" fmla="*/ 34 w 1362"/>
                <a:gd name="T63" fmla="*/ 35 h 1308"/>
                <a:gd name="T64" fmla="*/ 41 w 1362"/>
                <a:gd name="T65" fmla="*/ 37 h 1308"/>
                <a:gd name="T66" fmla="*/ 43 w 1362"/>
                <a:gd name="T67" fmla="*/ 44 h 1308"/>
                <a:gd name="T68" fmla="*/ 48 w 1362"/>
                <a:gd name="T69" fmla="*/ 47 h 1308"/>
                <a:gd name="T70" fmla="*/ 57 w 1362"/>
                <a:gd name="T71" fmla="*/ 48 h 1308"/>
                <a:gd name="T72" fmla="*/ 70 w 1362"/>
                <a:gd name="T73" fmla="*/ 44 h 1308"/>
                <a:gd name="T74" fmla="*/ 80 w 1362"/>
                <a:gd name="T75" fmla="*/ 34 h 1308"/>
                <a:gd name="T76" fmla="*/ 95 w 1362"/>
                <a:gd name="T77" fmla="*/ 41 h 1308"/>
                <a:gd name="T78" fmla="*/ 109 w 1362"/>
                <a:gd name="T79" fmla="*/ 47 h 1308"/>
                <a:gd name="T80" fmla="*/ 111 w 1362"/>
                <a:gd name="T81" fmla="*/ 50 h 1308"/>
                <a:gd name="T82" fmla="*/ 113 w 1362"/>
                <a:gd name="T83" fmla="*/ 53 h 1308"/>
                <a:gd name="T84" fmla="*/ 113 w 1362"/>
                <a:gd name="T85" fmla="*/ 55 h 1308"/>
                <a:gd name="T86" fmla="*/ 113 w 1362"/>
                <a:gd name="T87" fmla="*/ 59 h 1308"/>
                <a:gd name="T88" fmla="*/ 113 w 1362"/>
                <a:gd name="T89" fmla="*/ 62 h 1308"/>
                <a:gd name="T90" fmla="*/ 115 w 1362"/>
                <a:gd name="T91" fmla="*/ 65 h 1308"/>
                <a:gd name="T92" fmla="*/ 115 w 1362"/>
                <a:gd name="T93" fmla="*/ 67 h 1308"/>
                <a:gd name="T94" fmla="*/ 116 w 1362"/>
                <a:gd name="T95" fmla="*/ 69 h 1308"/>
                <a:gd name="T96" fmla="*/ 116 w 1362"/>
                <a:gd name="T97" fmla="*/ 71 h 1308"/>
                <a:gd name="T98" fmla="*/ 118 w 1362"/>
                <a:gd name="T99" fmla="*/ 75 h 1308"/>
                <a:gd name="T100" fmla="*/ 116 w 1362"/>
                <a:gd name="T101" fmla="*/ 77 h 1308"/>
                <a:gd name="T102" fmla="*/ 116 w 1362"/>
                <a:gd name="T103" fmla="*/ 79 h 1308"/>
                <a:gd name="T104" fmla="*/ 101 w 1362"/>
                <a:gd name="T105" fmla="*/ 87 h 1308"/>
                <a:gd name="T106" fmla="*/ 85 w 1362"/>
                <a:gd name="T107" fmla="*/ 103 h 1308"/>
                <a:gd name="T108" fmla="*/ 67 w 1362"/>
                <a:gd name="T109" fmla="*/ 114 h 130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62"/>
                <a:gd name="T166" fmla="*/ 0 h 1308"/>
                <a:gd name="T167" fmla="*/ 1362 w 1362"/>
                <a:gd name="T168" fmla="*/ 1308 h 130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62" h="1308">
                  <a:moveTo>
                    <a:pt x="684" y="1278"/>
                  </a:moveTo>
                  <a:lnTo>
                    <a:pt x="672" y="1272"/>
                  </a:lnTo>
                  <a:lnTo>
                    <a:pt x="636" y="1266"/>
                  </a:lnTo>
                  <a:lnTo>
                    <a:pt x="582" y="1248"/>
                  </a:lnTo>
                  <a:lnTo>
                    <a:pt x="564" y="1230"/>
                  </a:lnTo>
                  <a:lnTo>
                    <a:pt x="540" y="1218"/>
                  </a:lnTo>
                  <a:lnTo>
                    <a:pt x="510" y="1218"/>
                  </a:lnTo>
                  <a:lnTo>
                    <a:pt x="498" y="1224"/>
                  </a:lnTo>
                  <a:lnTo>
                    <a:pt x="492" y="1230"/>
                  </a:lnTo>
                  <a:lnTo>
                    <a:pt x="474" y="1230"/>
                  </a:lnTo>
                  <a:lnTo>
                    <a:pt x="414" y="1230"/>
                  </a:lnTo>
                  <a:lnTo>
                    <a:pt x="396" y="1236"/>
                  </a:lnTo>
                  <a:lnTo>
                    <a:pt x="390" y="1248"/>
                  </a:lnTo>
                  <a:lnTo>
                    <a:pt x="372" y="1248"/>
                  </a:lnTo>
                  <a:lnTo>
                    <a:pt x="366" y="1242"/>
                  </a:lnTo>
                  <a:lnTo>
                    <a:pt x="366" y="1224"/>
                  </a:lnTo>
                  <a:lnTo>
                    <a:pt x="360" y="1224"/>
                  </a:lnTo>
                  <a:lnTo>
                    <a:pt x="354" y="1218"/>
                  </a:lnTo>
                  <a:lnTo>
                    <a:pt x="336" y="1206"/>
                  </a:lnTo>
                  <a:lnTo>
                    <a:pt x="330" y="1194"/>
                  </a:lnTo>
                  <a:lnTo>
                    <a:pt x="288" y="1200"/>
                  </a:lnTo>
                  <a:lnTo>
                    <a:pt x="288" y="1194"/>
                  </a:lnTo>
                  <a:lnTo>
                    <a:pt x="288" y="1182"/>
                  </a:lnTo>
                  <a:lnTo>
                    <a:pt x="288" y="1170"/>
                  </a:lnTo>
                  <a:lnTo>
                    <a:pt x="288" y="1164"/>
                  </a:lnTo>
                  <a:lnTo>
                    <a:pt x="282" y="1140"/>
                  </a:lnTo>
                  <a:lnTo>
                    <a:pt x="276" y="1134"/>
                  </a:lnTo>
                  <a:lnTo>
                    <a:pt x="258" y="1116"/>
                  </a:lnTo>
                  <a:lnTo>
                    <a:pt x="258" y="1110"/>
                  </a:lnTo>
                  <a:lnTo>
                    <a:pt x="252" y="1110"/>
                  </a:lnTo>
                  <a:lnTo>
                    <a:pt x="252" y="1104"/>
                  </a:lnTo>
                  <a:lnTo>
                    <a:pt x="252" y="1098"/>
                  </a:lnTo>
                  <a:lnTo>
                    <a:pt x="240" y="1092"/>
                  </a:lnTo>
                  <a:lnTo>
                    <a:pt x="234" y="1092"/>
                  </a:lnTo>
                  <a:lnTo>
                    <a:pt x="240" y="1086"/>
                  </a:lnTo>
                  <a:lnTo>
                    <a:pt x="234" y="1080"/>
                  </a:lnTo>
                  <a:lnTo>
                    <a:pt x="228" y="1080"/>
                  </a:lnTo>
                  <a:lnTo>
                    <a:pt x="228" y="1068"/>
                  </a:lnTo>
                  <a:lnTo>
                    <a:pt x="228" y="1056"/>
                  </a:lnTo>
                  <a:lnTo>
                    <a:pt x="222" y="1056"/>
                  </a:lnTo>
                  <a:lnTo>
                    <a:pt x="228" y="1044"/>
                  </a:lnTo>
                  <a:lnTo>
                    <a:pt x="228" y="1038"/>
                  </a:lnTo>
                  <a:lnTo>
                    <a:pt x="228" y="1032"/>
                  </a:lnTo>
                  <a:lnTo>
                    <a:pt x="234" y="1026"/>
                  </a:lnTo>
                  <a:lnTo>
                    <a:pt x="246" y="1020"/>
                  </a:lnTo>
                  <a:lnTo>
                    <a:pt x="252" y="1020"/>
                  </a:lnTo>
                  <a:lnTo>
                    <a:pt x="258" y="1014"/>
                  </a:lnTo>
                  <a:lnTo>
                    <a:pt x="264" y="1008"/>
                  </a:lnTo>
                  <a:lnTo>
                    <a:pt x="264" y="1002"/>
                  </a:lnTo>
                  <a:lnTo>
                    <a:pt x="270" y="984"/>
                  </a:lnTo>
                  <a:lnTo>
                    <a:pt x="276" y="978"/>
                  </a:lnTo>
                  <a:lnTo>
                    <a:pt x="300" y="978"/>
                  </a:lnTo>
                  <a:lnTo>
                    <a:pt x="306" y="972"/>
                  </a:lnTo>
                  <a:lnTo>
                    <a:pt x="312" y="966"/>
                  </a:lnTo>
                  <a:lnTo>
                    <a:pt x="324" y="936"/>
                  </a:lnTo>
                  <a:lnTo>
                    <a:pt x="330" y="930"/>
                  </a:lnTo>
                  <a:lnTo>
                    <a:pt x="330" y="924"/>
                  </a:lnTo>
                  <a:lnTo>
                    <a:pt x="336" y="918"/>
                  </a:lnTo>
                  <a:lnTo>
                    <a:pt x="342" y="912"/>
                  </a:lnTo>
                  <a:lnTo>
                    <a:pt x="342" y="906"/>
                  </a:lnTo>
                  <a:lnTo>
                    <a:pt x="342" y="900"/>
                  </a:lnTo>
                  <a:lnTo>
                    <a:pt x="342" y="894"/>
                  </a:lnTo>
                  <a:lnTo>
                    <a:pt x="342" y="888"/>
                  </a:lnTo>
                  <a:lnTo>
                    <a:pt x="336" y="876"/>
                  </a:lnTo>
                  <a:lnTo>
                    <a:pt x="342" y="870"/>
                  </a:lnTo>
                  <a:lnTo>
                    <a:pt x="336" y="864"/>
                  </a:lnTo>
                  <a:lnTo>
                    <a:pt x="336" y="858"/>
                  </a:lnTo>
                  <a:lnTo>
                    <a:pt x="330" y="852"/>
                  </a:lnTo>
                  <a:lnTo>
                    <a:pt x="318" y="852"/>
                  </a:lnTo>
                  <a:lnTo>
                    <a:pt x="306" y="858"/>
                  </a:lnTo>
                  <a:lnTo>
                    <a:pt x="264" y="864"/>
                  </a:lnTo>
                  <a:lnTo>
                    <a:pt x="234" y="858"/>
                  </a:lnTo>
                  <a:lnTo>
                    <a:pt x="228" y="858"/>
                  </a:lnTo>
                  <a:lnTo>
                    <a:pt x="198" y="858"/>
                  </a:lnTo>
                  <a:lnTo>
                    <a:pt x="174" y="858"/>
                  </a:lnTo>
                  <a:lnTo>
                    <a:pt x="168" y="852"/>
                  </a:lnTo>
                  <a:lnTo>
                    <a:pt x="168" y="840"/>
                  </a:lnTo>
                  <a:lnTo>
                    <a:pt x="168" y="834"/>
                  </a:lnTo>
                  <a:lnTo>
                    <a:pt x="168" y="822"/>
                  </a:lnTo>
                  <a:lnTo>
                    <a:pt x="162" y="822"/>
                  </a:lnTo>
                  <a:lnTo>
                    <a:pt x="150" y="816"/>
                  </a:lnTo>
                  <a:lnTo>
                    <a:pt x="144" y="810"/>
                  </a:lnTo>
                  <a:lnTo>
                    <a:pt x="144" y="804"/>
                  </a:lnTo>
                  <a:lnTo>
                    <a:pt x="144" y="786"/>
                  </a:lnTo>
                  <a:lnTo>
                    <a:pt x="144" y="780"/>
                  </a:lnTo>
                  <a:lnTo>
                    <a:pt x="144" y="774"/>
                  </a:lnTo>
                  <a:lnTo>
                    <a:pt x="132" y="756"/>
                  </a:lnTo>
                  <a:lnTo>
                    <a:pt x="120" y="756"/>
                  </a:lnTo>
                  <a:lnTo>
                    <a:pt x="84" y="750"/>
                  </a:lnTo>
                  <a:lnTo>
                    <a:pt x="78" y="744"/>
                  </a:lnTo>
                  <a:lnTo>
                    <a:pt x="60" y="744"/>
                  </a:lnTo>
                  <a:lnTo>
                    <a:pt x="54" y="726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66" y="720"/>
                  </a:lnTo>
                  <a:lnTo>
                    <a:pt x="66" y="714"/>
                  </a:lnTo>
                  <a:lnTo>
                    <a:pt x="72" y="714"/>
                  </a:lnTo>
                  <a:lnTo>
                    <a:pt x="72" y="708"/>
                  </a:lnTo>
                  <a:lnTo>
                    <a:pt x="78" y="702"/>
                  </a:lnTo>
                  <a:lnTo>
                    <a:pt x="78" y="696"/>
                  </a:lnTo>
                  <a:lnTo>
                    <a:pt x="78" y="690"/>
                  </a:lnTo>
                  <a:lnTo>
                    <a:pt x="84" y="678"/>
                  </a:lnTo>
                  <a:lnTo>
                    <a:pt x="90" y="666"/>
                  </a:lnTo>
                  <a:lnTo>
                    <a:pt x="90" y="642"/>
                  </a:lnTo>
                  <a:lnTo>
                    <a:pt x="84" y="648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66" y="642"/>
                  </a:lnTo>
                  <a:lnTo>
                    <a:pt x="60" y="642"/>
                  </a:lnTo>
                  <a:lnTo>
                    <a:pt x="54" y="636"/>
                  </a:lnTo>
                  <a:lnTo>
                    <a:pt x="30" y="570"/>
                  </a:lnTo>
                  <a:lnTo>
                    <a:pt x="24" y="564"/>
                  </a:lnTo>
                  <a:lnTo>
                    <a:pt x="18" y="570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6"/>
                  </a:lnTo>
                  <a:lnTo>
                    <a:pt x="6" y="540"/>
                  </a:lnTo>
                  <a:lnTo>
                    <a:pt x="0" y="522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2" y="480"/>
                  </a:lnTo>
                  <a:lnTo>
                    <a:pt x="6" y="480"/>
                  </a:lnTo>
                  <a:lnTo>
                    <a:pt x="0" y="474"/>
                  </a:lnTo>
                  <a:lnTo>
                    <a:pt x="0" y="450"/>
                  </a:lnTo>
                  <a:lnTo>
                    <a:pt x="6" y="450"/>
                  </a:lnTo>
                  <a:lnTo>
                    <a:pt x="12" y="450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32"/>
                  </a:lnTo>
                  <a:lnTo>
                    <a:pt x="30" y="426"/>
                  </a:lnTo>
                  <a:lnTo>
                    <a:pt x="36" y="402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2" y="366"/>
                  </a:lnTo>
                  <a:lnTo>
                    <a:pt x="48" y="360"/>
                  </a:lnTo>
                  <a:lnTo>
                    <a:pt x="48" y="342"/>
                  </a:lnTo>
                  <a:lnTo>
                    <a:pt x="42" y="330"/>
                  </a:lnTo>
                  <a:lnTo>
                    <a:pt x="36" y="324"/>
                  </a:lnTo>
                  <a:lnTo>
                    <a:pt x="42" y="306"/>
                  </a:lnTo>
                  <a:lnTo>
                    <a:pt x="42" y="270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48" y="258"/>
                  </a:lnTo>
                  <a:lnTo>
                    <a:pt x="72" y="252"/>
                  </a:lnTo>
                  <a:lnTo>
                    <a:pt x="66" y="204"/>
                  </a:lnTo>
                  <a:lnTo>
                    <a:pt x="60" y="198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8" y="13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84" y="96"/>
                  </a:lnTo>
                  <a:lnTo>
                    <a:pt x="90" y="84"/>
                  </a:lnTo>
                  <a:lnTo>
                    <a:pt x="108" y="72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20" y="60"/>
                  </a:lnTo>
                  <a:lnTo>
                    <a:pt x="120" y="54"/>
                  </a:lnTo>
                  <a:lnTo>
                    <a:pt x="120" y="48"/>
                  </a:lnTo>
                  <a:lnTo>
                    <a:pt x="126" y="48"/>
                  </a:lnTo>
                  <a:lnTo>
                    <a:pt x="132" y="42"/>
                  </a:lnTo>
                  <a:lnTo>
                    <a:pt x="132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240" y="18"/>
                  </a:lnTo>
                  <a:lnTo>
                    <a:pt x="246" y="42"/>
                  </a:lnTo>
                  <a:lnTo>
                    <a:pt x="240" y="72"/>
                  </a:lnTo>
                  <a:lnTo>
                    <a:pt x="246" y="78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8" y="108"/>
                  </a:lnTo>
                  <a:lnTo>
                    <a:pt x="276" y="114"/>
                  </a:lnTo>
                  <a:lnTo>
                    <a:pt x="294" y="150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82" y="186"/>
                  </a:lnTo>
                  <a:lnTo>
                    <a:pt x="282" y="192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76" y="216"/>
                  </a:lnTo>
                  <a:lnTo>
                    <a:pt x="288" y="240"/>
                  </a:lnTo>
                  <a:lnTo>
                    <a:pt x="312" y="228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66" y="228"/>
                  </a:lnTo>
                  <a:lnTo>
                    <a:pt x="372" y="228"/>
                  </a:lnTo>
                  <a:lnTo>
                    <a:pt x="372" y="222"/>
                  </a:lnTo>
                  <a:lnTo>
                    <a:pt x="378" y="222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6" y="222"/>
                  </a:lnTo>
                  <a:lnTo>
                    <a:pt x="402" y="222"/>
                  </a:lnTo>
                  <a:lnTo>
                    <a:pt x="402" y="228"/>
                  </a:lnTo>
                  <a:lnTo>
                    <a:pt x="408" y="228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26" y="216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68" y="258"/>
                  </a:lnTo>
                  <a:lnTo>
                    <a:pt x="462" y="264"/>
                  </a:lnTo>
                  <a:lnTo>
                    <a:pt x="468" y="264"/>
                  </a:lnTo>
                  <a:lnTo>
                    <a:pt x="468" y="270"/>
                  </a:lnTo>
                  <a:lnTo>
                    <a:pt x="474" y="270"/>
                  </a:lnTo>
                  <a:lnTo>
                    <a:pt x="480" y="276"/>
                  </a:lnTo>
                  <a:lnTo>
                    <a:pt x="474" y="282"/>
                  </a:lnTo>
                  <a:lnTo>
                    <a:pt x="474" y="288"/>
                  </a:lnTo>
                  <a:lnTo>
                    <a:pt x="462" y="294"/>
                  </a:lnTo>
                  <a:lnTo>
                    <a:pt x="468" y="324"/>
                  </a:lnTo>
                  <a:lnTo>
                    <a:pt x="462" y="336"/>
                  </a:lnTo>
                  <a:lnTo>
                    <a:pt x="456" y="354"/>
                  </a:lnTo>
                  <a:lnTo>
                    <a:pt x="432" y="390"/>
                  </a:lnTo>
                  <a:lnTo>
                    <a:pt x="420" y="390"/>
                  </a:lnTo>
                  <a:lnTo>
                    <a:pt x="402" y="390"/>
                  </a:lnTo>
                  <a:lnTo>
                    <a:pt x="396" y="396"/>
                  </a:lnTo>
                  <a:lnTo>
                    <a:pt x="390" y="396"/>
                  </a:lnTo>
                  <a:lnTo>
                    <a:pt x="390" y="402"/>
                  </a:lnTo>
                  <a:lnTo>
                    <a:pt x="384" y="402"/>
                  </a:lnTo>
                  <a:lnTo>
                    <a:pt x="408" y="432"/>
                  </a:lnTo>
                  <a:lnTo>
                    <a:pt x="432" y="438"/>
                  </a:lnTo>
                  <a:lnTo>
                    <a:pt x="456" y="432"/>
                  </a:lnTo>
                  <a:lnTo>
                    <a:pt x="468" y="426"/>
                  </a:lnTo>
                  <a:lnTo>
                    <a:pt x="468" y="444"/>
                  </a:lnTo>
                  <a:lnTo>
                    <a:pt x="468" y="450"/>
                  </a:lnTo>
                  <a:lnTo>
                    <a:pt x="468" y="474"/>
                  </a:lnTo>
                  <a:lnTo>
                    <a:pt x="486" y="480"/>
                  </a:lnTo>
                  <a:lnTo>
                    <a:pt x="486" y="486"/>
                  </a:lnTo>
                  <a:lnTo>
                    <a:pt x="492" y="498"/>
                  </a:lnTo>
                  <a:lnTo>
                    <a:pt x="492" y="504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504" y="516"/>
                  </a:lnTo>
                  <a:lnTo>
                    <a:pt x="510" y="516"/>
                  </a:lnTo>
                  <a:lnTo>
                    <a:pt x="522" y="528"/>
                  </a:lnTo>
                  <a:lnTo>
                    <a:pt x="546" y="540"/>
                  </a:lnTo>
                  <a:lnTo>
                    <a:pt x="552" y="546"/>
                  </a:lnTo>
                  <a:lnTo>
                    <a:pt x="570" y="552"/>
                  </a:lnTo>
                  <a:lnTo>
                    <a:pt x="594" y="552"/>
                  </a:lnTo>
                  <a:lnTo>
                    <a:pt x="606" y="546"/>
                  </a:lnTo>
                  <a:lnTo>
                    <a:pt x="612" y="540"/>
                  </a:lnTo>
                  <a:lnTo>
                    <a:pt x="630" y="540"/>
                  </a:lnTo>
                  <a:lnTo>
                    <a:pt x="630" y="552"/>
                  </a:lnTo>
                  <a:lnTo>
                    <a:pt x="654" y="552"/>
                  </a:lnTo>
                  <a:lnTo>
                    <a:pt x="702" y="558"/>
                  </a:lnTo>
                  <a:lnTo>
                    <a:pt x="762" y="546"/>
                  </a:lnTo>
                  <a:lnTo>
                    <a:pt x="780" y="546"/>
                  </a:lnTo>
                  <a:lnTo>
                    <a:pt x="780" y="528"/>
                  </a:lnTo>
                  <a:lnTo>
                    <a:pt x="798" y="522"/>
                  </a:lnTo>
                  <a:lnTo>
                    <a:pt x="810" y="510"/>
                  </a:lnTo>
                  <a:lnTo>
                    <a:pt x="810" y="504"/>
                  </a:lnTo>
                  <a:lnTo>
                    <a:pt x="828" y="492"/>
                  </a:lnTo>
                  <a:lnTo>
                    <a:pt x="888" y="486"/>
                  </a:lnTo>
                  <a:lnTo>
                    <a:pt x="912" y="486"/>
                  </a:lnTo>
                  <a:lnTo>
                    <a:pt x="930" y="474"/>
                  </a:lnTo>
                  <a:lnTo>
                    <a:pt x="918" y="456"/>
                  </a:lnTo>
                  <a:lnTo>
                    <a:pt x="912" y="450"/>
                  </a:lnTo>
                  <a:lnTo>
                    <a:pt x="918" y="390"/>
                  </a:lnTo>
                  <a:lnTo>
                    <a:pt x="954" y="396"/>
                  </a:lnTo>
                  <a:lnTo>
                    <a:pt x="984" y="402"/>
                  </a:lnTo>
                  <a:lnTo>
                    <a:pt x="1014" y="420"/>
                  </a:lnTo>
                  <a:lnTo>
                    <a:pt x="1026" y="432"/>
                  </a:lnTo>
                  <a:lnTo>
                    <a:pt x="1044" y="450"/>
                  </a:lnTo>
                  <a:lnTo>
                    <a:pt x="1062" y="462"/>
                  </a:lnTo>
                  <a:lnTo>
                    <a:pt x="1098" y="468"/>
                  </a:lnTo>
                  <a:lnTo>
                    <a:pt x="1128" y="480"/>
                  </a:lnTo>
                  <a:lnTo>
                    <a:pt x="1152" y="486"/>
                  </a:lnTo>
                  <a:lnTo>
                    <a:pt x="1188" y="498"/>
                  </a:lnTo>
                  <a:lnTo>
                    <a:pt x="1212" y="504"/>
                  </a:lnTo>
                  <a:lnTo>
                    <a:pt x="1224" y="528"/>
                  </a:lnTo>
                  <a:lnTo>
                    <a:pt x="1236" y="540"/>
                  </a:lnTo>
                  <a:lnTo>
                    <a:pt x="1254" y="540"/>
                  </a:lnTo>
                  <a:lnTo>
                    <a:pt x="1254" y="546"/>
                  </a:lnTo>
                  <a:lnTo>
                    <a:pt x="1260" y="552"/>
                  </a:lnTo>
                  <a:lnTo>
                    <a:pt x="1266" y="552"/>
                  </a:lnTo>
                  <a:lnTo>
                    <a:pt x="1266" y="558"/>
                  </a:lnTo>
                  <a:lnTo>
                    <a:pt x="1272" y="564"/>
                  </a:lnTo>
                  <a:lnTo>
                    <a:pt x="1278" y="564"/>
                  </a:lnTo>
                  <a:lnTo>
                    <a:pt x="1278" y="570"/>
                  </a:lnTo>
                  <a:lnTo>
                    <a:pt x="1284" y="576"/>
                  </a:lnTo>
                  <a:lnTo>
                    <a:pt x="1290" y="582"/>
                  </a:lnTo>
                  <a:lnTo>
                    <a:pt x="1296" y="582"/>
                  </a:lnTo>
                  <a:lnTo>
                    <a:pt x="1296" y="588"/>
                  </a:lnTo>
                  <a:lnTo>
                    <a:pt x="1308" y="594"/>
                  </a:lnTo>
                  <a:lnTo>
                    <a:pt x="1308" y="600"/>
                  </a:lnTo>
                  <a:lnTo>
                    <a:pt x="1308" y="606"/>
                  </a:lnTo>
                  <a:lnTo>
                    <a:pt x="1314" y="612"/>
                  </a:lnTo>
                  <a:lnTo>
                    <a:pt x="1308" y="618"/>
                  </a:lnTo>
                  <a:lnTo>
                    <a:pt x="1314" y="618"/>
                  </a:lnTo>
                  <a:lnTo>
                    <a:pt x="1314" y="624"/>
                  </a:lnTo>
                  <a:lnTo>
                    <a:pt x="1308" y="624"/>
                  </a:lnTo>
                  <a:lnTo>
                    <a:pt x="1302" y="630"/>
                  </a:lnTo>
                  <a:lnTo>
                    <a:pt x="1302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296" y="654"/>
                  </a:lnTo>
                  <a:lnTo>
                    <a:pt x="1302" y="660"/>
                  </a:lnTo>
                  <a:lnTo>
                    <a:pt x="1302" y="666"/>
                  </a:lnTo>
                  <a:lnTo>
                    <a:pt x="1308" y="666"/>
                  </a:lnTo>
                  <a:lnTo>
                    <a:pt x="1308" y="672"/>
                  </a:lnTo>
                  <a:lnTo>
                    <a:pt x="1308" y="678"/>
                  </a:lnTo>
                  <a:lnTo>
                    <a:pt x="1308" y="684"/>
                  </a:lnTo>
                  <a:lnTo>
                    <a:pt x="1308" y="690"/>
                  </a:lnTo>
                  <a:lnTo>
                    <a:pt x="1302" y="696"/>
                  </a:lnTo>
                  <a:lnTo>
                    <a:pt x="1302" y="702"/>
                  </a:lnTo>
                  <a:lnTo>
                    <a:pt x="1308" y="702"/>
                  </a:lnTo>
                  <a:lnTo>
                    <a:pt x="1302" y="708"/>
                  </a:lnTo>
                  <a:lnTo>
                    <a:pt x="1308" y="714"/>
                  </a:lnTo>
                  <a:lnTo>
                    <a:pt x="1308" y="720"/>
                  </a:lnTo>
                  <a:lnTo>
                    <a:pt x="1308" y="726"/>
                  </a:lnTo>
                  <a:lnTo>
                    <a:pt x="1308" y="732"/>
                  </a:lnTo>
                  <a:lnTo>
                    <a:pt x="1314" y="732"/>
                  </a:lnTo>
                  <a:lnTo>
                    <a:pt x="1314" y="738"/>
                  </a:lnTo>
                  <a:lnTo>
                    <a:pt x="1320" y="744"/>
                  </a:lnTo>
                  <a:lnTo>
                    <a:pt x="1326" y="750"/>
                  </a:lnTo>
                  <a:lnTo>
                    <a:pt x="1320" y="750"/>
                  </a:lnTo>
                  <a:lnTo>
                    <a:pt x="1320" y="756"/>
                  </a:lnTo>
                  <a:lnTo>
                    <a:pt x="1314" y="756"/>
                  </a:lnTo>
                  <a:lnTo>
                    <a:pt x="1314" y="762"/>
                  </a:lnTo>
                  <a:lnTo>
                    <a:pt x="1314" y="768"/>
                  </a:lnTo>
                  <a:lnTo>
                    <a:pt x="1320" y="768"/>
                  </a:lnTo>
                  <a:lnTo>
                    <a:pt x="1320" y="762"/>
                  </a:lnTo>
                  <a:lnTo>
                    <a:pt x="1320" y="768"/>
                  </a:lnTo>
                  <a:lnTo>
                    <a:pt x="1326" y="774"/>
                  </a:lnTo>
                  <a:lnTo>
                    <a:pt x="1332" y="774"/>
                  </a:lnTo>
                  <a:lnTo>
                    <a:pt x="1332" y="780"/>
                  </a:lnTo>
                  <a:lnTo>
                    <a:pt x="1332" y="786"/>
                  </a:lnTo>
                  <a:lnTo>
                    <a:pt x="1332" y="792"/>
                  </a:lnTo>
                  <a:lnTo>
                    <a:pt x="1338" y="786"/>
                  </a:lnTo>
                  <a:lnTo>
                    <a:pt x="1338" y="792"/>
                  </a:lnTo>
                  <a:lnTo>
                    <a:pt x="1344" y="798"/>
                  </a:lnTo>
                  <a:lnTo>
                    <a:pt x="1344" y="804"/>
                  </a:lnTo>
                  <a:lnTo>
                    <a:pt x="1344" y="810"/>
                  </a:lnTo>
                  <a:lnTo>
                    <a:pt x="1344" y="816"/>
                  </a:lnTo>
                  <a:lnTo>
                    <a:pt x="1344" y="822"/>
                  </a:lnTo>
                  <a:lnTo>
                    <a:pt x="1338" y="828"/>
                  </a:lnTo>
                  <a:lnTo>
                    <a:pt x="1332" y="828"/>
                  </a:lnTo>
                  <a:lnTo>
                    <a:pt x="1338" y="840"/>
                  </a:lnTo>
                  <a:lnTo>
                    <a:pt x="1344" y="846"/>
                  </a:lnTo>
                  <a:lnTo>
                    <a:pt x="1344" y="852"/>
                  </a:lnTo>
                  <a:lnTo>
                    <a:pt x="1350" y="852"/>
                  </a:lnTo>
                  <a:lnTo>
                    <a:pt x="1356" y="858"/>
                  </a:lnTo>
                  <a:lnTo>
                    <a:pt x="1362" y="858"/>
                  </a:lnTo>
                  <a:lnTo>
                    <a:pt x="1362" y="870"/>
                  </a:lnTo>
                  <a:lnTo>
                    <a:pt x="1356" y="870"/>
                  </a:lnTo>
                  <a:lnTo>
                    <a:pt x="1356" y="876"/>
                  </a:lnTo>
                  <a:lnTo>
                    <a:pt x="1350" y="876"/>
                  </a:lnTo>
                  <a:lnTo>
                    <a:pt x="1344" y="876"/>
                  </a:lnTo>
                  <a:lnTo>
                    <a:pt x="1344" y="882"/>
                  </a:lnTo>
                  <a:lnTo>
                    <a:pt x="1338" y="882"/>
                  </a:lnTo>
                  <a:lnTo>
                    <a:pt x="1338" y="888"/>
                  </a:lnTo>
                  <a:lnTo>
                    <a:pt x="1338" y="894"/>
                  </a:lnTo>
                  <a:lnTo>
                    <a:pt x="1344" y="900"/>
                  </a:lnTo>
                  <a:lnTo>
                    <a:pt x="1344" y="906"/>
                  </a:lnTo>
                  <a:lnTo>
                    <a:pt x="1338" y="906"/>
                  </a:lnTo>
                  <a:lnTo>
                    <a:pt x="1332" y="912"/>
                  </a:lnTo>
                  <a:lnTo>
                    <a:pt x="1332" y="918"/>
                  </a:lnTo>
                  <a:lnTo>
                    <a:pt x="1326" y="918"/>
                  </a:lnTo>
                  <a:lnTo>
                    <a:pt x="1332" y="924"/>
                  </a:lnTo>
                  <a:lnTo>
                    <a:pt x="1284" y="942"/>
                  </a:lnTo>
                  <a:lnTo>
                    <a:pt x="1236" y="948"/>
                  </a:lnTo>
                  <a:lnTo>
                    <a:pt x="1194" y="966"/>
                  </a:lnTo>
                  <a:lnTo>
                    <a:pt x="1170" y="1002"/>
                  </a:lnTo>
                  <a:lnTo>
                    <a:pt x="1134" y="1020"/>
                  </a:lnTo>
                  <a:lnTo>
                    <a:pt x="1116" y="1032"/>
                  </a:lnTo>
                  <a:lnTo>
                    <a:pt x="1098" y="1050"/>
                  </a:lnTo>
                  <a:lnTo>
                    <a:pt x="1074" y="1074"/>
                  </a:lnTo>
                  <a:lnTo>
                    <a:pt x="1008" y="1134"/>
                  </a:lnTo>
                  <a:lnTo>
                    <a:pt x="990" y="1158"/>
                  </a:lnTo>
                  <a:lnTo>
                    <a:pt x="978" y="1182"/>
                  </a:lnTo>
                  <a:lnTo>
                    <a:pt x="960" y="1194"/>
                  </a:lnTo>
                  <a:lnTo>
                    <a:pt x="942" y="1212"/>
                  </a:lnTo>
                  <a:lnTo>
                    <a:pt x="912" y="1242"/>
                  </a:lnTo>
                  <a:lnTo>
                    <a:pt x="888" y="1254"/>
                  </a:lnTo>
                  <a:lnTo>
                    <a:pt x="864" y="1278"/>
                  </a:lnTo>
                  <a:lnTo>
                    <a:pt x="828" y="1296"/>
                  </a:lnTo>
                  <a:lnTo>
                    <a:pt x="774" y="1308"/>
                  </a:lnTo>
                  <a:lnTo>
                    <a:pt x="732" y="1302"/>
                  </a:lnTo>
                  <a:lnTo>
                    <a:pt x="702" y="1284"/>
                  </a:lnTo>
                  <a:lnTo>
                    <a:pt x="684" y="12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1" name="Freeform 16">
              <a:extLst>
                <a:ext uri="{FF2B5EF4-FFF2-40B4-BE49-F238E27FC236}">
                  <a16:creationId xmlns:a16="http://schemas.microsoft.com/office/drawing/2014/main" id="{D8D8591A-D9DB-4301-BEBD-D8F5A26DA9E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3001" y="2929369"/>
              <a:ext cx="914601" cy="1037736"/>
            </a:xfrm>
            <a:custGeom>
              <a:avLst/>
              <a:gdLst>
                <a:gd name="T0" fmla="*/ 144 w 1722"/>
                <a:gd name="T1" fmla="*/ 131 h 1956"/>
                <a:gd name="T2" fmla="*/ 142 w 1722"/>
                <a:gd name="T3" fmla="*/ 139 h 1956"/>
                <a:gd name="T4" fmla="*/ 137 w 1722"/>
                <a:gd name="T5" fmla="*/ 143 h 1956"/>
                <a:gd name="T6" fmla="*/ 133 w 1722"/>
                <a:gd name="T7" fmla="*/ 147 h 1956"/>
                <a:gd name="T8" fmla="*/ 132 w 1722"/>
                <a:gd name="T9" fmla="*/ 152 h 1956"/>
                <a:gd name="T10" fmla="*/ 130 w 1722"/>
                <a:gd name="T11" fmla="*/ 159 h 1956"/>
                <a:gd name="T12" fmla="*/ 127 w 1722"/>
                <a:gd name="T13" fmla="*/ 164 h 1956"/>
                <a:gd name="T14" fmla="*/ 123 w 1722"/>
                <a:gd name="T15" fmla="*/ 168 h 1956"/>
                <a:gd name="T16" fmla="*/ 117 w 1722"/>
                <a:gd name="T17" fmla="*/ 169 h 1956"/>
                <a:gd name="T18" fmla="*/ 110 w 1722"/>
                <a:gd name="T19" fmla="*/ 168 h 1956"/>
                <a:gd name="T20" fmla="*/ 104 w 1722"/>
                <a:gd name="T21" fmla="*/ 166 h 1956"/>
                <a:gd name="T22" fmla="*/ 101 w 1722"/>
                <a:gd name="T23" fmla="*/ 159 h 1956"/>
                <a:gd name="T24" fmla="*/ 95 w 1722"/>
                <a:gd name="T25" fmla="*/ 156 h 1956"/>
                <a:gd name="T26" fmla="*/ 89 w 1722"/>
                <a:gd name="T27" fmla="*/ 151 h 1956"/>
                <a:gd name="T28" fmla="*/ 87 w 1722"/>
                <a:gd name="T29" fmla="*/ 144 h 1956"/>
                <a:gd name="T30" fmla="*/ 82 w 1722"/>
                <a:gd name="T31" fmla="*/ 141 h 1956"/>
                <a:gd name="T32" fmla="*/ 76 w 1722"/>
                <a:gd name="T33" fmla="*/ 134 h 1956"/>
                <a:gd name="T34" fmla="*/ 74 w 1722"/>
                <a:gd name="T35" fmla="*/ 143 h 1956"/>
                <a:gd name="T36" fmla="*/ 68 w 1722"/>
                <a:gd name="T37" fmla="*/ 147 h 1956"/>
                <a:gd name="T38" fmla="*/ 54 w 1722"/>
                <a:gd name="T39" fmla="*/ 144 h 1956"/>
                <a:gd name="T40" fmla="*/ 51 w 1722"/>
                <a:gd name="T41" fmla="*/ 142 h 1956"/>
                <a:gd name="T42" fmla="*/ 42 w 1722"/>
                <a:gd name="T43" fmla="*/ 151 h 1956"/>
                <a:gd name="T44" fmla="*/ 33 w 1722"/>
                <a:gd name="T45" fmla="*/ 154 h 1956"/>
                <a:gd name="T46" fmla="*/ 31 w 1722"/>
                <a:gd name="T47" fmla="*/ 159 h 1956"/>
                <a:gd name="T48" fmla="*/ 29 w 1722"/>
                <a:gd name="T49" fmla="*/ 166 h 1956"/>
                <a:gd name="T50" fmla="*/ 25 w 1722"/>
                <a:gd name="T51" fmla="*/ 169 h 1956"/>
                <a:gd name="T52" fmla="*/ 27 w 1722"/>
                <a:gd name="T53" fmla="*/ 154 h 1956"/>
                <a:gd name="T54" fmla="*/ 37 w 1722"/>
                <a:gd name="T55" fmla="*/ 133 h 1956"/>
                <a:gd name="T56" fmla="*/ 36 w 1722"/>
                <a:gd name="T57" fmla="*/ 109 h 1956"/>
                <a:gd name="T58" fmla="*/ 27 w 1722"/>
                <a:gd name="T59" fmla="*/ 101 h 1956"/>
                <a:gd name="T60" fmla="*/ 5 w 1722"/>
                <a:gd name="T61" fmla="*/ 98 h 1956"/>
                <a:gd name="T62" fmla="*/ 2 w 1722"/>
                <a:gd name="T63" fmla="*/ 93 h 1956"/>
                <a:gd name="T64" fmla="*/ 12 w 1722"/>
                <a:gd name="T65" fmla="*/ 82 h 1956"/>
                <a:gd name="T66" fmla="*/ 9 w 1722"/>
                <a:gd name="T67" fmla="*/ 74 h 1956"/>
                <a:gd name="T68" fmla="*/ 23 w 1722"/>
                <a:gd name="T69" fmla="*/ 72 h 1956"/>
                <a:gd name="T70" fmla="*/ 22 w 1722"/>
                <a:gd name="T71" fmla="*/ 67 h 1956"/>
                <a:gd name="T72" fmla="*/ 48 w 1722"/>
                <a:gd name="T73" fmla="*/ 57 h 1956"/>
                <a:gd name="T74" fmla="*/ 78 w 1722"/>
                <a:gd name="T75" fmla="*/ 34 h 1956"/>
                <a:gd name="T76" fmla="*/ 81 w 1722"/>
                <a:gd name="T77" fmla="*/ 31 h 1956"/>
                <a:gd name="T78" fmla="*/ 80 w 1722"/>
                <a:gd name="T79" fmla="*/ 26 h 1956"/>
                <a:gd name="T80" fmla="*/ 78 w 1722"/>
                <a:gd name="T81" fmla="*/ 21 h 1956"/>
                <a:gd name="T82" fmla="*/ 77 w 1722"/>
                <a:gd name="T83" fmla="*/ 18 h 1956"/>
                <a:gd name="T84" fmla="*/ 77 w 1722"/>
                <a:gd name="T85" fmla="*/ 12 h 1956"/>
                <a:gd name="T86" fmla="*/ 77 w 1722"/>
                <a:gd name="T87" fmla="*/ 7 h 1956"/>
                <a:gd name="T88" fmla="*/ 102 w 1722"/>
                <a:gd name="T89" fmla="*/ 2 h 1956"/>
                <a:gd name="T90" fmla="*/ 115 w 1722"/>
                <a:gd name="T91" fmla="*/ 3 h 1956"/>
                <a:gd name="T92" fmla="*/ 123 w 1722"/>
                <a:gd name="T93" fmla="*/ 3 h 1956"/>
                <a:gd name="T94" fmla="*/ 125 w 1722"/>
                <a:gd name="T95" fmla="*/ 9 h 1956"/>
                <a:gd name="T96" fmla="*/ 133 w 1722"/>
                <a:gd name="T97" fmla="*/ 13 h 1956"/>
                <a:gd name="T98" fmla="*/ 149 w 1722"/>
                <a:gd name="T99" fmla="*/ 37 h 1956"/>
                <a:gd name="T100" fmla="*/ 141 w 1722"/>
                <a:gd name="T101" fmla="*/ 57 h 1956"/>
                <a:gd name="T102" fmla="*/ 135 w 1722"/>
                <a:gd name="T103" fmla="*/ 63 h 1956"/>
                <a:gd name="T104" fmla="*/ 124 w 1722"/>
                <a:gd name="T105" fmla="*/ 77 h 1956"/>
                <a:gd name="T106" fmla="*/ 123 w 1722"/>
                <a:gd name="T107" fmla="*/ 96 h 1956"/>
                <a:gd name="T108" fmla="*/ 127 w 1722"/>
                <a:gd name="T109" fmla="*/ 97 h 1956"/>
                <a:gd name="T110" fmla="*/ 129 w 1722"/>
                <a:gd name="T111" fmla="*/ 92 h 1956"/>
                <a:gd name="T112" fmla="*/ 134 w 1722"/>
                <a:gd name="T113" fmla="*/ 94 h 1956"/>
                <a:gd name="T114" fmla="*/ 138 w 1722"/>
                <a:gd name="T115" fmla="*/ 99 h 1956"/>
                <a:gd name="T116" fmla="*/ 142 w 1722"/>
                <a:gd name="T117" fmla="*/ 104 h 1956"/>
                <a:gd name="T118" fmla="*/ 141 w 1722"/>
                <a:gd name="T119" fmla="*/ 115 h 19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722"/>
                <a:gd name="T181" fmla="*/ 0 h 1956"/>
                <a:gd name="T182" fmla="*/ 1722 w 1722"/>
                <a:gd name="T183" fmla="*/ 1956 h 19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722" h="1956">
                  <a:moveTo>
                    <a:pt x="1686" y="1404"/>
                  </a:moveTo>
                  <a:lnTo>
                    <a:pt x="1680" y="1416"/>
                  </a:lnTo>
                  <a:lnTo>
                    <a:pt x="1674" y="1422"/>
                  </a:lnTo>
                  <a:lnTo>
                    <a:pt x="1674" y="1428"/>
                  </a:lnTo>
                  <a:lnTo>
                    <a:pt x="1668" y="1428"/>
                  </a:lnTo>
                  <a:lnTo>
                    <a:pt x="1668" y="1434"/>
                  </a:lnTo>
                  <a:lnTo>
                    <a:pt x="1662" y="1446"/>
                  </a:lnTo>
                  <a:lnTo>
                    <a:pt x="1656" y="1464"/>
                  </a:lnTo>
                  <a:lnTo>
                    <a:pt x="1656" y="1476"/>
                  </a:lnTo>
                  <a:lnTo>
                    <a:pt x="1656" y="1488"/>
                  </a:lnTo>
                  <a:lnTo>
                    <a:pt x="1662" y="1500"/>
                  </a:lnTo>
                  <a:lnTo>
                    <a:pt x="1662" y="1506"/>
                  </a:lnTo>
                  <a:lnTo>
                    <a:pt x="1662" y="1524"/>
                  </a:lnTo>
                  <a:lnTo>
                    <a:pt x="1668" y="1542"/>
                  </a:lnTo>
                  <a:lnTo>
                    <a:pt x="1674" y="1560"/>
                  </a:lnTo>
                  <a:lnTo>
                    <a:pt x="1680" y="1578"/>
                  </a:lnTo>
                  <a:lnTo>
                    <a:pt x="1686" y="1578"/>
                  </a:lnTo>
                  <a:lnTo>
                    <a:pt x="1686" y="1584"/>
                  </a:lnTo>
                  <a:lnTo>
                    <a:pt x="1686" y="1590"/>
                  </a:lnTo>
                  <a:lnTo>
                    <a:pt x="1686" y="1596"/>
                  </a:lnTo>
                  <a:lnTo>
                    <a:pt x="1680" y="1596"/>
                  </a:lnTo>
                  <a:lnTo>
                    <a:pt x="1674" y="1602"/>
                  </a:lnTo>
                  <a:lnTo>
                    <a:pt x="1662" y="1602"/>
                  </a:lnTo>
                  <a:lnTo>
                    <a:pt x="1638" y="1596"/>
                  </a:lnTo>
                  <a:lnTo>
                    <a:pt x="1632" y="1596"/>
                  </a:lnTo>
                  <a:lnTo>
                    <a:pt x="1626" y="1602"/>
                  </a:lnTo>
                  <a:lnTo>
                    <a:pt x="1620" y="1602"/>
                  </a:lnTo>
                  <a:lnTo>
                    <a:pt x="1614" y="1602"/>
                  </a:lnTo>
                  <a:lnTo>
                    <a:pt x="1602" y="1602"/>
                  </a:lnTo>
                  <a:lnTo>
                    <a:pt x="1602" y="1608"/>
                  </a:lnTo>
                  <a:lnTo>
                    <a:pt x="1602" y="1620"/>
                  </a:lnTo>
                  <a:lnTo>
                    <a:pt x="1596" y="1620"/>
                  </a:lnTo>
                  <a:lnTo>
                    <a:pt x="1590" y="1620"/>
                  </a:lnTo>
                  <a:lnTo>
                    <a:pt x="1584" y="1626"/>
                  </a:lnTo>
                  <a:lnTo>
                    <a:pt x="1584" y="1632"/>
                  </a:lnTo>
                  <a:lnTo>
                    <a:pt x="1578" y="1644"/>
                  </a:lnTo>
                  <a:lnTo>
                    <a:pt x="1572" y="1644"/>
                  </a:lnTo>
                  <a:lnTo>
                    <a:pt x="1566" y="1644"/>
                  </a:lnTo>
                  <a:lnTo>
                    <a:pt x="1566" y="1650"/>
                  </a:lnTo>
                  <a:lnTo>
                    <a:pt x="1560" y="1650"/>
                  </a:lnTo>
                  <a:lnTo>
                    <a:pt x="1554" y="1650"/>
                  </a:lnTo>
                  <a:lnTo>
                    <a:pt x="1548" y="1650"/>
                  </a:lnTo>
                  <a:lnTo>
                    <a:pt x="1548" y="1656"/>
                  </a:lnTo>
                  <a:lnTo>
                    <a:pt x="1542" y="1668"/>
                  </a:lnTo>
                  <a:lnTo>
                    <a:pt x="1542" y="1674"/>
                  </a:lnTo>
                  <a:lnTo>
                    <a:pt x="1542" y="1692"/>
                  </a:lnTo>
                  <a:lnTo>
                    <a:pt x="1536" y="1698"/>
                  </a:lnTo>
                  <a:lnTo>
                    <a:pt x="1530" y="1698"/>
                  </a:lnTo>
                  <a:lnTo>
                    <a:pt x="1524" y="1698"/>
                  </a:lnTo>
                  <a:lnTo>
                    <a:pt x="1518" y="1704"/>
                  </a:lnTo>
                  <a:lnTo>
                    <a:pt x="1512" y="1710"/>
                  </a:lnTo>
                  <a:lnTo>
                    <a:pt x="1506" y="1722"/>
                  </a:lnTo>
                  <a:lnTo>
                    <a:pt x="1500" y="1728"/>
                  </a:lnTo>
                  <a:lnTo>
                    <a:pt x="1500" y="1734"/>
                  </a:lnTo>
                  <a:lnTo>
                    <a:pt x="1512" y="1734"/>
                  </a:lnTo>
                  <a:lnTo>
                    <a:pt x="1518" y="1740"/>
                  </a:lnTo>
                  <a:lnTo>
                    <a:pt x="1518" y="1746"/>
                  </a:lnTo>
                  <a:lnTo>
                    <a:pt x="1518" y="1752"/>
                  </a:lnTo>
                  <a:lnTo>
                    <a:pt x="1518" y="1758"/>
                  </a:lnTo>
                  <a:lnTo>
                    <a:pt x="1524" y="1758"/>
                  </a:lnTo>
                  <a:lnTo>
                    <a:pt x="1524" y="1764"/>
                  </a:lnTo>
                  <a:lnTo>
                    <a:pt x="1530" y="1770"/>
                  </a:lnTo>
                  <a:lnTo>
                    <a:pt x="1518" y="1770"/>
                  </a:lnTo>
                  <a:lnTo>
                    <a:pt x="1512" y="1782"/>
                  </a:lnTo>
                  <a:lnTo>
                    <a:pt x="1512" y="1788"/>
                  </a:lnTo>
                  <a:lnTo>
                    <a:pt x="1518" y="1788"/>
                  </a:lnTo>
                  <a:lnTo>
                    <a:pt x="1524" y="1800"/>
                  </a:lnTo>
                  <a:lnTo>
                    <a:pt x="1524" y="1806"/>
                  </a:lnTo>
                  <a:lnTo>
                    <a:pt x="1518" y="1812"/>
                  </a:lnTo>
                  <a:lnTo>
                    <a:pt x="1512" y="1818"/>
                  </a:lnTo>
                  <a:lnTo>
                    <a:pt x="1506" y="1818"/>
                  </a:lnTo>
                  <a:lnTo>
                    <a:pt x="1500" y="1824"/>
                  </a:lnTo>
                  <a:lnTo>
                    <a:pt x="1500" y="1836"/>
                  </a:lnTo>
                  <a:lnTo>
                    <a:pt x="1500" y="1842"/>
                  </a:lnTo>
                  <a:lnTo>
                    <a:pt x="1500" y="1848"/>
                  </a:lnTo>
                  <a:lnTo>
                    <a:pt x="1500" y="1854"/>
                  </a:lnTo>
                  <a:lnTo>
                    <a:pt x="1494" y="1860"/>
                  </a:lnTo>
                  <a:lnTo>
                    <a:pt x="1488" y="1860"/>
                  </a:lnTo>
                  <a:lnTo>
                    <a:pt x="1488" y="1866"/>
                  </a:lnTo>
                  <a:lnTo>
                    <a:pt x="1482" y="1872"/>
                  </a:lnTo>
                  <a:lnTo>
                    <a:pt x="1482" y="1878"/>
                  </a:lnTo>
                  <a:lnTo>
                    <a:pt x="1482" y="1884"/>
                  </a:lnTo>
                  <a:lnTo>
                    <a:pt x="1476" y="1890"/>
                  </a:lnTo>
                  <a:lnTo>
                    <a:pt x="1470" y="1890"/>
                  </a:lnTo>
                  <a:lnTo>
                    <a:pt x="1470" y="1896"/>
                  </a:lnTo>
                  <a:lnTo>
                    <a:pt x="1464" y="1896"/>
                  </a:lnTo>
                  <a:lnTo>
                    <a:pt x="1458" y="1896"/>
                  </a:lnTo>
                  <a:lnTo>
                    <a:pt x="1452" y="1896"/>
                  </a:lnTo>
                  <a:lnTo>
                    <a:pt x="1440" y="1890"/>
                  </a:lnTo>
                  <a:lnTo>
                    <a:pt x="1434" y="1896"/>
                  </a:lnTo>
                  <a:lnTo>
                    <a:pt x="1428" y="1896"/>
                  </a:lnTo>
                  <a:lnTo>
                    <a:pt x="1422" y="1896"/>
                  </a:lnTo>
                  <a:lnTo>
                    <a:pt x="1422" y="1902"/>
                  </a:lnTo>
                  <a:lnTo>
                    <a:pt x="1416" y="1902"/>
                  </a:lnTo>
                  <a:lnTo>
                    <a:pt x="1422" y="1914"/>
                  </a:lnTo>
                  <a:lnTo>
                    <a:pt x="1422" y="1932"/>
                  </a:lnTo>
                  <a:lnTo>
                    <a:pt x="1416" y="1938"/>
                  </a:lnTo>
                  <a:lnTo>
                    <a:pt x="1422" y="1938"/>
                  </a:lnTo>
                  <a:lnTo>
                    <a:pt x="1404" y="1938"/>
                  </a:lnTo>
                  <a:lnTo>
                    <a:pt x="1392" y="1944"/>
                  </a:lnTo>
                  <a:lnTo>
                    <a:pt x="1386" y="1944"/>
                  </a:lnTo>
                  <a:lnTo>
                    <a:pt x="1374" y="1944"/>
                  </a:lnTo>
                  <a:lnTo>
                    <a:pt x="1368" y="1950"/>
                  </a:lnTo>
                  <a:lnTo>
                    <a:pt x="1374" y="1956"/>
                  </a:lnTo>
                  <a:lnTo>
                    <a:pt x="1368" y="1956"/>
                  </a:lnTo>
                  <a:lnTo>
                    <a:pt x="1356" y="1956"/>
                  </a:lnTo>
                  <a:lnTo>
                    <a:pt x="1350" y="1956"/>
                  </a:lnTo>
                  <a:lnTo>
                    <a:pt x="1350" y="1950"/>
                  </a:lnTo>
                  <a:lnTo>
                    <a:pt x="1344" y="1944"/>
                  </a:lnTo>
                  <a:lnTo>
                    <a:pt x="1332" y="1938"/>
                  </a:lnTo>
                  <a:lnTo>
                    <a:pt x="1326" y="1938"/>
                  </a:lnTo>
                  <a:lnTo>
                    <a:pt x="1320" y="1938"/>
                  </a:lnTo>
                  <a:lnTo>
                    <a:pt x="1314" y="1944"/>
                  </a:lnTo>
                  <a:lnTo>
                    <a:pt x="1308" y="1944"/>
                  </a:lnTo>
                  <a:lnTo>
                    <a:pt x="1302" y="1944"/>
                  </a:lnTo>
                  <a:lnTo>
                    <a:pt x="1296" y="1938"/>
                  </a:lnTo>
                  <a:lnTo>
                    <a:pt x="1284" y="1938"/>
                  </a:lnTo>
                  <a:lnTo>
                    <a:pt x="1278" y="1938"/>
                  </a:lnTo>
                  <a:lnTo>
                    <a:pt x="1272" y="1938"/>
                  </a:lnTo>
                  <a:lnTo>
                    <a:pt x="1266" y="1932"/>
                  </a:lnTo>
                  <a:lnTo>
                    <a:pt x="1260" y="1932"/>
                  </a:lnTo>
                  <a:lnTo>
                    <a:pt x="1254" y="1920"/>
                  </a:lnTo>
                  <a:lnTo>
                    <a:pt x="1248" y="1920"/>
                  </a:lnTo>
                  <a:lnTo>
                    <a:pt x="1242" y="1920"/>
                  </a:lnTo>
                  <a:lnTo>
                    <a:pt x="1236" y="1926"/>
                  </a:lnTo>
                  <a:lnTo>
                    <a:pt x="1236" y="1932"/>
                  </a:lnTo>
                  <a:lnTo>
                    <a:pt x="1230" y="1932"/>
                  </a:lnTo>
                  <a:lnTo>
                    <a:pt x="1224" y="1932"/>
                  </a:lnTo>
                  <a:lnTo>
                    <a:pt x="1218" y="1938"/>
                  </a:lnTo>
                  <a:lnTo>
                    <a:pt x="1212" y="1932"/>
                  </a:lnTo>
                  <a:lnTo>
                    <a:pt x="1206" y="1926"/>
                  </a:lnTo>
                  <a:lnTo>
                    <a:pt x="1206" y="1908"/>
                  </a:lnTo>
                  <a:lnTo>
                    <a:pt x="1206" y="1884"/>
                  </a:lnTo>
                  <a:lnTo>
                    <a:pt x="1206" y="1866"/>
                  </a:lnTo>
                  <a:lnTo>
                    <a:pt x="1212" y="1848"/>
                  </a:lnTo>
                  <a:lnTo>
                    <a:pt x="1212" y="1842"/>
                  </a:lnTo>
                  <a:lnTo>
                    <a:pt x="1206" y="1836"/>
                  </a:lnTo>
                  <a:lnTo>
                    <a:pt x="1200" y="1830"/>
                  </a:lnTo>
                  <a:lnTo>
                    <a:pt x="1194" y="1824"/>
                  </a:lnTo>
                  <a:lnTo>
                    <a:pt x="1188" y="1824"/>
                  </a:lnTo>
                  <a:lnTo>
                    <a:pt x="1182" y="1824"/>
                  </a:lnTo>
                  <a:lnTo>
                    <a:pt x="1176" y="1824"/>
                  </a:lnTo>
                  <a:lnTo>
                    <a:pt x="1170" y="1818"/>
                  </a:lnTo>
                  <a:lnTo>
                    <a:pt x="1164" y="1830"/>
                  </a:lnTo>
                  <a:lnTo>
                    <a:pt x="1152" y="1836"/>
                  </a:lnTo>
                  <a:lnTo>
                    <a:pt x="1146" y="1842"/>
                  </a:lnTo>
                  <a:lnTo>
                    <a:pt x="1140" y="1842"/>
                  </a:lnTo>
                  <a:lnTo>
                    <a:pt x="1134" y="1842"/>
                  </a:lnTo>
                  <a:lnTo>
                    <a:pt x="1128" y="1842"/>
                  </a:lnTo>
                  <a:lnTo>
                    <a:pt x="1116" y="1836"/>
                  </a:lnTo>
                  <a:lnTo>
                    <a:pt x="1110" y="1842"/>
                  </a:lnTo>
                  <a:lnTo>
                    <a:pt x="1092" y="1830"/>
                  </a:lnTo>
                  <a:lnTo>
                    <a:pt x="1092" y="1824"/>
                  </a:lnTo>
                  <a:lnTo>
                    <a:pt x="1092" y="1806"/>
                  </a:lnTo>
                  <a:lnTo>
                    <a:pt x="1092" y="1800"/>
                  </a:lnTo>
                  <a:lnTo>
                    <a:pt x="1092" y="1794"/>
                  </a:lnTo>
                  <a:lnTo>
                    <a:pt x="1086" y="1788"/>
                  </a:lnTo>
                  <a:lnTo>
                    <a:pt x="1080" y="1794"/>
                  </a:lnTo>
                  <a:lnTo>
                    <a:pt x="1074" y="1788"/>
                  </a:lnTo>
                  <a:lnTo>
                    <a:pt x="1068" y="1770"/>
                  </a:lnTo>
                  <a:lnTo>
                    <a:pt x="1056" y="1764"/>
                  </a:lnTo>
                  <a:lnTo>
                    <a:pt x="1050" y="1764"/>
                  </a:lnTo>
                  <a:lnTo>
                    <a:pt x="1044" y="1764"/>
                  </a:lnTo>
                  <a:lnTo>
                    <a:pt x="1038" y="1758"/>
                  </a:lnTo>
                  <a:lnTo>
                    <a:pt x="1032" y="1752"/>
                  </a:lnTo>
                  <a:lnTo>
                    <a:pt x="1032" y="1746"/>
                  </a:lnTo>
                  <a:lnTo>
                    <a:pt x="1032" y="1740"/>
                  </a:lnTo>
                  <a:lnTo>
                    <a:pt x="1032" y="1734"/>
                  </a:lnTo>
                  <a:lnTo>
                    <a:pt x="1026" y="1734"/>
                  </a:lnTo>
                  <a:lnTo>
                    <a:pt x="1032" y="1728"/>
                  </a:lnTo>
                  <a:lnTo>
                    <a:pt x="1032" y="1722"/>
                  </a:lnTo>
                  <a:lnTo>
                    <a:pt x="1044" y="1686"/>
                  </a:lnTo>
                  <a:lnTo>
                    <a:pt x="1044" y="1680"/>
                  </a:lnTo>
                  <a:lnTo>
                    <a:pt x="1032" y="1674"/>
                  </a:lnTo>
                  <a:lnTo>
                    <a:pt x="1026" y="1674"/>
                  </a:lnTo>
                  <a:lnTo>
                    <a:pt x="1026" y="1668"/>
                  </a:lnTo>
                  <a:lnTo>
                    <a:pt x="1020" y="1662"/>
                  </a:lnTo>
                  <a:lnTo>
                    <a:pt x="1014" y="1668"/>
                  </a:lnTo>
                  <a:lnTo>
                    <a:pt x="1008" y="1662"/>
                  </a:lnTo>
                  <a:lnTo>
                    <a:pt x="1002" y="1662"/>
                  </a:lnTo>
                  <a:lnTo>
                    <a:pt x="1002" y="1668"/>
                  </a:lnTo>
                  <a:lnTo>
                    <a:pt x="996" y="1668"/>
                  </a:lnTo>
                  <a:lnTo>
                    <a:pt x="996" y="1662"/>
                  </a:lnTo>
                  <a:lnTo>
                    <a:pt x="984" y="1662"/>
                  </a:lnTo>
                  <a:lnTo>
                    <a:pt x="984" y="1656"/>
                  </a:lnTo>
                  <a:lnTo>
                    <a:pt x="978" y="1650"/>
                  </a:lnTo>
                  <a:lnTo>
                    <a:pt x="978" y="1644"/>
                  </a:lnTo>
                  <a:lnTo>
                    <a:pt x="966" y="1650"/>
                  </a:lnTo>
                  <a:lnTo>
                    <a:pt x="960" y="1638"/>
                  </a:lnTo>
                  <a:lnTo>
                    <a:pt x="954" y="1632"/>
                  </a:lnTo>
                  <a:lnTo>
                    <a:pt x="948" y="1632"/>
                  </a:lnTo>
                  <a:lnTo>
                    <a:pt x="942" y="1626"/>
                  </a:lnTo>
                  <a:lnTo>
                    <a:pt x="942" y="1614"/>
                  </a:lnTo>
                  <a:lnTo>
                    <a:pt x="930" y="1608"/>
                  </a:lnTo>
                  <a:lnTo>
                    <a:pt x="924" y="1614"/>
                  </a:lnTo>
                  <a:lnTo>
                    <a:pt x="912" y="1608"/>
                  </a:lnTo>
                  <a:lnTo>
                    <a:pt x="888" y="1590"/>
                  </a:lnTo>
                  <a:lnTo>
                    <a:pt x="894" y="1578"/>
                  </a:lnTo>
                  <a:lnTo>
                    <a:pt x="894" y="1572"/>
                  </a:lnTo>
                  <a:lnTo>
                    <a:pt x="894" y="1566"/>
                  </a:lnTo>
                  <a:lnTo>
                    <a:pt x="894" y="1548"/>
                  </a:lnTo>
                  <a:lnTo>
                    <a:pt x="888" y="1548"/>
                  </a:lnTo>
                  <a:lnTo>
                    <a:pt x="882" y="1542"/>
                  </a:lnTo>
                  <a:lnTo>
                    <a:pt x="876" y="1542"/>
                  </a:lnTo>
                  <a:lnTo>
                    <a:pt x="876" y="1536"/>
                  </a:lnTo>
                  <a:lnTo>
                    <a:pt x="870" y="1542"/>
                  </a:lnTo>
                  <a:lnTo>
                    <a:pt x="870" y="1554"/>
                  </a:lnTo>
                  <a:lnTo>
                    <a:pt x="870" y="1566"/>
                  </a:lnTo>
                  <a:lnTo>
                    <a:pt x="870" y="1578"/>
                  </a:lnTo>
                  <a:lnTo>
                    <a:pt x="870" y="1584"/>
                  </a:lnTo>
                  <a:lnTo>
                    <a:pt x="864" y="1584"/>
                  </a:lnTo>
                  <a:lnTo>
                    <a:pt x="870" y="1602"/>
                  </a:lnTo>
                  <a:lnTo>
                    <a:pt x="864" y="1608"/>
                  </a:lnTo>
                  <a:lnTo>
                    <a:pt x="870" y="1614"/>
                  </a:lnTo>
                  <a:lnTo>
                    <a:pt x="864" y="1644"/>
                  </a:lnTo>
                  <a:lnTo>
                    <a:pt x="858" y="1650"/>
                  </a:lnTo>
                  <a:lnTo>
                    <a:pt x="858" y="1656"/>
                  </a:lnTo>
                  <a:lnTo>
                    <a:pt x="852" y="1662"/>
                  </a:lnTo>
                  <a:lnTo>
                    <a:pt x="852" y="1680"/>
                  </a:lnTo>
                  <a:lnTo>
                    <a:pt x="846" y="1686"/>
                  </a:lnTo>
                  <a:lnTo>
                    <a:pt x="834" y="1692"/>
                  </a:lnTo>
                  <a:lnTo>
                    <a:pt x="828" y="1692"/>
                  </a:lnTo>
                  <a:lnTo>
                    <a:pt x="822" y="1698"/>
                  </a:lnTo>
                  <a:lnTo>
                    <a:pt x="822" y="1704"/>
                  </a:lnTo>
                  <a:lnTo>
                    <a:pt x="816" y="1704"/>
                  </a:lnTo>
                  <a:lnTo>
                    <a:pt x="804" y="1692"/>
                  </a:lnTo>
                  <a:lnTo>
                    <a:pt x="786" y="1698"/>
                  </a:lnTo>
                  <a:lnTo>
                    <a:pt x="780" y="1698"/>
                  </a:lnTo>
                  <a:lnTo>
                    <a:pt x="756" y="1698"/>
                  </a:lnTo>
                  <a:lnTo>
                    <a:pt x="744" y="1698"/>
                  </a:lnTo>
                  <a:lnTo>
                    <a:pt x="738" y="1698"/>
                  </a:lnTo>
                  <a:lnTo>
                    <a:pt x="732" y="1704"/>
                  </a:lnTo>
                  <a:lnTo>
                    <a:pt x="726" y="1704"/>
                  </a:lnTo>
                  <a:lnTo>
                    <a:pt x="678" y="1710"/>
                  </a:lnTo>
                  <a:lnTo>
                    <a:pt x="642" y="1710"/>
                  </a:lnTo>
                  <a:lnTo>
                    <a:pt x="618" y="1680"/>
                  </a:lnTo>
                  <a:lnTo>
                    <a:pt x="618" y="1674"/>
                  </a:lnTo>
                  <a:lnTo>
                    <a:pt x="618" y="1668"/>
                  </a:lnTo>
                  <a:lnTo>
                    <a:pt x="624" y="1662"/>
                  </a:lnTo>
                  <a:lnTo>
                    <a:pt x="624" y="1656"/>
                  </a:lnTo>
                  <a:lnTo>
                    <a:pt x="624" y="1650"/>
                  </a:lnTo>
                  <a:lnTo>
                    <a:pt x="618" y="1650"/>
                  </a:lnTo>
                  <a:lnTo>
                    <a:pt x="618" y="1644"/>
                  </a:lnTo>
                  <a:lnTo>
                    <a:pt x="618" y="1638"/>
                  </a:lnTo>
                  <a:lnTo>
                    <a:pt x="618" y="1632"/>
                  </a:lnTo>
                  <a:lnTo>
                    <a:pt x="618" y="1626"/>
                  </a:lnTo>
                  <a:lnTo>
                    <a:pt x="612" y="1626"/>
                  </a:lnTo>
                  <a:lnTo>
                    <a:pt x="612" y="1620"/>
                  </a:lnTo>
                  <a:lnTo>
                    <a:pt x="606" y="1614"/>
                  </a:lnTo>
                  <a:lnTo>
                    <a:pt x="594" y="1626"/>
                  </a:lnTo>
                  <a:lnTo>
                    <a:pt x="594" y="1632"/>
                  </a:lnTo>
                  <a:lnTo>
                    <a:pt x="588" y="1638"/>
                  </a:lnTo>
                  <a:lnTo>
                    <a:pt x="582" y="1638"/>
                  </a:lnTo>
                  <a:lnTo>
                    <a:pt x="564" y="1656"/>
                  </a:lnTo>
                  <a:lnTo>
                    <a:pt x="558" y="1662"/>
                  </a:lnTo>
                  <a:lnTo>
                    <a:pt x="552" y="1662"/>
                  </a:lnTo>
                  <a:lnTo>
                    <a:pt x="540" y="1674"/>
                  </a:lnTo>
                  <a:lnTo>
                    <a:pt x="534" y="1680"/>
                  </a:lnTo>
                  <a:lnTo>
                    <a:pt x="522" y="1692"/>
                  </a:lnTo>
                  <a:lnTo>
                    <a:pt x="516" y="1704"/>
                  </a:lnTo>
                  <a:lnTo>
                    <a:pt x="510" y="1704"/>
                  </a:lnTo>
                  <a:lnTo>
                    <a:pt x="504" y="1704"/>
                  </a:lnTo>
                  <a:lnTo>
                    <a:pt x="486" y="1722"/>
                  </a:lnTo>
                  <a:lnTo>
                    <a:pt x="480" y="1740"/>
                  </a:lnTo>
                  <a:lnTo>
                    <a:pt x="474" y="1740"/>
                  </a:lnTo>
                  <a:lnTo>
                    <a:pt x="468" y="1746"/>
                  </a:lnTo>
                  <a:lnTo>
                    <a:pt x="456" y="1758"/>
                  </a:lnTo>
                  <a:lnTo>
                    <a:pt x="444" y="1770"/>
                  </a:lnTo>
                  <a:lnTo>
                    <a:pt x="438" y="1782"/>
                  </a:lnTo>
                  <a:lnTo>
                    <a:pt x="426" y="1788"/>
                  </a:lnTo>
                  <a:lnTo>
                    <a:pt x="420" y="1788"/>
                  </a:lnTo>
                  <a:lnTo>
                    <a:pt x="420" y="1782"/>
                  </a:lnTo>
                  <a:lnTo>
                    <a:pt x="414" y="1782"/>
                  </a:lnTo>
                  <a:lnTo>
                    <a:pt x="390" y="1782"/>
                  </a:lnTo>
                  <a:lnTo>
                    <a:pt x="390" y="1776"/>
                  </a:lnTo>
                  <a:lnTo>
                    <a:pt x="384" y="1776"/>
                  </a:lnTo>
                  <a:lnTo>
                    <a:pt x="378" y="1776"/>
                  </a:lnTo>
                  <a:lnTo>
                    <a:pt x="372" y="1776"/>
                  </a:lnTo>
                  <a:lnTo>
                    <a:pt x="366" y="1770"/>
                  </a:lnTo>
                  <a:lnTo>
                    <a:pt x="366" y="1776"/>
                  </a:lnTo>
                  <a:lnTo>
                    <a:pt x="360" y="1788"/>
                  </a:lnTo>
                  <a:lnTo>
                    <a:pt x="360" y="1794"/>
                  </a:lnTo>
                  <a:lnTo>
                    <a:pt x="360" y="1800"/>
                  </a:lnTo>
                  <a:lnTo>
                    <a:pt x="354" y="1806"/>
                  </a:lnTo>
                  <a:lnTo>
                    <a:pt x="354" y="1812"/>
                  </a:lnTo>
                  <a:lnTo>
                    <a:pt x="354" y="1824"/>
                  </a:lnTo>
                  <a:lnTo>
                    <a:pt x="348" y="1830"/>
                  </a:lnTo>
                  <a:lnTo>
                    <a:pt x="354" y="1836"/>
                  </a:lnTo>
                  <a:lnTo>
                    <a:pt x="348" y="1842"/>
                  </a:lnTo>
                  <a:lnTo>
                    <a:pt x="354" y="1848"/>
                  </a:lnTo>
                  <a:lnTo>
                    <a:pt x="348" y="1854"/>
                  </a:lnTo>
                  <a:lnTo>
                    <a:pt x="354" y="1854"/>
                  </a:lnTo>
                  <a:lnTo>
                    <a:pt x="348" y="1860"/>
                  </a:lnTo>
                  <a:lnTo>
                    <a:pt x="348" y="1866"/>
                  </a:lnTo>
                  <a:lnTo>
                    <a:pt x="342" y="1866"/>
                  </a:lnTo>
                  <a:lnTo>
                    <a:pt x="342" y="1872"/>
                  </a:lnTo>
                  <a:lnTo>
                    <a:pt x="342" y="1878"/>
                  </a:lnTo>
                  <a:lnTo>
                    <a:pt x="342" y="1884"/>
                  </a:lnTo>
                  <a:lnTo>
                    <a:pt x="336" y="1896"/>
                  </a:lnTo>
                  <a:lnTo>
                    <a:pt x="330" y="1914"/>
                  </a:lnTo>
                  <a:lnTo>
                    <a:pt x="324" y="1920"/>
                  </a:lnTo>
                  <a:lnTo>
                    <a:pt x="324" y="1926"/>
                  </a:lnTo>
                  <a:lnTo>
                    <a:pt x="318" y="1944"/>
                  </a:lnTo>
                  <a:lnTo>
                    <a:pt x="318" y="1950"/>
                  </a:lnTo>
                  <a:lnTo>
                    <a:pt x="312" y="1956"/>
                  </a:lnTo>
                  <a:lnTo>
                    <a:pt x="312" y="1950"/>
                  </a:lnTo>
                  <a:lnTo>
                    <a:pt x="306" y="1950"/>
                  </a:lnTo>
                  <a:lnTo>
                    <a:pt x="306" y="1956"/>
                  </a:lnTo>
                  <a:lnTo>
                    <a:pt x="300" y="1950"/>
                  </a:lnTo>
                  <a:lnTo>
                    <a:pt x="294" y="1956"/>
                  </a:lnTo>
                  <a:lnTo>
                    <a:pt x="288" y="1950"/>
                  </a:lnTo>
                  <a:lnTo>
                    <a:pt x="288" y="1944"/>
                  </a:lnTo>
                  <a:lnTo>
                    <a:pt x="282" y="1938"/>
                  </a:lnTo>
                  <a:lnTo>
                    <a:pt x="282" y="1932"/>
                  </a:lnTo>
                  <a:lnTo>
                    <a:pt x="282" y="1890"/>
                  </a:lnTo>
                  <a:lnTo>
                    <a:pt x="288" y="1860"/>
                  </a:lnTo>
                  <a:lnTo>
                    <a:pt x="294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300" y="1818"/>
                  </a:lnTo>
                  <a:lnTo>
                    <a:pt x="306" y="1794"/>
                  </a:lnTo>
                  <a:lnTo>
                    <a:pt x="306" y="1788"/>
                  </a:lnTo>
                  <a:lnTo>
                    <a:pt x="306" y="1782"/>
                  </a:lnTo>
                  <a:lnTo>
                    <a:pt x="312" y="1776"/>
                  </a:lnTo>
                  <a:lnTo>
                    <a:pt x="306" y="1776"/>
                  </a:lnTo>
                  <a:lnTo>
                    <a:pt x="312" y="1770"/>
                  </a:lnTo>
                  <a:lnTo>
                    <a:pt x="312" y="1740"/>
                  </a:lnTo>
                  <a:lnTo>
                    <a:pt x="318" y="1722"/>
                  </a:lnTo>
                  <a:lnTo>
                    <a:pt x="312" y="1722"/>
                  </a:lnTo>
                  <a:lnTo>
                    <a:pt x="300" y="1716"/>
                  </a:lnTo>
                  <a:lnTo>
                    <a:pt x="306" y="1716"/>
                  </a:lnTo>
                  <a:lnTo>
                    <a:pt x="312" y="1710"/>
                  </a:lnTo>
                  <a:lnTo>
                    <a:pt x="324" y="1674"/>
                  </a:lnTo>
                  <a:lnTo>
                    <a:pt x="366" y="1590"/>
                  </a:lnTo>
                  <a:lnTo>
                    <a:pt x="408" y="1548"/>
                  </a:lnTo>
                  <a:lnTo>
                    <a:pt x="426" y="1530"/>
                  </a:lnTo>
                  <a:lnTo>
                    <a:pt x="432" y="1500"/>
                  </a:lnTo>
                  <a:lnTo>
                    <a:pt x="426" y="1494"/>
                  </a:lnTo>
                  <a:lnTo>
                    <a:pt x="426" y="1482"/>
                  </a:lnTo>
                  <a:lnTo>
                    <a:pt x="432" y="1464"/>
                  </a:lnTo>
                  <a:lnTo>
                    <a:pt x="438" y="1428"/>
                  </a:lnTo>
                  <a:lnTo>
                    <a:pt x="462" y="1398"/>
                  </a:lnTo>
                  <a:lnTo>
                    <a:pt x="468" y="1362"/>
                  </a:lnTo>
                  <a:lnTo>
                    <a:pt x="462" y="1314"/>
                  </a:lnTo>
                  <a:lnTo>
                    <a:pt x="444" y="1284"/>
                  </a:lnTo>
                  <a:lnTo>
                    <a:pt x="432" y="1260"/>
                  </a:lnTo>
                  <a:lnTo>
                    <a:pt x="426" y="1260"/>
                  </a:lnTo>
                  <a:lnTo>
                    <a:pt x="420" y="1254"/>
                  </a:lnTo>
                  <a:lnTo>
                    <a:pt x="408" y="1260"/>
                  </a:lnTo>
                  <a:lnTo>
                    <a:pt x="402" y="1260"/>
                  </a:lnTo>
                  <a:lnTo>
                    <a:pt x="402" y="1254"/>
                  </a:lnTo>
                  <a:lnTo>
                    <a:pt x="396" y="1254"/>
                  </a:lnTo>
                  <a:lnTo>
                    <a:pt x="396" y="1248"/>
                  </a:lnTo>
                  <a:lnTo>
                    <a:pt x="384" y="1248"/>
                  </a:lnTo>
                  <a:lnTo>
                    <a:pt x="372" y="1230"/>
                  </a:lnTo>
                  <a:lnTo>
                    <a:pt x="360" y="1212"/>
                  </a:lnTo>
                  <a:lnTo>
                    <a:pt x="348" y="1188"/>
                  </a:lnTo>
                  <a:lnTo>
                    <a:pt x="324" y="1170"/>
                  </a:lnTo>
                  <a:lnTo>
                    <a:pt x="318" y="1170"/>
                  </a:lnTo>
                  <a:lnTo>
                    <a:pt x="312" y="1158"/>
                  </a:lnTo>
                  <a:lnTo>
                    <a:pt x="312" y="1152"/>
                  </a:lnTo>
                  <a:lnTo>
                    <a:pt x="306" y="1146"/>
                  </a:lnTo>
                  <a:lnTo>
                    <a:pt x="270" y="1122"/>
                  </a:lnTo>
                  <a:lnTo>
                    <a:pt x="240" y="1122"/>
                  </a:lnTo>
                  <a:lnTo>
                    <a:pt x="180" y="1116"/>
                  </a:lnTo>
                  <a:lnTo>
                    <a:pt x="174" y="1122"/>
                  </a:lnTo>
                  <a:lnTo>
                    <a:pt x="174" y="1128"/>
                  </a:lnTo>
                  <a:lnTo>
                    <a:pt x="168" y="1122"/>
                  </a:lnTo>
                  <a:lnTo>
                    <a:pt x="162" y="1116"/>
                  </a:lnTo>
                  <a:lnTo>
                    <a:pt x="144" y="1122"/>
                  </a:lnTo>
                  <a:lnTo>
                    <a:pt x="120" y="1122"/>
                  </a:lnTo>
                  <a:lnTo>
                    <a:pt x="54" y="1134"/>
                  </a:lnTo>
                  <a:lnTo>
                    <a:pt x="24" y="1152"/>
                  </a:lnTo>
                  <a:lnTo>
                    <a:pt x="6" y="1146"/>
                  </a:lnTo>
                  <a:lnTo>
                    <a:pt x="0" y="1134"/>
                  </a:lnTo>
                  <a:lnTo>
                    <a:pt x="0" y="1128"/>
                  </a:lnTo>
                  <a:lnTo>
                    <a:pt x="18" y="1110"/>
                  </a:lnTo>
                  <a:lnTo>
                    <a:pt x="24" y="1104"/>
                  </a:lnTo>
                  <a:lnTo>
                    <a:pt x="24" y="1098"/>
                  </a:lnTo>
                  <a:lnTo>
                    <a:pt x="30" y="1086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24" y="1074"/>
                  </a:lnTo>
                  <a:lnTo>
                    <a:pt x="18" y="1068"/>
                  </a:lnTo>
                  <a:lnTo>
                    <a:pt x="24" y="1062"/>
                  </a:lnTo>
                  <a:lnTo>
                    <a:pt x="42" y="1056"/>
                  </a:lnTo>
                  <a:lnTo>
                    <a:pt x="54" y="1050"/>
                  </a:lnTo>
                  <a:lnTo>
                    <a:pt x="72" y="1044"/>
                  </a:lnTo>
                  <a:lnTo>
                    <a:pt x="96" y="1032"/>
                  </a:lnTo>
                  <a:lnTo>
                    <a:pt x="102" y="1032"/>
                  </a:lnTo>
                  <a:lnTo>
                    <a:pt x="126" y="1008"/>
                  </a:lnTo>
                  <a:lnTo>
                    <a:pt x="144" y="990"/>
                  </a:lnTo>
                  <a:lnTo>
                    <a:pt x="156" y="978"/>
                  </a:lnTo>
                  <a:lnTo>
                    <a:pt x="156" y="966"/>
                  </a:lnTo>
                  <a:lnTo>
                    <a:pt x="150" y="960"/>
                  </a:lnTo>
                  <a:lnTo>
                    <a:pt x="144" y="948"/>
                  </a:lnTo>
                  <a:lnTo>
                    <a:pt x="144" y="936"/>
                  </a:lnTo>
                  <a:lnTo>
                    <a:pt x="138" y="918"/>
                  </a:lnTo>
                  <a:lnTo>
                    <a:pt x="150" y="912"/>
                  </a:lnTo>
                  <a:lnTo>
                    <a:pt x="150" y="894"/>
                  </a:lnTo>
                  <a:lnTo>
                    <a:pt x="132" y="876"/>
                  </a:lnTo>
                  <a:lnTo>
                    <a:pt x="126" y="876"/>
                  </a:lnTo>
                  <a:lnTo>
                    <a:pt x="120" y="870"/>
                  </a:lnTo>
                  <a:lnTo>
                    <a:pt x="120" y="864"/>
                  </a:lnTo>
                  <a:lnTo>
                    <a:pt x="114" y="864"/>
                  </a:lnTo>
                  <a:lnTo>
                    <a:pt x="108" y="864"/>
                  </a:lnTo>
                  <a:lnTo>
                    <a:pt x="108" y="858"/>
                  </a:lnTo>
                  <a:lnTo>
                    <a:pt x="102" y="852"/>
                  </a:lnTo>
                  <a:lnTo>
                    <a:pt x="96" y="852"/>
                  </a:lnTo>
                  <a:lnTo>
                    <a:pt x="102" y="834"/>
                  </a:lnTo>
                  <a:lnTo>
                    <a:pt x="108" y="816"/>
                  </a:lnTo>
                  <a:lnTo>
                    <a:pt x="114" y="804"/>
                  </a:lnTo>
                  <a:lnTo>
                    <a:pt x="132" y="798"/>
                  </a:lnTo>
                  <a:lnTo>
                    <a:pt x="144" y="798"/>
                  </a:lnTo>
                  <a:lnTo>
                    <a:pt x="180" y="810"/>
                  </a:lnTo>
                  <a:lnTo>
                    <a:pt x="192" y="816"/>
                  </a:lnTo>
                  <a:lnTo>
                    <a:pt x="234" y="822"/>
                  </a:lnTo>
                  <a:lnTo>
                    <a:pt x="264" y="828"/>
                  </a:lnTo>
                  <a:lnTo>
                    <a:pt x="270" y="840"/>
                  </a:lnTo>
                  <a:lnTo>
                    <a:pt x="270" y="834"/>
                  </a:lnTo>
                  <a:lnTo>
                    <a:pt x="270" y="828"/>
                  </a:lnTo>
                  <a:lnTo>
                    <a:pt x="270" y="822"/>
                  </a:lnTo>
                  <a:lnTo>
                    <a:pt x="270" y="816"/>
                  </a:lnTo>
                  <a:lnTo>
                    <a:pt x="264" y="810"/>
                  </a:lnTo>
                  <a:lnTo>
                    <a:pt x="264" y="804"/>
                  </a:lnTo>
                  <a:lnTo>
                    <a:pt x="264" y="798"/>
                  </a:lnTo>
                  <a:lnTo>
                    <a:pt x="258" y="792"/>
                  </a:lnTo>
                  <a:lnTo>
                    <a:pt x="258" y="786"/>
                  </a:lnTo>
                  <a:lnTo>
                    <a:pt x="264" y="786"/>
                  </a:lnTo>
                  <a:lnTo>
                    <a:pt x="264" y="780"/>
                  </a:lnTo>
                  <a:lnTo>
                    <a:pt x="258" y="774"/>
                  </a:lnTo>
                  <a:lnTo>
                    <a:pt x="258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82" y="762"/>
                  </a:lnTo>
                  <a:lnTo>
                    <a:pt x="312" y="780"/>
                  </a:lnTo>
                  <a:lnTo>
                    <a:pt x="354" y="786"/>
                  </a:lnTo>
                  <a:lnTo>
                    <a:pt x="408" y="774"/>
                  </a:lnTo>
                  <a:lnTo>
                    <a:pt x="444" y="756"/>
                  </a:lnTo>
                  <a:lnTo>
                    <a:pt x="468" y="732"/>
                  </a:lnTo>
                  <a:lnTo>
                    <a:pt x="492" y="720"/>
                  </a:lnTo>
                  <a:lnTo>
                    <a:pt x="522" y="690"/>
                  </a:lnTo>
                  <a:lnTo>
                    <a:pt x="540" y="672"/>
                  </a:lnTo>
                  <a:lnTo>
                    <a:pt x="558" y="660"/>
                  </a:lnTo>
                  <a:lnTo>
                    <a:pt x="570" y="636"/>
                  </a:lnTo>
                  <a:lnTo>
                    <a:pt x="588" y="612"/>
                  </a:lnTo>
                  <a:lnTo>
                    <a:pt x="654" y="552"/>
                  </a:lnTo>
                  <a:lnTo>
                    <a:pt x="678" y="528"/>
                  </a:lnTo>
                  <a:lnTo>
                    <a:pt x="696" y="510"/>
                  </a:lnTo>
                  <a:lnTo>
                    <a:pt x="714" y="498"/>
                  </a:lnTo>
                  <a:lnTo>
                    <a:pt x="750" y="480"/>
                  </a:lnTo>
                  <a:lnTo>
                    <a:pt x="774" y="444"/>
                  </a:lnTo>
                  <a:lnTo>
                    <a:pt x="816" y="426"/>
                  </a:lnTo>
                  <a:lnTo>
                    <a:pt x="864" y="420"/>
                  </a:lnTo>
                  <a:lnTo>
                    <a:pt x="912" y="402"/>
                  </a:lnTo>
                  <a:lnTo>
                    <a:pt x="906" y="396"/>
                  </a:lnTo>
                  <a:lnTo>
                    <a:pt x="912" y="396"/>
                  </a:lnTo>
                  <a:lnTo>
                    <a:pt x="912" y="390"/>
                  </a:lnTo>
                  <a:lnTo>
                    <a:pt x="918" y="384"/>
                  </a:lnTo>
                  <a:lnTo>
                    <a:pt x="924" y="384"/>
                  </a:lnTo>
                  <a:lnTo>
                    <a:pt x="924" y="378"/>
                  </a:lnTo>
                  <a:lnTo>
                    <a:pt x="918" y="372"/>
                  </a:lnTo>
                  <a:lnTo>
                    <a:pt x="918" y="366"/>
                  </a:lnTo>
                  <a:lnTo>
                    <a:pt x="918" y="360"/>
                  </a:lnTo>
                  <a:lnTo>
                    <a:pt x="924" y="360"/>
                  </a:lnTo>
                  <a:lnTo>
                    <a:pt x="924" y="354"/>
                  </a:lnTo>
                  <a:lnTo>
                    <a:pt x="930" y="354"/>
                  </a:lnTo>
                  <a:lnTo>
                    <a:pt x="936" y="354"/>
                  </a:lnTo>
                  <a:lnTo>
                    <a:pt x="936" y="348"/>
                  </a:lnTo>
                  <a:lnTo>
                    <a:pt x="942" y="348"/>
                  </a:lnTo>
                  <a:lnTo>
                    <a:pt x="942" y="336"/>
                  </a:lnTo>
                  <a:lnTo>
                    <a:pt x="936" y="336"/>
                  </a:lnTo>
                  <a:lnTo>
                    <a:pt x="930" y="330"/>
                  </a:lnTo>
                  <a:lnTo>
                    <a:pt x="924" y="330"/>
                  </a:lnTo>
                  <a:lnTo>
                    <a:pt x="924" y="324"/>
                  </a:lnTo>
                  <a:lnTo>
                    <a:pt x="918" y="318"/>
                  </a:lnTo>
                  <a:lnTo>
                    <a:pt x="912" y="306"/>
                  </a:lnTo>
                  <a:lnTo>
                    <a:pt x="918" y="306"/>
                  </a:lnTo>
                  <a:lnTo>
                    <a:pt x="924" y="300"/>
                  </a:lnTo>
                  <a:lnTo>
                    <a:pt x="924" y="294"/>
                  </a:lnTo>
                  <a:lnTo>
                    <a:pt x="924" y="288"/>
                  </a:lnTo>
                  <a:lnTo>
                    <a:pt x="924" y="282"/>
                  </a:lnTo>
                  <a:lnTo>
                    <a:pt x="924" y="276"/>
                  </a:lnTo>
                  <a:lnTo>
                    <a:pt x="918" y="270"/>
                  </a:lnTo>
                  <a:lnTo>
                    <a:pt x="918" y="264"/>
                  </a:lnTo>
                  <a:lnTo>
                    <a:pt x="912" y="270"/>
                  </a:lnTo>
                  <a:lnTo>
                    <a:pt x="912" y="264"/>
                  </a:lnTo>
                  <a:lnTo>
                    <a:pt x="912" y="258"/>
                  </a:lnTo>
                  <a:lnTo>
                    <a:pt x="912" y="252"/>
                  </a:lnTo>
                  <a:lnTo>
                    <a:pt x="906" y="252"/>
                  </a:lnTo>
                  <a:lnTo>
                    <a:pt x="900" y="246"/>
                  </a:lnTo>
                  <a:lnTo>
                    <a:pt x="900" y="240"/>
                  </a:lnTo>
                  <a:lnTo>
                    <a:pt x="900" y="246"/>
                  </a:lnTo>
                  <a:lnTo>
                    <a:pt x="894" y="246"/>
                  </a:lnTo>
                  <a:lnTo>
                    <a:pt x="894" y="240"/>
                  </a:lnTo>
                  <a:lnTo>
                    <a:pt x="894" y="234"/>
                  </a:lnTo>
                  <a:lnTo>
                    <a:pt x="900" y="234"/>
                  </a:lnTo>
                  <a:lnTo>
                    <a:pt x="900" y="228"/>
                  </a:lnTo>
                  <a:lnTo>
                    <a:pt x="906" y="228"/>
                  </a:lnTo>
                  <a:lnTo>
                    <a:pt x="900" y="222"/>
                  </a:lnTo>
                  <a:lnTo>
                    <a:pt x="894" y="216"/>
                  </a:lnTo>
                  <a:lnTo>
                    <a:pt x="894" y="210"/>
                  </a:lnTo>
                  <a:lnTo>
                    <a:pt x="888" y="210"/>
                  </a:lnTo>
                  <a:lnTo>
                    <a:pt x="888" y="204"/>
                  </a:lnTo>
                  <a:lnTo>
                    <a:pt x="888" y="198"/>
                  </a:lnTo>
                  <a:lnTo>
                    <a:pt x="888" y="192"/>
                  </a:lnTo>
                  <a:lnTo>
                    <a:pt x="882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82" y="174"/>
                  </a:lnTo>
                  <a:lnTo>
                    <a:pt x="888" y="168"/>
                  </a:lnTo>
                  <a:lnTo>
                    <a:pt x="888" y="162"/>
                  </a:lnTo>
                  <a:lnTo>
                    <a:pt x="888" y="156"/>
                  </a:lnTo>
                  <a:lnTo>
                    <a:pt x="888" y="150"/>
                  </a:lnTo>
                  <a:lnTo>
                    <a:pt x="888" y="144"/>
                  </a:lnTo>
                  <a:lnTo>
                    <a:pt x="882" y="144"/>
                  </a:lnTo>
                  <a:lnTo>
                    <a:pt x="882" y="138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76" y="120"/>
                  </a:lnTo>
                  <a:lnTo>
                    <a:pt x="882" y="114"/>
                  </a:lnTo>
                  <a:lnTo>
                    <a:pt x="882" y="108"/>
                  </a:lnTo>
                  <a:lnTo>
                    <a:pt x="888" y="102"/>
                  </a:lnTo>
                  <a:lnTo>
                    <a:pt x="894" y="102"/>
                  </a:lnTo>
                  <a:lnTo>
                    <a:pt x="894" y="96"/>
                  </a:lnTo>
                  <a:lnTo>
                    <a:pt x="888" y="96"/>
                  </a:lnTo>
                  <a:lnTo>
                    <a:pt x="894" y="90"/>
                  </a:lnTo>
                  <a:lnTo>
                    <a:pt x="888" y="84"/>
                  </a:lnTo>
                  <a:lnTo>
                    <a:pt x="888" y="78"/>
                  </a:lnTo>
                  <a:lnTo>
                    <a:pt x="924" y="66"/>
                  </a:lnTo>
                  <a:lnTo>
                    <a:pt x="966" y="66"/>
                  </a:lnTo>
                  <a:lnTo>
                    <a:pt x="996" y="48"/>
                  </a:lnTo>
                  <a:lnTo>
                    <a:pt x="1056" y="12"/>
                  </a:lnTo>
                  <a:lnTo>
                    <a:pt x="1128" y="0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0" y="18"/>
                  </a:lnTo>
                  <a:lnTo>
                    <a:pt x="1176" y="24"/>
                  </a:lnTo>
                  <a:lnTo>
                    <a:pt x="1182" y="24"/>
                  </a:lnTo>
                  <a:lnTo>
                    <a:pt x="1188" y="30"/>
                  </a:lnTo>
                  <a:lnTo>
                    <a:pt x="1194" y="30"/>
                  </a:lnTo>
                  <a:lnTo>
                    <a:pt x="1194" y="36"/>
                  </a:lnTo>
                  <a:lnTo>
                    <a:pt x="1260" y="30"/>
                  </a:lnTo>
                  <a:lnTo>
                    <a:pt x="1272" y="30"/>
                  </a:lnTo>
                  <a:lnTo>
                    <a:pt x="1296" y="24"/>
                  </a:lnTo>
                  <a:lnTo>
                    <a:pt x="1302" y="30"/>
                  </a:lnTo>
                  <a:lnTo>
                    <a:pt x="1302" y="36"/>
                  </a:lnTo>
                  <a:lnTo>
                    <a:pt x="1308" y="36"/>
                  </a:lnTo>
                  <a:lnTo>
                    <a:pt x="1314" y="36"/>
                  </a:lnTo>
                  <a:lnTo>
                    <a:pt x="1320" y="36"/>
                  </a:lnTo>
                  <a:lnTo>
                    <a:pt x="1326" y="30"/>
                  </a:lnTo>
                  <a:lnTo>
                    <a:pt x="1332" y="30"/>
                  </a:lnTo>
                  <a:lnTo>
                    <a:pt x="1338" y="30"/>
                  </a:lnTo>
                  <a:lnTo>
                    <a:pt x="1344" y="30"/>
                  </a:lnTo>
                  <a:lnTo>
                    <a:pt x="1374" y="30"/>
                  </a:lnTo>
                  <a:lnTo>
                    <a:pt x="1386" y="30"/>
                  </a:lnTo>
                  <a:lnTo>
                    <a:pt x="1392" y="24"/>
                  </a:lnTo>
                  <a:lnTo>
                    <a:pt x="1398" y="12"/>
                  </a:lnTo>
                  <a:lnTo>
                    <a:pt x="1404" y="6"/>
                  </a:lnTo>
                  <a:lnTo>
                    <a:pt x="1410" y="6"/>
                  </a:lnTo>
                  <a:lnTo>
                    <a:pt x="1410" y="12"/>
                  </a:lnTo>
                  <a:lnTo>
                    <a:pt x="1416" y="18"/>
                  </a:lnTo>
                  <a:lnTo>
                    <a:pt x="1416" y="36"/>
                  </a:lnTo>
                  <a:lnTo>
                    <a:pt x="1434" y="54"/>
                  </a:lnTo>
                  <a:lnTo>
                    <a:pt x="1434" y="60"/>
                  </a:lnTo>
                  <a:lnTo>
                    <a:pt x="1434" y="66"/>
                  </a:lnTo>
                  <a:lnTo>
                    <a:pt x="1434" y="72"/>
                  </a:lnTo>
                  <a:lnTo>
                    <a:pt x="1428" y="72"/>
                  </a:lnTo>
                  <a:lnTo>
                    <a:pt x="1428" y="78"/>
                  </a:lnTo>
                  <a:lnTo>
                    <a:pt x="1434" y="78"/>
                  </a:lnTo>
                  <a:lnTo>
                    <a:pt x="1440" y="84"/>
                  </a:lnTo>
                  <a:lnTo>
                    <a:pt x="1440" y="90"/>
                  </a:lnTo>
                  <a:lnTo>
                    <a:pt x="1440" y="96"/>
                  </a:lnTo>
                  <a:lnTo>
                    <a:pt x="1446" y="96"/>
                  </a:lnTo>
                  <a:lnTo>
                    <a:pt x="1446" y="108"/>
                  </a:lnTo>
                  <a:lnTo>
                    <a:pt x="1452" y="108"/>
                  </a:lnTo>
                  <a:lnTo>
                    <a:pt x="1452" y="114"/>
                  </a:lnTo>
                  <a:lnTo>
                    <a:pt x="1458" y="114"/>
                  </a:lnTo>
                  <a:lnTo>
                    <a:pt x="1470" y="120"/>
                  </a:lnTo>
                  <a:lnTo>
                    <a:pt x="1476" y="120"/>
                  </a:lnTo>
                  <a:lnTo>
                    <a:pt x="1476" y="114"/>
                  </a:lnTo>
                  <a:lnTo>
                    <a:pt x="1488" y="120"/>
                  </a:lnTo>
                  <a:lnTo>
                    <a:pt x="1506" y="120"/>
                  </a:lnTo>
                  <a:lnTo>
                    <a:pt x="1512" y="120"/>
                  </a:lnTo>
                  <a:lnTo>
                    <a:pt x="1518" y="120"/>
                  </a:lnTo>
                  <a:lnTo>
                    <a:pt x="1524" y="126"/>
                  </a:lnTo>
                  <a:lnTo>
                    <a:pt x="1536" y="150"/>
                  </a:lnTo>
                  <a:lnTo>
                    <a:pt x="1548" y="162"/>
                  </a:lnTo>
                  <a:lnTo>
                    <a:pt x="1554" y="168"/>
                  </a:lnTo>
                  <a:lnTo>
                    <a:pt x="1584" y="228"/>
                  </a:lnTo>
                  <a:lnTo>
                    <a:pt x="1584" y="234"/>
                  </a:lnTo>
                  <a:lnTo>
                    <a:pt x="1578" y="312"/>
                  </a:lnTo>
                  <a:lnTo>
                    <a:pt x="1590" y="318"/>
                  </a:lnTo>
                  <a:lnTo>
                    <a:pt x="1608" y="330"/>
                  </a:lnTo>
                  <a:lnTo>
                    <a:pt x="1620" y="342"/>
                  </a:lnTo>
                  <a:lnTo>
                    <a:pt x="1626" y="342"/>
                  </a:lnTo>
                  <a:lnTo>
                    <a:pt x="1692" y="360"/>
                  </a:lnTo>
                  <a:lnTo>
                    <a:pt x="1710" y="408"/>
                  </a:lnTo>
                  <a:lnTo>
                    <a:pt x="1722" y="426"/>
                  </a:lnTo>
                  <a:lnTo>
                    <a:pt x="1716" y="468"/>
                  </a:lnTo>
                  <a:lnTo>
                    <a:pt x="1686" y="486"/>
                  </a:lnTo>
                  <a:lnTo>
                    <a:pt x="1686" y="492"/>
                  </a:lnTo>
                  <a:lnTo>
                    <a:pt x="1680" y="498"/>
                  </a:lnTo>
                  <a:lnTo>
                    <a:pt x="1650" y="558"/>
                  </a:lnTo>
                  <a:lnTo>
                    <a:pt x="1650" y="570"/>
                  </a:lnTo>
                  <a:lnTo>
                    <a:pt x="1644" y="570"/>
                  </a:lnTo>
                  <a:lnTo>
                    <a:pt x="1638" y="582"/>
                  </a:lnTo>
                  <a:lnTo>
                    <a:pt x="1638" y="624"/>
                  </a:lnTo>
                  <a:lnTo>
                    <a:pt x="1638" y="636"/>
                  </a:lnTo>
                  <a:lnTo>
                    <a:pt x="1638" y="642"/>
                  </a:lnTo>
                  <a:lnTo>
                    <a:pt x="1632" y="660"/>
                  </a:lnTo>
                  <a:lnTo>
                    <a:pt x="1608" y="678"/>
                  </a:lnTo>
                  <a:lnTo>
                    <a:pt x="1584" y="690"/>
                  </a:lnTo>
                  <a:lnTo>
                    <a:pt x="1584" y="696"/>
                  </a:lnTo>
                  <a:lnTo>
                    <a:pt x="1578" y="702"/>
                  </a:lnTo>
                  <a:lnTo>
                    <a:pt x="1584" y="702"/>
                  </a:lnTo>
                  <a:lnTo>
                    <a:pt x="1578" y="714"/>
                  </a:lnTo>
                  <a:lnTo>
                    <a:pt x="1572" y="714"/>
                  </a:lnTo>
                  <a:lnTo>
                    <a:pt x="1572" y="720"/>
                  </a:lnTo>
                  <a:lnTo>
                    <a:pt x="1566" y="720"/>
                  </a:lnTo>
                  <a:lnTo>
                    <a:pt x="1560" y="726"/>
                  </a:lnTo>
                  <a:lnTo>
                    <a:pt x="1560" y="732"/>
                  </a:lnTo>
                  <a:lnTo>
                    <a:pt x="1554" y="732"/>
                  </a:lnTo>
                  <a:lnTo>
                    <a:pt x="1554" y="738"/>
                  </a:lnTo>
                  <a:lnTo>
                    <a:pt x="1554" y="744"/>
                  </a:lnTo>
                  <a:lnTo>
                    <a:pt x="1548" y="744"/>
                  </a:lnTo>
                  <a:lnTo>
                    <a:pt x="1548" y="738"/>
                  </a:lnTo>
                  <a:lnTo>
                    <a:pt x="1542" y="738"/>
                  </a:lnTo>
                  <a:lnTo>
                    <a:pt x="1542" y="744"/>
                  </a:lnTo>
                  <a:lnTo>
                    <a:pt x="1542" y="750"/>
                  </a:lnTo>
                  <a:lnTo>
                    <a:pt x="1494" y="804"/>
                  </a:lnTo>
                  <a:lnTo>
                    <a:pt x="1446" y="876"/>
                  </a:lnTo>
                  <a:lnTo>
                    <a:pt x="1440" y="876"/>
                  </a:lnTo>
                  <a:lnTo>
                    <a:pt x="1434" y="876"/>
                  </a:lnTo>
                  <a:lnTo>
                    <a:pt x="1428" y="882"/>
                  </a:lnTo>
                  <a:lnTo>
                    <a:pt x="1422" y="882"/>
                  </a:lnTo>
                  <a:lnTo>
                    <a:pt x="1386" y="924"/>
                  </a:lnTo>
                  <a:lnTo>
                    <a:pt x="1362" y="954"/>
                  </a:lnTo>
                  <a:lnTo>
                    <a:pt x="1356" y="984"/>
                  </a:lnTo>
                  <a:lnTo>
                    <a:pt x="1362" y="1002"/>
                  </a:lnTo>
                  <a:lnTo>
                    <a:pt x="1368" y="1020"/>
                  </a:lnTo>
                  <a:lnTo>
                    <a:pt x="1386" y="1056"/>
                  </a:lnTo>
                  <a:lnTo>
                    <a:pt x="1404" y="1074"/>
                  </a:lnTo>
                  <a:lnTo>
                    <a:pt x="1416" y="1080"/>
                  </a:lnTo>
                  <a:lnTo>
                    <a:pt x="1416" y="1086"/>
                  </a:lnTo>
                  <a:lnTo>
                    <a:pt x="1422" y="1098"/>
                  </a:lnTo>
                  <a:lnTo>
                    <a:pt x="1422" y="1110"/>
                  </a:lnTo>
                  <a:lnTo>
                    <a:pt x="1428" y="1116"/>
                  </a:lnTo>
                  <a:lnTo>
                    <a:pt x="1434" y="1116"/>
                  </a:lnTo>
                  <a:lnTo>
                    <a:pt x="1434" y="1122"/>
                  </a:lnTo>
                  <a:lnTo>
                    <a:pt x="1434" y="1128"/>
                  </a:lnTo>
                  <a:lnTo>
                    <a:pt x="1440" y="1134"/>
                  </a:lnTo>
                  <a:lnTo>
                    <a:pt x="1446" y="1134"/>
                  </a:lnTo>
                  <a:lnTo>
                    <a:pt x="1458" y="1134"/>
                  </a:lnTo>
                  <a:lnTo>
                    <a:pt x="1458" y="1140"/>
                  </a:lnTo>
                  <a:lnTo>
                    <a:pt x="1464" y="1134"/>
                  </a:lnTo>
                  <a:lnTo>
                    <a:pt x="1470" y="1134"/>
                  </a:lnTo>
                  <a:lnTo>
                    <a:pt x="1464" y="1128"/>
                  </a:lnTo>
                  <a:lnTo>
                    <a:pt x="1464" y="1122"/>
                  </a:lnTo>
                  <a:lnTo>
                    <a:pt x="1470" y="1116"/>
                  </a:lnTo>
                  <a:lnTo>
                    <a:pt x="1470" y="1122"/>
                  </a:lnTo>
                  <a:lnTo>
                    <a:pt x="1476" y="1122"/>
                  </a:lnTo>
                  <a:lnTo>
                    <a:pt x="1476" y="1116"/>
                  </a:lnTo>
                  <a:lnTo>
                    <a:pt x="1482" y="1110"/>
                  </a:lnTo>
                  <a:lnTo>
                    <a:pt x="1476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82" y="1086"/>
                  </a:lnTo>
                  <a:lnTo>
                    <a:pt x="1482" y="1074"/>
                  </a:lnTo>
                  <a:lnTo>
                    <a:pt x="1488" y="1068"/>
                  </a:lnTo>
                  <a:lnTo>
                    <a:pt x="1488" y="1062"/>
                  </a:lnTo>
                  <a:lnTo>
                    <a:pt x="1494" y="1062"/>
                  </a:lnTo>
                  <a:lnTo>
                    <a:pt x="1500" y="1062"/>
                  </a:lnTo>
                  <a:lnTo>
                    <a:pt x="1506" y="1062"/>
                  </a:lnTo>
                  <a:lnTo>
                    <a:pt x="1506" y="1056"/>
                  </a:lnTo>
                  <a:lnTo>
                    <a:pt x="1506" y="1062"/>
                  </a:lnTo>
                  <a:lnTo>
                    <a:pt x="1518" y="1062"/>
                  </a:lnTo>
                  <a:lnTo>
                    <a:pt x="1524" y="1062"/>
                  </a:lnTo>
                  <a:lnTo>
                    <a:pt x="1530" y="1062"/>
                  </a:lnTo>
                  <a:lnTo>
                    <a:pt x="1536" y="1068"/>
                  </a:lnTo>
                  <a:lnTo>
                    <a:pt x="1536" y="1074"/>
                  </a:lnTo>
                  <a:lnTo>
                    <a:pt x="1542" y="1086"/>
                  </a:lnTo>
                  <a:lnTo>
                    <a:pt x="1548" y="1086"/>
                  </a:lnTo>
                  <a:lnTo>
                    <a:pt x="1554" y="1086"/>
                  </a:lnTo>
                  <a:lnTo>
                    <a:pt x="1566" y="1098"/>
                  </a:lnTo>
                  <a:lnTo>
                    <a:pt x="1572" y="1104"/>
                  </a:lnTo>
                  <a:lnTo>
                    <a:pt x="1566" y="1110"/>
                  </a:lnTo>
                  <a:lnTo>
                    <a:pt x="1572" y="1116"/>
                  </a:lnTo>
                  <a:lnTo>
                    <a:pt x="1578" y="1116"/>
                  </a:lnTo>
                  <a:lnTo>
                    <a:pt x="1578" y="1122"/>
                  </a:lnTo>
                  <a:lnTo>
                    <a:pt x="1584" y="1122"/>
                  </a:lnTo>
                  <a:lnTo>
                    <a:pt x="1584" y="1128"/>
                  </a:lnTo>
                  <a:lnTo>
                    <a:pt x="1584" y="1134"/>
                  </a:lnTo>
                  <a:lnTo>
                    <a:pt x="1590" y="1134"/>
                  </a:lnTo>
                  <a:lnTo>
                    <a:pt x="1596" y="1140"/>
                  </a:lnTo>
                  <a:lnTo>
                    <a:pt x="1602" y="1146"/>
                  </a:lnTo>
                  <a:lnTo>
                    <a:pt x="1608" y="1146"/>
                  </a:lnTo>
                  <a:lnTo>
                    <a:pt x="1614" y="1146"/>
                  </a:lnTo>
                  <a:lnTo>
                    <a:pt x="1614" y="1152"/>
                  </a:lnTo>
                  <a:lnTo>
                    <a:pt x="1620" y="1152"/>
                  </a:lnTo>
                  <a:lnTo>
                    <a:pt x="1626" y="1164"/>
                  </a:lnTo>
                  <a:lnTo>
                    <a:pt x="1632" y="1170"/>
                  </a:lnTo>
                  <a:lnTo>
                    <a:pt x="1638" y="1176"/>
                  </a:lnTo>
                  <a:lnTo>
                    <a:pt x="1638" y="1182"/>
                  </a:lnTo>
                  <a:lnTo>
                    <a:pt x="1644" y="1194"/>
                  </a:lnTo>
                  <a:lnTo>
                    <a:pt x="1644" y="1200"/>
                  </a:lnTo>
                  <a:lnTo>
                    <a:pt x="1638" y="1200"/>
                  </a:lnTo>
                  <a:lnTo>
                    <a:pt x="1638" y="1206"/>
                  </a:lnTo>
                  <a:lnTo>
                    <a:pt x="1638" y="1212"/>
                  </a:lnTo>
                  <a:lnTo>
                    <a:pt x="1638" y="1218"/>
                  </a:lnTo>
                  <a:lnTo>
                    <a:pt x="1632" y="1242"/>
                  </a:lnTo>
                  <a:lnTo>
                    <a:pt x="1632" y="1266"/>
                  </a:lnTo>
                  <a:lnTo>
                    <a:pt x="1638" y="1284"/>
                  </a:lnTo>
                  <a:lnTo>
                    <a:pt x="1638" y="1296"/>
                  </a:lnTo>
                  <a:lnTo>
                    <a:pt x="1632" y="1296"/>
                  </a:lnTo>
                  <a:lnTo>
                    <a:pt x="1632" y="1302"/>
                  </a:lnTo>
                  <a:lnTo>
                    <a:pt x="1638" y="1314"/>
                  </a:lnTo>
                  <a:lnTo>
                    <a:pt x="1638" y="1320"/>
                  </a:lnTo>
                  <a:lnTo>
                    <a:pt x="1632" y="1320"/>
                  </a:lnTo>
                  <a:lnTo>
                    <a:pt x="1632" y="1326"/>
                  </a:lnTo>
                  <a:lnTo>
                    <a:pt x="1644" y="1332"/>
                  </a:lnTo>
                  <a:lnTo>
                    <a:pt x="1644" y="1338"/>
                  </a:lnTo>
                  <a:lnTo>
                    <a:pt x="1650" y="1344"/>
                  </a:lnTo>
                  <a:lnTo>
                    <a:pt x="1668" y="1362"/>
                  </a:lnTo>
                  <a:lnTo>
                    <a:pt x="1668" y="1368"/>
                  </a:lnTo>
                  <a:lnTo>
                    <a:pt x="1674" y="1392"/>
                  </a:lnTo>
                  <a:lnTo>
                    <a:pt x="1686" y="140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2" name="Freeform 17">
              <a:extLst>
                <a:ext uri="{FF2B5EF4-FFF2-40B4-BE49-F238E27FC236}">
                  <a16:creationId xmlns:a16="http://schemas.microsoft.com/office/drawing/2014/main" id="{9F9DF7AF-2203-4CCB-AF1B-32CDAF87CC5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416927"/>
              <a:ext cx="816209" cy="574781"/>
            </a:xfrm>
            <a:custGeom>
              <a:avLst/>
              <a:gdLst>
                <a:gd name="T0" fmla="*/ 115 w 1536"/>
                <a:gd name="T1" fmla="*/ 89 h 1080"/>
                <a:gd name="T2" fmla="*/ 113 w 1536"/>
                <a:gd name="T3" fmla="*/ 92 h 1080"/>
                <a:gd name="T4" fmla="*/ 107 w 1536"/>
                <a:gd name="T5" fmla="*/ 93 h 1080"/>
                <a:gd name="T6" fmla="*/ 108 w 1536"/>
                <a:gd name="T7" fmla="*/ 90 h 1080"/>
                <a:gd name="T8" fmla="*/ 105 w 1536"/>
                <a:gd name="T9" fmla="*/ 87 h 1080"/>
                <a:gd name="T10" fmla="*/ 102 w 1536"/>
                <a:gd name="T11" fmla="*/ 85 h 1080"/>
                <a:gd name="T12" fmla="*/ 89 w 1536"/>
                <a:gd name="T13" fmla="*/ 80 h 1080"/>
                <a:gd name="T14" fmla="*/ 85 w 1536"/>
                <a:gd name="T15" fmla="*/ 82 h 1080"/>
                <a:gd name="T16" fmla="*/ 82 w 1536"/>
                <a:gd name="T17" fmla="*/ 80 h 1080"/>
                <a:gd name="T18" fmla="*/ 80 w 1536"/>
                <a:gd name="T19" fmla="*/ 75 h 1080"/>
                <a:gd name="T20" fmla="*/ 75 w 1536"/>
                <a:gd name="T21" fmla="*/ 72 h 1080"/>
                <a:gd name="T22" fmla="*/ 61 w 1536"/>
                <a:gd name="T23" fmla="*/ 70 h 1080"/>
                <a:gd name="T24" fmla="*/ 62 w 1536"/>
                <a:gd name="T25" fmla="*/ 72 h 1080"/>
                <a:gd name="T26" fmla="*/ 58 w 1536"/>
                <a:gd name="T27" fmla="*/ 75 h 1080"/>
                <a:gd name="T28" fmla="*/ 49 w 1536"/>
                <a:gd name="T29" fmla="*/ 76 h 1080"/>
                <a:gd name="T30" fmla="*/ 41 w 1536"/>
                <a:gd name="T31" fmla="*/ 79 h 1080"/>
                <a:gd name="T32" fmla="*/ 41 w 1536"/>
                <a:gd name="T33" fmla="*/ 77 h 1080"/>
                <a:gd name="T34" fmla="*/ 39 w 1536"/>
                <a:gd name="T35" fmla="*/ 74 h 1080"/>
                <a:gd name="T36" fmla="*/ 28 w 1536"/>
                <a:gd name="T37" fmla="*/ 78 h 1080"/>
                <a:gd name="T38" fmla="*/ 18 w 1536"/>
                <a:gd name="T39" fmla="*/ 85 h 1080"/>
                <a:gd name="T40" fmla="*/ 18 w 1536"/>
                <a:gd name="T41" fmla="*/ 77 h 1080"/>
                <a:gd name="T42" fmla="*/ 19 w 1536"/>
                <a:gd name="T43" fmla="*/ 69 h 1080"/>
                <a:gd name="T44" fmla="*/ 16 w 1536"/>
                <a:gd name="T45" fmla="*/ 69 h 1080"/>
                <a:gd name="T46" fmla="*/ 11 w 1536"/>
                <a:gd name="T47" fmla="*/ 69 h 1080"/>
                <a:gd name="T48" fmla="*/ 5 w 1536"/>
                <a:gd name="T49" fmla="*/ 68 h 1080"/>
                <a:gd name="T50" fmla="*/ 1 w 1536"/>
                <a:gd name="T51" fmla="*/ 63 h 1080"/>
                <a:gd name="T52" fmla="*/ 3 w 1536"/>
                <a:gd name="T53" fmla="*/ 59 h 1080"/>
                <a:gd name="T54" fmla="*/ 9 w 1536"/>
                <a:gd name="T55" fmla="*/ 54 h 1080"/>
                <a:gd name="T56" fmla="*/ 15 w 1536"/>
                <a:gd name="T57" fmla="*/ 47 h 1080"/>
                <a:gd name="T58" fmla="*/ 17 w 1536"/>
                <a:gd name="T59" fmla="*/ 40 h 1080"/>
                <a:gd name="T60" fmla="*/ 12 w 1536"/>
                <a:gd name="T61" fmla="*/ 33 h 1080"/>
                <a:gd name="T62" fmla="*/ 10 w 1536"/>
                <a:gd name="T63" fmla="*/ 21 h 1080"/>
                <a:gd name="T64" fmla="*/ 6 w 1536"/>
                <a:gd name="T65" fmla="*/ 14 h 1080"/>
                <a:gd name="T66" fmla="*/ 7 w 1536"/>
                <a:gd name="T67" fmla="*/ 9 h 1080"/>
                <a:gd name="T68" fmla="*/ 12 w 1536"/>
                <a:gd name="T69" fmla="*/ 7 h 1080"/>
                <a:gd name="T70" fmla="*/ 16 w 1536"/>
                <a:gd name="T71" fmla="*/ 8 h 1080"/>
                <a:gd name="T72" fmla="*/ 19 w 1536"/>
                <a:gd name="T73" fmla="*/ 8 h 1080"/>
                <a:gd name="T74" fmla="*/ 22 w 1536"/>
                <a:gd name="T75" fmla="*/ 9 h 1080"/>
                <a:gd name="T76" fmla="*/ 29 w 1536"/>
                <a:gd name="T77" fmla="*/ 12 h 1080"/>
                <a:gd name="T78" fmla="*/ 33 w 1536"/>
                <a:gd name="T79" fmla="*/ 13 h 1080"/>
                <a:gd name="T80" fmla="*/ 38 w 1536"/>
                <a:gd name="T81" fmla="*/ 15 h 1080"/>
                <a:gd name="T82" fmla="*/ 42 w 1536"/>
                <a:gd name="T83" fmla="*/ 17 h 1080"/>
                <a:gd name="T84" fmla="*/ 47 w 1536"/>
                <a:gd name="T85" fmla="*/ 19 h 1080"/>
                <a:gd name="T86" fmla="*/ 51 w 1536"/>
                <a:gd name="T87" fmla="*/ 21 h 1080"/>
                <a:gd name="T88" fmla="*/ 50 w 1536"/>
                <a:gd name="T89" fmla="*/ 15 h 1080"/>
                <a:gd name="T90" fmla="*/ 56 w 1536"/>
                <a:gd name="T91" fmla="*/ 0 h 1080"/>
                <a:gd name="T92" fmla="*/ 74 w 1536"/>
                <a:gd name="T93" fmla="*/ 5 h 1080"/>
                <a:gd name="T94" fmla="*/ 87 w 1536"/>
                <a:gd name="T95" fmla="*/ 6 h 1080"/>
                <a:gd name="T96" fmla="*/ 92 w 1536"/>
                <a:gd name="T97" fmla="*/ 11 h 1080"/>
                <a:gd name="T98" fmla="*/ 95 w 1536"/>
                <a:gd name="T99" fmla="*/ 15 h 1080"/>
                <a:gd name="T100" fmla="*/ 93 w 1536"/>
                <a:gd name="T101" fmla="*/ 20 h 1080"/>
                <a:gd name="T102" fmla="*/ 108 w 1536"/>
                <a:gd name="T103" fmla="*/ 18 h 1080"/>
                <a:gd name="T104" fmla="*/ 120 w 1536"/>
                <a:gd name="T105" fmla="*/ 21 h 1080"/>
                <a:gd name="T106" fmla="*/ 127 w 1536"/>
                <a:gd name="T107" fmla="*/ 29 h 1080"/>
                <a:gd name="T108" fmla="*/ 130 w 1536"/>
                <a:gd name="T109" fmla="*/ 30 h 1080"/>
                <a:gd name="T110" fmla="*/ 130 w 1536"/>
                <a:gd name="T111" fmla="*/ 49 h 1080"/>
                <a:gd name="T112" fmla="*/ 120 w 1536"/>
                <a:gd name="T113" fmla="*/ 69 h 1080"/>
                <a:gd name="T114" fmla="*/ 119 w 1536"/>
                <a:gd name="T115" fmla="*/ 74 h 1080"/>
                <a:gd name="T116" fmla="*/ 118 w 1536"/>
                <a:gd name="T117" fmla="*/ 80 h 108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536"/>
                <a:gd name="T178" fmla="*/ 0 h 1080"/>
                <a:gd name="T179" fmla="*/ 1536 w 1536"/>
                <a:gd name="T180" fmla="*/ 1080 h 108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536" h="1080">
                  <a:moveTo>
                    <a:pt x="1350" y="1020"/>
                  </a:moveTo>
                  <a:lnTo>
                    <a:pt x="1350" y="1026"/>
                  </a:lnTo>
                  <a:lnTo>
                    <a:pt x="1344" y="1026"/>
                  </a:lnTo>
                  <a:lnTo>
                    <a:pt x="1338" y="1032"/>
                  </a:lnTo>
                  <a:lnTo>
                    <a:pt x="1332" y="1026"/>
                  </a:lnTo>
                  <a:lnTo>
                    <a:pt x="1326" y="1026"/>
                  </a:lnTo>
                  <a:lnTo>
                    <a:pt x="1320" y="1020"/>
                  </a:lnTo>
                  <a:lnTo>
                    <a:pt x="1314" y="1026"/>
                  </a:lnTo>
                  <a:lnTo>
                    <a:pt x="1314" y="1032"/>
                  </a:lnTo>
                  <a:lnTo>
                    <a:pt x="1308" y="1038"/>
                  </a:lnTo>
                  <a:lnTo>
                    <a:pt x="1308" y="1044"/>
                  </a:lnTo>
                  <a:lnTo>
                    <a:pt x="1308" y="1050"/>
                  </a:lnTo>
                  <a:lnTo>
                    <a:pt x="1308" y="1056"/>
                  </a:lnTo>
                  <a:lnTo>
                    <a:pt x="1308" y="1062"/>
                  </a:lnTo>
                  <a:lnTo>
                    <a:pt x="1296" y="1068"/>
                  </a:lnTo>
                  <a:lnTo>
                    <a:pt x="1284" y="1074"/>
                  </a:lnTo>
                  <a:lnTo>
                    <a:pt x="1272" y="1080"/>
                  </a:lnTo>
                  <a:lnTo>
                    <a:pt x="1260" y="1080"/>
                  </a:lnTo>
                  <a:lnTo>
                    <a:pt x="1254" y="1074"/>
                  </a:lnTo>
                  <a:lnTo>
                    <a:pt x="1236" y="1074"/>
                  </a:lnTo>
                  <a:lnTo>
                    <a:pt x="1230" y="1074"/>
                  </a:lnTo>
                  <a:lnTo>
                    <a:pt x="1236" y="1074"/>
                  </a:lnTo>
                  <a:lnTo>
                    <a:pt x="1236" y="1068"/>
                  </a:lnTo>
                  <a:lnTo>
                    <a:pt x="1236" y="1062"/>
                  </a:lnTo>
                  <a:lnTo>
                    <a:pt x="1236" y="1056"/>
                  </a:lnTo>
                  <a:lnTo>
                    <a:pt x="1242" y="1050"/>
                  </a:lnTo>
                  <a:lnTo>
                    <a:pt x="1242" y="1044"/>
                  </a:lnTo>
                  <a:lnTo>
                    <a:pt x="1242" y="1038"/>
                  </a:lnTo>
                  <a:lnTo>
                    <a:pt x="1248" y="1032"/>
                  </a:lnTo>
                  <a:lnTo>
                    <a:pt x="1236" y="1026"/>
                  </a:lnTo>
                  <a:lnTo>
                    <a:pt x="1218" y="1020"/>
                  </a:lnTo>
                  <a:lnTo>
                    <a:pt x="1224" y="1014"/>
                  </a:lnTo>
                  <a:lnTo>
                    <a:pt x="1218" y="1008"/>
                  </a:lnTo>
                  <a:lnTo>
                    <a:pt x="1218" y="1002"/>
                  </a:lnTo>
                  <a:lnTo>
                    <a:pt x="1212" y="1008"/>
                  </a:lnTo>
                  <a:lnTo>
                    <a:pt x="1206" y="1002"/>
                  </a:lnTo>
                  <a:lnTo>
                    <a:pt x="1212" y="1002"/>
                  </a:lnTo>
                  <a:lnTo>
                    <a:pt x="1212" y="996"/>
                  </a:lnTo>
                  <a:lnTo>
                    <a:pt x="1200" y="990"/>
                  </a:lnTo>
                  <a:lnTo>
                    <a:pt x="1200" y="984"/>
                  </a:lnTo>
                  <a:lnTo>
                    <a:pt x="1188" y="984"/>
                  </a:lnTo>
                  <a:lnTo>
                    <a:pt x="1176" y="978"/>
                  </a:lnTo>
                  <a:lnTo>
                    <a:pt x="1164" y="960"/>
                  </a:lnTo>
                  <a:lnTo>
                    <a:pt x="1152" y="936"/>
                  </a:lnTo>
                  <a:lnTo>
                    <a:pt x="1146" y="936"/>
                  </a:lnTo>
                  <a:lnTo>
                    <a:pt x="1128" y="900"/>
                  </a:lnTo>
                  <a:lnTo>
                    <a:pt x="1038" y="912"/>
                  </a:lnTo>
                  <a:lnTo>
                    <a:pt x="1038" y="918"/>
                  </a:lnTo>
                  <a:lnTo>
                    <a:pt x="1032" y="924"/>
                  </a:lnTo>
                  <a:lnTo>
                    <a:pt x="1026" y="918"/>
                  </a:lnTo>
                  <a:lnTo>
                    <a:pt x="1020" y="924"/>
                  </a:lnTo>
                  <a:lnTo>
                    <a:pt x="1008" y="936"/>
                  </a:lnTo>
                  <a:lnTo>
                    <a:pt x="990" y="936"/>
                  </a:lnTo>
                  <a:lnTo>
                    <a:pt x="990" y="942"/>
                  </a:lnTo>
                  <a:lnTo>
                    <a:pt x="996" y="942"/>
                  </a:lnTo>
                  <a:lnTo>
                    <a:pt x="984" y="948"/>
                  </a:lnTo>
                  <a:lnTo>
                    <a:pt x="972" y="948"/>
                  </a:lnTo>
                  <a:lnTo>
                    <a:pt x="960" y="948"/>
                  </a:lnTo>
                  <a:lnTo>
                    <a:pt x="948" y="942"/>
                  </a:lnTo>
                  <a:lnTo>
                    <a:pt x="948" y="936"/>
                  </a:lnTo>
                  <a:lnTo>
                    <a:pt x="942" y="936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30" y="924"/>
                  </a:lnTo>
                  <a:lnTo>
                    <a:pt x="936" y="918"/>
                  </a:lnTo>
                  <a:lnTo>
                    <a:pt x="918" y="918"/>
                  </a:lnTo>
                  <a:lnTo>
                    <a:pt x="918" y="900"/>
                  </a:lnTo>
                  <a:lnTo>
                    <a:pt x="924" y="900"/>
                  </a:lnTo>
                  <a:lnTo>
                    <a:pt x="924" y="894"/>
                  </a:lnTo>
                  <a:lnTo>
                    <a:pt x="924" y="870"/>
                  </a:lnTo>
                  <a:lnTo>
                    <a:pt x="924" y="864"/>
                  </a:lnTo>
                  <a:lnTo>
                    <a:pt x="918" y="858"/>
                  </a:lnTo>
                  <a:lnTo>
                    <a:pt x="918" y="852"/>
                  </a:lnTo>
                  <a:lnTo>
                    <a:pt x="906" y="840"/>
                  </a:lnTo>
                  <a:lnTo>
                    <a:pt x="894" y="834"/>
                  </a:lnTo>
                  <a:lnTo>
                    <a:pt x="876" y="822"/>
                  </a:lnTo>
                  <a:lnTo>
                    <a:pt x="870" y="828"/>
                  </a:lnTo>
                  <a:lnTo>
                    <a:pt x="858" y="816"/>
                  </a:lnTo>
                  <a:lnTo>
                    <a:pt x="810" y="798"/>
                  </a:lnTo>
                  <a:lnTo>
                    <a:pt x="774" y="792"/>
                  </a:lnTo>
                  <a:lnTo>
                    <a:pt x="732" y="798"/>
                  </a:lnTo>
                  <a:lnTo>
                    <a:pt x="726" y="804"/>
                  </a:lnTo>
                  <a:lnTo>
                    <a:pt x="714" y="810"/>
                  </a:lnTo>
                  <a:lnTo>
                    <a:pt x="702" y="810"/>
                  </a:lnTo>
                  <a:lnTo>
                    <a:pt x="690" y="810"/>
                  </a:lnTo>
                  <a:lnTo>
                    <a:pt x="696" y="816"/>
                  </a:lnTo>
                  <a:lnTo>
                    <a:pt x="696" y="822"/>
                  </a:lnTo>
                  <a:lnTo>
                    <a:pt x="702" y="822"/>
                  </a:lnTo>
                  <a:lnTo>
                    <a:pt x="708" y="822"/>
                  </a:lnTo>
                  <a:lnTo>
                    <a:pt x="708" y="828"/>
                  </a:lnTo>
                  <a:lnTo>
                    <a:pt x="708" y="834"/>
                  </a:lnTo>
                  <a:lnTo>
                    <a:pt x="714" y="834"/>
                  </a:lnTo>
                  <a:lnTo>
                    <a:pt x="708" y="846"/>
                  </a:lnTo>
                  <a:lnTo>
                    <a:pt x="708" y="852"/>
                  </a:lnTo>
                  <a:lnTo>
                    <a:pt x="702" y="852"/>
                  </a:lnTo>
                  <a:lnTo>
                    <a:pt x="696" y="858"/>
                  </a:lnTo>
                  <a:lnTo>
                    <a:pt x="690" y="864"/>
                  </a:lnTo>
                  <a:lnTo>
                    <a:pt x="666" y="870"/>
                  </a:lnTo>
                  <a:lnTo>
                    <a:pt x="660" y="876"/>
                  </a:lnTo>
                  <a:lnTo>
                    <a:pt x="642" y="876"/>
                  </a:lnTo>
                  <a:lnTo>
                    <a:pt x="606" y="882"/>
                  </a:lnTo>
                  <a:lnTo>
                    <a:pt x="588" y="882"/>
                  </a:lnTo>
                  <a:lnTo>
                    <a:pt x="582" y="876"/>
                  </a:lnTo>
                  <a:lnTo>
                    <a:pt x="576" y="876"/>
                  </a:lnTo>
                  <a:lnTo>
                    <a:pt x="564" y="876"/>
                  </a:lnTo>
                  <a:lnTo>
                    <a:pt x="552" y="882"/>
                  </a:lnTo>
                  <a:lnTo>
                    <a:pt x="540" y="894"/>
                  </a:lnTo>
                  <a:lnTo>
                    <a:pt x="534" y="906"/>
                  </a:lnTo>
                  <a:lnTo>
                    <a:pt x="528" y="912"/>
                  </a:lnTo>
                  <a:lnTo>
                    <a:pt x="516" y="924"/>
                  </a:lnTo>
                  <a:lnTo>
                    <a:pt x="486" y="930"/>
                  </a:lnTo>
                  <a:lnTo>
                    <a:pt x="474" y="912"/>
                  </a:lnTo>
                  <a:lnTo>
                    <a:pt x="474" y="906"/>
                  </a:lnTo>
                  <a:lnTo>
                    <a:pt x="468" y="906"/>
                  </a:lnTo>
                  <a:lnTo>
                    <a:pt x="468" y="900"/>
                  </a:lnTo>
                  <a:lnTo>
                    <a:pt x="462" y="894"/>
                  </a:lnTo>
                  <a:lnTo>
                    <a:pt x="456" y="894"/>
                  </a:lnTo>
                  <a:lnTo>
                    <a:pt x="462" y="888"/>
                  </a:lnTo>
                  <a:lnTo>
                    <a:pt x="468" y="888"/>
                  </a:lnTo>
                  <a:lnTo>
                    <a:pt x="462" y="882"/>
                  </a:lnTo>
                  <a:lnTo>
                    <a:pt x="462" y="876"/>
                  </a:lnTo>
                  <a:lnTo>
                    <a:pt x="456" y="870"/>
                  </a:lnTo>
                  <a:lnTo>
                    <a:pt x="456" y="864"/>
                  </a:lnTo>
                  <a:lnTo>
                    <a:pt x="450" y="858"/>
                  </a:lnTo>
                  <a:lnTo>
                    <a:pt x="444" y="858"/>
                  </a:lnTo>
                  <a:lnTo>
                    <a:pt x="444" y="852"/>
                  </a:lnTo>
                  <a:lnTo>
                    <a:pt x="438" y="852"/>
                  </a:lnTo>
                  <a:lnTo>
                    <a:pt x="438" y="858"/>
                  </a:lnTo>
                  <a:lnTo>
                    <a:pt x="402" y="870"/>
                  </a:lnTo>
                  <a:lnTo>
                    <a:pt x="390" y="882"/>
                  </a:lnTo>
                  <a:lnTo>
                    <a:pt x="384" y="900"/>
                  </a:lnTo>
                  <a:lnTo>
                    <a:pt x="342" y="900"/>
                  </a:lnTo>
                  <a:lnTo>
                    <a:pt x="324" y="900"/>
                  </a:lnTo>
                  <a:lnTo>
                    <a:pt x="294" y="906"/>
                  </a:lnTo>
                  <a:lnTo>
                    <a:pt x="282" y="948"/>
                  </a:lnTo>
                  <a:lnTo>
                    <a:pt x="282" y="978"/>
                  </a:lnTo>
                  <a:lnTo>
                    <a:pt x="270" y="1008"/>
                  </a:lnTo>
                  <a:lnTo>
                    <a:pt x="240" y="1014"/>
                  </a:lnTo>
                  <a:lnTo>
                    <a:pt x="216" y="996"/>
                  </a:lnTo>
                  <a:lnTo>
                    <a:pt x="204" y="984"/>
                  </a:lnTo>
                  <a:lnTo>
                    <a:pt x="192" y="966"/>
                  </a:lnTo>
                  <a:lnTo>
                    <a:pt x="186" y="948"/>
                  </a:lnTo>
                  <a:lnTo>
                    <a:pt x="174" y="948"/>
                  </a:lnTo>
                  <a:lnTo>
                    <a:pt x="174" y="936"/>
                  </a:lnTo>
                  <a:lnTo>
                    <a:pt x="186" y="924"/>
                  </a:lnTo>
                  <a:lnTo>
                    <a:pt x="198" y="906"/>
                  </a:lnTo>
                  <a:lnTo>
                    <a:pt x="204" y="888"/>
                  </a:lnTo>
                  <a:lnTo>
                    <a:pt x="222" y="870"/>
                  </a:lnTo>
                  <a:lnTo>
                    <a:pt x="234" y="858"/>
                  </a:lnTo>
                  <a:lnTo>
                    <a:pt x="234" y="852"/>
                  </a:lnTo>
                  <a:lnTo>
                    <a:pt x="222" y="852"/>
                  </a:lnTo>
                  <a:lnTo>
                    <a:pt x="228" y="810"/>
                  </a:lnTo>
                  <a:lnTo>
                    <a:pt x="222" y="798"/>
                  </a:lnTo>
                  <a:lnTo>
                    <a:pt x="216" y="798"/>
                  </a:lnTo>
                  <a:lnTo>
                    <a:pt x="216" y="792"/>
                  </a:lnTo>
                  <a:lnTo>
                    <a:pt x="210" y="792"/>
                  </a:lnTo>
                  <a:lnTo>
                    <a:pt x="204" y="798"/>
                  </a:lnTo>
                  <a:lnTo>
                    <a:pt x="204" y="792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0" y="786"/>
                  </a:lnTo>
                  <a:lnTo>
                    <a:pt x="174" y="792"/>
                  </a:lnTo>
                  <a:lnTo>
                    <a:pt x="162" y="792"/>
                  </a:lnTo>
                  <a:lnTo>
                    <a:pt x="156" y="792"/>
                  </a:lnTo>
                  <a:lnTo>
                    <a:pt x="156" y="798"/>
                  </a:lnTo>
                  <a:lnTo>
                    <a:pt x="138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6" y="804"/>
                  </a:lnTo>
                  <a:lnTo>
                    <a:pt x="102" y="810"/>
                  </a:lnTo>
                  <a:lnTo>
                    <a:pt x="90" y="810"/>
                  </a:lnTo>
                  <a:lnTo>
                    <a:pt x="72" y="798"/>
                  </a:lnTo>
                  <a:lnTo>
                    <a:pt x="66" y="780"/>
                  </a:lnTo>
                  <a:lnTo>
                    <a:pt x="60" y="780"/>
                  </a:lnTo>
                  <a:lnTo>
                    <a:pt x="60" y="768"/>
                  </a:lnTo>
                  <a:lnTo>
                    <a:pt x="54" y="768"/>
                  </a:lnTo>
                  <a:lnTo>
                    <a:pt x="24" y="756"/>
                  </a:lnTo>
                  <a:lnTo>
                    <a:pt x="18" y="744"/>
                  </a:lnTo>
                  <a:lnTo>
                    <a:pt x="12" y="738"/>
                  </a:lnTo>
                  <a:lnTo>
                    <a:pt x="18" y="732"/>
                  </a:lnTo>
                  <a:lnTo>
                    <a:pt x="12" y="726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8" y="696"/>
                  </a:lnTo>
                  <a:lnTo>
                    <a:pt x="24" y="708"/>
                  </a:lnTo>
                  <a:lnTo>
                    <a:pt x="36" y="702"/>
                  </a:lnTo>
                  <a:lnTo>
                    <a:pt x="36" y="678"/>
                  </a:lnTo>
                  <a:lnTo>
                    <a:pt x="36" y="660"/>
                  </a:lnTo>
                  <a:lnTo>
                    <a:pt x="42" y="654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72" y="624"/>
                  </a:lnTo>
                  <a:lnTo>
                    <a:pt x="90" y="618"/>
                  </a:lnTo>
                  <a:lnTo>
                    <a:pt x="102" y="618"/>
                  </a:lnTo>
                  <a:lnTo>
                    <a:pt x="114" y="612"/>
                  </a:lnTo>
                  <a:lnTo>
                    <a:pt x="138" y="606"/>
                  </a:lnTo>
                  <a:lnTo>
                    <a:pt x="144" y="606"/>
                  </a:lnTo>
                  <a:lnTo>
                    <a:pt x="150" y="594"/>
                  </a:lnTo>
                  <a:lnTo>
                    <a:pt x="156" y="576"/>
                  </a:lnTo>
                  <a:lnTo>
                    <a:pt x="168" y="552"/>
                  </a:lnTo>
                  <a:lnTo>
                    <a:pt x="168" y="540"/>
                  </a:lnTo>
                  <a:lnTo>
                    <a:pt x="180" y="522"/>
                  </a:lnTo>
                  <a:lnTo>
                    <a:pt x="186" y="498"/>
                  </a:lnTo>
                  <a:lnTo>
                    <a:pt x="198" y="480"/>
                  </a:lnTo>
                  <a:lnTo>
                    <a:pt x="204" y="486"/>
                  </a:lnTo>
                  <a:lnTo>
                    <a:pt x="210" y="480"/>
                  </a:lnTo>
                  <a:lnTo>
                    <a:pt x="204" y="474"/>
                  </a:lnTo>
                  <a:lnTo>
                    <a:pt x="198" y="462"/>
                  </a:lnTo>
                  <a:lnTo>
                    <a:pt x="192" y="456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50"/>
                  </a:lnTo>
                  <a:lnTo>
                    <a:pt x="132" y="426"/>
                  </a:lnTo>
                  <a:lnTo>
                    <a:pt x="132" y="396"/>
                  </a:lnTo>
                  <a:lnTo>
                    <a:pt x="132" y="378"/>
                  </a:lnTo>
                  <a:lnTo>
                    <a:pt x="126" y="348"/>
                  </a:lnTo>
                  <a:lnTo>
                    <a:pt x="132" y="312"/>
                  </a:lnTo>
                  <a:lnTo>
                    <a:pt x="126" y="288"/>
                  </a:lnTo>
                  <a:lnTo>
                    <a:pt x="138" y="282"/>
                  </a:lnTo>
                  <a:lnTo>
                    <a:pt x="126" y="264"/>
                  </a:lnTo>
                  <a:lnTo>
                    <a:pt x="126" y="258"/>
                  </a:lnTo>
                  <a:lnTo>
                    <a:pt x="120" y="246"/>
                  </a:lnTo>
                  <a:lnTo>
                    <a:pt x="126" y="234"/>
                  </a:lnTo>
                  <a:lnTo>
                    <a:pt x="114" y="228"/>
                  </a:lnTo>
                  <a:lnTo>
                    <a:pt x="114" y="222"/>
                  </a:lnTo>
                  <a:lnTo>
                    <a:pt x="96" y="204"/>
                  </a:lnTo>
                  <a:lnTo>
                    <a:pt x="84" y="180"/>
                  </a:lnTo>
                  <a:lnTo>
                    <a:pt x="78" y="168"/>
                  </a:lnTo>
                  <a:lnTo>
                    <a:pt x="72" y="162"/>
                  </a:lnTo>
                  <a:lnTo>
                    <a:pt x="66" y="144"/>
                  </a:lnTo>
                  <a:lnTo>
                    <a:pt x="60" y="138"/>
                  </a:lnTo>
                  <a:lnTo>
                    <a:pt x="66" y="126"/>
                  </a:lnTo>
                  <a:lnTo>
                    <a:pt x="66" y="114"/>
                  </a:lnTo>
                  <a:lnTo>
                    <a:pt x="72" y="114"/>
                  </a:lnTo>
                  <a:lnTo>
                    <a:pt x="72" y="108"/>
                  </a:lnTo>
                  <a:lnTo>
                    <a:pt x="78" y="102"/>
                  </a:lnTo>
                  <a:lnTo>
                    <a:pt x="78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120" y="78"/>
                  </a:lnTo>
                  <a:lnTo>
                    <a:pt x="144" y="84"/>
                  </a:lnTo>
                  <a:lnTo>
                    <a:pt x="150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74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92" y="102"/>
                  </a:lnTo>
                  <a:lnTo>
                    <a:pt x="198" y="96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16" y="96"/>
                  </a:lnTo>
                  <a:lnTo>
                    <a:pt x="222" y="96"/>
                  </a:lnTo>
                  <a:lnTo>
                    <a:pt x="228" y="96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94" y="114"/>
                  </a:lnTo>
                  <a:lnTo>
                    <a:pt x="312" y="120"/>
                  </a:lnTo>
                  <a:lnTo>
                    <a:pt x="318" y="126"/>
                  </a:lnTo>
                  <a:lnTo>
                    <a:pt x="330" y="132"/>
                  </a:lnTo>
                  <a:lnTo>
                    <a:pt x="342" y="132"/>
                  </a:lnTo>
                  <a:lnTo>
                    <a:pt x="348" y="132"/>
                  </a:lnTo>
                  <a:lnTo>
                    <a:pt x="354" y="138"/>
                  </a:lnTo>
                  <a:lnTo>
                    <a:pt x="366" y="138"/>
                  </a:lnTo>
                  <a:lnTo>
                    <a:pt x="372" y="144"/>
                  </a:lnTo>
                  <a:lnTo>
                    <a:pt x="378" y="150"/>
                  </a:lnTo>
                  <a:lnTo>
                    <a:pt x="384" y="150"/>
                  </a:lnTo>
                  <a:lnTo>
                    <a:pt x="390" y="150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14" y="156"/>
                  </a:lnTo>
                  <a:lnTo>
                    <a:pt x="420" y="156"/>
                  </a:lnTo>
                  <a:lnTo>
                    <a:pt x="426" y="162"/>
                  </a:lnTo>
                  <a:lnTo>
                    <a:pt x="438" y="168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62" y="174"/>
                  </a:lnTo>
                  <a:lnTo>
                    <a:pt x="468" y="174"/>
                  </a:lnTo>
                  <a:lnTo>
                    <a:pt x="474" y="174"/>
                  </a:lnTo>
                  <a:lnTo>
                    <a:pt x="474" y="180"/>
                  </a:lnTo>
                  <a:lnTo>
                    <a:pt x="480" y="192"/>
                  </a:lnTo>
                  <a:lnTo>
                    <a:pt x="498" y="198"/>
                  </a:lnTo>
                  <a:lnTo>
                    <a:pt x="510" y="210"/>
                  </a:lnTo>
                  <a:lnTo>
                    <a:pt x="516" y="210"/>
                  </a:lnTo>
                  <a:lnTo>
                    <a:pt x="522" y="210"/>
                  </a:lnTo>
                  <a:lnTo>
                    <a:pt x="534" y="216"/>
                  </a:lnTo>
                  <a:lnTo>
                    <a:pt x="540" y="216"/>
                  </a:lnTo>
                  <a:lnTo>
                    <a:pt x="546" y="222"/>
                  </a:lnTo>
                  <a:lnTo>
                    <a:pt x="552" y="222"/>
                  </a:lnTo>
                  <a:lnTo>
                    <a:pt x="558" y="228"/>
                  </a:lnTo>
                  <a:lnTo>
                    <a:pt x="564" y="228"/>
                  </a:lnTo>
                  <a:lnTo>
                    <a:pt x="570" y="234"/>
                  </a:lnTo>
                  <a:lnTo>
                    <a:pt x="576" y="240"/>
                  </a:lnTo>
                  <a:lnTo>
                    <a:pt x="582" y="240"/>
                  </a:lnTo>
                  <a:lnTo>
                    <a:pt x="588" y="240"/>
                  </a:lnTo>
                  <a:lnTo>
                    <a:pt x="594" y="240"/>
                  </a:lnTo>
                  <a:lnTo>
                    <a:pt x="600" y="228"/>
                  </a:lnTo>
                  <a:lnTo>
                    <a:pt x="588" y="216"/>
                  </a:lnTo>
                  <a:lnTo>
                    <a:pt x="588" y="198"/>
                  </a:lnTo>
                  <a:lnTo>
                    <a:pt x="582" y="198"/>
                  </a:lnTo>
                  <a:lnTo>
                    <a:pt x="588" y="192"/>
                  </a:lnTo>
                  <a:lnTo>
                    <a:pt x="582" y="168"/>
                  </a:lnTo>
                  <a:lnTo>
                    <a:pt x="558" y="114"/>
                  </a:lnTo>
                  <a:lnTo>
                    <a:pt x="552" y="90"/>
                  </a:lnTo>
                  <a:lnTo>
                    <a:pt x="558" y="60"/>
                  </a:lnTo>
                  <a:lnTo>
                    <a:pt x="564" y="48"/>
                  </a:lnTo>
                  <a:lnTo>
                    <a:pt x="582" y="42"/>
                  </a:lnTo>
                  <a:lnTo>
                    <a:pt x="624" y="6"/>
                  </a:lnTo>
                  <a:lnTo>
                    <a:pt x="648" y="0"/>
                  </a:lnTo>
                  <a:lnTo>
                    <a:pt x="678" y="0"/>
                  </a:lnTo>
                  <a:lnTo>
                    <a:pt x="720" y="12"/>
                  </a:lnTo>
                  <a:lnTo>
                    <a:pt x="744" y="24"/>
                  </a:lnTo>
                  <a:lnTo>
                    <a:pt x="768" y="42"/>
                  </a:lnTo>
                  <a:lnTo>
                    <a:pt x="816" y="48"/>
                  </a:lnTo>
                  <a:lnTo>
                    <a:pt x="834" y="48"/>
                  </a:lnTo>
                  <a:lnTo>
                    <a:pt x="852" y="54"/>
                  </a:lnTo>
                  <a:lnTo>
                    <a:pt x="906" y="60"/>
                  </a:lnTo>
                  <a:lnTo>
                    <a:pt x="948" y="54"/>
                  </a:lnTo>
                  <a:lnTo>
                    <a:pt x="978" y="42"/>
                  </a:lnTo>
                  <a:lnTo>
                    <a:pt x="984" y="48"/>
                  </a:lnTo>
                  <a:lnTo>
                    <a:pt x="990" y="60"/>
                  </a:lnTo>
                  <a:lnTo>
                    <a:pt x="996" y="66"/>
                  </a:lnTo>
                  <a:lnTo>
                    <a:pt x="1002" y="72"/>
                  </a:lnTo>
                  <a:lnTo>
                    <a:pt x="1014" y="78"/>
                  </a:lnTo>
                  <a:lnTo>
                    <a:pt x="1014" y="84"/>
                  </a:lnTo>
                  <a:lnTo>
                    <a:pt x="1032" y="84"/>
                  </a:lnTo>
                  <a:lnTo>
                    <a:pt x="1032" y="90"/>
                  </a:lnTo>
                  <a:lnTo>
                    <a:pt x="1032" y="96"/>
                  </a:lnTo>
                  <a:lnTo>
                    <a:pt x="1032" y="108"/>
                  </a:lnTo>
                  <a:lnTo>
                    <a:pt x="1056" y="126"/>
                  </a:lnTo>
                  <a:lnTo>
                    <a:pt x="1068" y="138"/>
                  </a:lnTo>
                  <a:lnTo>
                    <a:pt x="1068" y="156"/>
                  </a:lnTo>
                  <a:lnTo>
                    <a:pt x="1080" y="150"/>
                  </a:lnTo>
                  <a:lnTo>
                    <a:pt x="1086" y="150"/>
                  </a:lnTo>
                  <a:lnTo>
                    <a:pt x="1092" y="156"/>
                  </a:lnTo>
                  <a:lnTo>
                    <a:pt x="1092" y="162"/>
                  </a:lnTo>
                  <a:lnTo>
                    <a:pt x="1092" y="168"/>
                  </a:lnTo>
                  <a:lnTo>
                    <a:pt x="1098" y="168"/>
                  </a:lnTo>
                  <a:lnTo>
                    <a:pt x="1092" y="180"/>
                  </a:lnTo>
                  <a:lnTo>
                    <a:pt x="1092" y="186"/>
                  </a:lnTo>
                  <a:lnTo>
                    <a:pt x="1086" y="192"/>
                  </a:lnTo>
                  <a:lnTo>
                    <a:pt x="1068" y="210"/>
                  </a:lnTo>
                  <a:lnTo>
                    <a:pt x="1068" y="216"/>
                  </a:lnTo>
                  <a:lnTo>
                    <a:pt x="1074" y="228"/>
                  </a:lnTo>
                  <a:lnTo>
                    <a:pt x="1092" y="234"/>
                  </a:lnTo>
                  <a:lnTo>
                    <a:pt x="1122" y="216"/>
                  </a:lnTo>
                  <a:lnTo>
                    <a:pt x="1188" y="204"/>
                  </a:lnTo>
                  <a:lnTo>
                    <a:pt x="1212" y="204"/>
                  </a:lnTo>
                  <a:lnTo>
                    <a:pt x="1230" y="198"/>
                  </a:lnTo>
                  <a:lnTo>
                    <a:pt x="1236" y="204"/>
                  </a:lnTo>
                  <a:lnTo>
                    <a:pt x="1242" y="210"/>
                  </a:lnTo>
                  <a:lnTo>
                    <a:pt x="1242" y="204"/>
                  </a:lnTo>
                  <a:lnTo>
                    <a:pt x="1248" y="198"/>
                  </a:lnTo>
                  <a:lnTo>
                    <a:pt x="1308" y="204"/>
                  </a:lnTo>
                  <a:lnTo>
                    <a:pt x="1338" y="204"/>
                  </a:lnTo>
                  <a:lnTo>
                    <a:pt x="1374" y="228"/>
                  </a:lnTo>
                  <a:lnTo>
                    <a:pt x="1380" y="234"/>
                  </a:lnTo>
                  <a:lnTo>
                    <a:pt x="1380" y="240"/>
                  </a:lnTo>
                  <a:lnTo>
                    <a:pt x="1386" y="252"/>
                  </a:lnTo>
                  <a:lnTo>
                    <a:pt x="1392" y="252"/>
                  </a:lnTo>
                  <a:lnTo>
                    <a:pt x="1416" y="270"/>
                  </a:lnTo>
                  <a:lnTo>
                    <a:pt x="1428" y="294"/>
                  </a:lnTo>
                  <a:lnTo>
                    <a:pt x="1440" y="312"/>
                  </a:lnTo>
                  <a:lnTo>
                    <a:pt x="1452" y="330"/>
                  </a:lnTo>
                  <a:lnTo>
                    <a:pt x="1464" y="330"/>
                  </a:lnTo>
                  <a:lnTo>
                    <a:pt x="1464" y="336"/>
                  </a:lnTo>
                  <a:lnTo>
                    <a:pt x="1470" y="336"/>
                  </a:lnTo>
                  <a:lnTo>
                    <a:pt x="1470" y="342"/>
                  </a:lnTo>
                  <a:lnTo>
                    <a:pt x="1476" y="342"/>
                  </a:lnTo>
                  <a:lnTo>
                    <a:pt x="1488" y="336"/>
                  </a:lnTo>
                  <a:lnTo>
                    <a:pt x="1494" y="342"/>
                  </a:lnTo>
                  <a:lnTo>
                    <a:pt x="1500" y="342"/>
                  </a:lnTo>
                  <a:lnTo>
                    <a:pt x="1512" y="366"/>
                  </a:lnTo>
                  <a:lnTo>
                    <a:pt x="1530" y="396"/>
                  </a:lnTo>
                  <a:lnTo>
                    <a:pt x="1536" y="444"/>
                  </a:lnTo>
                  <a:lnTo>
                    <a:pt x="1530" y="480"/>
                  </a:lnTo>
                  <a:lnTo>
                    <a:pt x="1506" y="510"/>
                  </a:lnTo>
                  <a:lnTo>
                    <a:pt x="1500" y="546"/>
                  </a:lnTo>
                  <a:lnTo>
                    <a:pt x="1494" y="564"/>
                  </a:lnTo>
                  <a:lnTo>
                    <a:pt x="1494" y="576"/>
                  </a:lnTo>
                  <a:lnTo>
                    <a:pt x="1500" y="582"/>
                  </a:lnTo>
                  <a:lnTo>
                    <a:pt x="1494" y="612"/>
                  </a:lnTo>
                  <a:lnTo>
                    <a:pt x="1476" y="630"/>
                  </a:lnTo>
                  <a:lnTo>
                    <a:pt x="1434" y="672"/>
                  </a:lnTo>
                  <a:lnTo>
                    <a:pt x="1392" y="756"/>
                  </a:lnTo>
                  <a:lnTo>
                    <a:pt x="1380" y="792"/>
                  </a:lnTo>
                  <a:lnTo>
                    <a:pt x="1374" y="798"/>
                  </a:lnTo>
                  <a:lnTo>
                    <a:pt x="1368" y="798"/>
                  </a:lnTo>
                  <a:lnTo>
                    <a:pt x="1380" y="804"/>
                  </a:lnTo>
                  <a:lnTo>
                    <a:pt x="1386" y="804"/>
                  </a:lnTo>
                  <a:lnTo>
                    <a:pt x="1380" y="822"/>
                  </a:lnTo>
                  <a:lnTo>
                    <a:pt x="1380" y="852"/>
                  </a:lnTo>
                  <a:lnTo>
                    <a:pt x="1374" y="858"/>
                  </a:lnTo>
                  <a:lnTo>
                    <a:pt x="1380" y="858"/>
                  </a:lnTo>
                  <a:lnTo>
                    <a:pt x="1374" y="864"/>
                  </a:lnTo>
                  <a:lnTo>
                    <a:pt x="1374" y="870"/>
                  </a:lnTo>
                  <a:lnTo>
                    <a:pt x="1374" y="876"/>
                  </a:lnTo>
                  <a:lnTo>
                    <a:pt x="1368" y="900"/>
                  </a:lnTo>
                  <a:lnTo>
                    <a:pt x="1362" y="906"/>
                  </a:lnTo>
                  <a:lnTo>
                    <a:pt x="1362" y="918"/>
                  </a:lnTo>
                  <a:lnTo>
                    <a:pt x="1362" y="924"/>
                  </a:lnTo>
                  <a:lnTo>
                    <a:pt x="1356" y="942"/>
                  </a:lnTo>
                  <a:lnTo>
                    <a:pt x="1350" y="972"/>
                  </a:lnTo>
                  <a:lnTo>
                    <a:pt x="1350" y="1014"/>
                  </a:lnTo>
                  <a:lnTo>
                    <a:pt x="1350" y="10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3" name="Freeform 18">
              <a:extLst>
                <a:ext uri="{FF2B5EF4-FFF2-40B4-BE49-F238E27FC236}">
                  <a16:creationId xmlns:a16="http://schemas.microsoft.com/office/drawing/2014/main" id="{EC11F2E0-3C06-46E2-8AD2-66EBE00FFE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32346" y="3837389"/>
              <a:ext cx="556811" cy="818559"/>
            </a:xfrm>
            <a:custGeom>
              <a:avLst/>
              <a:gdLst>
                <a:gd name="T0" fmla="*/ 12 w 1044"/>
                <a:gd name="T1" fmla="*/ 95 h 1542"/>
                <a:gd name="T2" fmla="*/ 7 w 1044"/>
                <a:gd name="T3" fmla="*/ 93 h 1542"/>
                <a:gd name="T4" fmla="*/ 0 w 1044"/>
                <a:gd name="T5" fmla="*/ 88 h 1542"/>
                <a:gd name="T6" fmla="*/ 3 w 1044"/>
                <a:gd name="T7" fmla="*/ 74 h 1542"/>
                <a:gd name="T8" fmla="*/ 4 w 1044"/>
                <a:gd name="T9" fmla="*/ 59 h 1542"/>
                <a:gd name="T10" fmla="*/ 7 w 1044"/>
                <a:gd name="T11" fmla="*/ 52 h 1542"/>
                <a:gd name="T12" fmla="*/ 20 w 1044"/>
                <a:gd name="T13" fmla="*/ 50 h 1542"/>
                <a:gd name="T14" fmla="*/ 24 w 1044"/>
                <a:gd name="T15" fmla="*/ 46 h 1542"/>
                <a:gd name="T16" fmla="*/ 29 w 1044"/>
                <a:gd name="T17" fmla="*/ 33 h 1542"/>
                <a:gd name="T18" fmla="*/ 32 w 1044"/>
                <a:gd name="T19" fmla="*/ 26 h 1542"/>
                <a:gd name="T20" fmla="*/ 30 w 1044"/>
                <a:gd name="T21" fmla="*/ 20 h 1542"/>
                <a:gd name="T22" fmla="*/ 26 w 1044"/>
                <a:gd name="T23" fmla="*/ 17 h 1542"/>
                <a:gd name="T24" fmla="*/ 28 w 1044"/>
                <a:gd name="T25" fmla="*/ 12 h 1542"/>
                <a:gd name="T26" fmla="*/ 44 w 1044"/>
                <a:gd name="T27" fmla="*/ 5 h 1542"/>
                <a:gd name="T28" fmla="*/ 57 w 1044"/>
                <a:gd name="T29" fmla="*/ 2 h 1542"/>
                <a:gd name="T30" fmla="*/ 65 w 1044"/>
                <a:gd name="T31" fmla="*/ 12 h 1542"/>
                <a:gd name="T32" fmla="*/ 81 w 1044"/>
                <a:gd name="T33" fmla="*/ 9 h 1542"/>
                <a:gd name="T34" fmla="*/ 91 w 1044"/>
                <a:gd name="T35" fmla="*/ 20 h 1542"/>
                <a:gd name="T36" fmla="*/ 89 w 1044"/>
                <a:gd name="T37" fmla="*/ 28 h 1542"/>
                <a:gd name="T38" fmla="*/ 83 w 1044"/>
                <a:gd name="T39" fmla="*/ 33 h 1542"/>
                <a:gd name="T40" fmla="*/ 74 w 1044"/>
                <a:gd name="T41" fmla="*/ 42 h 1542"/>
                <a:gd name="T42" fmla="*/ 58 w 1044"/>
                <a:gd name="T43" fmla="*/ 57 h 1542"/>
                <a:gd name="T44" fmla="*/ 54 w 1044"/>
                <a:gd name="T45" fmla="*/ 65 h 1542"/>
                <a:gd name="T46" fmla="*/ 59 w 1044"/>
                <a:gd name="T47" fmla="*/ 74 h 1542"/>
                <a:gd name="T48" fmla="*/ 55 w 1044"/>
                <a:gd name="T49" fmla="*/ 84 h 1542"/>
                <a:gd name="T50" fmla="*/ 52 w 1044"/>
                <a:gd name="T51" fmla="*/ 98 h 1542"/>
                <a:gd name="T52" fmla="*/ 47 w 1044"/>
                <a:gd name="T53" fmla="*/ 105 h 1542"/>
                <a:gd name="T54" fmla="*/ 42 w 1044"/>
                <a:gd name="T55" fmla="*/ 111 h 1542"/>
                <a:gd name="T56" fmla="*/ 43 w 1044"/>
                <a:gd name="T57" fmla="*/ 120 h 1542"/>
                <a:gd name="T58" fmla="*/ 45 w 1044"/>
                <a:gd name="T59" fmla="*/ 125 h 1542"/>
                <a:gd name="T60" fmla="*/ 44 w 1044"/>
                <a:gd name="T61" fmla="*/ 130 h 1542"/>
                <a:gd name="T62" fmla="*/ 45 w 1044"/>
                <a:gd name="T63" fmla="*/ 131 h 1542"/>
                <a:gd name="T64" fmla="*/ 48 w 1044"/>
                <a:gd name="T65" fmla="*/ 133 h 1542"/>
                <a:gd name="T66" fmla="*/ 39 w 1044"/>
                <a:gd name="T67" fmla="*/ 133 h 1542"/>
                <a:gd name="T68" fmla="*/ 42 w 1044"/>
                <a:gd name="T69" fmla="*/ 132 h 1542"/>
                <a:gd name="T70" fmla="*/ 38 w 1044"/>
                <a:gd name="T71" fmla="*/ 133 h 1542"/>
                <a:gd name="T72" fmla="*/ 37 w 1044"/>
                <a:gd name="T73" fmla="*/ 129 h 1542"/>
                <a:gd name="T74" fmla="*/ 40 w 1044"/>
                <a:gd name="T75" fmla="*/ 125 h 1542"/>
                <a:gd name="T76" fmla="*/ 40 w 1044"/>
                <a:gd name="T77" fmla="*/ 120 h 1542"/>
                <a:gd name="T78" fmla="*/ 40 w 1044"/>
                <a:gd name="T79" fmla="*/ 117 h 1542"/>
                <a:gd name="T80" fmla="*/ 37 w 1044"/>
                <a:gd name="T81" fmla="*/ 120 h 1542"/>
                <a:gd name="T82" fmla="*/ 34 w 1044"/>
                <a:gd name="T83" fmla="*/ 122 h 1542"/>
                <a:gd name="T84" fmla="*/ 36 w 1044"/>
                <a:gd name="T85" fmla="*/ 120 h 1542"/>
                <a:gd name="T86" fmla="*/ 30 w 1044"/>
                <a:gd name="T87" fmla="*/ 120 h 1542"/>
                <a:gd name="T88" fmla="*/ 31 w 1044"/>
                <a:gd name="T89" fmla="*/ 113 h 1542"/>
                <a:gd name="T90" fmla="*/ 29 w 1044"/>
                <a:gd name="T91" fmla="*/ 112 h 1542"/>
                <a:gd name="T92" fmla="*/ 31 w 1044"/>
                <a:gd name="T93" fmla="*/ 117 h 1542"/>
                <a:gd name="T94" fmla="*/ 27 w 1044"/>
                <a:gd name="T95" fmla="*/ 116 h 1542"/>
                <a:gd name="T96" fmla="*/ 25 w 1044"/>
                <a:gd name="T97" fmla="*/ 112 h 1542"/>
                <a:gd name="T98" fmla="*/ 21 w 1044"/>
                <a:gd name="T99" fmla="*/ 109 h 1542"/>
                <a:gd name="T100" fmla="*/ 21 w 1044"/>
                <a:gd name="T101" fmla="*/ 113 h 1542"/>
                <a:gd name="T102" fmla="*/ 40 w 1044"/>
                <a:gd name="T103" fmla="*/ 120 h 1542"/>
                <a:gd name="T104" fmla="*/ 40 w 1044"/>
                <a:gd name="T105" fmla="*/ 121 h 1542"/>
                <a:gd name="T106" fmla="*/ 40 w 1044"/>
                <a:gd name="T107" fmla="*/ 116 h 1542"/>
                <a:gd name="T108" fmla="*/ 38 w 1044"/>
                <a:gd name="T109" fmla="*/ 120 h 1542"/>
                <a:gd name="T110" fmla="*/ 23 w 1044"/>
                <a:gd name="T111" fmla="*/ 110 h 1542"/>
                <a:gd name="T112" fmla="*/ 37 w 1044"/>
                <a:gd name="T113" fmla="*/ 124 h 1542"/>
                <a:gd name="T114" fmla="*/ 40 w 1044"/>
                <a:gd name="T115" fmla="*/ 125 h 1542"/>
                <a:gd name="T116" fmla="*/ 38 w 1044"/>
                <a:gd name="T117" fmla="*/ 128 h 1542"/>
                <a:gd name="T118" fmla="*/ 25 w 1044"/>
                <a:gd name="T119" fmla="*/ 117 h 1542"/>
                <a:gd name="T120" fmla="*/ 27 w 1044"/>
                <a:gd name="T121" fmla="*/ 127 h 1542"/>
                <a:gd name="T122" fmla="*/ 24 w 1044"/>
                <a:gd name="T123" fmla="*/ 113 h 15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4"/>
                <a:gd name="T187" fmla="*/ 0 h 1542"/>
                <a:gd name="T188" fmla="*/ 1044 w 1044"/>
                <a:gd name="T189" fmla="*/ 1542 h 154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4" h="1542">
                  <a:moveTo>
                    <a:pt x="234" y="1278"/>
                  </a:moveTo>
                  <a:lnTo>
                    <a:pt x="228" y="1272"/>
                  </a:lnTo>
                  <a:lnTo>
                    <a:pt x="222" y="1266"/>
                  </a:lnTo>
                  <a:lnTo>
                    <a:pt x="222" y="1260"/>
                  </a:lnTo>
                  <a:lnTo>
                    <a:pt x="204" y="1248"/>
                  </a:lnTo>
                  <a:lnTo>
                    <a:pt x="192" y="1248"/>
                  </a:lnTo>
                  <a:lnTo>
                    <a:pt x="186" y="1236"/>
                  </a:lnTo>
                  <a:lnTo>
                    <a:pt x="174" y="1218"/>
                  </a:lnTo>
                  <a:lnTo>
                    <a:pt x="162" y="1194"/>
                  </a:lnTo>
                  <a:lnTo>
                    <a:pt x="156" y="1182"/>
                  </a:lnTo>
                  <a:lnTo>
                    <a:pt x="162" y="1146"/>
                  </a:lnTo>
                  <a:lnTo>
                    <a:pt x="156" y="1134"/>
                  </a:lnTo>
                  <a:lnTo>
                    <a:pt x="138" y="1122"/>
                  </a:lnTo>
                  <a:lnTo>
                    <a:pt x="132" y="1116"/>
                  </a:lnTo>
                  <a:lnTo>
                    <a:pt x="138" y="1098"/>
                  </a:lnTo>
                  <a:lnTo>
                    <a:pt x="138" y="1092"/>
                  </a:lnTo>
                  <a:lnTo>
                    <a:pt x="138" y="1086"/>
                  </a:lnTo>
                  <a:lnTo>
                    <a:pt x="132" y="1074"/>
                  </a:lnTo>
                  <a:lnTo>
                    <a:pt x="126" y="1074"/>
                  </a:lnTo>
                  <a:lnTo>
                    <a:pt x="126" y="1068"/>
                  </a:lnTo>
                  <a:lnTo>
                    <a:pt x="120" y="1062"/>
                  </a:lnTo>
                  <a:lnTo>
                    <a:pt x="120" y="1056"/>
                  </a:lnTo>
                  <a:lnTo>
                    <a:pt x="114" y="1050"/>
                  </a:lnTo>
                  <a:lnTo>
                    <a:pt x="108" y="1050"/>
                  </a:lnTo>
                  <a:lnTo>
                    <a:pt x="102" y="1056"/>
                  </a:lnTo>
                  <a:lnTo>
                    <a:pt x="102" y="1062"/>
                  </a:lnTo>
                  <a:lnTo>
                    <a:pt x="96" y="1062"/>
                  </a:lnTo>
                  <a:lnTo>
                    <a:pt x="96" y="1068"/>
                  </a:lnTo>
                  <a:lnTo>
                    <a:pt x="96" y="1074"/>
                  </a:lnTo>
                  <a:lnTo>
                    <a:pt x="90" y="1074"/>
                  </a:lnTo>
                  <a:lnTo>
                    <a:pt x="84" y="1080"/>
                  </a:lnTo>
                  <a:lnTo>
                    <a:pt x="78" y="1074"/>
                  </a:lnTo>
                  <a:lnTo>
                    <a:pt x="72" y="1074"/>
                  </a:lnTo>
                  <a:lnTo>
                    <a:pt x="72" y="1068"/>
                  </a:lnTo>
                  <a:lnTo>
                    <a:pt x="72" y="1062"/>
                  </a:lnTo>
                  <a:lnTo>
                    <a:pt x="60" y="1056"/>
                  </a:lnTo>
                  <a:lnTo>
                    <a:pt x="60" y="1044"/>
                  </a:lnTo>
                  <a:lnTo>
                    <a:pt x="60" y="1032"/>
                  </a:lnTo>
                  <a:lnTo>
                    <a:pt x="60" y="1026"/>
                  </a:lnTo>
                  <a:lnTo>
                    <a:pt x="54" y="1026"/>
                  </a:lnTo>
                  <a:lnTo>
                    <a:pt x="48" y="1014"/>
                  </a:lnTo>
                  <a:lnTo>
                    <a:pt x="42" y="1008"/>
                  </a:lnTo>
                  <a:lnTo>
                    <a:pt x="30" y="1008"/>
                  </a:lnTo>
                  <a:lnTo>
                    <a:pt x="30" y="1002"/>
                  </a:lnTo>
                  <a:lnTo>
                    <a:pt x="24" y="1008"/>
                  </a:lnTo>
                  <a:lnTo>
                    <a:pt x="12" y="1008"/>
                  </a:lnTo>
                  <a:lnTo>
                    <a:pt x="6" y="1008"/>
                  </a:lnTo>
                  <a:lnTo>
                    <a:pt x="0" y="1008"/>
                  </a:lnTo>
                  <a:lnTo>
                    <a:pt x="0" y="1002"/>
                  </a:lnTo>
                  <a:lnTo>
                    <a:pt x="6" y="990"/>
                  </a:lnTo>
                  <a:lnTo>
                    <a:pt x="6" y="984"/>
                  </a:lnTo>
                  <a:lnTo>
                    <a:pt x="0" y="978"/>
                  </a:lnTo>
                  <a:lnTo>
                    <a:pt x="6" y="972"/>
                  </a:lnTo>
                  <a:lnTo>
                    <a:pt x="12" y="972"/>
                  </a:lnTo>
                  <a:lnTo>
                    <a:pt x="72" y="978"/>
                  </a:lnTo>
                  <a:lnTo>
                    <a:pt x="78" y="972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30"/>
                  </a:lnTo>
                  <a:lnTo>
                    <a:pt x="54" y="912"/>
                  </a:lnTo>
                  <a:lnTo>
                    <a:pt x="42" y="906"/>
                  </a:lnTo>
                  <a:lnTo>
                    <a:pt x="36" y="894"/>
                  </a:lnTo>
                  <a:lnTo>
                    <a:pt x="30" y="876"/>
                  </a:lnTo>
                  <a:lnTo>
                    <a:pt x="30" y="858"/>
                  </a:lnTo>
                  <a:lnTo>
                    <a:pt x="30" y="840"/>
                  </a:lnTo>
                  <a:lnTo>
                    <a:pt x="36" y="816"/>
                  </a:lnTo>
                  <a:lnTo>
                    <a:pt x="36" y="792"/>
                  </a:lnTo>
                  <a:lnTo>
                    <a:pt x="36" y="780"/>
                  </a:lnTo>
                  <a:lnTo>
                    <a:pt x="12" y="774"/>
                  </a:lnTo>
                  <a:lnTo>
                    <a:pt x="24" y="756"/>
                  </a:lnTo>
                  <a:lnTo>
                    <a:pt x="24" y="744"/>
                  </a:lnTo>
                  <a:lnTo>
                    <a:pt x="30" y="738"/>
                  </a:lnTo>
                  <a:lnTo>
                    <a:pt x="30" y="732"/>
                  </a:lnTo>
                  <a:lnTo>
                    <a:pt x="36" y="720"/>
                  </a:lnTo>
                  <a:lnTo>
                    <a:pt x="42" y="714"/>
                  </a:lnTo>
                  <a:lnTo>
                    <a:pt x="54" y="708"/>
                  </a:lnTo>
                  <a:lnTo>
                    <a:pt x="60" y="702"/>
                  </a:lnTo>
                  <a:lnTo>
                    <a:pt x="48" y="690"/>
                  </a:lnTo>
                  <a:lnTo>
                    <a:pt x="48" y="684"/>
                  </a:lnTo>
                  <a:lnTo>
                    <a:pt x="48" y="678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66"/>
                  </a:lnTo>
                  <a:lnTo>
                    <a:pt x="72" y="654"/>
                  </a:lnTo>
                  <a:lnTo>
                    <a:pt x="72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84" y="630"/>
                  </a:lnTo>
                  <a:lnTo>
                    <a:pt x="90" y="630"/>
                  </a:lnTo>
                  <a:lnTo>
                    <a:pt x="96" y="630"/>
                  </a:lnTo>
                  <a:lnTo>
                    <a:pt x="96" y="624"/>
                  </a:lnTo>
                  <a:lnTo>
                    <a:pt x="90" y="624"/>
                  </a:lnTo>
                  <a:lnTo>
                    <a:pt x="84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90" y="600"/>
                  </a:lnTo>
                  <a:lnTo>
                    <a:pt x="84" y="600"/>
                  </a:lnTo>
                  <a:lnTo>
                    <a:pt x="78" y="594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126" y="564"/>
                  </a:lnTo>
                  <a:lnTo>
                    <a:pt x="144" y="564"/>
                  </a:lnTo>
                  <a:lnTo>
                    <a:pt x="156" y="582"/>
                  </a:lnTo>
                  <a:lnTo>
                    <a:pt x="162" y="600"/>
                  </a:lnTo>
                  <a:lnTo>
                    <a:pt x="180" y="588"/>
                  </a:lnTo>
                  <a:lnTo>
                    <a:pt x="192" y="588"/>
                  </a:lnTo>
                  <a:lnTo>
                    <a:pt x="198" y="588"/>
                  </a:lnTo>
                  <a:lnTo>
                    <a:pt x="210" y="582"/>
                  </a:lnTo>
                  <a:lnTo>
                    <a:pt x="216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58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46" y="558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58" y="570"/>
                  </a:lnTo>
                  <a:lnTo>
                    <a:pt x="264" y="570"/>
                  </a:lnTo>
                  <a:lnTo>
                    <a:pt x="270" y="564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46"/>
                  </a:lnTo>
                  <a:lnTo>
                    <a:pt x="276" y="540"/>
                  </a:lnTo>
                  <a:lnTo>
                    <a:pt x="276" y="534"/>
                  </a:lnTo>
                  <a:lnTo>
                    <a:pt x="276" y="528"/>
                  </a:lnTo>
                  <a:lnTo>
                    <a:pt x="282" y="528"/>
                  </a:lnTo>
                  <a:lnTo>
                    <a:pt x="282" y="522"/>
                  </a:lnTo>
                  <a:lnTo>
                    <a:pt x="282" y="516"/>
                  </a:lnTo>
                  <a:lnTo>
                    <a:pt x="282" y="510"/>
                  </a:lnTo>
                  <a:lnTo>
                    <a:pt x="282" y="504"/>
                  </a:lnTo>
                  <a:lnTo>
                    <a:pt x="282" y="492"/>
                  </a:lnTo>
                  <a:lnTo>
                    <a:pt x="288" y="486"/>
                  </a:lnTo>
                  <a:lnTo>
                    <a:pt x="300" y="480"/>
                  </a:lnTo>
                  <a:lnTo>
                    <a:pt x="306" y="462"/>
                  </a:lnTo>
                  <a:lnTo>
                    <a:pt x="318" y="444"/>
                  </a:lnTo>
                  <a:lnTo>
                    <a:pt x="330" y="444"/>
                  </a:lnTo>
                  <a:lnTo>
                    <a:pt x="330" y="432"/>
                  </a:lnTo>
                  <a:lnTo>
                    <a:pt x="342" y="432"/>
                  </a:lnTo>
                  <a:lnTo>
                    <a:pt x="354" y="402"/>
                  </a:lnTo>
                  <a:lnTo>
                    <a:pt x="348" y="390"/>
                  </a:lnTo>
                  <a:lnTo>
                    <a:pt x="336" y="384"/>
                  </a:lnTo>
                  <a:lnTo>
                    <a:pt x="336" y="360"/>
                  </a:lnTo>
                  <a:lnTo>
                    <a:pt x="336" y="354"/>
                  </a:lnTo>
                  <a:lnTo>
                    <a:pt x="336" y="342"/>
                  </a:lnTo>
                  <a:lnTo>
                    <a:pt x="342" y="336"/>
                  </a:lnTo>
                  <a:lnTo>
                    <a:pt x="342" y="324"/>
                  </a:lnTo>
                  <a:lnTo>
                    <a:pt x="372" y="324"/>
                  </a:lnTo>
                  <a:lnTo>
                    <a:pt x="378" y="324"/>
                  </a:lnTo>
                  <a:lnTo>
                    <a:pt x="378" y="318"/>
                  </a:lnTo>
                  <a:lnTo>
                    <a:pt x="372" y="312"/>
                  </a:lnTo>
                  <a:lnTo>
                    <a:pt x="378" y="312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84" y="300"/>
                  </a:lnTo>
                  <a:lnTo>
                    <a:pt x="384" y="294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66" y="294"/>
                  </a:lnTo>
                  <a:lnTo>
                    <a:pt x="366" y="288"/>
                  </a:lnTo>
                  <a:lnTo>
                    <a:pt x="372" y="288"/>
                  </a:lnTo>
                  <a:lnTo>
                    <a:pt x="372" y="282"/>
                  </a:lnTo>
                  <a:lnTo>
                    <a:pt x="366" y="276"/>
                  </a:lnTo>
                  <a:lnTo>
                    <a:pt x="360" y="270"/>
                  </a:lnTo>
                  <a:lnTo>
                    <a:pt x="360" y="264"/>
                  </a:lnTo>
                  <a:lnTo>
                    <a:pt x="354" y="264"/>
                  </a:lnTo>
                  <a:lnTo>
                    <a:pt x="348" y="258"/>
                  </a:lnTo>
                  <a:lnTo>
                    <a:pt x="354" y="258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40"/>
                  </a:lnTo>
                  <a:lnTo>
                    <a:pt x="354" y="240"/>
                  </a:lnTo>
                  <a:lnTo>
                    <a:pt x="342" y="234"/>
                  </a:lnTo>
                  <a:lnTo>
                    <a:pt x="342" y="228"/>
                  </a:lnTo>
                  <a:lnTo>
                    <a:pt x="348" y="228"/>
                  </a:lnTo>
                  <a:lnTo>
                    <a:pt x="342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6" y="216"/>
                  </a:lnTo>
                  <a:lnTo>
                    <a:pt x="330" y="222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24" y="210"/>
                  </a:lnTo>
                  <a:lnTo>
                    <a:pt x="318" y="210"/>
                  </a:lnTo>
                  <a:lnTo>
                    <a:pt x="318" y="204"/>
                  </a:lnTo>
                  <a:lnTo>
                    <a:pt x="312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294" y="192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300" y="174"/>
                  </a:lnTo>
                  <a:lnTo>
                    <a:pt x="300" y="168"/>
                  </a:lnTo>
                  <a:lnTo>
                    <a:pt x="300" y="162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88" y="150"/>
                  </a:lnTo>
                  <a:lnTo>
                    <a:pt x="288" y="144"/>
                  </a:lnTo>
                  <a:lnTo>
                    <a:pt x="282" y="144"/>
                  </a:lnTo>
                  <a:lnTo>
                    <a:pt x="282" y="138"/>
                  </a:lnTo>
                  <a:lnTo>
                    <a:pt x="312" y="132"/>
                  </a:lnTo>
                  <a:lnTo>
                    <a:pt x="324" y="120"/>
                  </a:lnTo>
                  <a:lnTo>
                    <a:pt x="330" y="114"/>
                  </a:lnTo>
                  <a:lnTo>
                    <a:pt x="336" y="102"/>
                  </a:lnTo>
                  <a:lnTo>
                    <a:pt x="348" y="90"/>
                  </a:lnTo>
                  <a:lnTo>
                    <a:pt x="360" y="84"/>
                  </a:lnTo>
                  <a:lnTo>
                    <a:pt x="372" y="84"/>
                  </a:lnTo>
                  <a:lnTo>
                    <a:pt x="378" y="84"/>
                  </a:lnTo>
                  <a:lnTo>
                    <a:pt x="384" y="90"/>
                  </a:lnTo>
                  <a:lnTo>
                    <a:pt x="402" y="90"/>
                  </a:lnTo>
                  <a:lnTo>
                    <a:pt x="438" y="84"/>
                  </a:lnTo>
                  <a:lnTo>
                    <a:pt x="456" y="84"/>
                  </a:lnTo>
                  <a:lnTo>
                    <a:pt x="462" y="78"/>
                  </a:lnTo>
                  <a:lnTo>
                    <a:pt x="486" y="72"/>
                  </a:lnTo>
                  <a:lnTo>
                    <a:pt x="492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04" y="54"/>
                  </a:lnTo>
                  <a:lnTo>
                    <a:pt x="510" y="42"/>
                  </a:lnTo>
                  <a:lnTo>
                    <a:pt x="504" y="42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498" y="30"/>
                  </a:lnTo>
                  <a:lnTo>
                    <a:pt x="492" y="30"/>
                  </a:lnTo>
                  <a:lnTo>
                    <a:pt x="492" y="24"/>
                  </a:lnTo>
                  <a:lnTo>
                    <a:pt x="486" y="18"/>
                  </a:lnTo>
                  <a:lnTo>
                    <a:pt x="498" y="18"/>
                  </a:lnTo>
                  <a:lnTo>
                    <a:pt x="510" y="18"/>
                  </a:lnTo>
                  <a:lnTo>
                    <a:pt x="522" y="12"/>
                  </a:lnTo>
                  <a:lnTo>
                    <a:pt x="528" y="6"/>
                  </a:lnTo>
                  <a:lnTo>
                    <a:pt x="570" y="0"/>
                  </a:lnTo>
                  <a:lnTo>
                    <a:pt x="606" y="6"/>
                  </a:lnTo>
                  <a:lnTo>
                    <a:pt x="654" y="24"/>
                  </a:lnTo>
                  <a:lnTo>
                    <a:pt x="666" y="36"/>
                  </a:lnTo>
                  <a:lnTo>
                    <a:pt x="672" y="30"/>
                  </a:lnTo>
                  <a:lnTo>
                    <a:pt x="690" y="42"/>
                  </a:lnTo>
                  <a:lnTo>
                    <a:pt x="702" y="48"/>
                  </a:lnTo>
                  <a:lnTo>
                    <a:pt x="714" y="60"/>
                  </a:lnTo>
                  <a:lnTo>
                    <a:pt x="714" y="66"/>
                  </a:lnTo>
                  <a:lnTo>
                    <a:pt x="720" y="72"/>
                  </a:lnTo>
                  <a:lnTo>
                    <a:pt x="720" y="78"/>
                  </a:lnTo>
                  <a:lnTo>
                    <a:pt x="720" y="102"/>
                  </a:lnTo>
                  <a:lnTo>
                    <a:pt x="720" y="108"/>
                  </a:lnTo>
                  <a:lnTo>
                    <a:pt x="714" y="108"/>
                  </a:lnTo>
                  <a:lnTo>
                    <a:pt x="714" y="126"/>
                  </a:lnTo>
                  <a:lnTo>
                    <a:pt x="732" y="126"/>
                  </a:lnTo>
                  <a:lnTo>
                    <a:pt x="726" y="132"/>
                  </a:lnTo>
                  <a:lnTo>
                    <a:pt x="738" y="132"/>
                  </a:lnTo>
                  <a:lnTo>
                    <a:pt x="738" y="138"/>
                  </a:lnTo>
                  <a:lnTo>
                    <a:pt x="738" y="144"/>
                  </a:lnTo>
                  <a:lnTo>
                    <a:pt x="744" y="144"/>
                  </a:lnTo>
                  <a:lnTo>
                    <a:pt x="744" y="150"/>
                  </a:lnTo>
                  <a:lnTo>
                    <a:pt x="756" y="156"/>
                  </a:lnTo>
                  <a:lnTo>
                    <a:pt x="768" y="156"/>
                  </a:lnTo>
                  <a:lnTo>
                    <a:pt x="780" y="156"/>
                  </a:lnTo>
                  <a:lnTo>
                    <a:pt x="792" y="150"/>
                  </a:lnTo>
                  <a:lnTo>
                    <a:pt x="786" y="150"/>
                  </a:lnTo>
                  <a:lnTo>
                    <a:pt x="786" y="144"/>
                  </a:lnTo>
                  <a:lnTo>
                    <a:pt x="804" y="144"/>
                  </a:lnTo>
                  <a:lnTo>
                    <a:pt x="816" y="132"/>
                  </a:lnTo>
                  <a:lnTo>
                    <a:pt x="822" y="126"/>
                  </a:lnTo>
                  <a:lnTo>
                    <a:pt x="828" y="132"/>
                  </a:lnTo>
                  <a:lnTo>
                    <a:pt x="834" y="126"/>
                  </a:lnTo>
                  <a:lnTo>
                    <a:pt x="834" y="120"/>
                  </a:lnTo>
                  <a:lnTo>
                    <a:pt x="924" y="108"/>
                  </a:lnTo>
                  <a:lnTo>
                    <a:pt x="942" y="144"/>
                  </a:lnTo>
                  <a:lnTo>
                    <a:pt x="948" y="144"/>
                  </a:lnTo>
                  <a:lnTo>
                    <a:pt x="960" y="168"/>
                  </a:lnTo>
                  <a:lnTo>
                    <a:pt x="972" y="186"/>
                  </a:lnTo>
                  <a:lnTo>
                    <a:pt x="984" y="192"/>
                  </a:lnTo>
                  <a:lnTo>
                    <a:pt x="996" y="192"/>
                  </a:lnTo>
                  <a:lnTo>
                    <a:pt x="996" y="198"/>
                  </a:lnTo>
                  <a:lnTo>
                    <a:pt x="1008" y="204"/>
                  </a:lnTo>
                  <a:lnTo>
                    <a:pt x="1008" y="210"/>
                  </a:lnTo>
                  <a:lnTo>
                    <a:pt x="1002" y="210"/>
                  </a:lnTo>
                  <a:lnTo>
                    <a:pt x="1008" y="216"/>
                  </a:lnTo>
                  <a:lnTo>
                    <a:pt x="1014" y="210"/>
                  </a:lnTo>
                  <a:lnTo>
                    <a:pt x="1014" y="216"/>
                  </a:lnTo>
                  <a:lnTo>
                    <a:pt x="1020" y="222"/>
                  </a:lnTo>
                  <a:lnTo>
                    <a:pt x="1014" y="228"/>
                  </a:lnTo>
                  <a:lnTo>
                    <a:pt x="1032" y="234"/>
                  </a:lnTo>
                  <a:lnTo>
                    <a:pt x="1044" y="240"/>
                  </a:lnTo>
                  <a:lnTo>
                    <a:pt x="1038" y="246"/>
                  </a:lnTo>
                  <a:lnTo>
                    <a:pt x="1038" y="252"/>
                  </a:lnTo>
                  <a:lnTo>
                    <a:pt x="1038" y="258"/>
                  </a:lnTo>
                  <a:lnTo>
                    <a:pt x="1032" y="264"/>
                  </a:lnTo>
                  <a:lnTo>
                    <a:pt x="1032" y="270"/>
                  </a:lnTo>
                  <a:lnTo>
                    <a:pt x="1032" y="276"/>
                  </a:lnTo>
                  <a:lnTo>
                    <a:pt x="1032" y="282"/>
                  </a:lnTo>
                  <a:lnTo>
                    <a:pt x="1026" y="282"/>
                  </a:lnTo>
                  <a:lnTo>
                    <a:pt x="1026" y="288"/>
                  </a:lnTo>
                  <a:lnTo>
                    <a:pt x="1026" y="294"/>
                  </a:lnTo>
                  <a:lnTo>
                    <a:pt x="1026" y="300"/>
                  </a:lnTo>
                  <a:lnTo>
                    <a:pt x="1026" y="306"/>
                  </a:lnTo>
                  <a:lnTo>
                    <a:pt x="1020" y="318"/>
                  </a:lnTo>
                  <a:lnTo>
                    <a:pt x="1020" y="324"/>
                  </a:lnTo>
                  <a:lnTo>
                    <a:pt x="1014" y="324"/>
                  </a:lnTo>
                  <a:lnTo>
                    <a:pt x="1014" y="330"/>
                  </a:lnTo>
                  <a:lnTo>
                    <a:pt x="1014" y="336"/>
                  </a:lnTo>
                  <a:lnTo>
                    <a:pt x="1008" y="366"/>
                  </a:lnTo>
                  <a:lnTo>
                    <a:pt x="1002" y="366"/>
                  </a:lnTo>
                  <a:lnTo>
                    <a:pt x="984" y="354"/>
                  </a:lnTo>
                  <a:lnTo>
                    <a:pt x="978" y="354"/>
                  </a:lnTo>
                  <a:lnTo>
                    <a:pt x="972" y="354"/>
                  </a:lnTo>
                  <a:lnTo>
                    <a:pt x="966" y="348"/>
                  </a:lnTo>
                  <a:lnTo>
                    <a:pt x="954" y="348"/>
                  </a:lnTo>
                  <a:lnTo>
                    <a:pt x="948" y="348"/>
                  </a:lnTo>
                  <a:lnTo>
                    <a:pt x="948" y="360"/>
                  </a:lnTo>
                  <a:lnTo>
                    <a:pt x="948" y="366"/>
                  </a:lnTo>
                  <a:lnTo>
                    <a:pt x="948" y="372"/>
                  </a:lnTo>
                  <a:lnTo>
                    <a:pt x="948" y="378"/>
                  </a:lnTo>
                  <a:lnTo>
                    <a:pt x="948" y="384"/>
                  </a:lnTo>
                  <a:lnTo>
                    <a:pt x="942" y="384"/>
                  </a:lnTo>
                  <a:lnTo>
                    <a:pt x="942" y="390"/>
                  </a:lnTo>
                  <a:lnTo>
                    <a:pt x="936" y="390"/>
                  </a:lnTo>
                  <a:lnTo>
                    <a:pt x="942" y="390"/>
                  </a:lnTo>
                  <a:lnTo>
                    <a:pt x="936" y="396"/>
                  </a:lnTo>
                  <a:lnTo>
                    <a:pt x="930" y="402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2" y="432"/>
                  </a:lnTo>
                  <a:lnTo>
                    <a:pt x="900" y="450"/>
                  </a:lnTo>
                  <a:lnTo>
                    <a:pt x="894" y="456"/>
                  </a:lnTo>
                  <a:lnTo>
                    <a:pt x="888" y="456"/>
                  </a:lnTo>
                  <a:lnTo>
                    <a:pt x="882" y="456"/>
                  </a:lnTo>
                  <a:lnTo>
                    <a:pt x="876" y="456"/>
                  </a:lnTo>
                  <a:lnTo>
                    <a:pt x="864" y="462"/>
                  </a:lnTo>
                  <a:lnTo>
                    <a:pt x="852" y="474"/>
                  </a:lnTo>
                  <a:lnTo>
                    <a:pt x="846" y="480"/>
                  </a:lnTo>
                  <a:lnTo>
                    <a:pt x="840" y="486"/>
                  </a:lnTo>
                  <a:lnTo>
                    <a:pt x="834" y="498"/>
                  </a:lnTo>
                  <a:lnTo>
                    <a:pt x="828" y="510"/>
                  </a:lnTo>
                  <a:lnTo>
                    <a:pt x="816" y="522"/>
                  </a:lnTo>
                  <a:lnTo>
                    <a:pt x="798" y="540"/>
                  </a:lnTo>
                  <a:lnTo>
                    <a:pt x="780" y="558"/>
                  </a:lnTo>
                  <a:lnTo>
                    <a:pt x="774" y="558"/>
                  </a:lnTo>
                  <a:lnTo>
                    <a:pt x="756" y="576"/>
                  </a:lnTo>
                  <a:lnTo>
                    <a:pt x="732" y="600"/>
                  </a:lnTo>
                  <a:lnTo>
                    <a:pt x="726" y="600"/>
                  </a:lnTo>
                  <a:lnTo>
                    <a:pt x="720" y="606"/>
                  </a:lnTo>
                  <a:lnTo>
                    <a:pt x="714" y="612"/>
                  </a:lnTo>
                  <a:lnTo>
                    <a:pt x="690" y="630"/>
                  </a:lnTo>
                  <a:lnTo>
                    <a:pt x="678" y="636"/>
                  </a:lnTo>
                  <a:lnTo>
                    <a:pt x="672" y="642"/>
                  </a:lnTo>
                  <a:lnTo>
                    <a:pt x="660" y="660"/>
                  </a:lnTo>
                  <a:lnTo>
                    <a:pt x="642" y="666"/>
                  </a:lnTo>
                  <a:lnTo>
                    <a:pt x="636" y="678"/>
                  </a:lnTo>
                  <a:lnTo>
                    <a:pt x="630" y="678"/>
                  </a:lnTo>
                  <a:lnTo>
                    <a:pt x="630" y="684"/>
                  </a:lnTo>
                  <a:lnTo>
                    <a:pt x="630" y="690"/>
                  </a:lnTo>
                  <a:lnTo>
                    <a:pt x="636" y="696"/>
                  </a:lnTo>
                  <a:lnTo>
                    <a:pt x="642" y="696"/>
                  </a:lnTo>
                  <a:lnTo>
                    <a:pt x="648" y="702"/>
                  </a:lnTo>
                  <a:lnTo>
                    <a:pt x="648" y="708"/>
                  </a:lnTo>
                  <a:lnTo>
                    <a:pt x="642" y="708"/>
                  </a:lnTo>
                  <a:lnTo>
                    <a:pt x="636" y="714"/>
                  </a:lnTo>
                  <a:lnTo>
                    <a:pt x="636" y="720"/>
                  </a:lnTo>
                  <a:lnTo>
                    <a:pt x="642" y="726"/>
                  </a:lnTo>
                  <a:lnTo>
                    <a:pt x="636" y="738"/>
                  </a:lnTo>
                  <a:lnTo>
                    <a:pt x="618" y="756"/>
                  </a:lnTo>
                  <a:lnTo>
                    <a:pt x="612" y="750"/>
                  </a:lnTo>
                  <a:lnTo>
                    <a:pt x="612" y="756"/>
                  </a:lnTo>
                  <a:lnTo>
                    <a:pt x="618" y="762"/>
                  </a:lnTo>
                  <a:lnTo>
                    <a:pt x="618" y="768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36" y="786"/>
                  </a:lnTo>
                  <a:lnTo>
                    <a:pt x="642" y="792"/>
                  </a:lnTo>
                  <a:lnTo>
                    <a:pt x="642" y="798"/>
                  </a:lnTo>
                  <a:lnTo>
                    <a:pt x="648" y="804"/>
                  </a:lnTo>
                  <a:lnTo>
                    <a:pt x="654" y="810"/>
                  </a:lnTo>
                  <a:lnTo>
                    <a:pt x="660" y="816"/>
                  </a:lnTo>
                  <a:lnTo>
                    <a:pt x="666" y="816"/>
                  </a:lnTo>
                  <a:lnTo>
                    <a:pt x="666" y="822"/>
                  </a:lnTo>
                  <a:lnTo>
                    <a:pt x="672" y="828"/>
                  </a:lnTo>
                  <a:lnTo>
                    <a:pt x="672" y="840"/>
                  </a:lnTo>
                  <a:lnTo>
                    <a:pt x="672" y="846"/>
                  </a:lnTo>
                  <a:lnTo>
                    <a:pt x="666" y="852"/>
                  </a:lnTo>
                  <a:lnTo>
                    <a:pt x="660" y="864"/>
                  </a:lnTo>
                  <a:lnTo>
                    <a:pt x="654" y="876"/>
                  </a:lnTo>
                  <a:lnTo>
                    <a:pt x="648" y="882"/>
                  </a:lnTo>
                  <a:lnTo>
                    <a:pt x="642" y="888"/>
                  </a:lnTo>
                  <a:lnTo>
                    <a:pt x="642" y="894"/>
                  </a:lnTo>
                  <a:lnTo>
                    <a:pt x="642" y="906"/>
                  </a:lnTo>
                  <a:lnTo>
                    <a:pt x="630" y="918"/>
                  </a:lnTo>
                  <a:lnTo>
                    <a:pt x="630" y="924"/>
                  </a:lnTo>
                  <a:lnTo>
                    <a:pt x="624" y="930"/>
                  </a:lnTo>
                  <a:lnTo>
                    <a:pt x="630" y="936"/>
                  </a:lnTo>
                  <a:lnTo>
                    <a:pt x="630" y="942"/>
                  </a:lnTo>
                  <a:lnTo>
                    <a:pt x="630" y="948"/>
                  </a:lnTo>
                  <a:lnTo>
                    <a:pt x="630" y="954"/>
                  </a:lnTo>
                  <a:lnTo>
                    <a:pt x="630" y="960"/>
                  </a:lnTo>
                  <a:lnTo>
                    <a:pt x="624" y="966"/>
                  </a:lnTo>
                  <a:lnTo>
                    <a:pt x="618" y="990"/>
                  </a:lnTo>
                  <a:lnTo>
                    <a:pt x="618" y="1008"/>
                  </a:lnTo>
                  <a:lnTo>
                    <a:pt x="612" y="1026"/>
                  </a:lnTo>
                  <a:lnTo>
                    <a:pt x="612" y="1038"/>
                  </a:lnTo>
                  <a:lnTo>
                    <a:pt x="612" y="1050"/>
                  </a:lnTo>
                  <a:lnTo>
                    <a:pt x="612" y="1056"/>
                  </a:lnTo>
                  <a:lnTo>
                    <a:pt x="612" y="1062"/>
                  </a:lnTo>
                  <a:lnTo>
                    <a:pt x="612" y="1068"/>
                  </a:lnTo>
                  <a:lnTo>
                    <a:pt x="612" y="1086"/>
                  </a:lnTo>
                  <a:lnTo>
                    <a:pt x="612" y="1092"/>
                  </a:lnTo>
                  <a:lnTo>
                    <a:pt x="606" y="1098"/>
                  </a:lnTo>
                  <a:lnTo>
                    <a:pt x="600" y="1110"/>
                  </a:lnTo>
                  <a:lnTo>
                    <a:pt x="600" y="1116"/>
                  </a:lnTo>
                  <a:lnTo>
                    <a:pt x="594" y="1122"/>
                  </a:lnTo>
                  <a:lnTo>
                    <a:pt x="594" y="1128"/>
                  </a:lnTo>
                  <a:lnTo>
                    <a:pt x="588" y="1134"/>
                  </a:lnTo>
                  <a:lnTo>
                    <a:pt x="582" y="1140"/>
                  </a:lnTo>
                  <a:lnTo>
                    <a:pt x="570" y="1140"/>
                  </a:lnTo>
                  <a:lnTo>
                    <a:pt x="564" y="1146"/>
                  </a:lnTo>
                  <a:lnTo>
                    <a:pt x="570" y="1146"/>
                  </a:lnTo>
                  <a:lnTo>
                    <a:pt x="564" y="1152"/>
                  </a:lnTo>
                  <a:lnTo>
                    <a:pt x="558" y="1158"/>
                  </a:lnTo>
                  <a:lnTo>
                    <a:pt x="552" y="1164"/>
                  </a:lnTo>
                  <a:lnTo>
                    <a:pt x="552" y="1170"/>
                  </a:lnTo>
                  <a:lnTo>
                    <a:pt x="546" y="1176"/>
                  </a:lnTo>
                  <a:lnTo>
                    <a:pt x="546" y="1182"/>
                  </a:lnTo>
                  <a:lnTo>
                    <a:pt x="546" y="1188"/>
                  </a:lnTo>
                  <a:lnTo>
                    <a:pt x="540" y="1188"/>
                  </a:lnTo>
                  <a:lnTo>
                    <a:pt x="540" y="1194"/>
                  </a:lnTo>
                  <a:lnTo>
                    <a:pt x="528" y="1206"/>
                  </a:lnTo>
                  <a:lnTo>
                    <a:pt x="528" y="1212"/>
                  </a:lnTo>
                  <a:lnTo>
                    <a:pt x="534" y="1212"/>
                  </a:lnTo>
                  <a:lnTo>
                    <a:pt x="540" y="1218"/>
                  </a:lnTo>
                  <a:lnTo>
                    <a:pt x="534" y="1218"/>
                  </a:lnTo>
                  <a:lnTo>
                    <a:pt x="528" y="1218"/>
                  </a:lnTo>
                  <a:lnTo>
                    <a:pt x="528" y="1224"/>
                  </a:lnTo>
                  <a:lnTo>
                    <a:pt x="522" y="1230"/>
                  </a:lnTo>
                  <a:lnTo>
                    <a:pt x="516" y="1236"/>
                  </a:lnTo>
                  <a:lnTo>
                    <a:pt x="522" y="1236"/>
                  </a:lnTo>
                  <a:lnTo>
                    <a:pt x="516" y="1242"/>
                  </a:lnTo>
                  <a:lnTo>
                    <a:pt x="510" y="1242"/>
                  </a:lnTo>
                  <a:lnTo>
                    <a:pt x="504" y="1248"/>
                  </a:lnTo>
                  <a:lnTo>
                    <a:pt x="510" y="1260"/>
                  </a:lnTo>
                  <a:lnTo>
                    <a:pt x="504" y="1266"/>
                  </a:lnTo>
                  <a:lnTo>
                    <a:pt x="492" y="1266"/>
                  </a:lnTo>
                  <a:lnTo>
                    <a:pt x="486" y="1272"/>
                  </a:lnTo>
                  <a:lnTo>
                    <a:pt x="486" y="1278"/>
                  </a:lnTo>
                  <a:lnTo>
                    <a:pt x="480" y="1278"/>
                  </a:lnTo>
                  <a:lnTo>
                    <a:pt x="480" y="1284"/>
                  </a:lnTo>
                  <a:lnTo>
                    <a:pt x="480" y="1290"/>
                  </a:lnTo>
                  <a:lnTo>
                    <a:pt x="480" y="1296"/>
                  </a:lnTo>
                  <a:lnTo>
                    <a:pt x="492" y="1302"/>
                  </a:lnTo>
                  <a:lnTo>
                    <a:pt x="492" y="1308"/>
                  </a:lnTo>
                  <a:lnTo>
                    <a:pt x="492" y="1320"/>
                  </a:lnTo>
                  <a:lnTo>
                    <a:pt x="492" y="1332"/>
                  </a:lnTo>
                  <a:lnTo>
                    <a:pt x="498" y="1344"/>
                  </a:lnTo>
                  <a:lnTo>
                    <a:pt x="498" y="1350"/>
                  </a:lnTo>
                  <a:lnTo>
                    <a:pt x="498" y="1356"/>
                  </a:lnTo>
                  <a:lnTo>
                    <a:pt x="504" y="1362"/>
                  </a:lnTo>
                  <a:lnTo>
                    <a:pt x="498" y="1362"/>
                  </a:lnTo>
                  <a:lnTo>
                    <a:pt x="498" y="1368"/>
                  </a:lnTo>
                  <a:lnTo>
                    <a:pt x="492" y="1368"/>
                  </a:lnTo>
                  <a:lnTo>
                    <a:pt x="492" y="1374"/>
                  </a:lnTo>
                  <a:lnTo>
                    <a:pt x="492" y="1380"/>
                  </a:lnTo>
                  <a:lnTo>
                    <a:pt x="498" y="1380"/>
                  </a:lnTo>
                  <a:lnTo>
                    <a:pt x="504" y="1380"/>
                  </a:lnTo>
                  <a:lnTo>
                    <a:pt x="498" y="1386"/>
                  </a:lnTo>
                  <a:lnTo>
                    <a:pt x="498" y="1392"/>
                  </a:lnTo>
                  <a:lnTo>
                    <a:pt x="498" y="1398"/>
                  </a:lnTo>
                  <a:lnTo>
                    <a:pt x="498" y="1404"/>
                  </a:lnTo>
                  <a:lnTo>
                    <a:pt x="498" y="1410"/>
                  </a:lnTo>
                  <a:lnTo>
                    <a:pt x="498" y="1416"/>
                  </a:lnTo>
                  <a:lnTo>
                    <a:pt x="492" y="1416"/>
                  </a:lnTo>
                  <a:lnTo>
                    <a:pt x="498" y="1416"/>
                  </a:lnTo>
                  <a:lnTo>
                    <a:pt x="504" y="1416"/>
                  </a:lnTo>
                  <a:lnTo>
                    <a:pt x="504" y="1422"/>
                  </a:lnTo>
                  <a:lnTo>
                    <a:pt x="510" y="1428"/>
                  </a:lnTo>
                  <a:lnTo>
                    <a:pt x="510" y="1434"/>
                  </a:lnTo>
                  <a:lnTo>
                    <a:pt x="510" y="1440"/>
                  </a:lnTo>
                  <a:lnTo>
                    <a:pt x="516" y="1446"/>
                  </a:lnTo>
                  <a:lnTo>
                    <a:pt x="516" y="1452"/>
                  </a:lnTo>
                  <a:lnTo>
                    <a:pt x="516" y="1458"/>
                  </a:lnTo>
                  <a:lnTo>
                    <a:pt x="516" y="1464"/>
                  </a:lnTo>
                  <a:lnTo>
                    <a:pt x="516" y="1482"/>
                  </a:lnTo>
                  <a:lnTo>
                    <a:pt x="516" y="1488"/>
                  </a:lnTo>
                  <a:lnTo>
                    <a:pt x="522" y="1488"/>
                  </a:lnTo>
                  <a:lnTo>
                    <a:pt x="522" y="1494"/>
                  </a:lnTo>
                  <a:lnTo>
                    <a:pt x="522" y="1500"/>
                  </a:lnTo>
                  <a:lnTo>
                    <a:pt x="516" y="1506"/>
                  </a:lnTo>
                  <a:lnTo>
                    <a:pt x="510" y="1500"/>
                  </a:lnTo>
                  <a:lnTo>
                    <a:pt x="504" y="1500"/>
                  </a:lnTo>
                  <a:lnTo>
                    <a:pt x="504" y="1494"/>
                  </a:lnTo>
                  <a:lnTo>
                    <a:pt x="504" y="1488"/>
                  </a:lnTo>
                  <a:lnTo>
                    <a:pt x="504" y="1482"/>
                  </a:lnTo>
                  <a:lnTo>
                    <a:pt x="504" y="1488"/>
                  </a:lnTo>
                  <a:lnTo>
                    <a:pt x="504" y="1494"/>
                  </a:lnTo>
                  <a:lnTo>
                    <a:pt x="504" y="1500"/>
                  </a:lnTo>
                  <a:lnTo>
                    <a:pt x="498" y="1500"/>
                  </a:lnTo>
                  <a:lnTo>
                    <a:pt x="492" y="1500"/>
                  </a:lnTo>
                  <a:lnTo>
                    <a:pt x="492" y="1494"/>
                  </a:lnTo>
                  <a:lnTo>
                    <a:pt x="492" y="1488"/>
                  </a:lnTo>
                  <a:lnTo>
                    <a:pt x="492" y="1494"/>
                  </a:lnTo>
                  <a:lnTo>
                    <a:pt x="492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00"/>
                  </a:lnTo>
                  <a:lnTo>
                    <a:pt x="510" y="1500"/>
                  </a:lnTo>
                  <a:lnTo>
                    <a:pt x="510" y="1506"/>
                  </a:lnTo>
                  <a:lnTo>
                    <a:pt x="516" y="1506"/>
                  </a:lnTo>
                  <a:lnTo>
                    <a:pt x="510" y="1506"/>
                  </a:lnTo>
                  <a:lnTo>
                    <a:pt x="510" y="1512"/>
                  </a:lnTo>
                  <a:lnTo>
                    <a:pt x="516" y="1506"/>
                  </a:lnTo>
                  <a:lnTo>
                    <a:pt x="522" y="1506"/>
                  </a:lnTo>
                  <a:lnTo>
                    <a:pt x="528" y="1506"/>
                  </a:lnTo>
                  <a:lnTo>
                    <a:pt x="528" y="1500"/>
                  </a:lnTo>
                  <a:lnTo>
                    <a:pt x="534" y="1500"/>
                  </a:lnTo>
                  <a:lnTo>
                    <a:pt x="534" y="1506"/>
                  </a:lnTo>
                  <a:lnTo>
                    <a:pt x="540" y="1512"/>
                  </a:lnTo>
                  <a:lnTo>
                    <a:pt x="540" y="1518"/>
                  </a:lnTo>
                  <a:lnTo>
                    <a:pt x="546" y="1518"/>
                  </a:lnTo>
                  <a:lnTo>
                    <a:pt x="540" y="1518"/>
                  </a:lnTo>
                  <a:lnTo>
                    <a:pt x="540" y="1524"/>
                  </a:lnTo>
                  <a:lnTo>
                    <a:pt x="534" y="1524"/>
                  </a:lnTo>
                  <a:lnTo>
                    <a:pt x="540" y="1524"/>
                  </a:lnTo>
                  <a:lnTo>
                    <a:pt x="546" y="1524"/>
                  </a:lnTo>
                  <a:lnTo>
                    <a:pt x="546" y="1530"/>
                  </a:lnTo>
                  <a:lnTo>
                    <a:pt x="540" y="1530"/>
                  </a:lnTo>
                  <a:lnTo>
                    <a:pt x="540" y="1536"/>
                  </a:lnTo>
                  <a:lnTo>
                    <a:pt x="534" y="1542"/>
                  </a:lnTo>
                  <a:lnTo>
                    <a:pt x="528" y="1542"/>
                  </a:lnTo>
                  <a:lnTo>
                    <a:pt x="522" y="1542"/>
                  </a:lnTo>
                  <a:lnTo>
                    <a:pt x="516" y="1542"/>
                  </a:lnTo>
                  <a:lnTo>
                    <a:pt x="510" y="1542"/>
                  </a:lnTo>
                  <a:lnTo>
                    <a:pt x="504" y="1542"/>
                  </a:lnTo>
                  <a:lnTo>
                    <a:pt x="492" y="1542"/>
                  </a:lnTo>
                  <a:lnTo>
                    <a:pt x="486" y="1536"/>
                  </a:lnTo>
                  <a:lnTo>
                    <a:pt x="480" y="1536"/>
                  </a:lnTo>
                  <a:lnTo>
                    <a:pt x="468" y="1536"/>
                  </a:lnTo>
                  <a:lnTo>
                    <a:pt x="468" y="1542"/>
                  </a:lnTo>
                  <a:lnTo>
                    <a:pt x="462" y="1542"/>
                  </a:lnTo>
                  <a:lnTo>
                    <a:pt x="456" y="1542"/>
                  </a:lnTo>
                  <a:lnTo>
                    <a:pt x="450" y="1542"/>
                  </a:lnTo>
                  <a:lnTo>
                    <a:pt x="444" y="1542"/>
                  </a:lnTo>
                  <a:lnTo>
                    <a:pt x="444" y="1536"/>
                  </a:lnTo>
                  <a:lnTo>
                    <a:pt x="450" y="1536"/>
                  </a:lnTo>
                  <a:lnTo>
                    <a:pt x="456" y="1536"/>
                  </a:lnTo>
                  <a:lnTo>
                    <a:pt x="450" y="1536"/>
                  </a:lnTo>
                  <a:lnTo>
                    <a:pt x="444" y="1536"/>
                  </a:lnTo>
                  <a:lnTo>
                    <a:pt x="444" y="1530"/>
                  </a:lnTo>
                  <a:lnTo>
                    <a:pt x="450" y="1530"/>
                  </a:lnTo>
                  <a:lnTo>
                    <a:pt x="456" y="1524"/>
                  </a:lnTo>
                  <a:lnTo>
                    <a:pt x="456" y="1518"/>
                  </a:lnTo>
                  <a:lnTo>
                    <a:pt x="462" y="1518"/>
                  </a:lnTo>
                  <a:lnTo>
                    <a:pt x="462" y="1524"/>
                  </a:lnTo>
                  <a:lnTo>
                    <a:pt x="468" y="1524"/>
                  </a:lnTo>
                  <a:lnTo>
                    <a:pt x="474" y="1524"/>
                  </a:lnTo>
                  <a:lnTo>
                    <a:pt x="474" y="1518"/>
                  </a:lnTo>
                  <a:lnTo>
                    <a:pt x="480" y="1518"/>
                  </a:lnTo>
                  <a:lnTo>
                    <a:pt x="474" y="1518"/>
                  </a:lnTo>
                  <a:lnTo>
                    <a:pt x="474" y="1524"/>
                  </a:lnTo>
                  <a:lnTo>
                    <a:pt x="468" y="1524"/>
                  </a:lnTo>
                  <a:lnTo>
                    <a:pt x="462" y="1518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62" y="1512"/>
                  </a:lnTo>
                  <a:lnTo>
                    <a:pt x="462" y="1506"/>
                  </a:lnTo>
                  <a:lnTo>
                    <a:pt x="456" y="1506"/>
                  </a:lnTo>
                  <a:lnTo>
                    <a:pt x="456" y="1512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50" y="1518"/>
                  </a:lnTo>
                  <a:lnTo>
                    <a:pt x="444" y="1518"/>
                  </a:lnTo>
                  <a:lnTo>
                    <a:pt x="444" y="1524"/>
                  </a:lnTo>
                  <a:lnTo>
                    <a:pt x="438" y="1524"/>
                  </a:lnTo>
                  <a:lnTo>
                    <a:pt x="438" y="1530"/>
                  </a:lnTo>
                  <a:lnTo>
                    <a:pt x="432" y="1530"/>
                  </a:lnTo>
                  <a:lnTo>
                    <a:pt x="432" y="1536"/>
                  </a:lnTo>
                  <a:lnTo>
                    <a:pt x="426" y="1530"/>
                  </a:lnTo>
                  <a:lnTo>
                    <a:pt x="420" y="1530"/>
                  </a:lnTo>
                  <a:lnTo>
                    <a:pt x="414" y="1530"/>
                  </a:lnTo>
                  <a:lnTo>
                    <a:pt x="414" y="1524"/>
                  </a:lnTo>
                  <a:lnTo>
                    <a:pt x="408" y="1518"/>
                  </a:lnTo>
                  <a:lnTo>
                    <a:pt x="414" y="1512"/>
                  </a:lnTo>
                  <a:lnTo>
                    <a:pt x="408" y="1512"/>
                  </a:lnTo>
                  <a:lnTo>
                    <a:pt x="408" y="1506"/>
                  </a:lnTo>
                  <a:lnTo>
                    <a:pt x="408" y="1500"/>
                  </a:lnTo>
                  <a:lnTo>
                    <a:pt x="408" y="1494"/>
                  </a:lnTo>
                  <a:lnTo>
                    <a:pt x="408" y="1488"/>
                  </a:lnTo>
                  <a:lnTo>
                    <a:pt x="408" y="1494"/>
                  </a:lnTo>
                  <a:lnTo>
                    <a:pt x="414" y="1494"/>
                  </a:lnTo>
                  <a:lnTo>
                    <a:pt x="420" y="1494"/>
                  </a:lnTo>
                  <a:lnTo>
                    <a:pt x="420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82"/>
                  </a:lnTo>
                  <a:lnTo>
                    <a:pt x="426" y="1476"/>
                  </a:lnTo>
                  <a:lnTo>
                    <a:pt x="432" y="1476"/>
                  </a:lnTo>
                  <a:lnTo>
                    <a:pt x="432" y="1470"/>
                  </a:lnTo>
                  <a:lnTo>
                    <a:pt x="438" y="1470"/>
                  </a:lnTo>
                  <a:lnTo>
                    <a:pt x="444" y="1464"/>
                  </a:lnTo>
                  <a:lnTo>
                    <a:pt x="450" y="1458"/>
                  </a:lnTo>
                  <a:lnTo>
                    <a:pt x="456" y="1458"/>
                  </a:lnTo>
                  <a:lnTo>
                    <a:pt x="462" y="1452"/>
                  </a:lnTo>
                  <a:lnTo>
                    <a:pt x="468" y="1452"/>
                  </a:lnTo>
                  <a:lnTo>
                    <a:pt x="468" y="1446"/>
                  </a:lnTo>
                  <a:lnTo>
                    <a:pt x="462" y="1440"/>
                  </a:lnTo>
                  <a:lnTo>
                    <a:pt x="456" y="1434"/>
                  </a:lnTo>
                  <a:lnTo>
                    <a:pt x="456" y="1428"/>
                  </a:lnTo>
                  <a:lnTo>
                    <a:pt x="456" y="1422"/>
                  </a:lnTo>
                  <a:lnTo>
                    <a:pt x="456" y="1416"/>
                  </a:lnTo>
                  <a:lnTo>
                    <a:pt x="450" y="1410"/>
                  </a:lnTo>
                  <a:lnTo>
                    <a:pt x="444" y="1410"/>
                  </a:lnTo>
                  <a:lnTo>
                    <a:pt x="450" y="1410"/>
                  </a:lnTo>
                  <a:lnTo>
                    <a:pt x="450" y="1404"/>
                  </a:lnTo>
                  <a:lnTo>
                    <a:pt x="456" y="1404"/>
                  </a:lnTo>
                  <a:lnTo>
                    <a:pt x="462" y="1404"/>
                  </a:lnTo>
                  <a:lnTo>
                    <a:pt x="468" y="1398"/>
                  </a:lnTo>
                  <a:lnTo>
                    <a:pt x="462" y="1398"/>
                  </a:lnTo>
                  <a:lnTo>
                    <a:pt x="462" y="1392"/>
                  </a:lnTo>
                  <a:lnTo>
                    <a:pt x="456" y="1392"/>
                  </a:lnTo>
                  <a:lnTo>
                    <a:pt x="456" y="1386"/>
                  </a:lnTo>
                  <a:lnTo>
                    <a:pt x="462" y="1386"/>
                  </a:lnTo>
                  <a:lnTo>
                    <a:pt x="468" y="1386"/>
                  </a:lnTo>
                  <a:lnTo>
                    <a:pt x="474" y="1386"/>
                  </a:lnTo>
                  <a:lnTo>
                    <a:pt x="468" y="1386"/>
                  </a:lnTo>
                  <a:lnTo>
                    <a:pt x="462" y="1386"/>
                  </a:lnTo>
                  <a:lnTo>
                    <a:pt x="456" y="1380"/>
                  </a:lnTo>
                  <a:lnTo>
                    <a:pt x="456" y="1374"/>
                  </a:lnTo>
                  <a:lnTo>
                    <a:pt x="462" y="1374"/>
                  </a:lnTo>
                  <a:lnTo>
                    <a:pt x="462" y="1368"/>
                  </a:lnTo>
                  <a:lnTo>
                    <a:pt x="456" y="1374"/>
                  </a:lnTo>
                  <a:lnTo>
                    <a:pt x="456" y="1368"/>
                  </a:lnTo>
                  <a:lnTo>
                    <a:pt x="456" y="1362"/>
                  </a:lnTo>
                  <a:lnTo>
                    <a:pt x="450" y="1362"/>
                  </a:lnTo>
                  <a:lnTo>
                    <a:pt x="450" y="1356"/>
                  </a:lnTo>
                  <a:lnTo>
                    <a:pt x="450" y="1350"/>
                  </a:lnTo>
                  <a:lnTo>
                    <a:pt x="450" y="1344"/>
                  </a:lnTo>
                  <a:lnTo>
                    <a:pt x="456" y="1344"/>
                  </a:lnTo>
                  <a:lnTo>
                    <a:pt x="456" y="1338"/>
                  </a:lnTo>
                  <a:lnTo>
                    <a:pt x="462" y="1338"/>
                  </a:lnTo>
                  <a:lnTo>
                    <a:pt x="462" y="1332"/>
                  </a:lnTo>
                  <a:lnTo>
                    <a:pt x="456" y="1332"/>
                  </a:lnTo>
                  <a:lnTo>
                    <a:pt x="456" y="1326"/>
                  </a:lnTo>
                  <a:lnTo>
                    <a:pt x="450" y="1326"/>
                  </a:lnTo>
                  <a:lnTo>
                    <a:pt x="444" y="1326"/>
                  </a:lnTo>
                  <a:lnTo>
                    <a:pt x="444" y="1332"/>
                  </a:lnTo>
                  <a:lnTo>
                    <a:pt x="438" y="1332"/>
                  </a:lnTo>
                  <a:lnTo>
                    <a:pt x="438" y="1338"/>
                  </a:lnTo>
                  <a:lnTo>
                    <a:pt x="432" y="1338"/>
                  </a:lnTo>
                  <a:lnTo>
                    <a:pt x="432" y="1344"/>
                  </a:lnTo>
                  <a:lnTo>
                    <a:pt x="432" y="1350"/>
                  </a:lnTo>
                  <a:lnTo>
                    <a:pt x="426" y="1356"/>
                  </a:lnTo>
                  <a:lnTo>
                    <a:pt x="426" y="1368"/>
                  </a:lnTo>
                  <a:lnTo>
                    <a:pt x="426" y="1374"/>
                  </a:lnTo>
                  <a:lnTo>
                    <a:pt x="426" y="1380"/>
                  </a:lnTo>
                  <a:lnTo>
                    <a:pt x="432" y="1386"/>
                  </a:lnTo>
                  <a:lnTo>
                    <a:pt x="432" y="1392"/>
                  </a:lnTo>
                  <a:lnTo>
                    <a:pt x="432" y="1398"/>
                  </a:lnTo>
                  <a:lnTo>
                    <a:pt x="426" y="1398"/>
                  </a:lnTo>
                  <a:lnTo>
                    <a:pt x="420" y="1398"/>
                  </a:lnTo>
                  <a:lnTo>
                    <a:pt x="414" y="1398"/>
                  </a:lnTo>
                  <a:lnTo>
                    <a:pt x="420" y="1398"/>
                  </a:lnTo>
                  <a:lnTo>
                    <a:pt x="414" y="1404"/>
                  </a:lnTo>
                  <a:lnTo>
                    <a:pt x="420" y="1404"/>
                  </a:lnTo>
                  <a:lnTo>
                    <a:pt x="414" y="1404"/>
                  </a:lnTo>
                  <a:lnTo>
                    <a:pt x="408" y="1404"/>
                  </a:lnTo>
                  <a:lnTo>
                    <a:pt x="402" y="1410"/>
                  </a:lnTo>
                  <a:lnTo>
                    <a:pt x="402" y="1404"/>
                  </a:lnTo>
                  <a:lnTo>
                    <a:pt x="396" y="1404"/>
                  </a:lnTo>
                  <a:lnTo>
                    <a:pt x="390" y="1404"/>
                  </a:lnTo>
                  <a:lnTo>
                    <a:pt x="384" y="1404"/>
                  </a:lnTo>
                  <a:lnTo>
                    <a:pt x="384" y="1398"/>
                  </a:lnTo>
                  <a:lnTo>
                    <a:pt x="384" y="1392"/>
                  </a:lnTo>
                  <a:lnTo>
                    <a:pt x="390" y="1392"/>
                  </a:lnTo>
                  <a:lnTo>
                    <a:pt x="390" y="1386"/>
                  </a:lnTo>
                  <a:lnTo>
                    <a:pt x="390" y="1380"/>
                  </a:lnTo>
                  <a:lnTo>
                    <a:pt x="396" y="1380"/>
                  </a:lnTo>
                  <a:lnTo>
                    <a:pt x="402" y="1380"/>
                  </a:lnTo>
                  <a:lnTo>
                    <a:pt x="408" y="1380"/>
                  </a:lnTo>
                  <a:lnTo>
                    <a:pt x="408" y="1374"/>
                  </a:lnTo>
                  <a:lnTo>
                    <a:pt x="414" y="1374"/>
                  </a:lnTo>
                  <a:lnTo>
                    <a:pt x="414" y="1368"/>
                  </a:lnTo>
                  <a:lnTo>
                    <a:pt x="414" y="1362"/>
                  </a:lnTo>
                  <a:lnTo>
                    <a:pt x="414" y="1368"/>
                  </a:lnTo>
                  <a:lnTo>
                    <a:pt x="414" y="1374"/>
                  </a:lnTo>
                  <a:lnTo>
                    <a:pt x="408" y="1374"/>
                  </a:lnTo>
                  <a:lnTo>
                    <a:pt x="402" y="1380"/>
                  </a:lnTo>
                  <a:lnTo>
                    <a:pt x="396" y="1380"/>
                  </a:lnTo>
                  <a:lnTo>
                    <a:pt x="396" y="1374"/>
                  </a:lnTo>
                  <a:lnTo>
                    <a:pt x="390" y="1374"/>
                  </a:lnTo>
                  <a:lnTo>
                    <a:pt x="390" y="1368"/>
                  </a:lnTo>
                  <a:lnTo>
                    <a:pt x="384" y="1368"/>
                  </a:lnTo>
                  <a:lnTo>
                    <a:pt x="384" y="1374"/>
                  </a:lnTo>
                  <a:lnTo>
                    <a:pt x="378" y="1374"/>
                  </a:lnTo>
                  <a:lnTo>
                    <a:pt x="378" y="1380"/>
                  </a:lnTo>
                  <a:lnTo>
                    <a:pt x="372" y="1380"/>
                  </a:lnTo>
                  <a:lnTo>
                    <a:pt x="366" y="1386"/>
                  </a:lnTo>
                  <a:lnTo>
                    <a:pt x="360" y="1386"/>
                  </a:lnTo>
                  <a:lnTo>
                    <a:pt x="354" y="1386"/>
                  </a:lnTo>
                  <a:lnTo>
                    <a:pt x="354" y="1380"/>
                  </a:lnTo>
                  <a:lnTo>
                    <a:pt x="348" y="1380"/>
                  </a:lnTo>
                  <a:lnTo>
                    <a:pt x="342" y="1380"/>
                  </a:lnTo>
                  <a:lnTo>
                    <a:pt x="342" y="1374"/>
                  </a:lnTo>
                  <a:lnTo>
                    <a:pt x="336" y="1368"/>
                  </a:lnTo>
                  <a:lnTo>
                    <a:pt x="342" y="1368"/>
                  </a:lnTo>
                  <a:lnTo>
                    <a:pt x="342" y="1362"/>
                  </a:lnTo>
                  <a:lnTo>
                    <a:pt x="348" y="1362"/>
                  </a:lnTo>
                  <a:lnTo>
                    <a:pt x="354" y="1362"/>
                  </a:lnTo>
                  <a:lnTo>
                    <a:pt x="354" y="1356"/>
                  </a:lnTo>
                  <a:lnTo>
                    <a:pt x="348" y="1356"/>
                  </a:lnTo>
                  <a:lnTo>
                    <a:pt x="348" y="1350"/>
                  </a:lnTo>
                  <a:lnTo>
                    <a:pt x="348" y="1344"/>
                  </a:lnTo>
                  <a:lnTo>
                    <a:pt x="354" y="1338"/>
                  </a:lnTo>
                  <a:lnTo>
                    <a:pt x="354" y="1332"/>
                  </a:lnTo>
                  <a:lnTo>
                    <a:pt x="354" y="1326"/>
                  </a:lnTo>
                  <a:lnTo>
                    <a:pt x="354" y="1320"/>
                  </a:lnTo>
                  <a:lnTo>
                    <a:pt x="354" y="1314"/>
                  </a:lnTo>
                  <a:lnTo>
                    <a:pt x="354" y="1308"/>
                  </a:lnTo>
                  <a:lnTo>
                    <a:pt x="348" y="1308"/>
                  </a:lnTo>
                  <a:lnTo>
                    <a:pt x="348" y="1302"/>
                  </a:lnTo>
                  <a:lnTo>
                    <a:pt x="342" y="1296"/>
                  </a:lnTo>
                  <a:lnTo>
                    <a:pt x="336" y="1296"/>
                  </a:lnTo>
                  <a:lnTo>
                    <a:pt x="336" y="1290"/>
                  </a:lnTo>
                  <a:lnTo>
                    <a:pt x="330" y="1290"/>
                  </a:lnTo>
                  <a:lnTo>
                    <a:pt x="324" y="1290"/>
                  </a:lnTo>
                  <a:lnTo>
                    <a:pt x="324" y="1284"/>
                  </a:lnTo>
                  <a:lnTo>
                    <a:pt x="318" y="1284"/>
                  </a:lnTo>
                  <a:lnTo>
                    <a:pt x="318" y="1278"/>
                  </a:lnTo>
                  <a:lnTo>
                    <a:pt x="312" y="1278"/>
                  </a:lnTo>
                  <a:lnTo>
                    <a:pt x="312" y="1272"/>
                  </a:lnTo>
                  <a:lnTo>
                    <a:pt x="312" y="1278"/>
                  </a:lnTo>
                  <a:lnTo>
                    <a:pt x="318" y="1284"/>
                  </a:lnTo>
                  <a:lnTo>
                    <a:pt x="324" y="1290"/>
                  </a:lnTo>
                  <a:lnTo>
                    <a:pt x="330" y="1290"/>
                  </a:lnTo>
                  <a:lnTo>
                    <a:pt x="330" y="1296"/>
                  </a:lnTo>
                  <a:lnTo>
                    <a:pt x="336" y="1296"/>
                  </a:lnTo>
                  <a:lnTo>
                    <a:pt x="336" y="1302"/>
                  </a:lnTo>
                  <a:lnTo>
                    <a:pt x="342" y="1302"/>
                  </a:lnTo>
                  <a:lnTo>
                    <a:pt x="348" y="1302"/>
                  </a:lnTo>
                  <a:lnTo>
                    <a:pt x="348" y="1308"/>
                  </a:lnTo>
                  <a:lnTo>
                    <a:pt x="348" y="1314"/>
                  </a:lnTo>
                  <a:lnTo>
                    <a:pt x="354" y="1314"/>
                  </a:lnTo>
                  <a:lnTo>
                    <a:pt x="354" y="1320"/>
                  </a:lnTo>
                  <a:lnTo>
                    <a:pt x="354" y="1326"/>
                  </a:lnTo>
                  <a:lnTo>
                    <a:pt x="348" y="1326"/>
                  </a:lnTo>
                  <a:lnTo>
                    <a:pt x="348" y="1332"/>
                  </a:lnTo>
                  <a:lnTo>
                    <a:pt x="348" y="1338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2" y="1350"/>
                  </a:lnTo>
                  <a:lnTo>
                    <a:pt x="336" y="1350"/>
                  </a:lnTo>
                  <a:lnTo>
                    <a:pt x="330" y="1350"/>
                  </a:lnTo>
                  <a:lnTo>
                    <a:pt x="330" y="1356"/>
                  </a:lnTo>
                  <a:lnTo>
                    <a:pt x="330" y="1350"/>
                  </a:lnTo>
                  <a:lnTo>
                    <a:pt x="324" y="1350"/>
                  </a:lnTo>
                  <a:lnTo>
                    <a:pt x="318" y="1344"/>
                  </a:lnTo>
                  <a:lnTo>
                    <a:pt x="318" y="1350"/>
                  </a:lnTo>
                  <a:lnTo>
                    <a:pt x="312" y="1344"/>
                  </a:lnTo>
                  <a:lnTo>
                    <a:pt x="312" y="1338"/>
                  </a:lnTo>
                  <a:lnTo>
                    <a:pt x="306" y="1338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6" y="1326"/>
                  </a:lnTo>
                  <a:lnTo>
                    <a:pt x="306" y="1320"/>
                  </a:lnTo>
                  <a:lnTo>
                    <a:pt x="306" y="1326"/>
                  </a:lnTo>
                  <a:lnTo>
                    <a:pt x="312" y="1326"/>
                  </a:lnTo>
                  <a:lnTo>
                    <a:pt x="312" y="1320"/>
                  </a:lnTo>
                  <a:lnTo>
                    <a:pt x="306" y="1320"/>
                  </a:lnTo>
                  <a:lnTo>
                    <a:pt x="300" y="1320"/>
                  </a:lnTo>
                  <a:lnTo>
                    <a:pt x="294" y="1320"/>
                  </a:lnTo>
                  <a:lnTo>
                    <a:pt x="294" y="1314"/>
                  </a:lnTo>
                  <a:lnTo>
                    <a:pt x="288" y="1314"/>
                  </a:lnTo>
                  <a:lnTo>
                    <a:pt x="288" y="1308"/>
                  </a:lnTo>
                  <a:lnTo>
                    <a:pt x="288" y="1302"/>
                  </a:lnTo>
                  <a:lnTo>
                    <a:pt x="294" y="1302"/>
                  </a:lnTo>
                  <a:lnTo>
                    <a:pt x="294" y="1296"/>
                  </a:lnTo>
                  <a:lnTo>
                    <a:pt x="288" y="1296"/>
                  </a:lnTo>
                  <a:lnTo>
                    <a:pt x="288" y="1290"/>
                  </a:lnTo>
                  <a:lnTo>
                    <a:pt x="288" y="1296"/>
                  </a:lnTo>
                  <a:lnTo>
                    <a:pt x="294" y="1302"/>
                  </a:lnTo>
                  <a:lnTo>
                    <a:pt x="288" y="1302"/>
                  </a:lnTo>
                  <a:lnTo>
                    <a:pt x="282" y="1296"/>
                  </a:lnTo>
                  <a:lnTo>
                    <a:pt x="276" y="1296"/>
                  </a:lnTo>
                  <a:lnTo>
                    <a:pt x="276" y="1290"/>
                  </a:lnTo>
                  <a:lnTo>
                    <a:pt x="270" y="1290"/>
                  </a:lnTo>
                  <a:lnTo>
                    <a:pt x="264" y="1284"/>
                  </a:lnTo>
                  <a:lnTo>
                    <a:pt x="264" y="1278"/>
                  </a:lnTo>
                  <a:lnTo>
                    <a:pt x="264" y="1272"/>
                  </a:lnTo>
                  <a:lnTo>
                    <a:pt x="264" y="1266"/>
                  </a:lnTo>
                  <a:lnTo>
                    <a:pt x="258" y="1266"/>
                  </a:lnTo>
                  <a:lnTo>
                    <a:pt x="252" y="1266"/>
                  </a:lnTo>
                  <a:lnTo>
                    <a:pt x="246" y="1260"/>
                  </a:lnTo>
                  <a:lnTo>
                    <a:pt x="240" y="1254"/>
                  </a:lnTo>
                  <a:lnTo>
                    <a:pt x="240" y="1260"/>
                  </a:lnTo>
                  <a:lnTo>
                    <a:pt x="240" y="1266"/>
                  </a:lnTo>
                  <a:lnTo>
                    <a:pt x="240" y="1272"/>
                  </a:lnTo>
                  <a:lnTo>
                    <a:pt x="246" y="1272"/>
                  </a:lnTo>
                  <a:lnTo>
                    <a:pt x="246" y="1278"/>
                  </a:lnTo>
                  <a:lnTo>
                    <a:pt x="246" y="1284"/>
                  </a:lnTo>
                  <a:lnTo>
                    <a:pt x="252" y="1284"/>
                  </a:lnTo>
                  <a:lnTo>
                    <a:pt x="252" y="1290"/>
                  </a:lnTo>
                  <a:lnTo>
                    <a:pt x="258" y="1296"/>
                  </a:lnTo>
                  <a:lnTo>
                    <a:pt x="264" y="1302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58" y="1314"/>
                  </a:lnTo>
                  <a:lnTo>
                    <a:pt x="258" y="1308"/>
                  </a:lnTo>
                  <a:lnTo>
                    <a:pt x="252" y="1308"/>
                  </a:lnTo>
                  <a:lnTo>
                    <a:pt x="252" y="1302"/>
                  </a:lnTo>
                  <a:lnTo>
                    <a:pt x="246" y="1302"/>
                  </a:lnTo>
                  <a:lnTo>
                    <a:pt x="246" y="1296"/>
                  </a:lnTo>
                  <a:lnTo>
                    <a:pt x="240" y="1296"/>
                  </a:lnTo>
                  <a:lnTo>
                    <a:pt x="240" y="1290"/>
                  </a:lnTo>
                  <a:lnTo>
                    <a:pt x="234" y="1284"/>
                  </a:lnTo>
                  <a:lnTo>
                    <a:pt x="234" y="1278"/>
                  </a:lnTo>
                  <a:close/>
                  <a:moveTo>
                    <a:pt x="444" y="1332"/>
                  </a:moveTo>
                  <a:lnTo>
                    <a:pt x="450" y="1326"/>
                  </a:lnTo>
                  <a:lnTo>
                    <a:pt x="456" y="1326"/>
                  </a:lnTo>
                  <a:lnTo>
                    <a:pt x="456" y="1332"/>
                  </a:lnTo>
                  <a:lnTo>
                    <a:pt x="456" y="1338"/>
                  </a:lnTo>
                  <a:lnTo>
                    <a:pt x="450" y="1338"/>
                  </a:lnTo>
                  <a:lnTo>
                    <a:pt x="444" y="1338"/>
                  </a:lnTo>
                  <a:lnTo>
                    <a:pt x="444" y="1332"/>
                  </a:lnTo>
                  <a:close/>
                  <a:moveTo>
                    <a:pt x="444" y="1368"/>
                  </a:moveTo>
                  <a:lnTo>
                    <a:pt x="456" y="1368"/>
                  </a:lnTo>
                  <a:lnTo>
                    <a:pt x="456" y="1374"/>
                  </a:lnTo>
                  <a:lnTo>
                    <a:pt x="444" y="1374"/>
                  </a:lnTo>
                  <a:lnTo>
                    <a:pt x="444" y="1368"/>
                  </a:lnTo>
                  <a:close/>
                  <a:moveTo>
                    <a:pt x="444" y="1386"/>
                  </a:moveTo>
                  <a:lnTo>
                    <a:pt x="444" y="1380"/>
                  </a:lnTo>
                  <a:lnTo>
                    <a:pt x="444" y="1374"/>
                  </a:lnTo>
                  <a:lnTo>
                    <a:pt x="444" y="1380"/>
                  </a:lnTo>
                  <a:lnTo>
                    <a:pt x="450" y="1380"/>
                  </a:lnTo>
                  <a:lnTo>
                    <a:pt x="456" y="1380"/>
                  </a:lnTo>
                  <a:lnTo>
                    <a:pt x="456" y="1386"/>
                  </a:lnTo>
                  <a:lnTo>
                    <a:pt x="456" y="1392"/>
                  </a:lnTo>
                  <a:lnTo>
                    <a:pt x="462" y="1392"/>
                  </a:lnTo>
                  <a:lnTo>
                    <a:pt x="462" y="1398"/>
                  </a:lnTo>
                  <a:lnTo>
                    <a:pt x="462" y="1404"/>
                  </a:lnTo>
                  <a:lnTo>
                    <a:pt x="456" y="1404"/>
                  </a:lnTo>
                  <a:lnTo>
                    <a:pt x="450" y="1404"/>
                  </a:lnTo>
                  <a:lnTo>
                    <a:pt x="450" y="1398"/>
                  </a:lnTo>
                  <a:lnTo>
                    <a:pt x="444" y="1398"/>
                  </a:lnTo>
                  <a:lnTo>
                    <a:pt x="444" y="1392"/>
                  </a:lnTo>
                  <a:lnTo>
                    <a:pt x="444" y="1386"/>
                  </a:lnTo>
                  <a:close/>
                  <a:moveTo>
                    <a:pt x="438" y="1362"/>
                  </a:moveTo>
                  <a:lnTo>
                    <a:pt x="444" y="1356"/>
                  </a:lnTo>
                  <a:lnTo>
                    <a:pt x="450" y="1356"/>
                  </a:lnTo>
                  <a:lnTo>
                    <a:pt x="450" y="1362"/>
                  </a:lnTo>
                  <a:lnTo>
                    <a:pt x="450" y="1368"/>
                  </a:lnTo>
                  <a:lnTo>
                    <a:pt x="444" y="1368"/>
                  </a:lnTo>
                  <a:lnTo>
                    <a:pt x="444" y="1362"/>
                  </a:lnTo>
                  <a:lnTo>
                    <a:pt x="438" y="1362"/>
                  </a:lnTo>
                  <a:close/>
                  <a:moveTo>
                    <a:pt x="438" y="1350"/>
                  </a:moveTo>
                  <a:lnTo>
                    <a:pt x="438" y="1344"/>
                  </a:lnTo>
                  <a:lnTo>
                    <a:pt x="438" y="1338"/>
                  </a:lnTo>
                  <a:lnTo>
                    <a:pt x="444" y="1338"/>
                  </a:lnTo>
                  <a:lnTo>
                    <a:pt x="450" y="1338"/>
                  </a:lnTo>
                  <a:lnTo>
                    <a:pt x="456" y="1338"/>
                  </a:lnTo>
                  <a:lnTo>
                    <a:pt x="450" y="1344"/>
                  </a:lnTo>
                  <a:lnTo>
                    <a:pt x="444" y="1350"/>
                  </a:lnTo>
                  <a:lnTo>
                    <a:pt x="438" y="1350"/>
                  </a:lnTo>
                  <a:close/>
                  <a:moveTo>
                    <a:pt x="432" y="1380"/>
                  </a:moveTo>
                  <a:lnTo>
                    <a:pt x="432" y="1368"/>
                  </a:lnTo>
                  <a:lnTo>
                    <a:pt x="432" y="1362"/>
                  </a:lnTo>
                  <a:lnTo>
                    <a:pt x="432" y="1356"/>
                  </a:lnTo>
                  <a:lnTo>
                    <a:pt x="438" y="1356"/>
                  </a:lnTo>
                  <a:lnTo>
                    <a:pt x="438" y="1362"/>
                  </a:lnTo>
                  <a:lnTo>
                    <a:pt x="438" y="1368"/>
                  </a:lnTo>
                  <a:lnTo>
                    <a:pt x="438" y="1374"/>
                  </a:lnTo>
                  <a:lnTo>
                    <a:pt x="438" y="1380"/>
                  </a:lnTo>
                  <a:lnTo>
                    <a:pt x="438" y="1386"/>
                  </a:lnTo>
                  <a:lnTo>
                    <a:pt x="438" y="1380"/>
                  </a:lnTo>
                  <a:lnTo>
                    <a:pt x="432" y="1380"/>
                  </a:lnTo>
                  <a:close/>
                  <a:moveTo>
                    <a:pt x="246" y="1272"/>
                  </a:moveTo>
                  <a:lnTo>
                    <a:pt x="252" y="1272"/>
                  </a:lnTo>
                  <a:lnTo>
                    <a:pt x="252" y="1278"/>
                  </a:lnTo>
                  <a:lnTo>
                    <a:pt x="246" y="1278"/>
                  </a:lnTo>
                  <a:lnTo>
                    <a:pt x="246" y="1272"/>
                  </a:lnTo>
                  <a:close/>
                  <a:moveTo>
                    <a:pt x="426" y="1416"/>
                  </a:moveTo>
                  <a:lnTo>
                    <a:pt x="432" y="1410"/>
                  </a:lnTo>
                  <a:lnTo>
                    <a:pt x="438" y="1410"/>
                  </a:lnTo>
                  <a:lnTo>
                    <a:pt x="438" y="1416"/>
                  </a:lnTo>
                  <a:lnTo>
                    <a:pt x="438" y="1422"/>
                  </a:lnTo>
                  <a:lnTo>
                    <a:pt x="432" y="1422"/>
                  </a:lnTo>
                  <a:lnTo>
                    <a:pt x="426" y="1422"/>
                  </a:lnTo>
                  <a:lnTo>
                    <a:pt x="426" y="1416"/>
                  </a:lnTo>
                  <a:close/>
                  <a:moveTo>
                    <a:pt x="246" y="1266"/>
                  </a:moveTo>
                  <a:lnTo>
                    <a:pt x="252" y="1266"/>
                  </a:lnTo>
                  <a:lnTo>
                    <a:pt x="258" y="1272"/>
                  </a:lnTo>
                  <a:lnTo>
                    <a:pt x="258" y="1278"/>
                  </a:lnTo>
                  <a:lnTo>
                    <a:pt x="258" y="1284"/>
                  </a:lnTo>
                  <a:lnTo>
                    <a:pt x="252" y="1284"/>
                  </a:lnTo>
                  <a:lnTo>
                    <a:pt x="252" y="1278"/>
                  </a:lnTo>
                  <a:lnTo>
                    <a:pt x="252" y="1272"/>
                  </a:lnTo>
                  <a:lnTo>
                    <a:pt x="252" y="1266"/>
                  </a:lnTo>
                  <a:lnTo>
                    <a:pt x="246" y="1266"/>
                  </a:lnTo>
                  <a:close/>
                  <a:moveTo>
                    <a:pt x="408" y="1458"/>
                  </a:moveTo>
                  <a:lnTo>
                    <a:pt x="408" y="1452"/>
                  </a:lnTo>
                  <a:lnTo>
                    <a:pt x="414" y="1452"/>
                  </a:lnTo>
                  <a:lnTo>
                    <a:pt x="414" y="1446"/>
                  </a:lnTo>
                  <a:lnTo>
                    <a:pt x="414" y="1440"/>
                  </a:lnTo>
                  <a:lnTo>
                    <a:pt x="420" y="1440"/>
                  </a:lnTo>
                  <a:lnTo>
                    <a:pt x="420" y="1434"/>
                  </a:lnTo>
                  <a:lnTo>
                    <a:pt x="420" y="1428"/>
                  </a:lnTo>
                  <a:lnTo>
                    <a:pt x="420" y="1422"/>
                  </a:lnTo>
                  <a:lnTo>
                    <a:pt x="426" y="1422"/>
                  </a:lnTo>
                  <a:lnTo>
                    <a:pt x="432" y="1428"/>
                  </a:lnTo>
                  <a:lnTo>
                    <a:pt x="438" y="1428"/>
                  </a:lnTo>
                  <a:lnTo>
                    <a:pt x="438" y="1434"/>
                  </a:lnTo>
                  <a:lnTo>
                    <a:pt x="438" y="1428"/>
                  </a:lnTo>
                  <a:lnTo>
                    <a:pt x="438" y="1422"/>
                  </a:lnTo>
                  <a:lnTo>
                    <a:pt x="444" y="1416"/>
                  </a:lnTo>
                  <a:lnTo>
                    <a:pt x="444" y="1410"/>
                  </a:lnTo>
                  <a:lnTo>
                    <a:pt x="450" y="1416"/>
                  </a:lnTo>
                  <a:lnTo>
                    <a:pt x="456" y="1416"/>
                  </a:lnTo>
                  <a:lnTo>
                    <a:pt x="456" y="1422"/>
                  </a:lnTo>
                  <a:lnTo>
                    <a:pt x="456" y="1428"/>
                  </a:lnTo>
                  <a:lnTo>
                    <a:pt x="456" y="1434"/>
                  </a:lnTo>
                  <a:lnTo>
                    <a:pt x="456" y="1440"/>
                  </a:lnTo>
                  <a:lnTo>
                    <a:pt x="462" y="1440"/>
                  </a:lnTo>
                  <a:lnTo>
                    <a:pt x="462" y="1446"/>
                  </a:lnTo>
                  <a:lnTo>
                    <a:pt x="462" y="1452"/>
                  </a:lnTo>
                  <a:lnTo>
                    <a:pt x="456" y="1452"/>
                  </a:lnTo>
                  <a:lnTo>
                    <a:pt x="450" y="1452"/>
                  </a:lnTo>
                  <a:lnTo>
                    <a:pt x="444" y="1446"/>
                  </a:lnTo>
                  <a:lnTo>
                    <a:pt x="444" y="1452"/>
                  </a:lnTo>
                  <a:lnTo>
                    <a:pt x="450" y="1452"/>
                  </a:lnTo>
                  <a:lnTo>
                    <a:pt x="450" y="1458"/>
                  </a:lnTo>
                  <a:lnTo>
                    <a:pt x="444" y="1458"/>
                  </a:lnTo>
                  <a:lnTo>
                    <a:pt x="438" y="1464"/>
                  </a:lnTo>
                  <a:lnTo>
                    <a:pt x="438" y="1458"/>
                  </a:lnTo>
                  <a:lnTo>
                    <a:pt x="432" y="1458"/>
                  </a:lnTo>
                  <a:lnTo>
                    <a:pt x="426" y="1458"/>
                  </a:lnTo>
                  <a:lnTo>
                    <a:pt x="432" y="1458"/>
                  </a:lnTo>
                  <a:lnTo>
                    <a:pt x="438" y="1464"/>
                  </a:lnTo>
                  <a:lnTo>
                    <a:pt x="432" y="1464"/>
                  </a:lnTo>
                  <a:lnTo>
                    <a:pt x="432" y="1470"/>
                  </a:lnTo>
                  <a:lnTo>
                    <a:pt x="426" y="1470"/>
                  </a:lnTo>
                  <a:lnTo>
                    <a:pt x="420" y="1476"/>
                  </a:lnTo>
                  <a:lnTo>
                    <a:pt x="420" y="1470"/>
                  </a:lnTo>
                  <a:lnTo>
                    <a:pt x="414" y="1470"/>
                  </a:lnTo>
                  <a:lnTo>
                    <a:pt x="414" y="1464"/>
                  </a:lnTo>
                  <a:lnTo>
                    <a:pt x="414" y="1458"/>
                  </a:lnTo>
                  <a:lnTo>
                    <a:pt x="408" y="1458"/>
                  </a:lnTo>
                  <a:close/>
                  <a:moveTo>
                    <a:pt x="270" y="1326"/>
                  </a:moveTo>
                  <a:lnTo>
                    <a:pt x="270" y="1320"/>
                  </a:lnTo>
                  <a:lnTo>
                    <a:pt x="276" y="1320"/>
                  </a:lnTo>
                  <a:lnTo>
                    <a:pt x="282" y="1326"/>
                  </a:lnTo>
                  <a:lnTo>
                    <a:pt x="288" y="1326"/>
                  </a:lnTo>
                  <a:lnTo>
                    <a:pt x="288" y="1332"/>
                  </a:lnTo>
                  <a:lnTo>
                    <a:pt x="288" y="1338"/>
                  </a:lnTo>
                  <a:lnTo>
                    <a:pt x="288" y="1344"/>
                  </a:lnTo>
                  <a:lnTo>
                    <a:pt x="282" y="1344"/>
                  </a:lnTo>
                  <a:lnTo>
                    <a:pt x="282" y="1338"/>
                  </a:lnTo>
                  <a:lnTo>
                    <a:pt x="276" y="1338"/>
                  </a:lnTo>
                  <a:lnTo>
                    <a:pt x="276" y="1332"/>
                  </a:lnTo>
                  <a:lnTo>
                    <a:pt x="270" y="1332"/>
                  </a:lnTo>
                  <a:lnTo>
                    <a:pt x="270" y="1326"/>
                  </a:lnTo>
                  <a:close/>
                  <a:moveTo>
                    <a:pt x="288" y="1458"/>
                  </a:moveTo>
                  <a:lnTo>
                    <a:pt x="294" y="1458"/>
                  </a:lnTo>
                  <a:lnTo>
                    <a:pt x="294" y="1452"/>
                  </a:lnTo>
                  <a:lnTo>
                    <a:pt x="294" y="1446"/>
                  </a:lnTo>
                  <a:lnTo>
                    <a:pt x="300" y="1446"/>
                  </a:lnTo>
                  <a:lnTo>
                    <a:pt x="300" y="1440"/>
                  </a:lnTo>
                  <a:lnTo>
                    <a:pt x="306" y="1440"/>
                  </a:lnTo>
                  <a:lnTo>
                    <a:pt x="306" y="1446"/>
                  </a:lnTo>
                  <a:lnTo>
                    <a:pt x="312" y="1452"/>
                  </a:lnTo>
                  <a:lnTo>
                    <a:pt x="306" y="1452"/>
                  </a:lnTo>
                  <a:lnTo>
                    <a:pt x="306" y="1458"/>
                  </a:lnTo>
                  <a:lnTo>
                    <a:pt x="312" y="1464"/>
                  </a:lnTo>
                  <a:lnTo>
                    <a:pt x="306" y="1464"/>
                  </a:lnTo>
                  <a:lnTo>
                    <a:pt x="306" y="1470"/>
                  </a:lnTo>
                  <a:lnTo>
                    <a:pt x="300" y="1476"/>
                  </a:lnTo>
                  <a:lnTo>
                    <a:pt x="294" y="1476"/>
                  </a:lnTo>
                  <a:lnTo>
                    <a:pt x="294" y="1470"/>
                  </a:lnTo>
                  <a:lnTo>
                    <a:pt x="288" y="1470"/>
                  </a:lnTo>
                  <a:lnTo>
                    <a:pt x="288" y="1464"/>
                  </a:lnTo>
                  <a:lnTo>
                    <a:pt x="288" y="1458"/>
                  </a:lnTo>
                  <a:close/>
                  <a:moveTo>
                    <a:pt x="270" y="1296"/>
                  </a:moveTo>
                  <a:lnTo>
                    <a:pt x="276" y="1296"/>
                  </a:lnTo>
                  <a:lnTo>
                    <a:pt x="282" y="1296"/>
                  </a:lnTo>
                  <a:lnTo>
                    <a:pt x="288" y="1296"/>
                  </a:lnTo>
                  <a:lnTo>
                    <a:pt x="288" y="1302"/>
                  </a:lnTo>
                  <a:lnTo>
                    <a:pt x="282" y="1308"/>
                  </a:lnTo>
                  <a:lnTo>
                    <a:pt x="276" y="1308"/>
                  </a:lnTo>
                  <a:lnTo>
                    <a:pt x="276" y="1302"/>
                  </a:lnTo>
                  <a:lnTo>
                    <a:pt x="270" y="12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4" name="Freeform 19">
              <a:extLst>
                <a:ext uri="{FF2B5EF4-FFF2-40B4-BE49-F238E27FC236}">
                  <a16:creationId xmlns:a16="http://schemas.microsoft.com/office/drawing/2014/main" id="{5B9020B8-E1C1-4611-A248-9642BBD69C9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7043" y="3765821"/>
              <a:ext cx="333193" cy="398097"/>
            </a:xfrm>
            <a:custGeom>
              <a:avLst/>
              <a:gdLst>
                <a:gd name="T0" fmla="*/ 30 w 624"/>
                <a:gd name="T1" fmla="*/ 61 h 750"/>
                <a:gd name="T2" fmla="*/ 27 w 624"/>
                <a:gd name="T3" fmla="*/ 62 h 750"/>
                <a:gd name="T4" fmla="*/ 23 w 624"/>
                <a:gd name="T5" fmla="*/ 59 h 750"/>
                <a:gd name="T6" fmla="*/ 20 w 624"/>
                <a:gd name="T7" fmla="*/ 58 h 750"/>
                <a:gd name="T8" fmla="*/ 19 w 624"/>
                <a:gd name="T9" fmla="*/ 56 h 750"/>
                <a:gd name="T10" fmla="*/ 17 w 624"/>
                <a:gd name="T11" fmla="*/ 55 h 750"/>
                <a:gd name="T12" fmla="*/ 16 w 624"/>
                <a:gd name="T13" fmla="*/ 51 h 750"/>
                <a:gd name="T14" fmla="*/ 14 w 624"/>
                <a:gd name="T15" fmla="*/ 48 h 750"/>
                <a:gd name="T16" fmla="*/ 12 w 624"/>
                <a:gd name="T17" fmla="*/ 46 h 750"/>
                <a:gd name="T18" fmla="*/ 12 w 624"/>
                <a:gd name="T19" fmla="*/ 44 h 750"/>
                <a:gd name="T20" fmla="*/ 11 w 624"/>
                <a:gd name="T21" fmla="*/ 41 h 750"/>
                <a:gd name="T22" fmla="*/ 8 w 624"/>
                <a:gd name="T23" fmla="*/ 38 h 750"/>
                <a:gd name="T24" fmla="*/ 6 w 624"/>
                <a:gd name="T25" fmla="*/ 38 h 750"/>
                <a:gd name="T26" fmla="*/ 6 w 624"/>
                <a:gd name="T27" fmla="*/ 35 h 750"/>
                <a:gd name="T28" fmla="*/ 7 w 624"/>
                <a:gd name="T29" fmla="*/ 31 h 750"/>
                <a:gd name="T30" fmla="*/ 10 w 624"/>
                <a:gd name="T31" fmla="*/ 27 h 750"/>
                <a:gd name="T32" fmla="*/ 8 w 624"/>
                <a:gd name="T33" fmla="*/ 23 h 750"/>
                <a:gd name="T34" fmla="*/ 6 w 624"/>
                <a:gd name="T35" fmla="*/ 23 h 750"/>
                <a:gd name="T36" fmla="*/ 3 w 624"/>
                <a:gd name="T37" fmla="*/ 22 h 750"/>
                <a:gd name="T38" fmla="*/ 0 w 624"/>
                <a:gd name="T39" fmla="*/ 22 h 750"/>
                <a:gd name="T40" fmla="*/ 0 w 624"/>
                <a:gd name="T41" fmla="*/ 19 h 750"/>
                <a:gd name="T42" fmla="*/ 1 w 624"/>
                <a:gd name="T43" fmla="*/ 18 h 750"/>
                <a:gd name="T44" fmla="*/ 2 w 624"/>
                <a:gd name="T45" fmla="*/ 14 h 750"/>
                <a:gd name="T46" fmla="*/ 4 w 624"/>
                <a:gd name="T47" fmla="*/ 17 h 750"/>
                <a:gd name="T48" fmla="*/ 6 w 624"/>
                <a:gd name="T49" fmla="*/ 17 h 750"/>
                <a:gd name="T50" fmla="*/ 7 w 624"/>
                <a:gd name="T51" fmla="*/ 17 h 750"/>
                <a:gd name="T52" fmla="*/ 9 w 624"/>
                <a:gd name="T53" fmla="*/ 15 h 750"/>
                <a:gd name="T54" fmla="*/ 10 w 624"/>
                <a:gd name="T55" fmla="*/ 14 h 750"/>
                <a:gd name="T56" fmla="*/ 11 w 624"/>
                <a:gd name="T57" fmla="*/ 12 h 750"/>
                <a:gd name="T58" fmla="*/ 13 w 624"/>
                <a:gd name="T59" fmla="*/ 12 h 750"/>
                <a:gd name="T60" fmla="*/ 18 w 624"/>
                <a:gd name="T61" fmla="*/ 10 h 750"/>
                <a:gd name="T62" fmla="*/ 22 w 624"/>
                <a:gd name="T63" fmla="*/ 4 h 750"/>
                <a:gd name="T64" fmla="*/ 24 w 624"/>
                <a:gd name="T65" fmla="*/ 4 h 750"/>
                <a:gd name="T66" fmla="*/ 26 w 624"/>
                <a:gd name="T67" fmla="*/ 2 h 750"/>
                <a:gd name="T68" fmla="*/ 29 w 624"/>
                <a:gd name="T69" fmla="*/ 0 h 750"/>
                <a:gd name="T70" fmla="*/ 32 w 624"/>
                <a:gd name="T71" fmla="*/ 2 h 750"/>
                <a:gd name="T72" fmla="*/ 34 w 624"/>
                <a:gd name="T73" fmla="*/ 5 h 750"/>
                <a:gd name="T74" fmla="*/ 35 w 624"/>
                <a:gd name="T75" fmla="*/ 8 h 750"/>
                <a:gd name="T76" fmla="*/ 39 w 624"/>
                <a:gd name="T77" fmla="*/ 11 h 750"/>
                <a:gd name="T78" fmla="*/ 42 w 624"/>
                <a:gd name="T79" fmla="*/ 14 h 750"/>
                <a:gd name="T80" fmla="*/ 46 w 624"/>
                <a:gd name="T81" fmla="*/ 12 h 750"/>
                <a:gd name="T82" fmla="*/ 49 w 624"/>
                <a:gd name="T83" fmla="*/ 12 h 750"/>
                <a:gd name="T84" fmla="*/ 51 w 624"/>
                <a:gd name="T85" fmla="*/ 12 h 750"/>
                <a:gd name="T86" fmla="*/ 53 w 624"/>
                <a:gd name="T87" fmla="*/ 12 h 750"/>
                <a:gd name="T88" fmla="*/ 53 w 624"/>
                <a:gd name="T89" fmla="*/ 17 h 750"/>
                <a:gd name="T90" fmla="*/ 51 w 624"/>
                <a:gd name="T91" fmla="*/ 20 h 750"/>
                <a:gd name="T92" fmla="*/ 49 w 624"/>
                <a:gd name="T93" fmla="*/ 26 h 750"/>
                <a:gd name="T94" fmla="*/ 47 w 624"/>
                <a:gd name="T95" fmla="*/ 26 h 750"/>
                <a:gd name="T96" fmla="*/ 44 w 624"/>
                <a:gd name="T97" fmla="*/ 26 h 750"/>
                <a:gd name="T98" fmla="*/ 43 w 624"/>
                <a:gd name="T99" fmla="*/ 27 h 750"/>
                <a:gd name="T100" fmla="*/ 45 w 624"/>
                <a:gd name="T101" fmla="*/ 32 h 750"/>
                <a:gd name="T102" fmla="*/ 44 w 624"/>
                <a:gd name="T103" fmla="*/ 43 h 750"/>
                <a:gd name="T104" fmla="*/ 44 w 624"/>
                <a:gd name="T105" fmla="*/ 47 h 750"/>
                <a:gd name="T106" fmla="*/ 44 w 624"/>
                <a:gd name="T107" fmla="*/ 54 h 750"/>
                <a:gd name="T108" fmla="*/ 41 w 624"/>
                <a:gd name="T109" fmla="*/ 60 h 750"/>
                <a:gd name="T110" fmla="*/ 42 w 624"/>
                <a:gd name="T111" fmla="*/ 62 h 750"/>
                <a:gd name="T112" fmla="*/ 43 w 624"/>
                <a:gd name="T113" fmla="*/ 65 h 750"/>
                <a:gd name="T114" fmla="*/ 39 w 624"/>
                <a:gd name="T115" fmla="*/ 63 h 750"/>
                <a:gd name="T116" fmla="*/ 35 w 624"/>
                <a:gd name="T117" fmla="*/ 62 h 75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24"/>
                <a:gd name="T178" fmla="*/ 0 h 750"/>
                <a:gd name="T179" fmla="*/ 624 w 624"/>
                <a:gd name="T180" fmla="*/ 750 h 75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24" h="750">
                  <a:moveTo>
                    <a:pt x="390" y="702"/>
                  </a:moveTo>
                  <a:lnTo>
                    <a:pt x="372" y="696"/>
                  </a:lnTo>
                  <a:lnTo>
                    <a:pt x="360" y="702"/>
                  </a:lnTo>
                  <a:lnTo>
                    <a:pt x="348" y="702"/>
                  </a:lnTo>
                  <a:lnTo>
                    <a:pt x="336" y="702"/>
                  </a:lnTo>
                  <a:lnTo>
                    <a:pt x="330" y="702"/>
                  </a:lnTo>
                  <a:lnTo>
                    <a:pt x="318" y="708"/>
                  </a:lnTo>
                  <a:lnTo>
                    <a:pt x="306" y="708"/>
                  </a:lnTo>
                  <a:lnTo>
                    <a:pt x="294" y="690"/>
                  </a:lnTo>
                  <a:lnTo>
                    <a:pt x="294" y="684"/>
                  </a:lnTo>
                  <a:lnTo>
                    <a:pt x="276" y="684"/>
                  </a:lnTo>
                  <a:lnTo>
                    <a:pt x="270" y="678"/>
                  </a:lnTo>
                  <a:lnTo>
                    <a:pt x="240" y="672"/>
                  </a:lnTo>
                  <a:lnTo>
                    <a:pt x="234" y="672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6"/>
                  </a:lnTo>
                  <a:lnTo>
                    <a:pt x="216" y="660"/>
                  </a:lnTo>
                  <a:lnTo>
                    <a:pt x="216" y="654"/>
                  </a:lnTo>
                  <a:lnTo>
                    <a:pt x="216" y="642"/>
                  </a:lnTo>
                  <a:lnTo>
                    <a:pt x="210" y="642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36"/>
                  </a:lnTo>
                  <a:lnTo>
                    <a:pt x="192" y="624"/>
                  </a:lnTo>
                  <a:lnTo>
                    <a:pt x="186" y="612"/>
                  </a:lnTo>
                  <a:lnTo>
                    <a:pt x="186" y="600"/>
                  </a:lnTo>
                  <a:lnTo>
                    <a:pt x="186" y="588"/>
                  </a:lnTo>
                  <a:lnTo>
                    <a:pt x="180" y="582"/>
                  </a:lnTo>
                  <a:lnTo>
                    <a:pt x="180" y="570"/>
                  </a:lnTo>
                  <a:lnTo>
                    <a:pt x="174" y="558"/>
                  </a:lnTo>
                  <a:lnTo>
                    <a:pt x="162" y="558"/>
                  </a:lnTo>
                  <a:lnTo>
                    <a:pt x="144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38" y="534"/>
                  </a:lnTo>
                  <a:lnTo>
                    <a:pt x="138" y="528"/>
                  </a:lnTo>
                  <a:lnTo>
                    <a:pt x="132" y="522"/>
                  </a:lnTo>
                  <a:lnTo>
                    <a:pt x="144" y="522"/>
                  </a:lnTo>
                  <a:lnTo>
                    <a:pt x="144" y="510"/>
                  </a:lnTo>
                  <a:lnTo>
                    <a:pt x="144" y="504"/>
                  </a:lnTo>
                  <a:lnTo>
                    <a:pt x="138" y="492"/>
                  </a:lnTo>
                  <a:lnTo>
                    <a:pt x="138" y="474"/>
                  </a:lnTo>
                  <a:lnTo>
                    <a:pt x="126" y="468"/>
                  </a:lnTo>
                  <a:lnTo>
                    <a:pt x="120" y="456"/>
                  </a:lnTo>
                  <a:lnTo>
                    <a:pt x="114" y="450"/>
                  </a:lnTo>
                  <a:lnTo>
                    <a:pt x="108" y="438"/>
                  </a:lnTo>
                  <a:lnTo>
                    <a:pt x="96" y="432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60" y="426"/>
                  </a:lnTo>
                  <a:lnTo>
                    <a:pt x="66" y="420"/>
                  </a:lnTo>
                  <a:lnTo>
                    <a:pt x="66" y="408"/>
                  </a:lnTo>
                  <a:lnTo>
                    <a:pt x="72" y="408"/>
                  </a:lnTo>
                  <a:lnTo>
                    <a:pt x="72" y="384"/>
                  </a:lnTo>
                  <a:lnTo>
                    <a:pt x="72" y="366"/>
                  </a:lnTo>
                  <a:lnTo>
                    <a:pt x="78" y="354"/>
                  </a:lnTo>
                  <a:lnTo>
                    <a:pt x="84" y="354"/>
                  </a:lnTo>
                  <a:lnTo>
                    <a:pt x="90" y="348"/>
                  </a:lnTo>
                  <a:lnTo>
                    <a:pt x="102" y="336"/>
                  </a:lnTo>
                  <a:lnTo>
                    <a:pt x="114" y="324"/>
                  </a:lnTo>
                  <a:lnTo>
                    <a:pt x="120" y="312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20" y="276"/>
                  </a:lnTo>
                  <a:lnTo>
                    <a:pt x="96" y="270"/>
                  </a:lnTo>
                  <a:lnTo>
                    <a:pt x="84" y="270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72" y="264"/>
                  </a:lnTo>
                  <a:lnTo>
                    <a:pt x="60" y="252"/>
                  </a:lnTo>
                  <a:lnTo>
                    <a:pt x="42" y="252"/>
                  </a:lnTo>
                  <a:lnTo>
                    <a:pt x="42" y="258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18" y="252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42" y="156"/>
                  </a:lnTo>
                  <a:lnTo>
                    <a:pt x="48" y="198"/>
                  </a:lnTo>
                  <a:lnTo>
                    <a:pt x="48" y="204"/>
                  </a:lnTo>
                  <a:lnTo>
                    <a:pt x="54" y="198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204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192"/>
                  </a:lnTo>
                  <a:lnTo>
                    <a:pt x="96" y="186"/>
                  </a:lnTo>
                  <a:lnTo>
                    <a:pt x="102" y="180"/>
                  </a:lnTo>
                  <a:lnTo>
                    <a:pt x="102" y="174"/>
                  </a:lnTo>
                  <a:lnTo>
                    <a:pt x="108" y="168"/>
                  </a:lnTo>
                  <a:lnTo>
                    <a:pt x="108" y="162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0"/>
                  </a:lnTo>
                  <a:lnTo>
                    <a:pt x="132" y="144"/>
                  </a:lnTo>
                  <a:lnTo>
                    <a:pt x="138" y="138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0" y="132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74" y="126"/>
                  </a:lnTo>
                  <a:lnTo>
                    <a:pt x="204" y="120"/>
                  </a:lnTo>
                  <a:lnTo>
                    <a:pt x="210" y="78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54"/>
                  </a:lnTo>
                  <a:lnTo>
                    <a:pt x="276" y="54"/>
                  </a:lnTo>
                  <a:lnTo>
                    <a:pt x="276" y="48"/>
                  </a:lnTo>
                  <a:lnTo>
                    <a:pt x="282" y="48"/>
                  </a:lnTo>
                  <a:lnTo>
                    <a:pt x="288" y="42"/>
                  </a:lnTo>
                  <a:lnTo>
                    <a:pt x="294" y="42"/>
                  </a:lnTo>
                  <a:lnTo>
                    <a:pt x="294" y="18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0"/>
                  </a:lnTo>
                  <a:lnTo>
                    <a:pt x="336" y="0"/>
                  </a:lnTo>
                  <a:lnTo>
                    <a:pt x="342" y="0"/>
                  </a:lnTo>
                  <a:lnTo>
                    <a:pt x="354" y="6"/>
                  </a:lnTo>
                  <a:lnTo>
                    <a:pt x="366" y="18"/>
                  </a:lnTo>
                  <a:lnTo>
                    <a:pt x="378" y="36"/>
                  </a:lnTo>
                  <a:lnTo>
                    <a:pt x="390" y="42"/>
                  </a:lnTo>
                  <a:lnTo>
                    <a:pt x="390" y="48"/>
                  </a:lnTo>
                  <a:lnTo>
                    <a:pt x="396" y="60"/>
                  </a:lnTo>
                  <a:lnTo>
                    <a:pt x="402" y="72"/>
                  </a:lnTo>
                  <a:lnTo>
                    <a:pt x="408" y="78"/>
                  </a:lnTo>
                  <a:lnTo>
                    <a:pt x="402" y="84"/>
                  </a:lnTo>
                  <a:lnTo>
                    <a:pt x="408" y="90"/>
                  </a:lnTo>
                  <a:lnTo>
                    <a:pt x="414" y="102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50" y="126"/>
                  </a:lnTo>
                  <a:lnTo>
                    <a:pt x="456" y="126"/>
                  </a:lnTo>
                  <a:lnTo>
                    <a:pt x="462" y="144"/>
                  </a:lnTo>
                  <a:lnTo>
                    <a:pt x="480" y="156"/>
                  </a:lnTo>
                  <a:lnTo>
                    <a:pt x="492" y="156"/>
                  </a:lnTo>
                  <a:lnTo>
                    <a:pt x="516" y="150"/>
                  </a:lnTo>
                  <a:lnTo>
                    <a:pt x="516" y="144"/>
                  </a:lnTo>
                  <a:lnTo>
                    <a:pt x="516" y="138"/>
                  </a:lnTo>
                  <a:lnTo>
                    <a:pt x="528" y="138"/>
                  </a:lnTo>
                  <a:lnTo>
                    <a:pt x="546" y="144"/>
                  </a:lnTo>
                  <a:lnTo>
                    <a:pt x="546" y="138"/>
                  </a:lnTo>
                  <a:lnTo>
                    <a:pt x="552" y="138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76" y="138"/>
                  </a:lnTo>
                  <a:lnTo>
                    <a:pt x="582" y="138"/>
                  </a:lnTo>
                  <a:lnTo>
                    <a:pt x="588" y="138"/>
                  </a:lnTo>
                  <a:lnTo>
                    <a:pt x="594" y="138"/>
                  </a:lnTo>
                  <a:lnTo>
                    <a:pt x="594" y="144"/>
                  </a:lnTo>
                  <a:lnTo>
                    <a:pt x="600" y="138"/>
                  </a:lnTo>
                  <a:lnTo>
                    <a:pt x="606" y="138"/>
                  </a:lnTo>
                  <a:lnTo>
                    <a:pt x="606" y="144"/>
                  </a:lnTo>
                  <a:lnTo>
                    <a:pt x="612" y="144"/>
                  </a:lnTo>
                  <a:lnTo>
                    <a:pt x="618" y="156"/>
                  </a:lnTo>
                  <a:lnTo>
                    <a:pt x="612" y="198"/>
                  </a:lnTo>
                  <a:lnTo>
                    <a:pt x="624" y="198"/>
                  </a:lnTo>
                  <a:lnTo>
                    <a:pt x="624" y="204"/>
                  </a:lnTo>
                  <a:lnTo>
                    <a:pt x="612" y="216"/>
                  </a:lnTo>
                  <a:lnTo>
                    <a:pt x="594" y="234"/>
                  </a:lnTo>
                  <a:lnTo>
                    <a:pt x="588" y="252"/>
                  </a:lnTo>
                  <a:lnTo>
                    <a:pt x="576" y="270"/>
                  </a:lnTo>
                  <a:lnTo>
                    <a:pt x="564" y="282"/>
                  </a:lnTo>
                  <a:lnTo>
                    <a:pt x="564" y="294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8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34" y="294"/>
                  </a:lnTo>
                  <a:lnTo>
                    <a:pt x="522" y="300"/>
                  </a:lnTo>
                  <a:lnTo>
                    <a:pt x="510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498" y="324"/>
                  </a:lnTo>
                  <a:lnTo>
                    <a:pt x="504" y="336"/>
                  </a:lnTo>
                  <a:lnTo>
                    <a:pt x="510" y="348"/>
                  </a:lnTo>
                  <a:lnTo>
                    <a:pt x="516" y="366"/>
                  </a:lnTo>
                  <a:lnTo>
                    <a:pt x="522" y="432"/>
                  </a:lnTo>
                  <a:lnTo>
                    <a:pt x="522" y="456"/>
                  </a:lnTo>
                  <a:lnTo>
                    <a:pt x="504" y="492"/>
                  </a:lnTo>
                  <a:lnTo>
                    <a:pt x="504" y="498"/>
                  </a:lnTo>
                  <a:lnTo>
                    <a:pt x="498" y="504"/>
                  </a:lnTo>
                  <a:lnTo>
                    <a:pt x="498" y="522"/>
                  </a:lnTo>
                  <a:lnTo>
                    <a:pt x="504" y="534"/>
                  </a:lnTo>
                  <a:lnTo>
                    <a:pt x="510" y="546"/>
                  </a:lnTo>
                  <a:lnTo>
                    <a:pt x="516" y="558"/>
                  </a:lnTo>
                  <a:lnTo>
                    <a:pt x="516" y="588"/>
                  </a:lnTo>
                  <a:lnTo>
                    <a:pt x="516" y="600"/>
                  </a:lnTo>
                  <a:lnTo>
                    <a:pt x="510" y="618"/>
                  </a:lnTo>
                  <a:lnTo>
                    <a:pt x="504" y="636"/>
                  </a:lnTo>
                  <a:lnTo>
                    <a:pt x="504" y="642"/>
                  </a:lnTo>
                  <a:lnTo>
                    <a:pt x="474" y="654"/>
                  </a:lnTo>
                  <a:lnTo>
                    <a:pt x="474" y="690"/>
                  </a:lnTo>
                  <a:lnTo>
                    <a:pt x="474" y="696"/>
                  </a:lnTo>
                  <a:lnTo>
                    <a:pt x="480" y="702"/>
                  </a:lnTo>
                  <a:lnTo>
                    <a:pt x="486" y="708"/>
                  </a:lnTo>
                  <a:lnTo>
                    <a:pt x="492" y="708"/>
                  </a:lnTo>
                  <a:lnTo>
                    <a:pt x="498" y="726"/>
                  </a:lnTo>
                  <a:lnTo>
                    <a:pt x="504" y="726"/>
                  </a:lnTo>
                  <a:lnTo>
                    <a:pt x="504" y="738"/>
                  </a:lnTo>
                  <a:lnTo>
                    <a:pt x="498" y="744"/>
                  </a:lnTo>
                  <a:lnTo>
                    <a:pt x="486" y="750"/>
                  </a:lnTo>
                  <a:lnTo>
                    <a:pt x="474" y="744"/>
                  </a:lnTo>
                  <a:lnTo>
                    <a:pt x="462" y="744"/>
                  </a:lnTo>
                  <a:lnTo>
                    <a:pt x="456" y="732"/>
                  </a:lnTo>
                  <a:lnTo>
                    <a:pt x="444" y="732"/>
                  </a:lnTo>
                  <a:lnTo>
                    <a:pt x="432" y="726"/>
                  </a:lnTo>
                  <a:lnTo>
                    <a:pt x="420" y="720"/>
                  </a:lnTo>
                  <a:lnTo>
                    <a:pt x="408" y="708"/>
                  </a:lnTo>
                  <a:lnTo>
                    <a:pt x="402" y="708"/>
                  </a:lnTo>
                  <a:lnTo>
                    <a:pt x="390" y="70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5" name="Freeform 20">
              <a:extLst>
                <a:ext uri="{FF2B5EF4-FFF2-40B4-BE49-F238E27FC236}">
                  <a16:creationId xmlns:a16="http://schemas.microsoft.com/office/drawing/2014/main" id="{B8342C3B-ECEC-465F-AAFF-4815B8AC392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870937"/>
              <a:ext cx="313067" cy="377968"/>
            </a:xfrm>
            <a:custGeom>
              <a:avLst/>
              <a:gdLst>
                <a:gd name="T0" fmla="*/ 15 w 588"/>
                <a:gd name="T1" fmla="*/ 59 h 714"/>
                <a:gd name="T2" fmla="*/ 14 w 588"/>
                <a:gd name="T3" fmla="*/ 58 h 714"/>
                <a:gd name="T4" fmla="*/ 9 w 588"/>
                <a:gd name="T5" fmla="*/ 54 h 714"/>
                <a:gd name="T6" fmla="*/ 4 w 588"/>
                <a:gd name="T7" fmla="*/ 54 h 714"/>
                <a:gd name="T8" fmla="*/ 0 w 588"/>
                <a:gd name="T9" fmla="*/ 50 h 714"/>
                <a:gd name="T10" fmla="*/ 0 w 588"/>
                <a:gd name="T11" fmla="*/ 44 h 714"/>
                <a:gd name="T12" fmla="*/ 4 w 588"/>
                <a:gd name="T13" fmla="*/ 46 h 714"/>
                <a:gd name="T14" fmla="*/ 7 w 588"/>
                <a:gd name="T15" fmla="*/ 47 h 714"/>
                <a:gd name="T16" fmla="*/ 10 w 588"/>
                <a:gd name="T17" fmla="*/ 46 h 714"/>
                <a:gd name="T18" fmla="*/ 8 w 588"/>
                <a:gd name="T19" fmla="*/ 44 h 714"/>
                <a:gd name="T20" fmla="*/ 10 w 588"/>
                <a:gd name="T21" fmla="*/ 39 h 714"/>
                <a:gd name="T22" fmla="*/ 11 w 588"/>
                <a:gd name="T23" fmla="*/ 34 h 714"/>
                <a:gd name="T24" fmla="*/ 9 w 588"/>
                <a:gd name="T25" fmla="*/ 28 h 714"/>
                <a:gd name="T26" fmla="*/ 11 w 588"/>
                <a:gd name="T27" fmla="*/ 22 h 714"/>
                <a:gd name="T28" fmla="*/ 10 w 588"/>
                <a:gd name="T29" fmla="*/ 12 h 714"/>
                <a:gd name="T30" fmla="*/ 9 w 588"/>
                <a:gd name="T31" fmla="*/ 9 h 714"/>
                <a:gd name="T32" fmla="*/ 12 w 588"/>
                <a:gd name="T33" fmla="*/ 8 h 714"/>
                <a:gd name="T34" fmla="*/ 14 w 588"/>
                <a:gd name="T35" fmla="*/ 7 h 714"/>
                <a:gd name="T36" fmla="*/ 17 w 588"/>
                <a:gd name="T37" fmla="*/ 10 h 714"/>
                <a:gd name="T38" fmla="*/ 23 w 588"/>
                <a:gd name="T39" fmla="*/ 14 h 714"/>
                <a:gd name="T40" fmla="*/ 28 w 588"/>
                <a:gd name="T41" fmla="*/ 4 h 714"/>
                <a:gd name="T42" fmla="*/ 35 w 588"/>
                <a:gd name="T43" fmla="*/ 2 h 714"/>
                <a:gd name="T44" fmla="*/ 38 w 588"/>
                <a:gd name="T45" fmla="*/ 0 h 714"/>
                <a:gd name="T46" fmla="*/ 40 w 588"/>
                <a:gd name="T47" fmla="*/ 2 h 714"/>
                <a:gd name="T48" fmla="*/ 39 w 588"/>
                <a:gd name="T49" fmla="*/ 4 h 714"/>
                <a:gd name="T50" fmla="*/ 41 w 588"/>
                <a:gd name="T51" fmla="*/ 5 h 714"/>
                <a:gd name="T52" fmla="*/ 42 w 588"/>
                <a:gd name="T53" fmla="*/ 7 h 714"/>
                <a:gd name="T54" fmla="*/ 43 w 588"/>
                <a:gd name="T55" fmla="*/ 9 h 714"/>
                <a:gd name="T56" fmla="*/ 43 w 588"/>
                <a:gd name="T57" fmla="*/ 10 h 714"/>
                <a:gd name="T58" fmla="*/ 43 w 588"/>
                <a:gd name="T59" fmla="*/ 12 h 714"/>
                <a:gd name="T60" fmla="*/ 44 w 588"/>
                <a:gd name="T61" fmla="*/ 12 h 714"/>
                <a:gd name="T62" fmla="*/ 46 w 588"/>
                <a:gd name="T63" fmla="*/ 13 h 714"/>
                <a:gd name="T64" fmla="*/ 47 w 588"/>
                <a:gd name="T65" fmla="*/ 14 h 714"/>
                <a:gd name="T66" fmla="*/ 48 w 588"/>
                <a:gd name="T67" fmla="*/ 15 h 714"/>
                <a:gd name="T68" fmla="*/ 49 w 588"/>
                <a:gd name="T69" fmla="*/ 15 h 714"/>
                <a:gd name="T70" fmla="*/ 48 w 588"/>
                <a:gd name="T71" fmla="*/ 17 h 714"/>
                <a:gd name="T72" fmla="*/ 49 w 588"/>
                <a:gd name="T73" fmla="*/ 19 h 714"/>
                <a:gd name="T74" fmla="*/ 49 w 588"/>
                <a:gd name="T75" fmla="*/ 20 h 714"/>
                <a:gd name="T76" fmla="*/ 51 w 588"/>
                <a:gd name="T77" fmla="*/ 21 h 714"/>
                <a:gd name="T78" fmla="*/ 50 w 588"/>
                <a:gd name="T79" fmla="*/ 22 h 714"/>
                <a:gd name="T80" fmla="*/ 47 w 588"/>
                <a:gd name="T81" fmla="*/ 23 h 714"/>
                <a:gd name="T82" fmla="*/ 47 w 588"/>
                <a:gd name="T83" fmla="*/ 26 h 714"/>
                <a:gd name="T84" fmla="*/ 47 w 588"/>
                <a:gd name="T85" fmla="*/ 32 h 714"/>
                <a:gd name="T86" fmla="*/ 44 w 588"/>
                <a:gd name="T87" fmla="*/ 35 h 714"/>
                <a:gd name="T88" fmla="*/ 42 w 588"/>
                <a:gd name="T89" fmla="*/ 39 h 714"/>
                <a:gd name="T90" fmla="*/ 42 w 588"/>
                <a:gd name="T91" fmla="*/ 41 h 714"/>
                <a:gd name="T92" fmla="*/ 42 w 588"/>
                <a:gd name="T93" fmla="*/ 42 h 714"/>
                <a:gd name="T94" fmla="*/ 41 w 588"/>
                <a:gd name="T95" fmla="*/ 44 h 714"/>
                <a:gd name="T96" fmla="*/ 39 w 588"/>
                <a:gd name="T97" fmla="*/ 43 h 714"/>
                <a:gd name="T98" fmla="*/ 37 w 588"/>
                <a:gd name="T99" fmla="*/ 44 h 714"/>
                <a:gd name="T100" fmla="*/ 35 w 588"/>
                <a:gd name="T101" fmla="*/ 46 h 714"/>
                <a:gd name="T102" fmla="*/ 31 w 588"/>
                <a:gd name="T103" fmla="*/ 45 h 714"/>
                <a:gd name="T104" fmla="*/ 24 w 588"/>
                <a:gd name="T105" fmla="*/ 45 h 714"/>
                <a:gd name="T106" fmla="*/ 25 w 588"/>
                <a:gd name="T107" fmla="*/ 47 h 714"/>
                <a:gd name="T108" fmla="*/ 25 w 588"/>
                <a:gd name="T109" fmla="*/ 49 h 714"/>
                <a:gd name="T110" fmla="*/ 25 w 588"/>
                <a:gd name="T111" fmla="*/ 50 h 714"/>
                <a:gd name="T112" fmla="*/ 24 w 588"/>
                <a:gd name="T113" fmla="*/ 51 h 714"/>
                <a:gd name="T114" fmla="*/ 22 w 588"/>
                <a:gd name="T115" fmla="*/ 53 h 714"/>
                <a:gd name="T116" fmla="*/ 23 w 588"/>
                <a:gd name="T117" fmla="*/ 56 h 714"/>
                <a:gd name="T118" fmla="*/ 20 w 588"/>
                <a:gd name="T119" fmla="*/ 58 h 714"/>
                <a:gd name="T120" fmla="*/ 19 w 588"/>
                <a:gd name="T121" fmla="*/ 62 h 7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8"/>
                <a:gd name="T184" fmla="*/ 0 h 714"/>
                <a:gd name="T185" fmla="*/ 588 w 588"/>
                <a:gd name="T186" fmla="*/ 714 h 7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8" h="714">
                  <a:moveTo>
                    <a:pt x="216" y="714"/>
                  </a:moveTo>
                  <a:lnTo>
                    <a:pt x="198" y="702"/>
                  </a:lnTo>
                  <a:lnTo>
                    <a:pt x="186" y="696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74" y="678"/>
                  </a:lnTo>
                  <a:lnTo>
                    <a:pt x="168" y="672"/>
                  </a:lnTo>
                  <a:lnTo>
                    <a:pt x="162" y="666"/>
                  </a:lnTo>
                  <a:lnTo>
                    <a:pt x="156" y="636"/>
                  </a:lnTo>
                  <a:lnTo>
                    <a:pt x="144" y="630"/>
                  </a:lnTo>
                  <a:lnTo>
                    <a:pt x="108" y="630"/>
                  </a:lnTo>
                  <a:lnTo>
                    <a:pt x="102" y="624"/>
                  </a:lnTo>
                  <a:lnTo>
                    <a:pt x="96" y="624"/>
                  </a:lnTo>
                  <a:lnTo>
                    <a:pt x="72" y="624"/>
                  </a:lnTo>
                  <a:lnTo>
                    <a:pt x="54" y="624"/>
                  </a:lnTo>
                  <a:lnTo>
                    <a:pt x="42" y="618"/>
                  </a:lnTo>
                  <a:lnTo>
                    <a:pt x="30" y="612"/>
                  </a:lnTo>
                  <a:lnTo>
                    <a:pt x="6" y="606"/>
                  </a:lnTo>
                  <a:lnTo>
                    <a:pt x="0" y="606"/>
                  </a:lnTo>
                  <a:lnTo>
                    <a:pt x="0" y="570"/>
                  </a:lnTo>
                  <a:lnTo>
                    <a:pt x="6" y="552"/>
                  </a:lnTo>
                  <a:lnTo>
                    <a:pt x="6" y="522"/>
                  </a:lnTo>
                  <a:lnTo>
                    <a:pt x="0" y="510"/>
                  </a:lnTo>
                  <a:lnTo>
                    <a:pt x="0" y="504"/>
                  </a:lnTo>
                  <a:lnTo>
                    <a:pt x="12" y="510"/>
                  </a:lnTo>
                  <a:lnTo>
                    <a:pt x="18" y="510"/>
                  </a:lnTo>
                  <a:lnTo>
                    <a:pt x="30" y="522"/>
                  </a:lnTo>
                  <a:lnTo>
                    <a:pt x="42" y="528"/>
                  </a:lnTo>
                  <a:lnTo>
                    <a:pt x="54" y="534"/>
                  </a:lnTo>
                  <a:lnTo>
                    <a:pt x="66" y="534"/>
                  </a:lnTo>
                  <a:lnTo>
                    <a:pt x="72" y="546"/>
                  </a:lnTo>
                  <a:lnTo>
                    <a:pt x="84" y="546"/>
                  </a:lnTo>
                  <a:lnTo>
                    <a:pt x="96" y="552"/>
                  </a:lnTo>
                  <a:lnTo>
                    <a:pt x="108" y="546"/>
                  </a:lnTo>
                  <a:lnTo>
                    <a:pt x="114" y="540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90" y="504"/>
                  </a:lnTo>
                  <a:lnTo>
                    <a:pt x="84" y="498"/>
                  </a:lnTo>
                  <a:lnTo>
                    <a:pt x="84" y="492"/>
                  </a:lnTo>
                  <a:lnTo>
                    <a:pt x="84" y="456"/>
                  </a:lnTo>
                  <a:lnTo>
                    <a:pt x="114" y="444"/>
                  </a:lnTo>
                  <a:lnTo>
                    <a:pt x="114" y="438"/>
                  </a:lnTo>
                  <a:lnTo>
                    <a:pt x="120" y="420"/>
                  </a:lnTo>
                  <a:lnTo>
                    <a:pt x="126" y="402"/>
                  </a:lnTo>
                  <a:lnTo>
                    <a:pt x="126" y="390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14" y="336"/>
                  </a:lnTo>
                  <a:lnTo>
                    <a:pt x="108" y="324"/>
                  </a:lnTo>
                  <a:lnTo>
                    <a:pt x="108" y="306"/>
                  </a:lnTo>
                  <a:lnTo>
                    <a:pt x="114" y="300"/>
                  </a:lnTo>
                  <a:lnTo>
                    <a:pt x="114" y="294"/>
                  </a:lnTo>
                  <a:lnTo>
                    <a:pt x="132" y="258"/>
                  </a:lnTo>
                  <a:lnTo>
                    <a:pt x="132" y="234"/>
                  </a:lnTo>
                  <a:lnTo>
                    <a:pt x="126" y="168"/>
                  </a:lnTo>
                  <a:lnTo>
                    <a:pt x="120" y="150"/>
                  </a:lnTo>
                  <a:lnTo>
                    <a:pt x="114" y="138"/>
                  </a:lnTo>
                  <a:lnTo>
                    <a:pt x="108" y="126"/>
                  </a:lnTo>
                  <a:lnTo>
                    <a:pt x="108" y="120"/>
                  </a:lnTo>
                  <a:lnTo>
                    <a:pt x="108" y="114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20" y="96"/>
                  </a:lnTo>
                  <a:lnTo>
                    <a:pt x="132" y="102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56" y="90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96"/>
                  </a:lnTo>
                  <a:lnTo>
                    <a:pt x="186" y="96"/>
                  </a:lnTo>
                  <a:lnTo>
                    <a:pt x="192" y="114"/>
                  </a:lnTo>
                  <a:lnTo>
                    <a:pt x="204" y="132"/>
                  </a:lnTo>
                  <a:lnTo>
                    <a:pt x="216" y="144"/>
                  </a:lnTo>
                  <a:lnTo>
                    <a:pt x="240" y="162"/>
                  </a:lnTo>
                  <a:lnTo>
                    <a:pt x="270" y="156"/>
                  </a:lnTo>
                  <a:lnTo>
                    <a:pt x="282" y="126"/>
                  </a:lnTo>
                  <a:lnTo>
                    <a:pt x="282" y="96"/>
                  </a:lnTo>
                  <a:lnTo>
                    <a:pt x="294" y="54"/>
                  </a:lnTo>
                  <a:lnTo>
                    <a:pt x="324" y="48"/>
                  </a:lnTo>
                  <a:lnTo>
                    <a:pt x="342" y="48"/>
                  </a:lnTo>
                  <a:lnTo>
                    <a:pt x="384" y="48"/>
                  </a:lnTo>
                  <a:lnTo>
                    <a:pt x="390" y="30"/>
                  </a:lnTo>
                  <a:lnTo>
                    <a:pt x="402" y="18"/>
                  </a:lnTo>
                  <a:lnTo>
                    <a:pt x="438" y="6"/>
                  </a:lnTo>
                  <a:lnTo>
                    <a:pt x="438" y="0"/>
                  </a:lnTo>
                  <a:lnTo>
                    <a:pt x="444" y="0"/>
                  </a:lnTo>
                  <a:lnTo>
                    <a:pt x="444" y="6"/>
                  </a:lnTo>
                  <a:lnTo>
                    <a:pt x="450" y="6"/>
                  </a:lnTo>
                  <a:lnTo>
                    <a:pt x="456" y="12"/>
                  </a:lnTo>
                  <a:lnTo>
                    <a:pt x="456" y="18"/>
                  </a:lnTo>
                  <a:lnTo>
                    <a:pt x="462" y="24"/>
                  </a:lnTo>
                  <a:lnTo>
                    <a:pt x="462" y="30"/>
                  </a:lnTo>
                  <a:lnTo>
                    <a:pt x="468" y="36"/>
                  </a:lnTo>
                  <a:lnTo>
                    <a:pt x="462" y="36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74" y="60"/>
                  </a:lnTo>
                  <a:lnTo>
                    <a:pt x="486" y="78"/>
                  </a:lnTo>
                  <a:lnTo>
                    <a:pt x="486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8" y="102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498" y="114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504" y="126"/>
                  </a:lnTo>
                  <a:lnTo>
                    <a:pt x="498" y="132"/>
                  </a:lnTo>
                  <a:lnTo>
                    <a:pt x="504" y="138"/>
                  </a:lnTo>
                  <a:lnTo>
                    <a:pt x="504" y="132"/>
                  </a:lnTo>
                  <a:lnTo>
                    <a:pt x="510" y="132"/>
                  </a:lnTo>
                  <a:lnTo>
                    <a:pt x="510" y="138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56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6" y="168"/>
                  </a:lnTo>
                  <a:lnTo>
                    <a:pt x="552" y="168"/>
                  </a:lnTo>
                  <a:lnTo>
                    <a:pt x="546" y="168"/>
                  </a:lnTo>
                  <a:lnTo>
                    <a:pt x="546" y="174"/>
                  </a:lnTo>
                  <a:lnTo>
                    <a:pt x="558" y="180"/>
                  </a:lnTo>
                  <a:lnTo>
                    <a:pt x="564" y="180"/>
                  </a:lnTo>
                  <a:lnTo>
                    <a:pt x="564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52" y="198"/>
                  </a:lnTo>
                  <a:lnTo>
                    <a:pt x="558" y="204"/>
                  </a:lnTo>
                  <a:lnTo>
                    <a:pt x="564" y="204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22"/>
                  </a:lnTo>
                  <a:lnTo>
                    <a:pt x="576" y="228"/>
                  </a:lnTo>
                  <a:lnTo>
                    <a:pt x="570" y="228"/>
                  </a:lnTo>
                  <a:lnTo>
                    <a:pt x="570" y="234"/>
                  </a:lnTo>
                  <a:lnTo>
                    <a:pt x="576" y="234"/>
                  </a:lnTo>
                  <a:lnTo>
                    <a:pt x="582" y="234"/>
                  </a:lnTo>
                  <a:lnTo>
                    <a:pt x="588" y="234"/>
                  </a:lnTo>
                  <a:lnTo>
                    <a:pt x="588" y="240"/>
                  </a:lnTo>
                  <a:lnTo>
                    <a:pt x="588" y="246"/>
                  </a:lnTo>
                  <a:lnTo>
                    <a:pt x="588" y="252"/>
                  </a:lnTo>
                  <a:lnTo>
                    <a:pt x="582" y="252"/>
                  </a:lnTo>
                  <a:lnTo>
                    <a:pt x="576" y="252"/>
                  </a:lnTo>
                  <a:lnTo>
                    <a:pt x="582" y="258"/>
                  </a:lnTo>
                  <a:lnTo>
                    <a:pt x="582" y="264"/>
                  </a:lnTo>
                  <a:lnTo>
                    <a:pt x="576" y="264"/>
                  </a:lnTo>
                  <a:lnTo>
                    <a:pt x="546" y="264"/>
                  </a:lnTo>
                  <a:lnTo>
                    <a:pt x="546" y="276"/>
                  </a:lnTo>
                  <a:lnTo>
                    <a:pt x="540" y="282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40" y="324"/>
                  </a:lnTo>
                  <a:lnTo>
                    <a:pt x="552" y="330"/>
                  </a:lnTo>
                  <a:lnTo>
                    <a:pt x="558" y="342"/>
                  </a:lnTo>
                  <a:lnTo>
                    <a:pt x="546" y="372"/>
                  </a:lnTo>
                  <a:lnTo>
                    <a:pt x="534" y="372"/>
                  </a:lnTo>
                  <a:lnTo>
                    <a:pt x="534" y="384"/>
                  </a:lnTo>
                  <a:lnTo>
                    <a:pt x="522" y="384"/>
                  </a:lnTo>
                  <a:lnTo>
                    <a:pt x="510" y="402"/>
                  </a:lnTo>
                  <a:lnTo>
                    <a:pt x="504" y="420"/>
                  </a:lnTo>
                  <a:lnTo>
                    <a:pt x="492" y="426"/>
                  </a:lnTo>
                  <a:lnTo>
                    <a:pt x="486" y="432"/>
                  </a:lnTo>
                  <a:lnTo>
                    <a:pt x="486" y="444"/>
                  </a:lnTo>
                  <a:lnTo>
                    <a:pt x="486" y="450"/>
                  </a:lnTo>
                  <a:lnTo>
                    <a:pt x="486" y="456"/>
                  </a:lnTo>
                  <a:lnTo>
                    <a:pt x="486" y="462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80" y="474"/>
                  </a:lnTo>
                  <a:lnTo>
                    <a:pt x="480" y="480"/>
                  </a:lnTo>
                  <a:lnTo>
                    <a:pt x="480" y="486"/>
                  </a:lnTo>
                  <a:lnTo>
                    <a:pt x="480" y="492"/>
                  </a:lnTo>
                  <a:lnTo>
                    <a:pt x="480" y="498"/>
                  </a:lnTo>
                  <a:lnTo>
                    <a:pt x="474" y="504"/>
                  </a:lnTo>
                  <a:lnTo>
                    <a:pt x="468" y="510"/>
                  </a:lnTo>
                  <a:lnTo>
                    <a:pt x="462" y="510"/>
                  </a:lnTo>
                  <a:lnTo>
                    <a:pt x="456" y="504"/>
                  </a:lnTo>
                  <a:lnTo>
                    <a:pt x="456" y="498"/>
                  </a:lnTo>
                  <a:lnTo>
                    <a:pt x="450" y="498"/>
                  </a:lnTo>
                  <a:lnTo>
                    <a:pt x="444" y="498"/>
                  </a:lnTo>
                  <a:lnTo>
                    <a:pt x="438" y="498"/>
                  </a:lnTo>
                  <a:lnTo>
                    <a:pt x="432" y="498"/>
                  </a:lnTo>
                  <a:lnTo>
                    <a:pt x="426" y="504"/>
                  </a:lnTo>
                  <a:lnTo>
                    <a:pt x="426" y="510"/>
                  </a:lnTo>
                  <a:lnTo>
                    <a:pt x="420" y="516"/>
                  </a:lnTo>
                  <a:lnTo>
                    <a:pt x="414" y="522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84" y="528"/>
                  </a:lnTo>
                  <a:lnTo>
                    <a:pt x="366" y="540"/>
                  </a:lnTo>
                  <a:lnTo>
                    <a:pt x="360" y="522"/>
                  </a:lnTo>
                  <a:lnTo>
                    <a:pt x="348" y="504"/>
                  </a:lnTo>
                  <a:lnTo>
                    <a:pt x="330" y="504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34"/>
                  </a:lnTo>
                  <a:lnTo>
                    <a:pt x="288" y="540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2" y="540"/>
                  </a:lnTo>
                  <a:lnTo>
                    <a:pt x="282" y="546"/>
                  </a:lnTo>
                  <a:lnTo>
                    <a:pt x="288" y="552"/>
                  </a:lnTo>
                  <a:lnTo>
                    <a:pt x="294" y="564"/>
                  </a:lnTo>
                  <a:lnTo>
                    <a:pt x="300" y="564"/>
                  </a:lnTo>
                  <a:lnTo>
                    <a:pt x="300" y="570"/>
                  </a:lnTo>
                  <a:lnTo>
                    <a:pt x="294" y="570"/>
                  </a:lnTo>
                  <a:lnTo>
                    <a:pt x="288" y="570"/>
                  </a:lnTo>
                  <a:lnTo>
                    <a:pt x="288" y="576"/>
                  </a:lnTo>
                  <a:lnTo>
                    <a:pt x="288" y="582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606"/>
                  </a:lnTo>
                  <a:lnTo>
                    <a:pt x="264" y="612"/>
                  </a:lnTo>
                  <a:lnTo>
                    <a:pt x="258" y="612"/>
                  </a:lnTo>
                  <a:lnTo>
                    <a:pt x="252" y="612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52" y="630"/>
                  </a:lnTo>
                  <a:lnTo>
                    <a:pt x="264" y="642"/>
                  </a:lnTo>
                  <a:lnTo>
                    <a:pt x="258" y="648"/>
                  </a:lnTo>
                  <a:lnTo>
                    <a:pt x="246" y="654"/>
                  </a:lnTo>
                  <a:lnTo>
                    <a:pt x="240" y="660"/>
                  </a:lnTo>
                  <a:lnTo>
                    <a:pt x="234" y="672"/>
                  </a:lnTo>
                  <a:lnTo>
                    <a:pt x="234" y="678"/>
                  </a:lnTo>
                  <a:lnTo>
                    <a:pt x="228" y="684"/>
                  </a:lnTo>
                  <a:lnTo>
                    <a:pt x="228" y="696"/>
                  </a:lnTo>
                  <a:lnTo>
                    <a:pt x="216" y="71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6" name="Freeform 21">
              <a:extLst>
                <a:ext uri="{FF2B5EF4-FFF2-40B4-BE49-F238E27FC236}">
                  <a16:creationId xmlns:a16="http://schemas.microsoft.com/office/drawing/2014/main" id="{DCB1E808-522D-4C19-B741-CC5DD56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4178" y="3866464"/>
              <a:ext cx="250453" cy="371259"/>
            </a:xfrm>
            <a:custGeom>
              <a:avLst/>
              <a:gdLst>
                <a:gd name="T0" fmla="*/ 0 w 468"/>
                <a:gd name="T1" fmla="*/ 61 h 696"/>
                <a:gd name="T2" fmla="*/ 1 w 468"/>
                <a:gd name="T3" fmla="*/ 58 h 696"/>
                <a:gd name="T4" fmla="*/ 2 w 468"/>
                <a:gd name="T5" fmla="*/ 54 h 696"/>
                <a:gd name="T6" fmla="*/ 3 w 468"/>
                <a:gd name="T7" fmla="*/ 51 h 696"/>
                <a:gd name="T8" fmla="*/ 4 w 468"/>
                <a:gd name="T9" fmla="*/ 48 h 696"/>
                <a:gd name="T10" fmla="*/ 6 w 468"/>
                <a:gd name="T11" fmla="*/ 44 h 696"/>
                <a:gd name="T12" fmla="*/ 5 w 468"/>
                <a:gd name="T13" fmla="*/ 41 h 696"/>
                <a:gd name="T14" fmla="*/ 7 w 468"/>
                <a:gd name="T15" fmla="*/ 38 h 696"/>
                <a:gd name="T16" fmla="*/ 8 w 468"/>
                <a:gd name="T17" fmla="*/ 36 h 696"/>
                <a:gd name="T18" fmla="*/ 7 w 468"/>
                <a:gd name="T19" fmla="*/ 33 h 696"/>
                <a:gd name="T20" fmla="*/ 6 w 468"/>
                <a:gd name="T21" fmla="*/ 29 h 696"/>
                <a:gd name="T22" fmla="*/ 4 w 468"/>
                <a:gd name="T23" fmla="*/ 22 h 696"/>
                <a:gd name="T24" fmla="*/ 2 w 468"/>
                <a:gd name="T25" fmla="*/ 14 h 696"/>
                <a:gd name="T26" fmla="*/ 12 w 468"/>
                <a:gd name="T27" fmla="*/ 11 h 696"/>
                <a:gd name="T28" fmla="*/ 14 w 468"/>
                <a:gd name="T29" fmla="*/ 2 h 696"/>
                <a:gd name="T30" fmla="*/ 16 w 468"/>
                <a:gd name="T31" fmla="*/ 0 h 696"/>
                <a:gd name="T32" fmla="*/ 17 w 468"/>
                <a:gd name="T33" fmla="*/ 0 h 696"/>
                <a:gd name="T34" fmla="*/ 18 w 468"/>
                <a:gd name="T35" fmla="*/ 1 h 696"/>
                <a:gd name="T36" fmla="*/ 17 w 468"/>
                <a:gd name="T37" fmla="*/ 2 h 696"/>
                <a:gd name="T38" fmla="*/ 17 w 468"/>
                <a:gd name="T39" fmla="*/ 4 h 696"/>
                <a:gd name="T40" fmla="*/ 17 w 468"/>
                <a:gd name="T41" fmla="*/ 6 h 696"/>
                <a:gd name="T42" fmla="*/ 20 w 468"/>
                <a:gd name="T43" fmla="*/ 6 h 696"/>
                <a:gd name="T44" fmla="*/ 22 w 468"/>
                <a:gd name="T45" fmla="*/ 5 h 696"/>
                <a:gd name="T46" fmla="*/ 24 w 468"/>
                <a:gd name="T47" fmla="*/ 7 h 696"/>
                <a:gd name="T48" fmla="*/ 28 w 468"/>
                <a:gd name="T49" fmla="*/ 7 h 696"/>
                <a:gd name="T50" fmla="*/ 28 w 468"/>
                <a:gd name="T51" fmla="*/ 11 h 696"/>
                <a:gd name="T52" fmla="*/ 25 w 468"/>
                <a:gd name="T53" fmla="*/ 14 h 696"/>
                <a:gd name="T54" fmla="*/ 23 w 468"/>
                <a:gd name="T55" fmla="*/ 15 h 696"/>
                <a:gd name="T56" fmla="*/ 23 w 468"/>
                <a:gd name="T57" fmla="*/ 19 h 696"/>
                <a:gd name="T58" fmla="*/ 23 w 468"/>
                <a:gd name="T59" fmla="*/ 21 h 696"/>
                <a:gd name="T60" fmla="*/ 24 w 468"/>
                <a:gd name="T61" fmla="*/ 21 h 696"/>
                <a:gd name="T62" fmla="*/ 27 w 468"/>
                <a:gd name="T63" fmla="*/ 23 h 696"/>
                <a:gd name="T64" fmla="*/ 29 w 468"/>
                <a:gd name="T65" fmla="*/ 24 h 696"/>
                <a:gd name="T66" fmla="*/ 29 w 468"/>
                <a:gd name="T67" fmla="*/ 28 h 696"/>
                <a:gd name="T68" fmla="*/ 29 w 468"/>
                <a:gd name="T69" fmla="*/ 29 h 696"/>
                <a:gd name="T70" fmla="*/ 29 w 468"/>
                <a:gd name="T71" fmla="*/ 32 h 696"/>
                <a:gd name="T72" fmla="*/ 32 w 468"/>
                <a:gd name="T73" fmla="*/ 32 h 696"/>
                <a:gd name="T74" fmla="*/ 33 w 468"/>
                <a:gd name="T75" fmla="*/ 35 h 696"/>
                <a:gd name="T76" fmla="*/ 34 w 468"/>
                <a:gd name="T77" fmla="*/ 38 h 696"/>
                <a:gd name="T78" fmla="*/ 35 w 468"/>
                <a:gd name="T79" fmla="*/ 39 h 696"/>
                <a:gd name="T80" fmla="*/ 36 w 468"/>
                <a:gd name="T81" fmla="*/ 40 h 696"/>
                <a:gd name="T82" fmla="*/ 37 w 468"/>
                <a:gd name="T83" fmla="*/ 41 h 696"/>
                <a:gd name="T84" fmla="*/ 38 w 468"/>
                <a:gd name="T85" fmla="*/ 42 h 696"/>
                <a:gd name="T86" fmla="*/ 41 w 468"/>
                <a:gd name="T87" fmla="*/ 44 h 696"/>
                <a:gd name="T88" fmla="*/ 40 w 468"/>
                <a:gd name="T89" fmla="*/ 44 h 696"/>
                <a:gd name="T90" fmla="*/ 37 w 468"/>
                <a:gd name="T91" fmla="*/ 45 h 696"/>
                <a:gd name="T92" fmla="*/ 36 w 468"/>
                <a:gd name="T93" fmla="*/ 48 h 696"/>
                <a:gd name="T94" fmla="*/ 34 w 468"/>
                <a:gd name="T95" fmla="*/ 49 h 696"/>
                <a:gd name="T96" fmla="*/ 32 w 468"/>
                <a:gd name="T97" fmla="*/ 51 h 696"/>
                <a:gd name="T98" fmla="*/ 31 w 468"/>
                <a:gd name="T99" fmla="*/ 51 h 696"/>
                <a:gd name="T100" fmla="*/ 26 w 468"/>
                <a:gd name="T101" fmla="*/ 49 h 696"/>
                <a:gd name="T102" fmla="*/ 23 w 468"/>
                <a:gd name="T103" fmla="*/ 51 h 696"/>
                <a:gd name="T104" fmla="*/ 21 w 468"/>
                <a:gd name="T105" fmla="*/ 51 h 696"/>
                <a:gd name="T106" fmla="*/ 20 w 468"/>
                <a:gd name="T107" fmla="*/ 52 h 696"/>
                <a:gd name="T108" fmla="*/ 17 w 468"/>
                <a:gd name="T109" fmla="*/ 55 h 696"/>
                <a:gd name="T110" fmla="*/ 15 w 468"/>
                <a:gd name="T111" fmla="*/ 56 h 696"/>
                <a:gd name="T112" fmla="*/ 15 w 468"/>
                <a:gd name="T113" fmla="*/ 59 h 696"/>
                <a:gd name="T114" fmla="*/ 14 w 468"/>
                <a:gd name="T115" fmla="*/ 59 h 696"/>
                <a:gd name="T116" fmla="*/ 12 w 468"/>
                <a:gd name="T117" fmla="*/ 59 h 696"/>
                <a:gd name="T118" fmla="*/ 11 w 468"/>
                <a:gd name="T119" fmla="*/ 57 h 696"/>
                <a:gd name="T120" fmla="*/ 9 w 468"/>
                <a:gd name="T121" fmla="*/ 57 h 696"/>
                <a:gd name="T122" fmla="*/ 6 w 468"/>
                <a:gd name="T123" fmla="*/ 58 h 696"/>
                <a:gd name="T124" fmla="*/ 4 w 468"/>
                <a:gd name="T125" fmla="*/ 60 h 69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8"/>
                <a:gd name="T190" fmla="*/ 0 h 696"/>
                <a:gd name="T191" fmla="*/ 468 w 468"/>
                <a:gd name="T192" fmla="*/ 696 h 69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8" h="696">
                  <a:moveTo>
                    <a:pt x="30" y="696"/>
                  </a:moveTo>
                  <a:lnTo>
                    <a:pt x="18" y="696"/>
                  </a:lnTo>
                  <a:lnTo>
                    <a:pt x="6" y="696"/>
                  </a:lnTo>
                  <a:lnTo>
                    <a:pt x="0" y="690"/>
                  </a:lnTo>
                  <a:lnTo>
                    <a:pt x="6" y="678"/>
                  </a:lnTo>
                  <a:lnTo>
                    <a:pt x="12" y="666"/>
                  </a:lnTo>
                  <a:lnTo>
                    <a:pt x="18" y="654"/>
                  </a:lnTo>
                  <a:lnTo>
                    <a:pt x="18" y="642"/>
                  </a:lnTo>
                  <a:lnTo>
                    <a:pt x="18" y="618"/>
                  </a:lnTo>
                  <a:lnTo>
                    <a:pt x="24" y="606"/>
                  </a:lnTo>
                  <a:lnTo>
                    <a:pt x="30" y="594"/>
                  </a:lnTo>
                  <a:lnTo>
                    <a:pt x="30" y="582"/>
                  </a:lnTo>
                  <a:lnTo>
                    <a:pt x="36" y="576"/>
                  </a:lnTo>
                  <a:lnTo>
                    <a:pt x="42" y="564"/>
                  </a:lnTo>
                  <a:lnTo>
                    <a:pt x="48" y="546"/>
                  </a:lnTo>
                  <a:lnTo>
                    <a:pt x="48" y="528"/>
                  </a:lnTo>
                  <a:lnTo>
                    <a:pt x="60" y="516"/>
                  </a:lnTo>
                  <a:lnTo>
                    <a:pt x="66" y="504"/>
                  </a:lnTo>
                  <a:lnTo>
                    <a:pt x="66" y="492"/>
                  </a:lnTo>
                  <a:lnTo>
                    <a:pt x="60" y="480"/>
                  </a:lnTo>
                  <a:lnTo>
                    <a:pt x="54" y="468"/>
                  </a:lnTo>
                  <a:lnTo>
                    <a:pt x="60" y="456"/>
                  </a:lnTo>
                  <a:lnTo>
                    <a:pt x="72" y="450"/>
                  </a:lnTo>
                  <a:lnTo>
                    <a:pt x="84" y="438"/>
                  </a:lnTo>
                  <a:lnTo>
                    <a:pt x="90" y="426"/>
                  </a:lnTo>
                  <a:lnTo>
                    <a:pt x="90" y="420"/>
                  </a:lnTo>
                  <a:lnTo>
                    <a:pt x="90" y="408"/>
                  </a:lnTo>
                  <a:lnTo>
                    <a:pt x="90" y="402"/>
                  </a:lnTo>
                  <a:lnTo>
                    <a:pt x="84" y="396"/>
                  </a:lnTo>
                  <a:lnTo>
                    <a:pt x="78" y="378"/>
                  </a:lnTo>
                  <a:lnTo>
                    <a:pt x="72" y="360"/>
                  </a:lnTo>
                  <a:lnTo>
                    <a:pt x="66" y="348"/>
                  </a:lnTo>
                  <a:lnTo>
                    <a:pt x="72" y="336"/>
                  </a:lnTo>
                  <a:lnTo>
                    <a:pt x="66" y="306"/>
                  </a:lnTo>
                  <a:lnTo>
                    <a:pt x="54" y="276"/>
                  </a:lnTo>
                  <a:lnTo>
                    <a:pt x="42" y="252"/>
                  </a:lnTo>
                  <a:lnTo>
                    <a:pt x="36" y="222"/>
                  </a:lnTo>
                  <a:lnTo>
                    <a:pt x="30" y="192"/>
                  </a:lnTo>
                  <a:lnTo>
                    <a:pt x="24" y="162"/>
                  </a:lnTo>
                  <a:lnTo>
                    <a:pt x="42" y="174"/>
                  </a:lnTo>
                  <a:lnTo>
                    <a:pt x="120" y="138"/>
                  </a:lnTo>
                  <a:lnTo>
                    <a:pt x="132" y="126"/>
                  </a:lnTo>
                  <a:lnTo>
                    <a:pt x="120" y="54"/>
                  </a:lnTo>
                  <a:lnTo>
                    <a:pt x="156" y="30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0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8" y="18"/>
                  </a:lnTo>
                  <a:lnTo>
                    <a:pt x="198" y="24"/>
                  </a:lnTo>
                  <a:lnTo>
                    <a:pt x="198" y="30"/>
                  </a:lnTo>
                  <a:lnTo>
                    <a:pt x="198" y="42"/>
                  </a:lnTo>
                  <a:lnTo>
                    <a:pt x="198" y="48"/>
                  </a:lnTo>
                  <a:lnTo>
                    <a:pt x="192" y="60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28" y="60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34" y="60"/>
                  </a:lnTo>
                  <a:lnTo>
                    <a:pt x="252" y="60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312" y="84"/>
                  </a:lnTo>
                  <a:lnTo>
                    <a:pt x="318" y="96"/>
                  </a:lnTo>
                  <a:lnTo>
                    <a:pt x="318" y="102"/>
                  </a:lnTo>
                  <a:lnTo>
                    <a:pt x="312" y="120"/>
                  </a:lnTo>
                  <a:lnTo>
                    <a:pt x="306" y="132"/>
                  </a:lnTo>
                  <a:lnTo>
                    <a:pt x="294" y="144"/>
                  </a:lnTo>
                  <a:lnTo>
                    <a:pt x="282" y="156"/>
                  </a:lnTo>
                  <a:lnTo>
                    <a:pt x="276" y="162"/>
                  </a:lnTo>
                  <a:lnTo>
                    <a:pt x="270" y="162"/>
                  </a:lnTo>
                  <a:lnTo>
                    <a:pt x="264" y="174"/>
                  </a:lnTo>
                  <a:lnTo>
                    <a:pt x="264" y="192"/>
                  </a:lnTo>
                  <a:lnTo>
                    <a:pt x="264" y="216"/>
                  </a:lnTo>
                  <a:lnTo>
                    <a:pt x="258" y="216"/>
                  </a:lnTo>
                  <a:lnTo>
                    <a:pt x="258" y="228"/>
                  </a:lnTo>
                  <a:lnTo>
                    <a:pt x="252" y="234"/>
                  </a:lnTo>
                  <a:lnTo>
                    <a:pt x="258" y="240"/>
                  </a:lnTo>
                  <a:lnTo>
                    <a:pt x="264" y="240"/>
                  </a:lnTo>
                  <a:lnTo>
                    <a:pt x="270" y="240"/>
                  </a:lnTo>
                  <a:lnTo>
                    <a:pt x="276" y="240"/>
                  </a:lnTo>
                  <a:lnTo>
                    <a:pt x="288" y="240"/>
                  </a:lnTo>
                  <a:lnTo>
                    <a:pt x="300" y="246"/>
                  </a:lnTo>
                  <a:lnTo>
                    <a:pt x="306" y="258"/>
                  </a:lnTo>
                  <a:lnTo>
                    <a:pt x="312" y="264"/>
                  </a:lnTo>
                  <a:lnTo>
                    <a:pt x="318" y="276"/>
                  </a:lnTo>
                  <a:lnTo>
                    <a:pt x="330" y="282"/>
                  </a:lnTo>
                  <a:lnTo>
                    <a:pt x="330" y="300"/>
                  </a:lnTo>
                  <a:lnTo>
                    <a:pt x="336" y="312"/>
                  </a:lnTo>
                  <a:lnTo>
                    <a:pt x="336" y="318"/>
                  </a:lnTo>
                  <a:lnTo>
                    <a:pt x="336" y="330"/>
                  </a:lnTo>
                  <a:lnTo>
                    <a:pt x="324" y="330"/>
                  </a:lnTo>
                  <a:lnTo>
                    <a:pt x="330" y="336"/>
                  </a:lnTo>
                  <a:lnTo>
                    <a:pt x="330" y="342"/>
                  </a:lnTo>
                  <a:lnTo>
                    <a:pt x="336" y="348"/>
                  </a:lnTo>
                  <a:lnTo>
                    <a:pt x="330" y="360"/>
                  </a:lnTo>
                  <a:lnTo>
                    <a:pt x="336" y="372"/>
                  </a:lnTo>
                  <a:lnTo>
                    <a:pt x="354" y="366"/>
                  </a:lnTo>
                  <a:lnTo>
                    <a:pt x="366" y="366"/>
                  </a:lnTo>
                  <a:lnTo>
                    <a:pt x="372" y="378"/>
                  </a:lnTo>
                  <a:lnTo>
                    <a:pt x="372" y="390"/>
                  </a:lnTo>
                  <a:lnTo>
                    <a:pt x="378" y="396"/>
                  </a:lnTo>
                  <a:lnTo>
                    <a:pt x="378" y="408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44"/>
                  </a:lnTo>
                  <a:lnTo>
                    <a:pt x="390" y="444"/>
                  </a:lnTo>
                  <a:lnTo>
                    <a:pt x="396" y="444"/>
                  </a:lnTo>
                  <a:lnTo>
                    <a:pt x="402" y="450"/>
                  </a:lnTo>
                  <a:lnTo>
                    <a:pt x="408" y="450"/>
                  </a:lnTo>
                  <a:lnTo>
                    <a:pt x="408" y="462"/>
                  </a:lnTo>
                  <a:lnTo>
                    <a:pt x="408" y="468"/>
                  </a:lnTo>
                  <a:lnTo>
                    <a:pt x="414" y="474"/>
                  </a:lnTo>
                  <a:lnTo>
                    <a:pt x="420" y="474"/>
                  </a:lnTo>
                  <a:lnTo>
                    <a:pt x="420" y="480"/>
                  </a:lnTo>
                  <a:lnTo>
                    <a:pt x="426" y="480"/>
                  </a:lnTo>
                  <a:lnTo>
                    <a:pt x="432" y="480"/>
                  </a:lnTo>
                  <a:lnTo>
                    <a:pt x="462" y="486"/>
                  </a:lnTo>
                  <a:lnTo>
                    <a:pt x="468" y="492"/>
                  </a:lnTo>
                  <a:lnTo>
                    <a:pt x="468" y="498"/>
                  </a:lnTo>
                  <a:lnTo>
                    <a:pt x="462" y="498"/>
                  </a:lnTo>
                  <a:lnTo>
                    <a:pt x="456" y="498"/>
                  </a:lnTo>
                  <a:lnTo>
                    <a:pt x="456" y="504"/>
                  </a:lnTo>
                  <a:lnTo>
                    <a:pt x="456" y="510"/>
                  </a:lnTo>
                  <a:lnTo>
                    <a:pt x="450" y="516"/>
                  </a:lnTo>
                  <a:lnTo>
                    <a:pt x="426" y="516"/>
                  </a:lnTo>
                  <a:lnTo>
                    <a:pt x="408" y="528"/>
                  </a:lnTo>
                  <a:lnTo>
                    <a:pt x="408" y="546"/>
                  </a:lnTo>
                  <a:lnTo>
                    <a:pt x="414" y="552"/>
                  </a:lnTo>
                  <a:lnTo>
                    <a:pt x="408" y="558"/>
                  </a:lnTo>
                  <a:lnTo>
                    <a:pt x="402" y="564"/>
                  </a:lnTo>
                  <a:lnTo>
                    <a:pt x="384" y="564"/>
                  </a:lnTo>
                  <a:lnTo>
                    <a:pt x="372" y="564"/>
                  </a:lnTo>
                  <a:lnTo>
                    <a:pt x="372" y="576"/>
                  </a:lnTo>
                  <a:lnTo>
                    <a:pt x="366" y="576"/>
                  </a:lnTo>
                  <a:lnTo>
                    <a:pt x="366" y="582"/>
                  </a:lnTo>
                  <a:lnTo>
                    <a:pt x="360" y="582"/>
                  </a:lnTo>
                  <a:lnTo>
                    <a:pt x="348" y="576"/>
                  </a:lnTo>
                  <a:lnTo>
                    <a:pt x="336" y="570"/>
                  </a:lnTo>
                  <a:lnTo>
                    <a:pt x="324" y="570"/>
                  </a:lnTo>
                  <a:lnTo>
                    <a:pt x="300" y="564"/>
                  </a:lnTo>
                  <a:lnTo>
                    <a:pt x="282" y="564"/>
                  </a:lnTo>
                  <a:lnTo>
                    <a:pt x="270" y="570"/>
                  </a:lnTo>
                  <a:lnTo>
                    <a:pt x="264" y="576"/>
                  </a:lnTo>
                  <a:lnTo>
                    <a:pt x="258" y="576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34" y="594"/>
                  </a:lnTo>
                  <a:lnTo>
                    <a:pt x="228" y="600"/>
                  </a:lnTo>
                  <a:lnTo>
                    <a:pt x="210" y="618"/>
                  </a:lnTo>
                  <a:lnTo>
                    <a:pt x="210" y="624"/>
                  </a:lnTo>
                  <a:lnTo>
                    <a:pt x="192" y="630"/>
                  </a:lnTo>
                  <a:lnTo>
                    <a:pt x="186" y="630"/>
                  </a:lnTo>
                  <a:lnTo>
                    <a:pt x="180" y="636"/>
                  </a:lnTo>
                  <a:lnTo>
                    <a:pt x="174" y="642"/>
                  </a:lnTo>
                  <a:lnTo>
                    <a:pt x="168" y="642"/>
                  </a:lnTo>
                  <a:lnTo>
                    <a:pt x="168" y="654"/>
                  </a:lnTo>
                  <a:lnTo>
                    <a:pt x="168" y="678"/>
                  </a:lnTo>
                  <a:lnTo>
                    <a:pt x="162" y="684"/>
                  </a:lnTo>
                  <a:lnTo>
                    <a:pt x="156" y="684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72"/>
                  </a:lnTo>
                  <a:lnTo>
                    <a:pt x="138" y="672"/>
                  </a:lnTo>
                  <a:lnTo>
                    <a:pt x="138" y="666"/>
                  </a:lnTo>
                  <a:lnTo>
                    <a:pt x="132" y="660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48"/>
                  </a:lnTo>
                  <a:lnTo>
                    <a:pt x="102" y="654"/>
                  </a:lnTo>
                  <a:lnTo>
                    <a:pt x="90" y="654"/>
                  </a:lnTo>
                  <a:lnTo>
                    <a:pt x="84" y="654"/>
                  </a:lnTo>
                  <a:lnTo>
                    <a:pt x="72" y="660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36" y="684"/>
                  </a:lnTo>
                  <a:lnTo>
                    <a:pt x="30" y="6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7" name="Freeform 22">
              <a:extLst>
                <a:ext uri="{FF2B5EF4-FFF2-40B4-BE49-F238E27FC236}">
                  <a16:creationId xmlns:a16="http://schemas.microsoft.com/office/drawing/2014/main" id="{2F7A477D-6CF8-44B3-8B32-64EE03DC4D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2895" y="3967106"/>
              <a:ext cx="610479" cy="507686"/>
            </a:xfrm>
            <a:custGeom>
              <a:avLst/>
              <a:gdLst>
                <a:gd name="T0" fmla="*/ 87 w 1146"/>
                <a:gd name="T1" fmla="*/ 56 h 954"/>
                <a:gd name="T2" fmla="*/ 83 w 1146"/>
                <a:gd name="T3" fmla="*/ 66 h 954"/>
                <a:gd name="T4" fmla="*/ 74 w 1146"/>
                <a:gd name="T5" fmla="*/ 69 h 954"/>
                <a:gd name="T6" fmla="*/ 67 w 1146"/>
                <a:gd name="T7" fmla="*/ 75 h 954"/>
                <a:gd name="T8" fmla="*/ 59 w 1146"/>
                <a:gd name="T9" fmla="*/ 78 h 954"/>
                <a:gd name="T10" fmla="*/ 52 w 1146"/>
                <a:gd name="T11" fmla="*/ 77 h 954"/>
                <a:gd name="T12" fmla="*/ 48 w 1146"/>
                <a:gd name="T13" fmla="*/ 79 h 954"/>
                <a:gd name="T14" fmla="*/ 41 w 1146"/>
                <a:gd name="T15" fmla="*/ 82 h 954"/>
                <a:gd name="T16" fmla="*/ 29 w 1146"/>
                <a:gd name="T17" fmla="*/ 78 h 954"/>
                <a:gd name="T18" fmla="*/ 28 w 1146"/>
                <a:gd name="T19" fmla="*/ 76 h 954"/>
                <a:gd name="T20" fmla="*/ 28 w 1146"/>
                <a:gd name="T21" fmla="*/ 72 h 954"/>
                <a:gd name="T22" fmla="*/ 28 w 1146"/>
                <a:gd name="T23" fmla="*/ 74 h 954"/>
                <a:gd name="T24" fmla="*/ 21 w 1146"/>
                <a:gd name="T25" fmla="*/ 74 h 954"/>
                <a:gd name="T26" fmla="*/ 20 w 1146"/>
                <a:gd name="T27" fmla="*/ 67 h 954"/>
                <a:gd name="T28" fmla="*/ 23 w 1146"/>
                <a:gd name="T29" fmla="*/ 64 h 954"/>
                <a:gd name="T30" fmla="*/ 28 w 1146"/>
                <a:gd name="T31" fmla="*/ 65 h 954"/>
                <a:gd name="T32" fmla="*/ 32 w 1146"/>
                <a:gd name="T33" fmla="*/ 62 h 954"/>
                <a:gd name="T34" fmla="*/ 31 w 1146"/>
                <a:gd name="T35" fmla="*/ 56 h 954"/>
                <a:gd name="T36" fmla="*/ 36 w 1146"/>
                <a:gd name="T37" fmla="*/ 54 h 954"/>
                <a:gd name="T38" fmla="*/ 38 w 1146"/>
                <a:gd name="T39" fmla="*/ 54 h 954"/>
                <a:gd name="T40" fmla="*/ 32 w 1146"/>
                <a:gd name="T41" fmla="*/ 54 h 954"/>
                <a:gd name="T42" fmla="*/ 29 w 1146"/>
                <a:gd name="T43" fmla="*/ 59 h 954"/>
                <a:gd name="T44" fmla="*/ 26 w 1146"/>
                <a:gd name="T45" fmla="*/ 59 h 954"/>
                <a:gd name="T46" fmla="*/ 25 w 1146"/>
                <a:gd name="T47" fmla="*/ 61 h 954"/>
                <a:gd name="T48" fmla="*/ 20 w 1146"/>
                <a:gd name="T49" fmla="*/ 61 h 954"/>
                <a:gd name="T50" fmla="*/ 11 w 1146"/>
                <a:gd name="T51" fmla="*/ 54 h 954"/>
                <a:gd name="T52" fmla="*/ 14 w 1146"/>
                <a:gd name="T53" fmla="*/ 50 h 954"/>
                <a:gd name="T54" fmla="*/ 21 w 1146"/>
                <a:gd name="T55" fmla="*/ 51 h 954"/>
                <a:gd name="T56" fmla="*/ 24 w 1146"/>
                <a:gd name="T57" fmla="*/ 50 h 954"/>
                <a:gd name="T58" fmla="*/ 28 w 1146"/>
                <a:gd name="T59" fmla="*/ 48 h 954"/>
                <a:gd name="T60" fmla="*/ 30 w 1146"/>
                <a:gd name="T61" fmla="*/ 49 h 954"/>
                <a:gd name="T62" fmla="*/ 26 w 1146"/>
                <a:gd name="T63" fmla="*/ 47 h 954"/>
                <a:gd name="T64" fmla="*/ 20 w 1146"/>
                <a:gd name="T65" fmla="*/ 50 h 954"/>
                <a:gd name="T66" fmla="*/ 20 w 1146"/>
                <a:gd name="T67" fmla="*/ 44 h 954"/>
                <a:gd name="T68" fmla="*/ 19 w 1146"/>
                <a:gd name="T69" fmla="*/ 46 h 954"/>
                <a:gd name="T70" fmla="*/ 15 w 1146"/>
                <a:gd name="T71" fmla="*/ 49 h 954"/>
                <a:gd name="T72" fmla="*/ 8 w 1146"/>
                <a:gd name="T73" fmla="*/ 48 h 954"/>
                <a:gd name="T74" fmla="*/ 6 w 1146"/>
                <a:gd name="T75" fmla="*/ 41 h 954"/>
                <a:gd name="T76" fmla="*/ 10 w 1146"/>
                <a:gd name="T77" fmla="*/ 41 h 954"/>
                <a:gd name="T78" fmla="*/ 9 w 1146"/>
                <a:gd name="T79" fmla="*/ 39 h 954"/>
                <a:gd name="T80" fmla="*/ 14 w 1146"/>
                <a:gd name="T81" fmla="*/ 35 h 954"/>
                <a:gd name="T82" fmla="*/ 19 w 1146"/>
                <a:gd name="T83" fmla="*/ 32 h 954"/>
                <a:gd name="T84" fmla="*/ 20 w 1146"/>
                <a:gd name="T85" fmla="*/ 29 h 954"/>
                <a:gd name="T86" fmla="*/ 27 w 1146"/>
                <a:gd name="T87" fmla="*/ 27 h 954"/>
                <a:gd name="T88" fmla="*/ 33 w 1146"/>
                <a:gd name="T89" fmla="*/ 28 h 954"/>
                <a:gd name="T90" fmla="*/ 44 w 1146"/>
                <a:gd name="T91" fmla="*/ 27 h 954"/>
                <a:gd name="T92" fmla="*/ 52 w 1146"/>
                <a:gd name="T93" fmla="*/ 41 h 954"/>
                <a:gd name="T94" fmla="*/ 61 w 1146"/>
                <a:gd name="T95" fmla="*/ 40 h 954"/>
                <a:gd name="T96" fmla="*/ 69 w 1146"/>
                <a:gd name="T97" fmla="*/ 34 h 954"/>
                <a:gd name="T98" fmla="*/ 62 w 1146"/>
                <a:gd name="T99" fmla="*/ 12 h 954"/>
                <a:gd name="T100" fmla="*/ 74 w 1146"/>
                <a:gd name="T101" fmla="*/ 8 h 954"/>
                <a:gd name="T102" fmla="*/ 87 w 1146"/>
                <a:gd name="T103" fmla="*/ 1 h 954"/>
                <a:gd name="T104" fmla="*/ 99 w 1146"/>
                <a:gd name="T105" fmla="*/ 12 h 954"/>
                <a:gd name="T106" fmla="*/ 98 w 1146"/>
                <a:gd name="T107" fmla="*/ 27 h 954"/>
                <a:gd name="T108" fmla="*/ 16 w 1146"/>
                <a:gd name="T109" fmla="*/ 33 h 954"/>
                <a:gd name="T110" fmla="*/ 11 w 1146"/>
                <a:gd name="T111" fmla="*/ 36 h 954"/>
                <a:gd name="T112" fmla="*/ 5 w 1146"/>
                <a:gd name="T113" fmla="*/ 41 h 954"/>
                <a:gd name="T114" fmla="*/ 2 w 1146"/>
                <a:gd name="T115" fmla="*/ 36 h 954"/>
                <a:gd name="T116" fmla="*/ 5 w 1146"/>
                <a:gd name="T117" fmla="*/ 26 h 954"/>
                <a:gd name="T118" fmla="*/ 10 w 1146"/>
                <a:gd name="T119" fmla="*/ 20 h 954"/>
                <a:gd name="T120" fmla="*/ 13 w 1146"/>
                <a:gd name="T121" fmla="*/ 20 h 954"/>
                <a:gd name="T122" fmla="*/ 15 w 1146"/>
                <a:gd name="T123" fmla="*/ 27 h 95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46"/>
                <a:gd name="T187" fmla="*/ 0 h 954"/>
                <a:gd name="T188" fmla="*/ 1146 w 1146"/>
                <a:gd name="T189" fmla="*/ 954 h 95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46" h="954">
                  <a:moveTo>
                    <a:pt x="1056" y="498"/>
                  </a:moveTo>
                  <a:lnTo>
                    <a:pt x="1044" y="510"/>
                  </a:lnTo>
                  <a:lnTo>
                    <a:pt x="1032" y="516"/>
                  </a:lnTo>
                  <a:lnTo>
                    <a:pt x="1038" y="528"/>
                  </a:lnTo>
                  <a:lnTo>
                    <a:pt x="1050" y="540"/>
                  </a:lnTo>
                  <a:lnTo>
                    <a:pt x="1050" y="546"/>
                  </a:lnTo>
                  <a:lnTo>
                    <a:pt x="1050" y="564"/>
                  </a:lnTo>
                  <a:lnTo>
                    <a:pt x="1038" y="576"/>
                  </a:lnTo>
                  <a:lnTo>
                    <a:pt x="1032" y="588"/>
                  </a:lnTo>
                  <a:lnTo>
                    <a:pt x="1020" y="594"/>
                  </a:lnTo>
                  <a:lnTo>
                    <a:pt x="1008" y="594"/>
                  </a:lnTo>
                  <a:lnTo>
                    <a:pt x="1002" y="600"/>
                  </a:lnTo>
                  <a:lnTo>
                    <a:pt x="996" y="612"/>
                  </a:lnTo>
                  <a:lnTo>
                    <a:pt x="996" y="624"/>
                  </a:lnTo>
                  <a:lnTo>
                    <a:pt x="996" y="648"/>
                  </a:lnTo>
                  <a:lnTo>
                    <a:pt x="996" y="660"/>
                  </a:lnTo>
                  <a:lnTo>
                    <a:pt x="1002" y="672"/>
                  </a:lnTo>
                  <a:lnTo>
                    <a:pt x="1002" y="684"/>
                  </a:lnTo>
                  <a:lnTo>
                    <a:pt x="996" y="684"/>
                  </a:lnTo>
                  <a:lnTo>
                    <a:pt x="984" y="690"/>
                  </a:lnTo>
                  <a:lnTo>
                    <a:pt x="972" y="690"/>
                  </a:lnTo>
                  <a:lnTo>
                    <a:pt x="966" y="696"/>
                  </a:lnTo>
                  <a:lnTo>
                    <a:pt x="966" y="702"/>
                  </a:lnTo>
                  <a:lnTo>
                    <a:pt x="966" y="714"/>
                  </a:lnTo>
                  <a:lnTo>
                    <a:pt x="972" y="726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2" y="756"/>
                  </a:lnTo>
                  <a:lnTo>
                    <a:pt x="966" y="756"/>
                  </a:lnTo>
                  <a:lnTo>
                    <a:pt x="942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18" y="768"/>
                  </a:lnTo>
                  <a:lnTo>
                    <a:pt x="906" y="768"/>
                  </a:lnTo>
                  <a:lnTo>
                    <a:pt x="894" y="762"/>
                  </a:lnTo>
                  <a:lnTo>
                    <a:pt x="882" y="756"/>
                  </a:lnTo>
                  <a:lnTo>
                    <a:pt x="876" y="756"/>
                  </a:lnTo>
                  <a:lnTo>
                    <a:pt x="876" y="762"/>
                  </a:lnTo>
                  <a:lnTo>
                    <a:pt x="864" y="768"/>
                  </a:lnTo>
                  <a:lnTo>
                    <a:pt x="858" y="774"/>
                  </a:lnTo>
                  <a:lnTo>
                    <a:pt x="852" y="774"/>
                  </a:lnTo>
                  <a:lnTo>
                    <a:pt x="840" y="780"/>
                  </a:lnTo>
                  <a:lnTo>
                    <a:pt x="840" y="786"/>
                  </a:lnTo>
                  <a:lnTo>
                    <a:pt x="840" y="792"/>
                  </a:lnTo>
                  <a:lnTo>
                    <a:pt x="840" y="804"/>
                  </a:lnTo>
                  <a:lnTo>
                    <a:pt x="840" y="810"/>
                  </a:lnTo>
                  <a:lnTo>
                    <a:pt x="828" y="816"/>
                  </a:lnTo>
                  <a:lnTo>
                    <a:pt x="810" y="810"/>
                  </a:lnTo>
                  <a:lnTo>
                    <a:pt x="792" y="810"/>
                  </a:lnTo>
                  <a:lnTo>
                    <a:pt x="786" y="816"/>
                  </a:lnTo>
                  <a:lnTo>
                    <a:pt x="780" y="816"/>
                  </a:lnTo>
                  <a:lnTo>
                    <a:pt x="780" y="822"/>
                  </a:lnTo>
                  <a:lnTo>
                    <a:pt x="780" y="828"/>
                  </a:lnTo>
                  <a:lnTo>
                    <a:pt x="780" y="834"/>
                  </a:lnTo>
                  <a:lnTo>
                    <a:pt x="786" y="840"/>
                  </a:lnTo>
                  <a:lnTo>
                    <a:pt x="786" y="846"/>
                  </a:lnTo>
                  <a:lnTo>
                    <a:pt x="786" y="852"/>
                  </a:lnTo>
                  <a:lnTo>
                    <a:pt x="780" y="858"/>
                  </a:lnTo>
                  <a:lnTo>
                    <a:pt x="768" y="858"/>
                  </a:lnTo>
                  <a:lnTo>
                    <a:pt x="762" y="864"/>
                  </a:lnTo>
                  <a:lnTo>
                    <a:pt x="756" y="864"/>
                  </a:lnTo>
                  <a:lnTo>
                    <a:pt x="750" y="870"/>
                  </a:lnTo>
                  <a:lnTo>
                    <a:pt x="744" y="876"/>
                  </a:lnTo>
                  <a:lnTo>
                    <a:pt x="732" y="876"/>
                  </a:lnTo>
                  <a:lnTo>
                    <a:pt x="726" y="876"/>
                  </a:lnTo>
                  <a:lnTo>
                    <a:pt x="720" y="870"/>
                  </a:lnTo>
                  <a:lnTo>
                    <a:pt x="714" y="864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6" y="876"/>
                  </a:lnTo>
                  <a:lnTo>
                    <a:pt x="696" y="882"/>
                  </a:lnTo>
                  <a:lnTo>
                    <a:pt x="696" y="894"/>
                  </a:lnTo>
                  <a:lnTo>
                    <a:pt x="690" y="900"/>
                  </a:lnTo>
                  <a:lnTo>
                    <a:pt x="684" y="900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54" y="888"/>
                  </a:lnTo>
                  <a:lnTo>
                    <a:pt x="654" y="882"/>
                  </a:lnTo>
                  <a:lnTo>
                    <a:pt x="642" y="876"/>
                  </a:lnTo>
                  <a:lnTo>
                    <a:pt x="636" y="876"/>
                  </a:lnTo>
                  <a:lnTo>
                    <a:pt x="630" y="876"/>
                  </a:lnTo>
                  <a:lnTo>
                    <a:pt x="630" y="870"/>
                  </a:lnTo>
                  <a:lnTo>
                    <a:pt x="618" y="858"/>
                  </a:lnTo>
                  <a:lnTo>
                    <a:pt x="612" y="858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06" y="876"/>
                  </a:lnTo>
                  <a:lnTo>
                    <a:pt x="606" y="882"/>
                  </a:lnTo>
                  <a:lnTo>
                    <a:pt x="606" y="888"/>
                  </a:lnTo>
                  <a:lnTo>
                    <a:pt x="600" y="894"/>
                  </a:lnTo>
                  <a:lnTo>
                    <a:pt x="594" y="894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76" y="894"/>
                  </a:lnTo>
                  <a:lnTo>
                    <a:pt x="582" y="900"/>
                  </a:lnTo>
                  <a:lnTo>
                    <a:pt x="576" y="906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64" y="918"/>
                  </a:lnTo>
                  <a:lnTo>
                    <a:pt x="558" y="918"/>
                  </a:lnTo>
                  <a:lnTo>
                    <a:pt x="558" y="912"/>
                  </a:lnTo>
                  <a:lnTo>
                    <a:pt x="552" y="906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06"/>
                  </a:lnTo>
                  <a:lnTo>
                    <a:pt x="534" y="906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0" y="924"/>
                  </a:lnTo>
                  <a:lnTo>
                    <a:pt x="504" y="924"/>
                  </a:lnTo>
                  <a:lnTo>
                    <a:pt x="498" y="930"/>
                  </a:lnTo>
                  <a:lnTo>
                    <a:pt x="492" y="924"/>
                  </a:lnTo>
                  <a:lnTo>
                    <a:pt x="486" y="930"/>
                  </a:lnTo>
                  <a:lnTo>
                    <a:pt x="480" y="942"/>
                  </a:lnTo>
                  <a:lnTo>
                    <a:pt x="468" y="948"/>
                  </a:lnTo>
                  <a:lnTo>
                    <a:pt x="444" y="942"/>
                  </a:lnTo>
                  <a:lnTo>
                    <a:pt x="438" y="954"/>
                  </a:lnTo>
                  <a:lnTo>
                    <a:pt x="426" y="954"/>
                  </a:lnTo>
                  <a:lnTo>
                    <a:pt x="420" y="948"/>
                  </a:lnTo>
                  <a:lnTo>
                    <a:pt x="408" y="936"/>
                  </a:lnTo>
                  <a:lnTo>
                    <a:pt x="396" y="936"/>
                  </a:lnTo>
                  <a:lnTo>
                    <a:pt x="390" y="930"/>
                  </a:lnTo>
                  <a:lnTo>
                    <a:pt x="390" y="924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66" y="924"/>
                  </a:lnTo>
                  <a:lnTo>
                    <a:pt x="360" y="924"/>
                  </a:lnTo>
                  <a:lnTo>
                    <a:pt x="348" y="918"/>
                  </a:lnTo>
                  <a:lnTo>
                    <a:pt x="342" y="906"/>
                  </a:lnTo>
                  <a:lnTo>
                    <a:pt x="336" y="906"/>
                  </a:lnTo>
                  <a:lnTo>
                    <a:pt x="330" y="906"/>
                  </a:lnTo>
                  <a:lnTo>
                    <a:pt x="312" y="906"/>
                  </a:lnTo>
                  <a:lnTo>
                    <a:pt x="312" y="900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888"/>
                  </a:lnTo>
                  <a:lnTo>
                    <a:pt x="312" y="882"/>
                  </a:lnTo>
                  <a:lnTo>
                    <a:pt x="306" y="876"/>
                  </a:lnTo>
                  <a:lnTo>
                    <a:pt x="312" y="876"/>
                  </a:lnTo>
                  <a:lnTo>
                    <a:pt x="312" y="870"/>
                  </a:lnTo>
                  <a:lnTo>
                    <a:pt x="318" y="876"/>
                  </a:lnTo>
                  <a:lnTo>
                    <a:pt x="318" y="870"/>
                  </a:lnTo>
                  <a:lnTo>
                    <a:pt x="324" y="876"/>
                  </a:lnTo>
                  <a:lnTo>
                    <a:pt x="330" y="876"/>
                  </a:lnTo>
                  <a:lnTo>
                    <a:pt x="336" y="876"/>
                  </a:lnTo>
                  <a:lnTo>
                    <a:pt x="342" y="876"/>
                  </a:lnTo>
                  <a:lnTo>
                    <a:pt x="336" y="876"/>
                  </a:lnTo>
                  <a:lnTo>
                    <a:pt x="330" y="870"/>
                  </a:lnTo>
                  <a:lnTo>
                    <a:pt x="324" y="870"/>
                  </a:lnTo>
                  <a:lnTo>
                    <a:pt x="318" y="870"/>
                  </a:lnTo>
                  <a:lnTo>
                    <a:pt x="312" y="870"/>
                  </a:lnTo>
                  <a:lnTo>
                    <a:pt x="318" y="864"/>
                  </a:lnTo>
                  <a:lnTo>
                    <a:pt x="318" y="858"/>
                  </a:lnTo>
                  <a:lnTo>
                    <a:pt x="318" y="852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6" y="846"/>
                  </a:lnTo>
                  <a:lnTo>
                    <a:pt x="312" y="828"/>
                  </a:lnTo>
                  <a:lnTo>
                    <a:pt x="312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06" y="816"/>
                  </a:lnTo>
                  <a:lnTo>
                    <a:pt x="306" y="810"/>
                  </a:lnTo>
                  <a:lnTo>
                    <a:pt x="306" y="816"/>
                  </a:lnTo>
                  <a:lnTo>
                    <a:pt x="312" y="822"/>
                  </a:lnTo>
                  <a:lnTo>
                    <a:pt x="306" y="822"/>
                  </a:lnTo>
                  <a:lnTo>
                    <a:pt x="306" y="828"/>
                  </a:lnTo>
                  <a:lnTo>
                    <a:pt x="306" y="834"/>
                  </a:lnTo>
                  <a:lnTo>
                    <a:pt x="300" y="840"/>
                  </a:lnTo>
                  <a:lnTo>
                    <a:pt x="300" y="846"/>
                  </a:lnTo>
                  <a:lnTo>
                    <a:pt x="306" y="852"/>
                  </a:lnTo>
                  <a:lnTo>
                    <a:pt x="306" y="858"/>
                  </a:lnTo>
                  <a:lnTo>
                    <a:pt x="312" y="858"/>
                  </a:lnTo>
                  <a:lnTo>
                    <a:pt x="312" y="864"/>
                  </a:lnTo>
                  <a:lnTo>
                    <a:pt x="306" y="864"/>
                  </a:lnTo>
                  <a:lnTo>
                    <a:pt x="300" y="864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82" y="870"/>
                  </a:lnTo>
                  <a:lnTo>
                    <a:pt x="276" y="870"/>
                  </a:lnTo>
                  <a:lnTo>
                    <a:pt x="270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8" y="870"/>
                  </a:lnTo>
                  <a:lnTo>
                    <a:pt x="252" y="870"/>
                  </a:lnTo>
                  <a:lnTo>
                    <a:pt x="252" y="864"/>
                  </a:lnTo>
                  <a:lnTo>
                    <a:pt x="246" y="858"/>
                  </a:lnTo>
                  <a:lnTo>
                    <a:pt x="246" y="852"/>
                  </a:lnTo>
                  <a:lnTo>
                    <a:pt x="246" y="846"/>
                  </a:lnTo>
                  <a:lnTo>
                    <a:pt x="246" y="840"/>
                  </a:lnTo>
                  <a:lnTo>
                    <a:pt x="246" y="834"/>
                  </a:lnTo>
                  <a:lnTo>
                    <a:pt x="246" y="828"/>
                  </a:lnTo>
                  <a:lnTo>
                    <a:pt x="246" y="822"/>
                  </a:lnTo>
                  <a:lnTo>
                    <a:pt x="240" y="816"/>
                  </a:lnTo>
                  <a:lnTo>
                    <a:pt x="240" y="810"/>
                  </a:lnTo>
                  <a:lnTo>
                    <a:pt x="240" y="804"/>
                  </a:lnTo>
                  <a:lnTo>
                    <a:pt x="240" y="798"/>
                  </a:lnTo>
                  <a:lnTo>
                    <a:pt x="234" y="798"/>
                  </a:lnTo>
                  <a:lnTo>
                    <a:pt x="234" y="792"/>
                  </a:lnTo>
                  <a:lnTo>
                    <a:pt x="234" y="786"/>
                  </a:lnTo>
                  <a:lnTo>
                    <a:pt x="234" y="780"/>
                  </a:lnTo>
                  <a:lnTo>
                    <a:pt x="228" y="780"/>
                  </a:lnTo>
                  <a:lnTo>
                    <a:pt x="228" y="774"/>
                  </a:lnTo>
                  <a:lnTo>
                    <a:pt x="228" y="768"/>
                  </a:lnTo>
                  <a:lnTo>
                    <a:pt x="222" y="762"/>
                  </a:lnTo>
                  <a:lnTo>
                    <a:pt x="222" y="756"/>
                  </a:lnTo>
                  <a:lnTo>
                    <a:pt x="222" y="750"/>
                  </a:lnTo>
                  <a:lnTo>
                    <a:pt x="222" y="744"/>
                  </a:lnTo>
                  <a:lnTo>
                    <a:pt x="222" y="738"/>
                  </a:lnTo>
                  <a:lnTo>
                    <a:pt x="216" y="732"/>
                  </a:lnTo>
                  <a:lnTo>
                    <a:pt x="222" y="732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32"/>
                  </a:lnTo>
                  <a:lnTo>
                    <a:pt x="246" y="732"/>
                  </a:lnTo>
                  <a:lnTo>
                    <a:pt x="246" y="738"/>
                  </a:lnTo>
                  <a:lnTo>
                    <a:pt x="252" y="738"/>
                  </a:lnTo>
                  <a:lnTo>
                    <a:pt x="258" y="738"/>
                  </a:lnTo>
                  <a:lnTo>
                    <a:pt x="258" y="732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8" y="732"/>
                  </a:lnTo>
                  <a:lnTo>
                    <a:pt x="294" y="732"/>
                  </a:lnTo>
                  <a:lnTo>
                    <a:pt x="300" y="732"/>
                  </a:lnTo>
                  <a:lnTo>
                    <a:pt x="300" y="738"/>
                  </a:lnTo>
                  <a:lnTo>
                    <a:pt x="306" y="738"/>
                  </a:lnTo>
                  <a:lnTo>
                    <a:pt x="306" y="744"/>
                  </a:lnTo>
                  <a:lnTo>
                    <a:pt x="306" y="750"/>
                  </a:lnTo>
                  <a:lnTo>
                    <a:pt x="312" y="750"/>
                  </a:lnTo>
                  <a:lnTo>
                    <a:pt x="312" y="756"/>
                  </a:lnTo>
                  <a:lnTo>
                    <a:pt x="318" y="756"/>
                  </a:lnTo>
                  <a:lnTo>
                    <a:pt x="318" y="750"/>
                  </a:lnTo>
                  <a:lnTo>
                    <a:pt x="312" y="750"/>
                  </a:lnTo>
                  <a:lnTo>
                    <a:pt x="312" y="744"/>
                  </a:lnTo>
                  <a:lnTo>
                    <a:pt x="318" y="738"/>
                  </a:lnTo>
                  <a:lnTo>
                    <a:pt x="324" y="738"/>
                  </a:lnTo>
                  <a:lnTo>
                    <a:pt x="330" y="738"/>
                  </a:lnTo>
                  <a:lnTo>
                    <a:pt x="336" y="738"/>
                  </a:lnTo>
                  <a:lnTo>
                    <a:pt x="342" y="738"/>
                  </a:lnTo>
                  <a:lnTo>
                    <a:pt x="348" y="732"/>
                  </a:lnTo>
                  <a:lnTo>
                    <a:pt x="354" y="732"/>
                  </a:lnTo>
                  <a:lnTo>
                    <a:pt x="360" y="732"/>
                  </a:lnTo>
                  <a:lnTo>
                    <a:pt x="360" y="726"/>
                  </a:lnTo>
                  <a:lnTo>
                    <a:pt x="366" y="726"/>
                  </a:lnTo>
                  <a:lnTo>
                    <a:pt x="366" y="720"/>
                  </a:lnTo>
                  <a:lnTo>
                    <a:pt x="366" y="714"/>
                  </a:lnTo>
                  <a:lnTo>
                    <a:pt x="360" y="708"/>
                  </a:lnTo>
                  <a:lnTo>
                    <a:pt x="354" y="708"/>
                  </a:lnTo>
                  <a:lnTo>
                    <a:pt x="348" y="702"/>
                  </a:lnTo>
                  <a:lnTo>
                    <a:pt x="354" y="702"/>
                  </a:lnTo>
                  <a:lnTo>
                    <a:pt x="354" y="696"/>
                  </a:lnTo>
                  <a:lnTo>
                    <a:pt x="348" y="696"/>
                  </a:lnTo>
                  <a:lnTo>
                    <a:pt x="348" y="690"/>
                  </a:lnTo>
                  <a:lnTo>
                    <a:pt x="342" y="690"/>
                  </a:lnTo>
                  <a:lnTo>
                    <a:pt x="342" y="684"/>
                  </a:lnTo>
                  <a:lnTo>
                    <a:pt x="342" y="678"/>
                  </a:lnTo>
                  <a:lnTo>
                    <a:pt x="342" y="666"/>
                  </a:lnTo>
                  <a:lnTo>
                    <a:pt x="342" y="660"/>
                  </a:lnTo>
                  <a:lnTo>
                    <a:pt x="348" y="654"/>
                  </a:lnTo>
                  <a:lnTo>
                    <a:pt x="348" y="642"/>
                  </a:lnTo>
                  <a:lnTo>
                    <a:pt x="354" y="642"/>
                  </a:lnTo>
                  <a:lnTo>
                    <a:pt x="360" y="642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66" y="642"/>
                  </a:lnTo>
                  <a:lnTo>
                    <a:pt x="372" y="642"/>
                  </a:lnTo>
                  <a:lnTo>
                    <a:pt x="378" y="642"/>
                  </a:lnTo>
                  <a:lnTo>
                    <a:pt x="384" y="642"/>
                  </a:lnTo>
                  <a:lnTo>
                    <a:pt x="390" y="642"/>
                  </a:lnTo>
                  <a:lnTo>
                    <a:pt x="396" y="642"/>
                  </a:lnTo>
                  <a:lnTo>
                    <a:pt x="396" y="636"/>
                  </a:lnTo>
                  <a:lnTo>
                    <a:pt x="402" y="636"/>
                  </a:lnTo>
                  <a:lnTo>
                    <a:pt x="408" y="636"/>
                  </a:lnTo>
                  <a:lnTo>
                    <a:pt x="402" y="636"/>
                  </a:lnTo>
                  <a:lnTo>
                    <a:pt x="402" y="630"/>
                  </a:lnTo>
                  <a:lnTo>
                    <a:pt x="408" y="630"/>
                  </a:lnTo>
                  <a:lnTo>
                    <a:pt x="408" y="624"/>
                  </a:lnTo>
                  <a:lnTo>
                    <a:pt x="408" y="618"/>
                  </a:lnTo>
                  <a:lnTo>
                    <a:pt x="414" y="618"/>
                  </a:lnTo>
                  <a:lnTo>
                    <a:pt x="420" y="618"/>
                  </a:lnTo>
                  <a:lnTo>
                    <a:pt x="426" y="624"/>
                  </a:lnTo>
                  <a:lnTo>
                    <a:pt x="432" y="624"/>
                  </a:lnTo>
                  <a:lnTo>
                    <a:pt x="438" y="624"/>
                  </a:lnTo>
                  <a:lnTo>
                    <a:pt x="438" y="618"/>
                  </a:lnTo>
                  <a:lnTo>
                    <a:pt x="444" y="618"/>
                  </a:lnTo>
                  <a:lnTo>
                    <a:pt x="450" y="618"/>
                  </a:lnTo>
                  <a:lnTo>
                    <a:pt x="444" y="618"/>
                  </a:lnTo>
                  <a:lnTo>
                    <a:pt x="438" y="618"/>
                  </a:lnTo>
                  <a:lnTo>
                    <a:pt x="438" y="612"/>
                  </a:lnTo>
                  <a:lnTo>
                    <a:pt x="438" y="618"/>
                  </a:lnTo>
                  <a:lnTo>
                    <a:pt x="432" y="624"/>
                  </a:lnTo>
                  <a:lnTo>
                    <a:pt x="426" y="618"/>
                  </a:lnTo>
                  <a:lnTo>
                    <a:pt x="420" y="612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402" y="624"/>
                  </a:lnTo>
                  <a:lnTo>
                    <a:pt x="396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78" y="630"/>
                  </a:lnTo>
                  <a:lnTo>
                    <a:pt x="378" y="636"/>
                  </a:lnTo>
                  <a:lnTo>
                    <a:pt x="372" y="630"/>
                  </a:lnTo>
                  <a:lnTo>
                    <a:pt x="366" y="630"/>
                  </a:lnTo>
                  <a:lnTo>
                    <a:pt x="360" y="630"/>
                  </a:lnTo>
                  <a:lnTo>
                    <a:pt x="354" y="630"/>
                  </a:lnTo>
                  <a:lnTo>
                    <a:pt x="354" y="636"/>
                  </a:lnTo>
                  <a:lnTo>
                    <a:pt x="348" y="636"/>
                  </a:lnTo>
                  <a:lnTo>
                    <a:pt x="348" y="642"/>
                  </a:lnTo>
                  <a:lnTo>
                    <a:pt x="342" y="642"/>
                  </a:lnTo>
                  <a:lnTo>
                    <a:pt x="342" y="648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6" y="660"/>
                  </a:lnTo>
                  <a:lnTo>
                    <a:pt x="336" y="666"/>
                  </a:lnTo>
                  <a:lnTo>
                    <a:pt x="330" y="672"/>
                  </a:lnTo>
                  <a:lnTo>
                    <a:pt x="330" y="678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24" y="696"/>
                  </a:lnTo>
                  <a:lnTo>
                    <a:pt x="324" y="702"/>
                  </a:lnTo>
                  <a:lnTo>
                    <a:pt x="318" y="702"/>
                  </a:lnTo>
                  <a:lnTo>
                    <a:pt x="318" y="708"/>
                  </a:lnTo>
                  <a:lnTo>
                    <a:pt x="312" y="708"/>
                  </a:lnTo>
                  <a:lnTo>
                    <a:pt x="312" y="702"/>
                  </a:lnTo>
                  <a:lnTo>
                    <a:pt x="306" y="702"/>
                  </a:lnTo>
                  <a:lnTo>
                    <a:pt x="300" y="702"/>
                  </a:lnTo>
                  <a:lnTo>
                    <a:pt x="294" y="696"/>
                  </a:lnTo>
                  <a:lnTo>
                    <a:pt x="288" y="696"/>
                  </a:lnTo>
                  <a:lnTo>
                    <a:pt x="282" y="690"/>
                  </a:lnTo>
                  <a:lnTo>
                    <a:pt x="288" y="684"/>
                  </a:lnTo>
                  <a:lnTo>
                    <a:pt x="294" y="684"/>
                  </a:lnTo>
                  <a:lnTo>
                    <a:pt x="294" y="678"/>
                  </a:lnTo>
                  <a:lnTo>
                    <a:pt x="300" y="678"/>
                  </a:lnTo>
                  <a:lnTo>
                    <a:pt x="294" y="678"/>
                  </a:lnTo>
                  <a:lnTo>
                    <a:pt x="294" y="672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94" y="672"/>
                  </a:lnTo>
                  <a:lnTo>
                    <a:pt x="288" y="678"/>
                  </a:lnTo>
                  <a:lnTo>
                    <a:pt x="282" y="684"/>
                  </a:lnTo>
                  <a:lnTo>
                    <a:pt x="282" y="678"/>
                  </a:lnTo>
                  <a:lnTo>
                    <a:pt x="276" y="678"/>
                  </a:lnTo>
                  <a:lnTo>
                    <a:pt x="282" y="684"/>
                  </a:lnTo>
                  <a:lnTo>
                    <a:pt x="282" y="690"/>
                  </a:lnTo>
                  <a:lnTo>
                    <a:pt x="282" y="696"/>
                  </a:lnTo>
                  <a:lnTo>
                    <a:pt x="288" y="702"/>
                  </a:lnTo>
                  <a:lnTo>
                    <a:pt x="294" y="708"/>
                  </a:lnTo>
                  <a:lnTo>
                    <a:pt x="294" y="714"/>
                  </a:lnTo>
                  <a:lnTo>
                    <a:pt x="288" y="714"/>
                  </a:lnTo>
                  <a:lnTo>
                    <a:pt x="282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64" y="714"/>
                  </a:lnTo>
                  <a:lnTo>
                    <a:pt x="258" y="714"/>
                  </a:lnTo>
                  <a:lnTo>
                    <a:pt x="252" y="714"/>
                  </a:lnTo>
                  <a:lnTo>
                    <a:pt x="246" y="714"/>
                  </a:lnTo>
                  <a:lnTo>
                    <a:pt x="240" y="714"/>
                  </a:lnTo>
                  <a:lnTo>
                    <a:pt x="240" y="708"/>
                  </a:lnTo>
                  <a:lnTo>
                    <a:pt x="234" y="708"/>
                  </a:lnTo>
                  <a:lnTo>
                    <a:pt x="228" y="708"/>
                  </a:lnTo>
                  <a:lnTo>
                    <a:pt x="222" y="702"/>
                  </a:lnTo>
                  <a:lnTo>
                    <a:pt x="216" y="702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2" y="690"/>
                  </a:lnTo>
                  <a:lnTo>
                    <a:pt x="186" y="690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68" y="684"/>
                  </a:lnTo>
                  <a:lnTo>
                    <a:pt x="168" y="678"/>
                  </a:lnTo>
                  <a:lnTo>
                    <a:pt x="156" y="672"/>
                  </a:lnTo>
                  <a:lnTo>
                    <a:pt x="150" y="660"/>
                  </a:lnTo>
                  <a:lnTo>
                    <a:pt x="126" y="630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12"/>
                  </a:lnTo>
                  <a:lnTo>
                    <a:pt x="126" y="606"/>
                  </a:lnTo>
                  <a:lnTo>
                    <a:pt x="126" y="600"/>
                  </a:lnTo>
                  <a:lnTo>
                    <a:pt x="132" y="594"/>
                  </a:lnTo>
                  <a:lnTo>
                    <a:pt x="138" y="594"/>
                  </a:lnTo>
                  <a:lnTo>
                    <a:pt x="144" y="588"/>
                  </a:lnTo>
                  <a:lnTo>
                    <a:pt x="144" y="582"/>
                  </a:lnTo>
                  <a:lnTo>
                    <a:pt x="150" y="582"/>
                  </a:lnTo>
                  <a:lnTo>
                    <a:pt x="150" y="576"/>
                  </a:lnTo>
                  <a:lnTo>
                    <a:pt x="156" y="576"/>
                  </a:lnTo>
                  <a:lnTo>
                    <a:pt x="156" y="582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8" y="576"/>
                  </a:lnTo>
                  <a:lnTo>
                    <a:pt x="174" y="576"/>
                  </a:lnTo>
                  <a:lnTo>
                    <a:pt x="180" y="582"/>
                  </a:lnTo>
                  <a:lnTo>
                    <a:pt x="192" y="582"/>
                  </a:lnTo>
                  <a:lnTo>
                    <a:pt x="198" y="582"/>
                  </a:lnTo>
                  <a:lnTo>
                    <a:pt x="204" y="582"/>
                  </a:lnTo>
                  <a:lnTo>
                    <a:pt x="210" y="582"/>
                  </a:lnTo>
                  <a:lnTo>
                    <a:pt x="216" y="588"/>
                  </a:lnTo>
                  <a:lnTo>
                    <a:pt x="222" y="588"/>
                  </a:lnTo>
                  <a:lnTo>
                    <a:pt x="234" y="588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46" y="594"/>
                  </a:lnTo>
                  <a:lnTo>
                    <a:pt x="252" y="588"/>
                  </a:lnTo>
                  <a:lnTo>
                    <a:pt x="258" y="588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52" y="600"/>
                  </a:lnTo>
                  <a:lnTo>
                    <a:pt x="246" y="600"/>
                  </a:lnTo>
                  <a:lnTo>
                    <a:pt x="246" y="606"/>
                  </a:lnTo>
                  <a:lnTo>
                    <a:pt x="246" y="600"/>
                  </a:lnTo>
                  <a:lnTo>
                    <a:pt x="252" y="600"/>
                  </a:lnTo>
                  <a:lnTo>
                    <a:pt x="258" y="594"/>
                  </a:lnTo>
                  <a:lnTo>
                    <a:pt x="264" y="594"/>
                  </a:lnTo>
                  <a:lnTo>
                    <a:pt x="264" y="588"/>
                  </a:lnTo>
                  <a:lnTo>
                    <a:pt x="270" y="588"/>
                  </a:lnTo>
                  <a:lnTo>
                    <a:pt x="270" y="582"/>
                  </a:lnTo>
                  <a:lnTo>
                    <a:pt x="270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76" y="564"/>
                  </a:lnTo>
                  <a:lnTo>
                    <a:pt x="270" y="558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58"/>
                  </a:lnTo>
                  <a:lnTo>
                    <a:pt x="282" y="558"/>
                  </a:lnTo>
                  <a:lnTo>
                    <a:pt x="288" y="558"/>
                  </a:lnTo>
                  <a:lnTo>
                    <a:pt x="294" y="558"/>
                  </a:lnTo>
                  <a:lnTo>
                    <a:pt x="300" y="558"/>
                  </a:lnTo>
                  <a:lnTo>
                    <a:pt x="306" y="558"/>
                  </a:lnTo>
                  <a:lnTo>
                    <a:pt x="312" y="558"/>
                  </a:lnTo>
                  <a:lnTo>
                    <a:pt x="318" y="558"/>
                  </a:lnTo>
                  <a:lnTo>
                    <a:pt x="318" y="564"/>
                  </a:lnTo>
                  <a:lnTo>
                    <a:pt x="324" y="564"/>
                  </a:lnTo>
                  <a:lnTo>
                    <a:pt x="324" y="570"/>
                  </a:lnTo>
                  <a:lnTo>
                    <a:pt x="330" y="570"/>
                  </a:lnTo>
                  <a:lnTo>
                    <a:pt x="336" y="570"/>
                  </a:lnTo>
                  <a:lnTo>
                    <a:pt x="342" y="570"/>
                  </a:lnTo>
                  <a:lnTo>
                    <a:pt x="348" y="570"/>
                  </a:lnTo>
                  <a:lnTo>
                    <a:pt x="354" y="570"/>
                  </a:lnTo>
                  <a:lnTo>
                    <a:pt x="360" y="570"/>
                  </a:lnTo>
                  <a:lnTo>
                    <a:pt x="366" y="570"/>
                  </a:lnTo>
                  <a:lnTo>
                    <a:pt x="360" y="570"/>
                  </a:lnTo>
                  <a:lnTo>
                    <a:pt x="360" y="564"/>
                  </a:lnTo>
                  <a:lnTo>
                    <a:pt x="354" y="564"/>
                  </a:lnTo>
                  <a:lnTo>
                    <a:pt x="348" y="564"/>
                  </a:lnTo>
                  <a:lnTo>
                    <a:pt x="342" y="564"/>
                  </a:lnTo>
                  <a:lnTo>
                    <a:pt x="342" y="570"/>
                  </a:lnTo>
                  <a:lnTo>
                    <a:pt x="336" y="564"/>
                  </a:lnTo>
                  <a:lnTo>
                    <a:pt x="336" y="570"/>
                  </a:lnTo>
                  <a:lnTo>
                    <a:pt x="336" y="564"/>
                  </a:lnTo>
                  <a:lnTo>
                    <a:pt x="330" y="564"/>
                  </a:lnTo>
                  <a:lnTo>
                    <a:pt x="324" y="558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18" y="558"/>
                  </a:lnTo>
                  <a:lnTo>
                    <a:pt x="312" y="552"/>
                  </a:lnTo>
                  <a:lnTo>
                    <a:pt x="312" y="558"/>
                  </a:lnTo>
                  <a:lnTo>
                    <a:pt x="312" y="552"/>
                  </a:lnTo>
                  <a:lnTo>
                    <a:pt x="306" y="552"/>
                  </a:lnTo>
                  <a:lnTo>
                    <a:pt x="300" y="546"/>
                  </a:lnTo>
                  <a:lnTo>
                    <a:pt x="294" y="546"/>
                  </a:lnTo>
                  <a:lnTo>
                    <a:pt x="288" y="546"/>
                  </a:lnTo>
                  <a:lnTo>
                    <a:pt x="282" y="546"/>
                  </a:lnTo>
                  <a:lnTo>
                    <a:pt x="276" y="546"/>
                  </a:lnTo>
                  <a:lnTo>
                    <a:pt x="276" y="552"/>
                  </a:lnTo>
                  <a:lnTo>
                    <a:pt x="270" y="552"/>
                  </a:lnTo>
                  <a:lnTo>
                    <a:pt x="270" y="558"/>
                  </a:lnTo>
                  <a:lnTo>
                    <a:pt x="270" y="564"/>
                  </a:lnTo>
                  <a:lnTo>
                    <a:pt x="264" y="570"/>
                  </a:lnTo>
                  <a:lnTo>
                    <a:pt x="258" y="576"/>
                  </a:lnTo>
                  <a:lnTo>
                    <a:pt x="258" y="582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34" y="576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16" y="552"/>
                  </a:lnTo>
                  <a:lnTo>
                    <a:pt x="216" y="546"/>
                  </a:lnTo>
                  <a:lnTo>
                    <a:pt x="216" y="540"/>
                  </a:lnTo>
                  <a:lnTo>
                    <a:pt x="222" y="534"/>
                  </a:lnTo>
                  <a:lnTo>
                    <a:pt x="222" y="528"/>
                  </a:lnTo>
                  <a:lnTo>
                    <a:pt x="228" y="522"/>
                  </a:lnTo>
                  <a:lnTo>
                    <a:pt x="228" y="516"/>
                  </a:lnTo>
                  <a:lnTo>
                    <a:pt x="228" y="510"/>
                  </a:lnTo>
                  <a:lnTo>
                    <a:pt x="234" y="510"/>
                  </a:lnTo>
                  <a:lnTo>
                    <a:pt x="240" y="516"/>
                  </a:lnTo>
                  <a:lnTo>
                    <a:pt x="246" y="522"/>
                  </a:lnTo>
                  <a:lnTo>
                    <a:pt x="246" y="516"/>
                  </a:lnTo>
                  <a:lnTo>
                    <a:pt x="240" y="516"/>
                  </a:lnTo>
                  <a:lnTo>
                    <a:pt x="240" y="510"/>
                  </a:lnTo>
                  <a:lnTo>
                    <a:pt x="234" y="510"/>
                  </a:lnTo>
                  <a:lnTo>
                    <a:pt x="234" y="504"/>
                  </a:lnTo>
                  <a:lnTo>
                    <a:pt x="228" y="504"/>
                  </a:lnTo>
                  <a:lnTo>
                    <a:pt x="222" y="504"/>
                  </a:lnTo>
                  <a:lnTo>
                    <a:pt x="222" y="498"/>
                  </a:lnTo>
                  <a:lnTo>
                    <a:pt x="222" y="504"/>
                  </a:lnTo>
                  <a:lnTo>
                    <a:pt x="222" y="510"/>
                  </a:lnTo>
                  <a:lnTo>
                    <a:pt x="222" y="516"/>
                  </a:lnTo>
                  <a:lnTo>
                    <a:pt x="216" y="522"/>
                  </a:lnTo>
                  <a:lnTo>
                    <a:pt x="216" y="528"/>
                  </a:lnTo>
                  <a:lnTo>
                    <a:pt x="210" y="528"/>
                  </a:lnTo>
                  <a:lnTo>
                    <a:pt x="216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04" y="546"/>
                  </a:lnTo>
                  <a:lnTo>
                    <a:pt x="204" y="552"/>
                  </a:lnTo>
                  <a:lnTo>
                    <a:pt x="204" y="558"/>
                  </a:lnTo>
                  <a:lnTo>
                    <a:pt x="204" y="564"/>
                  </a:lnTo>
                  <a:lnTo>
                    <a:pt x="198" y="570"/>
                  </a:lnTo>
                  <a:lnTo>
                    <a:pt x="192" y="564"/>
                  </a:lnTo>
                  <a:lnTo>
                    <a:pt x="186" y="564"/>
                  </a:lnTo>
                  <a:lnTo>
                    <a:pt x="180" y="564"/>
                  </a:lnTo>
                  <a:lnTo>
                    <a:pt x="174" y="564"/>
                  </a:lnTo>
                  <a:lnTo>
                    <a:pt x="168" y="564"/>
                  </a:lnTo>
                  <a:lnTo>
                    <a:pt x="162" y="564"/>
                  </a:lnTo>
                  <a:lnTo>
                    <a:pt x="156" y="570"/>
                  </a:lnTo>
                  <a:lnTo>
                    <a:pt x="150" y="570"/>
                  </a:lnTo>
                  <a:lnTo>
                    <a:pt x="150" y="564"/>
                  </a:lnTo>
                  <a:lnTo>
                    <a:pt x="150" y="570"/>
                  </a:lnTo>
                  <a:lnTo>
                    <a:pt x="150" y="576"/>
                  </a:lnTo>
                  <a:lnTo>
                    <a:pt x="144" y="576"/>
                  </a:lnTo>
                  <a:lnTo>
                    <a:pt x="138" y="576"/>
                  </a:lnTo>
                  <a:lnTo>
                    <a:pt x="132" y="582"/>
                  </a:lnTo>
                  <a:lnTo>
                    <a:pt x="126" y="582"/>
                  </a:lnTo>
                  <a:lnTo>
                    <a:pt x="120" y="582"/>
                  </a:lnTo>
                  <a:lnTo>
                    <a:pt x="114" y="576"/>
                  </a:lnTo>
                  <a:lnTo>
                    <a:pt x="108" y="564"/>
                  </a:lnTo>
                  <a:lnTo>
                    <a:pt x="102" y="558"/>
                  </a:lnTo>
                  <a:lnTo>
                    <a:pt x="96" y="552"/>
                  </a:lnTo>
                  <a:lnTo>
                    <a:pt x="90" y="546"/>
                  </a:lnTo>
                  <a:lnTo>
                    <a:pt x="90" y="540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2"/>
                  </a:lnTo>
                  <a:lnTo>
                    <a:pt x="78" y="516"/>
                  </a:lnTo>
                  <a:lnTo>
                    <a:pt x="72" y="510"/>
                  </a:lnTo>
                  <a:lnTo>
                    <a:pt x="66" y="504"/>
                  </a:lnTo>
                  <a:lnTo>
                    <a:pt x="66" y="498"/>
                  </a:lnTo>
                  <a:lnTo>
                    <a:pt x="66" y="492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6" y="474"/>
                  </a:lnTo>
                  <a:lnTo>
                    <a:pt x="72" y="474"/>
                  </a:lnTo>
                  <a:lnTo>
                    <a:pt x="72" y="468"/>
                  </a:lnTo>
                  <a:lnTo>
                    <a:pt x="78" y="462"/>
                  </a:lnTo>
                  <a:lnTo>
                    <a:pt x="78" y="456"/>
                  </a:lnTo>
                  <a:lnTo>
                    <a:pt x="84" y="456"/>
                  </a:lnTo>
                  <a:lnTo>
                    <a:pt x="84" y="450"/>
                  </a:lnTo>
                  <a:lnTo>
                    <a:pt x="84" y="444"/>
                  </a:lnTo>
                  <a:lnTo>
                    <a:pt x="90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02" y="450"/>
                  </a:lnTo>
                  <a:lnTo>
                    <a:pt x="108" y="450"/>
                  </a:lnTo>
                  <a:lnTo>
                    <a:pt x="108" y="456"/>
                  </a:lnTo>
                  <a:lnTo>
                    <a:pt x="108" y="462"/>
                  </a:lnTo>
                  <a:lnTo>
                    <a:pt x="114" y="462"/>
                  </a:lnTo>
                  <a:lnTo>
                    <a:pt x="114" y="468"/>
                  </a:lnTo>
                  <a:lnTo>
                    <a:pt x="114" y="474"/>
                  </a:lnTo>
                  <a:lnTo>
                    <a:pt x="114" y="480"/>
                  </a:lnTo>
                  <a:lnTo>
                    <a:pt x="114" y="486"/>
                  </a:lnTo>
                  <a:lnTo>
                    <a:pt x="120" y="486"/>
                  </a:lnTo>
                  <a:lnTo>
                    <a:pt x="126" y="486"/>
                  </a:lnTo>
                  <a:lnTo>
                    <a:pt x="132" y="486"/>
                  </a:lnTo>
                  <a:lnTo>
                    <a:pt x="126" y="480"/>
                  </a:lnTo>
                  <a:lnTo>
                    <a:pt x="120" y="480"/>
                  </a:lnTo>
                  <a:lnTo>
                    <a:pt x="114" y="480"/>
                  </a:lnTo>
                  <a:lnTo>
                    <a:pt x="120" y="480"/>
                  </a:lnTo>
                  <a:lnTo>
                    <a:pt x="120" y="474"/>
                  </a:lnTo>
                  <a:lnTo>
                    <a:pt x="120" y="468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108" y="450"/>
                  </a:lnTo>
                  <a:lnTo>
                    <a:pt x="108" y="444"/>
                  </a:lnTo>
                  <a:lnTo>
                    <a:pt x="114" y="438"/>
                  </a:lnTo>
                  <a:lnTo>
                    <a:pt x="120" y="438"/>
                  </a:lnTo>
                  <a:lnTo>
                    <a:pt x="120" y="432"/>
                  </a:lnTo>
                  <a:lnTo>
                    <a:pt x="132" y="426"/>
                  </a:lnTo>
                  <a:lnTo>
                    <a:pt x="138" y="420"/>
                  </a:lnTo>
                  <a:lnTo>
                    <a:pt x="144" y="420"/>
                  </a:lnTo>
                  <a:lnTo>
                    <a:pt x="144" y="414"/>
                  </a:lnTo>
                  <a:lnTo>
                    <a:pt x="144" y="420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6" y="414"/>
                  </a:lnTo>
                  <a:lnTo>
                    <a:pt x="162" y="414"/>
                  </a:lnTo>
                  <a:lnTo>
                    <a:pt x="162" y="408"/>
                  </a:lnTo>
                  <a:lnTo>
                    <a:pt x="168" y="408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86" y="396"/>
                  </a:lnTo>
                  <a:lnTo>
                    <a:pt x="186" y="390"/>
                  </a:lnTo>
                  <a:lnTo>
                    <a:pt x="192" y="390"/>
                  </a:lnTo>
                  <a:lnTo>
                    <a:pt x="198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210" y="378"/>
                  </a:lnTo>
                  <a:lnTo>
                    <a:pt x="210" y="372"/>
                  </a:lnTo>
                  <a:lnTo>
                    <a:pt x="216" y="372"/>
                  </a:lnTo>
                  <a:lnTo>
                    <a:pt x="222" y="366"/>
                  </a:lnTo>
                  <a:lnTo>
                    <a:pt x="228" y="360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6" y="348"/>
                  </a:lnTo>
                  <a:lnTo>
                    <a:pt x="252" y="348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0" y="342"/>
                  </a:lnTo>
                  <a:lnTo>
                    <a:pt x="234" y="342"/>
                  </a:lnTo>
                  <a:lnTo>
                    <a:pt x="228" y="336"/>
                  </a:lnTo>
                  <a:lnTo>
                    <a:pt x="222" y="336"/>
                  </a:lnTo>
                  <a:lnTo>
                    <a:pt x="216" y="336"/>
                  </a:lnTo>
                  <a:lnTo>
                    <a:pt x="222" y="324"/>
                  </a:lnTo>
                  <a:lnTo>
                    <a:pt x="222" y="318"/>
                  </a:lnTo>
                  <a:lnTo>
                    <a:pt x="222" y="312"/>
                  </a:lnTo>
                  <a:lnTo>
                    <a:pt x="234" y="318"/>
                  </a:lnTo>
                  <a:lnTo>
                    <a:pt x="246" y="318"/>
                  </a:lnTo>
                  <a:lnTo>
                    <a:pt x="258" y="318"/>
                  </a:lnTo>
                  <a:lnTo>
                    <a:pt x="270" y="312"/>
                  </a:lnTo>
                  <a:lnTo>
                    <a:pt x="276" y="312"/>
                  </a:lnTo>
                  <a:lnTo>
                    <a:pt x="288" y="324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94" y="306"/>
                  </a:lnTo>
                  <a:lnTo>
                    <a:pt x="300" y="300"/>
                  </a:lnTo>
                  <a:lnTo>
                    <a:pt x="306" y="306"/>
                  </a:lnTo>
                  <a:lnTo>
                    <a:pt x="312" y="318"/>
                  </a:lnTo>
                  <a:lnTo>
                    <a:pt x="318" y="312"/>
                  </a:lnTo>
                  <a:lnTo>
                    <a:pt x="324" y="312"/>
                  </a:lnTo>
                  <a:lnTo>
                    <a:pt x="330" y="312"/>
                  </a:lnTo>
                  <a:lnTo>
                    <a:pt x="342" y="306"/>
                  </a:lnTo>
                  <a:lnTo>
                    <a:pt x="348" y="306"/>
                  </a:lnTo>
                  <a:lnTo>
                    <a:pt x="348" y="312"/>
                  </a:lnTo>
                  <a:lnTo>
                    <a:pt x="348" y="318"/>
                  </a:lnTo>
                  <a:lnTo>
                    <a:pt x="354" y="318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60" y="336"/>
                  </a:lnTo>
                  <a:lnTo>
                    <a:pt x="366" y="330"/>
                  </a:lnTo>
                  <a:lnTo>
                    <a:pt x="378" y="324"/>
                  </a:lnTo>
                  <a:lnTo>
                    <a:pt x="384" y="324"/>
                  </a:lnTo>
                  <a:lnTo>
                    <a:pt x="384" y="318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6"/>
                  </a:lnTo>
                  <a:lnTo>
                    <a:pt x="402" y="306"/>
                  </a:lnTo>
                  <a:lnTo>
                    <a:pt x="408" y="306"/>
                  </a:lnTo>
                  <a:lnTo>
                    <a:pt x="414" y="300"/>
                  </a:lnTo>
                  <a:lnTo>
                    <a:pt x="420" y="300"/>
                  </a:lnTo>
                  <a:lnTo>
                    <a:pt x="426" y="300"/>
                  </a:lnTo>
                  <a:lnTo>
                    <a:pt x="432" y="300"/>
                  </a:lnTo>
                  <a:lnTo>
                    <a:pt x="444" y="288"/>
                  </a:lnTo>
                  <a:lnTo>
                    <a:pt x="450" y="294"/>
                  </a:lnTo>
                  <a:lnTo>
                    <a:pt x="468" y="300"/>
                  </a:lnTo>
                  <a:lnTo>
                    <a:pt x="498" y="312"/>
                  </a:lnTo>
                  <a:lnTo>
                    <a:pt x="504" y="324"/>
                  </a:lnTo>
                  <a:lnTo>
                    <a:pt x="516" y="330"/>
                  </a:lnTo>
                  <a:lnTo>
                    <a:pt x="516" y="336"/>
                  </a:lnTo>
                  <a:lnTo>
                    <a:pt x="540" y="342"/>
                  </a:lnTo>
                  <a:lnTo>
                    <a:pt x="558" y="372"/>
                  </a:lnTo>
                  <a:lnTo>
                    <a:pt x="594" y="384"/>
                  </a:lnTo>
                  <a:lnTo>
                    <a:pt x="606" y="402"/>
                  </a:lnTo>
                  <a:lnTo>
                    <a:pt x="600" y="420"/>
                  </a:lnTo>
                  <a:lnTo>
                    <a:pt x="588" y="444"/>
                  </a:lnTo>
                  <a:lnTo>
                    <a:pt x="588" y="450"/>
                  </a:lnTo>
                  <a:lnTo>
                    <a:pt x="588" y="456"/>
                  </a:lnTo>
                  <a:lnTo>
                    <a:pt x="594" y="456"/>
                  </a:lnTo>
                  <a:lnTo>
                    <a:pt x="594" y="462"/>
                  </a:lnTo>
                  <a:lnTo>
                    <a:pt x="594" y="468"/>
                  </a:lnTo>
                  <a:lnTo>
                    <a:pt x="594" y="474"/>
                  </a:lnTo>
                  <a:lnTo>
                    <a:pt x="600" y="474"/>
                  </a:lnTo>
                  <a:lnTo>
                    <a:pt x="606" y="480"/>
                  </a:lnTo>
                  <a:lnTo>
                    <a:pt x="606" y="486"/>
                  </a:lnTo>
                  <a:lnTo>
                    <a:pt x="612" y="486"/>
                  </a:lnTo>
                  <a:lnTo>
                    <a:pt x="618" y="486"/>
                  </a:lnTo>
                  <a:lnTo>
                    <a:pt x="624" y="486"/>
                  </a:lnTo>
                  <a:lnTo>
                    <a:pt x="636" y="486"/>
                  </a:lnTo>
                  <a:lnTo>
                    <a:pt x="642" y="486"/>
                  </a:lnTo>
                  <a:lnTo>
                    <a:pt x="648" y="480"/>
                  </a:lnTo>
                  <a:lnTo>
                    <a:pt x="654" y="474"/>
                  </a:lnTo>
                  <a:lnTo>
                    <a:pt x="660" y="468"/>
                  </a:lnTo>
                  <a:lnTo>
                    <a:pt x="666" y="468"/>
                  </a:lnTo>
                  <a:lnTo>
                    <a:pt x="684" y="468"/>
                  </a:lnTo>
                  <a:lnTo>
                    <a:pt x="696" y="468"/>
                  </a:lnTo>
                  <a:lnTo>
                    <a:pt x="696" y="462"/>
                  </a:lnTo>
                  <a:lnTo>
                    <a:pt x="702" y="456"/>
                  </a:lnTo>
                  <a:lnTo>
                    <a:pt x="708" y="450"/>
                  </a:lnTo>
                  <a:lnTo>
                    <a:pt x="714" y="450"/>
                  </a:lnTo>
                  <a:lnTo>
                    <a:pt x="720" y="450"/>
                  </a:lnTo>
                  <a:lnTo>
                    <a:pt x="720" y="438"/>
                  </a:lnTo>
                  <a:lnTo>
                    <a:pt x="726" y="432"/>
                  </a:lnTo>
                  <a:lnTo>
                    <a:pt x="738" y="420"/>
                  </a:lnTo>
                  <a:lnTo>
                    <a:pt x="744" y="420"/>
                  </a:lnTo>
                  <a:lnTo>
                    <a:pt x="750" y="414"/>
                  </a:lnTo>
                  <a:lnTo>
                    <a:pt x="762" y="408"/>
                  </a:lnTo>
                  <a:lnTo>
                    <a:pt x="768" y="408"/>
                  </a:lnTo>
                  <a:lnTo>
                    <a:pt x="768" y="402"/>
                  </a:lnTo>
                  <a:lnTo>
                    <a:pt x="780" y="396"/>
                  </a:lnTo>
                  <a:lnTo>
                    <a:pt x="786" y="396"/>
                  </a:lnTo>
                  <a:lnTo>
                    <a:pt x="786" y="390"/>
                  </a:lnTo>
                  <a:lnTo>
                    <a:pt x="792" y="384"/>
                  </a:lnTo>
                  <a:lnTo>
                    <a:pt x="792" y="378"/>
                  </a:lnTo>
                  <a:lnTo>
                    <a:pt x="798" y="366"/>
                  </a:lnTo>
                  <a:lnTo>
                    <a:pt x="804" y="360"/>
                  </a:lnTo>
                  <a:lnTo>
                    <a:pt x="816" y="342"/>
                  </a:lnTo>
                  <a:lnTo>
                    <a:pt x="816" y="312"/>
                  </a:lnTo>
                  <a:lnTo>
                    <a:pt x="804" y="300"/>
                  </a:lnTo>
                  <a:lnTo>
                    <a:pt x="798" y="288"/>
                  </a:lnTo>
                  <a:lnTo>
                    <a:pt x="762" y="264"/>
                  </a:lnTo>
                  <a:lnTo>
                    <a:pt x="738" y="234"/>
                  </a:lnTo>
                  <a:lnTo>
                    <a:pt x="738" y="222"/>
                  </a:lnTo>
                  <a:lnTo>
                    <a:pt x="744" y="210"/>
                  </a:lnTo>
                  <a:lnTo>
                    <a:pt x="732" y="174"/>
                  </a:lnTo>
                  <a:lnTo>
                    <a:pt x="714" y="156"/>
                  </a:lnTo>
                  <a:lnTo>
                    <a:pt x="708" y="144"/>
                  </a:lnTo>
                  <a:lnTo>
                    <a:pt x="714" y="126"/>
                  </a:lnTo>
                  <a:lnTo>
                    <a:pt x="720" y="114"/>
                  </a:lnTo>
                  <a:lnTo>
                    <a:pt x="732" y="102"/>
                  </a:lnTo>
                  <a:lnTo>
                    <a:pt x="744" y="102"/>
                  </a:lnTo>
                  <a:lnTo>
                    <a:pt x="762" y="108"/>
                  </a:lnTo>
                  <a:lnTo>
                    <a:pt x="774" y="114"/>
                  </a:lnTo>
                  <a:lnTo>
                    <a:pt x="780" y="138"/>
                  </a:lnTo>
                  <a:lnTo>
                    <a:pt x="786" y="144"/>
                  </a:lnTo>
                  <a:lnTo>
                    <a:pt x="798" y="138"/>
                  </a:lnTo>
                  <a:lnTo>
                    <a:pt x="804" y="132"/>
                  </a:lnTo>
                  <a:lnTo>
                    <a:pt x="816" y="120"/>
                  </a:lnTo>
                  <a:lnTo>
                    <a:pt x="816" y="108"/>
                  </a:lnTo>
                  <a:lnTo>
                    <a:pt x="828" y="102"/>
                  </a:lnTo>
                  <a:lnTo>
                    <a:pt x="828" y="96"/>
                  </a:lnTo>
                  <a:lnTo>
                    <a:pt x="840" y="96"/>
                  </a:lnTo>
                  <a:lnTo>
                    <a:pt x="840" y="84"/>
                  </a:lnTo>
                  <a:lnTo>
                    <a:pt x="852" y="90"/>
                  </a:lnTo>
                  <a:lnTo>
                    <a:pt x="852" y="96"/>
                  </a:lnTo>
                  <a:lnTo>
                    <a:pt x="870" y="90"/>
                  </a:lnTo>
                  <a:lnTo>
                    <a:pt x="894" y="78"/>
                  </a:lnTo>
                  <a:lnTo>
                    <a:pt x="912" y="78"/>
                  </a:lnTo>
                  <a:lnTo>
                    <a:pt x="942" y="66"/>
                  </a:lnTo>
                  <a:lnTo>
                    <a:pt x="942" y="60"/>
                  </a:lnTo>
                  <a:lnTo>
                    <a:pt x="954" y="48"/>
                  </a:lnTo>
                  <a:lnTo>
                    <a:pt x="966" y="30"/>
                  </a:lnTo>
                  <a:lnTo>
                    <a:pt x="978" y="30"/>
                  </a:lnTo>
                  <a:lnTo>
                    <a:pt x="978" y="24"/>
                  </a:lnTo>
                  <a:lnTo>
                    <a:pt x="984" y="12"/>
                  </a:lnTo>
                  <a:lnTo>
                    <a:pt x="990" y="12"/>
                  </a:lnTo>
                  <a:lnTo>
                    <a:pt x="996" y="12"/>
                  </a:lnTo>
                  <a:lnTo>
                    <a:pt x="1014" y="6"/>
                  </a:lnTo>
                  <a:lnTo>
                    <a:pt x="1026" y="6"/>
                  </a:lnTo>
                  <a:lnTo>
                    <a:pt x="1044" y="6"/>
                  </a:lnTo>
                  <a:lnTo>
                    <a:pt x="1050" y="6"/>
                  </a:lnTo>
                  <a:lnTo>
                    <a:pt x="1056" y="6"/>
                  </a:lnTo>
                  <a:lnTo>
                    <a:pt x="1062" y="6"/>
                  </a:lnTo>
                  <a:lnTo>
                    <a:pt x="1068" y="6"/>
                  </a:lnTo>
                  <a:lnTo>
                    <a:pt x="1074" y="6"/>
                  </a:lnTo>
                  <a:lnTo>
                    <a:pt x="1080" y="6"/>
                  </a:lnTo>
                  <a:lnTo>
                    <a:pt x="1086" y="0"/>
                  </a:lnTo>
                  <a:lnTo>
                    <a:pt x="1092" y="30"/>
                  </a:lnTo>
                  <a:lnTo>
                    <a:pt x="1098" y="60"/>
                  </a:lnTo>
                  <a:lnTo>
                    <a:pt x="1110" y="84"/>
                  </a:lnTo>
                  <a:lnTo>
                    <a:pt x="1122" y="114"/>
                  </a:lnTo>
                  <a:lnTo>
                    <a:pt x="1128" y="144"/>
                  </a:lnTo>
                  <a:lnTo>
                    <a:pt x="1122" y="156"/>
                  </a:lnTo>
                  <a:lnTo>
                    <a:pt x="1128" y="168"/>
                  </a:lnTo>
                  <a:lnTo>
                    <a:pt x="1134" y="186"/>
                  </a:lnTo>
                  <a:lnTo>
                    <a:pt x="1140" y="204"/>
                  </a:lnTo>
                  <a:lnTo>
                    <a:pt x="1146" y="210"/>
                  </a:lnTo>
                  <a:lnTo>
                    <a:pt x="1146" y="216"/>
                  </a:lnTo>
                  <a:lnTo>
                    <a:pt x="1146" y="228"/>
                  </a:lnTo>
                  <a:lnTo>
                    <a:pt x="1146" y="234"/>
                  </a:lnTo>
                  <a:lnTo>
                    <a:pt x="1140" y="246"/>
                  </a:lnTo>
                  <a:lnTo>
                    <a:pt x="1128" y="258"/>
                  </a:lnTo>
                  <a:lnTo>
                    <a:pt x="1116" y="264"/>
                  </a:lnTo>
                  <a:lnTo>
                    <a:pt x="1110" y="276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2" y="312"/>
                  </a:lnTo>
                  <a:lnTo>
                    <a:pt x="1116" y="324"/>
                  </a:lnTo>
                  <a:lnTo>
                    <a:pt x="1104" y="336"/>
                  </a:lnTo>
                  <a:lnTo>
                    <a:pt x="1104" y="354"/>
                  </a:lnTo>
                  <a:lnTo>
                    <a:pt x="1098" y="372"/>
                  </a:lnTo>
                  <a:lnTo>
                    <a:pt x="1092" y="384"/>
                  </a:lnTo>
                  <a:lnTo>
                    <a:pt x="1086" y="390"/>
                  </a:lnTo>
                  <a:lnTo>
                    <a:pt x="1086" y="402"/>
                  </a:lnTo>
                  <a:lnTo>
                    <a:pt x="1080" y="414"/>
                  </a:lnTo>
                  <a:lnTo>
                    <a:pt x="1074" y="426"/>
                  </a:lnTo>
                  <a:lnTo>
                    <a:pt x="1074" y="450"/>
                  </a:lnTo>
                  <a:lnTo>
                    <a:pt x="1074" y="462"/>
                  </a:lnTo>
                  <a:lnTo>
                    <a:pt x="1068" y="474"/>
                  </a:lnTo>
                  <a:lnTo>
                    <a:pt x="1062" y="486"/>
                  </a:lnTo>
                  <a:lnTo>
                    <a:pt x="1056" y="498"/>
                  </a:lnTo>
                  <a:close/>
                  <a:moveTo>
                    <a:pt x="186" y="378"/>
                  </a:moveTo>
                  <a:lnTo>
                    <a:pt x="186" y="384"/>
                  </a:lnTo>
                  <a:lnTo>
                    <a:pt x="180" y="390"/>
                  </a:lnTo>
                  <a:lnTo>
                    <a:pt x="174" y="396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14"/>
                  </a:lnTo>
                  <a:lnTo>
                    <a:pt x="126" y="414"/>
                  </a:lnTo>
                  <a:lnTo>
                    <a:pt x="120" y="414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2" y="426"/>
                  </a:lnTo>
                  <a:lnTo>
                    <a:pt x="102" y="432"/>
                  </a:lnTo>
                  <a:lnTo>
                    <a:pt x="96" y="432"/>
                  </a:lnTo>
                  <a:lnTo>
                    <a:pt x="90" y="432"/>
                  </a:lnTo>
                  <a:lnTo>
                    <a:pt x="84" y="438"/>
                  </a:lnTo>
                  <a:lnTo>
                    <a:pt x="78" y="438"/>
                  </a:lnTo>
                  <a:lnTo>
                    <a:pt x="78" y="444"/>
                  </a:lnTo>
                  <a:lnTo>
                    <a:pt x="72" y="444"/>
                  </a:lnTo>
                  <a:lnTo>
                    <a:pt x="72" y="450"/>
                  </a:lnTo>
                  <a:lnTo>
                    <a:pt x="66" y="456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48" y="468"/>
                  </a:lnTo>
                  <a:lnTo>
                    <a:pt x="42" y="468"/>
                  </a:lnTo>
                  <a:lnTo>
                    <a:pt x="42" y="462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8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0" y="396"/>
                  </a:lnTo>
                  <a:lnTo>
                    <a:pt x="6" y="384"/>
                  </a:lnTo>
                  <a:lnTo>
                    <a:pt x="18" y="372"/>
                  </a:lnTo>
                  <a:lnTo>
                    <a:pt x="30" y="348"/>
                  </a:lnTo>
                  <a:lnTo>
                    <a:pt x="30" y="342"/>
                  </a:lnTo>
                  <a:lnTo>
                    <a:pt x="42" y="330"/>
                  </a:lnTo>
                  <a:lnTo>
                    <a:pt x="42" y="324"/>
                  </a:lnTo>
                  <a:lnTo>
                    <a:pt x="48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60" y="282"/>
                  </a:lnTo>
                  <a:lnTo>
                    <a:pt x="60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2" y="258"/>
                  </a:lnTo>
                  <a:lnTo>
                    <a:pt x="84" y="246"/>
                  </a:lnTo>
                  <a:lnTo>
                    <a:pt x="90" y="234"/>
                  </a:lnTo>
                  <a:lnTo>
                    <a:pt x="96" y="234"/>
                  </a:lnTo>
                  <a:lnTo>
                    <a:pt x="96" y="228"/>
                  </a:lnTo>
                  <a:lnTo>
                    <a:pt x="102" y="222"/>
                  </a:lnTo>
                  <a:lnTo>
                    <a:pt x="102" y="228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14" y="228"/>
                  </a:lnTo>
                  <a:lnTo>
                    <a:pt x="114" y="234"/>
                  </a:lnTo>
                  <a:lnTo>
                    <a:pt x="120" y="228"/>
                  </a:lnTo>
                  <a:lnTo>
                    <a:pt x="120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26" y="228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8" y="234"/>
                  </a:lnTo>
                  <a:lnTo>
                    <a:pt x="144" y="234"/>
                  </a:lnTo>
                  <a:lnTo>
                    <a:pt x="144" y="228"/>
                  </a:lnTo>
                  <a:lnTo>
                    <a:pt x="150" y="228"/>
                  </a:lnTo>
                  <a:lnTo>
                    <a:pt x="156" y="228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46"/>
                  </a:lnTo>
                  <a:lnTo>
                    <a:pt x="162" y="240"/>
                  </a:lnTo>
                  <a:lnTo>
                    <a:pt x="162" y="246"/>
                  </a:lnTo>
                  <a:lnTo>
                    <a:pt x="162" y="258"/>
                  </a:lnTo>
                  <a:lnTo>
                    <a:pt x="162" y="264"/>
                  </a:lnTo>
                  <a:lnTo>
                    <a:pt x="156" y="270"/>
                  </a:lnTo>
                  <a:lnTo>
                    <a:pt x="162" y="270"/>
                  </a:lnTo>
                  <a:lnTo>
                    <a:pt x="162" y="282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86" y="288"/>
                  </a:lnTo>
                  <a:lnTo>
                    <a:pt x="186" y="294"/>
                  </a:lnTo>
                  <a:lnTo>
                    <a:pt x="180" y="300"/>
                  </a:lnTo>
                  <a:lnTo>
                    <a:pt x="174" y="318"/>
                  </a:lnTo>
                  <a:lnTo>
                    <a:pt x="174" y="324"/>
                  </a:lnTo>
                  <a:lnTo>
                    <a:pt x="168" y="330"/>
                  </a:lnTo>
                  <a:lnTo>
                    <a:pt x="168" y="342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74" y="360"/>
                  </a:lnTo>
                  <a:lnTo>
                    <a:pt x="180" y="366"/>
                  </a:lnTo>
                  <a:lnTo>
                    <a:pt x="186" y="3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8" name="Freeform 23">
              <a:extLst>
                <a:ext uri="{FF2B5EF4-FFF2-40B4-BE49-F238E27FC236}">
                  <a16:creationId xmlns:a16="http://schemas.microsoft.com/office/drawing/2014/main" id="{A539A33E-3F6E-4AF7-BD88-1853165307F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6312" y="3604793"/>
              <a:ext cx="581410" cy="621747"/>
            </a:xfrm>
            <a:custGeom>
              <a:avLst/>
              <a:gdLst>
                <a:gd name="T0" fmla="*/ 90 w 1092"/>
                <a:gd name="T1" fmla="*/ 60 h 1170"/>
                <a:gd name="T2" fmla="*/ 83 w 1092"/>
                <a:gd name="T3" fmla="*/ 62 h 1170"/>
                <a:gd name="T4" fmla="*/ 72 w 1092"/>
                <a:gd name="T5" fmla="*/ 68 h 1170"/>
                <a:gd name="T6" fmla="*/ 68 w 1092"/>
                <a:gd name="T7" fmla="*/ 71 h 1170"/>
                <a:gd name="T8" fmla="*/ 61 w 1092"/>
                <a:gd name="T9" fmla="*/ 69 h 1170"/>
                <a:gd name="T10" fmla="*/ 64 w 1092"/>
                <a:gd name="T11" fmla="*/ 82 h 1170"/>
                <a:gd name="T12" fmla="*/ 67 w 1092"/>
                <a:gd name="T13" fmla="*/ 93 h 1170"/>
                <a:gd name="T14" fmla="*/ 62 w 1092"/>
                <a:gd name="T15" fmla="*/ 96 h 1170"/>
                <a:gd name="T16" fmla="*/ 59 w 1092"/>
                <a:gd name="T17" fmla="*/ 99 h 1170"/>
                <a:gd name="T18" fmla="*/ 53 w 1092"/>
                <a:gd name="T19" fmla="*/ 101 h 1170"/>
                <a:gd name="T20" fmla="*/ 50 w 1092"/>
                <a:gd name="T21" fmla="*/ 100 h 1170"/>
                <a:gd name="T22" fmla="*/ 50 w 1092"/>
                <a:gd name="T23" fmla="*/ 93 h 1170"/>
                <a:gd name="T24" fmla="*/ 37 w 1092"/>
                <a:gd name="T25" fmla="*/ 85 h 1170"/>
                <a:gd name="T26" fmla="*/ 32 w 1092"/>
                <a:gd name="T27" fmla="*/ 86 h 1170"/>
                <a:gd name="T28" fmla="*/ 29 w 1092"/>
                <a:gd name="T29" fmla="*/ 88 h 1170"/>
                <a:gd name="T30" fmla="*/ 27 w 1092"/>
                <a:gd name="T31" fmla="*/ 86 h 1170"/>
                <a:gd name="T32" fmla="*/ 23 w 1092"/>
                <a:gd name="T33" fmla="*/ 87 h 1170"/>
                <a:gd name="T34" fmla="*/ 17 w 1092"/>
                <a:gd name="T35" fmla="*/ 87 h 1170"/>
                <a:gd name="T36" fmla="*/ 18 w 1092"/>
                <a:gd name="T37" fmla="*/ 89 h 1170"/>
                <a:gd name="T38" fmla="*/ 16 w 1092"/>
                <a:gd name="T39" fmla="*/ 92 h 1170"/>
                <a:gd name="T40" fmla="*/ 12 w 1092"/>
                <a:gd name="T41" fmla="*/ 89 h 1170"/>
                <a:gd name="T42" fmla="*/ 13 w 1092"/>
                <a:gd name="T43" fmla="*/ 84 h 1170"/>
                <a:gd name="T44" fmla="*/ 12 w 1092"/>
                <a:gd name="T45" fmla="*/ 80 h 1170"/>
                <a:gd name="T46" fmla="*/ 10 w 1092"/>
                <a:gd name="T47" fmla="*/ 80 h 1170"/>
                <a:gd name="T48" fmla="*/ 8 w 1092"/>
                <a:gd name="T49" fmla="*/ 79 h 1170"/>
                <a:gd name="T50" fmla="*/ 6 w 1092"/>
                <a:gd name="T51" fmla="*/ 78 h 1170"/>
                <a:gd name="T52" fmla="*/ 6 w 1092"/>
                <a:gd name="T53" fmla="*/ 77 h 1170"/>
                <a:gd name="T54" fmla="*/ 4 w 1092"/>
                <a:gd name="T55" fmla="*/ 75 h 1170"/>
                <a:gd name="T56" fmla="*/ 0 w 1092"/>
                <a:gd name="T57" fmla="*/ 72 h 1170"/>
                <a:gd name="T58" fmla="*/ 0 w 1092"/>
                <a:gd name="T59" fmla="*/ 69 h 1170"/>
                <a:gd name="T60" fmla="*/ 3 w 1092"/>
                <a:gd name="T61" fmla="*/ 67 h 1170"/>
                <a:gd name="T62" fmla="*/ 6 w 1092"/>
                <a:gd name="T63" fmla="*/ 62 h 1170"/>
                <a:gd name="T64" fmla="*/ 8 w 1092"/>
                <a:gd name="T65" fmla="*/ 58 h 1170"/>
                <a:gd name="T66" fmla="*/ 5 w 1092"/>
                <a:gd name="T67" fmla="*/ 54 h 1170"/>
                <a:gd name="T68" fmla="*/ 6 w 1092"/>
                <a:gd name="T69" fmla="*/ 50 h 1170"/>
                <a:gd name="T70" fmla="*/ 8 w 1092"/>
                <a:gd name="T71" fmla="*/ 46 h 1170"/>
                <a:gd name="T72" fmla="*/ 10 w 1092"/>
                <a:gd name="T73" fmla="*/ 43 h 1170"/>
                <a:gd name="T74" fmla="*/ 14 w 1092"/>
                <a:gd name="T75" fmla="*/ 38 h 1170"/>
                <a:gd name="T76" fmla="*/ 31 w 1092"/>
                <a:gd name="T77" fmla="*/ 40 h 1170"/>
                <a:gd name="T78" fmla="*/ 30 w 1092"/>
                <a:gd name="T79" fmla="*/ 46 h 1170"/>
                <a:gd name="T80" fmla="*/ 36 w 1092"/>
                <a:gd name="T81" fmla="*/ 47 h 1170"/>
                <a:gd name="T82" fmla="*/ 41 w 1092"/>
                <a:gd name="T83" fmla="*/ 44 h 1170"/>
                <a:gd name="T84" fmla="*/ 43 w 1092"/>
                <a:gd name="T85" fmla="*/ 39 h 1170"/>
                <a:gd name="T86" fmla="*/ 44 w 1092"/>
                <a:gd name="T87" fmla="*/ 35 h 1170"/>
                <a:gd name="T88" fmla="*/ 44 w 1092"/>
                <a:gd name="T89" fmla="*/ 29 h 1170"/>
                <a:gd name="T90" fmla="*/ 48 w 1092"/>
                <a:gd name="T91" fmla="*/ 24 h 1170"/>
                <a:gd name="T92" fmla="*/ 49 w 1092"/>
                <a:gd name="T93" fmla="*/ 19 h 1170"/>
                <a:gd name="T94" fmla="*/ 51 w 1092"/>
                <a:gd name="T95" fmla="*/ 14 h 1170"/>
                <a:gd name="T96" fmla="*/ 54 w 1092"/>
                <a:gd name="T97" fmla="*/ 10 h 1170"/>
                <a:gd name="T98" fmla="*/ 53 w 1092"/>
                <a:gd name="T99" fmla="*/ 7 h 1170"/>
                <a:gd name="T100" fmla="*/ 55 w 1092"/>
                <a:gd name="T101" fmla="*/ 3 h 1170"/>
                <a:gd name="T102" fmla="*/ 58 w 1092"/>
                <a:gd name="T103" fmla="*/ 0 h 1170"/>
                <a:gd name="T104" fmla="*/ 65 w 1092"/>
                <a:gd name="T105" fmla="*/ 2 h 1170"/>
                <a:gd name="T106" fmla="*/ 61 w 1092"/>
                <a:gd name="T107" fmla="*/ 6 h 1170"/>
                <a:gd name="T108" fmla="*/ 67 w 1092"/>
                <a:gd name="T109" fmla="*/ 7 h 1170"/>
                <a:gd name="T110" fmla="*/ 71 w 1092"/>
                <a:gd name="T111" fmla="*/ 6 h 1170"/>
                <a:gd name="T112" fmla="*/ 75 w 1092"/>
                <a:gd name="T113" fmla="*/ 9 h 1170"/>
                <a:gd name="T114" fmla="*/ 82 w 1092"/>
                <a:gd name="T115" fmla="*/ 12 h 1170"/>
                <a:gd name="T116" fmla="*/ 84 w 1092"/>
                <a:gd name="T117" fmla="*/ 17 h 1170"/>
                <a:gd name="T118" fmla="*/ 94 w 1092"/>
                <a:gd name="T119" fmla="*/ 23 h 1170"/>
                <a:gd name="T120" fmla="*/ 94 w 1092"/>
                <a:gd name="T121" fmla="*/ 34 h 1170"/>
                <a:gd name="T122" fmla="*/ 90 w 1092"/>
                <a:gd name="T123" fmla="*/ 41 h 1170"/>
                <a:gd name="T124" fmla="*/ 91 w 1092"/>
                <a:gd name="T125" fmla="*/ 51 h 11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92"/>
                <a:gd name="T190" fmla="*/ 0 h 1170"/>
                <a:gd name="T191" fmla="*/ 1092 w 1092"/>
                <a:gd name="T192" fmla="*/ 1170 h 117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92" h="1170">
                  <a:moveTo>
                    <a:pt x="1056" y="654"/>
                  </a:moveTo>
                  <a:lnTo>
                    <a:pt x="1062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0"/>
                  </a:lnTo>
                  <a:lnTo>
                    <a:pt x="1038" y="690"/>
                  </a:lnTo>
                  <a:lnTo>
                    <a:pt x="1032" y="690"/>
                  </a:lnTo>
                  <a:lnTo>
                    <a:pt x="1026" y="690"/>
                  </a:lnTo>
                  <a:lnTo>
                    <a:pt x="1020" y="690"/>
                  </a:lnTo>
                  <a:lnTo>
                    <a:pt x="1002" y="690"/>
                  </a:lnTo>
                  <a:lnTo>
                    <a:pt x="990" y="690"/>
                  </a:lnTo>
                  <a:lnTo>
                    <a:pt x="972" y="696"/>
                  </a:lnTo>
                  <a:lnTo>
                    <a:pt x="966" y="696"/>
                  </a:lnTo>
                  <a:lnTo>
                    <a:pt x="960" y="696"/>
                  </a:lnTo>
                  <a:lnTo>
                    <a:pt x="954" y="708"/>
                  </a:lnTo>
                  <a:lnTo>
                    <a:pt x="954" y="714"/>
                  </a:lnTo>
                  <a:lnTo>
                    <a:pt x="942" y="714"/>
                  </a:lnTo>
                  <a:lnTo>
                    <a:pt x="930" y="732"/>
                  </a:lnTo>
                  <a:lnTo>
                    <a:pt x="918" y="744"/>
                  </a:lnTo>
                  <a:lnTo>
                    <a:pt x="918" y="750"/>
                  </a:lnTo>
                  <a:lnTo>
                    <a:pt x="888" y="762"/>
                  </a:lnTo>
                  <a:lnTo>
                    <a:pt x="870" y="762"/>
                  </a:lnTo>
                  <a:lnTo>
                    <a:pt x="846" y="774"/>
                  </a:lnTo>
                  <a:lnTo>
                    <a:pt x="828" y="780"/>
                  </a:lnTo>
                  <a:lnTo>
                    <a:pt x="828" y="774"/>
                  </a:lnTo>
                  <a:lnTo>
                    <a:pt x="816" y="768"/>
                  </a:lnTo>
                  <a:lnTo>
                    <a:pt x="816" y="780"/>
                  </a:lnTo>
                  <a:lnTo>
                    <a:pt x="804" y="780"/>
                  </a:lnTo>
                  <a:lnTo>
                    <a:pt x="804" y="786"/>
                  </a:lnTo>
                  <a:lnTo>
                    <a:pt x="792" y="792"/>
                  </a:lnTo>
                  <a:lnTo>
                    <a:pt x="792" y="804"/>
                  </a:lnTo>
                  <a:lnTo>
                    <a:pt x="780" y="816"/>
                  </a:lnTo>
                  <a:lnTo>
                    <a:pt x="774" y="822"/>
                  </a:lnTo>
                  <a:lnTo>
                    <a:pt x="762" y="828"/>
                  </a:lnTo>
                  <a:lnTo>
                    <a:pt x="756" y="822"/>
                  </a:lnTo>
                  <a:lnTo>
                    <a:pt x="750" y="798"/>
                  </a:lnTo>
                  <a:lnTo>
                    <a:pt x="738" y="792"/>
                  </a:lnTo>
                  <a:lnTo>
                    <a:pt x="720" y="786"/>
                  </a:lnTo>
                  <a:lnTo>
                    <a:pt x="708" y="786"/>
                  </a:lnTo>
                  <a:lnTo>
                    <a:pt x="696" y="798"/>
                  </a:lnTo>
                  <a:lnTo>
                    <a:pt x="690" y="810"/>
                  </a:lnTo>
                  <a:lnTo>
                    <a:pt x="684" y="828"/>
                  </a:lnTo>
                  <a:lnTo>
                    <a:pt x="690" y="840"/>
                  </a:lnTo>
                  <a:lnTo>
                    <a:pt x="708" y="858"/>
                  </a:lnTo>
                  <a:lnTo>
                    <a:pt x="720" y="894"/>
                  </a:lnTo>
                  <a:lnTo>
                    <a:pt x="714" y="906"/>
                  </a:lnTo>
                  <a:lnTo>
                    <a:pt x="714" y="918"/>
                  </a:lnTo>
                  <a:lnTo>
                    <a:pt x="738" y="948"/>
                  </a:lnTo>
                  <a:lnTo>
                    <a:pt x="774" y="972"/>
                  </a:lnTo>
                  <a:lnTo>
                    <a:pt x="780" y="984"/>
                  </a:lnTo>
                  <a:lnTo>
                    <a:pt x="792" y="996"/>
                  </a:lnTo>
                  <a:lnTo>
                    <a:pt x="792" y="1026"/>
                  </a:lnTo>
                  <a:lnTo>
                    <a:pt x="780" y="1044"/>
                  </a:lnTo>
                  <a:lnTo>
                    <a:pt x="774" y="1050"/>
                  </a:lnTo>
                  <a:lnTo>
                    <a:pt x="768" y="1062"/>
                  </a:lnTo>
                  <a:lnTo>
                    <a:pt x="768" y="1068"/>
                  </a:lnTo>
                  <a:lnTo>
                    <a:pt x="762" y="1074"/>
                  </a:lnTo>
                  <a:lnTo>
                    <a:pt x="762" y="1080"/>
                  </a:lnTo>
                  <a:lnTo>
                    <a:pt x="756" y="1080"/>
                  </a:lnTo>
                  <a:lnTo>
                    <a:pt x="744" y="1086"/>
                  </a:lnTo>
                  <a:lnTo>
                    <a:pt x="744" y="1092"/>
                  </a:lnTo>
                  <a:lnTo>
                    <a:pt x="738" y="1092"/>
                  </a:lnTo>
                  <a:lnTo>
                    <a:pt x="726" y="1098"/>
                  </a:lnTo>
                  <a:lnTo>
                    <a:pt x="720" y="1104"/>
                  </a:lnTo>
                  <a:lnTo>
                    <a:pt x="714" y="1104"/>
                  </a:lnTo>
                  <a:lnTo>
                    <a:pt x="702" y="1116"/>
                  </a:lnTo>
                  <a:lnTo>
                    <a:pt x="696" y="1122"/>
                  </a:lnTo>
                  <a:lnTo>
                    <a:pt x="696" y="1134"/>
                  </a:lnTo>
                  <a:lnTo>
                    <a:pt x="690" y="1134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72" y="1146"/>
                  </a:lnTo>
                  <a:lnTo>
                    <a:pt x="672" y="1152"/>
                  </a:lnTo>
                  <a:lnTo>
                    <a:pt x="660" y="1152"/>
                  </a:lnTo>
                  <a:lnTo>
                    <a:pt x="642" y="1152"/>
                  </a:lnTo>
                  <a:lnTo>
                    <a:pt x="636" y="1152"/>
                  </a:lnTo>
                  <a:lnTo>
                    <a:pt x="630" y="1158"/>
                  </a:lnTo>
                  <a:lnTo>
                    <a:pt x="624" y="1164"/>
                  </a:lnTo>
                  <a:lnTo>
                    <a:pt x="618" y="1170"/>
                  </a:lnTo>
                  <a:lnTo>
                    <a:pt x="612" y="1170"/>
                  </a:lnTo>
                  <a:lnTo>
                    <a:pt x="600" y="1170"/>
                  </a:lnTo>
                  <a:lnTo>
                    <a:pt x="594" y="1170"/>
                  </a:lnTo>
                  <a:lnTo>
                    <a:pt x="588" y="1170"/>
                  </a:lnTo>
                  <a:lnTo>
                    <a:pt x="582" y="1170"/>
                  </a:lnTo>
                  <a:lnTo>
                    <a:pt x="582" y="1164"/>
                  </a:lnTo>
                  <a:lnTo>
                    <a:pt x="576" y="1158"/>
                  </a:lnTo>
                  <a:lnTo>
                    <a:pt x="570" y="1158"/>
                  </a:lnTo>
                  <a:lnTo>
                    <a:pt x="570" y="1152"/>
                  </a:lnTo>
                  <a:lnTo>
                    <a:pt x="570" y="1146"/>
                  </a:lnTo>
                  <a:lnTo>
                    <a:pt x="570" y="1140"/>
                  </a:lnTo>
                  <a:lnTo>
                    <a:pt x="564" y="1140"/>
                  </a:lnTo>
                  <a:lnTo>
                    <a:pt x="564" y="1134"/>
                  </a:lnTo>
                  <a:lnTo>
                    <a:pt x="564" y="1128"/>
                  </a:lnTo>
                  <a:lnTo>
                    <a:pt x="576" y="1104"/>
                  </a:lnTo>
                  <a:lnTo>
                    <a:pt x="582" y="1086"/>
                  </a:lnTo>
                  <a:lnTo>
                    <a:pt x="570" y="1068"/>
                  </a:lnTo>
                  <a:lnTo>
                    <a:pt x="534" y="1056"/>
                  </a:lnTo>
                  <a:lnTo>
                    <a:pt x="516" y="1026"/>
                  </a:lnTo>
                  <a:lnTo>
                    <a:pt x="492" y="1020"/>
                  </a:lnTo>
                  <a:lnTo>
                    <a:pt x="492" y="1014"/>
                  </a:lnTo>
                  <a:lnTo>
                    <a:pt x="480" y="1008"/>
                  </a:lnTo>
                  <a:lnTo>
                    <a:pt x="474" y="996"/>
                  </a:lnTo>
                  <a:lnTo>
                    <a:pt x="444" y="984"/>
                  </a:lnTo>
                  <a:lnTo>
                    <a:pt x="426" y="978"/>
                  </a:lnTo>
                  <a:lnTo>
                    <a:pt x="420" y="972"/>
                  </a:lnTo>
                  <a:lnTo>
                    <a:pt x="408" y="984"/>
                  </a:lnTo>
                  <a:lnTo>
                    <a:pt x="402" y="984"/>
                  </a:lnTo>
                  <a:lnTo>
                    <a:pt x="396" y="984"/>
                  </a:lnTo>
                  <a:lnTo>
                    <a:pt x="390" y="984"/>
                  </a:lnTo>
                  <a:lnTo>
                    <a:pt x="384" y="990"/>
                  </a:lnTo>
                  <a:lnTo>
                    <a:pt x="378" y="990"/>
                  </a:lnTo>
                  <a:lnTo>
                    <a:pt x="372" y="990"/>
                  </a:lnTo>
                  <a:lnTo>
                    <a:pt x="372" y="996"/>
                  </a:lnTo>
                  <a:lnTo>
                    <a:pt x="366" y="996"/>
                  </a:lnTo>
                  <a:lnTo>
                    <a:pt x="360" y="1002"/>
                  </a:lnTo>
                  <a:lnTo>
                    <a:pt x="360" y="1008"/>
                  </a:lnTo>
                  <a:lnTo>
                    <a:pt x="354" y="1008"/>
                  </a:lnTo>
                  <a:lnTo>
                    <a:pt x="342" y="1014"/>
                  </a:lnTo>
                  <a:lnTo>
                    <a:pt x="336" y="1020"/>
                  </a:lnTo>
                  <a:lnTo>
                    <a:pt x="336" y="1014"/>
                  </a:lnTo>
                  <a:lnTo>
                    <a:pt x="330" y="1014"/>
                  </a:lnTo>
                  <a:lnTo>
                    <a:pt x="330" y="1008"/>
                  </a:lnTo>
                  <a:lnTo>
                    <a:pt x="330" y="1002"/>
                  </a:lnTo>
                  <a:lnTo>
                    <a:pt x="324" y="1002"/>
                  </a:lnTo>
                  <a:lnTo>
                    <a:pt x="324" y="996"/>
                  </a:lnTo>
                  <a:lnTo>
                    <a:pt x="324" y="990"/>
                  </a:lnTo>
                  <a:lnTo>
                    <a:pt x="318" y="990"/>
                  </a:lnTo>
                  <a:lnTo>
                    <a:pt x="306" y="996"/>
                  </a:lnTo>
                  <a:lnTo>
                    <a:pt x="300" y="996"/>
                  </a:lnTo>
                  <a:lnTo>
                    <a:pt x="294" y="996"/>
                  </a:lnTo>
                  <a:lnTo>
                    <a:pt x="288" y="1002"/>
                  </a:lnTo>
                  <a:lnTo>
                    <a:pt x="282" y="990"/>
                  </a:lnTo>
                  <a:lnTo>
                    <a:pt x="276" y="984"/>
                  </a:lnTo>
                  <a:lnTo>
                    <a:pt x="270" y="990"/>
                  </a:lnTo>
                  <a:lnTo>
                    <a:pt x="270" y="996"/>
                  </a:lnTo>
                  <a:lnTo>
                    <a:pt x="270" y="1002"/>
                  </a:lnTo>
                  <a:lnTo>
                    <a:pt x="264" y="1008"/>
                  </a:lnTo>
                  <a:lnTo>
                    <a:pt x="252" y="996"/>
                  </a:lnTo>
                  <a:lnTo>
                    <a:pt x="246" y="996"/>
                  </a:lnTo>
                  <a:lnTo>
                    <a:pt x="234" y="1002"/>
                  </a:lnTo>
                  <a:lnTo>
                    <a:pt x="222" y="1002"/>
                  </a:lnTo>
                  <a:lnTo>
                    <a:pt x="210" y="1002"/>
                  </a:lnTo>
                  <a:lnTo>
                    <a:pt x="198" y="996"/>
                  </a:lnTo>
                  <a:lnTo>
                    <a:pt x="198" y="1002"/>
                  </a:lnTo>
                  <a:lnTo>
                    <a:pt x="198" y="1008"/>
                  </a:lnTo>
                  <a:lnTo>
                    <a:pt x="192" y="1020"/>
                  </a:lnTo>
                  <a:lnTo>
                    <a:pt x="198" y="1020"/>
                  </a:lnTo>
                  <a:lnTo>
                    <a:pt x="204" y="1020"/>
                  </a:lnTo>
                  <a:lnTo>
                    <a:pt x="210" y="1026"/>
                  </a:lnTo>
                  <a:lnTo>
                    <a:pt x="216" y="1026"/>
                  </a:lnTo>
                  <a:lnTo>
                    <a:pt x="216" y="1032"/>
                  </a:lnTo>
                  <a:lnTo>
                    <a:pt x="210" y="1032"/>
                  </a:lnTo>
                  <a:lnTo>
                    <a:pt x="210" y="1038"/>
                  </a:lnTo>
                  <a:lnTo>
                    <a:pt x="204" y="1038"/>
                  </a:lnTo>
                  <a:lnTo>
                    <a:pt x="204" y="1044"/>
                  </a:lnTo>
                  <a:lnTo>
                    <a:pt x="198" y="1044"/>
                  </a:lnTo>
                  <a:lnTo>
                    <a:pt x="192" y="1044"/>
                  </a:lnTo>
                  <a:lnTo>
                    <a:pt x="186" y="1050"/>
                  </a:lnTo>
                  <a:lnTo>
                    <a:pt x="186" y="1056"/>
                  </a:lnTo>
                  <a:lnTo>
                    <a:pt x="180" y="1056"/>
                  </a:lnTo>
                  <a:lnTo>
                    <a:pt x="180" y="1062"/>
                  </a:lnTo>
                  <a:lnTo>
                    <a:pt x="174" y="1062"/>
                  </a:lnTo>
                  <a:lnTo>
                    <a:pt x="168" y="1062"/>
                  </a:lnTo>
                  <a:lnTo>
                    <a:pt x="162" y="1062"/>
                  </a:lnTo>
                  <a:lnTo>
                    <a:pt x="156" y="1050"/>
                  </a:lnTo>
                  <a:lnTo>
                    <a:pt x="150" y="1044"/>
                  </a:lnTo>
                  <a:lnTo>
                    <a:pt x="150" y="1038"/>
                  </a:lnTo>
                  <a:lnTo>
                    <a:pt x="144" y="1032"/>
                  </a:lnTo>
                  <a:lnTo>
                    <a:pt x="144" y="1026"/>
                  </a:lnTo>
                  <a:lnTo>
                    <a:pt x="144" y="1014"/>
                  </a:lnTo>
                  <a:lnTo>
                    <a:pt x="150" y="1008"/>
                  </a:lnTo>
                  <a:lnTo>
                    <a:pt x="150" y="1002"/>
                  </a:lnTo>
                  <a:lnTo>
                    <a:pt x="156" y="984"/>
                  </a:lnTo>
                  <a:lnTo>
                    <a:pt x="162" y="978"/>
                  </a:lnTo>
                  <a:lnTo>
                    <a:pt x="162" y="972"/>
                  </a:lnTo>
                  <a:lnTo>
                    <a:pt x="150" y="966"/>
                  </a:lnTo>
                  <a:lnTo>
                    <a:pt x="144" y="966"/>
                  </a:lnTo>
                  <a:lnTo>
                    <a:pt x="138" y="966"/>
                  </a:lnTo>
                  <a:lnTo>
                    <a:pt x="138" y="954"/>
                  </a:lnTo>
                  <a:lnTo>
                    <a:pt x="132" y="954"/>
                  </a:lnTo>
                  <a:lnTo>
                    <a:pt x="138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8" y="924"/>
                  </a:lnTo>
                  <a:lnTo>
                    <a:pt x="132" y="930"/>
                  </a:lnTo>
                  <a:lnTo>
                    <a:pt x="132" y="924"/>
                  </a:lnTo>
                  <a:lnTo>
                    <a:pt x="126" y="918"/>
                  </a:lnTo>
                  <a:lnTo>
                    <a:pt x="132" y="918"/>
                  </a:lnTo>
                  <a:lnTo>
                    <a:pt x="132" y="912"/>
                  </a:lnTo>
                  <a:lnTo>
                    <a:pt x="126" y="912"/>
                  </a:lnTo>
                  <a:lnTo>
                    <a:pt x="120" y="912"/>
                  </a:lnTo>
                  <a:lnTo>
                    <a:pt x="120" y="918"/>
                  </a:lnTo>
                  <a:lnTo>
                    <a:pt x="114" y="918"/>
                  </a:lnTo>
                  <a:lnTo>
                    <a:pt x="114" y="912"/>
                  </a:lnTo>
                  <a:lnTo>
                    <a:pt x="108" y="912"/>
                  </a:lnTo>
                  <a:lnTo>
                    <a:pt x="102" y="912"/>
                  </a:lnTo>
                  <a:lnTo>
                    <a:pt x="108" y="906"/>
                  </a:lnTo>
                  <a:lnTo>
                    <a:pt x="102" y="906"/>
                  </a:lnTo>
                  <a:lnTo>
                    <a:pt x="96" y="906"/>
                  </a:lnTo>
                  <a:lnTo>
                    <a:pt x="96" y="912"/>
                  </a:lnTo>
                  <a:lnTo>
                    <a:pt x="90" y="918"/>
                  </a:lnTo>
                  <a:lnTo>
                    <a:pt x="90" y="912"/>
                  </a:lnTo>
                  <a:lnTo>
                    <a:pt x="84" y="912"/>
                  </a:lnTo>
                  <a:lnTo>
                    <a:pt x="84" y="918"/>
                  </a:lnTo>
                  <a:lnTo>
                    <a:pt x="78" y="918"/>
                  </a:lnTo>
                  <a:lnTo>
                    <a:pt x="78" y="912"/>
                  </a:lnTo>
                  <a:lnTo>
                    <a:pt x="78" y="906"/>
                  </a:lnTo>
                  <a:lnTo>
                    <a:pt x="72" y="900"/>
                  </a:lnTo>
                  <a:lnTo>
                    <a:pt x="78" y="900"/>
                  </a:lnTo>
                  <a:lnTo>
                    <a:pt x="72" y="900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8" y="888"/>
                  </a:lnTo>
                  <a:lnTo>
                    <a:pt x="72" y="888"/>
                  </a:lnTo>
                  <a:lnTo>
                    <a:pt x="72" y="882"/>
                  </a:lnTo>
                  <a:lnTo>
                    <a:pt x="66" y="876"/>
                  </a:lnTo>
                  <a:lnTo>
                    <a:pt x="60" y="882"/>
                  </a:lnTo>
                  <a:lnTo>
                    <a:pt x="54" y="876"/>
                  </a:lnTo>
                  <a:lnTo>
                    <a:pt x="54" y="882"/>
                  </a:lnTo>
                  <a:lnTo>
                    <a:pt x="48" y="882"/>
                  </a:lnTo>
                  <a:lnTo>
                    <a:pt x="42" y="870"/>
                  </a:lnTo>
                  <a:lnTo>
                    <a:pt x="42" y="864"/>
                  </a:lnTo>
                  <a:lnTo>
                    <a:pt x="36" y="858"/>
                  </a:lnTo>
                  <a:lnTo>
                    <a:pt x="36" y="852"/>
                  </a:lnTo>
                  <a:lnTo>
                    <a:pt x="30" y="852"/>
                  </a:lnTo>
                  <a:lnTo>
                    <a:pt x="30" y="846"/>
                  </a:lnTo>
                  <a:lnTo>
                    <a:pt x="24" y="846"/>
                  </a:lnTo>
                  <a:lnTo>
                    <a:pt x="18" y="840"/>
                  </a:lnTo>
                  <a:lnTo>
                    <a:pt x="12" y="834"/>
                  </a:lnTo>
                  <a:lnTo>
                    <a:pt x="0" y="828"/>
                  </a:lnTo>
                  <a:lnTo>
                    <a:pt x="0" y="822"/>
                  </a:lnTo>
                  <a:lnTo>
                    <a:pt x="0" y="816"/>
                  </a:lnTo>
                  <a:lnTo>
                    <a:pt x="0" y="810"/>
                  </a:lnTo>
                  <a:lnTo>
                    <a:pt x="6" y="804"/>
                  </a:lnTo>
                  <a:lnTo>
                    <a:pt x="12" y="804"/>
                  </a:lnTo>
                  <a:lnTo>
                    <a:pt x="12" y="798"/>
                  </a:lnTo>
                  <a:lnTo>
                    <a:pt x="12" y="792"/>
                  </a:lnTo>
                  <a:lnTo>
                    <a:pt x="6" y="792"/>
                  </a:lnTo>
                  <a:lnTo>
                    <a:pt x="6" y="786"/>
                  </a:lnTo>
                  <a:lnTo>
                    <a:pt x="6" y="780"/>
                  </a:lnTo>
                  <a:lnTo>
                    <a:pt x="18" y="780"/>
                  </a:lnTo>
                  <a:lnTo>
                    <a:pt x="18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0" y="774"/>
                  </a:lnTo>
                  <a:lnTo>
                    <a:pt x="36" y="768"/>
                  </a:lnTo>
                  <a:lnTo>
                    <a:pt x="42" y="768"/>
                  </a:lnTo>
                  <a:lnTo>
                    <a:pt x="60" y="750"/>
                  </a:lnTo>
                  <a:lnTo>
                    <a:pt x="60" y="744"/>
                  </a:lnTo>
                  <a:lnTo>
                    <a:pt x="54" y="738"/>
                  </a:lnTo>
                  <a:lnTo>
                    <a:pt x="60" y="732"/>
                  </a:lnTo>
                  <a:lnTo>
                    <a:pt x="54" y="732"/>
                  </a:lnTo>
                  <a:lnTo>
                    <a:pt x="60" y="726"/>
                  </a:lnTo>
                  <a:lnTo>
                    <a:pt x="66" y="720"/>
                  </a:lnTo>
                  <a:lnTo>
                    <a:pt x="72" y="714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84" y="696"/>
                  </a:lnTo>
                  <a:lnTo>
                    <a:pt x="90" y="684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66"/>
                  </a:lnTo>
                  <a:lnTo>
                    <a:pt x="90" y="660"/>
                  </a:lnTo>
                  <a:lnTo>
                    <a:pt x="84" y="654"/>
                  </a:lnTo>
                  <a:lnTo>
                    <a:pt x="84" y="648"/>
                  </a:lnTo>
                  <a:lnTo>
                    <a:pt x="78" y="636"/>
                  </a:lnTo>
                  <a:lnTo>
                    <a:pt x="66" y="630"/>
                  </a:lnTo>
                  <a:lnTo>
                    <a:pt x="66" y="624"/>
                  </a:lnTo>
                  <a:lnTo>
                    <a:pt x="60" y="624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60" y="600"/>
                  </a:lnTo>
                  <a:lnTo>
                    <a:pt x="66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6" y="588"/>
                  </a:lnTo>
                  <a:lnTo>
                    <a:pt x="66" y="582"/>
                  </a:lnTo>
                  <a:lnTo>
                    <a:pt x="72" y="582"/>
                  </a:lnTo>
                  <a:lnTo>
                    <a:pt x="78" y="576"/>
                  </a:lnTo>
                  <a:lnTo>
                    <a:pt x="72" y="576"/>
                  </a:lnTo>
                  <a:lnTo>
                    <a:pt x="66" y="570"/>
                  </a:lnTo>
                  <a:lnTo>
                    <a:pt x="72" y="564"/>
                  </a:lnTo>
                  <a:lnTo>
                    <a:pt x="78" y="558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90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102" y="516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0" y="504"/>
                  </a:lnTo>
                  <a:lnTo>
                    <a:pt x="120" y="498"/>
                  </a:lnTo>
                  <a:lnTo>
                    <a:pt x="120" y="492"/>
                  </a:lnTo>
                  <a:lnTo>
                    <a:pt x="126" y="480"/>
                  </a:lnTo>
                  <a:lnTo>
                    <a:pt x="132" y="474"/>
                  </a:lnTo>
                  <a:lnTo>
                    <a:pt x="132" y="468"/>
                  </a:lnTo>
                  <a:lnTo>
                    <a:pt x="138" y="462"/>
                  </a:lnTo>
                  <a:lnTo>
                    <a:pt x="138" y="456"/>
                  </a:lnTo>
                  <a:lnTo>
                    <a:pt x="138" y="450"/>
                  </a:lnTo>
                  <a:lnTo>
                    <a:pt x="144" y="444"/>
                  </a:lnTo>
                  <a:lnTo>
                    <a:pt x="162" y="438"/>
                  </a:lnTo>
                  <a:lnTo>
                    <a:pt x="186" y="438"/>
                  </a:lnTo>
                  <a:lnTo>
                    <a:pt x="210" y="444"/>
                  </a:lnTo>
                  <a:lnTo>
                    <a:pt x="276" y="450"/>
                  </a:lnTo>
                  <a:lnTo>
                    <a:pt x="342" y="450"/>
                  </a:lnTo>
                  <a:lnTo>
                    <a:pt x="348" y="450"/>
                  </a:lnTo>
                  <a:lnTo>
                    <a:pt x="354" y="450"/>
                  </a:lnTo>
                  <a:lnTo>
                    <a:pt x="360" y="456"/>
                  </a:lnTo>
                  <a:lnTo>
                    <a:pt x="354" y="462"/>
                  </a:lnTo>
                  <a:lnTo>
                    <a:pt x="354" y="468"/>
                  </a:lnTo>
                  <a:lnTo>
                    <a:pt x="354" y="474"/>
                  </a:lnTo>
                  <a:lnTo>
                    <a:pt x="348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48" y="498"/>
                  </a:lnTo>
                  <a:lnTo>
                    <a:pt x="342" y="510"/>
                  </a:lnTo>
                  <a:lnTo>
                    <a:pt x="348" y="528"/>
                  </a:lnTo>
                  <a:lnTo>
                    <a:pt x="348" y="534"/>
                  </a:lnTo>
                  <a:lnTo>
                    <a:pt x="354" y="552"/>
                  </a:lnTo>
                  <a:lnTo>
                    <a:pt x="366" y="546"/>
                  </a:lnTo>
                  <a:lnTo>
                    <a:pt x="372" y="540"/>
                  </a:lnTo>
                  <a:lnTo>
                    <a:pt x="384" y="540"/>
                  </a:lnTo>
                  <a:lnTo>
                    <a:pt x="396" y="534"/>
                  </a:lnTo>
                  <a:lnTo>
                    <a:pt x="402" y="534"/>
                  </a:lnTo>
                  <a:lnTo>
                    <a:pt x="414" y="546"/>
                  </a:lnTo>
                  <a:lnTo>
                    <a:pt x="432" y="540"/>
                  </a:lnTo>
                  <a:lnTo>
                    <a:pt x="450" y="534"/>
                  </a:lnTo>
                  <a:lnTo>
                    <a:pt x="450" y="528"/>
                  </a:lnTo>
                  <a:lnTo>
                    <a:pt x="456" y="528"/>
                  </a:lnTo>
                  <a:lnTo>
                    <a:pt x="456" y="522"/>
                  </a:lnTo>
                  <a:lnTo>
                    <a:pt x="456" y="516"/>
                  </a:lnTo>
                  <a:lnTo>
                    <a:pt x="462" y="516"/>
                  </a:lnTo>
                  <a:lnTo>
                    <a:pt x="468" y="510"/>
                  </a:lnTo>
                  <a:lnTo>
                    <a:pt x="468" y="504"/>
                  </a:lnTo>
                  <a:lnTo>
                    <a:pt x="474" y="504"/>
                  </a:lnTo>
                  <a:lnTo>
                    <a:pt x="480" y="504"/>
                  </a:lnTo>
                  <a:lnTo>
                    <a:pt x="486" y="498"/>
                  </a:lnTo>
                  <a:lnTo>
                    <a:pt x="492" y="498"/>
                  </a:lnTo>
                  <a:lnTo>
                    <a:pt x="486" y="480"/>
                  </a:lnTo>
                  <a:lnTo>
                    <a:pt x="492" y="462"/>
                  </a:lnTo>
                  <a:lnTo>
                    <a:pt x="498" y="444"/>
                  </a:lnTo>
                  <a:lnTo>
                    <a:pt x="498" y="426"/>
                  </a:lnTo>
                  <a:lnTo>
                    <a:pt x="498" y="420"/>
                  </a:lnTo>
                  <a:lnTo>
                    <a:pt x="504" y="426"/>
                  </a:lnTo>
                  <a:lnTo>
                    <a:pt x="504" y="420"/>
                  </a:lnTo>
                  <a:lnTo>
                    <a:pt x="510" y="420"/>
                  </a:lnTo>
                  <a:lnTo>
                    <a:pt x="510" y="414"/>
                  </a:lnTo>
                  <a:lnTo>
                    <a:pt x="510" y="408"/>
                  </a:lnTo>
                  <a:lnTo>
                    <a:pt x="504" y="402"/>
                  </a:lnTo>
                  <a:lnTo>
                    <a:pt x="504" y="396"/>
                  </a:lnTo>
                  <a:lnTo>
                    <a:pt x="504" y="384"/>
                  </a:lnTo>
                  <a:lnTo>
                    <a:pt x="504" y="378"/>
                  </a:lnTo>
                  <a:lnTo>
                    <a:pt x="504" y="360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510" y="348"/>
                  </a:lnTo>
                  <a:lnTo>
                    <a:pt x="510" y="336"/>
                  </a:lnTo>
                  <a:lnTo>
                    <a:pt x="516" y="330"/>
                  </a:lnTo>
                  <a:lnTo>
                    <a:pt x="522" y="324"/>
                  </a:lnTo>
                  <a:lnTo>
                    <a:pt x="528" y="318"/>
                  </a:lnTo>
                  <a:lnTo>
                    <a:pt x="534" y="312"/>
                  </a:lnTo>
                  <a:lnTo>
                    <a:pt x="534" y="300"/>
                  </a:lnTo>
                  <a:lnTo>
                    <a:pt x="540" y="294"/>
                  </a:lnTo>
                  <a:lnTo>
                    <a:pt x="546" y="288"/>
                  </a:lnTo>
                  <a:lnTo>
                    <a:pt x="552" y="276"/>
                  </a:lnTo>
                  <a:lnTo>
                    <a:pt x="558" y="264"/>
                  </a:lnTo>
                  <a:lnTo>
                    <a:pt x="558" y="258"/>
                  </a:lnTo>
                  <a:lnTo>
                    <a:pt x="558" y="252"/>
                  </a:lnTo>
                  <a:lnTo>
                    <a:pt x="558" y="246"/>
                  </a:lnTo>
                  <a:lnTo>
                    <a:pt x="564" y="246"/>
                  </a:lnTo>
                  <a:lnTo>
                    <a:pt x="564" y="240"/>
                  </a:lnTo>
                  <a:lnTo>
                    <a:pt x="570" y="234"/>
                  </a:lnTo>
                  <a:lnTo>
                    <a:pt x="564" y="216"/>
                  </a:lnTo>
                  <a:lnTo>
                    <a:pt x="564" y="210"/>
                  </a:lnTo>
                  <a:lnTo>
                    <a:pt x="570" y="210"/>
                  </a:lnTo>
                  <a:lnTo>
                    <a:pt x="570" y="204"/>
                  </a:lnTo>
                  <a:lnTo>
                    <a:pt x="570" y="198"/>
                  </a:lnTo>
                  <a:lnTo>
                    <a:pt x="582" y="180"/>
                  </a:lnTo>
                  <a:lnTo>
                    <a:pt x="582" y="174"/>
                  </a:lnTo>
                  <a:lnTo>
                    <a:pt x="582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606" y="150"/>
                  </a:lnTo>
                  <a:lnTo>
                    <a:pt x="612" y="150"/>
                  </a:lnTo>
                  <a:lnTo>
                    <a:pt x="618" y="150"/>
                  </a:lnTo>
                  <a:lnTo>
                    <a:pt x="624" y="138"/>
                  </a:lnTo>
                  <a:lnTo>
                    <a:pt x="618" y="132"/>
                  </a:lnTo>
                  <a:lnTo>
                    <a:pt x="618" y="126"/>
                  </a:lnTo>
                  <a:lnTo>
                    <a:pt x="618" y="120"/>
                  </a:lnTo>
                  <a:lnTo>
                    <a:pt x="618" y="114"/>
                  </a:lnTo>
                  <a:lnTo>
                    <a:pt x="612" y="108"/>
                  </a:lnTo>
                  <a:lnTo>
                    <a:pt x="612" y="102"/>
                  </a:lnTo>
                  <a:lnTo>
                    <a:pt x="618" y="90"/>
                  </a:lnTo>
                  <a:lnTo>
                    <a:pt x="624" y="84"/>
                  </a:lnTo>
                  <a:lnTo>
                    <a:pt x="618" y="84"/>
                  </a:lnTo>
                  <a:lnTo>
                    <a:pt x="618" y="78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0" y="72"/>
                  </a:lnTo>
                  <a:lnTo>
                    <a:pt x="600" y="66"/>
                  </a:lnTo>
                  <a:lnTo>
                    <a:pt x="600" y="60"/>
                  </a:lnTo>
                  <a:lnTo>
                    <a:pt x="600" y="48"/>
                  </a:lnTo>
                  <a:lnTo>
                    <a:pt x="612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36"/>
                  </a:lnTo>
                  <a:lnTo>
                    <a:pt x="630" y="30"/>
                  </a:lnTo>
                  <a:lnTo>
                    <a:pt x="636" y="24"/>
                  </a:lnTo>
                  <a:lnTo>
                    <a:pt x="642" y="24"/>
                  </a:lnTo>
                  <a:lnTo>
                    <a:pt x="648" y="24"/>
                  </a:lnTo>
                  <a:lnTo>
                    <a:pt x="648" y="18"/>
                  </a:lnTo>
                  <a:lnTo>
                    <a:pt x="654" y="12"/>
                  </a:lnTo>
                  <a:lnTo>
                    <a:pt x="660" y="0"/>
                  </a:lnTo>
                  <a:lnTo>
                    <a:pt x="678" y="0"/>
                  </a:lnTo>
                  <a:lnTo>
                    <a:pt x="696" y="0"/>
                  </a:lnTo>
                  <a:lnTo>
                    <a:pt x="702" y="0"/>
                  </a:lnTo>
                  <a:lnTo>
                    <a:pt x="714" y="0"/>
                  </a:lnTo>
                  <a:lnTo>
                    <a:pt x="720" y="6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44" y="24"/>
                  </a:lnTo>
                  <a:lnTo>
                    <a:pt x="744" y="30"/>
                  </a:lnTo>
                  <a:lnTo>
                    <a:pt x="732" y="42"/>
                  </a:lnTo>
                  <a:lnTo>
                    <a:pt x="726" y="42"/>
                  </a:lnTo>
                  <a:lnTo>
                    <a:pt x="720" y="42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54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90"/>
                  </a:lnTo>
                  <a:lnTo>
                    <a:pt x="726" y="84"/>
                  </a:lnTo>
                  <a:lnTo>
                    <a:pt x="738" y="84"/>
                  </a:lnTo>
                  <a:lnTo>
                    <a:pt x="750" y="96"/>
                  </a:lnTo>
                  <a:lnTo>
                    <a:pt x="768" y="96"/>
                  </a:lnTo>
                  <a:lnTo>
                    <a:pt x="768" y="90"/>
                  </a:lnTo>
                  <a:lnTo>
                    <a:pt x="774" y="84"/>
                  </a:lnTo>
                  <a:lnTo>
                    <a:pt x="780" y="78"/>
                  </a:lnTo>
                  <a:lnTo>
                    <a:pt x="786" y="78"/>
                  </a:lnTo>
                  <a:lnTo>
                    <a:pt x="792" y="72"/>
                  </a:lnTo>
                  <a:lnTo>
                    <a:pt x="804" y="72"/>
                  </a:lnTo>
                  <a:lnTo>
                    <a:pt x="804" y="66"/>
                  </a:lnTo>
                  <a:lnTo>
                    <a:pt x="810" y="66"/>
                  </a:lnTo>
                  <a:lnTo>
                    <a:pt x="810" y="72"/>
                  </a:lnTo>
                  <a:lnTo>
                    <a:pt x="816" y="66"/>
                  </a:lnTo>
                  <a:lnTo>
                    <a:pt x="828" y="66"/>
                  </a:lnTo>
                  <a:lnTo>
                    <a:pt x="834" y="72"/>
                  </a:lnTo>
                  <a:lnTo>
                    <a:pt x="840" y="72"/>
                  </a:lnTo>
                  <a:lnTo>
                    <a:pt x="840" y="78"/>
                  </a:lnTo>
                  <a:lnTo>
                    <a:pt x="840" y="84"/>
                  </a:lnTo>
                  <a:lnTo>
                    <a:pt x="852" y="84"/>
                  </a:lnTo>
                  <a:lnTo>
                    <a:pt x="858" y="96"/>
                  </a:lnTo>
                  <a:lnTo>
                    <a:pt x="864" y="108"/>
                  </a:lnTo>
                  <a:lnTo>
                    <a:pt x="876" y="114"/>
                  </a:lnTo>
                  <a:lnTo>
                    <a:pt x="894" y="114"/>
                  </a:lnTo>
                  <a:lnTo>
                    <a:pt x="906" y="114"/>
                  </a:lnTo>
                  <a:lnTo>
                    <a:pt x="906" y="126"/>
                  </a:lnTo>
                  <a:lnTo>
                    <a:pt x="912" y="144"/>
                  </a:lnTo>
                  <a:lnTo>
                    <a:pt x="930" y="138"/>
                  </a:lnTo>
                  <a:lnTo>
                    <a:pt x="936" y="138"/>
                  </a:lnTo>
                  <a:lnTo>
                    <a:pt x="942" y="144"/>
                  </a:lnTo>
                  <a:lnTo>
                    <a:pt x="948" y="150"/>
                  </a:lnTo>
                  <a:lnTo>
                    <a:pt x="954" y="156"/>
                  </a:lnTo>
                  <a:lnTo>
                    <a:pt x="954" y="168"/>
                  </a:lnTo>
                  <a:lnTo>
                    <a:pt x="954" y="174"/>
                  </a:lnTo>
                  <a:lnTo>
                    <a:pt x="960" y="180"/>
                  </a:lnTo>
                  <a:lnTo>
                    <a:pt x="966" y="186"/>
                  </a:lnTo>
                  <a:lnTo>
                    <a:pt x="960" y="186"/>
                  </a:lnTo>
                  <a:lnTo>
                    <a:pt x="966" y="192"/>
                  </a:lnTo>
                  <a:lnTo>
                    <a:pt x="966" y="198"/>
                  </a:lnTo>
                  <a:lnTo>
                    <a:pt x="978" y="204"/>
                  </a:lnTo>
                  <a:lnTo>
                    <a:pt x="1050" y="186"/>
                  </a:lnTo>
                  <a:lnTo>
                    <a:pt x="1056" y="198"/>
                  </a:lnTo>
                  <a:lnTo>
                    <a:pt x="1068" y="210"/>
                  </a:lnTo>
                  <a:lnTo>
                    <a:pt x="1074" y="216"/>
                  </a:lnTo>
                  <a:lnTo>
                    <a:pt x="1080" y="252"/>
                  </a:lnTo>
                  <a:lnTo>
                    <a:pt x="1086" y="270"/>
                  </a:lnTo>
                  <a:lnTo>
                    <a:pt x="1092" y="282"/>
                  </a:lnTo>
                  <a:lnTo>
                    <a:pt x="1086" y="300"/>
                  </a:lnTo>
                  <a:lnTo>
                    <a:pt x="1074" y="330"/>
                  </a:lnTo>
                  <a:lnTo>
                    <a:pt x="1068" y="336"/>
                  </a:lnTo>
                  <a:lnTo>
                    <a:pt x="1062" y="348"/>
                  </a:lnTo>
                  <a:lnTo>
                    <a:pt x="1062" y="360"/>
                  </a:lnTo>
                  <a:lnTo>
                    <a:pt x="1068" y="378"/>
                  </a:lnTo>
                  <a:lnTo>
                    <a:pt x="1074" y="390"/>
                  </a:lnTo>
                  <a:lnTo>
                    <a:pt x="1068" y="396"/>
                  </a:lnTo>
                  <a:lnTo>
                    <a:pt x="1068" y="408"/>
                  </a:lnTo>
                  <a:lnTo>
                    <a:pt x="1062" y="414"/>
                  </a:lnTo>
                  <a:lnTo>
                    <a:pt x="1050" y="432"/>
                  </a:lnTo>
                  <a:lnTo>
                    <a:pt x="1044" y="450"/>
                  </a:lnTo>
                  <a:lnTo>
                    <a:pt x="1038" y="456"/>
                  </a:lnTo>
                  <a:lnTo>
                    <a:pt x="1026" y="468"/>
                  </a:lnTo>
                  <a:lnTo>
                    <a:pt x="1026" y="474"/>
                  </a:lnTo>
                  <a:lnTo>
                    <a:pt x="1026" y="480"/>
                  </a:lnTo>
                  <a:lnTo>
                    <a:pt x="1032" y="492"/>
                  </a:lnTo>
                  <a:lnTo>
                    <a:pt x="1044" y="504"/>
                  </a:lnTo>
                  <a:lnTo>
                    <a:pt x="1044" y="516"/>
                  </a:lnTo>
                  <a:lnTo>
                    <a:pt x="1038" y="528"/>
                  </a:lnTo>
                  <a:lnTo>
                    <a:pt x="1032" y="546"/>
                  </a:lnTo>
                  <a:lnTo>
                    <a:pt x="1032" y="570"/>
                  </a:lnTo>
                  <a:lnTo>
                    <a:pt x="1050" y="594"/>
                  </a:lnTo>
                  <a:lnTo>
                    <a:pt x="1056" y="624"/>
                  </a:lnTo>
                  <a:lnTo>
                    <a:pt x="1056" y="65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9" name="Freeform 24">
              <a:extLst>
                <a:ext uri="{FF2B5EF4-FFF2-40B4-BE49-F238E27FC236}">
                  <a16:creationId xmlns:a16="http://schemas.microsoft.com/office/drawing/2014/main" id="{CAE689DA-332A-4F73-BDE6-8865C9170AA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84829" y="3213406"/>
              <a:ext cx="851989" cy="744754"/>
            </a:xfrm>
            <a:custGeom>
              <a:avLst/>
              <a:gdLst>
                <a:gd name="T0" fmla="*/ 116 w 1602"/>
                <a:gd name="T1" fmla="*/ 91 h 1404"/>
                <a:gd name="T2" fmla="*/ 111 w 1602"/>
                <a:gd name="T3" fmla="*/ 95 h 1404"/>
                <a:gd name="T4" fmla="*/ 102 w 1602"/>
                <a:gd name="T5" fmla="*/ 101 h 1404"/>
                <a:gd name="T6" fmla="*/ 99 w 1602"/>
                <a:gd name="T7" fmla="*/ 103 h 1404"/>
                <a:gd name="T8" fmla="*/ 96 w 1602"/>
                <a:gd name="T9" fmla="*/ 106 h 1404"/>
                <a:gd name="T10" fmla="*/ 93 w 1602"/>
                <a:gd name="T11" fmla="*/ 108 h 1404"/>
                <a:gd name="T12" fmla="*/ 88 w 1602"/>
                <a:gd name="T13" fmla="*/ 106 h 1404"/>
                <a:gd name="T14" fmla="*/ 86 w 1602"/>
                <a:gd name="T15" fmla="*/ 108 h 1404"/>
                <a:gd name="T16" fmla="*/ 81 w 1602"/>
                <a:gd name="T17" fmla="*/ 119 h 1404"/>
                <a:gd name="T18" fmla="*/ 71 w 1602"/>
                <a:gd name="T19" fmla="*/ 109 h 1404"/>
                <a:gd name="T20" fmla="*/ 72 w 1602"/>
                <a:gd name="T21" fmla="*/ 101 h 1404"/>
                <a:gd name="T22" fmla="*/ 74 w 1602"/>
                <a:gd name="T23" fmla="*/ 93 h 1404"/>
                <a:gd name="T24" fmla="*/ 73 w 1602"/>
                <a:gd name="T25" fmla="*/ 82 h 1404"/>
                <a:gd name="T26" fmla="*/ 64 w 1602"/>
                <a:gd name="T27" fmla="*/ 79 h 1404"/>
                <a:gd name="T28" fmla="*/ 59 w 1602"/>
                <a:gd name="T29" fmla="*/ 75 h 1404"/>
                <a:gd name="T30" fmla="*/ 54 w 1602"/>
                <a:gd name="T31" fmla="*/ 71 h 1404"/>
                <a:gd name="T32" fmla="*/ 51 w 1602"/>
                <a:gd name="T33" fmla="*/ 70 h 1404"/>
                <a:gd name="T34" fmla="*/ 45 w 1602"/>
                <a:gd name="T35" fmla="*/ 71 h 1404"/>
                <a:gd name="T36" fmla="*/ 43 w 1602"/>
                <a:gd name="T37" fmla="*/ 68 h 1404"/>
                <a:gd name="T38" fmla="*/ 43 w 1602"/>
                <a:gd name="T39" fmla="*/ 64 h 1404"/>
                <a:gd name="T40" fmla="*/ 36 w 1602"/>
                <a:gd name="T41" fmla="*/ 66 h 1404"/>
                <a:gd name="T42" fmla="*/ 31 w 1602"/>
                <a:gd name="T43" fmla="*/ 55 h 1404"/>
                <a:gd name="T44" fmla="*/ 25 w 1602"/>
                <a:gd name="T45" fmla="*/ 53 h 1404"/>
                <a:gd name="T46" fmla="*/ 19 w 1602"/>
                <a:gd name="T47" fmla="*/ 51 h 1404"/>
                <a:gd name="T48" fmla="*/ 17 w 1602"/>
                <a:gd name="T49" fmla="*/ 43 h 1404"/>
                <a:gd name="T50" fmla="*/ 17 w 1602"/>
                <a:gd name="T51" fmla="*/ 39 h 1404"/>
                <a:gd name="T52" fmla="*/ 12 w 1602"/>
                <a:gd name="T53" fmla="*/ 39 h 1404"/>
                <a:gd name="T54" fmla="*/ 10 w 1602"/>
                <a:gd name="T55" fmla="*/ 35 h 1404"/>
                <a:gd name="T56" fmla="*/ 5 w 1602"/>
                <a:gd name="T57" fmla="*/ 30 h 1404"/>
                <a:gd name="T58" fmla="*/ 3 w 1602"/>
                <a:gd name="T59" fmla="*/ 27 h 1404"/>
                <a:gd name="T60" fmla="*/ 2 w 1602"/>
                <a:gd name="T61" fmla="*/ 25 h 1404"/>
                <a:gd name="T62" fmla="*/ 0 w 1602"/>
                <a:gd name="T63" fmla="*/ 22 h 1404"/>
                <a:gd name="T64" fmla="*/ 8 w 1602"/>
                <a:gd name="T65" fmla="*/ 14 h 1404"/>
                <a:gd name="T66" fmla="*/ 16 w 1602"/>
                <a:gd name="T67" fmla="*/ 16 h 1404"/>
                <a:gd name="T68" fmla="*/ 31 w 1602"/>
                <a:gd name="T69" fmla="*/ 18 h 1404"/>
                <a:gd name="T70" fmla="*/ 43 w 1602"/>
                <a:gd name="T71" fmla="*/ 17 h 1404"/>
                <a:gd name="T72" fmla="*/ 47 w 1602"/>
                <a:gd name="T73" fmla="*/ 6 h 1404"/>
                <a:gd name="T74" fmla="*/ 52 w 1602"/>
                <a:gd name="T75" fmla="*/ 0 h 1404"/>
                <a:gd name="T76" fmla="*/ 55 w 1602"/>
                <a:gd name="T77" fmla="*/ 3 h 1404"/>
                <a:gd name="T78" fmla="*/ 59 w 1602"/>
                <a:gd name="T79" fmla="*/ 9 h 1404"/>
                <a:gd name="T80" fmla="*/ 62 w 1602"/>
                <a:gd name="T81" fmla="*/ 16 h 1404"/>
                <a:gd name="T82" fmla="*/ 66 w 1602"/>
                <a:gd name="T83" fmla="*/ 20 h 1404"/>
                <a:gd name="T84" fmla="*/ 70 w 1602"/>
                <a:gd name="T85" fmla="*/ 25 h 1404"/>
                <a:gd name="T86" fmla="*/ 74 w 1602"/>
                <a:gd name="T87" fmla="*/ 30 h 1404"/>
                <a:gd name="T88" fmla="*/ 76 w 1602"/>
                <a:gd name="T89" fmla="*/ 27 h 1404"/>
                <a:gd name="T90" fmla="*/ 78 w 1602"/>
                <a:gd name="T91" fmla="*/ 27 h 1404"/>
                <a:gd name="T92" fmla="*/ 78 w 1602"/>
                <a:gd name="T93" fmla="*/ 23 h 1404"/>
                <a:gd name="T94" fmla="*/ 82 w 1602"/>
                <a:gd name="T95" fmla="*/ 20 h 1404"/>
                <a:gd name="T96" fmla="*/ 82 w 1602"/>
                <a:gd name="T97" fmla="*/ 18 h 1404"/>
                <a:gd name="T98" fmla="*/ 90 w 1602"/>
                <a:gd name="T99" fmla="*/ 24 h 1404"/>
                <a:gd name="T100" fmla="*/ 90 w 1602"/>
                <a:gd name="T101" fmla="*/ 45 h 1404"/>
                <a:gd name="T102" fmla="*/ 104 w 1602"/>
                <a:gd name="T103" fmla="*/ 41 h 1404"/>
                <a:gd name="T104" fmla="*/ 117 w 1602"/>
                <a:gd name="T105" fmla="*/ 39 h 1404"/>
                <a:gd name="T106" fmla="*/ 125 w 1602"/>
                <a:gd name="T107" fmla="*/ 39 h 1404"/>
                <a:gd name="T108" fmla="*/ 127 w 1602"/>
                <a:gd name="T109" fmla="*/ 43 h 1404"/>
                <a:gd name="T110" fmla="*/ 131 w 1602"/>
                <a:gd name="T111" fmla="*/ 53 h 1404"/>
                <a:gd name="T112" fmla="*/ 133 w 1602"/>
                <a:gd name="T113" fmla="*/ 60 h 1404"/>
                <a:gd name="T114" fmla="*/ 138 w 1602"/>
                <a:gd name="T115" fmla="*/ 73 h 1404"/>
                <a:gd name="T116" fmla="*/ 136 w 1602"/>
                <a:gd name="T117" fmla="*/ 80 h 1404"/>
                <a:gd name="T118" fmla="*/ 129 w 1602"/>
                <a:gd name="T119" fmla="*/ 87 h 1404"/>
                <a:gd name="T120" fmla="*/ 123 w 1602"/>
                <a:gd name="T121" fmla="*/ 95 h 14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02"/>
                <a:gd name="T184" fmla="*/ 0 h 1404"/>
                <a:gd name="T185" fmla="*/ 1602 w 1602"/>
                <a:gd name="T186" fmla="*/ 1404 h 14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02" h="1404">
                  <a:moveTo>
                    <a:pt x="1392" y="1080"/>
                  </a:moveTo>
                  <a:lnTo>
                    <a:pt x="1380" y="1074"/>
                  </a:lnTo>
                  <a:lnTo>
                    <a:pt x="1368" y="1056"/>
                  </a:lnTo>
                  <a:lnTo>
                    <a:pt x="1356" y="1044"/>
                  </a:lnTo>
                  <a:lnTo>
                    <a:pt x="1344" y="1038"/>
                  </a:lnTo>
                  <a:lnTo>
                    <a:pt x="1338" y="1038"/>
                  </a:lnTo>
                  <a:lnTo>
                    <a:pt x="1332" y="1038"/>
                  </a:lnTo>
                  <a:lnTo>
                    <a:pt x="1326" y="1044"/>
                  </a:lnTo>
                  <a:lnTo>
                    <a:pt x="1320" y="1044"/>
                  </a:lnTo>
                  <a:lnTo>
                    <a:pt x="1314" y="1044"/>
                  </a:lnTo>
                  <a:lnTo>
                    <a:pt x="1296" y="1056"/>
                  </a:lnTo>
                  <a:lnTo>
                    <a:pt x="1296" y="1080"/>
                  </a:lnTo>
                  <a:lnTo>
                    <a:pt x="1290" y="1080"/>
                  </a:lnTo>
                  <a:lnTo>
                    <a:pt x="1284" y="1086"/>
                  </a:lnTo>
                  <a:lnTo>
                    <a:pt x="1278" y="1086"/>
                  </a:lnTo>
                  <a:lnTo>
                    <a:pt x="1278" y="1092"/>
                  </a:lnTo>
                  <a:lnTo>
                    <a:pt x="1272" y="1092"/>
                  </a:lnTo>
                  <a:lnTo>
                    <a:pt x="1266" y="1086"/>
                  </a:lnTo>
                  <a:lnTo>
                    <a:pt x="1260" y="1086"/>
                  </a:lnTo>
                  <a:lnTo>
                    <a:pt x="1260" y="1098"/>
                  </a:lnTo>
                  <a:lnTo>
                    <a:pt x="1248" y="1098"/>
                  </a:lnTo>
                  <a:lnTo>
                    <a:pt x="1212" y="1116"/>
                  </a:lnTo>
                  <a:lnTo>
                    <a:pt x="1206" y="1158"/>
                  </a:lnTo>
                  <a:lnTo>
                    <a:pt x="1176" y="1164"/>
                  </a:lnTo>
                  <a:lnTo>
                    <a:pt x="1158" y="1164"/>
                  </a:lnTo>
                  <a:lnTo>
                    <a:pt x="1152" y="1164"/>
                  </a:lnTo>
                  <a:lnTo>
                    <a:pt x="1152" y="1170"/>
                  </a:lnTo>
                  <a:lnTo>
                    <a:pt x="1152" y="1176"/>
                  </a:lnTo>
                  <a:lnTo>
                    <a:pt x="1146" y="1176"/>
                  </a:lnTo>
                  <a:lnTo>
                    <a:pt x="1140" y="1176"/>
                  </a:lnTo>
                  <a:lnTo>
                    <a:pt x="1134" y="1182"/>
                  </a:lnTo>
                  <a:lnTo>
                    <a:pt x="1134" y="1188"/>
                  </a:lnTo>
                  <a:lnTo>
                    <a:pt x="1128" y="1194"/>
                  </a:lnTo>
                  <a:lnTo>
                    <a:pt x="1122" y="1194"/>
                  </a:lnTo>
                  <a:lnTo>
                    <a:pt x="1116" y="1194"/>
                  </a:lnTo>
                  <a:lnTo>
                    <a:pt x="1110" y="1200"/>
                  </a:lnTo>
                  <a:lnTo>
                    <a:pt x="1110" y="1206"/>
                  </a:lnTo>
                  <a:lnTo>
                    <a:pt x="1104" y="1212"/>
                  </a:lnTo>
                  <a:lnTo>
                    <a:pt x="1104" y="1218"/>
                  </a:lnTo>
                  <a:lnTo>
                    <a:pt x="1098" y="1224"/>
                  </a:lnTo>
                  <a:lnTo>
                    <a:pt x="1092" y="1230"/>
                  </a:lnTo>
                  <a:lnTo>
                    <a:pt x="1086" y="1230"/>
                  </a:lnTo>
                  <a:lnTo>
                    <a:pt x="1080" y="1230"/>
                  </a:lnTo>
                  <a:lnTo>
                    <a:pt x="1080" y="1242"/>
                  </a:lnTo>
                  <a:lnTo>
                    <a:pt x="1074" y="1242"/>
                  </a:lnTo>
                  <a:lnTo>
                    <a:pt x="1068" y="1242"/>
                  </a:lnTo>
                  <a:lnTo>
                    <a:pt x="1068" y="1236"/>
                  </a:lnTo>
                  <a:lnTo>
                    <a:pt x="1062" y="1242"/>
                  </a:lnTo>
                  <a:lnTo>
                    <a:pt x="1056" y="1236"/>
                  </a:lnTo>
                  <a:lnTo>
                    <a:pt x="1050" y="1242"/>
                  </a:lnTo>
                  <a:lnTo>
                    <a:pt x="1050" y="1236"/>
                  </a:lnTo>
                  <a:lnTo>
                    <a:pt x="1044" y="1194"/>
                  </a:lnTo>
                  <a:lnTo>
                    <a:pt x="1032" y="1194"/>
                  </a:lnTo>
                  <a:lnTo>
                    <a:pt x="1032" y="1200"/>
                  </a:lnTo>
                  <a:lnTo>
                    <a:pt x="1026" y="1200"/>
                  </a:lnTo>
                  <a:lnTo>
                    <a:pt x="1014" y="1218"/>
                  </a:lnTo>
                  <a:lnTo>
                    <a:pt x="1014" y="1224"/>
                  </a:lnTo>
                  <a:lnTo>
                    <a:pt x="1014" y="1236"/>
                  </a:lnTo>
                  <a:lnTo>
                    <a:pt x="1014" y="1242"/>
                  </a:lnTo>
                  <a:lnTo>
                    <a:pt x="1008" y="1242"/>
                  </a:lnTo>
                  <a:lnTo>
                    <a:pt x="1002" y="1236"/>
                  </a:lnTo>
                  <a:lnTo>
                    <a:pt x="1002" y="1230"/>
                  </a:lnTo>
                  <a:lnTo>
                    <a:pt x="996" y="1236"/>
                  </a:lnTo>
                  <a:lnTo>
                    <a:pt x="990" y="1236"/>
                  </a:lnTo>
                  <a:lnTo>
                    <a:pt x="990" y="1230"/>
                  </a:lnTo>
                  <a:lnTo>
                    <a:pt x="984" y="1236"/>
                  </a:lnTo>
                  <a:lnTo>
                    <a:pt x="978" y="1248"/>
                  </a:lnTo>
                  <a:lnTo>
                    <a:pt x="972" y="1254"/>
                  </a:lnTo>
                  <a:lnTo>
                    <a:pt x="966" y="1260"/>
                  </a:lnTo>
                  <a:lnTo>
                    <a:pt x="930" y="1284"/>
                  </a:lnTo>
                  <a:lnTo>
                    <a:pt x="942" y="1356"/>
                  </a:lnTo>
                  <a:lnTo>
                    <a:pt x="930" y="1368"/>
                  </a:lnTo>
                  <a:lnTo>
                    <a:pt x="852" y="1404"/>
                  </a:lnTo>
                  <a:lnTo>
                    <a:pt x="834" y="1392"/>
                  </a:lnTo>
                  <a:lnTo>
                    <a:pt x="834" y="1362"/>
                  </a:lnTo>
                  <a:lnTo>
                    <a:pt x="828" y="1332"/>
                  </a:lnTo>
                  <a:lnTo>
                    <a:pt x="810" y="1308"/>
                  </a:lnTo>
                  <a:lnTo>
                    <a:pt x="810" y="1284"/>
                  </a:lnTo>
                  <a:lnTo>
                    <a:pt x="816" y="1266"/>
                  </a:lnTo>
                  <a:lnTo>
                    <a:pt x="822" y="1254"/>
                  </a:lnTo>
                  <a:lnTo>
                    <a:pt x="822" y="1242"/>
                  </a:lnTo>
                  <a:lnTo>
                    <a:pt x="810" y="1230"/>
                  </a:lnTo>
                  <a:lnTo>
                    <a:pt x="804" y="1218"/>
                  </a:lnTo>
                  <a:lnTo>
                    <a:pt x="804" y="1212"/>
                  </a:lnTo>
                  <a:lnTo>
                    <a:pt x="804" y="1206"/>
                  </a:lnTo>
                  <a:lnTo>
                    <a:pt x="816" y="1194"/>
                  </a:lnTo>
                  <a:lnTo>
                    <a:pt x="822" y="1188"/>
                  </a:lnTo>
                  <a:lnTo>
                    <a:pt x="828" y="1170"/>
                  </a:lnTo>
                  <a:lnTo>
                    <a:pt x="840" y="1152"/>
                  </a:lnTo>
                  <a:lnTo>
                    <a:pt x="846" y="1146"/>
                  </a:lnTo>
                  <a:lnTo>
                    <a:pt x="846" y="1134"/>
                  </a:lnTo>
                  <a:lnTo>
                    <a:pt x="852" y="1128"/>
                  </a:lnTo>
                  <a:lnTo>
                    <a:pt x="846" y="1116"/>
                  </a:lnTo>
                  <a:lnTo>
                    <a:pt x="840" y="1098"/>
                  </a:lnTo>
                  <a:lnTo>
                    <a:pt x="840" y="1086"/>
                  </a:lnTo>
                  <a:lnTo>
                    <a:pt x="846" y="1074"/>
                  </a:lnTo>
                  <a:lnTo>
                    <a:pt x="852" y="1068"/>
                  </a:lnTo>
                  <a:lnTo>
                    <a:pt x="864" y="1038"/>
                  </a:lnTo>
                  <a:lnTo>
                    <a:pt x="870" y="1020"/>
                  </a:lnTo>
                  <a:lnTo>
                    <a:pt x="864" y="1008"/>
                  </a:lnTo>
                  <a:lnTo>
                    <a:pt x="858" y="990"/>
                  </a:lnTo>
                  <a:lnTo>
                    <a:pt x="852" y="954"/>
                  </a:lnTo>
                  <a:lnTo>
                    <a:pt x="846" y="948"/>
                  </a:lnTo>
                  <a:lnTo>
                    <a:pt x="834" y="936"/>
                  </a:lnTo>
                  <a:lnTo>
                    <a:pt x="828" y="924"/>
                  </a:lnTo>
                  <a:lnTo>
                    <a:pt x="756" y="942"/>
                  </a:lnTo>
                  <a:lnTo>
                    <a:pt x="744" y="936"/>
                  </a:lnTo>
                  <a:lnTo>
                    <a:pt x="744" y="930"/>
                  </a:lnTo>
                  <a:lnTo>
                    <a:pt x="738" y="924"/>
                  </a:lnTo>
                  <a:lnTo>
                    <a:pt x="744" y="924"/>
                  </a:lnTo>
                  <a:lnTo>
                    <a:pt x="738" y="918"/>
                  </a:lnTo>
                  <a:lnTo>
                    <a:pt x="732" y="912"/>
                  </a:lnTo>
                  <a:lnTo>
                    <a:pt x="732" y="906"/>
                  </a:lnTo>
                  <a:lnTo>
                    <a:pt x="732" y="894"/>
                  </a:lnTo>
                  <a:lnTo>
                    <a:pt x="726" y="888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6"/>
                  </a:lnTo>
                  <a:lnTo>
                    <a:pt x="690" y="882"/>
                  </a:lnTo>
                  <a:lnTo>
                    <a:pt x="684" y="864"/>
                  </a:lnTo>
                  <a:lnTo>
                    <a:pt x="684" y="852"/>
                  </a:lnTo>
                  <a:lnTo>
                    <a:pt x="672" y="852"/>
                  </a:lnTo>
                  <a:lnTo>
                    <a:pt x="654" y="852"/>
                  </a:lnTo>
                  <a:lnTo>
                    <a:pt x="642" y="846"/>
                  </a:lnTo>
                  <a:lnTo>
                    <a:pt x="636" y="834"/>
                  </a:lnTo>
                  <a:lnTo>
                    <a:pt x="630" y="822"/>
                  </a:lnTo>
                  <a:lnTo>
                    <a:pt x="618" y="822"/>
                  </a:lnTo>
                  <a:lnTo>
                    <a:pt x="618" y="816"/>
                  </a:lnTo>
                  <a:lnTo>
                    <a:pt x="618" y="810"/>
                  </a:lnTo>
                  <a:lnTo>
                    <a:pt x="612" y="810"/>
                  </a:lnTo>
                  <a:lnTo>
                    <a:pt x="606" y="804"/>
                  </a:lnTo>
                  <a:lnTo>
                    <a:pt x="594" y="804"/>
                  </a:lnTo>
                  <a:lnTo>
                    <a:pt x="588" y="810"/>
                  </a:lnTo>
                  <a:lnTo>
                    <a:pt x="588" y="804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70" y="810"/>
                  </a:lnTo>
                  <a:lnTo>
                    <a:pt x="564" y="816"/>
                  </a:lnTo>
                  <a:lnTo>
                    <a:pt x="558" y="816"/>
                  </a:lnTo>
                  <a:lnTo>
                    <a:pt x="552" y="822"/>
                  </a:lnTo>
                  <a:lnTo>
                    <a:pt x="546" y="828"/>
                  </a:lnTo>
                  <a:lnTo>
                    <a:pt x="546" y="834"/>
                  </a:lnTo>
                  <a:lnTo>
                    <a:pt x="528" y="834"/>
                  </a:lnTo>
                  <a:lnTo>
                    <a:pt x="516" y="822"/>
                  </a:lnTo>
                  <a:lnTo>
                    <a:pt x="504" y="822"/>
                  </a:lnTo>
                  <a:lnTo>
                    <a:pt x="492" y="82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6" y="792"/>
                  </a:lnTo>
                  <a:lnTo>
                    <a:pt x="492" y="786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504" y="780"/>
                  </a:lnTo>
                  <a:lnTo>
                    <a:pt x="510" y="780"/>
                  </a:lnTo>
                  <a:lnTo>
                    <a:pt x="522" y="768"/>
                  </a:lnTo>
                  <a:lnTo>
                    <a:pt x="522" y="762"/>
                  </a:lnTo>
                  <a:lnTo>
                    <a:pt x="504" y="756"/>
                  </a:lnTo>
                  <a:lnTo>
                    <a:pt x="498" y="756"/>
                  </a:lnTo>
                  <a:lnTo>
                    <a:pt x="498" y="744"/>
                  </a:lnTo>
                  <a:lnTo>
                    <a:pt x="492" y="738"/>
                  </a:lnTo>
                  <a:lnTo>
                    <a:pt x="480" y="738"/>
                  </a:lnTo>
                  <a:lnTo>
                    <a:pt x="474" y="738"/>
                  </a:lnTo>
                  <a:lnTo>
                    <a:pt x="456" y="738"/>
                  </a:lnTo>
                  <a:lnTo>
                    <a:pt x="438" y="738"/>
                  </a:lnTo>
                  <a:lnTo>
                    <a:pt x="432" y="750"/>
                  </a:lnTo>
                  <a:lnTo>
                    <a:pt x="426" y="756"/>
                  </a:lnTo>
                  <a:lnTo>
                    <a:pt x="426" y="762"/>
                  </a:lnTo>
                  <a:lnTo>
                    <a:pt x="420" y="762"/>
                  </a:lnTo>
                  <a:lnTo>
                    <a:pt x="408" y="744"/>
                  </a:lnTo>
                  <a:lnTo>
                    <a:pt x="408" y="732"/>
                  </a:lnTo>
                  <a:lnTo>
                    <a:pt x="390" y="714"/>
                  </a:lnTo>
                  <a:lnTo>
                    <a:pt x="384" y="702"/>
                  </a:lnTo>
                  <a:lnTo>
                    <a:pt x="384" y="690"/>
                  </a:lnTo>
                  <a:lnTo>
                    <a:pt x="372" y="690"/>
                  </a:lnTo>
                  <a:lnTo>
                    <a:pt x="366" y="660"/>
                  </a:lnTo>
                  <a:lnTo>
                    <a:pt x="354" y="630"/>
                  </a:lnTo>
                  <a:lnTo>
                    <a:pt x="348" y="630"/>
                  </a:lnTo>
                  <a:lnTo>
                    <a:pt x="336" y="630"/>
                  </a:lnTo>
                  <a:lnTo>
                    <a:pt x="330" y="630"/>
                  </a:lnTo>
                  <a:lnTo>
                    <a:pt x="318" y="630"/>
                  </a:lnTo>
                  <a:lnTo>
                    <a:pt x="312" y="624"/>
                  </a:lnTo>
                  <a:lnTo>
                    <a:pt x="306" y="624"/>
                  </a:lnTo>
                  <a:lnTo>
                    <a:pt x="294" y="618"/>
                  </a:lnTo>
                  <a:lnTo>
                    <a:pt x="288" y="612"/>
                  </a:lnTo>
                  <a:lnTo>
                    <a:pt x="276" y="600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58" y="588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8"/>
                  </a:lnTo>
                  <a:lnTo>
                    <a:pt x="216" y="582"/>
                  </a:lnTo>
                  <a:lnTo>
                    <a:pt x="210" y="588"/>
                  </a:lnTo>
                  <a:lnTo>
                    <a:pt x="198" y="582"/>
                  </a:lnTo>
                  <a:lnTo>
                    <a:pt x="180" y="582"/>
                  </a:lnTo>
                  <a:lnTo>
                    <a:pt x="174" y="552"/>
                  </a:lnTo>
                  <a:lnTo>
                    <a:pt x="168" y="504"/>
                  </a:lnTo>
                  <a:lnTo>
                    <a:pt x="186" y="504"/>
                  </a:lnTo>
                  <a:lnTo>
                    <a:pt x="192" y="504"/>
                  </a:lnTo>
                  <a:lnTo>
                    <a:pt x="192" y="498"/>
                  </a:lnTo>
                  <a:lnTo>
                    <a:pt x="192" y="492"/>
                  </a:lnTo>
                  <a:lnTo>
                    <a:pt x="192" y="486"/>
                  </a:lnTo>
                  <a:lnTo>
                    <a:pt x="198" y="486"/>
                  </a:lnTo>
                  <a:lnTo>
                    <a:pt x="198" y="480"/>
                  </a:lnTo>
                  <a:lnTo>
                    <a:pt x="204" y="474"/>
                  </a:lnTo>
                  <a:lnTo>
                    <a:pt x="210" y="468"/>
                  </a:lnTo>
                  <a:lnTo>
                    <a:pt x="198" y="462"/>
                  </a:lnTo>
                  <a:lnTo>
                    <a:pt x="192" y="444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32"/>
                  </a:lnTo>
                  <a:lnTo>
                    <a:pt x="168" y="438"/>
                  </a:lnTo>
                  <a:lnTo>
                    <a:pt x="150" y="450"/>
                  </a:lnTo>
                  <a:lnTo>
                    <a:pt x="144" y="456"/>
                  </a:lnTo>
                  <a:lnTo>
                    <a:pt x="132" y="456"/>
                  </a:lnTo>
                  <a:lnTo>
                    <a:pt x="126" y="468"/>
                  </a:lnTo>
                  <a:lnTo>
                    <a:pt x="114" y="468"/>
                  </a:lnTo>
                  <a:lnTo>
                    <a:pt x="108" y="468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14"/>
                  </a:lnTo>
                  <a:lnTo>
                    <a:pt x="108" y="396"/>
                  </a:lnTo>
                  <a:lnTo>
                    <a:pt x="120" y="396"/>
                  </a:lnTo>
                  <a:lnTo>
                    <a:pt x="126" y="384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84" y="354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0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60" y="318"/>
                  </a:lnTo>
                  <a:lnTo>
                    <a:pt x="42" y="324"/>
                  </a:lnTo>
                  <a:lnTo>
                    <a:pt x="36" y="318"/>
                  </a:lnTo>
                  <a:lnTo>
                    <a:pt x="36" y="312"/>
                  </a:lnTo>
                  <a:lnTo>
                    <a:pt x="36" y="306"/>
                  </a:lnTo>
                  <a:lnTo>
                    <a:pt x="36" y="300"/>
                  </a:lnTo>
                  <a:lnTo>
                    <a:pt x="30" y="300"/>
                  </a:lnTo>
                  <a:lnTo>
                    <a:pt x="30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24" y="276"/>
                  </a:lnTo>
                  <a:lnTo>
                    <a:pt x="18" y="276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18" y="234"/>
                  </a:lnTo>
                  <a:lnTo>
                    <a:pt x="30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42" y="192"/>
                  </a:lnTo>
                  <a:lnTo>
                    <a:pt x="66" y="186"/>
                  </a:lnTo>
                  <a:lnTo>
                    <a:pt x="90" y="156"/>
                  </a:lnTo>
                  <a:lnTo>
                    <a:pt x="102" y="144"/>
                  </a:lnTo>
                  <a:lnTo>
                    <a:pt x="138" y="150"/>
                  </a:lnTo>
                  <a:lnTo>
                    <a:pt x="162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0" y="180"/>
                  </a:lnTo>
                  <a:lnTo>
                    <a:pt x="174" y="180"/>
                  </a:lnTo>
                  <a:lnTo>
                    <a:pt x="180" y="186"/>
                  </a:lnTo>
                  <a:lnTo>
                    <a:pt x="186" y="186"/>
                  </a:lnTo>
                  <a:lnTo>
                    <a:pt x="198" y="192"/>
                  </a:lnTo>
                  <a:lnTo>
                    <a:pt x="216" y="198"/>
                  </a:lnTo>
                  <a:lnTo>
                    <a:pt x="252" y="204"/>
                  </a:lnTo>
                  <a:lnTo>
                    <a:pt x="258" y="210"/>
                  </a:lnTo>
                  <a:lnTo>
                    <a:pt x="306" y="216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84" y="210"/>
                  </a:lnTo>
                  <a:lnTo>
                    <a:pt x="408" y="222"/>
                  </a:lnTo>
                  <a:lnTo>
                    <a:pt x="438" y="228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86" y="222"/>
                  </a:lnTo>
                  <a:lnTo>
                    <a:pt x="492" y="210"/>
                  </a:lnTo>
                  <a:lnTo>
                    <a:pt x="492" y="198"/>
                  </a:lnTo>
                  <a:lnTo>
                    <a:pt x="486" y="180"/>
                  </a:lnTo>
                  <a:lnTo>
                    <a:pt x="492" y="162"/>
                  </a:lnTo>
                  <a:lnTo>
                    <a:pt x="510" y="96"/>
                  </a:lnTo>
                  <a:lnTo>
                    <a:pt x="516" y="84"/>
                  </a:lnTo>
                  <a:lnTo>
                    <a:pt x="522" y="84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34" y="72"/>
                  </a:lnTo>
                  <a:lnTo>
                    <a:pt x="534" y="60"/>
                  </a:lnTo>
                  <a:lnTo>
                    <a:pt x="540" y="36"/>
                  </a:lnTo>
                  <a:lnTo>
                    <a:pt x="546" y="6"/>
                  </a:lnTo>
                  <a:lnTo>
                    <a:pt x="558" y="6"/>
                  </a:lnTo>
                  <a:lnTo>
                    <a:pt x="564" y="0"/>
                  </a:lnTo>
                  <a:lnTo>
                    <a:pt x="582" y="0"/>
                  </a:lnTo>
                  <a:lnTo>
                    <a:pt x="588" y="0"/>
                  </a:lnTo>
                  <a:lnTo>
                    <a:pt x="594" y="6"/>
                  </a:lnTo>
                  <a:lnTo>
                    <a:pt x="600" y="12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24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36" y="36"/>
                  </a:lnTo>
                  <a:lnTo>
                    <a:pt x="642" y="36"/>
                  </a:lnTo>
                  <a:lnTo>
                    <a:pt x="642" y="42"/>
                  </a:lnTo>
                  <a:lnTo>
                    <a:pt x="648" y="54"/>
                  </a:lnTo>
                  <a:lnTo>
                    <a:pt x="660" y="72"/>
                  </a:lnTo>
                  <a:lnTo>
                    <a:pt x="666" y="78"/>
                  </a:lnTo>
                  <a:lnTo>
                    <a:pt x="672" y="90"/>
                  </a:lnTo>
                  <a:lnTo>
                    <a:pt x="678" y="102"/>
                  </a:lnTo>
                  <a:lnTo>
                    <a:pt x="678" y="114"/>
                  </a:lnTo>
                  <a:lnTo>
                    <a:pt x="684" y="132"/>
                  </a:lnTo>
                  <a:lnTo>
                    <a:pt x="684" y="144"/>
                  </a:lnTo>
                  <a:lnTo>
                    <a:pt x="690" y="162"/>
                  </a:lnTo>
                  <a:lnTo>
                    <a:pt x="696" y="168"/>
                  </a:lnTo>
                  <a:lnTo>
                    <a:pt x="696" y="180"/>
                  </a:lnTo>
                  <a:lnTo>
                    <a:pt x="702" y="186"/>
                  </a:lnTo>
                  <a:lnTo>
                    <a:pt x="708" y="186"/>
                  </a:lnTo>
                  <a:lnTo>
                    <a:pt x="714" y="198"/>
                  </a:lnTo>
                  <a:lnTo>
                    <a:pt x="720" y="198"/>
                  </a:lnTo>
                  <a:lnTo>
                    <a:pt x="732" y="204"/>
                  </a:lnTo>
                  <a:lnTo>
                    <a:pt x="738" y="210"/>
                  </a:lnTo>
                  <a:lnTo>
                    <a:pt x="738" y="216"/>
                  </a:lnTo>
                  <a:lnTo>
                    <a:pt x="744" y="222"/>
                  </a:lnTo>
                  <a:lnTo>
                    <a:pt x="750" y="228"/>
                  </a:lnTo>
                  <a:lnTo>
                    <a:pt x="756" y="228"/>
                  </a:lnTo>
                  <a:lnTo>
                    <a:pt x="768" y="240"/>
                  </a:lnTo>
                  <a:lnTo>
                    <a:pt x="774" y="252"/>
                  </a:lnTo>
                  <a:lnTo>
                    <a:pt x="780" y="258"/>
                  </a:lnTo>
                  <a:lnTo>
                    <a:pt x="786" y="258"/>
                  </a:lnTo>
                  <a:lnTo>
                    <a:pt x="798" y="264"/>
                  </a:lnTo>
                  <a:lnTo>
                    <a:pt x="798" y="270"/>
                  </a:lnTo>
                  <a:lnTo>
                    <a:pt x="798" y="276"/>
                  </a:lnTo>
                  <a:lnTo>
                    <a:pt x="810" y="288"/>
                  </a:lnTo>
                  <a:lnTo>
                    <a:pt x="816" y="288"/>
                  </a:lnTo>
                  <a:lnTo>
                    <a:pt x="816" y="300"/>
                  </a:lnTo>
                  <a:lnTo>
                    <a:pt x="816" y="306"/>
                  </a:lnTo>
                  <a:lnTo>
                    <a:pt x="822" y="318"/>
                  </a:lnTo>
                  <a:lnTo>
                    <a:pt x="828" y="324"/>
                  </a:lnTo>
                  <a:lnTo>
                    <a:pt x="834" y="330"/>
                  </a:lnTo>
                  <a:lnTo>
                    <a:pt x="846" y="336"/>
                  </a:lnTo>
                  <a:lnTo>
                    <a:pt x="846" y="342"/>
                  </a:lnTo>
                  <a:lnTo>
                    <a:pt x="852" y="348"/>
                  </a:lnTo>
                  <a:lnTo>
                    <a:pt x="852" y="354"/>
                  </a:lnTo>
                  <a:lnTo>
                    <a:pt x="858" y="354"/>
                  </a:lnTo>
                  <a:lnTo>
                    <a:pt x="858" y="348"/>
                  </a:lnTo>
                  <a:lnTo>
                    <a:pt x="864" y="342"/>
                  </a:lnTo>
                  <a:lnTo>
                    <a:pt x="864" y="336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76" y="306"/>
                  </a:lnTo>
                  <a:lnTo>
                    <a:pt x="870" y="300"/>
                  </a:lnTo>
                  <a:lnTo>
                    <a:pt x="870" y="294"/>
                  </a:lnTo>
                  <a:lnTo>
                    <a:pt x="876" y="294"/>
                  </a:lnTo>
                  <a:lnTo>
                    <a:pt x="882" y="300"/>
                  </a:lnTo>
                  <a:lnTo>
                    <a:pt x="888" y="300"/>
                  </a:lnTo>
                  <a:lnTo>
                    <a:pt x="888" y="306"/>
                  </a:lnTo>
                  <a:lnTo>
                    <a:pt x="894" y="300"/>
                  </a:lnTo>
                  <a:lnTo>
                    <a:pt x="900" y="294"/>
                  </a:lnTo>
                  <a:lnTo>
                    <a:pt x="894" y="288"/>
                  </a:lnTo>
                  <a:lnTo>
                    <a:pt x="888" y="282"/>
                  </a:lnTo>
                  <a:lnTo>
                    <a:pt x="888" y="276"/>
                  </a:lnTo>
                  <a:lnTo>
                    <a:pt x="894" y="276"/>
                  </a:lnTo>
                  <a:lnTo>
                    <a:pt x="900" y="276"/>
                  </a:lnTo>
                  <a:lnTo>
                    <a:pt x="900" y="270"/>
                  </a:lnTo>
                  <a:lnTo>
                    <a:pt x="906" y="264"/>
                  </a:lnTo>
                  <a:lnTo>
                    <a:pt x="906" y="258"/>
                  </a:lnTo>
                  <a:lnTo>
                    <a:pt x="918" y="264"/>
                  </a:lnTo>
                  <a:lnTo>
                    <a:pt x="918" y="258"/>
                  </a:lnTo>
                  <a:lnTo>
                    <a:pt x="924" y="252"/>
                  </a:lnTo>
                  <a:lnTo>
                    <a:pt x="930" y="252"/>
                  </a:lnTo>
                  <a:lnTo>
                    <a:pt x="930" y="246"/>
                  </a:lnTo>
                  <a:lnTo>
                    <a:pt x="936" y="234"/>
                  </a:lnTo>
                  <a:lnTo>
                    <a:pt x="942" y="228"/>
                  </a:lnTo>
                  <a:lnTo>
                    <a:pt x="942" y="222"/>
                  </a:lnTo>
                  <a:lnTo>
                    <a:pt x="948" y="222"/>
                  </a:lnTo>
                  <a:lnTo>
                    <a:pt x="948" y="216"/>
                  </a:lnTo>
                  <a:lnTo>
                    <a:pt x="942" y="216"/>
                  </a:lnTo>
                  <a:lnTo>
                    <a:pt x="936" y="216"/>
                  </a:lnTo>
                  <a:lnTo>
                    <a:pt x="936" y="210"/>
                  </a:lnTo>
                  <a:lnTo>
                    <a:pt x="942" y="210"/>
                  </a:lnTo>
                  <a:lnTo>
                    <a:pt x="972" y="210"/>
                  </a:lnTo>
                  <a:lnTo>
                    <a:pt x="1032" y="216"/>
                  </a:lnTo>
                  <a:lnTo>
                    <a:pt x="1068" y="216"/>
                  </a:lnTo>
                  <a:lnTo>
                    <a:pt x="1056" y="234"/>
                  </a:lnTo>
                  <a:lnTo>
                    <a:pt x="1050" y="240"/>
                  </a:lnTo>
                  <a:lnTo>
                    <a:pt x="1044" y="246"/>
                  </a:lnTo>
                  <a:lnTo>
                    <a:pt x="1038" y="246"/>
                  </a:lnTo>
                  <a:lnTo>
                    <a:pt x="1026" y="282"/>
                  </a:lnTo>
                  <a:lnTo>
                    <a:pt x="1032" y="306"/>
                  </a:lnTo>
                  <a:lnTo>
                    <a:pt x="1044" y="324"/>
                  </a:lnTo>
                  <a:lnTo>
                    <a:pt x="1044" y="342"/>
                  </a:lnTo>
                  <a:lnTo>
                    <a:pt x="1062" y="366"/>
                  </a:lnTo>
                  <a:lnTo>
                    <a:pt x="1056" y="396"/>
                  </a:lnTo>
                  <a:lnTo>
                    <a:pt x="1038" y="462"/>
                  </a:lnTo>
                  <a:lnTo>
                    <a:pt x="1038" y="498"/>
                  </a:lnTo>
                  <a:lnTo>
                    <a:pt x="1038" y="522"/>
                  </a:lnTo>
                  <a:lnTo>
                    <a:pt x="1038" y="534"/>
                  </a:lnTo>
                  <a:lnTo>
                    <a:pt x="1056" y="522"/>
                  </a:lnTo>
                  <a:lnTo>
                    <a:pt x="1098" y="504"/>
                  </a:lnTo>
                  <a:lnTo>
                    <a:pt x="1104" y="498"/>
                  </a:lnTo>
                  <a:lnTo>
                    <a:pt x="1128" y="492"/>
                  </a:lnTo>
                  <a:lnTo>
                    <a:pt x="1152" y="480"/>
                  </a:lnTo>
                  <a:lnTo>
                    <a:pt x="1170" y="474"/>
                  </a:lnTo>
                  <a:lnTo>
                    <a:pt x="1188" y="468"/>
                  </a:lnTo>
                  <a:lnTo>
                    <a:pt x="1200" y="462"/>
                  </a:lnTo>
                  <a:lnTo>
                    <a:pt x="1224" y="450"/>
                  </a:lnTo>
                  <a:lnTo>
                    <a:pt x="1248" y="450"/>
                  </a:lnTo>
                  <a:lnTo>
                    <a:pt x="1266" y="450"/>
                  </a:lnTo>
                  <a:lnTo>
                    <a:pt x="1296" y="456"/>
                  </a:lnTo>
                  <a:lnTo>
                    <a:pt x="1308" y="456"/>
                  </a:lnTo>
                  <a:lnTo>
                    <a:pt x="1326" y="456"/>
                  </a:lnTo>
                  <a:lnTo>
                    <a:pt x="1338" y="456"/>
                  </a:lnTo>
                  <a:lnTo>
                    <a:pt x="1350" y="462"/>
                  </a:lnTo>
                  <a:lnTo>
                    <a:pt x="1356" y="462"/>
                  </a:lnTo>
                  <a:lnTo>
                    <a:pt x="1374" y="456"/>
                  </a:lnTo>
                  <a:lnTo>
                    <a:pt x="1386" y="456"/>
                  </a:lnTo>
                  <a:lnTo>
                    <a:pt x="1392" y="456"/>
                  </a:lnTo>
                  <a:lnTo>
                    <a:pt x="1398" y="456"/>
                  </a:lnTo>
                  <a:lnTo>
                    <a:pt x="1422" y="456"/>
                  </a:lnTo>
                  <a:lnTo>
                    <a:pt x="1440" y="456"/>
                  </a:lnTo>
                  <a:lnTo>
                    <a:pt x="1446" y="456"/>
                  </a:lnTo>
                  <a:lnTo>
                    <a:pt x="1476" y="456"/>
                  </a:lnTo>
                  <a:lnTo>
                    <a:pt x="1470" y="468"/>
                  </a:lnTo>
                  <a:lnTo>
                    <a:pt x="1470" y="474"/>
                  </a:lnTo>
                  <a:lnTo>
                    <a:pt x="1470" y="486"/>
                  </a:lnTo>
                  <a:lnTo>
                    <a:pt x="1464" y="492"/>
                  </a:lnTo>
                  <a:lnTo>
                    <a:pt x="1464" y="498"/>
                  </a:lnTo>
                  <a:lnTo>
                    <a:pt x="1458" y="498"/>
                  </a:lnTo>
                  <a:lnTo>
                    <a:pt x="1458" y="510"/>
                  </a:lnTo>
                  <a:lnTo>
                    <a:pt x="1452" y="522"/>
                  </a:lnTo>
                  <a:lnTo>
                    <a:pt x="1458" y="528"/>
                  </a:lnTo>
                  <a:lnTo>
                    <a:pt x="1464" y="546"/>
                  </a:lnTo>
                  <a:lnTo>
                    <a:pt x="1470" y="552"/>
                  </a:lnTo>
                  <a:lnTo>
                    <a:pt x="1476" y="564"/>
                  </a:lnTo>
                  <a:lnTo>
                    <a:pt x="1488" y="588"/>
                  </a:lnTo>
                  <a:lnTo>
                    <a:pt x="1506" y="606"/>
                  </a:lnTo>
                  <a:lnTo>
                    <a:pt x="1506" y="612"/>
                  </a:lnTo>
                  <a:lnTo>
                    <a:pt x="1518" y="618"/>
                  </a:lnTo>
                  <a:lnTo>
                    <a:pt x="1512" y="630"/>
                  </a:lnTo>
                  <a:lnTo>
                    <a:pt x="1518" y="642"/>
                  </a:lnTo>
                  <a:lnTo>
                    <a:pt x="1518" y="648"/>
                  </a:lnTo>
                  <a:lnTo>
                    <a:pt x="1530" y="666"/>
                  </a:lnTo>
                  <a:lnTo>
                    <a:pt x="1518" y="672"/>
                  </a:lnTo>
                  <a:lnTo>
                    <a:pt x="1524" y="696"/>
                  </a:lnTo>
                  <a:lnTo>
                    <a:pt x="1518" y="732"/>
                  </a:lnTo>
                  <a:lnTo>
                    <a:pt x="1524" y="762"/>
                  </a:lnTo>
                  <a:lnTo>
                    <a:pt x="1524" y="780"/>
                  </a:lnTo>
                  <a:lnTo>
                    <a:pt x="1524" y="810"/>
                  </a:lnTo>
                  <a:lnTo>
                    <a:pt x="1530" y="834"/>
                  </a:lnTo>
                  <a:lnTo>
                    <a:pt x="1536" y="846"/>
                  </a:lnTo>
                  <a:lnTo>
                    <a:pt x="1542" y="846"/>
                  </a:lnTo>
                  <a:lnTo>
                    <a:pt x="1584" y="840"/>
                  </a:lnTo>
                  <a:lnTo>
                    <a:pt x="1590" y="846"/>
                  </a:lnTo>
                  <a:lnTo>
                    <a:pt x="1596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90" y="864"/>
                  </a:lnTo>
                  <a:lnTo>
                    <a:pt x="1578" y="882"/>
                  </a:lnTo>
                  <a:lnTo>
                    <a:pt x="1572" y="906"/>
                  </a:lnTo>
                  <a:lnTo>
                    <a:pt x="1560" y="924"/>
                  </a:lnTo>
                  <a:lnTo>
                    <a:pt x="1560" y="936"/>
                  </a:lnTo>
                  <a:lnTo>
                    <a:pt x="1548" y="960"/>
                  </a:lnTo>
                  <a:lnTo>
                    <a:pt x="1542" y="978"/>
                  </a:lnTo>
                  <a:lnTo>
                    <a:pt x="1536" y="990"/>
                  </a:lnTo>
                  <a:lnTo>
                    <a:pt x="1530" y="990"/>
                  </a:lnTo>
                  <a:lnTo>
                    <a:pt x="1506" y="996"/>
                  </a:lnTo>
                  <a:lnTo>
                    <a:pt x="1494" y="1002"/>
                  </a:lnTo>
                  <a:lnTo>
                    <a:pt x="1482" y="1002"/>
                  </a:lnTo>
                  <a:lnTo>
                    <a:pt x="1464" y="1008"/>
                  </a:lnTo>
                  <a:lnTo>
                    <a:pt x="1446" y="1026"/>
                  </a:lnTo>
                  <a:lnTo>
                    <a:pt x="1440" y="1026"/>
                  </a:lnTo>
                  <a:lnTo>
                    <a:pt x="1434" y="1038"/>
                  </a:lnTo>
                  <a:lnTo>
                    <a:pt x="1428" y="1044"/>
                  </a:lnTo>
                  <a:lnTo>
                    <a:pt x="1428" y="1062"/>
                  </a:lnTo>
                  <a:lnTo>
                    <a:pt x="1428" y="1086"/>
                  </a:lnTo>
                  <a:lnTo>
                    <a:pt x="1416" y="1092"/>
                  </a:lnTo>
                  <a:lnTo>
                    <a:pt x="1410" y="1080"/>
                  </a:lnTo>
                  <a:lnTo>
                    <a:pt x="1392" y="10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0" name="Freeform 25">
              <a:extLst>
                <a:ext uri="{FF2B5EF4-FFF2-40B4-BE49-F238E27FC236}">
                  <a16:creationId xmlns:a16="http://schemas.microsoft.com/office/drawing/2014/main" id="{39FDFF90-5ACF-4D65-81AD-C44D2CBE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70228" y="3063559"/>
              <a:ext cx="644023" cy="704498"/>
            </a:xfrm>
            <a:custGeom>
              <a:avLst/>
              <a:gdLst>
                <a:gd name="T0" fmla="*/ 74 w 1212"/>
                <a:gd name="T1" fmla="*/ 113 h 1326"/>
                <a:gd name="T2" fmla="*/ 60 w 1212"/>
                <a:gd name="T3" fmla="*/ 116 h 1326"/>
                <a:gd name="T4" fmla="*/ 62 w 1212"/>
                <a:gd name="T5" fmla="*/ 110 h 1326"/>
                <a:gd name="T6" fmla="*/ 60 w 1212"/>
                <a:gd name="T7" fmla="*/ 105 h 1326"/>
                <a:gd name="T8" fmla="*/ 52 w 1212"/>
                <a:gd name="T9" fmla="*/ 96 h 1326"/>
                <a:gd name="T10" fmla="*/ 47 w 1212"/>
                <a:gd name="T11" fmla="*/ 98 h 1326"/>
                <a:gd name="T12" fmla="*/ 44 w 1212"/>
                <a:gd name="T13" fmla="*/ 93 h 1326"/>
                <a:gd name="T14" fmla="*/ 40 w 1212"/>
                <a:gd name="T15" fmla="*/ 96 h 1326"/>
                <a:gd name="T16" fmla="*/ 35 w 1212"/>
                <a:gd name="T17" fmla="*/ 102 h 1326"/>
                <a:gd name="T18" fmla="*/ 27 w 1212"/>
                <a:gd name="T19" fmla="*/ 100 h 1326"/>
                <a:gd name="T20" fmla="*/ 23 w 1212"/>
                <a:gd name="T21" fmla="*/ 96 h 1326"/>
                <a:gd name="T22" fmla="*/ 20 w 1212"/>
                <a:gd name="T23" fmla="*/ 90 h 1326"/>
                <a:gd name="T24" fmla="*/ 18 w 1212"/>
                <a:gd name="T25" fmla="*/ 89 h 1326"/>
                <a:gd name="T26" fmla="*/ 18 w 1212"/>
                <a:gd name="T27" fmla="*/ 85 h 1326"/>
                <a:gd name="T28" fmla="*/ 19 w 1212"/>
                <a:gd name="T29" fmla="*/ 83 h 1326"/>
                <a:gd name="T30" fmla="*/ 19 w 1212"/>
                <a:gd name="T31" fmla="*/ 82 h 1326"/>
                <a:gd name="T32" fmla="*/ 20 w 1212"/>
                <a:gd name="T33" fmla="*/ 79 h 1326"/>
                <a:gd name="T34" fmla="*/ 19 w 1212"/>
                <a:gd name="T35" fmla="*/ 75 h 1326"/>
                <a:gd name="T36" fmla="*/ 17 w 1212"/>
                <a:gd name="T37" fmla="*/ 77 h 1326"/>
                <a:gd name="T38" fmla="*/ 14 w 1212"/>
                <a:gd name="T39" fmla="*/ 76 h 1326"/>
                <a:gd name="T40" fmla="*/ 12 w 1212"/>
                <a:gd name="T41" fmla="*/ 71 h 1326"/>
                <a:gd name="T42" fmla="*/ 8 w 1212"/>
                <a:gd name="T43" fmla="*/ 69 h 1326"/>
                <a:gd name="T44" fmla="*/ 0 w 1212"/>
                <a:gd name="T45" fmla="*/ 72 h 1326"/>
                <a:gd name="T46" fmla="*/ 2 w 1212"/>
                <a:gd name="T47" fmla="*/ 67 h 1326"/>
                <a:gd name="T48" fmla="*/ 3 w 1212"/>
                <a:gd name="T49" fmla="*/ 61 h 1326"/>
                <a:gd name="T50" fmla="*/ 4 w 1212"/>
                <a:gd name="T51" fmla="*/ 56 h 1326"/>
                <a:gd name="T52" fmla="*/ 4 w 1212"/>
                <a:gd name="T53" fmla="*/ 52 h 1326"/>
                <a:gd name="T54" fmla="*/ 2 w 1212"/>
                <a:gd name="T55" fmla="*/ 47 h 1326"/>
                <a:gd name="T56" fmla="*/ 2 w 1212"/>
                <a:gd name="T57" fmla="*/ 42 h 1326"/>
                <a:gd name="T58" fmla="*/ 5 w 1212"/>
                <a:gd name="T59" fmla="*/ 39 h 1326"/>
                <a:gd name="T60" fmla="*/ 5 w 1212"/>
                <a:gd name="T61" fmla="*/ 35 h 1326"/>
                <a:gd name="T62" fmla="*/ 7 w 1212"/>
                <a:gd name="T63" fmla="*/ 31 h 1326"/>
                <a:gd name="T64" fmla="*/ 14 w 1212"/>
                <a:gd name="T65" fmla="*/ 31 h 1326"/>
                <a:gd name="T66" fmla="*/ 18 w 1212"/>
                <a:gd name="T67" fmla="*/ 27 h 1326"/>
                <a:gd name="T68" fmla="*/ 22 w 1212"/>
                <a:gd name="T69" fmla="*/ 24 h 1326"/>
                <a:gd name="T70" fmla="*/ 27 w 1212"/>
                <a:gd name="T71" fmla="*/ 20 h 1326"/>
                <a:gd name="T72" fmla="*/ 35 w 1212"/>
                <a:gd name="T73" fmla="*/ 21 h 1326"/>
                <a:gd name="T74" fmla="*/ 61 w 1212"/>
                <a:gd name="T75" fmla="*/ 8 h 1326"/>
                <a:gd name="T76" fmla="*/ 73 w 1212"/>
                <a:gd name="T77" fmla="*/ 4 h 1326"/>
                <a:gd name="T78" fmla="*/ 86 w 1212"/>
                <a:gd name="T79" fmla="*/ 12 h 1326"/>
                <a:gd name="T80" fmla="*/ 92 w 1212"/>
                <a:gd name="T81" fmla="*/ 13 h 1326"/>
                <a:gd name="T82" fmla="*/ 86 w 1212"/>
                <a:gd name="T83" fmla="*/ 18 h 1326"/>
                <a:gd name="T84" fmla="*/ 88 w 1212"/>
                <a:gd name="T85" fmla="*/ 33 h 1326"/>
                <a:gd name="T86" fmla="*/ 97 w 1212"/>
                <a:gd name="T87" fmla="*/ 49 h 1326"/>
                <a:gd name="T88" fmla="*/ 102 w 1212"/>
                <a:gd name="T89" fmla="*/ 57 h 1326"/>
                <a:gd name="T90" fmla="*/ 104 w 1212"/>
                <a:gd name="T91" fmla="*/ 67 h 1326"/>
                <a:gd name="T92" fmla="*/ 101 w 1212"/>
                <a:gd name="T93" fmla="*/ 69 h 1326"/>
                <a:gd name="T94" fmla="*/ 97 w 1212"/>
                <a:gd name="T95" fmla="*/ 69 h 1326"/>
                <a:gd name="T96" fmla="*/ 96 w 1212"/>
                <a:gd name="T97" fmla="*/ 71 h 1326"/>
                <a:gd name="T98" fmla="*/ 93 w 1212"/>
                <a:gd name="T99" fmla="*/ 70 h 1326"/>
                <a:gd name="T100" fmla="*/ 86 w 1212"/>
                <a:gd name="T101" fmla="*/ 69 h 1326"/>
                <a:gd name="T102" fmla="*/ 82 w 1212"/>
                <a:gd name="T103" fmla="*/ 73 h 1326"/>
                <a:gd name="T104" fmla="*/ 79 w 1212"/>
                <a:gd name="T105" fmla="*/ 74 h 1326"/>
                <a:gd name="T106" fmla="*/ 78 w 1212"/>
                <a:gd name="T107" fmla="*/ 79 h 1326"/>
                <a:gd name="T108" fmla="*/ 78 w 1212"/>
                <a:gd name="T109" fmla="*/ 83 h 1326"/>
                <a:gd name="T110" fmla="*/ 82 w 1212"/>
                <a:gd name="T111" fmla="*/ 87 h 1326"/>
                <a:gd name="T112" fmla="*/ 83 w 1212"/>
                <a:gd name="T113" fmla="*/ 90 h 1326"/>
                <a:gd name="T114" fmla="*/ 82 w 1212"/>
                <a:gd name="T115" fmla="*/ 94 h 1326"/>
                <a:gd name="T116" fmla="*/ 82 w 1212"/>
                <a:gd name="T117" fmla="*/ 98 h 1326"/>
                <a:gd name="T118" fmla="*/ 82 w 1212"/>
                <a:gd name="T119" fmla="*/ 104 h 1326"/>
                <a:gd name="T120" fmla="*/ 78 w 1212"/>
                <a:gd name="T121" fmla="*/ 110 h 132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12"/>
                <a:gd name="T184" fmla="*/ 0 h 1326"/>
                <a:gd name="T185" fmla="*/ 1212 w 1212"/>
                <a:gd name="T186" fmla="*/ 1326 h 132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12" h="1326">
                  <a:moveTo>
                    <a:pt x="906" y="1290"/>
                  </a:moveTo>
                  <a:lnTo>
                    <a:pt x="906" y="1296"/>
                  </a:lnTo>
                  <a:lnTo>
                    <a:pt x="900" y="1296"/>
                  </a:lnTo>
                  <a:lnTo>
                    <a:pt x="876" y="1290"/>
                  </a:lnTo>
                  <a:lnTo>
                    <a:pt x="870" y="1290"/>
                  </a:lnTo>
                  <a:lnTo>
                    <a:pt x="864" y="1296"/>
                  </a:lnTo>
                  <a:lnTo>
                    <a:pt x="852" y="1296"/>
                  </a:lnTo>
                  <a:lnTo>
                    <a:pt x="840" y="1302"/>
                  </a:lnTo>
                  <a:lnTo>
                    <a:pt x="834" y="1308"/>
                  </a:lnTo>
                  <a:lnTo>
                    <a:pt x="822" y="1320"/>
                  </a:lnTo>
                  <a:lnTo>
                    <a:pt x="816" y="1320"/>
                  </a:lnTo>
                  <a:lnTo>
                    <a:pt x="732" y="1320"/>
                  </a:lnTo>
                  <a:lnTo>
                    <a:pt x="696" y="1320"/>
                  </a:lnTo>
                  <a:lnTo>
                    <a:pt x="690" y="1326"/>
                  </a:lnTo>
                  <a:lnTo>
                    <a:pt x="678" y="1326"/>
                  </a:lnTo>
                  <a:lnTo>
                    <a:pt x="672" y="1308"/>
                  </a:lnTo>
                  <a:lnTo>
                    <a:pt x="696" y="1302"/>
                  </a:lnTo>
                  <a:lnTo>
                    <a:pt x="708" y="1296"/>
                  </a:lnTo>
                  <a:lnTo>
                    <a:pt x="720" y="1284"/>
                  </a:lnTo>
                  <a:lnTo>
                    <a:pt x="714" y="1278"/>
                  </a:lnTo>
                  <a:lnTo>
                    <a:pt x="714" y="1266"/>
                  </a:lnTo>
                  <a:lnTo>
                    <a:pt x="708" y="1260"/>
                  </a:lnTo>
                  <a:lnTo>
                    <a:pt x="708" y="1254"/>
                  </a:lnTo>
                  <a:lnTo>
                    <a:pt x="708" y="1248"/>
                  </a:lnTo>
                  <a:lnTo>
                    <a:pt x="702" y="1236"/>
                  </a:lnTo>
                  <a:lnTo>
                    <a:pt x="702" y="1230"/>
                  </a:lnTo>
                  <a:lnTo>
                    <a:pt x="702" y="1218"/>
                  </a:lnTo>
                  <a:lnTo>
                    <a:pt x="696" y="1200"/>
                  </a:lnTo>
                  <a:lnTo>
                    <a:pt x="696" y="1182"/>
                  </a:lnTo>
                  <a:lnTo>
                    <a:pt x="666" y="1182"/>
                  </a:lnTo>
                  <a:lnTo>
                    <a:pt x="672" y="1134"/>
                  </a:lnTo>
                  <a:lnTo>
                    <a:pt x="666" y="1128"/>
                  </a:lnTo>
                  <a:lnTo>
                    <a:pt x="660" y="1092"/>
                  </a:lnTo>
                  <a:lnTo>
                    <a:pt x="654" y="1098"/>
                  </a:lnTo>
                  <a:lnTo>
                    <a:pt x="594" y="1098"/>
                  </a:lnTo>
                  <a:lnTo>
                    <a:pt x="576" y="1098"/>
                  </a:lnTo>
                  <a:lnTo>
                    <a:pt x="570" y="1104"/>
                  </a:lnTo>
                  <a:lnTo>
                    <a:pt x="564" y="1110"/>
                  </a:lnTo>
                  <a:lnTo>
                    <a:pt x="558" y="1110"/>
                  </a:lnTo>
                  <a:lnTo>
                    <a:pt x="552" y="1110"/>
                  </a:lnTo>
                  <a:lnTo>
                    <a:pt x="546" y="1110"/>
                  </a:lnTo>
                  <a:lnTo>
                    <a:pt x="546" y="1116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10" y="1128"/>
                  </a:lnTo>
                  <a:lnTo>
                    <a:pt x="522" y="1104"/>
                  </a:lnTo>
                  <a:lnTo>
                    <a:pt x="510" y="1098"/>
                  </a:lnTo>
                  <a:lnTo>
                    <a:pt x="510" y="1074"/>
                  </a:lnTo>
                  <a:lnTo>
                    <a:pt x="504" y="1068"/>
                  </a:lnTo>
                  <a:lnTo>
                    <a:pt x="498" y="1068"/>
                  </a:lnTo>
                  <a:lnTo>
                    <a:pt x="492" y="1068"/>
                  </a:lnTo>
                  <a:lnTo>
                    <a:pt x="474" y="1080"/>
                  </a:lnTo>
                  <a:lnTo>
                    <a:pt x="474" y="1086"/>
                  </a:lnTo>
                  <a:lnTo>
                    <a:pt x="474" y="1092"/>
                  </a:lnTo>
                  <a:lnTo>
                    <a:pt x="468" y="1098"/>
                  </a:lnTo>
                  <a:lnTo>
                    <a:pt x="462" y="1104"/>
                  </a:lnTo>
                  <a:lnTo>
                    <a:pt x="456" y="1110"/>
                  </a:lnTo>
                  <a:lnTo>
                    <a:pt x="456" y="1122"/>
                  </a:lnTo>
                  <a:lnTo>
                    <a:pt x="456" y="1128"/>
                  </a:lnTo>
                  <a:lnTo>
                    <a:pt x="450" y="1140"/>
                  </a:lnTo>
                  <a:lnTo>
                    <a:pt x="444" y="1146"/>
                  </a:lnTo>
                  <a:lnTo>
                    <a:pt x="426" y="1170"/>
                  </a:lnTo>
                  <a:lnTo>
                    <a:pt x="408" y="1176"/>
                  </a:lnTo>
                  <a:lnTo>
                    <a:pt x="402" y="1170"/>
                  </a:lnTo>
                  <a:lnTo>
                    <a:pt x="396" y="1170"/>
                  </a:lnTo>
                  <a:lnTo>
                    <a:pt x="396" y="1158"/>
                  </a:lnTo>
                  <a:lnTo>
                    <a:pt x="384" y="1152"/>
                  </a:lnTo>
                  <a:lnTo>
                    <a:pt x="372" y="1140"/>
                  </a:lnTo>
                  <a:lnTo>
                    <a:pt x="354" y="1140"/>
                  </a:lnTo>
                  <a:lnTo>
                    <a:pt x="306" y="1146"/>
                  </a:lnTo>
                  <a:lnTo>
                    <a:pt x="294" y="1134"/>
                  </a:lnTo>
                  <a:lnTo>
                    <a:pt x="294" y="1128"/>
                  </a:lnTo>
                  <a:lnTo>
                    <a:pt x="288" y="1122"/>
                  </a:lnTo>
                  <a:lnTo>
                    <a:pt x="276" y="1122"/>
                  </a:lnTo>
                  <a:lnTo>
                    <a:pt x="276" y="1110"/>
                  </a:lnTo>
                  <a:lnTo>
                    <a:pt x="276" y="1104"/>
                  </a:lnTo>
                  <a:lnTo>
                    <a:pt x="270" y="1098"/>
                  </a:lnTo>
                  <a:lnTo>
                    <a:pt x="264" y="1086"/>
                  </a:lnTo>
                  <a:lnTo>
                    <a:pt x="264" y="1074"/>
                  </a:lnTo>
                  <a:lnTo>
                    <a:pt x="258" y="1068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34" y="1038"/>
                  </a:lnTo>
                  <a:lnTo>
                    <a:pt x="228" y="1038"/>
                  </a:lnTo>
                  <a:lnTo>
                    <a:pt x="222" y="1038"/>
                  </a:lnTo>
                  <a:lnTo>
                    <a:pt x="216" y="1038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0"/>
                  </a:lnTo>
                  <a:lnTo>
                    <a:pt x="204" y="1014"/>
                  </a:lnTo>
                  <a:lnTo>
                    <a:pt x="204" y="1008"/>
                  </a:lnTo>
                  <a:lnTo>
                    <a:pt x="198" y="1002"/>
                  </a:lnTo>
                  <a:lnTo>
                    <a:pt x="198" y="996"/>
                  </a:lnTo>
                  <a:lnTo>
                    <a:pt x="198" y="990"/>
                  </a:lnTo>
                  <a:lnTo>
                    <a:pt x="204" y="990"/>
                  </a:lnTo>
                  <a:lnTo>
                    <a:pt x="204" y="984"/>
                  </a:lnTo>
                  <a:lnTo>
                    <a:pt x="210" y="978"/>
                  </a:lnTo>
                  <a:lnTo>
                    <a:pt x="210" y="972"/>
                  </a:lnTo>
                  <a:lnTo>
                    <a:pt x="210" y="966"/>
                  </a:lnTo>
                  <a:lnTo>
                    <a:pt x="216" y="960"/>
                  </a:lnTo>
                  <a:lnTo>
                    <a:pt x="216" y="954"/>
                  </a:lnTo>
                  <a:lnTo>
                    <a:pt x="210" y="954"/>
                  </a:lnTo>
                  <a:lnTo>
                    <a:pt x="204" y="954"/>
                  </a:lnTo>
                  <a:lnTo>
                    <a:pt x="216" y="954"/>
                  </a:lnTo>
                  <a:lnTo>
                    <a:pt x="216" y="948"/>
                  </a:lnTo>
                  <a:lnTo>
                    <a:pt x="210" y="948"/>
                  </a:lnTo>
                  <a:lnTo>
                    <a:pt x="210" y="942"/>
                  </a:lnTo>
                  <a:lnTo>
                    <a:pt x="216" y="942"/>
                  </a:lnTo>
                  <a:lnTo>
                    <a:pt x="222" y="942"/>
                  </a:lnTo>
                  <a:lnTo>
                    <a:pt x="222" y="936"/>
                  </a:lnTo>
                  <a:lnTo>
                    <a:pt x="216" y="936"/>
                  </a:lnTo>
                  <a:lnTo>
                    <a:pt x="210" y="936"/>
                  </a:lnTo>
                  <a:lnTo>
                    <a:pt x="210" y="930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22" y="918"/>
                  </a:lnTo>
                  <a:lnTo>
                    <a:pt x="228" y="912"/>
                  </a:lnTo>
                  <a:lnTo>
                    <a:pt x="228" y="906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2" y="888"/>
                  </a:lnTo>
                  <a:lnTo>
                    <a:pt x="222" y="882"/>
                  </a:lnTo>
                  <a:lnTo>
                    <a:pt x="222" y="876"/>
                  </a:lnTo>
                  <a:lnTo>
                    <a:pt x="222" y="858"/>
                  </a:lnTo>
                  <a:lnTo>
                    <a:pt x="216" y="858"/>
                  </a:lnTo>
                  <a:lnTo>
                    <a:pt x="216" y="852"/>
                  </a:lnTo>
                  <a:lnTo>
                    <a:pt x="210" y="852"/>
                  </a:lnTo>
                  <a:lnTo>
                    <a:pt x="210" y="840"/>
                  </a:lnTo>
                  <a:lnTo>
                    <a:pt x="198" y="840"/>
                  </a:lnTo>
                  <a:lnTo>
                    <a:pt x="198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0" y="894"/>
                  </a:lnTo>
                  <a:lnTo>
                    <a:pt x="180" y="906"/>
                  </a:lnTo>
                  <a:lnTo>
                    <a:pt x="156" y="912"/>
                  </a:lnTo>
                  <a:lnTo>
                    <a:pt x="156" y="894"/>
                  </a:lnTo>
                  <a:lnTo>
                    <a:pt x="156" y="882"/>
                  </a:lnTo>
                  <a:lnTo>
                    <a:pt x="156" y="876"/>
                  </a:lnTo>
                  <a:lnTo>
                    <a:pt x="150" y="876"/>
                  </a:lnTo>
                  <a:lnTo>
                    <a:pt x="144" y="876"/>
                  </a:lnTo>
                  <a:lnTo>
                    <a:pt x="138" y="870"/>
                  </a:lnTo>
                  <a:lnTo>
                    <a:pt x="132" y="864"/>
                  </a:lnTo>
                  <a:lnTo>
                    <a:pt x="138" y="840"/>
                  </a:lnTo>
                  <a:lnTo>
                    <a:pt x="132" y="840"/>
                  </a:lnTo>
                  <a:lnTo>
                    <a:pt x="138" y="810"/>
                  </a:lnTo>
                  <a:lnTo>
                    <a:pt x="144" y="804"/>
                  </a:lnTo>
                  <a:lnTo>
                    <a:pt x="144" y="798"/>
                  </a:lnTo>
                  <a:lnTo>
                    <a:pt x="156" y="798"/>
                  </a:lnTo>
                  <a:lnTo>
                    <a:pt x="156" y="792"/>
                  </a:lnTo>
                  <a:lnTo>
                    <a:pt x="120" y="792"/>
                  </a:lnTo>
                  <a:lnTo>
                    <a:pt x="108" y="786"/>
                  </a:lnTo>
                  <a:lnTo>
                    <a:pt x="96" y="786"/>
                  </a:lnTo>
                  <a:lnTo>
                    <a:pt x="96" y="780"/>
                  </a:lnTo>
                  <a:lnTo>
                    <a:pt x="78" y="780"/>
                  </a:lnTo>
                  <a:lnTo>
                    <a:pt x="72" y="804"/>
                  </a:lnTo>
                  <a:lnTo>
                    <a:pt x="60" y="816"/>
                  </a:lnTo>
                  <a:lnTo>
                    <a:pt x="36" y="828"/>
                  </a:lnTo>
                  <a:lnTo>
                    <a:pt x="18" y="840"/>
                  </a:lnTo>
                  <a:lnTo>
                    <a:pt x="0" y="822"/>
                  </a:lnTo>
                  <a:lnTo>
                    <a:pt x="6" y="816"/>
                  </a:lnTo>
                  <a:lnTo>
                    <a:pt x="12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18" y="786"/>
                  </a:lnTo>
                  <a:lnTo>
                    <a:pt x="24" y="780"/>
                  </a:lnTo>
                  <a:lnTo>
                    <a:pt x="24" y="768"/>
                  </a:lnTo>
                  <a:lnTo>
                    <a:pt x="24" y="762"/>
                  </a:lnTo>
                  <a:lnTo>
                    <a:pt x="24" y="750"/>
                  </a:lnTo>
                  <a:lnTo>
                    <a:pt x="36" y="714"/>
                  </a:lnTo>
                  <a:lnTo>
                    <a:pt x="36" y="708"/>
                  </a:lnTo>
                  <a:lnTo>
                    <a:pt x="42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6" y="690"/>
                  </a:lnTo>
                  <a:lnTo>
                    <a:pt x="42" y="684"/>
                  </a:lnTo>
                  <a:lnTo>
                    <a:pt x="42" y="672"/>
                  </a:lnTo>
                  <a:lnTo>
                    <a:pt x="42" y="666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48" y="648"/>
                  </a:lnTo>
                  <a:lnTo>
                    <a:pt x="54" y="642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54" y="612"/>
                  </a:lnTo>
                  <a:lnTo>
                    <a:pt x="48" y="606"/>
                  </a:lnTo>
                  <a:lnTo>
                    <a:pt x="48" y="600"/>
                  </a:lnTo>
                  <a:lnTo>
                    <a:pt x="42" y="600"/>
                  </a:lnTo>
                  <a:lnTo>
                    <a:pt x="36" y="594"/>
                  </a:lnTo>
                  <a:lnTo>
                    <a:pt x="36" y="588"/>
                  </a:lnTo>
                  <a:lnTo>
                    <a:pt x="30" y="582"/>
                  </a:lnTo>
                  <a:lnTo>
                    <a:pt x="30" y="570"/>
                  </a:lnTo>
                  <a:lnTo>
                    <a:pt x="18" y="552"/>
                  </a:lnTo>
                  <a:lnTo>
                    <a:pt x="18" y="546"/>
                  </a:lnTo>
                  <a:lnTo>
                    <a:pt x="18" y="540"/>
                  </a:lnTo>
                  <a:lnTo>
                    <a:pt x="18" y="528"/>
                  </a:lnTo>
                  <a:lnTo>
                    <a:pt x="18" y="522"/>
                  </a:lnTo>
                  <a:lnTo>
                    <a:pt x="24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30" y="474"/>
                  </a:lnTo>
                  <a:lnTo>
                    <a:pt x="36" y="474"/>
                  </a:lnTo>
                  <a:lnTo>
                    <a:pt x="42" y="468"/>
                  </a:lnTo>
                  <a:lnTo>
                    <a:pt x="48" y="468"/>
                  </a:lnTo>
                  <a:lnTo>
                    <a:pt x="48" y="462"/>
                  </a:lnTo>
                  <a:lnTo>
                    <a:pt x="48" y="456"/>
                  </a:lnTo>
                  <a:lnTo>
                    <a:pt x="54" y="450"/>
                  </a:lnTo>
                  <a:lnTo>
                    <a:pt x="60" y="438"/>
                  </a:lnTo>
                  <a:lnTo>
                    <a:pt x="54" y="438"/>
                  </a:lnTo>
                  <a:lnTo>
                    <a:pt x="54" y="432"/>
                  </a:ln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54" y="402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6" y="384"/>
                  </a:lnTo>
                  <a:lnTo>
                    <a:pt x="72" y="372"/>
                  </a:lnTo>
                  <a:lnTo>
                    <a:pt x="78" y="366"/>
                  </a:lnTo>
                  <a:lnTo>
                    <a:pt x="84" y="360"/>
                  </a:lnTo>
                  <a:lnTo>
                    <a:pt x="102" y="360"/>
                  </a:lnTo>
                  <a:lnTo>
                    <a:pt x="114" y="36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8" y="360"/>
                  </a:lnTo>
                  <a:lnTo>
                    <a:pt x="156" y="360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74" y="342"/>
                  </a:lnTo>
                  <a:lnTo>
                    <a:pt x="180" y="342"/>
                  </a:lnTo>
                  <a:lnTo>
                    <a:pt x="186" y="336"/>
                  </a:lnTo>
                  <a:lnTo>
                    <a:pt x="192" y="330"/>
                  </a:lnTo>
                  <a:lnTo>
                    <a:pt x="204" y="312"/>
                  </a:lnTo>
                  <a:lnTo>
                    <a:pt x="210" y="312"/>
                  </a:lnTo>
                  <a:lnTo>
                    <a:pt x="216" y="306"/>
                  </a:lnTo>
                  <a:lnTo>
                    <a:pt x="216" y="300"/>
                  </a:lnTo>
                  <a:lnTo>
                    <a:pt x="222" y="288"/>
                  </a:lnTo>
                  <a:lnTo>
                    <a:pt x="234" y="288"/>
                  </a:lnTo>
                  <a:lnTo>
                    <a:pt x="240" y="282"/>
                  </a:lnTo>
                  <a:lnTo>
                    <a:pt x="246" y="282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70" y="270"/>
                  </a:lnTo>
                  <a:lnTo>
                    <a:pt x="276" y="264"/>
                  </a:lnTo>
                  <a:lnTo>
                    <a:pt x="282" y="26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8" y="234"/>
                  </a:lnTo>
                  <a:lnTo>
                    <a:pt x="330" y="234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72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14" y="240"/>
                  </a:lnTo>
                  <a:lnTo>
                    <a:pt x="444" y="216"/>
                  </a:lnTo>
                  <a:lnTo>
                    <a:pt x="480" y="204"/>
                  </a:lnTo>
                  <a:lnTo>
                    <a:pt x="600" y="150"/>
                  </a:lnTo>
                  <a:lnTo>
                    <a:pt x="648" y="126"/>
                  </a:lnTo>
                  <a:lnTo>
                    <a:pt x="702" y="96"/>
                  </a:lnTo>
                  <a:lnTo>
                    <a:pt x="708" y="54"/>
                  </a:lnTo>
                  <a:lnTo>
                    <a:pt x="720" y="24"/>
                  </a:lnTo>
                  <a:lnTo>
                    <a:pt x="738" y="12"/>
                  </a:lnTo>
                  <a:lnTo>
                    <a:pt x="768" y="0"/>
                  </a:lnTo>
                  <a:lnTo>
                    <a:pt x="792" y="6"/>
                  </a:lnTo>
                  <a:lnTo>
                    <a:pt x="804" y="12"/>
                  </a:lnTo>
                  <a:lnTo>
                    <a:pt x="834" y="48"/>
                  </a:lnTo>
                  <a:lnTo>
                    <a:pt x="834" y="60"/>
                  </a:lnTo>
                  <a:lnTo>
                    <a:pt x="852" y="84"/>
                  </a:lnTo>
                  <a:lnTo>
                    <a:pt x="864" y="96"/>
                  </a:lnTo>
                  <a:lnTo>
                    <a:pt x="888" y="102"/>
                  </a:lnTo>
                  <a:lnTo>
                    <a:pt x="978" y="120"/>
                  </a:lnTo>
                  <a:lnTo>
                    <a:pt x="984" y="126"/>
                  </a:lnTo>
                  <a:lnTo>
                    <a:pt x="984" y="132"/>
                  </a:lnTo>
                  <a:lnTo>
                    <a:pt x="996" y="138"/>
                  </a:lnTo>
                  <a:lnTo>
                    <a:pt x="1038" y="126"/>
                  </a:lnTo>
                  <a:lnTo>
                    <a:pt x="1056" y="114"/>
                  </a:lnTo>
                  <a:lnTo>
                    <a:pt x="1068" y="126"/>
                  </a:lnTo>
                  <a:lnTo>
                    <a:pt x="1074" y="132"/>
                  </a:lnTo>
                  <a:lnTo>
                    <a:pt x="1068" y="138"/>
                  </a:lnTo>
                  <a:lnTo>
                    <a:pt x="1056" y="150"/>
                  </a:lnTo>
                  <a:lnTo>
                    <a:pt x="1038" y="162"/>
                  </a:lnTo>
                  <a:lnTo>
                    <a:pt x="1038" y="168"/>
                  </a:lnTo>
                  <a:lnTo>
                    <a:pt x="1020" y="174"/>
                  </a:lnTo>
                  <a:lnTo>
                    <a:pt x="1014" y="180"/>
                  </a:lnTo>
                  <a:lnTo>
                    <a:pt x="1008" y="186"/>
                  </a:lnTo>
                  <a:lnTo>
                    <a:pt x="1002" y="198"/>
                  </a:lnTo>
                  <a:lnTo>
                    <a:pt x="984" y="204"/>
                  </a:lnTo>
                  <a:lnTo>
                    <a:pt x="984" y="246"/>
                  </a:lnTo>
                  <a:lnTo>
                    <a:pt x="978" y="270"/>
                  </a:lnTo>
                  <a:lnTo>
                    <a:pt x="990" y="306"/>
                  </a:lnTo>
                  <a:lnTo>
                    <a:pt x="990" y="324"/>
                  </a:lnTo>
                  <a:lnTo>
                    <a:pt x="1002" y="336"/>
                  </a:lnTo>
                  <a:lnTo>
                    <a:pt x="1020" y="372"/>
                  </a:lnTo>
                  <a:lnTo>
                    <a:pt x="1014" y="378"/>
                  </a:lnTo>
                  <a:lnTo>
                    <a:pt x="1014" y="384"/>
                  </a:lnTo>
                  <a:lnTo>
                    <a:pt x="1020" y="384"/>
                  </a:lnTo>
                  <a:lnTo>
                    <a:pt x="1020" y="396"/>
                  </a:lnTo>
                  <a:lnTo>
                    <a:pt x="1062" y="468"/>
                  </a:lnTo>
                  <a:lnTo>
                    <a:pt x="1092" y="522"/>
                  </a:lnTo>
                  <a:lnTo>
                    <a:pt x="1110" y="546"/>
                  </a:lnTo>
                  <a:lnTo>
                    <a:pt x="1122" y="564"/>
                  </a:lnTo>
                  <a:lnTo>
                    <a:pt x="1134" y="576"/>
                  </a:lnTo>
                  <a:lnTo>
                    <a:pt x="1146" y="582"/>
                  </a:lnTo>
                  <a:lnTo>
                    <a:pt x="1146" y="588"/>
                  </a:lnTo>
                  <a:lnTo>
                    <a:pt x="1164" y="600"/>
                  </a:lnTo>
                  <a:lnTo>
                    <a:pt x="1170" y="612"/>
                  </a:lnTo>
                  <a:lnTo>
                    <a:pt x="1170" y="624"/>
                  </a:lnTo>
                  <a:lnTo>
                    <a:pt x="1176" y="654"/>
                  </a:lnTo>
                  <a:lnTo>
                    <a:pt x="1176" y="666"/>
                  </a:lnTo>
                  <a:lnTo>
                    <a:pt x="1182" y="684"/>
                  </a:lnTo>
                  <a:lnTo>
                    <a:pt x="1194" y="696"/>
                  </a:lnTo>
                  <a:lnTo>
                    <a:pt x="1212" y="696"/>
                  </a:lnTo>
                  <a:lnTo>
                    <a:pt x="1206" y="762"/>
                  </a:lnTo>
                  <a:lnTo>
                    <a:pt x="1200" y="768"/>
                  </a:lnTo>
                  <a:lnTo>
                    <a:pt x="1194" y="768"/>
                  </a:lnTo>
                  <a:lnTo>
                    <a:pt x="1194" y="774"/>
                  </a:lnTo>
                  <a:lnTo>
                    <a:pt x="1188" y="774"/>
                  </a:lnTo>
                  <a:lnTo>
                    <a:pt x="1182" y="780"/>
                  </a:lnTo>
                  <a:lnTo>
                    <a:pt x="1176" y="780"/>
                  </a:lnTo>
                  <a:lnTo>
                    <a:pt x="1170" y="780"/>
                  </a:lnTo>
                  <a:lnTo>
                    <a:pt x="1164" y="786"/>
                  </a:lnTo>
                  <a:lnTo>
                    <a:pt x="1158" y="786"/>
                  </a:lnTo>
                  <a:lnTo>
                    <a:pt x="1152" y="786"/>
                  </a:lnTo>
                  <a:lnTo>
                    <a:pt x="1140" y="786"/>
                  </a:lnTo>
                  <a:lnTo>
                    <a:pt x="1134" y="786"/>
                  </a:lnTo>
                  <a:lnTo>
                    <a:pt x="1134" y="780"/>
                  </a:lnTo>
                  <a:lnTo>
                    <a:pt x="1122" y="780"/>
                  </a:lnTo>
                  <a:lnTo>
                    <a:pt x="1116" y="786"/>
                  </a:lnTo>
                  <a:lnTo>
                    <a:pt x="1116" y="792"/>
                  </a:lnTo>
                  <a:lnTo>
                    <a:pt x="1122" y="804"/>
                  </a:lnTo>
                  <a:lnTo>
                    <a:pt x="1128" y="804"/>
                  </a:lnTo>
                  <a:lnTo>
                    <a:pt x="1128" y="816"/>
                  </a:lnTo>
                  <a:lnTo>
                    <a:pt x="1122" y="822"/>
                  </a:lnTo>
                  <a:lnTo>
                    <a:pt x="1116" y="816"/>
                  </a:lnTo>
                  <a:lnTo>
                    <a:pt x="1110" y="816"/>
                  </a:lnTo>
                  <a:lnTo>
                    <a:pt x="1104" y="816"/>
                  </a:lnTo>
                  <a:lnTo>
                    <a:pt x="1098" y="816"/>
                  </a:lnTo>
                  <a:lnTo>
                    <a:pt x="1098" y="822"/>
                  </a:lnTo>
                  <a:lnTo>
                    <a:pt x="1092" y="834"/>
                  </a:lnTo>
                  <a:lnTo>
                    <a:pt x="1092" y="840"/>
                  </a:lnTo>
                  <a:lnTo>
                    <a:pt x="1074" y="840"/>
                  </a:lnTo>
                  <a:lnTo>
                    <a:pt x="1074" y="828"/>
                  </a:lnTo>
                  <a:lnTo>
                    <a:pt x="1062" y="804"/>
                  </a:lnTo>
                  <a:lnTo>
                    <a:pt x="1056" y="792"/>
                  </a:lnTo>
                  <a:lnTo>
                    <a:pt x="1056" y="786"/>
                  </a:lnTo>
                  <a:lnTo>
                    <a:pt x="1026" y="780"/>
                  </a:lnTo>
                  <a:lnTo>
                    <a:pt x="1026" y="768"/>
                  </a:lnTo>
                  <a:lnTo>
                    <a:pt x="1008" y="768"/>
                  </a:lnTo>
                  <a:lnTo>
                    <a:pt x="1002" y="780"/>
                  </a:lnTo>
                  <a:lnTo>
                    <a:pt x="996" y="792"/>
                  </a:lnTo>
                  <a:lnTo>
                    <a:pt x="978" y="798"/>
                  </a:lnTo>
                  <a:lnTo>
                    <a:pt x="972" y="810"/>
                  </a:lnTo>
                  <a:lnTo>
                    <a:pt x="972" y="822"/>
                  </a:lnTo>
                  <a:lnTo>
                    <a:pt x="978" y="828"/>
                  </a:lnTo>
                  <a:lnTo>
                    <a:pt x="978" y="834"/>
                  </a:lnTo>
                  <a:lnTo>
                    <a:pt x="960" y="840"/>
                  </a:lnTo>
                  <a:lnTo>
                    <a:pt x="936" y="840"/>
                  </a:lnTo>
                  <a:lnTo>
                    <a:pt x="918" y="846"/>
                  </a:lnTo>
                  <a:lnTo>
                    <a:pt x="912" y="840"/>
                  </a:lnTo>
                  <a:lnTo>
                    <a:pt x="912" y="834"/>
                  </a:lnTo>
                  <a:lnTo>
                    <a:pt x="906" y="834"/>
                  </a:lnTo>
                  <a:lnTo>
                    <a:pt x="906" y="840"/>
                  </a:lnTo>
                  <a:lnTo>
                    <a:pt x="900" y="846"/>
                  </a:lnTo>
                  <a:lnTo>
                    <a:pt x="906" y="852"/>
                  </a:lnTo>
                  <a:lnTo>
                    <a:pt x="900" y="864"/>
                  </a:lnTo>
                  <a:lnTo>
                    <a:pt x="900" y="876"/>
                  </a:lnTo>
                  <a:lnTo>
                    <a:pt x="900" y="882"/>
                  </a:lnTo>
                  <a:lnTo>
                    <a:pt x="894" y="888"/>
                  </a:lnTo>
                  <a:lnTo>
                    <a:pt x="900" y="900"/>
                  </a:lnTo>
                  <a:lnTo>
                    <a:pt x="900" y="906"/>
                  </a:lnTo>
                  <a:lnTo>
                    <a:pt x="894" y="906"/>
                  </a:lnTo>
                  <a:lnTo>
                    <a:pt x="894" y="912"/>
                  </a:lnTo>
                  <a:lnTo>
                    <a:pt x="900" y="918"/>
                  </a:lnTo>
                  <a:lnTo>
                    <a:pt x="900" y="924"/>
                  </a:lnTo>
                  <a:lnTo>
                    <a:pt x="900" y="948"/>
                  </a:lnTo>
                  <a:lnTo>
                    <a:pt x="888" y="948"/>
                  </a:lnTo>
                  <a:lnTo>
                    <a:pt x="888" y="954"/>
                  </a:lnTo>
                  <a:lnTo>
                    <a:pt x="894" y="954"/>
                  </a:lnTo>
                  <a:lnTo>
                    <a:pt x="900" y="960"/>
                  </a:lnTo>
                  <a:lnTo>
                    <a:pt x="900" y="972"/>
                  </a:lnTo>
                  <a:lnTo>
                    <a:pt x="906" y="984"/>
                  </a:lnTo>
                  <a:lnTo>
                    <a:pt x="912" y="984"/>
                  </a:lnTo>
                  <a:lnTo>
                    <a:pt x="918" y="990"/>
                  </a:lnTo>
                  <a:lnTo>
                    <a:pt x="936" y="990"/>
                  </a:lnTo>
                  <a:lnTo>
                    <a:pt x="936" y="996"/>
                  </a:lnTo>
                  <a:lnTo>
                    <a:pt x="942" y="996"/>
                  </a:lnTo>
                  <a:lnTo>
                    <a:pt x="942" y="1002"/>
                  </a:lnTo>
                  <a:lnTo>
                    <a:pt x="942" y="1008"/>
                  </a:lnTo>
                  <a:lnTo>
                    <a:pt x="948" y="1008"/>
                  </a:lnTo>
                  <a:lnTo>
                    <a:pt x="948" y="1014"/>
                  </a:lnTo>
                  <a:lnTo>
                    <a:pt x="948" y="1020"/>
                  </a:lnTo>
                  <a:lnTo>
                    <a:pt x="954" y="1032"/>
                  </a:lnTo>
                  <a:lnTo>
                    <a:pt x="948" y="1038"/>
                  </a:lnTo>
                  <a:lnTo>
                    <a:pt x="954" y="1044"/>
                  </a:lnTo>
                  <a:lnTo>
                    <a:pt x="954" y="1056"/>
                  </a:lnTo>
                  <a:lnTo>
                    <a:pt x="960" y="1056"/>
                  </a:lnTo>
                  <a:lnTo>
                    <a:pt x="960" y="1062"/>
                  </a:lnTo>
                  <a:lnTo>
                    <a:pt x="954" y="1068"/>
                  </a:lnTo>
                  <a:lnTo>
                    <a:pt x="948" y="1074"/>
                  </a:lnTo>
                  <a:lnTo>
                    <a:pt x="948" y="1080"/>
                  </a:lnTo>
                  <a:lnTo>
                    <a:pt x="948" y="1086"/>
                  </a:lnTo>
                  <a:lnTo>
                    <a:pt x="942" y="1092"/>
                  </a:lnTo>
                  <a:lnTo>
                    <a:pt x="942" y="1098"/>
                  </a:lnTo>
                  <a:lnTo>
                    <a:pt x="942" y="1104"/>
                  </a:lnTo>
                  <a:lnTo>
                    <a:pt x="942" y="1110"/>
                  </a:lnTo>
                  <a:lnTo>
                    <a:pt x="936" y="1116"/>
                  </a:lnTo>
                  <a:lnTo>
                    <a:pt x="936" y="1122"/>
                  </a:lnTo>
                  <a:lnTo>
                    <a:pt x="936" y="1128"/>
                  </a:lnTo>
                  <a:lnTo>
                    <a:pt x="936" y="1134"/>
                  </a:lnTo>
                  <a:lnTo>
                    <a:pt x="942" y="1146"/>
                  </a:lnTo>
                  <a:lnTo>
                    <a:pt x="936" y="1158"/>
                  </a:lnTo>
                  <a:lnTo>
                    <a:pt x="936" y="1170"/>
                  </a:lnTo>
                  <a:lnTo>
                    <a:pt x="936" y="1194"/>
                  </a:lnTo>
                  <a:lnTo>
                    <a:pt x="930" y="1200"/>
                  </a:lnTo>
                  <a:lnTo>
                    <a:pt x="930" y="1212"/>
                  </a:lnTo>
                  <a:lnTo>
                    <a:pt x="918" y="1218"/>
                  </a:lnTo>
                  <a:lnTo>
                    <a:pt x="918" y="1230"/>
                  </a:lnTo>
                  <a:lnTo>
                    <a:pt x="906" y="1230"/>
                  </a:lnTo>
                  <a:lnTo>
                    <a:pt x="900" y="1254"/>
                  </a:lnTo>
                  <a:lnTo>
                    <a:pt x="900" y="1260"/>
                  </a:lnTo>
                  <a:lnTo>
                    <a:pt x="900" y="1266"/>
                  </a:lnTo>
                  <a:lnTo>
                    <a:pt x="900" y="1272"/>
                  </a:lnTo>
                  <a:lnTo>
                    <a:pt x="900" y="1278"/>
                  </a:lnTo>
                  <a:lnTo>
                    <a:pt x="900" y="1284"/>
                  </a:lnTo>
                  <a:lnTo>
                    <a:pt x="906" y="129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1" name="Freeform 26">
              <a:extLst>
                <a:ext uri="{FF2B5EF4-FFF2-40B4-BE49-F238E27FC236}">
                  <a16:creationId xmlns:a16="http://schemas.microsoft.com/office/drawing/2014/main" id="{25725EFE-FE00-49A8-A87A-6752B785C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79173" y="3477313"/>
              <a:ext cx="650731" cy="559125"/>
            </a:xfrm>
            <a:custGeom>
              <a:avLst/>
              <a:gdLst>
                <a:gd name="T0" fmla="*/ 95 w 1224"/>
                <a:gd name="T1" fmla="*/ 89 h 1050"/>
                <a:gd name="T2" fmla="*/ 90 w 1224"/>
                <a:gd name="T3" fmla="*/ 84 h 1050"/>
                <a:gd name="T4" fmla="*/ 84 w 1224"/>
                <a:gd name="T5" fmla="*/ 83 h 1050"/>
                <a:gd name="T6" fmla="*/ 82 w 1224"/>
                <a:gd name="T7" fmla="*/ 80 h 1050"/>
                <a:gd name="T8" fmla="*/ 85 w 1224"/>
                <a:gd name="T9" fmla="*/ 77 h 1050"/>
                <a:gd name="T10" fmla="*/ 81 w 1224"/>
                <a:gd name="T11" fmla="*/ 76 h 1050"/>
                <a:gd name="T12" fmla="*/ 77 w 1224"/>
                <a:gd name="T13" fmla="*/ 77 h 1050"/>
                <a:gd name="T14" fmla="*/ 78 w 1224"/>
                <a:gd name="T15" fmla="*/ 73 h 1050"/>
                <a:gd name="T16" fmla="*/ 59 w 1224"/>
                <a:gd name="T17" fmla="*/ 71 h 1050"/>
                <a:gd name="T18" fmla="*/ 41 w 1224"/>
                <a:gd name="T19" fmla="*/ 73 h 1050"/>
                <a:gd name="T20" fmla="*/ 33 w 1224"/>
                <a:gd name="T21" fmla="*/ 71 h 1050"/>
                <a:gd name="T22" fmla="*/ 30 w 1224"/>
                <a:gd name="T23" fmla="*/ 75 h 1050"/>
                <a:gd name="T24" fmla="*/ 27 w 1224"/>
                <a:gd name="T25" fmla="*/ 80 h 1050"/>
                <a:gd name="T26" fmla="*/ 12 w 1224"/>
                <a:gd name="T27" fmla="*/ 81 h 1050"/>
                <a:gd name="T28" fmla="*/ 9 w 1224"/>
                <a:gd name="T29" fmla="*/ 84 h 1050"/>
                <a:gd name="T30" fmla="*/ 6 w 1224"/>
                <a:gd name="T31" fmla="*/ 83 h 1050"/>
                <a:gd name="T32" fmla="*/ 1 w 1224"/>
                <a:gd name="T33" fmla="*/ 83 h 1050"/>
                <a:gd name="T34" fmla="*/ 3 w 1224"/>
                <a:gd name="T35" fmla="*/ 77 h 1050"/>
                <a:gd name="T36" fmla="*/ 5 w 1224"/>
                <a:gd name="T37" fmla="*/ 70 h 1050"/>
                <a:gd name="T38" fmla="*/ 2 w 1224"/>
                <a:gd name="T39" fmla="*/ 65 h 1050"/>
                <a:gd name="T40" fmla="*/ 3 w 1224"/>
                <a:gd name="T41" fmla="*/ 58 h 1050"/>
                <a:gd name="T42" fmla="*/ 4 w 1224"/>
                <a:gd name="T43" fmla="*/ 51 h 1050"/>
                <a:gd name="T44" fmla="*/ 3 w 1224"/>
                <a:gd name="T45" fmla="*/ 47 h 1050"/>
                <a:gd name="T46" fmla="*/ 4 w 1224"/>
                <a:gd name="T47" fmla="*/ 39 h 1050"/>
                <a:gd name="T48" fmla="*/ 6 w 1224"/>
                <a:gd name="T49" fmla="*/ 29 h 1050"/>
                <a:gd name="T50" fmla="*/ 3 w 1224"/>
                <a:gd name="T51" fmla="*/ 22 h 1050"/>
                <a:gd name="T52" fmla="*/ 2 w 1224"/>
                <a:gd name="T53" fmla="*/ 14 h 1050"/>
                <a:gd name="T54" fmla="*/ 0 w 1224"/>
                <a:gd name="T55" fmla="*/ 6 h 1050"/>
                <a:gd name="T56" fmla="*/ 9 w 1224"/>
                <a:gd name="T57" fmla="*/ 1 h 1050"/>
                <a:gd name="T58" fmla="*/ 11 w 1224"/>
                <a:gd name="T59" fmla="*/ 8 h 1050"/>
                <a:gd name="T60" fmla="*/ 15 w 1224"/>
                <a:gd name="T61" fmla="*/ 9 h 1050"/>
                <a:gd name="T62" fmla="*/ 18 w 1224"/>
                <a:gd name="T63" fmla="*/ 8 h 1050"/>
                <a:gd name="T64" fmla="*/ 18 w 1224"/>
                <a:gd name="T65" fmla="*/ 13 h 1050"/>
                <a:gd name="T66" fmla="*/ 17 w 1224"/>
                <a:gd name="T67" fmla="*/ 15 h 1050"/>
                <a:gd name="T68" fmla="*/ 17 w 1224"/>
                <a:gd name="T69" fmla="*/ 17 h 1050"/>
                <a:gd name="T70" fmla="*/ 17 w 1224"/>
                <a:gd name="T71" fmla="*/ 21 h 1050"/>
                <a:gd name="T72" fmla="*/ 21 w 1224"/>
                <a:gd name="T73" fmla="*/ 25 h 1050"/>
                <a:gd name="T74" fmla="*/ 24 w 1224"/>
                <a:gd name="T75" fmla="*/ 31 h 1050"/>
                <a:gd name="T76" fmla="*/ 35 w 1224"/>
                <a:gd name="T77" fmla="*/ 34 h 1050"/>
                <a:gd name="T78" fmla="*/ 40 w 1224"/>
                <a:gd name="T79" fmla="*/ 27 h 1050"/>
                <a:gd name="T80" fmla="*/ 46 w 1224"/>
                <a:gd name="T81" fmla="*/ 30 h 1050"/>
                <a:gd name="T82" fmla="*/ 51 w 1224"/>
                <a:gd name="T83" fmla="*/ 27 h 1050"/>
                <a:gd name="T84" fmla="*/ 59 w 1224"/>
                <a:gd name="T85" fmla="*/ 39 h 1050"/>
                <a:gd name="T86" fmla="*/ 59 w 1224"/>
                <a:gd name="T87" fmla="*/ 45 h 1050"/>
                <a:gd name="T88" fmla="*/ 72 w 1224"/>
                <a:gd name="T89" fmla="*/ 45 h 1050"/>
                <a:gd name="T90" fmla="*/ 79 w 1224"/>
                <a:gd name="T91" fmla="*/ 44 h 1050"/>
                <a:gd name="T92" fmla="*/ 87 w 1224"/>
                <a:gd name="T93" fmla="*/ 48 h 1050"/>
                <a:gd name="T94" fmla="*/ 93 w 1224"/>
                <a:gd name="T95" fmla="*/ 50 h 1050"/>
                <a:gd name="T96" fmla="*/ 98 w 1224"/>
                <a:gd name="T97" fmla="*/ 51 h 1050"/>
                <a:gd name="T98" fmla="*/ 106 w 1224"/>
                <a:gd name="T99" fmla="*/ 50 h 1050"/>
                <a:gd name="T100" fmla="*/ 104 w 1224"/>
                <a:gd name="T101" fmla="*/ 54 h 1050"/>
                <a:gd name="T102" fmla="*/ 104 w 1224"/>
                <a:gd name="T103" fmla="*/ 60 h 1050"/>
                <a:gd name="T104" fmla="*/ 101 w 1224"/>
                <a:gd name="T105" fmla="*/ 63 h 1050"/>
                <a:gd name="T106" fmla="*/ 98 w 1224"/>
                <a:gd name="T107" fmla="*/ 66 h 1050"/>
                <a:gd name="T108" fmla="*/ 95 w 1224"/>
                <a:gd name="T109" fmla="*/ 68 h 1050"/>
                <a:gd name="T110" fmla="*/ 93 w 1224"/>
                <a:gd name="T111" fmla="*/ 72 h 1050"/>
                <a:gd name="T112" fmla="*/ 98 w 1224"/>
                <a:gd name="T113" fmla="*/ 75 h 1050"/>
                <a:gd name="T114" fmla="*/ 102 w 1224"/>
                <a:gd name="T115" fmla="*/ 77 h 1050"/>
                <a:gd name="T116" fmla="*/ 107 w 1224"/>
                <a:gd name="T117" fmla="*/ 76 h 1050"/>
                <a:gd name="T118" fmla="*/ 104 w 1224"/>
                <a:gd name="T119" fmla="*/ 84 h 1050"/>
                <a:gd name="T120" fmla="*/ 103 w 1224"/>
                <a:gd name="T121" fmla="*/ 87 h 1050"/>
                <a:gd name="T122" fmla="*/ 104 w 1224"/>
                <a:gd name="T123" fmla="*/ 91 h 105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24"/>
                <a:gd name="T187" fmla="*/ 0 h 1050"/>
                <a:gd name="T188" fmla="*/ 1224 w 1224"/>
                <a:gd name="T189" fmla="*/ 1050 h 105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24" h="1050">
                  <a:moveTo>
                    <a:pt x="1128" y="1032"/>
                  </a:moveTo>
                  <a:lnTo>
                    <a:pt x="1122" y="1026"/>
                  </a:lnTo>
                  <a:lnTo>
                    <a:pt x="1116" y="1026"/>
                  </a:lnTo>
                  <a:lnTo>
                    <a:pt x="1110" y="1026"/>
                  </a:lnTo>
                  <a:lnTo>
                    <a:pt x="1104" y="1026"/>
                  </a:lnTo>
                  <a:lnTo>
                    <a:pt x="1104" y="1020"/>
                  </a:lnTo>
                  <a:lnTo>
                    <a:pt x="1098" y="1020"/>
                  </a:lnTo>
                  <a:lnTo>
                    <a:pt x="1092" y="1020"/>
                  </a:lnTo>
                  <a:lnTo>
                    <a:pt x="1086" y="1020"/>
                  </a:lnTo>
                  <a:lnTo>
                    <a:pt x="1080" y="1014"/>
                  </a:lnTo>
                  <a:lnTo>
                    <a:pt x="1068" y="1014"/>
                  </a:lnTo>
                  <a:lnTo>
                    <a:pt x="1062" y="1014"/>
                  </a:lnTo>
                  <a:lnTo>
                    <a:pt x="1062" y="1008"/>
                  </a:lnTo>
                  <a:lnTo>
                    <a:pt x="1062" y="990"/>
                  </a:lnTo>
                  <a:lnTo>
                    <a:pt x="1062" y="984"/>
                  </a:lnTo>
                  <a:lnTo>
                    <a:pt x="1062" y="972"/>
                  </a:lnTo>
                  <a:lnTo>
                    <a:pt x="1044" y="966"/>
                  </a:lnTo>
                  <a:lnTo>
                    <a:pt x="1026" y="966"/>
                  </a:lnTo>
                  <a:lnTo>
                    <a:pt x="1014" y="966"/>
                  </a:lnTo>
                  <a:lnTo>
                    <a:pt x="996" y="966"/>
                  </a:lnTo>
                  <a:lnTo>
                    <a:pt x="996" y="972"/>
                  </a:lnTo>
                  <a:lnTo>
                    <a:pt x="990" y="972"/>
                  </a:lnTo>
                  <a:lnTo>
                    <a:pt x="984" y="966"/>
                  </a:lnTo>
                  <a:lnTo>
                    <a:pt x="978" y="966"/>
                  </a:lnTo>
                  <a:lnTo>
                    <a:pt x="978" y="960"/>
                  </a:lnTo>
                  <a:lnTo>
                    <a:pt x="972" y="954"/>
                  </a:lnTo>
                  <a:lnTo>
                    <a:pt x="966" y="954"/>
                  </a:lnTo>
                  <a:lnTo>
                    <a:pt x="960" y="954"/>
                  </a:lnTo>
                  <a:lnTo>
                    <a:pt x="954" y="954"/>
                  </a:lnTo>
                  <a:lnTo>
                    <a:pt x="954" y="948"/>
                  </a:lnTo>
                  <a:lnTo>
                    <a:pt x="942" y="942"/>
                  </a:lnTo>
                  <a:lnTo>
                    <a:pt x="936" y="942"/>
                  </a:lnTo>
                  <a:lnTo>
                    <a:pt x="936" y="936"/>
                  </a:lnTo>
                  <a:lnTo>
                    <a:pt x="936" y="930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42" y="918"/>
                  </a:lnTo>
                  <a:lnTo>
                    <a:pt x="948" y="918"/>
                  </a:lnTo>
                  <a:lnTo>
                    <a:pt x="960" y="918"/>
                  </a:lnTo>
                  <a:lnTo>
                    <a:pt x="966" y="912"/>
                  </a:lnTo>
                  <a:lnTo>
                    <a:pt x="978" y="906"/>
                  </a:lnTo>
                  <a:lnTo>
                    <a:pt x="978" y="900"/>
                  </a:lnTo>
                  <a:lnTo>
                    <a:pt x="978" y="894"/>
                  </a:lnTo>
                  <a:lnTo>
                    <a:pt x="978" y="888"/>
                  </a:lnTo>
                  <a:lnTo>
                    <a:pt x="972" y="888"/>
                  </a:lnTo>
                  <a:lnTo>
                    <a:pt x="978" y="888"/>
                  </a:lnTo>
                  <a:lnTo>
                    <a:pt x="978" y="882"/>
                  </a:lnTo>
                  <a:lnTo>
                    <a:pt x="972" y="876"/>
                  </a:lnTo>
                  <a:lnTo>
                    <a:pt x="966" y="870"/>
                  </a:lnTo>
                  <a:lnTo>
                    <a:pt x="954" y="876"/>
                  </a:lnTo>
                  <a:lnTo>
                    <a:pt x="948" y="876"/>
                  </a:lnTo>
                  <a:lnTo>
                    <a:pt x="942" y="870"/>
                  </a:lnTo>
                  <a:lnTo>
                    <a:pt x="936" y="876"/>
                  </a:lnTo>
                  <a:lnTo>
                    <a:pt x="930" y="876"/>
                  </a:lnTo>
                  <a:lnTo>
                    <a:pt x="924" y="882"/>
                  </a:lnTo>
                  <a:lnTo>
                    <a:pt x="912" y="888"/>
                  </a:lnTo>
                  <a:lnTo>
                    <a:pt x="906" y="894"/>
                  </a:lnTo>
                  <a:lnTo>
                    <a:pt x="900" y="900"/>
                  </a:lnTo>
                  <a:lnTo>
                    <a:pt x="894" y="888"/>
                  </a:lnTo>
                  <a:lnTo>
                    <a:pt x="888" y="894"/>
                  </a:lnTo>
                  <a:lnTo>
                    <a:pt x="882" y="888"/>
                  </a:lnTo>
                  <a:lnTo>
                    <a:pt x="876" y="894"/>
                  </a:lnTo>
                  <a:lnTo>
                    <a:pt x="876" y="888"/>
                  </a:lnTo>
                  <a:lnTo>
                    <a:pt x="876" y="882"/>
                  </a:lnTo>
                  <a:lnTo>
                    <a:pt x="876" y="876"/>
                  </a:lnTo>
                  <a:lnTo>
                    <a:pt x="870" y="858"/>
                  </a:lnTo>
                  <a:lnTo>
                    <a:pt x="864" y="858"/>
                  </a:lnTo>
                  <a:lnTo>
                    <a:pt x="870" y="852"/>
                  </a:lnTo>
                  <a:lnTo>
                    <a:pt x="870" y="846"/>
                  </a:lnTo>
                  <a:lnTo>
                    <a:pt x="876" y="846"/>
                  </a:lnTo>
                  <a:lnTo>
                    <a:pt x="882" y="846"/>
                  </a:lnTo>
                  <a:lnTo>
                    <a:pt x="888" y="840"/>
                  </a:lnTo>
                  <a:lnTo>
                    <a:pt x="894" y="834"/>
                  </a:lnTo>
                  <a:lnTo>
                    <a:pt x="894" y="828"/>
                  </a:lnTo>
                  <a:lnTo>
                    <a:pt x="894" y="816"/>
                  </a:lnTo>
                  <a:lnTo>
                    <a:pt x="858" y="810"/>
                  </a:lnTo>
                  <a:lnTo>
                    <a:pt x="858" y="816"/>
                  </a:lnTo>
                  <a:lnTo>
                    <a:pt x="852" y="816"/>
                  </a:lnTo>
                  <a:lnTo>
                    <a:pt x="780" y="816"/>
                  </a:lnTo>
                  <a:lnTo>
                    <a:pt x="750" y="816"/>
                  </a:lnTo>
                  <a:lnTo>
                    <a:pt x="684" y="816"/>
                  </a:lnTo>
                  <a:lnTo>
                    <a:pt x="636" y="816"/>
                  </a:lnTo>
                  <a:lnTo>
                    <a:pt x="612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0" y="816"/>
                  </a:lnTo>
                  <a:lnTo>
                    <a:pt x="480" y="822"/>
                  </a:lnTo>
                  <a:lnTo>
                    <a:pt x="480" y="834"/>
                  </a:lnTo>
                  <a:lnTo>
                    <a:pt x="474" y="840"/>
                  </a:lnTo>
                  <a:lnTo>
                    <a:pt x="468" y="840"/>
                  </a:lnTo>
                  <a:lnTo>
                    <a:pt x="432" y="840"/>
                  </a:lnTo>
                  <a:lnTo>
                    <a:pt x="426" y="834"/>
                  </a:lnTo>
                  <a:lnTo>
                    <a:pt x="420" y="834"/>
                  </a:lnTo>
                  <a:lnTo>
                    <a:pt x="420" y="828"/>
                  </a:lnTo>
                  <a:lnTo>
                    <a:pt x="414" y="822"/>
                  </a:lnTo>
                  <a:lnTo>
                    <a:pt x="408" y="822"/>
                  </a:lnTo>
                  <a:lnTo>
                    <a:pt x="396" y="822"/>
                  </a:lnTo>
                  <a:lnTo>
                    <a:pt x="396" y="816"/>
                  </a:lnTo>
                  <a:lnTo>
                    <a:pt x="384" y="816"/>
                  </a:lnTo>
                  <a:lnTo>
                    <a:pt x="372" y="810"/>
                  </a:lnTo>
                  <a:lnTo>
                    <a:pt x="372" y="804"/>
                  </a:lnTo>
                  <a:lnTo>
                    <a:pt x="366" y="804"/>
                  </a:lnTo>
                  <a:lnTo>
                    <a:pt x="360" y="804"/>
                  </a:lnTo>
                  <a:lnTo>
                    <a:pt x="348" y="828"/>
                  </a:lnTo>
                  <a:lnTo>
                    <a:pt x="348" y="834"/>
                  </a:lnTo>
                  <a:lnTo>
                    <a:pt x="348" y="852"/>
                  </a:lnTo>
                  <a:lnTo>
                    <a:pt x="348" y="858"/>
                  </a:lnTo>
                  <a:lnTo>
                    <a:pt x="342" y="864"/>
                  </a:lnTo>
                  <a:lnTo>
                    <a:pt x="342" y="870"/>
                  </a:lnTo>
                  <a:lnTo>
                    <a:pt x="330" y="876"/>
                  </a:lnTo>
                  <a:lnTo>
                    <a:pt x="324" y="888"/>
                  </a:lnTo>
                  <a:lnTo>
                    <a:pt x="324" y="894"/>
                  </a:lnTo>
                  <a:lnTo>
                    <a:pt x="330" y="900"/>
                  </a:lnTo>
                  <a:lnTo>
                    <a:pt x="330" y="906"/>
                  </a:lnTo>
                  <a:lnTo>
                    <a:pt x="324" y="906"/>
                  </a:lnTo>
                  <a:lnTo>
                    <a:pt x="318" y="912"/>
                  </a:lnTo>
                  <a:lnTo>
                    <a:pt x="312" y="918"/>
                  </a:lnTo>
                  <a:lnTo>
                    <a:pt x="306" y="924"/>
                  </a:lnTo>
                  <a:lnTo>
                    <a:pt x="288" y="924"/>
                  </a:lnTo>
                  <a:lnTo>
                    <a:pt x="282" y="924"/>
                  </a:lnTo>
                  <a:lnTo>
                    <a:pt x="276" y="930"/>
                  </a:lnTo>
                  <a:lnTo>
                    <a:pt x="270" y="930"/>
                  </a:lnTo>
                  <a:lnTo>
                    <a:pt x="264" y="930"/>
                  </a:lnTo>
                  <a:lnTo>
                    <a:pt x="198" y="930"/>
                  </a:lnTo>
                  <a:lnTo>
                    <a:pt x="132" y="930"/>
                  </a:lnTo>
                  <a:lnTo>
                    <a:pt x="132" y="936"/>
                  </a:lnTo>
                  <a:lnTo>
                    <a:pt x="132" y="942"/>
                  </a:lnTo>
                  <a:lnTo>
                    <a:pt x="132" y="948"/>
                  </a:lnTo>
                  <a:lnTo>
                    <a:pt x="126" y="948"/>
                  </a:lnTo>
                  <a:lnTo>
                    <a:pt x="120" y="948"/>
                  </a:lnTo>
                  <a:lnTo>
                    <a:pt x="120" y="954"/>
                  </a:lnTo>
                  <a:lnTo>
                    <a:pt x="114" y="954"/>
                  </a:lnTo>
                  <a:lnTo>
                    <a:pt x="114" y="960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02" y="966"/>
                  </a:lnTo>
                  <a:lnTo>
                    <a:pt x="102" y="972"/>
                  </a:lnTo>
                  <a:lnTo>
                    <a:pt x="96" y="972"/>
                  </a:lnTo>
                  <a:lnTo>
                    <a:pt x="96" y="966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78" y="960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60"/>
                  </a:lnTo>
                  <a:lnTo>
                    <a:pt x="54" y="966"/>
                  </a:lnTo>
                  <a:lnTo>
                    <a:pt x="48" y="966"/>
                  </a:lnTo>
                  <a:lnTo>
                    <a:pt x="42" y="966"/>
                  </a:lnTo>
                  <a:lnTo>
                    <a:pt x="36" y="966"/>
                  </a:lnTo>
                  <a:lnTo>
                    <a:pt x="30" y="966"/>
                  </a:lnTo>
                  <a:lnTo>
                    <a:pt x="24" y="960"/>
                  </a:lnTo>
                  <a:lnTo>
                    <a:pt x="18" y="960"/>
                  </a:lnTo>
                  <a:lnTo>
                    <a:pt x="12" y="960"/>
                  </a:lnTo>
                  <a:lnTo>
                    <a:pt x="12" y="948"/>
                  </a:lnTo>
                  <a:lnTo>
                    <a:pt x="18" y="942"/>
                  </a:lnTo>
                  <a:lnTo>
                    <a:pt x="18" y="936"/>
                  </a:lnTo>
                  <a:lnTo>
                    <a:pt x="18" y="930"/>
                  </a:lnTo>
                  <a:lnTo>
                    <a:pt x="18" y="924"/>
                  </a:lnTo>
                  <a:lnTo>
                    <a:pt x="18" y="912"/>
                  </a:lnTo>
                  <a:lnTo>
                    <a:pt x="24" y="906"/>
                  </a:lnTo>
                  <a:lnTo>
                    <a:pt x="30" y="900"/>
                  </a:lnTo>
                  <a:lnTo>
                    <a:pt x="36" y="894"/>
                  </a:lnTo>
                  <a:lnTo>
                    <a:pt x="36" y="882"/>
                  </a:lnTo>
                  <a:lnTo>
                    <a:pt x="30" y="876"/>
                  </a:lnTo>
                  <a:lnTo>
                    <a:pt x="30" y="870"/>
                  </a:lnTo>
                  <a:lnTo>
                    <a:pt x="24" y="858"/>
                  </a:lnTo>
                  <a:lnTo>
                    <a:pt x="24" y="846"/>
                  </a:lnTo>
                  <a:lnTo>
                    <a:pt x="36" y="822"/>
                  </a:lnTo>
                  <a:lnTo>
                    <a:pt x="42" y="816"/>
                  </a:lnTo>
                  <a:lnTo>
                    <a:pt x="48" y="816"/>
                  </a:lnTo>
                  <a:lnTo>
                    <a:pt x="60" y="804"/>
                  </a:lnTo>
                  <a:lnTo>
                    <a:pt x="60" y="786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54" y="762"/>
                  </a:lnTo>
                  <a:lnTo>
                    <a:pt x="42" y="762"/>
                  </a:lnTo>
                  <a:lnTo>
                    <a:pt x="36" y="762"/>
                  </a:lnTo>
                  <a:lnTo>
                    <a:pt x="30" y="762"/>
                  </a:lnTo>
                  <a:lnTo>
                    <a:pt x="30" y="756"/>
                  </a:lnTo>
                  <a:lnTo>
                    <a:pt x="24" y="750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702"/>
                  </a:lnTo>
                  <a:lnTo>
                    <a:pt x="36" y="684"/>
                  </a:lnTo>
                  <a:lnTo>
                    <a:pt x="36" y="678"/>
                  </a:lnTo>
                  <a:lnTo>
                    <a:pt x="36" y="666"/>
                  </a:lnTo>
                  <a:lnTo>
                    <a:pt x="36" y="654"/>
                  </a:lnTo>
                  <a:lnTo>
                    <a:pt x="18" y="654"/>
                  </a:lnTo>
                  <a:lnTo>
                    <a:pt x="18" y="648"/>
                  </a:lnTo>
                  <a:lnTo>
                    <a:pt x="18" y="618"/>
                  </a:lnTo>
                  <a:lnTo>
                    <a:pt x="18" y="612"/>
                  </a:lnTo>
                  <a:lnTo>
                    <a:pt x="24" y="612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54" y="588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76"/>
                  </a:lnTo>
                  <a:lnTo>
                    <a:pt x="48" y="564"/>
                  </a:lnTo>
                  <a:lnTo>
                    <a:pt x="42" y="564"/>
                  </a:lnTo>
                  <a:lnTo>
                    <a:pt x="36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6" y="540"/>
                  </a:lnTo>
                  <a:lnTo>
                    <a:pt x="48" y="534"/>
                  </a:lnTo>
                  <a:lnTo>
                    <a:pt x="54" y="528"/>
                  </a:lnTo>
                  <a:lnTo>
                    <a:pt x="60" y="504"/>
                  </a:lnTo>
                  <a:lnTo>
                    <a:pt x="60" y="492"/>
                  </a:lnTo>
                  <a:lnTo>
                    <a:pt x="54" y="492"/>
                  </a:lnTo>
                  <a:lnTo>
                    <a:pt x="54" y="480"/>
                  </a:lnTo>
                  <a:lnTo>
                    <a:pt x="48" y="456"/>
                  </a:lnTo>
                  <a:lnTo>
                    <a:pt x="42" y="450"/>
                  </a:lnTo>
                  <a:lnTo>
                    <a:pt x="36" y="444"/>
                  </a:lnTo>
                  <a:lnTo>
                    <a:pt x="36" y="420"/>
                  </a:lnTo>
                  <a:lnTo>
                    <a:pt x="36" y="408"/>
                  </a:lnTo>
                  <a:lnTo>
                    <a:pt x="36" y="37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60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6" y="300"/>
                  </a:lnTo>
                  <a:lnTo>
                    <a:pt x="60" y="294"/>
                  </a:lnTo>
                  <a:lnTo>
                    <a:pt x="60" y="288"/>
                  </a:lnTo>
                  <a:lnTo>
                    <a:pt x="54" y="282"/>
                  </a:lnTo>
                  <a:lnTo>
                    <a:pt x="42" y="276"/>
                  </a:lnTo>
                  <a:lnTo>
                    <a:pt x="36" y="276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0" y="252"/>
                  </a:lnTo>
                  <a:lnTo>
                    <a:pt x="24" y="246"/>
                  </a:lnTo>
                  <a:lnTo>
                    <a:pt x="24" y="240"/>
                  </a:lnTo>
                  <a:lnTo>
                    <a:pt x="24" y="228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62"/>
                  </a:lnTo>
                  <a:lnTo>
                    <a:pt x="24" y="144"/>
                  </a:lnTo>
                  <a:lnTo>
                    <a:pt x="24" y="132"/>
                  </a:lnTo>
                  <a:lnTo>
                    <a:pt x="24" y="114"/>
                  </a:lnTo>
                  <a:lnTo>
                    <a:pt x="24" y="102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18" y="48"/>
                  </a:lnTo>
                  <a:lnTo>
                    <a:pt x="42" y="36"/>
                  </a:lnTo>
                  <a:lnTo>
                    <a:pt x="54" y="24"/>
                  </a:lnTo>
                  <a:lnTo>
                    <a:pt x="60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10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14" y="60"/>
                  </a:lnTo>
                  <a:lnTo>
                    <a:pt x="120" y="60"/>
                  </a:lnTo>
                  <a:lnTo>
                    <a:pt x="114" y="84"/>
                  </a:lnTo>
                  <a:lnTo>
                    <a:pt x="120" y="90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38" y="114"/>
                  </a:lnTo>
                  <a:lnTo>
                    <a:pt x="138" y="132"/>
                  </a:lnTo>
                  <a:lnTo>
                    <a:pt x="162" y="126"/>
                  </a:lnTo>
                  <a:lnTo>
                    <a:pt x="162" y="114"/>
                  </a:lnTo>
                  <a:lnTo>
                    <a:pt x="174" y="108"/>
                  </a:lnTo>
                  <a:lnTo>
                    <a:pt x="174" y="102"/>
                  </a:lnTo>
                  <a:lnTo>
                    <a:pt x="180" y="96"/>
                  </a:lnTo>
                  <a:lnTo>
                    <a:pt x="180" y="60"/>
                  </a:lnTo>
                  <a:lnTo>
                    <a:pt x="192" y="60"/>
                  </a:lnTo>
                  <a:lnTo>
                    <a:pt x="192" y="72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04" y="108"/>
                  </a:lnTo>
                  <a:lnTo>
                    <a:pt x="204" y="114"/>
                  </a:lnTo>
                  <a:lnTo>
                    <a:pt x="204" y="120"/>
                  </a:lnTo>
                  <a:lnTo>
                    <a:pt x="204" y="126"/>
                  </a:lnTo>
                  <a:lnTo>
                    <a:pt x="210" y="126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8" y="174"/>
                  </a:lnTo>
                  <a:lnTo>
                    <a:pt x="198" y="180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86" y="204"/>
                  </a:lnTo>
                  <a:lnTo>
                    <a:pt x="186" y="210"/>
                  </a:lnTo>
                  <a:lnTo>
                    <a:pt x="180" y="210"/>
                  </a:lnTo>
                  <a:lnTo>
                    <a:pt x="180" y="216"/>
                  </a:lnTo>
                  <a:lnTo>
                    <a:pt x="180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92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8" y="258"/>
                  </a:lnTo>
                  <a:lnTo>
                    <a:pt x="204" y="258"/>
                  </a:lnTo>
                  <a:lnTo>
                    <a:pt x="210" y="258"/>
                  </a:lnTo>
                  <a:lnTo>
                    <a:pt x="216" y="258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34" y="276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46" y="306"/>
                  </a:lnTo>
                  <a:lnTo>
                    <a:pt x="252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42"/>
                  </a:lnTo>
                  <a:lnTo>
                    <a:pt x="270" y="342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88" y="366"/>
                  </a:lnTo>
                  <a:lnTo>
                    <a:pt x="336" y="360"/>
                  </a:lnTo>
                  <a:lnTo>
                    <a:pt x="354" y="360"/>
                  </a:lnTo>
                  <a:lnTo>
                    <a:pt x="366" y="372"/>
                  </a:lnTo>
                  <a:lnTo>
                    <a:pt x="378" y="378"/>
                  </a:lnTo>
                  <a:lnTo>
                    <a:pt x="378" y="390"/>
                  </a:lnTo>
                  <a:lnTo>
                    <a:pt x="384" y="390"/>
                  </a:lnTo>
                  <a:lnTo>
                    <a:pt x="390" y="396"/>
                  </a:lnTo>
                  <a:lnTo>
                    <a:pt x="408" y="390"/>
                  </a:lnTo>
                  <a:lnTo>
                    <a:pt x="426" y="366"/>
                  </a:lnTo>
                  <a:lnTo>
                    <a:pt x="432" y="360"/>
                  </a:lnTo>
                  <a:lnTo>
                    <a:pt x="438" y="348"/>
                  </a:lnTo>
                  <a:lnTo>
                    <a:pt x="438" y="342"/>
                  </a:lnTo>
                  <a:lnTo>
                    <a:pt x="438" y="330"/>
                  </a:lnTo>
                  <a:lnTo>
                    <a:pt x="444" y="324"/>
                  </a:lnTo>
                  <a:lnTo>
                    <a:pt x="450" y="318"/>
                  </a:lnTo>
                  <a:lnTo>
                    <a:pt x="456" y="312"/>
                  </a:lnTo>
                  <a:lnTo>
                    <a:pt x="456" y="306"/>
                  </a:lnTo>
                  <a:lnTo>
                    <a:pt x="456" y="300"/>
                  </a:lnTo>
                  <a:lnTo>
                    <a:pt x="474" y="288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92" y="294"/>
                  </a:lnTo>
                  <a:lnTo>
                    <a:pt x="492" y="318"/>
                  </a:lnTo>
                  <a:lnTo>
                    <a:pt x="504" y="324"/>
                  </a:lnTo>
                  <a:lnTo>
                    <a:pt x="492" y="348"/>
                  </a:lnTo>
                  <a:lnTo>
                    <a:pt x="522" y="348"/>
                  </a:lnTo>
                  <a:lnTo>
                    <a:pt x="528" y="342"/>
                  </a:lnTo>
                  <a:lnTo>
                    <a:pt x="528" y="336"/>
                  </a:lnTo>
                  <a:lnTo>
                    <a:pt x="528" y="330"/>
                  </a:lnTo>
                  <a:lnTo>
                    <a:pt x="534" y="330"/>
                  </a:lnTo>
                  <a:lnTo>
                    <a:pt x="540" y="330"/>
                  </a:lnTo>
                  <a:lnTo>
                    <a:pt x="546" y="330"/>
                  </a:lnTo>
                  <a:lnTo>
                    <a:pt x="552" y="324"/>
                  </a:lnTo>
                  <a:lnTo>
                    <a:pt x="558" y="318"/>
                  </a:lnTo>
                  <a:lnTo>
                    <a:pt x="576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8" y="348"/>
                  </a:lnTo>
                  <a:lnTo>
                    <a:pt x="654" y="354"/>
                  </a:lnTo>
                  <a:lnTo>
                    <a:pt x="648" y="402"/>
                  </a:lnTo>
                  <a:lnTo>
                    <a:pt x="678" y="402"/>
                  </a:lnTo>
                  <a:lnTo>
                    <a:pt x="678" y="420"/>
                  </a:lnTo>
                  <a:lnTo>
                    <a:pt x="684" y="438"/>
                  </a:lnTo>
                  <a:lnTo>
                    <a:pt x="684" y="450"/>
                  </a:lnTo>
                  <a:lnTo>
                    <a:pt x="684" y="456"/>
                  </a:lnTo>
                  <a:lnTo>
                    <a:pt x="690" y="468"/>
                  </a:lnTo>
                  <a:lnTo>
                    <a:pt x="690" y="474"/>
                  </a:lnTo>
                  <a:lnTo>
                    <a:pt x="690" y="480"/>
                  </a:lnTo>
                  <a:lnTo>
                    <a:pt x="696" y="486"/>
                  </a:lnTo>
                  <a:lnTo>
                    <a:pt x="696" y="498"/>
                  </a:lnTo>
                  <a:lnTo>
                    <a:pt x="702" y="504"/>
                  </a:lnTo>
                  <a:lnTo>
                    <a:pt x="690" y="516"/>
                  </a:lnTo>
                  <a:lnTo>
                    <a:pt x="678" y="522"/>
                  </a:lnTo>
                  <a:lnTo>
                    <a:pt x="654" y="528"/>
                  </a:lnTo>
                  <a:lnTo>
                    <a:pt x="660" y="546"/>
                  </a:lnTo>
                  <a:lnTo>
                    <a:pt x="672" y="546"/>
                  </a:lnTo>
                  <a:lnTo>
                    <a:pt x="678" y="540"/>
                  </a:lnTo>
                  <a:lnTo>
                    <a:pt x="714" y="540"/>
                  </a:lnTo>
                  <a:lnTo>
                    <a:pt x="798" y="540"/>
                  </a:lnTo>
                  <a:lnTo>
                    <a:pt x="804" y="540"/>
                  </a:lnTo>
                  <a:lnTo>
                    <a:pt x="816" y="528"/>
                  </a:lnTo>
                  <a:lnTo>
                    <a:pt x="822" y="522"/>
                  </a:lnTo>
                  <a:lnTo>
                    <a:pt x="834" y="516"/>
                  </a:lnTo>
                  <a:lnTo>
                    <a:pt x="846" y="516"/>
                  </a:lnTo>
                  <a:lnTo>
                    <a:pt x="852" y="510"/>
                  </a:lnTo>
                  <a:lnTo>
                    <a:pt x="858" y="510"/>
                  </a:lnTo>
                  <a:lnTo>
                    <a:pt x="882" y="516"/>
                  </a:lnTo>
                  <a:lnTo>
                    <a:pt x="888" y="516"/>
                  </a:lnTo>
                  <a:lnTo>
                    <a:pt x="888" y="510"/>
                  </a:lnTo>
                  <a:lnTo>
                    <a:pt x="894" y="510"/>
                  </a:lnTo>
                  <a:lnTo>
                    <a:pt x="906" y="504"/>
                  </a:lnTo>
                  <a:lnTo>
                    <a:pt x="918" y="498"/>
                  </a:lnTo>
                  <a:lnTo>
                    <a:pt x="930" y="492"/>
                  </a:lnTo>
                  <a:lnTo>
                    <a:pt x="936" y="492"/>
                  </a:lnTo>
                  <a:lnTo>
                    <a:pt x="948" y="492"/>
                  </a:lnTo>
                  <a:lnTo>
                    <a:pt x="954" y="528"/>
                  </a:lnTo>
                  <a:lnTo>
                    <a:pt x="954" y="564"/>
                  </a:lnTo>
                  <a:lnTo>
                    <a:pt x="972" y="564"/>
                  </a:lnTo>
                  <a:lnTo>
                    <a:pt x="978" y="558"/>
                  </a:lnTo>
                  <a:lnTo>
                    <a:pt x="990" y="552"/>
                  </a:lnTo>
                  <a:lnTo>
                    <a:pt x="1002" y="540"/>
                  </a:lnTo>
                  <a:lnTo>
                    <a:pt x="1026" y="534"/>
                  </a:lnTo>
                  <a:lnTo>
                    <a:pt x="1032" y="540"/>
                  </a:lnTo>
                  <a:lnTo>
                    <a:pt x="1044" y="546"/>
                  </a:lnTo>
                  <a:lnTo>
                    <a:pt x="1062" y="552"/>
                  </a:lnTo>
                  <a:lnTo>
                    <a:pt x="1068" y="552"/>
                  </a:lnTo>
                  <a:lnTo>
                    <a:pt x="1068" y="570"/>
                  </a:lnTo>
                  <a:lnTo>
                    <a:pt x="1068" y="576"/>
                  </a:lnTo>
                  <a:lnTo>
                    <a:pt x="1068" y="582"/>
                  </a:lnTo>
                  <a:lnTo>
                    <a:pt x="1068" y="588"/>
                  </a:lnTo>
                  <a:lnTo>
                    <a:pt x="1068" y="594"/>
                  </a:lnTo>
                  <a:lnTo>
                    <a:pt x="1080" y="600"/>
                  </a:lnTo>
                  <a:lnTo>
                    <a:pt x="1086" y="606"/>
                  </a:lnTo>
                  <a:lnTo>
                    <a:pt x="1092" y="594"/>
                  </a:lnTo>
                  <a:lnTo>
                    <a:pt x="1104" y="588"/>
                  </a:lnTo>
                  <a:lnTo>
                    <a:pt x="1116" y="588"/>
                  </a:lnTo>
                  <a:lnTo>
                    <a:pt x="1122" y="588"/>
                  </a:lnTo>
                  <a:lnTo>
                    <a:pt x="1122" y="594"/>
                  </a:lnTo>
                  <a:lnTo>
                    <a:pt x="1128" y="594"/>
                  </a:lnTo>
                  <a:lnTo>
                    <a:pt x="1134" y="594"/>
                  </a:lnTo>
                  <a:lnTo>
                    <a:pt x="1140" y="594"/>
                  </a:lnTo>
                  <a:lnTo>
                    <a:pt x="1146" y="588"/>
                  </a:lnTo>
                  <a:lnTo>
                    <a:pt x="1158" y="582"/>
                  </a:lnTo>
                  <a:lnTo>
                    <a:pt x="1164" y="576"/>
                  </a:lnTo>
                  <a:lnTo>
                    <a:pt x="1176" y="576"/>
                  </a:lnTo>
                  <a:lnTo>
                    <a:pt x="1194" y="576"/>
                  </a:lnTo>
                  <a:lnTo>
                    <a:pt x="1218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24" y="594"/>
                  </a:lnTo>
                  <a:lnTo>
                    <a:pt x="1212" y="600"/>
                  </a:lnTo>
                  <a:lnTo>
                    <a:pt x="1206" y="606"/>
                  </a:lnTo>
                  <a:lnTo>
                    <a:pt x="1200" y="606"/>
                  </a:lnTo>
                  <a:lnTo>
                    <a:pt x="1200" y="612"/>
                  </a:lnTo>
                  <a:lnTo>
                    <a:pt x="1194" y="612"/>
                  </a:lnTo>
                  <a:lnTo>
                    <a:pt x="1194" y="618"/>
                  </a:lnTo>
                  <a:lnTo>
                    <a:pt x="1194" y="624"/>
                  </a:lnTo>
                  <a:lnTo>
                    <a:pt x="1194" y="630"/>
                  </a:lnTo>
                  <a:lnTo>
                    <a:pt x="1194" y="648"/>
                  </a:lnTo>
                  <a:lnTo>
                    <a:pt x="1194" y="660"/>
                  </a:lnTo>
                  <a:lnTo>
                    <a:pt x="1194" y="666"/>
                  </a:lnTo>
                  <a:lnTo>
                    <a:pt x="1194" y="672"/>
                  </a:lnTo>
                  <a:lnTo>
                    <a:pt x="1194" y="678"/>
                  </a:lnTo>
                  <a:lnTo>
                    <a:pt x="1188" y="684"/>
                  </a:lnTo>
                  <a:lnTo>
                    <a:pt x="1188" y="690"/>
                  </a:lnTo>
                  <a:lnTo>
                    <a:pt x="1188" y="696"/>
                  </a:lnTo>
                  <a:lnTo>
                    <a:pt x="1188" y="702"/>
                  </a:lnTo>
                  <a:lnTo>
                    <a:pt x="1188" y="708"/>
                  </a:lnTo>
                  <a:lnTo>
                    <a:pt x="1188" y="714"/>
                  </a:lnTo>
                  <a:lnTo>
                    <a:pt x="1182" y="720"/>
                  </a:lnTo>
                  <a:lnTo>
                    <a:pt x="1170" y="720"/>
                  </a:lnTo>
                  <a:lnTo>
                    <a:pt x="1158" y="726"/>
                  </a:lnTo>
                  <a:lnTo>
                    <a:pt x="1152" y="726"/>
                  </a:lnTo>
                  <a:lnTo>
                    <a:pt x="1152" y="732"/>
                  </a:lnTo>
                  <a:lnTo>
                    <a:pt x="1146" y="738"/>
                  </a:lnTo>
                  <a:lnTo>
                    <a:pt x="1140" y="738"/>
                  </a:lnTo>
                  <a:lnTo>
                    <a:pt x="1140" y="744"/>
                  </a:lnTo>
                  <a:lnTo>
                    <a:pt x="1134" y="744"/>
                  </a:lnTo>
                  <a:lnTo>
                    <a:pt x="1128" y="744"/>
                  </a:lnTo>
                  <a:lnTo>
                    <a:pt x="1122" y="750"/>
                  </a:lnTo>
                  <a:lnTo>
                    <a:pt x="1128" y="750"/>
                  </a:lnTo>
                  <a:lnTo>
                    <a:pt x="1122" y="756"/>
                  </a:lnTo>
                  <a:lnTo>
                    <a:pt x="1116" y="756"/>
                  </a:lnTo>
                  <a:lnTo>
                    <a:pt x="1110" y="762"/>
                  </a:lnTo>
                  <a:lnTo>
                    <a:pt x="1104" y="762"/>
                  </a:lnTo>
                  <a:lnTo>
                    <a:pt x="1104" y="768"/>
                  </a:lnTo>
                  <a:lnTo>
                    <a:pt x="1098" y="768"/>
                  </a:lnTo>
                  <a:lnTo>
                    <a:pt x="1098" y="774"/>
                  </a:lnTo>
                  <a:lnTo>
                    <a:pt x="1092" y="774"/>
                  </a:lnTo>
                  <a:lnTo>
                    <a:pt x="1092" y="780"/>
                  </a:lnTo>
                  <a:lnTo>
                    <a:pt x="1086" y="780"/>
                  </a:lnTo>
                  <a:lnTo>
                    <a:pt x="1086" y="786"/>
                  </a:lnTo>
                  <a:lnTo>
                    <a:pt x="1080" y="786"/>
                  </a:lnTo>
                  <a:lnTo>
                    <a:pt x="1080" y="792"/>
                  </a:lnTo>
                  <a:lnTo>
                    <a:pt x="1080" y="798"/>
                  </a:lnTo>
                  <a:lnTo>
                    <a:pt x="1080" y="804"/>
                  </a:lnTo>
                  <a:lnTo>
                    <a:pt x="1086" y="810"/>
                  </a:lnTo>
                  <a:lnTo>
                    <a:pt x="1080" y="816"/>
                  </a:lnTo>
                  <a:lnTo>
                    <a:pt x="1080" y="822"/>
                  </a:lnTo>
                  <a:lnTo>
                    <a:pt x="1074" y="822"/>
                  </a:lnTo>
                  <a:lnTo>
                    <a:pt x="1068" y="828"/>
                  </a:lnTo>
                  <a:lnTo>
                    <a:pt x="1074" y="828"/>
                  </a:lnTo>
                  <a:lnTo>
                    <a:pt x="1074" y="834"/>
                  </a:lnTo>
                  <a:lnTo>
                    <a:pt x="1080" y="846"/>
                  </a:lnTo>
                  <a:lnTo>
                    <a:pt x="1086" y="846"/>
                  </a:lnTo>
                  <a:lnTo>
                    <a:pt x="1092" y="852"/>
                  </a:lnTo>
                  <a:lnTo>
                    <a:pt x="1092" y="858"/>
                  </a:lnTo>
                  <a:lnTo>
                    <a:pt x="1098" y="858"/>
                  </a:lnTo>
                  <a:lnTo>
                    <a:pt x="1110" y="864"/>
                  </a:lnTo>
                  <a:lnTo>
                    <a:pt x="1116" y="864"/>
                  </a:lnTo>
                  <a:lnTo>
                    <a:pt x="1122" y="864"/>
                  </a:lnTo>
                  <a:lnTo>
                    <a:pt x="1128" y="864"/>
                  </a:lnTo>
                  <a:lnTo>
                    <a:pt x="1134" y="876"/>
                  </a:lnTo>
                  <a:lnTo>
                    <a:pt x="1140" y="882"/>
                  </a:lnTo>
                  <a:lnTo>
                    <a:pt x="1140" y="888"/>
                  </a:lnTo>
                  <a:lnTo>
                    <a:pt x="1152" y="918"/>
                  </a:lnTo>
                  <a:lnTo>
                    <a:pt x="1158" y="894"/>
                  </a:lnTo>
                  <a:lnTo>
                    <a:pt x="1164" y="888"/>
                  </a:lnTo>
                  <a:lnTo>
                    <a:pt x="1164" y="882"/>
                  </a:lnTo>
                  <a:lnTo>
                    <a:pt x="1176" y="864"/>
                  </a:lnTo>
                  <a:lnTo>
                    <a:pt x="1182" y="858"/>
                  </a:lnTo>
                  <a:lnTo>
                    <a:pt x="1188" y="846"/>
                  </a:lnTo>
                  <a:lnTo>
                    <a:pt x="1200" y="840"/>
                  </a:lnTo>
                  <a:lnTo>
                    <a:pt x="1212" y="840"/>
                  </a:lnTo>
                  <a:lnTo>
                    <a:pt x="1218" y="846"/>
                  </a:lnTo>
                  <a:lnTo>
                    <a:pt x="1224" y="858"/>
                  </a:lnTo>
                  <a:lnTo>
                    <a:pt x="1224" y="864"/>
                  </a:lnTo>
                  <a:lnTo>
                    <a:pt x="1224" y="876"/>
                  </a:lnTo>
                  <a:lnTo>
                    <a:pt x="1212" y="912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00" y="930"/>
                  </a:lnTo>
                  <a:lnTo>
                    <a:pt x="1200" y="942"/>
                  </a:lnTo>
                  <a:lnTo>
                    <a:pt x="1194" y="948"/>
                  </a:lnTo>
                  <a:lnTo>
                    <a:pt x="1194" y="960"/>
                  </a:lnTo>
                  <a:lnTo>
                    <a:pt x="1194" y="966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70" y="984"/>
                  </a:lnTo>
                  <a:lnTo>
                    <a:pt x="1164" y="984"/>
                  </a:lnTo>
                  <a:lnTo>
                    <a:pt x="1158" y="984"/>
                  </a:lnTo>
                  <a:lnTo>
                    <a:pt x="1146" y="984"/>
                  </a:lnTo>
                  <a:lnTo>
                    <a:pt x="1140" y="990"/>
                  </a:lnTo>
                  <a:lnTo>
                    <a:pt x="1140" y="996"/>
                  </a:lnTo>
                  <a:lnTo>
                    <a:pt x="1152" y="996"/>
                  </a:lnTo>
                  <a:lnTo>
                    <a:pt x="1176" y="1002"/>
                  </a:lnTo>
                  <a:lnTo>
                    <a:pt x="1194" y="1008"/>
                  </a:lnTo>
                  <a:lnTo>
                    <a:pt x="1206" y="1008"/>
                  </a:lnTo>
                  <a:lnTo>
                    <a:pt x="1218" y="1014"/>
                  </a:lnTo>
                  <a:lnTo>
                    <a:pt x="1212" y="1038"/>
                  </a:lnTo>
                  <a:lnTo>
                    <a:pt x="1212" y="1044"/>
                  </a:lnTo>
                  <a:lnTo>
                    <a:pt x="1206" y="1044"/>
                  </a:lnTo>
                  <a:lnTo>
                    <a:pt x="1206" y="1050"/>
                  </a:lnTo>
                  <a:lnTo>
                    <a:pt x="1194" y="1050"/>
                  </a:lnTo>
                  <a:lnTo>
                    <a:pt x="1188" y="1044"/>
                  </a:lnTo>
                  <a:lnTo>
                    <a:pt x="1158" y="1020"/>
                  </a:lnTo>
                  <a:lnTo>
                    <a:pt x="1152" y="1020"/>
                  </a:lnTo>
                  <a:lnTo>
                    <a:pt x="1140" y="1020"/>
                  </a:lnTo>
                  <a:lnTo>
                    <a:pt x="1134" y="1020"/>
                  </a:lnTo>
                  <a:lnTo>
                    <a:pt x="1134" y="1026"/>
                  </a:lnTo>
                  <a:lnTo>
                    <a:pt x="1134" y="1032"/>
                  </a:lnTo>
                  <a:lnTo>
                    <a:pt x="1128" y="103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2" name="Freeform 27">
              <a:extLst>
                <a:ext uri="{FF2B5EF4-FFF2-40B4-BE49-F238E27FC236}">
                  <a16:creationId xmlns:a16="http://schemas.microsoft.com/office/drawing/2014/main" id="{CE95C9DF-B651-4085-946F-65424BC51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2063" y="3421400"/>
              <a:ext cx="342138" cy="377969"/>
            </a:xfrm>
            <a:custGeom>
              <a:avLst/>
              <a:gdLst>
                <a:gd name="T0" fmla="*/ 43 w 642"/>
                <a:gd name="T1" fmla="*/ 41 h 708"/>
                <a:gd name="T2" fmla="*/ 39 w 642"/>
                <a:gd name="T3" fmla="*/ 41 h 708"/>
                <a:gd name="T4" fmla="*/ 38 w 642"/>
                <a:gd name="T5" fmla="*/ 47 h 708"/>
                <a:gd name="T6" fmla="*/ 38 w 642"/>
                <a:gd name="T7" fmla="*/ 49 h 708"/>
                <a:gd name="T8" fmla="*/ 38 w 642"/>
                <a:gd name="T9" fmla="*/ 50 h 708"/>
                <a:gd name="T10" fmla="*/ 36 w 642"/>
                <a:gd name="T11" fmla="*/ 52 h 708"/>
                <a:gd name="T12" fmla="*/ 35 w 642"/>
                <a:gd name="T13" fmla="*/ 53 h 708"/>
                <a:gd name="T14" fmla="*/ 33 w 642"/>
                <a:gd name="T15" fmla="*/ 55 h 708"/>
                <a:gd name="T16" fmla="*/ 32 w 642"/>
                <a:gd name="T17" fmla="*/ 56 h 708"/>
                <a:gd name="T18" fmla="*/ 31 w 642"/>
                <a:gd name="T19" fmla="*/ 59 h 708"/>
                <a:gd name="T20" fmla="*/ 26 w 642"/>
                <a:gd name="T21" fmla="*/ 59 h 708"/>
                <a:gd name="T22" fmla="*/ 23 w 642"/>
                <a:gd name="T23" fmla="*/ 61 h 708"/>
                <a:gd name="T24" fmla="*/ 20 w 642"/>
                <a:gd name="T25" fmla="*/ 61 h 708"/>
                <a:gd name="T26" fmla="*/ 17 w 642"/>
                <a:gd name="T27" fmla="*/ 59 h 708"/>
                <a:gd name="T28" fmla="*/ 15 w 642"/>
                <a:gd name="T29" fmla="*/ 56 h 708"/>
                <a:gd name="T30" fmla="*/ 9 w 642"/>
                <a:gd name="T31" fmla="*/ 58 h 708"/>
                <a:gd name="T32" fmla="*/ 6 w 642"/>
                <a:gd name="T33" fmla="*/ 52 h 708"/>
                <a:gd name="T34" fmla="*/ 2 w 642"/>
                <a:gd name="T35" fmla="*/ 53 h 708"/>
                <a:gd name="T36" fmla="*/ 1 w 642"/>
                <a:gd name="T37" fmla="*/ 51 h 708"/>
                <a:gd name="T38" fmla="*/ 4 w 642"/>
                <a:gd name="T39" fmla="*/ 47 h 708"/>
                <a:gd name="T40" fmla="*/ 5 w 642"/>
                <a:gd name="T41" fmla="*/ 41 h 708"/>
                <a:gd name="T42" fmla="*/ 5 w 642"/>
                <a:gd name="T43" fmla="*/ 38 h 708"/>
                <a:gd name="T44" fmla="*/ 5 w 642"/>
                <a:gd name="T45" fmla="*/ 35 h 708"/>
                <a:gd name="T46" fmla="*/ 6 w 642"/>
                <a:gd name="T47" fmla="*/ 33 h 708"/>
                <a:gd name="T48" fmla="*/ 5 w 642"/>
                <a:gd name="T49" fmla="*/ 29 h 708"/>
                <a:gd name="T50" fmla="*/ 4 w 642"/>
                <a:gd name="T51" fmla="*/ 28 h 708"/>
                <a:gd name="T52" fmla="*/ 1 w 642"/>
                <a:gd name="T53" fmla="*/ 26 h 708"/>
                <a:gd name="T54" fmla="*/ 1 w 642"/>
                <a:gd name="T55" fmla="*/ 24 h 708"/>
                <a:gd name="T56" fmla="*/ 1 w 642"/>
                <a:gd name="T57" fmla="*/ 20 h 708"/>
                <a:gd name="T58" fmla="*/ 1 w 642"/>
                <a:gd name="T59" fmla="*/ 16 h 708"/>
                <a:gd name="T60" fmla="*/ 2 w 642"/>
                <a:gd name="T61" fmla="*/ 14 h 708"/>
                <a:gd name="T62" fmla="*/ 8 w 642"/>
                <a:gd name="T63" fmla="*/ 14 h 708"/>
                <a:gd name="T64" fmla="*/ 9 w 642"/>
                <a:gd name="T65" fmla="*/ 10 h 708"/>
                <a:gd name="T66" fmla="*/ 15 w 642"/>
                <a:gd name="T67" fmla="*/ 9 h 708"/>
                <a:gd name="T68" fmla="*/ 18 w 642"/>
                <a:gd name="T69" fmla="*/ 14 h 708"/>
                <a:gd name="T70" fmla="*/ 20 w 642"/>
                <a:gd name="T71" fmla="*/ 12 h 708"/>
                <a:gd name="T72" fmla="*/ 20 w 642"/>
                <a:gd name="T73" fmla="*/ 11 h 708"/>
                <a:gd name="T74" fmla="*/ 21 w 642"/>
                <a:gd name="T75" fmla="*/ 9 h 708"/>
                <a:gd name="T76" fmla="*/ 24 w 642"/>
                <a:gd name="T77" fmla="*/ 9 h 708"/>
                <a:gd name="T78" fmla="*/ 27 w 642"/>
                <a:gd name="T79" fmla="*/ 8 h 708"/>
                <a:gd name="T80" fmla="*/ 33 w 642"/>
                <a:gd name="T81" fmla="*/ 2 h 708"/>
                <a:gd name="T82" fmla="*/ 42 w 642"/>
                <a:gd name="T83" fmla="*/ 2 h 708"/>
                <a:gd name="T84" fmla="*/ 49 w 642"/>
                <a:gd name="T85" fmla="*/ 1 h 708"/>
                <a:gd name="T86" fmla="*/ 53 w 642"/>
                <a:gd name="T87" fmla="*/ 4 h 708"/>
                <a:gd name="T88" fmla="*/ 55 w 642"/>
                <a:gd name="T89" fmla="*/ 4 h 708"/>
                <a:gd name="T90" fmla="*/ 55 w 642"/>
                <a:gd name="T91" fmla="*/ 7 h 708"/>
                <a:gd name="T92" fmla="*/ 52 w 642"/>
                <a:gd name="T93" fmla="*/ 9 h 708"/>
                <a:gd name="T94" fmla="*/ 49 w 642"/>
                <a:gd name="T95" fmla="*/ 12 h 708"/>
                <a:gd name="T96" fmla="*/ 47 w 642"/>
                <a:gd name="T97" fmla="*/ 14 h 708"/>
                <a:gd name="T98" fmla="*/ 47 w 642"/>
                <a:gd name="T99" fmla="*/ 17 h 708"/>
                <a:gd name="T100" fmla="*/ 45 w 642"/>
                <a:gd name="T101" fmla="*/ 26 h 708"/>
                <a:gd name="T102" fmla="*/ 50 w 642"/>
                <a:gd name="T103" fmla="*/ 37 h 70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42"/>
                <a:gd name="T157" fmla="*/ 0 h 708"/>
                <a:gd name="T158" fmla="*/ 642 w 642"/>
                <a:gd name="T159" fmla="*/ 708 h 70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42" h="708">
                  <a:moveTo>
                    <a:pt x="576" y="468"/>
                  </a:moveTo>
                  <a:lnTo>
                    <a:pt x="564" y="468"/>
                  </a:lnTo>
                  <a:lnTo>
                    <a:pt x="516" y="468"/>
                  </a:lnTo>
                  <a:lnTo>
                    <a:pt x="498" y="474"/>
                  </a:lnTo>
                  <a:lnTo>
                    <a:pt x="492" y="468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68" y="474"/>
                  </a:lnTo>
                  <a:lnTo>
                    <a:pt x="456" y="468"/>
                  </a:lnTo>
                  <a:lnTo>
                    <a:pt x="444" y="474"/>
                  </a:lnTo>
                  <a:lnTo>
                    <a:pt x="438" y="492"/>
                  </a:lnTo>
                  <a:lnTo>
                    <a:pt x="438" y="504"/>
                  </a:lnTo>
                  <a:lnTo>
                    <a:pt x="432" y="516"/>
                  </a:lnTo>
                  <a:lnTo>
                    <a:pt x="432" y="528"/>
                  </a:lnTo>
                  <a:lnTo>
                    <a:pt x="432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52"/>
                  </a:lnTo>
                  <a:lnTo>
                    <a:pt x="432" y="558"/>
                  </a:lnTo>
                  <a:lnTo>
                    <a:pt x="438" y="564"/>
                  </a:lnTo>
                  <a:lnTo>
                    <a:pt x="444" y="564"/>
                  </a:lnTo>
                  <a:lnTo>
                    <a:pt x="438" y="564"/>
                  </a:lnTo>
                  <a:lnTo>
                    <a:pt x="438" y="570"/>
                  </a:lnTo>
                  <a:lnTo>
                    <a:pt x="432" y="570"/>
                  </a:lnTo>
                  <a:lnTo>
                    <a:pt x="432" y="576"/>
                  </a:lnTo>
                  <a:lnTo>
                    <a:pt x="426" y="588"/>
                  </a:lnTo>
                  <a:lnTo>
                    <a:pt x="420" y="594"/>
                  </a:lnTo>
                  <a:lnTo>
                    <a:pt x="420" y="600"/>
                  </a:lnTo>
                  <a:lnTo>
                    <a:pt x="414" y="600"/>
                  </a:lnTo>
                  <a:lnTo>
                    <a:pt x="414" y="606"/>
                  </a:lnTo>
                  <a:lnTo>
                    <a:pt x="408" y="606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396" y="612"/>
                  </a:lnTo>
                  <a:lnTo>
                    <a:pt x="390" y="612"/>
                  </a:lnTo>
                  <a:lnTo>
                    <a:pt x="390" y="618"/>
                  </a:lnTo>
                  <a:lnTo>
                    <a:pt x="384" y="618"/>
                  </a:lnTo>
                  <a:lnTo>
                    <a:pt x="378" y="618"/>
                  </a:lnTo>
                  <a:lnTo>
                    <a:pt x="378" y="624"/>
                  </a:lnTo>
                  <a:lnTo>
                    <a:pt x="384" y="630"/>
                  </a:lnTo>
                  <a:lnTo>
                    <a:pt x="384" y="636"/>
                  </a:lnTo>
                  <a:lnTo>
                    <a:pt x="378" y="630"/>
                  </a:lnTo>
                  <a:lnTo>
                    <a:pt x="372" y="636"/>
                  </a:lnTo>
                  <a:lnTo>
                    <a:pt x="372" y="642"/>
                  </a:lnTo>
                  <a:lnTo>
                    <a:pt x="366" y="642"/>
                  </a:lnTo>
                  <a:lnTo>
                    <a:pt x="360" y="654"/>
                  </a:lnTo>
                  <a:lnTo>
                    <a:pt x="354" y="666"/>
                  </a:lnTo>
                  <a:lnTo>
                    <a:pt x="354" y="672"/>
                  </a:lnTo>
                  <a:lnTo>
                    <a:pt x="354" y="678"/>
                  </a:lnTo>
                  <a:lnTo>
                    <a:pt x="354" y="684"/>
                  </a:lnTo>
                  <a:lnTo>
                    <a:pt x="348" y="678"/>
                  </a:lnTo>
                  <a:lnTo>
                    <a:pt x="324" y="678"/>
                  </a:lnTo>
                  <a:lnTo>
                    <a:pt x="306" y="678"/>
                  </a:lnTo>
                  <a:lnTo>
                    <a:pt x="294" y="678"/>
                  </a:lnTo>
                  <a:lnTo>
                    <a:pt x="288" y="684"/>
                  </a:lnTo>
                  <a:lnTo>
                    <a:pt x="276" y="690"/>
                  </a:lnTo>
                  <a:lnTo>
                    <a:pt x="270" y="696"/>
                  </a:lnTo>
                  <a:lnTo>
                    <a:pt x="264" y="696"/>
                  </a:lnTo>
                  <a:lnTo>
                    <a:pt x="258" y="696"/>
                  </a:lnTo>
                  <a:lnTo>
                    <a:pt x="252" y="696"/>
                  </a:lnTo>
                  <a:lnTo>
                    <a:pt x="252" y="690"/>
                  </a:lnTo>
                  <a:lnTo>
                    <a:pt x="246" y="690"/>
                  </a:lnTo>
                  <a:lnTo>
                    <a:pt x="234" y="690"/>
                  </a:lnTo>
                  <a:lnTo>
                    <a:pt x="222" y="696"/>
                  </a:lnTo>
                  <a:lnTo>
                    <a:pt x="216" y="708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8" y="690"/>
                  </a:lnTo>
                  <a:lnTo>
                    <a:pt x="198" y="684"/>
                  </a:lnTo>
                  <a:lnTo>
                    <a:pt x="198" y="678"/>
                  </a:lnTo>
                  <a:lnTo>
                    <a:pt x="198" y="672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74" y="648"/>
                  </a:lnTo>
                  <a:lnTo>
                    <a:pt x="162" y="642"/>
                  </a:lnTo>
                  <a:lnTo>
                    <a:pt x="156" y="636"/>
                  </a:lnTo>
                  <a:lnTo>
                    <a:pt x="132" y="642"/>
                  </a:lnTo>
                  <a:lnTo>
                    <a:pt x="120" y="654"/>
                  </a:lnTo>
                  <a:lnTo>
                    <a:pt x="108" y="660"/>
                  </a:lnTo>
                  <a:lnTo>
                    <a:pt x="102" y="666"/>
                  </a:lnTo>
                  <a:lnTo>
                    <a:pt x="84" y="666"/>
                  </a:lnTo>
                  <a:lnTo>
                    <a:pt x="84" y="630"/>
                  </a:lnTo>
                  <a:lnTo>
                    <a:pt x="78" y="594"/>
                  </a:lnTo>
                  <a:lnTo>
                    <a:pt x="66" y="594"/>
                  </a:lnTo>
                  <a:lnTo>
                    <a:pt x="60" y="594"/>
                  </a:lnTo>
                  <a:lnTo>
                    <a:pt x="48" y="600"/>
                  </a:lnTo>
                  <a:lnTo>
                    <a:pt x="36" y="606"/>
                  </a:lnTo>
                  <a:lnTo>
                    <a:pt x="24" y="612"/>
                  </a:lnTo>
                  <a:lnTo>
                    <a:pt x="18" y="612"/>
                  </a:lnTo>
                  <a:lnTo>
                    <a:pt x="12" y="606"/>
                  </a:lnTo>
                  <a:lnTo>
                    <a:pt x="12" y="600"/>
                  </a:lnTo>
                  <a:lnTo>
                    <a:pt x="12" y="594"/>
                  </a:lnTo>
                  <a:lnTo>
                    <a:pt x="12" y="588"/>
                  </a:lnTo>
                  <a:lnTo>
                    <a:pt x="12" y="582"/>
                  </a:lnTo>
                  <a:lnTo>
                    <a:pt x="12" y="576"/>
                  </a:lnTo>
                  <a:lnTo>
                    <a:pt x="18" y="552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42" y="534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48" y="492"/>
                  </a:lnTo>
                  <a:lnTo>
                    <a:pt x="48" y="480"/>
                  </a:lnTo>
                  <a:lnTo>
                    <a:pt x="54" y="468"/>
                  </a:lnTo>
                  <a:lnTo>
                    <a:pt x="48" y="456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66" y="390"/>
                  </a:lnTo>
                  <a:lnTo>
                    <a:pt x="72" y="384"/>
                  </a:lnTo>
                  <a:lnTo>
                    <a:pt x="72" y="378"/>
                  </a:lnTo>
                  <a:lnTo>
                    <a:pt x="66" y="378"/>
                  </a:lnTo>
                  <a:lnTo>
                    <a:pt x="66" y="366"/>
                  </a:lnTo>
                  <a:lnTo>
                    <a:pt x="60" y="360"/>
                  </a:lnTo>
                  <a:lnTo>
                    <a:pt x="66" y="354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48" y="312"/>
                  </a:lnTo>
                  <a:lnTo>
                    <a:pt x="30" y="312"/>
                  </a:lnTo>
                  <a:lnTo>
                    <a:pt x="24" y="306"/>
                  </a:lnTo>
                  <a:lnTo>
                    <a:pt x="18" y="306"/>
                  </a:lnTo>
                  <a:lnTo>
                    <a:pt x="12" y="294"/>
                  </a:lnTo>
                  <a:lnTo>
                    <a:pt x="12" y="282"/>
                  </a:lnTo>
                  <a:lnTo>
                    <a:pt x="6" y="276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12" y="270"/>
                  </a:lnTo>
                  <a:lnTo>
                    <a:pt x="12" y="246"/>
                  </a:lnTo>
                  <a:lnTo>
                    <a:pt x="12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8" y="174"/>
                  </a:lnTo>
                  <a:lnTo>
                    <a:pt x="12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48" y="162"/>
                  </a:lnTo>
                  <a:lnTo>
                    <a:pt x="72" y="162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84" y="132"/>
                  </a:lnTo>
                  <a:lnTo>
                    <a:pt x="90" y="120"/>
                  </a:lnTo>
                  <a:lnTo>
                    <a:pt x="108" y="114"/>
                  </a:lnTo>
                  <a:lnTo>
                    <a:pt x="114" y="102"/>
                  </a:lnTo>
                  <a:lnTo>
                    <a:pt x="120" y="90"/>
                  </a:lnTo>
                  <a:lnTo>
                    <a:pt x="138" y="90"/>
                  </a:lnTo>
                  <a:lnTo>
                    <a:pt x="138" y="102"/>
                  </a:lnTo>
                  <a:lnTo>
                    <a:pt x="168" y="108"/>
                  </a:lnTo>
                  <a:lnTo>
                    <a:pt x="168" y="114"/>
                  </a:lnTo>
                  <a:lnTo>
                    <a:pt x="174" y="126"/>
                  </a:lnTo>
                  <a:lnTo>
                    <a:pt x="186" y="150"/>
                  </a:lnTo>
                  <a:lnTo>
                    <a:pt x="186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34" y="144"/>
                  </a:lnTo>
                  <a:lnTo>
                    <a:pt x="240" y="138"/>
                  </a:lnTo>
                  <a:lnTo>
                    <a:pt x="240" y="126"/>
                  </a:lnTo>
                  <a:lnTo>
                    <a:pt x="234" y="126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34" y="102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82" y="102"/>
                  </a:lnTo>
                  <a:lnTo>
                    <a:pt x="288" y="102"/>
                  </a:lnTo>
                  <a:lnTo>
                    <a:pt x="294" y="102"/>
                  </a:lnTo>
                  <a:lnTo>
                    <a:pt x="300" y="96"/>
                  </a:lnTo>
                  <a:lnTo>
                    <a:pt x="306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84"/>
                  </a:lnTo>
                  <a:lnTo>
                    <a:pt x="324" y="18"/>
                  </a:lnTo>
                  <a:lnTo>
                    <a:pt x="360" y="18"/>
                  </a:lnTo>
                  <a:lnTo>
                    <a:pt x="378" y="18"/>
                  </a:lnTo>
                  <a:lnTo>
                    <a:pt x="378" y="30"/>
                  </a:lnTo>
                  <a:lnTo>
                    <a:pt x="390" y="30"/>
                  </a:lnTo>
                  <a:lnTo>
                    <a:pt x="432" y="30"/>
                  </a:lnTo>
                  <a:lnTo>
                    <a:pt x="456" y="24"/>
                  </a:lnTo>
                  <a:lnTo>
                    <a:pt x="480" y="24"/>
                  </a:lnTo>
                  <a:lnTo>
                    <a:pt x="498" y="30"/>
                  </a:lnTo>
                  <a:lnTo>
                    <a:pt x="522" y="18"/>
                  </a:lnTo>
                  <a:lnTo>
                    <a:pt x="528" y="0"/>
                  </a:lnTo>
                  <a:lnTo>
                    <a:pt x="558" y="6"/>
                  </a:lnTo>
                  <a:lnTo>
                    <a:pt x="558" y="12"/>
                  </a:lnTo>
                  <a:lnTo>
                    <a:pt x="570" y="18"/>
                  </a:lnTo>
                  <a:lnTo>
                    <a:pt x="576" y="24"/>
                  </a:lnTo>
                  <a:lnTo>
                    <a:pt x="588" y="36"/>
                  </a:lnTo>
                  <a:lnTo>
                    <a:pt x="594" y="48"/>
                  </a:lnTo>
                  <a:lnTo>
                    <a:pt x="606" y="48"/>
                  </a:lnTo>
                  <a:lnTo>
                    <a:pt x="606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42"/>
                  </a:lnTo>
                  <a:lnTo>
                    <a:pt x="636" y="42"/>
                  </a:lnTo>
                  <a:lnTo>
                    <a:pt x="636" y="48"/>
                  </a:lnTo>
                  <a:lnTo>
                    <a:pt x="642" y="54"/>
                  </a:lnTo>
                  <a:lnTo>
                    <a:pt x="636" y="60"/>
                  </a:lnTo>
                  <a:lnTo>
                    <a:pt x="636" y="66"/>
                  </a:lnTo>
                  <a:lnTo>
                    <a:pt x="636" y="78"/>
                  </a:lnTo>
                  <a:lnTo>
                    <a:pt x="624" y="84"/>
                  </a:lnTo>
                  <a:lnTo>
                    <a:pt x="618" y="90"/>
                  </a:lnTo>
                  <a:lnTo>
                    <a:pt x="612" y="90"/>
                  </a:lnTo>
                  <a:lnTo>
                    <a:pt x="600" y="102"/>
                  </a:lnTo>
                  <a:lnTo>
                    <a:pt x="594" y="108"/>
                  </a:lnTo>
                  <a:lnTo>
                    <a:pt x="582" y="114"/>
                  </a:lnTo>
                  <a:lnTo>
                    <a:pt x="570" y="132"/>
                  </a:lnTo>
                  <a:lnTo>
                    <a:pt x="564" y="132"/>
                  </a:lnTo>
                  <a:lnTo>
                    <a:pt x="564" y="138"/>
                  </a:lnTo>
                  <a:lnTo>
                    <a:pt x="558" y="144"/>
                  </a:lnTo>
                  <a:lnTo>
                    <a:pt x="558" y="150"/>
                  </a:lnTo>
                  <a:lnTo>
                    <a:pt x="552" y="150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0" y="162"/>
                  </a:lnTo>
                  <a:lnTo>
                    <a:pt x="534" y="168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6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28" y="234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16" y="294"/>
                  </a:lnTo>
                  <a:lnTo>
                    <a:pt x="516" y="312"/>
                  </a:lnTo>
                  <a:lnTo>
                    <a:pt x="528" y="318"/>
                  </a:lnTo>
                  <a:lnTo>
                    <a:pt x="540" y="360"/>
                  </a:lnTo>
                  <a:lnTo>
                    <a:pt x="558" y="408"/>
                  </a:lnTo>
                  <a:lnTo>
                    <a:pt x="570" y="426"/>
                  </a:lnTo>
                  <a:lnTo>
                    <a:pt x="576" y="432"/>
                  </a:lnTo>
                  <a:lnTo>
                    <a:pt x="576" y="438"/>
                  </a:lnTo>
                  <a:lnTo>
                    <a:pt x="576" y="444"/>
                  </a:lnTo>
                  <a:lnTo>
                    <a:pt x="576" y="46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3" name="Freeform 28">
              <a:extLst>
                <a:ext uri="{FF2B5EF4-FFF2-40B4-BE49-F238E27FC236}">
                  <a16:creationId xmlns:a16="http://schemas.microsoft.com/office/drawing/2014/main" id="{CF9B4F31-BF73-448E-83AA-188F6CF1BDC5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4879" y="3432583"/>
              <a:ext cx="324248" cy="270616"/>
            </a:xfrm>
            <a:custGeom>
              <a:avLst/>
              <a:gdLst>
                <a:gd name="T0" fmla="*/ 5 w 606"/>
                <a:gd name="T1" fmla="*/ 36 h 510"/>
                <a:gd name="T2" fmla="*/ 4 w 606"/>
                <a:gd name="T3" fmla="*/ 34 h 510"/>
                <a:gd name="T4" fmla="*/ 0 w 606"/>
                <a:gd name="T5" fmla="*/ 25 h 510"/>
                <a:gd name="T6" fmla="*/ 1 w 606"/>
                <a:gd name="T7" fmla="*/ 20 h 510"/>
                <a:gd name="T8" fmla="*/ 2 w 606"/>
                <a:gd name="T9" fmla="*/ 15 h 510"/>
                <a:gd name="T10" fmla="*/ 2 w 606"/>
                <a:gd name="T11" fmla="*/ 13 h 510"/>
                <a:gd name="T12" fmla="*/ 3 w 606"/>
                <a:gd name="T13" fmla="*/ 12 h 510"/>
                <a:gd name="T14" fmla="*/ 4 w 606"/>
                <a:gd name="T15" fmla="*/ 11 h 510"/>
                <a:gd name="T16" fmla="*/ 4 w 606"/>
                <a:gd name="T17" fmla="*/ 10 h 510"/>
                <a:gd name="T18" fmla="*/ 7 w 606"/>
                <a:gd name="T19" fmla="*/ 8 h 510"/>
                <a:gd name="T20" fmla="*/ 9 w 606"/>
                <a:gd name="T21" fmla="*/ 6 h 510"/>
                <a:gd name="T22" fmla="*/ 11 w 606"/>
                <a:gd name="T23" fmla="*/ 4 h 510"/>
                <a:gd name="T24" fmla="*/ 12 w 606"/>
                <a:gd name="T25" fmla="*/ 3 h 510"/>
                <a:gd name="T26" fmla="*/ 13 w 606"/>
                <a:gd name="T27" fmla="*/ 4 h 510"/>
                <a:gd name="T28" fmla="*/ 15 w 606"/>
                <a:gd name="T29" fmla="*/ 2 h 510"/>
                <a:gd name="T30" fmla="*/ 17 w 606"/>
                <a:gd name="T31" fmla="*/ 2 h 510"/>
                <a:gd name="T32" fmla="*/ 19 w 606"/>
                <a:gd name="T33" fmla="*/ 5 h 510"/>
                <a:gd name="T34" fmla="*/ 22 w 606"/>
                <a:gd name="T35" fmla="*/ 5 h 510"/>
                <a:gd name="T36" fmla="*/ 25 w 606"/>
                <a:gd name="T37" fmla="*/ 6 h 510"/>
                <a:gd name="T38" fmla="*/ 29 w 606"/>
                <a:gd name="T39" fmla="*/ 1 h 510"/>
                <a:gd name="T40" fmla="*/ 38 w 606"/>
                <a:gd name="T41" fmla="*/ 0 h 510"/>
                <a:gd name="T42" fmla="*/ 38 w 606"/>
                <a:gd name="T43" fmla="*/ 5 h 510"/>
                <a:gd name="T44" fmla="*/ 41 w 606"/>
                <a:gd name="T45" fmla="*/ 4 h 510"/>
                <a:gd name="T46" fmla="*/ 45 w 606"/>
                <a:gd name="T47" fmla="*/ 2 h 510"/>
                <a:gd name="T48" fmla="*/ 46 w 606"/>
                <a:gd name="T49" fmla="*/ 2 h 510"/>
                <a:gd name="T50" fmla="*/ 47 w 606"/>
                <a:gd name="T51" fmla="*/ 5 h 510"/>
                <a:gd name="T52" fmla="*/ 45 w 606"/>
                <a:gd name="T53" fmla="*/ 6 h 510"/>
                <a:gd name="T54" fmla="*/ 45 w 606"/>
                <a:gd name="T55" fmla="*/ 7 h 510"/>
                <a:gd name="T56" fmla="*/ 43 w 606"/>
                <a:gd name="T57" fmla="*/ 8 h 510"/>
                <a:gd name="T58" fmla="*/ 45 w 606"/>
                <a:gd name="T59" fmla="*/ 15 h 510"/>
                <a:gd name="T60" fmla="*/ 49 w 606"/>
                <a:gd name="T61" fmla="*/ 15 h 510"/>
                <a:gd name="T62" fmla="*/ 51 w 606"/>
                <a:gd name="T63" fmla="*/ 15 h 510"/>
                <a:gd name="T64" fmla="*/ 53 w 606"/>
                <a:gd name="T65" fmla="*/ 16 h 510"/>
                <a:gd name="T66" fmla="*/ 52 w 606"/>
                <a:gd name="T67" fmla="*/ 20 h 510"/>
                <a:gd name="T68" fmla="*/ 48 w 606"/>
                <a:gd name="T69" fmla="*/ 23 h 510"/>
                <a:gd name="T70" fmla="*/ 45 w 606"/>
                <a:gd name="T71" fmla="*/ 25 h 510"/>
                <a:gd name="T72" fmla="*/ 44 w 606"/>
                <a:gd name="T73" fmla="*/ 28 h 510"/>
                <a:gd name="T74" fmla="*/ 43 w 606"/>
                <a:gd name="T75" fmla="*/ 33 h 510"/>
                <a:gd name="T76" fmla="*/ 39 w 606"/>
                <a:gd name="T77" fmla="*/ 38 h 510"/>
                <a:gd name="T78" fmla="*/ 37 w 606"/>
                <a:gd name="T79" fmla="*/ 41 h 510"/>
                <a:gd name="T80" fmla="*/ 31 w 606"/>
                <a:gd name="T81" fmla="*/ 44 h 510"/>
                <a:gd name="T82" fmla="*/ 28 w 606"/>
                <a:gd name="T83" fmla="*/ 43 h 510"/>
                <a:gd name="T84" fmla="*/ 28 w 606"/>
                <a:gd name="T85" fmla="*/ 41 h 510"/>
                <a:gd name="T86" fmla="*/ 28 w 606"/>
                <a:gd name="T87" fmla="*/ 40 h 510"/>
                <a:gd name="T88" fmla="*/ 27 w 606"/>
                <a:gd name="T89" fmla="*/ 38 h 510"/>
                <a:gd name="T90" fmla="*/ 27 w 606"/>
                <a:gd name="T91" fmla="*/ 36 h 510"/>
                <a:gd name="T92" fmla="*/ 24 w 606"/>
                <a:gd name="T93" fmla="*/ 35 h 510"/>
                <a:gd name="T94" fmla="*/ 16 w 606"/>
                <a:gd name="T95" fmla="*/ 34 h 510"/>
                <a:gd name="T96" fmla="*/ 13 w 606"/>
                <a:gd name="T97" fmla="*/ 34 h 510"/>
                <a:gd name="T98" fmla="*/ 9 w 606"/>
                <a:gd name="T99" fmla="*/ 36 h 510"/>
                <a:gd name="T100" fmla="*/ 8 w 606"/>
                <a:gd name="T101" fmla="*/ 38 h 510"/>
                <a:gd name="T102" fmla="*/ 7 w 606"/>
                <a:gd name="T103" fmla="*/ 39 h 51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06"/>
                <a:gd name="T157" fmla="*/ 0 h 510"/>
                <a:gd name="T158" fmla="*/ 606 w 606"/>
                <a:gd name="T159" fmla="*/ 510 h 51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06" h="510">
                  <a:moveTo>
                    <a:pt x="60" y="450"/>
                  </a:move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42" y="390"/>
                  </a:lnTo>
                  <a:lnTo>
                    <a:pt x="24" y="342"/>
                  </a:lnTo>
                  <a:lnTo>
                    <a:pt x="12" y="300"/>
                  </a:lnTo>
                  <a:lnTo>
                    <a:pt x="0" y="294"/>
                  </a:lnTo>
                  <a:lnTo>
                    <a:pt x="0" y="276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24" y="192"/>
                  </a:lnTo>
                  <a:lnTo>
                    <a:pt x="24" y="180"/>
                  </a:lnTo>
                  <a:lnTo>
                    <a:pt x="24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6" y="96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108" y="66"/>
                  </a:lnTo>
                  <a:lnTo>
                    <a:pt x="120" y="60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36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62" y="36"/>
                  </a:lnTo>
                  <a:lnTo>
                    <a:pt x="162" y="30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0" y="54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46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76" y="66"/>
                  </a:lnTo>
                  <a:lnTo>
                    <a:pt x="312" y="66"/>
                  </a:lnTo>
                  <a:lnTo>
                    <a:pt x="318" y="60"/>
                  </a:lnTo>
                  <a:lnTo>
                    <a:pt x="330" y="12"/>
                  </a:lnTo>
                  <a:lnTo>
                    <a:pt x="414" y="6"/>
                  </a:lnTo>
                  <a:lnTo>
                    <a:pt x="420" y="0"/>
                  </a:lnTo>
                  <a:lnTo>
                    <a:pt x="426" y="6"/>
                  </a:lnTo>
                  <a:lnTo>
                    <a:pt x="426" y="12"/>
                  </a:lnTo>
                  <a:lnTo>
                    <a:pt x="426" y="54"/>
                  </a:lnTo>
                  <a:lnTo>
                    <a:pt x="432" y="54"/>
                  </a:lnTo>
                  <a:lnTo>
                    <a:pt x="444" y="54"/>
                  </a:lnTo>
                  <a:lnTo>
                    <a:pt x="450" y="42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86" y="24"/>
                  </a:lnTo>
                  <a:lnTo>
                    <a:pt x="504" y="18"/>
                  </a:lnTo>
                  <a:lnTo>
                    <a:pt x="510" y="12"/>
                  </a:lnTo>
                  <a:lnTo>
                    <a:pt x="516" y="18"/>
                  </a:lnTo>
                  <a:lnTo>
                    <a:pt x="522" y="24"/>
                  </a:lnTo>
                  <a:lnTo>
                    <a:pt x="510" y="30"/>
                  </a:lnTo>
                  <a:lnTo>
                    <a:pt x="516" y="48"/>
                  </a:lnTo>
                  <a:lnTo>
                    <a:pt x="528" y="54"/>
                  </a:lnTo>
                  <a:lnTo>
                    <a:pt x="522" y="60"/>
                  </a:lnTo>
                  <a:lnTo>
                    <a:pt x="516" y="66"/>
                  </a:lnTo>
                  <a:lnTo>
                    <a:pt x="516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0" y="84"/>
                  </a:lnTo>
                  <a:lnTo>
                    <a:pt x="510" y="90"/>
                  </a:lnTo>
                  <a:lnTo>
                    <a:pt x="504" y="90"/>
                  </a:lnTo>
                  <a:lnTo>
                    <a:pt x="486" y="90"/>
                  </a:lnTo>
                  <a:lnTo>
                    <a:pt x="492" y="138"/>
                  </a:lnTo>
                  <a:lnTo>
                    <a:pt x="498" y="168"/>
                  </a:lnTo>
                  <a:lnTo>
                    <a:pt x="516" y="168"/>
                  </a:lnTo>
                  <a:lnTo>
                    <a:pt x="528" y="174"/>
                  </a:lnTo>
                  <a:lnTo>
                    <a:pt x="534" y="168"/>
                  </a:lnTo>
                  <a:lnTo>
                    <a:pt x="558" y="174"/>
                  </a:lnTo>
                  <a:lnTo>
                    <a:pt x="564" y="168"/>
                  </a:lnTo>
                  <a:lnTo>
                    <a:pt x="570" y="168"/>
                  </a:lnTo>
                  <a:lnTo>
                    <a:pt x="576" y="174"/>
                  </a:lnTo>
                  <a:lnTo>
                    <a:pt x="588" y="168"/>
                  </a:lnTo>
                  <a:lnTo>
                    <a:pt x="594" y="168"/>
                  </a:lnTo>
                  <a:lnTo>
                    <a:pt x="594" y="186"/>
                  </a:lnTo>
                  <a:lnTo>
                    <a:pt x="606" y="198"/>
                  </a:lnTo>
                  <a:lnTo>
                    <a:pt x="600" y="210"/>
                  </a:lnTo>
                  <a:lnTo>
                    <a:pt x="588" y="234"/>
                  </a:lnTo>
                  <a:lnTo>
                    <a:pt x="564" y="246"/>
                  </a:lnTo>
                  <a:lnTo>
                    <a:pt x="546" y="258"/>
                  </a:lnTo>
                  <a:lnTo>
                    <a:pt x="540" y="270"/>
                  </a:lnTo>
                  <a:lnTo>
                    <a:pt x="534" y="294"/>
                  </a:lnTo>
                  <a:lnTo>
                    <a:pt x="528" y="300"/>
                  </a:lnTo>
                  <a:lnTo>
                    <a:pt x="516" y="294"/>
                  </a:lnTo>
                  <a:lnTo>
                    <a:pt x="510" y="300"/>
                  </a:lnTo>
                  <a:lnTo>
                    <a:pt x="498" y="318"/>
                  </a:lnTo>
                  <a:lnTo>
                    <a:pt x="492" y="324"/>
                  </a:lnTo>
                  <a:lnTo>
                    <a:pt x="486" y="336"/>
                  </a:lnTo>
                  <a:lnTo>
                    <a:pt x="486" y="354"/>
                  </a:lnTo>
                  <a:lnTo>
                    <a:pt x="486" y="384"/>
                  </a:lnTo>
                  <a:lnTo>
                    <a:pt x="474" y="408"/>
                  </a:lnTo>
                  <a:lnTo>
                    <a:pt x="450" y="426"/>
                  </a:lnTo>
                  <a:lnTo>
                    <a:pt x="444" y="444"/>
                  </a:lnTo>
                  <a:lnTo>
                    <a:pt x="426" y="474"/>
                  </a:lnTo>
                  <a:lnTo>
                    <a:pt x="420" y="486"/>
                  </a:lnTo>
                  <a:lnTo>
                    <a:pt x="414" y="486"/>
                  </a:lnTo>
                  <a:lnTo>
                    <a:pt x="414" y="498"/>
                  </a:lnTo>
                  <a:lnTo>
                    <a:pt x="378" y="504"/>
                  </a:lnTo>
                  <a:lnTo>
                    <a:pt x="348" y="510"/>
                  </a:lnTo>
                  <a:lnTo>
                    <a:pt x="330" y="510"/>
                  </a:lnTo>
                  <a:lnTo>
                    <a:pt x="324" y="504"/>
                  </a:lnTo>
                  <a:lnTo>
                    <a:pt x="318" y="504"/>
                  </a:lnTo>
                  <a:lnTo>
                    <a:pt x="312" y="504"/>
                  </a:lnTo>
                  <a:lnTo>
                    <a:pt x="312" y="498"/>
                  </a:lnTo>
                  <a:lnTo>
                    <a:pt x="312" y="486"/>
                  </a:lnTo>
                  <a:lnTo>
                    <a:pt x="312" y="480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56"/>
                  </a:lnTo>
                  <a:lnTo>
                    <a:pt x="312" y="450"/>
                  </a:lnTo>
                  <a:lnTo>
                    <a:pt x="306" y="444"/>
                  </a:lnTo>
                  <a:lnTo>
                    <a:pt x="306" y="438"/>
                  </a:lnTo>
                  <a:lnTo>
                    <a:pt x="300" y="426"/>
                  </a:lnTo>
                  <a:lnTo>
                    <a:pt x="300" y="420"/>
                  </a:lnTo>
                  <a:lnTo>
                    <a:pt x="294" y="414"/>
                  </a:lnTo>
                  <a:lnTo>
                    <a:pt x="294" y="408"/>
                  </a:lnTo>
                  <a:lnTo>
                    <a:pt x="270" y="408"/>
                  </a:lnTo>
                  <a:lnTo>
                    <a:pt x="246" y="408"/>
                  </a:lnTo>
                  <a:lnTo>
                    <a:pt x="222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56" y="402"/>
                  </a:lnTo>
                  <a:lnTo>
                    <a:pt x="144" y="396"/>
                  </a:lnTo>
                  <a:lnTo>
                    <a:pt x="126" y="396"/>
                  </a:lnTo>
                  <a:lnTo>
                    <a:pt x="108" y="408"/>
                  </a:lnTo>
                  <a:lnTo>
                    <a:pt x="102" y="414"/>
                  </a:lnTo>
                  <a:lnTo>
                    <a:pt x="102" y="420"/>
                  </a:lnTo>
                  <a:lnTo>
                    <a:pt x="96" y="426"/>
                  </a:lnTo>
                  <a:lnTo>
                    <a:pt x="96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78" y="450"/>
                  </a:lnTo>
                  <a:lnTo>
                    <a:pt x="60" y="450"/>
                  </a:lnTo>
                  <a:close/>
                </a:path>
              </a:pathLst>
            </a:custGeom>
            <a:solidFill>
              <a:srgbClr val="2A4F1D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4" name="Freeform 29">
              <a:extLst>
                <a:ext uri="{FF2B5EF4-FFF2-40B4-BE49-F238E27FC236}">
                  <a16:creationId xmlns:a16="http://schemas.microsoft.com/office/drawing/2014/main" id="{B6AC2B96-1504-4082-8778-17130FDA021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401" y="3537698"/>
              <a:ext cx="559048" cy="641876"/>
            </a:xfrm>
            <a:custGeom>
              <a:avLst/>
              <a:gdLst>
                <a:gd name="T0" fmla="*/ 39 w 1056"/>
                <a:gd name="T1" fmla="*/ 94 h 1206"/>
                <a:gd name="T2" fmla="*/ 35 w 1056"/>
                <a:gd name="T3" fmla="*/ 103 h 1206"/>
                <a:gd name="T4" fmla="*/ 29 w 1056"/>
                <a:gd name="T5" fmla="*/ 99 h 1206"/>
                <a:gd name="T6" fmla="*/ 23 w 1056"/>
                <a:gd name="T7" fmla="*/ 94 h 1206"/>
                <a:gd name="T8" fmla="*/ 21 w 1056"/>
                <a:gd name="T9" fmla="*/ 91 h 1206"/>
                <a:gd name="T10" fmla="*/ 18 w 1056"/>
                <a:gd name="T11" fmla="*/ 89 h 1206"/>
                <a:gd name="T12" fmla="*/ 15 w 1056"/>
                <a:gd name="T13" fmla="*/ 86 h 1206"/>
                <a:gd name="T14" fmla="*/ 11 w 1056"/>
                <a:gd name="T15" fmla="*/ 83 h 1206"/>
                <a:gd name="T16" fmla="*/ 8 w 1056"/>
                <a:gd name="T17" fmla="*/ 81 h 1206"/>
                <a:gd name="T18" fmla="*/ 6 w 1056"/>
                <a:gd name="T19" fmla="*/ 79 h 1206"/>
                <a:gd name="T20" fmla="*/ 13 w 1056"/>
                <a:gd name="T21" fmla="*/ 78 h 1206"/>
                <a:gd name="T22" fmla="*/ 8 w 1056"/>
                <a:gd name="T23" fmla="*/ 75 h 1206"/>
                <a:gd name="T24" fmla="*/ 13 w 1056"/>
                <a:gd name="T25" fmla="*/ 71 h 1206"/>
                <a:gd name="T26" fmla="*/ 10 w 1056"/>
                <a:gd name="T27" fmla="*/ 63 h 1206"/>
                <a:gd name="T28" fmla="*/ 6 w 1056"/>
                <a:gd name="T29" fmla="*/ 66 h 1206"/>
                <a:gd name="T30" fmla="*/ 1 w 1056"/>
                <a:gd name="T31" fmla="*/ 63 h 1206"/>
                <a:gd name="T32" fmla="*/ 1 w 1056"/>
                <a:gd name="T33" fmla="*/ 59 h 1206"/>
                <a:gd name="T34" fmla="*/ 3 w 1056"/>
                <a:gd name="T35" fmla="*/ 57 h 1206"/>
                <a:gd name="T36" fmla="*/ 6 w 1056"/>
                <a:gd name="T37" fmla="*/ 55 h 1206"/>
                <a:gd name="T38" fmla="*/ 10 w 1056"/>
                <a:gd name="T39" fmla="*/ 51 h 1206"/>
                <a:gd name="T40" fmla="*/ 11 w 1056"/>
                <a:gd name="T41" fmla="*/ 46 h 1206"/>
                <a:gd name="T42" fmla="*/ 14 w 1056"/>
                <a:gd name="T43" fmla="*/ 42 h 1206"/>
                <a:gd name="T44" fmla="*/ 15 w 1056"/>
                <a:gd name="T45" fmla="*/ 36 h 1206"/>
                <a:gd name="T46" fmla="*/ 17 w 1056"/>
                <a:gd name="T47" fmla="*/ 34 h 1206"/>
                <a:gd name="T48" fmla="*/ 20 w 1056"/>
                <a:gd name="T49" fmla="*/ 31 h 1206"/>
                <a:gd name="T50" fmla="*/ 21 w 1056"/>
                <a:gd name="T51" fmla="*/ 29 h 1206"/>
                <a:gd name="T52" fmla="*/ 23 w 1056"/>
                <a:gd name="T53" fmla="*/ 22 h 1206"/>
                <a:gd name="T54" fmla="*/ 35 w 1056"/>
                <a:gd name="T55" fmla="*/ 22 h 1206"/>
                <a:gd name="T56" fmla="*/ 41 w 1056"/>
                <a:gd name="T57" fmla="*/ 18 h 1206"/>
                <a:gd name="T58" fmla="*/ 54 w 1056"/>
                <a:gd name="T59" fmla="*/ 20 h 1206"/>
                <a:gd name="T60" fmla="*/ 54 w 1056"/>
                <a:gd name="T61" fmla="*/ 26 h 1206"/>
                <a:gd name="T62" fmla="*/ 64 w 1056"/>
                <a:gd name="T63" fmla="*/ 25 h 1206"/>
                <a:gd name="T64" fmla="*/ 71 w 1056"/>
                <a:gd name="T65" fmla="*/ 10 h 1206"/>
                <a:gd name="T66" fmla="*/ 80 w 1056"/>
                <a:gd name="T67" fmla="*/ 1 h 1206"/>
                <a:gd name="T68" fmla="*/ 86 w 1056"/>
                <a:gd name="T69" fmla="*/ 2 h 1206"/>
                <a:gd name="T70" fmla="*/ 91 w 1056"/>
                <a:gd name="T71" fmla="*/ 13 h 1206"/>
                <a:gd name="T72" fmla="*/ 88 w 1056"/>
                <a:gd name="T73" fmla="*/ 17 h 1206"/>
                <a:gd name="T74" fmla="*/ 89 w 1056"/>
                <a:gd name="T75" fmla="*/ 21 h 1206"/>
                <a:gd name="T76" fmla="*/ 86 w 1056"/>
                <a:gd name="T77" fmla="*/ 25 h 1206"/>
                <a:gd name="T78" fmla="*/ 85 w 1056"/>
                <a:gd name="T79" fmla="*/ 31 h 1206"/>
                <a:gd name="T80" fmla="*/ 83 w 1056"/>
                <a:gd name="T81" fmla="*/ 36 h 1206"/>
                <a:gd name="T82" fmla="*/ 80 w 1056"/>
                <a:gd name="T83" fmla="*/ 42 h 1206"/>
                <a:gd name="T84" fmla="*/ 80 w 1056"/>
                <a:gd name="T85" fmla="*/ 47 h 1206"/>
                <a:gd name="T86" fmla="*/ 77 w 1056"/>
                <a:gd name="T87" fmla="*/ 55 h 1206"/>
                <a:gd name="T88" fmla="*/ 75 w 1056"/>
                <a:gd name="T89" fmla="*/ 57 h 1206"/>
                <a:gd name="T90" fmla="*/ 66 w 1056"/>
                <a:gd name="T91" fmla="*/ 57 h 1206"/>
                <a:gd name="T92" fmla="*/ 66 w 1056"/>
                <a:gd name="T93" fmla="*/ 51 h 1206"/>
                <a:gd name="T94" fmla="*/ 48 w 1056"/>
                <a:gd name="T95" fmla="*/ 50 h 1206"/>
                <a:gd name="T96" fmla="*/ 46 w 1056"/>
                <a:gd name="T97" fmla="*/ 55 h 1206"/>
                <a:gd name="T98" fmla="*/ 42 w 1056"/>
                <a:gd name="T99" fmla="*/ 59 h 1206"/>
                <a:gd name="T100" fmla="*/ 41 w 1056"/>
                <a:gd name="T101" fmla="*/ 62 h 1206"/>
                <a:gd name="T102" fmla="*/ 43 w 1056"/>
                <a:gd name="T103" fmla="*/ 67 h 1206"/>
                <a:gd name="T104" fmla="*/ 42 w 1056"/>
                <a:gd name="T105" fmla="*/ 72 h 1206"/>
                <a:gd name="T106" fmla="*/ 39 w 1056"/>
                <a:gd name="T107" fmla="*/ 77 h 1206"/>
                <a:gd name="T108" fmla="*/ 36 w 1056"/>
                <a:gd name="T109" fmla="*/ 80 h 1206"/>
                <a:gd name="T110" fmla="*/ 37 w 1056"/>
                <a:gd name="T111" fmla="*/ 83 h 1206"/>
                <a:gd name="T112" fmla="*/ 40 w 1056"/>
                <a:gd name="T113" fmla="*/ 87 h 1206"/>
                <a:gd name="T114" fmla="*/ 42 w 1056"/>
                <a:gd name="T115" fmla="*/ 89 h 12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56"/>
                <a:gd name="T175" fmla="*/ 0 h 1206"/>
                <a:gd name="T176" fmla="*/ 1056 w 1056"/>
                <a:gd name="T177" fmla="*/ 1206 h 12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56" h="1206">
                  <a:moveTo>
                    <a:pt x="492" y="1032"/>
                  </a:moveTo>
                  <a:lnTo>
                    <a:pt x="486" y="1038"/>
                  </a:lnTo>
                  <a:lnTo>
                    <a:pt x="486" y="1044"/>
                  </a:lnTo>
                  <a:lnTo>
                    <a:pt x="480" y="1044"/>
                  </a:lnTo>
                  <a:lnTo>
                    <a:pt x="474" y="1056"/>
                  </a:lnTo>
                  <a:lnTo>
                    <a:pt x="462" y="1068"/>
                  </a:lnTo>
                  <a:lnTo>
                    <a:pt x="456" y="1080"/>
                  </a:lnTo>
                  <a:lnTo>
                    <a:pt x="450" y="1080"/>
                  </a:lnTo>
                  <a:lnTo>
                    <a:pt x="450" y="1086"/>
                  </a:lnTo>
                  <a:lnTo>
                    <a:pt x="450" y="1092"/>
                  </a:lnTo>
                  <a:lnTo>
                    <a:pt x="444" y="1104"/>
                  </a:lnTo>
                  <a:lnTo>
                    <a:pt x="444" y="1116"/>
                  </a:lnTo>
                  <a:lnTo>
                    <a:pt x="438" y="1128"/>
                  </a:lnTo>
                  <a:lnTo>
                    <a:pt x="432" y="1134"/>
                  </a:lnTo>
                  <a:lnTo>
                    <a:pt x="432" y="1140"/>
                  </a:lnTo>
                  <a:lnTo>
                    <a:pt x="420" y="1152"/>
                  </a:lnTo>
                  <a:lnTo>
                    <a:pt x="420" y="1158"/>
                  </a:lnTo>
                  <a:lnTo>
                    <a:pt x="408" y="1182"/>
                  </a:lnTo>
                  <a:lnTo>
                    <a:pt x="396" y="1194"/>
                  </a:lnTo>
                  <a:lnTo>
                    <a:pt x="390" y="1206"/>
                  </a:lnTo>
                  <a:lnTo>
                    <a:pt x="390" y="1200"/>
                  </a:lnTo>
                  <a:lnTo>
                    <a:pt x="384" y="1194"/>
                  </a:lnTo>
                  <a:lnTo>
                    <a:pt x="378" y="1188"/>
                  </a:lnTo>
                  <a:lnTo>
                    <a:pt x="366" y="1176"/>
                  </a:lnTo>
                  <a:lnTo>
                    <a:pt x="366" y="1170"/>
                  </a:lnTo>
                  <a:lnTo>
                    <a:pt x="348" y="1152"/>
                  </a:lnTo>
                  <a:lnTo>
                    <a:pt x="336" y="1140"/>
                  </a:lnTo>
                  <a:lnTo>
                    <a:pt x="330" y="1134"/>
                  </a:lnTo>
                  <a:lnTo>
                    <a:pt x="324" y="1128"/>
                  </a:lnTo>
                  <a:lnTo>
                    <a:pt x="318" y="1122"/>
                  </a:lnTo>
                  <a:lnTo>
                    <a:pt x="312" y="1116"/>
                  </a:lnTo>
                  <a:lnTo>
                    <a:pt x="306" y="1110"/>
                  </a:lnTo>
                  <a:lnTo>
                    <a:pt x="300" y="1104"/>
                  </a:lnTo>
                  <a:lnTo>
                    <a:pt x="294" y="1098"/>
                  </a:lnTo>
                  <a:lnTo>
                    <a:pt x="276" y="1080"/>
                  </a:lnTo>
                  <a:lnTo>
                    <a:pt x="270" y="1080"/>
                  </a:lnTo>
                  <a:lnTo>
                    <a:pt x="270" y="1074"/>
                  </a:lnTo>
                  <a:lnTo>
                    <a:pt x="264" y="1068"/>
                  </a:lnTo>
                  <a:lnTo>
                    <a:pt x="258" y="1062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40" y="1050"/>
                  </a:lnTo>
                  <a:lnTo>
                    <a:pt x="234" y="1044"/>
                  </a:lnTo>
                  <a:lnTo>
                    <a:pt x="228" y="1044"/>
                  </a:lnTo>
                  <a:lnTo>
                    <a:pt x="222" y="1038"/>
                  </a:lnTo>
                  <a:lnTo>
                    <a:pt x="222" y="1032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6"/>
                  </a:lnTo>
                  <a:lnTo>
                    <a:pt x="204" y="1020"/>
                  </a:lnTo>
                  <a:lnTo>
                    <a:pt x="204" y="1014"/>
                  </a:lnTo>
                  <a:lnTo>
                    <a:pt x="198" y="1014"/>
                  </a:lnTo>
                  <a:lnTo>
                    <a:pt x="192" y="1014"/>
                  </a:lnTo>
                  <a:lnTo>
                    <a:pt x="192" y="1008"/>
                  </a:lnTo>
                  <a:lnTo>
                    <a:pt x="186" y="1008"/>
                  </a:lnTo>
                  <a:lnTo>
                    <a:pt x="186" y="1002"/>
                  </a:lnTo>
                  <a:lnTo>
                    <a:pt x="180" y="1002"/>
                  </a:lnTo>
                  <a:lnTo>
                    <a:pt x="174" y="996"/>
                  </a:lnTo>
                  <a:lnTo>
                    <a:pt x="168" y="996"/>
                  </a:lnTo>
                  <a:lnTo>
                    <a:pt x="168" y="990"/>
                  </a:lnTo>
                  <a:lnTo>
                    <a:pt x="162" y="990"/>
                  </a:lnTo>
                  <a:lnTo>
                    <a:pt x="162" y="984"/>
                  </a:lnTo>
                  <a:lnTo>
                    <a:pt x="150" y="978"/>
                  </a:lnTo>
                  <a:lnTo>
                    <a:pt x="144" y="972"/>
                  </a:lnTo>
                  <a:lnTo>
                    <a:pt x="138" y="972"/>
                  </a:lnTo>
                  <a:lnTo>
                    <a:pt x="138" y="966"/>
                  </a:lnTo>
                  <a:lnTo>
                    <a:pt x="132" y="966"/>
                  </a:lnTo>
                  <a:lnTo>
                    <a:pt x="126" y="960"/>
                  </a:lnTo>
                  <a:lnTo>
                    <a:pt x="126" y="954"/>
                  </a:lnTo>
                  <a:lnTo>
                    <a:pt x="120" y="954"/>
                  </a:lnTo>
                  <a:lnTo>
                    <a:pt x="114" y="948"/>
                  </a:lnTo>
                  <a:lnTo>
                    <a:pt x="108" y="948"/>
                  </a:lnTo>
                  <a:lnTo>
                    <a:pt x="108" y="942"/>
                  </a:lnTo>
                  <a:lnTo>
                    <a:pt x="102" y="942"/>
                  </a:lnTo>
                  <a:lnTo>
                    <a:pt x="96" y="942"/>
                  </a:lnTo>
                  <a:lnTo>
                    <a:pt x="96" y="936"/>
                  </a:lnTo>
                  <a:lnTo>
                    <a:pt x="90" y="936"/>
                  </a:lnTo>
                  <a:lnTo>
                    <a:pt x="90" y="930"/>
                  </a:lnTo>
                  <a:lnTo>
                    <a:pt x="84" y="930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18"/>
                  </a:lnTo>
                  <a:lnTo>
                    <a:pt x="66" y="918"/>
                  </a:lnTo>
                  <a:lnTo>
                    <a:pt x="66" y="912"/>
                  </a:lnTo>
                  <a:lnTo>
                    <a:pt x="66" y="906"/>
                  </a:lnTo>
                  <a:lnTo>
                    <a:pt x="72" y="906"/>
                  </a:lnTo>
                  <a:lnTo>
                    <a:pt x="84" y="906"/>
                  </a:lnTo>
                  <a:lnTo>
                    <a:pt x="90" y="906"/>
                  </a:lnTo>
                  <a:lnTo>
                    <a:pt x="120" y="930"/>
                  </a:lnTo>
                  <a:lnTo>
                    <a:pt x="126" y="936"/>
                  </a:lnTo>
                  <a:lnTo>
                    <a:pt x="138" y="936"/>
                  </a:lnTo>
                  <a:lnTo>
                    <a:pt x="138" y="930"/>
                  </a:lnTo>
                  <a:lnTo>
                    <a:pt x="144" y="930"/>
                  </a:lnTo>
                  <a:lnTo>
                    <a:pt x="144" y="924"/>
                  </a:lnTo>
                  <a:lnTo>
                    <a:pt x="150" y="900"/>
                  </a:lnTo>
                  <a:lnTo>
                    <a:pt x="138" y="894"/>
                  </a:lnTo>
                  <a:lnTo>
                    <a:pt x="126" y="894"/>
                  </a:lnTo>
                  <a:lnTo>
                    <a:pt x="108" y="888"/>
                  </a:lnTo>
                  <a:lnTo>
                    <a:pt x="84" y="882"/>
                  </a:lnTo>
                  <a:lnTo>
                    <a:pt x="72" y="882"/>
                  </a:lnTo>
                  <a:lnTo>
                    <a:pt x="72" y="876"/>
                  </a:lnTo>
                  <a:lnTo>
                    <a:pt x="78" y="870"/>
                  </a:lnTo>
                  <a:lnTo>
                    <a:pt x="90" y="870"/>
                  </a:lnTo>
                  <a:lnTo>
                    <a:pt x="96" y="870"/>
                  </a:lnTo>
                  <a:lnTo>
                    <a:pt x="102" y="870"/>
                  </a:lnTo>
                  <a:lnTo>
                    <a:pt x="114" y="870"/>
                  </a:lnTo>
                  <a:lnTo>
                    <a:pt x="120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34"/>
                  </a:lnTo>
                  <a:lnTo>
                    <a:pt x="132" y="828"/>
                  </a:lnTo>
                  <a:lnTo>
                    <a:pt x="132" y="816"/>
                  </a:lnTo>
                  <a:lnTo>
                    <a:pt x="150" y="816"/>
                  </a:lnTo>
                  <a:lnTo>
                    <a:pt x="150" y="804"/>
                  </a:lnTo>
                  <a:lnTo>
                    <a:pt x="144" y="798"/>
                  </a:lnTo>
                  <a:lnTo>
                    <a:pt x="156" y="762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32"/>
                  </a:lnTo>
                  <a:lnTo>
                    <a:pt x="144" y="726"/>
                  </a:lnTo>
                  <a:lnTo>
                    <a:pt x="132" y="726"/>
                  </a:lnTo>
                  <a:lnTo>
                    <a:pt x="120" y="732"/>
                  </a:lnTo>
                  <a:lnTo>
                    <a:pt x="114" y="744"/>
                  </a:lnTo>
                  <a:lnTo>
                    <a:pt x="108" y="750"/>
                  </a:lnTo>
                  <a:lnTo>
                    <a:pt x="96" y="768"/>
                  </a:lnTo>
                  <a:lnTo>
                    <a:pt x="96" y="774"/>
                  </a:lnTo>
                  <a:lnTo>
                    <a:pt x="90" y="780"/>
                  </a:lnTo>
                  <a:lnTo>
                    <a:pt x="84" y="804"/>
                  </a:lnTo>
                  <a:lnTo>
                    <a:pt x="72" y="774"/>
                  </a:lnTo>
                  <a:lnTo>
                    <a:pt x="72" y="768"/>
                  </a:lnTo>
                  <a:lnTo>
                    <a:pt x="66" y="762"/>
                  </a:lnTo>
                  <a:lnTo>
                    <a:pt x="60" y="750"/>
                  </a:lnTo>
                  <a:lnTo>
                    <a:pt x="54" y="750"/>
                  </a:lnTo>
                  <a:lnTo>
                    <a:pt x="48" y="750"/>
                  </a:lnTo>
                  <a:lnTo>
                    <a:pt x="42" y="750"/>
                  </a:lnTo>
                  <a:lnTo>
                    <a:pt x="30" y="744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12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2" y="702"/>
                  </a:lnTo>
                  <a:lnTo>
                    <a:pt x="18" y="696"/>
                  </a:lnTo>
                  <a:lnTo>
                    <a:pt x="12" y="690"/>
                  </a:lnTo>
                  <a:lnTo>
                    <a:pt x="12" y="684"/>
                  </a:lnTo>
                  <a:lnTo>
                    <a:pt x="12" y="678"/>
                  </a:lnTo>
                  <a:lnTo>
                    <a:pt x="12" y="672"/>
                  </a:lnTo>
                  <a:lnTo>
                    <a:pt x="18" y="672"/>
                  </a:lnTo>
                  <a:lnTo>
                    <a:pt x="18" y="666"/>
                  </a:lnTo>
                  <a:lnTo>
                    <a:pt x="24" y="666"/>
                  </a:lnTo>
                  <a:lnTo>
                    <a:pt x="24" y="660"/>
                  </a:lnTo>
                  <a:lnTo>
                    <a:pt x="30" y="660"/>
                  </a:lnTo>
                  <a:lnTo>
                    <a:pt x="30" y="654"/>
                  </a:lnTo>
                  <a:lnTo>
                    <a:pt x="36" y="654"/>
                  </a:lnTo>
                  <a:lnTo>
                    <a:pt x="36" y="648"/>
                  </a:lnTo>
                  <a:lnTo>
                    <a:pt x="42" y="648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60" y="630"/>
                  </a:lnTo>
                  <a:lnTo>
                    <a:pt x="66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78" y="624"/>
                  </a:lnTo>
                  <a:lnTo>
                    <a:pt x="84" y="618"/>
                  </a:lnTo>
                  <a:lnTo>
                    <a:pt x="84" y="612"/>
                  </a:lnTo>
                  <a:lnTo>
                    <a:pt x="90" y="612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20" y="588"/>
                  </a:lnTo>
                  <a:lnTo>
                    <a:pt x="120" y="582"/>
                  </a:lnTo>
                  <a:lnTo>
                    <a:pt x="120" y="576"/>
                  </a:lnTo>
                  <a:lnTo>
                    <a:pt x="120" y="570"/>
                  </a:lnTo>
                  <a:lnTo>
                    <a:pt x="126" y="564"/>
                  </a:lnTo>
                  <a:lnTo>
                    <a:pt x="126" y="558"/>
                  </a:lnTo>
                  <a:lnTo>
                    <a:pt x="126" y="552"/>
                  </a:lnTo>
                  <a:lnTo>
                    <a:pt x="126" y="546"/>
                  </a:lnTo>
                  <a:lnTo>
                    <a:pt x="126" y="534"/>
                  </a:lnTo>
                  <a:lnTo>
                    <a:pt x="126" y="516"/>
                  </a:lnTo>
                  <a:lnTo>
                    <a:pt x="126" y="510"/>
                  </a:lnTo>
                  <a:lnTo>
                    <a:pt x="126" y="504"/>
                  </a:lnTo>
                  <a:lnTo>
                    <a:pt x="126" y="498"/>
                  </a:lnTo>
                  <a:lnTo>
                    <a:pt x="132" y="498"/>
                  </a:lnTo>
                  <a:lnTo>
                    <a:pt x="132" y="492"/>
                  </a:lnTo>
                  <a:lnTo>
                    <a:pt x="138" y="492"/>
                  </a:lnTo>
                  <a:lnTo>
                    <a:pt x="144" y="486"/>
                  </a:lnTo>
                  <a:lnTo>
                    <a:pt x="156" y="480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6" y="462"/>
                  </a:lnTo>
                  <a:lnTo>
                    <a:pt x="156" y="456"/>
                  </a:lnTo>
                  <a:lnTo>
                    <a:pt x="156" y="450"/>
                  </a:lnTo>
                  <a:lnTo>
                    <a:pt x="162" y="438"/>
                  </a:lnTo>
                  <a:lnTo>
                    <a:pt x="168" y="426"/>
                  </a:lnTo>
                  <a:lnTo>
                    <a:pt x="174" y="426"/>
                  </a:lnTo>
                  <a:lnTo>
                    <a:pt x="174" y="420"/>
                  </a:lnTo>
                  <a:lnTo>
                    <a:pt x="180" y="414"/>
                  </a:lnTo>
                  <a:lnTo>
                    <a:pt x="186" y="420"/>
                  </a:lnTo>
                  <a:lnTo>
                    <a:pt x="186" y="414"/>
                  </a:lnTo>
                  <a:lnTo>
                    <a:pt x="180" y="408"/>
                  </a:lnTo>
                  <a:lnTo>
                    <a:pt x="180" y="402"/>
                  </a:lnTo>
                  <a:lnTo>
                    <a:pt x="186" y="402"/>
                  </a:lnTo>
                  <a:lnTo>
                    <a:pt x="192" y="402"/>
                  </a:lnTo>
                  <a:lnTo>
                    <a:pt x="192" y="396"/>
                  </a:lnTo>
                  <a:lnTo>
                    <a:pt x="198" y="396"/>
                  </a:lnTo>
                  <a:lnTo>
                    <a:pt x="204" y="396"/>
                  </a:lnTo>
                  <a:lnTo>
                    <a:pt x="210" y="396"/>
                  </a:lnTo>
                  <a:lnTo>
                    <a:pt x="210" y="390"/>
                  </a:lnTo>
                  <a:lnTo>
                    <a:pt x="216" y="390"/>
                  </a:lnTo>
                  <a:lnTo>
                    <a:pt x="216" y="384"/>
                  </a:lnTo>
                  <a:lnTo>
                    <a:pt x="222" y="384"/>
                  </a:lnTo>
                  <a:lnTo>
                    <a:pt x="222" y="378"/>
                  </a:lnTo>
                  <a:lnTo>
                    <a:pt x="228" y="372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0" y="348"/>
                  </a:lnTo>
                  <a:lnTo>
                    <a:pt x="234" y="342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46" y="330"/>
                  </a:lnTo>
                  <a:lnTo>
                    <a:pt x="246" y="324"/>
                  </a:lnTo>
                  <a:lnTo>
                    <a:pt x="234" y="318"/>
                  </a:lnTo>
                  <a:lnTo>
                    <a:pt x="234" y="312"/>
                  </a:lnTo>
                  <a:lnTo>
                    <a:pt x="234" y="300"/>
                  </a:lnTo>
                  <a:lnTo>
                    <a:pt x="240" y="288"/>
                  </a:lnTo>
                  <a:lnTo>
                    <a:pt x="240" y="276"/>
                  </a:lnTo>
                  <a:lnTo>
                    <a:pt x="246" y="258"/>
                  </a:lnTo>
                  <a:lnTo>
                    <a:pt x="258" y="252"/>
                  </a:lnTo>
                  <a:lnTo>
                    <a:pt x="270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294" y="252"/>
                  </a:lnTo>
                  <a:lnTo>
                    <a:pt x="300" y="258"/>
                  </a:lnTo>
                  <a:lnTo>
                    <a:pt x="318" y="252"/>
                  </a:lnTo>
                  <a:lnTo>
                    <a:pt x="366" y="252"/>
                  </a:lnTo>
                  <a:lnTo>
                    <a:pt x="378" y="252"/>
                  </a:lnTo>
                  <a:lnTo>
                    <a:pt x="396" y="252"/>
                  </a:lnTo>
                  <a:lnTo>
                    <a:pt x="408" y="252"/>
                  </a:lnTo>
                  <a:lnTo>
                    <a:pt x="408" y="246"/>
                  </a:lnTo>
                  <a:lnTo>
                    <a:pt x="414" y="240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20" y="216"/>
                  </a:lnTo>
                  <a:lnTo>
                    <a:pt x="426" y="210"/>
                  </a:lnTo>
                  <a:lnTo>
                    <a:pt x="444" y="198"/>
                  </a:lnTo>
                  <a:lnTo>
                    <a:pt x="462" y="198"/>
                  </a:lnTo>
                  <a:lnTo>
                    <a:pt x="474" y="204"/>
                  </a:lnTo>
                  <a:lnTo>
                    <a:pt x="498" y="198"/>
                  </a:lnTo>
                  <a:lnTo>
                    <a:pt x="498" y="204"/>
                  </a:lnTo>
                  <a:lnTo>
                    <a:pt x="540" y="210"/>
                  </a:lnTo>
                  <a:lnTo>
                    <a:pt x="564" y="210"/>
                  </a:lnTo>
                  <a:lnTo>
                    <a:pt x="588" y="210"/>
                  </a:lnTo>
                  <a:lnTo>
                    <a:pt x="612" y="210"/>
                  </a:lnTo>
                  <a:lnTo>
                    <a:pt x="612" y="216"/>
                  </a:lnTo>
                  <a:lnTo>
                    <a:pt x="618" y="222"/>
                  </a:lnTo>
                  <a:lnTo>
                    <a:pt x="618" y="228"/>
                  </a:lnTo>
                  <a:lnTo>
                    <a:pt x="624" y="240"/>
                  </a:lnTo>
                  <a:lnTo>
                    <a:pt x="624" y="246"/>
                  </a:lnTo>
                  <a:lnTo>
                    <a:pt x="630" y="252"/>
                  </a:lnTo>
                  <a:lnTo>
                    <a:pt x="630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0" y="282"/>
                  </a:lnTo>
                  <a:lnTo>
                    <a:pt x="630" y="288"/>
                  </a:lnTo>
                  <a:lnTo>
                    <a:pt x="630" y="300"/>
                  </a:lnTo>
                  <a:lnTo>
                    <a:pt x="630" y="306"/>
                  </a:lnTo>
                  <a:lnTo>
                    <a:pt x="636" y="306"/>
                  </a:lnTo>
                  <a:lnTo>
                    <a:pt x="642" y="306"/>
                  </a:lnTo>
                  <a:lnTo>
                    <a:pt x="648" y="312"/>
                  </a:lnTo>
                  <a:lnTo>
                    <a:pt x="666" y="312"/>
                  </a:lnTo>
                  <a:lnTo>
                    <a:pt x="696" y="306"/>
                  </a:lnTo>
                  <a:lnTo>
                    <a:pt x="732" y="300"/>
                  </a:lnTo>
                  <a:lnTo>
                    <a:pt x="732" y="288"/>
                  </a:lnTo>
                  <a:lnTo>
                    <a:pt x="738" y="288"/>
                  </a:lnTo>
                  <a:lnTo>
                    <a:pt x="744" y="276"/>
                  </a:lnTo>
                  <a:lnTo>
                    <a:pt x="762" y="246"/>
                  </a:lnTo>
                  <a:lnTo>
                    <a:pt x="768" y="228"/>
                  </a:lnTo>
                  <a:lnTo>
                    <a:pt x="792" y="210"/>
                  </a:lnTo>
                  <a:lnTo>
                    <a:pt x="804" y="186"/>
                  </a:lnTo>
                  <a:lnTo>
                    <a:pt x="804" y="156"/>
                  </a:lnTo>
                  <a:lnTo>
                    <a:pt x="804" y="138"/>
                  </a:lnTo>
                  <a:lnTo>
                    <a:pt x="810" y="126"/>
                  </a:lnTo>
                  <a:lnTo>
                    <a:pt x="816" y="120"/>
                  </a:lnTo>
                  <a:lnTo>
                    <a:pt x="828" y="102"/>
                  </a:lnTo>
                  <a:lnTo>
                    <a:pt x="834" y="96"/>
                  </a:lnTo>
                  <a:lnTo>
                    <a:pt x="846" y="102"/>
                  </a:lnTo>
                  <a:lnTo>
                    <a:pt x="852" y="96"/>
                  </a:lnTo>
                  <a:lnTo>
                    <a:pt x="858" y="72"/>
                  </a:lnTo>
                  <a:lnTo>
                    <a:pt x="864" y="60"/>
                  </a:lnTo>
                  <a:lnTo>
                    <a:pt x="882" y="48"/>
                  </a:lnTo>
                  <a:lnTo>
                    <a:pt x="906" y="36"/>
                  </a:lnTo>
                  <a:lnTo>
                    <a:pt x="918" y="12"/>
                  </a:lnTo>
                  <a:lnTo>
                    <a:pt x="924" y="0"/>
                  </a:lnTo>
                  <a:lnTo>
                    <a:pt x="930" y="6"/>
                  </a:lnTo>
                  <a:lnTo>
                    <a:pt x="942" y="12"/>
                  </a:lnTo>
                  <a:lnTo>
                    <a:pt x="948" y="12"/>
                  </a:lnTo>
                  <a:lnTo>
                    <a:pt x="954" y="18"/>
                  </a:lnTo>
                  <a:lnTo>
                    <a:pt x="966" y="18"/>
                  </a:lnTo>
                  <a:lnTo>
                    <a:pt x="972" y="18"/>
                  </a:lnTo>
                  <a:lnTo>
                    <a:pt x="984" y="18"/>
                  </a:lnTo>
                  <a:lnTo>
                    <a:pt x="990" y="18"/>
                  </a:lnTo>
                  <a:lnTo>
                    <a:pt x="1002" y="48"/>
                  </a:lnTo>
                  <a:lnTo>
                    <a:pt x="1008" y="78"/>
                  </a:lnTo>
                  <a:lnTo>
                    <a:pt x="1020" y="78"/>
                  </a:lnTo>
                  <a:lnTo>
                    <a:pt x="1020" y="90"/>
                  </a:lnTo>
                  <a:lnTo>
                    <a:pt x="1026" y="102"/>
                  </a:lnTo>
                  <a:lnTo>
                    <a:pt x="1044" y="120"/>
                  </a:lnTo>
                  <a:lnTo>
                    <a:pt x="1044" y="132"/>
                  </a:lnTo>
                  <a:lnTo>
                    <a:pt x="1056" y="150"/>
                  </a:lnTo>
                  <a:lnTo>
                    <a:pt x="1050" y="150"/>
                  </a:lnTo>
                  <a:lnTo>
                    <a:pt x="1044" y="156"/>
                  </a:lnTo>
                  <a:lnTo>
                    <a:pt x="1044" y="162"/>
                  </a:lnTo>
                  <a:lnTo>
                    <a:pt x="1038" y="162"/>
                  </a:lnTo>
                  <a:lnTo>
                    <a:pt x="1032" y="162"/>
                  </a:lnTo>
                  <a:lnTo>
                    <a:pt x="1026" y="168"/>
                  </a:lnTo>
                  <a:lnTo>
                    <a:pt x="1014" y="174"/>
                  </a:lnTo>
                  <a:lnTo>
                    <a:pt x="1014" y="186"/>
                  </a:lnTo>
                  <a:lnTo>
                    <a:pt x="1014" y="192"/>
                  </a:lnTo>
                  <a:lnTo>
                    <a:pt x="1014" y="198"/>
                  </a:lnTo>
                  <a:lnTo>
                    <a:pt x="1020" y="204"/>
                  </a:lnTo>
                  <a:lnTo>
                    <a:pt x="1026" y="204"/>
                  </a:lnTo>
                  <a:lnTo>
                    <a:pt x="1032" y="204"/>
                  </a:lnTo>
                  <a:lnTo>
                    <a:pt x="1032" y="210"/>
                  </a:lnTo>
                  <a:lnTo>
                    <a:pt x="1038" y="210"/>
                  </a:lnTo>
                  <a:lnTo>
                    <a:pt x="1032" y="216"/>
                  </a:lnTo>
                  <a:lnTo>
                    <a:pt x="1026" y="228"/>
                  </a:lnTo>
                  <a:lnTo>
                    <a:pt x="1026" y="234"/>
                  </a:lnTo>
                  <a:lnTo>
                    <a:pt x="1032" y="240"/>
                  </a:lnTo>
                  <a:lnTo>
                    <a:pt x="1032" y="246"/>
                  </a:lnTo>
                  <a:lnTo>
                    <a:pt x="1032" y="252"/>
                  </a:lnTo>
                  <a:lnTo>
                    <a:pt x="1032" y="258"/>
                  </a:lnTo>
                  <a:lnTo>
                    <a:pt x="1038" y="264"/>
                  </a:lnTo>
                  <a:lnTo>
                    <a:pt x="1032" y="276"/>
                  </a:lnTo>
                  <a:lnTo>
                    <a:pt x="1026" y="276"/>
                  </a:lnTo>
                  <a:lnTo>
                    <a:pt x="1020" y="276"/>
                  </a:lnTo>
                  <a:lnTo>
                    <a:pt x="996" y="282"/>
                  </a:lnTo>
                  <a:lnTo>
                    <a:pt x="996" y="288"/>
                  </a:lnTo>
                  <a:lnTo>
                    <a:pt x="996" y="294"/>
                  </a:lnTo>
                  <a:lnTo>
                    <a:pt x="996" y="300"/>
                  </a:lnTo>
                  <a:lnTo>
                    <a:pt x="996" y="306"/>
                  </a:lnTo>
                  <a:lnTo>
                    <a:pt x="984" y="324"/>
                  </a:lnTo>
                  <a:lnTo>
                    <a:pt x="984" y="330"/>
                  </a:lnTo>
                  <a:lnTo>
                    <a:pt x="984" y="336"/>
                  </a:lnTo>
                  <a:lnTo>
                    <a:pt x="978" y="336"/>
                  </a:lnTo>
                  <a:lnTo>
                    <a:pt x="978" y="342"/>
                  </a:lnTo>
                  <a:lnTo>
                    <a:pt x="984" y="360"/>
                  </a:lnTo>
                  <a:lnTo>
                    <a:pt x="978" y="366"/>
                  </a:lnTo>
                  <a:lnTo>
                    <a:pt x="978" y="372"/>
                  </a:lnTo>
                  <a:lnTo>
                    <a:pt x="972" y="372"/>
                  </a:lnTo>
                  <a:lnTo>
                    <a:pt x="972" y="378"/>
                  </a:lnTo>
                  <a:lnTo>
                    <a:pt x="972" y="384"/>
                  </a:lnTo>
                  <a:lnTo>
                    <a:pt x="972" y="390"/>
                  </a:lnTo>
                  <a:lnTo>
                    <a:pt x="966" y="402"/>
                  </a:lnTo>
                  <a:lnTo>
                    <a:pt x="960" y="414"/>
                  </a:lnTo>
                  <a:lnTo>
                    <a:pt x="954" y="420"/>
                  </a:lnTo>
                  <a:lnTo>
                    <a:pt x="948" y="426"/>
                  </a:lnTo>
                  <a:lnTo>
                    <a:pt x="948" y="438"/>
                  </a:lnTo>
                  <a:lnTo>
                    <a:pt x="942" y="444"/>
                  </a:lnTo>
                  <a:lnTo>
                    <a:pt x="936" y="450"/>
                  </a:lnTo>
                  <a:lnTo>
                    <a:pt x="930" y="456"/>
                  </a:lnTo>
                  <a:lnTo>
                    <a:pt x="924" y="462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18" y="522"/>
                  </a:lnTo>
                  <a:lnTo>
                    <a:pt x="918" y="528"/>
                  </a:lnTo>
                  <a:lnTo>
                    <a:pt x="924" y="534"/>
                  </a:lnTo>
                  <a:lnTo>
                    <a:pt x="924" y="540"/>
                  </a:lnTo>
                  <a:lnTo>
                    <a:pt x="924" y="546"/>
                  </a:lnTo>
                  <a:lnTo>
                    <a:pt x="918" y="546"/>
                  </a:lnTo>
                  <a:lnTo>
                    <a:pt x="918" y="552"/>
                  </a:lnTo>
                  <a:lnTo>
                    <a:pt x="912" y="546"/>
                  </a:lnTo>
                  <a:lnTo>
                    <a:pt x="912" y="552"/>
                  </a:lnTo>
                  <a:lnTo>
                    <a:pt x="912" y="570"/>
                  </a:lnTo>
                  <a:lnTo>
                    <a:pt x="906" y="588"/>
                  </a:lnTo>
                  <a:lnTo>
                    <a:pt x="900" y="606"/>
                  </a:lnTo>
                  <a:lnTo>
                    <a:pt x="906" y="624"/>
                  </a:lnTo>
                  <a:lnTo>
                    <a:pt x="900" y="624"/>
                  </a:lnTo>
                  <a:lnTo>
                    <a:pt x="894" y="630"/>
                  </a:lnTo>
                  <a:lnTo>
                    <a:pt x="888" y="630"/>
                  </a:lnTo>
                  <a:lnTo>
                    <a:pt x="882" y="630"/>
                  </a:lnTo>
                  <a:lnTo>
                    <a:pt x="882" y="636"/>
                  </a:lnTo>
                  <a:lnTo>
                    <a:pt x="876" y="642"/>
                  </a:lnTo>
                  <a:lnTo>
                    <a:pt x="870" y="642"/>
                  </a:lnTo>
                  <a:lnTo>
                    <a:pt x="870" y="648"/>
                  </a:lnTo>
                  <a:lnTo>
                    <a:pt x="870" y="654"/>
                  </a:lnTo>
                  <a:lnTo>
                    <a:pt x="864" y="654"/>
                  </a:lnTo>
                  <a:lnTo>
                    <a:pt x="864" y="660"/>
                  </a:lnTo>
                  <a:lnTo>
                    <a:pt x="846" y="666"/>
                  </a:lnTo>
                  <a:lnTo>
                    <a:pt x="828" y="672"/>
                  </a:lnTo>
                  <a:lnTo>
                    <a:pt x="816" y="660"/>
                  </a:lnTo>
                  <a:lnTo>
                    <a:pt x="810" y="660"/>
                  </a:lnTo>
                  <a:lnTo>
                    <a:pt x="798" y="666"/>
                  </a:lnTo>
                  <a:lnTo>
                    <a:pt x="786" y="666"/>
                  </a:lnTo>
                  <a:lnTo>
                    <a:pt x="780" y="672"/>
                  </a:lnTo>
                  <a:lnTo>
                    <a:pt x="768" y="678"/>
                  </a:lnTo>
                  <a:lnTo>
                    <a:pt x="762" y="660"/>
                  </a:lnTo>
                  <a:lnTo>
                    <a:pt x="762" y="654"/>
                  </a:lnTo>
                  <a:lnTo>
                    <a:pt x="756" y="636"/>
                  </a:lnTo>
                  <a:lnTo>
                    <a:pt x="762" y="624"/>
                  </a:lnTo>
                  <a:lnTo>
                    <a:pt x="756" y="606"/>
                  </a:lnTo>
                  <a:lnTo>
                    <a:pt x="756" y="600"/>
                  </a:lnTo>
                  <a:lnTo>
                    <a:pt x="762" y="594"/>
                  </a:lnTo>
                  <a:lnTo>
                    <a:pt x="768" y="600"/>
                  </a:lnTo>
                  <a:lnTo>
                    <a:pt x="768" y="594"/>
                  </a:lnTo>
                  <a:lnTo>
                    <a:pt x="768" y="588"/>
                  </a:lnTo>
                  <a:lnTo>
                    <a:pt x="774" y="582"/>
                  </a:lnTo>
                  <a:lnTo>
                    <a:pt x="768" y="576"/>
                  </a:lnTo>
                  <a:lnTo>
                    <a:pt x="762" y="576"/>
                  </a:lnTo>
                  <a:lnTo>
                    <a:pt x="756" y="576"/>
                  </a:lnTo>
                  <a:lnTo>
                    <a:pt x="690" y="576"/>
                  </a:lnTo>
                  <a:lnTo>
                    <a:pt x="624" y="570"/>
                  </a:lnTo>
                  <a:lnTo>
                    <a:pt x="600" y="564"/>
                  </a:lnTo>
                  <a:lnTo>
                    <a:pt x="576" y="564"/>
                  </a:lnTo>
                  <a:lnTo>
                    <a:pt x="558" y="570"/>
                  </a:lnTo>
                  <a:lnTo>
                    <a:pt x="552" y="576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46" y="594"/>
                  </a:lnTo>
                  <a:lnTo>
                    <a:pt x="546" y="600"/>
                  </a:lnTo>
                  <a:lnTo>
                    <a:pt x="540" y="606"/>
                  </a:lnTo>
                  <a:lnTo>
                    <a:pt x="534" y="618"/>
                  </a:lnTo>
                  <a:lnTo>
                    <a:pt x="534" y="624"/>
                  </a:lnTo>
                  <a:lnTo>
                    <a:pt x="534" y="630"/>
                  </a:lnTo>
                  <a:lnTo>
                    <a:pt x="534" y="636"/>
                  </a:lnTo>
                  <a:lnTo>
                    <a:pt x="528" y="636"/>
                  </a:lnTo>
                  <a:lnTo>
                    <a:pt x="516" y="642"/>
                  </a:lnTo>
                  <a:lnTo>
                    <a:pt x="516" y="648"/>
                  </a:lnTo>
                  <a:lnTo>
                    <a:pt x="510" y="648"/>
                  </a:lnTo>
                  <a:lnTo>
                    <a:pt x="504" y="654"/>
                  </a:lnTo>
                  <a:lnTo>
                    <a:pt x="492" y="666"/>
                  </a:lnTo>
                  <a:lnTo>
                    <a:pt x="492" y="672"/>
                  </a:lnTo>
                  <a:lnTo>
                    <a:pt x="492" y="684"/>
                  </a:lnTo>
                  <a:lnTo>
                    <a:pt x="486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92" y="702"/>
                  </a:lnTo>
                  <a:lnTo>
                    <a:pt x="486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74" y="720"/>
                  </a:lnTo>
                  <a:lnTo>
                    <a:pt x="480" y="726"/>
                  </a:lnTo>
                  <a:lnTo>
                    <a:pt x="474" y="726"/>
                  </a:lnTo>
                  <a:lnTo>
                    <a:pt x="474" y="738"/>
                  </a:lnTo>
                  <a:lnTo>
                    <a:pt x="474" y="744"/>
                  </a:lnTo>
                  <a:lnTo>
                    <a:pt x="474" y="750"/>
                  </a:lnTo>
                  <a:lnTo>
                    <a:pt x="480" y="750"/>
                  </a:lnTo>
                  <a:lnTo>
                    <a:pt x="480" y="756"/>
                  </a:lnTo>
                  <a:lnTo>
                    <a:pt x="492" y="762"/>
                  </a:lnTo>
                  <a:lnTo>
                    <a:pt x="498" y="774"/>
                  </a:lnTo>
                  <a:lnTo>
                    <a:pt x="498" y="780"/>
                  </a:lnTo>
                  <a:lnTo>
                    <a:pt x="504" y="786"/>
                  </a:lnTo>
                  <a:lnTo>
                    <a:pt x="510" y="792"/>
                  </a:lnTo>
                  <a:lnTo>
                    <a:pt x="504" y="798"/>
                  </a:lnTo>
                  <a:lnTo>
                    <a:pt x="504" y="804"/>
                  </a:lnTo>
                  <a:lnTo>
                    <a:pt x="504" y="810"/>
                  </a:lnTo>
                  <a:lnTo>
                    <a:pt x="498" y="822"/>
                  </a:lnTo>
                  <a:lnTo>
                    <a:pt x="492" y="828"/>
                  </a:lnTo>
                  <a:lnTo>
                    <a:pt x="492" y="834"/>
                  </a:lnTo>
                  <a:lnTo>
                    <a:pt x="486" y="840"/>
                  </a:lnTo>
                  <a:lnTo>
                    <a:pt x="480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74" y="858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876"/>
                  </a:lnTo>
                  <a:lnTo>
                    <a:pt x="456" y="894"/>
                  </a:lnTo>
                  <a:lnTo>
                    <a:pt x="450" y="894"/>
                  </a:lnTo>
                  <a:lnTo>
                    <a:pt x="444" y="900"/>
                  </a:lnTo>
                  <a:lnTo>
                    <a:pt x="444" y="894"/>
                  </a:lnTo>
                  <a:lnTo>
                    <a:pt x="438" y="894"/>
                  </a:lnTo>
                  <a:lnTo>
                    <a:pt x="432" y="900"/>
                  </a:lnTo>
                  <a:lnTo>
                    <a:pt x="432" y="906"/>
                  </a:lnTo>
                  <a:lnTo>
                    <a:pt x="420" y="906"/>
                  </a:lnTo>
                  <a:lnTo>
                    <a:pt x="420" y="912"/>
                  </a:lnTo>
                  <a:lnTo>
                    <a:pt x="420" y="918"/>
                  </a:lnTo>
                  <a:lnTo>
                    <a:pt x="426" y="918"/>
                  </a:lnTo>
                  <a:lnTo>
                    <a:pt x="426" y="924"/>
                  </a:lnTo>
                  <a:lnTo>
                    <a:pt x="426" y="930"/>
                  </a:lnTo>
                  <a:lnTo>
                    <a:pt x="420" y="930"/>
                  </a:lnTo>
                  <a:lnTo>
                    <a:pt x="414" y="936"/>
                  </a:lnTo>
                  <a:lnTo>
                    <a:pt x="414" y="942"/>
                  </a:lnTo>
                  <a:lnTo>
                    <a:pt x="414" y="948"/>
                  </a:lnTo>
                  <a:lnTo>
                    <a:pt x="414" y="954"/>
                  </a:lnTo>
                  <a:lnTo>
                    <a:pt x="426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44" y="972"/>
                  </a:lnTo>
                  <a:lnTo>
                    <a:pt x="444" y="978"/>
                  </a:lnTo>
                  <a:lnTo>
                    <a:pt x="450" y="978"/>
                  </a:lnTo>
                  <a:lnTo>
                    <a:pt x="450" y="984"/>
                  </a:lnTo>
                  <a:lnTo>
                    <a:pt x="456" y="990"/>
                  </a:lnTo>
                  <a:lnTo>
                    <a:pt x="456" y="996"/>
                  </a:lnTo>
                  <a:lnTo>
                    <a:pt x="462" y="1008"/>
                  </a:lnTo>
                  <a:lnTo>
                    <a:pt x="468" y="1008"/>
                  </a:lnTo>
                  <a:lnTo>
                    <a:pt x="468" y="1002"/>
                  </a:lnTo>
                  <a:lnTo>
                    <a:pt x="474" y="1008"/>
                  </a:lnTo>
                  <a:lnTo>
                    <a:pt x="480" y="1002"/>
                  </a:lnTo>
                  <a:lnTo>
                    <a:pt x="486" y="1008"/>
                  </a:lnTo>
                  <a:lnTo>
                    <a:pt x="486" y="1014"/>
                  </a:lnTo>
                  <a:lnTo>
                    <a:pt x="492" y="1014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86" y="1026"/>
                  </a:lnTo>
                  <a:lnTo>
                    <a:pt x="492" y="1026"/>
                  </a:lnTo>
                  <a:lnTo>
                    <a:pt x="486" y="1026"/>
                  </a:lnTo>
                  <a:lnTo>
                    <a:pt x="492" y="103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5" name="Freeform 30">
              <a:extLst>
                <a:ext uri="{FF2B5EF4-FFF2-40B4-BE49-F238E27FC236}">
                  <a16:creationId xmlns:a16="http://schemas.microsoft.com/office/drawing/2014/main" id="{85C7B827-0C1A-4D72-AEBD-F01CFE7EC12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3645" y="3904484"/>
              <a:ext cx="559048" cy="111825"/>
            </a:xfrm>
            <a:custGeom>
              <a:avLst/>
              <a:gdLst>
                <a:gd name="T0" fmla="*/ 69 w 1056"/>
                <a:gd name="T1" fmla="*/ 7 h 210"/>
                <a:gd name="T2" fmla="*/ 63 w 1056"/>
                <a:gd name="T3" fmla="*/ 5 h 210"/>
                <a:gd name="T4" fmla="*/ 57 w 1056"/>
                <a:gd name="T5" fmla="*/ 5 h 210"/>
                <a:gd name="T6" fmla="*/ 54 w 1056"/>
                <a:gd name="T7" fmla="*/ 6 h 210"/>
                <a:gd name="T8" fmla="*/ 51 w 1056"/>
                <a:gd name="T9" fmla="*/ 7 h 210"/>
                <a:gd name="T10" fmla="*/ 46 w 1056"/>
                <a:gd name="T11" fmla="*/ 9 h 210"/>
                <a:gd name="T12" fmla="*/ 42 w 1056"/>
                <a:gd name="T13" fmla="*/ 8 h 210"/>
                <a:gd name="T14" fmla="*/ 42 w 1056"/>
                <a:gd name="T15" fmla="*/ 5 h 210"/>
                <a:gd name="T16" fmla="*/ 41 w 1056"/>
                <a:gd name="T17" fmla="*/ 7 h 210"/>
                <a:gd name="T18" fmla="*/ 38 w 1056"/>
                <a:gd name="T19" fmla="*/ 10 h 210"/>
                <a:gd name="T20" fmla="*/ 37 w 1056"/>
                <a:gd name="T21" fmla="*/ 12 h 210"/>
                <a:gd name="T22" fmla="*/ 37 w 1056"/>
                <a:gd name="T23" fmla="*/ 15 h 210"/>
                <a:gd name="T24" fmla="*/ 37 w 1056"/>
                <a:gd name="T25" fmla="*/ 16 h 210"/>
                <a:gd name="T26" fmla="*/ 38 w 1056"/>
                <a:gd name="T27" fmla="*/ 16 h 210"/>
                <a:gd name="T28" fmla="*/ 34 w 1056"/>
                <a:gd name="T29" fmla="*/ 16 h 210"/>
                <a:gd name="T30" fmla="*/ 26 w 1056"/>
                <a:gd name="T31" fmla="*/ 16 h 210"/>
                <a:gd name="T32" fmla="*/ 20 w 1056"/>
                <a:gd name="T33" fmla="*/ 17 h 210"/>
                <a:gd name="T34" fmla="*/ 13 w 1056"/>
                <a:gd name="T35" fmla="*/ 17 h 210"/>
                <a:gd name="T36" fmla="*/ 6 w 1056"/>
                <a:gd name="T37" fmla="*/ 17 h 210"/>
                <a:gd name="T38" fmla="*/ 1 w 1056"/>
                <a:gd name="T39" fmla="*/ 18 h 210"/>
                <a:gd name="T40" fmla="*/ 3 w 1056"/>
                <a:gd name="T41" fmla="*/ 14 h 210"/>
                <a:gd name="T42" fmla="*/ 8 w 1056"/>
                <a:gd name="T43" fmla="*/ 15 h 210"/>
                <a:gd name="T44" fmla="*/ 11 w 1056"/>
                <a:gd name="T45" fmla="*/ 12 h 210"/>
                <a:gd name="T46" fmla="*/ 26 w 1056"/>
                <a:gd name="T47" fmla="*/ 10 h 210"/>
                <a:gd name="T48" fmla="*/ 29 w 1056"/>
                <a:gd name="T49" fmla="*/ 5 h 210"/>
                <a:gd name="T50" fmla="*/ 34 w 1056"/>
                <a:gd name="T51" fmla="*/ 1 h 210"/>
                <a:gd name="T52" fmla="*/ 41 w 1056"/>
                <a:gd name="T53" fmla="*/ 3 h 210"/>
                <a:gd name="T54" fmla="*/ 73 w 1056"/>
                <a:gd name="T55" fmla="*/ 1 h 210"/>
                <a:gd name="T56" fmla="*/ 75 w 1056"/>
                <a:gd name="T57" fmla="*/ 4 h 210"/>
                <a:gd name="T58" fmla="*/ 85 w 1056"/>
                <a:gd name="T59" fmla="*/ 15 h 210"/>
                <a:gd name="T60" fmla="*/ 91 w 1056"/>
                <a:gd name="T61" fmla="*/ 18 h 210"/>
                <a:gd name="T62" fmla="*/ 85 w 1056"/>
                <a:gd name="T63" fmla="*/ 18 h 210"/>
                <a:gd name="T64" fmla="*/ 79 w 1056"/>
                <a:gd name="T65" fmla="*/ 16 h 210"/>
                <a:gd name="T66" fmla="*/ 74 w 1056"/>
                <a:gd name="T67" fmla="*/ 16 h 210"/>
                <a:gd name="T68" fmla="*/ 69 w 1056"/>
                <a:gd name="T69" fmla="*/ 15 h 210"/>
                <a:gd name="T70" fmla="*/ 65 w 1056"/>
                <a:gd name="T71" fmla="*/ 14 h 210"/>
                <a:gd name="T72" fmla="*/ 59 w 1056"/>
                <a:gd name="T73" fmla="*/ 15 h 210"/>
                <a:gd name="T74" fmla="*/ 54 w 1056"/>
                <a:gd name="T75" fmla="*/ 15 h 210"/>
                <a:gd name="T76" fmla="*/ 49 w 1056"/>
                <a:gd name="T77" fmla="*/ 15 h 210"/>
                <a:gd name="T78" fmla="*/ 42 w 1056"/>
                <a:gd name="T79" fmla="*/ 15 h 210"/>
                <a:gd name="T80" fmla="*/ 38 w 1056"/>
                <a:gd name="T81" fmla="*/ 16 h 210"/>
                <a:gd name="T82" fmla="*/ 41 w 1056"/>
                <a:gd name="T83" fmla="*/ 14 h 210"/>
                <a:gd name="T84" fmla="*/ 42 w 1056"/>
                <a:gd name="T85" fmla="*/ 13 h 210"/>
                <a:gd name="T86" fmla="*/ 45 w 1056"/>
                <a:gd name="T87" fmla="*/ 13 h 210"/>
                <a:gd name="T88" fmla="*/ 48 w 1056"/>
                <a:gd name="T89" fmla="*/ 12 h 210"/>
                <a:gd name="T90" fmla="*/ 51 w 1056"/>
                <a:gd name="T91" fmla="*/ 11 h 210"/>
                <a:gd name="T92" fmla="*/ 54 w 1056"/>
                <a:gd name="T93" fmla="*/ 9 h 210"/>
                <a:gd name="T94" fmla="*/ 57 w 1056"/>
                <a:gd name="T95" fmla="*/ 8 h 210"/>
                <a:gd name="T96" fmla="*/ 60 w 1056"/>
                <a:gd name="T97" fmla="*/ 5 h 210"/>
                <a:gd name="T98" fmla="*/ 65 w 1056"/>
                <a:gd name="T99" fmla="*/ 5 h 210"/>
                <a:gd name="T100" fmla="*/ 72 w 1056"/>
                <a:gd name="T101" fmla="*/ 7 h 210"/>
                <a:gd name="T102" fmla="*/ 77 w 1056"/>
                <a:gd name="T103" fmla="*/ 11 h 210"/>
                <a:gd name="T104" fmla="*/ 69 w 1056"/>
                <a:gd name="T105" fmla="*/ 10 h 210"/>
                <a:gd name="T106" fmla="*/ 72 w 1056"/>
                <a:gd name="T107" fmla="*/ 12 h 210"/>
                <a:gd name="T108" fmla="*/ 78 w 1056"/>
                <a:gd name="T109" fmla="*/ 15 h 210"/>
                <a:gd name="T110" fmla="*/ 84 w 1056"/>
                <a:gd name="T111" fmla="*/ 14 h 210"/>
                <a:gd name="T112" fmla="*/ 84 w 1056"/>
                <a:gd name="T113" fmla="*/ 14 h 210"/>
                <a:gd name="T114" fmla="*/ 78 w 1056"/>
                <a:gd name="T115" fmla="*/ 13 h 210"/>
                <a:gd name="T116" fmla="*/ 76 w 1056"/>
                <a:gd name="T117" fmla="*/ 14 h 210"/>
                <a:gd name="T118" fmla="*/ 38 w 1056"/>
                <a:gd name="T119" fmla="*/ 12 h 210"/>
                <a:gd name="T120" fmla="*/ 41 w 1056"/>
                <a:gd name="T121" fmla="*/ 12 h 210"/>
                <a:gd name="T122" fmla="*/ 40 w 1056"/>
                <a:gd name="T123" fmla="*/ 14 h 2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6"/>
                <a:gd name="T187" fmla="*/ 0 h 210"/>
                <a:gd name="T188" fmla="*/ 1056 w 1056"/>
                <a:gd name="T189" fmla="*/ 210 h 21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6" h="210">
                  <a:moveTo>
                    <a:pt x="870" y="90"/>
                  </a:moveTo>
                  <a:lnTo>
                    <a:pt x="864" y="90"/>
                  </a:lnTo>
                  <a:lnTo>
                    <a:pt x="852" y="84"/>
                  </a:lnTo>
                  <a:lnTo>
                    <a:pt x="846" y="84"/>
                  </a:lnTo>
                  <a:lnTo>
                    <a:pt x="846" y="78"/>
                  </a:lnTo>
                  <a:lnTo>
                    <a:pt x="840" y="78"/>
                  </a:lnTo>
                  <a:lnTo>
                    <a:pt x="834" y="78"/>
                  </a:lnTo>
                  <a:lnTo>
                    <a:pt x="834" y="72"/>
                  </a:lnTo>
                  <a:lnTo>
                    <a:pt x="804" y="78"/>
                  </a:lnTo>
                  <a:lnTo>
                    <a:pt x="798" y="78"/>
                  </a:lnTo>
                  <a:lnTo>
                    <a:pt x="792" y="72"/>
                  </a:lnTo>
                  <a:lnTo>
                    <a:pt x="780" y="60"/>
                  </a:lnTo>
                  <a:lnTo>
                    <a:pt x="768" y="54"/>
                  </a:lnTo>
                  <a:lnTo>
                    <a:pt x="756" y="54"/>
                  </a:lnTo>
                  <a:lnTo>
                    <a:pt x="750" y="54"/>
                  </a:lnTo>
                  <a:lnTo>
                    <a:pt x="750" y="48"/>
                  </a:lnTo>
                  <a:lnTo>
                    <a:pt x="744" y="48"/>
                  </a:lnTo>
                  <a:lnTo>
                    <a:pt x="738" y="48"/>
                  </a:lnTo>
                  <a:lnTo>
                    <a:pt x="732" y="48"/>
                  </a:lnTo>
                  <a:lnTo>
                    <a:pt x="732" y="54"/>
                  </a:lnTo>
                  <a:lnTo>
                    <a:pt x="726" y="48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48"/>
                  </a:lnTo>
                  <a:lnTo>
                    <a:pt x="702" y="48"/>
                  </a:lnTo>
                  <a:lnTo>
                    <a:pt x="696" y="48"/>
                  </a:lnTo>
                  <a:lnTo>
                    <a:pt x="684" y="48"/>
                  </a:lnTo>
                  <a:lnTo>
                    <a:pt x="678" y="48"/>
                  </a:lnTo>
                  <a:lnTo>
                    <a:pt x="672" y="48"/>
                  </a:lnTo>
                  <a:lnTo>
                    <a:pt x="666" y="54"/>
                  </a:lnTo>
                  <a:lnTo>
                    <a:pt x="660" y="54"/>
                  </a:lnTo>
                  <a:lnTo>
                    <a:pt x="660" y="48"/>
                  </a:lnTo>
                  <a:lnTo>
                    <a:pt x="654" y="48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42" y="54"/>
                  </a:lnTo>
                  <a:lnTo>
                    <a:pt x="63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30" y="66"/>
                  </a:lnTo>
                  <a:lnTo>
                    <a:pt x="624" y="66"/>
                  </a:lnTo>
                  <a:lnTo>
                    <a:pt x="618" y="66"/>
                  </a:lnTo>
                  <a:lnTo>
                    <a:pt x="618" y="72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6" y="84"/>
                  </a:lnTo>
                  <a:lnTo>
                    <a:pt x="600" y="84"/>
                  </a:lnTo>
                  <a:lnTo>
                    <a:pt x="594" y="90"/>
                  </a:lnTo>
                  <a:lnTo>
                    <a:pt x="588" y="90"/>
                  </a:lnTo>
                  <a:lnTo>
                    <a:pt x="588" y="84"/>
                  </a:lnTo>
                  <a:lnTo>
                    <a:pt x="582" y="84"/>
                  </a:lnTo>
                  <a:lnTo>
                    <a:pt x="576" y="84"/>
                  </a:lnTo>
                  <a:lnTo>
                    <a:pt x="570" y="84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58" y="96"/>
                  </a:lnTo>
                  <a:lnTo>
                    <a:pt x="552" y="96"/>
                  </a:lnTo>
                  <a:lnTo>
                    <a:pt x="546" y="102"/>
                  </a:lnTo>
                  <a:lnTo>
                    <a:pt x="540" y="102"/>
                  </a:lnTo>
                  <a:lnTo>
                    <a:pt x="534" y="102"/>
                  </a:lnTo>
                  <a:lnTo>
                    <a:pt x="528" y="102"/>
                  </a:lnTo>
                  <a:lnTo>
                    <a:pt x="528" y="108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16" y="102"/>
                  </a:lnTo>
                  <a:lnTo>
                    <a:pt x="510" y="102"/>
                  </a:lnTo>
                  <a:lnTo>
                    <a:pt x="504" y="102"/>
                  </a:lnTo>
                  <a:lnTo>
                    <a:pt x="498" y="102"/>
                  </a:lnTo>
                  <a:lnTo>
                    <a:pt x="498" y="96"/>
                  </a:lnTo>
                  <a:lnTo>
                    <a:pt x="492" y="96"/>
                  </a:lnTo>
                  <a:lnTo>
                    <a:pt x="492" y="90"/>
                  </a:lnTo>
                  <a:lnTo>
                    <a:pt x="492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498" y="66"/>
                  </a:lnTo>
                  <a:lnTo>
                    <a:pt x="504" y="60"/>
                  </a:lnTo>
                  <a:lnTo>
                    <a:pt x="498" y="60"/>
                  </a:lnTo>
                  <a:lnTo>
                    <a:pt x="498" y="54"/>
                  </a:lnTo>
                  <a:lnTo>
                    <a:pt x="492" y="54"/>
                  </a:lnTo>
                  <a:lnTo>
                    <a:pt x="492" y="60"/>
                  </a:lnTo>
                  <a:lnTo>
                    <a:pt x="486" y="60"/>
                  </a:lnTo>
                  <a:lnTo>
                    <a:pt x="486" y="66"/>
                  </a:lnTo>
                  <a:lnTo>
                    <a:pt x="480" y="66"/>
                  </a:lnTo>
                  <a:lnTo>
                    <a:pt x="474" y="72"/>
                  </a:lnTo>
                  <a:lnTo>
                    <a:pt x="474" y="66"/>
                  </a:lnTo>
                  <a:lnTo>
                    <a:pt x="474" y="72"/>
                  </a:lnTo>
                  <a:lnTo>
                    <a:pt x="468" y="72"/>
                  </a:lnTo>
                  <a:lnTo>
                    <a:pt x="468" y="78"/>
                  </a:lnTo>
                  <a:lnTo>
                    <a:pt x="468" y="84"/>
                  </a:lnTo>
                  <a:lnTo>
                    <a:pt x="462" y="90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0" y="84"/>
                  </a:lnTo>
                  <a:lnTo>
                    <a:pt x="450" y="90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44" y="102"/>
                  </a:lnTo>
                  <a:lnTo>
                    <a:pt x="444" y="108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38" y="126"/>
                  </a:lnTo>
                  <a:lnTo>
                    <a:pt x="438" y="132"/>
                  </a:lnTo>
                  <a:lnTo>
                    <a:pt x="438" y="138"/>
                  </a:lnTo>
                  <a:lnTo>
                    <a:pt x="438" y="144"/>
                  </a:lnTo>
                  <a:lnTo>
                    <a:pt x="432" y="144"/>
                  </a:lnTo>
                  <a:lnTo>
                    <a:pt x="432" y="150"/>
                  </a:lnTo>
                  <a:lnTo>
                    <a:pt x="432" y="144"/>
                  </a:lnTo>
                  <a:lnTo>
                    <a:pt x="426" y="144"/>
                  </a:lnTo>
                  <a:lnTo>
                    <a:pt x="426" y="150"/>
                  </a:lnTo>
                  <a:lnTo>
                    <a:pt x="426" y="156"/>
                  </a:lnTo>
                  <a:lnTo>
                    <a:pt x="432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2"/>
                  </a:lnTo>
                  <a:lnTo>
                    <a:pt x="432" y="168"/>
                  </a:lnTo>
                  <a:lnTo>
                    <a:pt x="426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44" y="168"/>
                  </a:lnTo>
                  <a:lnTo>
                    <a:pt x="444" y="174"/>
                  </a:lnTo>
                  <a:lnTo>
                    <a:pt x="444" y="180"/>
                  </a:lnTo>
                  <a:lnTo>
                    <a:pt x="444" y="186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2" y="192"/>
                  </a:lnTo>
                  <a:lnTo>
                    <a:pt x="426" y="192"/>
                  </a:lnTo>
                  <a:lnTo>
                    <a:pt x="420" y="186"/>
                  </a:lnTo>
                  <a:lnTo>
                    <a:pt x="414" y="186"/>
                  </a:lnTo>
                  <a:lnTo>
                    <a:pt x="408" y="186"/>
                  </a:lnTo>
                  <a:lnTo>
                    <a:pt x="402" y="186"/>
                  </a:lnTo>
                  <a:lnTo>
                    <a:pt x="396" y="186"/>
                  </a:lnTo>
                  <a:lnTo>
                    <a:pt x="390" y="186"/>
                  </a:lnTo>
                  <a:lnTo>
                    <a:pt x="384" y="186"/>
                  </a:lnTo>
                  <a:lnTo>
                    <a:pt x="378" y="186"/>
                  </a:lnTo>
                  <a:lnTo>
                    <a:pt x="372" y="186"/>
                  </a:lnTo>
                  <a:lnTo>
                    <a:pt x="354" y="186"/>
                  </a:lnTo>
                  <a:lnTo>
                    <a:pt x="342" y="186"/>
                  </a:lnTo>
                  <a:lnTo>
                    <a:pt x="324" y="186"/>
                  </a:lnTo>
                  <a:lnTo>
                    <a:pt x="312" y="186"/>
                  </a:lnTo>
                  <a:lnTo>
                    <a:pt x="306" y="186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82" y="186"/>
                  </a:lnTo>
                  <a:lnTo>
                    <a:pt x="270" y="186"/>
                  </a:lnTo>
                  <a:lnTo>
                    <a:pt x="264" y="186"/>
                  </a:lnTo>
                  <a:lnTo>
                    <a:pt x="258" y="192"/>
                  </a:lnTo>
                  <a:lnTo>
                    <a:pt x="258" y="186"/>
                  </a:lnTo>
                  <a:lnTo>
                    <a:pt x="246" y="186"/>
                  </a:lnTo>
                  <a:lnTo>
                    <a:pt x="240" y="186"/>
                  </a:lnTo>
                  <a:lnTo>
                    <a:pt x="234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2"/>
                  </a:lnTo>
                  <a:lnTo>
                    <a:pt x="204" y="192"/>
                  </a:lnTo>
                  <a:lnTo>
                    <a:pt x="198" y="192"/>
                  </a:lnTo>
                  <a:lnTo>
                    <a:pt x="192" y="192"/>
                  </a:lnTo>
                  <a:lnTo>
                    <a:pt x="180" y="192"/>
                  </a:lnTo>
                  <a:lnTo>
                    <a:pt x="168" y="192"/>
                  </a:lnTo>
                  <a:lnTo>
                    <a:pt x="162" y="192"/>
                  </a:lnTo>
                  <a:lnTo>
                    <a:pt x="150" y="192"/>
                  </a:lnTo>
                  <a:lnTo>
                    <a:pt x="138" y="192"/>
                  </a:lnTo>
                  <a:lnTo>
                    <a:pt x="132" y="192"/>
                  </a:lnTo>
                  <a:lnTo>
                    <a:pt x="120" y="192"/>
                  </a:lnTo>
                  <a:lnTo>
                    <a:pt x="114" y="192"/>
                  </a:lnTo>
                  <a:lnTo>
                    <a:pt x="108" y="192"/>
                  </a:lnTo>
                  <a:lnTo>
                    <a:pt x="102" y="192"/>
                  </a:lnTo>
                  <a:lnTo>
                    <a:pt x="90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2" y="198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36" y="198"/>
                  </a:lnTo>
                  <a:lnTo>
                    <a:pt x="30" y="204"/>
                  </a:lnTo>
                  <a:lnTo>
                    <a:pt x="24" y="204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6" y="210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54" y="156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56"/>
                  </a:lnTo>
                  <a:lnTo>
                    <a:pt x="78" y="162"/>
                  </a:lnTo>
                  <a:lnTo>
                    <a:pt x="84" y="162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9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0" y="126"/>
                  </a:lnTo>
                  <a:lnTo>
                    <a:pt x="276" y="120"/>
                  </a:lnTo>
                  <a:lnTo>
                    <a:pt x="282" y="120"/>
                  </a:lnTo>
                  <a:lnTo>
                    <a:pt x="300" y="120"/>
                  </a:lnTo>
                  <a:lnTo>
                    <a:pt x="306" y="114"/>
                  </a:lnTo>
                  <a:lnTo>
                    <a:pt x="312" y="108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8"/>
                  </a:lnTo>
                  <a:lnTo>
                    <a:pt x="342" y="30"/>
                  </a:lnTo>
                  <a:lnTo>
                    <a:pt x="342" y="24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8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24"/>
                  </a:lnTo>
                  <a:lnTo>
                    <a:pt x="414" y="30"/>
                  </a:lnTo>
                  <a:lnTo>
                    <a:pt x="420" y="30"/>
                  </a:lnTo>
                  <a:lnTo>
                    <a:pt x="42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74" y="30"/>
                  </a:lnTo>
                  <a:lnTo>
                    <a:pt x="474" y="18"/>
                  </a:lnTo>
                  <a:lnTo>
                    <a:pt x="474" y="12"/>
                  </a:lnTo>
                  <a:lnTo>
                    <a:pt x="480" y="12"/>
                  </a:lnTo>
                  <a:lnTo>
                    <a:pt x="486" y="12"/>
                  </a:lnTo>
                  <a:lnTo>
                    <a:pt x="606" y="12"/>
                  </a:lnTo>
                  <a:lnTo>
                    <a:pt x="630" y="12"/>
                  </a:lnTo>
                  <a:lnTo>
                    <a:pt x="678" y="12"/>
                  </a:lnTo>
                  <a:lnTo>
                    <a:pt x="744" y="12"/>
                  </a:lnTo>
                  <a:lnTo>
                    <a:pt x="774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2" y="6"/>
                  </a:lnTo>
                  <a:lnTo>
                    <a:pt x="888" y="12"/>
                  </a:lnTo>
                  <a:lnTo>
                    <a:pt x="888" y="24"/>
                  </a:lnTo>
                  <a:lnTo>
                    <a:pt x="888" y="30"/>
                  </a:lnTo>
                  <a:lnTo>
                    <a:pt x="882" y="36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64" y="42"/>
                  </a:lnTo>
                  <a:lnTo>
                    <a:pt x="864" y="48"/>
                  </a:lnTo>
                  <a:lnTo>
                    <a:pt x="858" y="54"/>
                  </a:lnTo>
                  <a:lnTo>
                    <a:pt x="864" y="54"/>
                  </a:lnTo>
                  <a:lnTo>
                    <a:pt x="870" y="72"/>
                  </a:lnTo>
                  <a:lnTo>
                    <a:pt x="870" y="78"/>
                  </a:lnTo>
                  <a:lnTo>
                    <a:pt x="870" y="84"/>
                  </a:lnTo>
                  <a:lnTo>
                    <a:pt x="870" y="90"/>
                  </a:lnTo>
                  <a:close/>
                  <a:moveTo>
                    <a:pt x="972" y="156"/>
                  </a:moveTo>
                  <a:lnTo>
                    <a:pt x="972" y="162"/>
                  </a:lnTo>
                  <a:lnTo>
                    <a:pt x="978" y="162"/>
                  </a:lnTo>
                  <a:lnTo>
                    <a:pt x="984" y="168"/>
                  </a:lnTo>
                  <a:lnTo>
                    <a:pt x="990" y="168"/>
                  </a:lnTo>
                  <a:lnTo>
                    <a:pt x="990" y="162"/>
                  </a:lnTo>
                  <a:lnTo>
                    <a:pt x="1008" y="162"/>
                  </a:lnTo>
                  <a:lnTo>
                    <a:pt x="1020" y="162"/>
                  </a:lnTo>
                  <a:lnTo>
                    <a:pt x="1038" y="162"/>
                  </a:lnTo>
                  <a:lnTo>
                    <a:pt x="1056" y="168"/>
                  </a:lnTo>
                  <a:lnTo>
                    <a:pt x="1056" y="180"/>
                  </a:lnTo>
                  <a:lnTo>
                    <a:pt x="1056" y="186"/>
                  </a:lnTo>
                  <a:lnTo>
                    <a:pt x="1056" y="204"/>
                  </a:lnTo>
                  <a:lnTo>
                    <a:pt x="1050" y="204"/>
                  </a:lnTo>
                  <a:lnTo>
                    <a:pt x="1044" y="204"/>
                  </a:lnTo>
                  <a:lnTo>
                    <a:pt x="1038" y="204"/>
                  </a:lnTo>
                  <a:lnTo>
                    <a:pt x="1032" y="204"/>
                  </a:lnTo>
                  <a:lnTo>
                    <a:pt x="1026" y="204"/>
                  </a:lnTo>
                  <a:lnTo>
                    <a:pt x="1020" y="204"/>
                  </a:lnTo>
                  <a:lnTo>
                    <a:pt x="1014" y="204"/>
                  </a:lnTo>
                  <a:lnTo>
                    <a:pt x="1008" y="204"/>
                  </a:lnTo>
                  <a:lnTo>
                    <a:pt x="1002" y="204"/>
                  </a:lnTo>
                  <a:lnTo>
                    <a:pt x="996" y="204"/>
                  </a:lnTo>
                  <a:lnTo>
                    <a:pt x="984" y="204"/>
                  </a:lnTo>
                  <a:lnTo>
                    <a:pt x="984" y="198"/>
                  </a:lnTo>
                  <a:lnTo>
                    <a:pt x="978" y="198"/>
                  </a:lnTo>
                  <a:lnTo>
                    <a:pt x="966" y="198"/>
                  </a:lnTo>
                  <a:lnTo>
                    <a:pt x="948" y="192"/>
                  </a:lnTo>
                  <a:lnTo>
                    <a:pt x="942" y="192"/>
                  </a:lnTo>
                  <a:lnTo>
                    <a:pt x="936" y="192"/>
                  </a:lnTo>
                  <a:lnTo>
                    <a:pt x="924" y="192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12" y="186"/>
                  </a:lnTo>
                  <a:lnTo>
                    <a:pt x="906" y="186"/>
                  </a:lnTo>
                  <a:lnTo>
                    <a:pt x="900" y="186"/>
                  </a:lnTo>
                  <a:lnTo>
                    <a:pt x="894" y="186"/>
                  </a:lnTo>
                  <a:lnTo>
                    <a:pt x="888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76" y="180"/>
                  </a:lnTo>
                  <a:lnTo>
                    <a:pt x="870" y="180"/>
                  </a:lnTo>
                  <a:lnTo>
                    <a:pt x="864" y="180"/>
                  </a:lnTo>
                  <a:lnTo>
                    <a:pt x="858" y="180"/>
                  </a:lnTo>
                  <a:lnTo>
                    <a:pt x="852" y="180"/>
                  </a:lnTo>
                  <a:lnTo>
                    <a:pt x="852" y="174"/>
                  </a:lnTo>
                  <a:lnTo>
                    <a:pt x="846" y="174"/>
                  </a:lnTo>
                  <a:lnTo>
                    <a:pt x="840" y="174"/>
                  </a:lnTo>
                  <a:lnTo>
                    <a:pt x="834" y="174"/>
                  </a:lnTo>
                  <a:lnTo>
                    <a:pt x="828" y="174"/>
                  </a:lnTo>
                  <a:lnTo>
                    <a:pt x="822" y="174"/>
                  </a:lnTo>
                  <a:lnTo>
                    <a:pt x="816" y="174"/>
                  </a:lnTo>
                  <a:lnTo>
                    <a:pt x="810" y="168"/>
                  </a:lnTo>
                  <a:lnTo>
                    <a:pt x="804" y="168"/>
                  </a:lnTo>
                  <a:lnTo>
                    <a:pt x="798" y="168"/>
                  </a:lnTo>
                  <a:lnTo>
                    <a:pt x="792" y="168"/>
                  </a:lnTo>
                  <a:lnTo>
                    <a:pt x="786" y="168"/>
                  </a:lnTo>
                  <a:lnTo>
                    <a:pt x="780" y="168"/>
                  </a:lnTo>
                  <a:lnTo>
                    <a:pt x="774" y="168"/>
                  </a:lnTo>
                  <a:lnTo>
                    <a:pt x="768" y="168"/>
                  </a:lnTo>
                  <a:lnTo>
                    <a:pt x="762" y="168"/>
                  </a:lnTo>
                  <a:lnTo>
                    <a:pt x="756" y="168"/>
                  </a:lnTo>
                  <a:lnTo>
                    <a:pt x="750" y="168"/>
                  </a:lnTo>
                  <a:lnTo>
                    <a:pt x="750" y="162"/>
                  </a:lnTo>
                  <a:lnTo>
                    <a:pt x="744" y="168"/>
                  </a:lnTo>
                  <a:lnTo>
                    <a:pt x="738" y="162"/>
                  </a:lnTo>
                  <a:lnTo>
                    <a:pt x="732" y="162"/>
                  </a:lnTo>
                  <a:lnTo>
                    <a:pt x="726" y="162"/>
                  </a:lnTo>
                  <a:lnTo>
                    <a:pt x="714" y="162"/>
                  </a:lnTo>
                  <a:lnTo>
                    <a:pt x="702" y="162"/>
                  </a:lnTo>
                  <a:lnTo>
                    <a:pt x="696" y="168"/>
                  </a:lnTo>
                  <a:lnTo>
                    <a:pt x="690" y="168"/>
                  </a:lnTo>
                  <a:lnTo>
                    <a:pt x="684" y="168"/>
                  </a:lnTo>
                  <a:lnTo>
                    <a:pt x="678" y="168"/>
                  </a:lnTo>
                  <a:lnTo>
                    <a:pt x="672" y="168"/>
                  </a:lnTo>
                  <a:lnTo>
                    <a:pt x="666" y="168"/>
                  </a:lnTo>
                  <a:lnTo>
                    <a:pt x="660" y="168"/>
                  </a:lnTo>
                  <a:lnTo>
                    <a:pt x="654" y="168"/>
                  </a:lnTo>
                  <a:lnTo>
                    <a:pt x="648" y="174"/>
                  </a:lnTo>
                  <a:lnTo>
                    <a:pt x="648" y="168"/>
                  </a:lnTo>
                  <a:lnTo>
                    <a:pt x="642" y="174"/>
                  </a:lnTo>
                  <a:lnTo>
                    <a:pt x="636" y="174"/>
                  </a:lnTo>
                  <a:lnTo>
                    <a:pt x="630" y="174"/>
                  </a:lnTo>
                  <a:lnTo>
                    <a:pt x="624" y="174"/>
                  </a:lnTo>
                  <a:lnTo>
                    <a:pt x="618" y="174"/>
                  </a:lnTo>
                  <a:lnTo>
                    <a:pt x="612" y="174"/>
                  </a:lnTo>
                  <a:lnTo>
                    <a:pt x="606" y="174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74"/>
                  </a:lnTo>
                  <a:lnTo>
                    <a:pt x="582" y="174"/>
                  </a:lnTo>
                  <a:lnTo>
                    <a:pt x="576" y="174"/>
                  </a:lnTo>
                  <a:lnTo>
                    <a:pt x="570" y="174"/>
                  </a:lnTo>
                  <a:lnTo>
                    <a:pt x="564" y="174"/>
                  </a:lnTo>
                  <a:lnTo>
                    <a:pt x="558" y="174"/>
                  </a:lnTo>
                  <a:lnTo>
                    <a:pt x="552" y="174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0" y="174"/>
                  </a:lnTo>
                  <a:lnTo>
                    <a:pt x="504" y="174"/>
                  </a:lnTo>
                  <a:lnTo>
                    <a:pt x="498" y="174"/>
                  </a:lnTo>
                  <a:lnTo>
                    <a:pt x="492" y="174"/>
                  </a:lnTo>
                  <a:lnTo>
                    <a:pt x="486" y="174"/>
                  </a:lnTo>
                  <a:lnTo>
                    <a:pt x="480" y="174"/>
                  </a:lnTo>
                  <a:lnTo>
                    <a:pt x="474" y="174"/>
                  </a:lnTo>
                  <a:lnTo>
                    <a:pt x="468" y="174"/>
                  </a:lnTo>
                  <a:lnTo>
                    <a:pt x="462" y="174"/>
                  </a:lnTo>
                  <a:lnTo>
                    <a:pt x="456" y="174"/>
                  </a:lnTo>
                  <a:lnTo>
                    <a:pt x="450" y="180"/>
                  </a:lnTo>
                  <a:lnTo>
                    <a:pt x="450" y="186"/>
                  </a:lnTo>
                  <a:lnTo>
                    <a:pt x="450" y="192"/>
                  </a:lnTo>
                  <a:lnTo>
                    <a:pt x="444" y="192"/>
                  </a:lnTo>
                  <a:lnTo>
                    <a:pt x="444" y="186"/>
                  </a:lnTo>
                  <a:lnTo>
                    <a:pt x="444" y="180"/>
                  </a:lnTo>
                  <a:lnTo>
                    <a:pt x="450" y="180"/>
                  </a:lnTo>
                  <a:lnTo>
                    <a:pt x="450" y="174"/>
                  </a:lnTo>
                  <a:lnTo>
                    <a:pt x="450" y="168"/>
                  </a:lnTo>
                  <a:lnTo>
                    <a:pt x="450" y="162"/>
                  </a:lnTo>
                  <a:lnTo>
                    <a:pt x="456" y="162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62" y="162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74" y="168"/>
                  </a:lnTo>
                  <a:lnTo>
                    <a:pt x="480" y="168"/>
                  </a:lnTo>
                  <a:lnTo>
                    <a:pt x="480" y="162"/>
                  </a:lnTo>
                  <a:lnTo>
                    <a:pt x="480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56"/>
                  </a:lnTo>
                  <a:lnTo>
                    <a:pt x="492" y="156"/>
                  </a:lnTo>
                  <a:lnTo>
                    <a:pt x="486" y="150"/>
                  </a:lnTo>
                  <a:lnTo>
                    <a:pt x="492" y="150"/>
                  </a:lnTo>
                  <a:lnTo>
                    <a:pt x="498" y="150"/>
                  </a:lnTo>
                  <a:lnTo>
                    <a:pt x="498" y="156"/>
                  </a:lnTo>
                  <a:lnTo>
                    <a:pt x="504" y="156"/>
                  </a:lnTo>
                  <a:lnTo>
                    <a:pt x="504" y="162"/>
                  </a:lnTo>
                  <a:lnTo>
                    <a:pt x="504" y="156"/>
                  </a:lnTo>
                  <a:lnTo>
                    <a:pt x="510" y="156"/>
                  </a:lnTo>
                  <a:lnTo>
                    <a:pt x="510" y="150"/>
                  </a:lnTo>
                  <a:lnTo>
                    <a:pt x="516" y="150"/>
                  </a:lnTo>
                  <a:lnTo>
                    <a:pt x="522" y="150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28" y="150"/>
                  </a:lnTo>
                  <a:lnTo>
                    <a:pt x="528" y="144"/>
                  </a:lnTo>
                  <a:lnTo>
                    <a:pt x="540" y="144"/>
                  </a:lnTo>
                  <a:lnTo>
                    <a:pt x="546" y="144"/>
                  </a:lnTo>
                  <a:lnTo>
                    <a:pt x="552" y="138"/>
                  </a:lnTo>
                  <a:lnTo>
                    <a:pt x="552" y="132"/>
                  </a:lnTo>
                  <a:lnTo>
                    <a:pt x="558" y="132"/>
                  </a:lnTo>
                  <a:lnTo>
                    <a:pt x="558" y="126"/>
                  </a:lnTo>
                  <a:lnTo>
                    <a:pt x="558" y="120"/>
                  </a:lnTo>
                  <a:lnTo>
                    <a:pt x="558" y="114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6" y="114"/>
                  </a:lnTo>
                  <a:lnTo>
                    <a:pt x="582" y="120"/>
                  </a:lnTo>
                  <a:lnTo>
                    <a:pt x="588" y="120"/>
                  </a:lnTo>
                  <a:lnTo>
                    <a:pt x="588" y="126"/>
                  </a:lnTo>
                  <a:lnTo>
                    <a:pt x="588" y="120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600" y="114"/>
                  </a:lnTo>
                  <a:lnTo>
                    <a:pt x="606" y="114"/>
                  </a:lnTo>
                  <a:lnTo>
                    <a:pt x="618" y="114"/>
                  </a:lnTo>
                  <a:lnTo>
                    <a:pt x="618" y="108"/>
                  </a:lnTo>
                  <a:lnTo>
                    <a:pt x="624" y="108"/>
                  </a:lnTo>
                  <a:lnTo>
                    <a:pt x="624" y="102"/>
                  </a:lnTo>
                  <a:lnTo>
                    <a:pt x="630" y="102"/>
                  </a:lnTo>
                  <a:lnTo>
                    <a:pt x="636" y="102"/>
                  </a:lnTo>
                  <a:lnTo>
                    <a:pt x="636" y="108"/>
                  </a:lnTo>
                  <a:lnTo>
                    <a:pt x="642" y="108"/>
                  </a:lnTo>
                  <a:lnTo>
                    <a:pt x="648" y="108"/>
                  </a:lnTo>
                  <a:lnTo>
                    <a:pt x="648" y="102"/>
                  </a:lnTo>
                  <a:lnTo>
                    <a:pt x="654" y="102"/>
                  </a:lnTo>
                  <a:lnTo>
                    <a:pt x="660" y="102"/>
                  </a:lnTo>
                  <a:lnTo>
                    <a:pt x="660" y="96"/>
                  </a:lnTo>
                  <a:lnTo>
                    <a:pt x="660" y="90"/>
                  </a:lnTo>
                  <a:lnTo>
                    <a:pt x="666" y="90"/>
                  </a:lnTo>
                  <a:lnTo>
                    <a:pt x="666" y="84"/>
                  </a:lnTo>
                  <a:lnTo>
                    <a:pt x="672" y="78"/>
                  </a:lnTo>
                  <a:lnTo>
                    <a:pt x="672" y="72"/>
                  </a:lnTo>
                  <a:lnTo>
                    <a:pt x="678" y="66"/>
                  </a:lnTo>
                  <a:lnTo>
                    <a:pt x="684" y="66"/>
                  </a:lnTo>
                  <a:lnTo>
                    <a:pt x="684" y="60"/>
                  </a:lnTo>
                  <a:lnTo>
                    <a:pt x="690" y="60"/>
                  </a:lnTo>
                  <a:lnTo>
                    <a:pt x="696" y="60"/>
                  </a:lnTo>
                  <a:lnTo>
                    <a:pt x="702" y="60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66"/>
                  </a:lnTo>
                  <a:lnTo>
                    <a:pt x="720" y="66"/>
                  </a:lnTo>
                  <a:lnTo>
                    <a:pt x="720" y="60"/>
                  </a:lnTo>
                  <a:lnTo>
                    <a:pt x="726" y="60"/>
                  </a:lnTo>
                  <a:lnTo>
                    <a:pt x="732" y="60"/>
                  </a:lnTo>
                  <a:lnTo>
                    <a:pt x="744" y="60"/>
                  </a:lnTo>
                  <a:lnTo>
                    <a:pt x="750" y="54"/>
                  </a:lnTo>
                  <a:lnTo>
                    <a:pt x="762" y="60"/>
                  </a:lnTo>
                  <a:lnTo>
                    <a:pt x="774" y="60"/>
                  </a:lnTo>
                  <a:lnTo>
                    <a:pt x="774" y="66"/>
                  </a:lnTo>
                  <a:lnTo>
                    <a:pt x="780" y="72"/>
                  </a:lnTo>
                  <a:lnTo>
                    <a:pt x="786" y="78"/>
                  </a:lnTo>
                  <a:lnTo>
                    <a:pt x="792" y="78"/>
                  </a:lnTo>
                  <a:lnTo>
                    <a:pt x="810" y="84"/>
                  </a:lnTo>
                  <a:lnTo>
                    <a:pt x="822" y="84"/>
                  </a:lnTo>
                  <a:lnTo>
                    <a:pt x="828" y="84"/>
                  </a:lnTo>
                  <a:lnTo>
                    <a:pt x="834" y="84"/>
                  </a:lnTo>
                  <a:lnTo>
                    <a:pt x="840" y="96"/>
                  </a:lnTo>
                  <a:lnTo>
                    <a:pt x="846" y="102"/>
                  </a:lnTo>
                  <a:lnTo>
                    <a:pt x="858" y="102"/>
                  </a:lnTo>
                  <a:lnTo>
                    <a:pt x="864" y="102"/>
                  </a:lnTo>
                  <a:lnTo>
                    <a:pt x="876" y="96"/>
                  </a:lnTo>
                  <a:lnTo>
                    <a:pt x="882" y="102"/>
                  </a:lnTo>
                  <a:lnTo>
                    <a:pt x="888" y="108"/>
                  </a:lnTo>
                  <a:lnTo>
                    <a:pt x="888" y="114"/>
                  </a:lnTo>
                  <a:lnTo>
                    <a:pt x="888" y="120"/>
                  </a:lnTo>
                  <a:lnTo>
                    <a:pt x="888" y="126"/>
                  </a:lnTo>
                  <a:lnTo>
                    <a:pt x="888" y="132"/>
                  </a:lnTo>
                  <a:lnTo>
                    <a:pt x="882" y="132"/>
                  </a:lnTo>
                  <a:lnTo>
                    <a:pt x="864" y="126"/>
                  </a:lnTo>
                  <a:lnTo>
                    <a:pt x="852" y="120"/>
                  </a:lnTo>
                  <a:lnTo>
                    <a:pt x="840" y="126"/>
                  </a:lnTo>
                  <a:lnTo>
                    <a:pt x="834" y="120"/>
                  </a:lnTo>
                  <a:lnTo>
                    <a:pt x="828" y="120"/>
                  </a:lnTo>
                  <a:lnTo>
                    <a:pt x="822" y="120"/>
                  </a:lnTo>
                  <a:lnTo>
                    <a:pt x="810" y="114"/>
                  </a:lnTo>
                  <a:lnTo>
                    <a:pt x="804" y="114"/>
                  </a:lnTo>
                  <a:lnTo>
                    <a:pt x="798" y="114"/>
                  </a:lnTo>
                  <a:lnTo>
                    <a:pt x="792" y="114"/>
                  </a:lnTo>
                  <a:lnTo>
                    <a:pt x="786" y="114"/>
                  </a:lnTo>
                  <a:lnTo>
                    <a:pt x="780" y="114"/>
                  </a:lnTo>
                  <a:lnTo>
                    <a:pt x="780" y="126"/>
                  </a:lnTo>
                  <a:lnTo>
                    <a:pt x="786" y="126"/>
                  </a:lnTo>
                  <a:lnTo>
                    <a:pt x="798" y="126"/>
                  </a:lnTo>
                  <a:lnTo>
                    <a:pt x="804" y="126"/>
                  </a:lnTo>
                  <a:lnTo>
                    <a:pt x="822" y="132"/>
                  </a:lnTo>
                  <a:lnTo>
                    <a:pt x="828" y="132"/>
                  </a:lnTo>
                  <a:lnTo>
                    <a:pt x="834" y="132"/>
                  </a:lnTo>
                  <a:lnTo>
                    <a:pt x="840" y="144"/>
                  </a:lnTo>
                  <a:lnTo>
                    <a:pt x="846" y="150"/>
                  </a:lnTo>
                  <a:lnTo>
                    <a:pt x="858" y="150"/>
                  </a:lnTo>
                  <a:lnTo>
                    <a:pt x="864" y="162"/>
                  </a:lnTo>
                  <a:lnTo>
                    <a:pt x="870" y="162"/>
                  </a:lnTo>
                  <a:lnTo>
                    <a:pt x="876" y="168"/>
                  </a:lnTo>
                  <a:lnTo>
                    <a:pt x="888" y="168"/>
                  </a:lnTo>
                  <a:lnTo>
                    <a:pt x="894" y="174"/>
                  </a:lnTo>
                  <a:lnTo>
                    <a:pt x="900" y="174"/>
                  </a:lnTo>
                  <a:lnTo>
                    <a:pt x="918" y="174"/>
                  </a:lnTo>
                  <a:lnTo>
                    <a:pt x="924" y="174"/>
                  </a:lnTo>
                  <a:lnTo>
                    <a:pt x="930" y="174"/>
                  </a:lnTo>
                  <a:lnTo>
                    <a:pt x="942" y="174"/>
                  </a:lnTo>
                  <a:lnTo>
                    <a:pt x="954" y="174"/>
                  </a:lnTo>
                  <a:lnTo>
                    <a:pt x="960" y="174"/>
                  </a:lnTo>
                  <a:lnTo>
                    <a:pt x="966" y="174"/>
                  </a:lnTo>
                  <a:lnTo>
                    <a:pt x="966" y="168"/>
                  </a:lnTo>
                  <a:lnTo>
                    <a:pt x="972" y="162"/>
                  </a:lnTo>
                  <a:lnTo>
                    <a:pt x="972" y="156"/>
                  </a:lnTo>
                  <a:close/>
                  <a:moveTo>
                    <a:pt x="942" y="174"/>
                  </a:moveTo>
                  <a:lnTo>
                    <a:pt x="936" y="174"/>
                  </a:lnTo>
                  <a:lnTo>
                    <a:pt x="936" y="168"/>
                  </a:lnTo>
                  <a:lnTo>
                    <a:pt x="936" y="162"/>
                  </a:lnTo>
                  <a:lnTo>
                    <a:pt x="948" y="162"/>
                  </a:lnTo>
                  <a:lnTo>
                    <a:pt x="948" y="156"/>
                  </a:lnTo>
                  <a:lnTo>
                    <a:pt x="954" y="156"/>
                  </a:lnTo>
                  <a:lnTo>
                    <a:pt x="960" y="156"/>
                  </a:lnTo>
                  <a:lnTo>
                    <a:pt x="966" y="156"/>
                  </a:lnTo>
                  <a:lnTo>
                    <a:pt x="966" y="162"/>
                  </a:lnTo>
                  <a:lnTo>
                    <a:pt x="960" y="168"/>
                  </a:lnTo>
                  <a:lnTo>
                    <a:pt x="942" y="174"/>
                  </a:lnTo>
                  <a:close/>
                  <a:moveTo>
                    <a:pt x="900" y="168"/>
                  </a:moveTo>
                  <a:lnTo>
                    <a:pt x="894" y="168"/>
                  </a:lnTo>
                  <a:lnTo>
                    <a:pt x="882" y="156"/>
                  </a:lnTo>
                  <a:lnTo>
                    <a:pt x="882" y="150"/>
                  </a:lnTo>
                  <a:lnTo>
                    <a:pt x="888" y="156"/>
                  </a:lnTo>
                  <a:lnTo>
                    <a:pt x="894" y="150"/>
                  </a:lnTo>
                  <a:lnTo>
                    <a:pt x="900" y="150"/>
                  </a:lnTo>
                  <a:lnTo>
                    <a:pt x="906" y="150"/>
                  </a:lnTo>
                  <a:lnTo>
                    <a:pt x="912" y="150"/>
                  </a:lnTo>
                  <a:lnTo>
                    <a:pt x="924" y="150"/>
                  </a:lnTo>
                  <a:lnTo>
                    <a:pt x="924" y="156"/>
                  </a:lnTo>
                  <a:lnTo>
                    <a:pt x="924" y="162"/>
                  </a:lnTo>
                  <a:lnTo>
                    <a:pt x="924" y="168"/>
                  </a:lnTo>
                  <a:lnTo>
                    <a:pt x="918" y="168"/>
                  </a:lnTo>
                  <a:lnTo>
                    <a:pt x="906" y="168"/>
                  </a:lnTo>
                  <a:lnTo>
                    <a:pt x="900" y="168"/>
                  </a:lnTo>
                  <a:close/>
                  <a:moveTo>
                    <a:pt x="870" y="162"/>
                  </a:moveTo>
                  <a:lnTo>
                    <a:pt x="876" y="162"/>
                  </a:lnTo>
                  <a:lnTo>
                    <a:pt x="876" y="168"/>
                  </a:lnTo>
                  <a:lnTo>
                    <a:pt x="870" y="168"/>
                  </a:lnTo>
                  <a:lnTo>
                    <a:pt x="870" y="162"/>
                  </a:lnTo>
                  <a:close/>
                  <a:moveTo>
                    <a:pt x="450" y="162"/>
                  </a:moveTo>
                  <a:lnTo>
                    <a:pt x="444" y="162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2" y="150"/>
                  </a:lnTo>
                  <a:lnTo>
                    <a:pt x="438" y="150"/>
                  </a:lnTo>
                  <a:lnTo>
                    <a:pt x="438" y="144"/>
                  </a:lnTo>
                  <a:lnTo>
                    <a:pt x="438" y="150"/>
                  </a:lnTo>
                  <a:lnTo>
                    <a:pt x="444" y="150"/>
                  </a:lnTo>
                  <a:lnTo>
                    <a:pt x="450" y="150"/>
                  </a:lnTo>
                  <a:lnTo>
                    <a:pt x="450" y="156"/>
                  </a:lnTo>
                  <a:lnTo>
                    <a:pt x="456" y="156"/>
                  </a:lnTo>
                  <a:lnTo>
                    <a:pt x="456" y="150"/>
                  </a:lnTo>
                  <a:lnTo>
                    <a:pt x="456" y="156"/>
                  </a:lnTo>
                  <a:lnTo>
                    <a:pt x="462" y="150"/>
                  </a:lnTo>
                  <a:lnTo>
                    <a:pt x="462" y="144"/>
                  </a:lnTo>
                  <a:lnTo>
                    <a:pt x="468" y="144"/>
                  </a:lnTo>
                  <a:lnTo>
                    <a:pt x="468" y="150"/>
                  </a:lnTo>
                  <a:lnTo>
                    <a:pt x="474" y="150"/>
                  </a:lnTo>
                  <a:lnTo>
                    <a:pt x="480" y="150"/>
                  </a:lnTo>
                  <a:lnTo>
                    <a:pt x="480" y="156"/>
                  </a:lnTo>
                  <a:lnTo>
                    <a:pt x="480" y="162"/>
                  </a:lnTo>
                  <a:lnTo>
                    <a:pt x="474" y="162"/>
                  </a:lnTo>
                  <a:lnTo>
                    <a:pt x="474" y="168"/>
                  </a:lnTo>
                  <a:lnTo>
                    <a:pt x="474" y="162"/>
                  </a:lnTo>
                  <a:lnTo>
                    <a:pt x="468" y="162"/>
                  </a:lnTo>
                  <a:lnTo>
                    <a:pt x="462" y="162"/>
                  </a:lnTo>
                  <a:lnTo>
                    <a:pt x="456" y="162"/>
                  </a:lnTo>
                  <a:lnTo>
                    <a:pt x="450" y="16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6" name="Freeform 31">
              <a:extLst>
                <a:ext uri="{FF2B5EF4-FFF2-40B4-BE49-F238E27FC236}">
                  <a16:creationId xmlns:a16="http://schemas.microsoft.com/office/drawing/2014/main" id="{0989F057-38E8-4AA5-8B73-27F6355E235C}"/>
                </a:ext>
              </a:extLst>
            </p:cNvPr>
            <p:cNvSpPr>
              <a:spLocks/>
            </p:cNvSpPr>
            <p:nvPr/>
          </p:nvSpPr>
          <p:spPr bwMode="gray">
            <a:xfrm>
              <a:off x="792590" y="2728084"/>
              <a:ext cx="1182944" cy="740282"/>
            </a:xfrm>
            <a:custGeom>
              <a:avLst/>
              <a:gdLst>
                <a:gd name="T0" fmla="*/ 138 w 2226"/>
                <a:gd name="T1" fmla="*/ 121 h 1392"/>
                <a:gd name="T2" fmla="*/ 133 w 2226"/>
                <a:gd name="T3" fmla="*/ 119 h 1392"/>
                <a:gd name="T4" fmla="*/ 128 w 2226"/>
                <a:gd name="T5" fmla="*/ 117 h 1392"/>
                <a:gd name="T6" fmla="*/ 119 w 2226"/>
                <a:gd name="T7" fmla="*/ 116 h 1392"/>
                <a:gd name="T8" fmla="*/ 101 w 2226"/>
                <a:gd name="T9" fmla="*/ 116 h 1392"/>
                <a:gd name="T10" fmla="*/ 94 w 2226"/>
                <a:gd name="T11" fmla="*/ 104 h 1392"/>
                <a:gd name="T12" fmla="*/ 82 w 2226"/>
                <a:gd name="T13" fmla="*/ 83 h 1392"/>
                <a:gd name="T14" fmla="*/ 87 w 2226"/>
                <a:gd name="T15" fmla="*/ 69 h 1392"/>
                <a:gd name="T16" fmla="*/ 82 w 2226"/>
                <a:gd name="T17" fmla="*/ 65 h 1392"/>
                <a:gd name="T18" fmla="*/ 59 w 2226"/>
                <a:gd name="T19" fmla="*/ 57 h 1392"/>
                <a:gd name="T20" fmla="*/ 29 w 2226"/>
                <a:gd name="T21" fmla="*/ 77 h 1392"/>
                <a:gd name="T22" fmla="*/ 20 w 2226"/>
                <a:gd name="T23" fmla="*/ 78 h 1392"/>
                <a:gd name="T24" fmla="*/ 15 w 2226"/>
                <a:gd name="T25" fmla="*/ 82 h 1392"/>
                <a:gd name="T26" fmla="*/ 8 w 2226"/>
                <a:gd name="T27" fmla="*/ 86 h 1392"/>
                <a:gd name="T28" fmla="*/ 1 w 2226"/>
                <a:gd name="T29" fmla="*/ 88 h 1392"/>
                <a:gd name="T30" fmla="*/ 0 w 2226"/>
                <a:gd name="T31" fmla="*/ 82 h 1392"/>
                <a:gd name="T32" fmla="*/ 0 w 2226"/>
                <a:gd name="T33" fmla="*/ 76 h 1392"/>
                <a:gd name="T34" fmla="*/ 2 w 2226"/>
                <a:gd name="T35" fmla="*/ 70 h 1392"/>
                <a:gd name="T36" fmla="*/ 3 w 2226"/>
                <a:gd name="T37" fmla="*/ 65 h 1392"/>
                <a:gd name="T38" fmla="*/ 2 w 2226"/>
                <a:gd name="T39" fmla="*/ 63 h 1392"/>
                <a:gd name="T40" fmla="*/ 9 w 2226"/>
                <a:gd name="T41" fmla="*/ 60 h 1392"/>
                <a:gd name="T42" fmla="*/ 17 w 2226"/>
                <a:gd name="T43" fmla="*/ 59 h 1392"/>
                <a:gd name="T44" fmla="*/ 22 w 2226"/>
                <a:gd name="T45" fmla="*/ 51 h 1392"/>
                <a:gd name="T46" fmla="*/ 23 w 2226"/>
                <a:gd name="T47" fmla="*/ 43 h 1392"/>
                <a:gd name="T48" fmla="*/ 27 w 2226"/>
                <a:gd name="T49" fmla="*/ 34 h 1392"/>
                <a:gd name="T50" fmla="*/ 30 w 2226"/>
                <a:gd name="T51" fmla="*/ 27 h 1392"/>
                <a:gd name="T52" fmla="*/ 33 w 2226"/>
                <a:gd name="T53" fmla="*/ 22 h 1392"/>
                <a:gd name="T54" fmla="*/ 42 w 2226"/>
                <a:gd name="T55" fmla="*/ 17 h 1392"/>
                <a:gd name="T56" fmla="*/ 47 w 2226"/>
                <a:gd name="T57" fmla="*/ 14 h 1392"/>
                <a:gd name="T58" fmla="*/ 49 w 2226"/>
                <a:gd name="T59" fmla="*/ 5 h 1392"/>
                <a:gd name="T60" fmla="*/ 53 w 2226"/>
                <a:gd name="T61" fmla="*/ 0 h 1392"/>
                <a:gd name="T62" fmla="*/ 55 w 2226"/>
                <a:gd name="T63" fmla="*/ 4 h 1392"/>
                <a:gd name="T64" fmla="*/ 59 w 2226"/>
                <a:gd name="T65" fmla="*/ 7 h 1392"/>
                <a:gd name="T66" fmla="*/ 63 w 2226"/>
                <a:gd name="T67" fmla="*/ 7 h 1392"/>
                <a:gd name="T68" fmla="*/ 66 w 2226"/>
                <a:gd name="T69" fmla="*/ 9 h 1392"/>
                <a:gd name="T70" fmla="*/ 67 w 2226"/>
                <a:gd name="T71" fmla="*/ 12 h 1392"/>
                <a:gd name="T72" fmla="*/ 67 w 2226"/>
                <a:gd name="T73" fmla="*/ 13 h 1392"/>
                <a:gd name="T74" fmla="*/ 70 w 2226"/>
                <a:gd name="T75" fmla="*/ 15 h 1392"/>
                <a:gd name="T76" fmla="*/ 74 w 2226"/>
                <a:gd name="T77" fmla="*/ 17 h 1392"/>
                <a:gd name="T78" fmla="*/ 78 w 2226"/>
                <a:gd name="T79" fmla="*/ 18 h 1392"/>
                <a:gd name="T80" fmla="*/ 97 w 2226"/>
                <a:gd name="T81" fmla="*/ 40 h 1392"/>
                <a:gd name="T82" fmla="*/ 102 w 2226"/>
                <a:gd name="T83" fmla="*/ 44 h 1392"/>
                <a:gd name="T84" fmla="*/ 110 w 2226"/>
                <a:gd name="T85" fmla="*/ 49 h 1392"/>
                <a:gd name="T86" fmla="*/ 113 w 2226"/>
                <a:gd name="T87" fmla="*/ 53 h 1392"/>
                <a:gd name="T88" fmla="*/ 118 w 2226"/>
                <a:gd name="T89" fmla="*/ 57 h 1392"/>
                <a:gd name="T90" fmla="*/ 124 w 2226"/>
                <a:gd name="T91" fmla="*/ 54 h 1392"/>
                <a:gd name="T92" fmla="*/ 133 w 2226"/>
                <a:gd name="T93" fmla="*/ 58 h 1392"/>
                <a:gd name="T94" fmla="*/ 137 w 2226"/>
                <a:gd name="T95" fmla="*/ 64 h 1392"/>
                <a:gd name="T96" fmla="*/ 145 w 2226"/>
                <a:gd name="T97" fmla="*/ 65 h 1392"/>
                <a:gd name="T98" fmla="*/ 152 w 2226"/>
                <a:gd name="T99" fmla="*/ 67 h 1392"/>
                <a:gd name="T100" fmla="*/ 161 w 2226"/>
                <a:gd name="T101" fmla="*/ 72 h 1392"/>
                <a:gd name="T102" fmla="*/ 168 w 2226"/>
                <a:gd name="T103" fmla="*/ 76 h 1392"/>
                <a:gd name="T104" fmla="*/ 177 w 2226"/>
                <a:gd name="T105" fmla="*/ 78 h 1392"/>
                <a:gd name="T106" fmla="*/ 184 w 2226"/>
                <a:gd name="T107" fmla="*/ 78 h 1392"/>
                <a:gd name="T108" fmla="*/ 190 w 2226"/>
                <a:gd name="T109" fmla="*/ 81 h 1392"/>
                <a:gd name="T110" fmla="*/ 192 w 2226"/>
                <a:gd name="T111" fmla="*/ 86 h 1392"/>
                <a:gd name="T112" fmla="*/ 187 w 2226"/>
                <a:gd name="T113" fmla="*/ 99 h 1392"/>
                <a:gd name="T114" fmla="*/ 165 w 2226"/>
                <a:gd name="T115" fmla="*/ 97 h 1392"/>
                <a:gd name="T116" fmla="*/ 155 w 2226"/>
                <a:gd name="T117" fmla="*/ 92 h 1392"/>
                <a:gd name="T118" fmla="*/ 146 w 2226"/>
                <a:gd name="T119" fmla="*/ 102 h 1392"/>
                <a:gd name="T120" fmla="*/ 149 w 2226"/>
                <a:gd name="T121" fmla="*/ 106 h 1392"/>
                <a:gd name="T122" fmla="*/ 151 w 2226"/>
                <a:gd name="T123" fmla="*/ 108 h 1392"/>
                <a:gd name="T124" fmla="*/ 157 w 2226"/>
                <a:gd name="T125" fmla="*/ 113 h 13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1392"/>
                <a:gd name="T191" fmla="*/ 2226 w 2226"/>
                <a:gd name="T192" fmla="*/ 1392 h 13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1392">
                  <a:moveTo>
                    <a:pt x="1782" y="1326"/>
                  </a:moveTo>
                  <a:lnTo>
                    <a:pt x="1776" y="1332"/>
                  </a:lnTo>
                  <a:lnTo>
                    <a:pt x="1692" y="1338"/>
                  </a:lnTo>
                  <a:lnTo>
                    <a:pt x="1680" y="1386"/>
                  </a:lnTo>
                  <a:lnTo>
                    <a:pt x="1674" y="1392"/>
                  </a:lnTo>
                  <a:lnTo>
                    <a:pt x="1638" y="1392"/>
                  </a:lnTo>
                  <a:lnTo>
                    <a:pt x="1620" y="1392"/>
                  </a:lnTo>
                  <a:lnTo>
                    <a:pt x="1614" y="1392"/>
                  </a:lnTo>
                  <a:lnTo>
                    <a:pt x="1608" y="1386"/>
                  </a:lnTo>
                  <a:lnTo>
                    <a:pt x="1584" y="1386"/>
                  </a:lnTo>
                  <a:lnTo>
                    <a:pt x="1578" y="1386"/>
                  </a:lnTo>
                  <a:lnTo>
                    <a:pt x="1572" y="1380"/>
                  </a:lnTo>
                  <a:lnTo>
                    <a:pt x="1578" y="1356"/>
                  </a:lnTo>
                  <a:lnTo>
                    <a:pt x="1572" y="1356"/>
                  </a:lnTo>
                  <a:lnTo>
                    <a:pt x="1560" y="1350"/>
                  </a:lnTo>
                  <a:lnTo>
                    <a:pt x="1554" y="1350"/>
                  </a:lnTo>
                  <a:lnTo>
                    <a:pt x="1542" y="1350"/>
                  </a:lnTo>
                  <a:lnTo>
                    <a:pt x="1530" y="1350"/>
                  </a:lnTo>
                  <a:lnTo>
                    <a:pt x="1524" y="1356"/>
                  </a:lnTo>
                  <a:lnTo>
                    <a:pt x="1524" y="1362"/>
                  </a:lnTo>
                  <a:lnTo>
                    <a:pt x="1512" y="1374"/>
                  </a:lnTo>
                  <a:lnTo>
                    <a:pt x="1506" y="1374"/>
                  </a:lnTo>
                  <a:lnTo>
                    <a:pt x="1500" y="1368"/>
                  </a:lnTo>
                  <a:lnTo>
                    <a:pt x="1500" y="1362"/>
                  </a:lnTo>
                  <a:lnTo>
                    <a:pt x="1488" y="1362"/>
                  </a:lnTo>
                  <a:lnTo>
                    <a:pt x="1482" y="1356"/>
                  </a:lnTo>
                  <a:lnTo>
                    <a:pt x="1482" y="1350"/>
                  </a:lnTo>
                  <a:lnTo>
                    <a:pt x="1476" y="1350"/>
                  </a:lnTo>
                  <a:lnTo>
                    <a:pt x="1470" y="1344"/>
                  </a:lnTo>
                  <a:lnTo>
                    <a:pt x="1464" y="1344"/>
                  </a:lnTo>
                  <a:lnTo>
                    <a:pt x="1452" y="1350"/>
                  </a:lnTo>
                  <a:lnTo>
                    <a:pt x="1452" y="1356"/>
                  </a:lnTo>
                  <a:lnTo>
                    <a:pt x="1440" y="1356"/>
                  </a:lnTo>
                  <a:lnTo>
                    <a:pt x="1434" y="1344"/>
                  </a:lnTo>
                  <a:lnTo>
                    <a:pt x="1422" y="1332"/>
                  </a:lnTo>
                  <a:lnTo>
                    <a:pt x="1416" y="1326"/>
                  </a:lnTo>
                  <a:lnTo>
                    <a:pt x="1404" y="1320"/>
                  </a:lnTo>
                  <a:lnTo>
                    <a:pt x="1404" y="1314"/>
                  </a:lnTo>
                  <a:lnTo>
                    <a:pt x="1374" y="1308"/>
                  </a:lnTo>
                  <a:lnTo>
                    <a:pt x="1368" y="1326"/>
                  </a:lnTo>
                  <a:lnTo>
                    <a:pt x="1344" y="1338"/>
                  </a:lnTo>
                  <a:lnTo>
                    <a:pt x="1326" y="1332"/>
                  </a:lnTo>
                  <a:lnTo>
                    <a:pt x="1302" y="1332"/>
                  </a:lnTo>
                  <a:lnTo>
                    <a:pt x="1278" y="1338"/>
                  </a:lnTo>
                  <a:lnTo>
                    <a:pt x="1236" y="1338"/>
                  </a:lnTo>
                  <a:lnTo>
                    <a:pt x="1224" y="1338"/>
                  </a:lnTo>
                  <a:lnTo>
                    <a:pt x="1224" y="1326"/>
                  </a:lnTo>
                  <a:lnTo>
                    <a:pt x="1206" y="1326"/>
                  </a:lnTo>
                  <a:lnTo>
                    <a:pt x="1170" y="1326"/>
                  </a:lnTo>
                  <a:lnTo>
                    <a:pt x="1152" y="1326"/>
                  </a:lnTo>
                  <a:lnTo>
                    <a:pt x="1140" y="1314"/>
                  </a:lnTo>
                  <a:lnTo>
                    <a:pt x="1134" y="1296"/>
                  </a:lnTo>
                  <a:lnTo>
                    <a:pt x="1134" y="1284"/>
                  </a:lnTo>
                  <a:lnTo>
                    <a:pt x="1128" y="1254"/>
                  </a:lnTo>
                  <a:lnTo>
                    <a:pt x="1128" y="1242"/>
                  </a:lnTo>
                  <a:lnTo>
                    <a:pt x="1122" y="1230"/>
                  </a:lnTo>
                  <a:lnTo>
                    <a:pt x="1104" y="1218"/>
                  </a:lnTo>
                  <a:lnTo>
                    <a:pt x="1104" y="1212"/>
                  </a:lnTo>
                  <a:lnTo>
                    <a:pt x="1092" y="1206"/>
                  </a:lnTo>
                  <a:lnTo>
                    <a:pt x="1080" y="1194"/>
                  </a:lnTo>
                  <a:lnTo>
                    <a:pt x="1068" y="1176"/>
                  </a:lnTo>
                  <a:lnTo>
                    <a:pt x="1050" y="1152"/>
                  </a:lnTo>
                  <a:lnTo>
                    <a:pt x="1020" y="1098"/>
                  </a:lnTo>
                  <a:lnTo>
                    <a:pt x="978" y="1026"/>
                  </a:lnTo>
                  <a:lnTo>
                    <a:pt x="978" y="1014"/>
                  </a:lnTo>
                  <a:lnTo>
                    <a:pt x="972" y="1014"/>
                  </a:lnTo>
                  <a:lnTo>
                    <a:pt x="972" y="1008"/>
                  </a:lnTo>
                  <a:lnTo>
                    <a:pt x="978" y="1002"/>
                  </a:lnTo>
                  <a:lnTo>
                    <a:pt x="960" y="966"/>
                  </a:lnTo>
                  <a:lnTo>
                    <a:pt x="948" y="954"/>
                  </a:lnTo>
                  <a:lnTo>
                    <a:pt x="948" y="936"/>
                  </a:lnTo>
                  <a:lnTo>
                    <a:pt x="936" y="900"/>
                  </a:lnTo>
                  <a:lnTo>
                    <a:pt x="942" y="876"/>
                  </a:lnTo>
                  <a:lnTo>
                    <a:pt x="942" y="834"/>
                  </a:lnTo>
                  <a:lnTo>
                    <a:pt x="960" y="828"/>
                  </a:lnTo>
                  <a:lnTo>
                    <a:pt x="966" y="816"/>
                  </a:lnTo>
                  <a:lnTo>
                    <a:pt x="972" y="810"/>
                  </a:lnTo>
                  <a:lnTo>
                    <a:pt x="978" y="804"/>
                  </a:lnTo>
                  <a:lnTo>
                    <a:pt x="996" y="798"/>
                  </a:lnTo>
                  <a:lnTo>
                    <a:pt x="996" y="792"/>
                  </a:lnTo>
                  <a:lnTo>
                    <a:pt x="1014" y="780"/>
                  </a:lnTo>
                  <a:lnTo>
                    <a:pt x="1026" y="768"/>
                  </a:lnTo>
                  <a:lnTo>
                    <a:pt x="1032" y="762"/>
                  </a:lnTo>
                  <a:lnTo>
                    <a:pt x="1026" y="756"/>
                  </a:lnTo>
                  <a:lnTo>
                    <a:pt x="1014" y="744"/>
                  </a:lnTo>
                  <a:lnTo>
                    <a:pt x="996" y="756"/>
                  </a:lnTo>
                  <a:lnTo>
                    <a:pt x="954" y="768"/>
                  </a:lnTo>
                  <a:lnTo>
                    <a:pt x="942" y="762"/>
                  </a:lnTo>
                  <a:lnTo>
                    <a:pt x="942" y="756"/>
                  </a:lnTo>
                  <a:lnTo>
                    <a:pt x="936" y="750"/>
                  </a:lnTo>
                  <a:lnTo>
                    <a:pt x="846" y="732"/>
                  </a:lnTo>
                  <a:lnTo>
                    <a:pt x="822" y="726"/>
                  </a:lnTo>
                  <a:lnTo>
                    <a:pt x="810" y="714"/>
                  </a:lnTo>
                  <a:lnTo>
                    <a:pt x="792" y="690"/>
                  </a:lnTo>
                  <a:lnTo>
                    <a:pt x="792" y="678"/>
                  </a:lnTo>
                  <a:lnTo>
                    <a:pt x="762" y="642"/>
                  </a:lnTo>
                  <a:lnTo>
                    <a:pt x="750" y="636"/>
                  </a:lnTo>
                  <a:lnTo>
                    <a:pt x="726" y="630"/>
                  </a:lnTo>
                  <a:lnTo>
                    <a:pt x="696" y="642"/>
                  </a:lnTo>
                  <a:lnTo>
                    <a:pt x="678" y="654"/>
                  </a:lnTo>
                  <a:lnTo>
                    <a:pt x="666" y="684"/>
                  </a:lnTo>
                  <a:lnTo>
                    <a:pt x="660" y="726"/>
                  </a:lnTo>
                  <a:lnTo>
                    <a:pt x="606" y="756"/>
                  </a:lnTo>
                  <a:lnTo>
                    <a:pt x="558" y="780"/>
                  </a:lnTo>
                  <a:lnTo>
                    <a:pt x="438" y="834"/>
                  </a:lnTo>
                  <a:lnTo>
                    <a:pt x="402" y="846"/>
                  </a:lnTo>
                  <a:lnTo>
                    <a:pt x="372" y="870"/>
                  </a:lnTo>
                  <a:lnTo>
                    <a:pt x="360" y="876"/>
                  </a:lnTo>
                  <a:lnTo>
                    <a:pt x="354" y="876"/>
                  </a:lnTo>
                  <a:lnTo>
                    <a:pt x="330" y="882"/>
                  </a:lnTo>
                  <a:lnTo>
                    <a:pt x="306" y="882"/>
                  </a:lnTo>
                  <a:lnTo>
                    <a:pt x="300" y="876"/>
                  </a:lnTo>
                  <a:lnTo>
                    <a:pt x="294" y="876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76" y="864"/>
                  </a:lnTo>
                  <a:lnTo>
                    <a:pt x="270" y="870"/>
                  </a:lnTo>
                  <a:lnTo>
                    <a:pt x="264" y="870"/>
                  </a:lnTo>
                  <a:lnTo>
                    <a:pt x="240" y="894"/>
                  </a:lnTo>
                  <a:lnTo>
                    <a:pt x="234" y="894"/>
                  </a:lnTo>
                  <a:lnTo>
                    <a:pt x="228" y="900"/>
                  </a:lnTo>
                  <a:lnTo>
                    <a:pt x="222" y="906"/>
                  </a:lnTo>
                  <a:lnTo>
                    <a:pt x="210" y="912"/>
                  </a:lnTo>
                  <a:lnTo>
                    <a:pt x="204" y="912"/>
                  </a:lnTo>
                  <a:lnTo>
                    <a:pt x="198" y="912"/>
                  </a:lnTo>
                  <a:lnTo>
                    <a:pt x="192" y="918"/>
                  </a:lnTo>
                  <a:lnTo>
                    <a:pt x="180" y="918"/>
                  </a:lnTo>
                  <a:lnTo>
                    <a:pt x="174" y="930"/>
                  </a:lnTo>
                  <a:lnTo>
                    <a:pt x="174" y="936"/>
                  </a:lnTo>
                  <a:lnTo>
                    <a:pt x="168" y="942"/>
                  </a:lnTo>
                  <a:lnTo>
                    <a:pt x="162" y="942"/>
                  </a:lnTo>
                  <a:lnTo>
                    <a:pt x="150" y="960"/>
                  </a:lnTo>
                  <a:lnTo>
                    <a:pt x="144" y="966"/>
                  </a:lnTo>
                  <a:lnTo>
                    <a:pt x="138" y="972"/>
                  </a:lnTo>
                  <a:lnTo>
                    <a:pt x="132" y="972"/>
                  </a:lnTo>
                  <a:lnTo>
                    <a:pt x="126" y="984"/>
                  </a:lnTo>
                  <a:lnTo>
                    <a:pt x="120" y="984"/>
                  </a:lnTo>
                  <a:lnTo>
                    <a:pt x="114" y="990"/>
                  </a:lnTo>
                  <a:lnTo>
                    <a:pt x="96" y="990"/>
                  </a:lnTo>
                  <a:lnTo>
                    <a:pt x="90" y="990"/>
                  </a:lnTo>
                  <a:lnTo>
                    <a:pt x="78" y="990"/>
                  </a:lnTo>
                  <a:lnTo>
                    <a:pt x="72" y="990"/>
                  </a:lnTo>
                  <a:lnTo>
                    <a:pt x="60" y="990"/>
                  </a:lnTo>
                  <a:lnTo>
                    <a:pt x="42" y="990"/>
                  </a:lnTo>
                  <a:lnTo>
                    <a:pt x="36" y="996"/>
                  </a:lnTo>
                  <a:lnTo>
                    <a:pt x="30" y="1002"/>
                  </a:lnTo>
                  <a:lnTo>
                    <a:pt x="24" y="1014"/>
                  </a:lnTo>
                  <a:lnTo>
                    <a:pt x="24" y="1020"/>
                  </a:lnTo>
                  <a:lnTo>
                    <a:pt x="18" y="1020"/>
                  </a:lnTo>
                  <a:lnTo>
                    <a:pt x="12" y="1014"/>
                  </a:lnTo>
                  <a:lnTo>
                    <a:pt x="12" y="1008"/>
                  </a:lnTo>
                  <a:lnTo>
                    <a:pt x="12" y="990"/>
                  </a:lnTo>
                  <a:lnTo>
                    <a:pt x="12" y="984"/>
                  </a:lnTo>
                  <a:lnTo>
                    <a:pt x="12" y="972"/>
                  </a:lnTo>
                  <a:lnTo>
                    <a:pt x="12" y="966"/>
                  </a:lnTo>
                  <a:lnTo>
                    <a:pt x="6" y="966"/>
                  </a:lnTo>
                  <a:lnTo>
                    <a:pt x="6" y="960"/>
                  </a:lnTo>
                  <a:lnTo>
                    <a:pt x="6" y="954"/>
                  </a:lnTo>
                  <a:lnTo>
                    <a:pt x="6" y="948"/>
                  </a:lnTo>
                  <a:lnTo>
                    <a:pt x="6" y="942"/>
                  </a:lnTo>
                  <a:lnTo>
                    <a:pt x="12" y="930"/>
                  </a:lnTo>
                  <a:lnTo>
                    <a:pt x="6" y="924"/>
                  </a:lnTo>
                  <a:lnTo>
                    <a:pt x="6" y="918"/>
                  </a:lnTo>
                  <a:lnTo>
                    <a:pt x="6" y="912"/>
                  </a:lnTo>
                  <a:lnTo>
                    <a:pt x="6" y="906"/>
                  </a:lnTo>
                  <a:lnTo>
                    <a:pt x="6" y="900"/>
                  </a:lnTo>
                  <a:lnTo>
                    <a:pt x="0" y="894"/>
                  </a:lnTo>
                  <a:lnTo>
                    <a:pt x="0" y="888"/>
                  </a:lnTo>
                  <a:lnTo>
                    <a:pt x="0" y="882"/>
                  </a:lnTo>
                  <a:lnTo>
                    <a:pt x="6" y="876"/>
                  </a:lnTo>
                  <a:lnTo>
                    <a:pt x="6" y="870"/>
                  </a:lnTo>
                  <a:lnTo>
                    <a:pt x="18" y="864"/>
                  </a:lnTo>
                  <a:lnTo>
                    <a:pt x="18" y="858"/>
                  </a:lnTo>
                  <a:lnTo>
                    <a:pt x="18" y="846"/>
                  </a:lnTo>
                  <a:lnTo>
                    <a:pt x="18" y="834"/>
                  </a:lnTo>
                  <a:lnTo>
                    <a:pt x="18" y="828"/>
                  </a:lnTo>
                  <a:lnTo>
                    <a:pt x="24" y="828"/>
                  </a:lnTo>
                  <a:lnTo>
                    <a:pt x="24" y="810"/>
                  </a:lnTo>
                  <a:lnTo>
                    <a:pt x="24" y="804"/>
                  </a:lnTo>
                  <a:lnTo>
                    <a:pt x="18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24" y="792"/>
                  </a:lnTo>
                  <a:lnTo>
                    <a:pt x="30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6" y="762"/>
                  </a:lnTo>
                  <a:lnTo>
                    <a:pt x="36" y="756"/>
                  </a:lnTo>
                  <a:lnTo>
                    <a:pt x="30" y="756"/>
                  </a:lnTo>
                  <a:lnTo>
                    <a:pt x="30" y="750"/>
                  </a:lnTo>
                  <a:lnTo>
                    <a:pt x="36" y="750"/>
                  </a:lnTo>
                  <a:lnTo>
                    <a:pt x="36" y="744"/>
                  </a:lnTo>
                  <a:lnTo>
                    <a:pt x="30" y="744"/>
                  </a:lnTo>
                  <a:lnTo>
                    <a:pt x="30" y="738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0" y="732"/>
                  </a:lnTo>
                  <a:lnTo>
                    <a:pt x="36" y="726"/>
                  </a:lnTo>
                  <a:lnTo>
                    <a:pt x="30" y="726"/>
                  </a:lnTo>
                  <a:lnTo>
                    <a:pt x="24" y="726"/>
                  </a:lnTo>
                  <a:lnTo>
                    <a:pt x="30" y="720"/>
                  </a:lnTo>
                  <a:lnTo>
                    <a:pt x="30" y="714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696"/>
                  </a:lnTo>
                  <a:lnTo>
                    <a:pt x="66" y="702"/>
                  </a:lnTo>
                  <a:lnTo>
                    <a:pt x="78" y="702"/>
                  </a:lnTo>
                  <a:lnTo>
                    <a:pt x="84" y="702"/>
                  </a:lnTo>
                  <a:lnTo>
                    <a:pt x="96" y="696"/>
                  </a:lnTo>
                  <a:lnTo>
                    <a:pt x="102" y="690"/>
                  </a:lnTo>
                  <a:lnTo>
                    <a:pt x="102" y="684"/>
                  </a:lnTo>
                  <a:lnTo>
                    <a:pt x="114" y="684"/>
                  </a:lnTo>
                  <a:lnTo>
                    <a:pt x="144" y="684"/>
                  </a:lnTo>
                  <a:lnTo>
                    <a:pt x="150" y="690"/>
                  </a:lnTo>
                  <a:lnTo>
                    <a:pt x="162" y="696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6" y="690"/>
                  </a:lnTo>
                  <a:lnTo>
                    <a:pt x="192" y="690"/>
                  </a:lnTo>
                  <a:lnTo>
                    <a:pt x="198" y="684"/>
                  </a:lnTo>
                  <a:lnTo>
                    <a:pt x="204" y="684"/>
                  </a:lnTo>
                  <a:lnTo>
                    <a:pt x="210" y="684"/>
                  </a:lnTo>
                  <a:lnTo>
                    <a:pt x="222" y="678"/>
                  </a:lnTo>
                  <a:lnTo>
                    <a:pt x="228" y="678"/>
                  </a:lnTo>
                  <a:lnTo>
                    <a:pt x="228" y="660"/>
                  </a:lnTo>
                  <a:lnTo>
                    <a:pt x="234" y="642"/>
                  </a:lnTo>
                  <a:lnTo>
                    <a:pt x="246" y="618"/>
                  </a:lnTo>
                  <a:lnTo>
                    <a:pt x="252" y="618"/>
                  </a:lnTo>
                  <a:lnTo>
                    <a:pt x="252" y="600"/>
                  </a:lnTo>
                  <a:lnTo>
                    <a:pt x="252" y="588"/>
                  </a:lnTo>
                  <a:lnTo>
                    <a:pt x="252" y="582"/>
                  </a:lnTo>
                  <a:lnTo>
                    <a:pt x="258" y="576"/>
                  </a:lnTo>
                  <a:lnTo>
                    <a:pt x="270" y="564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70" y="522"/>
                  </a:lnTo>
                  <a:lnTo>
                    <a:pt x="270" y="510"/>
                  </a:lnTo>
                  <a:lnTo>
                    <a:pt x="270" y="498"/>
                  </a:lnTo>
                  <a:lnTo>
                    <a:pt x="258" y="468"/>
                  </a:lnTo>
                  <a:lnTo>
                    <a:pt x="252" y="456"/>
                  </a:lnTo>
                  <a:lnTo>
                    <a:pt x="258" y="444"/>
                  </a:lnTo>
                  <a:lnTo>
                    <a:pt x="264" y="432"/>
                  </a:lnTo>
                  <a:lnTo>
                    <a:pt x="270" y="426"/>
                  </a:lnTo>
                  <a:lnTo>
                    <a:pt x="276" y="420"/>
                  </a:lnTo>
                  <a:lnTo>
                    <a:pt x="288" y="420"/>
                  </a:lnTo>
                  <a:lnTo>
                    <a:pt x="288" y="414"/>
                  </a:lnTo>
                  <a:lnTo>
                    <a:pt x="294" y="414"/>
                  </a:lnTo>
                  <a:lnTo>
                    <a:pt x="306" y="390"/>
                  </a:lnTo>
                  <a:lnTo>
                    <a:pt x="312" y="384"/>
                  </a:lnTo>
                  <a:lnTo>
                    <a:pt x="318" y="378"/>
                  </a:lnTo>
                  <a:lnTo>
                    <a:pt x="318" y="372"/>
                  </a:lnTo>
                  <a:lnTo>
                    <a:pt x="324" y="366"/>
                  </a:lnTo>
                  <a:lnTo>
                    <a:pt x="330" y="354"/>
                  </a:lnTo>
                  <a:lnTo>
                    <a:pt x="336" y="348"/>
                  </a:lnTo>
                  <a:lnTo>
                    <a:pt x="336" y="330"/>
                  </a:lnTo>
                  <a:lnTo>
                    <a:pt x="342" y="324"/>
                  </a:lnTo>
                  <a:lnTo>
                    <a:pt x="342" y="318"/>
                  </a:lnTo>
                  <a:lnTo>
                    <a:pt x="348" y="318"/>
                  </a:lnTo>
                  <a:lnTo>
                    <a:pt x="360" y="318"/>
                  </a:lnTo>
                  <a:lnTo>
                    <a:pt x="372" y="318"/>
                  </a:lnTo>
                  <a:lnTo>
                    <a:pt x="384" y="306"/>
                  </a:lnTo>
                  <a:lnTo>
                    <a:pt x="396" y="300"/>
                  </a:lnTo>
                  <a:lnTo>
                    <a:pt x="396" y="294"/>
                  </a:lnTo>
                  <a:lnTo>
                    <a:pt x="396" y="288"/>
                  </a:lnTo>
                  <a:lnTo>
                    <a:pt x="390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2"/>
                  </a:lnTo>
                  <a:lnTo>
                    <a:pt x="378" y="246"/>
                  </a:lnTo>
                  <a:lnTo>
                    <a:pt x="384" y="228"/>
                  </a:lnTo>
                  <a:lnTo>
                    <a:pt x="390" y="216"/>
                  </a:lnTo>
                  <a:lnTo>
                    <a:pt x="402" y="210"/>
                  </a:lnTo>
                  <a:lnTo>
                    <a:pt x="408" y="210"/>
                  </a:lnTo>
                  <a:lnTo>
                    <a:pt x="420" y="204"/>
                  </a:lnTo>
                  <a:lnTo>
                    <a:pt x="444" y="198"/>
                  </a:lnTo>
                  <a:lnTo>
                    <a:pt x="462" y="192"/>
                  </a:lnTo>
                  <a:lnTo>
                    <a:pt x="474" y="186"/>
                  </a:lnTo>
                  <a:lnTo>
                    <a:pt x="480" y="192"/>
                  </a:lnTo>
                  <a:lnTo>
                    <a:pt x="492" y="192"/>
                  </a:lnTo>
                  <a:lnTo>
                    <a:pt x="498" y="192"/>
                  </a:lnTo>
                  <a:lnTo>
                    <a:pt x="504" y="192"/>
                  </a:lnTo>
                  <a:lnTo>
                    <a:pt x="510" y="192"/>
                  </a:lnTo>
                  <a:lnTo>
                    <a:pt x="516" y="186"/>
                  </a:lnTo>
                  <a:lnTo>
                    <a:pt x="522" y="180"/>
                  </a:lnTo>
                  <a:lnTo>
                    <a:pt x="522" y="174"/>
                  </a:lnTo>
                  <a:lnTo>
                    <a:pt x="528" y="168"/>
                  </a:lnTo>
                  <a:lnTo>
                    <a:pt x="534" y="168"/>
                  </a:lnTo>
                  <a:lnTo>
                    <a:pt x="534" y="156"/>
                  </a:lnTo>
                  <a:lnTo>
                    <a:pt x="534" y="150"/>
                  </a:lnTo>
                  <a:lnTo>
                    <a:pt x="552" y="138"/>
                  </a:lnTo>
                  <a:lnTo>
                    <a:pt x="558" y="126"/>
                  </a:lnTo>
                  <a:lnTo>
                    <a:pt x="558" y="114"/>
                  </a:lnTo>
                  <a:lnTo>
                    <a:pt x="564" y="102"/>
                  </a:lnTo>
                  <a:lnTo>
                    <a:pt x="564" y="96"/>
                  </a:lnTo>
                  <a:lnTo>
                    <a:pt x="564" y="90"/>
                  </a:lnTo>
                  <a:lnTo>
                    <a:pt x="564" y="72"/>
                  </a:lnTo>
                  <a:lnTo>
                    <a:pt x="564" y="60"/>
                  </a:lnTo>
                  <a:lnTo>
                    <a:pt x="564" y="54"/>
                  </a:lnTo>
                  <a:lnTo>
                    <a:pt x="570" y="42"/>
                  </a:lnTo>
                  <a:lnTo>
                    <a:pt x="576" y="42"/>
                  </a:lnTo>
                  <a:lnTo>
                    <a:pt x="582" y="36"/>
                  </a:lnTo>
                  <a:lnTo>
                    <a:pt x="594" y="36"/>
                  </a:lnTo>
                  <a:lnTo>
                    <a:pt x="594" y="30"/>
                  </a:lnTo>
                  <a:lnTo>
                    <a:pt x="600" y="24"/>
                  </a:lnTo>
                  <a:lnTo>
                    <a:pt x="600" y="12"/>
                  </a:lnTo>
                  <a:lnTo>
                    <a:pt x="606" y="6"/>
                  </a:lnTo>
                  <a:lnTo>
                    <a:pt x="606" y="0"/>
                  </a:lnTo>
                  <a:lnTo>
                    <a:pt x="612" y="0"/>
                  </a:lnTo>
                  <a:lnTo>
                    <a:pt x="618" y="0"/>
                  </a:lnTo>
                  <a:lnTo>
                    <a:pt x="624" y="6"/>
                  </a:lnTo>
                  <a:lnTo>
                    <a:pt x="624" y="12"/>
                  </a:lnTo>
                  <a:lnTo>
                    <a:pt x="624" y="18"/>
                  </a:lnTo>
                  <a:lnTo>
                    <a:pt x="624" y="24"/>
                  </a:lnTo>
                  <a:lnTo>
                    <a:pt x="624" y="30"/>
                  </a:lnTo>
                  <a:lnTo>
                    <a:pt x="630" y="30"/>
                  </a:lnTo>
                  <a:lnTo>
                    <a:pt x="630" y="36"/>
                  </a:lnTo>
                  <a:lnTo>
                    <a:pt x="630" y="42"/>
                  </a:lnTo>
                  <a:lnTo>
                    <a:pt x="630" y="48"/>
                  </a:lnTo>
                  <a:lnTo>
                    <a:pt x="636" y="54"/>
                  </a:lnTo>
                  <a:lnTo>
                    <a:pt x="642" y="48"/>
                  </a:lnTo>
                  <a:lnTo>
                    <a:pt x="648" y="48"/>
                  </a:lnTo>
                  <a:lnTo>
                    <a:pt x="648" y="60"/>
                  </a:lnTo>
                  <a:lnTo>
                    <a:pt x="654" y="66"/>
                  </a:lnTo>
                  <a:lnTo>
                    <a:pt x="660" y="72"/>
                  </a:lnTo>
                  <a:lnTo>
                    <a:pt x="666" y="72"/>
                  </a:lnTo>
                  <a:lnTo>
                    <a:pt x="666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72" y="66"/>
                  </a:lnTo>
                  <a:lnTo>
                    <a:pt x="678" y="66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6" y="66"/>
                  </a:lnTo>
                  <a:lnTo>
                    <a:pt x="696" y="72"/>
                  </a:lnTo>
                  <a:lnTo>
                    <a:pt x="702" y="72"/>
                  </a:lnTo>
                  <a:lnTo>
                    <a:pt x="708" y="72"/>
                  </a:lnTo>
                  <a:lnTo>
                    <a:pt x="720" y="66"/>
                  </a:lnTo>
                  <a:lnTo>
                    <a:pt x="726" y="78"/>
                  </a:lnTo>
                  <a:lnTo>
                    <a:pt x="744" y="84"/>
                  </a:lnTo>
                  <a:lnTo>
                    <a:pt x="744" y="90"/>
                  </a:lnTo>
                  <a:lnTo>
                    <a:pt x="744" y="96"/>
                  </a:lnTo>
                  <a:lnTo>
                    <a:pt x="738" y="96"/>
                  </a:lnTo>
                  <a:lnTo>
                    <a:pt x="738" y="102"/>
                  </a:lnTo>
                  <a:lnTo>
                    <a:pt x="732" y="102"/>
                  </a:lnTo>
                  <a:lnTo>
                    <a:pt x="732" y="108"/>
                  </a:lnTo>
                  <a:lnTo>
                    <a:pt x="738" y="108"/>
                  </a:lnTo>
                  <a:lnTo>
                    <a:pt x="744" y="114"/>
                  </a:lnTo>
                  <a:lnTo>
                    <a:pt x="750" y="108"/>
                  </a:lnTo>
                  <a:lnTo>
                    <a:pt x="756" y="108"/>
                  </a:lnTo>
                  <a:lnTo>
                    <a:pt x="762" y="108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80" y="120"/>
                  </a:lnTo>
                  <a:lnTo>
                    <a:pt x="774" y="120"/>
                  </a:lnTo>
                  <a:lnTo>
                    <a:pt x="768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74" y="138"/>
                  </a:lnTo>
                  <a:lnTo>
                    <a:pt x="774" y="132"/>
                  </a:lnTo>
                  <a:lnTo>
                    <a:pt x="780" y="132"/>
                  </a:lnTo>
                  <a:lnTo>
                    <a:pt x="786" y="132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44"/>
                  </a:lnTo>
                  <a:lnTo>
                    <a:pt x="786" y="150"/>
                  </a:lnTo>
                  <a:lnTo>
                    <a:pt x="780" y="150"/>
                  </a:lnTo>
                  <a:lnTo>
                    <a:pt x="774" y="150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74" y="162"/>
                  </a:lnTo>
                  <a:lnTo>
                    <a:pt x="780" y="162"/>
                  </a:lnTo>
                  <a:lnTo>
                    <a:pt x="786" y="168"/>
                  </a:lnTo>
                  <a:lnTo>
                    <a:pt x="792" y="162"/>
                  </a:lnTo>
                  <a:lnTo>
                    <a:pt x="798" y="168"/>
                  </a:lnTo>
                  <a:lnTo>
                    <a:pt x="798" y="174"/>
                  </a:lnTo>
                  <a:lnTo>
                    <a:pt x="804" y="168"/>
                  </a:lnTo>
                  <a:lnTo>
                    <a:pt x="810" y="168"/>
                  </a:lnTo>
                  <a:lnTo>
                    <a:pt x="810" y="174"/>
                  </a:lnTo>
                  <a:lnTo>
                    <a:pt x="816" y="168"/>
                  </a:lnTo>
                  <a:lnTo>
                    <a:pt x="822" y="162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74"/>
                  </a:lnTo>
                  <a:lnTo>
                    <a:pt x="834" y="192"/>
                  </a:lnTo>
                  <a:lnTo>
                    <a:pt x="834" y="198"/>
                  </a:lnTo>
                  <a:lnTo>
                    <a:pt x="840" y="192"/>
                  </a:lnTo>
                  <a:lnTo>
                    <a:pt x="846" y="192"/>
                  </a:lnTo>
                  <a:lnTo>
                    <a:pt x="852" y="186"/>
                  </a:lnTo>
                  <a:lnTo>
                    <a:pt x="858" y="192"/>
                  </a:lnTo>
                  <a:lnTo>
                    <a:pt x="864" y="192"/>
                  </a:lnTo>
                  <a:lnTo>
                    <a:pt x="870" y="198"/>
                  </a:lnTo>
                  <a:lnTo>
                    <a:pt x="876" y="180"/>
                  </a:lnTo>
                  <a:lnTo>
                    <a:pt x="882" y="180"/>
                  </a:lnTo>
                  <a:lnTo>
                    <a:pt x="888" y="180"/>
                  </a:lnTo>
                  <a:lnTo>
                    <a:pt x="894" y="186"/>
                  </a:lnTo>
                  <a:lnTo>
                    <a:pt x="888" y="198"/>
                  </a:lnTo>
                  <a:lnTo>
                    <a:pt x="894" y="204"/>
                  </a:lnTo>
                  <a:lnTo>
                    <a:pt x="906" y="210"/>
                  </a:lnTo>
                  <a:lnTo>
                    <a:pt x="918" y="246"/>
                  </a:lnTo>
                  <a:lnTo>
                    <a:pt x="930" y="258"/>
                  </a:lnTo>
                  <a:lnTo>
                    <a:pt x="942" y="282"/>
                  </a:lnTo>
                  <a:lnTo>
                    <a:pt x="966" y="288"/>
                  </a:lnTo>
                  <a:lnTo>
                    <a:pt x="972" y="300"/>
                  </a:lnTo>
                  <a:lnTo>
                    <a:pt x="972" y="318"/>
                  </a:lnTo>
                  <a:lnTo>
                    <a:pt x="996" y="336"/>
                  </a:lnTo>
                  <a:lnTo>
                    <a:pt x="1050" y="390"/>
                  </a:lnTo>
                  <a:lnTo>
                    <a:pt x="1116" y="462"/>
                  </a:lnTo>
                  <a:lnTo>
                    <a:pt x="1122" y="468"/>
                  </a:lnTo>
                  <a:lnTo>
                    <a:pt x="1128" y="474"/>
                  </a:lnTo>
                  <a:lnTo>
                    <a:pt x="1140" y="474"/>
                  </a:lnTo>
                  <a:lnTo>
                    <a:pt x="1152" y="486"/>
                  </a:lnTo>
                  <a:lnTo>
                    <a:pt x="1152" y="492"/>
                  </a:lnTo>
                  <a:lnTo>
                    <a:pt x="1158" y="492"/>
                  </a:lnTo>
                  <a:lnTo>
                    <a:pt x="1164" y="492"/>
                  </a:lnTo>
                  <a:lnTo>
                    <a:pt x="1170" y="504"/>
                  </a:lnTo>
                  <a:lnTo>
                    <a:pt x="1176" y="504"/>
                  </a:lnTo>
                  <a:lnTo>
                    <a:pt x="1176" y="510"/>
                  </a:lnTo>
                  <a:lnTo>
                    <a:pt x="1200" y="516"/>
                  </a:lnTo>
                  <a:lnTo>
                    <a:pt x="1200" y="522"/>
                  </a:lnTo>
                  <a:lnTo>
                    <a:pt x="1212" y="534"/>
                  </a:lnTo>
                  <a:lnTo>
                    <a:pt x="1218" y="540"/>
                  </a:lnTo>
                  <a:lnTo>
                    <a:pt x="1224" y="552"/>
                  </a:lnTo>
                  <a:lnTo>
                    <a:pt x="1230" y="552"/>
                  </a:lnTo>
                  <a:lnTo>
                    <a:pt x="1242" y="552"/>
                  </a:lnTo>
                  <a:lnTo>
                    <a:pt x="1248" y="558"/>
                  </a:lnTo>
                  <a:lnTo>
                    <a:pt x="1254" y="558"/>
                  </a:lnTo>
                  <a:lnTo>
                    <a:pt x="1260" y="564"/>
                  </a:lnTo>
                  <a:lnTo>
                    <a:pt x="1266" y="564"/>
                  </a:lnTo>
                  <a:lnTo>
                    <a:pt x="1272" y="564"/>
                  </a:lnTo>
                  <a:lnTo>
                    <a:pt x="1284" y="564"/>
                  </a:lnTo>
                  <a:lnTo>
                    <a:pt x="1290" y="570"/>
                  </a:lnTo>
                  <a:lnTo>
                    <a:pt x="1296" y="576"/>
                  </a:lnTo>
                  <a:lnTo>
                    <a:pt x="1302" y="588"/>
                  </a:lnTo>
                  <a:lnTo>
                    <a:pt x="1296" y="594"/>
                  </a:lnTo>
                  <a:lnTo>
                    <a:pt x="1296" y="600"/>
                  </a:lnTo>
                  <a:lnTo>
                    <a:pt x="1296" y="606"/>
                  </a:lnTo>
                  <a:lnTo>
                    <a:pt x="1290" y="612"/>
                  </a:lnTo>
                  <a:lnTo>
                    <a:pt x="1290" y="624"/>
                  </a:lnTo>
                  <a:lnTo>
                    <a:pt x="1290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308" y="654"/>
                  </a:lnTo>
                  <a:lnTo>
                    <a:pt x="1320" y="654"/>
                  </a:lnTo>
                  <a:lnTo>
                    <a:pt x="1326" y="660"/>
                  </a:lnTo>
                  <a:lnTo>
                    <a:pt x="1338" y="654"/>
                  </a:lnTo>
                  <a:lnTo>
                    <a:pt x="1344" y="654"/>
                  </a:lnTo>
                  <a:lnTo>
                    <a:pt x="1356" y="654"/>
                  </a:lnTo>
                  <a:lnTo>
                    <a:pt x="1362" y="648"/>
                  </a:lnTo>
                  <a:lnTo>
                    <a:pt x="1368" y="642"/>
                  </a:lnTo>
                  <a:lnTo>
                    <a:pt x="1374" y="636"/>
                  </a:lnTo>
                  <a:lnTo>
                    <a:pt x="1380" y="636"/>
                  </a:lnTo>
                  <a:lnTo>
                    <a:pt x="1392" y="636"/>
                  </a:lnTo>
                  <a:lnTo>
                    <a:pt x="1398" y="636"/>
                  </a:lnTo>
                  <a:lnTo>
                    <a:pt x="1404" y="636"/>
                  </a:lnTo>
                  <a:lnTo>
                    <a:pt x="1410" y="630"/>
                  </a:lnTo>
                  <a:lnTo>
                    <a:pt x="1410" y="624"/>
                  </a:lnTo>
                  <a:lnTo>
                    <a:pt x="1422" y="618"/>
                  </a:lnTo>
                  <a:lnTo>
                    <a:pt x="1428" y="618"/>
                  </a:lnTo>
                  <a:lnTo>
                    <a:pt x="1440" y="612"/>
                  </a:lnTo>
                  <a:lnTo>
                    <a:pt x="1446" y="612"/>
                  </a:lnTo>
                  <a:lnTo>
                    <a:pt x="1458" y="612"/>
                  </a:lnTo>
                  <a:lnTo>
                    <a:pt x="1470" y="624"/>
                  </a:lnTo>
                  <a:lnTo>
                    <a:pt x="1488" y="642"/>
                  </a:lnTo>
                  <a:lnTo>
                    <a:pt x="1500" y="648"/>
                  </a:lnTo>
                  <a:lnTo>
                    <a:pt x="1512" y="654"/>
                  </a:lnTo>
                  <a:lnTo>
                    <a:pt x="1518" y="660"/>
                  </a:lnTo>
                  <a:lnTo>
                    <a:pt x="1524" y="660"/>
                  </a:lnTo>
                  <a:lnTo>
                    <a:pt x="1530" y="660"/>
                  </a:lnTo>
                  <a:lnTo>
                    <a:pt x="1536" y="666"/>
                  </a:lnTo>
                  <a:lnTo>
                    <a:pt x="1542" y="672"/>
                  </a:lnTo>
                  <a:lnTo>
                    <a:pt x="1548" y="672"/>
                  </a:lnTo>
                  <a:lnTo>
                    <a:pt x="1554" y="684"/>
                  </a:lnTo>
                  <a:lnTo>
                    <a:pt x="1554" y="690"/>
                  </a:lnTo>
                  <a:lnTo>
                    <a:pt x="1566" y="702"/>
                  </a:lnTo>
                  <a:lnTo>
                    <a:pt x="1572" y="720"/>
                  </a:lnTo>
                  <a:lnTo>
                    <a:pt x="1572" y="726"/>
                  </a:lnTo>
                  <a:lnTo>
                    <a:pt x="1578" y="732"/>
                  </a:lnTo>
                  <a:lnTo>
                    <a:pt x="1584" y="738"/>
                  </a:lnTo>
                  <a:lnTo>
                    <a:pt x="1590" y="738"/>
                  </a:lnTo>
                  <a:lnTo>
                    <a:pt x="1596" y="738"/>
                  </a:lnTo>
                  <a:lnTo>
                    <a:pt x="1602" y="744"/>
                  </a:lnTo>
                  <a:lnTo>
                    <a:pt x="1608" y="744"/>
                  </a:lnTo>
                  <a:lnTo>
                    <a:pt x="1614" y="744"/>
                  </a:lnTo>
                  <a:lnTo>
                    <a:pt x="1626" y="744"/>
                  </a:lnTo>
                  <a:lnTo>
                    <a:pt x="1638" y="744"/>
                  </a:lnTo>
                  <a:lnTo>
                    <a:pt x="1650" y="744"/>
                  </a:lnTo>
                  <a:lnTo>
                    <a:pt x="1662" y="744"/>
                  </a:lnTo>
                  <a:lnTo>
                    <a:pt x="1668" y="744"/>
                  </a:lnTo>
                  <a:lnTo>
                    <a:pt x="1674" y="744"/>
                  </a:lnTo>
                  <a:lnTo>
                    <a:pt x="1686" y="744"/>
                  </a:lnTo>
                  <a:lnTo>
                    <a:pt x="1698" y="750"/>
                  </a:lnTo>
                  <a:lnTo>
                    <a:pt x="1704" y="750"/>
                  </a:lnTo>
                  <a:lnTo>
                    <a:pt x="1716" y="756"/>
                  </a:lnTo>
                  <a:lnTo>
                    <a:pt x="1722" y="756"/>
                  </a:lnTo>
                  <a:lnTo>
                    <a:pt x="1728" y="756"/>
                  </a:lnTo>
                  <a:lnTo>
                    <a:pt x="1734" y="762"/>
                  </a:lnTo>
                  <a:lnTo>
                    <a:pt x="1740" y="768"/>
                  </a:lnTo>
                  <a:lnTo>
                    <a:pt x="1758" y="780"/>
                  </a:lnTo>
                  <a:lnTo>
                    <a:pt x="1770" y="780"/>
                  </a:lnTo>
                  <a:lnTo>
                    <a:pt x="1776" y="780"/>
                  </a:lnTo>
                  <a:lnTo>
                    <a:pt x="1782" y="780"/>
                  </a:lnTo>
                  <a:lnTo>
                    <a:pt x="1800" y="798"/>
                  </a:lnTo>
                  <a:lnTo>
                    <a:pt x="1818" y="810"/>
                  </a:lnTo>
                  <a:lnTo>
                    <a:pt x="1830" y="816"/>
                  </a:lnTo>
                  <a:lnTo>
                    <a:pt x="1836" y="822"/>
                  </a:lnTo>
                  <a:lnTo>
                    <a:pt x="1836" y="828"/>
                  </a:lnTo>
                  <a:lnTo>
                    <a:pt x="1842" y="828"/>
                  </a:lnTo>
                  <a:lnTo>
                    <a:pt x="1848" y="834"/>
                  </a:lnTo>
                  <a:lnTo>
                    <a:pt x="1854" y="840"/>
                  </a:lnTo>
                  <a:lnTo>
                    <a:pt x="1860" y="846"/>
                  </a:lnTo>
                  <a:lnTo>
                    <a:pt x="1872" y="852"/>
                  </a:lnTo>
                  <a:lnTo>
                    <a:pt x="1884" y="852"/>
                  </a:lnTo>
                  <a:lnTo>
                    <a:pt x="1896" y="852"/>
                  </a:lnTo>
                  <a:lnTo>
                    <a:pt x="1902" y="846"/>
                  </a:lnTo>
                  <a:lnTo>
                    <a:pt x="1908" y="852"/>
                  </a:lnTo>
                  <a:lnTo>
                    <a:pt x="1920" y="858"/>
                  </a:lnTo>
                  <a:lnTo>
                    <a:pt x="1926" y="870"/>
                  </a:lnTo>
                  <a:lnTo>
                    <a:pt x="1938" y="888"/>
                  </a:lnTo>
                  <a:lnTo>
                    <a:pt x="1944" y="900"/>
                  </a:lnTo>
                  <a:lnTo>
                    <a:pt x="1950" y="900"/>
                  </a:lnTo>
                  <a:lnTo>
                    <a:pt x="1962" y="906"/>
                  </a:lnTo>
                  <a:lnTo>
                    <a:pt x="1968" y="906"/>
                  </a:lnTo>
                  <a:lnTo>
                    <a:pt x="1980" y="906"/>
                  </a:lnTo>
                  <a:lnTo>
                    <a:pt x="1998" y="906"/>
                  </a:lnTo>
                  <a:lnTo>
                    <a:pt x="2010" y="900"/>
                  </a:lnTo>
                  <a:lnTo>
                    <a:pt x="2022" y="900"/>
                  </a:lnTo>
                  <a:lnTo>
                    <a:pt x="2028" y="900"/>
                  </a:lnTo>
                  <a:lnTo>
                    <a:pt x="2034" y="906"/>
                  </a:lnTo>
                  <a:lnTo>
                    <a:pt x="2046" y="906"/>
                  </a:lnTo>
                  <a:lnTo>
                    <a:pt x="2052" y="900"/>
                  </a:lnTo>
                  <a:lnTo>
                    <a:pt x="2058" y="900"/>
                  </a:lnTo>
                  <a:lnTo>
                    <a:pt x="2064" y="900"/>
                  </a:lnTo>
                  <a:lnTo>
                    <a:pt x="2070" y="900"/>
                  </a:lnTo>
                  <a:lnTo>
                    <a:pt x="2076" y="900"/>
                  </a:lnTo>
                  <a:lnTo>
                    <a:pt x="2076" y="906"/>
                  </a:lnTo>
                  <a:lnTo>
                    <a:pt x="2088" y="906"/>
                  </a:lnTo>
                  <a:lnTo>
                    <a:pt x="2106" y="900"/>
                  </a:lnTo>
                  <a:lnTo>
                    <a:pt x="2118" y="900"/>
                  </a:lnTo>
                  <a:lnTo>
                    <a:pt x="2130" y="900"/>
                  </a:lnTo>
                  <a:lnTo>
                    <a:pt x="2142" y="900"/>
                  </a:lnTo>
                  <a:lnTo>
                    <a:pt x="2148" y="906"/>
                  </a:lnTo>
                  <a:lnTo>
                    <a:pt x="2154" y="906"/>
                  </a:lnTo>
                  <a:lnTo>
                    <a:pt x="2160" y="906"/>
                  </a:lnTo>
                  <a:lnTo>
                    <a:pt x="2166" y="906"/>
                  </a:lnTo>
                  <a:lnTo>
                    <a:pt x="2178" y="918"/>
                  </a:lnTo>
                  <a:lnTo>
                    <a:pt x="2178" y="924"/>
                  </a:lnTo>
                  <a:lnTo>
                    <a:pt x="2184" y="924"/>
                  </a:lnTo>
                  <a:lnTo>
                    <a:pt x="2190" y="924"/>
                  </a:lnTo>
                  <a:lnTo>
                    <a:pt x="2196" y="924"/>
                  </a:lnTo>
                  <a:lnTo>
                    <a:pt x="2202" y="918"/>
                  </a:lnTo>
                  <a:lnTo>
                    <a:pt x="2208" y="918"/>
                  </a:lnTo>
                  <a:lnTo>
                    <a:pt x="2214" y="918"/>
                  </a:lnTo>
                  <a:lnTo>
                    <a:pt x="2226" y="918"/>
                  </a:lnTo>
                  <a:lnTo>
                    <a:pt x="2220" y="948"/>
                  </a:lnTo>
                  <a:lnTo>
                    <a:pt x="2214" y="972"/>
                  </a:lnTo>
                  <a:lnTo>
                    <a:pt x="2214" y="984"/>
                  </a:lnTo>
                  <a:lnTo>
                    <a:pt x="2208" y="990"/>
                  </a:lnTo>
                  <a:lnTo>
                    <a:pt x="2208" y="996"/>
                  </a:lnTo>
                  <a:lnTo>
                    <a:pt x="2202" y="996"/>
                  </a:lnTo>
                  <a:lnTo>
                    <a:pt x="2196" y="996"/>
                  </a:lnTo>
                  <a:lnTo>
                    <a:pt x="2190" y="1008"/>
                  </a:lnTo>
                  <a:lnTo>
                    <a:pt x="2172" y="1074"/>
                  </a:lnTo>
                  <a:lnTo>
                    <a:pt x="2166" y="1092"/>
                  </a:lnTo>
                  <a:lnTo>
                    <a:pt x="2172" y="1110"/>
                  </a:lnTo>
                  <a:lnTo>
                    <a:pt x="2172" y="1122"/>
                  </a:lnTo>
                  <a:lnTo>
                    <a:pt x="2166" y="1134"/>
                  </a:lnTo>
                  <a:lnTo>
                    <a:pt x="2148" y="1140"/>
                  </a:lnTo>
                  <a:lnTo>
                    <a:pt x="2148" y="1134"/>
                  </a:lnTo>
                  <a:lnTo>
                    <a:pt x="2118" y="1140"/>
                  </a:lnTo>
                  <a:lnTo>
                    <a:pt x="2088" y="1134"/>
                  </a:lnTo>
                  <a:lnTo>
                    <a:pt x="2064" y="1122"/>
                  </a:lnTo>
                  <a:lnTo>
                    <a:pt x="2034" y="1122"/>
                  </a:lnTo>
                  <a:lnTo>
                    <a:pt x="2022" y="1128"/>
                  </a:lnTo>
                  <a:lnTo>
                    <a:pt x="1986" y="1128"/>
                  </a:lnTo>
                  <a:lnTo>
                    <a:pt x="1938" y="1122"/>
                  </a:lnTo>
                  <a:lnTo>
                    <a:pt x="1932" y="1116"/>
                  </a:lnTo>
                  <a:lnTo>
                    <a:pt x="1896" y="1110"/>
                  </a:lnTo>
                  <a:lnTo>
                    <a:pt x="1878" y="1104"/>
                  </a:lnTo>
                  <a:lnTo>
                    <a:pt x="1866" y="1098"/>
                  </a:lnTo>
                  <a:lnTo>
                    <a:pt x="1860" y="1098"/>
                  </a:lnTo>
                  <a:lnTo>
                    <a:pt x="1854" y="1092"/>
                  </a:lnTo>
                  <a:lnTo>
                    <a:pt x="1860" y="1092"/>
                  </a:lnTo>
                  <a:lnTo>
                    <a:pt x="1860" y="1086"/>
                  </a:lnTo>
                  <a:lnTo>
                    <a:pt x="1854" y="1086"/>
                  </a:lnTo>
                  <a:lnTo>
                    <a:pt x="1842" y="1080"/>
                  </a:lnTo>
                  <a:lnTo>
                    <a:pt x="1818" y="1062"/>
                  </a:lnTo>
                  <a:lnTo>
                    <a:pt x="1782" y="1056"/>
                  </a:lnTo>
                  <a:lnTo>
                    <a:pt x="1770" y="1068"/>
                  </a:lnTo>
                  <a:lnTo>
                    <a:pt x="1746" y="1098"/>
                  </a:lnTo>
                  <a:lnTo>
                    <a:pt x="1722" y="1104"/>
                  </a:lnTo>
                  <a:lnTo>
                    <a:pt x="1710" y="1122"/>
                  </a:lnTo>
                  <a:lnTo>
                    <a:pt x="1710" y="1128"/>
                  </a:lnTo>
                  <a:lnTo>
                    <a:pt x="1710" y="1140"/>
                  </a:lnTo>
                  <a:lnTo>
                    <a:pt x="1698" y="1146"/>
                  </a:lnTo>
                  <a:lnTo>
                    <a:pt x="1686" y="1152"/>
                  </a:lnTo>
                  <a:lnTo>
                    <a:pt x="1680" y="1164"/>
                  </a:lnTo>
                  <a:lnTo>
                    <a:pt x="1680" y="1170"/>
                  </a:lnTo>
                  <a:lnTo>
                    <a:pt x="1686" y="1170"/>
                  </a:lnTo>
                  <a:lnTo>
                    <a:pt x="1686" y="1176"/>
                  </a:lnTo>
                  <a:lnTo>
                    <a:pt x="1698" y="1188"/>
                  </a:lnTo>
                  <a:lnTo>
                    <a:pt x="1704" y="1188"/>
                  </a:lnTo>
                  <a:lnTo>
                    <a:pt x="1698" y="1194"/>
                  </a:lnTo>
                  <a:lnTo>
                    <a:pt x="1704" y="1194"/>
                  </a:lnTo>
                  <a:lnTo>
                    <a:pt x="1704" y="1200"/>
                  </a:lnTo>
                  <a:lnTo>
                    <a:pt x="1704" y="1206"/>
                  </a:lnTo>
                  <a:lnTo>
                    <a:pt x="1704" y="1212"/>
                  </a:lnTo>
                  <a:lnTo>
                    <a:pt x="1704" y="1218"/>
                  </a:lnTo>
                  <a:lnTo>
                    <a:pt x="1710" y="1218"/>
                  </a:lnTo>
                  <a:lnTo>
                    <a:pt x="1710" y="1212"/>
                  </a:lnTo>
                  <a:lnTo>
                    <a:pt x="1716" y="1212"/>
                  </a:lnTo>
                  <a:lnTo>
                    <a:pt x="1716" y="1218"/>
                  </a:lnTo>
                  <a:lnTo>
                    <a:pt x="1716" y="1224"/>
                  </a:lnTo>
                  <a:lnTo>
                    <a:pt x="1716" y="1230"/>
                  </a:lnTo>
                  <a:lnTo>
                    <a:pt x="1722" y="1236"/>
                  </a:lnTo>
                  <a:lnTo>
                    <a:pt x="1740" y="1230"/>
                  </a:lnTo>
                  <a:lnTo>
                    <a:pt x="1734" y="1236"/>
                  </a:lnTo>
                  <a:lnTo>
                    <a:pt x="1734" y="1242"/>
                  </a:lnTo>
                  <a:lnTo>
                    <a:pt x="1734" y="1248"/>
                  </a:lnTo>
                  <a:lnTo>
                    <a:pt x="1734" y="1254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52" y="1266"/>
                  </a:lnTo>
                  <a:lnTo>
                    <a:pt x="1764" y="1266"/>
                  </a:lnTo>
                  <a:lnTo>
                    <a:pt x="1788" y="1260"/>
                  </a:lnTo>
                  <a:lnTo>
                    <a:pt x="1800" y="1260"/>
                  </a:lnTo>
                  <a:lnTo>
                    <a:pt x="1806" y="1272"/>
                  </a:lnTo>
                  <a:lnTo>
                    <a:pt x="1806" y="1296"/>
                  </a:lnTo>
                  <a:lnTo>
                    <a:pt x="1800" y="1308"/>
                  </a:lnTo>
                  <a:lnTo>
                    <a:pt x="1788" y="1308"/>
                  </a:lnTo>
                  <a:lnTo>
                    <a:pt x="1782" y="13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7" name="Freeform 32">
              <a:extLst>
                <a:ext uri="{FF2B5EF4-FFF2-40B4-BE49-F238E27FC236}">
                  <a16:creationId xmlns:a16="http://schemas.microsoft.com/office/drawing/2014/main" id="{1EF84438-BF7A-47D2-9156-E231EA2A279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3295" y="2316568"/>
              <a:ext cx="1290281" cy="1084704"/>
            </a:xfrm>
            <a:custGeom>
              <a:avLst/>
              <a:gdLst>
                <a:gd name="T0" fmla="*/ 177 w 2430"/>
                <a:gd name="T1" fmla="*/ 169 h 2040"/>
                <a:gd name="T2" fmla="*/ 174 w 2430"/>
                <a:gd name="T3" fmla="*/ 173 h 2040"/>
                <a:gd name="T4" fmla="*/ 169 w 2430"/>
                <a:gd name="T5" fmla="*/ 171 h 2040"/>
                <a:gd name="T6" fmla="*/ 160 w 2430"/>
                <a:gd name="T7" fmla="*/ 163 h 2040"/>
                <a:gd name="T8" fmla="*/ 154 w 2430"/>
                <a:gd name="T9" fmla="*/ 149 h 2040"/>
                <a:gd name="T10" fmla="*/ 144 w 2430"/>
                <a:gd name="T11" fmla="*/ 147 h 2040"/>
                <a:gd name="T12" fmla="*/ 133 w 2430"/>
                <a:gd name="T13" fmla="*/ 146 h 2040"/>
                <a:gd name="T14" fmla="*/ 121 w 2430"/>
                <a:gd name="T15" fmla="*/ 145 h 2040"/>
                <a:gd name="T16" fmla="*/ 110 w 2430"/>
                <a:gd name="T17" fmla="*/ 137 h 2040"/>
                <a:gd name="T18" fmla="*/ 97 w 2430"/>
                <a:gd name="T19" fmla="*/ 131 h 2040"/>
                <a:gd name="T20" fmla="*/ 87 w 2430"/>
                <a:gd name="T21" fmla="*/ 125 h 2040"/>
                <a:gd name="T22" fmla="*/ 75 w 2430"/>
                <a:gd name="T23" fmla="*/ 122 h 2040"/>
                <a:gd name="T24" fmla="*/ 65 w 2430"/>
                <a:gd name="T25" fmla="*/ 122 h 2040"/>
                <a:gd name="T26" fmla="*/ 59 w 2430"/>
                <a:gd name="T27" fmla="*/ 115 h 2040"/>
                <a:gd name="T28" fmla="*/ 50 w 2430"/>
                <a:gd name="T29" fmla="*/ 107 h 2040"/>
                <a:gd name="T30" fmla="*/ 28 w 2430"/>
                <a:gd name="T31" fmla="*/ 84 h 2040"/>
                <a:gd name="T32" fmla="*/ 22 w 2430"/>
                <a:gd name="T33" fmla="*/ 82 h 2040"/>
                <a:gd name="T34" fmla="*/ 20 w 2430"/>
                <a:gd name="T35" fmla="*/ 79 h 2040"/>
                <a:gd name="T36" fmla="*/ 16 w 2430"/>
                <a:gd name="T37" fmla="*/ 76 h 2040"/>
                <a:gd name="T38" fmla="*/ 11 w 2430"/>
                <a:gd name="T39" fmla="*/ 74 h 2040"/>
                <a:gd name="T40" fmla="*/ 7 w 2430"/>
                <a:gd name="T41" fmla="*/ 69 h 2040"/>
                <a:gd name="T42" fmla="*/ 0 w 2430"/>
                <a:gd name="T43" fmla="*/ 60 h 2040"/>
                <a:gd name="T44" fmla="*/ 10 w 2430"/>
                <a:gd name="T45" fmla="*/ 53 h 2040"/>
                <a:gd name="T46" fmla="*/ 15 w 2430"/>
                <a:gd name="T47" fmla="*/ 40 h 2040"/>
                <a:gd name="T48" fmla="*/ 9 w 2430"/>
                <a:gd name="T49" fmla="*/ 29 h 2040"/>
                <a:gd name="T50" fmla="*/ 7 w 2430"/>
                <a:gd name="T51" fmla="*/ 16 h 2040"/>
                <a:gd name="T52" fmla="*/ 18 w 2430"/>
                <a:gd name="T53" fmla="*/ 21 h 2040"/>
                <a:gd name="T54" fmla="*/ 48 w 2430"/>
                <a:gd name="T55" fmla="*/ 27 h 2040"/>
                <a:gd name="T56" fmla="*/ 62 w 2430"/>
                <a:gd name="T57" fmla="*/ 25 h 2040"/>
                <a:gd name="T58" fmla="*/ 59 w 2430"/>
                <a:gd name="T59" fmla="*/ 42 h 2040"/>
                <a:gd name="T60" fmla="*/ 54 w 2430"/>
                <a:gd name="T61" fmla="*/ 65 h 2040"/>
                <a:gd name="T62" fmla="*/ 65 w 2430"/>
                <a:gd name="T63" fmla="*/ 60 h 2040"/>
                <a:gd name="T64" fmla="*/ 68 w 2430"/>
                <a:gd name="T65" fmla="*/ 40 h 2040"/>
                <a:gd name="T66" fmla="*/ 75 w 2430"/>
                <a:gd name="T67" fmla="*/ 36 h 2040"/>
                <a:gd name="T68" fmla="*/ 83 w 2430"/>
                <a:gd name="T69" fmla="*/ 29 h 2040"/>
                <a:gd name="T70" fmla="*/ 81 w 2430"/>
                <a:gd name="T71" fmla="*/ 17 h 2040"/>
                <a:gd name="T72" fmla="*/ 66 w 2430"/>
                <a:gd name="T73" fmla="*/ 7 h 2040"/>
                <a:gd name="T74" fmla="*/ 80 w 2430"/>
                <a:gd name="T75" fmla="*/ 5 h 2040"/>
                <a:gd name="T76" fmla="*/ 89 w 2430"/>
                <a:gd name="T77" fmla="*/ 1 h 2040"/>
                <a:gd name="T78" fmla="*/ 101 w 2430"/>
                <a:gd name="T79" fmla="*/ 10 h 2040"/>
                <a:gd name="T80" fmla="*/ 103 w 2430"/>
                <a:gd name="T81" fmla="*/ 18 h 2040"/>
                <a:gd name="T82" fmla="*/ 110 w 2430"/>
                <a:gd name="T83" fmla="*/ 23 h 2040"/>
                <a:gd name="T84" fmla="*/ 121 w 2430"/>
                <a:gd name="T85" fmla="*/ 20 h 2040"/>
                <a:gd name="T86" fmla="*/ 129 w 2430"/>
                <a:gd name="T87" fmla="*/ 15 h 2040"/>
                <a:gd name="T88" fmla="*/ 142 w 2430"/>
                <a:gd name="T89" fmla="*/ 23 h 2040"/>
                <a:gd name="T90" fmla="*/ 141 w 2430"/>
                <a:gd name="T91" fmla="*/ 30 h 2040"/>
                <a:gd name="T92" fmla="*/ 140 w 2430"/>
                <a:gd name="T93" fmla="*/ 38 h 2040"/>
                <a:gd name="T94" fmla="*/ 139 w 2430"/>
                <a:gd name="T95" fmla="*/ 46 h 2040"/>
                <a:gd name="T96" fmla="*/ 147 w 2430"/>
                <a:gd name="T97" fmla="*/ 54 h 2040"/>
                <a:gd name="T98" fmla="*/ 152 w 2430"/>
                <a:gd name="T99" fmla="*/ 50 h 2040"/>
                <a:gd name="T100" fmla="*/ 159 w 2430"/>
                <a:gd name="T101" fmla="*/ 43 h 2040"/>
                <a:gd name="T102" fmla="*/ 174 w 2430"/>
                <a:gd name="T103" fmla="*/ 41 h 2040"/>
                <a:gd name="T104" fmla="*/ 190 w 2430"/>
                <a:gd name="T105" fmla="*/ 57 h 2040"/>
                <a:gd name="T106" fmla="*/ 187 w 2430"/>
                <a:gd name="T107" fmla="*/ 66 h 2040"/>
                <a:gd name="T108" fmla="*/ 183 w 2430"/>
                <a:gd name="T109" fmla="*/ 72 h 2040"/>
                <a:gd name="T110" fmla="*/ 194 w 2430"/>
                <a:gd name="T111" fmla="*/ 73 h 2040"/>
                <a:gd name="T112" fmla="*/ 202 w 2430"/>
                <a:gd name="T113" fmla="*/ 74 h 2040"/>
                <a:gd name="T114" fmla="*/ 204 w 2430"/>
                <a:gd name="T115" fmla="*/ 89 h 2040"/>
                <a:gd name="T116" fmla="*/ 208 w 2430"/>
                <a:gd name="T117" fmla="*/ 99 h 2040"/>
                <a:gd name="T118" fmla="*/ 203 w 2430"/>
                <a:gd name="T119" fmla="*/ 103 h 2040"/>
                <a:gd name="T120" fmla="*/ 209 w 2430"/>
                <a:gd name="T121" fmla="*/ 111 h 2040"/>
                <a:gd name="T122" fmla="*/ 204 w 2430"/>
                <a:gd name="T123" fmla="*/ 124 h 2040"/>
                <a:gd name="T124" fmla="*/ 190 w 2430"/>
                <a:gd name="T125" fmla="*/ 117 h 20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30"/>
                <a:gd name="T190" fmla="*/ 0 h 2040"/>
                <a:gd name="T191" fmla="*/ 2430 w 2430"/>
                <a:gd name="T192" fmla="*/ 2040 h 20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30" h="2040">
                  <a:moveTo>
                    <a:pt x="2076" y="1896"/>
                  </a:moveTo>
                  <a:lnTo>
                    <a:pt x="2070" y="1896"/>
                  </a:lnTo>
                  <a:lnTo>
                    <a:pt x="2070" y="1902"/>
                  </a:lnTo>
                  <a:lnTo>
                    <a:pt x="2076" y="1902"/>
                  </a:lnTo>
                  <a:lnTo>
                    <a:pt x="2082" y="1902"/>
                  </a:lnTo>
                  <a:lnTo>
                    <a:pt x="2082" y="1908"/>
                  </a:lnTo>
                  <a:lnTo>
                    <a:pt x="2076" y="1908"/>
                  </a:lnTo>
                  <a:lnTo>
                    <a:pt x="2076" y="1914"/>
                  </a:lnTo>
                  <a:lnTo>
                    <a:pt x="2070" y="1920"/>
                  </a:lnTo>
                  <a:lnTo>
                    <a:pt x="2064" y="1932"/>
                  </a:lnTo>
                  <a:lnTo>
                    <a:pt x="2064" y="1938"/>
                  </a:lnTo>
                  <a:lnTo>
                    <a:pt x="2058" y="1938"/>
                  </a:lnTo>
                  <a:lnTo>
                    <a:pt x="2052" y="1944"/>
                  </a:lnTo>
                  <a:lnTo>
                    <a:pt x="2052" y="1950"/>
                  </a:lnTo>
                  <a:lnTo>
                    <a:pt x="2040" y="1944"/>
                  </a:lnTo>
                  <a:lnTo>
                    <a:pt x="2040" y="1950"/>
                  </a:lnTo>
                  <a:lnTo>
                    <a:pt x="2034" y="1956"/>
                  </a:lnTo>
                  <a:lnTo>
                    <a:pt x="2034" y="1962"/>
                  </a:lnTo>
                  <a:lnTo>
                    <a:pt x="2028" y="1962"/>
                  </a:lnTo>
                  <a:lnTo>
                    <a:pt x="2022" y="1962"/>
                  </a:lnTo>
                  <a:lnTo>
                    <a:pt x="2022" y="1968"/>
                  </a:lnTo>
                  <a:lnTo>
                    <a:pt x="2028" y="1974"/>
                  </a:lnTo>
                  <a:lnTo>
                    <a:pt x="2034" y="1980"/>
                  </a:lnTo>
                  <a:lnTo>
                    <a:pt x="2028" y="1986"/>
                  </a:lnTo>
                  <a:lnTo>
                    <a:pt x="2022" y="1992"/>
                  </a:lnTo>
                  <a:lnTo>
                    <a:pt x="2022" y="1986"/>
                  </a:lnTo>
                  <a:lnTo>
                    <a:pt x="2016" y="1986"/>
                  </a:lnTo>
                  <a:lnTo>
                    <a:pt x="2010" y="1980"/>
                  </a:lnTo>
                  <a:lnTo>
                    <a:pt x="2004" y="1980"/>
                  </a:lnTo>
                  <a:lnTo>
                    <a:pt x="2004" y="1986"/>
                  </a:lnTo>
                  <a:lnTo>
                    <a:pt x="2010" y="1992"/>
                  </a:lnTo>
                  <a:lnTo>
                    <a:pt x="2010" y="1998"/>
                  </a:lnTo>
                  <a:lnTo>
                    <a:pt x="2004" y="2004"/>
                  </a:lnTo>
                  <a:lnTo>
                    <a:pt x="1998" y="2004"/>
                  </a:lnTo>
                  <a:lnTo>
                    <a:pt x="1998" y="2022"/>
                  </a:lnTo>
                  <a:lnTo>
                    <a:pt x="1998" y="2028"/>
                  </a:lnTo>
                  <a:lnTo>
                    <a:pt x="1992" y="2034"/>
                  </a:lnTo>
                  <a:lnTo>
                    <a:pt x="1992" y="2040"/>
                  </a:lnTo>
                  <a:lnTo>
                    <a:pt x="1986" y="2040"/>
                  </a:lnTo>
                  <a:lnTo>
                    <a:pt x="1986" y="2034"/>
                  </a:lnTo>
                  <a:lnTo>
                    <a:pt x="1980" y="2028"/>
                  </a:lnTo>
                  <a:lnTo>
                    <a:pt x="1980" y="2022"/>
                  </a:lnTo>
                  <a:lnTo>
                    <a:pt x="1968" y="2016"/>
                  </a:lnTo>
                  <a:lnTo>
                    <a:pt x="1962" y="2010"/>
                  </a:lnTo>
                  <a:lnTo>
                    <a:pt x="1956" y="2004"/>
                  </a:lnTo>
                  <a:lnTo>
                    <a:pt x="1950" y="1992"/>
                  </a:lnTo>
                  <a:lnTo>
                    <a:pt x="1950" y="1986"/>
                  </a:lnTo>
                  <a:lnTo>
                    <a:pt x="1950" y="1974"/>
                  </a:lnTo>
                  <a:lnTo>
                    <a:pt x="1944" y="1974"/>
                  </a:lnTo>
                  <a:lnTo>
                    <a:pt x="1932" y="1962"/>
                  </a:lnTo>
                  <a:lnTo>
                    <a:pt x="1932" y="1956"/>
                  </a:lnTo>
                  <a:lnTo>
                    <a:pt x="1932" y="1950"/>
                  </a:lnTo>
                  <a:lnTo>
                    <a:pt x="1920" y="1944"/>
                  </a:lnTo>
                  <a:lnTo>
                    <a:pt x="1914" y="1944"/>
                  </a:lnTo>
                  <a:lnTo>
                    <a:pt x="1908" y="1938"/>
                  </a:lnTo>
                  <a:lnTo>
                    <a:pt x="1902" y="1926"/>
                  </a:lnTo>
                  <a:lnTo>
                    <a:pt x="1890" y="1914"/>
                  </a:lnTo>
                  <a:lnTo>
                    <a:pt x="1884" y="1914"/>
                  </a:lnTo>
                  <a:lnTo>
                    <a:pt x="1878" y="1908"/>
                  </a:lnTo>
                  <a:lnTo>
                    <a:pt x="1872" y="1902"/>
                  </a:lnTo>
                  <a:lnTo>
                    <a:pt x="1872" y="1896"/>
                  </a:lnTo>
                  <a:lnTo>
                    <a:pt x="1866" y="1890"/>
                  </a:lnTo>
                  <a:lnTo>
                    <a:pt x="1854" y="1884"/>
                  </a:lnTo>
                  <a:lnTo>
                    <a:pt x="1848" y="1884"/>
                  </a:lnTo>
                  <a:lnTo>
                    <a:pt x="1842" y="1872"/>
                  </a:lnTo>
                  <a:lnTo>
                    <a:pt x="1836" y="1872"/>
                  </a:lnTo>
                  <a:lnTo>
                    <a:pt x="1830" y="1866"/>
                  </a:lnTo>
                  <a:lnTo>
                    <a:pt x="1830" y="1854"/>
                  </a:lnTo>
                  <a:lnTo>
                    <a:pt x="1824" y="1848"/>
                  </a:lnTo>
                  <a:lnTo>
                    <a:pt x="1818" y="1830"/>
                  </a:lnTo>
                  <a:lnTo>
                    <a:pt x="1818" y="1818"/>
                  </a:lnTo>
                  <a:lnTo>
                    <a:pt x="1812" y="1800"/>
                  </a:lnTo>
                  <a:lnTo>
                    <a:pt x="1812" y="1788"/>
                  </a:lnTo>
                  <a:lnTo>
                    <a:pt x="1806" y="1776"/>
                  </a:lnTo>
                  <a:lnTo>
                    <a:pt x="1800" y="1764"/>
                  </a:lnTo>
                  <a:lnTo>
                    <a:pt x="1794" y="1758"/>
                  </a:lnTo>
                  <a:lnTo>
                    <a:pt x="1782" y="1740"/>
                  </a:lnTo>
                  <a:lnTo>
                    <a:pt x="1776" y="1728"/>
                  </a:lnTo>
                  <a:lnTo>
                    <a:pt x="1776" y="1722"/>
                  </a:lnTo>
                  <a:lnTo>
                    <a:pt x="1770" y="1722"/>
                  </a:lnTo>
                  <a:lnTo>
                    <a:pt x="1770" y="1716"/>
                  </a:lnTo>
                  <a:lnTo>
                    <a:pt x="1764" y="1716"/>
                  </a:lnTo>
                  <a:lnTo>
                    <a:pt x="1758" y="1710"/>
                  </a:lnTo>
                  <a:lnTo>
                    <a:pt x="1752" y="1704"/>
                  </a:lnTo>
                  <a:lnTo>
                    <a:pt x="1746" y="1704"/>
                  </a:lnTo>
                  <a:lnTo>
                    <a:pt x="1740" y="1704"/>
                  </a:lnTo>
                  <a:lnTo>
                    <a:pt x="1734" y="1704"/>
                  </a:lnTo>
                  <a:lnTo>
                    <a:pt x="1734" y="1698"/>
                  </a:lnTo>
                  <a:lnTo>
                    <a:pt x="1728" y="1692"/>
                  </a:lnTo>
                  <a:lnTo>
                    <a:pt x="1722" y="1686"/>
                  </a:lnTo>
                  <a:lnTo>
                    <a:pt x="1716" y="1686"/>
                  </a:lnTo>
                  <a:lnTo>
                    <a:pt x="1698" y="1686"/>
                  </a:lnTo>
                  <a:lnTo>
                    <a:pt x="1692" y="1692"/>
                  </a:lnTo>
                  <a:lnTo>
                    <a:pt x="1680" y="1692"/>
                  </a:lnTo>
                  <a:lnTo>
                    <a:pt x="1668" y="1692"/>
                  </a:lnTo>
                  <a:lnTo>
                    <a:pt x="1662" y="1692"/>
                  </a:lnTo>
                  <a:lnTo>
                    <a:pt x="1656" y="1692"/>
                  </a:lnTo>
                  <a:lnTo>
                    <a:pt x="1650" y="1698"/>
                  </a:lnTo>
                  <a:lnTo>
                    <a:pt x="1644" y="1698"/>
                  </a:lnTo>
                  <a:lnTo>
                    <a:pt x="1638" y="1698"/>
                  </a:lnTo>
                  <a:lnTo>
                    <a:pt x="1632" y="1698"/>
                  </a:lnTo>
                  <a:lnTo>
                    <a:pt x="1632" y="1692"/>
                  </a:lnTo>
                  <a:lnTo>
                    <a:pt x="1620" y="1680"/>
                  </a:lnTo>
                  <a:lnTo>
                    <a:pt x="1614" y="1680"/>
                  </a:lnTo>
                  <a:lnTo>
                    <a:pt x="1608" y="1680"/>
                  </a:lnTo>
                  <a:lnTo>
                    <a:pt x="1602" y="1680"/>
                  </a:lnTo>
                  <a:lnTo>
                    <a:pt x="1596" y="1674"/>
                  </a:lnTo>
                  <a:lnTo>
                    <a:pt x="1584" y="1674"/>
                  </a:lnTo>
                  <a:lnTo>
                    <a:pt x="1572" y="1674"/>
                  </a:lnTo>
                  <a:lnTo>
                    <a:pt x="1560" y="1674"/>
                  </a:lnTo>
                  <a:lnTo>
                    <a:pt x="1542" y="1680"/>
                  </a:lnTo>
                  <a:lnTo>
                    <a:pt x="1530" y="1680"/>
                  </a:lnTo>
                  <a:lnTo>
                    <a:pt x="1530" y="1674"/>
                  </a:lnTo>
                  <a:lnTo>
                    <a:pt x="1524" y="1674"/>
                  </a:lnTo>
                  <a:lnTo>
                    <a:pt x="1518" y="1674"/>
                  </a:lnTo>
                  <a:lnTo>
                    <a:pt x="1512" y="1674"/>
                  </a:lnTo>
                  <a:lnTo>
                    <a:pt x="1506" y="1674"/>
                  </a:lnTo>
                  <a:lnTo>
                    <a:pt x="1500" y="1680"/>
                  </a:lnTo>
                  <a:lnTo>
                    <a:pt x="1488" y="1680"/>
                  </a:lnTo>
                  <a:lnTo>
                    <a:pt x="1482" y="1674"/>
                  </a:lnTo>
                  <a:lnTo>
                    <a:pt x="1476" y="1674"/>
                  </a:lnTo>
                  <a:lnTo>
                    <a:pt x="1464" y="1674"/>
                  </a:lnTo>
                  <a:lnTo>
                    <a:pt x="1452" y="1680"/>
                  </a:lnTo>
                  <a:lnTo>
                    <a:pt x="1434" y="1680"/>
                  </a:lnTo>
                  <a:lnTo>
                    <a:pt x="1422" y="1680"/>
                  </a:lnTo>
                  <a:lnTo>
                    <a:pt x="1416" y="1680"/>
                  </a:lnTo>
                  <a:lnTo>
                    <a:pt x="1404" y="1674"/>
                  </a:lnTo>
                  <a:lnTo>
                    <a:pt x="1398" y="1674"/>
                  </a:lnTo>
                  <a:lnTo>
                    <a:pt x="1392" y="1662"/>
                  </a:lnTo>
                  <a:lnTo>
                    <a:pt x="1380" y="1644"/>
                  </a:lnTo>
                  <a:lnTo>
                    <a:pt x="1374" y="1632"/>
                  </a:lnTo>
                  <a:lnTo>
                    <a:pt x="1362" y="1626"/>
                  </a:lnTo>
                  <a:lnTo>
                    <a:pt x="1356" y="1620"/>
                  </a:lnTo>
                  <a:lnTo>
                    <a:pt x="1350" y="1626"/>
                  </a:lnTo>
                  <a:lnTo>
                    <a:pt x="1338" y="1626"/>
                  </a:lnTo>
                  <a:lnTo>
                    <a:pt x="1326" y="1626"/>
                  </a:lnTo>
                  <a:lnTo>
                    <a:pt x="1314" y="1620"/>
                  </a:lnTo>
                  <a:lnTo>
                    <a:pt x="1308" y="1614"/>
                  </a:lnTo>
                  <a:lnTo>
                    <a:pt x="1302" y="1608"/>
                  </a:lnTo>
                  <a:lnTo>
                    <a:pt x="1296" y="1602"/>
                  </a:lnTo>
                  <a:lnTo>
                    <a:pt x="1290" y="1602"/>
                  </a:lnTo>
                  <a:lnTo>
                    <a:pt x="1290" y="1596"/>
                  </a:lnTo>
                  <a:lnTo>
                    <a:pt x="1284" y="1590"/>
                  </a:lnTo>
                  <a:lnTo>
                    <a:pt x="1272" y="1584"/>
                  </a:lnTo>
                  <a:lnTo>
                    <a:pt x="1254" y="1572"/>
                  </a:lnTo>
                  <a:lnTo>
                    <a:pt x="1236" y="1554"/>
                  </a:lnTo>
                  <a:lnTo>
                    <a:pt x="1230" y="1554"/>
                  </a:lnTo>
                  <a:lnTo>
                    <a:pt x="1224" y="1554"/>
                  </a:lnTo>
                  <a:lnTo>
                    <a:pt x="1212" y="1554"/>
                  </a:lnTo>
                  <a:lnTo>
                    <a:pt x="1194" y="1542"/>
                  </a:lnTo>
                  <a:lnTo>
                    <a:pt x="1188" y="1536"/>
                  </a:lnTo>
                  <a:lnTo>
                    <a:pt x="1182" y="1530"/>
                  </a:lnTo>
                  <a:lnTo>
                    <a:pt x="1176" y="1530"/>
                  </a:lnTo>
                  <a:lnTo>
                    <a:pt x="1170" y="1530"/>
                  </a:lnTo>
                  <a:lnTo>
                    <a:pt x="1158" y="1524"/>
                  </a:lnTo>
                  <a:lnTo>
                    <a:pt x="1152" y="1524"/>
                  </a:lnTo>
                  <a:lnTo>
                    <a:pt x="1140" y="1518"/>
                  </a:lnTo>
                  <a:lnTo>
                    <a:pt x="1128" y="1518"/>
                  </a:lnTo>
                  <a:lnTo>
                    <a:pt x="1122" y="1518"/>
                  </a:lnTo>
                  <a:lnTo>
                    <a:pt x="1116" y="1518"/>
                  </a:lnTo>
                  <a:lnTo>
                    <a:pt x="1104" y="1518"/>
                  </a:lnTo>
                  <a:lnTo>
                    <a:pt x="1092" y="1518"/>
                  </a:lnTo>
                  <a:lnTo>
                    <a:pt x="1080" y="1518"/>
                  </a:lnTo>
                  <a:lnTo>
                    <a:pt x="1068" y="1518"/>
                  </a:lnTo>
                  <a:lnTo>
                    <a:pt x="1062" y="1518"/>
                  </a:lnTo>
                  <a:lnTo>
                    <a:pt x="1056" y="1518"/>
                  </a:lnTo>
                  <a:lnTo>
                    <a:pt x="1050" y="1512"/>
                  </a:lnTo>
                  <a:lnTo>
                    <a:pt x="1044" y="1512"/>
                  </a:lnTo>
                  <a:lnTo>
                    <a:pt x="1038" y="1512"/>
                  </a:lnTo>
                  <a:lnTo>
                    <a:pt x="1032" y="1506"/>
                  </a:lnTo>
                  <a:lnTo>
                    <a:pt x="1026" y="1500"/>
                  </a:lnTo>
                  <a:lnTo>
                    <a:pt x="1026" y="1494"/>
                  </a:lnTo>
                  <a:lnTo>
                    <a:pt x="1020" y="1476"/>
                  </a:lnTo>
                  <a:lnTo>
                    <a:pt x="1008" y="1464"/>
                  </a:lnTo>
                  <a:lnTo>
                    <a:pt x="1008" y="1458"/>
                  </a:lnTo>
                  <a:lnTo>
                    <a:pt x="1002" y="1446"/>
                  </a:lnTo>
                  <a:lnTo>
                    <a:pt x="996" y="1446"/>
                  </a:lnTo>
                  <a:lnTo>
                    <a:pt x="990" y="1440"/>
                  </a:lnTo>
                  <a:lnTo>
                    <a:pt x="984" y="1434"/>
                  </a:lnTo>
                  <a:lnTo>
                    <a:pt x="978" y="1434"/>
                  </a:lnTo>
                  <a:lnTo>
                    <a:pt x="972" y="1434"/>
                  </a:lnTo>
                  <a:lnTo>
                    <a:pt x="966" y="1428"/>
                  </a:lnTo>
                  <a:lnTo>
                    <a:pt x="954" y="1422"/>
                  </a:lnTo>
                  <a:lnTo>
                    <a:pt x="942" y="1416"/>
                  </a:lnTo>
                  <a:lnTo>
                    <a:pt x="924" y="1398"/>
                  </a:lnTo>
                  <a:lnTo>
                    <a:pt x="912" y="1386"/>
                  </a:lnTo>
                  <a:lnTo>
                    <a:pt x="900" y="1386"/>
                  </a:lnTo>
                  <a:lnTo>
                    <a:pt x="894" y="1386"/>
                  </a:lnTo>
                  <a:lnTo>
                    <a:pt x="882" y="1392"/>
                  </a:lnTo>
                  <a:lnTo>
                    <a:pt x="876" y="1392"/>
                  </a:lnTo>
                  <a:lnTo>
                    <a:pt x="864" y="1398"/>
                  </a:lnTo>
                  <a:lnTo>
                    <a:pt x="864" y="1404"/>
                  </a:lnTo>
                  <a:lnTo>
                    <a:pt x="858" y="1410"/>
                  </a:lnTo>
                  <a:lnTo>
                    <a:pt x="852" y="1410"/>
                  </a:lnTo>
                  <a:lnTo>
                    <a:pt x="846" y="1410"/>
                  </a:lnTo>
                  <a:lnTo>
                    <a:pt x="834" y="1410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10" y="1428"/>
                  </a:lnTo>
                  <a:lnTo>
                    <a:pt x="798" y="1428"/>
                  </a:lnTo>
                  <a:lnTo>
                    <a:pt x="792" y="1428"/>
                  </a:lnTo>
                  <a:lnTo>
                    <a:pt x="780" y="1434"/>
                  </a:lnTo>
                  <a:lnTo>
                    <a:pt x="774" y="1428"/>
                  </a:lnTo>
                  <a:lnTo>
                    <a:pt x="762" y="1428"/>
                  </a:lnTo>
                  <a:lnTo>
                    <a:pt x="756" y="1422"/>
                  </a:lnTo>
                  <a:lnTo>
                    <a:pt x="750" y="1416"/>
                  </a:lnTo>
                  <a:lnTo>
                    <a:pt x="744" y="1410"/>
                  </a:lnTo>
                  <a:lnTo>
                    <a:pt x="744" y="1398"/>
                  </a:lnTo>
                  <a:lnTo>
                    <a:pt x="744" y="1386"/>
                  </a:lnTo>
                  <a:lnTo>
                    <a:pt x="750" y="1380"/>
                  </a:lnTo>
                  <a:lnTo>
                    <a:pt x="750" y="1374"/>
                  </a:lnTo>
                  <a:lnTo>
                    <a:pt x="750" y="1368"/>
                  </a:lnTo>
                  <a:lnTo>
                    <a:pt x="756" y="1362"/>
                  </a:lnTo>
                  <a:lnTo>
                    <a:pt x="750" y="1350"/>
                  </a:lnTo>
                  <a:lnTo>
                    <a:pt x="744" y="1344"/>
                  </a:lnTo>
                  <a:lnTo>
                    <a:pt x="738" y="1338"/>
                  </a:lnTo>
                  <a:lnTo>
                    <a:pt x="726" y="1338"/>
                  </a:lnTo>
                  <a:lnTo>
                    <a:pt x="720" y="1338"/>
                  </a:lnTo>
                  <a:lnTo>
                    <a:pt x="714" y="1338"/>
                  </a:lnTo>
                  <a:lnTo>
                    <a:pt x="708" y="1332"/>
                  </a:lnTo>
                  <a:lnTo>
                    <a:pt x="702" y="1332"/>
                  </a:lnTo>
                  <a:lnTo>
                    <a:pt x="696" y="1326"/>
                  </a:lnTo>
                  <a:lnTo>
                    <a:pt x="684" y="1326"/>
                  </a:lnTo>
                  <a:lnTo>
                    <a:pt x="678" y="1326"/>
                  </a:lnTo>
                  <a:lnTo>
                    <a:pt x="672" y="1314"/>
                  </a:lnTo>
                  <a:lnTo>
                    <a:pt x="666" y="1308"/>
                  </a:lnTo>
                  <a:lnTo>
                    <a:pt x="654" y="1296"/>
                  </a:lnTo>
                  <a:lnTo>
                    <a:pt x="654" y="1290"/>
                  </a:lnTo>
                  <a:lnTo>
                    <a:pt x="630" y="1284"/>
                  </a:lnTo>
                  <a:lnTo>
                    <a:pt x="630" y="1278"/>
                  </a:lnTo>
                  <a:lnTo>
                    <a:pt x="624" y="1278"/>
                  </a:lnTo>
                  <a:lnTo>
                    <a:pt x="618" y="1266"/>
                  </a:lnTo>
                  <a:lnTo>
                    <a:pt x="612" y="1266"/>
                  </a:lnTo>
                  <a:lnTo>
                    <a:pt x="606" y="1266"/>
                  </a:lnTo>
                  <a:lnTo>
                    <a:pt x="606" y="1260"/>
                  </a:lnTo>
                  <a:lnTo>
                    <a:pt x="594" y="1248"/>
                  </a:lnTo>
                  <a:lnTo>
                    <a:pt x="582" y="1248"/>
                  </a:lnTo>
                  <a:lnTo>
                    <a:pt x="576" y="1242"/>
                  </a:lnTo>
                  <a:lnTo>
                    <a:pt x="570" y="1236"/>
                  </a:lnTo>
                  <a:lnTo>
                    <a:pt x="504" y="1164"/>
                  </a:lnTo>
                  <a:lnTo>
                    <a:pt x="450" y="1110"/>
                  </a:lnTo>
                  <a:lnTo>
                    <a:pt x="426" y="1092"/>
                  </a:lnTo>
                  <a:lnTo>
                    <a:pt x="426" y="1074"/>
                  </a:lnTo>
                  <a:lnTo>
                    <a:pt x="420" y="1062"/>
                  </a:lnTo>
                  <a:lnTo>
                    <a:pt x="396" y="1056"/>
                  </a:lnTo>
                  <a:lnTo>
                    <a:pt x="384" y="1032"/>
                  </a:lnTo>
                  <a:lnTo>
                    <a:pt x="372" y="1020"/>
                  </a:lnTo>
                  <a:lnTo>
                    <a:pt x="360" y="984"/>
                  </a:lnTo>
                  <a:lnTo>
                    <a:pt x="348" y="978"/>
                  </a:lnTo>
                  <a:lnTo>
                    <a:pt x="342" y="972"/>
                  </a:lnTo>
                  <a:lnTo>
                    <a:pt x="348" y="960"/>
                  </a:lnTo>
                  <a:lnTo>
                    <a:pt x="342" y="954"/>
                  </a:lnTo>
                  <a:lnTo>
                    <a:pt x="336" y="954"/>
                  </a:lnTo>
                  <a:lnTo>
                    <a:pt x="330" y="954"/>
                  </a:lnTo>
                  <a:lnTo>
                    <a:pt x="324" y="972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0" y="966"/>
                  </a:lnTo>
                  <a:lnTo>
                    <a:pt x="294" y="966"/>
                  </a:lnTo>
                  <a:lnTo>
                    <a:pt x="288" y="972"/>
                  </a:lnTo>
                  <a:lnTo>
                    <a:pt x="288" y="966"/>
                  </a:lnTo>
                  <a:lnTo>
                    <a:pt x="282" y="948"/>
                  </a:lnTo>
                  <a:lnTo>
                    <a:pt x="282" y="942"/>
                  </a:lnTo>
                  <a:lnTo>
                    <a:pt x="276" y="942"/>
                  </a:lnTo>
                  <a:lnTo>
                    <a:pt x="276" y="936"/>
                  </a:lnTo>
                  <a:lnTo>
                    <a:pt x="270" y="942"/>
                  </a:lnTo>
                  <a:lnTo>
                    <a:pt x="264" y="948"/>
                  </a:lnTo>
                  <a:lnTo>
                    <a:pt x="264" y="942"/>
                  </a:lnTo>
                  <a:lnTo>
                    <a:pt x="258" y="942"/>
                  </a:lnTo>
                  <a:lnTo>
                    <a:pt x="252" y="948"/>
                  </a:lnTo>
                  <a:lnTo>
                    <a:pt x="252" y="942"/>
                  </a:lnTo>
                  <a:lnTo>
                    <a:pt x="246" y="936"/>
                  </a:lnTo>
                  <a:lnTo>
                    <a:pt x="240" y="942"/>
                  </a:lnTo>
                  <a:lnTo>
                    <a:pt x="234" y="936"/>
                  </a:lnTo>
                  <a:lnTo>
                    <a:pt x="228" y="936"/>
                  </a:lnTo>
                  <a:lnTo>
                    <a:pt x="222" y="936"/>
                  </a:lnTo>
                  <a:lnTo>
                    <a:pt x="222" y="930"/>
                  </a:lnTo>
                  <a:lnTo>
                    <a:pt x="222" y="924"/>
                  </a:lnTo>
                  <a:lnTo>
                    <a:pt x="228" y="924"/>
                  </a:lnTo>
                  <a:lnTo>
                    <a:pt x="234" y="924"/>
                  </a:lnTo>
                  <a:lnTo>
                    <a:pt x="240" y="924"/>
                  </a:lnTo>
                  <a:lnTo>
                    <a:pt x="240" y="918"/>
                  </a:lnTo>
                  <a:lnTo>
                    <a:pt x="246" y="918"/>
                  </a:lnTo>
                  <a:lnTo>
                    <a:pt x="246" y="912"/>
                  </a:lnTo>
                  <a:lnTo>
                    <a:pt x="240" y="906"/>
                  </a:lnTo>
                  <a:lnTo>
                    <a:pt x="234" y="906"/>
                  </a:lnTo>
                  <a:lnTo>
                    <a:pt x="228" y="906"/>
                  </a:lnTo>
                  <a:lnTo>
                    <a:pt x="228" y="912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8" y="894"/>
                  </a:lnTo>
                  <a:lnTo>
                    <a:pt x="234" y="894"/>
                  </a:lnTo>
                  <a:lnTo>
                    <a:pt x="228" y="888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198" y="888"/>
                  </a:lnTo>
                  <a:lnTo>
                    <a:pt x="192" y="882"/>
                  </a:lnTo>
                  <a:lnTo>
                    <a:pt x="186" y="882"/>
                  </a:lnTo>
                  <a:lnTo>
                    <a:pt x="186" y="876"/>
                  </a:lnTo>
                  <a:lnTo>
                    <a:pt x="192" y="876"/>
                  </a:lnTo>
                  <a:lnTo>
                    <a:pt x="192" y="870"/>
                  </a:lnTo>
                  <a:lnTo>
                    <a:pt x="198" y="870"/>
                  </a:lnTo>
                  <a:lnTo>
                    <a:pt x="198" y="864"/>
                  </a:lnTo>
                  <a:lnTo>
                    <a:pt x="198" y="858"/>
                  </a:lnTo>
                  <a:lnTo>
                    <a:pt x="180" y="852"/>
                  </a:lnTo>
                  <a:lnTo>
                    <a:pt x="174" y="840"/>
                  </a:lnTo>
                  <a:lnTo>
                    <a:pt x="162" y="846"/>
                  </a:lnTo>
                  <a:lnTo>
                    <a:pt x="156" y="846"/>
                  </a:lnTo>
                  <a:lnTo>
                    <a:pt x="150" y="846"/>
                  </a:lnTo>
                  <a:lnTo>
                    <a:pt x="150" y="840"/>
                  </a:lnTo>
                  <a:lnTo>
                    <a:pt x="138" y="834"/>
                  </a:lnTo>
                  <a:lnTo>
                    <a:pt x="132" y="834"/>
                  </a:lnTo>
                  <a:lnTo>
                    <a:pt x="132" y="840"/>
                  </a:lnTo>
                  <a:lnTo>
                    <a:pt x="126" y="840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58"/>
                  </a:lnTo>
                  <a:lnTo>
                    <a:pt x="120" y="846"/>
                  </a:lnTo>
                  <a:lnTo>
                    <a:pt x="114" y="846"/>
                  </a:lnTo>
                  <a:lnTo>
                    <a:pt x="108" y="840"/>
                  </a:lnTo>
                  <a:lnTo>
                    <a:pt x="102" y="834"/>
                  </a:lnTo>
                  <a:lnTo>
                    <a:pt x="102" y="822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78" y="804"/>
                  </a:lnTo>
                  <a:lnTo>
                    <a:pt x="78" y="798"/>
                  </a:lnTo>
                  <a:lnTo>
                    <a:pt x="78" y="792"/>
                  </a:lnTo>
                  <a:lnTo>
                    <a:pt x="78" y="786"/>
                  </a:lnTo>
                  <a:lnTo>
                    <a:pt x="78" y="780"/>
                  </a:lnTo>
                  <a:lnTo>
                    <a:pt x="72" y="774"/>
                  </a:lnTo>
                  <a:lnTo>
                    <a:pt x="66" y="774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60" y="762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6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2" y="666"/>
                  </a:lnTo>
                  <a:lnTo>
                    <a:pt x="18" y="648"/>
                  </a:lnTo>
                  <a:lnTo>
                    <a:pt x="24" y="636"/>
                  </a:lnTo>
                  <a:lnTo>
                    <a:pt x="30" y="630"/>
                  </a:lnTo>
                  <a:lnTo>
                    <a:pt x="30" y="624"/>
                  </a:lnTo>
                  <a:lnTo>
                    <a:pt x="30" y="612"/>
                  </a:lnTo>
                  <a:lnTo>
                    <a:pt x="30" y="606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66" y="582"/>
                  </a:lnTo>
                  <a:lnTo>
                    <a:pt x="72" y="588"/>
                  </a:lnTo>
                  <a:lnTo>
                    <a:pt x="84" y="594"/>
                  </a:lnTo>
                  <a:lnTo>
                    <a:pt x="90" y="600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14" y="612"/>
                  </a:lnTo>
                  <a:lnTo>
                    <a:pt x="120" y="612"/>
                  </a:lnTo>
                  <a:lnTo>
                    <a:pt x="126" y="618"/>
                  </a:lnTo>
                  <a:lnTo>
                    <a:pt x="138" y="594"/>
                  </a:lnTo>
                  <a:lnTo>
                    <a:pt x="138" y="582"/>
                  </a:lnTo>
                  <a:lnTo>
                    <a:pt x="138" y="570"/>
                  </a:lnTo>
                  <a:lnTo>
                    <a:pt x="138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50" y="528"/>
                  </a:lnTo>
                  <a:lnTo>
                    <a:pt x="156" y="510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62"/>
                  </a:lnTo>
                  <a:lnTo>
                    <a:pt x="168" y="450"/>
                  </a:lnTo>
                  <a:lnTo>
                    <a:pt x="168" y="444"/>
                  </a:lnTo>
                  <a:lnTo>
                    <a:pt x="162" y="432"/>
                  </a:lnTo>
                  <a:lnTo>
                    <a:pt x="162" y="426"/>
                  </a:lnTo>
                  <a:lnTo>
                    <a:pt x="156" y="420"/>
                  </a:lnTo>
                  <a:lnTo>
                    <a:pt x="144" y="414"/>
                  </a:lnTo>
                  <a:lnTo>
                    <a:pt x="132" y="402"/>
                  </a:lnTo>
                  <a:lnTo>
                    <a:pt x="126" y="390"/>
                  </a:lnTo>
                  <a:lnTo>
                    <a:pt x="120" y="384"/>
                  </a:lnTo>
                  <a:lnTo>
                    <a:pt x="120" y="372"/>
                  </a:lnTo>
                  <a:lnTo>
                    <a:pt x="114" y="360"/>
                  </a:lnTo>
                  <a:lnTo>
                    <a:pt x="108" y="360"/>
                  </a:lnTo>
                  <a:lnTo>
                    <a:pt x="108" y="354"/>
                  </a:lnTo>
                  <a:lnTo>
                    <a:pt x="102" y="348"/>
                  </a:lnTo>
                  <a:lnTo>
                    <a:pt x="102" y="342"/>
                  </a:lnTo>
                  <a:lnTo>
                    <a:pt x="108" y="330"/>
                  </a:lnTo>
                  <a:lnTo>
                    <a:pt x="114" y="312"/>
                  </a:lnTo>
                  <a:lnTo>
                    <a:pt x="114" y="300"/>
                  </a:lnTo>
                  <a:lnTo>
                    <a:pt x="120" y="288"/>
                  </a:lnTo>
                  <a:lnTo>
                    <a:pt x="120" y="282"/>
                  </a:lnTo>
                  <a:lnTo>
                    <a:pt x="114" y="270"/>
                  </a:lnTo>
                  <a:lnTo>
                    <a:pt x="114" y="258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84" y="222"/>
                  </a:lnTo>
                  <a:lnTo>
                    <a:pt x="84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84" y="186"/>
                  </a:lnTo>
                  <a:lnTo>
                    <a:pt x="84" y="180"/>
                  </a:lnTo>
                  <a:lnTo>
                    <a:pt x="108" y="174"/>
                  </a:lnTo>
                  <a:lnTo>
                    <a:pt x="132" y="186"/>
                  </a:lnTo>
                  <a:lnTo>
                    <a:pt x="138" y="192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56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74" y="204"/>
                  </a:lnTo>
                  <a:lnTo>
                    <a:pt x="180" y="216"/>
                  </a:lnTo>
                  <a:lnTo>
                    <a:pt x="186" y="228"/>
                  </a:lnTo>
                  <a:lnTo>
                    <a:pt x="192" y="234"/>
                  </a:lnTo>
                  <a:lnTo>
                    <a:pt x="198" y="234"/>
                  </a:lnTo>
                  <a:lnTo>
                    <a:pt x="204" y="240"/>
                  </a:lnTo>
                  <a:lnTo>
                    <a:pt x="210" y="240"/>
                  </a:lnTo>
                  <a:lnTo>
                    <a:pt x="216" y="240"/>
                  </a:lnTo>
                  <a:lnTo>
                    <a:pt x="222" y="240"/>
                  </a:lnTo>
                  <a:lnTo>
                    <a:pt x="228" y="246"/>
                  </a:lnTo>
                  <a:lnTo>
                    <a:pt x="234" y="246"/>
                  </a:lnTo>
                  <a:lnTo>
                    <a:pt x="240" y="246"/>
                  </a:lnTo>
                  <a:lnTo>
                    <a:pt x="252" y="252"/>
                  </a:lnTo>
                  <a:lnTo>
                    <a:pt x="330" y="246"/>
                  </a:lnTo>
                  <a:lnTo>
                    <a:pt x="360" y="228"/>
                  </a:lnTo>
                  <a:lnTo>
                    <a:pt x="396" y="228"/>
                  </a:lnTo>
                  <a:lnTo>
                    <a:pt x="402" y="240"/>
                  </a:lnTo>
                  <a:lnTo>
                    <a:pt x="432" y="240"/>
                  </a:lnTo>
                  <a:lnTo>
                    <a:pt x="450" y="258"/>
                  </a:lnTo>
                  <a:lnTo>
                    <a:pt x="468" y="258"/>
                  </a:lnTo>
                  <a:lnTo>
                    <a:pt x="474" y="294"/>
                  </a:lnTo>
                  <a:lnTo>
                    <a:pt x="558" y="318"/>
                  </a:lnTo>
                  <a:lnTo>
                    <a:pt x="588" y="318"/>
                  </a:lnTo>
                  <a:lnTo>
                    <a:pt x="588" y="312"/>
                  </a:lnTo>
                  <a:lnTo>
                    <a:pt x="594" y="306"/>
                  </a:lnTo>
                  <a:lnTo>
                    <a:pt x="600" y="306"/>
                  </a:lnTo>
                  <a:lnTo>
                    <a:pt x="612" y="300"/>
                  </a:lnTo>
                  <a:lnTo>
                    <a:pt x="618" y="300"/>
                  </a:lnTo>
                  <a:lnTo>
                    <a:pt x="630" y="300"/>
                  </a:lnTo>
                  <a:lnTo>
                    <a:pt x="642" y="306"/>
                  </a:lnTo>
                  <a:lnTo>
                    <a:pt x="660" y="306"/>
                  </a:lnTo>
                  <a:lnTo>
                    <a:pt x="666" y="306"/>
                  </a:lnTo>
                  <a:lnTo>
                    <a:pt x="672" y="306"/>
                  </a:lnTo>
                  <a:lnTo>
                    <a:pt x="684" y="300"/>
                  </a:lnTo>
                  <a:lnTo>
                    <a:pt x="696" y="294"/>
                  </a:lnTo>
                  <a:lnTo>
                    <a:pt x="702" y="288"/>
                  </a:lnTo>
                  <a:lnTo>
                    <a:pt x="714" y="282"/>
                  </a:lnTo>
                  <a:lnTo>
                    <a:pt x="714" y="288"/>
                  </a:lnTo>
                  <a:lnTo>
                    <a:pt x="726" y="300"/>
                  </a:lnTo>
                  <a:lnTo>
                    <a:pt x="732" y="306"/>
                  </a:lnTo>
                  <a:lnTo>
                    <a:pt x="732" y="318"/>
                  </a:lnTo>
                  <a:lnTo>
                    <a:pt x="732" y="330"/>
                  </a:lnTo>
                  <a:lnTo>
                    <a:pt x="726" y="342"/>
                  </a:lnTo>
                  <a:lnTo>
                    <a:pt x="720" y="354"/>
                  </a:lnTo>
                  <a:lnTo>
                    <a:pt x="720" y="360"/>
                  </a:lnTo>
                  <a:lnTo>
                    <a:pt x="714" y="372"/>
                  </a:lnTo>
                  <a:lnTo>
                    <a:pt x="714" y="378"/>
                  </a:lnTo>
                  <a:lnTo>
                    <a:pt x="714" y="408"/>
                  </a:lnTo>
                  <a:lnTo>
                    <a:pt x="708" y="420"/>
                  </a:lnTo>
                  <a:lnTo>
                    <a:pt x="714" y="432"/>
                  </a:lnTo>
                  <a:lnTo>
                    <a:pt x="708" y="450"/>
                  </a:lnTo>
                  <a:lnTo>
                    <a:pt x="708" y="468"/>
                  </a:lnTo>
                  <a:lnTo>
                    <a:pt x="696" y="480"/>
                  </a:lnTo>
                  <a:lnTo>
                    <a:pt x="684" y="486"/>
                  </a:lnTo>
                  <a:lnTo>
                    <a:pt x="672" y="492"/>
                  </a:lnTo>
                  <a:lnTo>
                    <a:pt x="660" y="498"/>
                  </a:lnTo>
                  <a:lnTo>
                    <a:pt x="654" y="510"/>
                  </a:lnTo>
                  <a:lnTo>
                    <a:pt x="648" y="516"/>
                  </a:lnTo>
                  <a:lnTo>
                    <a:pt x="642" y="522"/>
                  </a:lnTo>
                  <a:lnTo>
                    <a:pt x="630" y="522"/>
                  </a:lnTo>
                  <a:lnTo>
                    <a:pt x="624" y="528"/>
                  </a:lnTo>
                  <a:lnTo>
                    <a:pt x="618" y="540"/>
                  </a:lnTo>
                  <a:lnTo>
                    <a:pt x="618" y="558"/>
                  </a:lnTo>
                  <a:lnTo>
                    <a:pt x="612" y="576"/>
                  </a:lnTo>
                  <a:lnTo>
                    <a:pt x="612" y="684"/>
                  </a:lnTo>
                  <a:lnTo>
                    <a:pt x="618" y="696"/>
                  </a:lnTo>
                  <a:lnTo>
                    <a:pt x="636" y="696"/>
                  </a:lnTo>
                  <a:lnTo>
                    <a:pt x="636" y="720"/>
                  </a:lnTo>
                  <a:lnTo>
                    <a:pt x="636" y="732"/>
                  </a:lnTo>
                  <a:lnTo>
                    <a:pt x="618" y="750"/>
                  </a:lnTo>
                  <a:lnTo>
                    <a:pt x="606" y="762"/>
                  </a:lnTo>
                  <a:lnTo>
                    <a:pt x="600" y="774"/>
                  </a:lnTo>
                  <a:lnTo>
                    <a:pt x="594" y="798"/>
                  </a:lnTo>
                  <a:lnTo>
                    <a:pt x="606" y="798"/>
                  </a:lnTo>
                  <a:lnTo>
                    <a:pt x="660" y="792"/>
                  </a:lnTo>
                  <a:lnTo>
                    <a:pt x="696" y="798"/>
                  </a:lnTo>
                  <a:lnTo>
                    <a:pt x="720" y="798"/>
                  </a:lnTo>
                  <a:lnTo>
                    <a:pt x="720" y="786"/>
                  </a:lnTo>
                  <a:lnTo>
                    <a:pt x="720" y="774"/>
                  </a:lnTo>
                  <a:lnTo>
                    <a:pt x="702" y="762"/>
                  </a:lnTo>
                  <a:lnTo>
                    <a:pt x="702" y="750"/>
                  </a:lnTo>
                  <a:lnTo>
                    <a:pt x="702" y="726"/>
                  </a:lnTo>
                  <a:lnTo>
                    <a:pt x="714" y="714"/>
                  </a:lnTo>
                  <a:lnTo>
                    <a:pt x="720" y="702"/>
                  </a:lnTo>
                  <a:lnTo>
                    <a:pt x="720" y="696"/>
                  </a:lnTo>
                  <a:lnTo>
                    <a:pt x="744" y="690"/>
                  </a:lnTo>
                  <a:lnTo>
                    <a:pt x="744" y="696"/>
                  </a:lnTo>
                  <a:lnTo>
                    <a:pt x="756" y="696"/>
                  </a:lnTo>
                  <a:lnTo>
                    <a:pt x="762" y="690"/>
                  </a:lnTo>
                  <a:lnTo>
                    <a:pt x="768" y="690"/>
                  </a:lnTo>
                  <a:lnTo>
                    <a:pt x="774" y="696"/>
                  </a:lnTo>
                  <a:lnTo>
                    <a:pt x="780" y="696"/>
                  </a:lnTo>
                  <a:lnTo>
                    <a:pt x="786" y="696"/>
                  </a:lnTo>
                  <a:lnTo>
                    <a:pt x="804" y="684"/>
                  </a:lnTo>
                  <a:lnTo>
                    <a:pt x="810" y="684"/>
                  </a:lnTo>
                  <a:lnTo>
                    <a:pt x="810" y="654"/>
                  </a:lnTo>
                  <a:lnTo>
                    <a:pt x="816" y="588"/>
                  </a:lnTo>
                  <a:lnTo>
                    <a:pt x="804" y="582"/>
                  </a:lnTo>
                  <a:lnTo>
                    <a:pt x="798" y="552"/>
                  </a:lnTo>
                  <a:lnTo>
                    <a:pt x="798" y="480"/>
                  </a:lnTo>
                  <a:lnTo>
                    <a:pt x="780" y="468"/>
                  </a:lnTo>
                  <a:lnTo>
                    <a:pt x="780" y="462"/>
                  </a:lnTo>
                  <a:lnTo>
                    <a:pt x="774" y="450"/>
                  </a:lnTo>
                  <a:lnTo>
                    <a:pt x="762" y="444"/>
                  </a:lnTo>
                  <a:lnTo>
                    <a:pt x="762" y="438"/>
                  </a:lnTo>
                  <a:lnTo>
                    <a:pt x="768" y="432"/>
                  </a:lnTo>
                  <a:lnTo>
                    <a:pt x="774" y="426"/>
                  </a:lnTo>
                  <a:lnTo>
                    <a:pt x="780" y="426"/>
                  </a:lnTo>
                  <a:lnTo>
                    <a:pt x="780" y="414"/>
                  </a:lnTo>
                  <a:lnTo>
                    <a:pt x="834" y="414"/>
                  </a:lnTo>
                  <a:lnTo>
                    <a:pt x="834" y="426"/>
                  </a:lnTo>
                  <a:lnTo>
                    <a:pt x="840" y="432"/>
                  </a:lnTo>
                  <a:lnTo>
                    <a:pt x="846" y="432"/>
                  </a:lnTo>
                  <a:lnTo>
                    <a:pt x="852" y="432"/>
                  </a:lnTo>
                  <a:lnTo>
                    <a:pt x="858" y="432"/>
                  </a:lnTo>
                  <a:lnTo>
                    <a:pt x="870" y="432"/>
                  </a:lnTo>
                  <a:lnTo>
                    <a:pt x="870" y="426"/>
                  </a:lnTo>
                  <a:lnTo>
                    <a:pt x="870" y="420"/>
                  </a:lnTo>
                  <a:lnTo>
                    <a:pt x="876" y="420"/>
                  </a:lnTo>
                  <a:lnTo>
                    <a:pt x="882" y="420"/>
                  </a:lnTo>
                  <a:lnTo>
                    <a:pt x="894" y="414"/>
                  </a:lnTo>
                  <a:lnTo>
                    <a:pt x="900" y="414"/>
                  </a:lnTo>
                  <a:lnTo>
                    <a:pt x="906" y="408"/>
                  </a:lnTo>
                  <a:lnTo>
                    <a:pt x="918" y="408"/>
                  </a:lnTo>
                  <a:lnTo>
                    <a:pt x="924" y="402"/>
                  </a:lnTo>
                  <a:lnTo>
                    <a:pt x="930" y="384"/>
                  </a:lnTo>
                  <a:lnTo>
                    <a:pt x="948" y="396"/>
                  </a:lnTo>
                  <a:lnTo>
                    <a:pt x="954" y="384"/>
                  </a:lnTo>
                  <a:lnTo>
                    <a:pt x="960" y="384"/>
                  </a:lnTo>
                  <a:lnTo>
                    <a:pt x="972" y="384"/>
                  </a:lnTo>
                  <a:lnTo>
                    <a:pt x="978" y="378"/>
                  </a:lnTo>
                  <a:lnTo>
                    <a:pt x="972" y="366"/>
                  </a:lnTo>
                  <a:lnTo>
                    <a:pt x="966" y="342"/>
                  </a:lnTo>
                  <a:lnTo>
                    <a:pt x="960" y="330"/>
                  </a:lnTo>
                  <a:lnTo>
                    <a:pt x="942" y="324"/>
                  </a:lnTo>
                  <a:lnTo>
                    <a:pt x="936" y="318"/>
                  </a:lnTo>
                  <a:lnTo>
                    <a:pt x="936" y="294"/>
                  </a:lnTo>
                  <a:lnTo>
                    <a:pt x="942" y="294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282"/>
                  </a:lnTo>
                  <a:lnTo>
                    <a:pt x="954" y="276"/>
                  </a:lnTo>
                  <a:lnTo>
                    <a:pt x="960" y="276"/>
                  </a:lnTo>
                  <a:lnTo>
                    <a:pt x="966" y="276"/>
                  </a:lnTo>
                  <a:lnTo>
                    <a:pt x="960" y="258"/>
                  </a:lnTo>
                  <a:lnTo>
                    <a:pt x="954" y="240"/>
                  </a:lnTo>
                  <a:lnTo>
                    <a:pt x="948" y="204"/>
                  </a:lnTo>
                  <a:lnTo>
                    <a:pt x="954" y="204"/>
                  </a:lnTo>
                  <a:lnTo>
                    <a:pt x="960" y="198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00" y="186"/>
                  </a:lnTo>
                  <a:lnTo>
                    <a:pt x="876" y="180"/>
                  </a:lnTo>
                  <a:lnTo>
                    <a:pt x="858" y="180"/>
                  </a:lnTo>
                  <a:lnTo>
                    <a:pt x="852" y="168"/>
                  </a:lnTo>
                  <a:lnTo>
                    <a:pt x="834" y="156"/>
                  </a:lnTo>
                  <a:lnTo>
                    <a:pt x="822" y="156"/>
                  </a:lnTo>
                  <a:lnTo>
                    <a:pt x="804" y="156"/>
                  </a:lnTo>
                  <a:lnTo>
                    <a:pt x="804" y="150"/>
                  </a:lnTo>
                  <a:lnTo>
                    <a:pt x="792" y="144"/>
                  </a:lnTo>
                  <a:lnTo>
                    <a:pt x="762" y="138"/>
                  </a:lnTo>
                  <a:lnTo>
                    <a:pt x="768" y="120"/>
                  </a:lnTo>
                  <a:lnTo>
                    <a:pt x="756" y="120"/>
                  </a:lnTo>
                  <a:lnTo>
                    <a:pt x="744" y="108"/>
                  </a:lnTo>
                  <a:lnTo>
                    <a:pt x="744" y="96"/>
                  </a:lnTo>
                  <a:lnTo>
                    <a:pt x="762" y="84"/>
                  </a:lnTo>
                  <a:lnTo>
                    <a:pt x="768" y="84"/>
                  </a:lnTo>
                  <a:lnTo>
                    <a:pt x="768" y="72"/>
                  </a:lnTo>
                  <a:lnTo>
                    <a:pt x="780" y="66"/>
                  </a:lnTo>
                  <a:lnTo>
                    <a:pt x="798" y="54"/>
                  </a:lnTo>
                  <a:lnTo>
                    <a:pt x="792" y="54"/>
                  </a:lnTo>
                  <a:lnTo>
                    <a:pt x="798" y="36"/>
                  </a:lnTo>
                  <a:lnTo>
                    <a:pt x="804" y="36"/>
                  </a:lnTo>
                  <a:lnTo>
                    <a:pt x="816" y="30"/>
                  </a:lnTo>
                  <a:lnTo>
                    <a:pt x="828" y="30"/>
                  </a:lnTo>
                  <a:lnTo>
                    <a:pt x="846" y="12"/>
                  </a:lnTo>
                  <a:lnTo>
                    <a:pt x="876" y="0"/>
                  </a:lnTo>
                  <a:lnTo>
                    <a:pt x="882" y="6"/>
                  </a:lnTo>
                  <a:lnTo>
                    <a:pt x="900" y="6"/>
                  </a:lnTo>
                  <a:lnTo>
                    <a:pt x="912" y="36"/>
                  </a:lnTo>
                  <a:lnTo>
                    <a:pt x="918" y="42"/>
                  </a:lnTo>
                  <a:lnTo>
                    <a:pt x="924" y="54"/>
                  </a:lnTo>
                  <a:lnTo>
                    <a:pt x="930" y="54"/>
                  </a:lnTo>
                  <a:lnTo>
                    <a:pt x="930" y="78"/>
                  </a:lnTo>
                  <a:lnTo>
                    <a:pt x="954" y="72"/>
                  </a:lnTo>
                  <a:lnTo>
                    <a:pt x="954" y="60"/>
                  </a:lnTo>
                  <a:lnTo>
                    <a:pt x="966" y="66"/>
                  </a:lnTo>
                  <a:lnTo>
                    <a:pt x="966" y="78"/>
                  </a:lnTo>
                  <a:lnTo>
                    <a:pt x="960" y="84"/>
                  </a:lnTo>
                  <a:lnTo>
                    <a:pt x="954" y="102"/>
                  </a:lnTo>
                  <a:lnTo>
                    <a:pt x="972" y="102"/>
                  </a:lnTo>
                  <a:lnTo>
                    <a:pt x="978" y="84"/>
                  </a:lnTo>
                  <a:lnTo>
                    <a:pt x="984" y="72"/>
                  </a:lnTo>
                  <a:lnTo>
                    <a:pt x="990" y="72"/>
                  </a:lnTo>
                  <a:lnTo>
                    <a:pt x="996" y="18"/>
                  </a:lnTo>
                  <a:lnTo>
                    <a:pt x="990" y="12"/>
                  </a:lnTo>
                  <a:lnTo>
                    <a:pt x="1014" y="12"/>
                  </a:lnTo>
                  <a:lnTo>
                    <a:pt x="1026" y="12"/>
                  </a:lnTo>
                  <a:lnTo>
                    <a:pt x="1026" y="24"/>
                  </a:lnTo>
                  <a:lnTo>
                    <a:pt x="1050" y="24"/>
                  </a:lnTo>
                  <a:lnTo>
                    <a:pt x="1050" y="36"/>
                  </a:lnTo>
                  <a:lnTo>
                    <a:pt x="1062" y="66"/>
                  </a:lnTo>
                  <a:lnTo>
                    <a:pt x="1074" y="66"/>
                  </a:lnTo>
                  <a:lnTo>
                    <a:pt x="1080" y="60"/>
                  </a:lnTo>
                  <a:lnTo>
                    <a:pt x="1074" y="24"/>
                  </a:lnTo>
                  <a:lnTo>
                    <a:pt x="1086" y="18"/>
                  </a:lnTo>
                  <a:lnTo>
                    <a:pt x="1086" y="12"/>
                  </a:lnTo>
                  <a:lnTo>
                    <a:pt x="1104" y="6"/>
                  </a:lnTo>
                  <a:lnTo>
                    <a:pt x="1122" y="0"/>
                  </a:lnTo>
                  <a:lnTo>
                    <a:pt x="1134" y="6"/>
                  </a:lnTo>
                  <a:lnTo>
                    <a:pt x="1134" y="42"/>
                  </a:lnTo>
                  <a:lnTo>
                    <a:pt x="1140" y="72"/>
                  </a:lnTo>
                  <a:lnTo>
                    <a:pt x="1158" y="114"/>
                  </a:lnTo>
                  <a:lnTo>
                    <a:pt x="1170" y="114"/>
                  </a:lnTo>
                  <a:lnTo>
                    <a:pt x="1170" y="126"/>
                  </a:lnTo>
                  <a:lnTo>
                    <a:pt x="1182" y="126"/>
                  </a:lnTo>
                  <a:lnTo>
                    <a:pt x="1182" y="138"/>
                  </a:lnTo>
                  <a:lnTo>
                    <a:pt x="1194" y="144"/>
                  </a:lnTo>
                  <a:lnTo>
                    <a:pt x="1194" y="156"/>
                  </a:lnTo>
                  <a:lnTo>
                    <a:pt x="1188" y="156"/>
                  </a:lnTo>
                  <a:lnTo>
                    <a:pt x="1194" y="162"/>
                  </a:lnTo>
                  <a:lnTo>
                    <a:pt x="1194" y="168"/>
                  </a:lnTo>
                  <a:lnTo>
                    <a:pt x="1188" y="168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82" y="180"/>
                  </a:lnTo>
                  <a:lnTo>
                    <a:pt x="1188" y="186"/>
                  </a:lnTo>
                  <a:lnTo>
                    <a:pt x="1188" y="192"/>
                  </a:lnTo>
                  <a:lnTo>
                    <a:pt x="1182" y="198"/>
                  </a:lnTo>
                  <a:lnTo>
                    <a:pt x="1182" y="204"/>
                  </a:lnTo>
                  <a:lnTo>
                    <a:pt x="1182" y="210"/>
                  </a:lnTo>
                  <a:lnTo>
                    <a:pt x="1188" y="210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2"/>
                  </a:lnTo>
                  <a:lnTo>
                    <a:pt x="1194" y="264"/>
                  </a:lnTo>
                  <a:lnTo>
                    <a:pt x="1200" y="264"/>
                  </a:lnTo>
                  <a:lnTo>
                    <a:pt x="1212" y="264"/>
                  </a:lnTo>
                  <a:lnTo>
                    <a:pt x="1212" y="258"/>
                  </a:lnTo>
                  <a:lnTo>
                    <a:pt x="1224" y="258"/>
                  </a:lnTo>
                  <a:lnTo>
                    <a:pt x="1248" y="252"/>
                  </a:lnTo>
                  <a:lnTo>
                    <a:pt x="1248" y="264"/>
                  </a:lnTo>
                  <a:lnTo>
                    <a:pt x="1254" y="264"/>
                  </a:lnTo>
                  <a:lnTo>
                    <a:pt x="1254" y="270"/>
                  </a:lnTo>
                  <a:lnTo>
                    <a:pt x="1260" y="270"/>
                  </a:lnTo>
                  <a:lnTo>
                    <a:pt x="1266" y="270"/>
                  </a:lnTo>
                  <a:lnTo>
                    <a:pt x="1272" y="270"/>
                  </a:lnTo>
                  <a:lnTo>
                    <a:pt x="1272" y="264"/>
                  </a:lnTo>
                  <a:lnTo>
                    <a:pt x="1272" y="258"/>
                  </a:lnTo>
                  <a:lnTo>
                    <a:pt x="1278" y="258"/>
                  </a:lnTo>
                  <a:lnTo>
                    <a:pt x="1278" y="252"/>
                  </a:lnTo>
                  <a:lnTo>
                    <a:pt x="1290" y="252"/>
                  </a:lnTo>
                  <a:lnTo>
                    <a:pt x="1296" y="246"/>
                  </a:lnTo>
                  <a:lnTo>
                    <a:pt x="1308" y="246"/>
                  </a:lnTo>
                  <a:lnTo>
                    <a:pt x="1308" y="240"/>
                  </a:lnTo>
                  <a:lnTo>
                    <a:pt x="1320" y="240"/>
                  </a:lnTo>
                  <a:lnTo>
                    <a:pt x="1326" y="246"/>
                  </a:lnTo>
                  <a:lnTo>
                    <a:pt x="1338" y="246"/>
                  </a:lnTo>
                  <a:lnTo>
                    <a:pt x="1338" y="240"/>
                  </a:lnTo>
                  <a:lnTo>
                    <a:pt x="1350" y="240"/>
                  </a:lnTo>
                  <a:lnTo>
                    <a:pt x="1386" y="234"/>
                  </a:lnTo>
                  <a:lnTo>
                    <a:pt x="1398" y="228"/>
                  </a:lnTo>
                  <a:lnTo>
                    <a:pt x="1404" y="216"/>
                  </a:lnTo>
                  <a:lnTo>
                    <a:pt x="1416" y="204"/>
                  </a:lnTo>
                  <a:lnTo>
                    <a:pt x="1434" y="192"/>
                  </a:lnTo>
                  <a:lnTo>
                    <a:pt x="1446" y="198"/>
                  </a:lnTo>
                  <a:lnTo>
                    <a:pt x="1446" y="204"/>
                  </a:lnTo>
                  <a:lnTo>
                    <a:pt x="1452" y="210"/>
                  </a:lnTo>
                  <a:lnTo>
                    <a:pt x="1464" y="222"/>
                  </a:lnTo>
                  <a:lnTo>
                    <a:pt x="1464" y="228"/>
                  </a:lnTo>
                  <a:lnTo>
                    <a:pt x="1464" y="234"/>
                  </a:lnTo>
                  <a:lnTo>
                    <a:pt x="1470" y="240"/>
                  </a:lnTo>
                  <a:lnTo>
                    <a:pt x="1476" y="228"/>
                  </a:lnTo>
                  <a:lnTo>
                    <a:pt x="1476" y="222"/>
                  </a:lnTo>
                  <a:lnTo>
                    <a:pt x="1482" y="210"/>
                  </a:lnTo>
                  <a:lnTo>
                    <a:pt x="1488" y="192"/>
                  </a:lnTo>
                  <a:lnTo>
                    <a:pt x="1488" y="186"/>
                  </a:lnTo>
                  <a:lnTo>
                    <a:pt x="1488" y="180"/>
                  </a:lnTo>
                  <a:lnTo>
                    <a:pt x="1500" y="180"/>
                  </a:lnTo>
                  <a:lnTo>
                    <a:pt x="1500" y="174"/>
                  </a:lnTo>
                  <a:lnTo>
                    <a:pt x="1518" y="162"/>
                  </a:lnTo>
                  <a:lnTo>
                    <a:pt x="1536" y="150"/>
                  </a:lnTo>
                  <a:lnTo>
                    <a:pt x="1554" y="168"/>
                  </a:lnTo>
                  <a:lnTo>
                    <a:pt x="1572" y="180"/>
                  </a:lnTo>
                  <a:lnTo>
                    <a:pt x="1596" y="216"/>
                  </a:lnTo>
                  <a:lnTo>
                    <a:pt x="1602" y="216"/>
                  </a:lnTo>
                  <a:lnTo>
                    <a:pt x="1614" y="228"/>
                  </a:lnTo>
                  <a:lnTo>
                    <a:pt x="1614" y="234"/>
                  </a:lnTo>
                  <a:lnTo>
                    <a:pt x="1620" y="240"/>
                  </a:lnTo>
                  <a:lnTo>
                    <a:pt x="1620" y="246"/>
                  </a:lnTo>
                  <a:lnTo>
                    <a:pt x="1626" y="252"/>
                  </a:lnTo>
                  <a:lnTo>
                    <a:pt x="1632" y="258"/>
                  </a:lnTo>
                  <a:lnTo>
                    <a:pt x="1632" y="264"/>
                  </a:lnTo>
                  <a:lnTo>
                    <a:pt x="1638" y="264"/>
                  </a:lnTo>
                  <a:lnTo>
                    <a:pt x="1638" y="270"/>
                  </a:lnTo>
                  <a:lnTo>
                    <a:pt x="1638" y="276"/>
                  </a:lnTo>
                  <a:lnTo>
                    <a:pt x="1638" y="282"/>
                  </a:lnTo>
                  <a:lnTo>
                    <a:pt x="1644" y="288"/>
                  </a:lnTo>
                  <a:lnTo>
                    <a:pt x="1644" y="294"/>
                  </a:lnTo>
                  <a:lnTo>
                    <a:pt x="1644" y="300"/>
                  </a:lnTo>
                  <a:lnTo>
                    <a:pt x="1644" y="306"/>
                  </a:lnTo>
                  <a:lnTo>
                    <a:pt x="1650" y="306"/>
                  </a:lnTo>
                  <a:lnTo>
                    <a:pt x="1650" y="312"/>
                  </a:lnTo>
                  <a:lnTo>
                    <a:pt x="1650" y="318"/>
                  </a:lnTo>
                  <a:lnTo>
                    <a:pt x="1650" y="324"/>
                  </a:lnTo>
                  <a:lnTo>
                    <a:pt x="1644" y="330"/>
                  </a:lnTo>
                  <a:lnTo>
                    <a:pt x="1626" y="330"/>
                  </a:lnTo>
                  <a:lnTo>
                    <a:pt x="1626" y="336"/>
                  </a:lnTo>
                  <a:lnTo>
                    <a:pt x="1626" y="342"/>
                  </a:lnTo>
                  <a:lnTo>
                    <a:pt x="1626" y="348"/>
                  </a:lnTo>
                  <a:lnTo>
                    <a:pt x="1620" y="354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14" y="390"/>
                  </a:lnTo>
                  <a:lnTo>
                    <a:pt x="1614" y="396"/>
                  </a:lnTo>
                  <a:lnTo>
                    <a:pt x="1614" y="402"/>
                  </a:lnTo>
                  <a:lnTo>
                    <a:pt x="1614" y="408"/>
                  </a:lnTo>
                  <a:lnTo>
                    <a:pt x="1614" y="414"/>
                  </a:lnTo>
                  <a:lnTo>
                    <a:pt x="1602" y="420"/>
                  </a:lnTo>
                  <a:lnTo>
                    <a:pt x="1602" y="426"/>
                  </a:lnTo>
                  <a:lnTo>
                    <a:pt x="1608" y="432"/>
                  </a:lnTo>
                  <a:lnTo>
                    <a:pt x="1614" y="426"/>
                  </a:lnTo>
                  <a:lnTo>
                    <a:pt x="1620" y="438"/>
                  </a:lnTo>
                  <a:lnTo>
                    <a:pt x="1626" y="438"/>
                  </a:lnTo>
                  <a:lnTo>
                    <a:pt x="1632" y="444"/>
                  </a:lnTo>
                  <a:lnTo>
                    <a:pt x="1626" y="456"/>
                  </a:lnTo>
                  <a:lnTo>
                    <a:pt x="1626" y="468"/>
                  </a:lnTo>
                  <a:lnTo>
                    <a:pt x="1620" y="474"/>
                  </a:lnTo>
                  <a:lnTo>
                    <a:pt x="1614" y="474"/>
                  </a:lnTo>
                  <a:lnTo>
                    <a:pt x="1614" y="486"/>
                  </a:lnTo>
                  <a:lnTo>
                    <a:pt x="1614" y="492"/>
                  </a:lnTo>
                  <a:lnTo>
                    <a:pt x="1620" y="492"/>
                  </a:lnTo>
                  <a:lnTo>
                    <a:pt x="1626" y="498"/>
                  </a:lnTo>
                  <a:lnTo>
                    <a:pt x="1626" y="504"/>
                  </a:lnTo>
                  <a:lnTo>
                    <a:pt x="1626" y="510"/>
                  </a:lnTo>
                  <a:lnTo>
                    <a:pt x="1620" y="516"/>
                  </a:lnTo>
                  <a:lnTo>
                    <a:pt x="1620" y="522"/>
                  </a:lnTo>
                  <a:lnTo>
                    <a:pt x="1614" y="522"/>
                  </a:lnTo>
                  <a:lnTo>
                    <a:pt x="1608" y="528"/>
                  </a:lnTo>
                  <a:lnTo>
                    <a:pt x="1602" y="522"/>
                  </a:lnTo>
                  <a:lnTo>
                    <a:pt x="1602" y="528"/>
                  </a:lnTo>
                  <a:lnTo>
                    <a:pt x="1602" y="540"/>
                  </a:lnTo>
                  <a:lnTo>
                    <a:pt x="1602" y="558"/>
                  </a:lnTo>
                  <a:lnTo>
                    <a:pt x="1602" y="564"/>
                  </a:lnTo>
                  <a:lnTo>
                    <a:pt x="1602" y="570"/>
                  </a:lnTo>
                  <a:lnTo>
                    <a:pt x="1602" y="576"/>
                  </a:lnTo>
                  <a:lnTo>
                    <a:pt x="1596" y="576"/>
                  </a:lnTo>
                  <a:lnTo>
                    <a:pt x="1632" y="582"/>
                  </a:lnTo>
                  <a:lnTo>
                    <a:pt x="1644" y="618"/>
                  </a:lnTo>
                  <a:lnTo>
                    <a:pt x="1650" y="648"/>
                  </a:lnTo>
                  <a:lnTo>
                    <a:pt x="1662" y="636"/>
                  </a:lnTo>
                  <a:lnTo>
                    <a:pt x="1668" y="636"/>
                  </a:lnTo>
                  <a:lnTo>
                    <a:pt x="1674" y="636"/>
                  </a:lnTo>
                  <a:lnTo>
                    <a:pt x="1680" y="630"/>
                  </a:lnTo>
                  <a:lnTo>
                    <a:pt x="1686" y="630"/>
                  </a:lnTo>
                  <a:lnTo>
                    <a:pt x="1692" y="630"/>
                  </a:lnTo>
                  <a:lnTo>
                    <a:pt x="1698" y="630"/>
                  </a:lnTo>
                  <a:lnTo>
                    <a:pt x="1704" y="630"/>
                  </a:lnTo>
                  <a:lnTo>
                    <a:pt x="1704" y="624"/>
                  </a:lnTo>
                  <a:lnTo>
                    <a:pt x="1710" y="624"/>
                  </a:lnTo>
                  <a:lnTo>
                    <a:pt x="1716" y="624"/>
                  </a:lnTo>
                  <a:lnTo>
                    <a:pt x="1722" y="624"/>
                  </a:lnTo>
                  <a:lnTo>
                    <a:pt x="1728" y="624"/>
                  </a:lnTo>
                  <a:lnTo>
                    <a:pt x="1722" y="618"/>
                  </a:lnTo>
                  <a:lnTo>
                    <a:pt x="1728" y="606"/>
                  </a:lnTo>
                  <a:lnTo>
                    <a:pt x="1734" y="606"/>
                  </a:lnTo>
                  <a:lnTo>
                    <a:pt x="1740" y="600"/>
                  </a:lnTo>
                  <a:lnTo>
                    <a:pt x="1746" y="594"/>
                  </a:lnTo>
                  <a:lnTo>
                    <a:pt x="1752" y="588"/>
                  </a:lnTo>
                  <a:lnTo>
                    <a:pt x="1752" y="582"/>
                  </a:lnTo>
                  <a:lnTo>
                    <a:pt x="1758" y="576"/>
                  </a:lnTo>
                  <a:lnTo>
                    <a:pt x="1764" y="576"/>
                  </a:lnTo>
                  <a:lnTo>
                    <a:pt x="1770" y="570"/>
                  </a:lnTo>
                  <a:lnTo>
                    <a:pt x="1776" y="564"/>
                  </a:lnTo>
                  <a:lnTo>
                    <a:pt x="1788" y="558"/>
                  </a:lnTo>
                  <a:lnTo>
                    <a:pt x="1788" y="546"/>
                  </a:lnTo>
                  <a:lnTo>
                    <a:pt x="1788" y="540"/>
                  </a:lnTo>
                  <a:lnTo>
                    <a:pt x="1794" y="540"/>
                  </a:lnTo>
                  <a:lnTo>
                    <a:pt x="1788" y="534"/>
                  </a:lnTo>
                  <a:lnTo>
                    <a:pt x="1788" y="528"/>
                  </a:lnTo>
                  <a:lnTo>
                    <a:pt x="1794" y="516"/>
                  </a:lnTo>
                  <a:lnTo>
                    <a:pt x="1800" y="510"/>
                  </a:lnTo>
                  <a:lnTo>
                    <a:pt x="1812" y="510"/>
                  </a:lnTo>
                  <a:lnTo>
                    <a:pt x="1818" y="504"/>
                  </a:lnTo>
                  <a:lnTo>
                    <a:pt x="1824" y="504"/>
                  </a:lnTo>
                  <a:lnTo>
                    <a:pt x="1830" y="498"/>
                  </a:lnTo>
                  <a:lnTo>
                    <a:pt x="1836" y="498"/>
                  </a:lnTo>
                  <a:lnTo>
                    <a:pt x="1848" y="492"/>
                  </a:lnTo>
                  <a:lnTo>
                    <a:pt x="1848" y="480"/>
                  </a:lnTo>
                  <a:lnTo>
                    <a:pt x="1854" y="480"/>
                  </a:lnTo>
                  <a:lnTo>
                    <a:pt x="1890" y="504"/>
                  </a:lnTo>
                  <a:lnTo>
                    <a:pt x="1908" y="534"/>
                  </a:lnTo>
                  <a:lnTo>
                    <a:pt x="1902" y="534"/>
                  </a:lnTo>
                  <a:lnTo>
                    <a:pt x="1920" y="528"/>
                  </a:lnTo>
                  <a:lnTo>
                    <a:pt x="1920" y="516"/>
                  </a:lnTo>
                  <a:lnTo>
                    <a:pt x="1944" y="516"/>
                  </a:lnTo>
                  <a:lnTo>
                    <a:pt x="2004" y="516"/>
                  </a:lnTo>
                  <a:lnTo>
                    <a:pt x="2010" y="510"/>
                  </a:lnTo>
                  <a:lnTo>
                    <a:pt x="2004" y="510"/>
                  </a:lnTo>
                  <a:lnTo>
                    <a:pt x="2010" y="498"/>
                  </a:lnTo>
                  <a:lnTo>
                    <a:pt x="2004" y="486"/>
                  </a:lnTo>
                  <a:lnTo>
                    <a:pt x="2004" y="480"/>
                  </a:lnTo>
                  <a:lnTo>
                    <a:pt x="2004" y="474"/>
                  </a:lnTo>
                  <a:lnTo>
                    <a:pt x="2004" y="462"/>
                  </a:lnTo>
                  <a:lnTo>
                    <a:pt x="2004" y="456"/>
                  </a:lnTo>
                  <a:lnTo>
                    <a:pt x="2058" y="462"/>
                  </a:lnTo>
                  <a:lnTo>
                    <a:pt x="2076" y="474"/>
                  </a:lnTo>
                  <a:lnTo>
                    <a:pt x="2082" y="522"/>
                  </a:lnTo>
                  <a:lnTo>
                    <a:pt x="2088" y="516"/>
                  </a:lnTo>
                  <a:lnTo>
                    <a:pt x="2094" y="522"/>
                  </a:lnTo>
                  <a:lnTo>
                    <a:pt x="2100" y="528"/>
                  </a:lnTo>
                  <a:lnTo>
                    <a:pt x="2130" y="540"/>
                  </a:lnTo>
                  <a:lnTo>
                    <a:pt x="2160" y="564"/>
                  </a:lnTo>
                  <a:lnTo>
                    <a:pt x="2166" y="600"/>
                  </a:lnTo>
                  <a:lnTo>
                    <a:pt x="2160" y="618"/>
                  </a:lnTo>
                  <a:lnTo>
                    <a:pt x="2142" y="636"/>
                  </a:lnTo>
                  <a:lnTo>
                    <a:pt x="2148" y="648"/>
                  </a:lnTo>
                  <a:lnTo>
                    <a:pt x="2154" y="660"/>
                  </a:lnTo>
                  <a:lnTo>
                    <a:pt x="2196" y="654"/>
                  </a:lnTo>
                  <a:lnTo>
                    <a:pt x="2214" y="660"/>
                  </a:lnTo>
                  <a:lnTo>
                    <a:pt x="2214" y="666"/>
                  </a:lnTo>
                  <a:lnTo>
                    <a:pt x="2220" y="672"/>
                  </a:lnTo>
                  <a:lnTo>
                    <a:pt x="2214" y="678"/>
                  </a:lnTo>
                  <a:lnTo>
                    <a:pt x="2214" y="684"/>
                  </a:lnTo>
                  <a:lnTo>
                    <a:pt x="2214" y="690"/>
                  </a:lnTo>
                  <a:lnTo>
                    <a:pt x="2208" y="690"/>
                  </a:lnTo>
                  <a:lnTo>
                    <a:pt x="2202" y="696"/>
                  </a:lnTo>
                  <a:lnTo>
                    <a:pt x="2196" y="702"/>
                  </a:lnTo>
                  <a:lnTo>
                    <a:pt x="2190" y="708"/>
                  </a:lnTo>
                  <a:lnTo>
                    <a:pt x="2190" y="720"/>
                  </a:lnTo>
                  <a:lnTo>
                    <a:pt x="2184" y="720"/>
                  </a:lnTo>
                  <a:lnTo>
                    <a:pt x="2178" y="726"/>
                  </a:lnTo>
                  <a:lnTo>
                    <a:pt x="2166" y="732"/>
                  </a:lnTo>
                  <a:lnTo>
                    <a:pt x="2160" y="744"/>
                  </a:lnTo>
                  <a:lnTo>
                    <a:pt x="2154" y="756"/>
                  </a:lnTo>
                  <a:lnTo>
                    <a:pt x="2148" y="762"/>
                  </a:lnTo>
                  <a:lnTo>
                    <a:pt x="2124" y="762"/>
                  </a:lnTo>
                  <a:lnTo>
                    <a:pt x="2124" y="768"/>
                  </a:lnTo>
                  <a:lnTo>
                    <a:pt x="2118" y="768"/>
                  </a:lnTo>
                  <a:lnTo>
                    <a:pt x="2124" y="774"/>
                  </a:lnTo>
                  <a:lnTo>
                    <a:pt x="2118" y="774"/>
                  </a:lnTo>
                  <a:lnTo>
                    <a:pt x="2112" y="774"/>
                  </a:lnTo>
                  <a:lnTo>
                    <a:pt x="2106" y="780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06" y="798"/>
                  </a:lnTo>
                  <a:lnTo>
                    <a:pt x="2106" y="810"/>
                  </a:lnTo>
                  <a:lnTo>
                    <a:pt x="2112" y="828"/>
                  </a:lnTo>
                  <a:lnTo>
                    <a:pt x="2112" y="834"/>
                  </a:lnTo>
                  <a:lnTo>
                    <a:pt x="2112" y="840"/>
                  </a:lnTo>
                  <a:lnTo>
                    <a:pt x="2112" y="834"/>
                  </a:lnTo>
                  <a:lnTo>
                    <a:pt x="2124" y="834"/>
                  </a:lnTo>
                  <a:lnTo>
                    <a:pt x="2130" y="834"/>
                  </a:lnTo>
                  <a:lnTo>
                    <a:pt x="2136" y="840"/>
                  </a:lnTo>
                  <a:lnTo>
                    <a:pt x="2142" y="840"/>
                  </a:lnTo>
                  <a:lnTo>
                    <a:pt x="2154" y="852"/>
                  </a:lnTo>
                  <a:lnTo>
                    <a:pt x="2160" y="852"/>
                  </a:lnTo>
                  <a:lnTo>
                    <a:pt x="2172" y="846"/>
                  </a:lnTo>
                  <a:lnTo>
                    <a:pt x="2178" y="846"/>
                  </a:lnTo>
                  <a:lnTo>
                    <a:pt x="2184" y="846"/>
                  </a:lnTo>
                  <a:lnTo>
                    <a:pt x="2190" y="846"/>
                  </a:lnTo>
                  <a:lnTo>
                    <a:pt x="2196" y="852"/>
                  </a:lnTo>
                  <a:lnTo>
                    <a:pt x="2196" y="858"/>
                  </a:lnTo>
                  <a:lnTo>
                    <a:pt x="2202" y="852"/>
                  </a:lnTo>
                  <a:lnTo>
                    <a:pt x="2208" y="846"/>
                  </a:lnTo>
                  <a:lnTo>
                    <a:pt x="2214" y="846"/>
                  </a:lnTo>
                  <a:lnTo>
                    <a:pt x="2226" y="846"/>
                  </a:lnTo>
                  <a:lnTo>
                    <a:pt x="2232" y="852"/>
                  </a:lnTo>
                  <a:lnTo>
                    <a:pt x="2238" y="852"/>
                  </a:lnTo>
                  <a:lnTo>
                    <a:pt x="2244" y="858"/>
                  </a:lnTo>
                  <a:lnTo>
                    <a:pt x="2250" y="858"/>
                  </a:lnTo>
                  <a:lnTo>
                    <a:pt x="2256" y="858"/>
                  </a:lnTo>
                  <a:lnTo>
                    <a:pt x="2262" y="858"/>
                  </a:lnTo>
                  <a:lnTo>
                    <a:pt x="2268" y="852"/>
                  </a:lnTo>
                  <a:lnTo>
                    <a:pt x="2274" y="852"/>
                  </a:lnTo>
                  <a:lnTo>
                    <a:pt x="2280" y="852"/>
                  </a:lnTo>
                  <a:lnTo>
                    <a:pt x="2286" y="852"/>
                  </a:lnTo>
                  <a:lnTo>
                    <a:pt x="2298" y="858"/>
                  </a:lnTo>
                  <a:lnTo>
                    <a:pt x="2304" y="858"/>
                  </a:lnTo>
                  <a:lnTo>
                    <a:pt x="2310" y="858"/>
                  </a:lnTo>
                  <a:lnTo>
                    <a:pt x="2316" y="852"/>
                  </a:lnTo>
                  <a:lnTo>
                    <a:pt x="2322" y="858"/>
                  </a:lnTo>
                  <a:lnTo>
                    <a:pt x="2328" y="858"/>
                  </a:lnTo>
                  <a:lnTo>
                    <a:pt x="2328" y="852"/>
                  </a:lnTo>
                  <a:lnTo>
                    <a:pt x="2364" y="858"/>
                  </a:lnTo>
                  <a:lnTo>
                    <a:pt x="2376" y="876"/>
                  </a:lnTo>
                  <a:lnTo>
                    <a:pt x="2382" y="936"/>
                  </a:lnTo>
                  <a:lnTo>
                    <a:pt x="2388" y="966"/>
                  </a:lnTo>
                  <a:lnTo>
                    <a:pt x="2382" y="972"/>
                  </a:lnTo>
                  <a:lnTo>
                    <a:pt x="2382" y="978"/>
                  </a:lnTo>
                  <a:lnTo>
                    <a:pt x="2382" y="984"/>
                  </a:lnTo>
                  <a:lnTo>
                    <a:pt x="2388" y="990"/>
                  </a:lnTo>
                  <a:lnTo>
                    <a:pt x="2382" y="990"/>
                  </a:lnTo>
                  <a:lnTo>
                    <a:pt x="2382" y="996"/>
                  </a:lnTo>
                  <a:lnTo>
                    <a:pt x="2376" y="996"/>
                  </a:lnTo>
                  <a:lnTo>
                    <a:pt x="2376" y="1020"/>
                  </a:lnTo>
                  <a:lnTo>
                    <a:pt x="2370" y="1032"/>
                  </a:lnTo>
                  <a:lnTo>
                    <a:pt x="2352" y="1032"/>
                  </a:lnTo>
                  <a:lnTo>
                    <a:pt x="2346" y="1020"/>
                  </a:lnTo>
                  <a:lnTo>
                    <a:pt x="2328" y="1032"/>
                  </a:lnTo>
                  <a:lnTo>
                    <a:pt x="2316" y="1038"/>
                  </a:lnTo>
                  <a:lnTo>
                    <a:pt x="2328" y="1044"/>
                  </a:lnTo>
                  <a:lnTo>
                    <a:pt x="2340" y="1056"/>
                  </a:lnTo>
                  <a:lnTo>
                    <a:pt x="2376" y="1062"/>
                  </a:lnTo>
                  <a:lnTo>
                    <a:pt x="2376" y="1068"/>
                  </a:lnTo>
                  <a:lnTo>
                    <a:pt x="2382" y="1086"/>
                  </a:lnTo>
                  <a:lnTo>
                    <a:pt x="2376" y="1086"/>
                  </a:lnTo>
                  <a:lnTo>
                    <a:pt x="2370" y="1086"/>
                  </a:lnTo>
                  <a:lnTo>
                    <a:pt x="2364" y="1086"/>
                  </a:lnTo>
                  <a:lnTo>
                    <a:pt x="2364" y="1098"/>
                  </a:lnTo>
                  <a:lnTo>
                    <a:pt x="2388" y="1104"/>
                  </a:lnTo>
                  <a:lnTo>
                    <a:pt x="2400" y="1122"/>
                  </a:lnTo>
                  <a:lnTo>
                    <a:pt x="2400" y="1134"/>
                  </a:lnTo>
                  <a:lnTo>
                    <a:pt x="2400" y="1146"/>
                  </a:lnTo>
                  <a:lnTo>
                    <a:pt x="2394" y="1146"/>
                  </a:lnTo>
                  <a:lnTo>
                    <a:pt x="2394" y="1152"/>
                  </a:lnTo>
                  <a:lnTo>
                    <a:pt x="2388" y="1152"/>
                  </a:lnTo>
                  <a:lnTo>
                    <a:pt x="2388" y="1146"/>
                  </a:lnTo>
                  <a:lnTo>
                    <a:pt x="2382" y="1152"/>
                  </a:lnTo>
                  <a:lnTo>
                    <a:pt x="2376" y="1152"/>
                  </a:lnTo>
                  <a:lnTo>
                    <a:pt x="2370" y="1158"/>
                  </a:lnTo>
                  <a:lnTo>
                    <a:pt x="2370" y="1164"/>
                  </a:lnTo>
                  <a:lnTo>
                    <a:pt x="2364" y="1170"/>
                  </a:lnTo>
                  <a:lnTo>
                    <a:pt x="2370" y="1170"/>
                  </a:lnTo>
                  <a:lnTo>
                    <a:pt x="2376" y="1170"/>
                  </a:lnTo>
                  <a:lnTo>
                    <a:pt x="2370" y="1176"/>
                  </a:lnTo>
                  <a:lnTo>
                    <a:pt x="2364" y="1176"/>
                  </a:lnTo>
                  <a:lnTo>
                    <a:pt x="2358" y="1182"/>
                  </a:lnTo>
                  <a:lnTo>
                    <a:pt x="2352" y="1182"/>
                  </a:lnTo>
                  <a:lnTo>
                    <a:pt x="2346" y="1188"/>
                  </a:lnTo>
                  <a:lnTo>
                    <a:pt x="2340" y="1182"/>
                  </a:lnTo>
                  <a:lnTo>
                    <a:pt x="2334" y="1182"/>
                  </a:lnTo>
                  <a:lnTo>
                    <a:pt x="2334" y="1188"/>
                  </a:lnTo>
                  <a:lnTo>
                    <a:pt x="2328" y="1194"/>
                  </a:lnTo>
                  <a:lnTo>
                    <a:pt x="2328" y="1200"/>
                  </a:lnTo>
                  <a:lnTo>
                    <a:pt x="2322" y="1224"/>
                  </a:lnTo>
                  <a:lnTo>
                    <a:pt x="2328" y="1230"/>
                  </a:lnTo>
                  <a:lnTo>
                    <a:pt x="2358" y="1230"/>
                  </a:lnTo>
                  <a:lnTo>
                    <a:pt x="2358" y="1242"/>
                  </a:lnTo>
                  <a:lnTo>
                    <a:pt x="2358" y="1254"/>
                  </a:lnTo>
                  <a:lnTo>
                    <a:pt x="2346" y="1254"/>
                  </a:lnTo>
                  <a:lnTo>
                    <a:pt x="2346" y="1278"/>
                  </a:lnTo>
                  <a:lnTo>
                    <a:pt x="2358" y="1278"/>
                  </a:lnTo>
                  <a:lnTo>
                    <a:pt x="2358" y="1284"/>
                  </a:lnTo>
                  <a:lnTo>
                    <a:pt x="2376" y="1284"/>
                  </a:lnTo>
                  <a:lnTo>
                    <a:pt x="2388" y="1278"/>
                  </a:lnTo>
                  <a:lnTo>
                    <a:pt x="2406" y="1278"/>
                  </a:lnTo>
                  <a:lnTo>
                    <a:pt x="2430" y="1284"/>
                  </a:lnTo>
                  <a:lnTo>
                    <a:pt x="2430" y="1302"/>
                  </a:lnTo>
                  <a:lnTo>
                    <a:pt x="2430" y="1314"/>
                  </a:lnTo>
                  <a:lnTo>
                    <a:pt x="2424" y="1326"/>
                  </a:lnTo>
                  <a:lnTo>
                    <a:pt x="2412" y="1326"/>
                  </a:lnTo>
                  <a:lnTo>
                    <a:pt x="2412" y="1344"/>
                  </a:lnTo>
                  <a:lnTo>
                    <a:pt x="2406" y="1344"/>
                  </a:lnTo>
                  <a:lnTo>
                    <a:pt x="2400" y="1362"/>
                  </a:lnTo>
                  <a:lnTo>
                    <a:pt x="2394" y="1368"/>
                  </a:lnTo>
                  <a:lnTo>
                    <a:pt x="2388" y="1374"/>
                  </a:lnTo>
                  <a:lnTo>
                    <a:pt x="2382" y="1380"/>
                  </a:lnTo>
                  <a:lnTo>
                    <a:pt x="2376" y="1386"/>
                  </a:lnTo>
                  <a:lnTo>
                    <a:pt x="2376" y="1392"/>
                  </a:lnTo>
                  <a:lnTo>
                    <a:pt x="2370" y="1404"/>
                  </a:lnTo>
                  <a:lnTo>
                    <a:pt x="2364" y="1416"/>
                  </a:lnTo>
                  <a:lnTo>
                    <a:pt x="2346" y="1434"/>
                  </a:lnTo>
                  <a:lnTo>
                    <a:pt x="2328" y="1440"/>
                  </a:lnTo>
                  <a:lnTo>
                    <a:pt x="2328" y="1446"/>
                  </a:lnTo>
                  <a:lnTo>
                    <a:pt x="2322" y="1452"/>
                  </a:lnTo>
                  <a:lnTo>
                    <a:pt x="2316" y="1452"/>
                  </a:lnTo>
                  <a:lnTo>
                    <a:pt x="2304" y="1446"/>
                  </a:lnTo>
                  <a:lnTo>
                    <a:pt x="2298" y="1446"/>
                  </a:lnTo>
                  <a:lnTo>
                    <a:pt x="2298" y="1434"/>
                  </a:lnTo>
                  <a:lnTo>
                    <a:pt x="2292" y="1434"/>
                  </a:lnTo>
                  <a:lnTo>
                    <a:pt x="2286" y="1428"/>
                  </a:lnTo>
                  <a:lnTo>
                    <a:pt x="2274" y="1416"/>
                  </a:lnTo>
                  <a:lnTo>
                    <a:pt x="2256" y="1404"/>
                  </a:lnTo>
                  <a:lnTo>
                    <a:pt x="2244" y="1386"/>
                  </a:lnTo>
                  <a:lnTo>
                    <a:pt x="2220" y="1368"/>
                  </a:lnTo>
                  <a:lnTo>
                    <a:pt x="2208" y="1362"/>
                  </a:lnTo>
                  <a:lnTo>
                    <a:pt x="2202" y="1350"/>
                  </a:lnTo>
                  <a:lnTo>
                    <a:pt x="2196" y="1350"/>
                  </a:lnTo>
                  <a:lnTo>
                    <a:pt x="2190" y="1356"/>
                  </a:lnTo>
                  <a:lnTo>
                    <a:pt x="2184" y="1356"/>
                  </a:lnTo>
                  <a:lnTo>
                    <a:pt x="2094" y="1350"/>
                  </a:lnTo>
                  <a:lnTo>
                    <a:pt x="2058" y="1350"/>
                  </a:lnTo>
                  <a:lnTo>
                    <a:pt x="2034" y="1890"/>
                  </a:lnTo>
                  <a:lnTo>
                    <a:pt x="2064" y="1890"/>
                  </a:lnTo>
                  <a:lnTo>
                    <a:pt x="2070" y="1896"/>
                  </a:lnTo>
                  <a:lnTo>
                    <a:pt x="2076" y="18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8" name="Freeform 33">
              <a:extLst>
                <a:ext uri="{FF2B5EF4-FFF2-40B4-BE49-F238E27FC236}">
                  <a16:creationId xmlns:a16="http://schemas.microsoft.com/office/drawing/2014/main" id="{0E96F118-1F4D-4E52-AF27-149259451CD6}"/>
                </a:ext>
              </a:extLst>
            </p:cNvPr>
            <p:cNvSpPr>
              <a:spLocks/>
            </p:cNvSpPr>
            <p:nvPr/>
          </p:nvSpPr>
          <p:spPr bwMode="gray">
            <a:xfrm>
              <a:off x="1266662" y="1459989"/>
              <a:ext cx="903421" cy="778302"/>
            </a:xfrm>
            <a:custGeom>
              <a:avLst/>
              <a:gdLst>
                <a:gd name="T0" fmla="*/ 143 w 1698"/>
                <a:gd name="T1" fmla="*/ 43 h 1464"/>
                <a:gd name="T2" fmla="*/ 131 w 1698"/>
                <a:gd name="T3" fmla="*/ 44 h 1464"/>
                <a:gd name="T4" fmla="*/ 126 w 1698"/>
                <a:gd name="T5" fmla="*/ 41 h 1464"/>
                <a:gd name="T6" fmla="*/ 119 w 1698"/>
                <a:gd name="T7" fmla="*/ 45 h 1464"/>
                <a:gd name="T8" fmla="*/ 111 w 1698"/>
                <a:gd name="T9" fmla="*/ 46 h 1464"/>
                <a:gd name="T10" fmla="*/ 107 w 1698"/>
                <a:gd name="T11" fmla="*/ 50 h 1464"/>
                <a:gd name="T12" fmla="*/ 107 w 1698"/>
                <a:gd name="T13" fmla="*/ 60 h 1464"/>
                <a:gd name="T14" fmla="*/ 104 w 1698"/>
                <a:gd name="T15" fmla="*/ 62 h 1464"/>
                <a:gd name="T16" fmla="*/ 97 w 1698"/>
                <a:gd name="T17" fmla="*/ 59 h 1464"/>
                <a:gd name="T18" fmla="*/ 92 w 1698"/>
                <a:gd name="T19" fmla="*/ 59 h 1464"/>
                <a:gd name="T20" fmla="*/ 90 w 1698"/>
                <a:gd name="T21" fmla="*/ 62 h 1464"/>
                <a:gd name="T22" fmla="*/ 93 w 1698"/>
                <a:gd name="T23" fmla="*/ 77 h 1464"/>
                <a:gd name="T24" fmla="*/ 85 w 1698"/>
                <a:gd name="T25" fmla="*/ 88 h 1464"/>
                <a:gd name="T26" fmla="*/ 70 w 1698"/>
                <a:gd name="T27" fmla="*/ 89 h 1464"/>
                <a:gd name="T28" fmla="*/ 65 w 1698"/>
                <a:gd name="T29" fmla="*/ 88 h 1464"/>
                <a:gd name="T30" fmla="*/ 50 w 1698"/>
                <a:gd name="T31" fmla="*/ 88 h 1464"/>
                <a:gd name="T32" fmla="*/ 48 w 1698"/>
                <a:gd name="T33" fmla="*/ 107 h 1464"/>
                <a:gd name="T34" fmla="*/ 47 w 1698"/>
                <a:gd name="T35" fmla="*/ 120 h 1464"/>
                <a:gd name="T36" fmla="*/ 43 w 1698"/>
                <a:gd name="T37" fmla="*/ 121 h 1464"/>
                <a:gd name="T38" fmla="*/ 40 w 1698"/>
                <a:gd name="T39" fmla="*/ 120 h 1464"/>
                <a:gd name="T40" fmla="*/ 35 w 1698"/>
                <a:gd name="T41" fmla="*/ 122 h 1464"/>
                <a:gd name="T42" fmla="*/ 29 w 1698"/>
                <a:gd name="T43" fmla="*/ 123 h 1464"/>
                <a:gd name="T44" fmla="*/ 24 w 1698"/>
                <a:gd name="T45" fmla="*/ 125 h 1464"/>
                <a:gd name="T46" fmla="*/ 20 w 1698"/>
                <a:gd name="T47" fmla="*/ 125 h 1464"/>
                <a:gd name="T48" fmla="*/ 18 w 1698"/>
                <a:gd name="T49" fmla="*/ 122 h 1464"/>
                <a:gd name="T50" fmla="*/ 26 w 1698"/>
                <a:gd name="T51" fmla="*/ 108 h 1464"/>
                <a:gd name="T52" fmla="*/ 24 w 1698"/>
                <a:gd name="T53" fmla="*/ 89 h 1464"/>
                <a:gd name="T54" fmla="*/ 28 w 1698"/>
                <a:gd name="T55" fmla="*/ 85 h 1464"/>
                <a:gd name="T56" fmla="*/ 32 w 1698"/>
                <a:gd name="T57" fmla="*/ 80 h 1464"/>
                <a:gd name="T58" fmla="*/ 36 w 1698"/>
                <a:gd name="T59" fmla="*/ 86 h 1464"/>
                <a:gd name="T60" fmla="*/ 39 w 1698"/>
                <a:gd name="T61" fmla="*/ 80 h 1464"/>
                <a:gd name="T62" fmla="*/ 41 w 1698"/>
                <a:gd name="T63" fmla="*/ 73 h 1464"/>
                <a:gd name="T64" fmla="*/ 38 w 1698"/>
                <a:gd name="T65" fmla="*/ 64 h 1464"/>
                <a:gd name="T66" fmla="*/ 39 w 1698"/>
                <a:gd name="T67" fmla="*/ 59 h 1464"/>
                <a:gd name="T68" fmla="*/ 32 w 1698"/>
                <a:gd name="T69" fmla="*/ 54 h 1464"/>
                <a:gd name="T70" fmla="*/ 32 w 1698"/>
                <a:gd name="T71" fmla="*/ 45 h 1464"/>
                <a:gd name="T72" fmla="*/ 31 w 1698"/>
                <a:gd name="T73" fmla="*/ 41 h 1464"/>
                <a:gd name="T74" fmla="*/ 24 w 1698"/>
                <a:gd name="T75" fmla="*/ 43 h 1464"/>
                <a:gd name="T76" fmla="*/ 17 w 1698"/>
                <a:gd name="T77" fmla="*/ 40 h 1464"/>
                <a:gd name="T78" fmla="*/ 11 w 1698"/>
                <a:gd name="T79" fmla="*/ 38 h 1464"/>
                <a:gd name="T80" fmla="*/ 2 w 1698"/>
                <a:gd name="T81" fmla="*/ 36 h 1464"/>
                <a:gd name="T82" fmla="*/ 0 w 1698"/>
                <a:gd name="T83" fmla="*/ 24 h 1464"/>
                <a:gd name="T84" fmla="*/ 11 w 1698"/>
                <a:gd name="T85" fmla="*/ 18 h 1464"/>
                <a:gd name="T86" fmla="*/ 19 w 1698"/>
                <a:gd name="T87" fmla="*/ 10 h 1464"/>
                <a:gd name="T88" fmla="*/ 28 w 1698"/>
                <a:gd name="T89" fmla="*/ 9 h 1464"/>
                <a:gd name="T90" fmla="*/ 40 w 1698"/>
                <a:gd name="T91" fmla="*/ 6 h 1464"/>
                <a:gd name="T92" fmla="*/ 49 w 1698"/>
                <a:gd name="T93" fmla="*/ 8 h 1464"/>
                <a:gd name="T94" fmla="*/ 56 w 1698"/>
                <a:gd name="T95" fmla="*/ 8 h 1464"/>
                <a:gd name="T96" fmla="*/ 64 w 1698"/>
                <a:gd name="T97" fmla="*/ 7 h 1464"/>
                <a:gd name="T98" fmla="*/ 74 w 1698"/>
                <a:gd name="T99" fmla="*/ 1 h 1464"/>
                <a:gd name="T100" fmla="*/ 83 w 1698"/>
                <a:gd name="T101" fmla="*/ 3 h 1464"/>
                <a:gd name="T102" fmla="*/ 99 w 1698"/>
                <a:gd name="T103" fmla="*/ 9 h 1464"/>
                <a:gd name="T104" fmla="*/ 112 w 1698"/>
                <a:gd name="T105" fmla="*/ 14 h 1464"/>
                <a:gd name="T106" fmla="*/ 119 w 1698"/>
                <a:gd name="T107" fmla="*/ 12 h 1464"/>
                <a:gd name="T108" fmla="*/ 128 w 1698"/>
                <a:gd name="T109" fmla="*/ 17 h 1464"/>
                <a:gd name="T110" fmla="*/ 141 w 1698"/>
                <a:gd name="T111" fmla="*/ 29 h 1464"/>
                <a:gd name="T112" fmla="*/ 145 w 1698"/>
                <a:gd name="T113" fmla="*/ 35 h 14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98"/>
                <a:gd name="T172" fmla="*/ 0 h 1464"/>
                <a:gd name="T173" fmla="*/ 1698 w 1698"/>
                <a:gd name="T174" fmla="*/ 1464 h 14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98" h="1464">
                  <a:moveTo>
                    <a:pt x="1698" y="462"/>
                  </a:moveTo>
                  <a:lnTo>
                    <a:pt x="1686" y="468"/>
                  </a:lnTo>
                  <a:lnTo>
                    <a:pt x="1680" y="474"/>
                  </a:lnTo>
                  <a:lnTo>
                    <a:pt x="1674" y="480"/>
                  </a:lnTo>
                  <a:lnTo>
                    <a:pt x="1668" y="480"/>
                  </a:lnTo>
                  <a:lnTo>
                    <a:pt x="1662" y="486"/>
                  </a:lnTo>
                  <a:lnTo>
                    <a:pt x="1656" y="492"/>
                  </a:lnTo>
                  <a:lnTo>
                    <a:pt x="1644" y="498"/>
                  </a:lnTo>
                  <a:lnTo>
                    <a:pt x="1626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0" y="516"/>
                  </a:lnTo>
                  <a:lnTo>
                    <a:pt x="1590" y="522"/>
                  </a:lnTo>
                  <a:lnTo>
                    <a:pt x="1566" y="522"/>
                  </a:lnTo>
                  <a:lnTo>
                    <a:pt x="1506" y="510"/>
                  </a:lnTo>
                  <a:lnTo>
                    <a:pt x="1500" y="510"/>
                  </a:lnTo>
                  <a:lnTo>
                    <a:pt x="1488" y="504"/>
                  </a:lnTo>
                  <a:lnTo>
                    <a:pt x="1482" y="498"/>
                  </a:lnTo>
                  <a:lnTo>
                    <a:pt x="1476" y="498"/>
                  </a:lnTo>
                  <a:lnTo>
                    <a:pt x="1476" y="492"/>
                  </a:lnTo>
                  <a:lnTo>
                    <a:pt x="1470" y="492"/>
                  </a:lnTo>
                  <a:lnTo>
                    <a:pt x="1464" y="486"/>
                  </a:lnTo>
                  <a:lnTo>
                    <a:pt x="1452" y="486"/>
                  </a:lnTo>
                  <a:lnTo>
                    <a:pt x="1446" y="474"/>
                  </a:lnTo>
                  <a:lnTo>
                    <a:pt x="1434" y="468"/>
                  </a:lnTo>
                  <a:lnTo>
                    <a:pt x="1416" y="468"/>
                  </a:lnTo>
                  <a:lnTo>
                    <a:pt x="1392" y="468"/>
                  </a:lnTo>
                  <a:lnTo>
                    <a:pt x="1374" y="474"/>
                  </a:lnTo>
                  <a:lnTo>
                    <a:pt x="1368" y="474"/>
                  </a:lnTo>
                  <a:lnTo>
                    <a:pt x="1368" y="486"/>
                  </a:lnTo>
                  <a:lnTo>
                    <a:pt x="1368" y="498"/>
                  </a:lnTo>
                  <a:lnTo>
                    <a:pt x="1368" y="522"/>
                  </a:lnTo>
                  <a:lnTo>
                    <a:pt x="1368" y="534"/>
                  </a:lnTo>
                  <a:lnTo>
                    <a:pt x="1362" y="546"/>
                  </a:lnTo>
                  <a:lnTo>
                    <a:pt x="1356" y="546"/>
                  </a:lnTo>
                  <a:lnTo>
                    <a:pt x="1344" y="540"/>
                  </a:lnTo>
                  <a:lnTo>
                    <a:pt x="1338" y="534"/>
                  </a:lnTo>
                  <a:lnTo>
                    <a:pt x="1308" y="522"/>
                  </a:lnTo>
                  <a:lnTo>
                    <a:pt x="1296" y="522"/>
                  </a:lnTo>
                  <a:lnTo>
                    <a:pt x="1278" y="528"/>
                  </a:lnTo>
                  <a:lnTo>
                    <a:pt x="1260" y="534"/>
                  </a:lnTo>
                  <a:lnTo>
                    <a:pt x="1242" y="546"/>
                  </a:lnTo>
                  <a:lnTo>
                    <a:pt x="1236" y="552"/>
                  </a:lnTo>
                  <a:lnTo>
                    <a:pt x="1224" y="558"/>
                  </a:lnTo>
                  <a:lnTo>
                    <a:pt x="1218" y="558"/>
                  </a:lnTo>
                  <a:lnTo>
                    <a:pt x="1218" y="564"/>
                  </a:lnTo>
                  <a:lnTo>
                    <a:pt x="1224" y="570"/>
                  </a:lnTo>
                  <a:lnTo>
                    <a:pt x="1224" y="582"/>
                  </a:lnTo>
                  <a:lnTo>
                    <a:pt x="1224" y="594"/>
                  </a:lnTo>
                  <a:lnTo>
                    <a:pt x="1212" y="618"/>
                  </a:lnTo>
                  <a:lnTo>
                    <a:pt x="1212" y="624"/>
                  </a:lnTo>
                  <a:lnTo>
                    <a:pt x="1212" y="630"/>
                  </a:lnTo>
                  <a:lnTo>
                    <a:pt x="1212" y="636"/>
                  </a:lnTo>
                  <a:lnTo>
                    <a:pt x="1218" y="654"/>
                  </a:lnTo>
                  <a:lnTo>
                    <a:pt x="1224" y="672"/>
                  </a:lnTo>
                  <a:lnTo>
                    <a:pt x="1230" y="696"/>
                  </a:lnTo>
                  <a:lnTo>
                    <a:pt x="1236" y="708"/>
                  </a:lnTo>
                  <a:lnTo>
                    <a:pt x="1236" y="714"/>
                  </a:lnTo>
                  <a:lnTo>
                    <a:pt x="1236" y="720"/>
                  </a:lnTo>
                  <a:lnTo>
                    <a:pt x="1218" y="726"/>
                  </a:lnTo>
                  <a:lnTo>
                    <a:pt x="1212" y="726"/>
                  </a:lnTo>
                  <a:lnTo>
                    <a:pt x="1206" y="726"/>
                  </a:lnTo>
                  <a:lnTo>
                    <a:pt x="1194" y="720"/>
                  </a:lnTo>
                  <a:lnTo>
                    <a:pt x="1194" y="714"/>
                  </a:lnTo>
                  <a:lnTo>
                    <a:pt x="1176" y="714"/>
                  </a:lnTo>
                  <a:lnTo>
                    <a:pt x="1164" y="708"/>
                  </a:lnTo>
                  <a:lnTo>
                    <a:pt x="1158" y="708"/>
                  </a:lnTo>
                  <a:lnTo>
                    <a:pt x="1140" y="702"/>
                  </a:lnTo>
                  <a:lnTo>
                    <a:pt x="1134" y="696"/>
                  </a:lnTo>
                  <a:lnTo>
                    <a:pt x="1128" y="690"/>
                  </a:lnTo>
                  <a:lnTo>
                    <a:pt x="1116" y="678"/>
                  </a:lnTo>
                  <a:lnTo>
                    <a:pt x="1110" y="678"/>
                  </a:lnTo>
                  <a:lnTo>
                    <a:pt x="1104" y="672"/>
                  </a:lnTo>
                  <a:lnTo>
                    <a:pt x="1092" y="672"/>
                  </a:lnTo>
                  <a:lnTo>
                    <a:pt x="1086" y="672"/>
                  </a:lnTo>
                  <a:lnTo>
                    <a:pt x="1080" y="672"/>
                  </a:lnTo>
                  <a:lnTo>
                    <a:pt x="1074" y="672"/>
                  </a:lnTo>
                  <a:lnTo>
                    <a:pt x="1068" y="672"/>
                  </a:lnTo>
                  <a:lnTo>
                    <a:pt x="1062" y="678"/>
                  </a:lnTo>
                  <a:lnTo>
                    <a:pt x="1056" y="678"/>
                  </a:lnTo>
                  <a:lnTo>
                    <a:pt x="1056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6"/>
                  </a:lnTo>
                  <a:lnTo>
                    <a:pt x="1032" y="708"/>
                  </a:lnTo>
                  <a:lnTo>
                    <a:pt x="1026" y="708"/>
                  </a:lnTo>
                  <a:lnTo>
                    <a:pt x="1032" y="714"/>
                  </a:lnTo>
                  <a:lnTo>
                    <a:pt x="1026" y="720"/>
                  </a:lnTo>
                  <a:lnTo>
                    <a:pt x="1020" y="720"/>
                  </a:lnTo>
                  <a:lnTo>
                    <a:pt x="1014" y="732"/>
                  </a:lnTo>
                  <a:lnTo>
                    <a:pt x="1014" y="744"/>
                  </a:lnTo>
                  <a:lnTo>
                    <a:pt x="1038" y="810"/>
                  </a:lnTo>
                  <a:lnTo>
                    <a:pt x="1050" y="834"/>
                  </a:lnTo>
                  <a:lnTo>
                    <a:pt x="1056" y="858"/>
                  </a:lnTo>
                  <a:lnTo>
                    <a:pt x="1062" y="876"/>
                  </a:lnTo>
                  <a:lnTo>
                    <a:pt x="1068" y="882"/>
                  </a:lnTo>
                  <a:lnTo>
                    <a:pt x="1062" y="972"/>
                  </a:lnTo>
                  <a:lnTo>
                    <a:pt x="1056" y="972"/>
                  </a:lnTo>
                  <a:lnTo>
                    <a:pt x="1050" y="996"/>
                  </a:lnTo>
                  <a:lnTo>
                    <a:pt x="1044" y="1014"/>
                  </a:lnTo>
                  <a:lnTo>
                    <a:pt x="1008" y="1014"/>
                  </a:lnTo>
                  <a:lnTo>
                    <a:pt x="1008" y="1008"/>
                  </a:lnTo>
                  <a:lnTo>
                    <a:pt x="990" y="1008"/>
                  </a:lnTo>
                  <a:lnTo>
                    <a:pt x="972" y="1014"/>
                  </a:lnTo>
                  <a:lnTo>
                    <a:pt x="948" y="1020"/>
                  </a:lnTo>
                  <a:lnTo>
                    <a:pt x="918" y="1026"/>
                  </a:lnTo>
                  <a:lnTo>
                    <a:pt x="840" y="1032"/>
                  </a:lnTo>
                  <a:lnTo>
                    <a:pt x="834" y="1032"/>
                  </a:lnTo>
                  <a:lnTo>
                    <a:pt x="834" y="1026"/>
                  </a:lnTo>
                  <a:lnTo>
                    <a:pt x="822" y="1026"/>
                  </a:lnTo>
                  <a:lnTo>
                    <a:pt x="816" y="1032"/>
                  </a:lnTo>
                  <a:lnTo>
                    <a:pt x="804" y="1032"/>
                  </a:lnTo>
                  <a:lnTo>
                    <a:pt x="798" y="1026"/>
                  </a:lnTo>
                  <a:lnTo>
                    <a:pt x="780" y="1026"/>
                  </a:lnTo>
                  <a:lnTo>
                    <a:pt x="762" y="1026"/>
                  </a:lnTo>
                  <a:lnTo>
                    <a:pt x="756" y="1026"/>
                  </a:lnTo>
                  <a:lnTo>
                    <a:pt x="750" y="1026"/>
                  </a:lnTo>
                  <a:lnTo>
                    <a:pt x="756" y="1020"/>
                  </a:lnTo>
                  <a:lnTo>
                    <a:pt x="750" y="1020"/>
                  </a:lnTo>
                  <a:lnTo>
                    <a:pt x="744" y="1014"/>
                  </a:lnTo>
                  <a:lnTo>
                    <a:pt x="684" y="1020"/>
                  </a:lnTo>
                  <a:lnTo>
                    <a:pt x="648" y="1020"/>
                  </a:lnTo>
                  <a:lnTo>
                    <a:pt x="630" y="1020"/>
                  </a:lnTo>
                  <a:lnTo>
                    <a:pt x="618" y="1020"/>
                  </a:lnTo>
                  <a:lnTo>
                    <a:pt x="606" y="1014"/>
                  </a:lnTo>
                  <a:lnTo>
                    <a:pt x="582" y="1014"/>
                  </a:lnTo>
                  <a:lnTo>
                    <a:pt x="576" y="1014"/>
                  </a:lnTo>
                  <a:lnTo>
                    <a:pt x="570" y="1014"/>
                  </a:lnTo>
                  <a:lnTo>
                    <a:pt x="564" y="1020"/>
                  </a:lnTo>
                  <a:lnTo>
                    <a:pt x="558" y="1026"/>
                  </a:lnTo>
                  <a:lnTo>
                    <a:pt x="552" y="1032"/>
                  </a:lnTo>
                  <a:lnTo>
                    <a:pt x="552" y="1038"/>
                  </a:lnTo>
                  <a:lnTo>
                    <a:pt x="558" y="1194"/>
                  </a:lnTo>
                  <a:lnTo>
                    <a:pt x="558" y="1206"/>
                  </a:lnTo>
                  <a:lnTo>
                    <a:pt x="552" y="1218"/>
                  </a:lnTo>
                  <a:lnTo>
                    <a:pt x="552" y="1236"/>
                  </a:lnTo>
                  <a:lnTo>
                    <a:pt x="546" y="1272"/>
                  </a:lnTo>
                  <a:lnTo>
                    <a:pt x="546" y="1308"/>
                  </a:lnTo>
                  <a:lnTo>
                    <a:pt x="540" y="1332"/>
                  </a:lnTo>
                  <a:lnTo>
                    <a:pt x="546" y="1356"/>
                  </a:lnTo>
                  <a:lnTo>
                    <a:pt x="546" y="1362"/>
                  </a:lnTo>
                  <a:lnTo>
                    <a:pt x="546" y="1374"/>
                  </a:lnTo>
                  <a:lnTo>
                    <a:pt x="546" y="1380"/>
                  </a:lnTo>
                  <a:lnTo>
                    <a:pt x="540" y="1380"/>
                  </a:lnTo>
                  <a:lnTo>
                    <a:pt x="522" y="1380"/>
                  </a:lnTo>
                  <a:lnTo>
                    <a:pt x="516" y="1380"/>
                  </a:lnTo>
                  <a:lnTo>
                    <a:pt x="516" y="1386"/>
                  </a:lnTo>
                  <a:lnTo>
                    <a:pt x="516" y="1392"/>
                  </a:lnTo>
                  <a:lnTo>
                    <a:pt x="510" y="1392"/>
                  </a:lnTo>
                  <a:lnTo>
                    <a:pt x="504" y="1386"/>
                  </a:lnTo>
                  <a:lnTo>
                    <a:pt x="498" y="1392"/>
                  </a:lnTo>
                  <a:lnTo>
                    <a:pt x="492" y="1398"/>
                  </a:lnTo>
                  <a:lnTo>
                    <a:pt x="486" y="1398"/>
                  </a:lnTo>
                  <a:lnTo>
                    <a:pt x="486" y="1392"/>
                  </a:lnTo>
                  <a:lnTo>
                    <a:pt x="486" y="1380"/>
                  </a:lnTo>
                  <a:lnTo>
                    <a:pt x="486" y="1374"/>
                  </a:lnTo>
                  <a:lnTo>
                    <a:pt x="480" y="1374"/>
                  </a:lnTo>
                  <a:lnTo>
                    <a:pt x="474" y="1374"/>
                  </a:lnTo>
                  <a:lnTo>
                    <a:pt x="468" y="1380"/>
                  </a:lnTo>
                  <a:lnTo>
                    <a:pt x="462" y="1380"/>
                  </a:lnTo>
                  <a:lnTo>
                    <a:pt x="456" y="1380"/>
                  </a:lnTo>
                  <a:lnTo>
                    <a:pt x="450" y="1386"/>
                  </a:lnTo>
                  <a:lnTo>
                    <a:pt x="444" y="1386"/>
                  </a:lnTo>
                  <a:lnTo>
                    <a:pt x="444" y="1392"/>
                  </a:lnTo>
                  <a:lnTo>
                    <a:pt x="432" y="1398"/>
                  </a:lnTo>
                  <a:lnTo>
                    <a:pt x="426" y="1404"/>
                  </a:lnTo>
                  <a:lnTo>
                    <a:pt x="420" y="1404"/>
                  </a:lnTo>
                  <a:lnTo>
                    <a:pt x="408" y="1404"/>
                  </a:lnTo>
                  <a:lnTo>
                    <a:pt x="378" y="1410"/>
                  </a:lnTo>
                  <a:lnTo>
                    <a:pt x="372" y="1410"/>
                  </a:lnTo>
                  <a:lnTo>
                    <a:pt x="360" y="1410"/>
                  </a:lnTo>
                  <a:lnTo>
                    <a:pt x="354" y="1416"/>
                  </a:lnTo>
                  <a:lnTo>
                    <a:pt x="348" y="1416"/>
                  </a:lnTo>
                  <a:lnTo>
                    <a:pt x="342" y="1410"/>
                  </a:lnTo>
                  <a:lnTo>
                    <a:pt x="336" y="1410"/>
                  </a:lnTo>
                  <a:lnTo>
                    <a:pt x="336" y="1416"/>
                  </a:lnTo>
                  <a:lnTo>
                    <a:pt x="330" y="1422"/>
                  </a:lnTo>
                  <a:lnTo>
                    <a:pt x="324" y="1422"/>
                  </a:lnTo>
                  <a:lnTo>
                    <a:pt x="318" y="1422"/>
                  </a:lnTo>
                  <a:lnTo>
                    <a:pt x="312" y="1428"/>
                  </a:lnTo>
                  <a:lnTo>
                    <a:pt x="312" y="1434"/>
                  </a:lnTo>
                  <a:lnTo>
                    <a:pt x="300" y="1428"/>
                  </a:lnTo>
                  <a:lnTo>
                    <a:pt x="288" y="1434"/>
                  </a:lnTo>
                  <a:lnTo>
                    <a:pt x="282" y="1440"/>
                  </a:lnTo>
                  <a:lnTo>
                    <a:pt x="282" y="1446"/>
                  </a:lnTo>
                  <a:lnTo>
                    <a:pt x="276" y="1446"/>
                  </a:lnTo>
                  <a:lnTo>
                    <a:pt x="276" y="1452"/>
                  </a:lnTo>
                  <a:lnTo>
                    <a:pt x="270" y="1452"/>
                  </a:lnTo>
                  <a:lnTo>
                    <a:pt x="258" y="1464"/>
                  </a:lnTo>
                  <a:lnTo>
                    <a:pt x="240" y="1458"/>
                  </a:lnTo>
                  <a:lnTo>
                    <a:pt x="234" y="1452"/>
                  </a:lnTo>
                  <a:lnTo>
                    <a:pt x="234" y="1446"/>
                  </a:lnTo>
                  <a:lnTo>
                    <a:pt x="228" y="1446"/>
                  </a:lnTo>
                  <a:lnTo>
                    <a:pt x="222" y="1440"/>
                  </a:lnTo>
                  <a:lnTo>
                    <a:pt x="216" y="1440"/>
                  </a:lnTo>
                  <a:lnTo>
                    <a:pt x="210" y="1428"/>
                  </a:lnTo>
                  <a:lnTo>
                    <a:pt x="210" y="1422"/>
                  </a:lnTo>
                  <a:lnTo>
                    <a:pt x="198" y="1416"/>
                  </a:lnTo>
                  <a:lnTo>
                    <a:pt x="204" y="1410"/>
                  </a:lnTo>
                  <a:lnTo>
                    <a:pt x="210" y="1404"/>
                  </a:lnTo>
                  <a:lnTo>
                    <a:pt x="210" y="1398"/>
                  </a:lnTo>
                  <a:lnTo>
                    <a:pt x="252" y="1368"/>
                  </a:lnTo>
                  <a:lnTo>
                    <a:pt x="276" y="1350"/>
                  </a:lnTo>
                  <a:lnTo>
                    <a:pt x="300" y="1338"/>
                  </a:lnTo>
                  <a:lnTo>
                    <a:pt x="294" y="1314"/>
                  </a:lnTo>
                  <a:lnTo>
                    <a:pt x="288" y="1308"/>
                  </a:lnTo>
                  <a:lnTo>
                    <a:pt x="300" y="1266"/>
                  </a:lnTo>
                  <a:lnTo>
                    <a:pt x="300" y="1242"/>
                  </a:lnTo>
                  <a:lnTo>
                    <a:pt x="300" y="1206"/>
                  </a:lnTo>
                  <a:lnTo>
                    <a:pt x="300" y="1164"/>
                  </a:lnTo>
                  <a:lnTo>
                    <a:pt x="294" y="1134"/>
                  </a:lnTo>
                  <a:lnTo>
                    <a:pt x="282" y="1086"/>
                  </a:lnTo>
                  <a:lnTo>
                    <a:pt x="276" y="1074"/>
                  </a:lnTo>
                  <a:lnTo>
                    <a:pt x="276" y="1056"/>
                  </a:lnTo>
                  <a:lnTo>
                    <a:pt x="270" y="1038"/>
                  </a:lnTo>
                  <a:lnTo>
                    <a:pt x="270" y="1020"/>
                  </a:lnTo>
                  <a:lnTo>
                    <a:pt x="282" y="1020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94" y="1002"/>
                  </a:lnTo>
                  <a:lnTo>
                    <a:pt x="306" y="996"/>
                  </a:lnTo>
                  <a:lnTo>
                    <a:pt x="312" y="990"/>
                  </a:lnTo>
                  <a:lnTo>
                    <a:pt x="318" y="990"/>
                  </a:lnTo>
                  <a:lnTo>
                    <a:pt x="324" y="984"/>
                  </a:lnTo>
                  <a:lnTo>
                    <a:pt x="324" y="978"/>
                  </a:lnTo>
                  <a:lnTo>
                    <a:pt x="324" y="972"/>
                  </a:lnTo>
                  <a:lnTo>
                    <a:pt x="324" y="954"/>
                  </a:lnTo>
                  <a:lnTo>
                    <a:pt x="336" y="948"/>
                  </a:lnTo>
                  <a:lnTo>
                    <a:pt x="342" y="936"/>
                  </a:lnTo>
                  <a:lnTo>
                    <a:pt x="348" y="924"/>
                  </a:lnTo>
                  <a:lnTo>
                    <a:pt x="354" y="924"/>
                  </a:lnTo>
                  <a:lnTo>
                    <a:pt x="372" y="924"/>
                  </a:lnTo>
                  <a:lnTo>
                    <a:pt x="372" y="930"/>
                  </a:lnTo>
                  <a:lnTo>
                    <a:pt x="378" y="930"/>
                  </a:lnTo>
                  <a:lnTo>
                    <a:pt x="378" y="936"/>
                  </a:lnTo>
                  <a:lnTo>
                    <a:pt x="384" y="936"/>
                  </a:lnTo>
                  <a:lnTo>
                    <a:pt x="384" y="942"/>
                  </a:lnTo>
                  <a:lnTo>
                    <a:pt x="402" y="942"/>
                  </a:lnTo>
                  <a:lnTo>
                    <a:pt x="402" y="996"/>
                  </a:lnTo>
                  <a:lnTo>
                    <a:pt x="414" y="996"/>
                  </a:lnTo>
                  <a:lnTo>
                    <a:pt x="420" y="996"/>
                  </a:lnTo>
                  <a:lnTo>
                    <a:pt x="426" y="996"/>
                  </a:lnTo>
                  <a:lnTo>
                    <a:pt x="432" y="996"/>
                  </a:lnTo>
                  <a:lnTo>
                    <a:pt x="438" y="996"/>
                  </a:lnTo>
                  <a:lnTo>
                    <a:pt x="438" y="942"/>
                  </a:lnTo>
                  <a:lnTo>
                    <a:pt x="444" y="930"/>
                  </a:lnTo>
                  <a:lnTo>
                    <a:pt x="444" y="924"/>
                  </a:lnTo>
                  <a:lnTo>
                    <a:pt x="444" y="918"/>
                  </a:lnTo>
                  <a:lnTo>
                    <a:pt x="462" y="918"/>
                  </a:lnTo>
                  <a:lnTo>
                    <a:pt x="474" y="906"/>
                  </a:lnTo>
                  <a:lnTo>
                    <a:pt x="480" y="900"/>
                  </a:lnTo>
                  <a:lnTo>
                    <a:pt x="486" y="888"/>
                  </a:lnTo>
                  <a:lnTo>
                    <a:pt x="492" y="876"/>
                  </a:lnTo>
                  <a:lnTo>
                    <a:pt x="492" y="858"/>
                  </a:lnTo>
                  <a:lnTo>
                    <a:pt x="480" y="858"/>
                  </a:lnTo>
                  <a:lnTo>
                    <a:pt x="474" y="840"/>
                  </a:lnTo>
                  <a:lnTo>
                    <a:pt x="450" y="834"/>
                  </a:lnTo>
                  <a:lnTo>
                    <a:pt x="438" y="816"/>
                  </a:lnTo>
                  <a:lnTo>
                    <a:pt x="432" y="792"/>
                  </a:lnTo>
                  <a:lnTo>
                    <a:pt x="432" y="786"/>
                  </a:lnTo>
                  <a:lnTo>
                    <a:pt x="432" y="774"/>
                  </a:lnTo>
                  <a:lnTo>
                    <a:pt x="432" y="762"/>
                  </a:lnTo>
                  <a:lnTo>
                    <a:pt x="438" y="750"/>
                  </a:lnTo>
                  <a:lnTo>
                    <a:pt x="438" y="738"/>
                  </a:lnTo>
                  <a:lnTo>
                    <a:pt x="444" y="732"/>
                  </a:lnTo>
                  <a:lnTo>
                    <a:pt x="450" y="732"/>
                  </a:lnTo>
                  <a:lnTo>
                    <a:pt x="456" y="732"/>
                  </a:lnTo>
                  <a:lnTo>
                    <a:pt x="456" y="726"/>
                  </a:lnTo>
                  <a:lnTo>
                    <a:pt x="456" y="714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44" y="684"/>
                  </a:lnTo>
                  <a:lnTo>
                    <a:pt x="438" y="666"/>
                  </a:lnTo>
                  <a:lnTo>
                    <a:pt x="426" y="666"/>
                  </a:lnTo>
                  <a:lnTo>
                    <a:pt x="432" y="666"/>
                  </a:lnTo>
                  <a:lnTo>
                    <a:pt x="420" y="666"/>
                  </a:lnTo>
                  <a:lnTo>
                    <a:pt x="414" y="660"/>
                  </a:lnTo>
                  <a:lnTo>
                    <a:pt x="396" y="654"/>
                  </a:lnTo>
                  <a:lnTo>
                    <a:pt x="384" y="642"/>
                  </a:lnTo>
                  <a:lnTo>
                    <a:pt x="366" y="624"/>
                  </a:lnTo>
                  <a:lnTo>
                    <a:pt x="354" y="606"/>
                  </a:lnTo>
                  <a:lnTo>
                    <a:pt x="342" y="588"/>
                  </a:lnTo>
                  <a:lnTo>
                    <a:pt x="342" y="582"/>
                  </a:lnTo>
                  <a:lnTo>
                    <a:pt x="360" y="564"/>
                  </a:lnTo>
                  <a:lnTo>
                    <a:pt x="372" y="540"/>
                  </a:lnTo>
                  <a:lnTo>
                    <a:pt x="366" y="528"/>
                  </a:lnTo>
                  <a:lnTo>
                    <a:pt x="366" y="522"/>
                  </a:lnTo>
                  <a:lnTo>
                    <a:pt x="372" y="516"/>
                  </a:lnTo>
                  <a:lnTo>
                    <a:pt x="384" y="504"/>
                  </a:lnTo>
                  <a:lnTo>
                    <a:pt x="378" y="492"/>
                  </a:lnTo>
                  <a:lnTo>
                    <a:pt x="378" y="486"/>
                  </a:lnTo>
                  <a:lnTo>
                    <a:pt x="378" y="480"/>
                  </a:lnTo>
                  <a:lnTo>
                    <a:pt x="378" y="474"/>
                  </a:lnTo>
                  <a:lnTo>
                    <a:pt x="378" y="468"/>
                  </a:lnTo>
                  <a:lnTo>
                    <a:pt x="366" y="468"/>
                  </a:lnTo>
                  <a:lnTo>
                    <a:pt x="360" y="474"/>
                  </a:lnTo>
                  <a:lnTo>
                    <a:pt x="354" y="480"/>
                  </a:lnTo>
                  <a:lnTo>
                    <a:pt x="348" y="486"/>
                  </a:lnTo>
                  <a:lnTo>
                    <a:pt x="348" y="492"/>
                  </a:lnTo>
                  <a:lnTo>
                    <a:pt x="336" y="510"/>
                  </a:lnTo>
                  <a:lnTo>
                    <a:pt x="300" y="516"/>
                  </a:lnTo>
                  <a:lnTo>
                    <a:pt x="300" y="510"/>
                  </a:lnTo>
                  <a:lnTo>
                    <a:pt x="282" y="504"/>
                  </a:lnTo>
                  <a:lnTo>
                    <a:pt x="282" y="498"/>
                  </a:lnTo>
                  <a:lnTo>
                    <a:pt x="264" y="486"/>
                  </a:lnTo>
                  <a:lnTo>
                    <a:pt x="258" y="492"/>
                  </a:lnTo>
                  <a:lnTo>
                    <a:pt x="234" y="492"/>
                  </a:lnTo>
                  <a:lnTo>
                    <a:pt x="222" y="486"/>
                  </a:lnTo>
                  <a:lnTo>
                    <a:pt x="204" y="480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92" y="462"/>
                  </a:lnTo>
                  <a:lnTo>
                    <a:pt x="186" y="462"/>
                  </a:lnTo>
                  <a:lnTo>
                    <a:pt x="180" y="468"/>
                  </a:lnTo>
                  <a:lnTo>
                    <a:pt x="150" y="450"/>
                  </a:lnTo>
                  <a:lnTo>
                    <a:pt x="144" y="438"/>
                  </a:lnTo>
                  <a:lnTo>
                    <a:pt x="138" y="438"/>
                  </a:lnTo>
                  <a:lnTo>
                    <a:pt x="132" y="432"/>
                  </a:lnTo>
                  <a:lnTo>
                    <a:pt x="126" y="432"/>
                  </a:lnTo>
                  <a:lnTo>
                    <a:pt x="120" y="432"/>
                  </a:lnTo>
                  <a:lnTo>
                    <a:pt x="102" y="426"/>
                  </a:lnTo>
                  <a:lnTo>
                    <a:pt x="96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2" y="414"/>
                  </a:lnTo>
                  <a:lnTo>
                    <a:pt x="60" y="414"/>
                  </a:lnTo>
                  <a:lnTo>
                    <a:pt x="30" y="414"/>
                  </a:lnTo>
                  <a:lnTo>
                    <a:pt x="24" y="414"/>
                  </a:lnTo>
                  <a:lnTo>
                    <a:pt x="12" y="414"/>
                  </a:lnTo>
                  <a:lnTo>
                    <a:pt x="0" y="420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0" y="336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30" y="270"/>
                  </a:lnTo>
                  <a:lnTo>
                    <a:pt x="42" y="270"/>
                  </a:lnTo>
                  <a:lnTo>
                    <a:pt x="54" y="264"/>
                  </a:lnTo>
                  <a:lnTo>
                    <a:pt x="78" y="240"/>
                  </a:lnTo>
                  <a:lnTo>
                    <a:pt x="102" y="216"/>
                  </a:lnTo>
                  <a:lnTo>
                    <a:pt x="114" y="210"/>
                  </a:lnTo>
                  <a:lnTo>
                    <a:pt x="120" y="204"/>
                  </a:lnTo>
                  <a:lnTo>
                    <a:pt x="126" y="198"/>
                  </a:lnTo>
                  <a:lnTo>
                    <a:pt x="138" y="18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38"/>
                  </a:lnTo>
                  <a:lnTo>
                    <a:pt x="210" y="126"/>
                  </a:lnTo>
                  <a:lnTo>
                    <a:pt x="216" y="120"/>
                  </a:lnTo>
                  <a:lnTo>
                    <a:pt x="222" y="120"/>
                  </a:lnTo>
                  <a:lnTo>
                    <a:pt x="258" y="114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300" y="102"/>
                  </a:lnTo>
                  <a:lnTo>
                    <a:pt x="312" y="102"/>
                  </a:lnTo>
                  <a:lnTo>
                    <a:pt x="318" y="102"/>
                  </a:lnTo>
                  <a:lnTo>
                    <a:pt x="348" y="96"/>
                  </a:lnTo>
                  <a:lnTo>
                    <a:pt x="366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408" y="84"/>
                  </a:lnTo>
                  <a:lnTo>
                    <a:pt x="420" y="84"/>
                  </a:lnTo>
                  <a:lnTo>
                    <a:pt x="462" y="72"/>
                  </a:lnTo>
                  <a:lnTo>
                    <a:pt x="474" y="72"/>
                  </a:lnTo>
                  <a:lnTo>
                    <a:pt x="474" y="78"/>
                  </a:lnTo>
                  <a:lnTo>
                    <a:pt x="492" y="90"/>
                  </a:lnTo>
                  <a:lnTo>
                    <a:pt x="498" y="90"/>
                  </a:lnTo>
                  <a:lnTo>
                    <a:pt x="522" y="96"/>
                  </a:lnTo>
                  <a:lnTo>
                    <a:pt x="540" y="96"/>
                  </a:lnTo>
                  <a:lnTo>
                    <a:pt x="546" y="96"/>
                  </a:lnTo>
                  <a:lnTo>
                    <a:pt x="558" y="96"/>
                  </a:lnTo>
                  <a:lnTo>
                    <a:pt x="564" y="96"/>
                  </a:lnTo>
                  <a:lnTo>
                    <a:pt x="576" y="96"/>
                  </a:lnTo>
                  <a:lnTo>
                    <a:pt x="588" y="96"/>
                  </a:lnTo>
                  <a:lnTo>
                    <a:pt x="612" y="90"/>
                  </a:lnTo>
                  <a:lnTo>
                    <a:pt x="624" y="90"/>
                  </a:lnTo>
                  <a:lnTo>
                    <a:pt x="636" y="90"/>
                  </a:lnTo>
                  <a:lnTo>
                    <a:pt x="642" y="90"/>
                  </a:lnTo>
                  <a:lnTo>
                    <a:pt x="648" y="96"/>
                  </a:lnTo>
                  <a:lnTo>
                    <a:pt x="660" y="96"/>
                  </a:lnTo>
                  <a:lnTo>
                    <a:pt x="666" y="96"/>
                  </a:lnTo>
                  <a:lnTo>
                    <a:pt x="672" y="96"/>
                  </a:lnTo>
                  <a:lnTo>
                    <a:pt x="684" y="96"/>
                  </a:lnTo>
                  <a:lnTo>
                    <a:pt x="708" y="96"/>
                  </a:lnTo>
                  <a:lnTo>
                    <a:pt x="714" y="96"/>
                  </a:lnTo>
                  <a:lnTo>
                    <a:pt x="726" y="96"/>
                  </a:lnTo>
                  <a:lnTo>
                    <a:pt x="738" y="84"/>
                  </a:lnTo>
                  <a:lnTo>
                    <a:pt x="744" y="78"/>
                  </a:lnTo>
                  <a:lnTo>
                    <a:pt x="756" y="66"/>
                  </a:lnTo>
                  <a:lnTo>
                    <a:pt x="774" y="42"/>
                  </a:lnTo>
                  <a:lnTo>
                    <a:pt x="780" y="30"/>
                  </a:lnTo>
                  <a:lnTo>
                    <a:pt x="816" y="24"/>
                  </a:lnTo>
                  <a:lnTo>
                    <a:pt x="840" y="18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64" y="6"/>
                  </a:lnTo>
                  <a:lnTo>
                    <a:pt x="870" y="6"/>
                  </a:lnTo>
                  <a:lnTo>
                    <a:pt x="894" y="0"/>
                  </a:lnTo>
                  <a:lnTo>
                    <a:pt x="900" y="6"/>
                  </a:lnTo>
                  <a:lnTo>
                    <a:pt x="930" y="18"/>
                  </a:lnTo>
                  <a:lnTo>
                    <a:pt x="942" y="24"/>
                  </a:lnTo>
                  <a:lnTo>
                    <a:pt x="954" y="30"/>
                  </a:lnTo>
                  <a:lnTo>
                    <a:pt x="1026" y="60"/>
                  </a:lnTo>
                  <a:lnTo>
                    <a:pt x="1032" y="60"/>
                  </a:lnTo>
                  <a:lnTo>
                    <a:pt x="1038" y="66"/>
                  </a:lnTo>
                  <a:lnTo>
                    <a:pt x="1068" y="72"/>
                  </a:lnTo>
                  <a:lnTo>
                    <a:pt x="1098" y="84"/>
                  </a:lnTo>
                  <a:lnTo>
                    <a:pt x="1122" y="90"/>
                  </a:lnTo>
                  <a:lnTo>
                    <a:pt x="1122" y="96"/>
                  </a:lnTo>
                  <a:lnTo>
                    <a:pt x="1140" y="102"/>
                  </a:lnTo>
                  <a:lnTo>
                    <a:pt x="1182" y="114"/>
                  </a:lnTo>
                  <a:lnTo>
                    <a:pt x="1188" y="114"/>
                  </a:lnTo>
                  <a:lnTo>
                    <a:pt x="1200" y="120"/>
                  </a:lnTo>
                  <a:lnTo>
                    <a:pt x="1212" y="126"/>
                  </a:lnTo>
                  <a:lnTo>
                    <a:pt x="1224" y="126"/>
                  </a:lnTo>
                  <a:lnTo>
                    <a:pt x="1248" y="138"/>
                  </a:lnTo>
                  <a:lnTo>
                    <a:pt x="1272" y="150"/>
                  </a:lnTo>
                  <a:lnTo>
                    <a:pt x="1284" y="156"/>
                  </a:lnTo>
                  <a:lnTo>
                    <a:pt x="1290" y="162"/>
                  </a:lnTo>
                  <a:lnTo>
                    <a:pt x="1296" y="162"/>
                  </a:lnTo>
                  <a:lnTo>
                    <a:pt x="1308" y="156"/>
                  </a:lnTo>
                  <a:lnTo>
                    <a:pt x="1320" y="150"/>
                  </a:lnTo>
                  <a:lnTo>
                    <a:pt x="1326" y="150"/>
                  </a:lnTo>
                  <a:lnTo>
                    <a:pt x="1338" y="144"/>
                  </a:lnTo>
                  <a:lnTo>
                    <a:pt x="1362" y="144"/>
                  </a:lnTo>
                  <a:lnTo>
                    <a:pt x="1368" y="144"/>
                  </a:lnTo>
                  <a:lnTo>
                    <a:pt x="1374" y="144"/>
                  </a:lnTo>
                  <a:lnTo>
                    <a:pt x="1386" y="150"/>
                  </a:lnTo>
                  <a:lnTo>
                    <a:pt x="1392" y="150"/>
                  </a:lnTo>
                  <a:lnTo>
                    <a:pt x="1398" y="150"/>
                  </a:lnTo>
                  <a:lnTo>
                    <a:pt x="1416" y="162"/>
                  </a:lnTo>
                  <a:lnTo>
                    <a:pt x="1458" y="186"/>
                  </a:lnTo>
                  <a:lnTo>
                    <a:pt x="1464" y="186"/>
                  </a:lnTo>
                  <a:lnTo>
                    <a:pt x="1470" y="192"/>
                  </a:lnTo>
                  <a:lnTo>
                    <a:pt x="1482" y="204"/>
                  </a:lnTo>
                  <a:lnTo>
                    <a:pt x="1512" y="234"/>
                  </a:lnTo>
                  <a:lnTo>
                    <a:pt x="1554" y="276"/>
                  </a:lnTo>
                  <a:lnTo>
                    <a:pt x="1560" y="276"/>
                  </a:lnTo>
                  <a:lnTo>
                    <a:pt x="1566" y="282"/>
                  </a:lnTo>
                  <a:lnTo>
                    <a:pt x="1578" y="294"/>
                  </a:lnTo>
                  <a:lnTo>
                    <a:pt x="1602" y="318"/>
                  </a:lnTo>
                  <a:lnTo>
                    <a:pt x="1614" y="330"/>
                  </a:lnTo>
                  <a:lnTo>
                    <a:pt x="1620" y="336"/>
                  </a:lnTo>
                  <a:lnTo>
                    <a:pt x="1626" y="342"/>
                  </a:lnTo>
                  <a:lnTo>
                    <a:pt x="1632" y="354"/>
                  </a:lnTo>
                  <a:lnTo>
                    <a:pt x="1644" y="366"/>
                  </a:lnTo>
                  <a:lnTo>
                    <a:pt x="1650" y="378"/>
                  </a:lnTo>
                  <a:lnTo>
                    <a:pt x="1650" y="384"/>
                  </a:lnTo>
                  <a:lnTo>
                    <a:pt x="1656" y="384"/>
                  </a:lnTo>
                  <a:lnTo>
                    <a:pt x="1662" y="402"/>
                  </a:lnTo>
                  <a:lnTo>
                    <a:pt x="1668" y="408"/>
                  </a:lnTo>
                  <a:lnTo>
                    <a:pt x="1674" y="426"/>
                  </a:lnTo>
                  <a:lnTo>
                    <a:pt x="1686" y="438"/>
                  </a:lnTo>
                  <a:lnTo>
                    <a:pt x="1698" y="46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9" name="Freeform 34">
              <a:extLst>
                <a:ext uri="{FF2B5EF4-FFF2-40B4-BE49-F238E27FC236}">
                  <a16:creationId xmlns:a16="http://schemas.microsoft.com/office/drawing/2014/main" id="{94603F24-8CF7-4226-A433-00D18CA7D9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1988" y="1681402"/>
              <a:ext cx="869877" cy="1060101"/>
            </a:xfrm>
            <a:custGeom>
              <a:avLst/>
              <a:gdLst>
                <a:gd name="T0" fmla="*/ 4 w 1638"/>
                <a:gd name="T1" fmla="*/ 111 h 1998"/>
                <a:gd name="T2" fmla="*/ 6 w 1638"/>
                <a:gd name="T3" fmla="*/ 87 h 1998"/>
                <a:gd name="T4" fmla="*/ 10 w 1638"/>
                <a:gd name="T5" fmla="*/ 80 h 1998"/>
                <a:gd name="T6" fmla="*/ 10 w 1638"/>
                <a:gd name="T7" fmla="*/ 71 h 1998"/>
                <a:gd name="T8" fmla="*/ 9 w 1638"/>
                <a:gd name="T9" fmla="*/ 56 h 1998"/>
                <a:gd name="T10" fmla="*/ 8 w 1638"/>
                <a:gd name="T11" fmla="*/ 40 h 1998"/>
                <a:gd name="T12" fmla="*/ 20 w 1638"/>
                <a:gd name="T13" fmla="*/ 30 h 1998"/>
                <a:gd name="T14" fmla="*/ 30 w 1638"/>
                <a:gd name="T15" fmla="*/ 19 h 1998"/>
                <a:gd name="T16" fmla="*/ 35 w 1638"/>
                <a:gd name="T17" fmla="*/ 2 h 1998"/>
                <a:gd name="T18" fmla="*/ 47 w 1638"/>
                <a:gd name="T19" fmla="*/ 2 h 1998"/>
                <a:gd name="T20" fmla="*/ 56 w 1638"/>
                <a:gd name="T21" fmla="*/ 7 h 1998"/>
                <a:gd name="T22" fmla="*/ 67 w 1638"/>
                <a:gd name="T23" fmla="*/ 5 h 1998"/>
                <a:gd name="T24" fmla="*/ 65 w 1638"/>
                <a:gd name="T25" fmla="*/ 15 h 1998"/>
                <a:gd name="T26" fmla="*/ 74 w 1638"/>
                <a:gd name="T27" fmla="*/ 24 h 1998"/>
                <a:gd name="T28" fmla="*/ 73 w 1638"/>
                <a:gd name="T29" fmla="*/ 33 h 1998"/>
                <a:gd name="T30" fmla="*/ 74 w 1638"/>
                <a:gd name="T31" fmla="*/ 44 h 1998"/>
                <a:gd name="T32" fmla="*/ 68 w 1638"/>
                <a:gd name="T33" fmla="*/ 45 h 1998"/>
                <a:gd name="T34" fmla="*/ 63 w 1638"/>
                <a:gd name="T35" fmla="*/ 50 h 1998"/>
                <a:gd name="T36" fmla="*/ 61 w 1638"/>
                <a:gd name="T37" fmla="*/ 62 h 1998"/>
                <a:gd name="T38" fmla="*/ 53 w 1638"/>
                <a:gd name="T39" fmla="*/ 86 h 1998"/>
                <a:gd name="T40" fmla="*/ 59 w 1638"/>
                <a:gd name="T41" fmla="*/ 90 h 1998"/>
                <a:gd name="T42" fmla="*/ 65 w 1638"/>
                <a:gd name="T43" fmla="*/ 86 h 1998"/>
                <a:gd name="T44" fmla="*/ 74 w 1638"/>
                <a:gd name="T45" fmla="*/ 84 h 1998"/>
                <a:gd name="T46" fmla="*/ 79 w 1638"/>
                <a:gd name="T47" fmla="*/ 85 h 1998"/>
                <a:gd name="T48" fmla="*/ 84 w 1638"/>
                <a:gd name="T49" fmla="*/ 84 h 1998"/>
                <a:gd name="T50" fmla="*/ 91 w 1638"/>
                <a:gd name="T51" fmla="*/ 84 h 1998"/>
                <a:gd name="T52" fmla="*/ 94 w 1638"/>
                <a:gd name="T53" fmla="*/ 81 h 1998"/>
                <a:gd name="T54" fmla="*/ 100 w 1638"/>
                <a:gd name="T55" fmla="*/ 81 h 1998"/>
                <a:gd name="T56" fmla="*/ 102 w 1638"/>
                <a:gd name="T57" fmla="*/ 84 h 1998"/>
                <a:gd name="T58" fmla="*/ 108 w 1638"/>
                <a:gd name="T59" fmla="*/ 85 h 1998"/>
                <a:gd name="T60" fmla="*/ 113 w 1638"/>
                <a:gd name="T61" fmla="*/ 88 h 1998"/>
                <a:gd name="T62" fmla="*/ 116 w 1638"/>
                <a:gd name="T63" fmla="*/ 88 h 1998"/>
                <a:gd name="T64" fmla="*/ 123 w 1638"/>
                <a:gd name="T65" fmla="*/ 87 h 1998"/>
                <a:gd name="T66" fmla="*/ 128 w 1638"/>
                <a:gd name="T67" fmla="*/ 86 h 1998"/>
                <a:gd name="T68" fmla="*/ 132 w 1638"/>
                <a:gd name="T69" fmla="*/ 90 h 1998"/>
                <a:gd name="T70" fmla="*/ 138 w 1638"/>
                <a:gd name="T71" fmla="*/ 96 h 1998"/>
                <a:gd name="T72" fmla="*/ 138 w 1638"/>
                <a:gd name="T73" fmla="*/ 110 h 1998"/>
                <a:gd name="T74" fmla="*/ 137 w 1638"/>
                <a:gd name="T75" fmla="*/ 118 h 1998"/>
                <a:gd name="T76" fmla="*/ 133 w 1638"/>
                <a:gd name="T77" fmla="*/ 124 h 1998"/>
                <a:gd name="T78" fmla="*/ 122 w 1638"/>
                <a:gd name="T79" fmla="*/ 125 h 1998"/>
                <a:gd name="T80" fmla="*/ 116 w 1638"/>
                <a:gd name="T81" fmla="*/ 127 h 1998"/>
                <a:gd name="T82" fmla="*/ 108 w 1638"/>
                <a:gd name="T83" fmla="*/ 123 h 1998"/>
                <a:gd name="T84" fmla="*/ 109 w 1638"/>
                <a:gd name="T85" fmla="*/ 119 h 1998"/>
                <a:gd name="T86" fmla="*/ 104 w 1638"/>
                <a:gd name="T87" fmla="*/ 104 h 1998"/>
                <a:gd name="T88" fmla="*/ 94 w 1638"/>
                <a:gd name="T89" fmla="*/ 105 h 1998"/>
                <a:gd name="T90" fmla="*/ 88 w 1638"/>
                <a:gd name="T91" fmla="*/ 109 h 1998"/>
                <a:gd name="T92" fmla="*/ 76 w 1638"/>
                <a:gd name="T93" fmla="*/ 107 h 1998"/>
                <a:gd name="T94" fmla="*/ 72 w 1638"/>
                <a:gd name="T95" fmla="*/ 114 h 1998"/>
                <a:gd name="T96" fmla="*/ 86 w 1638"/>
                <a:gd name="T97" fmla="*/ 121 h 1998"/>
                <a:gd name="T98" fmla="*/ 87 w 1638"/>
                <a:gd name="T99" fmla="*/ 129 h 1998"/>
                <a:gd name="T100" fmla="*/ 86 w 1638"/>
                <a:gd name="T101" fmla="*/ 137 h 1998"/>
                <a:gd name="T102" fmla="*/ 79 w 1638"/>
                <a:gd name="T103" fmla="*/ 141 h 1998"/>
                <a:gd name="T104" fmla="*/ 73 w 1638"/>
                <a:gd name="T105" fmla="*/ 144 h 1998"/>
                <a:gd name="T106" fmla="*/ 72 w 1638"/>
                <a:gd name="T107" fmla="*/ 164 h 1998"/>
                <a:gd name="T108" fmla="*/ 68 w 1638"/>
                <a:gd name="T109" fmla="*/ 172 h 1998"/>
                <a:gd name="T110" fmla="*/ 59 w 1638"/>
                <a:gd name="T111" fmla="*/ 164 h 1998"/>
                <a:gd name="T112" fmla="*/ 65 w 1638"/>
                <a:gd name="T113" fmla="*/ 146 h 1998"/>
                <a:gd name="T114" fmla="*/ 69 w 1638"/>
                <a:gd name="T115" fmla="*/ 133 h 1998"/>
                <a:gd name="T116" fmla="*/ 61 w 1638"/>
                <a:gd name="T117" fmla="*/ 131 h 1998"/>
                <a:gd name="T118" fmla="*/ 43 w 1638"/>
                <a:gd name="T119" fmla="*/ 125 h 1998"/>
                <a:gd name="T120" fmla="*/ 23 w 1638"/>
                <a:gd name="T121" fmla="*/ 125 h 1998"/>
                <a:gd name="T122" fmla="*/ 17 w 1638"/>
                <a:gd name="T123" fmla="*/ 121 h 19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638"/>
                <a:gd name="T187" fmla="*/ 0 h 1998"/>
                <a:gd name="T188" fmla="*/ 1638 w 1638"/>
                <a:gd name="T189" fmla="*/ 1998 h 19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638" h="1998">
                  <a:moveTo>
                    <a:pt x="144" y="1380"/>
                  </a:moveTo>
                  <a:lnTo>
                    <a:pt x="150" y="1368"/>
                  </a:lnTo>
                  <a:lnTo>
                    <a:pt x="150" y="1362"/>
                  </a:lnTo>
                  <a:lnTo>
                    <a:pt x="150" y="1356"/>
                  </a:lnTo>
                  <a:lnTo>
                    <a:pt x="144" y="1356"/>
                  </a:lnTo>
                  <a:lnTo>
                    <a:pt x="138" y="1356"/>
                  </a:lnTo>
                  <a:lnTo>
                    <a:pt x="126" y="1356"/>
                  </a:lnTo>
                  <a:lnTo>
                    <a:pt x="114" y="1344"/>
                  </a:lnTo>
                  <a:lnTo>
                    <a:pt x="84" y="1320"/>
                  </a:lnTo>
                  <a:lnTo>
                    <a:pt x="54" y="1296"/>
                  </a:lnTo>
                  <a:lnTo>
                    <a:pt x="48" y="1290"/>
                  </a:lnTo>
                  <a:lnTo>
                    <a:pt x="42" y="1278"/>
                  </a:lnTo>
                  <a:lnTo>
                    <a:pt x="30" y="1272"/>
                  </a:lnTo>
                  <a:lnTo>
                    <a:pt x="0" y="1248"/>
                  </a:lnTo>
                  <a:lnTo>
                    <a:pt x="6" y="1230"/>
                  </a:lnTo>
                  <a:lnTo>
                    <a:pt x="12" y="1194"/>
                  </a:lnTo>
                  <a:lnTo>
                    <a:pt x="18" y="1170"/>
                  </a:lnTo>
                  <a:lnTo>
                    <a:pt x="30" y="1134"/>
                  </a:lnTo>
                  <a:lnTo>
                    <a:pt x="36" y="1086"/>
                  </a:lnTo>
                  <a:lnTo>
                    <a:pt x="42" y="1050"/>
                  </a:lnTo>
                  <a:lnTo>
                    <a:pt x="48" y="1044"/>
                  </a:lnTo>
                  <a:lnTo>
                    <a:pt x="54" y="1026"/>
                  </a:lnTo>
                  <a:lnTo>
                    <a:pt x="60" y="1014"/>
                  </a:lnTo>
                  <a:lnTo>
                    <a:pt x="66" y="1002"/>
                  </a:lnTo>
                  <a:lnTo>
                    <a:pt x="66" y="996"/>
                  </a:lnTo>
                  <a:lnTo>
                    <a:pt x="72" y="996"/>
                  </a:lnTo>
                  <a:lnTo>
                    <a:pt x="72" y="990"/>
                  </a:lnTo>
                  <a:lnTo>
                    <a:pt x="78" y="990"/>
                  </a:lnTo>
                  <a:lnTo>
                    <a:pt x="90" y="978"/>
                  </a:lnTo>
                  <a:lnTo>
                    <a:pt x="96" y="966"/>
                  </a:lnTo>
                  <a:lnTo>
                    <a:pt x="102" y="966"/>
                  </a:lnTo>
                  <a:lnTo>
                    <a:pt x="114" y="954"/>
                  </a:lnTo>
                  <a:lnTo>
                    <a:pt x="120" y="954"/>
                  </a:lnTo>
                  <a:lnTo>
                    <a:pt x="120" y="948"/>
                  </a:lnTo>
                  <a:lnTo>
                    <a:pt x="114" y="930"/>
                  </a:lnTo>
                  <a:lnTo>
                    <a:pt x="114" y="924"/>
                  </a:lnTo>
                  <a:lnTo>
                    <a:pt x="108" y="918"/>
                  </a:lnTo>
                  <a:lnTo>
                    <a:pt x="102" y="912"/>
                  </a:lnTo>
                  <a:lnTo>
                    <a:pt x="90" y="906"/>
                  </a:lnTo>
                  <a:lnTo>
                    <a:pt x="84" y="900"/>
                  </a:lnTo>
                  <a:lnTo>
                    <a:pt x="84" y="888"/>
                  </a:lnTo>
                  <a:lnTo>
                    <a:pt x="84" y="882"/>
                  </a:lnTo>
                  <a:lnTo>
                    <a:pt x="78" y="858"/>
                  </a:lnTo>
                  <a:lnTo>
                    <a:pt x="78" y="852"/>
                  </a:lnTo>
                  <a:lnTo>
                    <a:pt x="84" y="846"/>
                  </a:lnTo>
                  <a:lnTo>
                    <a:pt x="84" y="840"/>
                  </a:lnTo>
                  <a:lnTo>
                    <a:pt x="96" y="828"/>
                  </a:lnTo>
                  <a:lnTo>
                    <a:pt x="114" y="816"/>
                  </a:lnTo>
                  <a:lnTo>
                    <a:pt x="114" y="810"/>
                  </a:lnTo>
                  <a:lnTo>
                    <a:pt x="114" y="804"/>
                  </a:lnTo>
                  <a:lnTo>
                    <a:pt x="108" y="780"/>
                  </a:lnTo>
                  <a:lnTo>
                    <a:pt x="96" y="756"/>
                  </a:lnTo>
                  <a:lnTo>
                    <a:pt x="96" y="750"/>
                  </a:lnTo>
                  <a:lnTo>
                    <a:pt x="90" y="720"/>
                  </a:lnTo>
                  <a:lnTo>
                    <a:pt x="90" y="708"/>
                  </a:lnTo>
                  <a:lnTo>
                    <a:pt x="90" y="690"/>
                  </a:lnTo>
                  <a:lnTo>
                    <a:pt x="96" y="672"/>
                  </a:lnTo>
                  <a:lnTo>
                    <a:pt x="90" y="666"/>
                  </a:lnTo>
                  <a:lnTo>
                    <a:pt x="96" y="666"/>
                  </a:lnTo>
                  <a:lnTo>
                    <a:pt x="102" y="642"/>
                  </a:lnTo>
                  <a:lnTo>
                    <a:pt x="108" y="624"/>
                  </a:lnTo>
                  <a:lnTo>
                    <a:pt x="102" y="618"/>
                  </a:lnTo>
                  <a:lnTo>
                    <a:pt x="102" y="588"/>
                  </a:lnTo>
                  <a:lnTo>
                    <a:pt x="102" y="564"/>
                  </a:lnTo>
                  <a:lnTo>
                    <a:pt x="102" y="546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0"/>
                  </a:lnTo>
                  <a:lnTo>
                    <a:pt x="96" y="498"/>
                  </a:lnTo>
                  <a:lnTo>
                    <a:pt x="96" y="486"/>
                  </a:lnTo>
                  <a:lnTo>
                    <a:pt x="96" y="474"/>
                  </a:lnTo>
                  <a:lnTo>
                    <a:pt x="96" y="462"/>
                  </a:lnTo>
                  <a:lnTo>
                    <a:pt x="114" y="450"/>
                  </a:lnTo>
                  <a:lnTo>
                    <a:pt x="126" y="438"/>
                  </a:lnTo>
                  <a:lnTo>
                    <a:pt x="132" y="432"/>
                  </a:lnTo>
                  <a:lnTo>
                    <a:pt x="144" y="426"/>
                  </a:lnTo>
                  <a:lnTo>
                    <a:pt x="144" y="420"/>
                  </a:lnTo>
                  <a:lnTo>
                    <a:pt x="156" y="414"/>
                  </a:lnTo>
                  <a:lnTo>
                    <a:pt x="162" y="408"/>
                  </a:lnTo>
                  <a:lnTo>
                    <a:pt x="180" y="396"/>
                  </a:lnTo>
                  <a:lnTo>
                    <a:pt x="210" y="372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34" y="348"/>
                  </a:lnTo>
                  <a:lnTo>
                    <a:pt x="240" y="348"/>
                  </a:lnTo>
                  <a:lnTo>
                    <a:pt x="246" y="342"/>
                  </a:lnTo>
                  <a:lnTo>
                    <a:pt x="276" y="318"/>
                  </a:lnTo>
                  <a:lnTo>
                    <a:pt x="282" y="312"/>
                  </a:lnTo>
                  <a:lnTo>
                    <a:pt x="288" y="306"/>
                  </a:lnTo>
                  <a:lnTo>
                    <a:pt x="300" y="288"/>
                  </a:lnTo>
                  <a:lnTo>
                    <a:pt x="306" y="276"/>
                  </a:lnTo>
                  <a:lnTo>
                    <a:pt x="324" y="246"/>
                  </a:lnTo>
                  <a:lnTo>
                    <a:pt x="330" y="240"/>
                  </a:lnTo>
                  <a:lnTo>
                    <a:pt x="336" y="234"/>
                  </a:lnTo>
                  <a:lnTo>
                    <a:pt x="342" y="228"/>
                  </a:lnTo>
                  <a:lnTo>
                    <a:pt x="342" y="216"/>
                  </a:lnTo>
                  <a:lnTo>
                    <a:pt x="354" y="204"/>
                  </a:lnTo>
                  <a:lnTo>
                    <a:pt x="360" y="204"/>
                  </a:lnTo>
                  <a:lnTo>
                    <a:pt x="366" y="186"/>
                  </a:lnTo>
                  <a:lnTo>
                    <a:pt x="384" y="162"/>
                  </a:lnTo>
                  <a:lnTo>
                    <a:pt x="390" y="144"/>
                  </a:lnTo>
                  <a:lnTo>
                    <a:pt x="396" y="114"/>
                  </a:lnTo>
                  <a:lnTo>
                    <a:pt x="396" y="102"/>
                  </a:lnTo>
                  <a:lnTo>
                    <a:pt x="402" y="90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08" y="36"/>
                  </a:lnTo>
                  <a:lnTo>
                    <a:pt x="408" y="24"/>
                  </a:lnTo>
                  <a:lnTo>
                    <a:pt x="408" y="6"/>
                  </a:lnTo>
                  <a:lnTo>
                    <a:pt x="420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68" y="0"/>
                  </a:lnTo>
                  <a:lnTo>
                    <a:pt x="480" y="0"/>
                  </a:lnTo>
                  <a:lnTo>
                    <a:pt x="492" y="0"/>
                  </a:lnTo>
                  <a:lnTo>
                    <a:pt x="498" y="0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8" y="18"/>
                  </a:lnTo>
                  <a:lnTo>
                    <a:pt x="534" y="18"/>
                  </a:lnTo>
                  <a:lnTo>
                    <a:pt x="540" y="18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8" y="36"/>
                  </a:lnTo>
                  <a:lnTo>
                    <a:pt x="588" y="54"/>
                  </a:lnTo>
                  <a:lnTo>
                    <a:pt x="594" y="48"/>
                  </a:lnTo>
                  <a:lnTo>
                    <a:pt x="600" y="48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12" y="66"/>
                  </a:lnTo>
                  <a:lnTo>
                    <a:pt x="630" y="72"/>
                  </a:lnTo>
                  <a:lnTo>
                    <a:pt x="642" y="78"/>
                  </a:lnTo>
                  <a:lnTo>
                    <a:pt x="666" y="78"/>
                  </a:lnTo>
                  <a:lnTo>
                    <a:pt x="672" y="72"/>
                  </a:lnTo>
                  <a:lnTo>
                    <a:pt x="690" y="84"/>
                  </a:lnTo>
                  <a:lnTo>
                    <a:pt x="690" y="90"/>
                  </a:lnTo>
                  <a:lnTo>
                    <a:pt x="708" y="96"/>
                  </a:lnTo>
                  <a:lnTo>
                    <a:pt x="708" y="102"/>
                  </a:lnTo>
                  <a:lnTo>
                    <a:pt x="744" y="96"/>
                  </a:lnTo>
                  <a:lnTo>
                    <a:pt x="756" y="78"/>
                  </a:lnTo>
                  <a:lnTo>
                    <a:pt x="756" y="72"/>
                  </a:lnTo>
                  <a:lnTo>
                    <a:pt x="762" y="66"/>
                  </a:lnTo>
                  <a:lnTo>
                    <a:pt x="768" y="60"/>
                  </a:lnTo>
                  <a:lnTo>
                    <a:pt x="774" y="54"/>
                  </a:lnTo>
                  <a:lnTo>
                    <a:pt x="786" y="54"/>
                  </a:lnTo>
                  <a:lnTo>
                    <a:pt x="786" y="60"/>
                  </a:lnTo>
                  <a:lnTo>
                    <a:pt x="786" y="66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92" y="90"/>
                  </a:lnTo>
                  <a:lnTo>
                    <a:pt x="780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26"/>
                  </a:lnTo>
                  <a:lnTo>
                    <a:pt x="768" y="150"/>
                  </a:lnTo>
                  <a:lnTo>
                    <a:pt x="750" y="168"/>
                  </a:lnTo>
                  <a:lnTo>
                    <a:pt x="750" y="174"/>
                  </a:lnTo>
                  <a:lnTo>
                    <a:pt x="762" y="192"/>
                  </a:lnTo>
                  <a:lnTo>
                    <a:pt x="774" y="210"/>
                  </a:lnTo>
                  <a:lnTo>
                    <a:pt x="792" y="228"/>
                  </a:lnTo>
                  <a:lnTo>
                    <a:pt x="804" y="240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40" y="252"/>
                  </a:lnTo>
                  <a:lnTo>
                    <a:pt x="834" y="252"/>
                  </a:lnTo>
                  <a:lnTo>
                    <a:pt x="846" y="252"/>
                  </a:lnTo>
                  <a:lnTo>
                    <a:pt x="852" y="270"/>
                  </a:lnTo>
                  <a:lnTo>
                    <a:pt x="858" y="282"/>
                  </a:lnTo>
                  <a:lnTo>
                    <a:pt x="858" y="288"/>
                  </a:lnTo>
                  <a:lnTo>
                    <a:pt x="864" y="300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58" y="318"/>
                  </a:lnTo>
                  <a:lnTo>
                    <a:pt x="852" y="318"/>
                  </a:lnTo>
                  <a:lnTo>
                    <a:pt x="846" y="324"/>
                  </a:lnTo>
                  <a:lnTo>
                    <a:pt x="846" y="336"/>
                  </a:lnTo>
                  <a:lnTo>
                    <a:pt x="840" y="348"/>
                  </a:lnTo>
                  <a:lnTo>
                    <a:pt x="840" y="360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46" y="402"/>
                  </a:lnTo>
                  <a:lnTo>
                    <a:pt x="858" y="420"/>
                  </a:lnTo>
                  <a:lnTo>
                    <a:pt x="882" y="426"/>
                  </a:lnTo>
                  <a:lnTo>
                    <a:pt x="888" y="444"/>
                  </a:lnTo>
                  <a:lnTo>
                    <a:pt x="900" y="444"/>
                  </a:lnTo>
                  <a:lnTo>
                    <a:pt x="900" y="462"/>
                  </a:lnTo>
                  <a:lnTo>
                    <a:pt x="894" y="474"/>
                  </a:lnTo>
                  <a:lnTo>
                    <a:pt x="888" y="486"/>
                  </a:lnTo>
                  <a:lnTo>
                    <a:pt x="882" y="492"/>
                  </a:lnTo>
                  <a:lnTo>
                    <a:pt x="870" y="504"/>
                  </a:lnTo>
                  <a:lnTo>
                    <a:pt x="852" y="504"/>
                  </a:lnTo>
                  <a:lnTo>
                    <a:pt x="852" y="510"/>
                  </a:lnTo>
                  <a:lnTo>
                    <a:pt x="852" y="516"/>
                  </a:lnTo>
                  <a:lnTo>
                    <a:pt x="846" y="528"/>
                  </a:lnTo>
                  <a:lnTo>
                    <a:pt x="846" y="582"/>
                  </a:lnTo>
                  <a:lnTo>
                    <a:pt x="840" y="582"/>
                  </a:lnTo>
                  <a:lnTo>
                    <a:pt x="834" y="582"/>
                  </a:lnTo>
                  <a:lnTo>
                    <a:pt x="828" y="582"/>
                  </a:lnTo>
                  <a:lnTo>
                    <a:pt x="822" y="582"/>
                  </a:lnTo>
                  <a:lnTo>
                    <a:pt x="810" y="582"/>
                  </a:lnTo>
                  <a:lnTo>
                    <a:pt x="810" y="528"/>
                  </a:lnTo>
                  <a:lnTo>
                    <a:pt x="792" y="528"/>
                  </a:lnTo>
                  <a:lnTo>
                    <a:pt x="792" y="522"/>
                  </a:lnTo>
                  <a:lnTo>
                    <a:pt x="786" y="522"/>
                  </a:lnTo>
                  <a:lnTo>
                    <a:pt x="786" y="516"/>
                  </a:lnTo>
                  <a:lnTo>
                    <a:pt x="780" y="516"/>
                  </a:lnTo>
                  <a:lnTo>
                    <a:pt x="780" y="510"/>
                  </a:lnTo>
                  <a:lnTo>
                    <a:pt x="762" y="510"/>
                  </a:lnTo>
                  <a:lnTo>
                    <a:pt x="756" y="510"/>
                  </a:lnTo>
                  <a:lnTo>
                    <a:pt x="750" y="522"/>
                  </a:lnTo>
                  <a:lnTo>
                    <a:pt x="744" y="534"/>
                  </a:lnTo>
                  <a:lnTo>
                    <a:pt x="732" y="540"/>
                  </a:lnTo>
                  <a:lnTo>
                    <a:pt x="732" y="558"/>
                  </a:lnTo>
                  <a:lnTo>
                    <a:pt x="732" y="564"/>
                  </a:lnTo>
                  <a:lnTo>
                    <a:pt x="732" y="570"/>
                  </a:lnTo>
                  <a:lnTo>
                    <a:pt x="726" y="576"/>
                  </a:lnTo>
                  <a:lnTo>
                    <a:pt x="720" y="576"/>
                  </a:lnTo>
                  <a:lnTo>
                    <a:pt x="714" y="582"/>
                  </a:lnTo>
                  <a:lnTo>
                    <a:pt x="702" y="588"/>
                  </a:lnTo>
                  <a:lnTo>
                    <a:pt x="696" y="594"/>
                  </a:lnTo>
                  <a:lnTo>
                    <a:pt x="690" y="600"/>
                  </a:lnTo>
                  <a:lnTo>
                    <a:pt x="690" y="606"/>
                  </a:lnTo>
                  <a:lnTo>
                    <a:pt x="678" y="606"/>
                  </a:lnTo>
                  <a:lnTo>
                    <a:pt x="678" y="624"/>
                  </a:lnTo>
                  <a:lnTo>
                    <a:pt x="684" y="642"/>
                  </a:lnTo>
                  <a:lnTo>
                    <a:pt x="684" y="660"/>
                  </a:lnTo>
                  <a:lnTo>
                    <a:pt x="690" y="672"/>
                  </a:lnTo>
                  <a:lnTo>
                    <a:pt x="702" y="720"/>
                  </a:lnTo>
                  <a:lnTo>
                    <a:pt x="708" y="750"/>
                  </a:lnTo>
                  <a:lnTo>
                    <a:pt x="708" y="792"/>
                  </a:lnTo>
                  <a:lnTo>
                    <a:pt x="708" y="828"/>
                  </a:lnTo>
                  <a:lnTo>
                    <a:pt x="708" y="852"/>
                  </a:lnTo>
                  <a:lnTo>
                    <a:pt x="696" y="894"/>
                  </a:lnTo>
                  <a:lnTo>
                    <a:pt x="702" y="900"/>
                  </a:lnTo>
                  <a:lnTo>
                    <a:pt x="708" y="924"/>
                  </a:lnTo>
                  <a:lnTo>
                    <a:pt x="684" y="936"/>
                  </a:lnTo>
                  <a:lnTo>
                    <a:pt x="660" y="954"/>
                  </a:lnTo>
                  <a:lnTo>
                    <a:pt x="618" y="984"/>
                  </a:lnTo>
                  <a:lnTo>
                    <a:pt x="618" y="990"/>
                  </a:lnTo>
                  <a:lnTo>
                    <a:pt x="612" y="996"/>
                  </a:lnTo>
                  <a:lnTo>
                    <a:pt x="606" y="1002"/>
                  </a:lnTo>
                  <a:lnTo>
                    <a:pt x="618" y="1008"/>
                  </a:lnTo>
                  <a:lnTo>
                    <a:pt x="618" y="1014"/>
                  </a:lnTo>
                  <a:lnTo>
                    <a:pt x="624" y="1026"/>
                  </a:lnTo>
                  <a:lnTo>
                    <a:pt x="630" y="1026"/>
                  </a:lnTo>
                  <a:lnTo>
                    <a:pt x="636" y="1032"/>
                  </a:lnTo>
                  <a:lnTo>
                    <a:pt x="642" y="1032"/>
                  </a:lnTo>
                  <a:lnTo>
                    <a:pt x="642" y="1038"/>
                  </a:lnTo>
                  <a:lnTo>
                    <a:pt x="648" y="1044"/>
                  </a:lnTo>
                  <a:lnTo>
                    <a:pt x="666" y="1050"/>
                  </a:lnTo>
                  <a:lnTo>
                    <a:pt x="678" y="1038"/>
                  </a:lnTo>
                  <a:lnTo>
                    <a:pt x="684" y="1038"/>
                  </a:lnTo>
                  <a:lnTo>
                    <a:pt x="684" y="1032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20"/>
                  </a:lnTo>
                  <a:lnTo>
                    <a:pt x="708" y="1014"/>
                  </a:lnTo>
                  <a:lnTo>
                    <a:pt x="720" y="1020"/>
                  </a:lnTo>
                  <a:lnTo>
                    <a:pt x="720" y="1014"/>
                  </a:lnTo>
                  <a:lnTo>
                    <a:pt x="726" y="1008"/>
                  </a:lnTo>
                  <a:lnTo>
                    <a:pt x="732" y="1008"/>
                  </a:lnTo>
                  <a:lnTo>
                    <a:pt x="738" y="1008"/>
                  </a:lnTo>
                  <a:lnTo>
                    <a:pt x="744" y="1002"/>
                  </a:lnTo>
                  <a:lnTo>
                    <a:pt x="744" y="996"/>
                  </a:lnTo>
                  <a:lnTo>
                    <a:pt x="750" y="996"/>
                  </a:lnTo>
                  <a:lnTo>
                    <a:pt x="756" y="1002"/>
                  </a:lnTo>
                  <a:lnTo>
                    <a:pt x="762" y="1002"/>
                  </a:lnTo>
                  <a:lnTo>
                    <a:pt x="768" y="996"/>
                  </a:lnTo>
                  <a:lnTo>
                    <a:pt x="780" y="996"/>
                  </a:lnTo>
                  <a:lnTo>
                    <a:pt x="786" y="996"/>
                  </a:lnTo>
                  <a:lnTo>
                    <a:pt x="816" y="990"/>
                  </a:lnTo>
                  <a:lnTo>
                    <a:pt x="828" y="990"/>
                  </a:lnTo>
                  <a:lnTo>
                    <a:pt x="834" y="990"/>
                  </a:lnTo>
                  <a:lnTo>
                    <a:pt x="840" y="984"/>
                  </a:lnTo>
                  <a:lnTo>
                    <a:pt x="852" y="978"/>
                  </a:lnTo>
                  <a:lnTo>
                    <a:pt x="852" y="972"/>
                  </a:lnTo>
                  <a:lnTo>
                    <a:pt x="858" y="972"/>
                  </a:lnTo>
                  <a:lnTo>
                    <a:pt x="864" y="966"/>
                  </a:lnTo>
                  <a:lnTo>
                    <a:pt x="870" y="966"/>
                  </a:lnTo>
                  <a:lnTo>
                    <a:pt x="876" y="966"/>
                  </a:lnTo>
                  <a:lnTo>
                    <a:pt x="882" y="960"/>
                  </a:lnTo>
                  <a:lnTo>
                    <a:pt x="888" y="960"/>
                  </a:lnTo>
                  <a:lnTo>
                    <a:pt x="894" y="960"/>
                  </a:lnTo>
                  <a:lnTo>
                    <a:pt x="894" y="966"/>
                  </a:lnTo>
                  <a:lnTo>
                    <a:pt x="894" y="978"/>
                  </a:lnTo>
                  <a:lnTo>
                    <a:pt x="894" y="984"/>
                  </a:lnTo>
                  <a:lnTo>
                    <a:pt x="900" y="984"/>
                  </a:lnTo>
                  <a:lnTo>
                    <a:pt x="906" y="978"/>
                  </a:lnTo>
                  <a:lnTo>
                    <a:pt x="912" y="972"/>
                  </a:lnTo>
                  <a:lnTo>
                    <a:pt x="918" y="978"/>
                  </a:lnTo>
                  <a:lnTo>
                    <a:pt x="924" y="978"/>
                  </a:lnTo>
                  <a:lnTo>
                    <a:pt x="924" y="972"/>
                  </a:lnTo>
                  <a:lnTo>
                    <a:pt x="924" y="966"/>
                  </a:lnTo>
                  <a:lnTo>
                    <a:pt x="930" y="966"/>
                  </a:lnTo>
                  <a:lnTo>
                    <a:pt x="948" y="966"/>
                  </a:lnTo>
                  <a:lnTo>
                    <a:pt x="954" y="966"/>
                  </a:lnTo>
                  <a:lnTo>
                    <a:pt x="954" y="960"/>
                  </a:lnTo>
                  <a:lnTo>
                    <a:pt x="960" y="960"/>
                  </a:lnTo>
                  <a:lnTo>
                    <a:pt x="966" y="960"/>
                  </a:lnTo>
                  <a:lnTo>
                    <a:pt x="966" y="966"/>
                  </a:lnTo>
                  <a:lnTo>
                    <a:pt x="978" y="972"/>
                  </a:lnTo>
                  <a:lnTo>
                    <a:pt x="978" y="978"/>
                  </a:lnTo>
                  <a:lnTo>
                    <a:pt x="978" y="984"/>
                  </a:lnTo>
                  <a:lnTo>
                    <a:pt x="984" y="978"/>
                  </a:lnTo>
                  <a:lnTo>
                    <a:pt x="990" y="978"/>
                  </a:lnTo>
                  <a:lnTo>
                    <a:pt x="996" y="984"/>
                  </a:lnTo>
                  <a:lnTo>
                    <a:pt x="1002" y="990"/>
                  </a:lnTo>
                  <a:lnTo>
                    <a:pt x="1008" y="972"/>
                  </a:lnTo>
                  <a:lnTo>
                    <a:pt x="1026" y="972"/>
                  </a:lnTo>
                  <a:lnTo>
                    <a:pt x="1032" y="972"/>
                  </a:lnTo>
                  <a:lnTo>
                    <a:pt x="1038" y="972"/>
                  </a:lnTo>
                  <a:lnTo>
                    <a:pt x="1050" y="972"/>
                  </a:lnTo>
                  <a:lnTo>
                    <a:pt x="1056" y="972"/>
                  </a:lnTo>
                  <a:lnTo>
                    <a:pt x="1062" y="966"/>
                  </a:lnTo>
                  <a:lnTo>
                    <a:pt x="1074" y="966"/>
                  </a:lnTo>
                  <a:lnTo>
                    <a:pt x="1074" y="960"/>
                  </a:lnTo>
                  <a:lnTo>
                    <a:pt x="1080" y="954"/>
                  </a:lnTo>
                  <a:lnTo>
                    <a:pt x="1080" y="948"/>
                  </a:lnTo>
                  <a:lnTo>
                    <a:pt x="1074" y="948"/>
                  </a:lnTo>
                  <a:lnTo>
                    <a:pt x="1068" y="948"/>
                  </a:lnTo>
                  <a:lnTo>
                    <a:pt x="1062" y="942"/>
                  </a:lnTo>
                  <a:lnTo>
                    <a:pt x="1068" y="936"/>
                  </a:lnTo>
                  <a:lnTo>
                    <a:pt x="1074" y="936"/>
                  </a:lnTo>
                  <a:lnTo>
                    <a:pt x="1080" y="936"/>
                  </a:lnTo>
                  <a:lnTo>
                    <a:pt x="1086" y="942"/>
                  </a:lnTo>
                  <a:lnTo>
                    <a:pt x="1092" y="942"/>
                  </a:lnTo>
                  <a:lnTo>
                    <a:pt x="1098" y="948"/>
                  </a:lnTo>
                  <a:lnTo>
                    <a:pt x="1104" y="954"/>
                  </a:lnTo>
                  <a:lnTo>
                    <a:pt x="1110" y="954"/>
                  </a:lnTo>
                  <a:lnTo>
                    <a:pt x="1116" y="948"/>
                  </a:lnTo>
                  <a:lnTo>
                    <a:pt x="1122" y="942"/>
                  </a:lnTo>
                  <a:lnTo>
                    <a:pt x="1128" y="942"/>
                  </a:lnTo>
                  <a:lnTo>
                    <a:pt x="1134" y="942"/>
                  </a:lnTo>
                  <a:lnTo>
                    <a:pt x="1140" y="948"/>
                  </a:lnTo>
                  <a:lnTo>
                    <a:pt x="1146" y="942"/>
                  </a:lnTo>
                  <a:lnTo>
                    <a:pt x="1152" y="942"/>
                  </a:lnTo>
                  <a:lnTo>
                    <a:pt x="1152" y="930"/>
                  </a:lnTo>
                  <a:lnTo>
                    <a:pt x="1164" y="936"/>
                  </a:lnTo>
                  <a:lnTo>
                    <a:pt x="1158" y="942"/>
                  </a:lnTo>
                  <a:lnTo>
                    <a:pt x="1158" y="948"/>
                  </a:lnTo>
                  <a:lnTo>
                    <a:pt x="1146" y="954"/>
                  </a:lnTo>
                  <a:lnTo>
                    <a:pt x="1152" y="954"/>
                  </a:lnTo>
                  <a:lnTo>
                    <a:pt x="1158" y="954"/>
                  </a:lnTo>
                  <a:lnTo>
                    <a:pt x="1158" y="948"/>
                  </a:lnTo>
                  <a:lnTo>
                    <a:pt x="1164" y="948"/>
                  </a:lnTo>
                  <a:lnTo>
                    <a:pt x="1170" y="948"/>
                  </a:lnTo>
                  <a:lnTo>
                    <a:pt x="1176" y="954"/>
                  </a:lnTo>
                  <a:lnTo>
                    <a:pt x="1176" y="966"/>
                  </a:lnTo>
                  <a:lnTo>
                    <a:pt x="1182" y="972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88" y="984"/>
                  </a:lnTo>
                  <a:lnTo>
                    <a:pt x="1194" y="984"/>
                  </a:lnTo>
                  <a:lnTo>
                    <a:pt x="1200" y="984"/>
                  </a:lnTo>
                  <a:lnTo>
                    <a:pt x="1212" y="984"/>
                  </a:lnTo>
                  <a:lnTo>
                    <a:pt x="1218" y="990"/>
                  </a:lnTo>
                  <a:lnTo>
                    <a:pt x="1224" y="990"/>
                  </a:lnTo>
                  <a:lnTo>
                    <a:pt x="1224" y="984"/>
                  </a:lnTo>
                  <a:lnTo>
                    <a:pt x="1230" y="990"/>
                  </a:lnTo>
                  <a:lnTo>
                    <a:pt x="1236" y="984"/>
                  </a:lnTo>
                  <a:lnTo>
                    <a:pt x="1242" y="984"/>
                  </a:lnTo>
                  <a:lnTo>
                    <a:pt x="1248" y="990"/>
                  </a:lnTo>
                  <a:lnTo>
                    <a:pt x="1254" y="990"/>
                  </a:lnTo>
                  <a:lnTo>
                    <a:pt x="1254" y="996"/>
                  </a:lnTo>
                  <a:lnTo>
                    <a:pt x="1254" y="1002"/>
                  </a:lnTo>
                  <a:lnTo>
                    <a:pt x="1254" y="1008"/>
                  </a:lnTo>
                  <a:lnTo>
                    <a:pt x="1260" y="1014"/>
                  </a:lnTo>
                  <a:lnTo>
                    <a:pt x="1266" y="1014"/>
                  </a:lnTo>
                  <a:lnTo>
                    <a:pt x="1272" y="1014"/>
                  </a:lnTo>
                  <a:lnTo>
                    <a:pt x="1278" y="1020"/>
                  </a:lnTo>
                  <a:lnTo>
                    <a:pt x="1284" y="1020"/>
                  </a:lnTo>
                  <a:lnTo>
                    <a:pt x="1290" y="1014"/>
                  </a:lnTo>
                  <a:lnTo>
                    <a:pt x="1290" y="1008"/>
                  </a:lnTo>
                  <a:lnTo>
                    <a:pt x="1296" y="1008"/>
                  </a:lnTo>
                  <a:lnTo>
                    <a:pt x="1302" y="1014"/>
                  </a:lnTo>
                  <a:lnTo>
                    <a:pt x="1308" y="1014"/>
                  </a:lnTo>
                  <a:lnTo>
                    <a:pt x="1314" y="1008"/>
                  </a:lnTo>
                  <a:lnTo>
                    <a:pt x="1320" y="1008"/>
                  </a:lnTo>
                  <a:lnTo>
                    <a:pt x="1320" y="1002"/>
                  </a:lnTo>
                  <a:lnTo>
                    <a:pt x="1320" y="996"/>
                  </a:lnTo>
                  <a:lnTo>
                    <a:pt x="1332" y="1002"/>
                  </a:lnTo>
                  <a:lnTo>
                    <a:pt x="1332" y="1008"/>
                  </a:lnTo>
                  <a:lnTo>
                    <a:pt x="1326" y="1014"/>
                  </a:lnTo>
                  <a:lnTo>
                    <a:pt x="1332" y="1014"/>
                  </a:lnTo>
                  <a:lnTo>
                    <a:pt x="1338" y="1014"/>
                  </a:lnTo>
                  <a:lnTo>
                    <a:pt x="1338" y="1008"/>
                  </a:lnTo>
                  <a:lnTo>
                    <a:pt x="1344" y="1008"/>
                  </a:lnTo>
                  <a:lnTo>
                    <a:pt x="1350" y="1008"/>
                  </a:lnTo>
                  <a:lnTo>
                    <a:pt x="1356" y="1014"/>
                  </a:lnTo>
                  <a:lnTo>
                    <a:pt x="1356" y="1008"/>
                  </a:lnTo>
                  <a:lnTo>
                    <a:pt x="1362" y="1014"/>
                  </a:lnTo>
                  <a:lnTo>
                    <a:pt x="1392" y="1014"/>
                  </a:lnTo>
                  <a:lnTo>
                    <a:pt x="1398" y="1014"/>
                  </a:lnTo>
                  <a:lnTo>
                    <a:pt x="1404" y="1008"/>
                  </a:lnTo>
                  <a:lnTo>
                    <a:pt x="1404" y="1014"/>
                  </a:lnTo>
                  <a:lnTo>
                    <a:pt x="1410" y="1008"/>
                  </a:lnTo>
                  <a:lnTo>
                    <a:pt x="1416" y="1008"/>
                  </a:lnTo>
                  <a:lnTo>
                    <a:pt x="1422" y="1002"/>
                  </a:lnTo>
                  <a:lnTo>
                    <a:pt x="1428" y="1002"/>
                  </a:lnTo>
                  <a:lnTo>
                    <a:pt x="1428" y="996"/>
                  </a:lnTo>
                  <a:lnTo>
                    <a:pt x="1428" y="990"/>
                  </a:lnTo>
                  <a:lnTo>
                    <a:pt x="1440" y="1002"/>
                  </a:lnTo>
                  <a:lnTo>
                    <a:pt x="1446" y="1002"/>
                  </a:lnTo>
                  <a:lnTo>
                    <a:pt x="1452" y="1002"/>
                  </a:lnTo>
                  <a:lnTo>
                    <a:pt x="1446" y="996"/>
                  </a:lnTo>
                  <a:lnTo>
                    <a:pt x="1452" y="996"/>
                  </a:lnTo>
                  <a:lnTo>
                    <a:pt x="1458" y="996"/>
                  </a:lnTo>
                  <a:lnTo>
                    <a:pt x="1464" y="996"/>
                  </a:lnTo>
                  <a:lnTo>
                    <a:pt x="1464" y="1002"/>
                  </a:lnTo>
                  <a:lnTo>
                    <a:pt x="1476" y="1014"/>
                  </a:lnTo>
                  <a:lnTo>
                    <a:pt x="1476" y="1008"/>
                  </a:lnTo>
                  <a:lnTo>
                    <a:pt x="1482" y="1008"/>
                  </a:lnTo>
                  <a:lnTo>
                    <a:pt x="1488" y="1020"/>
                  </a:lnTo>
                  <a:lnTo>
                    <a:pt x="1494" y="1020"/>
                  </a:lnTo>
                  <a:lnTo>
                    <a:pt x="1500" y="1014"/>
                  </a:lnTo>
                  <a:lnTo>
                    <a:pt x="1500" y="1020"/>
                  </a:lnTo>
                  <a:lnTo>
                    <a:pt x="1506" y="1026"/>
                  </a:lnTo>
                  <a:lnTo>
                    <a:pt x="1512" y="1032"/>
                  </a:lnTo>
                  <a:lnTo>
                    <a:pt x="1518" y="1032"/>
                  </a:lnTo>
                  <a:lnTo>
                    <a:pt x="1518" y="1038"/>
                  </a:lnTo>
                  <a:lnTo>
                    <a:pt x="1518" y="1044"/>
                  </a:lnTo>
                  <a:lnTo>
                    <a:pt x="1524" y="1044"/>
                  </a:lnTo>
                  <a:lnTo>
                    <a:pt x="1524" y="1050"/>
                  </a:lnTo>
                  <a:lnTo>
                    <a:pt x="1530" y="1056"/>
                  </a:lnTo>
                  <a:lnTo>
                    <a:pt x="1548" y="1062"/>
                  </a:lnTo>
                  <a:lnTo>
                    <a:pt x="1560" y="1074"/>
                  </a:lnTo>
                  <a:lnTo>
                    <a:pt x="1560" y="1080"/>
                  </a:lnTo>
                  <a:lnTo>
                    <a:pt x="1560" y="1086"/>
                  </a:lnTo>
                  <a:lnTo>
                    <a:pt x="1566" y="1086"/>
                  </a:lnTo>
                  <a:lnTo>
                    <a:pt x="1572" y="1098"/>
                  </a:lnTo>
                  <a:lnTo>
                    <a:pt x="1572" y="1104"/>
                  </a:lnTo>
                  <a:lnTo>
                    <a:pt x="1584" y="1110"/>
                  </a:lnTo>
                  <a:lnTo>
                    <a:pt x="1590" y="1116"/>
                  </a:lnTo>
                  <a:lnTo>
                    <a:pt x="1596" y="1116"/>
                  </a:lnTo>
                  <a:lnTo>
                    <a:pt x="1608" y="1122"/>
                  </a:lnTo>
                  <a:lnTo>
                    <a:pt x="1620" y="1140"/>
                  </a:lnTo>
                  <a:lnTo>
                    <a:pt x="1626" y="1158"/>
                  </a:lnTo>
                  <a:lnTo>
                    <a:pt x="1638" y="1200"/>
                  </a:lnTo>
                  <a:lnTo>
                    <a:pt x="1638" y="1218"/>
                  </a:lnTo>
                  <a:lnTo>
                    <a:pt x="1620" y="1230"/>
                  </a:lnTo>
                  <a:lnTo>
                    <a:pt x="1554" y="1230"/>
                  </a:lnTo>
                  <a:lnTo>
                    <a:pt x="1560" y="1248"/>
                  </a:lnTo>
                  <a:lnTo>
                    <a:pt x="1584" y="1260"/>
                  </a:lnTo>
                  <a:lnTo>
                    <a:pt x="1584" y="1266"/>
                  </a:lnTo>
                  <a:lnTo>
                    <a:pt x="1578" y="1272"/>
                  </a:lnTo>
                  <a:lnTo>
                    <a:pt x="1572" y="1272"/>
                  </a:lnTo>
                  <a:lnTo>
                    <a:pt x="1566" y="1278"/>
                  </a:lnTo>
                  <a:lnTo>
                    <a:pt x="1566" y="1284"/>
                  </a:lnTo>
                  <a:lnTo>
                    <a:pt x="1560" y="1290"/>
                  </a:lnTo>
                  <a:lnTo>
                    <a:pt x="1554" y="1290"/>
                  </a:lnTo>
                  <a:lnTo>
                    <a:pt x="1554" y="1296"/>
                  </a:lnTo>
                  <a:lnTo>
                    <a:pt x="1554" y="1302"/>
                  </a:lnTo>
                  <a:lnTo>
                    <a:pt x="1560" y="1332"/>
                  </a:lnTo>
                  <a:lnTo>
                    <a:pt x="1566" y="1356"/>
                  </a:lnTo>
                  <a:lnTo>
                    <a:pt x="1572" y="1356"/>
                  </a:lnTo>
                  <a:lnTo>
                    <a:pt x="1572" y="1362"/>
                  </a:lnTo>
                  <a:lnTo>
                    <a:pt x="1578" y="1362"/>
                  </a:lnTo>
                  <a:lnTo>
                    <a:pt x="1560" y="1374"/>
                  </a:lnTo>
                  <a:lnTo>
                    <a:pt x="1560" y="1380"/>
                  </a:lnTo>
                  <a:lnTo>
                    <a:pt x="1548" y="1380"/>
                  </a:lnTo>
                  <a:lnTo>
                    <a:pt x="1548" y="1386"/>
                  </a:lnTo>
                  <a:lnTo>
                    <a:pt x="1548" y="1392"/>
                  </a:lnTo>
                  <a:lnTo>
                    <a:pt x="1542" y="1410"/>
                  </a:lnTo>
                  <a:lnTo>
                    <a:pt x="1536" y="1422"/>
                  </a:lnTo>
                  <a:lnTo>
                    <a:pt x="1536" y="1428"/>
                  </a:lnTo>
                  <a:lnTo>
                    <a:pt x="1530" y="1440"/>
                  </a:lnTo>
                  <a:lnTo>
                    <a:pt x="1524" y="1434"/>
                  </a:lnTo>
                  <a:lnTo>
                    <a:pt x="1524" y="1428"/>
                  </a:lnTo>
                  <a:lnTo>
                    <a:pt x="1524" y="1422"/>
                  </a:lnTo>
                  <a:lnTo>
                    <a:pt x="1512" y="1410"/>
                  </a:lnTo>
                  <a:lnTo>
                    <a:pt x="1506" y="1404"/>
                  </a:lnTo>
                  <a:lnTo>
                    <a:pt x="1506" y="1398"/>
                  </a:lnTo>
                  <a:lnTo>
                    <a:pt x="1494" y="1392"/>
                  </a:lnTo>
                  <a:lnTo>
                    <a:pt x="1476" y="1404"/>
                  </a:lnTo>
                  <a:lnTo>
                    <a:pt x="1464" y="1416"/>
                  </a:lnTo>
                  <a:lnTo>
                    <a:pt x="1458" y="1428"/>
                  </a:lnTo>
                  <a:lnTo>
                    <a:pt x="1446" y="1434"/>
                  </a:lnTo>
                  <a:lnTo>
                    <a:pt x="1410" y="1440"/>
                  </a:lnTo>
                  <a:lnTo>
                    <a:pt x="1398" y="1440"/>
                  </a:lnTo>
                  <a:lnTo>
                    <a:pt x="1398" y="1446"/>
                  </a:lnTo>
                  <a:lnTo>
                    <a:pt x="1386" y="1446"/>
                  </a:lnTo>
                  <a:lnTo>
                    <a:pt x="1380" y="1440"/>
                  </a:lnTo>
                  <a:lnTo>
                    <a:pt x="1368" y="1440"/>
                  </a:lnTo>
                  <a:lnTo>
                    <a:pt x="1368" y="1446"/>
                  </a:lnTo>
                  <a:lnTo>
                    <a:pt x="1356" y="1446"/>
                  </a:lnTo>
                  <a:lnTo>
                    <a:pt x="1350" y="1452"/>
                  </a:lnTo>
                  <a:lnTo>
                    <a:pt x="1338" y="1452"/>
                  </a:lnTo>
                  <a:lnTo>
                    <a:pt x="1338" y="1458"/>
                  </a:lnTo>
                  <a:lnTo>
                    <a:pt x="1332" y="1458"/>
                  </a:lnTo>
                  <a:lnTo>
                    <a:pt x="1332" y="1464"/>
                  </a:lnTo>
                  <a:lnTo>
                    <a:pt x="1332" y="1470"/>
                  </a:lnTo>
                  <a:lnTo>
                    <a:pt x="1326" y="1470"/>
                  </a:lnTo>
                  <a:lnTo>
                    <a:pt x="1320" y="1470"/>
                  </a:lnTo>
                  <a:lnTo>
                    <a:pt x="1314" y="1470"/>
                  </a:lnTo>
                  <a:lnTo>
                    <a:pt x="1314" y="1464"/>
                  </a:lnTo>
                  <a:lnTo>
                    <a:pt x="1308" y="1464"/>
                  </a:lnTo>
                  <a:lnTo>
                    <a:pt x="1308" y="1452"/>
                  </a:lnTo>
                  <a:lnTo>
                    <a:pt x="1284" y="1458"/>
                  </a:lnTo>
                  <a:lnTo>
                    <a:pt x="1272" y="1458"/>
                  </a:lnTo>
                  <a:lnTo>
                    <a:pt x="1272" y="1464"/>
                  </a:lnTo>
                  <a:lnTo>
                    <a:pt x="1260" y="1464"/>
                  </a:lnTo>
                  <a:lnTo>
                    <a:pt x="1254" y="1464"/>
                  </a:lnTo>
                  <a:lnTo>
                    <a:pt x="1242" y="1422"/>
                  </a:lnTo>
                  <a:lnTo>
                    <a:pt x="1242" y="1416"/>
                  </a:lnTo>
                  <a:lnTo>
                    <a:pt x="1242" y="1410"/>
                  </a:lnTo>
                  <a:lnTo>
                    <a:pt x="1248" y="1410"/>
                  </a:lnTo>
                  <a:lnTo>
                    <a:pt x="1242" y="1410"/>
                  </a:lnTo>
                  <a:lnTo>
                    <a:pt x="1242" y="1404"/>
                  </a:lnTo>
                  <a:lnTo>
                    <a:pt x="1242" y="1398"/>
                  </a:lnTo>
                  <a:lnTo>
                    <a:pt x="1248" y="1392"/>
                  </a:lnTo>
                  <a:lnTo>
                    <a:pt x="1248" y="1386"/>
                  </a:lnTo>
                  <a:lnTo>
                    <a:pt x="1242" y="1380"/>
                  </a:lnTo>
                  <a:lnTo>
                    <a:pt x="1248" y="1380"/>
                  </a:lnTo>
                  <a:lnTo>
                    <a:pt x="1248" y="1374"/>
                  </a:lnTo>
                  <a:lnTo>
                    <a:pt x="1248" y="1368"/>
                  </a:lnTo>
                  <a:lnTo>
                    <a:pt x="1254" y="1368"/>
                  </a:lnTo>
                  <a:lnTo>
                    <a:pt x="1254" y="1362"/>
                  </a:lnTo>
                  <a:lnTo>
                    <a:pt x="1248" y="1356"/>
                  </a:lnTo>
                  <a:lnTo>
                    <a:pt x="1254" y="1356"/>
                  </a:lnTo>
                  <a:lnTo>
                    <a:pt x="1254" y="1344"/>
                  </a:lnTo>
                  <a:lnTo>
                    <a:pt x="1242" y="1338"/>
                  </a:lnTo>
                  <a:lnTo>
                    <a:pt x="1242" y="1326"/>
                  </a:lnTo>
                  <a:lnTo>
                    <a:pt x="1230" y="1326"/>
                  </a:lnTo>
                  <a:lnTo>
                    <a:pt x="1230" y="1314"/>
                  </a:lnTo>
                  <a:lnTo>
                    <a:pt x="1218" y="1314"/>
                  </a:lnTo>
                  <a:lnTo>
                    <a:pt x="1200" y="1272"/>
                  </a:lnTo>
                  <a:lnTo>
                    <a:pt x="1194" y="1242"/>
                  </a:lnTo>
                  <a:lnTo>
                    <a:pt x="1194" y="1206"/>
                  </a:lnTo>
                  <a:lnTo>
                    <a:pt x="1182" y="1200"/>
                  </a:lnTo>
                  <a:lnTo>
                    <a:pt x="1164" y="1206"/>
                  </a:lnTo>
                  <a:lnTo>
                    <a:pt x="1146" y="1212"/>
                  </a:lnTo>
                  <a:lnTo>
                    <a:pt x="1146" y="1218"/>
                  </a:lnTo>
                  <a:lnTo>
                    <a:pt x="1134" y="1224"/>
                  </a:lnTo>
                  <a:lnTo>
                    <a:pt x="1140" y="1260"/>
                  </a:lnTo>
                  <a:lnTo>
                    <a:pt x="1134" y="1266"/>
                  </a:lnTo>
                  <a:lnTo>
                    <a:pt x="1122" y="1266"/>
                  </a:lnTo>
                  <a:lnTo>
                    <a:pt x="1110" y="1236"/>
                  </a:lnTo>
                  <a:lnTo>
                    <a:pt x="1110" y="1224"/>
                  </a:lnTo>
                  <a:lnTo>
                    <a:pt x="1086" y="1224"/>
                  </a:lnTo>
                  <a:lnTo>
                    <a:pt x="1086" y="1212"/>
                  </a:lnTo>
                  <a:lnTo>
                    <a:pt x="1074" y="1212"/>
                  </a:lnTo>
                  <a:lnTo>
                    <a:pt x="1050" y="1212"/>
                  </a:lnTo>
                  <a:lnTo>
                    <a:pt x="1056" y="1218"/>
                  </a:lnTo>
                  <a:lnTo>
                    <a:pt x="1050" y="1272"/>
                  </a:lnTo>
                  <a:lnTo>
                    <a:pt x="1044" y="1272"/>
                  </a:lnTo>
                  <a:lnTo>
                    <a:pt x="1038" y="1284"/>
                  </a:lnTo>
                  <a:lnTo>
                    <a:pt x="1032" y="1302"/>
                  </a:lnTo>
                  <a:lnTo>
                    <a:pt x="1014" y="1302"/>
                  </a:lnTo>
                  <a:lnTo>
                    <a:pt x="1020" y="1284"/>
                  </a:lnTo>
                  <a:lnTo>
                    <a:pt x="1026" y="1278"/>
                  </a:lnTo>
                  <a:lnTo>
                    <a:pt x="1026" y="1266"/>
                  </a:lnTo>
                  <a:lnTo>
                    <a:pt x="1014" y="1260"/>
                  </a:lnTo>
                  <a:lnTo>
                    <a:pt x="1014" y="1272"/>
                  </a:lnTo>
                  <a:lnTo>
                    <a:pt x="990" y="1278"/>
                  </a:lnTo>
                  <a:lnTo>
                    <a:pt x="990" y="1254"/>
                  </a:lnTo>
                  <a:lnTo>
                    <a:pt x="984" y="1254"/>
                  </a:lnTo>
                  <a:lnTo>
                    <a:pt x="978" y="1242"/>
                  </a:lnTo>
                  <a:lnTo>
                    <a:pt x="972" y="1236"/>
                  </a:lnTo>
                  <a:lnTo>
                    <a:pt x="960" y="1206"/>
                  </a:lnTo>
                  <a:lnTo>
                    <a:pt x="942" y="1206"/>
                  </a:lnTo>
                  <a:lnTo>
                    <a:pt x="936" y="1200"/>
                  </a:lnTo>
                  <a:lnTo>
                    <a:pt x="906" y="1212"/>
                  </a:lnTo>
                  <a:lnTo>
                    <a:pt x="888" y="1230"/>
                  </a:lnTo>
                  <a:lnTo>
                    <a:pt x="876" y="1230"/>
                  </a:lnTo>
                  <a:lnTo>
                    <a:pt x="864" y="1236"/>
                  </a:lnTo>
                  <a:lnTo>
                    <a:pt x="858" y="1236"/>
                  </a:lnTo>
                  <a:lnTo>
                    <a:pt x="852" y="1254"/>
                  </a:lnTo>
                  <a:lnTo>
                    <a:pt x="858" y="1254"/>
                  </a:lnTo>
                  <a:lnTo>
                    <a:pt x="840" y="1266"/>
                  </a:lnTo>
                  <a:lnTo>
                    <a:pt x="828" y="1272"/>
                  </a:lnTo>
                  <a:lnTo>
                    <a:pt x="828" y="1284"/>
                  </a:lnTo>
                  <a:lnTo>
                    <a:pt x="822" y="1284"/>
                  </a:lnTo>
                  <a:lnTo>
                    <a:pt x="804" y="1296"/>
                  </a:lnTo>
                  <a:lnTo>
                    <a:pt x="804" y="1308"/>
                  </a:lnTo>
                  <a:lnTo>
                    <a:pt x="816" y="1320"/>
                  </a:lnTo>
                  <a:lnTo>
                    <a:pt x="828" y="1320"/>
                  </a:lnTo>
                  <a:lnTo>
                    <a:pt x="822" y="1338"/>
                  </a:lnTo>
                  <a:lnTo>
                    <a:pt x="852" y="1344"/>
                  </a:lnTo>
                  <a:lnTo>
                    <a:pt x="864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94" y="1356"/>
                  </a:lnTo>
                  <a:lnTo>
                    <a:pt x="912" y="1368"/>
                  </a:lnTo>
                  <a:lnTo>
                    <a:pt x="918" y="1380"/>
                  </a:lnTo>
                  <a:lnTo>
                    <a:pt x="936" y="1380"/>
                  </a:lnTo>
                  <a:lnTo>
                    <a:pt x="960" y="1386"/>
                  </a:lnTo>
                  <a:lnTo>
                    <a:pt x="990" y="1386"/>
                  </a:lnTo>
                  <a:lnTo>
                    <a:pt x="990" y="1392"/>
                  </a:lnTo>
                  <a:lnTo>
                    <a:pt x="1020" y="1398"/>
                  </a:lnTo>
                  <a:lnTo>
                    <a:pt x="1014" y="1404"/>
                  </a:lnTo>
                  <a:lnTo>
                    <a:pt x="1008" y="1404"/>
                  </a:lnTo>
                  <a:lnTo>
                    <a:pt x="1014" y="1440"/>
                  </a:lnTo>
                  <a:lnTo>
                    <a:pt x="1020" y="1458"/>
                  </a:lnTo>
                  <a:lnTo>
                    <a:pt x="1026" y="1476"/>
                  </a:lnTo>
                  <a:lnTo>
                    <a:pt x="1020" y="1476"/>
                  </a:lnTo>
                  <a:lnTo>
                    <a:pt x="1014" y="1476"/>
                  </a:lnTo>
                  <a:lnTo>
                    <a:pt x="1014" y="1482"/>
                  </a:lnTo>
                  <a:lnTo>
                    <a:pt x="1014" y="1488"/>
                  </a:lnTo>
                  <a:lnTo>
                    <a:pt x="1002" y="1488"/>
                  </a:lnTo>
                  <a:lnTo>
                    <a:pt x="1002" y="1494"/>
                  </a:lnTo>
                  <a:lnTo>
                    <a:pt x="996" y="1494"/>
                  </a:lnTo>
                  <a:lnTo>
                    <a:pt x="996" y="1518"/>
                  </a:lnTo>
                  <a:lnTo>
                    <a:pt x="1002" y="1524"/>
                  </a:lnTo>
                  <a:lnTo>
                    <a:pt x="1020" y="1530"/>
                  </a:lnTo>
                  <a:lnTo>
                    <a:pt x="1026" y="1542"/>
                  </a:lnTo>
                  <a:lnTo>
                    <a:pt x="1032" y="1566"/>
                  </a:lnTo>
                  <a:lnTo>
                    <a:pt x="1038" y="1578"/>
                  </a:lnTo>
                  <a:lnTo>
                    <a:pt x="1032" y="1584"/>
                  </a:lnTo>
                  <a:lnTo>
                    <a:pt x="1020" y="1584"/>
                  </a:lnTo>
                  <a:lnTo>
                    <a:pt x="1014" y="1584"/>
                  </a:lnTo>
                  <a:lnTo>
                    <a:pt x="1008" y="1596"/>
                  </a:lnTo>
                  <a:lnTo>
                    <a:pt x="990" y="1584"/>
                  </a:lnTo>
                  <a:lnTo>
                    <a:pt x="984" y="1602"/>
                  </a:lnTo>
                  <a:lnTo>
                    <a:pt x="978" y="1608"/>
                  </a:lnTo>
                  <a:lnTo>
                    <a:pt x="966" y="1608"/>
                  </a:lnTo>
                  <a:lnTo>
                    <a:pt x="960" y="1614"/>
                  </a:lnTo>
                  <a:lnTo>
                    <a:pt x="954" y="1614"/>
                  </a:lnTo>
                  <a:lnTo>
                    <a:pt x="942" y="1620"/>
                  </a:lnTo>
                  <a:lnTo>
                    <a:pt x="936" y="1620"/>
                  </a:lnTo>
                  <a:lnTo>
                    <a:pt x="930" y="1620"/>
                  </a:lnTo>
                  <a:lnTo>
                    <a:pt x="930" y="1626"/>
                  </a:lnTo>
                  <a:lnTo>
                    <a:pt x="930" y="1632"/>
                  </a:lnTo>
                  <a:lnTo>
                    <a:pt x="918" y="1632"/>
                  </a:lnTo>
                  <a:lnTo>
                    <a:pt x="912" y="1632"/>
                  </a:lnTo>
                  <a:lnTo>
                    <a:pt x="906" y="1632"/>
                  </a:lnTo>
                  <a:lnTo>
                    <a:pt x="900" y="1632"/>
                  </a:lnTo>
                  <a:lnTo>
                    <a:pt x="894" y="1626"/>
                  </a:lnTo>
                  <a:lnTo>
                    <a:pt x="894" y="1614"/>
                  </a:lnTo>
                  <a:lnTo>
                    <a:pt x="840" y="1614"/>
                  </a:lnTo>
                  <a:lnTo>
                    <a:pt x="840" y="1626"/>
                  </a:lnTo>
                  <a:lnTo>
                    <a:pt x="834" y="1626"/>
                  </a:lnTo>
                  <a:lnTo>
                    <a:pt x="828" y="1632"/>
                  </a:lnTo>
                  <a:lnTo>
                    <a:pt x="822" y="1638"/>
                  </a:lnTo>
                  <a:lnTo>
                    <a:pt x="822" y="1644"/>
                  </a:lnTo>
                  <a:lnTo>
                    <a:pt x="834" y="1650"/>
                  </a:lnTo>
                  <a:lnTo>
                    <a:pt x="840" y="1662"/>
                  </a:lnTo>
                  <a:lnTo>
                    <a:pt x="840" y="1668"/>
                  </a:lnTo>
                  <a:lnTo>
                    <a:pt x="858" y="1680"/>
                  </a:lnTo>
                  <a:lnTo>
                    <a:pt x="858" y="1752"/>
                  </a:lnTo>
                  <a:lnTo>
                    <a:pt x="864" y="1782"/>
                  </a:lnTo>
                  <a:lnTo>
                    <a:pt x="876" y="1788"/>
                  </a:lnTo>
                  <a:lnTo>
                    <a:pt x="870" y="1854"/>
                  </a:lnTo>
                  <a:lnTo>
                    <a:pt x="870" y="1884"/>
                  </a:lnTo>
                  <a:lnTo>
                    <a:pt x="864" y="1884"/>
                  </a:lnTo>
                  <a:lnTo>
                    <a:pt x="846" y="1896"/>
                  </a:lnTo>
                  <a:lnTo>
                    <a:pt x="840" y="1896"/>
                  </a:lnTo>
                  <a:lnTo>
                    <a:pt x="834" y="1896"/>
                  </a:lnTo>
                  <a:lnTo>
                    <a:pt x="828" y="1890"/>
                  </a:lnTo>
                  <a:lnTo>
                    <a:pt x="822" y="1890"/>
                  </a:lnTo>
                  <a:lnTo>
                    <a:pt x="816" y="1896"/>
                  </a:lnTo>
                  <a:lnTo>
                    <a:pt x="804" y="1896"/>
                  </a:lnTo>
                  <a:lnTo>
                    <a:pt x="804" y="1890"/>
                  </a:lnTo>
                  <a:lnTo>
                    <a:pt x="780" y="1896"/>
                  </a:lnTo>
                  <a:lnTo>
                    <a:pt x="780" y="1902"/>
                  </a:lnTo>
                  <a:lnTo>
                    <a:pt x="774" y="1914"/>
                  </a:lnTo>
                  <a:lnTo>
                    <a:pt x="762" y="1926"/>
                  </a:lnTo>
                  <a:lnTo>
                    <a:pt x="762" y="1950"/>
                  </a:lnTo>
                  <a:lnTo>
                    <a:pt x="762" y="1962"/>
                  </a:lnTo>
                  <a:lnTo>
                    <a:pt x="780" y="1974"/>
                  </a:lnTo>
                  <a:lnTo>
                    <a:pt x="780" y="1986"/>
                  </a:lnTo>
                  <a:lnTo>
                    <a:pt x="780" y="1998"/>
                  </a:lnTo>
                  <a:lnTo>
                    <a:pt x="756" y="1998"/>
                  </a:lnTo>
                  <a:lnTo>
                    <a:pt x="720" y="1992"/>
                  </a:lnTo>
                  <a:lnTo>
                    <a:pt x="666" y="1998"/>
                  </a:lnTo>
                  <a:lnTo>
                    <a:pt x="654" y="1998"/>
                  </a:lnTo>
                  <a:lnTo>
                    <a:pt x="660" y="1974"/>
                  </a:lnTo>
                  <a:lnTo>
                    <a:pt x="666" y="1962"/>
                  </a:lnTo>
                  <a:lnTo>
                    <a:pt x="678" y="1950"/>
                  </a:lnTo>
                  <a:lnTo>
                    <a:pt x="696" y="1932"/>
                  </a:lnTo>
                  <a:lnTo>
                    <a:pt x="696" y="1920"/>
                  </a:lnTo>
                  <a:lnTo>
                    <a:pt x="696" y="1896"/>
                  </a:lnTo>
                  <a:lnTo>
                    <a:pt x="678" y="1896"/>
                  </a:lnTo>
                  <a:lnTo>
                    <a:pt x="672" y="1884"/>
                  </a:lnTo>
                  <a:lnTo>
                    <a:pt x="672" y="1776"/>
                  </a:lnTo>
                  <a:lnTo>
                    <a:pt x="678" y="1758"/>
                  </a:lnTo>
                  <a:lnTo>
                    <a:pt x="678" y="1740"/>
                  </a:lnTo>
                  <a:lnTo>
                    <a:pt x="684" y="1728"/>
                  </a:lnTo>
                  <a:lnTo>
                    <a:pt x="690" y="1722"/>
                  </a:lnTo>
                  <a:lnTo>
                    <a:pt x="702" y="1722"/>
                  </a:lnTo>
                  <a:lnTo>
                    <a:pt x="708" y="1716"/>
                  </a:lnTo>
                  <a:lnTo>
                    <a:pt x="714" y="1710"/>
                  </a:lnTo>
                  <a:lnTo>
                    <a:pt x="720" y="1698"/>
                  </a:lnTo>
                  <a:lnTo>
                    <a:pt x="732" y="1692"/>
                  </a:lnTo>
                  <a:lnTo>
                    <a:pt x="744" y="1686"/>
                  </a:lnTo>
                  <a:lnTo>
                    <a:pt x="756" y="1680"/>
                  </a:lnTo>
                  <a:lnTo>
                    <a:pt x="768" y="1668"/>
                  </a:lnTo>
                  <a:lnTo>
                    <a:pt x="768" y="1650"/>
                  </a:lnTo>
                  <a:lnTo>
                    <a:pt x="774" y="1632"/>
                  </a:lnTo>
                  <a:lnTo>
                    <a:pt x="768" y="1620"/>
                  </a:lnTo>
                  <a:lnTo>
                    <a:pt x="774" y="1608"/>
                  </a:lnTo>
                  <a:lnTo>
                    <a:pt x="774" y="1578"/>
                  </a:lnTo>
                  <a:lnTo>
                    <a:pt x="774" y="1572"/>
                  </a:lnTo>
                  <a:lnTo>
                    <a:pt x="780" y="1560"/>
                  </a:lnTo>
                  <a:lnTo>
                    <a:pt x="780" y="1554"/>
                  </a:lnTo>
                  <a:lnTo>
                    <a:pt x="786" y="1542"/>
                  </a:lnTo>
                  <a:lnTo>
                    <a:pt x="792" y="1530"/>
                  </a:lnTo>
                  <a:lnTo>
                    <a:pt x="792" y="1518"/>
                  </a:lnTo>
                  <a:lnTo>
                    <a:pt x="792" y="1506"/>
                  </a:lnTo>
                  <a:lnTo>
                    <a:pt x="786" y="1500"/>
                  </a:lnTo>
                  <a:lnTo>
                    <a:pt x="774" y="1488"/>
                  </a:lnTo>
                  <a:lnTo>
                    <a:pt x="774" y="1482"/>
                  </a:lnTo>
                  <a:lnTo>
                    <a:pt x="762" y="1488"/>
                  </a:lnTo>
                  <a:lnTo>
                    <a:pt x="756" y="1494"/>
                  </a:lnTo>
                  <a:lnTo>
                    <a:pt x="744" y="1500"/>
                  </a:lnTo>
                  <a:lnTo>
                    <a:pt x="732" y="1506"/>
                  </a:lnTo>
                  <a:lnTo>
                    <a:pt x="726" y="1506"/>
                  </a:lnTo>
                  <a:lnTo>
                    <a:pt x="720" y="1506"/>
                  </a:lnTo>
                  <a:lnTo>
                    <a:pt x="702" y="1506"/>
                  </a:lnTo>
                  <a:lnTo>
                    <a:pt x="690" y="1500"/>
                  </a:lnTo>
                  <a:lnTo>
                    <a:pt x="678" y="1500"/>
                  </a:lnTo>
                  <a:lnTo>
                    <a:pt x="672" y="1500"/>
                  </a:lnTo>
                  <a:lnTo>
                    <a:pt x="660" y="1506"/>
                  </a:lnTo>
                  <a:lnTo>
                    <a:pt x="654" y="1506"/>
                  </a:lnTo>
                  <a:lnTo>
                    <a:pt x="648" y="1512"/>
                  </a:lnTo>
                  <a:lnTo>
                    <a:pt x="648" y="1518"/>
                  </a:lnTo>
                  <a:lnTo>
                    <a:pt x="618" y="1518"/>
                  </a:lnTo>
                  <a:lnTo>
                    <a:pt x="534" y="1494"/>
                  </a:lnTo>
                  <a:lnTo>
                    <a:pt x="528" y="1458"/>
                  </a:lnTo>
                  <a:lnTo>
                    <a:pt x="510" y="1458"/>
                  </a:lnTo>
                  <a:lnTo>
                    <a:pt x="492" y="1440"/>
                  </a:lnTo>
                  <a:lnTo>
                    <a:pt x="462" y="1440"/>
                  </a:lnTo>
                  <a:lnTo>
                    <a:pt x="456" y="1428"/>
                  </a:lnTo>
                  <a:lnTo>
                    <a:pt x="420" y="1428"/>
                  </a:lnTo>
                  <a:lnTo>
                    <a:pt x="390" y="1446"/>
                  </a:lnTo>
                  <a:lnTo>
                    <a:pt x="312" y="1452"/>
                  </a:lnTo>
                  <a:lnTo>
                    <a:pt x="300" y="1446"/>
                  </a:lnTo>
                  <a:lnTo>
                    <a:pt x="294" y="1446"/>
                  </a:lnTo>
                  <a:lnTo>
                    <a:pt x="288" y="1446"/>
                  </a:lnTo>
                  <a:lnTo>
                    <a:pt x="282" y="1440"/>
                  </a:lnTo>
                  <a:lnTo>
                    <a:pt x="276" y="1440"/>
                  </a:lnTo>
                  <a:lnTo>
                    <a:pt x="270" y="1440"/>
                  </a:lnTo>
                  <a:lnTo>
                    <a:pt x="264" y="1440"/>
                  </a:lnTo>
                  <a:lnTo>
                    <a:pt x="258" y="1434"/>
                  </a:lnTo>
                  <a:lnTo>
                    <a:pt x="252" y="1434"/>
                  </a:lnTo>
                  <a:lnTo>
                    <a:pt x="246" y="1428"/>
                  </a:lnTo>
                  <a:lnTo>
                    <a:pt x="240" y="1416"/>
                  </a:lnTo>
                  <a:lnTo>
                    <a:pt x="234" y="1404"/>
                  </a:lnTo>
                  <a:lnTo>
                    <a:pt x="228" y="1398"/>
                  </a:lnTo>
                  <a:lnTo>
                    <a:pt x="222" y="1398"/>
                  </a:lnTo>
                  <a:lnTo>
                    <a:pt x="216" y="1404"/>
                  </a:lnTo>
                  <a:lnTo>
                    <a:pt x="210" y="1404"/>
                  </a:lnTo>
                  <a:lnTo>
                    <a:pt x="204" y="1404"/>
                  </a:lnTo>
                  <a:lnTo>
                    <a:pt x="204" y="1398"/>
                  </a:lnTo>
                  <a:lnTo>
                    <a:pt x="198" y="1392"/>
                  </a:lnTo>
                  <a:lnTo>
                    <a:pt x="192" y="1386"/>
                  </a:lnTo>
                  <a:lnTo>
                    <a:pt x="168" y="1374"/>
                  </a:lnTo>
                  <a:lnTo>
                    <a:pt x="144" y="13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0" name="Freeform 35">
              <a:extLst>
                <a:ext uri="{FF2B5EF4-FFF2-40B4-BE49-F238E27FC236}">
                  <a16:creationId xmlns:a16="http://schemas.microsoft.com/office/drawing/2014/main" id="{F64BF16E-9D62-438E-A1CC-CD4088AC7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2895" y="1706004"/>
              <a:ext cx="767013" cy="785011"/>
            </a:xfrm>
            <a:custGeom>
              <a:avLst/>
              <a:gdLst>
                <a:gd name="T0" fmla="*/ 102 w 1440"/>
                <a:gd name="T1" fmla="*/ 104 h 1476"/>
                <a:gd name="T2" fmla="*/ 99 w 1440"/>
                <a:gd name="T3" fmla="*/ 108 h 1476"/>
                <a:gd name="T4" fmla="*/ 98 w 1440"/>
                <a:gd name="T5" fmla="*/ 112 h 1476"/>
                <a:gd name="T6" fmla="*/ 96 w 1440"/>
                <a:gd name="T7" fmla="*/ 116 h 1476"/>
                <a:gd name="T8" fmla="*/ 91 w 1440"/>
                <a:gd name="T9" fmla="*/ 118 h 1476"/>
                <a:gd name="T10" fmla="*/ 87 w 1440"/>
                <a:gd name="T11" fmla="*/ 120 h 1476"/>
                <a:gd name="T12" fmla="*/ 75 w 1440"/>
                <a:gd name="T13" fmla="*/ 120 h 1476"/>
                <a:gd name="T14" fmla="*/ 72 w 1440"/>
                <a:gd name="T15" fmla="*/ 123 h 1476"/>
                <a:gd name="T16" fmla="*/ 69 w 1440"/>
                <a:gd name="T17" fmla="*/ 128 h 1476"/>
                <a:gd name="T18" fmla="*/ 67 w 1440"/>
                <a:gd name="T19" fmla="*/ 127 h 1476"/>
                <a:gd name="T20" fmla="*/ 66 w 1440"/>
                <a:gd name="T21" fmla="*/ 123 h 1476"/>
                <a:gd name="T22" fmla="*/ 63 w 1440"/>
                <a:gd name="T23" fmla="*/ 119 h 1476"/>
                <a:gd name="T24" fmla="*/ 54 w 1440"/>
                <a:gd name="T25" fmla="*/ 114 h 1476"/>
                <a:gd name="T26" fmla="*/ 55 w 1440"/>
                <a:gd name="T27" fmla="*/ 106 h 1476"/>
                <a:gd name="T28" fmla="*/ 60 w 1440"/>
                <a:gd name="T29" fmla="*/ 100 h 1476"/>
                <a:gd name="T30" fmla="*/ 55 w 1440"/>
                <a:gd name="T31" fmla="*/ 91 h 1476"/>
                <a:gd name="T32" fmla="*/ 51 w 1440"/>
                <a:gd name="T33" fmla="*/ 86 h 1476"/>
                <a:gd name="T34" fmla="*/ 47 w 1440"/>
                <a:gd name="T35" fmla="*/ 85 h 1476"/>
                <a:gd name="T36" fmla="*/ 44 w 1440"/>
                <a:gd name="T37" fmla="*/ 82 h 1476"/>
                <a:gd name="T38" fmla="*/ 41 w 1440"/>
                <a:gd name="T39" fmla="*/ 83 h 1476"/>
                <a:gd name="T40" fmla="*/ 36 w 1440"/>
                <a:gd name="T41" fmla="*/ 83 h 1476"/>
                <a:gd name="T42" fmla="*/ 33 w 1440"/>
                <a:gd name="T43" fmla="*/ 83 h 1476"/>
                <a:gd name="T44" fmla="*/ 30 w 1440"/>
                <a:gd name="T45" fmla="*/ 83 h 1476"/>
                <a:gd name="T46" fmla="*/ 27 w 1440"/>
                <a:gd name="T47" fmla="*/ 83 h 1476"/>
                <a:gd name="T48" fmla="*/ 24 w 1440"/>
                <a:gd name="T49" fmla="*/ 82 h 1476"/>
                <a:gd name="T50" fmla="*/ 21 w 1440"/>
                <a:gd name="T51" fmla="*/ 80 h 1476"/>
                <a:gd name="T52" fmla="*/ 18 w 1440"/>
                <a:gd name="T53" fmla="*/ 79 h 1476"/>
                <a:gd name="T54" fmla="*/ 17 w 1440"/>
                <a:gd name="T55" fmla="*/ 78 h 1476"/>
                <a:gd name="T56" fmla="*/ 12 w 1440"/>
                <a:gd name="T57" fmla="*/ 78 h 1476"/>
                <a:gd name="T58" fmla="*/ 12 w 1440"/>
                <a:gd name="T59" fmla="*/ 78 h 1476"/>
                <a:gd name="T60" fmla="*/ 7 w 1440"/>
                <a:gd name="T61" fmla="*/ 80 h 1476"/>
                <a:gd name="T62" fmla="*/ 3 w 1440"/>
                <a:gd name="T63" fmla="*/ 81 h 1476"/>
                <a:gd name="T64" fmla="*/ 0 w 1440"/>
                <a:gd name="T65" fmla="*/ 76 h 1476"/>
                <a:gd name="T66" fmla="*/ 1 w 1440"/>
                <a:gd name="T67" fmla="*/ 50 h 1476"/>
                <a:gd name="T68" fmla="*/ 8 w 1440"/>
                <a:gd name="T69" fmla="*/ 48 h 1476"/>
                <a:gd name="T70" fmla="*/ 20 w 1440"/>
                <a:gd name="T71" fmla="*/ 49 h 1476"/>
                <a:gd name="T72" fmla="*/ 26 w 1440"/>
                <a:gd name="T73" fmla="*/ 50 h 1476"/>
                <a:gd name="T74" fmla="*/ 44 w 1440"/>
                <a:gd name="T75" fmla="*/ 47 h 1476"/>
                <a:gd name="T76" fmla="*/ 41 w 1440"/>
                <a:gd name="T77" fmla="*/ 24 h 1476"/>
                <a:gd name="T78" fmla="*/ 44 w 1440"/>
                <a:gd name="T79" fmla="*/ 20 h 1476"/>
                <a:gd name="T80" fmla="*/ 47 w 1440"/>
                <a:gd name="T81" fmla="*/ 18 h 1476"/>
                <a:gd name="T82" fmla="*/ 54 w 1440"/>
                <a:gd name="T83" fmla="*/ 21 h 1476"/>
                <a:gd name="T84" fmla="*/ 61 w 1440"/>
                <a:gd name="T85" fmla="*/ 23 h 1476"/>
                <a:gd name="T86" fmla="*/ 59 w 1440"/>
                <a:gd name="T87" fmla="*/ 14 h 1476"/>
                <a:gd name="T88" fmla="*/ 61 w 1440"/>
                <a:gd name="T89" fmla="*/ 8 h 1476"/>
                <a:gd name="T90" fmla="*/ 71 w 1440"/>
                <a:gd name="T91" fmla="*/ 7 h 1476"/>
                <a:gd name="T92" fmla="*/ 75 w 1440"/>
                <a:gd name="T93" fmla="*/ 0 h 1476"/>
                <a:gd name="T94" fmla="*/ 82 w 1440"/>
                <a:gd name="T95" fmla="*/ 3 h 1476"/>
                <a:gd name="T96" fmla="*/ 93 w 1440"/>
                <a:gd name="T97" fmla="*/ 5 h 1476"/>
                <a:gd name="T98" fmla="*/ 100 w 1440"/>
                <a:gd name="T99" fmla="*/ 1 h 1476"/>
                <a:gd name="T100" fmla="*/ 104 w 1440"/>
                <a:gd name="T101" fmla="*/ 4 h 1476"/>
                <a:gd name="T102" fmla="*/ 110 w 1440"/>
                <a:gd name="T103" fmla="*/ 10 h 1476"/>
                <a:gd name="T104" fmla="*/ 115 w 1440"/>
                <a:gd name="T105" fmla="*/ 23 h 1476"/>
                <a:gd name="T106" fmla="*/ 117 w 1440"/>
                <a:gd name="T107" fmla="*/ 42 h 1476"/>
                <a:gd name="T108" fmla="*/ 121 w 1440"/>
                <a:gd name="T109" fmla="*/ 52 h 1476"/>
                <a:gd name="T110" fmla="*/ 118 w 1440"/>
                <a:gd name="T111" fmla="*/ 62 h 1476"/>
                <a:gd name="T112" fmla="*/ 124 w 1440"/>
                <a:gd name="T113" fmla="*/ 66 h 1476"/>
                <a:gd name="T114" fmla="*/ 121 w 1440"/>
                <a:gd name="T115" fmla="*/ 71 h 1476"/>
                <a:gd name="T116" fmla="*/ 115 w 1440"/>
                <a:gd name="T117" fmla="*/ 76 h 1476"/>
                <a:gd name="T118" fmla="*/ 109 w 1440"/>
                <a:gd name="T119" fmla="*/ 76 h 1476"/>
                <a:gd name="T120" fmla="*/ 105 w 1440"/>
                <a:gd name="T121" fmla="*/ 86 h 1476"/>
                <a:gd name="T122" fmla="*/ 107 w 1440"/>
                <a:gd name="T123" fmla="*/ 97 h 147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40"/>
                <a:gd name="T187" fmla="*/ 0 h 1476"/>
                <a:gd name="T188" fmla="*/ 1440 w 1440"/>
                <a:gd name="T189" fmla="*/ 1476 h 147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40" h="1476">
                  <a:moveTo>
                    <a:pt x="1212" y="1164"/>
                  </a:moveTo>
                  <a:lnTo>
                    <a:pt x="1206" y="1170"/>
                  </a:lnTo>
                  <a:lnTo>
                    <a:pt x="1200" y="1176"/>
                  </a:lnTo>
                  <a:lnTo>
                    <a:pt x="1194" y="1176"/>
                  </a:lnTo>
                  <a:lnTo>
                    <a:pt x="1188" y="1188"/>
                  </a:lnTo>
                  <a:lnTo>
                    <a:pt x="1182" y="1194"/>
                  </a:lnTo>
                  <a:lnTo>
                    <a:pt x="1176" y="1194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64" y="1206"/>
                  </a:lnTo>
                  <a:lnTo>
                    <a:pt x="1158" y="1206"/>
                  </a:lnTo>
                  <a:lnTo>
                    <a:pt x="1152" y="1212"/>
                  </a:lnTo>
                  <a:lnTo>
                    <a:pt x="1146" y="1212"/>
                  </a:lnTo>
                  <a:lnTo>
                    <a:pt x="1140" y="1224"/>
                  </a:lnTo>
                  <a:lnTo>
                    <a:pt x="1134" y="1230"/>
                  </a:lnTo>
                  <a:lnTo>
                    <a:pt x="1128" y="1236"/>
                  </a:lnTo>
                  <a:lnTo>
                    <a:pt x="1128" y="1242"/>
                  </a:lnTo>
                  <a:lnTo>
                    <a:pt x="1128" y="1254"/>
                  </a:lnTo>
                  <a:lnTo>
                    <a:pt x="1128" y="1260"/>
                  </a:lnTo>
                  <a:lnTo>
                    <a:pt x="1122" y="1260"/>
                  </a:lnTo>
                  <a:lnTo>
                    <a:pt x="1122" y="1266"/>
                  </a:lnTo>
                  <a:lnTo>
                    <a:pt x="1128" y="1278"/>
                  </a:lnTo>
                  <a:lnTo>
                    <a:pt x="1122" y="1278"/>
                  </a:lnTo>
                  <a:lnTo>
                    <a:pt x="1122" y="1284"/>
                  </a:lnTo>
                  <a:lnTo>
                    <a:pt x="1128" y="1290"/>
                  </a:lnTo>
                  <a:lnTo>
                    <a:pt x="1122" y="1296"/>
                  </a:lnTo>
                  <a:lnTo>
                    <a:pt x="1122" y="1302"/>
                  </a:lnTo>
                  <a:lnTo>
                    <a:pt x="1116" y="1302"/>
                  </a:lnTo>
                  <a:lnTo>
                    <a:pt x="1110" y="1314"/>
                  </a:lnTo>
                  <a:lnTo>
                    <a:pt x="1110" y="1320"/>
                  </a:lnTo>
                  <a:lnTo>
                    <a:pt x="1110" y="1326"/>
                  </a:lnTo>
                  <a:lnTo>
                    <a:pt x="1098" y="1332"/>
                  </a:lnTo>
                  <a:lnTo>
                    <a:pt x="1092" y="1338"/>
                  </a:lnTo>
                  <a:lnTo>
                    <a:pt x="1092" y="1344"/>
                  </a:lnTo>
                  <a:lnTo>
                    <a:pt x="1086" y="1350"/>
                  </a:lnTo>
                  <a:lnTo>
                    <a:pt x="1080" y="1350"/>
                  </a:lnTo>
                  <a:lnTo>
                    <a:pt x="1074" y="1350"/>
                  </a:lnTo>
                  <a:lnTo>
                    <a:pt x="1068" y="1356"/>
                  </a:lnTo>
                  <a:lnTo>
                    <a:pt x="1062" y="1356"/>
                  </a:lnTo>
                  <a:lnTo>
                    <a:pt x="1044" y="1356"/>
                  </a:lnTo>
                  <a:lnTo>
                    <a:pt x="1038" y="1362"/>
                  </a:lnTo>
                  <a:lnTo>
                    <a:pt x="1032" y="1368"/>
                  </a:lnTo>
                  <a:lnTo>
                    <a:pt x="1026" y="1368"/>
                  </a:lnTo>
                  <a:lnTo>
                    <a:pt x="1020" y="1374"/>
                  </a:lnTo>
                  <a:lnTo>
                    <a:pt x="1008" y="1374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74"/>
                  </a:lnTo>
                  <a:lnTo>
                    <a:pt x="978" y="1380"/>
                  </a:lnTo>
                  <a:lnTo>
                    <a:pt x="972" y="1380"/>
                  </a:lnTo>
                  <a:lnTo>
                    <a:pt x="954" y="1368"/>
                  </a:lnTo>
                  <a:lnTo>
                    <a:pt x="930" y="1368"/>
                  </a:lnTo>
                  <a:lnTo>
                    <a:pt x="918" y="1368"/>
                  </a:lnTo>
                  <a:lnTo>
                    <a:pt x="906" y="1368"/>
                  </a:lnTo>
                  <a:lnTo>
                    <a:pt x="894" y="1368"/>
                  </a:lnTo>
                  <a:lnTo>
                    <a:pt x="864" y="1374"/>
                  </a:lnTo>
                  <a:lnTo>
                    <a:pt x="852" y="1374"/>
                  </a:lnTo>
                  <a:lnTo>
                    <a:pt x="846" y="1386"/>
                  </a:lnTo>
                  <a:lnTo>
                    <a:pt x="846" y="1392"/>
                  </a:lnTo>
                  <a:lnTo>
                    <a:pt x="840" y="1398"/>
                  </a:lnTo>
                  <a:lnTo>
                    <a:pt x="840" y="1404"/>
                  </a:lnTo>
                  <a:lnTo>
                    <a:pt x="834" y="1416"/>
                  </a:lnTo>
                  <a:lnTo>
                    <a:pt x="828" y="1416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04" y="1428"/>
                  </a:lnTo>
                  <a:lnTo>
                    <a:pt x="804" y="1434"/>
                  </a:lnTo>
                  <a:lnTo>
                    <a:pt x="804" y="1440"/>
                  </a:lnTo>
                  <a:lnTo>
                    <a:pt x="798" y="1446"/>
                  </a:lnTo>
                  <a:lnTo>
                    <a:pt x="798" y="1458"/>
                  </a:lnTo>
                  <a:lnTo>
                    <a:pt x="792" y="1464"/>
                  </a:lnTo>
                  <a:lnTo>
                    <a:pt x="786" y="1476"/>
                  </a:lnTo>
                  <a:lnTo>
                    <a:pt x="780" y="1470"/>
                  </a:lnTo>
                  <a:lnTo>
                    <a:pt x="774" y="1470"/>
                  </a:lnTo>
                  <a:lnTo>
                    <a:pt x="768" y="1470"/>
                  </a:lnTo>
                  <a:lnTo>
                    <a:pt x="762" y="1476"/>
                  </a:lnTo>
                  <a:lnTo>
                    <a:pt x="762" y="1470"/>
                  </a:lnTo>
                  <a:lnTo>
                    <a:pt x="762" y="1464"/>
                  </a:lnTo>
                  <a:lnTo>
                    <a:pt x="762" y="1458"/>
                  </a:lnTo>
                  <a:lnTo>
                    <a:pt x="756" y="1458"/>
                  </a:lnTo>
                  <a:lnTo>
                    <a:pt x="756" y="1452"/>
                  </a:lnTo>
                  <a:lnTo>
                    <a:pt x="756" y="1446"/>
                  </a:lnTo>
                  <a:lnTo>
                    <a:pt x="756" y="1440"/>
                  </a:lnTo>
                  <a:lnTo>
                    <a:pt x="750" y="1434"/>
                  </a:lnTo>
                  <a:lnTo>
                    <a:pt x="750" y="1428"/>
                  </a:lnTo>
                  <a:lnTo>
                    <a:pt x="750" y="1422"/>
                  </a:lnTo>
                  <a:lnTo>
                    <a:pt x="750" y="1416"/>
                  </a:lnTo>
                  <a:lnTo>
                    <a:pt x="744" y="1416"/>
                  </a:lnTo>
                  <a:lnTo>
                    <a:pt x="744" y="1410"/>
                  </a:lnTo>
                  <a:lnTo>
                    <a:pt x="738" y="1404"/>
                  </a:lnTo>
                  <a:lnTo>
                    <a:pt x="732" y="1398"/>
                  </a:lnTo>
                  <a:lnTo>
                    <a:pt x="732" y="1392"/>
                  </a:lnTo>
                  <a:lnTo>
                    <a:pt x="726" y="1386"/>
                  </a:lnTo>
                  <a:lnTo>
                    <a:pt x="726" y="1380"/>
                  </a:lnTo>
                  <a:lnTo>
                    <a:pt x="714" y="1368"/>
                  </a:lnTo>
                  <a:lnTo>
                    <a:pt x="708" y="1368"/>
                  </a:lnTo>
                  <a:lnTo>
                    <a:pt x="684" y="1332"/>
                  </a:lnTo>
                  <a:lnTo>
                    <a:pt x="666" y="1320"/>
                  </a:lnTo>
                  <a:lnTo>
                    <a:pt x="648" y="1302"/>
                  </a:lnTo>
                  <a:lnTo>
                    <a:pt x="630" y="1314"/>
                  </a:lnTo>
                  <a:lnTo>
                    <a:pt x="624" y="1314"/>
                  </a:lnTo>
                  <a:lnTo>
                    <a:pt x="624" y="1308"/>
                  </a:lnTo>
                  <a:lnTo>
                    <a:pt x="618" y="1308"/>
                  </a:lnTo>
                  <a:lnTo>
                    <a:pt x="612" y="1284"/>
                  </a:lnTo>
                  <a:lnTo>
                    <a:pt x="606" y="1254"/>
                  </a:lnTo>
                  <a:lnTo>
                    <a:pt x="606" y="1248"/>
                  </a:lnTo>
                  <a:lnTo>
                    <a:pt x="606" y="1242"/>
                  </a:lnTo>
                  <a:lnTo>
                    <a:pt x="612" y="1242"/>
                  </a:lnTo>
                  <a:lnTo>
                    <a:pt x="618" y="1236"/>
                  </a:lnTo>
                  <a:lnTo>
                    <a:pt x="618" y="1230"/>
                  </a:lnTo>
                  <a:lnTo>
                    <a:pt x="624" y="1224"/>
                  </a:lnTo>
                  <a:lnTo>
                    <a:pt x="630" y="1224"/>
                  </a:lnTo>
                  <a:lnTo>
                    <a:pt x="636" y="1218"/>
                  </a:lnTo>
                  <a:lnTo>
                    <a:pt x="636" y="1212"/>
                  </a:lnTo>
                  <a:lnTo>
                    <a:pt x="612" y="1200"/>
                  </a:lnTo>
                  <a:lnTo>
                    <a:pt x="606" y="1182"/>
                  </a:lnTo>
                  <a:lnTo>
                    <a:pt x="672" y="1182"/>
                  </a:lnTo>
                  <a:lnTo>
                    <a:pt x="690" y="1170"/>
                  </a:lnTo>
                  <a:lnTo>
                    <a:pt x="690" y="1152"/>
                  </a:lnTo>
                  <a:lnTo>
                    <a:pt x="678" y="1110"/>
                  </a:lnTo>
                  <a:lnTo>
                    <a:pt x="672" y="1092"/>
                  </a:lnTo>
                  <a:lnTo>
                    <a:pt x="660" y="1074"/>
                  </a:lnTo>
                  <a:lnTo>
                    <a:pt x="648" y="1068"/>
                  </a:lnTo>
                  <a:lnTo>
                    <a:pt x="642" y="1068"/>
                  </a:lnTo>
                  <a:lnTo>
                    <a:pt x="636" y="1062"/>
                  </a:lnTo>
                  <a:lnTo>
                    <a:pt x="624" y="1056"/>
                  </a:lnTo>
                  <a:lnTo>
                    <a:pt x="624" y="1050"/>
                  </a:lnTo>
                  <a:lnTo>
                    <a:pt x="618" y="1038"/>
                  </a:lnTo>
                  <a:lnTo>
                    <a:pt x="612" y="1038"/>
                  </a:lnTo>
                  <a:lnTo>
                    <a:pt x="612" y="1032"/>
                  </a:lnTo>
                  <a:lnTo>
                    <a:pt x="612" y="1026"/>
                  </a:lnTo>
                  <a:lnTo>
                    <a:pt x="600" y="1014"/>
                  </a:lnTo>
                  <a:lnTo>
                    <a:pt x="582" y="1008"/>
                  </a:lnTo>
                  <a:lnTo>
                    <a:pt x="576" y="1002"/>
                  </a:lnTo>
                  <a:lnTo>
                    <a:pt x="576" y="996"/>
                  </a:lnTo>
                  <a:lnTo>
                    <a:pt x="570" y="996"/>
                  </a:lnTo>
                  <a:lnTo>
                    <a:pt x="570" y="990"/>
                  </a:lnTo>
                  <a:lnTo>
                    <a:pt x="570" y="984"/>
                  </a:lnTo>
                  <a:lnTo>
                    <a:pt x="564" y="984"/>
                  </a:lnTo>
                  <a:lnTo>
                    <a:pt x="558" y="978"/>
                  </a:lnTo>
                  <a:lnTo>
                    <a:pt x="552" y="972"/>
                  </a:lnTo>
                  <a:lnTo>
                    <a:pt x="552" y="966"/>
                  </a:lnTo>
                  <a:lnTo>
                    <a:pt x="546" y="972"/>
                  </a:lnTo>
                  <a:lnTo>
                    <a:pt x="540" y="972"/>
                  </a:lnTo>
                  <a:lnTo>
                    <a:pt x="534" y="960"/>
                  </a:lnTo>
                  <a:lnTo>
                    <a:pt x="528" y="960"/>
                  </a:lnTo>
                  <a:lnTo>
                    <a:pt x="528" y="966"/>
                  </a:lnTo>
                  <a:lnTo>
                    <a:pt x="516" y="954"/>
                  </a:lnTo>
                  <a:lnTo>
                    <a:pt x="516" y="948"/>
                  </a:lnTo>
                  <a:lnTo>
                    <a:pt x="510" y="948"/>
                  </a:lnTo>
                  <a:lnTo>
                    <a:pt x="504" y="948"/>
                  </a:lnTo>
                  <a:lnTo>
                    <a:pt x="498" y="948"/>
                  </a:lnTo>
                  <a:lnTo>
                    <a:pt x="504" y="954"/>
                  </a:lnTo>
                  <a:lnTo>
                    <a:pt x="498" y="954"/>
                  </a:lnTo>
                  <a:lnTo>
                    <a:pt x="492" y="954"/>
                  </a:lnTo>
                  <a:lnTo>
                    <a:pt x="480" y="942"/>
                  </a:lnTo>
                  <a:lnTo>
                    <a:pt x="480" y="948"/>
                  </a:lnTo>
                  <a:lnTo>
                    <a:pt x="480" y="954"/>
                  </a:lnTo>
                  <a:lnTo>
                    <a:pt x="474" y="954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56" y="966"/>
                  </a:lnTo>
                  <a:lnTo>
                    <a:pt x="456" y="960"/>
                  </a:lnTo>
                  <a:lnTo>
                    <a:pt x="450" y="966"/>
                  </a:lnTo>
                  <a:lnTo>
                    <a:pt x="444" y="966"/>
                  </a:lnTo>
                  <a:lnTo>
                    <a:pt x="414" y="966"/>
                  </a:lnTo>
                  <a:lnTo>
                    <a:pt x="408" y="960"/>
                  </a:lnTo>
                  <a:lnTo>
                    <a:pt x="408" y="966"/>
                  </a:lnTo>
                  <a:lnTo>
                    <a:pt x="402" y="960"/>
                  </a:lnTo>
                  <a:lnTo>
                    <a:pt x="396" y="960"/>
                  </a:lnTo>
                  <a:lnTo>
                    <a:pt x="390" y="960"/>
                  </a:lnTo>
                  <a:lnTo>
                    <a:pt x="390" y="966"/>
                  </a:lnTo>
                  <a:lnTo>
                    <a:pt x="384" y="966"/>
                  </a:lnTo>
                  <a:lnTo>
                    <a:pt x="378" y="966"/>
                  </a:lnTo>
                  <a:lnTo>
                    <a:pt x="384" y="960"/>
                  </a:lnTo>
                  <a:lnTo>
                    <a:pt x="384" y="954"/>
                  </a:lnTo>
                  <a:lnTo>
                    <a:pt x="372" y="948"/>
                  </a:lnTo>
                  <a:lnTo>
                    <a:pt x="372" y="954"/>
                  </a:lnTo>
                  <a:lnTo>
                    <a:pt x="372" y="960"/>
                  </a:lnTo>
                  <a:lnTo>
                    <a:pt x="366" y="960"/>
                  </a:lnTo>
                  <a:lnTo>
                    <a:pt x="360" y="966"/>
                  </a:lnTo>
                  <a:lnTo>
                    <a:pt x="354" y="966"/>
                  </a:lnTo>
                  <a:lnTo>
                    <a:pt x="348" y="960"/>
                  </a:lnTo>
                  <a:lnTo>
                    <a:pt x="342" y="960"/>
                  </a:lnTo>
                  <a:lnTo>
                    <a:pt x="342" y="966"/>
                  </a:lnTo>
                  <a:lnTo>
                    <a:pt x="336" y="972"/>
                  </a:lnTo>
                  <a:lnTo>
                    <a:pt x="330" y="972"/>
                  </a:lnTo>
                  <a:lnTo>
                    <a:pt x="324" y="966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6" y="954"/>
                  </a:lnTo>
                  <a:lnTo>
                    <a:pt x="306" y="948"/>
                  </a:lnTo>
                  <a:lnTo>
                    <a:pt x="306" y="942"/>
                  </a:lnTo>
                  <a:lnTo>
                    <a:pt x="300" y="942"/>
                  </a:lnTo>
                  <a:lnTo>
                    <a:pt x="294" y="936"/>
                  </a:lnTo>
                  <a:lnTo>
                    <a:pt x="288" y="936"/>
                  </a:lnTo>
                  <a:lnTo>
                    <a:pt x="282" y="942"/>
                  </a:lnTo>
                  <a:lnTo>
                    <a:pt x="276" y="936"/>
                  </a:lnTo>
                  <a:lnTo>
                    <a:pt x="276" y="942"/>
                  </a:lnTo>
                  <a:lnTo>
                    <a:pt x="270" y="942"/>
                  </a:lnTo>
                  <a:lnTo>
                    <a:pt x="264" y="936"/>
                  </a:lnTo>
                  <a:lnTo>
                    <a:pt x="252" y="936"/>
                  </a:lnTo>
                  <a:lnTo>
                    <a:pt x="246" y="936"/>
                  </a:lnTo>
                  <a:lnTo>
                    <a:pt x="240" y="936"/>
                  </a:lnTo>
                  <a:lnTo>
                    <a:pt x="234" y="936"/>
                  </a:lnTo>
                  <a:lnTo>
                    <a:pt x="240" y="924"/>
                  </a:lnTo>
                  <a:lnTo>
                    <a:pt x="234" y="924"/>
                  </a:lnTo>
                  <a:lnTo>
                    <a:pt x="228" y="918"/>
                  </a:lnTo>
                  <a:lnTo>
                    <a:pt x="228" y="906"/>
                  </a:lnTo>
                  <a:lnTo>
                    <a:pt x="222" y="900"/>
                  </a:lnTo>
                  <a:lnTo>
                    <a:pt x="216" y="900"/>
                  </a:lnTo>
                  <a:lnTo>
                    <a:pt x="210" y="900"/>
                  </a:lnTo>
                  <a:lnTo>
                    <a:pt x="210" y="906"/>
                  </a:lnTo>
                  <a:lnTo>
                    <a:pt x="204" y="906"/>
                  </a:lnTo>
                  <a:lnTo>
                    <a:pt x="198" y="906"/>
                  </a:lnTo>
                  <a:lnTo>
                    <a:pt x="210" y="900"/>
                  </a:lnTo>
                  <a:lnTo>
                    <a:pt x="210" y="894"/>
                  </a:lnTo>
                  <a:lnTo>
                    <a:pt x="216" y="888"/>
                  </a:lnTo>
                  <a:lnTo>
                    <a:pt x="204" y="882"/>
                  </a:lnTo>
                  <a:lnTo>
                    <a:pt x="204" y="894"/>
                  </a:lnTo>
                  <a:lnTo>
                    <a:pt x="198" y="894"/>
                  </a:lnTo>
                  <a:lnTo>
                    <a:pt x="192" y="900"/>
                  </a:lnTo>
                  <a:lnTo>
                    <a:pt x="186" y="894"/>
                  </a:lnTo>
                  <a:lnTo>
                    <a:pt x="180" y="894"/>
                  </a:lnTo>
                  <a:lnTo>
                    <a:pt x="174" y="894"/>
                  </a:lnTo>
                  <a:lnTo>
                    <a:pt x="168" y="900"/>
                  </a:lnTo>
                  <a:lnTo>
                    <a:pt x="162" y="906"/>
                  </a:lnTo>
                  <a:lnTo>
                    <a:pt x="156" y="906"/>
                  </a:lnTo>
                  <a:lnTo>
                    <a:pt x="150" y="900"/>
                  </a:lnTo>
                  <a:lnTo>
                    <a:pt x="144" y="894"/>
                  </a:lnTo>
                  <a:lnTo>
                    <a:pt x="138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0" y="888"/>
                  </a:lnTo>
                  <a:lnTo>
                    <a:pt x="114" y="894"/>
                  </a:lnTo>
                  <a:lnTo>
                    <a:pt x="120" y="900"/>
                  </a:lnTo>
                  <a:lnTo>
                    <a:pt x="126" y="900"/>
                  </a:lnTo>
                  <a:lnTo>
                    <a:pt x="132" y="900"/>
                  </a:lnTo>
                  <a:lnTo>
                    <a:pt x="132" y="906"/>
                  </a:lnTo>
                  <a:lnTo>
                    <a:pt x="126" y="912"/>
                  </a:lnTo>
                  <a:lnTo>
                    <a:pt x="126" y="918"/>
                  </a:lnTo>
                  <a:lnTo>
                    <a:pt x="114" y="918"/>
                  </a:lnTo>
                  <a:lnTo>
                    <a:pt x="108" y="924"/>
                  </a:lnTo>
                  <a:lnTo>
                    <a:pt x="102" y="924"/>
                  </a:lnTo>
                  <a:lnTo>
                    <a:pt x="90" y="924"/>
                  </a:lnTo>
                  <a:lnTo>
                    <a:pt x="84" y="924"/>
                  </a:lnTo>
                  <a:lnTo>
                    <a:pt x="78" y="924"/>
                  </a:lnTo>
                  <a:lnTo>
                    <a:pt x="60" y="924"/>
                  </a:lnTo>
                  <a:lnTo>
                    <a:pt x="54" y="942"/>
                  </a:lnTo>
                  <a:lnTo>
                    <a:pt x="48" y="936"/>
                  </a:lnTo>
                  <a:lnTo>
                    <a:pt x="42" y="930"/>
                  </a:lnTo>
                  <a:lnTo>
                    <a:pt x="36" y="930"/>
                  </a:lnTo>
                  <a:lnTo>
                    <a:pt x="30" y="936"/>
                  </a:lnTo>
                  <a:lnTo>
                    <a:pt x="30" y="930"/>
                  </a:lnTo>
                  <a:lnTo>
                    <a:pt x="30" y="924"/>
                  </a:lnTo>
                  <a:lnTo>
                    <a:pt x="18" y="918"/>
                  </a:lnTo>
                  <a:lnTo>
                    <a:pt x="18" y="912"/>
                  </a:lnTo>
                  <a:lnTo>
                    <a:pt x="12" y="912"/>
                  </a:lnTo>
                  <a:lnTo>
                    <a:pt x="6" y="912"/>
                  </a:lnTo>
                  <a:lnTo>
                    <a:pt x="6" y="900"/>
                  </a:lnTo>
                  <a:lnTo>
                    <a:pt x="6" y="894"/>
                  </a:lnTo>
                  <a:lnTo>
                    <a:pt x="0" y="870"/>
                  </a:lnTo>
                  <a:lnTo>
                    <a:pt x="6" y="846"/>
                  </a:lnTo>
                  <a:lnTo>
                    <a:pt x="6" y="810"/>
                  </a:lnTo>
                  <a:lnTo>
                    <a:pt x="12" y="774"/>
                  </a:lnTo>
                  <a:lnTo>
                    <a:pt x="12" y="756"/>
                  </a:lnTo>
                  <a:lnTo>
                    <a:pt x="18" y="744"/>
                  </a:lnTo>
                  <a:lnTo>
                    <a:pt x="18" y="732"/>
                  </a:lnTo>
                  <a:lnTo>
                    <a:pt x="12" y="576"/>
                  </a:lnTo>
                  <a:lnTo>
                    <a:pt x="12" y="570"/>
                  </a:lnTo>
                  <a:lnTo>
                    <a:pt x="18" y="564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42" y="552"/>
                  </a:lnTo>
                  <a:lnTo>
                    <a:pt x="66" y="552"/>
                  </a:lnTo>
                  <a:lnTo>
                    <a:pt x="78" y="558"/>
                  </a:lnTo>
                  <a:lnTo>
                    <a:pt x="90" y="558"/>
                  </a:lnTo>
                  <a:lnTo>
                    <a:pt x="108" y="558"/>
                  </a:lnTo>
                  <a:lnTo>
                    <a:pt x="144" y="558"/>
                  </a:lnTo>
                  <a:lnTo>
                    <a:pt x="204" y="552"/>
                  </a:lnTo>
                  <a:lnTo>
                    <a:pt x="210" y="558"/>
                  </a:lnTo>
                  <a:lnTo>
                    <a:pt x="216" y="558"/>
                  </a:lnTo>
                  <a:lnTo>
                    <a:pt x="210" y="564"/>
                  </a:lnTo>
                  <a:lnTo>
                    <a:pt x="216" y="564"/>
                  </a:lnTo>
                  <a:lnTo>
                    <a:pt x="222" y="564"/>
                  </a:lnTo>
                  <a:lnTo>
                    <a:pt x="240" y="564"/>
                  </a:lnTo>
                  <a:lnTo>
                    <a:pt x="258" y="564"/>
                  </a:lnTo>
                  <a:lnTo>
                    <a:pt x="264" y="570"/>
                  </a:lnTo>
                  <a:lnTo>
                    <a:pt x="276" y="570"/>
                  </a:lnTo>
                  <a:lnTo>
                    <a:pt x="282" y="564"/>
                  </a:lnTo>
                  <a:lnTo>
                    <a:pt x="294" y="564"/>
                  </a:lnTo>
                  <a:lnTo>
                    <a:pt x="294" y="570"/>
                  </a:lnTo>
                  <a:lnTo>
                    <a:pt x="300" y="570"/>
                  </a:lnTo>
                  <a:lnTo>
                    <a:pt x="378" y="564"/>
                  </a:lnTo>
                  <a:lnTo>
                    <a:pt x="408" y="558"/>
                  </a:lnTo>
                  <a:lnTo>
                    <a:pt x="432" y="552"/>
                  </a:lnTo>
                  <a:lnTo>
                    <a:pt x="450" y="546"/>
                  </a:lnTo>
                  <a:lnTo>
                    <a:pt x="468" y="546"/>
                  </a:lnTo>
                  <a:lnTo>
                    <a:pt x="468" y="552"/>
                  </a:lnTo>
                  <a:lnTo>
                    <a:pt x="504" y="552"/>
                  </a:lnTo>
                  <a:lnTo>
                    <a:pt x="510" y="534"/>
                  </a:lnTo>
                  <a:lnTo>
                    <a:pt x="516" y="510"/>
                  </a:lnTo>
                  <a:lnTo>
                    <a:pt x="522" y="510"/>
                  </a:lnTo>
                  <a:lnTo>
                    <a:pt x="528" y="420"/>
                  </a:lnTo>
                  <a:lnTo>
                    <a:pt x="522" y="414"/>
                  </a:lnTo>
                  <a:lnTo>
                    <a:pt x="516" y="396"/>
                  </a:lnTo>
                  <a:lnTo>
                    <a:pt x="510" y="372"/>
                  </a:lnTo>
                  <a:lnTo>
                    <a:pt x="498" y="348"/>
                  </a:lnTo>
                  <a:lnTo>
                    <a:pt x="474" y="282"/>
                  </a:lnTo>
                  <a:lnTo>
                    <a:pt x="474" y="270"/>
                  </a:lnTo>
                  <a:lnTo>
                    <a:pt x="480" y="258"/>
                  </a:lnTo>
                  <a:lnTo>
                    <a:pt x="486" y="258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92" y="246"/>
                  </a:lnTo>
                  <a:lnTo>
                    <a:pt x="504" y="234"/>
                  </a:lnTo>
                  <a:lnTo>
                    <a:pt x="510" y="228"/>
                  </a:lnTo>
                  <a:lnTo>
                    <a:pt x="516" y="228"/>
                  </a:lnTo>
                  <a:lnTo>
                    <a:pt x="516" y="222"/>
                  </a:lnTo>
                  <a:lnTo>
                    <a:pt x="516" y="216"/>
                  </a:lnTo>
                  <a:lnTo>
                    <a:pt x="522" y="216"/>
                  </a:lnTo>
                  <a:lnTo>
                    <a:pt x="528" y="210"/>
                  </a:lnTo>
                  <a:lnTo>
                    <a:pt x="534" y="210"/>
                  </a:lnTo>
                  <a:lnTo>
                    <a:pt x="540" y="210"/>
                  </a:lnTo>
                  <a:lnTo>
                    <a:pt x="546" y="210"/>
                  </a:lnTo>
                  <a:lnTo>
                    <a:pt x="552" y="210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16"/>
                  </a:lnTo>
                  <a:lnTo>
                    <a:pt x="588" y="228"/>
                  </a:lnTo>
                  <a:lnTo>
                    <a:pt x="594" y="234"/>
                  </a:lnTo>
                  <a:lnTo>
                    <a:pt x="600" y="240"/>
                  </a:lnTo>
                  <a:lnTo>
                    <a:pt x="618" y="246"/>
                  </a:lnTo>
                  <a:lnTo>
                    <a:pt x="624" y="246"/>
                  </a:lnTo>
                  <a:lnTo>
                    <a:pt x="636" y="252"/>
                  </a:lnTo>
                  <a:lnTo>
                    <a:pt x="654" y="252"/>
                  </a:lnTo>
                  <a:lnTo>
                    <a:pt x="654" y="258"/>
                  </a:lnTo>
                  <a:lnTo>
                    <a:pt x="666" y="264"/>
                  </a:lnTo>
                  <a:lnTo>
                    <a:pt x="672" y="264"/>
                  </a:lnTo>
                  <a:lnTo>
                    <a:pt x="678" y="264"/>
                  </a:lnTo>
                  <a:lnTo>
                    <a:pt x="696" y="258"/>
                  </a:lnTo>
                  <a:lnTo>
                    <a:pt x="696" y="252"/>
                  </a:lnTo>
                  <a:lnTo>
                    <a:pt x="696" y="246"/>
                  </a:lnTo>
                  <a:lnTo>
                    <a:pt x="690" y="234"/>
                  </a:lnTo>
                  <a:lnTo>
                    <a:pt x="684" y="210"/>
                  </a:lnTo>
                  <a:lnTo>
                    <a:pt x="678" y="192"/>
                  </a:lnTo>
                  <a:lnTo>
                    <a:pt x="672" y="174"/>
                  </a:lnTo>
                  <a:lnTo>
                    <a:pt x="672" y="168"/>
                  </a:lnTo>
                  <a:lnTo>
                    <a:pt x="672" y="162"/>
                  </a:lnTo>
                  <a:lnTo>
                    <a:pt x="672" y="156"/>
                  </a:lnTo>
                  <a:lnTo>
                    <a:pt x="684" y="132"/>
                  </a:lnTo>
                  <a:lnTo>
                    <a:pt x="684" y="120"/>
                  </a:lnTo>
                  <a:lnTo>
                    <a:pt x="684" y="108"/>
                  </a:lnTo>
                  <a:lnTo>
                    <a:pt x="678" y="102"/>
                  </a:lnTo>
                  <a:lnTo>
                    <a:pt x="678" y="96"/>
                  </a:lnTo>
                  <a:lnTo>
                    <a:pt x="684" y="96"/>
                  </a:lnTo>
                  <a:lnTo>
                    <a:pt x="696" y="90"/>
                  </a:lnTo>
                  <a:lnTo>
                    <a:pt x="702" y="84"/>
                  </a:lnTo>
                  <a:lnTo>
                    <a:pt x="720" y="72"/>
                  </a:lnTo>
                  <a:lnTo>
                    <a:pt x="738" y="66"/>
                  </a:lnTo>
                  <a:lnTo>
                    <a:pt x="756" y="60"/>
                  </a:lnTo>
                  <a:lnTo>
                    <a:pt x="768" y="60"/>
                  </a:lnTo>
                  <a:lnTo>
                    <a:pt x="798" y="72"/>
                  </a:lnTo>
                  <a:lnTo>
                    <a:pt x="804" y="78"/>
                  </a:lnTo>
                  <a:lnTo>
                    <a:pt x="816" y="84"/>
                  </a:lnTo>
                  <a:lnTo>
                    <a:pt x="822" y="84"/>
                  </a:lnTo>
                  <a:lnTo>
                    <a:pt x="828" y="72"/>
                  </a:lnTo>
                  <a:lnTo>
                    <a:pt x="828" y="60"/>
                  </a:lnTo>
                  <a:lnTo>
                    <a:pt x="828" y="36"/>
                  </a:lnTo>
                  <a:lnTo>
                    <a:pt x="828" y="24"/>
                  </a:lnTo>
                  <a:lnTo>
                    <a:pt x="828" y="12"/>
                  </a:lnTo>
                  <a:lnTo>
                    <a:pt x="834" y="12"/>
                  </a:lnTo>
                  <a:lnTo>
                    <a:pt x="852" y="6"/>
                  </a:lnTo>
                  <a:lnTo>
                    <a:pt x="876" y="6"/>
                  </a:lnTo>
                  <a:lnTo>
                    <a:pt x="894" y="6"/>
                  </a:lnTo>
                  <a:lnTo>
                    <a:pt x="906" y="12"/>
                  </a:lnTo>
                  <a:lnTo>
                    <a:pt x="912" y="24"/>
                  </a:lnTo>
                  <a:lnTo>
                    <a:pt x="924" y="24"/>
                  </a:lnTo>
                  <a:lnTo>
                    <a:pt x="930" y="30"/>
                  </a:lnTo>
                  <a:lnTo>
                    <a:pt x="936" y="30"/>
                  </a:lnTo>
                  <a:lnTo>
                    <a:pt x="936" y="36"/>
                  </a:lnTo>
                  <a:lnTo>
                    <a:pt x="942" y="36"/>
                  </a:lnTo>
                  <a:lnTo>
                    <a:pt x="948" y="42"/>
                  </a:lnTo>
                  <a:lnTo>
                    <a:pt x="960" y="48"/>
                  </a:lnTo>
                  <a:lnTo>
                    <a:pt x="966" y="48"/>
                  </a:lnTo>
                  <a:lnTo>
                    <a:pt x="1026" y="60"/>
                  </a:lnTo>
                  <a:lnTo>
                    <a:pt x="1050" y="60"/>
                  </a:lnTo>
                  <a:lnTo>
                    <a:pt x="1050" y="54"/>
                  </a:lnTo>
                  <a:lnTo>
                    <a:pt x="1062" y="54"/>
                  </a:lnTo>
                  <a:lnTo>
                    <a:pt x="1074" y="48"/>
                  </a:lnTo>
                  <a:lnTo>
                    <a:pt x="1086" y="42"/>
                  </a:lnTo>
                  <a:lnTo>
                    <a:pt x="1104" y="36"/>
                  </a:lnTo>
                  <a:lnTo>
                    <a:pt x="1116" y="30"/>
                  </a:lnTo>
                  <a:lnTo>
                    <a:pt x="1122" y="24"/>
                  </a:lnTo>
                  <a:lnTo>
                    <a:pt x="1128" y="18"/>
                  </a:lnTo>
                  <a:lnTo>
                    <a:pt x="1134" y="18"/>
                  </a:lnTo>
                  <a:lnTo>
                    <a:pt x="1140" y="12"/>
                  </a:lnTo>
                  <a:lnTo>
                    <a:pt x="1146" y="6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24"/>
                  </a:lnTo>
                  <a:lnTo>
                    <a:pt x="1176" y="36"/>
                  </a:lnTo>
                  <a:lnTo>
                    <a:pt x="1188" y="42"/>
                  </a:lnTo>
                  <a:lnTo>
                    <a:pt x="1200" y="54"/>
                  </a:lnTo>
                  <a:lnTo>
                    <a:pt x="1224" y="84"/>
                  </a:lnTo>
                  <a:lnTo>
                    <a:pt x="1224" y="90"/>
                  </a:lnTo>
                  <a:lnTo>
                    <a:pt x="1236" y="96"/>
                  </a:lnTo>
                  <a:lnTo>
                    <a:pt x="1236" y="108"/>
                  </a:lnTo>
                  <a:lnTo>
                    <a:pt x="1248" y="114"/>
                  </a:lnTo>
                  <a:lnTo>
                    <a:pt x="1254" y="114"/>
                  </a:lnTo>
                  <a:lnTo>
                    <a:pt x="1260" y="114"/>
                  </a:lnTo>
                  <a:lnTo>
                    <a:pt x="1296" y="114"/>
                  </a:lnTo>
                  <a:lnTo>
                    <a:pt x="1302" y="114"/>
                  </a:lnTo>
                  <a:lnTo>
                    <a:pt x="1320" y="108"/>
                  </a:lnTo>
                  <a:lnTo>
                    <a:pt x="1326" y="108"/>
                  </a:lnTo>
                  <a:lnTo>
                    <a:pt x="1326" y="138"/>
                  </a:lnTo>
                  <a:lnTo>
                    <a:pt x="1326" y="210"/>
                  </a:lnTo>
                  <a:lnTo>
                    <a:pt x="1320" y="252"/>
                  </a:lnTo>
                  <a:lnTo>
                    <a:pt x="1320" y="270"/>
                  </a:lnTo>
                  <a:lnTo>
                    <a:pt x="1320" y="288"/>
                  </a:lnTo>
                  <a:lnTo>
                    <a:pt x="1320" y="318"/>
                  </a:lnTo>
                  <a:lnTo>
                    <a:pt x="1326" y="354"/>
                  </a:lnTo>
                  <a:lnTo>
                    <a:pt x="1326" y="372"/>
                  </a:lnTo>
                  <a:lnTo>
                    <a:pt x="1332" y="420"/>
                  </a:lnTo>
                  <a:lnTo>
                    <a:pt x="1332" y="450"/>
                  </a:lnTo>
                  <a:lnTo>
                    <a:pt x="1338" y="480"/>
                  </a:lnTo>
                  <a:lnTo>
                    <a:pt x="1344" y="486"/>
                  </a:lnTo>
                  <a:lnTo>
                    <a:pt x="1338" y="492"/>
                  </a:lnTo>
                  <a:lnTo>
                    <a:pt x="1344" y="492"/>
                  </a:lnTo>
                  <a:lnTo>
                    <a:pt x="1344" y="498"/>
                  </a:lnTo>
                  <a:lnTo>
                    <a:pt x="1350" y="498"/>
                  </a:lnTo>
                  <a:lnTo>
                    <a:pt x="1350" y="522"/>
                  </a:lnTo>
                  <a:lnTo>
                    <a:pt x="1362" y="564"/>
                  </a:lnTo>
                  <a:lnTo>
                    <a:pt x="1368" y="582"/>
                  </a:lnTo>
                  <a:lnTo>
                    <a:pt x="1380" y="600"/>
                  </a:lnTo>
                  <a:lnTo>
                    <a:pt x="1386" y="636"/>
                  </a:lnTo>
                  <a:lnTo>
                    <a:pt x="1380" y="660"/>
                  </a:lnTo>
                  <a:lnTo>
                    <a:pt x="1380" y="678"/>
                  </a:lnTo>
                  <a:lnTo>
                    <a:pt x="1380" y="684"/>
                  </a:lnTo>
                  <a:lnTo>
                    <a:pt x="1374" y="684"/>
                  </a:lnTo>
                  <a:lnTo>
                    <a:pt x="1368" y="690"/>
                  </a:lnTo>
                  <a:lnTo>
                    <a:pt x="1356" y="702"/>
                  </a:lnTo>
                  <a:lnTo>
                    <a:pt x="1350" y="708"/>
                  </a:lnTo>
                  <a:lnTo>
                    <a:pt x="1356" y="714"/>
                  </a:lnTo>
                  <a:lnTo>
                    <a:pt x="1368" y="726"/>
                  </a:lnTo>
                  <a:lnTo>
                    <a:pt x="1380" y="738"/>
                  </a:lnTo>
                  <a:lnTo>
                    <a:pt x="1386" y="744"/>
                  </a:lnTo>
                  <a:lnTo>
                    <a:pt x="1392" y="744"/>
                  </a:lnTo>
                  <a:lnTo>
                    <a:pt x="1410" y="750"/>
                  </a:lnTo>
                  <a:lnTo>
                    <a:pt x="1416" y="756"/>
                  </a:lnTo>
                  <a:lnTo>
                    <a:pt x="1422" y="756"/>
                  </a:lnTo>
                  <a:lnTo>
                    <a:pt x="1422" y="762"/>
                  </a:lnTo>
                  <a:lnTo>
                    <a:pt x="1428" y="774"/>
                  </a:lnTo>
                  <a:lnTo>
                    <a:pt x="1428" y="780"/>
                  </a:lnTo>
                  <a:lnTo>
                    <a:pt x="1434" y="780"/>
                  </a:lnTo>
                  <a:lnTo>
                    <a:pt x="1440" y="798"/>
                  </a:lnTo>
                  <a:lnTo>
                    <a:pt x="1422" y="816"/>
                  </a:lnTo>
                  <a:lnTo>
                    <a:pt x="1386" y="810"/>
                  </a:lnTo>
                  <a:lnTo>
                    <a:pt x="1380" y="816"/>
                  </a:lnTo>
                  <a:lnTo>
                    <a:pt x="1374" y="840"/>
                  </a:lnTo>
                  <a:lnTo>
                    <a:pt x="1350" y="852"/>
                  </a:lnTo>
                  <a:lnTo>
                    <a:pt x="1350" y="858"/>
                  </a:lnTo>
                  <a:lnTo>
                    <a:pt x="1350" y="864"/>
                  </a:lnTo>
                  <a:lnTo>
                    <a:pt x="1344" y="864"/>
                  </a:lnTo>
                  <a:lnTo>
                    <a:pt x="1338" y="870"/>
                  </a:lnTo>
                  <a:lnTo>
                    <a:pt x="1332" y="876"/>
                  </a:lnTo>
                  <a:lnTo>
                    <a:pt x="1314" y="876"/>
                  </a:lnTo>
                  <a:lnTo>
                    <a:pt x="1314" y="870"/>
                  </a:lnTo>
                  <a:lnTo>
                    <a:pt x="1308" y="870"/>
                  </a:lnTo>
                  <a:lnTo>
                    <a:pt x="1302" y="864"/>
                  </a:lnTo>
                  <a:lnTo>
                    <a:pt x="1296" y="864"/>
                  </a:lnTo>
                  <a:lnTo>
                    <a:pt x="1284" y="870"/>
                  </a:lnTo>
                  <a:lnTo>
                    <a:pt x="1266" y="870"/>
                  </a:lnTo>
                  <a:lnTo>
                    <a:pt x="1260" y="870"/>
                  </a:lnTo>
                  <a:lnTo>
                    <a:pt x="1248" y="876"/>
                  </a:lnTo>
                  <a:lnTo>
                    <a:pt x="1236" y="876"/>
                  </a:lnTo>
                  <a:lnTo>
                    <a:pt x="1230" y="882"/>
                  </a:lnTo>
                  <a:lnTo>
                    <a:pt x="1224" y="894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18" y="942"/>
                  </a:lnTo>
                  <a:lnTo>
                    <a:pt x="1212" y="948"/>
                  </a:lnTo>
                  <a:lnTo>
                    <a:pt x="1200" y="984"/>
                  </a:lnTo>
                  <a:lnTo>
                    <a:pt x="1194" y="1008"/>
                  </a:lnTo>
                  <a:lnTo>
                    <a:pt x="1218" y="1038"/>
                  </a:lnTo>
                  <a:lnTo>
                    <a:pt x="1224" y="1044"/>
                  </a:lnTo>
                  <a:lnTo>
                    <a:pt x="1224" y="1062"/>
                  </a:lnTo>
                  <a:lnTo>
                    <a:pt x="1236" y="1080"/>
                  </a:lnTo>
                  <a:lnTo>
                    <a:pt x="1236" y="1086"/>
                  </a:lnTo>
                  <a:lnTo>
                    <a:pt x="1230" y="1092"/>
                  </a:lnTo>
                  <a:lnTo>
                    <a:pt x="1224" y="1110"/>
                  </a:lnTo>
                  <a:lnTo>
                    <a:pt x="1218" y="1122"/>
                  </a:lnTo>
                  <a:lnTo>
                    <a:pt x="1224" y="1140"/>
                  </a:lnTo>
                  <a:lnTo>
                    <a:pt x="1218" y="1146"/>
                  </a:lnTo>
                  <a:lnTo>
                    <a:pt x="1218" y="1152"/>
                  </a:lnTo>
                  <a:lnTo>
                    <a:pt x="1212" y="116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1" name="Freeform 36">
              <a:extLst>
                <a:ext uri="{FF2B5EF4-FFF2-40B4-BE49-F238E27FC236}">
                  <a16:creationId xmlns:a16="http://schemas.microsoft.com/office/drawing/2014/main" id="{B9C0D6BE-CB1C-4E69-B224-1ABF097AA8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90208" y="1647855"/>
              <a:ext cx="742415" cy="758173"/>
            </a:xfrm>
            <a:custGeom>
              <a:avLst/>
              <a:gdLst>
                <a:gd name="T0" fmla="*/ 75 w 1398"/>
                <a:gd name="T1" fmla="*/ 48 h 1428"/>
                <a:gd name="T2" fmla="*/ 68 w 1398"/>
                <a:gd name="T3" fmla="*/ 54 h 1428"/>
                <a:gd name="T4" fmla="*/ 57 w 1398"/>
                <a:gd name="T5" fmla="*/ 59 h 1428"/>
                <a:gd name="T6" fmla="*/ 55 w 1398"/>
                <a:gd name="T7" fmla="*/ 68 h 1428"/>
                <a:gd name="T8" fmla="*/ 55 w 1398"/>
                <a:gd name="T9" fmla="*/ 77 h 1428"/>
                <a:gd name="T10" fmla="*/ 57 w 1398"/>
                <a:gd name="T11" fmla="*/ 81 h 1428"/>
                <a:gd name="T12" fmla="*/ 56 w 1398"/>
                <a:gd name="T13" fmla="*/ 86 h 1428"/>
                <a:gd name="T14" fmla="*/ 57 w 1398"/>
                <a:gd name="T15" fmla="*/ 89 h 1428"/>
                <a:gd name="T16" fmla="*/ 58 w 1398"/>
                <a:gd name="T17" fmla="*/ 92 h 1428"/>
                <a:gd name="T18" fmla="*/ 58 w 1398"/>
                <a:gd name="T19" fmla="*/ 96 h 1428"/>
                <a:gd name="T20" fmla="*/ 49 w 1398"/>
                <a:gd name="T21" fmla="*/ 100 h 1428"/>
                <a:gd name="T22" fmla="*/ 47 w 1398"/>
                <a:gd name="T23" fmla="*/ 108 h 1428"/>
                <a:gd name="T24" fmla="*/ 48 w 1398"/>
                <a:gd name="T25" fmla="*/ 113 h 1428"/>
                <a:gd name="T26" fmla="*/ 43 w 1398"/>
                <a:gd name="T27" fmla="*/ 114 h 1428"/>
                <a:gd name="T28" fmla="*/ 39 w 1398"/>
                <a:gd name="T29" fmla="*/ 113 h 1428"/>
                <a:gd name="T30" fmla="*/ 33 w 1398"/>
                <a:gd name="T31" fmla="*/ 109 h 1428"/>
                <a:gd name="T32" fmla="*/ 29 w 1398"/>
                <a:gd name="T33" fmla="*/ 114 h 1428"/>
                <a:gd name="T34" fmla="*/ 22 w 1398"/>
                <a:gd name="T35" fmla="*/ 115 h 1428"/>
                <a:gd name="T36" fmla="*/ 21 w 1398"/>
                <a:gd name="T37" fmla="*/ 121 h 1428"/>
                <a:gd name="T38" fmla="*/ 12 w 1398"/>
                <a:gd name="T39" fmla="*/ 119 h 1428"/>
                <a:gd name="T40" fmla="*/ 9 w 1398"/>
                <a:gd name="T41" fmla="*/ 113 h 1428"/>
                <a:gd name="T42" fmla="*/ 2 w 1398"/>
                <a:gd name="T43" fmla="*/ 109 h 1428"/>
                <a:gd name="T44" fmla="*/ 4 w 1398"/>
                <a:gd name="T45" fmla="*/ 103 h 1428"/>
                <a:gd name="T46" fmla="*/ 2 w 1398"/>
                <a:gd name="T47" fmla="*/ 91 h 1428"/>
                <a:gd name="T48" fmla="*/ 6 w 1398"/>
                <a:gd name="T49" fmla="*/ 85 h 1428"/>
                <a:gd name="T50" fmla="*/ 10 w 1398"/>
                <a:gd name="T51" fmla="*/ 85 h 1428"/>
                <a:gd name="T52" fmla="*/ 15 w 1398"/>
                <a:gd name="T53" fmla="*/ 82 h 1428"/>
                <a:gd name="T54" fmla="*/ 20 w 1398"/>
                <a:gd name="T55" fmla="*/ 77 h 1428"/>
                <a:gd name="T56" fmla="*/ 16 w 1398"/>
                <a:gd name="T57" fmla="*/ 73 h 1428"/>
                <a:gd name="T58" fmla="*/ 16 w 1398"/>
                <a:gd name="T59" fmla="*/ 69 h 1428"/>
                <a:gd name="T60" fmla="*/ 14 w 1398"/>
                <a:gd name="T61" fmla="*/ 54 h 1428"/>
                <a:gd name="T62" fmla="*/ 12 w 1398"/>
                <a:gd name="T63" fmla="*/ 48 h 1428"/>
                <a:gd name="T64" fmla="*/ 11 w 1398"/>
                <a:gd name="T65" fmla="*/ 31 h 1428"/>
                <a:gd name="T66" fmla="*/ 14 w 1398"/>
                <a:gd name="T67" fmla="*/ 18 h 1428"/>
                <a:gd name="T68" fmla="*/ 19 w 1398"/>
                <a:gd name="T69" fmla="*/ 15 h 1428"/>
                <a:gd name="T70" fmla="*/ 26 w 1398"/>
                <a:gd name="T71" fmla="*/ 13 h 1428"/>
                <a:gd name="T72" fmla="*/ 34 w 1398"/>
                <a:gd name="T73" fmla="*/ 12 h 1428"/>
                <a:gd name="T74" fmla="*/ 39 w 1398"/>
                <a:gd name="T75" fmla="*/ 9 h 1428"/>
                <a:gd name="T76" fmla="*/ 43 w 1398"/>
                <a:gd name="T77" fmla="*/ 7 h 1428"/>
                <a:gd name="T78" fmla="*/ 48 w 1398"/>
                <a:gd name="T79" fmla="*/ 3 h 1428"/>
                <a:gd name="T80" fmla="*/ 54 w 1398"/>
                <a:gd name="T81" fmla="*/ 0 h 1428"/>
                <a:gd name="T82" fmla="*/ 58 w 1398"/>
                <a:gd name="T83" fmla="*/ 0 h 1428"/>
                <a:gd name="T84" fmla="*/ 66 w 1398"/>
                <a:gd name="T85" fmla="*/ 2 h 1428"/>
                <a:gd name="T86" fmla="*/ 70 w 1398"/>
                <a:gd name="T87" fmla="*/ 3 h 1428"/>
                <a:gd name="T88" fmla="*/ 75 w 1398"/>
                <a:gd name="T89" fmla="*/ 6 h 1428"/>
                <a:gd name="T90" fmla="*/ 80 w 1398"/>
                <a:gd name="T91" fmla="*/ 9 h 1428"/>
                <a:gd name="T92" fmla="*/ 83 w 1398"/>
                <a:gd name="T93" fmla="*/ 12 h 1428"/>
                <a:gd name="T94" fmla="*/ 87 w 1398"/>
                <a:gd name="T95" fmla="*/ 15 h 1428"/>
                <a:gd name="T96" fmla="*/ 94 w 1398"/>
                <a:gd name="T97" fmla="*/ 15 h 1428"/>
                <a:gd name="T98" fmla="*/ 99 w 1398"/>
                <a:gd name="T99" fmla="*/ 21 h 1428"/>
                <a:gd name="T100" fmla="*/ 103 w 1398"/>
                <a:gd name="T101" fmla="*/ 23 h 1428"/>
                <a:gd name="T102" fmla="*/ 110 w 1398"/>
                <a:gd name="T103" fmla="*/ 26 h 1428"/>
                <a:gd name="T104" fmla="*/ 116 w 1398"/>
                <a:gd name="T105" fmla="*/ 27 h 1428"/>
                <a:gd name="T106" fmla="*/ 120 w 1398"/>
                <a:gd name="T107" fmla="*/ 27 h 1428"/>
                <a:gd name="T108" fmla="*/ 116 w 1398"/>
                <a:gd name="T109" fmla="*/ 35 h 1428"/>
                <a:gd name="T110" fmla="*/ 104 w 1398"/>
                <a:gd name="T111" fmla="*/ 37 h 1428"/>
                <a:gd name="T112" fmla="*/ 97 w 1398"/>
                <a:gd name="T113" fmla="*/ 34 h 1428"/>
                <a:gd name="T114" fmla="*/ 91 w 1398"/>
                <a:gd name="T115" fmla="*/ 29 h 1428"/>
                <a:gd name="T116" fmla="*/ 75 w 1398"/>
                <a:gd name="T117" fmla="*/ 29 h 1428"/>
                <a:gd name="T118" fmla="*/ 72 w 1398"/>
                <a:gd name="T119" fmla="*/ 39 h 1428"/>
                <a:gd name="T120" fmla="*/ 80 w 1398"/>
                <a:gd name="T121" fmla="*/ 41 h 142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98"/>
                <a:gd name="T184" fmla="*/ 0 h 1428"/>
                <a:gd name="T185" fmla="*/ 1398 w 1398"/>
                <a:gd name="T186" fmla="*/ 1428 h 142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98" h="1428">
                  <a:moveTo>
                    <a:pt x="924" y="474"/>
                  </a:moveTo>
                  <a:lnTo>
                    <a:pt x="900" y="480"/>
                  </a:lnTo>
                  <a:lnTo>
                    <a:pt x="864" y="486"/>
                  </a:lnTo>
                  <a:lnTo>
                    <a:pt x="864" y="504"/>
                  </a:lnTo>
                  <a:lnTo>
                    <a:pt x="858" y="522"/>
                  </a:lnTo>
                  <a:lnTo>
                    <a:pt x="864" y="528"/>
                  </a:lnTo>
                  <a:lnTo>
                    <a:pt x="864" y="552"/>
                  </a:lnTo>
                  <a:lnTo>
                    <a:pt x="852" y="552"/>
                  </a:lnTo>
                  <a:lnTo>
                    <a:pt x="846" y="564"/>
                  </a:lnTo>
                  <a:lnTo>
                    <a:pt x="840" y="582"/>
                  </a:lnTo>
                  <a:lnTo>
                    <a:pt x="834" y="594"/>
                  </a:lnTo>
                  <a:lnTo>
                    <a:pt x="828" y="606"/>
                  </a:lnTo>
                  <a:lnTo>
                    <a:pt x="828" y="618"/>
                  </a:lnTo>
                  <a:lnTo>
                    <a:pt x="786" y="630"/>
                  </a:lnTo>
                  <a:lnTo>
                    <a:pt x="774" y="636"/>
                  </a:lnTo>
                  <a:lnTo>
                    <a:pt x="762" y="642"/>
                  </a:lnTo>
                  <a:lnTo>
                    <a:pt x="744" y="648"/>
                  </a:lnTo>
                  <a:lnTo>
                    <a:pt x="714" y="660"/>
                  </a:lnTo>
                  <a:lnTo>
                    <a:pt x="696" y="666"/>
                  </a:lnTo>
                  <a:lnTo>
                    <a:pt x="666" y="672"/>
                  </a:lnTo>
                  <a:lnTo>
                    <a:pt x="654" y="684"/>
                  </a:lnTo>
                  <a:lnTo>
                    <a:pt x="648" y="684"/>
                  </a:lnTo>
                  <a:lnTo>
                    <a:pt x="642" y="696"/>
                  </a:lnTo>
                  <a:lnTo>
                    <a:pt x="636" y="696"/>
                  </a:lnTo>
                  <a:lnTo>
                    <a:pt x="630" y="714"/>
                  </a:lnTo>
                  <a:lnTo>
                    <a:pt x="624" y="738"/>
                  </a:lnTo>
                  <a:lnTo>
                    <a:pt x="624" y="762"/>
                  </a:lnTo>
                  <a:lnTo>
                    <a:pt x="630" y="780"/>
                  </a:lnTo>
                  <a:lnTo>
                    <a:pt x="636" y="804"/>
                  </a:lnTo>
                  <a:lnTo>
                    <a:pt x="642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6" y="834"/>
                  </a:lnTo>
                  <a:lnTo>
                    <a:pt x="636" y="870"/>
                  </a:lnTo>
                  <a:lnTo>
                    <a:pt x="636" y="882"/>
                  </a:lnTo>
                  <a:lnTo>
                    <a:pt x="636" y="906"/>
                  </a:lnTo>
                  <a:lnTo>
                    <a:pt x="630" y="906"/>
                  </a:lnTo>
                  <a:lnTo>
                    <a:pt x="636" y="918"/>
                  </a:lnTo>
                  <a:lnTo>
                    <a:pt x="642" y="918"/>
                  </a:lnTo>
                  <a:lnTo>
                    <a:pt x="642" y="930"/>
                  </a:lnTo>
                  <a:lnTo>
                    <a:pt x="648" y="936"/>
                  </a:lnTo>
                  <a:lnTo>
                    <a:pt x="654" y="936"/>
                  </a:lnTo>
                  <a:lnTo>
                    <a:pt x="654" y="942"/>
                  </a:lnTo>
                  <a:lnTo>
                    <a:pt x="654" y="948"/>
                  </a:lnTo>
                  <a:lnTo>
                    <a:pt x="648" y="954"/>
                  </a:lnTo>
                  <a:lnTo>
                    <a:pt x="648" y="960"/>
                  </a:lnTo>
                  <a:lnTo>
                    <a:pt x="648" y="966"/>
                  </a:lnTo>
                  <a:lnTo>
                    <a:pt x="648" y="972"/>
                  </a:lnTo>
                  <a:lnTo>
                    <a:pt x="648" y="990"/>
                  </a:lnTo>
                  <a:lnTo>
                    <a:pt x="654" y="996"/>
                  </a:lnTo>
                  <a:lnTo>
                    <a:pt x="648" y="1002"/>
                  </a:lnTo>
                  <a:lnTo>
                    <a:pt x="648" y="1008"/>
                  </a:lnTo>
                  <a:lnTo>
                    <a:pt x="654" y="1014"/>
                  </a:lnTo>
                  <a:lnTo>
                    <a:pt x="654" y="1020"/>
                  </a:lnTo>
                  <a:lnTo>
                    <a:pt x="654" y="1026"/>
                  </a:lnTo>
                  <a:lnTo>
                    <a:pt x="660" y="1026"/>
                  </a:lnTo>
                  <a:lnTo>
                    <a:pt x="660" y="1032"/>
                  </a:lnTo>
                  <a:lnTo>
                    <a:pt x="660" y="1038"/>
                  </a:lnTo>
                  <a:lnTo>
                    <a:pt x="666" y="1044"/>
                  </a:lnTo>
                  <a:lnTo>
                    <a:pt x="672" y="1050"/>
                  </a:lnTo>
                  <a:lnTo>
                    <a:pt x="672" y="1056"/>
                  </a:lnTo>
                  <a:lnTo>
                    <a:pt x="672" y="1062"/>
                  </a:lnTo>
                  <a:lnTo>
                    <a:pt x="672" y="1068"/>
                  </a:lnTo>
                  <a:lnTo>
                    <a:pt x="672" y="1074"/>
                  </a:lnTo>
                  <a:lnTo>
                    <a:pt x="678" y="1074"/>
                  </a:lnTo>
                  <a:lnTo>
                    <a:pt x="678" y="1080"/>
                  </a:lnTo>
                  <a:lnTo>
                    <a:pt x="678" y="1086"/>
                  </a:lnTo>
                  <a:lnTo>
                    <a:pt x="672" y="1092"/>
                  </a:lnTo>
                  <a:lnTo>
                    <a:pt x="672" y="1098"/>
                  </a:lnTo>
                  <a:lnTo>
                    <a:pt x="672" y="1104"/>
                  </a:lnTo>
                  <a:lnTo>
                    <a:pt x="666" y="1116"/>
                  </a:lnTo>
                  <a:lnTo>
                    <a:pt x="624" y="1122"/>
                  </a:lnTo>
                  <a:lnTo>
                    <a:pt x="576" y="1134"/>
                  </a:lnTo>
                  <a:lnTo>
                    <a:pt x="570" y="1140"/>
                  </a:lnTo>
                  <a:lnTo>
                    <a:pt x="570" y="1146"/>
                  </a:lnTo>
                  <a:lnTo>
                    <a:pt x="564" y="1146"/>
                  </a:lnTo>
                  <a:lnTo>
                    <a:pt x="564" y="1152"/>
                  </a:lnTo>
                  <a:lnTo>
                    <a:pt x="564" y="1164"/>
                  </a:lnTo>
                  <a:lnTo>
                    <a:pt x="564" y="1170"/>
                  </a:lnTo>
                  <a:lnTo>
                    <a:pt x="564" y="1176"/>
                  </a:lnTo>
                  <a:lnTo>
                    <a:pt x="546" y="1176"/>
                  </a:lnTo>
                  <a:lnTo>
                    <a:pt x="540" y="1212"/>
                  </a:lnTo>
                  <a:lnTo>
                    <a:pt x="540" y="1230"/>
                  </a:lnTo>
                  <a:lnTo>
                    <a:pt x="546" y="1242"/>
                  </a:lnTo>
                  <a:lnTo>
                    <a:pt x="546" y="1254"/>
                  </a:lnTo>
                  <a:lnTo>
                    <a:pt x="558" y="1266"/>
                  </a:lnTo>
                  <a:lnTo>
                    <a:pt x="576" y="1272"/>
                  </a:lnTo>
                  <a:lnTo>
                    <a:pt x="570" y="1278"/>
                  </a:lnTo>
                  <a:lnTo>
                    <a:pt x="576" y="1284"/>
                  </a:lnTo>
                  <a:lnTo>
                    <a:pt x="570" y="1296"/>
                  </a:lnTo>
                  <a:lnTo>
                    <a:pt x="558" y="1302"/>
                  </a:lnTo>
                  <a:lnTo>
                    <a:pt x="540" y="1308"/>
                  </a:lnTo>
                  <a:lnTo>
                    <a:pt x="522" y="1314"/>
                  </a:lnTo>
                  <a:lnTo>
                    <a:pt x="516" y="1314"/>
                  </a:lnTo>
                  <a:lnTo>
                    <a:pt x="510" y="1314"/>
                  </a:lnTo>
                  <a:lnTo>
                    <a:pt x="504" y="1314"/>
                  </a:lnTo>
                  <a:lnTo>
                    <a:pt x="498" y="1320"/>
                  </a:lnTo>
                  <a:lnTo>
                    <a:pt x="492" y="1320"/>
                  </a:lnTo>
                  <a:lnTo>
                    <a:pt x="492" y="1326"/>
                  </a:lnTo>
                  <a:lnTo>
                    <a:pt x="486" y="1326"/>
                  </a:lnTo>
                  <a:lnTo>
                    <a:pt x="480" y="1326"/>
                  </a:lnTo>
                  <a:lnTo>
                    <a:pt x="480" y="1320"/>
                  </a:lnTo>
                  <a:lnTo>
                    <a:pt x="468" y="1314"/>
                  </a:lnTo>
                  <a:lnTo>
                    <a:pt x="462" y="1308"/>
                  </a:lnTo>
                  <a:lnTo>
                    <a:pt x="456" y="1302"/>
                  </a:lnTo>
                  <a:lnTo>
                    <a:pt x="444" y="1296"/>
                  </a:lnTo>
                  <a:lnTo>
                    <a:pt x="420" y="1290"/>
                  </a:lnTo>
                  <a:lnTo>
                    <a:pt x="414" y="1278"/>
                  </a:lnTo>
                  <a:lnTo>
                    <a:pt x="408" y="1278"/>
                  </a:lnTo>
                  <a:lnTo>
                    <a:pt x="408" y="1266"/>
                  </a:lnTo>
                  <a:lnTo>
                    <a:pt x="402" y="1260"/>
                  </a:lnTo>
                  <a:lnTo>
                    <a:pt x="384" y="1260"/>
                  </a:lnTo>
                  <a:lnTo>
                    <a:pt x="372" y="1266"/>
                  </a:lnTo>
                  <a:lnTo>
                    <a:pt x="360" y="1272"/>
                  </a:lnTo>
                  <a:lnTo>
                    <a:pt x="348" y="1272"/>
                  </a:lnTo>
                  <a:lnTo>
                    <a:pt x="342" y="1284"/>
                  </a:lnTo>
                  <a:lnTo>
                    <a:pt x="336" y="1290"/>
                  </a:lnTo>
                  <a:lnTo>
                    <a:pt x="336" y="1308"/>
                  </a:lnTo>
                  <a:lnTo>
                    <a:pt x="336" y="1314"/>
                  </a:lnTo>
                  <a:lnTo>
                    <a:pt x="336" y="1320"/>
                  </a:lnTo>
                  <a:lnTo>
                    <a:pt x="330" y="1326"/>
                  </a:lnTo>
                  <a:lnTo>
                    <a:pt x="330" y="1332"/>
                  </a:lnTo>
                  <a:lnTo>
                    <a:pt x="330" y="1338"/>
                  </a:lnTo>
                  <a:lnTo>
                    <a:pt x="300" y="1338"/>
                  </a:lnTo>
                  <a:lnTo>
                    <a:pt x="288" y="1338"/>
                  </a:lnTo>
                  <a:lnTo>
                    <a:pt x="258" y="1326"/>
                  </a:lnTo>
                  <a:lnTo>
                    <a:pt x="246" y="1332"/>
                  </a:lnTo>
                  <a:lnTo>
                    <a:pt x="240" y="1338"/>
                  </a:lnTo>
                  <a:lnTo>
                    <a:pt x="234" y="1338"/>
                  </a:lnTo>
                  <a:lnTo>
                    <a:pt x="228" y="1350"/>
                  </a:lnTo>
                  <a:lnTo>
                    <a:pt x="228" y="1374"/>
                  </a:lnTo>
                  <a:lnTo>
                    <a:pt x="234" y="1392"/>
                  </a:lnTo>
                  <a:lnTo>
                    <a:pt x="246" y="1398"/>
                  </a:lnTo>
                  <a:lnTo>
                    <a:pt x="246" y="1410"/>
                  </a:lnTo>
                  <a:lnTo>
                    <a:pt x="216" y="1428"/>
                  </a:lnTo>
                  <a:lnTo>
                    <a:pt x="198" y="1428"/>
                  </a:lnTo>
                  <a:lnTo>
                    <a:pt x="192" y="1422"/>
                  </a:lnTo>
                  <a:lnTo>
                    <a:pt x="174" y="1410"/>
                  </a:lnTo>
                  <a:lnTo>
                    <a:pt x="156" y="1386"/>
                  </a:lnTo>
                  <a:lnTo>
                    <a:pt x="132" y="1374"/>
                  </a:lnTo>
                  <a:lnTo>
                    <a:pt x="108" y="1368"/>
                  </a:lnTo>
                  <a:lnTo>
                    <a:pt x="84" y="1368"/>
                  </a:lnTo>
                  <a:lnTo>
                    <a:pt x="96" y="1356"/>
                  </a:lnTo>
                  <a:lnTo>
                    <a:pt x="102" y="1344"/>
                  </a:lnTo>
                  <a:lnTo>
                    <a:pt x="102" y="1332"/>
                  </a:lnTo>
                  <a:lnTo>
                    <a:pt x="108" y="1320"/>
                  </a:lnTo>
                  <a:lnTo>
                    <a:pt x="108" y="1302"/>
                  </a:lnTo>
                  <a:lnTo>
                    <a:pt x="96" y="1278"/>
                  </a:lnTo>
                  <a:lnTo>
                    <a:pt x="66" y="1284"/>
                  </a:lnTo>
                  <a:lnTo>
                    <a:pt x="54" y="1278"/>
                  </a:lnTo>
                  <a:lnTo>
                    <a:pt x="36" y="1278"/>
                  </a:lnTo>
                  <a:lnTo>
                    <a:pt x="18" y="1284"/>
                  </a:lnTo>
                  <a:lnTo>
                    <a:pt x="18" y="1272"/>
                  </a:lnTo>
                  <a:lnTo>
                    <a:pt x="24" y="1260"/>
                  </a:lnTo>
                  <a:lnTo>
                    <a:pt x="24" y="1254"/>
                  </a:lnTo>
                  <a:lnTo>
                    <a:pt x="30" y="1248"/>
                  </a:lnTo>
                  <a:lnTo>
                    <a:pt x="24" y="1230"/>
                  </a:lnTo>
                  <a:lnTo>
                    <a:pt x="30" y="1218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30" y="1170"/>
                  </a:lnTo>
                  <a:lnTo>
                    <a:pt x="30" y="1152"/>
                  </a:lnTo>
                  <a:lnTo>
                    <a:pt x="24" y="1146"/>
                  </a:lnTo>
                  <a:lnTo>
                    <a:pt x="0" y="1116"/>
                  </a:lnTo>
                  <a:lnTo>
                    <a:pt x="6" y="1092"/>
                  </a:lnTo>
                  <a:lnTo>
                    <a:pt x="18" y="1056"/>
                  </a:lnTo>
                  <a:lnTo>
                    <a:pt x="24" y="1050"/>
                  </a:lnTo>
                  <a:lnTo>
                    <a:pt x="24" y="1038"/>
                  </a:lnTo>
                  <a:lnTo>
                    <a:pt x="24" y="1026"/>
                  </a:lnTo>
                  <a:lnTo>
                    <a:pt x="30" y="1002"/>
                  </a:lnTo>
                  <a:lnTo>
                    <a:pt x="36" y="990"/>
                  </a:lnTo>
                  <a:lnTo>
                    <a:pt x="42" y="984"/>
                  </a:lnTo>
                  <a:lnTo>
                    <a:pt x="54" y="984"/>
                  </a:lnTo>
                  <a:lnTo>
                    <a:pt x="66" y="978"/>
                  </a:lnTo>
                  <a:lnTo>
                    <a:pt x="72" y="978"/>
                  </a:lnTo>
                  <a:lnTo>
                    <a:pt x="90" y="978"/>
                  </a:lnTo>
                  <a:lnTo>
                    <a:pt x="102" y="972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78"/>
                  </a:lnTo>
                  <a:lnTo>
                    <a:pt x="120" y="984"/>
                  </a:lnTo>
                  <a:lnTo>
                    <a:pt x="138" y="984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6" y="972"/>
                  </a:lnTo>
                  <a:lnTo>
                    <a:pt x="156" y="966"/>
                  </a:lnTo>
                  <a:lnTo>
                    <a:pt x="156" y="960"/>
                  </a:lnTo>
                  <a:lnTo>
                    <a:pt x="180" y="948"/>
                  </a:lnTo>
                  <a:lnTo>
                    <a:pt x="186" y="924"/>
                  </a:lnTo>
                  <a:lnTo>
                    <a:pt x="192" y="918"/>
                  </a:lnTo>
                  <a:lnTo>
                    <a:pt x="228" y="924"/>
                  </a:lnTo>
                  <a:lnTo>
                    <a:pt x="246" y="906"/>
                  </a:lnTo>
                  <a:lnTo>
                    <a:pt x="240" y="888"/>
                  </a:lnTo>
                  <a:lnTo>
                    <a:pt x="234" y="888"/>
                  </a:lnTo>
                  <a:lnTo>
                    <a:pt x="234" y="882"/>
                  </a:lnTo>
                  <a:lnTo>
                    <a:pt x="228" y="870"/>
                  </a:lnTo>
                  <a:lnTo>
                    <a:pt x="228" y="864"/>
                  </a:lnTo>
                  <a:lnTo>
                    <a:pt x="222" y="864"/>
                  </a:lnTo>
                  <a:lnTo>
                    <a:pt x="216" y="858"/>
                  </a:lnTo>
                  <a:lnTo>
                    <a:pt x="198" y="852"/>
                  </a:lnTo>
                  <a:lnTo>
                    <a:pt x="192" y="852"/>
                  </a:lnTo>
                  <a:lnTo>
                    <a:pt x="186" y="846"/>
                  </a:lnTo>
                  <a:lnTo>
                    <a:pt x="174" y="834"/>
                  </a:lnTo>
                  <a:lnTo>
                    <a:pt x="162" y="822"/>
                  </a:lnTo>
                  <a:lnTo>
                    <a:pt x="156" y="816"/>
                  </a:lnTo>
                  <a:lnTo>
                    <a:pt x="162" y="810"/>
                  </a:lnTo>
                  <a:lnTo>
                    <a:pt x="174" y="798"/>
                  </a:lnTo>
                  <a:lnTo>
                    <a:pt x="180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68"/>
                  </a:lnTo>
                  <a:lnTo>
                    <a:pt x="192" y="744"/>
                  </a:lnTo>
                  <a:lnTo>
                    <a:pt x="186" y="708"/>
                  </a:lnTo>
                  <a:lnTo>
                    <a:pt x="174" y="690"/>
                  </a:lnTo>
                  <a:lnTo>
                    <a:pt x="168" y="672"/>
                  </a:lnTo>
                  <a:lnTo>
                    <a:pt x="156" y="630"/>
                  </a:lnTo>
                  <a:lnTo>
                    <a:pt x="156" y="606"/>
                  </a:lnTo>
                  <a:lnTo>
                    <a:pt x="150" y="606"/>
                  </a:lnTo>
                  <a:lnTo>
                    <a:pt x="150" y="600"/>
                  </a:lnTo>
                  <a:lnTo>
                    <a:pt x="144" y="600"/>
                  </a:lnTo>
                  <a:lnTo>
                    <a:pt x="150" y="594"/>
                  </a:lnTo>
                  <a:lnTo>
                    <a:pt x="144" y="588"/>
                  </a:lnTo>
                  <a:lnTo>
                    <a:pt x="138" y="558"/>
                  </a:lnTo>
                  <a:lnTo>
                    <a:pt x="138" y="528"/>
                  </a:lnTo>
                  <a:lnTo>
                    <a:pt x="132" y="480"/>
                  </a:lnTo>
                  <a:lnTo>
                    <a:pt x="132" y="462"/>
                  </a:lnTo>
                  <a:lnTo>
                    <a:pt x="126" y="426"/>
                  </a:lnTo>
                  <a:lnTo>
                    <a:pt x="126" y="396"/>
                  </a:lnTo>
                  <a:lnTo>
                    <a:pt x="126" y="378"/>
                  </a:lnTo>
                  <a:lnTo>
                    <a:pt x="126" y="360"/>
                  </a:lnTo>
                  <a:lnTo>
                    <a:pt x="132" y="318"/>
                  </a:lnTo>
                  <a:lnTo>
                    <a:pt x="132" y="24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2" y="210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92" y="198"/>
                  </a:lnTo>
                  <a:lnTo>
                    <a:pt x="198" y="198"/>
                  </a:lnTo>
                  <a:lnTo>
                    <a:pt x="216" y="180"/>
                  </a:lnTo>
                  <a:lnTo>
                    <a:pt x="222" y="174"/>
                  </a:lnTo>
                  <a:lnTo>
                    <a:pt x="222" y="168"/>
                  </a:lnTo>
                  <a:lnTo>
                    <a:pt x="228" y="168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44"/>
                  </a:lnTo>
                  <a:lnTo>
                    <a:pt x="258" y="144"/>
                  </a:lnTo>
                  <a:lnTo>
                    <a:pt x="276" y="150"/>
                  </a:lnTo>
                  <a:lnTo>
                    <a:pt x="300" y="150"/>
                  </a:lnTo>
                  <a:lnTo>
                    <a:pt x="312" y="150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8" y="156"/>
                  </a:lnTo>
                  <a:lnTo>
                    <a:pt x="354" y="150"/>
                  </a:lnTo>
                  <a:lnTo>
                    <a:pt x="372" y="144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08" y="126"/>
                  </a:lnTo>
                  <a:lnTo>
                    <a:pt x="414" y="120"/>
                  </a:lnTo>
                  <a:lnTo>
                    <a:pt x="420" y="120"/>
                  </a:lnTo>
                  <a:lnTo>
                    <a:pt x="426" y="120"/>
                  </a:lnTo>
                  <a:lnTo>
                    <a:pt x="432" y="114"/>
                  </a:lnTo>
                  <a:lnTo>
                    <a:pt x="450" y="102"/>
                  </a:lnTo>
                  <a:lnTo>
                    <a:pt x="456" y="96"/>
                  </a:lnTo>
                  <a:lnTo>
                    <a:pt x="468" y="90"/>
                  </a:lnTo>
                  <a:lnTo>
                    <a:pt x="474" y="90"/>
                  </a:lnTo>
                  <a:lnTo>
                    <a:pt x="480" y="84"/>
                  </a:lnTo>
                  <a:lnTo>
                    <a:pt x="486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504" y="72"/>
                  </a:lnTo>
                  <a:lnTo>
                    <a:pt x="510" y="66"/>
                  </a:lnTo>
                  <a:lnTo>
                    <a:pt x="516" y="66"/>
                  </a:lnTo>
                  <a:lnTo>
                    <a:pt x="522" y="60"/>
                  </a:lnTo>
                  <a:lnTo>
                    <a:pt x="552" y="42"/>
                  </a:lnTo>
                  <a:lnTo>
                    <a:pt x="558" y="36"/>
                  </a:lnTo>
                  <a:lnTo>
                    <a:pt x="576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94" y="18"/>
                  </a:lnTo>
                  <a:lnTo>
                    <a:pt x="600" y="12"/>
                  </a:lnTo>
                  <a:lnTo>
                    <a:pt x="612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6"/>
                  </a:lnTo>
                  <a:lnTo>
                    <a:pt x="648" y="6"/>
                  </a:lnTo>
                  <a:lnTo>
                    <a:pt x="660" y="6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38" y="18"/>
                  </a:lnTo>
                  <a:lnTo>
                    <a:pt x="744" y="18"/>
                  </a:lnTo>
                  <a:lnTo>
                    <a:pt x="756" y="18"/>
                  </a:lnTo>
                  <a:lnTo>
                    <a:pt x="762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80" y="24"/>
                  </a:lnTo>
                  <a:lnTo>
                    <a:pt x="792" y="24"/>
                  </a:lnTo>
                  <a:lnTo>
                    <a:pt x="792" y="30"/>
                  </a:lnTo>
                  <a:lnTo>
                    <a:pt x="810" y="30"/>
                  </a:lnTo>
                  <a:lnTo>
                    <a:pt x="822" y="36"/>
                  </a:lnTo>
                  <a:lnTo>
                    <a:pt x="834" y="42"/>
                  </a:lnTo>
                  <a:lnTo>
                    <a:pt x="840" y="48"/>
                  </a:lnTo>
                  <a:lnTo>
                    <a:pt x="846" y="54"/>
                  </a:lnTo>
                  <a:lnTo>
                    <a:pt x="852" y="60"/>
                  </a:lnTo>
                  <a:lnTo>
                    <a:pt x="858" y="66"/>
                  </a:lnTo>
                  <a:lnTo>
                    <a:pt x="864" y="66"/>
                  </a:lnTo>
                  <a:lnTo>
                    <a:pt x="864" y="72"/>
                  </a:lnTo>
                  <a:lnTo>
                    <a:pt x="876" y="78"/>
                  </a:lnTo>
                  <a:lnTo>
                    <a:pt x="900" y="84"/>
                  </a:lnTo>
                  <a:lnTo>
                    <a:pt x="906" y="90"/>
                  </a:lnTo>
                  <a:lnTo>
                    <a:pt x="912" y="90"/>
                  </a:lnTo>
                  <a:lnTo>
                    <a:pt x="912" y="96"/>
                  </a:lnTo>
                  <a:lnTo>
                    <a:pt x="924" y="108"/>
                  </a:lnTo>
                  <a:lnTo>
                    <a:pt x="930" y="108"/>
                  </a:lnTo>
                  <a:lnTo>
                    <a:pt x="936" y="114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60" y="138"/>
                  </a:lnTo>
                  <a:lnTo>
                    <a:pt x="966" y="144"/>
                  </a:lnTo>
                  <a:lnTo>
                    <a:pt x="972" y="156"/>
                  </a:lnTo>
                  <a:lnTo>
                    <a:pt x="978" y="162"/>
                  </a:lnTo>
                  <a:lnTo>
                    <a:pt x="984" y="162"/>
                  </a:lnTo>
                  <a:lnTo>
                    <a:pt x="990" y="168"/>
                  </a:lnTo>
                  <a:lnTo>
                    <a:pt x="996" y="174"/>
                  </a:lnTo>
                  <a:lnTo>
                    <a:pt x="1002" y="180"/>
                  </a:lnTo>
                  <a:lnTo>
                    <a:pt x="1008" y="180"/>
                  </a:lnTo>
                  <a:lnTo>
                    <a:pt x="1020" y="180"/>
                  </a:lnTo>
                  <a:lnTo>
                    <a:pt x="1038" y="174"/>
                  </a:lnTo>
                  <a:lnTo>
                    <a:pt x="1050" y="174"/>
                  </a:lnTo>
                  <a:lnTo>
                    <a:pt x="1056" y="174"/>
                  </a:lnTo>
                  <a:lnTo>
                    <a:pt x="1068" y="180"/>
                  </a:lnTo>
                  <a:lnTo>
                    <a:pt x="1080" y="180"/>
                  </a:lnTo>
                  <a:lnTo>
                    <a:pt x="1086" y="186"/>
                  </a:lnTo>
                  <a:lnTo>
                    <a:pt x="1098" y="192"/>
                  </a:lnTo>
                  <a:lnTo>
                    <a:pt x="1116" y="204"/>
                  </a:lnTo>
                  <a:lnTo>
                    <a:pt x="1122" y="210"/>
                  </a:lnTo>
                  <a:lnTo>
                    <a:pt x="1134" y="222"/>
                  </a:lnTo>
                  <a:lnTo>
                    <a:pt x="1146" y="234"/>
                  </a:lnTo>
                  <a:lnTo>
                    <a:pt x="1146" y="240"/>
                  </a:lnTo>
                  <a:lnTo>
                    <a:pt x="1152" y="246"/>
                  </a:lnTo>
                  <a:lnTo>
                    <a:pt x="1152" y="252"/>
                  </a:lnTo>
                  <a:lnTo>
                    <a:pt x="1152" y="258"/>
                  </a:lnTo>
                  <a:lnTo>
                    <a:pt x="1164" y="258"/>
                  </a:lnTo>
                  <a:lnTo>
                    <a:pt x="1170" y="264"/>
                  </a:lnTo>
                  <a:lnTo>
                    <a:pt x="1182" y="270"/>
                  </a:lnTo>
                  <a:lnTo>
                    <a:pt x="1188" y="270"/>
                  </a:lnTo>
                  <a:lnTo>
                    <a:pt x="1194" y="270"/>
                  </a:lnTo>
                  <a:lnTo>
                    <a:pt x="1206" y="276"/>
                  </a:lnTo>
                  <a:lnTo>
                    <a:pt x="1224" y="282"/>
                  </a:lnTo>
                  <a:lnTo>
                    <a:pt x="1236" y="282"/>
                  </a:lnTo>
                  <a:lnTo>
                    <a:pt x="1242" y="288"/>
                  </a:lnTo>
                  <a:lnTo>
                    <a:pt x="1254" y="288"/>
                  </a:lnTo>
                  <a:lnTo>
                    <a:pt x="1266" y="294"/>
                  </a:lnTo>
                  <a:lnTo>
                    <a:pt x="1272" y="294"/>
                  </a:lnTo>
                  <a:lnTo>
                    <a:pt x="1284" y="300"/>
                  </a:lnTo>
                  <a:lnTo>
                    <a:pt x="1290" y="300"/>
                  </a:lnTo>
                  <a:lnTo>
                    <a:pt x="1296" y="300"/>
                  </a:lnTo>
                  <a:lnTo>
                    <a:pt x="1302" y="306"/>
                  </a:lnTo>
                  <a:lnTo>
                    <a:pt x="1326" y="312"/>
                  </a:lnTo>
                  <a:lnTo>
                    <a:pt x="1338" y="312"/>
                  </a:lnTo>
                  <a:lnTo>
                    <a:pt x="1338" y="318"/>
                  </a:lnTo>
                  <a:lnTo>
                    <a:pt x="1344" y="318"/>
                  </a:lnTo>
                  <a:lnTo>
                    <a:pt x="1350" y="318"/>
                  </a:lnTo>
                  <a:lnTo>
                    <a:pt x="1362" y="324"/>
                  </a:lnTo>
                  <a:lnTo>
                    <a:pt x="1368" y="318"/>
                  </a:lnTo>
                  <a:lnTo>
                    <a:pt x="1374" y="318"/>
                  </a:lnTo>
                  <a:lnTo>
                    <a:pt x="1386" y="318"/>
                  </a:lnTo>
                  <a:lnTo>
                    <a:pt x="1398" y="324"/>
                  </a:lnTo>
                  <a:lnTo>
                    <a:pt x="1398" y="342"/>
                  </a:lnTo>
                  <a:lnTo>
                    <a:pt x="1356" y="342"/>
                  </a:lnTo>
                  <a:lnTo>
                    <a:pt x="1350" y="348"/>
                  </a:lnTo>
                  <a:lnTo>
                    <a:pt x="1350" y="372"/>
                  </a:lnTo>
                  <a:lnTo>
                    <a:pt x="1338" y="384"/>
                  </a:lnTo>
                  <a:lnTo>
                    <a:pt x="1332" y="408"/>
                  </a:lnTo>
                  <a:lnTo>
                    <a:pt x="1320" y="420"/>
                  </a:lnTo>
                  <a:lnTo>
                    <a:pt x="1254" y="426"/>
                  </a:lnTo>
                  <a:lnTo>
                    <a:pt x="1248" y="432"/>
                  </a:lnTo>
                  <a:lnTo>
                    <a:pt x="1230" y="432"/>
                  </a:lnTo>
                  <a:lnTo>
                    <a:pt x="1212" y="432"/>
                  </a:lnTo>
                  <a:lnTo>
                    <a:pt x="1212" y="426"/>
                  </a:lnTo>
                  <a:lnTo>
                    <a:pt x="1200" y="426"/>
                  </a:lnTo>
                  <a:lnTo>
                    <a:pt x="1182" y="414"/>
                  </a:lnTo>
                  <a:lnTo>
                    <a:pt x="1182" y="420"/>
                  </a:lnTo>
                  <a:lnTo>
                    <a:pt x="1164" y="420"/>
                  </a:lnTo>
                  <a:lnTo>
                    <a:pt x="1158" y="414"/>
                  </a:lnTo>
                  <a:lnTo>
                    <a:pt x="1152" y="408"/>
                  </a:lnTo>
                  <a:lnTo>
                    <a:pt x="1146" y="402"/>
                  </a:lnTo>
                  <a:lnTo>
                    <a:pt x="1122" y="396"/>
                  </a:lnTo>
                  <a:lnTo>
                    <a:pt x="1116" y="366"/>
                  </a:lnTo>
                  <a:lnTo>
                    <a:pt x="1116" y="348"/>
                  </a:lnTo>
                  <a:lnTo>
                    <a:pt x="1110" y="342"/>
                  </a:lnTo>
                  <a:lnTo>
                    <a:pt x="1104" y="336"/>
                  </a:lnTo>
                  <a:lnTo>
                    <a:pt x="1092" y="330"/>
                  </a:lnTo>
                  <a:lnTo>
                    <a:pt x="1074" y="330"/>
                  </a:lnTo>
                  <a:lnTo>
                    <a:pt x="1044" y="330"/>
                  </a:lnTo>
                  <a:lnTo>
                    <a:pt x="1014" y="336"/>
                  </a:lnTo>
                  <a:lnTo>
                    <a:pt x="984" y="342"/>
                  </a:lnTo>
                  <a:lnTo>
                    <a:pt x="978" y="330"/>
                  </a:lnTo>
                  <a:lnTo>
                    <a:pt x="966" y="324"/>
                  </a:lnTo>
                  <a:lnTo>
                    <a:pt x="888" y="336"/>
                  </a:lnTo>
                  <a:lnTo>
                    <a:pt x="888" y="330"/>
                  </a:lnTo>
                  <a:lnTo>
                    <a:pt x="870" y="336"/>
                  </a:lnTo>
                  <a:lnTo>
                    <a:pt x="858" y="336"/>
                  </a:lnTo>
                  <a:lnTo>
                    <a:pt x="852" y="354"/>
                  </a:lnTo>
                  <a:lnTo>
                    <a:pt x="852" y="402"/>
                  </a:lnTo>
                  <a:lnTo>
                    <a:pt x="840" y="414"/>
                  </a:lnTo>
                  <a:lnTo>
                    <a:pt x="834" y="420"/>
                  </a:lnTo>
                  <a:lnTo>
                    <a:pt x="834" y="444"/>
                  </a:lnTo>
                  <a:lnTo>
                    <a:pt x="834" y="450"/>
                  </a:lnTo>
                  <a:lnTo>
                    <a:pt x="852" y="456"/>
                  </a:lnTo>
                  <a:lnTo>
                    <a:pt x="864" y="462"/>
                  </a:lnTo>
                  <a:lnTo>
                    <a:pt x="894" y="456"/>
                  </a:lnTo>
                  <a:lnTo>
                    <a:pt x="900" y="468"/>
                  </a:lnTo>
                  <a:lnTo>
                    <a:pt x="918" y="462"/>
                  </a:lnTo>
                  <a:lnTo>
                    <a:pt x="924" y="468"/>
                  </a:lnTo>
                  <a:lnTo>
                    <a:pt x="924" y="47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2" name="Freeform 37">
              <a:extLst>
                <a:ext uri="{FF2B5EF4-FFF2-40B4-BE49-F238E27FC236}">
                  <a16:creationId xmlns:a16="http://schemas.microsoft.com/office/drawing/2014/main" id="{DED8A1FF-B656-4D37-BD26-5B0A7B1A4A6D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441" y="1898343"/>
              <a:ext cx="567992" cy="686605"/>
            </a:xfrm>
            <a:custGeom>
              <a:avLst/>
              <a:gdLst>
                <a:gd name="T0" fmla="*/ 79 w 1068"/>
                <a:gd name="T1" fmla="*/ 72 h 1290"/>
                <a:gd name="T2" fmla="*/ 75 w 1068"/>
                <a:gd name="T3" fmla="*/ 73 h 1290"/>
                <a:gd name="T4" fmla="*/ 72 w 1068"/>
                <a:gd name="T5" fmla="*/ 76 h 1290"/>
                <a:gd name="T6" fmla="*/ 70 w 1068"/>
                <a:gd name="T7" fmla="*/ 78 h 1290"/>
                <a:gd name="T8" fmla="*/ 67 w 1068"/>
                <a:gd name="T9" fmla="*/ 82 h 1290"/>
                <a:gd name="T10" fmla="*/ 61 w 1068"/>
                <a:gd name="T11" fmla="*/ 86 h 1290"/>
                <a:gd name="T12" fmla="*/ 60 w 1068"/>
                <a:gd name="T13" fmla="*/ 93 h 1290"/>
                <a:gd name="T14" fmla="*/ 59 w 1068"/>
                <a:gd name="T15" fmla="*/ 97 h 1290"/>
                <a:gd name="T16" fmla="*/ 61 w 1068"/>
                <a:gd name="T17" fmla="*/ 101 h 1290"/>
                <a:gd name="T18" fmla="*/ 63 w 1068"/>
                <a:gd name="T19" fmla="*/ 104 h 1290"/>
                <a:gd name="T20" fmla="*/ 62 w 1068"/>
                <a:gd name="T21" fmla="*/ 108 h 1290"/>
                <a:gd name="T22" fmla="*/ 60 w 1068"/>
                <a:gd name="T23" fmla="*/ 111 h 1290"/>
                <a:gd name="T24" fmla="*/ 56 w 1068"/>
                <a:gd name="T25" fmla="*/ 111 h 1290"/>
                <a:gd name="T26" fmla="*/ 53 w 1068"/>
                <a:gd name="T27" fmla="*/ 110 h 1290"/>
                <a:gd name="T28" fmla="*/ 50 w 1068"/>
                <a:gd name="T29" fmla="*/ 109 h 1290"/>
                <a:gd name="T30" fmla="*/ 47 w 1068"/>
                <a:gd name="T31" fmla="*/ 110 h 1290"/>
                <a:gd name="T32" fmla="*/ 51 w 1068"/>
                <a:gd name="T33" fmla="*/ 104 h 1290"/>
                <a:gd name="T34" fmla="*/ 50 w 1068"/>
                <a:gd name="T35" fmla="*/ 95 h 1290"/>
                <a:gd name="T36" fmla="*/ 51 w 1068"/>
                <a:gd name="T37" fmla="*/ 90 h 1290"/>
                <a:gd name="T38" fmla="*/ 47 w 1068"/>
                <a:gd name="T39" fmla="*/ 84 h 1290"/>
                <a:gd name="T40" fmla="*/ 42 w 1068"/>
                <a:gd name="T41" fmla="*/ 78 h 1290"/>
                <a:gd name="T42" fmla="*/ 33 w 1068"/>
                <a:gd name="T43" fmla="*/ 73 h 1290"/>
                <a:gd name="T44" fmla="*/ 26 w 1068"/>
                <a:gd name="T45" fmla="*/ 68 h 1290"/>
                <a:gd name="T46" fmla="*/ 22 w 1068"/>
                <a:gd name="T47" fmla="*/ 63 h 1290"/>
                <a:gd name="T48" fmla="*/ 11 w 1068"/>
                <a:gd name="T49" fmla="*/ 67 h 1290"/>
                <a:gd name="T50" fmla="*/ 0 w 1068"/>
                <a:gd name="T51" fmla="*/ 68 h 1290"/>
                <a:gd name="T52" fmla="*/ 2 w 1068"/>
                <a:gd name="T53" fmla="*/ 59 h 1290"/>
                <a:gd name="T54" fmla="*/ 12 w 1068"/>
                <a:gd name="T55" fmla="*/ 55 h 1290"/>
                <a:gd name="T56" fmla="*/ 12 w 1068"/>
                <a:gd name="T57" fmla="*/ 51 h 1290"/>
                <a:gd name="T58" fmla="*/ 10 w 1068"/>
                <a:gd name="T59" fmla="*/ 47 h 1290"/>
                <a:gd name="T60" fmla="*/ 9 w 1068"/>
                <a:gd name="T61" fmla="*/ 42 h 1290"/>
                <a:gd name="T62" fmla="*/ 8 w 1068"/>
                <a:gd name="T63" fmla="*/ 38 h 1290"/>
                <a:gd name="T64" fmla="*/ 8 w 1068"/>
                <a:gd name="T65" fmla="*/ 29 h 1290"/>
                <a:gd name="T66" fmla="*/ 10 w 1068"/>
                <a:gd name="T67" fmla="*/ 18 h 1290"/>
                <a:gd name="T68" fmla="*/ 25 w 1068"/>
                <a:gd name="T69" fmla="*/ 12 h 1290"/>
                <a:gd name="T70" fmla="*/ 27 w 1068"/>
                <a:gd name="T71" fmla="*/ 4 h 1290"/>
                <a:gd name="T72" fmla="*/ 35 w 1068"/>
                <a:gd name="T73" fmla="*/ 6 h 1290"/>
                <a:gd name="T74" fmla="*/ 39 w 1068"/>
                <a:gd name="T75" fmla="*/ 8 h 1290"/>
                <a:gd name="T76" fmla="*/ 41 w 1068"/>
                <a:gd name="T77" fmla="*/ 3 h 1290"/>
                <a:gd name="T78" fmla="*/ 45 w 1068"/>
                <a:gd name="T79" fmla="*/ 0 h 1290"/>
                <a:gd name="T80" fmla="*/ 51 w 1068"/>
                <a:gd name="T81" fmla="*/ 0 h 1290"/>
                <a:gd name="T82" fmla="*/ 56 w 1068"/>
                <a:gd name="T83" fmla="*/ 4 h 1290"/>
                <a:gd name="T84" fmla="*/ 62 w 1068"/>
                <a:gd name="T85" fmla="*/ 12 h 1290"/>
                <a:gd name="T86" fmla="*/ 58 w 1068"/>
                <a:gd name="T87" fmla="*/ 17 h 1290"/>
                <a:gd name="T88" fmla="*/ 60 w 1068"/>
                <a:gd name="T89" fmla="*/ 18 h 1290"/>
                <a:gd name="T90" fmla="*/ 64 w 1068"/>
                <a:gd name="T91" fmla="*/ 16 h 1290"/>
                <a:gd name="T92" fmla="*/ 68 w 1068"/>
                <a:gd name="T93" fmla="*/ 18 h 1290"/>
                <a:gd name="T94" fmla="*/ 71 w 1068"/>
                <a:gd name="T95" fmla="*/ 27 h 1290"/>
                <a:gd name="T96" fmla="*/ 74 w 1068"/>
                <a:gd name="T97" fmla="*/ 30 h 1290"/>
                <a:gd name="T98" fmla="*/ 82 w 1068"/>
                <a:gd name="T99" fmla="*/ 30 h 1290"/>
                <a:gd name="T100" fmla="*/ 87 w 1068"/>
                <a:gd name="T101" fmla="*/ 35 h 1290"/>
                <a:gd name="T102" fmla="*/ 85 w 1068"/>
                <a:gd name="T103" fmla="*/ 42 h 1290"/>
                <a:gd name="T104" fmla="*/ 81 w 1068"/>
                <a:gd name="T105" fmla="*/ 46 h 1290"/>
                <a:gd name="T106" fmla="*/ 86 w 1068"/>
                <a:gd name="T107" fmla="*/ 50 h 1290"/>
                <a:gd name="T108" fmla="*/ 89 w 1068"/>
                <a:gd name="T109" fmla="*/ 58 h 1290"/>
                <a:gd name="T110" fmla="*/ 92 w 1068"/>
                <a:gd name="T111" fmla="*/ 61 h 1290"/>
                <a:gd name="T112" fmla="*/ 86 w 1068"/>
                <a:gd name="T113" fmla="*/ 66 h 1290"/>
                <a:gd name="T114" fmla="*/ 85 w 1068"/>
                <a:gd name="T115" fmla="*/ 70 h 129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68"/>
                <a:gd name="T175" fmla="*/ 0 h 1290"/>
                <a:gd name="T176" fmla="*/ 1068 w 1068"/>
                <a:gd name="T177" fmla="*/ 1290 h 129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68" h="1290">
                  <a:moveTo>
                    <a:pt x="978" y="804"/>
                  </a:moveTo>
                  <a:lnTo>
                    <a:pt x="972" y="810"/>
                  </a:lnTo>
                  <a:lnTo>
                    <a:pt x="966" y="810"/>
                  </a:lnTo>
                  <a:lnTo>
                    <a:pt x="966" y="816"/>
                  </a:lnTo>
                  <a:lnTo>
                    <a:pt x="936" y="828"/>
                  </a:lnTo>
                  <a:lnTo>
                    <a:pt x="924" y="822"/>
                  </a:lnTo>
                  <a:lnTo>
                    <a:pt x="912" y="822"/>
                  </a:lnTo>
                  <a:lnTo>
                    <a:pt x="906" y="828"/>
                  </a:lnTo>
                  <a:lnTo>
                    <a:pt x="900" y="828"/>
                  </a:lnTo>
                  <a:lnTo>
                    <a:pt x="900" y="822"/>
                  </a:lnTo>
                  <a:lnTo>
                    <a:pt x="894" y="822"/>
                  </a:lnTo>
                  <a:lnTo>
                    <a:pt x="888" y="828"/>
                  </a:lnTo>
                  <a:lnTo>
                    <a:pt x="882" y="834"/>
                  </a:lnTo>
                  <a:lnTo>
                    <a:pt x="876" y="834"/>
                  </a:lnTo>
                  <a:lnTo>
                    <a:pt x="870" y="840"/>
                  </a:lnTo>
                  <a:lnTo>
                    <a:pt x="864" y="840"/>
                  </a:lnTo>
                  <a:lnTo>
                    <a:pt x="864" y="846"/>
                  </a:lnTo>
                  <a:lnTo>
                    <a:pt x="858" y="846"/>
                  </a:lnTo>
                  <a:lnTo>
                    <a:pt x="852" y="846"/>
                  </a:lnTo>
                  <a:lnTo>
                    <a:pt x="852" y="858"/>
                  </a:lnTo>
                  <a:lnTo>
                    <a:pt x="846" y="864"/>
                  </a:lnTo>
                  <a:lnTo>
                    <a:pt x="840" y="870"/>
                  </a:lnTo>
                  <a:lnTo>
                    <a:pt x="834" y="870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34" y="876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10" y="894"/>
                  </a:lnTo>
                  <a:lnTo>
                    <a:pt x="810" y="900"/>
                  </a:lnTo>
                  <a:lnTo>
                    <a:pt x="804" y="900"/>
                  </a:lnTo>
                  <a:lnTo>
                    <a:pt x="798" y="900"/>
                  </a:lnTo>
                  <a:lnTo>
                    <a:pt x="798" y="906"/>
                  </a:lnTo>
                  <a:lnTo>
                    <a:pt x="792" y="906"/>
                  </a:lnTo>
                  <a:lnTo>
                    <a:pt x="792" y="912"/>
                  </a:lnTo>
                  <a:lnTo>
                    <a:pt x="792" y="924"/>
                  </a:lnTo>
                  <a:lnTo>
                    <a:pt x="786" y="930"/>
                  </a:lnTo>
                  <a:lnTo>
                    <a:pt x="774" y="942"/>
                  </a:lnTo>
                  <a:lnTo>
                    <a:pt x="774" y="948"/>
                  </a:lnTo>
                  <a:lnTo>
                    <a:pt x="768" y="954"/>
                  </a:lnTo>
                  <a:lnTo>
                    <a:pt x="762" y="954"/>
                  </a:lnTo>
                  <a:lnTo>
                    <a:pt x="750" y="972"/>
                  </a:lnTo>
                  <a:lnTo>
                    <a:pt x="720" y="978"/>
                  </a:lnTo>
                  <a:lnTo>
                    <a:pt x="714" y="978"/>
                  </a:lnTo>
                  <a:lnTo>
                    <a:pt x="708" y="978"/>
                  </a:lnTo>
                  <a:lnTo>
                    <a:pt x="702" y="990"/>
                  </a:lnTo>
                  <a:lnTo>
                    <a:pt x="696" y="990"/>
                  </a:lnTo>
                  <a:lnTo>
                    <a:pt x="696" y="1008"/>
                  </a:lnTo>
                  <a:lnTo>
                    <a:pt x="690" y="1008"/>
                  </a:lnTo>
                  <a:lnTo>
                    <a:pt x="690" y="1014"/>
                  </a:lnTo>
                  <a:lnTo>
                    <a:pt x="684" y="1032"/>
                  </a:lnTo>
                  <a:lnTo>
                    <a:pt x="690" y="1050"/>
                  </a:lnTo>
                  <a:lnTo>
                    <a:pt x="690" y="1062"/>
                  </a:lnTo>
                  <a:lnTo>
                    <a:pt x="690" y="1068"/>
                  </a:lnTo>
                  <a:lnTo>
                    <a:pt x="690" y="1074"/>
                  </a:lnTo>
                  <a:lnTo>
                    <a:pt x="684" y="1074"/>
                  </a:lnTo>
                  <a:lnTo>
                    <a:pt x="684" y="1080"/>
                  </a:lnTo>
                  <a:lnTo>
                    <a:pt x="678" y="1086"/>
                  </a:lnTo>
                  <a:lnTo>
                    <a:pt x="678" y="1104"/>
                  </a:lnTo>
                  <a:lnTo>
                    <a:pt x="678" y="1110"/>
                  </a:lnTo>
                  <a:lnTo>
                    <a:pt x="678" y="1116"/>
                  </a:lnTo>
                  <a:lnTo>
                    <a:pt x="684" y="1116"/>
                  </a:lnTo>
                  <a:lnTo>
                    <a:pt x="678" y="1128"/>
                  </a:lnTo>
                  <a:lnTo>
                    <a:pt x="684" y="1128"/>
                  </a:lnTo>
                  <a:lnTo>
                    <a:pt x="690" y="1134"/>
                  </a:lnTo>
                  <a:lnTo>
                    <a:pt x="690" y="1140"/>
                  </a:lnTo>
                  <a:lnTo>
                    <a:pt x="696" y="1140"/>
                  </a:lnTo>
                  <a:lnTo>
                    <a:pt x="696" y="1146"/>
                  </a:lnTo>
                  <a:lnTo>
                    <a:pt x="696" y="1152"/>
                  </a:lnTo>
                  <a:lnTo>
                    <a:pt x="702" y="1152"/>
                  </a:lnTo>
                  <a:lnTo>
                    <a:pt x="708" y="1152"/>
                  </a:lnTo>
                  <a:lnTo>
                    <a:pt x="714" y="1158"/>
                  </a:lnTo>
                  <a:lnTo>
                    <a:pt x="714" y="1164"/>
                  </a:lnTo>
                  <a:lnTo>
                    <a:pt x="720" y="1170"/>
                  </a:lnTo>
                  <a:lnTo>
                    <a:pt x="720" y="1176"/>
                  </a:lnTo>
                  <a:lnTo>
                    <a:pt x="720" y="1182"/>
                  </a:lnTo>
                  <a:lnTo>
                    <a:pt x="726" y="1188"/>
                  </a:lnTo>
                  <a:lnTo>
                    <a:pt x="726" y="1194"/>
                  </a:lnTo>
                  <a:lnTo>
                    <a:pt x="732" y="1194"/>
                  </a:lnTo>
                  <a:lnTo>
                    <a:pt x="732" y="1200"/>
                  </a:lnTo>
                  <a:lnTo>
                    <a:pt x="738" y="1212"/>
                  </a:lnTo>
                  <a:lnTo>
                    <a:pt x="732" y="1218"/>
                  </a:lnTo>
                  <a:lnTo>
                    <a:pt x="732" y="1224"/>
                  </a:lnTo>
                  <a:lnTo>
                    <a:pt x="726" y="1230"/>
                  </a:lnTo>
                  <a:lnTo>
                    <a:pt x="720" y="1230"/>
                  </a:lnTo>
                  <a:lnTo>
                    <a:pt x="720" y="1236"/>
                  </a:lnTo>
                  <a:lnTo>
                    <a:pt x="720" y="1242"/>
                  </a:lnTo>
                  <a:lnTo>
                    <a:pt x="720" y="1248"/>
                  </a:lnTo>
                  <a:lnTo>
                    <a:pt x="714" y="1248"/>
                  </a:lnTo>
                  <a:lnTo>
                    <a:pt x="714" y="1254"/>
                  </a:lnTo>
                  <a:lnTo>
                    <a:pt x="708" y="1260"/>
                  </a:lnTo>
                  <a:lnTo>
                    <a:pt x="702" y="1272"/>
                  </a:lnTo>
                  <a:lnTo>
                    <a:pt x="696" y="1272"/>
                  </a:lnTo>
                  <a:lnTo>
                    <a:pt x="696" y="1278"/>
                  </a:lnTo>
                  <a:lnTo>
                    <a:pt x="690" y="1284"/>
                  </a:lnTo>
                  <a:lnTo>
                    <a:pt x="690" y="1290"/>
                  </a:lnTo>
                  <a:lnTo>
                    <a:pt x="684" y="1290"/>
                  </a:lnTo>
                  <a:lnTo>
                    <a:pt x="660" y="1284"/>
                  </a:lnTo>
                  <a:lnTo>
                    <a:pt x="660" y="1278"/>
                  </a:lnTo>
                  <a:lnTo>
                    <a:pt x="654" y="1272"/>
                  </a:lnTo>
                  <a:lnTo>
                    <a:pt x="648" y="1272"/>
                  </a:lnTo>
                  <a:lnTo>
                    <a:pt x="642" y="1272"/>
                  </a:lnTo>
                  <a:lnTo>
                    <a:pt x="642" y="1266"/>
                  </a:lnTo>
                  <a:lnTo>
                    <a:pt x="636" y="1266"/>
                  </a:lnTo>
                  <a:lnTo>
                    <a:pt x="630" y="1266"/>
                  </a:lnTo>
                  <a:lnTo>
                    <a:pt x="624" y="1266"/>
                  </a:lnTo>
                  <a:lnTo>
                    <a:pt x="624" y="1260"/>
                  </a:lnTo>
                  <a:lnTo>
                    <a:pt x="618" y="1260"/>
                  </a:lnTo>
                  <a:lnTo>
                    <a:pt x="612" y="1260"/>
                  </a:lnTo>
                  <a:lnTo>
                    <a:pt x="606" y="1260"/>
                  </a:lnTo>
                  <a:lnTo>
                    <a:pt x="600" y="1260"/>
                  </a:lnTo>
                  <a:lnTo>
                    <a:pt x="600" y="1254"/>
                  </a:lnTo>
                  <a:lnTo>
                    <a:pt x="594" y="1254"/>
                  </a:lnTo>
                  <a:lnTo>
                    <a:pt x="588" y="1248"/>
                  </a:lnTo>
                  <a:lnTo>
                    <a:pt x="588" y="1254"/>
                  </a:lnTo>
                  <a:lnTo>
                    <a:pt x="582" y="1254"/>
                  </a:lnTo>
                  <a:lnTo>
                    <a:pt x="582" y="1248"/>
                  </a:lnTo>
                  <a:lnTo>
                    <a:pt x="576" y="1248"/>
                  </a:lnTo>
                  <a:lnTo>
                    <a:pt x="576" y="1254"/>
                  </a:lnTo>
                  <a:lnTo>
                    <a:pt x="570" y="1248"/>
                  </a:lnTo>
                  <a:lnTo>
                    <a:pt x="564" y="1248"/>
                  </a:lnTo>
                  <a:lnTo>
                    <a:pt x="564" y="1254"/>
                  </a:lnTo>
                  <a:lnTo>
                    <a:pt x="558" y="1254"/>
                  </a:lnTo>
                  <a:lnTo>
                    <a:pt x="552" y="1254"/>
                  </a:lnTo>
                  <a:lnTo>
                    <a:pt x="552" y="1260"/>
                  </a:lnTo>
                  <a:lnTo>
                    <a:pt x="546" y="1260"/>
                  </a:lnTo>
                  <a:lnTo>
                    <a:pt x="540" y="1260"/>
                  </a:lnTo>
                  <a:lnTo>
                    <a:pt x="540" y="1254"/>
                  </a:lnTo>
                  <a:lnTo>
                    <a:pt x="534" y="1254"/>
                  </a:lnTo>
                  <a:lnTo>
                    <a:pt x="528" y="1224"/>
                  </a:lnTo>
                  <a:lnTo>
                    <a:pt x="534" y="1212"/>
                  </a:lnTo>
                  <a:lnTo>
                    <a:pt x="546" y="1206"/>
                  </a:lnTo>
                  <a:lnTo>
                    <a:pt x="582" y="1206"/>
                  </a:lnTo>
                  <a:lnTo>
                    <a:pt x="588" y="1188"/>
                  </a:lnTo>
                  <a:lnTo>
                    <a:pt x="582" y="1188"/>
                  </a:lnTo>
                  <a:lnTo>
                    <a:pt x="582" y="1182"/>
                  </a:lnTo>
                  <a:lnTo>
                    <a:pt x="576" y="1176"/>
                  </a:lnTo>
                  <a:lnTo>
                    <a:pt x="558" y="1128"/>
                  </a:lnTo>
                  <a:lnTo>
                    <a:pt x="558" y="1122"/>
                  </a:lnTo>
                  <a:lnTo>
                    <a:pt x="576" y="1098"/>
                  </a:lnTo>
                  <a:lnTo>
                    <a:pt x="576" y="1092"/>
                  </a:lnTo>
                  <a:lnTo>
                    <a:pt x="582" y="1092"/>
                  </a:lnTo>
                  <a:lnTo>
                    <a:pt x="582" y="1086"/>
                  </a:lnTo>
                  <a:lnTo>
                    <a:pt x="582" y="1080"/>
                  </a:lnTo>
                  <a:lnTo>
                    <a:pt x="582" y="1074"/>
                  </a:lnTo>
                  <a:lnTo>
                    <a:pt x="588" y="1074"/>
                  </a:lnTo>
                  <a:lnTo>
                    <a:pt x="588" y="1062"/>
                  </a:lnTo>
                  <a:lnTo>
                    <a:pt x="588" y="1056"/>
                  </a:lnTo>
                  <a:lnTo>
                    <a:pt x="588" y="1044"/>
                  </a:lnTo>
                  <a:lnTo>
                    <a:pt x="588" y="1038"/>
                  </a:lnTo>
                  <a:lnTo>
                    <a:pt x="588" y="1032"/>
                  </a:lnTo>
                  <a:lnTo>
                    <a:pt x="582" y="1026"/>
                  </a:lnTo>
                  <a:lnTo>
                    <a:pt x="582" y="1020"/>
                  </a:lnTo>
                  <a:lnTo>
                    <a:pt x="582" y="1008"/>
                  </a:lnTo>
                  <a:lnTo>
                    <a:pt x="576" y="990"/>
                  </a:lnTo>
                  <a:lnTo>
                    <a:pt x="570" y="972"/>
                  </a:lnTo>
                  <a:lnTo>
                    <a:pt x="552" y="972"/>
                  </a:lnTo>
                  <a:lnTo>
                    <a:pt x="540" y="960"/>
                  </a:lnTo>
                  <a:lnTo>
                    <a:pt x="534" y="954"/>
                  </a:lnTo>
                  <a:lnTo>
                    <a:pt x="534" y="948"/>
                  </a:lnTo>
                  <a:lnTo>
                    <a:pt x="516" y="948"/>
                  </a:lnTo>
                  <a:lnTo>
                    <a:pt x="522" y="936"/>
                  </a:lnTo>
                  <a:lnTo>
                    <a:pt x="522" y="930"/>
                  </a:lnTo>
                  <a:lnTo>
                    <a:pt x="504" y="918"/>
                  </a:lnTo>
                  <a:lnTo>
                    <a:pt x="492" y="906"/>
                  </a:lnTo>
                  <a:lnTo>
                    <a:pt x="486" y="894"/>
                  </a:lnTo>
                  <a:lnTo>
                    <a:pt x="468" y="876"/>
                  </a:lnTo>
                  <a:lnTo>
                    <a:pt x="450" y="876"/>
                  </a:lnTo>
                  <a:lnTo>
                    <a:pt x="414" y="882"/>
                  </a:lnTo>
                  <a:lnTo>
                    <a:pt x="402" y="870"/>
                  </a:lnTo>
                  <a:lnTo>
                    <a:pt x="390" y="864"/>
                  </a:lnTo>
                  <a:lnTo>
                    <a:pt x="384" y="852"/>
                  </a:lnTo>
                  <a:lnTo>
                    <a:pt x="378" y="840"/>
                  </a:lnTo>
                  <a:lnTo>
                    <a:pt x="378" y="834"/>
                  </a:lnTo>
                  <a:lnTo>
                    <a:pt x="360" y="822"/>
                  </a:lnTo>
                  <a:lnTo>
                    <a:pt x="342" y="828"/>
                  </a:lnTo>
                  <a:lnTo>
                    <a:pt x="324" y="816"/>
                  </a:lnTo>
                  <a:lnTo>
                    <a:pt x="318" y="816"/>
                  </a:lnTo>
                  <a:lnTo>
                    <a:pt x="306" y="810"/>
                  </a:lnTo>
                  <a:lnTo>
                    <a:pt x="306" y="804"/>
                  </a:lnTo>
                  <a:lnTo>
                    <a:pt x="300" y="804"/>
                  </a:lnTo>
                  <a:lnTo>
                    <a:pt x="300" y="780"/>
                  </a:lnTo>
                  <a:lnTo>
                    <a:pt x="300" y="774"/>
                  </a:lnTo>
                  <a:lnTo>
                    <a:pt x="306" y="774"/>
                  </a:lnTo>
                  <a:lnTo>
                    <a:pt x="312" y="756"/>
                  </a:lnTo>
                  <a:lnTo>
                    <a:pt x="312" y="732"/>
                  </a:lnTo>
                  <a:lnTo>
                    <a:pt x="300" y="720"/>
                  </a:lnTo>
                  <a:lnTo>
                    <a:pt x="288" y="702"/>
                  </a:lnTo>
                  <a:lnTo>
                    <a:pt x="276" y="702"/>
                  </a:lnTo>
                  <a:lnTo>
                    <a:pt x="258" y="714"/>
                  </a:lnTo>
                  <a:lnTo>
                    <a:pt x="246" y="726"/>
                  </a:lnTo>
                  <a:lnTo>
                    <a:pt x="222" y="726"/>
                  </a:lnTo>
                  <a:lnTo>
                    <a:pt x="192" y="726"/>
                  </a:lnTo>
                  <a:lnTo>
                    <a:pt x="174" y="738"/>
                  </a:lnTo>
                  <a:lnTo>
                    <a:pt x="162" y="750"/>
                  </a:lnTo>
                  <a:lnTo>
                    <a:pt x="144" y="762"/>
                  </a:lnTo>
                  <a:lnTo>
                    <a:pt x="138" y="768"/>
                  </a:lnTo>
                  <a:lnTo>
                    <a:pt x="126" y="774"/>
                  </a:lnTo>
                  <a:lnTo>
                    <a:pt x="114" y="780"/>
                  </a:lnTo>
                  <a:lnTo>
                    <a:pt x="108" y="786"/>
                  </a:lnTo>
                  <a:lnTo>
                    <a:pt x="102" y="786"/>
                  </a:lnTo>
                  <a:lnTo>
                    <a:pt x="54" y="786"/>
                  </a:lnTo>
                  <a:lnTo>
                    <a:pt x="48" y="792"/>
                  </a:lnTo>
                  <a:lnTo>
                    <a:pt x="36" y="798"/>
                  </a:lnTo>
                  <a:lnTo>
                    <a:pt x="18" y="792"/>
                  </a:lnTo>
                  <a:lnTo>
                    <a:pt x="6" y="780"/>
                  </a:lnTo>
                  <a:lnTo>
                    <a:pt x="6" y="768"/>
                  </a:lnTo>
                  <a:lnTo>
                    <a:pt x="0" y="756"/>
                  </a:lnTo>
                  <a:lnTo>
                    <a:pt x="0" y="738"/>
                  </a:lnTo>
                  <a:lnTo>
                    <a:pt x="6" y="702"/>
                  </a:lnTo>
                  <a:lnTo>
                    <a:pt x="24" y="702"/>
                  </a:lnTo>
                  <a:lnTo>
                    <a:pt x="24" y="696"/>
                  </a:lnTo>
                  <a:lnTo>
                    <a:pt x="24" y="690"/>
                  </a:lnTo>
                  <a:lnTo>
                    <a:pt x="24" y="678"/>
                  </a:lnTo>
                  <a:lnTo>
                    <a:pt x="24" y="672"/>
                  </a:lnTo>
                  <a:lnTo>
                    <a:pt x="30" y="672"/>
                  </a:lnTo>
                  <a:lnTo>
                    <a:pt x="30" y="666"/>
                  </a:lnTo>
                  <a:lnTo>
                    <a:pt x="36" y="660"/>
                  </a:lnTo>
                  <a:lnTo>
                    <a:pt x="84" y="648"/>
                  </a:lnTo>
                  <a:lnTo>
                    <a:pt x="126" y="642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32" y="618"/>
                  </a:lnTo>
                  <a:lnTo>
                    <a:pt x="138" y="612"/>
                  </a:lnTo>
                  <a:lnTo>
                    <a:pt x="138" y="606"/>
                  </a:lnTo>
                  <a:lnTo>
                    <a:pt x="138" y="600"/>
                  </a:lnTo>
                  <a:lnTo>
                    <a:pt x="132" y="600"/>
                  </a:lnTo>
                  <a:lnTo>
                    <a:pt x="132" y="594"/>
                  </a:lnTo>
                  <a:lnTo>
                    <a:pt x="132" y="588"/>
                  </a:lnTo>
                  <a:lnTo>
                    <a:pt x="132" y="582"/>
                  </a:lnTo>
                  <a:lnTo>
                    <a:pt x="132" y="576"/>
                  </a:lnTo>
                  <a:lnTo>
                    <a:pt x="126" y="570"/>
                  </a:lnTo>
                  <a:lnTo>
                    <a:pt x="120" y="564"/>
                  </a:lnTo>
                  <a:lnTo>
                    <a:pt x="120" y="558"/>
                  </a:lnTo>
                  <a:lnTo>
                    <a:pt x="120" y="552"/>
                  </a:lnTo>
                  <a:lnTo>
                    <a:pt x="114" y="552"/>
                  </a:lnTo>
                  <a:lnTo>
                    <a:pt x="114" y="546"/>
                  </a:lnTo>
                  <a:lnTo>
                    <a:pt x="114" y="540"/>
                  </a:lnTo>
                  <a:lnTo>
                    <a:pt x="108" y="534"/>
                  </a:lnTo>
                  <a:lnTo>
                    <a:pt x="108" y="528"/>
                  </a:lnTo>
                  <a:lnTo>
                    <a:pt x="114" y="522"/>
                  </a:lnTo>
                  <a:lnTo>
                    <a:pt x="108" y="516"/>
                  </a:lnTo>
                  <a:lnTo>
                    <a:pt x="108" y="498"/>
                  </a:lnTo>
                  <a:lnTo>
                    <a:pt x="108" y="492"/>
                  </a:lnTo>
                  <a:lnTo>
                    <a:pt x="108" y="486"/>
                  </a:lnTo>
                  <a:lnTo>
                    <a:pt x="108" y="480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08" y="462"/>
                  </a:lnTo>
                  <a:lnTo>
                    <a:pt x="102" y="456"/>
                  </a:lnTo>
                  <a:lnTo>
                    <a:pt x="102" y="444"/>
                  </a:lnTo>
                  <a:lnTo>
                    <a:pt x="96" y="444"/>
                  </a:lnTo>
                  <a:lnTo>
                    <a:pt x="90" y="432"/>
                  </a:lnTo>
                  <a:lnTo>
                    <a:pt x="96" y="432"/>
                  </a:lnTo>
                  <a:lnTo>
                    <a:pt x="96" y="408"/>
                  </a:lnTo>
                  <a:lnTo>
                    <a:pt x="96" y="396"/>
                  </a:lnTo>
                  <a:lnTo>
                    <a:pt x="96" y="360"/>
                  </a:lnTo>
                  <a:lnTo>
                    <a:pt x="96" y="354"/>
                  </a:lnTo>
                  <a:lnTo>
                    <a:pt x="102" y="354"/>
                  </a:lnTo>
                  <a:lnTo>
                    <a:pt x="102" y="348"/>
                  </a:lnTo>
                  <a:lnTo>
                    <a:pt x="96" y="330"/>
                  </a:lnTo>
                  <a:lnTo>
                    <a:pt x="90" y="306"/>
                  </a:lnTo>
                  <a:lnTo>
                    <a:pt x="84" y="288"/>
                  </a:lnTo>
                  <a:lnTo>
                    <a:pt x="84" y="264"/>
                  </a:lnTo>
                  <a:lnTo>
                    <a:pt x="90" y="240"/>
                  </a:lnTo>
                  <a:lnTo>
                    <a:pt x="96" y="222"/>
                  </a:lnTo>
                  <a:lnTo>
                    <a:pt x="102" y="222"/>
                  </a:lnTo>
                  <a:lnTo>
                    <a:pt x="108" y="210"/>
                  </a:lnTo>
                  <a:lnTo>
                    <a:pt x="114" y="210"/>
                  </a:lnTo>
                  <a:lnTo>
                    <a:pt x="126" y="198"/>
                  </a:lnTo>
                  <a:lnTo>
                    <a:pt x="156" y="192"/>
                  </a:lnTo>
                  <a:lnTo>
                    <a:pt x="174" y="186"/>
                  </a:lnTo>
                  <a:lnTo>
                    <a:pt x="204" y="174"/>
                  </a:lnTo>
                  <a:lnTo>
                    <a:pt x="222" y="168"/>
                  </a:lnTo>
                  <a:lnTo>
                    <a:pt x="234" y="162"/>
                  </a:lnTo>
                  <a:lnTo>
                    <a:pt x="246" y="156"/>
                  </a:lnTo>
                  <a:lnTo>
                    <a:pt x="288" y="144"/>
                  </a:lnTo>
                  <a:lnTo>
                    <a:pt x="288" y="132"/>
                  </a:lnTo>
                  <a:lnTo>
                    <a:pt x="294" y="120"/>
                  </a:lnTo>
                  <a:lnTo>
                    <a:pt x="300" y="108"/>
                  </a:lnTo>
                  <a:lnTo>
                    <a:pt x="306" y="90"/>
                  </a:lnTo>
                  <a:lnTo>
                    <a:pt x="312" y="78"/>
                  </a:lnTo>
                  <a:lnTo>
                    <a:pt x="324" y="78"/>
                  </a:lnTo>
                  <a:lnTo>
                    <a:pt x="324" y="54"/>
                  </a:lnTo>
                  <a:lnTo>
                    <a:pt x="318" y="48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60" y="6"/>
                  </a:lnTo>
                  <a:lnTo>
                    <a:pt x="384" y="0"/>
                  </a:lnTo>
                  <a:lnTo>
                    <a:pt x="390" y="6"/>
                  </a:lnTo>
                  <a:lnTo>
                    <a:pt x="390" y="18"/>
                  </a:lnTo>
                  <a:lnTo>
                    <a:pt x="390" y="54"/>
                  </a:lnTo>
                  <a:lnTo>
                    <a:pt x="396" y="66"/>
                  </a:lnTo>
                  <a:lnTo>
                    <a:pt x="414" y="84"/>
                  </a:lnTo>
                  <a:lnTo>
                    <a:pt x="426" y="90"/>
                  </a:lnTo>
                  <a:lnTo>
                    <a:pt x="432" y="96"/>
                  </a:lnTo>
                  <a:lnTo>
                    <a:pt x="426" y="102"/>
                  </a:lnTo>
                  <a:lnTo>
                    <a:pt x="438" y="102"/>
                  </a:lnTo>
                  <a:lnTo>
                    <a:pt x="444" y="108"/>
                  </a:lnTo>
                  <a:lnTo>
                    <a:pt x="444" y="102"/>
                  </a:lnTo>
                  <a:lnTo>
                    <a:pt x="450" y="90"/>
                  </a:lnTo>
                  <a:lnTo>
                    <a:pt x="450" y="84"/>
                  </a:lnTo>
                  <a:lnTo>
                    <a:pt x="450" y="78"/>
                  </a:lnTo>
                  <a:lnTo>
                    <a:pt x="456" y="72"/>
                  </a:lnTo>
                  <a:lnTo>
                    <a:pt x="462" y="66"/>
                  </a:lnTo>
                  <a:lnTo>
                    <a:pt x="462" y="60"/>
                  </a:lnTo>
                  <a:lnTo>
                    <a:pt x="462" y="54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74" y="24"/>
                  </a:lnTo>
                  <a:lnTo>
                    <a:pt x="480" y="18"/>
                  </a:lnTo>
                  <a:lnTo>
                    <a:pt x="486" y="12"/>
                  </a:lnTo>
                  <a:lnTo>
                    <a:pt x="492" y="12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2" y="6"/>
                  </a:lnTo>
                  <a:lnTo>
                    <a:pt x="534" y="6"/>
                  </a:lnTo>
                  <a:lnTo>
                    <a:pt x="540" y="6"/>
                  </a:lnTo>
                  <a:lnTo>
                    <a:pt x="546" y="6"/>
                  </a:lnTo>
                  <a:lnTo>
                    <a:pt x="564" y="0"/>
                  </a:lnTo>
                  <a:lnTo>
                    <a:pt x="570" y="0"/>
                  </a:lnTo>
                  <a:lnTo>
                    <a:pt x="576" y="6"/>
                  </a:lnTo>
                  <a:lnTo>
                    <a:pt x="582" y="6"/>
                  </a:lnTo>
                  <a:lnTo>
                    <a:pt x="594" y="6"/>
                  </a:lnTo>
                  <a:lnTo>
                    <a:pt x="600" y="6"/>
                  </a:lnTo>
                  <a:lnTo>
                    <a:pt x="606" y="6"/>
                  </a:lnTo>
                  <a:lnTo>
                    <a:pt x="624" y="0"/>
                  </a:lnTo>
                  <a:lnTo>
                    <a:pt x="636" y="0"/>
                  </a:lnTo>
                  <a:lnTo>
                    <a:pt x="636" y="6"/>
                  </a:lnTo>
                  <a:lnTo>
                    <a:pt x="654" y="18"/>
                  </a:lnTo>
                  <a:lnTo>
                    <a:pt x="654" y="30"/>
                  </a:lnTo>
                  <a:lnTo>
                    <a:pt x="642" y="42"/>
                  </a:lnTo>
                  <a:lnTo>
                    <a:pt x="630" y="66"/>
                  </a:lnTo>
                  <a:lnTo>
                    <a:pt x="636" y="84"/>
                  </a:lnTo>
                  <a:lnTo>
                    <a:pt x="636" y="96"/>
                  </a:lnTo>
                  <a:lnTo>
                    <a:pt x="648" y="102"/>
                  </a:lnTo>
                  <a:lnTo>
                    <a:pt x="672" y="114"/>
                  </a:lnTo>
                  <a:lnTo>
                    <a:pt x="702" y="120"/>
                  </a:lnTo>
                  <a:lnTo>
                    <a:pt x="714" y="126"/>
                  </a:lnTo>
                  <a:lnTo>
                    <a:pt x="720" y="144"/>
                  </a:lnTo>
                  <a:lnTo>
                    <a:pt x="720" y="156"/>
                  </a:lnTo>
                  <a:lnTo>
                    <a:pt x="708" y="156"/>
                  </a:lnTo>
                  <a:lnTo>
                    <a:pt x="702" y="162"/>
                  </a:lnTo>
                  <a:lnTo>
                    <a:pt x="702" y="174"/>
                  </a:lnTo>
                  <a:lnTo>
                    <a:pt x="696" y="174"/>
                  </a:lnTo>
                  <a:lnTo>
                    <a:pt x="690" y="180"/>
                  </a:lnTo>
                  <a:lnTo>
                    <a:pt x="678" y="186"/>
                  </a:lnTo>
                  <a:lnTo>
                    <a:pt x="672" y="192"/>
                  </a:lnTo>
                  <a:lnTo>
                    <a:pt x="654" y="210"/>
                  </a:lnTo>
                  <a:lnTo>
                    <a:pt x="654" y="216"/>
                  </a:lnTo>
                  <a:lnTo>
                    <a:pt x="648" y="246"/>
                  </a:lnTo>
                  <a:lnTo>
                    <a:pt x="660" y="246"/>
                  </a:lnTo>
                  <a:lnTo>
                    <a:pt x="666" y="234"/>
                  </a:lnTo>
                  <a:lnTo>
                    <a:pt x="678" y="240"/>
                  </a:lnTo>
                  <a:lnTo>
                    <a:pt x="684" y="228"/>
                  </a:lnTo>
                  <a:lnTo>
                    <a:pt x="690" y="210"/>
                  </a:lnTo>
                  <a:lnTo>
                    <a:pt x="696" y="204"/>
                  </a:lnTo>
                  <a:lnTo>
                    <a:pt x="702" y="204"/>
                  </a:lnTo>
                  <a:lnTo>
                    <a:pt x="708" y="192"/>
                  </a:lnTo>
                  <a:lnTo>
                    <a:pt x="714" y="192"/>
                  </a:lnTo>
                  <a:lnTo>
                    <a:pt x="714" y="186"/>
                  </a:lnTo>
                  <a:lnTo>
                    <a:pt x="726" y="186"/>
                  </a:lnTo>
                  <a:lnTo>
                    <a:pt x="732" y="186"/>
                  </a:lnTo>
                  <a:lnTo>
                    <a:pt x="738" y="186"/>
                  </a:lnTo>
                  <a:lnTo>
                    <a:pt x="744" y="216"/>
                  </a:lnTo>
                  <a:lnTo>
                    <a:pt x="750" y="210"/>
                  </a:lnTo>
                  <a:lnTo>
                    <a:pt x="750" y="204"/>
                  </a:lnTo>
                  <a:lnTo>
                    <a:pt x="756" y="192"/>
                  </a:lnTo>
                  <a:lnTo>
                    <a:pt x="762" y="192"/>
                  </a:lnTo>
                  <a:lnTo>
                    <a:pt x="768" y="192"/>
                  </a:lnTo>
                  <a:lnTo>
                    <a:pt x="780" y="186"/>
                  </a:lnTo>
                  <a:lnTo>
                    <a:pt x="786" y="204"/>
                  </a:lnTo>
                  <a:lnTo>
                    <a:pt x="774" y="210"/>
                  </a:lnTo>
                  <a:lnTo>
                    <a:pt x="774" y="234"/>
                  </a:lnTo>
                  <a:lnTo>
                    <a:pt x="780" y="246"/>
                  </a:lnTo>
                  <a:lnTo>
                    <a:pt x="804" y="264"/>
                  </a:lnTo>
                  <a:lnTo>
                    <a:pt x="816" y="276"/>
                  </a:lnTo>
                  <a:lnTo>
                    <a:pt x="822" y="288"/>
                  </a:lnTo>
                  <a:lnTo>
                    <a:pt x="822" y="312"/>
                  </a:lnTo>
                  <a:lnTo>
                    <a:pt x="816" y="312"/>
                  </a:lnTo>
                  <a:lnTo>
                    <a:pt x="810" y="318"/>
                  </a:lnTo>
                  <a:lnTo>
                    <a:pt x="810" y="348"/>
                  </a:lnTo>
                  <a:lnTo>
                    <a:pt x="816" y="348"/>
                  </a:lnTo>
                  <a:lnTo>
                    <a:pt x="816" y="342"/>
                  </a:lnTo>
                  <a:lnTo>
                    <a:pt x="834" y="342"/>
                  </a:lnTo>
                  <a:lnTo>
                    <a:pt x="834" y="348"/>
                  </a:lnTo>
                  <a:lnTo>
                    <a:pt x="846" y="348"/>
                  </a:lnTo>
                  <a:lnTo>
                    <a:pt x="846" y="342"/>
                  </a:lnTo>
                  <a:lnTo>
                    <a:pt x="882" y="342"/>
                  </a:lnTo>
                  <a:lnTo>
                    <a:pt x="894" y="366"/>
                  </a:lnTo>
                  <a:lnTo>
                    <a:pt x="900" y="372"/>
                  </a:lnTo>
                  <a:lnTo>
                    <a:pt x="906" y="384"/>
                  </a:lnTo>
                  <a:lnTo>
                    <a:pt x="924" y="384"/>
                  </a:lnTo>
                  <a:lnTo>
                    <a:pt x="930" y="372"/>
                  </a:lnTo>
                  <a:lnTo>
                    <a:pt x="936" y="372"/>
                  </a:lnTo>
                  <a:lnTo>
                    <a:pt x="942" y="348"/>
                  </a:lnTo>
                  <a:lnTo>
                    <a:pt x="954" y="348"/>
                  </a:lnTo>
                  <a:lnTo>
                    <a:pt x="954" y="342"/>
                  </a:lnTo>
                  <a:lnTo>
                    <a:pt x="984" y="342"/>
                  </a:lnTo>
                  <a:lnTo>
                    <a:pt x="978" y="390"/>
                  </a:lnTo>
                  <a:lnTo>
                    <a:pt x="984" y="390"/>
                  </a:lnTo>
                  <a:lnTo>
                    <a:pt x="990" y="396"/>
                  </a:lnTo>
                  <a:lnTo>
                    <a:pt x="996" y="396"/>
                  </a:lnTo>
                  <a:lnTo>
                    <a:pt x="1002" y="396"/>
                  </a:lnTo>
                  <a:lnTo>
                    <a:pt x="1002" y="408"/>
                  </a:lnTo>
                  <a:lnTo>
                    <a:pt x="990" y="414"/>
                  </a:lnTo>
                  <a:lnTo>
                    <a:pt x="984" y="426"/>
                  </a:lnTo>
                  <a:lnTo>
                    <a:pt x="990" y="444"/>
                  </a:lnTo>
                  <a:lnTo>
                    <a:pt x="996" y="450"/>
                  </a:lnTo>
                  <a:lnTo>
                    <a:pt x="990" y="462"/>
                  </a:lnTo>
                  <a:lnTo>
                    <a:pt x="990" y="468"/>
                  </a:lnTo>
                  <a:lnTo>
                    <a:pt x="984" y="480"/>
                  </a:lnTo>
                  <a:lnTo>
                    <a:pt x="978" y="486"/>
                  </a:lnTo>
                  <a:lnTo>
                    <a:pt x="972" y="486"/>
                  </a:lnTo>
                  <a:lnTo>
                    <a:pt x="966" y="492"/>
                  </a:lnTo>
                  <a:lnTo>
                    <a:pt x="966" y="498"/>
                  </a:lnTo>
                  <a:lnTo>
                    <a:pt x="954" y="510"/>
                  </a:lnTo>
                  <a:lnTo>
                    <a:pt x="948" y="510"/>
                  </a:lnTo>
                  <a:lnTo>
                    <a:pt x="942" y="516"/>
                  </a:lnTo>
                  <a:lnTo>
                    <a:pt x="936" y="528"/>
                  </a:lnTo>
                  <a:lnTo>
                    <a:pt x="936" y="534"/>
                  </a:lnTo>
                  <a:lnTo>
                    <a:pt x="936" y="546"/>
                  </a:lnTo>
                  <a:lnTo>
                    <a:pt x="936" y="558"/>
                  </a:lnTo>
                  <a:lnTo>
                    <a:pt x="948" y="558"/>
                  </a:lnTo>
                  <a:lnTo>
                    <a:pt x="954" y="558"/>
                  </a:lnTo>
                  <a:lnTo>
                    <a:pt x="996" y="558"/>
                  </a:lnTo>
                  <a:lnTo>
                    <a:pt x="1002" y="570"/>
                  </a:lnTo>
                  <a:lnTo>
                    <a:pt x="996" y="576"/>
                  </a:lnTo>
                  <a:lnTo>
                    <a:pt x="996" y="588"/>
                  </a:lnTo>
                  <a:lnTo>
                    <a:pt x="984" y="588"/>
                  </a:lnTo>
                  <a:lnTo>
                    <a:pt x="990" y="612"/>
                  </a:lnTo>
                  <a:lnTo>
                    <a:pt x="1014" y="606"/>
                  </a:lnTo>
                  <a:lnTo>
                    <a:pt x="1014" y="636"/>
                  </a:lnTo>
                  <a:lnTo>
                    <a:pt x="1014" y="648"/>
                  </a:lnTo>
                  <a:lnTo>
                    <a:pt x="1020" y="648"/>
                  </a:lnTo>
                  <a:lnTo>
                    <a:pt x="1026" y="660"/>
                  </a:lnTo>
                  <a:lnTo>
                    <a:pt x="1038" y="654"/>
                  </a:lnTo>
                  <a:lnTo>
                    <a:pt x="1050" y="654"/>
                  </a:lnTo>
                  <a:lnTo>
                    <a:pt x="1062" y="654"/>
                  </a:lnTo>
                  <a:lnTo>
                    <a:pt x="1068" y="660"/>
                  </a:lnTo>
                  <a:lnTo>
                    <a:pt x="1068" y="678"/>
                  </a:lnTo>
                  <a:lnTo>
                    <a:pt x="1068" y="684"/>
                  </a:lnTo>
                  <a:lnTo>
                    <a:pt x="1062" y="690"/>
                  </a:lnTo>
                  <a:lnTo>
                    <a:pt x="1056" y="696"/>
                  </a:lnTo>
                  <a:lnTo>
                    <a:pt x="1056" y="702"/>
                  </a:lnTo>
                  <a:lnTo>
                    <a:pt x="1038" y="714"/>
                  </a:lnTo>
                  <a:lnTo>
                    <a:pt x="1026" y="720"/>
                  </a:lnTo>
                  <a:lnTo>
                    <a:pt x="1008" y="726"/>
                  </a:lnTo>
                  <a:lnTo>
                    <a:pt x="1008" y="732"/>
                  </a:lnTo>
                  <a:lnTo>
                    <a:pt x="990" y="732"/>
                  </a:lnTo>
                  <a:lnTo>
                    <a:pt x="984" y="744"/>
                  </a:lnTo>
                  <a:lnTo>
                    <a:pt x="990" y="750"/>
                  </a:lnTo>
                  <a:lnTo>
                    <a:pt x="984" y="762"/>
                  </a:lnTo>
                  <a:lnTo>
                    <a:pt x="984" y="768"/>
                  </a:lnTo>
                  <a:lnTo>
                    <a:pt x="984" y="774"/>
                  </a:lnTo>
                  <a:lnTo>
                    <a:pt x="984" y="780"/>
                  </a:lnTo>
                  <a:lnTo>
                    <a:pt x="984" y="786"/>
                  </a:lnTo>
                  <a:lnTo>
                    <a:pt x="984" y="792"/>
                  </a:lnTo>
                  <a:lnTo>
                    <a:pt x="978" y="798"/>
                  </a:lnTo>
                  <a:lnTo>
                    <a:pt x="978" y="80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3" name="Freeform 38">
              <a:extLst>
                <a:ext uri="{FF2B5EF4-FFF2-40B4-BE49-F238E27FC236}">
                  <a16:creationId xmlns:a16="http://schemas.microsoft.com/office/drawing/2014/main" id="{819B99CE-D972-4530-8964-A992C1EC87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2825" y="1634436"/>
              <a:ext cx="959326" cy="959458"/>
            </a:xfrm>
            <a:custGeom>
              <a:avLst/>
              <a:gdLst>
                <a:gd name="T0" fmla="*/ 105 w 1806"/>
                <a:gd name="T1" fmla="*/ 155 h 1806"/>
                <a:gd name="T2" fmla="*/ 103 w 1806"/>
                <a:gd name="T3" fmla="*/ 155 h 1806"/>
                <a:gd name="T4" fmla="*/ 103 w 1806"/>
                <a:gd name="T5" fmla="*/ 150 h 1806"/>
                <a:gd name="T6" fmla="*/ 104 w 1806"/>
                <a:gd name="T7" fmla="*/ 141 h 1806"/>
                <a:gd name="T8" fmla="*/ 104 w 1806"/>
                <a:gd name="T9" fmla="*/ 136 h 1806"/>
                <a:gd name="T10" fmla="*/ 100 w 1806"/>
                <a:gd name="T11" fmla="*/ 131 h 1806"/>
                <a:gd name="T12" fmla="*/ 96 w 1806"/>
                <a:gd name="T13" fmla="*/ 127 h 1806"/>
                <a:gd name="T14" fmla="*/ 91 w 1806"/>
                <a:gd name="T15" fmla="*/ 121 h 1806"/>
                <a:gd name="T16" fmla="*/ 87 w 1806"/>
                <a:gd name="T17" fmla="*/ 120 h 1806"/>
                <a:gd name="T18" fmla="*/ 81 w 1806"/>
                <a:gd name="T19" fmla="*/ 117 h 1806"/>
                <a:gd name="T20" fmla="*/ 65 w 1806"/>
                <a:gd name="T21" fmla="*/ 113 h 1806"/>
                <a:gd name="T22" fmla="*/ 69 w 1806"/>
                <a:gd name="T23" fmla="*/ 105 h 1806"/>
                <a:gd name="T24" fmla="*/ 66 w 1806"/>
                <a:gd name="T25" fmla="*/ 89 h 1806"/>
                <a:gd name="T26" fmla="*/ 63 w 1806"/>
                <a:gd name="T27" fmla="*/ 84 h 1806"/>
                <a:gd name="T28" fmla="*/ 62 w 1806"/>
                <a:gd name="T29" fmla="*/ 74 h 1806"/>
                <a:gd name="T30" fmla="*/ 58 w 1806"/>
                <a:gd name="T31" fmla="*/ 52 h 1806"/>
                <a:gd name="T32" fmla="*/ 53 w 1806"/>
                <a:gd name="T33" fmla="*/ 49 h 1806"/>
                <a:gd name="T34" fmla="*/ 51 w 1806"/>
                <a:gd name="T35" fmla="*/ 36 h 1806"/>
                <a:gd name="T36" fmla="*/ 43 w 1806"/>
                <a:gd name="T37" fmla="*/ 32 h 1806"/>
                <a:gd name="T38" fmla="*/ 33 w 1806"/>
                <a:gd name="T39" fmla="*/ 30 h 1806"/>
                <a:gd name="T40" fmla="*/ 30 w 1806"/>
                <a:gd name="T41" fmla="*/ 21 h 1806"/>
                <a:gd name="T42" fmla="*/ 17 w 1806"/>
                <a:gd name="T43" fmla="*/ 25 h 1806"/>
                <a:gd name="T44" fmla="*/ 4 w 1806"/>
                <a:gd name="T45" fmla="*/ 33 h 1806"/>
                <a:gd name="T46" fmla="*/ 7 w 1806"/>
                <a:gd name="T47" fmla="*/ 26 h 1806"/>
                <a:gd name="T48" fmla="*/ 11 w 1806"/>
                <a:gd name="T49" fmla="*/ 20 h 1806"/>
                <a:gd name="T50" fmla="*/ 18 w 1806"/>
                <a:gd name="T51" fmla="*/ 12 h 1806"/>
                <a:gd name="T52" fmla="*/ 26 w 1806"/>
                <a:gd name="T53" fmla="*/ 8 h 1806"/>
                <a:gd name="T54" fmla="*/ 35 w 1806"/>
                <a:gd name="T55" fmla="*/ 6 h 1806"/>
                <a:gd name="T56" fmla="*/ 44 w 1806"/>
                <a:gd name="T57" fmla="*/ 5 h 1806"/>
                <a:gd name="T58" fmla="*/ 54 w 1806"/>
                <a:gd name="T59" fmla="*/ 2 h 1806"/>
                <a:gd name="T60" fmla="*/ 65 w 1806"/>
                <a:gd name="T61" fmla="*/ 0 h 1806"/>
                <a:gd name="T62" fmla="*/ 76 w 1806"/>
                <a:gd name="T63" fmla="*/ 0 h 1806"/>
                <a:gd name="T64" fmla="*/ 85 w 1806"/>
                <a:gd name="T65" fmla="*/ 0 h 1806"/>
                <a:gd name="T66" fmla="*/ 97 w 1806"/>
                <a:gd name="T67" fmla="*/ 0 h 1806"/>
                <a:gd name="T68" fmla="*/ 108 w 1806"/>
                <a:gd name="T69" fmla="*/ 3 h 1806"/>
                <a:gd name="T70" fmla="*/ 115 w 1806"/>
                <a:gd name="T71" fmla="*/ 5 h 1806"/>
                <a:gd name="T72" fmla="*/ 123 w 1806"/>
                <a:gd name="T73" fmla="*/ 7 h 1806"/>
                <a:gd name="T74" fmla="*/ 133 w 1806"/>
                <a:gd name="T75" fmla="*/ 14 h 1806"/>
                <a:gd name="T76" fmla="*/ 138 w 1806"/>
                <a:gd name="T77" fmla="*/ 16 h 1806"/>
                <a:gd name="T78" fmla="*/ 140 w 1806"/>
                <a:gd name="T79" fmla="*/ 14 h 1806"/>
                <a:gd name="T80" fmla="*/ 145 w 1806"/>
                <a:gd name="T81" fmla="*/ 16 h 1806"/>
                <a:gd name="T82" fmla="*/ 147 w 1806"/>
                <a:gd name="T83" fmla="*/ 16 h 1806"/>
                <a:gd name="T84" fmla="*/ 150 w 1806"/>
                <a:gd name="T85" fmla="*/ 17 h 1806"/>
                <a:gd name="T86" fmla="*/ 152 w 1806"/>
                <a:gd name="T87" fmla="*/ 18 h 1806"/>
                <a:gd name="T88" fmla="*/ 155 w 1806"/>
                <a:gd name="T89" fmla="*/ 37 h 1806"/>
                <a:gd name="T90" fmla="*/ 146 w 1806"/>
                <a:gd name="T91" fmla="*/ 66 h 1806"/>
                <a:gd name="T92" fmla="*/ 143 w 1806"/>
                <a:gd name="T93" fmla="*/ 88 h 1806"/>
                <a:gd name="T94" fmla="*/ 144 w 1806"/>
                <a:gd name="T95" fmla="*/ 98 h 1806"/>
                <a:gd name="T96" fmla="*/ 137 w 1806"/>
                <a:gd name="T97" fmla="*/ 118 h 1806"/>
                <a:gd name="T98" fmla="*/ 132 w 1806"/>
                <a:gd name="T99" fmla="*/ 129 h 1806"/>
                <a:gd name="T100" fmla="*/ 124 w 1806"/>
                <a:gd name="T101" fmla="*/ 135 h 1806"/>
                <a:gd name="T102" fmla="*/ 119 w 1806"/>
                <a:gd name="T103" fmla="*/ 136 h 1806"/>
                <a:gd name="T104" fmla="*/ 116 w 1806"/>
                <a:gd name="T105" fmla="*/ 137 h 1806"/>
                <a:gd name="T106" fmla="*/ 112 w 1806"/>
                <a:gd name="T107" fmla="*/ 139 h 1806"/>
                <a:gd name="T108" fmla="*/ 112 w 1806"/>
                <a:gd name="T109" fmla="*/ 141 h 1806"/>
                <a:gd name="T110" fmla="*/ 116 w 1806"/>
                <a:gd name="T111" fmla="*/ 146 h 1806"/>
                <a:gd name="T112" fmla="*/ 116 w 1806"/>
                <a:gd name="T113" fmla="*/ 151 h 1806"/>
                <a:gd name="T114" fmla="*/ 113 w 1806"/>
                <a:gd name="T115" fmla="*/ 153 h 18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6"/>
                <a:gd name="T175" fmla="*/ 0 h 1806"/>
                <a:gd name="T176" fmla="*/ 1806 w 1806"/>
                <a:gd name="T177" fmla="*/ 1806 h 18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6" h="1806">
                  <a:moveTo>
                    <a:pt x="1260" y="1776"/>
                  </a:moveTo>
                  <a:lnTo>
                    <a:pt x="1254" y="1776"/>
                  </a:lnTo>
                  <a:lnTo>
                    <a:pt x="1248" y="1776"/>
                  </a:lnTo>
                  <a:lnTo>
                    <a:pt x="1242" y="1782"/>
                  </a:lnTo>
                  <a:lnTo>
                    <a:pt x="1236" y="1782"/>
                  </a:lnTo>
                  <a:lnTo>
                    <a:pt x="1230" y="1788"/>
                  </a:lnTo>
                  <a:lnTo>
                    <a:pt x="1224" y="1782"/>
                  </a:lnTo>
                  <a:lnTo>
                    <a:pt x="1218" y="1782"/>
                  </a:lnTo>
                  <a:lnTo>
                    <a:pt x="1218" y="1788"/>
                  </a:lnTo>
                  <a:lnTo>
                    <a:pt x="1212" y="1788"/>
                  </a:lnTo>
                  <a:lnTo>
                    <a:pt x="1206" y="1788"/>
                  </a:lnTo>
                  <a:lnTo>
                    <a:pt x="1206" y="1794"/>
                  </a:lnTo>
                  <a:lnTo>
                    <a:pt x="1200" y="1806"/>
                  </a:lnTo>
                  <a:lnTo>
                    <a:pt x="1194" y="1800"/>
                  </a:lnTo>
                  <a:lnTo>
                    <a:pt x="1194" y="1794"/>
                  </a:lnTo>
                  <a:lnTo>
                    <a:pt x="1194" y="1788"/>
                  </a:lnTo>
                  <a:lnTo>
                    <a:pt x="1188" y="1788"/>
                  </a:lnTo>
                  <a:lnTo>
                    <a:pt x="1188" y="1782"/>
                  </a:lnTo>
                  <a:lnTo>
                    <a:pt x="1188" y="1776"/>
                  </a:lnTo>
                  <a:lnTo>
                    <a:pt x="1194" y="1770"/>
                  </a:lnTo>
                  <a:lnTo>
                    <a:pt x="1194" y="1764"/>
                  </a:lnTo>
                  <a:lnTo>
                    <a:pt x="1194" y="1758"/>
                  </a:lnTo>
                  <a:lnTo>
                    <a:pt x="1194" y="1752"/>
                  </a:lnTo>
                  <a:lnTo>
                    <a:pt x="1200" y="1746"/>
                  </a:lnTo>
                  <a:lnTo>
                    <a:pt x="1200" y="1740"/>
                  </a:lnTo>
                  <a:lnTo>
                    <a:pt x="1200" y="1734"/>
                  </a:lnTo>
                  <a:lnTo>
                    <a:pt x="1188" y="1722"/>
                  </a:lnTo>
                  <a:lnTo>
                    <a:pt x="1188" y="1716"/>
                  </a:lnTo>
                  <a:lnTo>
                    <a:pt x="1194" y="1704"/>
                  </a:lnTo>
                  <a:lnTo>
                    <a:pt x="1194" y="1692"/>
                  </a:lnTo>
                  <a:lnTo>
                    <a:pt x="1200" y="1680"/>
                  </a:lnTo>
                  <a:lnTo>
                    <a:pt x="1200" y="1662"/>
                  </a:lnTo>
                  <a:lnTo>
                    <a:pt x="1200" y="1650"/>
                  </a:lnTo>
                  <a:lnTo>
                    <a:pt x="1206" y="1644"/>
                  </a:lnTo>
                  <a:lnTo>
                    <a:pt x="1206" y="1638"/>
                  </a:lnTo>
                  <a:lnTo>
                    <a:pt x="1206" y="1626"/>
                  </a:lnTo>
                  <a:lnTo>
                    <a:pt x="1206" y="1620"/>
                  </a:lnTo>
                  <a:lnTo>
                    <a:pt x="1206" y="1614"/>
                  </a:lnTo>
                  <a:lnTo>
                    <a:pt x="1200" y="1608"/>
                  </a:lnTo>
                  <a:lnTo>
                    <a:pt x="1200" y="1602"/>
                  </a:lnTo>
                  <a:lnTo>
                    <a:pt x="1200" y="1596"/>
                  </a:lnTo>
                  <a:lnTo>
                    <a:pt x="1200" y="1590"/>
                  </a:lnTo>
                  <a:lnTo>
                    <a:pt x="1200" y="1572"/>
                  </a:lnTo>
                  <a:lnTo>
                    <a:pt x="1200" y="1566"/>
                  </a:lnTo>
                  <a:lnTo>
                    <a:pt x="1200" y="1560"/>
                  </a:lnTo>
                  <a:lnTo>
                    <a:pt x="1194" y="1554"/>
                  </a:lnTo>
                  <a:lnTo>
                    <a:pt x="1188" y="1548"/>
                  </a:lnTo>
                  <a:lnTo>
                    <a:pt x="1188" y="1542"/>
                  </a:lnTo>
                  <a:lnTo>
                    <a:pt x="1176" y="1536"/>
                  </a:lnTo>
                  <a:lnTo>
                    <a:pt x="1176" y="1530"/>
                  </a:lnTo>
                  <a:lnTo>
                    <a:pt x="1170" y="1524"/>
                  </a:lnTo>
                  <a:lnTo>
                    <a:pt x="1170" y="1518"/>
                  </a:lnTo>
                  <a:lnTo>
                    <a:pt x="1164" y="1512"/>
                  </a:lnTo>
                  <a:lnTo>
                    <a:pt x="1158" y="1506"/>
                  </a:lnTo>
                  <a:lnTo>
                    <a:pt x="1152" y="1500"/>
                  </a:lnTo>
                  <a:lnTo>
                    <a:pt x="1146" y="1494"/>
                  </a:lnTo>
                  <a:lnTo>
                    <a:pt x="1140" y="1488"/>
                  </a:lnTo>
                  <a:lnTo>
                    <a:pt x="1134" y="1482"/>
                  </a:lnTo>
                  <a:lnTo>
                    <a:pt x="1128" y="1476"/>
                  </a:lnTo>
                  <a:lnTo>
                    <a:pt x="1122" y="1470"/>
                  </a:lnTo>
                  <a:lnTo>
                    <a:pt x="1116" y="1464"/>
                  </a:lnTo>
                  <a:lnTo>
                    <a:pt x="1110" y="1464"/>
                  </a:lnTo>
                  <a:lnTo>
                    <a:pt x="1104" y="1458"/>
                  </a:lnTo>
                  <a:lnTo>
                    <a:pt x="1098" y="1464"/>
                  </a:lnTo>
                  <a:lnTo>
                    <a:pt x="1092" y="1464"/>
                  </a:lnTo>
                  <a:lnTo>
                    <a:pt x="1086" y="1446"/>
                  </a:lnTo>
                  <a:lnTo>
                    <a:pt x="1086" y="1440"/>
                  </a:lnTo>
                  <a:lnTo>
                    <a:pt x="1080" y="1416"/>
                  </a:lnTo>
                  <a:lnTo>
                    <a:pt x="1068" y="1404"/>
                  </a:lnTo>
                  <a:lnTo>
                    <a:pt x="1062" y="1398"/>
                  </a:lnTo>
                  <a:lnTo>
                    <a:pt x="1056" y="1398"/>
                  </a:lnTo>
                  <a:lnTo>
                    <a:pt x="1050" y="1398"/>
                  </a:lnTo>
                  <a:lnTo>
                    <a:pt x="1044" y="1398"/>
                  </a:lnTo>
                  <a:lnTo>
                    <a:pt x="1044" y="1392"/>
                  </a:lnTo>
                  <a:lnTo>
                    <a:pt x="1038" y="1392"/>
                  </a:lnTo>
                  <a:lnTo>
                    <a:pt x="1032" y="1392"/>
                  </a:lnTo>
                  <a:lnTo>
                    <a:pt x="1020" y="1386"/>
                  </a:lnTo>
                  <a:lnTo>
                    <a:pt x="1014" y="1386"/>
                  </a:lnTo>
                  <a:lnTo>
                    <a:pt x="1014" y="1380"/>
                  </a:lnTo>
                  <a:lnTo>
                    <a:pt x="1008" y="1380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62"/>
                  </a:lnTo>
                  <a:lnTo>
                    <a:pt x="984" y="1356"/>
                  </a:lnTo>
                  <a:lnTo>
                    <a:pt x="978" y="1356"/>
                  </a:lnTo>
                  <a:lnTo>
                    <a:pt x="972" y="1356"/>
                  </a:lnTo>
                  <a:lnTo>
                    <a:pt x="966" y="1356"/>
                  </a:lnTo>
                  <a:lnTo>
                    <a:pt x="966" y="1350"/>
                  </a:lnTo>
                  <a:lnTo>
                    <a:pt x="948" y="1350"/>
                  </a:lnTo>
                  <a:lnTo>
                    <a:pt x="936" y="1344"/>
                  </a:lnTo>
                  <a:lnTo>
                    <a:pt x="930" y="1338"/>
                  </a:lnTo>
                  <a:lnTo>
                    <a:pt x="918" y="1332"/>
                  </a:lnTo>
                  <a:lnTo>
                    <a:pt x="900" y="1326"/>
                  </a:lnTo>
                  <a:lnTo>
                    <a:pt x="864" y="1332"/>
                  </a:lnTo>
                  <a:lnTo>
                    <a:pt x="828" y="1332"/>
                  </a:lnTo>
                  <a:lnTo>
                    <a:pt x="792" y="1314"/>
                  </a:lnTo>
                  <a:lnTo>
                    <a:pt x="780" y="1314"/>
                  </a:lnTo>
                  <a:lnTo>
                    <a:pt x="780" y="1308"/>
                  </a:lnTo>
                  <a:lnTo>
                    <a:pt x="756" y="1296"/>
                  </a:lnTo>
                  <a:lnTo>
                    <a:pt x="756" y="1278"/>
                  </a:lnTo>
                  <a:lnTo>
                    <a:pt x="768" y="1278"/>
                  </a:lnTo>
                  <a:lnTo>
                    <a:pt x="774" y="1272"/>
                  </a:lnTo>
                  <a:lnTo>
                    <a:pt x="780" y="1266"/>
                  </a:lnTo>
                  <a:lnTo>
                    <a:pt x="786" y="1260"/>
                  </a:lnTo>
                  <a:lnTo>
                    <a:pt x="792" y="1254"/>
                  </a:lnTo>
                  <a:lnTo>
                    <a:pt x="798" y="1242"/>
                  </a:lnTo>
                  <a:lnTo>
                    <a:pt x="804" y="1242"/>
                  </a:lnTo>
                  <a:lnTo>
                    <a:pt x="804" y="1206"/>
                  </a:lnTo>
                  <a:lnTo>
                    <a:pt x="804" y="1182"/>
                  </a:lnTo>
                  <a:lnTo>
                    <a:pt x="804" y="1158"/>
                  </a:lnTo>
                  <a:lnTo>
                    <a:pt x="804" y="1134"/>
                  </a:lnTo>
                  <a:lnTo>
                    <a:pt x="798" y="1116"/>
                  </a:lnTo>
                  <a:lnTo>
                    <a:pt x="792" y="1092"/>
                  </a:lnTo>
                  <a:lnTo>
                    <a:pt x="786" y="1062"/>
                  </a:lnTo>
                  <a:lnTo>
                    <a:pt x="768" y="1032"/>
                  </a:lnTo>
                  <a:lnTo>
                    <a:pt x="762" y="1032"/>
                  </a:lnTo>
                  <a:lnTo>
                    <a:pt x="762" y="1020"/>
                  </a:lnTo>
                  <a:lnTo>
                    <a:pt x="762" y="1014"/>
                  </a:lnTo>
                  <a:lnTo>
                    <a:pt x="756" y="1008"/>
                  </a:lnTo>
                  <a:lnTo>
                    <a:pt x="750" y="1002"/>
                  </a:lnTo>
                  <a:lnTo>
                    <a:pt x="738" y="1002"/>
                  </a:lnTo>
                  <a:lnTo>
                    <a:pt x="738" y="990"/>
                  </a:lnTo>
                  <a:lnTo>
                    <a:pt x="726" y="990"/>
                  </a:lnTo>
                  <a:lnTo>
                    <a:pt x="726" y="978"/>
                  </a:lnTo>
                  <a:lnTo>
                    <a:pt x="732" y="972"/>
                  </a:lnTo>
                  <a:lnTo>
                    <a:pt x="732" y="966"/>
                  </a:lnTo>
                  <a:lnTo>
                    <a:pt x="726" y="966"/>
                  </a:lnTo>
                  <a:lnTo>
                    <a:pt x="732" y="948"/>
                  </a:lnTo>
                  <a:lnTo>
                    <a:pt x="726" y="942"/>
                  </a:lnTo>
                  <a:lnTo>
                    <a:pt x="726" y="930"/>
                  </a:lnTo>
                  <a:lnTo>
                    <a:pt x="720" y="924"/>
                  </a:lnTo>
                  <a:lnTo>
                    <a:pt x="714" y="912"/>
                  </a:lnTo>
                  <a:lnTo>
                    <a:pt x="714" y="882"/>
                  </a:lnTo>
                  <a:lnTo>
                    <a:pt x="714" y="870"/>
                  </a:lnTo>
                  <a:lnTo>
                    <a:pt x="714" y="858"/>
                  </a:lnTo>
                  <a:lnTo>
                    <a:pt x="714" y="846"/>
                  </a:lnTo>
                  <a:lnTo>
                    <a:pt x="708" y="822"/>
                  </a:lnTo>
                  <a:lnTo>
                    <a:pt x="702" y="798"/>
                  </a:lnTo>
                  <a:lnTo>
                    <a:pt x="696" y="792"/>
                  </a:lnTo>
                  <a:lnTo>
                    <a:pt x="684" y="726"/>
                  </a:lnTo>
                  <a:lnTo>
                    <a:pt x="678" y="666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66" y="600"/>
                  </a:lnTo>
                  <a:lnTo>
                    <a:pt x="660" y="594"/>
                  </a:lnTo>
                  <a:lnTo>
                    <a:pt x="654" y="594"/>
                  </a:lnTo>
                  <a:lnTo>
                    <a:pt x="636" y="582"/>
                  </a:lnTo>
                  <a:lnTo>
                    <a:pt x="630" y="576"/>
                  </a:lnTo>
                  <a:lnTo>
                    <a:pt x="624" y="576"/>
                  </a:lnTo>
                  <a:lnTo>
                    <a:pt x="618" y="570"/>
                  </a:lnTo>
                  <a:lnTo>
                    <a:pt x="612" y="564"/>
                  </a:lnTo>
                  <a:lnTo>
                    <a:pt x="606" y="558"/>
                  </a:lnTo>
                  <a:lnTo>
                    <a:pt x="606" y="564"/>
                  </a:lnTo>
                  <a:lnTo>
                    <a:pt x="600" y="564"/>
                  </a:lnTo>
                  <a:lnTo>
                    <a:pt x="594" y="558"/>
                  </a:lnTo>
                  <a:lnTo>
                    <a:pt x="594" y="540"/>
                  </a:lnTo>
                  <a:lnTo>
                    <a:pt x="594" y="528"/>
                  </a:lnTo>
                  <a:lnTo>
                    <a:pt x="594" y="516"/>
                  </a:lnTo>
                  <a:lnTo>
                    <a:pt x="594" y="510"/>
                  </a:lnTo>
                  <a:lnTo>
                    <a:pt x="594" y="492"/>
                  </a:lnTo>
                  <a:lnTo>
                    <a:pt x="594" y="456"/>
                  </a:lnTo>
                  <a:lnTo>
                    <a:pt x="588" y="414"/>
                  </a:lnTo>
                  <a:lnTo>
                    <a:pt x="588" y="408"/>
                  </a:lnTo>
                  <a:lnTo>
                    <a:pt x="582" y="396"/>
                  </a:lnTo>
                  <a:lnTo>
                    <a:pt x="582" y="384"/>
                  </a:lnTo>
                  <a:lnTo>
                    <a:pt x="582" y="372"/>
                  </a:lnTo>
                  <a:lnTo>
                    <a:pt x="564" y="372"/>
                  </a:lnTo>
                  <a:lnTo>
                    <a:pt x="552" y="366"/>
                  </a:lnTo>
                  <a:lnTo>
                    <a:pt x="552" y="372"/>
                  </a:lnTo>
                  <a:lnTo>
                    <a:pt x="498" y="372"/>
                  </a:lnTo>
                  <a:lnTo>
                    <a:pt x="498" y="366"/>
                  </a:lnTo>
                  <a:lnTo>
                    <a:pt x="474" y="360"/>
                  </a:lnTo>
                  <a:lnTo>
                    <a:pt x="456" y="354"/>
                  </a:lnTo>
                  <a:lnTo>
                    <a:pt x="438" y="348"/>
                  </a:lnTo>
                  <a:lnTo>
                    <a:pt x="426" y="354"/>
                  </a:lnTo>
                  <a:lnTo>
                    <a:pt x="408" y="360"/>
                  </a:lnTo>
                  <a:lnTo>
                    <a:pt x="378" y="360"/>
                  </a:lnTo>
                  <a:lnTo>
                    <a:pt x="378" y="354"/>
                  </a:lnTo>
                  <a:lnTo>
                    <a:pt x="378" y="348"/>
                  </a:lnTo>
                  <a:lnTo>
                    <a:pt x="378" y="342"/>
                  </a:lnTo>
                  <a:lnTo>
                    <a:pt x="390" y="330"/>
                  </a:lnTo>
                  <a:lnTo>
                    <a:pt x="396" y="312"/>
                  </a:lnTo>
                  <a:lnTo>
                    <a:pt x="396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8"/>
                  </a:lnTo>
                  <a:lnTo>
                    <a:pt x="372" y="234"/>
                  </a:lnTo>
                  <a:lnTo>
                    <a:pt x="354" y="234"/>
                  </a:lnTo>
                  <a:lnTo>
                    <a:pt x="342" y="246"/>
                  </a:lnTo>
                  <a:lnTo>
                    <a:pt x="330" y="252"/>
                  </a:lnTo>
                  <a:lnTo>
                    <a:pt x="318" y="252"/>
                  </a:lnTo>
                  <a:lnTo>
                    <a:pt x="276" y="258"/>
                  </a:lnTo>
                  <a:lnTo>
                    <a:pt x="276" y="264"/>
                  </a:lnTo>
                  <a:lnTo>
                    <a:pt x="252" y="270"/>
                  </a:lnTo>
                  <a:lnTo>
                    <a:pt x="240" y="270"/>
                  </a:lnTo>
                  <a:lnTo>
                    <a:pt x="228" y="276"/>
                  </a:lnTo>
                  <a:lnTo>
                    <a:pt x="210" y="282"/>
                  </a:lnTo>
                  <a:lnTo>
                    <a:pt x="198" y="288"/>
                  </a:lnTo>
                  <a:lnTo>
                    <a:pt x="186" y="294"/>
                  </a:lnTo>
                  <a:lnTo>
                    <a:pt x="174" y="330"/>
                  </a:lnTo>
                  <a:lnTo>
                    <a:pt x="162" y="342"/>
                  </a:lnTo>
                  <a:lnTo>
                    <a:pt x="156" y="354"/>
                  </a:lnTo>
                  <a:lnTo>
                    <a:pt x="150" y="360"/>
                  </a:lnTo>
                  <a:lnTo>
                    <a:pt x="150" y="366"/>
                  </a:lnTo>
                  <a:lnTo>
                    <a:pt x="108" y="372"/>
                  </a:lnTo>
                  <a:lnTo>
                    <a:pt x="60" y="378"/>
                  </a:lnTo>
                  <a:lnTo>
                    <a:pt x="42" y="378"/>
                  </a:lnTo>
                  <a:lnTo>
                    <a:pt x="12" y="378"/>
                  </a:lnTo>
                  <a:lnTo>
                    <a:pt x="6" y="378"/>
                  </a:lnTo>
                  <a:lnTo>
                    <a:pt x="0" y="366"/>
                  </a:lnTo>
                  <a:lnTo>
                    <a:pt x="12" y="360"/>
                  </a:lnTo>
                  <a:lnTo>
                    <a:pt x="24" y="348"/>
                  </a:lnTo>
                  <a:lnTo>
                    <a:pt x="30" y="342"/>
                  </a:lnTo>
                  <a:lnTo>
                    <a:pt x="36" y="330"/>
                  </a:lnTo>
                  <a:lnTo>
                    <a:pt x="72" y="300"/>
                  </a:lnTo>
                  <a:lnTo>
                    <a:pt x="78" y="294"/>
                  </a:lnTo>
                  <a:lnTo>
                    <a:pt x="78" y="288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96" y="270"/>
                  </a:lnTo>
                  <a:lnTo>
                    <a:pt x="102" y="264"/>
                  </a:lnTo>
                  <a:lnTo>
                    <a:pt x="108" y="258"/>
                  </a:lnTo>
                  <a:lnTo>
                    <a:pt x="114" y="246"/>
                  </a:lnTo>
                  <a:lnTo>
                    <a:pt x="120" y="240"/>
                  </a:lnTo>
                  <a:lnTo>
                    <a:pt x="126" y="234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0" y="210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86" y="174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22" y="138"/>
                  </a:lnTo>
                  <a:lnTo>
                    <a:pt x="234" y="132"/>
                  </a:lnTo>
                  <a:lnTo>
                    <a:pt x="246" y="126"/>
                  </a:lnTo>
                  <a:lnTo>
                    <a:pt x="246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88" y="102"/>
                  </a:lnTo>
                  <a:lnTo>
                    <a:pt x="300" y="96"/>
                  </a:lnTo>
                  <a:lnTo>
                    <a:pt x="306" y="90"/>
                  </a:lnTo>
                  <a:lnTo>
                    <a:pt x="318" y="90"/>
                  </a:lnTo>
                  <a:lnTo>
                    <a:pt x="324" y="84"/>
                  </a:lnTo>
                  <a:lnTo>
                    <a:pt x="348" y="72"/>
                  </a:lnTo>
                  <a:lnTo>
                    <a:pt x="354" y="72"/>
                  </a:lnTo>
                  <a:lnTo>
                    <a:pt x="384" y="66"/>
                  </a:lnTo>
                  <a:lnTo>
                    <a:pt x="390" y="66"/>
                  </a:lnTo>
                  <a:lnTo>
                    <a:pt x="396" y="66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66"/>
                  </a:lnTo>
                  <a:lnTo>
                    <a:pt x="438" y="66"/>
                  </a:lnTo>
                  <a:lnTo>
                    <a:pt x="468" y="66"/>
                  </a:lnTo>
                  <a:lnTo>
                    <a:pt x="480" y="66"/>
                  </a:lnTo>
                  <a:lnTo>
                    <a:pt x="486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22" y="60"/>
                  </a:lnTo>
                  <a:lnTo>
                    <a:pt x="534" y="54"/>
                  </a:lnTo>
                  <a:lnTo>
                    <a:pt x="564" y="42"/>
                  </a:lnTo>
                  <a:lnTo>
                    <a:pt x="570" y="42"/>
                  </a:lnTo>
                  <a:lnTo>
                    <a:pt x="582" y="36"/>
                  </a:lnTo>
                  <a:lnTo>
                    <a:pt x="588" y="36"/>
                  </a:lnTo>
                  <a:lnTo>
                    <a:pt x="600" y="30"/>
                  </a:lnTo>
                  <a:lnTo>
                    <a:pt x="606" y="30"/>
                  </a:lnTo>
                  <a:lnTo>
                    <a:pt x="618" y="24"/>
                  </a:lnTo>
                  <a:lnTo>
                    <a:pt x="642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72" y="12"/>
                  </a:lnTo>
                  <a:lnTo>
                    <a:pt x="696" y="12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50" y="6"/>
                  </a:lnTo>
                  <a:lnTo>
                    <a:pt x="768" y="6"/>
                  </a:lnTo>
                  <a:lnTo>
                    <a:pt x="774" y="6"/>
                  </a:lnTo>
                  <a:lnTo>
                    <a:pt x="786" y="6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6" y="6"/>
                  </a:lnTo>
                  <a:lnTo>
                    <a:pt x="846" y="6"/>
                  </a:lnTo>
                  <a:lnTo>
                    <a:pt x="852" y="0"/>
                  </a:lnTo>
                  <a:lnTo>
                    <a:pt x="876" y="0"/>
                  </a:lnTo>
                  <a:lnTo>
                    <a:pt x="876" y="6"/>
                  </a:lnTo>
                  <a:lnTo>
                    <a:pt x="888" y="0"/>
                  </a:lnTo>
                  <a:lnTo>
                    <a:pt x="900" y="0"/>
                  </a:lnTo>
                  <a:lnTo>
                    <a:pt x="906" y="0"/>
                  </a:lnTo>
                  <a:lnTo>
                    <a:pt x="912" y="0"/>
                  </a:lnTo>
                  <a:lnTo>
                    <a:pt x="948" y="0"/>
                  </a:lnTo>
                  <a:lnTo>
                    <a:pt x="954" y="0"/>
                  </a:lnTo>
                  <a:lnTo>
                    <a:pt x="972" y="0"/>
                  </a:lnTo>
                  <a:lnTo>
                    <a:pt x="978" y="0"/>
                  </a:lnTo>
                  <a:lnTo>
                    <a:pt x="996" y="0"/>
                  </a:lnTo>
                  <a:lnTo>
                    <a:pt x="1032" y="0"/>
                  </a:lnTo>
                  <a:lnTo>
                    <a:pt x="1044" y="0"/>
                  </a:lnTo>
                  <a:lnTo>
                    <a:pt x="1050" y="0"/>
                  </a:lnTo>
                  <a:lnTo>
                    <a:pt x="1056" y="6"/>
                  </a:lnTo>
                  <a:lnTo>
                    <a:pt x="1056" y="0"/>
                  </a:lnTo>
                  <a:lnTo>
                    <a:pt x="1074" y="0"/>
                  </a:lnTo>
                  <a:lnTo>
                    <a:pt x="1098" y="6"/>
                  </a:lnTo>
                  <a:lnTo>
                    <a:pt x="1116" y="6"/>
                  </a:lnTo>
                  <a:lnTo>
                    <a:pt x="1140" y="12"/>
                  </a:lnTo>
                  <a:lnTo>
                    <a:pt x="1152" y="12"/>
                  </a:lnTo>
                  <a:lnTo>
                    <a:pt x="1158" y="12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6" y="12"/>
                  </a:lnTo>
                  <a:lnTo>
                    <a:pt x="1194" y="18"/>
                  </a:lnTo>
                  <a:lnTo>
                    <a:pt x="1206" y="18"/>
                  </a:lnTo>
                  <a:lnTo>
                    <a:pt x="1242" y="36"/>
                  </a:lnTo>
                  <a:lnTo>
                    <a:pt x="1248" y="36"/>
                  </a:lnTo>
                  <a:lnTo>
                    <a:pt x="1254" y="36"/>
                  </a:lnTo>
                  <a:lnTo>
                    <a:pt x="1260" y="42"/>
                  </a:lnTo>
                  <a:lnTo>
                    <a:pt x="1272" y="48"/>
                  </a:lnTo>
                  <a:lnTo>
                    <a:pt x="1278" y="48"/>
                  </a:lnTo>
                  <a:lnTo>
                    <a:pt x="1284" y="48"/>
                  </a:lnTo>
                  <a:lnTo>
                    <a:pt x="1290" y="54"/>
                  </a:lnTo>
                  <a:lnTo>
                    <a:pt x="1308" y="60"/>
                  </a:lnTo>
                  <a:lnTo>
                    <a:pt x="1326" y="60"/>
                  </a:lnTo>
                  <a:lnTo>
                    <a:pt x="1338" y="66"/>
                  </a:lnTo>
                  <a:lnTo>
                    <a:pt x="1344" y="66"/>
                  </a:lnTo>
                  <a:lnTo>
                    <a:pt x="1350" y="66"/>
                  </a:lnTo>
                  <a:lnTo>
                    <a:pt x="1356" y="66"/>
                  </a:lnTo>
                  <a:lnTo>
                    <a:pt x="1362" y="72"/>
                  </a:lnTo>
                  <a:lnTo>
                    <a:pt x="1368" y="72"/>
                  </a:lnTo>
                  <a:lnTo>
                    <a:pt x="1380" y="72"/>
                  </a:lnTo>
                  <a:lnTo>
                    <a:pt x="1386" y="72"/>
                  </a:lnTo>
                  <a:lnTo>
                    <a:pt x="1422" y="84"/>
                  </a:lnTo>
                  <a:lnTo>
                    <a:pt x="1428" y="84"/>
                  </a:lnTo>
                  <a:lnTo>
                    <a:pt x="1446" y="90"/>
                  </a:lnTo>
                  <a:lnTo>
                    <a:pt x="1458" y="102"/>
                  </a:lnTo>
                  <a:lnTo>
                    <a:pt x="1494" y="126"/>
                  </a:lnTo>
                  <a:lnTo>
                    <a:pt x="1500" y="132"/>
                  </a:lnTo>
                  <a:lnTo>
                    <a:pt x="1512" y="138"/>
                  </a:lnTo>
                  <a:lnTo>
                    <a:pt x="1512" y="144"/>
                  </a:lnTo>
                  <a:lnTo>
                    <a:pt x="1518" y="150"/>
                  </a:lnTo>
                  <a:lnTo>
                    <a:pt x="1530" y="156"/>
                  </a:lnTo>
                  <a:lnTo>
                    <a:pt x="1530" y="162"/>
                  </a:lnTo>
                  <a:lnTo>
                    <a:pt x="1548" y="168"/>
                  </a:lnTo>
                  <a:lnTo>
                    <a:pt x="1566" y="180"/>
                  </a:lnTo>
                  <a:lnTo>
                    <a:pt x="1578" y="186"/>
                  </a:lnTo>
                  <a:lnTo>
                    <a:pt x="1578" y="180"/>
                  </a:lnTo>
                  <a:lnTo>
                    <a:pt x="1584" y="186"/>
                  </a:lnTo>
                  <a:lnTo>
                    <a:pt x="1584" y="174"/>
                  </a:lnTo>
                  <a:lnTo>
                    <a:pt x="1590" y="174"/>
                  </a:lnTo>
                  <a:lnTo>
                    <a:pt x="1590" y="180"/>
                  </a:lnTo>
                  <a:lnTo>
                    <a:pt x="1596" y="180"/>
                  </a:lnTo>
                  <a:lnTo>
                    <a:pt x="1596" y="174"/>
                  </a:lnTo>
                  <a:lnTo>
                    <a:pt x="1602" y="174"/>
                  </a:lnTo>
                  <a:lnTo>
                    <a:pt x="1608" y="174"/>
                  </a:lnTo>
                  <a:lnTo>
                    <a:pt x="1614" y="180"/>
                  </a:lnTo>
                  <a:lnTo>
                    <a:pt x="1620" y="174"/>
                  </a:lnTo>
                  <a:lnTo>
                    <a:pt x="1614" y="168"/>
                  </a:lnTo>
                  <a:lnTo>
                    <a:pt x="1614" y="162"/>
                  </a:lnTo>
                  <a:lnTo>
                    <a:pt x="1620" y="162"/>
                  </a:lnTo>
                  <a:lnTo>
                    <a:pt x="1626" y="162"/>
                  </a:lnTo>
                  <a:lnTo>
                    <a:pt x="1632" y="162"/>
                  </a:lnTo>
                  <a:lnTo>
                    <a:pt x="1638" y="168"/>
                  </a:lnTo>
                  <a:lnTo>
                    <a:pt x="1644" y="168"/>
                  </a:lnTo>
                  <a:lnTo>
                    <a:pt x="1650" y="174"/>
                  </a:lnTo>
                  <a:lnTo>
                    <a:pt x="1656" y="168"/>
                  </a:lnTo>
                  <a:lnTo>
                    <a:pt x="1668" y="168"/>
                  </a:lnTo>
                  <a:lnTo>
                    <a:pt x="1674" y="174"/>
                  </a:lnTo>
                  <a:lnTo>
                    <a:pt x="1674" y="180"/>
                  </a:lnTo>
                  <a:lnTo>
                    <a:pt x="1674" y="186"/>
                  </a:lnTo>
                  <a:lnTo>
                    <a:pt x="1680" y="186"/>
                  </a:lnTo>
                  <a:lnTo>
                    <a:pt x="1680" y="192"/>
                  </a:lnTo>
                  <a:lnTo>
                    <a:pt x="1686" y="192"/>
                  </a:lnTo>
                  <a:lnTo>
                    <a:pt x="1686" y="186"/>
                  </a:lnTo>
                  <a:lnTo>
                    <a:pt x="1680" y="186"/>
                  </a:lnTo>
                  <a:lnTo>
                    <a:pt x="1686" y="180"/>
                  </a:lnTo>
                  <a:lnTo>
                    <a:pt x="1692" y="180"/>
                  </a:lnTo>
                  <a:lnTo>
                    <a:pt x="1698" y="180"/>
                  </a:lnTo>
                  <a:lnTo>
                    <a:pt x="1704" y="180"/>
                  </a:lnTo>
                  <a:lnTo>
                    <a:pt x="1704" y="186"/>
                  </a:lnTo>
                  <a:lnTo>
                    <a:pt x="1710" y="186"/>
                  </a:lnTo>
                  <a:lnTo>
                    <a:pt x="1716" y="186"/>
                  </a:lnTo>
                  <a:lnTo>
                    <a:pt x="1716" y="192"/>
                  </a:lnTo>
                  <a:lnTo>
                    <a:pt x="1716" y="198"/>
                  </a:lnTo>
                  <a:lnTo>
                    <a:pt x="1722" y="192"/>
                  </a:lnTo>
                  <a:lnTo>
                    <a:pt x="1722" y="186"/>
                  </a:lnTo>
                  <a:lnTo>
                    <a:pt x="1728" y="192"/>
                  </a:lnTo>
                  <a:lnTo>
                    <a:pt x="1734" y="192"/>
                  </a:lnTo>
                  <a:lnTo>
                    <a:pt x="1734" y="186"/>
                  </a:lnTo>
                  <a:lnTo>
                    <a:pt x="1740" y="186"/>
                  </a:lnTo>
                  <a:lnTo>
                    <a:pt x="1740" y="192"/>
                  </a:lnTo>
                  <a:lnTo>
                    <a:pt x="1746" y="192"/>
                  </a:lnTo>
                  <a:lnTo>
                    <a:pt x="1758" y="192"/>
                  </a:lnTo>
                  <a:lnTo>
                    <a:pt x="1764" y="192"/>
                  </a:lnTo>
                  <a:lnTo>
                    <a:pt x="1764" y="198"/>
                  </a:lnTo>
                  <a:lnTo>
                    <a:pt x="1758" y="204"/>
                  </a:lnTo>
                  <a:lnTo>
                    <a:pt x="1752" y="210"/>
                  </a:lnTo>
                  <a:lnTo>
                    <a:pt x="1746" y="216"/>
                  </a:lnTo>
                  <a:lnTo>
                    <a:pt x="1746" y="222"/>
                  </a:lnTo>
                  <a:lnTo>
                    <a:pt x="1734" y="228"/>
                  </a:lnTo>
                  <a:lnTo>
                    <a:pt x="1734" y="234"/>
                  </a:lnTo>
                  <a:lnTo>
                    <a:pt x="1734" y="258"/>
                  </a:lnTo>
                  <a:lnTo>
                    <a:pt x="1740" y="330"/>
                  </a:lnTo>
                  <a:lnTo>
                    <a:pt x="1746" y="372"/>
                  </a:lnTo>
                  <a:lnTo>
                    <a:pt x="1788" y="426"/>
                  </a:lnTo>
                  <a:lnTo>
                    <a:pt x="1806" y="438"/>
                  </a:lnTo>
                  <a:lnTo>
                    <a:pt x="1794" y="480"/>
                  </a:lnTo>
                  <a:lnTo>
                    <a:pt x="1770" y="516"/>
                  </a:lnTo>
                  <a:lnTo>
                    <a:pt x="1746" y="546"/>
                  </a:lnTo>
                  <a:lnTo>
                    <a:pt x="1716" y="570"/>
                  </a:lnTo>
                  <a:lnTo>
                    <a:pt x="1680" y="594"/>
                  </a:lnTo>
                  <a:lnTo>
                    <a:pt x="1668" y="630"/>
                  </a:lnTo>
                  <a:lnTo>
                    <a:pt x="1680" y="684"/>
                  </a:lnTo>
                  <a:lnTo>
                    <a:pt x="1686" y="756"/>
                  </a:lnTo>
                  <a:lnTo>
                    <a:pt x="1662" y="870"/>
                  </a:lnTo>
                  <a:lnTo>
                    <a:pt x="1656" y="888"/>
                  </a:lnTo>
                  <a:lnTo>
                    <a:pt x="1650" y="972"/>
                  </a:lnTo>
                  <a:lnTo>
                    <a:pt x="1656" y="978"/>
                  </a:lnTo>
                  <a:lnTo>
                    <a:pt x="1650" y="984"/>
                  </a:lnTo>
                  <a:lnTo>
                    <a:pt x="1650" y="990"/>
                  </a:lnTo>
                  <a:lnTo>
                    <a:pt x="1650" y="1002"/>
                  </a:lnTo>
                  <a:lnTo>
                    <a:pt x="1656" y="1008"/>
                  </a:lnTo>
                  <a:lnTo>
                    <a:pt x="1656" y="1014"/>
                  </a:lnTo>
                  <a:lnTo>
                    <a:pt x="1662" y="1026"/>
                  </a:lnTo>
                  <a:lnTo>
                    <a:pt x="1650" y="1032"/>
                  </a:lnTo>
                  <a:lnTo>
                    <a:pt x="1638" y="1044"/>
                  </a:lnTo>
                  <a:lnTo>
                    <a:pt x="1626" y="1080"/>
                  </a:lnTo>
                  <a:lnTo>
                    <a:pt x="1614" y="1116"/>
                  </a:lnTo>
                  <a:lnTo>
                    <a:pt x="1614" y="1128"/>
                  </a:lnTo>
                  <a:lnTo>
                    <a:pt x="1626" y="1134"/>
                  </a:lnTo>
                  <a:lnTo>
                    <a:pt x="1644" y="1134"/>
                  </a:lnTo>
                  <a:lnTo>
                    <a:pt x="1662" y="1134"/>
                  </a:lnTo>
                  <a:lnTo>
                    <a:pt x="1680" y="1140"/>
                  </a:lnTo>
                  <a:lnTo>
                    <a:pt x="1698" y="1170"/>
                  </a:lnTo>
                  <a:lnTo>
                    <a:pt x="1704" y="1194"/>
                  </a:lnTo>
                  <a:lnTo>
                    <a:pt x="1692" y="1206"/>
                  </a:lnTo>
                  <a:lnTo>
                    <a:pt x="1662" y="1242"/>
                  </a:lnTo>
                  <a:lnTo>
                    <a:pt x="1632" y="1266"/>
                  </a:lnTo>
                  <a:lnTo>
                    <a:pt x="1620" y="1314"/>
                  </a:lnTo>
                  <a:lnTo>
                    <a:pt x="1584" y="1356"/>
                  </a:lnTo>
                  <a:lnTo>
                    <a:pt x="1578" y="1356"/>
                  </a:lnTo>
                  <a:lnTo>
                    <a:pt x="1578" y="1362"/>
                  </a:lnTo>
                  <a:lnTo>
                    <a:pt x="1572" y="1410"/>
                  </a:lnTo>
                  <a:lnTo>
                    <a:pt x="1584" y="1452"/>
                  </a:lnTo>
                  <a:lnTo>
                    <a:pt x="1608" y="1476"/>
                  </a:lnTo>
                  <a:lnTo>
                    <a:pt x="1596" y="1476"/>
                  </a:lnTo>
                  <a:lnTo>
                    <a:pt x="1584" y="1482"/>
                  </a:lnTo>
                  <a:lnTo>
                    <a:pt x="1560" y="1482"/>
                  </a:lnTo>
                  <a:lnTo>
                    <a:pt x="1536" y="1482"/>
                  </a:lnTo>
                  <a:lnTo>
                    <a:pt x="1524" y="1482"/>
                  </a:lnTo>
                  <a:lnTo>
                    <a:pt x="1506" y="1500"/>
                  </a:lnTo>
                  <a:lnTo>
                    <a:pt x="1482" y="1530"/>
                  </a:lnTo>
                  <a:lnTo>
                    <a:pt x="1452" y="1542"/>
                  </a:lnTo>
                  <a:lnTo>
                    <a:pt x="1446" y="1542"/>
                  </a:lnTo>
                  <a:lnTo>
                    <a:pt x="1440" y="1542"/>
                  </a:lnTo>
                  <a:lnTo>
                    <a:pt x="1440" y="1548"/>
                  </a:lnTo>
                  <a:lnTo>
                    <a:pt x="1434" y="1548"/>
                  </a:lnTo>
                  <a:lnTo>
                    <a:pt x="1428" y="1548"/>
                  </a:lnTo>
                  <a:lnTo>
                    <a:pt x="1428" y="1554"/>
                  </a:lnTo>
                  <a:lnTo>
                    <a:pt x="1422" y="1560"/>
                  </a:lnTo>
                  <a:lnTo>
                    <a:pt x="1416" y="1560"/>
                  </a:lnTo>
                  <a:lnTo>
                    <a:pt x="1410" y="1566"/>
                  </a:lnTo>
                  <a:lnTo>
                    <a:pt x="1410" y="1560"/>
                  </a:lnTo>
                  <a:lnTo>
                    <a:pt x="1404" y="1560"/>
                  </a:lnTo>
                  <a:lnTo>
                    <a:pt x="1392" y="1560"/>
                  </a:lnTo>
                  <a:lnTo>
                    <a:pt x="1386" y="1560"/>
                  </a:lnTo>
                  <a:lnTo>
                    <a:pt x="1380" y="1566"/>
                  </a:lnTo>
                  <a:lnTo>
                    <a:pt x="1374" y="1560"/>
                  </a:lnTo>
                  <a:lnTo>
                    <a:pt x="1368" y="1566"/>
                  </a:lnTo>
                  <a:lnTo>
                    <a:pt x="1362" y="1566"/>
                  </a:lnTo>
                  <a:lnTo>
                    <a:pt x="1362" y="1572"/>
                  </a:lnTo>
                  <a:lnTo>
                    <a:pt x="1356" y="1572"/>
                  </a:lnTo>
                  <a:lnTo>
                    <a:pt x="1356" y="1578"/>
                  </a:lnTo>
                  <a:lnTo>
                    <a:pt x="1350" y="1578"/>
                  </a:lnTo>
                  <a:lnTo>
                    <a:pt x="1350" y="1572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32" y="1584"/>
                  </a:lnTo>
                  <a:lnTo>
                    <a:pt x="1326" y="1590"/>
                  </a:lnTo>
                  <a:lnTo>
                    <a:pt x="1320" y="1584"/>
                  </a:lnTo>
                  <a:lnTo>
                    <a:pt x="1314" y="1590"/>
                  </a:lnTo>
                  <a:lnTo>
                    <a:pt x="1308" y="1596"/>
                  </a:lnTo>
                  <a:lnTo>
                    <a:pt x="1302" y="1596"/>
                  </a:lnTo>
                  <a:lnTo>
                    <a:pt x="1296" y="1596"/>
                  </a:lnTo>
                  <a:lnTo>
                    <a:pt x="1290" y="1596"/>
                  </a:lnTo>
                  <a:lnTo>
                    <a:pt x="1284" y="1596"/>
                  </a:lnTo>
                  <a:lnTo>
                    <a:pt x="1278" y="1602"/>
                  </a:lnTo>
                  <a:lnTo>
                    <a:pt x="1266" y="1602"/>
                  </a:lnTo>
                  <a:lnTo>
                    <a:pt x="1272" y="1608"/>
                  </a:lnTo>
                  <a:lnTo>
                    <a:pt x="1278" y="1608"/>
                  </a:lnTo>
                  <a:lnTo>
                    <a:pt x="1284" y="1608"/>
                  </a:lnTo>
                  <a:lnTo>
                    <a:pt x="1290" y="1614"/>
                  </a:lnTo>
                  <a:lnTo>
                    <a:pt x="1296" y="1620"/>
                  </a:lnTo>
                  <a:lnTo>
                    <a:pt x="1302" y="1626"/>
                  </a:lnTo>
                  <a:lnTo>
                    <a:pt x="1308" y="1632"/>
                  </a:lnTo>
                  <a:lnTo>
                    <a:pt x="1314" y="1638"/>
                  </a:lnTo>
                  <a:lnTo>
                    <a:pt x="1314" y="1644"/>
                  </a:lnTo>
                  <a:lnTo>
                    <a:pt x="1320" y="1644"/>
                  </a:lnTo>
                  <a:lnTo>
                    <a:pt x="1320" y="1650"/>
                  </a:lnTo>
                  <a:lnTo>
                    <a:pt x="1326" y="1656"/>
                  </a:lnTo>
                  <a:lnTo>
                    <a:pt x="1332" y="1668"/>
                  </a:lnTo>
                  <a:lnTo>
                    <a:pt x="1338" y="1680"/>
                  </a:lnTo>
                  <a:lnTo>
                    <a:pt x="1338" y="1698"/>
                  </a:lnTo>
                  <a:lnTo>
                    <a:pt x="1350" y="1710"/>
                  </a:lnTo>
                  <a:lnTo>
                    <a:pt x="1350" y="1716"/>
                  </a:lnTo>
                  <a:lnTo>
                    <a:pt x="1350" y="1722"/>
                  </a:lnTo>
                  <a:lnTo>
                    <a:pt x="1350" y="1728"/>
                  </a:lnTo>
                  <a:lnTo>
                    <a:pt x="1356" y="1728"/>
                  </a:lnTo>
                  <a:lnTo>
                    <a:pt x="1356" y="1734"/>
                  </a:lnTo>
                  <a:lnTo>
                    <a:pt x="1350" y="1734"/>
                  </a:lnTo>
                  <a:lnTo>
                    <a:pt x="1344" y="1740"/>
                  </a:lnTo>
                  <a:lnTo>
                    <a:pt x="1338" y="1740"/>
                  </a:lnTo>
                  <a:lnTo>
                    <a:pt x="1332" y="1746"/>
                  </a:lnTo>
                  <a:lnTo>
                    <a:pt x="1326" y="1746"/>
                  </a:lnTo>
                  <a:lnTo>
                    <a:pt x="1326" y="1752"/>
                  </a:lnTo>
                  <a:lnTo>
                    <a:pt x="1320" y="1752"/>
                  </a:lnTo>
                  <a:lnTo>
                    <a:pt x="1320" y="1758"/>
                  </a:lnTo>
                  <a:lnTo>
                    <a:pt x="1314" y="1758"/>
                  </a:lnTo>
                  <a:lnTo>
                    <a:pt x="1308" y="1758"/>
                  </a:lnTo>
                  <a:lnTo>
                    <a:pt x="1302" y="1758"/>
                  </a:lnTo>
                  <a:lnTo>
                    <a:pt x="1296" y="1758"/>
                  </a:lnTo>
                  <a:lnTo>
                    <a:pt x="1290" y="1764"/>
                  </a:lnTo>
                  <a:lnTo>
                    <a:pt x="1284" y="1770"/>
                  </a:lnTo>
                  <a:lnTo>
                    <a:pt x="1278" y="1770"/>
                  </a:lnTo>
                  <a:lnTo>
                    <a:pt x="1272" y="1770"/>
                  </a:lnTo>
                  <a:lnTo>
                    <a:pt x="1266" y="1770"/>
                  </a:lnTo>
                  <a:lnTo>
                    <a:pt x="1266" y="1776"/>
                  </a:lnTo>
                  <a:lnTo>
                    <a:pt x="1260" y="1776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4" name="Freeform 39">
              <a:extLst>
                <a:ext uri="{FF2B5EF4-FFF2-40B4-BE49-F238E27FC236}">
                  <a16:creationId xmlns:a16="http://schemas.microsoft.com/office/drawing/2014/main" id="{E01CDA8B-32C7-421A-B23E-968CAC7F78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2974" y="1759680"/>
              <a:ext cx="825155" cy="700024"/>
            </a:xfrm>
            <a:custGeom>
              <a:avLst/>
              <a:gdLst>
                <a:gd name="T0" fmla="*/ 60 w 1554"/>
                <a:gd name="T1" fmla="*/ 86 h 1320"/>
                <a:gd name="T2" fmla="*/ 66 w 1554"/>
                <a:gd name="T3" fmla="*/ 80 h 1320"/>
                <a:gd name="T4" fmla="*/ 61 w 1554"/>
                <a:gd name="T5" fmla="*/ 73 h 1320"/>
                <a:gd name="T6" fmla="*/ 57 w 1554"/>
                <a:gd name="T7" fmla="*/ 67 h 1320"/>
                <a:gd name="T8" fmla="*/ 60 w 1554"/>
                <a:gd name="T9" fmla="*/ 59 h 1320"/>
                <a:gd name="T10" fmla="*/ 56 w 1554"/>
                <a:gd name="T11" fmla="*/ 55 h 1320"/>
                <a:gd name="T12" fmla="*/ 45 w 1554"/>
                <a:gd name="T13" fmla="*/ 53 h 1320"/>
                <a:gd name="T14" fmla="*/ 42 w 1554"/>
                <a:gd name="T15" fmla="*/ 41 h 1320"/>
                <a:gd name="T16" fmla="*/ 37 w 1554"/>
                <a:gd name="T17" fmla="*/ 39 h 1320"/>
                <a:gd name="T18" fmla="*/ 31 w 1554"/>
                <a:gd name="T19" fmla="*/ 44 h 1320"/>
                <a:gd name="T20" fmla="*/ 37 w 1554"/>
                <a:gd name="T21" fmla="*/ 35 h 1320"/>
                <a:gd name="T22" fmla="*/ 30 w 1554"/>
                <a:gd name="T23" fmla="*/ 23 h 1320"/>
                <a:gd name="T24" fmla="*/ 21 w 1554"/>
                <a:gd name="T25" fmla="*/ 23 h 1320"/>
                <a:gd name="T26" fmla="*/ 15 w 1554"/>
                <a:gd name="T27" fmla="*/ 27 h 1320"/>
                <a:gd name="T28" fmla="*/ 11 w 1554"/>
                <a:gd name="T29" fmla="*/ 32 h 1320"/>
                <a:gd name="T30" fmla="*/ 6 w 1554"/>
                <a:gd name="T31" fmla="*/ 22 h 1320"/>
                <a:gd name="T32" fmla="*/ 3 w 1554"/>
                <a:gd name="T33" fmla="*/ 11 h 1320"/>
                <a:gd name="T34" fmla="*/ 24 w 1554"/>
                <a:gd name="T35" fmla="*/ 12 h 1320"/>
                <a:gd name="T36" fmla="*/ 33 w 1554"/>
                <a:gd name="T37" fmla="*/ 19 h 1320"/>
                <a:gd name="T38" fmla="*/ 49 w 1554"/>
                <a:gd name="T39" fmla="*/ 12 h 1320"/>
                <a:gd name="T40" fmla="*/ 58 w 1554"/>
                <a:gd name="T41" fmla="*/ 10 h 1320"/>
                <a:gd name="T42" fmla="*/ 68 w 1554"/>
                <a:gd name="T43" fmla="*/ 11 h 1320"/>
                <a:gd name="T44" fmla="*/ 79 w 1554"/>
                <a:gd name="T45" fmla="*/ 12 h 1320"/>
                <a:gd name="T46" fmla="*/ 96 w 1554"/>
                <a:gd name="T47" fmla="*/ 11 h 1320"/>
                <a:gd name="T48" fmla="*/ 107 w 1554"/>
                <a:gd name="T49" fmla="*/ 2 h 1320"/>
                <a:gd name="T50" fmla="*/ 117 w 1554"/>
                <a:gd name="T51" fmla="*/ 8 h 1320"/>
                <a:gd name="T52" fmla="*/ 126 w 1554"/>
                <a:gd name="T53" fmla="*/ 12 h 1320"/>
                <a:gd name="T54" fmla="*/ 134 w 1554"/>
                <a:gd name="T55" fmla="*/ 24 h 1320"/>
                <a:gd name="T56" fmla="*/ 133 w 1554"/>
                <a:gd name="T57" fmla="*/ 29 h 1320"/>
                <a:gd name="T58" fmla="*/ 129 w 1554"/>
                <a:gd name="T59" fmla="*/ 31 h 1320"/>
                <a:gd name="T60" fmla="*/ 125 w 1554"/>
                <a:gd name="T61" fmla="*/ 32 h 1320"/>
                <a:gd name="T62" fmla="*/ 115 w 1554"/>
                <a:gd name="T63" fmla="*/ 34 h 1320"/>
                <a:gd name="T64" fmla="*/ 113 w 1554"/>
                <a:gd name="T65" fmla="*/ 44 h 1320"/>
                <a:gd name="T66" fmla="*/ 111 w 1554"/>
                <a:gd name="T67" fmla="*/ 54 h 1320"/>
                <a:gd name="T68" fmla="*/ 107 w 1554"/>
                <a:gd name="T69" fmla="*/ 56 h 1320"/>
                <a:gd name="T70" fmla="*/ 102 w 1554"/>
                <a:gd name="T71" fmla="*/ 58 h 1320"/>
                <a:gd name="T72" fmla="*/ 99 w 1554"/>
                <a:gd name="T73" fmla="*/ 60 h 1320"/>
                <a:gd name="T74" fmla="*/ 93 w 1554"/>
                <a:gd name="T75" fmla="*/ 62 h 1320"/>
                <a:gd name="T76" fmla="*/ 87 w 1554"/>
                <a:gd name="T77" fmla="*/ 64 h 1320"/>
                <a:gd name="T78" fmla="*/ 84 w 1554"/>
                <a:gd name="T79" fmla="*/ 65 h 1320"/>
                <a:gd name="T80" fmla="*/ 81 w 1554"/>
                <a:gd name="T81" fmla="*/ 69 h 1320"/>
                <a:gd name="T82" fmla="*/ 83 w 1554"/>
                <a:gd name="T83" fmla="*/ 72 h 1320"/>
                <a:gd name="T84" fmla="*/ 92 w 1554"/>
                <a:gd name="T85" fmla="*/ 73 h 1320"/>
                <a:gd name="T86" fmla="*/ 93 w 1554"/>
                <a:gd name="T87" fmla="*/ 87 h 1320"/>
                <a:gd name="T88" fmla="*/ 104 w 1554"/>
                <a:gd name="T89" fmla="*/ 98 h 1320"/>
                <a:gd name="T90" fmla="*/ 108 w 1554"/>
                <a:gd name="T91" fmla="*/ 98 h 1320"/>
                <a:gd name="T92" fmla="*/ 112 w 1554"/>
                <a:gd name="T93" fmla="*/ 100 h 1320"/>
                <a:gd name="T94" fmla="*/ 118 w 1554"/>
                <a:gd name="T95" fmla="*/ 100 h 1320"/>
                <a:gd name="T96" fmla="*/ 122 w 1554"/>
                <a:gd name="T97" fmla="*/ 102 h 1320"/>
                <a:gd name="T98" fmla="*/ 118 w 1554"/>
                <a:gd name="T99" fmla="*/ 105 h 1320"/>
                <a:gd name="T100" fmla="*/ 114 w 1554"/>
                <a:gd name="T101" fmla="*/ 107 h 1320"/>
                <a:gd name="T102" fmla="*/ 113 w 1554"/>
                <a:gd name="T103" fmla="*/ 113 h 1320"/>
                <a:gd name="T104" fmla="*/ 104 w 1554"/>
                <a:gd name="T105" fmla="*/ 113 h 1320"/>
                <a:gd name="T106" fmla="*/ 93 w 1554"/>
                <a:gd name="T107" fmla="*/ 109 h 1320"/>
                <a:gd name="T108" fmla="*/ 96 w 1554"/>
                <a:gd name="T109" fmla="*/ 103 h 1320"/>
                <a:gd name="T110" fmla="*/ 95 w 1554"/>
                <a:gd name="T111" fmla="*/ 97 h 1320"/>
                <a:gd name="T112" fmla="*/ 87 w 1554"/>
                <a:gd name="T113" fmla="*/ 98 h 1320"/>
                <a:gd name="T114" fmla="*/ 81 w 1554"/>
                <a:gd name="T115" fmla="*/ 98 h 1320"/>
                <a:gd name="T116" fmla="*/ 78 w 1554"/>
                <a:gd name="T117" fmla="*/ 93 h 1320"/>
                <a:gd name="T118" fmla="*/ 65 w 1554"/>
                <a:gd name="T119" fmla="*/ 92 h 1320"/>
                <a:gd name="T120" fmla="*/ 59 w 1554"/>
                <a:gd name="T121" fmla="*/ 92 h 13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54"/>
                <a:gd name="T184" fmla="*/ 0 h 1320"/>
                <a:gd name="T185" fmla="*/ 1554 w 1554"/>
                <a:gd name="T186" fmla="*/ 1320 h 132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54" h="1320">
                  <a:moveTo>
                    <a:pt x="684" y="1068"/>
                  </a:moveTo>
                  <a:lnTo>
                    <a:pt x="684" y="1062"/>
                  </a:lnTo>
                  <a:lnTo>
                    <a:pt x="690" y="1056"/>
                  </a:lnTo>
                  <a:lnTo>
                    <a:pt x="690" y="1050"/>
                  </a:lnTo>
                  <a:lnTo>
                    <a:pt x="690" y="1044"/>
                  </a:lnTo>
                  <a:lnTo>
                    <a:pt x="690" y="1038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14"/>
                  </a:lnTo>
                  <a:lnTo>
                    <a:pt x="690" y="1008"/>
                  </a:lnTo>
                  <a:lnTo>
                    <a:pt x="696" y="996"/>
                  </a:lnTo>
                  <a:lnTo>
                    <a:pt x="714" y="996"/>
                  </a:lnTo>
                  <a:lnTo>
                    <a:pt x="714" y="990"/>
                  </a:lnTo>
                  <a:lnTo>
                    <a:pt x="732" y="984"/>
                  </a:lnTo>
                  <a:lnTo>
                    <a:pt x="744" y="978"/>
                  </a:lnTo>
                  <a:lnTo>
                    <a:pt x="762" y="966"/>
                  </a:lnTo>
                  <a:lnTo>
                    <a:pt x="762" y="960"/>
                  </a:lnTo>
                  <a:lnTo>
                    <a:pt x="768" y="954"/>
                  </a:lnTo>
                  <a:lnTo>
                    <a:pt x="774" y="948"/>
                  </a:lnTo>
                  <a:lnTo>
                    <a:pt x="774" y="942"/>
                  </a:lnTo>
                  <a:lnTo>
                    <a:pt x="774" y="924"/>
                  </a:lnTo>
                  <a:lnTo>
                    <a:pt x="768" y="918"/>
                  </a:lnTo>
                  <a:lnTo>
                    <a:pt x="756" y="918"/>
                  </a:lnTo>
                  <a:lnTo>
                    <a:pt x="744" y="918"/>
                  </a:lnTo>
                  <a:lnTo>
                    <a:pt x="732" y="924"/>
                  </a:lnTo>
                  <a:lnTo>
                    <a:pt x="726" y="912"/>
                  </a:lnTo>
                  <a:lnTo>
                    <a:pt x="720" y="912"/>
                  </a:lnTo>
                  <a:lnTo>
                    <a:pt x="720" y="900"/>
                  </a:lnTo>
                  <a:lnTo>
                    <a:pt x="720" y="870"/>
                  </a:lnTo>
                  <a:lnTo>
                    <a:pt x="696" y="876"/>
                  </a:lnTo>
                  <a:lnTo>
                    <a:pt x="690" y="852"/>
                  </a:lnTo>
                  <a:lnTo>
                    <a:pt x="702" y="852"/>
                  </a:lnTo>
                  <a:lnTo>
                    <a:pt x="702" y="840"/>
                  </a:lnTo>
                  <a:lnTo>
                    <a:pt x="708" y="834"/>
                  </a:lnTo>
                  <a:lnTo>
                    <a:pt x="702" y="822"/>
                  </a:lnTo>
                  <a:lnTo>
                    <a:pt x="660" y="822"/>
                  </a:lnTo>
                  <a:lnTo>
                    <a:pt x="654" y="822"/>
                  </a:lnTo>
                  <a:lnTo>
                    <a:pt x="642" y="822"/>
                  </a:lnTo>
                  <a:lnTo>
                    <a:pt x="642" y="810"/>
                  </a:lnTo>
                  <a:lnTo>
                    <a:pt x="642" y="798"/>
                  </a:lnTo>
                  <a:lnTo>
                    <a:pt x="642" y="792"/>
                  </a:lnTo>
                  <a:lnTo>
                    <a:pt x="648" y="780"/>
                  </a:lnTo>
                  <a:lnTo>
                    <a:pt x="654" y="774"/>
                  </a:lnTo>
                  <a:lnTo>
                    <a:pt x="660" y="774"/>
                  </a:lnTo>
                  <a:lnTo>
                    <a:pt x="672" y="762"/>
                  </a:lnTo>
                  <a:lnTo>
                    <a:pt x="672" y="756"/>
                  </a:lnTo>
                  <a:lnTo>
                    <a:pt x="678" y="750"/>
                  </a:lnTo>
                  <a:lnTo>
                    <a:pt x="684" y="750"/>
                  </a:lnTo>
                  <a:lnTo>
                    <a:pt x="690" y="744"/>
                  </a:lnTo>
                  <a:lnTo>
                    <a:pt x="696" y="732"/>
                  </a:lnTo>
                  <a:lnTo>
                    <a:pt x="696" y="726"/>
                  </a:lnTo>
                  <a:lnTo>
                    <a:pt x="702" y="714"/>
                  </a:lnTo>
                  <a:lnTo>
                    <a:pt x="696" y="708"/>
                  </a:lnTo>
                  <a:lnTo>
                    <a:pt x="690" y="690"/>
                  </a:lnTo>
                  <a:lnTo>
                    <a:pt x="696" y="678"/>
                  </a:lnTo>
                  <a:lnTo>
                    <a:pt x="708" y="672"/>
                  </a:lnTo>
                  <a:lnTo>
                    <a:pt x="708" y="660"/>
                  </a:lnTo>
                  <a:lnTo>
                    <a:pt x="702" y="660"/>
                  </a:lnTo>
                  <a:lnTo>
                    <a:pt x="696" y="660"/>
                  </a:lnTo>
                  <a:lnTo>
                    <a:pt x="690" y="654"/>
                  </a:lnTo>
                  <a:lnTo>
                    <a:pt x="684" y="654"/>
                  </a:lnTo>
                  <a:lnTo>
                    <a:pt x="690" y="606"/>
                  </a:lnTo>
                  <a:lnTo>
                    <a:pt x="660" y="606"/>
                  </a:lnTo>
                  <a:lnTo>
                    <a:pt x="660" y="612"/>
                  </a:lnTo>
                  <a:lnTo>
                    <a:pt x="648" y="612"/>
                  </a:lnTo>
                  <a:lnTo>
                    <a:pt x="642" y="636"/>
                  </a:lnTo>
                  <a:lnTo>
                    <a:pt x="636" y="636"/>
                  </a:lnTo>
                  <a:lnTo>
                    <a:pt x="630" y="648"/>
                  </a:lnTo>
                  <a:lnTo>
                    <a:pt x="612" y="648"/>
                  </a:lnTo>
                  <a:lnTo>
                    <a:pt x="606" y="636"/>
                  </a:lnTo>
                  <a:lnTo>
                    <a:pt x="600" y="630"/>
                  </a:lnTo>
                  <a:lnTo>
                    <a:pt x="588" y="606"/>
                  </a:lnTo>
                  <a:lnTo>
                    <a:pt x="552" y="606"/>
                  </a:lnTo>
                  <a:lnTo>
                    <a:pt x="552" y="612"/>
                  </a:lnTo>
                  <a:lnTo>
                    <a:pt x="540" y="612"/>
                  </a:lnTo>
                  <a:lnTo>
                    <a:pt x="540" y="606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16" y="612"/>
                  </a:lnTo>
                  <a:lnTo>
                    <a:pt x="516" y="582"/>
                  </a:lnTo>
                  <a:lnTo>
                    <a:pt x="522" y="576"/>
                  </a:lnTo>
                  <a:lnTo>
                    <a:pt x="528" y="576"/>
                  </a:lnTo>
                  <a:lnTo>
                    <a:pt x="528" y="552"/>
                  </a:lnTo>
                  <a:lnTo>
                    <a:pt x="522" y="540"/>
                  </a:lnTo>
                  <a:lnTo>
                    <a:pt x="510" y="528"/>
                  </a:lnTo>
                  <a:lnTo>
                    <a:pt x="486" y="510"/>
                  </a:lnTo>
                  <a:lnTo>
                    <a:pt x="480" y="498"/>
                  </a:lnTo>
                  <a:lnTo>
                    <a:pt x="480" y="474"/>
                  </a:lnTo>
                  <a:lnTo>
                    <a:pt x="492" y="468"/>
                  </a:lnTo>
                  <a:lnTo>
                    <a:pt x="486" y="450"/>
                  </a:lnTo>
                  <a:lnTo>
                    <a:pt x="474" y="456"/>
                  </a:lnTo>
                  <a:lnTo>
                    <a:pt x="468" y="456"/>
                  </a:lnTo>
                  <a:lnTo>
                    <a:pt x="462" y="456"/>
                  </a:lnTo>
                  <a:lnTo>
                    <a:pt x="456" y="468"/>
                  </a:lnTo>
                  <a:lnTo>
                    <a:pt x="456" y="474"/>
                  </a:lnTo>
                  <a:lnTo>
                    <a:pt x="450" y="480"/>
                  </a:lnTo>
                  <a:lnTo>
                    <a:pt x="444" y="450"/>
                  </a:lnTo>
                  <a:lnTo>
                    <a:pt x="438" y="450"/>
                  </a:lnTo>
                  <a:lnTo>
                    <a:pt x="432" y="450"/>
                  </a:lnTo>
                  <a:lnTo>
                    <a:pt x="420" y="450"/>
                  </a:lnTo>
                  <a:lnTo>
                    <a:pt x="420" y="456"/>
                  </a:lnTo>
                  <a:lnTo>
                    <a:pt x="414" y="456"/>
                  </a:lnTo>
                  <a:lnTo>
                    <a:pt x="408" y="468"/>
                  </a:lnTo>
                  <a:lnTo>
                    <a:pt x="402" y="468"/>
                  </a:lnTo>
                  <a:lnTo>
                    <a:pt x="396" y="474"/>
                  </a:lnTo>
                  <a:lnTo>
                    <a:pt x="390" y="492"/>
                  </a:lnTo>
                  <a:lnTo>
                    <a:pt x="384" y="504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54" y="510"/>
                  </a:lnTo>
                  <a:lnTo>
                    <a:pt x="360" y="480"/>
                  </a:lnTo>
                  <a:lnTo>
                    <a:pt x="360" y="474"/>
                  </a:lnTo>
                  <a:lnTo>
                    <a:pt x="378" y="456"/>
                  </a:lnTo>
                  <a:lnTo>
                    <a:pt x="384" y="450"/>
                  </a:lnTo>
                  <a:lnTo>
                    <a:pt x="396" y="444"/>
                  </a:lnTo>
                  <a:lnTo>
                    <a:pt x="402" y="438"/>
                  </a:lnTo>
                  <a:lnTo>
                    <a:pt x="408" y="438"/>
                  </a:lnTo>
                  <a:lnTo>
                    <a:pt x="408" y="426"/>
                  </a:lnTo>
                  <a:lnTo>
                    <a:pt x="414" y="420"/>
                  </a:lnTo>
                  <a:lnTo>
                    <a:pt x="426" y="420"/>
                  </a:lnTo>
                  <a:lnTo>
                    <a:pt x="426" y="408"/>
                  </a:lnTo>
                  <a:lnTo>
                    <a:pt x="420" y="390"/>
                  </a:lnTo>
                  <a:lnTo>
                    <a:pt x="408" y="384"/>
                  </a:lnTo>
                  <a:lnTo>
                    <a:pt x="378" y="378"/>
                  </a:lnTo>
                  <a:lnTo>
                    <a:pt x="354" y="366"/>
                  </a:lnTo>
                  <a:lnTo>
                    <a:pt x="342" y="360"/>
                  </a:lnTo>
                  <a:lnTo>
                    <a:pt x="342" y="348"/>
                  </a:lnTo>
                  <a:lnTo>
                    <a:pt x="336" y="330"/>
                  </a:lnTo>
                  <a:lnTo>
                    <a:pt x="348" y="306"/>
                  </a:lnTo>
                  <a:lnTo>
                    <a:pt x="360" y="294"/>
                  </a:lnTo>
                  <a:lnTo>
                    <a:pt x="360" y="282"/>
                  </a:lnTo>
                  <a:lnTo>
                    <a:pt x="342" y="270"/>
                  </a:lnTo>
                  <a:lnTo>
                    <a:pt x="342" y="264"/>
                  </a:lnTo>
                  <a:lnTo>
                    <a:pt x="330" y="264"/>
                  </a:lnTo>
                  <a:lnTo>
                    <a:pt x="312" y="270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88" y="270"/>
                  </a:lnTo>
                  <a:lnTo>
                    <a:pt x="282" y="270"/>
                  </a:lnTo>
                  <a:lnTo>
                    <a:pt x="276" y="264"/>
                  </a:lnTo>
                  <a:lnTo>
                    <a:pt x="270" y="264"/>
                  </a:lnTo>
                  <a:lnTo>
                    <a:pt x="252" y="270"/>
                  </a:lnTo>
                  <a:lnTo>
                    <a:pt x="246" y="270"/>
                  </a:lnTo>
                  <a:lnTo>
                    <a:pt x="240" y="270"/>
                  </a:lnTo>
                  <a:lnTo>
                    <a:pt x="228" y="270"/>
                  </a:lnTo>
                  <a:lnTo>
                    <a:pt x="216" y="276"/>
                  </a:lnTo>
                  <a:lnTo>
                    <a:pt x="210" y="270"/>
                  </a:lnTo>
                  <a:lnTo>
                    <a:pt x="204" y="270"/>
                  </a:lnTo>
                  <a:lnTo>
                    <a:pt x="198" y="276"/>
                  </a:lnTo>
                  <a:lnTo>
                    <a:pt x="192" y="276"/>
                  </a:lnTo>
                  <a:lnTo>
                    <a:pt x="186" y="282"/>
                  </a:lnTo>
                  <a:lnTo>
                    <a:pt x="180" y="288"/>
                  </a:lnTo>
                  <a:lnTo>
                    <a:pt x="174" y="300"/>
                  </a:lnTo>
                  <a:lnTo>
                    <a:pt x="168" y="306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8" y="330"/>
                  </a:lnTo>
                  <a:lnTo>
                    <a:pt x="162" y="336"/>
                  </a:lnTo>
                  <a:lnTo>
                    <a:pt x="156" y="342"/>
                  </a:lnTo>
                  <a:lnTo>
                    <a:pt x="156" y="348"/>
                  </a:lnTo>
                  <a:lnTo>
                    <a:pt x="156" y="354"/>
                  </a:lnTo>
                  <a:lnTo>
                    <a:pt x="150" y="366"/>
                  </a:lnTo>
                  <a:lnTo>
                    <a:pt x="150" y="372"/>
                  </a:lnTo>
                  <a:lnTo>
                    <a:pt x="144" y="366"/>
                  </a:lnTo>
                  <a:lnTo>
                    <a:pt x="132" y="366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20" y="348"/>
                  </a:lnTo>
                  <a:lnTo>
                    <a:pt x="102" y="330"/>
                  </a:lnTo>
                  <a:lnTo>
                    <a:pt x="96" y="318"/>
                  </a:lnTo>
                  <a:lnTo>
                    <a:pt x="96" y="282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0" y="258"/>
                  </a:lnTo>
                  <a:lnTo>
                    <a:pt x="84" y="252"/>
                  </a:lnTo>
                  <a:lnTo>
                    <a:pt x="66" y="258"/>
                  </a:lnTo>
                  <a:lnTo>
                    <a:pt x="60" y="246"/>
                  </a:lnTo>
                  <a:lnTo>
                    <a:pt x="30" y="252"/>
                  </a:lnTo>
                  <a:lnTo>
                    <a:pt x="18" y="246"/>
                  </a:lnTo>
                  <a:lnTo>
                    <a:pt x="0" y="240"/>
                  </a:lnTo>
                  <a:lnTo>
                    <a:pt x="0" y="234"/>
                  </a:lnTo>
                  <a:lnTo>
                    <a:pt x="0" y="210"/>
                  </a:lnTo>
                  <a:lnTo>
                    <a:pt x="6" y="204"/>
                  </a:lnTo>
                  <a:lnTo>
                    <a:pt x="18" y="192"/>
                  </a:lnTo>
                  <a:lnTo>
                    <a:pt x="18" y="144"/>
                  </a:lnTo>
                  <a:lnTo>
                    <a:pt x="24" y="126"/>
                  </a:lnTo>
                  <a:lnTo>
                    <a:pt x="36" y="126"/>
                  </a:lnTo>
                  <a:lnTo>
                    <a:pt x="54" y="120"/>
                  </a:lnTo>
                  <a:lnTo>
                    <a:pt x="54" y="126"/>
                  </a:lnTo>
                  <a:lnTo>
                    <a:pt x="132" y="114"/>
                  </a:lnTo>
                  <a:lnTo>
                    <a:pt x="144" y="120"/>
                  </a:lnTo>
                  <a:lnTo>
                    <a:pt x="150" y="132"/>
                  </a:lnTo>
                  <a:lnTo>
                    <a:pt x="180" y="126"/>
                  </a:lnTo>
                  <a:lnTo>
                    <a:pt x="210" y="120"/>
                  </a:lnTo>
                  <a:lnTo>
                    <a:pt x="240" y="120"/>
                  </a:lnTo>
                  <a:lnTo>
                    <a:pt x="258" y="120"/>
                  </a:lnTo>
                  <a:lnTo>
                    <a:pt x="270" y="126"/>
                  </a:lnTo>
                  <a:lnTo>
                    <a:pt x="276" y="132"/>
                  </a:lnTo>
                  <a:lnTo>
                    <a:pt x="282" y="138"/>
                  </a:lnTo>
                  <a:lnTo>
                    <a:pt x="282" y="156"/>
                  </a:lnTo>
                  <a:lnTo>
                    <a:pt x="288" y="186"/>
                  </a:lnTo>
                  <a:lnTo>
                    <a:pt x="312" y="192"/>
                  </a:lnTo>
                  <a:lnTo>
                    <a:pt x="318" y="198"/>
                  </a:lnTo>
                  <a:lnTo>
                    <a:pt x="324" y="204"/>
                  </a:lnTo>
                  <a:lnTo>
                    <a:pt x="330" y="210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66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86" y="210"/>
                  </a:lnTo>
                  <a:lnTo>
                    <a:pt x="498" y="198"/>
                  </a:lnTo>
                  <a:lnTo>
                    <a:pt x="504" y="174"/>
                  </a:lnTo>
                  <a:lnTo>
                    <a:pt x="516" y="162"/>
                  </a:lnTo>
                  <a:lnTo>
                    <a:pt x="516" y="138"/>
                  </a:lnTo>
                  <a:lnTo>
                    <a:pt x="522" y="132"/>
                  </a:lnTo>
                  <a:lnTo>
                    <a:pt x="564" y="132"/>
                  </a:lnTo>
                  <a:lnTo>
                    <a:pt x="564" y="114"/>
                  </a:lnTo>
                  <a:lnTo>
                    <a:pt x="582" y="114"/>
                  </a:lnTo>
                  <a:lnTo>
                    <a:pt x="594" y="114"/>
                  </a:lnTo>
                  <a:lnTo>
                    <a:pt x="606" y="114"/>
                  </a:lnTo>
                  <a:lnTo>
                    <a:pt x="612" y="114"/>
                  </a:lnTo>
                  <a:lnTo>
                    <a:pt x="630" y="114"/>
                  </a:lnTo>
                  <a:lnTo>
                    <a:pt x="636" y="114"/>
                  </a:lnTo>
                  <a:lnTo>
                    <a:pt x="648" y="114"/>
                  </a:lnTo>
                  <a:lnTo>
                    <a:pt x="654" y="114"/>
                  </a:lnTo>
                  <a:lnTo>
                    <a:pt x="660" y="120"/>
                  </a:lnTo>
                  <a:lnTo>
                    <a:pt x="672" y="120"/>
                  </a:lnTo>
                  <a:lnTo>
                    <a:pt x="684" y="120"/>
                  </a:lnTo>
                  <a:lnTo>
                    <a:pt x="690" y="120"/>
                  </a:lnTo>
                  <a:lnTo>
                    <a:pt x="702" y="120"/>
                  </a:lnTo>
                  <a:lnTo>
                    <a:pt x="708" y="120"/>
                  </a:lnTo>
                  <a:lnTo>
                    <a:pt x="726" y="126"/>
                  </a:lnTo>
                  <a:lnTo>
                    <a:pt x="732" y="126"/>
                  </a:lnTo>
                  <a:lnTo>
                    <a:pt x="738" y="126"/>
                  </a:lnTo>
                  <a:lnTo>
                    <a:pt x="750" y="126"/>
                  </a:lnTo>
                  <a:lnTo>
                    <a:pt x="756" y="126"/>
                  </a:lnTo>
                  <a:lnTo>
                    <a:pt x="768" y="126"/>
                  </a:lnTo>
                  <a:lnTo>
                    <a:pt x="780" y="126"/>
                  </a:lnTo>
                  <a:lnTo>
                    <a:pt x="786" y="120"/>
                  </a:lnTo>
                  <a:lnTo>
                    <a:pt x="792" y="120"/>
                  </a:lnTo>
                  <a:lnTo>
                    <a:pt x="810" y="120"/>
                  </a:lnTo>
                  <a:lnTo>
                    <a:pt x="822" y="120"/>
                  </a:lnTo>
                  <a:lnTo>
                    <a:pt x="846" y="126"/>
                  </a:lnTo>
                  <a:lnTo>
                    <a:pt x="858" y="126"/>
                  </a:lnTo>
                  <a:lnTo>
                    <a:pt x="870" y="132"/>
                  </a:lnTo>
                  <a:lnTo>
                    <a:pt x="882" y="132"/>
                  </a:lnTo>
                  <a:lnTo>
                    <a:pt x="894" y="132"/>
                  </a:lnTo>
                  <a:lnTo>
                    <a:pt x="900" y="132"/>
                  </a:lnTo>
                  <a:lnTo>
                    <a:pt x="912" y="132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36" y="132"/>
                  </a:lnTo>
                  <a:lnTo>
                    <a:pt x="960" y="132"/>
                  </a:lnTo>
                  <a:lnTo>
                    <a:pt x="966" y="144"/>
                  </a:lnTo>
                  <a:lnTo>
                    <a:pt x="972" y="144"/>
                  </a:lnTo>
                  <a:lnTo>
                    <a:pt x="1002" y="144"/>
                  </a:lnTo>
                  <a:lnTo>
                    <a:pt x="1020" y="144"/>
                  </a:lnTo>
                  <a:lnTo>
                    <a:pt x="1068" y="138"/>
                  </a:lnTo>
                  <a:lnTo>
                    <a:pt x="1110" y="132"/>
                  </a:lnTo>
                  <a:lnTo>
                    <a:pt x="1110" y="126"/>
                  </a:lnTo>
                  <a:lnTo>
                    <a:pt x="1116" y="120"/>
                  </a:lnTo>
                  <a:lnTo>
                    <a:pt x="1122" y="108"/>
                  </a:lnTo>
                  <a:lnTo>
                    <a:pt x="1134" y="96"/>
                  </a:lnTo>
                  <a:lnTo>
                    <a:pt x="1146" y="60"/>
                  </a:lnTo>
                  <a:lnTo>
                    <a:pt x="1158" y="54"/>
                  </a:lnTo>
                  <a:lnTo>
                    <a:pt x="1170" y="48"/>
                  </a:lnTo>
                  <a:lnTo>
                    <a:pt x="1188" y="42"/>
                  </a:lnTo>
                  <a:lnTo>
                    <a:pt x="1200" y="36"/>
                  </a:lnTo>
                  <a:lnTo>
                    <a:pt x="1212" y="36"/>
                  </a:lnTo>
                  <a:lnTo>
                    <a:pt x="1236" y="30"/>
                  </a:lnTo>
                  <a:lnTo>
                    <a:pt x="1236" y="24"/>
                  </a:lnTo>
                  <a:lnTo>
                    <a:pt x="1278" y="18"/>
                  </a:lnTo>
                  <a:lnTo>
                    <a:pt x="1290" y="18"/>
                  </a:lnTo>
                  <a:lnTo>
                    <a:pt x="1302" y="12"/>
                  </a:lnTo>
                  <a:lnTo>
                    <a:pt x="1314" y="0"/>
                  </a:lnTo>
                  <a:lnTo>
                    <a:pt x="1332" y="0"/>
                  </a:lnTo>
                  <a:lnTo>
                    <a:pt x="1338" y="24"/>
                  </a:lnTo>
                  <a:lnTo>
                    <a:pt x="1344" y="30"/>
                  </a:lnTo>
                  <a:lnTo>
                    <a:pt x="1350" y="42"/>
                  </a:lnTo>
                  <a:lnTo>
                    <a:pt x="1356" y="48"/>
                  </a:lnTo>
                  <a:lnTo>
                    <a:pt x="1356" y="78"/>
                  </a:lnTo>
                  <a:lnTo>
                    <a:pt x="1350" y="96"/>
                  </a:lnTo>
                  <a:lnTo>
                    <a:pt x="1338" y="108"/>
                  </a:lnTo>
                  <a:lnTo>
                    <a:pt x="1338" y="114"/>
                  </a:lnTo>
                  <a:lnTo>
                    <a:pt x="1338" y="120"/>
                  </a:lnTo>
                  <a:lnTo>
                    <a:pt x="1338" y="126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398" y="114"/>
                  </a:lnTo>
                  <a:lnTo>
                    <a:pt x="1416" y="120"/>
                  </a:lnTo>
                  <a:lnTo>
                    <a:pt x="1434" y="126"/>
                  </a:lnTo>
                  <a:lnTo>
                    <a:pt x="1458" y="132"/>
                  </a:lnTo>
                  <a:lnTo>
                    <a:pt x="1458" y="138"/>
                  </a:lnTo>
                  <a:lnTo>
                    <a:pt x="1512" y="138"/>
                  </a:lnTo>
                  <a:lnTo>
                    <a:pt x="1512" y="132"/>
                  </a:lnTo>
                  <a:lnTo>
                    <a:pt x="1524" y="138"/>
                  </a:lnTo>
                  <a:lnTo>
                    <a:pt x="1542" y="138"/>
                  </a:lnTo>
                  <a:lnTo>
                    <a:pt x="1542" y="150"/>
                  </a:lnTo>
                  <a:lnTo>
                    <a:pt x="1542" y="162"/>
                  </a:lnTo>
                  <a:lnTo>
                    <a:pt x="1548" y="174"/>
                  </a:lnTo>
                  <a:lnTo>
                    <a:pt x="1548" y="180"/>
                  </a:lnTo>
                  <a:lnTo>
                    <a:pt x="1554" y="222"/>
                  </a:lnTo>
                  <a:lnTo>
                    <a:pt x="1554" y="258"/>
                  </a:lnTo>
                  <a:lnTo>
                    <a:pt x="1554" y="276"/>
                  </a:lnTo>
                  <a:lnTo>
                    <a:pt x="1554" y="282"/>
                  </a:lnTo>
                  <a:lnTo>
                    <a:pt x="1554" y="294"/>
                  </a:lnTo>
                  <a:lnTo>
                    <a:pt x="1554" y="306"/>
                  </a:lnTo>
                  <a:lnTo>
                    <a:pt x="1554" y="324"/>
                  </a:lnTo>
                  <a:lnTo>
                    <a:pt x="1554" y="330"/>
                  </a:lnTo>
                  <a:lnTo>
                    <a:pt x="1548" y="330"/>
                  </a:lnTo>
                  <a:lnTo>
                    <a:pt x="1548" y="336"/>
                  </a:lnTo>
                  <a:lnTo>
                    <a:pt x="1548" y="342"/>
                  </a:lnTo>
                  <a:lnTo>
                    <a:pt x="1542" y="336"/>
                  </a:lnTo>
                  <a:lnTo>
                    <a:pt x="1542" y="330"/>
                  </a:lnTo>
                  <a:lnTo>
                    <a:pt x="1536" y="330"/>
                  </a:lnTo>
                  <a:lnTo>
                    <a:pt x="1530" y="330"/>
                  </a:lnTo>
                  <a:lnTo>
                    <a:pt x="1530" y="336"/>
                  </a:lnTo>
                  <a:lnTo>
                    <a:pt x="1536" y="342"/>
                  </a:lnTo>
                  <a:lnTo>
                    <a:pt x="1530" y="342"/>
                  </a:lnTo>
                  <a:lnTo>
                    <a:pt x="1518" y="348"/>
                  </a:lnTo>
                  <a:lnTo>
                    <a:pt x="1512" y="354"/>
                  </a:lnTo>
                  <a:lnTo>
                    <a:pt x="1506" y="354"/>
                  </a:lnTo>
                  <a:lnTo>
                    <a:pt x="1500" y="354"/>
                  </a:lnTo>
                  <a:lnTo>
                    <a:pt x="1494" y="354"/>
                  </a:lnTo>
                  <a:lnTo>
                    <a:pt x="1494" y="360"/>
                  </a:lnTo>
                  <a:lnTo>
                    <a:pt x="1488" y="360"/>
                  </a:lnTo>
                  <a:lnTo>
                    <a:pt x="1488" y="366"/>
                  </a:lnTo>
                  <a:lnTo>
                    <a:pt x="1488" y="372"/>
                  </a:lnTo>
                  <a:lnTo>
                    <a:pt x="1482" y="372"/>
                  </a:lnTo>
                  <a:lnTo>
                    <a:pt x="1476" y="372"/>
                  </a:lnTo>
                  <a:lnTo>
                    <a:pt x="1470" y="372"/>
                  </a:lnTo>
                  <a:lnTo>
                    <a:pt x="1470" y="378"/>
                  </a:lnTo>
                  <a:lnTo>
                    <a:pt x="1470" y="384"/>
                  </a:lnTo>
                  <a:lnTo>
                    <a:pt x="1470" y="390"/>
                  </a:lnTo>
                  <a:lnTo>
                    <a:pt x="1464" y="402"/>
                  </a:lnTo>
                  <a:lnTo>
                    <a:pt x="1446" y="402"/>
                  </a:lnTo>
                  <a:lnTo>
                    <a:pt x="1440" y="372"/>
                  </a:lnTo>
                  <a:lnTo>
                    <a:pt x="1410" y="372"/>
                  </a:lnTo>
                  <a:lnTo>
                    <a:pt x="1380" y="372"/>
                  </a:lnTo>
                  <a:lnTo>
                    <a:pt x="1374" y="372"/>
                  </a:lnTo>
                  <a:lnTo>
                    <a:pt x="1368" y="378"/>
                  </a:lnTo>
                  <a:lnTo>
                    <a:pt x="1362" y="378"/>
                  </a:lnTo>
                  <a:lnTo>
                    <a:pt x="1356" y="378"/>
                  </a:lnTo>
                  <a:lnTo>
                    <a:pt x="1350" y="384"/>
                  </a:lnTo>
                  <a:lnTo>
                    <a:pt x="1350" y="390"/>
                  </a:lnTo>
                  <a:lnTo>
                    <a:pt x="1344" y="390"/>
                  </a:lnTo>
                  <a:lnTo>
                    <a:pt x="1338" y="390"/>
                  </a:lnTo>
                  <a:lnTo>
                    <a:pt x="1332" y="390"/>
                  </a:lnTo>
                  <a:lnTo>
                    <a:pt x="1332" y="396"/>
                  </a:lnTo>
                  <a:lnTo>
                    <a:pt x="1332" y="390"/>
                  </a:lnTo>
                  <a:lnTo>
                    <a:pt x="1326" y="402"/>
                  </a:lnTo>
                  <a:lnTo>
                    <a:pt x="1320" y="402"/>
                  </a:lnTo>
                  <a:lnTo>
                    <a:pt x="1302" y="474"/>
                  </a:lnTo>
                  <a:lnTo>
                    <a:pt x="1308" y="480"/>
                  </a:lnTo>
                  <a:lnTo>
                    <a:pt x="1314" y="480"/>
                  </a:lnTo>
                  <a:lnTo>
                    <a:pt x="1308" y="498"/>
                  </a:lnTo>
                  <a:lnTo>
                    <a:pt x="1308" y="504"/>
                  </a:lnTo>
                  <a:lnTo>
                    <a:pt x="1314" y="510"/>
                  </a:lnTo>
                  <a:lnTo>
                    <a:pt x="1308" y="510"/>
                  </a:lnTo>
                  <a:lnTo>
                    <a:pt x="1308" y="516"/>
                  </a:lnTo>
                  <a:lnTo>
                    <a:pt x="1302" y="516"/>
                  </a:lnTo>
                  <a:lnTo>
                    <a:pt x="1296" y="510"/>
                  </a:lnTo>
                  <a:lnTo>
                    <a:pt x="1296" y="516"/>
                  </a:lnTo>
                  <a:lnTo>
                    <a:pt x="1290" y="540"/>
                  </a:lnTo>
                  <a:lnTo>
                    <a:pt x="1290" y="552"/>
                  </a:lnTo>
                  <a:lnTo>
                    <a:pt x="1284" y="558"/>
                  </a:lnTo>
                  <a:lnTo>
                    <a:pt x="1290" y="576"/>
                  </a:lnTo>
                  <a:lnTo>
                    <a:pt x="1290" y="600"/>
                  </a:lnTo>
                  <a:lnTo>
                    <a:pt x="1284" y="618"/>
                  </a:lnTo>
                  <a:lnTo>
                    <a:pt x="1290" y="624"/>
                  </a:lnTo>
                  <a:lnTo>
                    <a:pt x="1284" y="630"/>
                  </a:lnTo>
                  <a:lnTo>
                    <a:pt x="1278" y="630"/>
                  </a:lnTo>
                  <a:lnTo>
                    <a:pt x="1272" y="630"/>
                  </a:lnTo>
                  <a:lnTo>
                    <a:pt x="1266" y="636"/>
                  </a:lnTo>
                  <a:lnTo>
                    <a:pt x="1260" y="642"/>
                  </a:lnTo>
                  <a:lnTo>
                    <a:pt x="1260" y="636"/>
                  </a:lnTo>
                  <a:lnTo>
                    <a:pt x="1254" y="636"/>
                  </a:lnTo>
                  <a:lnTo>
                    <a:pt x="1248" y="636"/>
                  </a:lnTo>
                  <a:lnTo>
                    <a:pt x="1248" y="642"/>
                  </a:lnTo>
                  <a:lnTo>
                    <a:pt x="1242" y="642"/>
                  </a:lnTo>
                  <a:lnTo>
                    <a:pt x="1242" y="648"/>
                  </a:lnTo>
                  <a:lnTo>
                    <a:pt x="1236" y="654"/>
                  </a:lnTo>
                  <a:lnTo>
                    <a:pt x="1230" y="654"/>
                  </a:lnTo>
                  <a:lnTo>
                    <a:pt x="1224" y="654"/>
                  </a:lnTo>
                  <a:lnTo>
                    <a:pt x="1218" y="660"/>
                  </a:lnTo>
                  <a:lnTo>
                    <a:pt x="1212" y="660"/>
                  </a:lnTo>
                  <a:lnTo>
                    <a:pt x="1206" y="660"/>
                  </a:lnTo>
                  <a:lnTo>
                    <a:pt x="1200" y="660"/>
                  </a:lnTo>
                  <a:lnTo>
                    <a:pt x="1200" y="666"/>
                  </a:lnTo>
                  <a:lnTo>
                    <a:pt x="1194" y="666"/>
                  </a:lnTo>
                  <a:lnTo>
                    <a:pt x="1188" y="666"/>
                  </a:lnTo>
                  <a:lnTo>
                    <a:pt x="1182" y="672"/>
                  </a:lnTo>
                  <a:lnTo>
                    <a:pt x="1176" y="672"/>
                  </a:lnTo>
                  <a:lnTo>
                    <a:pt x="1170" y="672"/>
                  </a:lnTo>
                  <a:lnTo>
                    <a:pt x="1164" y="678"/>
                  </a:lnTo>
                  <a:lnTo>
                    <a:pt x="1170" y="678"/>
                  </a:lnTo>
                  <a:lnTo>
                    <a:pt x="1164" y="684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52" y="684"/>
                  </a:lnTo>
                  <a:lnTo>
                    <a:pt x="1152" y="690"/>
                  </a:lnTo>
                  <a:lnTo>
                    <a:pt x="1146" y="690"/>
                  </a:lnTo>
                  <a:lnTo>
                    <a:pt x="1140" y="690"/>
                  </a:lnTo>
                  <a:lnTo>
                    <a:pt x="1134" y="696"/>
                  </a:lnTo>
                  <a:lnTo>
                    <a:pt x="1128" y="696"/>
                  </a:lnTo>
                  <a:lnTo>
                    <a:pt x="1122" y="702"/>
                  </a:lnTo>
                  <a:lnTo>
                    <a:pt x="1116" y="702"/>
                  </a:lnTo>
                  <a:lnTo>
                    <a:pt x="1110" y="708"/>
                  </a:lnTo>
                  <a:lnTo>
                    <a:pt x="1104" y="708"/>
                  </a:lnTo>
                  <a:lnTo>
                    <a:pt x="1098" y="708"/>
                  </a:lnTo>
                  <a:lnTo>
                    <a:pt x="1092" y="708"/>
                  </a:lnTo>
                  <a:lnTo>
                    <a:pt x="1092" y="714"/>
                  </a:lnTo>
                  <a:lnTo>
                    <a:pt x="1086" y="720"/>
                  </a:lnTo>
                  <a:lnTo>
                    <a:pt x="1080" y="720"/>
                  </a:lnTo>
                  <a:lnTo>
                    <a:pt x="1074" y="720"/>
                  </a:lnTo>
                  <a:lnTo>
                    <a:pt x="1068" y="720"/>
                  </a:lnTo>
                  <a:lnTo>
                    <a:pt x="1062" y="720"/>
                  </a:lnTo>
                  <a:lnTo>
                    <a:pt x="1050" y="726"/>
                  </a:lnTo>
                  <a:lnTo>
                    <a:pt x="1044" y="726"/>
                  </a:lnTo>
                  <a:lnTo>
                    <a:pt x="1038" y="732"/>
                  </a:lnTo>
                  <a:lnTo>
                    <a:pt x="1026" y="732"/>
                  </a:lnTo>
                  <a:lnTo>
                    <a:pt x="1020" y="732"/>
                  </a:lnTo>
                  <a:lnTo>
                    <a:pt x="1014" y="738"/>
                  </a:lnTo>
                  <a:lnTo>
                    <a:pt x="1008" y="738"/>
                  </a:lnTo>
                  <a:lnTo>
                    <a:pt x="1002" y="738"/>
                  </a:lnTo>
                  <a:lnTo>
                    <a:pt x="996" y="738"/>
                  </a:lnTo>
                  <a:lnTo>
                    <a:pt x="990" y="738"/>
                  </a:lnTo>
                  <a:lnTo>
                    <a:pt x="990" y="732"/>
                  </a:lnTo>
                  <a:lnTo>
                    <a:pt x="984" y="732"/>
                  </a:lnTo>
                  <a:lnTo>
                    <a:pt x="978" y="738"/>
                  </a:lnTo>
                  <a:lnTo>
                    <a:pt x="978" y="744"/>
                  </a:lnTo>
                  <a:lnTo>
                    <a:pt x="984" y="744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8" y="756"/>
                  </a:lnTo>
                  <a:lnTo>
                    <a:pt x="972" y="756"/>
                  </a:lnTo>
                  <a:lnTo>
                    <a:pt x="972" y="762"/>
                  </a:lnTo>
                  <a:lnTo>
                    <a:pt x="966" y="768"/>
                  </a:lnTo>
                  <a:lnTo>
                    <a:pt x="966" y="762"/>
                  </a:lnTo>
                  <a:lnTo>
                    <a:pt x="960" y="762"/>
                  </a:lnTo>
                  <a:lnTo>
                    <a:pt x="954" y="768"/>
                  </a:lnTo>
                  <a:lnTo>
                    <a:pt x="954" y="774"/>
                  </a:lnTo>
                  <a:lnTo>
                    <a:pt x="948" y="774"/>
                  </a:lnTo>
                  <a:lnTo>
                    <a:pt x="948" y="780"/>
                  </a:lnTo>
                  <a:lnTo>
                    <a:pt x="948" y="786"/>
                  </a:lnTo>
                  <a:lnTo>
                    <a:pt x="942" y="786"/>
                  </a:lnTo>
                  <a:lnTo>
                    <a:pt x="942" y="792"/>
                  </a:lnTo>
                  <a:lnTo>
                    <a:pt x="936" y="792"/>
                  </a:lnTo>
                  <a:lnTo>
                    <a:pt x="942" y="798"/>
                  </a:lnTo>
                  <a:lnTo>
                    <a:pt x="942" y="804"/>
                  </a:lnTo>
                  <a:lnTo>
                    <a:pt x="942" y="810"/>
                  </a:lnTo>
                  <a:lnTo>
                    <a:pt x="948" y="810"/>
                  </a:lnTo>
                  <a:lnTo>
                    <a:pt x="942" y="816"/>
                  </a:lnTo>
                  <a:lnTo>
                    <a:pt x="948" y="816"/>
                  </a:lnTo>
                  <a:lnTo>
                    <a:pt x="948" y="822"/>
                  </a:lnTo>
                  <a:lnTo>
                    <a:pt x="954" y="822"/>
                  </a:lnTo>
                  <a:lnTo>
                    <a:pt x="960" y="828"/>
                  </a:lnTo>
                  <a:lnTo>
                    <a:pt x="960" y="834"/>
                  </a:lnTo>
                  <a:lnTo>
                    <a:pt x="966" y="834"/>
                  </a:lnTo>
                  <a:lnTo>
                    <a:pt x="960" y="840"/>
                  </a:lnTo>
                  <a:lnTo>
                    <a:pt x="966" y="846"/>
                  </a:lnTo>
                  <a:lnTo>
                    <a:pt x="966" y="840"/>
                  </a:lnTo>
                  <a:lnTo>
                    <a:pt x="972" y="840"/>
                  </a:lnTo>
                  <a:lnTo>
                    <a:pt x="990" y="840"/>
                  </a:lnTo>
                  <a:lnTo>
                    <a:pt x="1002" y="834"/>
                  </a:lnTo>
                  <a:lnTo>
                    <a:pt x="1020" y="828"/>
                  </a:lnTo>
                  <a:lnTo>
                    <a:pt x="1032" y="828"/>
                  </a:lnTo>
                  <a:lnTo>
                    <a:pt x="1050" y="828"/>
                  </a:lnTo>
                  <a:lnTo>
                    <a:pt x="1062" y="846"/>
                  </a:lnTo>
                  <a:lnTo>
                    <a:pt x="1074" y="876"/>
                  </a:lnTo>
                  <a:lnTo>
                    <a:pt x="1068" y="900"/>
                  </a:lnTo>
                  <a:lnTo>
                    <a:pt x="1074" y="912"/>
                  </a:lnTo>
                  <a:lnTo>
                    <a:pt x="1074" y="936"/>
                  </a:lnTo>
                  <a:lnTo>
                    <a:pt x="1068" y="942"/>
                  </a:lnTo>
                  <a:lnTo>
                    <a:pt x="1062" y="954"/>
                  </a:lnTo>
                  <a:lnTo>
                    <a:pt x="1056" y="978"/>
                  </a:lnTo>
                  <a:lnTo>
                    <a:pt x="1056" y="996"/>
                  </a:lnTo>
                  <a:lnTo>
                    <a:pt x="1068" y="990"/>
                  </a:lnTo>
                  <a:lnTo>
                    <a:pt x="1074" y="990"/>
                  </a:lnTo>
                  <a:lnTo>
                    <a:pt x="1074" y="1008"/>
                  </a:lnTo>
                  <a:lnTo>
                    <a:pt x="1080" y="1008"/>
                  </a:lnTo>
                  <a:lnTo>
                    <a:pt x="1092" y="1014"/>
                  </a:lnTo>
                  <a:lnTo>
                    <a:pt x="1110" y="1044"/>
                  </a:lnTo>
                  <a:lnTo>
                    <a:pt x="1110" y="1062"/>
                  </a:lnTo>
                  <a:lnTo>
                    <a:pt x="1128" y="1068"/>
                  </a:lnTo>
                  <a:lnTo>
                    <a:pt x="1128" y="1092"/>
                  </a:lnTo>
                  <a:lnTo>
                    <a:pt x="1134" y="1098"/>
                  </a:lnTo>
                  <a:lnTo>
                    <a:pt x="1158" y="1122"/>
                  </a:lnTo>
                  <a:lnTo>
                    <a:pt x="1188" y="1122"/>
                  </a:lnTo>
                  <a:lnTo>
                    <a:pt x="1188" y="1128"/>
                  </a:lnTo>
                  <a:lnTo>
                    <a:pt x="1200" y="1134"/>
                  </a:lnTo>
                  <a:lnTo>
                    <a:pt x="1206" y="1134"/>
                  </a:lnTo>
                  <a:lnTo>
                    <a:pt x="1206" y="1128"/>
                  </a:lnTo>
                  <a:lnTo>
                    <a:pt x="1212" y="1128"/>
                  </a:lnTo>
                  <a:lnTo>
                    <a:pt x="1218" y="1128"/>
                  </a:lnTo>
                  <a:lnTo>
                    <a:pt x="1224" y="1122"/>
                  </a:lnTo>
                  <a:lnTo>
                    <a:pt x="1224" y="1128"/>
                  </a:lnTo>
                  <a:lnTo>
                    <a:pt x="1230" y="1128"/>
                  </a:lnTo>
                  <a:lnTo>
                    <a:pt x="1236" y="1128"/>
                  </a:lnTo>
                  <a:lnTo>
                    <a:pt x="1236" y="1122"/>
                  </a:lnTo>
                  <a:lnTo>
                    <a:pt x="1242" y="1122"/>
                  </a:lnTo>
                  <a:lnTo>
                    <a:pt x="1248" y="1128"/>
                  </a:lnTo>
                  <a:lnTo>
                    <a:pt x="1254" y="1128"/>
                  </a:lnTo>
                  <a:lnTo>
                    <a:pt x="1260" y="1134"/>
                  </a:lnTo>
                  <a:lnTo>
                    <a:pt x="1260" y="1140"/>
                  </a:lnTo>
                  <a:lnTo>
                    <a:pt x="1266" y="1140"/>
                  </a:lnTo>
                  <a:lnTo>
                    <a:pt x="1272" y="1140"/>
                  </a:lnTo>
                  <a:lnTo>
                    <a:pt x="1278" y="1140"/>
                  </a:lnTo>
                  <a:lnTo>
                    <a:pt x="1284" y="1140"/>
                  </a:lnTo>
                  <a:lnTo>
                    <a:pt x="1290" y="1146"/>
                  </a:lnTo>
                  <a:lnTo>
                    <a:pt x="1290" y="1152"/>
                  </a:lnTo>
                  <a:lnTo>
                    <a:pt x="1296" y="1146"/>
                  </a:lnTo>
                  <a:lnTo>
                    <a:pt x="1296" y="1152"/>
                  </a:lnTo>
                  <a:lnTo>
                    <a:pt x="1308" y="1152"/>
                  </a:lnTo>
                  <a:lnTo>
                    <a:pt x="1314" y="1152"/>
                  </a:lnTo>
                  <a:lnTo>
                    <a:pt x="1320" y="1152"/>
                  </a:lnTo>
                  <a:lnTo>
                    <a:pt x="1332" y="1152"/>
                  </a:lnTo>
                  <a:lnTo>
                    <a:pt x="1338" y="1152"/>
                  </a:lnTo>
                  <a:lnTo>
                    <a:pt x="1344" y="1152"/>
                  </a:lnTo>
                  <a:lnTo>
                    <a:pt x="1344" y="1158"/>
                  </a:lnTo>
                  <a:lnTo>
                    <a:pt x="1350" y="1158"/>
                  </a:lnTo>
                  <a:lnTo>
                    <a:pt x="1356" y="1158"/>
                  </a:lnTo>
                  <a:lnTo>
                    <a:pt x="1362" y="1158"/>
                  </a:lnTo>
                  <a:lnTo>
                    <a:pt x="1368" y="1158"/>
                  </a:lnTo>
                  <a:lnTo>
                    <a:pt x="1374" y="1164"/>
                  </a:lnTo>
                  <a:lnTo>
                    <a:pt x="1380" y="1164"/>
                  </a:lnTo>
                  <a:lnTo>
                    <a:pt x="1386" y="1170"/>
                  </a:lnTo>
                  <a:lnTo>
                    <a:pt x="1392" y="1170"/>
                  </a:lnTo>
                  <a:lnTo>
                    <a:pt x="1398" y="1164"/>
                  </a:lnTo>
                  <a:lnTo>
                    <a:pt x="1404" y="1164"/>
                  </a:lnTo>
                  <a:lnTo>
                    <a:pt x="1410" y="1164"/>
                  </a:lnTo>
                  <a:lnTo>
                    <a:pt x="1416" y="1164"/>
                  </a:lnTo>
                  <a:lnTo>
                    <a:pt x="1416" y="1170"/>
                  </a:lnTo>
                  <a:lnTo>
                    <a:pt x="1422" y="1176"/>
                  </a:lnTo>
                  <a:lnTo>
                    <a:pt x="1416" y="1176"/>
                  </a:lnTo>
                  <a:lnTo>
                    <a:pt x="1416" y="1182"/>
                  </a:lnTo>
                  <a:lnTo>
                    <a:pt x="1410" y="1188"/>
                  </a:lnTo>
                  <a:lnTo>
                    <a:pt x="1404" y="1194"/>
                  </a:lnTo>
                  <a:lnTo>
                    <a:pt x="1404" y="1200"/>
                  </a:lnTo>
                  <a:lnTo>
                    <a:pt x="1404" y="1206"/>
                  </a:lnTo>
                  <a:lnTo>
                    <a:pt x="1398" y="1212"/>
                  </a:lnTo>
                  <a:lnTo>
                    <a:pt x="1398" y="1206"/>
                  </a:lnTo>
                  <a:lnTo>
                    <a:pt x="1392" y="1206"/>
                  </a:lnTo>
                  <a:lnTo>
                    <a:pt x="1386" y="1206"/>
                  </a:lnTo>
                  <a:lnTo>
                    <a:pt x="1380" y="1212"/>
                  </a:lnTo>
                  <a:lnTo>
                    <a:pt x="1374" y="1212"/>
                  </a:lnTo>
                  <a:lnTo>
                    <a:pt x="1368" y="1218"/>
                  </a:lnTo>
                  <a:lnTo>
                    <a:pt x="1362" y="1218"/>
                  </a:lnTo>
                  <a:lnTo>
                    <a:pt x="1362" y="1224"/>
                  </a:lnTo>
                  <a:lnTo>
                    <a:pt x="1356" y="1230"/>
                  </a:lnTo>
                  <a:lnTo>
                    <a:pt x="1350" y="1230"/>
                  </a:lnTo>
                  <a:lnTo>
                    <a:pt x="1344" y="1236"/>
                  </a:lnTo>
                  <a:lnTo>
                    <a:pt x="1338" y="1230"/>
                  </a:lnTo>
                  <a:lnTo>
                    <a:pt x="1332" y="1230"/>
                  </a:lnTo>
                  <a:lnTo>
                    <a:pt x="1326" y="1230"/>
                  </a:lnTo>
                  <a:lnTo>
                    <a:pt x="1320" y="1230"/>
                  </a:lnTo>
                  <a:lnTo>
                    <a:pt x="1314" y="1230"/>
                  </a:lnTo>
                  <a:lnTo>
                    <a:pt x="1296" y="1242"/>
                  </a:lnTo>
                  <a:lnTo>
                    <a:pt x="1296" y="1248"/>
                  </a:lnTo>
                  <a:lnTo>
                    <a:pt x="1290" y="1248"/>
                  </a:lnTo>
                  <a:lnTo>
                    <a:pt x="1290" y="1260"/>
                  </a:lnTo>
                  <a:lnTo>
                    <a:pt x="1278" y="1272"/>
                  </a:lnTo>
                  <a:lnTo>
                    <a:pt x="1278" y="1278"/>
                  </a:lnTo>
                  <a:lnTo>
                    <a:pt x="1278" y="1284"/>
                  </a:lnTo>
                  <a:lnTo>
                    <a:pt x="1278" y="1290"/>
                  </a:lnTo>
                  <a:lnTo>
                    <a:pt x="1284" y="1296"/>
                  </a:lnTo>
                  <a:lnTo>
                    <a:pt x="1302" y="1302"/>
                  </a:lnTo>
                  <a:lnTo>
                    <a:pt x="1308" y="1308"/>
                  </a:lnTo>
                  <a:lnTo>
                    <a:pt x="1308" y="1314"/>
                  </a:lnTo>
                  <a:lnTo>
                    <a:pt x="1302" y="1320"/>
                  </a:lnTo>
                  <a:lnTo>
                    <a:pt x="1278" y="1314"/>
                  </a:lnTo>
                  <a:lnTo>
                    <a:pt x="1266" y="1308"/>
                  </a:lnTo>
                  <a:lnTo>
                    <a:pt x="1260" y="1296"/>
                  </a:lnTo>
                  <a:lnTo>
                    <a:pt x="1236" y="1296"/>
                  </a:lnTo>
                  <a:lnTo>
                    <a:pt x="1224" y="1308"/>
                  </a:lnTo>
                  <a:lnTo>
                    <a:pt x="1218" y="1308"/>
                  </a:lnTo>
                  <a:lnTo>
                    <a:pt x="1218" y="1302"/>
                  </a:lnTo>
                  <a:lnTo>
                    <a:pt x="1212" y="1302"/>
                  </a:lnTo>
                  <a:lnTo>
                    <a:pt x="1206" y="1302"/>
                  </a:lnTo>
                  <a:lnTo>
                    <a:pt x="1170" y="1314"/>
                  </a:lnTo>
                  <a:lnTo>
                    <a:pt x="1134" y="1296"/>
                  </a:lnTo>
                  <a:lnTo>
                    <a:pt x="1122" y="1290"/>
                  </a:lnTo>
                  <a:lnTo>
                    <a:pt x="1104" y="1290"/>
                  </a:lnTo>
                  <a:lnTo>
                    <a:pt x="1098" y="1278"/>
                  </a:lnTo>
                  <a:lnTo>
                    <a:pt x="1092" y="1242"/>
                  </a:lnTo>
                  <a:lnTo>
                    <a:pt x="1086" y="1242"/>
                  </a:lnTo>
                  <a:lnTo>
                    <a:pt x="1086" y="1248"/>
                  </a:lnTo>
                  <a:lnTo>
                    <a:pt x="1086" y="1254"/>
                  </a:lnTo>
                  <a:lnTo>
                    <a:pt x="1080" y="1254"/>
                  </a:lnTo>
                  <a:lnTo>
                    <a:pt x="1080" y="1260"/>
                  </a:lnTo>
                  <a:lnTo>
                    <a:pt x="1074" y="1260"/>
                  </a:lnTo>
                  <a:lnTo>
                    <a:pt x="1068" y="1236"/>
                  </a:lnTo>
                  <a:lnTo>
                    <a:pt x="1068" y="1206"/>
                  </a:lnTo>
                  <a:lnTo>
                    <a:pt x="1080" y="1194"/>
                  </a:lnTo>
                  <a:lnTo>
                    <a:pt x="1086" y="1194"/>
                  </a:lnTo>
                  <a:lnTo>
                    <a:pt x="1092" y="1200"/>
                  </a:lnTo>
                  <a:lnTo>
                    <a:pt x="1098" y="1206"/>
                  </a:lnTo>
                  <a:lnTo>
                    <a:pt x="1104" y="1200"/>
                  </a:lnTo>
                  <a:lnTo>
                    <a:pt x="1104" y="1194"/>
                  </a:lnTo>
                  <a:lnTo>
                    <a:pt x="1110" y="1194"/>
                  </a:lnTo>
                  <a:lnTo>
                    <a:pt x="1110" y="1188"/>
                  </a:lnTo>
                  <a:lnTo>
                    <a:pt x="1116" y="1182"/>
                  </a:lnTo>
                  <a:lnTo>
                    <a:pt x="1110" y="1182"/>
                  </a:lnTo>
                  <a:lnTo>
                    <a:pt x="1110" y="1170"/>
                  </a:lnTo>
                  <a:lnTo>
                    <a:pt x="1110" y="1158"/>
                  </a:lnTo>
                  <a:lnTo>
                    <a:pt x="1110" y="1152"/>
                  </a:lnTo>
                  <a:lnTo>
                    <a:pt x="1104" y="1146"/>
                  </a:lnTo>
                  <a:lnTo>
                    <a:pt x="1098" y="1140"/>
                  </a:lnTo>
                  <a:lnTo>
                    <a:pt x="1098" y="1134"/>
                  </a:lnTo>
                  <a:lnTo>
                    <a:pt x="1098" y="1128"/>
                  </a:lnTo>
                  <a:lnTo>
                    <a:pt x="1092" y="1128"/>
                  </a:lnTo>
                  <a:lnTo>
                    <a:pt x="1092" y="1122"/>
                  </a:lnTo>
                  <a:lnTo>
                    <a:pt x="1092" y="1116"/>
                  </a:lnTo>
                  <a:lnTo>
                    <a:pt x="1092" y="1110"/>
                  </a:lnTo>
                  <a:lnTo>
                    <a:pt x="1056" y="1122"/>
                  </a:lnTo>
                  <a:lnTo>
                    <a:pt x="1038" y="1128"/>
                  </a:lnTo>
                  <a:lnTo>
                    <a:pt x="1032" y="1128"/>
                  </a:lnTo>
                  <a:lnTo>
                    <a:pt x="1026" y="1128"/>
                  </a:lnTo>
                  <a:lnTo>
                    <a:pt x="1020" y="1128"/>
                  </a:lnTo>
                  <a:lnTo>
                    <a:pt x="1014" y="1128"/>
                  </a:lnTo>
                  <a:lnTo>
                    <a:pt x="1014" y="1122"/>
                  </a:lnTo>
                  <a:lnTo>
                    <a:pt x="1008" y="1122"/>
                  </a:lnTo>
                  <a:lnTo>
                    <a:pt x="1002" y="1128"/>
                  </a:lnTo>
                  <a:lnTo>
                    <a:pt x="1002" y="1134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84" y="1140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66" y="1140"/>
                  </a:lnTo>
                  <a:lnTo>
                    <a:pt x="954" y="1140"/>
                  </a:lnTo>
                  <a:lnTo>
                    <a:pt x="954" y="1134"/>
                  </a:lnTo>
                  <a:lnTo>
                    <a:pt x="948" y="1134"/>
                  </a:lnTo>
                  <a:lnTo>
                    <a:pt x="942" y="1134"/>
                  </a:lnTo>
                  <a:lnTo>
                    <a:pt x="936" y="1134"/>
                  </a:lnTo>
                  <a:lnTo>
                    <a:pt x="930" y="1134"/>
                  </a:lnTo>
                  <a:lnTo>
                    <a:pt x="924" y="1134"/>
                  </a:lnTo>
                  <a:lnTo>
                    <a:pt x="918" y="1134"/>
                  </a:lnTo>
                  <a:lnTo>
                    <a:pt x="918" y="1128"/>
                  </a:lnTo>
                  <a:lnTo>
                    <a:pt x="918" y="1104"/>
                  </a:lnTo>
                  <a:lnTo>
                    <a:pt x="906" y="1104"/>
                  </a:lnTo>
                  <a:lnTo>
                    <a:pt x="900" y="1098"/>
                  </a:lnTo>
                  <a:lnTo>
                    <a:pt x="900" y="1092"/>
                  </a:lnTo>
                  <a:lnTo>
                    <a:pt x="900" y="1086"/>
                  </a:lnTo>
                  <a:lnTo>
                    <a:pt x="900" y="1080"/>
                  </a:lnTo>
                  <a:lnTo>
                    <a:pt x="894" y="1080"/>
                  </a:lnTo>
                  <a:lnTo>
                    <a:pt x="858" y="1074"/>
                  </a:lnTo>
                  <a:lnTo>
                    <a:pt x="852" y="1080"/>
                  </a:lnTo>
                  <a:lnTo>
                    <a:pt x="846" y="1086"/>
                  </a:lnTo>
                  <a:lnTo>
                    <a:pt x="840" y="1086"/>
                  </a:lnTo>
                  <a:lnTo>
                    <a:pt x="840" y="1092"/>
                  </a:lnTo>
                  <a:lnTo>
                    <a:pt x="834" y="1092"/>
                  </a:lnTo>
                  <a:lnTo>
                    <a:pt x="828" y="1098"/>
                  </a:lnTo>
                  <a:lnTo>
                    <a:pt x="822" y="1098"/>
                  </a:lnTo>
                  <a:lnTo>
                    <a:pt x="762" y="1074"/>
                  </a:lnTo>
                  <a:lnTo>
                    <a:pt x="756" y="1068"/>
                  </a:lnTo>
                  <a:lnTo>
                    <a:pt x="750" y="1068"/>
                  </a:lnTo>
                  <a:lnTo>
                    <a:pt x="744" y="1062"/>
                  </a:lnTo>
                  <a:lnTo>
                    <a:pt x="744" y="1068"/>
                  </a:lnTo>
                  <a:lnTo>
                    <a:pt x="744" y="1074"/>
                  </a:lnTo>
                  <a:lnTo>
                    <a:pt x="738" y="1074"/>
                  </a:lnTo>
                  <a:lnTo>
                    <a:pt x="738" y="1068"/>
                  </a:lnTo>
                  <a:lnTo>
                    <a:pt x="732" y="1068"/>
                  </a:lnTo>
                  <a:lnTo>
                    <a:pt x="726" y="1068"/>
                  </a:lnTo>
                  <a:lnTo>
                    <a:pt x="726" y="1074"/>
                  </a:lnTo>
                  <a:lnTo>
                    <a:pt x="720" y="1074"/>
                  </a:lnTo>
                  <a:lnTo>
                    <a:pt x="684" y="106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5" name="Freeform 40">
              <a:extLst>
                <a:ext uri="{FF2B5EF4-FFF2-40B4-BE49-F238E27FC236}">
                  <a16:creationId xmlns:a16="http://schemas.microsoft.com/office/drawing/2014/main" id="{37EC2F22-BDB9-4162-8FA4-08493F6898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3558" y="1520374"/>
              <a:ext cx="1057717" cy="1252440"/>
            </a:xfrm>
            <a:custGeom>
              <a:avLst/>
              <a:gdLst>
                <a:gd name="T0" fmla="*/ 98 w 1992"/>
                <a:gd name="T1" fmla="*/ 162 h 2358"/>
                <a:gd name="T2" fmla="*/ 93 w 1992"/>
                <a:gd name="T3" fmla="*/ 172 h 2358"/>
                <a:gd name="T4" fmla="*/ 82 w 1992"/>
                <a:gd name="T5" fmla="*/ 179 h 2358"/>
                <a:gd name="T6" fmla="*/ 70 w 1992"/>
                <a:gd name="T7" fmla="*/ 174 h 2358"/>
                <a:gd name="T8" fmla="*/ 62 w 1992"/>
                <a:gd name="T9" fmla="*/ 182 h 2358"/>
                <a:gd name="T10" fmla="*/ 45 w 1992"/>
                <a:gd name="T11" fmla="*/ 189 h 2358"/>
                <a:gd name="T12" fmla="*/ 24 w 1992"/>
                <a:gd name="T13" fmla="*/ 205 h 2358"/>
                <a:gd name="T14" fmla="*/ 17 w 1992"/>
                <a:gd name="T15" fmla="*/ 204 h 2358"/>
                <a:gd name="T16" fmla="*/ 7 w 1992"/>
                <a:gd name="T17" fmla="*/ 197 h 2358"/>
                <a:gd name="T18" fmla="*/ 1 w 1992"/>
                <a:gd name="T19" fmla="*/ 191 h 2358"/>
                <a:gd name="T20" fmla="*/ 4 w 1992"/>
                <a:gd name="T21" fmla="*/ 175 h 2358"/>
                <a:gd name="T22" fmla="*/ 7 w 1992"/>
                <a:gd name="T23" fmla="*/ 172 h 2358"/>
                <a:gd name="T24" fmla="*/ 11 w 1992"/>
                <a:gd name="T25" fmla="*/ 168 h 2358"/>
                <a:gd name="T26" fmla="*/ 5 w 1992"/>
                <a:gd name="T27" fmla="*/ 159 h 2358"/>
                <a:gd name="T28" fmla="*/ 10 w 1992"/>
                <a:gd name="T29" fmla="*/ 156 h 2358"/>
                <a:gd name="T30" fmla="*/ 15 w 1992"/>
                <a:gd name="T31" fmla="*/ 155 h 2358"/>
                <a:gd name="T32" fmla="*/ 24 w 1992"/>
                <a:gd name="T33" fmla="*/ 149 h 2358"/>
                <a:gd name="T34" fmla="*/ 38 w 1992"/>
                <a:gd name="T35" fmla="*/ 127 h 2358"/>
                <a:gd name="T36" fmla="*/ 38 w 1992"/>
                <a:gd name="T37" fmla="*/ 107 h 2358"/>
                <a:gd name="T38" fmla="*/ 45 w 1992"/>
                <a:gd name="T39" fmla="*/ 66 h 2358"/>
                <a:gd name="T40" fmla="*/ 47 w 1992"/>
                <a:gd name="T41" fmla="*/ 36 h 2358"/>
                <a:gd name="T42" fmla="*/ 51 w 1992"/>
                <a:gd name="T43" fmla="*/ 35 h 2358"/>
                <a:gd name="T44" fmla="*/ 55 w 1992"/>
                <a:gd name="T45" fmla="*/ 30 h 2358"/>
                <a:gd name="T46" fmla="*/ 56 w 1992"/>
                <a:gd name="T47" fmla="*/ 27 h 2358"/>
                <a:gd name="T48" fmla="*/ 60 w 1992"/>
                <a:gd name="T49" fmla="*/ 23 h 2358"/>
                <a:gd name="T50" fmla="*/ 63 w 1992"/>
                <a:gd name="T51" fmla="*/ 23 h 2358"/>
                <a:gd name="T52" fmla="*/ 70 w 1992"/>
                <a:gd name="T53" fmla="*/ 18 h 2358"/>
                <a:gd name="T54" fmla="*/ 71 w 1992"/>
                <a:gd name="T55" fmla="*/ 15 h 2358"/>
                <a:gd name="T56" fmla="*/ 72 w 1992"/>
                <a:gd name="T57" fmla="*/ 13 h 2358"/>
                <a:gd name="T58" fmla="*/ 77 w 1992"/>
                <a:gd name="T59" fmla="*/ 12 h 2358"/>
                <a:gd name="T60" fmla="*/ 83 w 1992"/>
                <a:gd name="T61" fmla="*/ 10 h 2358"/>
                <a:gd name="T62" fmla="*/ 87 w 1992"/>
                <a:gd name="T63" fmla="*/ 10 h 2358"/>
                <a:gd name="T64" fmla="*/ 89 w 1992"/>
                <a:gd name="T65" fmla="*/ 10 h 2358"/>
                <a:gd name="T66" fmla="*/ 93 w 1992"/>
                <a:gd name="T67" fmla="*/ 8 h 2358"/>
                <a:gd name="T68" fmla="*/ 95 w 1992"/>
                <a:gd name="T69" fmla="*/ 4 h 2358"/>
                <a:gd name="T70" fmla="*/ 99 w 1992"/>
                <a:gd name="T71" fmla="*/ 0 h 2358"/>
                <a:gd name="T72" fmla="*/ 111 w 1992"/>
                <a:gd name="T73" fmla="*/ 0 h 2358"/>
                <a:gd name="T74" fmla="*/ 121 w 1992"/>
                <a:gd name="T75" fmla="*/ 9 h 2358"/>
                <a:gd name="T76" fmla="*/ 128 w 1992"/>
                <a:gd name="T77" fmla="*/ 19 h 2358"/>
                <a:gd name="T78" fmla="*/ 138 w 1992"/>
                <a:gd name="T79" fmla="*/ 33 h 2358"/>
                <a:gd name="T80" fmla="*/ 142 w 1992"/>
                <a:gd name="T81" fmla="*/ 47 h 2358"/>
                <a:gd name="T82" fmla="*/ 145 w 1992"/>
                <a:gd name="T83" fmla="*/ 62 h 2358"/>
                <a:gd name="T84" fmla="*/ 145 w 1992"/>
                <a:gd name="T85" fmla="*/ 70 h 2358"/>
                <a:gd name="T86" fmla="*/ 147 w 1992"/>
                <a:gd name="T87" fmla="*/ 75 h 2358"/>
                <a:gd name="T88" fmla="*/ 153 w 1992"/>
                <a:gd name="T89" fmla="*/ 75 h 2358"/>
                <a:gd name="T90" fmla="*/ 160 w 1992"/>
                <a:gd name="T91" fmla="*/ 76 h 2358"/>
                <a:gd name="T92" fmla="*/ 164 w 1992"/>
                <a:gd name="T93" fmla="*/ 79 h 2358"/>
                <a:gd name="T94" fmla="*/ 168 w 1992"/>
                <a:gd name="T95" fmla="*/ 83 h 2358"/>
                <a:gd name="T96" fmla="*/ 172 w 1992"/>
                <a:gd name="T97" fmla="*/ 86 h 2358"/>
                <a:gd name="T98" fmla="*/ 170 w 1992"/>
                <a:gd name="T99" fmla="*/ 93 h 2358"/>
                <a:gd name="T100" fmla="*/ 170 w 1992"/>
                <a:gd name="T101" fmla="*/ 99 h 2358"/>
                <a:gd name="T102" fmla="*/ 169 w 1992"/>
                <a:gd name="T103" fmla="*/ 106 h 2358"/>
                <a:gd name="T104" fmla="*/ 166 w 1992"/>
                <a:gd name="T105" fmla="*/ 113 h 2358"/>
                <a:gd name="T106" fmla="*/ 170 w 1992"/>
                <a:gd name="T107" fmla="*/ 122 h 2358"/>
                <a:gd name="T108" fmla="*/ 159 w 1992"/>
                <a:gd name="T109" fmla="*/ 128 h 2358"/>
                <a:gd name="T110" fmla="*/ 148 w 1992"/>
                <a:gd name="T111" fmla="*/ 134 h 2358"/>
                <a:gd name="T112" fmla="*/ 139 w 1992"/>
                <a:gd name="T113" fmla="*/ 136 h 2358"/>
                <a:gd name="T114" fmla="*/ 132 w 1992"/>
                <a:gd name="T115" fmla="*/ 138 h 2358"/>
                <a:gd name="T116" fmla="*/ 128 w 1992"/>
                <a:gd name="T117" fmla="*/ 145 h 2358"/>
                <a:gd name="T118" fmla="*/ 124 w 1992"/>
                <a:gd name="T119" fmla="*/ 150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92"/>
                <a:gd name="T181" fmla="*/ 0 h 2358"/>
                <a:gd name="T182" fmla="*/ 1992 w 1992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92" h="2358">
                  <a:moveTo>
                    <a:pt x="1356" y="1782"/>
                  </a:moveTo>
                  <a:lnTo>
                    <a:pt x="1350" y="1788"/>
                  </a:lnTo>
                  <a:lnTo>
                    <a:pt x="1266" y="1788"/>
                  </a:lnTo>
                  <a:lnTo>
                    <a:pt x="1260" y="1800"/>
                  </a:lnTo>
                  <a:lnTo>
                    <a:pt x="1242" y="1806"/>
                  </a:lnTo>
                  <a:lnTo>
                    <a:pt x="1218" y="1812"/>
                  </a:lnTo>
                  <a:lnTo>
                    <a:pt x="1182" y="1812"/>
                  </a:lnTo>
                  <a:lnTo>
                    <a:pt x="1158" y="1806"/>
                  </a:lnTo>
                  <a:lnTo>
                    <a:pt x="1134" y="1800"/>
                  </a:lnTo>
                  <a:lnTo>
                    <a:pt x="1134" y="1806"/>
                  </a:lnTo>
                  <a:lnTo>
                    <a:pt x="1134" y="1830"/>
                  </a:lnTo>
                  <a:lnTo>
                    <a:pt x="1128" y="1842"/>
                  </a:lnTo>
                  <a:lnTo>
                    <a:pt x="1128" y="1854"/>
                  </a:lnTo>
                  <a:lnTo>
                    <a:pt x="1128" y="1860"/>
                  </a:lnTo>
                  <a:lnTo>
                    <a:pt x="1128" y="1866"/>
                  </a:lnTo>
                  <a:lnTo>
                    <a:pt x="1128" y="1872"/>
                  </a:lnTo>
                  <a:lnTo>
                    <a:pt x="1128" y="1884"/>
                  </a:lnTo>
                  <a:lnTo>
                    <a:pt x="1128" y="1890"/>
                  </a:lnTo>
                  <a:lnTo>
                    <a:pt x="1128" y="1896"/>
                  </a:lnTo>
                  <a:lnTo>
                    <a:pt x="1122" y="1902"/>
                  </a:lnTo>
                  <a:lnTo>
                    <a:pt x="1122" y="1920"/>
                  </a:lnTo>
                  <a:lnTo>
                    <a:pt x="1116" y="1920"/>
                  </a:lnTo>
                  <a:lnTo>
                    <a:pt x="1110" y="1926"/>
                  </a:lnTo>
                  <a:lnTo>
                    <a:pt x="1110" y="1932"/>
                  </a:lnTo>
                  <a:lnTo>
                    <a:pt x="1104" y="1938"/>
                  </a:lnTo>
                  <a:lnTo>
                    <a:pt x="1086" y="1962"/>
                  </a:lnTo>
                  <a:lnTo>
                    <a:pt x="1074" y="1974"/>
                  </a:lnTo>
                  <a:lnTo>
                    <a:pt x="1074" y="1980"/>
                  </a:lnTo>
                  <a:lnTo>
                    <a:pt x="1068" y="1986"/>
                  </a:lnTo>
                  <a:lnTo>
                    <a:pt x="1062" y="1998"/>
                  </a:lnTo>
                  <a:lnTo>
                    <a:pt x="1062" y="2004"/>
                  </a:lnTo>
                  <a:lnTo>
                    <a:pt x="1068" y="2004"/>
                  </a:lnTo>
                  <a:lnTo>
                    <a:pt x="1056" y="2034"/>
                  </a:lnTo>
                  <a:lnTo>
                    <a:pt x="1050" y="2076"/>
                  </a:lnTo>
                  <a:lnTo>
                    <a:pt x="1056" y="2100"/>
                  </a:lnTo>
                  <a:lnTo>
                    <a:pt x="1038" y="2106"/>
                  </a:lnTo>
                  <a:lnTo>
                    <a:pt x="1002" y="2106"/>
                  </a:lnTo>
                  <a:lnTo>
                    <a:pt x="978" y="2094"/>
                  </a:lnTo>
                  <a:lnTo>
                    <a:pt x="972" y="2082"/>
                  </a:lnTo>
                  <a:lnTo>
                    <a:pt x="966" y="2070"/>
                  </a:lnTo>
                  <a:lnTo>
                    <a:pt x="954" y="2064"/>
                  </a:lnTo>
                  <a:lnTo>
                    <a:pt x="942" y="2058"/>
                  </a:lnTo>
                  <a:lnTo>
                    <a:pt x="936" y="2058"/>
                  </a:lnTo>
                  <a:lnTo>
                    <a:pt x="918" y="2046"/>
                  </a:lnTo>
                  <a:lnTo>
                    <a:pt x="906" y="2028"/>
                  </a:lnTo>
                  <a:lnTo>
                    <a:pt x="900" y="2022"/>
                  </a:lnTo>
                  <a:lnTo>
                    <a:pt x="894" y="2022"/>
                  </a:lnTo>
                  <a:lnTo>
                    <a:pt x="882" y="2022"/>
                  </a:lnTo>
                  <a:lnTo>
                    <a:pt x="870" y="2016"/>
                  </a:lnTo>
                  <a:lnTo>
                    <a:pt x="864" y="2016"/>
                  </a:lnTo>
                  <a:lnTo>
                    <a:pt x="852" y="2010"/>
                  </a:lnTo>
                  <a:lnTo>
                    <a:pt x="846" y="2004"/>
                  </a:lnTo>
                  <a:lnTo>
                    <a:pt x="840" y="2004"/>
                  </a:lnTo>
                  <a:lnTo>
                    <a:pt x="828" y="1998"/>
                  </a:lnTo>
                  <a:lnTo>
                    <a:pt x="816" y="1998"/>
                  </a:lnTo>
                  <a:lnTo>
                    <a:pt x="810" y="1998"/>
                  </a:lnTo>
                  <a:lnTo>
                    <a:pt x="804" y="1998"/>
                  </a:lnTo>
                  <a:lnTo>
                    <a:pt x="798" y="1998"/>
                  </a:lnTo>
                  <a:lnTo>
                    <a:pt x="792" y="2004"/>
                  </a:lnTo>
                  <a:lnTo>
                    <a:pt x="786" y="2010"/>
                  </a:lnTo>
                  <a:lnTo>
                    <a:pt x="762" y="2010"/>
                  </a:lnTo>
                  <a:lnTo>
                    <a:pt x="756" y="2010"/>
                  </a:lnTo>
                  <a:lnTo>
                    <a:pt x="744" y="2022"/>
                  </a:lnTo>
                  <a:lnTo>
                    <a:pt x="738" y="2034"/>
                  </a:lnTo>
                  <a:lnTo>
                    <a:pt x="732" y="2040"/>
                  </a:lnTo>
                  <a:lnTo>
                    <a:pt x="732" y="2046"/>
                  </a:lnTo>
                  <a:lnTo>
                    <a:pt x="726" y="2058"/>
                  </a:lnTo>
                  <a:lnTo>
                    <a:pt x="720" y="2064"/>
                  </a:lnTo>
                  <a:lnTo>
                    <a:pt x="714" y="2070"/>
                  </a:lnTo>
                  <a:lnTo>
                    <a:pt x="708" y="2088"/>
                  </a:lnTo>
                  <a:lnTo>
                    <a:pt x="702" y="2100"/>
                  </a:lnTo>
                  <a:lnTo>
                    <a:pt x="690" y="2100"/>
                  </a:lnTo>
                  <a:lnTo>
                    <a:pt x="684" y="2094"/>
                  </a:lnTo>
                  <a:lnTo>
                    <a:pt x="666" y="2100"/>
                  </a:lnTo>
                  <a:lnTo>
                    <a:pt x="636" y="2106"/>
                  </a:lnTo>
                  <a:lnTo>
                    <a:pt x="636" y="2112"/>
                  </a:lnTo>
                  <a:lnTo>
                    <a:pt x="636" y="2118"/>
                  </a:lnTo>
                  <a:lnTo>
                    <a:pt x="636" y="2124"/>
                  </a:lnTo>
                  <a:lnTo>
                    <a:pt x="630" y="2124"/>
                  </a:lnTo>
                  <a:lnTo>
                    <a:pt x="630" y="2148"/>
                  </a:lnTo>
                  <a:lnTo>
                    <a:pt x="612" y="2160"/>
                  </a:lnTo>
                  <a:lnTo>
                    <a:pt x="576" y="2172"/>
                  </a:lnTo>
                  <a:lnTo>
                    <a:pt x="546" y="2172"/>
                  </a:lnTo>
                  <a:lnTo>
                    <a:pt x="516" y="2172"/>
                  </a:lnTo>
                  <a:lnTo>
                    <a:pt x="486" y="2172"/>
                  </a:lnTo>
                  <a:lnTo>
                    <a:pt x="462" y="2172"/>
                  </a:lnTo>
                  <a:lnTo>
                    <a:pt x="444" y="2196"/>
                  </a:lnTo>
                  <a:lnTo>
                    <a:pt x="432" y="2232"/>
                  </a:lnTo>
                  <a:lnTo>
                    <a:pt x="408" y="2238"/>
                  </a:lnTo>
                  <a:lnTo>
                    <a:pt x="390" y="2256"/>
                  </a:lnTo>
                  <a:lnTo>
                    <a:pt x="372" y="2274"/>
                  </a:lnTo>
                  <a:lnTo>
                    <a:pt x="360" y="2274"/>
                  </a:lnTo>
                  <a:lnTo>
                    <a:pt x="336" y="2328"/>
                  </a:lnTo>
                  <a:lnTo>
                    <a:pt x="324" y="2340"/>
                  </a:lnTo>
                  <a:lnTo>
                    <a:pt x="300" y="2346"/>
                  </a:lnTo>
                  <a:lnTo>
                    <a:pt x="294" y="2352"/>
                  </a:lnTo>
                  <a:lnTo>
                    <a:pt x="288" y="2352"/>
                  </a:lnTo>
                  <a:lnTo>
                    <a:pt x="282" y="2352"/>
                  </a:lnTo>
                  <a:lnTo>
                    <a:pt x="276" y="2352"/>
                  </a:lnTo>
                  <a:lnTo>
                    <a:pt x="270" y="2352"/>
                  </a:lnTo>
                  <a:lnTo>
                    <a:pt x="270" y="2346"/>
                  </a:lnTo>
                  <a:lnTo>
                    <a:pt x="264" y="2346"/>
                  </a:lnTo>
                  <a:lnTo>
                    <a:pt x="258" y="2352"/>
                  </a:lnTo>
                  <a:lnTo>
                    <a:pt x="252" y="2352"/>
                  </a:lnTo>
                  <a:lnTo>
                    <a:pt x="240" y="2352"/>
                  </a:lnTo>
                  <a:lnTo>
                    <a:pt x="228" y="2352"/>
                  </a:lnTo>
                  <a:lnTo>
                    <a:pt x="222" y="2352"/>
                  </a:lnTo>
                  <a:lnTo>
                    <a:pt x="216" y="2358"/>
                  </a:lnTo>
                  <a:lnTo>
                    <a:pt x="216" y="2352"/>
                  </a:lnTo>
                  <a:lnTo>
                    <a:pt x="210" y="2346"/>
                  </a:lnTo>
                  <a:lnTo>
                    <a:pt x="204" y="2346"/>
                  </a:lnTo>
                  <a:lnTo>
                    <a:pt x="198" y="2340"/>
                  </a:lnTo>
                  <a:lnTo>
                    <a:pt x="192" y="2340"/>
                  </a:lnTo>
                  <a:lnTo>
                    <a:pt x="186" y="2340"/>
                  </a:lnTo>
                  <a:lnTo>
                    <a:pt x="180" y="2340"/>
                  </a:lnTo>
                  <a:lnTo>
                    <a:pt x="174" y="2340"/>
                  </a:lnTo>
                  <a:lnTo>
                    <a:pt x="162" y="2328"/>
                  </a:lnTo>
                  <a:lnTo>
                    <a:pt x="156" y="2322"/>
                  </a:lnTo>
                  <a:lnTo>
                    <a:pt x="156" y="2316"/>
                  </a:lnTo>
                  <a:lnTo>
                    <a:pt x="156" y="2310"/>
                  </a:lnTo>
                  <a:lnTo>
                    <a:pt x="132" y="2286"/>
                  </a:lnTo>
                  <a:lnTo>
                    <a:pt x="120" y="2280"/>
                  </a:lnTo>
                  <a:lnTo>
                    <a:pt x="96" y="2274"/>
                  </a:lnTo>
                  <a:lnTo>
                    <a:pt x="84" y="2268"/>
                  </a:lnTo>
                  <a:lnTo>
                    <a:pt x="78" y="2268"/>
                  </a:lnTo>
                  <a:lnTo>
                    <a:pt x="78" y="2262"/>
                  </a:lnTo>
                  <a:lnTo>
                    <a:pt x="78" y="2256"/>
                  </a:lnTo>
                  <a:lnTo>
                    <a:pt x="78" y="2250"/>
                  </a:lnTo>
                  <a:lnTo>
                    <a:pt x="72" y="2250"/>
                  </a:lnTo>
                  <a:lnTo>
                    <a:pt x="66" y="2250"/>
                  </a:lnTo>
                  <a:lnTo>
                    <a:pt x="60" y="2250"/>
                  </a:lnTo>
                  <a:lnTo>
                    <a:pt x="48" y="2244"/>
                  </a:lnTo>
                  <a:lnTo>
                    <a:pt x="36" y="2238"/>
                  </a:lnTo>
                  <a:lnTo>
                    <a:pt x="36" y="2226"/>
                  </a:lnTo>
                  <a:lnTo>
                    <a:pt x="30" y="2226"/>
                  </a:lnTo>
                  <a:lnTo>
                    <a:pt x="30" y="2220"/>
                  </a:lnTo>
                  <a:lnTo>
                    <a:pt x="24" y="2208"/>
                  </a:lnTo>
                  <a:lnTo>
                    <a:pt x="18" y="2202"/>
                  </a:lnTo>
                  <a:lnTo>
                    <a:pt x="18" y="2196"/>
                  </a:lnTo>
                  <a:lnTo>
                    <a:pt x="12" y="2190"/>
                  </a:lnTo>
                  <a:lnTo>
                    <a:pt x="0" y="2190"/>
                  </a:lnTo>
                  <a:lnTo>
                    <a:pt x="6" y="2184"/>
                  </a:lnTo>
                  <a:lnTo>
                    <a:pt x="12" y="2178"/>
                  </a:lnTo>
                  <a:lnTo>
                    <a:pt x="18" y="2172"/>
                  </a:lnTo>
                  <a:lnTo>
                    <a:pt x="24" y="2166"/>
                  </a:lnTo>
                  <a:lnTo>
                    <a:pt x="30" y="2166"/>
                  </a:lnTo>
                  <a:lnTo>
                    <a:pt x="24" y="2160"/>
                  </a:lnTo>
                  <a:lnTo>
                    <a:pt x="30" y="2160"/>
                  </a:lnTo>
                  <a:lnTo>
                    <a:pt x="36" y="2154"/>
                  </a:lnTo>
                  <a:lnTo>
                    <a:pt x="36" y="2136"/>
                  </a:lnTo>
                  <a:lnTo>
                    <a:pt x="36" y="2118"/>
                  </a:lnTo>
                  <a:lnTo>
                    <a:pt x="48" y="2058"/>
                  </a:lnTo>
                  <a:lnTo>
                    <a:pt x="48" y="2022"/>
                  </a:lnTo>
                  <a:lnTo>
                    <a:pt x="48" y="2016"/>
                  </a:lnTo>
                  <a:lnTo>
                    <a:pt x="48" y="2010"/>
                  </a:lnTo>
                  <a:lnTo>
                    <a:pt x="48" y="2004"/>
                  </a:lnTo>
                  <a:lnTo>
                    <a:pt x="42" y="2004"/>
                  </a:lnTo>
                  <a:lnTo>
                    <a:pt x="42" y="1998"/>
                  </a:lnTo>
                  <a:lnTo>
                    <a:pt x="36" y="1992"/>
                  </a:lnTo>
                  <a:lnTo>
                    <a:pt x="42" y="1992"/>
                  </a:lnTo>
                  <a:lnTo>
                    <a:pt x="42" y="1986"/>
                  </a:lnTo>
                  <a:lnTo>
                    <a:pt x="48" y="1986"/>
                  </a:lnTo>
                  <a:lnTo>
                    <a:pt x="54" y="1986"/>
                  </a:lnTo>
                  <a:lnTo>
                    <a:pt x="60" y="1986"/>
                  </a:lnTo>
                  <a:lnTo>
                    <a:pt x="66" y="1980"/>
                  </a:lnTo>
                  <a:lnTo>
                    <a:pt x="72" y="1974"/>
                  </a:lnTo>
                  <a:lnTo>
                    <a:pt x="78" y="1974"/>
                  </a:lnTo>
                  <a:lnTo>
                    <a:pt x="84" y="1974"/>
                  </a:lnTo>
                  <a:lnTo>
                    <a:pt x="90" y="1974"/>
                  </a:lnTo>
                  <a:lnTo>
                    <a:pt x="96" y="1974"/>
                  </a:lnTo>
                  <a:lnTo>
                    <a:pt x="96" y="1968"/>
                  </a:lnTo>
                  <a:lnTo>
                    <a:pt x="102" y="1968"/>
                  </a:lnTo>
                  <a:lnTo>
                    <a:pt x="102" y="1962"/>
                  </a:lnTo>
                  <a:lnTo>
                    <a:pt x="108" y="1962"/>
                  </a:lnTo>
                  <a:lnTo>
                    <a:pt x="114" y="1956"/>
                  </a:lnTo>
                  <a:lnTo>
                    <a:pt x="120" y="1956"/>
                  </a:lnTo>
                  <a:lnTo>
                    <a:pt x="126" y="1950"/>
                  </a:lnTo>
                  <a:lnTo>
                    <a:pt x="132" y="1950"/>
                  </a:lnTo>
                  <a:lnTo>
                    <a:pt x="132" y="1944"/>
                  </a:lnTo>
                  <a:lnTo>
                    <a:pt x="126" y="1944"/>
                  </a:lnTo>
                  <a:lnTo>
                    <a:pt x="126" y="1938"/>
                  </a:lnTo>
                  <a:lnTo>
                    <a:pt x="126" y="1932"/>
                  </a:lnTo>
                  <a:lnTo>
                    <a:pt x="126" y="1926"/>
                  </a:lnTo>
                  <a:lnTo>
                    <a:pt x="114" y="1914"/>
                  </a:lnTo>
                  <a:lnTo>
                    <a:pt x="114" y="1896"/>
                  </a:lnTo>
                  <a:lnTo>
                    <a:pt x="108" y="1884"/>
                  </a:lnTo>
                  <a:lnTo>
                    <a:pt x="102" y="1872"/>
                  </a:lnTo>
                  <a:lnTo>
                    <a:pt x="96" y="1866"/>
                  </a:lnTo>
                  <a:lnTo>
                    <a:pt x="96" y="1860"/>
                  </a:lnTo>
                  <a:lnTo>
                    <a:pt x="90" y="1860"/>
                  </a:lnTo>
                  <a:lnTo>
                    <a:pt x="90" y="1854"/>
                  </a:lnTo>
                  <a:lnTo>
                    <a:pt x="84" y="1848"/>
                  </a:lnTo>
                  <a:lnTo>
                    <a:pt x="78" y="1842"/>
                  </a:lnTo>
                  <a:lnTo>
                    <a:pt x="72" y="1836"/>
                  </a:lnTo>
                  <a:lnTo>
                    <a:pt x="66" y="1830"/>
                  </a:lnTo>
                  <a:lnTo>
                    <a:pt x="60" y="1824"/>
                  </a:lnTo>
                  <a:lnTo>
                    <a:pt x="54" y="1824"/>
                  </a:lnTo>
                  <a:lnTo>
                    <a:pt x="48" y="1824"/>
                  </a:lnTo>
                  <a:lnTo>
                    <a:pt x="42" y="1818"/>
                  </a:lnTo>
                  <a:lnTo>
                    <a:pt x="54" y="1818"/>
                  </a:lnTo>
                  <a:lnTo>
                    <a:pt x="60" y="1812"/>
                  </a:lnTo>
                  <a:lnTo>
                    <a:pt x="66" y="1812"/>
                  </a:lnTo>
                  <a:lnTo>
                    <a:pt x="72" y="1812"/>
                  </a:lnTo>
                  <a:lnTo>
                    <a:pt x="78" y="1812"/>
                  </a:lnTo>
                  <a:lnTo>
                    <a:pt x="84" y="1812"/>
                  </a:lnTo>
                  <a:lnTo>
                    <a:pt x="90" y="1806"/>
                  </a:lnTo>
                  <a:lnTo>
                    <a:pt x="96" y="1800"/>
                  </a:lnTo>
                  <a:lnTo>
                    <a:pt x="102" y="1806"/>
                  </a:lnTo>
                  <a:lnTo>
                    <a:pt x="108" y="1800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26" y="1788"/>
                  </a:lnTo>
                  <a:lnTo>
                    <a:pt x="126" y="1794"/>
                  </a:lnTo>
                  <a:lnTo>
                    <a:pt x="132" y="1794"/>
                  </a:lnTo>
                  <a:lnTo>
                    <a:pt x="132" y="1788"/>
                  </a:lnTo>
                  <a:lnTo>
                    <a:pt x="138" y="1788"/>
                  </a:lnTo>
                  <a:lnTo>
                    <a:pt x="138" y="1782"/>
                  </a:lnTo>
                  <a:lnTo>
                    <a:pt x="144" y="1782"/>
                  </a:lnTo>
                  <a:lnTo>
                    <a:pt x="150" y="1776"/>
                  </a:lnTo>
                  <a:lnTo>
                    <a:pt x="156" y="1782"/>
                  </a:lnTo>
                  <a:lnTo>
                    <a:pt x="162" y="1776"/>
                  </a:lnTo>
                  <a:lnTo>
                    <a:pt x="168" y="1776"/>
                  </a:lnTo>
                  <a:lnTo>
                    <a:pt x="180" y="1776"/>
                  </a:lnTo>
                  <a:lnTo>
                    <a:pt x="186" y="1776"/>
                  </a:lnTo>
                  <a:lnTo>
                    <a:pt x="186" y="1782"/>
                  </a:lnTo>
                  <a:lnTo>
                    <a:pt x="192" y="1776"/>
                  </a:lnTo>
                  <a:lnTo>
                    <a:pt x="198" y="1776"/>
                  </a:lnTo>
                  <a:lnTo>
                    <a:pt x="204" y="1770"/>
                  </a:lnTo>
                  <a:lnTo>
                    <a:pt x="204" y="1764"/>
                  </a:lnTo>
                  <a:lnTo>
                    <a:pt x="210" y="1764"/>
                  </a:lnTo>
                  <a:lnTo>
                    <a:pt x="216" y="1764"/>
                  </a:lnTo>
                  <a:lnTo>
                    <a:pt x="216" y="1758"/>
                  </a:lnTo>
                  <a:lnTo>
                    <a:pt x="222" y="1758"/>
                  </a:lnTo>
                  <a:lnTo>
                    <a:pt x="228" y="1758"/>
                  </a:lnTo>
                  <a:lnTo>
                    <a:pt x="258" y="1746"/>
                  </a:lnTo>
                  <a:lnTo>
                    <a:pt x="282" y="1716"/>
                  </a:lnTo>
                  <a:lnTo>
                    <a:pt x="300" y="1698"/>
                  </a:lnTo>
                  <a:lnTo>
                    <a:pt x="312" y="1698"/>
                  </a:lnTo>
                  <a:lnTo>
                    <a:pt x="336" y="1698"/>
                  </a:lnTo>
                  <a:lnTo>
                    <a:pt x="360" y="1698"/>
                  </a:lnTo>
                  <a:lnTo>
                    <a:pt x="372" y="1692"/>
                  </a:lnTo>
                  <a:lnTo>
                    <a:pt x="384" y="1692"/>
                  </a:lnTo>
                  <a:lnTo>
                    <a:pt x="360" y="1668"/>
                  </a:lnTo>
                  <a:lnTo>
                    <a:pt x="348" y="1626"/>
                  </a:lnTo>
                  <a:lnTo>
                    <a:pt x="354" y="1578"/>
                  </a:lnTo>
                  <a:lnTo>
                    <a:pt x="354" y="1572"/>
                  </a:lnTo>
                  <a:lnTo>
                    <a:pt x="360" y="1572"/>
                  </a:lnTo>
                  <a:lnTo>
                    <a:pt x="396" y="1530"/>
                  </a:lnTo>
                  <a:lnTo>
                    <a:pt x="408" y="1482"/>
                  </a:lnTo>
                  <a:lnTo>
                    <a:pt x="438" y="1458"/>
                  </a:lnTo>
                  <a:lnTo>
                    <a:pt x="468" y="1422"/>
                  </a:lnTo>
                  <a:lnTo>
                    <a:pt x="480" y="1410"/>
                  </a:lnTo>
                  <a:lnTo>
                    <a:pt x="474" y="1386"/>
                  </a:lnTo>
                  <a:lnTo>
                    <a:pt x="456" y="1356"/>
                  </a:lnTo>
                  <a:lnTo>
                    <a:pt x="438" y="1350"/>
                  </a:lnTo>
                  <a:lnTo>
                    <a:pt x="420" y="1350"/>
                  </a:lnTo>
                  <a:lnTo>
                    <a:pt x="402" y="1350"/>
                  </a:lnTo>
                  <a:lnTo>
                    <a:pt x="390" y="1344"/>
                  </a:lnTo>
                  <a:lnTo>
                    <a:pt x="390" y="1332"/>
                  </a:lnTo>
                  <a:lnTo>
                    <a:pt x="402" y="1296"/>
                  </a:lnTo>
                  <a:lnTo>
                    <a:pt x="414" y="1260"/>
                  </a:lnTo>
                  <a:lnTo>
                    <a:pt x="426" y="1248"/>
                  </a:lnTo>
                  <a:lnTo>
                    <a:pt x="438" y="1242"/>
                  </a:lnTo>
                  <a:lnTo>
                    <a:pt x="432" y="1230"/>
                  </a:lnTo>
                  <a:lnTo>
                    <a:pt x="432" y="1224"/>
                  </a:lnTo>
                  <a:lnTo>
                    <a:pt x="426" y="1218"/>
                  </a:lnTo>
                  <a:lnTo>
                    <a:pt x="426" y="1206"/>
                  </a:lnTo>
                  <a:lnTo>
                    <a:pt x="426" y="1200"/>
                  </a:lnTo>
                  <a:lnTo>
                    <a:pt x="432" y="1194"/>
                  </a:lnTo>
                  <a:lnTo>
                    <a:pt x="426" y="1188"/>
                  </a:lnTo>
                  <a:lnTo>
                    <a:pt x="432" y="1104"/>
                  </a:lnTo>
                  <a:lnTo>
                    <a:pt x="438" y="1086"/>
                  </a:lnTo>
                  <a:lnTo>
                    <a:pt x="462" y="972"/>
                  </a:lnTo>
                  <a:lnTo>
                    <a:pt x="456" y="900"/>
                  </a:lnTo>
                  <a:lnTo>
                    <a:pt x="444" y="846"/>
                  </a:lnTo>
                  <a:lnTo>
                    <a:pt x="456" y="810"/>
                  </a:lnTo>
                  <a:lnTo>
                    <a:pt x="492" y="786"/>
                  </a:lnTo>
                  <a:lnTo>
                    <a:pt x="522" y="762"/>
                  </a:lnTo>
                  <a:lnTo>
                    <a:pt x="546" y="732"/>
                  </a:lnTo>
                  <a:lnTo>
                    <a:pt x="570" y="696"/>
                  </a:lnTo>
                  <a:lnTo>
                    <a:pt x="582" y="654"/>
                  </a:lnTo>
                  <a:lnTo>
                    <a:pt x="564" y="642"/>
                  </a:lnTo>
                  <a:lnTo>
                    <a:pt x="522" y="588"/>
                  </a:lnTo>
                  <a:lnTo>
                    <a:pt x="516" y="546"/>
                  </a:lnTo>
                  <a:lnTo>
                    <a:pt x="510" y="474"/>
                  </a:lnTo>
                  <a:lnTo>
                    <a:pt x="510" y="450"/>
                  </a:lnTo>
                  <a:lnTo>
                    <a:pt x="510" y="444"/>
                  </a:lnTo>
                  <a:lnTo>
                    <a:pt x="522" y="438"/>
                  </a:lnTo>
                  <a:lnTo>
                    <a:pt x="522" y="432"/>
                  </a:lnTo>
                  <a:lnTo>
                    <a:pt x="528" y="426"/>
                  </a:lnTo>
                  <a:lnTo>
                    <a:pt x="534" y="420"/>
                  </a:lnTo>
                  <a:lnTo>
                    <a:pt x="540" y="414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08"/>
                  </a:lnTo>
                  <a:lnTo>
                    <a:pt x="546" y="408"/>
                  </a:lnTo>
                  <a:lnTo>
                    <a:pt x="558" y="414"/>
                  </a:lnTo>
                  <a:lnTo>
                    <a:pt x="564" y="414"/>
                  </a:lnTo>
                  <a:lnTo>
                    <a:pt x="570" y="414"/>
                  </a:lnTo>
                  <a:lnTo>
                    <a:pt x="582" y="414"/>
                  </a:lnTo>
                  <a:lnTo>
                    <a:pt x="582" y="420"/>
                  </a:lnTo>
                  <a:lnTo>
                    <a:pt x="588" y="414"/>
                  </a:lnTo>
                  <a:lnTo>
                    <a:pt x="582" y="408"/>
                  </a:lnTo>
                  <a:lnTo>
                    <a:pt x="588" y="402"/>
                  </a:lnTo>
                  <a:lnTo>
                    <a:pt x="594" y="402"/>
                  </a:lnTo>
                  <a:lnTo>
                    <a:pt x="594" y="396"/>
                  </a:lnTo>
                  <a:lnTo>
                    <a:pt x="594" y="390"/>
                  </a:lnTo>
                  <a:lnTo>
                    <a:pt x="594" y="384"/>
                  </a:lnTo>
                  <a:lnTo>
                    <a:pt x="594" y="378"/>
                  </a:lnTo>
                  <a:lnTo>
                    <a:pt x="600" y="366"/>
                  </a:lnTo>
                  <a:lnTo>
                    <a:pt x="606" y="366"/>
                  </a:lnTo>
                  <a:lnTo>
                    <a:pt x="612" y="360"/>
                  </a:lnTo>
                  <a:lnTo>
                    <a:pt x="612" y="366"/>
                  </a:lnTo>
                  <a:lnTo>
                    <a:pt x="618" y="366"/>
                  </a:lnTo>
                  <a:lnTo>
                    <a:pt x="624" y="366"/>
                  </a:lnTo>
                  <a:lnTo>
                    <a:pt x="630" y="360"/>
                  </a:lnTo>
                  <a:lnTo>
                    <a:pt x="636" y="354"/>
                  </a:lnTo>
                  <a:lnTo>
                    <a:pt x="630" y="354"/>
                  </a:lnTo>
                  <a:lnTo>
                    <a:pt x="630" y="348"/>
                  </a:lnTo>
                  <a:lnTo>
                    <a:pt x="630" y="342"/>
                  </a:lnTo>
                  <a:lnTo>
                    <a:pt x="636" y="342"/>
                  </a:lnTo>
                  <a:lnTo>
                    <a:pt x="642" y="336"/>
                  </a:lnTo>
                  <a:lnTo>
                    <a:pt x="636" y="330"/>
                  </a:lnTo>
                  <a:lnTo>
                    <a:pt x="630" y="336"/>
                  </a:lnTo>
                  <a:lnTo>
                    <a:pt x="624" y="336"/>
                  </a:lnTo>
                  <a:lnTo>
                    <a:pt x="624" y="330"/>
                  </a:lnTo>
                  <a:lnTo>
                    <a:pt x="624" y="324"/>
                  </a:lnTo>
                  <a:lnTo>
                    <a:pt x="618" y="324"/>
                  </a:lnTo>
                  <a:lnTo>
                    <a:pt x="624" y="324"/>
                  </a:lnTo>
                  <a:lnTo>
                    <a:pt x="630" y="330"/>
                  </a:lnTo>
                  <a:lnTo>
                    <a:pt x="630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2" y="306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8" y="288"/>
                  </a:lnTo>
                  <a:lnTo>
                    <a:pt x="648" y="282"/>
                  </a:lnTo>
                  <a:lnTo>
                    <a:pt x="654" y="288"/>
                  </a:lnTo>
                  <a:lnTo>
                    <a:pt x="654" y="282"/>
                  </a:lnTo>
                  <a:lnTo>
                    <a:pt x="660" y="282"/>
                  </a:lnTo>
                  <a:lnTo>
                    <a:pt x="666" y="282"/>
                  </a:lnTo>
                  <a:lnTo>
                    <a:pt x="672" y="282"/>
                  </a:lnTo>
                  <a:lnTo>
                    <a:pt x="678" y="282"/>
                  </a:lnTo>
                  <a:lnTo>
                    <a:pt x="684" y="276"/>
                  </a:lnTo>
                  <a:lnTo>
                    <a:pt x="690" y="270"/>
                  </a:lnTo>
                  <a:lnTo>
                    <a:pt x="690" y="264"/>
                  </a:lnTo>
                  <a:lnTo>
                    <a:pt x="690" y="270"/>
                  </a:lnTo>
                  <a:lnTo>
                    <a:pt x="690" y="276"/>
                  </a:lnTo>
                  <a:lnTo>
                    <a:pt x="696" y="276"/>
                  </a:lnTo>
                  <a:lnTo>
                    <a:pt x="702" y="276"/>
                  </a:lnTo>
                  <a:lnTo>
                    <a:pt x="702" y="282"/>
                  </a:lnTo>
                  <a:lnTo>
                    <a:pt x="708" y="282"/>
                  </a:lnTo>
                  <a:lnTo>
                    <a:pt x="720" y="270"/>
                  </a:lnTo>
                  <a:lnTo>
                    <a:pt x="720" y="264"/>
                  </a:lnTo>
                  <a:lnTo>
                    <a:pt x="720" y="258"/>
                  </a:lnTo>
                  <a:lnTo>
                    <a:pt x="726" y="258"/>
                  </a:lnTo>
                  <a:lnTo>
                    <a:pt x="732" y="258"/>
                  </a:lnTo>
                  <a:lnTo>
                    <a:pt x="732" y="264"/>
                  </a:lnTo>
                  <a:lnTo>
                    <a:pt x="738" y="264"/>
                  </a:lnTo>
                  <a:lnTo>
                    <a:pt x="738" y="258"/>
                  </a:lnTo>
                  <a:lnTo>
                    <a:pt x="732" y="258"/>
                  </a:lnTo>
                  <a:lnTo>
                    <a:pt x="732" y="252"/>
                  </a:lnTo>
                  <a:lnTo>
                    <a:pt x="744" y="252"/>
                  </a:lnTo>
                  <a:lnTo>
                    <a:pt x="750" y="252"/>
                  </a:lnTo>
                  <a:lnTo>
                    <a:pt x="750" y="246"/>
                  </a:lnTo>
                  <a:lnTo>
                    <a:pt x="750" y="240"/>
                  </a:lnTo>
                  <a:lnTo>
                    <a:pt x="762" y="234"/>
                  </a:lnTo>
                  <a:lnTo>
                    <a:pt x="768" y="234"/>
                  </a:lnTo>
                  <a:lnTo>
                    <a:pt x="774" y="234"/>
                  </a:lnTo>
                  <a:lnTo>
                    <a:pt x="780" y="228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16"/>
                  </a:lnTo>
                  <a:lnTo>
                    <a:pt x="792" y="210"/>
                  </a:lnTo>
                  <a:lnTo>
                    <a:pt x="804" y="204"/>
                  </a:lnTo>
                  <a:lnTo>
                    <a:pt x="804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0" y="192"/>
                  </a:lnTo>
                  <a:lnTo>
                    <a:pt x="798" y="186"/>
                  </a:lnTo>
                  <a:lnTo>
                    <a:pt x="810" y="186"/>
                  </a:lnTo>
                  <a:lnTo>
                    <a:pt x="810" y="180"/>
                  </a:lnTo>
                  <a:lnTo>
                    <a:pt x="810" y="186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0" y="180"/>
                  </a:lnTo>
                  <a:lnTo>
                    <a:pt x="816" y="174"/>
                  </a:lnTo>
                  <a:lnTo>
                    <a:pt x="822" y="174"/>
                  </a:lnTo>
                  <a:lnTo>
                    <a:pt x="822" y="180"/>
                  </a:lnTo>
                  <a:lnTo>
                    <a:pt x="828" y="180"/>
                  </a:lnTo>
                  <a:lnTo>
                    <a:pt x="828" y="174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62"/>
                  </a:lnTo>
                  <a:lnTo>
                    <a:pt x="828" y="156"/>
                  </a:lnTo>
                  <a:lnTo>
                    <a:pt x="822" y="156"/>
                  </a:lnTo>
                  <a:lnTo>
                    <a:pt x="828" y="156"/>
                  </a:lnTo>
                  <a:lnTo>
                    <a:pt x="828" y="150"/>
                  </a:lnTo>
                  <a:lnTo>
                    <a:pt x="834" y="150"/>
                  </a:lnTo>
                  <a:lnTo>
                    <a:pt x="840" y="156"/>
                  </a:lnTo>
                  <a:lnTo>
                    <a:pt x="840" y="150"/>
                  </a:lnTo>
                  <a:lnTo>
                    <a:pt x="834" y="150"/>
                  </a:lnTo>
                  <a:lnTo>
                    <a:pt x="834" y="144"/>
                  </a:lnTo>
                  <a:lnTo>
                    <a:pt x="840" y="138"/>
                  </a:lnTo>
                  <a:lnTo>
                    <a:pt x="846" y="144"/>
                  </a:lnTo>
                  <a:lnTo>
                    <a:pt x="846" y="150"/>
                  </a:lnTo>
                  <a:lnTo>
                    <a:pt x="852" y="150"/>
                  </a:lnTo>
                  <a:lnTo>
                    <a:pt x="858" y="150"/>
                  </a:lnTo>
                  <a:lnTo>
                    <a:pt x="870" y="150"/>
                  </a:lnTo>
                  <a:lnTo>
                    <a:pt x="870" y="144"/>
                  </a:lnTo>
                  <a:lnTo>
                    <a:pt x="876" y="138"/>
                  </a:lnTo>
                  <a:lnTo>
                    <a:pt x="882" y="138"/>
                  </a:lnTo>
                  <a:lnTo>
                    <a:pt x="888" y="132"/>
                  </a:lnTo>
                  <a:lnTo>
                    <a:pt x="888" y="138"/>
                  </a:lnTo>
                  <a:lnTo>
                    <a:pt x="894" y="138"/>
                  </a:lnTo>
                  <a:lnTo>
                    <a:pt x="894" y="132"/>
                  </a:lnTo>
                  <a:lnTo>
                    <a:pt x="900" y="126"/>
                  </a:lnTo>
                  <a:lnTo>
                    <a:pt x="900" y="132"/>
                  </a:lnTo>
                  <a:lnTo>
                    <a:pt x="906" y="132"/>
                  </a:lnTo>
                  <a:lnTo>
                    <a:pt x="912" y="132"/>
                  </a:lnTo>
                  <a:lnTo>
                    <a:pt x="918" y="126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24" y="126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8" y="120"/>
                  </a:lnTo>
                  <a:lnTo>
                    <a:pt x="948" y="114"/>
                  </a:lnTo>
                  <a:lnTo>
                    <a:pt x="948" y="108"/>
                  </a:lnTo>
                  <a:lnTo>
                    <a:pt x="954" y="114"/>
                  </a:lnTo>
                  <a:lnTo>
                    <a:pt x="960" y="108"/>
                  </a:lnTo>
                  <a:lnTo>
                    <a:pt x="966" y="108"/>
                  </a:lnTo>
                  <a:lnTo>
                    <a:pt x="972" y="108"/>
                  </a:lnTo>
                  <a:lnTo>
                    <a:pt x="966" y="114"/>
                  </a:lnTo>
                  <a:lnTo>
                    <a:pt x="960" y="114"/>
                  </a:lnTo>
                  <a:lnTo>
                    <a:pt x="960" y="120"/>
                  </a:lnTo>
                  <a:lnTo>
                    <a:pt x="966" y="126"/>
                  </a:lnTo>
                  <a:lnTo>
                    <a:pt x="972" y="126"/>
                  </a:lnTo>
                  <a:lnTo>
                    <a:pt x="978" y="126"/>
                  </a:lnTo>
                  <a:lnTo>
                    <a:pt x="984" y="120"/>
                  </a:lnTo>
                  <a:lnTo>
                    <a:pt x="984" y="114"/>
                  </a:lnTo>
                  <a:lnTo>
                    <a:pt x="996" y="126"/>
                  </a:lnTo>
                  <a:lnTo>
                    <a:pt x="996" y="120"/>
                  </a:lnTo>
                  <a:lnTo>
                    <a:pt x="1002" y="120"/>
                  </a:lnTo>
                  <a:lnTo>
                    <a:pt x="996" y="114"/>
                  </a:lnTo>
                  <a:lnTo>
                    <a:pt x="1002" y="114"/>
                  </a:lnTo>
                  <a:lnTo>
                    <a:pt x="1008" y="114"/>
                  </a:lnTo>
                  <a:lnTo>
                    <a:pt x="1008" y="108"/>
                  </a:lnTo>
                  <a:lnTo>
                    <a:pt x="1014" y="108"/>
                  </a:lnTo>
                  <a:lnTo>
                    <a:pt x="1008" y="114"/>
                  </a:lnTo>
                  <a:lnTo>
                    <a:pt x="1008" y="120"/>
                  </a:lnTo>
                  <a:lnTo>
                    <a:pt x="1008" y="126"/>
                  </a:lnTo>
                  <a:lnTo>
                    <a:pt x="1014" y="126"/>
                  </a:lnTo>
                  <a:lnTo>
                    <a:pt x="1014" y="132"/>
                  </a:lnTo>
                  <a:lnTo>
                    <a:pt x="1020" y="132"/>
                  </a:lnTo>
                  <a:lnTo>
                    <a:pt x="1020" y="126"/>
                  </a:lnTo>
                  <a:lnTo>
                    <a:pt x="1020" y="120"/>
                  </a:lnTo>
                  <a:lnTo>
                    <a:pt x="1032" y="120"/>
                  </a:lnTo>
                  <a:lnTo>
                    <a:pt x="1038" y="120"/>
                  </a:lnTo>
                  <a:lnTo>
                    <a:pt x="1038" y="126"/>
                  </a:lnTo>
                  <a:lnTo>
                    <a:pt x="1044" y="132"/>
                  </a:lnTo>
                  <a:lnTo>
                    <a:pt x="1044" y="126"/>
                  </a:lnTo>
                  <a:lnTo>
                    <a:pt x="1050" y="120"/>
                  </a:lnTo>
                  <a:lnTo>
                    <a:pt x="1050" y="114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68" y="102"/>
                  </a:lnTo>
                  <a:lnTo>
                    <a:pt x="1074" y="96"/>
                  </a:lnTo>
                  <a:lnTo>
                    <a:pt x="1074" y="90"/>
                  </a:lnTo>
                  <a:lnTo>
                    <a:pt x="1068" y="90"/>
                  </a:lnTo>
                  <a:lnTo>
                    <a:pt x="1068" y="84"/>
                  </a:lnTo>
                  <a:lnTo>
                    <a:pt x="1080" y="84"/>
                  </a:lnTo>
                  <a:lnTo>
                    <a:pt x="1086" y="78"/>
                  </a:lnTo>
                  <a:lnTo>
                    <a:pt x="1086" y="72"/>
                  </a:lnTo>
                  <a:lnTo>
                    <a:pt x="1080" y="78"/>
                  </a:lnTo>
                  <a:lnTo>
                    <a:pt x="1080" y="72"/>
                  </a:lnTo>
                  <a:lnTo>
                    <a:pt x="1080" y="66"/>
                  </a:lnTo>
                  <a:lnTo>
                    <a:pt x="1074" y="66"/>
                  </a:lnTo>
                  <a:lnTo>
                    <a:pt x="1080" y="66"/>
                  </a:lnTo>
                  <a:lnTo>
                    <a:pt x="1080" y="60"/>
                  </a:lnTo>
                  <a:lnTo>
                    <a:pt x="1086" y="60"/>
                  </a:lnTo>
                  <a:lnTo>
                    <a:pt x="1086" y="54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2" y="42"/>
                  </a:lnTo>
                  <a:lnTo>
                    <a:pt x="1098" y="42"/>
                  </a:lnTo>
                  <a:lnTo>
                    <a:pt x="1104" y="36"/>
                  </a:lnTo>
                  <a:lnTo>
                    <a:pt x="1110" y="36"/>
                  </a:lnTo>
                  <a:lnTo>
                    <a:pt x="1110" y="30"/>
                  </a:lnTo>
                  <a:lnTo>
                    <a:pt x="1110" y="24"/>
                  </a:lnTo>
                  <a:lnTo>
                    <a:pt x="1116" y="24"/>
                  </a:lnTo>
                  <a:lnTo>
                    <a:pt x="1116" y="18"/>
                  </a:lnTo>
                  <a:lnTo>
                    <a:pt x="1122" y="18"/>
                  </a:lnTo>
                  <a:lnTo>
                    <a:pt x="1128" y="18"/>
                  </a:lnTo>
                  <a:lnTo>
                    <a:pt x="1134" y="12"/>
                  </a:lnTo>
                  <a:lnTo>
                    <a:pt x="1134" y="6"/>
                  </a:lnTo>
                  <a:lnTo>
                    <a:pt x="1140" y="6"/>
                  </a:lnTo>
                  <a:lnTo>
                    <a:pt x="1146" y="0"/>
                  </a:lnTo>
                  <a:lnTo>
                    <a:pt x="1152" y="0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70" y="0"/>
                  </a:lnTo>
                  <a:lnTo>
                    <a:pt x="1176" y="6"/>
                  </a:lnTo>
                  <a:lnTo>
                    <a:pt x="1182" y="6"/>
                  </a:lnTo>
                  <a:lnTo>
                    <a:pt x="1194" y="6"/>
                  </a:lnTo>
                  <a:lnTo>
                    <a:pt x="1200" y="6"/>
                  </a:lnTo>
                  <a:lnTo>
                    <a:pt x="1212" y="0"/>
                  </a:lnTo>
                  <a:lnTo>
                    <a:pt x="1212" y="6"/>
                  </a:lnTo>
                  <a:lnTo>
                    <a:pt x="1218" y="6"/>
                  </a:lnTo>
                  <a:lnTo>
                    <a:pt x="1266" y="6"/>
                  </a:lnTo>
                  <a:lnTo>
                    <a:pt x="1272" y="0"/>
                  </a:lnTo>
                  <a:lnTo>
                    <a:pt x="1278" y="6"/>
                  </a:lnTo>
                  <a:lnTo>
                    <a:pt x="1290" y="6"/>
                  </a:lnTo>
                  <a:lnTo>
                    <a:pt x="1296" y="6"/>
                  </a:lnTo>
                  <a:lnTo>
                    <a:pt x="1308" y="6"/>
                  </a:lnTo>
                  <a:lnTo>
                    <a:pt x="1314" y="6"/>
                  </a:lnTo>
                  <a:lnTo>
                    <a:pt x="1320" y="6"/>
                  </a:lnTo>
                  <a:lnTo>
                    <a:pt x="1326" y="12"/>
                  </a:lnTo>
                  <a:lnTo>
                    <a:pt x="1338" y="30"/>
                  </a:lnTo>
                  <a:lnTo>
                    <a:pt x="1344" y="36"/>
                  </a:lnTo>
                  <a:lnTo>
                    <a:pt x="1356" y="48"/>
                  </a:lnTo>
                  <a:lnTo>
                    <a:pt x="1362" y="60"/>
                  </a:lnTo>
                  <a:lnTo>
                    <a:pt x="1368" y="66"/>
                  </a:lnTo>
                  <a:lnTo>
                    <a:pt x="1374" y="72"/>
                  </a:lnTo>
                  <a:lnTo>
                    <a:pt x="1374" y="78"/>
                  </a:lnTo>
                  <a:lnTo>
                    <a:pt x="1398" y="108"/>
                  </a:lnTo>
                  <a:lnTo>
                    <a:pt x="1398" y="114"/>
                  </a:lnTo>
                  <a:lnTo>
                    <a:pt x="1404" y="114"/>
                  </a:lnTo>
                  <a:lnTo>
                    <a:pt x="1404" y="120"/>
                  </a:lnTo>
                  <a:lnTo>
                    <a:pt x="1410" y="132"/>
                  </a:lnTo>
                  <a:lnTo>
                    <a:pt x="1416" y="132"/>
                  </a:lnTo>
                  <a:lnTo>
                    <a:pt x="1416" y="138"/>
                  </a:lnTo>
                  <a:lnTo>
                    <a:pt x="1422" y="144"/>
                  </a:lnTo>
                  <a:lnTo>
                    <a:pt x="1428" y="150"/>
                  </a:lnTo>
                  <a:lnTo>
                    <a:pt x="1428" y="156"/>
                  </a:lnTo>
                  <a:lnTo>
                    <a:pt x="1458" y="192"/>
                  </a:lnTo>
                  <a:lnTo>
                    <a:pt x="1458" y="198"/>
                  </a:lnTo>
                  <a:lnTo>
                    <a:pt x="1464" y="204"/>
                  </a:lnTo>
                  <a:lnTo>
                    <a:pt x="1470" y="210"/>
                  </a:lnTo>
                  <a:lnTo>
                    <a:pt x="1476" y="216"/>
                  </a:lnTo>
                  <a:lnTo>
                    <a:pt x="1482" y="228"/>
                  </a:lnTo>
                  <a:lnTo>
                    <a:pt x="1488" y="234"/>
                  </a:lnTo>
                  <a:lnTo>
                    <a:pt x="1512" y="270"/>
                  </a:lnTo>
                  <a:lnTo>
                    <a:pt x="1512" y="276"/>
                  </a:lnTo>
                  <a:lnTo>
                    <a:pt x="1530" y="300"/>
                  </a:lnTo>
                  <a:lnTo>
                    <a:pt x="1536" y="306"/>
                  </a:lnTo>
                  <a:lnTo>
                    <a:pt x="1542" y="312"/>
                  </a:lnTo>
                  <a:lnTo>
                    <a:pt x="1542" y="318"/>
                  </a:lnTo>
                  <a:lnTo>
                    <a:pt x="1560" y="336"/>
                  </a:lnTo>
                  <a:lnTo>
                    <a:pt x="1566" y="348"/>
                  </a:lnTo>
                  <a:lnTo>
                    <a:pt x="1572" y="354"/>
                  </a:lnTo>
                  <a:lnTo>
                    <a:pt x="1578" y="360"/>
                  </a:lnTo>
                  <a:lnTo>
                    <a:pt x="1584" y="378"/>
                  </a:lnTo>
                  <a:lnTo>
                    <a:pt x="1590" y="378"/>
                  </a:lnTo>
                  <a:lnTo>
                    <a:pt x="1596" y="390"/>
                  </a:lnTo>
                  <a:lnTo>
                    <a:pt x="1602" y="396"/>
                  </a:lnTo>
                  <a:lnTo>
                    <a:pt x="1608" y="408"/>
                  </a:lnTo>
                  <a:lnTo>
                    <a:pt x="1614" y="408"/>
                  </a:lnTo>
                  <a:lnTo>
                    <a:pt x="1614" y="432"/>
                  </a:lnTo>
                  <a:lnTo>
                    <a:pt x="1620" y="438"/>
                  </a:lnTo>
                  <a:lnTo>
                    <a:pt x="1620" y="450"/>
                  </a:lnTo>
                  <a:lnTo>
                    <a:pt x="1620" y="462"/>
                  </a:lnTo>
                  <a:lnTo>
                    <a:pt x="1626" y="474"/>
                  </a:lnTo>
                  <a:lnTo>
                    <a:pt x="1626" y="480"/>
                  </a:lnTo>
                  <a:lnTo>
                    <a:pt x="1626" y="486"/>
                  </a:lnTo>
                  <a:lnTo>
                    <a:pt x="1632" y="522"/>
                  </a:lnTo>
                  <a:lnTo>
                    <a:pt x="1632" y="528"/>
                  </a:lnTo>
                  <a:lnTo>
                    <a:pt x="1632" y="534"/>
                  </a:lnTo>
                  <a:lnTo>
                    <a:pt x="1638" y="540"/>
                  </a:lnTo>
                  <a:lnTo>
                    <a:pt x="1638" y="558"/>
                  </a:lnTo>
                  <a:lnTo>
                    <a:pt x="1638" y="570"/>
                  </a:lnTo>
                  <a:lnTo>
                    <a:pt x="1644" y="582"/>
                  </a:lnTo>
                  <a:lnTo>
                    <a:pt x="1650" y="618"/>
                  </a:lnTo>
                  <a:lnTo>
                    <a:pt x="1650" y="624"/>
                  </a:lnTo>
                  <a:lnTo>
                    <a:pt x="1650" y="636"/>
                  </a:lnTo>
                  <a:lnTo>
                    <a:pt x="1656" y="642"/>
                  </a:lnTo>
                  <a:lnTo>
                    <a:pt x="1656" y="648"/>
                  </a:lnTo>
                  <a:lnTo>
                    <a:pt x="1656" y="654"/>
                  </a:lnTo>
                  <a:lnTo>
                    <a:pt x="1656" y="660"/>
                  </a:lnTo>
                  <a:lnTo>
                    <a:pt x="1662" y="696"/>
                  </a:lnTo>
                  <a:lnTo>
                    <a:pt x="1668" y="708"/>
                  </a:lnTo>
                  <a:lnTo>
                    <a:pt x="1668" y="714"/>
                  </a:lnTo>
                  <a:lnTo>
                    <a:pt x="1668" y="732"/>
                  </a:lnTo>
                  <a:lnTo>
                    <a:pt x="1668" y="744"/>
                  </a:lnTo>
                  <a:lnTo>
                    <a:pt x="1674" y="756"/>
                  </a:lnTo>
                  <a:lnTo>
                    <a:pt x="1680" y="762"/>
                  </a:lnTo>
                  <a:lnTo>
                    <a:pt x="1680" y="768"/>
                  </a:lnTo>
                  <a:lnTo>
                    <a:pt x="1680" y="774"/>
                  </a:lnTo>
                  <a:lnTo>
                    <a:pt x="1680" y="780"/>
                  </a:lnTo>
                  <a:lnTo>
                    <a:pt x="1674" y="786"/>
                  </a:lnTo>
                  <a:lnTo>
                    <a:pt x="1668" y="792"/>
                  </a:lnTo>
                  <a:lnTo>
                    <a:pt x="1668" y="798"/>
                  </a:lnTo>
                  <a:lnTo>
                    <a:pt x="1668" y="804"/>
                  </a:lnTo>
                  <a:lnTo>
                    <a:pt x="1674" y="804"/>
                  </a:lnTo>
                  <a:lnTo>
                    <a:pt x="1668" y="810"/>
                  </a:lnTo>
                  <a:lnTo>
                    <a:pt x="1674" y="810"/>
                  </a:lnTo>
                  <a:lnTo>
                    <a:pt x="1680" y="810"/>
                  </a:lnTo>
                  <a:lnTo>
                    <a:pt x="1680" y="816"/>
                  </a:lnTo>
                  <a:lnTo>
                    <a:pt x="1680" y="822"/>
                  </a:lnTo>
                  <a:lnTo>
                    <a:pt x="1674" y="822"/>
                  </a:lnTo>
                  <a:lnTo>
                    <a:pt x="1674" y="828"/>
                  </a:lnTo>
                  <a:lnTo>
                    <a:pt x="1668" y="828"/>
                  </a:lnTo>
                  <a:lnTo>
                    <a:pt x="1674" y="834"/>
                  </a:lnTo>
                  <a:lnTo>
                    <a:pt x="1668" y="834"/>
                  </a:lnTo>
                  <a:lnTo>
                    <a:pt x="1668" y="840"/>
                  </a:lnTo>
                  <a:lnTo>
                    <a:pt x="1674" y="840"/>
                  </a:lnTo>
                  <a:lnTo>
                    <a:pt x="1686" y="852"/>
                  </a:lnTo>
                  <a:lnTo>
                    <a:pt x="1692" y="858"/>
                  </a:lnTo>
                  <a:lnTo>
                    <a:pt x="1698" y="858"/>
                  </a:lnTo>
                  <a:lnTo>
                    <a:pt x="1698" y="864"/>
                  </a:lnTo>
                  <a:lnTo>
                    <a:pt x="1698" y="870"/>
                  </a:lnTo>
                  <a:lnTo>
                    <a:pt x="1704" y="864"/>
                  </a:lnTo>
                  <a:lnTo>
                    <a:pt x="1716" y="864"/>
                  </a:lnTo>
                  <a:lnTo>
                    <a:pt x="1722" y="864"/>
                  </a:lnTo>
                  <a:lnTo>
                    <a:pt x="1728" y="864"/>
                  </a:lnTo>
                  <a:lnTo>
                    <a:pt x="1734" y="864"/>
                  </a:lnTo>
                  <a:lnTo>
                    <a:pt x="1740" y="864"/>
                  </a:lnTo>
                  <a:lnTo>
                    <a:pt x="1746" y="876"/>
                  </a:lnTo>
                  <a:lnTo>
                    <a:pt x="1746" y="870"/>
                  </a:lnTo>
                  <a:lnTo>
                    <a:pt x="1740" y="864"/>
                  </a:lnTo>
                  <a:lnTo>
                    <a:pt x="1746" y="864"/>
                  </a:lnTo>
                  <a:lnTo>
                    <a:pt x="1752" y="870"/>
                  </a:lnTo>
                  <a:lnTo>
                    <a:pt x="1758" y="864"/>
                  </a:lnTo>
                  <a:lnTo>
                    <a:pt x="1764" y="864"/>
                  </a:lnTo>
                  <a:lnTo>
                    <a:pt x="1770" y="858"/>
                  </a:lnTo>
                  <a:lnTo>
                    <a:pt x="1782" y="864"/>
                  </a:lnTo>
                  <a:lnTo>
                    <a:pt x="1782" y="870"/>
                  </a:lnTo>
                  <a:lnTo>
                    <a:pt x="1788" y="864"/>
                  </a:lnTo>
                  <a:lnTo>
                    <a:pt x="1794" y="864"/>
                  </a:lnTo>
                  <a:lnTo>
                    <a:pt x="1800" y="870"/>
                  </a:lnTo>
                  <a:lnTo>
                    <a:pt x="1818" y="864"/>
                  </a:lnTo>
                  <a:lnTo>
                    <a:pt x="1824" y="870"/>
                  </a:lnTo>
                  <a:lnTo>
                    <a:pt x="1830" y="864"/>
                  </a:lnTo>
                  <a:lnTo>
                    <a:pt x="1836" y="864"/>
                  </a:lnTo>
                  <a:lnTo>
                    <a:pt x="1842" y="870"/>
                  </a:lnTo>
                  <a:lnTo>
                    <a:pt x="1842" y="876"/>
                  </a:lnTo>
                  <a:lnTo>
                    <a:pt x="1848" y="876"/>
                  </a:lnTo>
                  <a:lnTo>
                    <a:pt x="1848" y="870"/>
                  </a:lnTo>
                  <a:lnTo>
                    <a:pt x="1854" y="870"/>
                  </a:lnTo>
                  <a:lnTo>
                    <a:pt x="1860" y="870"/>
                  </a:lnTo>
                  <a:lnTo>
                    <a:pt x="1860" y="876"/>
                  </a:lnTo>
                  <a:lnTo>
                    <a:pt x="1866" y="876"/>
                  </a:lnTo>
                  <a:lnTo>
                    <a:pt x="1866" y="882"/>
                  </a:lnTo>
                  <a:lnTo>
                    <a:pt x="1872" y="882"/>
                  </a:lnTo>
                  <a:lnTo>
                    <a:pt x="1878" y="888"/>
                  </a:lnTo>
                  <a:lnTo>
                    <a:pt x="1890" y="888"/>
                  </a:lnTo>
                  <a:lnTo>
                    <a:pt x="1890" y="894"/>
                  </a:lnTo>
                  <a:lnTo>
                    <a:pt x="1890" y="900"/>
                  </a:lnTo>
                  <a:lnTo>
                    <a:pt x="1884" y="900"/>
                  </a:lnTo>
                  <a:lnTo>
                    <a:pt x="1884" y="906"/>
                  </a:lnTo>
                  <a:lnTo>
                    <a:pt x="1884" y="912"/>
                  </a:lnTo>
                  <a:lnTo>
                    <a:pt x="1890" y="912"/>
                  </a:lnTo>
                  <a:lnTo>
                    <a:pt x="1896" y="912"/>
                  </a:lnTo>
                  <a:lnTo>
                    <a:pt x="1902" y="912"/>
                  </a:lnTo>
                  <a:lnTo>
                    <a:pt x="1908" y="918"/>
                  </a:lnTo>
                  <a:lnTo>
                    <a:pt x="1908" y="924"/>
                  </a:lnTo>
                  <a:lnTo>
                    <a:pt x="1908" y="930"/>
                  </a:lnTo>
                  <a:lnTo>
                    <a:pt x="1908" y="936"/>
                  </a:lnTo>
                  <a:lnTo>
                    <a:pt x="1914" y="936"/>
                  </a:lnTo>
                  <a:lnTo>
                    <a:pt x="1914" y="942"/>
                  </a:lnTo>
                  <a:lnTo>
                    <a:pt x="1908" y="948"/>
                  </a:lnTo>
                  <a:lnTo>
                    <a:pt x="1914" y="948"/>
                  </a:lnTo>
                  <a:lnTo>
                    <a:pt x="1920" y="954"/>
                  </a:lnTo>
                  <a:lnTo>
                    <a:pt x="1926" y="954"/>
                  </a:lnTo>
                  <a:lnTo>
                    <a:pt x="1932" y="954"/>
                  </a:lnTo>
                  <a:lnTo>
                    <a:pt x="1938" y="954"/>
                  </a:lnTo>
                  <a:lnTo>
                    <a:pt x="1938" y="960"/>
                  </a:lnTo>
                  <a:lnTo>
                    <a:pt x="1944" y="966"/>
                  </a:lnTo>
                  <a:lnTo>
                    <a:pt x="1944" y="972"/>
                  </a:lnTo>
                  <a:lnTo>
                    <a:pt x="1944" y="978"/>
                  </a:lnTo>
                  <a:lnTo>
                    <a:pt x="1950" y="978"/>
                  </a:lnTo>
                  <a:lnTo>
                    <a:pt x="1950" y="984"/>
                  </a:lnTo>
                  <a:lnTo>
                    <a:pt x="1956" y="984"/>
                  </a:lnTo>
                  <a:lnTo>
                    <a:pt x="1962" y="984"/>
                  </a:lnTo>
                  <a:lnTo>
                    <a:pt x="1962" y="978"/>
                  </a:lnTo>
                  <a:lnTo>
                    <a:pt x="1968" y="978"/>
                  </a:lnTo>
                  <a:lnTo>
                    <a:pt x="1974" y="978"/>
                  </a:lnTo>
                  <a:lnTo>
                    <a:pt x="1980" y="972"/>
                  </a:lnTo>
                  <a:lnTo>
                    <a:pt x="1980" y="978"/>
                  </a:lnTo>
                  <a:lnTo>
                    <a:pt x="1980" y="984"/>
                  </a:lnTo>
                  <a:lnTo>
                    <a:pt x="1986" y="984"/>
                  </a:lnTo>
                  <a:lnTo>
                    <a:pt x="1992" y="990"/>
                  </a:lnTo>
                  <a:lnTo>
                    <a:pt x="1992" y="996"/>
                  </a:lnTo>
                  <a:lnTo>
                    <a:pt x="1992" y="1002"/>
                  </a:lnTo>
                  <a:lnTo>
                    <a:pt x="1974" y="1008"/>
                  </a:lnTo>
                  <a:lnTo>
                    <a:pt x="1974" y="1014"/>
                  </a:lnTo>
                  <a:lnTo>
                    <a:pt x="1974" y="1020"/>
                  </a:lnTo>
                  <a:lnTo>
                    <a:pt x="1974" y="1026"/>
                  </a:lnTo>
                  <a:lnTo>
                    <a:pt x="1968" y="1038"/>
                  </a:lnTo>
                  <a:lnTo>
                    <a:pt x="1968" y="1044"/>
                  </a:lnTo>
                  <a:lnTo>
                    <a:pt x="1974" y="1056"/>
                  </a:lnTo>
                  <a:lnTo>
                    <a:pt x="1968" y="1062"/>
                  </a:lnTo>
                  <a:lnTo>
                    <a:pt x="1962" y="1062"/>
                  </a:lnTo>
                  <a:lnTo>
                    <a:pt x="1956" y="1068"/>
                  </a:lnTo>
                  <a:lnTo>
                    <a:pt x="1956" y="1074"/>
                  </a:lnTo>
                  <a:lnTo>
                    <a:pt x="1956" y="1080"/>
                  </a:lnTo>
                  <a:lnTo>
                    <a:pt x="1956" y="1086"/>
                  </a:lnTo>
                  <a:lnTo>
                    <a:pt x="1956" y="1092"/>
                  </a:lnTo>
                  <a:lnTo>
                    <a:pt x="1962" y="1092"/>
                  </a:lnTo>
                  <a:lnTo>
                    <a:pt x="1962" y="1104"/>
                  </a:lnTo>
                  <a:lnTo>
                    <a:pt x="1968" y="1110"/>
                  </a:lnTo>
                  <a:lnTo>
                    <a:pt x="1968" y="1116"/>
                  </a:lnTo>
                  <a:lnTo>
                    <a:pt x="1974" y="1116"/>
                  </a:lnTo>
                  <a:lnTo>
                    <a:pt x="1974" y="1122"/>
                  </a:lnTo>
                  <a:lnTo>
                    <a:pt x="1980" y="1122"/>
                  </a:lnTo>
                  <a:lnTo>
                    <a:pt x="1974" y="1128"/>
                  </a:lnTo>
                  <a:lnTo>
                    <a:pt x="1968" y="1134"/>
                  </a:lnTo>
                  <a:lnTo>
                    <a:pt x="1962" y="1140"/>
                  </a:lnTo>
                  <a:lnTo>
                    <a:pt x="1962" y="1146"/>
                  </a:lnTo>
                  <a:lnTo>
                    <a:pt x="1968" y="1152"/>
                  </a:lnTo>
                  <a:lnTo>
                    <a:pt x="1968" y="1158"/>
                  </a:lnTo>
                  <a:lnTo>
                    <a:pt x="1962" y="1158"/>
                  </a:lnTo>
                  <a:lnTo>
                    <a:pt x="1962" y="1164"/>
                  </a:lnTo>
                  <a:lnTo>
                    <a:pt x="1956" y="1164"/>
                  </a:lnTo>
                  <a:lnTo>
                    <a:pt x="1956" y="1170"/>
                  </a:lnTo>
                  <a:lnTo>
                    <a:pt x="1944" y="1182"/>
                  </a:lnTo>
                  <a:lnTo>
                    <a:pt x="1944" y="1188"/>
                  </a:lnTo>
                  <a:lnTo>
                    <a:pt x="1950" y="1188"/>
                  </a:lnTo>
                  <a:lnTo>
                    <a:pt x="1944" y="1200"/>
                  </a:lnTo>
                  <a:lnTo>
                    <a:pt x="1944" y="1206"/>
                  </a:lnTo>
                  <a:lnTo>
                    <a:pt x="1944" y="1212"/>
                  </a:lnTo>
                  <a:lnTo>
                    <a:pt x="1944" y="1218"/>
                  </a:lnTo>
                  <a:lnTo>
                    <a:pt x="1944" y="1230"/>
                  </a:lnTo>
                  <a:lnTo>
                    <a:pt x="1944" y="1236"/>
                  </a:lnTo>
                  <a:lnTo>
                    <a:pt x="1944" y="1242"/>
                  </a:lnTo>
                  <a:lnTo>
                    <a:pt x="1938" y="1248"/>
                  </a:lnTo>
                  <a:lnTo>
                    <a:pt x="1938" y="1254"/>
                  </a:lnTo>
                  <a:lnTo>
                    <a:pt x="1932" y="1254"/>
                  </a:lnTo>
                  <a:lnTo>
                    <a:pt x="1926" y="1260"/>
                  </a:lnTo>
                  <a:lnTo>
                    <a:pt x="1920" y="1266"/>
                  </a:lnTo>
                  <a:lnTo>
                    <a:pt x="1914" y="1272"/>
                  </a:lnTo>
                  <a:lnTo>
                    <a:pt x="1908" y="1272"/>
                  </a:lnTo>
                  <a:lnTo>
                    <a:pt x="1908" y="1278"/>
                  </a:lnTo>
                  <a:lnTo>
                    <a:pt x="1914" y="1278"/>
                  </a:lnTo>
                  <a:lnTo>
                    <a:pt x="1914" y="1290"/>
                  </a:lnTo>
                  <a:lnTo>
                    <a:pt x="1920" y="1296"/>
                  </a:lnTo>
                  <a:lnTo>
                    <a:pt x="1938" y="1302"/>
                  </a:lnTo>
                  <a:lnTo>
                    <a:pt x="1944" y="1308"/>
                  </a:lnTo>
                  <a:lnTo>
                    <a:pt x="1950" y="1314"/>
                  </a:lnTo>
                  <a:lnTo>
                    <a:pt x="1956" y="1314"/>
                  </a:lnTo>
                  <a:lnTo>
                    <a:pt x="1962" y="1320"/>
                  </a:lnTo>
                  <a:lnTo>
                    <a:pt x="1962" y="1326"/>
                  </a:lnTo>
                  <a:lnTo>
                    <a:pt x="1968" y="1326"/>
                  </a:lnTo>
                  <a:lnTo>
                    <a:pt x="1968" y="1332"/>
                  </a:lnTo>
                  <a:lnTo>
                    <a:pt x="1968" y="1344"/>
                  </a:lnTo>
                  <a:lnTo>
                    <a:pt x="1968" y="1350"/>
                  </a:lnTo>
                  <a:lnTo>
                    <a:pt x="1968" y="1368"/>
                  </a:lnTo>
                  <a:lnTo>
                    <a:pt x="1962" y="1380"/>
                  </a:lnTo>
                  <a:lnTo>
                    <a:pt x="1968" y="1392"/>
                  </a:lnTo>
                  <a:lnTo>
                    <a:pt x="1962" y="1398"/>
                  </a:lnTo>
                  <a:lnTo>
                    <a:pt x="1956" y="1404"/>
                  </a:lnTo>
                  <a:lnTo>
                    <a:pt x="1950" y="1410"/>
                  </a:lnTo>
                  <a:lnTo>
                    <a:pt x="1944" y="1410"/>
                  </a:lnTo>
                  <a:lnTo>
                    <a:pt x="1932" y="1416"/>
                  </a:lnTo>
                  <a:lnTo>
                    <a:pt x="1926" y="1416"/>
                  </a:lnTo>
                  <a:lnTo>
                    <a:pt x="1896" y="1428"/>
                  </a:lnTo>
                  <a:lnTo>
                    <a:pt x="1884" y="1434"/>
                  </a:lnTo>
                  <a:lnTo>
                    <a:pt x="1878" y="1434"/>
                  </a:lnTo>
                  <a:lnTo>
                    <a:pt x="1866" y="1434"/>
                  </a:lnTo>
                  <a:lnTo>
                    <a:pt x="1854" y="1440"/>
                  </a:lnTo>
                  <a:lnTo>
                    <a:pt x="1848" y="1440"/>
                  </a:lnTo>
                  <a:lnTo>
                    <a:pt x="1842" y="1446"/>
                  </a:lnTo>
                  <a:lnTo>
                    <a:pt x="1842" y="1458"/>
                  </a:lnTo>
                  <a:lnTo>
                    <a:pt x="1836" y="1470"/>
                  </a:lnTo>
                  <a:lnTo>
                    <a:pt x="1830" y="1476"/>
                  </a:lnTo>
                  <a:lnTo>
                    <a:pt x="1824" y="1476"/>
                  </a:lnTo>
                  <a:lnTo>
                    <a:pt x="1806" y="1482"/>
                  </a:lnTo>
                  <a:lnTo>
                    <a:pt x="1800" y="1488"/>
                  </a:lnTo>
                  <a:lnTo>
                    <a:pt x="1794" y="1488"/>
                  </a:lnTo>
                  <a:lnTo>
                    <a:pt x="1788" y="1488"/>
                  </a:lnTo>
                  <a:lnTo>
                    <a:pt x="1776" y="1494"/>
                  </a:lnTo>
                  <a:lnTo>
                    <a:pt x="1764" y="1494"/>
                  </a:lnTo>
                  <a:lnTo>
                    <a:pt x="1758" y="1500"/>
                  </a:lnTo>
                  <a:lnTo>
                    <a:pt x="1746" y="1506"/>
                  </a:lnTo>
                  <a:lnTo>
                    <a:pt x="1728" y="1518"/>
                  </a:lnTo>
                  <a:lnTo>
                    <a:pt x="1716" y="1524"/>
                  </a:lnTo>
                  <a:lnTo>
                    <a:pt x="1710" y="1530"/>
                  </a:lnTo>
                  <a:lnTo>
                    <a:pt x="1704" y="1536"/>
                  </a:lnTo>
                  <a:lnTo>
                    <a:pt x="1698" y="1542"/>
                  </a:lnTo>
                  <a:lnTo>
                    <a:pt x="1692" y="1554"/>
                  </a:lnTo>
                  <a:lnTo>
                    <a:pt x="1686" y="1560"/>
                  </a:lnTo>
                  <a:lnTo>
                    <a:pt x="1680" y="1560"/>
                  </a:lnTo>
                  <a:lnTo>
                    <a:pt x="1674" y="1560"/>
                  </a:lnTo>
                  <a:lnTo>
                    <a:pt x="1656" y="1572"/>
                  </a:lnTo>
                  <a:lnTo>
                    <a:pt x="1650" y="1572"/>
                  </a:lnTo>
                  <a:lnTo>
                    <a:pt x="1644" y="1572"/>
                  </a:lnTo>
                  <a:lnTo>
                    <a:pt x="1638" y="1578"/>
                  </a:lnTo>
                  <a:lnTo>
                    <a:pt x="1632" y="1578"/>
                  </a:lnTo>
                  <a:lnTo>
                    <a:pt x="1626" y="1578"/>
                  </a:lnTo>
                  <a:lnTo>
                    <a:pt x="1620" y="1572"/>
                  </a:lnTo>
                  <a:lnTo>
                    <a:pt x="1614" y="1572"/>
                  </a:lnTo>
                  <a:lnTo>
                    <a:pt x="1608" y="1566"/>
                  </a:lnTo>
                  <a:lnTo>
                    <a:pt x="1602" y="1560"/>
                  </a:lnTo>
                  <a:lnTo>
                    <a:pt x="1596" y="1554"/>
                  </a:lnTo>
                  <a:lnTo>
                    <a:pt x="1590" y="1548"/>
                  </a:lnTo>
                  <a:lnTo>
                    <a:pt x="1578" y="1548"/>
                  </a:lnTo>
                  <a:lnTo>
                    <a:pt x="1572" y="1548"/>
                  </a:lnTo>
                  <a:lnTo>
                    <a:pt x="1566" y="1548"/>
                  </a:lnTo>
                  <a:lnTo>
                    <a:pt x="1554" y="1536"/>
                  </a:lnTo>
                  <a:lnTo>
                    <a:pt x="1548" y="1536"/>
                  </a:lnTo>
                  <a:lnTo>
                    <a:pt x="1542" y="1542"/>
                  </a:lnTo>
                  <a:lnTo>
                    <a:pt x="1536" y="1548"/>
                  </a:lnTo>
                  <a:lnTo>
                    <a:pt x="1536" y="1566"/>
                  </a:lnTo>
                  <a:lnTo>
                    <a:pt x="1530" y="1572"/>
                  </a:lnTo>
                  <a:lnTo>
                    <a:pt x="1524" y="1578"/>
                  </a:lnTo>
                  <a:lnTo>
                    <a:pt x="1518" y="1584"/>
                  </a:lnTo>
                  <a:lnTo>
                    <a:pt x="1512" y="1596"/>
                  </a:lnTo>
                  <a:lnTo>
                    <a:pt x="1506" y="1602"/>
                  </a:lnTo>
                  <a:lnTo>
                    <a:pt x="1506" y="1608"/>
                  </a:lnTo>
                  <a:lnTo>
                    <a:pt x="1506" y="1614"/>
                  </a:lnTo>
                  <a:lnTo>
                    <a:pt x="1500" y="1614"/>
                  </a:lnTo>
                  <a:lnTo>
                    <a:pt x="1500" y="1620"/>
                  </a:lnTo>
                  <a:lnTo>
                    <a:pt x="1500" y="1626"/>
                  </a:lnTo>
                  <a:lnTo>
                    <a:pt x="1494" y="1632"/>
                  </a:lnTo>
                  <a:lnTo>
                    <a:pt x="1488" y="1638"/>
                  </a:lnTo>
                  <a:lnTo>
                    <a:pt x="1482" y="1638"/>
                  </a:lnTo>
                  <a:lnTo>
                    <a:pt x="1482" y="1644"/>
                  </a:lnTo>
                  <a:lnTo>
                    <a:pt x="1482" y="1650"/>
                  </a:lnTo>
                  <a:lnTo>
                    <a:pt x="1482" y="1656"/>
                  </a:lnTo>
                  <a:lnTo>
                    <a:pt x="1476" y="1662"/>
                  </a:lnTo>
                  <a:lnTo>
                    <a:pt x="1470" y="1668"/>
                  </a:lnTo>
                  <a:lnTo>
                    <a:pt x="1464" y="1674"/>
                  </a:lnTo>
                  <a:lnTo>
                    <a:pt x="1464" y="1680"/>
                  </a:lnTo>
                  <a:lnTo>
                    <a:pt x="1458" y="1680"/>
                  </a:lnTo>
                  <a:lnTo>
                    <a:pt x="1452" y="1686"/>
                  </a:lnTo>
                  <a:lnTo>
                    <a:pt x="1446" y="1686"/>
                  </a:lnTo>
                  <a:lnTo>
                    <a:pt x="1440" y="1698"/>
                  </a:lnTo>
                  <a:lnTo>
                    <a:pt x="1440" y="1704"/>
                  </a:lnTo>
                  <a:lnTo>
                    <a:pt x="1434" y="1710"/>
                  </a:lnTo>
                  <a:lnTo>
                    <a:pt x="1434" y="1716"/>
                  </a:lnTo>
                  <a:lnTo>
                    <a:pt x="1428" y="1716"/>
                  </a:lnTo>
                  <a:lnTo>
                    <a:pt x="1428" y="1722"/>
                  </a:lnTo>
                  <a:lnTo>
                    <a:pt x="1428" y="1728"/>
                  </a:lnTo>
                  <a:lnTo>
                    <a:pt x="1422" y="1728"/>
                  </a:lnTo>
                  <a:lnTo>
                    <a:pt x="1422" y="1734"/>
                  </a:lnTo>
                  <a:lnTo>
                    <a:pt x="1416" y="1734"/>
                  </a:lnTo>
                  <a:lnTo>
                    <a:pt x="1410" y="1734"/>
                  </a:lnTo>
                  <a:lnTo>
                    <a:pt x="1392" y="1746"/>
                  </a:lnTo>
                  <a:lnTo>
                    <a:pt x="1386" y="1746"/>
                  </a:lnTo>
                  <a:lnTo>
                    <a:pt x="1368" y="1752"/>
                  </a:lnTo>
                  <a:lnTo>
                    <a:pt x="1362" y="1758"/>
                  </a:lnTo>
                  <a:lnTo>
                    <a:pt x="1362" y="1770"/>
                  </a:lnTo>
                  <a:lnTo>
                    <a:pt x="1356" y="178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pic>
        <p:nvPicPr>
          <p:cNvPr id="23609" name="Picture 13">
            <a:extLst>
              <a:ext uri="{FF2B5EF4-FFF2-40B4-BE49-F238E27FC236}">
                <a16:creationId xmlns:a16="http://schemas.microsoft.com/office/drawing/2014/main" id="{952964D5-F0ED-4CAE-B71C-DB4A723FA5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0" y="3006725"/>
            <a:ext cx="1116013" cy="155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9" name="TextBox 378">
            <a:extLst>
              <a:ext uri="{FF2B5EF4-FFF2-40B4-BE49-F238E27FC236}">
                <a16:creationId xmlns:a16="http://schemas.microsoft.com/office/drawing/2014/main" id="{1B3FD4BF-4685-4C74-821F-10048D6246BF}"/>
              </a:ext>
            </a:extLst>
          </p:cNvPr>
          <p:cNvSpPr txBox="1"/>
          <p:nvPr/>
        </p:nvSpPr>
        <p:spPr>
          <a:xfrm>
            <a:off x="6124575" y="957263"/>
            <a:ext cx="3475038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Competitive Advantages</a:t>
            </a: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455FE7A1-ADE5-4F7B-A489-00196671A53E}"/>
              </a:ext>
            </a:extLst>
          </p:cNvPr>
          <p:cNvSpPr/>
          <p:nvPr/>
        </p:nvSpPr>
        <p:spPr>
          <a:xfrm>
            <a:off x="4267248" y="1187511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dbl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N</a:t>
            </a:r>
            <a:r>
              <a:rPr kumimoji="0" lang="en-US" sz="1600" b="0" i="0" u="none" strike="no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6.5bn/$21.3m</a:t>
            </a:r>
            <a:endParaRPr kumimoji="0" lang="en-MY" sz="1600" b="0" i="0" u="none" strike="noStrike" kern="1200" cap="none" spc="-15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EBB25788-D073-4A78-9D6C-DF3836CFFFBB}"/>
              </a:ext>
            </a:extLst>
          </p:cNvPr>
          <p:cNvSpPr txBox="1"/>
          <p:nvPr/>
        </p:nvSpPr>
        <p:spPr>
          <a:xfrm>
            <a:off x="4267200" y="955675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IGR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 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(2017)</a:t>
            </a: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6F07DF39-553B-44F0-8864-1F897C2BD79A}"/>
              </a:ext>
            </a:extLst>
          </p:cNvPr>
          <p:cNvSpPr/>
          <p:nvPr/>
        </p:nvSpPr>
        <p:spPr>
          <a:xfrm>
            <a:off x="4267252" y="1809750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dbl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N</a:t>
            </a:r>
            <a:r>
              <a:rPr kumimoji="0" lang="en-US" sz="1600" b="0" i="0" u="none" strike="no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173bn/$567.2bn</a:t>
            </a:r>
            <a:endParaRPr kumimoji="0" lang="en-MY" sz="1600" b="0" i="0" u="none" strike="noStrike" kern="1200" cap="none" spc="-15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2508695A-2D2C-45A3-80FE-9C2CB18200C2}"/>
              </a:ext>
            </a:extLst>
          </p:cNvPr>
          <p:cNvSpPr txBox="1"/>
          <p:nvPr/>
        </p:nvSpPr>
        <p:spPr>
          <a:xfrm>
            <a:off x="4267200" y="1576388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Budget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 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(2018)</a:t>
            </a: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86A33ABE-3AE3-40A7-A6A6-1B757A6A9B0F}"/>
              </a:ext>
            </a:extLst>
          </p:cNvPr>
          <p:cNvSpPr/>
          <p:nvPr/>
        </p:nvSpPr>
        <p:spPr>
          <a:xfrm>
            <a:off x="4256076" y="2667155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dbl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N</a:t>
            </a:r>
            <a:r>
              <a:rPr kumimoji="0" lang="en-US" sz="1600" b="0" i="0" u="none" strike="noStrike" kern="1200" cap="none" spc="-15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2.1tn /$6.9m</a:t>
            </a:r>
            <a:endParaRPr kumimoji="0" lang="en-MY" sz="1600" b="0" i="0" u="none" strike="noStrike" kern="1200" cap="none" spc="-15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1E919764-A18B-4532-A533-A84A31D7FEFE}"/>
              </a:ext>
            </a:extLst>
          </p:cNvPr>
          <p:cNvSpPr txBox="1"/>
          <p:nvPr/>
        </p:nvSpPr>
        <p:spPr>
          <a:xfrm>
            <a:off x="4256088" y="2185988"/>
            <a:ext cx="1811337" cy="50641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Househol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Consumption 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(2017)</a:t>
            </a:r>
          </a:p>
        </p:txBody>
      </p:sp>
      <p:sp>
        <p:nvSpPr>
          <p:cNvPr id="96" name="Plaque 95">
            <a:extLst>
              <a:ext uri="{FF2B5EF4-FFF2-40B4-BE49-F238E27FC236}">
                <a16:creationId xmlns:a16="http://schemas.microsoft.com/office/drawing/2014/main" id="{E3BE1182-17B4-4194-8641-F1EA2CCBB757}"/>
              </a:ext>
            </a:extLst>
          </p:cNvPr>
          <p:cNvSpPr/>
          <p:nvPr/>
        </p:nvSpPr>
        <p:spPr>
          <a:xfrm>
            <a:off x="5656263" y="2805113"/>
            <a:ext cx="411162" cy="153987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9 of 36</a:t>
            </a:r>
          </a:p>
        </p:txBody>
      </p:sp>
      <p:sp>
        <p:nvSpPr>
          <p:cNvPr id="99" name="Plaque 98">
            <a:extLst>
              <a:ext uri="{FF2B5EF4-FFF2-40B4-BE49-F238E27FC236}">
                <a16:creationId xmlns:a16="http://schemas.microsoft.com/office/drawing/2014/main" id="{8620E393-1C52-4CE1-9888-20922FA6DFEA}"/>
              </a:ext>
            </a:extLst>
          </p:cNvPr>
          <p:cNvSpPr/>
          <p:nvPr/>
        </p:nvSpPr>
        <p:spPr>
          <a:xfrm>
            <a:off x="5638800" y="1964234"/>
            <a:ext cx="428625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0 of 36</a:t>
            </a:r>
          </a:p>
        </p:txBody>
      </p:sp>
      <p:sp>
        <p:nvSpPr>
          <p:cNvPr id="100" name="Plaque 99">
            <a:extLst>
              <a:ext uri="{FF2B5EF4-FFF2-40B4-BE49-F238E27FC236}">
                <a16:creationId xmlns:a16="http://schemas.microsoft.com/office/drawing/2014/main" id="{3BFA6D28-9A42-4459-8BF1-090CE1B45216}"/>
              </a:ext>
            </a:extLst>
          </p:cNvPr>
          <p:cNvSpPr/>
          <p:nvPr/>
        </p:nvSpPr>
        <p:spPr>
          <a:xfrm>
            <a:off x="5638800" y="1333500"/>
            <a:ext cx="430213" cy="1539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4 of 36</a:t>
            </a:r>
          </a:p>
        </p:txBody>
      </p:sp>
      <p:sp>
        <p:nvSpPr>
          <p:cNvPr id="101" name="Pentagon 19">
            <a:extLst>
              <a:ext uri="{FF2B5EF4-FFF2-40B4-BE49-F238E27FC236}">
                <a16:creationId xmlns:a16="http://schemas.microsoft.com/office/drawing/2014/main" id="{CCD74FA4-19D0-4356-90C9-B3B49BCC3F54}"/>
              </a:ext>
            </a:extLst>
          </p:cNvPr>
          <p:cNvSpPr>
            <a:spLocks/>
          </p:cNvSpPr>
          <p:nvPr/>
        </p:nvSpPr>
        <p:spPr bwMode="auto">
          <a:xfrm>
            <a:off x="688340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35 of 37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12EE735-1E43-4799-A46A-5D0787F375CE}"/>
              </a:ext>
            </a:extLst>
          </p:cNvPr>
          <p:cNvSpPr/>
          <p:nvPr/>
        </p:nvSpPr>
        <p:spPr>
          <a:xfrm>
            <a:off x="6880225" y="5726113"/>
            <a:ext cx="642938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rting a Business</a:t>
            </a:r>
          </a:p>
        </p:txBody>
      </p:sp>
      <p:pic>
        <p:nvPicPr>
          <p:cNvPr id="23622" name="Picture 3">
            <a:extLst>
              <a:ext uri="{FF2B5EF4-FFF2-40B4-BE49-F238E27FC236}">
                <a16:creationId xmlns:a16="http://schemas.microsoft.com/office/drawing/2014/main" id="{53FAD0C6-8FFE-437B-B7E4-F2A938D3BE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350" y="5249863"/>
            <a:ext cx="41910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23" name="Freeform 15">
            <a:extLst>
              <a:ext uri="{FF2B5EF4-FFF2-40B4-BE49-F238E27FC236}">
                <a16:creationId xmlns:a16="http://schemas.microsoft.com/office/drawing/2014/main" id="{183A3C8B-011E-4D99-9165-3FF03A2D3207}"/>
              </a:ext>
            </a:extLst>
          </p:cNvPr>
          <p:cNvSpPr>
            <a:spLocks noEditPoints="1"/>
          </p:cNvSpPr>
          <p:nvPr/>
        </p:nvSpPr>
        <p:spPr bwMode="auto">
          <a:xfrm>
            <a:off x="9093200" y="5257800"/>
            <a:ext cx="276225" cy="347663"/>
          </a:xfrm>
          <a:custGeom>
            <a:avLst/>
            <a:gdLst>
              <a:gd name="T0" fmla="*/ 2147483646 w 3556"/>
              <a:gd name="T1" fmla="*/ 2147483646 h 3950"/>
              <a:gd name="T2" fmla="*/ 2147483646 w 3556"/>
              <a:gd name="T3" fmla="*/ 2147483646 h 3950"/>
              <a:gd name="T4" fmla="*/ 2147483646 w 3556"/>
              <a:gd name="T5" fmla="*/ 2147483646 h 3950"/>
              <a:gd name="T6" fmla="*/ 2147483646 w 3556"/>
              <a:gd name="T7" fmla="*/ 2147483646 h 3950"/>
              <a:gd name="T8" fmla="*/ 2147483646 w 3556"/>
              <a:gd name="T9" fmla="*/ 2147483646 h 3950"/>
              <a:gd name="T10" fmla="*/ 2147483646 w 3556"/>
              <a:gd name="T11" fmla="*/ 2147483646 h 3950"/>
              <a:gd name="T12" fmla="*/ 2147483646 w 3556"/>
              <a:gd name="T13" fmla="*/ 2147483646 h 3950"/>
              <a:gd name="T14" fmla="*/ 2147483646 w 3556"/>
              <a:gd name="T15" fmla="*/ 2147483646 h 3950"/>
              <a:gd name="T16" fmla="*/ 2147483646 w 3556"/>
              <a:gd name="T17" fmla="*/ 2147483646 h 3950"/>
              <a:gd name="T18" fmla="*/ 2147483646 w 3556"/>
              <a:gd name="T19" fmla="*/ 2147483646 h 3950"/>
              <a:gd name="T20" fmla="*/ 2147483646 w 3556"/>
              <a:gd name="T21" fmla="*/ 2147483646 h 3950"/>
              <a:gd name="T22" fmla="*/ 0 w 3556"/>
              <a:gd name="T23" fmla="*/ 2147483646 h 3950"/>
              <a:gd name="T24" fmla="*/ 2147483646 w 3556"/>
              <a:gd name="T25" fmla="*/ 2147483646 h 3950"/>
              <a:gd name="T26" fmla="*/ 2147483646 w 3556"/>
              <a:gd name="T27" fmla="*/ 2147483646 h 3950"/>
              <a:gd name="T28" fmla="*/ 2147483646 w 3556"/>
              <a:gd name="T29" fmla="*/ 2147483646 h 3950"/>
              <a:gd name="T30" fmla="*/ 2147483646 w 3556"/>
              <a:gd name="T31" fmla="*/ 2147483646 h 3950"/>
              <a:gd name="T32" fmla="*/ 2147483646 w 3556"/>
              <a:gd name="T33" fmla="*/ 2147483646 h 3950"/>
              <a:gd name="T34" fmla="*/ 2147483646 w 3556"/>
              <a:gd name="T35" fmla="*/ 2147483646 h 3950"/>
              <a:gd name="T36" fmla="*/ 2147483646 w 3556"/>
              <a:gd name="T37" fmla="*/ 2147483646 h 3950"/>
              <a:gd name="T38" fmla="*/ 2147483646 w 3556"/>
              <a:gd name="T39" fmla="*/ 2147483646 h 3950"/>
              <a:gd name="T40" fmla="*/ 2147483646 w 3556"/>
              <a:gd name="T41" fmla="*/ 2147483646 h 3950"/>
              <a:gd name="T42" fmla="*/ 2147483646 w 3556"/>
              <a:gd name="T43" fmla="*/ 2147483646 h 3950"/>
              <a:gd name="T44" fmla="*/ 2147483646 w 3556"/>
              <a:gd name="T45" fmla="*/ 2147483646 h 3950"/>
              <a:gd name="T46" fmla="*/ 2147483646 w 3556"/>
              <a:gd name="T47" fmla="*/ 2147483646 h 3950"/>
              <a:gd name="T48" fmla="*/ 2147483646 w 3556"/>
              <a:gd name="T49" fmla="*/ 2147483646 h 3950"/>
              <a:gd name="T50" fmla="*/ 2147483646 w 3556"/>
              <a:gd name="T51" fmla="*/ 2147483646 h 3950"/>
              <a:gd name="T52" fmla="*/ 2147483646 w 3556"/>
              <a:gd name="T53" fmla="*/ 2147483646 h 3950"/>
              <a:gd name="T54" fmla="*/ 2147483646 w 3556"/>
              <a:gd name="T55" fmla="*/ 2147483646 h 3950"/>
              <a:gd name="T56" fmla="*/ 2147483646 w 3556"/>
              <a:gd name="T57" fmla="*/ 2147483646 h 3950"/>
              <a:gd name="T58" fmla="*/ 2147483646 w 3556"/>
              <a:gd name="T59" fmla="*/ 2147483646 h 3950"/>
              <a:gd name="T60" fmla="*/ 2147483646 w 3556"/>
              <a:gd name="T61" fmla="*/ 2147483646 h 3950"/>
              <a:gd name="T62" fmla="*/ 2147483646 w 3556"/>
              <a:gd name="T63" fmla="*/ 2147483646 h 3950"/>
              <a:gd name="T64" fmla="*/ 2147483646 w 3556"/>
              <a:gd name="T65" fmla="*/ 2147483646 h 3950"/>
              <a:gd name="T66" fmla="*/ 2147483646 w 3556"/>
              <a:gd name="T67" fmla="*/ 2147483646 h 3950"/>
              <a:gd name="T68" fmla="*/ 2147483646 w 3556"/>
              <a:gd name="T69" fmla="*/ 2147483646 h 3950"/>
              <a:gd name="T70" fmla="*/ 2147483646 w 3556"/>
              <a:gd name="T71" fmla="*/ 2147483646 h 3950"/>
              <a:gd name="T72" fmla="*/ 2147483646 w 3556"/>
              <a:gd name="T73" fmla="*/ 2147483646 h 3950"/>
              <a:gd name="T74" fmla="*/ 2147483646 w 3556"/>
              <a:gd name="T75" fmla="*/ 2147483646 h 3950"/>
              <a:gd name="T76" fmla="*/ 2147483646 w 3556"/>
              <a:gd name="T77" fmla="*/ 2147483646 h 3950"/>
              <a:gd name="T78" fmla="*/ 2147483646 w 3556"/>
              <a:gd name="T79" fmla="*/ 2147483646 h 3950"/>
              <a:gd name="T80" fmla="*/ 2147483646 w 3556"/>
              <a:gd name="T81" fmla="*/ 0 h 3950"/>
              <a:gd name="T82" fmla="*/ 2147483646 w 3556"/>
              <a:gd name="T83" fmla="*/ 2147483646 h 3950"/>
              <a:gd name="T84" fmla="*/ 2147483646 w 3556"/>
              <a:gd name="T85" fmla="*/ 2147483646 h 3950"/>
              <a:gd name="T86" fmla="*/ 2147483646 w 3556"/>
              <a:gd name="T87" fmla="*/ 2147483646 h 395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556"/>
              <a:gd name="T133" fmla="*/ 0 h 3950"/>
              <a:gd name="T134" fmla="*/ 3556 w 3556"/>
              <a:gd name="T135" fmla="*/ 3950 h 395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556" h="3950">
                <a:moveTo>
                  <a:pt x="909" y="3917"/>
                </a:moveTo>
                <a:cubicBezTo>
                  <a:pt x="824" y="3832"/>
                  <a:pt x="894" y="3725"/>
                  <a:pt x="1036" y="3725"/>
                </a:cubicBezTo>
                <a:cubicBezTo>
                  <a:pt x="1119" y="3725"/>
                  <a:pt x="1129" y="3717"/>
                  <a:pt x="1129" y="3645"/>
                </a:cubicBezTo>
                <a:cubicBezTo>
                  <a:pt x="1129" y="3472"/>
                  <a:pt x="1135" y="3471"/>
                  <a:pt x="2192" y="3471"/>
                </a:cubicBezTo>
                <a:cubicBezTo>
                  <a:pt x="3086" y="3471"/>
                  <a:pt x="3155" y="3475"/>
                  <a:pt x="3199" y="3523"/>
                </a:cubicBezTo>
                <a:cubicBezTo>
                  <a:pt x="3225" y="3551"/>
                  <a:pt x="3246" y="3608"/>
                  <a:pt x="3246" y="3648"/>
                </a:cubicBezTo>
                <a:cubicBezTo>
                  <a:pt x="3246" y="3712"/>
                  <a:pt x="3259" y="3723"/>
                  <a:pt x="3349" y="3730"/>
                </a:cubicBezTo>
                <a:cubicBezTo>
                  <a:pt x="3470" y="3741"/>
                  <a:pt x="3530" y="3811"/>
                  <a:pt x="3482" y="3887"/>
                </a:cubicBezTo>
                <a:cubicBezTo>
                  <a:pt x="3453" y="3933"/>
                  <a:pt x="3356" y="3937"/>
                  <a:pt x="2197" y="3944"/>
                </a:cubicBezTo>
                <a:cubicBezTo>
                  <a:pt x="1245" y="3950"/>
                  <a:pt x="935" y="3943"/>
                  <a:pt x="909" y="3917"/>
                </a:cubicBezTo>
                <a:close/>
                <a:moveTo>
                  <a:pt x="87" y="3370"/>
                </a:moveTo>
                <a:cubicBezTo>
                  <a:pt x="24" y="3317"/>
                  <a:pt x="0" y="3272"/>
                  <a:pt x="0" y="3209"/>
                </a:cubicBezTo>
                <a:cubicBezTo>
                  <a:pt x="0" y="3132"/>
                  <a:pt x="86" y="3035"/>
                  <a:pt x="705" y="2414"/>
                </a:cubicBezTo>
                <a:lnTo>
                  <a:pt x="1411" y="1706"/>
                </a:lnTo>
                <a:lnTo>
                  <a:pt x="1235" y="1530"/>
                </a:lnTo>
                <a:lnTo>
                  <a:pt x="1059" y="1355"/>
                </a:lnTo>
                <a:lnTo>
                  <a:pt x="1510" y="903"/>
                </a:lnTo>
                <a:lnTo>
                  <a:pt x="1960" y="452"/>
                </a:lnTo>
                <a:lnTo>
                  <a:pt x="2135" y="624"/>
                </a:lnTo>
                <a:cubicBezTo>
                  <a:pt x="2305" y="793"/>
                  <a:pt x="2310" y="796"/>
                  <a:pt x="2374" y="751"/>
                </a:cubicBezTo>
                <a:cubicBezTo>
                  <a:pt x="2469" y="685"/>
                  <a:pt x="2547" y="695"/>
                  <a:pt x="2633" y="785"/>
                </a:cubicBezTo>
                <a:cubicBezTo>
                  <a:pt x="2720" y="875"/>
                  <a:pt x="2731" y="974"/>
                  <a:pt x="2662" y="1050"/>
                </a:cubicBezTo>
                <a:cubicBezTo>
                  <a:pt x="2616" y="1100"/>
                  <a:pt x="2624" y="1112"/>
                  <a:pt x="2823" y="1313"/>
                </a:cubicBezTo>
                <a:lnTo>
                  <a:pt x="3033" y="1524"/>
                </a:lnTo>
                <a:lnTo>
                  <a:pt x="2582" y="1975"/>
                </a:lnTo>
                <a:lnTo>
                  <a:pt x="2132" y="2427"/>
                </a:lnTo>
                <a:lnTo>
                  <a:pt x="1933" y="2229"/>
                </a:lnTo>
                <a:cubicBezTo>
                  <a:pt x="1824" y="2121"/>
                  <a:pt x="1722" y="2032"/>
                  <a:pt x="1707" y="2032"/>
                </a:cubicBezTo>
                <a:cubicBezTo>
                  <a:pt x="1693" y="2032"/>
                  <a:pt x="1362" y="2349"/>
                  <a:pt x="973" y="2737"/>
                </a:cubicBezTo>
                <a:cubicBezTo>
                  <a:pt x="584" y="3125"/>
                  <a:pt x="245" y="3443"/>
                  <a:pt x="220" y="3443"/>
                </a:cubicBezTo>
                <a:cubicBezTo>
                  <a:pt x="194" y="3443"/>
                  <a:pt x="135" y="3410"/>
                  <a:pt x="87" y="3370"/>
                </a:cubicBezTo>
                <a:close/>
                <a:moveTo>
                  <a:pt x="2258" y="2887"/>
                </a:moveTo>
                <a:cubicBezTo>
                  <a:pt x="2196" y="2865"/>
                  <a:pt x="2145" y="2792"/>
                  <a:pt x="2145" y="2725"/>
                </a:cubicBezTo>
                <a:cubicBezTo>
                  <a:pt x="2145" y="2686"/>
                  <a:pt x="2337" y="2474"/>
                  <a:pt x="2703" y="2109"/>
                </a:cubicBezTo>
                <a:cubicBezTo>
                  <a:pt x="3289" y="1523"/>
                  <a:pt x="3346" y="1485"/>
                  <a:pt x="3453" y="1604"/>
                </a:cubicBezTo>
                <a:cubicBezTo>
                  <a:pt x="3556" y="1717"/>
                  <a:pt x="3522" y="1766"/>
                  <a:pt x="2956" y="2331"/>
                </a:cubicBezTo>
                <a:cubicBezTo>
                  <a:pt x="2657" y="2630"/>
                  <a:pt x="2388" y="2880"/>
                  <a:pt x="2357" y="2888"/>
                </a:cubicBezTo>
                <a:cubicBezTo>
                  <a:pt x="2326" y="2895"/>
                  <a:pt x="2281" y="2895"/>
                  <a:pt x="2258" y="2887"/>
                </a:cubicBezTo>
                <a:close/>
                <a:moveTo>
                  <a:pt x="637" y="1282"/>
                </a:moveTo>
                <a:cubicBezTo>
                  <a:pt x="528" y="1172"/>
                  <a:pt x="568" y="1113"/>
                  <a:pt x="1137" y="544"/>
                </a:cubicBezTo>
                <a:cubicBezTo>
                  <a:pt x="1607" y="74"/>
                  <a:pt x="1693" y="0"/>
                  <a:pt x="1767" y="0"/>
                </a:cubicBezTo>
                <a:cubicBezTo>
                  <a:pt x="1862" y="0"/>
                  <a:pt x="1947" y="73"/>
                  <a:pt x="1947" y="156"/>
                </a:cubicBezTo>
                <a:cubicBezTo>
                  <a:pt x="1947" y="186"/>
                  <a:pt x="1715" y="442"/>
                  <a:pt x="1391" y="767"/>
                </a:cubicBezTo>
                <a:cubicBezTo>
                  <a:pt x="808" y="1353"/>
                  <a:pt x="749" y="1393"/>
                  <a:pt x="637" y="12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" name="Group 118">
            <a:extLst>
              <a:ext uri="{FF2B5EF4-FFF2-40B4-BE49-F238E27FC236}">
                <a16:creationId xmlns:a16="http://schemas.microsoft.com/office/drawing/2014/main" id="{FB3D6A90-C4FD-433A-A1C1-A4B3864804A5}"/>
              </a:ext>
            </a:extLst>
          </p:cNvPr>
          <p:cNvGrpSpPr/>
          <p:nvPr/>
        </p:nvGrpSpPr>
        <p:grpSpPr>
          <a:xfrm>
            <a:off x="8409631" y="5248358"/>
            <a:ext cx="346498" cy="347472"/>
            <a:chOff x="1468138" y="5997240"/>
            <a:chExt cx="283642" cy="307072"/>
          </a:xfrm>
          <a:solidFill>
            <a:schemeClr val="bg1"/>
          </a:solidFill>
        </p:grpSpPr>
        <p:sp>
          <p:nvSpPr>
            <p:cNvPr id="120" name="Freeform 16">
              <a:extLst>
                <a:ext uri="{FF2B5EF4-FFF2-40B4-BE49-F238E27FC236}">
                  <a16:creationId xmlns:a16="http://schemas.microsoft.com/office/drawing/2014/main" id="{D6134FC8-4249-4088-8AE8-003C8AAC7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6136" y="6255221"/>
              <a:ext cx="26428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1 w 349"/>
                <a:gd name="T25" fmla="*/ 226 h 350"/>
                <a:gd name="T26" fmla="*/ 225 w 349"/>
                <a:gd name="T27" fmla="*/ 213 h 350"/>
                <a:gd name="T28" fmla="*/ 234 w 349"/>
                <a:gd name="T29" fmla="*/ 194 h 350"/>
                <a:gd name="T30" fmla="*/ 237 w 349"/>
                <a:gd name="T31" fmla="*/ 175 h 350"/>
                <a:gd name="T32" fmla="*/ 235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5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4 w 349"/>
                <a:gd name="T47" fmla="*/ 3 h 350"/>
                <a:gd name="T48" fmla="*/ 234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8 w 349"/>
                <a:gd name="T55" fmla="*/ 63 h 350"/>
                <a:gd name="T56" fmla="*/ 325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5 w 349"/>
                <a:gd name="T65" fmla="*/ 210 h 350"/>
                <a:gd name="T66" fmla="*/ 335 w 349"/>
                <a:gd name="T67" fmla="*/ 243 h 350"/>
                <a:gd name="T68" fmla="*/ 319 w 349"/>
                <a:gd name="T69" fmla="*/ 273 h 350"/>
                <a:gd name="T70" fmla="*/ 297 w 349"/>
                <a:gd name="T71" fmla="*/ 299 h 350"/>
                <a:gd name="T72" fmla="*/ 272 w 349"/>
                <a:gd name="T73" fmla="*/ 319 h 350"/>
                <a:gd name="T74" fmla="*/ 242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39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29 w 349"/>
                <a:gd name="T89" fmla="*/ 273 h 350"/>
                <a:gd name="T90" fmla="*/ 14 w 349"/>
                <a:gd name="T91" fmla="*/ 243 h 350"/>
                <a:gd name="T92" fmla="*/ 3 w 349"/>
                <a:gd name="T93" fmla="*/ 210 h 350"/>
                <a:gd name="T94" fmla="*/ 0 w 349"/>
                <a:gd name="T95" fmla="*/ 175 h 350"/>
                <a:gd name="T96" fmla="*/ 3 w 349"/>
                <a:gd name="T97" fmla="*/ 140 h 350"/>
                <a:gd name="T98" fmla="*/ 14 w 349"/>
                <a:gd name="T99" fmla="*/ 107 h 350"/>
                <a:gd name="T100" fmla="*/ 29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39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1" y="226"/>
                  </a:lnTo>
                  <a:lnTo>
                    <a:pt x="225" y="213"/>
                  </a:lnTo>
                  <a:lnTo>
                    <a:pt x="234" y="194"/>
                  </a:lnTo>
                  <a:lnTo>
                    <a:pt x="237" y="175"/>
                  </a:lnTo>
                  <a:lnTo>
                    <a:pt x="235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5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4" y="3"/>
                  </a:lnTo>
                  <a:lnTo>
                    <a:pt x="234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8" y="63"/>
                  </a:lnTo>
                  <a:lnTo>
                    <a:pt x="325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5" y="210"/>
                  </a:lnTo>
                  <a:lnTo>
                    <a:pt x="335" y="243"/>
                  </a:lnTo>
                  <a:lnTo>
                    <a:pt x="319" y="273"/>
                  </a:lnTo>
                  <a:lnTo>
                    <a:pt x="297" y="299"/>
                  </a:lnTo>
                  <a:lnTo>
                    <a:pt x="272" y="319"/>
                  </a:lnTo>
                  <a:lnTo>
                    <a:pt x="242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39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29" y="273"/>
                  </a:lnTo>
                  <a:lnTo>
                    <a:pt x="14" y="243"/>
                  </a:lnTo>
                  <a:lnTo>
                    <a:pt x="3" y="210"/>
                  </a:lnTo>
                  <a:lnTo>
                    <a:pt x="0" y="175"/>
                  </a:lnTo>
                  <a:lnTo>
                    <a:pt x="3" y="140"/>
                  </a:lnTo>
                  <a:lnTo>
                    <a:pt x="14" y="107"/>
                  </a:lnTo>
                  <a:lnTo>
                    <a:pt x="29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39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1" name="Freeform 17">
              <a:extLst>
                <a:ext uri="{FF2B5EF4-FFF2-40B4-BE49-F238E27FC236}">
                  <a16:creationId xmlns:a16="http://schemas.microsoft.com/office/drawing/2014/main" id="{67A5F0B0-C078-4A85-9E32-409FF0B3D5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2133" y="6255221"/>
              <a:ext cx="26656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2 w 349"/>
                <a:gd name="T25" fmla="*/ 226 h 350"/>
                <a:gd name="T26" fmla="*/ 226 w 349"/>
                <a:gd name="T27" fmla="*/ 213 h 350"/>
                <a:gd name="T28" fmla="*/ 235 w 349"/>
                <a:gd name="T29" fmla="*/ 194 h 350"/>
                <a:gd name="T30" fmla="*/ 237 w 349"/>
                <a:gd name="T31" fmla="*/ 175 h 350"/>
                <a:gd name="T32" fmla="*/ 236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7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5 w 349"/>
                <a:gd name="T47" fmla="*/ 3 h 350"/>
                <a:gd name="T48" fmla="*/ 235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9 w 349"/>
                <a:gd name="T55" fmla="*/ 63 h 350"/>
                <a:gd name="T56" fmla="*/ 326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6 w 349"/>
                <a:gd name="T65" fmla="*/ 210 h 350"/>
                <a:gd name="T66" fmla="*/ 336 w 349"/>
                <a:gd name="T67" fmla="*/ 243 h 350"/>
                <a:gd name="T68" fmla="*/ 319 w 349"/>
                <a:gd name="T69" fmla="*/ 273 h 350"/>
                <a:gd name="T70" fmla="*/ 298 w 349"/>
                <a:gd name="T71" fmla="*/ 299 h 350"/>
                <a:gd name="T72" fmla="*/ 272 w 349"/>
                <a:gd name="T73" fmla="*/ 319 h 350"/>
                <a:gd name="T74" fmla="*/ 243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40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30 w 349"/>
                <a:gd name="T89" fmla="*/ 273 h 350"/>
                <a:gd name="T90" fmla="*/ 14 w 349"/>
                <a:gd name="T91" fmla="*/ 243 h 350"/>
                <a:gd name="T92" fmla="*/ 4 w 349"/>
                <a:gd name="T93" fmla="*/ 210 h 350"/>
                <a:gd name="T94" fmla="*/ 0 w 349"/>
                <a:gd name="T95" fmla="*/ 175 h 350"/>
                <a:gd name="T96" fmla="*/ 4 w 349"/>
                <a:gd name="T97" fmla="*/ 140 h 350"/>
                <a:gd name="T98" fmla="*/ 14 w 349"/>
                <a:gd name="T99" fmla="*/ 107 h 350"/>
                <a:gd name="T100" fmla="*/ 30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40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7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7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5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19" y="273"/>
                  </a:lnTo>
                  <a:lnTo>
                    <a:pt x="298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2" name="Freeform 18">
              <a:extLst>
                <a:ext uri="{FF2B5EF4-FFF2-40B4-BE49-F238E27FC236}">
                  <a16:creationId xmlns:a16="http://schemas.microsoft.com/office/drawing/2014/main" id="{BF1784DA-3E40-44FD-998D-DB1DD379C0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8357" y="6255221"/>
              <a:ext cx="26428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7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1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7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8 w 350"/>
                <a:gd name="T31" fmla="*/ 175 h 350"/>
                <a:gd name="T32" fmla="*/ 236 w 350"/>
                <a:gd name="T33" fmla="*/ 158 h 350"/>
                <a:gd name="T34" fmla="*/ 229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7 w 350"/>
                <a:gd name="T53" fmla="*/ 41 h 350"/>
                <a:gd name="T54" fmla="*/ 309 w 350"/>
                <a:gd name="T55" fmla="*/ 63 h 350"/>
                <a:gd name="T56" fmla="*/ 326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2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7 w 350"/>
                <a:gd name="T85" fmla="*/ 319 h 350"/>
                <a:gd name="T86" fmla="*/ 51 w 350"/>
                <a:gd name="T87" fmla="*/ 299 h 350"/>
                <a:gd name="T88" fmla="*/ 30 w 350"/>
                <a:gd name="T89" fmla="*/ 273 h 350"/>
                <a:gd name="T90" fmla="*/ 14 w 350"/>
                <a:gd name="T91" fmla="*/ 243 h 350"/>
                <a:gd name="T92" fmla="*/ 4 w 350"/>
                <a:gd name="T93" fmla="*/ 210 h 350"/>
                <a:gd name="T94" fmla="*/ 0 w 350"/>
                <a:gd name="T95" fmla="*/ 175 h 350"/>
                <a:gd name="T96" fmla="*/ 4 w 350"/>
                <a:gd name="T97" fmla="*/ 140 h 350"/>
                <a:gd name="T98" fmla="*/ 14 w 350"/>
                <a:gd name="T99" fmla="*/ 107 h 350"/>
                <a:gd name="T100" fmla="*/ 30 w 350"/>
                <a:gd name="T101" fmla="*/ 78 h 350"/>
                <a:gd name="T102" fmla="*/ 51 w 350"/>
                <a:gd name="T103" fmla="*/ 52 h 350"/>
                <a:gd name="T104" fmla="*/ 77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8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3" name="Freeform 19">
              <a:extLst>
                <a:ext uri="{FF2B5EF4-FFF2-40B4-BE49-F238E27FC236}">
                  <a16:creationId xmlns:a16="http://schemas.microsoft.com/office/drawing/2014/main" id="{FF26547B-24B3-4108-8095-A2794E966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4353" y="6255221"/>
              <a:ext cx="26656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8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3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8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9 w 350"/>
                <a:gd name="T31" fmla="*/ 175 h 350"/>
                <a:gd name="T32" fmla="*/ 236 w 350"/>
                <a:gd name="T33" fmla="*/ 158 h 350"/>
                <a:gd name="T34" fmla="*/ 231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8 w 350"/>
                <a:gd name="T53" fmla="*/ 41 h 350"/>
                <a:gd name="T54" fmla="*/ 309 w 350"/>
                <a:gd name="T55" fmla="*/ 63 h 350"/>
                <a:gd name="T56" fmla="*/ 327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3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8 w 350"/>
                <a:gd name="T85" fmla="*/ 319 h 350"/>
                <a:gd name="T86" fmla="*/ 53 w 350"/>
                <a:gd name="T87" fmla="*/ 299 h 350"/>
                <a:gd name="T88" fmla="*/ 31 w 350"/>
                <a:gd name="T89" fmla="*/ 273 h 350"/>
                <a:gd name="T90" fmla="*/ 15 w 350"/>
                <a:gd name="T91" fmla="*/ 243 h 350"/>
                <a:gd name="T92" fmla="*/ 5 w 350"/>
                <a:gd name="T93" fmla="*/ 210 h 350"/>
                <a:gd name="T94" fmla="*/ 0 w 350"/>
                <a:gd name="T95" fmla="*/ 175 h 350"/>
                <a:gd name="T96" fmla="*/ 5 w 350"/>
                <a:gd name="T97" fmla="*/ 140 h 350"/>
                <a:gd name="T98" fmla="*/ 15 w 350"/>
                <a:gd name="T99" fmla="*/ 107 h 350"/>
                <a:gd name="T100" fmla="*/ 31 w 350"/>
                <a:gd name="T101" fmla="*/ 78 h 350"/>
                <a:gd name="T102" fmla="*/ 53 w 350"/>
                <a:gd name="T103" fmla="*/ 52 h 350"/>
                <a:gd name="T104" fmla="*/ 78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8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3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8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9" y="175"/>
                  </a:lnTo>
                  <a:lnTo>
                    <a:pt x="236" y="158"/>
                  </a:lnTo>
                  <a:lnTo>
                    <a:pt x="231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8" y="41"/>
                  </a:lnTo>
                  <a:lnTo>
                    <a:pt x="309" y="63"/>
                  </a:lnTo>
                  <a:lnTo>
                    <a:pt x="327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3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8" y="319"/>
                  </a:lnTo>
                  <a:lnTo>
                    <a:pt x="53" y="299"/>
                  </a:lnTo>
                  <a:lnTo>
                    <a:pt x="31" y="273"/>
                  </a:lnTo>
                  <a:lnTo>
                    <a:pt x="15" y="243"/>
                  </a:lnTo>
                  <a:lnTo>
                    <a:pt x="5" y="210"/>
                  </a:lnTo>
                  <a:lnTo>
                    <a:pt x="0" y="175"/>
                  </a:lnTo>
                  <a:lnTo>
                    <a:pt x="5" y="140"/>
                  </a:lnTo>
                  <a:lnTo>
                    <a:pt x="15" y="107"/>
                  </a:lnTo>
                  <a:lnTo>
                    <a:pt x="31" y="78"/>
                  </a:lnTo>
                  <a:lnTo>
                    <a:pt x="53" y="52"/>
                  </a:lnTo>
                  <a:lnTo>
                    <a:pt x="78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4" name="Freeform 20">
              <a:extLst>
                <a:ext uri="{FF2B5EF4-FFF2-40B4-BE49-F238E27FC236}">
                  <a16:creationId xmlns:a16="http://schemas.microsoft.com/office/drawing/2014/main" id="{6F553FA1-4728-401A-8C20-F18E165CA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80832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2 h 111"/>
                <a:gd name="T10" fmla="*/ 168 w 171"/>
                <a:gd name="T11" fmla="*/ 37 h 111"/>
                <a:gd name="T12" fmla="*/ 171 w 171"/>
                <a:gd name="T13" fmla="*/ 55 h 111"/>
                <a:gd name="T14" fmla="*/ 168 w 171"/>
                <a:gd name="T15" fmla="*/ 72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8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8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2 h 111"/>
                <a:gd name="T34" fmla="*/ 0 w 171"/>
                <a:gd name="T35" fmla="*/ 55 h 111"/>
                <a:gd name="T36" fmla="*/ 2 w 171"/>
                <a:gd name="T37" fmla="*/ 37 h 111"/>
                <a:gd name="T38" fmla="*/ 10 w 171"/>
                <a:gd name="T39" fmla="*/ 22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2"/>
                  </a:lnTo>
                  <a:lnTo>
                    <a:pt x="168" y="37"/>
                  </a:lnTo>
                  <a:lnTo>
                    <a:pt x="171" y="55"/>
                  </a:lnTo>
                  <a:lnTo>
                    <a:pt x="168" y="72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8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8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2"/>
                  </a:lnTo>
                  <a:lnTo>
                    <a:pt x="0" y="55"/>
                  </a:lnTo>
                  <a:lnTo>
                    <a:pt x="2" y="37"/>
                  </a:lnTo>
                  <a:lnTo>
                    <a:pt x="10" y="22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5" name="Freeform 21">
              <a:extLst>
                <a:ext uri="{FF2B5EF4-FFF2-40B4-BE49-F238E27FC236}">
                  <a16:creationId xmlns:a16="http://schemas.microsoft.com/office/drawing/2014/main" id="{2A783787-5E9B-43C9-9BF4-073950C97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95860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3 h 111"/>
                <a:gd name="T10" fmla="*/ 168 w 171"/>
                <a:gd name="T11" fmla="*/ 38 h 111"/>
                <a:gd name="T12" fmla="*/ 171 w 171"/>
                <a:gd name="T13" fmla="*/ 55 h 111"/>
                <a:gd name="T14" fmla="*/ 168 w 171"/>
                <a:gd name="T15" fmla="*/ 74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9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9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4 h 111"/>
                <a:gd name="T34" fmla="*/ 0 w 171"/>
                <a:gd name="T35" fmla="*/ 55 h 111"/>
                <a:gd name="T36" fmla="*/ 2 w 171"/>
                <a:gd name="T37" fmla="*/ 38 h 111"/>
                <a:gd name="T38" fmla="*/ 10 w 171"/>
                <a:gd name="T39" fmla="*/ 23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3"/>
                  </a:lnTo>
                  <a:lnTo>
                    <a:pt x="168" y="38"/>
                  </a:lnTo>
                  <a:lnTo>
                    <a:pt x="171" y="55"/>
                  </a:lnTo>
                  <a:lnTo>
                    <a:pt x="168" y="74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9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9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4"/>
                  </a:lnTo>
                  <a:lnTo>
                    <a:pt x="0" y="55"/>
                  </a:lnTo>
                  <a:lnTo>
                    <a:pt x="2" y="38"/>
                  </a:lnTo>
                  <a:lnTo>
                    <a:pt x="10" y="23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  <p:sp>
          <p:nvSpPr>
            <p:cNvPr id="126" name="Freeform 22">
              <a:extLst>
                <a:ext uri="{FF2B5EF4-FFF2-40B4-BE49-F238E27FC236}">
                  <a16:creationId xmlns:a16="http://schemas.microsoft.com/office/drawing/2014/main" id="{6465D05A-ED22-49B3-924E-6DFC4C8C8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8138" y="5997240"/>
              <a:ext cx="283642" cy="307072"/>
            </a:xfrm>
            <a:custGeom>
              <a:avLst/>
              <a:gdLst>
                <a:gd name="T0" fmla="*/ 185 w 3736"/>
                <a:gd name="T1" fmla="*/ 3069 h 3678"/>
                <a:gd name="T2" fmla="*/ 125 w 3736"/>
                <a:gd name="T3" fmla="*/ 3352 h 3678"/>
                <a:gd name="T4" fmla="*/ 325 w 3736"/>
                <a:gd name="T5" fmla="*/ 3554 h 3678"/>
                <a:gd name="T6" fmla="*/ 2002 w 3736"/>
                <a:gd name="T7" fmla="*/ 3518 h 3678"/>
                <a:gd name="T8" fmla="*/ 2140 w 3736"/>
                <a:gd name="T9" fmla="*/ 3266 h 3678"/>
                <a:gd name="T10" fmla="*/ 2002 w 3736"/>
                <a:gd name="T11" fmla="*/ 3013 h 3678"/>
                <a:gd name="T12" fmla="*/ 943 w 3736"/>
                <a:gd name="T13" fmla="*/ 2853 h 3678"/>
                <a:gd name="T14" fmla="*/ 2970 w 3736"/>
                <a:gd name="T15" fmla="*/ 2765 h 3678"/>
                <a:gd name="T16" fmla="*/ 3240 w 3736"/>
                <a:gd name="T17" fmla="*/ 2787 h 3678"/>
                <a:gd name="T18" fmla="*/ 3506 w 3736"/>
                <a:gd name="T19" fmla="*/ 2599 h 3678"/>
                <a:gd name="T20" fmla="*/ 302 w 3736"/>
                <a:gd name="T21" fmla="*/ 2099 h 3678"/>
                <a:gd name="T22" fmla="*/ 333 w 3736"/>
                <a:gd name="T23" fmla="*/ 2613 h 3678"/>
                <a:gd name="T24" fmla="*/ 3524 w 3736"/>
                <a:gd name="T25" fmla="*/ 1966 h 3678"/>
                <a:gd name="T26" fmla="*/ 3542 w 3736"/>
                <a:gd name="T27" fmla="*/ 2077 h 3678"/>
                <a:gd name="T28" fmla="*/ 3622 w 3736"/>
                <a:gd name="T29" fmla="*/ 1998 h 3678"/>
                <a:gd name="T30" fmla="*/ 893 w 3736"/>
                <a:gd name="T31" fmla="*/ 1458 h 3678"/>
                <a:gd name="T32" fmla="*/ 1843 w 3736"/>
                <a:gd name="T33" fmla="*/ 2616 h 3678"/>
                <a:gd name="T34" fmla="*/ 1132 w 3736"/>
                <a:gd name="T35" fmla="*/ 2414 h 3678"/>
                <a:gd name="T36" fmla="*/ 954 w 3736"/>
                <a:gd name="T37" fmla="*/ 2256 h 3678"/>
                <a:gd name="T38" fmla="*/ 1082 w 3736"/>
                <a:gd name="T39" fmla="*/ 2271 h 3678"/>
                <a:gd name="T40" fmla="*/ 1271 w 3736"/>
                <a:gd name="T41" fmla="*/ 1557 h 3678"/>
                <a:gd name="T42" fmla="*/ 1360 w 3736"/>
                <a:gd name="T43" fmla="*/ 1601 h 3678"/>
                <a:gd name="T44" fmla="*/ 1958 w 3736"/>
                <a:gd name="T45" fmla="*/ 2171 h 3678"/>
                <a:gd name="T46" fmla="*/ 1525 w 3736"/>
                <a:gd name="T47" fmla="*/ 1457 h 3678"/>
                <a:gd name="T48" fmla="*/ 2749 w 3736"/>
                <a:gd name="T49" fmla="*/ 361 h 3678"/>
                <a:gd name="T50" fmla="*/ 3541 w 3736"/>
                <a:gd name="T51" fmla="*/ 1844 h 3678"/>
                <a:gd name="T52" fmla="*/ 1658 w 3736"/>
                <a:gd name="T53" fmla="*/ 1439 h 3678"/>
                <a:gd name="T54" fmla="*/ 2419 w 3736"/>
                <a:gd name="T55" fmla="*/ 427 h 3678"/>
                <a:gd name="T56" fmla="*/ 2498 w 3736"/>
                <a:gd name="T57" fmla="*/ 124 h 3678"/>
                <a:gd name="T58" fmla="*/ 2441 w 3736"/>
                <a:gd name="T59" fmla="*/ 287 h 3678"/>
                <a:gd name="T60" fmla="*/ 2599 w 3736"/>
                <a:gd name="T61" fmla="*/ 347 h 3678"/>
                <a:gd name="T62" fmla="*/ 2672 w 3736"/>
                <a:gd name="T63" fmla="*/ 256 h 3678"/>
                <a:gd name="T64" fmla="*/ 2625 w 3736"/>
                <a:gd name="T65" fmla="*/ 136 h 3678"/>
                <a:gd name="T66" fmla="*/ 2665 w 3736"/>
                <a:gd name="T67" fmla="*/ 28 h 3678"/>
                <a:gd name="T68" fmla="*/ 3734 w 3736"/>
                <a:gd name="T69" fmla="*/ 1986 h 3678"/>
                <a:gd name="T70" fmla="*/ 3646 w 3736"/>
                <a:gd name="T71" fmla="*/ 2170 h 3678"/>
                <a:gd name="T72" fmla="*/ 3580 w 3736"/>
                <a:gd name="T73" fmla="*/ 2724 h 3678"/>
                <a:gd name="T74" fmla="*/ 3180 w 3736"/>
                <a:gd name="T75" fmla="*/ 2918 h 3678"/>
                <a:gd name="T76" fmla="*/ 2865 w 3736"/>
                <a:gd name="T77" fmla="*/ 2826 h 3678"/>
                <a:gd name="T78" fmla="*/ 2459 w 3736"/>
                <a:gd name="T79" fmla="*/ 2397 h 3678"/>
                <a:gd name="T80" fmla="*/ 3431 w 3736"/>
                <a:gd name="T81" fmla="*/ 2200 h 3678"/>
                <a:gd name="T82" fmla="*/ 3506 w 3736"/>
                <a:gd name="T83" fmla="*/ 2183 h 3678"/>
                <a:gd name="T84" fmla="*/ 1983 w 3736"/>
                <a:gd name="T85" fmla="*/ 1926 h 3678"/>
                <a:gd name="T86" fmla="*/ 2073 w 3736"/>
                <a:gd name="T87" fmla="*/ 2433 h 3678"/>
                <a:gd name="T88" fmla="*/ 2059 w 3736"/>
                <a:gd name="T89" fmla="*/ 2469 h 3678"/>
                <a:gd name="T90" fmla="*/ 2043 w 3736"/>
                <a:gd name="T91" fmla="*/ 2482 h 3678"/>
                <a:gd name="T92" fmla="*/ 2024 w 3736"/>
                <a:gd name="T93" fmla="*/ 2489 h 3678"/>
                <a:gd name="T94" fmla="*/ 1942 w 3736"/>
                <a:gd name="T95" fmla="*/ 2705 h 3678"/>
                <a:gd name="T96" fmla="*/ 1890 w 3736"/>
                <a:gd name="T97" fmla="*/ 2857 h 3678"/>
                <a:gd name="T98" fmla="*/ 2177 w 3736"/>
                <a:gd name="T99" fmla="*/ 3030 h 3678"/>
                <a:gd name="T100" fmla="*/ 2238 w 3736"/>
                <a:gd name="T101" fmla="*/ 3367 h 3678"/>
                <a:gd name="T102" fmla="*/ 2032 w 3736"/>
                <a:gd name="T103" fmla="*/ 3630 h 3678"/>
                <a:gd name="T104" fmla="*/ 311 w 3736"/>
                <a:gd name="T105" fmla="*/ 3666 h 3678"/>
                <a:gd name="T106" fmla="*/ 49 w 3736"/>
                <a:gd name="T107" fmla="*/ 3460 h 3678"/>
                <a:gd name="T108" fmla="*/ 28 w 3736"/>
                <a:gd name="T109" fmla="*/ 3116 h 3678"/>
                <a:gd name="T110" fmla="*/ 263 w 3736"/>
                <a:gd name="T111" fmla="*/ 2882 h 3678"/>
                <a:gd name="T112" fmla="*/ 317 w 3736"/>
                <a:gd name="T113" fmla="*/ 2724 h 3678"/>
                <a:gd name="T114" fmla="*/ 178 w 3736"/>
                <a:gd name="T115" fmla="*/ 2553 h 3678"/>
                <a:gd name="T116" fmla="*/ 284 w 3736"/>
                <a:gd name="T117" fmla="*/ 1975 h 3678"/>
                <a:gd name="T118" fmla="*/ 740 w 3736"/>
                <a:gd name="T119" fmla="*/ 1477 h 3678"/>
                <a:gd name="T120" fmla="*/ 963 w 3736"/>
                <a:gd name="T121" fmla="*/ 1310 h 3678"/>
                <a:gd name="T122" fmla="*/ 2410 w 3736"/>
                <a:gd name="T123" fmla="*/ 48 h 3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6" h="3678">
                  <a:moveTo>
                    <a:pt x="413" y="2964"/>
                  </a:moveTo>
                  <a:lnTo>
                    <a:pt x="367" y="2968"/>
                  </a:lnTo>
                  <a:lnTo>
                    <a:pt x="325" y="2978"/>
                  </a:lnTo>
                  <a:lnTo>
                    <a:pt x="286" y="2993"/>
                  </a:lnTo>
                  <a:lnTo>
                    <a:pt x="248" y="3013"/>
                  </a:lnTo>
                  <a:lnTo>
                    <a:pt x="215" y="3039"/>
                  </a:lnTo>
                  <a:lnTo>
                    <a:pt x="185" y="3069"/>
                  </a:lnTo>
                  <a:lnTo>
                    <a:pt x="160" y="3102"/>
                  </a:lnTo>
                  <a:lnTo>
                    <a:pt x="139" y="3139"/>
                  </a:lnTo>
                  <a:lnTo>
                    <a:pt x="125" y="3179"/>
                  </a:lnTo>
                  <a:lnTo>
                    <a:pt x="114" y="3222"/>
                  </a:lnTo>
                  <a:lnTo>
                    <a:pt x="111" y="3266"/>
                  </a:lnTo>
                  <a:lnTo>
                    <a:pt x="114" y="3310"/>
                  </a:lnTo>
                  <a:lnTo>
                    <a:pt x="125" y="3352"/>
                  </a:lnTo>
                  <a:lnTo>
                    <a:pt x="139" y="3393"/>
                  </a:lnTo>
                  <a:lnTo>
                    <a:pt x="160" y="3430"/>
                  </a:lnTo>
                  <a:lnTo>
                    <a:pt x="185" y="3464"/>
                  </a:lnTo>
                  <a:lnTo>
                    <a:pt x="215" y="3493"/>
                  </a:lnTo>
                  <a:lnTo>
                    <a:pt x="248" y="3518"/>
                  </a:lnTo>
                  <a:lnTo>
                    <a:pt x="286" y="3538"/>
                  </a:lnTo>
                  <a:lnTo>
                    <a:pt x="325" y="3554"/>
                  </a:lnTo>
                  <a:lnTo>
                    <a:pt x="367" y="3563"/>
                  </a:lnTo>
                  <a:lnTo>
                    <a:pt x="413" y="3567"/>
                  </a:lnTo>
                  <a:lnTo>
                    <a:pt x="1838" y="3567"/>
                  </a:lnTo>
                  <a:lnTo>
                    <a:pt x="1882" y="3563"/>
                  </a:lnTo>
                  <a:lnTo>
                    <a:pt x="1925" y="3554"/>
                  </a:lnTo>
                  <a:lnTo>
                    <a:pt x="1965" y="3538"/>
                  </a:lnTo>
                  <a:lnTo>
                    <a:pt x="2002" y="3518"/>
                  </a:lnTo>
                  <a:lnTo>
                    <a:pt x="2035" y="3493"/>
                  </a:lnTo>
                  <a:lnTo>
                    <a:pt x="2065" y="3464"/>
                  </a:lnTo>
                  <a:lnTo>
                    <a:pt x="2091" y="3430"/>
                  </a:lnTo>
                  <a:lnTo>
                    <a:pt x="2111" y="3393"/>
                  </a:lnTo>
                  <a:lnTo>
                    <a:pt x="2126" y="3352"/>
                  </a:lnTo>
                  <a:lnTo>
                    <a:pt x="2136" y="3310"/>
                  </a:lnTo>
                  <a:lnTo>
                    <a:pt x="2140" y="3266"/>
                  </a:lnTo>
                  <a:lnTo>
                    <a:pt x="2136" y="3222"/>
                  </a:lnTo>
                  <a:lnTo>
                    <a:pt x="2126" y="3179"/>
                  </a:lnTo>
                  <a:lnTo>
                    <a:pt x="2111" y="3139"/>
                  </a:lnTo>
                  <a:lnTo>
                    <a:pt x="2091" y="3102"/>
                  </a:lnTo>
                  <a:lnTo>
                    <a:pt x="2065" y="3069"/>
                  </a:lnTo>
                  <a:lnTo>
                    <a:pt x="2035" y="3039"/>
                  </a:lnTo>
                  <a:lnTo>
                    <a:pt x="2002" y="3013"/>
                  </a:lnTo>
                  <a:lnTo>
                    <a:pt x="1965" y="2993"/>
                  </a:lnTo>
                  <a:lnTo>
                    <a:pt x="1925" y="2978"/>
                  </a:lnTo>
                  <a:lnTo>
                    <a:pt x="1882" y="2968"/>
                  </a:lnTo>
                  <a:lnTo>
                    <a:pt x="1838" y="2964"/>
                  </a:lnTo>
                  <a:lnTo>
                    <a:pt x="413" y="2964"/>
                  </a:lnTo>
                  <a:close/>
                  <a:moveTo>
                    <a:pt x="943" y="2727"/>
                  </a:moveTo>
                  <a:lnTo>
                    <a:pt x="943" y="2853"/>
                  </a:lnTo>
                  <a:lnTo>
                    <a:pt x="1307" y="2853"/>
                  </a:lnTo>
                  <a:lnTo>
                    <a:pt x="1307" y="2727"/>
                  </a:lnTo>
                  <a:lnTo>
                    <a:pt x="943" y="2727"/>
                  </a:lnTo>
                  <a:close/>
                  <a:moveTo>
                    <a:pt x="3407" y="2328"/>
                  </a:moveTo>
                  <a:lnTo>
                    <a:pt x="2754" y="2590"/>
                  </a:lnTo>
                  <a:lnTo>
                    <a:pt x="2936" y="2741"/>
                  </a:lnTo>
                  <a:lnTo>
                    <a:pt x="2970" y="2765"/>
                  </a:lnTo>
                  <a:lnTo>
                    <a:pt x="3005" y="2783"/>
                  </a:lnTo>
                  <a:lnTo>
                    <a:pt x="3042" y="2797"/>
                  </a:lnTo>
                  <a:lnTo>
                    <a:pt x="3081" y="2806"/>
                  </a:lnTo>
                  <a:lnTo>
                    <a:pt x="3121" y="2809"/>
                  </a:lnTo>
                  <a:lnTo>
                    <a:pt x="3161" y="2808"/>
                  </a:lnTo>
                  <a:lnTo>
                    <a:pt x="3201" y="2800"/>
                  </a:lnTo>
                  <a:lnTo>
                    <a:pt x="3240" y="2787"/>
                  </a:lnTo>
                  <a:lnTo>
                    <a:pt x="3429" y="2711"/>
                  </a:lnTo>
                  <a:lnTo>
                    <a:pt x="3452" y="2700"/>
                  </a:lnTo>
                  <a:lnTo>
                    <a:pt x="3470" y="2684"/>
                  </a:lnTo>
                  <a:lnTo>
                    <a:pt x="3485" y="2666"/>
                  </a:lnTo>
                  <a:lnTo>
                    <a:pt x="3496" y="2646"/>
                  </a:lnTo>
                  <a:lnTo>
                    <a:pt x="3504" y="2623"/>
                  </a:lnTo>
                  <a:lnTo>
                    <a:pt x="3506" y="2599"/>
                  </a:lnTo>
                  <a:lnTo>
                    <a:pt x="3504" y="2575"/>
                  </a:lnTo>
                  <a:lnTo>
                    <a:pt x="3497" y="2551"/>
                  </a:lnTo>
                  <a:lnTo>
                    <a:pt x="3407" y="2328"/>
                  </a:lnTo>
                  <a:close/>
                  <a:moveTo>
                    <a:pt x="353" y="2073"/>
                  </a:moveTo>
                  <a:lnTo>
                    <a:pt x="333" y="2076"/>
                  </a:lnTo>
                  <a:lnTo>
                    <a:pt x="315" y="2085"/>
                  </a:lnTo>
                  <a:lnTo>
                    <a:pt x="302" y="2099"/>
                  </a:lnTo>
                  <a:lnTo>
                    <a:pt x="292" y="2116"/>
                  </a:lnTo>
                  <a:lnTo>
                    <a:pt x="289" y="2136"/>
                  </a:lnTo>
                  <a:lnTo>
                    <a:pt x="289" y="2553"/>
                  </a:lnTo>
                  <a:lnTo>
                    <a:pt x="292" y="2572"/>
                  </a:lnTo>
                  <a:lnTo>
                    <a:pt x="302" y="2590"/>
                  </a:lnTo>
                  <a:lnTo>
                    <a:pt x="315" y="2604"/>
                  </a:lnTo>
                  <a:lnTo>
                    <a:pt x="333" y="2613"/>
                  </a:lnTo>
                  <a:lnTo>
                    <a:pt x="353" y="2616"/>
                  </a:lnTo>
                  <a:lnTo>
                    <a:pt x="713" y="2616"/>
                  </a:lnTo>
                  <a:lnTo>
                    <a:pt x="713" y="2073"/>
                  </a:lnTo>
                  <a:lnTo>
                    <a:pt x="353" y="2073"/>
                  </a:lnTo>
                  <a:close/>
                  <a:moveTo>
                    <a:pt x="3562" y="1955"/>
                  </a:moveTo>
                  <a:lnTo>
                    <a:pt x="3542" y="1957"/>
                  </a:lnTo>
                  <a:lnTo>
                    <a:pt x="3524" y="1966"/>
                  </a:lnTo>
                  <a:lnTo>
                    <a:pt x="3511" y="1980"/>
                  </a:lnTo>
                  <a:lnTo>
                    <a:pt x="3502" y="1998"/>
                  </a:lnTo>
                  <a:lnTo>
                    <a:pt x="3498" y="2017"/>
                  </a:lnTo>
                  <a:lnTo>
                    <a:pt x="3502" y="2038"/>
                  </a:lnTo>
                  <a:lnTo>
                    <a:pt x="3511" y="2055"/>
                  </a:lnTo>
                  <a:lnTo>
                    <a:pt x="3524" y="2068"/>
                  </a:lnTo>
                  <a:lnTo>
                    <a:pt x="3542" y="2077"/>
                  </a:lnTo>
                  <a:lnTo>
                    <a:pt x="3562" y="2081"/>
                  </a:lnTo>
                  <a:lnTo>
                    <a:pt x="3582" y="2077"/>
                  </a:lnTo>
                  <a:lnTo>
                    <a:pt x="3599" y="2068"/>
                  </a:lnTo>
                  <a:lnTo>
                    <a:pt x="3613" y="2055"/>
                  </a:lnTo>
                  <a:lnTo>
                    <a:pt x="3622" y="2038"/>
                  </a:lnTo>
                  <a:lnTo>
                    <a:pt x="3625" y="2017"/>
                  </a:lnTo>
                  <a:lnTo>
                    <a:pt x="3622" y="1998"/>
                  </a:lnTo>
                  <a:lnTo>
                    <a:pt x="3613" y="1980"/>
                  </a:lnTo>
                  <a:lnTo>
                    <a:pt x="3599" y="1966"/>
                  </a:lnTo>
                  <a:lnTo>
                    <a:pt x="3582" y="1957"/>
                  </a:lnTo>
                  <a:lnTo>
                    <a:pt x="3562" y="1955"/>
                  </a:lnTo>
                  <a:close/>
                  <a:moveTo>
                    <a:pt x="950" y="1428"/>
                  </a:moveTo>
                  <a:lnTo>
                    <a:pt x="921" y="1441"/>
                  </a:lnTo>
                  <a:lnTo>
                    <a:pt x="893" y="1458"/>
                  </a:lnTo>
                  <a:lnTo>
                    <a:pt x="871" y="1481"/>
                  </a:lnTo>
                  <a:lnTo>
                    <a:pt x="851" y="1507"/>
                  </a:lnTo>
                  <a:lnTo>
                    <a:pt x="837" y="1536"/>
                  </a:lnTo>
                  <a:lnTo>
                    <a:pt x="828" y="1568"/>
                  </a:lnTo>
                  <a:lnTo>
                    <a:pt x="824" y="1601"/>
                  </a:lnTo>
                  <a:lnTo>
                    <a:pt x="824" y="2616"/>
                  </a:lnTo>
                  <a:lnTo>
                    <a:pt x="1843" y="2616"/>
                  </a:lnTo>
                  <a:lnTo>
                    <a:pt x="1843" y="2489"/>
                  </a:lnTo>
                  <a:lnTo>
                    <a:pt x="1556" y="2489"/>
                  </a:lnTo>
                  <a:lnTo>
                    <a:pt x="1468" y="2487"/>
                  </a:lnTo>
                  <a:lnTo>
                    <a:pt x="1382" y="2478"/>
                  </a:lnTo>
                  <a:lnTo>
                    <a:pt x="1297" y="2462"/>
                  </a:lnTo>
                  <a:lnTo>
                    <a:pt x="1213" y="2441"/>
                  </a:lnTo>
                  <a:lnTo>
                    <a:pt x="1132" y="2414"/>
                  </a:lnTo>
                  <a:lnTo>
                    <a:pt x="1050" y="2382"/>
                  </a:lnTo>
                  <a:lnTo>
                    <a:pt x="1026" y="2369"/>
                  </a:lnTo>
                  <a:lnTo>
                    <a:pt x="1005" y="2352"/>
                  </a:lnTo>
                  <a:lnTo>
                    <a:pt x="985" y="2331"/>
                  </a:lnTo>
                  <a:lnTo>
                    <a:pt x="971" y="2309"/>
                  </a:lnTo>
                  <a:lnTo>
                    <a:pt x="960" y="2284"/>
                  </a:lnTo>
                  <a:lnTo>
                    <a:pt x="954" y="2256"/>
                  </a:lnTo>
                  <a:lnTo>
                    <a:pt x="950" y="2228"/>
                  </a:lnTo>
                  <a:lnTo>
                    <a:pt x="950" y="1428"/>
                  </a:lnTo>
                  <a:close/>
                  <a:moveTo>
                    <a:pt x="1062" y="1419"/>
                  </a:moveTo>
                  <a:lnTo>
                    <a:pt x="1062" y="2228"/>
                  </a:lnTo>
                  <a:lnTo>
                    <a:pt x="1065" y="2245"/>
                  </a:lnTo>
                  <a:lnTo>
                    <a:pt x="1071" y="2259"/>
                  </a:lnTo>
                  <a:lnTo>
                    <a:pt x="1082" y="2271"/>
                  </a:lnTo>
                  <a:lnTo>
                    <a:pt x="1095" y="2280"/>
                  </a:lnTo>
                  <a:lnTo>
                    <a:pt x="1171" y="2311"/>
                  </a:lnTo>
                  <a:lnTo>
                    <a:pt x="1248" y="2335"/>
                  </a:lnTo>
                  <a:lnTo>
                    <a:pt x="1248" y="1601"/>
                  </a:lnTo>
                  <a:lnTo>
                    <a:pt x="1251" y="1584"/>
                  </a:lnTo>
                  <a:lnTo>
                    <a:pt x="1259" y="1568"/>
                  </a:lnTo>
                  <a:lnTo>
                    <a:pt x="1271" y="1557"/>
                  </a:lnTo>
                  <a:lnTo>
                    <a:pt x="1286" y="1549"/>
                  </a:lnTo>
                  <a:lnTo>
                    <a:pt x="1304" y="1545"/>
                  </a:lnTo>
                  <a:lnTo>
                    <a:pt x="1321" y="1549"/>
                  </a:lnTo>
                  <a:lnTo>
                    <a:pt x="1337" y="1557"/>
                  </a:lnTo>
                  <a:lnTo>
                    <a:pt x="1348" y="1568"/>
                  </a:lnTo>
                  <a:lnTo>
                    <a:pt x="1356" y="1584"/>
                  </a:lnTo>
                  <a:lnTo>
                    <a:pt x="1360" y="1601"/>
                  </a:lnTo>
                  <a:lnTo>
                    <a:pt x="1360" y="2361"/>
                  </a:lnTo>
                  <a:lnTo>
                    <a:pt x="1424" y="2370"/>
                  </a:lnTo>
                  <a:lnTo>
                    <a:pt x="1490" y="2376"/>
                  </a:lnTo>
                  <a:lnTo>
                    <a:pt x="1556" y="2378"/>
                  </a:lnTo>
                  <a:lnTo>
                    <a:pt x="1961" y="2378"/>
                  </a:lnTo>
                  <a:lnTo>
                    <a:pt x="1961" y="2221"/>
                  </a:lnTo>
                  <a:lnTo>
                    <a:pt x="1958" y="2171"/>
                  </a:lnTo>
                  <a:lnTo>
                    <a:pt x="1949" y="2123"/>
                  </a:lnTo>
                  <a:lnTo>
                    <a:pt x="1936" y="2076"/>
                  </a:lnTo>
                  <a:lnTo>
                    <a:pt x="1915" y="2031"/>
                  </a:lnTo>
                  <a:lnTo>
                    <a:pt x="1890" y="1988"/>
                  </a:lnTo>
                  <a:lnTo>
                    <a:pt x="1566" y="1500"/>
                  </a:lnTo>
                  <a:lnTo>
                    <a:pt x="1547" y="1477"/>
                  </a:lnTo>
                  <a:lnTo>
                    <a:pt x="1525" y="1457"/>
                  </a:lnTo>
                  <a:lnTo>
                    <a:pt x="1500" y="1441"/>
                  </a:lnTo>
                  <a:lnTo>
                    <a:pt x="1473" y="1428"/>
                  </a:lnTo>
                  <a:lnTo>
                    <a:pt x="1445" y="1422"/>
                  </a:lnTo>
                  <a:lnTo>
                    <a:pt x="1414" y="1419"/>
                  </a:lnTo>
                  <a:lnTo>
                    <a:pt x="1062" y="1419"/>
                  </a:lnTo>
                  <a:close/>
                  <a:moveTo>
                    <a:pt x="2753" y="353"/>
                  </a:moveTo>
                  <a:lnTo>
                    <a:pt x="2749" y="361"/>
                  </a:lnTo>
                  <a:lnTo>
                    <a:pt x="2571" y="659"/>
                  </a:lnTo>
                  <a:lnTo>
                    <a:pt x="3419" y="1917"/>
                  </a:lnTo>
                  <a:lnTo>
                    <a:pt x="3437" y="1895"/>
                  </a:lnTo>
                  <a:lnTo>
                    <a:pt x="3460" y="1876"/>
                  </a:lnTo>
                  <a:lnTo>
                    <a:pt x="3485" y="1861"/>
                  </a:lnTo>
                  <a:lnTo>
                    <a:pt x="3512" y="1850"/>
                  </a:lnTo>
                  <a:lnTo>
                    <a:pt x="3541" y="1844"/>
                  </a:lnTo>
                  <a:lnTo>
                    <a:pt x="2753" y="353"/>
                  </a:lnTo>
                  <a:close/>
                  <a:moveTo>
                    <a:pt x="2334" y="320"/>
                  </a:moveTo>
                  <a:lnTo>
                    <a:pt x="1562" y="1348"/>
                  </a:lnTo>
                  <a:lnTo>
                    <a:pt x="1590" y="1366"/>
                  </a:lnTo>
                  <a:lnTo>
                    <a:pt x="1616" y="1387"/>
                  </a:lnTo>
                  <a:lnTo>
                    <a:pt x="1638" y="1411"/>
                  </a:lnTo>
                  <a:lnTo>
                    <a:pt x="1658" y="1439"/>
                  </a:lnTo>
                  <a:lnTo>
                    <a:pt x="1827" y="1690"/>
                  </a:lnTo>
                  <a:lnTo>
                    <a:pt x="2555" y="467"/>
                  </a:lnTo>
                  <a:lnTo>
                    <a:pt x="2551" y="467"/>
                  </a:lnTo>
                  <a:lnTo>
                    <a:pt x="2515" y="465"/>
                  </a:lnTo>
                  <a:lnTo>
                    <a:pt x="2481" y="457"/>
                  </a:lnTo>
                  <a:lnTo>
                    <a:pt x="2448" y="444"/>
                  </a:lnTo>
                  <a:lnTo>
                    <a:pt x="2419" y="427"/>
                  </a:lnTo>
                  <a:lnTo>
                    <a:pt x="2391" y="405"/>
                  </a:lnTo>
                  <a:lnTo>
                    <a:pt x="2369" y="380"/>
                  </a:lnTo>
                  <a:lnTo>
                    <a:pt x="2349" y="351"/>
                  </a:lnTo>
                  <a:lnTo>
                    <a:pt x="2334" y="320"/>
                  </a:lnTo>
                  <a:close/>
                  <a:moveTo>
                    <a:pt x="2551" y="111"/>
                  </a:moveTo>
                  <a:lnTo>
                    <a:pt x="2523" y="115"/>
                  </a:lnTo>
                  <a:lnTo>
                    <a:pt x="2498" y="124"/>
                  </a:lnTo>
                  <a:lnTo>
                    <a:pt x="2475" y="138"/>
                  </a:lnTo>
                  <a:lnTo>
                    <a:pt x="2456" y="157"/>
                  </a:lnTo>
                  <a:lnTo>
                    <a:pt x="2441" y="180"/>
                  </a:lnTo>
                  <a:lnTo>
                    <a:pt x="2432" y="205"/>
                  </a:lnTo>
                  <a:lnTo>
                    <a:pt x="2429" y="234"/>
                  </a:lnTo>
                  <a:lnTo>
                    <a:pt x="2432" y="262"/>
                  </a:lnTo>
                  <a:lnTo>
                    <a:pt x="2441" y="287"/>
                  </a:lnTo>
                  <a:lnTo>
                    <a:pt x="2456" y="311"/>
                  </a:lnTo>
                  <a:lnTo>
                    <a:pt x="2475" y="329"/>
                  </a:lnTo>
                  <a:lnTo>
                    <a:pt x="2498" y="344"/>
                  </a:lnTo>
                  <a:lnTo>
                    <a:pt x="2523" y="353"/>
                  </a:lnTo>
                  <a:lnTo>
                    <a:pt x="2551" y="356"/>
                  </a:lnTo>
                  <a:lnTo>
                    <a:pt x="2576" y="354"/>
                  </a:lnTo>
                  <a:lnTo>
                    <a:pt x="2599" y="347"/>
                  </a:lnTo>
                  <a:lnTo>
                    <a:pt x="2619" y="336"/>
                  </a:lnTo>
                  <a:lnTo>
                    <a:pt x="2638" y="321"/>
                  </a:lnTo>
                  <a:lnTo>
                    <a:pt x="2653" y="303"/>
                  </a:lnTo>
                  <a:lnTo>
                    <a:pt x="2656" y="298"/>
                  </a:lnTo>
                  <a:lnTo>
                    <a:pt x="2657" y="297"/>
                  </a:lnTo>
                  <a:lnTo>
                    <a:pt x="2666" y="278"/>
                  </a:lnTo>
                  <a:lnTo>
                    <a:pt x="2672" y="256"/>
                  </a:lnTo>
                  <a:lnTo>
                    <a:pt x="2674" y="234"/>
                  </a:lnTo>
                  <a:lnTo>
                    <a:pt x="2672" y="210"/>
                  </a:lnTo>
                  <a:lnTo>
                    <a:pt x="2665" y="187"/>
                  </a:lnTo>
                  <a:lnTo>
                    <a:pt x="2661" y="180"/>
                  </a:lnTo>
                  <a:lnTo>
                    <a:pt x="2658" y="174"/>
                  </a:lnTo>
                  <a:lnTo>
                    <a:pt x="2643" y="153"/>
                  </a:lnTo>
                  <a:lnTo>
                    <a:pt x="2625" y="136"/>
                  </a:lnTo>
                  <a:lnTo>
                    <a:pt x="2603" y="123"/>
                  </a:lnTo>
                  <a:lnTo>
                    <a:pt x="2579" y="115"/>
                  </a:lnTo>
                  <a:lnTo>
                    <a:pt x="2551" y="111"/>
                  </a:lnTo>
                  <a:close/>
                  <a:moveTo>
                    <a:pt x="2551" y="0"/>
                  </a:moveTo>
                  <a:lnTo>
                    <a:pt x="2591" y="3"/>
                  </a:lnTo>
                  <a:lnTo>
                    <a:pt x="2630" y="12"/>
                  </a:lnTo>
                  <a:lnTo>
                    <a:pt x="2665" y="28"/>
                  </a:lnTo>
                  <a:lnTo>
                    <a:pt x="2696" y="50"/>
                  </a:lnTo>
                  <a:lnTo>
                    <a:pt x="2724" y="75"/>
                  </a:lnTo>
                  <a:lnTo>
                    <a:pt x="2747" y="106"/>
                  </a:lnTo>
                  <a:lnTo>
                    <a:pt x="2766" y="138"/>
                  </a:lnTo>
                  <a:lnTo>
                    <a:pt x="3713" y="1930"/>
                  </a:lnTo>
                  <a:lnTo>
                    <a:pt x="3726" y="1957"/>
                  </a:lnTo>
                  <a:lnTo>
                    <a:pt x="3734" y="1986"/>
                  </a:lnTo>
                  <a:lnTo>
                    <a:pt x="3736" y="2017"/>
                  </a:lnTo>
                  <a:lnTo>
                    <a:pt x="3733" y="2050"/>
                  </a:lnTo>
                  <a:lnTo>
                    <a:pt x="3725" y="2080"/>
                  </a:lnTo>
                  <a:lnTo>
                    <a:pt x="3711" y="2108"/>
                  </a:lnTo>
                  <a:lnTo>
                    <a:pt x="3693" y="2132"/>
                  </a:lnTo>
                  <a:lnTo>
                    <a:pt x="3672" y="2153"/>
                  </a:lnTo>
                  <a:lnTo>
                    <a:pt x="3646" y="2170"/>
                  </a:lnTo>
                  <a:lnTo>
                    <a:pt x="3617" y="2183"/>
                  </a:lnTo>
                  <a:lnTo>
                    <a:pt x="3617" y="2612"/>
                  </a:lnTo>
                  <a:lnTo>
                    <a:pt x="3617" y="2620"/>
                  </a:lnTo>
                  <a:lnTo>
                    <a:pt x="3616" y="2626"/>
                  </a:lnTo>
                  <a:lnTo>
                    <a:pt x="3609" y="2660"/>
                  </a:lnTo>
                  <a:lnTo>
                    <a:pt x="3597" y="2693"/>
                  </a:lnTo>
                  <a:lnTo>
                    <a:pt x="3580" y="2724"/>
                  </a:lnTo>
                  <a:lnTo>
                    <a:pt x="3559" y="2752"/>
                  </a:lnTo>
                  <a:lnTo>
                    <a:pt x="3533" y="2777"/>
                  </a:lnTo>
                  <a:lnTo>
                    <a:pt x="3504" y="2799"/>
                  </a:lnTo>
                  <a:lnTo>
                    <a:pt x="3471" y="2815"/>
                  </a:lnTo>
                  <a:lnTo>
                    <a:pt x="3282" y="2891"/>
                  </a:lnTo>
                  <a:lnTo>
                    <a:pt x="3231" y="2908"/>
                  </a:lnTo>
                  <a:lnTo>
                    <a:pt x="3180" y="2918"/>
                  </a:lnTo>
                  <a:lnTo>
                    <a:pt x="3127" y="2920"/>
                  </a:lnTo>
                  <a:lnTo>
                    <a:pt x="3081" y="2918"/>
                  </a:lnTo>
                  <a:lnTo>
                    <a:pt x="3034" y="2910"/>
                  </a:lnTo>
                  <a:lnTo>
                    <a:pt x="2989" y="2896"/>
                  </a:lnTo>
                  <a:lnTo>
                    <a:pt x="2946" y="2878"/>
                  </a:lnTo>
                  <a:lnTo>
                    <a:pt x="2904" y="2855"/>
                  </a:lnTo>
                  <a:lnTo>
                    <a:pt x="2865" y="2826"/>
                  </a:lnTo>
                  <a:lnTo>
                    <a:pt x="2454" y="2487"/>
                  </a:lnTo>
                  <a:lnTo>
                    <a:pt x="2442" y="2474"/>
                  </a:lnTo>
                  <a:lnTo>
                    <a:pt x="2436" y="2458"/>
                  </a:lnTo>
                  <a:lnTo>
                    <a:pt x="2433" y="2441"/>
                  </a:lnTo>
                  <a:lnTo>
                    <a:pt x="2438" y="2424"/>
                  </a:lnTo>
                  <a:lnTo>
                    <a:pt x="2447" y="2409"/>
                  </a:lnTo>
                  <a:lnTo>
                    <a:pt x="2459" y="2397"/>
                  </a:lnTo>
                  <a:lnTo>
                    <a:pt x="2475" y="2390"/>
                  </a:lnTo>
                  <a:lnTo>
                    <a:pt x="2492" y="2388"/>
                  </a:lnTo>
                  <a:lnTo>
                    <a:pt x="2509" y="2393"/>
                  </a:lnTo>
                  <a:lnTo>
                    <a:pt x="2525" y="2402"/>
                  </a:lnTo>
                  <a:lnTo>
                    <a:pt x="2656" y="2509"/>
                  </a:lnTo>
                  <a:lnTo>
                    <a:pt x="3418" y="2203"/>
                  </a:lnTo>
                  <a:lnTo>
                    <a:pt x="3431" y="2200"/>
                  </a:lnTo>
                  <a:lnTo>
                    <a:pt x="3446" y="2200"/>
                  </a:lnTo>
                  <a:lnTo>
                    <a:pt x="3460" y="2204"/>
                  </a:lnTo>
                  <a:lnTo>
                    <a:pt x="3472" y="2211"/>
                  </a:lnTo>
                  <a:lnTo>
                    <a:pt x="3482" y="2221"/>
                  </a:lnTo>
                  <a:lnTo>
                    <a:pt x="3490" y="2235"/>
                  </a:lnTo>
                  <a:lnTo>
                    <a:pt x="3506" y="2275"/>
                  </a:lnTo>
                  <a:lnTo>
                    <a:pt x="3506" y="2183"/>
                  </a:lnTo>
                  <a:lnTo>
                    <a:pt x="3478" y="2170"/>
                  </a:lnTo>
                  <a:lnTo>
                    <a:pt x="3452" y="2152"/>
                  </a:lnTo>
                  <a:lnTo>
                    <a:pt x="3429" y="2131"/>
                  </a:lnTo>
                  <a:lnTo>
                    <a:pt x="3411" y="2106"/>
                  </a:lnTo>
                  <a:lnTo>
                    <a:pt x="2507" y="766"/>
                  </a:lnTo>
                  <a:lnTo>
                    <a:pt x="1895" y="1794"/>
                  </a:lnTo>
                  <a:lnTo>
                    <a:pt x="1983" y="1926"/>
                  </a:lnTo>
                  <a:lnTo>
                    <a:pt x="2010" y="1971"/>
                  </a:lnTo>
                  <a:lnTo>
                    <a:pt x="2032" y="2018"/>
                  </a:lnTo>
                  <a:lnTo>
                    <a:pt x="2050" y="2067"/>
                  </a:lnTo>
                  <a:lnTo>
                    <a:pt x="2063" y="2117"/>
                  </a:lnTo>
                  <a:lnTo>
                    <a:pt x="2069" y="2168"/>
                  </a:lnTo>
                  <a:lnTo>
                    <a:pt x="2073" y="2221"/>
                  </a:lnTo>
                  <a:lnTo>
                    <a:pt x="2073" y="2433"/>
                  </a:lnTo>
                  <a:lnTo>
                    <a:pt x="2072" y="2441"/>
                  </a:lnTo>
                  <a:lnTo>
                    <a:pt x="2069" y="2452"/>
                  </a:lnTo>
                  <a:lnTo>
                    <a:pt x="2066" y="2460"/>
                  </a:lnTo>
                  <a:lnTo>
                    <a:pt x="2064" y="2463"/>
                  </a:lnTo>
                  <a:lnTo>
                    <a:pt x="2063" y="2465"/>
                  </a:lnTo>
                  <a:lnTo>
                    <a:pt x="2060" y="2469"/>
                  </a:lnTo>
                  <a:lnTo>
                    <a:pt x="2059" y="2469"/>
                  </a:lnTo>
                  <a:lnTo>
                    <a:pt x="2058" y="2471"/>
                  </a:lnTo>
                  <a:lnTo>
                    <a:pt x="2056" y="2473"/>
                  </a:lnTo>
                  <a:lnTo>
                    <a:pt x="2055" y="2474"/>
                  </a:lnTo>
                  <a:lnTo>
                    <a:pt x="2052" y="2477"/>
                  </a:lnTo>
                  <a:lnTo>
                    <a:pt x="2050" y="2478"/>
                  </a:lnTo>
                  <a:lnTo>
                    <a:pt x="2048" y="2480"/>
                  </a:lnTo>
                  <a:lnTo>
                    <a:pt x="2043" y="2482"/>
                  </a:lnTo>
                  <a:lnTo>
                    <a:pt x="2039" y="2485"/>
                  </a:lnTo>
                  <a:lnTo>
                    <a:pt x="2039" y="2485"/>
                  </a:lnTo>
                  <a:lnTo>
                    <a:pt x="2035" y="2486"/>
                  </a:lnTo>
                  <a:lnTo>
                    <a:pt x="2033" y="2487"/>
                  </a:lnTo>
                  <a:lnTo>
                    <a:pt x="2031" y="2488"/>
                  </a:lnTo>
                  <a:lnTo>
                    <a:pt x="2027" y="2488"/>
                  </a:lnTo>
                  <a:lnTo>
                    <a:pt x="2024" y="2489"/>
                  </a:lnTo>
                  <a:lnTo>
                    <a:pt x="2023" y="2489"/>
                  </a:lnTo>
                  <a:lnTo>
                    <a:pt x="2019" y="2489"/>
                  </a:lnTo>
                  <a:lnTo>
                    <a:pt x="2017" y="2489"/>
                  </a:lnTo>
                  <a:lnTo>
                    <a:pt x="1954" y="2489"/>
                  </a:lnTo>
                  <a:lnTo>
                    <a:pt x="1954" y="2672"/>
                  </a:lnTo>
                  <a:lnTo>
                    <a:pt x="1950" y="2689"/>
                  </a:lnTo>
                  <a:lnTo>
                    <a:pt x="1942" y="2705"/>
                  </a:lnTo>
                  <a:lnTo>
                    <a:pt x="1931" y="2716"/>
                  </a:lnTo>
                  <a:lnTo>
                    <a:pt x="1915" y="2724"/>
                  </a:lnTo>
                  <a:lnTo>
                    <a:pt x="1898" y="2727"/>
                  </a:lnTo>
                  <a:lnTo>
                    <a:pt x="1418" y="2727"/>
                  </a:lnTo>
                  <a:lnTo>
                    <a:pt x="1418" y="2853"/>
                  </a:lnTo>
                  <a:lnTo>
                    <a:pt x="1838" y="2853"/>
                  </a:lnTo>
                  <a:lnTo>
                    <a:pt x="1890" y="2857"/>
                  </a:lnTo>
                  <a:lnTo>
                    <a:pt x="1940" y="2866"/>
                  </a:lnTo>
                  <a:lnTo>
                    <a:pt x="1988" y="2882"/>
                  </a:lnTo>
                  <a:lnTo>
                    <a:pt x="2032" y="2902"/>
                  </a:lnTo>
                  <a:lnTo>
                    <a:pt x="2074" y="2927"/>
                  </a:lnTo>
                  <a:lnTo>
                    <a:pt x="2112" y="2958"/>
                  </a:lnTo>
                  <a:lnTo>
                    <a:pt x="2146" y="2992"/>
                  </a:lnTo>
                  <a:lnTo>
                    <a:pt x="2177" y="3030"/>
                  </a:lnTo>
                  <a:lnTo>
                    <a:pt x="2202" y="3072"/>
                  </a:lnTo>
                  <a:lnTo>
                    <a:pt x="2222" y="3116"/>
                  </a:lnTo>
                  <a:lnTo>
                    <a:pt x="2238" y="3164"/>
                  </a:lnTo>
                  <a:lnTo>
                    <a:pt x="2247" y="3214"/>
                  </a:lnTo>
                  <a:lnTo>
                    <a:pt x="2251" y="3266"/>
                  </a:lnTo>
                  <a:lnTo>
                    <a:pt x="2247" y="3317"/>
                  </a:lnTo>
                  <a:lnTo>
                    <a:pt x="2238" y="3367"/>
                  </a:lnTo>
                  <a:lnTo>
                    <a:pt x="2222" y="3415"/>
                  </a:lnTo>
                  <a:lnTo>
                    <a:pt x="2202" y="3460"/>
                  </a:lnTo>
                  <a:lnTo>
                    <a:pt x="2177" y="3501"/>
                  </a:lnTo>
                  <a:lnTo>
                    <a:pt x="2146" y="3540"/>
                  </a:lnTo>
                  <a:lnTo>
                    <a:pt x="2112" y="3574"/>
                  </a:lnTo>
                  <a:lnTo>
                    <a:pt x="2074" y="3604"/>
                  </a:lnTo>
                  <a:lnTo>
                    <a:pt x="2032" y="3630"/>
                  </a:lnTo>
                  <a:lnTo>
                    <a:pt x="1988" y="3651"/>
                  </a:lnTo>
                  <a:lnTo>
                    <a:pt x="1940" y="3666"/>
                  </a:lnTo>
                  <a:lnTo>
                    <a:pt x="1890" y="3676"/>
                  </a:lnTo>
                  <a:lnTo>
                    <a:pt x="1838" y="3678"/>
                  </a:lnTo>
                  <a:lnTo>
                    <a:pt x="413" y="3678"/>
                  </a:lnTo>
                  <a:lnTo>
                    <a:pt x="360" y="3676"/>
                  </a:lnTo>
                  <a:lnTo>
                    <a:pt x="311" y="3666"/>
                  </a:lnTo>
                  <a:lnTo>
                    <a:pt x="263" y="3651"/>
                  </a:lnTo>
                  <a:lnTo>
                    <a:pt x="219" y="3630"/>
                  </a:lnTo>
                  <a:lnTo>
                    <a:pt x="177" y="3604"/>
                  </a:lnTo>
                  <a:lnTo>
                    <a:pt x="138" y="3574"/>
                  </a:lnTo>
                  <a:lnTo>
                    <a:pt x="104" y="3540"/>
                  </a:lnTo>
                  <a:lnTo>
                    <a:pt x="74" y="3501"/>
                  </a:lnTo>
                  <a:lnTo>
                    <a:pt x="49" y="3460"/>
                  </a:lnTo>
                  <a:lnTo>
                    <a:pt x="28" y="3415"/>
                  </a:lnTo>
                  <a:lnTo>
                    <a:pt x="12" y="3367"/>
                  </a:lnTo>
                  <a:lnTo>
                    <a:pt x="3" y="3317"/>
                  </a:lnTo>
                  <a:lnTo>
                    <a:pt x="0" y="3266"/>
                  </a:lnTo>
                  <a:lnTo>
                    <a:pt x="3" y="3214"/>
                  </a:lnTo>
                  <a:lnTo>
                    <a:pt x="12" y="3164"/>
                  </a:lnTo>
                  <a:lnTo>
                    <a:pt x="28" y="3116"/>
                  </a:lnTo>
                  <a:lnTo>
                    <a:pt x="49" y="3072"/>
                  </a:lnTo>
                  <a:lnTo>
                    <a:pt x="74" y="3030"/>
                  </a:lnTo>
                  <a:lnTo>
                    <a:pt x="104" y="2992"/>
                  </a:lnTo>
                  <a:lnTo>
                    <a:pt x="138" y="2958"/>
                  </a:lnTo>
                  <a:lnTo>
                    <a:pt x="177" y="2927"/>
                  </a:lnTo>
                  <a:lnTo>
                    <a:pt x="219" y="2902"/>
                  </a:lnTo>
                  <a:lnTo>
                    <a:pt x="263" y="2882"/>
                  </a:lnTo>
                  <a:lnTo>
                    <a:pt x="311" y="2866"/>
                  </a:lnTo>
                  <a:lnTo>
                    <a:pt x="360" y="2857"/>
                  </a:lnTo>
                  <a:lnTo>
                    <a:pt x="413" y="2853"/>
                  </a:lnTo>
                  <a:lnTo>
                    <a:pt x="832" y="2853"/>
                  </a:lnTo>
                  <a:lnTo>
                    <a:pt x="832" y="2727"/>
                  </a:lnTo>
                  <a:lnTo>
                    <a:pt x="353" y="2727"/>
                  </a:lnTo>
                  <a:lnTo>
                    <a:pt x="317" y="2724"/>
                  </a:lnTo>
                  <a:lnTo>
                    <a:pt x="284" y="2714"/>
                  </a:lnTo>
                  <a:lnTo>
                    <a:pt x="255" y="2698"/>
                  </a:lnTo>
                  <a:lnTo>
                    <a:pt x="229" y="2676"/>
                  </a:lnTo>
                  <a:lnTo>
                    <a:pt x="209" y="2650"/>
                  </a:lnTo>
                  <a:lnTo>
                    <a:pt x="192" y="2621"/>
                  </a:lnTo>
                  <a:lnTo>
                    <a:pt x="181" y="2588"/>
                  </a:lnTo>
                  <a:lnTo>
                    <a:pt x="178" y="2553"/>
                  </a:lnTo>
                  <a:lnTo>
                    <a:pt x="178" y="2136"/>
                  </a:lnTo>
                  <a:lnTo>
                    <a:pt x="181" y="2101"/>
                  </a:lnTo>
                  <a:lnTo>
                    <a:pt x="192" y="2068"/>
                  </a:lnTo>
                  <a:lnTo>
                    <a:pt x="209" y="2039"/>
                  </a:lnTo>
                  <a:lnTo>
                    <a:pt x="229" y="2013"/>
                  </a:lnTo>
                  <a:lnTo>
                    <a:pt x="255" y="1991"/>
                  </a:lnTo>
                  <a:lnTo>
                    <a:pt x="284" y="1975"/>
                  </a:lnTo>
                  <a:lnTo>
                    <a:pt x="317" y="1965"/>
                  </a:lnTo>
                  <a:lnTo>
                    <a:pt x="353" y="1962"/>
                  </a:lnTo>
                  <a:lnTo>
                    <a:pt x="713" y="1962"/>
                  </a:lnTo>
                  <a:lnTo>
                    <a:pt x="713" y="1601"/>
                  </a:lnTo>
                  <a:lnTo>
                    <a:pt x="717" y="1558"/>
                  </a:lnTo>
                  <a:lnTo>
                    <a:pt x="726" y="1517"/>
                  </a:lnTo>
                  <a:lnTo>
                    <a:pt x="740" y="1477"/>
                  </a:lnTo>
                  <a:lnTo>
                    <a:pt x="761" y="1442"/>
                  </a:lnTo>
                  <a:lnTo>
                    <a:pt x="785" y="1409"/>
                  </a:lnTo>
                  <a:lnTo>
                    <a:pt x="814" y="1380"/>
                  </a:lnTo>
                  <a:lnTo>
                    <a:pt x="847" y="1355"/>
                  </a:lnTo>
                  <a:lnTo>
                    <a:pt x="883" y="1335"/>
                  </a:lnTo>
                  <a:lnTo>
                    <a:pt x="922" y="1321"/>
                  </a:lnTo>
                  <a:lnTo>
                    <a:pt x="963" y="1310"/>
                  </a:lnTo>
                  <a:lnTo>
                    <a:pt x="1007" y="1308"/>
                  </a:lnTo>
                  <a:lnTo>
                    <a:pt x="1414" y="1308"/>
                  </a:lnTo>
                  <a:lnTo>
                    <a:pt x="1452" y="1310"/>
                  </a:lnTo>
                  <a:lnTo>
                    <a:pt x="2359" y="101"/>
                  </a:lnTo>
                  <a:lnTo>
                    <a:pt x="2359" y="101"/>
                  </a:lnTo>
                  <a:lnTo>
                    <a:pt x="2382" y="73"/>
                  </a:lnTo>
                  <a:lnTo>
                    <a:pt x="2410" y="48"/>
                  </a:lnTo>
                  <a:lnTo>
                    <a:pt x="2441" y="27"/>
                  </a:lnTo>
                  <a:lnTo>
                    <a:pt x="2475" y="12"/>
                  </a:lnTo>
                  <a:lnTo>
                    <a:pt x="2513" y="3"/>
                  </a:lnTo>
                  <a:lnTo>
                    <a:pt x="2551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</p:grpSp>
      <p:sp>
        <p:nvSpPr>
          <p:cNvPr id="23625" name="TextBox 158">
            <a:extLst>
              <a:ext uri="{FF2B5EF4-FFF2-40B4-BE49-F238E27FC236}">
                <a16:creationId xmlns:a16="http://schemas.microsoft.com/office/drawing/2014/main" id="{E039C87F-72AD-4054-B63A-554ACFFB9E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4663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26" name="TextBox 159">
            <a:extLst>
              <a:ext uri="{FF2B5EF4-FFF2-40B4-BE49-F238E27FC236}">
                <a16:creationId xmlns:a16="http://schemas.microsoft.com/office/drawing/2014/main" id="{C89D28E8-6E73-4458-A352-42A749EC09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3488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27" name="TextBox 127">
            <a:extLst>
              <a:ext uri="{FF2B5EF4-FFF2-40B4-BE49-F238E27FC236}">
                <a16:creationId xmlns:a16="http://schemas.microsoft.com/office/drawing/2014/main" id="{D2C4F5E9-E854-4896-8355-45DEC69063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7813" y="6378575"/>
            <a:ext cx="426243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Sources: National Bureau of Statistics, World Bank Report on Doing Business in Nigeria 2018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climate-data.org, State Government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Exchange rate= $1/N305 (Central Bank of Nigeria)</a:t>
            </a:r>
          </a:p>
        </p:txBody>
      </p:sp>
      <p:sp>
        <p:nvSpPr>
          <p:cNvPr id="23628" name="TextBox 128">
            <a:extLst>
              <a:ext uri="{FF2B5EF4-FFF2-40B4-BE49-F238E27FC236}">
                <a16:creationId xmlns:a16="http://schemas.microsoft.com/office/drawing/2014/main" id="{409BCC6F-A5F0-4C79-BB4A-38A1ABC14F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28548" y="3640364"/>
            <a:ext cx="57740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Cassava </a:t>
            </a:r>
          </a:p>
        </p:txBody>
      </p:sp>
      <p:sp>
        <p:nvSpPr>
          <p:cNvPr id="23629" name="TextBox 129">
            <a:extLst>
              <a:ext uri="{FF2B5EF4-FFF2-40B4-BE49-F238E27FC236}">
                <a16:creationId xmlns:a16="http://schemas.microsoft.com/office/drawing/2014/main" id="{489E7B41-20C9-4493-8E7D-07238EB8FA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70517" y="3645455"/>
            <a:ext cx="40588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Gold</a:t>
            </a:r>
          </a:p>
        </p:txBody>
      </p:sp>
      <p:sp>
        <p:nvSpPr>
          <p:cNvPr id="23630" name="TextBox 130">
            <a:extLst>
              <a:ext uri="{FF2B5EF4-FFF2-40B4-BE49-F238E27FC236}">
                <a16:creationId xmlns:a16="http://schemas.microsoft.com/office/drawing/2014/main" id="{048DE5D8-5309-42DA-9D97-2935A10CB7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31" name="TextBox 131">
            <a:extLst>
              <a:ext uri="{FF2B5EF4-FFF2-40B4-BE49-F238E27FC236}">
                <a16:creationId xmlns:a16="http://schemas.microsoft.com/office/drawing/2014/main" id="{FF8B6C80-43E2-43AF-A364-A31845F05C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73963" y="3647088"/>
            <a:ext cx="56778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Tourism</a:t>
            </a:r>
          </a:p>
        </p:txBody>
      </p:sp>
      <p:sp>
        <p:nvSpPr>
          <p:cNvPr id="23632" name="TextBox 132">
            <a:extLst>
              <a:ext uri="{FF2B5EF4-FFF2-40B4-BE49-F238E27FC236}">
                <a16:creationId xmlns:a16="http://schemas.microsoft.com/office/drawing/2014/main" id="{A1C640C1-61D1-4BA5-8A76-E684397E8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15349" y="3641158"/>
            <a:ext cx="47000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altLang="en-US" sz="900" dirty="0">
                <a:solidFill>
                  <a:prstClr val="black"/>
                </a:solidFill>
                <a:latin typeface="Calibri" panose="020F0502020204030204" pitchFamily="34" charset="0"/>
              </a:rPr>
              <a:t>C</a:t>
            </a:r>
            <a:r>
              <a:rPr kumimoji="0" lang="en-GB" altLang="en-US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ocoa</a:t>
            </a:r>
            <a:endParaRPr kumimoji="0" lang="en-GB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638" name="TextBox 141">
            <a:extLst>
              <a:ext uri="{FF2B5EF4-FFF2-40B4-BE49-F238E27FC236}">
                <a16:creationId xmlns:a16="http://schemas.microsoft.com/office/drawing/2014/main" id="{EE481231-8673-4FD7-B5CC-900AEE7A9F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65858" y="3652271"/>
            <a:ext cx="532518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cashew</a:t>
            </a:r>
          </a:p>
        </p:txBody>
      </p:sp>
      <p:grpSp>
        <p:nvGrpSpPr>
          <p:cNvPr id="23659" name="Group 139">
            <a:extLst>
              <a:ext uri="{FF2B5EF4-FFF2-40B4-BE49-F238E27FC236}">
                <a16:creationId xmlns:a16="http://schemas.microsoft.com/office/drawing/2014/main" id="{E08BAEA7-B520-4BF2-8862-C8047EE65DEB}"/>
              </a:ext>
            </a:extLst>
          </p:cNvPr>
          <p:cNvGrpSpPr>
            <a:grpSpLocks/>
          </p:cNvGrpSpPr>
          <p:nvPr/>
        </p:nvGrpSpPr>
        <p:grpSpPr bwMode="auto">
          <a:xfrm>
            <a:off x="4760913" y="4606925"/>
            <a:ext cx="928687" cy="187325"/>
            <a:chOff x="4880067" y="5445518"/>
            <a:chExt cx="635585" cy="128478"/>
          </a:xfrm>
        </p:grpSpPr>
        <p:sp>
          <p:nvSpPr>
            <p:cNvPr id="23681" name="object 53">
              <a:extLst>
                <a:ext uri="{FF2B5EF4-FFF2-40B4-BE49-F238E27FC236}">
                  <a16:creationId xmlns:a16="http://schemas.microsoft.com/office/drawing/2014/main" id="{3DA8E9F9-0B25-4361-B2E5-6321A7D3F3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80067" y="5445518"/>
              <a:ext cx="144548" cy="128478"/>
            </a:xfrm>
            <a:custGeom>
              <a:avLst/>
              <a:gdLst>
                <a:gd name="T0" fmla="*/ 0 w 342900"/>
                <a:gd name="T1" fmla="*/ 18382 h 342900"/>
                <a:gd name="T2" fmla="*/ 23267 w 342900"/>
                <a:gd name="T3" fmla="*/ 18382 h 342900"/>
                <a:gd name="T4" fmla="*/ 30467 w 342900"/>
                <a:gd name="T5" fmla="*/ 0 h 342900"/>
                <a:gd name="T6" fmla="*/ 37667 w 342900"/>
                <a:gd name="T7" fmla="*/ 18382 h 342900"/>
                <a:gd name="T8" fmla="*/ 60934 w 342900"/>
                <a:gd name="T9" fmla="*/ 18382 h 342900"/>
                <a:gd name="T10" fmla="*/ 42112 w 342900"/>
                <a:gd name="T11" fmla="*/ 29756 h 342900"/>
                <a:gd name="T12" fmla="*/ 49288 w 342900"/>
                <a:gd name="T13" fmla="*/ 48138 h 342900"/>
                <a:gd name="T14" fmla="*/ 30467 w 342900"/>
                <a:gd name="T15" fmla="*/ 36782 h 342900"/>
                <a:gd name="T16" fmla="*/ 11645 w 342900"/>
                <a:gd name="T17" fmla="*/ 48138 h 342900"/>
                <a:gd name="T18" fmla="*/ 18822 w 342900"/>
                <a:gd name="T19" fmla="*/ 29756 h 342900"/>
                <a:gd name="T20" fmla="*/ 0 w 342900"/>
                <a:gd name="T21" fmla="*/ 18382 h 3429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42900"/>
                <a:gd name="T34" fmla="*/ 0 h 342900"/>
                <a:gd name="T35" fmla="*/ 342900 w 342900"/>
                <a:gd name="T36" fmla="*/ 342900 h 3429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42900" h="342900">
                  <a:moveTo>
                    <a:pt x="0" y="130942"/>
                  </a:moveTo>
                  <a:lnTo>
                    <a:pt x="130932" y="130942"/>
                  </a:lnTo>
                  <a:lnTo>
                    <a:pt x="171449" y="0"/>
                  </a:lnTo>
                  <a:lnTo>
                    <a:pt x="211967" y="130942"/>
                  </a:lnTo>
                  <a:lnTo>
                    <a:pt x="342899" y="130942"/>
                  </a:lnTo>
                  <a:lnTo>
                    <a:pt x="236981" y="211957"/>
                  </a:lnTo>
                  <a:lnTo>
                    <a:pt x="277367" y="342899"/>
                  </a:lnTo>
                  <a:lnTo>
                    <a:pt x="171449" y="262006"/>
                  </a:lnTo>
                  <a:lnTo>
                    <a:pt x="65531" y="342899"/>
                  </a:lnTo>
                  <a:lnTo>
                    <a:pt x="105917" y="211957"/>
                  </a:lnTo>
                  <a:lnTo>
                    <a:pt x="0" y="130942"/>
                  </a:lnTo>
                  <a:close/>
                </a:path>
              </a:pathLst>
            </a:custGeom>
            <a:solidFill>
              <a:srgbClr val="FF0000"/>
            </a:solidFill>
            <a:ln w="9143">
              <a:solidFill>
                <a:srgbClr val="FF0000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682" name="object 53">
              <a:extLst>
                <a:ext uri="{FF2B5EF4-FFF2-40B4-BE49-F238E27FC236}">
                  <a16:creationId xmlns:a16="http://schemas.microsoft.com/office/drawing/2014/main" id="{48562C28-FBD6-4159-ABCF-90C0BA7D97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3746" y="5445518"/>
              <a:ext cx="144548" cy="128478"/>
            </a:xfrm>
            <a:custGeom>
              <a:avLst/>
              <a:gdLst>
                <a:gd name="T0" fmla="*/ 0 w 342900"/>
                <a:gd name="T1" fmla="*/ 18382 h 342900"/>
                <a:gd name="T2" fmla="*/ 23267 w 342900"/>
                <a:gd name="T3" fmla="*/ 18382 h 342900"/>
                <a:gd name="T4" fmla="*/ 30467 w 342900"/>
                <a:gd name="T5" fmla="*/ 0 h 342900"/>
                <a:gd name="T6" fmla="*/ 37667 w 342900"/>
                <a:gd name="T7" fmla="*/ 18382 h 342900"/>
                <a:gd name="T8" fmla="*/ 60934 w 342900"/>
                <a:gd name="T9" fmla="*/ 18382 h 342900"/>
                <a:gd name="T10" fmla="*/ 42112 w 342900"/>
                <a:gd name="T11" fmla="*/ 29756 h 342900"/>
                <a:gd name="T12" fmla="*/ 49288 w 342900"/>
                <a:gd name="T13" fmla="*/ 48138 h 342900"/>
                <a:gd name="T14" fmla="*/ 30467 w 342900"/>
                <a:gd name="T15" fmla="*/ 36782 h 342900"/>
                <a:gd name="T16" fmla="*/ 11645 w 342900"/>
                <a:gd name="T17" fmla="*/ 48138 h 342900"/>
                <a:gd name="T18" fmla="*/ 18822 w 342900"/>
                <a:gd name="T19" fmla="*/ 29756 h 342900"/>
                <a:gd name="T20" fmla="*/ 0 w 342900"/>
                <a:gd name="T21" fmla="*/ 18382 h 3429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42900"/>
                <a:gd name="T34" fmla="*/ 0 h 342900"/>
                <a:gd name="T35" fmla="*/ 342900 w 342900"/>
                <a:gd name="T36" fmla="*/ 342900 h 3429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42900" h="342900">
                  <a:moveTo>
                    <a:pt x="0" y="130942"/>
                  </a:moveTo>
                  <a:lnTo>
                    <a:pt x="130932" y="130942"/>
                  </a:lnTo>
                  <a:lnTo>
                    <a:pt x="171449" y="0"/>
                  </a:lnTo>
                  <a:lnTo>
                    <a:pt x="211967" y="130942"/>
                  </a:lnTo>
                  <a:lnTo>
                    <a:pt x="342899" y="130942"/>
                  </a:lnTo>
                  <a:lnTo>
                    <a:pt x="236981" y="211957"/>
                  </a:lnTo>
                  <a:lnTo>
                    <a:pt x="277367" y="342899"/>
                  </a:lnTo>
                  <a:lnTo>
                    <a:pt x="171449" y="262006"/>
                  </a:lnTo>
                  <a:lnTo>
                    <a:pt x="65531" y="342899"/>
                  </a:lnTo>
                  <a:lnTo>
                    <a:pt x="105917" y="211957"/>
                  </a:lnTo>
                  <a:lnTo>
                    <a:pt x="0" y="130942"/>
                  </a:lnTo>
                  <a:close/>
                </a:path>
              </a:pathLst>
            </a:custGeom>
            <a:solidFill>
              <a:srgbClr val="FF0000"/>
            </a:solidFill>
            <a:ln w="9143">
              <a:solidFill>
                <a:srgbClr val="FF0000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683" name="object 53">
              <a:extLst>
                <a:ext uri="{FF2B5EF4-FFF2-40B4-BE49-F238E27FC236}">
                  <a16:creationId xmlns:a16="http://schemas.microsoft.com/office/drawing/2014/main" id="{6AA9EC38-167C-4FAD-84CC-4372823726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07425" y="5445518"/>
              <a:ext cx="144548" cy="128478"/>
            </a:xfrm>
            <a:custGeom>
              <a:avLst/>
              <a:gdLst>
                <a:gd name="T0" fmla="*/ 0 w 342900"/>
                <a:gd name="T1" fmla="*/ 18382 h 342900"/>
                <a:gd name="T2" fmla="*/ 23267 w 342900"/>
                <a:gd name="T3" fmla="*/ 18382 h 342900"/>
                <a:gd name="T4" fmla="*/ 30467 w 342900"/>
                <a:gd name="T5" fmla="*/ 0 h 342900"/>
                <a:gd name="T6" fmla="*/ 37667 w 342900"/>
                <a:gd name="T7" fmla="*/ 18382 h 342900"/>
                <a:gd name="T8" fmla="*/ 60934 w 342900"/>
                <a:gd name="T9" fmla="*/ 18382 h 342900"/>
                <a:gd name="T10" fmla="*/ 42112 w 342900"/>
                <a:gd name="T11" fmla="*/ 29756 h 342900"/>
                <a:gd name="T12" fmla="*/ 49288 w 342900"/>
                <a:gd name="T13" fmla="*/ 48138 h 342900"/>
                <a:gd name="T14" fmla="*/ 30467 w 342900"/>
                <a:gd name="T15" fmla="*/ 36782 h 342900"/>
                <a:gd name="T16" fmla="*/ 11645 w 342900"/>
                <a:gd name="T17" fmla="*/ 48138 h 342900"/>
                <a:gd name="T18" fmla="*/ 18822 w 342900"/>
                <a:gd name="T19" fmla="*/ 29756 h 342900"/>
                <a:gd name="T20" fmla="*/ 0 w 342900"/>
                <a:gd name="T21" fmla="*/ 18382 h 3429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42900"/>
                <a:gd name="T34" fmla="*/ 0 h 342900"/>
                <a:gd name="T35" fmla="*/ 342900 w 342900"/>
                <a:gd name="T36" fmla="*/ 342900 h 3429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42900" h="342900">
                  <a:moveTo>
                    <a:pt x="0" y="130942"/>
                  </a:moveTo>
                  <a:lnTo>
                    <a:pt x="130932" y="130942"/>
                  </a:lnTo>
                  <a:lnTo>
                    <a:pt x="171449" y="0"/>
                  </a:lnTo>
                  <a:lnTo>
                    <a:pt x="211967" y="130942"/>
                  </a:lnTo>
                  <a:lnTo>
                    <a:pt x="342899" y="130942"/>
                  </a:lnTo>
                  <a:lnTo>
                    <a:pt x="236981" y="211957"/>
                  </a:lnTo>
                  <a:lnTo>
                    <a:pt x="277367" y="342899"/>
                  </a:lnTo>
                  <a:lnTo>
                    <a:pt x="171449" y="262006"/>
                  </a:lnTo>
                  <a:lnTo>
                    <a:pt x="65531" y="342899"/>
                  </a:lnTo>
                  <a:lnTo>
                    <a:pt x="105917" y="211957"/>
                  </a:lnTo>
                  <a:lnTo>
                    <a:pt x="0" y="130942"/>
                  </a:lnTo>
                  <a:close/>
                </a:path>
              </a:pathLst>
            </a:custGeom>
            <a:solidFill>
              <a:srgbClr val="FF0000"/>
            </a:solidFill>
            <a:ln w="9143">
              <a:solidFill>
                <a:srgbClr val="FF0000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684" name="object 53">
              <a:extLst>
                <a:ext uri="{FF2B5EF4-FFF2-40B4-BE49-F238E27FC236}">
                  <a16:creationId xmlns:a16="http://schemas.microsoft.com/office/drawing/2014/main" id="{AFF99537-0A7D-4A23-B3A1-CCA3C9B845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71104" y="5445518"/>
              <a:ext cx="144548" cy="128478"/>
            </a:xfrm>
            <a:custGeom>
              <a:avLst/>
              <a:gdLst>
                <a:gd name="T0" fmla="*/ 0 w 342900"/>
                <a:gd name="T1" fmla="*/ 18382 h 342900"/>
                <a:gd name="T2" fmla="*/ 23267 w 342900"/>
                <a:gd name="T3" fmla="*/ 18382 h 342900"/>
                <a:gd name="T4" fmla="*/ 30467 w 342900"/>
                <a:gd name="T5" fmla="*/ 0 h 342900"/>
                <a:gd name="T6" fmla="*/ 37667 w 342900"/>
                <a:gd name="T7" fmla="*/ 18382 h 342900"/>
                <a:gd name="T8" fmla="*/ 60934 w 342900"/>
                <a:gd name="T9" fmla="*/ 18382 h 342900"/>
                <a:gd name="T10" fmla="*/ 42112 w 342900"/>
                <a:gd name="T11" fmla="*/ 29756 h 342900"/>
                <a:gd name="T12" fmla="*/ 49288 w 342900"/>
                <a:gd name="T13" fmla="*/ 48138 h 342900"/>
                <a:gd name="T14" fmla="*/ 30467 w 342900"/>
                <a:gd name="T15" fmla="*/ 36782 h 342900"/>
                <a:gd name="T16" fmla="*/ 11645 w 342900"/>
                <a:gd name="T17" fmla="*/ 48138 h 342900"/>
                <a:gd name="T18" fmla="*/ 18822 w 342900"/>
                <a:gd name="T19" fmla="*/ 29756 h 342900"/>
                <a:gd name="T20" fmla="*/ 0 w 342900"/>
                <a:gd name="T21" fmla="*/ 18382 h 3429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42900"/>
                <a:gd name="T34" fmla="*/ 0 h 342900"/>
                <a:gd name="T35" fmla="*/ 342900 w 342900"/>
                <a:gd name="T36" fmla="*/ 342900 h 3429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42900" h="342900">
                  <a:moveTo>
                    <a:pt x="0" y="130942"/>
                  </a:moveTo>
                  <a:lnTo>
                    <a:pt x="130932" y="130942"/>
                  </a:lnTo>
                  <a:lnTo>
                    <a:pt x="171449" y="0"/>
                  </a:lnTo>
                  <a:lnTo>
                    <a:pt x="211967" y="130942"/>
                  </a:lnTo>
                  <a:lnTo>
                    <a:pt x="342899" y="130942"/>
                  </a:lnTo>
                  <a:lnTo>
                    <a:pt x="236981" y="211957"/>
                  </a:lnTo>
                  <a:lnTo>
                    <a:pt x="277367" y="342899"/>
                  </a:lnTo>
                  <a:lnTo>
                    <a:pt x="171449" y="262006"/>
                  </a:lnTo>
                  <a:lnTo>
                    <a:pt x="65531" y="342899"/>
                  </a:lnTo>
                  <a:lnTo>
                    <a:pt x="105917" y="211957"/>
                  </a:lnTo>
                  <a:lnTo>
                    <a:pt x="0" y="130942"/>
                  </a:lnTo>
                  <a:close/>
                </a:path>
              </a:pathLst>
            </a:custGeom>
            <a:solidFill>
              <a:srgbClr val="FF0000"/>
            </a:solidFill>
            <a:ln w="9143">
              <a:solidFill>
                <a:srgbClr val="FF0000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3660" name="object 41">
            <a:extLst>
              <a:ext uri="{FF2B5EF4-FFF2-40B4-BE49-F238E27FC236}">
                <a16:creationId xmlns:a16="http://schemas.microsoft.com/office/drawing/2014/main" id="{C79ED595-FE92-4F99-8EDE-4BBD37B96AC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37088" y="4841875"/>
            <a:ext cx="12446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>
            <a:spAutoFit/>
          </a:bodyPr>
          <a:lstStyle>
            <a:lvl1pPr indent="127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127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Highly</a:t>
            </a:r>
            <a:r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qualified</a:t>
            </a:r>
            <a:r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to</a:t>
            </a:r>
            <a:r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help</a:t>
            </a:r>
            <a:r>
              <a:rPr kumimoji="0" lang="en-GB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investors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8A28B48-1841-45BB-BFBC-EADE77B37C6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779712" y="2589213"/>
          <a:ext cx="1482725" cy="812800"/>
        </p:xfrm>
        <a:graphic>
          <a:graphicData uri="http://schemas.openxmlformats.org/drawingml/2006/table">
            <a:tbl>
              <a:tblPr/>
              <a:tblGrid>
                <a:gridCol w="11367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9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32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GB" sz="1000" b="1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Domestic</a:t>
                      </a:r>
                      <a:r>
                        <a:rPr lang="en-GB" sz="10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US" sz="1000" b="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International 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Railway</a:t>
                      </a:r>
                      <a:r>
                        <a:rPr lang="en-GB" sz="1000" b="1" kern="1200" baseline="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 Station</a:t>
                      </a:r>
                      <a:endParaRPr lang="en-GB" sz="1000" b="1" kern="1200" dirty="0">
                        <a:solidFill>
                          <a:srgbClr val="292929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32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Sea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7" name="TextBox 136">
            <a:extLst>
              <a:ext uri="{FF2B5EF4-FFF2-40B4-BE49-F238E27FC236}">
                <a16:creationId xmlns:a16="http://schemas.microsoft.com/office/drawing/2014/main" id="{2F4C4876-7073-4C13-A183-127A8909BDC0}"/>
              </a:ext>
            </a:extLst>
          </p:cNvPr>
          <p:cNvSpPr txBox="1"/>
          <p:nvPr/>
        </p:nvSpPr>
        <p:spPr>
          <a:xfrm>
            <a:off x="538163" y="5268913"/>
            <a:ext cx="373856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For further details</a:t>
            </a:r>
          </a:p>
        </p:txBody>
      </p:sp>
      <p:sp>
        <p:nvSpPr>
          <p:cNvPr id="23676" name="TextBox 156">
            <a:extLst>
              <a:ext uri="{FF2B5EF4-FFF2-40B4-BE49-F238E27FC236}">
                <a16:creationId xmlns:a16="http://schemas.microsoft.com/office/drawing/2014/main" id="{95D66AAF-6B48-4B9E-9E5B-F1BB063A89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6300" y="6342063"/>
            <a:ext cx="37306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Abbreviations: </a:t>
            </a:r>
            <a:r>
              <a:rPr kumimoji="0" lang="en-GB" alt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	NICPS</a:t>
            </a:r>
            <a: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: Nigerian Investment Certification Programme for States           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	</a:t>
            </a:r>
            <a:r>
              <a:rPr kumimoji="0" lang="en-GB" alt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IGR</a:t>
            </a:r>
            <a: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:     Internal Generated Revenue</a:t>
            </a:r>
          </a:p>
        </p:txBody>
      </p:sp>
      <p:sp>
        <p:nvSpPr>
          <p:cNvPr id="23678" name="TextBox 152">
            <a:extLst>
              <a:ext uri="{FF2B5EF4-FFF2-40B4-BE49-F238E27FC236}">
                <a16:creationId xmlns:a16="http://schemas.microsoft.com/office/drawing/2014/main" id="{BFAF6896-F732-45FC-AC47-950DF99D9E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65858" y="1142715"/>
            <a:ext cx="3521067" cy="16923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15888" indent="-11588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15888" marR="0" lvl="0" indent="-11588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40,000+ tons of quality cocoa annually</a:t>
            </a:r>
          </a:p>
          <a:p>
            <a:pPr eaLnBrk="1" hangingPunct="1">
              <a:buFont typeface="Arial" panose="020B0604020202020204" pitchFamily="34" charset="0"/>
              <a:buChar char="•"/>
              <a:defRPr/>
            </a:pPr>
            <a:r>
              <a:rPr lang="en-GB" sz="1300" dirty="0">
                <a:solidFill>
                  <a:prstClr val="black"/>
                </a:solidFill>
                <a:latin typeface="Calibri" panose="020F0502020204030204" pitchFamily="34" charset="0"/>
                <a:cs typeface="Arial" charset="0"/>
              </a:rPr>
              <a:t>Home to free-trade zone (</a:t>
            </a:r>
            <a:r>
              <a:rPr lang="en-US" sz="1300" dirty="0">
                <a:latin typeface="Calibri" panose="020F0502020204030204" pitchFamily="34" charset="0"/>
              </a:rPr>
              <a:t>Osun State living spring free trade zone)</a:t>
            </a:r>
            <a:endParaRPr kumimoji="0" lang="en-GB" sz="13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cs typeface="Arial" charset="0"/>
            </a:endParaRPr>
          </a:p>
          <a:p>
            <a:pPr marL="115888" marR="0" lvl="0" indent="-11588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MY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Tourism (Osun-Osogbo Festival)</a:t>
            </a:r>
          </a:p>
          <a:p>
            <a:pPr marL="115784" indent="-115784" defTabSz="913577">
              <a:buFont typeface="Arial" panose="020B0604020202020204" pitchFamily="34" charset="0"/>
              <a:buChar char="•"/>
            </a:pPr>
            <a:r>
              <a:rPr lang="en-MY" sz="1299" dirty="0">
                <a:solidFill>
                  <a:prstClr val="black"/>
                </a:solidFill>
                <a:latin typeface="Calibri" panose="020F0502020204030204" pitchFamily="34" charset="0"/>
              </a:rPr>
              <a:t>16+ hours of constant  supply of electricity in the state capital</a:t>
            </a:r>
          </a:p>
          <a:p>
            <a:pPr marL="115784" indent="-115784" defTabSz="913577">
              <a:buFont typeface="Arial" panose="020B0604020202020204" pitchFamily="34" charset="0"/>
              <a:buChar char="•"/>
            </a:pPr>
            <a:r>
              <a:rPr lang="en-GB" sz="1299" dirty="0">
                <a:solidFill>
                  <a:prstClr val="black"/>
                </a:solidFill>
                <a:latin typeface="Calibri" panose="020F0502020204030204" pitchFamily="34" charset="0"/>
              </a:rPr>
              <a:t>Lowest poverty rate in Nigeria</a:t>
            </a:r>
          </a:p>
          <a:p>
            <a:pPr marL="115888" marR="0" lvl="0" indent="-11588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3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rge gold deposits</a:t>
            </a:r>
            <a:endParaRPr kumimoji="0" lang="en-MY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D4E23C6-26A0-4545-B8F7-7007C8EEBFE4}"/>
              </a:ext>
            </a:extLst>
          </p:cNvPr>
          <p:cNvSpPr txBox="1"/>
          <p:nvPr/>
        </p:nvSpPr>
        <p:spPr>
          <a:xfrm>
            <a:off x="4338638" y="5265738"/>
            <a:ext cx="247491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charset="0"/>
              </a:rPr>
              <a:t>Did you know?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charset="0"/>
            </a:endParaRPr>
          </a:p>
        </p:txBody>
      </p:sp>
      <p:sp>
        <p:nvSpPr>
          <p:cNvPr id="132" name="Text Placeholder 42">
            <a:extLst>
              <a:ext uri="{FF2B5EF4-FFF2-40B4-BE49-F238E27FC236}">
                <a16:creationId xmlns:a16="http://schemas.microsoft.com/office/drawing/2014/main" id="{D510D0DC-1548-4249-8DB1-9A1055126D07}"/>
              </a:ext>
            </a:extLst>
          </p:cNvPr>
          <p:cNvSpPr txBox="1">
            <a:spLocks/>
          </p:cNvSpPr>
          <p:nvPr/>
        </p:nvSpPr>
        <p:spPr>
          <a:xfrm>
            <a:off x="522288" y="5511800"/>
            <a:ext cx="3733800" cy="701675"/>
          </a:xfrm>
          <a:prstGeom prst="rect">
            <a:avLst/>
          </a:prstGeom>
        </p:spPr>
        <p:txBody>
          <a:bodyPr lIns="36576" tIns="0" rIns="36576" bIns="0"/>
          <a:lstStyle>
            <a:lvl1pPr marL="0" indent="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/>
              <a:buNone/>
              <a:defRPr sz="800" b="1" baseline="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6575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93763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 charset="0"/>
              <a:buChar char="►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50950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619250" indent="-188913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0764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25336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29908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34480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</a:rPr>
              <a:t>NIGERIAN INVESTMENT PROMOTION COMMISSION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69696"/>
              </a:buClr>
              <a:buSzPct val="80000"/>
              <a:buFont typeface="Arial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hlinkClick r:id="rId7"/>
              </a:rPr>
              <a:t>statesco@nipc.gov.ng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</a:endParaRPr>
          </a:p>
          <a:p>
            <a:pPr defTabSz="913577">
              <a:spcBef>
                <a:spcPts val="0"/>
              </a:spcBef>
              <a:spcAft>
                <a:spcPts val="0"/>
              </a:spcAft>
              <a:defRPr/>
            </a:pPr>
            <a:endParaRPr lang="en-GB" kern="0" dirty="0">
              <a:solidFill>
                <a:prstClr val="black"/>
              </a:solidFill>
            </a:endParaRPr>
          </a:p>
          <a:p>
            <a:pPr defTabSz="913577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>
                <a:solidFill>
                  <a:prstClr val="black"/>
                </a:solidFill>
              </a:rPr>
              <a:t>MINISTRY OF ECONOMIC PLANNING AND BUDGET</a:t>
            </a:r>
            <a:endParaRPr lang="en-GB" kern="0" dirty="0">
              <a:solidFill>
                <a:prstClr val="black"/>
              </a:solidFill>
            </a:endParaRPr>
          </a:p>
          <a:p>
            <a:pPr lvl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>
                <a:solidFill>
                  <a:prstClr val="black"/>
                </a:solidFill>
                <a:hlinkClick r:id="rId8"/>
              </a:rPr>
              <a:t>yinusaolalekan@yahoo.com</a:t>
            </a:r>
            <a:endParaRPr lang="en-US" sz="1000" b="0" kern="0" dirty="0">
              <a:solidFill>
                <a:prstClr val="black"/>
              </a:solidFill>
            </a:endParaRPr>
          </a:p>
          <a:p>
            <a:pPr lvl="0">
              <a:spcBef>
                <a:spcPts val="0"/>
              </a:spcBef>
              <a:spcAft>
                <a:spcPts val="0"/>
              </a:spcAft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</a:endParaRPr>
          </a:p>
        </p:txBody>
      </p:sp>
      <p:graphicFrame>
        <p:nvGraphicFramePr>
          <p:cNvPr id="158" name="Group 76">
            <a:extLst>
              <a:ext uri="{FF2B5EF4-FFF2-40B4-BE49-F238E27FC236}">
                <a16:creationId xmlns:a16="http://schemas.microsoft.com/office/drawing/2014/main" id="{57830D68-CF73-4A3E-9D36-141B03AADBF7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41338" y="3402013"/>
          <a:ext cx="3735387" cy="1827306"/>
        </p:xfrm>
        <a:graphic>
          <a:graphicData uri="http://schemas.openxmlformats.org/drawingml/2006/table">
            <a:tbl>
              <a:tblPr/>
              <a:tblGrid>
                <a:gridCol w="1316931">
                  <a:extLst>
                    <a:ext uri="{9D8B030D-6E8A-4147-A177-3AD203B41FA5}">
                      <a16:colId xmlns:a16="http://schemas.microsoft.com/office/drawing/2014/main" val="2027704273"/>
                    </a:ext>
                  </a:extLst>
                </a:gridCol>
                <a:gridCol w="603796">
                  <a:extLst>
                    <a:ext uri="{9D8B030D-6E8A-4147-A177-3AD203B41FA5}">
                      <a16:colId xmlns:a16="http://schemas.microsoft.com/office/drawing/2014/main" val="3432768286"/>
                    </a:ext>
                  </a:extLst>
                </a:gridCol>
                <a:gridCol w="744015">
                  <a:extLst>
                    <a:ext uri="{9D8B030D-6E8A-4147-A177-3AD203B41FA5}">
                      <a16:colId xmlns:a16="http://schemas.microsoft.com/office/drawing/2014/main" val="3730294207"/>
                    </a:ext>
                  </a:extLst>
                </a:gridCol>
                <a:gridCol w="1070645">
                  <a:extLst>
                    <a:ext uri="{9D8B030D-6E8A-4147-A177-3AD203B41FA5}">
                      <a16:colId xmlns:a16="http://schemas.microsoft.com/office/drawing/2014/main" val="2258321117"/>
                    </a:ext>
                  </a:extLst>
                </a:gridCol>
              </a:tblGrid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apital</a:t>
                      </a:r>
                      <a:endParaRPr kumimoji="0" lang="en-SG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292929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SG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Osogbo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703009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nd Are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9,026km</a:t>
                      </a:r>
                      <a:r>
                        <a:rPr kumimoji="0" lang="en-US" altLang="en-US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24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603614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Population (2017E)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4,682,057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16 of 37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505851"/>
                  </a:ext>
                </a:extLst>
              </a:tr>
              <a:tr h="203024">
                <a:tc row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Dem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0-14: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,727,460 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8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130093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5-64: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,777,794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58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387564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65+: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+mn-cs"/>
                        </a:rPr>
                        <a:t>   176,804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[4%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38801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bour force 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,365,622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8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797882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limate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ropical  savann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3942226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op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Rock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32899"/>
                  </a:ext>
                </a:extLst>
              </a:tr>
            </a:tbl>
          </a:graphicData>
        </a:graphic>
      </p:graphicFrame>
      <p:pic>
        <p:nvPicPr>
          <p:cNvPr id="159" name="Picture 6"/>
          <p:cNvPicPr>
            <a:picLocks noChangeAspect="1" noChangeArrowheads="1"/>
          </p:cNvPicPr>
          <p:nvPr/>
        </p:nvPicPr>
        <p:blipFill rotWithShape="1"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42" t="54495" r="55846" b="9535"/>
          <a:stretch/>
        </p:blipFill>
        <p:spPr bwMode="auto">
          <a:xfrm>
            <a:off x="8310050" y="3081554"/>
            <a:ext cx="452823" cy="4998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2" name="Picture 161">
            <a:extLst>
              <a:ext uri="{FF2B5EF4-FFF2-40B4-BE49-F238E27FC236}">
                <a16:creationId xmlns:a16="http://schemas.microsoft.com/office/drawing/2014/main" id="{9793C388-C61C-45EC-BF8F-149315464127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47" t="15869" r="6216" b="22345"/>
          <a:stretch/>
        </p:blipFill>
        <p:spPr>
          <a:xfrm>
            <a:off x="6819900" y="3091955"/>
            <a:ext cx="565401" cy="413245"/>
          </a:xfrm>
          <a:prstGeom prst="rect">
            <a:avLst/>
          </a:prstGeom>
        </p:spPr>
      </p:pic>
      <p:pic>
        <p:nvPicPr>
          <p:cNvPr id="168" name="Picture 167">
            <a:extLst>
              <a:ext uri="{FF2B5EF4-FFF2-40B4-BE49-F238E27FC236}">
                <a16:creationId xmlns:a16="http://schemas.microsoft.com/office/drawing/2014/main" id="{ACA19F71-6273-42D2-AE1F-F040999C268C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8661" y="3107720"/>
            <a:ext cx="464155" cy="464155"/>
          </a:xfrm>
          <a:prstGeom prst="rect">
            <a:avLst/>
          </a:prstGeom>
        </p:spPr>
      </p:pic>
      <p:pic>
        <p:nvPicPr>
          <p:cNvPr id="135" name="Picture 5">
            <a:extLst>
              <a:ext uri="{FF2B5EF4-FFF2-40B4-BE49-F238E27FC236}">
                <a16:creationId xmlns:a16="http://schemas.microsoft.com/office/drawing/2014/main" id="{7290E213-F8C8-409A-871D-5C7E823E467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942" r="26332"/>
          <a:stretch/>
        </p:blipFill>
        <p:spPr bwMode="auto">
          <a:xfrm>
            <a:off x="7534231" y="3768165"/>
            <a:ext cx="597901" cy="6694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6" name="TextBox 165">
            <a:extLst>
              <a:ext uri="{FF2B5EF4-FFF2-40B4-BE49-F238E27FC236}">
                <a16:creationId xmlns:a16="http://schemas.microsoft.com/office/drawing/2014/main" id="{70ACF999-211A-42E1-BB7B-683034655A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33611" y="4440510"/>
            <a:ext cx="61747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altLang="en-US" sz="900" dirty="0">
                <a:solidFill>
                  <a:prstClr val="black"/>
                </a:solidFill>
                <a:latin typeface="Calibri" panose="020F0502020204030204" pitchFamily="34" charset="0"/>
              </a:rPr>
              <a:t>Irrigation</a:t>
            </a:r>
            <a:endParaRPr kumimoji="0" lang="en-GB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7" name="TextBox 166">
            <a:extLst>
              <a:ext uri="{FF2B5EF4-FFF2-40B4-BE49-F238E27FC236}">
                <a16:creationId xmlns:a16="http://schemas.microsoft.com/office/drawing/2014/main" id="{E7E69CFC-EA37-40CD-AF85-2955FCB402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1379" y="4434134"/>
            <a:ext cx="57579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altLang="en-US" sz="900" dirty="0">
                <a:solidFill>
                  <a:prstClr val="black"/>
                </a:solidFill>
                <a:latin typeface="Calibri" panose="020F0502020204030204" pitchFamily="34" charset="0"/>
              </a:rPr>
              <a:t>Oil Palm</a:t>
            </a:r>
            <a:endParaRPr kumimoji="0" lang="en-GB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8" name="TextBox 168">
            <a:extLst>
              <a:ext uri="{FF2B5EF4-FFF2-40B4-BE49-F238E27FC236}">
                <a16:creationId xmlns:a16="http://schemas.microsoft.com/office/drawing/2014/main" id="{0427C771-D127-4005-9A08-13504731A1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27356" y="4438083"/>
            <a:ext cx="53572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altLang="en-US" sz="900" dirty="0">
                <a:solidFill>
                  <a:prstClr val="black"/>
                </a:solidFill>
                <a:latin typeface="Calibri" panose="020F0502020204030204" pitchFamily="34" charset="0"/>
              </a:rPr>
              <a:t>Granite</a:t>
            </a:r>
            <a:endParaRPr kumimoji="0" lang="en-GB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9" name="TextBox 169">
            <a:extLst>
              <a:ext uri="{FF2B5EF4-FFF2-40B4-BE49-F238E27FC236}">
                <a16:creationId xmlns:a16="http://schemas.microsoft.com/office/drawing/2014/main" id="{8F859015-ACE2-4A18-8991-4BB075E189E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4401" y="4438923"/>
            <a:ext cx="65274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altLang="en-US" sz="900" dirty="0">
                <a:solidFill>
                  <a:prstClr val="black"/>
                </a:solidFill>
                <a:latin typeface="Calibri" panose="020F0502020204030204" pitchFamily="34" charset="0"/>
              </a:rPr>
              <a:t>Education</a:t>
            </a:r>
            <a:endParaRPr kumimoji="0" lang="en-GB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0" name="TextBox 166">
            <a:extLst>
              <a:ext uri="{FF2B5EF4-FFF2-40B4-BE49-F238E27FC236}">
                <a16:creationId xmlns:a16="http://schemas.microsoft.com/office/drawing/2014/main" id="{77333B8D-11CB-4B2E-84C2-1AA77E6B702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17479" y="4434134"/>
            <a:ext cx="57259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Forestry</a:t>
            </a:r>
          </a:p>
        </p:txBody>
      </p:sp>
      <p:sp>
        <p:nvSpPr>
          <p:cNvPr id="127" name="Oval 126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238751" y="3833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FF015425-7997-4612-9D0E-1F6C433DFCC7}"/>
              </a:ext>
            </a:extLst>
          </p:cNvPr>
          <p:cNvSpPr/>
          <p:nvPr/>
        </p:nvSpPr>
        <p:spPr>
          <a:xfrm>
            <a:off x="6080877" y="3040856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4C0B7457-CABD-4AC8-8A1A-1FD468581E4D}"/>
              </a:ext>
            </a:extLst>
          </p:cNvPr>
          <p:cNvSpPr/>
          <p:nvPr/>
        </p:nvSpPr>
        <p:spPr>
          <a:xfrm>
            <a:off x="6784796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id="{2D626A89-F50C-45A3-9271-5D3F2EEA9C83}"/>
              </a:ext>
            </a:extLst>
          </p:cNvPr>
          <p:cNvSpPr/>
          <p:nvPr/>
        </p:nvSpPr>
        <p:spPr>
          <a:xfrm>
            <a:off x="7518399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4" name="Oval 133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240713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6" name="Oval 135">
            <a:extLst>
              <a:ext uri="{FF2B5EF4-FFF2-40B4-BE49-F238E27FC236}">
                <a16:creationId xmlns:a16="http://schemas.microsoft.com/office/drawing/2014/main" id="{4D1FAA17-3EFF-404B-B4C4-B468BCE2E9A5}"/>
              </a:ext>
            </a:extLst>
          </p:cNvPr>
          <p:cNvSpPr/>
          <p:nvPr/>
        </p:nvSpPr>
        <p:spPr>
          <a:xfrm>
            <a:off x="6078265" y="3836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E861211D-5D09-4577-8A09-FD96D972A5D4}"/>
              </a:ext>
            </a:extLst>
          </p:cNvPr>
          <p:cNvSpPr/>
          <p:nvPr/>
        </p:nvSpPr>
        <p:spPr>
          <a:xfrm>
            <a:off x="6780509" y="3833831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9" name="Oval 138">
            <a:extLst>
              <a:ext uri="{FF2B5EF4-FFF2-40B4-BE49-F238E27FC236}">
                <a16:creationId xmlns:a16="http://schemas.microsoft.com/office/drawing/2014/main" id="{3CBEFD1C-6360-47CD-AEDD-DFB49FC0E0C7}"/>
              </a:ext>
            </a:extLst>
          </p:cNvPr>
          <p:cNvSpPr/>
          <p:nvPr/>
        </p:nvSpPr>
        <p:spPr>
          <a:xfrm>
            <a:off x="7518603" y="3830834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953126" y="3843338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1" name="Oval 140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955088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42" name="Picture 6"/>
          <p:cNvPicPr>
            <a:picLocks noChangeAspect="1" noChangeArrowheads="1"/>
          </p:cNvPicPr>
          <p:nvPr/>
        </p:nvPicPr>
        <p:blipFill rotWithShape="1"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814" r="8128"/>
          <a:stretch/>
        </p:blipFill>
        <p:spPr bwMode="auto">
          <a:xfrm>
            <a:off x="8975687" y="3097229"/>
            <a:ext cx="594338" cy="5094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4247704" y="5418583"/>
            <a:ext cx="265315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The state's name is derived from the River Osun, the venerated natural spring that is the manifestation of the Yoruba goddess.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14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98" t="12691" r="27925" b="26747"/>
          <a:stretch/>
        </p:blipFill>
        <p:spPr>
          <a:xfrm>
            <a:off x="6173619" y="3071360"/>
            <a:ext cx="380979" cy="52228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1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42" t="13815" r="8809" b="18394"/>
          <a:stretch/>
        </p:blipFill>
        <p:spPr>
          <a:xfrm>
            <a:off x="6852165" y="3923664"/>
            <a:ext cx="439241" cy="43934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416" t="30040" r="27604" b="43775"/>
          <a:stretch/>
        </p:blipFill>
        <p:spPr>
          <a:xfrm>
            <a:off x="8283651" y="3952506"/>
            <a:ext cx="494512" cy="36065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17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61" r="8166" b="13735"/>
          <a:stretch/>
        </p:blipFill>
        <p:spPr>
          <a:xfrm>
            <a:off x="9054164" y="3917957"/>
            <a:ext cx="415349" cy="429754"/>
          </a:xfrm>
          <a:prstGeom prst="rect">
            <a:avLst/>
          </a:prstGeom>
        </p:spPr>
      </p:pic>
      <p:pic>
        <p:nvPicPr>
          <p:cNvPr id="129" name="Picture 128"/>
          <p:cNvPicPr>
            <a:picLocks noChangeAspect="1"/>
          </p:cNvPicPr>
          <p:nvPr/>
        </p:nvPicPr>
        <p:blipFill rotWithShape="1">
          <a:blip r:embed="rId18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90" t="4016" r="6399" b="19197"/>
          <a:stretch/>
        </p:blipFill>
        <p:spPr>
          <a:xfrm>
            <a:off x="6092073" y="3899302"/>
            <a:ext cx="538291" cy="471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862996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Pentagon 19">
            <a:extLst>
              <a:ext uri="{FF2B5EF4-FFF2-40B4-BE49-F238E27FC236}">
                <a16:creationId xmlns:a16="http://schemas.microsoft.com/office/drawing/2014/main" id="{CAD93C59-72A9-4F6D-A654-02B9F8A5EFF9}"/>
              </a:ext>
            </a:extLst>
          </p:cNvPr>
          <p:cNvSpPr>
            <a:spLocks/>
          </p:cNvSpPr>
          <p:nvPr/>
        </p:nvSpPr>
        <p:spPr bwMode="auto">
          <a:xfrm>
            <a:off x="756602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5 of 37</a:t>
            </a:r>
          </a:p>
        </p:txBody>
      </p:sp>
      <p:sp>
        <p:nvSpPr>
          <p:cNvPr id="376" name="Pentagon 19">
            <a:extLst>
              <a:ext uri="{FF2B5EF4-FFF2-40B4-BE49-F238E27FC236}">
                <a16:creationId xmlns:a16="http://schemas.microsoft.com/office/drawing/2014/main" id="{1BDC5465-6022-4404-B4D8-ED55CF961B8A}"/>
              </a:ext>
            </a:extLst>
          </p:cNvPr>
          <p:cNvSpPr>
            <a:spLocks/>
          </p:cNvSpPr>
          <p:nvPr/>
        </p:nvSpPr>
        <p:spPr bwMode="auto">
          <a:xfrm>
            <a:off x="824865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33 of 3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57F1EBC-D01A-4083-B657-63AFB1490839}"/>
              </a:ext>
            </a:extLst>
          </p:cNvPr>
          <p:cNvSpPr txBox="1"/>
          <p:nvPr/>
        </p:nvSpPr>
        <p:spPr>
          <a:xfrm>
            <a:off x="6122988" y="2749550"/>
            <a:ext cx="3475037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nvestment Opportunit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D251BD-538A-4F4F-847E-620EEDA298A0}"/>
              </a:ext>
            </a:extLst>
          </p:cNvPr>
          <p:cNvSpPr txBox="1"/>
          <p:nvPr/>
        </p:nvSpPr>
        <p:spPr>
          <a:xfrm>
            <a:off x="6881813" y="4648300"/>
            <a:ext cx="2697162" cy="30777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Doing Business Ranking(2018)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1B8F13C-F732-4DA1-9250-DB02936E7688}"/>
              </a:ext>
            </a:extLst>
          </p:cNvPr>
          <p:cNvSpPr/>
          <p:nvPr/>
        </p:nvSpPr>
        <p:spPr>
          <a:xfrm>
            <a:off x="756602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Registering Propert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6BA1818-32ED-44D1-975C-958200BDD124}"/>
              </a:ext>
            </a:extLst>
          </p:cNvPr>
          <p:cNvSpPr/>
          <p:nvPr/>
        </p:nvSpPr>
        <p:spPr>
          <a:xfrm>
            <a:off x="8248650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Dealing with Construction Permits</a:t>
            </a:r>
          </a:p>
        </p:txBody>
      </p:sp>
      <p:sp>
        <p:nvSpPr>
          <p:cNvPr id="23560" name="TextBox 174">
            <a:extLst>
              <a:ext uri="{FF2B5EF4-FFF2-40B4-BE49-F238E27FC236}">
                <a16:creationId xmlns:a16="http://schemas.microsoft.com/office/drawing/2014/main" id="{1573FD4E-62B9-45E8-8F28-CED990ED2D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0B63A6C-2A5E-4CA3-BC66-4CBC6008BC9A}"/>
              </a:ext>
            </a:extLst>
          </p:cNvPr>
          <p:cNvSpPr/>
          <p:nvPr/>
        </p:nvSpPr>
        <p:spPr>
          <a:xfrm>
            <a:off x="893127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Enforcing Contracts</a:t>
            </a:r>
          </a:p>
        </p:txBody>
      </p:sp>
      <p:pic>
        <p:nvPicPr>
          <p:cNvPr id="23562" name="Picture 4">
            <a:extLst>
              <a:ext uri="{FF2B5EF4-FFF2-40B4-BE49-F238E27FC236}">
                <a16:creationId xmlns:a16="http://schemas.microsoft.com/office/drawing/2014/main" id="{7C8EEAB2-0239-4BB5-94B3-23E319AF1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513" y="5249863"/>
            <a:ext cx="439737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6" name="Pentagon 19">
            <a:extLst>
              <a:ext uri="{FF2B5EF4-FFF2-40B4-BE49-F238E27FC236}">
                <a16:creationId xmlns:a16="http://schemas.microsoft.com/office/drawing/2014/main" id="{5F8E9670-D71A-4765-B6B5-D711BC9AD6E1}"/>
              </a:ext>
            </a:extLst>
          </p:cNvPr>
          <p:cNvSpPr>
            <a:spLocks/>
          </p:cNvSpPr>
          <p:nvPr/>
        </p:nvSpPr>
        <p:spPr bwMode="auto">
          <a:xfrm>
            <a:off x="893127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5</a:t>
            </a:r>
            <a:r>
              <a:rPr lang="en-GB" sz="1000" baseline="3000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of 37</a:t>
            </a:r>
          </a:p>
        </p:txBody>
      </p:sp>
      <p:sp>
        <p:nvSpPr>
          <p:cNvPr id="23564" name="Title 3">
            <a:extLst>
              <a:ext uri="{FF2B5EF4-FFF2-40B4-BE49-F238E27FC236}">
                <a16:creationId xmlns:a16="http://schemas.microsoft.com/office/drawing/2014/main" id="{C62A749B-CFC7-4224-A789-D20A772AC33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77813" y="222250"/>
            <a:ext cx="8543925" cy="5619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en-GB" alt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yo State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6882DF2C-9120-4A66-8487-575D9494F4D6}"/>
              </a:ext>
            </a:extLst>
          </p:cNvPr>
          <p:cNvSpPr txBox="1"/>
          <p:nvPr/>
        </p:nvSpPr>
        <p:spPr>
          <a:xfrm rot="16200000">
            <a:off x="-2284101" y="3446255"/>
            <a:ext cx="5303837" cy="33855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Pacesetter</a:t>
            </a:r>
          </a:p>
        </p:txBody>
      </p:sp>
      <p:grpSp>
        <p:nvGrpSpPr>
          <p:cNvPr id="23566" name="Group 9">
            <a:extLst>
              <a:ext uri="{FF2B5EF4-FFF2-40B4-BE49-F238E27FC236}">
                <a16:creationId xmlns:a16="http://schemas.microsoft.com/office/drawing/2014/main" id="{5B6131BD-3CE3-4FC4-B13A-FA9B797C1EF5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41338" y="963613"/>
            <a:ext cx="2897187" cy="2319337"/>
            <a:chOff x="770228" y="1459989"/>
            <a:chExt cx="4081047" cy="3267527"/>
          </a:xfrm>
        </p:grpSpPr>
        <p:sp>
          <p:nvSpPr>
            <p:cNvPr id="299" name="Freeform 4">
              <a:extLst>
                <a:ext uri="{FF2B5EF4-FFF2-40B4-BE49-F238E27FC236}">
                  <a16:creationId xmlns:a16="http://schemas.microsoft.com/office/drawing/2014/main" id="{B6150C82-CBE5-48B4-B60C-C210BB7B26A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91538" y="4349548"/>
              <a:ext cx="418167" cy="377968"/>
            </a:xfrm>
            <a:custGeom>
              <a:avLst/>
              <a:gdLst>
                <a:gd name="T0" fmla="*/ 12 w 786"/>
                <a:gd name="T1" fmla="*/ 19 h 714"/>
                <a:gd name="T2" fmla="*/ 22 w 786"/>
                <a:gd name="T3" fmla="*/ 18 h 714"/>
                <a:gd name="T4" fmla="*/ 27 w 786"/>
                <a:gd name="T5" fmla="*/ 17 h 714"/>
                <a:gd name="T6" fmla="*/ 30 w 786"/>
                <a:gd name="T7" fmla="*/ 14 h 714"/>
                <a:gd name="T8" fmla="*/ 37 w 786"/>
                <a:gd name="T9" fmla="*/ 16 h 714"/>
                <a:gd name="T10" fmla="*/ 43 w 786"/>
                <a:gd name="T11" fmla="*/ 13 h 714"/>
                <a:gd name="T12" fmla="*/ 48 w 786"/>
                <a:gd name="T13" fmla="*/ 8 h 714"/>
                <a:gd name="T14" fmla="*/ 55 w 786"/>
                <a:gd name="T15" fmla="*/ 4 h 714"/>
                <a:gd name="T16" fmla="*/ 66 w 786"/>
                <a:gd name="T17" fmla="*/ 0 h 714"/>
                <a:gd name="T18" fmla="*/ 63 w 786"/>
                <a:gd name="T19" fmla="*/ 12 h 714"/>
                <a:gd name="T20" fmla="*/ 59 w 786"/>
                <a:gd name="T21" fmla="*/ 19 h 714"/>
                <a:gd name="T22" fmla="*/ 57 w 786"/>
                <a:gd name="T23" fmla="*/ 29 h 714"/>
                <a:gd name="T24" fmla="*/ 59 w 786"/>
                <a:gd name="T25" fmla="*/ 36 h 714"/>
                <a:gd name="T26" fmla="*/ 66 w 786"/>
                <a:gd name="T27" fmla="*/ 35 h 714"/>
                <a:gd name="T28" fmla="*/ 64 w 786"/>
                <a:gd name="T29" fmla="*/ 41 h 714"/>
                <a:gd name="T30" fmla="*/ 64 w 786"/>
                <a:gd name="T31" fmla="*/ 48 h 714"/>
                <a:gd name="T32" fmla="*/ 63 w 786"/>
                <a:gd name="T33" fmla="*/ 56 h 714"/>
                <a:gd name="T34" fmla="*/ 60 w 786"/>
                <a:gd name="T35" fmla="*/ 60 h 714"/>
                <a:gd name="T36" fmla="*/ 57 w 786"/>
                <a:gd name="T37" fmla="*/ 58 h 714"/>
                <a:gd name="T38" fmla="*/ 54 w 786"/>
                <a:gd name="T39" fmla="*/ 54 h 714"/>
                <a:gd name="T40" fmla="*/ 53 w 786"/>
                <a:gd name="T41" fmla="*/ 51 h 714"/>
                <a:gd name="T42" fmla="*/ 51 w 786"/>
                <a:gd name="T43" fmla="*/ 53 h 714"/>
                <a:gd name="T44" fmla="*/ 49 w 786"/>
                <a:gd name="T45" fmla="*/ 54 h 714"/>
                <a:gd name="T46" fmla="*/ 47 w 786"/>
                <a:gd name="T47" fmla="*/ 50 h 714"/>
                <a:gd name="T48" fmla="*/ 48 w 786"/>
                <a:gd name="T49" fmla="*/ 54 h 714"/>
                <a:gd name="T50" fmla="*/ 47 w 786"/>
                <a:gd name="T51" fmla="*/ 54 h 714"/>
                <a:gd name="T52" fmla="*/ 46 w 786"/>
                <a:gd name="T53" fmla="*/ 59 h 714"/>
                <a:gd name="T54" fmla="*/ 47 w 786"/>
                <a:gd name="T55" fmla="*/ 62 h 714"/>
                <a:gd name="T56" fmla="*/ 42 w 786"/>
                <a:gd name="T57" fmla="*/ 62 h 714"/>
                <a:gd name="T58" fmla="*/ 39 w 786"/>
                <a:gd name="T59" fmla="*/ 57 h 714"/>
                <a:gd name="T60" fmla="*/ 40 w 786"/>
                <a:gd name="T61" fmla="*/ 54 h 714"/>
                <a:gd name="T62" fmla="*/ 43 w 786"/>
                <a:gd name="T63" fmla="*/ 55 h 714"/>
                <a:gd name="T64" fmla="*/ 40 w 786"/>
                <a:gd name="T65" fmla="*/ 53 h 714"/>
                <a:gd name="T66" fmla="*/ 38 w 786"/>
                <a:gd name="T67" fmla="*/ 57 h 714"/>
                <a:gd name="T68" fmla="*/ 37 w 786"/>
                <a:gd name="T69" fmla="*/ 57 h 714"/>
                <a:gd name="T70" fmla="*/ 37 w 786"/>
                <a:gd name="T71" fmla="*/ 60 h 714"/>
                <a:gd name="T72" fmla="*/ 33 w 786"/>
                <a:gd name="T73" fmla="*/ 56 h 714"/>
                <a:gd name="T74" fmla="*/ 32 w 786"/>
                <a:gd name="T75" fmla="*/ 58 h 714"/>
                <a:gd name="T76" fmla="*/ 26 w 786"/>
                <a:gd name="T77" fmla="*/ 54 h 714"/>
                <a:gd name="T78" fmla="*/ 26 w 786"/>
                <a:gd name="T79" fmla="*/ 54 h 714"/>
                <a:gd name="T80" fmla="*/ 24 w 786"/>
                <a:gd name="T81" fmla="*/ 51 h 714"/>
                <a:gd name="T82" fmla="*/ 22 w 786"/>
                <a:gd name="T83" fmla="*/ 51 h 714"/>
                <a:gd name="T84" fmla="*/ 20 w 786"/>
                <a:gd name="T85" fmla="*/ 50 h 714"/>
                <a:gd name="T86" fmla="*/ 20 w 786"/>
                <a:gd name="T87" fmla="*/ 48 h 714"/>
                <a:gd name="T88" fmla="*/ 18 w 786"/>
                <a:gd name="T89" fmla="*/ 47 h 714"/>
                <a:gd name="T90" fmla="*/ 15 w 786"/>
                <a:gd name="T91" fmla="*/ 45 h 714"/>
                <a:gd name="T92" fmla="*/ 11 w 786"/>
                <a:gd name="T93" fmla="*/ 39 h 714"/>
                <a:gd name="T94" fmla="*/ 12 w 786"/>
                <a:gd name="T95" fmla="*/ 36 h 714"/>
                <a:gd name="T96" fmla="*/ 7 w 786"/>
                <a:gd name="T97" fmla="*/ 33 h 714"/>
                <a:gd name="T98" fmla="*/ 5 w 786"/>
                <a:gd name="T99" fmla="*/ 28 h 714"/>
                <a:gd name="T100" fmla="*/ 7 w 786"/>
                <a:gd name="T101" fmla="*/ 30 h 714"/>
                <a:gd name="T102" fmla="*/ 4 w 786"/>
                <a:gd name="T103" fmla="*/ 24 h 714"/>
                <a:gd name="T104" fmla="*/ 2 w 786"/>
                <a:gd name="T105" fmla="*/ 20 h 714"/>
                <a:gd name="T106" fmla="*/ 0 w 786"/>
                <a:gd name="T107" fmla="*/ 15 h 714"/>
                <a:gd name="T108" fmla="*/ 4 w 786"/>
                <a:gd name="T109" fmla="*/ 16 h 714"/>
                <a:gd name="T110" fmla="*/ 55 w 786"/>
                <a:gd name="T111" fmla="*/ 60 h 714"/>
                <a:gd name="T112" fmla="*/ 47 w 786"/>
                <a:gd name="T113" fmla="*/ 60 h 714"/>
                <a:gd name="T114" fmla="*/ 51 w 786"/>
                <a:gd name="T115" fmla="*/ 54 h 714"/>
                <a:gd name="T116" fmla="*/ 54 w 786"/>
                <a:gd name="T117" fmla="*/ 56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86"/>
                <a:gd name="T178" fmla="*/ 0 h 714"/>
                <a:gd name="T179" fmla="*/ 786 w 786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86" h="714">
                  <a:moveTo>
                    <a:pt x="54" y="186"/>
                  </a:moveTo>
                  <a:lnTo>
                    <a:pt x="54" y="192"/>
                  </a:lnTo>
                  <a:lnTo>
                    <a:pt x="72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204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20" y="210"/>
                  </a:lnTo>
                  <a:lnTo>
                    <a:pt x="126" y="210"/>
                  </a:lnTo>
                  <a:lnTo>
                    <a:pt x="132" y="210"/>
                  </a:lnTo>
                  <a:lnTo>
                    <a:pt x="132" y="216"/>
                  </a:lnTo>
                  <a:lnTo>
                    <a:pt x="138" y="222"/>
                  </a:lnTo>
                  <a:lnTo>
                    <a:pt x="150" y="222"/>
                  </a:lnTo>
                  <a:lnTo>
                    <a:pt x="162" y="234"/>
                  </a:lnTo>
                  <a:lnTo>
                    <a:pt x="168" y="240"/>
                  </a:lnTo>
                  <a:lnTo>
                    <a:pt x="180" y="240"/>
                  </a:lnTo>
                  <a:lnTo>
                    <a:pt x="186" y="228"/>
                  </a:lnTo>
                  <a:lnTo>
                    <a:pt x="210" y="234"/>
                  </a:lnTo>
                  <a:lnTo>
                    <a:pt x="222" y="228"/>
                  </a:lnTo>
                  <a:lnTo>
                    <a:pt x="228" y="216"/>
                  </a:lnTo>
                  <a:lnTo>
                    <a:pt x="234" y="210"/>
                  </a:lnTo>
                  <a:lnTo>
                    <a:pt x="240" y="216"/>
                  </a:lnTo>
                  <a:lnTo>
                    <a:pt x="246" y="210"/>
                  </a:lnTo>
                  <a:lnTo>
                    <a:pt x="252" y="210"/>
                  </a:lnTo>
                  <a:lnTo>
                    <a:pt x="258" y="210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192"/>
                  </a:lnTo>
                  <a:lnTo>
                    <a:pt x="270" y="192"/>
                  </a:lnTo>
                  <a:lnTo>
                    <a:pt x="276" y="192"/>
                  </a:lnTo>
                  <a:lnTo>
                    <a:pt x="282" y="192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192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198"/>
                  </a:lnTo>
                  <a:lnTo>
                    <a:pt x="312" y="198"/>
                  </a:lnTo>
                  <a:lnTo>
                    <a:pt x="312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24" y="186"/>
                  </a:lnTo>
                  <a:lnTo>
                    <a:pt x="318" y="180"/>
                  </a:lnTo>
                  <a:lnTo>
                    <a:pt x="324" y="180"/>
                  </a:lnTo>
                  <a:lnTo>
                    <a:pt x="330" y="186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74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54" y="144"/>
                  </a:lnTo>
                  <a:lnTo>
                    <a:pt x="360" y="144"/>
                  </a:lnTo>
                  <a:lnTo>
                    <a:pt x="372" y="156"/>
                  </a:lnTo>
                  <a:lnTo>
                    <a:pt x="372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96" y="168"/>
                  </a:lnTo>
                  <a:lnTo>
                    <a:pt x="396" y="174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26" y="186"/>
                  </a:lnTo>
                  <a:lnTo>
                    <a:pt x="432" y="186"/>
                  </a:lnTo>
                  <a:lnTo>
                    <a:pt x="438" y="180"/>
                  </a:lnTo>
                  <a:lnTo>
                    <a:pt x="438" y="168"/>
                  </a:lnTo>
                  <a:lnTo>
                    <a:pt x="438" y="162"/>
                  </a:lnTo>
                  <a:lnTo>
                    <a:pt x="444" y="156"/>
                  </a:lnTo>
                  <a:lnTo>
                    <a:pt x="450" y="156"/>
                  </a:lnTo>
                  <a:lnTo>
                    <a:pt x="456" y="150"/>
                  </a:lnTo>
                  <a:lnTo>
                    <a:pt x="462" y="156"/>
                  </a:lnTo>
                  <a:lnTo>
                    <a:pt x="468" y="162"/>
                  </a:lnTo>
                  <a:lnTo>
                    <a:pt x="474" y="162"/>
                  </a:lnTo>
                  <a:lnTo>
                    <a:pt x="486" y="162"/>
                  </a:lnTo>
                  <a:lnTo>
                    <a:pt x="492" y="156"/>
                  </a:lnTo>
                  <a:lnTo>
                    <a:pt x="498" y="150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28" y="126"/>
                  </a:lnTo>
                  <a:lnTo>
                    <a:pt x="522" y="120"/>
                  </a:lnTo>
                  <a:lnTo>
                    <a:pt x="522" y="114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28" y="102"/>
                  </a:lnTo>
                  <a:lnTo>
                    <a:pt x="534" y="96"/>
                  </a:lnTo>
                  <a:lnTo>
                    <a:pt x="552" y="96"/>
                  </a:lnTo>
                  <a:lnTo>
                    <a:pt x="570" y="102"/>
                  </a:lnTo>
                  <a:lnTo>
                    <a:pt x="582" y="96"/>
                  </a:lnTo>
                  <a:lnTo>
                    <a:pt x="582" y="90"/>
                  </a:lnTo>
                  <a:lnTo>
                    <a:pt x="582" y="78"/>
                  </a:lnTo>
                  <a:lnTo>
                    <a:pt x="582" y="72"/>
                  </a:lnTo>
                  <a:lnTo>
                    <a:pt x="582" y="66"/>
                  </a:lnTo>
                  <a:lnTo>
                    <a:pt x="594" y="60"/>
                  </a:lnTo>
                  <a:lnTo>
                    <a:pt x="600" y="60"/>
                  </a:lnTo>
                  <a:lnTo>
                    <a:pt x="606" y="54"/>
                  </a:lnTo>
                  <a:lnTo>
                    <a:pt x="618" y="48"/>
                  </a:lnTo>
                  <a:lnTo>
                    <a:pt x="618" y="42"/>
                  </a:lnTo>
                  <a:lnTo>
                    <a:pt x="624" y="42"/>
                  </a:lnTo>
                  <a:lnTo>
                    <a:pt x="636" y="48"/>
                  </a:lnTo>
                  <a:lnTo>
                    <a:pt x="648" y="54"/>
                  </a:lnTo>
                  <a:lnTo>
                    <a:pt x="660" y="54"/>
                  </a:lnTo>
                  <a:lnTo>
                    <a:pt x="666" y="60"/>
                  </a:lnTo>
                  <a:lnTo>
                    <a:pt x="672" y="54"/>
                  </a:lnTo>
                  <a:lnTo>
                    <a:pt x="684" y="48"/>
                  </a:lnTo>
                  <a:lnTo>
                    <a:pt x="708" y="42"/>
                  </a:lnTo>
                  <a:lnTo>
                    <a:pt x="714" y="42"/>
                  </a:lnTo>
                  <a:lnTo>
                    <a:pt x="720" y="36"/>
                  </a:lnTo>
                  <a:lnTo>
                    <a:pt x="720" y="30"/>
                  </a:lnTo>
                  <a:lnTo>
                    <a:pt x="714" y="12"/>
                  </a:lnTo>
                  <a:lnTo>
                    <a:pt x="708" y="0"/>
                  </a:lnTo>
                  <a:lnTo>
                    <a:pt x="738" y="6"/>
                  </a:lnTo>
                  <a:lnTo>
                    <a:pt x="756" y="6"/>
                  </a:lnTo>
                  <a:lnTo>
                    <a:pt x="762" y="42"/>
                  </a:lnTo>
                  <a:lnTo>
                    <a:pt x="738" y="72"/>
                  </a:lnTo>
                  <a:lnTo>
                    <a:pt x="750" y="90"/>
                  </a:lnTo>
                  <a:lnTo>
                    <a:pt x="762" y="96"/>
                  </a:lnTo>
                  <a:lnTo>
                    <a:pt x="756" y="102"/>
                  </a:lnTo>
                  <a:lnTo>
                    <a:pt x="750" y="108"/>
                  </a:lnTo>
                  <a:lnTo>
                    <a:pt x="750" y="114"/>
                  </a:lnTo>
                  <a:lnTo>
                    <a:pt x="750" y="120"/>
                  </a:lnTo>
                  <a:lnTo>
                    <a:pt x="750" y="126"/>
                  </a:lnTo>
                  <a:lnTo>
                    <a:pt x="750" y="132"/>
                  </a:lnTo>
                  <a:lnTo>
                    <a:pt x="738" y="132"/>
                  </a:lnTo>
                  <a:lnTo>
                    <a:pt x="732" y="138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14" y="144"/>
                  </a:lnTo>
                  <a:lnTo>
                    <a:pt x="714" y="150"/>
                  </a:lnTo>
                  <a:lnTo>
                    <a:pt x="720" y="156"/>
                  </a:lnTo>
                  <a:lnTo>
                    <a:pt x="720" y="162"/>
                  </a:lnTo>
                  <a:lnTo>
                    <a:pt x="714" y="162"/>
                  </a:lnTo>
                  <a:lnTo>
                    <a:pt x="708" y="168"/>
                  </a:lnTo>
                  <a:lnTo>
                    <a:pt x="708" y="180"/>
                  </a:lnTo>
                  <a:lnTo>
                    <a:pt x="708" y="192"/>
                  </a:lnTo>
                  <a:lnTo>
                    <a:pt x="696" y="198"/>
                  </a:lnTo>
                  <a:lnTo>
                    <a:pt x="696" y="204"/>
                  </a:lnTo>
                  <a:lnTo>
                    <a:pt x="684" y="210"/>
                  </a:lnTo>
                  <a:lnTo>
                    <a:pt x="684" y="216"/>
                  </a:lnTo>
                  <a:lnTo>
                    <a:pt x="684" y="222"/>
                  </a:lnTo>
                  <a:lnTo>
                    <a:pt x="678" y="228"/>
                  </a:lnTo>
                  <a:lnTo>
                    <a:pt x="678" y="234"/>
                  </a:lnTo>
                  <a:lnTo>
                    <a:pt x="672" y="240"/>
                  </a:lnTo>
                  <a:lnTo>
                    <a:pt x="672" y="252"/>
                  </a:lnTo>
                  <a:lnTo>
                    <a:pt x="672" y="258"/>
                  </a:lnTo>
                  <a:lnTo>
                    <a:pt x="666" y="264"/>
                  </a:lnTo>
                  <a:lnTo>
                    <a:pt x="678" y="264"/>
                  </a:lnTo>
                  <a:lnTo>
                    <a:pt x="684" y="276"/>
                  </a:lnTo>
                  <a:lnTo>
                    <a:pt x="684" y="288"/>
                  </a:lnTo>
                  <a:lnTo>
                    <a:pt x="672" y="300"/>
                  </a:lnTo>
                  <a:lnTo>
                    <a:pt x="660" y="318"/>
                  </a:lnTo>
                  <a:lnTo>
                    <a:pt x="660" y="336"/>
                  </a:lnTo>
                  <a:lnTo>
                    <a:pt x="654" y="342"/>
                  </a:lnTo>
                  <a:lnTo>
                    <a:pt x="660" y="354"/>
                  </a:lnTo>
                  <a:lnTo>
                    <a:pt x="660" y="366"/>
                  </a:lnTo>
                  <a:lnTo>
                    <a:pt x="666" y="378"/>
                  </a:lnTo>
                  <a:lnTo>
                    <a:pt x="672" y="390"/>
                  </a:lnTo>
                  <a:lnTo>
                    <a:pt x="678" y="396"/>
                  </a:lnTo>
                  <a:lnTo>
                    <a:pt x="684" y="390"/>
                  </a:lnTo>
                  <a:lnTo>
                    <a:pt x="690" y="390"/>
                  </a:lnTo>
                  <a:lnTo>
                    <a:pt x="690" y="396"/>
                  </a:lnTo>
                  <a:lnTo>
                    <a:pt x="684" y="396"/>
                  </a:lnTo>
                  <a:lnTo>
                    <a:pt x="684" y="402"/>
                  </a:lnTo>
                  <a:lnTo>
                    <a:pt x="684" y="408"/>
                  </a:lnTo>
                  <a:lnTo>
                    <a:pt x="678" y="414"/>
                  </a:lnTo>
                  <a:lnTo>
                    <a:pt x="684" y="414"/>
                  </a:lnTo>
                  <a:lnTo>
                    <a:pt x="684" y="420"/>
                  </a:lnTo>
                  <a:lnTo>
                    <a:pt x="684" y="426"/>
                  </a:lnTo>
                  <a:lnTo>
                    <a:pt x="690" y="420"/>
                  </a:lnTo>
                  <a:lnTo>
                    <a:pt x="696" y="420"/>
                  </a:lnTo>
                  <a:lnTo>
                    <a:pt x="696" y="426"/>
                  </a:lnTo>
                  <a:lnTo>
                    <a:pt x="690" y="426"/>
                  </a:lnTo>
                  <a:lnTo>
                    <a:pt x="696" y="426"/>
                  </a:lnTo>
                  <a:lnTo>
                    <a:pt x="708" y="426"/>
                  </a:lnTo>
                  <a:lnTo>
                    <a:pt x="726" y="414"/>
                  </a:lnTo>
                  <a:lnTo>
                    <a:pt x="732" y="408"/>
                  </a:lnTo>
                  <a:lnTo>
                    <a:pt x="744" y="402"/>
                  </a:lnTo>
                  <a:lnTo>
                    <a:pt x="756" y="402"/>
                  </a:lnTo>
                  <a:lnTo>
                    <a:pt x="768" y="402"/>
                  </a:lnTo>
                  <a:lnTo>
                    <a:pt x="786" y="408"/>
                  </a:lnTo>
                  <a:lnTo>
                    <a:pt x="786" y="414"/>
                  </a:lnTo>
                  <a:lnTo>
                    <a:pt x="774" y="420"/>
                  </a:lnTo>
                  <a:lnTo>
                    <a:pt x="774" y="426"/>
                  </a:lnTo>
                  <a:lnTo>
                    <a:pt x="768" y="432"/>
                  </a:lnTo>
                  <a:lnTo>
                    <a:pt x="762" y="438"/>
                  </a:lnTo>
                  <a:lnTo>
                    <a:pt x="756" y="438"/>
                  </a:lnTo>
                  <a:lnTo>
                    <a:pt x="756" y="444"/>
                  </a:lnTo>
                  <a:lnTo>
                    <a:pt x="756" y="450"/>
                  </a:lnTo>
                  <a:lnTo>
                    <a:pt x="762" y="450"/>
                  </a:lnTo>
                  <a:lnTo>
                    <a:pt x="750" y="456"/>
                  </a:lnTo>
                  <a:lnTo>
                    <a:pt x="738" y="468"/>
                  </a:lnTo>
                  <a:lnTo>
                    <a:pt x="726" y="480"/>
                  </a:lnTo>
                  <a:lnTo>
                    <a:pt x="726" y="486"/>
                  </a:lnTo>
                  <a:lnTo>
                    <a:pt x="732" y="486"/>
                  </a:lnTo>
                  <a:lnTo>
                    <a:pt x="732" y="492"/>
                  </a:lnTo>
                  <a:lnTo>
                    <a:pt x="732" y="504"/>
                  </a:lnTo>
                  <a:lnTo>
                    <a:pt x="738" y="504"/>
                  </a:lnTo>
                  <a:lnTo>
                    <a:pt x="744" y="510"/>
                  </a:lnTo>
                  <a:lnTo>
                    <a:pt x="738" y="522"/>
                  </a:lnTo>
                  <a:lnTo>
                    <a:pt x="744" y="528"/>
                  </a:lnTo>
                  <a:lnTo>
                    <a:pt x="756" y="534"/>
                  </a:lnTo>
                  <a:lnTo>
                    <a:pt x="756" y="540"/>
                  </a:lnTo>
                  <a:lnTo>
                    <a:pt x="744" y="552"/>
                  </a:lnTo>
                  <a:lnTo>
                    <a:pt x="738" y="552"/>
                  </a:lnTo>
                  <a:lnTo>
                    <a:pt x="738" y="558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64"/>
                  </a:lnTo>
                  <a:lnTo>
                    <a:pt x="744" y="576"/>
                  </a:lnTo>
                  <a:lnTo>
                    <a:pt x="738" y="588"/>
                  </a:lnTo>
                  <a:lnTo>
                    <a:pt x="738" y="594"/>
                  </a:lnTo>
                  <a:lnTo>
                    <a:pt x="738" y="600"/>
                  </a:lnTo>
                  <a:lnTo>
                    <a:pt x="738" y="606"/>
                  </a:lnTo>
                  <a:lnTo>
                    <a:pt x="732" y="612"/>
                  </a:lnTo>
                  <a:lnTo>
                    <a:pt x="726" y="624"/>
                  </a:lnTo>
                  <a:lnTo>
                    <a:pt x="726" y="636"/>
                  </a:lnTo>
                  <a:lnTo>
                    <a:pt x="726" y="648"/>
                  </a:lnTo>
                  <a:lnTo>
                    <a:pt x="738" y="654"/>
                  </a:lnTo>
                  <a:lnTo>
                    <a:pt x="750" y="660"/>
                  </a:lnTo>
                  <a:lnTo>
                    <a:pt x="750" y="666"/>
                  </a:lnTo>
                  <a:lnTo>
                    <a:pt x="750" y="678"/>
                  </a:lnTo>
                  <a:lnTo>
                    <a:pt x="744" y="678"/>
                  </a:lnTo>
                  <a:lnTo>
                    <a:pt x="738" y="684"/>
                  </a:lnTo>
                  <a:lnTo>
                    <a:pt x="732" y="684"/>
                  </a:lnTo>
                  <a:lnTo>
                    <a:pt x="720" y="678"/>
                  </a:lnTo>
                  <a:lnTo>
                    <a:pt x="714" y="684"/>
                  </a:lnTo>
                  <a:lnTo>
                    <a:pt x="708" y="684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0" y="690"/>
                  </a:lnTo>
                  <a:lnTo>
                    <a:pt x="690" y="684"/>
                  </a:lnTo>
                  <a:lnTo>
                    <a:pt x="690" y="690"/>
                  </a:lnTo>
                  <a:lnTo>
                    <a:pt x="684" y="690"/>
                  </a:lnTo>
                  <a:lnTo>
                    <a:pt x="684" y="684"/>
                  </a:lnTo>
                  <a:lnTo>
                    <a:pt x="678" y="684"/>
                  </a:lnTo>
                  <a:lnTo>
                    <a:pt x="672" y="678"/>
                  </a:lnTo>
                  <a:lnTo>
                    <a:pt x="672" y="672"/>
                  </a:lnTo>
                  <a:lnTo>
                    <a:pt x="678" y="672"/>
                  </a:lnTo>
                  <a:lnTo>
                    <a:pt x="672" y="672"/>
                  </a:lnTo>
                  <a:lnTo>
                    <a:pt x="666" y="672"/>
                  </a:lnTo>
                  <a:lnTo>
                    <a:pt x="660" y="672"/>
                  </a:lnTo>
                  <a:lnTo>
                    <a:pt x="654" y="672"/>
                  </a:lnTo>
                  <a:lnTo>
                    <a:pt x="654" y="666"/>
                  </a:lnTo>
                  <a:lnTo>
                    <a:pt x="648" y="666"/>
                  </a:lnTo>
                  <a:lnTo>
                    <a:pt x="642" y="660"/>
                  </a:lnTo>
                  <a:lnTo>
                    <a:pt x="642" y="654"/>
                  </a:lnTo>
                  <a:lnTo>
                    <a:pt x="642" y="648"/>
                  </a:lnTo>
                  <a:lnTo>
                    <a:pt x="636" y="648"/>
                  </a:lnTo>
                  <a:lnTo>
                    <a:pt x="630" y="648"/>
                  </a:lnTo>
                  <a:lnTo>
                    <a:pt x="624" y="648"/>
                  </a:lnTo>
                  <a:lnTo>
                    <a:pt x="624" y="642"/>
                  </a:lnTo>
                  <a:lnTo>
                    <a:pt x="618" y="636"/>
                  </a:lnTo>
                  <a:lnTo>
                    <a:pt x="624" y="636"/>
                  </a:lnTo>
                  <a:lnTo>
                    <a:pt x="624" y="630"/>
                  </a:lnTo>
                  <a:lnTo>
                    <a:pt x="618" y="630"/>
                  </a:lnTo>
                  <a:lnTo>
                    <a:pt x="618" y="624"/>
                  </a:lnTo>
                  <a:lnTo>
                    <a:pt x="618" y="618"/>
                  </a:lnTo>
                  <a:lnTo>
                    <a:pt x="618" y="612"/>
                  </a:lnTo>
                  <a:lnTo>
                    <a:pt x="618" y="606"/>
                  </a:lnTo>
                  <a:lnTo>
                    <a:pt x="624" y="606"/>
                  </a:lnTo>
                  <a:lnTo>
                    <a:pt x="624" y="600"/>
                  </a:lnTo>
                  <a:lnTo>
                    <a:pt x="618" y="600"/>
                  </a:lnTo>
                  <a:lnTo>
                    <a:pt x="618" y="594"/>
                  </a:lnTo>
                  <a:lnTo>
                    <a:pt x="618" y="588"/>
                  </a:lnTo>
                  <a:lnTo>
                    <a:pt x="618" y="582"/>
                  </a:lnTo>
                  <a:lnTo>
                    <a:pt x="612" y="582"/>
                  </a:lnTo>
                  <a:lnTo>
                    <a:pt x="606" y="582"/>
                  </a:lnTo>
                  <a:lnTo>
                    <a:pt x="612" y="582"/>
                  </a:lnTo>
                  <a:lnTo>
                    <a:pt x="612" y="588"/>
                  </a:lnTo>
                  <a:lnTo>
                    <a:pt x="612" y="594"/>
                  </a:lnTo>
                  <a:lnTo>
                    <a:pt x="618" y="594"/>
                  </a:lnTo>
                  <a:lnTo>
                    <a:pt x="618" y="600"/>
                  </a:lnTo>
                  <a:lnTo>
                    <a:pt x="618" y="606"/>
                  </a:lnTo>
                  <a:lnTo>
                    <a:pt x="618" y="612"/>
                  </a:lnTo>
                  <a:lnTo>
                    <a:pt x="612" y="612"/>
                  </a:lnTo>
                  <a:lnTo>
                    <a:pt x="612" y="618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94" y="612"/>
                  </a:lnTo>
                  <a:lnTo>
                    <a:pt x="588" y="606"/>
                  </a:lnTo>
                  <a:lnTo>
                    <a:pt x="588" y="612"/>
                  </a:lnTo>
                  <a:lnTo>
                    <a:pt x="594" y="612"/>
                  </a:lnTo>
                  <a:lnTo>
                    <a:pt x="594" y="618"/>
                  </a:lnTo>
                  <a:lnTo>
                    <a:pt x="588" y="618"/>
                  </a:lnTo>
                  <a:lnTo>
                    <a:pt x="588" y="624"/>
                  </a:lnTo>
                  <a:lnTo>
                    <a:pt x="582" y="624"/>
                  </a:lnTo>
                  <a:lnTo>
                    <a:pt x="582" y="630"/>
                  </a:lnTo>
                  <a:lnTo>
                    <a:pt x="576" y="630"/>
                  </a:lnTo>
                  <a:lnTo>
                    <a:pt x="576" y="636"/>
                  </a:lnTo>
                  <a:lnTo>
                    <a:pt x="570" y="636"/>
                  </a:lnTo>
                  <a:lnTo>
                    <a:pt x="570" y="642"/>
                  </a:lnTo>
                  <a:lnTo>
                    <a:pt x="564" y="642"/>
                  </a:lnTo>
                  <a:lnTo>
                    <a:pt x="564" y="636"/>
                  </a:lnTo>
                  <a:lnTo>
                    <a:pt x="564" y="630"/>
                  </a:lnTo>
                  <a:lnTo>
                    <a:pt x="564" y="624"/>
                  </a:lnTo>
                  <a:lnTo>
                    <a:pt x="564" y="618"/>
                  </a:lnTo>
                  <a:lnTo>
                    <a:pt x="570" y="612"/>
                  </a:lnTo>
                  <a:lnTo>
                    <a:pt x="564" y="606"/>
                  </a:lnTo>
                  <a:lnTo>
                    <a:pt x="564" y="600"/>
                  </a:lnTo>
                  <a:lnTo>
                    <a:pt x="564" y="594"/>
                  </a:lnTo>
                  <a:lnTo>
                    <a:pt x="558" y="594"/>
                  </a:lnTo>
                  <a:lnTo>
                    <a:pt x="558" y="588"/>
                  </a:lnTo>
                  <a:lnTo>
                    <a:pt x="552" y="582"/>
                  </a:lnTo>
                  <a:lnTo>
                    <a:pt x="552" y="576"/>
                  </a:lnTo>
                  <a:lnTo>
                    <a:pt x="552" y="570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6" y="582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58" y="588"/>
                  </a:lnTo>
                  <a:lnTo>
                    <a:pt x="558" y="594"/>
                  </a:lnTo>
                  <a:lnTo>
                    <a:pt x="558" y="600"/>
                  </a:lnTo>
                  <a:lnTo>
                    <a:pt x="558" y="606"/>
                  </a:lnTo>
                  <a:lnTo>
                    <a:pt x="552" y="612"/>
                  </a:lnTo>
                  <a:lnTo>
                    <a:pt x="558" y="612"/>
                  </a:lnTo>
                  <a:lnTo>
                    <a:pt x="558" y="618"/>
                  </a:lnTo>
                  <a:lnTo>
                    <a:pt x="558" y="624"/>
                  </a:lnTo>
                  <a:lnTo>
                    <a:pt x="558" y="630"/>
                  </a:lnTo>
                  <a:lnTo>
                    <a:pt x="552" y="630"/>
                  </a:lnTo>
                  <a:lnTo>
                    <a:pt x="552" y="624"/>
                  </a:lnTo>
                  <a:lnTo>
                    <a:pt x="546" y="624"/>
                  </a:lnTo>
                  <a:lnTo>
                    <a:pt x="546" y="618"/>
                  </a:lnTo>
                  <a:lnTo>
                    <a:pt x="546" y="612"/>
                  </a:lnTo>
                  <a:lnTo>
                    <a:pt x="540" y="612"/>
                  </a:lnTo>
                  <a:lnTo>
                    <a:pt x="534" y="612"/>
                  </a:lnTo>
                  <a:lnTo>
                    <a:pt x="528" y="612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28" y="618"/>
                  </a:lnTo>
                  <a:lnTo>
                    <a:pt x="534" y="618"/>
                  </a:lnTo>
                  <a:lnTo>
                    <a:pt x="540" y="618"/>
                  </a:lnTo>
                  <a:lnTo>
                    <a:pt x="540" y="624"/>
                  </a:lnTo>
                  <a:lnTo>
                    <a:pt x="546" y="624"/>
                  </a:lnTo>
                  <a:lnTo>
                    <a:pt x="546" y="630"/>
                  </a:lnTo>
                  <a:lnTo>
                    <a:pt x="552" y="630"/>
                  </a:lnTo>
                  <a:lnTo>
                    <a:pt x="552" y="636"/>
                  </a:lnTo>
                  <a:lnTo>
                    <a:pt x="546" y="642"/>
                  </a:lnTo>
                  <a:lnTo>
                    <a:pt x="546" y="648"/>
                  </a:lnTo>
                  <a:lnTo>
                    <a:pt x="540" y="648"/>
                  </a:lnTo>
                  <a:lnTo>
                    <a:pt x="540" y="654"/>
                  </a:lnTo>
                  <a:lnTo>
                    <a:pt x="540" y="660"/>
                  </a:lnTo>
                  <a:lnTo>
                    <a:pt x="534" y="666"/>
                  </a:lnTo>
                  <a:lnTo>
                    <a:pt x="534" y="672"/>
                  </a:lnTo>
                  <a:lnTo>
                    <a:pt x="534" y="678"/>
                  </a:lnTo>
                  <a:lnTo>
                    <a:pt x="534" y="684"/>
                  </a:lnTo>
                  <a:lnTo>
                    <a:pt x="534" y="678"/>
                  </a:lnTo>
                  <a:lnTo>
                    <a:pt x="528" y="678"/>
                  </a:lnTo>
                  <a:lnTo>
                    <a:pt x="528" y="684"/>
                  </a:lnTo>
                  <a:lnTo>
                    <a:pt x="522" y="690"/>
                  </a:lnTo>
                  <a:lnTo>
                    <a:pt x="528" y="690"/>
                  </a:lnTo>
                  <a:lnTo>
                    <a:pt x="528" y="684"/>
                  </a:lnTo>
                  <a:lnTo>
                    <a:pt x="534" y="684"/>
                  </a:lnTo>
                  <a:lnTo>
                    <a:pt x="534" y="690"/>
                  </a:lnTo>
                  <a:lnTo>
                    <a:pt x="534" y="696"/>
                  </a:lnTo>
                  <a:lnTo>
                    <a:pt x="540" y="696"/>
                  </a:lnTo>
                  <a:lnTo>
                    <a:pt x="540" y="702"/>
                  </a:lnTo>
                  <a:lnTo>
                    <a:pt x="540" y="708"/>
                  </a:lnTo>
                  <a:lnTo>
                    <a:pt x="534" y="708"/>
                  </a:lnTo>
                  <a:lnTo>
                    <a:pt x="528" y="708"/>
                  </a:lnTo>
                  <a:lnTo>
                    <a:pt x="522" y="708"/>
                  </a:lnTo>
                  <a:lnTo>
                    <a:pt x="516" y="708"/>
                  </a:lnTo>
                  <a:lnTo>
                    <a:pt x="510" y="708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2" y="708"/>
                  </a:lnTo>
                  <a:lnTo>
                    <a:pt x="486" y="714"/>
                  </a:lnTo>
                  <a:lnTo>
                    <a:pt x="480" y="708"/>
                  </a:lnTo>
                  <a:lnTo>
                    <a:pt x="474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68" y="714"/>
                  </a:lnTo>
                  <a:lnTo>
                    <a:pt x="456" y="714"/>
                  </a:lnTo>
                  <a:lnTo>
                    <a:pt x="450" y="714"/>
                  </a:lnTo>
                  <a:lnTo>
                    <a:pt x="450" y="708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50" y="690"/>
                  </a:lnTo>
                  <a:lnTo>
                    <a:pt x="450" y="684"/>
                  </a:lnTo>
                  <a:lnTo>
                    <a:pt x="450" y="678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56" y="660"/>
                  </a:lnTo>
                  <a:lnTo>
                    <a:pt x="462" y="660"/>
                  </a:lnTo>
                  <a:lnTo>
                    <a:pt x="462" y="654"/>
                  </a:lnTo>
                  <a:lnTo>
                    <a:pt x="456" y="654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48"/>
                  </a:lnTo>
                  <a:lnTo>
                    <a:pt x="444" y="648"/>
                  </a:lnTo>
                  <a:lnTo>
                    <a:pt x="444" y="642"/>
                  </a:lnTo>
                  <a:lnTo>
                    <a:pt x="444" y="636"/>
                  </a:lnTo>
                  <a:lnTo>
                    <a:pt x="450" y="636"/>
                  </a:lnTo>
                  <a:lnTo>
                    <a:pt x="450" y="630"/>
                  </a:lnTo>
                  <a:lnTo>
                    <a:pt x="456" y="630"/>
                  </a:lnTo>
                  <a:lnTo>
                    <a:pt x="462" y="630"/>
                  </a:lnTo>
                  <a:lnTo>
                    <a:pt x="462" y="624"/>
                  </a:lnTo>
                  <a:lnTo>
                    <a:pt x="468" y="624"/>
                  </a:lnTo>
                  <a:lnTo>
                    <a:pt x="474" y="624"/>
                  </a:lnTo>
                  <a:lnTo>
                    <a:pt x="474" y="618"/>
                  </a:lnTo>
                  <a:lnTo>
                    <a:pt x="480" y="618"/>
                  </a:lnTo>
                  <a:lnTo>
                    <a:pt x="486" y="618"/>
                  </a:lnTo>
                  <a:lnTo>
                    <a:pt x="486" y="624"/>
                  </a:lnTo>
                  <a:lnTo>
                    <a:pt x="486" y="636"/>
                  </a:lnTo>
                  <a:lnTo>
                    <a:pt x="486" y="642"/>
                  </a:lnTo>
                  <a:lnTo>
                    <a:pt x="486" y="648"/>
                  </a:lnTo>
                  <a:lnTo>
                    <a:pt x="492" y="648"/>
                  </a:lnTo>
                  <a:lnTo>
                    <a:pt x="492" y="642"/>
                  </a:lnTo>
                  <a:lnTo>
                    <a:pt x="498" y="636"/>
                  </a:lnTo>
                  <a:lnTo>
                    <a:pt x="492" y="636"/>
                  </a:lnTo>
                  <a:lnTo>
                    <a:pt x="492" y="630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6" y="618"/>
                  </a:lnTo>
                  <a:lnTo>
                    <a:pt x="486" y="612"/>
                  </a:lnTo>
                  <a:lnTo>
                    <a:pt x="486" y="606"/>
                  </a:lnTo>
                  <a:lnTo>
                    <a:pt x="480" y="606"/>
                  </a:lnTo>
                  <a:lnTo>
                    <a:pt x="480" y="612"/>
                  </a:lnTo>
                  <a:lnTo>
                    <a:pt x="474" y="618"/>
                  </a:lnTo>
                  <a:lnTo>
                    <a:pt x="468" y="618"/>
                  </a:lnTo>
                  <a:lnTo>
                    <a:pt x="462" y="618"/>
                  </a:lnTo>
                  <a:lnTo>
                    <a:pt x="462" y="612"/>
                  </a:lnTo>
                  <a:lnTo>
                    <a:pt x="456" y="612"/>
                  </a:lnTo>
                  <a:lnTo>
                    <a:pt x="456" y="618"/>
                  </a:lnTo>
                  <a:lnTo>
                    <a:pt x="462" y="618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30"/>
                  </a:lnTo>
                  <a:lnTo>
                    <a:pt x="444" y="630"/>
                  </a:lnTo>
                  <a:lnTo>
                    <a:pt x="444" y="636"/>
                  </a:lnTo>
                  <a:lnTo>
                    <a:pt x="444" y="642"/>
                  </a:lnTo>
                  <a:lnTo>
                    <a:pt x="444" y="654"/>
                  </a:lnTo>
                  <a:lnTo>
                    <a:pt x="444" y="660"/>
                  </a:lnTo>
                  <a:lnTo>
                    <a:pt x="438" y="660"/>
                  </a:lnTo>
                  <a:lnTo>
                    <a:pt x="432" y="660"/>
                  </a:lnTo>
                  <a:lnTo>
                    <a:pt x="432" y="654"/>
                  </a:lnTo>
                  <a:lnTo>
                    <a:pt x="438" y="654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48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26" y="660"/>
                  </a:lnTo>
                  <a:lnTo>
                    <a:pt x="432" y="666"/>
                  </a:lnTo>
                  <a:lnTo>
                    <a:pt x="432" y="672"/>
                  </a:lnTo>
                  <a:lnTo>
                    <a:pt x="438" y="672"/>
                  </a:lnTo>
                  <a:lnTo>
                    <a:pt x="438" y="678"/>
                  </a:lnTo>
                  <a:lnTo>
                    <a:pt x="444" y="678"/>
                  </a:lnTo>
                  <a:lnTo>
                    <a:pt x="444" y="684"/>
                  </a:lnTo>
                  <a:lnTo>
                    <a:pt x="438" y="690"/>
                  </a:lnTo>
                  <a:lnTo>
                    <a:pt x="438" y="696"/>
                  </a:lnTo>
                  <a:lnTo>
                    <a:pt x="438" y="702"/>
                  </a:lnTo>
                  <a:lnTo>
                    <a:pt x="432" y="702"/>
                  </a:lnTo>
                  <a:lnTo>
                    <a:pt x="426" y="702"/>
                  </a:lnTo>
                  <a:lnTo>
                    <a:pt x="426" y="696"/>
                  </a:lnTo>
                  <a:lnTo>
                    <a:pt x="414" y="696"/>
                  </a:lnTo>
                  <a:lnTo>
                    <a:pt x="402" y="696"/>
                  </a:lnTo>
                  <a:lnTo>
                    <a:pt x="402" y="690"/>
                  </a:lnTo>
                  <a:lnTo>
                    <a:pt x="396" y="690"/>
                  </a:lnTo>
                  <a:lnTo>
                    <a:pt x="390" y="690"/>
                  </a:lnTo>
                  <a:lnTo>
                    <a:pt x="384" y="690"/>
                  </a:lnTo>
                  <a:lnTo>
                    <a:pt x="384" y="684"/>
                  </a:lnTo>
                  <a:lnTo>
                    <a:pt x="384" y="678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390" y="660"/>
                  </a:lnTo>
                  <a:lnTo>
                    <a:pt x="390" y="654"/>
                  </a:lnTo>
                  <a:lnTo>
                    <a:pt x="384" y="648"/>
                  </a:lnTo>
                  <a:lnTo>
                    <a:pt x="384" y="642"/>
                  </a:lnTo>
                  <a:lnTo>
                    <a:pt x="378" y="636"/>
                  </a:lnTo>
                  <a:lnTo>
                    <a:pt x="378" y="642"/>
                  </a:lnTo>
                  <a:lnTo>
                    <a:pt x="378" y="648"/>
                  </a:lnTo>
                  <a:lnTo>
                    <a:pt x="372" y="648"/>
                  </a:lnTo>
                  <a:lnTo>
                    <a:pt x="378" y="654"/>
                  </a:lnTo>
                  <a:lnTo>
                    <a:pt x="378" y="660"/>
                  </a:lnTo>
                  <a:lnTo>
                    <a:pt x="378" y="666"/>
                  </a:lnTo>
                  <a:lnTo>
                    <a:pt x="372" y="672"/>
                  </a:lnTo>
                  <a:lnTo>
                    <a:pt x="378" y="672"/>
                  </a:lnTo>
                  <a:lnTo>
                    <a:pt x="378" y="678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54" y="666"/>
                  </a:lnTo>
                  <a:lnTo>
                    <a:pt x="354" y="660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0" y="654"/>
                  </a:lnTo>
                  <a:lnTo>
                    <a:pt x="324" y="648"/>
                  </a:lnTo>
                  <a:lnTo>
                    <a:pt x="318" y="648"/>
                  </a:lnTo>
                  <a:lnTo>
                    <a:pt x="318" y="642"/>
                  </a:lnTo>
                  <a:lnTo>
                    <a:pt x="312" y="642"/>
                  </a:lnTo>
                  <a:lnTo>
                    <a:pt x="306" y="636"/>
                  </a:lnTo>
                  <a:lnTo>
                    <a:pt x="300" y="636"/>
                  </a:lnTo>
                  <a:lnTo>
                    <a:pt x="300" y="630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0" y="618"/>
                  </a:lnTo>
                  <a:lnTo>
                    <a:pt x="306" y="612"/>
                  </a:lnTo>
                  <a:lnTo>
                    <a:pt x="300" y="612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294" y="612"/>
                  </a:lnTo>
                  <a:lnTo>
                    <a:pt x="288" y="618"/>
                  </a:lnTo>
                  <a:lnTo>
                    <a:pt x="288" y="612"/>
                  </a:lnTo>
                  <a:lnTo>
                    <a:pt x="288" y="618"/>
                  </a:lnTo>
                  <a:lnTo>
                    <a:pt x="294" y="618"/>
                  </a:lnTo>
                  <a:lnTo>
                    <a:pt x="300" y="624"/>
                  </a:lnTo>
                  <a:lnTo>
                    <a:pt x="294" y="624"/>
                  </a:lnTo>
                  <a:lnTo>
                    <a:pt x="288" y="624"/>
                  </a:lnTo>
                  <a:lnTo>
                    <a:pt x="282" y="61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70" y="600"/>
                  </a:lnTo>
                  <a:lnTo>
                    <a:pt x="270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82" y="588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594"/>
                  </a:lnTo>
                  <a:lnTo>
                    <a:pt x="264" y="600"/>
                  </a:lnTo>
                  <a:lnTo>
                    <a:pt x="264" y="594"/>
                  </a:lnTo>
                  <a:lnTo>
                    <a:pt x="270" y="594"/>
                  </a:lnTo>
                  <a:lnTo>
                    <a:pt x="270" y="588"/>
                  </a:lnTo>
                  <a:lnTo>
                    <a:pt x="264" y="594"/>
                  </a:lnTo>
                  <a:lnTo>
                    <a:pt x="258" y="594"/>
                  </a:lnTo>
                  <a:lnTo>
                    <a:pt x="258" y="588"/>
                  </a:lnTo>
                  <a:lnTo>
                    <a:pt x="252" y="588"/>
                  </a:lnTo>
                  <a:lnTo>
                    <a:pt x="246" y="588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52" y="588"/>
                  </a:lnTo>
                  <a:lnTo>
                    <a:pt x="252" y="594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46" y="594"/>
                  </a:lnTo>
                  <a:lnTo>
                    <a:pt x="246" y="588"/>
                  </a:lnTo>
                  <a:lnTo>
                    <a:pt x="240" y="588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2" y="570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64"/>
                  </a:lnTo>
                  <a:lnTo>
                    <a:pt x="234" y="564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34" y="558"/>
                  </a:lnTo>
                  <a:lnTo>
                    <a:pt x="228" y="558"/>
                  </a:lnTo>
                  <a:lnTo>
                    <a:pt x="222" y="558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2" y="564"/>
                  </a:lnTo>
                  <a:lnTo>
                    <a:pt x="222" y="558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04" y="546"/>
                  </a:lnTo>
                  <a:lnTo>
                    <a:pt x="204" y="540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10" y="540"/>
                  </a:lnTo>
                  <a:lnTo>
                    <a:pt x="210" y="534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8"/>
                  </a:lnTo>
                  <a:lnTo>
                    <a:pt x="174" y="516"/>
                  </a:lnTo>
                  <a:lnTo>
                    <a:pt x="168" y="510"/>
                  </a:lnTo>
                  <a:lnTo>
                    <a:pt x="162" y="504"/>
                  </a:lnTo>
                  <a:lnTo>
                    <a:pt x="156" y="498"/>
                  </a:lnTo>
                  <a:lnTo>
                    <a:pt x="156" y="492"/>
                  </a:lnTo>
                  <a:lnTo>
                    <a:pt x="150" y="486"/>
                  </a:lnTo>
                  <a:lnTo>
                    <a:pt x="144" y="480"/>
                  </a:lnTo>
                  <a:lnTo>
                    <a:pt x="144" y="474"/>
                  </a:lnTo>
                  <a:lnTo>
                    <a:pt x="138" y="474"/>
                  </a:lnTo>
                  <a:lnTo>
                    <a:pt x="138" y="468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26" y="450"/>
                  </a:lnTo>
                  <a:lnTo>
                    <a:pt x="126" y="444"/>
                  </a:lnTo>
                  <a:lnTo>
                    <a:pt x="114" y="438"/>
                  </a:lnTo>
                  <a:lnTo>
                    <a:pt x="114" y="432"/>
                  </a:lnTo>
                  <a:lnTo>
                    <a:pt x="114" y="426"/>
                  </a:lnTo>
                  <a:lnTo>
                    <a:pt x="114" y="432"/>
                  </a:lnTo>
                  <a:lnTo>
                    <a:pt x="120" y="432"/>
                  </a:lnTo>
                  <a:lnTo>
                    <a:pt x="120" y="438"/>
                  </a:lnTo>
                  <a:lnTo>
                    <a:pt x="120" y="444"/>
                  </a:lnTo>
                  <a:lnTo>
                    <a:pt x="126" y="444"/>
                  </a:lnTo>
                  <a:lnTo>
                    <a:pt x="126" y="438"/>
                  </a:lnTo>
                  <a:lnTo>
                    <a:pt x="120" y="438"/>
                  </a:lnTo>
                  <a:lnTo>
                    <a:pt x="126" y="432"/>
                  </a:lnTo>
                  <a:lnTo>
                    <a:pt x="126" y="426"/>
                  </a:lnTo>
                  <a:lnTo>
                    <a:pt x="132" y="420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08" y="414"/>
                  </a:lnTo>
                  <a:lnTo>
                    <a:pt x="102" y="414"/>
                  </a:lnTo>
                  <a:lnTo>
                    <a:pt x="102" y="408"/>
                  </a:lnTo>
                  <a:lnTo>
                    <a:pt x="96" y="402"/>
                  </a:lnTo>
                  <a:lnTo>
                    <a:pt x="96" y="396"/>
                  </a:lnTo>
                  <a:lnTo>
                    <a:pt x="96" y="390"/>
                  </a:lnTo>
                  <a:lnTo>
                    <a:pt x="90" y="390"/>
                  </a:lnTo>
                  <a:lnTo>
                    <a:pt x="90" y="384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78" y="372"/>
                  </a:lnTo>
                  <a:lnTo>
                    <a:pt x="78" y="366"/>
                  </a:lnTo>
                  <a:lnTo>
                    <a:pt x="78" y="360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6" y="348"/>
                  </a:lnTo>
                  <a:lnTo>
                    <a:pt x="66" y="342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6" y="336"/>
                  </a:lnTo>
                  <a:lnTo>
                    <a:pt x="66" y="342"/>
                  </a:lnTo>
                  <a:lnTo>
                    <a:pt x="72" y="348"/>
                  </a:lnTo>
                  <a:lnTo>
                    <a:pt x="78" y="354"/>
                  </a:lnTo>
                  <a:lnTo>
                    <a:pt x="84" y="360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0" y="360"/>
                  </a:lnTo>
                  <a:lnTo>
                    <a:pt x="84" y="360"/>
                  </a:lnTo>
                  <a:lnTo>
                    <a:pt x="84" y="354"/>
                  </a:lnTo>
                  <a:lnTo>
                    <a:pt x="78" y="348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66" y="330"/>
                  </a:lnTo>
                  <a:lnTo>
                    <a:pt x="66" y="324"/>
                  </a:lnTo>
                  <a:lnTo>
                    <a:pt x="60" y="318"/>
                  </a:lnTo>
                  <a:lnTo>
                    <a:pt x="60" y="312"/>
                  </a:lnTo>
                  <a:lnTo>
                    <a:pt x="54" y="306"/>
                  </a:lnTo>
                  <a:lnTo>
                    <a:pt x="54" y="300"/>
                  </a:lnTo>
                  <a:lnTo>
                    <a:pt x="54" y="294"/>
                  </a:lnTo>
                  <a:lnTo>
                    <a:pt x="48" y="288"/>
                  </a:lnTo>
                  <a:lnTo>
                    <a:pt x="48" y="294"/>
                  </a:lnTo>
                  <a:lnTo>
                    <a:pt x="48" y="288"/>
                  </a:lnTo>
                  <a:lnTo>
                    <a:pt x="48" y="282"/>
                  </a:lnTo>
                  <a:lnTo>
                    <a:pt x="48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18" y="216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62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68"/>
                  </a:lnTo>
                  <a:lnTo>
                    <a:pt x="42" y="168"/>
                  </a:lnTo>
                  <a:lnTo>
                    <a:pt x="42" y="174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86"/>
                  </a:lnTo>
                  <a:close/>
                  <a:moveTo>
                    <a:pt x="642" y="660"/>
                  </a:moveTo>
                  <a:lnTo>
                    <a:pt x="642" y="666"/>
                  </a:lnTo>
                  <a:lnTo>
                    <a:pt x="648" y="666"/>
                  </a:lnTo>
                  <a:lnTo>
                    <a:pt x="648" y="672"/>
                  </a:lnTo>
                  <a:lnTo>
                    <a:pt x="648" y="678"/>
                  </a:lnTo>
                  <a:lnTo>
                    <a:pt x="654" y="678"/>
                  </a:lnTo>
                  <a:lnTo>
                    <a:pt x="654" y="684"/>
                  </a:lnTo>
                  <a:lnTo>
                    <a:pt x="660" y="684"/>
                  </a:lnTo>
                  <a:lnTo>
                    <a:pt x="660" y="690"/>
                  </a:lnTo>
                  <a:lnTo>
                    <a:pt x="654" y="690"/>
                  </a:lnTo>
                  <a:lnTo>
                    <a:pt x="648" y="690"/>
                  </a:lnTo>
                  <a:lnTo>
                    <a:pt x="636" y="696"/>
                  </a:lnTo>
                  <a:lnTo>
                    <a:pt x="630" y="696"/>
                  </a:lnTo>
                  <a:lnTo>
                    <a:pt x="624" y="696"/>
                  </a:lnTo>
                  <a:lnTo>
                    <a:pt x="618" y="696"/>
                  </a:lnTo>
                  <a:lnTo>
                    <a:pt x="612" y="696"/>
                  </a:lnTo>
                  <a:lnTo>
                    <a:pt x="594" y="696"/>
                  </a:lnTo>
                  <a:lnTo>
                    <a:pt x="588" y="696"/>
                  </a:lnTo>
                  <a:lnTo>
                    <a:pt x="582" y="696"/>
                  </a:lnTo>
                  <a:lnTo>
                    <a:pt x="570" y="702"/>
                  </a:lnTo>
                  <a:lnTo>
                    <a:pt x="564" y="702"/>
                  </a:lnTo>
                  <a:lnTo>
                    <a:pt x="558" y="702"/>
                  </a:lnTo>
                  <a:lnTo>
                    <a:pt x="552" y="702"/>
                  </a:lnTo>
                  <a:lnTo>
                    <a:pt x="552" y="696"/>
                  </a:lnTo>
                  <a:lnTo>
                    <a:pt x="546" y="696"/>
                  </a:lnTo>
                  <a:lnTo>
                    <a:pt x="546" y="690"/>
                  </a:lnTo>
                  <a:lnTo>
                    <a:pt x="552" y="684"/>
                  </a:lnTo>
                  <a:lnTo>
                    <a:pt x="552" y="678"/>
                  </a:lnTo>
                  <a:lnTo>
                    <a:pt x="558" y="672"/>
                  </a:lnTo>
                  <a:lnTo>
                    <a:pt x="558" y="666"/>
                  </a:lnTo>
                  <a:lnTo>
                    <a:pt x="564" y="666"/>
                  </a:lnTo>
                  <a:lnTo>
                    <a:pt x="570" y="666"/>
                  </a:lnTo>
                  <a:lnTo>
                    <a:pt x="570" y="654"/>
                  </a:lnTo>
                  <a:lnTo>
                    <a:pt x="570" y="648"/>
                  </a:lnTo>
                  <a:lnTo>
                    <a:pt x="582" y="642"/>
                  </a:lnTo>
                  <a:lnTo>
                    <a:pt x="582" y="636"/>
                  </a:lnTo>
                  <a:lnTo>
                    <a:pt x="588" y="636"/>
                  </a:lnTo>
                  <a:lnTo>
                    <a:pt x="588" y="630"/>
                  </a:lnTo>
                  <a:lnTo>
                    <a:pt x="594" y="624"/>
                  </a:lnTo>
                  <a:lnTo>
                    <a:pt x="594" y="618"/>
                  </a:lnTo>
                  <a:lnTo>
                    <a:pt x="600" y="618"/>
                  </a:lnTo>
                  <a:lnTo>
                    <a:pt x="600" y="612"/>
                  </a:lnTo>
                  <a:lnTo>
                    <a:pt x="606" y="612"/>
                  </a:lnTo>
                  <a:lnTo>
                    <a:pt x="606" y="618"/>
                  </a:lnTo>
                  <a:lnTo>
                    <a:pt x="612" y="618"/>
                  </a:lnTo>
                  <a:lnTo>
                    <a:pt x="618" y="618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18" y="636"/>
                  </a:lnTo>
                  <a:lnTo>
                    <a:pt x="618" y="642"/>
                  </a:lnTo>
                  <a:lnTo>
                    <a:pt x="618" y="648"/>
                  </a:lnTo>
                  <a:lnTo>
                    <a:pt x="624" y="648"/>
                  </a:lnTo>
                  <a:lnTo>
                    <a:pt x="630" y="648"/>
                  </a:lnTo>
                  <a:lnTo>
                    <a:pt x="636" y="654"/>
                  </a:lnTo>
                  <a:lnTo>
                    <a:pt x="642" y="654"/>
                  </a:lnTo>
                  <a:lnTo>
                    <a:pt x="642" y="66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0" name="Freeform 5">
              <a:extLst>
                <a:ext uri="{FF2B5EF4-FFF2-40B4-BE49-F238E27FC236}">
                  <a16:creationId xmlns:a16="http://schemas.microsoft.com/office/drawing/2014/main" id="{5577BDCA-F2C7-42E0-A391-018D79AA29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0384" y="4231013"/>
              <a:ext cx="404750" cy="480848"/>
            </a:xfrm>
            <a:custGeom>
              <a:avLst/>
              <a:gdLst>
                <a:gd name="T0" fmla="*/ 9 w 762"/>
                <a:gd name="T1" fmla="*/ 58 h 900"/>
                <a:gd name="T2" fmla="*/ 4 w 762"/>
                <a:gd name="T3" fmla="*/ 56 h 900"/>
                <a:gd name="T4" fmla="*/ 0 w 762"/>
                <a:gd name="T5" fmla="*/ 49 h 900"/>
                <a:gd name="T6" fmla="*/ 4 w 762"/>
                <a:gd name="T7" fmla="*/ 36 h 900"/>
                <a:gd name="T8" fmla="*/ 8 w 762"/>
                <a:gd name="T9" fmla="*/ 28 h 900"/>
                <a:gd name="T10" fmla="*/ 7 w 762"/>
                <a:gd name="T11" fmla="*/ 13 h 900"/>
                <a:gd name="T12" fmla="*/ 15 w 762"/>
                <a:gd name="T13" fmla="*/ 0 h 900"/>
                <a:gd name="T14" fmla="*/ 16 w 762"/>
                <a:gd name="T15" fmla="*/ 13 h 900"/>
                <a:gd name="T16" fmla="*/ 31 w 762"/>
                <a:gd name="T17" fmla="*/ 28 h 900"/>
                <a:gd name="T18" fmla="*/ 49 w 762"/>
                <a:gd name="T19" fmla="*/ 33 h 900"/>
                <a:gd name="T20" fmla="*/ 42 w 762"/>
                <a:gd name="T21" fmla="*/ 48 h 900"/>
                <a:gd name="T22" fmla="*/ 51 w 762"/>
                <a:gd name="T23" fmla="*/ 48 h 900"/>
                <a:gd name="T24" fmla="*/ 61 w 762"/>
                <a:gd name="T25" fmla="*/ 51 h 900"/>
                <a:gd name="T26" fmla="*/ 63 w 762"/>
                <a:gd name="T27" fmla="*/ 60 h 900"/>
                <a:gd name="T28" fmla="*/ 63 w 762"/>
                <a:gd name="T29" fmla="*/ 66 h 900"/>
                <a:gd name="T30" fmla="*/ 65 w 762"/>
                <a:gd name="T31" fmla="*/ 69 h 900"/>
                <a:gd name="T32" fmla="*/ 66 w 762"/>
                <a:gd name="T33" fmla="*/ 72 h 900"/>
                <a:gd name="T34" fmla="*/ 56 w 762"/>
                <a:gd name="T35" fmla="*/ 73 h 900"/>
                <a:gd name="T36" fmla="*/ 55 w 762"/>
                <a:gd name="T37" fmla="*/ 69 h 900"/>
                <a:gd name="T38" fmla="*/ 57 w 762"/>
                <a:gd name="T39" fmla="*/ 67 h 900"/>
                <a:gd name="T40" fmla="*/ 55 w 762"/>
                <a:gd name="T41" fmla="*/ 65 h 900"/>
                <a:gd name="T42" fmla="*/ 53 w 762"/>
                <a:gd name="T43" fmla="*/ 68 h 900"/>
                <a:gd name="T44" fmla="*/ 49 w 762"/>
                <a:gd name="T45" fmla="*/ 68 h 900"/>
                <a:gd name="T46" fmla="*/ 44 w 762"/>
                <a:gd name="T47" fmla="*/ 63 h 900"/>
                <a:gd name="T48" fmla="*/ 40 w 762"/>
                <a:gd name="T49" fmla="*/ 59 h 900"/>
                <a:gd name="T50" fmla="*/ 38 w 762"/>
                <a:gd name="T51" fmla="*/ 57 h 900"/>
                <a:gd name="T52" fmla="*/ 43 w 762"/>
                <a:gd name="T53" fmla="*/ 62 h 900"/>
                <a:gd name="T54" fmla="*/ 43 w 762"/>
                <a:gd name="T55" fmla="*/ 66 h 900"/>
                <a:gd name="T56" fmla="*/ 41 w 762"/>
                <a:gd name="T57" fmla="*/ 71 h 900"/>
                <a:gd name="T58" fmla="*/ 37 w 762"/>
                <a:gd name="T59" fmla="*/ 69 h 900"/>
                <a:gd name="T60" fmla="*/ 35 w 762"/>
                <a:gd name="T61" fmla="*/ 64 h 900"/>
                <a:gd name="T62" fmla="*/ 31 w 762"/>
                <a:gd name="T63" fmla="*/ 57 h 900"/>
                <a:gd name="T64" fmla="*/ 30 w 762"/>
                <a:gd name="T65" fmla="*/ 62 h 900"/>
                <a:gd name="T66" fmla="*/ 29 w 762"/>
                <a:gd name="T67" fmla="*/ 61 h 900"/>
                <a:gd name="T68" fmla="*/ 31 w 762"/>
                <a:gd name="T69" fmla="*/ 66 h 900"/>
                <a:gd name="T70" fmla="*/ 33 w 762"/>
                <a:gd name="T71" fmla="*/ 72 h 900"/>
                <a:gd name="T72" fmla="*/ 32 w 762"/>
                <a:gd name="T73" fmla="*/ 76 h 900"/>
                <a:gd name="T74" fmla="*/ 28 w 762"/>
                <a:gd name="T75" fmla="*/ 75 h 900"/>
                <a:gd name="T76" fmla="*/ 24 w 762"/>
                <a:gd name="T77" fmla="*/ 69 h 900"/>
                <a:gd name="T78" fmla="*/ 24 w 762"/>
                <a:gd name="T79" fmla="*/ 62 h 900"/>
                <a:gd name="T80" fmla="*/ 23 w 762"/>
                <a:gd name="T81" fmla="*/ 62 h 900"/>
                <a:gd name="T82" fmla="*/ 23 w 762"/>
                <a:gd name="T83" fmla="*/ 68 h 900"/>
                <a:gd name="T84" fmla="*/ 25 w 762"/>
                <a:gd name="T85" fmla="*/ 77 h 900"/>
                <a:gd name="T86" fmla="*/ 17 w 762"/>
                <a:gd name="T87" fmla="*/ 74 h 900"/>
                <a:gd name="T88" fmla="*/ 17 w 762"/>
                <a:gd name="T89" fmla="*/ 67 h 900"/>
                <a:gd name="T90" fmla="*/ 16 w 762"/>
                <a:gd name="T91" fmla="*/ 67 h 900"/>
                <a:gd name="T92" fmla="*/ 15 w 762"/>
                <a:gd name="T93" fmla="*/ 71 h 900"/>
                <a:gd name="T94" fmla="*/ 12 w 762"/>
                <a:gd name="T95" fmla="*/ 68 h 900"/>
                <a:gd name="T96" fmla="*/ 15 w 762"/>
                <a:gd name="T97" fmla="*/ 72 h 900"/>
                <a:gd name="T98" fmla="*/ 17 w 762"/>
                <a:gd name="T99" fmla="*/ 77 h 900"/>
                <a:gd name="T100" fmla="*/ 11 w 762"/>
                <a:gd name="T101" fmla="*/ 77 h 900"/>
                <a:gd name="T102" fmla="*/ 10 w 762"/>
                <a:gd name="T103" fmla="*/ 69 h 900"/>
                <a:gd name="T104" fmla="*/ 11 w 762"/>
                <a:gd name="T105" fmla="*/ 72 h 900"/>
                <a:gd name="T106" fmla="*/ 9 w 762"/>
                <a:gd name="T107" fmla="*/ 78 h 900"/>
                <a:gd name="T108" fmla="*/ 43 w 762"/>
                <a:gd name="T109" fmla="*/ 71 h 900"/>
                <a:gd name="T110" fmla="*/ 51 w 762"/>
                <a:gd name="T111" fmla="*/ 69 h 900"/>
                <a:gd name="T112" fmla="*/ 43 w 762"/>
                <a:gd name="T113" fmla="*/ 76 h 900"/>
                <a:gd name="T114" fmla="*/ 36 w 762"/>
                <a:gd name="T115" fmla="*/ 65 h 900"/>
                <a:gd name="T116" fmla="*/ 38 w 762"/>
                <a:gd name="T117" fmla="*/ 72 h 900"/>
                <a:gd name="T118" fmla="*/ 34 w 762"/>
                <a:gd name="T119" fmla="*/ 69 h 900"/>
                <a:gd name="T120" fmla="*/ 29 w 762"/>
                <a:gd name="T121" fmla="*/ 64 h 900"/>
                <a:gd name="T122" fmla="*/ 32 w 762"/>
                <a:gd name="T123" fmla="*/ 66 h 9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900"/>
                <a:gd name="T188" fmla="*/ 762 w 762"/>
                <a:gd name="T189" fmla="*/ 900 h 90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900">
                  <a:moveTo>
                    <a:pt x="90" y="768"/>
                  </a:moveTo>
                  <a:lnTo>
                    <a:pt x="102" y="756"/>
                  </a:lnTo>
                  <a:lnTo>
                    <a:pt x="102" y="750"/>
                  </a:lnTo>
                  <a:lnTo>
                    <a:pt x="90" y="744"/>
                  </a:lnTo>
                  <a:lnTo>
                    <a:pt x="84" y="738"/>
                  </a:lnTo>
                  <a:lnTo>
                    <a:pt x="90" y="726"/>
                  </a:lnTo>
                  <a:lnTo>
                    <a:pt x="84" y="720"/>
                  </a:lnTo>
                  <a:lnTo>
                    <a:pt x="78" y="720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72" y="702"/>
                  </a:lnTo>
                  <a:lnTo>
                    <a:pt x="72" y="696"/>
                  </a:lnTo>
                  <a:lnTo>
                    <a:pt x="84" y="684"/>
                  </a:lnTo>
                  <a:lnTo>
                    <a:pt x="96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102" y="654"/>
                  </a:lnTo>
                  <a:lnTo>
                    <a:pt x="108" y="654"/>
                  </a:lnTo>
                  <a:lnTo>
                    <a:pt x="114" y="648"/>
                  </a:lnTo>
                  <a:lnTo>
                    <a:pt x="120" y="642"/>
                  </a:lnTo>
                  <a:lnTo>
                    <a:pt x="120" y="636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14" y="618"/>
                  </a:lnTo>
                  <a:lnTo>
                    <a:pt x="102" y="618"/>
                  </a:lnTo>
                  <a:lnTo>
                    <a:pt x="90" y="618"/>
                  </a:lnTo>
                  <a:lnTo>
                    <a:pt x="78" y="624"/>
                  </a:lnTo>
                  <a:lnTo>
                    <a:pt x="72" y="630"/>
                  </a:lnTo>
                  <a:lnTo>
                    <a:pt x="54" y="642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42" y="642"/>
                  </a:lnTo>
                  <a:lnTo>
                    <a:pt x="42" y="636"/>
                  </a:lnTo>
                  <a:lnTo>
                    <a:pt x="36" y="636"/>
                  </a:lnTo>
                  <a:lnTo>
                    <a:pt x="30" y="642"/>
                  </a:lnTo>
                  <a:lnTo>
                    <a:pt x="30" y="636"/>
                  </a:lnTo>
                  <a:lnTo>
                    <a:pt x="30" y="630"/>
                  </a:lnTo>
                  <a:lnTo>
                    <a:pt x="24" y="630"/>
                  </a:lnTo>
                  <a:lnTo>
                    <a:pt x="30" y="624"/>
                  </a:lnTo>
                  <a:lnTo>
                    <a:pt x="30" y="618"/>
                  </a:lnTo>
                  <a:lnTo>
                    <a:pt x="30" y="612"/>
                  </a:lnTo>
                  <a:lnTo>
                    <a:pt x="36" y="612"/>
                  </a:lnTo>
                  <a:lnTo>
                    <a:pt x="36" y="606"/>
                  </a:lnTo>
                  <a:lnTo>
                    <a:pt x="30" y="606"/>
                  </a:lnTo>
                  <a:lnTo>
                    <a:pt x="24" y="612"/>
                  </a:lnTo>
                  <a:lnTo>
                    <a:pt x="18" y="606"/>
                  </a:lnTo>
                  <a:lnTo>
                    <a:pt x="12" y="594"/>
                  </a:lnTo>
                  <a:lnTo>
                    <a:pt x="6" y="582"/>
                  </a:lnTo>
                  <a:lnTo>
                    <a:pt x="6" y="570"/>
                  </a:lnTo>
                  <a:lnTo>
                    <a:pt x="0" y="558"/>
                  </a:lnTo>
                  <a:lnTo>
                    <a:pt x="6" y="552"/>
                  </a:lnTo>
                  <a:lnTo>
                    <a:pt x="6" y="534"/>
                  </a:lnTo>
                  <a:lnTo>
                    <a:pt x="18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12" y="480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54" y="408"/>
                  </a:lnTo>
                  <a:lnTo>
                    <a:pt x="54" y="396"/>
                  </a:lnTo>
                  <a:lnTo>
                    <a:pt x="54" y="384"/>
                  </a:lnTo>
                  <a:lnTo>
                    <a:pt x="60" y="378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66"/>
                  </a:lnTo>
                  <a:lnTo>
                    <a:pt x="60" y="360"/>
                  </a:lnTo>
                  <a:lnTo>
                    <a:pt x="66" y="360"/>
                  </a:lnTo>
                  <a:lnTo>
                    <a:pt x="72" y="354"/>
                  </a:lnTo>
                  <a:lnTo>
                    <a:pt x="78" y="354"/>
                  </a:lnTo>
                  <a:lnTo>
                    <a:pt x="84" y="348"/>
                  </a:lnTo>
                  <a:lnTo>
                    <a:pt x="96" y="348"/>
                  </a:lnTo>
                  <a:lnTo>
                    <a:pt x="96" y="342"/>
                  </a:lnTo>
                  <a:lnTo>
                    <a:pt x="96" y="336"/>
                  </a:lnTo>
                  <a:lnTo>
                    <a:pt x="96" y="330"/>
                  </a:lnTo>
                  <a:lnTo>
                    <a:pt x="96" y="324"/>
                  </a:lnTo>
                  <a:lnTo>
                    <a:pt x="102" y="318"/>
                  </a:lnTo>
                  <a:lnTo>
                    <a:pt x="108" y="312"/>
                  </a:lnTo>
                  <a:lnTo>
                    <a:pt x="96" y="306"/>
                  </a:lnTo>
                  <a:lnTo>
                    <a:pt x="84" y="288"/>
                  </a:lnTo>
                  <a:lnTo>
                    <a:pt x="108" y="258"/>
                  </a:lnTo>
                  <a:lnTo>
                    <a:pt x="102" y="222"/>
                  </a:lnTo>
                  <a:lnTo>
                    <a:pt x="84" y="222"/>
                  </a:lnTo>
                  <a:lnTo>
                    <a:pt x="54" y="216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2"/>
                  </a:lnTo>
                  <a:lnTo>
                    <a:pt x="72" y="192"/>
                  </a:lnTo>
                  <a:lnTo>
                    <a:pt x="84" y="186"/>
                  </a:lnTo>
                  <a:lnTo>
                    <a:pt x="90" y="186"/>
                  </a:lnTo>
                  <a:lnTo>
                    <a:pt x="90" y="174"/>
                  </a:lnTo>
                  <a:lnTo>
                    <a:pt x="84" y="162"/>
                  </a:lnTo>
                  <a:lnTo>
                    <a:pt x="84" y="150"/>
                  </a:lnTo>
                  <a:lnTo>
                    <a:pt x="84" y="126"/>
                  </a:lnTo>
                  <a:lnTo>
                    <a:pt x="84" y="114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8" y="96"/>
                  </a:lnTo>
                  <a:lnTo>
                    <a:pt x="120" y="90"/>
                  </a:lnTo>
                  <a:lnTo>
                    <a:pt x="126" y="78"/>
                  </a:lnTo>
                  <a:lnTo>
                    <a:pt x="138" y="66"/>
                  </a:lnTo>
                  <a:lnTo>
                    <a:pt x="138" y="48"/>
                  </a:lnTo>
                  <a:lnTo>
                    <a:pt x="138" y="42"/>
                  </a:lnTo>
                  <a:lnTo>
                    <a:pt x="126" y="30"/>
                  </a:lnTo>
                  <a:lnTo>
                    <a:pt x="120" y="18"/>
                  </a:lnTo>
                  <a:lnTo>
                    <a:pt x="132" y="12"/>
                  </a:lnTo>
                  <a:lnTo>
                    <a:pt x="144" y="0"/>
                  </a:lnTo>
                  <a:lnTo>
                    <a:pt x="150" y="6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6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74" y="66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68" y="72"/>
                  </a:lnTo>
                  <a:lnTo>
                    <a:pt x="156" y="150"/>
                  </a:lnTo>
                  <a:lnTo>
                    <a:pt x="168" y="144"/>
                  </a:lnTo>
                  <a:lnTo>
                    <a:pt x="180" y="150"/>
                  </a:lnTo>
                  <a:lnTo>
                    <a:pt x="186" y="150"/>
                  </a:lnTo>
                  <a:lnTo>
                    <a:pt x="186" y="144"/>
                  </a:lnTo>
                  <a:lnTo>
                    <a:pt x="192" y="150"/>
                  </a:lnTo>
                  <a:lnTo>
                    <a:pt x="222" y="150"/>
                  </a:lnTo>
                  <a:lnTo>
                    <a:pt x="222" y="168"/>
                  </a:lnTo>
                  <a:lnTo>
                    <a:pt x="222" y="186"/>
                  </a:lnTo>
                  <a:lnTo>
                    <a:pt x="234" y="198"/>
                  </a:lnTo>
                  <a:lnTo>
                    <a:pt x="234" y="234"/>
                  </a:lnTo>
                  <a:lnTo>
                    <a:pt x="228" y="270"/>
                  </a:lnTo>
                  <a:lnTo>
                    <a:pt x="246" y="282"/>
                  </a:lnTo>
                  <a:lnTo>
                    <a:pt x="258" y="294"/>
                  </a:lnTo>
                  <a:lnTo>
                    <a:pt x="270" y="300"/>
                  </a:lnTo>
                  <a:lnTo>
                    <a:pt x="294" y="300"/>
                  </a:lnTo>
                  <a:lnTo>
                    <a:pt x="288" y="306"/>
                  </a:lnTo>
                  <a:lnTo>
                    <a:pt x="300" y="312"/>
                  </a:lnTo>
                  <a:lnTo>
                    <a:pt x="306" y="318"/>
                  </a:lnTo>
                  <a:lnTo>
                    <a:pt x="324" y="324"/>
                  </a:lnTo>
                  <a:lnTo>
                    <a:pt x="354" y="318"/>
                  </a:lnTo>
                  <a:lnTo>
                    <a:pt x="354" y="312"/>
                  </a:lnTo>
                  <a:lnTo>
                    <a:pt x="366" y="312"/>
                  </a:lnTo>
                  <a:lnTo>
                    <a:pt x="384" y="312"/>
                  </a:lnTo>
                  <a:lnTo>
                    <a:pt x="390" y="306"/>
                  </a:lnTo>
                  <a:lnTo>
                    <a:pt x="396" y="306"/>
                  </a:lnTo>
                  <a:lnTo>
                    <a:pt x="408" y="306"/>
                  </a:lnTo>
                  <a:lnTo>
                    <a:pt x="426" y="312"/>
                  </a:lnTo>
                  <a:lnTo>
                    <a:pt x="456" y="324"/>
                  </a:lnTo>
                  <a:lnTo>
                    <a:pt x="504" y="330"/>
                  </a:lnTo>
                  <a:lnTo>
                    <a:pt x="510" y="336"/>
                  </a:lnTo>
                  <a:lnTo>
                    <a:pt x="534" y="336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58" y="330"/>
                  </a:lnTo>
                  <a:lnTo>
                    <a:pt x="564" y="330"/>
                  </a:lnTo>
                  <a:lnTo>
                    <a:pt x="570" y="354"/>
                  </a:lnTo>
                  <a:lnTo>
                    <a:pt x="564" y="378"/>
                  </a:lnTo>
                  <a:lnTo>
                    <a:pt x="558" y="396"/>
                  </a:lnTo>
                  <a:lnTo>
                    <a:pt x="546" y="414"/>
                  </a:lnTo>
                  <a:lnTo>
                    <a:pt x="546" y="438"/>
                  </a:lnTo>
                  <a:lnTo>
                    <a:pt x="540" y="456"/>
                  </a:lnTo>
                  <a:lnTo>
                    <a:pt x="540" y="474"/>
                  </a:lnTo>
                  <a:lnTo>
                    <a:pt x="528" y="480"/>
                  </a:lnTo>
                  <a:lnTo>
                    <a:pt x="522" y="492"/>
                  </a:lnTo>
                  <a:lnTo>
                    <a:pt x="504" y="498"/>
                  </a:lnTo>
                  <a:lnTo>
                    <a:pt x="498" y="498"/>
                  </a:lnTo>
                  <a:lnTo>
                    <a:pt x="492" y="504"/>
                  </a:lnTo>
                  <a:lnTo>
                    <a:pt x="486" y="510"/>
                  </a:lnTo>
                  <a:lnTo>
                    <a:pt x="480" y="510"/>
                  </a:lnTo>
                  <a:lnTo>
                    <a:pt x="480" y="516"/>
                  </a:lnTo>
                  <a:lnTo>
                    <a:pt x="474" y="522"/>
                  </a:lnTo>
                  <a:lnTo>
                    <a:pt x="474" y="528"/>
                  </a:lnTo>
                  <a:lnTo>
                    <a:pt x="474" y="534"/>
                  </a:lnTo>
                  <a:lnTo>
                    <a:pt x="480" y="540"/>
                  </a:lnTo>
                  <a:lnTo>
                    <a:pt x="492" y="540"/>
                  </a:lnTo>
                  <a:lnTo>
                    <a:pt x="498" y="546"/>
                  </a:lnTo>
                  <a:lnTo>
                    <a:pt x="504" y="552"/>
                  </a:lnTo>
                  <a:lnTo>
                    <a:pt x="510" y="552"/>
                  </a:lnTo>
                  <a:lnTo>
                    <a:pt x="516" y="558"/>
                  </a:lnTo>
                  <a:lnTo>
                    <a:pt x="528" y="558"/>
                  </a:lnTo>
                  <a:lnTo>
                    <a:pt x="534" y="552"/>
                  </a:lnTo>
                  <a:lnTo>
                    <a:pt x="540" y="552"/>
                  </a:lnTo>
                  <a:lnTo>
                    <a:pt x="546" y="552"/>
                  </a:lnTo>
                  <a:lnTo>
                    <a:pt x="558" y="546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70" y="546"/>
                  </a:lnTo>
                  <a:lnTo>
                    <a:pt x="570" y="540"/>
                  </a:lnTo>
                  <a:lnTo>
                    <a:pt x="570" y="546"/>
                  </a:lnTo>
                  <a:lnTo>
                    <a:pt x="576" y="546"/>
                  </a:lnTo>
                  <a:lnTo>
                    <a:pt x="582" y="546"/>
                  </a:lnTo>
                  <a:lnTo>
                    <a:pt x="588" y="540"/>
                  </a:lnTo>
                  <a:lnTo>
                    <a:pt x="594" y="546"/>
                  </a:lnTo>
                  <a:lnTo>
                    <a:pt x="606" y="546"/>
                  </a:lnTo>
                  <a:lnTo>
                    <a:pt x="612" y="546"/>
                  </a:lnTo>
                  <a:lnTo>
                    <a:pt x="612" y="552"/>
                  </a:lnTo>
                  <a:lnTo>
                    <a:pt x="618" y="552"/>
                  </a:lnTo>
                  <a:lnTo>
                    <a:pt x="624" y="552"/>
                  </a:lnTo>
                  <a:lnTo>
                    <a:pt x="630" y="552"/>
                  </a:lnTo>
                  <a:lnTo>
                    <a:pt x="648" y="546"/>
                  </a:lnTo>
                  <a:lnTo>
                    <a:pt x="654" y="546"/>
                  </a:lnTo>
                  <a:lnTo>
                    <a:pt x="654" y="552"/>
                  </a:lnTo>
                  <a:lnTo>
                    <a:pt x="660" y="558"/>
                  </a:lnTo>
                  <a:lnTo>
                    <a:pt x="666" y="564"/>
                  </a:lnTo>
                  <a:lnTo>
                    <a:pt x="672" y="564"/>
                  </a:lnTo>
                  <a:lnTo>
                    <a:pt x="678" y="564"/>
                  </a:lnTo>
                  <a:lnTo>
                    <a:pt x="696" y="576"/>
                  </a:lnTo>
                  <a:lnTo>
                    <a:pt x="696" y="582"/>
                  </a:lnTo>
                  <a:lnTo>
                    <a:pt x="708" y="588"/>
                  </a:lnTo>
                  <a:lnTo>
                    <a:pt x="708" y="594"/>
                  </a:lnTo>
                  <a:lnTo>
                    <a:pt x="720" y="606"/>
                  </a:lnTo>
                  <a:lnTo>
                    <a:pt x="720" y="618"/>
                  </a:lnTo>
                  <a:lnTo>
                    <a:pt x="720" y="624"/>
                  </a:lnTo>
                  <a:lnTo>
                    <a:pt x="726" y="630"/>
                  </a:lnTo>
                  <a:lnTo>
                    <a:pt x="732" y="636"/>
                  </a:lnTo>
                  <a:lnTo>
                    <a:pt x="732" y="642"/>
                  </a:lnTo>
                  <a:lnTo>
                    <a:pt x="732" y="648"/>
                  </a:lnTo>
                  <a:lnTo>
                    <a:pt x="726" y="654"/>
                  </a:lnTo>
                  <a:lnTo>
                    <a:pt x="720" y="660"/>
                  </a:lnTo>
                  <a:lnTo>
                    <a:pt x="714" y="666"/>
                  </a:lnTo>
                  <a:lnTo>
                    <a:pt x="714" y="672"/>
                  </a:lnTo>
                  <a:lnTo>
                    <a:pt x="714" y="678"/>
                  </a:lnTo>
                  <a:lnTo>
                    <a:pt x="720" y="678"/>
                  </a:lnTo>
                  <a:lnTo>
                    <a:pt x="720" y="684"/>
                  </a:lnTo>
                  <a:lnTo>
                    <a:pt x="714" y="690"/>
                  </a:lnTo>
                  <a:lnTo>
                    <a:pt x="714" y="696"/>
                  </a:lnTo>
                  <a:lnTo>
                    <a:pt x="714" y="702"/>
                  </a:lnTo>
                  <a:lnTo>
                    <a:pt x="714" y="708"/>
                  </a:lnTo>
                  <a:lnTo>
                    <a:pt x="720" y="708"/>
                  </a:lnTo>
                  <a:lnTo>
                    <a:pt x="720" y="720"/>
                  </a:lnTo>
                  <a:lnTo>
                    <a:pt x="720" y="726"/>
                  </a:lnTo>
                  <a:lnTo>
                    <a:pt x="726" y="726"/>
                  </a:lnTo>
                  <a:lnTo>
                    <a:pt x="726" y="732"/>
                  </a:lnTo>
                  <a:lnTo>
                    <a:pt x="732" y="732"/>
                  </a:lnTo>
                  <a:lnTo>
                    <a:pt x="732" y="738"/>
                  </a:lnTo>
                  <a:lnTo>
                    <a:pt x="726" y="738"/>
                  </a:lnTo>
                  <a:lnTo>
                    <a:pt x="720" y="738"/>
                  </a:lnTo>
                  <a:lnTo>
                    <a:pt x="720" y="744"/>
                  </a:lnTo>
                  <a:lnTo>
                    <a:pt x="720" y="750"/>
                  </a:lnTo>
                  <a:lnTo>
                    <a:pt x="714" y="750"/>
                  </a:lnTo>
                  <a:lnTo>
                    <a:pt x="714" y="756"/>
                  </a:lnTo>
                  <a:lnTo>
                    <a:pt x="720" y="756"/>
                  </a:lnTo>
                  <a:lnTo>
                    <a:pt x="714" y="762"/>
                  </a:lnTo>
                  <a:lnTo>
                    <a:pt x="720" y="762"/>
                  </a:lnTo>
                  <a:lnTo>
                    <a:pt x="726" y="768"/>
                  </a:lnTo>
                  <a:lnTo>
                    <a:pt x="726" y="774"/>
                  </a:lnTo>
                  <a:lnTo>
                    <a:pt x="732" y="774"/>
                  </a:lnTo>
                  <a:lnTo>
                    <a:pt x="732" y="780"/>
                  </a:lnTo>
                  <a:lnTo>
                    <a:pt x="726" y="780"/>
                  </a:lnTo>
                  <a:lnTo>
                    <a:pt x="726" y="786"/>
                  </a:lnTo>
                  <a:lnTo>
                    <a:pt x="720" y="786"/>
                  </a:lnTo>
                  <a:lnTo>
                    <a:pt x="726" y="786"/>
                  </a:lnTo>
                  <a:lnTo>
                    <a:pt x="732" y="780"/>
                  </a:lnTo>
                  <a:lnTo>
                    <a:pt x="738" y="780"/>
                  </a:lnTo>
                  <a:lnTo>
                    <a:pt x="744" y="780"/>
                  </a:lnTo>
                  <a:lnTo>
                    <a:pt x="744" y="786"/>
                  </a:lnTo>
                  <a:lnTo>
                    <a:pt x="750" y="786"/>
                  </a:lnTo>
                  <a:lnTo>
                    <a:pt x="744" y="786"/>
                  </a:lnTo>
                  <a:lnTo>
                    <a:pt x="744" y="792"/>
                  </a:lnTo>
                  <a:lnTo>
                    <a:pt x="744" y="786"/>
                  </a:lnTo>
                  <a:lnTo>
                    <a:pt x="738" y="792"/>
                  </a:lnTo>
                  <a:lnTo>
                    <a:pt x="744" y="792"/>
                  </a:lnTo>
                  <a:lnTo>
                    <a:pt x="750" y="792"/>
                  </a:lnTo>
                  <a:lnTo>
                    <a:pt x="750" y="786"/>
                  </a:lnTo>
                  <a:lnTo>
                    <a:pt x="756" y="786"/>
                  </a:lnTo>
                  <a:lnTo>
                    <a:pt x="756" y="792"/>
                  </a:lnTo>
                  <a:lnTo>
                    <a:pt x="762" y="792"/>
                  </a:lnTo>
                  <a:lnTo>
                    <a:pt x="756" y="798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0" y="810"/>
                  </a:lnTo>
                  <a:lnTo>
                    <a:pt x="756" y="810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6" y="816"/>
                  </a:lnTo>
                  <a:lnTo>
                    <a:pt x="750" y="816"/>
                  </a:lnTo>
                  <a:lnTo>
                    <a:pt x="738" y="810"/>
                  </a:lnTo>
                  <a:lnTo>
                    <a:pt x="732" y="810"/>
                  </a:lnTo>
                  <a:lnTo>
                    <a:pt x="732" y="816"/>
                  </a:lnTo>
                  <a:lnTo>
                    <a:pt x="726" y="810"/>
                  </a:lnTo>
                  <a:lnTo>
                    <a:pt x="714" y="816"/>
                  </a:lnTo>
                  <a:lnTo>
                    <a:pt x="708" y="816"/>
                  </a:lnTo>
                  <a:lnTo>
                    <a:pt x="702" y="816"/>
                  </a:lnTo>
                  <a:lnTo>
                    <a:pt x="696" y="816"/>
                  </a:lnTo>
                  <a:lnTo>
                    <a:pt x="690" y="822"/>
                  </a:lnTo>
                  <a:lnTo>
                    <a:pt x="684" y="822"/>
                  </a:lnTo>
                  <a:lnTo>
                    <a:pt x="678" y="822"/>
                  </a:lnTo>
                  <a:lnTo>
                    <a:pt x="672" y="822"/>
                  </a:lnTo>
                  <a:lnTo>
                    <a:pt x="666" y="822"/>
                  </a:lnTo>
                  <a:lnTo>
                    <a:pt x="666" y="828"/>
                  </a:lnTo>
                  <a:lnTo>
                    <a:pt x="654" y="828"/>
                  </a:lnTo>
                  <a:lnTo>
                    <a:pt x="648" y="828"/>
                  </a:lnTo>
                  <a:lnTo>
                    <a:pt x="642" y="828"/>
                  </a:lnTo>
                  <a:lnTo>
                    <a:pt x="630" y="828"/>
                  </a:lnTo>
                  <a:lnTo>
                    <a:pt x="624" y="822"/>
                  </a:lnTo>
                  <a:lnTo>
                    <a:pt x="618" y="822"/>
                  </a:lnTo>
                  <a:lnTo>
                    <a:pt x="612" y="822"/>
                  </a:lnTo>
                  <a:lnTo>
                    <a:pt x="606" y="822"/>
                  </a:lnTo>
                  <a:lnTo>
                    <a:pt x="600" y="822"/>
                  </a:lnTo>
                  <a:lnTo>
                    <a:pt x="594" y="822"/>
                  </a:lnTo>
                  <a:lnTo>
                    <a:pt x="594" y="816"/>
                  </a:lnTo>
                  <a:lnTo>
                    <a:pt x="594" y="810"/>
                  </a:lnTo>
                  <a:lnTo>
                    <a:pt x="600" y="804"/>
                  </a:lnTo>
                  <a:lnTo>
                    <a:pt x="600" y="798"/>
                  </a:lnTo>
                  <a:lnTo>
                    <a:pt x="600" y="792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2" y="786"/>
                  </a:lnTo>
                  <a:lnTo>
                    <a:pt x="618" y="786"/>
                  </a:lnTo>
                  <a:lnTo>
                    <a:pt x="624" y="786"/>
                  </a:lnTo>
                  <a:lnTo>
                    <a:pt x="624" y="780"/>
                  </a:lnTo>
                  <a:lnTo>
                    <a:pt x="630" y="780"/>
                  </a:lnTo>
                  <a:lnTo>
                    <a:pt x="630" y="774"/>
                  </a:lnTo>
                  <a:lnTo>
                    <a:pt x="636" y="774"/>
                  </a:lnTo>
                  <a:lnTo>
                    <a:pt x="642" y="780"/>
                  </a:lnTo>
                  <a:lnTo>
                    <a:pt x="642" y="786"/>
                  </a:lnTo>
                  <a:lnTo>
                    <a:pt x="642" y="792"/>
                  </a:lnTo>
                  <a:lnTo>
                    <a:pt x="648" y="792"/>
                  </a:lnTo>
                  <a:lnTo>
                    <a:pt x="648" y="786"/>
                  </a:lnTo>
                  <a:lnTo>
                    <a:pt x="642" y="786"/>
                  </a:lnTo>
                  <a:lnTo>
                    <a:pt x="642" y="780"/>
                  </a:lnTo>
                  <a:lnTo>
                    <a:pt x="642" y="774"/>
                  </a:lnTo>
                  <a:lnTo>
                    <a:pt x="648" y="768"/>
                  </a:lnTo>
                  <a:lnTo>
                    <a:pt x="642" y="768"/>
                  </a:lnTo>
                  <a:lnTo>
                    <a:pt x="648" y="768"/>
                  </a:lnTo>
                  <a:lnTo>
                    <a:pt x="648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66" y="762"/>
                  </a:lnTo>
                  <a:lnTo>
                    <a:pt x="672" y="756"/>
                  </a:lnTo>
                  <a:lnTo>
                    <a:pt x="666" y="756"/>
                  </a:lnTo>
                  <a:lnTo>
                    <a:pt x="660" y="756"/>
                  </a:lnTo>
                  <a:lnTo>
                    <a:pt x="660" y="750"/>
                  </a:lnTo>
                  <a:lnTo>
                    <a:pt x="654" y="750"/>
                  </a:lnTo>
                  <a:lnTo>
                    <a:pt x="648" y="750"/>
                  </a:lnTo>
                  <a:lnTo>
                    <a:pt x="648" y="756"/>
                  </a:lnTo>
                  <a:lnTo>
                    <a:pt x="642" y="756"/>
                  </a:lnTo>
                  <a:lnTo>
                    <a:pt x="642" y="750"/>
                  </a:lnTo>
                  <a:lnTo>
                    <a:pt x="642" y="744"/>
                  </a:lnTo>
                  <a:lnTo>
                    <a:pt x="642" y="750"/>
                  </a:lnTo>
                  <a:lnTo>
                    <a:pt x="636" y="750"/>
                  </a:lnTo>
                  <a:lnTo>
                    <a:pt x="636" y="744"/>
                  </a:lnTo>
                  <a:lnTo>
                    <a:pt x="630" y="744"/>
                  </a:lnTo>
                  <a:lnTo>
                    <a:pt x="630" y="738"/>
                  </a:lnTo>
                  <a:lnTo>
                    <a:pt x="630" y="744"/>
                  </a:lnTo>
                  <a:lnTo>
                    <a:pt x="630" y="750"/>
                  </a:lnTo>
                  <a:lnTo>
                    <a:pt x="636" y="750"/>
                  </a:lnTo>
                  <a:lnTo>
                    <a:pt x="636" y="756"/>
                  </a:lnTo>
                  <a:lnTo>
                    <a:pt x="630" y="756"/>
                  </a:lnTo>
                  <a:lnTo>
                    <a:pt x="636" y="762"/>
                  </a:lnTo>
                  <a:lnTo>
                    <a:pt x="630" y="762"/>
                  </a:lnTo>
                  <a:lnTo>
                    <a:pt x="624" y="762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24" y="786"/>
                  </a:lnTo>
                  <a:lnTo>
                    <a:pt x="618" y="786"/>
                  </a:lnTo>
                  <a:lnTo>
                    <a:pt x="618" y="78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12" y="774"/>
                  </a:lnTo>
                  <a:lnTo>
                    <a:pt x="612" y="780"/>
                  </a:lnTo>
                  <a:lnTo>
                    <a:pt x="606" y="780"/>
                  </a:lnTo>
                  <a:lnTo>
                    <a:pt x="600" y="780"/>
                  </a:lnTo>
                  <a:lnTo>
                    <a:pt x="600" y="774"/>
                  </a:lnTo>
                  <a:lnTo>
                    <a:pt x="594" y="768"/>
                  </a:lnTo>
                  <a:lnTo>
                    <a:pt x="594" y="762"/>
                  </a:lnTo>
                  <a:lnTo>
                    <a:pt x="594" y="756"/>
                  </a:lnTo>
                  <a:lnTo>
                    <a:pt x="594" y="762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594" y="780"/>
                  </a:lnTo>
                  <a:lnTo>
                    <a:pt x="588" y="780"/>
                  </a:lnTo>
                  <a:lnTo>
                    <a:pt x="582" y="780"/>
                  </a:lnTo>
                  <a:lnTo>
                    <a:pt x="576" y="780"/>
                  </a:lnTo>
                  <a:lnTo>
                    <a:pt x="570" y="780"/>
                  </a:lnTo>
                  <a:lnTo>
                    <a:pt x="564" y="780"/>
                  </a:lnTo>
                  <a:lnTo>
                    <a:pt x="564" y="786"/>
                  </a:lnTo>
                  <a:lnTo>
                    <a:pt x="558" y="786"/>
                  </a:lnTo>
                  <a:lnTo>
                    <a:pt x="552" y="786"/>
                  </a:lnTo>
                  <a:lnTo>
                    <a:pt x="552" y="780"/>
                  </a:lnTo>
                  <a:lnTo>
                    <a:pt x="552" y="774"/>
                  </a:lnTo>
                  <a:lnTo>
                    <a:pt x="552" y="768"/>
                  </a:lnTo>
                  <a:lnTo>
                    <a:pt x="546" y="768"/>
                  </a:lnTo>
                  <a:lnTo>
                    <a:pt x="540" y="762"/>
                  </a:lnTo>
                  <a:lnTo>
                    <a:pt x="540" y="756"/>
                  </a:lnTo>
                  <a:lnTo>
                    <a:pt x="534" y="756"/>
                  </a:lnTo>
                  <a:lnTo>
                    <a:pt x="534" y="750"/>
                  </a:lnTo>
                  <a:lnTo>
                    <a:pt x="534" y="744"/>
                  </a:lnTo>
                  <a:lnTo>
                    <a:pt x="528" y="738"/>
                  </a:lnTo>
                  <a:lnTo>
                    <a:pt x="522" y="738"/>
                  </a:lnTo>
                  <a:lnTo>
                    <a:pt x="522" y="732"/>
                  </a:lnTo>
                  <a:lnTo>
                    <a:pt x="510" y="726"/>
                  </a:lnTo>
                  <a:lnTo>
                    <a:pt x="510" y="720"/>
                  </a:lnTo>
                  <a:lnTo>
                    <a:pt x="504" y="720"/>
                  </a:lnTo>
                  <a:lnTo>
                    <a:pt x="504" y="714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8" y="702"/>
                  </a:lnTo>
                  <a:lnTo>
                    <a:pt x="498" y="696"/>
                  </a:lnTo>
                  <a:lnTo>
                    <a:pt x="492" y="690"/>
                  </a:lnTo>
                  <a:lnTo>
                    <a:pt x="492" y="684"/>
                  </a:lnTo>
                  <a:lnTo>
                    <a:pt x="486" y="684"/>
                  </a:lnTo>
                  <a:lnTo>
                    <a:pt x="486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74" y="678"/>
                  </a:lnTo>
                  <a:lnTo>
                    <a:pt x="468" y="678"/>
                  </a:lnTo>
                  <a:lnTo>
                    <a:pt x="462" y="678"/>
                  </a:lnTo>
                  <a:lnTo>
                    <a:pt x="462" y="672"/>
                  </a:lnTo>
                  <a:lnTo>
                    <a:pt x="456" y="672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44" y="666"/>
                  </a:lnTo>
                  <a:lnTo>
                    <a:pt x="438" y="660"/>
                  </a:lnTo>
                  <a:lnTo>
                    <a:pt x="438" y="648"/>
                  </a:lnTo>
                  <a:lnTo>
                    <a:pt x="438" y="642"/>
                  </a:lnTo>
                  <a:lnTo>
                    <a:pt x="438" y="636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36"/>
                  </a:lnTo>
                  <a:lnTo>
                    <a:pt x="420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60"/>
                  </a:lnTo>
                  <a:lnTo>
                    <a:pt x="432" y="666"/>
                  </a:lnTo>
                  <a:lnTo>
                    <a:pt x="438" y="666"/>
                  </a:lnTo>
                  <a:lnTo>
                    <a:pt x="438" y="672"/>
                  </a:lnTo>
                  <a:lnTo>
                    <a:pt x="444" y="672"/>
                  </a:lnTo>
                  <a:lnTo>
                    <a:pt x="444" y="678"/>
                  </a:lnTo>
                  <a:lnTo>
                    <a:pt x="450" y="678"/>
                  </a:lnTo>
                  <a:lnTo>
                    <a:pt x="456" y="678"/>
                  </a:lnTo>
                  <a:lnTo>
                    <a:pt x="456" y="684"/>
                  </a:lnTo>
                  <a:lnTo>
                    <a:pt x="462" y="684"/>
                  </a:lnTo>
                  <a:lnTo>
                    <a:pt x="468" y="684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80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86" y="708"/>
                  </a:lnTo>
                  <a:lnTo>
                    <a:pt x="492" y="714"/>
                  </a:lnTo>
                  <a:lnTo>
                    <a:pt x="492" y="720"/>
                  </a:lnTo>
                  <a:lnTo>
                    <a:pt x="492" y="726"/>
                  </a:lnTo>
                  <a:lnTo>
                    <a:pt x="498" y="732"/>
                  </a:lnTo>
                  <a:lnTo>
                    <a:pt x="492" y="738"/>
                  </a:lnTo>
                  <a:lnTo>
                    <a:pt x="492" y="744"/>
                  </a:lnTo>
                  <a:lnTo>
                    <a:pt x="492" y="750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68" y="738"/>
                  </a:lnTo>
                  <a:lnTo>
                    <a:pt x="468" y="744"/>
                  </a:lnTo>
                  <a:lnTo>
                    <a:pt x="474" y="750"/>
                  </a:lnTo>
                  <a:lnTo>
                    <a:pt x="480" y="756"/>
                  </a:lnTo>
                  <a:lnTo>
                    <a:pt x="486" y="756"/>
                  </a:lnTo>
                  <a:lnTo>
                    <a:pt x="492" y="762"/>
                  </a:lnTo>
                  <a:lnTo>
                    <a:pt x="498" y="768"/>
                  </a:lnTo>
                  <a:lnTo>
                    <a:pt x="492" y="774"/>
                  </a:lnTo>
                  <a:lnTo>
                    <a:pt x="492" y="780"/>
                  </a:lnTo>
                  <a:lnTo>
                    <a:pt x="498" y="780"/>
                  </a:lnTo>
                  <a:lnTo>
                    <a:pt x="492" y="786"/>
                  </a:lnTo>
                  <a:lnTo>
                    <a:pt x="492" y="792"/>
                  </a:lnTo>
                  <a:lnTo>
                    <a:pt x="492" y="79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0" y="810"/>
                  </a:lnTo>
                  <a:lnTo>
                    <a:pt x="480" y="804"/>
                  </a:lnTo>
                  <a:lnTo>
                    <a:pt x="474" y="804"/>
                  </a:lnTo>
                  <a:lnTo>
                    <a:pt x="474" y="798"/>
                  </a:lnTo>
                  <a:lnTo>
                    <a:pt x="474" y="804"/>
                  </a:lnTo>
                  <a:lnTo>
                    <a:pt x="468" y="804"/>
                  </a:lnTo>
                  <a:lnTo>
                    <a:pt x="468" y="810"/>
                  </a:lnTo>
                  <a:lnTo>
                    <a:pt x="462" y="810"/>
                  </a:lnTo>
                  <a:lnTo>
                    <a:pt x="456" y="810"/>
                  </a:lnTo>
                  <a:lnTo>
                    <a:pt x="450" y="810"/>
                  </a:lnTo>
                  <a:lnTo>
                    <a:pt x="450" y="816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50" y="822"/>
                  </a:lnTo>
                  <a:lnTo>
                    <a:pt x="450" y="816"/>
                  </a:lnTo>
                  <a:lnTo>
                    <a:pt x="444" y="816"/>
                  </a:lnTo>
                  <a:lnTo>
                    <a:pt x="438" y="810"/>
                  </a:lnTo>
                  <a:lnTo>
                    <a:pt x="432" y="810"/>
                  </a:lnTo>
                  <a:lnTo>
                    <a:pt x="426" y="804"/>
                  </a:lnTo>
                  <a:lnTo>
                    <a:pt x="426" y="798"/>
                  </a:lnTo>
                  <a:lnTo>
                    <a:pt x="420" y="798"/>
                  </a:lnTo>
                  <a:lnTo>
                    <a:pt x="426" y="798"/>
                  </a:lnTo>
                  <a:lnTo>
                    <a:pt x="426" y="792"/>
                  </a:lnTo>
                  <a:lnTo>
                    <a:pt x="426" y="786"/>
                  </a:lnTo>
                  <a:lnTo>
                    <a:pt x="432" y="786"/>
                  </a:lnTo>
                  <a:lnTo>
                    <a:pt x="432" y="780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0" y="756"/>
                  </a:lnTo>
                  <a:lnTo>
                    <a:pt x="420" y="750"/>
                  </a:lnTo>
                  <a:lnTo>
                    <a:pt x="414" y="750"/>
                  </a:lnTo>
                  <a:lnTo>
                    <a:pt x="420" y="750"/>
                  </a:lnTo>
                  <a:lnTo>
                    <a:pt x="420" y="744"/>
                  </a:lnTo>
                  <a:lnTo>
                    <a:pt x="414" y="744"/>
                  </a:lnTo>
                  <a:lnTo>
                    <a:pt x="414" y="738"/>
                  </a:lnTo>
                  <a:lnTo>
                    <a:pt x="414" y="732"/>
                  </a:lnTo>
                  <a:lnTo>
                    <a:pt x="408" y="732"/>
                  </a:lnTo>
                  <a:lnTo>
                    <a:pt x="408" y="726"/>
                  </a:lnTo>
                  <a:lnTo>
                    <a:pt x="402" y="726"/>
                  </a:lnTo>
                  <a:lnTo>
                    <a:pt x="396" y="726"/>
                  </a:lnTo>
                  <a:lnTo>
                    <a:pt x="390" y="726"/>
                  </a:lnTo>
                  <a:lnTo>
                    <a:pt x="390" y="720"/>
                  </a:lnTo>
                  <a:lnTo>
                    <a:pt x="390" y="714"/>
                  </a:lnTo>
                  <a:lnTo>
                    <a:pt x="384" y="708"/>
                  </a:lnTo>
                  <a:lnTo>
                    <a:pt x="384" y="702"/>
                  </a:lnTo>
                  <a:lnTo>
                    <a:pt x="378" y="702"/>
                  </a:lnTo>
                  <a:lnTo>
                    <a:pt x="378" y="696"/>
                  </a:lnTo>
                  <a:lnTo>
                    <a:pt x="378" y="690"/>
                  </a:lnTo>
                  <a:lnTo>
                    <a:pt x="372" y="684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66" y="666"/>
                  </a:lnTo>
                  <a:lnTo>
                    <a:pt x="366" y="660"/>
                  </a:lnTo>
                  <a:lnTo>
                    <a:pt x="366" y="654"/>
                  </a:lnTo>
                  <a:lnTo>
                    <a:pt x="360" y="648"/>
                  </a:lnTo>
                  <a:lnTo>
                    <a:pt x="360" y="654"/>
                  </a:lnTo>
                  <a:lnTo>
                    <a:pt x="360" y="660"/>
                  </a:lnTo>
                  <a:lnTo>
                    <a:pt x="360" y="666"/>
                  </a:lnTo>
                  <a:lnTo>
                    <a:pt x="360" y="672"/>
                  </a:lnTo>
                  <a:lnTo>
                    <a:pt x="360" y="678"/>
                  </a:lnTo>
                  <a:lnTo>
                    <a:pt x="366" y="678"/>
                  </a:lnTo>
                  <a:lnTo>
                    <a:pt x="366" y="684"/>
                  </a:lnTo>
                  <a:lnTo>
                    <a:pt x="366" y="690"/>
                  </a:lnTo>
                  <a:lnTo>
                    <a:pt x="372" y="696"/>
                  </a:lnTo>
                  <a:lnTo>
                    <a:pt x="372" y="702"/>
                  </a:lnTo>
                  <a:lnTo>
                    <a:pt x="372" y="708"/>
                  </a:lnTo>
                  <a:lnTo>
                    <a:pt x="372" y="714"/>
                  </a:lnTo>
                  <a:lnTo>
                    <a:pt x="366" y="714"/>
                  </a:lnTo>
                  <a:lnTo>
                    <a:pt x="360" y="714"/>
                  </a:lnTo>
                  <a:lnTo>
                    <a:pt x="354" y="714"/>
                  </a:lnTo>
                  <a:lnTo>
                    <a:pt x="348" y="714"/>
                  </a:lnTo>
                  <a:lnTo>
                    <a:pt x="348" y="708"/>
                  </a:lnTo>
                  <a:lnTo>
                    <a:pt x="342" y="708"/>
                  </a:lnTo>
                  <a:lnTo>
                    <a:pt x="342" y="702"/>
                  </a:lnTo>
                  <a:lnTo>
                    <a:pt x="342" y="696"/>
                  </a:lnTo>
                  <a:lnTo>
                    <a:pt x="336" y="696"/>
                  </a:lnTo>
                  <a:lnTo>
                    <a:pt x="336" y="690"/>
                  </a:lnTo>
                  <a:lnTo>
                    <a:pt x="336" y="684"/>
                  </a:lnTo>
                  <a:lnTo>
                    <a:pt x="330" y="684"/>
                  </a:lnTo>
                  <a:lnTo>
                    <a:pt x="330" y="678"/>
                  </a:lnTo>
                  <a:lnTo>
                    <a:pt x="324" y="672"/>
                  </a:lnTo>
                  <a:lnTo>
                    <a:pt x="324" y="666"/>
                  </a:lnTo>
                  <a:lnTo>
                    <a:pt x="318" y="666"/>
                  </a:lnTo>
                  <a:lnTo>
                    <a:pt x="318" y="672"/>
                  </a:lnTo>
                  <a:lnTo>
                    <a:pt x="324" y="672"/>
                  </a:lnTo>
                  <a:lnTo>
                    <a:pt x="324" y="678"/>
                  </a:lnTo>
                  <a:lnTo>
                    <a:pt x="324" y="684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30" y="696"/>
                  </a:lnTo>
                  <a:lnTo>
                    <a:pt x="336" y="702"/>
                  </a:lnTo>
                  <a:lnTo>
                    <a:pt x="342" y="708"/>
                  </a:lnTo>
                  <a:lnTo>
                    <a:pt x="342" y="714"/>
                  </a:lnTo>
                  <a:lnTo>
                    <a:pt x="348" y="720"/>
                  </a:lnTo>
                  <a:lnTo>
                    <a:pt x="342" y="720"/>
                  </a:lnTo>
                  <a:lnTo>
                    <a:pt x="336" y="720"/>
                  </a:lnTo>
                  <a:lnTo>
                    <a:pt x="330" y="720"/>
                  </a:lnTo>
                  <a:lnTo>
                    <a:pt x="330" y="726"/>
                  </a:lnTo>
                  <a:lnTo>
                    <a:pt x="336" y="726"/>
                  </a:lnTo>
                  <a:lnTo>
                    <a:pt x="330" y="732"/>
                  </a:lnTo>
                  <a:lnTo>
                    <a:pt x="330" y="738"/>
                  </a:lnTo>
                  <a:lnTo>
                    <a:pt x="330" y="744"/>
                  </a:lnTo>
                  <a:lnTo>
                    <a:pt x="336" y="744"/>
                  </a:lnTo>
                  <a:lnTo>
                    <a:pt x="342" y="744"/>
                  </a:lnTo>
                  <a:lnTo>
                    <a:pt x="348" y="744"/>
                  </a:lnTo>
                  <a:lnTo>
                    <a:pt x="348" y="750"/>
                  </a:lnTo>
                  <a:lnTo>
                    <a:pt x="354" y="750"/>
                  </a:lnTo>
                  <a:lnTo>
                    <a:pt x="360" y="756"/>
                  </a:lnTo>
                  <a:lnTo>
                    <a:pt x="360" y="762"/>
                  </a:lnTo>
                  <a:lnTo>
                    <a:pt x="366" y="762"/>
                  </a:lnTo>
                  <a:lnTo>
                    <a:pt x="366" y="768"/>
                  </a:lnTo>
                  <a:lnTo>
                    <a:pt x="366" y="774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72" y="792"/>
                  </a:lnTo>
                  <a:lnTo>
                    <a:pt x="372" y="798"/>
                  </a:lnTo>
                  <a:lnTo>
                    <a:pt x="372" y="804"/>
                  </a:lnTo>
                  <a:lnTo>
                    <a:pt x="378" y="804"/>
                  </a:lnTo>
                  <a:lnTo>
                    <a:pt x="378" y="810"/>
                  </a:lnTo>
                  <a:lnTo>
                    <a:pt x="378" y="816"/>
                  </a:lnTo>
                  <a:lnTo>
                    <a:pt x="372" y="816"/>
                  </a:lnTo>
                  <a:lnTo>
                    <a:pt x="378" y="816"/>
                  </a:lnTo>
                  <a:lnTo>
                    <a:pt x="378" y="822"/>
                  </a:lnTo>
                  <a:lnTo>
                    <a:pt x="378" y="828"/>
                  </a:lnTo>
                  <a:lnTo>
                    <a:pt x="378" y="834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0" y="864"/>
                  </a:lnTo>
                  <a:lnTo>
                    <a:pt x="384" y="864"/>
                  </a:lnTo>
                  <a:lnTo>
                    <a:pt x="384" y="870"/>
                  </a:lnTo>
                  <a:lnTo>
                    <a:pt x="378" y="864"/>
                  </a:lnTo>
                  <a:lnTo>
                    <a:pt x="372" y="864"/>
                  </a:lnTo>
                  <a:lnTo>
                    <a:pt x="366" y="858"/>
                  </a:lnTo>
                  <a:lnTo>
                    <a:pt x="366" y="852"/>
                  </a:lnTo>
                  <a:lnTo>
                    <a:pt x="360" y="852"/>
                  </a:lnTo>
                  <a:lnTo>
                    <a:pt x="360" y="858"/>
                  </a:lnTo>
                  <a:lnTo>
                    <a:pt x="366" y="858"/>
                  </a:lnTo>
                  <a:lnTo>
                    <a:pt x="366" y="864"/>
                  </a:lnTo>
                  <a:lnTo>
                    <a:pt x="360" y="864"/>
                  </a:lnTo>
                  <a:lnTo>
                    <a:pt x="354" y="864"/>
                  </a:lnTo>
                  <a:lnTo>
                    <a:pt x="354" y="870"/>
                  </a:lnTo>
                  <a:lnTo>
                    <a:pt x="354" y="864"/>
                  </a:lnTo>
                  <a:lnTo>
                    <a:pt x="348" y="864"/>
                  </a:lnTo>
                  <a:lnTo>
                    <a:pt x="342" y="864"/>
                  </a:lnTo>
                  <a:lnTo>
                    <a:pt x="342" y="858"/>
                  </a:lnTo>
                  <a:lnTo>
                    <a:pt x="336" y="858"/>
                  </a:lnTo>
                  <a:lnTo>
                    <a:pt x="330" y="858"/>
                  </a:lnTo>
                  <a:lnTo>
                    <a:pt x="324" y="858"/>
                  </a:lnTo>
                  <a:lnTo>
                    <a:pt x="318" y="858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0" y="852"/>
                  </a:lnTo>
                  <a:lnTo>
                    <a:pt x="294" y="852"/>
                  </a:lnTo>
                  <a:lnTo>
                    <a:pt x="294" y="846"/>
                  </a:lnTo>
                  <a:lnTo>
                    <a:pt x="288" y="840"/>
                  </a:lnTo>
                  <a:lnTo>
                    <a:pt x="288" y="828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2" y="816"/>
                  </a:lnTo>
                  <a:lnTo>
                    <a:pt x="282" y="810"/>
                  </a:lnTo>
                  <a:lnTo>
                    <a:pt x="276" y="810"/>
                  </a:lnTo>
                  <a:lnTo>
                    <a:pt x="276" y="804"/>
                  </a:lnTo>
                  <a:lnTo>
                    <a:pt x="276" y="798"/>
                  </a:lnTo>
                  <a:lnTo>
                    <a:pt x="276" y="792"/>
                  </a:lnTo>
                  <a:lnTo>
                    <a:pt x="270" y="786"/>
                  </a:lnTo>
                  <a:lnTo>
                    <a:pt x="270" y="780"/>
                  </a:lnTo>
                  <a:lnTo>
                    <a:pt x="270" y="774"/>
                  </a:lnTo>
                  <a:lnTo>
                    <a:pt x="264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64" y="750"/>
                  </a:lnTo>
                  <a:lnTo>
                    <a:pt x="264" y="744"/>
                  </a:lnTo>
                  <a:lnTo>
                    <a:pt x="264" y="738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26"/>
                  </a:lnTo>
                  <a:lnTo>
                    <a:pt x="276" y="720"/>
                  </a:lnTo>
                  <a:lnTo>
                    <a:pt x="282" y="720"/>
                  </a:lnTo>
                  <a:lnTo>
                    <a:pt x="282" y="714"/>
                  </a:lnTo>
                  <a:lnTo>
                    <a:pt x="282" y="708"/>
                  </a:lnTo>
                  <a:lnTo>
                    <a:pt x="276" y="708"/>
                  </a:lnTo>
                  <a:lnTo>
                    <a:pt x="276" y="702"/>
                  </a:lnTo>
                  <a:lnTo>
                    <a:pt x="270" y="702"/>
                  </a:lnTo>
                  <a:lnTo>
                    <a:pt x="270" y="696"/>
                  </a:lnTo>
                  <a:lnTo>
                    <a:pt x="264" y="690"/>
                  </a:lnTo>
                  <a:lnTo>
                    <a:pt x="258" y="690"/>
                  </a:lnTo>
                  <a:lnTo>
                    <a:pt x="258" y="684"/>
                  </a:lnTo>
                  <a:lnTo>
                    <a:pt x="252" y="684"/>
                  </a:lnTo>
                  <a:lnTo>
                    <a:pt x="252" y="678"/>
                  </a:lnTo>
                  <a:lnTo>
                    <a:pt x="246" y="678"/>
                  </a:lnTo>
                  <a:lnTo>
                    <a:pt x="240" y="678"/>
                  </a:lnTo>
                  <a:lnTo>
                    <a:pt x="240" y="684"/>
                  </a:lnTo>
                  <a:lnTo>
                    <a:pt x="246" y="684"/>
                  </a:lnTo>
                  <a:lnTo>
                    <a:pt x="252" y="690"/>
                  </a:lnTo>
                  <a:lnTo>
                    <a:pt x="258" y="690"/>
                  </a:lnTo>
                  <a:lnTo>
                    <a:pt x="258" y="696"/>
                  </a:lnTo>
                  <a:lnTo>
                    <a:pt x="258" y="702"/>
                  </a:lnTo>
                  <a:lnTo>
                    <a:pt x="264" y="702"/>
                  </a:lnTo>
                  <a:lnTo>
                    <a:pt x="270" y="708"/>
                  </a:lnTo>
                  <a:lnTo>
                    <a:pt x="270" y="714"/>
                  </a:lnTo>
                  <a:lnTo>
                    <a:pt x="270" y="720"/>
                  </a:lnTo>
                  <a:lnTo>
                    <a:pt x="276" y="720"/>
                  </a:lnTo>
                  <a:lnTo>
                    <a:pt x="270" y="720"/>
                  </a:lnTo>
                  <a:lnTo>
                    <a:pt x="270" y="726"/>
                  </a:lnTo>
                  <a:lnTo>
                    <a:pt x="264" y="726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52" y="738"/>
                  </a:lnTo>
                  <a:lnTo>
                    <a:pt x="252" y="744"/>
                  </a:lnTo>
                  <a:lnTo>
                    <a:pt x="252" y="750"/>
                  </a:lnTo>
                  <a:lnTo>
                    <a:pt x="252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58" y="774"/>
                  </a:lnTo>
                  <a:lnTo>
                    <a:pt x="258" y="780"/>
                  </a:lnTo>
                  <a:lnTo>
                    <a:pt x="264" y="786"/>
                  </a:lnTo>
                  <a:lnTo>
                    <a:pt x="264" y="792"/>
                  </a:lnTo>
                  <a:lnTo>
                    <a:pt x="264" y="798"/>
                  </a:lnTo>
                  <a:lnTo>
                    <a:pt x="270" y="810"/>
                  </a:lnTo>
                  <a:lnTo>
                    <a:pt x="270" y="816"/>
                  </a:lnTo>
                  <a:lnTo>
                    <a:pt x="270" y="822"/>
                  </a:lnTo>
                  <a:lnTo>
                    <a:pt x="276" y="822"/>
                  </a:lnTo>
                  <a:lnTo>
                    <a:pt x="276" y="828"/>
                  </a:lnTo>
                  <a:lnTo>
                    <a:pt x="276" y="834"/>
                  </a:lnTo>
                  <a:lnTo>
                    <a:pt x="276" y="840"/>
                  </a:lnTo>
                  <a:lnTo>
                    <a:pt x="276" y="846"/>
                  </a:lnTo>
                  <a:lnTo>
                    <a:pt x="282" y="852"/>
                  </a:lnTo>
                  <a:lnTo>
                    <a:pt x="282" y="858"/>
                  </a:lnTo>
                  <a:lnTo>
                    <a:pt x="294" y="864"/>
                  </a:lnTo>
                  <a:lnTo>
                    <a:pt x="300" y="870"/>
                  </a:lnTo>
                  <a:lnTo>
                    <a:pt x="300" y="876"/>
                  </a:lnTo>
                  <a:lnTo>
                    <a:pt x="288" y="876"/>
                  </a:lnTo>
                  <a:lnTo>
                    <a:pt x="282" y="876"/>
                  </a:lnTo>
                  <a:lnTo>
                    <a:pt x="276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2" y="882"/>
                  </a:lnTo>
                  <a:lnTo>
                    <a:pt x="246" y="882"/>
                  </a:lnTo>
                  <a:lnTo>
                    <a:pt x="240" y="882"/>
                  </a:lnTo>
                  <a:lnTo>
                    <a:pt x="234" y="882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204" y="876"/>
                  </a:lnTo>
                  <a:lnTo>
                    <a:pt x="198" y="876"/>
                  </a:lnTo>
                  <a:lnTo>
                    <a:pt x="198" y="870"/>
                  </a:lnTo>
                  <a:lnTo>
                    <a:pt x="198" y="852"/>
                  </a:lnTo>
                  <a:lnTo>
                    <a:pt x="198" y="846"/>
                  </a:lnTo>
                  <a:lnTo>
                    <a:pt x="204" y="846"/>
                  </a:lnTo>
                  <a:lnTo>
                    <a:pt x="198" y="840"/>
                  </a:lnTo>
                  <a:lnTo>
                    <a:pt x="198" y="834"/>
                  </a:lnTo>
                  <a:lnTo>
                    <a:pt x="198" y="828"/>
                  </a:lnTo>
                  <a:lnTo>
                    <a:pt x="198" y="822"/>
                  </a:lnTo>
                  <a:lnTo>
                    <a:pt x="198" y="816"/>
                  </a:lnTo>
                  <a:lnTo>
                    <a:pt x="198" y="810"/>
                  </a:lnTo>
                  <a:lnTo>
                    <a:pt x="192" y="810"/>
                  </a:lnTo>
                  <a:lnTo>
                    <a:pt x="192" y="804"/>
                  </a:lnTo>
                  <a:lnTo>
                    <a:pt x="192" y="798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2" y="774"/>
                  </a:lnTo>
                  <a:lnTo>
                    <a:pt x="192" y="768"/>
                  </a:lnTo>
                  <a:lnTo>
                    <a:pt x="198" y="768"/>
                  </a:lnTo>
                  <a:lnTo>
                    <a:pt x="198" y="762"/>
                  </a:lnTo>
                  <a:lnTo>
                    <a:pt x="198" y="756"/>
                  </a:lnTo>
                  <a:lnTo>
                    <a:pt x="204" y="756"/>
                  </a:lnTo>
                  <a:lnTo>
                    <a:pt x="204" y="750"/>
                  </a:lnTo>
                  <a:lnTo>
                    <a:pt x="210" y="744"/>
                  </a:lnTo>
                  <a:lnTo>
                    <a:pt x="210" y="738"/>
                  </a:lnTo>
                  <a:lnTo>
                    <a:pt x="210" y="732"/>
                  </a:lnTo>
                  <a:lnTo>
                    <a:pt x="210" y="726"/>
                  </a:lnTo>
                  <a:lnTo>
                    <a:pt x="210" y="720"/>
                  </a:lnTo>
                  <a:lnTo>
                    <a:pt x="204" y="714"/>
                  </a:lnTo>
                  <a:lnTo>
                    <a:pt x="204" y="720"/>
                  </a:lnTo>
                  <a:lnTo>
                    <a:pt x="204" y="732"/>
                  </a:lnTo>
                  <a:lnTo>
                    <a:pt x="204" y="738"/>
                  </a:lnTo>
                  <a:lnTo>
                    <a:pt x="198" y="738"/>
                  </a:lnTo>
                  <a:lnTo>
                    <a:pt x="198" y="744"/>
                  </a:lnTo>
                  <a:lnTo>
                    <a:pt x="198" y="750"/>
                  </a:lnTo>
                  <a:lnTo>
                    <a:pt x="192" y="756"/>
                  </a:lnTo>
                  <a:lnTo>
                    <a:pt x="186" y="762"/>
                  </a:lnTo>
                  <a:lnTo>
                    <a:pt x="186" y="768"/>
                  </a:lnTo>
                  <a:lnTo>
                    <a:pt x="186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98"/>
                  </a:lnTo>
                  <a:lnTo>
                    <a:pt x="186" y="804"/>
                  </a:lnTo>
                  <a:lnTo>
                    <a:pt x="186" y="810"/>
                  </a:lnTo>
                  <a:lnTo>
                    <a:pt x="192" y="816"/>
                  </a:lnTo>
                  <a:lnTo>
                    <a:pt x="192" y="828"/>
                  </a:lnTo>
                  <a:lnTo>
                    <a:pt x="192" y="834"/>
                  </a:lnTo>
                  <a:lnTo>
                    <a:pt x="186" y="834"/>
                  </a:lnTo>
                  <a:lnTo>
                    <a:pt x="186" y="828"/>
                  </a:lnTo>
                  <a:lnTo>
                    <a:pt x="180" y="822"/>
                  </a:lnTo>
                  <a:lnTo>
                    <a:pt x="180" y="816"/>
                  </a:lnTo>
                  <a:lnTo>
                    <a:pt x="180" y="810"/>
                  </a:lnTo>
                  <a:lnTo>
                    <a:pt x="174" y="810"/>
                  </a:lnTo>
                  <a:lnTo>
                    <a:pt x="174" y="804"/>
                  </a:lnTo>
                  <a:lnTo>
                    <a:pt x="174" y="798"/>
                  </a:lnTo>
                  <a:lnTo>
                    <a:pt x="174" y="792"/>
                  </a:lnTo>
                  <a:lnTo>
                    <a:pt x="168" y="786"/>
                  </a:lnTo>
                  <a:lnTo>
                    <a:pt x="168" y="780"/>
                  </a:lnTo>
                  <a:lnTo>
                    <a:pt x="162" y="780"/>
                  </a:lnTo>
                  <a:lnTo>
                    <a:pt x="168" y="774"/>
                  </a:lnTo>
                  <a:lnTo>
                    <a:pt x="168" y="768"/>
                  </a:lnTo>
                  <a:lnTo>
                    <a:pt x="174" y="768"/>
                  </a:lnTo>
                  <a:lnTo>
                    <a:pt x="168" y="768"/>
                  </a:lnTo>
                  <a:lnTo>
                    <a:pt x="162" y="774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50" y="774"/>
                  </a:lnTo>
                  <a:lnTo>
                    <a:pt x="144" y="774"/>
                  </a:lnTo>
                  <a:lnTo>
                    <a:pt x="144" y="768"/>
                  </a:lnTo>
                  <a:lnTo>
                    <a:pt x="144" y="762"/>
                  </a:lnTo>
                  <a:lnTo>
                    <a:pt x="138" y="756"/>
                  </a:lnTo>
                  <a:lnTo>
                    <a:pt x="132" y="756"/>
                  </a:lnTo>
                  <a:lnTo>
                    <a:pt x="138" y="756"/>
                  </a:lnTo>
                  <a:lnTo>
                    <a:pt x="138" y="762"/>
                  </a:lnTo>
                  <a:lnTo>
                    <a:pt x="138" y="768"/>
                  </a:lnTo>
                  <a:lnTo>
                    <a:pt x="144" y="768"/>
                  </a:lnTo>
                  <a:lnTo>
                    <a:pt x="144" y="774"/>
                  </a:lnTo>
                  <a:lnTo>
                    <a:pt x="150" y="780"/>
                  </a:lnTo>
                  <a:lnTo>
                    <a:pt x="156" y="780"/>
                  </a:lnTo>
                  <a:lnTo>
                    <a:pt x="156" y="786"/>
                  </a:lnTo>
                  <a:lnTo>
                    <a:pt x="162" y="786"/>
                  </a:lnTo>
                  <a:lnTo>
                    <a:pt x="168" y="792"/>
                  </a:lnTo>
                  <a:lnTo>
                    <a:pt x="168" y="798"/>
                  </a:lnTo>
                  <a:lnTo>
                    <a:pt x="168" y="804"/>
                  </a:lnTo>
                  <a:lnTo>
                    <a:pt x="174" y="810"/>
                  </a:lnTo>
                  <a:lnTo>
                    <a:pt x="174" y="816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68" y="828"/>
                  </a:lnTo>
                  <a:lnTo>
                    <a:pt x="168" y="834"/>
                  </a:lnTo>
                  <a:lnTo>
                    <a:pt x="174" y="840"/>
                  </a:lnTo>
                  <a:lnTo>
                    <a:pt x="180" y="840"/>
                  </a:lnTo>
                  <a:lnTo>
                    <a:pt x="180" y="846"/>
                  </a:lnTo>
                  <a:lnTo>
                    <a:pt x="186" y="846"/>
                  </a:lnTo>
                  <a:lnTo>
                    <a:pt x="186" y="852"/>
                  </a:lnTo>
                  <a:lnTo>
                    <a:pt x="186" y="858"/>
                  </a:lnTo>
                  <a:lnTo>
                    <a:pt x="186" y="864"/>
                  </a:lnTo>
                  <a:lnTo>
                    <a:pt x="192" y="864"/>
                  </a:lnTo>
                  <a:lnTo>
                    <a:pt x="192" y="870"/>
                  </a:lnTo>
                  <a:lnTo>
                    <a:pt x="192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6" y="888"/>
                  </a:lnTo>
                  <a:lnTo>
                    <a:pt x="180" y="888"/>
                  </a:lnTo>
                  <a:lnTo>
                    <a:pt x="174" y="888"/>
                  </a:lnTo>
                  <a:lnTo>
                    <a:pt x="168" y="894"/>
                  </a:lnTo>
                  <a:lnTo>
                    <a:pt x="162" y="894"/>
                  </a:lnTo>
                  <a:lnTo>
                    <a:pt x="156" y="894"/>
                  </a:lnTo>
                  <a:lnTo>
                    <a:pt x="150" y="894"/>
                  </a:lnTo>
                  <a:lnTo>
                    <a:pt x="144" y="894"/>
                  </a:lnTo>
                  <a:lnTo>
                    <a:pt x="144" y="900"/>
                  </a:lnTo>
                  <a:lnTo>
                    <a:pt x="138" y="894"/>
                  </a:lnTo>
                  <a:lnTo>
                    <a:pt x="138" y="900"/>
                  </a:lnTo>
                  <a:lnTo>
                    <a:pt x="132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6" y="882"/>
                  </a:lnTo>
                  <a:lnTo>
                    <a:pt x="126" y="876"/>
                  </a:lnTo>
                  <a:lnTo>
                    <a:pt x="120" y="876"/>
                  </a:lnTo>
                  <a:lnTo>
                    <a:pt x="126" y="870"/>
                  </a:lnTo>
                  <a:lnTo>
                    <a:pt x="126" y="864"/>
                  </a:lnTo>
                  <a:lnTo>
                    <a:pt x="126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26" y="828"/>
                  </a:lnTo>
                  <a:lnTo>
                    <a:pt x="126" y="822"/>
                  </a:lnTo>
                  <a:lnTo>
                    <a:pt x="126" y="816"/>
                  </a:lnTo>
                  <a:lnTo>
                    <a:pt x="126" y="810"/>
                  </a:lnTo>
                  <a:lnTo>
                    <a:pt x="126" y="804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20" y="792"/>
                  </a:lnTo>
                  <a:lnTo>
                    <a:pt x="114" y="792"/>
                  </a:lnTo>
                  <a:lnTo>
                    <a:pt x="114" y="786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96" y="780"/>
                  </a:lnTo>
                  <a:lnTo>
                    <a:pt x="96" y="774"/>
                  </a:lnTo>
                  <a:lnTo>
                    <a:pt x="90" y="774"/>
                  </a:lnTo>
                  <a:lnTo>
                    <a:pt x="90" y="768"/>
                  </a:lnTo>
                  <a:close/>
                  <a:moveTo>
                    <a:pt x="96" y="780"/>
                  </a:moveTo>
                  <a:lnTo>
                    <a:pt x="102" y="780"/>
                  </a:lnTo>
                  <a:lnTo>
                    <a:pt x="102" y="786"/>
                  </a:lnTo>
                  <a:lnTo>
                    <a:pt x="108" y="786"/>
                  </a:lnTo>
                  <a:lnTo>
                    <a:pt x="114" y="792"/>
                  </a:lnTo>
                  <a:lnTo>
                    <a:pt x="120" y="798"/>
                  </a:lnTo>
                  <a:lnTo>
                    <a:pt x="120" y="804"/>
                  </a:lnTo>
                  <a:lnTo>
                    <a:pt x="126" y="810"/>
                  </a:lnTo>
                  <a:lnTo>
                    <a:pt x="126" y="816"/>
                  </a:lnTo>
                  <a:lnTo>
                    <a:pt x="126" y="822"/>
                  </a:lnTo>
                  <a:lnTo>
                    <a:pt x="120" y="828"/>
                  </a:lnTo>
                  <a:lnTo>
                    <a:pt x="120" y="840"/>
                  </a:lnTo>
                  <a:lnTo>
                    <a:pt x="120" y="852"/>
                  </a:lnTo>
                  <a:lnTo>
                    <a:pt x="120" y="858"/>
                  </a:lnTo>
                  <a:lnTo>
                    <a:pt x="120" y="864"/>
                  </a:lnTo>
                  <a:lnTo>
                    <a:pt x="120" y="870"/>
                  </a:lnTo>
                  <a:lnTo>
                    <a:pt x="114" y="870"/>
                  </a:lnTo>
                  <a:lnTo>
                    <a:pt x="108" y="870"/>
                  </a:lnTo>
                  <a:lnTo>
                    <a:pt x="108" y="876"/>
                  </a:lnTo>
                  <a:lnTo>
                    <a:pt x="114" y="876"/>
                  </a:lnTo>
                  <a:lnTo>
                    <a:pt x="120" y="876"/>
                  </a:lnTo>
                  <a:lnTo>
                    <a:pt x="120" y="882"/>
                  </a:lnTo>
                  <a:lnTo>
                    <a:pt x="114" y="888"/>
                  </a:lnTo>
                  <a:lnTo>
                    <a:pt x="120" y="888"/>
                  </a:lnTo>
                  <a:lnTo>
                    <a:pt x="120" y="894"/>
                  </a:lnTo>
                  <a:lnTo>
                    <a:pt x="114" y="894"/>
                  </a:lnTo>
                  <a:lnTo>
                    <a:pt x="108" y="894"/>
                  </a:lnTo>
                  <a:lnTo>
                    <a:pt x="96" y="894"/>
                  </a:lnTo>
                  <a:lnTo>
                    <a:pt x="96" y="882"/>
                  </a:lnTo>
                  <a:lnTo>
                    <a:pt x="96" y="876"/>
                  </a:lnTo>
                  <a:lnTo>
                    <a:pt x="84" y="870"/>
                  </a:lnTo>
                  <a:lnTo>
                    <a:pt x="72" y="864"/>
                  </a:lnTo>
                  <a:lnTo>
                    <a:pt x="72" y="852"/>
                  </a:lnTo>
                  <a:lnTo>
                    <a:pt x="72" y="840"/>
                  </a:lnTo>
                  <a:lnTo>
                    <a:pt x="78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90" y="792"/>
                  </a:lnTo>
                  <a:lnTo>
                    <a:pt x="96" y="780"/>
                  </a:lnTo>
                  <a:close/>
                  <a:moveTo>
                    <a:pt x="492" y="810"/>
                  </a:moveTo>
                  <a:lnTo>
                    <a:pt x="498" y="810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510" y="792"/>
                  </a:lnTo>
                  <a:lnTo>
                    <a:pt x="516" y="786"/>
                  </a:lnTo>
                  <a:lnTo>
                    <a:pt x="522" y="780"/>
                  </a:lnTo>
                  <a:lnTo>
                    <a:pt x="522" y="774"/>
                  </a:lnTo>
                  <a:lnTo>
                    <a:pt x="528" y="768"/>
                  </a:lnTo>
                  <a:lnTo>
                    <a:pt x="528" y="762"/>
                  </a:lnTo>
                  <a:lnTo>
                    <a:pt x="534" y="762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46" y="780"/>
                  </a:lnTo>
                  <a:lnTo>
                    <a:pt x="552" y="786"/>
                  </a:lnTo>
                  <a:lnTo>
                    <a:pt x="558" y="786"/>
                  </a:lnTo>
                  <a:lnTo>
                    <a:pt x="564" y="786"/>
                  </a:lnTo>
                  <a:lnTo>
                    <a:pt x="576" y="786"/>
                  </a:lnTo>
                  <a:lnTo>
                    <a:pt x="582" y="786"/>
                  </a:lnTo>
                  <a:lnTo>
                    <a:pt x="588" y="786"/>
                  </a:lnTo>
                  <a:lnTo>
                    <a:pt x="594" y="786"/>
                  </a:lnTo>
                  <a:lnTo>
                    <a:pt x="588" y="792"/>
                  </a:lnTo>
                  <a:lnTo>
                    <a:pt x="588" y="798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82" y="822"/>
                  </a:lnTo>
                  <a:lnTo>
                    <a:pt x="588" y="828"/>
                  </a:lnTo>
                  <a:lnTo>
                    <a:pt x="588" y="834"/>
                  </a:lnTo>
                  <a:lnTo>
                    <a:pt x="582" y="840"/>
                  </a:lnTo>
                  <a:lnTo>
                    <a:pt x="570" y="840"/>
                  </a:lnTo>
                  <a:lnTo>
                    <a:pt x="558" y="846"/>
                  </a:lnTo>
                  <a:lnTo>
                    <a:pt x="552" y="846"/>
                  </a:lnTo>
                  <a:lnTo>
                    <a:pt x="534" y="852"/>
                  </a:lnTo>
                  <a:lnTo>
                    <a:pt x="522" y="858"/>
                  </a:lnTo>
                  <a:lnTo>
                    <a:pt x="510" y="858"/>
                  </a:lnTo>
                  <a:lnTo>
                    <a:pt x="498" y="864"/>
                  </a:lnTo>
                  <a:lnTo>
                    <a:pt x="474" y="864"/>
                  </a:lnTo>
                  <a:lnTo>
                    <a:pt x="468" y="858"/>
                  </a:lnTo>
                  <a:lnTo>
                    <a:pt x="468" y="852"/>
                  </a:lnTo>
                  <a:lnTo>
                    <a:pt x="468" y="846"/>
                  </a:lnTo>
                  <a:lnTo>
                    <a:pt x="474" y="840"/>
                  </a:lnTo>
                  <a:lnTo>
                    <a:pt x="474" y="834"/>
                  </a:lnTo>
                  <a:lnTo>
                    <a:pt x="480" y="828"/>
                  </a:lnTo>
                  <a:lnTo>
                    <a:pt x="492" y="822"/>
                  </a:lnTo>
                  <a:lnTo>
                    <a:pt x="492" y="810"/>
                  </a:lnTo>
                  <a:close/>
                  <a:moveTo>
                    <a:pt x="384" y="720"/>
                  </a:moveTo>
                  <a:lnTo>
                    <a:pt x="384" y="726"/>
                  </a:lnTo>
                  <a:lnTo>
                    <a:pt x="390" y="726"/>
                  </a:lnTo>
                  <a:lnTo>
                    <a:pt x="396" y="726"/>
                  </a:lnTo>
                  <a:lnTo>
                    <a:pt x="402" y="732"/>
                  </a:lnTo>
                  <a:lnTo>
                    <a:pt x="408" y="732"/>
                  </a:lnTo>
                  <a:lnTo>
                    <a:pt x="414" y="732"/>
                  </a:lnTo>
                  <a:lnTo>
                    <a:pt x="414" y="738"/>
                  </a:lnTo>
                  <a:lnTo>
                    <a:pt x="414" y="744"/>
                  </a:lnTo>
                  <a:lnTo>
                    <a:pt x="414" y="750"/>
                  </a:lnTo>
                  <a:lnTo>
                    <a:pt x="414" y="756"/>
                  </a:lnTo>
                  <a:lnTo>
                    <a:pt x="414" y="762"/>
                  </a:lnTo>
                  <a:lnTo>
                    <a:pt x="420" y="768"/>
                  </a:lnTo>
                  <a:lnTo>
                    <a:pt x="420" y="774"/>
                  </a:lnTo>
                  <a:lnTo>
                    <a:pt x="426" y="780"/>
                  </a:lnTo>
                  <a:lnTo>
                    <a:pt x="426" y="786"/>
                  </a:lnTo>
                  <a:lnTo>
                    <a:pt x="420" y="786"/>
                  </a:lnTo>
                  <a:lnTo>
                    <a:pt x="420" y="792"/>
                  </a:lnTo>
                  <a:lnTo>
                    <a:pt x="420" y="798"/>
                  </a:lnTo>
                  <a:lnTo>
                    <a:pt x="420" y="804"/>
                  </a:lnTo>
                  <a:lnTo>
                    <a:pt x="426" y="804"/>
                  </a:lnTo>
                  <a:lnTo>
                    <a:pt x="426" y="810"/>
                  </a:lnTo>
                  <a:lnTo>
                    <a:pt x="426" y="816"/>
                  </a:lnTo>
                  <a:lnTo>
                    <a:pt x="432" y="816"/>
                  </a:lnTo>
                  <a:lnTo>
                    <a:pt x="438" y="816"/>
                  </a:lnTo>
                  <a:lnTo>
                    <a:pt x="438" y="822"/>
                  </a:lnTo>
                  <a:lnTo>
                    <a:pt x="432" y="822"/>
                  </a:lnTo>
                  <a:lnTo>
                    <a:pt x="426" y="828"/>
                  </a:lnTo>
                  <a:lnTo>
                    <a:pt x="420" y="828"/>
                  </a:lnTo>
                  <a:lnTo>
                    <a:pt x="414" y="828"/>
                  </a:lnTo>
                  <a:lnTo>
                    <a:pt x="408" y="828"/>
                  </a:lnTo>
                  <a:lnTo>
                    <a:pt x="402" y="828"/>
                  </a:lnTo>
                  <a:lnTo>
                    <a:pt x="402" y="822"/>
                  </a:lnTo>
                  <a:lnTo>
                    <a:pt x="396" y="822"/>
                  </a:lnTo>
                  <a:lnTo>
                    <a:pt x="402" y="822"/>
                  </a:lnTo>
                  <a:lnTo>
                    <a:pt x="402" y="816"/>
                  </a:lnTo>
                  <a:lnTo>
                    <a:pt x="396" y="816"/>
                  </a:lnTo>
                  <a:lnTo>
                    <a:pt x="396" y="810"/>
                  </a:lnTo>
                  <a:lnTo>
                    <a:pt x="396" y="804"/>
                  </a:lnTo>
                  <a:lnTo>
                    <a:pt x="390" y="798"/>
                  </a:lnTo>
                  <a:lnTo>
                    <a:pt x="390" y="792"/>
                  </a:lnTo>
                  <a:lnTo>
                    <a:pt x="390" y="786"/>
                  </a:lnTo>
                  <a:lnTo>
                    <a:pt x="390" y="780"/>
                  </a:lnTo>
                  <a:lnTo>
                    <a:pt x="390" y="774"/>
                  </a:lnTo>
                  <a:lnTo>
                    <a:pt x="390" y="768"/>
                  </a:lnTo>
                  <a:lnTo>
                    <a:pt x="390" y="762"/>
                  </a:lnTo>
                  <a:lnTo>
                    <a:pt x="384" y="756"/>
                  </a:lnTo>
                  <a:lnTo>
                    <a:pt x="384" y="750"/>
                  </a:lnTo>
                  <a:lnTo>
                    <a:pt x="384" y="744"/>
                  </a:lnTo>
                  <a:lnTo>
                    <a:pt x="378" y="744"/>
                  </a:lnTo>
                  <a:lnTo>
                    <a:pt x="384" y="744"/>
                  </a:lnTo>
                  <a:lnTo>
                    <a:pt x="384" y="738"/>
                  </a:lnTo>
                  <a:lnTo>
                    <a:pt x="378" y="738"/>
                  </a:lnTo>
                  <a:lnTo>
                    <a:pt x="378" y="732"/>
                  </a:lnTo>
                  <a:lnTo>
                    <a:pt x="378" y="726"/>
                  </a:lnTo>
                  <a:lnTo>
                    <a:pt x="378" y="720"/>
                  </a:lnTo>
                  <a:lnTo>
                    <a:pt x="384" y="720"/>
                  </a:lnTo>
                  <a:close/>
                  <a:moveTo>
                    <a:pt x="330" y="738"/>
                  </a:moveTo>
                  <a:lnTo>
                    <a:pt x="336" y="732"/>
                  </a:lnTo>
                  <a:lnTo>
                    <a:pt x="336" y="726"/>
                  </a:lnTo>
                  <a:lnTo>
                    <a:pt x="342" y="720"/>
                  </a:lnTo>
                  <a:lnTo>
                    <a:pt x="348" y="720"/>
                  </a:lnTo>
                  <a:lnTo>
                    <a:pt x="360" y="720"/>
                  </a:lnTo>
                  <a:lnTo>
                    <a:pt x="366" y="726"/>
                  </a:lnTo>
                  <a:lnTo>
                    <a:pt x="372" y="732"/>
                  </a:lnTo>
                  <a:lnTo>
                    <a:pt x="372" y="738"/>
                  </a:lnTo>
                  <a:lnTo>
                    <a:pt x="366" y="750"/>
                  </a:lnTo>
                  <a:lnTo>
                    <a:pt x="372" y="756"/>
                  </a:lnTo>
                  <a:lnTo>
                    <a:pt x="372" y="762"/>
                  </a:lnTo>
                  <a:lnTo>
                    <a:pt x="372" y="768"/>
                  </a:lnTo>
                  <a:lnTo>
                    <a:pt x="372" y="774"/>
                  </a:lnTo>
                  <a:lnTo>
                    <a:pt x="372" y="780"/>
                  </a:lnTo>
                  <a:lnTo>
                    <a:pt x="372" y="774"/>
                  </a:lnTo>
                  <a:lnTo>
                    <a:pt x="366" y="768"/>
                  </a:lnTo>
                  <a:lnTo>
                    <a:pt x="366" y="762"/>
                  </a:lnTo>
                  <a:lnTo>
                    <a:pt x="366" y="756"/>
                  </a:lnTo>
                  <a:lnTo>
                    <a:pt x="360" y="756"/>
                  </a:lnTo>
                  <a:lnTo>
                    <a:pt x="360" y="750"/>
                  </a:lnTo>
                  <a:lnTo>
                    <a:pt x="354" y="750"/>
                  </a:lnTo>
                  <a:lnTo>
                    <a:pt x="348" y="744"/>
                  </a:lnTo>
                  <a:lnTo>
                    <a:pt x="342" y="744"/>
                  </a:lnTo>
                  <a:lnTo>
                    <a:pt x="336" y="744"/>
                  </a:lnTo>
                  <a:lnTo>
                    <a:pt x="330" y="73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1" name="Freeform 6">
              <a:extLst>
                <a:ext uri="{FF2B5EF4-FFF2-40B4-BE49-F238E27FC236}">
                  <a16:creationId xmlns:a16="http://schemas.microsoft.com/office/drawing/2014/main" id="{0656C385-F30A-4AC8-AE9F-B1F66208B38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3123" y="4163918"/>
              <a:ext cx="266107" cy="248252"/>
            </a:xfrm>
            <a:custGeom>
              <a:avLst/>
              <a:gdLst>
                <a:gd name="T0" fmla="*/ 33 w 504"/>
                <a:gd name="T1" fmla="*/ 41 h 468"/>
                <a:gd name="T2" fmla="*/ 26 w 504"/>
                <a:gd name="T3" fmla="*/ 39 h 468"/>
                <a:gd name="T4" fmla="*/ 21 w 504"/>
                <a:gd name="T5" fmla="*/ 38 h 468"/>
                <a:gd name="T6" fmla="*/ 18 w 504"/>
                <a:gd name="T7" fmla="*/ 38 h 468"/>
                <a:gd name="T8" fmla="*/ 15 w 504"/>
                <a:gd name="T9" fmla="*/ 39 h 468"/>
                <a:gd name="T10" fmla="*/ 12 w 504"/>
                <a:gd name="T11" fmla="*/ 38 h 468"/>
                <a:gd name="T12" fmla="*/ 9 w 504"/>
                <a:gd name="T13" fmla="*/ 37 h 468"/>
                <a:gd name="T14" fmla="*/ 7 w 504"/>
                <a:gd name="T15" fmla="*/ 32 h 468"/>
                <a:gd name="T16" fmla="*/ 6 w 504"/>
                <a:gd name="T17" fmla="*/ 26 h 468"/>
                <a:gd name="T18" fmla="*/ 3 w 504"/>
                <a:gd name="T19" fmla="*/ 24 h 468"/>
                <a:gd name="T20" fmla="*/ 1 w 504"/>
                <a:gd name="T21" fmla="*/ 24 h 468"/>
                <a:gd name="T22" fmla="*/ 2 w 504"/>
                <a:gd name="T23" fmla="*/ 18 h 468"/>
                <a:gd name="T24" fmla="*/ 1 w 504"/>
                <a:gd name="T25" fmla="*/ 17 h 468"/>
                <a:gd name="T26" fmla="*/ 0 w 504"/>
                <a:gd name="T27" fmla="*/ 17 h 468"/>
                <a:gd name="T28" fmla="*/ 0 w 504"/>
                <a:gd name="T29" fmla="*/ 15 h 468"/>
                <a:gd name="T30" fmla="*/ 2 w 504"/>
                <a:gd name="T31" fmla="*/ 12 h 468"/>
                <a:gd name="T32" fmla="*/ 4 w 504"/>
                <a:gd name="T33" fmla="*/ 10 h 468"/>
                <a:gd name="T34" fmla="*/ 6 w 504"/>
                <a:gd name="T35" fmla="*/ 8 h 468"/>
                <a:gd name="T36" fmla="*/ 8 w 504"/>
                <a:gd name="T37" fmla="*/ 8 h 468"/>
                <a:gd name="T38" fmla="*/ 10 w 504"/>
                <a:gd name="T39" fmla="*/ 9 h 468"/>
                <a:gd name="T40" fmla="*/ 12 w 504"/>
                <a:gd name="T41" fmla="*/ 10 h 468"/>
                <a:gd name="T42" fmla="*/ 12 w 504"/>
                <a:gd name="T43" fmla="*/ 11 h 468"/>
                <a:gd name="T44" fmla="*/ 14 w 504"/>
                <a:gd name="T45" fmla="*/ 8 h 468"/>
                <a:gd name="T46" fmla="*/ 15 w 504"/>
                <a:gd name="T47" fmla="*/ 7 h 468"/>
                <a:gd name="T48" fmla="*/ 17 w 504"/>
                <a:gd name="T49" fmla="*/ 6 h 468"/>
                <a:gd name="T50" fmla="*/ 19 w 504"/>
                <a:gd name="T51" fmla="*/ 3 h 468"/>
                <a:gd name="T52" fmla="*/ 20 w 504"/>
                <a:gd name="T53" fmla="*/ 2 h 468"/>
                <a:gd name="T54" fmla="*/ 22 w 504"/>
                <a:gd name="T55" fmla="*/ 1 h 468"/>
                <a:gd name="T56" fmla="*/ 27 w 504"/>
                <a:gd name="T57" fmla="*/ 1 h 468"/>
                <a:gd name="T58" fmla="*/ 30 w 504"/>
                <a:gd name="T59" fmla="*/ 2 h 468"/>
                <a:gd name="T60" fmla="*/ 31 w 504"/>
                <a:gd name="T61" fmla="*/ 2 h 468"/>
                <a:gd name="T62" fmla="*/ 34 w 504"/>
                <a:gd name="T63" fmla="*/ 0 h 468"/>
                <a:gd name="T64" fmla="*/ 37 w 504"/>
                <a:gd name="T65" fmla="*/ 1 h 468"/>
                <a:gd name="T66" fmla="*/ 41 w 504"/>
                <a:gd name="T67" fmla="*/ 2 h 468"/>
                <a:gd name="T68" fmla="*/ 42 w 504"/>
                <a:gd name="T69" fmla="*/ 4 h 468"/>
                <a:gd name="T70" fmla="*/ 42 w 504"/>
                <a:gd name="T71" fmla="*/ 10 h 468"/>
                <a:gd name="T72" fmla="*/ 41 w 504"/>
                <a:gd name="T73" fmla="*/ 14 h 468"/>
                <a:gd name="T74" fmla="*/ 42 w 504"/>
                <a:gd name="T75" fmla="*/ 15 h 468"/>
                <a:gd name="T76" fmla="*/ 44 w 504"/>
                <a:gd name="T77" fmla="*/ 18 h 468"/>
                <a:gd name="T78" fmla="*/ 43 w 504"/>
                <a:gd name="T79" fmla="*/ 19 h 468"/>
                <a:gd name="T80" fmla="*/ 42 w 504"/>
                <a:gd name="T81" fmla="*/ 21 h 468"/>
                <a:gd name="T82" fmla="*/ 42 w 504"/>
                <a:gd name="T83" fmla="*/ 23 h 468"/>
                <a:gd name="T84" fmla="*/ 39 w 504"/>
                <a:gd name="T85" fmla="*/ 27 h 468"/>
                <a:gd name="T86" fmla="*/ 38 w 504"/>
                <a:gd name="T87" fmla="*/ 29 h 468"/>
                <a:gd name="T88" fmla="*/ 38 w 504"/>
                <a:gd name="T89" fmla="*/ 31 h 468"/>
                <a:gd name="T90" fmla="*/ 36 w 504"/>
                <a:gd name="T91" fmla="*/ 32 h 468"/>
                <a:gd name="T92" fmla="*/ 35 w 504"/>
                <a:gd name="T93" fmla="*/ 34 h 468"/>
                <a:gd name="T94" fmla="*/ 34 w 504"/>
                <a:gd name="T95" fmla="*/ 38 h 46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04"/>
                <a:gd name="T145" fmla="*/ 0 h 468"/>
                <a:gd name="T146" fmla="*/ 504 w 504"/>
                <a:gd name="T147" fmla="*/ 468 h 46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04" h="468">
                  <a:moveTo>
                    <a:pt x="390" y="456"/>
                  </a:moveTo>
                  <a:lnTo>
                    <a:pt x="384" y="468"/>
                  </a:lnTo>
                  <a:lnTo>
                    <a:pt x="378" y="468"/>
                  </a:lnTo>
                  <a:lnTo>
                    <a:pt x="354" y="468"/>
                  </a:lnTo>
                  <a:lnTo>
                    <a:pt x="348" y="462"/>
                  </a:lnTo>
                  <a:lnTo>
                    <a:pt x="300" y="456"/>
                  </a:lnTo>
                  <a:lnTo>
                    <a:pt x="270" y="444"/>
                  </a:lnTo>
                  <a:lnTo>
                    <a:pt x="252" y="438"/>
                  </a:lnTo>
                  <a:lnTo>
                    <a:pt x="240" y="438"/>
                  </a:lnTo>
                  <a:lnTo>
                    <a:pt x="234" y="438"/>
                  </a:lnTo>
                  <a:lnTo>
                    <a:pt x="228" y="444"/>
                  </a:lnTo>
                  <a:lnTo>
                    <a:pt x="210" y="444"/>
                  </a:lnTo>
                  <a:lnTo>
                    <a:pt x="198" y="444"/>
                  </a:lnTo>
                  <a:lnTo>
                    <a:pt x="198" y="450"/>
                  </a:lnTo>
                  <a:lnTo>
                    <a:pt x="168" y="456"/>
                  </a:lnTo>
                  <a:lnTo>
                    <a:pt x="150" y="450"/>
                  </a:lnTo>
                  <a:lnTo>
                    <a:pt x="144" y="444"/>
                  </a:lnTo>
                  <a:lnTo>
                    <a:pt x="132" y="438"/>
                  </a:lnTo>
                  <a:lnTo>
                    <a:pt x="138" y="432"/>
                  </a:lnTo>
                  <a:lnTo>
                    <a:pt x="114" y="432"/>
                  </a:lnTo>
                  <a:lnTo>
                    <a:pt x="102" y="426"/>
                  </a:lnTo>
                  <a:lnTo>
                    <a:pt x="90" y="414"/>
                  </a:lnTo>
                  <a:lnTo>
                    <a:pt x="72" y="402"/>
                  </a:lnTo>
                  <a:lnTo>
                    <a:pt x="78" y="366"/>
                  </a:lnTo>
                  <a:lnTo>
                    <a:pt x="78" y="330"/>
                  </a:lnTo>
                  <a:lnTo>
                    <a:pt x="66" y="318"/>
                  </a:lnTo>
                  <a:lnTo>
                    <a:pt x="66" y="300"/>
                  </a:lnTo>
                  <a:lnTo>
                    <a:pt x="66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30" y="282"/>
                  </a:lnTo>
                  <a:lnTo>
                    <a:pt x="24" y="282"/>
                  </a:lnTo>
                  <a:lnTo>
                    <a:pt x="12" y="276"/>
                  </a:lnTo>
                  <a:lnTo>
                    <a:pt x="0" y="282"/>
                  </a:lnTo>
                  <a:lnTo>
                    <a:pt x="12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2" y="198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6" y="180"/>
                  </a:lnTo>
                  <a:lnTo>
                    <a:pt x="12" y="186"/>
                  </a:lnTo>
                  <a:lnTo>
                    <a:pt x="18" y="138"/>
                  </a:lnTo>
                  <a:lnTo>
                    <a:pt x="24" y="126"/>
                  </a:lnTo>
                  <a:lnTo>
                    <a:pt x="30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20" y="102"/>
                  </a:lnTo>
                  <a:lnTo>
                    <a:pt x="126" y="108"/>
                  </a:lnTo>
                  <a:lnTo>
                    <a:pt x="126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0"/>
                  </a:lnTo>
                  <a:lnTo>
                    <a:pt x="156" y="96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16" y="42"/>
                  </a:lnTo>
                  <a:lnTo>
                    <a:pt x="222" y="36"/>
                  </a:lnTo>
                  <a:lnTo>
                    <a:pt x="228" y="36"/>
                  </a:lnTo>
                  <a:lnTo>
                    <a:pt x="228" y="30"/>
                  </a:lnTo>
                  <a:lnTo>
                    <a:pt x="228" y="24"/>
                  </a:lnTo>
                  <a:lnTo>
                    <a:pt x="246" y="18"/>
                  </a:lnTo>
                  <a:lnTo>
                    <a:pt x="252" y="18"/>
                  </a:lnTo>
                  <a:lnTo>
                    <a:pt x="258" y="12"/>
                  </a:lnTo>
                  <a:lnTo>
                    <a:pt x="270" y="6"/>
                  </a:lnTo>
                  <a:lnTo>
                    <a:pt x="288" y="6"/>
                  </a:lnTo>
                  <a:lnTo>
                    <a:pt x="312" y="12"/>
                  </a:lnTo>
                  <a:lnTo>
                    <a:pt x="324" y="12"/>
                  </a:lnTo>
                  <a:lnTo>
                    <a:pt x="336" y="18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14" y="12"/>
                  </a:lnTo>
                  <a:lnTo>
                    <a:pt x="426" y="12"/>
                  </a:lnTo>
                  <a:lnTo>
                    <a:pt x="444" y="18"/>
                  </a:lnTo>
                  <a:lnTo>
                    <a:pt x="462" y="18"/>
                  </a:lnTo>
                  <a:lnTo>
                    <a:pt x="474" y="18"/>
                  </a:lnTo>
                  <a:lnTo>
                    <a:pt x="480" y="18"/>
                  </a:lnTo>
                  <a:lnTo>
                    <a:pt x="486" y="36"/>
                  </a:lnTo>
                  <a:lnTo>
                    <a:pt x="480" y="42"/>
                  </a:lnTo>
                  <a:lnTo>
                    <a:pt x="480" y="54"/>
                  </a:lnTo>
                  <a:lnTo>
                    <a:pt x="486" y="78"/>
                  </a:lnTo>
                  <a:lnTo>
                    <a:pt x="486" y="114"/>
                  </a:lnTo>
                  <a:lnTo>
                    <a:pt x="486" y="150"/>
                  </a:lnTo>
                  <a:lnTo>
                    <a:pt x="468" y="150"/>
                  </a:lnTo>
                  <a:lnTo>
                    <a:pt x="474" y="162"/>
                  </a:lnTo>
                  <a:lnTo>
                    <a:pt x="480" y="162"/>
                  </a:lnTo>
                  <a:lnTo>
                    <a:pt x="486" y="174"/>
                  </a:lnTo>
                  <a:lnTo>
                    <a:pt x="492" y="174"/>
                  </a:lnTo>
                  <a:lnTo>
                    <a:pt x="492" y="192"/>
                  </a:lnTo>
                  <a:lnTo>
                    <a:pt x="498" y="198"/>
                  </a:lnTo>
                  <a:lnTo>
                    <a:pt x="504" y="204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8" y="222"/>
                  </a:lnTo>
                  <a:lnTo>
                    <a:pt x="492" y="228"/>
                  </a:lnTo>
                  <a:lnTo>
                    <a:pt x="492" y="234"/>
                  </a:lnTo>
                  <a:lnTo>
                    <a:pt x="492" y="240"/>
                  </a:lnTo>
                  <a:lnTo>
                    <a:pt x="486" y="246"/>
                  </a:lnTo>
                  <a:lnTo>
                    <a:pt x="486" y="258"/>
                  </a:lnTo>
                  <a:lnTo>
                    <a:pt x="480" y="264"/>
                  </a:lnTo>
                  <a:lnTo>
                    <a:pt x="474" y="276"/>
                  </a:lnTo>
                  <a:lnTo>
                    <a:pt x="468" y="288"/>
                  </a:lnTo>
                  <a:lnTo>
                    <a:pt x="456" y="306"/>
                  </a:lnTo>
                  <a:lnTo>
                    <a:pt x="456" y="312"/>
                  </a:lnTo>
                  <a:lnTo>
                    <a:pt x="444" y="318"/>
                  </a:lnTo>
                  <a:lnTo>
                    <a:pt x="432" y="336"/>
                  </a:lnTo>
                  <a:lnTo>
                    <a:pt x="432" y="342"/>
                  </a:lnTo>
                  <a:lnTo>
                    <a:pt x="432" y="348"/>
                  </a:lnTo>
                  <a:lnTo>
                    <a:pt x="432" y="354"/>
                  </a:lnTo>
                  <a:lnTo>
                    <a:pt x="426" y="366"/>
                  </a:lnTo>
                  <a:lnTo>
                    <a:pt x="420" y="366"/>
                  </a:lnTo>
                  <a:lnTo>
                    <a:pt x="420" y="372"/>
                  </a:lnTo>
                  <a:lnTo>
                    <a:pt x="414" y="378"/>
                  </a:lnTo>
                  <a:lnTo>
                    <a:pt x="414" y="390"/>
                  </a:lnTo>
                  <a:lnTo>
                    <a:pt x="408" y="390"/>
                  </a:lnTo>
                  <a:lnTo>
                    <a:pt x="408" y="402"/>
                  </a:lnTo>
                  <a:lnTo>
                    <a:pt x="402" y="414"/>
                  </a:lnTo>
                  <a:lnTo>
                    <a:pt x="396" y="438"/>
                  </a:lnTo>
                  <a:lnTo>
                    <a:pt x="396" y="444"/>
                  </a:lnTo>
                  <a:lnTo>
                    <a:pt x="390" y="45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11" name="Freeform 7">
              <a:extLst>
                <a:ext uri="{FF2B5EF4-FFF2-40B4-BE49-F238E27FC236}">
                  <a16:creationId xmlns:a16="http://schemas.microsoft.com/office/drawing/2014/main" id="{0D8DE62D-4554-4314-9F3A-7208D89B4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90838" y="4128134"/>
              <a:ext cx="283995" cy="411516"/>
            </a:xfrm>
            <a:custGeom>
              <a:avLst/>
              <a:gdLst>
                <a:gd name="T0" fmla="*/ 39 w 534"/>
                <a:gd name="T1" fmla="*/ 35 h 774"/>
                <a:gd name="T2" fmla="*/ 35 w 534"/>
                <a:gd name="T3" fmla="*/ 31 h 774"/>
                <a:gd name="T4" fmla="*/ 32 w 534"/>
                <a:gd name="T5" fmla="*/ 29 h 774"/>
                <a:gd name="T6" fmla="*/ 32 w 534"/>
                <a:gd name="T7" fmla="*/ 31 h 774"/>
                <a:gd name="T8" fmla="*/ 29 w 534"/>
                <a:gd name="T9" fmla="*/ 33 h 774"/>
                <a:gd name="T10" fmla="*/ 27 w 534"/>
                <a:gd name="T11" fmla="*/ 36 h 774"/>
                <a:gd name="T12" fmla="*/ 30 w 534"/>
                <a:gd name="T13" fmla="*/ 38 h 774"/>
                <a:gd name="T14" fmla="*/ 29 w 534"/>
                <a:gd name="T15" fmla="*/ 40 h 774"/>
                <a:gd name="T16" fmla="*/ 25 w 534"/>
                <a:gd name="T17" fmla="*/ 40 h 774"/>
                <a:gd name="T18" fmla="*/ 23 w 534"/>
                <a:gd name="T19" fmla="*/ 42 h 774"/>
                <a:gd name="T20" fmla="*/ 22 w 534"/>
                <a:gd name="T21" fmla="*/ 47 h 774"/>
                <a:gd name="T22" fmla="*/ 22 w 534"/>
                <a:gd name="T23" fmla="*/ 51 h 774"/>
                <a:gd name="T24" fmla="*/ 22 w 534"/>
                <a:gd name="T25" fmla="*/ 54 h 774"/>
                <a:gd name="T26" fmla="*/ 21 w 534"/>
                <a:gd name="T27" fmla="*/ 56 h 774"/>
                <a:gd name="T28" fmla="*/ 19 w 534"/>
                <a:gd name="T29" fmla="*/ 58 h 774"/>
                <a:gd name="T30" fmla="*/ 20 w 534"/>
                <a:gd name="T31" fmla="*/ 59 h 774"/>
                <a:gd name="T32" fmla="*/ 19 w 534"/>
                <a:gd name="T33" fmla="*/ 62 h 774"/>
                <a:gd name="T34" fmla="*/ 19 w 534"/>
                <a:gd name="T35" fmla="*/ 64 h 774"/>
                <a:gd name="T36" fmla="*/ 20 w 534"/>
                <a:gd name="T37" fmla="*/ 66 h 774"/>
                <a:gd name="T38" fmla="*/ 17 w 534"/>
                <a:gd name="T39" fmla="*/ 66 h 774"/>
                <a:gd name="T40" fmla="*/ 16 w 534"/>
                <a:gd name="T41" fmla="*/ 65 h 774"/>
                <a:gd name="T42" fmla="*/ 13 w 534"/>
                <a:gd name="T43" fmla="*/ 65 h 774"/>
                <a:gd name="T44" fmla="*/ 11 w 534"/>
                <a:gd name="T45" fmla="*/ 65 h 774"/>
                <a:gd name="T46" fmla="*/ 8 w 534"/>
                <a:gd name="T47" fmla="*/ 65 h 774"/>
                <a:gd name="T48" fmla="*/ 8 w 534"/>
                <a:gd name="T49" fmla="*/ 64 h 774"/>
                <a:gd name="T50" fmla="*/ 5 w 534"/>
                <a:gd name="T51" fmla="*/ 65 h 774"/>
                <a:gd name="T52" fmla="*/ 3 w 534"/>
                <a:gd name="T53" fmla="*/ 65 h 774"/>
                <a:gd name="T54" fmla="*/ 0 w 534"/>
                <a:gd name="T55" fmla="*/ 64 h 774"/>
                <a:gd name="T56" fmla="*/ 0 w 534"/>
                <a:gd name="T57" fmla="*/ 62 h 774"/>
                <a:gd name="T58" fmla="*/ 3 w 534"/>
                <a:gd name="T59" fmla="*/ 60 h 774"/>
                <a:gd name="T60" fmla="*/ 6 w 534"/>
                <a:gd name="T61" fmla="*/ 57 h 774"/>
                <a:gd name="T62" fmla="*/ 8 w 534"/>
                <a:gd name="T63" fmla="*/ 50 h 774"/>
                <a:gd name="T64" fmla="*/ 6 w 534"/>
                <a:gd name="T65" fmla="*/ 45 h 774"/>
                <a:gd name="T66" fmla="*/ 8 w 534"/>
                <a:gd name="T67" fmla="*/ 41 h 774"/>
                <a:gd name="T68" fmla="*/ 9 w 534"/>
                <a:gd name="T69" fmla="*/ 38 h 774"/>
                <a:gd name="T70" fmla="*/ 10 w 534"/>
                <a:gd name="T71" fmla="*/ 36 h 774"/>
                <a:gd name="T72" fmla="*/ 12 w 534"/>
                <a:gd name="T73" fmla="*/ 33 h 774"/>
                <a:gd name="T74" fmla="*/ 14 w 534"/>
                <a:gd name="T75" fmla="*/ 29 h 774"/>
                <a:gd name="T76" fmla="*/ 16 w 534"/>
                <a:gd name="T77" fmla="*/ 26 h 774"/>
                <a:gd name="T78" fmla="*/ 16 w 534"/>
                <a:gd name="T79" fmla="*/ 24 h 774"/>
                <a:gd name="T80" fmla="*/ 16 w 534"/>
                <a:gd name="T81" fmla="*/ 21 h 774"/>
                <a:gd name="T82" fmla="*/ 13 w 534"/>
                <a:gd name="T83" fmla="*/ 19 h 774"/>
                <a:gd name="T84" fmla="*/ 14 w 534"/>
                <a:gd name="T85" fmla="*/ 10 h 774"/>
                <a:gd name="T86" fmla="*/ 14 w 534"/>
                <a:gd name="T87" fmla="*/ 7 h 774"/>
                <a:gd name="T88" fmla="*/ 8 w 534"/>
                <a:gd name="T89" fmla="*/ 7 h 774"/>
                <a:gd name="T90" fmla="*/ 7 w 534"/>
                <a:gd name="T91" fmla="*/ 3 h 774"/>
                <a:gd name="T92" fmla="*/ 11 w 534"/>
                <a:gd name="T93" fmla="*/ 1 h 774"/>
                <a:gd name="T94" fmla="*/ 12 w 534"/>
                <a:gd name="T95" fmla="*/ 0 h 774"/>
                <a:gd name="T96" fmla="*/ 16 w 534"/>
                <a:gd name="T97" fmla="*/ 2 h 774"/>
                <a:gd name="T98" fmla="*/ 20 w 534"/>
                <a:gd name="T99" fmla="*/ 2 h 774"/>
                <a:gd name="T100" fmla="*/ 23 w 534"/>
                <a:gd name="T101" fmla="*/ 3 h 774"/>
                <a:gd name="T102" fmla="*/ 23 w 534"/>
                <a:gd name="T103" fmla="*/ 10 h 774"/>
                <a:gd name="T104" fmla="*/ 29 w 534"/>
                <a:gd name="T105" fmla="*/ 12 h 774"/>
                <a:gd name="T106" fmla="*/ 35 w 534"/>
                <a:gd name="T107" fmla="*/ 12 h 774"/>
                <a:gd name="T108" fmla="*/ 38 w 534"/>
                <a:gd name="T109" fmla="*/ 17 h 774"/>
                <a:gd name="T110" fmla="*/ 40 w 534"/>
                <a:gd name="T111" fmla="*/ 19 h 774"/>
                <a:gd name="T112" fmla="*/ 44 w 534"/>
                <a:gd name="T113" fmla="*/ 23 h 774"/>
                <a:gd name="T114" fmla="*/ 44 w 534"/>
                <a:gd name="T115" fmla="*/ 30 h 774"/>
                <a:gd name="T116" fmla="*/ 46 w 534"/>
                <a:gd name="T117" fmla="*/ 36 h 774"/>
                <a:gd name="T118" fmla="*/ 41 w 534"/>
                <a:gd name="T119" fmla="*/ 37 h 77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34"/>
                <a:gd name="T181" fmla="*/ 0 h 774"/>
                <a:gd name="T182" fmla="*/ 534 w 534"/>
                <a:gd name="T183" fmla="*/ 774 h 77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34" h="774">
                  <a:moveTo>
                    <a:pt x="462" y="426"/>
                  </a:moveTo>
                  <a:lnTo>
                    <a:pt x="462" y="414"/>
                  </a:lnTo>
                  <a:lnTo>
                    <a:pt x="450" y="402"/>
                  </a:lnTo>
                  <a:lnTo>
                    <a:pt x="444" y="396"/>
                  </a:lnTo>
                  <a:lnTo>
                    <a:pt x="420" y="396"/>
                  </a:lnTo>
                  <a:lnTo>
                    <a:pt x="408" y="390"/>
                  </a:lnTo>
                  <a:lnTo>
                    <a:pt x="402" y="366"/>
                  </a:lnTo>
                  <a:lnTo>
                    <a:pt x="390" y="354"/>
                  </a:lnTo>
                  <a:lnTo>
                    <a:pt x="384" y="336"/>
                  </a:lnTo>
                  <a:lnTo>
                    <a:pt x="378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8" y="348"/>
                  </a:lnTo>
                  <a:lnTo>
                    <a:pt x="360" y="354"/>
                  </a:lnTo>
                  <a:lnTo>
                    <a:pt x="360" y="390"/>
                  </a:lnTo>
                  <a:lnTo>
                    <a:pt x="348" y="390"/>
                  </a:lnTo>
                  <a:lnTo>
                    <a:pt x="342" y="384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90"/>
                  </a:lnTo>
                  <a:lnTo>
                    <a:pt x="312" y="402"/>
                  </a:lnTo>
                  <a:lnTo>
                    <a:pt x="306" y="420"/>
                  </a:lnTo>
                  <a:lnTo>
                    <a:pt x="324" y="414"/>
                  </a:lnTo>
                  <a:lnTo>
                    <a:pt x="330" y="414"/>
                  </a:lnTo>
                  <a:lnTo>
                    <a:pt x="336" y="420"/>
                  </a:lnTo>
                  <a:lnTo>
                    <a:pt x="336" y="432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6"/>
                  </a:lnTo>
                  <a:lnTo>
                    <a:pt x="318" y="456"/>
                  </a:lnTo>
                  <a:lnTo>
                    <a:pt x="300" y="456"/>
                  </a:lnTo>
                  <a:lnTo>
                    <a:pt x="288" y="462"/>
                  </a:lnTo>
                  <a:lnTo>
                    <a:pt x="276" y="462"/>
                  </a:lnTo>
                  <a:lnTo>
                    <a:pt x="270" y="462"/>
                  </a:lnTo>
                  <a:lnTo>
                    <a:pt x="270" y="468"/>
                  </a:lnTo>
                  <a:lnTo>
                    <a:pt x="252" y="468"/>
                  </a:lnTo>
                  <a:lnTo>
                    <a:pt x="258" y="480"/>
                  </a:lnTo>
                  <a:lnTo>
                    <a:pt x="258" y="492"/>
                  </a:lnTo>
                  <a:lnTo>
                    <a:pt x="258" y="498"/>
                  </a:lnTo>
                  <a:lnTo>
                    <a:pt x="258" y="510"/>
                  </a:lnTo>
                  <a:lnTo>
                    <a:pt x="252" y="540"/>
                  </a:lnTo>
                  <a:lnTo>
                    <a:pt x="246" y="564"/>
                  </a:lnTo>
                  <a:lnTo>
                    <a:pt x="246" y="570"/>
                  </a:lnTo>
                  <a:lnTo>
                    <a:pt x="252" y="576"/>
                  </a:lnTo>
                  <a:lnTo>
                    <a:pt x="246" y="582"/>
                  </a:lnTo>
                  <a:lnTo>
                    <a:pt x="252" y="600"/>
                  </a:lnTo>
                  <a:lnTo>
                    <a:pt x="258" y="606"/>
                  </a:lnTo>
                  <a:lnTo>
                    <a:pt x="258" y="612"/>
                  </a:lnTo>
                  <a:lnTo>
                    <a:pt x="252" y="618"/>
                  </a:lnTo>
                  <a:lnTo>
                    <a:pt x="246" y="624"/>
                  </a:lnTo>
                  <a:lnTo>
                    <a:pt x="246" y="630"/>
                  </a:lnTo>
                  <a:lnTo>
                    <a:pt x="246" y="636"/>
                  </a:lnTo>
                  <a:lnTo>
                    <a:pt x="240" y="642"/>
                  </a:lnTo>
                  <a:lnTo>
                    <a:pt x="234" y="654"/>
                  </a:lnTo>
                  <a:lnTo>
                    <a:pt x="228" y="654"/>
                  </a:lnTo>
                  <a:lnTo>
                    <a:pt x="222" y="660"/>
                  </a:lnTo>
                  <a:lnTo>
                    <a:pt x="216" y="666"/>
                  </a:lnTo>
                  <a:lnTo>
                    <a:pt x="210" y="666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22" y="684"/>
                  </a:lnTo>
                  <a:lnTo>
                    <a:pt x="222" y="690"/>
                  </a:lnTo>
                  <a:lnTo>
                    <a:pt x="222" y="696"/>
                  </a:lnTo>
                  <a:lnTo>
                    <a:pt x="222" y="702"/>
                  </a:lnTo>
                  <a:lnTo>
                    <a:pt x="216" y="708"/>
                  </a:lnTo>
                  <a:lnTo>
                    <a:pt x="210" y="720"/>
                  </a:lnTo>
                  <a:lnTo>
                    <a:pt x="216" y="732"/>
                  </a:lnTo>
                  <a:lnTo>
                    <a:pt x="210" y="732"/>
                  </a:lnTo>
                  <a:lnTo>
                    <a:pt x="216" y="738"/>
                  </a:lnTo>
                  <a:lnTo>
                    <a:pt x="216" y="744"/>
                  </a:lnTo>
                  <a:lnTo>
                    <a:pt x="222" y="750"/>
                  </a:lnTo>
                  <a:lnTo>
                    <a:pt x="228" y="756"/>
                  </a:lnTo>
                  <a:lnTo>
                    <a:pt x="222" y="762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04" y="762"/>
                  </a:lnTo>
                  <a:lnTo>
                    <a:pt x="198" y="762"/>
                  </a:lnTo>
                  <a:lnTo>
                    <a:pt x="192" y="762"/>
                  </a:lnTo>
                  <a:lnTo>
                    <a:pt x="186" y="756"/>
                  </a:lnTo>
                  <a:lnTo>
                    <a:pt x="180" y="750"/>
                  </a:lnTo>
                  <a:lnTo>
                    <a:pt x="180" y="744"/>
                  </a:lnTo>
                  <a:lnTo>
                    <a:pt x="174" y="744"/>
                  </a:lnTo>
                  <a:lnTo>
                    <a:pt x="156" y="750"/>
                  </a:lnTo>
                  <a:lnTo>
                    <a:pt x="150" y="750"/>
                  </a:lnTo>
                  <a:lnTo>
                    <a:pt x="144" y="750"/>
                  </a:lnTo>
                  <a:lnTo>
                    <a:pt x="138" y="750"/>
                  </a:lnTo>
                  <a:lnTo>
                    <a:pt x="138" y="744"/>
                  </a:lnTo>
                  <a:lnTo>
                    <a:pt x="132" y="744"/>
                  </a:lnTo>
                  <a:lnTo>
                    <a:pt x="120" y="744"/>
                  </a:lnTo>
                  <a:lnTo>
                    <a:pt x="114" y="738"/>
                  </a:lnTo>
                  <a:lnTo>
                    <a:pt x="108" y="744"/>
                  </a:lnTo>
                  <a:lnTo>
                    <a:pt x="102" y="744"/>
                  </a:lnTo>
                  <a:lnTo>
                    <a:pt x="96" y="744"/>
                  </a:lnTo>
                  <a:lnTo>
                    <a:pt x="96" y="738"/>
                  </a:lnTo>
                  <a:lnTo>
                    <a:pt x="96" y="744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44"/>
                  </a:lnTo>
                  <a:lnTo>
                    <a:pt x="72" y="750"/>
                  </a:lnTo>
                  <a:lnTo>
                    <a:pt x="66" y="750"/>
                  </a:lnTo>
                  <a:lnTo>
                    <a:pt x="60" y="750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0"/>
                  </a:lnTo>
                  <a:lnTo>
                    <a:pt x="30" y="750"/>
                  </a:lnTo>
                  <a:lnTo>
                    <a:pt x="24" y="744"/>
                  </a:lnTo>
                  <a:lnTo>
                    <a:pt x="18" y="738"/>
                  </a:lnTo>
                  <a:lnTo>
                    <a:pt x="6" y="738"/>
                  </a:lnTo>
                  <a:lnTo>
                    <a:pt x="0" y="732"/>
                  </a:lnTo>
                  <a:lnTo>
                    <a:pt x="0" y="726"/>
                  </a:lnTo>
                  <a:lnTo>
                    <a:pt x="0" y="720"/>
                  </a:lnTo>
                  <a:lnTo>
                    <a:pt x="6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8" y="702"/>
                  </a:lnTo>
                  <a:lnTo>
                    <a:pt x="24" y="696"/>
                  </a:lnTo>
                  <a:lnTo>
                    <a:pt x="30" y="696"/>
                  </a:lnTo>
                  <a:lnTo>
                    <a:pt x="48" y="690"/>
                  </a:lnTo>
                  <a:lnTo>
                    <a:pt x="54" y="678"/>
                  </a:lnTo>
                  <a:lnTo>
                    <a:pt x="66" y="672"/>
                  </a:lnTo>
                  <a:lnTo>
                    <a:pt x="66" y="654"/>
                  </a:lnTo>
                  <a:lnTo>
                    <a:pt x="72" y="636"/>
                  </a:lnTo>
                  <a:lnTo>
                    <a:pt x="72" y="612"/>
                  </a:lnTo>
                  <a:lnTo>
                    <a:pt x="84" y="594"/>
                  </a:lnTo>
                  <a:lnTo>
                    <a:pt x="90" y="576"/>
                  </a:lnTo>
                  <a:lnTo>
                    <a:pt x="96" y="552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72" y="522"/>
                  </a:lnTo>
                  <a:lnTo>
                    <a:pt x="78" y="510"/>
                  </a:lnTo>
                  <a:lnTo>
                    <a:pt x="78" y="504"/>
                  </a:lnTo>
                  <a:lnTo>
                    <a:pt x="84" y="480"/>
                  </a:lnTo>
                  <a:lnTo>
                    <a:pt x="90" y="468"/>
                  </a:lnTo>
                  <a:lnTo>
                    <a:pt x="90" y="456"/>
                  </a:lnTo>
                  <a:lnTo>
                    <a:pt x="96" y="456"/>
                  </a:lnTo>
                  <a:lnTo>
                    <a:pt x="96" y="444"/>
                  </a:lnTo>
                  <a:lnTo>
                    <a:pt x="102" y="438"/>
                  </a:lnTo>
                  <a:lnTo>
                    <a:pt x="102" y="432"/>
                  </a:lnTo>
                  <a:lnTo>
                    <a:pt x="108" y="432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14" y="408"/>
                  </a:lnTo>
                  <a:lnTo>
                    <a:pt x="114" y="402"/>
                  </a:lnTo>
                  <a:lnTo>
                    <a:pt x="126" y="384"/>
                  </a:lnTo>
                  <a:lnTo>
                    <a:pt x="138" y="378"/>
                  </a:lnTo>
                  <a:lnTo>
                    <a:pt x="138" y="372"/>
                  </a:lnTo>
                  <a:lnTo>
                    <a:pt x="150" y="354"/>
                  </a:lnTo>
                  <a:lnTo>
                    <a:pt x="156" y="342"/>
                  </a:lnTo>
                  <a:lnTo>
                    <a:pt x="162" y="330"/>
                  </a:lnTo>
                  <a:lnTo>
                    <a:pt x="168" y="324"/>
                  </a:lnTo>
                  <a:lnTo>
                    <a:pt x="168" y="312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74" y="294"/>
                  </a:lnTo>
                  <a:lnTo>
                    <a:pt x="180" y="288"/>
                  </a:lnTo>
                  <a:lnTo>
                    <a:pt x="180" y="276"/>
                  </a:lnTo>
                  <a:lnTo>
                    <a:pt x="186" y="276"/>
                  </a:lnTo>
                  <a:lnTo>
                    <a:pt x="186" y="270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40"/>
                  </a:lnTo>
                  <a:lnTo>
                    <a:pt x="168" y="240"/>
                  </a:lnTo>
                  <a:lnTo>
                    <a:pt x="162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68" y="216"/>
                  </a:lnTo>
                  <a:lnTo>
                    <a:pt x="168" y="180"/>
                  </a:lnTo>
                  <a:lnTo>
                    <a:pt x="168" y="144"/>
                  </a:lnTo>
                  <a:lnTo>
                    <a:pt x="162" y="120"/>
                  </a:lnTo>
                  <a:lnTo>
                    <a:pt x="162" y="108"/>
                  </a:lnTo>
                  <a:lnTo>
                    <a:pt x="168" y="102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44" y="84"/>
                  </a:lnTo>
                  <a:lnTo>
                    <a:pt x="126" y="84"/>
                  </a:lnTo>
                  <a:lnTo>
                    <a:pt x="108" y="78"/>
                  </a:lnTo>
                  <a:lnTo>
                    <a:pt x="96" y="78"/>
                  </a:lnTo>
                  <a:lnTo>
                    <a:pt x="78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8" y="36"/>
                  </a:lnTo>
                  <a:lnTo>
                    <a:pt x="96" y="24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56" y="0"/>
                  </a:lnTo>
                  <a:lnTo>
                    <a:pt x="156" y="6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18"/>
                  </a:lnTo>
                  <a:lnTo>
                    <a:pt x="198" y="18"/>
                  </a:lnTo>
                  <a:lnTo>
                    <a:pt x="210" y="18"/>
                  </a:lnTo>
                  <a:lnTo>
                    <a:pt x="222" y="18"/>
                  </a:lnTo>
                  <a:lnTo>
                    <a:pt x="234" y="12"/>
                  </a:lnTo>
                  <a:lnTo>
                    <a:pt x="252" y="18"/>
                  </a:lnTo>
                  <a:lnTo>
                    <a:pt x="252" y="24"/>
                  </a:lnTo>
                  <a:lnTo>
                    <a:pt x="258" y="36"/>
                  </a:lnTo>
                  <a:lnTo>
                    <a:pt x="258" y="66"/>
                  </a:lnTo>
                  <a:lnTo>
                    <a:pt x="252" y="84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82" y="126"/>
                  </a:lnTo>
                  <a:lnTo>
                    <a:pt x="294" y="132"/>
                  </a:lnTo>
                  <a:lnTo>
                    <a:pt x="306" y="138"/>
                  </a:lnTo>
                  <a:lnTo>
                    <a:pt x="324" y="138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60" y="144"/>
                  </a:lnTo>
                  <a:lnTo>
                    <a:pt x="396" y="144"/>
                  </a:lnTo>
                  <a:lnTo>
                    <a:pt x="408" y="150"/>
                  </a:lnTo>
                  <a:lnTo>
                    <a:pt x="414" y="180"/>
                  </a:lnTo>
                  <a:lnTo>
                    <a:pt x="420" y="186"/>
                  </a:lnTo>
                  <a:lnTo>
                    <a:pt x="426" y="192"/>
                  </a:lnTo>
                  <a:lnTo>
                    <a:pt x="426" y="198"/>
                  </a:lnTo>
                  <a:lnTo>
                    <a:pt x="432" y="198"/>
                  </a:lnTo>
                  <a:lnTo>
                    <a:pt x="438" y="210"/>
                  </a:lnTo>
                  <a:lnTo>
                    <a:pt x="450" y="216"/>
                  </a:lnTo>
                  <a:lnTo>
                    <a:pt x="468" y="228"/>
                  </a:lnTo>
                  <a:lnTo>
                    <a:pt x="492" y="234"/>
                  </a:lnTo>
                  <a:lnTo>
                    <a:pt x="492" y="246"/>
                  </a:lnTo>
                  <a:lnTo>
                    <a:pt x="492" y="270"/>
                  </a:lnTo>
                  <a:lnTo>
                    <a:pt x="486" y="294"/>
                  </a:lnTo>
                  <a:lnTo>
                    <a:pt x="486" y="312"/>
                  </a:lnTo>
                  <a:lnTo>
                    <a:pt x="486" y="330"/>
                  </a:lnTo>
                  <a:lnTo>
                    <a:pt x="492" y="348"/>
                  </a:lnTo>
                  <a:lnTo>
                    <a:pt x="498" y="360"/>
                  </a:lnTo>
                  <a:lnTo>
                    <a:pt x="510" y="366"/>
                  </a:lnTo>
                  <a:lnTo>
                    <a:pt x="516" y="384"/>
                  </a:lnTo>
                  <a:lnTo>
                    <a:pt x="522" y="414"/>
                  </a:lnTo>
                  <a:lnTo>
                    <a:pt x="528" y="414"/>
                  </a:lnTo>
                  <a:lnTo>
                    <a:pt x="534" y="426"/>
                  </a:lnTo>
                  <a:lnTo>
                    <a:pt x="528" y="432"/>
                  </a:lnTo>
                  <a:lnTo>
                    <a:pt x="468" y="426"/>
                  </a:lnTo>
                  <a:lnTo>
                    <a:pt x="462" y="4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3" name="Freeform 8">
              <a:extLst>
                <a:ext uri="{FF2B5EF4-FFF2-40B4-BE49-F238E27FC236}">
                  <a16:creationId xmlns:a16="http://schemas.microsoft.com/office/drawing/2014/main" id="{D473457C-872E-4E31-888A-D60FD52063A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98175" y="4307054"/>
              <a:ext cx="295177" cy="348894"/>
            </a:xfrm>
            <a:custGeom>
              <a:avLst/>
              <a:gdLst>
                <a:gd name="T0" fmla="*/ 3 w 552"/>
                <a:gd name="T1" fmla="*/ 46 h 660"/>
                <a:gd name="T2" fmla="*/ 4 w 552"/>
                <a:gd name="T3" fmla="*/ 42 h 660"/>
                <a:gd name="T4" fmla="*/ 2 w 552"/>
                <a:gd name="T5" fmla="*/ 38 h 660"/>
                <a:gd name="T6" fmla="*/ 0 w 552"/>
                <a:gd name="T7" fmla="*/ 34 h 660"/>
                <a:gd name="T8" fmla="*/ 2 w 552"/>
                <a:gd name="T9" fmla="*/ 30 h 660"/>
                <a:gd name="T10" fmla="*/ 3 w 552"/>
                <a:gd name="T11" fmla="*/ 27 h 660"/>
                <a:gd name="T12" fmla="*/ 5 w 552"/>
                <a:gd name="T13" fmla="*/ 23 h 660"/>
                <a:gd name="T14" fmla="*/ 5 w 552"/>
                <a:gd name="T15" fmla="*/ 15 h 660"/>
                <a:gd name="T16" fmla="*/ 6 w 552"/>
                <a:gd name="T17" fmla="*/ 11 h 660"/>
                <a:gd name="T18" fmla="*/ 11 w 552"/>
                <a:gd name="T19" fmla="*/ 9 h 660"/>
                <a:gd name="T20" fmla="*/ 10 w 552"/>
                <a:gd name="T21" fmla="*/ 5 h 660"/>
                <a:gd name="T22" fmla="*/ 12 w 552"/>
                <a:gd name="T23" fmla="*/ 1 h 660"/>
                <a:gd name="T24" fmla="*/ 16 w 552"/>
                <a:gd name="T25" fmla="*/ 2 h 660"/>
                <a:gd name="T26" fmla="*/ 23 w 552"/>
                <a:gd name="T27" fmla="*/ 8 h 660"/>
                <a:gd name="T28" fmla="*/ 23 w 552"/>
                <a:gd name="T29" fmla="*/ 11 h 660"/>
                <a:gd name="T30" fmla="*/ 27 w 552"/>
                <a:gd name="T31" fmla="*/ 12 h 660"/>
                <a:gd name="T32" fmla="*/ 29 w 552"/>
                <a:gd name="T33" fmla="*/ 17 h 660"/>
                <a:gd name="T34" fmla="*/ 31 w 552"/>
                <a:gd name="T35" fmla="*/ 15 h 660"/>
                <a:gd name="T36" fmla="*/ 33 w 552"/>
                <a:gd name="T37" fmla="*/ 17 h 660"/>
                <a:gd name="T38" fmla="*/ 36 w 552"/>
                <a:gd name="T39" fmla="*/ 23 h 660"/>
                <a:gd name="T40" fmla="*/ 41 w 552"/>
                <a:gd name="T41" fmla="*/ 33 h 660"/>
                <a:gd name="T42" fmla="*/ 43 w 552"/>
                <a:gd name="T43" fmla="*/ 36 h 660"/>
                <a:gd name="T44" fmla="*/ 43 w 552"/>
                <a:gd name="T45" fmla="*/ 37 h 660"/>
                <a:gd name="T46" fmla="*/ 41 w 552"/>
                <a:gd name="T47" fmla="*/ 35 h 660"/>
                <a:gd name="T48" fmla="*/ 43 w 552"/>
                <a:gd name="T49" fmla="*/ 37 h 660"/>
                <a:gd name="T50" fmla="*/ 44 w 552"/>
                <a:gd name="T51" fmla="*/ 39 h 660"/>
                <a:gd name="T52" fmla="*/ 47 w 552"/>
                <a:gd name="T53" fmla="*/ 41 h 660"/>
                <a:gd name="T54" fmla="*/ 47 w 552"/>
                <a:gd name="T55" fmla="*/ 44 h 660"/>
                <a:gd name="T56" fmla="*/ 48 w 552"/>
                <a:gd name="T57" fmla="*/ 46 h 660"/>
                <a:gd name="T58" fmla="*/ 47 w 552"/>
                <a:gd name="T59" fmla="*/ 46 h 660"/>
                <a:gd name="T60" fmla="*/ 44 w 552"/>
                <a:gd name="T61" fmla="*/ 46 h 660"/>
                <a:gd name="T62" fmla="*/ 47 w 552"/>
                <a:gd name="T63" fmla="*/ 47 h 660"/>
                <a:gd name="T64" fmla="*/ 47 w 552"/>
                <a:gd name="T65" fmla="*/ 49 h 660"/>
                <a:gd name="T66" fmla="*/ 47 w 552"/>
                <a:gd name="T67" fmla="*/ 52 h 660"/>
                <a:gd name="T68" fmla="*/ 46 w 552"/>
                <a:gd name="T69" fmla="*/ 53 h 660"/>
                <a:gd name="T70" fmla="*/ 43 w 552"/>
                <a:gd name="T71" fmla="*/ 54 h 660"/>
                <a:gd name="T72" fmla="*/ 37 w 552"/>
                <a:gd name="T73" fmla="*/ 54 h 660"/>
                <a:gd name="T74" fmla="*/ 30 w 552"/>
                <a:gd name="T75" fmla="*/ 54 h 660"/>
                <a:gd name="T76" fmla="*/ 29 w 552"/>
                <a:gd name="T77" fmla="*/ 53 h 660"/>
                <a:gd name="T78" fmla="*/ 27 w 552"/>
                <a:gd name="T79" fmla="*/ 53 h 660"/>
                <a:gd name="T80" fmla="*/ 29 w 552"/>
                <a:gd name="T81" fmla="*/ 53 h 660"/>
                <a:gd name="T82" fmla="*/ 28 w 552"/>
                <a:gd name="T83" fmla="*/ 54 h 660"/>
                <a:gd name="T84" fmla="*/ 24 w 552"/>
                <a:gd name="T85" fmla="*/ 54 h 660"/>
                <a:gd name="T86" fmla="*/ 20 w 552"/>
                <a:gd name="T87" fmla="*/ 55 h 660"/>
                <a:gd name="T88" fmla="*/ 15 w 552"/>
                <a:gd name="T89" fmla="*/ 56 h 660"/>
                <a:gd name="T90" fmla="*/ 12 w 552"/>
                <a:gd name="T91" fmla="*/ 56 h 660"/>
                <a:gd name="T92" fmla="*/ 11 w 552"/>
                <a:gd name="T93" fmla="*/ 57 h 660"/>
                <a:gd name="T94" fmla="*/ 9 w 552"/>
                <a:gd name="T95" fmla="*/ 57 h 660"/>
                <a:gd name="T96" fmla="*/ 7 w 552"/>
                <a:gd name="T97" fmla="*/ 56 h 660"/>
                <a:gd name="T98" fmla="*/ 5 w 552"/>
                <a:gd name="T99" fmla="*/ 55 h 660"/>
                <a:gd name="T100" fmla="*/ 7 w 552"/>
                <a:gd name="T101" fmla="*/ 54 h 660"/>
                <a:gd name="T102" fmla="*/ 5 w 552"/>
                <a:gd name="T103" fmla="*/ 54 h 660"/>
                <a:gd name="T104" fmla="*/ 5 w 552"/>
                <a:gd name="T105" fmla="*/ 53 h 660"/>
                <a:gd name="T106" fmla="*/ 4 w 552"/>
                <a:gd name="T107" fmla="*/ 49 h 660"/>
                <a:gd name="T108" fmla="*/ 45 w 552"/>
                <a:gd name="T109" fmla="*/ 38 h 66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52"/>
                <a:gd name="T166" fmla="*/ 0 h 660"/>
                <a:gd name="T167" fmla="*/ 552 w 552"/>
                <a:gd name="T168" fmla="*/ 660 h 66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52" h="660">
                  <a:moveTo>
                    <a:pt x="36" y="564"/>
                  </a:moveTo>
                  <a:lnTo>
                    <a:pt x="36" y="558"/>
                  </a:lnTo>
                  <a:lnTo>
                    <a:pt x="36" y="552"/>
                  </a:lnTo>
                  <a:lnTo>
                    <a:pt x="42" y="546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34"/>
                  </a:lnTo>
                  <a:lnTo>
                    <a:pt x="36" y="528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54" y="510"/>
                  </a:lnTo>
                  <a:lnTo>
                    <a:pt x="54" y="504"/>
                  </a:lnTo>
                  <a:lnTo>
                    <a:pt x="54" y="498"/>
                  </a:lnTo>
                  <a:lnTo>
                    <a:pt x="48" y="492"/>
                  </a:lnTo>
                  <a:lnTo>
                    <a:pt x="42" y="486"/>
                  </a:lnTo>
                  <a:lnTo>
                    <a:pt x="42" y="480"/>
                  </a:lnTo>
                  <a:lnTo>
                    <a:pt x="42" y="468"/>
                  </a:lnTo>
                  <a:lnTo>
                    <a:pt x="30" y="456"/>
                  </a:lnTo>
                  <a:lnTo>
                    <a:pt x="30" y="450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2"/>
                  </a:lnTo>
                  <a:lnTo>
                    <a:pt x="18" y="426"/>
                  </a:lnTo>
                  <a:lnTo>
                    <a:pt x="24" y="420"/>
                  </a:lnTo>
                  <a:lnTo>
                    <a:pt x="18" y="414"/>
                  </a:lnTo>
                  <a:lnTo>
                    <a:pt x="12" y="408"/>
                  </a:lnTo>
                  <a:lnTo>
                    <a:pt x="12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6" y="384"/>
                  </a:lnTo>
                  <a:lnTo>
                    <a:pt x="12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8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36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54" y="270"/>
                  </a:lnTo>
                  <a:lnTo>
                    <a:pt x="48" y="264"/>
                  </a:lnTo>
                  <a:lnTo>
                    <a:pt x="42" y="246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8" y="204"/>
                  </a:lnTo>
                  <a:lnTo>
                    <a:pt x="54" y="174"/>
                  </a:lnTo>
                  <a:lnTo>
                    <a:pt x="54" y="162"/>
                  </a:lnTo>
                  <a:lnTo>
                    <a:pt x="54" y="156"/>
                  </a:lnTo>
                  <a:lnTo>
                    <a:pt x="54" y="144"/>
                  </a:lnTo>
                  <a:lnTo>
                    <a:pt x="48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72" y="126"/>
                  </a:lnTo>
                  <a:lnTo>
                    <a:pt x="84" y="126"/>
                  </a:lnTo>
                  <a:lnTo>
                    <a:pt x="96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2" y="84"/>
                  </a:lnTo>
                  <a:lnTo>
                    <a:pt x="126" y="78"/>
                  </a:lnTo>
                  <a:lnTo>
                    <a:pt x="120" y="78"/>
                  </a:lnTo>
                  <a:lnTo>
                    <a:pt x="102" y="84"/>
                  </a:lnTo>
                  <a:lnTo>
                    <a:pt x="108" y="66"/>
                  </a:lnTo>
                  <a:lnTo>
                    <a:pt x="114" y="54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8" y="4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6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74" y="0"/>
                  </a:lnTo>
                  <a:lnTo>
                    <a:pt x="180" y="0"/>
                  </a:lnTo>
                  <a:lnTo>
                    <a:pt x="186" y="18"/>
                  </a:lnTo>
                  <a:lnTo>
                    <a:pt x="198" y="30"/>
                  </a:lnTo>
                  <a:lnTo>
                    <a:pt x="204" y="54"/>
                  </a:lnTo>
                  <a:lnTo>
                    <a:pt x="216" y="60"/>
                  </a:lnTo>
                  <a:lnTo>
                    <a:pt x="240" y="60"/>
                  </a:lnTo>
                  <a:lnTo>
                    <a:pt x="246" y="66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2" y="120"/>
                  </a:lnTo>
                  <a:lnTo>
                    <a:pt x="25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6" y="126"/>
                  </a:lnTo>
                  <a:lnTo>
                    <a:pt x="282" y="120"/>
                  </a:lnTo>
                  <a:lnTo>
                    <a:pt x="282" y="126"/>
                  </a:lnTo>
                  <a:lnTo>
                    <a:pt x="294" y="126"/>
                  </a:lnTo>
                  <a:lnTo>
                    <a:pt x="300" y="132"/>
                  </a:lnTo>
                  <a:lnTo>
                    <a:pt x="306" y="144"/>
                  </a:lnTo>
                  <a:lnTo>
                    <a:pt x="312" y="144"/>
                  </a:lnTo>
                  <a:lnTo>
                    <a:pt x="312" y="150"/>
                  </a:lnTo>
                  <a:lnTo>
                    <a:pt x="312" y="162"/>
                  </a:lnTo>
                  <a:lnTo>
                    <a:pt x="312" y="174"/>
                  </a:lnTo>
                  <a:lnTo>
                    <a:pt x="324" y="180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30" y="192"/>
                  </a:lnTo>
                  <a:lnTo>
                    <a:pt x="336" y="198"/>
                  </a:lnTo>
                  <a:lnTo>
                    <a:pt x="342" y="192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54" y="180"/>
                  </a:lnTo>
                  <a:lnTo>
                    <a:pt x="354" y="174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84" y="192"/>
                  </a:lnTo>
                  <a:lnTo>
                    <a:pt x="390" y="204"/>
                  </a:lnTo>
                  <a:lnTo>
                    <a:pt x="390" y="210"/>
                  </a:lnTo>
                  <a:lnTo>
                    <a:pt x="390" y="216"/>
                  </a:lnTo>
                  <a:lnTo>
                    <a:pt x="384" y="234"/>
                  </a:lnTo>
                  <a:lnTo>
                    <a:pt x="390" y="240"/>
                  </a:lnTo>
                  <a:lnTo>
                    <a:pt x="408" y="252"/>
                  </a:lnTo>
                  <a:lnTo>
                    <a:pt x="414" y="264"/>
                  </a:lnTo>
                  <a:lnTo>
                    <a:pt x="408" y="300"/>
                  </a:lnTo>
                  <a:lnTo>
                    <a:pt x="414" y="312"/>
                  </a:lnTo>
                  <a:lnTo>
                    <a:pt x="426" y="336"/>
                  </a:lnTo>
                  <a:lnTo>
                    <a:pt x="438" y="354"/>
                  </a:lnTo>
                  <a:lnTo>
                    <a:pt x="444" y="366"/>
                  </a:lnTo>
                  <a:lnTo>
                    <a:pt x="456" y="366"/>
                  </a:lnTo>
                  <a:lnTo>
                    <a:pt x="474" y="378"/>
                  </a:lnTo>
                  <a:lnTo>
                    <a:pt x="474" y="384"/>
                  </a:lnTo>
                  <a:lnTo>
                    <a:pt x="480" y="390"/>
                  </a:lnTo>
                  <a:lnTo>
                    <a:pt x="486" y="396"/>
                  </a:lnTo>
                  <a:lnTo>
                    <a:pt x="486" y="402"/>
                  </a:lnTo>
                  <a:lnTo>
                    <a:pt x="480" y="408"/>
                  </a:lnTo>
                  <a:lnTo>
                    <a:pt x="486" y="408"/>
                  </a:lnTo>
                  <a:lnTo>
                    <a:pt x="486" y="414"/>
                  </a:lnTo>
                  <a:lnTo>
                    <a:pt x="492" y="414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32"/>
                  </a:lnTo>
                  <a:lnTo>
                    <a:pt x="498" y="438"/>
                  </a:lnTo>
                  <a:lnTo>
                    <a:pt x="492" y="432"/>
                  </a:lnTo>
                  <a:lnTo>
                    <a:pt x="486" y="426"/>
                  </a:lnTo>
                  <a:lnTo>
                    <a:pt x="486" y="420"/>
                  </a:lnTo>
                  <a:lnTo>
                    <a:pt x="486" y="414"/>
                  </a:lnTo>
                  <a:lnTo>
                    <a:pt x="480" y="414"/>
                  </a:lnTo>
                  <a:lnTo>
                    <a:pt x="480" y="408"/>
                  </a:lnTo>
                  <a:lnTo>
                    <a:pt x="474" y="408"/>
                  </a:lnTo>
                  <a:lnTo>
                    <a:pt x="468" y="408"/>
                  </a:lnTo>
                  <a:lnTo>
                    <a:pt x="468" y="402"/>
                  </a:lnTo>
                  <a:lnTo>
                    <a:pt x="462" y="402"/>
                  </a:lnTo>
                  <a:lnTo>
                    <a:pt x="462" y="408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80" y="426"/>
                  </a:lnTo>
                  <a:lnTo>
                    <a:pt x="486" y="426"/>
                  </a:lnTo>
                  <a:lnTo>
                    <a:pt x="486" y="432"/>
                  </a:lnTo>
                  <a:lnTo>
                    <a:pt x="492" y="438"/>
                  </a:lnTo>
                  <a:lnTo>
                    <a:pt x="498" y="438"/>
                  </a:lnTo>
                  <a:lnTo>
                    <a:pt x="504" y="444"/>
                  </a:lnTo>
                  <a:lnTo>
                    <a:pt x="510" y="444"/>
                  </a:lnTo>
                  <a:lnTo>
                    <a:pt x="510" y="450"/>
                  </a:lnTo>
                  <a:lnTo>
                    <a:pt x="510" y="456"/>
                  </a:lnTo>
                  <a:lnTo>
                    <a:pt x="516" y="456"/>
                  </a:lnTo>
                  <a:lnTo>
                    <a:pt x="516" y="462"/>
                  </a:lnTo>
                  <a:lnTo>
                    <a:pt x="522" y="462"/>
                  </a:lnTo>
                  <a:lnTo>
                    <a:pt x="522" y="468"/>
                  </a:lnTo>
                  <a:lnTo>
                    <a:pt x="528" y="468"/>
                  </a:lnTo>
                  <a:lnTo>
                    <a:pt x="534" y="468"/>
                  </a:lnTo>
                  <a:lnTo>
                    <a:pt x="534" y="474"/>
                  </a:lnTo>
                  <a:lnTo>
                    <a:pt x="540" y="474"/>
                  </a:lnTo>
                  <a:lnTo>
                    <a:pt x="540" y="480"/>
                  </a:lnTo>
                  <a:lnTo>
                    <a:pt x="546" y="486"/>
                  </a:lnTo>
                  <a:lnTo>
                    <a:pt x="546" y="492"/>
                  </a:lnTo>
                  <a:lnTo>
                    <a:pt x="546" y="498"/>
                  </a:lnTo>
                  <a:lnTo>
                    <a:pt x="546" y="504"/>
                  </a:lnTo>
                  <a:lnTo>
                    <a:pt x="540" y="504"/>
                  </a:lnTo>
                  <a:lnTo>
                    <a:pt x="546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10"/>
                  </a:lnTo>
                  <a:lnTo>
                    <a:pt x="552" y="516"/>
                  </a:lnTo>
                  <a:lnTo>
                    <a:pt x="552" y="522"/>
                  </a:lnTo>
                  <a:lnTo>
                    <a:pt x="552" y="528"/>
                  </a:lnTo>
                  <a:lnTo>
                    <a:pt x="552" y="534"/>
                  </a:lnTo>
                  <a:lnTo>
                    <a:pt x="552" y="540"/>
                  </a:lnTo>
                  <a:lnTo>
                    <a:pt x="546" y="540"/>
                  </a:lnTo>
                  <a:lnTo>
                    <a:pt x="546" y="546"/>
                  </a:lnTo>
                  <a:lnTo>
                    <a:pt x="546" y="540"/>
                  </a:lnTo>
                  <a:lnTo>
                    <a:pt x="546" y="534"/>
                  </a:lnTo>
                  <a:lnTo>
                    <a:pt x="540" y="534"/>
                  </a:lnTo>
                  <a:lnTo>
                    <a:pt x="540" y="528"/>
                  </a:lnTo>
                  <a:lnTo>
                    <a:pt x="534" y="528"/>
                  </a:lnTo>
                  <a:lnTo>
                    <a:pt x="528" y="528"/>
                  </a:lnTo>
                  <a:lnTo>
                    <a:pt x="522" y="528"/>
                  </a:lnTo>
                  <a:lnTo>
                    <a:pt x="516" y="528"/>
                  </a:lnTo>
                  <a:lnTo>
                    <a:pt x="510" y="528"/>
                  </a:lnTo>
                  <a:lnTo>
                    <a:pt x="510" y="534"/>
                  </a:lnTo>
                  <a:lnTo>
                    <a:pt x="510" y="528"/>
                  </a:lnTo>
                  <a:lnTo>
                    <a:pt x="516" y="528"/>
                  </a:lnTo>
                  <a:lnTo>
                    <a:pt x="522" y="528"/>
                  </a:lnTo>
                  <a:lnTo>
                    <a:pt x="528" y="528"/>
                  </a:lnTo>
                  <a:lnTo>
                    <a:pt x="534" y="534"/>
                  </a:lnTo>
                  <a:lnTo>
                    <a:pt x="540" y="534"/>
                  </a:lnTo>
                  <a:lnTo>
                    <a:pt x="540" y="540"/>
                  </a:lnTo>
                  <a:lnTo>
                    <a:pt x="540" y="546"/>
                  </a:lnTo>
                  <a:lnTo>
                    <a:pt x="546" y="546"/>
                  </a:lnTo>
                  <a:lnTo>
                    <a:pt x="546" y="552"/>
                  </a:lnTo>
                  <a:lnTo>
                    <a:pt x="552" y="552"/>
                  </a:lnTo>
                  <a:lnTo>
                    <a:pt x="552" y="558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0" y="576"/>
                  </a:lnTo>
                  <a:lnTo>
                    <a:pt x="540" y="582"/>
                  </a:lnTo>
                  <a:lnTo>
                    <a:pt x="540" y="588"/>
                  </a:lnTo>
                  <a:lnTo>
                    <a:pt x="534" y="594"/>
                  </a:lnTo>
                  <a:lnTo>
                    <a:pt x="534" y="600"/>
                  </a:lnTo>
                  <a:lnTo>
                    <a:pt x="528" y="600"/>
                  </a:lnTo>
                  <a:lnTo>
                    <a:pt x="522" y="594"/>
                  </a:lnTo>
                  <a:lnTo>
                    <a:pt x="528" y="600"/>
                  </a:lnTo>
                  <a:lnTo>
                    <a:pt x="534" y="600"/>
                  </a:lnTo>
                  <a:lnTo>
                    <a:pt x="534" y="606"/>
                  </a:lnTo>
                  <a:lnTo>
                    <a:pt x="528" y="606"/>
                  </a:lnTo>
                  <a:lnTo>
                    <a:pt x="528" y="612"/>
                  </a:lnTo>
                  <a:lnTo>
                    <a:pt x="522" y="612"/>
                  </a:lnTo>
                  <a:lnTo>
                    <a:pt x="522" y="618"/>
                  </a:lnTo>
                  <a:lnTo>
                    <a:pt x="522" y="624"/>
                  </a:lnTo>
                  <a:lnTo>
                    <a:pt x="510" y="624"/>
                  </a:lnTo>
                  <a:lnTo>
                    <a:pt x="498" y="624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0" y="624"/>
                  </a:lnTo>
                  <a:lnTo>
                    <a:pt x="474" y="624"/>
                  </a:lnTo>
                  <a:lnTo>
                    <a:pt x="468" y="618"/>
                  </a:lnTo>
                  <a:lnTo>
                    <a:pt x="456" y="618"/>
                  </a:lnTo>
                  <a:lnTo>
                    <a:pt x="450" y="618"/>
                  </a:lnTo>
                  <a:lnTo>
                    <a:pt x="426" y="618"/>
                  </a:lnTo>
                  <a:lnTo>
                    <a:pt x="420" y="618"/>
                  </a:lnTo>
                  <a:lnTo>
                    <a:pt x="414" y="618"/>
                  </a:lnTo>
                  <a:lnTo>
                    <a:pt x="408" y="618"/>
                  </a:lnTo>
                  <a:lnTo>
                    <a:pt x="396" y="618"/>
                  </a:lnTo>
                  <a:lnTo>
                    <a:pt x="366" y="618"/>
                  </a:lnTo>
                  <a:lnTo>
                    <a:pt x="348" y="624"/>
                  </a:lnTo>
                  <a:lnTo>
                    <a:pt x="342" y="624"/>
                  </a:lnTo>
                  <a:lnTo>
                    <a:pt x="342" y="618"/>
                  </a:lnTo>
                  <a:lnTo>
                    <a:pt x="336" y="618"/>
                  </a:lnTo>
                  <a:lnTo>
                    <a:pt x="336" y="612"/>
                  </a:lnTo>
                  <a:lnTo>
                    <a:pt x="342" y="612"/>
                  </a:lnTo>
                  <a:lnTo>
                    <a:pt x="348" y="612"/>
                  </a:lnTo>
                  <a:lnTo>
                    <a:pt x="342" y="612"/>
                  </a:lnTo>
                  <a:lnTo>
                    <a:pt x="336" y="612"/>
                  </a:lnTo>
                  <a:lnTo>
                    <a:pt x="336" y="606"/>
                  </a:lnTo>
                  <a:lnTo>
                    <a:pt x="330" y="606"/>
                  </a:lnTo>
                  <a:lnTo>
                    <a:pt x="330" y="600"/>
                  </a:lnTo>
                  <a:lnTo>
                    <a:pt x="324" y="600"/>
                  </a:lnTo>
                  <a:lnTo>
                    <a:pt x="324" y="606"/>
                  </a:lnTo>
                  <a:lnTo>
                    <a:pt x="318" y="606"/>
                  </a:lnTo>
                  <a:lnTo>
                    <a:pt x="318" y="612"/>
                  </a:lnTo>
                  <a:lnTo>
                    <a:pt x="312" y="612"/>
                  </a:lnTo>
                  <a:lnTo>
                    <a:pt x="306" y="606"/>
                  </a:lnTo>
                  <a:lnTo>
                    <a:pt x="306" y="612"/>
                  </a:lnTo>
                  <a:lnTo>
                    <a:pt x="312" y="612"/>
                  </a:lnTo>
                  <a:lnTo>
                    <a:pt x="318" y="612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30" y="606"/>
                  </a:lnTo>
                  <a:lnTo>
                    <a:pt x="336" y="612"/>
                  </a:lnTo>
                  <a:lnTo>
                    <a:pt x="336" y="618"/>
                  </a:lnTo>
                  <a:lnTo>
                    <a:pt x="330" y="618"/>
                  </a:lnTo>
                  <a:lnTo>
                    <a:pt x="336" y="618"/>
                  </a:lnTo>
                  <a:lnTo>
                    <a:pt x="336" y="624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288" y="624"/>
                  </a:lnTo>
                  <a:lnTo>
                    <a:pt x="282" y="624"/>
                  </a:lnTo>
                  <a:lnTo>
                    <a:pt x="270" y="630"/>
                  </a:lnTo>
                  <a:lnTo>
                    <a:pt x="264" y="630"/>
                  </a:lnTo>
                  <a:lnTo>
                    <a:pt x="258" y="630"/>
                  </a:lnTo>
                  <a:lnTo>
                    <a:pt x="252" y="630"/>
                  </a:lnTo>
                  <a:lnTo>
                    <a:pt x="246" y="630"/>
                  </a:lnTo>
                  <a:lnTo>
                    <a:pt x="240" y="630"/>
                  </a:lnTo>
                  <a:lnTo>
                    <a:pt x="228" y="636"/>
                  </a:lnTo>
                  <a:lnTo>
                    <a:pt x="222" y="636"/>
                  </a:lnTo>
                  <a:lnTo>
                    <a:pt x="210" y="636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42"/>
                  </a:lnTo>
                  <a:lnTo>
                    <a:pt x="186" y="642"/>
                  </a:lnTo>
                  <a:lnTo>
                    <a:pt x="180" y="642"/>
                  </a:lnTo>
                  <a:lnTo>
                    <a:pt x="168" y="642"/>
                  </a:lnTo>
                  <a:lnTo>
                    <a:pt x="162" y="642"/>
                  </a:lnTo>
                  <a:lnTo>
                    <a:pt x="162" y="648"/>
                  </a:lnTo>
                  <a:lnTo>
                    <a:pt x="156" y="648"/>
                  </a:lnTo>
                  <a:lnTo>
                    <a:pt x="150" y="648"/>
                  </a:lnTo>
                  <a:lnTo>
                    <a:pt x="144" y="648"/>
                  </a:lnTo>
                  <a:lnTo>
                    <a:pt x="138" y="648"/>
                  </a:lnTo>
                  <a:lnTo>
                    <a:pt x="132" y="648"/>
                  </a:lnTo>
                  <a:lnTo>
                    <a:pt x="126" y="642"/>
                  </a:lnTo>
                  <a:lnTo>
                    <a:pt x="126" y="636"/>
                  </a:lnTo>
                  <a:lnTo>
                    <a:pt x="120" y="636"/>
                  </a:lnTo>
                  <a:lnTo>
                    <a:pt x="126" y="642"/>
                  </a:lnTo>
                  <a:lnTo>
                    <a:pt x="126" y="648"/>
                  </a:lnTo>
                  <a:lnTo>
                    <a:pt x="132" y="648"/>
                  </a:lnTo>
                  <a:lnTo>
                    <a:pt x="126" y="654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54"/>
                  </a:lnTo>
                  <a:lnTo>
                    <a:pt x="108" y="660"/>
                  </a:lnTo>
                  <a:lnTo>
                    <a:pt x="108" y="654"/>
                  </a:lnTo>
                  <a:lnTo>
                    <a:pt x="102" y="654"/>
                  </a:lnTo>
                  <a:lnTo>
                    <a:pt x="102" y="660"/>
                  </a:lnTo>
                  <a:lnTo>
                    <a:pt x="108" y="660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0" y="660"/>
                  </a:lnTo>
                  <a:lnTo>
                    <a:pt x="90" y="654"/>
                  </a:lnTo>
                  <a:lnTo>
                    <a:pt x="84" y="648"/>
                  </a:lnTo>
                  <a:lnTo>
                    <a:pt x="84" y="642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72" y="636"/>
                  </a:lnTo>
                  <a:lnTo>
                    <a:pt x="78" y="636"/>
                  </a:lnTo>
                  <a:lnTo>
                    <a:pt x="72" y="636"/>
                  </a:lnTo>
                  <a:lnTo>
                    <a:pt x="66" y="636"/>
                  </a:lnTo>
                  <a:lnTo>
                    <a:pt x="60" y="636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60" y="618"/>
                  </a:lnTo>
                  <a:lnTo>
                    <a:pt x="66" y="618"/>
                  </a:lnTo>
                  <a:lnTo>
                    <a:pt x="72" y="618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2" y="612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12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54" y="618"/>
                  </a:lnTo>
                  <a:lnTo>
                    <a:pt x="54" y="624"/>
                  </a:lnTo>
                  <a:lnTo>
                    <a:pt x="48" y="618"/>
                  </a:lnTo>
                  <a:lnTo>
                    <a:pt x="42" y="618"/>
                  </a:lnTo>
                  <a:lnTo>
                    <a:pt x="42" y="612"/>
                  </a:lnTo>
                  <a:lnTo>
                    <a:pt x="48" y="606"/>
                  </a:lnTo>
                  <a:lnTo>
                    <a:pt x="54" y="606"/>
                  </a:lnTo>
                  <a:lnTo>
                    <a:pt x="54" y="600"/>
                  </a:lnTo>
                  <a:lnTo>
                    <a:pt x="54" y="594"/>
                  </a:lnTo>
                  <a:lnTo>
                    <a:pt x="54" y="588"/>
                  </a:lnTo>
                  <a:lnTo>
                    <a:pt x="48" y="588"/>
                  </a:lnTo>
                  <a:lnTo>
                    <a:pt x="48" y="582"/>
                  </a:lnTo>
                  <a:lnTo>
                    <a:pt x="42" y="582"/>
                  </a:lnTo>
                  <a:lnTo>
                    <a:pt x="42" y="570"/>
                  </a:lnTo>
                  <a:lnTo>
                    <a:pt x="42" y="564"/>
                  </a:lnTo>
                  <a:lnTo>
                    <a:pt x="36" y="564"/>
                  </a:lnTo>
                  <a:close/>
                  <a:moveTo>
                    <a:pt x="498" y="420"/>
                  </a:moveTo>
                  <a:lnTo>
                    <a:pt x="504" y="426"/>
                  </a:lnTo>
                  <a:lnTo>
                    <a:pt x="510" y="432"/>
                  </a:lnTo>
                  <a:lnTo>
                    <a:pt x="516" y="432"/>
                  </a:lnTo>
                  <a:lnTo>
                    <a:pt x="516" y="438"/>
                  </a:lnTo>
                  <a:lnTo>
                    <a:pt x="510" y="438"/>
                  </a:lnTo>
                  <a:lnTo>
                    <a:pt x="504" y="438"/>
                  </a:lnTo>
                  <a:lnTo>
                    <a:pt x="504" y="432"/>
                  </a:lnTo>
                  <a:lnTo>
                    <a:pt x="498" y="432"/>
                  </a:lnTo>
                  <a:lnTo>
                    <a:pt x="498" y="426"/>
                  </a:lnTo>
                  <a:lnTo>
                    <a:pt x="498" y="4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4" name="Freeform 9">
              <a:extLst>
                <a:ext uri="{FF2B5EF4-FFF2-40B4-BE49-F238E27FC236}">
                  <a16:creationId xmlns:a16="http://schemas.microsoft.com/office/drawing/2014/main" id="{E0116D32-BD2E-45EA-B818-A3082585D5F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3055" y="2468650"/>
              <a:ext cx="800556" cy="1207710"/>
            </a:xfrm>
            <a:custGeom>
              <a:avLst/>
              <a:gdLst>
                <a:gd name="T0" fmla="*/ 24 w 1506"/>
                <a:gd name="T1" fmla="*/ 190 h 2274"/>
                <a:gd name="T2" fmla="*/ 25 w 1506"/>
                <a:gd name="T3" fmla="*/ 180 h 2274"/>
                <a:gd name="T4" fmla="*/ 21 w 1506"/>
                <a:gd name="T5" fmla="*/ 174 h 2274"/>
                <a:gd name="T6" fmla="*/ 17 w 1506"/>
                <a:gd name="T7" fmla="*/ 170 h 2274"/>
                <a:gd name="T8" fmla="*/ 12 w 1506"/>
                <a:gd name="T9" fmla="*/ 168 h 2274"/>
                <a:gd name="T10" fmla="*/ 10 w 1506"/>
                <a:gd name="T11" fmla="*/ 173 h 2274"/>
                <a:gd name="T12" fmla="*/ 7 w 1506"/>
                <a:gd name="T13" fmla="*/ 174 h 2274"/>
                <a:gd name="T14" fmla="*/ 0 w 1506"/>
                <a:gd name="T15" fmla="*/ 163 h 2274"/>
                <a:gd name="T16" fmla="*/ 16 w 1506"/>
                <a:gd name="T17" fmla="*/ 140 h 2274"/>
                <a:gd name="T18" fmla="*/ 19 w 1506"/>
                <a:gd name="T19" fmla="*/ 137 h 2274"/>
                <a:gd name="T20" fmla="*/ 24 w 1506"/>
                <a:gd name="T21" fmla="*/ 126 h 2274"/>
                <a:gd name="T22" fmla="*/ 23 w 1506"/>
                <a:gd name="T23" fmla="*/ 105 h 2274"/>
                <a:gd name="T24" fmla="*/ 14 w 1506"/>
                <a:gd name="T25" fmla="*/ 86 h 2274"/>
                <a:gd name="T26" fmla="*/ 8 w 1506"/>
                <a:gd name="T27" fmla="*/ 84 h 2274"/>
                <a:gd name="T28" fmla="*/ 5 w 1506"/>
                <a:gd name="T29" fmla="*/ 79 h 2274"/>
                <a:gd name="T30" fmla="*/ 16 w 1506"/>
                <a:gd name="T31" fmla="*/ 71 h 2274"/>
                <a:gd name="T32" fmla="*/ 28 w 1506"/>
                <a:gd name="T33" fmla="*/ 55 h 2274"/>
                <a:gd name="T34" fmla="*/ 29 w 1506"/>
                <a:gd name="T35" fmla="*/ 48 h 2274"/>
                <a:gd name="T36" fmla="*/ 35 w 1506"/>
                <a:gd name="T37" fmla="*/ 50 h 2274"/>
                <a:gd name="T38" fmla="*/ 42 w 1506"/>
                <a:gd name="T39" fmla="*/ 47 h 2274"/>
                <a:gd name="T40" fmla="*/ 63 w 1506"/>
                <a:gd name="T41" fmla="*/ 34 h 2274"/>
                <a:gd name="T42" fmla="*/ 74 w 1506"/>
                <a:gd name="T43" fmla="*/ 27 h 2274"/>
                <a:gd name="T44" fmla="*/ 81 w 1506"/>
                <a:gd name="T45" fmla="*/ 20 h 2274"/>
                <a:gd name="T46" fmla="*/ 89 w 1506"/>
                <a:gd name="T47" fmla="*/ 20 h 2274"/>
                <a:gd name="T48" fmla="*/ 98 w 1506"/>
                <a:gd name="T49" fmla="*/ 27 h 2274"/>
                <a:gd name="T50" fmla="*/ 106 w 1506"/>
                <a:gd name="T51" fmla="*/ 17 h 2274"/>
                <a:gd name="T52" fmla="*/ 111 w 1506"/>
                <a:gd name="T53" fmla="*/ 8 h 2274"/>
                <a:gd name="T54" fmla="*/ 121 w 1506"/>
                <a:gd name="T55" fmla="*/ 2 h 2274"/>
                <a:gd name="T56" fmla="*/ 129 w 1506"/>
                <a:gd name="T57" fmla="*/ 5 h 2274"/>
                <a:gd name="T58" fmla="*/ 125 w 1506"/>
                <a:gd name="T59" fmla="*/ 12 h 2274"/>
                <a:gd name="T60" fmla="*/ 122 w 1506"/>
                <a:gd name="T61" fmla="*/ 20 h 2274"/>
                <a:gd name="T62" fmla="*/ 122 w 1506"/>
                <a:gd name="T63" fmla="*/ 27 h 2274"/>
                <a:gd name="T64" fmla="*/ 120 w 1506"/>
                <a:gd name="T65" fmla="*/ 36 h 2274"/>
                <a:gd name="T66" fmla="*/ 116 w 1506"/>
                <a:gd name="T67" fmla="*/ 43 h 2274"/>
                <a:gd name="T68" fmla="*/ 109 w 1506"/>
                <a:gd name="T69" fmla="*/ 47 h 2274"/>
                <a:gd name="T70" fmla="*/ 108 w 1506"/>
                <a:gd name="T71" fmla="*/ 54 h 2274"/>
                <a:gd name="T72" fmla="*/ 106 w 1506"/>
                <a:gd name="T73" fmla="*/ 59 h 2274"/>
                <a:gd name="T74" fmla="*/ 109 w 1506"/>
                <a:gd name="T75" fmla="*/ 64 h 2274"/>
                <a:gd name="T76" fmla="*/ 106 w 1506"/>
                <a:gd name="T77" fmla="*/ 70 h 2274"/>
                <a:gd name="T78" fmla="*/ 105 w 1506"/>
                <a:gd name="T79" fmla="*/ 75 h 2274"/>
                <a:gd name="T80" fmla="*/ 101 w 1506"/>
                <a:gd name="T81" fmla="*/ 78 h 2274"/>
                <a:gd name="T82" fmla="*/ 92 w 1506"/>
                <a:gd name="T83" fmla="*/ 81 h 2274"/>
                <a:gd name="T84" fmla="*/ 85 w 1506"/>
                <a:gd name="T85" fmla="*/ 85 h 2274"/>
                <a:gd name="T86" fmla="*/ 87 w 1506"/>
                <a:gd name="T87" fmla="*/ 91 h 2274"/>
                <a:gd name="T88" fmla="*/ 86 w 1506"/>
                <a:gd name="T89" fmla="*/ 98 h 2274"/>
                <a:gd name="T90" fmla="*/ 86 w 1506"/>
                <a:gd name="T91" fmla="*/ 103 h 2274"/>
                <a:gd name="T92" fmla="*/ 82 w 1506"/>
                <a:gd name="T93" fmla="*/ 111 h 2274"/>
                <a:gd name="T94" fmla="*/ 81 w 1506"/>
                <a:gd name="T95" fmla="*/ 116 h 2274"/>
                <a:gd name="T96" fmla="*/ 78 w 1506"/>
                <a:gd name="T97" fmla="*/ 120 h 2274"/>
                <a:gd name="T98" fmla="*/ 76 w 1506"/>
                <a:gd name="T99" fmla="*/ 126 h 2274"/>
                <a:gd name="T100" fmla="*/ 68 w 1506"/>
                <a:gd name="T101" fmla="*/ 129 h 2274"/>
                <a:gd name="T102" fmla="*/ 62 w 1506"/>
                <a:gd name="T103" fmla="*/ 131 h 2274"/>
                <a:gd name="T104" fmla="*/ 58 w 1506"/>
                <a:gd name="T105" fmla="*/ 136 h 2274"/>
                <a:gd name="T106" fmla="*/ 51 w 1506"/>
                <a:gd name="T107" fmla="*/ 138 h 2274"/>
                <a:gd name="T108" fmla="*/ 51 w 1506"/>
                <a:gd name="T109" fmla="*/ 147 h 2274"/>
                <a:gd name="T110" fmla="*/ 49 w 1506"/>
                <a:gd name="T111" fmla="*/ 159 h 2274"/>
                <a:gd name="T112" fmla="*/ 48 w 1506"/>
                <a:gd name="T113" fmla="*/ 166 h 2274"/>
                <a:gd name="T114" fmla="*/ 41 w 1506"/>
                <a:gd name="T115" fmla="*/ 174 h 2274"/>
                <a:gd name="T116" fmla="*/ 39 w 1506"/>
                <a:gd name="T117" fmla="*/ 181 h 2274"/>
                <a:gd name="T118" fmla="*/ 37 w 1506"/>
                <a:gd name="T119" fmla="*/ 190 h 2274"/>
                <a:gd name="T120" fmla="*/ 29 w 1506"/>
                <a:gd name="T121" fmla="*/ 198 h 22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06"/>
                <a:gd name="T184" fmla="*/ 0 h 2274"/>
                <a:gd name="T185" fmla="*/ 1506 w 1506"/>
                <a:gd name="T186" fmla="*/ 2274 h 227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06" h="2274">
                  <a:moveTo>
                    <a:pt x="330" y="2274"/>
                  </a:moveTo>
                  <a:lnTo>
                    <a:pt x="318" y="2262"/>
                  </a:lnTo>
                  <a:lnTo>
                    <a:pt x="312" y="2238"/>
                  </a:lnTo>
                  <a:lnTo>
                    <a:pt x="312" y="2232"/>
                  </a:lnTo>
                  <a:lnTo>
                    <a:pt x="294" y="2214"/>
                  </a:lnTo>
                  <a:lnTo>
                    <a:pt x="288" y="2208"/>
                  </a:lnTo>
                  <a:lnTo>
                    <a:pt x="288" y="2202"/>
                  </a:lnTo>
                  <a:lnTo>
                    <a:pt x="276" y="2196"/>
                  </a:lnTo>
                  <a:lnTo>
                    <a:pt x="276" y="2190"/>
                  </a:lnTo>
                  <a:lnTo>
                    <a:pt x="282" y="2190"/>
                  </a:lnTo>
                  <a:lnTo>
                    <a:pt x="282" y="2184"/>
                  </a:lnTo>
                  <a:lnTo>
                    <a:pt x="276" y="2172"/>
                  </a:lnTo>
                  <a:lnTo>
                    <a:pt x="276" y="2166"/>
                  </a:lnTo>
                  <a:lnTo>
                    <a:pt x="282" y="2166"/>
                  </a:lnTo>
                  <a:lnTo>
                    <a:pt x="282" y="2154"/>
                  </a:lnTo>
                  <a:lnTo>
                    <a:pt x="276" y="2136"/>
                  </a:lnTo>
                  <a:lnTo>
                    <a:pt x="276" y="2112"/>
                  </a:lnTo>
                  <a:lnTo>
                    <a:pt x="282" y="2088"/>
                  </a:lnTo>
                  <a:lnTo>
                    <a:pt x="282" y="2082"/>
                  </a:lnTo>
                  <a:lnTo>
                    <a:pt x="282" y="2076"/>
                  </a:lnTo>
                  <a:lnTo>
                    <a:pt x="282" y="2070"/>
                  </a:lnTo>
                  <a:lnTo>
                    <a:pt x="288" y="2070"/>
                  </a:lnTo>
                  <a:lnTo>
                    <a:pt x="288" y="2064"/>
                  </a:lnTo>
                  <a:lnTo>
                    <a:pt x="282" y="2052"/>
                  </a:lnTo>
                  <a:lnTo>
                    <a:pt x="282" y="2046"/>
                  </a:lnTo>
                  <a:lnTo>
                    <a:pt x="276" y="2040"/>
                  </a:lnTo>
                  <a:lnTo>
                    <a:pt x="270" y="2034"/>
                  </a:lnTo>
                  <a:lnTo>
                    <a:pt x="264" y="2022"/>
                  </a:lnTo>
                  <a:lnTo>
                    <a:pt x="258" y="2022"/>
                  </a:lnTo>
                  <a:lnTo>
                    <a:pt x="258" y="2016"/>
                  </a:lnTo>
                  <a:lnTo>
                    <a:pt x="252" y="2016"/>
                  </a:lnTo>
                  <a:lnTo>
                    <a:pt x="246" y="2016"/>
                  </a:lnTo>
                  <a:lnTo>
                    <a:pt x="240" y="2010"/>
                  </a:lnTo>
                  <a:lnTo>
                    <a:pt x="234" y="2004"/>
                  </a:lnTo>
                  <a:lnTo>
                    <a:pt x="228" y="2004"/>
                  </a:lnTo>
                  <a:lnTo>
                    <a:pt x="228" y="1998"/>
                  </a:lnTo>
                  <a:lnTo>
                    <a:pt x="228" y="1992"/>
                  </a:lnTo>
                  <a:lnTo>
                    <a:pt x="222" y="1992"/>
                  </a:lnTo>
                  <a:lnTo>
                    <a:pt x="222" y="1986"/>
                  </a:lnTo>
                  <a:lnTo>
                    <a:pt x="216" y="1986"/>
                  </a:lnTo>
                  <a:lnTo>
                    <a:pt x="210" y="1980"/>
                  </a:lnTo>
                  <a:lnTo>
                    <a:pt x="216" y="1974"/>
                  </a:lnTo>
                  <a:lnTo>
                    <a:pt x="210" y="1968"/>
                  </a:lnTo>
                  <a:lnTo>
                    <a:pt x="198" y="1956"/>
                  </a:lnTo>
                  <a:lnTo>
                    <a:pt x="192" y="1956"/>
                  </a:lnTo>
                  <a:lnTo>
                    <a:pt x="186" y="1956"/>
                  </a:lnTo>
                  <a:lnTo>
                    <a:pt x="180" y="1944"/>
                  </a:lnTo>
                  <a:lnTo>
                    <a:pt x="180" y="1938"/>
                  </a:lnTo>
                  <a:lnTo>
                    <a:pt x="174" y="1932"/>
                  </a:lnTo>
                  <a:lnTo>
                    <a:pt x="168" y="1932"/>
                  </a:lnTo>
                  <a:lnTo>
                    <a:pt x="162" y="1932"/>
                  </a:lnTo>
                  <a:lnTo>
                    <a:pt x="150" y="1932"/>
                  </a:lnTo>
                  <a:lnTo>
                    <a:pt x="150" y="1926"/>
                  </a:lnTo>
                  <a:lnTo>
                    <a:pt x="150" y="1932"/>
                  </a:lnTo>
                  <a:lnTo>
                    <a:pt x="144" y="1932"/>
                  </a:lnTo>
                  <a:lnTo>
                    <a:pt x="138" y="1932"/>
                  </a:lnTo>
                  <a:lnTo>
                    <a:pt x="132" y="1932"/>
                  </a:lnTo>
                  <a:lnTo>
                    <a:pt x="132" y="1938"/>
                  </a:lnTo>
                  <a:lnTo>
                    <a:pt x="126" y="1944"/>
                  </a:lnTo>
                  <a:lnTo>
                    <a:pt x="126" y="1956"/>
                  </a:lnTo>
                  <a:lnTo>
                    <a:pt x="120" y="1968"/>
                  </a:lnTo>
                  <a:lnTo>
                    <a:pt x="120" y="1974"/>
                  </a:lnTo>
                  <a:lnTo>
                    <a:pt x="120" y="1980"/>
                  </a:lnTo>
                  <a:lnTo>
                    <a:pt x="126" y="1980"/>
                  </a:lnTo>
                  <a:lnTo>
                    <a:pt x="120" y="1986"/>
                  </a:lnTo>
                  <a:lnTo>
                    <a:pt x="120" y="1992"/>
                  </a:lnTo>
                  <a:lnTo>
                    <a:pt x="114" y="1992"/>
                  </a:lnTo>
                  <a:lnTo>
                    <a:pt x="114" y="1986"/>
                  </a:lnTo>
                  <a:lnTo>
                    <a:pt x="108" y="1992"/>
                  </a:lnTo>
                  <a:lnTo>
                    <a:pt x="108" y="1998"/>
                  </a:lnTo>
                  <a:lnTo>
                    <a:pt x="114" y="2004"/>
                  </a:lnTo>
                  <a:lnTo>
                    <a:pt x="108" y="2004"/>
                  </a:lnTo>
                  <a:lnTo>
                    <a:pt x="102" y="2010"/>
                  </a:lnTo>
                  <a:lnTo>
                    <a:pt x="102" y="2004"/>
                  </a:lnTo>
                  <a:lnTo>
                    <a:pt x="90" y="2004"/>
                  </a:lnTo>
                  <a:lnTo>
                    <a:pt x="84" y="2004"/>
                  </a:lnTo>
                  <a:lnTo>
                    <a:pt x="78" y="1998"/>
                  </a:lnTo>
                  <a:lnTo>
                    <a:pt x="78" y="1992"/>
                  </a:lnTo>
                  <a:lnTo>
                    <a:pt x="78" y="1986"/>
                  </a:lnTo>
                  <a:lnTo>
                    <a:pt x="72" y="1986"/>
                  </a:lnTo>
                  <a:lnTo>
                    <a:pt x="66" y="1980"/>
                  </a:lnTo>
                  <a:lnTo>
                    <a:pt x="66" y="1968"/>
                  </a:lnTo>
                  <a:lnTo>
                    <a:pt x="60" y="1956"/>
                  </a:lnTo>
                  <a:lnTo>
                    <a:pt x="60" y="1950"/>
                  </a:lnTo>
                  <a:lnTo>
                    <a:pt x="48" y="1944"/>
                  </a:lnTo>
                  <a:lnTo>
                    <a:pt x="30" y="1926"/>
                  </a:lnTo>
                  <a:lnTo>
                    <a:pt x="12" y="1890"/>
                  </a:lnTo>
                  <a:lnTo>
                    <a:pt x="6" y="1872"/>
                  </a:lnTo>
                  <a:lnTo>
                    <a:pt x="0" y="1854"/>
                  </a:lnTo>
                  <a:lnTo>
                    <a:pt x="6" y="1824"/>
                  </a:lnTo>
                  <a:lnTo>
                    <a:pt x="30" y="1794"/>
                  </a:lnTo>
                  <a:lnTo>
                    <a:pt x="66" y="1752"/>
                  </a:lnTo>
                  <a:lnTo>
                    <a:pt x="72" y="1752"/>
                  </a:lnTo>
                  <a:lnTo>
                    <a:pt x="78" y="1746"/>
                  </a:lnTo>
                  <a:lnTo>
                    <a:pt x="84" y="1746"/>
                  </a:lnTo>
                  <a:lnTo>
                    <a:pt x="90" y="1746"/>
                  </a:lnTo>
                  <a:lnTo>
                    <a:pt x="138" y="1674"/>
                  </a:lnTo>
                  <a:lnTo>
                    <a:pt x="186" y="1620"/>
                  </a:lnTo>
                  <a:lnTo>
                    <a:pt x="186" y="1614"/>
                  </a:lnTo>
                  <a:lnTo>
                    <a:pt x="186" y="1608"/>
                  </a:lnTo>
                  <a:lnTo>
                    <a:pt x="192" y="1608"/>
                  </a:lnTo>
                  <a:lnTo>
                    <a:pt x="192" y="1614"/>
                  </a:lnTo>
                  <a:lnTo>
                    <a:pt x="198" y="1614"/>
                  </a:lnTo>
                  <a:lnTo>
                    <a:pt x="198" y="1608"/>
                  </a:lnTo>
                  <a:lnTo>
                    <a:pt x="198" y="1602"/>
                  </a:lnTo>
                  <a:lnTo>
                    <a:pt x="204" y="1602"/>
                  </a:lnTo>
                  <a:lnTo>
                    <a:pt x="204" y="1596"/>
                  </a:lnTo>
                  <a:lnTo>
                    <a:pt x="210" y="1590"/>
                  </a:lnTo>
                  <a:lnTo>
                    <a:pt x="216" y="1590"/>
                  </a:lnTo>
                  <a:lnTo>
                    <a:pt x="216" y="1584"/>
                  </a:lnTo>
                  <a:lnTo>
                    <a:pt x="222" y="1584"/>
                  </a:lnTo>
                  <a:lnTo>
                    <a:pt x="228" y="1572"/>
                  </a:lnTo>
                  <a:lnTo>
                    <a:pt x="222" y="1572"/>
                  </a:lnTo>
                  <a:lnTo>
                    <a:pt x="228" y="1566"/>
                  </a:lnTo>
                  <a:lnTo>
                    <a:pt x="228" y="1560"/>
                  </a:lnTo>
                  <a:lnTo>
                    <a:pt x="252" y="1548"/>
                  </a:lnTo>
                  <a:lnTo>
                    <a:pt x="276" y="1530"/>
                  </a:lnTo>
                  <a:lnTo>
                    <a:pt x="282" y="1512"/>
                  </a:lnTo>
                  <a:lnTo>
                    <a:pt x="282" y="1506"/>
                  </a:lnTo>
                  <a:lnTo>
                    <a:pt x="282" y="1494"/>
                  </a:lnTo>
                  <a:lnTo>
                    <a:pt x="282" y="1452"/>
                  </a:lnTo>
                  <a:lnTo>
                    <a:pt x="288" y="1440"/>
                  </a:lnTo>
                  <a:lnTo>
                    <a:pt x="294" y="1440"/>
                  </a:lnTo>
                  <a:lnTo>
                    <a:pt x="294" y="1428"/>
                  </a:lnTo>
                  <a:lnTo>
                    <a:pt x="324" y="1368"/>
                  </a:lnTo>
                  <a:lnTo>
                    <a:pt x="330" y="1362"/>
                  </a:lnTo>
                  <a:lnTo>
                    <a:pt x="330" y="1356"/>
                  </a:lnTo>
                  <a:lnTo>
                    <a:pt x="360" y="1338"/>
                  </a:lnTo>
                  <a:lnTo>
                    <a:pt x="366" y="1296"/>
                  </a:lnTo>
                  <a:lnTo>
                    <a:pt x="354" y="1278"/>
                  </a:lnTo>
                  <a:lnTo>
                    <a:pt x="336" y="1230"/>
                  </a:lnTo>
                  <a:lnTo>
                    <a:pt x="270" y="1212"/>
                  </a:lnTo>
                  <a:lnTo>
                    <a:pt x="264" y="1212"/>
                  </a:lnTo>
                  <a:lnTo>
                    <a:pt x="252" y="1200"/>
                  </a:lnTo>
                  <a:lnTo>
                    <a:pt x="234" y="1188"/>
                  </a:lnTo>
                  <a:lnTo>
                    <a:pt x="222" y="1182"/>
                  </a:lnTo>
                  <a:lnTo>
                    <a:pt x="228" y="1104"/>
                  </a:lnTo>
                  <a:lnTo>
                    <a:pt x="228" y="1098"/>
                  </a:lnTo>
                  <a:lnTo>
                    <a:pt x="198" y="1038"/>
                  </a:lnTo>
                  <a:lnTo>
                    <a:pt x="192" y="1032"/>
                  </a:lnTo>
                  <a:lnTo>
                    <a:pt x="180" y="1020"/>
                  </a:lnTo>
                  <a:lnTo>
                    <a:pt x="168" y="996"/>
                  </a:lnTo>
                  <a:lnTo>
                    <a:pt x="162" y="990"/>
                  </a:lnTo>
                  <a:lnTo>
                    <a:pt x="156" y="990"/>
                  </a:lnTo>
                  <a:lnTo>
                    <a:pt x="150" y="990"/>
                  </a:lnTo>
                  <a:lnTo>
                    <a:pt x="132" y="990"/>
                  </a:lnTo>
                  <a:lnTo>
                    <a:pt x="120" y="984"/>
                  </a:lnTo>
                  <a:lnTo>
                    <a:pt x="120" y="990"/>
                  </a:lnTo>
                  <a:lnTo>
                    <a:pt x="114" y="990"/>
                  </a:lnTo>
                  <a:lnTo>
                    <a:pt x="102" y="984"/>
                  </a:lnTo>
                  <a:lnTo>
                    <a:pt x="96" y="984"/>
                  </a:lnTo>
                  <a:lnTo>
                    <a:pt x="96" y="978"/>
                  </a:lnTo>
                  <a:lnTo>
                    <a:pt x="90" y="978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84" y="960"/>
                  </a:lnTo>
                  <a:lnTo>
                    <a:pt x="84" y="954"/>
                  </a:lnTo>
                  <a:lnTo>
                    <a:pt x="78" y="948"/>
                  </a:lnTo>
                  <a:lnTo>
                    <a:pt x="72" y="948"/>
                  </a:lnTo>
                  <a:lnTo>
                    <a:pt x="72" y="942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06"/>
                  </a:lnTo>
                  <a:lnTo>
                    <a:pt x="60" y="888"/>
                  </a:lnTo>
                  <a:lnTo>
                    <a:pt x="54" y="882"/>
                  </a:lnTo>
                  <a:lnTo>
                    <a:pt x="60" y="882"/>
                  </a:lnTo>
                  <a:lnTo>
                    <a:pt x="72" y="876"/>
                  </a:lnTo>
                  <a:lnTo>
                    <a:pt x="78" y="876"/>
                  </a:lnTo>
                  <a:lnTo>
                    <a:pt x="90" y="870"/>
                  </a:lnTo>
                  <a:lnTo>
                    <a:pt x="90" y="864"/>
                  </a:lnTo>
                  <a:lnTo>
                    <a:pt x="96" y="840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80" y="822"/>
                  </a:lnTo>
                  <a:lnTo>
                    <a:pt x="204" y="798"/>
                  </a:lnTo>
                  <a:lnTo>
                    <a:pt x="222" y="786"/>
                  </a:lnTo>
                  <a:lnTo>
                    <a:pt x="252" y="780"/>
                  </a:lnTo>
                  <a:lnTo>
                    <a:pt x="264" y="762"/>
                  </a:lnTo>
                  <a:lnTo>
                    <a:pt x="276" y="762"/>
                  </a:lnTo>
                  <a:lnTo>
                    <a:pt x="288" y="744"/>
                  </a:lnTo>
                  <a:lnTo>
                    <a:pt x="306" y="738"/>
                  </a:lnTo>
                  <a:lnTo>
                    <a:pt x="318" y="732"/>
                  </a:lnTo>
                  <a:lnTo>
                    <a:pt x="324" y="648"/>
                  </a:lnTo>
                  <a:lnTo>
                    <a:pt x="324" y="636"/>
                  </a:lnTo>
                  <a:lnTo>
                    <a:pt x="324" y="630"/>
                  </a:lnTo>
                  <a:lnTo>
                    <a:pt x="330" y="624"/>
                  </a:lnTo>
                  <a:lnTo>
                    <a:pt x="324" y="618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24" y="588"/>
                  </a:lnTo>
                  <a:lnTo>
                    <a:pt x="318" y="576"/>
                  </a:lnTo>
                  <a:lnTo>
                    <a:pt x="318" y="570"/>
                  </a:lnTo>
                  <a:lnTo>
                    <a:pt x="324" y="570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30" y="558"/>
                  </a:lnTo>
                  <a:lnTo>
                    <a:pt x="336" y="558"/>
                  </a:lnTo>
                  <a:lnTo>
                    <a:pt x="342" y="558"/>
                  </a:lnTo>
                  <a:lnTo>
                    <a:pt x="348" y="558"/>
                  </a:lnTo>
                  <a:lnTo>
                    <a:pt x="354" y="564"/>
                  </a:lnTo>
                  <a:lnTo>
                    <a:pt x="360" y="564"/>
                  </a:lnTo>
                  <a:lnTo>
                    <a:pt x="366" y="570"/>
                  </a:lnTo>
                  <a:lnTo>
                    <a:pt x="366" y="576"/>
                  </a:lnTo>
                  <a:lnTo>
                    <a:pt x="372" y="570"/>
                  </a:lnTo>
                  <a:lnTo>
                    <a:pt x="378" y="570"/>
                  </a:lnTo>
                  <a:lnTo>
                    <a:pt x="390" y="570"/>
                  </a:lnTo>
                  <a:lnTo>
                    <a:pt x="402" y="570"/>
                  </a:lnTo>
                  <a:lnTo>
                    <a:pt x="408" y="570"/>
                  </a:lnTo>
                  <a:lnTo>
                    <a:pt x="414" y="564"/>
                  </a:lnTo>
                  <a:lnTo>
                    <a:pt x="420" y="564"/>
                  </a:lnTo>
                  <a:lnTo>
                    <a:pt x="420" y="570"/>
                  </a:lnTo>
                  <a:lnTo>
                    <a:pt x="426" y="570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44" y="570"/>
                  </a:lnTo>
                  <a:lnTo>
                    <a:pt x="450" y="564"/>
                  </a:lnTo>
                  <a:lnTo>
                    <a:pt x="474" y="558"/>
                  </a:lnTo>
                  <a:lnTo>
                    <a:pt x="486" y="54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40" y="474"/>
                  </a:lnTo>
                  <a:lnTo>
                    <a:pt x="558" y="456"/>
                  </a:lnTo>
                  <a:lnTo>
                    <a:pt x="582" y="450"/>
                  </a:lnTo>
                  <a:lnTo>
                    <a:pt x="594" y="414"/>
                  </a:lnTo>
                  <a:lnTo>
                    <a:pt x="612" y="390"/>
                  </a:lnTo>
                  <a:lnTo>
                    <a:pt x="636" y="390"/>
                  </a:lnTo>
                  <a:lnTo>
                    <a:pt x="666" y="390"/>
                  </a:lnTo>
                  <a:lnTo>
                    <a:pt x="696" y="390"/>
                  </a:lnTo>
                  <a:lnTo>
                    <a:pt x="726" y="390"/>
                  </a:lnTo>
                  <a:lnTo>
                    <a:pt x="762" y="378"/>
                  </a:lnTo>
                  <a:lnTo>
                    <a:pt x="780" y="366"/>
                  </a:lnTo>
                  <a:lnTo>
                    <a:pt x="780" y="342"/>
                  </a:lnTo>
                  <a:lnTo>
                    <a:pt x="786" y="342"/>
                  </a:lnTo>
                  <a:lnTo>
                    <a:pt x="786" y="336"/>
                  </a:lnTo>
                  <a:lnTo>
                    <a:pt x="786" y="330"/>
                  </a:lnTo>
                  <a:lnTo>
                    <a:pt x="786" y="324"/>
                  </a:lnTo>
                  <a:lnTo>
                    <a:pt x="816" y="318"/>
                  </a:lnTo>
                  <a:lnTo>
                    <a:pt x="834" y="312"/>
                  </a:lnTo>
                  <a:lnTo>
                    <a:pt x="840" y="318"/>
                  </a:lnTo>
                  <a:lnTo>
                    <a:pt x="852" y="318"/>
                  </a:lnTo>
                  <a:lnTo>
                    <a:pt x="858" y="306"/>
                  </a:lnTo>
                  <a:lnTo>
                    <a:pt x="864" y="288"/>
                  </a:lnTo>
                  <a:lnTo>
                    <a:pt x="870" y="282"/>
                  </a:lnTo>
                  <a:lnTo>
                    <a:pt x="876" y="276"/>
                  </a:lnTo>
                  <a:lnTo>
                    <a:pt x="882" y="264"/>
                  </a:lnTo>
                  <a:lnTo>
                    <a:pt x="882" y="258"/>
                  </a:lnTo>
                  <a:lnTo>
                    <a:pt x="888" y="252"/>
                  </a:lnTo>
                  <a:lnTo>
                    <a:pt x="894" y="240"/>
                  </a:lnTo>
                  <a:lnTo>
                    <a:pt x="906" y="228"/>
                  </a:lnTo>
                  <a:lnTo>
                    <a:pt x="912" y="228"/>
                  </a:lnTo>
                  <a:lnTo>
                    <a:pt x="936" y="228"/>
                  </a:lnTo>
                  <a:lnTo>
                    <a:pt x="942" y="222"/>
                  </a:lnTo>
                  <a:lnTo>
                    <a:pt x="948" y="216"/>
                  </a:lnTo>
                  <a:lnTo>
                    <a:pt x="954" y="216"/>
                  </a:lnTo>
                  <a:lnTo>
                    <a:pt x="960" y="216"/>
                  </a:lnTo>
                  <a:lnTo>
                    <a:pt x="966" y="216"/>
                  </a:lnTo>
                  <a:lnTo>
                    <a:pt x="978" y="216"/>
                  </a:lnTo>
                  <a:lnTo>
                    <a:pt x="990" y="222"/>
                  </a:lnTo>
                  <a:lnTo>
                    <a:pt x="996" y="222"/>
                  </a:lnTo>
                  <a:lnTo>
                    <a:pt x="1002" y="228"/>
                  </a:lnTo>
                  <a:lnTo>
                    <a:pt x="1014" y="234"/>
                  </a:lnTo>
                  <a:lnTo>
                    <a:pt x="1020" y="234"/>
                  </a:lnTo>
                  <a:lnTo>
                    <a:pt x="1032" y="240"/>
                  </a:lnTo>
                  <a:lnTo>
                    <a:pt x="1044" y="240"/>
                  </a:lnTo>
                  <a:lnTo>
                    <a:pt x="1050" y="240"/>
                  </a:lnTo>
                  <a:lnTo>
                    <a:pt x="1056" y="246"/>
                  </a:lnTo>
                  <a:lnTo>
                    <a:pt x="1068" y="264"/>
                  </a:lnTo>
                  <a:lnTo>
                    <a:pt x="1086" y="276"/>
                  </a:lnTo>
                  <a:lnTo>
                    <a:pt x="1092" y="276"/>
                  </a:lnTo>
                  <a:lnTo>
                    <a:pt x="1104" y="282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8" y="312"/>
                  </a:lnTo>
                  <a:lnTo>
                    <a:pt x="1152" y="324"/>
                  </a:lnTo>
                  <a:lnTo>
                    <a:pt x="1188" y="324"/>
                  </a:lnTo>
                  <a:lnTo>
                    <a:pt x="1206" y="318"/>
                  </a:lnTo>
                  <a:lnTo>
                    <a:pt x="1200" y="294"/>
                  </a:lnTo>
                  <a:lnTo>
                    <a:pt x="1206" y="252"/>
                  </a:lnTo>
                  <a:lnTo>
                    <a:pt x="1218" y="222"/>
                  </a:lnTo>
                  <a:lnTo>
                    <a:pt x="1212" y="222"/>
                  </a:lnTo>
                  <a:lnTo>
                    <a:pt x="1212" y="216"/>
                  </a:lnTo>
                  <a:lnTo>
                    <a:pt x="1218" y="204"/>
                  </a:lnTo>
                  <a:lnTo>
                    <a:pt x="1224" y="198"/>
                  </a:lnTo>
                  <a:lnTo>
                    <a:pt x="1224" y="192"/>
                  </a:lnTo>
                  <a:lnTo>
                    <a:pt x="1236" y="180"/>
                  </a:lnTo>
                  <a:lnTo>
                    <a:pt x="1254" y="156"/>
                  </a:lnTo>
                  <a:lnTo>
                    <a:pt x="1260" y="150"/>
                  </a:lnTo>
                  <a:lnTo>
                    <a:pt x="1260" y="144"/>
                  </a:lnTo>
                  <a:lnTo>
                    <a:pt x="1266" y="138"/>
                  </a:lnTo>
                  <a:lnTo>
                    <a:pt x="1272" y="138"/>
                  </a:lnTo>
                  <a:lnTo>
                    <a:pt x="1272" y="120"/>
                  </a:lnTo>
                  <a:lnTo>
                    <a:pt x="1278" y="114"/>
                  </a:lnTo>
                  <a:lnTo>
                    <a:pt x="1278" y="108"/>
                  </a:lnTo>
                  <a:lnTo>
                    <a:pt x="1278" y="102"/>
                  </a:lnTo>
                  <a:lnTo>
                    <a:pt x="1278" y="90"/>
                  </a:lnTo>
                  <a:lnTo>
                    <a:pt x="1278" y="84"/>
                  </a:lnTo>
                  <a:lnTo>
                    <a:pt x="1278" y="78"/>
                  </a:lnTo>
                  <a:lnTo>
                    <a:pt x="1278" y="72"/>
                  </a:lnTo>
                  <a:lnTo>
                    <a:pt x="1278" y="60"/>
                  </a:lnTo>
                  <a:lnTo>
                    <a:pt x="1284" y="48"/>
                  </a:lnTo>
                  <a:lnTo>
                    <a:pt x="1284" y="24"/>
                  </a:lnTo>
                  <a:lnTo>
                    <a:pt x="1284" y="18"/>
                  </a:lnTo>
                  <a:lnTo>
                    <a:pt x="1308" y="24"/>
                  </a:lnTo>
                  <a:lnTo>
                    <a:pt x="1332" y="30"/>
                  </a:lnTo>
                  <a:lnTo>
                    <a:pt x="1368" y="30"/>
                  </a:lnTo>
                  <a:lnTo>
                    <a:pt x="1392" y="24"/>
                  </a:lnTo>
                  <a:lnTo>
                    <a:pt x="1410" y="18"/>
                  </a:lnTo>
                  <a:lnTo>
                    <a:pt x="1416" y="6"/>
                  </a:lnTo>
                  <a:lnTo>
                    <a:pt x="1500" y="6"/>
                  </a:lnTo>
                  <a:lnTo>
                    <a:pt x="1506" y="0"/>
                  </a:lnTo>
                  <a:lnTo>
                    <a:pt x="1506" y="6"/>
                  </a:lnTo>
                  <a:lnTo>
                    <a:pt x="1506" y="18"/>
                  </a:lnTo>
                  <a:lnTo>
                    <a:pt x="1506" y="24"/>
                  </a:lnTo>
                  <a:lnTo>
                    <a:pt x="1500" y="30"/>
                  </a:lnTo>
                  <a:lnTo>
                    <a:pt x="1500" y="42"/>
                  </a:lnTo>
                  <a:lnTo>
                    <a:pt x="1494" y="54"/>
                  </a:lnTo>
                  <a:lnTo>
                    <a:pt x="1488" y="60"/>
                  </a:lnTo>
                  <a:lnTo>
                    <a:pt x="1482" y="60"/>
                  </a:lnTo>
                  <a:lnTo>
                    <a:pt x="1476" y="66"/>
                  </a:lnTo>
                  <a:lnTo>
                    <a:pt x="1476" y="72"/>
                  </a:lnTo>
                  <a:lnTo>
                    <a:pt x="1476" y="78"/>
                  </a:lnTo>
                  <a:lnTo>
                    <a:pt x="1470" y="78"/>
                  </a:lnTo>
                  <a:lnTo>
                    <a:pt x="1464" y="90"/>
                  </a:lnTo>
                  <a:lnTo>
                    <a:pt x="1458" y="96"/>
                  </a:lnTo>
                  <a:lnTo>
                    <a:pt x="1458" y="102"/>
                  </a:lnTo>
                  <a:lnTo>
                    <a:pt x="1452" y="120"/>
                  </a:lnTo>
                  <a:lnTo>
                    <a:pt x="1452" y="132"/>
                  </a:lnTo>
                  <a:lnTo>
                    <a:pt x="1446" y="144"/>
                  </a:lnTo>
                  <a:lnTo>
                    <a:pt x="1446" y="150"/>
                  </a:lnTo>
                  <a:lnTo>
                    <a:pt x="1440" y="150"/>
                  </a:lnTo>
                  <a:lnTo>
                    <a:pt x="1434" y="156"/>
                  </a:lnTo>
                  <a:lnTo>
                    <a:pt x="1428" y="168"/>
                  </a:lnTo>
                  <a:lnTo>
                    <a:pt x="1422" y="168"/>
                  </a:lnTo>
                  <a:lnTo>
                    <a:pt x="1416" y="174"/>
                  </a:lnTo>
                  <a:lnTo>
                    <a:pt x="1410" y="186"/>
                  </a:lnTo>
                  <a:lnTo>
                    <a:pt x="1410" y="204"/>
                  </a:lnTo>
                  <a:lnTo>
                    <a:pt x="1404" y="210"/>
                  </a:lnTo>
                  <a:lnTo>
                    <a:pt x="1404" y="216"/>
                  </a:lnTo>
                  <a:lnTo>
                    <a:pt x="1410" y="228"/>
                  </a:lnTo>
                  <a:lnTo>
                    <a:pt x="1410" y="234"/>
                  </a:lnTo>
                  <a:lnTo>
                    <a:pt x="1410" y="240"/>
                  </a:lnTo>
                  <a:lnTo>
                    <a:pt x="1416" y="252"/>
                  </a:lnTo>
                  <a:lnTo>
                    <a:pt x="1416" y="258"/>
                  </a:lnTo>
                  <a:lnTo>
                    <a:pt x="1422" y="264"/>
                  </a:lnTo>
                  <a:lnTo>
                    <a:pt x="1422" y="270"/>
                  </a:lnTo>
                  <a:lnTo>
                    <a:pt x="1422" y="282"/>
                  </a:lnTo>
                  <a:lnTo>
                    <a:pt x="1416" y="288"/>
                  </a:lnTo>
                  <a:lnTo>
                    <a:pt x="1410" y="294"/>
                  </a:lnTo>
                  <a:lnTo>
                    <a:pt x="1404" y="300"/>
                  </a:lnTo>
                  <a:lnTo>
                    <a:pt x="1404" y="306"/>
                  </a:lnTo>
                  <a:lnTo>
                    <a:pt x="1398" y="324"/>
                  </a:lnTo>
                  <a:lnTo>
                    <a:pt x="1404" y="330"/>
                  </a:lnTo>
                  <a:lnTo>
                    <a:pt x="1404" y="342"/>
                  </a:lnTo>
                  <a:lnTo>
                    <a:pt x="1392" y="354"/>
                  </a:lnTo>
                  <a:lnTo>
                    <a:pt x="1392" y="360"/>
                  </a:lnTo>
                  <a:lnTo>
                    <a:pt x="1392" y="372"/>
                  </a:lnTo>
                  <a:lnTo>
                    <a:pt x="1392" y="384"/>
                  </a:lnTo>
                  <a:lnTo>
                    <a:pt x="1392" y="396"/>
                  </a:lnTo>
                  <a:lnTo>
                    <a:pt x="1392" y="408"/>
                  </a:lnTo>
                  <a:lnTo>
                    <a:pt x="1386" y="414"/>
                  </a:lnTo>
                  <a:lnTo>
                    <a:pt x="1380" y="420"/>
                  </a:lnTo>
                  <a:lnTo>
                    <a:pt x="1380" y="426"/>
                  </a:lnTo>
                  <a:lnTo>
                    <a:pt x="1368" y="432"/>
                  </a:lnTo>
                  <a:lnTo>
                    <a:pt x="1362" y="444"/>
                  </a:lnTo>
                  <a:lnTo>
                    <a:pt x="1362" y="450"/>
                  </a:lnTo>
                  <a:lnTo>
                    <a:pt x="1362" y="462"/>
                  </a:lnTo>
                  <a:lnTo>
                    <a:pt x="1362" y="468"/>
                  </a:lnTo>
                  <a:lnTo>
                    <a:pt x="1362" y="474"/>
                  </a:lnTo>
                  <a:lnTo>
                    <a:pt x="1356" y="474"/>
                  </a:lnTo>
                  <a:lnTo>
                    <a:pt x="1350" y="480"/>
                  </a:lnTo>
                  <a:lnTo>
                    <a:pt x="1344" y="486"/>
                  </a:lnTo>
                  <a:lnTo>
                    <a:pt x="1338" y="498"/>
                  </a:lnTo>
                  <a:lnTo>
                    <a:pt x="1332" y="510"/>
                  </a:lnTo>
                  <a:lnTo>
                    <a:pt x="1320" y="510"/>
                  </a:lnTo>
                  <a:lnTo>
                    <a:pt x="1314" y="516"/>
                  </a:lnTo>
                  <a:lnTo>
                    <a:pt x="1302" y="522"/>
                  </a:lnTo>
                  <a:lnTo>
                    <a:pt x="1296" y="522"/>
                  </a:lnTo>
                  <a:lnTo>
                    <a:pt x="1284" y="516"/>
                  </a:lnTo>
                  <a:lnTo>
                    <a:pt x="1278" y="516"/>
                  </a:lnTo>
                  <a:lnTo>
                    <a:pt x="1272" y="522"/>
                  </a:lnTo>
                  <a:lnTo>
                    <a:pt x="1266" y="522"/>
                  </a:lnTo>
                  <a:lnTo>
                    <a:pt x="1266" y="528"/>
                  </a:lnTo>
                  <a:lnTo>
                    <a:pt x="1254" y="540"/>
                  </a:lnTo>
                  <a:lnTo>
                    <a:pt x="1248" y="546"/>
                  </a:lnTo>
                  <a:lnTo>
                    <a:pt x="1242" y="558"/>
                  </a:lnTo>
                  <a:lnTo>
                    <a:pt x="1230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30" y="594"/>
                  </a:lnTo>
                  <a:lnTo>
                    <a:pt x="1230" y="600"/>
                  </a:lnTo>
                  <a:lnTo>
                    <a:pt x="1236" y="606"/>
                  </a:lnTo>
                  <a:lnTo>
                    <a:pt x="1242" y="606"/>
                  </a:lnTo>
                  <a:lnTo>
                    <a:pt x="1242" y="612"/>
                  </a:lnTo>
                  <a:lnTo>
                    <a:pt x="1242" y="618"/>
                  </a:lnTo>
                  <a:lnTo>
                    <a:pt x="1242" y="624"/>
                  </a:lnTo>
                  <a:lnTo>
                    <a:pt x="1236" y="630"/>
                  </a:lnTo>
                  <a:lnTo>
                    <a:pt x="1230" y="642"/>
                  </a:lnTo>
                  <a:lnTo>
                    <a:pt x="1230" y="648"/>
                  </a:lnTo>
                  <a:lnTo>
                    <a:pt x="1218" y="654"/>
                  </a:lnTo>
                  <a:lnTo>
                    <a:pt x="1212" y="654"/>
                  </a:lnTo>
                  <a:lnTo>
                    <a:pt x="1212" y="660"/>
                  </a:lnTo>
                  <a:lnTo>
                    <a:pt x="1212" y="666"/>
                  </a:lnTo>
                  <a:lnTo>
                    <a:pt x="1212" y="672"/>
                  </a:lnTo>
                  <a:lnTo>
                    <a:pt x="1212" y="678"/>
                  </a:lnTo>
                  <a:lnTo>
                    <a:pt x="1218" y="684"/>
                  </a:lnTo>
                  <a:lnTo>
                    <a:pt x="1218" y="690"/>
                  </a:lnTo>
                  <a:lnTo>
                    <a:pt x="1224" y="696"/>
                  </a:lnTo>
                  <a:lnTo>
                    <a:pt x="1230" y="702"/>
                  </a:lnTo>
                  <a:lnTo>
                    <a:pt x="1236" y="696"/>
                  </a:lnTo>
                  <a:lnTo>
                    <a:pt x="1242" y="702"/>
                  </a:lnTo>
                  <a:lnTo>
                    <a:pt x="1248" y="708"/>
                  </a:lnTo>
                  <a:lnTo>
                    <a:pt x="1254" y="714"/>
                  </a:lnTo>
                  <a:lnTo>
                    <a:pt x="1254" y="720"/>
                  </a:lnTo>
                  <a:lnTo>
                    <a:pt x="1260" y="720"/>
                  </a:lnTo>
                  <a:lnTo>
                    <a:pt x="1254" y="732"/>
                  </a:lnTo>
                  <a:lnTo>
                    <a:pt x="1248" y="738"/>
                  </a:lnTo>
                  <a:lnTo>
                    <a:pt x="1242" y="744"/>
                  </a:lnTo>
                  <a:lnTo>
                    <a:pt x="1236" y="750"/>
                  </a:lnTo>
                  <a:lnTo>
                    <a:pt x="1236" y="756"/>
                  </a:lnTo>
                  <a:lnTo>
                    <a:pt x="1236" y="762"/>
                  </a:lnTo>
                  <a:lnTo>
                    <a:pt x="1236" y="768"/>
                  </a:lnTo>
                  <a:lnTo>
                    <a:pt x="1236" y="780"/>
                  </a:lnTo>
                  <a:lnTo>
                    <a:pt x="1230" y="780"/>
                  </a:lnTo>
                  <a:lnTo>
                    <a:pt x="1230" y="786"/>
                  </a:lnTo>
                  <a:lnTo>
                    <a:pt x="1230" y="792"/>
                  </a:lnTo>
                  <a:lnTo>
                    <a:pt x="1230" y="804"/>
                  </a:lnTo>
                  <a:lnTo>
                    <a:pt x="1224" y="810"/>
                  </a:lnTo>
                  <a:lnTo>
                    <a:pt x="1218" y="816"/>
                  </a:lnTo>
                  <a:lnTo>
                    <a:pt x="1224" y="822"/>
                  </a:lnTo>
                  <a:lnTo>
                    <a:pt x="1224" y="828"/>
                  </a:lnTo>
                  <a:lnTo>
                    <a:pt x="1218" y="834"/>
                  </a:lnTo>
                  <a:lnTo>
                    <a:pt x="1224" y="834"/>
                  </a:lnTo>
                  <a:lnTo>
                    <a:pt x="1224" y="840"/>
                  </a:lnTo>
                  <a:lnTo>
                    <a:pt x="1224" y="846"/>
                  </a:lnTo>
                  <a:lnTo>
                    <a:pt x="1224" y="852"/>
                  </a:lnTo>
                  <a:lnTo>
                    <a:pt x="1218" y="858"/>
                  </a:lnTo>
                  <a:lnTo>
                    <a:pt x="1218" y="870"/>
                  </a:lnTo>
                  <a:lnTo>
                    <a:pt x="1212" y="870"/>
                  </a:lnTo>
                  <a:lnTo>
                    <a:pt x="1212" y="876"/>
                  </a:lnTo>
                  <a:lnTo>
                    <a:pt x="1206" y="888"/>
                  </a:lnTo>
                  <a:lnTo>
                    <a:pt x="1200" y="882"/>
                  </a:lnTo>
                  <a:lnTo>
                    <a:pt x="1194" y="888"/>
                  </a:lnTo>
                  <a:lnTo>
                    <a:pt x="1188" y="894"/>
                  </a:lnTo>
                  <a:lnTo>
                    <a:pt x="1182" y="894"/>
                  </a:lnTo>
                  <a:lnTo>
                    <a:pt x="1182" y="900"/>
                  </a:lnTo>
                  <a:lnTo>
                    <a:pt x="1176" y="900"/>
                  </a:lnTo>
                  <a:lnTo>
                    <a:pt x="1170" y="894"/>
                  </a:lnTo>
                  <a:lnTo>
                    <a:pt x="1164" y="900"/>
                  </a:lnTo>
                  <a:lnTo>
                    <a:pt x="1158" y="900"/>
                  </a:lnTo>
                  <a:lnTo>
                    <a:pt x="1152" y="900"/>
                  </a:lnTo>
                  <a:lnTo>
                    <a:pt x="1140" y="900"/>
                  </a:lnTo>
                  <a:lnTo>
                    <a:pt x="1134" y="900"/>
                  </a:lnTo>
                  <a:lnTo>
                    <a:pt x="1128" y="906"/>
                  </a:lnTo>
                  <a:lnTo>
                    <a:pt x="1110" y="906"/>
                  </a:lnTo>
                  <a:lnTo>
                    <a:pt x="1104" y="906"/>
                  </a:lnTo>
                  <a:lnTo>
                    <a:pt x="1098" y="906"/>
                  </a:lnTo>
                  <a:lnTo>
                    <a:pt x="1092" y="912"/>
                  </a:lnTo>
                  <a:lnTo>
                    <a:pt x="1080" y="918"/>
                  </a:lnTo>
                  <a:lnTo>
                    <a:pt x="1068" y="930"/>
                  </a:lnTo>
                  <a:lnTo>
                    <a:pt x="1062" y="930"/>
                  </a:lnTo>
                  <a:lnTo>
                    <a:pt x="1056" y="930"/>
                  </a:lnTo>
                  <a:lnTo>
                    <a:pt x="1050" y="930"/>
                  </a:lnTo>
                  <a:lnTo>
                    <a:pt x="1050" y="936"/>
                  </a:lnTo>
                  <a:lnTo>
                    <a:pt x="1038" y="942"/>
                  </a:lnTo>
                  <a:lnTo>
                    <a:pt x="1032" y="948"/>
                  </a:lnTo>
                  <a:lnTo>
                    <a:pt x="1026" y="954"/>
                  </a:lnTo>
                  <a:lnTo>
                    <a:pt x="1020" y="960"/>
                  </a:lnTo>
                  <a:lnTo>
                    <a:pt x="1014" y="966"/>
                  </a:lnTo>
                  <a:lnTo>
                    <a:pt x="1002" y="966"/>
                  </a:lnTo>
                  <a:lnTo>
                    <a:pt x="990" y="978"/>
                  </a:lnTo>
                  <a:lnTo>
                    <a:pt x="984" y="978"/>
                  </a:lnTo>
                  <a:lnTo>
                    <a:pt x="978" y="984"/>
                  </a:lnTo>
                  <a:lnTo>
                    <a:pt x="972" y="984"/>
                  </a:lnTo>
                  <a:lnTo>
                    <a:pt x="978" y="990"/>
                  </a:lnTo>
                  <a:lnTo>
                    <a:pt x="972" y="996"/>
                  </a:lnTo>
                  <a:lnTo>
                    <a:pt x="978" y="1002"/>
                  </a:lnTo>
                  <a:lnTo>
                    <a:pt x="1002" y="1002"/>
                  </a:lnTo>
                  <a:lnTo>
                    <a:pt x="1002" y="1008"/>
                  </a:lnTo>
                  <a:lnTo>
                    <a:pt x="1008" y="1020"/>
                  </a:lnTo>
                  <a:lnTo>
                    <a:pt x="1002" y="1026"/>
                  </a:lnTo>
                  <a:lnTo>
                    <a:pt x="1002" y="1032"/>
                  </a:lnTo>
                  <a:lnTo>
                    <a:pt x="1002" y="1050"/>
                  </a:lnTo>
                  <a:lnTo>
                    <a:pt x="1002" y="1056"/>
                  </a:lnTo>
                  <a:lnTo>
                    <a:pt x="1008" y="1062"/>
                  </a:lnTo>
                  <a:lnTo>
                    <a:pt x="1008" y="1074"/>
                  </a:lnTo>
                  <a:lnTo>
                    <a:pt x="1008" y="1086"/>
                  </a:lnTo>
                  <a:lnTo>
                    <a:pt x="996" y="1092"/>
                  </a:lnTo>
                  <a:lnTo>
                    <a:pt x="996" y="1098"/>
                  </a:lnTo>
                  <a:lnTo>
                    <a:pt x="996" y="1104"/>
                  </a:lnTo>
                  <a:lnTo>
                    <a:pt x="990" y="1110"/>
                  </a:lnTo>
                  <a:lnTo>
                    <a:pt x="990" y="1116"/>
                  </a:lnTo>
                  <a:lnTo>
                    <a:pt x="996" y="1122"/>
                  </a:lnTo>
                  <a:lnTo>
                    <a:pt x="990" y="1128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96" y="1140"/>
                  </a:lnTo>
                  <a:lnTo>
                    <a:pt x="996" y="1146"/>
                  </a:lnTo>
                  <a:lnTo>
                    <a:pt x="996" y="1152"/>
                  </a:lnTo>
                  <a:lnTo>
                    <a:pt x="996" y="1158"/>
                  </a:lnTo>
                  <a:lnTo>
                    <a:pt x="996" y="1164"/>
                  </a:lnTo>
                  <a:lnTo>
                    <a:pt x="996" y="1170"/>
                  </a:lnTo>
                  <a:lnTo>
                    <a:pt x="996" y="1176"/>
                  </a:lnTo>
                  <a:lnTo>
                    <a:pt x="990" y="1182"/>
                  </a:lnTo>
                  <a:lnTo>
                    <a:pt x="990" y="1188"/>
                  </a:lnTo>
                  <a:lnTo>
                    <a:pt x="984" y="1200"/>
                  </a:lnTo>
                  <a:lnTo>
                    <a:pt x="990" y="1206"/>
                  </a:lnTo>
                  <a:lnTo>
                    <a:pt x="990" y="1212"/>
                  </a:lnTo>
                  <a:lnTo>
                    <a:pt x="990" y="1218"/>
                  </a:lnTo>
                  <a:lnTo>
                    <a:pt x="978" y="1230"/>
                  </a:lnTo>
                  <a:lnTo>
                    <a:pt x="972" y="1236"/>
                  </a:lnTo>
                  <a:lnTo>
                    <a:pt x="972" y="1242"/>
                  </a:lnTo>
                  <a:lnTo>
                    <a:pt x="966" y="1248"/>
                  </a:lnTo>
                  <a:lnTo>
                    <a:pt x="960" y="1260"/>
                  </a:lnTo>
                  <a:lnTo>
                    <a:pt x="954" y="1266"/>
                  </a:lnTo>
                  <a:lnTo>
                    <a:pt x="942" y="1278"/>
                  </a:lnTo>
                  <a:lnTo>
                    <a:pt x="936" y="1278"/>
                  </a:lnTo>
                  <a:lnTo>
                    <a:pt x="936" y="1284"/>
                  </a:lnTo>
                  <a:lnTo>
                    <a:pt x="936" y="1296"/>
                  </a:lnTo>
                  <a:lnTo>
                    <a:pt x="936" y="1302"/>
                  </a:lnTo>
                  <a:lnTo>
                    <a:pt x="942" y="1302"/>
                  </a:lnTo>
                  <a:lnTo>
                    <a:pt x="942" y="1308"/>
                  </a:lnTo>
                  <a:lnTo>
                    <a:pt x="936" y="1314"/>
                  </a:lnTo>
                  <a:lnTo>
                    <a:pt x="930" y="1320"/>
                  </a:lnTo>
                  <a:lnTo>
                    <a:pt x="930" y="1326"/>
                  </a:lnTo>
                  <a:lnTo>
                    <a:pt x="930" y="1332"/>
                  </a:lnTo>
                  <a:lnTo>
                    <a:pt x="936" y="1338"/>
                  </a:lnTo>
                  <a:lnTo>
                    <a:pt x="936" y="1344"/>
                  </a:lnTo>
                  <a:lnTo>
                    <a:pt x="942" y="1356"/>
                  </a:lnTo>
                  <a:lnTo>
                    <a:pt x="948" y="1368"/>
                  </a:lnTo>
                  <a:lnTo>
                    <a:pt x="942" y="1380"/>
                  </a:lnTo>
                  <a:lnTo>
                    <a:pt x="936" y="1386"/>
                  </a:lnTo>
                  <a:lnTo>
                    <a:pt x="930" y="1392"/>
                  </a:lnTo>
                  <a:lnTo>
                    <a:pt x="924" y="1392"/>
                  </a:lnTo>
                  <a:lnTo>
                    <a:pt x="918" y="1386"/>
                  </a:lnTo>
                  <a:lnTo>
                    <a:pt x="912" y="1386"/>
                  </a:lnTo>
                  <a:lnTo>
                    <a:pt x="906" y="1386"/>
                  </a:lnTo>
                  <a:lnTo>
                    <a:pt x="900" y="1386"/>
                  </a:lnTo>
                  <a:lnTo>
                    <a:pt x="900" y="1392"/>
                  </a:lnTo>
                  <a:lnTo>
                    <a:pt x="894" y="1392"/>
                  </a:lnTo>
                  <a:lnTo>
                    <a:pt x="888" y="1392"/>
                  </a:lnTo>
                  <a:lnTo>
                    <a:pt x="888" y="1398"/>
                  </a:lnTo>
                  <a:lnTo>
                    <a:pt x="882" y="1404"/>
                  </a:lnTo>
                  <a:lnTo>
                    <a:pt x="882" y="1416"/>
                  </a:lnTo>
                  <a:lnTo>
                    <a:pt x="882" y="1428"/>
                  </a:lnTo>
                  <a:lnTo>
                    <a:pt x="882" y="1434"/>
                  </a:lnTo>
                  <a:lnTo>
                    <a:pt x="870" y="1440"/>
                  </a:lnTo>
                  <a:lnTo>
                    <a:pt x="864" y="1452"/>
                  </a:lnTo>
                  <a:lnTo>
                    <a:pt x="870" y="1452"/>
                  </a:lnTo>
                  <a:lnTo>
                    <a:pt x="864" y="1458"/>
                  </a:lnTo>
                  <a:lnTo>
                    <a:pt x="858" y="1464"/>
                  </a:lnTo>
                  <a:lnTo>
                    <a:pt x="852" y="1464"/>
                  </a:lnTo>
                  <a:lnTo>
                    <a:pt x="846" y="1458"/>
                  </a:lnTo>
                  <a:lnTo>
                    <a:pt x="840" y="1458"/>
                  </a:lnTo>
                  <a:lnTo>
                    <a:pt x="828" y="1470"/>
                  </a:lnTo>
                  <a:lnTo>
                    <a:pt x="810" y="1482"/>
                  </a:lnTo>
                  <a:lnTo>
                    <a:pt x="804" y="1488"/>
                  </a:lnTo>
                  <a:lnTo>
                    <a:pt x="798" y="1488"/>
                  </a:lnTo>
                  <a:lnTo>
                    <a:pt x="792" y="1488"/>
                  </a:lnTo>
                  <a:lnTo>
                    <a:pt x="786" y="1488"/>
                  </a:lnTo>
                  <a:lnTo>
                    <a:pt x="768" y="1482"/>
                  </a:lnTo>
                  <a:lnTo>
                    <a:pt x="762" y="1476"/>
                  </a:lnTo>
                  <a:lnTo>
                    <a:pt x="744" y="1476"/>
                  </a:lnTo>
                  <a:lnTo>
                    <a:pt x="738" y="1476"/>
                  </a:lnTo>
                  <a:lnTo>
                    <a:pt x="732" y="1476"/>
                  </a:lnTo>
                  <a:lnTo>
                    <a:pt x="726" y="1482"/>
                  </a:lnTo>
                  <a:lnTo>
                    <a:pt x="726" y="1488"/>
                  </a:lnTo>
                  <a:lnTo>
                    <a:pt x="726" y="1494"/>
                  </a:lnTo>
                  <a:lnTo>
                    <a:pt x="726" y="1500"/>
                  </a:lnTo>
                  <a:lnTo>
                    <a:pt x="720" y="1500"/>
                  </a:lnTo>
                  <a:lnTo>
                    <a:pt x="720" y="1506"/>
                  </a:lnTo>
                  <a:lnTo>
                    <a:pt x="714" y="1512"/>
                  </a:lnTo>
                  <a:lnTo>
                    <a:pt x="714" y="1518"/>
                  </a:lnTo>
                  <a:lnTo>
                    <a:pt x="708" y="1518"/>
                  </a:lnTo>
                  <a:lnTo>
                    <a:pt x="708" y="1530"/>
                  </a:lnTo>
                  <a:lnTo>
                    <a:pt x="708" y="1536"/>
                  </a:lnTo>
                  <a:lnTo>
                    <a:pt x="708" y="1542"/>
                  </a:lnTo>
                  <a:lnTo>
                    <a:pt x="696" y="1554"/>
                  </a:lnTo>
                  <a:lnTo>
                    <a:pt x="690" y="1560"/>
                  </a:lnTo>
                  <a:lnTo>
                    <a:pt x="684" y="1566"/>
                  </a:lnTo>
                  <a:lnTo>
                    <a:pt x="672" y="1566"/>
                  </a:lnTo>
                  <a:lnTo>
                    <a:pt x="666" y="1566"/>
                  </a:lnTo>
                  <a:lnTo>
                    <a:pt x="660" y="1566"/>
                  </a:lnTo>
                  <a:lnTo>
                    <a:pt x="654" y="1572"/>
                  </a:lnTo>
                  <a:lnTo>
                    <a:pt x="654" y="1578"/>
                  </a:lnTo>
                  <a:lnTo>
                    <a:pt x="642" y="1578"/>
                  </a:lnTo>
                  <a:lnTo>
                    <a:pt x="630" y="1572"/>
                  </a:lnTo>
                  <a:lnTo>
                    <a:pt x="624" y="1572"/>
                  </a:lnTo>
                  <a:lnTo>
                    <a:pt x="618" y="1578"/>
                  </a:lnTo>
                  <a:lnTo>
                    <a:pt x="612" y="1584"/>
                  </a:lnTo>
                  <a:lnTo>
                    <a:pt x="606" y="1584"/>
                  </a:lnTo>
                  <a:lnTo>
                    <a:pt x="600" y="1590"/>
                  </a:lnTo>
                  <a:lnTo>
                    <a:pt x="594" y="1590"/>
                  </a:lnTo>
                  <a:lnTo>
                    <a:pt x="588" y="1590"/>
                  </a:lnTo>
                  <a:lnTo>
                    <a:pt x="582" y="1590"/>
                  </a:lnTo>
                  <a:lnTo>
                    <a:pt x="582" y="1596"/>
                  </a:lnTo>
                  <a:lnTo>
                    <a:pt x="576" y="1614"/>
                  </a:lnTo>
                  <a:lnTo>
                    <a:pt x="570" y="1632"/>
                  </a:lnTo>
                  <a:lnTo>
                    <a:pt x="570" y="1638"/>
                  </a:lnTo>
                  <a:lnTo>
                    <a:pt x="576" y="1644"/>
                  </a:lnTo>
                  <a:lnTo>
                    <a:pt x="576" y="1650"/>
                  </a:lnTo>
                  <a:lnTo>
                    <a:pt x="582" y="1662"/>
                  </a:lnTo>
                  <a:lnTo>
                    <a:pt x="582" y="1668"/>
                  </a:lnTo>
                  <a:lnTo>
                    <a:pt x="588" y="1692"/>
                  </a:lnTo>
                  <a:lnTo>
                    <a:pt x="594" y="1728"/>
                  </a:lnTo>
                  <a:lnTo>
                    <a:pt x="594" y="1752"/>
                  </a:lnTo>
                  <a:lnTo>
                    <a:pt x="594" y="1764"/>
                  </a:lnTo>
                  <a:lnTo>
                    <a:pt x="582" y="1770"/>
                  </a:lnTo>
                  <a:lnTo>
                    <a:pt x="582" y="1782"/>
                  </a:lnTo>
                  <a:lnTo>
                    <a:pt x="576" y="1788"/>
                  </a:lnTo>
                  <a:lnTo>
                    <a:pt x="570" y="1794"/>
                  </a:lnTo>
                  <a:lnTo>
                    <a:pt x="564" y="1806"/>
                  </a:lnTo>
                  <a:lnTo>
                    <a:pt x="564" y="1812"/>
                  </a:lnTo>
                  <a:lnTo>
                    <a:pt x="558" y="1812"/>
                  </a:lnTo>
                  <a:lnTo>
                    <a:pt x="564" y="1824"/>
                  </a:lnTo>
                  <a:lnTo>
                    <a:pt x="564" y="1830"/>
                  </a:lnTo>
                  <a:lnTo>
                    <a:pt x="564" y="1842"/>
                  </a:lnTo>
                  <a:lnTo>
                    <a:pt x="564" y="1848"/>
                  </a:lnTo>
                  <a:lnTo>
                    <a:pt x="564" y="1854"/>
                  </a:lnTo>
                  <a:lnTo>
                    <a:pt x="570" y="1860"/>
                  </a:lnTo>
                  <a:lnTo>
                    <a:pt x="570" y="1866"/>
                  </a:lnTo>
                  <a:lnTo>
                    <a:pt x="570" y="1872"/>
                  </a:lnTo>
                  <a:lnTo>
                    <a:pt x="570" y="1878"/>
                  </a:lnTo>
                  <a:lnTo>
                    <a:pt x="564" y="1890"/>
                  </a:lnTo>
                  <a:lnTo>
                    <a:pt x="558" y="1896"/>
                  </a:lnTo>
                  <a:lnTo>
                    <a:pt x="552" y="1908"/>
                  </a:lnTo>
                  <a:lnTo>
                    <a:pt x="546" y="1914"/>
                  </a:lnTo>
                  <a:lnTo>
                    <a:pt x="540" y="1920"/>
                  </a:lnTo>
                  <a:lnTo>
                    <a:pt x="534" y="1932"/>
                  </a:lnTo>
                  <a:lnTo>
                    <a:pt x="528" y="1944"/>
                  </a:lnTo>
                  <a:lnTo>
                    <a:pt x="516" y="1950"/>
                  </a:lnTo>
                  <a:lnTo>
                    <a:pt x="510" y="1956"/>
                  </a:lnTo>
                  <a:lnTo>
                    <a:pt x="498" y="1962"/>
                  </a:lnTo>
                  <a:lnTo>
                    <a:pt x="492" y="1974"/>
                  </a:lnTo>
                  <a:lnTo>
                    <a:pt x="486" y="1980"/>
                  </a:lnTo>
                  <a:lnTo>
                    <a:pt x="480" y="1998"/>
                  </a:lnTo>
                  <a:lnTo>
                    <a:pt x="474" y="2004"/>
                  </a:lnTo>
                  <a:lnTo>
                    <a:pt x="474" y="2010"/>
                  </a:lnTo>
                  <a:lnTo>
                    <a:pt x="474" y="2016"/>
                  </a:lnTo>
                  <a:lnTo>
                    <a:pt x="468" y="2016"/>
                  </a:lnTo>
                  <a:lnTo>
                    <a:pt x="468" y="2028"/>
                  </a:lnTo>
                  <a:lnTo>
                    <a:pt x="462" y="2034"/>
                  </a:lnTo>
                  <a:lnTo>
                    <a:pt x="456" y="2040"/>
                  </a:lnTo>
                  <a:lnTo>
                    <a:pt x="456" y="2052"/>
                  </a:lnTo>
                  <a:lnTo>
                    <a:pt x="450" y="2058"/>
                  </a:lnTo>
                  <a:lnTo>
                    <a:pt x="450" y="2070"/>
                  </a:lnTo>
                  <a:lnTo>
                    <a:pt x="450" y="2076"/>
                  </a:lnTo>
                  <a:lnTo>
                    <a:pt x="450" y="2082"/>
                  </a:lnTo>
                  <a:lnTo>
                    <a:pt x="444" y="2088"/>
                  </a:lnTo>
                  <a:lnTo>
                    <a:pt x="438" y="2094"/>
                  </a:lnTo>
                  <a:lnTo>
                    <a:pt x="444" y="2100"/>
                  </a:lnTo>
                  <a:lnTo>
                    <a:pt x="444" y="2124"/>
                  </a:lnTo>
                  <a:lnTo>
                    <a:pt x="444" y="2142"/>
                  </a:lnTo>
                  <a:lnTo>
                    <a:pt x="444" y="2160"/>
                  </a:lnTo>
                  <a:lnTo>
                    <a:pt x="450" y="2166"/>
                  </a:lnTo>
                  <a:lnTo>
                    <a:pt x="456" y="2178"/>
                  </a:lnTo>
                  <a:lnTo>
                    <a:pt x="438" y="2184"/>
                  </a:lnTo>
                  <a:lnTo>
                    <a:pt x="432" y="2184"/>
                  </a:lnTo>
                  <a:lnTo>
                    <a:pt x="426" y="2190"/>
                  </a:lnTo>
                  <a:lnTo>
                    <a:pt x="408" y="2190"/>
                  </a:lnTo>
                  <a:lnTo>
                    <a:pt x="402" y="2196"/>
                  </a:lnTo>
                  <a:lnTo>
                    <a:pt x="396" y="2196"/>
                  </a:lnTo>
                  <a:lnTo>
                    <a:pt x="384" y="2208"/>
                  </a:lnTo>
                  <a:lnTo>
                    <a:pt x="378" y="2220"/>
                  </a:lnTo>
                  <a:lnTo>
                    <a:pt x="366" y="2232"/>
                  </a:lnTo>
                  <a:lnTo>
                    <a:pt x="366" y="2238"/>
                  </a:lnTo>
                  <a:lnTo>
                    <a:pt x="360" y="2238"/>
                  </a:lnTo>
                  <a:lnTo>
                    <a:pt x="360" y="2244"/>
                  </a:lnTo>
                  <a:lnTo>
                    <a:pt x="354" y="2244"/>
                  </a:lnTo>
                  <a:lnTo>
                    <a:pt x="330" y="227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5" name="Freeform 10">
              <a:extLst>
                <a:ext uri="{FF2B5EF4-FFF2-40B4-BE49-F238E27FC236}">
                  <a16:creationId xmlns:a16="http://schemas.microsoft.com/office/drawing/2014/main" id="{3AD2FC58-3490-4B7F-A8BE-621F3CDD69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1996" y="1931890"/>
              <a:ext cx="805029" cy="1037736"/>
            </a:xfrm>
            <a:custGeom>
              <a:avLst/>
              <a:gdLst>
                <a:gd name="T0" fmla="*/ 124 w 1512"/>
                <a:gd name="T1" fmla="*/ 76 h 1956"/>
                <a:gd name="T2" fmla="*/ 120 w 1512"/>
                <a:gd name="T3" fmla="*/ 80 h 1956"/>
                <a:gd name="T4" fmla="*/ 106 w 1512"/>
                <a:gd name="T5" fmla="*/ 84 h 1956"/>
                <a:gd name="T6" fmla="*/ 105 w 1512"/>
                <a:gd name="T7" fmla="*/ 91 h 1956"/>
                <a:gd name="T8" fmla="*/ 101 w 1512"/>
                <a:gd name="T9" fmla="*/ 99 h 1956"/>
                <a:gd name="T10" fmla="*/ 105 w 1512"/>
                <a:gd name="T11" fmla="*/ 107 h 1956"/>
                <a:gd name="T12" fmla="*/ 119 w 1512"/>
                <a:gd name="T13" fmla="*/ 116 h 1956"/>
                <a:gd name="T14" fmla="*/ 121 w 1512"/>
                <a:gd name="T15" fmla="*/ 128 h 1956"/>
                <a:gd name="T16" fmla="*/ 112 w 1512"/>
                <a:gd name="T17" fmla="*/ 136 h 1956"/>
                <a:gd name="T18" fmla="*/ 119 w 1512"/>
                <a:gd name="T19" fmla="*/ 143 h 1956"/>
                <a:gd name="T20" fmla="*/ 126 w 1512"/>
                <a:gd name="T21" fmla="*/ 148 h 1956"/>
                <a:gd name="T22" fmla="*/ 126 w 1512"/>
                <a:gd name="T23" fmla="*/ 160 h 1956"/>
                <a:gd name="T24" fmla="*/ 104 w 1512"/>
                <a:gd name="T25" fmla="*/ 170 h 1956"/>
                <a:gd name="T26" fmla="*/ 99 w 1512"/>
                <a:gd name="T27" fmla="*/ 164 h 1956"/>
                <a:gd name="T28" fmla="*/ 73 w 1512"/>
                <a:gd name="T29" fmla="*/ 152 h 1956"/>
                <a:gd name="T30" fmla="*/ 56 w 1512"/>
                <a:gd name="T31" fmla="*/ 165 h 1956"/>
                <a:gd name="T32" fmla="*/ 33 w 1512"/>
                <a:gd name="T33" fmla="*/ 162 h 1956"/>
                <a:gd name="T34" fmla="*/ 25 w 1512"/>
                <a:gd name="T35" fmla="*/ 155 h 1956"/>
                <a:gd name="T36" fmla="*/ 31 w 1512"/>
                <a:gd name="T37" fmla="*/ 142 h 1956"/>
                <a:gd name="T38" fmla="*/ 24 w 1512"/>
                <a:gd name="T39" fmla="*/ 137 h 1956"/>
                <a:gd name="T40" fmla="*/ 14 w 1512"/>
                <a:gd name="T41" fmla="*/ 136 h 1956"/>
                <a:gd name="T42" fmla="*/ 11 w 1512"/>
                <a:gd name="T43" fmla="*/ 125 h 1956"/>
                <a:gd name="T44" fmla="*/ 3 w 1512"/>
                <a:gd name="T45" fmla="*/ 116 h 1956"/>
                <a:gd name="T46" fmla="*/ 2 w 1512"/>
                <a:gd name="T47" fmla="*/ 106 h 1956"/>
                <a:gd name="T48" fmla="*/ 5 w 1512"/>
                <a:gd name="T49" fmla="*/ 101 h 1956"/>
                <a:gd name="T50" fmla="*/ 2 w 1512"/>
                <a:gd name="T51" fmla="*/ 95 h 1956"/>
                <a:gd name="T52" fmla="*/ 1 w 1512"/>
                <a:gd name="T53" fmla="*/ 88 h 1956"/>
                <a:gd name="T54" fmla="*/ 4 w 1512"/>
                <a:gd name="T55" fmla="*/ 80 h 1956"/>
                <a:gd name="T56" fmla="*/ 12 w 1512"/>
                <a:gd name="T57" fmla="*/ 73 h 1956"/>
                <a:gd name="T58" fmla="*/ 16 w 1512"/>
                <a:gd name="T59" fmla="*/ 68 h 1956"/>
                <a:gd name="T60" fmla="*/ 22 w 1512"/>
                <a:gd name="T61" fmla="*/ 66 h 1956"/>
                <a:gd name="T62" fmla="*/ 32 w 1512"/>
                <a:gd name="T63" fmla="*/ 65 h 1956"/>
                <a:gd name="T64" fmla="*/ 45 w 1512"/>
                <a:gd name="T65" fmla="*/ 66 h 1956"/>
                <a:gd name="T66" fmla="*/ 50 w 1512"/>
                <a:gd name="T67" fmla="*/ 70 h 1956"/>
                <a:gd name="T68" fmla="*/ 55 w 1512"/>
                <a:gd name="T69" fmla="*/ 70 h 1956"/>
                <a:gd name="T70" fmla="*/ 63 w 1512"/>
                <a:gd name="T71" fmla="*/ 71 h 1956"/>
                <a:gd name="T72" fmla="*/ 61 w 1512"/>
                <a:gd name="T73" fmla="*/ 75 h 1956"/>
                <a:gd name="T74" fmla="*/ 66 w 1512"/>
                <a:gd name="T75" fmla="*/ 84 h 1956"/>
                <a:gd name="T76" fmla="*/ 81 w 1512"/>
                <a:gd name="T77" fmla="*/ 85 h 1956"/>
                <a:gd name="T78" fmla="*/ 83 w 1512"/>
                <a:gd name="T79" fmla="*/ 79 h 1956"/>
                <a:gd name="T80" fmla="*/ 89 w 1512"/>
                <a:gd name="T81" fmla="*/ 77 h 1956"/>
                <a:gd name="T82" fmla="*/ 89 w 1512"/>
                <a:gd name="T83" fmla="*/ 73 h 1956"/>
                <a:gd name="T84" fmla="*/ 83 w 1512"/>
                <a:gd name="T85" fmla="*/ 72 h 1956"/>
                <a:gd name="T86" fmla="*/ 77 w 1512"/>
                <a:gd name="T87" fmla="*/ 70 h 1956"/>
                <a:gd name="T88" fmla="*/ 71 w 1512"/>
                <a:gd name="T89" fmla="*/ 70 h 1956"/>
                <a:gd name="T90" fmla="*/ 59 w 1512"/>
                <a:gd name="T91" fmla="*/ 58 h 1956"/>
                <a:gd name="T92" fmla="*/ 54 w 1512"/>
                <a:gd name="T93" fmla="*/ 45 h 1956"/>
                <a:gd name="T94" fmla="*/ 49 w 1512"/>
                <a:gd name="T95" fmla="*/ 42 h 1956"/>
                <a:gd name="T96" fmla="*/ 51 w 1512"/>
                <a:gd name="T97" fmla="*/ 39 h 1956"/>
                <a:gd name="T98" fmla="*/ 55 w 1512"/>
                <a:gd name="T99" fmla="*/ 36 h 1956"/>
                <a:gd name="T100" fmla="*/ 63 w 1512"/>
                <a:gd name="T101" fmla="*/ 34 h 1956"/>
                <a:gd name="T102" fmla="*/ 68 w 1512"/>
                <a:gd name="T103" fmla="*/ 32 h 1956"/>
                <a:gd name="T104" fmla="*/ 73 w 1512"/>
                <a:gd name="T105" fmla="*/ 29 h 1956"/>
                <a:gd name="T106" fmla="*/ 78 w 1512"/>
                <a:gd name="T107" fmla="*/ 27 h 1956"/>
                <a:gd name="T108" fmla="*/ 81 w 1512"/>
                <a:gd name="T109" fmla="*/ 17 h 1956"/>
                <a:gd name="T110" fmla="*/ 84 w 1512"/>
                <a:gd name="T111" fmla="*/ 6 h 1956"/>
                <a:gd name="T112" fmla="*/ 95 w 1512"/>
                <a:gd name="T113" fmla="*/ 6 h 1956"/>
                <a:gd name="T114" fmla="*/ 99 w 1512"/>
                <a:gd name="T115" fmla="*/ 3 h 1956"/>
                <a:gd name="T116" fmla="*/ 103 w 1512"/>
                <a:gd name="T117" fmla="*/ 0 h 1956"/>
                <a:gd name="T118" fmla="*/ 110 w 1512"/>
                <a:gd name="T119" fmla="*/ 4 h 1956"/>
                <a:gd name="T120" fmla="*/ 114 w 1512"/>
                <a:gd name="T121" fmla="*/ 33 h 1956"/>
                <a:gd name="T122" fmla="*/ 117 w 1512"/>
                <a:gd name="T123" fmla="*/ 41 h 1956"/>
                <a:gd name="T124" fmla="*/ 119 w 1512"/>
                <a:gd name="T125" fmla="*/ 62 h 195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12"/>
                <a:gd name="T190" fmla="*/ 0 h 1956"/>
                <a:gd name="T191" fmla="*/ 1512 w 1512"/>
                <a:gd name="T192" fmla="*/ 1956 h 195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12" h="1956">
                  <a:moveTo>
                    <a:pt x="1512" y="780"/>
                  </a:moveTo>
                  <a:lnTo>
                    <a:pt x="1482" y="786"/>
                  </a:lnTo>
                  <a:lnTo>
                    <a:pt x="1476" y="792"/>
                  </a:lnTo>
                  <a:lnTo>
                    <a:pt x="1476" y="798"/>
                  </a:lnTo>
                  <a:lnTo>
                    <a:pt x="1476" y="804"/>
                  </a:lnTo>
                  <a:lnTo>
                    <a:pt x="1476" y="816"/>
                  </a:lnTo>
                  <a:lnTo>
                    <a:pt x="1470" y="834"/>
                  </a:lnTo>
                  <a:lnTo>
                    <a:pt x="1464" y="840"/>
                  </a:lnTo>
                  <a:lnTo>
                    <a:pt x="1452" y="852"/>
                  </a:lnTo>
                  <a:lnTo>
                    <a:pt x="1440" y="864"/>
                  </a:lnTo>
                  <a:lnTo>
                    <a:pt x="1434" y="864"/>
                  </a:lnTo>
                  <a:lnTo>
                    <a:pt x="1434" y="870"/>
                  </a:lnTo>
                  <a:lnTo>
                    <a:pt x="1422" y="876"/>
                  </a:lnTo>
                  <a:lnTo>
                    <a:pt x="1410" y="894"/>
                  </a:lnTo>
                  <a:lnTo>
                    <a:pt x="1404" y="894"/>
                  </a:lnTo>
                  <a:lnTo>
                    <a:pt x="1404" y="900"/>
                  </a:lnTo>
                  <a:lnTo>
                    <a:pt x="1404" y="906"/>
                  </a:lnTo>
                  <a:lnTo>
                    <a:pt x="1410" y="918"/>
                  </a:lnTo>
                  <a:lnTo>
                    <a:pt x="1404" y="918"/>
                  </a:lnTo>
                  <a:lnTo>
                    <a:pt x="1392" y="924"/>
                  </a:lnTo>
                  <a:lnTo>
                    <a:pt x="1386" y="924"/>
                  </a:lnTo>
                  <a:lnTo>
                    <a:pt x="1380" y="924"/>
                  </a:lnTo>
                  <a:lnTo>
                    <a:pt x="1380" y="930"/>
                  </a:lnTo>
                  <a:lnTo>
                    <a:pt x="1374" y="930"/>
                  </a:lnTo>
                  <a:lnTo>
                    <a:pt x="1374" y="924"/>
                  </a:lnTo>
                  <a:lnTo>
                    <a:pt x="1374" y="918"/>
                  </a:lnTo>
                  <a:lnTo>
                    <a:pt x="1368" y="912"/>
                  </a:lnTo>
                  <a:lnTo>
                    <a:pt x="1368" y="906"/>
                  </a:lnTo>
                  <a:lnTo>
                    <a:pt x="1368" y="900"/>
                  </a:lnTo>
                  <a:lnTo>
                    <a:pt x="1368" y="894"/>
                  </a:lnTo>
                  <a:lnTo>
                    <a:pt x="1362" y="894"/>
                  </a:lnTo>
                  <a:lnTo>
                    <a:pt x="1326" y="894"/>
                  </a:lnTo>
                  <a:lnTo>
                    <a:pt x="1302" y="906"/>
                  </a:lnTo>
                  <a:lnTo>
                    <a:pt x="1284" y="918"/>
                  </a:lnTo>
                  <a:lnTo>
                    <a:pt x="1284" y="924"/>
                  </a:lnTo>
                  <a:lnTo>
                    <a:pt x="1278" y="930"/>
                  </a:lnTo>
                  <a:lnTo>
                    <a:pt x="1266" y="930"/>
                  </a:lnTo>
                  <a:lnTo>
                    <a:pt x="1236" y="954"/>
                  </a:lnTo>
                  <a:lnTo>
                    <a:pt x="1212" y="972"/>
                  </a:lnTo>
                  <a:lnTo>
                    <a:pt x="1218" y="996"/>
                  </a:lnTo>
                  <a:lnTo>
                    <a:pt x="1224" y="1008"/>
                  </a:lnTo>
                  <a:lnTo>
                    <a:pt x="1236" y="1014"/>
                  </a:lnTo>
                  <a:lnTo>
                    <a:pt x="1242" y="1026"/>
                  </a:lnTo>
                  <a:lnTo>
                    <a:pt x="1248" y="1038"/>
                  </a:lnTo>
                  <a:lnTo>
                    <a:pt x="1260" y="1050"/>
                  </a:lnTo>
                  <a:lnTo>
                    <a:pt x="1260" y="1056"/>
                  </a:lnTo>
                  <a:lnTo>
                    <a:pt x="1260" y="1074"/>
                  </a:lnTo>
                  <a:lnTo>
                    <a:pt x="1254" y="1074"/>
                  </a:lnTo>
                  <a:lnTo>
                    <a:pt x="1236" y="1056"/>
                  </a:lnTo>
                  <a:lnTo>
                    <a:pt x="1224" y="1050"/>
                  </a:lnTo>
                  <a:lnTo>
                    <a:pt x="1212" y="1050"/>
                  </a:lnTo>
                  <a:lnTo>
                    <a:pt x="1206" y="1050"/>
                  </a:lnTo>
                  <a:lnTo>
                    <a:pt x="1200" y="1056"/>
                  </a:lnTo>
                  <a:lnTo>
                    <a:pt x="1194" y="1062"/>
                  </a:lnTo>
                  <a:lnTo>
                    <a:pt x="1188" y="1068"/>
                  </a:lnTo>
                  <a:lnTo>
                    <a:pt x="1188" y="1074"/>
                  </a:lnTo>
                  <a:lnTo>
                    <a:pt x="1176" y="1086"/>
                  </a:lnTo>
                  <a:lnTo>
                    <a:pt x="1170" y="1086"/>
                  </a:lnTo>
                  <a:lnTo>
                    <a:pt x="1170" y="1092"/>
                  </a:lnTo>
                  <a:lnTo>
                    <a:pt x="1164" y="1098"/>
                  </a:lnTo>
                  <a:lnTo>
                    <a:pt x="1158" y="1110"/>
                  </a:lnTo>
                  <a:lnTo>
                    <a:pt x="1152" y="1116"/>
                  </a:lnTo>
                  <a:lnTo>
                    <a:pt x="1152" y="1122"/>
                  </a:lnTo>
                  <a:lnTo>
                    <a:pt x="1146" y="1128"/>
                  </a:lnTo>
                  <a:lnTo>
                    <a:pt x="1152" y="1140"/>
                  </a:lnTo>
                  <a:lnTo>
                    <a:pt x="1158" y="1140"/>
                  </a:lnTo>
                  <a:lnTo>
                    <a:pt x="1164" y="1146"/>
                  </a:lnTo>
                  <a:lnTo>
                    <a:pt x="1164" y="1152"/>
                  </a:lnTo>
                  <a:lnTo>
                    <a:pt x="1170" y="1164"/>
                  </a:lnTo>
                  <a:lnTo>
                    <a:pt x="1164" y="1176"/>
                  </a:lnTo>
                  <a:lnTo>
                    <a:pt x="1170" y="1182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82" y="1218"/>
                  </a:lnTo>
                  <a:lnTo>
                    <a:pt x="1188" y="1218"/>
                  </a:lnTo>
                  <a:lnTo>
                    <a:pt x="1194" y="1218"/>
                  </a:lnTo>
                  <a:lnTo>
                    <a:pt x="1194" y="1224"/>
                  </a:lnTo>
                  <a:lnTo>
                    <a:pt x="1200" y="1230"/>
                  </a:lnTo>
                  <a:lnTo>
                    <a:pt x="1200" y="1248"/>
                  </a:lnTo>
                  <a:lnTo>
                    <a:pt x="1212" y="1266"/>
                  </a:lnTo>
                  <a:lnTo>
                    <a:pt x="1218" y="1278"/>
                  </a:lnTo>
                  <a:lnTo>
                    <a:pt x="1224" y="1284"/>
                  </a:lnTo>
                  <a:lnTo>
                    <a:pt x="1236" y="1296"/>
                  </a:lnTo>
                  <a:lnTo>
                    <a:pt x="1242" y="1302"/>
                  </a:lnTo>
                  <a:lnTo>
                    <a:pt x="1242" y="1308"/>
                  </a:lnTo>
                  <a:lnTo>
                    <a:pt x="1272" y="1308"/>
                  </a:lnTo>
                  <a:lnTo>
                    <a:pt x="1296" y="1314"/>
                  </a:lnTo>
                  <a:lnTo>
                    <a:pt x="1320" y="1320"/>
                  </a:lnTo>
                  <a:lnTo>
                    <a:pt x="1338" y="1320"/>
                  </a:lnTo>
                  <a:lnTo>
                    <a:pt x="1356" y="1332"/>
                  </a:lnTo>
                  <a:lnTo>
                    <a:pt x="1368" y="1344"/>
                  </a:lnTo>
                  <a:lnTo>
                    <a:pt x="1374" y="1362"/>
                  </a:lnTo>
                  <a:lnTo>
                    <a:pt x="1368" y="1362"/>
                  </a:lnTo>
                  <a:lnTo>
                    <a:pt x="1368" y="1398"/>
                  </a:lnTo>
                  <a:lnTo>
                    <a:pt x="1368" y="1410"/>
                  </a:lnTo>
                  <a:lnTo>
                    <a:pt x="1368" y="1428"/>
                  </a:lnTo>
                  <a:lnTo>
                    <a:pt x="1368" y="1434"/>
                  </a:lnTo>
                  <a:lnTo>
                    <a:pt x="1368" y="1440"/>
                  </a:lnTo>
                  <a:lnTo>
                    <a:pt x="1374" y="1446"/>
                  </a:lnTo>
                  <a:lnTo>
                    <a:pt x="1374" y="1452"/>
                  </a:lnTo>
                  <a:lnTo>
                    <a:pt x="1380" y="1458"/>
                  </a:lnTo>
                  <a:lnTo>
                    <a:pt x="1386" y="1464"/>
                  </a:lnTo>
                  <a:lnTo>
                    <a:pt x="1386" y="1470"/>
                  </a:lnTo>
                  <a:lnTo>
                    <a:pt x="1380" y="1476"/>
                  </a:lnTo>
                  <a:lnTo>
                    <a:pt x="1374" y="1482"/>
                  </a:lnTo>
                  <a:lnTo>
                    <a:pt x="1362" y="1500"/>
                  </a:lnTo>
                  <a:lnTo>
                    <a:pt x="1362" y="1506"/>
                  </a:lnTo>
                  <a:lnTo>
                    <a:pt x="1362" y="1512"/>
                  </a:lnTo>
                  <a:lnTo>
                    <a:pt x="1362" y="1518"/>
                  </a:lnTo>
                  <a:lnTo>
                    <a:pt x="1362" y="1524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38" y="1548"/>
                  </a:lnTo>
                  <a:lnTo>
                    <a:pt x="1296" y="1548"/>
                  </a:lnTo>
                  <a:lnTo>
                    <a:pt x="1290" y="1554"/>
                  </a:lnTo>
                  <a:lnTo>
                    <a:pt x="1284" y="1560"/>
                  </a:lnTo>
                  <a:lnTo>
                    <a:pt x="1284" y="1566"/>
                  </a:lnTo>
                  <a:lnTo>
                    <a:pt x="1290" y="1578"/>
                  </a:lnTo>
                  <a:lnTo>
                    <a:pt x="1296" y="1590"/>
                  </a:lnTo>
                  <a:lnTo>
                    <a:pt x="1302" y="1590"/>
                  </a:lnTo>
                  <a:lnTo>
                    <a:pt x="1308" y="1596"/>
                  </a:lnTo>
                  <a:lnTo>
                    <a:pt x="1320" y="1602"/>
                  </a:lnTo>
                  <a:lnTo>
                    <a:pt x="1326" y="1602"/>
                  </a:lnTo>
                  <a:lnTo>
                    <a:pt x="1326" y="1608"/>
                  </a:lnTo>
                  <a:lnTo>
                    <a:pt x="1332" y="1614"/>
                  </a:lnTo>
                  <a:lnTo>
                    <a:pt x="1344" y="1620"/>
                  </a:lnTo>
                  <a:lnTo>
                    <a:pt x="1356" y="1626"/>
                  </a:lnTo>
                  <a:lnTo>
                    <a:pt x="1356" y="1632"/>
                  </a:lnTo>
                  <a:lnTo>
                    <a:pt x="1356" y="1638"/>
                  </a:lnTo>
                  <a:lnTo>
                    <a:pt x="1362" y="1644"/>
                  </a:lnTo>
                  <a:lnTo>
                    <a:pt x="1368" y="1644"/>
                  </a:lnTo>
                  <a:lnTo>
                    <a:pt x="1380" y="1650"/>
                  </a:lnTo>
                  <a:lnTo>
                    <a:pt x="1386" y="1650"/>
                  </a:lnTo>
                  <a:lnTo>
                    <a:pt x="1386" y="1656"/>
                  </a:lnTo>
                  <a:lnTo>
                    <a:pt x="1392" y="1656"/>
                  </a:lnTo>
                  <a:lnTo>
                    <a:pt x="1398" y="1662"/>
                  </a:lnTo>
                  <a:lnTo>
                    <a:pt x="1410" y="1674"/>
                  </a:lnTo>
                  <a:lnTo>
                    <a:pt x="1428" y="1680"/>
                  </a:lnTo>
                  <a:lnTo>
                    <a:pt x="1428" y="1686"/>
                  </a:lnTo>
                  <a:lnTo>
                    <a:pt x="1428" y="1698"/>
                  </a:lnTo>
                  <a:lnTo>
                    <a:pt x="1434" y="1704"/>
                  </a:lnTo>
                  <a:lnTo>
                    <a:pt x="1434" y="1710"/>
                  </a:lnTo>
                  <a:lnTo>
                    <a:pt x="1440" y="1710"/>
                  </a:lnTo>
                  <a:lnTo>
                    <a:pt x="1446" y="1710"/>
                  </a:lnTo>
                  <a:lnTo>
                    <a:pt x="1446" y="1716"/>
                  </a:lnTo>
                  <a:lnTo>
                    <a:pt x="1440" y="1722"/>
                  </a:lnTo>
                  <a:lnTo>
                    <a:pt x="1440" y="1728"/>
                  </a:lnTo>
                  <a:lnTo>
                    <a:pt x="1440" y="1734"/>
                  </a:lnTo>
                  <a:lnTo>
                    <a:pt x="1440" y="1740"/>
                  </a:lnTo>
                  <a:lnTo>
                    <a:pt x="1440" y="1746"/>
                  </a:lnTo>
                  <a:lnTo>
                    <a:pt x="1440" y="1788"/>
                  </a:lnTo>
                  <a:lnTo>
                    <a:pt x="1440" y="1800"/>
                  </a:lnTo>
                  <a:lnTo>
                    <a:pt x="1440" y="1806"/>
                  </a:lnTo>
                  <a:lnTo>
                    <a:pt x="1440" y="1836"/>
                  </a:lnTo>
                  <a:lnTo>
                    <a:pt x="1440" y="1848"/>
                  </a:lnTo>
                  <a:lnTo>
                    <a:pt x="1446" y="1848"/>
                  </a:lnTo>
                  <a:lnTo>
                    <a:pt x="1446" y="1854"/>
                  </a:lnTo>
                  <a:lnTo>
                    <a:pt x="1452" y="1848"/>
                  </a:lnTo>
                  <a:lnTo>
                    <a:pt x="1458" y="1854"/>
                  </a:lnTo>
                  <a:lnTo>
                    <a:pt x="1452" y="1860"/>
                  </a:lnTo>
                  <a:lnTo>
                    <a:pt x="1452" y="1866"/>
                  </a:lnTo>
                  <a:lnTo>
                    <a:pt x="1458" y="1872"/>
                  </a:lnTo>
                  <a:lnTo>
                    <a:pt x="1464" y="1884"/>
                  </a:lnTo>
                  <a:lnTo>
                    <a:pt x="1428" y="1878"/>
                  </a:lnTo>
                  <a:lnTo>
                    <a:pt x="1356" y="1890"/>
                  </a:lnTo>
                  <a:lnTo>
                    <a:pt x="1296" y="1926"/>
                  </a:lnTo>
                  <a:lnTo>
                    <a:pt x="1266" y="1944"/>
                  </a:lnTo>
                  <a:lnTo>
                    <a:pt x="1224" y="1944"/>
                  </a:lnTo>
                  <a:lnTo>
                    <a:pt x="1188" y="1956"/>
                  </a:lnTo>
                  <a:lnTo>
                    <a:pt x="1188" y="1950"/>
                  </a:lnTo>
                  <a:lnTo>
                    <a:pt x="1176" y="1944"/>
                  </a:lnTo>
                  <a:lnTo>
                    <a:pt x="1176" y="1938"/>
                  </a:lnTo>
                  <a:lnTo>
                    <a:pt x="1170" y="1938"/>
                  </a:lnTo>
                  <a:lnTo>
                    <a:pt x="1164" y="1932"/>
                  </a:lnTo>
                  <a:lnTo>
                    <a:pt x="1158" y="1926"/>
                  </a:lnTo>
                  <a:lnTo>
                    <a:pt x="1158" y="1920"/>
                  </a:lnTo>
                  <a:lnTo>
                    <a:pt x="1152" y="1920"/>
                  </a:lnTo>
                  <a:lnTo>
                    <a:pt x="1146" y="1914"/>
                  </a:lnTo>
                  <a:lnTo>
                    <a:pt x="1146" y="1908"/>
                  </a:lnTo>
                  <a:lnTo>
                    <a:pt x="1140" y="1908"/>
                  </a:lnTo>
                  <a:lnTo>
                    <a:pt x="1134" y="1902"/>
                  </a:lnTo>
                  <a:lnTo>
                    <a:pt x="1134" y="1896"/>
                  </a:lnTo>
                  <a:lnTo>
                    <a:pt x="1116" y="1896"/>
                  </a:lnTo>
                  <a:lnTo>
                    <a:pt x="1104" y="1884"/>
                  </a:lnTo>
                  <a:lnTo>
                    <a:pt x="1092" y="1860"/>
                  </a:lnTo>
                  <a:lnTo>
                    <a:pt x="1068" y="1854"/>
                  </a:lnTo>
                  <a:lnTo>
                    <a:pt x="1032" y="1842"/>
                  </a:lnTo>
                  <a:lnTo>
                    <a:pt x="1008" y="1836"/>
                  </a:lnTo>
                  <a:lnTo>
                    <a:pt x="978" y="1824"/>
                  </a:lnTo>
                  <a:lnTo>
                    <a:pt x="942" y="1818"/>
                  </a:lnTo>
                  <a:lnTo>
                    <a:pt x="924" y="1806"/>
                  </a:lnTo>
                  <a:lnTo>
                    <a:pt x="906" y="1788"/>
                  </a:lnTo>
                  <a:lnTo>
                    <a:pt x="894" y="1776"/>
                  </a:lnTo>
                  <a:lnTo>
                    <a:pt x="864" y="1758"/>
                  </a:lnTo>
                  <a:lnTo>
                    <a:pt x="834" y="1752"/>
                  </a:lnTo>
                  <a:lnTo>
                    <a:pt x="798" y="1746"/>
                  </a:lnTo>
                  <a:lnTo>
                    <a:pt x="792" y="1806"/>
                  </a:lnTo>
                  <a:lnTo>
                    <a:pt x="798" y="1812"/>
                  </a:lnTo>
                  <a:lnTo>
                    <a:pt x="810" y="1830"/>
                  </a:lnTo>
                  <a:lnTo>
                    <a:pt x="792" y="1842"/>
                  </a:lnTo>
                  <a:lnTo>
                    <a:pt x="768" y="1842"/>
                  </a:lnTo>
                  <a:lnTo>
                    <a:pt x="708" y="1848"/>
                  </a:lnTo>
                  <a:lnTo>
                    <a:pt x="690" y="1860"/>
                  </a:lnTo>
                  <a:lnTo>
                    <a:pt x="690" y="1866"/>
                  </a:lnTo>
                  <a:lnTo>
                    <a:pt x="678" y="1878"/>
                  </a:lnTo>
                  <a:lnTo>
                    <a:pt x="660" y="1884"/>
                  </a:lnTo>
                  <a:lnTo>
                    <a:pt x="660" y="1902"/>
                  </a:lnTo>
                  <a:lnTo>
                    <a:pt x="642" y="1902"/>
                  </a:lnTo>
                  <a:lnTo>
                    <a:pt x="582" y="1914"/>
                  </a:lnTo>
                  <a:lnTo>
                    <a:pt x="534" y="1908"/>
                  </a:lnTo>
                  <a:lnTo>
                    <a:pt x="510" y="1908"/>
                  </a:lnTo>
                  <a:lnTo>
                    <a:pt x="510" y="1896"/>
                  </a:lnTo>
                  <a:lnTo>
                    <a:pt x="492" y="1896"/>
                  </a:lnTo>
                  <a:lnTo>
                    <a:pt x="486" y="1902"/>
                  </a:lnTo>
                  <a:lnTo>
                    <a:pt x="474" y="1908"/>
                  </a:lnTo>
                  <a:lnTo>
                    <a:pt x="450" y="1908"/>
                  </a:lnTo>
                  <a:lnTo>
                    <a:pt x="432" y="1902"/>
                  </a:lnTo>
                  <a:lnTo>
                    <a:pt x="426" y="1896"/>
                  </a:lnTo>
                  <a:lnTo>
                    <a:pt x="402" y="1884"/>
                  </a:lnTo>
                  <a:lnTo>
                    <a:pt x="390" y="1872"/>
                  </a:lnTo>
                  <a:lnTo>
                    <a:pt x="384" y="1872"/>
                  </a:lnTo>
                  <a:lnTo>
                    <a:pt x="378" y="1872"/>
                  </a:lnTo>
                  <a:lnTo>
                    <a:pt x="378" y="1866"/>
                  </a:lnTo>
                  <a:lnTo>
                    <a:pt x="372" y="1860"/>
                  </a:lnTo>
                  <a:lnTo>
                    <a:pt x="372" y="1854"/>
                  </a:lnTo>
                  <a:lnTo>
                    <a:pt x="366" y="1842"/>
                  </a:lnTo>
                  <a:lnTo>
                    <a:pt x="366" y="1836"/>
                  </a:lnTo>
                  <a:lnTo>
                    <a:pt x="348" y="1830"/>
                  </a:lnTo>
                  <a:lnTo>
                    <a:pt x="348" y="1806"/>
                  </a:lnTo>
                  <a:lnTo>
                    <a:pt x="348" y="1800"/>
                  </a:lnTo>
                  <a:lnTo>
                    <a:pt x="348" y="1782"/>
                  </a:lnTo>
                  <a:lnTo>
                    <a:pt x="336" y="1788"/>
                  </a:lnTo>
                  <a:lnTo>
                    <a:pt x="312" y="1794"/>
                  </a:lnTo>
                  <a:lnTo>
                    <a:pt x="288" y="1788"/>
                  </a:lnTo>
                  <a:lnTo>
                    <a:pt x="264" y="1758"/>
                  </a:lnTo>
                  <a:lnTo>
                    <a:pt x="270" y="1758"/>
                  </a:lnTo>
                  <a:lnTo>
                    <a:pt x="270" y="1752"/>
                  </a:lnTo>
                  <a:lnTo>
                    <a:pt x="276" y="1752"/>
                  </a:lnTo>
                  <a:lnTo>
                    <a:pt x="282" y="1746"/>
                  </a:lnTo>
                  <a:lnTo>
                    <a:pt x="300" y="1746"/>
                  </a:lnTo>
                  <a:lnTo>
                    <a:pt x="312" y="1746"/>
                  </a:lnTo>
                  <a:lnTo>
                    <a:pt x="336" y="1710"/>
                  </a:lnTo>
                  <a:lnTo>
                    <a:pt x="342" y="1692"/>
                  </a:lnTo>
                  <a:lnTo>
                    <a:pt x="348" y="1680"/>
                  </a:lnTo>
                  <a:lnTo>
                    <a:pt x="342" y="1650"/>
                  </a:lnTo>
                  <a:lnTo>
                    <a:pt x="354" y="1644"/>
                  </a:lnTo>
                  <a:lnTo>
                    <a:pt x="354" y="1638"/>
                  </a:lnTo>
                  <a:lnTo>
                    <a:pt x="360" y="1632"/>
                  </a:lnTo>
                  <a:lnTo>
                    <a:pt x="354" y="1626"/>
                  </a:lnTo>
                  <a:lnTo>
                    <a:pt x="348" y="1626"/>
                  </a:lnTo>
                  <a:lnTo>
                    <a:pt x="348" y="1620"/>
                  </a:lnTo>
                  <a:lnTo>
                    <a:pt x="342" y="1620"/>
                  </a:lnTo>
                  <a:lnTo>
                    <a:pt x="348" y="1614"/>
                  </a:lnTo>
                  <a:lnTo>
                    <a:pt x="324" y="1566"/>
                  </a:lnTo>
                  <a:lnTo>
                    <a:pt x="318" y="1566"/>
                  </a:lnTo>
                  <a:lnTo>
                    <a:pt x="306" y="1572"/>
                  </a:lnTo>
                  <a:lnTo>
                    <a:pt x="300" y="1572"/>
                  </a:lnTo>
                  <a:lnTo>
                    <a:pt x="294" y="1578"/>
                  </a:lnTo>
                  <a:lnTo>
                    <a:pt x="288" y="1584"/>
                  </a:lnTo>
                  <a:lnTo>
                    <a:pt x="282" y="1584"/>
                  </a:lnTo>
                  <a:lnTo>
                    <a:pt x="282" y="1578"/>
                  </a:lnTo>
                  <a:lnTo>
                    <a:pt x="276" y="1578"/>
                  </a:lnTo>
                  <a:lnTo>
                    <a:pt x="270" y="1578"/>
                  </a:lnTo>
                  <a:lnTo>
                    <a:pt x="264" y="1578"/>
                  </a:lnTo>
                  <a:lnTo>
                    <a:pt x="258" y="1578"/>
                  </a:lnTo>
                  <a:lnTo>
                    <a:pt x="252" y="1578"/>
                  </a:lnTo>
                  <a:lnTo>
                    <a:pt x="252" y="1584"/>
                  </a:lnTo>
                  <a:lnTo>
                    <a:pt x="246" y="1584"/>
                  </a:lnTo>
                  <a:lnTo>
                    <a:pt x="210" y="1584"/>
                  </a:lnTo>
                  <a:lnTo>
                    <a:pt x="204" y="1584"/>
                  </a:lnTo>
                  <a:lnTo>
                    <a:pt x="192" y="1584"/>
                  </a:lnTo>
                  <a:lnTo>
                    <a:pt x="168" y="1596"/>
                  </a:lnTo>
                  <a:lnTo>
                    <a:pt x="156" y="1572"/>
                  </a:lnTo>
                  <a:lnTo>
                    <a:pt x="156" y="1566"/>
                  </a:lnTo>
                  <a:lnTo>
                    <a:pt x="156" y="1560"/>
                  </a:lnTo>
                  <a:lnTo>
                    <a:pt x="162" y="1548"/>
                  </a:lnTo>
                  <a:lnTo>
                    <a:pt x="162" y="1542"/>
                  </a:lnTo>
                  <a:lnTo>
                    <a:pt x="162" y="1536"/>
                  </a:lnTo>
                  <a:lnTo>
                    <a:pt x="168" y="1530"/>
                  </a:lnTo>
                  <a:lnTo>
                    <a:pt x="168" y="1524"/>
                  </a:lnTo>
                  <a:lnTo>
                    <a:pt x="168" y="1518"/>
                  </a:lnTo>
                  <a:lnTo>
                    <a:pt x="174" y="1518"/>
                  </a:lnTo>
                  <a:lnTo>
                    <a:pt x="174" y="1506"/>
                  </a:lnTo>
                  <a:lnTo>
                    <a:pt x="156" y="1470"/>
                  </a:lnTo>
                  <a:lnTo>
                    <a:pt x="138" y="1464"/>
                  </a:lnTo>
                  <a:lnTo>
                    <a:pt x="126" y="1446"/>
                  </a:lnTo>
                  <a:lnTo>
                    <a:pt x="126" y="1440"/>
                  </a:lnTo>
                  <a:lnTo>
                    <a:pt x="126" y="1434"/>
                  </a:lnTo>
                  <a:lnTo>
                    <a:pt x="120" y="1428"/>
                  </a:lnTo>
                  <a:lnTo>
                    <a:pt x="126" y="1398"/>
                  </a:lnTo>
                  <a:lnTo>
                    <a:pt x="120" y="1374"/>
                  </a:lnTo>
                  <a:lnTo>
                    <a:pt x="60" y="1374"/>
                  </a:lnTo>
                  <a:lnTo>
                    <a:pt x="60" y="1368"/>
                  </a:lnTo>
                  <a:lnTo>
                    <a:pt x="54" y="1362"/>
                  </a:lnTo>
                  <a:lnTo>
                    <a:pt x="48" y="1356"/>
                  </a:lnTo>
                  <a:lnTo>
                    <a:pt x="42" y="1356"/>
                  </a:lnTo>
                  <a:lnTo>
                    <a:pt x="42" y="1350"/>
                  </a:lnTo>
                  <a:lnTo>
                    <a:pt x="36" y="1344"/>
                  </a:lnTo>
                  <a:lnTo>
                    <a:pt x="36" y="1338"/>
                  </a:lnTo>
                  <a:lnTo>
                    <a:pt x="30" y="1332"/>
                  </a:lnTo>
                  <a:lnTo>
                    <a:pt x="30" y="1326"/>
                  </a:lnTo>
                  <a:lnTo>
                    <a:pt x="18" y="1326"/>
                  </a:lnTo>
                  <a:lnTo>
                    <a:pt x="18" y="1320"/>
                  </a:lnTo>
                  <a:lnTo>
                    <a:pt x="18" y="1326"/>
                  </a:lnTo>
                  <a:lnTo>
                    <a:pt x="6" y="1320"/>
                  </a:lnTo>
                  <a:lnTo>
                    <a:pt x="0" y="1314"/>
                  </a:lnTo>
                  <a:lnTo>
                    <a:pt x="12" y="1266"/>
                  </a:lnTo>
                  <a:lnTo>
                    <a:pt x="6" y="1242"/>
                  </a:lnTo>
                  <a:lnTo>
                    <a:pt x="12" y="1236"/>
                  </a:lnTo>
                  <a:lnTo>
                    <a:pt x="12" y="1230"/>
                  </a:lnTo>
                  <a:lnTo>
                    <a:pt x="18" y="1230"/>
                  </a:lnTo>
                  <a:lnTo>
                    <a:pt x="18" y="1224"/>
                  </a:lnTo>
                  <a:lnTo>
                    <a:pt x="24" y="1218"/>
                  </a:lnTo>
                  <a:lnTo>
                    <a:pt x="24" y="1212"/>
                  </a:lnTo>
                  <a:lnTo>
                    <a:pt x="30" y="1212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48" y="1188"/>
                  </a:lnTo>
                  <a:lnTo>
                    <a:pt x="48" y="1182"/>
                  </a:lnTo>
                  <a:lnTo>
                    <a:pt x="48" y="1176"/>
                  </a:lnTo>
                  <a:lnTo>
                    <a:pt x="48" y="1170"/>
                  </a:lnTo>
                  <a:lnTo>
                    <a:pt x="54" y="1170"/>
                  </a:lnTo>
                  <a:lnTo>
                    <a:pt x="60" y="1164"/>
                  </a:lnTo>
                  <a:lnTo>
                    <a:pt x="60" y="1158"/>
                  </a:lnTo>
                  <a:lnTo>
                    <a:pt x="66" y="1152"/>
                  </a:lnTo>
                  <a:lnTo>
                    <a:pt x="60" y="1140"/>
                  </a:lnTo>
                  <a:lnTo>
                    <a:pt x="60" y="1134"/>
                  </a:lnTo>
                  <a:lnTo>
                    <a:pt x="54" y="1134"/>
                  </a:lnTo>
                  <a:lnTo>
                    <a:pt x="54" y="1128"/>
                  </a:lnTo>
                  <a:lnTo>
                    <a:pt x="48" y="1122"/>
                  </a:lnTo>
                  <a:lnTo>
                    <a:pt x="48" y="1116"/>
                  </a:lnTo>
                  <a:lnTo>
                    <a:pt x="48" y="1110"/>
                  </a:lnTo>
                  <a:lnTo>
                    <a:pt x="42" y="1104"/>
                  </a:lnTo>
                  <a:lnTo>
                    <a:pt x="42" y="1098"/>
                  </a:lnTo>
                  <a:lnTo>
                    <a:pt x="36" y="1092"/>
                  </a:lnTo>
                  <a:lnTo>
                    <a:pt x="30" y="1092"/>
                  </a:lnTo>
                  <a:lnTo>
                    <a:pt x="24" y="1092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18" y="1080"/>
                  </a:lnTo>
                  <a:lnTo>
                    <a:pt x="18" y="1074"/>
                  </a:lnTo>
                  <a:lnTo>
                    <a:pt x="12" y="1068"/>
                  </a:lnTo>
                  <a:lnTo>
                    <a:pt x="6" y="1068"/>
                  </a:lnTo>
                  <a:lnTo>
                    <a:pt x="12" y="1056"/>
                  </a:lnTo>
                  <a:lnTo>
                    <a:pt x="6" y="1056"/>
                  </a:lnTo>
                  <a:lnTo>
                    <a:pt x="6" y="1050"/>
                  </a:lnTo>
                  <a:lnTo>
                    <a:pt x="6" y="1044"/>
                  </a:lnTo>
                  <a:lnTo>
                    <a:pt x="6" y="1026"/>
                  </a:lnTo>
                  <a:lnTo>
                    <a:pt x="12" y="1020"/>
                  </a:lnTo>
                  <a:lnTo>
                    <a:pt x="12" y="1014"/>
                  </a:lnTo>
                  <a:lnTo>
                    <a:pt x="18" y="1014"/>
                  </a:lnTo>
                  <a:lnTo>
                    <a:pt x="18" y="1008"/>
                  </a:lnTo>
                  <a:lnTo>
                    <a:pt x="18" y="1002"/>
                  </a:lnTo>
                  <a:lnTo>
                    <a:pt x="18" y="990"/>
                  </a:lnTo>
                  <a:lnTo>
                    <a:pt x="12" y="972"/>
                  </a:lnTo>
                  <a:lnTo>
                    <a:pt x="18" y="954"/>
                  </a:lnTo>
                  <a:lnTo>
                    <a:pt x="18" y="948"/>
                  </a:lnTo>
                  <a:lnTo>
                    <a:pt x="24" y="948"/>
                  </a:lnTo>
                  <a:lnTo>
                    <a:pt x="24" y="930"/>
                  </a:lnTo>
                  <a:lnTo>
                    <a:pt x="30" y="930"/>
                  </a:lnTo>
                  <a:lnTo>
                    <a:pt x="36" y="918"/>
                  </a:lnTo>
                  <a:lnTo>
                    <a:pt x="42" y="918"/>
                  </a:lnTo>
                  <a:lnTo>
                    <a:pt x="48" y="918"/>
                  </a:lnTo>
                  <a:lnTo>
                    <a:pt x="78" y="912"/>
                  </a:lnTo>
                  <a:lnTo>
                    <a:pt x="90" y="894"/>
                  </a:lnTo>
                  <a:lnTo>
                    <a:pt x="96" y="894"/>
                  </a:lnTo>
                  <a:lnTo>
                    <a:pt x="102" y="888"/>
                  </a:lnTo>
                  <a:lnTo>
                    <a:pt x="102" y="882"/>
                  </a:lnTo>
                  <a:lnTo>
                    <a:pt x="114" y="870"/>
                  </a:lnTo>
                  <a:lnTo>
                    <a:pt x="120" y="864"/>
                  </a:lnTo>
                  <a:lnTo>
                    <a:pt x="120" y="852"/>
                  </a:lnTo>
                  <a:lnTo>
                    <a:pt x="120" y="846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32" y="840"/>
                  </a:lnTo>
                  <a:lnTo>
                    <a:pt x="138" y="840"/>
                  </a:lnTo>
                  <a:lnTo>
                    <a:pt x="138" y="834"/>
                  </a:lnTo>
                  <a:lnTo>
                    <a:pt x="144" y="834"/>
                  </a:lnTo>
                  <a:lnTo>
                    <a:pt x="144" y="828"/>
                  </a:lnTo>
                  <a:lnTo>
                    <a:pt x="150" y="828"/>
                  </a:lnTo>
                  <a:lnTo>
                    <a:pt x="156" y="822"/>
                  </a:lnTo>
                  <a:lnTo>
                    <a:pt x="162" y="816"/>
                  </a:lnTo>
                  <a:lnTo>
                    <a:pt x="162" y="822"/>
                  </a:lnTo>
                  <a:lnTo>
                    <a:pt x="162" y="816"/>
                  </a:lnTo>
                  <a:lnTo>
                    <a:pt x="162" y="810"/>
                  </a:lnTo>
                  <a:lnTo>
                    <a:pt x="168" y="810"/>
                  </a:lnTo>
                  <a:lnTo>
                    <a:pt x="174" y="804"/>
                  </a:lnTo>
                  <a:lnTo>
                    <a:pt x="180" y="798"/>
                  </a:lnTo>
                  <a:lnTo>
                    <a:pt x="180" y="786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8" y="780"/>
                  </a:lnTo>
                  <a:lnTo>
                    <a:pt x="204" y="774"/>
                  </a:lnTo>
                  <a:lnTo>
                    <a:pt x="210" y="774"/>
                  </a:lnTo>
                  <a:lnTo>
                    <a:pt x="216" y="768"/>
                  </a:lnTo>
                  <a:lnTo>
                    <a:pt x="222" y="762"/>
                  </a:lnTo>
                  <a:lnTo>
                    <a:pt x="228" y="762"/>
                  </a:lnTo>
                  <a:lnTo>
                    <a:pt x="228" y="768"/>
                  </a:lnTo>
                  <a:lnTo>
                    <a:pt x="234" y="768"/>
                  </a:lnTo>
                  <a:lnTo>
                    <a:pt x="240" y="762"/>
                  </a:lnTo>
                  <a:lnTo>
                    <a:pt x="252" y="762"/>
                  </a:lnTo>
                  <a:lnTo>
                    <a:pt x="264" y="768"/>
                  </a:lnTo>
                  <a:lnTo>
                    <a:pt x="294" y="756"/>
                  </a:lnTo>
                  <a:lnTo>
                    <a:pt x="294" y="750"/>
                  </a:lnTo>
                  <a:lnTo>
                    <a:pt x="300" y="750"/>
                  </a:lnTo>
                  <a:lnTo>
                    <a:pt x="306" y="744"/>
                  </a:lnTo>
                  <a:lnTo>
                    <a:pt x="342" y="750"/>
                  </a:lnTo>
                  <a:lnTo>
                    <a:pt x="348" y="750"/>
                  </a:lnTo>
                  <a:lnTo>
                    <a:pt x="348" y="744"/>
                  </a:lnTo>
                  <a:lnTo>
                    <a:pt x="354" y="744"/>
                  </a:lnTo>
                  <a:lnTo>
                    <a:pt x="360" y="744"/>
                  </a:lnTo>
                  <a:lnTo>
                    <a:pt x="360" y="750"/>
                  </a:lnTo>
                  <a:lnTo>
                    <a:pt x="366" y="750"/>
                  </a:lnTo>
                  <a:lnTo>
                    <a:pt x="366" y="744"/>
                  </a:lnTo>
                  <a:lnTo>
                    <a:pt x="366" y="738"/>
                  </a:lnTo>
                  <a:lnTo>
                    <a:pt x="372" y="744"/>
                  </a:lnTo>
                  <a:lnTo>
                    <a:pt x="378" y="744"/>
                  </a:lnTo>
                  <a:lnTo>
                    <a:pt x="384" y="750"/>
                  </a:lnTo>
                  <a:lnTo>
                    <a:pt x="444" y="774"/>
                  </a:lnTo>
                  <a:lnTo>
                    <a:pt x="450" y="774"/>
                  </a:lnTo>
                  <a:lnTo>
                    <a:pt x="456" y="768"/>
                  </a:lnTo>
                  <a:lnTo>
                    <a:pt x="462" y="768"/>
                  </a:lnTo>
                  <a:lnTo>
                    <a:pt x="462" y="762"/>
                  </a:lnTo>
                  <a:lnTo>
                    <a:pt x="468" y="762"/>
                  </a:lnTo>
                  <a:lnTo>
                    <a:pt x="474" y="756"/>
                  </a:lnTo>
                  <a:lnTo>
                    <a:pt x="480" y="750"/>
                  </a:lnTo>
                  <a:lnTo>
                    <a:pt x="516" y="756"/>
                  </a:lnTo>
                  <a:lnTo>
                    <a:pt x="522" y="756"/>
                  </a:lnTo>
                  <a:lnTo>
                    <a:pt x="522" y="762"/>
                  </a:lnTo>
                  <a:lnTo>
                    <a:pt x="522" y="768"/>
                  </a:lnTo>
                  <a:lnTo>
                    <a:pt x="522" y="774"/>
                  </a:lnTo>
                  <a:lnTo>
                    <a:pt x="528" y="780"/>
                  </a:lnTo>
                  <a:lnTo>
                    <a:pt x="540" y="780"/>
                  </a:lnTo>
                  <a:lnTo>
                    <a:pt x="540" y="804"/>
                  </a:lnTo>
                  <a:lnTo>
                    <a:pt x="540" y="810"/>
                  </a:lnTo>
                  <a:lnTo>
                    <a:pt x="546" y="810"/>
                  </a:lnTo>
                  <a:lnTo>
                    <a:pt x="552" y="810"/>
                  </a:lnTo>
                  <a:lnTo>
                    <a:pt x="558" y="810"/>
                  </a:lnTo>
                  <a:lnTo>
                    <a:pt x="564" y="810"/>
                  </a:lnTo>
                  <a:lnTo>
                    <a:pt x="570" y="810"/>
                  </a:lnTo>
                  <a:lnTo>
                    <a:pt x="576" y="810"/>
                  </a:lnTo>
                  <a:lnTo>
                    <a:pt x="576" y="816"/>
                  </a:lnTo>
                  <a:lnTo>
                    <a:pt x="588" y="816"/>
                  </a:lnTo>
                  <a:lnTo>
                    <a:pt x="594" y="816"/>
                  </a:lnTo>
                  <a:lnTo>
                    <a:pt x="600" y="822"/>
                  </a:lnTo>
                  <a:lnTo>
                    <a:pt x="606" y="816"/>
                  </a:lnTo>
                  <a:lnTo>
                    <a:pt x="612" y="816"/>
                  </a:lnTo>
                  <a:lnTo>
                    <a:pt x="612" y="810"/>
                  </a:lnTo>
                  <a:lnTo>
                    <a:pt x="624" y="810"/>
                  </a:lnTo>
                  <a:lnTo>
                    <a:pt x="624" y="804"/>
                  </a:lnTo>
                  <a:lnTo>
                    <a:pt x="630" y="798"/>
                  </a:lnTo>
                  <a:lnTo>
                    <a:pt x="636" y="798"/>
                  </a:lnTo>
                  <a:lnTo>
                    <a:pt x="636" y="804"/>
                  </a:lnTo>
                  <a:lnTo>
                    <a:pt x="642" y="804"/>
                  </a:lnTo>
                  <a:lnTo>
                    <a:pt x="648" y="804"/>
                  </a:lnTo>
                  <a:lnTo>
                    <a:pt x="654" y="804"/>
                  </a:lnTo>
                  <a:lnTo>
                    <a:pt x="660" y="804"/>
                  </a:lnTo>
                  <a:lnTo>
                    <a:pt x="678" y="798"/>
                  </a:lnTo>
                  <a:lnTo>
                    <a:pt x="714" y="786"/>
                  </a:lnTo>
                  <a:lnTo>
                    <a:pt x="714" y="792"/>
                  </a:lnTo>
                  <a:lnTo>
                    <a:pt x="714" y="798"/>
                  </a:lnTo>
                  <a:lnTo>
                    <a:pt x="714" y="804"/>
                  </a:lnTo>
                  <a:lnTo>
                    <a:pt x="720" y="804"/>
                  </a:lnTo>
                  <a:lnTo>
                    <a:pt x="720" y="810"/>
                  </a:lnTo>
                  <a:lnTo>
                    <a:pt x="720" y="816"/>
                  </a:lnTo>
                  <a:lnTo>
                    <a:pt x="726" y="822"/>
                  </a:lnTo>
                  <a:lnTo>
                    <a:pt x="732" y="828"/>
                  </a:lnTo>
                  <a:lnTo>
                    <a:pt x="732" y="834"/>
                  </a:lnTo>
                  <a:lnTo>
                    <a:pt x="732" y="846"/>
                  </a:lnTo>
                  <a:lnTo>
                    <a:pt x="732" y="858"/>
                  </a:lnTo>
                  <a:lnTo>
                    <a:pt x="738" y="858"/>
                  </a:lnTo>
                  <a:lnTo>
                    <a:pt x="732" y="864"/>
                  </a:lnTo>
                  <a:lnTo>
                    <a:pt x="732" y="870"/>
                  </a:lnTo>
                  <a:lnTo>
                    <a:pt x="726" y="870"/>
                  </a:lnTo>
                  <a:lnTo>
                    <a:pt x="726" y="876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0" y="882"/>
                  </a:lnTo>
                  <a:lnTo>
                    <a:pt x="690" y="912"/>
                  </a:lnTo>
                  <a:lnTo>
                    <a:pt x="696" y="936"/>
                  </a:lnTo>
                  <a:lnTo>
                    <a:pt x="702" y="936"/>
                  </a:lnTo>
                  <a:lnTo>
                    <a:pt x="702" y="930"/>
                  </a:lnTo>
                  <a:lnTo>
                    <a:pt x="708" y="930"/>
                  </a:lnTo>
                  <a:lnTo>
                    <a:pt x="708" y="924"/>
                  </a:lnTo>
                  <a:lnTo>
                    <a:pt x="708" y="918"/>
                  </a:lnTo>
                  <a:lnTo>
                    <a:pt x="714" y="918"/>
                  </a:lnTo>
                  <a:lnTo>
                    <a:pt x="720" y="954"/>
                  </a:lnTo>
                  <a:lnTo>
                    <a:pt x="726" y="966"/>
                  </a:lnTo>
                  <a:lnTo>
                    <a:pt x="744" y="966"/>
                  </a:lnTo>
                  <a:lnTo>
                    <a:pt x="756" y="972"/>
                  </a:lnTo>
                  <a:lnTo>
                    <a:pt x="792" y="990"/>
                  </a:lnTo>
                  <a:lnTo>
                    <a:pt x="828" y="978"/>
                  </a:lnTo>
                  <a:lnTo>
                    <a:pt x="834" y="978"/>
                  </a:lnTo>
                  <a:lnTo>
                    <a:pt x="840" y="978"/>
                  </a:lnTo>
                  <a:lnTo>
                    <a:pt x="840" y="984"/>
                  </a:lnTo>
                  <a:lnTo>
                    <a:pt x="846" y="984"/>
                  </a:lnTo>
                  <a:lnTo>
                    <a:pt x="858" y="972"/>
                  </a:lnTo>
                  <a:lnTo>
                    <a:pt x="882" y="972"/>
                  </a:lnTo>
                  <a:lnTo>
                    <a:pt x="888" y="984"/>
                  </a:lnTo>
                  <a:lnTo>
                    <a:pt x="900" y="990"/>
                  </a:lnTo>
                  <a:lnTo>
                    <a:pt x="924" y="996"/>
                  </a:lnTo>
                  <a:lnTo>
                    <a:pt x="930" y="990"/>
                  </a:lnTo>
                  <a:lnTo>
                    <a:pt x="930" y="984"/>
                  </a:lnTo>
                  <a:lnTo>
                    <a:pt x="924" y="978"/>
                  </a:lnTo>
                  <a:lnTo>
                    <a:pt x="906" y="972"/>
                  </a:lnTo>
                  <a:lnTo>
                    <a:pt x="900" y="966"/>
                  </a:lnTo>
                  <a:lnTo>
                    <a:pt x="900" y="960"/>
                  </a:lnTo>
                  <a:lnTo>
                    <a:pt x="900" y="954"/>
                  </a:lnTo>
                  <a:lnTo>
                    <a:pt x="900" y="948"/>
                  </a:lnTo>
                  <a:lnTo>
                    <a:pt x="912" y="936"/>
                  </a:lnTo>
                  <a:lnTo>
                    <a:pt x="912" y="924"/>
                  </a:lnTo>
                  <a:lnTo>
                    <a:pt x="918" y="924"/>
                  </a:lnTo>
                  <a:lnTo>
                    <a:pt x="918" y="918"/>
                  </a:lnTo>
                  <a:lnTo>
                    <a:pt x="936" y="906"/>
                  </a:lnTo>
                  <a:lnTo>
                    <a:pt x="942" y="906"/>
                  </a:lnTo>
                  <a:lnTo>
                    <a:pt x="948" y="906"/>
                  </a:lnTo>
                  <a:lnTo>
                    <a:pt x="954" y="906"/>
                  </a:lnTo>
                  <a:lnTo>
                    <a:pt x="960" y="906"/>
                  </a:lnTo>
                  <a:lnTo>
                    <a:pt x="966" y="912"/>
                  </a:lnTo>
                  <a:lnTo>
                    <a:pt x="972" y="906"/>
                  </a:lnTo>
                  <a:lnTo>
                    <a:pt x="978" y="906"/>
                  </a:lnTo>
                  <a:lnTo>
                    <a:pt x="984" y="900"/>
                  </a:lnTo>
                  <a:lnTo>
                    <a:pt x="984" y="894"/>
                  </a:lnTo>
                  <a:lnTo>
                    <a:pt x="990" y="894"/>
                  </a:lnTo>
                  <a:lnTo>
                    <a:pt x="996" y="888"/>
                  </a:lnTo>
                  <a:lnTo>
                    <a:pt x="1002" y="888"/>
                  </a:lnTo>
                  <a:lnTo>
                    <a:pt x="1008" y="882"/>
                  </a:lnTo>
                  <a:lnTo>
                    <a:pt x="1014" y="882"/>
                  </a:lnTo>
                  <a:lnTo>
                    <a:pt x="1020" y="882"/>
                  </a:lnTo>
                  <a:lnTo>
                    <a:pt x="1020" y="888"/>
                  </a:lnTo>
                  <a:lnTo>
                    <a:pt x="1026" y="882"/>
                  </a:lnTo>
                  <a:lnTo>
                    <a:pt x="1026" y="876"/>
                  </a:lnTo>
                  <a:lnTo>
                    <a:pt x="1026" y="870"/>
                  </a:lnTo>
                  <a:lnTo>
                    <a:pt x="1032" y="864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44" y="852"/>
                  </a:lnTo>
                  <a:lnTo>
                    <a:pt x="1038" y="846"/>
                  </a:lnTo>
                  <a:lnTo>
                    <a:pt x="1038" y="840"/>
                  </a:lnTo>
                  <a:lnTo>
                    <a:pt x="1032" y="840"/>
                  </a:lnTo>
                  <a:lnTo>
                    <a:pt x="1026" y="840"/>
                  </a:lnTo>
                  <a:lnTo>
                    <a:pt x="1020" y="840"/>
                  </a:lnTo>
                  <a:lnTo>
                    <a:pt x="1014" y="846"/>
                  </a:lnTo>
                  <a:lnTo>
                    <a:pt x="1008" y="846"/>
                  </a:lnTo>
                  <a:lnTo>
                    <a:pt x="1002" y="840"/>
                  </a:lnTo>
                  <a:lnTo>
                    <a:pt x="996" y="840"/>
                  </a:lnTo>
                  <a:lnTo>
                    <a:pt x="990" y="834"/>
                  </a:lnTo>
                  <a:lnTo>
                    <a:pt x="984" y="834"/>
                  </a:lnTo>
                  <a:lnTo>
                    <a:pt x="978" y="834"/>
                  </a:lnTo>
                  <a:lnTo>
                    <a:pt x="972" y="834"/>
                  </a:lnTo>
                  <a:lnTo>
                    <a:pt x="966" y="834"/>
                  </a:lnTo>
                  <a:lnTo>
                    <a:pt x="966" y="828"/>
                  </a:lnTo>
                  <a:lnTo>
                    <a:pt x="960" y="828"/>
                  </a:lnTo>
                  <a:lnTo>
                    <a:pt x="954" y="828"/>
                  </a:lnTo>
                  <a:lnTo>
                    <a:pt x="942" y="828"/>
                  </a:lnTo>
                  <a:lnTo>
                    <a:pt x="936" y="828"/>
                  </a:lnTo>
                  <a:lnTo>
                    <a:pt x="930" y="828"/>
                  </a:lnTo>
                  <a:lnTo>
                    <a:pt x="918" y="828"/>
                  </a:lnTo>
                  <a:lnTo>
                    <a:pt x="918" y="822"/>
                  </a:lnTo>
                  <a:lnTo>
                    <a:pt x="912" y="828"/>
                  </a:lnTo>
                  <a:lnTo>
                    <a:pt x="912" y="822"/>
                  </a:lnTo>
                  <a:lnTo>
                    <a:pt x="906" y="816"/>
                  </a:lnTo>
                  <a:lnTo>
                    <a:pt x="900" y="816"/>
                  </a:lnTo>
                  <a:lnTo>
                    <a:pt x="894" y="816"/>
                  </a:lnTo>
                  <a:lnTo>
                    <a:pt x="888" y="816"/>
                  </a:lnTo>
                  <a:lnTo>
                    <a:pt x="882" y="816"/>
                  </a:lnTo>
                  <a:lnTo>
                    <a:pt x="882" y="810"/>
                  </a:lnTo>
                  <a:lnTo>
                    <a:pt x="876" y="804"/>
                  </a:lnTo>
                  <a:lnTo>
                    <a:pt x="870" y="804"/>
                  </a:lnTo>
                  <a:lnTo>
                    <a:pt x="864" y="798"/>
                  </a:lnTo>
                  <a:lnTo>
                    <a:pt x="858" y="798"/>
                  </a:lnTo>
                  <a:lnTo>
                    <a:pt x="858" y="804"/>
                  </a:lnTo>
                  <a:lnTo>
                    <a:pt x="852" y="804"/>
                  </a:lnTo>
                  <a:lnTo>
                    <a:pt x="846" y="804"/>
                  </a:lnTo>
                  <a:lnTo>
                    <a:pt x="846" y="798"/>
                  </a:lnTo>
                  <a:lnTo>
                    <a:pt x="840" y="804"/>
                  </a:lnTo>
                  <a:lnTo>
                    <a:pt x="834" y="804"/>
                  </a:lnTo>
                  <a:lnTo>
                    <a:pt x="828" y="804"/>
                  </a:lnTo>
                  <a:lnTo>
                    <a:pt x="828" y="810"/>
                  </a:lnTo>
                  <a:lnTo>
                    <a:pt x="822" y="810"/>
                  </a:lnTo>
                  <a:lnTo>
                    <a:pt x="810" y="804"/>
                  </a:lnTo>
                  <a:lnTo>
                    <a:pt x="810" y="798"/>
                  </a:lnTo>
                  <a:lnTo>
                    <a:pt x="780" y="798"/>
                  </a:lnTo>
                  <a:lnTo>
                    <a:pt x="756" y="774"/>
                  </a:lnTo>
                  <a:lnTo>
                    <a:pt x="750" y="768"/>
                  </a:lnTo>
                  <a:lnTo>
                    <a:pt x="750" y="744"/>
                  </a:lnTo>
                  <a:lnTo>
                    <a:pt x="732" y="738"/>
                  </a:lnTo>
                  <a:lnTo>
                    <a:pt x="732" y="720"/>
                  </a:lnTo>
                  <a:lnTo>
                    <a:pt x="714" y="690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6" y="666"/>
                  </a:lnTo>
                  <a:lnTo>
                    <a:pt x="690" y="666"/>
                  </a:lnTo>
                  <a:lnTo>
                    <a:pt x="678" y="672"/>
                  </a:lnTo>
                  <a:lnTo>
                    <a:pt x="678" y="654"/>
                  </a:lnTo>
                  <a:lnTo>
                    <a:pt x="684" y="630"/>
                  </a:lnTo>
                  <a:lnTo>
                    <a:pt x="690" y="618"/>
                  </a:lnTo>
                  <a:lnTo>
                    <a:pt x="696" y="612"/>
                  </a:lnTo>
                  <a:lnTo>
                    <a:pt x="696" y="588"/>
                  </a:lnTo>
                  <a:lnTo>
                    <a:pt x="690" y="576"/>
                  </a:lnTo>
                  <a:lnTo>
                    <a:pt x="696" y="552"/>
                  </a:lnTo>
                  <a:lnTo>
                    <a:pt x="684" y="522"/>
                  </a:lnTo>
                  <a:lnTo>
                    <a:pt x="672" y="504"/>
                  </a:lnTo>
                  <a:lnTo>
                    <a:pt x="654" y="504"/>
                  </a:lnTo>
                  <a:lnTo>
                    <a:pt x="642" y="504"/>
                  </a:lnTo>
                  <a:lnTo>
                    <a:pt x="624" y="510"/>
                  </a:lnTo>
                  <a:lnTo>
                    <a:pt x="612" y="516"/>
                  </a:lnTo>
                  <a:lnTo>
                    <a:pt x="594" y="516"/>
                  </a:lnTo>
                  <a:lnTo>
                    <a:pt x="588" y="516"/>
                  </a:lnTo>
                  <a:lnTo>
                    <a:pt x="588" y="522"/>
                  </a:lnTo>
                  <a:lnTo>
                    <a:pt x="582" y="516"/>
                  </a:lnTo>
                  <a:lnTo>
                    <a:pt x="588" y="510"/>
                  </a:lnTo>
                  <a:lnTo>
                    <a:pt x="582" y="510"/>
                  </a:lnTo>
                  <a:lnTo>
                    <a:pt x="582" y="504"/>
                  </a:lnTo>
                  <a:lnTo>
                    <a:pt x="576" y="498"/>
                  </a:lnTo>
                  <a:lnTo>
                    <a:pt x="570" y="498"/>
                  </a:lnTo>
                  <a:lnTo>
                    <a:pt x="570" y="492"/>
                  </a:lnTo>
                  <a:lnTo>
                    <a:pt x="564" y="492"/>
                  </a:lnTo>
                  <a:lnTo>
                    <a:pt x="570" y="486"/>
                  </a:lnTo>
                  <a:lnTo>
                    <a:pt x="564" y="486"/>
                  </a:lnTo>
                  <a:lnTo>
                    <a:pt x="564" y="480"/>
                  </a:lnTo>
                  <a:lnTo>
                    <a:pt x="564" y="474"/>
                  </a:lnTo>
                  <a:lnTo>
                    <a:pt x="558" y="468"/>
                  </a:lnTo>
                  <a:lnTo>
                    <a:pt x="564" y="468"/>
                  </a:lnTo>
                  <a:lnTo>
                    <a:pt x="564" y="462"/>
                  </a:lnTo>
                  <a:lnTo>
                    <a:pt x="570" y="462"/>
                  </a:lnTo>
                  <a:lnTo>
                    <a:pt x="570" y="456"/>
                  </a:lnTo>
                  <a:lnTo>
                    <a:pt x="570" y="450"/>
                  </a:lnTo>
                  <a:lnTo>
                    <a:pt x="576" y="450"/>
                  </a:lnTo>
                  <a:lnTo>
                    <a:pt x="576" y="444"/>
                  </a:lnTo>
                  <a:lnTo>
                    <a:pt x="582" y="438"/>
                  </a:lnTo>
                  <a:lnTo>
                    <a:pt x="588" y="438"/>
                  </a:lnTo>
                  <a:lnTo>
                    <a:pt x="588" y="444"/>
                  </a:lnTo>
                  <a:lnTo>
                    <a:pt x="594" y="438"/>
                  </a:lnTo>
                  <a:lnTo>
                    <a:pt x="594" y="432"/>
                  </a:lnTo>
                  <a:lnTo>
                    <a:pt x="600" y="432"/>
                  </a:lnTo>
                  <a:lnTo>
                    <a:pt x="600" y="426"/>
                  </a:lnTo>
                  <a:lnTo>
                    <a:pt x="600" y="420"/>
                  </a:lnTo>
                  <a:lnTo>
                    <a:pt x="606" y="420"/>
                  </a:lnTo>
                  <a:lnTo>
                    <a:pt x="600" y="420"/>
                  </a:lnTo>
                  <a:lnTo>
                    <a:pt x="600" y="414"/>
                  </a:lnTo>
                  <a:lnTo>
                    <a:pt x="606" y="408"/>
                  </a:lnTo>
                  <a:lnTo>
                    <a:pt x="612" y="408"/>
                  </a:lnTo>
                  <a:lnTo>
                    <a:pt x="612" y="414"/>
                  </a:lnTo>
                  <a:lnTo>
                    <a:pt x="618" y="414"/>
                  </a:lnTo>
                  <a:lnTo>
                    <a:pt x="624" y="414"/>
                  </a:lnTo>
                  <a:lnTo>
                    <a:pt x="630" y="414"/>
                  </a:lnTo>
                  <a:lnTo>
                    <a:pt x="636" y="414"/>
                  </a:lnTo>
                  <a:lnTo>
                    <a:pt x="642" y="408"/>
                  </a:lnTo>
                  <a:lnTo>
                    <a:pt x="648" y="408"/>
                  </a:lnTo>
                  <a:lnTo>
                    <a:pt x="660" y="408"/>
                  </a:lnTo>
                  <a:lnTo>
                    <a:pt x="666" y="402"/>
                  </a:lnTo>
                  <a:lnTo>
                    <a:pt x="672" y="402"/>
                  </a:lnTo>
                  <a:lnTo>
                    <a:pt x="684" y="396"/>
                  </a:lnTo>
                  <a:lnTo>
                    <a:pt x="690" y="396"/>
                  </a:lnTo>
                  <a:lnTo>
                    <a:pt x="696" y="396"/>
                  </a:lnTo>
                  <a:lnTo>
                    <a:pt x="702" y="396"/>
                  </a:lnTo>
                  <a:lnTo>
                    <a:pt x="708" y="396"/>
                  </a:lnTo>
                  <a:lnTo>
                    <a:pt x="714" y="390"/>
                  </a:lnTo>
                  <a:lnTo>
                    <a:pt x="714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32" y="384"/>
                  </a:lnTo>
                  <a:lnTo>
                    <a:pt x="738" y="378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56" y="372"/>
                  </a:lnTo>
                  <a:lnTo>
                    <a:pt x="762" y="366"/>
                  </a:lnTo>
                  <a:lnTo>
                    <a:pt x="768" y="366"/>
                  </a:lnTo>
                  <a:lnTo>
                    <a:pt x="774" y="366"/>
                  </a:lnTo>
                  <a:lnTo>
                    <a:pt x="774" y="360"/>
                  </a:lnTo>
                  <a:lnTo>
                    <a:pt x="780" y="366"/>
                  </a:lnTo>
                  <a:lnTo>
                    <a:pt x="786" y="366"/>
                  </a:lnTo>
                  <a:lnTo>
                    <a:pt x="786" y="360"/>
                  </a:lnTo>
                  <a:lnTo>
                    <a:pt x="792" y="354"/>
                  </a:lnTo>
                  <a:lnTo>
                    <a:pt x="786" y="354"/>
                  </a:lnTo>
                  <a:lnTo>
                    <a:pt x="792" y="348"/>
                  </a:lnTo>
                  <a:lnTo>
                    <a:pt x="798" y="348"/>
                  </a:lnTo>
                  <a:lnTo>
                    <a:pt x="804" y="348"/>
                  </a:lnTo>
                  <a:lnTo>
                    <a:pt x="810" y="342"/>
                  </a:lnTo>
                  <a:lnTo>
                    <a:pt x="816" y="342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28" y="336"/>
                  </a:lnTo>
                  <a:lnTo>
                    <a:pt x="834" y="336"/>
                  </a:lnTo>
                  <a:lnTo>
                    <a:pt x="840" y="336"/>
                  </a:lnTo>
                  <a:lnTo>
                    <a:pt x="846" y="330"/>
                  </a:lnTo>
                  <a:lnTo>
                    <a:pt x="852" y="330"/>
                  </a:lnTo>
                  <a:lnTo>
                    <a:pt x="858" y="330"/>
                  </a:lnTo>
                  <a:lnTo>
                    <a:pt x="864" y="324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0" y="312"/>
                  </a:lnTo>
                  <a:lnTo>
                    <a:pt x="876" y="312"/>
                  </a:lnTo>
                  <a:lnTo>
                    <a:pt x="882" y="312"/>
                  </a:lnTo>
                  <a:lnTo>
                    <a:pt x="882" y="318"/>
                  </a:lnTo>
                  <a:lnTo>
                    <a:pt x="888" y="312"/>
                  </a:lnTo>
                  <a:lnTo>
                    <a:pt x="894" y="306"/>
                  </a:lnTo>
                  <a:lnTo>
                    <a:pt x="900" y="306"/>
                  </a:lnTo>
                  <a:lnTo>
                    <a:pt x="906" y="306"/>
                  </a:lnTo>
                  <a:lnTo>
                    <a:pt x="912" y="300"/>
                  </a:lnTo>
                  <a:lnTo>
                    <a:pt x="906" y="294"/>
                  </a:lnTo>
                  <a:lnTo>
                    <a:pt x="912" y="276"/>
                  </a:lnTo>
                  <a:lnTo>
                    <a:pt x="912" y="252"/>
                  </a:lnTo>
                  <a:lnTo>
                    <a:pt x="906" y="234"/>
                  </a:lnTo>
                  <a:lnTo>
                    <a:pt x="912" y="228"/>
                  </a:lnTo>
                  <a:lnTo>
                    <a:pt x="912" y="216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24" y="192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36" y="186"/>
                  </a:lnTo>
                  <a:lnTo>
                    <a:pt x="930" y="180"/>
                  </a:lnTo>
                  <a:lnTo>
                    <a:pt x="930" y="174"/>
                  </a:lnTo>
                  <a:lnTo>
                    <a:pt x="936" y="156"/>
                  </a:lnTo>
                  <a:lnTo>
                    <a:pt x="930" y="156"/>
                  </a:lnTo>
                  <a:lnTo>
                    <a:pt x="924" y="150"/>
                  </a:lnTo>
                  <a:lnTo>
                    <a:pt x="942" y="78"/>
                  </a:lnTo>
                  <a:lnTo>
                    <a:pt x="948" y="78"/>
                  </a:lnTo>
                  <a:lnTo>
                    <a:pt x="954" y="66"/>
                  </a:lnTo>
                  <a:lnTo>
                    <a:pt x="954" y="72"/>
                  </a:lnTo>
                  <a:lnTo>
                    <a:pt x="954" y="66"/>
                  </a:lnTo>
                  <a:lnTo>
                    <a:pt x="960" y="66"/>
                  </a:lnTo>
                  <a:lnTo>
                    <a:pt x="966" y="66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54"/>
                  </a:lnTo>
                  <a:lnTo>
                    <a:pt x="990" y="54"/>
                  </a:lnTo>
                  <a:lnTo>
                    <a:pt x="996" y="48"/>
                  </a:lnTo>
                  <a:lnTo>
                    <a:pt x="1002" y="48"/>
                  </a:lnTo>
                  <a:lnTo>
                    <a:pt x="1032" y="48"/>
                  </a:lnTo>
                  <a:lnTo>
                    <a:pt x="1062" y="48"/>
                  </a:lnTo>
                  <a:lnTo>
                    <a:pt x="1068" y="78"/>
                  </a:lnTo>
                  <a:lnTo>
                    <a:pt x="1086" y="78"/>
                  </a:lnTo>
                  <a:lnTo>
                    <a:pt x="1092" y="66"/>
                  </a:lnTo>
                  <a:lnTo>
                    <a:pt x="1092" y="60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8" y="48"/>
                  </a:lnTo>
                  <a:lnTo>
                    <a:pt x="1104" y="48"/>
                  </a:lnTo>
                  <a:lnTo>
                    <a:pt x="1110" y="48"/>
                  </a:lnTo>
                  <a:lnTo>
                    <a:pt x="1110" y="42"/>
                  </a:lnTo>
                  <a:lnTo>
                    <a:pt x="1110" y="36"/>
                  </a:lnTo>
                  <a:lnTo>
                    <a:pt x="1116" y="36"/>
                  </a:lnTo>
                  <a:lnTo>
                    <a:pt x="1116" y="30"/>
                  </a:lnTo>
                  <a:lnTo>
                    <a:pt x="1122" y="30"/>
                  </a:lnTo>
                  <a:lnTo>
                    <a:pt x="1128" y="30"/>
                  </a:lnTo>
                  <a:lnTo>
                    <a:pt x="1134" y="30"/>
                  </a:lnTo>
                  <a:lnTo>
                    <a:pt x="1140" y="24"/>
                  </a:lnTo>
                  <a:lnTo>
                    <a:pt x="1152" y="18"/>
                  </a:lnTo>
                  <a:lnTo>
                    <a:pt x="1158" y="18"/>
                  </a:lnTo>
                  <a:lnTo>
                    <a:pt x="1152" y="12"/>
                  </a:lnTo>
                  <a:lnTo>
                    <a:pt x="1152" y="6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8"/>
                  </a:lnTo>
                  <a:lnTo>
                    <a:pt x="1170" y="12"/>
                  </a:lnTo>
                  <a:lnTo>
                    <a:pt x="1170" y="6"/>
                  </a:lnTo>
                  <a:lnTo>
                    <a:pt x="1176" y="6"/>
                  </a:lnTo>
                  <a:lnTo>
                    <a:pt x="1176" y="0"/>
                  </a:lnTo>
                  <a:lnTo>
                    <a:pt x="1182" y="6"/>
                  </a:lnTo>
                  <a:lnTo>
                    <a:pt x="1188" y="6"/>
                  </a:lnTo>
                  <a:lnTo>
                    <a:pt x="1188" y="0"/>
                  </a:lnTo>
                  <a:lnTo>
                    <a:pt x="1194" y="6"/>
                  </a:lnTo>
                  <a:lnTo>
                    <a:pt x="1200" y="12"/>
                  </a:lnTo>
                  <a:lnTo>
                    <a:pt x="1206" y="18"/>
                  </a:lnTo>
                  <a:lnTo>
                    <a:pt x="1212" y="18"/>
                  </a:lnTo>
                  <a:lnTo>
                    <a:pt x="1218" y="24"/>
                  </a:lnTo>
                  <a:lnTo>
                    <a:pt x="1236" y="36"/>
                  </a:lnTo>
                  <a:lnTo>
                    <a:pt x="1242" y="36"/>
                  </a:lnTo>
                  <a:lnTo>
                    <a:pt x="1248" y="42"/>
                  </a:lnTo>
                  <a:lnTo>
                    <a:pt x="1248" y="48"/>
                  </a:lnTo>
                  <a:lnTo>
                    <a:pt x="1260" y="48"/>
                  </a:lnTo>
                  <a:lnTo>
                    <a:pt x="1260" y="108"/>
                  </a:lnTo>
                  <a:lnTo>
                    <a:pt x="1266" y="168"/>
                  </a:lnTo>
                  <a:lnTo>
                    <a:pt x="1278" y="234"/>
                  </a:lnTo>
                  <a:lnTo>
                    <a:pt x="1284" y="240"/>
                  </a:lnTo>
                  <a:lnTo>
                    <a:pt x="1290" y="264"/>
                  </a:lnTo>
                  <a:lnTo>
                    <a:pt x="1296" y="288"/>
                  </a:lnTo>
                  <a:lnTo>
                    <a:pt x="1296" y="300"/>
                  </a:lnTo>
                  <a:lnTo>
                    <a:pt x="1296" y="312"/>
                  </a:lnTo>
                  <a:lnTo>
                    <a:pt x="1296" y="324"/>
                  </a:lnTo>
                  <a:lnTo>
                    <a:pt x="1296" y="354"/>
                  </a:lnTo>
                  <a:lnTo>
                    <a:pt x="1302" y="366"/>
                  </a:lnTo>
                  <a:lnTo>
                    <a:pt x="1308" y="372"/>
                  </a:lnTo>
                  <a:lnTo>
                    <a:pt x="1308" y="384"/>
                  </a:lnTo>
                  <a:lnTo>
                    <a:pt x="1314" y="390"/>
                  </a:lnTo>
                  <a:lnTo>
                    <a:pt x="1308" y="408"/>
                  </a:lnTo>
                  <a:lnTo>
                    <a:pt x="1314" y="408"/>
                  </a:lnTo>
                  <a:lnTo>
                    <a:pt x="1314" y="414"/>
                  </a:lnTo>
                  <a:lnTo>
                    <a:pt x="1308" y="420"/>
                  </a:lnTo>
                  <a:lnTo>
                    <a:pt x="1308" y="432"/>
                  </a:lnTo>
                  <a:lnTo>
                    <a:pt x="1320" y="432"/>
                  </a:lnTo>
                  <a:lnTo>
                    <a:pt x="1320" y="444"/>
                  </a:lnTo>
                  <a:lnTo>
                    <a:pt x="1332" y="444"/>
                  </a:lnTo>
                  <a:lnTo>
                    <a:pt x="1338" y="450"/>
                  </a:lnTo>
                  <a:lnTo>
                    <a:pt x="1344" y="456"/>
                  </a:lnTo>
                  <a:lnTo>
                    <a:pt x="1344" y="462"/>
                  </a:lnTo>
                  <a:lnTo>
                    <a:pt x="1344" y="474"/>
                  </a:lnTo>
                  <a:lnTo>
                    <a:pt x="1350" y="474"/>
                  </a:lnTo>
                  <a:lnTo>
                    <a:pt x="1368" y="504"/>
                  </a:lnTo>
                  <a:lnTo>
                    <a:pt x="1374" y="534"/>
                  </a:lnTo>
                  <a:lnTo>
                    <a:pt x="1380" y="558"/>
                  </a:lnTo>
                  <a:lnTo>
                    <a:pt x="1386" y="576"/>
                  </a:lnTo>
                  <a:lnTo>
                    <a:pt x="1386" y="600"/>
                  </a:lnTo>
                  <a:lnTo>
                    <a:pt x="1386" y="624"/>
                  </a:lnTo>
                  <a:lnTo>
                    <a:pt x="1386" y="648"/>
                  </a:lnTo>
                  <a:lnTo>
                    <a:pt x="1386" y="684"/>
                  </a:lnTo>
                  <a:lnTo>
                    <a:pt x="1380" y="684"/>
                  </a:lnTo>
                  <a:lnTo>
                    <a:pt x="1374" y="696"/>
                  </a:lnTo>
                  <a:lnTo>
                    <a:pt x="1368" y="702"/>
                  </a:lnTo>
                  <a:lnTo>
                    <a:pt x="1362" y="708"/>
                  </a:lnTo>
                  <a:lnTo>
                    <a:pt x="1356" y="714"/>
                  </a:lnTo>
                  <a:lnTo>
                    <a:pt x="1350" y="720"/>
                  </a:lnTo>
                  <a:lnTo>
                    <a:pt x="1338" y="720"/>
                  </a:lnTo>
                  <a:lnTo>
                    <a:pt x="1338" y="738"/>
                  </a:lnTo>
                  <a:lnTo>
                    <a:pt x="1362" y="750"/>
                  </a:lnTo>
                  <a:lnTo>
                    <a:pt x="1362" y="756"/>
                  </a:lnTo>
                  <a:lnTo>
                    <a:pt x="1374" y="756"/>
                  </a:lnTo>
                  <a:lnTo>
                    <a:pt x="1410" y="774"/>
                  </a:lnTo>
                  <a:lnTo>
                    <a:pt x="1446" y="774"/>
                  </a:lnTo>
                  <a:lnTo>
                    <a:pt x="1482" y="768"/>
                  </a:lnTo>
                  <a:lnTo>
                    <a:pt x="1500" y="774"/>
                  </a:lnTo>
                  <a:lnTo>
                    <a:pt x="1512" y="78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6" name="Freeform 11">
              <a:extLst>
                <a:ext uri="{FF2B5EF4-FFF2-40B4-BE49-F238E27FC236}">
                  <a16:creationId xmlns:a16="http://schemas.microsoft.com/office/drawing/2014/main" id="{1FF8E66F-B850-456A-B132-C45FEEDE95C6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2475" y="2345643"/>
              <a:ext cx="445003" cy="603855"/>
            </a:xfrm>
            <a:custGeom>
              <a:avLst/>
              <a:gdLst>
                <a:gd name="T0" fmla="*/ 47 w 840"/>
                <a:gd name="T1" fmla="*/ 98 h 1134"/>
                <a:gd name="T2" fmla="*/ 41 w 840"/>
                <a:gd name="T3" fmla="*/ 98 h 1134"/>
                <a:gd name="T4" fmla="*/ 37 w 840"/>
                <a:gd name="T5" fmla="*/ 98 h 1134"/>
                <a:gd name="T6" fmla="*/ 29 w 840"/>
                <a:gd name="T7" fmla="*/ 97 h 1134"/>
                <a:gd name="T8" fmla="*/ 27 w 840"/>
                <a:gd name="T9" fmla="*/ 94 h 1134"/>
                <a:gd name="T10" fmla="*/ 26 w 840"/>
                <a:gd name="T11" fmla="*/ 93 h 1134"/>
                <a:gd name="T12" fmla="*/ 26 w 840"/>
                <a:gd name="T13" fmla="*/ 83 h 1134"/>
                <a:gd name="T14" fmla="*/ 26 w 840"/>
                <a:gd name="T15" fmla="*/ 81 h 1134"/>
                <a:gd name="T16" fmla="*/ 23 w 840"/>
                <a:gd name="T17" fmla="*/ 77 h 1134"/>
                <a:gd name="T18" fmla="*/ 19 w 840"/>
                <a:gd name="T19" fmla="*/ 75 h 1134"/>
                <a:gd name="T20" fmla="*/ 16 w 840"/>
                <a:gd name="T21" fmla="*/ 72 h 1134"/>
                <a:gd name="T22" fmla="*/ 13 w 840"/>
                <a:gd name="T23" fmla="*/ 70 h 1134"/>
                <a:gd name="T24" fmla="*/ 17 w 840"/>
                <a:gd name="T25" fmla="*/ 67 h 1134"/>
                <a:gd name="T26" fmla="*/ 19 w 840"/>
                <a:gd name="T27" fmla="*/ 63 h 1134"/>
                <a:gd name="T28" fmla="*/ 20 w 840"/>
                <a:gd name="T29" fmla="*/ 59 h 1134"/>
                <a:gd name="T30" fmla="*/ 19 w 840"/>
                <a:gd name="T31" fmla="*/ 55 h 1134"/>
                <a:gd name="T32" fmla="*/ 17 w 840"/>
                <a:gd name="T33" fmla="*/ 47 h 1134"/>
                <a:gd name="T34" fmla="*/ 8 w 840"/>
                <a:gd name="T35" fmla="*/ 45 h 1134"/>
                <a:gd name="T36" fmla="*/ 4 w 840"/>
                <a:gd name="T37" fmla="*/ 39 h 1134"/>
                <a:gd name="T38" fmla="*/ 2 w 840"/>
                <a:gd name="T39" fmla="*/ 35 h 1134"/>
                <a:gd name="T40" fmla="*/ 0 w 840"/>
                <a:gd name="T41" fmla="*/ 31 h 1134"/>
                <a:gd name="T42" fmla="*/ 2 w 840"/>
                <a:gd name="T43" fmla="*/ 27 h 1134"/>
                <a:gd name="T44" fmla="*/ 5 w 840"/>
                <a:gd name="T45" fmla="*/ 24 h 1134"/>
                <a:gd name="T46" fmla="*/ 10 w 840"/>
                <a:gd name="T47" fmla="*/ 26 h 1134"/>
                <a:gd name="T48" fmla="*/ 7 w 840"/>
                <a:gd name="T49" fmla="*/ 20 h 1134"/>
                <a:gd name="T50" fmla="*/ 12 w 840"/>
                <a:gd name="T51" fmla="*/ 12 h 1134"/>
                <a:gd name="T52" fmla="*/ 19 w 840"/>
                <a:gd name="T53" fmla="*/ 10 h 1134"/>
                <a:gd name="T54" fmla="*/ 20 w 840"/>
                <a:gd name="T55" fmla="*/ 13 h 1134"/>
                <a:gd name="T56" fmla="*/ 22 w 840"/>
                <a:gd name="T57" fmla="*/ 11 h 1134"/>
                <a:gd name="T58" fmla="*/ 25 w 840"/>
                <a:gd name="T59" fmla="*/ 7 h 1134"/>
                <a:gd name="T60" fmla="*/ 29 w 840"/>
                <a:gd name="T61" fmla="*/ 2 h 1134"/>
                <a:gd name="T62" fmla="*/ 33 w 840"/>
                <a:gd name="T63" fmla="*/ 1 h 1134"/>
                <a:gd name="T64" fmla="*/ 37 w 840"/>
                <a:gd name="T65" fmla="*/ 2 h 1134"/>
                <a:gd name="T66" fmla="*/ 39 w 840"/>
                <a:gd name="T67" fmla="*/ 4 h 1134"/>
                <a:gd name="T68" fmla="*/ 43 w 840"/>
                <a:gd name="T69" fmla="*/ 5 h 1134"/>
                <a:gd name="T70" fmla="*/ 46 w 840"/>
                <a:gd name="T71" fmla="*/ 11 h 1134"/>
                <a:gd name="T72" fmla="*/ 49 w 840"/>
                <a:gd name="T73" fmla="*/ 12 h 1134"/>
                <a:gd name="T74" fmla="*/ 52 w 840"/>
                <a:gd name="T75" fmla="*/ 15 h 1134"/>
                <a:gd name="T76" fmla="*/ 54 w 840"/>
                <a:gd name="T77" fmla="*/ 18 h 1134"/>
                <a:gd name="T78" fmla="*/ 55 w 840"/>
                <a:gd name="T79" fmla="*/ 22 h 1134"/>
                <a:gd name="T80" fmla="*/ 56 w 840"/>
                <a:gd name="T81" fmla="*/ 26 h 1134"/>
                <a:gd name="T82" fmla="*/ 55 w 840"/>
                <a:gd name="T83" fmla="*/ 32 h 1134"/>
                <a:gd name="T84" fmla="*/ 55 w 840"/>
                <a:gd name="T85" fmla="*/ 36 h 1134"/>
                <a:gd name="T86" fmla="*/ 54 w 840"/>
                <a:gd name="T87" fmla="*/ 39 h 1134"/>
                <a:gd name="T88" fmla="*/ 56 w 840"/>
                <a:gd name="T89" fmla="*/ 39 h 1134"/>
                <a:gd name="T90" fmla="*/ 58 w 840"/>
                <a:gd name="T91" fmla="*/ 39 h 1134"/>
                <a:gd name="T92" fmla="*/ 61 w 840"/>
                <a:gd name="T93" fmla="*/ 39 h 1134"/>
                <a:gd name="T94" fmla="*/ 60 w 840"/>
                <a:gd name="T95" fmla="*/ 49 h 1134"/>
                <a:gd name="T96" fmla="*/ 59 w 840"/>
                <a:gd name="T97" fmla="*/ 53 h 1134"/>
                <a:gd name="T98" fmla="*/ 59 w 840"/>
                <a:gd name="T99" fmla="*/ 56 h 1134"/>
                <a:gd name="T100" fmla="*/ 60 w 840"/>
                <a:gd name="T101" fmla="*/ 59 h 1134"/>
                <a:gd name="T102" fmla="*/ 64 w 840"/>
                <a:gd name="T103" fmla="*/ 61 h 1134"/>
                <a:gd name="T104" fmla="*/ 69 w 840"/>
                <a:gd name="T105" fmla="*/ 63 h 1134"/>
                <a:gd name="T106" fmla="*/ 72 w 840"/>
                <a:gd name="T107" fmla="*/ 69 h 1134"/>
                <a:gd name="T108" fmla="*/ 72 w 840"/>
                <a:gd name="T109" fmla="*/ 73 h 1134"/>
                <a:gd name="T110" fmla="*/ 72 w 840"/>
                <a:gd name="T111" fmla="*/ 83 h 1134"/>
                <a:gd name="T112" fmla="*/ 63 w 840"/>
                <a:gd name="T113" fmla="*/ 88 h 1134"/>
                <a:gd name="T114" fmla="*/ 52 w 840"/>
                <a:gd name="T115" fmla="*/ 95 h 11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40"/>
                <a:gd name="T175" fmla="*/ 0 h 1134"/>
                <a:gd name="T176" fmla="*/ 840 w 840"/>
                <a:gd name="T177" fmla="*/ 1134 h 11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40" h="1134">
                  <a:moveTo>
                    <a:pt x="564" y="1110"/>
                  </a:moveTo>
                  <a:lnTo>
                    <a:pt x="564" y="1104"/>
                  </a:lnTo>
                  <a:lnTo>
                    <a:pt x="558" y="1104"/>
                  </a:lnTo>
                  <a:lnTo>
                    <a:pt x="552" y="1110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28" y="1128"/>
                  </a:lnTo>
                  <a:lnTo>
                    <a:pt x="498" y="1128"/>
                  </a:lnTo>
                  <a:lnTo>
                    <a:pt x="492" y="1128"/>
                  </a:lnTo>
                  <a:lnTo>
                    <a:pt x="486" y="1128"/>
                  </a:lnTo>
                  <a:lnTo>
                    <a:pt x="480" y="1128"/>
                  </a:lnTo>
                  <a:lnTo>
                    <a:pt x="474" y="1134"/>
                  </a:lnTo>
                  <a:lnTo>
                    <a:pt x="468" y="1134"/>
                  </a:lnTo>
                  <a:lnTo>
                    <a:pt x="462" y="1134"/>
                  </a:lnTo>
                  <a:lnTo>
                    <a:pt x="456" y="1134"/>
                  </a:lnTo>
                  <a:lnTo>
                    <a:pt x="456" y="1128"/>
                  </a:lnTo>
                  <a:lnTo>
                    <a:pt x="450" y="1122"/>
                  </a:lnTo>
                  <a:lnTo>
                    <a:pt x="426" y="1128"/>
                  </a:lnTo>
                  <a:lnTo>
                    <a:pt x="414" y="1128"/>
                  </a:lnTo>
                  <a:lnTo>
                    <a:pt x="348" y="1134"/>
                  </a:lnTo>
                  <a:lnTo>
                    <a:pt x="348" y="1128"/>
                  </a:lnTo>
                  <a:lnTo>
                    <a:pt x="342" y="1128"/>
                  </a:lnTo>
                  <a:lnTo>
                    <a:pt x="336" y="1122"/>
                  </a:lnTo>
                  <a:lnTo>
                    <a:pt x="330" y="1122"/>
                  </a:lnTo>
                  <a:lnTo>
                    <a:pt x="324" y="1116"/>
                  </a:lnTo>
                  <a:lnTo>
                    <a:pt x="324" y="1110"/>
                  </a:lnTo>
                  <a:lnTo>
                    <a:pt x="318" y="1110"/>
                  </a:lnTo>
                  <a:lnTo>
                    <a:pt x="318" y="1104"/>
                  </a:lnTo>
                  <a:lnTo>
                    <a:pt x="312" y="1092"/>
                  </a:lnTo>
                  <a:lnTo>
                    <a:pt x="306" y="1086"/>
                  </a:lnTo>
                  <a:lnTo>
                    <a:pt x="306" y="1080"/>
                  </a:lnTo>
                  <a:lnTo>
                    <a:pt x="312" y="1074"/>
                  </a:lnTo>
                  <a:lnTo>
                    <a:pt x="306" y="1068"/>
                  </a:lnTo>
                  <a:lnTo>
                    <a:pt x="300" y="1074"/>
                  </a:lnTo>
                  <a:lnTo>
                    <a:pt x="300" y="1068"/>
                  </a:lnTo>
                  <a:lnTo>
                    <a:pt x="294" y="1068"/>
                  </a:lnTo>
                  <a:lnTo>
                    <a:pt x="294" y="1056"/>
                  </a:lnTo>
                  <a:lnTo>
                    <a:pt x="294" y="1026"/>
                  </a:lnTo>
                  <a:lnTo>
                    <a:pt x="294" y="1020"/>
                  </a:lnTo>
                  <a:lnTo>
                    <a:pt x="294" y="1008"/>
                  </a:lnTo>
                  <a:lnTo>
                    <a:pt x="294" y="966"/>
                  </a:lnTo>
                  <a:lnTo>
                    <a:pt x="294" y="960"/>
                  </a:lnTo>
                  <a:lnTo>
                    <a:pt x="294" y="954"/>
                  </a:lnTo>
                  <a:lnTo>
                    <a:pt x="294" y="948"/>
                  </a:lnTo>
                  <a:lnTo>
                    <a:pt x="294" y="942"/>
                  </a:lnTo>
                  <a:lnTo>
                    <a:pt x="300" y="936"/>
                  </a:lnTo>
                  <a:lnTo>
                    <a:pt x="300" y="930"/>
                  </a:lnTo>
                  <a:lnTo>
                    <a:pt x="294" y="930"/>
                  </a:lnTo>
                  <a:lnTo>
                    <a:pt x="288" y="930"/>
                  </a:lnTo>
                  <a:lnTo>
                    <a:pt x="288" y="924"/>
                  </a:lnTo>
                  <a:lnTo>
                    <a:pt x="282" y="918"/>
                  </a:lnTo>
                  <a:lnTo>
                    <a:pt x="282" y="906"/>
                  </a:lnTo>
                  <a:lnTo>
                    <a:pt x="282" y="900"/>
                  </a:lnTo>
                  <a:lnTo>
                    <a:pt x="264" y="894"/>
                  </a:lnTo>
                  <a:lnTo>
                    <a:pt x="252" y="882"/>
                  </a:lnTo>
                  <a:lnTo>
                    <a:pt x="246" y="876"/>
                  </a:lnTo>
                  <a:lnTo>
                    <a:pt x="240" y="876"/>
                  </a:lnTo>
                  <a:lnTo>
                    <a:pt x="240" y="870"/>
                  </a:lnTo>
                  <a:lnTo>
                    <a:pt x="234" y="870"/>
                  </a:lnTo>
                  <a:lnTo>
                    <a:pt x="222" y="864"/>
                  </a:lnTo>
                  <a:lnTo>
                    <a:pt x="216" y="864"/>
                  </a:lnTo>
                  <a:lnTo>
                    <a:pt x="210" y="858"/>
                  </a:lnTo>
                  <a:lnTo>
                    <a:pt x="210" y="852"/>
                  </a:lnTo>
                  <a:lnTo>
                    <a:pt x="210" y="846"/>
                  </a:lnTo>
                  <a:lnTo>
                    <a:pt x="198" y="840"/>
                  </a:lnTo>
                  <a:lnTo>
                    <a:pt x="186" y="834"/>
                  </a:lnTo>
                  <a:lnTo>
                    <a:pt x="180" y="828"/>
                  </a:lnTo>
                  <a:lnTo>
                    <a:pt x="180" y="822"/>
                  </a:lnTo>
                  <a:lnTo>
                    <a:pt x="174" y="822"/>
                  </a:lnTo>
                  <a:lnTo>
                    <a:pt x="162" y="816"/>
                  </a:lnTo>
                  <a:lnTo>
                    <a:pt x="156" y="810"/>
                  </a:lnTo>
                  <a:lnTo>
                    <a:pt x="150" y="810"/>
                  </a:lnTo>
                  <a:lnTo>
                    <a:pt x="144" y="798"/>
                  </a:lnTo>
                  <a:lnTo>
                    <a:pt x="138" y="786"/>
                  </a:lnTo>
                  <a:lnTo>
                    <a:pt x="138" y="780"/>
                  </a:lnTo>
                  <a:lnTo>
                    <a:pt x="144" y="774"/>
                  </a:lnTo>
                  <a:lnTo>
                    <a:pt x="150" y="768"/>
                  </a:lnTo>
                  <a:lnTo>
                    <a:pt x="192" y="768"/>
                  </a:lnTo>
                  <a:lnTo>
                    <a:pt x="210" y="762"/>
                  </a:lnTo>
                  <a:lnTo>
                    <a:pt x="216" y="756"/>
                  </a:lnTo>
                  <a:lnTo>
                    <a:pt x="216" y="744"/>
                  </a:lnTo>
                  <a:lnTo>
                    <a:pt x="216" y="738"/>
                  </a:lnTo>
                  <a:lnTo>
                    <a:pt x="216" y="732"/>
                  </a:lnTo>
                  <a:lnTo>
                    <a:pt x="216" y="726"/>
                  </a:lnTo>
                  <a:lnTo>
                    <a:pt x="216" y="720"/>
                  </a:lnTo>
                  <a:lnTo>
                    <a:pt x="228" y="702"/>
                  </a:lnTo>
                  <a:lnTo>
                    <a:pt x="234" y="696"/>
                  </a:lnTo>
                  <a:lnTo>
                    <a:pt x="240" y="690"/>
                  </a:lnTo>
                  <a:lnTo>
                    <a:pt x="240" y="684"/>
                  </a:lnTo>
                  <a:lnTo>
                    <a:pt x="234" y="678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0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22" y="630"/>
                  </a:lnTo>
                  <a:lnTo>
                    <a:pt x="222" y="618"/>
                  </a:lnTo>
                  <a:lnTo>
                    <a:pt x="222" y="582"/>
                  </a:lnTo>
                  <a:lnTo>
                    <a:pt x="228" y="582"/>
                  </a:lnTo>
                  <a:lnTo>
                    <a:pt x="222" y="564"/>
                  </a:lnTo>
                  <a:lnTo>
                    <a:pt x="210" y="552"/>
                  </a:lnTo>
                  <a:lnTo>
                    <a:pt x="192" y="540"/>
                  </a:lnTo>
                  <a:lnTo>
                    <a:pt x="174" y="540"/>
                  </a:lnTo>
                  <a:lnTo>
                    <a:pt x="150" y="534"/>
                  </a:lnTo>
                  <a:lnTo>
                    <a:pt x="126" y="528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90" y="516"/>
                  </a:lnTo>
                  <a:lnTo>
                    <a:pt x="78" y="504"/>
                  </a:lnTo>
                  <a:lnTo>
                    <a:pt x="72" y="498"/>
                  </a:lnTo>
                  <a:lnTo>
                    <a:pt x="66" y="486"/>
                  </a:lnTo>
                  <a:lnTo>
                    <a:pt x="54" y="468"/>
                  </a:lnTo>
                  <a:lnTo>
                    <a:pt x="54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42" y="438"/>
                  </a:lnTo>
                  <a:lnTo>
                    <a:pt x="36" y="438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24" y="384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2" y="360"/>
                  </a:lnTo>
                  <a:lnTo>
                    <a:pt x="6" y="360"/>
                  </a:lnTo>
                  <a:lnTo>
                    <a:pt x="0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0"/>
                  </a:lnTo>
                  <a:lnTo>
                    <a:pt x="18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8" y="270"/>
                  </a:lnTo>
                  <a:lnTo>
                    <a:pt x="90" y="276"/>
                  </a:lnTo>
                  <a:lnTo>
                    <a:pt x="108" y="294"/>
                  </a:lnTo>
                  <a:lnTo>
                    <a:pt x="114" y="294"/>
                  </a:lnTo>
                  <a:lnTo>
                    <a:pt x="114" y="276"/>
                  </a:lnTo>
                  <a:lnTo>
                    <a:pt x="114" y="270"/>
                  </a:lnTo>
                  <a:lnTo>
                    <a:pt x="102" y="258"/>
                  </a:lnTo>
                  <a:lnTo>
                    <a:pt x="96" y="246"/>
                  </a:lnTo>
                  <a:lnTo>
                    <a:pt x="90" y="234"/>
                  </a:lnTo>
                  <a:lnTo>
                    <a:pt x="78" y="228"/>
                  </a:lnTo>
                  <a:lnTo>
                    <a:pt x="72" y="216"/>
                  </a:lnTo>
                  <a:lnTo>
                    <a:pt x="66" y="192"/>
                  </a:lnTo>
                  <a:lnTo>
                    <a:pt x="90" y="174"/>
                  </a:lnTo>
                  <a:lnTo>
                    <a:pt x="120" y="150"/>
                  </a:lnTo>
                  <a:lnTo>
                    <a:pt x="132" y="150"/>
                  </a:lnTo>
                  <a:lnTo>
                    <a:pt x="138" y="144"/>
                  </a:lnTo>
                  <a:lnTo>
                    <a:pt x="138" y="138"/>
                  </a:lnTo>
                  <a:lnTo>
                    <a:pt x="156" y="126"/>
                  </a:lnTo>
                  <a:lnTo>
                    <a:pt x="180" y="114"/>
                  </a:lnTo>
                  <a:lnTo>
                    <a:pt x="216" y="114"/>
                  </a:lnTo>
                  <a:lnTo>
                    <a:pt x="222" y="114"/>
                  </a:lnTo>
                  <a:lnTo>
                    <a:pt x="222" y="120"/>
                  </a:lnTo>
                  <a:lnTo>
                    <a:pt x="222" y="126"/>
                  </a:lnTo>
                  <a:lnTo>
                    <a:pt x="222" y="132"/>
                  </a:lnTo>
                  <a:lnTo>
                    <a:pt x="228" y="138"/>
                  </a:lnTo>
                  <a:lnTo>
                    <a:pt x="228" y="144"/>
                  </a:lnTo>
                  <a:lnTo>
                    <a:pt x="228" y="150"/>
                  </a:lnTo>
                  <a:lnTo>
                    <a:pt x="234" y="150"/>
                  </a:lnTo>
                  <a:lnTo>
                    <a:pt x="234" y="144"/>
                  </a:lnTo>
                  <a:lnTo>
                    <a:pt x="240" y="144"/>
                  </a:lnTo>
                  <a:lnTo>
                    <a:pt x="246" y="144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58" y="126"/>
                  </a:lnTo>
                  <a:lnTo>
                    <a:pt x="258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76" y="96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6" y="72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36"/>
                  </a:lnTo>
                  <a:lnTo>
                    <a:pt x="330" y="24"/>
                  </a:lnTo>
                  <a:lnTo>
                    <a:pt x="330" y="18"/>
                  </a:lnTo>
                  <a:lnTo>
                    <a:pt x="330" y="12"/>
                  </a:lnTo>
                  <a:lnTo>
                    <a:pt x="336" y="6"/>
                  </a:lnTo>
                  <a:lnTo>
                    <a:pt x="366" y="0"/>
                  </a:lnTo>
                  <a:lnTo>
                    <a:pt x="372" y="6"/>
                  </a:lnTo>
                  <a:lnTo>
                    <a:pt x="384" y="12"/>
                  </a:lnTo>
                  <a:lnTo>
                    <a:pt x="402" y="12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18"/>
                  </a:lnTo>
                  <a:lnTo>
                    <a:pt x="420" y="18"/>
                  </a:lnTo>
                  <a:lnTo>
                    <a:pt x="426" y="24"/>
                  </a:lnTo>
                  <a:lnTo>
                    <a:pt x="432" y="30"/>
                  </a:lnTo>
                  <a:lnTo>
                    <a:pt x="438" y="36"/>
                  </a:lnTo>
                  <a:lnTo>
                    <a:pt x="444" y="42"/>
                  </a:lnTo>
                  <a:lnTo>
                    <a:pt x="450" y="42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16" y="78"/>
                  </a:lnTo>
                  <a:lnTo>
                    <a:pt x="522" y="102"/>
                  </a:lnTo>
                  <a:lnTo>
                    <a:pt x="522" y="108"/>
                  </a:lnTo>
                  <a:lnTo>
                    <a:pt x="528" y="126"/>
                  </a:lnTo>
                  <a:lnTo>
                    <a:pt x="534" y="126"/>
                  </a:lnTo>
                  <a:lnTo>
                    <a:pt x="540" y="120"/>
                  </a:lnTo>
                  <a:lnTo>
                    <a:pt x="546" y="126"/>
                  </a:lnTo>
                  <a:lnTo>
                    <a:pt x="552" y="126"/>
                  </a:lnTo>
                  <a:lnTo>
                    <a:pt x="558" y="132"/>
                  </a:lnTo>
                  <a:lnTo>
                    <a:pt x="564" y="138"/>
                  </a:lnTo>
                  <a:lnTo>
                    <a:pt x="570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594" y="168"/>
                  </a:lnTo>
                  <a:lnTo>
                    <a:pt x="600" y="174"/>
                  </a:lnTo>
                  <a:lnTo>
                    <a:pt x="606" y="180"/>
                  </a:lnTo>
                  <a:lnTo>
                    <a:pt x="606" y="186"/>
                  </a:lnTo>
                  <a:lnTo>
                    <a:pt x="612" y="192"/>
                  </a:lnTo>
                  <a:lnTo>
                    <a:pt x="612" y="198"/>
                  </a:lnTo>
                  <a:lnTo>
                    <a:pt x="624" y="204"/>
                  </a:lnTo>
                  <a:lnTo>
                    <a:pt x="624" y="210"/>
                  </a:lnTo>
                  <a:lnTo>
                    <a:pt x="630" y="216"/>
                  </a:lnTo>
                  <a:lnTo>
                    <a:pt x="636" y="222"/>
                  </a:lnTo>
                  <a:lnTo>
                    <a:pt x="636" y="228"/>
                  </a:lnTo>
                  <a:lnTo>
                    <a:pt x="636" y="234"/>
                  </a:lnTo>
                  <a:lnTo>
                    <a:pt x="636" y="252"/>
                  </a:lnTo>
                  <a:lnTo>
                    <a:pt x="636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42" y="276"/>
                  </a:lnTo>
                  <a:lnTo>
                    <a:pt x="642" y="282"/>
                  </a:lnTo>
                  <a:lnTo>
                    <a:pt x="642" y="288"/>
                  </a:lnTo>
                  <a:lnTo>
                    <a:pt x="642" y="300"/>
                  </a:lnTo>
                  <a:lnTo>
                    <a:pt x="642" y="306"/>
                  </a:lnTo>
                  <a:lnTo>
                    <a:pt x="636" y="312"/>
                  </a:lnTo>
                  <a:lnTo>
                    <a:pt x="636" y="324"/>
                  </a:lnTo>
                  <a:lnTo>
                    <a:pt x="636" y="342"/>
                  </a:lnTo>
                  <a:lnTo>
                    <a:pt x="630" y="354"/>
                  </a:lnTo>
                  <a:lnTo>
                    <a:pt x="630" y="366"/>
                  </a:lnTo>
                  <a:lnTo>
                    <a:pt x="624" y="378"/>
                  </a:lnTo>
                  <a:lnTo>
                    <a:pt x="624" y="384"/>
                  </a:lnTo>
                  <a:lnTo>
                    <a:pt x="636" y="396"/>
                  </a:lnTo>
                  <a:lnTo>
                    <a:pt x="636" y="402"/>
                  </a:lnTo>
                  <a:lnTo>
                    <a:pt x="636" y="408"/>
                  </a:lnTo>
                  <a:lnTo>
                    <a:pt x="630" y="414"/>
                  </a:lnTo>
                  <a:lnTo>
                    <a:pt x="630" y="420"/>
                  </a:lnTo>
                  <a:lnTo>
                    <a:pt x="630" y="426"/>
                  </a:lnTo>
                  <a:lnTo>
                    <a:pt x="630" y="432"/>
                  </a:lnTo>
                  <a:lnTo>
                    <a:pt x="624" y="438"/>
                  </a:lnTo>
                  <a:lnTo>
                    <a:pt x="624" y="444"/>
                  </a:lnTo>
                  <a:lnTo>
                    <a:pt x="624" y="450"/>
                  </a:lnTo>
                  <a:lnTo>
                    <a:pt x="630" y="450"/>
                  </a:lnTo>
                  <a:lnTo>
                    <a:pt x="630" y="456"/>
                  </a:lnTo>
                  <a:lnTo>
                    <a:pt x="630" y="462"/>
                  </a:lnTo>
                  <a:lnTo>
                    <a:pt x="636" y="468"/>
                  </a:lnTo>
                  <a:lnTo>
                    <a:pt x="642" y="456"/>
                  </a:lnTo>
                  <a:lnTo>
                    <a:pt x="642" y="450"/>
                  </a:lnTo>
                  <a:lnTo>
                    <a:pt x="648" y="450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60" y="444"/>
                  </a:lnTo>
                  <a:lnTo>
                    <a:pt x="666" y="450"/>
                  </a:lnTo>
                  <a:lnTo>
                    <a:pt x="672" y="444"/>
                  </a:lnTo>
                  <a:lnTo>
                    <a:pt x="678" y="444"/>
                  </a:lnTo>
                  <a:lnTo>
                    <a:pt x="684" y="438"/>
                  </a:lnTo>
                  <a:lnTo>
                    <a:pt x="690" y="438"/>
                  </a:lnTo>
                  <a:lnTo>
                    <a:pt x="696" y="438"/>
                  </a:lnTo>
                  <a:lnTo>
                    <a:pt x="702" y="444"/>
                  </a:lnTo>
                  <a:lnTo>
                    <a:pt x="702" y="450"/>
                  </a:lnTo>
                  <a:lnTo>
                    <a:pt x="708" y="450"/>
                  </a:lnTo>
                  <a:lnTo>
                    <a:pt x="708" y="456"/>
                  </a:lnTo>
                  <a:lnTo>
                    <a:pt x="708" y="462"/>
                  </a:lnTo>
                  <a:lnTo>
                    <a:pt x="708" y="468"/>
                  </a:lnTo>
                  <a:lnTo>
                    <a:pt x="708" y="504"/>
                  </a:lnTo>
                  <a:lnTo>
                    <a:pt x="696" y="564"/>
                  </a:lnTo>
                  <a:lnTo>
                    <a:pt x="696" y="582"/>
                  </a:lnTo>
                  <a:lnTo>
                    <a:pt x="696" y="600"/>
                  </a:lnTo>
                  <a:lnTo>
                    <a:pt x="690" y="606"/>
                  </a:lnTo>
                  <a:lnTo>
                    <a:pt x="684" y="606"/>
                  </a:lnTo>
                  <a:lnTo>
                    <a:pt x="690" y="612"/>
                  </a:lnTo>
                  <a:lnTo>
                    <a:pt x="684" y="612"/>
                  </a:lnTo>
                  <a:lnTo>
                    <a:pt x="678" y="618"/>
                  </a:lnTo>
                  <a:lnTo>
                    <a:pt x="672" y="624"/>
                  </a:lnTo>
                  <a:lnTo>
                    <a:pt x="666" y="630"/>
                  </a:lnTo>
                  <a:lnTo>
                    <a:pt x="660" y="636"/>
                  </a:lnTo>
                  <a:lnTo>
                    <a:pt x="672" y="636"/>
                  </a:lnTo>
                  <a:lnTo>
                    <a:pt x="678" y="642"/>
                  </a:lnTo>
                  <a:lnTo>
                    <a:pt x="678" y="648"/>
                  </a:lnTo>
                  <a:lnTo>
                    <a:pt x="684" y="654"/>
                  </a:lnTo>
                  <a:lnTo>
                    <a:pt x="690" y="666"/>
                  </a:lnTo>
                  <a:lnTo>
                    <a:pt x="690" y="672"/>
                  </a:lnTo>
                  <a:lnTo>
                    <a:pt x="696" y="672"/>
                  </a:lnTo>
                  <a:lnTo>
                    <a:pt x="696" y="684"/>
                  </a:lnTo>
                  <a:lnTo>
                    <a:pt x="708" y="690"/>
                  </a:lnTo>
                  <a:lnTo>
                    <a:pt x="720" y="696"/>
                  </a:lnTo>
                  <a:lnTo>
                    <a:pt x="726" y="696"/>
                  </a:lnTo>
                  <a:lnTo>
                    <a:pt x="732" y="696"/>
                  </a:lnTo>
                  <a:lnTo>
                    <a:pt x="738" y="696"/>
                  </a:lnTo>
                  <a:lnTo>
                    <a:pt x="738" y="702"/>
                  </a:lnTo>
                  <a:lnTo>
                    <a:pt x="738" y="708"/>
                  </a:lnTo>
                  <a:lnTo>
                    <a:pt x="738" y="714"/>
                  </a:lnTo>
                  <a:lnTo>
                    <a:pt x="744" y="714"/>
                  </a:lnTo>
                  <a:lnTo>
                    <a:pt x="756" y="720"/>
                  </a:lnTo>
                  <a:lnTo>
                    <a:pt x="780" y="726"/>
                  </a:lnTo>
                  <a:lnTo>
                    <a:pt x="792" y="732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22" y="774"/>
                  </a:lnTo>
                  <a:lnTo>
                    <a:pt x="834" y="786"/>
                  </a:lnTo>
                  <a:lnTo>
                    <a:pt x="834" y="792"/>
                  </a:lnTo>
                  <a:lnTo>
                    <a:pt x="834" y="798"/>
                  </a:lnTo>
                  <a:lnTo>
                    <a:pt x="828" y="798"/>
                  </a:lnTo>
                  <a:lnTo>
                    <a:pt x="828" y="804"/>
                  </a:lnTo>
                  <a:lnTo>
                    <a:pt x="834" y="816"/>
                  </a:lnTo>
                  <a:lnTo>
                    <a:pt x="834" y="834"/>
                  </a:lnTo>
                  <a:lnTo>
                    <a:pt x="834" y="840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34" y="858"/>
                  </a:lnTo>
                  <a:lnTo>
                    <a:pt x="834" y="864"/>
                  </a:lnTo>
                  <a:lnTo>
                    <a:pt x="834" y="876"/>
                  </a:lnTo>
                  <a:lnTo>
                    <a:pt x="828" y="960"/>
                  </a:lnTo>
                  <a:lnTo>
                    <a:pt x="816" y="966"/>
                  </a:lnTo>
                  <a:lnTo>
                    <a:pt x="798" y="972"/>
                  </a:lnTo>
                  <a:lnTo>
                    <a:pt x="786" y="990"/>
                  </a:lnTo>
                  <a:lnTo>
                    <a:pt x="774" y="990"/>
                  </a:lnTo>
                  <a:lnTo>
                    <a:pt x="762" y="1008"/>
                  </a:lnTo>
                  <a:lnTo>
                    <a:pt x="732" y="1014"/>
                  </a:lnTo>
                  <a:lnTo>
                    <a:pt x="714" y="1026"/>
                  </a:lnTo>
                  <a:lnTo>
                    <a:pt x="690" y="1050"/>
                  </a:lnTo>
                  <a:lnTo>
                    <a:pt x="654" y="1056"/>
                  </a:lnTo>
                  <a:lnTo>
                    <a:pt x="630" y="1056"/>
                  </a:lnTo>
                  <a:lnTo>
                    <a:pt x="606" y="1068"/>
                  </a:lnTo>
                  <a:lnTo>
                    <a:pt x="600" y="1092"/>
                  </a:lnTo>
                  <a:lnTo>
                    <a:pt x="600" y="1098"/>
                  </a:lnTo>
                  <a:lnTo>
                    <a:pt x="588" y="1104"/>
                  </a:lnTo>
                  <a:lnTo>
                    <a:pt x="582" y="1104"/>
                  </a:lnTo>
                  <a:lnTo>
                    <a:pt x="570" y="1110"/>
                  </a:lnTo>
                  <a:lnTo>
                    <a:pt x="564" y="111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7" name="Freeform 12">
              <a:extLst>
                <a:ext uri="{FF2B5EF4-FFF2-40B4-BE49-F238E27FC236}">
                  <a16:creationId xmlns:a16="http://schemas.microsoft.com/office/drawing/2014/main" id="{6C93C114-E5D0-49BB-A44C-A127CE01CFE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810" y="2271838"/>
              <a:ext cx="923547" cy="845397"/>
            </a:xfrm>
            <a:custGeom>
              <a:avLst/>
              <a:gdLst>
                <a:gd name="T0" fmla="*/ 138 w 1740"/>
                <a:gd name="T1" fmla="*/ 134 h 1590"/>
                <a:gd name="T2" fmla="*/ 128 w 1740"/>
                <a:gd name="T3" fmla="*/ 131 h 1590"/>
                <a:gd name="T4" fmla="*/ 121 w 1740"/>
                <a:gd name="T5" fmla="*/ 130 h 1590"/>
                <a:gd name="T6" fmla="*/ 119 w 1740"/>
                <a:gd name="T7" fmla="*/ 134 h 1590"/>
                <a:gd name="T8" fmla="*/ 110 w 1740"/>
                <a:gd name="T9" fmla="*/ 132 h 1590"/>
                <a:gd name="T10" fmla="*/ 111 w 1740"/>
                <a:gd name="T11" fmla="*/ 127 h 1590"/>
                <a:gd name="T12" fmla="*/ 103 w 1740"/>
                <a:gd name="T13" fmla="*/ 117 h 1590"/>
                <a:gd name="T14" fmla="*/ 93 w 1740"/>
                <a:gd name="T15" fmla="*/ 123 h 1590"/>
                <a:gd name="T16" fmla="*/ 80 w 1740"/>
                <a:gd name="T17" fmla="*/ 118 h 1590"/>
                <a:gd name="T18" fmla="*/ 66 w 1740"/>
                <a:gd name="T19" fmla="*/ 117 h 1590"/>
                <a:gd name="T20" fmla="*/ 66 w 1740"/>
                <a:gd name="T21" fmla="*/ 110 h 1590"/>
                <a:gd name="T22" fmla="*/ 69 w 1740"/>
                <a:gd name="T23" fmla="*/ 107 h 1590"/>
                <a:gd name="T24" fmla="*/ 68 w 1740"/>
                <a:gd name="T25" fmla="*/ 102 h 1590"/>
                <a:gd name="T26" fmla="*/ 68 w 1740"/>
                <a:gd name="T27" fmla="*/ 96 h 1590"/>
                <a:gd name="T28" fmla="*/ 67 w 1740"/>
                <a:gd name="T29" fmla="*/ 82 h 1590"/>
                <a:gd name="T30" fmla="*/ 58 w 1740"/>
                <a:gd name="T31" fmla="*/ 82 h 1590"/>
                <a:gd name="T32" fmla="*/ 52 w 1740"/>
                <a:gd name="T33" fmla="*/ 82 h 1590"/>
                <a:gd name="T34" fmla="*/ 46 w 1740"/>
                <a:gd name="T35" fmla="*/ 80 h 1590"/>
                <a:gd name="T36" fmla="*/ 45 w 1740"/>
                <a:gd name="T37" fmla="*/ 74 h 1590"/>
                <a:gd name="T38" fmla="*/ 52 w 1740"/>
                <a:gd name="T39" fmla="*/ 70 h 1590"/>
                <a:gd name="T40" fmla="*/ 52 w 1740"/>
                <a:gd name="T41" fmla="*/ 64 h 1590"/>
                <a:gd name="T42" fmla="*/ 42 w 1740"/>
                <a:gd name="T43" fmla="*/ 53 h 1590"/>
                <a:gd name="T44" fmla="*/ 35 w 1740"/>
                <a:gd name="T45" fmla="*/ 52 h 1590"/>
                <a:gd name="T46" fmla="*/ 20 w 1740"/>
                <a:gd name="T47" fmla="*/ 51 h 1590"/>
                <a:gd name="T48" fmla="*/ 17 w 1740"/>
                <a:gd name="T49" fmla="*/ 56 h 1590"/>
                <a:gd name="T50" fmla="*/ 11 w 1740"/>
                <a:gd name="T51" fmla="*/ 61 h 1590"/>
                <a:gd name="T52" fmla="*/ 7 w 1740"/>
                <a:gd name="T53" fmla="*/ 63 h 1590"/>
                <a:gd name="T54" fmla="*/ 0 w 1740"/>
                <a:gd name="T55" fmla="*/ 55 h 1590"/>
                <a:gd name="T56" fmla="*/ 2 w 1740"/>
                <a:gd name="T57" fmla="*/ 50 h 1590"/>
                <a:gd name="T58" fmla="*/ 0 w 1740"/>
                <a:gd name="T59" fmla="*/ 44 h 1590"/>
                <a:gd name="T60" fmla="*/ 2 w 1740"/>
                <a:gd name="T61" fmla="*/ 38 h 1590"/>
                <a:gd name="T62" fmla="*/ 7 w 1740"/>
                <a:gd name="T63" fmla="*/ 35 h 1590"/>
                <a:gd name="T64" fmla="*/ 11 w 1740"/>
                <a:gd name="T65" fmla="*/ 30 h 1590"/>
                <a:gd name="T66" fmla="*/ 21 w 1740"/>
                <a:gd name="T67" fmla="*/ 26 h 1590"/>
                <a:gd name="T68" fmla="*/ 29 w 1740"/>
                <a:gd name="T69" fmla="*/ 25 h 1590"/>
                <a:gd name="T70" fmla="*/ 35 w 1740"/>
                <a:gd name="T71" fmla="*/ 21 h 1590"/>
                <a:gd name="T72" fmla="*/ 36 w 1740"/>
                <a:gd name="T73" fmla="*/ 16 h 1590"/>
                <a:gd name="T74" fmla="*/ 41 w 1740"/>
                <a:gd name="T75" fmla="*/ 11 h 1590"/>
                <a:gd name="T76" fmla="*/ 51 w 1740"/>
                <a:gd name="T77" fmla="*/ 9 h 1590"/>
                <a:gd name="T78" fmla="*/ 59 w 1740"/>
                <a:gd name="T79" fmla="*/ 21 h 1590"/>
                <a:gd name="T80" fmla="*/ 65 w 1740"/>
                <a:gd name="T81" fmla="*/ 13 h 1590"/>
                <a:gd name="T82" fmla="*/ 73 w 1740"/>
                <a:gd name="T83" fmla="*/ 8 h 1590"/>
                <a:gd name="T84" fmla="*/ 82 w 1740"/>
                <a:gd name="T85" fmla="*/ 12 h 1590"/>
                <a:gd name="T86" fmla="*/ 88 w 1740"/>
                <a:gd name="T87" fmla="*/ 12 h 1590"/>
                <a:gd name="T88" fmla="*/ 99 w 1740"/>
                <a:gd name="T89" fmla="*/ 7 h 1590"/>
                <a:gd name="T90" fmla="*/ 114 w 1740"/>
                <a:gd name="T91" fmla="*/ 0 h 1590"/>
                <a:gd name="T92" fmla="*/ 117 w 1740"/>
                <a:gd name="T93" fmla="*/ 10 h 1590"/>
                <a:gd name="T94" fmla="*/ 132 w 1740"/>
                <a:gd name="T95" fmla="*/ 17 h 1590"/>
                <a:gd name="T96" fmla="*/ 140 w 1740"/>
                <a:gd name="T97" fmla="*/ 25 h 1590"/>
                <a:gd name="T98" fmla="*/ 140 w 1740"/>
                <a:gd name="T99" fmla="*/ 33 h 1590"/>
                <a:gd name="T100" fmla="*/ 140 w 1740"/>
                <a:gd name="T101" fmla="*/ 44 h 1590"/>
                <a:gd name="T102" fmla="*/ 138 w 1740"/>
                <a:gd name="T103" fmla="*/ 48 h 1590"/>
                <a:gd name="T104" fmla="*/ 141 w 1740"/>
                <a:gd name="T105" fmla="*/ 49 h 1590"/>
                <a:gd name="T106" fmla="*/ 146 w 1740"/>
                <a:gd name="T107" fmla="*/ 50 h 1590"/>
                <a:gd name="T108" fmla="*/ 149 w 1740"/>
                <a:gd name="T109" fmla="*/ 59 h 1590"/>
                <a:gd name="T110" fmla="*/ 148 w 1740"/>
                <a:gd name="T111" fmla="*/ 67 h 1590"/>
                <a:gd name="T112" fmla="*/ 141 w 1740"/>
                <a:gd name="T113" fmla="*/ 78 h 1590"/>
                <a:gd name="T114" fmla="*/ 141 w 1740"/>
                <a:gd name="T115" fmla="*/ 91 h 1590"/>
                <a:gd name="T116" fmla="*/ 138 w 1740"/>
                <a:gd name="T117" fmla="*/ 102 h 1590"/>
                <a:gd name="T118" fmla="*/ 138 w 1740"/>
                <a:gd name="T119" fmla="*/ 110 h 1590"/>
                <a:gd name="T120" fmla="*/ 144 w 1740"/>
                <a:gd name="T121" fmla="*/ 118 h 1590"/>
                <a:gd name="T122" fmla="*/ 143 w 1740"/>
                <a:gd name="T123" fmla="*/ 125 h 159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740"/>
                <a:gd name="T187" fmla="*/ 0 h 1590"/>
                <a:gd name="T188" fmla="*/ 1740 w 1740"/>
                <a:gd name="T189" fmla="*/ 1590 h 159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740" h="1590">
                  <a:moveTo>
                    <a:pt x="1638" y="1458"/>
                  </a:moveTo>
                  <a:lnTo>
                    <a:pt x="1638" y="1482"/>
                  </a:lnTo>
                  <a:lnTo>
                    <a:pt x="1638" y="1500"/>
                  </a:lnTo>
                  <a:lnTo>
                    <a:pt x="1626" y="1500"/>
                  </a:lnTo>
                  <a:lnTo>
                    <a:pt x="1620" y="1500"/>
                  </a:lnTo>
                  <a:lnTo>
                    <a:pt x="1614" y="1500"/>
                  </a:lnTo>
                  <a:lnTo>
                    <a:pt x="1614" y="1506"/>
                  </a:lnTo>
                  <a:lnTo>
                    <a:pt x="1614" y="1512"/>
                  </a:lnTo>
                  <a:lnTo>
                    <a:pt x="1620" y="1518"/>
                  </a:lnTo>
                  <a:lnTo>
                    <a:pt x="1614" y="1524"/>
                  </a:lnTo>
                  <a:lnTo>
                    <a:pt x="1590" y="1536"/>
                  </a:lnTo>
                  <a:lnTo>
                    <a:pt x="1584" y="1566"/>
                  </a:lnTo>
                  <a:lnTo>
                    <a:pt x="1578" y="1590"/>
                  </a:lnTo>
                  <a:lnTo>
                    <a:pt x="1548" y="1590"/>
                  </a:lnTo>
                  <a:lnTo>
                    <a:pt x="1542" y="1584"/>
                  </a:lnTo>
                  <a:lnTo>
                    <a:pt x="1542" y="1572"/>
                  </a:lnTo>
                  <a:lnTo>
                    <a:pt x="1536" y="1566"/>
                  </a:lnTo>
                  <a:lnTo>
                    <a:pt x="1536" y="1554"/>
                  </a:lnTo>
                  <a:lnTo>
                    <a:pt x="1536" y="1548"/>
                  </a:lnTo>
                  <a:lnTo>
                    <a:pt x="1506" y="1530"/>
                  </a:lnTo>
                  <a:lnTo>
                    <a:pt x="1488" y="1506"/>
                  </a:lnTo>
                  <a:lnTo>
                    <a:pt x="1464" y="1500"/>
                  </a:lnTo>
                  <a:lnTo>
                    <a:pt x="1470" y="1494"/>
                  </a:lnTo>
                  <a:lnTo>
                    <a:pt x="1470" y="1488"/>
                  </a:lnTo>
                  <a:lnTo>
                    <a:pt x="1470" y="1482"/>
                  </a:lnTo>
                  <a:lnTo>
                    <a:pt x="1428" y="1464"/>
                  </a:lnTo>
                  <a:lnTo>
                    <a:pt x="1404" y="1470"/>
                  </a:lnTo>
                  <a:lnTo>
                    <a:pt x="1398" y="1470"/>
                  </a:lnTo>
                  <a:lnTo>
                    <a:pt x="1392" y="1476"/>
                  </a:lnTo>
                  <a:lnTo>
                    <a:pt x="1386" y="1476"/>
                  </a:lnTo>
                  <a:lnTo>
                    <a:pt x="1386" y="1482"/>
                  </a:lnTo>
                  <a:lnTo>
                    <a:pt x="1392" y="1482"/>
                  </a:lnTo>
                  <a:lnTo>
                    <a:pt x="1386" y="1488"/>
                  </a:lnTo>
                  <a:lnTo>
                    <a:pt x="1386" y="1494"/>
                  </a:lnTo>
                  <a:lnTo>
                    <a:pt x="1380" y="1494"/>
                  </a:lnTo>
                  <a:lnTo>
                    <a:pt x="1380" y="1500"/>
                  </a:lnTo>
                  <a:lnTo>
                    <a:pt x="1380" y="1512"/>
                  </a:lnTo>
                  <a:lnTo>
                    <a:pt x="1380" y="1518"/>
                  </a:lnTo>
                  <a:lnTo>
                    <a:pt x="1380" y="1524"/>
                  </a:lnTo>
                  <a:lnTo>
                    <a:pt x="1380" y="1530"/>
                  </a:lnTo>
                  <a:lnTo>
                    <a:pt x="1374" y="1536"/>
                  </a:lnTo>
                  <a:lnTo>
                    <a:pt x="1374" y="1542"/>
                  </a:lnTo>
                  <a:lnTo>
                    <a:pt x="1368" y="1542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44" y="1554"/>
                  </a:lnTo>
                  <a:lnTo>
                    <a:pt x="1332" y="1560"/>
                  </a:lnTo>
                  <a:lnTo>
                    <a:pt x="1302" y="1554"/>
                  </a:lnTo>
                  <a:lnTo>
                    <a:pt x="1290" y="1554"/>
                  </a:lnTo>
                  <a:lnTo>
                    <a:pt x="1278" y="1542"/>
                  </a:lnTo>
                  <a:lnTo>
                    <a:pt x="1272" y="1530"/>
                  </a:lnTo>
                  <a:lnTo>
                    <a:pt x="1272" y="1524"/>
                  </a:lnTo>
                  <a:lnTo>
                    <a:pt x="1272" y="1518"/>
                  </a:lnTo>
                  <a:lnTo>
                    <a:pt x="1266" y="1518"/>
                  </a:lnTo>
                  <a:lnTo>
                    <a:pt x="1266" y="1512"/>
                  </a:lnTo>
                  <a:lnTo>
                    <a:pt x="1266" y="1506"/>
                  </a:lnTo>
                  <a:lnTo>
                    <a:pt x="1272" y="1506"/>
                  </a:lnTo>
                  <a:lnTo>
                    <a:pt x="1272" y="1500"/>
                  </a:lnTo>
                  <a:lnTo>
                    <a:pt x="1278" y="1500"/>
                  </a:lnTo>
                  <a:lnTo>
                    <a:pt x="1278" y="1494"/>
                  </a:lnTo>
                  <a:lnTo>
                    <a:pt x="1278" y="1488"/>
                  </a:lnTo>
                  <a:lnTo>
                    <a:pt x="1284" y="1488"/>
                  </a:lnTo>
                  <a:lnTo>
                    <a:pt x="1284" y="1482"/>
                  </a:lnTo>
                  <a:lnTo>
                    <a:pt x="1290" y="1476"/>
                  </a:lnTo>
                  <a:lnTo>
                    <a:pt x="1284" y="1470"/>
                  </a:lnTo>
                  <a:lnTo>
                    <a:pt x="1278" y="1458"/>
                  </a:lnTo>
                  <a:lnTo>
                    <a:pt x="1278" y="1452"/>
                  </a:lnTo>
                  <a:lnTo>
                    <a:pt x="1260" y="1428"/>
                  </a:lnTo>
                  <a:lnTo>
                    <a:pt x="1254" y="1416"/>
                  </a:lnTo>
                  <a:lnTo>
                    <a:pt x="1254" y="1410"/>
                  </a:lnTo>
                  <a:lnTo>
                    <a:pt x="1248" y="1398"/>
                  </a:lnTo>
                  <a:lnTo>
                    <a:pt x="1242" y="1398"/>
                  </a:lnTo>
                  <a:lnTo>
                    <a:pt x="1236" y="1398"/>
                  </a:lnTo>
                  <a:lnTo>
                    <a:pt x="1218" y="1386"/>
                  </a:lnTo>
                  <a:lnTo>
                    <a:pt x="1212" y="1362"/>
                  </a:lnTo>
                  <a:lnTo>
                    <a:pt x="1200" y="1344"/>
                  </a:lnTo>
                  <a:lnTo>
                    <a:pt x="1188" y="1338"/>
                  </a:lnTo>
                  <a:lnTo>
                    <a:pt x="1164" y="1338"/>
                  </a:lnTo>
                  <a:lnTo>
                    <a:pt x="1158" y="1344"/>
                  </a:lnTo>
                  <a:lnTo>
                    <a:pt x="1152" y="1350"/>
                  </a:lnTo>
                  <a:lnTo>
                    <a:pt x="1152" y="1356"/>
                  </a:lnTo>
                  <a:lnTo>
                    <a:pt x="1140" y="1362"/>
                  </a:lnTo>
                  <a:lnTo>
                    <a:pt x="1134" y="1380"/>
                  </a:lnTo>
                  <a:lnTo>
                    <a:pt x="1116" y="1398"/>
                  </a:lnTo>
                  <a:lnTo>
                    <a:pt x="1110" y="1416"/>
                  </a:lnTo>
                  <a:lnTo>
                    <a:pt x="1086" y="1416"/>
                  </a:lnTo>
                  <a:lnTo>
                    <a:pt x="1080" y="1410"/>
                  </a:lnTo>
                  <a:lnTo>
                    <a:pt x="1074" y="1410"/>
                  </a:lnTo>
                  <a:lnTo>
                    <a:pt x="1074" y="1404"/>
                  </a:lnTo>
                  <a:lnTo>
                    <a:pt x="1062" y="1404"/>
                  </a:lnTo>
                  <a:lnTo>
                    <a:pt x="1062" y="1380"/>
                  </a:lnTo>
                  <a:lnTo>
                    <a:pt x="1038" y="1380"/>
                  </a:lnTo>
                  <a:lnTo>
                    <a:pt x="1026" y="1350"/>
                  </a:lnTo>
                  <a:lnTo>
                    <a:pt x="996" y="1326"/>
                  </a:lnTo>
                  <a:lnTo>
                    <a:pt x="966" y="1314"/>
                  </a:lnTo>
                  <a:lnTo>
                    <a:pt x="954" y="1320"/>
                  </a:lnTo>
                  <a:lnTo>
                    <a:pt x="942" y="1338"/>
                  </a:lnTo>
                  <a:lnTo>
                    <a:pt x="930" y="1338"/>
                  </a:lnTo>
                  <a:lnTo>
                    <a:pt x="924" y="1350"/>
                  </a:lnTo>
                  <a:lnTo>
                    <a:pt x="906" y="1356"/>
                  </a:lnTo>
                  <a:lnTo>
                    <a:pt x="846" y="1356"/>
                  </a:lnTo>
                  <a:lnTo>
                    <a:pt x="834" y="1368"/>
                  </a:lnTo>
                  <a:lnTo>
                    <a:pt x="810" y="1362"/>
                  </a:lnTo>
                  <a:lnTo>
                    <a:pt x="792" y="1362"/>
                  </a:lnTo>
                  <a:lnTo>
                    <a:pt x="780" y="1368"/>
                  </a:lnTo>
                  <a:lnTo>
                    <a:pt x="762" y="1368"/>
                  </a:lnTo>
                  <a:lnTo>
                    <a:pt x="762" y="1362"/>
                  </a:lnTo>
                  <a:lnTo>
                    <a:pt x="750" y="1362"/>
                  </a:lnTo>
                  <a:lnTo>
                    <a:pt x="750" y="1338"/>
                  </a:lnTo>
                  <a:lnTo>
                    <a:pt x="762" y="1338"/>
                  </a:lnTo>
                  <a:lnTo>
                    <a:pt x="762" y="1326"/>
                  </a:lnTo>
                  <a:lnTo>
                    <a:pt x="762" y="1314"/>
                  </a:lnTo>
                  <a:lnTo>
                    <a:pt x="732" y="1314"/>
                  </a:lnTo>
                  <a:lnTo>
                    <a:pt x="726" y="1308"/>
                  </a:lnTo>
                  <a:lnTo>
                    <a:pt x="732" y="1284"/>
                  </a:lnTo>
                  <a:lnTo>
                    <a:pt x="732" y="1278"/>
                  </a:lnTo>
                  <a:lnTo>
                    <a:pt x="738" y="1272"/>
                  </a:lnTo>
                  <a:lnTo>
                    <a:pt x="738" y="1266"/>
                  </a:lnTo>
                  <a:lnTo>
                    <a:pt x="744" y="1266"/>
                  </a:lnTo>
                  <a:lnTo>
                    <a:pt x="750" y="1272"/>
                  </a:lnTo>
                  <a:lnTo>
                    <a:pt x="756" y="1266"/>
                  </a:lnTo>
                  <a:lnTo>
                    <a:pt x="762" y="1266"/>
                  </a:lnTo>
                  <a:lnTo>
                    <a:pt x="768" y="1260"/>
                  </a:lnTo>
                  <a:lnTo>
                    <a:pt x="774" y="1260"/>
                  </a:lnTo>
                  <a:lnTo>
                    <a:pt x="780" y="1254"/>
                  </a:lnTo>
                  <a:lnTo>
                    <a:pt x="774" y="1254"/>
                  </a:lnTo>
                  <a:lnTo>
                    <a:pt x="768" y="1254"/>
                  </a:lnTo>
                  <a:lnTo>
                    <a:pt x="774" y="1248"/>
                  </a:lnTo>
                  <a:lnTo>
                    <a:pt x="774" y="1242"/>
                  </a:lnTo>
                  <a:lnTo>
                    <a:pt x="780" y="1236"/>
                  </a:lnTo>
                  <a:lnTo>
                    <a:pt x="786" y="1236"/>
                  </a:lnTo>
                  <a:lnTo>
                    <a:pt x="792" y="1230"/>
                  </a:lnTo>
                  <a:lnTo>
                    <a:pt x="792" y="1236"/>
                  </a:lnTo>
                  <a:lnTo>
                    <a:pt x="798" y="1236"/>
                  </a:lnTo>
                  <a:lnTo>
                    <a:pt x="798" y="1230"/>
                  </a:lnTo>
                  <a:lnTo>
                    <a:pt x="804" y="1230"/>
                  </a:lnTo>
                  <a:lnTo>
                    <a:pt x="804" y="1218"/>
                  </a:lnTo>
                  <a:lnTo>
                    <a:pt x="804" y="1206"/>
                  </a:lnTo>
                  <a:lnTo>
                    <a:pt x="792" y="1188"/>
                  </a:lnTo>
                  <a:lnTo>
                    <a:pt x="768" y="1182"/>
                  </a:lnTo>
                  <a:lnTo>
                    <a:pt x="768" y="1170"/>
                  </a:lnTo>
                  <a:lnTo>
                    <a:pt x="774" y="1170"/>
                  </a:lnTo>
                  <a:lnTo>
                    <a:pt x="780" y="1170"/>
                  </a:lnTo>
                  <a:lnTo>
                    <a:pt x="786" y="1170"/>
                  </a:lnTo>
                  <a:lnTo>
                    <a:pt x="780" y="1152"/>
                  </a:lnTo>
                  <a:lnTo>
                    <a:pt x="780" y="1146"/>
                  </a:lnTo>
                  <a:lnTo>
                    <a:pt x="744" y="1140"/>
                  </a:lnTo>
                  <a:lnTo>
                    <a:pt x="732" y="1128"/>
                  </a:lnTo>
                  <a:lnTo>
                    <a:pt x="720" y="1122"/>
                  </a:lnTo>
                  <a:lnTo>
                    <a:pt x="732" y="1116"/>
                  </a:lnTo>
                  <a:lnTo>
                    <a:pt x="750" y="1104"/>
                  </a:lnTo>
                  <a:lnTo>
                    <a:pt x="756" y="1116"/>
                  </a:lnTo>
                  <a:lnTo>
                    <a:pt x="774" y="1116"/>
                  </a:lnTo>
                  <a:lnTo>
                    <a:pt x="780" y="1104"/>
                  </a:lnTo>
                  <a:lnTo>
                    <a:pt x="780" y="1080"/>
                  </a:lnTo>
                  <a:lnTo>
                    <a:pt x="786" y="1080"/>
                  </a:lnTo>
                  <a:lnTo>
                    <a:pt x="786" y="1074"/>
                  </a:lnTo>
                  <a:lnTo>
                    <a:pt x="792" y="1074"/>
                  </a:lnTo>
                  <a:lnTo>
                    <a:pt x="786" y="1068"/>
                  </a:lnTo>
                  <a:lnTo>
                    <a:pt x="786" y="1062"/>
                  </a:lnTo>
                  <a:lnTo>
                    <a:pt x="786" y="1056"/>
                  </a:lnTo>
                  <a:lnTo>
                    <a:pt x="792" y="1050"/>
                  </a:lnTo>
                  <a:lnTo>
                    <a:pt x="786" y="1020"/>
                  </a:lnTo>
                  <a:lnTo>
                    <a:pt x="780" y="960"/>
                  </a:lnTo>
                  <a:lnTo>
                    <a:pt x="768" y="942"/>
                  </a:lnTo>
                  <a:lnTo>
                    <a:pt x="732" y="936"/>
                  </a:lnTo>
                  <a:lnTo>
                    <a:pt x="732" y="942"/>
                  </a:lnTo>
                  <a:lnTo>
                    <a:pt x="726" y="942"/>
                  </a:lnTo>
                  <a:lnTo>
                    <a:pt x="720" y="936"/>
                  </a:lnTo>
                  <a:lnTo>
                    <a:pt x="714" y="942"/>
                  </a:lnTo>
                  <a:lnTo>
                    <a:pt x="708" y="942"/>
                  </a:lnTo>
                  <a:lnTo>
                    <a:pt x="702" y="942"/>
                  </a:lnTo>
                  <a:lnTo>
                    <a:pt x="690" y="936"/>
                  </a:lnTo>
                  <a:lnTo>
                    <a:pt x="684" y="936"/>
                  </a:lnTo>
                  <a:lnTo>
                    <a:pt x="678" y="936"/>
                  </a:lnTo>
                  <a:lnTo>
                    <a:pt x="672" y="936"/>
                  </a:lnTo>
                  <a:lnTo>
                    <a:pt x="666" y="942"/>
                  </a:lnTo>
                  <a:lnTo>
                    <a:pt x="660" y="942"/>
                  </a:lnTo>
                  <a:lnTo>
                    <a:pt x="654" y="942"/>
                  </a:lnTo>
                  <a:lnTo>
                    <a:pt x="648" y="942"/>
                  </a:lnTo>
                  <a:lnTo>
                    <a:pt x="642" y="936"/>
                  </a:lnTo>
                  <a:lnTo>
                    <a:pt x="636" y="936"/>
                  </a:lnTo>
                  <a:lnTo>
                    <a:pt x="630" y="930"/>
                  </a:lnTo>
                  <a:lnTo>
                    <a:pt x="618" y="930"/>
                  </a:lnTo>
                  <a:lnTo>
                    <a:pt x="612" y="930"/>
                  </a:lnTo>
                  <a:lnTo>
                    <a:pt x="606" y="936"/>
                  </a:lnTo>
                  <a:lnTo>
                    <a:pt x="600" y="942"/>
                  </a:lnTo>
                  <a:lnTo>
                    <a:pt x="600" y="936"/>
                  </a:lnTo>
                  <a:lnTo>
                    <a:pt x="594" y="930"/>
                  </a:lnTo>
                  <a:lnTo>
                    <a:pt x="588" y="930"/>
                  </a:lnTo>
                  <a:lnTo>
                    <a:pt x="582" y="930"/>
                  </a:lnTo>
                  <a:lnTo>
                    <a:pt x="576" y="930"/>
                  </a:lnTo>
                  <a:lnTo>
                    <a:pt x="564" y="936"/>
                  </a:lnTo>
                  <a:lnTo>
                    <a:pt x="558" y="936"/>
                  </a:lnTo>
                  <a:lnTo>
                    <a:pt x="546" y="924"/>
                  </a:lnTo>
                  <a:lnTo>
                    <a:pt x="540" y="924"/>
                  </a:lnTo>
                  <a:lnTo>
                    <a:pt x="534" y="918"/>
                  </a:lnTo>
                  <a:lnTo>
                    <a:pt x="528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6" y="918"/>
                  </a:lnTo>
                  <a:lnTo>
                    <a:pt x="516" y="912"/>
                  </a:lnTo>
                  <a:lnTo>
                    <a:pt x="510" y="894"/>
                  </a:lnTo>
                  <a:lnTo>
                    <a:pt x="510" y="882"/>
                  </a:lnTo>
                  <a:lnTo>
                    <a:pt x="510" y="876"/>
                  </a:lnTo>
                  <a:lnTo>
                    <a:pt x="516" y="870"/>
                  </a:lnTo>
                  <a:lnTo>
                    <a:pt x="510" y="864"/>
                  </a:lnTo>
                  <a:lnTo>
                    <a:pt x="516" y="858"/>
                  </a:lnTo>
                  <a:lnTo>
                    <a:pt x="522" y="858"/>
                  </a:lnTo>
                  <a:lnTo>
                    <a:pt x="528" y="858"/>
                  </a:lnTo>
                  <a:lnTo>
                    <a:pt x="522" y="852"/>
                  </a:lnTo>
                  <a:lnTo>
                    <a:pt x="528" y="852"/>
                  </a:lnTo>
                  <a:lnTo>
                    <a:pt x="528" y="846"/>
                  </a:lnTo>
                  <a:lnTo>
                    <a:pt x="552" y="846"/>
                  </a:lnTo>
                  <a:lnTo>
                    <a:pt x="558" y="840"/>
                  </a:lnTo>
                  <a:lnTo>
                    <a:pt x="564" y="828"/>
                  </a:lnTo>
                  <a:lnTo>
                    <a:pt x="570" y="816"/>
                  </a:lnTo>
                  <a:lnTo>
                    <a:pt x="582" y="810"/>
                  </a:lnTo>
                  <a:lnTo>
                    <a:pt x="588" y="804"/>
                  </a:lnTo>
                  <a:lnTo>
                    <a:pt x="594" y="804"/>
                  </a:lnTo>
                  <a:lnTo>
                    <a:pt x="594" y="792"/>
                  </a:lnTo>
                  <a:lnTo>
                    <a:pt x="600" y="786"/>
                  </a:lnTo>
                  <a:lnTo>
                    <a:pt x="606" y="780"/>
                  </a:lnTo>
                  <a:lnTo>
                    <a:pt x="612" y="774"/>
                  </a:lnTo>
                  <a:lnTo>
                    <a:pt x="618" y="774"/>
                  </a:lnTo>
                  <a:lnTo>
                    <a:pt x="618" y="768"/>
                  </a:lnTo>
                  <a:lnTo>
                    <a:pt x="618" y="762"/>
                  </a:lnTo>
                  <a:lnTo>
                    <a:pt x="624" y="756"/>
                  </a:lnTo>
                  <a:lnTo>
                    <a:pt x="618" y="750"/>
                  </a:lnTo>
                  <a:lnTo>
                    <a:pt x="618" y="744"/>
                  </a:lnTo>
                  <a:lnTo>
                    <a:pt x="600" y="738"/>
                  </a:lnTo>
                  <a:lnTo>
                    <a:pt x="558" y="744"/>
                  </a:lnTo>
                  <a:lnTo>
                    <a:pt x="552" y="732"/>
                  </a:lnTo>
                  <a:lnTo>
                    <a:pt x="546" y="720"/>
                  </a:lnTo>
                  <a:lnTo>
                    <a:pt x="564" y="702"/>
                  </a:lnTo>
                  <a:lnTo>
                    <a:pt x="570" y="684"/>
                  </a:lnTo>
                  <a:lnTo>
                    <a:pt x="564" y="648"/>
                  </a:lnTo>
                  <a:lnTo>
                    <a:pt x="534" y="624"/>
                  </a:lnTo>
                  <a:lnTo>
                    <a:pt x="504" y="612"/>
                  </a:lnTo>
                  <a:lnTo>
                    <a:pt x="498" y="606"/>
                  </a:lnTo>
                  <a:lnTo>
                    <a:pt x="492" y="600"/>
                  </a:lnTo>
                  <a:lnTo>
                    <a:pt x="486" y="606"/>
                  </a:lnTo>
                  <a:lnTo>
                    <a:pt x="480" y="558"/>
                  </a:lnTo>
                  <a:lnTo>
                    <a:pt x="462" y="546"/>
                  </a:lnTo>
                  <a:lnTo>
                    <a:pt x="408" y="540"/>
                  </a:lnTo>
                  <a:lnTo>
                    <a:pt x="408" y="546"/>
                  </a:lnTo>
                  <a:lnTo>
                    <a:pt x="408" y="558"/>
                  </a:lnTo>
                  <a:lnTo>
                    <a:pt x="408" y="564"/>
                  </a:lnTo>
                  <a:lnTo>
                    <a:pt x="408" y="570"/>
                  </a:lnTo>
                  <a:lnTo>
                    <a:pt x="414" y="582"/>
                  </a:lnTo>
                  <a:lnTo>
                    <a:pt x="408" y="594"/>
                  </a:lnTo>
                  <a:lnTo>
                    <a:pt x="414" y="594"/>
                  </a:lnTo>
                  <a:lnTo>
                    <a:pt x="408" y="600"/>
                  </a:lnTo>
                  <a:lnTo>
                    <a:pt x="348" y="600"/>
                  </a:lnTo>
                  <a:lnTo>
                    <a:pt x="324" y="600"/>
                  </a:lnTo>
                  <a:lnTo>
                    <a:pt x="324" y="612"/>
                  </a:lnTo>
                  <a:lnTo>
                    <a:pt x="306" y="618"/>
                  </a:lnTo>
                  <a:lnTo>
                    <a:pt x="312" y="618"/>
                  </a:lnTo>
                  <a:lnTo>
                    <a:pt x="294" y="588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76"/>
                  </a:lnTo>
                  <a:lnTo>
                    <a:pt x="240" y="582"/>
                  </a:lnTo>
                  <a:lnTo>
                    <a:pt x="234" y="582"/>
                  </a:lnTo>
                  <a:lnTo>
                    <a:pt x="228" y="588"/>
                  </a:lnTo>
                  <a:lnTo>
                    <a:pt x="222" y="588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8" y="600"/>
                  </a:lnTo>
                  <a:lnTo>
                    <a:pt x="192" y="612"/>
                  </a:lnTo>
                  <a:lnTo>
                    <a:pt x="192" y="618"/>
                  </a:lnTo>
                  <a:lnTo>
                    <a:pt x="198" y="624"/>
                  </a:lnTo>
                  <a:lnTo>
                    <a:pt x="192" y="624"/>
                  </a:lnTo>
                  <a:lnTo>
                    <a:pt x="192" y="630"/>
                  </a:lnTo>
                  <a:lnTo>
                    <a:pt x="192" y="642"/>
                  </a:lnTo>
                  <a:lnTo>
                    <a:pt x="180" y="648"/>
                  </a:lnTo>
                  <a:lnTo>
                    <a:pt x="174" y="654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6"/>
                  </a:lnTo>
                  <a:lnTo>
                    <a:pt x="156" y="672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90"/>
                  </a:lnTo>
                  <a:lnTo>
                    <a:pt x="132" y="690"/>
                  </a:lnTo>
                  <a:lnTo>
                    <a:pt x="126" y="702"/>
                  </a:lnTo>
                  <a:lnTo>
                    <a:pt x="132" y="708"/>
                  </a:lnTo>
                  <a:lnTo>
                    <a:pt x="126" y="708"/>
                  </a:lnTo>
                  <a:lnTo>
                    <a:pt x="120" y="708"/>
                  </a:lnTo>
                  <a:lnTo>
                    <a:pt x="114" y="708"/>
                  </a:lnTo>
                  <a:lnTo>
                    <a:pt x="108" y="708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78" y="720"/>
                  </a:lnTo>
                  <a:lnTo>
                    <a:pt x="72" y="720"/>
                  </a:lnTo>
                  <a:lnTo>
                    <a:pt x="66" y="720"/>
                  </a:lnTo>
                  <a:lnTo>
                    <a:pt x="54" y="732"/>
                  </a:lnTo>
                  <a:lnTo>
                    <a:pt x="48" y="702"/>
                  </a:lnTo>
                  <a:lnTo>
                    <a:pt x="36" y="666"/>
                  </a:lnTo>
                  <a:lnTo>
                    <a:pt x="0" y="660"/>
                  </a:lnTo>
                  <a:lnTo>
                    <a:pt x="6" y="660"/>
                  </a:lnTo>
                  <a:lnTo>
                    <a:pt x="6" y="654"/>
                  </a:lnTo>
                  <a:lnTo>
                    <a:pt x="6" y="648"/>
                  </a:lnTo>
                  <a:lnTo>
                    <a:pt x="6" y="642"/>
                  </a:lnTo>
                  <a:lnTo>
                    <a:pt x="6" y="624"/>
                  </a:lnTo>
                  <a:lnTo>
                    <a:pt x="6" y="612"/>
                  </a:lnTo>
                  <a:lnTo>
                    <a:pt x="6" y="606"/>
                  </a:lnTo>
                  <a:lnTo>
                    <a:pt x="12" y="612"/>
                  </a:lnTo>
                  <a:lnTo>
                    <a:pt x="18" y="606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30" y="594"/>
                  </a:lnTo>
                  <a:lnTo>
                    <a:pt x="30" y="588"/>
                  </a:lnTo>
                  <a:lnTo>
                    <a:pt x="30" y="582"/>
                  </a:lnTo>
                  <a:lnTo>
                    <a:pt x="24" y="576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18" y="558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36" y="528"/>
                  </a:lnTo>
                  <a:lnTo>
                    <a:pt x="30" y="522"/>
                  </a:lnTo>
                  <a:lnTo>
                    <a:pt x="24" y="522"/>
                  </a:lnTo>
                  <a:lnTo>
                    <a:pt x="18" y="510"/>
                  </a:lnTo>
                  <a:lnTo>
                    <a:pt x="12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8" y="474"/>
                  </a:lnTo>
                  <a:lnTo>
                    <a:pt x="12" y="468"/>
                  </a:lnTo>
                  <a:lnTo>
                    <a:pt x="12" y="462"/>
                  </a:lnTo>
                  <a:lnTo>
                    <a:pt x="18" y="456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0" y="420"/>
                  </a:lnTo>
                  <a:lnTo>
                    <a:pt x="30" y="414"/>
                  </a:lnTo>
                  <a:lnTo>
                    <a:pt x="48" y="414"/>
                  </a:lnTo>
                  <a:lnTo>
                    <a:pt x="54" y="408"/>
                  </a:lnTo>
                  <a:lnTo>
                    <a:pt x="60" y="402"/>
                  </a:lnTo>
                  <a:lnTo>
                    <a:pt x="66" y="402"/>
                  </a:lnTo>
                  <a:lnTo>
                    <a:pt x="72" y="402"/>
                  </a:lnTo>
                  <a:lnTo>
                    <a:pt x="78" y="408"/>
                  </a:lnTo>
                  <a:lnTo>
                    <a:pt x="84" y="396"/>
                  </a:lnTo>
                  <a:lnTo>
                    <a:pt x="90" y="390"/>
                  </a:lnTo>
                  <a:lnTo>
                    <a:pt x="90" y="378"/>
                  </a:lnTo>
                  <a:lnTo>
                    <a:pt x="96" y="372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8" y="354"/>
                  </a:lnTo>
                  <a:lnTo>
                    <a:pt x="114" y="348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32" y="336"/>
                  </a:lnTo>
                  <a:lnTo>
                    <a:pt x="132" y="330"/>
                  </a:lnTo>
                  <a:lnTo>
                    <a:pt x="138" y="324"/>
                  </a:lnTo>
                  <a:lnTo>
                    <a:pt x="138" y="318"/>
                  </a:lnTo>
                  <a:lnTo>
                    <a:pt x="144" y="306"/>
                  </a:lnTo>
                  <a:lnTo>
                    <a:pt x="156" y="306"/>
                  </a:lnTo>
                  <a:lnTo>
                    <a:pt x="186" y="300"/>
                  </a:lnTo>
                  <a:lnTo>
                    <a:pt x="198" y="300"/>
                  </a:lnTo>
                  <a:lnTo>
                    <a:pt x="210" y="300"/>
                  </a:lnTo>
                  <a:lnTo>
                    <a:pt x="222" y="300"/>
                  </a:lnTo>
                  <a:lnTo>
                    <a:pt x="246" y="300"/>
                  </a:lnTo>
                  <a:lnTo>
                    <a:pt x="264" y="312"/>
                  </a:lnTo>
                  <a:lnTo>
                    <a:pt x="270" y="312"/>
                  </a:lnTo>
                  <a:lnTo>
                    <a:pt x="282" y="306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300" y="306"/>
                  </a:lnTo>
                  <a:lnTo>
                    <a:pt x="312" y="306"/>
                  </a:lnTo>
                  <a:lnTo>
                    <a:pt x="318" y="300"/>
                  </a:lnTo>
                  <a:lnTo>
                    <a:pt x="324" y="300"/>
                  </a:lnTo>
                  <a:lnTo>
                    <a:pt x="330" y="294"/>
                  </a:lnTo>
                  <a:lnTo>
                    <a:pt x="336" y="288"/>
                  </a:lnTo>
                  <a:lnTo>
                    <a:pt x="354" y="288"/>
                  </a:lnTo>
                  <a:lnTo>
                    <a:pt x="360" y="288"/>
                  </a:lnTo>
                  <a:lnTo>
                    <a:pt x="366" y="282"/>
                  </a:lnTo>
                  <a:lnTo>
                    <a:pt x="372" y="282"/>
                  </a:lnTo>
                  <a:lnTo>
                    <a:pt x="378" y="282"/>
                  </a:lnTo>
                  <a:lnTo>
                    <a:pt x="384" y="276"/>
                  </a:lnTo>
                  <a:lnTo>
                    <a:pt x="384" y="270"/>
                  </a:lnTo>
                  <a:lnTo>
                    <a:pt x="390" y="264"/>
                  </a:lnTo>
                  <a:lnTo>
                    <a:pt x="402" y="258"/>
                  </a:lnTo>
                  <a:lnTo>
                    <a:pt x="402" y="252"/>
                  </a:lnTo>
                  <a:lnTo>
                    <a:pt x="402" y="246"/>
                  </a:lnTo>
                  <a:lnTo>
                    <a:pt x="408" y="234"/>
                  </a:lnTo>
                  <a:lnTo>
                    <a:pt x="414" y="234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14" y="216"/>
                  </a:lnTo>
                  <a:lnTo>
                    <a:pt x="414" y="210"/>
                  </a:lnTo>
                  <a:lnTo>
                    <a:pt x="420" y="210"/>
                  </a:lnTo>
                  <a:lnTo>
                    <a:pt x="414" y="198"/>
                  </a:lnTo>
                  <a:lnTo>
                    <a:pt x="414" y="192"/>
                  </a:lnTo>
                  <a:lnTo>
                    <a:pt x="420" y="192"/>
                  </a:lnTo>
                  <a:lnTo>
                    <a:pt x="420" y="186"/>
                  </a:lnTo>
                  <a:lnTo>
                    <a:pt x="420" y="174"/>
                  </a:lnTo>
                  <a:lnTo>
                    <a:pt x="420" y="168"/>
                  </a:lnTo>
                  <a:lnTo>
                    <a:pt x="426" y="162"/>
                  </a:lnTo>
                  <a:lnTo>
                    <a:pt x="432" y="156"/>
                  </a:lnTo>
                  <a:lnTo>
                    <a:pt x="438" y="144"/>
                  </a:lnTo>
                  <a:lnTo>
                    <a:pt x="444" y="144"/>
                  </a:lnTo>
                  <a:lnTo>
                    <a:pt x="450" y="138"/>
                  </a:lnTo>
                  <a:lnTo>
                    <a:pt x="456" y="138"/>
                  </a:lnTo>
                  <a:lnTo>
                    <a:pt x="462" y="132"/>
                  </a:lnTo>
                  <a:lnTo>
                    <a:pt x="462" y="126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0"/>
                  </a:lnTo>
                  <a:lnTo>
                    <a:pt x="486" y="108"/>
                  </a:lnTo>
                  <a:lnTo>
                    <a:pt x="492" y="108"/>
                  </a:lnTo>
                  <a:lnTo>
                    <a:pt x="498" y="102"/>
                  </a:lnTo>
                  <a:lnTo>
                    <a:pt x="504" y="96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40" y="102"/>
                  </a:lnTo>
                  <a:lnTo>
                    <a:pt x="552" y="108"/>
                  </a:lnTo>
                  <a:lnTo>
                    <a:pt x="582" y="102"/>
                  </a:lnTo>
                  <a:lnTo>
                    <a:pt x="594" y="126"/>
                  </a:lnTo>
                  <a:lnTo>
                    <a:pt x="594" y="144"/>
                  </a:lnTo>
                  <a:lnTo>
                    <a:pt x="588" y="156"/>
                  </a:lnTo>
                  <a:lnTo>
                    <a:pt x="588" y="168"/>
                  </a:lnTo>
                  <a:lnTo>
                    <a:pt x="582" y="180"/>
                  </a:lnTo>
                  <a:lnTo>
                    <a:pt x="570" y="192"/>
                  </a:lnTo>
                  <a:lnTo>
                    <a:pt x="594" y="192"/>
                  </a:lnTo>
                  <a:lnTo>
                    <a:pt x="618" y="198"/>
                  </a:lnTo>
                  <a:lnTo>
                    <a:pt x="642" y="210"/>
                  </a:lnTo>
                  <a:lnTo>
                    <a:pt x="660" y="234"/>
                  </a:lnTo>
                  <a:lnTo>
                    <a:pt x="678" y="246"/>
                  </a:lnTo>
                  <a:lnTo>
                    <a:pt x="684" y="252"/>
                  </a:lnTo>
                  <a:lnTo>
                    <a:pt x="702" y="252"/>
                  </a:lnTo>
                  <a:lnTo>
                    <a:pt x="732" y="234"/>
                  </a:lnTo>
                  <a:lnTo>
                    <a:pt x="732" y="222"/>
                  </a:lnTo>
                  <a:lnTo>
                    <a:pt x="720" y="216"/>
                  </a:lnTo>
                  <a:lnTo>
                    <a:pt x="714" y="198"/>
                  </a:lnTo>
                  <a:lnTo>
                    <a:pt x="714" y="174"/>
                  </a:lnTo>
                  <a:lnTo>
                    <a:pt x="720" y="162"/>
                  </a:lnTo>
                  <a:lnTo>
                    <a:pt x="726" y="162"/>
                  </a:lnTo>
                  <a:lnTo>
                    <a:pt x="732" y="156"/>
                  </a:lnTo>
                  <a:lnTo>
                    <a:pt x="744" y="150"/>
                  </a:lnTo>
                  <a:lnTo>
                    <a:pt x="774" y="162"/>
                  </a:lnTo>
                  <a:lnTo>
                    <a:pt x="786" y="162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16" y="150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2" y="132"/>
                  </a:lnTo>
                  <a:lnTo>
                    <a:pt x="822" y="114"/>
                  </a:lnTo>
                  <a:lnTo>
                    <a:pt x="828" y="108"/>
                  </a:lnTo>
                  <a:lnTo>
                    <a:pt x="834" y="96"/>
                  </a:lnTo>
                  <a:lnTo>
                    <a:pt x="846" y="96"/>
                  </a:lnTo>
                  <a:lnTo>
                    <a:pt x="858" y="90"/>
                  </a:lnTo>
                  <a:lnTo>
                    <a:pt x="870" y="84"/>
                  </a:lnTo>
                  <a:lnTo>
                    <a:pt x="888" y="84"/>
                  </a:lnTo>
                  <a:lnTo>
                    <a:pt x="894" y="90"/>
                  </a:lnTo>
                  <a:lnTo>
                    <a:pt x="894" y="102"/>
                  </a:lnTo>
                  <a:lnTo>
                    <a:pt x="900" y="102"/>
                  </a:lnTo>
                  <a:lnTo>
                    <a:pt x="906" y="114"/>
                  </a:lnTo>
                  <a:lnTo>
                    <a:pt x="930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54" y="138"/>
                  </a:lnTo>
                  <a:lnTo>
                    <a:pt x="966" y="144"/>
                  </a:lnTo>
                  <a:lnTo>
                    <a:pt x="966" y="150"/>
                  </a:lnTo>
                  <a:lnTo>
                    <a:pt x="972" y="150"/>
                  </a:lnTo>
                  <a:lnTo>
                    <a:pt x="978" y="150"/>
                  </a:lnTo>
                  <a:lnTo>
                    <a:pt x="978" y="144"/>
                  </a:lnTo>
                  <a:lnTo>
                    <a:pt x="984" y="144"/>
                  </a:lnTo>
                  <a:lnTo>
                    <a:pt x="990" y="138"/>
                  </a:lnTo>
                  <a:lnTo>
                    <a:pt x="996" y="138"/>
                  </a:lnTo>
                  <a:lnTo>
                    <a:pt x="1002" y="138"/>
                  </a:lnTo>
                  <a:lnTo>
                    <a:pt x="1008" y="138"/>
                  </a:lnTo>
                  <a:lnTo>
                    <a:pt x="1026" y="132"/>
                  </a:lnTo>
                  <a:lnTo>
                    <a:pt x="1044" y="126"/>
                  </a:lnTo>
                  <a:lnTo>
                    <a:pt x="1056" y="120"/>
                  </a:lnTo>
                  <a:lnTo>
                    <a:pt x="1062" y="108"/>
                  </a:lnTo>
                  <a:lnTo>
                    <a:pt x="1056" y="102"/>
                  </a:lnTo>
                  <a:lnTo>
                    <a:pt x="1062" y="96"/>
                  </a:lnTo>
                  <a:lnTo>
                    <a:pt x="1074" y="90"/>
                  </a:lnTo>
                  <a:lnTo>
                    <a:pt x="1080" y="84"/>
                  </a:lnTo>
                  <a:lnTo>
                    <a:pt x="1128" y="84"/>
                  </a:lnTo>
                  <a:lnTo>
                    <a:pt x="1134" y="84"/>
                  </a:lnTo>
                  <a:lnTo>
                    <a:pt x="1140" y="78"/>
                  </a:lnTo>
                  <a:lnTo>
                    <a:pt x="1152" y="72"/>
                  </a:lnTo>
                  <a:lnTo>
                    <a:pt x="1164" y="66"/>
                  </a:lnTo>
                  <a:lnTo>
                    <a:pt x="1170" y="60"/>
                  </a:lnTo>
                  <a:lnTo>
                    <a:pt x="1188" y="48"/>
                  </a:lnTo>
                  <a:lnTo>
                    <a:pt x="1200" y="36"/>
                  </a:lnTo>
                  <a:lnTo>
                    <a:pt x="1218" y="24"/>
                  </a:lnTo>
                  <a:lnTo>
                    <a:pt x="1248" y="24"/>
                  </a:lnTo>
                  <a:lnTo>
                    <a:pt x="1272" y="24"/>
                  </a:lnTo>
                  <a:lnTo>
                    <a:pt x="1284" y="12"/>
                  </a:lnTo>
                  <a:lnTo>
                    <a:pt x="1302" y="0"/>
                  </a:lnTo>
                  <a:lnTo>
                    <a:pt x="1314" y="0"/>
                  </a:lnTo>
                  <a:lnTo>
                    <a:pt x="1326" y="18"/>
                  </a:lnTo>
                  <a:lnTo>
                    <a:pt x="1338" y="30"/>
                  </a:lnTo>
                  <a:lnTo>
                    <a:pt x="1338" y="54"/>
                  </a:lnTo>
                  <a:lnTo>
                    <a:pt x="1332" y="72"/>
                  </a:lnTo>
                  <a:lnTo>
                    <a:pt x="1326" y="72"/>
                  </a:lnTo>
                  <a:lnTo>
                    <a:pt x="1326" y="78"/>
                  </a:lnTo>
                  <a:lnTo>
                    <a:pt x="1326" y="102"/>
                  </a:lnTo>
                  <a:lnTo>
                    <a:pt x="1332" y="102"/>
                  </a:lnTo>
                  <a:lnTo>
                    <a:pt x="1332" y="108"/>
                  </a:lnTo>
                  <a:lnTo>
                    <a:pt x="1344" y="114"/>
                  </a:lnTo>
                  <a:lnTo>
                    <a:pt x="1350" y="114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404" y="132"/>
                  </a:lnTo>
                  <a:lnTo>
                    <a:pt x="1404" y="138"/>
                  </a:lnTo>
                  <a:lnTo>
                    <a:pt x="1410" y="150"/>
                  </a:lnTo>
                  <a:lnTo>
                    <a:pt x="1416" y="162"/>
                  </a:lnTo>
                  <a:lnTo>
                    <a:pt x="1428" y="168"/>
                  </a:lnTo>
                  <a:lnTo>
                    <a:pt x="1440" y="180"/>
                  </a:lnTo>
                  <a:lnTo>
                    <a:pt x="1476" y="174"/>
                  </a:lnTo>
                  <a:lnTo>
                    <a:pt x="1494" y="174"/>
                  </a:lnTo>
                  <a:lnTo>
                    <a:pt x="1512" y="192"/>
                  </a:lnTo>
                  <a:lnTo>
                    <a:pt x="1518" y="204"/>
                  </a:lnTo>
                  <a:lnTo>
                    <a:pt x="1530" y="216"/>
                  </a:lnTo>
                  <a:lnTo>
                    <a:pt x="1548" y="228"/>
                  </a:lnTo>
                  <a:lnTo>
                    <a:pt x="1548" y="234"/>
                  </a:lnTo>
                  <a:lnTo>
                    <a:pt x="1542" y="246"/>
                  </a:lnTo>
                  <a:lnTo>
                    <a:pt x="1560" y="246"/>
                  </a:lnTo>
                  <a:lnTo>
                    <a:pt x="1560" y="252"/>
                  </a:lnTo>
                  <a:lnTo>
                    <a:pt x="1566" y="258"/>
                  </a:lnTo>
                  <a:lnTo>
                    <a:pt x="1578" y="270"/>
                  </a:lnTo>
                  <a:lnTo>
                    <a:pt x="1596" y="270"/>
                  </a:lnTo>
                  <a:lnTo>
                    <a:pt x="1602" y="288"/>
                  </a:lnTo>
                  <a:lnTo>
                    <a:pt x="1608" y="306"/>
                  </a:lnTo>
                  <a:lnTo>
                    <a:pt x="1608" y="318"/>
                  </a:lnTo>
                  <a:lnTo>
                    <a:pt x="1608" y="324"/>
                  </a:lnTo>
                  <a:lnTo>
                    <a:pt x="1614" y="330"/>
                  </a:lnTo>
                  <a:lnTo>
                    <a:pt x="1614" y="336"/>
                  </a:lnTo>
                  <a:lnTo>
                    <a:pt x="1614" y="342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08" y="390"/>
                  </a:lnTo>
                  <a:lnTo>
                    <a:pt x="1602" y="390"/>
                  </a:lnTo>
                  <a:lnTo>
                    <a:pt x="1602" y="396"/>
                  </a:lnTo>
                  <a:lnTo>
                    <a:pt x="1584" y="420"/>
                  </a:lnTo>
                  <a:lnTo>
                    <a:pt x="1584" y="426"/>
                  </a:lnTo>
                  <a:lnTo>
                    <a:pt x="1602" y="474"/>
                  </a:lnTo>
                  <a:lnTo>
                    <a:pt x="1608" y="480"/>
                  </a:lnTo>
                  <a:lnTo>
                    <a:pt x="1608" y="486"/>
                  </a:lnTo>
                  <a:lnTo>
                    <a:pt x="1614" y="486"/>
                  </a:lnTo>
                  <a:lnTo>
                    <a:pt x="1608" y="504"/>
                  </a:lnTo>
                  <a:lnTo>
                    <a:pt x="1572" y="504"/>
                  </a:lnTo>
                  <a:lnTo>
                    <a:pt x="1560" y="510"/>
                  </a:lnTo>
                  <a:lnTo>
                    <a:pt x="1554" y="522"/>
                  </a:lnTo>
                  <a:lnTo>
                    <a:pt x="1560" y="552"/>
                  </a:lnTo>
                  <a:lnTo>
                    <a:pt x="1566" y="552"/>
                  </a:lnTo>
                  <a:lnTo>
                    <a:pt x="1566" y="558"/>
                  </a:lnTo>
                  <a:lnTo>
                    <a:pt x="1572" y="558"/>
                  </a:lnTo>
                  <a:lnTo>
                    <a:pt x="1578" y="558"/>
                  </a:lnTo>
                  <a:lnTo>
                    <a:pt x="1578" y="552"/>
                  </a:lnTo>
                  <a:lnTo>
                    <a:pt x="1584" y="552"/>
                  </a:lnTo>
                  <a:lnTo>
                    <a:pt x="1590" y="552"/>
                  </a:lnTo>
                  <a:lnTo>
                    <a:pt x="1590" y="546"/>
                  </a:lnTo>
                  <a:lnTo>
                    <a:pt x="1596" y="546"/>
                  </a:lnTo>
                  <a:lnTo>
                    <a:pt x="1602" y="552"/>
                  </a:lnTo>
                  <a:lnTo>
                    <a:pt x="1602" y="546"/>
                  </a:lnTo>
                  <a:lnTo>
                    <a:pt x="1608" y="546"/>
                  </a:lnTo>
                  <a:lnTo>
                    <a:pt x="1608" y="552"/>
                  </a:lnTo>
                  <a:lnTo>
                    <a:pt x="1614" y="552"/>
                  </a:lnTo>
                  <a:lnTo>
                    <a:pt x="1614" y="546"/>
                  </a:lnTo>
                  <a:lnTo>
                    <a:pt x="1620" y="552"/>
                  </a:lnTo>
                  <a:lnTo>
                    <a:pt x="1626" y="552"/>
                  </a:lnTo>
                  <a:lnTo>
                    <a:pt x="1626" y="558"/>
                  </a:lnTo>
                  <a:lnTo>
                    <a:pt x="1632" y="558"/>
                  </a:lnTo>
                  <a:lnTo>
                    <a:pt x="1638" y="558"/>
                  </a:lnTo>
                  <a:lnTo>
                    <a:pt x="1644" y="558"/>
                  </a:lnTo>
                  <a:lnTo>
                    <a:pt x="1650" y="558"/>
                  </a:lnTo>
                  <a:lnTo>
                    <a:pt x="1650" y="564"/>
                  </a:lnTo>
                  <a:lnTo>
                    <a:pt x="1656" y="564"/>
                  </a:lnTo>
                  <a:lnTo>
                    <a:pt x="1662" y="564"/>
                  </a:lnTo>
                  <a:lnTo>
                    <a:pt x="1668" y="564"/>
                  </a:lnTo>
                  <a:lnTo>
                    <a:pt x="1668" y="570"/>
                  </a:lnTo>
                  <a:lnTo>
                    <a:pt x="1674" y="570"/>
                  </a:lnTo>
                  <a:lnTo>
                    <a:pt x="1680" y="570"/>
                  </a:lnTo>
                  <a:lnTo>
                    <a:pt x="1686" y="576"/>
                  </a:lnTo>
                  <a:lnTo>
                    <a:pt x="1686" y="582"/>
                  </a:lnTo>
                  <a:lnTo>
                    <a:pt x="1710" y="588"/>
                  </a:lnTo>
                  <a:lnTo>
                    <a:pt x="1710" y="594"/>
                  </a:lnTo>
                  <a:lnTo>
                    <a:pt x="1704" y="600"/>
                  </a:lnTo>
                  <a:lnTo>
                    <a:pt x="1710" y="624"/>
                  </a:lnTo>
                  <a:lnTo>
                    <a:pt x="1698" y="672"/>
                  </a:lnTo>
                  <a:lnTo>
                    <a:pt x="1704" y="678"/>
                  </a:lnTo>
                  <a:lnTo>
                    <a:pt x="1716" y="684"/>
                  </a:lnTo>
                  <a:lnTo>
                    <a:pt x="1716" y="678"/>
                  </a:lnTo>
                  <a:lnTo>
                    <a:pt x="1716" y="684"/>
                  </a:lnTo>
                  <a:lnTo>
                    <a:pt x="1728" y="684"/>
                  </a:lnTo>
                  <a:lnTo>
                    <a:pt x="1728" y="690"/>
                  </a:lnTo>
                  <a:lnTo>
                    <a:pt x="1734" y="696"/>
                  </a:lnTo>
                  <a:lnTo>
                    <a:pt x="1734" y="702"/>
                  </a:lnTo>
                  <a:lnTo>
                    <a:pt x="1740" y="708"/>
                  </a:lnTo>
                  <a:lnTo>
                    <a:pt x="1740" y="714"/>
                  </a:lnTo>
                  <a:lnTo>
                    <a:pt x="1710" y="714"/>
                  </a:lnTo>
                  <a:lnTo>
                    <a:pt x="1710" y="756"/>
                  </a:lnTo>
                  <a:lnTo>
                    <a:pt x="1704" y="762"/>
                  </a:lnTo>
                  <a:lnTo>
                    <a:pt x="1698" y="762"/>
                  </a:lnTo>
                  <a:lnTo>
                    <a:pt x="1698" y="768"/>
                  </a:lnTo>
                  <a:lnTo>
                    <a:pt x="1698" y="774"/>
                  </a:lnTo>
                  <a:lnTo>
                    <a:pt x="1692" y="780"/>
                  </a:lnTo>
                  <a:lnTo>
                    <a:pt x="1692" y="786"/>
                  </a:lnTo>
                  <a:lnTo>
                    <a:pt x="1686" y="786"/>
                  </a:lnTo>
                  <a:lnTo>
                    <a:pt x="1668" y="798"/>
                  </a:lnTo>
                  <a:lnTo>
                    <a:pt x="1662" y="810"/>
                  </a:lnTo>
                  <a:lnTo>
                    <a:pt x="1650" y="810"/>
                  </a:lnTo>
                  <a:lnTo>
                    <a:pt x="1644" y="816"/>
                  </a:lnTo>
                  <a:lnTo>
                    <a:pt x="1638" y="816"/>
                  </a:lnTo>
                  <a:lnTo>
                    <a:pt x="1626" y="852"/>
                  </a:lnTo>
                  <a:lnTo>
                    <a:pt x="1620" y="888"/>
                  </a:lnTo>
                  <a:lnTo>
                    <a:pt x="1626" y="888"/>
                  </a:lnTo>
                  <a:lnTo>
                    <a:pt x="1638" y="912"/>
                  </a:lnTo>
                  <a:lnTo>
                    <a:pt x="1644" y="918"/>
                  </a:lnTo>
                  <a:lnTo>
                    <a:pt x="1650" y="966"/>
                  </a:lnTo>
                  <a:lnTo>
                    <a:pt x="1626" y="972"/>
                  </a:lnTo>
                  <a:lnTo>
                    <a:pt x="1608" y="978"/>
                  </a:lnTo>
                  <a:lnTo>
                    <a:pt x="1614" y="984"/>
                  </a:lnTo>
                  <a:lnTo>
                    <a:pt x="1620" y="984"/>
                  </a:lnTo>
                  <a:lnTo>
                    <a:pt x="1620" y="1020"/>
                  </a:lnTo>
                  <a:lnTo>
                    <a:pt x="1614" y="1038"/>
                  </a:lnTo>
                  <a:lnTo>
                    <a:pt x="1620" y="1044"/>
                  </a:lnTo>
                  <a:lnTo>
                    <a:pt x="1626" y="1056"/>
                  </a:lnTo>
                  <a:lnTo>
                    <a:pt x="1626" y="1074"/>
                  </a:lnTo>
                  <a:lnTo>
                    <a:pt x="1620" y="1080"/>
                  </a:lnTo>
                  <a:lnTo>
                    <a:pt x="1620" y="1104"/>
                  </a:lnTo>
                  <a:lnTo>
                    <a:pt x="1620" y="1110"/>
                  </a:lnTo>
                  <a:lnTo>
                    <a:pt x="1614" y="1116"/>
                  </a:lnTo>
                  <a:lnTo>
                    <a:pt x="1608" y="1140"/>
                  </a:lnTo>
                  <a:lnTo>
                    <a:pt x="1602" y="1146"/>
                  </a:lnTo>
                  <a:lnTo>
                    <a:pt x="1602" y="1164"/>
                  </a:lnTo>
                  <a:lnTo>
                    <a:pt x="1596" y="1170"/>
                  </a:lnTo>
                  <a:lnTo>
                    <a:pt x="1590" y="1164"/>
                  </a:lnTo>
                  <a:lnTo>
                    <a:pt x="1584" y="1164"/>
                  </a:lnTo>
                  <a:lnTo>
                    <a:pt x="1578" y="1164"/>
                  </a:lnTo>
                  <a:lnTo>
                    <a:pt x="1578" y="1188"/>
                  </a:lnTo>
                  <a:lnTo>
                    <a:pt x="1584" y="1194"/>
                  </a:lnTo>
                  <a:lnTo>
                    <a:pt x="1590" y="1194"/>
                  </a:lnTo>
                  <a:lnTo>
                    <a:pt x="1590" y="1212"/>
                  </a:lnTo>
                  <a:lnTo>
                    <a:pt x="1584" y="1212"/>
                  </a:lnTo>
                  <a:lnTo>
                    <a:pt x="1584" y="1224"/>
                  </a:lnTo>
                  <a:lnTo>
                    <a:pt x="1578" y="1224"/>
                  </a:lnTo>
                  <a:lnTo>
                    <a:pt x="1578" y="1236"/>
                  </a:lnTo>
                  <a:lnTo>
                    <a:pt x="1584" y="1254"/>
                  </a:lnTo>
                  <a:lnTo>
                    <a:pt x="1584" y="1260"/>
                  </a:lnTo>
                  <a:lnTo>
                    <a:pt x="1590" y="1260"/>
                  </a:lnTo>
                  <a:lnTo>
                    <a:pt x="1590" y="1266"/>
                  </a:lnTo>
                  <a:lnTo>
                    <a:pt x="1596" y="1284"/>
                  </a:lnTo>
                  <a:lnTo>
                    <a:pt x="1602" y="1278"/>
                  </a:lnTo>
                  <a:lnTo>
                    <a:pt x="1608" y="1284"/>
                  </a:lnTo>
                  <a:lnTo>
                    <a:pt x="1632" y="1350"/>
                  </a:lnTo>
                  <a:lnTo>
                    <a:pt x="1638" y="1356"/>
                  </a:lnTo>
                  <a:lnTo>
                    <a:pt x="1644" y="1356"/>
                  </a:lnTo>
                  <a:lnTo>
                    <a:pt x="1650" y="1356"/>
                  </a:lnTo>
                  <a:lnTo>
                    <a:pt x="1656" y="1356"/>
                  </a:lnTo>
                  <a:lnTo>
                    <a:pt x="1662" y="1362"/>
                  </a:lnTo>
                  <a:lnTo>
                    <a:pt x="1668" y="1356"/>
                  </a:lnTo>
                  <a:lnTo>
                    <a:pt x="1668" y="1380"/>
                  </a:lnTo>
                  <a:lnTo>
                    <a:pt x="1662" y="1392"/>
                  </a:lnTo>
                  <a:lnTo>
                    <a:pt x="1656" y="1404"/>
                  </a:lnTo>
                  <a:lnTo>
                    <a:pt x="1656" y="1410"/>
                  </a:lnTo>
                  <a:lnTo>
                    <a:pt x="1656" y="1416"/>
                  </a:lnTo>
                  <a:lnTo>
                    <a:pt x="1650" y="1422"/>
                  </a:lnTo>
                  <a:lnTo>
                    <a:pt x="1650" y="1428"/>
                  </a:lnTo>
                  <a:lnTo>
                    <a:pt x="1644" y="1428"/>
                  </a:lnTo>
                  <a:lnTo>
                    <a:pt x="1644" y="1434"/>
                  </a:lnTo>
                  <a:lnTo>
                    <a:pt x="1638" y="1434"/>
                  </a:lnTo>
                  <a:lnTo>
                    <a:pt x="1638" y="1440"/>
                  </a:lnTo>
                  <a:lnTo>
                    <a:pt x="1632" y="1440"/>
                  </a:lnTo>
                  <a:lnTo>
                    <a:pt x="1638" y="145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8" name="Freeform 13">
              <a:extLst>
                <a:ext uri="{FF2B5EF4-FFF2-40B4-BE49-F238E27FC236}">
                  <a16:creationId xmlns:a16="http://schemas.microsoft.com/office/drawing/2014/main" id="{66308D9B-1739-4227-AAC3-BB866CD1F5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63374" y="2969626"/>
              <a:ext cx="330956" cy="357840"/>
            </a:xfrm>
            <a:custGeom>
              <a:avLst/>
              <a:gdLst>
                <a:gd name="T0" fmla="*/ 11 w 624"/>
                <a:gd name="T1" fmla="*/ 59 h 672"/>
                <a:gd name="T2" fmla="*/ 4 w 624"/>
                <a:gd name="T3" fmla="*/ 58 h 672"/>
                <a:gd name="T4" fmla="*/ 3 w 624"/>
                <a:gd name="T5" fmla="*/ 58 h 672"/>
                <a:gd name="T6" fmla="*/ 2 w 624"/>
                <a:gd name="T7" fmla="*/ 11 h 672"/>
                <a:gd name="T8" fmla="*/ 13 w 624"/>
                <a:gd name="T9" fmla="*/ 11 h 672"/>
                <a:gd name="T10" fmla="*/ 14 w 624"/>
                <a:gd name="T11" fmla="*/ 11 h 672"/>
                <a:gd name="T12" fmla="*/ 15 w 624"/>
                <a:gd name="T13" fmla="*/ 12 h 672"/>
                <a:gd name="T14" fmla="*/ 18 w 624"/>
                <a:gd name="T15" fmla="*/ 14 h 672"/>
                <a:gd name="T16" fmla="*/ 21 w 624"/>
                <a:gd name="T17" fmla="*/ 16 h 672"/>
                <a:gd name="T18" fmla="*/ 22 w 624"/>
                <a:gd name="T19" fmla="*/ 18 h 672"/>
                <a:gd name="T20" fmla="*/ 23 w 624"/>
                <a:gd name="T21" fmla="*/ 19 h 672"/>
                <a:gd name="T22" fmla="*/ 24 w 624"/>
                <a:gd name="T23" fmla="*/ 19 h 672"/>
                <a:gd name="T24" fmla="*/ 26 w 624"/>
                <a:gd name="T25" fmla="*/ 19 h 672"/>
                <a:gd name="T26" fmla="*/ 27 w 624"/>
                <a:gd name="T27" fmla="*/ 18 h 672"/>
                <a:gd name="T28" fmla="*/ 29 w 624"/>
                <a:gd name="T29" fmla="*/ 15 h 672"/>
                <a:gd name="T30" fmla="*/ 30 w 624"/>
                <a:gd name="T31" fmla="*/ 14 h 672"/>
                <a:gd name="T32" fmla="*/ 31 w 624"/>
                <a:gd name="T33" fmla="*/ 12 h 672"/>
                <a:gd name="T34" fmla="*/ 32 w 624"/>
                <a:gd name="T35" fmla="*/ 12 h 672"/>
                <a:gd name="T36" fmla="*/ 33 w 624"/>
                <a:gd name="T37" fmla="*/ 10 h 672"/>
                <a:gd name="T38" fmla="*/ 34 w 624"/>
                <a:gd name="T39" fmla="*/ 8 h 672"/>
                <a:gd name="T40" fmla="*/ 34 w 624"/>
                <a:gd name="T41" fmla="*/ 6 h 672"/>
                <a:gd name="T42" fmla="*/ 35 w 624"/>
                <a:gd name="T43" fmla="*/ 4 h 672"/>
                <a:gd name="T44" fmla="*/ 42 w 624"/>
                <a:gd name="T45" fmla="*/ 3 h 672"/>
                <a:gd name="T46" fmla="*/ 44 w 624"/>
                <a:gd name="T47" fmla="*/ 2 h 672"/>
                <a:gd name="T48" fmla="*/ 46 w 624"/>
                <a:gd name="T49" fmla="*/ 0 h 672"/>
                <a:gd name="T50" fmla="*/ 51 w 624"/>
                <a:gd name="T51" fmla="*/ 3 h 672"/>
                <a:gd name="T52" fmla="*/ 54 w 624"/>
                <a:gd name="T53" fmla="*/ 6 h 672"/>
                <a:gd name="T54" fmla="*/ 54 w 624"/>
                <a:gd name="T55" fmla="*/ 8 h 672"/>
                <a:gd name="T56" fmla="*/ 52 w 624"/>
                <a:gd name="T57" fmla="*/ 9 h 672"/>
                <a:gd name="T58" fmla="*/ 49 w 624"/>
                <a:gd name="T59" fmla="*/ 11 h 672"/>
                <a:gd name="T60" fmla="*/ 48 w 624"/>
                <a:gd name="T61" fmla="*/ 14 h 672"/>
                <a:gd name="T62" fmla="*/ 46 w 624"/>
                <a:gd name="T63" fmla="*/ 22 h 672"/>
                <a:gd name="T64" fmla="*/ 45 w 624"/>
                <a:gd name="T65" fmla="*/ 39 h 672"/>
                <a:gd name="T66" fmla="*/ 43 w 624"/>
                <a:gd name="T67" fmla="*/ 43 h 672"/>
                <a:gd name="T68" fmla="*/ 39 w 624"/>
                <a:gd name="T69" fmla="*/ 50 h 672"/>
                <a:gd name="T70" fmla="*/ 36 w 624"/>
                <a:gd name="T71" fmla="*/ 53 h 672"/>
                <a:gd name="T72" fmla="*/ 32 w 624"/>
                <a:gd name="T73" fmla="*/ 56 h 672"/>
                <a:gd name="T74" fmla="*/ 30 w 624"/>
                <a:gd name="T75" fmla="*/ 58 h 672"/>
                <a:gd name="T76" fmla="*/ 20 w 624"/>
                <a:gd name="T77" fmla="*/ 59 h 672"/>
                <a:gd name="T78" fmla="*/ 15 w 624"/>
                <a:gd name="T79" fmla="*/ 59 h 67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24"/>
                <a:gd name="T121" fmla="*/ 0 h 672"/>
                <a:gd name="T122" fmla="*/ 624 w 624"/>
                <a:gd name="T123" fmla="*/ 672 h 67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24" h="672">
                  <a:moveTo>
                    <a:pt x="168" y="672"/>
                  </a:moveTo>
                  <a:lnTo>
                    <a:pt x="132" y="672"/>
                  </a:lnTo>
                  <a:lnTo>
                    <a:pt x="72" y="666"/>
                  </a:lnTo>
                  <a:lnTo>
                    <a:pt x="42" y="666"/>
                  </a:lnTo>
                  <a:lnTo>
                    <a:pt x="36" y="666"/>
                  </a:lnTo>
                  <a:lnTo>
                    <a:pt x="30" y="660"/>
                  </a:lnTo>
                  <a:lnTo>
                    <a:pt x="0" y="660"/>
                  </a:lnTo>
                  <a:lnTo>
                    <a:pt x="24" y="120"/>
                  </a:lnTo>
                  <a:lnTo>
                    <a:pt x="60" y="120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62" y="120"/>
                  </a:lnTo>
                  <a:lnTo>
                    <a:pt x="168" y="120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10" y="156"/>
                  </a:lnTo>
                  <a:lnTo>
                    <a:pt x="222" y="174"/>
                  </a:lnTo>
                  <a:lnTo>
                    <a:pt x="240" y="186"/>
                  </a:lnTo>
                  <a:lnTo>
                    <a:pt x="252" y="198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216"/>
                  </a:lnTo>
                  <a:lnTo>
                    <a:pt x="270" y="216"/>
                  </a:lnTo>
                  <a:lnTo>
                    <a:pt x="282" y="222"/>
                  </a:lnTo>
                  <a:lnTo>
                    <a:pt x="288" y="222"/>
                  </a:lnTo>
                  <a:lnTo>
                    <a:pt x="294" y="216"/>
                  </a:lnTo>
                  <a:lnTo>
                    <a:pt x="294" y="210"/>
                  </a:lnTo>
                  <a:lnTo>
                    <a:pt x="312" y="204"/>
                  </a:lnTo>
                  <a:lnTo>
                    <a:pt x="330" y="186"/>
                  </a:lnTo>
                  <a:lnTo>
                    <a:pt x="336" y="174"/>
                  </a:lnTo>
                  <a:lnTo>
                    <a:pt x="342" y="162"/>
                  </a:lnTo>
                  <a:lnTo>
                    <a:pt x="342" y="156"/>
                  </a:lnTo>
                  <a:lnTo>
                    <a:pt x="348" y="150"/>
                  </a:lnTo>
                  <a:lnTo>
                    <a:pt x="354" y="144"/>
                  </a:lnTo>
                  <a:lnTo>
                    <a:pt x="360" y="138"/>
                  </a:lnTo>
                  <a:lnTo>
                    <a:pt x="366" y="132"/>
                  </a:lnTo>
                  <a:lnTo>
                    <a:pt x="372" y="114"/>
                  </a:lnTo>
                  <a:lnTo>
                    <a:pt x="378" y="114"/>
                  </a:lnTo>
                  <a:lnTo>
                    <a:pt x="378" y="96"/>
                  </a:lnTo>
                  <a:lnTo>
                    <a:pt x="390" y="96"/>
                  </a:lnTo>
                  <a:lnTo>
                    <a:pt x="396" y="84"/>
                  </a:lnTo>
                  <a:lnTo>
                    <a:pt x="396" y="72"/>
                  </a:lnTo>
                  <a:lnTo>
                    <a:pt x="396" y="54"/>
                  </a:lnTo>
                  <a:lnTo>
                    <a:pt x="408" y="42"/>
                  </a:lnTo>
                  <a:lnTo>
                    <a:pt x="468" y="42"/>
                  </a:lnTo>
                  <a:lnTo>
                    <a:pt x="486" y="36"/>
                  </a:lnTo>
                  <a:lnTo>
                    <a:pt x="492" y="24"/>
                  </a:lnTo>
                  <a:lnTo>
                    <a:pt x="504" y="24"/>
                  </a:lnTo>
                  <a:lnTo>
                    <a:pt x="516" y="6"/>
                  </a:lnTo>
                  <a:lnTo>
                    <a:pt x="528" y="0"/>
                  </a:lnTo>
                  <a:lnTo>
                    <a:pt x="558" y="12"/>
                  </a:lnTo>
                  <a:lnTo>
                    <a:pt x="588" y="36"/>
                  </a:lnTo>
                  <a:lnTo>
                    <a:pt x="600" y="66"/>
                  </a:lnTo>
                  <a:lnTo>
                    <a:pt x="624" y="66"/>
                  </a:lnTo>
                  <a:lnTo>
                    <a:pt x="624" y="90"/>
                  </a:lnTo>
                  <a:lnTo>
                    <a:pt x="618" y="90"/>
                  </a:lnTo>
                  <a:lnTo>
                    <a:pt x="618" y="96"/>
                  </a:lnTo>
                  <a:lnTo>
                    <a:pt x="600" y="102"/>
                  </a:lnTo>
                  <a:lnTo>
                    <a:pt x="588" y="108"/>
                  </a:lnTo>
                  <a:lnTo>
                    <a:pt x="570" y="120"/>
                  </a:lnTo>
                  <a:lnTo>
                    <a:pt x="564" y="138"/>
                  </a:lnTo>
                  <a:lnTo>
                    <a:pt x="558" y="162"/>
                  </a:lnTo>
                  <a:lnTo>
                    <a:pt x="540" y="210"/>
                  </a:lnTo>
                  <a:lnTo>
                    <a:pt x="528" y="252"/>
                  </a:lnTo>
                  <a:lnTo>
                    <a:pt x="528" y="402"/>
                  </a:lnTo>
                  <a:lnTo>
                    <a:pt x="522" y="444"/>
                  </a:lnTo>
                  <a:lnTo>
                    <a:pt x="510" y="468"/>
                  </a:lnTo>
                  <a:lnTo>
                    <a:pt x="498" y="498"/>
                  </a:lnTo>
                  <a:lnTo>
                    <a:pt x="474" y="534"/>
                  </a:lnTo>
                  <a:lnTo>
                    <a:pt x="456" y="570"/>
                  </a:lnTo>
                  <a:lnTo>
                    <a:pt x="444" y="576"/>
                  </a:lnTo>
                  <a:lnTo>
                    <a:pt x="420" y="606"/>
                  </a:lnTo>
                  <a:lnTo>
                    <a:pt x="390" y="624"/>
                  </a:lnTo>
                  <a:lnTo>
                    <a:pt x="372" y="642"/>
                  </a:lnTo>
                  <a:lnTo>
                    <a:pt x="366" y="654"/>
                  </a:lnTo>
                  <a:lnTo>
                    <a:pt x="342" y="660"/>
                  </a:lnTo>
                  <a:lnTo>
                    <a:pt x="300" y="666"/>
                  </a:lnTo>
                  <a:lnTo>
                    <a:pt x="234" y="672"/>
                  </a:lnTo>
                  <a:lnTo>
                    <a:pt x="192" y="672"/>
                  </a:lnTo>
                  <a:lnTo>
                    <a:pt x="168" y="67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9" name="Freeform 14">
              <a:extLst>
                <a:ext uri="{FF2B5EF4-FFF2-40B4-BE49-F238E27FC236}">
                  <a16:creationId xmlns:a16="http://schemas.microsoft.com/office/drawing/2014/main" id="{2EA1E999-9CDF-4391-8BC9-7DE71AF9C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0460" y="2983045"/>
              <a:ext cx="905658" cy="561362"/>
            </a:xfrm>
            <a:custGeom>
              <a:avLst/>
              <a:gdLst>
                <a:gd name="T0" fmla="*/ 31 w 1704"/>
                <a:gd name="T1" fmla="*/ 78 h 1056"/>
                <a:gd name="T2" fmla="*/ 23 w 1704"/>
                <a:gd name="T3" fmla="*/ 78 h 1056"/>
                <a:gd name="T4" fmla="*/ 11 w 1704"/>
                <a:gd name="T5" fmla="*/ 79 h 1056"/>
                <a:gd name="T6" fmla="*/ 1 w 1704"/>
                <a:gd name="T7" fmla="*/ 81 h 1056"/>
                <a:gd name="T8" fmla="*/ 0 w 1704"/>
                <a:gd name="T9" fmla="*/ 62 h 1056"/>
                <a:gd name="T10" fmla="*/ 9 w 1704"/>
                <a:gd name="T11" fmla="*/ 56 h 1056"/>
                <a:gd name="T12" fmla="*/ 27 w 1704"/>
                <a:gd name="T13" fmla="*/ 48 h 1056"/>
                <a:gd name="T14" fmla="*/ 35 w 1704"/>
                <a:gd name="T15" fmla="*/ 20 h 1056"/>
                <a:gd name="T16" fmla="*/ 43 w 1704"/>
                <a:gd name="T17" fmla="*/ 6 h 1056"/>
                <a:gd name="T18" fmla="*/ 47 w 1704"/>
                <a:gd name="T19" fmla="*/ 7 h 1056"/>
                <a:gd name="T20" fmla="*/ 52 w 1704"/>
                <a:gd name="T21" fmla="*/ 0 h 1056"/>
                <a:gd name="T22" fmla="*/ 59 w 1704"/>
                <a:gd name="T23" fmla="*/ 5 h 1056"/>
                <a:gd name="T24" fmla="*/ 63 w 1704"/>
                <a:gd name="T25" fmla="*/ 12 h 1056"/>
                <a:gd name="T26" fmla="*/ 62 w 1704"/>
                <a:gd name="T27" fmla="*/ 15 h 1056"/>
                <a:gd name="T28" fmla="*/ 62 w 1704"/>
                <a:gd name="T29" fmla="*/ 18 h 1056"/>
                <a:gd name="T30" fmla="*/ 70 w 1704"/>
                <a:gd name="T31" fmla="*/ 18 h 1056"/>
                <a:gd name="T32" fmla="*/ 71 w 1704"/>
                <a:gd name="T33" fmla="*/ 14 h 1056"/>
                <a:gd name="T34" fmla="*/ 72 w 1704"/>
                <a:gd name="T35" fmla="*/ 12 h 1056"/>
                <a:gd name="T36" fmla="*/ 78 w 1704"/>
                <a:gd name="T37" fmla="*/ 14 h 1056"/>
                <a:gd name="T38" fmla="*/ 85 w 1704"/>
                <a:gd name="T39" fmla="*/ 21 h 1056"/>
                <a:gd name="T40" fmla="*/ 91 w 1704"/>
                <a:gd name="T41" fmla="*/ 15 h 1056"/>
                <a:gd name="T42" fmla="*/ 93 w 1704"/>
                <a:gd name="T43" fmla="*/ 10 h 1056"/>
                <a:gd name="T44" fmla="*/ 101 w 1704"/>
                <a:gd name="T45" fmla="*/ 14 h 1056"/>
                <a:gd name="T46" fmla="*/ 103 w 1704"/>
                <a:gd name="T47" fmla="*/ 19 h 1056"/>
                <a:gd name="T48" fmla="*/ 115 w 1704"/>
                <a:gd name="T49" fmla="*/ 20 h 1056"/>
                <a:gd name="T50" fmla="*/ 118 w 1704"/>
                <a:gd name="T51" fmla="*/ 23 h 1056"/>
                <a:gd name="T52" fmla="*/ 117 w 1704"/>
                <a:gd name="T53" fmla="*/ 27 h 1056"/>
                <a:gd name="T54" fmla="*/ 111 w 1704"/>
                <a:gd name="T55" fmla="*/ 33 h 1056"/>
                <a:gd name="T56" fmla="*/ 108 w 1704"/>
                <a:gd name="T57" fmla="*/ 36 h 1056"/>
                <a:gd name="T58" fmla="*/ 109 w 1704"/>
                <a:gd name="T59" fmla="*/ 40 h 1056"/>
                <a:gd name="T60" fmla="*/ 111 w 1704"/>
                <a:gd name="T61" fmla="*/ 43 h 1056"/>
                <a:gd name="T62" fmla="*/ 113 w 1704"/>
                <a:gd name="T63" fmla="*/ 50 h 1056"/>
                <a:gd name="T64" fmla="*/ 121 w 1704"/>
                <a:gd name="T65" fmla="*/ 55 h 1056"/>
                <a:gd name="T66" fmla="*/ 132 w 1704"/>
                <a:gd name="T67" fmla="*/ 52 h 1056"/>
                <a:gd name="T68" fmla="*/ 148 w 1704"/>
                <a:gd name="T69" fmla="*/ 58 h 1056"/>
                <a:gd name="T70" fmla="*/ 148 w 1704"/>
                <a:gd name="T71" fmla="*/ 61 h 1056"/>
                <a:gd name="T72" fmla="*/ 148 w 1704"/>
                <a:gd name="T73" fmla="*/ 64 h 1056"/>
                <a:gd name="T74" fmla="*/ 135 w 1704"/>
                <a:gd name="T75" fmla="*/ 61 h 1056"/>
                <a:gd name="T76" fmla="*/ 135 w 1704"/>
                <a:gd name="T77" fmla="*/ 66 h 1056"/>
                <a:gd name="T78" fmla="*/ 137 w 1704"/>
                <a:gd name="T79" fmla="*/ 71 h 1056"/>
                <a:gd name="T80" fmla="*/ 136 w 1704"/>
                <a:gd name="T81" fmla="*/ 79 h 1056"/>
                <a:gd name="T82" fmla="*/ 126 w 1704"/>
                <a:gd name="T83" fmla="*/ 84 h 1056"/>
                <a:gd name="T84" fmla="*/ 121 w 1704"/>
                <a:gd name="T85" fmla="*/ 79 h 1056"/>
                <a:gd name="T86" fmla="*/ 117 w 1704"/>
                <a:gd name="T87" fmla="*/ 75 h 1056"/>
                <a:gd name="T88" fmla="*/ 98 w 1704"/>
                <a:gd name="T89" fmla="*/ 74 h 1056"/>
                <a:gd name="T90" fmla="*/ 81 w 1704"/>
                <a:gd name="T91" fmla="*/ 75 h 1056"/>
                <a:gd name="T92" fmla="*/ 83 w 1704"/>
                <a:gd name="T93" fmla="*/ 88 h 1056"/>
                <a:gd name="T94" fmla="*/ 82 w 1704"/>
                <a:gd name="T95" fmla="*/ 91 h 1056"/>
                <a:gd name="T96" fmla="*/ 77 w 1704"/>
                <a:gd name="T97" fmla="*/ 90 h 1056"/>
                <a:gd name="T98" fmla="*/ 73 w 1704"/>
                <a:gd name="T99" fmla="*/ 86 h 1056"/>
                <a:gd name="T100" fmla="*/ 68 w 1704"/>
                <a:gd name="T101" fmla="*/ 85 h 1056"/>
                <a:gd name="T102" fmla="*/ 64 w 1704"/>
                <a:gd name="T103" fmla="*/ 83 h 1056"/>
                <a:gd name="T104" fmla="*/ 57 w 1704"/>
                <a:gd name="T105" fmla="*/ 81 h 1056"/>
                <a:gd name="T106" fmla="*/ 52 w 1704"/>
                <a:gd name="T107" fmla="*/ 80 h 1056"/>
                <a:gd name="T108" fmla="*/ 50 w 1704"/>
                <a:gd name="T109" fmla="*/ 80 h 1056"/>
                <a:gd name="T110" fmla="*/ 46 w 1704"/>
                <a:gd name="T111" fmla="*/ 79 h 1056"/>
                <a:gd name="T112" fmla="*/ 41 w 1704"/>
                <a:gd name="T113" fmla="*/ 78 h 10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04"/>
                <a:gd name="T172" fmla="*/ 0 h 1056"/>
                <a:gd name="T173" fmla="*/ 1704 w 1704"/>
                <a:gd name="T174" fmla="*/ 1056 h 10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04" h="1056">
                  <a:moveTo>
                    <a:pt x="450" y="888"/>
                  </a:moveTo>
                  <a:lnTo>
                    <a:pt x="420" y="888"/>
                  </a:lnTo>
                  <a:lnTo>
                    <a:pt x="414" y="888"/>
                  </a:lnTo>
                  <a:lnTo>
                    <a:pt x="396" y="888"/>
                  </a:lnTo>
                  <a:lnTo>
                    <a:pt x="372" y="888"/>
                  </a:lnTo>
                  <a:lnTo>
                    <a:pt x="366" y="888"/>
                  </a:lnTo>
                  <a:lnTo>
                    <a:pt x="360" y="888"/>
                  </a:lnTo>
                  <a:lnTo>
                    <a:pt x="348" y="888"/>
                  </a:lnTo>
                  <a:lnTo>
                    <a:pt x="330" y="894"/>
                  </a:lnTo>
                  <a:lnTo>
                    <a:pt x="324" y="894"/>
                  </a:lnTo>
                  <a:lnTo>
                    <a:pt x="312" y="888"/>
                  </a:lnTo>
                  <a:lnTo>
                    <a:pt x="300" y="888"/>
                  </a:lnTo>
                  <a:lnTo>
                    <a:pt x="282" y="888"/>
                  </a:lnTo>
                  <a:lnTo>
                    <a:pt x="270" y="888"/>
                  </a:lnTo>
                  <a:lnTo>
                    <a:pt x="240" y="882"/>
                  </a:lnTo>
                  <a:lnTo>
                    <a:pt x="222" y="882"/>
                  </a:lnTo>
                  <a:lnTo>
                    <a:pt x="198" y="882"/>
                  </a:lnTo>
                  <a:lnTo>
                    <a:pt x="174" y="894"/>
                  </a:lnTo>
                  <a:lnTo>
                    <a:pt x="162" y="900"/>
                  </a:lnTo>
                  <a:lnTo>
                    <a:pt x="144" y="906"/>
                  </a:lnTo>
                  <a:lnTo>
                    <a:pt x="126" y="912"/>
                  </a:lnTo>
                  <a:lnTo>
                    <a:pt x="102" y="924"/>
                  </a:lnTo>
                  <a:lnTo>
                    <a:pt x="78" y="930"/>
                  </a:lnTo>
                  <a:lnTo>
                    <a:pt x="72" y="936"/>
                  </a:lnTo>
                  <a:lnTo>
                    <a:pt x="30" y="954"/>
                  </a:lnTo>
                  <a:lnTo>
                    <a:pt x="12" y="966"/>
                  </a:lnTo>
                  <a:lnTo>
                    <a:pt x="12" y="954"/>
                  </a:lnTo>
                  <a:lnTo>
                    <a:pt x="12" y="930"/>
                  </a:lnTo>
                  <a:lnTo>
                    <a:pt x="12" y="894"/>
                  </a:lnTo>
                  <a:lnTo>
                    <a:pt x="30" y="828"/>
                  </a:lnTo>
                  <a:lnTo>
                    <a:pt x="36" y="798"/>
                  </a:lnTo>
                  <a:lnTo>
                    <a:pt x="18" y="774"/>
                  </a:lnTo>
                  <a:lnTo>
                    <a:pt x="18" y="756"/>
                  </a:lnTo>
                  <a:lnTo>
                    <a:pt x="6" y="738"/>
                  </a:lnTo>
                  <a:lnTo>
                    <a:pt x="0" y="714"/>
                  </a:lnTo>
                  <a:lnTo>
                    <a:pt x="12" y="678"/>
                  </a:lnTo>
                  <a:lnTo>
                    <a:pt x="18" y="678"/>
                  </a:lnTo>
                  <a:lnTo>
                    <a:pt x="24" y="672"/>
                  </a:lnTo>
                  <a:lnTo>
                    <a:pt x="30" y="666"/>
                  </a:lnTo>
                  <a:lnTo>
                    <a:pt x="42" y="648"/>
                  </a:lnTo>
                  <a:lnTo>
                    <a:pt x="66" y="648"/>
                  </a:lnTo>
                  <a:lnTo>
                    <a:pt x="108" y="648"/>
                  </a:lnTo>
                  <a:lnTo>
                    <a:pt x="174" y="642"/>
                  </a:lnTo>
                  <a:lnTo>
                    <a:pt x="216" y="636"/>
                  </a:lnTo>
                  <a:lnTo>
                    <a:pt x="240" y="630"/>
                  </a:lnTo>
                  <a:lnTo>
                    <a:pt x="246" y="618"/>
                  </a:lnTo>
                  <a:lnTo>
                    <a:pt x="264" y="600"/>
                  </a:lnTo>
                  <a:lnTo>
                    <a:pt x="294" y="582"/>
                  </a:lnTo>
                  <a:lnTo>
                    <a:pt x="318" y="552"/>
                  </a:lnTo>
                  <a:lnTo>
                    <a:pt x="330" y="546"/>
                  </a:lnTo>
                  <a:lnTo>
                    <a:pt x="348" y="510"/>
                  </a:lnTo>
                  <a:lnTo>
                    <a:pt x="372" y="474"/>
                  </a:lnTo>
                  <a:lnTo>
                    <a:pt x="384" y="444"/>
                  </a:lnTo>
                  <a:lnTo>
                    <a:pt x="396" y="420"/>
                  </a:lnTo>
                  <a:lnTo>
                    <a:pt x="402" y="378"/>
                  </a:lnTo>
                  <a:lnTo>
                    <a:pt x="402" y="228"/>
                  </a:lnTo>
                  <a:lnTo>
                    <a:pt x="414" y="186"/>
                  </a:lnTo>
                  <a:lnTo>
                    <a:pt x="432" y="138"/>
                  </a:lnTo>
                  <a:lnTo>
                    <a:pt x="438" y="114"/>
                  </a:lnTo>
                  <a:lnTo>
                    <a:pt x="444" y="96"/>
                  </a:lnTo>
                  <a:lnTo>
                    <a:pt x="462" y="84"/>
                  </a:lnTo>
                  <a:lnTo>
                    <a:pt x="474" y="78"/>
                  </a:lnTo>
                  <a:lnTo>
                    <a:pt x="492" y="72"/>
                  </a:lnTo>
                  <a:lnTo>
                    <a:pt x="492" y="66"/>
                  </a:lnTo>
                  <a:lnTo>
                    <a:pt x="498" y="66"/>
                  </a:lnTo>
                  <a:lnTo>
                    <a:pt x="510" y="66"/>
                  </a:lnTo>
                  <a:lnTo>
                    <a:pt x="510" y="72"/>
                  </a:lnTo>
                  <a:lnTo>
                    <a:pt x="516" y="72"/>
                  </a:lnTo>
                  <a:lnTo>
                    <a:pt x="522" y="78"/>
                  </a:lnTo>
                  <a:lnTo>
                    <a:pt x="546" y="78"/>
                  </a:lnTo>
                  <a:lnTo>
                    <a:pt x="552" y="60"/>
                  </a:lnTo>
                  <a:lnTo>
                    <a:pt x="570" y="42"/>
                  </a:lnTo>
                  <a:lnTo>
                    <a:pt x="576" y="24"/>
                  </a:lnTo>
                  <a:lnTo>
                    <a:pt x="588" y="18"/>
                  </a:lnTo>
                  <a:lnTo>
                    <a:pt x="588" y="12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624" y="0"/>
                  </a:lnTo>
                  <a:lnTo>
                    <a:pt x="636" y="6"/>
                  </a:lnTo>
                  <a:lnTo>
                    <a:pt x="648" y="24"/>
                  </a:lnTo>
                  <a:lnTo>
                    <a:pt x="654" y="48"/>
                  </a:lnTo>
                  <a:lnTo>
                    <a:pt x="672" y="60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0" y="72"/>
                  </a:lnTo>
                  <a:lnTo>
                    <a:pt x="690" y="78"/>
                  </a:lnTo>
                  <a:lnTo>
                    <a:pt x="696" y="90"/>
                  </a:lnTo>
                  <a:lnTo>
                    <a:pt x="714" y="114"/>
                  </a:lnTo>
                  <a:lnTo>
                    <a:pt x="714" y="120"/>
                  </a:lnTo>
                  <a:lnTo>
                    <a:pt x="720" y="132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20" y="150"/>
                  </a:lnTo>
                  <a:lnTo>
                    <a:pt x="714" y="150"/>
                  </a:lnTo>
                  <a:lnTo>
                    <a:pt x="714" y="156"/>
                  </a:lnTo>
                  <a:lnTo>
                    <a:pt x="714" y="162"/>
                  </a:lnTo>
                  <a:lnTo>
                    <a:pt x="708" y="162"/>
                  </a:lnTo>
                  <a:lnTo>
                    <a:pt x="708" y="168"/>
                  </a:lnTo>
                  <a:lnTo>
                    <a:pt x="702" y="168"/>
                  </a:lnTo>
                  <a:lnTo>
                    <a:pt x="702" y="174"/>
                  </a:lnTo>
                  <a:lnTo>
                    <a:pt x="702" y="180"/>
                  </a:lnTo>
                  <a:lnTo>
                    <a:pt x="708" y="180"/>
                  </a:lnTo>
                  <a:lnTo>
                    <a:pt x="708" y="186"/>
                  </a:lnTo>
                  <a:lnTo>
                    <a:pt x="708" y="192"/>
                  </a:lnTo>
                  <a:lnTo>
                    <a:pt x="714" y="204"/>
                  </a:lnTo>
                  <a:lnTo>
                    <a:pt x="726" y="216"/>
                  </a:lnTo>
                  <a:lnTo>
                    <a:pt x="738" y="216"/>
                  </a:lnTo>
                  <a:lnTo>
                    <a:pt x="768" y="222"/>
                  </a:lnTo>
                  <a:lnTo>
                    <a:pt x="780" y="216"/>
                  </a:lnTo>
                  <a:lnTo>
                    <a:pt x="792" y="204"/>
                  </a:lnTo>
                  <a:lnTo>
                    <a:pt x="798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6" y="192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6" y="174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22" y="156"/>
                  </a:lnTo>
                  <a:lnTo>
                    <a:pt x="822" y="150"/>
                  </a:lnTo>
                  <a:lnTo>
                    <a:pt x="828" y="144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8" y="138"/>
                  </a:lnTo>
                  <a:lnTo>
                    <a:pt x="834" y="132"/>
                  </a:lnTo>
                  <a:lnTo>
                    <a:pt x="840" y="132"/>
                  </a:lnTo>
                  <a:lnTo>
                    <a:pt x="864" y="126"/>
                  </a:lnTo>
                  <a:lnTo>
                    <a:pt x="906" y="144"/>
                  </a:lnTo>
                  <a:lnTo>
                    <a:pt x="906" y="150"/>
                  </a:lnTo>
                  <a:lnTo>
                    <a:pt x="906" y="156"/>
                  </a:lnTo>
                  <a:lnTo>
                    <a:pt x="900" y="162"/>
                  </a:lnTo>
                  <a:lnTo>
                    <a:pt x="924" y="168"/>
                  </a:lnTo>
                  <a:lnTo>
                    <a:pt x="942" y="192"/>
                  </a:lnTo>
                  <a:lnTo>
                    <a:pt x="972" y="210"/>
                  </a:lnTo>
                  <a:lnTo>
                    <a:pt x="972" y="216"/>
                  </a:lnTo>
                  <a:lnTo>
                    <a:pt x="972" y="228"/>
                  </a:lnTo>
                  <a:lnTo>
                    <a:pt x="978" y="234"/>
                  </a:lnTo>
                  <a:lnTo>
                    <a:pt x="978" y="246"/>
                  </a:lnTo>
                  <a:lnTo>
                    <a:pt x="984" y="252"/>
                  </a:lnTo>
                  <a:lnTo>
                    <a:pt x="1014" y="252"/>
                  </a:lnTo>
                  <a:lnTo>
                    <a:pt x="1020" y="228"/>
                  </a:lnTo>
                  <a:lnTo>
                    <a:pt x="1026" y="198"/>
                  </a:lnTo>
                  <a:lnTo>
                    <a:pt x="1050" y="186"/>
                  </a:lnTo>
                  <a:lnTo>
                    <a:pt x="1056" y="180"/>
                  </a:lnTo>
                  <a:lnTo>
                    <a:pt x="1050" y="174"/>
                  </a:lnTo>
                  <a:lnTo>
                    <a:pt x="1050" y="168"/>
                  </a:lnTo>
                  <a:lnTo>
                    <a:pt x="1050" y="162"/>
                  </a:lnTo>
                  <a:lnTo>
                    <a:pt x="1056" y="162"/>
                  </a:lnTo>
                  <a:lnTo>
                    <a:pt x="1062" y="162"/>
                  </a:lnTo>
                  <a:lnTo>
                    <a:pt x="1074" y="162"/>
                  </a:lnTo>
                  <a:lnTo>
                    <a:pt x="1074" y="144"/>
                  </a:lnTo>
                  <a:lnTo>
                    <a:pt x="1074" y="120"/>
                  </a:lnTo>
                  <a:lnTo>
                    <a:pt x="1092" y="120"/>
                  </a:lnTo>
                  <a:lnTo>
                    <a:pt x="1098" y="126"/>
                  </a:lnTo>
                  <a:lnTo>
                    <a:pt x="1134" y="132"/>
                  </a:lnTo>
                  <a:lnTo>
                    <a:pt x="1146" y="132"/>
                  </a:lnTo>
                  <a:lnTo>
                    <a:pt x="1158" y="150"/>
                  </a:lnTo>
                  <a:lnTo>
                    <a:pt x="1158" y="156"/>
                  </a:lnTo>
                  <a:lnTo>
                    <a:pt x="1158" y="162"/>
                  </a:lnTo>
                  <a:lnTo>
                    <a:pt x="1158" y="180"/>
                  </a:lnTo>
                  <a:lnTo>
                    <a:pt x="1158" y="186"/>
                  </a:lnTo>
                  <a:lnTo>
                    <a:pt x="1164" y="192"/>
                  </a:lnTo>
                  <a:lnTo>
                    <a:pt x="1176" y="198"/>
                  </a:lnTo>
                  <a:lnTo>
                    <a:pt x="1182" y="198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8"/>
                  </a:lnTo>
                  <a:lnTo>
                    <a:pt x="1188" y="234"/>
                  </a:lnTo>
                  <a:lnTo>
                    <a:pt x="1212" y="234"/>
                  </a:lnTo>
                  <a:lnTo>
                    <a:pt x="1242" y="234"/>
                  </a:lnTo>
                  <a:lnTo>
                    <a:pt x="1248" y="234"/>
                  </a:lnTo>
                  <a:lnTo>
                    <a:pt x="1278" y="240"/>
                  </a:lnTo>
                  <a:lnTo>
                    <a:pt x="1320" y="234"/>
                  </a:lnTo>
                  <a:lnTo>
                    <a:pt x="1332" y="228"/>
                  </a:lnTo>
                  <a:lnTo>
                    <a:pt x="1344" y="228"/>
                  </a:lnTo>
                  <a:lnTo>
                    <a:pt x="1350" y="234"/>
                  </a:lnTo>
                  <a:lnTo>
                    <a:pt x="1350" y="240"/>
                  </a:lnTo>
                  <a:lnTo>
                    <a:pt x="1356" y="246"/>
                  </a:lnTo>
                  <a:lnTo>
                    <a:pt x="1350" y="252"/>
                  </a:lnTo>
                  <a:lnTo>
                    <a:pt x="1356" y="264"/>
                  </a:lnTo>
                  <a:lnTo>
                    <a:pt x="1356" y="270"/>
                  </a:lnTo>
                  <a:lnTo>
                    <a:pt x="1356" y="276"/>
                  </a:lnTo>
                  <a:lnTo>
                    <a:pt x="1356" y="282"/>
                  </a:lnTo>
                  <a:lnTo>
                    <a:pt x="1356" y="288"/>
                  </a:lnTo>
                  <a:lnTo>
                    <a:pt x="1350" y="294"/>
                  </a:lnTo>
                  <a:lnTo>
                    <a:pt x="1344" y="300"/>
                  </a:lnTo>
                  <a:lnTo>
                    <a:pt x="1344" y="306"/>
                  </a:lnTo>
                  <a:lnTo>
                    <a:pt x="1338" y="312"/>
                  </a:lnTo>
                  <a:lnTo>
                    <a:pt x="1326" y="342"/>
                  </a:lnTo>
                  <a:lnTo>
                    <a:pt x="1320" y="348"/>
                  </a:lnTo>
                  <a:lnTo>
                    <a:pt x="1314" y="354"/>
                  </a:lnTo>
                  <a:lnTo>
                    <a:pt x="1290" y="354"/>
                  </a:lnTo>
                  <a:lnTo>
                    <a:pt x="1284" y="360"/>
                  </a:lnTo>
                  <a:lnTo>
                    <a:pt x="1278" y="378"/>
                  </a:lnTo>
                  <a:lnTo>
                    <a:pt x="1278" y="384"/>
                  </a:lnTo>
                  <a:lnTo>
                    <a:pt x="1272" y="390"/>
                  </a:lnTo>
                  <a:lnTo>
                    <a:pt x="1266" y="396"/>
                  </a:lnTo>
                  <a:lnTo>
                    <a:pt x="1260" y="396"/>
                  </a:lnTo>
                  <a:lnTo>
                    <a:pt x="1248" y="402"/>
                  </a:lnTo>
                  <a:lnTo>
                    <a:pt x="1242" y="408"/>
                  </a:lnTo>
                  <a:lnTo>
                    <a:pt x="1242" y="414"/>
                  </a:lnTo>
                  <a:lnTo>
                    <a:pt x="1242" y="420"/>
                  </a:lnTo>
                  <a:lnTo>
                    <a:pt x="1236" y="432"/>
                  </a:lnTo>
                  <a:lnTo>
                    <a:pt x="1242" y="432"/>
                  </a:lnTo>
                  <a:lnTo>
                    <a:pt x="1242" y="444"/>
                  </a:lnTo>
                  <a:lnTo>
                    <a:pt x="1242" y="456"/>
                  </a:lnTo>
                  <a:lnTo>
                    <a:pt x="1248" y="456"/>
                  </a:lnTo>
                  <a:lnTo>
                    <a:pt x="1254" y="462"/>
                  </a:lnTo>
                  <a:lnTo>
                    <a:pt x="1248" y="468"/>
                  </a:lnTo>
                  <a:lnTo>
                    <a:pt x="1254" y="468"/>
                  </a:lnTo>
                  <a:lnTo>
                    <a:pt x="1266" y="474"/>
                  </a:lnTo>
                  <a:lnTo>
                    <a:pt x="1266" y="480"/>
                  </a:lnTo>
                  <a:lnTo>
                    <a:pt x="1266" y="486"/>
                  </a:lnTo>
                  <a:lnTo>
                    <a:pt x="1272" y="486"/>
                  </a:lnTo>
                  <a:lnTo>
                    <a:pt x="1272" y="492"/>
                  </a:lnTo>
                  <a:lnTo>
                    <a:pt x="1290" y="510"/>
                  </a:lnTo>
                  <a:lnTo>
                    <a:pt x="1296" y="516"/>
                  </a:lnTo>
                  <a:lnTo>
                    <a:pt x="1302" y="540"/>
                  </a:lnTo>
                  <a:lnTo>
                    <a:pt x="1302" y="546"/>
                  </a:lnTo>
                  <a:lnTo>
                    <a:pt x="1302" y="558"/>
                  </a:lnTo>
                  <a:lnTo>
                    <a:pt x="1302" y="570"/>
                  </a:lnTo>
                  <a:lnTo>
                    <a:pt x="1302" y="576"/>
                  </a:lnTo>
                  <a:lnTo>
                    <a:pt x="1344" y="570"/>
                  </a:lnTo>
                  <a:lnTo>
                    <a:pt x="1350" y="582"/>
                  </a:lnTo>
                  <a:lnTo>
                    <a:pt x="1368" y="594"/>
                  </a:lnTo>
                  <a:lnTo>
                    <a:pt x="1374" y="600"/>
                  </a:lnTo>
                  <a:lnTo>
                    <a:pt x="1380" y="600"/>
                  </a:lnTo>
                  <a:lnTo>
                    <a:pt x="1380" y="618"/>
                  </a:lnTo>
                  <a:lnTo>
                    <a:pt x="1386" y="624"/>
                  </a:lnTo>
                  <a:lnTo>
                    <a:pt x="1404" y="624"/>
                  </a:lnTo>
                  <a:lnTo>
                    <a:pt x="1410" y="612"/>
                  </a:lnTo>
                  <a:lnTo>
                    <a:pt x="1428" y="606"/>
                  </a:lnTo>
                  <a:lnTo>
                    <a:pt x="1488" y="606"/>
                  </a:lnTo>
                  <a:lnTo>
                    <a:pt x="1506" y="606"/>
                  </a:lnTo>
                  <a:lnTo>
                    <a:pt x="1512" y="600"/>
                  </a:lnTo>
                  <a:lnTo>
                    <a:pt x="1524" y="594"/>
                  </a:lnTo>
                  <a:lnTo>
                    <a:pt x="1554" y="594"/>
                  </a:lnTo>
                  <a:lnTo>
                    <a:pt x="1578" y="606"/>
                  </a:lnTo>
                  <a:lnTo>
                    <a:pt x="1596" y="624"/>
                  </a:lnTo>
                  <a:lnTo>
                    <a:pt x="1650" y="642"/>
                  </a:lnTo>
                  <a:lnTo>
                    <a:pt x="1686" y="648"/>
                  </a:lnTo>
                  <a:lnTo>
                    <a:pt x="1698" y="654"/>
                  </a:lnTo>
                  <a:lnTo>
                    <a:pt x="1698" y="660"/>
                  </a:lnTo>
                  <a:lnTo>
                    <a:pt x="1692" y="666"/>
                  </a:lnTo>
                  <a:lnTo>
                    <a:pt x="1692" y="672"/>
                  </a:lnTo>
                  <a:lnTo>
                    <a:pt x="1698" y="678"/>
                  </a:lnTo>
                  <a:lnTo>
                    <a:pt x="1698" y="684"/>
                  </a:lnTo>
                  <a:lnTo>
                    <a:pt x="1692" y="684"/>
                  </a:lnTo>
                  <a:lnTo>
                    <a:pt x="1692" y="690"/>
                  </a:lnTo>
                  <a:lnTo>
                    <a:pt x="1698" y="696"/>
                  </a:lnTo>
                  <a:lnTo>
                    <a:pt x="1698" y="702"/>
                  </a:lnTo>
                  <a:lnTo>
                    <a:pt x="1698" y="708"/>
                  </a:lnTo>
                  <a:lnTo>
                    <a:pt x="1704" y="714"/>
                  </a:lnTo>
                  <a:lnTo>
                    <a:pt x="1704" y="720"/>
                  </a:lnTo>
                  <a:lnTo>
                    <a:pt x="1704" y="726"/>
                  </a:lnTo>
                  <a:lnTo>
                    <a:pt x="1704" y="732"/>
                  </a:lnTo>
                  <a:lnTo>
                    <a:pt x="1704" y="738"/>
                  </a:lnTo>
                  <a:lnTo>
                    <a:pt x="1698" y="726"/>
                  </a:lnTo>
                  <a:lnTo>
                    <a:pt x="1668" y="720"/>
                  </a:lnTo>
                  <a:lnTo>
                    <a:pt x="1626" y="714"/>
                  </a:lnTo>
                  <a:lnTo>
                    <a:pt x="1614" y="708"/>
                  </a:lnTo>
                  <a:lnTo>
                    <a:pt x="1578" y="696"/>
                  </a:lnTo>
                  <a:lnTo>
                    <a:pt x="1566" y="696"/>
                  </a:lnTo>
                  <a:lnTo>
                    <a:pt x="1548" y="702"/>
                  </a:lnTo>
                  <a:lnTo>
                    <a:pt x="1542" y="714"/>
                  </a:lnTo>
                  <a:lnTo>
                    <a:pt x="1536" y="732"/>
                  </a:lnTo>
                  <a:lnTo>
                    <a:pt x="1530" y="750"/>
                  </a:lnTo>
                  <a:lnTo>
                    <a:pt x="1536" y="750"/>
                  </a:lnTo>
                  <a:lnTo>
                    <a:pt x="1542" y="756"/>
                  </a:lnTo>
                  <a:lnTo>
                    <a:pt x="1542" y="762"/>
                  </a:lnTo>
                  <a:lnTo>
                    <a:pt x="1548" y="762"/>
                  </a:lnTo>
                  <a:lnTo>
                    <a:pt x="1554" y="762"/>
                  </a:lnTo>
                  <a:lnTo>
                    <a:pt x="1554" y="768"/>
                  </a:lnTo>
                  <a:lnTo>
                    <a:pt x="1560" y="774"/>
                  </a:lnTo>
                  <a:lnTo>
                    <a:pt x="1566" y="774"/>
                  </a:lnTo>
                  <a:lnTo>
                    <a:pt x="1584" y="792"/>
                  </a:lnTo>
                  <a:lnTo>
                    <a:pt x="1584" y="810"/>
                  </a:lnTo>
                  <a:lnTo>
                    <a:pt x="1572" y="816"/>
                  </a:lnTo>
                  <a:lnTo>
                    <a:pt x="1578" y="834"/>
                  </a:lnTo>
                  <a:lnTo>
                    <a:pt x="1578" y="846"/>
                  </a:lnTo>
                  <a:lnTo>
                    <a:pt x="1584" y="858"/>
                  </a:lnTo>
                  <a:lnTo>
                    <a:pt x="1590" y="864"/>
                  </a:lnTo>
                  <a:lnTo>
                    <a:pt x="1590" y="876"/>
                  </a:lnTo>
                  <a:lnTo>
                    <a:pt x="1578" y="888"/>
                  </a:lnTo>
                  <a:lnTo>
                    <a:pt x="1560" y="906"/>
                  </a:lnTo>
                  <a:lnTo>
                    <a:pt x="1536" y="930"/>
                  </a:lnTo>
                  <a:lnTo>
                    <a:pt x="1530" y="930"/>
                  </a:lnTo>
                  <a:lnTo>
                    <a:pt x="1506" y="942"/>
                  </a:lnTo>
                  <a:lnTo>
                    <a:pt x="1488" y="948"/>
                  </a:lnTo>
                  <a:lnTo>
                    <a:pt x="1476" y="954"/>
                  </a:lnTo>
                  <a:lnTo>
                    <a:pt x="1458" y="960"/>
                  </a:lnTo>
                  <a:lnTo>
                    <a:pt x="1452" y="966"/>
                  </a:lnTo>
                  <a:lnTo>
                    <a:pt x="1446" y="966"/>
                  </a:lnTo>
                  <a:lnTo>
                    <a:pt x="1434" y="972"/>
                  </a:lnTo>
                  <a:lnTo>
                    <a:pt x="1434" y="954"/>
                  </a:lnTo>
                  <a:lnTo>
                    <a:pt x="1422" y="942"/>
                  </a:lnTo>
                  <a:lnTo>
                    <a:pt x="1398" y="924"/>
                  </a:lnTo>
                  <a:lnTo>
                    <a:pt x="1398" y="912"/>
                  </a:lnTo>
                  <a:lnTo>
                    <a:pt x="1398" y="906"/>
                  </a:lnTo>
                  <a:lnTo>
                    <a:pt x="1398" y="900"/>
                  </a:lnTo>
                  <a:lnTo>
                    <a:pt x="1380" y="900"/>
                  </a:lnTo>
                  <a:lnTo>
                    <a:pt x="1380" y="894"/>
                  </a:lnTo>
                  <a:lnTo>
                    <a:pt x="1368" y="888"/>
                  </a:lnTo>
                  <a:lnTo>
                    <a:pt x="1362" y="882"/>
                  </a:lnTo>
                  <a:lnTo>
                    <a:pt x="1356" y="876"/>
                  </a:lnTo>
                  <a:lnTo>
                    <a:pt x="1350" y="864"/>
                  </a:lnTo>
                  <a:lnTo>
                    <a:pt x="1344" y="858"/>
                  </a:lnTo>
                  <a:lnTo>
                    <a:pt x="1314" y="870"/>
                  </a:lnTo>
                  <a:lnTo>
                    <a:pt x="1272" y="876"/>
                  </a:lnTo>
                  <a:lnTo>
                    <a:pt x="1218" y="870"/>
                  </a:lnTo>
                  <a:lnTo>
                    <a:pt x="1200" y="864"/>
                  </a:lnTo>
                  <a:lnTo>
                    <a:pt x="1182" y="864"/>
                  </a:lnTo>
                  <a:lnTo>
                    <a:pt x="1134" y="858"/>
                  </a:lnTo>
                  <a:lnTo>
                    <a:pt x="1110" y="840"/>
                  </a:lnTo>
                  <a:lnTo>
                    <a:pt x="1086" y="828"/>
                  </a:lnTo>
                  <a:lnTo>
                    <a:pt x="1044" y="816"/>
                  </a:lnTo>
                  <a:lnTo>
                    <a:pt x="1014" y="816"/>
                  </a:lnTo>
                  <a:lnTo>
                    <a:pt x="990" y="822"/>
                  </a:lnTo>
                  <a:lnTo>
                    <a:pt x="948" y="858"/>
                  </a:lnTo>
                  <a:lnTo>
                    <a:pt x="930" y="864"/>
                  </a:lnTo>
                  <a:lnTo>
                    <a:pt x="924" y="876"/>
                  </a:lnTo>
                  <a:lnTo>
                    <a:pt x="918" y="906"/>
                  </a:lnTo>
                  <a:lnTo>
                    <a:pt x="924" y="930"/>
                  </a:lnTo>
                  <a:lnTo>
                    <a:pt x="948" y="984"/>
                  </a:lnTo>
                  <a:lnTo>
                    <a:pt x="954" y="1008"/>
                  </a:lnTo>
                  <a:lnTo>
                    <a:pt x="948" y="1014"/>
                  </a:lnTo>
                  <a:lnTo>
                    <a:pt x="954" y="1014"/>
                  </a:lnTo>
                  <a:lnTo>
                    <a:pt x="954" y="1032"/>
                  </a:lnTo>
                  <a:lnTo>
                    <a:pt x="966" y="1044"/>
                  </a:lnTo>
                  <a:lnTo>
                    <a:pt x="960" y="1056"/>
                  </a:lnTo>
                  <a:lnTo>
                    <a:pt x="954" y="1056"/>
                  </a:lnTo>
                  <a:lnTo>
                    <a:pt x="948" y="1056"/>
                  </a:lnTo>
                  <a:lnTo>
                    <a:pt x="942" y="1056"/>
                  </a:lnTo>
                  <a:lnTo>
                    <a:pt x="936" y="1050"/>
                  </a:lnTo>
                  <a:lnTo>
                    <a:pt x="930" y="1044"/>
                  </a:lnTo>
                  <a:lnTo>
                    <a:pt x="924" y="1044"/>
                  </a:lnTo>
                  <a:lnTo>
                    <a:pt x="918" y="1038"/>
                  </a:lnTo>
                  <a:lnTo>
                    <a:pt x="912" y="1038"/>
                  </a:lnTo>
                  <a:lnTo>
                    <a:pt x="906" y="1032"/>
                  </a:lnTo>
                  <a:lnTo>
                    <a:pt x="900" y="1032"/>
                  </a:lnTo>
                  <a:lnTo>
                    <a:pt x="888" y="1026"/>
                  </a:lnTo>
                  <a:lnTo>
                    <a:pt x="882" y="1026"/>
                  </a:lnTo>
                  <a:lnTo>
                    <a:pt x="876" y="1026"/>
                  </a:lnTo>
                  <a:lnTo>
                    <a:pt x="864" y="1014"/>
                  </a:lnTo>
                  <a:lnTo>
                    <a:pt x="846" y="1008"/>
                  </a:lnTo>
                  <a:lnTo>
                    <a:pt x="840" y="996"/>
                  </a:lnTo>
                  <a:lnTo>
                    <a:pt x="840" y="990"/>
                  </a:lnTo>
                  <a:lnTo>
                    <a:pt x="834" y="990"/>
                  </a:lnTo>
                  <a:lnTo>
                    <a:pt x="828" y="990"/>
                  </a:lnTo>
                  <a:lnTo>
                    <a:pt x="816" y="990"/>
                  </a:lnTo>
                  <a:lnTo>
                    <a:pt x="810" y="990"/>
                  </a:lnTo>
                  <a:lnTo>
                    <a:pt x="804" y="984"/>
                  </a:lnTo>
                  <a:lnTo>
                    <a:pt x="792" y="978"/>
                  </a:lnTo>
                  <a:lnTo>
                    <a:pt x="786" y="972"/>
                  </a:lnTo>
                  <a:lnTo>
                    <a:pt x="780" y="972"/>
                  </a:lnTo>
                  <a:lnTo>
                    <a:pt x="768" y="966"/>
                  </a:lnTo>
                  <a:lnTo>
                    <a:pt x="762" y="966"/>
                  </a:lnTo>
                  <a:lnTo>
                    <a:pt x="756" y="966"/>
                  </a:lnTo>
                  <a:lnTo>
                    <a:pt x="750" y="966"/>
                  </a:lnTo>
                  <a:lnTo>
                    <a:pt x="744" y="966"/>
                  </a:lnTo>
                  <a:lnTo>
                    <a:pt x="738" y="960"/>
                  </a:lnTo>
                  <a:lnTo>
                    <a:pt x="732" y="954"/>
                  </a:lnTo>
                  <a:lnTo>
                    <a:pt x="720" y="954"/>
                  </a:lnTo>
                  <a:lnTo>
                    <a:pt x="714" y="948"/>
                  </a:lnTo>
                  <a:lnTo>
                    <a:pt x="708" y="948"/>
                  </a:lnTo>
                  <a:lnTo>
                    <a:pt x="696" y="948"/>
                  </a:lnTo>
                  <a:lnTo>
                    <a:pt x="684" y="942"/>
                  </a:lnTo>
                  <a:lnTo>
                    <a:pt x="678" y="936"/>
                  </a:lnTo>
                  <a:lnTo>
                    <a:pt x="660" y="930"/>
                  </a:lnTo>
                  <a:lnTo>
                    <a:pt x="642" y="924"/>
                  </a:lnTo>
                  <a:lnTo>
                    <a:pt x="636" y="924"/>
                  </a:lnTo>
                  <a:lnTo>
                    <a:pt x="630" y="924"/>
                  </a:lnTo>
                  <a:lnTo>
                    <a:pt x="618" y="924"/>
                  </a:lnTo>
                  <a:lnTo>
                    <a:pt x="618" y="918"/>
                  </a:lnTo>
                  <a:lnTo>
                    <a:pt x="606" y="918"/>
                  </a:lnTo>
                  <a:lnTo>
                    <a:pt x="600" y="918"/>
                  </a:lnTo>
                  <a:lnTo>
                    <a:pt x="594" y="918"/>
                  </a:lnTo>
                  <a:lnTo>
                    <a:pt x="594" y="912"/>
                  </a:lnTo>
                  <a:lnTo>
                    <a:pt x="588" y="912"/>
                  </a:lnTo>
                  <a:lnTo>
                    <a:pt x="582" y="912"/>
                  </a:lnTo>
                  <a:lnTo>
                    <a:pt x="582" y="918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58" y="918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12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00"/>
                  </a:lnTo>
                  <a:lnTo>
                    <a:pt x="516" y="900"/>
                  </a:lnTo>
                  <a:lnTo>
                    <a:pt x="510" y="900"/>
                  </a:lnTo>
                  <a:lnTo>
                    <a:pt x="486" y="894"/>
                  </a:lnTo>
                  <a:lnTo>
                    <a:pt x="474" y="888"/>
                  </a:lnTo>
                  <a:lnTo>
                    <a:pt x="468" y="888"/>
                  </a:lnTo>
                  <a:lnTo>
                    <a:pt x="450" y="88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0" name="Freeform 15">
              <a:extLst>
                <a:ext uri="{FF2B5EF4-FFF2-40B4-BE49-F238E27FC236}">
                  <a16:creationId xmlns:a16="http://schemas.microsoft.com/office/drawing/2014/main" id="{8B991D7A-45C6-40F6-A035-24DFC733305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382" y="2652043"/>
              <a:ext cx="724526" cy="695552"/>
            </a:xfrm>
            <a:custGeom>
              <a:avLst/>
              <a:gdLst>
                <a:gd name="T0" fmla="*/ 44 w 1362"/>
                <a:gd name="T1" fmla="*/ 106 h 1308"/>
                <a:gd name="T2" fmla="*/ 32 w 1362"/>
                <a:gd name="T3" fmla="*/ 109 h 1308"/>
                <a:gd name="T4" fmla="*/ 25 w 1362"/>
                <a:gd name="T5" fmla="*/ 105 h 1308"/>
                <a:gd name="T6" fmla="*/ 22 w 1362"/>
                <a:gd name="T7" fmla="*/ 97 h 1308"/>
                <a:gd name="T8" fmla="*/ 21 w 1362"/>
                <a:gd name="T9" fmla="*/ 95 h 1308"/>
                <a:gd name="T10" fmla="*/ 20 w 1362"/>
                <a:gd name="T11" fmla="*/ 90 h 1308"/>
                <a:gd name="T12" fmla="*/ 23 w 1362"/>
                <a:gd name="T13" fmla="*/ 87 h 1308"/>
                <a:gd name="T14" fmla="*/ 29 w 1362"/>
                <a:gd name="T15" fmla="*/ 81 h 1308"/>
                <a:gd name="T16" fmla="*/ 30 w 1362"/>
                <a:gd name="T17" fmla="*/ 78 h 1308"/>
                <a:gd name="T18" fmla="*/ 27 w 1362"/>
                <a:gd name="T19" fmla="*/ 75 h 1308"/>
                <a:gd name="T20" fmla="*/ 15 w 1362"/>
                <a:gd name="T21" fmla="*/ 73 h 1308"/>
                <a:gd name="T22" fmla="*/ 12 w 1362"/>
                <a:gd name="T23" fmla="*/ 69 h 1308"/>
                <a:gd name="T24" fmla="*/ 5 w 1362"/>
                <a:gd name="T25" fmla="*/ 65 h 1308"/>
                <a:gd name="T26" fmla="*/ 6 w 1362"/>
                <a:gd name="T27" fmla="*/ 62 h 1308"/>
                <a:gd name="T28" fmla="*/ 7 w 1362"/>
                <a:gd name="T29" fmla="*/ 56 h 1308"/>
                <a:gd name="T30" fmla="*/ 2 w 1362"/>
                <a:gd name="T31" fmla="*/ 49 h 1308"/>
                <a:gd name="T32" fmla="*/ 0 w 1362"/>
                <a:gd name="T33" fmla="*/ 44 h 1308"/>
                <a:gd name="T34" fmla="*/ 0 w 1362"/>
                <a:gd name="T35" fmla="*/ 39 h 1308"/>
                <a:gd name="T36" fmla="*/ 3 w 1362"/>
                <a:gd name="T37" fmla="*/ 35 h 1308"/>
                <a:gd name="T38" fmla="*/ 3 w 1362"/>
                <a:gd name="T39" fmla="*/ 28 h 1308"/>
                <a:gd name="T40" fmla="*/ 6 w 1362"/>
                <a:gd name="T41" fmla="*/ 18 h 1308"/>
                <a:gd name="T42" fmla="*/ 6 w 1362"/>
                <a:gd name="T43" fmla="*/ 8 h 1308"/>
                <a:gd name="T44" fmla="*/ 10 w 1362"/>
                <a:gd name="T45" fmla="*/ 5 h 1308"/>
                <a:gd name="T46" fmla="*/ 15 w 1362"/>
                <a:gd name="T47" fmla="*/ 0 h 1308"/>
                <a:gd name="T48" fmla="*/ 21 w 1362"/>
                <a:gd name="T49" fmla="*/ 7 h 1308"/>
                <a:gd name="T50" fmla="*/ 25 w 1362"/>
                <a:gd name="T51" fmla="*/ 15 h 1308"/>
                <a:gd name="T52" fmla="*/ 24 w 1362"/>
                <a:gd name="T53" fmla="*/ 19 h 1308"/>
                <a:gd name="T54" fmla="*/ 32 w 1362"/>
                <a:gd name="T55" fmla="*/ 19 h 1308"/>
                <a:gd name="T56" fmla="*/ 35 w 1362"/>
                <a:gd name="T57" fmla="*/ 20 h 1308"/>
                <a:gd name="T58" fmla="*/ 40 w 1362"/>
                <a:gd name="T59" fmla="*/ 23 h 1308"/>
                <a:gd name="T60" fmla="*/ 40 w 1362"/>
                <a:gd name="T61" fmla="*/ 26 h 1308"/>
                <a:gd name="T62" fmla="*/ 34 w 1362"/>
                <a:gd name="T63" fmla="*/ 35 h 1308"/>
                <a:gd name="T64" fmla="*/ 41 w 1362"/>
                <a:gd name="T65" fmla="*/ 37 h 1308"/>
                <a:gd name="T66" fmla="*/ 43 w 1362"/>
                <a:gd name="T67" fmla="*/ 44 h 1308"/>
                <a:gd name="T68" fmla="*/ 48 w 1362"/>
                <a:gd name="T69" fmla="*/ 47 h 1308"/>
                <a:gd name="T70" fmla="*/ 57 w 1362"/>
                <a:gd name="T71" fmla="*/ 48 h 1308"/>
                <a:gd name="T72" fmla="*/ 70 w 1362"/>
                <a:gd name="T73" fmla="*/ 44 h 1308"/>
                <a:gd name="T74" fmla="*/ 80 w 1362"/>
                <a:gd name="T75" fmla="*/ 34 h 1308"/>
                <a:gd name="T76" fmla="*/ 95 w 1362"/>
                <a:gd name="T77" fmla="*/ 41 h 1308"/>
                <a:gd name="T78" fmla="*/ 109 w 1362"/>
                <a:gd name="T79" fmla="*/ 47 h 1308"/>
                <a:gd name="T80" fmla="*/ 111 w 1362"/>
                <a:gd name="T81" fmla="*/ 50 h 1308"/>
                <a:gd name="T82" fmla="*/ 113 w 1362"/>
                <a:gd name="T83" fmla="*/ 53 h 1308"/>
                <a:gd name="T84" fmla="*/ 113 w 1362"/>
                <a:gd name="T85" fmla="*/ 55 h 1308"/>
                <a:gd name="T86" fmla="*/ 113 w 1362"/>
                <a:gd name="T87" fmla="*/ 59 h 1308"/>
                <a:gd name="T88" fmla="*/ 113 w 1362"/>
                <a:gd name="T89" fmla="*/ 62 h 1308"/>
                <a:gd name="T90" fmla="*/ 115 w 1362"/>
                <a:gd name="T91" fmla="*/ 65 h 1308"/>
                <a:gd name="T92" fmla="*/ 115 w 1362"/>
                <a:gd name="T93" fmla="*/ 67 h 1308"/>
                <a:gd name="T94" fmla="*/ 116 w 1362"/>
                <a:gd name="T95" fmla="*/ 69 h 1308"/>
                <a:gd name="T96" fmla="*/ 116 w 1362"/>
                <a:gd name="T97" fmla="*/ 71 h 1308"/>
                <a:gd name="T98" fmla="*/ 118 w 1362"/>
                <a:gd name="T99" fmla="*/ 75 h 1308"/>
                <a:gd name="T100" fmla="*/ 116 w 1362"/>
                <a:gd name="T101" fmla="*/ 77 h 1308"/>
                <a:gd name="T102" fmla="*/ 116 w 1362"/>
                <a:gd name="T103" fmla="*/ 79 h 1308"/>
                <a:gd name="T104" fmla="*/ 101 w 1362"/>
                <a:gd name="T105" fmla="*/ 87 h 1308"/>
                <a:gd name="T106" fmla="*/ 85 w 1362"/>
                <a:gd name="T107" fmla="*/ 103 h 1308"/>
                <a:gd name="T108" fmla="*/ 67 w 1362"/>
                <a:gd name="T109" fmla="*/ 114 h 130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62"/>
                <a:gd name="T166" fmla="*/ 0 h 1308"/>
                <a:gd name="T167" fmla="*/ 1362 w 1362"/>
                <a:gd name="T168" fmla="*/ 1308 h 130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62" h="1308">
                  <a:moveTo>
                    <a:pt x="684" y="1278"/>
                  </a:moveTo>
                  <a:lnTo>
                    <a:pt x="672" y="1272"/>
                  </a:lnTo>
                  <a:lnTo>
                    <a:pt x="636" y="1266"/>
                  </a:lnTo>
                  <a:lnTo>
                    <a:pt x="582" y="1248"/>
                  </a:lnTo>
                  <a:lnTo>
                    <a:pt x="564" y="1230"/>
                  </a:lnTo>
                  <a:lnTo>
                    <a:pt x="540" y="1218"/>
                  </a:lnTo>
                  <a:lnTo>
                    <a:pt x="510" y="1218"/>
                  </a:lnTo>
                  <a:lnTo>
                    <a:pt x="498" y="1224"/>
                  </a:lnTo>
                  <a:lnTo>
                    <a:pt x="492" y="1230"/>
                  </a:lnTo>
                  <a:lnTo>
                    <a:pt x="474" y="1230"/>
                  </a:lnTo>
                  <a:lnTo>
                    <a:pt x="414" y="1230"/>
                  </a:lnTo>
                  <a:lnTo>
                    <a:pt x="396" y="1236"/>
                  </a:lnTo>
                  <a:lnTo>
                    <a:pt x="390" y="1248"/>
                  </a:lnTo>
                  <a:lnTo>
                    <a:pt x="372" y="1248"/>
                  </a:lnTo>
                  <a:lnTo>
                    <a:pt x="366" y="1242"/>
                  </a:lnTo>
                  <a:lnTo>
                    <a:pt x="366" y="1224"/>
                  </a:lnTo>
                  <a:lnTo>
                    <a:pt x="360" y="1224"/>
                  </a:lnTo>
                  <a:lnTo>
                    <a:pt x="354" y="1218"/>
                  </a:lnTo>
                  <a:lnTo>
                    <a:pt x="336" y="1206"/>
                  </a:lnTo>
                  <a:lnTo>
                    <a:pt x="330" y="1194"/>
                  </a:lnTo>
                  <a:lnTo>
                    <a:pt x="288" y="1200"/>
                  </a:lnTo>
                  <a:lnTo>
                    <a:pt x="288" y="1194"/>
                  </a:lnTo>
                  <a:lnTo>
                    <a:pt x="288" y="1182"/>
                  </a:lnTo>
                  <a:lnTo>
                    <a:pt x="288" y="1170"/>
                  </a:lnTo>
                  <a:lnTo>
                    <a:pt x="288" y="1164"/>
                  </a:lnTo>
                  <a:lnTo>
                    <a:pt x="282" y="1140"/>
                  </a:lnTo>
                  <a:lnTo>
                    <a:pt x="276" y="1134"/>
                  </a:lnTo>
                  <a:lnTo>
                    <a:pt x="258" y="1116"/>
                  </a:lnTo>
                  <a:lnTo>
                    <a:pt x="258" y="1110"/>
                  </a:lnTo>
                  <a:lnTo>
                    <a:pt x="252" y="1110"/>
                  </a:lnTo>
                  <a:lnTo>
                    <a:pt x="252" y="1104"/>
                  </a:lnTo>
                  <a:lnTo>
                    <a:pt x="252" y="1098"/>
                  </a:lnTo>
                  <a:lnTo>
                    <a:pt x="240" y="1092"/>
                  </a:lnTo>
                  <a:lnTo>
                    <a:pt x="234" y="1092"/>
                  </a:lnTo>
                  <a:lnTo>
                    <a:pt x="240" y="1086"/>
                  </a:lnTo>
                  <a:lnTo>
                    <a:pt x="234" y="1080"/>
                  </a:lnTo>
                  <a:lnTo>
                    <a:pt x="228" y="1080"/>
                  </a:lnTo>
                  <a:lnTo>
                    <a:pt x="228" y="1068"/>
                  </a:lnTo>
                  <a:lnTo>
                    <a:pt x="228" y="1056"/>
                  </a:lnTo>
                  <a:lnTo>
                    <a:pt x="222" y="1056"/>
                  </a:lnTo>
                  <a:lnTo>
                    <a:pt x="228" y="1044"/>
                  </a:lnTo>
                  <a:lnTo>
                    <a:pt x="228" y="1038"/>
                  </a:lnTo>
                  <a:lnTo>
                    <a:pt x="228" y="1032"/>
                  </a:lnTo>
                  <a:lnTo>
                    <a:pt x="234" y="1026"/>
                  </a:lnTo>
                  <a:lnTo>
                    <a:pt x="246" y="1020"/>
                  </a:lnTo>
                  <a:lnTo>
                    <a:pt x="252" y="1020"/>
                  </a:lnTo>
                  <a:lnTo>
                    <a:pt x="258" y="1014"/>
                  </a:lnTo>
                  <a:lnTo>
                    <a:pt x="264" y="1008"/>
                  </a:lnTo>
                  <a:lnTo>
                    <a:pt x="264" y="1002"/>
                  </a:lnTo>
                  <a:lnTo>
                    <a:pt x="270" y="984"/>
                  </a:lnTo>
                  <a:lnTo>
                    <a:pt x="276" y="978"/>
                  </a:lnTo>
                  <a:lnTo>
                    <a:pt x="300" y="978"/>
                  </a:lnTo>
                  <a:lnTo>
                    <a:pt x="306" y="972"/>
                  </a:lnTo>
                  <a:lnTo>
                    <a:pt x="312" y="966"/>
                  </a:lnTo>
                  <a:lnTo>
                    <a:pt x="324" y="936"/>
                  </a:lnTo>
                  <a:lnTo>
                    <a:pt x="330" y="930"/>
                  </a:lnTo>
                  <a:lnTo>
                    <a:pt x="330" y="924"/>
                  </a:lnTo>
                  <a:lnTo>
                    <a:pt x="336" y="918"/>
                  </a:lnTo>
                  <a:lnTo>
                    <a:pt x="342" y="912"/>
                  </a:lnTo>
                  <a:lnTo>
                    <a:pt x="342" y="906"/>
                  </a:lnTo>
                  <a:lnTo>
                    <a:pt x="342" y="900"/>
                  </a:lnTo>
                  <a:lnTo>
                    <a:pt x="342" y="894"/>
                  </a:lnTo>
                  <a:lnTo>
                    <a:pt x="342" y="888"/>
                  </a:lnTo>
                  <a:lnTo>
                    <a:pt x="336" y="876"/>
                  </a:lnTo>
                  <a:lnTo>
                    <a:pt x="342" y="870"/>
                  </a:lnTo>
                  <a:lnTo>
                    <a:pt x="336" y="864"/>
                  </a:lnTo>
                  <a:lnTo>
                    <a:pt x="336" y="858"/>
                  </a:lnTo>
                  <a:lnTo>
                    <a:pt x="330" y="852"/>
                  </a:lnTo>
                  <a:lnTo>
                    <a:pt x="318" y="852"/>
                  </a:lnTo>
                  <a:lnTo>
                    <a:pt x="306" y="858"/>
                  </a:lnTo>
                  <a:lnTo>
                    <a:pt x="264" y="864"/>
                  </a:lnTo>
                  <a:lnTo>
                    <a:pt x="234" y="858"/>
                  </a:lnTo>
                  <a:lnTo>
                    <a:pt x="228" y="858"/>
                  </a:lnTo>
                  <a:lnTo>
                    <a:pt x="198" y="858"/>
                  </a:lnTo>
                  <a:lnTo>
                    <a:pt x="174" y="858"/>
                  </a:lnTo>
                  <a:lnTo>
                    <a:pt x="168" y="852"/>
                  </a:lnTo>
                  <a:lnTo>
                    <a:pt x="168" y="840"/>
                  </a:lnTo>
                  <a:lnTo>
                    <a:pt x="168" y="834"/>
                  </a:lnTo>
                  <a:lnTo>
                    <a:pt x="168" y="822"/>
                  </a:lnTo>
                  <a:lnTo>
                    <a:pt x="162" y="822"/>
                  </a:lnTo>
                  <a:lnTo>
                    <a:pt x="150" y="816"/>
                  </a:lnTo>
                  <a:lnTo>
                    <a:pt x="144" y="810"/>
                  </a:lnTo>
                  <a:lnTo>
                    <a:pt x="144" y="804"/>
                  </a:lnTo>
                  <a:lnTo>
                    <a:pt x="144" y="786"/>
                  </a:lnTo>
                  <a:lnTo>
                    <a:pt x="144" y="780"/>
                  </a:lnTo>
                  <a:lnTo>
                    <a:pt x="144" y="774"/>
                  </a:lnTo>
                  <a:lnTo>
                    <a:pt x="132" y="756"/>
                  </a:lnTo>
                  <a:lnTo>
                    <a:pt x="120" y="756"/>
                  </a:lnTo>
                  <a:lnTo>
                    <a:pt x="84" y="750"/>
                  </a:lnTo>
                  <a:lnTo>
                    <a:pt x="78" y="744"/>
                  </a:lnTo>
                  <a:lnTo>
                    <a:pt x="60" y="744"/>
                  </a:lnTo>
                  <a:lnTo>
                    <a:pt x="54" y="726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66" y="720"/>
                  </a:lnTo>
                  <a:lnTo>
                    <a:pt x="66" y="714"/>
                  </a:lnTo>
                  <a:lnTo>
                    <a:pt x="72" y="714"/>
                  </a:lnTo>
                  <a:lnTo>
                    <a:pt x="72" y="708"/>
                  </a:lnTo>
                  <a:lnTo>
                    <a:pt x="78" y="702"/>
                  </a:lnTo>
                  <a:lnTo>
                    <a:pt x="78" y="696"/>
                  </a:lnTo>
                  <a:lnTo>
                    <a:pt x="78" y="690"/>
                  </a:lnTo>
                  <a:lnTo>
                    <a:pt x="84" y="678"/>
                  </a:lnTo>
                  <a:lnTo>
                    <a:pt x="90" y="666"/>
                  </a:lnTo>
                  <a:lnTo>
                    <a:pt x="90" y="642"/>
                  </a:lnTo>
                  <a:lnTo>
                    <a:pt x="84" y="648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66" y="642"/>
                  </a:lnTo>
                  <a:lnTo>
                    <a:pt x="60" y="642"/>
                  </a:lnTo>
                  <a:lnTo>
                    <a:pt x="54" y="636"/>
                  </a:lnTo>
                  <a:lnTo>
                    <a:pt x="30" y="570"/>
                  </a:lnTo>
                  <a:lnTo>
                    <a:pt x="24" y="564"/>
                  </a:lnTo>
                  <a:lnTo>
                    <a:pt x="18" y="570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6"/>
                  </a:lnTo>
                  <a:lnTo>
                    <a:pt x="6" y="540"/>
                  </a:lnTo>
                  <a:lnTo>
                    <a:pt x="0" y="522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2" y="480"/>
                  </a:lnTo>
                  <a:lnTo>
                    <a:pt x="6" y="480"/>
                  </a:lnTo>
                  <a:lnTo>
                    <a:pt x="0" y="474"/>
                  </a:lnTo>
                  <a:lnTo>
                    <a:pt x="0" y="450"/>
                  </a:lnTo>
                  <a:lnTo>
                    <a:pt x="6" y="450"/>
                  </a:lnTo>
                  <a:lnTo>
                    <a:pt x="12" y="450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32"/>
                  </a:lnTo>
                  <a:lnTo>
                    <a:pt x="30" y="426"/>
                  </a:lnTo>
                  <a:lnTo>
                    <a:pt x="36" y="402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2" y="366"/>
                  </a:lnTo>
                  <a:lnTo>
                    <a:pt x="48" y="360"/>
                  </a:lnTo>
                  <a:lnTo>
                    <a:pt x="48" y="342"/>
                  </a:lnTo>
                  <a:lnTo>
                    <a:pt x="42" y="330"/>
                  </a:lnTo>
                  <a:lnTo>
                    <a:pt x="36" y="324"/>
                  </a:lnTo>
                  <a:lnTo>
                    <a:pt x="42" y="306"/>
                  </a:lnTo>
                  <a:lnTo>
                    <a:pt x="42" y="270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48" y="258"/>
                  </a:lnTo>
                  <a:lnTo>
                    <a:pt x="72" y="252"/>
                  </a:lnTo>
                  <a:lnTo>
                    <a:pt x="66" y="204"/>
                  </a:lnTo>
                  <a:lnTo>
                    <a:pt x="60" y="198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8" y="13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84" y="96"/>
                  </a:lnTo>
                  <a:lnTo>
                    <a:pt x="90" y="84"/>
                  </a:lnTo>
                  <a:lnTo>
                    <a:pt x="108" y="72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20" y="60"/>
                  </a:lnTo>
                  <a:lnTo>
                    <a:pt x="120" y="54"/>
                  </a:lnTo>
                  <a:lnTo>
                    <a:pt x="120" y="48"/>
                  </a:lnTo>
                  <a:lnTo>
                    <a:pt x="126" y="48"/>
                  </a:lnTo>
                  <a:lnTo>
                    <a:pt x="132" y="42"/>
                  </a:lnTo>
                  <a:lnTo>
                    <a:pt x="132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240" y="18"/>
                  </a:lnTo>
                  <a:lnTo>
                    <a:pt x="246" y="42"/>
                  </a:lnTo>
                  <a:lnTo>
                    <a:pt x="240" y="72"/>
                  </a:lnTo>
                  <a:lnTo>
                    <a:pt x="246" y="78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8" y="108"/>
                  </a:lnTo>
                  <a:lnTo>
                    <a:pt x="276" y="114"/>
                  </a:lnTo>
                  <a:lnTo>
                    <a:pt x="294" y="150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82" y="186"/>
                  </a:lnTo>
                  <a:lnTo>
                    <a:pt x="282" y="192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76" y="216"/>
                  </a:lnTo>
                  <a:lnTo>
                    <a:pt x="288" y="240"/>
                  </a:lnTo>
                  <a:lnTo>
                    <a:pt x="312" y="228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66" y="228"/>
                  </a:lnTo>
                  <a:lnTo>
                    <a:pt x="372" y="228"/>
                  </a:lnTo>
                  <a:lnTo>
                    <a:pt x="372" y="222"/>
                  </a:lnTo>
                  <a:lnTo>
                    <a:pt x="378" y="222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6" y="222"/>
                  </a:lnTo>
                  <a:lnTo>
                    <a:pt x="402" y="222"/>
                  </a:lnTo>
                  <a:lnTo>
                    <a:pt x="402" y="228"/>
                  </a:lnTo>
                  <a:lnTo>
                    <a:pt x="408" y="228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26" y="216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68" y="258"/>
                  </a:lnTo>
                  <a:lnTo>
                    <a:pt x="462" y="264"/>
                  </a:lnTo>
                  <a:lnTo>
                    <a:pt x="468" y="264"/>
                  </a:lnTo>
                  <a:lnTo>
                    <a:pt x="468" y="270"/>
                  </a:lnTo>
                  <a:lnTo>
                    <a:pt x="474" y="270"/>
                  </a:lnTo>
                  <a:lnTo>
                    <a:pt x="480" y="276"/>
                  </a:lnTo>
                  <a:lnTo>
                    <a:pt x="474" y="282"/>
                  </a:lnTo>
                  <a:lnTo>
                    <a:pt x="474" y="288"/>
                  </a:lnTo>
                  <a:lnTo>
                    <a:pt x="462" y="294"/>
                  </a:lnTo>
                  <a:lnTo>
                    <a:pt x="468" y="324"/>
                  </a:lnTo>
                  <a:lnTo>
                    <a:pt x="462" y="336"/>
                  </a:lnTo>
                  <a:lnTo>
                    <a:pt x="456" y="354"/>
                  </a:lnTo>
                  <a:lnTo>
                    <a:pt x="432" y="390"/>
                  </a:lnTo>
                  <a:lnTo>
                    <a:pt x="420" y="390"/>
                  </a:lnTo>
                  <a:lnTo>
                    <a:pt x="402" y="390"/>
                  </a:lnTo>
                  <a:lnTo>
                    <a:pt x="396" y="396"/>
                  </a:lnTo>
                  <a:lnTo>
                    <a:pt x="390" y="396"/>
                  </a:lnTo>
                  <a:lnTo>
                    <a:pt x="390" y="402"/>
                  </a:lnTo>
                  <a:lnTo>
                    <a:pt x="384" y="402"/>
                  </a:lnTo>
                  <a:lnTo>
                    <a:pt x="408" y="432"/>
                  </a:lnTo>
                  <a:lnTo>
                    <a:pt x="432" y="438"/>
                  </a:lnTo>
                  <a:lnTo>
                    <a:pt x="456" y="432"/>
                  </a:lnTo>
                  <a:lnTo>
                    <a:pt x="468" y="426"/>
                  </a:lnTo>
                  <a:lnTo>
                    <a:pt x="468" y="444"/>
                  </a:lnTo>
                  <a:lnTo>
                    <a:pt x="468" y="450"/>
                  </a:lnTo>
                  <a:lnTo>
                    <a:pt x="468" y="474"/>
                  </a:lnTo>
                  <a:lnTo>
                    <a:pt x="486" y="480"/>
                  </a:lnTo>
                  <a:lnTo>
                    <a:pt x="486" y="486"/>
                  </a:lnTo>
                  <a:lnTo>
                    <a:pt x="492" y="498"/>
                  </a:lnTo>
                  <a:lnTo>
                    <a:pt x="492" y="504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504" y="516"/>
                  </a:lnTo>
                  <a:lnTo>
                    <a:pt x="510" y="516"/>
                  </a:lnTo>
                  <a:lnTo>
                    <a:pt x="522" y="528"/>
                  </a:lnTo>
                  <a:lnTo>
                    <a:pt x="546" y="540"/>
                  </a:lnTo>
                  <a:lnTo>
                    <a:pt x="552" y="546"/>
                  </a:lnTo>
                  <a:lnTo>
                    <a:pt x="570" y="552"/>
                  </a:lnTo>
                  <a:lnTo>
                    <a:pt x="594" y="552"/>
                  </a:lnTo>
                  <a:lnTo>
                    <a:pt x="606" y="546"/>
                  </a:lnTo>
                  <a:lnTo>
                    <a:pt x="612" y="540"/>
                  </a:lnTo>
                  <a:lnTo>
                    <a:pt x="630" y="540"/>
                  </a:lnTo>
                  <a:lnTo>
                    <a:pt x="630" y="552"/>
                  </a:lnTo>
                  <a:lnTo>
                    <a:pt x="654" y="552"/>
                  </a:lnTo>
                  <a:lnTo>
                    <a:pt x="702" y="558"/>
                  </a:lnTo>
                  <a:lnTo>
                    <a:pt x="762" y="546"/>
                  </a:lnTo>
                  <a:lnTo>
                    <a:pt x="780" y="546"/>
                  </a:lnTo>
                  <a:lnTo>
                    <a:pt x="780" y="528"/>
                  </a:lnTo>
                  <a:lnTo>
                    <a:pt x="798" y="522"/>
                  </a:lnTo>
                  <a:lnTo>
                    <a:pt x="810" y="510"/>
                  </a:lnTo>
                  <a:lnTo>
                    <a:pt x="810" y="504"/>
                  </a:lnTo>
                  <a:lnTo>
                    <a:pt x="828" y="492"/>
                  </a:lnTo>
                  <a:lnTo>
                    <a:pt x="888" y="486"/>
                  </a:lnTo>
                  <a:lnTo>
                    <a:pt x="912" y="486"/>
                  </a:lnTo>
                  <a:lnTo>
                    <a:pt x="930" y="474"/>
                  </a:lnTo>
                  <a:lnTo>
                    <a:pt x="918" y="456"/>
                  </a:lnTo>
                  <a:lnTo>
                    <a:pt x="912" y="450"/>
                  </a:lnTo>
                  <a:lnTo>
                    <a:pt x="918" y="390"/>
                  </a:lnTo>
                  <a:lnTo>
                    <a:pt x="954" y="396"/>
                  </a:lnTo>
                  <a:lnTo>
                    <a:pt x="984" y="402"/>
                  </a:lnTo>
                  <a:lnTo>
                    <a:pt x="1014" y="420"/>
                  </a:lnTo>
                  <a:lnTo>
                    <a:pt x="1026" y="432"/>
                  </a:lnTo>
                  <a:lnTo>
                    <a:pt x="1044" y="450"/>
                  </a:lnTo>
                  <a:lnTo>
                    <a:pt x="1062" y="462"/>
                  </a:lnTo>
                  <a:lnTo>
                    <a:pt x="1098" y="468"/>
                  </a:lnTo>
                  <a:lnTo>
                    <a:pt x="1128" y="480"/>
                  </a:lnTo>
                  <a:lnTo>
                    <a:pt x="1152" y="486"/>
                  </a:lnTo>
                  <a:lnTo>
                    <a:pt x="1188" y="498"/>
                  </a:lnTo>
                  <a:lnTo>
                    <a:pt x="1212" y="504"/>
                  </a:lnTo>
                  <a:lnTo>
                    <a:pt x="1224" y="528"/>
                  </a:lnTo>
                  <a:lnTo>
                    <a:pt x="1236" y="540"/>
                  </a:lnTo>
                  <a:lnTo>
                    <a:pt x="1254" y="540"/>
                  </a:lnTo>
                  <a:lnTo>
                    <a:pt x="1254" y="546"/>
                  </a:lnTo>
                  <a:lnTo>
                    <a:pt x="1260" y="552"/>
                  </a:lnTo>
                  <a:lnTo>
                    <a:pt x="1266" y="552"/>
                  </a:lnTo>
                  <a:lnTo>
                    <a:pt x="1266" y="558"/>
                  </a:lnTo>
                  <a:lnTo>
                    <a:pt x="1272" y="564"/>
                  </a:lnTo>
                  <a:lnTo>
                    <a:pt x="1278" y="564"/>
                  </a:lnTo>
                  <a:lnTo>
                    <a:pt x="1278" y="570"/>
                  </a:lnTo>
                  <a:lnTo>
                    <a:pt x="1284" y="576"/>
                  </a:lnTo>
                  <a:lnTo>
                    <a:pt x="1290" y="582"/>
                  </a:lnTo>
                  <a:lnTo>
                    <a:pt x="1296" y="582"/>
                  </a:lnTo>
                  <a:lnTo>
                    <a:pt x="1296" y="588"/>
                  </a:lnTo>
                  <a:lnTo>
                    <a:pt x="1308" y="594"/>
                  </a:lnTo>
                  <a:lnTo>
                    <a:pt x="1308" y="600"/>
                  </a:lnTo>
                  <a:lnTo>
                    <a:pt x="1308" y="606"/>
                  </a:lnTo>
                  <a:lnTo>
                    <a:pt x="1314" y="612"/>
                  </a:lnTo>
                  <a:lnTo>
                    <a:pt x="1308" y="618"/>
                  </a:lnTo>
                  <a:lnTo>
                    <a:pt x="1314" y="618"/>
                  </a:lnTo>
                  <a:lnTo>
                    <a:pt x="1314" y="624"/>
                  </a:lnTo>
                  <a:lnTo>
                    <a:pt x="1308" y="624"/>
                  </a:lnTo>
                  <a:lnTo>
                    <a:pt x="1302" y="630"/>
                  </a:lnTo>
                  <a:lnTo>
                    <a:pt x="1302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296" y="654"/>
                  </a:lnTo>
                  <a:lnTo>
                    <a:pt x="1302" y="660"/>
                  </a:lnTo>
                  <a:lnTo>
                    <a:pt x="1302" y="666"/>
                  </a:lnTo>
                  <a:lnTo>
                    <a:pt x="1308" y="666"/>
                  </a:lnTo>
                  <a:lnTo>
                    <a:pt x="1308" y="672"/>
                  </a:lnTo>
                  <a:lnTo>
                    <a:pt x="1308" y="678"/>
                  </a:lnTo>
                  <a:lnTo>
                    <a:pt x="1308" y="684"/>
                  </a:lnTo>
                  <a:lnTo>
                    <a:pt x="1308" y="690"/>
                  </a:lnTo>
                  <a:lnTo>
                    <a:pt x="1302" y="696"/>
                  </a:lnTo>
                  <a:lnTo>
                    <a:pt x="1302" y="702"/>
                  </a:lnTo>
                  <a:lnTo>
                    <a:pt x="1308" y="702"/>
                  </a:lnTo>
                  <a:lnTo>
                    <a:pt x="1302" y="708"/>
                  </a:lnTo>
                  <a:lnTo>
                    <a:pt x="1308" y="714"/>
                  </a:lnTo>
                  <a:lnTo>
                    <a:pt x="1308" y="720"/>
                  </a:lnTo>
                  <a:lnTo>
                    <a:pt x="1308" y="726"/>
                  </a:lnTo>
                  <a:lnTo>
                    <a:pt x="1308" y="732"/>
                  </a:lnTo>
                  <a:lnTo>
                    <a:pt x="1314" y="732"/>
                  </a:lnTo>
                  <a:lnTo>
                    <a:pt x="1314" y="738"/>
                  </a:lnTo>
                  <a:lnTo>
                    <a:pt x="1320" y="744"/>
                  </a:lnTo>
                  <a:lnTo>
                    <a:pt x="1326" y="750"/>
                  </a:lnTo>
                  <a:lnTo>
                    <a:pt x="1320" y="750"/>
                  </a:lnTo>
                  <a:lnTo>
                    <a:pt x="1320" y="756"/>
                  </a:lnTo>
                  <a:lnTo>
                    <a:pt x="1314" y="756"/>
                  </a:lnTo>
                  <a:lnTo>
                    <a:pt x="1314" y="762"/>
                  </a:lnTo>
                  <a:lnTo>
                    <a:pt x="1314" y="768"/>
                  </a:lnTo>
                  <a:lnTo>
                    <a:pt x="1320" y="768"/>
                  </a:lnTo>
                  <a:lnTo>
                    <a:pt x="1320" y="762"/>
                  </a:lnTo>
                  <a:lnTo>
                    <a:pt x="1320" y="768"/>
                  </a:lnTo>
                  <a:lnTo>
                    <a:pt x="1326" y="774"/>
                  </a:lnTo>
                  <a:lnTo>
                    <a:pt x="1332" y="774"/>
                  </a:lnTo>
                  <a:lnTo>
                    <a:pt x="1332" y="780"/>
                  </a:lnTo>
                  <a:lnTo>
                    <a:pt x="1332" y="786"/>
                  </a:lnTo>
                  <a:lnTo>
                    <a:pt x="1332" y="792"/>
                  </a:lnTo>
                  <a:lnTo>
                    <a:pt x="1338" y="786"/>
                  </a:lnTo>
                  <a:lnTo>
                    <a:pt x="1338" y="792"/>
                  </a:lnTo>
                  <a:lnTo>
                    <a:pt x="1344" y="798"/>
                  </a:lnTo>
                  <a:lnTo>
                    <a:pt x="1344" y="804"/>
                  </a:lnTo>
                  <a:lnTo>
                    <a:pt x="1344" y="810"/>
                  </a:lnTo>
                  <a:lnTo>
                    <a:pt x="1344" y="816"/>
                  </a:lnTo>
                  <a:lnTo>
                    <a:pt x="1344" y="822"/>
                  </a:lnTo>
                  <a:lnTo>
                    <a:pt x="1338" y="828"/>
                  </a:lnTo>
                  <a:lnTo>
                    <a:pt x="1332" y="828"/>
                  </a:lnTo>
                  <a:lnTo>
                    <a:pt x="1338" y="840"/>
                  </a:lnTo>
                  <a:lnTo>
                    <a:pt x="1344" y="846"/>
                  </a:lnTo>
                  <a:lnTo>
                    <a:pt x="1344" y="852"/>
                  </a:lnTo>
                  <a:lnTo>
                    <a:pt x="1350" y="852"/>
                  </a:lnTo>
                  <a:lnTo>
                    <a:pt x="1356" y="858"/>
                  </a:lnTo>
                  <a:lnTo>
                    <a:pt x="1362" y="858"/>
                  </a:lnTo>
                  <a:lnTo>
                    <a:pt x="1362" y="870"/>
                  </a:lnTo>
                  <a:lnTo>
                    <a:pt x="1356" y="870"/>
                  </a:lnTo>
                  <a:lnTo>
                    <a:pt x="1356" y="876"/>
                  </a:lnTo>
                  <a:lnTo>
                    <a:pt x="1350" y="876"/>
                  </a:lnTo>
                  <a:lnTo>
                    <a:pt x="1344" y="876"/>
                  </a:lnTo>
                  <a:lnTo>
                    <a:pt x="1344" y="882"/>
                  </a:lnTo>
                  <a:lnTo>
                    <a:pt x="1338" y="882"/>
                  </a:lnTo>
                  <a:lnTo>
                    <a:pt x="1338" y="888"/>
                  </a:lnTo>
                  <a:lnTo>
                    <a:pt x="1338" y="894"/>
                  </a:lnTo>
                  <a:lnTo>
                    <a:pt x="1344" y="900"/>
                  </a:lnTo>
                  <a:lnTo>
                    <a:pt x="1344" y="906"/>
                  </a:lnTo>
                  <a:lnTo>
                    <a:pt x="1338" y="906"/>
                  </a:lnTo>
                  <a:lnTo>
                    <a:pt x="1332" y="912"/>
                  </a:lnTo>
                  <a:lnTo>
                    <a:pt x="1332" y="918"/>
                  </a:lnTo>
                  <a:lnTo>
                    <a:pt x="1326" y="918"/>
                  </a:lnTo>
                  <a:lnTo>
                    <a:pt x="1332" y="924"/>
                  </a:lnTo>
                  <a:lnTo>
                    <a:pt x="1284" y="942"/>
                  </a:lnTo>
                  <a:lnTo>
                    <a:pt x="1236" y="948"/>
                  </a:lnTo>
                  <a:lnTo>
                    <a:pt x="1194" y="966"/>
                  </a:lnTo>
                  <a:lnTo>
                    <a:pt x="1170" y="1002"/>
                  </a:lnTo>
                  <a:lnTo>
                    <a:pt x="1134" y="1020"/>
                  </a:lnTo>
                  <a:lnTo>
                    <a:pt x="1116" y="1032"/>
                  </a:lnTo>
                  <a:lnTo>
                    <a:pt x="1098" y="1050"/>
                  </a:lnTo>
                  <a:lnTo>
                    <a:pt x="1074" y="1074"/>
                  </a:lnTo>
                  <a:lnTo>
                    <a:pt x="1008" y="1134"/>
                  </a:lnTo>
                  <a:lnTo>
                    <a:pt x="990" y="1158"/>
                  </a:lnTo>
                  <a:lnTo>
                    <a:pt x="978" y="1182"/>
                  </a:lnTo>
                  <a:lnTo>
                    <a:pt x="960" y="1194"/>
                  </a:lnTo>
                  <a:lnTo>
                    <a:pt x="942" y="1212"/>
                  </a:lnTo>
                  <a:lnTo>
                    <a:pt x="912" y="1242"/>
                  </a:lnTo>
                  <a:lnTo>
                    <a:pt x="888" y="1254"/>
                  </a:lnTo>
                  <a:lnTo>
                    <a:pt x="864" y="1278"/>
                  </a:lnTo>
                  <a:lnTo>
                    <a:pt x="828" y="1296"/>
                  </a:lnTo>
                  <a:lnTo>
                    <a:pt x="774" y="1308"/>
                  </a:lnTo>
                  <a:lnTo>
                    <a:pt x="732" y="1302"/>
                  </a:lnTo>
                  <a:lnTo>
                    <a:pt x="702" y="1284"/>
                  </a:lnTo>
                  <a:lnTo>
                    <a:pt x="684" y="12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1" name="Freeform 16">
              <a:extLst>
                <a:ext uri="{FF2B5EF4-FFF2-40B4-BE49-F238E27FC236}">
                  <a16:creationId xmlns:a16="http://schemas.microsoft.com/office/drawing/2014/main" id="{D8D8591A-D9DB-4301-BEBD-D8F5A26DA9E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3001" y="2929369"/>
              <a:ext cx="914601" cy="1037736"/>
            </a:xfrm>
            <a:custGeom>
              <a:avLst/>
              <a:gdLst>
                <a:gd name="T0" fmla="*/ 144 w 1722"/>
                <a:gd name="T1" fmla="*/ 131 h 1956"/>
                <a:gd name="T2" fmla="*/ 142 w 1722"/>
                <a:gd name="T3" fmla="*/ 139 h 1956"/>
                <a:gd name="T4" fmla="*/ 137 w 1722"/>
                <a:gd name="T5" fmla="*/ 143 h 1956"/>
                <a:gd name="T6" fmla="*/ 133 w 1722"/>
                <a:gd name="T7" fmla="*/ 147 h 1956"/>
                <a:gd name="T8" fmla="*/ 132 w 1722"/>
                <a:gd name="T9" fmla="*/ 152 h 1956"/>
                <a:gd name="T10" fmla="*/ 130 w 1722"/>
                <a:gd name="T11" fmla="*/ 159 h 1956"/>
                <a:gd name="T12" fmla="*/ 127 w 1722"/>
                <a:gd name="T13" fmla="*/ 164 h 1956"/>
                <a:gd name="T14" fmla="*/ 123 w 1722"/>
                <a:gd name="T15" fmla="*/ 168 h 1956"/>
                <a:gd name="T16" fmla="*/ 117 w 1722"/>
                <a:gd name="T17" fmla="*/ 169 h 1956"/>
                <a:gd name="T18" fmla="*/ 110 w 1722"/>
                <a:gd name="T19" fmla="*/ 168 h 1956"/>
                <a:gd name="T20" fmla="*/ 104 w 1722"/>
                <a:gd name="T21" fmla="*/ 166 h 1956"/>
                <a:gd name="T22" fmla="*/ 101 w 1722"/>
                <a:gd name="T23" fmla="*/ 159 h 1956"/>
                <a:gd name="T24" fmla="*/ 95 w 1722"/>
                <a:gd name="T25" fmla="*/ 156 h 1956"/>
                <a:gd name="T26" fmla="*/ 89 w 1722"/>
                <a:gd name="T27" fmla="*/ 151 h 1956"/>
                <a:gd name="T28" fmla="*/ 87 w 1722"/>
                <a:gd name="T29" fmla="*/ 144 h 1956"/>
                <a:gd name="T30" fmla="*/ 82 w 1722"/>
                <a:gd name="T31" fmla="*/ 141 h 1956"/>
                <a:gd name="T32" fmla="*/ 76 w 1722"/>
                <a:gd name="T33" fmla="*/ 134 h 1956"/>
                <a:gd name="T34" fmla="*/ 74 w 1722"/>
                <a:gd name="T35" fmla="*/ 143 h 1956"/>
                <a:gd name="T36" fmla="*/ 68 w 1722"/>
                <a:gd name="T37" fmla="*/ 147 h 1956"/>
                <a:gd name="T38" fmla="*/ 54 w 1722"/>
                <a:gd name="T39" fmla="*/ 144 h 1956"/>
                <a:gd name="T40" fmla="*/ 51 w 1722"/>
                <a:gd name="T41" fmla="*/ 142 h 1956"/>
                <a:gd name="T42" fmla="*/ 42 w 1722"/>
                <a:gd name="T43" fmla="*/ 151 h 1956"/>
                <a:gd name="T44" fmla="*/ 33 w 1722"/>
                <a:gd name="T45" fmla="*/ 154 h 1956"/>
                <a:gd name="T46" fmla="*/ 31 w 1722"/>
                <a:gd name="T47" fmla="*/ 159 h 1956"/>
                <a:gd name="T48" fmla="*/ 29 w 1722"/>
                <a:gd name="T49" fmla="*/ 166 h 1956"/>
                <a:gd name="T50" fmla="*/ 25 w 1722"/>
                <a:gd name="T51" fmla="*/ 169 h 1956"/>
                <a:gd name="T52" fmla="*/ 27 w 1722"/>
                <a:gd name="T53" fmla="*/ 154 h 1956"/>
                <a:gd name="T54" fmla="*/ 37 w 1722"/>
                <a:gd name="T55" fmla="*/ 133 h 1956"/>
                <a:gd name="T56" fmla="*/ 36 w 1722"/>
                <a:gd name="T57" fmla="*/ 109 h 1956"/>
                <a:gd name="T58" fmla="*/ 27 w 1722"/>
                <a:gd name="T59" fmla="*/ 101 h 1956"/>
                <a:gd name="T60" fmla="*/ 5 w 1722"/>
                <a:gd name="T61" fmla="*/ 98 h 1956"/>
                <a:gd name="T62" fmla="*/ 2 w 1722"/>
                <a:gd name="T63" fmla="*/ 93 h 1956"/>
                <a:gd name="T64" fmla="*/ 12 w 1722"/>
                <a:gd name="T65" fmla="*/ 82 h 1956"/>
                <a:gd name="T66" fmla="*/ 9 w 1722"/>
                <a:gd name="T67" fmla="*/ 74 h 1956"/>
                <a:gd name="T68" fmla="*/ 23 w 1722"/>
                <a:gd name="T69" fmla="*/ 72 h 1956"/>
                <a:gd name="T70" fmla="*/ 22 w 1722"/>
                <a:gd name="T71" fmla="*/ 67 h 1956"/>
                <a:gd name="T72" fmla="*/ 48 w 1722"/>
                <a:gd name="T73" fmla="*/ 57 h 1956"/>
                <a:gd name="T74" fmla="*/ 78 w 1722"/>
                <a:gd name="T75" fmla="*/ 34 h 1956"/>
                <a:gd name="T76" fmla="*/ 81 w 1722"/>
                <a:gd name="T77" fmla="*/ 31 h 1956"/>
                <a:gd name="T78" fmla="*/ 80 w 1722"/>
                <a:gd name="T79" fmla="*/ 26 h 1956"/>
                <a:gd name="T80" fmla="*/ 78 w 1722"/>
                <a:gd name="T81" fmla="*/ 21 h 1956"/>
                <a:gd name="T82" fmla="*/ 77 w 1722"/>
                <a:gd name="T83" fmla="*/ 18 h 1956"/>
                <a:gd name="T84" fmla="*/ 77 w 1722"/>
                <a:gd name="T85" fmla="*/ 12 h 1956"/>
                <a:gd name="T86" fmla="*/ 77 w 1722"/>
                <a:gd name="T87" fmla="*/ 7 h 1956"/>
                <a:gd name="T88" fmla="*/ 102 w 1722"/>
                <a:gd name="T89" fmla="*/ 2 h 1956"/>
                <a:gd name="T90" fmla="*/ 115 w 1722"/>
                <a:gd name="T91" fmla="*/ 3 h 1956"/>
                <a:gd name="T92" fmla="*/ 123 w 1722"/>
                <a:gd name="T93" fmla="*/ 3 h 1956"/>
                <a:gd name="T94" fmla="*/ 125 w 1722"/>
                <a:gd name="T95" fmla="*/ 9 h 1956"/>
                <a:gd name="T96" fmla="*/ 133 w 1722"/>
                <a:gd name="T97" fmla="*/ 13 h 1956"/>
                <a:gd name="T98" fmla="*/ 149 w 1722"/>
                <a:gd name="T99" fmla="*/ 37 h 1956"/>
                <a:gd name="T100" fmla="*/ 141 w 1722"/>
                <a:gd name="T101" fmla="*/ 57 h 1956"/>
                <a:gd name="T102" fmla="*/ 135 w 1722"/>
                <a:gd name="T103" fmla="*/ 63 h 1956"/>
                <a:gd name="T104" fmla="*/ 124 w 1722"/>
                <a:gd name="T105" fmla="*/ 77 h 1956"/>
                <a:gd name="T106" fmla="*/ 123 w 1722"/>
                <a:gd name="T107" fmla="*/ 96 h 1956"/>
                <a:gd name="T108" fmla="*/ 127 w 1722"/>
                <a:gd name="T109" fmla="*/ 97 h 1956"/>
                <a:gd name="T110" fmla="*/ 129 w 1722"/>
                <a:gd name="T111" fmla="*/ 92 h 1956"/>
                <a:gd name="T112" fmla="*/ 134 w 1722"/>
                <a:gd name="T113" fmla="*/ 94 h 1956"/>
                <a:gd name="T114" fmla="*/ 138 w 1722"/>
                <a:gd name="T115" fmla="*/ 99 h 1956"/>
                <a:gd name="T116" fmla="*/ 142 w 1722"/>
                <a:gd name="T117" fmla="*/ 104 h 1956"/>
                <a:gd name="T118" fmla="*/ 141 w 1722"/>
                <a:gd name="T119" fmla="*/ 115 h 19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722"/>
                <a:gd name="T181" fmla="*/ 0 h 1956"/>
                <a:gd name="T182" fmla="*/ 1722 w 1722"/>
                <a:gd name="T183" fmla="*/ 1956 h 19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722" h="1956">
                  <a:moveTo>
                    <a:pt x="1686" y="1404"/>
                  </a:moveTo>
                  <a:lnTo>
                    <a:pt x="1680" y="1416"/>
                  </a:lnTo>
                  <a:lnTo>
                    <a:pt x="1674" y="1422"/>
                  </a:lnTo>
                  <a:lnTo>
                    <a:pt x="1674" y="1428"/>
                  </a:lnTo>
                  <a:lnTo>
                    <a:pt x="1668" y="1428"/>
                  </a:lnTo>
                  <a:lnTo>
                    <a:pt x="1668" y="1434"/>
                  </a:lnTo>
                  <a:lnTo>
                    <a:pt x="1662" y="1446"/>
                  </a:lnTo>
                  <a:lnTo>
                    <a:pt x="1656" y="1464"/>
                  </a:lnTo>
                  <a:lnTo>
                    <a:pt x="1656" y="1476"/>
                  </a:lnTo>
                  <a:lnTo>
                    <a:pt x="1656" y="1488"/>
                  </a:lnTo>
                  <a:lnTo>
                    <a:pt x="1662" y="1500"/>
                  </a:lnTo>
                  <a:lnTo>
                    <a:pt x="1662" y="1506"/>
                  </a:lnTo>
                  <a:lnTo>
                    <a:pt x="1662" y="1524"/>
                  </a:lnTo>
                  <a:lnTo>
                    <a:pt x="1668" y="1542"/>
                  </a:lnTo>
                  <a:lnTo>
                    <a:pt x="1674" y="1560"/>
                  </a:lnTo>
                  <a:lnTo>
                    <a:pt x="1680" y="1578"/>
                  </a:lnTo>
                  <a:lnTo>
                    <a:pt x="1686" y="1578"/>
                  </a:lnTo>
                  <a:lnTo>
                    <a:pt x="1686" y="1584"/>
                  </a:lnTo>
                  <a:lnTo>
                    <a:pt x="1686" y="1590"/>
                  </a:lnTo>
                  <a:lnTo>
                    <a:pt x="1686" y="1596"/>
                  </a:lnTo>
                  <a:lnTo>
                    <a:pt x="1680" y="1596"/>
                  </a:lnTo>
                  <a:lnTo>
                    <a:pt x="1674" y="1602"/>
                  </a:lnTo>
                  <a:lnTo>
                    <a:pt x="1662" y="1602"/>
                  </a:lnTo>
                  <a:lnTo>
                    <a:pt x="1638" y="1596"/>
                  </a:lnTo>
                  <a:lnTo>
                    <a:pt x="1632" y="1596"/>
                  </a:lnTo>
                  <a:lnTo>
                    <a:pt x="1626" y="1602"/>
                  </a:lnTo>
                  <a:lnTo>
                    <a:pt x="1620" y="1602"/>
                  </a:lnTo>
                  <a:lnTo>
                    <a:pt x="1614" y="1602"/>
                  </a:lnTo>
                  <a:lnTo>
                    <a:pt x="1602" y="1602"/>
                  </a:lnTo>
                  <a:lnTo>
                    <a:pt x="1602" y="1608"/>
                  </a:lnTo>
                  <a:lnTo>
                    <a:pt x="1602" y="1620"/>
                  </a:lnTo>
                  <a:lnTo>
                    <a:pt x="1596" y="1620"/>
                  </a:lnTo>
                  <a:lnTo>
                    <a:pt x="1590" y="1620"/>
                  </a:lnTo>
                  <a:lnTo>
                    <a:pt x="1584" y="1626"/>
                  </a:lnTo>
                  <a:lnTo>
                    <a:pt x="1584" y="1632"/>
                  </a:lnTo>
                  <a:lnTo>
                    <a:pt x="1578" y="1644"/>
                  </a:lnTo>
                  <a:lnTo>
                    <a:pt x="1572" y="1644"/>
                  </a:lnTo>
                  <a:lnTo>
                    <a:pt x="1566" y="1644"/>
                  </a:lnTo>
                  <a:lnTo>
                    <a:pt x="1566" y="1650"/>
                  </a:lnTo>
                  <a:lnTo>
                    <a:pt x="1560" y="1650"/>
                  </a:lnTo>
                  <a:lnTo>
                    <a:pt x="1554" y="1650"/>
                  </a:lnTo>
                  <a:lnTo>
                    <a:pt x="1548" y="1650"/>
                  </a:lnTo>
                  <a:lnTo>
                    <a:pt x="1548" y="1656"/>
                  </a:lnTo>
                  <a:lnTo>
                    <a:pt x="1542" y="1668"/>
                  </a:lnTo>
                  <a:lnTo>
                    <a:pt x="1542" y="1674"/>
                  </a:lnTo>
                  <a:lnTo>
                    <a:pt x="1542" y="1692"/>
                  </a:lnTo>
                  <a:lnTo>
                    <a:pt x="1536" y="1698"/>
                  </a:lnTo>
                  <a:lnTo>
                    <a:pt x="1530" y="1698"/>
                  </a:lnTo>
                  <a:lnTo>
                    <a:pt x="1524" y="1698"/>
                  </a:lnTo>
                  <a:lnTo>
                    <a:pt x="1518" y="1704"/>
                  </a:lnTo>
                  <a:lnTo>
                    <a:pt x="1512" y="1710"/>
                  </a:lnTo>
                  <a:lnTo>
                    <a:pt x="1506" y="1722"/>
                  </a:lnTo>
                  <a:lnTo>
                    <a:pt x="1500" y="1728"/>
                  </a:lnTo>
                  <a:lnTo>
                    <a:pt x="1500" y="1734"/>
                  </a:lnTo>
                  <a:lnTo>
                    <a:pt x="1512" y="1734"/>
                  </a:lnTo>
                  <a:lnTo>
                    <a:pt x="1518" y="1740"/>
                  </a:lnTo>
                  <a:lnTo>
                    <a:pt x="1518" y="1746"/>
                  </a:lnTo>
                  <a:lnTo>
                    <a:pt x="1518" y="1752"/>
                  </a:lnTo>
                  <a:lnTo>
                    <a:pt x="1518" y="1758"/>
                  </a:lnTo>
                  <a:lnTo>
                    <a:pt x="1524" y="1758"/>
                  </a:lnTo>
                  <a:lnTo>
                    <a:pt x="1524" y="1764"/>
                  </a:lnTo>
                  <a:lnTo>
                    <a:pt x="1530" y="1770"/>
                  </a:lnTo>
                  <a:lnTo>
                    <a:pt x="1518" y="1770"/>
                  </a:lnTo>
                  <a:lnTo>
                    <a:pt x="1512" y="1782"/>
                  </a:lnTo>
                  <a:lnTo>
                    <a:pt x="1512" y="1788"/>
                  </a:lnTo>
                  <a:lnTo>
                    <a:pt x="1518" y="1788"/>
                  </a:lnTo>
                  <a:lnTo>
                    <a:pt x="1524" y="1800"/>
                  </a:lnTo>
                  <a:lnTo>
                    <a:pt x="1524" y="1806"/>
                  </a:lnTo>
                  <a:lnTo>
                    <a:pt x="1518" y="1812"/>
                  </a:lnTo>
                  <a:lnTo>
                    <a:pt x="1512" y="1818"/>
                  </a:lnTo>
                  <a:lnTo>
                    <a:pt x="1506" y="1818"/>
                  </a:lnTo>
                  <a:lnTo>
                    <a:pt x="1500" y="1824"/>
                  </a:lnTo>
                  <a:lnTo>
                    <a:pt x="1500" y="1836"/>
                  </a:lnTo>
                  <a:lnTo>
                    <a:pt x="1500" y="1842"/>
                  </a:lnTo>
                  <a:lnTo>
                    <a:pt x="1500" y="1848"/>
                  </a:lnTo>
                  <a:lnTo>
                    <a:pt x="1500" y="1854"/>
                  </a:lnTo>
                  <a:lnTo>
                    <a:pt x="1494" y="1860"/>
                  </a:lnTo>
                  <a:lnTo>
                    <a:pt x="1488" y="1860"/>
                  </a:lnTo>
                  <a:lnTo>
                    <a:pt x="1488" y="1866"/>
                  </a:lnTo>
                  <a:lnTo>
                    <a:pt x="1482" y="1872"/>
                  </a:lnTo>
                  <a:lnTo>
                    <a:pt x="1482" y="1878"/>
                  </a:lnTo>
                  <a:lnTo>
                    <a:pt x="1482" y="1884"/>
                  </a:lnTo>
                  <a:lnTo>
                    <a:pt x="1476" y="1890"/>
                  </a:lnTo>
                  <a:lnTo>
                    <a:pt x="1470" y="1890"/>
                  </a:lnTo>
                  <a:lnTo>
                    <a:pt x="1470" y="1896"/>
                  </a:lnTo>
                  <a:lnTo>
                    <a:pt x="1464" y="1896"/>
                  </a:lnTo>
                  <a:lnTo>
                    <a:pt x="1458" y="1896"/>
                  </a:lnTo>
                  <a:lnTo>
                    <a:pt x="1452" y="1896"/>
                  </a:lnTo>
                  <a:lnTo>
                    <a:pt x="1440" y="1890"/>
                  </a:lnTo>
                  <a:lnTo>
                    <a:pt x="1434" y="1896"/>
                  </a:lnTo>
                  <a:lnTo>
                    <a:pt x="1428" y="1896"/>
                  </a:lnTo>
                  <a:lnTo>
                    <a:pt x="1422" y="1896"/>
                  </a:lnTo>
                  <a:lnTo>
                    <a:pt x="1422" y="1902"/>
                  </a:lnTo>
                  <a:lnTo>
                    <a:pt x="1416" y="1902"/>
                  </a:lnTo>
                  <a:lnTo>
                    <a:pt x="1422" y="1914"/>
                  </a:lnTo>
                  <a:lnTo>
                    <a:pt x="1422" y="1932"/>
                  </a:lnTo>
                  <a:lnTo>
                    <a:pt x="1416" y="1938"/>
                  </a:lnTo>
                  <a:lnTo>
                    <a:pt x="1422" y="1938"/>
                  </a:lnTo>
                  <a:lnTo>
                    <a:pt x="1404" y="1938"/>
                  </a:lnTo>
                  <a:lnTo>
                    <a:pt x="1392" y="1944"/>
                  </a:lnTo>
                  <a:lnTo>
                    <a:pt x="1386" y="1944"/>
                  </a:lnTo>
                  <a:lnTo>
                    <a:pt x="1374" y="1944"/>
                  </a:lnTo>
                  <a:lnTo>
                    <a:pt x="1368" y="1950"/>
                  </a:lnTo>
                  <a:lnTo>
                    <a:pt x="1374" y="1956"/>
                  </a:lnTo>
                  <a:lnTo>
                    <a:pt x="1368" y="1956"/>
                  </a:lnTo>
                  <a:lnTo>
                    <a:pt x="1356" y="1956"/>
                  </a:lnTo>
                  <a:lnTo>
                    <a:pt x="1350" y="1956"/>
                  </a:lnTo>
                  <a:lnTo>
                    <a:pt x="1350" y="1950"/>
                  </a:lnTo>
                  <a:lnTo>
                    <a:pt x="1344" y="1944"/>
                  </a:lnTo>
                  <a:lnTo>
                    <a:pt x="1332" y="1938"/>
                  </a:lnTo>
                  <a:lnTo>
                    <a:pt x="1326" y="1938"/>
                  </a:lnTo>
                  <a:lnTo>
                    <a:pt x="1320" y="1938"/>
                  </a:lnTo>
                  <a:lnTo>
                    <a:pt x="1314" y="1944"/>
                  </a:lnTo>
                  <a:lnTo>
                    <a:pt x="1308" y="1944"/>
                  </a:lnTo>
                  <a:lnTo>
                    <a:pt x="1302" y="1944"/>
                  </a:lnTo>
                  <a:lnTo>
                    <a:pt x="1296" y="1938"/>
                  </a:lnTo>
                  <a:lnTo>
                    <a:pt x="1284" y="1938"/>
                  </a:lnTo>
                  <a:lnTo>
                    <a:pt x="1278" y="1938"/>
                  </a:lnTo>
                  <a:lnTo>
                    <a:pt x="1272" y="1938"/>
                  </a:lnTo>
                  <a:lnTo>
                    <a:pt x="1266" y="1932"/>
                  </a:lnTo>
                  <a:lnTo>
                    <a:pt x="1260" y="1932"/>
                  </a:lnTo>
                  <a:lnTo>
                    <a:pt x="1254" y="1920"/>
                  </a:lnTo>
                  <a:lnTo>
                    <a:pt x="1248" y="1920"/>
                  </a:lnTo>
                  <a:lnTo>
                    <a:pt x="1242" y="1920"/>
                  </a:lnTo>
                  <a:lnTo>
                    <a:pt x="1236" y="1926"/>
                  </a:lnTo>
                  <a:lnTo>
                    <a:pt x="1236" y="1932"/>
                  </a:lnTo>
                  <a:lnTo>
                    <a:pt x="1230" y="1932"/>
                  </a:lnTo>
                  <a:lnTo>
                    <a:pt x="1224" y="1932"/>
                  </a:lnTo>
                  <a:lnTo>
                    <a:pt x="1218" y="1938"/>
                  </a:lnTo>
                  <a:lnTo>
                    <a:pt x="1212" y="1932"/>
                  </a:lnTo>
                  <a:lnTo>
                    <a:pt x="1206" y="1926"/>
                  </a:lnTo>
                  <a:lnTo>
                    <a:pt x="1206" y="1908"/>
                  </a:lnTo>
                  <a:lnTo>
                    <a:pt x="1206" y="1884"/>
                  </a:lnTo>
                  <a:lnTo>
                    <a:pt x="1206" y="1866"/>
                  </a:lnTo>
                  <a:lnTo>
                    <a:pt x="1212" y="1848"/>
                  </a:lnTo>
                  <a:lnTo>
                    <a:pt x="1212" y="1842"/>
                  </a:lnTo>
                  <a:lnTo>
                    <a:pt x="1206" y="1836"/>
                  </a:lnTo>
                  <a:lnTo>
                    <a:pt x="1200" y="1830"/>
                  </a:lnTo>
                  <a:lnTo>
                    <a:pt x="1194" y="1824"/>
                  </a:lnTo>
                  <a:lnTo>
                    <a:pt x="1188" y="1824"/>
                  </a:lnTo>
                  <a:lnTo>
                    <a:pt x="1182" y="1824"/>
                  </a:lnTo>
                  <a:lnTo>
                    <a:pt x="1176" y="1824"/>
                  </a:lnTo>
                  <a:lnTo>
                    <a:pt x="1170" y="1818"/>
                  </a:lnTo>
                  <a:lnTo>
                    <a:pt x="1164" y="1830"/>
                  </a:lnTo>
                  <a:lnTo>
                    <a:pt x="1152" y="1836"/>
                  </a:lnTo>
                  <a:lnTo>
                    <a:pt x="1146" y="1842"/>
                  </a:lnTo>
                  <a:lnTo>
                    <a:pt x="1140" y="1842"/>
                  </a:lnTo>
                  <a:lnTo>
                    <a:pt x="1134" y="1842"/>
                  </a:lnTo>
                  <a:lnTo>
                    <a:pt x="1128" y="1842"/>
                  </a:lnTo>
                  <a:lnTo>
                    <a:pt x="1116" y="1836"/>
                  </a:lnTo>
                  <a:lnTo>
                    <a:pt x="1110" y="1842"/>
                  </a:lnTo>
                  <a:lnTo>
                    <a:pt x="1092" y="1830"/>
                  </a:lnTo>
                  <a:lnTo>
                    <a:pt x="1092" y="1824"/>
                  </a:lnTo>
                  <a:lnTo>
                    <a:pt x="1092" y="1806"/>
                  </a:lnTo>
                  <a:lnTo>
                    <a:pt x="1092" y="1800"/>
                  </a:lnTo>
                  <a:lnTo>
                    <a:pt x="1092" y="1794"/>
                  </a:lnTo>
                  <a:lnTo>
                    <a:pt x="1086" y="1788"/>
                  </a:lnTo>
                  <a:lnTo>
                    <a:pt x="1080" y="1794"/>
                  </a:lnTo>
                  <a:lnTo>
                    <a:pt x="1074" y="1788"/>
                  </a:lnTo>
                  <a:lnTo>
                    <a:pt x="1068" y="1770"/>
                  </a:lnTo>
                  <a:lnTo>
                    <a:pt x="1056" y="1764"/>
                  </a:lnTo>
                  <a:lnTo>
                    <a:pt x="1050" y="1764"/>
                  </a:lnTo>
                  <a:lnTo>
                    <a:pt x="1044" y="1764"/>
                  </a:lnTo>
                  <a:lnTo>
                    <a:pt x="1038" y="1758"/>
                  </a:lnTo>
                  <a:lnTo>
                    <a:pt x="1032" y="1752"/>
                  </a:lnTo>
                  <a:lnTo>
                    <a:pt x="1032" y="1746"/>
                  </a:lnTo>
                  <a:lnTo>
                    <a:pt x="1032" y="1740"/>
                  </a:lnTo>
                  <a:lnTo>
                    <a:pt x="1032" y="1734"/>
                  </a:lnTo>
                  <a:lnTo>
                    <a:pt x="1026" y="1734"/>
                  </a:lnTo>
                  <a:lnTo>
                    <a:pt x="1032" y="1728"/>
                  </a:lnTo>
                  <a:lnTo>
                    <a:pt x="1032" y="1722"/>
                  </a:lnTo>
                  <a:lnTo>
                    <a:pt x="1044" y="1686"/>
                  </a:lnTo>
                  <a:lnTo>
                    <a:pt x="1044" y="1680"/>
                  </a:lnTo>
                  <a:lnTo>
                    <a:pt x="1032" y="1674"/>
                  </a:lnTo>
                  <a:lnTo>
                    <a:pt x="1026" y="1674"/>
                  </a:lnTo>
                  <a:lnTo>
                    <a:pt x="1026" y="1668"/>
                  </a:lnTo>
                  <a:lnTo>
                    <a:pt x="1020" y="1662"/>
                  </a:lnTo>
                  <a:lnTo>
                    <a:pt x="1014" y="1668"/>
                  </a:lnTo>
                  <a:lnTo>
                    <a:pt x="1008" y="1662"/>
                  </a:lnTo>
                  <a:lnTo>
                    <a:pt x="1002" y="1662"/>
                  </a:lnTo>
                  <a:lnTo>
                    <a:pt x="1002" y="1668"/>
                  </a:lnTo>
                  <a:lnTo>
                    <a:pt x="996" y="1668"/>
                  </a:lnTo>
                  <a:lnTo>
                    <a:pt x="996" y="1662"/>
                  </a:lnTo>
                  <a:lnTo>
                    <a:pt x="984" y="1662"/>
                  </a:lnTo>
                  <a:lnTo>
                    <a:pt x="984" y="1656"/>
                  </a:lnTo>
                  <a:lnTo>
                    <a:pt x="978" y="1650"/>
                  </a:lnTo>
                  <a:lnTo>
                    <a:pt x="978" y="1644"/>
                  </a:lnTo>
                  <a:lnTo>
                    <a:pt x="966" y="1650"/>
                  </a:lnTo>
                  <a:lnTo>
                    <a:pt x="960" y="1638"/>
                  </a:lnTo>
                  <a:lnTo>
                    <a:pt x="954" y="1632"/>
                  </a:lnTo>
                  <a:lnTo>
                    <a:pt x="948" y="1632"/>
                  </a:lnTo>
                  <a:lnTo>
                    <a:pt x="942" y="1626"/>
                  </a:lnTo>
                  <a:lnTo>
                    <a:pt x="942" y="1614"/>
                  </a:lnTo>
                  <a:lnTo>
                    <a:pt x="930" y="1608"/>
                  </a:lnTo>
                  <a:lnTo>
                    <a:pt x="924" y="1614"/>
                  </a:lnTo>
                  <a:lnTo>
                    <a:pt x="912" y="1608"/>
                  </a:lnTo>
                  <a:lnTo>
                    <a:pt x="888" y="1590"/>
                  </a:lnTo>
                  <a:lnTo>
                    <a:pt x="894" y="1578"/>
                  </a:lnTo>
                  <a:lnTo>
                    <a:pt x="894" y="1572"/>
                  </a:lnTo>
                  <a:lnTo>
                    <a:pt x="894" y="1566"/>
                  </a:lnTo>
                  <a:lnTo>
                    <a:pt x="894" y="1548"/>
                  </a:lnTo>
                  <a:lnTo>
                    <a:pt x="888" y="1548"/>
                  </a:lnTo>
                  <a:lnTo>
                    <a:pt x="882" y="1542"/>
                  </a:lnTo>
                  <a:lnTo>
                    <a:pt x="876" y="1542"/>
                  </a:lnTo>
                  <a:lnTo>
                    <a:pt x="876" y="1536"/>
                  </a:lnTo>
                  <a:lnTo>
                    <a:pt x="870" y="1542"/>
                  </a:lnTo>
                  <a:lnTo>
                    <a:pt x="870" y="1554"/>
                  </a:lnTo>
                  <a:lnTo>
                    <a:pt x="870" y="1566"/>
                  </a:lnTo>
                  <a:lnTo>
                    <a:pt x="870" y="1578"/>
                  </a:lnTo>
                  <a:lnTo>
                    <a:pt x="870" y="1584"/>
                  </a:lnTo>
                  <a:lnTo>
                    <a:pt x="864" y="1584"/>
                  </a:lnTo>
                  <a:lnTo>
                    <a:pt x="870" y="1602"/>
                  </a:lnTo>
                  <a:lnTo>
                    <a:pt x="864" y="1608"/>
                  </a:lnTo>
                  <a:lnTo>
                    <a:pt x="870" y="1614"/>
                  </a:lnTo>
                  <a:lnTo>
                    <a:pt x="864" y="1644"/>
                  </a:lnTo>
                  <a:lnTo>
                    <a:pt x="858" y="1650"/>
                  </a:lnTo>
                  <a:lnTo>
                    <a:pt x="858" y="1656"/>
                  </a:lnTo>
                  <a:lnTo>
                    <a:pt x="852" y="1662"/>
                  </a:lnTo>
                  <a:lnTo>
                    <a:pt x="852" y="1680"/>
                  </a:lnTo>
                  <a:lnTo>
                    <a:pt x="846" y="1686"/>
                  </a:lnTo>
                  <a:lnTo>
                    <a:pt x="834" y="1692"/>
                  </a:lnTo>
                  <a:lnTo>
                    <a:pt x="828" y="1692"/>
                  </a:lnTo>
                  <a:lnTo>
                    <a:pt x="822" y="1698"/>
                  </a:lnTo>
                  <a:lnTo>
                    <a:pt x="822" y="1704"/>
                  </a:lnTo>
                  <a:lnTo>
                    <a:pt x="816" y="1704"/>
                  </a:lnTo>
                  <a:lnTo>
                    <a:pt x="804" y="1692"/>
                  </a:lnTo>
                  <a:lnTo>
                    <a:pt x="786" y="1698"/>
                  </a:lnTo>
                  <a:lnTo>
                    <a:pt x="780" y="1698"/>
                  </a:lnTo>
                  <a:lnTo>
                    <a:pt x="756" y="1698"/>
                  </a:lnTo>
                  <a:lnTo>
                    <a:pt x="744" y="1698"/>
                  </a:lnTo>
                  <a:lnTo>
                    <a:pt x="738" y="1698"/>
                  </a:lnTo>
                  <a:lnTo>
                    <a:pt x="732" y="1704"/>
                  </a:lnTo>
                  <a:lnTo>
                    <a:pt x="726" y="1704"/>
                  </a:lnTo>
                  <a:lnTo>
                    <a:pt x="678" y="1710"/>
                  </a:lnTo>
                  <a:lnTo>
                    <a:pt x="642" y="1710"/>
                  </a:lnTo>
                  <a:lnTo>
                    <a:pt x="618" y="1680"/>
                  </a:lnTo>
                  <a:lnTo>
                    <a:pt x="618" y="1674"/>
                  </a:lnTo>
                  <a:lnTo>
                    <a:pt x="618" y="1668"/>
                  </a:lnTo>
                  <a:lnTo>
                    <a:pt x="624" y="1662"/>
                  </a:lnTo>
                  <a:lnTo>
                    <a:pt x="624" y="1656"/>
                  </a:lnTo>
                  <a:lnTo>
                    <a:pt x="624" y="1650"/>
                  </a:lnTo>
                  <a:lnTo>
                    <a:pt x="618" y="1650"/>
                  </a:lnTo>
                  <a:lnTo>
                    <a:pt x="618" y="1644"/>
                  </a:lnTo>
                  <a:lnTo>
                    <a:pt x="618" y="1638"/>
                  </a:lnTo>
                  <a:lnTo>
                    <a:pt x="618" y="1632"/>
                  </a:lnTo>
                  <a:lnTo>
                    <a:pt x="618" y="1626"/>
                  </a:lnTo>
                  <a:lnTo>
                    <a:pt x="612" y="1626"/>
                  </a:lnTo>
                  <a:lnTo>
                    <a:pt x="612" y="1620"/>
                  </a:lnTo>
                  <a:lnTo>
                    <a:pt x="606" y="1614"/>
                  </a:lnTo>
                  <a:lnTo>
                    <a:pt x="594" y="1626"/>
                  </a:lnTo>
                  <a:lnTo>
                    <a:pt x="594" y="1632"/>
                  </a:lnTo>
                  <a:lnTo>
                    <a:pt x="588" y="1638"/>
                  </a:lnTo>
                  <a:lnTo>
                    <a:pt x="582" y="1638"/>
                  </a:lnTo>
                  <a:lnTo>
                    <a:pt x="564" y="1656"/>
                  </a:lnTo>
                  <a:lnTo>
                    <a:pt x="558" y="1662"/>
                  </a:lnTo>
                  <a:lnTo>
                    <a:pt x="552" y="1662"/>
                  </a:lnTo>
                  <a:lnTo>
                    <a:pt x="540" y="1674"/>
                  </a:lnTo>
                  <a:lnTo>
                    <a:pt x="534" y="1680"/>
                  </a:lnTo>
                  <a:lnTo>
                    <a:pt x="522" y="1692"/>
                  </a:lnTo>
                  <a:lnTo>
                    <a:pt x="516" y="1704"/>
                  </a:lnTo>
                  <a:lnTo>
                    <a:pt x="510" y="1704"/>
                  </a:lnTo>
                  <a:lnTo>
                    <a:pt x="504" y="1704"/>
                  </a:lnTo>
                  <a:lnTo>
                    <a:pt x="486" y="1722"/>
                  </a:lnTo>
                  <a:lnTo>
                    <a:pt x="480" y="1740"/>
                  </a:lnTo>
                  <a:lnTo>
                    <a:pt x="474" y="1740"/>
                  </a:lnTo>
                  <a:lnTo>
                    <a:pt x="468" y="1746"/>
                  </a:lnTo>
                  <a:lnTo>
                    <a:pt x="456" y="1758"/>
                  </a:lnTo>
                  <a:lnTo>
                    <a:pt x="444" y="1770"/>
                  </a:lnTo>
                  <a:lnTo>
                    <a:pt x="438" y="1782"/>
                  </a:lnTo>
                  <a:lnTo>
                    <a:pt x="426" y="1788"/>
                  </a:lnTo>
                  <a:lnTo>
                    <a:pt x="420" y="1788"/>
                  </a:lnTo>
                  <a:lnTo>
                    <a:pt x="420" y="1782"/>
                  </a:lnTo>
                  <a:lnTo>
                    <a:pt x="414" y="1782"/>
                  </a:lnTo>
                  <a:lnTo>
                    <a:pt x="390" y="1782"/>
                  </a:lnTo>
                  <a:lnTo>
                    <a:pt x="390" y="1776"/>
                  </a:lnTo>
                  <a:lnTo>
                    <a:pt x="384" y="1776"/>
                  </a:lnTo>
                  <a:lnTo>
                    <a:pt x="378" y="1776"/>
                  </a:lnTo>
                  <a:lnTo>
                    <a:pt x="372" y="1776"/>
                  </a:lnTo>
                  <a:lnTo>
                    <a:pt x="366" y="1770"/>
                  </a:lnTo>
                  <a:lnTo>
                    <a:pt x="366" y="1776"/>
                  </a:lnTo>
                  <a:lnTo>
                    <a:pt x="360" y="1788"/>
                  </a:lnTo>
                  <a:lnTo>
                    <a:pt x="360" y="1794"/>
                  </a:lnTo>
                  <a:lnTo>
                    <a:pt x="360" y="1800"/>
                  </a:lnTo>
                  <a:lnTo>
                    <a:pt x="354" y="1806"/>
                  </a:lnTo>
                  <a:lnTo>
                    <a:pt x="354" y="1812"/>
                  </a:lnTo>
                  <a:lnTo>
                    <a:pt x="354" y="1824"/>
                  </a:lnTo>
                  <a:lnTo>
                    <a:pt x="348" y="1830"/>
                  </a:lnTo>
                  <a:lnTo>
                    <a:pt x="354" y="1836"/>
                  </a:lnTo>
                  <a:lnTo>
                    <a:pt x="348" y="1842"/>
                  </a:lnTo>
                  <a:lnTo>
                    <a:pt x="354" y="1848"/>
                  </a:lnTo>
                  <a:lnTo>
                    <a:pt x="348" y="1854"/>
                  </a:lnTo>
                  <a:lnTo>
                    <a:pt x="354" y="1854"/>
                  </a:lnTo>
                  <a:lnTo>
                    <a:pt x="348" y="1860"/>
                  </a:lnTo>
                  <a:lnTo>
                    <a:pt x="348" y="1866"/>
                  </a:lnTo>
                  <a:lnTo>
                    <a:pt x="342" y="1866"/>
                  </a:lnTo>
                  <a:lnTo>
                    <a:pt x="342" y="1872"/>
                  </a:lnTo>
                  <a:lnTo>
                    <a:pt x="342" y="1878"/>
                  </a:lnTo>
                  <a:lnTo>
                    <a:pt x="342" y="1884"/>
                  </a:lnTo>
                  <a:lnTo>
                    <a:pt x="336" y="1896"/>
                  </a:lnTo>
                  <a:lnTo>
                    <a:pt x="330" y="1914"/>
                  </a:lnTo>
                  <a:lnTo>
                    <a:pt x="324" y="1920"/>
                  </a:lnTo>
                  <a:lnTo>
                    <a:pt x="324" y="1926"/>
                  </a:lnTo>
                  <a:lnTo>
                    <a:pt x="318" y="1944"/>
                  </a:lnTo>
                  <a:lnTo>
                    <a:pt x="318" y="1950"/>
                  </a:lnTo>
                  <a:lnTo>
                    <a:pt x="312" y="1956"/>
                  </a:lnTo>
                  <a:lnTo>
                    <a:pt x="312" y="1950"/>
                  </a:lnTo>
                  <a:lnTo>
                    <a:pt x="306" y="1950"/>
                  </a:lnTo>
                  <a:lnTo>
                    <a:pt x="306" y="1956"/>
                  </a:lnTo>
                  <a:lnTo>
                    <a:pt x="300" y="1950"/>
                  </a:lnTo>
                  <a:lnTo>
                    <a:pt x="294" y="1956"/>
                  </a:lnTo>
                  <a:lnTo>
                    <a:pt x="288" y="1950"/>
                  </a:lnTo>
                  <a:lnTo>
                    <a:pt x="288" y="1944"/>
                  </a:lnTo>
                  <a:lnTo>
                    <a:pt x="282" y="1938"/>
                  </a:lnTo>
                  <a:lnTo>
                    <a:pt x="282" y="1932"/>
                  </a:lnTo>
                  <a:lnTo>
                    <a:pt x="282" y="1890"/>
                  </a:lnTo>
                  <a:lnTo>
                    <a:pt x="288" y="1860"/>
                  </a:lnTo>
                  <a:lnTo>
                    <a:pt x="294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300" y="1818"/>
                  </a:lnTo>
                  <a:lnTo>
                    <a:pt x="306" y="1794"/>
                  </a:lnTo>
                  <a:lnTo>
                    <a:pt x="306" y="1788"/>
                  </a:lnTo>
                  <a:lnTo>
                    <a:pt x="306" y="1782"/>
                  </a:lnTo>
                  <a:lnTo>
                    <a:pt x="312" y="1776"/>
                  </a:lnTo>
                  <a:lnTo>
                    <a:pt x="306" y="1776"/>
                  </a:lnTo>
                  <a:lnTo>
                    <a:pt x="312" y="1770"/>
                  </a:lnTo>
                  <a:lnTo>
                    <a:pt x="312" y="1740"/>
                  </a:lnTo>
                  <a:lnTo>
                    <a:pt x="318" y="1722"/>
                  </a:lnTo>
                  <a:lnTo>
                    <a:pt x="312" y="1722"/>
                  </a:lnTo>
                  <a:lnTo>
                    <a:pt x="300" y="1716"/>
                  </a:lnTo>
                  <a:lnTo>
                    <a:pt x="306" y="1716"/>
                  </a:lnTo>
                  <a:lnTo>
                    <a:pt x="312" y="1710"/>
                  </a:lnTo>
                  <a:lnTo>
                    <a:pt x="324" y="1674"/>
                  </a:lnTo>
                  <a:lnTo>
                    <a:pt x="366" y="1590"/>
                  </a:lnTo>
                  <a:lnTo>
                    <a:pt x="408" y="1548"/>
                  </a:lnTo>
                  <a:lnTo>
                    <a:pt x="426" y="1530"/>
                  </a:lnTo>
                  <a:lnTo>
                    <a:pt x="432" y="1500"/>
                  </a:lnTo>
                  <a:lnTo>
                    <a:pt x="426" y="1494"/>
                  </a:lnTo>
                  <a:lnTo>
                    <a:pt x="426" y="1482"/>
                  </a:lnTo>
                  <a:lnTo>
                    <a:pt x="432" y="1464"/>
                  </a:lnTo>
                  <a:lnTo>
                    <a:pt x="438" y="1428"/>
                  </a:lnTo>
                  <a:lnTo>
                    <a:pt x="462" y="1398"/>
                  </a:lnTo>
                  <a:lnTo>
                    <a:pt x="468" y="1362"/>
                  </a:lnTo>
                  <a:lnTo>
                    <a:pt x="462" y="1314"/>
                  </a:lnTo>
                  <a:lnTo>
                    <a:pt x="444" y="1284"/>
                  </a:lnTo>
                  <a:lnTo>
                    <a:pt x="432" y="1260"/>
                  </a:lnTo>
                  <a:lnTo>
                    <a:pt x="426" y="1260"/>
                  </a:lnTo>
                  <a:lnTo>
                    <a:pt x="420" y="1254"/>
                  </a:lnTo>
                  <a:lnTo>
                    <a:pt x="408" y="1260"/>
                  </a:lnTo>
                  <a:lnTo>
                    <a:pt x="402" y="1260"/>
                  </a:lnTo>
                  <a:lnTo>
                    <a:pt x="402" y="1254"/>
                  </a:lnTo>
                  <a:lnTo>
                    <a:pt x="396" y="1254"/>
                  </a:lnTo>
                  <a:lnTo>
                    <a:pt x="396" y="1248"/>
                  </a:lnTo>
                  <a:lnTo>
                    <a:pt x="384" y="1248"/>
                  </a:lnTo>
                  <a:lnTo>
                    <a:pt x="372" y="1230"/>
                  </a:lnTo>
                  <a:lnTo>
                    <a:pt x="360" y="1212"/>
                  </a:lnTo>
                  <a:lnTo>
                    <a:pt x="348" y="1188"/>
                  </a:lnTo>
                  <a:lnTo>
                    <a:pt x="324" y="1170"/>
                  </a:lnTo>
                  <a:lnTo>
                    <a:pt x="318" y="1170"/>
                  </a:lnTo>
                  <a:lnTo>
                    <a:pt x="312" y="1158"/>
                  </a:lnTo>
                  <a:lnTo>
                    <a:pt x="312" y="1152"/>
                  </a:lnTo>
                  <a:lnTo>
                    <a:pt x="306" y="1146"/>
                  </a:lnTo>
                  <a:lnTo>
                    <a:pt x="270" y="1122"/>
                  </a:lnTo>
                  <a:lnTo>
                    <a:pt x="240" y="1122"/>
                  </a:lnTo>
                  <a:lnTo>
                    <a:pt x="180" y="1116"/>
                  </a:lnTo>
                  <a:lnTo>
                    <a:pt x="174" y="1122"/>
                  </a:lnTo>
                  <a:lnTo>
                    <a:pt x="174" y="1128"/>
                  </a:lnTo>
                  <a:lnTo>
                    <a:pt x="168" y="1122"/>
                  </a:lnTo>
                  <a:lnTo>
                    <a:pt x="162" y="1116"/>
                  </a:lnTo>
                  <a:lnTo>
                    <a:pt x="144" y="1122"/>
                  </a:lnTo>
                  <a:lnTo>
                    <a:pt x="120" y="1122"/>
                  </a:lnTo>
                  <a:lnTo>
                    <a:pt x="54" y="1134"/>
                  </a:lnTo>
                  <a:lnTo>
                    <a:pt x="24" y="1152"/>
                  </a:lnTo>
                  <a:lnTo>
                    <a:pt x="6" y="1146"/>
                  </a:lnTo>
                  <a:lnTo>
                    <a:pt x="0" y="1134"/>
                  </a:lnTo>
                  <a:lnTo>
                    <a:pt x="0" y="1128"/>
                  </a:lnTo>
                  <a:lnTo>
                    <a:pt x="18" y="1110"/>
                  </a:lnTo>
                  <a:lnTo>
                    <a:pt x="24" y="1104"/>
                  </a:lnTo>
                  <a:lnTo>
                    <a:pt x="24" y="1098"/>
                  </a:lnTo>
                  <a:lnTo>
                    <a:pt x="30" y="1086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24" y="1074"/>
                  </a:lnTo>
                  <a:lnTo>
                    <a:pt x="18" y="1068"/>
                  </a:lnTo>
                  <a:lnTo>
                    <a:pt x="24" y="1062"/>
                  </a:lnTo>
                  <a:lnTo>
                    <a:pt x="42" y="1056"/>
                  </a:lnTo>
                  <a:lnTo>
                    <a:pt x="54" y="1050"/>
                  </a:lnTo>
                  <a:lnTo>
                    <a:pt x="72" y="1044"/>
                  </a:lnTo>
                  <a:lnTo>
                    <a:pt x="96" y="1032"/>
                  </a:lnTo>
                  <a:lnTo>
                    <a:pt x="102" y="1032"/>
                  </a:lnTo>
                  <a:lnTo>
                    <a:pt x="126" y="1008"/>
                  </a:lnTo>
                  <a:lnTo>
                    <a:pt x="144" y="990"/>
                  </a:lnTo>
                  <a:lnTo>
                    <a:pt x="156" y="978"/>
                  </a:lnTo>
                  <a:lnTo>
                    <a:pt x="156" y="966"/>
                  </a:lnTo>
                  <a:lnTo>
                    <a:pt x="150" y="960"/>
                  </a:lnTo>
                  <a:lnTo>
                    <a:pt x="144" y="948"/>
                  </a:lnTo>
                  <a:lnTo>
                    <a:pt x="144" y="936"/>
                  </a:lnTo>
                  <a:lnTo>
                    <a:pt x="138" y="918"/>
                  </a:lnTo>
                  <a:lnTo>
                    <a:pt x="150" y="912"/>
                  </a:lnTo>
                  <a:lnTo>
                    <a:pt x="150" y="894"/>
                  </a:lnTo>
                  <a:lnTo>
                    <a:pt x="132" y="876"/>
                  </a:lnTo>
                  <a:lnTo>
                    <a:pt x="126" y="876"/>
                  </a:lnTo>
                  <a:lnTo>
                    <a:pt x="120" y="870"/>
                  </a:lnTo>
                  <a:lnTo>
                    <a:pt x="120" y="864"/>
                  </a:lnTo>
                  <a:lnTo>
                    <a:pt x="114" y="864"/>
                  </a:lnTo>
                  <a:lnTo>
                    <a:pt x="108" y="864"/>
                  </a:lnTo>
                  <a:lnTo>
                    <a:pt x="108" y="858"/>
                  </a:lnTo>
                  <a:lnTo>
                    <a:pt x="102" y="852"/>
                  </a:lnTo>
                  <a:lnTo>
                    <a:pt x="96" y="852"/>
                  </a:lnTo>
                  <a:lnTo>
                    <a:pt x="102" y="834"/>
                  </a:lnTo>
                  <a:lnTo>
                    <a:pt x="108" y="816"/>
                  </a:lnTo>
                  <a:lnTo>
                    <a:pt x="114" y="804"/>
                  </a:lnTo>
                  <a:lnTo>
                    <a:pt x="132" y="798"/>
                  </a:lnTo>
                  <a:lnTo>
                    <a:pt x="144" y="798"/>
                  </a:lnTo>
                  <a:lnTo>
                    <a:pt x="180" y="810"/>
                  </a:lnTo>
                  <a:lnTo>
                    <a:pt x="192" y="816"/>
                  </a:lnTo>
                  <a:lnTo>
                    <a:pt x="234" y="822"/>
                  </a:lnTo>
                  <a:lnTo>
                    <a:pt x="264" y="828"/>
                  </a:lnTo>
                  <a:lnTo>
                    <a:pt x="270" y="840"/>
                  </a:lnTo>
                  <a:lnTo>
                    <a:pt x="270" y="834"/>
                  </a:lnTo>
                  <a:lnTo>
                    <a:pt x="270" y="828"/>
                  </a:lnTo>
                  <a:lnTo>
                    <a:pt x="270" y="822"/>
                  </a:lnTo>
                  <a:lnTo>
                    <a:pt x="270" y="816"/>
                  </a:lnTo>
                  <a:lnTo>
                    <a:pt x="264" y="810"/>
                  </a:lnTo>
                  <a:lnTo>
                    <a:pt x="264" y="804"/>
                  </a:lnTo>
                  <a:lnTo>
                    <a:pt x="264" y="798"/>
                  </a:lnTo>
                  <a:lnTo>
                    <a:pt x="258" y="792"/>
                  </a:lnTo>
                  <a:lnTo>
                    <a:pt x="258" y="786"/>
                  </a:lnTo>
                  <a:lnTo>
                    <a:pt x="264" y="786"/>
                  </a:lnTo>
                  <a:lnTo>
                    <a:pt x="264" y="780"/>
                  </a:lnTo>
                  <a:lnTo>
                    <a:pt x="258" y="774"/>
                  </a:lnTo>
                  <a:lnTo>
                    <a:pt x="258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82" y="762"/>
                  </a:lnTo>
                  <a:lnTo>
                    <a:pt x="312" y="780"/>
                  </a:lnTo>
                  <a:lnTo>
                    <a:pt x="354" y="786"/>
                  </a:lnTo>
                  <a:lnTo>
                    <a:pt x="408" y="774"/>
                  </a:lnTo>
                  <a:lnTo>
                    <a:pt x="444" y="756"/>
                  </a:lnTo>
                  <a:lnTo>
                    <a:pt x="468" y="732"/>
                  </a:lnTo>
                  <a:lnTo>
                    <a:pt x="492" y="720"/>
                  </a:lnTo>
                  <a:lnTo>
                    <a:pt x="522" y="690"/>
                  </a:lnTo>
                  <a:lnTo>
                    <a:pt x="540" y="672"/>
                  </a:lnTo>
                  <a:lnTo>
                    <a:pt x="558" y="660"/>
                  </a:lnTo>
                  <a:lnTo>
                    <a:pt x="570" y="636"/>
                  </a:lnTo>
                  <a:lnTo>
                    <a:pt x="588" y="612"/>
                  </a:lnTo>
                  <a:lnTo>
                    <a:pt x="654" y="552"/>
                  </a:lnTo>
                  <a:lnTo>
                    <a:pt x="678" y="528"/>
                  </a:lnTo>
                  <a:lnTo>
                    <a:pt x="696" y="510"/>
                  </a:lnTo>
                  <a:lnTo>
                    <a:pt x="714" y="498"/>
                  </a:lnTo>
                  <a:lnTo>
                    <a:pt x="750" y="480"/>
                  </a:lnTo>
                  <a:lnTo>
                    <a:pt x="774" y="444"/>
                  </a:lnTo>
                  <a:lnTo>
                    <a:pt x="816" y="426"/>
                  </a:lnTo>
                  <a:lnTo>
                    <a:pt x="864" y="420"/>
                  </a:lnTo>
                  <a:lnTo>
                    <a:pt x="912" y="402"/>
                  </a:lnTo>
                  <a:lnTo>
                    <a:pt x="906" y="396"/>
                  </a:lnTo>
                  <a:lnTo>
                    <a:pt x="912" y="396"/>
                  </a:lnTo>
                  <a:lnTo>
                    <a:pt x="912" y="390"/>
                  </a:lnTo>
                  <a:lnTo>
                    <a:pt x="918" y="384"/>
                  </a:lnTo>
                  <a:lnTo>
                    <a:pt x="924" y="384"/>
                  </a:lnTo>
                  <a:lnTo>
                    <a:pt x="924" y="378"/>
                  </a:lnTo>
                  <a:lnTo>
                    <a:pt x="918" y="372"/>
                  </a:lnTo>
                  <a:lnTo>
                    <a:pt x="918" y="366"/>
                  </a:lnTo>
                  <a:lnTo>
                    <a:pt x="918" y="360"/>
                  </a:lnTo>
                  <a:lnTo>
                    <a:pt x="924" y="360"/>
                  </a:lnTo>
                  <a:lnTo>
                    <a:pt x="924" y="354"/>
                  </a:lnTo>
                  <a:lnTo>
                    <a:pt x="930" y="354"/>
                  </a:lnTo>
                  <a:lnTo>
                    <a:pt x="936" y="354"/>
                  </a:lnTo>
                  <a:lnTo>
                    <a:pt x="936" y="348"/>
                  </a:lnTo>
                  <a:lnTo>
                    <a:pt x="942" y="348"/>
                  </a:lnTo>
                  <a:lnTo>
                    <a:pt x="942" y="336"/>
                  </a:lnTo>
                  <a:lnTo>
                    <a:pt x="936" y="336"/>
                  </a:lnTo>
                  <a:lnTo>
                    <a:pt x="930" y="330"/>
                  </a:lnTo>
                  <a:lnTo>
                    <a:pt x="924" y="330"/>
                  </a:lnTo>
                  <a:lnTo>
                    <a:pt x="924" y="324"/>
                  </a:lnTo>
                  <a:lnTo>
                    <a:pt x="918" y="318"/>
                  </a:lnTo>
                  <a:lnTo>
                    <a:pt x="912" y="306"/>
                  </a:lnTo>
                  <a:lnTo>
                    <a:pt x="918" y="306"/>
                  </a:lnTo>
                  <a:lnTo>
                    <a:pt x="924" y="300"/>
                  </a:lnTo>
                  <a:lnTo>
                    <a:pt x="924" y="294"/>
                  </a:lnTo>
                  <a:lnTo>
                    <a:pt x="924" y="288"/>
                  </a:lnTo>
                  <a:lnTo>
                    <a:pt x="924" y="282"/>
                  </a:lnTo>
                  <a:lnTo>
                    <a:pt x="924" y="276"/>
                  </a:lnTo>
                  <a:lnTo>
                    <a:pt x="918" y="270"/>
                  </a:lnTo>
                  <a:lnTo>
                    <a:pt x="918" y="264"/>
                  </a:lnTo>
                  <a:lnTo>
                    <a:pt x="912" y="270"/>
                  </a:lnTo>
                  <a:lnTo>
                    <a:pt x="912" y="264"/>
                  </a:lnTo>
                  <a:lnTo>
                    <a:pt x="912" y="258"/>
                  </a:lnTo>
                  <a:lnTo>
                    <a:pt x="912" y="252"/>
                  </a:lnTo>
                  <a:lnTo>
                    <a:pt x="906" y="252"/>
                  </a:lnTo>
                  <a:lnTo>
                    <a:pt x="900" y="246"/>
                  </a:lnTo>
                  <a:lnTo>
                    <a:pt x="900" y="240"/>
                  </a:lnTo>
                  <a:lnTo>
                    <a:pt x="900" y="246"/>
                  </a:lnTo>
                  <a:lnTo>
                    <a:pt x="894" y="246"/>
                  </a:lnTo>
                  <a:lnTo>
                    <a:pt x="894" y="240"/>
                  </a:lnTo>
                  <a:lnTo>
                    <a:pt x="894" y="234"/>
                  </a:lnTo>
                  <a:lnTo>
                    <a:pt x="900" y="234"/>
                  </a:lnTo>
                  <a:lnTo>
                    <a:pt x="900" y="228"/>
                  </a:lnTo>
                  <a:lnTo>
                    <a:pt x="906" y="228"/>
                  </a:lnTo>
                  <a:lnTo>
                    <a:pt x="900" y="222"/>
                  </a:lnTo>
                  <a:lnTo>
                    <a:pt x="894" y="216"/>
                  </a:lnTo>
                  <a:lnTo>
                    <a:pt x="894" y="210"/>
                  </a:lnTo>
                  <a:lnTo>
                    <a:pt x="888" y="210"/>
                  </a:lnTo>
                  <a:lnTo>
                    <a:pt x="888" y="204"/>
                  </a:lnTo>
                  <a:lnTo>
                    <a:pt x="888" y="198"/>
                  </a:lnTo>
                  <a:lnTo>
                    <a:pt x="888" y="192"/>
                  </a:lnTo>
                  <a:lnTo>
                    <a:pt x="882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82" y="174"/>
                  </a:lnTo>
                  <a:lnTo>
                    <a:pt x="888" y="168"/>
                  </a:lnTo>
                  <a:lnTo>
                    <a:pt x="888" y="162"/>
                  </a:lnTo>
                  <a:lnTo>
                    <a:pt x="888" y="156"/>
                  </a:lnTo>
                  <a:lnTo>
                    <a:pt x="888" y="150"/>
                  </a:lnTo>
                  <a:lnTo>
                    <a:pt x="888" y="144"/>
                  </a:lnTo>
                  <a:lnTo>
                    <a:pt x="882" y="144"/>
                  </a:lnTo>
                  <a:lnTo>
                    <a:pt x="882" y="138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76" y="120"/>
                  </a:lnTo>
                  <a:lnTo>
                    <a:pt x="882" y="114"/>
                  </a:lnTo>
                  <a:lnTo>
                    <a:pt x="882" y="108"/>
                  </a:lnTo>
                  <a:lnTo>
                    <a:pt x="888" y="102"/>
                  </a:lnTo>
                  <a:lnTo>
                    <a:pt x="894" y="102"/>
                  </a:lnTo>
                  <a:lnTo>
                    <a:pt x="894" y="96"/>
                  </a:lnTo>
                  <a:lnTo>
                    <a:pt x="888" y="96"/>
                  </a:lnTo>
                  <a:lnTo>
                    <a:pt x="894" y="90"/>
                  </a:lnTo>
                  <a:lnTo>
                    <a:pt x="888" y="84"/>
                  </a:lnTo>
                  <a:lnTo>
                    <a:pt x="888" y="78"/>
                  </a:lnTo>
                  <a:lnTo>
                    <a:pt x="924" y="66"/>
                  </a:lnTo>
                  <a:lnTo>
                    <a:pt x="966" y="66"/>
                  </a:lnTo>
                  <a:lnTo>
                    <a:pt x="996" y="48"/>
                  </a:lnTo>
                  <a:lnTo>
                    <a:pt x="1056" y="12"/>
                  </a:lnTo>
                  <a:lnTo>
                    <a:pt x="1128" y="0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0" y="18"/>
                  </a:lnTo>
                  <a:lnTo>
                    <a:pt x="1176" y="24"/>
                  </a:lnTo>
                  <a:lnTo>
                    <a:pt x="1182" y="24"/>
                  </a:lnTo>
                  <a:lnTo>
                    <a:pt x="1188" y="30"/>
                  </a:lnTo>
                  <a:lnTo>
                    <a:pt x="1194" y="30"/>
                  </a:lnTo>
                  <a:lnTo>
                    <a:pt x="1194" y="36"/>
                  </a:lnTo>
                  <a:lnTo>
                    <a:pt x="1260" y="30"/>
                  </a:lnTo>
                  <a:lnTo>
                    <a:pt x="1272" y="30"/>
                  </a:lnTo>
                  <a:lnTo>
                    <a:pt x="1296" y="24"/>
                  </a:lnTo>
                  <a:lnTo>
                    <a:pt x="1302" y="30"/>
                  </a:lnTo>
                  <a:lnTo>
                    <a:pt x="1302" y="36"/>
                  </a:lnTo>
                  <a:lnTo>
                    <a:pt x="1308" y="36"/>
                  </a:lnTo>
                  <a:lnTo>
                    <a:pt x="1314" y="36"/>
                  </a:lnTo>
                  <a:lnTo>
                    <a:pt x="1320" y="36"/>
                  </a:lnTo>
                  <a:lnTo>
                    <a:pt x="1326" y="30"/>
                  </a:lnTo>
                  <a:lnTo>
                    <a:pt x="1332" y="30"/>
                  </a:lnTo>
                  <a:lnTo>
                    <a:pt x="1338" y="30"/>
                  </a:lnTo>
                  <a:lnTo>
                    <a:pt x="1344" y="30"/>
                  </a:lnTo>
                  <a:lnTo>
                    <a:pt x="1374" y="30"/>
                  </a:lnTo>
                  <a:lnTo>
                    <a:pt x="1386" y="30"/>
                  </a:lnTo>
                  <a:lnTo>
                    <a:pt x="1392" y="24"/>
                  </a:lnTo>
                  <a:lnTo>
                    <a:pt x="1398" y="12"/>
                  </a:lnTo>
                  <a:lnTo>
                    <a:pt x="1404" y="6"/>
                  </a:lnTo>
                  <a:lnTo>
                    <a:pt x="1410" y="6"/>
                  </a:lnTo>
                  <a:lnTo>
                    <a:pt x="1410" y="12"/>
                  </a:lnTo>
                  <a:lnTo>
                    <a:pt x="1416" y="18"/>
                  </a:lnTo>
                  <a:lnTo>
                    <a:pt x="1416" y="36"/>
                  </a:lnTo>
                  <a:lnTo>
                    <a:pt x="1434" y="54"/>
                  </a:lnTo>
                  <a:lnTo>
                    <a:pt x="1434" y="60"/>
                  </a:lnTo>
                  <a:lnTo>
                    <a:pt x="1434" y="66"/>
                  </a:lnTo>
                  <a:lnTo>
                    <a:pt x="1434" y="72"/>
                  </a:lnTo>
                  <a:lnTo>
                    <a:pt x="1428" y="72"/>
                  </a:lnTo>
                  <a:lnTo>
                    <a:pt x="1428" y="78"/>
                  </a:lnTo>
                  <a:lnTo>
                    <a:pt x="1434" y="78"/>
                  </a:lnTo>
                  <a:lnTo>
                    <a:pt x="1440" y="84"/>
                  </a:lnTo>
                  <a:lnTo>
                    <a:pt x="1440" y="90"/>
                  </a:lnTo>
                  <a:lnTo>
                    <a:pt x="1440" y="96"/>
                  </a:lnTo>
                  <a:lnTo>
                    <a:pt x="1446" y="96"/>
                  </a:lnTo>
                  <a:lnTo>
                    <a:pt x="1446" y="108"/>
                  </a:lnTo>
                  <a:lnTo>
                    <a:pt x="1452" y="108"/>
                  </a:lnTo>
                  <a:lnTo>
                    <a:pt x="1452" y="114"/>
                  </a:lnTo>
                  <a:lnTo>
                    <a:pt x="1458" y="114"/>
                  </a:lnTo>
                  <a:lnTo>
                    <a:pt x="1470" y="120"/>
                  </a:lnTo>
                  <a:lnTo>
                    <a:pt x="1476" y="120"/>
                  </a:lnTo>
                  <a:lnTo>
                    <a:pt x="1476" y="114"/>
                  </a:lnTo>
                  <a:lnTo>
                    <a:pt x="1488" y="120"/>
                  </a:lnTo>
                  <a:lnTo>
                    <a:pt x="1506" y="120"/>
                  </a:lnTo>
                  <a:lnTo>
                    <a:pt x="1512" y="120"/>
                  </a:lnTo>
                  <a:lnTo>
                    <a:pt x="1518" y="120"/>
                  </a:lnTo>
                  <a:lnTo>
                    <a:pt x="1524" y="126"/>
                  </a:lnTo>
                  <a:lnTo>
                    <a:pt x="1536" y="150"/>
                  </a:lnTo>
                  <a:lnTo>
                    <a:pt x="1548" y="162"/>
                  </a:lnTo>
                  <a:lnTo>
                    <a:pt x="1554" y="168"/>
                  </a:lnTo>
                  <a:lnTo>
                    <a:pt x="1584" y="228"/>
                  </a:lnTo>
                  <a:lnTo>
                    <a:pt x="1584" y="234"/>
                  </a:lnTo>
                  <a:lnTo>
                    <a:pt x="1578" y="312"/>
                  </a:lnTo>
                  <a:lnTo>
                    <a:pt x="1590" y="318"/>
                  </a:lnTo>
                  <a:lnTo>
                    <a:pt x="1608" y="330"/>
                  </a:lnTo>
                  <a:lnTo>
                    <a:pt x="1620" y="342"/>
                  </a:lnTo>
                  <a:lnTo>
                    <a:pt x="1626" y="342"/>
                  </a:lnTo>
                  <a:lnTo>
                    <a:pt x="1692" y="360"/>
                  </a:lnTo>
                  <a:lnTo>
                    <a:pt x="1710" y="408"/>
                  </a:lnTo>
                  <a:lnTo>
                    <a:pt x="1722" y="426"/>
                  </a:lnTo>
                  <a:lnTo>
                    <a:pt x="1716" y="468"/>
                  </a:lnTo>
                  <a:lnTo>
                    <a:pt x="1686" y="486"/>
                  </a:lnTo>
                  <a:lnTo>
                    <a:pt x="1686" y="492"/>
                  </a:lnTo>
                  <a:lnTo>
                    <a:pt x="1680" y="498"/>
                  </a:lnTo>
                  <a:lnTo>
                    <a:pt x="1650" y="558"/>
                  </a:lnTo>
                  <a:lnTo>
                    <a:pt x="1650" y="570"/>
                  </a:lnTo>
                  <a:lnTo>
                    <a:pt x="1644" y="570"/>
                  </a:lnTo>
                  <a:lnTo>
                    <a:pt x="1638" y="582"/>
                  </a:lnTo>
                  <a:lnTo>
                    <a:pt x="1638" y="624"/>
                  </a:lnTo>
                  <a:lnTo>
                    <a:pt x="1638" y="636"/>
                  </a:lnTo>
                  <a:lnTo>
                    <a:pt x="1638" y="642"/>
                  </a:lnTo>
                  <a:lnTo>
                    <a:pt x="1632" y="660"/>
                  </a:lnTo>
                  <a:lnTo>
                    <a:pt x="1608" y="678"/>
                  </a:lnTo>
                  <a:lnTo>
                    <a:pt x="1584" y="690"/>
                  </a:lnTo>
                  <a:lnTo>
                    <a:pt x="1584" y="696"/>
                  </a:lnTo>
                  <a:lnTo>
                    <a:pt x="1578" y="702"/>
                  </a:lnTo>
                  <a:lnTo>
                    <a:pt x="1584" y="702"/>
                  </a:lnTo>
                  <a:lnTo>
                    <a:pt x="1578" y="714"/>
                  </a:lnTo>
                  <a:lnTo>
                    <a:pt x="1572" y="714"/>
                  </a:lnTo>
                  <a:lnTo>
                    <a:pt x="1572" y="720"/>
                  </a:lnTo>
                  <a:lnTo>
                    <a:pt x="1566" y="720"/>
                  </a:lnTo>
                  <a:lnTo>
                    <a:pt x="1560" y="726"/>
                  </a:lnTo>
                  <a:lnTo>
                    <a:pt x="1560" y="732"/>
                  </a:lnTo>
                  <a:lnTo>
                    <a:pt x="1554" y="732"/>
                  </a:lnTo>
                  <a:lnTo>
                    <a:pt x="1554" y="738"/>
                  </a:lnTo>
                  <a:lnTo>
                    <a:pt x="1554" y="744"/>
                  </a:lnTo>
                  <a:lnTo>
                    <a:pt x="1548" y="744"/>
                  </a:lnTo>
                  <a:lnTo>
                    <a:pt x="1548" y="738"/>
                  </a:lnTo>
                  <a:lnTo>
                    <a:pt x="1542" y="738"/>
                  </a:lnTo>
                  <a:lnTo>
                    <a:pt x="1542" y="744"/>
                  </a:lnTo>
                  <a:lnTo>
                    <a:pt x="1542" y="750"/>
                  </a:lnTo>
                  <a:lnTo>
                    <a:pt x="1494" y="804"/>
                  </a:lnTo>
                  <a:lnTo>
                    <a:pt x="1446" y="876"/>
                  </a:lnTo>
                  <a:lnTo>
                    <a:pt x="1440" y="876"/>
                  </a:lnTo>
                  <a:lnTo>
                    <a:pt x="1434" y="876"/>
                  </a:lnTo>
                  <a:lnTo>
                    <a:pt x="1428" y="882"/>
                  </a:lnTo>
                  <a:lnTo>
                    <a:pt x="1422" y="882"/>
                  </a:lnTo>
                  <a:lnTo>
                    <a:pt x="1386" y="924"/>
                  </a:lnTo>
                  <a:lnTo>
                    <a:pt x="1362" y="954"/>
                  </a:lnTo>
                  <a:lnTo>
                    <a:pt x="1356" y="984"/>
                  </a:lnTo>
                  <a:lnTo>
                    <a:pt x="1362" y="1002"/>
                  </a:lnTo>
                  <a:lnTo>
                    <a:pt x="1368" y="1020"/>
                  </a:lnTo>
                  <a:lnTo>
                    <a:pt x="1386" y="1056"/>
                  </a:lnTo>
                  <a:lnTo>
                    <a:pt x="1404" y="1074"/>
                  </a:lnTo>
                  <a:lnTo>
                    <a:pt x="1416" y="1080"/>
                  </a:lnTo>
                  <a:lnTo>
                    <a:pt x="1416" y="1086"/>
                  </a:lnTo>
                  <a:lnTo>
                    <a:pt x="1422" y="1098"/>
                  </a:lnTo>
                  <a:lnTo>
                    <a:pt x="1422" y="1110"/>
                  </a:lnTo>
                  <a:lnTo>
                    <a:pt x="1428" y="1116"/>
                  </a:lnTo>
                  <a:lnTo>
                    <a:pt x="1434" y="1116"/>
                  </a:lnTo>
                  <a:lnTo>
                    <a:pt x="1434" y="1122"/>
                  </a:lnTo>
                  <a:lnTo>
                    <a:pt x="1434" y="1128"/>
                  </a:lnTo>
                  <a:lnTo>
                    <a:pt x="1440" y="1134"/>
                  </a:lnTo>
                  <a:lnTo>
                    <a:pt x="1446" y="1134"/>
                  </a:lnTo>
                  <a:lnTo>
                    <a:pt x="1458" y="1134"/>
                  </a:lnTo>
                  <a:lnTo>
                    <a:pt x="1458" y="1140"/>
                  </a:lnTo>
                  <a:lnTo>
                    <a:pt x="1464" y="1134"/>
                  </a:lnTo>
                  <a:lnTo>
                    <a:pt x="1470" y="1134"/>
                  </a:lnTo>
                  <a:lnTo>
                    <a:pt x="1464" y="1128"/>
                  </a:lnTo>
                  <a:lnTo>
                    <a:pt x="1464" y="1122"/>
                  </a:lnTo>
                  <a:lnTo>
                    <a:pt x="1470" y="1116"/>
                  </a:lnTo>
                  <a:lnTo>
                    <a:pt x="1470" y="1122"/>
                  </a:lnTo>
                  <a:lnTo>
                    <a:pt x="1476" y="1122"/>
                  </a:lnTo>
                  <a:lnTo>
                    <a:pt x="1476" y="1116"/>
                  </a:lnTo>
                  <a:lnTo>
                    <a:pt x="1482" y="1110"/>
                  </a:lnTo>
                  <a:lnTo>
                    <a:pt x="1476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82" y="1086"/>
                  </a:lnTo>
                  <a:lnTo>
                    <a:pt x="1482" y="1074"/>
                  </a:lnTo>
                  <a:lnTo>
                    <a:pt x="1488" y="1068"/>
                  </a:lnTo>
                  <a:lnTo>
                    <a:pt x="1488" y="1062"/>
                  </a:lnTo>
                  <a:lnTo>
                    <a:pt x="1494" y="1062"/>
                  </a:lnTo>
                  <a:lnTo>
                    <a:pt x="1500" y="1062"/>
                  </a:lnTo>
                  <a:lnTo>
                    <a:pt x="1506" y="1062"/>
                  </a:lnTo>
                  <a:lnTo>
                    <a:pt x="1506" y="1056"/>
                  </a:lnTo>
                  <a:lnTo>
                    <a:pt x="1506" y="1062"/>
                  </a:lnTo>
                  <a:lnTo>
                    <a:pt x="1518" y="1062"/>
                  </a:lnTo>
                  <a:lnTo>
                    <a:pt x="1524" y="1062"/>
                  </a:lnTo>
                  <a:lnTo>
                    <a:pt x="1530" y="1062"/>
                  </a:lnTo>
                  <a:lnTo>
                    <a:pt x="1536" y="1068"/>
                  </a:lnTo>
                  <a:lnTo>
                    <a:pt x="1536" y="1074"/>
                  </a:lnTo>
                  <a:lnTo>
                    <a:pt x="1542" y="1086"/>
                  </a:lnTo>
                  <a:lnTo>
                    <a:pt x="1548" y="1086"/>
                  </a:lnTo>
                  <a:lnTo>
                    <a:pt x="1554" y="1086"/>
                  </a:lnTo>
                  <a:lnTo>
                    <a:pt x="1566" y="1098"/>
                  </a:lnTo>
                  <a:lnTo>
                    <a:pt x="1572" y="1104"/>
                  </a:lnTo>
                  <a:lnTo>
                    <a:pt x="1566" y="1110"/>
                  </a:lnTo>
                  <a:lnTo>
                    <a:pt x="1572" y="1116"/>
                  </a:lnTo>
                  <a:lnTo>
                    <a:pt x="1578" y="1116"/>
                  </a:lnTo>
                  <a:lnTo>
                    <a:pt x="1578" y="1122"/>
                  </a:lnTo>
                  <a:lnTo>
                    <a:pt x="1584" y="1122"/>
                  </a:lnTo>
                  <a:lnTo>
                    <a:pt x="1584" y="1128"/>
                  </a:lnTo>
                  <a:lnTo>
                    <a:pt x="1584" y="1134"/>
                  </a:lnTo>
                  <a:lnTo>
                    <a:pt x="1590" y="1134"/>
                  </a:lnTo>
                  <a:lnTo>
                    <a:pt x="1596" y="1140"/>
                  </a:lnTo>
                  <a:lnTo>
                    <a:pt x="1602" y="1146"/>
                  </a:lnTo>
                  <a:lnTo>
                    <a:pt x="1608" y="1146"/>
                  </a:lnTo>
                  <a:lnTo>
                    <a:pt x="1614" y="1146"/>
                  </a:lnTo>
                  <a:lnTo>
                    <a:pt x="1614" y="1152"/>
                  </a:lnTo>
                  <a:lnTo>
                    <a:pt x="1620" y="1152"/>
                  </a:lnTo>
                  <a:lnTo>
                    <a:pt x="1626" y="1164"/>
                  </a:lnTo>
                  <a:lnTo>
                    <a:pt x="1632" y="1170"/>
                  </a:lnTo>
                  <a:lnTo>
                    <a:pt x="1638" y="1176"/>
                  </a:lnTo>
                  <a:lnTo>
                    <a:pt x="1638" y="1182"/>
                  </a:lnTo>
                  <a:lnTo>
                    <a:pt x="1644" y="1194"/>
                  </a:lnTo>
                  <a:lnTo>
                    <a:pt x="1644" y="1200"/>
                  </a:lnTo>
                  <a:lnTo>
                    <a:pt x="1638" y="1200"/>
                  </a:lnTo>
                  <a:lnTo>
                    <a:pt x="1638" y="1206"/>
                  </a:lnTo>
                  <a:lnTo>
                    <a:pt x="1638" y="1212"/>
                  </a:lnTo>
                  <a:lnTo>
                    <a:pt x="1638" y="1218"/>
                  </a:lnTo>
                  <a:lnTo>
                    <a:pt x="1632" y="1242"/>
                  </a:lnTo>
                  <a:lnTo>
                    <a:pt x="1632" y="1266"/>
                  </a:lnTo>
                  <a:lnTo>
                    <a:pt x="1638" y="1284"/>
                  </a:lnTo>
                  <a:lnTo>
                    <a:pt x="1638" y="1296"/>
                  </a:lnTo>
                  <a:lnTo>
                    <a:pt x="1632" y="1296"/>
                  </a:lnTo>
                  <a:lnTo>
                    <a:pt x="1632" y="1302"/>
                  </a:lnTo>
                  <a:lnTo>
                    <a:pt x="1638" y="1314"/>
                  </a:lnTo>
                  <a:lnTo>
                    <a:pt x="1638" y="1320"/>
                  </a:lnTo>
                  <a:lnTo>
                    <a:pt x="1632" y="1320"/>
                  </a:lnTo>
                  <a:lnTo>
                    <a:pt x="1632" y="1326"/>
                  </a:lnTo>
                  <a:lnTo>
                    <a:pt x="1644" y="1332"/>
                  </a:lnTo>
                  <a:lnTo>
                    <a:pt x="1644" y="1338"/>
                  </a:lnTo>
                  <a:lnTo>
                    <a:pt x="1650" y="1344"/>
                  </a:lnTo>
                  <a:lnTo>
                    <a:pt x="1668" y="1362"/>
                  </a:lnTo>
                  <a:lnTo>
                    <a:pt x="1668" y="1368"/>
                  </a:lnTo>
                  <a:lnTo>
                    <a:pt x="1674" y="1392"/>
                  </a:lnTo>
                  <a:lnTo>
                    <a:pt x="1686" y="140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2" name="Freeform 17">
              <a:extLst>
                <a:ext uri="{FF2B5EF4-FFF2-40B4-BE49-F238E27FC236}">
                  <a16:creationId xmlns:a16="http://schemas.microsoft.com/office/drawing/2014/main" id="{9F9DF7AF-2203-4CCB-AF1B-32CDAF87CC5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416927"/>
              <a:ext cx="816209" cy="574781"/>
            </a:xfrm>
            <a:custGeom>
              <a:avLst/>
              <a:gdLst>
                <a:gd name="T0" fmla="*/ 115 w 1536"/>
                <a:gd name="T1" fmla="*/ 89 h 1080"/>
                <a:gd name="T2" fmla="*/ 113 w 1536"/>
                <a:gd name="T3" fmla="*/ 92 h 1080"/>
                <a:gd name="T4" fmla="*/ 107 w 1536"/>
                <a:gd name="T5" fmla="*/ 93 h 1080"/>
                <a:gd name="T6" fmla="*/ 108 w 1536"/>
                <a:gd name="T7" fmla="*/ 90 h 1080"/>
                <a:gd name="T8" fmla="*/ 105 w 1536"/>
                <a:gd name="T9" fmla="*/ 87 h 1080"/>
                <a:gd name="T10" fmla="*/ 102 w 1536"/>
                <a:gd name="T11" fmla="*/ 85 h 1080"/>
                <a:gd name="T12" fmla="*/ 89 w 1536"/>
                <a:gd name="T13" fmla="*/ 80 h 1080"/>
                <a:gd name="T14" fmla="*/ 85 w 1536"/>
                <a:gd name="T15" fmla="*/ 82 h 1080"/>
                <a:gd name="T16" fmla="*/ 82 w 1536"/>
                <a:gd name="T17" fmla="*/ 80 h 1080"/>
                <a:gd name="T18" fmla="*/ 80 w 1536"/>
                <a:gd name="T19" fmla="*/ 75 h 1080"/>
                <a:gd name="T20" fmla="*/ 75 w 1536"/>
                <a:gd name="T21" fmla="*/ 72 h 1080"/>
                <a:gd name="T22" fmla="*/ 61 w 1536"/>
                <a:gd name="T23" fmla="*/ 70 h 1080"/>
                <a:gd name="T24" fmla="*/ 62 w 1536"/>
                <a:gd name="T25" fmla="*/ 72 h 1080"/>
                <a:gd name="T26" fmla="*/ 58 w 1536"/>
                <a:gd name="T27" fmla="*/ 75 h 1080"/>
                <a:gd name="T28" fmla="*/ 49 w 1536"/>
                <a:gd name="T29" fmla="*/ 76 h 1080"/>
                <a:gd name="T30" fmla="*/ 41 w 1536"/>
                <a:gd name="T31" fmla="*/ 79 h 1080"/>
                <a:gd name="T32" fmla="*/ 41 w 1536"/>
                <a:gd name="T33" fmla="*/ 77 h 1080"/>
                <a:gd name="T34" fmla="*/ 39 w 1536"/>
                <a:gd name="T35" fmla="*/ 74 h 1080"/>
                <a:gd name="T36" fmla="*/ 28 w 1536"/>
                <a:gd name="T37" fmla="*/ 78 h 1080"/>
                <a:gd name="T38" fmla="*/ 18 w 1536"/>
                <a:gd name="T39" fmla="*/ 85 h 1080"/>
                <a:gd name="T40" fmla="*/ 18 w 1536"/>
                <a:gd name="T41" fmla="*/ 77 h 1080"/>
                <a:gd name="T42" fmla="*/ 19 w 1536"/>
                <a:gd name="T43" fmla="*/ 69 h 1080"/>
                <a:gd name="T44" fmla="*/ 16 w 1536"/>
                <a:gd name="T45" fmla="*/ 69 h 1080"/>
                <a:gd name="T46" fmla="*/ 11 w 1536"/>
                <a:gd name="T47" fmla="*/ 69 h 1080"/>
                <a:gd name="T48" fmla="*/ 5 w 1536"/>
                <a:gd name="T49" fmla="*/ 68 h 1080"/>
                <a:gd name="T50" fmla="*/ 1 w 1536"/>
                <a:gd name="T51" fmla="*/ 63 h 1080"/>
                <a:gd name="T52" fmla="*/ 3 w 1536"/>
                <a:gd name="T53" fmla="*/ 59 h 1080"/>
                <a:gd name="T54" fmla="*/ 9 w 1536"/>
                <a:gd name="T55" fmla="*/ 54 h 1080"/>
                <a:gd name="T56" fmla="*/ 15 w 1536"/>
                <a:gd name="T57" fmla="*/ 47 h 1080"/>
                <a:gd name="T58" fmla="*/ 17 w 1536"/>
                <a:gd name="T59" fmla="*/ 40 h 1080"/>
                <a:gd name="T60" fmla="*/ 12 w 1536"/>
                <a:gd name="T61" fmla="*/ 33 h 1080"/>
                <a:gd name="T62" fmla="*/ 10 w 1536"/>
                <a:gd name="T63" fmla="*/ 21 h 1080"/>
                <a:gd name="T64" fmla="*/ 6 w 1536"/>
                <a:gd name="T65" fmla="*/ 14 h 1080"/>
                <a:gd name="T66" fmla="*/ 7 w 1536"/>
                <a:gd name="T67" fmla="*/ 9 h 1080"/>
                <a:gd name="T68" fmla="*/ 12 w 1536"/>
                <a:gd name="T69" fmla="*/ 7 h 1080"/>
                <a:gd name="T70" fmla="*/ 16 w 1536"/>
                <a:gd name="T71" fmla="*/ 8 h 1080"/>
                <a:gd name="T72" fmla="*/ 19 w 1536"/>
                <a:gd name="T73" fmla="*/ 8 h 1080"/>
                <a:gd name="T74" fmla="*/ 22 w 1536"/>
                <a:gd name="T75" fmla="*/ 9 h 1080"/>
                <a:gd name="T76" fmla="*/ 29 w 1536"/>
                <a:gd name="T77" fmla="*/ 12 h 1080"/>
                <a:gd name="T78" fmla="*/ 33 w 1536"/>
                <a:gd name="T79" fmla="*/ 13 h 1080"/>
                <a:gd name="T80" fmla="*/ 38 w 1536"/>
                <a:gd name="T81" fmla="*/ 15 h 1080"/>
                <a:gd name="T82" fmla="*/ 42 w 1536"/>
                <a:gd name="T83" fmla="*/ 17 h 1080"/>
                <a:gd name="T84" fmla="*/ 47 w 1536"/>
                <a:gd name="T85" fmla="*/ 19 h 1080"/>
                <a:gd name="T86" fmla="*/ 51 w 1536"/>
                <a:gd name="T87" fmla="*/ 21 h 1080"/>
                <a:gd name="T88" fmla="*/ 50 w 1536"/>
                <a:gd name="T89" fmla="*/ 15 h 1080"/>
                <a:gd name="T90" fmla="*/ 56 w 1536"/>
                <a:gd name="T91" fmla="*/ 0 h 1080"/>
                <a:gd name="T92" fmla="*/ 74 w 1536"/>
                <a:gd name="T93" fmla="*/ 5 h 1080"/>
                <a:gd name="T94" fmla="*/ 87 w 1536"/>
                <a:gd name="T95" fmla="*/ 6 h 1080"/>
                <a:gd name="T96" fmla="*/ 92 w 1536"/>
                <a:gd name="T97" fmla="*/ 11 h 1080"/>
                <a:gd name="T98" fmla="*/ 95 w 1536"/>
                <a:gd name="T99" fmla="*/ 15 h 1080"/>
                <a:gd name="T100" fmla="*/ 93 w 1536"/>
                <a:gd name="T101" fmla="*/ 20 h 1080"/>
                <a:gd name="T102" fmla="*/ 108 w 1536"/>
                <a:gd name="T103" fmla="*/ 18 h 1080"/>
                <a:gd name="T104" fmla="*/ 120 w 1536"/>
                <a:gd name="T105" fmla="*/ 21 h 1080"/>
                <a:gd name="T106" fmla="*/ 127 w 1536"/>
                <a:gd name="T107" fmla="*/ 29 h 1080"/>
                <a:gd name="T108" fmla="*/ 130 w 1536"/>
                <a:gd name="T109" fmla="*/ 30 h 1080"/>
                <a:gd name="T110" fmla="*/ 130 w 1536"/>
                <a:gd name="T111" fmla="*/ 49 h 1080"/>
                <a:gd name="T112" fmla="*/ 120 w 1536"/>
                <a:gd name="T113" fmla="*/ 69 h 1080"/>
                <a:gd name="T114" fmla="*/ 119 w 1536"/>
                <a:gd name="T115" fmla="*/ 74 h 1080"/>
                <a:gd name="T116" fmla="*/ 118 w 1536"/>
                <a:gd name="T117" fmla="*/ 80 h 108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536"/>
                <a:gd name="T178" fmla="*/ 0 h 1080"/>
                <a:gd name="T179" fmla="*/ 1536 w 1536"/>
                <a:gd name="T180" fmla="*/ 1080 h 108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536" h="1080">
                  <a:moveTo>
                    <a:pt x="1350" y="1020"/>
                  </a:moveTo>
                  <a:lnTo>
                    <a:pt x="1350" y="1026"/>
                  </a:lnTo>
                  <a:lnTo>
                    <a:pt x="1344" y="1026"/>
                  </a:lnTo>
                  <a:lnTo>
                    <a:pt x="1338" y="1032"/>
                  </a:lnTo>
                  <a:lnTo>
                    <a:pt x="1332" y="1026"/>
                  </a:lnTo>
                  <a:lnTo>
                    <a:pt x="1326" y="1026"/>
                  </a:lnTo>
                  <a:lnTo>
                    <a:pt x="1320" y="1020"/>
                  </a:lnTo>
                  <a:lnTo>
                    <a:pt x="1314" y="1026"/>
                  </a:lnTo>
                  <a:lnTo>
                    <a:pt x="1314" y="1032"/>
                  </a:lnTo>
                  <a:lnTo>
                    <a:pt x="1308" y="1038"/>
                  </a:lnTo>
                  <a:lnTo>
                    <a:pt x="1308" y="1044"/>
                  </a:lnTo>
                  <a:lnTo>
                    <a:pt x="1308" y="1050"/>
                  </a:lnTo>
                  <a:lnTo>
                    <a:pt x="1308" y="1056"/>
                  </a:lnTo>
                  <a:lnTo>
                    <a:pt x="1308" y="1062"/>
                  </a:lnTo>
                  <a:lnTo>
                    <a:pt x="1296" y="1068"/>
                  </a:lnTo>
                  <a:lnTo>
                    <a:pt x="1284" y="1074"/>
                  </a:lnTo>
                  <a:lnTo>
                    <a:pt x="1272" y="1080"/>
                  </a:lnTo>
                  <a:lnTo>
                    <a:pt x="1260" y="1080"/>
                  </a:lnTo>
                  <a:lnTo>
                    <a:pt x="1254" y="1074"/>
                  </a:lnTo>
                  <a:lnTo>
                    <a:pt x="1236" y="1074"/>
                  </a:lnTo>
                  <a:lnTo>
                    <a:pt x="1230" y="1074"/>
                  </a:lnTo>
                  <a:lnTo>
                    <a:pt x="1236" y="1074"/>
                  </a:lnTo>
                  <a:lnTo>
                    <a:pt x="1236" y="1068"/>
                  </a:lnTo>
                  <a:lnTo>
                    <a:pt x="1236" y="1062"/>
                  </a:lnTo>
                  <a:lnTo>
                    <a:pt x="1236" y="1056"/>
                  </a:lnTo>
                  <a:lnTo>
                    <a:pt x="1242" y="1050"/>
                  </a:lnTo>
                  <a:lnTo>
                    <a:pt x="1242" y="1044"/>
                  </a:lnTo>
                  <a:lnTo>
                    <a:pt x="1242" y="1038"/>
                  </a:lnTo>
                  <a:lnTo>
                    <a:pt x="1248" y="1032"/>
                  </a:lnTo>
                  <a:lnTo>
                    <a:pt x="1236" y="1026"/>
                  </a:lnTo>
                  <a:lnTo>
                    <a:pt x="1218" y="1020"/>
                  </a:lnTo>
                  <a:lnTo>
                    <a:pt x="1224" y="1014"/>
                  </a:lnTo>
                  <a:lnTo>
                    <a:pt x="1218" y="1008"/>
                  </a:lnTo>
                  <a:lnTo>
                    <a:pt x="1218" y="1002"/>
                  </a:lnTo>
                  <a:lnTo>
                    <a:pt x="1212" y="1008"/>
                  </a:lnTo>
                  <a:lnTo>
                    <a:pt x="1206" y="1002"/>
                  </a:lnTo>
                  <a:lnTo>
                    <a:pt x="1212" y="1002"/>
                  </a:lnTo>
                  <a:lnTo>
                    <a:pt x="1212" y="996"/>
                  </a:lnTo>
                  <a:lnTo>
                    <a:pt x="1200" y="990"/>
                  </a:lnTo>
                  <a:lnTo>
                    <a:pt x="1200" y="984"/>
                  </a:lnTo>
                  <a:lnTo>
                    <a:pt x="1188" y="984"/>
                  </a:lnTo>
                  <a:lnTo>
                    <a:pt x="1176" y="978"/>
                  </a:lnTo>
                  <a:lnTo>
                    <a:pt x="1164" y="960"/>
                  </a:lnTo>
                  <a:lnTo>
                    <a:pt x="1152" y="936"/>
                  </a:lnTo>
                  <a:lnTo>
                    <a:pt x="1146" y="936"/>
                  </a:lnTo>
                  <a:lnTo>
                    <a:pt x="1128" y="900"/>
                  </a:lnTo>
                  <a:lnTo>
                    <a:pt x="1038" y="912"/>
                  </a:lnTo>
                  <a:lnTo>
                    <a:pt x="1038" y="918"/>
                  </a:lnTo>
                  <a:lnTo>
                    <a:pt x="1032" y="924"/>
                  </a:lnTo>
                  <a:lnTo>
                    <a:pt x="1026" y="918"/>
                  </a:lnTo>
                  <a:lnTo>
                    <a:pt x="1020" y="924"/>
                  </a:lnTo>
                  <a:lnTo>
                    <a:pt x="1008" y="936"/>
                  </a:lnTo>
                  <a:lnTo>
                    <a:pt x="990" y="936"/>
                  </a:lnTo>
                  <a:lnTo>
                    <a:pt x="990" y="942"/>
                  </a:lnTo>
                  <a:lnTo>
                    <a:pt x="996" y="942"/>
                  </a:lnTo>
                  <a:lnTo>
                    <a:pt x="984" y="948"/>
                  </a:lnTo>
                  <a:lnTo>
                    <a:pt x="972" y="948"/>
                  </a:lnTo>
                  <a:lnTo>
                    <a:pt x="960" y="948"/>
                  </a:lnTo>
                  <a:lnTo>
                    <a:pt x="948" y="942"/>
                  </a:lnTo>
                  <a:lnTo>
                    <a:pt x="948" y="936"/>
                  </a:lnTo>
                  <a:lnTo>
                    <a:pt x="942" y="936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30" y="924"/>
                  </a:lnTo>
                  <a:lnTo>
                    <a:pt x="936" y="918"/>
                  </a:lnTo>
                  <a:lnTo>
                    <a:pt x="918" y="918"/>
                  </a:lnTo>
                  <a:lnTo>
                    <a:pt x="918" y="900"/>
                  </a:lnTo>
                  <a:lnTo>
                    <a:pt x="924" y="900"/>
                  </a:lnTo>
                  <a:lnTo>
                    <a:pt x="924" y="894"/>
                  </a:lnTo>
                  <a:lnTo>
                    <a:pt x="924" y="870"/>
                  </a:lnTo>
                  <a:lnTo>
                    <a:pt x="924" y="864"/>
                  </a:lnTo>
                  <a:lnTo>
                    <a:pt x="918" y="858"/>
                  </a:lnTo>
                  <a:lnTo>
                    <a:pt x="918" y="852"/>
                  </a:lnTo>
                  <a:lnTo>
                    <a:pt x="906" y="840"/>
                  </a:lnTo>
                  <a:lnTo>
                    <a:pt x="894" y="834"/>
                  </a:lnTo>
                  <a:lnTo>
                    <a:pt x="876" y="822"/>
                  </a:lnTo>
                  <a:lnTo>
                    <a:pt x="870" y="828"/>
                  </a:lnTo>
                  <a:lnTo>
                    <a:pt x="858" y="816"/>
                  </a:lnTo>
                  <a:lnTo>
                    <a:pt x="810" y="798"/>
                  </a:lnTo>
                  <a:lnTo>
                    <a:pt x="774" y="792"/>
                  </a:lnTo>
                  <a:lnTo>
                    <a:pt x="732" y="798"/>
                  </a:lnTo>
                  <a:lnTo>
                    <a:pt x="726" y="804"/>
                  </a:lnTo>
                  <a:lnTo>
                    <a:pt x="714" y="810"/>
                  </a:lnTo>
                  <a:lnTo>
                    <a:pt x="702" y="810"/>
                  </a:lnTo>
                  <a:lnTo>
                    <a:pt x="690" y="810"/>
                  </a:lnTo>
                  <a:lnTo>
                    <a:pt x="696" y="816"/>
                  </a:lnTo>
                  <a:lnTo>
                    <a:pt x="696" y="822"/>
                  </a:lnTo>
                  <a:lnTo>
                    <a:pt x="702" y="822"/>
                  </a:lnTo>
                  <a:lnTo>
                    <a:pt x="708" y="822"/>
                  </a:lnTo>
                  <a:lnTo>
                    <a:pt x="708" y="828"/>
                  </a:lnTo>
                  <a:lnTo>
                    <a:pt x="708" y="834"/>
                  </a:lnTo>
                  <a:lnTo>
                    <a:pt x="714" y="834"/>
                  </a:lnTo>
                  <a:lnTo>
                    <a:pt x="708" y="846"/>
                  </a:lnTo>
                  <a:lnTo>
                    <a:pt x="708" y="852"/>
                  </a:lnTo>
                  <a:lnTo>
                    <a:pt x="702" y="852"/>
                  </a:lnTo>
                  <a:lnTo>
                    <a:pt x="696" y="858"/>
                  </a:lnTo>
                  <a:lnTo>
                    <a:pt x="690" y="864"/>
                  </a:lnTo>
                  <a:lnTo>
                    <a:pt x="666" y="870"/>
                  </a:lnTo>
                  <a:lnTo>
                    <a:pt x="660" y="876"/>
                  </a:lnTo>
                  <a:lnTo>
                    <a:pt x="642" y="876"/>
                  </a:lnTo>
                  <a:lnTo>
                    <a:pt x="606" y="882"/>
                  </a:lnTo>
                  <a:lnTo>
                    <a:pt x="588" y="882"/>
                  </a:lnTo>
                  <a:lnTo>
                    <a:pt x="582" y="876"/>
                  </a:lnTo>
                  <a:lnTo>
                    <a:pt x="576" y="876"/>
                  </a:lnTo>
                  <a:lnTo>
                    <a:pt x="564" y="876"/>
                  </a:lnTo>
                  <a:lnTo>
                    <a:pt x="552" y="882"/>
                  </a:lnTo>
                  <a:lnTo>
                    <a:pt x="540" y="894"/>
                  </a:lnTo>
                  <a:lnTo>
                    <a:pt x="534" y="906"/>
                  </a:lnTo>
                  <a:lnTo>
                    <a:pt x="528" y="912"/>
                  </a:lnTo>
                  <a:lnTo>
                    <a:pt x="516" y="924"/>
                  </a:lnTo>
                  <a:lnTo>
                    <a:pt x="486" y="930"/>
                  </a:lnTo>
                  <a:lnTo>
                    <a:pt x="474" y="912"/>
                  </a:lnTo>
                  <a:lnTo>
                    <a:pt x="474" y="906"/>
                  </a:lnTo>
                  <a:lnTo>
                    <a:pt x="468" y="906"/>
                  </a:lnTo>
                  <a:lnTo>
                    <a:pt x="468" y="900"/>
                  </a:lnTo>
                  <a:lnTo>
                    <a:pt x="462" y="894"/>
                  </a:lnTo>
                  <a:lnTo>
                    <a:pt x="456" y="894"/>
                  </a:lnTo>
                  <a:lnTo>
                    <a:pt x="462" y="888"/>
                  </a:lnTo>
                  <a:lnTo>
                    <a:pt x="468" y="888"/>
                  </a:lnTo>
                  <a:lnTo>
                    <a:pt x="462" y="882"/>
                  </a:lnTo>
                  <a:lnTo>
                    <a:pt x="462" y="876"/>
                  </a:lnTo>
                  <a:lnTo>
                    <a:pt x="456" y="870"/>
                  </a:lnTo>
                  <a:lnTo>
                    <a:pt x="456" y="864"/>
                  </a:lnTo>
                  <a:lnTo>
                    <a:pt x="450" y="858"/>
                  </a:lnTo>
                  <a:lnTo>
                    <a:pt x="444" y="858"/>
                  </a:lnTo>
                  <a:lnTo>
                    <a:pt x="444" y="852"/>
                  </a:lnTo>
                  <a:lnTo>
                    <a:pt x="438" y="852"/>
                  </a:lnTo>
                  <a:lnTo>
                    <a:pt x="438" y="858"/>
                  </a:lnTo>
                  <a:lnTo>
                    <a:pt x="402" y="870"/>
                  </a:lnTo>
                  <a:lnTo>
                    <a:pt x="390" y="882"/>
                  </a:lnTo>
                  <a:lnTo>
                    <a:pt x="384" y="900"/>
                  </a:lnTo>
                  <a:lnTo>
                    <a:pt x="342" y="900"/>
                  </a:lnTo>
                  <a:lnTo>
                    <a:pt x="324" y="900"/>
                  </a:lnTo>
                  <a:lnTo>
                    <a:pt x="294" y="906"/>
                  </a:lnTo>
                  <a:lnTo>
                    <a:pt x="282" y="948"/>
                  </a:lnTo>
                  <a:lnTo>
                    <a:pt x="282" y="978"/>
                  </a:lnTo>
                  <a:lnTo>
                    <a:pt x="270" y="1008"/>
                  </a:lnTo>
                  <a:lnTo>
                    <a:pt x="240" y="1014"/>
                  </a:lnTo>
                  <a:lnTo>
                    <a:pt x="216" y="996"/>
                  </a:lnTo>
                  <a:lnTo>
                    <a:pt x="204" y="984"/>
                  </a:lnTo>
                  <a:lnTo>
                    <a:pt x="192" y="966"/>
                  </a:lnTo>
                  <a:lnTo>
                    <a:pt x="186" y="948"/>
                  </a:lnTo>
                  <a:lnTo>
                    <a:pt x="174" y="948"/>
                  </a:lnTo>
                  <a:lnTo>
                    <a:pt x="174" y="936"/>
                  </a:lnTo>
                  <a:lnTo>
                    <a:pt x="186" y="924"/>
                  </a:lnTo>
                  <a:lnTo>
                    <a:pt x="198" y="906"/>
                  </a:lnTo>
                  <a:lnTo>
                    <a:pt x="204" y="888"/>
                  </a:lnTo>
                  <a:lnTo>
                    <a:pt x="222" y="870"/>
                  </a:lnTo>
                  <a:lnTo>
                    <a:pt x="234" y="858"/>
                  </a:lnTo>
                  <a:lnTo>
                    <a:pt x="234" y="852"/>
                  </a:lnTo>
                  <a:lnTo>
                    <a:pt x="222" y="852"/>
                  </a:lnTo>
                  <a:lnTo>
                    <a:pt x="228" y="810"/>
                  </a:lnTo>
                  <a:lnTo>
                    <a:pt x="222" y="798"/>
                  </a:lnTo>
                  <a:lnTo>
                    <a:pt x="216" y="798"/>
                  </a:lnTo>
                  <a:lnTo>
                    <a:pt x="216" y="792"/>
                  </a:lnTo>
                  <a:lnTo>
                    <a:pt x="210" y="792"/>
                  </a:lnTo>
                  <a:lnTo>
                    <a:pt x="204" y="798"/>
                  </a:lnTo>
                  <a:lnTo>
                    <a:pt x="204" y="792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0" y="786"/>
                  </a:lnTo>
                  <a:lnTo>
                    <a:pt x="174" y="792"/>
                  </a:lnTo>
                  <a:lnTo>
                    <a:pt x="162" y="792"/>
                  </a:lnTo>
                  <a:lnTo>
                    <a:pt x="156" y="792"/>
                  </a:lnTo>
                  <a:lnTo>
                    <a:pt x="156" y="798"/>
                  </a:lnTo>
                  <a:lnTo>
                    <a:pt x="138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6" y="804"/>
                  </a:lnTo>
                  <a:lnTo>
                    <a:pt x="102" y="810"/>
                  </a:lnTo>
                  <a:lnTo>
                    <a:pt x="90" y="810"/>
                  </a:lnTo>
                  <a:lnTo>
                    <a:pt x="72" y="798"/>
                  </a:lnTo>
                  <a:lnTo>
                    <a:pt x="66" y="780"/>
                  </a:lnTo>
                  <a:lnTo>
                    <a:pt x="60" y="780"/>
                  </a:lnTo>
                  <a:lnTo>
                    <a:pt x="60" y="768"/>
                  </a:lnTo>
                  <a:lnTo>
                    <a:pt x="54" y="768"/>
                  </a:lnTo>
                  <a:lnTo>
                    <a:pt x="24" y="756"/>
                  </a:lnTo>
                  <a:lnTo>
                    <a:pt x="18" y="744"/>
                  </a:lnTo>
                  <a:lnTo>
                    <a:pt x="12" y="738"/>
                  </a:lnTo>
                  <a:lnTo>
                    <a:pt x="18" y="732"/>
                  </a:lnTo>
                  <a:lnTo>
                    <a:pt x="12" y="726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8" y="696"/>
                  </a:lnTo>
                  <a:lnTo>
                    <a:pt x="24" y="708"/>
                  </a:lnTo>
                  <a:lnTo>
                    <a:pt x="36" y="702"/>
                  </a:lnTo>
                  <a:lnTo>
                    <a:pt x="36" y="678"/>
                  </a:lnTo>
                  <a:lnTo>
                    <a:pt x="36" y="660"/>
                  </a:lnTo>
                  <a:lnTo>
                    <a:pt x="42" y="654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72" y="624"/>
                  </a:lnTo>
                  <a:lnTo>
                    <a:pt x="90" y="618"/>
                  </a:lnTo>
                  <a:lnTo>
                    <a:pt x="102" y="618"/>
                  </a:lnTo>
                  <a:lnTo>
                    <a:pt x="114" y="612"/>
                  </a:lnTo>
                  <a:lnTo>
                    <a:pt x="138" y="606"/>
                  </a:lnTo>
                  <a:lnTo>
                    <a:pt x="144" y="606"/>
                  </a:lnTo>
                  <a:lnTo>
                    <a:pt x="150" y="594"/>
                  </a:lnTo>
                  <a:lnTo>
                    <a:pt x="156" y="576"/>
                  </a:lnTo>
                  <a:lnTo>
                    <a:pt x="168" y="552"/>
                  </a:lnTo>
                  <a:lnTo>
                    <a:pt x="168" y="540"/>
                  </a:lnTo>
                  <a:lnTo>
                    <a:pt x="180" y="522"/>
                  </a:lnTo>
                  <a:lnTo>
                    <a:pt x="186" y="498"/>
                  </a:lnTo>
                  <a:lnTo>
                    <a:pt x="198" y="480"/>
                  </a:lnTo>
                  <a:lnTo>
                    <a:pt x="204" y="486"/>
                  </a:lnTo>
                  <a:lnTo>
                    <a:pt x="210" y="480"/>
                  </a:lnTo>
                  <a:lnTo>
                    <a:pt x="204" y="474"/>
                  </a:lnTo>
                  <a:lnTo>
                    <a:pt x="198" y="462"/>
                  </a:lnTo>
                  <a:lnTo>
                    <a:pt x="192" y="456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50"/>
                  </a:lnTo>
                  <a:lnTo>
                    <a:pt x="132" y="426"/>
                  </a:lnTo>
                  <a:lnTo>
                    <a:pt x="132" y="396"/>
                  </a:lnTo>
                  <a:lnTo>
                    <a:pt x="132" y="378"/>
                  </a:lnTo>
                  <a:lnTo>
                    <a:pt x="126" y="348"/>
                  </a:lnTo>
                  <a:lnTo>
                    <a:pt x="132" y="312"/>
                  </a:lnTo>
                  <a:lnTo>
                    <a:pt x="126" y="288"/>
                  </a:lnTo>
                  <a:lnTo>
                    <a:pt x="138" y="282"/>
                  </a:lnTo>
                  <a:lnTo>
                    <a:pt x="126" y="264"/>
                  </a:lnTo>
                  <a:lnTo>
                    <a:pt x="126" y="258"/>
                  </a:lnTo>
                  <a:lnTo>
                    <a:pt x="120" y="246"/>
                  </a:lnTo>
                  <a:lnTo>
                    <a:pt x="126" y="234"/>
                  </a:lnTo>
                  <a:lnTo>
                    <a:pt x="114" y="228"/>
                  </a:lnTo>
                  <a:lnTo>
                    <a:pt x="114" y="222"/>
                  </a:lnTo>
                  <a:lnTo>
                    <a:pt x="96" y="204"/>
                  </a:lnTo>
                  <a:lnTo>
                    <a:pt x="84" y="180"/>
                  </a:lnTo>
                  <a:lnTo>
                    <a:pt x="78" y="168"/>
                  </a:lnTo>
                  <a:lnTo>
                    <a:pt x="72" y="162"/>
                  </a:lnTo>
                  <a:lnTo>
                    <a:pt x="66" y="144"/>
                  </a:lnTo>
                  <a:lnTo>
                    <a:pt x="60" y="138"/>
                  </a:lnTo>
                  <a:lnTo>
                    <a:pt x="66" y="126"/>
                  </a:lnTo>
                  <a:lnTo>
                    <a:pt x="66" y="114"/>
                  </a:lnTo>
                  <a:lnTo>
                    <a:pt x="72" y="114"/>
                  </a:lnTo>
                  <a:lnTo>
                    <a:pt x="72" y="108"/>
                  </a:lnTo>
                  <a:lnTo>
                    <a:pt x="78" y="102"/>
                  </a:lnTo>
                  <a:lnTo>
                    <a:pt x="78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120" y="78"/>
                  </a:lnTo>
                  <a:lnTo>
                    <a:pt x="144" y="84"/>
                  </a:lnTo>
                  <a:lnTo>
                    <a:pt x="150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74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92" y="102"/>
                  </a:lnTo>
                  <a:lnTo>
                    <a:pt x="198" y="96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16" y="96"/>
                  </a:lnTo>
                  <a:lnTo>
                    <a:pt x="222" y="96"/>
                  </a:lnTo>
                  <a:lnTo>
                    <a:pt x="228" y="96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94" y="114"/>
                  </a:lnTo>
                  <a:lnTo>
                    <a:pt x="312" y="120"/>
                  </a:lnTo>
                  <a:lnTo>
                    <a:pt x="318" y="126"/>
                  </a:lnTo>
                  <a:lnTo>
                    <a:pt x="330" y="132"/>
                  </a:lnTo>
                  <a:lnTo>
                    <a:pt x="342" y="132"/>
                  </a:lnTo>
                  <a:lnTo>
                    <a:pt x="348" y="132"/>
                  </a:lnTo>
                  <a:lnTo>
                    <a:pt x="354" y="138"/>
                  </a:lnTo>
                  <a:lnTo>
                    <a:pt x="366" y="138"/>
                  </a:lnTo>
                  <a:lnTo>
                    <a:pt x="372" y="144"/>
                  </a:lnTo>
                  <a:lnTo>
                    <a:pt x="378" y="150"/>
                  </a:lnTo>
                  <a:lnTo>
                    <a:pt x="384" y="150"/>
                  </a:lnTo>
                  <a:lnTo>
                    <a:pt x="390" y="150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14" y="156"/>
                  </a:lnTo>
                  <a:lnTo>
                    <a:pt x="420" y="156"/>
                  </a:lnTo>
                  <a:lnTo>
                    <a:pt x="426" y="162"/>
                  </a:lnTo>
                  <a:lnTo>
                    <a:pt x="438" y="168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62" y="174"/>
                  </a:lnTo>
                  <a:lnTo>
                    <a:pt x="468" y="174"/>
                  </a:lnTo>
                  <a:lnTo>
                    <a:pt x="474" y="174"/>
                  </a:lnTo>
                  <a:lnTo>
                    <a:pt x="474" y="180"/>
                  </a:lnTo>
                  <a:lnTo>
                    <a:pt x="480" y="192"/>
                  </a:lnTo>
                  <a:lnTo>
                    <a:pt x="498" y="198"/>
                  </a:lnTo>
                  <a:lnTo>
                    <a:pt x="510" y="210"/>
                  </a:lnTo>
                  <a:lnTo>
                    <a:pt x="516" y="210"/>
                  </a:lnTo>
                  <a:lnTo>
                    <a:pt x="522" y="210"/>
                  </a:lnTo>
                  <a:lnTo>
                    <a:pt x="534" y="216"/>
                  </a:lnTo>
                  <a:lnTo>
                    <a:pt x="540" y="216"/>
                  </a:lnTo>
                  <a:lnTo>
                    <a:pt x="546" y="222"/>
                  </a:lnTo>
                  <a:lnTo>
                    <a:pt x="552" y="222"/>
                  </a:lnTo>
                  <a:lnTo>
                    <a:pt x="558" y="228"/>
                  </a:lnTo>
                  <a:lnTo>
                    <a:pt x="564" y="228"/>
                  </a:lnTo>
                  <a:lnTo>
                    <a:pt x="570" y="234"/>
                  </a:lnTo>
                  <a:lnTo>
                    <a:pt x="576" y="240"/>
                  </a:lnTo>
                  <a:lnTo>
                    <a:pt x="582" y="240"/>
                  </a:lnTo>
                  <a:lnTo>
                    <a:pt x="588" y="240"/>
                  </a:lnTo>
                  <a:lnTo>
                    <a:pt x="594" y="240"/>
                  </a:lnTo>
                  <a:lnTo>
                    <a:pt x="600" y="228"/>
                  </a:lnTo>
                  <a:lnTo>
                    <a:pt x="588" y="216"/>
                  </a:lnTo>
                  <a:lnTo>
                    <a:pt x="588" y="198"/>
                  </a:lnTo>
                  <a:lnTo>
                    <a:pt x="582" y="198"/>
                  </a:lnTo>
                  <a:lnTo>
                    <a:pt x="588" y="192"/>
                  </a:lnTo>
                  <a:lnTo>
                    <a:pt x="582" y="168"/>
                  </a:lnTo>
                  <a:lnTo>
                    <a:pt x="558" y="114"/>
                  </a:lnTo>
                  <a:lnTo>
                    <a:pt x="552" y="90"/>
                  </a:lnTo>
                  <a:lnTo>
                    <a:pt x="558" y="60"/>
                  </a:lnTo>
                  <a:lnTo>
                    <a:pt x="564" y="48"/>
                  </a:lnTo>
                  <a:lnTo>
                    <a:pt x="582" y="42"/>
                  </a:lnTo>
                  <a:lnTo>
                    <a:pt x="624" y="6"/>
                  </a:lnTo>
                  <a:lnTo>
                    <a:pt x="648" y="0"/>
                  </a:lnTo>
                  <a:lnTo>
                    <a:pt x="678" y="0"/>
                  </a:lnTo>
                  <a:lnTo>
                    <a:pt x="720" y="12"/>
                  </a:lnTo>
                  <a:lnTo>
                    <a:pt x="744" y="24"/>
                  </a:lnTo>
                  <a:lnTo>
                    <a:pt x="768" y="42"/>
                  </a:lnTo>
                  <a:lnTo>
                    <a:pt x="816" y="48"/>
                  </a:lnTo>
                  <a:lnTo>
                    <a:pt x="834" y="48"/>
                  </a:lnTo>
                  <a:lnTo>
                    <a:pt x="852" y="54"/>
                  </a:lnTo>
                  <a:lnTo>
                    <a:pt x="906" y="60"/>
                  </a:lnTo>
                  <a:lnTo>
                    <a:pt x="948" y="54"/>
                  </a:lnTo>
                  <a:lnTo>
                    <a:pt x="978" y="42"/>
                  </a:lnTo>
                  <a:lnTo>
                    <a:pt x="984" y="48"/>
                  </a:lnTo>
                  <a:lnTo>
                    <a:pt x="990" y="60"/>
                  </a:lnTo>
                  <a:lnTo>
                    <a:pt x="996" y="66"/>
                  </a:lnTo>
                  <a:lnTo>
                    <a:pt x="1002" y="72"/>
                  </a:lnTo>
                  <a:lnTo>
                    <a:pt x="1014" y="78"/>
                  </a:lnTo>
                  <a:lnTo>
                    <a:pt x="1014" y="84"/>
                  </a:lnTo>
                  <a:lnTo>
                    <a:pt x="1032" y="84"/>
                  </a:lnTo>
                  <a:lnTo>
                    <a:pt x="1032" y="90"/>
                  </a:lnTo>
                  <a:lnTo>
                    <a:pt x="1032" y="96"/>
                  </a:lnTo>
                  <a:lnTo>
                    <a:pt x="1032" y="108"/>
                  </a:lnTo>
                  <a:lnTo>
                    <a:pt x="1056" y="126"/>
                  </a:lnTo>
                  <a:lnTo>
                    <a:pt x="1068" y="138"/>
                  </a:lnTo>
                  <a:lnTo>
                    <a:pt x="1068" y="156"/>
                  </a:lnTo>
                  <a:lnTo>
                    <a:pt x="1080" y="150"/>
                  </a:lnTo>
                  <a:lnTo>
                    <a:pt x="1086" y="150"/>
                  </a:lnTo>
                  <a:lnTo>
                    <a:pt x="1092" y="156"/>
                  </a:lnTo>
                  <a:lnTo>
                    <a:pt x="1092" y="162"/>
                  </a:lnTo>
                  <a:lnTo>
                    <a:pt x="1092" y="168"/>
                  </a:lnTo>
                  <a:lnTo>
                    <a:pt x="1098" y="168"/>
                  </a:lnTo>
                  <a:lnTo>
                    <a:pt x="1092" y="180"/>
                  </a:lnTo>
                  <a:lnTo>
                    <a:pt x="1092" y="186"/>
                  </a:lnTo>
                  <a:lnTo>
                    <a:pt x="1086" y="192"/>
                  </a:lnTo>
                  <a:lnTo>
                    <a:pt x="1068" y="210"/>
                  </a:lnTo>
                  <a:lnTo>
                    <a:pt x="1068" y="216"/>
                  </a:lnTo>
                  <a:lnTo>
                    <a:pt x="1074" y="228"/>
                  </a:lnTo>
                  <a:lnTo>
                    <a:pt x="1092" y="234"/>
                  </a:lnTo>
                  <a:lnTo>
                    <a:pt x="1122" y="216"/>
                  </a:lnTo>
                  <a:lnTo>
                    <a:pt x="1188" y="204"/>
                  </a:lnTo>
                  <a:lnTo>
                    <a:pt x="1212" y="204"/>
                  </a:lnTo>
                  <a:lnTo>
                    <a:pt x="1230" y="198"/>
                  </a:lnTo>
                  <a:lnTo>
                    <a:pt x="1236" y="204"/>
                  </a:lnTo>
                  <a:lnTo>
                    <a:pt x="1242" y="210"/>
                  </a:lnTo>
                  <a:lnTo>
                    <a:pt x="1242" y="204"/>
                  </a:lnTo>
                  <a:lnTo>
                    <a:pt x="1248" y="198"/>
                  </a:lnTo>
                  <a:lnTo>
                    <a:pt x="1308" y="204"/>
                  </a:lnTo>
                  <a:lnTo>
                    <a:pt x="1338" y="204"/>
                  </a:lnTo>
                  <a:lnTo>
                    <a:pt x="1374" y="228"/>
                  </a:lnTo>
                  <a:lnTo>
                    <a:pt x="1380" y="234"/>
                  </a:lnTo>
                  <a:lnTo>
                    <a:pt x="1380" y="240"/>
                  </a:lnTo>
                  <a:lnTo>
                    <a:pt x="1386" y="252"/>
                  </a:lnTo>
                  <a:lnTo>
                    <a:pt x="1392" y="252"/>
                  </a:lnTo>
                  <a:lnTo>
                    <a:pt x="1416" y="270"/>
                  </a:lnTo>
                  <a:lnTo>
                    <a:pt x="1428" y="294"/>
                  </a:lnTo>
                  <a:lnTo>
                    <a:pt x="1440" y="312"/>
                  </a:lnTo>
                  <a:lnTo>
                    <a:pt x="1452" y="330"/>
                  </a:lnTo>
                  <a:lnTo>
                    <a:pt x="1464" y="330"/>
                  </a:lnTo>
                  <a:lnTo>
                    <a:pt x="1464" y="336"/>
                  </a:lnTo>
                  <a:lnTo>
                    <a:pt x="1470" y="336"/>
                  </a:lnTo>
                  <a:lnTo>
                    <a:pt x="1470" y="342"/>
                  </a:lnTo>
                  <a:lnTo>
                    <a:pt x="1476" y="342"/>
                  </a:lnTo>
                  <a:lnTo>
                    <a:pt x="1488" y="336"/>
                  </a:lnTo>
                  <a:lnTo>
                    <a:pt x="1494" y="342"/>
                  </a:lnTo>
                  <a:lnTo>
                    <a:pt x="1500" y="342"/>
                  </a:lnTo>
                  <a:lnTo>
                    <a:pt x="1512" y="366"/>
                  </a:lnTo>
                  <a:lnTo>
                    <a:pt x="1530" y="396"/>
                  </a:lnTo>
                  <a:lnTo>
                    <a:pt x="1536" y="444"/>
                  </a:lnTo>
                  <a:lnTo>
                    <a:pt x="1530" y="480"/>
                  </a:lnTo>
                  <a:lnTo>
                    <a:pt x="1506" y="510"/>
                  </a:lnTo>
                  <a:lnTo>
                    <a:pt x="1500" y="546"/>
                  </a:lnTo>
                  <a:lnTo>
                    <a:pt x="1494" y="564"/>
                  </a:lnTo>
                  <a:lnTo>
                    <a:pt x="1494" y="576"/>
                  </a:lnTo>
                  <a:lnTo>
                    <a:pt x="1500" y="582"/>
                  </a:lnTo>
                  <a:lnTo>
                    <a:pt x="1494" y="612"/>
                  </a:lnTo>
                  <a:lnTo>
                    <a:pt x="1476" y="630"/>
                  </a:lnTo>
                  <a:lnTo>
                    <a:pt x="1434" y="672"/>
                  </a:lnTo>
                  <a:lnTo>
                    <a:pt x="1392" y="756"/>
                  </a:lnTo>
                  <a:lnTo>
                    <a:pt x="1380" y="792"/>
                  </a:lnTo>
                  <a:lnTo>
                    <a:pt x="1374" y="798"/>
                  </a:lnTo>
                  <a:lnTo>
                    <a:pt x="1368" y="798"/>
                  </a:lnTo>
                  <a:lnTo>
                    <a:pt x="1380" y="804"/>
                  </a:lnTo>
                  <a:lnTo>
                    <a:pt x="1386" y="804"/>
                  </a:lnTo>
                  <a:lnTo>
                    <a:pt x="1380" y="822"/>
                  </a:lnTo>
                  <a:lnTo>
                    <a:pt x="1380" y="852"/>
                  </a:lnTo>
                  <a:lnTo>
                    <a:pt x="1374" y="858"/>
                  </a:lnTo>
                  <a:lnTo>
                    <a:pt x="1380" y="858"/>
                  </a:lnTo>
                  <a:lnTo>
                    <a:pt x="1374" y="864"/>
                  </a:lnTo>
                  <a:lnTo>
                    <a:pt x="1374" y="870"/>
                  </a:lnTo>
                  <a:lnTo>
                    <a:pt x="1374" y="876"/>
                  </a:lnTo>
                  <a:lnTo>
                    <a:pt x="1368" y="900"/>
                  </a:lnTo>
                  <a:lnTo>
                    <a:pt x="1362" y="906"/>
                  </a:lnTo>
                  <a:lnTo>
                    <a:pt x="1362" y="918"/>
                  </a:lnTo>
                  <a:lnTo>
                    <a:pt x="1362" y="924"/>
                  </a:lnTo>
                  <a:lnTo>
                    <a:pt x="1356" y="942"/>
                  </a:lnTo>
                  <a:lnTo>
                    <a:pt x="1350" y="972"/>
                  </a:lnTo>
                  <a:lnTo>
                    <a:pt x="1350" y="1014"/>
                  </a:lnTo>
                  <a:lnTo>
                    <a:pt x="1350" y="10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3" name="Freeform 18">
              <a:extLst>
                <a:ext uri="{FF2B5EF4-FFF2-40B4-BE49-F238E27FC236}">
                  <a16:creationId xmlns:a16="http://schemas.microsoft.com/office/drawing/2014/main" id="{EC11F2E0-3C06-46E2-8AD2-66EBE00FFE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32346" y="3837389"/>
              <a:ext cx="556811" cy="818559"/>
            </a:xfrm>
            <a:custGeom>
              <a:avLst/>
              <a:gdLst>
                <a:gd name="T0" fmla="*/ 12 w 1044"/>
                <a:gd name="T1" fmla="*/ 95 h 1542"/>
                <a:gd name="T2" fmla="*/ 7 w 1044"/>
                <a:gd name="T3" fmla="*/ 93 h 1542"/>
                <a:gd name="T4" fmla="*/ 0 w 1044"/>
                <a:gd name="T5" fmla="*/ 88 h 1542"/>
                <a:gd name="T6" fmla="*/ 3 w 1044"/>
                <a:gd name="T7" fmla="*/ 74 h 1542"/>
                <a:gd name="T8" fmla="*/ 4 w 1044"/>
                <a:gd name="T9" fmla="*/ 59 h 1542"/>
                <a:gd name="T10" fmla="*/ 7 w 1044"/>
                <a:gd name="T11" fmla="*/ 52 h 1542"/>
                <a:gd name="T12" fmla="*/ 20 w 1044"/>
                <a:gd name="T13" fmla="*/ 50 h 1542"/>
                <a:gd name="T14" fmla="*/ 24 w 1044"/>
                <a:gd name="T15" fmla="*/ 46 h 1542"/>
                <a:gd name="T16" fmla="*/ 29 w 1044"/>
                <a:gd name="T17" fmla="*/ 33 h 1542"/>
                <a:gd name="T18" fmla="*/ 32 w 1044"/>
                <a:gd name="T19" fmla="*/ 26 h 1542"/>
                <a:gd name="T20" fmla="*/ 30 w 1044"/>
                <a:gd name="T21" fmla="*/ 20 h 1542"/>
                <a:gd name="T22" fmla="*/ 26 w 1044"/>
                <a:gd name="T23" fmla="*/ 17 h 1542"/>
                <a:gd name="T24" fmla="*/ 28 w 1044"/>
                <a:gd name="T25" fmla="*/ 12 h 1542"/>
                <a:gd name="T26" fmla="*/ 44 w 1044"/>
                <a:gd name="T27" fmla="*/ 5 h 1542"/>
                <a:gd name="T28" fmla="*/ 57 w 1044"/>
                <a:gd name="T29" fmla="*/ 2 h 1542"/>
                <a:gd name="T30" fmla="*/ 65 w 1044"/>
                <a:gd name="T31" fmla="*/ 12 h 1542"/>
                <a:gd name="T32" fmla="*/ 81 w 1044"/>
                <a:gd name="T33" fmla="*/ 9 h 1542"/>
                <a:gd name="T34" fmla="*/ 91 w 1044"/>
                <a:gd name="T35" fmla="*/ 20 h 1542"/>
                <a:gd name="T36" fmla="*/ 89 w 1044"/>
                <a:gd name="T37" fmla="*/ 28 h 1542"/>
                <a:gd name="T38" fmla="*/ 83 w 1044"/>
                <a:gd name="T39" fmla="*/ 33 h 1542"/>
                <a:gd name="T40" fmla="*/ 74 w 1044"/>
                <a:gd name="T41" fmla="*/ 42 h 1542"/>
                <a:gd name="T42" fmla="*/ 58 w 1044"/>
                <a:gd name="T43" fmla="*/ 57 h 1542"/>
                <a:gd name="T44" fmla="*/ 54 w 1044"/>
                <a:gd name="T45" fmla="*/ 65 h 1542"/>
                <a:gd name="T46" fmla="*/ 59 w 1044"/>
                <a:gd name="T47" fmla="*/ 74 h 1542"/>
                <a:gd name="T48" fmla="*/ 55 w 1044"/>
                <a:gd name="T49" fmla="*/ 84 h 1542"/>
                <a:gd name="T50" fmla="*/ 52 w 1044"/>
                <a:gd name="T51" fmla="*/ 98 h 1542"/>
                <a:gd name="T52" fmla="*/ 47 w 1044"/>
                <a:gd name="T53" fmla="*/ 105 h 1542"/>
                <a:gd name="T54" fmla="*/ 42 w 1044"/>
                <a:gd name="T55" fmla="*/ 111 h 1542"/>
                <a:gd name="T56" fmla="*/ 43 w 1044"/>
                <a:gd name="T57" fmla="*/ 120 h 1542"/>
                <a:gd name="T58" fmla="*/ 45 w 1044"/>
                <a:gd name="T59" fmla="*/ 125 h 1542"/>
                <a:gd name="T60" fmla="*/ 44 w 1044"/>
                <a:gd name="T61" fmla="*/ 130 h 1542"/>
                <a:gd name="T62" fmla="*/ 45 w 1044"/>
                <a:gd name="T63" fmla="*/ 131 h 1542"/>
                <a:gd name="T64" fmla="*/ 48 w 1044"/>
                <a:gd name="T65" fmla="*/ 133 h 1542"/>
                <a:gd name="T66" fmla="*/ 39 w 1044"/>
                <a:gd name="T67" fmla="*/ 133 h 1542"/>
                <a:gd name="T68" fmla="*/ 42 w 1044"/>
                <a:gd name="T69" fmla="*/ 132 h 1542"/>
                <a:gd name="T70" fmla="*/ 38 w 1044"/>
                <a:gd name="T71" fmla="*/ 133 h 1542"/>
                <a:gd name="T72" fmla="*/ 37 w 1044"/>
                <a:gd name="T73" fmla="*/ 129 h 1542"/>
                <a:gd name="T74" fmla="*/ 40 w 1044"/>
                <a:gd name="T75" fmla="*/ 125 h 1542"/>
                <a:gd name="T76" fmla="*/ 40 w 1044"/>
                <a:gd name="T77" fmla="*/ 120 h 1542"/>
                <a:gd name="T78" fmla="*/ 40 w 1044"/>
                <a:gd name="T79" fmla="*/ 117 h 1542"/>
                <a:gd name="T80" fmla="*/ 37 w 1044"/>
                <a:gd name="T81" fmla="*/ 120 h 1542"/>
                <a:gd name="T82" fmla="*/ 34 w 1044"/>
                <a:gd name="T83" fmla="*/ 122 h 1542"/>
                <a:gd name="T84" fmla="*/ 36 w 1044"/>
                <a:gd name="T85" fmla="*/ 120 h 1542"/>
                <a:gd name="T86" fmla="*/ 30 w 1044"/>
                <a:gd name="T87" fmla="*/ 120 h 1542"/>
                <a:gd name="T88" fmla="*/ 31 w 1044"/>
                <a:gd name="T89" fmla="*/ 113 h 1542"/>
                <a:gd name="T90" fmla="*/ 29 w 1044"/>
                <a:gd name="T91" fmla="*/ 112 h 1542"/>
                <a:gd name="T92" fmla="*/ 31 w 1044"/>
                <a:gd name="T93" fmla="*/ 117 h 1542"/>
                <a:gd name="T94" fmla="*/ 27 w 1044"/>
                <a:gd name="T95" fmla="*/ 116 h 1542"/>
                <a:gd name="T96" fmla="*/ 25 w 1044"/>
                <a:gd name="T97" fmla="*/ 112 h 1542"/>
                <a:gd name="T98" fmla="*/ 21 w 1044"/>
                <a:gd name="T99" fmla="*/ 109 h 1542"/>
                <a:gd name="T100" fmla="*/ 21 w 1044"/>
                <a:gd name="T101" fmla="*/ 113 h 1542"/>
                <a:gd name="T102" fmla="*/ 40 w 1044"/>
                <a:gd name="T103" fmla="*/ 120 h 1542"/>
                <a:gd name="T104" fmla="*/ 40 w 1044"/>
                <a:gd name="T105" fmla="*/ 121 h 1542"/>
                <a:gd name="T106" fmla="*/ 40 w 1044"/>
                <a:gd name="T107" fmla="*/ 116 h 1542"/>
                <a:gd name="T108" fmla="*/ 38 w 1044"/>
                <a:gd name="T109" fmla="*/ 120 h 1542"/>
                <a:gd name="T110" fmla="*/ 23 w 1044"/>
                <a:gd name="T111" fmla="*/ 110 h 1542"/>
                <a:gd name="T112" fmla="*/ 37 w 1044"/>
                <a:gd name="T113" fmla="*/ 124 h 1542"/>
                <a:gd name="T114" fmla="*/ 40 w 1044"/>
                <a:gd name="T115" fmla="*/ 125 h 1542"/>
                <a:gd name="T116" fmla="*/ 38 w 1044"/>
                <a:gd name="T117" fmla="*/ 128 h 1542"/>
                <a:gd name="T118" fmla="*/ 25 w 1044"/>
                <a:gd name="T119" fmla="*/ 117 h 1542"/>
                <a:gd name="T120" fmla="*/ 27 w 1044"/>
                <a:gd name="T121" fmla="*/ 127 h 1542"/>
                <a:gd name="T122" fmla="*/ 24 w 1044"/>
                <a:gd name="T123" fmla="*/ 113 h 15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4"/>
                <a:gd name="T187" fmla="*/ 0 h 1542"/>
                <a:gd name="T188" fmla="*/ 1044 w 1044"/>
                <a:gd name="T189" fmla="*/ 1542 h 154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4" h="1542">
                  <a:moveTo>
                    <a:pt x="234" y="1278"/>
                  </a:moveTo>
                  <a:lnTo>
                    <a:pt x="228" y="1272"/>
                  </a:lnTo>
                  <a:lnTo>
                    <a:pt x="222" y="1266"/>
                  </a:lnTo>
                  <a:lnTo>
                    <a:pt x="222" y="1260"/>
                  </a:lnTo>
                  <a:lnTo>
                    <a:pt x="204" y="1248"/>
                  </a:lnTo>
                  <a:lnTo>
                    <a:pt x="192" y="1248"/>
                  </a:lnTo>
                  <a:lnTo>
                    <a:pt x="186" y="1236"/>
                  </a:lnTo>
                  <a:lnTo>
                    <a:pt x="174" y="1218"/>
                  </a:lnTo>
                  <a:lnTo>
                    <a:pt x="162" y="1194"/>
                  </a:lnTo>
                  <a:lnTo>
                    <a:pt x="156" y="1182"/>
                  </a:lnTo>
                  <a:lnTo>
                    <a:pt x="162" y="1146"/>
                  </a:lnTo>
                  <a:lnTo>
                    <a:pt x="156" y="1134"/>
                  </a:lnTo>
                  <a:lnTo>
                    <a:pt x="138" y="1122"/>
                  </a:lnTo>
                  <a:lnTo>
                    <a:pt x="132" y="1116"/>
                  </a:lnTo>
                  <a:lnTo>
                    <a:pt x="138" y="1098"/>
                  </a:lnTo>
                  <a:lnTo>
                    <a:pt x="138" y="1092"/>
                  </a:lnTo>
                  <a:lnTo>
                    <a:pt x="138" y="1086"/>
                  </a:lnTo>
                  <a:lnTo>
                    <a:pt x="132" y="1074"/>
                  </a:lnTo>
                  <a:lnTo>
                    <a:pt x="126" y="1074"/>
                  </a:lnTo>
                  <a:lnTo>
                    <a:pt x="126" y="1068"/>
                  </a:lnTo>
                  <a:lnTo>
                    <a:pt x="120" y="1062"/>
                  </a:lnTo>
                  <a:lnTo>
                    <a:pt x="120" y="1056"/>
                  </a:lnTo>
                  <a:lnTo>
                    <a:pt x="114" y="1050"/>
                  </a:lnTo>
                  <a:lnTo>
                    <a:pt x="108" y="1050"/>
                  </a:lnTo>
                  <a:lnTo>
                    <a:pt x="102" y="1056"/>
                  </a:lnTo>
                  <a:lnTo>
                    <a:pt x="102" y="1062"/>
                  </a:lnTo>
                  <a:lnTo>
                    <a:pt x="96" y="1062"/>
                  </a:lnTo>
                  <a:lnTo>
                    <a:pt x="96" y="1068"/>
                  </a:lnTo>
                  <a:lnTo>
                    <a:pt x="96" y="1074"/>
                  </a:lnTo>
                  <a:lnTo>
                    <a:pt x="90" y="1074"/>
                  </a:lnTo>
                  <a:lnTo>
                    <a:pt x="84" y="1080"/>
                  </a:lnTo>
                  <a:lnTo>
                    <a:pt x="78" y="1074"/>
                  </a:lnTo>
                  <a:lnTo>
                    <a:pt x="72" y="1074"/>
                  </a:lnTo>
                  <a:lnTo>
                    <a:pt x="72" y="1068"/>
                  </a:lnTo>
                  <a:lnTo>
                    <a:pt x="72" y="1062"/>
                  </a:lnTo>
                  <a:lnTo>
                    <a:pt x="60" y="1056"/>
                  </a:lnTo>
                  <a:lnTo>
                    <a:pt x="60" y="1044"/>
                  </a:lnTo>
                  <a:lnTo>
                    <a:pt x="60" y="1032"/>
                  </a:lnTo>
                  <a:lnTo>
                    <a:pt x="60" y="1026"/>
                  </a:lnTo>
                  <a:lnTo>
                    <a:pt x="54" y="1026"/>
                  </a:lnTo>
                  <a:lnTo>
                    <a:pt x="48" y="1014"/>
                  </a:lnTo>
                  <a:lnTo>
                    <a:pt x="42" y="1008"/>
                  </a:lnTo>
                  <a:lnTo>
                    <a:pt x="30" y="1008"/>
                  </a:lnTo>
                  <a:lnTo>
                    <a:pt x="30" y="1002"/>
                  </a:lnTo>
                  <a:lnTo>
                    <a:pt x="24" y="1008"/>
                  </a:lnTo>
                  <a:lnTo>
                    <a:pt x="12" y="1008"/>
                  </a:lnTo>
                  <a:lnTo>
                    <a:pt x="6" y="1008"/>
                  </a:lnTo>
                  <a:lnTo>
                    <a:pt x="0" y="1008"/>
                  </a:lnTo>
                  <a:lnTo>
                    <a:pt x="0" y="1002"/>
                  </a:lnTo>
                  <a:lnTo>
                    <a:pt x="6" y="990"/>
                  </a:lnTo>
                  <a:lnTo>
                    <a:pt x="6" y="984"/>
                  </a:lnTo>
                  <a:lnTo>
                    <a:pt x="0" y="978"/>
                  </a:lnTo>
                  <a:lnTo>
                    <a:pt x="6" y="972"/>
                  </a:lnTo>
                  <a:lnTo>
                    <a:pt x="12" y="972"/>
                  </a:lnTo>
                  <a:lnTo>
                    <a:pt x="72" y="978"/>
                  </a:lnTo>
                  <a:lnTo>
                    <a:pt x="78" y="972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30"/>
                  </a:lnTo>
                  <a:lnTo>
                    <a:pt x="54" y="912"/>
                  </a:lnTo>
                  <a:lnTo>
                    <a:pt x="42" y="906"/>
                  </a:lnTo>
                  <a:lnTo>
                    <a:pt x="36" y="894"/>
                  </a:lnTo>
                  <a:lnTo>
                    <a:pt x="30" y="876"/>
                  </a:lnTo>
                  <a:lnTo>
                    <a:pt x="30" y="858"/>
                  </a:lnTo>
                  <a:lnTo>
                    <a:pt x="30" y="840"/>
                  </a:lnTo>
                  <a:lnTo>
                    <a:pt x="36" y="816"/>
                  </a:lnTo>
                  <a:lnTo>
                    <a:pt x="36" y="792"/>
                  </a:lnTo>
                  <a:lnTo>
                    <a:pt x="36" y="780"/>
                  </a:lnTo>
                  <a:lnTo>
                    <a:pt x="12" y="774"/>
                  </a:lnTo>
                  <a:lnTo>
                    <a:pt x="24" y="756"/>
                  </a:lnTo>
                  <a:lnTo>
                    <a:pt x="24" y="744"/>
                  </a:lnTo>
                  <a:lnTo>
                    <a:pt x="30" y="738"/>
                  </a:lnTo>
                  <a:lnTo>
                    <a:pt x="30" y="732"/>
                  </a:lnTo>
                  <a:lnTo>
                    <a:pt x="36" y="720"/>
                  </a:lnTo>
                  <a:lnTo>
                    <a:pt x="42" y="714"/>
                  </a:lnTo>
                  <a:lnTo>
                    <a:pt x="54" y="708"/>
                  </a:lnTo>
                  <a:lnTo>
                    <a:pt x="60" y="702"/>
                  </a:lnTo>
                  <a:lnTo>
                    <a:pt x="48" y="690"/>
                  </a:lnTo>
                  <a:lnTo>
                    <a:pt x="48" y="684"/>
                  </a:lnTo>
                  <a:lnTo>
                    <a:pt x="48" y="678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66"/>
                  </a:lnTo>
                  <a:lnTo>
                    <a:pt x="72" y="654"/>
                  </a:lnTo>
                  <a:lnTo>
                    <a:pt x="72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84" y="630"/>
                  </a:lnTo>
                  <a:lnTo>
                    <a:pt x="90" y="630"/>
                  </a:lnTo>
                  <a:lnTo>
                    <a:pt x="96" y="630"/>
                  </a:lnTo>
                  <a:lnTo>
                    <a:pt x="96" y="624"/>
                  </a:lnTo>
                  <a:lnTo>
                    <a:pt x="90" y="624"/>
                  </a:lnTo>
                  <a:lnTo>
                    <a:pt x="84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90" y="600"/>
                  </a:lnTo>
                  <a:lnTo>
                    <a:pt x="84" y="600"/>
                  </a:lnTo>
                  <a:lnTo>
                    <a:pt x="78" y="594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126" y="564"/>
                  </a:lnTo>
                  <a:lnTo>
                    <a:pt x="144" y="564"/>
                  </a:lnTo>
                  <a:lnTo>
                    <a:pt x="156" y="582"/>
                  </a:lnTo>
                  <a:lnTo>
                    <a:pt x="162" y="600"/>
                  </a:lnTo>
                  <a:lnTo>
                    <a:pt x="180" y="588"/>
                  </a:lnTo>
                  <a:lnTo>
                    <a:pt x="192" y="588"/>
                  </a:lnTo>
                  <a:lnTo>
                    <a:pt x="198" y="588"/>
                  </a:lnTo>
                  <a:lnTo>
                    <a:pt x="210" y="582"/>
                  </a:lnTo>
                  <a:lnTo>
                    <a:pt x="216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58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46" y="558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58" y="570"/>
                  </a:lnTo>
                  <a:lnTo>
                    <a:pt x="264" y="570"/>
                  </a:lnTo>
                  <a:lnTo>
                    <a:pt x="270" y="564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46"/>
                  </a:lnTo>
                  <a:lnTo>
                    <a:pt x="276" y="540"/>
                  </a:lnTo>
                  <a:lnTo>
                    <a:pt x="276" y="534"/>
                  </a:lnTo>
                  <a:lnTo>
                    <a:pt x="276" y="528"/>
                  </a:lnTo>
                  <a:lnTo>
                    <a:pt x="282" y="528"/>
                  </a:lnTo>
                  <a:lnTo>
                    <a:pt x="282" y="522"/>
                  </a:lnTo>
                  <a:lnTo>
                    <a:pt x="282" y="516"/>
                  </a:lnTo>
                  <a:lnTo>
                    <a:pt x="282" y="510"/>
                  </a:lnTo>
                  <a:lnTo>
                    <a:pt x="282" y="504"/>
                  </a:lnTo>
                  <a:lnTo>
                    <a:pt x="282" y="492"/>
                  </a:lnTo>
                  <a:lnTo>
                    <a:pt x="288" y="486"/>
                  </a:lnTo>
                  <a:lnTo>
                    <a:pt x="300" y="480"/>
                  </a:lnTo>
                  <a:lnTo>
                    <a:pt x="306" y="462"/>
                  </a:lnTo>
                  <a:lnTo>
                    <a:pt x="318" y="444"/>
                  </a:lnTo>
                  <a:lnTo>
                    <a:pt x="330" y="444"/>
                  </a:lnTo>
                  <a:lnTo>
                    <a:pt x="330" y="432"/>
                  </a:lnTo>
                  <a:lnTo>
                    <a:pt x="342" y="432"/>
                  </a:lnTo>
                  <a:lnTo>
                    <a:pt x="354" y="402"/>
                  </a:lnTo>
                  <a:lnTo>
                    <a:pt x="348" y="390"/>
                  </a:lnTo>
                  <a:lnTo>
                    <a:pt x="336" y="384"/>
                  </a:lnTo>
                  <a:lnTo>
                    <a:pt x="336" y="360"/>
                  </a:lnTo>
                  <a:lnTo>
                    <a:pt x="336" y="354"/>
                  </a:lnTo>
                  <a:lnTo>
                    <a:pt x="336" y="342"/>
                  </a:lnTo>
                  <a:lnTo>
                    <a:pt x="342" y="336"/>
                  </a:lnTo>
                  <a:lnTo>
                    <a:pt x="342" y="324"/>
                  </a:lnTo>
                  <a:lnTo>
                    <a:pt x="372" y="324"/>
                  </a:lnTo>
                  <a:lnTo>
                    <a:pt x="378" y="324"/>
                  </a:lnTo>
                  <a:lnTo>
                    <a:pt x="378" y="318"/>
                  </a:lnTo>
                  <a:lnTo>
                    <a:pt x="372" y="312"/>
                  </a:lnTo>
                  <a:lnTo>
                    <a:pt x="378" y="312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84" y="300"/>
                  </a:lnTo>
                  <a:lnTo>
                    <a:pt x="384" y="294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66" y="294"/>
                  </a:lnTo>
                  <a:lnTo>
                    <a:pt x="366" y="288"/>
                  </a:lnTo>
                  <a:lnTo>
                    <a:pt x="372" y="288"/>
                  </a:lnTo>
                  <a:lnTo>
                    <a:pt x="372" y="282"/>
                  </a:lnTo>
                  <a:lnTo>
                    <a:pt x="366" y="276"/>
                  </a:lnTo>
                  <a:lnTo>
                    <a:pt x="360" y="270"/>
                  </a:lnTo>
                  <a:lnTo>
                    <a:pt x="360" y="264"/>
                  </a:lnTo>
                  <a:lnTo>
                    <a:pt x="354" y="264"/>
                  </a:lnTo>
                  <a:lnTo>
                    <a:pt x="348" y="258"/>
                  </a:lnTo>
                  <a:lnTo>
                    <a:pt x="354" y="258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40"/>
                  </a:lnTo>
                  <a:lnTo>
                    <a:pt x="354" y="240"/>
                  </a:lnTo>
                  <a:lnTo>
                    <a:pt x="342" y="234"/>
                  </a:lnTo>
                  <a:lnTo>
                    <a:pt x="342" y="228"/>
                  </a:lnTo>
                  <a:lnTo>
                    <a:pt x="348" y="228"/>
                  </a:lnTo>
                  <a:lnTo>
                    <a:pt x="342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6" y="216"/>
                  </a:lnTo>
                  <a:lnTo>
                    <a:pt x="330" y="222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24" y="210"/>
                  </a:lnTo>
                  <a:lnTo>
                    <a:pt x="318" y="210"/>
                  </a:lnTo>
                  <a:lnTo>
                    <a:pt x="318" y="204"/>
                  </a:lnTo>
                  <a:lnTo>
                    <a:pt x="312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294" y="192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300" y="174"/>
                  </a:lnTo>
                  <a:lnTo>
                    <a:pt x="300" y="168"/>
                  </a:lnTo>
                  <a:lnTo>
                    <a:pt x="300" y="162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88" y="150"/>
                  </a:lnTo>
                  <a:lnTo>
                    <a:pt x="288" y="144"/>
                  </a:lnTo>
                  <a:lnTo>
                    <a:pt x="282" y="144"/>
                  </a:lnTo>
                  <a:lnTo>
                    <a:pt x="282" y="138"/>
                  </a:lnTo>
                  <a:lnTo>
                    <a:pt x="312" y="132"/>
                  </a:lnTo>
                  <a:lnTo>
                    <a:pt x="324" y="120"/>
                  </a:lnTo>
                  <a:lnTo>
                    <a:pt x="330" y="114"/>
                  </a:lnTo>
                  <a:lnTo>
                    <a:pt x="336" y="102"/>
                  </a:lnTo>
                  <a:lnTo>
                    <a:pt x="348" y="90"/>
                  </a:lnTo>
                  <a:lnTo>
                    <a:pt x="360" y="84"/>
                  </a:lnTo>
                  <a:lnTo>
                    <a:pt x="372" y="84"/>
                  </a:lnTo>
                  <a:lnTo>
                    <a:pt x="378" y="84"/>
                  </a:lnTo>
                  <a:lnTo>
                    <a:pt x="384" y="90"/>
                  </a:lnTo>
                  <a:lnTo>
                    <a:pt x="402" y="90"/>
                  </a:lnTo>
                  <a:lnTo>
                    <a:pt x="438" y="84"/>
                  </a:lnTo>
                  <a:lnTo>
                    <a:pt x="456" y="84"/>
                  </a:lnTo>
                  <a:lnTo>
                    <a:pt x="462" y="78"/>
                  </a:lnTo>
                  <a:lnTo>
                    <a:pt x="486" y="72"/>
                  </a:lnTo>
                  <a:lnTo>
                    <a:pt x="492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04" y="54"/>
                  </a:lnTo>
                  <a:lnTo>
                    <a:pt x="510" y="42"/>
                  </a:lnTo>
                  <a:lnTo>
                    <a:pt x="504" y="42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498" y="30"/>
                  </a:lnTo>
                  <a:lnTo>
                    <a:pt x="492" y="30"/>
                  </a:lnTo>
                  <a:lnTo>
                    <a:pt x="492" y="24"/>
                  </a:lnTo>
                  <a:lnTo>
                    <a:pt x="486" y="18"/>
                  </a:lnTo>
                  <a:lnTo>
                    <a:pt x="498" y="18"/>
                  </a:lnTo>
                  <a:lnTo>
                    <a:pt x="510" y="18"/>
                  </a:lnTo>
                  <a:lnTo>
                    <a:pt x="522" y="12"/>
                  </a:lnTo>
                  <a:lnTo>
                    <a:pt x="528" y="6"/>
                  </a:lnTo>
                  <a:lnTo>
                    <a:pt x="570" y="0"/>
                  </a:lnTo>
                  <a:lnTo>
                    <a:pt x="606" y="6"/>
                  </a:lnTo>
                  <a:lnTo>
                    <a:pt x="654" y="24"/>
                  </a:lnTo>
                  <a:lnTo>
                    <a:pt x="666" y="36"/>
                  </a:lnTo>
                  <a:lnTo>
                    <a:pt x="672" y="30"/>
                  </a:lnTo>
                  <a:lnTo>
                    <a:pt x="690" y="42"/>
                  </a:lnTo>
                  <a:lnTo>
                    <a:pt x="702" y="48"/>
                  </a:lnTo>
                  <a:lnTo>
                    <a:pt x="714" y="60"/>
                  </a:lnTo>
                  <a:lnTo>
                    <a:pt x="714" y="66"/>
                  </a:lnTo>
                  <a:lnTo>
                    <a:pt x="720" y="72"/>
                  </a:lnTo>
                  <a:lnTo>
                    <a:pt x="720" y="78"/>
                  </a:lnTo>
                  <a:lnTo>
                    <a:pt x="720" y="102"/>
                  </a:lnTo>
                  <a:lnTo>
                    <a:pt x="720" y="108"/>
                  </a:lnTo>
                  <a:lnTo>
                    <a:pt x="714" y="108"/>
                  </a:lnTo>
                  <a:lnTo>
                    <a:pt x="714" y="126"/>
                  </a:lnTo>
                  <a:lnTo>
                    <a:pt x="732" y="126"/>
                  </a:lnTo>
                  <a:lnTo>
                    <a:pt x="726" y="132"/>
                  </a:lnTo>
                  <a:lnTo>
                    <a:pt x="738" y="132"/>
                  </a:lnTo>
                  <a:lnTo>
                    <a:pt x="738" y="138"/>
                  </a:lnTo>
                  <a:lnTo>
                    <a:pt x="738" y="144"/>
                  </a:lnTo>
                  <a:lnTo>
                    <a:pt x="744" y="144"/>
                  </a:lnTo>
                  <a:lnTo>
                    <a:pt x="744" y="150"/>
                  </a:lnTo>
                  <a:lnTo>
                    <a:pt x="756" y="156"/>
                  </a:lnTo>
                  <a:lnTo>
                    <a:pt x="768" y="156"/>
                  </a:lnTo>
                  <a:lnTo>
                    <a:pt x="780" y="156"/>
                  </a:lnTo>
                  <a:lnTo>
                    <a:pt x="792" y="150"/>
                  </a:lnTo>
                  <a:lnTo>
                    <a:pt x="786" y="150"/>
                  </a:lnTo>
                  <a:lnTo>
                    <a:pt x="786" y="144"/>
                  </a:lnTo>
                  <a:lnTo>
                    <a:pt x="804" y="144"/>
                  </a:lnTo>
                  <a:lnTo>
                    <a:pt x="816" y="132"/>
                  </a:lnTo>
                  <a:lnTo>
                    <a:pt x="822" y="126"/>
                  </a:lnTo>
                  <a:lnTo>
                    <a:pt x="828" y="132"/>
                  </a:lnTo>
                  <a:lnTo>
                    <a:pt x="834" y="126"/>
                  </a:lnTo>
                  <a:lnTo>
                    <a:pt x="834" y="120"/>
                  </a:lnTo>
                  <a:lnTo>
                    <a:pt x="924" y="108"/>
                  </a:lnTo>
                  <a:lnTo>
                    <a:pt x="942" y="144"/>
                  </a:lnTo>
                  <a:lnTo>
                    <a:pt x="948" y="144"/>
                  </a:lnTo>
                  <a:lnTo>
                    <a:pt x="960" y="168"/>
                  </a:lnTo>
                  <a:lnTo>
                    <a:pt x="972" y="186"/>
                  </a:lnTo>
                  <a:lnTo>
                    <a:pt x="984" y="192"/>
                  </a:lnTo>
                  <a:lnTo>
                    <a:pt x="996" y="192"/>
                  </a:lnTo>
                  <a:lnTo>
                    <a:pt x="996" y="198"/>
                  </a:lnTo>
                  <a:lnTo>
                    <a:pt x="1008" y="204"/>
                  </a:lnTo>
                  <a:lnTo>
                    <a:pt x="1008" y="210"/>
                  </a:lnTo>
                  <a:lnTo>
                    <a:pt x="1002" y="210"/>
                  </a:lnTo>
                  <a:lnTo>
                    <a:pt x="1008" y="216"/>
                  </a:lnTo>
                  <a:lnTo>
                    <a:pt x="1014" y="210"/>
                  </a:lnTo>
                  <a:lnTo>
                    <a:pt x="1014" y="216"/>
                  </a:lnTo>
                  <a:lnTo>
                    <a:pt x="1020" y="222"/>
                  </a:lnTo>
                  <a:lnTo>
                    <a:pt x="1014" y="228"/>
                  </a:lnTo>
                  <a:lnTo>
                    <a:pt x="1032" y="234"/>
                  </a:lnTo>
                  <a:lnTo>
                    <a:pt x="1044" y="240"/>
                  </a:lnTo>
                  <a:lnTo>
                    <a:pt x="1038" y="246"/>
                  </a:lnTo>
                  <a:lnTo>
                    <a:pt x="1038" y="252"/>
                  </a:lnTo>
                  <a:lnTo>
                    <a:pt x="1038" y="258"/>
                  </a:lnTo>
                  <a:lnTo>
                    <a:pt x="1032" y="264"/>
                  </a:lnTo>
                  <a:lnTo>
                    <a:pt x="1032" y="270"/>
                  </a:lnTo>
                  <a:lnTo>
                    <a:pt x="1032" y="276"/>
                  </a:lnTo>
                  <a:lnTo>
                    <a:pt x="1032" y="282"/>
                  </a:lnTo>
                  <a:lnTo>
                    <a:pt x="1026" y="282"/>
                  </a:lnTo>
                  <a:lnTo>
                    <a:pt x="1026" y="288"/>
                  </a:lnTo>
                  <a:lnTo>
                    <a:pt x="1026" y="294"/>
                  </a:lnTo>
                  <a:lnTo>
                    <a:pt x="1026" y="300"/>
                  </a:lnTo>
                  <a:lnTo>
                    <a:pt x="1026" y="306"/>
                  </a:lnTo>
                  <a:lnTo>
                    <a:pt x="1020" y="318"/>
                  </a:lnTo>
                  <a:lnTo>
                    <a:pt x="1020" y="324"/>
                  </a:lnTo>
                  <a:lnTo>
                    <a:pt x="1014" y="324"/>
                  </a:lnTo>
                  <a:lnTo>
                    <a:pt x="1014" y="330"/>
                  </a:lnTo>
                  <a:lnTo>
                    <a:pt x="1014" y="336"/>
                  </a:lnTo>
                  <a:lnTo>
                    <a:pt x="1008" y="366"/>
                  </a:lnTo>
                  <a:lnTo>
                    <a:pt x="1002" y="366"/>
                  </a:lnTo>
                  <a:lnTo>
                    <a:pt x="984" y="354"/>
                  </a:lnTo>
                  <a:lnTo>
                    <a:pt x="978" y="354"/>
                  </a:lnTo>
                  <a:lnTo>
                    <a:pt x="972" y="354"/>
                  </a:lnTo>
                  <a:lnTo>
                    <a:pt x="966" y="348"/>
                  </a:lnTo>
                  <a:lnTo>
                    <a:pt x="954" y="348"/>
                  </a:lnTo>
                  <a:lnTo>
                    <a:pt x="948" y="348"/>
                  </a:lnTo>
                  <a:lnTo>
                    <a:pt x="948" y="360"/>
                  </a:lnTo>
                  <a:lnTo>
                    <a:pt x="948" y="366"/>
                  </a:lnTo>
                  <a:lnTo>
                    <a:pt x="948" y="372"/>
                  </a:lnTo>
                  <a:lnTo>
                    <a:pt x="948" y="378"/>
                  </a:lnTo>
                  <a:lnTo>
                    <a:pt x="948" y="384"/>
                  </a:lnTo>
                  <a:lnTo>
                    <a:pt x="942" y="384"/>
                  </a:lnTo>
                  <a:lnTo>
                    <a:pt x="942" y="390"/>
                  </a:lnTo>
                  <a:lnTo>
                    <a:pt x="936" y="390"/>
                  </a:lnTo>
                  <a:lnTo>
                    <a:pt x="942" y="390"/>
                  </a:lnTo>
                  <a:lnTo>
                    <a:pt x="936" y="396"/>
                  </a:lnTo>
                  <a:lnTo>
                    <a:pt x="930" y="402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2" y="432"/>
                  </a:lnTo>
                  <a:lnTo>
                    <a:pt x="900" y="450"/>
                  </a:lnTo>
                  <a:lnTo>
                    <a:pt x="894" y="456"/>
                  </a:lnTo>
                  <a:lnTo>
                    <a:pt x="888" y="456"/>
                  </a:lnTo>
                  <a:lnTo>
                    <a:pt x="882" y="456"/>
                  </a:lnTo>
                  <a:lnTo>
                    <a:pt x="876" y="456"/>
                  </a:lnTo>
                  <a:lnTo>
                    <a:pt x="864" y="462"/>
                  </a:lnTo>
                  <a:lnTo>
                    <a:pt x="852" y="474"/>
                  </a:lnTo>
                  <a:lnTo>
                    <a:pt x="846" y="480"/>
                  </a:lnTo>
                  <a:lnTo>
                    <a:pt x="840" y="486"/>
                  </a:lnTo>
                  <a:lnTo>
                    <a:pt x="834" y="498"/>
                  </a:lnTo>
                  <a:lnTo>
                    <a:pt x="828" y="510"/>
                  </a:lnTo>
                  <a:lnTo>
                    <a:pt x="816" y="522"/>
                  </a:lnTo>
                  <a:lnTo>
                    <a:pt x="798" y="540"/>
                  </a:lnTo>
                  <a:lnTo>
                    <a:pt x="780" y="558"/>
                  </a:lnTo>
                  <a:lnTo>
                    <a:pt x="774" y="558"/>
                  </a:lnTo>
                  <a:lnTo>
                    <a:pt x="756" y="576"/>
                  </a:lnTo>
                  <a:lnTo>
                    <a:pt x="732" y="600"/>
                  </a:lnTo>
                  <a:lnTo>
                    <a:pt x="726" y="600"/>
                  </a:lnTo>
                  <a:lnTo>
                    <a:pt x="720" y="606"/>
                  </a:lnTo>
                  <a:lnTo>
                    <a:pt x="714" y="612"/>
                  </a:lnTo>
                  <a:lnTo>
                    <a:pt x="690" y="630"/>
                  </a:lnTo>
                  <a:lnTo>
                    <a:pt x="678" y="636"/>
                  </a:lnTo>
                  <a:lnTo>
                    <a:pt x="672" y="642"/>
                  </a:lnTo>
                  <a:lnTo>
                    <a:pt x="660" y="660"/>
                  </a:lnTo>
                  <a:lnTo>
                    <a:pt x="642" y="666"/>
                  </a:lnTo>
                  <a:lnTo>
                    <a:pt x="636" y="678"/>
                  </a:lnTo>
                  <a:lnTo>
                    <a:pt x="630" y="678"/>
                  </a:lnTo>
                  <a:lnTo>
                    <a:pt x="630" y="684"/>
                  </a:lnTo>
                  <a:lnTo>
                    <a:pt x="630" y="690"/>
                  </a:lnTo>
                  <a:lnTo>
                    <a:pt x="636" y="696"/>
                  </a:lnTo>
                  <a:lnTo>
                    <a:pt x="642" y="696"/>
                  </a:lnTo>
                  <a:lnTo>
                    <a:pt x="648" y="702"/>
                  </a:lnTo>
                  <a:lnTo>
                    <a:pt x="648" y="708"/>
                  </a:lnTo>
                  <a:lnTo>
                    <a:pt x="642" y="708"/>
                  </a:lnTo>
                  <a:lnTo>
                    <a:pt x="636" y="714"/>
                  </a:lnTo>
                  <a:lnTo>
                    <a:pt x="636" y="720"/>
                  </a:lnTo>
                  <a:lnTo>
                    <a:pt x="642" y="726"/>
                  </a:lnTo>
                  <a:lnTo>
                    <a:pt x="636" y="738"/>
                  </a:lnTo>
                  <a:lnTo>
                    <a:pt x="618" y="756"/>
                  </a:lnTo>
                  <a:lnTo>
                    <a:pt x="612" y="750"/>
                  </a:lnTo>
                  <a:lnTo>
                    <a:pt x="612" y="756"/>
                  </a:lnTo>
                  <a:lnTo>
                    <a:pt x="618" y="762"/>
                  </a:lnTo>
                  <a:lnTo>
                    <a:pt x="618" y="768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36" y="786"/>
                  </a:lnTo>
                  <a:lnTo>
                    <a:pt x="642" y="792"/>
                  </a:lnTo>
                  <a:lnTo>
                    <a:pt x="642" y="798"/>
                  </a:lnTo>
                  <a:lnTo>
                    <a:pt x="648" y="804"/>
                  </a:lnTo>
                  <a:lnTo>
                    <a:pt x="654" y="810"/>
                  </a:lnTo>
                  <a:lnTo>
                    <a:pt x="660" y="816"/>
                  </a:lnTo>
                  <a:lnTo>
                    <a:pt x="666" y="816"/>
                  </a:lnTo>
                  <a:lnTo>
                    <a:pt x="666" y="822"/>
                  </a:lnTo>
                  <a:lnTo>
                    <a:pt x="672" y="828"/>
                  </a:lnTo>
                  <a:lnTo>
                    <a:pt x="672" y="840"/>
                  </a:lnTo>
                  <a:lnTo>
                    <a:pt x="672" y="846"/>
                  </a:lnTo>
                  <a:lnTo>
                    <a:pt x="666" y="852"/>
                  </a:lnTo>
                  <a:lnTo>
                    <a:pt x="660" y="864"/>
                  </a:lnTo>
                  <a:lnTo>
                    <a:pt x="654" y="876"/>
                  </a:lnTo>
                  <a:lnTo>
                    <a:pt x="648" y="882"/>
                  </a:lnTo>
                  <a:lnTo>
                    <a:pt x="642" y="888"/>
                  </a:lnTo>
                  <a:lnTo>
                    <a:pt x="642" y="894"/>
                  </a:lnTo>
                  <a:lnTo>
                    <a:pt x="642" y="906"/>
                  </a:lnTo>
                  <a:lnTo>
                    <a:pt x="630" y="918"/>
                  </a:lnTo>
                  <a:lnTo>
                    <a:pt x="630" y="924"/>
                  </a:lnTo>
                  <a:lnTo>
                    <a:pt x="624" y="930"/>
                  </a:lnTo>
                  <a:lnTo>
                    <a:pt x="630" y="936"/>
                  </a:lnTo>
                  <a:lnTo>
                    <a:pt x="630" y="942"/>
                  </a:lnTo>
                  <a:lnTo>
                    <a:pt x="630" y="948"/>
                  </a:lnTo>
                  <a:lnTo>
                    <a:pt x="630" y="954"/>
                  </a:lnTo>
                  <a:lnTo>
                    <a:pt x="630" y="960"/>
                  </a:lnTo>
                  <a:lnTo>
                    <a:pt x="624" y="966"/>
                  </a:lnTo>
                  <a:lnTo>
                    <a:pt x="618" y="990"/>
                  </a:lnTo>
                  <a:lnTo>
                    <a:pt x="618" y="1008"/>
                  </a:lnTo>
                  <a:lnTo>
                    <a:pt x="612" y="1026"/>
                  </a:lnTo>
                  <a:lnTo>
                    <a:pt x="612" y="1038"/>
                  </a:lnTo>
                  <a:lnTo>
                    <a:pt x="612" y="1050"/>
                  </a:lnTo>
                  <a:lnTo>
                    <a:pt x="612" y="1056"/>
                  </a:lnTo>
                  <a:lnTo>
                    <a:pt x="612" y="1062"/>
                  </a:lnTo>
                  <a:lnTo>
                    <a:pt x="612" y="1068"/>
                  </a:lnTo>
                  <a:lnTo>
                    <a:pt x="612" y="1086"/>
                  </a:lnTo>
                  <a:lnTo>
                    <a:pt x="612" y="1092"/>
                  </a:lnTo>
                  <a:lnTo>
                    <a:pt x="606" y="1098"/>
                  </a:lnTo>
                  <a:lnTo>
                    <a:pt x="600" y="1110"/>
                  </a:lnTo>
                  <a:lnTo>
                    <a:pt x="600" y="1116"/>
                  </a:lnTo>
                  <a:lnTo>
                    <a:pt x="594" y="1122"/>
                  </a:lnTo>
                  <a:lnTo>
                    <a:pt x="594" y="1128"/>
                  </a:lnTo>
                  <a:lnTo>
                    <a:pt x="588" y="1134"/>
                  </a:lnTo>
                  <a:lnTo>
                    <a:pt x="582" y="1140"/>
                  </a:lnTo>
                  <a:lnTo>
                    <a:pt x="570" y="1140"/>
                  </a:lnTo>
                  <a:lnTo>
                    <a:pt x="564" y="1146"/>
                  </a:lnTo>
                  <a:lnTo>
                    <a:pt x="570" y="1146"/>
                  </a:lnTo>
                  <a:lnTo>
                    <a:pt x="564" y="1152"/>
                  </a:lnTo>
                  <a:lnTo>
                    <a:pt x="558" y="1158"/>
                  </a:lnTo>
                  <a:lnTo>
                    <a:pt x="552" y="1164"/>
                  </a:lnTo>
                  <a:lnTo>
                    <a:pt x="552" y="1170"/>
                  </a:lnTo>
                  <a:lnTo>
                    <a:pt x="546" y="1176"/>
                  </a:lnTo>
                  <a:lnTo>
                    <a:pt x="546" y="1182"/>
                  </a:lnTo>
                  <a:lnTo>
                    <a:pt x="546" y="1188"/>
                  </a:lnTo>
                  <a:lnTo>
                    <a:pt x="540" y="1188"/>
                  </a:lnTo>
                  <a:lnTo>
                    <a:pt x="540" y="1194"/>
                  </a:lnTo>
                  <a:lnTo>
                    <a:pt x="528" y="1206"/>
                  </a:lnTo>
                  <a:lnTo>
                    <a:pt x="528" y="1212"/>
                  </a:lnTo>
                  <a:lnTo>
                    <a:pt x="534" y="1212"/>
                  </a:lnTo>
                  <a:lnTo>
                    <a:pt x="540" y="1218"/>
                  </a:lnTo>
                  <a:lnTo>
                    <a:pt x="534" y="1218"/>
                  </a:lnTo>
                  <a:lnTo>
                    <a:pt x="528" y="1218"/>
                  </a:lnTo>
                  <a:lnTo>
                    <a:pt x="528" y="1224"/>
                  </a:lnTo>
                  <a:lnTo>
                    <a:pt x="522" y="1230"/>
                  </a:lnTo>
                  <a:lnTo>
                    <a:pt x="516" y="1236"/>
                  </a:lnTo>
                  <a:lnTo>
                    <a:pt x="522" y="1236"/>
                  </a:lnTo>
                  <a:lnTo>
                    <a:pt x="516" y="1242"/>
                  </a:lnTo>
                  <a:lnTo>
                    <a:pt x="510" y="1242"/>
                  </a:lnTo>
                  <a:lnTo>
                    <a:pt x="504" y="1248"/>
                  </a:lnTo>
                  <a:lnTo>
                    <a:pt x="510" y="1260"/>
                  </a:lnTo>
                  <a:lnTo>
                    <a:pt x="504" y="1266"/>
                  </a:lnTo>
                  <a:lnTo>
                    <a:pt x="492" y="1266"/>
                  </a:lnTo>
                  <a:lnTo>
                    <a:pt x="486" y="1272"/>
                  </a:lnTo>
                  <a:lnTo>
                    <a:pt x="486" y="1278"/>
                  </a:lnTo>
                  <a:lnTo>
                    <a:pt x="480" y="1278"/>
                  </a:lnTo>
                  <a:lnTo>
                    <a:pt x="480" y="1284"/>
                  </a:lnTo>
                  <a:lnTo>
                    <a:pt x="480" y="1290"/>
                  </a:lnTo>
                  <a:lnTo>
                    <a:pt x="480" y="1296"/>
                  </a:lnTo>
                  <a:lnTo>
                    <a:pt x="492" y="1302"/>
                  </a:lnTo>
                  <a:lnTo>
                    <a:pt x="492" y="1308"/>
                  </a:lnTo>
                  <a:lnTo>
                    <a:pt x="492" y="1320"/>
                  </a:lnTo>
                  <a:lnTo>
                    <a:pt x="492" y="1332"/>
                  </a:lnTo>
                  <a:lnTo>
                    <a:pt x="498" y="1344"/>
                  </a:lnTo>
                  <a:lnTo>
                    <a:pt x="498" y="1350"/>
                  </a:lnTo>
                  <a:lnTo>
                    <a:pt x="498" y="1356"/>
                  </a:lnTo>
                  <a:lnTo>
                    <a:pt x="504" y="1362"/>
                  </a:lnTo>
                  <a:lnTo>
                    <a:pt x="498" y="1362"/>
                  </a:lnTo>
                  <a:lnTo>
                    <a:pt x="498" y="1368"/>
                  </a:lnTo>
                  <a:lnTo>
                    <a:pt x="492" y="1368"/>
                  </a:lnTo>
                  <a:lnTo>
                    <a:pt x="492" y="1374"/>
                  </a:lnTo>
                  <a:lnTo>
                    <a:pt x="492" y="1380"/>
                  </a:lnTo>
                  <a:lnTo>
                    <a:pt x="498" y="1380"/>
                  </a:lnTo>
                  <a:lnTo>
                    <a:pt x="504" y="1380"/>
                  </a:lnTo>
                  <a:lnTo>
                    <a:pt x="498" y="1386"/>
                  </a:lnTo>
                  <a:lnTo>
                    <a:pt x="498" y="1392"/>
                  </a:lnTo>
                  <a:lnTo>
                    <a:pt x="498" y="1398"/>
                  </a:lnTo>
                  <a:lnTo>
                    <a:pt x="498" y="1404"/>
                  </a:lnTo>
                  <a:lnTo>
                    <a:pt x="498" y="1410"/>
                  </a:lnTo>
                  <a:lnTo>
                    <a:pt x="498" y="1416"/>
                  </a:lnTo>
                  <a:lnTo>
                    <a:pt x="492" y="1416"/>
                  </a:lnTo>
                  <a:lnTo>
                    <a:pt x="498" y="1416"/>
                  </a:lnTo>
                  <a:lnTo>
                    <a:pt x="504" y="1416"/>
                  </a:lnTo>
                  <a:lnTo>
                    <a:pt x="504" y="1422"/>
                  </a:lnTo>
                  <a:lnTo>
                    <a:pt x="510" y="1428"/>
                  </a:lnTo>
                  <a:lnTo>
                    <a:pt x="510" y="1434"/>
                  </a:lnTo>
                  <a:lnTo>
                    <a:pt x="510" y="1440"/>
                  </a:lnTo>
                  <a:lnTo>
                    <a:pt x="516" y="1446"/>
                  </a:lnTo>
                  <a:lnTo>
                    <a:pt x="516" y="1452"/>
                  </a:lnTo>
                  <a:lnTo>
                    <a:pt x="516" y="1458"/>
                  </a:lnTo>
                  <a:lnTo>
                    <a:pt x="516" y="1464"/>
                  </a:lnTo>
                  <a:lnTo>
                    <a:pt x="516" y="1482"/>
                  </a:lnTo>
                  <a:lnTo>
                    <a:pt x="516" y="1488"/>
                  </a:lnTo>
                  <a:lnTo>
                    <a:pt x="522" y="1488"/>
                  </a:lnTo>
                  <a:lnTo>
                    <a:pt x="522" y="1494"/>
                  </a:lnTo>
                  <a:lnTo>
                    <a:pt x="522" y="1500"/>
                  </a:lnTo>
                  <a:lnTo>
                    <a:pt x="516" y="1506"/>
                  </a:lnTo>
                  <a:lnTo>
                    <a:pt x="510" y="1500"/>
                  </a:lnTo>
                  <a:lnTo>
                    <a:pt x="504" y="1500"/>
                  </a:lnTo>
                  <a:lnTo>
                    <a:pt x="504" y="1494"/>
                  </a:lnTo>
                  <a:lnTo>
                    <a:pt x="504" y="1488"/>
                  </a:lnTo>
                  <a:lnTo>
                    <a:pt x="504" y="1482"/>
                  </a:lnTo>
                  <a:lnTo>
                    <a:pt x="504" y="1488"/>
                  </a:lnTo>
                  <a:lnTo>
                    <a:pt x="504" y="1494"/>
                  </a:lnTo>
                  <a:lnTo>
                    <a:pt x="504" y="1500"/>
                  </a:lnTo>
                  <a:lnTo>
                    <a:pt x="498" y="1500"/>
                  </a:lnTo>
                  <a:lnTo>
                    <a:pt x="492" y="1500"/>
                  </a:lnTo>
                  <a:lnTo>
                    <a:pt x="492" y="1494"/>
                  </a:lnTo>
                  <a:lnTo>
                    <a:pt x="492" y="1488"/>
                  </a:lnTo>
                  <a:lnTo>
                    <a:pt x="492" y="1494"/>
                  </a:lnTo>
                  <a:lnTo>
                    <a:pt x="492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00"/>
                  </a:lnTo>
                  <a:lnTo>
                    <a:pt x="510" y="1500"/>
                  </a:lnTo>
                  <a:lnTo>
                    <a:pt x="510" y="1506"/>
                  </a:lnTo>
                  <a:lnTo>
                    <a:pt x="516" y="1506"/>
                  </a:lnTo>
                  <a:lnTo>
                    <a:pt x="510" y="1506"/>
                  </a:lnTo>
                  <a:lnTo>
                    <a:pt x="510" y="1512"/>
                  </a:lnTo>
                  <a:lnTo>
                    <a:pt x="516" y="1506"/>
                  </a:lnTo>
                  <a:lnTo>
                    <a:pt x="522" y="1506"/>
                  </a:lnTo>
                  <a:lnTo>
                    <a:pt x="528" y="1506"/>
                  </a:lnTo>
                  <a:lnTo>
                    <a:pt x="528" y="1500"/>
                  </a:lnTo>
                  <a:lnTo>
                    <a:pt x="534" y="1500"/>
                  </a:lnTo>
                  <a:lnTo>
                    <a:pt x="534" y="1506"/>
                  </a:lnTo>
                  <a:lnTo>
                    <a:pt x="540" y="1512"/>
                  </a:lnTo>
                  <a:lnTo>
                    <a:pt x="540" y="1518"/>
                  </a:lnTo>
                  <a:lnTo>
                    <a:pt x="546" y="1518"/>
                  </a:lnTo>
                  <a:lnTo>
                    <a:pt x="540" y="1518"/>
                  </a:lnTo>
                  <a:lnTo>
                    <a:pt x="540" y="1524"/>
                  </a:lnTo>
                  <a:lnTo>
                    <a:pt x="534" y="1524"/>
                  </a:lnTo>
                  <a:lnTo>
                    <a:pt x="540" y="1524"/>
                  </a:lnTo>
                  <a:lnTo>
                    <a:pt x="546" y="1524"/>
                  </a:lnTo>
                  <a:lnTo>
                    <a:pt x="546" y="1530"/>
                  </a:lnTo>
                  <a:lnTo>
                    <a:pt x="540" y="1530"/>
                  </a:lnTo>
                  <a:lnTo>
                    <a:pt x="540" y="1536"/>
                  </a:lnTo>
                  <a:lnTo>
                    <a:pt x="534" y="1542"/>
                  </a:lnTo>
                  <a:lnTo>
                    <a:pt x="528" y="1542"/>
                  </a:lnTo>
                  <a:lnTo>
                    <a:pt x="522" y="1542"/>
                  </a:lnTo>
                  <a:lnTo>
                    <a:pt x="516" y="1542"/>
                  </a:lnTo>
                  <a:lnTo>
                    <a:pt x="510" y="1542"/>
                  </a:lnTo>
                  <a:lnTo>
                    <a:pt x="504" y="1542"/>
                  </a:lnTo>
                  <a:lnTo>
                    <a:pt x="492" y="1542"/>
                  </a:lnTo>
                  <a:lnTo>
                    <a:pt x="486" y="1536"/>
                  </a:lnTo>
                  <a:lnTo>
                    <a:pt x="480" y="1536"/>
                  </a:lnTo>
                  <a:lnTo>
                    <a:pt x="468" y="1536"/>
                  </a:lnTo>
                  <a:lnTo>
                    <a:pt x="468" y="1542"/>
                  </a:lnTo>
                  <a:lnTo>
                    <a:pt x="462" y="1542"/>
                  </a:lnTo>
                  <a:lnTo>
                    <a:pt x="456" y="1542"/>
                  </a:lnTo>
                  <a:lnTo>
                    <a:pt x="450" y="1542"/>
                  </a:lnTo>
                  <a:lnTo>
                    <a:pt x="444" y="1542"/>
                  </a:lnTo>
                  <a:lnTo>
                    <a:pt x="444" y="1536"/>
                  </a:lnTo>
                  <a:lnTo>
                    <a:pt x="450" y="1536"/>
                  </a:lnTo>
                  <a:lnTo>
                    <a:pt x="456" y="1536"/>
                  </a:lnTo>
                  <a:lnTo>
                    <a:pt x="450" y="1536"/>
                  </a:lnTo>
                  <a:lnTo>
                    <a:pt x="444" y="1536"/>
                  </a:lnTo>
                  <a:lnTo>
                    <a:pt x="444" y="1530"/>
                  </a:lnTo>
                  <a:lnTo>
                    <a:pt x="450" y="1530"/>
                  </a:lnTo>
                  <a:lnTo>
                    <a:pt x="456" y="1524"/>
                  </a:lnTo>
                  <a:lnTo>
                    <a:pt x="456" y="1518"/>
                  </a:lnTo>
                  <a:lnTo>
                    <a:pt x="462" y="1518"/>
                  </a:lnTo>
                  <a:lnTo>
                    <a:pt x="462" y="1524"/>
                  </a:lnTo>
                  <a:lnTo>
                    <a:pt x="468" y="1524"/>
                  </a:lnTo>
                  <a:lnTo>
                    <a:pt x="474" y="1524"/>
                  </a:lnTo>
                  <a:lnTo>
                    <a:pt x="474" y="1518"/>
                  </a:lnTo>
                  <a:lnTo>
                    <a:pt x="480" y="1518"/>
                  </a:lnTo>
                  <a:lnTo>
                    <a:pt x="474" y="1518"/>
                  </a:lnTo>
                  <a:lnTo>
                    <a:pt x="474" y="1524"/>
                  </a:lnTo>
                  <a:lnTo>
                    <a:pt x="468" y="1524"/>
                  </a:lnTo>
                  <a:lnTo>
                    <a:pt x="462" y="1518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62" y="1512"/>
                  </a:lnTo>
                  <a:lnTo>
                    <a:pt x="462" y="1506"/>
                  </a:lnTo>
                  <a:lnTo>
                    <a:pt x="456" y="1506"/>
                  </a:lnTo>
                  <a:lnTo>
                    <a:pt x="456" y="1512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50" y="1518"/>
                  </a:lnTo>
                  <a:lnTo>
                    <a:pt x="444" y="1518"/>
                  </a:lnTo>
                  <a:lnTo>
                    <a:pt x="444" y="1524"/>
                  </a:lnTo>
                  <a:lnTo>
                    <a:pt x="438" y="1524"/>
                  </a:lnTo>
                  <a:lnTo>
                    <a:pt x="438" y="1530"/>
                  </a:lnTo>
                  <a:lnTo>
                    <a:pt x="432" y="1530"/>
                  </a:lnTo>
                  <a:lnTo>
                    <a:pt x="432" y="1536"/>
                  </a:lnTo>
                  <a:lnTo>
                    <a:pt x="426" y="1530"/>
                  </a:lnTo>
                  <a:lnTo>
                    <a:pt x="420" y="1530"/>
                  </a:lnTo>
                  <a:lnTo>
                    <a:pt x="414" y="1530"/>
                  </a:lnTo>
                  <a:lnTo>
                    <a:pt x="414" y="1524"/>
                  </a:lnTo>
                  <a:lnTo>
                    <a:pt x="408" y="1518"/>
                  </a:lnTo>
                  <a:lnTo>
                    <a:pt x="414" y="1512"/>
                  </a:lnTo>
                  <a:lnTo>
                    <a:pt x="408" y="1512"/>
                  </a:lnTo>
                  <a:lnTo>
                    <a:pt x="408" y="1506"/>
                  </a:lnTo>
                  <a:lnTo>
                    <a:pt x="408" y="1500"/>
                  </a:lnTo>
                  <a:lnTo>
                    <a:pt x="408" y="1494"/>
                  </a:lnTo>
                  <a:lnTo>
                    <a:pt x="408" y="1488"/>
                  </a:lnTo>
                  <a:lnTo>
                    <a:pt x="408" y="1494"/>
                  </a:lnTo>
                  <a:lnTo>
                    <a:pt x="414" y="1494"/>
                  </a:lnTo>
                  <a:lnTo>
                    <a:pt x="420" y="1494"/>
                  </a:lnTo>
                  <a:lnTo>
                    <a:pt x="420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82"/>
                  </a:lnTo>
                  <a:lnTo>
                    <a:pt x="426" y="1476"/>
                  </a:lnTo>
                  <a:lnTo>
                    <a:pt x="432" y="1476"/>
                  </a:lnTo>
                  <a:lnTo>
                    <a:pt x="432" y="1470"/>
                  </a:lnTo>
                  <a:lnTo>
                    <a:pt x="438" y="1470"/>
                  </a:lnTo>
                  <a:lnTo>
                    <a:pt x="444" y="1464"/>
                  </a:lnTo>
                  <a:lnTo>
                    <a:pt x="450" y="1458"/>
                  </a:lnTo>
                  <a:lnTo>
                    <a:pt x="456" y="1458"/>
                  </a:lnTo>
                  <a:lnTo>
                    <a:pt x="462" y="1452"/>
                  </a:lnTo>
                  <a:lnTo>
                    <a:pt x="468" y="1452"/>
                  </a:lnTo>
                  <a:lnTo>
                    <a:pt x="468" y="1446"/>
                  </a:lnTo>
                  <a:lnTo>
                    <a:pt x="462" y="1440"/>
                  </a:lnTo>
                  <a:lnTo>
                    <a:pt x="456" y="1434"/>
                  </a:lnTo>
                  <a:lnTo>
                    <a:pt x="456" y="1428"/>
                  </a:lnTo>
                  <a:lnTo>
                    <a:pt x="456" y="1422"/>
                  </a:lnTo>
                  <a:lnTo>
                    <a:pt x="456" y="1416"/>
                  </a:lnTo>
                  <a:lnTo>
                    <a:pt x="450" y="1410"/>
                  </a:lnTo>
                  <a:lnTo>
                    <a:pt x="444" y="1410"/>
                  </a:lnTo>
                  <a:lnTo>
                    <a:pt x="450" y="1410"/>
                  </a:lnTo>
                  <a:lnTo>
                    <a:pt x="450" y="1404"/>
                  </a:lnTo>
                  <a:lnTo>
                    <a:pt x="456" y="1404"/>
                  </a:lnTo>
                  <a:lnTo>
                    <a:pt x="462" y="1404"/>
                  </a:lnTo>
                  <a:lnTo>
                    <a:pt x="468" y="1398"/>
                  </a:lnTo>
                  <a:lnTo>
                    <a:pt x="462" y="1398"/>
                  </a:lnTo>
                  <a:lnTo>
                    <a:pt x="462" y="1392"/>
                  </a:lnTo>
                  <a:lnTo>
                    <a:pt x="456" y="1392"/>
                  </a:lnTo>
                  <a:lnTo>
                    <a:pt x="456" y="1386"/>
                  </a:lnTo>
                  <a:lnTo>
                    <a:pt x="462" y="1386"/>
                  </a:lnTo>
                  <a:lnTo>
                    <a:pt x="468" y="1386"/>
                  </a:lnTo>
                  <a:lnTo>
                    <a:pt x="474" y="1386"/>
                  </a:lnTo>
                  <a:lnTo>
                    <a:pt x="468" y="1386"/>
                  </a:lnTo>
                  <a:lnTo>
                    <a:pt x="462" y="1386"/>
                  </a:lnTo>
                  <a:lnTo>
                    <a:pt x="456" y="1380"/>
                  </a:lnTo>
                  <a:lnTo>
                    <a:pt x="456" y="1374"/>
                  </a:lnTo>
                  <a:lnTo>
                    <a:pt x="462" y="1374"/>
                  </a:lnTo>
                  <a:lnTo>
                    <a:pt x="462" y="1368"/>
                  </a:lnTo>
                  <a:lnTo>
                    <a:pt x="456" y="1374"/>
                  </a:lnTo>
                  <a:lnTo>
                    <a:pt x="456" y="1368"/>
                  </a:lnTo>
                  <a:lnTo>
                    <a:pt x="456" y="1362"/>
                  </a:lnTo>
                  <a:lnTo>
                    <a:pt x="450" y="1362"/>
                  </a:lnTo>
                  <a:lnTo>
                    <a:pt x="450" y="1356"/>
                  </a:lnTo>
                  <a:lnTo>
                    <a:pt x="450" y="1350"/>
                  </a:lnTo>
                  <a:lnTo>
                    <a:pt x="450" y="1344"/>
                  </a:lnTo>
                  <a:lnTo>
                    <a:pt x="456" y="1344"/>
                  </a:lnTo>
                  <a:lnTo>
                    <a:pt x="456" y="1338"/>
                  </a:lnTo>
                  <a:lnTo>
                    <a:pt x="462" y="1338"/>
                  </a:lnTo>
                  <a:lnTo>
                    <a:pt x="462" y="1332"/>
                  </a:lnTo>
                  <a:lnTo>
                    <a:pt x="456" y="1332"/>
                  </a:lnTo>
                  <a:lnTo>
                    <a:pt x="456" y="1326"/>
                  </a:lnTo>
                  <a:lnTo>
                    <a:pt x="450" y="1326"/>
                  </a:lnTo>
                  <a:lnTo>
                    <a:pt x="444" y="1326"/>
                  </a:lnTo>
                  <a:lnTo>
                    <a:pt x="444" y="1332"/>
                  </a:lnTo>
                  <a:lnTo>
                    <a:pt x="438" y="1332"/>
                  </a:lnTo>
                  <a:lnTo>
                    <a:pt x="438" y="1338"/>
                  </a:lnTo>
                  <a:lnTo>
                    <a:pt x="432" y="1338"/>
                  </a:lnTo>
                  <a:lnTo>
                    <a:pt x="432" y="1344"/>
                  </a:lnTo>
                  <a:lnTo>
                    <a:pt x="432" y="1350"/>
                  </a:lnTo>
                  <a:lnTo>
                    <a:pt x="426" y="1356"/>
                  </a:lnTo>
                  <a:lnTo>
                    <a:pt x="426" y="1368"/>
                  </a:lnTo>
                  <a:lnTo>
                    <a:pt x="426" y="1374"/>
                  </a:lnTo>
                  <a:lnTo>
                    <a:pt x="426" y="1380"/>
                  </a:lnTo>
                  <a:lnTo>
                    <a:pt x="432" y="1386"/>
                  </a:lnTo>
                  <a:lnTo>
                    <a:pt x="432" y="1392"/>
                  </a:lnTo>
                  <a:lnTo>
                    <a:pt x="432" y="1398"/>
                  </a:lnTo>
                  <a:lnTo>
                    <a:pt x="426" y="1398"/>
                  </a:lnTo>
                  <a:lnTo>
                    <a:pt x="420" y="1398"/>
                  </a:lnTo>
                  <a:lnTo>
                    <a:pt x="414" y="1398"/>
                  </a:lnTo>
                  <a:lnTo>
                    <a:pt x="420" y="1398"/>
                  </a:lnTo>
                  <a:lnTo>
                    <a:pt x="414" y="1404"/>
                  </a:lnTo>
                  <a:lnTo>
                    <a:pt x="420" y="1404"/>
                  </a:lnTo>
                  <a:lnTo>
                    <a:pt x="414" y="1404"/>
                  </a:lnTo>
                  <a:lnTo>
                    <a:pt x="408" y="1404"/>
                  </a:lnTo>
                  <a:lnTo>
                    <a:pt x="402" y="1410"/>
                  </a:lnTo>
                  <a:lnTo>
                    <a:pt x="402" y="1404"/>
                  </a:lnTo>
                  <a:lnTo>
                    <a:pt x="396" y="1404"/>
                  </a:lnTo>
                  <a:lnTo>
                    <a:pt x="390" y="1404"/>
                  </a:lnTo>
                  <a:lnTo>
                    <a:pt x="384" y="1404"/>
                  </a:lnTo>
                  <a:lnTo>
                    <a:pt x="384" y="1398"/>
                  </a:lnTo>
                  <a:lnTo>
                    <a:pt x="384" y="1392"/>
                  </a:lnTo>
                  <a:lnTo>
                    <a:pt x="390" y="1392"/>
                  </a:lnTo>
                  <a:lnTo>
                    <a:pt x="390" y="1386"/>
                  </a:lnTo>
                  <a:lnTo>
                    <a:pt x="390" y="1380"/>
                  </a:lnTo>
                  <a:lnTo>
                    <a:pt x="396" y="1380"/>
                  </a:lnTo>
                  <a:lnTo>
                    <a:pt x="402" y="1380"/>
                  </a:lnTo>
                  <a:lnTo>
                    <a:pt x="408" y="1380"/>
                  </a:lnTo>
                  <a:lnTo>
                    <a:pt x="408" y="1374"/>
                  </a:lnTo>
                  <a:lnTo>
                    <a:pt x="414" y="1374"/>
                  </a:lnTo>
                  <a:lnTo>
                    <a:pt x="414" y="1368"/>
                  </a:lnTo>
                  <a:lnTo>
                    <a:pt x="414" y="1362"/>
                  </a:lnTo>
                  <a:lnTo>
                    <a:pt x="414" y="1368"/>
                  </a:lnTo>
                  <a:lnTo>
                    <a:pt x="414" y="1374"/>
                  </a:lnTo>
                  <a:lnTo>
                    <a:pt x="408" y="1374"/>
                  </a:lnTo>
                  <a:lnTo>
                    <a:pt x="402" y="1380"/>
                  </a:lnTo>
                  <a:lnTo>
                    <a:pt x="396" y="1380"/>
                  </a:lnTo>
                  <a:lnTo>
                    <a:pt x="396" y="1374"/>
                  </a:lnTo>
                  <a:lnTo>
                    <a:pt x="390" y="1374"/>
                  </a:lnTo>
                  <a:lnTo>
                    <a:pt x="390" y="1368"/>
                  </a:lnTo>
                  <a:lnTo>
                    <a:pt x="384" y="1368"/>
                  </a:lnTo>
                  <a:lnTo>
                    <a:pt x="384" y="1374"/>
                  </a:lnTo>
                  <a:lnTo>
                    <a:pt x="378" y="1374"/>
                  </a:lnTo>
                  <a:lnTo>
                    <a:pt x="378" y="1380"/>
                  </a:lnTo>
                  <a:lnTo>
                    <a:pt x="372" y="1380"/>
                  </a:lnTo>
                  <a:lnTo>
                    <a:pt x="366" y="1386"/>
                  </a:lnTo>
                  <a:lnTo>
                    <a:pt x="360" y="1386"/>
                  </a:lnTo>
                  <a:lnTo>
                    <a:pt x="354" y="1386"/>
                  </a:lnTo>
                  <a:lnTo>
                    <a:pt x="354" y="1380"/>
                  </a:lnTo>
                  <a:lnTo>
                    <a:pt x="348" y="1380"/>
                  </a:lnTo>
                  <a:lnTo>
                    <a:pt x="342" y="1380"/>
                  </a:lnTo>
                  <a:lnTo>
                    <a:pt x="342" y="1374"/>
                  </a:lnTo>
                  <a:lnTo>
                    <a:pt x="336" y="1368"/>
                  </a:lnTo>
                  <a:lnTo>
                    <a:pt x="342" y="1368"/>
                  </a:lnTo>
                  <a:lnTo>
                    <a:pt x="342" y="1362"/>
                  </a:lnTo>
                  <a:lnTo>
                    <a:pt x="348" y="1362"/>
                  </a:lnTo>
                  <a:lnTo>
                    <a:pt x="354" y="1362"/>
                  </a:lnTo>
                  <a:lnTo>
                    <a:pt x="354" y="1356"/>
                  </a:lnTo>
                  <a:lnTo>
                    <a:pt x="348" y="1356"/>
                  </a:lnTo>
                  <a:lnTo>
                    <a:pt x="348" y="1350"/>
                  </a:lnTo>
                  <a:lnTo>
                    <a:pt x="348" y="1344"/>
                  </a:lnTo>
                  <a:lnTo>
                    <a:pt x="354" y="1338"/>
                  </a:lnTo>
                  <a:lnTo>
                    <a:pt x="354" y="1332"/>
                  </a:lnTo>
                  <a:lnTo>
                    <a:pt x="354" y="1326"/>
                  </a:lnTo>
                  <a:lnTo>
                    <a:pt x="354" y="1320"/>
                  </a:lnTo>
                  <a:lnTo>
                    <a:pt x="354" y="1314"/>
                  </a:lnTo>
                  <a:lnTo>
                    <a:pt x="354" y="1308"/>
                  </a:lnTo>
                  <a:lnTo>
                    <a:pt x="348" y="1308"/>
                  </a:lnTo>
                  <a:lnTo>
                    <a:pt x="348" y="1302"/>
                  </a:lnTo>
                  <a:lnTo>
                    <a:pt x="342" y="1296"/>
                  </a:lnTo>
                  <a:lnTo>
                    <a:pt x="336" y="1296"/>
                  </a:lnTo>
                  <a:lnTo>
                    <a:pt x="336" y="1290"/>
                  </a:lnTo>
                  <a:lnTo>
                    <a:pt x="330" y="1290"/>
                  </a:lnTo>
                  <a:lnTo>
                    <a:pt x="324" y="1290"/>
                  </a:lnTo>
                  <a:lnTo>
                    <a:pt x="324" y="1284"/>
                  </a:lnTo>
                  <a:lnTo>
                    <a:pt x="318" y="1284"/>
                  </a:lnTo>
                  <a:lnTo>
                    <a:pt x="318" y="1278"/>
                  </a:lnTo>
                  <a:lnTo>
                    <a:pt x="312" y="1278"/>
                  </a:lnTo>
                  <a:lnTo>
                    <a:pt x="312" y="1272"/>
                  </a:lnTo>
                  <a:lnTo>
                    <a:pt x="312" y="1278"/>
                  </a:lnTo>
                  <a:lnTo>
                    <a:pt x="318" y="1284"/>
                  </a:lnTo>
                  <a:lnTo>
                    <a:pt x="324" y="1290"/>
                  </a:lnTo>
                  <a:lnTo>
                    <a:pt x="330" y="1290"/>
                  </a:lnTo>
                  <a:lnTo>
                    <a:pt x="330" y="1296"/>
                  </a:lnTo>
                  <a:lnTo>
                    <a:pt x="336" y="1296"/>
                  </a:lnTo>
                  <a:lnTo>
                    <a:pt x="336" y="1302"/>
                  </a:lnTo>
                  <a:lnTo>
                    <a:pt x="342" y="1302"/>
                  </a:lnTo>
                  <a:lnTo>
                    <a:pt x="348" y="1302"/>
                  </a:lnTo>
                  <a:lnTo>
                    <a:pt x="348" y="1308"/>
                  </a:lnTo>
                  <a:lnTo>
                    <a:pt x="348" y="1314"/>
                  </a:lnTo>
                  <a:lnTo>
                    <a:pt x="354" y="1314"/>
                  </a:lnTo>
                  <a:lnTo>
                    <a:pt x="354" y="1320"/>
                  </a:lnTo>
                  <a:lnTo>
                    <a:pt x="354" y="1326"/>
                  </a:lnTo>
                  <a:lnTo>
                    <a:pt x="348" y="1326"/>
                  </a:lnTo>
                  <a:lnTo>
                    <a:pt x="348" y="1332"/>
                  </a:lnTo>
                  <a:lnTo>
                    <a:pt x="348" y="1338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2" y="1350"/>
                  </a:lnTo>
                  <a:lnTo>
                    <a:pt x="336" y="1350"/>
                  </a:lnTo>
                  <a:lnTo>
                    <a:pt x="330" y="1350"/>
                  </a:lnTo>
                  <a:lnTo>
                    <a:pt x="330" y="1356"/>
                  </a:lnTo>
                  <a:lnTo>
                    <a:pt x="330" y="1350"/>
                  </a:lnTo>
                  <a:lnTo>
                    <a:pt x="324" y="1350"/>
                  </a:lnTo>
                  <a:lnTo>
                    <a:pt x="318" y="1344"/>
                  </a:lnTo>
                  <a:lnTo>
                    <a:pt x="318" y="1350"/>
                  </a:lnTo>
                  <a:lnTo>
                    <a:pt x="312" y="1344"/>
                  </a:lnTo>
                  <a:lnTo>
                    <a:pt x="312" y="1338"/>
                  </a:lnTo>
                  <a:lnTo>
                    <a:pt x="306" y="1338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6" y="1326"/>
                  </a:lnTo>
                  <a:lnTo>
                    <a:pt x="306" y="1320"/>
                  </a:lnTo>
                  <a:lnTo>
                    <a:pt x="306" y="1326"/>
                  </a:lnTo>
                  <a:lnTo>
                    <a:pt x="312" y="1326"/>
                  </a:lnTo>
                  <a:lnTo>
                    <a:pt x="312" y="1320"/>
                  </a:lnTo>
                  <a:lnTo>
                    <a:pt x="306" y="1320"/>
                  </a:lnTo>
                  <a:lnTo>
                    <a:pt x="300" y="1320"/>
                  </a:lnTo>
                  <a:lnTo>
                    <a:pt x="294" y="1320"/>
                  </a:lnTo>
                  <a:lnTo>
                    <a:pt x="294" y="1314"/>
                  </a:lnTo>
                  <a:lnTo>
                    <a:pt x="288" y="1314"/>
                  </a:lnTo>
                  <a:lnTo>
                    <a:pt x="288" y="1308"/>
                  </a:lnTo>
                  <a:lnTo>
                    <a:pt x="288" y="1302"/>
                  </a:lnTo>
                  <a:lnTo>
                    <a:pt x="294" y="1302"/>
                  </a:lnTo>
                  <a:lnTo>
                    <a:pt x="294" y="1296"/>
                  </a:lnTo>
                  <a:lnTo>
                    <a:pt x="288" y="1296"/>
                  </a:lnTo>
                  <a:lnTo>
                    <a:pt x="288" y="1290"/>
                  </a:lnTo>
                  <a:lnTo>
                    <a:pt x="288" y="1296"/>
                  </a:lnTo>
                  <a:lnTo>
                    <a:pt x="294" y="1302"/>
                  </a:lnTo>
                  <a:lnTo>
                    <a:pt x="288" y="1302"/>
                  </a:lnTo>
                  <a:lnTo>
                    <a:pt x="282" y="1296"/>
                  </a:lnTo>
                  <a:lnTo>
                    <a:pt x="276" y="1296"/>
                  </a:lnTo>
                  <a:lnTo>
                    <a:pt x="276" y="1290"/>
                  </a:lnTo>
                  <a:lnTo>
                    <a:pt x="270" y="1290"/>
                  </a:lnTo>
                  <a:lnTo>
                    <a:pt x="264" y="1284"/>
                  </a:lnTo>
                  <a:lnTo>
                    <a:pt x="264" y="1278"/>
                  </a:lnTo>
                  <a:lnTo>
                    <a:pt x="264" y="1272"/>
                  </a:lnTo>
                  <a:lnTo>
                    <a:pt x="264" y="1266"/>
                  </a:lnTo>
                  <a:lnTo>
                    <a:pt x="258" y="1266"/>
                  </a:lnTo>
                  <a:lnTo>
                    <a:pt x="252" y="1266"/>
                  </a:lnTo>
                  <a:lnTo>
                    <a:pt x="246" y="1260"/>
                  </a:lnTo>
                  <a:lnTo>
                    <a:pt x="240" y="1254"/>
                  </a:lnTo>
                  <a:lnTo>
                    <a:pt x="240" y="1260"/>
                  </a:lnTo>
                  <a:lnTo>
                    <a:pt x="240" y="1266"/>
                  </a:lnTo>
                  <a:lnTo>
                    <a:pt x="240" y="1272"/>
                  </a:lnTo>
                  <a:lnTo>
                    <a:pt x="246" y="1272"/>
                  </a:lnTo>
                  <a:lnTo>
                    <a:pt x="246" y="1278"/>
                  </a:lnTo>
                  <a:lnTo>
                    <a:pt x="246" y="1284"/>
                  </a:lnTo>
                  <a:lnTo>
                    <a:pt x="252" y="1284"/>
                  </a:lnTo>
                  <a:lnTo>
                    <a:pt x="252" y="1290"/>
                  </a:lnTo>
                  <a:lnTo>
                    <a:pt x="258" y="1296"/>
                  </a:lnTo>
                  <a:lnTo>
                    <a:pt x="264" y="1302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58" y="1314"/>
                  </a:lnTo>
                  <a:lnTo>
                    <a:pt x="258" y="1308"/>
                  </a:lnTo>
                  <a:lnTo>
                    <a:pt x="252" y="1308"/>
                  </a:lnTo>
                  <a:lnTo>
                    <a:pt x="252" y="1302"/>
                  </a:lnTo>
                  <a:lnTo>
                    <a:pt x="246" y="1302"/>
                  </a:lnTo>
                  <a:lnTo>
                    <a:pt x="246" y="1296"/>
                  </a:lnTo>
                  <a:lnTo>
                    <a:pt x="240" y="1296"/>
                  </a:lnTo>
                  <a:lnTo>
                    <a:pt x="240" y="1290"/>
                  </a:lnTo>
                  <a:lnTo>
                    <a:pt x="234" y="1284"/>
                  </a:lnTo>
                  <a:lnTo>
                    <a:pt x="234" y="1278"/>
                  </a:lnTo>
                  <a:close/>
                  <a:moveTo>
                    <a:pt x="444" y="1332"/>
                  </a:moveTo>
                  <a:lnTo>
                    <a:pt x="450" y="1326"/>
                  </a:lnTo>
                  <a:lnTo>
                    <a:pt x="456" y="1326"/>
                  </a:lnTo>
                  <a:lnTo>
                    <a:pt x="456" y="1332"/>
                  </a:lnTo>
                  <a:lnTo>
                    <a:pt x="456" y="1338"/>
                  </a:lnTo>
                  <a:lnTo>
                    <a:pt x="450" y="1338"/>
                  </a:lnTo>
                  <a:lnTo>
                    <a:pt x="444" y="1338"/>
                  </a:lnTo>
                  <a:lnTo>
                    <a:pt x="444" y="1332"/>
                  </a:lnTo>
                  <a:close/>
                  <a:moveTo>
                    <a:pt x="444" y="1368"/>
                  </a:moveTo>
                  <a:lnTo>
                    <a:pt x="456" y="1368"/>
                  </a:lnTo>
                  <a:lnTo>
                    <a:pt x="456" y="1374"/>
                  </a:lnTo>
                  <a:lnTo>
                    <a:pt x="444" y="1374"/>
                  </a:lnTo>
                  <a:lnTo>
                    <a:pt x="444" y="1368"/>
                  </a:lnTo>
                  <a:close/>
                  <a:moveTo>
                    <a:pt x="444" y="1386"/>
                  </a:moveTo>
                  <a:lnTo>
                    <a:pt x="444" y="1380"/>
                  </a:lnTo>
                  <a:lnTo>
                    <a:pt x="444" y="1374"/>
                  </a:lnTo>
                  <a:lnTo>
                    <a:pt x="444" y="1380"/>
                  </a:lnTo>
                  <a:lnTo>
                    <a:pt x="450" y="1380"/>
                  </a:lnTo>
                  <a:lnTo>
                    <a:pt x="456" y="1380"/>
                  </a:lnTo>
                  <a:lnTo>
                    <a:pt x="456" y="1386"/>
                  </a:lnTo>
                  <a:lnTo>
                    <a:pt x="456" y="1392"/>
                  </a:lnTo>
                  <a:lnTo>
                    <a:pt x="462" y="1392"/>
                  </a:lnTo>
                  <a:lnTo>
                    <a:pt x="462" y="1398"/>
                  </a:lnTo>
                  <a:lnTo>
                    <a:pt x="462" y="1404"/>
                  </a:lnTo>
                  <a:lnTo>
                    <a:pt x="456" y="1404"/>
                  </a:lnTo>
                  <a:lnTo>
                    <a:pt x="450" y="1404"/>
                  </a:lnTo>
                  <a:lnTo>
                    <a:pt x="450" y="1398"/>
                  </a:lnTo>
                  <a:lnTo>
                    <a:pt x="444" y="1398"/>
                  </a:lnTo>
                  <a:lnTo>
                    <a:pt x="444" y="1392"/>
                  </a:lnTo>
                  <a:lnTo>
                    <a:pt x="444" y="1386"/>
                  </a:lnTo>
                  <a:close/>
                  <a:moveTo>
                    <a:pt x="438" y="1362"/>
                  </a:moveTo>
                  <a:lnTo>
                    <a:pt x="444" y="1356"/>
                  </a:lnTo>
                  <a:lnTo>
                    <a:pt x="450" y="1356"/>
                  </a:lnTo>
                  <a:lnTo>
                    <a:pt x="450" y="1362"/>
                  </a:lnTo>
                  <a:lnTo>
                    <a:pt x="450" y="1368"/>
                  </a:lnTo>
                  <a:lnTo>
                    <a:pt x="444" y="1368"/>
                  </a:lnTo>
                  <a:lnTo>
                    <a:pt x="444" y="1362"/>
                  </a:lnTo>
                  <a:lnTo>
                    <a:pt x="438" y="1362"/>
                  </a:lnTo>
                  <a:close/>
                  <a:moveTo>
                    <a:pt x="438" y="1350"/>
                  </a:moveTo>
                  <a:lnTo>
                    <a:pt x="438" y="1344"/>
                  </a:lnTo>
                  <a:lnTo>
                    <a:pt x="438" y="1338"/>
                  </a:lnTo>
                  <a:lnTo>
                    <a:pt x="444" y="1338"/>
                  </a:lnTo>
                  <a:lnTo>
                    <a:pt x="450" y="1338"/>
                  </a:lnTo>
                  <a:lnTo>
                    <a:pt x="456" y="1338"/>
                  </a:lnTo>
                  <a:lnTo>
                    <a:pt x="450" y="1344"/>
                  </a:lnTo>
                  <a:lnTo>
                    <a:pt x="444" y="1350"/>
                  </a:lnTo>
                  <a:lnTo>
                    <a:pt x="438" y="1350"/>
                  </a:lnTo>
                  <a:close/>
                  <a:moveTo>
                    <a:pt x="432" y="1380"/>
                  </a:moveTo>
                  <a:lnTo>
                    <a:pt x="432" y="1368"/>
                  </a:lnTo>
                  <a:lnTo>
                    <a:pt x="432" y="1362"/>
                  </a:lnTo>
                  <a:lnTo>
                    <a:pt x="432" y="1356"/>
                  </a:lnTo>
                  <a:lnTo>
                    <a:pt x="438" y="1356"/>
                  </a:lnTo>
                  <a:lnTo>
                    <a:pt x="438" y="1362"/>
                  </a:lnTo>
                  <a:lnTo>
                    <a:pt x="438" y="1368"/>
                  </a:lnTo>
                  <a:lnTo>
                    <a:pt x="438" y="1374"/>
                  </a:lnTo>
                  <a:lnTo>
                    <a:pt x="438" y="1380"/>
                  </a:lnTo>
                  <a:lnTo>
                    <a:pt x="438" y="1386"/>
                  </a:lnTo>
                  <a:lnTo>
                    <a:pt x="438" y="1380"/>
                  </a:lnTo>
                  <a:lnTo>
                    <a:pt x="432" y="1380"/>
                  </a:lnTo>
                  <a:close/>
                  <a:moveTo>
                    <a:pt x="246" y="1272"/>
                  </a:moveTo>
                  <a:lnTo>
                    <a:pt x="252" y="1272"/>
                  </a:lnTo>
                  <a:lnTo>
                    <a:pt x="252" y="1278"/>
                  </a:lnTo>
                  <a:lnTo>
                    <a:pt x="246" y="1278"/>
                  </a:lnTo>
                  <a:lnTo>
                    <a:pt x="246" y="1272"/>
                  </a:lnTo>
                  <a:close/>
                  <a:moveTo>
                    <a:pt x="426" y="1416"/>
                  </a:moveTo>
                  <a:lnTo>
                    <a:pt x="432" y="1410"/>
                  </a:lnTo>
                  <a:lnTo>
                    <a:pt x="438" y="1410"/>
                  </a:lnTo>
                  <a:lnTo>
                    <a:pt x="438" y="1416"/>
                  </a:lnTo>
                  <a:lnTo>
                    <a:pt x="438" y="1422"/>
                  </a:lnTo>
                  <a:lnTo>
                    <a:pt x="432" y="1422"/>
                  </a:lnTo>
                  <a:lnTo>
                    <a:pt x="426" y="1422"/>
                  </a:lnTo>
                  <a:lnTo>
                    <a:pt x="426" y="1416"/>
                  </a:lnTo>
                  <a:close/>
                  <a:moveTo>
                    <a:pt x="246" y="1266"/>
                  </a:moveTo>
                  <a:lnTo>
                    <a:pt x="252" y="1266"/>
                  </a:lnTo>
                  <a:lnTo>
                    <a:pt x="258" y="1272"/>
                  </a:lnTo>
                  <a:lnTo>
                    <a:pt x="258" y="1278"/>
                  </a:lnTo>
                  <a:lnTo>
                    <a:pt x="258" y="1284"/>
                  </a:lnTo>
                  <a:lnTo>
                    <a:pt x="252" y="1284"/>
                  </a:lnTo>
                  <a:lnTo>
                    <a:pt x="252" y="1278"/>
                  </a:lnTo>
                  <a:lnTo>
                    <a:pt x="252" y="1272"/>
                  </a:lnTo>
                  <a:lnTo>
                    <a:pt x="252" y="1266"/>
                  </a:lnTo>
                  <a:lnTo>
                    <a:pt x="246" y="1266"/>
                  </a:lnTo>
                  <a:close/>
                  <a:moveTo>
                    <a:pt x="408" y="1458"/>
                  </a:moveTo>
                  <a:lnTo>
                    <a:pt x="408" y="1452"/>
                  </a:lnTo>
                  <a:lnTo>
                    <a:pt x="414" y="1452"/>
                  </a:lnTo>
                  <a:lnTo>
                    <a:pt x="414" y="1446"/>
                  </a:lnTo>
                  <a:lnTo>
                    <a:pt x="414" y="1440"/>
                  </a:lnTo>
                  <a:lnTo>
                    <a:pt x="420" y="1440"/>
                  </a:lnTo>
                  <a:lnTo>
                    <a:pt x="420" y="1434"/>
                  </a:lnTo>
                  <a:lnTo>
                    <a:pt x="420" y="1428"/>
                  </a:lnTo>
                  <a:lnTo>
                    <a:pt x="420" y="1422"/>
                  </a:lnTo>
                  <a:lnTo>
                    <a:pt x="426" y="1422"/>
                  </a:lnTo>
                  <a:lnTo>
                    <a:pt x="432" y="1428"/>
                  </a:lnTo>
                  <a:lnTo>
                    <a:pt x="438" y="1428"/>
                  </a:lnTo>
                  <a:lnTo>
                    <a:pt x="438" y="1434"/>
                  </a:lnTo>
                  <a:lnTo>
                    <a:pt x="438" y="1428"/>
                  </a:lnTo>
                  <a:lnTo>
                    <a:pt x="438" y="1422"/>
                  </a:lnTo>
                  <a:lnTo>
                    <a:pt x="444" y="1416"/>
                  </a:lnTo>
                  <a:lnTo>
                    <a:pt x="444" y="1410"/>
                  </a:lnTo>
                  <a:lnTo>
                    <a:pt x="450" y="1416"/>
                  </a:lnTo>
                  <a:lnTo>
                    <a:pt x="456" y="1416"/>
                  </a:lnTo>
                  <a:lnTo>
                    <a:pt x="456" y="1422"/>
                  </a:lnTo>
                  <a:lnTo>
                    <a:pt x="456" y="1428"/>
                  </a:lnTo>
                  <a:lnTo>
                    <a:pt x="456" y="1434"/>
                  </a:lnTo>
                  <a:lnTo>
                    <a:pt x="456" y="1440"/>
                  </a:lnTo>
                  <a:lnTo>
                    <a:pt x="462" y="1440"/>
                  </a:lnTo>
                  <a:lnTo>
                    <a:pt x="462" y="1446"/>
                  </a:lnTo>
                  <a:lnTo>
                    <a:pt x="462" y="1452"/>
                  </a:lnTo>
                  <a:lnTo>
                    <a:pt x="456" y="1452"/>
                  </a:lnTo>
                  <a:lnTo>
                    <a:pt x="450" y="1452"/>
                  </a:lnTo>
                  <a:lnTo>
                    <a:pt x="444" y="1446"/>
                  </a:lnTo>
                  <a:lnTo>
                    <a:pt x="444" y="1452"/>
                  </a:lnTo>
                  <a:lnTo>
                    <a:pt x="450" y="1452"/>
                  </a:lnTo>
                  <a:lnTo>
                    <a:pt x="450" y="1458"/>
                  </a:lnTo>
                  <a:lnTo>
                    <a:pt x="444" y="1458"/>
                  </a:lnTo>
                  <a:lnTo>
                    <a:pt x="438" y="1464"/>
                  </a:lnTo>
                  <a:lnTo>
                    <a:pt x="438" y="1458"/>
                  </a:lnTo>
                  <a:lnTo>
                    <a:pt x="432" y="1458"/>
                  </a:lnTo>
                  <a:lnTo>
                    <a:pt x="426" y="1458"/>
                  </a:lnTo>
                  <a:lnTo>
                    <a:pt x="432" y="1458"/>
                  </a:lnTo>
                  <a:lnTo>
                    <a:pt x="438" y="1464"/>
                  </a:lnTo>
                  <a:lnTo>
                    <a:pt x="432" y="1464"/>
                  </a:lnTo>
                  <a:lnTo>
                    <a:pt x="432" y="1470"/>
                  </a:lnTo>
                  <a:lnTo>
                    <a:pt x="426" y="1470"/>
                  </a:lnTo>
                  <a:lnTo>
                    <a:pt x="420" y="1476"/>
                  </a:lnTo>
                  <a:lnTo>
                    <a:pt x="420" y="1470"/>
                  </a:lnTo>
                  <a:lnTo>
                    <a:pt x="414" y="1470"/>
                  </a:lnTo>
                  <a:lnTo>
                    <a:pt x="414" y="1464"/>
                  </a:lnTo>
                  <a:lnTo>
                    <a:pt x="414" y="1458"/>
                  </a:lnTo>
                  <a:lnTo>
                    <a:pt x="408" y="1458"/>
                  </a:lnTo>
                  <a:close/>
                  <a:moveTo>
                    <a:pt x="270" y="1326"/>
                  </a:moveTo>
                  <a:lnTo>
                    <a:pt x="270" y="1320"/>
                  </a:lnTo>
                  <a:lnTo>
                    <a:pt x="276" y="1320"/>
                  </a:lnTo>
                  <a:lnTo>
                    <a:pt x="282" y="1326"/>
                  </a:lnTo>
                  <a:lnTo>
                    <a:pt x="288" y="1326"/>
                  </a:lnTo>
                  <a:lnTo>
                    <a:pt x="288" y="1332"/>
                  </a:lnTo>
                  <a:lnTo>
                    <a:pt x="288" y="1338"/>
                  </a:lnTo>
                  <a:lnTo>
                    <a:pt x="288" y="1344"/>
                  </a:lnTo>
                  <a:lnTo>
                    <a:pt x="282" y="1344"/>
                  </a:lnTo>
                  <a:lnTo>
                    <a:pt x="282" y="1338"/>
                  </a:lnTo>
                  <a:lnTo>
                    <a:pt x="276" y="1338"/>
                  </a:lnTo>
                  <a:lnTo>
                    <a:pt x="276" y="1332"/>
                  </a:lnTo>
                  <a:lnTo>
                    <a:pt x="270" y="1332"/>
                  </a:lnTo>
                  <a:lnTo>
                    <a:pt x="270" y="1326"/>
                  </a:lnTo>
                  <a:close/>
                  <a:moveTo>
                    <a:pt x="288" y="1458"/>
                  </a:moveTo>
                  <a:lnTo>
                    <a:pt x="294" y="1458"/>
                  </a:lnTo>
                  <a:lnTo>
                    <a:pt x="294" y="1452"/>
                  </a:lnTo>
                  <a:lnTo>
                    <a:pt x="294" y="1446"/>
                  </a:lnTo>
                  <a:lnTo>
                    <a:pt x="300" y="1446"/>
                  </a:lnTo>
                  <a:lnTo>
                    <a:pt x="300" y="1440"/>
                  </a:lnTo>
                  <a:lnTo>
                    <a:pt x="306" y="1440"/>
                  </a:lnTo>
                  <a:lnTo>
                    <a:pt x="306" y="1446"/>
                  </a:lnTo>
                  <a:lnTo>
                    <a:pt x="312" y="1452"/>
                  </a:lnTo>
                  <a:lnTo>
                    <a:pt x="306" y="1452"/>
                  </a:lnTo>
                  <a:lnTo>
                    <a:pt x="306" y="1458"/>
                  </a:lnTo>
                  <a:lnTo>
                    <a:pt x="312" y="1464"/>
                  </a:lnTo>
                  <a:lnTo>
                    <a:pt x="306" y="1464"/>
                  </a:lnTo>
                  <a:lnTo>
                    <a:pt x="306" y="1470"/>
                  </a:lnTo>
                  <a:lnTo>
                    <a:pt x="300" y="1476"/>
                  </a:lnTo>
                  <a:lnTo>
                    <a:pt x="294" y="1476"/>
                  </a:lnTo>
                  <a:lnTo>
                    <a:pt x="294" y="1470"/>
                  </a:lnTo>
                  <a:lnTo>
                    <a:pt x="288" y="1470"/>
                  </a:lnTo>
                  <a:lnTo>
                    <a:pt x="288" y="1464"/>
                  </a:lnTo>
                  <a:lnTo>
                    <a:pt x="288" y="1458"/>
                  </a:lnTo>
                  <a:close/>
                  <a:moveTo>
                    <a:pt x="270" y="1296"/>
                  </a:moveTo>
                  <a:lnTo>
                    <a:pt x="276" y="1296"/>
                  </a:lnTo>
                  <a:lnTo>
                    <a:pt x="282" y="1296"/>
                  </a:lnTo>
                  <a:lnTo>
                    <a:pt x="288" y="1296"/>
                  </a:lnTo>
                  <a:lnTo>
                    <a:pt x="288" y="1302"/>
                  </a:lnTo>
                  <a:lnTo>
                    <a:pt x="282" y="1308"/>
                  </a:lnTo>
                  <a:lnTo>
                    <a:pt x="276" y="1308"/>
                  </a:lnTo>
                  <a:lnTo>
                    <a:pt x="276" y="1302"/>
                  </a:lnTo>
                  <a:lnTo>
                    <a:pt x="270" y="12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4" name="Freeform 19">
              <a:extLst>
                <a:ext uri="{FF2B5EF4-FFF2-40B4-BE49-F238E27FC236}">
                  <a16:creationId xmlns:a16="http://schemas.microsoft.com/office/drawing/2014/main" id="{5B9020B8-E1C1-4611-A248-9642BBD69C9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7043" y="3765821"/>
              <a:ext cx="333193" cy="398097"/>
            </a:xfrm>
            <a:custGeom>
              <a:avLst/>
              <a:gdLst>
                <a:gd name="T0" fmla="*/ 30 w 624"/>
                <a:gd name="T1" fmla="*/ 61 h 750"/>
                <a:gd name="T2" fmla="*/ 27 w 624"/>
                <a:gd name="T3" fmla="*/ 62 h 750"/>
                <a:gd name="T4" fmla="*/ 23 w 624"/>
                <a:gd name="T5" fmla="*/ 59 h 750"/>
                <a:gd name="T6" fmla="*/ 20 w 624"/>
                <a:gd name="T7" fmla="*/ 58 h 750"/>
                <a:gd name="T8" fmla="*/ 19 w 624"/>
                <a:gd name="T9" fmla="*/ 56 h 750"/>
                <a:gd name="T10" fmla="*/ 17 w 624"/>
                <a:gd name="T11" fmla="*/ 55 h 750"/>
                <a:gd name="T12" fmla="*/ 16 w 624"/>
                <a:gd name="T13" fmla="*/ 51 h 750"/>
                <a:gd name="T14" fmla="*/ 14 w 624"/>
                <a:gd name="T15" fmla="*/ 48 h 750"/>
                <a:gd name="T16" fmla="*/ 12 w 624"/>
                <a:gd name="T17" fmla="*/ 46 h 750"/>
                <a:gd name="T18" fmla="*/ 12 w 624"/>
                <a:gd name="T19" fmla="*/ 44 h 750"/>
                <a:gd name="T20" fmla="*/ 11 w 624"/>
                <a:gd name="T21" fmla="*/ 41 h 750"/>
                <a:gd name="T22" fmla="*/ 8 w 624"/>
                <a:gd name="T23" fmla="*/ 38 h 750"/>
                <a:gd name="T24" fmla="*/ 6 w 624"/>
                <a:gd name="T25" fmla="*/ 38 h 750"/>
                <a:gd name="T26" fmla="*/ 6 w 624"/>
                <a:gd name="T27" fmla="*/ 35 h 750"/>
                <a:gd name="T28" fmla="*/ 7 w 624"/>
                <a:gd name="T29" fmla="*/ 31 h 750"/>
                <a:gd name="T30" fmla="*/ 10 w 624"/>
                <a:gd name="T31" fmla="*/ 27 h 750"/>
                <a:gd name="T32" fmla="*/ 8 w 624"/>
                <a:gd name="T33" fmla="*/ 23 h 750"/>
                <a:gd name="T34" fmla="*/ 6 w 624"/>
                <a:gd name="T35" fmla="*/ 23 h 750"/>
                <a:gd name="T36" fmla="*/ 3 w 624"/>
                <a:gd name="T37" fmla="*/ 22 h 750"/>
                <a:gd name="T38" fmla="*/ 0 w 624"/>
                <a:gd name="T39" fmla="*/ 22 h 750"/>
                <a:gd name="T40" fmla="*/ 0 w 624"/>
                <a:gd name="T41" fmla="*/ 19 h 750"/>
                <a:gd name="T42" fmla="*/ 1 w 624"/>
                <a:gd name="T43" fmla="*/ 18 h 750"/>
                <a:gd name="T44" fmla="*/ 2 w 624"/>
                <a:gd name="T45" fmla="*/ 14 h 750"/>
                <a:gd name="T46" fmla="*/ 4 w 624"/>
                <a:gd name="T47" fmla="*/ 17 h 750"/>
                <a:gd name="T48" fmla="*/ 6 w 624"/>
                <a:gd name="T49" fmla="*/ 17 h 750"/>
                <a:gd name="T50" fmla="*/ 7 w 624"/>
                <a:gd name="T51" fmla="*/ 17 h 750"/>
                <a:gd name="T52" fmla="*/ 9 w 624"/>
                <a:gd name="T53" fmla="*/ 15 h 750"/>
                <a:gd name="T54" fmla="*/ 10 w 624"/>
                <a:gd name="T55" fmla="*/ 14 h 750"/>
                <a:gd name="T56" fmla="*/ 11 w 624"/>
                <a:gd name="T57" fmla="*/ 12 h 750"/>
                <a:gd name="T58" fmla="*/ 13 w 624"/>
                <a:gd name="T59" fmla="*/ 12 h 750"/>
                <a:gd name="T60" fmla="*/ 18 w 624"/>
                <a:gd name="T61" fmla="*/ 10 h 750"/>
                <a:gd name="T62" fmla="*/ 22 w 624"/>
                <a:gd name="T63" fmla="*/ 4 h 750"/>
                <a:gd name="T64" fmla="*/ 24 w 624"/>
                <a:gd name="T65" fmla="*/ 4 h 750"/>
                <a:gd name="T66" fmla="*/ 26 w 624"/>
                <a:gd name="T67" fmla="*/ 2 h 750"/>
                <a:gd name="T68" fmla="*/ 29 w 624"/>
                <a:gd name="T69" fmla="*/ 0 h 750"/>
                <a:gd name="T70" fmla="*/ 32 w 624"/>
                <a:gd name="T71" fmla="*/ 2 h 750"/>
                <a:gd name="T72" fmla="*/ 34 w 624"/>
                <a:gd name="T73" fmla="*/ 5 h 750"/>
                <a:gd name="T74" fmla="*/ 35 w 624"/>
                <a:gd name="T75" fmla="*/ 8 h 750"/>
                <a:gd name="T76" fmla="*/ 39 w 624"/>
                <a:gd name="T77" fmla="*/ 11 h 750"/>
                <a:gd name="T78" fmla="*/ 42 w 624"/>
                <a:gd name="T79" fmla="*/ 14 h 750"/>
                <a:gd name="T80" fmla="*/ 46 w 624"/>
                <a:gd name="T81" fmla="*/ 12 h 750"/>
                <a:gd name="T82" fmla="*/ 49 w 624"/>
                <a:gd name="T83" fmla="*/ 12 h 750"/>
                <a:gd name="T84" fmla="*/ 51 w 624"/>
                <a:gd name="T85" fmla="*/ 12 h 750"/>
                <a:gd name="T86" fmla="*/ 53 w 624"/>
                <a:gd name="T87" fmla="*/ 12 h 750"/>
                <a:gd name="T88" fmla="*/ 53 w 624"/>
                <a:gd name="T89" fmla="*/ 17 h 750"/>
                <a:gd name="T90" fmla="*/ 51 w 624"/>
                <a:gd name="T91" fmla="*/ 20 h 750"/>
                <a:gd name="T92" fmla="*/ 49 w 624"/>
                <a:gd name="T93" fmla="*/ 26 h 750"/>
                <a:gd name="T94" fmla="*/ 47 w 624"/>
                <a:gd name="T95" fmla="*/ 26 h 750"/>
                <a:gd name="T96" fmla="*/ 44 w 624"/>
                <a:gd name="T97" fmla="*/ 26 h 750"/>
                <a:gd name="T98" fmla="*/ 43 w 624"/>
                <a:gd name="T99" fmla="*/ 27 h 750"/>
                <a:gd name="T100" fmla="*/ 45 w 624"/>
                <a:gd name="T101" fmla="*/ 32 h 750"/>
                <a:gd name="T102" fmla="*/ 44 w 624"/>
                <a:gd name="T103" fmla="*/ 43 h 750"/>
                <a:gd name="T104" fmla="*/ 44 w 624"/>
                <a:gd name="T105" fmla="*/ 47 h 750"/>
                <a:gd name="T106" fmla="*/ 44 w 624"/>
                <a:gd name="T107" fmla="*/ 54 h 750"/>
                <a:gd name="T108" fmla="*/ 41 w 624"/>
                <a:gd name="T109" fmla="*/ 60 h 750"/>
                <a:gd name="T110" fmla="*/ 42 w 624"/>
                <a:gd name="T111" fmla="*/ 62 h 750"/>
                <a:gd name="T112" fmla="*/ 43 w 624"/>
                <a:gd name="T113" fmla="*/ 65 h 750"/>
                <a:gd name="T114" fmla="*/ 39 w 624"/>
                <a:gd name="T115" fmla="*/ 63 h 750"/>
                <a:gd name="T116" fmla="*/ 35 w 624"/>
                <a:gd name="T117" fmla="*/ 62 h 75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24"/>
                <a:gd name="T178" fmla="*/ 0 h 750"/>
                <a:gd name="T179" fmla="*/ 624 w 624"/>
                <a:gd name="T180" fmla="*/ 750 h 75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24" h="750">
                  <a:moveTo>
                    <a:pt x="390" y="702"/>
                  </a:moveTo>
                  <a:lnTo>
                    <a:pt x="372" y="696"/>
                  </a:lnTo>
                  <a:lnTo>
                    <a:pt x="360" y="702"/>
                  </a:lnTo>
                  <a:lnTo>
                    <a:pt x="348" y="702"/>
                  </a:lnTo>
                  <a:lnTo>
                    <a:pt x="336" y="702"/>
                  </a:lnTo>
                  <a:lnTo>
                    <a:pt x="330" y="702"/>
                  </a:lnTo>
                  <a:lnTo>
                    <a:pt x="318" y="708"/>
                  </a:lnTo>
                  <a:lnTo>
                    <a:pt x="306" y="708"/>
                  </a:lnTo>
                  <a:lnTo>
                    <a:pt x="294" y="690"/>
                  </a:lnTo>
                  <a:lnTo>
                    <a:pt x="294" y="684"/>
                  </a:lnTo>
                  <a:lnTo>
                    <a:pt x="276" y="684"/>
                  </a:lnTo>
                  <a:lnTo>
                    <a:pt x="270" y="678"/>
                  </a:lnTo>
                  <a:lnTo>
                    <a:pt x="240" y="672"/>
                  </a:lnTo>
                  <a:lnTo>
                    <a:pt x="234" y="672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6"/>
                  </a:lnTo>
                  <a:lnTo>
                    <a:pt x="216" y="660"/>
                  </a:lnTo>
                  <a:lnTo>
                    <a:pt x="216" y="654"/>
                  </a:lnTo>
                  <a:lnTo>
                    <a:pt x="216" y="642"/>
                  </a:lnTo>
                  <a:lnTo>
                    <a:pt x="210" y="642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36"/>
                  </a:lnTo>
                  <a:lnTo>
                    <a:pt x="192" y="624"/>
                  </a:lnTo>
                  <a:lnTo>
                    <a:pt x="186" y="612"/>
                  </a:lnTo>
                  <a:lnTo>
                    <a:pt x="186" y="600"/>
                  </a:lnTo>
                  <a:lnTo>
                    <a:pt x="186" y="588"/>
                  </a:lnTo>
                  <a:lnTo>
                    <a:pt x="180" y="582"/>
                  </a:lnTo>
                  <a:lnTo>
                    <a:pt x="180" y="570"/>
                  </a:lnTo>
                  <a:lnTo>
                    <a:pt x="174" y="558"/>
                  </a:lnTo>
                  <a:lnTo>
                    <a:pt x="162" y="558"/>
                  </a:lnTo>
                  <a:lnTo>
                    <a:pt x="144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38" y="534"/>
                  </a:lnTo>
                  <a:lnTo>
                    <a:pt x="138" y="528"/>
                  </a:lnTo>
                  <a:lnTo>
                    <a:pt x="132" y="522"/>
                  </a:lnTo>
                  <a:lnTo>
                    <a:pt x="144" y="522"/>
                  </a:lnTo>
                  <a:lnTo>
                    <a:pt x="144" y="510"/>
                  </a:lnTo>
                  <a:lnTo>
                    <a:pt x="144" y="504"/>
                  </a:lnTo>
                  <a:lnTo>
                    <a:pt x="138" y="492"/>
                  </a:lnTo>
                  <a:lnTo>
                    <a:pt x="138" y="474"/>
                  </a:lnTo>
                  <a:lnTo>
                    <a:pt x="126" y="468"/>
                  </a:lnTo>
                  <a:lnTo>
                    <a:pt x="120" y="456"/>
                  </a:lnTo>
                  <a:lnTo>
                    <a:pt x="114" y="450"/>
                  </a:lnTo>
                  <a:lnTo>
                    <a:pt x="108" y="438"/>
                  </a:lnTo>
                  <a:lnTo>
                    <a:pt x="96" y="432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60" y="426"/>
                  </a:lnTo>
                  <a:lnTo>
                    <a:pt x="66" y="420"/>
                  </a:lnTo>
                  <a:lnTo>
                    <a:pt x="66" y="408"/>
                  </a:lnTo>
                  <a:lnTo>
                    <a:pt x="72" y="408"/>
                  </a:lnTo>
                  <a:lnTo>
                    <a:pt x="72" y="384"/>
                  </a:lnTo>
                  <a:lnTo>
                    <a:pt x="72" y="366"/>
                  </a:lnTo>
                  <a:lnTo>
                    <a:pt x="78" y="354"/>
                  </a:lnTo>
                  <a:lnTo>
                    <a:pt x="84" y="354"/>
                  </a:lnTo>
                  <a:lnTo>
                    <a:pt x="90" y="348"/>
                  </a:lnTo>
                  <a:lnTo>
                    <a:pt x="102" y="336"/>
                  </a:lnTo>
                  <a:lnTo>
                    <a:pt x="114" y="324"/>
                  </a:lnTo>
                  <a:lnTo>
                    <a:pt x="120" y="312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20" y="276"/>
                  </a:lnTo>
                  <a:lnTo>
                    <a:pt x="96" y="270"/>
                  </a:lnTo>
                  <a:lnTo>
                    <a:pt x="84" y="270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72" y="264"/>
                  </a:lnTo>
                  <a:lnTo>
                    <a:pt x="60" y="252"/>
                  </a:lnTo>
                  <a:lnTo>
                    <a:pt x="42" y="252"/>
                  </a:lnTo>
                  <a:lnTo>
                    <a:pt x="42" y="258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18" y="252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42" y="156"/>
                  </a:lnTo>
                  <a:lnTo>
                    <a:pt x="48" y="198"/>
                  </a:lnTo>
                  <a:lnTo>
                    <a:pt x="48" y="204"/>
                  </a:lnTo>
                  <a:lnTo>
                    <a:pt x="54" y="198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204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192"/>
                  </a:lnTo>
                  <a:lnTo>
                    <a:pt x="96" y="186"/>
                  </a:lnTo>
                  <a:lnTo>
                    <a:pt x="102" y="180"/>
                  </a:lnTo>
                  <a:lnTo>
                    <a:pt x="102" y="174"/>
                  </a:lnTo>
                  <a:lnTo>
                    <a:pt x="108" y="168"/>
                  </a:lnTo>
                  <a:lnTo>
                    <a:pt x="108" y="162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0"/>
                  </a:lnTo>
                  <a:lnTo>
                    <a:pt x="132" y="144"/>
                  </a:lnTo>
                  <a:lnTo>
                    <a:pt x="138" y="138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0" y="132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74" y="126"/>
                  </a:lnTo>
                  <a:lnTo>
                    <a:pt x="204" y="120"/>
                  </a:lnTo>
                  <a:lnTo>
                    <a:pt x="210" y="78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54"/>
                  </a:lnTo>
                  <a:lnTo>
                    <a:pt x="276" y="54"/>
                  </a:lnTo>
                  <a:lnTo>
                    <a:pt x="276" y="48"/>
                  </a:lnTo>
                  <a:lnTo>
                    <a:pt x="282" y="48"/>
                  </a:lnTo>
                  <a:lnTo>
                    <a:pt x="288" y="42"/>
                  </a:lnTo>
                  <a:lnTo>
                    <a:pt x="294" y="42"/>
                  </a:lnTo>
                  <a:lnTo>
                    <a:pt x="294" y="18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0"/>
                  </a:lnTo>
                  <a:lnTo>
                    <a:pt x="336" y="0"/>
                  </a:lnTo>
                  <a:lnTo>
                    <a:pt x="342" y="0"/>
                  </a:lnTo>
                  <a:lnTo>
                    <a:pt x="354" y="6"/>
                  </a:lnTo>
                  <a:lnTo>
                    <a:pt x="366" y="18"/>
                  </a:lnTo>
                  <a:lnTo>
                    <a:pt x="378" y="36"/>
                  </a:lnTo>
                  <a:lnTo>
                    <a:pt x="390" y="42"/>
                  </a:lnTo>
                  <a:lnTo>
                    <a:pt x="390" y="48"/>
                  </a:lnTo>
                  <a:lnTo>
                    <a:pt x="396" y="60"/>
                  </a:lnTo>
                  <a:lnTo>
                    <a:pt x="402" y="72"/>
                  </a:lnTo>
                  <a:lnTo>
                    <a:pt x="408" y="78"/>
                  </a:lnTo>
                  <a:lnTo>
                    <a:pt x="402" y="84"/>
                  </a:lnTo>
                  <a:lnTo>
                    <a:pt x="408" y="90"/>
                  </a:lnTo>
                  <a:lnTo>
                    <a:pt x="414" y="102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50" y="126"/>
                  </a:lnTo>
                  <a:lnTo>
                    <a:pt x="456" y="126"/>
                  </a:lnTo>
                  <a:lnTo>
                    <a:pt x="462" y="144"/>
                  </a:lnTo>
                  <a:lnTo>
                    <a:pt x="480" y="156"/>
                  </a:lnTo>
                  <a:lnTo>
                    <a:pt x="492" y="156"/>
                  </a:lnTo>
                  <a:lnTo>
                    <a:pt x="516" y="150"/>
                  </a:lnTo>
                  <a:lnTo>
                    <a:pt x="516" y="144"/>
                  </a:lnTo>
                  <a:lnTo>
                    <a:pt x="516" y="138"/>
                  </a:lnTo>
                  <a:lnTo>
                    <a:pt x="528" y="138"/>
                  </a:lnTo>
                  <a:lnTo>
                    <a:pt x="546" y="144"/>
                  </a:lnTo>
                  <a:lnTo>
                    <a:pt x="546" y="138"/>
                  </a:lnTo>
                  <a:lnTo>
                    <a:pt x="552" y="138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76" y="138"/>
                  </a:lnTo>
                  <a:lnTo>
                    <a:pt x="582" y="138"/>
                  </a:lnTo>
                  <a:lnTo>
                    <a:pt x="588" y="138"/>
                  </a:lnTo>
                  <a:lnTo>
                    <a:pt x="594" y="138"/>
                  </a:lnTo>
                  <a:lnTo>
                    <a:pt x="594" y="144"/>
                  </a:lnTo>
                  <a:lnTo>
                    <a:pt x="600" y="138"/>
                  </a:lnTo>
                  <a:lnTo>
                    <a:pt x="606" y="138"/>
                  </a:lnTo>
                  <a:lnTo>
                    <a:pt x="606" y="144"/>
                  </a:lnTo>
                  <a:lnTo>
                    <a:pt x="612" y="144"/>
                  </a:lnTo>
                  <a:lnTo>
                    <a:pt x="618" y="156"/>
                  </a:lnTo>
                  <a:lnTo>
                    <a:pt x="612" y="198"/>
                  </a:lnTo>
                  <a:lnTo>
                    <a:pt x="624" y="198"/>
                  </a:lnTo>
                  <a:lnTo>
                    <a:pt x="624" y="204"/>
                  </a:lnTo>
                  <a:lnTo>
                    <a:pt x="612" y="216"/>
                  </a:lnTo>
                  <a:lnTo>
                    <a:pt x="594" y="234"/>
                  </a:lnTo>
                  <a:lnTo>
                    <a:pt x="588" y="252"/>
                  </a:lnTo>
                  <a:lnTo>
                    <a:pt x="576" y="270"/>
                  </a:lnTo>
                  <a:lnTo>
                    <a:pt x="564" y="282"/>
                  </a:lnTo>
                  <a:lnTo>
                    <a:pt x="564" y="294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8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34" y="294"/>
                  </a:lnTo>
                  <a:lnTo>
                    <a:pt x="522" y="300"/>
                  </a:lnTo>
                  <a:lnTo>
                    <a:pt x="510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498" y="324"/>
                  </a:lnTo>
                  <a:lnTo>
                    <a:pt x="504" y="336"/>
                  </a:lnTo>
                  <a:lnTo>
                    <a:pt x="510" y="348"/>
                  </a:lnTo>
                  <a:lnTo>
                    <a:pt x="516" y="366"/>
                  </a:lnTo>
                  <a:lnTo>
                    <a:pt x="522" y="432"/>
                  </a:lnTo>
                  <a:lnTo>
                    <a:pt x="522" y="456"/>
                  </a:lnTo>
                  <a:lnTo>
                    <a:pt x="504" y="492"/>
                  </a:lnTo>
                  <a:lnTo>
                    <a:pt x="504" y="498"/>
                  </a:lnTo>
                  <a:lnTo>
                    <a:pt x="498" y="504"/>
                  </a:lnTo>
                  <a:lnTo>
                    <a:pt x="498" y="522"/>
                  </a:lnTo>
                  <a:lnTo>
                    <a:pt x="504" y="534"/>
                  </a:lnTo>
                  <a:lnTo>
                    <a:pt x="510" y="546"/>
                  </a:lnTo>
                  <a:lnTo>
                    <a:pt x="516" y="558"/>
                  </a:lnTo>
                  <a:lnTo>
                    <a:pt x="516" y="588"/>
                  </a:lnTo>
                  <a:lnTo>
                    <a:pt x="516" y="600"/>
                  </a:lnTo>
                  <a:lnTo>
                    <a:pt x="510" y="618"/>
                  </a:lnTo>
                  <a:lnTo>
                    <a:pt x="504" y="636"/>
                  </a:lnTo>
                  <a:lnTo>
                    <a:pt x="504" y="642"/>
                  </a:lnTo>
                  <a:lnTo>
                    <a:pt x="474" y="654"/>
                  </a:lnTo>
                  <a:lnTo>
                    <a:pt x="474" y="690"/>
                  </a:lnTo>
                  <a:lnTo>
                    <a:pt x="474" y="696"/>
                  </a:lnTo>
                  <a:lnTo>
                    <a:pt x="480" y="702"/>
                  </a:lnTo>
                  <a:lnTo>
                    <a:pt x="486" y="708"/>
                  </a:lnTo>
                  <a:lnTo>
                    <a:pt x="492" y="708"/>
                  </a:lnTo>
                  <a:lnTo>
                    <a:pt x="498" y="726"/>
                  </a:lnTo>
                  <a:lnTo>
                    <a:pt x="504" y="726"/>
                  </a:lnTo>
                  <a:lnTo>
                    <a:pt x="504" y="738"/>
                  </a:lnTo>
                  <a:lnTo>
                    <a:pt x="498" y="744"/>
                  </a:lnTo>
                  <a:lnTo>
                    <a:pt x="486" y="750"/>
                  </a:lnTo>
                  <a:lnTo>
                    <a:pt x="474" y="744"/>
                  </a:lnTo>
                  <a:lnTo>
                    <a:pt x="462" y="744"/>
                  </a:lnTo>
                  <a:lnTo>
                    <a:pt x="456" y="732"/>
                  </a:lnTo>
                  <a:lnTo>
                    <a:pt x="444" y="732"/>
                  </a:lnTo>
                  <a:lnTo>
                    <a:pt x="432" y="726"/>
                  </a:lnTo>
                  <a:lnTo>
                    <a:pt x="420" y="720"/>
                  </a:lnTo>
                  <a:lnTo>
                    <a:pt x="408" y="708"/>
                  </a:lnTo>
                  <a:lnTo>
                    <a:pt x="402" y="708"/>
                  </a:lnTo>
                  <a:lnTo>
                    <a:pt x="390" y="70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5" name="Freeform 20">
              <a:extLst>
                <a:ext uri="{FF2B5EF4-FFF2-40B4-BE49-F238E27FC236}">
                  <a16:creationId xmlns:a16="http://schemas.microsoft.com/office/drawing/2014/main" id="{B8342C3B-ECEC-465F-AAFF-4815B8AC392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870937"/>
              <a:ext cx="313067" cy="377968"/>
            </a:xfrm>
            <a:custGeom>
              <a:avLst/>
              <a:gdLst>
                <a:gd name="T0" fmla="*/ 15 w 588"/>
                <a:gd name="T1" fmla="*/ 59 h 714"/>
                <a:gd name="T2" fmla="*/ 14 w 588"/>
                <a:gd name="T3" fmla="*/ 58 h 714"/>
                <a:gd name="T4" fmla="*/ 9 w 588"/>
                <a:gd name="T5" fmla="*/ 54 h 714"/>
                <a:gd name="T6" fmla="*/ 4 w 588"/>
                <a:gd name="T7" fmla="*/ 54 h 714"/>
                <a:gd name="T8" fmla="*/ 0 w 588"/>
                <a:gd name="T9" fmla="*/ 50 h 714"/>
                <a:gd name="T10" fmla="*/ 0 w 588"/>
                <a:gd name="T11" fmla="*/ 44 h 714"/>
                <a:gd name="T12" fmla="*/ 4 w 588"/>
                <a:gd name="T13" fmla="*/ 46 h 714"/>
                <a:gd name="T14" fmla="*/ 7 w 588"/>
                <a:gd name="T15" fmla="*/ 47 h 714"/>
                <a:gd name="T16" fmla="*/ 10 w 588"/>
                <a:gd name="T17" fmla="*/ 46 h 714"/>
                <a:gd name="T18" fmla="*/ 8 w 588"/>
                <a:gd name="T19" fmla="*/ 44 h 714"/>
                <a:gd name="T20" fmla="*/ 10 w 588"/>
                <a:gd name="T21" fmla="*/ 39 h 714"/>
                <a:gd name="T22" fmla="*/ 11 w 588"/>
                <a:gd name="T23" fmla="*/ 34 h 714"/>
                <a:gd name="T24" fmla="*/ 9 w 588"/>
                <a:gd name="T25" fmla="*/ 28 h 714"/>
                <a:gd name="T26" fmla="*/ 11 w 588"/>
                <a:gd name="T27" fmla="*/ 22 h 714"/>
                <a:gd name="T28" fmla="*/ 10 w 588"/>
                <a:gd name="T29" fmla="*/ 12 h 714"/>
                <a:gd name="T30" fmla="*/ 9 w 588"/>
                <a:gd name="T31" fmla="*/ 9 h 714"/>
                <a:gd name="T32" fmla="*/ 12 w 588"/>
                <a:gd name="T33" fmla="*/ 8 h 714"/>
                <a:gd name="T34" fmla="*/ 14 w 588"/>
                <a:gd name="T35" fmla="*/ 7 h 714"/>
                <a:gd name="T36" fmla="*/ 17 w 588"/>
                <a:gd name="T37" fmla="*/ 10 h 714"/>
                <a:gd name="T38" fmla="*/ 23 w 588"/>
                <a:gd name="T39" fmla="*/ 14 h 714"/>
                <a:gd name="T40" fmla="*/ 28 w 588"/>
                <a:gd name="T41" fmla="*/ 4 h 714"/>
                <a:gd name="T42" fmla="*/ 35 w 588"/>
                <a:gd name="T43" fmla="*/ 2 h 714"/>
                <a:gd name="T44" fmla="*/ 38 w 588"/>
                <a:gd name="T45" fmla="*/ 0 h 714"/>
                <a:gd name="T46" fmla="*/ 40 w 588"/>
                <a:gd name="T47" fmla="*/ 2 h 714"/>
                <a:gd name="T48" fmla="*/ 39 w 588"/>
                <a:gd name="T49" fmla="*/ 4 h 714"/>
                <a:gd name="T50" fmla="*/ 41 w 588"/>
                <a:gd name="T51" fmla="*/ 5 h 714"/>
                <a:gd name="T52" fmla="*/ 42 w 588"/>
                <a:gd name="T53" fmla="*/ 7 h 714"/>
                <a:gd name="T54" fmla="*/ 43 w 588"/>
                <a:gd name="T55" fmla="*/ 9 h 714"/>
                <a:gd name="T56" fmla="*/ 43 w 588"/>
                <a:gd name="T57" fmla="*/ 10 h 714"/>
                <a:gd name="T58" fmla="*/ 43 w 588"/>
                <a:gd name="T59" fmla="*/ 12 h 714"/>
                <a:gd name="T60" fmla="*/ 44 w 588"/>
                <a:gd name="T61" fmla="*/ 12 h 714"/>
                <a:gd name="T62" fmla="*/ 46 w 588"/>
                <a:gd name="T63" fmla="*/ 13 h 714"/>
                <a:gd name="T64" fmla="*/ 47 w 588"/>
                <a:gd name="T65" fmla="*/ 14 h 714"/>
                <a:gd name="T66" fmla="*/ 48 w 588"/>
                <a:gd name="T67" fmla="*/ 15 h 714"/>
                <a:gd name="T68" fmla="*/ 49 w 588"/>
                <a:gd name="T69" fmla="*/ 15 h 714"/>
                <a:gd name="T70" fmla="*/ 48 w 588"/>
                <a:gd name="T71" fmla="*/ 17 h 714"/>
                <a:gd name="T72" fmla="*/ 49 w 588"/>
                <a:gd name="T73" fmla="*/ 19 h 714"/>
                <a:gd name="T74" fmla="*/ 49 w 588"/>
                <a:gd name="T75" fmla="*/ 20 h 714"/>
                <a:gd name="T76" fmla="*/ 51 w 588"/>
                <a:gd name="T77" fmla="*/ 21 h 714"/>
                <a:gd name="T78" fmla="*/ 50 w 588"/>
                <a:gd name="T79" fmla="*/ 22 h 714"/>
                <a:gd name="T80" fmla="*/ 47 w 588"/>
                <a:gd name="T81" fmla="*/ 23 h 714"/>
                <a:gd name="T82" fmla="*/ 47 w 588"/>
                <a:gd name="T83" fmla="*/ 26 h 714"/>
                <a:gd name="T84" fmla="*/ 47 w 588"/>
                <a:gd name="T85" fmla="*/ 32 h 714"/>
                <a:gd name="T86" fmla="*/ 44 w 588"/>
                <a:gd name="T87" fmla="*/ 35 h 714"/>
                <a:gd name="T88" fmla="*/ 42 w 588"/>
                <a:gd name="T89" fmla="*/ 39 h 714"/>
                <a:gd name="T90" fmla="*/ 42 w 588"/>
                <a:gd name="T91" fmla="*/ 41 h 714"/>
                <a:gd name="T92" fmla="*/ 42 w 588"/>
                <a:gd name="T93" fmla="*/ 42 h 714"/>
                <a:gd name="T94" fmla="*/ 41 w 588"/>
                <a:gd name="T95" fmla="*/ 44 h 714"/>
                <a:gd name="T96" fmla="*/ 39 w 588"/>
                <a:gd name="T97" fmla="*/ 43 h 714"/>
                <a:gd name="T98" fmla="*/ 37 w 588"/>
                <a:gd name="T99" fmla="*/ 44 h 714"/>
                <a:gd name="T100" fmla="*/ 35 w 588"/>
                <a:gd name="T101" fmla="*/ 46 h 714"/>
                <a:gd name="T102" fmla="*/ 31 w 588"/>
                <a:gd name="T103" fmla="*/ 45 h 714"/>
                <a:gd name="T104" fmla="*/ 24 w 588"/>
                <a:gd name="T105" fmla="*/ 45 h 714"/>
                <a:gd name="T106" fmla="*/ 25 w 588"/>
                <a:gd name="T107" fmla="*/ 47 h 714"/>
                <a:gd name="T108" fmla="*/ 25 w 588"/>
                <a:gd name="T109" fmla="*/ 49 h 714"/>
                <a:gd name="T110" fmla="*/ 25 w 588"/>
                <a:gd name="T111" fmla="*/ 50 h 714"/>
                <a:gd name="T112" fmla="*/ 24 w 588"/>
                <a:gd name="T113" fmla="*/ 51 h 714"/>
                <a:gd name="T114" fmla="*/ 22 w 588"/>
                <a:gd name="T115" fmla="*/ 53 h 714"/>
                <a:gd name="T116" fmla="*/ 23 w 588"/>
                <a:gd name="T117" fmla="*/ 56 h 714"/>
                <a:gd name="T118" fmla="*/ 20 w 588"/>
                <a:gd name="T119" fmla="*/ 58 h 714"/>
                <a:gd name="T120" fmla="*/ 19 w 588"/>
                <a:gd name="T121" fmla="*/ 62 h 7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8"/>
                <a:gd name="T184" fmla="*/ 0 h 714"/>
                <a:gd name="T185" fmla="*/ 588 w 588"/>
                <a:gd name="T186" fmla="*/ 714 h 7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8" h="714">
                  <a:moveTo>
                    <a:pt x="216" y="714"/>
                  </a:moveTo>
                  <a:lnTo>
                    <a:pt x="198" y="702"/>
                  </a:lnTo>
                  <a:lnTo>
                    <a:pt x="186" y="696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74" y="678"/>
                  </a:lnTo>
                  <a:lnTo>
                    <a:pt x="168" y="672"/>
                  </a:lnTo>
                  <a:lnTo>
                    <a:pt x="162" y="666"/>
                  </a:lnTo>
                  <a:lnTo>
                    <a:pt x="156" y="636"/>
                  </a:lnTo>
                  <a:lnTo>
                    <a:pt x="144" y="630"/>
                  </a:lnTo>
                  <a:lnTo>
                    <a:pt x="108" y="630"/>
                  </a:lnTo>
                  <a:lnTo>
                    <a:pt x="102" y="624"/>
                  </a:lnTo>
                  <a:lnTo>
                    <a:pt x="96" y="624"/>
                  </a:lnTo>
                  <a:lnTo>
                    <a:pt x="72" y="624"/>
                  </a:lnTo>
                  <a:lnTo>
                    <a:pt x="54" y="624"/>
                  </a:lnTo>
                  <a:lnTo>
                    <a:pt x="42" y="618"/>
                  </a:lnTo>
                  <a:lnTo>
                    <a:pt x="30" y="612"/>
                  </a:lnTo>
                  <a:lnTo>
                    <a:pt x="6" y="606"/>
                  </a:lnTo>
                  <a:lnTo>
                    <a:pt x="0" y="606"/>
                  </a:lnTo>
                  <a:lnTo>
                    <a:pt x="0" y="570"/>
                  </a:lnTo>
                  <a:lnTo>
                    <a:pt x="6" y="552"/>
                  </a:lnTo>
                  <a:lnTo>
                    <a:pt x="6" y="522"/>
                  </a:lnTo>
                  <a:lnTo>
                    <a:pt x="0" y="510"/>
                  </a:lnTo>
                  <a:lnTo>
                    <a:pt x="0" y="504"/>
                  </a:lnTo>
                  <a:lnTo>
                    <a:pt x="12" y="510"/>
                  </a:lnTo>
                  <a:lnTo>
                    <a:pt x="18" y="510"/>
                  </a:lnTo>
                  <a:lnTo>
                    <a:pt x="30" y="522"/>
                  </a:lnTo>
                  <a:lnTo>
                    <a:pt x="42" y="528"/>
                  </a:lnTo>
                  <a:lnTo>
                    <a:pt x="54" y="534"/>
                  </a:lnTo>
                  <a:lnTo>
                    <a:pt x="66" y="534"/>
                  </a:lnTo>
                  <a:lnTo>
                    <a:pt x="72" y="546"/>
                  </a:lnTo>
                  <a:lnTo>
                    <a:pt x="84" y="546"/>
                  </a:lnTo>
                  <a:lnTo>
                    <a:pt x="96" y="552"/>
                  </a:lnTo>
                  <a:lnTo>
                    <a:pt x="108" y="546"/>
                  </a:lnTo>
                  <a:lnTo>
                    <a:pt x="114" y="540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90" y="504"/>
                  </a:lnTo>
                  <a:lnTo>
                    <a:pt x="84" y="498"/>
                  </a:lnTo>
                  <a:lnTo>
                    <a:pt x="84" y="492"/>
                  </a:lnTo>
                  <a:lnTo>
                    <a:pt x="84" y="456"/>
                  </a:lnTo>
                  <a:lnTo>
                    <a:pt x="114" y="444"/>
                  </a:lnTo>
                  <a:lnTo>
                    <a:pt x="114" y="438"/>
                  </a:lnTo>
                  <a:lnTo>
                    <a:pt x="120" y="420"/>
                  </a:lnTo>
                  <a:lnTo>
                    <a:pt x="126" y="402"/>
                  </a:lnTo>
                  <a:lnTo>
                    <a:pt x="126" y="390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14" y="336"/>
                  </a:lnTo>
                  <a:lnTo>
                    <a:pt x="108" y="324"/>
                  </a:lnTo>
                  <a:lnTo>
                    <a:pt x="108" y="306"/>
                  </a:lnTo>
                  <a:lnTo>
                    <a:pt x="114" y="300"/>
                  </a:lnTo>
                  <a:lnTo>
                    <a:pt x="114" y="294"/>
                  </a:lnTo>
                  <a:lnTo>
                    <a:pt x="132" y="258"/>
                  </a:lnTo>
                  <a:lnTo>
                    <a:pt x="132" y="234"/>
                  </a:lnTo>
                  <a:lnTo>
                    <a:pt x="126" y="168"/>
                  </a:lnTo>
                  <a:lnTo>
                    <a:pt x="120" y="150"/>
                  </a:lnTo>
                  <a:lnTo>
                    <a:pt x="114" y="138"/>
                  </a:lnTo>
                  <a:lnTo>
                    <a:pt x="108" y="126"/>
                  </a:lnTo>
                  <a:lnTo>
                    <a:pt x="108" y="120"/>
                  </a:lnTo>
                  <a:lnTo>
                    <a:pt x="108" y="114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20" y="96"/>
                  </a:lnTo>
                  <a:lnTo>
                    <a:pt x="132" y="102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56" y="90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96"/>
                  </a:lnTo>
                  <a:lnTo>
                    <a:pt x="186" y="96"/>
                  </a:lnTo>
                  <a:lnTo>
                    <a:pt x="192" y="114"/>
                  </a:lnTo>
                  <a:lnTo>
                    <a:pt x="204" y="132"/>
                  </a:lnTo>
                  <a:lnTo>
                    <a:pt x="216" y="144"/>
                  </a:lnTo>
                  <a:lnTo>
                    <a:pt x="240" y="162"/>
                  </a:lnTo>
                  <a:lnTo>
                    <a:pt x="270" y="156"/>
                  </a:lnTo>
                  <a:lnTo>
                    <a:pt x="282" y="126"/>
                  </a:lnTo>
                  <a:lnTo>
                    <a:pt x="282" y="96"/>
                  </a:lnTo>
                  <a:lnTo>
                    <a:pt x="294" y="54"/>
                  </a:lnTo>
                  <a:lnTo>
                    <a:pt x="324" y="48"/>
                  </a:lnTo>
                  <a:lnTo>
                    <a:pt x="342" y="48"/>
                  </a:lnTo>
                  <a:lnTo>
                    <a:pt x="384" y="48"/>
                  </a:lnTo>
                  <a:lnTo>
                    <a:pt x="390" y="30"/>
                  </a:lnTo>
                  <a:lnTo>
                    <a:pt x="402" y="18"/>
                  </a:lnTo>
                  <a:lnTo>
                    <a:pt x="438" y="6"/>
                  </a:lnTo>
                  <a:lnTo>
                    <a:pt x="438" y="0"/>
                  </a:lnTo>
                  <a:lnTo>
                    <a:pt x="444" y="0"/>
                  </a:lnTo>
                  <a:lnTo>
                    <a:pt x="444" y="6"/>
                  </a:lnTo>
                  <a:lnTo>
                    <a:pt x="450" y="6"/>
                  </a:lnTo>
                  <a:lnTo>
                    <a:pt x="456" y="12"/>
                  </a:lnTo>
                  <a:lnTo>
                    <a:pt x="456" y="18"/>
                  </a:lnTo>
                  <a:lnTo>
                    <a:pt x="462" y="24"/>
                  </a:lnTo>
                  <a:lnTo>
                    <a:pt x="462" y="30"/>
                  </a:lnTo>
                  <a:lnTo>
                    <a:pt x="468" y="36"/>
                  </a:lnTo>
                  <a:lnTo>
                    <a:pt x="462" y="36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74" y="60"/>
                  </a:lnTo>
                  <a:lnTo>
                    <a:pt x="486" y="78"/>
                  </a:lnTo>
                  <a:lnTo>
                    <a:pt x="486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8" y="102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498" y="114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504" y="126"/>
                  </a:lnTo>
                  <a:lnTo>
                    <a:pt x="498" y="132"/>
                  </a:lnTo>
                  <a:lnTo>
                    <a:pt x="504" y="138"/>
                  </a:lnTo>
                  <a:lnTo>
                    <a:pt x="504" y="132"/>
                  </a:lnTo>
                  <a:lnTo>
                    <a:pt x="510" y="132"/>
                  </a:lnTo>
                  <a:lnTo>
                    <a:pt x="510" y="138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56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6" y="168"/>
                  </a:lnTo>
                  <a:lnTo>
                    <a:pt x="552" y="168"/>
                  </a:lnTo>
                  <a:lnTo>
                    <a:pt x="546" y="168"/>
                  </a:lnTo>
                  <a:lnTo>
                    <a:pt x="546" y="174"/>
                  </a:lnTo>
                  <a:lnTo>
                    <a:pt x="558" y="180"/>
                  </a:lnTo>
                  <a:lnTo>
                    <a:pt x="564" y="180"/>
                  </a:lnTo>
                  <a:lnTo>
                    <a:pt x="564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52" y="198"/>
                  </a:lnTo>
                  <a:lnTo>
                    <a:pt x="558" y="204"/>
                  </a:lnTo>
                  <a:lnTo>
                    <a:pt x="564" y="204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22"/>
                  </a:lnTo>
                  <a:lnTo>
                    <a:pt x="576" y="228"/>
                  </a:lnTo>
                  <a:lnTo>
                    <a:pt x="570" y="228"/>
                  </a:lnTo>
                  <a:lnTo>
                    <a:pt x="570" y="234"/>
                  </a:lnTo>
                  <a:lnTo>
                    <a:pt x="576" y="234"/>
                  </a:lnTo>
                  <a:lnTo>
                    <a:pt x="582" y="234"/>
                  </a:lnTo>
                  <a:lnTo>
                    <a:pt x="588" y="234"/>
                  </a:lnTo>
                  <a:lnTo>
                    <a:pt x="588" y="240"/>
                  </a:lnTo>
                  <a:lnTo>
                    <a:pt x="588" y="246"/>
                  </a:lnTo>
                  <a:lnTo>
                    <a:pt x="588" y="252"/>
                  </a:lnTo>
                  <a:lnTo>
                    <a:pt x="582" y="252"/>
                  </a:lnTo>
                  <a:lnTo>
                    <a:pt x="576" y="252"/>
                  </a:lnTo>
                  <a:lnTo>
                    <a:pt x="582" y="258"/>
                  </a:lnTo>
                  <a:lnTo>
                    <a:pt x="582" y="264"/>
                  </a:lnTo>
                  <a:lnTo>
                    <a:pt x="576" y="264"/>
                  </a:lnTo>
                  <a:lnTo>
                    <a:pt x="546" y="264"/>
                  </a:lnTo>
                  <a:lnTo>
                    <a:pt x="546" y="276"/>
                  </a:lnTo>
                  <a:lnTo>
                    <a:pt x="540" y="282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40" y="324"/>
                  </a:lnTo>
                  <a:lnTo>
                    <a:pt x="552" y="330"/>
                  </a:lnTo>
                  <a:lnTo>
                    <a:pt x="558" y="342"/>
                  </a:lnTo>
                  <a:lnTo>
                    <a:pt x="546" y="372"/>
                  </a:lnTo>
                  <a:lnTo>
                    <a:pt x="534" y="372"/>
                  </a:lnTo>
                  <a:lnTo>
                    <a:pt x="534" y="384"/>
                  </a:lnTo>
                  <a:lnTo>
                    <a:pt x="522" y="384"/>
                  </a:lnTo>
                  <a:lnTo>
                    <a:pt x="510" y="402"/>
                  </a:lnTo>
                  <a:lnTo>
                    <a:pt x="504" y="420"/>
                  </a:lnTo>
                  <a:lnTo>
                    <a:pt x="492" y="426"/>
                  </a:lnTo>
                  <a:lnTo>
                    <a:pt x="486" y="432"/>
                  </a:lnTo>
                  <a:lnTo>
                    <a:pt x="486" y="444"/>
                  </a:lnTo>
                  <a:lnTo>
                    <a:pt x="486" y="450"/>
                  </a:lnTo>
                  <a:lnTo>
                    <a:pt x="486" y="456"/>
                  </a:lnTo>
                  <a:lnTo>
                    <a:pt x="486" y="462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80" y="474"/>
                  </a:lnTo>
                  <a:lnTo>
                    <a:pt x="480" y="480"/>
                  </a:lnTo>
                  <a:lnTo>
                    <a:pt x="480" y="486"/>
                  </a:lnTo>
                  <a:lnTo>
                    <a:pt x="480" y="492"/>
                  </a:lnTo>
                  <a:lnTo>
                    <a:pt x="480" y="498"/>
                  </a:lnTo>
                  <a:lnTo>
                    <a:pt x="474" y="504"/>
                  </a:lnTo>
                  <a:lnTo>
                    <a:pt x="468" y="510"/>
                  </a:lnTo>
                  <a:lnTo>
                    <a:pt x="462" y="510"/>
                  </a:lnTo>
                  <a:lnTo>
                    <a:pt x="456" y="504"/>
                  </a:lnTo>
                  <a:lnTo>
                    <a:pt x="456" y="498"/>
                  </a:lnTo>
                  <a:lnTo>
                    <a:pt x="450" y="498"/>
                  </a:lnTo>
                  <a:lnTo>
                    <a:pt x="444" y="498"/>
                  </a:lnTo>
                  <a:lnTo>
                    <a:pt x="438" y="498"/>
                  </a:lnTo>
                  <a:lnTo>
                    <a:pt x="432" y="498"/>
                  </a:lnTo>
                  <a:lnTo>
                    <a:pt x="426" y="504"/>
                  </a:lnTo>
                  <a:lnTo>
                    <a:pt x="426" y="510"/>
                  </a:lnTo>
                  <a:lnTo>
                    <a:pt x="420" y="516"/>
                  </a:lnTo>
                  <a:lnTo>
                    <a:pt x="414" y="522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84" y="528"/>
                  </a:lnTo>
                  <a:lnTo>
                    <a:pt x="366" y="540"/>
                  </a:lnTo>
                  <a:lnTo>
                    <a:pt x="360" y="522"/>
                  </a:lnTo>
                  <a:lnTo>
                    <a:pt x="348" y="504"/>
                  </a:lnTo>
                  <a:lnTo>
                    <a:pt x="330" y="504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34"/>
                  </a:lnTo>
                  <a:lnTo>
                    <a:pt x="288" y="540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2" y="540"/>
                  </a:lnTo>
                  <a:lnTo>
                    <a:pt x="282" y="546"/>
                  </a:lnTo>
                  <a:lnTo>
                    <a:pt x="288" y="552"/>
                  </a:lnTo>
                  <a:lnTo>
                    <a:pt x="294" y="564"/>
                  </a:lnTo>
                  <a:lnTo>
                    <a:pt x="300" y="564"/>
                  </a:lnTo>
                  <a:lnTo>
                    <a:pt x="300" y="570"/>
                  </a:lnTo>
                  <a:lnTo>
                    <a:pt x="294" y="570"/>
                  </a:lnTo>
                  <a:lnTo>
                    <a:pt x="288" y="570"/>
                  </a:lnTo>
                  <a:lnTo>
                    <a:pt x="288" y="576"/>
                  </a:lnTo>
                  <a:lnTo>
                    <a:pt x="288" y="582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606"/>
                  </a:lnTo>
                  <a:lnTo>
                    <a:pt x="264" y="612"/>
                  </a:lnTo>
                  <a:lnTo>
                    <a:pt x="258" y="612"/>
                  </a:lnTo>
                  <a:lnTo>
                    <a:pt x="252" y="612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52" y="630"/>
                  </a:lnTo>
                  <a:lnTo>
                    <a:pt x="264" y="642"/>
                  </a:lnTo>
                  <a:lnTo>
                    <a:pt x="258" y="648"/>
                  </a:lnTo>
                  <a:lnTo>
                    <a:pt x="246" y="654"/>
                  </a:lnTo>
                  <a:lnTo>
                    <a:pt x="240" y="660"/>
                  </a:lnTo>
                  <a:lnTo>
                    <a:pt x="234" y="672"/>
                  </a:lnTo>
                  <a:lnTo>
                    <a:pt x="234" y="678"/>
                  </a:lnTo>
                  <a:lnTo>
                    <a:pt x="228" y="684"/>
                  </a:lnTo>
                  <a:lnTo>
                    <a:pt x="228" y="696"/>
                  </a:lnTo>
                  <a:lnTo>
                    <a:pt x="216" y="71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6" name="Freeform 21">
              <a:extLst>
                <a:ext uri="{FF2B5EF4-FFF2-40B4-BE49-F238E27FC236}">
                  <a16:creationId xmlns:a16="http://schemas.microsoft.com/office/drawing/2014/main" id="{DCB1E808-522D-4C19-B741-CC5DD56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4178" y="3866464"/>
              <a:ext cx="250453" cy="371259"/>
            </a:xfrm>
            <a:custGeom>
              <a:avLst/>
              <a:gdLst>
                <a:gd name="T0" fmla="*/ 0 w 468"/>
                <a:gd name="T1" fmla="*/ 61 h 696"/>
                <a:gd name="T2" fmla="*/ 1 w 468"/>
                <a:gd name="T3" fmla="*/ 58 h 696"/>
                <a:gd name="T4" fmla="*/ 2 w 468"/>
                <a:gd name="T5" fmla="*/ 54 h 696"/>
                <a:gd name="T6" fmla="*/ 3 w 468"/>
                <a:gd name="T7" fmla="*/ 51 h 696"/>
                <a:gd name="T8" fmla="*/ 4 w 468"/>
                <a:gd name="T9" fmla="*/ 48 h 696"/>
                <a:gd name="T10" fmla="*/ 6 w 468"/>
                <a:gd name="T11" fmla="*/ 44 h 696"/>
                <a:gd name="T12" fmla="*/ 5 w 468"/>
                <a:gd name="T13" fmla="*/ 41 h 696"/>
                <a:gd name="T14" fmla="*/ 7 w 468"/>
                <a:gd name="T15" fmla="*/ 38 h 696"/>
                <a:gd name="T16" fmla="*/ 8 w 468"/>
                <a:gd name="T17" fmla="*/ 36 h 696"/>
                <a:gd name="T18" fmla="*/ 7 w 468"/>
                <a:gd name="T19" fmla="*/ 33 h 696"/>
                <a:gd name="T20" fmla="*/ 6 w 468"/>
                <a:gd name="T21" fmla="*/ 29 h 696"/>
                <a:gd name="T22" fmla="*/ 4 w 468"/>
                <a:gd name="T23" fmla="*/ 22 h 696"/>
                <a:gd name="T24" fmla="*/ 2 w 468"/>
                <a:gd name="T25" fmla="*/ 14 h 696"/>
                <a:gd name="T26" fmla="*/ 12 w 468"/>
                <a:gd name="T27" fmla="*/ 11 h 696"/>
                <a:gd name="T28" fmla="*/ 14 w 468"/>
                <a:gd name="T29" fmla="*/ 2 h 696"/>
                <a:gd name="T30" fmla="*/ 16 w 468"/>
                <a:gd name="T31" fmla="*/ 0 h 696"/>
                <a:gd name="T32" fmla="*/ 17 w 468"/>
                <a:gd name="T33" fmla="*/ 0 h 696"/>
                <a:gd name="T34" fmla="*/ 18 w 468"/>
                <a:gd name="T35" fmla="*/ 1 h 696"/>
                <a:gd name="T36" fmla="*/ 17 w 468"/>
                <a:gd name="T37" fmla="*/ 2 h 696"/>
                <a:gd name="T38" fmla="*/ 17 w 468"/>
                <a:gd name="T39" fmla="*/ 4 h 696"/>
                <a:gd name="T40" fmla="*/ 17 w 468"/>
                <a:gd name="T41" fmla="*/ 6 h 696"/>
                <a:gd name="T42" fmla="*/ 20 w 468"/>
                <a:gd name="T43" fmla="*/ 6 h 696"/>
                <a:gd name="T44" fmla="*/ 22 w 468"/>
                <a:gd name="T45" fmla="*/ 5 h 696"/>
                <a:gd name="T46" fmla="*/ 24 w 468"/>
                <a:gd name="T47" fmla="*/ 7 h 696"/>
                <a:gd name="T48" fmla="*/ 28 w 468"/>
                <a:gd name="T49" fmla="*/ 7 h 696"/>
                <a:gd name="T50" fmla="*/ 28 w 468"/>
                <a:gd name="T51" fmla="*/ 11 h 696"/>
                <a:gd name="T52" fmla="*/ 25 w 468"/>
                <a:gd name="T53" fmla="*/ 14 h 696"/>
                <a:gd name="T54" fmla="*/ 23 w 468"/>
                <a:gd name="T55" fmla="*/ 15 h 696"/>
                <a:gd name="T56" fmla="*/ 23 w 468"/>
                <a:gd name="T57" fmla="*/ 19 h 696"/>
                <a:gd name="T58" fmla="*/ 23 w 468"/>
                <a:gd name="T59" fmla="*/ 21 h 696"/>
                <a:gd name="T60" fmla="*/ 24 w 468"/>
                <a:gd name="T61" fmla="*/ 21 h 696"/>
                <a:gd name="T62" fmla="*/ 27 w 468"/>
                <a:gd name="T63" fmla="*/ 23 h 696"/>
                <a:gd name="T64" fmla="*/ 29 w 468"/>
                <a:gd name="T65" fmla="*/ 24 h 696"/>
                <a:gd name="T66" fmla="*/ 29 w 468"/>
                <a:gd name="T67" fmla="*/ 28 h 696"/>
                <a:gd name="T68" fmla="*/ 29 w 468"/>
                <a:gd name="T69" fmla="*/ 29 h 696"/>
                <a:gd name="T70" fmla="*/ 29 w 468"/>
                <a:gd name="T71" fmla="*/ 32 h 696"/>
                <a:gd name="T72" fmla="*/ 32 w 468"/>
                <a:gd name="T73" fmla="*/ 32 h 696"/>
                <a:gd name="T74" fmla="*/ 33 w 468"/>
                <a:gd name="T75" fmla="*/ 35 h 696"/>
                <a:gd name="T76" fmla="*/ 34 w 468"/>
                <a:gd name="T77" fmla="*/ 38 h 696"/>
                <a:gd name="T78" fmla="*/ 35 w 468"/>
                <a:gd name="T79" fmla="*/ 39 h 696"/>
                <a:gd name="T80" fmla="*/ 36 w 468"/>
                <a:gd name="T81" fmla="*/ 40 h 696"/>
                <a:gd name="T82" fmla="*/ 37 w 468"/>
                <a:gd name="T83" fmla="*/ 41 h 696"/>
                <a:gd name="T84" fmla="*/ 38 w 468"/>
                <a:gd name="T85" fmla="*/ 42 h 696"/>
                <a:gd name="T86" fmla="*/ 41 w 468"/>
                <a:gd name="T87" fmla="*/ 44 h 696"/>
                <a:gd name="T88" fmla="*/ 40 w 468"/>
                <a:gd name="T89" fmla="*/ 44 h 696"/>
                <a:gd name="T90" fmla="*/ 37 w 468"/>
                <a:gd name="T91" fmla="*/ 45 h 696"/>
                <a:gd name="T92" fmla="*/ 36 w 468"/>
                <a:gd name="T93" fmla="*/ 48 h 696"/>
                <a:gd name="T94" fmla="*/ 34 w 468"/>
                <a:gd name="T95" fmla="*/ 49 h 696"/>
                <a:gd name="T96" fmla="*/ 32 w 468"/>
                <a:gd name="T97" fmla="*/ 51 h 696"/>
                <a:gd name="T98" fmla="*/ 31 w 468"/>
                <a:gd name="T99" fmla="*/ 51 h 696"/>
                <a:gd name="T100" fmla="*/ 26 w 468"/>
                <a:gd name="T101" fmla="*/ 49 h 696"/>
                <a:gd name="T102" fmla="*/ 23 w 468"/>
                <a:gd name="T103" fmla="*/ 51 h 696"/>
                <a:gd name="T104" fmla="*/ 21 w 468"/>
                <a:gd name="T105" fmla="*/ 51 h 696"/>
                <a:gd name="T106" fmla="*/ 20 w 468"/>
                <a:gd name="T107" fmla="*/ 52 h 696"/>
                <a:gd name="T108" fmla="*/ 17 w 468"/>
                <a:gd name="T109" fmla="*/ 55 h 696"/>
                <a:gd name="T110" fmla="*/ 15 w 468"/>
                <a:gd name="T111" fmla="*/ 56 h 696"/>
                <a:gd name="T112" fmla="*/ 15 w 468"/>
                <a:gd name="T113" fmla="*/ 59 h 696"/>
                <a:gd name="T114" fmla="*/ 14 w 468"/>
                <a:gd name="T115" fmla="*/ 59 h 696"/>
                <a:gd name="T116" fmla="*/ 12 w 468"/>
                <a:gd name="T117" fmla="*/ 59 h 696"/>
                <a:gd name="T118" fmla="*/ 11 w 468"/>
                <a:gd name="T119" fmla="*/ 57 h 696"/>
                <a:gd name="T120" fmla="*/ 9 w 468"/>
                <a:gd name="T121" fmla="*/ 57 h 696"/>
                <a:gd name="T122" fmla="*/ 6 w 468"/>
                <a:gd name="T123" fmla="*/ 58 h 696"/>
                <a:gd name="T124" fmla="*/ 4 w 468"/>
                <a:gd name="T125" fmla="*/ 60 h 69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8"/>
                <a:gd name="T190" fmla="*/ 0 h 696"/>
                <a:gd name="T191" fmla="*/ 468 w 468"/>
                <a:gd name="T192" fmla="*/ 696 h 69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8" h="696">
                  <a:moveTo>
                    <a:pt x="30" y="696"/>
                  </a:moveTo>
                  <a:lnTo>
                    <a:pt x="18" y="696"/>
                  </a:lnTo>
                  <a:lnTo>
                    <a:pt x="6" y="696"/>
                  </a:lnTo>
                  <a:lnTo>
                    <a:pt x="0" y="690"/>
                  </a:lnTo>
                  <a:lnTo>
                    <a:pt x="6" y="678"/>
                  </a:lnTo>
                  <a:lnTo>
                    <a:pt x="12" y="666"/>
                  </a:lnTo>
                  <a:lnTo>
                    <a:pt x="18" y="654"/>
                  </a:lnTo>
                  <a:lnTo>
                    <a:pt x="18" y="642"/>
                  </a:lnTo>
                  <a:lnTo>
                    <a:pt x="18" y="618"/>
                  </a:lnTo>
                  <a:lnTo>
                    <a:pt x="24" y="606"/>
                  </a:lnTo>
                  <a:lnTo>
                    <a:pt x="30" y="594"/>
                  </a:lnTo>
                  <a:lnTo>
                    <a:pt x="30" y="582"/>
                  </a:lnTo>
                  <a:lnTo>
                    <a:pt x="36" y="576"/>
                  </a:lnTo>
                  <a:lnTo>
                    <a:pt x="42" y="564"/>
                  </a:lnTo>
                  <a:lnTo>
                    <a:pt x="48" y="546"/>
                  </a:lnTo>
                  <a:lnTo>
                    <a:pt x="48" y="528"/>
                  </a:lnTo>
                  <a:lnTo>
                    <a:pt x="60" y="516"/>
                  </a:lnTo>
                  <a:lnTo>
                    <a:pt x="66" y="504"/>
                  </a:lnTo>
                  <a:lnTo>
                    <a:pt x="66" y="492"/>
                  </a:lnTo>
                  <a:lnTo>
                    <a:pt x="60" y="480"/>
                  </a:lnTo>
                  <a:lnTo>
                    <a:pt x="54" y="468"/>
                  </a:lnTo>
                  <a:lnTo>
                    <a:pt x="60" y="456"/>
                  </a:lnTo>
                  <a:lnTo>
                    <a:pt x="72" y="450"/>
                  </a:lnTo>
                  <a:lnTo>
                    <a:pt x="84" y="438"/>
                  </a:lnTo>
                  <a:lnTo>
                    <a:pt x="90" y="426"/>
                  </a:lnTo>
                  <a:lnTo>
                    <a:pt x="90" y="420"/>
                  </a:lnTo>
                  <a:lnTo>
                    <a:pt x="90" y="408"/>
                  </a:lnTo>
                  <a:lnTo>
                    <a:pt x="90" y="402"/>
                  </a:lnTo>
                  <a:lnTo>
                    <a:pt x="84" y="396"/>
                  </a:lnTo>
                  <a:lnTo>
                    <a:pt x="78" y="378"/>
                  </a:lnTo>
                  <a:lnTo>
                    <a:pt x="72" y="360"/>
                  </a:lnTo>
                  <a:lnTo>
                    <a:pt x="66" y="348"/>
                  </a:lnTo>
                  <a:lnTo>
                    <a:pt x="72" y="336"/>
                  </a:lnTo>
                  <a:lnTo>
                    <a:pt x="66" y="306"/>
                  </a:lnTo>
                  <a:lnTo>
                    <a:pt x="54" y="276"/>
                  </a:lnTo>
                  <a:lnTo>
                    <a:pt x="42" y="252"/>
                  </a:lnTo>
                  <a:lnTo>
                    <a:pt x="36" y="222"/>
                  </a:lnTo>
                  <a:lnTo>
                    <a:pt x="30" y="192"/>
                  </a:lnTo>
                  <a:lnTo>
                    <a:pt x="24" y="162"/>
                  </a:lnTo>
                  <a:lnTo>
                    <a:pt x="42" y="174"/>
                  </a:lnTo>
                  <a:lnTo>
                    <a:pt x="120" y="138"/>
                  </a:lnTo>
                  <a:lnTo>
                    <a:pt x="132" y="126"/>
                  </a:lnTo>
                  <a:lnTo>
                    <a:pt x="120" y="54"/>
                  </a:lnTo>
                  <a:lnTo>
                    <a:pt x="156" y="30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0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8" y="18"/>
                  </a:lnTo>
                  <a:lnTo>
                    <a:pt x="198" y="24"/>
                  </a:lnTo>
                  <a:lnTo>
                    <a:pt x="198" y="30"/>
                  </a:lnTo>
                  <a:lnTo>
                    <a:pt x="198" y="42"/>
                  </a:lnTo>
                  <a:lnTo>
                    <a:pt x="198" y="48"/>
                  </a:lnTo>
                  <a:lnTo>
                    <a:pt x="192" y="60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28" y="60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34" y="60"/>
                  </a:lnTo>
                  <a:lnTo>
                    <a:pt x="252" y="60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312" y="84"/>
                  </a:lnTo>
                  <a:lnTo>
                    <a:pt x="318" y="96"/>
                  </a:lnTo>
                  <a:lnTo>
                    <a:pt x="318" y="102"/>
                  </a:lnTo>
                  <a:lnTo>
                    <a:pt x="312" y="120"/>
                  </a:lnTo>
                  <a:lnTo>
                    <a:pt x="306" y="132"/>
                  </a:lnTo>
                  <a:lnTo>
                    <a:pt x="294" y="144"/>
                  </a:lnTo>
                  <a:lnTo>
                    <a:pt x="282" y="156"/>
                  </a:lnTo>
                  <a:lnTo>
                    <a:pt x="276" y="162"/>
                  </a:lnTo>
                  <a:lnTo>
                    <a:pt x="270" y="162"/>
                  </a:lnTo>
                  <a:lnTo>
                    <a:pt x="264" y="174"/>
                  </a:lnTo>
                  <a:lnTo>
                    <a:pt x="264" y="192"/>
                  </a:lnTo>
                  <a:lnTo>
                    <a:pt x="264" y="216"/>
                  </a:lnTo>
                  <a:lnTo>
                    <a:pt x="258" y="216"/>
                  </a:lnTo>
                  <a:lnTo>
                    <a:pt x="258" y="228"/>
                  </a:lnTo>
                  <a:lnTo>
                    <a:pt x="252" y="234"/>
                  </a:lnTo>
                  <a:lnTo>
                    <a:pt x="258" y="240"/>
                  </a:lnTo>
                  <a:lnTo>
                    <a:pt x="264" y="240"/>
                  </a:lnTo>
                  <a:lnTo>
                    <a:pt x="270" y="240"/>
                  </a:lnTo>
                  <a:lnTo>
                    <a:pt x="276" y="240"/>
                  </a:lnTo>
                  <a:lnTo>
                    <a:pt x="288" y="240"/>
                  </a:lnTo>
                  <a:lnTo>
                    <a:pt x="300" y="246"/>
                  </a:lnTo>
                  <a:lnTo>
                    <a:pt x="306" y="258"/>
                  </a:lnTo>
                  <a:lnTo>
                    <a:pt x="312" y="264"/>
                  </a:lnTo>
                  <a:lnTo>
                    <a:pt x="318" y="276"/>
                  </a:lnTo>
                  <a:lnTo>
                    <a:pt x="330" y="282"/>
                  </a:lnTo>
                  <a:lnTo>
                    <a:pt x="330" y="300"/>
                  </a:lnTo>
                  <a:lnTo>
                    <a:pt x="336" y="312"/>
                  </a:lnTo>
                  <a:lnTo>
                    <a:pt x="336" y="318"/>
                  </a:lnTo>
                  <a:lnTo>
                    <a:pt x="336" y="330"/>
                  </a:lnTo>
                  <a:lnTo>
                    <a:pt x="324" y="330"/>
                  </a:lnTo>
                  <a:lnTo>
                    <a:pt x="330" y="336"/>
                  </a:lnTo>
                  <a:lnTo>
                    <a:pt x="330" y="342"/>
                  </a:lnTo>
                  <a:lnTo>
                    <a:pt x="336" y="348"/>
                  </a:lnTo>
                  <a:lnTo>
                    <a:pt x="330" y="360"/>
                  </a:lnTo>
                  <a:lnTo>
                    <a:pt x="336" y="372"/>
                  </a:lnTo>
                  <a:lnTo>
                    <a:pt x="354" y="366"/>
                  </a:lnTo>
                  <a:lnTo>
                    <a:pt x="366" y="366"/>
                  </a:lnTo>
                  <a:lnTo>
                    <a:pt x="372" y="378"/>
                  </a:lnTo>
                  <a:lnTo>
                    <a:pt x="372" y="390"/>
                  </a:lnTo>
                  <a:lnTo>
                    <a:pt x="378" y="396"/>
                  </a:lnTo>
                  <a:lnTo>
                    <a:pt x="378" y="408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44"/>
                  </a:lnTo>
                  <a:lnTo>
                    <a:pt x="390" y="444"/>
                  </a:lnTo>
                  <a:lnTo>
                    <a:pt x="396" y="444"/>
                  </a:lnTo>
                  <a:lnTo>
                    <a:pt x="402" y="450"/>
                  </a:lnTo>
                  <a:lnTo>
                    <a:pt x="408" y="450"/>
                  </a:lnTo>
                  <a:lnTo>
                    <a:pt x="408" y="462"/>
                  </a:lnTo>
                  <a:lnTo>
                    <a:pt x="408" y="468"/>
                  </a:lnTo>
                  <a:lnTo>
                    <a:pt x="414" y="474"/>
                  </a:lnTo>
                  <a:lnTo>
                    <a:pt x="420" y="474"/>
                  </a:lnTo>
                  <a:lnTo>
                    <a:pt x="420" y="480"/>
                  </a:lnTo>
                  <a:lnTo>
                    <a:pt x="426" y="480"/>
                  </a:lnTo>
                  <a:lnTo>
                    <a:pt x="432" y="480"/>
                  </a:lnTo>
                  <a:lnTo>
                    <a:pt x="462" y="486"/>
                  </a:lnTo>
                  <a:lnTo>
                    <a:pt x="468" y="492"/>
                  </a:lnTo>
                  <a:lnTo>
                    <a:pt x="468" y="498"/>
                  </a:lnTo>
                  <a:lnTo>
                    <a:pt x="462" y="498"/>
                  </a:lnTo>
                  <a:lnTo>
                    <a:pt x="456" y="498"/>
                  </a:lnTo>
                  <a:lnTo>
                    <a:pt x="456" y="504"/>
                  </a:lnTo>
                  <a:lnTo>
                    <a:pt x="456" y="510"/>
                  </a:lnTo>
                  <a:lnTo>
                    <a:pt x="450" y="516"/>
                  </a:lnTo>
                  <a:lnTo>
                    <a:pt x="426" y="516"/>
                  </a:lnTo>
                  <a:lnTo>
                    <a:pt x="408" y="528"/>
                  </a:lnTo>
                  <a:lnTo>
                    <a:pt x="408" y="546"/>
                  </a:lnTo>
                  <a:lnTo>
                    <a:pt x="414" y="552"/>
                  </a:lnTo>
                  <a:lnTo>
                    <a:pt x="408" y="558"/>
                  </a:lnTo>
                  <a:lnTo>
                    <a:pt x="402" y="564"/>
                  </a:lnTo>
                  <a:lnTo>
                    <a:pt x="384" y="564"/>
                  </a:lnTo>
                  <a:lnTo>
                    <a:pt x="372" y="564"/>
                  </a:lnTo>
                  <a:lnTo>
                    <a:pt x="372" y="576"/>
                  </a:lnTo>
                  <a:lnTo>
                    <a:pt x="366" y="576"/>
                  </a:lnTo>
                  <a:lnTo>
                    <a:pt x="366" y="582"/>
                  </a:lnTo>
                  <a:lnTo>
                    <a:pt x="360" y="582"/>
                  </a:lnTo>
                  <a:lnTo>
                    <a:pt x="348" y="576"/>
                  </a:lnTo>
                  <a:lnTo>
                    <a:pt x="336" y="570"/>
                  </a:lnTo>
                  <a:lnTo>
                    <a:pt x="324" y="570"/>
                  </a:lnTo>
                  <a:lnTo>
                    <a:pt x="300" y="564"/>
                  </a:lnTo>
                  <a:lnTo>
                    <a:pt x="282" y="564"/>
                  </a:lnTo>
                  <a:lnTo>
                    <a:pt x="270" y="570"/>
                  </a:lnTo>
                  <a:lnTo>
                    <a:pt x="264" y="576"/>
                  </a:lnTo>
                  <a:lnTo>
                    <a:pt x="258" y="576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34" y="594"/>
                  </a:lnTo>
                  <a:lnTo>
                    <a:pt x="228" y="600"/>
                  </a:lnTo>
                  <a:lnTo>
                    <a:pt x="210" y="618"/>
                  </a:lnTo>
                  <a:lnTo>
                    <a:pt x="210" y="624"/>
                  </a:lnTo>
                  <a:lnTo>
                    <a:pt x="192" y="630"/>
                  </a:lnTo>
                  <a:lnTo>
                    <a:pt x="186" y="630"/>
                  </a:lnTo>
                  <a:lnTo>
                    <a:pt x="180" y="636"/>
                  </a:lnTo>
                  <a:lnTo>
                    <a:pt x="174" y="642"/>
                  </a:lnTo>
                  <a:lnTo>
                    <a:pt x="168" y="642"/>
                  </a:lnTo>
                  <a:lnTo>
                    <a:pt x="168" y="654"/>
                  </a:lnTo>
                  <a:lnTo>
                    <a:pt x="168" y="678"/>
                  </a:lnTo>
                  <a:lnTo>
                    <a:pt x="162" y="684"/>
                  </a:lnTo>
                  <a:lnTo>
                    <a:pt x="156" y="684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72"/>
                  </a:lnTo>
                  <a:lnTo>
                    <a:pt x="138" y="672"/>
                  </a:lnTo>
                  <a:lnTo>
                    <a:pt x="138" y="666"/>
                  </a:lnTo>
                  <a:lnTo>
                    <a:pt x="132" y="660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48"/>
                  </a:lnTo>
                  <a:lnTo>
                    <a:pt x="102" y="654"/>
                  </a:lnTo>
                  <a:lnTo>
                    <a:pt x="90" y="654"/>
                  </a:lnTo>
                  <a:lnTo>
                    <a:pt x="84" y="654"/>
                  </a:lnTo>
                  <a:lnTo>
                    <a:pt x="72" y="660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36" y="684"/>
                  </a:lnTo>
                  <a:lnTo>
                    <a:pt x="30" y="6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7" name="Freeform 22">
              <a:extLst>
                <a:ext uri="{FF2B5EF4-FFF2-40B4-BE49-F238E27FC236}">
                  <a16:creationId xmlns:a16="http://schemas.microsoft.com/office/drawing/2014/main" id="{2F7A477D-6CF8-44B3-8B32-64EE03DC4D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2895" y="3967106"/>
              <a:ext cx="610479" cy="507686"/>
            </a:xfrm>
            <a:custGeom>
              <a:avLst/>
              <a:gdLst>
                <a:gd name="T0" fmla="*/ 87 w 1146"/>
                <a:gd name="T1" fmla="*/ 56 h 954"/>
                <a:gd name="T2" fmla="*/ 83 w 1146"/>
                <a:gd name="T3" fmla="*/ 66 h 954"/>
                <a:gd name="T4" fmla="*/ 74 w 1146"/>
                <a:gd name="T5" fmla="*/ 69 h 954"/>
                <a:gd name="T6" fmla="*/ 67 w 1146"/>
                <a:gd name="T7" fmla="*/ 75 h 954"/>
                <a:gd name="T8" fmla="*/ 59 w 1146"/>
                <a:gd name="T9" fmla="*/ 78 h 954"/>
                <a:gd name="T10" fmla="*/ 52 w 1146"/>
                <a:gd name="T11" fmla="*/ 77 h 954"/>
                <a:gd name="T12" fmla="*/ 48 w 1146"/>
                <a:gd name="T13" fmla="*/ 79 h 954"/>
                <a:gd name="T14" fmla="*/ 41 w 1146"/>
                <a:gd name="T15" fmla="*/ 82 h 954"/>
                <a:gd name="T16" fmla="*/ 29 w 1146"/>
                <a:gd name="T17" fmla="*/ 78 h 954"/>
                <a:gd name="T18" fmla="*/ 28 w 1146"/>
                <a:gd name="T19" fmla="*/ 76 h 954"/>
                <a:gd name="T20" fmla="*/ 28 w 1146"/>
                <a:gd name="T21" fmla="*/ 72 h 954"/>
                <a:gd name="T22" fmla="*/ 28 w 1146"/>
                <a:gd name="T23" fmla="*/ 74 h 954"/>
                <a:gd name="T24" fmla="*/ 21 w 1146"/>
                <a:gd name="T25" fmla="*/ 74 h 954"/>
                <a:gd name="T26" fmla="*/ 20 w 1146"/>
                <a:gd name="T27" fmla="*/ 67 h 954"/>
                <a:gd name="T28" fmla="*/ 23 w 1146"/>
                <a:gd name="T29" fmla="*/ 64 h 954"/>
                <a:gd name="T30" fmla="*/ 28 w 1146"/>
                <a:gd name="T31" fmla="*/ 65 h 954"/>
                <a:gd name="T32" fmla="*/ 32 w 1146"/>
                <a:gd name="T33" fmla="*/ 62 h 954"/>
                <a:gd name="T34" fmla="*/ 31 w 1146"/>
                <a:gd name="T35" fmla="*/ 56 h 954"/>
                <a:gd name="T36" fmla="*/ 36 w 1146"/>
                <a:gd name="T37" fmla="*/ 54 h 954"/>
                <a:gd name="T38" fmla="*/ 38 w 1146"/>
                <a:gd name="T39" fmla="*/ 54 h 954"/>
                <a:gd name="T40" fmla="*/ 32 w 1146"/>
                <a:gd name="T41" fmla="*/ 54 h 954"/>
                <a:gd name="T42" fmla="*/ 29 w 1146"/>
                <a:gd name="T43" fmla="*/ 59 h 954"/>
                <a:gd name="T44" fmla="*/ 26 w 1146"/>
                <a:gd name="T45" fmla="*/ 59 h 954"/>
                <a:gd name="T46" fmla="*/ 25 w 1146"/>
                <a:gd name="T47" fmla="*/ 61 h 954"/>
                <a:gd name="T48" fmla="*/ 20 w 1146"/>
                <a:gd name="T49" fmla="*/ 61 h 954"/>
                <a:gd name="T50" fmla="*/ 11 w 1146"/>
                <a:gd name="T51" fmla="*/ 54 h 954"/>
                <a:gd name="T52" fmla="*/ 14 w 1146"/>
                <a:gd name="T53" fmla="*/ 50 h 954"/>
                <a:gd name="T54" fmla="*/ 21 w 1146"/>
                <a:gd name="T55" fmla="*/ 51 h 954"/>
                <a:gd name="T56" fmla="*/ 24 w 1146"/>
                <a:gd name="T57" fmla="*/ 50 h 954"/>
                <a:gd name="T58" fmla="*/ 28 w 1146"/>
                <a:gd name="T59" fmla="*/ 48 h 954"/>
                <a:gd name="T60" fmla="*/ 30 w 1146"/>
                <a:gd name="T61" fmla="*/ 49 h 954"/>
                <a:gd name="T62" fmla="*/ 26 w 1146"/>
                <a:gd name="T63" fmla="*/ 47 h 954"/>
                <a:gd name="T64" fmla="*/ 20 w 1146"/>
                <a:gd name="T65" fmla="*/ 50 h 954"/>
                <a:gd name="T66" fmla="*/ 20 w 1146"/>
                <a:gd name="T67" fmla="*/ 44 h 954"/>
                <a:gd name="T68" fmla="*/ 19 w 1146"/>
                <a:gd name="T69" fmla="*/ 46 h 954"/>
                <a:gd name="T70" fmla="*/ 15 w 1146"/>
                <a:gd name="T71" fmla="*/ 49 h 954"/>
                <a:gd name="T72" fmla="*/ 8 w 1146"/>
                <a:gd name="T73" fmla="*/ 48 h 954"/>
                <a:gd name="T74" fmla="*/ 6 w 1146"/>
                <a:gd name="T75" fmla="*/ 41 h 954"/>
                <a:gd name="T76" fmla="*/ 10 w 1146"/>
                <a:gd name="T77" fmla="*/ 41 h 954"/>
                <a:gd name="T78" fmla="*/ 9 w 1146"/>
                <a:gd name="T79" fmla="*/ 39 h 954"/>
                <a:gd name="T80" fmla="*/ 14 w 1146"/>
                <a:gd name="T81" fmla="*/ 35 h 954"/>
                <a:gd name="T82" fmla="*/ 19 w 1146"/>
                <a:gd name="T83" fmla="*/ 32 h 954"/>
                <a:gd name="T84" fmla="*/ 20 w 1146"/>
                <a:gd name="T85" fmla="*/ 29 h 954"/>
                <a:gd name="T86" fmla="*/ 27 w 1146"/>
                <a:gd name="T87" fmla="*/ 27 h 954"/>
                <a:gd name="T88" fmla="*/ 33 w 1146"/>
                <a:gd name="T89" fmla="*/ 28 h 954"/>
                <a:gd name="T90" fmla="*/ 44 w 1146"/>
                <a:gd name="T91" fmla="*/ 27 h 954"/>
                <a:gd name="T92" fmla="*/ 52 w 1146"/>
                <a:gd name="T93" fmla="*/ 41 h 954"/>
                <a:gd name="T94" fmla="*/ 61 w 1146"/>
                <a:gd name="T95" fmla="*/ 40 h 954"/>
                <a:gd name="T96" fmla="*/ 69 w 1146"/>
                <a:gd name="T97" fmla="*/ 34 h 954"/>
                <a:gd name="T98" fmla="*/ 62 w 1146"/>
                <a:gd name="T99" fmla="*/ 12 h 954"/>
                <a:gd name="T100" fmla="*/ 74 w 1146"/>
                <a:gd name="T101" fmla="*/ 8 h 954"/>
                <a:gd name="T102" fmla="*/ 87 w 1146"/>
                <a:gd name="T103" fmla="*/ 1 h 954"/>
                <a:gd name="T104" fmla="*/ 99 w 1146"/>
                <a:gd name="T105" fmla="*/ 12 h 954"/>
                <a:gd name="T106" fmla="*/ 98 w 1146"/>
                <a:gd name="T107" fmla="*/ 27 h 954"/>
                <a:gd name="T108" fmla="*/ 16 w 1146"/>
                <a:gd name="T109" fmla="*/ 33 h 954"/>
                <a:gd name="T110" fmla="*/ 11 w 1146"/>
                <a:gd name="T111" fmla="*/ 36 h 954"/>
                <a:gd name="T112" fmla="*/ 5 w 1146"/>
                <a:gd name="T113" fmla="*/ 41 h 954"/>
                <a:gd name="T114" fmla="*/ 2 w 1146"/>
                <a:gd name="T115" fmla="*/ 36 h 954"/>
                <a:gd name="T116" fmla="*/ 5 w 1146"/>
                <a:gd name="T117" fmla="*/ 26 h 954"/>
                <a:gd name="T118" fmla="*/ 10 w 1146"/>
                <a:gd name="T119" fmla="*/ 20 h 954"/>
                <a:gd name="T120" fmla="*/ 13 w 1146"/>
                <a:gd name="T121" fmla="*/ 20 h 954"/>
                <a:gd name="T122" fmla="*/ 15 w 1146"/>
                <a:gd name="T123" fmla="*/ 27 h 95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46"/>
                <a:gd name="T187" fmla="*/ 0 h 954"/>
                <a:gd name="T188" fmla="*/ 1146 w 1146"/>
                <a:gd name="T189" fmla="*/ 954 h 95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46" h="954">
                  <a:moveTo>
                    <a:pt x="1056" y="498"/>
                  </a:moveTo>
                  <a:lnTo>
                    <a:pt x="1044" y="510"/>
                  </a:lnTo>
                  <a:lnTo>
                    <a:pt x="1032" y="516"/>
                  </a:lnTo>
                  <a:lnTo>
                    <a:pt x="1038" y="528"/>
                  </a:lnTo>
                  <a:lnTo>
                    <a:pt x="1050" y="540"/>
                  </a:lnTo>
                  <a:lnTo>
                    <a:pt x="1050" y="546"/>
                  </a:lnTo>
                  <a:lnTo>
                    <a:pt x="1050" y="564"/>
                  </a:lnTo>
                  <a:lnTo>
                    <a:pt x="1038" y="576"/>
                  </a:lnTo>
                  <a:lnTo>
                    <a:pt x="1032" y="588"/>
                  </a:lnTo>
                  <a:lnTo>
                    <a:pt x="1020" y="594"/>
                  </a:lnTo>
                  <a:lnTo>
                    <a:pt x="1008" y="594"/>
                  </a:lnTo>
                  <a:lnTo>
                    <a:pt x="1002" y="600"/>
                  </a:lnTo>
                  <a:lnTo>
                    <a:pt x="996" y="612"/>
                  </a:lnTo>
                  <a:lnTo>
                    <a:pt x="996" y="624"/>
                  </a:lnTo>
                  <a:lnTo>
                    <a:pt x="996" y="648"/>
                  </a:lnTo>
                  <a:lnTo>
                    <a:pt x="996" y="660"/>
                  </a:lnTo>
                  <a:lnTo>
                    <a:pt x="1002" y="672"/>
                  </a:lnTo>
                  <a:lnTo>
                    <a:pt x="1002" y="684"/>
                  </a:lnTo>
                  <a:lnTo>
                    <a:pt x="996" y="684"/>
                  </a:lnTo>
                  <a:lnTo>
                    <a:pt x="984" y="690"/>
                  </a:lnTo>
                  <a:lnTo>
                    <a:pt x="972" y="690"/>
                  </a:lnTo>
                  <a:lnTo>
                    <a:pt x="966" y="696"/>
                  </a:lnTo>
                  <a:lnTo>
                    <a:pt x="966" y="702"/>
                  </a:lnTo>
                  <a:lnTo>
                    <a:pt x="966" y="714"/>
                  </a:lnTo>
                  <a:lnTo>
                    <a:pt x="972" y="726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2" y="756"/>
                  </a:lnTo>
                  <a:lnTo>
                    <a:pt x="966" y="756"/>
                  </a:lnTo>
                  <a:lnTo>
                    <a:pt x="942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18" y="768"/>
                  </a:lnTo>
                  <a:lnTo>
                    <a:pt x="906" y="768"/>
                  </a:lnTo>
                  <a:lnTo>
                    <a:pt x="894" y="762"/>
                  </a:lnTo>
                  <a:lnTo>
                    <a:pt x="882" y="756"/>
                  </a:lnTo>
                  <a:lnTo>
                    <a:pt x="876" y="756"/>
                  </a:lnTo>
                  <a:lnTo>
                    <a:pt x="876" y="762"/>
                  </a:lnTo>
                  <a:lnTo>
                    <a:pt x="864" y="768"/>
                  </a:lnTo>
                  <a:lnTo>
                    <a:pt x="858" y="774"/>
                  </a:lnTo>
                  <a:lnTo>
                    <a:pt x="852" y="774"/>
                  </a:lnTo>
                  <a:lnTo>
                    <a:pt x="840" y="780"/>
                  </a:lnTo>
                  <a:lnTo>
                    <a:pt x="840" y="786"/>
                  </a:lnTo>
                  <a:lnTo>
                    <a:pt x="840" y="792"/>
                  </a:lnTo>
                  <a:lnTo>
                    <a:pt x="840" y="804"/>
                  </a:lnTo>
                  <a:lnTo>
                    <a:pt x="840" y="810"/>
                  </a:lnTo>
                  <a:lnTo>
                    <a:pt x="828" y="816"/>
                  </a:lnTo>
                  <a:lnTo>
                    <a:pt x="810" y="810"/>
                  </a:lnTo>
                  <a:lnTo>
                    <a:pt x="792" y="810"/>
                  </a:lnTo>
                  <a:lnTo>
                    <a:pt x="786" y="816"/>
                  </a:lnTo>
                  <a:lnTo>
                    <a:pt x="780" y="816"/>
                  </a:lnTo>
                  <a:lnTo>
                    <a:pt x="780" y="822"/>
                  </a:lnTo>
                  <a:lnTo>
                    <a:pt x="780" y="828"/>
                  </a:lnTo>
                  <a:lnTo>
                    <a:pt x="780" y="834"/>
                  </a:lnTo>
                  <a:lnTo>
                    <a:pt x="786" y="840"/>
                  </a:lnTo>
                  <a:lnTo>
                    <a:pt x="786" y="846"/>
                  </a:lnTo>
                  <a:lnTo>
                    <a:pt x="786" y="852"/>
                  </a:lnTo>
                  <a:lnTo>
                    <a:pt x="780" y="858"/>
                  </a:lnTo>
                  <a:lnTo>
                    <a:pt x="768" y="858"/>
                  </a:lnTo>
                  <a:lnTo>
                    <a:pt x="762" y="864"/>
                  </a:lnTo>
                  <a:lnTo>
                    <a:pt x="756" y="864"/>
                  </a:lnTo>
                  <a:lnTo>
                    <a:pt x="750" y="870"/>
                  </a:lnTo>
                  <a:lnTo>
                    <a:pt x="744" y="876"/>
                  </a:lnTo>
                  <a:lnTo>
                    <a:pt x="732" y="876"/>
                  </a:lnTo>
                  <a:lnTo>
                    <a:pt x="726" y="876"/>
                  </a:lnTo>
                  <a:lnTo>
                    <a:pt x="720" y="870"/>
                  </a:lnTo>
                  <a:lnTo>
                    <a:pt x="714" y="864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6" y="876"/>
                  </a:lnTo>
                  <a:lnTo>
                    <a:pt x="696" y="882"/>
                  </a:lnTo>
                  <a:lnTo>
                    <a:pt x="696" y="894"/>
                  </a:lnTo>
                  <a:lnTo>
                    <a:pt x="690" y="900"/>
                  </a:lnTo>
                  <a:lnTo>
                    <a:pt x="684" y="900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54" y="888"/>
                  </a:lnTo>
                  <a:lnTo>
                    <a:pt x="654" y="882"/>
                  </a:lnTo>
                  <a:lnTo>
                    <a:pt x="642" y="876"/>
                  </a:lnTo>
                  <a:lnTo>
                    <a:pt x="636" y="876"/>
                  </a:lnTo>
                  <a:lnTo>
                    <a:pt x="630" y="876"/>
                  </a:lnTo>
                  <a:lnTo>
                    <a:pt x="630" y="870"/>
                  </a:lnTo>
                  <a:lnTo>
                    <a:pt x="618" y="858"/>
                  </a:lnTo>
                  <a:lnTo>
                    <a:pt x="612" y="858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06" y="876"/>
                  </a:lnTo>
                  <a:lnTo>
                    <a:pt x="606" y="882"/>
                  </a:lnTo>
                  <a:lnTo>
                    <a:pt x="606" y="888"/>
                  </a:lnTo>
                  <a:lnTo>
                    <a:pt x="600" y="894"/>
                  </a:lnTo>
                  <a:lnTo>
                    <a:pt x="594" y="894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76" y="894"/>
                  </a:lnTo>
                  <a:lnTo>
                    <a:pt x="582" y="900"/>
                  </a:lnTo>
                  <a:lnTo>
                    <a:pt x="576" y="906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64" y="918"/>
                  </a:lnTo>
                  <a:lnTo>
                    <a:pt x="558" y="918"/>
                  </a:lnTo>
                  <a:lnTo>
                    <a:pt x="558" y="912"/>
                  </a:lnTo>
                  <a:lnTo>
                    <a:pt x="552" y="906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06"/>
                  </a:lnTo>
                  <a:lnTo>
                    <a:pt x="534" y="906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0" y="924"/>
                  </a:lnTo>
                  <a:lnTo>
                    <a:pt x="504" y="924"/>
                  </a:lnTo>
                  <a:lnTo>
                    <a:pt x="498" y="930"/>
                  </a:lnTo>
                  <a:lnTo>
                    <a:pt x="492" y="924"/>
                  </a:lnTo>
                  <a:lnTo>
                    <a:pt x="486" y="930"/>
                  </a:lnTo>
                  <a:lnTo>
                    <a:pt x="480" y="942"/>
                  </a:lnTo>
                  <a:lnTo>
                    <a:pt x="468" y="948"/>
                  </a:lnTo>
                  <a:lnTo>
                    <a:pt x="444" y="942"/>
                  </a:lnTo>
                  <a:lnTo>
                    <a:pt x="438" y="954"/>
                  </a:lnTo>
                  <a:lnTo>
                    <a:pt x="426" y="954"/>
                  </a:lnTo>
                  <a:lnTo>
                    <a:pt x="420" y="948"/>
                  </a:lnTo>
                  <a:lnTo>
                    <a:pt x="408" y="936"/>
                  </a:lnTo>
                  <a:lnTo>
                    <a:pt x="396" y="936"/>
                  </a:lnTo>
                  <a:lnTo>
                    <a:pt x="390" y="930"/>
                  </a:lnTo>
                  <a:lnTo>
                    <a:pt x="390" y="924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66" y="924"/>
                  </a:lnTo>
                  <a:lnTo>
                    <a:pt x="360" y="924"/>
                  </a:lnTo>
                  <a:lnTo>
                    <a:pt x="348" y="918"/>
                  </a:lnTo>
                  <a:lnTo>
                    <a:pt x="342" y="906"/>
                  </a:lnTo>
                  <a:lnTo>
                    <a:pt x="336" y="906"/>
                  </a:lnTo>
                  <a:lnTo>
                    <a:pt x="330" y="906"/>
                  </a:lnTo>
                  <a:lnTo>
                    <a:pt x="312" y="906"/>
                  </a:lnTo>
                  <a:lnTo>
                    <a:pt x="312" y="900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888"/>
                  </a:lnTo>
                  <a:lnTo>
                    <a:pt x="312" y="882"/>
                  </a:lnTo>
                  <a:lnTo>
                    <a:pt x="306" y="876"/>
                  </a:lnTo>
                  <a:lnTo>
                    <a:pt x="312" y="876"/>
                  </a:lnTo>
                  <a:lnTo>
                    <a:pt x="312" y="870"/>
                  </a:lnTo>
                  <a:lnTo>
                    <a:pt x="318" y="876"/>
                  </a:lnTo>
                  <a:lnTo>
                    <a:pt x="318" y="870"/>
                  </a:lnTo>
                  <a:lnTo>
                    <a:pt x="324" y="876"/>
                  </a:lnTo>
                  <a:lnTo>
                    <a:pt x="330" y="876"/>
                  </a:lnTo>
                  <a:lnTo>
                    <a:pt x="336" y="876"/>
                  </a:lnTo>
                  <a:lnTo>
                    <a:pt x="342" y="876"/>
                  </a:lnTo>
                  <a:lnTo>
                    <a:pt x="336" y="876"/>
                  </a:lnTo>
                  <a:lnTo>
                    <a:pt x="330" y="870"/>
                  </a:lnTo>
                  <a:lnTo>
                    <a:pt x="324" y="870"/>
                  </a:lnTo>
                  <a:lnTo>
                    <a:pt x="318" y="870"/>
                  </a:lnTo>
                  <a:lnTo>
                    <a:pt x="312" y="870"/>
                  </a:lnTo>
                  <a:lnTo>
                    <a:pt x="318" y="864"/>
                  </a:lnTo>
                  <a:lnTo>
                    <a:pt x="318" y="858"/>
                  </a:lnTo>
                  <a:lnTo>
                    <a:pt x="318" y="852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6" y="846"/>
                  </a:lnTo>
                  <a:lnTo>
                    <a:pt x="312" y="828"/>
                  </a:lnTo>
                  <a:lnTo>
                    <a:pt x="312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06" y="816"/>
                  </a:lnTo>
                  <a:lnTo>
                    <a:pt x="306" y="810"/>
                  </a:lnTo>
                  <a:lnTo>
                    <a:pt x="306" y="816"/>
                  </a:lnTo>
                  <a:lnTo>
                    <a:pt x="312" y="822"/>
                  </a:lnTo>
                  <a:lnTo>
                    <a:pt x="306" y="822"/>
                  </a:lnTo>
                  <a:lnTo>
                    <a:pt x="306" y="828"/>
                  </a:lnTo>
                  <a:lnTo>
                    <a:pt x="306" y="834"/>
                  </a:lnTo>
                  <a:lnTo>
                    <a:pt x="300" y="840"/>
                  </a:lnTo>
                  <a:lnTo>
                    <a:pt x="300" y="846"/>
                  </a:lnTo>
                  <a:lnTo>
                    <a:pt x="306" y="852"/>
                  </a:lnTo>
                  <a:lnTo>
                    <a:pt x="306" y="858"/>
                  </a:lnTo>
                  <a:lnTo>
                    <a:pt x="312" y="858"/>
                  </a:lnTo>
                  <a:lnTo>
                    <a:pt x="312" y="864"/>
                  </a:lnTo>
                  <a:lnTo>
                    <a:pt x="306" y="864"/>
                  </a:lnTo>
                  <a:lnTo>
                    <a:pt x="300" y="864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82" y="870"/>
                  </a:lnTo>
                  <a:lnTo>
                    <a:pt x="276" y="870"/>
                  </a:lnTo>
                  <a:lnTo>
                    <a:pt x="270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8" y="870"/>
                  </a:lnTo>
                  <a:lnTo>
                    <a:pt x="252" y="870"/>
                  </a:lnTo>
                  <a:lnTo>
                    <a:pt x="252" y="864"/>
                  </a:lnTo>
                  <a:lnTo>
                    <a:pt x="246" y="858"/>
                  </a:lnTo>
                  <a:lnTo>
                    <a:pt x="246" y="852"/>
                  </a:lnTo>
                  <a:lnTo>
                    <a:pt x="246" y="846"/>
                  </a:lnTo>
                  <a:lnTo>
                    <a:pt x="246" y="840"/>
                  </a:lnTo>
                  <a:lnTo>
                    <a:pt x="246" y="834"/>
                  </a:lnTo>
                  <a:lnTo>
                    <a:pt x="246" y="828"/>
                  </a:lnTo>
                  <a:lnTo>
                    <a:pt x="246" y="822"/>
                  </a:lnTo>
                  <a:lnTo>
                    <a:pt x="240" y="816"/>
                  </a:lnTo>
                  <a:lnTo>
                    <a:pt x="240" y="810"/>
                  </a:lnTo>
                  <a:lnTo>
                    <a:pt x="240" y="804"/>
                  </a:lnTo>
                  <a:lnTo>
                    <a:pt x="240" y="798"/>
                  </a:lnTo>
                  <a:lnTo>
                    <a:pt x="234" y="798"/>
                  </a:lnTo>
                  <a:lnTo>
                    <a:pt x="234" y="792"/>
                  </a:lnTo>
                  <a:lnTo>
                    <a:pt x="234" y="786"/>
                  </a:lnTo>
                  <a:lnTo>
                    <a:pt x="234" y="780"/>
                  </a:lnTo>
                  <a:lnTo>
                    <a:pt x="228" y="780"/>
                  </a:lnTo>
                  <a:lnTo>
                    <a:pt x="228" y="774"/>
                  </a:lnTo>
                  <a:lnTo>
                    <a:pt x="228" y="768"/>
                  </a:lnTo>
                  <a:lnTo>
                    <a:pt x="222" y="762"/>
                  </a:lnTo>
                  <a:lnTo>
                    <a:pt x="222" y="756"/>
                  </a:lnTo>
                  <a:lnTo>
                    <a:pt x="222" y="750"/>
                  </a:lnTo>
                  <a:lnTo>
                    <a:pt x="222" y="744"/>
                  </a:lnTo>
                  <a:lnTo>
                    <a:pt x="222" y="738"/>
                  </a:lnTo>
                  <a:lnTo>
                    <a:pt x="216" y="732"/>
                  </a:lnTo>
                  <a:lnTo>
                    <a:pt x="222" y="732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32"/>
                  </a:lnTo>
                  <a:lnTo>
                    <a:pt x="246" y="732"/>
                  </a:lnTo>
                  <a:lnTo>
                    <a:pt x="246" y="738"/>
                  </a:lnTo>
                  <a:lnTo>
                    <a:pt x="252" y="738"/>
                  </a:lnTo>
                  <a:lnTo>
                    <a:pt x="258" y="738"/>
                  </a:lnTo>
                  <a:lnTo>
                    <a:pt x="258" y="732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8" y="732"/>
                  </a:lnTo>
                  <a:lnTo>
                    <a:pt x="294" y="732"/>
                  </a:lnTo>
                  <a:lnTo>
                    <a:pt x="300" y="732"/>
                  </a:lnTo>
                  <a:lnTo>
                    <a:pt x="300" y="738"/>
                  </a:lnTo>
                  <a:lnTo>
                    <a:pt x="306" y="738"/>
                  </a:lnTo>
                  <a:lnTo>
                    <a:pt x="306" y="744"/>
                  </a:lnTo>
                  <a:lnTo>
                    <a:pt x="306" y="750"/>
                  </a:lnTo>
                  <a:lnTo>
                    <a:pt x="312" y="750"/>
                  </a:lnTo>
                  <a:lnTo>
                    <a:pt x="312" y="756"/>
                  </a:lnTo>
                  <a:lnTo>
                    <a:pt x="318" y="756"/>
                  </a:lnTo>
                  <a:lnTo>
                    <a:pt x="318" y="750"/>
                  </a:lnTo>
                  <a:lnTo>
                    <a:pt x="312" y="750"/>
                  </a:lnTo>
                  <a:lnTo>
                    <a:pt x="312" y="744"/>
                  </a:lnTo>
                  <a:lnTo>
                    <a:pt x="318" y="738"/>
                  </a:lnTo>
                  <a:lnTo>
                    <a:pt x="324" y="738"/>
                  </a:lnTo>
                  <a:lnTo>
                    <a:pt x="330" y="738"/>
                  </a:lnTo>
                  <a:lnTo>
                    <a:pt x="336" y="738"/>
                  </a:lnTo>
                  <a:lnTo>
                    <a:pt x="342" y="738"/>
                  </a:lnTo>
                  <a:lnTo>
                    <a:pt x="348" y="732"/>
                  </a:lnTo>
                  <a:lnTo>
                    <a:pt x="354" y="732"/>
                  </a:lnTo>
                  <a:lnTo>
                    <a:pt x="360" y="732"/>
                  </a:lnTo>
                  <a:lnTo>
                    <a:pt x="360" y="726"/>
                  </a:lnTo>
                  <a:lnTo>
                    <a:pt x="366" y="726"/>
                  </a:lnTo>
                  <a:lnTo>
                    <a:pt x="366" y="720"/>
                  </a:lnTo>
                  <a:lnTo>
                    <a:pt x="366" y="714"/>
                  </a:lnTo>
                  <a:lnTo>
                    <a:pt x="360" y="708"/>
                  </a:lnTo>
                  <a:lnTo>
                    <a:pt x="354" y="708"/>
                  </a:lnTo>
                  <a:lnTo>
                    <a:pt x="348" y="702"/>
                  </a:lnTo>
                  <a:lnTo>
                    <a:pt x="354" y="702"/>
                  </a:lnTo>
                  <a:lnTo>
                    <a:pt x="354" y="696"/>
                  </a:lnTo>
                  <a:lnTo>
                    <a:pt x="348" y="696"/>
                  </a:lnTo>
                  <a:lnTo>
                    <a:pt x="348" y="690"/>
                  </a:lnTo>
                  <a:lnTo>
                    <a:pt x="342" y="690"/>
                  </a:lnTo>
                  <a:lnTo>
                    <a:pt x="342" y="684"/>
                  </a:lnTo>
                  <a:lnTo>
                    <a:pt x="342" y="678"/>
                  </a:lnTo>
                  <a:lnTo>
                    <a:pt x="342" y="666"/>
                  </a:lnTo>
                  <a:lnTo>
                    <a:pt x="342" y="660"/>
                  </a:lnTo>
                  <a:lnTo>
                    <a:pt x="348" y="654"/>
                  </a:lnTo>
                  <a:lnTo>
                    <a:pt x="348" y="642"/>
                  </a:lnTo>
                  <a:lnTo>
                    <a:pt x="354" y="642"/>
                  </a:lnTo>
                  <a:lnTo>
                    <a:pt x="360" y="642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66" y="642"/>
                  </a:lnTo>
                  <a:lnTo>
                    <a:pt x="372" y="642"/>
                  </a:lnTo>
                  <a:lnTo>
                    <a:pt x="378" y="642"/>
                  </a:lnTo>
                  <a:lnTo>
                    <a:pt x="384" y="642"/>
                  </a:lnTo>
                  <a:lnTo>
                    <a:pt x="390" y="642"/>
                  </a:lnTo>
                  <a:lnTo>
                    <a:pt x="396" y="642"/>
                  </a:lnTo>
                  <a:lnTo>
                    <a:pt x="396" y="636"/>
                  </a:lnTo>
                  <a:lnTo>
                    <a:pt x="402" y="636"/>
                  </a:lnTo>
                  <a:lnTo>
                    <a:pt x="408" y="636"/>
                  </a:lnTo>
                  <a:lnTo>
                    <a:pt x="402" y="636"/>
                  </a:lnTo>
                  <a:lnTo>
                    <a:pt x="402" y="630"/>
                  </a:lnTo>
                  <a:lnTo>
                    <a:pt x="408" y="630"/>
                  </a:lnTo>
                  <a:lnTo>
                    <a:pt x="408" y="624"/>
                  </a:lnTo>
                  <a:lnTo>
                    <a:pt x="408" y="618"/>
                  </a:lnTo>
                  <a:lnTo>
                    <a:pt x="414" y="618"/>
                  </a:lnTo>
                  <a:lnTo>
                    <a:pt x="420" y="618"/>
                  </a:lnTo>
                  <a:lnTo>
                    <a:pt x="426" y="624"/>
                  </a:lnTo>
                  <a:lnTo>
                    <a:pt x="432" y="624"/>
                  </a:lnTo>
                  <a:lnTo>
                    <a:pt x="438" y="624"/>
                  </a:lnTo>
                  <a:lnTo>
                    <a:pt x="438" y="618"/>
                  </a:lnTo>
                  <a:lnTo>
                    <a:pt x="444" y="618"/>
                  </a:lnTo>
                  <a:lnTo>
                    <a:pt x="450" y="618"/>
                  </a:lnTo>
                  <a:lnTo>
                    <a:pt x="444" y="618"/>
                  </a:lnTo>
                  <a:lnTo>
                    <a:pt x="438" y="618"/>
                  </a:lnTo>
                  <a:lnTo>
                    <a:pt x="438" y="612"/>
                  </a:lnTo>
                  <a:lnTo>
                    <a:pt x="438" y="618"/>
                  </a:lnTo>
                  <a:lnTo>
                    <a:pt x="432" y="624"/>
                  </a:lnTo>
                  <a:lnTo>
                    <a:pt x="426" y="618"/>
                  </a:lnTo>
                  <a:lnTo>
                    <a:pt x="420" y="612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402" y="624"/>
                  </a:lnTo>
                  <a:lnTo>
                    <a:pt x="396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78" y="630"/>
                  </a:lnTo>
                  <a:lnTo>
                    <a:pt x="378" y="636"/>
                  </a:lnTo>
                  <a:lnTo>
                    <a:pt x="372" y="630"/>
                  </a:lnTo>
                  <a:lnTo>
                    <a:pt x="366" y="630"/>
                  </a:lnTo>
                  <a:lnTo>
                    <a:pt x="360" y="630"/>
                  </a:lnTo>
                  <a:lnTo>
                    <a:pt x="354" y="630"/>
                  </a:lnTo>
                  <a:lnTo>
                    <a:pt x="354" y="636"/>
                  </a:lnTo>
                  <a:lnTo>
                    <a:pt x="348" y="636"/>
                  </a:lnTo>
                  <a:lnTo>
                    <a:pt x="348" y="642"/>
                  </a:lnTo>
                  <a:lnTo>
                    <a:pt x="342" y="642"/>
                  </a:lnTo>
                  <a:lnTo>
                    <a:pt x="342" y="648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6" y="660"/>
                  </a:lnTo>
                  <a:lnTo>
                    <a:pt x="336" y="666"/>
                  </a:lnTo>
                  <a:lnTo>
                    <a:pt x="330" y="672"/>
                  </a:lnTo>
                  <a:lnTo>
                    <a:pt x="330" y="678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24" y="696"/>
                  </a:lnTo>
                  <a:lnTo>
                    <a:pt x="324" y="702"/>
                  </a:lnTo>
                  <a:lnTo>
                    <a:pt x="318" y="702"/>
                  </a:lnTo>
                  <a:lnTo>
                    <a:pt x="318" y="708"/>
                  </a:lnTo>
                  <a:lnTo>
                    <a:pt x="312" y="708"/>
                  </a:lnTo>
                  <a:lnTo>
                    <a:pt x="312" y="702"/>
                  </a:lnTo>
                  <a:lnTo>
                    <a:pt x="306" y="702"/>
                  </a:lnTo>
                  <a:lnTo>
                    <a:pt x="300" y="702"/>
                  </a:lnTo>
                  <a:lnTo>
                    <a:pt x="294" y="696"/>
                  </a:lnTo>
                  <a:lnTo>
                    <a:pt x="288" y="696"/>
                  </a:lnTo>
                  <a:lnTo>
                    <a:pt x="282" y="690"/>
                  </a:lnTo>
                  <a:lnTo>
                    <a:pt x="288" y="684"/>
                  </a:lnTo>
                  <a:lnTo>
                    <a:pt x="294" y="684"/>
                  </a:lnTo>
                  <a:lnTo>
                    <a:pt x="294" y="678"/>
                  </a:lnTo>
                  <a:lnTo>
                    <a:pt x="300" y="678"/>
                  </a:lnTo>
                  <a:lnTo>
                    <a:pt x="294" y="678"/>
                  </a:lnTo>
                  <a:lnTo>
                    <a:pt x="294" y="672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94" y="672"/>
                  </a:lnTo>
                  <a:lnTo>
                    <a:pt x="288" y="678"/>
                  </a:lnTo>
                  <a:lnTo>
                    <a:pt x="282" y="684"/>
                  </a:lnTo>
                  <a:lnTo>
                    <a:pt x="282" y="678"/>
                  </a:lnTo>
                  <a:lnTo>
                    <a:pt x="276" y="678"/>
                  </a:lnTo>
                  <a:lnTo>
                    <a:pt x="282" y="684"/>
                  </a:lnTo>
                  <a:lnTo>
                    <a:pt x="282" y="690"/>
                  </a:lnTo>
                  <a:lnTo>
                    <a:pt x="282" y="696"/>
                  </a:lnTo>
                  <a:lnTo>
                    <a:pt x="288" y="702"/>
                  </a:lnTo>
                  <a:lnTo>
                    <a:pt x="294" y="708"/>
                  </a:lnTo>
                  <a:lnTo>
                    <a:pt x="294" y="714"/>
                  </a:lnTo>
                  <a:lnTo>
                    <a:pt x="288" y="714"/>
                  </a:lnTo>
                  <a:lnTo>
                    <a:pt x="282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64" y="714"/>
                  </a:lnTo>
                  <a:lnTo>
                    <a:pt x="258" y="714"/>
                  </a:lnTo>
                  <a:lnTo>
                    <a:pt x="252" y="714"/>
                  </a:lnTo>
                  <a:lnTo>
                    <a:pt x="246" y="714"/>
                  </a:lnTo>
                  <a:lnTo>
                    <a:pt x="240" y="714"/>
                  </a:lnTo>
                  <a:lnTo>
                    <a:pt x="240" y="708"/>
                  </a:lnTo>
                  <a:lnTo>
                    <a:pt x="234" y="708"/>
                  </a:lnTo>
                  <a:lnTo>
                    <a:pt x="228" y="708"/>
                  </a:lnTo>
                  <a:lnTo>
                    <a:pt x="222" y="702"/>
                  </a:lnTo>
                  <a:lnTo>
                    <a:pt x="216" y="702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2" y="690"/>
                  </a:lnTo>
                  <a:lnTo>
                    <a:pt x="186" y="690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68" y="684"/>
                  </a:lnTo>
                  <a:lnTo>
                    <a:pt x="168" y="678"/>
                  </a:lnTo>
                  <a:lnTo>
                    <a:pt x="156" y="672"/>
                  </a:lnTo>
                  <a:lnTo>
                    <a:pt x="150" y="660"/>
                  </a:lnTo>
                  <a:lnTo>
                    <a:pt x="126" y="630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12"/>
                  </a:lnTo>
                  <a:lnTo>
                    <a:pt x="126" y="606"/>
                  </a:lnTo>
                  <a:lnTo>
                    <a:pt x="126" y="600"/>
                  </a:lnTo>
                  <a:lnTo>
                    <a:pt x="132" y="594"/>
                  </a:lnTo>
                  <a:lnTo>
                    <a:pt x="138" y="594"/>
                  </a:lnTo>
                  <a:lnTo>
                    <a:pt x="144" y="588"/>
                  </a:lnTo>
                  <a:lnTo>
                    <a:pt x="144" y="582"/>
                  </a:lnTo>
                  <a:lnTo>
                    <a:pt x="150" y="582"/>
                  </a:lnTo>
                  <a:lnTo>
                    <a:pt x="150" y="576"/>
                  </a:lnTo>
                  <a:lnTo>
                    <a:pt x="156" y="576"/>
                  </a:lnTo>
                  <a:lnTo>
                    <a:pt x="156" y="582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8" y="576"/>
                  </a:lnTo>
                  <a:lnTo>
                    <a:pt x="174" y="576"/>
                  </a:lnTo>
                  <a:lnTo>
                    <a:pt x="180" y="582"/>
                  </a:lnTo>
                  <a:lnTo>
                    <a:pt x="192" y="582"/>
                  </a:lnTo>
                  <a:lnTo>
                    <a:pt x="198" y="582"/>
                  </a:lnTo>
                  <a:lnTo>
                    <a:pt x="204" y="582"/>
                  </a:lnTo>
                  <a:lnTo>
                    <a:pt x="210" y="582"/>
                  </a:lnTo>
                  <a:lnTo>
                    <a:pt x="216" y="588"/>
                  </a:lnTo>
                  <a:lnTo>
                    <a:pt x="222" y="588"/>
                  </a:lnTo>
                  <a:lnTo>
                    <a:pt x="234" y="588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46" y="594"/>
                  </a:lnTo>
                  <a:lnTo>
                    <a:pt x="252" y="588"/>
                  </a:lnTo>
                  <a:lnTo>
                    <a:pt x="258" y="588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52" y="600"/>
                  </a:lnTo>
                  <a:lnTo>
                    <a:pt x="246" y="600"/>
                  </a:lnTo>
                  <a:lnTo>
                    <a:pt x="246" y="606"/>
                  </a:lnTo>
                  <a:lnTo>
                    <a:pt x="246" y="600"/>
                  </a:lnTo>
                  <a:lnTo>
                    <a:pt x="252" y="600"/>
                  </a:lnTo>
                  <a:lnTo>
                    <a:pt x="258" y="594"/>
                  </a:lnTo>
                  <a:lnTo>
                    <a:pt x="264" y="594"/>
                  </a:lnTo>
                  <a:lnTo>
                    <a:pt x="264" y="588"/>
                  </a:lnTo>
                  <a:lnTo>
                    <a:pt x="270" y="588"/>
                  </a:lnTo>
                  <a:lnTo>
                    <a:pt x="270" y="582"/>
                  </a:lnTo>
                  <a:lnTo>
                    <a:pt x="270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76" y="564"/>
                  </a:lnTo>
                  <a:lnTo>
                    <a:pt x="270" y="558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58"/>
                  </a:lnTo>
                  <a:lnTo>
                    <a:pt x="282" y="558"/>
                  </a:lnTo>
                  <a:lnTo>
                    <a:pt x="288" y="558"/>
                  </a:lnTo>
                  <a:lnTo>
                    <a:pt x="294" y="558"/>
                  </a:lnTo>
                  <a:lnTo>
                    <a:pt x="300" y="558"/>
                  </a:lnTo>
                  <a:lnTo>
                    <a:pt x="306" y="558"/>
                  </a:lnTo>
                  <a:lnTo>
                    <a:pt x="312" y="558"/>
                  </a:lnTo>
                  <a:lnTo>
                    <a:pt x="318" y="558"/>
                  </a:lnTo>
                  <a:lnTo>
                    <a:pt x="318" y="564"/>
                  </a:lnTo>
                  <a:lnTo>
                    <a:pt x="324" y="564"/>
                  </a:lnTo>
                  <a:lnTo>
                    <a:pt x="324" y="570"/>
                  </a:lnTo>
                  <a:lnTo>
                    <a:pt x="330" y="570"/>
                  </a:lnTo>
                  <a:lnTo>
                    <a:pt x="336" y="570"/>
                  </a:lnTo>
                  <a:lnTo>
                    <a:pt x="342" y="570"/>
                  </a:lnTo>
                  <a:lnTo>
                    <a:pt x="348" y="570"/>
                  </a:lnTo>
                  <a:lnTo>
                    <a:pt x="354" y="570"/>
                  </a:lnTo>
                  <a:lnTo>
                    <a:pt x="360" y="570"/>
                  </a:lnTo>
                  <a:lnTo>
                    <a:pt x="366" y="570"/>
                  </a:lnTo>
                  <a:lnTo>
                    <a:pt x="360" y="570"/>
                  </a:lnTo>
                  <a:lnTo>
                    <a:pt x="360" y="564"/>
                  </a:lnTo>
                  <a:lnTo>
                    <a:pt x="354" y="564"/>
                  </a:lnTo>
                  <a:lnTo>
                    <a:pt x="348" y="564"/>
                  </a:lnTo>
                  <a:lnTo>
                    <a:pt x="342" y="564"/>
                  </a:lnTo>
                  <a:lnTo>
                    <a:pt x="342" y="570"/>
                  </a:lnTo>
                  <a:lnTo>
                    <a:pt x="336" y="564"/>
                  </a:lnTo>
                  <a:lnTo>
                    <a:pt x="336" y="570"/>
                  </a:lnTo>
                  <a:lnTo>
                    <a:pt x="336" y="564"/>
                  </a:lnTo>
                  <a:lnTo>
                    <a:pt x="330" y="564"/>
                  </a:lnTo>
                  <a:lnTo>
                    <a:pt x="324" y="558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18" y="558"/>
                  </a:lnTo>
                  <a:lnTo>
                    <a:pt x="312" y="552"/>
                  </a:lnTo>
                  <a:lnTo>
                    <a:pt x="312" y="558"/>
                  </a:lnTo>
                  <a:lnTo>
                    <a:pt x="312" y="552"/>
                  </a:lnTo>
                  <a:lnTo>
                    <a:pt x="306" y="552"/>
                  </a:lnTo>
                  <a:lnTo>
                    <a:pt x="300" y="546"/>
                  </a:lnTo>
                  <a:lnTo>
                    <a:pt x="294" y="546"/>
                  </a:lnTo>
                  <a:lnTo>
                    <a:pt x="288" y="546"/>
                  </a:lnTo>
                  <a:lnTo>
                    <a:pt x="282" y="546"/>
                  </a:lnTo>
                  <a:lnTo>
                    <a:pt x="276" y="546"/>
                  </a:lnTo>
                  <a:lnTo>
                    <a:pt x="276" y="552"/>
                  </a:lnTo>
                  <a:lnTo>
                    <a:pt x="270" y="552"/>
                  </a:lnTo>
                  <a:lnTo>
                    <a:pt x="270" y="558"/>
                  </a:lnTo>
                  <a:lnTo>
                    <a:pt x="270" y="564"/>
                  </a:lnTo>
                  <a:lnTo>
                    <a:pt x="264" y="570"/>
                  </a:lnTo>
                  <a:lnTo>
                    <a:pt x="258" y="576"/>
                  </a:lnTo>
                  <a:lnTo>
                    <a:pt x="258" y="582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34" y="576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16" y="552"/>
                  </a:lnTo>
                  <a:lnTo>
                    <a:pt x="216" y="546"/>
                  </a:lnTo>
                  <a:lnTo>
                    <a:pt x="216" y="540"/>
                  </a:lnTo>
                  <a:lnTo>
                    <a:pt x="222" y="534"/>
                  </a:lnTo>
                  <a:lnTo>
                    <a:pt x="222" y="528"/>
                  </a:lnTo>
                  <a:lnTo>
                    <a:pt x="228" y="522"/>
                  </a:lnTo>
                  <a:lnTo>
                    <a:pt x="228" y="516"/>
                  </a:lnTo>
                  <a:lnTo>
                    <a:pt x="228" y="510"/>
                  </a:lnTo>
                  <a:lnTo>
                    <a:pt x="234" y="510"/>
                  </a:lnTo>
                  <a:lnTo>
                    <a:pt x="240" y="516"/>
                  </a:lnTo>
                  <a:lnTo>
                    <a:pt x="246" y="522"/>
                  </a:lnTo>
                  <a:lnTo>
                    <a:pt x="246" y="516"/>
                  </a:lnTo>
                  <a:lnTo>
                    <a:pt x="240" y="516"/>
                  </a:lnTo>
                  <a:lnTo>
                    <a:pt x="240" y="510"/>
                  </a:lnTo>
                  <a:lnTo>
                    <a:pt x="234" y="510"/>
                  </a:lnTo>
                  <a:lnTo>
                    <a:pt x="234" y="504"/>
                  </a:lnTo>
                  <a:lnTo>
                    <a:pt x="228" y="504"/>
                  </a:lnTo>
                  <a:lnTo>
                    <a:pt x="222" y="504"/>
                  </a:lnTo>
                  <a:lnTo>
                    <a:pt x="222" y="498"/>
                  </a:lnTo>
                  <a:lnTo>
                    <a:pt x="222" y="504"/>
                  </a:lnTo>
                  <a:lnTo>
                    <a:pt x="222" y="510"/>
                  </a:lnTo>
                  <a:lnTo>
                    <a:pt x="222" y="516"/>
                  </a:lnTo>
                  <a:lnTo>
                    <a:pt x="216" y="522"/>
                  </a:lnTo>
                  <a:lnTo>
                    <a:pt x="216" y="528"/>
                  </a:lnTo>
                  <a:lnTo>
                    <a:pt x="210" y="528"/>
                  </a:lnTo>
                  <a:lnTo>
                    <a:pt x="216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04" y="546"/>
                  </a:lnTo>
                  <a:lnTo>
                    <a:pt x="204" y="552"/>
                  </a:lnTo>
                  <a:lnTo>
                    <a:pt x="204" y="558"/>
                  </a:lnTo>
                  <a:lnTo>
                    <a:pt x="204" y="564"/>
                  </a:lnTo>
                  <a:lnTo>
                    <a:pt x="198" y="570"/>
                  </a:lnTo>
                  <a:lnTo>
                    <a:pt x="192" y="564"/>
                  </a:lnTo>
                  <a:lnTo>
                    <a:pt x="186" y="564"/>
                  </a:lnTo>
                  <a:lnTo>
                    <a:pt x="180" y="564"/>
                  </a:lnTo>
                  <a:lnTo>
                    <a:pt x="174" y="564"/>
                  </a:lnTo>
                  <a:lnTo>
                    <a:pt x="168" y="564"/>
                  </a:lnTo>
                  <a:lnTo>
                    <a:pt x="162" y="564"/>
                  </a:lnTo>
                  <a:lnTo>
                    <a:pt x="156" y="570"/>
                  </a:lnTo>
                  <a:lnTo>
                    <a:pt x="150" y="570"/>
                  </a:lnTo>
                  <a:lnTo>
                    <a:pt x="150" y="564"/>
                  </a:lnTo>
                  <a:lnTo>
                    <a:pt x="150" y="570"/>
                  </a:lnTo>
                  <a:lnTo>
                    <a:pt x="150" y="576"/>
                  </a:lnTo>
                  <a:lnTo>
                    <a:pt x="144" y="576"/>
                  </a:lnTo>
                  <a:lnTo>
                    <a:pt x="138" y="576"/>
                  </a:lnTo>
                  <a:lnTo>
                    <a:pt x="132" y="582"/>
                  </a:lnTo>
                  <a:lnTo>
                    <a:pt x="126" y="582"/>
                  </a:lnTo>
                  <a:lnTo>
                    <a:pt x="120" y="582"/>
                  </a:lnTo>
                  <a:lnTo>
                    <a:pt x="114" y="576"/>
                  </a:lnTo>
                  <a:lnTo>
                    <a:pt x="108" y="564"/>
                  </a:lnTo>
                  <a:lnTo>
                    <a:pt x="102" y="558"/>
                  </a:lnTo>
                  <a:lnTo>
                    <a:pt x="96" y="552"/>
                  </a:lnTo>
                  <a:lnTo>
                    <a:pt x="90" y="546"/>
                  </a:lnTo>
                  <a:lnTo>
                    <a:pt x="90" y="540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2"/>
                  </a:lnTo>
                  <a:lnTo>
                    <a:pt x="78" y="516"/>
                  </a:lnTo>
                  <a:lnTo>
                    <a:pt x="72" y="510"/>
                  </a:lnTo>
                  <a:lnTo>
                    <a:pt x="66" y="504"/>
                  </a:lnTo>
                  <a:lnTo>
                    <a:pt x="66" y="498"/>
                  </a:lnTo>
                  <a:lnTo>
                    <a:pt x="66" y="492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6" y="474"/>
                  </a:lnTo>
                  <a:lnTo>
                    <a:pt x="72" y="474"/>
                  </a:lnTo>
                  <a:lnTo>
                    <a:pt x="72" y="468"/>
                  </a:lnTo>
                  <a:lnTo>
                    <a:pt x="78" y="462"/>
                  </a:lnTo>
                  <a:lnTo>
                    <a:pt x="78" y="456"/>
                  </a:lnTo>
                  <a:lnTo>
                    <a:pt x="84" y="456"/>
                  </a:lnTo>
                  <a:lnTo>
                    <a:pt x="84" y="450"/>
                  </a:lnTo>
                  <a:lnTo>
                    <a:pt x="84" y="444"/>
                  </a:lnTo>
                  <a:lnTo>
                    <a:pt x="90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02" y="450"/>
                  </a:lnTo>
                  <a:lnTo>
                    <a:pt x="108" y="450"/>
                  </a:lnTo>
                  <a:lnTo>
                    <a:pt x="108" y="456"/>
                  </a:lnTo>
                  <a:lnTo>
                    <a:pt x="108" y="462"/>
                  </a:lnTo>
                  <a:lnTo>
                    <a:pt x="114" y="462"/>
                  </a:lnTo>
                  <a:lnTo>
                    <a:pt x="114" y="468"/>
                  </a:lnTo>
                  <a:lnTo>
                    <a:pt x="114" y="474"/>
                  </a:lnTo>
                  <a:lnTo>
                    <a:pt x="114" y="480"/>
                  </a:lnTo>
                  <a:lnTo>
                    <a:pt x="114" y="486"/>
                  </a:lnTo>
                  <a:lnTo>
                    <a:pt x="120" y="486"/>
                  </a:lnTo>
                  <a:lnTo>
                    <a:pt x="126" y="486"/>
                  </a:lnTo>
                  <a:lnTo>
                    <a:pt x="132" y="486"/>
                  </a:lnTo>
                  <a:lnTo>
                    <a:pt x="126" y="480"/>
                  </a:lnTo>
                  <a:lnTo>
                    <a:pt x="120" y="480"/>
                  </a:lnTo>
                  <a:lnTo>
                    <a:pt x="114" y="480"/>
                  </a:lnTo>
                  <a:lnTo>
                    <a:pt x="120" y="480"/>
                  </a:lnTo>
                  <a:lnTo>
                    <a:pt x="120" y="474"/>
                  </a:lnTo>
                  <a:lnTo>
                    <a:pt x="120" y="468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108" y="450"/>
                  </a:lnTo>
                  <a:lnTo>
                    <a:pt x="108" y="444"/>
                  </a:lnTo>
                  <a:lnTo>
                    <a:pt x="114" y="438"/>
                  </a:lnTo>
                  <a:lnTo>
                    <a:pt x="120" y="438"/>
                  </a:lnTo>
                  <a:lnTo>
                    <a:pt x="120" y="432"/>
                  </a:lnTo>
                  <a:lnTo>
                    <a:pt x="132" y="426"/>
                  </a:lnTo>
                  <a:lnTo>
                    <a:pt x="138" y="420"/>
                  </a:lnTo>
                  <a:lnTo>
                    <a:pt x="144" y="420"/>
                  </a:lnTo>
                  <a:lnTo>
                    <a:pt x="144" y="414"/>
                  </a:lnTo>
                  <a:lnTo>
                    <a:pt x="144" y="420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6" y="414"/>
                  </a:lnTo>
                  <a:lnTo>
                    <a:pt x="162" y="414"/>
                  </a:lnTo>
                  <a:lnTo>
                    <a:pt x="162" y="408"/>
                  </a:lnTo>
                  <a:lnTo>
                    <a:pt x="168" y="408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86" y="396"/>
                  </a:lnTo>
                  <a:lnTo>
                    <a:pt x="186" y="390"/>
                  </a:lnTo>
                  <a:lnTo>
                    <a:pt x="192" y="390"/>
                  </a:lnTo>
                  <a:lnTo>
                    <a:pt x="198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210" y="378"/>
                  </a:lnTo>
                  <a:lnTo>
                    <a:pt x="210" y="372"/>
                  </a:lnTo>
                  <a:lnTo>
                    <a:pt x="216" y="372"/>
                  </a:lnTo>
                  <a:lnTo>
                    <a:pt x="222" y="366"/>
                  </a:lnTo>
                  <a:lnTo>
                    <a:pt x="228" y="360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6" y="348"/>
                  </a:lnTo>
                  <a:lnTo>
                    <a:pt x="252" y="348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0" y="342"/>
                  </a:lnTo>
                  <a:lnTo>
                    <a:pt x="234" y="342"/>
                  </a:lnTo>
                  <a:lnTo>
                    <a:pt x="228" y="336"/>
                  </a:lnTo>
                  <a:lnTo>
                    <a:pt x="222" y="336"/>
                  </a:lnTo>
                  <a:lnTo>
                    <a:pt x="216" y="336"/>
                  </a:lnTo>
                  <a:lnTo>
                    <a:pt x="222" y="324"/>
                  </a:lnTo>
                  <a:lnTo>
                    <a:pt x="222" y="318"/>
                  </a:lnTo>
                  <a:lnTo>
                    <a:pt x="222" y="312"/>
                  </a:lnTo>
                  <a:lnTo>
                    <a:pt x="234" y="318"/>
                  </a:lnTo>
                  <a:lnTo>
                    <a:pt x="246" y="318"/>
                  </a:lnTo>
                  <a:lnTo>
                    <a:pt x="258" y="318"/>
                  </a:lnTo>
                  <a:lnTo>
                    <a:pt x="270" y="312"/>
                  </a:lnTo>
                  <a:lnTo>
                    <a:pt x="276" y="312"/>
                  </a:lnTo>
                  <a:lnTo>
                    <a:pt x="288" y="324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94" y="306"/>
                  </a:lnTo>
                  <a:lnTo>
                    <a:pt x="300" y="300"/>
                  </a:lnTo>
                  <a:lnTo>
                    <a:pt x="306" y="306"/>
                  </a:lnTo>
                  <a:lnTo>
                    <a:pt x="312" y="318"/>
                  </a:lnTo>
                  <a:lnTo>
                    <a:pt x="318" y="312"/>
                  </a:lnTo>
                  <a:lnTo>
                    <a:pt x="324" y="312"/>
                  </a:lnTo>
                  <a:lnTo>
                    <a:pt x="330" y="312"/>
                  </a:lnTo>
                  <a:lnTo>
                    <a:pt x="342" y="306"/>
                  </a:lnTo>
                  <a:lnTo>
                    <a:pt x="348" y="306"/>
                  </a:lnTo>
                  <a:lnTo>
                    <a:pt x="348" y="312"/>
                  </a:lnTo>
                  <a:lnTo>
                    <a:pt x="348" y="318"/>
                  </a:lnTo>
                  <a:lnTo>
                    <a:pt x="354" y="318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60" y="336"/>
                  </a:lnTo>
                  <a:lnTo>
                    <a:pt x="366" y="330"/>
                  </a:lnTo>
                  <a:lnTo>
                    <a:pt x="378" y="324"/>
                  </a:lnTo>
                  <a:lnTo>
                    <a:pt x="384" y="324"/>
                  </a:lnTo>
                  <a:lnTo>
                    <a:pt x="384" y="318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6"/>
                  </a:lnTo>
                  <a:lnTo>
                    <a:pt x="402" y="306"/>
                  </a:lnTo>
                  <a:lnTo>
                    <a:pt x="408" y="306"/>
                  </a:lnTo>
                  <a:lnTo>
                    <a:pt x="414" y="300"/>
                  </a:lnTo>
                  <a:lnTo>
                    <a:pt x="420" y="300"/>
                  </a:lnTo>
                  <a:lnTo>
                    <a:pt x="426" y="300"/>
                  </a:lnTo>
                  <a:lnTo>
                    <a:pt x="432" y="300"/>
                  </a:lnTo>
                  <a:lnTo>
                    <a:pt x="444" y="288"/>
                  </a:lnTo>
                  <a:lnTo>
                    <a:pt x="450" y="294"/>
                  </a:lnTo>
                  <a:lnTo>
                    <a:pt x="468" y="300"/>
                  </a:lnTo>
                  <a:lnTo>
                    <a:pt x="498" y="312"/>
                  </a:lnTo>
                  <a:lnTo>
                    <a:pt x="504" y="324"/>
                  </a:lnTo>
                  <a:lnTo>
                    <a:pt x="516" y="330"/>
                  </a:lnTo>
                  <a:lnTo>
                    <a:pt x="516" y="336"/>
                  </a:lnTo>
                  <a:lnTo>
                    <a:pt x="540" y="342"/>
                  </a:lnTo>
                  <a:lnTo>
                    <a:pt x="558" y="372"/>
                  </a:lnTo>
                  <a:lnTo>
                    <a:pt x="594" y="384"/>
                  </a:lnTo>
                  <a:lnTo>
                    <a:pt x="606" y="402"/>
                  </a:lnTo>
                  <a:lnTo>
                    <a:pt x="600" y="420"/>
                  </a:lnTo>
                  <a:lnTo>
                    <a:pt x="588" y="444"/>
                  </a:lnTo>
                  <a:lnTo>
                    <a:pt x="588" y="450"/>
                  </a:lnTo>
                  <a:lnTo>
                    <a:pt x="588" y="456"/>
                  </a:lnTo>
                  <a:lnTo>
                    <a:pt x="594" y="456"/>
                  </a:lnTo>
                  <a:lnTo>
                    <a:pt x="594" y="462"/>
                  </a:lnTo>
                  <a:lnTo>
                    <a:pt x="594" y="468"/>
                  </a:lnTo>
                  <a:lnTo>
                    <a:pt x="594" y="474"/>
                  </a:lnTo>
                  <a:lnTo>
                    <a:pt x="600" y="474"/>
                  </a:lnTo>
                  <a:lnTo>
                    <a:pt x="606" y="480"/>
                  </a:lnTo>
                  <a:lnTo>
                    <a:pt x="606" y="486"/>
                  </a:lnTo>
                  <a:lnTo>
                    <a:pt x="612" y="486"/>
                  </a:lnTo>
                  <a:lnTo>
                    <a:pt x="618" y="486"/>
                  </a:lnTo>
                  <a:lnTo>
                    <a:pt x="624" y="486"/>
                  </a:lnTo>
                  <a:lnTo>
                    <a:pt x="636" y="486"/>
                  </a:lnTo>
                  <a:lnTo>
                    <a:pt x="642" y="486"/>
                  </a:lnTo>
                  <a:lnTo>
                    <a:pt x="648" y="480"/>
                  </a:lnTo>
                  <a:lnTo>
                    <a:pt x="654" y="474"/>
                  </a:lnTo>
                  <a:lnTo>
                    <a:pt x="660" y="468"/>
                  </a:lnTo>
                  <a:lnTo>
                    <a:pt x="666" y="468"/>
                  </a:lnTo>
                  <a:lnTo>
                    <a:pt x="684" y="468"/>
                  </a:lnTo>
                  <a:lnTo>
                    <a:pt x="696" y="468"/>
                  </a:lnTo>
                  <a:lnTo>
                    <a:pt x="696" y="462"/>
                  </a:lnTo>
                  <a:lnTo>
                    <a:pt x="702" y="456"/>
                  </a:lnTo>
                  <a:lnTo>
                    <a:pt x="708" y="450"/>
                  </a:lnTo>
                  <a:lnTo>
                    <a:pt x="714" y="450"/>
                  </a:lnTo>
                  <a:lnTo>
                    <a:pt x="720" y="450"/>
                  </a:lnTo>
                  <a:lnTo>
                    <a:pt x="720" y="438"/>
                  </a:lnTo>
                  <a:lnTo>
                    <a:pt x="726" y="432"/>
                  </a:lnTo>
                  <a:lnTo>
                    <a:pt x="738" y="420"/>
                  </a:lnTo>
                  <a:lnTo>
                    <a:pt x="744" y="420"/>
                  </a:lnTo>
                  <a:lnTo>
                    <a:pt x="750" y="414"/>
                  </a:lnTo>
                  <a:lnTo>
                    <a:pt x="762" y="408"/>
                  </a:lnTo>
                  <a:lnTo>
                    <a:pt x="768" y="408"/>
                  </a:lnTo>
                  <a:lnTo>
                    <a:pt x="768" y="402"/>
                  </a:lnTo>
                  <a:lnTo>
                    <a:pt x="780" y="396"/>
                  </a:lnTo>
                  <a:lnTo>
                    <a:pt x="786" y="396"/>
                  </a:lnTo>
                  <a:lnTo>
                    <a:pt x="786" y="390"/>
                  </a:lnTo>
                  <a:lnTo>
                    <a:pt x="792" y="384"/>
                  </a:lnTo>
                  <a:lnTo>
                    <a:pt x="792" y="378"/>
                  </a:lnTo>
                  <a:lnTo>
                    <a:pt x="798" y="366"/>
                  </a:lnTo>
                  <a:lnTo>
                    <a:pt x="804" y="360"/>
                  </a:lnTo>
                  <a:lnTo>
                    <a:pt x="816" y="342"/>
                  </a:lnTo>
                  <a:lnTo>
                    <a:pt x="816" y="312"/>
                  </a:lnTo>
                  <a:lnTo>
                    <a:pt x="804" y="300"/>
                  </a:lnTo>
                  <a:lnTo>
                    <a:pt x="798" y="288"/>
                  </a:lnTo>
                  <a:lnTo>
                    <a:pt x="762" y="264"/>
                  </a:lnTo>
                  <a:lnTo>
                    <a:pt x="738" y="234"/>
                  </a:lnTo>
                  <a:lnTo>
                    <a:pt x="738" y="222"/>
                  </a:lnTo>
                  <a:lnTo>
                    <a:pt x="744" y="210"/>
                  </a:lnTo>
                  <a:lnTo>
                    <a:pt x="732" y="174"/>
                  </a:lnTo>
                  <a:lnTo>
                    <a:pt x="714" y="156"/>
                  </a:lnTo>
                  <a:lnTo>
                    <a:pt x="708" y="144"/>
                  </a:lnTo>
                  <a:lnTo>
                    <a:pt x="714" y="126"/>
                  </a:lnTo>
                  <a:lnTo>
                    <a:pt x="720" y="114"/>
                  </a:lnTo>
                  <a:lnTo>
                    <a:pt x="732" y="102"/>
                  </a:lnTo>
                  <a:lnTo>
                    <a:pt x="744" y="102"/>
                  </a:lnTo>
                  <a:lnTo>
                    <a:pt x="762" y="108"/>
                  </a:lnTo>
                  <a:lnTo>
                    <a:pt x="774" y="114"/>
                  </a:lnTo>
                  <a:lnTo>
                    <a:pt x="780" y="138"/>
                  </a:lnTo>
                  <a:lnTo>
                    <a:pt x="786" y="144"/>
                  </a:lnTo>
                  <a:lnTo>
                    <a:pt x="798" y="138"/>
                  </a:lnTo>
                  <a:lnTo>
                    <a:pt x="804" y="132"/>
                  </a:lnTo>
                  <a:lnTo>
                    <a:pt x="816" y="120"/>
                  </a:lnTo>
                  <a:lnTo>
                    <a:pt x="816" y="108"/>
                  </a:lnTo>
                  <a:lnTo>
                    <a:pt x="828" y="102"/>
                  </a:lnTo>
                  <a:lnTo>
                    <a:pt x="828" y="96"/>
                  </a:lnTo>
                  <a:lnTo>
                    <a:pt x="840" y="96"/>
                  </a:lnTo>
                  <a:lnTo>
                    <a:pt x="840" y="84"/>
                  </a:lnTo>
                  <a:lnTo>
                    <a:pt x="852" y="90"/>
                  </a:lnTo>
                  <a:lnTo>
                    <a:pt x="852" y="96"/>
                  </a:lnTo>
                  <a:lnTo>
                    <a:pt x="870" y="90"/>
                  </a:lnTo>
                  <a:lnTo>
                    <a:pt x="894" y="78"/>
                  </a:lnTo>
                  <a:lnTo>
                    <a:pt x="912" y="78"/>
                  </a:lnTo>
                  <a:lnTo>
                    <a:pt x="942" y="66"/>
                  </a:lnTo>
                  <a:lnTo>
                    <a:pt x="942" y="60"/>
                  </a:lnTo>
                  <a:lnTo>
                    <a:pt x="954" y="48"/>
                  </a:lnTo>
                  <a:lnTo>
                    <a:pt x="966" y="30"/>
                  </a:lnTo>
                  <a:lnTo>
                    <a:pt x="978" y="30"/>
                  </a:lnTo>
                  <a:lnTo>
                    <a:pt x="978" y="24"/>
                  </a:lnTo>
                  <a:lnTo>
                    <a:pt x="984" y="12"/>
                  </a:lnTo>
                  <a:lnTo>
                    <a:pt x="990" y="12"/>
                  </a:lnTo>
                  <a:lnTo>
                    <a:pt x="996" y="12"/>
                  </a:lnTo>
                  <a:lnTo>
                    <a:pt x="1014" y="6"/>
                  </a:lnTo>
                  <a:lnTo>
                    <a:pt x="1026" y="6"/>
                  </a:lnTo>
                  <a:lnTo>
                    <a:pt x="1044" y="6"/>
                  </a:lnTo>
                  <a:lnTo>
                    <a:pt x="1050" y="6"/>
                  </a:lnTo>
                  <a:lnTo>
                    <a:pt x="1056" y="6"/>
                  </a:lnTo>
                  <a:lnTo>
                    <a:pt x="1062" y="6"/>
                  </a:lnTo>
                  <a:lnTo>
                    <a:pt x="1068" y="6"/>
                  </a:lnTo>
                  <a:lnTo>
                    <a:pt x="1074" y="6"/>
                  </a:lnTo>
                  <a:lnTo>
                    <a:pt x="1080" y="6"/>
                  </a:lnTo>
                  <a:lnTo>
                    <a:pt x="1086" y="0"/>
                  </a:lnTo>
                  <a:lnTo>
                    <a:pt x="1092" y="30"/>
                  </a:lnTo>
                  <a:lnTo>
                    <a:pt x="1098" y="60"/>
                  </a:lnTo>
                  <a:lnTo>
                    <a:pt x="1110" y="84"/>
                  </a:lnTo>
                  <a:lnTo>
                    <a:pt x="1122" y="114"/>
                  </a:lnTo>
                  <a:lnTo>
                    <a:pt x="1128" y="144"/>
                  </a:lnTo>
                  <a:lnTo>
                    <a:pt x="1122" y="156"/>
                  </a:lnTo>
                  <a:lnTo>
                    <a:pt x="1128" y="168"/>
                  </a:lnTo>
                  <a:lnTo>
                    <a:pt x="1134" y="186"/>
                  </a:lnTo>
                  <a:lnTo>
                    <a:pt x="1140" y="204"/>
                  </a:lnTo>
                  <a:lnTo>
                    <a:pt x="1146" y="210"/>
                  </a:lnTo>
                  <a:lnTo>
                    <a:pt x="1146" y="216"/>
                  </a:lnTo>
                  <a:lnTo>
                    <a:pt x="1146" y="228"/>
                  </a:lnTo>
                  <a:lnTo>
                    <a:pt x="1146" y="234"/>
                  </a:lnTo>
                  <a:lnTo>
                    <a:pt x="1140" y="246"/>
                  </a:lnTo>
                  <a:lnTo>
                    <a:pt x="1128" y="258"/>
                  </a:lnTo>
                  <a:lnTo>
                    <a:pt x="1116" y="264"/>
                  </a:lnTo>
                  <a:lnTo>
                    <a:pt x="1110" y="276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2" y="312"/>
                  </a:lnTo>
                  <a:lnTo>
                    <a:pt x="1116" y="324"/>
                  </a:lnTo>
                  <a:lnTo>
                    <a:pt x="1104" y="336"/>
                  </a:lnTo>
                  <a:lnTo>
                    <a:pt x="1104" y="354"/>
                  </a:lnTo>
                  <a:lnTo>
                    <a:pt x="1098" y="372"/>
                  </a:lnTo>
                  <a:lnTo>
                    <a:pt x="1092" y="384"/>
                  </a:lnTo>
                  <a:lnTo>
                    <a:pt x="1086" y="390"/>
                  </a:lnTo>
                  <a:lnTo>
                    <a:pt x="1086" y="402"/>
                  </a:lnTo>
                  <a:lnTo>
                    <a:pt x="1080" y="414"/>
                  </a:lnTo>
                  <a:lnTo>
                    <a:pt x="1074" y="426"/>
                  </a:lnTo>
                  <a:lnTo>
                    <a:pt x="1074" y="450"/>
                  </a:lnTo>
                  <a:lnTo>
                    <a:pt x="1074" y="462"/>
                  </a:lnTo>
                  <a:lnTo>
                    <a:pt x="1068" y="474"/>
                  </a:lnTo>
                  <a:lnTo>
                    <a:pt x="1062" y="486"/>
                  </a:lnTo>
                  <a:lnTo>
                    <a:pt x="1056" y="498"/>
                  </a:lnTo>
                  <a:close/>
                  <a:moveTo>
                    <a:pt x="186" y="378"/>
                  </a:moveTo>
                  <a:lnTo>
                    <a:pt x="186" y="384"/>
                  </a:lnTo>
                  <a:lnTo>
                    <a:pt x="180" y="390"/>
                  </a:lnTo>
                  <a:lnTo>
                    <a:pt x="174" y="396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14"/>
                  </a:lnTo>
                  <a:lnTo>
                    <a:pt x="126" y="414"/>
                  </a:lnTo>
                  <a:lnTo>
                    <a:pt x="120" y="414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2" y="426"/>
                  </a:lnTo>
                  <a:lnTo>
                    <a:pt x="102" y="432"/>
                  </a:lnTo>
                  <a:lnTo>
                    <a:pt x="96" y="432"/>
                  </a:lnTo>
                  <a:lnTo>
                    <a:pt x="90" y="432"/>
                  </a:lnTo>
                  <a:lnTo>
                    <a:pt x="84" y="438"/>
                  </a:lnTo>
                  <a:lnTo>
                    <a:pt x="78" y="438"/>
                  </a:lnTo>
                  <a:lnTo>
                    <a:pt x="78" y="444"/>
                  </a:lnTo>
                  <a:lnTo>
                    <a:pt x="72" y="444"/>
                  </a:lnTo>
                  <a:lnTo>
                    <a:pt x="72" y="450"/>
                  </a:lnTo>
                  <a:lnTo>
                    <a:pt x="66" y="456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48" y="468"/>
                  </a:lnTo>
                  <a:lnTo>
                    <a:pt x="42" y="468"/>
                  </a:lnTo>
                  <a:lnTo>
                    <a:pt x="42" y="462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8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0" y="396"/>
                  </a:lnTo>
                  <a:lnTo>
                    <a:pt x="6" y="384"/>
                  </a:lnTo>
                  <a:lnTo>
                    <a:pt x="18" y="372"/>
                  </a:lnTo>
                  <a:lnTo>
                    <a:pt x="30" y="348"/>
                  </a:lnTo>
                  <a:lnTo>
                    <a:pt x="30" y="342"/>
                  </a:lnTo>
                  <a:lnTo>
                    <a:pt x="42" y="330"/>
                  </a:lnTo>
                  <a:lnTo>
                    <a:pt x="42" y="324"/>
                  </a:lnTo>
                  <a:lnTo>
                    <a:pt x="48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60" y="282"/>
                  </a:lnTo>
                  <a:lnTo>
                    <a:pt x="60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2" y="258"/>
                  </a:lnTo>
                  <a:lnTo>
                    <a:pt x="84" y="246"/>
                  </a:lnTo>
                  <a:lnTo>
                    <a:pt x="90" y="234"/>
                  </a:lnTo>
                  <a:lnTo>
                    <a:pt x="96" y="234"/>
                  </a:lnTo>
                  <a:lnTo>
                    <a:pt x="96" y="228"/>
                  </a:lnTo>
                  <a:lnTo>
                    <a:pt x="102" y="222"/>
                  </a:lnTo>
                  <a:lnTo>
                    <a:pt x="102" y="228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14" y="228"/>
                  </a:lnTo>
                  <a:lnTo>
                    <a:pt x="114" y="234"/>
                  </a:lnTo>
                  <a:lnTo>
                    <a:pt x="120" y="228"/>
                  </a:lnTo>
                  <a:lnTo>
                    <a:pt x="120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26" y="228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8" y="234"/>
                  </a:lnTo>
                  <a:lnTo>
                    <a:pt x="144" y="234"/>
                  </a:lnTo>
                  <a:lnTo>
                    <a:pt x="144" y="228"/>
                  </a:lnTo>
                  <a:lnTo>
                    <a:pt x="150" y="228"/>
                  </a:lnTo>
                  <a:lnTo>
                    <a:pt x="156" y="228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46"/>
                  </a:lnTo>
                  <a:lnTo>
                    <a:pt x="162" y="240"/>
                  </a:lnTo>
                  <a:lnTo>
                    <a:pt x="162" y="246"/>
                  </a:lnTo>
                  <a:lnTo>
                    <a:pt x="162" y="258"/>
                  </a:lnTo>
                  <a:lnTo>
                    <a:pt x="162" y="264"/>
                  </a:lnTo>
                  <a:lnTo>
                    <a:pt x="156" y="270"/>
                  </a:lnTo>
                  <a:lnTo>
                    <a:pt x="162" y="270"/>
                  </a:lnTo>
                  <a:lnTo>
                    <a:pt x="162" y="282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86" y="288"/>
                  </a:lnTo>
                  <a:lnTo>
                    <a:pt x="186" y="294"/>
                  </a:lnTo>
                  <a:lnTo>
                    <a:pt x="180" y="300"/>
                  </a:lnTo>
                  <a:lnTo>
                    <a:pt x="174" y="318"/>
                  </a:lnTo>
                  <a:lnTo>
                    <a:pt x="174" y="324"/>
                  </a:lnTo>
                  <a:lnTo>
                    <a:pt x="168" y="330"/>
                  </a:lnTo>
                  <a:lnTo>
                    <a:pt x="168" y="342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74" y="360"/>
                  </a:lnTo>
                  <a:lnTo>
                    <a:pt x="180" y="366"/>
                  </a:lnTo>
                  <a:lnTo>
                    <a:pt x="186" y="3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8" name="Freeform 23">
              <a:extLst>
                <a:ext uri="{FF2B5EF4-FFF2-40B4-BE49-F238E27FC236}">
                  <a16:creationId xmlns:a16="http://schemas.microsoft.com/office/drawing/2014/main" id="{A539A33E-3F6E-4AF7-BD88-1853165307F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6312" y="3604793"/>
              <a:ext cx="581410" cy="621747"/>
            </a:xfrm>
            <a:custGeom>
              <a:avLst/>
              <a:gdLst>
                <a:gd name="T0" fmla="*/ 90 w 1092"/>
                <a:gd name="T1" fmla="*/ 60 h 1170"/>
                <a:gd name="T2" fmla="*/ 83 w 1092"/>
                <a:gd name="T3" fmla="*/ 62 h 1170"/>
                <a:gd name="T4" fmla="*/ 72 w 1092"/>
                <a:gd name="T5" fmla="*/ 68 h 1170"/>
                <a:gd name="T6" fmla="*/ 68 w 1092"/>
                <a:gd name="T7" fmla="*/ 71 h 1170"/>
                <a:gd name="T8" fmla="*/ 61 w 1092"/>
                <a:gd name="T9" fmla="*/ 69 h 1170"/>
                <a:gd name="T10" fmla="*/ 64 w 1092"/>
                <a:gd name="T11" fmla="*/ 82 h 1170"/>
                <a:gd name="T12" fmla="*/ 67 w 1092"/>
                <a:gd name="T13" fmla="*/ 93 h 1170"/>
                <a:gd name="T14" fmla="*/ 62 w 1092"/>
                <a:gd name="T15" fmla="*/ 96 h 1170"/>
                <a:gd name="T16" fmla="*/ 59 w 1092"/>
                <a:gd name="T17" fmla="*/ 99 h 1170"/>
                <a:gd name="T18" fmla="*/ 53 w 1092"/>
                <a:gd name="T19" fmla="*/ 101 h 1170"/>
                <a:gd name="T20" fmla="*/ 50 w 1092"/>
                <a:gd name="T21" fmla="*/ 100 h 1170"/>
                <a:gd name="T22" fmla="*/ 50 w 1092"/>
                <a:gd name="T23" fmla="*/ 93 h 1170"/>
                <a:gd name="T24" fmla="*/ 37 w 1092"/>
                <a:gd name="T25" fmla="*/ 85 h 1170"/>
                <a:gd name="T26" fmla="*/ 32 w 1092"/>
                <a:gd name="T27" fmla="*/ 86 h 1170"/>
                <a:gd name="T28" fmla="*/ 29 w 1092"/>
                <a:gd name="T29" fmla="*/ 88 h 1170"/>
                <a:gd name="T30" fmla="*/ 27 w 1092"/>
                <a:gd name="T31" fmla="*/ 86 h 1170"/>
                <a:gd name="T32" fmla="*/ 23 w 1092"/>
                <a:gd name="T33" fmla="*/ 87 h 1170"/>
                <a:gd name="T34" fmla="*/ 17 w 1092"/>
                <a:gd name="T35" fmla="*/ 87 h 1170"/>
                <a:gd name="T36" fmla="*/ 18 w 1092"/>
                <a:gd name="T37" fmla="*/ 89 h 1170"/>
                <a:gd name="T38" fmla="*/ 16 w 1092"/>
                <a:gd name="T39" fmla="*/ 92 h 1170"/>
                <a:gd name="T40" fmla="*/ 12 w 1092"/>
                <a:gd name="T41" fmla="*/ 89 h 1170"/>
                <a:gd name="T42" fmla="*/ 13 w 1092"/>
                <a:gd name="T43" fmla="*/ 84 h 1170"/>
                <a:gd name="T44" fmla="*/ 12 w 1092"/>
                <a:gd name="T45" fmla="*/ 80 h 1170"/>
                <a:gd name="T46" fmla="*/ 10 w 1092"/>
                <a:gd name="T47" fmla="*/ 80 h 1170"/>
                <a:gd name="T48" fmla="*/ 8 w 1092"/>
                <a:gd name="T49" fmla="*/ 79 h 1170"/>
                <a:gd name="T50" fmla="*/ 6 w 1092"/>
                <a:gd name="T51" fmla="*/ 78 h 1170"/>
                <a:gd name="T52" fmla="*/ 6 w 1092"/>
                <a:gd name="T53" fmla="*/ 77 h 1170"/>
                <a:gd name="T54" fmla="*/ 4 w 1092"/>
                <a:gd name="T55" fmla="*/ 75 h 1170"/>
                <a:gd name="T56" fmla="*/ 0 w 1092"/>
                <a:gd name="T57" fmla="*/ 72 h 1170"/>
                <a:gd name="T58" fmla="*/ 0 w 1092"/>
                <a:gd name="T59" fmla="*/ 69 h 1170"/>
                <a:gd name="T60" fmla="*/ 3 w 1092"/>
                <a:gd name="T61" fmla="*/ 67 h 1170"/>
                <a:gd name="T62" fmla="*/ 6 w 1092"/>
                <a:gd name="T63" fmla="*/ 62 h 1170"/>
                <a:gd name="T64" fmla="*/ 8 w 1092"/>
                <a:gd name="T65" fmla="*/ 58 h 1170"/>
                <a:gd name="T66" fmla="*/ 5 w 1092"/>
                <a:gd name="T67" fmla="*/ 54 h 1170"/>
                <a:gd name="T68" fmla="*/ 6 w 1092"/>
                <a:gd name="T69" fmla="*/ 50 h 1170"/>
                <a:gd name="T70" fmla="*/ 8 w 1092"/>
                <a:gd name="T71" fmla="*/ 46 h 1170"/>
                <a:gd name="T72" fmla="*/ 10 w 1092"/>
                <a:gd name="T73" fmla="*/ 43 h 1170"/>
                <a:gd name="T74" fmla="*/ 14 w 1092"/>
                <a:gd name="T75" fmla="*/ 38 h 1170"/>
                <a:gd name="T76" fmla="*/ 31 w 1092"/>
                <a:gd name="T77" fmla="*/ 40 h 1170"/>
                <a:gd name="T78" fmla="*/ 30 w 1092"/>
                <a:gd name="T79" fmla="*/ 46 h 1170"/>
                <a:gd name="T80" fmla="*/ 36 w 1092"/>
                <a:gd name="T81" fmla="*/ 47 h 1170"/>
                <a:gd name="T82" fmla="*/ 41 w 1092"/>
                <a:gd name="T83" fmla="*/ 44 h 1170"/>
                <a:gd name="T84" fmla="*/ 43 w 1092"/>
                <a:gd name="T85" fmla="*/ 39 h 1170"/>
                <a:gd name="T86" fmla="*/ 44 w 1092"/>
                <a:gd name="T87" fmla="*/ 35 h 1170"/>
                <a:gd name="T88" fmla="*/ 44 w 1092"/>
                <a:gd name="T89" fmla="*/ 29 h 1170"/>
                <a:gd name="T90" fmla="*/ 48 w 1092"/>
                <a:gd name="T91" fmla="*/ 24 h 1170"/>
                <a:gd name="T92" fmla="*/ 49 w 1092"/>
                <a:gd name="T93" fmla="*/ 19 h 1170"/>
                <a:gd name="T94" fmla="*/ 51 w 1092"/>
                <a:gd name="T95" fmla="*/ 14 h 1170"/>
                <a:gd name="T96" fmla="*/ 54 w 1092"/>
                <a:gd name="T97" fmla="*/ 10 h 1170"/>
                <a:gd name="T98" fmla="*/ 53 w 1092"/>
                <a:gd name="T99" fmla="*/ 7 h 1170"/>
                <a:gd name="T100" fmla="*/ 55 w 1092"/>
                <a:gd name="T101" fmla="*/ 3 h 1170"/>
                <a:gd name="T102" fmla="*/ 58 w 1092"/>
                <a:gd name="T103" fmla="*/ 0 h 1170"/>
                <a:gd name="T104" fmla="*/ 65 w 1092"/>
                <a:gd name="T105" fmla="*/ 2 h 1170"/>
                <a:gd name="T106" fmla="*/ 61 w 1092"/>
                <a:gd name="T107" fmla="*/ 6 h 1170"/>
                <a:gd name="T108" fmla="*/ 67 w 1092"/>
                <a:gd name="T109" fmla="*/ 7 h 1170"/>
                <a:gd name="T110" fmla="*/ 71 w 1092"/>
                <a:gd name="T111" fmla="*/ 6 h 1170"/>
                <a:gd name="T112" fmla="*/ 75 w 1092"/>
                <a:gd name="T113" fmla="*/ 9 h 1170"/>
                <a:gd name="T114" fmla="*/ 82 w 1092"/>
                <a:gd name="T115" fmla="*/ 12 h 1170"/>
                <a:gd name="T116" fmla="*/ 84 w 1092"/>
                <a:gd name="T117" fmla="*/ 17 h 1170"/>
                <a:gd name="T118" fmla="*/ 94 w 1092"/>
                <a:gd name="T119" fmla="*/ 23 h 1170"/>
                <a:gd name="T120" fmla="*/ 94 w 1092"/>
                <a:gd name="T121" fmla="*/ 34 h 1170"/>
                <a:gd name="T122" fmla="*/ 90 w 1092"/>
                <a:gd name="T123" fmla="*/ 41 h 1170"/>
                <a:gd name="T124" fmla="*/ 91 w 1092"/>
                <a:gd name="T125" fmla="*/ 51 h 11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92"/>
                <a:gd name="T190" fmla="*/ 0 h 1170"/>
                <a:gd name="T191" fmla="*/ 1092 w 1092"/>
                <a:gd name="T192" fmla="*/ 1170 h 117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92" h="1170">
                  <a:moveTo>
                    <a:pt x="1056" y="654"/>
                  </a:moveTo>
                  <a:lnTo>
                    <a:pt x="1062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0"/>
                  </a:lnTo>
                  <a:lnTo>
                    <a:pt x="1038" y="690"/>
                  </a:lnTo>
                  <a:lnTo>
                    <a:pt x="1032" y="690"/>
                  </a:lnTo>
                  <a:lnTo>
                    <a:pt x="1026" y="690"/>
                  </a:lnTo>
                  <a:lnTo>
                    <a:pt x="1020" y="690"/>
                  </a:lnTo>
                  <a:lnTo>
                    <a:pt x="1002" y="690"/>
                  </a:lnTo>
                  <a:lnTo>
                    <a:pt x="990" y="690"/>
                  </a:lnTo>
                  <a:lnTo>
                    <a:pt x="972" y="696"/>
                  </a:lnTo>
                  <a:lnTo>
                    <a:pt x="966" y="696"/>
                  </a:lnTo>
                  <a:lnTo>
                    <a:pt x="960" y="696"/>
                  </a:lnTo>
                  <a:lnTo>
                    <a:pt x="954" y="708"/>
                  </a:lnTo>
                  <a:lnTo>
                    <a:pt x="954" y="714"/>
                  </a:lnTo>
                  <a:lnTo>
                    <a:pt x="942" y="714"/>
                  </a:lnTo>
                  <a:lnTo>
                    <a:pt x="930" y="732"/>
                  </a:lnTo>
                  <a:lnTo>
                    <a:pt x="918" y="744"/>
                  </a:lnTo>
                  <a:lnTo>
                    <a:pt x="918" y="750"/>
                  </a:lnTo>
                  <a:lnTo>
                    <a:pt x="888" y="762"/>
                  </a:lnTo>
                  <a:lnTo>
                    <a:pt x="870" y="762"/>
                  </a:lnTo>
                  <a:lnTo>
                    <a:pt x="846" y="774"/>
                  </a:lnTo>
                  <a:lnTo>
                    <a:pt x="828" y="780"/>
                  </a:lnTo>
                  <a:lnTo>
                    <a:pt x="828" y="774"/>
                  </a:lnTo>
                  <a:lnTo>
                    <a:pt x="816" y="768"/>
                  </a:lnTo>
                  <a:lnTo>
                    <a:pt x="816" y="780"/>
                  </a:lnTo>
                  <a:lnTo>
                    <a:pt x="804" y="780"/>
                  </a:lnTo>
                  <a:lnTo>
                    <a:pt x="804" y="786"/>
                  </a:lnTo>
                  <a:lnTo>
                    <a:pt x="792" y="792"/>
                  </a:lnTo>
                  <a:lnTo>
                    <a:pt x="792" y="804"/>
                  </a:lnTo>
                  <a:lnTo>
                    <a:pt x="780" y="816"/>
                  </a:lnTo>
                  <a:lnTo>
                    <a:pt x="774" y="822"/>
                  </a:lnTo>
                  <a:lnTo>
                    <a:pt x="762" y="828"/>
                  </a:lnTo>
                  <a:lnTo>
                    <a:pt x="756" y="822"/>
                  </a:lnTo>
                  <a:lnTo>
                    <a:pt x="750" y="798"/>
                  </a:lnTo>
                  <a:lnTo>
                    <a:pt x="738" y="792"/>
                  </a:lnTo>
                  <a:lnTo>
                    <a:pt x="720" y="786"/>
                  </a:lnTo>
                  <a:lnTo>
                    <a:pt x="708" y="786"/>
                  </a:lnTo>
                  <a:lnTo>
                    <a:pt x="696" y="798"/>
                  </a:lnTo>
                  <a:lnTo>
                    <a:pt x="690" y="810"/>
                  </a:lnTo>
                  <a:lnTo>
                    <a:pt x="684" y="828"/>
                  </a:lnTo>
                  <a:lnTo>
                    <a:pt x="690" y="840"/>
                  </a:lnTo>
                  <a:lnTo>
                    <a:pt x="708" y="858"/>
                  </a:lnTo>
                  <a:lnTo>
                    <a:pt x="720" y="894"/>
                  </a:lnTo>
                  <a:lnTo>
                    <a:pt x="714" y="906"/>
                  </a:lnTo>
                  <a:lnTo>
                    <a:pt x="714" y="918"/>
                  </a:lnTo>
                  <a:lnTo>
                    <a:pt x="738" y="948"/>
                  </a:lnTo>
                  <a:lnTo>
                    <a:pt x="774" y="972"/>
                  </a:lnTo>
                  <a:lnTo>
                    <a:pt x="780" y="984"/>
                  </a:lnTo>
                  <a:lnTo>
                    <a:pt x="792" y="996"/>
                  </a:lnTo>
                  <a:lnTo>
                    <a:pt x="792" y="1026"/>
                  </a:lnTo>
                  <a:lnTo>
                    <a:pt x="780" y="1044"/>
                  </a:lnTo>
                  <a:lnTo>
                    <a:pt x="774" y="1050"/>
                  </a:lnTo>
                  <a:lnTo>
                    <a:pt x="768" y="1062"/>
                  </a:lnTo>
                  <a:lnTo>
                    <a:pt x="768" y="1068"/>
                  </a:lnTo>
                  <a:lnTo>
                    <a:pt x="762" y="1074"/>
                  </a:lnTo>
                  <a:lnTo>
                    <a:pt x="762" y="1080"/>
                  </a:lnTo>
                  <a:lnTo>
                    <a:pt x="756" y="1080"/>
                  </a:lnTo>
                  <a:lnTo>
                    <a:pt x="744" y="1086"/>
                  </a:lnTo>
                  <a:lnTo>
                    <a:pt x="744" y="1092"/>
                  </a:lnTo>
                  <a:lnTo>
                    <a:pt x="738" y="1092"/>
                  </a:lnTo>
                  <a:lnTo>
                    <a:pt x="726" y="1098"/>
                  </a:lnTo>
                  <a:lnTo>
                    <a:pt x="720" y="1104"/>
                  </a:lnTo>
                  <a:lnTo>
                    <a:pt x="714" y="1104"/>
                  </a:lnTo>
                  <a:lnTo>
                    <a:pt x="702" y="1116"/>
                  </a:lnTo>
                  <a:lnTo>
                    <a:pt x="696" y="1122"/>
                  </a:lnTo>
                  <a:lnTo>
                    <a:pt x="696" y="1134"/>
                  </a:lnTo>
                  <a:lnTo>
                    <a:pt x="690" y="1134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72" y="1146"/>
                  </a:lnTo>
                  <a:lnTo>
                    <a:pt x="672" y="1152"/>
                  </a:lnTo>
                  <a:lnTo>
                    <a:pt x="660" y="1152"/>
                  </a:lnTo>
                  <a:lnTo>
                    <a:pt x="642" y="1152"/>
                  </a:lnTo>
                  <a:lnTo>
                    <a:pt x="636" y="1152"/>
                  </a:lnTo>
                  <a:lnTo>
                    <a:pt x="630" y="1158"/>
                  </a:lnTo>
                  <a:lnTo>
                    <a:pt x="624" y="1164"/>
                  </a:lnTo>
                  <a:lnTo>
                    <a:pt x="618" y="1170"/>
                  </a:lnTo>
                  <a:lnTo>
                    <a:pt x="612" y="1170"/>
                  </a:lnTo>
                  <a:lnTo>
                    <a:pt x="600" y="1170"/>
                  </a:lnTo>
                  <a:lnTo>
                    <a:pt x="594" y="1170"/>
                  </a:lnTo>
                  <a:lnTo>
                    <a:pt x="588" y="1170"/>
                  </a:lnTo>
                  <a:lnTo>
                    <a:pt x="582" y="1170"/>
                  </a:lnTo>
                  <a:lnTo>
                    <a:pt x="582" y="1164"/>
                  </a:lnTo>
                  <a:lnTo>
                    <a:pt x="576" y="1158"/>
                  </a:lnTo>
                  <a:lnTo>
                    <a:pt x="570" y="1158"/>
                  </a:lnTo>
                  <a:lnTo>
                    <a:pt x="570" y="1152"/>
                  </a:lnTo>
                  <a:lnTo>
                    <a:pt x="570" y="1146"/>
                  </a:lnTo>
                  <a:lnTo>
                    <a:pt x="570" y="1140"/>
                  </a:lnTo>
                  <a:lnTo>
                    <a:pt x="564" y="1140"/>
                  </a:lnTo>
                  <a:lnTo>
                    <a:pt x="564" y="1134"/>
                  </a:lnTo>
                  <a:lnTo>
                    <a:pt x="564" y="1128"/>
                  </a:lnTo>
                  <a:lnTo>
                    <a:pt x="576" y="1104"/>
                  </a:lnTo>
                  <a:lnTo>
                    <a:pt x="582" y="1086"/>
                  </a:lnTo>
                  <a:lnTo>
                    <a:pt x="570" y="1068"/>
                  </a:lnTo>
                  <a:lnTo>
                    <a:pt x="534" y="1056"/>
                  </a:lnTo>
                  <a:lnTo>
                    <a:pt x="516" y="1026"/>
                  </a:lnTo>
                  <a:lnTo>
                    <a:pt x="492" y="1020"/>
                  </a:lnTo>
                  <a:lnTo>
                    <a:pt x="492" y="1014"/>
                  </a:lnTo>
                  <a:lnTo>
                    <a:pt x="480" y="1008"/>
                  </a:lnTo>
                  <a:lnTo>
                    <a:pt x="474" y="996"/>
                  </a:lnTo>
                  <a:lnTo>
                    <a:pt x="444" y="984"/>
                  </a:lnTo>
                  <a:lnTo>
                    <a:pt x="426" y="978"/>
                  </a:lnTo>
                  <a:lnTo>
                    <a:pt x="420" y="972"/>
                  </a:lnTo>
                  <a:lnTo>
                    <a:pt x="408" y="984"/>
                  </a:lnTo>
                  <a:lnTo>
                    <a:pt x="402" y="984"/>
                  </a:lnTo>
                  <a:lnTo>
                    <a:pt x="396" y="984"/>
                  </a:lnTo>
                  <a:lnTo>
                    <a:pt x="390" y="984"/>
                  </a:lnTo>
                  <a:lnTo>
                    <a:pt x="384" y="990"/>
                  </a:lnTo>
                  <a:lnTo>
                    <a:pt x="378" y="990"/>
                  </a:lnTo>
                  <a:lnTo>
                    <a:pt x="372" y="990"/>
                  </a:lnTo>
                  <a:lnTo>
                    <a:pt x="372" y="996"/>
                  </a:lnTo>
                  <a:lnTo>
                    <a:pt x="366" y="996"/>
                  </a:lnTo>
                  <a:lnTo>
                    <a:pt x="360" y="1002"/>
                  </a:lnTo>
                  <a:lnTo>
                    <a:pt x="360" y="1008"/>
                  </a:lnTo>
                  <a:lnTo>
                    <a:pt x="354" y="1008"/>
                  </a:lnTo>
                  <a:lnTo>
                    <a:pt x="342" y="1014"/>
                  </a:lnTo>
                  <a:lnTo>
                    <a:pt x="336" y="1020"/>
                  </a:lnTo>
                  <a:lnTo>
                    <a:pt x="336" y="1014"/>
                  </a:lnTo>
                  <a:lnTo>
                    <a:pt x="330" y="1014"/>
                  </a:lnTo>
                  <a:lnTo>
                    <a:pt x="330" y="1008"/>
                  </a:lnTo>
                  <a:lnTo>
                    <a:pt x="330" y="1002"/>
                  </a:lnTo>
                  <a:lnTo>
                    <a:pt x="324" y="1002"/>
                  </a:lnTo>
                  <a:lnTo>
                    <a:pt x="324" y="996"/>
                  </a:lnTo>
                  <a:lnTo>
                    <a:pt x="324" y="990"/>
                  </a:lnTo>
                  <a:lnTo>
                    <a:pt x="318" y="990"/>
                  </a:lnTo>
                  <a:lnTo>
                    <a:pt x="306" y="996"/>
                  </a:lnTo>
                  <a:lnTo>
                    <a:pt x="300" y="996"/>
                  </a:lnTo>
                  <a:lnTo>
                    <a:pt x="294" y="996"/>
                  </a:lnTo>
                  <a:lnTo>
                    <a:pt x="288" y="1002"/>
                  </a:lnTo>
                  <a:lnTo>
                    <a:pt x="282" y="990"/>
                  </a:lnTo>
                  <a:lnTo>
                    <a:pt x="276" y="984"/>
                  </a:lnTo>
                  <a:lnTo>
                    <a:pt x="270" y="990"/>
                  </a:lnTo>
                  <a:lnTo>
                    <a:pt x="270" y="996"/>
                  </a:lnTo>
                  <a:lnTo>
                    <a:pt x="270" y="1002"/>
                  </a:lnTo>
                  <a:lnTo>
                    <a:pt x="264" y="1008"/>
                  </a:lnTo>
                  <a:lnTo>
                    <a:pt x="252" y="996"/>
                  </a:lnTo>
                  <a:lnTo>
                    <a:pt x="246" y="996"/>
                  </a:lnTo>
                  <a:lnTo>
                    <a:pt x="234" y="1002"/>
                  </a:lnTo>
                  <a:lnTo>
                    <a:pt x="222" y="1002"/>
                  </a:lnTo>
                  <a:lnTo>
                    <a:pt x="210" y="1002"/>
                  </a:lnTo>
                  <a:lnTo>
                    <a:pt x="198" y="996"/>
                  </a:lnTo>
                  <a:lnTo>
                    <a:pt x="198" y="1002"/>
                  </a:lnTo>
                  <a:lnTo>
                    <a:pt x="198" y="1008"/>
                  </a:lnTo>
                  <a:lnTo>
                    <a:pt x="192" y="1020"/>
                  </a:lnTo>
                  <a:lnTo>
                    <a:pt x="198" y="1020"/>
                  </a:lnTo>
                  <a:lnTo>
                    <a:pt x="204" y="1020"/>
                  </a:lnTo>
                  <a:lnTo>
                    <a:pt x="210" y="1026"/>
                  </a:lnTo>
                  <a:lnTo>
                    <a:pt x="216" y="1026"/>
                  </a:lnTo>
                  <a:lnTo>
                    <a:pt x="216" y="1032"/>
                  </a:lnTo>
                  <a:lnTo>
                    <a:pt x="210" y="1032"/>
                  </a:lnTo>
                  <a:lnTo>
                    <a:pt x="210" y="1038"/>
                  </a:lnTo>
                  <a:lnTo>
                    <a:pt x="204" y="1038"/>
                  </a:lnTo>
                  <a:lnTo>
                    <a:pt x="204" y="1044"/>
                  </a:lnTo>
                  <a:lnTo>
                    <a:pt x="198" y="1044"/>
                  </a:lnTo>
                  <a:lnTo>
                    <a:pt x="192" y="1044"/>
                  </a:lnTo>
                  <a:lnTo>
                    <a:pt x="186" y="1050"/>
                  </a:lnTo>
                  <a:lnTo>
                    <a:pt x="186" y="1056"/>
                  </a:lnTo>
                  <a:lnTo>
                    <a:pt x="180" y="1056"/>
                  </a:lnTo>
                  <a:lnTo>
                    <a:pt x="180" y="1062"/>
                  </a:lnTo>
                  <a:lnTo>
                    <a:pt x="174" y="1062"/>
                  </a:lnTo>
                  <a:lnTo>
                    <a:pt x="168" y="1062"/>
                  </a:lnTo>
                  <a:lnTo>
                    <a:pt x="162" y="1062"/>
                  </a:lnTo>
                  <a:lnTo>
                    <a:pt x="156" y="1050"/>
                  </a:lnTo>
                  <a:lnTo>
                    <a:pt x="150" y="1044"/>
                  </a:lnTo>
                  <a:lnTo>
                    <a:pt x="150" y="1038"/>
                  </a:lnTo>
                  <a:lnTo>
                    <a:pt x="144" y="1032"/>
                  </a:lnTo>
                  <a:lnTo>
                    <a:pt x="144" y="1026"/>
                  </a:lnTo>
                  <a:lnTo>
                    <a:pt x="144" y="1014"/>
                  </a:lnTo>
                  <a:lnTo>
                    <a:pt x="150" y="1008"/>
                  </a:lnTo>
                  <a:lnTo>
                    <a:pt x="150" y="1002"/>
                  </a:lnTo>
                  <a:lnTo>
                    <a:pt x="156" y="984"/>
                  </a:lnTo>
                  <a:lnTo>
                    <a:pt x="162" y="978"/>
                  </a:lnTo>
                  <a:lnTo>
                    <a:pt x="162" y="972"/>
                  </a:lnTo>
                  <a:lnTo>
                    <a:pt x="150" y="966"/>
                  </a:lnTo>
                  <a:lnTo>
                    <a:pt x="144" y="966"/>
                  </a:lnTo>
                  <a:lnTo>
                    <a:pt x="138" y="966"/>
                  </a:lnTo>
                  <a:lnTo>
                    <a:pt x="138" y="954"/>
                  </a:lnTo>
                  <a:lnTo>
                    <a:pt x="132" y="954"/>
                  </a:lnTo>
                  <a:lnTo>
                    <a:pt x="138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8" y="924"/>
                  </a:lnTo>
                  <a:lnTo>
                    <a:pt x="132" y="930"/>
                  </a:lnTo>
                  <a:lnTo>
                    <a:pt x="132" y="924"/>
                  </a:lnTo>
                  <a:lnTo>
                    <a:pt x="126" y="918"/>
                  </a:lnTo>
                  <a:lnTo>
                    <a:pt x="132" y="918"/>
                  </a:lnTo>
                  <a:lnTo>
                    <a:pt x="132" y="912"/>
                  </a:lnTo>
                  <a:lnTo>
                    <a:pt x="126" y="912"/>
                  </a:lnTo>
                  <a:lnTo>
                    <a:pt x="120" y="912"/>
                  </a:lnTo>
                  <a:lnTo>
                    <a:pt x="120" y="918"/>
                  </a:lnTo>
                  <a:lnTo>
                    <a:pt x="114" y="918"/>
                  </a:lnTo>
                  <a:lnTo>
                    <a:pt x="114" y="912"/>
                  </a:lnTo>
                  <a:lnTo>
                    <a:pt x="108" y="912"/>
                  </a:lnTo>
                  <a:lnTo>
                    <a:pt x="102" y="912"/>
                  </a:lnTo>
                  <a:lnTo>
                    <a:pt x="108" y="906"/>
                  </a:lnTo>
                  <a:lnTo>
                    <a:pt x="102" y="906"/>
                  </a:lnTo>
                  <a:lnTo>
                    <a:pt x="96" y="906"/>
                  </a:lnTo>
                  <a:lnTo>
                    <a:pt x="96" y="912"/>
                  </a:lnTo>
                  <a:lnTo>
                    <a:pt x="90" y="918"/>
                  </a:lnTo>
                  <a:lnTo>
                    <a:pt x="90" y="912"/>
                  </a:lnTo>
                  <a:lnTo>
                    <a:pt x="84" y="912"/>
                  </a:lnTo>
                  <a:lnTo>
                    <a:pt x="84" y="918"/>
                  </a:lnTo>
                  <a:lnTo>
                    <a:pt x="78" y="918"/>
                  </a:lnTo>
                  <a:lnTo>
                    <a:pt x="78" y="912"/>
                  </a:lnTo>
                  <a:lnTo>
                    <a:pt x="78" y="906"/>
                  </a:lnTo>
                  <a:lnTo>
                    <a:pt x="72" y="900"/>
                  </a:lnTo>
                  <a:lnTo>
                    <a:pt x="78" y="900"/>
                  </a:lnTo>
                  <a:lnTo>
                    <a:pt x="72" y="900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8" y="888"/>
                  </a:lnTo>
                  <a:lnTo>
                    <a:pt x="72" y="888"/>
                  </a:lnTo>
                  <a:lnTo>
                    <a:pt x="72" y="882"/>
                  </a:lnTo>
                  <a:lnTo>
                    <a:pt x="66" y="876"/>
                  </a:lnTo>
                  <a:lnTo>
                    <a:pt x="60" y="882"/>
                  </a:lnTo>
                  <a:lnTo>
                    <a:pt x="54" y="876"/>
                  </a:lnTo>
                  <a:lnTo>
                    <a:pt x="54" y="882"/>
                  </a:lnTo>
                  <a:lnTo>
                    <a:pt x="48" y="882"/>
                  </a:lnTo>
                  <a:lnTo>
                    <a:pt x="42" y="870"/>
                  </a:lnTo>
                  <a:lnTo>
                    <a:pt x="42" y="864"/>
                  </a:lnTo>
                  <a:lnTo>
                    <a:pt x="36" y="858"/>
                  </a:lnTo>
                  <a:lnTo>
                    <a:pt x="36" y="852"/>
                  </a:lnTo>
                  <a:lnTo>
                    <a:pt x="30" y="852"/>
                  </a:lnTo>
                  <a:lnTo>
                    <a:pt x="30" y="846"/>
                  </a:lnTo>
                  <a:lnTo>
                    <a:pt x="24" y="846"/>
                  </a:lnTo>
                  <a:lnTo>
                    <a:pt x="18" y="840"/>
                  </a:lnTo>
                  <a:lnTo>
                    <a:pt x="12" y="834"/>
                  </a:lnTo>
                  <a:lnTo>
                    <a:pt x="0" y="828"/>
                  </a:lnTo>
                  <a:lnTo>
                    <a:pt x="0" y="822"/>
                  </a:lnTo>
                  <a:lnTo>
                    <a:pt x="0" y="816"/>
                  </a:lnTo>
                  <a:lnTo>
                    <a:pt x="0" y="810"/>
                  </a:lnTo>
                  <a:lnTo>
                    <a:pt x="6" y="804"/>
                  </a:lnTo>
                  <a:lnTo>
                    <a:pt x="12" y="804"/>
                  </a:lnTo>
                  <a:lnTo>
                    <a:pt x="12" y="798"/>
                  </a:lnTo>
                  <a:lnTo>
                    <a:pt x="12" y="792"/>
                  </a:lnTo>
                  <a:lnTo>
                    <a:pt x="6" y="792"/>
                  </a:lnTo>
                  <a:lnTo>
                    <a:pt x="6" y="786"/>
                  </a:lnTo>
                  <a:lnTo>
                    <a:pt x="6" y="780"/>
                  </a:lnTo>
                  <a:lnTo>
                    <a:pt x="18" y="780"/>
                  </a:lnTo>
                  <a:lnTo>
                    <a:pt x="18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0" y="774"/>
                  </a:lnTo>
                  <a:lnTo>
                    <a:pt x="36" y="768"/>
                  </a:lnTo>
                  <a:lnTo>
                    <a:pt x="42" y="768"/>
                  </a:lnTo>
                  <a:lnTo>
                    <a:pt x="60" y="750"/>
                  </a:lnTo>
                  <a:lnTo>
                    <a:pt x="60" y="744"/>
                  </a:lnTo>
                  <a:lnTo>
                    <a:pt x="54" y="738"/>
                  </a:lnTo>
                  <a:lnTo>
                    <a:pt x="60" y="732"/>
                  </a:lnTo>
                  <a:lnTo>
                    <a:pt x="54" y="732"/>
                  </a:lnTo>
                  <a:lnTo>
                    <a:pt x="60" y="726"/>
                  </a:lnTo>
                  <a:lnTo>
                    <a:pt x="66" y="720"/>
                  </a:lnTo>
                  <a:lnTo>
                    <a:pt x="72" y="714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84" y="696"/>
                  </a:lnTo>
                  <a:lnTo>
                    <a:pt x="90" y="684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66"/>
                  </a:lnTo>
                  <a:lnTo>
                    <a:pt x="90" y="660"/>
                  </a:lnTo>
                  <a:lnTo>
                    <a:pt x="84" y="654"/>
                  </a:lnTo>
                  <a:lnTo>
                    <a:pt x="84" y="648"/>
                  </a:lnTo>
                  <a:lnTo>
                    <a:pt x="78" y="636"/>
                  </a:lnTo>
                  <a:lnTo>
                    <a:pt x="66" y="630"/>
                  </a:lnTo>
                  <a:lnTo>
                    <a:pt x="66" y="624"/>
                  </a:lnTo>
                  <a:lnTo>
                    <a:pt x="60" y="624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60" y="600"/>
                  </a:lnTo>
                  <a:lnTo>
                    <a:pt x="66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6" y="588"/>
                  </a:lnTo>
                  <a:lnTo>
                    <a:pt x="66" y="582"/>
                  </a:lnTo>
                  <a:lnTo>
                    <a:pt x="72" y="582"/>
                  </a:lnTo>
                  <a:lnTo>
                    <a:pt x="78" y="576"/>
                  </a:lnTo>
                  <a:lnTo>
                    <a:pt x="72" y="576"/>
                  </a:lnTo>
                  <a:lnTo>
                    <a:pt x="66" y="570"/>
                  </a:lnTo>
                  <a:lnTo>
                    <a:pt x="72" y="564"/>
                  </a:lnTo>
                  <a:lnTo>
                    <a:pt x="78" y="558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90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102" y="516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0" y="504"/>
                  </a:lnTo>
                  <a:lnTo>
                    <a:pt x="120" y="498"/>
                  </a:lnTo>
                  <a:lnTo>
                    <a:pt x="120" y="492"/>
                  </a:lnTo>
                  <a:lnTo>
                    <a:pt x="126" y="480"/>
                  </a:lnTo>
                  <a:lnTo>
                    <a:pt x="132" y="474"/>
                  </a:lnTo>
                  <a:lnTo>
                    <a:pt x="132" y="468"/>
                  </a:lnTo>
                  <a:lnTo>
                    <a:pt x="138" y="462"/>
                  </a:lnTo>
                  <a:lnTo>
                    <a:pt x="138" y="456"/>
                  </a:lnTo>
                  <a:lnTo>
                    <a:pt x="138" y="450"/>
                  </a:lnTo>
                  <a:lnTo>
                    <a:pt x="144" y="444"/>
                  </a:lnTo>
                  <a:lnTo>
                    <a:pt x="162" y="438"/>
                  </a:lnTo>
                  <a:lnTo>
                    <a:pt x="186" y="438"/>
                  </a:lnTo>
                  <a:lnTo>
                    <a:pt x="210" y="444"/>
                  </a:lnTo>
                  <a:lnTo>
                    <a:pt x="276" y="450"/>
                  </a:lnTo>
                  <a:lnTo>
                    <a:pt x="342" y="450"/>
                  </a:lnTo>
                  <a:lnTo>
                    <a:pt x="348" y="450"/>
                  </a:lnTo>
                  <a:lnTo>
                    <a:pt x="354" y="450"/>
                  </a:lnTo>
                  <a:lnTo>
                    <a:pt x="360" y="456"/>
                  </a:lnTo>
                  <a:lnTo>
                    <a:pt x="354" y="462"/>
                  </a:lnTo>
                  <a:lnTo>
                    <a:pt x="354" y="468"/>
                  </a:lnTo>
                  <a:lnTo>
                    <a:pt x="354" y="474"/>
                  </a:lnTo>
                  <a:lnTo>
                    <a:pt x="348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48" y="498"/>
                  </a:lnTo>
                  <a:lnTo>
                    <a:pt x="342" y="510"/>
                  </a:lnTo>
                  <a:lnTo>
                    <a:pt x="348" y="528"/>
                  </a:lnTo>
                  <a:lnTo>
                    <a:pt x="348" y="534"/>
                  </a:lnTo>
                  <a:lnTo>
                    <a:pt x="354" y="552"/>
                  </a:lnTo>
                  <a:lnTo>
                    <a:pt x="366" y="546"/>
                  </a:lnTo>
                  <a:lnTo>
                    <a:pt x="372" y="540"/>
                  </a:lnTo>
                  <a:lnTo>
                    <a:pt x="384" y="540"/>
                  </a:lnTo>
                  <a:lnTo>
                    <a:pt x="396" y="534"/>
                  </a:lnTo>
                  <a:lnTo>
                    <a:pt x="402" y="534"/>
                  </a:lnTo>
                  <a:lnTo>
                    <a:pt x="414" y="546"/>
                  </a:lnTo>
                  <a:lnTo>
                    <a:pt x="432" y="540"/>
                  </a:lnTo>
                  <a:lnTo>
                    <a:pt x="450" y="534"/>
                  </a:lnTo>
                  <a:lnTo>
                    <a:pt x="450" y="528"/>
                  </a:lnTo>
                  <a:lnTo>
                    <a:pt x="456" y="528"/>
                  </a:lnTo>
                  <a:lnTo>
                    <a:pt x="456" y="522"/>
                  </a:lnTo>
                  <a:lnTo>
                    <a:pt x="456" y="516"/>
                  </a:lnTo>
                  <a:lnTo>
                    <a:pt x="462" y="516"/>
                  </a:lnTo>
                  <a:lnTo>
                    <a:pt x="468" y="510"/>
                  </a:lnTo>
                  <a:lnTo>
                    <a:pt x="468" y="504"/>
                  </a:lnTo>
                  <a:lnTo>
                    <a:pt x="474" y="504"/>
                  </a:lnTo>
                  <a:lnTo>
                    <a:pt x="480" y="504"/>
                  </a:lnTo>
                  <a:lnTo>
                    <a:pt x="486" y="498"/>
                  </a:lnTo>
                  <a:lnTo>
                    <a:pt x="492" y="498"/>
                  </a:lnTo>
                  <a:lnTo>
                    <a:pt x="486" y="480"/>
                  </a:lnTo>
                  <a:lnTo>
                    <a:pt x="492" y="462"/>
                  </a:lnTo>
                  <a:lnTo>
                    <a:pt x="498" y="444"/>
                  </a:lnTo>
                  <a:lnTo>
                    <a:pt x="498" y="426"/>
                  </a:lnTo>
                  <a:lnTo>
                    <a:pt x="498" y="420"/>
                  </a:lnTo>
                  <a:lnTo>
                    <a:pt x="504" y="426"/>
                  </a:lnTo>
                  <a:lnTo>
                    <a:pt x="504" y="420"/>
                  </a:lnTo>
                  <a:lnTo>
                    <a:pt x="510" y="420"/>
                  </a:lnTo>
                  <a:lnTo>
                    <a:pt x="510" y="414"/>
                  </a:lnTo>
                  <a:lnTo>
                    <a:pt x="510" y="408"/>
                  </a:lnTo>
                  <a:lnTo>
                    <a:pt x="504" y="402"/>
                  </a:lnTo>
                  <a:lnTo>
                    <a:pt x="504" y="396"/>
                  </a:lnTo>
                  <a:lnTo>
                    <a:pt x="504" y="384"/>
                  </a:lnTo>
                  <a:lnTo>
                    <a:pt x="504" y="378"/>
                  </a:lnTo>
                  <a:lnTo>
                    <a:pt x="504" y="360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510" y="348"/>
                  </a:lnTo>
                  <a:lnTo>
                    <a:pt x="510" y="336"/>
                  </a:lnTo>
                  <a:lnTo>
                    <a:pt x="516" y="330"/>
                  </a:lnTo>
                  <a:lnTo>
                    <a:pt x="522" y="324"/>
                  </a:lnTo>
                  <a:lnTo>
                    <a:pt x="528" y="318"/>
                  </a:lnTo>
                  <a:lnTo>
                    <a:pt x="534" y="312"/>
                  </a:lnTo>
                  <a:lnTo>
                    <a:pt x="534" y="300"/>
                  </a:lnTo>
                  <a:lnTo>
                    <a:pt x="540" y="294"/>
                  </a:lnTo>
                  <a:lnTo>
                    <a:pt x="546" y="288"/>
                  </a:lnTo>
                  <a:lnTo>
                    <a:pt x="552" y="276"/>
                  </a:lnTo>
                  <a:lnTo>
                    <a:pt x="558" y="264"/>
                  </a:lnTo>
                  <a:lnTo>
                    <a:pt x="558" y="258"/>
                  </a:lnTo>
                  <a:lnTo>
                    <a:pt x="558" y="252"/>
                  </a:lnTo>
                  <a:lnTo>
                    <a:pt x="558" y="246"/>
                  </a:lnTo>
                  <a:lnTo>
                    <a:pt x="564" y="246"/>
                  </a:lnTo>
                  <a:lnTo>
                    <a:pt x="564" y="240"/>
                  </a:lnTo>
                  <a:lnTo>
                    <a:pt x="570" y="234"/>
                  </a:lnTo>
                  <a:lnTo>
                    <a:pt x="564" y="216"/>
                  </a:lnTo>
                  <a:lnTo>
                    <a:pt x="564" y="210"/>
                  </a:lnTo>
                  <a:lnTo>
                    <a:pt x="570" y="210"/>
                  </a:lnTo>
                  <a:lnTo>
                    <a:pt x="570" y="204"/>
                  </a:lnTo>
                  <a:lnTo>
                    <a:pt x="570" y="198"/>
                  </a:lnTo>
                  <a:lnTo>
                    <a:pt x="582" y="180"/>
                  </a:lnTo>
                  <a:lnTo>
                    <a:pt x="582" y="174"/>
                  </a:lnTo>
                  <a:lnTo>
                    <a:pt x="582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606" y="150"/>
                  </a:lnTo>
                  <a:lnTo>
                    <a:pt x="612" y="150"/>
                  </a:lnTo>
                  <a:lnTo>
                    <a:pt x="618" y="150"/>
                  </a:lnTo>
                  <a:lnTo>
                    <a:pt x="624" y="138"/>
                  </a:lnTo>
                  <a:lnTo>
                    <a:pt x="618" y="132"/>
                  </a:lnTo>
                  <a:lnTo>
                    <a:pt x="618" y="126"/>
                  </a:lnTo>
                  <a:lnTo>
                    <a:pt x="618" y="120"/>
                  </a:lnTo>
                  <a:lnTo>
                    <a:pt x="618" y="114"/>
                  </a:lnTo>
                  <a:lnTo>
                    <a:pt x="612" y="108"/>
                  </a:lnTo>
                  <a:lnTo>
                    <a:pt x="612" y="102"/>
                  </a:lnTo>
                  <a:lnTo>
                    <a:pt x="618" y="90"/>
                  </a:lnTo>
                  <a:lnTo>
                    <a:pt x="624" y="84"/>
                  </a:lnTo>
                  <a:lnTo>
                    <a:pt x="618" y="84"/>
                  </a:lnTo>
                  <a:lnTo>
                    <a:pt x="618" y="78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0" y="72"/>
                  </a:lnTo>
                  <a:lnTo>
                    <a:pt x="600" y="66"/>
                  </a:lnTo>
                  <a:lnTo>
                    <a:pt x="600" y="60"/>
                  </a:lnTo>
                  <a:lnTo>
                    <a:pt x="600" y="48"/>
                  </a:lnTo>
                  <a:lnTo>
                    <a:pt x="612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36"/>
                  </a:lnTo>
                  <a:lnTo>
                    <a:pt x="630" y="30"/>
                  </a:lnTo>
                  <a:lnTo>
                    <a:pt x="636" y="24"/>
                  </a:lnTo>
                  <a:lnTo>
                    <a:pt x="642" y="24"/>
                  </a:lnTo>
                  <a:lnTo>
                    <a:pt x="648" y="24"/>
                  </a:lnTo>
                  <a:lnTo>
                    <a:pt x="648" y="18"/>
                  </a:lnTo>
                  <a:lnTo>
                    <a:pt x="654" y="12"/>
                  </a:lnTo>
                  <a:lnTo>
                    <a:pt x="660" y="0"/>
                  </a:lnTo>
                  <a:lnTo>
                    <a:pt x="678" y="0"/>
                  </a:lnTo>
                  <a:lnTo>
                    <a:pt x="696" y="0"/>
                  </a:lnTo>
                  <a:lnTo>
                    <a:pt x="702" y="0"/>
                  </a:lnTo>
                  <a:lnTo>
                    <a:pt x="714" y="0"/>
                  </a:lnTo>
                  <a:lnTo>
                    <a:pt x="720" y="6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44" y="24"/>
                  </a:lnTo>
                  <a:lnTo>
                    <a:pt x="744" y="30"/>
                  </a:lnTo>
                  <a:lnTo>
                    <a:pt x="732" y="42"/>
                  </a:lnTo>
                  <a:lnTo>
                    <a:pt x="726" y="42"/>
                  </a:lnTo>
                  <a:lnTo>
                    <a:pt x="720" y="42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54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90"/>
                  </a:lnTo>
                  <a:lnTo>
                    <a:pt x="726" y="84"/>
                  </a:lnTo>
                  <a:lnTo>
                    <a:pt x="738" y="84"/>
                  </a:lnTo>
                  <a:lnTo>
                    <a:pt x="750" y="96"/>
                  </a:lnTo>
                  <a:lnTo>
                    <a:pt x="768" y="96"/>
                  </a:lnTo>
                  <a:lnTo>
                    <a:pt x="768" y="90"/>
                  </a:lnTo>
                  <a:lnTo>
                    <a:pt x="774" y="84"/>
                  </a:lnTo>
                  <a:lnTo>
                    <a:pt x="780" y="78"/>
                  </a:lnTo>
                  <a:lnTo>
                    <a:pt x="786" y="78"/>
                  </a:lnTo>
                  <a:lnTo>
                    <a:pt x="792" y="72"/>
                  </a:lnTo>
                  <a:lnTo>
                    <a:pt x="804" y="72"/>
                  </a:lnTo>
                  <a:lnTo>
                    <a:pt x="804" y="66"/>
                  </a:lnTo>
                  <a:lnTo>
                    <a:pt x="810" y="66"/>
                  </a:lnTo>
                  <a:lnTo>
                    <a:pt x="810" y="72"/>
                  </a:lnTo>
                  <a:lnTo>
                    <a:pt x="816" y="66"/>
                  </a:lnTo>
                  <a:lnTo>
                    <a:pt x="828" y="66"/>
                  </a:lnTo>
                  <a:lnTo>
                    <a:pt x="834" y="72"/>
                  </a:lnTo>
                  <a:lnTo>
                    <a:pt x="840" y="72"/>
                  </a:lnTo>
                  <a:lnTo>
                    <a:pt x="840" y="78"/>
                  </a:lnTo>
                  <a:lnTo>
                    <a:pt x="840" y="84"/>
                  </a:lnTo>
                  <a:lnTo>
                    <a:pt x="852" y="84"/>
                  </a:lnTo>
                  <a:lnTo>
                    <a:pt x="858" y="96"/>
                  </a:lnTo>
                  <a:lnTo>
                    <a:pt x="864" y="108"/>
                  </a:lnTo>
                  <a:lnTo>
                    <a:pt x="876" y="114"/>
                  </a:lnTo>
                  <a:lnTo>
                    <a:pt x="894" y="114"/>
                  </a:lnTo>
                  <a:lnTo>
                    <a:pt x="906" y="114"/>
                  </a:lnTo>
                  <a:lnTo>
                    <a:pt x="906" y="126"/>
                  </a:lnTo>
                  <a:lnTo>
                    <a:pt x="912" y="144"/>
                  </a:lnTo>
                  <a:lnTo>
                    <a:pt x="930" y="138"/>
                  </a:lnTo>
                  <a:lnTo>
                    <a:pt x="936" y="138"/>
                  </a:lnTo>
                  <a:lnTo>
                    <a:pt x="942" y="144"/>
                  </a:lnTo>
                  <a:lnTo>
                    <a:pt x="948" y="150"/>
                  </a:lnTo>
                  <a:lnTo>
                    <a:pt x="954" y="156"/>
                  </a:lnTo>
                  <a:lnTo>
                    <a:pt x="954" y="168"/>
                  </a:lnTo>
                  <a:lnTo>
                    <a:pt x="954" y="174"/>
                  </a:lnTo>
                  <a:lnTo>
                    <a:pt x="960" y="180"/>
                  </a:lnTo>
                  <a:lnTo>
                    <a:pt x="966" y="186"/>
                  </a:lnTo>
                  <a:lnTo>
                    <a:pt x="960" y="186"/>
                  </a:lnTo>
                  <a:lnTo>
                    <a:pt x="966" y="192"/>
                  </a:lnTo>
                  <a:lnTo>
                    <a:pt x="966" y="198"/>
                  </a:lnTo>
                  <a:lnTo>
                    <a:pt x="978" y="204"/>
                  </a:lnTo>
                  <a:lnTo>
                    <a:pt x="1050" y="186"/>
                  </a:lnTo>
                  <a:lnTo>
                    <a:pt x="1056" y="198"/>
                  </a:lnTo>
                  <a:lnTo>
                    <a:pt x="1068" y="210"/>
                  </a:lnTo>
                  <a:lnTo>
                    <a:pt x="1074" y="216"/>
                  </a:lnTo>
                  <a:lnTo>
                    <a:pt x="1080" y="252"/>
                  </a:lnTo>
                  <a:lnTo>
                    <a:pt x="1086" y="270"/>
                  </a:lnTo>
                  <a:lnTo>
                    <a:pt x="1092" y="282"/>
                  </a:lnTo>
                  <a:lnTo>
                    <a:pt x="1086" y="300"/>
                  </a:lnTo>
                  <a:lnTo>
                    <a:pt x="1074" y="330"/>
                  </a:lnTo>
                  <a:lnTo>
                    <a:pt x="1068" y="336"/>
                  </a:lnTo>
                  <a:lnTo>
                    <a:pt x="1062" y="348"/>
                  </a:lnTo>
                  <a:lnTo>
                    <a:pt x="1062" y="360"/>
                  </a:lnTo>
                  <a:lnTo>
                    <a:pt x="1068" y="378"/>
                  </a:lnTo>
                  <a:lnTo>
                    <a:pt x="1074" y="390"/>
                  </a:lnTo>
                  <a:lnTo>
                    <a:pt x="1068" y="396"/>
                  </a:lnTo>
                  <a:lnTo>
                    <a:pt x="1068" y="408"/>
                  </a:lnTo>
                  <a:lnTo>
                    <a:pt x="1062" y="414"/>
                  </a:lnTo>
                  <a:lnTo>
                    <a:pt x="1050" y="432"/>
                  </a:lnTo>
                  <a:lnTo>
                    <a:pt x="1044" y="450"/>
                  </a:lnTo>
                  <a:lnTo>
                    <a:pt x="1038" y="456"/>
                  </a:lnTo>
                  <a:lnTo>
                    <a:pt x="1026" y="468"/>
                  </a:lnTo>
                  <a:lnTo>
                    <a:pt x="1026" y="474"/>
                  </a:lnTo>
                  <a:lnTo>
                    <a:pt x="1026" y="480"/>
                  </a:lnTo>
                  <a:lnTo>
                    <a:pt x="1032" y="492"/>
                  </a:lnTo>
                  <a:lnTo>
                    <a:pt x="1044" y="504"/>
                  </a:lnTo>
                  <a:lnTo>
                    <a:pt x="1044" y="516"/>
                  </a:lnTo>
                  <a:lnTo>
                    <a:pt x="1038" y="528"/>
                  </a:lnTo>
                  <a:lnTo>
                    <a:pt x="1032" y="546"/>
                  </a:lnTo>
                  <a:lnTo>
                    <a:pt x="1032" y="570"/>
                  </a:lnTo>
                  <a:lnTo>
                    <a:pt x="1050" y="594"/>
                  </a:lnTo>
                  <a:lnTo>
                    <a:pt x="1056" y="624"/>
                  </a:lnTo>
                  <a:lnTo>
                    <a:pt x="1056" y="65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9" name="Freeform 24">
              <a:extLst>
                <a:ext uri="{FF2B5EF4-FFF2-40B4-BE49-F238E27FC236}">
                  <a16:creationId xmlns:a16="http://schemas.microsoft.com/office/drawing/2014/main" id="{CAE689DA-332A-4F73-BDE6-8865C9170AA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84829" y="3213406"/>
              <a:ext cx="851989" cy="744754"/>
            </a:xfrm>
            <a:custGeom>
              <a:avLst/>
              <a:gdLst>
                <a:gd name="T0" fmla="*/ 116 w 1602"/>
                <a:gd name="T1" fmla="*/ 91 h 1404"/>
                <a:gd name="T2" fmla="*/ 111 w 1602"/>
                <a:gd name="T3" fmla="*/ 95 h 1404"/>
                <a:gd name="T4" fmla="*/ 102 w 1602"/>
                <a:gd name="T5" fmla="*/ 101 h 1404"/>
                <a:gd name="T6" fmla="*/ 99 w 1602"/>
                <a:gd name="T7" fmla="*/ 103 h 1404"/>
                <a:gd name="T8" fmla="*/ 96 w 1602"/>
                <a:gd name="T9" fmla="*/ 106 h 1404"/>
                <a:gd name="T10" fmla="*/ 93 w 1602"/>
                <a:gd name="T11" fmla="*/ 108 h 1404"/>
                <a:gd name="T12" fmla="*/ 88 w 1602"/>
                <a:gd name="T13" fmla="*/ 106 h 1404"/>
                <a:gd name="T14" fmla="*/ 86 w 1602"/>
                <a:gd name="T15" fmla="*/ 108 h 1404"/>
                <a:gd name="T16" fmla="*/ 81 w 1602"/>
                <a:gd name="T17" fmla="*/ 119 h 1404"/>
                <a:gd name="T18" fmla="*/ 71 w 1602"/>
                <a:gd name="T19" fmla="*/ 109 h 1404"/>
                <a:gd name="T20" fmla="*/ 72 w 1602"/>
                <a:gd name="T21" fmla="*/ 101 h 1404"/>
                <a:gd name="T22" fmla="*/ 74 w 1602"/>
                <a:gd name="T23" fmla="*/ 93 h 1404"/>
                <a:gd name="T24" fmla="*/ 73 w 1602"/>
                <a:gd name="T25" fmla="*/ 82 h 1404"/>
                <a:gd name="T26" fmla="*/ 64 w 1602"/>
                <a:gd name="T27" fmla="*/ 79 h 1404"/>
                <a:gd name="T28" fmla="*/ 59 w 1602"/>
                <a:gd name="T29" fmla="*/ 75 h 1404"/>
                <a:gd name="T30" fmla="*/ 54 w 1602"/>
                <a:gd name="T31" fmla="*/ 71 h 1404"/>
                <a:gd name="T32" fmla="*/ 51 w 1602"/>
                <a:gd name="T33" fmla="*/ 70 h 1404"/>
                <a:gd name="T34" fmla="*/ 45 w 1602"/>
                <a:gd name="T35" fmla="*/ 71 h 1404"/>
                <a:gd name="T36" fmla="*/ 43 w 1602"/>
                <a:gd name="T37" fmla="*/ 68 h 1404"/>
                <a:gd name="T38" fmla="*/ 43 w 1602"/>
                <a:gd name="T39" fmla="*/ 64 h 1404"/>
                <a:gd name="T40" fmla="*/ 36 w 1602"/>
                <a:gd name="T41" fmla="*/ 66 h 1404"/>
                <a:gd name="T42" fmla="*/ 31 w 1602"/>
                <a:gd name="T43" fmla="*/ 55 h 1404"/>
                <a:gd name="T44" fmla="*/ 25 w 1602"/>
                <a:gd name="T45" fmla="*/ 53 h 1404"/>
                <a:gd name="T46" fmla="*/ 19 w 1602"/>
                <a:gd name="T47" fmla="*/ 51 h 1404"/>
                <a:gd name="T48" fmla="*/ 17 w 1602"/>
                <a:gd name="T49" fmla="*/ 43 h 1404"/>
                <a:gd name="T50" fmla="*/ 17 w 1602"/>
                <a:gd name="T51" fmla="*/ 39 h 1404"/>
                <a:gd name="T52" fmla="*/ 12 w 1602"/>
                <a:gd name="T53" fmla="*/ 39 h 1404"/>
                <a:gd name="T54" fmla="*/ 10 w 1602"/>
                <a:gd name="T55" fmla="*/ 35 h 1404"/>
                <a:gd name="T56" fmla="*/ 5 w 1602"/>
                <a:gd name="T57" fmla="*/ 30 h 1404"/>
                <a:gd name="T58" fmla="*/ 3 w 1602"/>
                <a:gd name="T59" fmla="*/ 27 h 1404"/>
                <a:gd name="T60" fmla="*/ 2 w 1602"/>
                <a:gd name="T61" fmla="*/ 25 h 1404"/>
                <a:gd name="T62" fmla="*/ 0 w 1602"/>
                <a:gd name="T63" fmla="*/ 22 h 1404"/>
                <a:gd name="T64" fmla="*/ 8 w 1602"/>
                <a:gd name="T65" fmla="*/ 14 h 1404"/>
                <a:gd name="T66" fmla="*/ 16 w 1602"/>
                <a:gd name="T67" fmla="*/ 16 h 1404"/>
                <a:gd name="T68" fmla="*/ 31 w 1602"/>
                <a:gd name="T69" fmla="*/ 18 h 1404"/>
                <a:gd name="T70" fmla="*/ 43 w 1602"/>
                <a:gd name="T71" fmla="*/ 17 h 1404"/>
                <a:gd name="T72" fmla="*/ 47 w 1602"/>
                <a:gd name="T73" fmla="*/ 6 h 1404"/>
                <a:gd name="T74" fmla="*/ 52 w 1602"/>
                <a:gd name="T75" fmla="*/ 0 h 1404"/>
                <a:gd name="T76" fmla="*/ 55 w 1602"/>
                <a:gd name="T77" fmla="*/ 3 h 1404"/>
                <a:gd name="T78" fmla="*/ 59 w 1602"/>
                <a:gd name="T79" fmla="*/ 9 h 1404"/>
                <a:gd name="T80" fmla="*/ 62 w 1602"/>
                <a:gd name="T81" fmla="*/ 16 h 1404"/>
                <a:gd name="T82" fmla="*/ 66 w 1602"/>
                <a:gd name="T83" fmla="*/ 20 h 1404"/>
                <a:gd name="T84" fmla="*/ 70 w 1602"/>
                <a:gd name="T85" fmla="*/ 25 h 1404"/>
                <a:gd name="T86" fmla="*/ 74 w 1602"/>
                <a:gd name="T87" fmla="*/ 30 h 1404"/>
                <a:gd name="T88" fmla="*/ 76 w 1602"/>
                <a:gd name="T89" fmla="*/ 27 h 1404"/>
                <a:gd name="T90" fmla="*/ 78 w 1602"/>
                <a:gd name="T91" fmla="*/ 27 h 1404"/>
                <a:gd name="T92" fmla="*/ 78 w 1602"/>
                <a:gd name="T93" fmla="*/ 23 h 1404"/>
                <a:gd name="T94" fmla="*/ 82 w 1602"/>
                <a:gd name="T95" fmla="*/ 20 h 1404"/>
                <a:gd name="T96" fmla="*/ 82 w 1602"/>
                <a:gd name="T97" fmla="*/ 18 h 1404"/>
                <a:gd name="T98" fmla="*/ 90 w 1602"/>
                <a:gd name="T99" fmla="*/ 24 h 1404"/>
                <a:gd name="T100" fmla="*/ 90 w 1602"/>
                <a:gd name="T101" fmla="*/ 45 h 1404"/>
                <a:gd name="T102" fmla="*/ 104 w 1602"/>
                <a:gd name="T103" fmla="*/ 41 h 1404"/>
                <a:gd name="T104" fmla="*/ 117 w 1602"/>
                <a:gd name="T105" fmla="*/ 39 h 1404"/>
                <a:gd name="T106" fmla="*/ 125 w 1602"/>
                <a:gd name="T107" fmla="*/ 39 h 1404"/>
                <a:gd name="T108" fmla="*/ 127 w 1602"/>
                <a:gd name="T109" fmla="*/ 43 h 1404"/>
                <a:gd name="T110" fmla="*/ 131 w 1602"/>
                <a:gd name="T111" fmla="*/ 53 h 1404"/>
                <a:gd name="T112" fmla="*/ 133 w 1602"/>
                <a:gd name="T113" fmla="*/ 60 h 1404"/>
                <a:gd name="T114" fmla="*/ 138 w 1602"/>
                <a:gd name="T115" fmla="*/ 73 h 1404"/>
                <a:gd name="T116" fmla="*/ 136 w 1602"/>
                <a:gd name="T117" fmla="*/ 80 h 1404"/>
                <a:gd name="T118" fmla="*/ 129 w 1602"/>
                <a:gd name="T119" fmla="*/ 87 h 1404"/>
                <a:gd name="T120" fmla="*/ 123 w 1602"/>
                <a:gd name="T121" fmla="*/ 95 h 14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02"/>
                <a:gd name="T184" fmla="*/ 0 h 1404"/>
                <a:gd name="T185" fmla="*/ 1602 w 1602"/>
                <a:gd name="T186" fmla="*/ 1404 h 14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02" h="1404">
                  <a:moveTo>
                    <a:pt x="1392" y="1080"/>
                  </a:moveTo>
                  <a:lnTo>
                    <a:pt x="1380" y="1074"/>
                  </a:lnTo>
                  <a:lnTo>
                    <a:pt x="1368" y="1056"/>
                  </a:lnTo>
                  <a:lnTo>
                    <a:pt x="1356" y="1044"/>
                  </a:lnTo>
                  <a:lnTo>
                    <a:pt x="1344" y="1038"/>
                  </a:lnTo>
                  <a:lnTo>
                    <a:pt x="1338" y="1038"/>
                  </a:lnTo>
                  <a:lnTo>
                    <a:pt x="1332" y="1038"/>
                  </a:lnTo>
                  <a:lnTo>
                    <a:pt x="1326" y="1044"/>
                  </a:lnTo>
                  <a:lnTo>
                    <a:pt x="1320" y="1044"/>
                  </a:lnTo>
                  <a:lnTo>
                    <a:pt x="1314" y="1044"/>
                  </a:lnTo>
                  <a:lnTo>
                    <a:pt x="1296" y="1056"/>
                  </a:lnTo>
                  <a:lnTo>
                    <a:pt x="1296" y="1080"/>
                  </a:lnTo>
                  <a:lnTo>
                    <a:pt x="1290" y="1080"/>
                  </a:lnTo>
                  <a:lnTo>
                    <a:pt x="1284" y="1086"/>
                  </a:lnTo>
                  <a:lnTo>
                    <a:pt x="1278" y="1086"/>
                  </a:lnTo>
                  <a:lnTo>
                    <a:pt x="1278" y="1092"/>
                  </a:lnTo>
                  <a:lnTo>
                    <a:pt x="1272" y="1092"/>
                  </a:lnTo>
                  <a:lnTo>
                    <a:pt x="1266" y="1086"/>
                  </a:lnTo>
                  <a:lnTo>
                    <a:pt x="1260" y="1086"/>
                  </a:lnTo>
                  <a:lnTo>
                    <a:pt x="1260" y="1098"/>
                  </a:lnTo>
                  <a:lnTo>
                    <a:pt x="1248" y="1098"/>
                  </a:lnTo>
                  <a:lnTo>
                    <a:pt x="1212" y="1116"/>
                  </a:lnTo>
                  <a:lnTo>
                    <a:pt x="1206" y="1158"/>
                  </a:lnTo>
                  <a:lnTo>
                    <a:pt x="1176" y="1164"/>
                  </a:lnTo>
                  <a:lnTo>
                    <a:pt x="1158" y="1164"/>
                  </a:lnTo>
                  <a:lnTo>
                    <a:pt x="1152" y="1164"/>
                  </a:lnTo>
                  <a:lnTo>
                    <a:pt x="1152" y="1170"/>
                  </a:lnTo>
                  <a:lnTo>
                    <a:pt x="1152" y="1176"/>
                  </a:lnTo>
                  <a:lnTo>
                    <a:pt x="1146" y="1176"/>
                  </a:lnTo>
                  <a:lnTo>
                    <a:pt x="1140" y="1176"/>
                  </a:lnTo>
                  <a:lnTo>
                    <a:pt x="1134" y="1182"/>
                  </a:lnTo>
                  <a:lnTo>
                    <a:pt x="1134" y="1188"/>
                  </a:lnTo>
                  <a:lnTo>
                    <a:pt x="1128" y="1194"/>
                  </a:lnTo>
                  <a:lnTo>
                    <a:pt x="1122" y="1194"/>
                  </a:lnTo>
                  <a:lnTo>
                    <a:pt x="1116" y="1194"/>
                  </a:lnTo>
                  <a:lnTo>
                    <a:pt x="1110" y="1200"/>
                  </a:lnTo>
                  <a:lnTo>
                    <a:pt x="1110" y="1206"/>
                  </a:lnTo>
                  <a:lnTo>
                    <a:pt x="1104" y="1212"/>
                  </a:lnTo>
                  <a:lnTo>
                    <a:pt x="1104" y="1218"/>
                  </a:lnTo>
                  <a:lnTo>
                    <a:pt x="1098" y="1224"/>
                  </a:lnTo>
                  <a:lnTo>
                    <a:pt x="1092" y="1230"/>
                  </a:lnTo>
                  <a:lnTo>
                    <a:pt x="1086" y="1230"/>
                  </a:lnTo>
                  <a:lnTo>
                    <a:pt x="1080" y="1230"/>
                  </a:lnTo>
                  <a:lnTo>
                    <a:pt x="1080" y="1242"/>
                  </a:lnTo>
                  <a:lnTo>
                    <a:pt x="1074" y="1242"/>
                  </a:lnTo>
                  <a:lnTo>
                    <a:pt x="1068" y="1242"/>
                  </a:lnTo>
                  <a:lnTo>
                    <a:pt x="1068" y="1236"/>
                  </a:lnTo>
                  <a:lnTo>
                    <a:pt x="1062" y="1242"/>
                  </a:lnTo>
                  <a:lnTo>
                    <a:pt x="1056" y="1236"/>
                  </a:lnTo>
                  <a:lnTo>
                    <a:pt x="1050" y="1242"/>
                  </a:lnTo>
                  <a:lnTo>
                    <a:pt x="1050" y="1236"/>
                  </a:lnTo>
                  <a:lnTo>
                    <a:pt x="1044" y="1194"/>
                  </a:lnTo>
                  <a:lnTo>
                    <a:pt x="1032" y="1194"/>
                  </a:lnTo>
                  <a:lnTo>
                    <a:pt x="1032" y="1200"/>
                  </a:lnTo>
                  <a:lnTo>
                    <a:pt x="1026" y="1200"/>
                  </a:lnTo>
                  <a:lnTo>
                    <a:pt x="1014" y="1218"/>
                  </a:lnTo>
                  <a:lnTo>
                    <a:pt x="1014" y="1224"/>
                  </a:lnTo>
                  <a:lnTo>
                    <a:pt x="1014" y="1236"/>
                  </a:lnTo>
                  <a:lnTo>
                    <a:pt x="1014" y="1242"/>
                  </a:lnTo>
                  <a:lnTo>
                    <a:pt x="1008" y="1242"/>
                  </a:lnTo>
                  <a:lnTo>
                    <a:pt x="1002" y="1236"/>
                  </a:lnTo>
                  <a:lnTo>
                    <a:pt x="1002" y="1230"/>
                  </a:lnTo>
                  <a:lnTo>
                    <a:pt x="996" y="1236"/>
                  </a:lnTo>
                  <a:lnTo>
                    <a:pt x="990" y="1236"/>
                  </a:lnTo>
                  <a:lnTo>
                    <a:pt x="990" y="1230"/>
                  </a:lnTo>
                  <a:lnTo>
                    <a:pt x="984" y="1236"/>
                  </a:lnTo>
                  <a:lnTo>
                    <a:pt x="978" y="1248"/>
                  </a:lnTo>
                  <a:lnTo>
                    <a:pt x="972" y="1254"/>
                  </a:lnTo>
                  <a:lnTo>
                    <a:pt x="966" y="1260"/>
                  </a:lnTo>
                  <a:lnTo>
                    <a:pt x="930" y="1284"/>
                  </a:lnTo>
                  <a:lnTo>
                    <a:pt x="942" y="1356"/>
                  </a:lnTo>
                  <a:lnTo>
                    <a:pt x="930" y="1368"/>
                  </a:lnTo>
                  <a:lnTo>
                    <a:pt x="852" y="1404"/>
                  </a:lnTo>
                  <a:lnTo>
                    <a:pt x="834" y="1392"/>
                  </a:lnTo>
                  <a:lnTo>
                    <a:pt x="834" y="1362"/>
                  </a:lnTo>
                  <a:lnTo>
                    <a:pt x="828" y="1332"/>
                  </a:lnTo>
                  <a:lnTo>
                    <a:pt x="810" y="1308"/>
                  </a:lnTo>
                  <a:lnTo>
                    <a:pt x="810" y="1284"/>
                  </a:lnTo>
                  <a:lnTo>
                    <a:pt x="816" y="1266"/>
                  </a:lnTo>
                  <a:lnTo>
                    <a:pt x="822" y="1254"/>
                  </a:lnTo>
                  <a:lnTo>
                    <a:pt x="822" y="1242"/>
                  </a:lnTo>
                  <a:lnTo>
                    <a:pt x="810" y="1230"/>
                  </a:lnTo>
                  <a:lnTo>
                    <a:pt x="804" y="1218"/>
                  </a:lnTo>
                  <a:lnTo>
                    <a:pt x="804" y="1212"/>
                  </a:lnTo>
                  <a:lnTo>
                    <a:pt x="804" y="1206"/>
                  </a:lnTo>
                  <a:lnTo>
                    <a:pt x="816" y="1194"/>
                  </a:lnTo>
                  <a:lnTo>
                    <a:pt x="822" y="1188"/>
                  </a:lnTo>
                  <a:lnTo>
                    <a:pt x="828" y="1170"/>
                  </a:lnTo>
                  <a:lnTo>
                    <a:pt x="840" y="1152"/>
                  </a:lnTo>
                  <a:lnTo>
                    <a:pt x="846" y="1146"/>
                  </a:lnTo>
                  <a:lnTo>
                    <a:pt x="846" y="1134"/>
                  </a:lnTo>
                  <a:lnTo>
                    <a:pt x="852" y="1128"/>
                  </a:lnTo>
                  <a:lnTo>
                    <a:pt x="846" y="1116"/>
                  </a:lnTo>
                  <a:lnTo>
                    <a:pt x="840" y="1098"/>
                  </a:lnTo>
                  <a:lnTo>
                    <a:pt x="840" y="1086"/>
                  </a:lnTo>
                  <a:lnTo>
                    <a:pt x="846" y="1074"/>
                  </a:lnTo>
                  <a:lnTo>
                    <a:pt x="852" y="1068"/>
                  </a:lnTo>
                  <a:lnTo>
                    <a:pt x="864" y="1038"/>
                  </a:lnTo>
                  <a:lnTo>
                    <a:pt x="870" y="1020"/>
                  </a:lnTo>
                  <a:lnTo>
                    <a:pt x="864" y="1008"/>
                  </a:lnTo>
                  <a:lnTo>
                    <a:pt x="858" y="990"/>
                  </a:lnTo>
                  <a:lnTo>
                    <a:pt x="852" y="954"/>
                  </a:lnTo>
                  <a:lnTo>
                    <a:pt x="846" y="948"/>
                  </a:lnTo>
                  <a:lnTo>
                    <a:pt x="834" y="936"/>
                  </a:lnTo>
                  <a:lnTo>
                    <a:pt x="828" y="924"/>
                  </a:lnTo>
                  <a:lnTo>
                    <a:pt x="756" y="942"/>
                  </a:lnTo>
                  <a:lnTo>
                    <a:pt x="744" y="936"/>
                  </a:lnTo>
                  <a:lnTo>
                    <a:pt x="744" y="930"/>
                  </a:lnTo>
                  <a:lnTo>
                    <a:pt x="738" y="924"/>
                  </a:lnTo>
                  <a:lnTo>
                    <a:pt x="744" y="924"/>
                  </a:lnTo>
                  <a:lnTo>
                    <a:pt x="738" y="918"/>
                  </a:lnTo>
                  <a:lnTo>
                    <a:pt x="732" y="912"/>
                  </a:lnTo>
                  <a:lnTo>
                    <a:pt x="732" y="906"/>
                  </a:lnTo>
                  <a:lnTo>
                    <a:pt x="732" y="894"/>
                  </a:lnTo>
                  <a:lnTo>
                    <a:pt x="726" y="888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6"/>
                  </a:lnTo>
                  <a:lnTo>
                    <a:pt x="690" y="882"/>
                  </a:lnTo>
                  <a:lnTo>
                    <a:pt x="684" y="864"/>
                  </a:lnTo>
                  <a:lnTo>
                    <a:pt x="684" y="852"/>
                  </a:lnTo>
                  <a:lnTo>
                    <a:pt x="672" y="852"/>
                  </a:lnTo>
                  <a:lnTo>
                    <a:pt x="654" y="852"/>
                  </a:lnTo>
                  <a:lnTo>
                    <a:pt x="642" y="846"/>
                  </a:lnTo>
                  <a:lnTo>
                    <a:pt x="636" y="834"/>
                  </a:lnTo>
                  <a:lnTo>
                    <a:pt x="630" y="822"/>
                  </a:lnTo>
                  <a:lnTo>
                    <a:pt x="618" y="822"/>
                  </a:lnTo>
                  <a:lnTo>
                    <a:pt x="618" y="816"/>
                  </a:lnTo>
                  <a:lnTo>
                    <a:pt x="618" y="810"/>
                  </a:lnTo>
                  <a:lnTo>
                    <a:pt x="612" y="810"/>
                  </a:lnTo>
                  <a:lnTo>
                    <a:pt x="606" y="804"/>
                  </a:lnTo>
                  <a:lnTo>
                    <a:pt x="594" y="804"/>
                  </a:lnTo>
                  <a:lnTo>
                    <a:pt x="588" y="810"/>
                  </a:lnTo>
                  <a:lnTo>
                    <a:pt x="588" y="804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70" y="810"/>
                  </a:lnTo>
                  <a:lnTo>
                    <a:pt x="564" y="816"/>
                  </a:lnTo>
                  <a:lnTo>
                    <a:pt x="558" y="816"/>
                  </a:lnTo>
                  <a:lnTo>
                    <a:pt x="552" y="822"/>
                  </a:lnTo>
                  <a:lnTo>
                    <a:pt x="546" y="828"/>
                  </a:lnTo>
                  <a:lnTo>
                    <a:pt x="546" y="834"/>
                  </a:lnTo>
                  <a:lnTo>
                    <a:pt x="528" y="834"/>
                  </a:lnTo>
                  <a:lnTo>
                    <a:pt x="516" y="822"/>
                  </a:lnTo>
                  <a:lnTo>
                    <a:pt x="504" y="822"/>
                  </a:lnTo>
                  <a:lnTo>
                    <a:pt x="492" y="82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6" y="792"/>
                  </a:lnTo>
                  <a:lnTo>
                    <a:pt x="492" y="786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504" y="780"/>
                  </a:lnTo>
                  <a:lnTo>
                    <a:pt x="510" y="780"/>
                  </a:lnTo>
                  <a:lnTo>
                    <a:pt x="522" y="768"/>
                  </a:lnTo>
                  <a:lnTo>
                    <a:pt x="522" y="762"/>
                  </a:lnTo>
                  <a:lnTo>
                    <a:pt x="504" y="756"/>
                  </a:lnTo>
                  <a:lnTo>
                    <a:pt x="498" y="756"/>
                  </a:lnTo>
                  <a:lnTo>
                    <a:pt x="498" y="744"/>
                  </a:lnTo>
                  <a:lnTo>
                    <a:pt x="492" y="738"/>
                  </a:lnTo>
                  <a:lnTo>
                    <a:pt x="480" y="738"/>
                  </a:lnTo>
                  <a:lnTo>
                    <a:pt x="474" y="738"/>
                  </a:lnTo>
                  <a:lnTo>
                    <a:pt x="456" y="738"/>
                  </a:lnTo>
                  <a:lnTo>
                    <a:pt x="438" y="738"/>
                  </a:lnTo>
                  <a:lnTo>
                    <a:pt x="432" y="750"/>
                  </a:lnTo>
                  <a:lnTo>
                    <a:pt x="426" y="756"/>
                  </a:lnTo>
                  <a:lnTo>
                    <a:pt x="426" y="762"/>
                  </a:lnTo>
                  <a:lnTo>
                    <a:pt x="420" y="762"/>
                  </a:lnTo>
                  <a:lnTo>
                    <a:pt x="408" y="744"/>
                  </a:lnTo>
                  <a:lnTo>
                    <a:pt x="408" y="732"/>
                  </a:lnTo>
                  <a:lnTo>
                    <a:pt x="390" y="714"/>
                  </a:lnTo>
                  <a:lnTo>
                    <a:pt x="384" y="702"/>
                  </a:lnTo>
                  <a:lnTo>
                    <a:pt x="384" y="690"/>
                  </a:lnTo>
                  <a:lnTo>
                    <a:pt x="372" y="690"/>
                  </a:lnTo>
                  <a:lnTo>
                    <a:pt x="366" y="660"/>
                  </a:lnTo>
                  <a:lnTo>
                    <a:pt x="354" y="630"/>
                  </a:lnTo>
                  <a:lnTo>
                    <a:pt x="348" y="630"/>
                  </a:lnTo>
                  <a:lnTo>
                    <a:pt x="336" y="630"/>
                  </a:lnTo>
                  <a:lnTo>
                    <a:pt x="330" y="630"/>
                  </a:lnTo>
                  <a:lnTo>
                    <a:pt x="318" y="630"/>
                  </a:lnTo>
                  <a:lnTo>
                    <a:pt x="312" y="624"/>
                  </a:lnTo>
                  <a:lnTo>
                    <a:pt x="306" y="624"/>
                  </a:lnTo>
                  <a:lnTo>
                    <a:pt x="294" y="618"/>
                  </a:lnTo>
                  <a:lnTo>
                    <a:pt x="288" y="612"/>
                  </a:lnTo>
                  <a:lnTo>
                    <a:pt x="276" y="600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58" y="588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8"/>
                  </a:lnTo>
                  <a:lnTo>
                    <a:pt x="216" y="582"/>
                  </a:lnTo>
                  <a:lnTo>
                    <a:pt x="210" y="588"/>
                  </a:lnTo>
                  <a:lnTo>
                    <a:pt x="198" y="582"/>
                  </a:lnTo>
                  <a:lnTo>
                    <a:pt x="180" y="582"/>
                  </a:lnTo>
                  <a:lnTo>
                    <a:pt x="174" y="552"/>
                  </a:lnTo>
                  <a:lnTo>
                    <a:pt x="168" y="504"/>
                  </a:lnTo>
                  <a:lnTo>
                    <a:pt x="186" y="504"/>
                  </a:lnTo>
                  <a:lnTo>
                    <a:pt x="192" y="504"/>
                  </a:lnTo>
                  <a:lnTo>
                    <a:pt x="192" y="498"/>
                  </a:lnTo>
                  <a:lnTo>
                    <a:pt x="192" y="492"/>
                  </a:lnTo>
                  <a:lnTo>
                    <a:pt x="192" y="486"/>
                  </a:lnTo>
                  <a:lnTo>
                    <a:pt x="198" y="486"/>
                  </a:lnTo>
                  <a:lnTo>
                    <a:pt x="198" y="480"/>
                  </a:lnTo>
                  <a:lnTo>
                    <a:pt x="204" y="474"/>
                  </a:lnTo>
                  <a:lnTo>
                    <a:pt x="210" y="468"/>
                  </a:lnTo>
                  <a:lnTo>
                    <a:pt x="198" y="462"/>
                  </a:lnTo>
                  <a:lnTo>
                    <a:pt x="192" y="444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32"/>
                  </a:lnTo>
                  <a:lnTo>
                    <a:pt x="168" y="438"/>
                  </a:lnTo>
                  <a:lnTo>
                    <a:pt x="150" y="450"/>
                  </a:lnTo>
                  <a:lnTo>
                    <a:pt x="144" y="456"/>
                  </a:lnTo>
                  <a:lnTo>
                    <a:pt x="132" y="456"/>
                  </a:lnTo>
                  <a:lnTo>
                    <a:pt x="126" y="468"/>
                  </a:lnTo>
                  <a:lnTo>
                    <a:pt x="114" y="468"/>
                  </a:lnTo>
                  <a:lnTo>
                    <a:pt x="108" y="468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14"/>
                  </a:lnTo>
                  <a:lnTo>
                    <a:pt x="108" y="396"/>
                  </a:lnTo>
                  <a:lnTo>
                    <a:pt x="120" y="396"/>
                  </a:lnTo>
                  <a:lnTo>
                    <a:pt x="126" y="384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84" y="354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0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60" y="318"/>
                  </a:lnTo>
                  <a:lnTo>
                    <a:pt x="42" y="324"/>
                  </a:lnTo>
                  <a:lnTo>
                    <a:pt x="36" y="318"/>
                  </a:lnTo>
                  <a:lnTo>
                    <a:pt x="36" y="312"/>
                  </a:lnTo>
                  <a:lnTo>
                    <a:pt x="36" y="306"/>
                  </a:lnTo>
                  <a:lnTo>
                    <a:pt x="36" y="300"/>
                  </a:lnTo>
                  <a:lnTo>
                    <a:pt x="30" y="300"/>
                  </a:lnTo>
                  <a:lnTo>
                    <a:pt x="30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24" y="276"/>
                  </a:lnTo>
                  <a:lnTo>
                    <a:pt x="18" y="276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18" y="234"/>
                  </a:lnTo>
                  <a:lnTo>
                    <a:pt x="30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42" y="192"/>
                  </a:lnTo>
                  <a:lnTo>
                    <a:pt x="66" y="186"/>
                  </a:lnTo>
                  <a:lnTo>
                    <a:pt x="90" y="156"/>
                  </a:lnTo>
                  <a:lnTo>
                    <a:pt x="102" y="144"/>
                  </a:lnTo>
                  <a:lnTo>
                    <a:pt x="138" y="150"/>
                  </a:lnTo>
                  <a:lnTo>
                    <a:pt x="162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0" y="180"/>
                  </a:lnTo>
                  <a:lnTo>
                    <a:pt x="174" y="180"/>
                  </a:lnTo>
                  <a:lnTo>
                    <a:pt x="180" y="186"/>
                  </a:lnTo>
                  <a:lnTo>
                    <a:pt x="186" y="186"/>
                  </a:lnTo>
                  <a:lnTo>
                    <a:pt x="198" y="192"/>
                  </a:lnTo>
                  <a:lnTo>
                    <a:pt x="216" y="198"/>
                  </a:lnTo>
                  <a:lnTo>
                    <a:pt x="252" y="204"/>
                  </a:lnTo>
                  <a:lnTo>
                    <a:pt x="258" y="210"/>
                  </a:lnTo>
                  <a:lnTo>
                    <a:pt x="306" y="216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84" y="210"/>
                  </a:lnTo>
                  <a:lnTo>
                    <a:pt x="408" y="222"/>
                  </a:lnTo>
                  <a:lnTo>
                    <a:pt x="438" y="228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86" y="222"/>
                  </a:lnTo>
                  <a:lnTo>
                    <a:pt x="492" y="210"/>
                  </a:lnTo>
                  <a:lnTo>
                    <a:pt x="492" y="198"/>
                  </a:lnTo>
                  <a:lnTo>
                    <a:pt x="486" y="180"/>
                  </a:lnTo>
                  <a:lnTo>
                    <a:pt x="492" y="162"/>
                  </a:lnTo>
                  <a:lnTo>
                    <a:pt x="510" y="96"/>
                  </a:lnTo>
                  <a:lnTo>
                    <a:pt x="516" y="84"/>
                  </a:lnTo>
                  <a:lnTo>
                    <a:pt x="522" y="84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34" y="72"/>
                  </a:lnTo>
                  <a:lnTo>
                    <a:pt x="534" y="60"/>
                  </a:lnTo>
                  <a:lnTo>
                    <a:pt x="540" y="36"/>
                  </a:lnTo>
                  <a:lnTo>
                    <a:pt x="546" y="6"/>
                  </a:lnTo>
                  <a:lnTo>
                    <a:pt x="558" y="6"/>
                  </a:lnTo>
                  <a:lnTo>
                    <a:pt x="564" y="0"/>
                  </a:lnTo>
                  <a:lnTo>
                    <a:pt x="582" y="0"/>
                  </a:lnTo>
                  <a:lnTo>
                    <a:pt x="588" y="0"/>
                  </a:lnTo>
                  <a:lnTo>
                    <a:pt x="594" y="6"/>
                  </a:lnTo>
                  <a:lnTo>
                    <a:pt x="600" y="12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24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36" y="36"/>
                  </a:lnTo>
                  <a:lnTo>
                    <a:pt x="642" y="36"/>
                  </a:lnTo>
                  <a:lnTo>
                    <a:pt x="642" y="42"/>
                  </a:lnTo>
                  <a:lnTo>
                    <a:pt x="648" y="54"/>
                  </a:lnTo>
                  <a:lnTo>
                    <a:pt x="660" y="72"/>
                  </a:lnTo>
                  <a:lnTo>
                    <a:pt x="666" y="78"/>
                  </a:lnTo>
                  <a:lnTo>
                    <a:pt x="672" y="90"/>
                  </a:lnTo>
                  <a:lnTo>
                    <a:pt x="678" y="102"/>
                  </a:lnTo>
                  <a:lnTo>
                    <a:pt x="678" y="114"/>
                  </a:lnTo>
                  <a:lnTo>
                    <a:pt x="684" y="132"/>
                  </a:lnTo>
                  <a:lnTo>
                    <a:pt x="684" y="144"/>
                  </a:lnTo>
                  <a:lnTo>
                    <a:pt x="690" y="162"/>
                  </a:lnTo>
                  <a:lnTo>
                    <a:pt x="696" y="168"/>
                  </a:lnTo>
                  <a:lnTo>
                    <a:pt x="696" y="180"/>
                  </a:lnTo>
                  <a:lnTo>
                    <a:pt x="702" y="186"/>
                  </a:lnTo>
                  <a:lnTo>
                    <a:pt x="708" y="186"/>
                  </a:lnTo>
                  <a:lnTo>
                    <a:pt x="714" y="198"/>
                  </a:lnTo>
                  <a:lnTo>
                    <a:pt x="720" y="198"/>
                  </a:lnTo>
                  <a:lnTo>
                    <a:pt x="732" y="204"/>
                  </a:lnTo>
                  <a:lnTo>
                    <a:pt x="738" y="210"/>
                  </a:lnTo>
                  <a:lnTo>
                    <a:pt x="738" y="216"/>
                  </a:lnTo>
                  <a:lnTo>
                    <a:pt x="744" y="222"/>
                  </a:lnTo>
                  <a:lnTo>
                    <a:pt x="750" y="228"/>
                  </a:lnTo>
                  <a:lnTo>
                    <a:pt x="756" y="228"/>
                  </a:lnTo>
                  <a:lnTo>
                    <a:pt x="768" y="240"/>
                  </a:lnTo>
                  <a:lnTo>
                    <a:pt x="774" y="252"/>
                  </a:lnTo>
                  <a:lnTo>
                    <a:pt x="780" y="258"/>
                  </a:lnTo>
                  <a:lnTo>
                    <a:pt x="786" y="258"/>
                  </a:lnTo>
                  <a:lnTo>
                    <a:pt x="798" y="264"/>
                  </a:lnTo>
                  <a:lnTo>
                    <a:pt x="798" y="270"/>
                  </a:lnTo>
                  <a:lnTo>
                    <a:pt x="798" y="276"/>
                  </a:lnTo>
                  <a:lnTo>
                    <a:pt x="810" y="288"/>
                  </a:lnTo>
                  <a:lnTo>
                    <a:pt x="816" y="288"/>
                  </a:lnTo>
                  <a:lnTo>
                    <a:pt x="816" y="300"/>
                  </a:lnTo>
                  <a:lnTo>
                    <a:pt x="816" y="306"/>
                  </a:lnTo>
                  <a:lnTo>
                    <a:pt x="822" y="318"/>
                  </a:lnTo>
                  <a:lnTo>
                    <a:pt x="828" y="324"/>
                  </a:lnTo>
                  <a:lnTo>
                    <a:pt x="834" y="330"/>
                  </a:lnTo>
                  <a:lnTo>
                    <a:pt x="846" y="336"/>
                  </a:lnTo>
                  <a:lnTo>
                    <a:pt x="846" y="342"/>
                  </a:lnTo>
                  <a:lnTo>
                    <a:pt x="852" y="348"/>
                  </a:lnTo>
                  <a:lnTo>
                    <a:pt x="852" y="354"/>
                  </a:lnTo>
                  <a:lnTo>
                    <a:pt x="858" y="354"/>
                  </a:lnTo>
                  <a:lnTo>
                    <a:pt x="858" y="348"/>
                  </a:lnTo>
                  <a:lnTo>
                    <a:pt x="864" y="342"/>
                  </a:lnTo>
                  <a:lnTo>
                    <a:pt x="864" y="336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76" y="306"/>
                  </a:lnTo>
                  <a:lnTo>
                    <a:pt x="870" y="300"/>
                  </a:lnTo>
                  <a:lnTo>
                    <a:pt x="870" y="294"/>
                  </a:lnTo>
                  <a:lnTo>
                    <a:pt x="876" y="294"/>
                  </a:lnTo>
                  <a:lnTo>
                    <a:pt x="882" y="300"/>
                  </a:lnTo>
                  <a:lnTo>
                    <a:pt x="888" y="300"/>
                  </a:lnTo>
                  <a:lnTo>
                    <a:pt x="888" y="306"/>
                  </a:lnTo>
                  <a:lnTo>
                    <a:pt x="894" y="300"/>
                  </a:lnTo>
                  <a:lnTo>
                    <a:pt x="900" y="294"/>
                  </a:lnTo>
                  <a:lnTo>
                    <a:pt x="894" y="288"/>
                  </a:lnTo>
                  <a:lnTo>
                    <a:pt x="888" y="282"/>
                  </a:lnTo>
                  <a:lnTo>
                    <a:pt x="888" y="276"/>
                  </a:lnTo>
                  <a:lnTo>
                    <a:pt x="894" y="276"/>
                  </a:lnTo>
                  <a:lnTo>
                    <a:pt x="900" y="276"/>
                  </a:lnTo>
                  <a:lnTo>
                    <a:pt x="900" y="270"/>
                  </a:lnTo>
                  <a:lnTo>
                    <a:pt x="906" y="264"/>
                  </a:lnTo>
                  <a:lnTo>
                    <a:pt x="906" y="258"/>
                  </a:lnTo>
                  <a:lnTo>
                    <a:pt x="918" y="264"/>
                  </a:lnTo>
                  <a:lnTo>
                    <a:pt x="918" y="258"/>
                  </a:lnTo>
                  <a:lnTo>
                    <a:pt x="924" y="252"/>
                  </a:lnTo>
                  <a:lnTo>
                    <a:pt x="930" y="252"/>
                  </a:lnTo>
                  <a:lnTo>
                    <a:pt x="930" y="246"/>
                  </a:lnTo>
                  <a:lnTo>
                    <a:pt x="936" y="234"/>
                  </a:lnTo>
                  <a:lnTo>
                    <a:pt x="942" y="228"/>
                  </a:lnTo>
                  <a:lnTo>
                    <a:pt x="942" y="222"/>
                  </a:lnTo>
                  <a:lnTo>
                    <a:pt x="948" y="222"/>
                  </a:lnTo>
                  <a:lnTo>
                    <a:pt x="948" y="216"/>
                  </a:lnTo>
                  <a:lnTo>
                    <a:pt x="942" y="216"/>
                  </a:lnTo>
                  <a:lnTo>
                    <a:pt x="936" y="216"/>
                  </a:lnTo>
                  <a:lnTo>
                    <a:pt x="936" y="210"/>
                  </a:lnTo>
                  <a:lnTo>
                    <a:pt x="942" y="210"/>
                  </a:lnTo>
                  <a:lnTo>
                    <a:pt x="972" y="210"/>
                  </a:lnTo>
                  <a:lnTo>
                    <a:pt x="1032" y="216"/>
                  </a:lnTo>
                  <a:lnTo>
                    <a:pt x="1068" y="216"/>
                  </a:lnTo>
                  <a:lnTo>
                    <a:pt x="1056" y="234"/>
                  </a:lnTo>
                  <a:lnTo>
                    <a:pt x="1050" y="240"/>
                  </a:lnTo>
                  <a:lnTo>
                    <a:pt x="1044" y="246"/>
                  </a:lnTo>
                  <a:lnTo>
                    <a:pt x="1038" y="246"/>
                  </a:lnTo>
                  <a:lnTo>
                    <a:pt x="1026" y="282"/>
                  </a:lnTo>
                  <a:lnTo>
                    <a:pt x="1032" y="306"/>
                  </a:lnTo>
                  <a:lnTo>
                    <a:pt x="1044" y="324"/>
                  </a:lnTo>
                  <a:lnTo>
                    <a:pt x="1044" y="342"/>
                  </a:lnTo>
                  <a:lnTo>
                    <a:pt x="1062" y="366"/>
                  </a:lnTo>
                  <a:lnTo>
                    <a:pt x="1056" y="396"/>
                  </a:lnTo>
                  <a:lnTo>
                    <a:pt x="1038" y="462"/>
                  </a:lnTo>
                  <a:lnTo>
                    <a:pt x="1038" y="498"/>
                  </a:lnTo>
                  <a:lnTo>
                    <a:pt x="1038" y="522"/>
                  </a:lnTo>
                  <a:lnTo>
                    <a:pt x="1038" y="534"/>
                  </a:lnTo>
                  <a:lnTo>
                    <a:pt x="1056" y="522"/>
                  </a:lnTo>
                  <a:lnTo>
                    <a:pt x="1098" y="504"/>
                  </a:lnTo>
                  <a:lnTo>
                    <a:pt x="1104" y="498"/>
                  </a:lnTo>
                  <a:lnTo>
                    <a:pt x="1128" y="492"/>
                  </a:lnTo>
                  <a:lnTo>
                    <a:pt x="1152" y="480"/>
                  </a:lnTo>
                  <a:lnTo>
                    <a:pt x="1170" y="474"/>
                  </a:lnTo>
                  <a:lnTo>
                    <a:pt x="1188" y="468"/>
                  </a:lnTo>
                  <a:lnTo>
                    <a:pt x="1200" y="462"/>
                  </a:lnTo>
                  <a:lnTo>
                    <a:pt x="1224" y="450"/>
                  </a:lnTo>
                  <a:lnTo>
                    <a:pt x="1248" y="450"/>
                  </a:lnTo>
                  <a:lnTo>
                    <a:pt x="1266" y="450"/>
                  </a:lnTo>
                  <a:lnTo>
                    <a:pt x="1296" y="456"/>
                  </a:lnTo>
                  <a:lnTo>
                    <a:pt x="1308" y="456"/>
                  </a:lnTo>
                  <a:lnTo>
                    <a:pt x="1326" y="456"/>
                  </a:lnTo>
                  <a:lnTo>
                    <a:pt x="1338" y="456"/>
                  </a:lnTo>
                  <a:lnTo>
                    <a:pt x="1350" y="462"/>
                  </a:lnTo>
                  <a:lnTo>
                    <a:pt x="1356" y="462"/>
                  </a:lnTo>
                  <a:lnTo>
                    <a:pt x="1374" y="456"/>
                  </a:lnTo>
                  <a:lnTo>
                    <a:pt x="1386" y="456"/>
                  </a:lnTo>
                  <a:lnTo>
                    <a:pt x="1392" y="456"/>
                  </a:lnTo>
                  <a:lnTo>
                    <a:pt x="1398" y="456"/>
                  </a:lnTo>
                  <a:lnTo>
                    <a:pt x="1422" y="456"/>
                  </a:lnTo>
                  <a:lnTo>
                    <a:pt x="1440" y="456"/>
                  </a:lnTo>
                  <a:lnTo>
                    <a:pt x="1446" y="456"/>
                  </a:lnTo>
                  <a:lnTo>
                    <a:pt x="1476" y="456"/>
                  </a:lnTo>
                  <a:lnTo>
                    <a:pt x="1470" y="468"/>
                  </a:lnTo>
                  <a:lnTo>
                    <a:pt x="1470" y="474"/>
                  </a:lnTo>
                  <a:lnTo>
                    <a:pt x="1470" y="486"/>
                  </a:lnTo>
                  <a:lnTo>
                    <a:pt x="1464" y="492"/>
                  </a:lnTo>
                  <a:lnTo>
                    <a:pt x="1464" y="498"/>
                  </a:lnTo>
                  <a:lnTo>
                    <a:pt x="1458" y="498"/>
                  </a:lnTo>
                  <a:lnTo>
                    <a:pt x="1458" y="510"/>
                  </a:lnTo>
                  <a:lnTo>
                    <a:pt x="1452" y="522"/>
                  </a:lnTo>
                  <a:lnTo>
                    <a:pt x="1458" y="528"/>
                  </a:lnTo>
                  <a:lnTo>
                    <a:pt x="1464" y="546"/>
                  </a:lnTo>
                  <a:lnTo>
                    <a:pt x="1470" y="552"/>
                  </a:lnTo>
                  <a:lnTo>
                    <a:pt x="1476" y="564"/>
                  </a:lnTo>
                  <a:lnTo>
                    <a:pt x="1488" y="588"/>
                  </a:lnTo>
                  <a:lnTo>
                    <a:pt x="1506" y="606"/>
                  </a:lnTo>
                  <a:lnTo>
                    <a:pt x="1506" y="612"/>
                  </a:lnTo>
                  <a:lnTo>
                    <a:pt x="1518" y="618"/>
                  </a:lnTo>
                  <a:lnTo>
                    <a:pt x="1512" y="630"/>
                  </a:lnTo>
                  <a:lnTo>
                    <a:pt x="1518" y="642"/>
                  </a:lnTo>
                  <a:lnTo>
                    <a:pt x="1518" y="648"/>
                  </a:lnTo>
                  <a:lnTo>
                    <a:pt x="1530" y="666"/>
                  </a:lnTo>
                  <a:lnTo>
                    <a:pt x="1518" y="672"/>
                  </a:lnTo>
                  <a:lnTo>
                    <a:pt x="1524" y="696"/>
                  </a:lnTo>
                  <a:lnTo>
                    <a:pt x="1518" y="732"/>
                  </a:lnTo>
                  <a:lnTo>
                    <a:pt x="1524" y="762"/>
                  </a:lnTo>
                  <a:lnTo>
                    <a:pt x="1524" y="780"/>
                  </a:lnTo>
                  <a:lnTo>
                    <a:pt x="1524" y="810"/>
                  </a:lnTo>
                  <a:lnTo>
                    <a:pt x="1530" y="834"/>
                  </a:lnTo>
                  <a:lnTo>
                    <a:pt x="1536" y="846"/>
                  </a:lnTo>
                  <a:lnTo>
                    <a:pt x="1542" y="846"/>
                  </a:lnTo>
                  <a:lnTo>
                    <a:pt x="1584" y="840"/>
                  </a:lnTo>
                  <a:lnTo>
                    <a:pt x="1590" y="846"/>
                  </a:lnTo>
                  <a:lnTo>
                    <a:pt x="1596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90" y="864"/>
                  </a:lnTo>
                  <a:lnTo>
                    <a:pt x="1578" y="882"/>
                  </a:lnTo>
                  <a:lnTo>
                    <a:pt x="1572" y="906"/>
                  </a:lnTo>
                  <a:lnTo>
                    <a:pt x="1560" y="924"/>
                  </a:lnTo>
                  <a:lnTo>
                    <a:pt x="1560" y="936"/>
                  </a:lnTo>
                  <a:lnTo>
                    <a:pt x="1548" y="960"/>
                  </a:lnTo>
                  <a:lnTo>
                    <a:pt x="1542" y="978"/>
                  </a:lnTo>
                  <a:lnTo>
                    <a:pt x="1536" y="990"/>
                  </a:lnTo>
                  <a:lnTo>
                    <a:pt x="1530" y="990"/>
                  </a:lnTo>
                  <a:lnTo>
                    <a:pt x="1506" y="996"/>
                  </a:lnTo>
                  <a:lnTo>
                    <a:pt x="1494" y="1002"/>
                  </a:lnTo>
                  <a:lnTo>
                    <a:pt x="1482" y="1002"/>
                  </a:lnTo>
                  <a:lnTo>
                    <a:pt x="1464" y="1008"/>
                  </a:lnTo>
                  <a:lnTo>
                    <a:pt x="1446" y="1026"/>
                  </a:lnTo>
                  <a:lnTo>
                    <a:pt x="1440" y="1026"/>
                  </a:lnTo>
                  <a:lnTo>
                    <a:pt x="1434" y="1038"/>
                  </a:lnTo>
                  <a:lnTo>
                    <a:pt x="1428" y="1044"/>
                  </a:lnTo>
                  <a:lnTo>
                    <a:pt x="1428" y="1062"/>
                  </a:lnTo>
                  <a:lnTo>
                    <a:pt x="1428" y="1086"/>
                  </a:lnTo>
                  <a:lnTo>
                    <a:pt x="1416" y="1092"/>
                  </a:lnTo>
                  <a:lnTo>
                    <a:pt x="1410" y="1080"/>
                  </a:lnTo>
                  <a:lnTo>
                    <a:pt x="1392" y="10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0" name="Freeform 25">
              <a:extLst>
                <a:ext uri="{FF2B5EF4-FFF2-40B4-BE49-F238E27FC236}">
                  <a16:creationId xmlns:a16="http://schemas.microsoft.com/office/drawing/2014/main" id="{39FDFF90-5ACF-4D65-81AD-C44D2CBE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70228" y="3063559"/>
              <a:ext cx="644023" cy="704498"/>
            </a:xfrm>
            <a:custGeom>
              <a:avLst/>
              <a:gdLst>
                <a:gd name="T0" fmla="*/ 74 w 1212"/>
                <a:gd name="T1" fmla="*/ 113 h 1326"/>
                <a:gd name="T2" fmla="*/ 60 w 1212"/>
                <a:gd name="T3" fmla="*/ 116 h 1326"/>
                <a:gd name="T4" fmla="*/ 62 w 1212"/>
                <a:gd name="T5" fmla="*/ 110 h 1326"/>
                <a:gd name="T6" fmla="*/ 60 w 1212"/>
                <a:gd name="T7" fmla="*/ 105 h 1326"/>
                <a:gd name="T8" fmla="*/ 52 w 1212"/>
                <a:gd name="T9" fmla="*/ 96 h 1326"/>
                <a:gd name="T10" fmla="*/ 47 w 1212"/>
                <a:gd name="T11" fmla="*/ 98 h 1326"/>
                <a:gd name="T12" fmla="*/ 44 w 1212"/>
                <a:gd name="T13" fmla="*/ 93 h 1326"/>
                <a:gd name="T14" fmla="*/ 40 w 1212"/>
                <a:gd name="T15" fmla="*/ 96 h 1326"/>
                <a:gd name="T16" fmla="*/ 35 w 1212"/>
                <a:gd name="T17" fmla="*/ 102 h 1326"/>
                <a:gd name="T18" fmla="*/ 27 w 1212"/>
                <a:gd name="T19" fmla="*/ 100 h 1326"/>
                <a:gd name="T20" fmla="*/ 23 w 1212"/>
                <a:gd name="T21" fmla="*/ 96 h 1326"/>
                <a:gd name="T22" fmla="*/ 20 w 1212"/>
                <a:gd name="T23" fmla="*/ 90 h 1326"/>
                <a:gd name="T24" fmla="*/ 18 w 1212"/>
                <a:gd name="T25" fmla="*/ 89 h 1326"/>
                <a:gd name="T26" fmla="*/ 18 w 1212"/>
                <a:gd name="T27" fmla="*/ 85 h 1326"/>
                <a:gd name="T28" fmla="*/ 19 w 1212"/>
                <a:gd name="T29" fmla="*/ 83 h 1326"/>
                <a:gd name="T30" fmla="*/ 19 w 1212"/>
                <a:gd name="T31" fmla="*/ 82 h 1326"/>
                <a:gd name="T32" fmla="*/ 20 w 1212"/>
                <a:gd name="T33" fmla="*/ 79 h 1326"/>
                <a:gd name="T34" fmla="*/ 19 w 1212"/>
                <a:gd name="T35" fmla="*/ 75 h 1326"/>
                <a:gd name="T36" fmla="*/ 17 w 1212"/>
                <a:gd name="T37" fmla="*/ 77 h 1326"/>
                <a:gd name="T38" fmla="*/ 14 w 1212"/>
                <a:gd name="T39" fmla="*/ 76 h 1326"/>
                <a:gd name="T40" fmla="*/ 12 w 1212"/>
                <a:gd name="T41" fmla="*/ 71 h 1326"/>
                <a:gd name="T42" fmla="*/ 8 w 1212"/>
                <a:gd name="T43" fmla="*/ 69 h 1326"/>
                <a:gd name="T44" fmla="*/ 0 w 1212"/>
                <a:gd name="T45" fmla="*/ 72 h 1326"/>
                <a:gd name="T46" fmla="*/ 2 w 1212"/>
                <a:gd name="T47" fmla="*/ 67 h 1326"/>
                <a:gd name="T48" fmla="*/ 3 w 1212"/>
                <a:gd name="T49" fmla="*/ 61 h 1326"/>
                <a:gd name="T50" fmla="*/ 4 w 1212"/>
                <a:gd name="T51" fmla="*/ 56 h 1326"/>
                <a:gd name="T52" fmla="*/ 4 w 1212"/>
                <a:gd name="T53" fmla="*/ 52 h 1326"/>
                <a:gd name="T54" fmla="*/ 2 w 1212"/>
                <a:gd name="T55" fmla="*/ 47 h 1326"/>
                <a:gd name="T56" fmla="*/ 2 w 1212"/>
                <a:gd name="T57" fmla="*/ 42 h 1326"/>
                <a:gd name="T58" fmla="*/ 5 w 1212"/>
                <a:gd name="T59" fmla="*/ 39 h 1326"/>
                <a:gd name="T60" fmla="*/ 5 w 1212"/>
                <a:gd name="T61" fmla="*/ 35 h 1326"/>
                <a:gd name="T62" fmla="*/ 7 w 1212"/>
                <a:gd name="T63" fmla="*/ 31 h 1326"/>
                <a:gd name="T64" fmla="*/ 14 w 1212"/>
                <a:gd name="T65" fmla="*/ 31 h 1326"/>
                <a:gd name="T66" fmla="*/ 18 w 1212"/>
                <a:gd name="T67" fmla="*/ 27 h 1326"/>
                <a:gd name="T68" fmla="*/ 22 w 1212"/>
                <a:gd name="T69" fmla="*/ 24 h 1326"/>
                <a:gd name="T70" fmla="*/ 27 w 1212"/>
                <a:gd name="T71" fmla="*/ 20 h 1326"/>
                <a:gd name="T72" fmla="*/ 35 w 1212"/>
                <a:gd name="T73" fmla="*/ 21 h 1326"/>
                <a:gd name="T74" fmla="*/ 61 w 1212"/>
                <a:gd name="T75" fmla="*/ 8 h 1326"/>
                <a:gd name="T76" fmla="*/ 73 w 1212"/>
                <a:gd name="T77" fmla="*/ 4 h 1326"/>
                <a:gd name="T78" fmla="*/ 86 w 1212"/>
                <a:gd name="T79" fmla="*/ 12 h 1326"/>
                <a:gd name="T80" fmla="*/ 92 w 1212"/>
                <a:gd name="T81" fmla="*/ 13 h 1326"/>
                <a:gd name="T82" fmla="*/ 86 w 1212"/>
                <a:gd name="T83" fmla="*/ 18 h 1326"/>
                <a:gd name="T84" fmla="*/ 88 w 1212"/>
                <a:gd name="T85" fmla="*/ 33 h 1326"/>
                <a:gd name="T86" fmla="*/ 97 w 1212"/>
                <a:gd name="T87" fmla="*/ 49 h 1326"/>
                <a:gd name="T88" fmla="*/ 102 w 1212"/>
                <a:gd name="T89" fmla="*/ 57 h 1326"/>
                <a:gd name="T90" fmla="*/ 104 w 1212"/>
                <a:gd name="T91" fmla="*/ 67 h 1326"/>
                <a:gd name="T92" fmla="*/ 101 w 1212"/>
                <a:gd name="T93" fmla="*/ 69 h 1326"/>
                <a:gd name="T94" fmla="*/ 97 w 1212"/>
                <a:gd name="T95" fmla="*/ 69 h 1326"/>
                <a:gd name="T96" fmla="*/ 96 w 1212"/>
                <a:gd name="T97" fmla="*/ 71 h 1326"/>
                <a:gd name="T98" fmla="*/ 93 w 1212"/>
                <a:gd name="T99" fmla="*/ 70 h 1326"/>
                <a:gd name="T100" fmla="*/ 86 w 1212"/>
                <a:gd name="T101" fmla="*/ 69 h 1326"/>
                <a:gd name="T102" fmla="*/ 82 w 1212"/>
                <a:gd name="T103" fmla="*/ 73 h 1326"/>
                <a:gd name="T104" fmla="*/ 79 w 1212"/>
                <a:gd name="T105" fmla="*/ 74 h 1326"/>
                <a:gd name="T106" fmla="*/ 78 w 1212"/>
                <a:gd name="T107" fmla="*/ 79 h 1326"/>
                <a:gd name="T108" fmla="*/ 78 w 1212"/>
                <a:gd name="T109" fmla="*/ 83 h 1326"/>
                <a:gd name="T110" fmla="*/ 82 w 1212"/>
                <a:gd name="T111" fmla="*/ 87 h 1326"/>
                <a:gd name="T112" fmla="*/ 83 w 1212"/>
                <a:gd name="T113" fmla="*/ 90 h 1326"/>
                <a:gd name="T114" fmla="*/ 82 w 1212"/>
                <a:gd name="T115" fmla="*/ 94 h 1326"/>
                <a:gd name="T116" fmla="*/ 82 w 1212"/>
                <a:gd name="T117" fmla="*/ 98 h 1326"/>
                <a:gd name="T118" fmla="*/ 82 w 1212"/>
                <a:gd name="T119" fmla="*/ 104 h 1326"/>
                <a:gd name="T120" fmla="*/ 78 w 1212"/>
                <a:gd name="T121" fmla="*/ 110 h 132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12"/>
                <a:gd name="T184" fmla="*/ 0 h 1326"/>
                <a:gd name="T185" fmla="*/ 1212 w 1212"/>
                <a:gd name="T186" fmla="*/ 1326 h 132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12" h="1326">
                  <a:moveTo>
                    <a:pt x="906" y="1290"/>
                  </a:moveTo>
                  <a:lnTo>
                    <a:pt x="906" y="1296"/>
                  </a:lnTo>
                  <a:lnTo>
                    <a:pt x="900" y="1296"/>
                  </a:lnTo>
                  <a:lnTo>
                    <a:pt x="876" y="1290"/>
                  </a:lnTo>
                  <a:lnTo>
                    <a:pt x="870" y="1290"/>
                  </a:lnTo>
                  <a:lnTo>
                    <a:pt x="864" y="1296"/>
                  </a:lnTo>
                  <a:lnTo>
                    <a:pt x="852" y="1296"/>
                  </a:lnTo>
                  <a:lnTo>
                    <a:pt x="840" y="1302"/>
                  </a:lnTo>
                  <a:lnTo>
                    <a:pt x="834" y="1308"/>
                  </a:lnTo>
                  <a:lnTo>
                    <a:pt x="822" y="1320"/>
                  </a:lnTo>
                  <a:lnTo>
                    <a:pt x="816" y="1320"/>
                  </a:lnTo>
                  <a:lnTo>
                    <a:pt x="732" y="1320"/>
                  </a:lnTo>
                  <a:lnTo>
                    <a:pt x="696" y="1320"/>
                  </a:lnTo>
                  <a:lnTo>
                    <a:pt x="690" y="1326"/>
                  </a:lnTo>
                  <a:lnTo>
                    <a:pt x="678" y="1326"/>
                  </a:lnTo>
                  <a:lnTo>
                    <a:pt x="672" y="1308"/>
                  </a:lnTo>
                  <a:lnTo>
                    <a:pt x="696" y="1302"/>
                  </a:lnTo>
                  <a:lnTo>
                    <a:pt x="708" y="1296"/>
                  </a:lnTo>
                  <a:lnTo>
                    <a:pt x="720" y="1284"/>
                  </a:lnTo>
                  <a:lnTo>
                    <a:pt x="714" y="1278"/>
                  </a:lnTo>
                  <a:lnTo>
                    <a:pt x="714" y="1266"/>
                  </a:lnTo>
                  <a:lnTo>
                    <a:pt x="708" y="1260"/>
                  </a:lnTo>
                  <a:lnTo>
                    <a:pt x="708" y="1254"/>
                  </a:lnTo>
                  <a:lnTo>
                    <a:pt x="708" y="1248"/>
                  </a:lnTo>
                  <a:lnTo>
                    <a:pt x="702" y="1236"/>
                  </a:lnTo>
                  <a:lnTo>
                    <a:pt x="702" y="1230"/>
                  </a:lnTo>
                  <a:lnTo>
                    <a:pt x="702" y="1218"/>
                  </a:lnTo>
                  <a:lnTo>
                    <a:pt x="696" y="1200"/>
                  </a:lnTo>
                  <a:lnTo>
                    <a:pt x="696" y="1182"/>
                  </a:lnTo>
                  <a:lnTo>
                    <a:pt x="666" y="1182"/>
                  </a:lnTo>
                  <a:lnTo>
                    <a:pt x="672" y="1134"/>
                  </a:lnTo>
                  <a:lnTo>
                    <a:pt x="666" y="1128"/>
                  </a:lnTo>
                  <a:lnTo>
                    <a:pt x="660" y="1092"/>
                  </a:lnTo>
                  <a:lnTo>
                    <a:pt x="654" y="1098"/>
                  </a:lnTo>
                  <a:lnTo>
                    <a:pt x="594" y="1098"/>
                  </a:lnTo>
                  <a:lnTo>
                    <a:pt x="576" y="1098"/>
                  </a:lnTo>
                  <a:lnTo>
                    <a:pt x="570" y="1104"/>
                  </a:lnTo>
                  <a:lnTo>
                    <a:pt x="564" y="1110"/>
                  </a:lnTo>
                  <a:lnTo>
                    <a:pt x="558" y="1110"/>
                  </a:lnTo>
                  <a:lnTo>
                    <a:pt x="552" y="1110"/>
                  </a:lnTo>
                  <a:lnTo>
                    <a:pt x="546" y="1110"/>
                  </a:lnTo>
                  <a:lnTo>
                    <a:pt x="546" y="1116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10" y="1128"/>
                  </a:lnTo>
                  <a:lnTo>
                    <a:pt x="522" y="1104"/>
                  </a:lnTo>
                  <a:lnTo>
                    <a:pt x="510" y="1098"/>
                  </a:lnTo>
                  <a:lnTo>
                    <a:pt x="510" y="1074"/>
                  </a:lnTo>
                  <a:lnTo>
                    <a:pt x="504" y="1068"/>
                  </a:lnTo>
                  <a:lnTo>
                    <a:pt x="498" y="1068"/>
                  </a:lnTo>
                  <a:lnTo>
                    <a:pt x="492" y="1068"/>
                  </a:lnTo>
                  <a:lnTo>
                    <a:pt x="474" y="1080"/>
                  </a:lnTo>
                  <a:lnTo>
                    <a:pt x="474" y="1086"/>
                  </a:lnTo>
                  <a:lnTo>
                    <a:pt x="474" y="1092"/>
                  </a:lnTo>
                  <a:lnTo>
                    <a:pt x="468" y="1098"/>
                  </a:lnTo>
                  <a:lnTo>
                    <a:pt x="462" y="1104"/>
                  </a:lnTo>
                  <a:lnTo>
                    <a:pt x="456" y="1110"/>
                  </a:lnTo>
                  <a:lnTo>
                    <a:pt x="456" y="1122"/>
                  </a:lnTo>
                  <a:lnTo>
                    <a:pt x="456" y="1128"/>
                  </a:lnTo>
                  <a:lnTo>
                    <a:pt x="450" y="1140"/>
                  </a:lnTo>
                  <a:lnTo>
                    <a:pt x="444" y="1146"/>
                  </a:lnTo>
                  <a:lnTo>
                    <a:pt x="426" y="1170"/>
                  </a:lnTo>
                  <a:lnTo>
                    <a:pt x="408" y="1176"/>
                  </a:lnTo>
                  <a:lnTo>
                    <a:pt x="402" y="1170"/>
                  </a:lnTo>
                  <a:lnTo>
                    <a:pt x="396" y="1170"/>
                  </a:lnTo>
                  <a:lnTo>
                    <a:pt x="396" y="1158"/>
                  </a:lnTo>
                  <a:lnTo>
                    <a:pt x="384" y="1152"/>
                  </a:lnTo>
                  <a:lnTo>
                    <a:pt x="372" y="1140"/>
                  </a:lnTo>
                  <a:lnTo>
                    <a:pt x="354" y="1140"/>
                  </a:lnTo>
                  <a:lnTo>
                    <a:pt x="306" y="1146"/>
                  </a:lnTo>
                  <a:lnTo>
                    <a:pt x="294" y="1134"/>
                  </a:lnTo>
                  <a:lnTo>
                    <a:pt x="294" y="1128"/>
                  </a:lnTo>
                  <a:lnTo>
                    <a:pt x="288" y="1122"/>
                  </a:lnTo>
                  <a:lnTo>
                    <a:pt x="276" y="1122"/>
                  </a:lnTo>
                  <a:lnTo>
                    <a:pt x="276" y="1110"/>
                  </a:lnTo>
                  <a:lnTo>
                    <a:pt x="276" y="1104"/>
                  </a:lnTo>
                  <a:lnTo>
                    <a:pt x="270" y="1098"/>
                  </a:lnTo>
                  <a:lnTo>
                    <a:pt x="264" y="1086"/>
                  </a:lnTo>
                  <a:lnTo>
                    <a:pt x="264" y="1074"/>
                  </a:lnTo>
                  <a:lnTo>
                    <a:pt x="258" y="1068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34" y="1038"/>
                  </a:lnTo>
                  <a:lnTo>
                    <a:pt x="228" y="1038"/>
                  </a:lnTo>
                  <a:lnTo>
                    <a:pt x="222" y="1038"/>
                  </a:lnTo>
                  <a:lnTo>
                    <a:pt x="216" y="1038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0"/>
                  </a:lnTo>
                  <a:lnTo>
                    <a:pt x="204" y="1014"/>
                  </a:lnTo>
                  <a:lnTo>
                    <a:pt x="204" y="1008"/>
                  </a:lnTo>
                  <a:lnTo>
                    <a:pt x="198" y="1002"/>
                  </a:lnTo>
                  <a:lnTo>
                    <a:pt x="198" y="996"/>
                  </a:lnTo>
                  <a:lnTo>
                    <a:pt x="198" y="990"/>
                  </a:lnTo>
                  <a:lnTo>
                    <a:pt x="204" y="990"/>
                  </a:lnTo>
                  <a:lnTo>
                    <a:pt x="204" y="984"/>
                  </a:lnTo>
                  <a:lnTo>
                    <a:pt x="210" y="978"/>
                  </a:lnTo>
                  <a:lnTo>
                    <a:pt x="210" y="972"/>
                  </a:lnTo>
                  <a:lnTo>
                    <a:pt x="210" y="966"/>
                  </a:lnTo>
                  <a:lnTo>
                    <a:pt x="216" y="960"/>
                  </a:lnTo>
                  <a:lnTo>
                    <a:pt x="216" y="954"/>
                  </a:lnTo>
                  <a:lnTo>
                    <a:pt x="210" y="954"/>
                  </a:lnTo>
                  <a:lnTo>
                    <a:pt x="204" y="954"/>
                  </a:lnTo>
                  <a:lnTo>
                    <a:pt x="216" y="954"/>
                  </a:lnTo>
                  <a:lnTo>
                    <a:pt x="216" y="948"/>
                  </a:lnTo>
                  <a:lnTo>
                    <a:pt x="210" y="948"/>
                  </a:lnTo>
                  <a:lnTo>
                    <a:pt x="210" y="942"/>
                  </a:lnTo>
                  <a:lnTo>
                    <a:pt x="216" y="942"/>
                  </a:lnTo>
                  <a:lnTo>
                    <a:pt x="222" y="942"/>
                  </a:lnTo>
                  <a:lnTo>
                    <a:pt x="222" y="936"/>
                  </a:lnTo>
                  <a:lnTo>
                    <a:pt x="216" y="936"/>
                  </a:lnTo>
                  <a:lnTo>
                    <a:pt x="210" y="936"/>
                  </a:lnTo>
                  <a:lnTo>
                    <a:pt x="210" y="930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22" y="918"/>
                  </a:lnTo>
                  <a:lnTo>
                    <a:pt x="228" y="912"/>
                  </a:lnTo>
                  <a:lnTo>
                    <a:pt x="228" y="906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2" y="888"/>
                  </a:lnTo>
                  <a:lnTo>
                    <a:pt x="222" y="882"/>
                  </a:lnTo>
                  <a:lnTo>
                    <a:pt x="222" y="876"/>
                  </a:lnTo>
                  <a:lnTo>
                    <a:pt x="222" y="858"/>
                  </a:lnTo>
                  <a:lnTo>
                    <a:pt x="216" y="858"/>
                  </a:lnTo>
                  <a:lnTo>
                    <a:pt x="216" y="852"/>
                  </a:lnTo>
                  <a:lnTo>
                    <a:pt x="210" y="852"/>
                  </a:lnTo>
                  <a:lnTo>
                    <a:pt x="210" y="840"/>
                  </a:lnTo>
                  <a:lnTo>
                    <a:pt x="198" y="840"/>
                  </a:lnTo>
                  <a:lnTo>
                    <a:pt x="198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0" y="894"/>
                  </a:lnTo>
                  <a:lnTo>
                    <a:pt x="180" y="906"/>
                  </a:lnTo>
                  <a:lnTo>
                    <a:pt x="156" y="912"/>
                  </a:lnTo>
                  <a:lnTo>
                    <a:pt x="156" y="894"/>
                  </a:lnTo>
                  <a:lnTo>
                    <a:pt x="156" y="882"/>
                  </a:lnTo>
                  <a:lnTo>
                    <a:pt x="156" y="876"/>
                  </a:lnTo>
                  <a:lnTo>
                    <a:pt x="150" y="876"/>
                  </a:lnTo>
                  <a:lnTo>
                    <a:pt x="144" y="876"/>
                  </a:lnTo>
                  <a:lnTo>
                    <a:pt x="138" y="870"/>
                  </a:lnTo>
                  <a:lnTo>
                    <a:pt x="132" y="864"/>
                  </a:lnTo>
                  <a:lnTo>
                    <a:pt x="138" y="840"/>
                  </a:lnTo>
                  <a:lnTo>
                    <a:pt x="132" y="840"/>
                  </a:lnTo>
                  <a:lnTo>
                    <a:pt x="138" y="810"/>
                  </a:lnTo>
                  <a:lnTo>
                    <a:pt x="144" y="804"/>
                  </a:lnTo>
                  <a:lnTo>
                    <a:pt x="144" y="798"/>
                  </a:lnTo>
                  <a:lnTo>
                    <a:pt x="156" y="798"/>
                  </a:lnTo>
                  <a:lnTo>
                    <a:pt x="156" y="792"/>
                  </a:lnTo>
                  <a:lnTo>
                    <a:pt x="120" y="792"/>
                  </a:lnTo>
                  <a:lnTo>
                    <a:pt x="108" y="786"/>
                  </a:lnTo>
                  <a:lnTo>
                    <a:pt x="96" y="786"/>
                  </a:lnTo>
                  <a:lnTo>
                    <a:pt x="96" y="780"/>
                  </a:lnTo>
                  <a:lnTo>
                    <a:pt x="78" y="780"/>
                  </a:lnTo>
                  <a:lnTo>
                    <a:pt x="72" y="804"/>
                  </a:lnTo>
                  <a:lnTo>
                    <a:pt x="60" y="816"/>
                  </a:lnTo>
                  <a:lnTo>
                    <a:pt x="36" y="828"/>
                  </a:lnTo>
                  <a:lnTo>
                    <a:pt x="18" y="840"/>
                  </a:lnTo>
                  <a:lnTo>
                    <a:pt x="0" y="822"/>
                  </a:lnTo>
                  <a:lnTo>
                    <a:pt x="6" y="816"/>
                  </a:lnTo>
                  <a:lnTo>
                    <a:pt x="12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18" y="786"/>
                  </a:lnTo>
                  <a:lnTo>
                    <a:pt x="24" y="780"/>
                  </a:lnTo>
                  <a:lnTo>
                    <a:pt x="24" y="768"/>
                  </a:lnTo>
                  <a:lnTo>
                    <a:pt x="24" y="762"/>
                  </a:lnTo>
                  <a:lnTo>
                    <a:pt x="24" y="750"/>
                  </a:lnTo>
                  <a:lnTo>
                    <a:pt x="36" y="714"/>
                  </a:lnTo>
                  <a:lnTo>
                    <a:pt x="36" y="708"/>
                  </a:lnTo>
                  <a:lnTo>
                    <a:pt x="42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6" y="690"/>
                  </a:lnTo>
                  <a:lnTo>
                    <a:pt x="42" y="684"/>
                  </a:lnTo>
                  <a:lnTo>
                    <a:pt x="42" y="672"/>
                  </a:lnTo>
                  <a:lnTo>
                    <a:pt x="42" y="666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48" y="648"/>
                  </a:lnTo>
                  <a:lnTo>
                    <a:pt x="54" y="642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54" y="612"/>
                  </a:lnTo>
                  <a:lnTo>
                    <a:pt x="48" y="606"/>
                  </a:lnTo>
                  <a:lnTo>
                    <a:pt x="48" y="600"/>
                  </a:lnTo>
                  <a:lnTo>
                    <a:pt x="42" y="600"/>
                  </a:lnTo>
                  <a:lnTo>
                    <a:pt x="36" y="594"/>
                  </a:lnTo>
                  <a:lnTo>
                    <a:pt x="36" y="588"/>
                  </a:lnTo>
                  <a:lnTo>
                    <a:pt x="30" y="582"/>
                  </a:lnTo>
                  <a:lnTo>
                    <a:pt x="30" y="570"/>
                  </a:lnTo>
                  <a:lnTo>
                    <a:pt x="18" y="552"/>
                  </a:lnTo>
                  <a:lnTo>
                    <a:pt x="18" y="546"/>
                  </a:lnTo>
                  <a:lnTo>
                    <a:pt x="18" y="540"/>
                  </a:lnTo>
                  <a:lnTo>
                    <a:pt x="18" y="528"/>
                  </a:lnTo>
                  <a:lnTo>
                    <a:pt x="18" y="522"/>
                  </a:lnTo>
                  <a:lnTo>
                    <a:pt x="24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30" y="474"/>
                  </a:lnTo>
                  <a:lnTo>
                    <a:pt x="36" y="474"/>
                  </a:lnTo>
                  <a:lnTo>
                    <a:pt x="42" y="468"/>
                  </a:lnTo>
                  <a:lnTo>
                    <a:pt x="48" y="468"/>
                  </a:lnTo>
                  <a:lnTo>
                    <a:pt x="48" y="462"/>
                  </a:lnTo>
                  <a:lnTo>
                    <a:pt x="48" y="456"/>
                  </a:lnTo>
                  <a:lnTo>
                    <a:pt x="54" y="450"/>
                  </a:lnTo>
                  <a:lnTo>
                    <a:pt x="60" y="438"/>
                  </a:lnTo>
                  <a:lnTo>
                    <a:pt x="54" y="438"/>
                  </a:lnTo>
                  <a:lnTo>
                    <a:pt x="54" y="432"/>
                  </a:ln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54" y="402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6" y="384"/>
                  </a:lnTo>
                  <a:lnTo>
                    <a:pt x="72" y="372"/>
                  </a:lnTo>
                  <a:lnTo>
                    <a:pt x="78" y="366"/>
                  </a:lnTo>
                  <a:lnTo>
                    <a:pt x="84" y="360"/>
                  </a:lnTo>
                  <a:lnTo>
                    <a:pt x="102" y="360"/>
                  </a:lnTo>
                  <a:lnTo>
                    <a:pt x="114" y="36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8" y="360"/>
                  </a:lnTo>
                  <a:lnTo>
                    <a:pt x="156" y="360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74" y="342"/>
                  </a:lnTo>
                  <a:lnTo>
                    <a:pt x="180" y="342"/>
                  </a:lnTo>
                  <a:lnTo>
                    <a:pt x="186" y="336"/>
                  </a:lnTo>
                  <a:lnTo>
                    <a:pt x="192" y="330"/>
                  </a:lnTo>
                  <a:lnTo>
                    <a:pt x="204" y="312"/>
                  </a:lnTo>
                  <a:lnTo>
                    <a:pt x="210" y="312"/>
                  </a:lnTo>
                  <a:lnTo>
                    <a:pt x="216" y="306"/>
                  </a:lnTo>
                  <a:lnTo>
                    <a:pt x="216" y="300"/>
                  </a:lnTo>
                  <a:lnTo>
                    <a:pt x="222" y="288"/>
                  </a:lnTo>
                  <a:lnTo>
                    <a:pt x="234" y="288"/>
                  </a:lnTo>
                  <a:lnTo>
                    <a:pt x="240" y="282"/>
                  </a:lnTo>
                  <a:lnTo>
                    <a:pt x="246" y="282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70" y="270"/>
                  </a:lnTo>
                  <a:lnTo>
                    <a:pt x="276" y="264"/>
                  </a:lnTo>
                  <a:lnTo>
                    <a:pt x="282" y="26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8" y="234"/>
                  </a:lnTo>
                  <a:lnTo>
                    <a:pt x="330" y="234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72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14" y="240"/>
                  </a:lnTo>
                  <a:lnTo>
                    <a:pt x="444" y="216"/>
                  </a:lnTo>
                  <a:lnTo>
                    <a:pt x="480" y="204"/>
                  </a:lnTo>
                  <a:lnTo>
                    <a:pt x="600" y="150"/>
                  </a:lnTo>
                  <a:lnTo>
                    <a:pt x="648" y="126"/>
                  </a:lnTo>
                  <a:lnTo>
                    <a:pt x="702" y="96"/>
                  </a:lnTo>
                  <a:lnTo>
                    <a:pt x="708" y="54"/>
                  </a:lnTo>
                  <a:lnTo>
                    <a:pt x="720" y="24"/>
                  </a:lnTo>
                  <a:lnTo>
                    <a:pt x="738" y="12"/>
                  </a:lnTo>
                  <a:lnTo>
                    <a:pt x="768" y="0"/>
                  </a:lnTo>
                  <a:lnTo>
                    <a:pt x="792" y="6"/>
                  </a:lnTo>
                  <a:lnTo>
                    <a:pt x="804" y="12"/>
                  </a:lnTo>
                  <a:lnTo>
                    <a:pt x="834" y="48"/>
                  </a:lnTo>
                  <a:lnTo>
                    <a:pt x="834" y="60"/>
                  </a:lnTo>
                  <a:lnTo>
                    <a:pt x="852" y="84"/>
                  </a:lnTo>
                  <a:lnTo>
                    <a:pt x="864" y="96"/>
                  </a:lnTo>
                  <a:lnTo>
                    <a:pt x="888" y="102"/>
                  </a:lnTo>
                  <a:lnTo>
                    <a:pt x="978" y="120"/>
                  </a:lnTo>
                  <a:lnTo>
                    <a:pt x="984" y="126"/>
                  </a:lnTo>
                  <a:lnTo>
                    <a:pt x="984" y="132"/>
                  </a:lnTo>
                  <a:lnTo>
                    <a:pt x="996" y="138"/>
                  </a:lnTo>
                  <a:lnTo>
                    <a:pt x="1038" y="126"/>
                  </a:lnTo>
                  <a:lnTo>
                    <a:pt x="1056" y="114"/>
                  </a:lnTo>
                  <a:lnTo>
                    <a:pt x="1068" y="126"/>
                  </a:lnTo>
                  <a:lnTo>
                    <a:pt x="1074" y="132"/>
                  </a:lnTo>
                  <a:lnTo>
                    <a:pt x="1068" y="138"/>
                  </a:lnTo>
                  <a:lnTo>
                    <a:pt x="1056" y="150"/>
                  </a:lnTo>
                  <a:lnTo>
                    <a:pt x="1038" y="162"/>
                  </a:lnTo>
                  <a:lnTo>
                    <a:pt x="1038" y="168"/>
                  </a:lnTo>
                  <a:lnTo>
                    <a:pt x="1020" y="174"/>
                  </a:lnTo>
                  <a:lnTo>
                    <a:pt x="1014" y="180"/>
                  </a:lnTo>
                  <a:lnTo>
                    <a:pt x="1008" y="186"/>
                  </a:lnTo>
                  <a:lnTo>
                    <a:pt x="1002" y="198"/>
                  </a:lnTo>
                  <a:lnTo>
                    <a:pt x="984" y="204"/>
                  </a:lnTo>
                  <a:lnTo>
                    <a:pt x="984" y="246"/>
                  </a:lnTo>
                  <a:lnTo>
                    <a:pt x="978" y="270"/>
                  </a:lnTo>
                  <a:lnTo>
                    <a:pt x="990" y="306"/>
                  </a:lnTo>
                  <a:lnTo>
                    <a:pt x="990" y="324"/>
                  </a:lnTo>
                  <a:lnTo>
                    <a:pt x="1002" y="336"/>
                  </a:lnTo>
                  <a:lnTo>
                    <a:pt x="1020" y="372"/>
                  </a:lnTo>
                  <a:lnTo>
                    <a:pt x="1014" y="378"/>
                  </a:lnTo>
                  <a:lnTo>
                    <a:pt x="1014" y="384"/>
                  </a:lnTo>
                  <a:lnTo>
                    <a:pt x="1020" y="384"/>
                  </a:lnTo>
                  <a:lnTo>
                    <a:pt x="1020" y="396"/>
                  </a:lnTo>
                  <a:lnTo>
                    <a:pt x="1062" y="468"/>
                  </a:lnTo>
                  <a:lnTo>
                    <a:pt x="1092" y="522"/>
                  </a:lnTo>
                  <a:lnTo>
                    <a:pt x="1110" y="546"/>
                  </a:lnTo>
                  <a:lnTo>
                    <a:pt x="1122" y="564"/>
                  </a:lnTo>
                  <a:lnTo>
                    <a:pt x="1134" y="576"/>
                  </a:lnTo>
                  <a:lnTo>
                    <a:pt x="1146" y="582"/>
                  </a:lnTo>
                  <a:lnTo>
                    <a:pt x="1146" y="588"/>
                  </a:lnTo>
                  <a:lnTo>
                    <a:pt x="1164" y="600"/>
                  </a:lnTo>
                  <a:lnTo>
                    <a:pt x="1170" y="612"/>
                  </a:lnTo>
                  <a:lnTo>
                    <a:pt x="1170" y="624"/>
                  </a:lnTo>
                  <a:lnTo>
                    <a:pt x="1176" y="654"/>
                  </a:lnTo>
                  <a:lnTo>
                    <a:pt x="1176" y="666"/>
                  </a:lnTo>
                  <a:lnTo>
                    <a:pt x="1182" y="684"/>
                  </a:lnTo>
                  <a:lnTo>
                    <a:pt x="1194" y="696"/>
                  </a:lnTo>
                  <a:lnTo>
                    <a:pt x="1212" y="696"/>
                  </a:lnTo>
                  <a:lnTo>
                    <a:pt x="1206" y="762"/>
                  </a:lnTo>
                  <a:lnTo>
                    <a:pt x="1200" y="768"/>
                  </a:lnTo>
                  <a:lnTo>
                    <a:pt x="1194" y="768"/>
                  </a:lnTo>
                  <a:lnTo>
                    <a:pt x="1194" y="774"/>
                  </a:lnTo>
                  <a:lnTo>
                    <a:pt x="1188" y="774"/>
                  </a:lnTo>
                  <a:lnTo>
                    <a:pt x="1182" y="780"/>
                  </a:lnTo>
                  <a:lnTo>
                    <a:pt x="1176" y="780"/>
                  </a:lnTo>
                  <a:lnTo>
                    <a:pt x="1170" y="780"/>
                  </a:lnTo>
                  <a:lnTo>
                    <a:pt x="1164" y="786"/>
                  </a:lnTo>
                  <a:lnTo>
                    <a:pt x="1158" y="786"/>
                  </a:lnTo>
                  <a:lnTo>
                    <a:pt x="1152" y="786"/>
                  </a:lnTo>
                  <a:lnTo>
                    <a:pt x="1140" y="786"/>
                  </a:lnTo>
                  <a:lnTo>
                    <a:pt x="1134" y="786"/>
                  </a:lnTo>
                  <a:lnTo>
                    <a:pt x="1134" y="780"/>
                  </a:lnTo>
                  <a:lnTo>
                    <a:pt x="1122" y="780"/>
                  </a:lnTo>
                  <a:lnTo>
                    <a:pt x="1116" y="786"/>
                  </a:lnTo>
                  <a:lnTo>
                    <a:pt x="1116" y="792"/>
                  </a:lnTo>
                  <a:lnTo>
                    <a:pt x="1122" y="804"/>
                  </a:lnTo>
                  <a:lnTo>
                    <a:pt x="1128" y="804"/>
                  </a:lnTo>
                  <a:lnTo>
                    <a:pt x="1128" y="816"/>
                  </a:lnTo>
                  <a:lnTo>
                    <a:pt x="1122" y="822"/>
                  </a:lnTo>
                  <a:lnTo>
                    <a:pt x="1116" y="816"/>
                  </a:lnTo>
                  <a:lnTo>
                    <a:pt x="1110" y="816"/>
                  </a:lnTo>
                  <a:lnTo>
                    <a:pt x="1104" y="816"/>
                  </a:lnTo>
                  <a:lnTo>
                    <a:pt x="1098" y="816"/>
                  </a:lnTo>
                  <a:lnTo>
                    <a:pt x="1098" y="822"/>
                  </a:lnTo>
                  <a:lnTo>
                    <a:pt x="1092" y="834"/>
                  </a:lnTo>
                  <a:lnTo>
                    <a:pt x="1092" y="840"/>
                  </a:lnTo>
                  <a:lnTo>
                    <a:pt x="1074" y="840"/>
                  </a:lnTo>
                  <a:lnTo>
                    <a:pt x="1074" y="828"/>
                  </a:lnTo>
                  <a:lnTo>
                    <a:pt x="1062" y="804"/>
                  </a:lnTo>
                  <a:lnTo>
                    <a:pt x="1056" y="792"/>
                  </a:lnTo>
                  <a:lnTo>
                    <a:pt x="1056" y="786"/>
                  </a:lnTo>
                  <a:lnTo>
                    <a:pt x="1026" y="780"/>
                  </a:lnTo>
                  <a:lnTo>
                    <a:pt x="1026" y="768"/>
                  </a:lnTo>
                  <a:lnTo>
                    <a:pt x="1008" y="768"/>
                  </a:lnTo>
                  <a:lnTo>
                    <a:pt x="1002" y="780"/>
                  </a:lnTo>
                  <a:lnTo>
                    <a:pt x="996" y="792"/>
                  </a:lnTo>
                  <a:lnTo>
                    <a:pt x="978" y="798"/>
                  </a:lnTo>
                  <a:lnTo>
                    <a:pt x="972" y="810"/>
                  </a:lnTo>
                  <a:lnTo>
                    <a:pt x="972" y="822"/>
                  </a:lnTo>
                  <a:lnTo>
                    <a:pt x="978" y="828"/>
                  </a:lnTo>
                  <a:lnTo>
                    <a:pt x="978" y="834"/>
                  </a:lnTo>
                  <a:lnTo>
                    <a:pt x="960" y="840"/>
                  </a:lnTo>
                  <a:lnTo>
                    <a:pt x="936" y="840"/>
                  </a:lnTo>
                  <a:lnTo>
                    <a:pt x="918" y="846"/>
                  </a:lnTo>
                  <a:lnTo>
                    <a:pt x="912" y="840"/>
                  </a:lnTo>
                  <a:lnTo>
                    <a:pt x="912" y="834"/>
                  </a:lnTo>
                  <a:lnTo>
                    <a:pt x="906" y="834"/>
                  </a:lnTo>
                  <a:lnTo>
                    <a:pt x="906" y="840"/>
                  </a:lnTo>
                  <a:lnTo>
                    <a:pt x="900" y="846"/>
                  </a:lnTo>
                  <a:lnTo>
                    <a:pt x="906" y="852"/>
                  </a:lnTo>
                  <a:lnTo>
                    <a:pt x="900" y="864"/>
                  </a:lnTo>
                  <a:lnTo>
                    <a:pt x="900" y="876"/>
                  </a:lnTo>
                  <a:lnTo>
                    <a:pt x="900" y="882"/>
                  </a:lnTo>
                  <a:lnTo>
                    <a:pt x="894" y="888"/>
                  </a:lnTo>
                  <a:lnTo>
                    <a:pt x="900" y="900"/>
                  </a:lnTo>
                  <a:lnTo>
                    <a:pt x="900" y="906"/>
                  </a:lnTo>
                  <a:lnTo>
                    <a:pt x="894" y="906"/>
                  </a:lnTo>
                  <a:lnTo>
                    <a:pt x="894" y="912"/>
                  </a:lnTo>
                  <a:lnTo>
                    <a:pt x="900" y="918"/>
                  </a:lnTo>
                  <a:lnTo>
                    <a:pt x="900" y="924"/>
                  </a:lnTo>
                  <a:lnTo>
                    <a:pt x="900" y="948"/>
                  </a:lnTo>
                  <a:lnTo>
                    <a:pt x="888" y="948"/>
                  </a:lnTo>
                  <a:lnTo>
                    <a:pt x="888" y="954"/>
                  </a:lnTo>
                  <a:lnTo>
                    <a:pt x="894" y="954"/>
                  </a:lnTo>
                  <a:lnTo>
                    <a:pt x="900" y="960"/>
                  </a:lnTo>
                  <a:lnTo>
                    <a:pt x="900" y="972"/>
                  </a:lnTo>
                  <a:lnTo>
                    <a:pt x="906" y="984"/>
                  </a:lnTo>
                  <a:lnTo>
                    <a:pt x="912" y="984"/>
                  </a:lnTo>
                  <a:lnTo>
                    <a:pt x="918" y="990"/>
                  </a:lnTo>
                  <a:lnTo>
                    <a:pt x="936" y="990"/>
                  </a:lnTo>
                  <a:lnTo>
                    <a:pt x="936" y="996"/>
                  </a:lnTo>
                  <a:lnTo>
                    <a:pt x="942" y="996"/>
                  </a:lnTo>
                  <a:lnTo>
                    <a:pt x="942" y="1002"/>
                  </a:lnTo>
                  <a:lnTo>
                    <a:pt x="942" y="1008"/>
                  </a:lnTo>
                  <a:lnTo>
                    <a:pt x="948" y="1008"/>
                  </a:lnTo>
                  <a:lnTo>
                    <a:pt x="948" y="1014"/>
                  </a:lnTo>
                  <a:lnTo>
                    <a:pt x="948" y="1020"/>
                  </a:lnTo>
                  <a:lnTo>
                    <a:pt x="954" y="1032"/>
                  </a:lnTo>
                  <a:lnTo>
                    <a:pt x="948" y="1038"/>
                  </a:lnTo>
                  <a:lnTo>
                    <a:pt x="954" y="1044"/>
                  </a:lnTo>
                  <a:lnTo>
                    <a:pt x="954" y="1056"/>
                  </a:lnTo>
                  <a:lnTo>
                    <a:pt x="960" y="1056"/>
                  </a:lnTo>
                  <a:lnTo>
                    <a:pt x="960" y="1062"/>
                  </a:lnTo>
                  <a:lnTo>
                    <a:pt x="954" y="1068"/>
                  </a:lnTo>
                  <a:lnTo>
                    <a:pt x="948" y="1074"/>
                  </a:lnTo>
                  <a:lnTo>
                    <a:pt x="948" y="1080"/>
                  </a:lnTo>
                  <a:lnTo>
                    <a:pt x="948" y="1086"/>
                  </a:lnTo>
                  <a:lnTo>
                    <a:pt x="942" y="1092"/>
                  </a:lnTo>
                  <a:lnTo>
                    <a:pt x="942" y="1098"/>
                  </a:lnTo>
                  <a:lnTo>
                    <a:pt x="942" y="1104"/>
                  </a:lnTo>
                  <a:lnTo>
                    <a:pt x="942" y="1110"/>
                  </a:lnTo>
                  <a:lnTo>
                    <a:pt x="936" y="1116"/>
                  </a:lnTo>
                  <a:lnTo>
                    <a:pt x="936" y="1122"/>
                  </a:lnTo>
                  <a:lnTo>
                    <a:pt x="936" y="1128"/>
                  </a:lnTo>
                  <a:lnTo>
                    <a:pt x="936" y="1134"/>
                  </a:lnTo>
                  <a:lnTo>
                    <a:pt x="942" y="1146"/>
                  </a:lnTo>
                  <a:lnTo>
                    <a:pt x="936" y="1158"/>
                  </a:lnTo>
                  <a:lnTo>
                    <a:pt x="936" y="1170"/>
                  </a:lnTo>
                  <a:lnTo>
                    <a:pt x="936" y="1194"/>
                  </a:lnTo>
                  <a:lnTo>
                    <a:pt x="930" y="1200"/>
                  </a:lnTo>
                  <a:lnTo>
                    <a:pt x="930" y="1212"/>
                  </a:lnTo>
                  <a:lnTo>
                    <a:pt x="918" y="1218"/>
                  </a:lnTo>
                  <a:lnTo>
                    <a:pt x="918" y="1230"/>
                  </a:lnTo>
                  <a:lnTo>
                    <a:pt x="906" y="1230"/>
                  </a:lnTo>
                  <a:lnTo>
                    <a:pt x="900" y="1254"/>
                  </a:lnTo>
                  <a:lnTo>
                    <a:pt x="900" y="1260"/>
                  </a:lnTo>
                  <a:lnTo>
                    <a:pt x="900" y="1266"/>
                  </a:lnTo>
                  <a:lnTo>
                    <a:pt x="900" y="1272"/>
                  </a:lnTo>
                  <a:lnTo>
                    <a:pt x="900" y="1278"/>
                  </a:lnTo>
                  <a:lnTo>
                    <a:pt x="900" y="1284"/>
                  </a:lnTo>
                  <a:lnTo>
                    <a:pt x="906" y="1290"/>
                  </a:lnTo>
                  <a:close/>
                </a:path>
              </a:pathLst>
            </a:custGeom>
            <a:solidFill>
              <a:srgbClr val="2A4F1D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1" name="Freeform 26">
              <a:extLst>
                <a:ext uri="{FF2B5EF4-FFF2-40B4-BE49-F238E27FC236}">
                  <a16:creationId xmlns:a16="http://schemas.microsoft.com/office/drawing/2014/main" id="{25725EFE-FE00-49A8-A87A-6752B785C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79173" y="3477313"/>
              <a:ext cx="650731" cy="559125"/>
            </a:xfrm>
            <a:custGeom>
              <a:avLst/>
              <a:gdLst>
                <a:gd name="T0" fmla="*/ 95 w 1224"/>
                <a:gd name="T1" fmla="*/ 89 h 1050"/>
                <a:gd name="T2" fmla="*/ 90 w 1224"/>
                <a:gd name="T3" fmla="*/ 84 h 1050"/>
                <a:gd name="T4" fmla="*/ 84 w 1224"/>
                <a:gd name="T5" fmla="*/ 83 h 1050"/>
                <a:gd name="T6" fmla="*/ 82 w 1224"/>
                <a:gd name="T7" fmla="*/ 80 h 1050"/>
                <a:gd name="T8" fmla="*/ 85 w 1224"/>
                <a:gd name="T9" fmla="*/ 77 h 1050"/>
                <a:gd name="T10" fmla="*/ 81 w 1224"/>
                <a:gd name="T11" fmla="*/ 76 h 1050"/>
                <a:gd name="T12" fmla="*/ 77 w 1224"/>
                <a:gd name="T13" fmla="*/ 77 h 1050"/>
                <a:gd name="T14" fmla="*/ 78 w 1224"/>
                <a:gd name="T15" fmla="*/ 73 h 1050"/>
                <a:gd name="T16" fmla="*/ 59 w 1224"/>
                <a:gd name="T17" fmla="*/ 71 h 1050"/>
                <a:gd name="T18" fmla="*/ 41 w 1224"/>
                <a:gd name="T19" fmla="*/ 73 h 1050"/>
                <a:gd name="T20" fmla="*/ 33 w 1224"/>
                <a:gd name="T21" fmla="*/ 71 h 1050"/>
                <a:gd name="T22" fmla="*/ 30 w 1224"/>
                <a:gd name="T23" fmla="*/ 75 h 1050"/>
                <a:gd name="T24" fmla="*/ 27 w 1224"/>
                <a:gd name="T25" fmla="*/ 80 h 1050"/>
                <a:gd name="T26" fmla="*/ 12 w 1224"/>
                <a:gd name="T27" fmla="*/ 81 h 1050"/>
                <a:gd name="T28" fmla="*/ 9 w 1224"/>
                <a:gd name="T29" fmla="*/ 84 h 1050"/>
                <a:gd name="T30" fmla="*/ 6 w 1224"/>
                <a:gd name="T31" fmla="*/ 83 h 1050"/>
                <a:gd name="T32" fmla="*/ 1 w 1224"/>
                <a:gd name="T33" fmla="*/ 83 h 1050"/>
                <a:gd name="T34" fmla="*/ 3 w 1224"/>
                <a:gd name="T35" fmla="*/ 77 h 1050"/>
                <a:gd name="T36" fmla="*/ 5 w 1224"/>
                <a:gd name="T37" fmla="*/ 70 h 1050"/>
                <a:gd name="T38" fmla="*/ 2 w 1224"/>
                <a:gd name="T39" fmla="*/ 65 h 1050"/>
                <a:gd name="T40" fmla="*/ 3 w 1224"/>
                <a:gd name="T41" fmla="*/ 58 h 1050"/>
                <a:gd name="T42" fmla="*/ 4 w 1224"/>
                <a:gd name="T43" fmla="*/ 51 h 1050"/>
                <a:gd name="T44" fmla="*/ 3 w 1224"/>
                <a:gd name="T45" fmla="*/ 47 h 1050"/>
                <a:gd name="T46" fmla="*/ 4 w 1224"/>
                <a:gd name="T47" fmla="*/ 39 h 1050"/>
                <a:gd name="T48" fmla="*/ 6 w 1224"/>
                <a:gd name="T49" fmla="*/ 29 h 1050"/>
                <a:gd name="T50" fmla="*/ 3 w 1224"/>
                <a:gd name="T51" fmla="*/ 22 h 1050"/>
                <a:gd name="T52" fmla="*/ 2 w 1224"/>
                <a:gd name="T53" fmla="*/ 14 h 1050"/>
                <a:gd name="T54" fmla="*/ 0 w 1224"/>
                <a:gd name="T55" fmla="*/ 6 h 1050"/>
                <a:gd name="T56" fmla="*/ 9 w 1224"/>
                <a:gd name="T57" fmla="*/ 1 h 1050"/>
                <a:gd name="T58" fmla="*/ 11 w 1224"/>
                <a:gd name="T59" fmla="*/ 8 h 1050"/>
                <a:gd name="T60" fmla="*/ 15 w 1224"/>
                <a:gd name="T61" fmla="*/ 9 h 1050"/>
                <a:gd name="T62" fmla="*/ 18 w 1224"/>
                <a:gd name="T63" fmla="*/ 8 h 1050"/>
                <a:gd name="T64" fmla="*/ 18 w 1224"/>
                <a:gd name="T65" fmla="*/ 13 h 1050"/>
                <a:gd name="T66" fmla="*/ 17 w 1224"/>
                <a:gd name="T67" fmla="*/ 15 h 1050"/>
                <a:gd name="T68" fmla="*/ 17 w 1224"/>
                <a:gd name="T69" fmla="*/ 17 h 1050"/>
                <a:gd name="T70" fmla="*/ 17 w 1224"/>
                <a:gd name="T71" fmla="*/ 21 h 1050"/>
                <a:gd name="T72" fmla="*/ 21 w 1224"/>
                <a:gd name="T73" fmla="*/ 25 h 1050"/>
                <a:gd name="T74" fmla="*/ 24 w 1224"/>
                <a:gd name="T75" fmla="*/ 31 h 1050"/>
                <a:gd name="T76" fmla="*/ 35 w 1224"/>
                <a:gd name="T77" fmla="*/ 34 h 1050"/>
                <a:gd name="T78" fmla="*/ 40 w 1224"/>
                <a:gd name="T79" fmla="*/ 27 h 1050"/>
                <a:gd name="T80" fmla="*/ 46 w 1224"/>
                <a:gd name="T81" fmla="*/ 30 h 1050"/>
                <a:gd name="T82" fmla="*/ 51 w 1224"/>
                <a:gd name="T83" fmla="*/ 27 h 1050"/>
                <a:gd name="T84" fmla="*/ 59 w 1224"/>
                <a:gd name="T85" fmla="*/ 39 h 1050"/>
                <a:gd name="T86" fmla="*/ 59 w 1224"/>
                <a:gd name="T87" fmla="*/ 45 h 1050"/>
                <a:gd name="T88" fmla="*/ 72 w 1224"/>
                <a:gd name="T89" fmla="*/ 45 h 1050"/>
                <a:gd name="T90" fmla="*/ 79 w 1224"/>
                <a:gd name="T91" fmla="*/ 44 h 1050"/>
                <a:gd name="T92" fmla="*/ 87 w 1224"/>
                <a:gd name="T93" fmla="*/ 48 h 1050"/>
                <a:gd name="T94" fmla="*/ 93 w 1224"/>
                <a:gd name="T95" fmla="*/ 50 h 1050"/>
                <a:gd name="T96" fmla="*/ 98 w 1224"/>
                <a:gd name="T97" fmla="*/ 51 h 1050"/>
                <a:gd name="T98" fmla="*/ 106 w 1224"/>
                <a:gd name="T99" fmla="*/ 50 h 1050"/>
                <a:gd name="T100" fmla="*/ 104 w 1224"/>
                <a:gd name="T101" fmla="*/ 54 h 1050"/>
                <a:gd name="T102" fmla="*/ 104 w 1224"/>
                <a:gd name="T103" fmla="*/ 60 h 1050"/>
                <a:gd name="T104" fmla="*/ 101 w 1224"/>
                <a:gd name="T105" fmla="*/ 63 h 1050"/>
                <a:gd name="T106" fmla="*/ 98 w 1224"/>
                <a:gd name="T107" fmla="*/ 66 h 1050"/>
                <a:gd name="T108" fmla="*/ 95 w 1224"/>
                <a:gd name="T109" fmla="*/ 68 h 1050"/>
                <a:gd name="T110" fmla="*/ 93 w 1224"/>
                <a:gd name="T111" fmla="*/ 72 h 1050"/>
                <a:gd name="T112" fmla="*/ 98 w 1224"/>
                <a:gd name="T113" fmla="*/ 75 h 1050"/>
                <a:gd name="T114" fmla="*/ 102 w 1224"/>
                <a:gd name="T115" fmla="*/ 77 h 1050"/>
                <a:gd name="T116" fmla="*/ 107 w 1224"/>
                <a:gd name="T117" fmla="*/ 76 h 1050"/>
                <a:gd name="T118" fmla="*/ 104 w 1224"/>
                <a:gd name="T119" fmla="*/ 84 h 1050"/>
                <a:gd name="T120" fmla="*/ 103 w 1224"/>
                <a:gd name="T121" fmla="*/ 87 h 1050"/>
                <a:gd name="T122" fmla="*/ 104 w 1224"/>
                <a:gd name="T123" fmla="*/ 91 h 105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24"/>
                <a:gd name="T187" fmla="*/ 0 h 1050"/>
                <a:gd name="T188" fmla="*/ 1224 w 1224"/>
                <a:gd name="T189" fmla="*/ 1050 h 105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24" h="1050">
                  <a:moveTo>
                    <a:pt x="1128" y="1032"/>
                  </a:moveTo>
                  <a:lnTo>
                    <a:pt x="1122" y="1026"/>
                  </a:lnTo>
                  <a:lnTo>
                    <a:pt x="1116" y="1026"/>
                  </a:lnTo>
                  <a:lnTo>
                    <a:pt x="1110" y="1026"/>
                  </a:lnTo>
                  <a:lnTo>
                    <a:pt x="1104" y="1026"/>
                  </a:lnTo>
                  <a:lnTo>
                    <a:pt x="1104" y="1020"/>
                  </a:lnTo>
                  <a:lnTo>
                    <a:pt x="1098" y="1020"/>
                  </a:lnTo>
                  <a:lnTo>
                    <a:pt x="1092" y="1020"/>
                  </a:lnTo>
                  <a:lnTo>
                    <a:pt x="1086" y="1020"/>
                  </a:lnTo>
                  <a:lnTo>
                    <a:pt x="1080" y="1014"/>
                  </a:lnTo>
                  <a:lnTo>
                    <a:pt x="1068" y="1014"/>
                  </a:lnTo>
                  <a:lnTo>
                    <a:pt x="1062" y="1014"/>
                  </a:lnTo>
                  <a:lnTo>
                    <a:pt x="1062" y="1008"/>
                  </a:lnTo>
                  <a:lnTo>
                    <a:pt x="1062" y="990"/>
                  </a:lnTo>
                  <a:lnTo>
                    <a:pt x="1062" y="984"/>
                  </a:lnTo>
                  <a:lnTo>
                    <a:pt x="1062" y="972"/>
                  </a:lnTo>
                  <a:lnTo>
                    <a:pt x="1044" y="966"/>
                  </a:lnTo>
                  <a:lnTo>
                    <a:pt x="1026" y="966"/>
                  </a:lnTo>
                  <a:lnTo>
                    <a:pt x="1014" y="966"/>
                  </a:lnTo>
                  <a:lnTo>
                    <a:pt x="996" y="966"/>
                  </a:lnTo>
                  <a:lnTo>
                    <a:pt x="996" y="972"/>
                  </a:lnTo>
                  <a:lnTo>
                    <a:pt x="990" y="972"/>
                  </a:lnTo>
                  <a:lnTo>
                    <a:pt x="984" y="966"/>
                  </a:lnTo>
                  <a:lnTo>
                    <a:pt x="978" y="966"/>
                  </a:lnTo>
                  <a:lnTo>
                    <a:pt x="978" y="960"/>
                  </a:lnTo>
                  <a:lnTo>
                    <a:pt x="972" y="954"/>
                  </a:lnTo>
                  <a:lnTo>
                    <a:pt x="966" y="954"/>
                  </a:lnTo>
                  <a:lnTo>
                    <a:pt x="960" y="954"/>
                  </a:lnTo>
                  <a:lnTo>
                    <a:pt x="954" y="954"/>
                  </a:lnTo>
                  <a:lnTo>
                    <a:pt x="954" y="948"/>
                  </a:lnTo>
                  <a:lnTo>
                    <a:pt x="942" y="942"/>
                  </a:lnTo>
                  <a:lnTo>
                    <a:pt x="936" y="942"/>
                  </a:lnTo>
                  <a:lnTo>
                    <a:pt x="936" y="936"/>
                  </a:lnTo>
                  <a:lnTo>
                    <a:pt x="936" y="930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42" y="918"/>
                  </a:lnTo>
                  <a:lnTo>
                    <a:pt x="948" y="918"/>
                  </a:lnTo>
                  <a:lnTo>
                    <a:pt x="960" y="918"/>
                  </a:lnTo>
                  <a:lnTo>
                    <a:pt x="966" y="912"/>
                  </a:lnTo>
                  <a:lnTo>
                    <a:pt x="978" y="906"/>
                  </a:lnTo>
                  <a:lnTo>
                    <a:pt x="978" y="900"/>
                  </a:lnTo>
                  <a:lnTo>
                    <a:pt x="978" y="894"/>
                  </a:lnTo>
                  <a:lnTo>
                    <a:pt x="978" y="888"/>
                  </a:lnTo>
                  <a:lnTo>
                    <a:pt x="972" y="888"/>
                  </a:lnTo>
                  <a:lnTo>
                    <a:pt x="978" y="888"/>
                  </a:lnTo>
                  <a:lnTo>
                    <a:pt x="978" y="882"/>
                  </a:lnTo>
                  <a:lnTo>
                    <a:pt x="972" y="876"/>
                  </a:lnTo>
                  <a:lnTo>
                    <a:pt x="966" y="870"/>
                  </a:lnTo>
                  <a:lnTo>
                    <a:pt x="954" y="876"/>
                  </a:lnTo>
                  <a:lnTo>
                    <a:pt x="948" y="876"/>
                  </a:lnTo>
                  <a:lnTo>
                    <a:pt x="942" y="870"/>
                  </a:lnTo>
                  <a:lnTo>
                    <a:pt x="936" y="876"/>
                  </a:lnTo>
                  <a:lnTo>
                    <a:pt x="930" y="876"/>
                  </a:lnTo>
                  <a:lnTo>
                    <a:pt x="924" y="882"/>
                  </a:lnTo>
                  <a:lnTo>
                    <a:pt x="912" y="888"/>
                  </a:lnTo>
                  <a:lnTo>
                    <a:pt x="906" y="894"/>
                  </a:lnTo>
                  <a:lnTo>
                    <a:pt x="900" y="900"/>
                  </a:lnTo>
                  <a:lnTo>
                    <a:pt x="894" y="888"/>
                  </a:lnTo>
                  <a:lnTo>
                    <a:pt x="888" y="894"/>
                  </a:lnTo>
                  <a:lnTo>
                    <a:pt x="882" y="888"/>
                  </a:lnTo>
                  <a:lnTo>
                    <a:pt x="876" y="894"/>
                  </a:lnTo>
                  <a:lnTo>
                    <a:pt x="876" y="888"/>
                  </a:lnTo>
                  <a:lnTo>
                    <a:pt x="876" y="882"/>
                  </a:lnTo>
                  <a:lnTo>
                    <a:pt x="876" y="876"/>
                  </a:lnTo>
                  <a:lnTo>
                    <a:pt x="870" y="858"/>
                  </a:lnTo>
                  <a:lnTo>
                    <a:pt x="864" y="858"/>
                  </a:lnTo>
                  <a:lnTo>
                    <a:pt x="870" y="852"/>
                  </a:lnTo>
                  <a:lnTo>
                    <a:pt x="870" y="846"/>
                  </a:lnTo>
                  <a:lnTo>
                    <a:pt x="876" y="846"/>
                  </a:lnTo>
                  <a:lnTo>
                    <a:pt x="882" y="846"/>
                  </a:lnTo>
                  <a:lnTo>
                    <a:pt x="888" y="840"/>
                  </a:lnTo>
                  <a:lnTo>
                    <a:pt x="894" y="834"/>
                  </a:lnTo>
                  <a:lnTo>
                    <a:pt x="894" y="828"/>
                  </a:lnTo>
                  <a:lnTo>
                    <a:pt x="894" y="816"/>
                  </a:lnTo>
                  <a:lnTo>
                    <a:pt x="858" y="810"/>
                  </a:lnTo>
                  <a:lnTo>
                    <a:pt x="858" y="816"/>
                  </a:lnTo>
                  <a:lnTo>
                    <a:pt x="852" y="816"/>
                  </a:lnTo>
                  <a:lnTo>
                    <a:pt x="780" y="816"/>
                  </a:lnTo>
                  <a:lnTo>
                    <a:pt x="750" y="816"/>
                  </a:lnTo>
                  <a:lnTo>
                    <a:pt x="684" y="816"/>
                  </a:lnTo>
                  <a:lnTo>
                    <a:pt x="636" y="816"/>
                  </a:lnTo>
                  <a:lnTo>
                    <a:pt x="612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0" y="816"/>
                  </a:lnTo>
                  <a:lnTo>
                    <a:pt x="480" y="822"/>
                  </a:lnTo>
                  <a:lnTo>
                    <a:pt x="480" y="834"/>
                  </a:lnTo>
                  <a:lnTo>
                    <a:pt x="474" y="840"/>
                  </a:lnTo>
                  <a:lnTo>
                    <a:pt x="468" y="840"/>
                  </a:lnTo>
                  <a:lnTo>
                    <a:pt x="432" y="840"/>
                  </a:lnTo>
                  <a:lnTo>
                    <a:pt x="426" y="834"/>
                  </a:lnTo>
                  <a:lnTo>
                    <a:pt x="420" y="834"/>
                  </a:lnTo>
                  <a:lnTo>
                    <a:pt x="420" y="828"/>
                  </a:lnTo>
                  <a:lnTo>
                    <a:pt x="414" y="822"/>
                  </a:lnTo>
                  <a:lnTo>
                    <a:pt x="408" y="822"/>
                  </a:lnTo>
                  <a:lnTo>
                    <a:pt x="396" y="822"/>
                  </a:lnTo>
                  <a:lnTo>
                    <a:pt x="396" y="816"/>
                  </a:lnTo>
                  <a:lnTo>
                    <a:pt x="384" y="816"/>
                  </a:lnTo>
                  <a:lnTo>
                    <a:pt x="372" y="810"/>
                  </a:lnTo>
                  <a:lnTo>
                    <a:pt x="372" y="804"/>
                  </a:lnTo>
                  <a:lnTo>
                    <a:pt x="366" y="804"/>
                  </a:lnTo>
                  <a:lnTo>
                    <a:pt x="360" y="804"/>
                  </a:lnTo>
                  <a:lnTo>
                    <a:pt x="348" y="828"/>
                  </a:lnTo>
                  <a:lnTo>
                    <a:pt x="348" y="834"/>
                  </a:lnTo>
                  <a:lnTo>
                    <a:pt x="348" y="852"/>
                  </a:lnTo>
                  <a:lnTo>
                    <a:pt x="348" y="858"/>
                  </a:lnTo>
                  <a:lnTo>
                    <a:pt x="342" y="864"/>
                  </a:lnTo>
                  <a:lnTo>
                    <a:pt x="342" y="870"/>
                  </a:lnTo>
                  <a:lnTo>
                    <a:pt x="330" y="876"/>
                  </a:lnTo>
                  <a:lnTo>
                    <a:pt x="324" y="888"/>
                  </a:lnTo>
                  <a:lnTo>
                    <a:pt x="324" y="894"/>
                  </a:lnTo>
                  <a:lnTo>
                    <a:pt x="330" y="900"/>
                  </a:lnTo>
                  <a:lnTo>
                    <a:pt x="330" y="906"/>
                  </a:lnTo>
                  <a:lnTo>
                    <a:pt x="324" y="906"/>
                  </a:lnTo>
                  <a:lnTo>
                    <a:pt x="318" y="912"/>
                  </a:lnTo>
                  <a:lnTo>
                    <a:pt x="312" y="918"/>
                  </a:lnTo>
                  <a:lnTo>
                    <a:pt x="306" y="924"/>
                  </a:lnTo>
                  <a:lnTo>
                    <a:pt x="288" y="924"/>
                  </a:lnTo>
                  <a:lnTo>
                    <a:pt x="282" y="924"/>
                  </a:lnTo>
                  <a:lnTo>
                    <a:pt x="276" y="930"/>
                  </a:lnTo>
                  <a:lnTo>
                    <a:pt x="270" y="930"/>
                  </a:lnTo>
                  <a:lnTo>
                    <a:pt x="264" y="930"/>
                  </a:lnTo>
                  <a:lnTo>
                    <a:pt x="198" y="930"/>
                  </a:lnTo>
                  <a:lnTo>
                    <a:pt x="132" y="930"/>
                  </a:lnTo>
                  <a:lnTo>
                    <a:pt x="132" y="936"/>
                  </a:lnTo>
                  <a:lnTo>
                    <a:pt x="132" y="942"/>
                  </a:lnTo>
                  <a:lnTo>
                    <a:pt x="132" y="948"/>
                  </a:lnTo>
                  <a:lnTo>
                    <a:pt x="126" y="948"/>
                  </a:lnTo>
                  <a:lnTo>
                    <a:pt x="120" y="948"/>
                  </a:lnTo>
                  <a:lnTo>
                    <a:pt x="120" y="954"/>
                  </a:lnTo>
                  <a:lnTo>
                    <a:pt x="114" y="954"/>
                  </a:lnTo>
                  <a:lnTo>
                    <a:pt x="114" y="960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02" y="966"/>
                  </a:lnTo>
                  <a:lnTo>
                    <a:pt x="102" y="972"/>
                  </a:lnTo>
                  <a:lnTo>
                    <a:pt x="96" y="972"/>
                  </a:lnTo>
                  <a:lnTo>
                    <a:pt x="96" y="966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78" y="960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60"/>
                  </a:lnTo>
                  <a:lnTo>
                    <a:pt x="54" y="966"/>
                  </a:lnTo>
                  <a:lnTo>
                    <a:pt x="48" y="966"/>
                  </a:lnTo>
                  <a:lnTo>
                    <a:pt x="42" y="966"/>
                  </a:lnTo>
                  <a:lnTo>
                    <a:pt x="36" y="966"/>
                  </a:lnTo>
                  <a:lnTo>
                    <a:pt x="30" y="966"/>
                  </a:lnTo>
                  <a:lnTo>
                    <a:pt x="24" y="960"/>
                  </a:lnTo>
                  <a:lnTo>
                    <a:pt x="18" y="960"/>
                  </a:lnTo>
                  <a:lnTo>
                    <a:pt x="12" y="960"/>
                  </a:lnTo>
                  <a:lnTo>
                    <a:pt x="12" y="948"/>
                  </a:lnTo>
                  <a:lnTo>
                    <a:pt x="18" y="942"/>
                  </a:lnTo>
                  <a:lnTo>
                    <a:pt x="18" y="936"/>
                  </a:lnTo>
                  <a:lnTo>
                    <a:pt x="18" y="930"/>
                  </a:lnTo>
                  <a:lnTo>
                    <a:pt x="18" y="924"/>
                  </a:lnTo>
                  <a:lnTo>
                    <a:pt x="18" y="912"/>
                  </a:lnTo>
                  <a:lnTo>
                    <a:pt x="24" y="906"/>
                  </a:lnTo>
                  <a:lnTo>
                    <a:pt x="30" y="900"/>
                  </a:lnTo>
                  <a:lnTo>
                    <a:pt x="36" y="894"/>
                  </a:lnTo>
                  <a:lnTo>
                    <a:pt x="36" y="882"/>
                  </a:lnTo>
                  <a:lnTo>
                    <a:pt x="30" y="876"/>
                  </a:lnTo>
                  <a:lnTo>
                    <a:pt x="30" y="870"/>
                  </a:lnTo>
                  <a:lnTo>
                    <a:pt x="24" y="858"/>
                  </a:lnTo>
                  <a:lnTo>
                    <a:pt x="24" y="846"/>
                  </a:lnTo>
                  <a:lnTo>
                    <a:pt x="36" y="822"/>
                  </a:lnTo>
                  <a:lnTo>
                    <a:pt x="42" y="816"/>
                  </a:lnTo>
                  <a:lnTo>
                    <a:pt x="48" y="816"/>
                  </a:lnTo>
                  <a:lnTo>
                    <a:pt x="60" y="804"/>
                  </a:lnTo>
                  <a:lnTo>
                    <a:pt x="60" y="786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54" y="762"/>
                  </a:lnTo>
                  <a:lnTo>
                    <a:pt x="42" y="762"/>
                  </a:lnTo>
                  <a:lnTo>
                    <a:pt x="36" y="762"/>
                  </a:lnTo>
                  <a:lnTo>
                    <a:pt x="30" y="762"/>
                  </a:lnTo>
                  <a:lnTo>
                    <a:pt x="30" y="756"/>
                  </a:lnTo>
                  <a:lnTo>
                    <a:pt x="24" y="750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702"/>
                  </a:lnTo>
                  <a:lnTo>
                    <a:pt x="36" y="684"/>
                  </a:lnTo>
                  <a:lnTo>
                    <a:pt x="36" y="678"/>
                  </a:lnTo>
                  <a:lnTo>
                    <a:pt x="36" y="666"/>
                  </a:lnTo>
                  <a:lnTo>
                    <a:pt x="36" y="654"/>
                  </a:lnTo>
                  <a:lnTo>
                    <a:pt x="18" y="654"/>
                  </a:lnTo>
                  <a:lnTo>
                    <a:pt x="18" y="648"/>
                  </a:lnTo>
                  <a:lnTo>
                    <a:pt x="18" y="618"/>
                  </a:lnTo>
                  <a:lnTo>
                    <a:pt x="18" y="612"/>
                  </a:lnTo>
                  <a:lnTo>
                    <a:pt x="24" y="612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54" y="588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76"/>
                  </a:lnTo>
                  <a:lnTo>
                    <a:pt x="48" y="564"/>
                  </a:lnTo>
                  <a:lnTo>
                    <a:pt x="42" y="564"/>
                  </a:lnTo>
                  <a:lnTo>
                    <a:pt x="36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6" y="540"/>
                  </a:lnTo>
                  <a:lnTo>
                    <a:pt x="48" y="534"/>
                  </a:lnTo>
                  <a:lnTo>
                    <a:pt x="54" y="528"/>
                  </a:lnTo>
                  <a:lnTo>
                    <a:pt x="60" y="504"/>
                  </a:lnTo>
                  <a:lnTo>
                    <a:pt x="60" y="492"/>
                  </a:lnTo>
                  <a:lnTo>
                    <a:pt x="54" y="492"/>
                  </a:lnTo>
                  <a:lnTo>
                    <a:pt x="54" y="480"/>
                  </a:lnTo>
                  <a:lnTo>
                    <a:pt x="48" y="456"/>
                  </a:lnTo>
                  <a:lnTo>
                    <a:pt x="42" y="450"/>
                  </a:lnTo>
                  <a:lnTo>
                    <a:pt x="36" y="444"/>
                  </a:lnTo>
                  <a:lnTo>
                    <a:pt x="36" y="420"/>
                  </a:lnTo>
                  <a:lnTo>
                    <a:pt x="36" y="408"/>
                  </a:lnTo>
                  <a:lnTo>
                    <a:pt x="36" y="37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60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6" y="300"/>
                  </a:lnTo>
                  <a:lnTo>
                    <a:pt x="60" y="294"/>
                  </a:lnTo>
                  <a:lnTo>
                    <a:pt x="60" y="288"/>
                  </a:lnTo>
                  <a:lnTo>
                    <a:pt x="54" y="282"/>
                  </a:lnTo>
                  <a:lnTo>
                    <a:pt x="42" y="276"/>
                  </a:lnTo>
                  <a:lnTo>
                    <a:pt x="36" y="276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0" y="252"/>
                  </a:lnTo>
                  <a:lnTo>
                    <a:pt x="24" y="246"/>
                  </a:lnTo>
                  <a:lnTo>
                    <a:pt x="24" y="240"/>
                  </a:lnTo>
                  <a:lnTo>
                    <a:pt x="24" y="228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62"/>
                  </a:lnTo>
                  <a:lnTo>
                    <a:pt x="24" y="144"/>
                  </a:lnTo>
                  <a:lnTo>
                    <a:pt x="24" y="132"/>
                  </a:lnTo>
                  <a:lnTo>
                    <a:pt x="24" y="114"/>
                  </a:lnTo>
                  <a:lnTo>
                    <a:pt x="24" y="102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18" y="48"/>
                  </a:lnTo>
                  <a:lnTo>
                    <a:pt x="42" y="36"/>
                  </a:lnTo>
                  <a:lnTo>
                    <a:pt x="54" y="24"/>
                  </a:lnTo>
                  <a:lnTo>
                    <a:pt x="60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10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14" y="60"/>
                  </a:lnTo>
                  <a:lnTo>
                    <a:pt x="120" y="60"/>
                  </a:lnTo>
                  <a:lnTo>
                    <a:pt x="114" y="84"/>
                  </a:lnTo>
                  <a:lnTo>
                    <a:pt x="120" y="90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38" y="114"/>
                  </a:lnTo>
                  <a:lnTo>
                    <a:pt x="138" y="132"/>
                  </a:lnTo>
                  <a:lnTo>
                    <a:pt x="162" y="126"/>
                  </a:lnTo>
                  <a:lnTo>
                    <a:pt x="162" y="114"/>
                  </a:lnTo>
                  <a:lnTo>
                    <a:pt x="174" y="108"/>
                  </a:lnTo>
                  <a:lnTo>
                    <a:pt x="174" y="102"/>
                  </a:lnTo>
                  <a:lnTo>
                    <a:pt x="180" y="96"/>
                  </a:lnTo>
                  <a:lnTo>
                    <a:pt x="180" y="60"/>
                  </a:lnTo>
                  <a:lnTo>
                    <a:pt x="192" y="60"/>
                  </a:lnTo>
                  <a:lnTo>
                    <a:pt x="192" y="72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04" y="108"/>
                  </a:lnTo>
                  <a:lnTo>
                    <a:pt x="204" y="114"/>
                  </a:lnTo>
                  <a:lnTo>
                    <a:pt x="204" y="120"/>
                  </a:lnTo>
                  <a:lnTo>
                    <a:pt x="204" y="126"/>
                  </a:lnTo>
                  <a:lnTo>
                    <a:pt x="210" y="126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8" y="174"/>
                  </a:lnTo>
                  <a:lnTo>
                    <a:pt x="198" y="180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86" y="204"/>
                  </a:lnTo>
                  <a:lnTo>
                    <a:pt x="186" y="210"/>
                  </a:lnTo>
                  <a:lnTo>
                    <a:pt x="180" y="210"/>
                  </a:lnTo>
                  <a:lnTo>
                    <a:pt x="180" y="216"/>
                  </a:lnTo>
                  <a:lnTo>
                    <a:pt x="180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92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8" y="258"/>
                  </a:lnTo>
                  <a:lnTo>
                    <a:pt x="204" y="258"/>
                  </a:lnTo>
                  <a:lnTo>
                    <a:pt x="210" y="258"/>
                  </a:lnTo>
                  <a:lnTo>
                    <a:pt x="216" y="258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34" y="276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46" y="306"/>
                  </a:lnTo>
                  <a:lnTo>
                    <a:pt x="252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42"/>
                  </a:lnTo>
                  <a:lnTo>
                    <a:pt x="270" y="342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88" y="366"/>
                  </a:lnTo>
                  <a:lnTo>
                    <a:pt x="336" y="360"/>
                  </a:lnTo>
                  <a:lnTo>
                    <a:pt x="354" y="360"/>
                  </a:lnTo>
                  <a:lnTo>
                    <a:pt x="366" y="372"/>
                  </a:lnTo>
                  <a:lnTo>
                    <a:pt x="378" y="378"/>
                  </a:lnTo>
                  <a:lnTo>
                    <a:pt x="378" y="390"/>
                  </a:lnTo>
                  <a:lnTo>
                    <a:pt x="384" y="390"/>
                  </a:lnTo>
                  <a:lnTo>
                    <a:pt x="390" y="396"/>
                  </a:lnTo>
                  <a:lnTo>
                    <a:pt x="408" y="390"/>
                  </a:lnTo>
                  <a:lnTo>
                    <a:pt x="426" y="366"/>
                  </a:lnTo>
                  <a:lnTo>
                    <a:pt x="432" y="360"/>
                  </a:lnTo>
                  <a:lnTo>
                    <a:pt x="438" y="348"/>
                  </a:lnTo>
                  <a:lnTo>
                    <a:pt x="438" y="342"/>
                  </a:lnTo>
                  <a:lnTo>
                    <a:pt x="438" y="330"/>
                  </a:lnTo>
                  <a:lnTo>
                    <a:pt x="444" y="324"/>
                  </a:lnTo>
                  <a:lnTo>
                    <a:pt x="450" y="318"/>
                  </a:lnTo>
                  <a:lnTo>
                    <a:pt x="456" y="312"/>
                  </a:lnTo>
                  <a:lnTo>
                    <a:pt x="456" y="306"/>
                  </a:lnTo>
                  <a:lnTo>
                    <a:pt x="456" y="300"/>
                  </a:lnTo>
                  <a:lnTo>
                    <a:pt x="474" y="288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92" y="294"/>
                  </a:lnTo>
                  <a:lnTo>
                    <a:pt x="492" y="318"/>
                  </a:lnTo>
                  <a:lnTo>
                    <a:pt x="504" y="324"/>
                  </a:lnTo>
                  <a:lnTo>
                    <a:pt x="492" y="348"/>
                  </a:lnTo>
                  <a:lnTo>
                    <a:pt x="522" y="348"/>
                  </a:lnTo>
                  <a:lnTo>
                    <a:pt x="528" y="342"/>
                  </a:lnTo>
                  <a:lnTo>
                    <a:pt x="528" y="336"/>
                  </a:lnTo>
                  <a:lnTo>
                    <a:pt x="528" y="330"/>
                  </a:lnTo>
                  <a:lnTo>
                    <a:pt x="534" y="330"/>
                  </a:lnTo>
                  <a:lnTo>
                    <a:pt x="540" y="330"/>
                  </a:lnTo>
                  <a:lnTo>
                    <a:pt x="546" y="330"/>
                  </a:lnTo>
                  <a:lnTo>
                    <a:pt x="552" y="324"/>
                  </a:lnTo>
                  <a:lnTo>
                    <a:pt x="558" y="318"/>
                  </a:lnTo>
                  <a:lnTo>
                    <a:pt x="576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8" y="348"/>
                  </a:lnTo>
                  <a:lnTo>
                    <a:pt x="654" y="354"/>
                  </a:lnTo>
                  <a:lnTo>
                    <a:pt x="648" y="402"/>
                  </a:lnTo>
                  <a:lnTo>
                    <a:pt x="678" y="402"/>
                  </a:lnTo>
                  <a:lnTo>
                    <a:pt x="678" y="420"/>
                  </a:lnTo>
                  <a:lnTo>
                    <a:pt x="684" y="438"/>
                  </a:lnTo>
                  <a:lnTo>
                    <a:pt x="684" y="450"/>
                  </a:lnTo>
                  <a:lnTo>
                    <a:pt x="684" y="456"/>
                  </a:lnTo>
                  <a:lnTo>
                    <a:pt x="690" y="468"/>
                  </a:lnTo>
                  <a:lnTo>
                    <a:pt x="690" y="474"/>
                  </a:lnTo>
                  <a:lnTo>
                    <a:pt x="690" y="480"/>
                  </a:lnTo>
                  <a:lnTo>
                    <a:pt x="696" y="486"/>
                  </a:lnTo>
                  <a:lnTo>
                    <a:pt x="696" y="498"/>
                  </a:lnTo>
                  <a:lnTo>
                    <a:pt x="702" y="504"/>
                  </a:lnTo>
                  <a:lnTo>
                    <a:pt x="690" y="516"/>
                  </a:lnTo>
                  <a:lnTo>
                    <a:pt x="678" y="522"/>
                  </a:lnTo>
                  <a:lnTo>
                    <a:pt x="654" y="528"/>
                  </a:lnTo>
                  <a:lnTo>
                    <a:pt x="660" y="546"/>
                  </a:lnTo>
                  <a:lnTo>
                    <a:pt x="672" y="546"/>
                  </a:lnTo>
                  <a:lnTo>
                    <a:pt x="678" y="540"/>
                  </a:lnTo>
                  <a:lnTo>
                    <a:pt x="714" y="540"/>
                  </a:lnTo>
                  <a:lnTo>
                    <a:pt x="798" y="540"/>
                  </a:lnTo>
                  <a:lnTo>
                    <a:pt x="804" y="540"/>
                  </a:lnTo>
                  <a:lnTo>
                    <a:pt x="816" y="528"/>
                  </a:lnTo>
                  <a:lnTo>
                    <a:pt x="822" y="522"/>
                  </a:lnTo>
                  <a:lnTo>
                    <a:pt x="834" y="516"/>
                  </a:lnTo>
                  <a:lnTo>
                    <a:pt x="846" y="516"/>
                  </a:lnTo>
                  <a:lnTo>
                    <a:pt x="852" y="510"/>
                  </a:lnTo>
                  <a:lnTo>
                    <a:pt x="858" y="510"/>
                  </a:lnTo>
                  <a:lnTo>
                    <a:pt x="882" y="516"/>
                  </a:lnTo>
                  <a:lnTo>
                    <a:pt x="888" y="516"/>
                  </a:lnTo>
                  <a:lnTo>
                    <a:pt x="888" y="510"/>
                  </a:lnTo>
                  <a:lnTo>
                    <a:pt x="894" y="510"/>
                  </a:lnTo>
                  <a:lnTo>
                    <a:pt x="906" y="504"/>
                  </a:lnTo>
                  <a:lnTo>
                    <a:pt x="918" y="498"/>
                  </a:lnTo>
                  <a:lnTo>
                    <a:pt x="930" y="492"/>
                  </a:lnTo>
                  <a:lnTo>
                    <a:pt x="936" y="492"/>
                  </a:lnTo>
                  <a:lnTo>
                    <a:pt x="948" y="492"/>
                  </a:lnTo>
                  <a:lnTo>
                    <a:pt x="954" y="528"/>
                  </a:lnTo>
                  <a:lnTo>
                    <a:pt x="954" y="564"/>
                  </a:lnTo>
                  <a:lnTo>
                    <a:pt x="972" y="564"/>
                  </a:lnTo>
                  <a:lnTo>
                    <a:pt x="978" y="558"/>
                  </a:lnTo>
                  <a:lnTo>
                    <a:pt x="990" y="552"/>
                  </a:lnTo>
                  <a:lnTo>
                    <a:pt x="1002" y="540"/>
                  </a:lnTo>
                  <a:lnTo>
                    <a:pt x="1026" y="534"/>
                  </a:lnTo>
                  <a:lnTo>
                    <a:pt x="1032" y="540"/>
                  </a:lnTo>
                  <a:lnTo>
                    <a:pt x="1044" y="546"/>
                  </a:lnTo>
                  <a:lnTo>
                    <a:pt x="1062" y="552"/>
                  </a:lnTo>
                  <a:lnTo>
                    <a:pt x="1068" y="552"/>
                  </a:lnTo>
                  <a:lnTo>
                    <a:pt x="1068" y="570"/>
                  </a:lnTo>
                  <a:lnTo>
                    <a:pt x="1068" y="576"/>
                  </a:lnTo>
                  <a:lnTo>
                    <a:pt x="1068" y="582"/>
                  </a:lnTo>
                  <a:lnTo>
                    <a:pt x="1068" y="588"/>
                  </a:lnTo>
                  <a:lnTo>
                    <a:pt x="1068" y="594"/>
                  </a:lnTo>
                  <a:lnTo>
                    <a:pt x="1080" y="600"/>
                  </a:lnTo>
                  <a:lnTo>
                    <a:pt x="1086" y="606"/>
                  </a:lnTo>
                  <a:lnTo>
                    <a:pt x="1092" y="594"/>
                  </a:lnTo>
                  <a:lnTo>
                    <a:pt x="1104" y="588"/>
                  </a:lnTo>
                  <a:lnTo>
                    <a:pt x="1116" y="588"/>
                  </a:lnTo>
                  <a:lnTo>
                    <a:pt x="1122" y="588"/>
                  </a:lnTo>
                  <a:lnTo>
                    <a:pt x="1122" y="594"/>
                  </a:lnTo>
                  <a:lnTo>
                    <a:pt x="1128" y="594"/>
                  </a:lnTo>
                  <a:lnTo>
                    <a:pt x="1134" y="594"/>
                  </a:lnTo>
                  <a:lnTo>
                    <a:pt x="1140" y="594"/>
                  </a:lnTo>
                  <a:lnTo>
                    <a:pt x="1146" y="588"/>
                  </a:lnTo>
                  <a:lnTo>
                    <a:pt x="1158" y="582"/>
                  </a:lnTo>
                  <a:lnTo>
                    <a:pt x="1164" y="576"/>
                  </a:lnTo>
                  <a:lnTo>
                    <a:pt x="1176" y="576"/>
                  </a:lnTo>
                  <a:lnTo>
                    <a:pt x="1194" y="576"/>
                  </a:lnTo>
                  <a:lnTo>
                    <a:pt x="1218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24" y="594"/>
                  </a:lnTo>
                  <a:lnTo>
                    <a:pt x="1212" y="600"/>
                  </a:lnTo>
                  <a:lnTo>
                    <a:pt x="1206" y="606"/>
                  </a:lnTo>
                  <a:lnTo>
                    <a:pt x="1200" y="606"/>
                  </a:lnTo>
                  <a:lnTo>
                    <a:pt x="1200" y="612"/>
                  </a:lnTo>
                  <a:lnTo>
                    <a:pt x="1194" y="612"/>
                  </a:lnTo>
                  <a:lnTo>
                    <a:pt x="1194" y="618"/>
                  </a:lnTo>
                  <a:lnTo>
                    <a:pt x="1194" y="624"/>
                  </a:lnTo>
                  <a:lnTo>
                    <a:pt x="1194" y="630"/>
                  </a:lnTo>
                  <a:lnTo>
                    <a:pt x="1194" y="648"/>
                  </a:lnTo>
                  <a:lnTo>
                    <a:pt x="1194" y="660"/>
                  </a:lnTo>
                  <a:lnTo>
                    <a:pt x="1194" y="666"/>
                  </a:lnTo>
                  <a:lnTo>
                    <a:pt x="1194" y="672"/>
                  </a:lnTo>
                  <a:lnTo>
                    <a:pt x="1194" y="678"/>
                  </a:lnTo>
                  <a:lnTo>
                    <a:pt x="1188" y="684"/>
                  </a:lnTo>
                  <a:lnTo>
                    <a:pt x="1188" y="690"/>
                  </a:lnTo>
                  <a:lnTo>
                    <a:pt x="1188" y="696"/>
                  </a:lnTo>
                  <a:lnTo>
                    <a:pt x="1188" y="702"/>
                  </a:lnTo>
                  <a:lnTo>
                    <a:pt x="1188" y="708"/>
                  </a:lnTo>
                  <a:lnTo>
                    <a:pt x="1188" y="714"/>
                  </a:lnTo>
                  <a:lnTo>
                    <a:pt x="1182" y="720"/>
                  </a:lnTo>
                  <a:lnTo>
                    <a:pt x="1170" y="720"/>
                  </a:lnTo>
                  <a:lnTo>
                    <a:pt x="1158" y="726"/>
                  </a:lnTo>
                  <a:lnTo>
                    <a:pt x="1152" y="726"/>
                  </a:lnTo>
                  <a:lnTo>
                    <a:pt x="1152" y="732"/>
                  </a:lnTo>
                  <a:lnTo>
                    <a:pt x="1146" y="738"/>
                  </a:lnTo>
                  <a:lnTo>
                    <a:pt x="1140" y="738"/>
                  </a:lnTo>
                  <a:lnTo>
                    <a:pt x="1140" y="744"/>
                  </a:lnTo>
                  <a:lnTo>
                    <a:pt x="1134" y="744"/>
                  </a:lnTo>
                  <a:lnTo>
                    <a:pt x="1128" y="744"/>
                  </a:lnTo>
                  <a:lnTo>
                    <a:pt x="1122" y="750"/>
                  </a:lnTo>
                  <a:lnTo>
                    <a:pt x="1128" y="750"/>
                  </a:lnTo>
                  <a:lnTo>
                    <a:pt x="1122" y="756"/>
                  </a:lnTo>
                  <a:lnTo>
                    <a:pt x="1116" y="756"/>
                  </a:lnTo>
                  <a:lnTo>
                    <a:pt x="1110" y="762"/>
                  </a:lnTo>
                  <a:lnTo>
                    <a:pt x="1104" y="762"/>
                  </a:lnTo>
                  <a:lnTo>
                    <a:pt x="1104" y="768"/>
                  </a:lnTo>
                  <a:lnTo>
                    <a:pt x="1098" y="768"/>
                  </a:lnTo>
                  <a:lnTo>
                    <a:pt x="1098" y="774"/>
                  </a:lnTo>
                  <a:lnTo>
                    <a:pt x="1092" y="774"/>
                  </a:lnTo>
                  <a:lnTo>
                    <a:pt x="1092" y="780"/>
                  </a:lnTo>
                  <a:lnTo>
                    <a:pt x="1086" y="780"/>
                  </a:lnTo>
                  <a:lnTo>
                    <a:pt x="1086" y="786"/>
                  </a:lnTo>
                  <a:lnTo>
                    <a:pt x="1080" y="786"/>
                  </a:lnTo>
                  <a:lnTo>
                    <a:pt x="1080" y="792"/>
                  </a:lnTo>
                  <a:lnTo>
                    <a:pt x="1080" y="798"/>
                  </a:lnTo>
                  <a:lnTo>
                    <a:pt x="1080" y="804"/>
                  </a:lnTo>
                  <a:lnTo>
                    <a:pt x="1086" y="810"/>
                  </a:lnTo>
                  <a:lnTo>
                    <a:pt x="1080" y="816"/>
                  </a:lnTo>
                  <a:lnTo>
                    <a:pt x="1080" y="822"/>
                  </a:lnTo>
                  <a:lnTo>
                    <a:pt x="1074" y="822"/>
                  </a:lnTo>
                  <a:lnTo>
                    <a:pt x="1068" y="828"/>
                  </a:lnTo>
                  <a:lnTo>
                    <a:pt x="1074" y="828"/>
                  </a:lnTo>
                  <a:lnTo>
                    <a:pt x="1074" y="834"/>
                  </a:lnTo>
                  <a:lnTo>
                    <a:pt x="1080" y="846"/>
                  </a:lnTo>
                  <a:lnTo>
                    <a:pt x="1086" y="846"/>
                  </a:lnTo>
                  <a:lnTo>
                    <a:pt x="1092" y="852"/>
                  </a:lnTo>
                  <a:lnTo>
                    <a:pt x="1092" y="858"/>
                  </a:lnTo>
                  <a:lnTo>
                    <a:pt x="1098" y="858"/>
                  </a:lnTo>
                  <a:lnTo>
                    <a:pt x="1110" y="864"/>
                  </a:lnTo>
                  <a:lnTo>
                    <a:pt x="1116" y="864"/>
                  </a:lnTo>
                  <a:lnTo>
                    <a:pt x="1122" y="864"/>
                  </a:lnTo>
                  <a:lnTo>
                    <a:pt x="1128" y="864"/>
                  </a:lnTo>
                  <a:lnTo>
                    <a:pt x="1134" y="876"/>
                  </a:lnTo>
                  <a:lnTo>
                    <a:pt x="1140" y="882"/>
                  </a:lnTo>
                  <a:lnTo>
                    <a:pt x="1140" y="888"/>
                  </a:lnTo>
                  <a:lnTo>
                    <a:pt x="1152" y="918"/>
                  </a:lnTo>
                  <a:lnTo>
                    <a:pt x="1158" y="894"/>
                  </a:lnTo>
                  <a:lnTo>
                    <a:pt x="1164" y="888"/>
                  </a:lnTo>
                  <a:lnTo>
                    <a:pt x="1164" y="882"/>
                  </a:lnTo>
                  <a:lnTo>
                    <a:pt x="1176" y="864"/>
                  </a:lnTo>
                  <a:lnTo>
                    <a:pt x="1182" y="858"/>
                  </a:lnTo>
                  <a:lnTo>
                    <a:pt x="1188" y="846"/>
                  </a:lnTo>
                  <a:lnTo>
                    <a:pt x="1200" y="840"/>
                  </a:lnTo>
                  <a:lnTo>
                    <a:pt x="1212" y="840"/>
                  </a:lnTo>
                  <a:lnTo>
                    <a:pt x="1218" y="846"/>
                  </a:lnTo>
                  <a:lnTo>
                    <a:pt x="1224" y="858"/>
                  </a:lnTo>
                  <a:lnTo>
                    <a:pt x="1224" y="864"/>
                  </a:lnTo>
                  <a:lnTo>
                    <a:pt x="1224" y="876"/>
                  </a:lnTo>
                  <a:lnTo>
                    <a:pt x="1212" y="912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00" y="930"/>
                  </a:lnTo>
                  <a:lnTo>
                    <a:pt x="1200" y="942"/>
                  </a:lnTo>
                  <a:lnTo>
                    <a:pt x="1194" y="948"/>
                  </a:lnTo>
                  <a:lnTo>
                    <a:pt x="1194" y="960"/>
                  </a:lnTo>
                  <a:lnTo>
                    <a:pt x="1194" y="966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70" y="984"/>
                  </a:lnTo>
                  <a:lnTo>
                    <a:pt x="1164" y="984"/>
                  </a:lnTo>
                  <a:lnTo>
                    <a:pt x="1158" y="984"/>
                  </a:lnTo>
                  <a:lnTo>
                    <a:pt x="1146" y="984"/>
                  </a:lnTo>
                  <a:lnTo>
                    <a:pt x="1140" y="990"/>
                  </a:lnTo>
                  <a:lnTo>
                    <a:pt x="1140" y="996"/>
                  </a:lnTo>
                  <a:lnTo>
                    <a:pt x="1152" y="996"/>
                  </a:lnTo>
                  <a:lnTo>
                    <a:pt x="1176" y="1002"/>
                  </a:lnTo>
                  <a:lnTo>
                    <a:pt x="1194" y="1008"/>
                  </a:lnTo>
                  <a:lnTo>
                    <a:pt x="1206" y="1008"/>
                  </a:lnTo>
                  <a:lnTo>
                    <a:pt x="1218" y="1014"/>
                  </a:lnTo>
                  <a:lnTo>
                    <a:pt x="1212" y="1038"/>
                  </a:lnTo>
                  <a:lnTo>
                    <a:pt x="1212" y="1044"/>
                  </a:lnTo>
                  <a:lnTo>
                    <a:pt x="1206" y="1044"/>
                  </a:lnTo>
                  <a:lnTo>
                    <a:pt x="1206" y="1050"/>
                  </a:lnTo>
                  <a:lnTo>
                    <a:pt x="1194" y="1050"/>
                  </a:lnTo>
                  <a:lnTo>
                    <a:pt x="1188" y="1044"/>
                  </a:lnTo>
                  <a:lnTo>
                    <a:pt x="1158" y="1020"/>
                  </a:lnTo>
                  <a:lnTo>
                    <a:pt x="1152" y="1020"/>
                  </a:lnTo>
                  <a:lnTo>
                    <a:pt x="1140" y="1020"/>
                  </a:lnTo>
                  <a:lnTo>
                    <a:pt x="1134" y="1020"/>
                  </a:lnTo>
                  <a:lnTo>
                    <a:pt x="1134" y="1026"/>
                  </a:lnTo>
                  <a:lnTo>
                    <a:pt x="1134" y="1032"/>
                  </a:lnTo>
                  <a:lnTo>
                    <a:pt x="1128" y="103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2" name="Freeform 27">
              <a:extLst>
                <a:ext uri="{FF2B5EF4-FFF2-40B4-BE49-F238E27FC236}">
                  <a16:creationId xmlns:a16="http://schemas.microsoft.com/office/drawing/2014/main" id="{CE95C9DF-B651-4085-946F-65424BC51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2063" y="3421400"/>
              <a:ext cx="342138" cy="377969"/>
            </a:xfrm>
            <a:custGeom>
              <a:avLst/>
              <a:gdLst>
                <a:gd name="T0" fmla="*/ 43 w 642"/>
                <a:gd name="T1" fmla="*/ 41 h 708"/>
                <a:gd name="T2" fmla="*/ 39 w 642"/>
                <a:gd name="T3" fmla="*/ 41 h 708"/>
                <a:gd name="T4" fmla="*/ 38 w 642"/>
                <a:gd name="T5" fmla="*/ 47 h 708"/>
                <a:gd name="T6" fmla="*/ 38 w 642"/>
                <a:gd name="T7" fmla="*/ 49 h 708"/>
                <a:gd name="T8" fmla="*/ 38 w 642"/>
                <a:gd name="T9" fmla="*/ 50 h 708"/>
                <a:gd name="T10" fmla="*/ 36 w 642"/>
                <a:gd name="T11" fmla="*/ 52 h 708"/>
                <a:gd name="T12" fmla="*/ 35 w 642"/>
                <a:gd name="T13" fmla="*/ 53 h 708"/>
                <a:gd name="T14" fmla="*/ 33 w 642"/>
                <a:gd name="T15" fmla="*/ 55 h 708"/>
                <a:gd name="T16" fmla="*/ 32 w 642"/>
                <a:gd name="T17" fmla="*/ 56 h 708"/>
                <a:gd name="T18" fmla="*/ 31 w 642"/>
                <a:gd name="T19" fmla="*/ 59 h 708"/>
                <a:gd name="T20" fmla="*/ 26 w 642"/>
                <a:gd name="T21" fmla="*/ 59 h 708"/>
                <a:gd name="T22" fmla="*/ 23 w 642"/>
                <a:gd name="T23" fmla="*/ 61 h 708"/>
                <a:gd name="T24" fmla="*/ 20 w 642"/>
                <a:gd name="T25" fmla="*/ 61 h 708"/>
                <a:gd name="T26" fmla="*/ 17 w 642"/>
                <a:gd name="T27" fmla="*/ 59 h 708"/>
                <a:gd name="T28" fmla="*/ 15 w 642"/>
                <a:gd name="T29" fmla="*/ 56 h 708"/>
                <a:gd name="T30" fmla="*/ 9 w 642"/>
                <a:gd name="T31" fmla="*/ 58 h 708"/>
                <a:gd name="T32" fmla="*/ 6 w 642"/>
                <a:gd name="T33" fmla="*/ 52 h 708"/>
                <a:gd name="T34" fmla="*/ 2 w 642"/>
                <a:gd name="T35" fmla="*/ 53 h 708"/>
                <a:gd name="T36" fmla="*/ 1 w 642"/>
                <a:gd name="T37" fmla="*/ 51 h 708"/>
                <a:gd name="T38" fmla="*/ 4 w 642"/>
                <a:gd name="T39" fmla="*/ 47 h 708"/>
                <a:gd name="T40" fmla="*/ 5 w 642"/>
                <a:gd name="T41" fmla="*/ 41 h 708"/>
                <a:gd name="T42" fmla="*/ 5 w 642"/>
                <a:gd name="T43" fmla="*/ 38 h 708"/>
                <a:gd name="T44" fmla="*/ 5 w 642"/>
                <a:gd name="T45" fmla="*/ 35 h 708"/>
                <a:gd name="T46" fmla="*/ 6 w 642"/>
                <a:gd name="T47" fmla="*/ 33 h 708"/>
                <a:gd name="T48" fmla="*/ 5 w 642"/>
                <a:gd name="T49" fmla="*/ 29 h 708"/>
                <a:gd name="T50" fmla="*/ 4 w 642"/>
                <a:gd name="T51" fmla="*/ 28 h 708"/>
                <a:gd name="T52" fmla="*/ 1 w 642"/>
                <a:gd name="T53" fmla="*/ 26 h 708"/>
                <a:gd name="T54" fmla="*/ 1 w 642"/>
                <a:gd name="T55" fmla="*/ 24 h 708"/>
                <a:gd name="T56" fmla="*/ 1 w 642"/>
                <a:gd name="T57" fmla="*/ 20 h 708"/>
                <a:gd name="T58" fmla="*/ 1 w 642"/>
                <a:gd name="T59" fmla="*/ 16 h 708"/>
                <a:gd name="T60" fmla="*/ 2 w 642"/>
                <a:gd name="T61" fmla="*/ 14 h 708"/>
                <a:gd name="T62" fmla="*/ 8 w 642"/>
                <a:gd name="T63" fmla="*/ 14 h 708"/>
                <a:gd name="T64" fmla="*/ 9 w 642"/>
                <a:gd name="T65" fmla="*/ 10 h 708"/>
                <a:gd name="T66" fmla="*/ 15 w 642"/>
                <a:gd name="T67" fmla="*/ 9 h 708"/>
                <a:gd name="T68" fmla="*/ 18 w 642"/>
                <a:gd name="T69" fmla="*/ 14 h 708"/>
                <a:gd name="T70" fmla="*/ 20 w 642"/>
                <a:gd name="T71" fmla="*/ 12 h 708"/>
                <a:gd name="T72" fmla="*/ 20 w 642"/>
                <a:gd name="T73" fmla="*/ 11 h 708"/>
                <a:gd name="T74" fmla="*/ 21 w 642"/>
                <a:gd name="T75" fmla="*/ 9 h 708"/>
                <a:gd name="T76" fmla="*/ 24 w 642"/>
                <a:gd name="T77" fmla="*/ 9 h 708"/>
                <a:gd name="T78" fmla="*/ 27 w 642"/>
                <a:gd name="T79" fmla="*/ 8 h 708"/>
                <a:gd name="T80" fmla="*/ 33 w 642"/>
                <a:gd name="T81" fmla="*/ 2 h 708"/>
                <a:gd name="T82" fmla="*/ 42 w 642"/>
                <a:gd name="T83" fmla="*/ 2 h 708"/>
                <a:gd name="T84" fmla="*/ 49 w 642"/>
                <a:gd name="T85" fmla="*/ 1 h 708"/>
                <a:gd name="T86" fmla="*/ 53 w 642"/>
                <a:gd name="T87" fmla="*/ 4 h 708"/>
                <a:gd name="T88" fmla="*/ 55 w 642"/>
                <a:gd name="T89" fmla="*/ 4 h 708"/>
                <a:gd name="T90" fmla="*/ 55 w 642"/>
                <a:gd name="T91" fmla="*/ 7 h 708"/>
                <a:gd name="T92" fmla="*/ 52 w 642"/>
                <a:gd name="T93" fmla="*/ 9 h 708"/>
                <a:gd name="T94" fmla="*/ 49 w 642"/>
                <a:gd name="T95" fmla="*/ 12 h 708"/>
                <a:gd name="T96" fmla="*/ 47 w 642"/>
                <a:gd name="T97" fmla="*/ 14 h 708"/>
                <a:gd name="T98" fmla="*/ 47 w 642"/>
                <a:gd name="T99" fmla="*/ 17 h 708"/>
                <a:gd name="T100" fmla="*/ 45 w 642"/>
                <a:gd name="T101" fmla="*/ 26 h 708"/>
                <a:gd name="T102" fmla="*/ 50 w 642"/>
                <a:gd name="T103" fmla="*/ 37 h 70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42"/>
                <a:gd name="T157" fmla="*/ 0 h 708"/>
                <a:gd name="T158" fmla="*/ 642 w 642"/>
                <a:gd name="T159" fmla="*/ 708 h 70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42" h="708">
                  <a:moveTo>
                    <a:pt x="576" y="468"/>
                  </a:moveTo>
                  <a:lnTo>
                    <a:pt x="564" y="468"/>
                  </a:lnTo>
                  <a:lnTo>
                    <a:pt x="516" y="468"/>
                  </a:lnTo>
                  <a:lnTo>
                    <a:pt x="498" y="474"/>
                  </a:lnTo>
                  <a:lnTo>
                    <a:pt x="492" y="468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68" y="474"/>
                  </a:lnTo>
                  <a:lnTo>
                    <a:pt x="456" y="468"/>
                  </a:lnTo>
                  <a:lnTo>
                    <a:pt x="444" y="474"/>
                  </a:lnTo>
                  <a:lnTo>
                    <a:pt x="438" y="492"/>
                  </a:lnTo>
                  <a:lnTo>
                    <a:pt x="438" y="504"/>
                  </a:lnTo>
                  <a:lnTo>
                    <a:pt x="432" y="516"/>
                  </a:lnTo>
                  <a:lnTo>
                    <a:pt x="432" y="528"/>
                  </a:lnTo>
                  <a:lnTo>
                    <a:pt x="432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52"/>
                  </a:lnTo>
                  <a:lnTo>
                    <a:pt x="432" y="558"/>
                  </a:lnTo>
                  <a:lnTo>
                    <a:pt x="438" y="564"/>
                  </a:lnTo>
                  <a:lnTo>
                    <a:pt x="444" y="564"/>
                  </a:lnTo>
                  <a:lnTo>
                    <a:pt x="438" y="564"/>
                  </a:lnTo>
                  <a:lnTo>
                    <a:pt x="438" y="570"/>
                  </a:lnTo>
                  <a:lnTo>
                    <a:pt x="432" y="570"/>
                  </a:lnTo>
                  <a:lnTo>
                    <a:pt x="432" y="576"/>
                  </a:lnTo>
                  <a:lnTo>
                    <a:pt x="426" y="588"/>
                  </a:lnTo>
                  <a:lnTo>
                    <a:pt x="420" y="594"/>
                  </a:lnTo>
                  <a:lnTo>
                    <a:pt x="420" y="600"/>
                  </a:lnTo>
                  <a:lnTo>
                    <a:pt x="414" y="600"/>
                  </a:lnTo>
                  <a:lnTo>
                    <a:pt x="414" y="606"/>
                  </a:lnTo>
                  <a:lnTo>
                    <a:pt x="408" y="606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396" y="612"/>
                  </a:lnTo>
                  <a:lnTo>
                    <a:pt x="390" y="612"/>
                  </a:lnTo>
                  <a:lnTo>
                    <a:pt x="390" y="618"/>
                  </a:lnTo>
                  <a:lnTo>
                    <a:pt x="384" y="618"/>
                  </a:lnTo>
                  <a:lnTo>
                    <a:pt x="378" y="618"/>
                  </a:lnTo>
                  <a:lnTo>
                    <a:pt x="378" y="624"/>
                  </a:lnTo>
                  <a:lnTo>
                    <a:pt x="384" y="630"/>
                  </a:lnTo>
                  <a:lnTo>
                    <a:pt x="384" y="636"/>
                  </a:lnTo>
                  <a:lnTo>
                    <a:pt x="378" y="630"/>
                  </a:lnTo>
                  <a:lnTo>
                    <a:pt x="372" y="636"/>
                  </a:lnTo>
                  <a:lnTo>
                    <a:pt x="372" y="642"/>
                  </a:lnTo>
                  <a:lnTo>
                    <a:pt x="366" y="642"/>
                  </a:lnTo>
                  <a:lnTo>
                    <a:pt x="360" y="654"/>
                  </a:lnTo>
                  <a:lnTo>
                    <a:pt x="354" y="666"/>
                  </a:lnTo>
                  <a:lnTo>
                    <a:pt x="354" y="672"/>
                  </a:lnTo>
                  <a:lnTo>
                    <a:pt x="354" y="678"/>
                  </a:lnTo>
                  <a:lnTo>
                    <a:pt x="354" y="684"/>
                  </a:lnTo>
                  <a:lnTo>
                    <a:pt x="348" y="678"/>
                  </a:lnTo>
                  <a:lnTo>
                    <a:pt x="324" y="678"/>
                  </a:lnTo>
                  <a:lnTo>
                    <a:pt x="306" y="678"/>
                  </a:lnTo>
                  <a:lnTo>
                    <a:pt x="294" y="678"/>
                  </a:lnTo>
                  <a:lnTo>
                    <a:pt x="288" y="684"/>
                  </a:lnTo>
                  <a:lnTo>
                    <a:pt x="276" y="690"/>
                  </a:lnTo>
                  <a:lnTo>
                    <a:pt x="270" y="696"/>
                  </a:lnTo>
                  <a:lnTo>
                    <a:pt x="264" y="696"/>
                  </a:lnTo>
                  <a:lnTo>
                    <a:pt x="258" y="696"/>
                  </a:lnTo>
                  <a:lnTo>
                    <a:pt x="252" y="696"/>
                  </a:lnTo>
                  <a:lnTo>
                    <a:pt x="252" y="690"/>
                  </a:lnTo>
                  <a:lnTo>
                    <a:pt x="246" y="690"/>
                  </a:lnTo>
                  <a:lnTo>
                    <a:pt x="234" y="690"/>
                  </a:lnTo>
                  <a:lnTo>
                    <a:pt x="222" y="696"/>
                  </a:lnTo>
                  <a:lnTo>
                    <a:pt x="216" y="708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8" y="690"/>
                  </a:lnTo>
                  <a:lnTo>
                    <a:pt x="198" y="684"/>
                  </a:lnTo>
                  <a:lnTo>
                    <a:pt x="198" y="678"/>
                  </a:lnTo>
                  <a:lnTo>
                    <a:pt x="198" y="672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74" y="648"/>
                  </a:lnTo>
                  <a:lnTo>
                    <a:pt x="162" y="642"/>
                  </a:lnTo>
                  <a:lnTo>
                    <a:pt x="156" y="636"/>
                  </a:lnTo>
                  <a:lnTo>
                    <a:pt x="132" y="642"/>
                  </a:lnTo>
                  <a:lnTo>
                    <a:pt x="120" y="654"/>
                  </a:lnTo>
                  <a:lnTo>
                    <a:pt x="108" y="660"/>
                  </a:lnTo>
                  <a:lnTo>
                    <a:pt x="102" y="666"/>
                  </a:lnTo>
                  <a:lnTo>
                    <a:pt x="84" y="666"/>
                  </a:lnTo>
                  <a:lnTo>
                    <a:pt x="84" y="630"/>
                  </a:lnTo>
                  <a:lnTo>
                    <a:pt x="78" y="594"/>
                  </a:lnTo>
                  <a:lnTo>
                    <a:pt x="66" y="594"/>
                  </a:lnTo>
                  <a:lnTo>
                    <a:pt x="60" y="594"/>
                  </a:lnTo>
                  <a:lnTo>
                    <a:pt x="48" y="600"/>
                  </a:lnTo>
                  <a:lnTo>
                    <a:pt x="36" y="606"/>
                  </a:lnTo>
                  <a:lnTo>
                    <a:pt x="24" y="612"/>
                  </a:lnTo>
                  <a:lnTo>
                    <a:pt x="18" y="612"/>
                  </a:lnTo>
                  <a:lnTo>
                    <a:pt x="12" y="606"/>
                  </a:lnTo>
                  <a:lnTo>
                    <a:pt x="12" y="600"/>
                  </a:lnTo>
                  <a:lnTo>
                    <a:pt x="12" y="594"/>
                  </a:lnTo>
                  <a:lnTo>
                    <a:pt x="12" y="588"/>
                  </a:lnTo>
                  <a:lnTo>
                    <a:pt x="12" y="582"/>
                  </a:lnTo>
                  <a:lnTo>
                    <a:pt x="12" y="576"/>
                  </a:lnTo>
                  <a:lnTo>
                    <a:pt x="18" y="552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42" y="534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48" y="492"/>
                  </a:lnTo>
                  <a:lnTo>
                    <a:pt x="48" y="480"/>
                  </a:lnTo>
                  <a:lnTo>
                    <a:pt x="54" y="468"/>
                  </a:lnTo>
                  <a:lnTo>
                    <a:pt x="48" y="456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66" y="390"/>
                  </a:lnTo>
                  <a:lnTo>
                    <a:pt x="72" y="384"/>
                  </a:lnTo>
                  <a:lnTo>
                    <a:pt x="72" y="378"/>
                  </a:lnTo>
                  <a:lnTo>
                    <a:pt x="66" y="378"/>
                  </a:lnTo>
                  <a:lnTo>
                    <a:pt x="66" y="366"/>
                  </a:lnTo>
                  <a:lnTo>
                    <a:pt x="60" y="360"/>
                  </a:lnTo>
                  <a:lnTo>
                    <a:pt x="66" y="354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48" y="312"/>
                  </a:lnTo>
                  <a:lnTo>
                    <a:pt x="30" y="312"/>
                  </a:lnTo>
                  <a:lnTo>
                    <a:pt x="24" y="306"/>
                  </a:lnTo>
                  <a:lnTo>
                    <a:pt x="18" y="306"/>
                  </a:lnTo>
                  <a:lnTo>
                    <a:pt x="12" y="294"/>
                  </a:lnTo>
                  <a:lnTo>
                    <a:pt x="12" y="282"/>
                  </a:lnTo>
                  <a:lnTo>
                    <a:pt x="6" y="276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12" y="270"/>
                  </a:lnTo>
                  <a:lnTo>
                    <a:pt x="12" y="246"/>
                  </a:lnTo>
                  <a:lnTo>
                    <a:pt x="12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8" y="174"/>
                  </a:lnTo>
                  <a:lnTo>
                    <a:pt x="12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48" y="162"/>
                  </a:lnTo>
                  <a:lnTo>
                    <a:pt x="72" y="162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84" y="132"/>
                  </a:lnTo>
                  <a:lnTo>
                    <a:pt x="90" y="120"/>
                  </a:lnTo>
                  <a:lnTo>
                    <a:pt x="108" y="114"/>
                  </a:lnTo>
                  <a:lnTo>
                    <a:pt x="114" y="102"/>
                  </a:lnTo>
                  <a:lnTo>
                    <a:pt x="120" y="90"/>
                  </a:lnTo>
                  <a:lnTo>
                    <a:pt x="138" y="90"/>
                  </a:lnTo>
                  <a:lnTo>
                    <a:pt x="138" y="102"/>
                  </a:lnTo>
                  <a:lnTo>
                    <a:pt x="168" y="108"/>
                  </a:lnTo>
                  <a:lnTo>
                    <a:pt x="168" y="114"/>
                  </a:lnTo>
                  <a:lnTo>
                    <a:pt x="174" y="126"/>
                  </a:lnTo>
                  <a:lnTo>
                    <a:pt x="186" y="150"/>
                  </a:lnTo>
                  <a:lnTo>
                    <a:pt x="186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34" y="144"/>
                  </a:lnTo>
                  <a:lnTo>
                    <a:pt x="240" y="138"/>
                  </a:lnTo>
                  <a:lnTo>
                    <a:pt x="240" y="126"/>
                  </a:lnTo>
                  <a:lnTo>
                    <a:pt x="234" y="126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34" y="102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82" y="102"/>
                  </a:lnTo>
                  <a:lnTo>
                    <a:pt x="288" y="102"/>
                  </a:lnTo>
                  <a:lnTo>
                    <a:pt x="294" y="102"/>
                  </a:lnTo>
                  <a:lnTo>
                    <a:pt x="300" y="96"/>
                  </a:lnTo>
                  <a:lnTo>
                    <a:pt x="306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84"/>
                  </a:lnTo>
                  <a:lnTo>
                    <a:pt x="324" y="18"/>
                  </a:lnTo>
                  <a:lnTo>
                    <a:pt x="360" y="18"/>
                  </a:lnTo>
                  <a:lnTo>
                    <a:pt x="378" y="18"/>
                  </a:lnTo>
                  <a:lnTo>
                    <a:pt x="378" y="30"/>
                  </a:lnTo>
                  <a:lnTo>
                    <a:pt x="390" y="30"/>
                  </a:lnTo>
                  <a:lnTo>
                    <a:pt x="432" y="30"/>
                  </a:lnTo>
                  <a:lnTo>
                    <a:pt x="456" y="24"/>
                  </a:lnTo>
                  <a:lnTo>
                    <a:pt x="480" y="24"/>
                  </a:lnTo>
                  <a:lnTo>
                    <a:pt x="498" y="30"/>
                  </a:lnTo>
                  <a:lnTo>
                    <a:pt x="522" y="18"/>
                  </a:lnTo>
                  <a:lnTo>
                    <a:pt x="528" y="0"/>
                  </a:lnTo>
                  <a:lnTo>
                    <a:pt x="558" y="6"/>
                  </a:lnTo>
                  <a:lnTo>
                    <a:pt x="558" y="12"/>
                  </a:lnTo>
                  <a:lnTo>
                    <a:pt x="570" y="18"/>
                  </a:lnTo>
                  <a:lnTo>
                    <a:pt x="576" y="24"/>
                  </a:lnTo>
                  <a:lnTo>
                    <a:pt x="588" y="36"/>
                  </a:lnTo>
                  <a:lnTo>
                    <a:pt x="594" y="48"/>
                  </a:lnTo>
                  <a:lnTo>
                    <a:pt x="606" y="48"/>
                  </a:lnTo>
                  <a:lnTo>
                    <a:pt x="606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42"/>
                  </a:lnTo>
                  <a:lnTo>
                    <a:pt x="636" y="42"/>
                  </a:lnTo>
                  <a:lnTo>
                    <a:pt x="636" y="48"/>
                  </a:lnTo>
                  <a:lnTo>
                    <a:pt x="642" y="54"/>
                  </a:lnTo>
                  <a:lnTo>
                    <a:pt x="636" y="60"/>
                  </a:lnTo>
                  <a:lnTo>
                    <a:pt x="636" y="66"/>
                  </a:lnTo>
                  <a:lnTo>
                    <a:pt x="636" y="78"/>
                  </a:lnTo>
                  <a:lnTo>
                    <a:pt x="624" y="84"/>
                  </a:lnTo>
                  <a:lnTo>
                    <a:pt x="618" y="90"/>
                  </a:lnTo>
                  <a:lnTo>
                    <a:pt x="612" y="90"/>
                  </a:lnTo>
                  <a:lnTo>
                    <a:pt x="600" y="102"/>
                  </a:lnTo>
                  <a:lnTo>
                    <a:pt x="594" y="108"/>
                  </a:lnTo>
                  <a:lnTo>
                    <a:pt x="582" y="114"/>
                  </a:lnTo>
                  <a:lnTo>
                    <a:pt x="570" y="132"/>
                  </a:lnTo>
                  <a:lnTo>
                    <a:pt x="564" y="132"/>
                  </a:lnTo>
                  <a:lnTo>
                    <a:pt x="564" y="138"/>
                  </a:lnTo>
                  <a:lnTo>
                    <a:pt x="558" y="144"/>
                  </a:lnTo>
                  <a:lnTo>
                    <a:pt x="558" y="150"/>
                  </a:lnTo>
                  <a:lnTo>
                    <a:pt x="552" y="150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0" y="162"/>
                  </a:lnTo>
                  <a:lnTo>
                    <a:pt x="534" y="168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6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28" y="234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16" y="294"/>
                  </a:lnTo>
                  <a:lnTo>
                    <a:pt x="516" y="312"/>
                  </a:lnTo>
                  <a:lnTo>
                    <a:pt x="528" y="318"/>
                  </a:lnTo>
                  <a:lnTo>
                    <a:pt x="540" y="360"/>
                  </a:lnTo>
                  <a:lnTo>
                    <a:pt x="558" y="408"/>
                  </a:lnTo>
                  <a:lnTo>
                    <a:pt x="570" y="426"/>
                  </a:lnTo>
                  <a:lnTo>
                    <a:pt x="576" y="432"/>
                  </a:lnTo>
                  <a:lnTo>
                    <a:pt x="576" y="438"/>
                  </a:lnTo>
                  <a:lnTo>
                    <a:pt x="576" y="444"/>
                  </a:lnTo>
                  <a:lnTo>
                    <a:pt x="576" y="46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3" name="Freeform 28">
              <a:extLst>
                <a:ext uri="{FF2B5EF4-FFF2-40B4-BE49-F238E27FC236}">
                  <a16:creationId xmlns:a16="http://schemas.microsoft.com/office/drawing/2014/main" id="{CF9B4F31-BF73-448E-83AA-188F6CF1BDC5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4879" y="3432583"/>
              <a:ext cx="324248" cy="270616"/>
            </a:xfrm>
            <a:custGeom>
              <a:avLst/>
              <a:gdLst>
                <a:gd name="T0" fmla="*/ 5 w 606"/>
                <a:gd name="T1" fmla="*/ 36 h 510"/>
                <a:gd name="T2" fmla="*/ 4 w 606"/>
                <a:gd name="T3" fmla="*/ 34 h 510"/>
                <a:gd name="T4" fmla="*/ 0 w 606"/>
                <a:gd name="T5" fmla="*/ 25 h 510"/>
                <a:gd name="T6" fmla="*/ 1 w 606"/>
                <a:gd name="T7" fmla="*/ 20 h 510"/>
                <a:gd name="T8" fmla="*/ 2 w 606"/>
                <a:gd name="T9" fmla="*/ 15 h 510"/>
                <a:gd name="T10" fmla="*/ 2 w 606"/>
                <a:gd name="T11" fmla="*/ 13 h 510"/>
                <a:gd name="T12" fmla="*/ 3 w 606"/>
                <a:gd name="T13" fmla="*/ 12 h 510"/>
                <a:gd name="T14" fmla="*/ 4 w 606"/>
                <a:gd name="T15" fmla="*/ 11 h 510"/>
                <a:gd name="T16" fmla="*/ 4 w 606"/>
                <a:gd name="T17" fmla="*/ 10 h 510"/>
                <a:gd name="T18" fmla="*/ 7 w 606"/>
                <a:gd name="T19" fmla="*/ 8 h 510"/>
                <a:gd name="T20" fmla="*/ 9 w 606"/>
                <a:gd name="T21" fmla="*/ 6 h 510"/>
                <a:gd name="T22" fmla="*/ 11 w 606"/>
                <a:gd name="T23" fmla="*/ 4 h 510"/>
                <a:gd name="T24" fmla="*/ 12 w 606"/>
                <a:gd name="T25" fmla="*/ 3 h 510"/>
                <a:gd name="T26" fmla="*/ 13 w 606"/>
                <a:gd name="T27" fmla="*/ 4 h 510"/>
                <a:gd name="T28" fmla="*/ 15 w 606"/>
                <a:gd name="T29" fmla="*/ 2 h 510"/>
                <a:gd name="T30" fmla="*/ 17 w 606"/>
                <a:gd name="T31" fmla="*/ 2 h 510"/>
                <a:gd name="T32" fmla="*/ 19 w 606"/>
                <a:gd name="T33" fmla="*/ 5 h 510"/>
                <a:gd name="T34" fmla="*/ 22 w 606"/>
                <a:gd name="T35" fmla="*/ 5 h 510"/>
                <a:gd name="T36" fmla="*/ 25 w 606"/>
                <a:gd name="T37" fmla="*/ 6 h 510"/>
                <a:gd name="T38" fmla="*/ 29 w 606"/>
                <a:gd name="T39" fmla="*/ 1 h 510"/>
                <a:gd name="T40" fmla="*/ 38 w 606"/>
                <a:gd name="T41" fmla="*/ 0 h 510"/>
                <a:gd name="T42" fmla="*/ 38 w 606"/>
                <a:gd name="T43" fmla="*/ 5 h 510"/>
                <a:gd name="T44" fmla="*/ 41 w 606"/>
                <a:gd name="T45" fmla="*/ 4 h 510"/>
                <a:gd name="T46" fmla="*/ 45 w 606"/>
                <a:gd name="T47" fmla="*/ 2 h 510"/>
                <a:gd name="T48" fmla="*/ 46 w 606"/>
                <a:gd name="T49" fmla="*/ 2 h 510"/>
                <a:gd name="T50" fmla="*/ 47 w 606"/>
                <a:gd name="T51" fmla="*/ 5 h 510"/>
                <a:gd name="T52" fmla="*/ 45 w 606"/>
                <a:gd name="T53" fmla="*/ 6 h 510"/>
                <a:gd name="T54" fmla="*/ 45 w 606"/>
                <a:gd name="T55" fmla="*/ 7 h 510"/>
                <a:gd name="T56" fmla="*/ 43 w 606"/>
                <a:gd name="T57" fmla="*/ 8 h 510"/>
                <a:gd name="T58" fmla="*/ 45 w 606"/>
                <a:gd name="T59" fmla="*/ 15 h 510"/>
                <a:gd name="T60" fmla="*/ 49 w 606"/>
                <a:gd name="T61" fmla="*/ 15 h 510"/>
                <a:gd name="T62" fmla="*/ 51 w 606"/>
                <a:gd name="T63" fmla="*/ 15 h 510"/>
                <a:gd name="T64" fmla="*/ 53 w 606"/>
                <a:gd name="T65" fmla="*/ 16 h 510"/>
                <a:gd name="T66" fmla="*/ 52 w 606"/>
                <a:gd name="T67" fmla="*/ 20 h 510"/>
                <a:gd name="T68" fmla="*/ 48 w 606"/>
                <a:gd name="T69" fmla="*/ 23 h 510"/>
                <a:gd name="T70" fmla="*/ 45 w 606"/>
                <a:gd name="T71" fmla="*/ 25 h 510"/>
                <a:gd name="T72" fmla="*/ 44 w 606"/>
                <a:gd name="T73" fmla="*/ 28 h 510"/>
                <a:gd name="T74" fmla="*/ 43 w 606"/>
                <a:gd name="T75" fmla="*/ 33 h 510"/>
                <a:gd name="T76" fmla="*/ 39 w 606"/>
                <a:gd name="T77" fmla="*/ 38 h 510"/>
                <a:gd name="T78" fmla="*/ 37 w 606"/>
                <a:gd name="T79" fmla="*/ 41 h 510"/>
                <a:gd name="T80" fmla="*/ 31 w 606"/>
                <a:gd name="T81" fmla="*/ 44 h 510"/>
                <a:gd name="T82" fmla="*/ 28 w 606"/>
                <a:gd name="T83" fmla="*/ 43 h 510"/>
                <a:gd name="T84" fmla="*/ 28 w 606"/>
                <a:gd name="T85" fmla="*/ 41 h 510"/>
                <a:gd name="T86" fmla="*/ 28 w 606"/>
                <a:gd name="T87" fmla="*/ 40 h 510"/>
                <a:gd name="T88" fmla="*/ 27 w 606"/>
                <a:gd name="T89" fmla="*/ 38 h 510"/>
                <a:gd name="T90" fmla="*/ 27 w 606"/>
                <a:gd name="T91" fmla="*/ 36 h 510"/>
                <a:gd name="T92" fmla="*/ 24 w 606"/>
                <a:gd name="T93" fmla="*/ 35 h 510"/>
                <a:gd name="T94" fmla="*/ 16 w 606"/>
                <a:gd name="T95" fmla="*/ 34 h 510"/>
                <a:gd name="T96" fmla="*/ 13 w 606"/>
                <a:gd name="T97" fmla="*/ 34 h 510"/>
                <a:gd name="T98" fmla="*/ 9 w 606"/>
                <a:gd name="T99" fmla="*/ 36 h 510"/>
                <a:gd name="T100" fmla="*/ 8 w 606"/>
                <a:gd name="T101" fmla="*/ 38 h 510"/>
                <a:gd name="T102" fmla="*/ 7 w 606"/>
                <a:gd name="T103" fmla="*/ 39 h 51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06"/>
                <a:gd name="T157" fmla="*/ 0 h 510"/>
                <a:gd name="T158" fmla="*/ 606 w 606"/>
                <a:gd name="T159" fmla="*/ 510 h 51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06" h="510">
                  <a:moveTo>
                    <a:pt x="60" y="450"/>
                  </a:move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42" y="390"/>
                  </a:lnTo>
                  <a:lnTo>
                    <a:pt x="24" y="342"/>
                  </a:lnTo>
                  <a:lnTo>
                    <a:pt x="12" y="300"/>
                  </a:lnTo>
                  <a:lnTo>
                    <a:pt x="0" y="294"/>
                  </a:lnTo>
                  <a:lnTo>
                    <a:pt x="0" y="276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24" y="192"/>
                  </a:lnTo>
                  <a:lnTo>
                    <a:pt x="24" y="180"/>
                  </a:lnTo>
                  <a:lnTo>
                    <a:pt x="24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6" y="96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108" y="66"/>
                  </a:lnTo>
                  <a:lnTo>
                    <a:pt x="120" y="60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36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62" y="36"/>
                  </a:lnTo>
                  <a:lnTo>
                    <a:pt x="162" y="30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0" y="54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46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76" y="66"/>
                  </a:lnTo>
                  <a:lnTo>
                    <a:pt x="312" y="66"/>
                  </a:lnTo>
                  <a:lnTo>
                    <a:pt x="318" y="60"/>
                  </a:lnTo>
                  <a:lnTo>
                    <a:pt x="330" y="12"/>
                  </a:lnTo>
                  <a:lnTo>
                    <a:pt x="414" y="6"/>
                  </a:lnTo>
                  <a:lnTo>
                    <a:pt x="420" y="0"/>
                  </a:lnTo>
                  <a:lnTo>
                    <a:pt x="426" y="6"/>
                  </a:lnTo>
                  <a:lnTo>
                    <a:pt x="426" y="12"/>
                  </a:lnTo>
                  <a:lnTo>
                    <a:pt x="426" y="54"/>
                  </a:lnTo>
                  <a:lnTo>
                    <a:pt x="432" y="54"/>
                  </a:lnTo>
                  <a:lnTo>
                    <a:pt x="444" y="54"/>
                  </a:lnTo>
                  <a:lnTo>
                    <a:pt x="450" y="42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86" y="24"/>
                  </a:lnTo>
                  <a:lnTo>
                    <a:pt x="504" y="18"/>
                  </a:lnTo>
                  <a:lnTo>
                    <a:pt x="510" y="12"/>
                  </a:lnTo>
                  <a:lnTo>
                    <a:pt x="516" y="18"/>
                  </a:lnTo>
                  <a:lnTo>
                    <a:pt x="522" y="24"/>
                  </a:lnTo>
                  <a:lnTo>
                    <a:pt x="510" y="30"/>
                  </a:lnTo>
                  <a:lnTo>
                    <a:pt x="516" y="48"/>
                  </a:lnTo>
                  <a:lnTo>
                    <a:pt x="528" y="54"/>
                  </a:lnTo>
                  <a:lnTo>
                    <a:pt x="522" y="60"/>
                  </a:lnTo>
                  <a:lnTo>
                    <a:pt x="516" y="66"/>
                  </a:lnTo>
                  <a:lnTo>
                    <a:pt x="516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0" y="84"/>
                  </a:lnTo>
                  <a:lnTo>
                    <a:pt x="510" y="90"/>
                  </a:lnTo>
                  <a:lnTo>
                    <a:pt x="504" y="90"/>
                  </a:lnTo>
                  <a:lnTo>
                    <a:pt x="486" y="90"/>
                  </a:lnTo>
                  <a:lnTo>
                    <a:pt x="492" y="138"/>
                  </a:lnTo>
                  <a:lnTo>
                    <a:pt x="498" y="168"/>
                  </a:lnTo>
                  <a:lnTo>
                    <a:pt x="516" y="168"/>
                  </a:lnTo>
                  <a:lnTo>
                    <a:pt x="528" y="174"/>
                  </a:lnTo>
                  <a:lnTo>
                    <a:pt x="534" y="168"/>
                  </a:lnTo>
                  <a:lnTo>
                    <a:pt x="558" y="174"/>
                  </a:lnTo>
                  <a:lnTo>
                    <a:pt x="564" y="168"/>
                  </a:lnTo>
                  <a:lnTo>
                    <a:pt x="570" y="168"/>
                  </a:lnTo>
                  <a:lnTo>
                    <a:pt x="576" y="174"/>
                  </a:lnTo>
                  <a:lnTo>
                    <a:pt x="588" y="168"/>
                  </a:lnTo>
                  <a:lnTo>
                    <a:pt x="594" y="168"/>
                  </a:lnTo>
                  <a:lnTo>
                    <a:pt x="594" y="186"/>
                  </a:lnTo>
                  <a:lnTo>
                    <a:pt x="606" y="198"/>
                  </a:lnTo>
                  <a:lnTo>
                    <a:pt x="600" y="210"/>
                  </a:lnTo>
                  <a:lnTo>
                    <a:pt x="588" y="234"/>
                  </a:lnTo>
                  <a:lnTo>
                    <a:pt x="564" y="246"/>
                  </a:lnTo>
                  <a:lnTo>
                    <a:pt x="546" y="258"/>
                  </a:lnTo>
                  <a:lnTo>
                    <a:pt x="540" y="270"/>
                  </a:lnTo>
                  <a:lnTo>
                    <a:pt x="534" y="294"/>
                  </a:lnTo>
                  <a:lnTo>
                    <a:pt x="528" y="300"/>
                  </a:lnTo>
                  <a:lnTo>
                    <a:pt x="516" y="294"/>
                  </a:lnTo>
                  <a:lnTo>
                    <a:pt x="510" y="300"/>
                  </a:lnTo>
                  <a:lnTo>
                    <a:pt x="498" y="318"/>
                  </a:lnTo>
                  <a:lnTo>
                    <a:pt x="492" y="324"/>
                  </a:lnTo>
                  <a:lnTo>
                    <a:pt x="486" y="336"/>
                  </a:lnTo>
                  <a:lnTo>
                    <a:pt x="486" y="354"/>
                  </a:lnTo>
                  <a:lnTo>
                    <a:pt x="486" y="384"/>
                  </a:lnTo>
                  <a:lnTo>
                    <a:pt x="474" y="408"/>
                  </a:lnTo>
                  <a:lnTo>
                    <a:pt x="450" y="426"/>
                  </a:lnTo>
                  <a:lnTo>
                    <a:pt x="444" y="444"/>
                  </a:lnTo>
                  <a:lnTo>
                    <a:pt x="426" y="474"/>
                  </a:lnTo>
                  <a:lnTo>
                    <a:pt x="420" y="486"/>
                  </a:lnTo>
                  <a:lnTo>
                    <a:pt x="414" y="486"/>
                  </a:lnTo>
                  <a:lnTo>
                    <a:pt x="414" y="498"/>
                  </a:lnTo>
                  <a:lnTo>
                    <a:pt x="378" y="504"/>
                  </a:lnTo>
                  <a:lnTo>
                    <a:pt x="348" y="510"/>
                  </a:lnTo>
                  <a:lnTo>
                    <a:pt x="330" y="510"/>
                  </a:lnTo>
                  <a:lnTo>
                    <a:pt x="324" y="504"/>
                  </a:lnTo>
                  <a:lnTo>
                    <a:pt x="318" y="504"/>
                  </a:lnTo>
                  <a:lnTo>
                    <a:pt x="312" y="504"/>
                  </a:lnTo>
                  <a:lnTo>
                    <a:pt x="312" y="498"/>
                  </a:lnTo>
                  <a:lnTo>
                    <a:pt x="312" y="486"/>
                  </a:lnTo>
                  <a:lnTo>
                    <a:pt x="312" y="480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56"/>
                  </a:lnTo>
                  <a:lnTo>
                    <a:pt x="312" y="450"/>
                  </a:lnTo>
                  <a:lnTo>
                    <a:pt x="306" y="444"/>
                  </a:lnTo>
                  <a:lnTo>
                    <a:pt x="306" y="438"/>
                  </a:lnTo>
                  <a:lnTo>
                    <a:pt x="300" y="426"/>
                  </a:lnTo>
                  <a:lnTo>
                    <a:pt x="300" y="420"/>
                  </a:lnTo>
                  <a:lnTo>
                    <a:pt x="294" y="414"/>
                  </a:lnTo>
                  <a:lnTo>
                    <a:pt x="294" y="408"/>
                  </a:lnTo>
                  <a:lnTo>
                    <a:pt x="270" y="408"/>
                  </a:lnTo>
                  <a:lnTo>
                    <a:pt x="246" y="408"/>
                  </a:lnTo>
                  <a:lnTo>
                    <a:pt x="222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56" y="402"/>
                  </a:lnTo>
                  <a:lnTo>
                    <a:pt x="144" y="396"/>
                  </a:lnTo>
                  <a:lnTo>
                    <a:pt x="126" y="396"/>
                  </a:lnTo>
                  <a:lnTo>
                    <a:pt x="108" y="408"/>
                  </a:lnTo>
                  <a:lnTo>
                    <a:pt x="102" y="414"/>
                  </a:lnTo>
                  <a:lnTo>
                    <a:pt x="102" y="420"/>
                  </a:lnTo>
                  <a:lnTo>
                    <a:pt x="96" y="426"/>
                  </a:lnTo>
                  <a:lnTo>
                    <a:pt x="96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78" y="450"/>
                  </a:lnTo>
                  <a:lnTo>
                    <a:pt x="60" y="45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4" name="Freeform 29">
              <a:extLst>
                <a:ext uri="{FF2B5EF4-FFF2-40B4-BE49-F238E27FC236}">
                  <a16:creationId xmlns:a16="http://schemas.microsoft.com/office/drawing/2014/main" id="{B6AC2B96-1504-4082-8778-17130FDA021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401" y="3537698"/>
              <a:ext cx="559048" cy="641876"/>
            </a:xfrm>
            <a:custGeom>
              <a:avLst/>
              <a:gdLst>
                <a:gd name="T0" fmla="*/ 39 w 1056"/>
                <a:gd name="T1" fmla="*/ 94 h 1206"/>
                <a:gd name="T2" fmla="*/ 35 w 1056"/>
                <a:gd name="T3" fmla="*/ 103 h 1206"/>
                <a:gd name="T4" fmla="*/ 29 w 1056"/>
                <a:gd name="T5" fmla="*/ 99 h 1206"/>
                <a:gd name="T6" fmla="*/ 23 w 1056"/>
                <a:gd name="T7" fmla="*/ 94 h 1206"/>
                <a:gd name="T8" fmla="*/ 21 w 1056"/>
                <a:gd name="T9" fmla="*/ 91 h 1206"/>
                <a:gd name="T10" fmla="*/ 18 w 1056"/>
                <a:gd name="T11" fmla="*/ 89 h 1206"/>
                <a:gd name="T12" fmla="*/ 15 w 1056"/>
                <a:gd name="T13" fmla="*/ 86 h 1206"/>
                <a:gd name="T14" fmla="*/ 11 w 1056"/>
                <a:gd name="T15" fmla="*/ 83 h 1206"/>
                <a:gd name="T16" fmla="*/ 8 w 1056"/>
                <a:gd name="T17" fmla="*/ 81 h 1206"/>
                <a:gd name="T18" fmla="*/ 6 w 1056"/>
                <a:gd name="T19" fmla="*/ 79 h 1206"/>
                <a:gd name="T20" fmla="*/ 13 w 1056"/>
                <a:gd name="T21" fmla="*/ 78 h 1206"/>
                <a:gd name="T22" fmla="*/ 8 w 1056"/>
                <a:gd name="T23" fmla="*/ 75 h 1206"/>
                <a:gd name="T24" fmla="*/ 13 w 1056"/>
                <a:gd name="T25" fmla="*/ 71 h 1206"/>
                <a:gd name="T26" fmla="*/ 10 w 1056"/>
                <a:gd name="T27" fmla="*/ 63 h 1206"/>
                <a:gd name="T28" fmla="*/ 6 w 1056"/>
                <a:gd name="T29" fmla="*/ 66 h 1206"/>
                <a:gd name="T30" fmla="*/ 1 w 1056"/>
                <a:gd name="T31" fmla="*/ 63 h 1206"/>
                <a:gd name="T32" fmla="*/ 1 w 1056"/>
                <a:gd name="T33" fmla="*/ 59 h 1206"/>
                <a:gd name="T34" fmla="*/ 3 w 1056"/>
                <a:gd name="T35" fmla="*/ 57 h 1206"/>
                <a:gd name="T36" fmla="*/ 6 w 1056"/>
                <a:gd name="T37" fmla="*/ 55 h 1206"/>
                <a:gd name="T38" fmla="*/ 10 w 1056"/>
                <a:gd name="T39" fmla="*/ 51 h 1206"/>
                <a:gd name="T40" fmla="*/ 11 w 1056"/>
                <a:gd name="T41" fmla="*/ 46 h 1206"/>
                <a:gd name="T42" fmla="*/ 14 w 1056"/>
                <a:gd name="T43" fmla="*/ 42 h 1206"/>
                <a:gd name="T44" fmla="*/ 15 w 1056"/>
                <a:gd name="T45" fmla="*/ 36 h 1206"/>
                <a:gd name="T46" fmla="*/ 17 w 1056"/>
                <a:gd name="T47" fmla="*/ 34 h 1206"/>
                <a:gd name="T48" fmla="*/ 20 w 1056"/>
                <a:gd name="T49" fmla="*/ 31 h 1206"/>
                <a:gd name="T50" fmla="*/ 21 w 1056"/>
                <a:gd name="T51" fmla="*/ 29 h 1206"/>
                <a:gd name="T52" fmla="*/ 23 w 1056"/>
                <a:gd name="T53" fmla="*/ 22 h 1206"/>
                <a:gd name="T54" fmla="*/ 35 w 1056"/>
                <a:gd name="T55" fmla="*/ 22 h 1206"/>
                <a:gd name="T56" fmla="*/ 41 w 1056"/>
                <a:gd name="T57" fmla="*/ 18 h 1206"/>
                <a:gd name="T58" fmla="*/ 54 w 1056"/>
                <a:gd name="T59" fmla="*/ 20 h 1206"/>
                <a:gd name="T60" fmla="*/ 54 w 1056"/>
                <a:gd name="T61" fmla="*/ 26 h 1206"/>
                <a:gd name="T62" fmla="*/ 64 w 1056"/>
                <a:gd name="T63" fmla="*/ 25 h 1206"/>
                <a:gd name="T64" fmla="*/ 71 w 1056"/>
                <a:gd name="T65" fmla="*/ 10 h 1206"/>
                <a:gd name="T66" fmla="*/ 80 w 1056"/>
                <a:gd name="T67" fmla="*/ 1 h 1206"/>
                <a:gd name="T68" fmla="*/ 86 w 1056"/>
                <a:gd name="T69" fmla="*/ 2 h 1206"/>
                <a:gd name="T70" fmla="*/ 91 w 1056"/>
                <a:gd name="T71" fmla="*/ 13 h 1206"/>
                <a:gd name="T72" fmla="*/ 88 w 1056"/>
                <a:gd name="T73" fmla="*/ 17 h 1206"/>
                <a:gd name="T74" fmla="*/ 89 w 1056"/>
                <a:gd name="T75" fmla="*/ 21 h 1206"/>
                <a:gd name="T76" fmla="*/ 86 w 1056"/>
                <a:gd name="T77" fmla="*/ 25 h 1206"/>
                <a:gd name="T78" fmla="*/ 85 w 1056"/>
                <a:gd name="T79" fmla="*/ 31 h 1206"/>
                <a:gd name="T80" fmla="*/ 83 w 1056"/>
                <a:gd name="T81" fmla="*/ 36 h 1206"/>
                <a:gd name="T82" fmla="*/ 80 w 1056"/>
                <a:gd name="T83" fmla="*/ 42 h 1206"/>
                <a:gd name="T84" fmla="*/ 80 w 1056"/>
                <a:gd name="T85" fmla="*/ 47 h 1206"/>
                <a:gd name="T86" fmla="*/ 77 w 1056"/>
                <a:gd name="T87" fmla="*/ 55 h 1206"/>
                <a:gd name="T88" fmla="*/ 75 w 1056"/>
                <a:gd name="T89" fmla="*/ 57 h 1206"/>
                <a:gd name="T90" fmla="*/ 66 w 1056"/>
                <a:gd name="T91" fmla="*/ 57 h 1206"/>
                <a:gd name="T92" fmla="*/ 66 w 1056"/>
                <a:gd name="T93" fmla="*/ 51 h 1206"/>
                <a:gd name="T94" fmla="*/ 48 w 1056"/>
                <a:gd name="T95" fmla="*/ 50 h 1206"/>
                <a:gd name="T96" fmla="*/ 46 w 1056"/>
                <a:gd name="T97" fmla="*/ 55 h 1206"/>
                <a:gd name="T98" fmla="*/ 42 w 1056"/>
                <a:gd name="T99" fmla="*/ 59 h 1206"/>
                <a:gd name="T100" fmla="*/ 41 w 1056"/>
                <a:gd name="T101" fmla="*/ 62 h 1206"/>
                <a:gd name="T102" fmla="*/ 43 w 1056"/>
                <a:gd name="T103" fmla="*/ 67 h 1206"/>
                <a:gd name="T104" fmla="*/ 42 w 1056"/>
                <a:gd name="T105" fmla="*/ 72 h 1206"/>
                <a:gd name="T106" fmla="*/ 39 w 1056"/>
                <a:gd name="T107" fmla="*/ 77 h 1206"/>
                <a:gd name="T108" fmla="*/ 36 w 1056"/>
                <a:gd name="T109" fmla="*/ 80 h 1206"/>
                <a:gd name="T110" fmla="*/ 37 w 1056"/>
                <a:gd name="T111" fmla="*/ 83 h 1206"/>
                <a:gd name="T112" fmla="*/ 40 w 1056"/>
                <a:gd name="T113" fmla="*/ 87 h 1206"/>
                <a:gd name="T114" fmla="*/ 42 w 1056"/>
                <a:gd name="T115" fmla="*/ 89 h 12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56"/>
                <a:gd name="T175" fmla="*/ 0 h 1206"/>
                <a:gd name="T176" fmla="*/ 1056 w 1056"/>
                <a:gd name="T177" fmla="*/ 1206 h 12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56" h="1206">
                  <a:moveTo>
                    <a:pt x="492" y="1032"/>
                  </a:moveTo>
                  <a:lnTo>
                    <a:pt x="486" y="1038"/>
                  </a:lnTo>
                  <a:lnTo>
                    <a:pt x="486" y="1044"/>
                  </a:lnTo>
                  <a:lnTo>
                    <a:pt x="480" y="1044"/>
                  </a:lnTo>
                  <a:lnTo>
                    <a:pt x="474" y="1056"/>
                  </a:lnTo>
                  <a:lnTo>
                    <a:pt x="462" y="1068"/>
                  </a:lnTo>
                  <a:lnTo>
                    <a:pt x="456" y="1080"/>
                  </a:lnTo>
                  <a:lnTo>
                    <a:pt x="450" y="1080"/>
                  </a:lnTo>
                  <a:lnTo>
                    <a:pt x="450" y="1086"/>
                  </a:lnTo>
                  <a:lnTo>
                    <a:pt x="450" y="1092"/>
                  </a:lnTo>
                  <a:lnTo>
                    <a:pt x="444" y="1104"/>
                  </a:lnTo>
                  <a:lnTo>
                    <a:pt x="444" y="1116"/>
                  </a:lnTo>
                  <a:lnTo>
                    <a:pt x="438" y="1128"/>
                  </a:lnTo>
                  <a:lnTo>
                    <a:pt x="432" y="1134"/>
                  </a:lnTo>
                  <a:lnTo>
                    <a:pt x="432" y="1140"/>
                  </a:lnTo>
                  <a:lnTo>
                    <a:pt x="420" y="1152"/>
                  </a:lnTo>
                  <a:lnTo>
                    <a:pt x="420" y="1158"/>
                  </a:lnTo>
                  <a:lnTo>
                    <a:pt x="408" y="1182"/>
                  </a:lnTo>
                  <a:lnTo>
                    <a:pt x="396" y="1194"/>
                  </a:lnTo>
                  <a:lnTo>
                    <a:pt x="390" y="1206"/>
                  </a:lnTo>
                  <a:lnTo>
                    <a:pt x="390" y="1200"/>
                  </a:lnTo>
                  <a:lnTo>
                    <a:pt x="384" y="1194"/>
                  </a:lnTo>
                  <a:lnTo>
                    <a:pt x="378" y="1188"/>
                  </a:lnTo>
                  <a:lnTo>
                    <a:pt x="366" y="1176"/>
                  </a:lnTo>
                  <a:lnTo>
                    <a:pt x="366" y="1170"/>
                  </a:lnTo>
                  <a:lnTo>
                    <a:pt x="348" y="1152"/>
                  </a:lnTo>
                  <a:lnTo>
                    <a:pt x="336" y="1140"/>
                  </a:lnTo>
                  <a:lnTo>
                    <a:pt x="330" y="1134"/>
                  </a:lnTo>
                  <a:lnTo>
                    <a:pt x="324" y="1128"/>
                  </a:lnTo>
                  <a:lnTo>
                    <a:pt x="318" y="1122"/>
                  </a:lnTo>
                  <a:lnTo>
                    <a:pt x="312" y="1116"/>
                  </a:lnTo>
                  <a:lnTo>
                    <a:pt x="306" y="1110"/>
                  </a:lnTo>
                  <a:lnTo>
                    <a:pt x="300" y="1104"/>
                  </a:lnTo>
                  <a:lnTo>
                    <a:pt x="294" y="1098"/>
                  </a:lnTo>
                  <a:lnTo>
                    <a:pt x="276" y="1080"/>
                  </a:lnTo>
                  <a:lnTo>
                    <a:pt x="270" y="1080"/>
                  </a:lnTo>
                  <a:lnTo>
                    <a:pt x="270" y="1074"/>
                  </a:lnTo>
                  <a:lnTo>
                    <a:pt x="264" y="1068"/>
                  </a:lnTo>
                  <a:lnTo>
                    <a:pt x="258" y="1062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40" y="1050"/>
                  </a:lnTo>
                  <a:lnTo>
                    <a:pt x="234" y="1044"/>
                  </a:lnTo>
                  <a:lnTo>
                    <a:pt x="228" y="1044"/>
                  </a:lnTo>
                  <a:lnTo>
                    <a:pt x="222" y="1038"/>
                  </a:lnTo>
                  <a:lnTo>
                    <a:pt x="222" y="1032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6"/>
                  </a:lnTo>
                  <a:lnTo>
                    <a:pt x="204" y="1020"/>
                  </a:lnTo>
                  <a:lnTo>
                    <a:pt x="204" y="1014"/>
                  </a:lnTo>
                  <a:lnTo>
                    <a:pt x="198" y="1014"/>
                  </a:lnTo>
                  <a:lnTo>
                    <a:pt x="192" y="1014"/>
                  </a:lnTo>
                  <a:lnTo>
                    <a:pt x="192" y="1008"/>
                  </a:lnTo>
                  <a:lnTo>
                    <a:pt x="186" y="1008"/>
                  </a:lnTo>
                  <a:lnTo>
                    <a:pt x="186" y="1002"/>
                  </a:lnTo>
                  <a:lnTo>
                    <a:pt x="180" y="1002"/>
                  </a:lnTo>
                  <a:lnTo>
                    <a:pt x="174" y="996"/>
                  </a:lnTo>
                  <a:lnTo>
                    <a:pt x="168" y="996"/>
                  </a:lnTo>
                  <a:lnTo>
                    <a:pt x="168" y="990"/>
                  </a:lnTo>
                  <a:lnTo>
                    <a:pt x="162" y="990"/>
                  </a:lnTo>
                  <a:lnTo>
                    <a:pt x="162" y="984"/>
                  </a:lnTo>
                  <a:lnTo>
                    <a:pt x="150" y="978"/>
                  </a:lnTo>
                  <a:lnTo>
                    <a:pt x="144" y="972"/>
                  </a:lnTo>
                  <a:lnTo>
                    <a:pt x="138" y="972"/>
                  </a:lnTo>
                  <a:lnTo>
                    <a:pt x="138" y="966"/>
                  </a:lnTo>
                  <a:lnTo>
                    <a:pt x="132" y="966"/>
                  </a:lnTo>
                  <a:lnTo>
                    <a:pt x="126" y="960"/>
                  </a:lnTo>
                  <a:lnTo>
                    <a:pt x="126" y="954"/>
                  </a:lnTo>
                  <a:lnTo>
                    <a:pt x="120" y="954"/>
                  </a:lnTo>
                  <a:lnTo>
                    <a:pt x="114" y="948"/>
                  </a:lnTo>
                  <a:lnTo>
                    <a:pt x="108" y="948"/>
                  </a:lnTo>
                  <a:lnTo>
                    <a:pt x="108" y="942"/>
                  </a:lnTo>
                  <a:lnTo>
                    <a:pt x="102" y="942"/>
                  </a:lnTo>
                  <a:lnTo>
                    <a:pt x="96" y="942"/>
                  </a:lnTo>
                  <a:lnTo>
                    <a:pt x="96" y="936"/>
                  </a:lnTo>
                  <a:lnTo>
                    <a:pt x="90" y="936"/>
                  </a:lnTo>
                  <a:lnTo>
                    <a:pt x="90" y="930"/>
                  </a:lnTo>
                  <a:lnTo>
                    <a:pt x="84" y="930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18"/>
                  </a:lnTo>
                  <a:lnTo>
                    <a:pt x="66" y="918"/>
                  </a:lnTo>
                  <a:lnTo>
                    <a:pt x="66" y="912"/>
                  </a:lnTo>
                  <a:lnTo>
                    <a:pt x="66" y="906"/>
                  </a:lnTo>
                  <a:lnTo>
                    <a:pt x="72" y="906"/>
                  </a:lnTo>
                  <a:lnTo>
                    <a:pt x="84" y="906"/>
                  </a:lnTo>
                  <a:lnTo>
                    <a:pt x="90" y="906"/>
                  </a:lnTo>
                  <a:lnTo>
                    <a:pt x="120" y="930"/>
                  </a:lnTo>
                  <a:lnTo>
                    <a:pt x="126" y="936"/>
                  </a:lnTo>
                  <a:lnTo>
                    <a:pt x="138" y="936"/>
                  </a:lnTo>
                  <a:lnTo>
                    <a:pt x="138" y="930"/>
                  </a:lnTo>
                  <a:lnTo>
                    <a:pt x="144" y="930"/>
                  </a:lnTo>
                  <a:lnTo>
                    <a:pt x="144" y="924"/>
                  </a:lnTo>
                  <a:lnTo>
                    <a:pt x="150" y="900"/>
                  </a:lnTo>
                  <a:lnTo>
                    <a:pt x="138" y="894"/>
                  </a:lnTo>
                  <a:lnTo>
                    <a:pt x="126" y="894"/>
                  </a:lnTo>
                  <a:lnTo>
                    <a:pt x="108" y="888"/>
                  </a:lnTo>
                  <a:lnTo>
                    <a:pt x="84" y="882"/>
                  </a:lnTo>
                  <a:lnTo>
                    <a:pt x="72" y="882"/>
                  </a:lnTo>
                  <a:lnTo>
                    <a:pt x="72" y="876"/>
                  </a:lnTo>
                  <a:lnTo>
                    <a:pt x="78" y="870"/>
                  </a:lnTo>
                  <a:lnTo>
                    <a:pt x="90" y="870"/>
                  </a:lnTo>
                  <a:lnTo>
                    <a:pt x="96" y="870"/>
                  </a:lnTo>
                  <a:lnTo>
                    <a:pt x="102" y="870"/>
                  </a:lnTo>
                  <a:lnTo>
                    <a:pt x="114" y="870"/>
                  </a:lnTo>
                  <a:lnTo>
                    <a:pt x="120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34"/>
                  </a:lnTo>
                  <a:lnTo>
                    <a:pt x="132" y="828"/>
                  </a:lnTo>
                  <a:lnTo>
                    <a:pt x="132" y="816"/>
                  </a:lnTo>
                  <a:lnTo>
                    <a:pt x="150" y="816"/>
                  </a:lnTo>
                  <a:lnTo>
                    <a:pt x="150" y="804"/>
                  </a:lnTo>
                  <a:lnTo>
                    <a:pt x="144" y="798"/>
                  </a:lnTo>
                  <a:lnTo>
                    <a:pt x="156" y="762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32"/>
                  </a:lnTo>
                  <a:lnTo>
                    <a:pt x="144" y="726"/>
                  </a:lnTo>
                  <a:lnTo>
                    <a:pt x="132" y="726"/>
                  </a:lnTo>
                  <a:lnTo>
                    <a:pt x="120" y="732"/>
                  </a:lnTo>
                  <a:lnTo>
                    <a:pt x="114" y="744"/>
                  </a:lnTo>
                  <a:lnTo>
                    <a:pt x="108" y="750"/>
                  </a:lnTo>
                  <a:lnTo>
                    <a:pt x="96" y="768"/>
                  </a:lnTo>
                  <a:lnTo>
                    <a:pt x="96" y="774"/>
                  </a:lnTo>
                  <a:lnTo>
                    <a:pt x="90" y="780"/>
                  </a:lnTo>
                  <a:lnTo>
                    <a:pt x="84" y="804"/>
                  </a:lnTo>
                  <a:lnTo>
                    <a:pt x="72" y="774"/>
                  </a:lnTo>
                  <a:lnTo>
                    <a:pt x="72" y="768"/>
                  </a:lnTo>
                  <a:lnTo>
                    <a:pt x="66" y="762"/>
                  </a:lnTo>
                  <a:lnTo>
                    <a:pt x="60" y="750"/>
                  </a:lnTo>
                  <a:lnTo>
                    <a:pt x="54" y="750"/>
                  </a:lnTo>
                  <a:lnTo>
                    <a:pt x="48" y="750"/>
                  </a:lnTo>
                  <a:lnTo>
                    <a:pt x="42" y="750"/>
                  </a:lnTo>
                  <a:lnTo>
                    <a:pt x="30" y="744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12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2" y="702"/>
                  </a:lnTo>
                  <a:lnTo>
                    <a:pt x="18" y="696"/>
                  </a:lnTo>
                  <a:lnTo>
                    <a:pt x="12" y="690"/>
                  </a:lnTo>
                  <a:lnTo>
                    <a:pt x="12" y="684"/>
                  </a:lnTo>
                  <a:lnTo>
                    <a:pt x="12" y="678"/>
                  </a:lnTo>
                  <a:lnTo>
                    <a:pt x="12" y="672"/>
                  </a:lnTo>
                  <a:lnTo>
                    <a:pt x="18" y="672"/>
                  </a:lnTo>
                  <a:lnTo>
                    <a:pt x="18" y="666"/>
                  </a:lnTo>
                  <a:lnTo>
                    <a:pt x="24" y="666"/>
                  </a:lnTo>
                  <a:lnTo>
                    <a:pt x="24" y="660"/>
                  </a:lnTo>
                  <a:lnTo>
                    <a:pt x="30" y="660"/>
                  </a:lnTo>
                  <a:lnTo>
                    <a:pt x="30" y="654"/>
                  </a:lnTo>
                  <a:lnTo>
                    <a:pt x="36" y="654"/>
                  </a:lnTo>
                  <a:lnTo>
                    <a:pt x="36" y="648"/>
                  </a:lnTo>
                  <a:lnTo>
                    <a:pt x="42" y="648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60" y="630"/>
                  </a:lnTo>
                  <a:lnTo>
                    <a:pt x="66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78" y="624"/>
                  </a:lnTo>
                  <a:lnTo>
                    <a:pt x="84" y="618"/>
                  </a:lnTo>
                  <a:lnTo>
                    <a:pt x="84" y="612"/>
                  </a:lnTo>
                  <a:lnTo>
                    <a:pt x="90" y="612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20" y="588"/>
                  </a:lnTo>
                  <a:lnTo>
                    <a:pt x="120" y="582"/>
                  </a:lnTo>
                  <a:lnTo>
                    <a:pt x="120" y="576"/>
                  </a:lnTo>
                  <a:lnTo>
                    <a:pt x="120" y="570"/>
                  </a:lnTo>
                  <a:lnTo>
                    <a:pt x="126" y="564"/>
                  </a:lnTo>
                  <a:lnTo>
                    <a:pt x="126" y="558"/>
                  </a:lnTo>
                  <a:lnTo>
                    <a:pt x="126" y="552"/>
                  </a:lnTo>
                  <a:lnTo>
                    <a:pt x="126" y="546"/>
                  </a:lnTo>
                  <a:lnTo>
                    <a:pt x="126" y="534"/>
                  </a:lnTo>
                  <a:lnTo>
                    <a:pt x="126" y="516"/>
                  </a:lnTo>
                  <a:lnTo>
                    <a:pt x="126" y="510"/>
                  </a:lnTo>
                  <a:lnTo>
                    <a:pt x="126" y="504"/>
                  </a:lnTo>
                  <a:lnTo>
                    <a:pt x="126" y="498"/>
                  </a:lnTo>
                  <a:lnTo>
                    <a:pt x="132" y="498"/>
                  </a:lnTo>
                  <a:lnTo>
                    <a:pt x="132" y="492"/>
                  </a:lnTo>
                  <a:lnTo>
                    <a:pt x="138" y="492"/>
                  </a:lnTo>
                  <a:lnTo>
                    <a:pt x="144" y="486"/>
                  </a:lnTo>
                  <a:lnTo>
                    <a:pt x="156" y="480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6" y="462"/>
                  </a:lnTo>
                  <a:lnTo>
                    <a:pt x="156" y="456"/>
                  </a:lnTo>
                  <a:lnTo>
                    <a:pt x="156" y="450"/>
                  </a:lnTo>
                  <a:lnTo>
                    <a:pt x="162" y="438"/>
                  </a:lnTo>
                  <a:lnTo>
                    <a:pt x="168" y="426"/>
                  </a:lnTo>
                  <a:lnTo>
                    <a:pt x="174" y="426"/>
                  </a:lnTo>
                  <a:lnTo>
                    <a:pt x="174" y="420"/>
                  </a:lnTo>
                  <a:lnTo>
                    <a:pt x="180" y="414"/>
                  </a:lnTo>
                  <a:lnTo>
                    <a:pt x="186" y="420"/>
                  </a:lnTo>
                  <a:lnTo>
                    <a:pt x="186" y="414"/>
                  </a:lnTo>
                  <a:lnTo>
                    <a:pt x="180" y="408"/>
                  </a:lnTo>
                  <a:lnTo>
                    <a:pt x="180" y="402"/>
                  </a:lnTo>
                  <a:lnTo>
                    <a:pt x="186" y="402"/>
                  </a:lnTo>
                  <a:lnTo>
                    <a:pt x="192" y="402"/>
                  </a:lnTo>
                  <a:lnTo>
                    <a:pt x="192" y="396"/>
                  </a:lnTo>
                  <a:lnTo>
                    <a:pt x="198" y="396"/>
                  </a:lnTo>
                  <a:lnTo>
                    <a:pt x="204" y="396"/>
                  </a:lnTo>
                  <a:lnTo>
                    <a:pt x="210" y="396"/>
                  </a:lnTo>
                  <a:lnTo>
                    <a:pt x="210" y="390"/>
                  </a:lnTo>
                  <a:lnTo>
                    <a:pt x="216" y="390"/>
                  </a:lnTo>
                  <a:lnTo>
                    <a:pt x="216" y="384"/>
                  </a:lnTo>
                  <a:lnTo>
                    <a:pt x="222" y="384"/>
                  </a:lnTo>
                  <a:lnTo>
                    <a:pt x="222" y="378"/>
                  </a:lnTo>
                  <a:lnTo>
                    <a:pt x="228" y="372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0" y="348"/>
                  </a:lnTo>
                  <a:lnTo>
                    <a:pt x="234" y="342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46" y="330"/>
                  </a:lnTo>
                  <a:lnTo>
                    <a:pt x="246" y="324"/>
                  </a:lnTo>
                  <a:lnTo>
                    <a:pt x="234" y="318"/>
                  </a:lnTo>
                  <a:lnTo>
                    <a:pt x="234" y="312"/>
                  </a:lnTo>
                  <a:lnTo>
                    <a:pt x="234" y="300"/>
                  </a:lnTo>
                  <a:lnTo>
                    <a:pt x="240" y="288"/>
                  </a:lnTo>
                  <a:lnTo>
                    <a:pt x="240" y="276"/>
                  </a:lnTo>
                  <a:lnTo>
                    <a:pt x="246" y="258"/>
                  </a:lnTo>
                  <a:lnTo>
                    <a:pt x="258" y="252"/>
                  </a:lnTo>
                  <a:lnTo>
                    <a:pt x="270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294" y="252"/>
                  </a:lnTo>
                  <a:lnTo>
                    <a:pt x="300" y="258"/>
                  </a:lnTo>
                  <a:lnTo>
                    <a:pt x="318" y="252"/>
                  </a:lnTo>
                  <a:lnTo>
                    <a:pt x="366" y="252"/>
                  </a:lnTo>
                  <a:lnTo>
                    <a:pt x="378" y="252"/>
                  </a:lnTo>
                  <a:lnTo>
                    <a:pt x="396" y="252"/>
                  </a:lnTo>
                  <a:lnTo>
                    <a:pt x="408" y="252"/>
                  </a:lnTo>
                  <a:lnTo>
                    <a:pt x="408" y="246"/>
                  </a:lnTo>
                  <a:lnTo>
                    <a:pt x="414" y="240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20" y="216"/>
                  </a:lnTo>
                  <a:lnTo>
                    <a:pt x="426" y="210"/>
                  </a:lnTo>
                  <a:lnTo>
                    <a:pt x="444" y="198"/>
                  </a:lnTo>
                  <a:lnTo>
                    <a:pt x="462" y="198"/>
                  </a:lnTo>
                  <a:lnTo>
                    <a:pt x="474" y="204"/>
                  </a:lnTo>
                  <a:lnTo>
                    <a:pt x="498" y="198"/>
                  </a:lnTo>
                  <a:lnTo>
                    <a:pt x="498" y="204"/>
                  </a:lnTo>
                  <a:lnTo>
                    <a:pt x="540" y="210"/>
                  </a:lnTo>
                  <a:lnTo>
                    <a:pt x="564" y="210"/>
                  </a:lnTo>
                  <a:lnTo>
                    <a:pt x="588" y="210"/>
                  </a:lnTo>
                  <a:lnTo>
                    <a:pt x="612" y="210"/>
                  </a:lnTo>
                  <a:lnTo>
                    <a:pt x="612" y="216"/>
                  </a:lnTo>
                  <a:lnTo>
                    <a:pt x="618" y="222"/>
                  </a:lnTo>
                  <a:lnTo>
                    <a:pt x="618" y="228"/>
                  </a:lnTo>
                  <a:lnTo>
                    <a:pt x="624" y="240"/>
                  </a:lnTo>
                  <a:lnTo>
                    <a:pt x="624" y="246"/>
                  </a:lnTo>
                  <a:lnTo>
                    <a:pt x="630" y="252"/>
                  </a:lnTo>
                  <a:lnTo>
                    <a:pt x="630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0" y="282"/>
                  </a:lnTo>
                  <a:lnTo>
                    <a:pt x="630" y="288"/>
                  </a:lnTo>
                  <a:lnTo>
                    <a:pt x="630" y="300"/>
                  </a:lnTo>
                  <a:lnTo>
                    <a:pt x="630" y="306"/>
                  </a:lnTo>
                  <a:lnTo>
                    <a:pt x="636" y="306"/>
                  </a:lnTo>
                  <a:lnTo>
                    <a:pt x="642" y="306"/>
                  </a:lnTo>
                  <a:lnTo>
                    <a:pt x="648" y="312"/>
                  </a:lnTo>
                  <a:lnTo>
                    <a:pt x="666" y="312"/>
                  </a:lnTo>
                  <a:lnTo>
                    <a:pt x="696" y="306"/>
                  </a:lnTo>
                  <a:lnTo>
                    <a:pt x="732" y="300"/>
                  </a:lnTo>
                  <a:lnTo>
                    <a:pt x="732" y="288"/>
                  </a:lnTo>
                  <a:lnTo>
                    <a:pt x="738" y="288"/>
                  </a:lnTo>
                  <a:lnTo>
                    <a:pt x="744" y="276"/>
                  </a:lnTo>
                  <a:lnTo>
                    <a:pt x="762" y="246"/>
                  </a:lnTo>
                  <a:lnTo>
                    <a:pt x="768" y="228"/>
                  </a:lnTo>
                  <a:lnTo>
                    <a:pt x="792" y="210"/>
                  </a:lnTo>
                  <a:lnTo>
                    <a:pt x="804" y="186"/>
                  </a:lnTo>
                  <a:lnTo>
                    <a:pt x="804" y="156"/>
                  </a:lnTo>
                  <a:lnTo>
                    <a:pt x="804" y="138"/>
                  </a:lnTo>
                  <a:lnTo>
                    <a:pt x="810" y="126"/>
                  </a:lnTo>
                  <a:lnTo>
                    <a:pt x="816" y="120"/>
                  </a:lnTo>
                  <a:lnTo>
                    <a:pt x="828" y="102"/>
                  </a:lnTo>
                  <a:lnTo>
                    <a:pt x="834" y="96"/>
                  </a:lnTo>
                  <a:lnTo>
                    <a:pt x="846" y="102"/>
                  </a:lnTo>
                  <a:lnTo>
                    <a:pt x="852" y="96"/>
                  </a:lnTo>
                  <a:lnTo>
                    <a:pt x="858" y="72"/>
                  </a:lnTo>
                  <a:lnTo>
                    <a:pt x="864" y="60"/>
                  </a:lnTo>
                  <a:lnTo>
                    <a:pt x="882" y="48"/>
                  </a:lnTo>
                  <a:lnTo>
                    <a:pt x="906" y="36"/>
                  </a:lnTo>
                  <a:lnTo>
                    <a:pt x="918" y="12"/>
                  </a:lnTo>
                  <a:lnTo>
                    <a:pt x="924" y="0"/>
                  </a:lnTo>
                  <a:lnTo>
                    <a:pt x="930" y="6"/>
                  </a:lnTo>
                  <a:lnTo>
                    <a:pt x="942" y="12"/>
                  </a:lnTo>
                  <a:lnTo>
                    <a:pt x="948" y="12"/>
                  </a:lnTo>
                  <a:lnTo>
                    <a:pt x="954" y="18"/>
                  </a:lnTo>
                  <a:lnTo>
                    <a:pt x="966" y="18"/>
                  </a:lnTo>
                  <a:lnTo>
                    <a:pt x="972" y="18"/>
                  </a:lnTo>
                  <a:lnTo>
                    <a:pt x="984" y="18"/>
                  </a:lnTo>
                  <a:lnTo>
                    <a:pt x="990" y="18"/>
                  </a:lnTo>
                  <a:lnTo>
                    <a:pt x="1002" y="48"/>
                  </a:lnTo>
                  <a:lnTo>
                    <a:pt x="1008" y="78"/>
                  </a:lnTo>
                  <a:lnTo>
                    <a:pt x="1020" y="78"/>
                  </a:lnTo>
                  <a:lnTo>
                    <a:pt x="1020" y="90"/>
                  </a:lnTo>
                  <a:lnTo>
                    <a:pt x="1026" y="102"/>
                  </a:lnTo>
                  <a:lnTo>
                    <a:pt x="1044" y="120"/>
                  </a:lnTo>
                  <a:lnTo>
                    <a:pt x="1044" y="132"/>
                  </a:lnTo>
                  <a:lnTo>
                    <a:pt x="1056" y="150"/>
                  </a:lnTo>
                  <a:lnTo>
                    <a:pt x="1050" y="150"/>
                  </a:lnTo>
                  <a:lnTo>
                    <a:pt x="1044" y="156"/>
                  </a:lnTo>
                  <a:lnTo>
                    <a:pt x="1044" y="162"/>
                  </a:lnTo>
                  <a:lnTo>
                    <a:pt x="1038" y="162"/>
                  </a:lnTo>
                  <a:lnTo>
                    <a:pt x="1032" y="162"/>
                  </a:lnTo>
                  <a:lnTo>
                    <a:pt x="1026" y="168"/>
                  </a:lnTo>
                  <a:lnTo>
                    <a:pt x="1014" y="174"/>
                  </a:lnTo>
                  <a:lnTo>
                    <a:pt x="1014" y="186"/>
                  </a:lnTo>
                  <a:lnTo>
                    <a:pt x="1014" y="192"/>
                  </a:lnTo>
                  <a:lnTo>
                    <a:pt x="1014" y="198"/>
                  </a:lnTo>
                  <a:lnTo>
                    <a:pt x="1020" y="204"/>
                  </a:lnTo>
                  <a:lnTo>
                    <a:pt x="1026" y="204"/>
                  </a:lnTo>
                  <a:lnTo>
                    <a:pt x="1032" y="204"/>
                  </a:lnTo>
                  <a:lnTo>
                    <a:pt x="1032" y="210"/>
                  </a:lnTo>
                  <a:lnTo>
                    <a:pt x="1038" y="210"/>
                  </a:lnTo>
                  <a:lnTo>
                    <a:pt x="1032" y="216"/>
                  </a:lnTo>
                  <a:lnTo>
                    <a:pt x="1026" y="228"/>
                  </a:lnTo>
                  <a:lnTo>
                    <a:pt x="1026" y="234"/>
                  </a:lnTo>
                  <a:lnTo>
                    <a:pt x="1032" y="240"/>
                  </a:lnTo>
                  <a:lnTo>
                    <a:pt x="1032" y="246"/>
                  </a:lnTo>
                  <a:lnTo>
                    <a:pt x="1032" y="252"/>
                  </a:lnTo>
                  <a:lnTo>
                    <a:pt x="1032" y="258"/>
                  </a:lnTo>
                  <a:lnTo>
                    <a:pt x="1038" y="264"/>
                  </a:lnTo>
                  <a:lnTo>
                    <a:pt x="1032" y="276"/>
                  </a:lnTo>
                  <a:lnTo>
                    <a:pt x="1026" y="276"/>
                  </a:lnTo>
                  <a:lnTo>
                    <a:pt x="1020" y="276"/>
                  </a:lnTo>
                  <a:lnTo>
                    <a:pt x="996" y="282"/>
                  </a:lnTo>
                  <a:lnTo>
                    <a:pt x="996" y="288"/>
                  </a:lnTo>
                  <a:lnTo>
                    <a:pt x="996" y="294"/>
                  </a:lnTo>
                  <a:lnTo>
                    <a:pt x="996" y="300"/>
                  </a:lnTo>
                  <a:lnTo>
                    <a:pt x="996" y="306"/>
                  </a:lnTo>
                  <a:lnTo>
                    <a:pt x="984" y="324"/>
                  </a:lnTo>
                  <a:lnTo>
                    <a:pt x="984" y="330"/>
                  </a:lnTo>
                  <a:lnTo>
                    <a:pt x="984" y="336"/>
                  </a:lnTo>
                  <a:lnTo>
                    <a:pt x="978" y="336"/>
                  </a:lnTo>
                  <a:lnTo>
                    <a:pt x="978" y="342"/>
                  </a:lnTo>
                  <a:lnTo>
                    <a:pt x="984" y="360"/>
                  </a:lnTo>
                  <a:lnTo>
                    <a:pt x="978" y="366"/>
                  </a:lnTo>
                  <a:lnTo>
                    <a:pt x="978" y="372"/>
                  </a:lnTo>
                  <a:lnTo>
                    <a:pt x="972" y="372"/>
                  </a:lnTo>
                  <a:lnTo>
                    <a:pt x="972" y="378"/>
                  </a:lnTo>
                  <a:lnTo>
                    <a:pt x="972" y="384"/>
                  </a:lnTo>
                  <a:lnTo>
                    <a:pt x="972" y="390"/>
                  </a:lnTo>
                  <a:lnTo>
                    <a:pt x="966" y="402"/>
                  </a:lnTo>
                  <a:lnTo>
                    <a:pt x="960" y="414"/>
                  </a:lnTo>
                  <a:lnTo>
                    <a:pt x="954" y="420"/>
                  </a:lnTo>
                  <a:lnTo>
                    <a:pt x="948" y="426"/>
                  </a:lnTo>
                  <a:lnTo>
                    <a:pt x="948" y="438"/>
                  </a:lnTo>
                  <a:lnTo>
                    <a:pt x="942" y="444"/>
                  </a:lnTo>
                  <a:lnTo>
                    <a:pt x="936" y="450"/>
                  </a:lnTo>
                  <a:lnTo>
                    <a:pt x="930" y="456"/>
                  </a:lnTo>
                  <a:lnTo>
                    <a:pt x="924" y="462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18" y="522"/>
                  </a:lnTo>
                  <a:lnTo>
                    <a:pt x="918" y="528"/>
                  </a:lnTo>
                  <a:lnTo>
                    <a:pt x="924" y="534"/>
                  </a:lnTo>
                  <a:lnTo>
                    <a:pt x="924" y="540"/>
                  </a:lnTo>
                  <a:lnTo>
                    <a:pt x="924" y="546"/>
                  </a:lnTo>
                  <a:lnTo>
                    <a:pt x="918" y="546"/>
                  </a:lnTo>
                  <a:lnTo>
                    <a:pt x="918" y="552"/>
                  </a:lnTo>
                  <a:lnTo>
                    <a:pt x="912" y="546"/>
                  </a:lnTo>
                  <a:lnTo>
                    <a:pt x="912" y="552"/>
                  </a:lnTo>
                  <a:lnTo>
                    <a:pt x="912" y="570"/>
                  </a:lnTo>
                  <a:lnTo>
                    <a:pt x="906" y="588"/>
                  </a:lnTo>
                  <a:lnTo>
                    <a:pt x="900" y="606"/>
                  </a:lnTo>
                  <a:lnTo>
                    <a:pt x="906" y="624"/>
                  </a:lnTo>
                  <a:lnTo>
                    <a:pt x="900" y="624"/>
                  </a:lnTo>
                  <a:lnTo>
                    <a:pt x="894" y="630"/>
                  </a:lnTo>
                  <a:lnTo>
                    <a:pt x="888" y="630"/>
                  </a:lnTo>
                  <a:lnTo>
                    <a:pt x="882" y="630"/>
                  </a:lnTo>
                  <a:lnTo>
                    <a:pt x="882" y="636"/>
                  </a:lnTo>
                  <a:lnTo>
                    <a:pt x="876" y="642"/>
                  </a:lnTo>
                  <a:lnTo>
                    <a:pt x="870" y="642"/>
                  </a:lnTo>
                  <a:lnTo>
                    <a:pt x="870" y="648"/>
                  </a:lnTo>
                  <a:lnTo>
                    <a:pt x="870" y="654"/>
                  </a:lnTo>
                  <a:lnTo>
                    <a:pt x="864" y="654"/>
                  </a:lnTo>
                  <a:lnTo>
                    <a:pt x="864" y="660"/>
                  </a:lnTo>
                  <a:lnTo>
                    <a:pt x="846" y="666"/>
                  </a:lnTo>
                  <a:lnTo>
                    <a:pt x="828" y="672"/>
                  </a:lnTo>
                  <a:lnTo>
                    <a:pt x="816" y="660"/>
                  </a:lnTo>
                  <a:lnTo>
                    <a:pt x="810" y="660"/>
                  </a:lnTo>
                  <a:lnTo>
                    <a:pt x="798" y="666"/>
                  </a:lnTo>
                  <a:lnTo>
                    <a:pt x="786" y="666"/>
                  </a:lnTo>
                  <a:lnTo>
                    <a:pt x="780" y="672"/>
                  </a:lnTo>
                  <a:lnTo>
                    <a:pt x="768" y="678"/>
                  </a:lnTo>
                  <a:lnTo>
                    <a:pt x="762" y="660"/>
                  </a:lnTo>
                  <a:lnTo>
                    <a:pt x="762" y="654"/>
                  </a:lnTo>
                  <a:lnTo>
                    <a:pt x="756" y="636"/>
                  </a:lnTo>
                  <a:lnTo>
                    <a:pt x="762" y="624"/>
                  </a:lnTo>
                  <a:lnTo>
                    <a:pt x="756" y="606"/>
                  </a:lnTo>
                  <a:lnTo>
                    <a:pt x="756" y="600"/>
                  </a:lnTo>
                  <a:lnTo>
                    <a:pt x="762" y="594"/>
                  </a:lnTo>
                  <a:lnTo>
                    <a:pt x="768" y="600"/>
                  </a:lnTo>
                  <a:lnTo>
                    <a:pt x="768" y="594"/>
                  </a:lnTo>
                  <a:lnTo>
                    <a:pt x="768" y="588"/>
                  </a:lnTo>
                  <a:lnTo>
                    <a:pt x="774" y="582"/>
                  </a:lnTo>
                  <a:lnTo>
                    <a:pt x="768" y="576"/>
                  </a:lnTo>
                  <a:lnTo>
                    <a:pt x="762" y="576"/>
                  </a:lnTo>
                  <a:lnTo>
                    <a:pt x="756" y="576"/>
                  </a:lnTo>
                  <a:lnTo>
                    <a:pt x="690" y="576"/>
                  </a:lnTo>
                  <a:lnTo>
                    <a:pt x="624" y="570"/>
                  </a:lnTo>
                  <a:lnTo>
                    <a:pt x="600" y="564"/>
                  </a:lnTo>
                  <a:lnTo>
                    <a:pt x="576" y="564"/>
                  </a:lnTo>
                  <a:lnTo>
                    <a:pt x="558" y="570"/>
                  </a:lnTo>
                  <a:lnTo>
                    <a:pt x="552" y="576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46" y="594"/>
                  </a:lnTo>
                  <a:lnTo>
                    <a:pt x="546" y="600"/>
                  </a:lnTo>
                  <a:lnTo>
                    <a:pt x="540" y="606"/>
                  </a:lnTo>
                  <a:lnTo>
                    <a:pt x="534" y="618"/>
                  </a:lnTo>
                  <a:lnTo>
                    <a:pt x="534" y="624"/>
                  </a:lnTo>
                  <a:lnTo>
                    <a:pt x="534" y="630"/>
                  </a:lnTo>
                  <a:lnTo>
                    <a:pt x="534" y="636"/>
                  </a:lnTo>
                  <a:lnTo>
                    <a:pt x="528" y="636"/>
                  </a:lnTo>
                  <a:lnTo>
                    <a:pt x="516" y="642"/>
                  </a:lnTo>
                  <a:lnTo>
                    <a:pt x="516" y="648"/>
                  </a:lnTo>
                  <a:lnTo>
                    <a:pt x="510" y="648"/>
                  </a:lnTo>
                  <a:lnTo>
                    <a:pt x="504" y="654"/>
                  </a:lnTo>
                  <a:lnTo>
                    <a:pt x="492" y="666"/>
                  </a:lnTo>
                  <a:lnTo>
                    <a:pt x="492" y="672"/>
                  </a:lnTo>
                  <a:lnTo>
                    <a:pt x="492" y="684"/>
                  </a:lnTo>
                  <a:lnTo>
                    <a:pt x="486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92" y="702"/>
                  </a:lnTo>
                  <a:lnTo>
                    <a:pt x="486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74" y="720"/>
                  </a:lnTo>
                  <a:lnTo>
                    <a:pt x="480" y="726"/>
                  </a:lnTo>
                  <a:lnTo>
                    <a:pt x="474" y="726"/>
                  </a:lnTo>
                  <a:lnTo>
                    <a:pt x="474" y="738"/>
                  </a:lnTo>
                  <a:lnTo>
                    <a:pt x="474" y="744"/>
                  </a:lnTo>
                  <a:lnTo>
                    <a:pt x="474" y="750"/>
                  </a:lnTo>
                  <a:lnTo>
                    <a:pt x="480" y="750"/>
                  </a:lnTo>
                  <a:lnTo>
                    <a:pt x="480" y="756"/>
                  </a:lnTo>
                  <a:lnTo>
                    <a:pt x="492" y="762"/>
                  </a:lnTo>
                  <a:lnTo>
                    <a:pt x="498" y="774"/>
                  </a:lnTo>
                  <a:lnTo>
                    <a:pt x="498" y="780"/>
                  </a:lnTo>
                  <a:lnTo>
                    <a:pt x="504" y="786"/>
                  </a:lnTo>
                  <a:lnTo>
                    <a:pt x="510" y="792"/>
                  </a:lnTo>
                  <a:lnTo>
                    <a:pt x="504" y="798"/>
                  </a:lnTo>
                  <a:lnTo>
                    <a:pt x="504" y="804"/>
                  </a:lnTo>
                  <a:lnTo>
                    <a:pt x="504" y="810"/>
                  </a:lnTo>
                  <a:lnTo>
                    <a:pt x="498" y="822"/>
                  </a:lnTo>
                  <a:lnTo>
                    <a:pt x="492" y="828"/>
                  </a:lnTo>
                  <a:lnTo>
                    <a:pt x="492" y="834"/>
                  </a:lnTo>
                  <a:lnTo>
                    <a:pt x="486" y="840"/>
                  </a:lnTo>
                  <a:lnTo>
                    <a:pt x="480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74" y="858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876"/>
                  </a:lnTo>
                  <a:lnTo>
                    <a:pt x="456" y="894"/>
                  </a:lnTo>
                  <a:lnTo>
                    <a:pt x="450" y="894"/>
                  </a:lnTo>
                  <a:lnTo>
                    <a:pt x="444" y="900"/>
                  </a:lnTo>
                  <a:lnTo>
                    <a:pt x="444" y="894"/>
                  </a:lnTo>
                  <a:lnTo>
                    <a:pt x="438" y="894"/>
                  </a:lnTo>
                  <a:lnTo>
                    <a:pt x="432" y="900"/>
                  </a:lnTo>
                  <a:lnTo>
                    <a:pt x="432" y="906"/>
                  </a:lnTo>
                  <a:lnTo>
                    <a:pt x="420" y="906"/>
                  </a:lnTo>
                  <a:lnTo>
                    <a:pt x="420" y="912"/>
                  </a:lnTo>
                  <a:lnTo>
                    <a:pt x="420" y="918"/>
                  </a:lnTo>
                  <a:lnTo>
                    <a:pt x="426" y="918"/>
                  </a:lnTo>
                  <a:lnTo>
                    <a:pt x="426" y="924"/>
                  </a:lnTo>
                  <a:lnTo>
                    <a:pt x="426" y="930"/>
                  </a:lnTo>
                  <a:lnTo>
                    <a:pt x="420" y="930"/>
                  </a:lnTo>
                  <a:lnTo>
                    <a:pt x="414" y="936"/>
                  </a:lnTo>
                  <a:lnTo>
                    <a:pt x="414" y="942"/>
                  </a:lnTo>
                  <a:lnTo>
                    <a:pt x="414" y="948"/>
                  </a:lnTo>
                  <a:lnTo>
                    <a:pt x="414" y="954"/>
                  </a:lnTo>
                  <a:lnTo>
                    <a:pt x="426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44" y="972"/>
                  </a:lnTo>
                  <a:lnTo>
                    <a:pt x="444" y="978"/>
                  </a:lnTo>
                  <a:lnTo>
                    <a:pt x="450" y="978"/>
                  </a:lnTo>
                  <a:lnTo>
                    <a:pt x="450" y="984"/>
                  </a:lnTo>
                  <a:lnTo>
                    <a:pt x="456" y="990"/>
                  </a:lnTo>
                  <a:lnTo>
                    <a:pt x="456" y="996"/>
                  </a:lnTo>
                  <a:lnTo>
                    <a:pt x="462" y="1008"/>
                  </a:lnTo>
                  <a:lnTo>
                    <a:pt x="468" y="1008"/>
                  </a:lnTo>
                  <a:lnTo>
                    <a:pt x="468" y="1002"/>
                  </a:lnTo>
                  <a:lnTo>
                    <a:pt x="474" y="1008"/>
                  </a:lnTo>
                  <a:lnTo>
                    <a:pt x="480" y="1002"/>
                  </a:lnTo>
                  <a:lnTo>
                    <a:pt x="486" y="1008"/>
                  </a:lnTo>
                  <a:lnTo>
                    <a:pt x="486" y="1014"/>
                  </a:lnTo>
                  <a:lnTo>
                    <a:pt x="492" y="1014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86" y="1026"/>
                  </a:lnTo>
                  <a:lnTo>
                    <a:pt x="492" y="1026"/>
                  </a:lnTo>
                  <a:lnTo>
                    <a:pt x="486" y="1026"/>
                  </a:lnTo>
                  <a:lnTo>
                    <a:pt x="492" y="103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5" name="Freeform 30">
              <a:extLst>
                <a:ext uri="{FF2B5EF4-FFF2-40B4-BE49-F238E27FC236}">
                  <a16:creationId xmlns:a16="http://schemas.microsoft.com/office/drawing/2014/main" id="{85C7B827-0C1A-4D72-AEBD-F01CFE7EC12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3645" y="3904484"/>
              <a:ext cx="559048" cy="111825"/>
            </a:xfrm>
            <a:custGeom>
              <a:avLst/>
              <a:gdLst>
                <a:gd name="T0" fmla="*/ 69 w 1056"/>
                <a:gd name="T1" fmla="*/ 7 h 210"/>
                <a:gd name="T2" fmla="*/ 63 w 1056"/>
                <a:gd name="T3" fmla="*/ 5 h 210"/>
                <a:gd name="T4" fmla="*/ 57 w 1056"/>
                <a:gd name="T5" fmla="*/ 5 h 210"/>
                <a:gd name="T6" fmla="*/ 54 w 1056"/>
                <a:gd name="T7" fmla="*/ 6 h 210"/>
                <a:gd name="T8" fmla="*/ 51 w 1056"/>
                <a:gd name="T9" fmla="*/ 7 h 210"/>
                <a:gd name="T10" fmla="*/ 46 w 1056"/>
                <a:gd name="T11" fmla="*/ 9 h 210"/>
                <a:gd name="T12" fmla="*/ 42 w 1056"/>
                <a:gd name="T13" fmla="*/ 8 h 210"/>
                <a:gd name="T14" fmla="*/ 42 w 1056"/>
                <a:gd name="T15" fmla="*/ 5 h 210"/>
                <a:gd name="T16" fmla="*/ 41 w 1056"/>
                <a:gd name="T17" fmla="*/ 7 h 210"/>
                <a:gd name="T18" fmla="*/ 38 w 1056"/>
                <a:gd name="T19" fmla="*/ 10 h 210"/>
                <a:gd name="T20" fmla="*/ 37 w 1056"/>
                <a:gd name="T21" fmla="*/ 12 h 210"/>
                <a:gd name="T22" fmla="*/ 37 w 1056"/>
                <a:gd name="T23" fmla="*/ 15 h 210"/>
                <a:gd name="T24" fmla="*/ 37 w 1056"/>
                <a:gd name="T25" fmla="*/ 16 h 210"/>
                <a:gd name="T26" fmla="*/ 38 w 1056"/>
                <a:gd name="T27" fmla="*/ 16 h 210"/>
                <a:gd name="T28" fmla="*/ 34 w 1056"/>
                <a:gd name="T29" fmla="*/ 16 h 210"/>
                <a:gd name="T30" fmla="*/ 26 w 1056"/>
                <a:gd name="T31" fmla="*/ 16 h 210"/>
                <a:gd name="T32" fmla="*/ 20 w 1056"/>
                <a:gd name="T33" fmla="*/ 17 h 210"/>
                <a:gd name="T34" fmla="*/ 13 w 1056"/>
                <a:gd name="T35" fmla="*/ 17 h 210"/>
                <a:gd name="T36" fmla="*/ 6 w 1056"/>
                <a:gd name="T37" fmla="*/ 17 h 210"/>
                <a:gd name="T38" fmla="*/ 1 w 1056"/>
                <a:gd name="T39" fmla="*/ 18 h 210"/>
                <a:gd name="T40" fmla="*/ 3 w 1056"/>
                <a:gd name="T41" fmla="*/ 14 h 210"/>
                <a:gd name="T42" fmla="*/ 8 w 1056"/>
                <a:gd name="T43" fmla="*/ 15 h 210"/>
                <a:gd name="T44" fmla="*/ 11 w 1056"/>
                <a:gd name="T45" fmla="*/ 12 h 210"/>
                <a:gd name="T46" fmla="*/ 26 w 1056"/>
                <a:gd name="T47" fmla="*/ 10 h 210"/>
                <a:gd name="T48" fmla="*/ 29 w 1056"/>
                <a:gd name="T49" fmla="*/ 5 h 210"/>
                <a:gd name="T50" fmla="*/ 34 w 1056"/>
                <a:gd name="T51" fmla="*/ 1 h 210"/>
                <a:gd name="T52" fmla="*/ 41 w 1056"/>
                <a:gd name="T53" fmla="*/ 3 h 210"/>
                <a:gd name="T54" fmla="*/ 73 w 1056"/>
                <a:gd name="T55" fmla="*/ 1 h 210"/>
                <a:gd name="T56" fmla="*/ 75 w 1056"/>
                <a:gd name="T57" fmla="*/ 4 h 210"/>
                <a:gd name="T58" fmla="*/ 85 w 1056"/>
                <a:gd name="T59" fmla="*/ 15 h 210"/>
                <a:gd name="T60" fmla="*/ 91 w 1056"/>
                <a:gd name="T61" fmla="*/ 18 h 210"/>
                <a:gd name="T62" fmla="*/ 85 w 1056"/>
                <a:gd name="T63" fmla="*/ 18 h 210"/>
                <a:gd name="T64" fmla="*/ 79 w 1056"/>
                <a:gd name="T65" fmla="*/ 16 h 210"/>
                <a:gd name="T66" fmla="*/ 74 w 1056"/>
                <a:gd name="T67" fmla="*/ 16 h 210"/>
                <a:gd name="T68" fmla="*/ 69 w 1056"/>
                <a:gd name="T69" fmla="*/ 15 h 210"/>
                <a:gd name="T70" fmla="*/ 65 w 1056"/>
                <a:gd name="T71" fmla="*/ 14 h 210"/>
                <a:gd name="T72" fmla="*/ 59 w 1056"/>
                <a:gd name="T73" fmla="*/ 15 h 210"/>
                <a:gd name="T74" fmla="*/ 54 w 1056"/>
                <a:gd name="T75" fmla="*/ 15 h 210"/>
                <a:gd name="T76" fmla="*/ 49 w 1056"/>
                <a:gd name="T77" fmla="*/ 15 h 210"/>
                <a:gd name="T78" fmla="*/ 42 w 1056"/>
                <a:gd name="T79" fmla="*/ 15 h 210"/>
                <a:gd name="T80" fmla="*/ 38 w 1056"/>
                <a:gd name="T81" fmla="*/ 16 h 210"/>
                <a:gd name="T82" fmla="*/ 41 w 1056"/>
                <a:gd name="T83" fmla="*/ 14 h 210"/>
                <a:gd name="T84" fmla="*/ 42 w 1056"/>
                <a:gd name="T85" fmla="*/ 13 h 210"/>
                <a:gd name="T86" fmla="*/ 45 w 1056"/>
                <a:gd name="T87" fmla="*/ 13 h 210"/>
                <a:gd name="T88" fmla="*/ 48 w 1056"/>
                <a:gd name="T89" fmla="*/ 12 h 210"/>
                <a:gd name="T90" fmla="*/ 51 w 1056"/>
                <a:gd name="T91" fmla="*/ 11 h 210"/>
                <a:gd name="T92" fmla="*/ 54 w 1056"/>
                <a:gd name="T93" fmla="*/ 9 h 210"/>
                <a:gd name="T94" fmla="*/ 57 w 1056"/>
                <a:gd name="T95" fmla="*/ 8 h 210"/>
                <a:gd name="T96" fmla="*/ 60 w 1056"/>
                <a:gd name="T97" fmla="*/ 5 h 210"/>
                <a:gd name="T98" fmla="*/ 65 w 1056"/>
                <a:gd name="T99" fmla="*/ 5 h 210"/>
                <a:gd name="T100" fmla="*/ 72 w 1056"/>
                <a:gd name="T101" fmla="*/ 7 h 210"/>
                <a:gd name="T102" fmla="*/ 77 w 1056"/>
                <a:gd name="T103" fmla="*/ 11 h 210"/>
                <a:gd name="T104" fmla="*/ 69 w 1056"/>
                <a:gd name="T105" fmla="*/ 10 h 210"/>
                <a:gd name="T106" fmla="*/ 72 w 1056"/>
                <a:gd name="T107" fmla="*/ 12 h 210"/>
                <a:gd name="T108" fmla="*/ 78 w 1056"/>
                <a:gd name="T109" fmla="*/ 15 h 210"/>
                <a:gd name="T110" fmla="*/ 84 w 1056"/>
                <a:gd name="T111" fmla="*/ 14 h 210"/>
                <a:gd name="T112" fmla="*/ 84 w 1056"/>
                <a:gd name="T113" fmla="*/ 14 h 210"/>
                <a:gd name="T114" fmla="*/ 78 w 1056"/>
                <a:gd name="T115" fmla="*/ 13 h 210"/>
                <a:gd name="T116" fmla="*/ 76 w 1056"/>
                <a:gd name="T117" fmla="*/ 14 h 210"/>
                <a:gd name="T118" fmla="*/ 38 w 1056"/>
                <a:gd name="T119" fmla="*/ 12 h 210"/>
                <a:gd name="T120" fmla="*/ 41 w 1056"/>
                <a:gd name="T121" fmla="*/ 12 h 210"/>
                <a:gd name="T122" fmla="*/ 40 w 1056"/>
                <a:gd name="T123" fmla="*/ 14 h 2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6"/>
                <a:gd name="T187" fmla="*/ 0 h 210"/>
                <a:gd name="T188" fmla="*/ 1056 w 1056"/>
                <a:gd name="T189" fmla="*/ 210 h 21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6" h="210">
                  <a:moveTo>
                    <a:pt x="870" y="90"/>
                  </a:moveTo>
                  <a:lnTo>
                    <a:pt x="864" y="90"/>
                  </a:lnTo>
                  <a:lnTo>
                    <a:pt x="852" y="84"/>
                  </a:lnTo>
                  <a:lnTo>
                    <a:pt x="846" y="84"/>
                  </a:lnTo>
                  <a:lnTo>
                    <a:pt x="846" y="78"/>
                  </a:lnTo>
                  <a:lnTo>
                    <a:pt x="840" y="78"/>
                  </a:lnTo>
                  <a:lnTo>
                    <a:pt x="834" y="78"/>
                  </a:lnTo>
                  <a:lnTo>
                    <a:pt x="834" y="72"/>
                  </a:lnTo>
                  <a:lnTo>
                    <a:pt x="804" y="78"/>
                  </a:lnTo>
                  <a:lnTo>
                    <a:pt x="798" y="78"/>
                  </a:lnTo>
                  <a:lnTo>
                    <a:pt x="792" y="72"/>
                  </a:lnTo>
                  <a:lnTo>
                    <a:pt x="780" y="60"/>
                  </a:lnTo>
                  <a:lnTo>
                    <a:pt x="768" y="54"/>
                  </a:lnTo>
                  <a:lnTo>
                    <a:pt x="756" y="54"/>
                  </a:lnTo>
                  <a:lnTo>
                    <a:pt x="750" y="54"/>
                  </a:lnTo>
                  <a:lnTo>
                    <a:pt x="750" y="48"/>
                  </a:lnTo>
                  <a:lnTo>
                    <a:pt x="744" y="48"/>
                  </a:lnTo>
                  <a:lnTo>
                    <a:pt x="738" y="48"/>
                  </a:lnTo>
                  <a:lnTo>
                    <a:pt x="732" y="48"/>
                  </a:lnTo>
                  <a:lnTo>
                    <a:pt x="732" y="54"/>
                  </a:lnTo>
                  <a:lnTo>
                    <a:pt x="726" y="48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48"/>
                  </a:lnTo>
                  <a:lnTo>
                    <a:pt x="702" y="48"/>
                  </a:lnTo>
                  <a:lnTo>
                    <a:pt x="696" y="48"/>
                  </a:lnTo>
                  <a:lnTo>
                    <a:pt x="684" y="48"/>
                  </a:lnTo>
                  <a:lnTo>
                    <a:pt x="678" y="48"/>
                  </a:lnTo>
                  <a:lnTo>
                    <a:pt x="672" y="48"/>
                  </a:lnTo>
                  <a:lnTo>
                    <a:pt x="666" y="54"/>
                  </a:lnTo>
                  <a:lnTo>
                    <a:pt x="660" y="54"/>
                  </a:lnTo>
                  <a:lnTo>
                    <a:pt x="660" y="48"/>
                  </a:lnTo>
                  <a:lnTo>
                    <a:pt x="654" y="48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42" y="54"/>
                  </a:lnTo>
                  <a:lnTo>
                    <a:pt x="63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30" y="66"/>
                  </a:lnTo>
                  <a:lnTo>
                    <a:pt x="624" y="66"/>
                  </a:lnTo>
                  <a:lnTo>
                    <a:pt x="618" y="66"/>
                  </a:lnTo>
                  <a:lnTo>
                    <a:pt x="618" y="72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6" y="84"/>
                  </a:lnTo>
                  <a:lnTo>
                    <a:pt x="600" y="84"/>
                  </a:lnTo>
                  <a:lnTo>
                    <a:pt x="594" y="90"/>
                  </a:lnTo>
                  <a:lnTo>
                    <a:pt x="588" y="90"/>
                  </a:lnTo>
                  <a:lnTo>
                    <a:pt x="588" y="84"/>
                  </a:lnTo>
                  <a:lnTo>
                    <a:pt x="582" y="84"/>
                  </a:lnTo>
                  <a:lnTo>
                    <a:pt x="576" y="84"/>
                  </a:lnTo>
                  <a:lnTo>
                    <a:pt x="570" y="84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58" y="96"/>
                  </a:lnTo>
                  <a:lnTo>
                    <a:pt x="552" y="96"/>
                  </a:lnTo>
                  <a:lnTo>
                    <a:pt x="546" y="102"/>
                  </a:lnTo>
                  <a:lnTo>
                    <a:pt x="540" y="102"/>
                  </a:lnTo>
                  <a:lnTo>
                    <a:pt x="534" y="102"/>
                  </a:lnTo>
                  <a:lnTo>
                    <a:pt x="528" y="102"/>
                  </a:lnTo>
                  <a:lnTo>
                    <a:pt x="528" y="108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16" y="102"/>
                  </a:lnTo>
                  <a:lnTo>
                    <a:pt x="510" y="102"/>
                  </a:lnTo>
                  <a:lnTo>
                    <a:pt x="504" y="102"/>
                  </a:lnTo>
                  <a:lnTo>
                    <a:pt x="498" y="102"/>
                  </a:lnTo>
                  <a:lnTo>
                    <a:pt x="498" y="96"/>
                  </a:lnTo>
                  <a:lnTo>
                    <a:pt x="492" y="96"/>
                  </a:lnTo>
                  <a:lnTo>
                    <a:pt x="492" y="90"/>
                  </a:lnTo>
                  <a:lnTo>
                    <a:pt x="492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498" y="66"/>
                  </a:lnTo>
                  <a:lnTo>
                    <a:pt x="504" y="60"/>
                  </a:lnTo>
                  <a:lnTo>
                    <a:pt x="498" y="60"/>
                  </a:lnTo>
                  <a:lnTo>
                    <a:pt x="498" y="54"/>
                  </a:lnTo>
                  <a:lnTo>
                    <a:pt x="492" y="54"/>
                  </a:lnTo>
                  <a:lnTo>
                    <a:pt x="492" y="60"/>
                  </a:lnTo>
                  <a:lnTo>
                    <a:pt x="486" y="60"/>
                  </a:lnTo>
                  <a:lnTo>
                    <a:pt x="486" y="66"/>
                  </a:lnTo>
                  <a:lnTo>
                    <a:pt x="480" y="66"/>
                  </a:lnTo>
                  <a:lnTo>
                    <a:pt x="474" y="72"/>
                  </a:lnTo>
                  <a:lnTo>
                    <a:pt x="474" y="66"/>
                  </a:lnTo>
                  <a:lnTo>
                    <a:pt x="474" y="72"/>
                  </a:lnTo>
                  <a:lnTo>
                    <a:pt x="468" y="72"/>
                  </a:lnTo>
                  <a:lnTo>
                    <a:pt x="468" y="78"/>
                  </a:lnTo>
                  <a:lnTo>
                    <a:pt x="468" y="84"/>
                  </a:lnTo>
                  <a:lnTo>
                    <a:pt x="462" y="90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0" y="84"/>
                  </a:lnTo>
                  <a:lnTo>
                    <a:pt x="450" y="90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44" y="102"/>
                  </a:lnTo>
                  <a:lnTo>
                    <a:pt x="444" y="108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38" y="126"/>
                  </a:lnTo>
                  <a:lnTo>
                    <a:pt x="438" y="132"/>
                  </a:lnTo>
                  <a:lnTo>
                    <a:pt x="438" y="138"/>
                  </a:lnTo>
                  <a:lnTo>
                    <a:pt x="438" y="144"/>
                  </a:lnTo>
                  <a:lnTo>
                    <a:pt x="432" y="144"/>
                  </a:lnTo>
                  <a:lnTo>
                    <a:pt x="432" y="150"/>
                  </a:lnTo>
                  <a:lnTo>
                    <a:pt x="432" y="144"/>
                  </a:lnTo>
                  <a:lnTo>
                    <a:pt x="426" y="144"/>
                  </a:lnTo>
                  <a:lnTo>
                    <a:pt x="426" y="150"/>
                  </a:lnTo>
                  <a:lnTo>
                    <a:pt x="426" y="156"/>
                  </a:lnTo>
                  <a:lnTo>
                    <a:pt x="432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2"/>
                  </a:lnTo>
                  <a:lnTo>
                    <a:pt x="432" y="168"/>
                  </a:lnTo>
                  <a:lnTo>
                    <a:pt x="426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44" y="168"/>
                  </a:lnTo>
                  <a:lnTo>
                    <a:pt x="444" y="174"/>
                  </a:lnTo>
                  <a:lnTo>
                    <a:pt x="444" y="180"/>
                  </a:lnTo>
                  <a:lnTo>
                    <a:pt x="444" y="186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2" y="192"/>
                  </a:lnTo>
                  <a:lnTo>
                    <a:pt x="426" y="192"/>
                  </a:lnTo>
                  <a:lnTo>
                    <a:pt x="420" y="186"/>
                  </a:lnTo>
                  <a:lnTo>
                    <a:pt x="414" y="186"/>
                  </a:lnTo>
                  <a:lnTo>
                    <a:pt x="408" y="186"/>
                  </a:lnTo>
                  <a:lnTo>
                    <a:pt x="402" y="186"/>
                  </a:lnTo>
                  <a:lnTo>
                    <a:pt x="396" y="186"/>
                  </a:lnTo>
                  <a:lnTo>
                    <a:pt x="390" y="186"/>
                  </a:lnTo>
                  <a:lnTo>
                    <a:pt x="384" y="186"/>
                  </a:lnTo>
                  <a:lnTo>
                    <a:pt x="378" y="186"/>
                  </a:lnTo>
                  <a:lnTo>
                    <a:pt x="372" y="186"/>
                  </a:lnTo>
                  <a:lnTo>
                    <a:pt x="354" y="186"/>
                  </a:lnTo>
                  <a:lnTo>
                    <a:pt x="342" y="186"/>
                  </a:lnTo>
                  <a:lnTo>
                    <a:pt x="324" y="186"/>
                  </a:lnTo>
                  <a:lnTo>
                    <a:pt x="312" y="186"/>
                  </a:lnTo>
                  <a:lnTo>
                    <a:pt x="306" y="186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82" y="186"/>
                  </a:lnTo>
                  <a:lnTo>
                    <a:pt x="270" y="186"/>
                  </a:lnTo>
                  <a:lnTo>
                    <a:pt x="264" y="186"/>
                  </a:lnTo>
                  <a:lnTo>
                    <a:pt x="258" y="192"/>
                  </a:lnTo>
                  <a:lnTo>
                    <a:pt x="258" y="186"/>
                  </a:lnTo>
                  <a:lnTo>
                    <a:pt x="246" y="186"/>
                  </a:lnTo>
                  <a:lnTo>
                    <a:pt x="240" y="186"/>
                  </a:lnTo>
                  <a:lnTo>
                    <a:pt x="234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2"/>
                  </a:lnTo>
                  <a:lnTo>
                    <a:pt x="204" y="192"/>
                  </a:lnTo>
                  <a:lnTo>
                    <a:pt x="198" y="192"/>
                  </a:lnTo>
                  <a:lnTo>
                    <a:pt x="192" y="192"/>
                  </a:lnTo>
                  <a:lnTo>
                    <a:pt x="180" y="192"/>
                  </a:lnTo>
                  <a:lnTo>
                    <a:pt x="168" y="192"/>
                  </a:lnTo>
                  <a:lnTo>
                    <a:pt x="162" y="192"/>
                  </a:lnTo>
                  <a:lnTo>
                    <a:pt x="150" y="192"/>
                  </a:lnTo>
                  <a:lnTo>
                    <a:pt x="138" y="192"/>
                  </a:lnTo>
                  <a:lnTo>
                    <a:pt x="132" y="192"/>
                  </a:lnTo>
                  <a:lnTo>
                    <a:pt x="120" y="192"/>
                  </a:lnTo>
                  <a:lnTo>
                    <a:pt x="114" y="192"/>
                  </a:lnTo>
                  <a:lnTo>
                    <a:pt x="108" y="192"/>
                  </a:lnTo>
                  <a:lnTo>
                    <a:pt x="102" y="192"/>
                  </a:lnTo>
                  <a:lnTo>
                    <a:pt x="90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2" y="198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36" y="198"/>
                  </a:lnTo>
                  <a:lnTo>
                    <a:pt x="30" y="204"/>
                  </a:lnTo>
                  <a:lnTo>
                    <a:pt x="24" y="204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6" y="210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54" y="156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56"/>
                  </a:lnTo>
                  <a:lnTo>
                    <a:pt x="78" y="162"/>
                  </a:lnTo>
                  <a:lnTo>
                    <a:pt x="84" y="162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9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0" y="126"/>
                  </a:lnTo>
                  <a:lnTo>
                    <a:pt x="276" y="120"/>
                  </a:lnTo>
                  <a:lnTo>
                    <a:pt x="282" y="120"/>
                  </a:lnTo>
                  <a:lnTo>
                    <a:pt x="300" y="120"/>
                  </a:lnTo>
                  <a:lnTo>
                    <a:pt x="306" y="114"/>
                  </a:lnTo>
                  <a:lnTo>
                    <a:pt x="312" y="108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8"/>
                  </a:lnTo>
                  <a:lnTo>
                    <a:pt x="342" y="30"/>
                  </a:lnTo>
                  <a:lnTo>
                    <a:pt x="342" y="24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8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24"/>
                  </a:lnTo>
                  <a:lnTo>
                    <a:pt x="414" y="30"/>
                  </a:lnTo>
                  <a:lnTo>
                    <a:pt x="420" y="30"/>
                  </a:lnTo>
                  <a:lnTo>
                    <a:pt x="42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74" y="30"/>
                  </a:lnTo>
                  <a:lnTo>
                    <a:pt x="474" y="18"/>
                  </a:lnTo>
                  <a:lnTo>
                    <a:pt x="474" y="12"/>
                  </a:lnTo>
                  <a:lnTo>
                    <a:pt x="480" y="12"/>
                  </a:lnTo>
                  <a:lnTo>
                    <a:pt x="486" y="12"/>
                  </a:lnTo>
                  <a:lnTo>
                    <a:pt x="606" y="12"/>
                  </a:lnTo>
                  <a:lnTo>
                    <a:pt x="630" y="12"/>
                  </a:lnTo>
                  <a:lnTo>
                    <a:pt x="678" y="12"/>
                  </a:lnTo>
                  <a:lnTo>
                    <a:pt x="744" y="12"/>
                  </a:lnTo>
                  <a:lnTo>
                    <a:pt x="774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2" y="6"/>
                  </a:lnTo>
                  <a:lnTo>
                    <a:pt x="888" y="12"/>
                  </a:lnTo>
                  <a:lnTo>
                    <a:pt x="888" y="24"/>
                  </a:lnTo>
                  <a:lnTo>
                    <a:pt x="888" y="30"/>
                  </a:lnTo>
                  <a:lnTo>
                    <a:pt x="882" y="36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64" y="42"/>
                  </a:lnTo>
                  <a:lnTo>
                    <a:pt x="864" y="48"/>
                  </a:lnTo>
                  <a:lnTo>
                    <a:pt x="858" y="54"/>
                  </a:lnTo>
                  <a:lnTo>
                    <a:pt x="864" y="54"/>
                  </a:lnTo>
                  <a:lnTo>
                    <a:pt x="870" y="72"/>
                  </a:lnTo>
                  <a:lnTo>
                    <a:pt x="870" y="78"/>
                  </a:lnTo>
                  <a:lnTo>
                    <a:pt x="870" y="84"/>
                  </a:lnTo>
                  <a:lnTo>
                    <a:pt x="870" y="90"/>
                  </a:lnTo>
                  <a:close/>
                  <a:moveTo>
                    <a:pt x="972" y="156"/>
                  </a:moveTo>
                  <a:lnTo>
                    <a:pt x="972" y="162"/>
                  </a:lnTo>
                  <a:lnTo>
                    <a:pt x="978" y="162"/>
                  </a:lnTo>
                  <a:lnTo>
                    <a:pt x="984" y="168"/>
                  </a:lnTo>
                  <a:lnTo>
                    <a:pt x="990" y="168"/>
                  </a:lnTo>
                  <a:lnTo>
                    <a:pt x="990" y="162"/>
                  </a:lnTo>
                  <a:lnTo>
                    <a:pt x="1008" y="162"/>
                  </a:lnTo>
                  <a:lnTo>
                    <a:pt x="1020" y="162"/>
                  </a:lnTo>
                  <a:lnTo>
                    <a:pt x="1038" y="162"/>
                  </a:lnTo>
                  <a:lnTo>
                    <a:pt x="1056" y="168"/>
                  </a:lnTo>
                  <a:lnTo>
                    <a:pt x="1056" y="180"/>
                  </a:lnTo>
                  <a:lnTo>
                    <a:pt x="1056" y="186"/>
                  </a:lnTo>
                  <a:lnTo>
                    <a:pt x="1056" y="204"/>
                  </a:lnTo>
                  <a:lnTo>
                    <a:pt x="1050" y="204"/>
                  </a:lnTo>
                  <a:lnTo>
                    <a:pt x="1044" y="204"/>
                  </a:lnTo>
                  <a:lnTo>
                    <a:pt x="1038" y="204"/>
                  </a:lnTo>
                  <a:lnTo>
                    <a:pt x="1032" y="204"/>
                  </a:lnTo>
                  <a:lnTo>
                    <a:pt x="1026" y="204"/>
                  </a:lnTo>
                  <a:lnTo>
                    <a:pt x="1020" y="204"/>
                  </a:lnTo>
                  <a:lnTo>
                    <a:pt x="1014" y="204"/>
                  </a:lnTo>
                  <a:lnTo>
                    <a:pt x="1008" y="204"/>
                  </a:lnTo>
                  <a:lnTo>
                    <a:pt x="1002" y="204"/>
                  </a:lnTo>
                  <a:lnTo>
                    <a:pt x="996" y="204"/>
                  </a:lnTo>
                  <a:lnTo>
                    <a:pt x="984" y="204"/>
                  </a:lnTo>
                  <a:lnTo>
                    <a:pt x="984" y="198"/>
                  </a:lnTo>
                  <a:lnTo>
                    <a:pt x="978" y="198"/>
                  </a:lnTo>
                  <a:lnTo>
                    <a:pt x="966" y="198"/>
                  </a:lnTo>
                  <a:lnTo>
                    <a:pt x="948" y="192"/>
                  </a:lnTo>
                  <a:lnTo>
                    <a:pt x="942" y="192"/>
                  </a:lnTo>
                  <a:lnTo>
                    <a:pt x="936" y="192"/>
                  </a:lnTo>
                  <a:lnTo>
                    <a:pt x="924" y="192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12" y="186"/>
                  </a:lnTo>
                  <a:lnTo>
                    <a:pt x="906" y="186"/>
                  </a:lnTo>
                  <a:lnTo>
                    <a:pt x="900" y="186"/>
                  </a:lnTo>
                  <a:lnTo>
                    <a:pt x="894" y="186"/>
                  </a:lnTo>
                  <a:lnTo>
                    <a:pt x="888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76" y="180"/>
                  </a:lnTo>
                  <a:lnTo>
                    <a:pt x="870" y="180"/>
                  </a:lnTo>
                  <a:lnTo>
                    <a:pt x="864" y="180"/>
                  </a:lnTo>
                  <a:lnTo>
                    <a:pt x="858" y="180"/>
                  </a:lnTo>
                  <a:lnTo>
                    <a:pt x="852" y="180"/>
                  </a:lnTo>
                  <a:lnTo>
                    <a:pt x="852" y="174"/>
                  </a:lnTo>
                  <a:lnTo>
                    <a:pt x="846" y="174"/>
                  </a:lnTo>
                  <a:lnTo>
                    <a:pt x="840" y="174"/>
                  </a:lnTo>
                  <a:lnTo>
                    <a:pt x="834" y="174"/>
                  </a:lnTo>
                  <a:lnTo>
                    <a:pt x="828" y="174"/>
                  </a:lnTo>
                  <a:lnTo>
                    <a:pt x="822" y="174"/>
                  </a:lnTo>
                  <a:lnTo>
                    <a:pt x="816" y="174"/>
                  </a:lnTo>
                  <a:lnTo>
                    <a:pt x="810" y="168"/>
                  </a:lnTo>
                  <a:lnTo>
                    <a:pt x="804" y="168"/>
                  </a:lnTo>
                  <a:lnTo>
                    <a:pt x="798" y="168"/>
                  </a:lnTo>
                  <a:lnTo>
                    <a:pt x="792" y="168"/>
                  </a:lnTo>
                  <a:lnTo>
                    <a:pt x="786" y="168"/>
                  </a:lnTo>
                  <a:lnTo>
                    <a:pt x="780" y="168"/>
                  </a:lnTo>
                  <a:lnTo>
                    <a:pt x="774" y="168"/>
                  </a:lnTo>
                  <a:lnTo>
                    <a:pt x="768" y="168"/>
                  </a:lnTo>
                  <a:lnTo>
                    <a:pt x="762" y="168"/>
                  </a:lnTo>
                  <a:lnTo>
                    <a:pt x="756" y="168"/>
                  </a:lnTo>
                  <a:lnTo>
                    <a:pt x="750" y="168"/>
                  </a:lnTo>
                  <a:lnTo>
                    <a:pt x="750" y="162"/>
                  </a:lnTo>
                  <a:lnTo>
                    <a:pt x="744" y="168"/>
                  </a:lnTo>
                  <a:lnTo>
                    <a:pt x="738" y="162"/>
                  </a:lnTo>
                  <a:lnTo>
                    <a:pt x="732" y="162"/>
                  </a:lnTo>
                  <a:lnTo>
                    <a:pt x="726" y="162"/>
                  </a:lnTo>
                  <a:lnTo>
                    <a:pt x="714" y="162"/>
                  </a:lnTo>
                  <a:lnTo>
                    <a:pt x="702" y="162"/>
                  </a:lnTo>
                  <a:lnTo>
                    <a:pt x="696" y="168"/>
                  </a:lnTo>
                  <a:lnTo>
                    <a:pt x="690" y="168"/>
                  </a:lnTo>
                  <a:lnTo>
                    <a:pt x="684" y="168"/>
                  </a:lnTo>
                  <a:lnTo>
                    <a:pt x="678" y="168"/>
                  </a:lnTo>
                  <a:lnTo>
                    <a:pt x="672" y="168"/>
                  </a:lnTo>
                  <a:lnTo>
                    <a:pt x="666" y="168"/>
                  </a:lnTo>
                  <a:lnTo>
                    <a:pt x="660" y="168"/>
                  </a:lnTo>
                  <a:lnTo>
                    <a:pt x="654" y="168"/>
                  </a:lnTo>
                  <a:lnTo>
                    <a:pt x="648" y="174"/>
                  </a:lnTo>
                  <a:lnTo>
                    <a:pt x="648" y="168"/>
                  </a:lnTo>
                  <a:lnTo>
                    <a:pt x="642" y="174"/>
                  </a:lnTo>
                  <a:lnTo>
                    <a:pt x="636" y="174"/>
                  </a:lnTo>
                  <a:lnTo>
                    <a:pt x="630" y="174"/>
                  </a:lnTo>
                  <a:lnTo>
                    <a:pt x="624" y="174"/>
                  </a:lnTo>
                  <a:lnTo>
                    <a:pt x="618" y="174"/>
                  </a:lnTo>
                  <a:lnTo>
                    <a:pt x="612" y="174"/>
                  </a:lnTo>
                  <a:lnTo>
                    <a:pt x="606" y="174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74"/>
                  </a:lnTo>
                  <a:lnTo>
                    <a:pt x="582" y="174"/>
                  </a:lnTo>
                  <a:lnTo>
                    <a:pt x="576" y="174"/>
                  </a:lnTo>
                  <a:lnTo>
                    <a:pt x="570" y="174"/>
                  </a:lnTo>
                  <a:lnTo>
                    <a:pt x="564" y="174"/>
                  </a:lnTo>
                  <a:lnTo>
                    <a:pt x="558" y="174"/>
                  </a:lnTo>
                  <a:lnTo>
                    <a:pt x="552" y="174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0" y="174"/>
                  </a:lnTo>
                  <a:lnTo>
                    <a:pt x="504" y="174"/>
                  </a:lnTo>
                  <a:lnTo>
                    <a:pt x="498" y="174"/>
                  </a:lnTo>
                  <a:lnTo>
                    <a:pt x="492" y="174"/>
                  </a:lnTo>
                  <a:lnTo>
                    <a:pt x="486" y="174"/>
                  </a:lnTo>
                  <a:lnTo>
                    <a:pt x="480" y="174"/>
                  </a:lnTo>
                  <a:lnTo>
                    <a:pt x="474" y="174"/>
                  </a:lnTo>
                  <a:lnTo>
                    <a:pt x="468" y="174"/>
                  </a:lnTo>
                  <a:lnTo>
                    <a:pt x="462" y="174"/>
                  </a:lnTo>
                  <a:lnTo>
                    <a:pt x="456" y="174"/>
                  </a:lnTo>
                  <a:lnTo>
                    <a:pt x="450" y="180"/>
                  </a:lnTo>
                  <a:lnTo>
                    <a:pt x="450" y="186"/>
                  </a:lnTo>
                  <a:lnTo>
                    <a:pt x="450" y="192"/>
                  </a:lnTo>
                  <a:lnTo>
                    <a:pt x="444" y="192"/>
                  </a:lnTo>
                  <a:lnTo>
                    <a:pt x="444" y="186"/>
                  </a:lnTo>
                  <a:lnTo>
                    <a:pt x="444" y="180"/>
                  </a:lnTo>
                  <a:lnTo>
                    <a:pt x="450" y="180"/>
                  </a:lnTo>
                  <a:lnTo>
                    <a:pt x="450" y="174"/>
                  </a:lnTo>
                  <a:lnTo>
                    <a:pt x="450" y="168"/>
                  </a:lnTo>
                  <a:lnTo>
                    <a:pt x="450" y="162"/>
                  </a:lnTo>
                  <a:lnTo>
                    <a:pt x="456" y="162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62" y="162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74" y="168"/>
                  </a:lnTo>
                  <a:lnTo>
                    <a:pt x="480" y="168"/>
                  </a:lnTo>
                  <a:lnTo>
                    <a:pt x="480" y="162"/>
                  </a:lnTo>
                  <a:lnTo>
                    <a:pt x="480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56"/>
                  </a:lnTo>
                  <a:lnTo>
                    <a:pt x="492" y="156"/>
                  </a:lnTo>
                  <a:lnTo>
                    <a:pt x="486" y="150"/>
                  </a:lnTo>
                  <a:lnTo>
                    <a:pt x="492" y="150"/>
                  </a:lnTo>
                  <a:lnTo>
                    <a:pt x="498" y="150"/>
                  </a:lnTo>
                  <a:lnTo>
                    <a:pt x="498" y="156"/>
                  </a:lnTo>
                  <a:lnTo>
                    <a:pt x="504" y="156"/>
                  </a:lnTo>
                  <a:lnTo>
                    <a:pt x="504" y="162"/>
                  </a:lnTo>
                  <a:lnTo>
                    <a:pt x="504" y="156"/>
                  </a:lnTo>
                  <a:lnTo>
                    <a:pt x="510" y="156"/>
                  </a:lnTo>
                  <a:lnTo>
                    <a:pt x="510" y="150"/>
                  </a:lnTo>
                  <a:lnTo>
                    <a:pt x="516" y="150"/>
                  </a:lnTo>
                  <a:lnTo>
                    <a:pt x="522" y="150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28" y="150"/>
                  </a:lnTo>
                  <a:lnTo>
                    <a:pt x="528" y="144"/>
                  </a:lnTo>
                  <a:lnTo>
                    <a:pt x="540" y="144"/>
                  </a:lnTo>
                  <a:lnTo>
                    <a:pt x="546" y="144"/>
                  </a:lnTo>
                  <a:lnTo>
                    <a:pt x="552" y="138"/>
                  </a:lnTo>
                  <a:lnTo>
                    <a:pt x="552" y="132"/>
                  </a:lnTo>
                  <a:lnTo>
                    <a:pt x="558" y="132"/>
                  </a:lnTo>
                  <a:lnTo>
                    <a:pt x="558" y="126"/>
                  </a:lnTo>
                  <a:lnTo>
                    <a:pt x="558" y="120"/>
                  </a:lnTo>
                  <a:lnTo>
                    <a:pt x="558" y="114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6" y="114"/>
                  </a:lnTo>
                  <a:lnTo>
                    <a:pt x="582" y="120"/>
                  </a:lnTo>
                  <a:lnTo>
                    <a:pt x="588" y="120"/>
                  </a:lnTo>
                  <a:lnTo>
                    <a:pt x="588" y="126"/>
                  </a:lnTo>
                  <a:lnTo>
                    <a:pt x="588" y="120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600" y="114"/>
                  </a:lnTo>
                  <a:lnTo>
                    <a:pt x="606" y="114"/>
                  </a:lnTo>
                  <a:lnTo>
                    <a:pt x="618" y="114"/>
                  </a:lnTo>
                  <a:lnTo>
                    <a:pt x="618" y="108"/>
                  </a:lnTo>
                  <a:lnTo>
                    <a:pt x="624" y="108"/>
                  </a:lnTo>
                  <a:lnTo>
                    <a:pt x="624" y="102"/>
                  </a:lnTo>
                  <a:lnTo>
                    <a:pt x="630" y="102"/>
                  </a:lnTo>
                  <a:lnTo>
                    <a:pt x="636" y="102"/>
                  </a:lnTo>
                  <a:lnTo>
                    <a:pt x="636" y="108"/>
                  </a:lnTo>
                  <a:lnTo>
                    <a:pt x="642" y="108"/>
                  </a:lnTo>
                  <a:lnTo>
                    <a:pt x="648" y="108"/>
                  </a:lnTo>
                  <a:lnTo>
                    <a:pt x="648" y="102"/>
                  </a:lnTo>
                  <a:lnTo>
                    <a:pt x="654" y="102"/>
                  </a:lnTo>
                  <a:lnTo>
                    <a:pt x="660" y="102"/>
                  </a:lnTo>
                  <a:lnTo>
                    <a:pt x="660" y="96"/>
                  </a:lnTo>
                  <a:lnTo>
                    <a:pt x="660" y="90"/>
                  </a:lnTo>
                  <a:lnTo>
                    <a:pt x="666" y="90"/>
                  </a:lnTo>
                  <a:lnTo>
                    <a:pt x="666" y="84"/>
                  </a:lnTo>
                  <a:lnTo>
                    <a:pt x="672" y="78"/>
                  </a:lnTo>
                  <a:lnTo>
                    <a:pt x="672" y="72"/>
                  </a:lnTo>
                  <a:lnTo>
                    <a:pt x="678" y="66"/>
                  </a:lnTo>
                  <a:lnTo>
                    <a:pt x="684" y="66"/>
                  </a:lnTo>
                  <a:lnTo>
                    <a:pt x="684" y="60"/>
                  </a:lnTo>
                  <a:lnTo>
                    <a:pt x="690" y="60"/>
                  </a:lnTo>
                  <a:lnTo>
                    <a:pt x="696" y="60"/>
                  </a:lnTo>
                  <a:lnTo>
                    <a:pt x="702" y="60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66"/>
                  </a:lnTo>
                  <a:lnTo>
                    <a:pt x="720" y="66"/>
                  </a:lnTo>
                  <a:lnTo>
                    <a:pt x="720" y="60"/>
                  </a:lnTo>
                  <a:lnTo>
                    <a:pt x="726" y="60"/>
                  </a:lnTo>
                  <a:lnTo>
                    <a:pt x="732" y="60"/>
                  </a:lnTo>
                  <a:lnTo>
                    <a:pt x="744" y="60"/>
                  </a:lnTo>
                  <a:lnTo>
                    <a:pt x="750" y="54"/>
                  </a:lnTo>
                  <a:lnTo>
                    <a:pt x="762" y="60"/>
                  </a:lnTo>
                  <a:lnTo>
                    <a:pt x="774" y="60"/>
                  </a:lnTo>
                  <a:lnTo>
                    <a:pt x="774" y="66"/>
                  </a:lnTo>
                  <a:lnTo>
                    <a:pt x="780" y="72"/>
                  </a:lnTo>
                  <a:lnTo>
                    <a:pt x="786" y="78"/>
                  </a:lnTo>
                  <a:lnTo>
                    <a:pt x="792" y="78"/>
                  </a:lnTo>
                  <a:lnTo>
                    <a:pt x="810" y="84"/>
                  </a:lnTo>
                  <a:lnTo>
                    <a:pt x="822" y="84"/>
                  </a:lnTo>
                  <a:lnTo>
                    <a:pt x="828" y="84"/>
                  </a:lnTo>
                  <a:lnTo>
                    <a:pt x="834" y="84"/>
                  </a:lnTo>
                  <a:lnTo>
                    <a:pt x="840" y="96"/>
                  </a:lnTo>
                  <a:lnTo>
                    <a:pt x="846" y="102"/>
                  </a:lnTo>
                  <a:lnTo>
                    <a:pt x="858" y="102"/>
                  </a:lnTo>
                  <a:lnTo>
                    <a:pt x="864" y="102"/>
                  </a:lnTo>
                  <a:lnTo>
                    <a:pt x="876" y="96"/>
                  </a:lnTo>
                  <a:lnTo>
                    <a:pt x="882" y="102"/>
                  </a:lnTo>
                  <a:lnTo>
                    <a:pt x="888" y="108"/>
                  </a:lnTo>
                  <a:lnTo>
                    <a:pt x="888" y="114"/>
                  </a:lnTo>
                  <a:lnTo>
                    <a:pt x="888" y="120"/>
                  </a:lnTo>
                  <a:lnTo>
                    <a:pt x="888" y="126"/>
                  </a:lnTo>
                  <a:lnTo>
                    <a:pt x="888" y="132"/>
                  </a:lnTo>
                  <a:lnTo>
                    <a:pt x="882" y="132"/>
                  </a:lnTo>
                  <a:lnTo>
                    <a:pt x="864" y="126"/>
                  </a:lnTo>
                  <a:lnTo>
                    <a:pt x="852" y="120"/>
                  </a:lnTo>
                  <a:lnTo>
                    <a:pt x="840" y="126"/>
                  </a:lnTo>
                  <a:lnTo>
                    <a:pt x="834" y="120"/>
                  </a:lnTo>
                  <a:lnTo>
                    <a:pt x="828" y="120"/>
                  </a:lnTo>
                  <a:lnTo>
                    <a:pt x="822" y="120"/>
                  </a:lnTo>
                  <a:lnTo>
                    <a:pt x="810" y="114"/>
                  </a:lnTo>
                  <a:lnTo>
                    <a:pt x="804" y="114"/>
                  </a:lnTo>
                  <a:lnTo>
                    <a:pt x="798" y="114"/>
                  </a:lnTo>
                  <a:lnTo>
                    <a:pt x="792" y="114"/>
                  </a:lnTo>
                  <a:lnTo>
                    <a:pt x="786" y="114"/>
                  </a:lnTo>
                  <a:lnTo>
                    <a:pt x="780" y="114"/>
                  </a:lnTo>
                  <a:lnTo>
                    <a:pt x="780" y="126"/>
                  </a:lnTo>
                  <a:lnTo>
                    <a:pt x="786" y="126"/>
                  </a:lnTo>
                  <a:lnTo>
                    <a:pt x="798" y="126"/>
                  </a:lnTo>
                  <a:lnTo>
                    <a:pt x="804" y="126"/>
                  </a:lnTo>
                  <a:lnTo>
                    <a:pt x="822" y="132"/>
                  </a:lnTo>
                  <a:lnTo>
                    <a:pt x="828" y="132"/>
                  </a:lnTo>
                  <a:lnTo>
                    <a:pt x="834" y="132"/>
                  </a:lnTo>
                  <a:lnTo>
                    <a:pt x="840" y="144"/>
                  </a:lnTo>
                  <a:lnTo>
                    <a:pt x="846" y="150"/>
                  </a:lnTo>
                  <a:lnTo>
                    <a:pt x="858" y="150"/>
                  </a:lnTo>
                  <a:lnTo>
                    <a:pt x="864" y="162"/>
                  </a:lnTo>
                  <a:lnTo>
                    <a:pt x="870" y="162"/>
                  </a:lnTo>
                  <a:lnTo>
                    <a:pt x="876" y="168"/>
                  </a:lnTo>
                  <a:lnTo>
                    <a:pt x="888" y="168"/>
                  </a:lnTo>
                  <a:lnTo>
                    <a:pt x="894" y="174"/>
                  </a:lnTo>
                  <a:lnTo>
                    <a:pt x="900" y="174"/>
                  </a:lnTo>
                  <a:lnTo>
                    <a:pt x="918" y="174"/>
                  </a:lnTo>
                  <a:lnTo>
                    <a:pt x="924" y="174"/>
                  </a:lnTo>
                  <a:lnTo>
                    <a:pt x="930" y="174"/>
                  </a:lnTo>
                  <a:lnTo>
                    <a:pt x="942" y="174"/>
                  </a:lnTo>
                  <a:lnTo>
                    <a:pt x="954" y="174"/>
                  </a:lnTo>
                  <a:lnTo>
                    <a:pt x="960" y="174"/>
                  </a:lnTo>
                  <a:lnTo>
                    <a:pt x="966" y="174"/>
                  </a:lnTo>
                  <a:lnTo>
                    <a:pt x="966" y="168"/>
                  </a:lnTo>
                  <a:lnTo>
                    <a:pt x="972" y="162"/>
                  </a:lnTo>
                  <a:lnTo>
                    <a:pt x="972" y="156"/>
                  </a:lnTo>
                  <a:close/>
                  <a:moveTo>
                    <a:pt x="942" y="174"/>
                  </a:moveTo>
                  <a:lnTo>
                    <a:pt x="936" y="174"/>
                  </a:lnTo>
                  <a:lnTo>
                    <a:pt x="936" y="168"/>
                  </a:lnTo>
                  <a:lnTo>
                    <a:pt x="936" y="162"/>
                  </a:lnTo>
                  <a:lnTo>
                    <a:pt x="948" y="162"/>
                  </a:lnTo>
                  <a:lnTo>
                    <a:pt x="948" y="156"/>
                  </a:lnTo>
                  <a:lnTo>
                    <a:pt x="954" y="156"/>
                  </a:lnTo>
                  <a:lnTo>
                    <a:pt x="960" y="156"/>
                  </a:lnTo>
                  <a:lnTo>
                    <a:pt x="966" y="156"/>
                  </a:lnTo>
                  <a:lnTo>
                    <a:pt x="966" y="162"/>
                  </a:lnTo>
                  <a:lnTo>
                    <a:pt x="960" y="168"/>
                  </a:lnTo>
                  <a:lnTo>
                    <a:pt x="942" y="174"/>
                  </a:lnTo>
                  <a:close/>
                  <a:moveTo>
                    <a:pt x="900" y="168"/>
                  </a:moveTo>
                  <a:lnTo>
                    <a:pt x="894" y="168"/>
                  </a:lnTo>
                  <a:lnTo>
                    <a:pt x="882" y="156"/>
                  </a:lnTo>
                  <a:lnTo>
                    <a:pt x="882" y="150"/>
                  </a:lnTo>
                  <a:lnTo>
                    <a:pt x="888" y="156"/>
                  </a:lnTo>
                  <a:lnTo>
                    <a:pt x="894" y="150"/>
                  </a:lnTo>
                  <a:lnTo>
                    <a:pt x="900" y="150"/>
                  </a:lnTo>
                  <a:lnTo>
                    <a:pt x="906" y="150"/>
                  </a:lnTo>
                  <a:lnTo>
                    <a:pt x="912" y="150"/>
                  </a:lnTo>
                  <a:lnTo>
                    <a:pt x="924" y="150"/>
                  </a:lnTo>
                  <a:lnTo>
                    <a:pt x="924" y="156"/>
                  </a:lnTo>
                  <a:lnTo>
                    <a:pt x="924" y="162"/>
                  </a:lnTo>
                  <a:lnTo>
                    <a:pt x="924" y="168"/>
                  </a:lnTo>
                  <a:lnTo>
                    <a:pt x="918" y="168"/>
                  </a:lnTo>
                  <a:lnTo>
                    <a:pt x="906" y="168"/>
                  </a:lnTo>
                  <a:lnTo>
                    <a:pt x="900" y="168"/>
                  </a:lnTo>
                  <a:close/>
                  <a:moveTo>
                    <a:pt x="870" y="162"/>
                  </a:moveTo>
                  <a:lnTo>
                    <a:pt x="876" y="162"/>
                  </a:lnTo>
                  <a:lnTo>
                    <a:pt x="876" y="168"/>
                  </a:lnTo>
                  <a:lnTo>
                    <a:pt x="870" y="168"/>
                  </a:lnTo>
                  <a:lnTo>
                    <a:pt x="870" y="162"/>
                  </a:lnTo>
                  <a:close/>
                  <a:moveTo>
                    <a:pt x="450" y="162"/>
                  </a:moveTo>
                  <a:lnTo>
                    <a:pt x="444" y="162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2" y="150"/>
                  </a:lnTo>
                  <a:lnTo>
                    <a:pt x="438" y="150"/>
                  </a:lnTo>
                  <a:lnTo>
                    <a:pt x="438" y="144"/>
                  </a:lnTo>
                  <a:lnTo>
                    <a:pt x="438" y="150"/>
                  </a:lnTo>
                  <a:lnTo>
                    <a:pt x="444" y="150"/>
                  </a:lnTo>
                  <a:lnTo>
                    <a:pt x="450" y="150"/>
                  </a:lnTo>
                  <a:lnTo>
                    <a:pt x="450" y="156"/>
                  </a:lnTo>
                  <a:lnTo>
                    <a:pt x="456" y="156"/>
                  </a:lnTo>
                  <a:lnTo>
                    <a:pt x="456" y="150"/>
                  </a:lnTo>
                  <a:lnTo>
                    <a:pt x="456" y="156"/>
                  </a:lnTo>
                  <a:lnTo>
                    <a:pt x="462" y="150"/>
                  </a:lnTo>
                  <a:lnTo>
                    <a:pt x="462" y="144"/>
                  </a:lnTo>
                  <a:lnTo>
                    <a:pt x="468" y="144"/>
                  </a:lnTo>
                  <a:lnTo>
                    <a:pt x="468" y="150"/>
                  </a:lnTo>
                  <a:lnTo>
                    <a:pt x="474" y="150"/>
                  </a:lnTo>
                  <a:lnTo>
                    <a:pt x="480" y="150"/>
                  </a:lnTo>
                  <a:lnTo>
                    <a:pt x="480" y="156"/>
                  </a:lnTo>
                  <a:lnTo>
                    <a:pt x="480" y="162"/>
                  </a:lnTo>
                  <a:lnTo>
                    <a:pt x="474" y="162"/>
                  </a:lnTo>
                  <a:lnTo>
                    <a:pt x="474" y="168"/>
                  </a:lnTo>
                  <a:lnTo>
                    <a:pt x="474" y="162"/>
                  </a:lnTo>
                  <a:lnTo>
                    <a:pt x="468" y="162"/>
                  </a:lnTo>
                  <a:lnTo>
                    <a:pt x="462" y="162"/>
                  </a:lnTo>
                  <a:lnTo>
                    <a:pt x="456" y="162"/>
                  </a:lnTo>
                  <a:lnTo>
                    <a:pt x="450" y="16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6" name="Freeform 31">
              <a:extLst>
                <a:ext uri="{FF2B5EF4-FFF2-40B4-BE49-F238E27FC236}">
                  <a16:creationId xmlns:a16="http://schemas.microsoft.com/office/drawing/2014/main" id="{0989F057-38E8-4AA5-8B73-27F6355E235C}"/>
                </a:ext>
              </a:extLst>
            </p:cNvPr>
            <p:cNvSpPr>
              <a:spLocks/>
            </p:cNvSpPr>
            <p:nvPr/>
          </p:nvSpPr>
          <p:spPr bwMode="gray">
            <a:xfrm>
              <a:off x="792590" y="2728084"/>
              <a:ext cx="1182944" cy="740282"/>
            </a:xfrm>
            <a:custGeom>
              <a:avLst/>
              <a:gdLst>
                <a:gd name="T0" fmla="*/ 138 w 2226"/>
                <a:gd name="T1" fmla="*/ 121 h 1392"/>
                <a:gd name="T2" fmla="*/ 133 w 2226"/>
                <a:gd name="T3" fmla="*/ 119 h 1392"/>
                <a:gd name="T4" fmla="*/ 128 w 2226"/>
                <a:gd name="T5" fmla="*/ 117 h 1392"/>
                <a:gd name="T6" fmla="*/ 119 w 2226"/>
                <a:gd name="T7" fmla="*/ 116 h 1392"/>
                <a:gd name="T8" fmla="*/ 101 w 2226"/>
                <a:gd name="T9" fmla="*/ 116 h 1392"/>
                <a:gd name="T10" fmla="*/ 94 w 2226"/>
                <a:gd name="T11" fmla="*/ 104 h 1392"/>
                <a:gd name="T12" fmla="*/ 82 w 2226"/>
                <a:gd name="T13" fmla="*/ 83 h 1392"/>
                <a:gd name="T14" fmla="*/ 87 w 2226"/>
                <a:gd name="T15" fmla="*/ 69 h 1392"/>
                <a:gd name="T16" fmla="*/ 82 w 2226"/>
                <a:gd name="T17" fmla="*/ 65 h 1392"/>
                <a:gd name="T18" fmla="*/ 59 w 2226"/>
                <a:gd name="T19" fmla="*/ 57 h 1392"/>
                <a:gd name="T20" fmla="*/ 29 w 2226"/>
                <a:gd name="T21" fmla="*/ 77 h 1392"/>
                <a:gd name="T22" fmla="*/ 20 w 2226"/>
                <a:gd name="T23" fmla="*/ 78 h 1392"/>
                <a:gd name="T24" fmla="*/ 15 w 2226"/>
                <a:gd name="T25" fmla="*/ 82 h 1392"/>
                <a:gd name="T26" fmla="*/ 8 w 2226"/>
                <a:gd name="T27" fmla="*/ 86 h 1392"/>
                <a:gd name="T28" fmla="*/ 1 w 2226"/>
                <a:gd name="T29" fmla="*/ 88 h 1392"/>
                <a:gd name="T30" fmla="*/ 0 w 2226"/>
                <a:gd name="T31" fmla="*/ 82 h 1392"/>
                <a:gd name="T32" fmla="*/ 0 w 2226"/>
                <a:gd name="T33" fmla="*/ 76 h 1392"/>
                <a:gd name="T34" fmla="*/ 2 w 2226"/>
                <a:gd name="T35" fmla="*/ 70 h 1392"/>
                <a:gd name="T36" fmla="*/ 3 w 2226"/>
                <a:gd name="T37" fmla="*/ 65 h 1392"/>
                <a:gd name="T38" fmla="*/ 2 w 2226"/>
                <a:gd name="T39" fmla="*/ 63 h 1392"/>
                <a:gd name="T40" fmla="*/ 9 w 2226"/>
                <a:gd name="T41" fmla="*/ 60 h 1392"/>
                <a:gd name="T42" fmla="*/ 17 w 2226"/>
                <a:gd name="T43" fmla="*/ 59 h 1392"/>
                <a:gd name="T44" fmla="*/ 22 w 2226"/>
                <a:gd name="T45" fmla="*/ 51 h 1392"/>
                <a:gd name="T46" fmla="*/ 23 w 2226"/>
                <a:gd name="T47" fmla="*/ 43 h 1392"/>
                <a:gd name="T48" fmla="*/ 27 w 2226"/>
                <a:gd name="T49" fmla="*/ 34 h 1392"/>
                <a:gd name="T50" fmla="*/ 30 w 2226"/>
                <a:gd name="T51" fmla="*/ 27 h 1392"/>
                <a:gd name="T52" fmla="*/ 33 w 2226"/>
                <a:gd name="T53" fmla="*/ 22 h 1392"/>
                <a:gd name="T54" fmla="*/ 42 w 2226"/>
                <a:gd name="T55" fmla="*/ 17 h 1392"/>
                <a:gd name="T56" fmla="*/ 47 w 2226"/>
                <a:gd name="T57" fmla="*/ 14 h 1392"/>
                <a:gd name="T58" fmla="*/ 49 w 2226"/>
                <a:gd name="T59" fmla="*/ 5 h 1392"/>
                <a:gd name="T60" fmla="*/ 53 w 2226"/>
                <a:gd name="T61" fmla="*/ 0 h 1392"/>
                <a:gd name="T62" fmla="*/ 55 w 2226"/>
                <a:gd name="T63" fmla="*/ 4 h 1392"/>
                <a:gd name="T64" fmla="*/ 59 w 2226"/>
                <a:gd name="T65" fmla="*/ 7 h 1392"/>
                <a:gd name="T66" fmla="*/ 63 w 2226"/>
                <a:gd name="T67" fmla="*/ 7 h 1392"/>
                <a:gd name="T68" fmla="*/ 66 w 2226"/>
                <a:gd name="T69" fmla="*/ 9 h 1392"/>
                <a:gd name="T70" fmla="*/ 67 w 2226"/>
                <a:gd name="T71" fmla="*/ 12 h 1392"/>
                <a:gd name="T72" fmla="*/ 67 w 2226"/>
                <a:gd name="T73" fmla="*/ 13 h 1392"/>
                <a:gd name="T74" fmla="*/ 70 w 2226"/>
                <a:gd name="T75" fmla="*/ 15 h 1392"/>
                <a:gd name="T76" fmla="*/ 74 w 2226"/>
                <a:gd name="T77" fmla="*/ 17 h 1392"/>
                <a:gd name="T78" fmla="*/ 78 w 2226"/>
                <a:gd name="T79" fmla="*/ 18 h 1392"/>
                <a:gd name="T80" fmla="*/ 97 w 2226"/>
                <a:gd name="T81" fmla="*/ 40 h 1392"/>
                <a:gd name="T82" fmla="*/ 102 w 2226"/>
                <a:gd name="T83" fmla="*/ 44 h 1392"/>
                <a:gd name="T84" fmla="*/ 110 w 2226"/>
                <a:gd name="T85" fmla="*/ 49 h 1392"/>
                <a:gd name="T86" fmla="*/ 113 w 2226"/>
                <a:gd name="T87" fmla="*/ 53 h 1392"/>
                <a:gd name="T88" fmla="*/ 118 w 2226"/>
                <a:gd name="T89" fmla="*/ 57 h 1392"/>
                <a:gd name="T90" fmla="*/ 124 w 2226"/>
                <a:gd name="T91" fmla="*/ 54 h 1392"/>
                <a:gd name="T92" fmla="*/ 133 w 2226"/>
                <a:gd name="T93" fmla="*/ 58 h 1392"/>
                <a:gd name="T94" fmla="*/ 137 w 2226"/>
                <a:gd name="T95" fmla="*/ 64 h 1392"/>
                <a:gd name="T96" fmla="*/ 145 w 2226"/>
                <a:gd name="T97" fmla="*/ 65 h 1392"/>
                <a:gd name="T98" fmla="*/ 152 w 2226"/>
                <a:gd name="T99" fmla="*/ 67 h 1392"/>
                <a:gd name="T100" fmla="*/ 161 w 2226"/>
                <a:gd name="T101" fmla="*/ 72 h 1392"/>
                <a:gd name="T102" fmla="*/ 168 w 2226"/>
                <a:gd name="T103" fmla="*/ 76 h 1392"/>
                <a:gd name="T104" fmla="*/ 177 w 2226"/>
                <a:gd name="T105" fmla="*/ 78 h 1392"/>
                <a:gd name="T106" fmla="*/ 184 w 2226"/>
                <a:gd name="T107" fmla="*/ 78 h 1392"/>
                <a:gd name="T108" fmla="*/ 190 w 2226"/>
                <a:gd name="T109" fmla="*/ 81 h 1392"/>
                <a:gd name="T110" fmla="*/ 192 w 2226"/>
                <a:gd name="T111" fmla="*/ 86 h 1392"/>
                <a:gd name="T112" fmla="*/ 187 w 2226"/>
                <a:gd name="T113" fmla="*/ 99 h 1392"/>
                <a:gd name="T114" fmla="*/ 165 w 2226"/>
                <a:gd name="T115" fmla="*/ 97 h 1392"/>
                <a:gd name="T116" fmla="*/ 155 w 2226"/>
                <a:gd name="T117" fmla="*/ 92 h 1392"/>
                <a:gd name="T118" fmla="*/ 146 w 2226"/>
                <a:gd name="T119" fmla="*/ 102 h 1392"/>
                <a:gd name="T120" fmla="*/ 149 w 2226"/>
                <a:gd name="T121" fmla="*/ 106 h 1392"/>
                <a:gd name="T122" fmla="*/ 151 w 2226"/>
                <a:gd name="T123" fmla="*/ 108 h 1392"/>
                <a:gd name="T124" fmla="*/ 157 w 2226"/>
                <a:gd name="T125" fmla="*/ 113 h 13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1392"/>
                <a:gd name="T191" fmla="*/ 2226 w 2226"/>
                <a:gd name="T192" fmla="*/ 1392 h 13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1392">
                  <a:moveTo>
                    <a:pt x="1782" y="1326"/>
                  </a:moveTo>
                  <a:lnTo>
                    <a:pt x="1776" y="1332"/>
                  </a:lnTo>
                  <a:lnTo>
                    <a:pt x="1692" y="1338"/>
                  </a:lnTo>
                  <a:lnTo>
                    <a:pt x="1680" y="1386"/>
                  </a:lnTo>
                  <a:lnTo>
                    <a:pt x="1674" y="1392"/>
                  </a:lnTo>
                  <a:lnTo>
                    <a:pt x="1638" y="1392"/>
                  </a:lnTo>
                  <a:lnTo>
                    <a:pt x="1620" y="1392"/>
                  </a:lnTo>
                  <a:lnTo>
                    <a:pt x="1614" y="1392"/>
                  </a:lnTo>
                  <a:lnTo>
                    <a:pt x="1608" y="1386"/>
                  </a:lnTo>
                  <a:lnTo>
                    <a:pt x="1584" y="1386"/>
                  </a:lnTo>
                  <a:lnTo>
                    <a:pt x="1578" y="1386"/>
                  </a:lnTo>
                  <a:lnTo>
                    <a:pt x="1572" y="1380"/>
                  </a:lnTo>
                  <a:lnTo>
                    <a:pt x="1578" y="1356"/>
                  </a:lnTo>
                  <a:lnTo>
                    <a:pt x="1572" y="1356"/>
                  </a:lnTo>
                  <a:lnTo>
                    <a:pt x="1560" y="1350"/>
                  </a:lnTo>
                  <a:lnTo>
                    <a:pt x="1554" y="1350"/>
                  </a:lnTo>
                  <a:lnTo>
                    <a:pt x="1542" y="1350"/>
                  </a:lnTo>
                  <a:lnTo>
                    <a:pt x="1530" y="1350"/>
                  </a:lnTo>
                  <a:lnTo>
                    <a:pt x="1524" y="1356"/>
                  </a:lnTo>
                  <a:lnTo>
                    <a:pt x="1524" y="1362"/>
                  </a:lnTo>
                  <a:lnTo>
                    <a:pt x="1512" y="1374"/>
                  </a:lnTo>
                  <a:lnTo>
                    <a:pt x="1506" y="1374"/>
                  </a:lnTo>
                  <a:lnTo>
                    <a:pt x="1500" y="1368"/>
                  </a:lnTo>
                  <a:lnTo>
                    <a:pt x="1500" y="1362"/>
                  </a:lnTo>
                  <a:lnTo>
                    <a:pt x="1488" y="1362"/>
                  </a:lnTo>
                  <a:lnTo>
                    <a:pt x="1482" y="1356"/>
                  </a:lnTo>
                  <a:lnTo>
                    <a:pt x="1482" y="1350"/>
                  </a:lnTo>
                  <a:lnTo>
                    <a:pt x="1476" y="1350"/>
                  </a:lnTo>
                  <a:lnTo>
                    <a:pt x="1470" y="1344"/>
                  </a:lnTo>
                  <a:lnTo>
                    <a:pt x="1464" y="1344"/>
                  </a:lnTo>
                  <a:lnTo>
                    <a:pt x="1452" y="1350"/>
                  </a:lnTo>
                  <a:lnTo>
                    <a:pt x="1452" y="1356"/>
                  </a:lnTo>
                  <a:lnTo>
                    <a:pt x="1440" y="1356"/>
                  </a:lnTo>
                  <a:lnTo>
                    <a:pt x="1434" y="1344"/>
                  </a:lnTo>
                  <a:lnTo>
                    <a:pt x="1422" y="1332"/>
                  </a:lnTo>
                  <a:lnTo>
                    <a:pt x="1416" y="1326"/>
                  </a:lnTo>
                  <a:lnTo>
                    <a:pt x="1404" y="1320"/>
                  </a:lnTo>
                  <a:lnTo>
                    <a:pt x="1404" y="1314"/>
                  </a:lnTo>
                  <a:lnTo>
                    <a:pt x="1374" y="1308"/>
                  </a:lnTo>
                  <a:lnTo>
                    <a:pt x="1368" y="1326"/>
                  </a:lnTo>
                  <a:lnTo>
                    <a:pt x="1344" y="1338"/>
                  </a:lnTo>
                  <a:lnTo>
                    <a:pt x="1326" y="1332"/>
                  </a:lnTo>
                  <a:lnTo>
                    <a:pt x="1302" y="1332"/>
                  </a:lnTo>
                  <a:lnTo>
                    <a:pt x="1278" y="1338"/>
                  </a:lnTo>
                  <a:lnTo>
                    <a:pt x="1236" y="1338"/>
                  </a:lnTo>
                  <a:lnTo>
                    <a:pt x="1224" y="1338"/>
                  </a:lnTo>
                  <a:lnTo>
                    <a:pt x="1224" y="1326"/>
                  </a:lnTo>
                  <a:lnTo>
                    <a:pt x="1206" y="1326"/>
                  </a:lnTo>
                  <a:lnTo>
                    <a:pt x="1170" y="1326"/>
                  </a:lnTo>
                  <a:lnTo>
                    <a:pt x="1152" y="1326"/>
                  </a:lnTo>
                  <a:lnTo>
                    <a:pt x="1140" y="1314"/>
                  </a:lnTo>
                  <a:lnTo>
                    <a:pt x="1134" y="1296"/>
                  </a:lnTo>
                  <a:lnTo>
                    <a:pt x="1134" y="1284"/>
                  </a:lnTo>
                  <a:lnTo>
                    <a:pt x="1128" y="1254"/>
                  </a:lnTo>
                  <a:lnTo>
                    <a:pt x="1128" y="1242"/>
                  </a:lnTo>
                  <a:lnTo>
                    <a:pt x="1122" y="1230"/>
                  </a:lnTo>
                  <a:lnTo>
                    <a:pt x="1104" y="1218"/>
                  </a:lnTo>
                  <a:lnTo>
                    <a:pt x="1104" y="1212"/>
                  </a:lnTo>
                  <a:lnTo>
                    <a:pt x="1092" y="1206"/>
                  </a:lnTo>
                  <a:lnTo>
                    <a:pt x="1080" y="1194"/>
                  </a:lnTo>
                  <a:lnTo>
                    <a:pt x="1068" y="1176"/>
                  </a:lnTo>
                  <a:lnTo>
                    <a:pt x="1050" y="1152"/>
                  </a:lnTo>
                  <a:lnTo>
                    <a:pt x="1020" y="1098"/>
                  </a:lnTo>
                  <a:lnTo>
                    <a:pt x="978" y="1026"/>
                  </a:lnTo>
                  <a:lnTo>
                    <a:pt x="978" y="1014"/>
                  </a:lnTo>
                  <a:lnTo>
                    <a:pt x="972" y="1014"/>
                  </a:lnTo>
                  <a:lnTo>
                    <a:pt x="972" y="1008"/>
                  </a:lnTo>
                  <a:lnTo>
                    <a:pt x="978" y="1002"/>
                  </a:lnTo>
                  <a:lnTo>
                    <a:pt x="960" y="966"/>
                  </a:lnTo>
                  <a:lnTo>
                    <a:pt x="948" y="954"/>
                  </a:lnTo>
                  <a:lnTo>
                    <a:pt x="948" y="936"/>
                  </a:lnTo>
                  <a:lnTo>
                    <a:pt x="936" y="900"/>
                  </a:lnTo>
                  <a:lnTo>
                    <a:pt x="942" y="876"/>
                  </a:lnTo>
                  <a:lnTo>
                    <a:pt x="942" y="834"/>
                  </a:lnTo>
                  <a:lnTo>
                    <a:pt x="960" y="828"/>
                  </a:lnTo>
                  <a:lnTo>
                    <a:pt x="966" y="816"/>
                  </a:lnTo>
                  <a:lnTo>
                    <a:pt x="972" y="810"/>
                  </a:lnTo>
                  <a:lnTo>
                    <a:pt x="978" y="804"/>
                  </a:lnTo>
                  <a:lnTo>
                    <a:pt x="996" y="798"/>
                  </a:lnTo>
                  <a:lnTo>
                    <a:pt x="996" y="792"/>
                  </a:lnTo>
                  <a:lnTo>
                    <a:pt x="1014" y="780"/>
                  </a:lnTo>
                  <a:lnTo>
                    <a:pt x="1026" y="768"/>
                  </a:lnTo>
                  <a:lnTo>
                    <a:pt x="1032" y="762"/>
                  </a:lnTo>
                  <a:lnTo>
                    <a:pt x="1026" y="756"/>
                  </a:lnTo>
                  <a:lnTo>
                    <a:pt x="1014" y="744"/>
                  </a:lnTo>
                  <a:lnTo>
                    <a:pt x="996" y="756"/>
                  </a:lnTo>
                  <a:lnTo>
                    <a:pt x="954" y="768"/>
                  </a:lnTo>
                  <a:lnTo>
                    <a:pt x="942" y="762"/>
                  </a:lnTo>
                  <a:lnTo>
                    <a:pt x="942" y="756"/>
                  </a:lnTo>
                  <a:lnTo>
                    <a:pt x="936" y="750"/>
                  </a:lnTo>
                  <a:lnTo>
                    <a:pt x="846" y="732"/>
                  </a:lnTo>
                  <a:lnTo>
                    <a:pt x="822" y="726"/>
                  </a:lnTo>
                  <a:lnTo>
                    <a:pt x="810" y="714"/>
                  </a:lnTo>
                  <a:lnTo>
                    <a:pt x="792" y="690"/>
                  </a:lnTo>
                  <a:lnTo>
                    <a:pt x="792" y="678"/>
                  </a:lnTo>
                  <a:lnTo>
                    <a:pt x="762" y="642"/>
                  </a:lnTo>
                  <a:lnTo>
                    <a:pt x="750" y="636"/>
                  </a:lnTo>
                  <a:lnTo>
                    <a:pt x="726" y="630"/>
                  </a:lnTo>
                  <a:lnTo>
                    <a:pt x="696" y="642"/>
                  </a:lnTo>
                  <a:lnTo>
                    <a:pt x="678" y="654"/>
                  </a:lnTo>
                  <a:lnTo>
                    <a:pt x="666" y="684"/>
                  </a:lnTo>
                  <a:lnTo>
                    <a:pt x="660" y="726"/>
                  </a:lnTo>
                  <a:lnTo>
                    <a:pt x="606" y="756"/>
                  </a:lnTo>
                  <a:lnTo>
                    <a:pt x="558" y="780"/>
                  </a:lnTo>
                  <a:lnTo>
                    <a:pt x="438" y="834"/>
                  </a:lnTo>
                  <a:lnTo>
                    <a:pt x="402" y="846"/>
                  </a:lnTo>
                  <a:lnTo>
                    <a:pt x="372" y="870"/>
                  </a:lnTo>
                  <a:lnTo>
                    <a:pt x="360" y="876"/>
                  </a:lnTo>
                  <a:lnTo>
                    <a:pt x="354" y="876"/>
                  </a:lnTo>
                  <a:lnTo>
                    <a:pt x="330" y="882"/>
                  </a:lnTo>
                  <a:lnTo>
                    <a:pt x="306" y="882"/>
                  </a:lnTo>
                  <a:lnTo>
                    <a:pt x="300" y="876"/>
                  </a:lnTo>
                  <a:lnTo>
                    <a:pt x="294" y="876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76" y="864"/>
                  </a:lnTo>
                  <a:lnTo>
                    <a:pt x="270" y="870"/>
                  </a:lnTo>
                  <a:lnTo>
                    <a:pt x="264" y="870"/>
                  </a:lnTo>
                  <a:lnTo>
                    <a:pt x="240" y="894"/>
                  </a:lnTo>
                  <a:lnTo>
                    <a:pt x="234" y="894"/>
                  </a:lnTo>
                  <a:lnTo>
                    <a:pt x="228" y="900"/>
                  </a:lnTo>
                  <a:lnTo>
                    <a:pt x="222" y="906"/>
                  </a:lnTo>
                  <a:lnTo>
                    <a:pt x="210" y="912"/>
                  </a:lnTo>
                  <a:lnTo>
                    <a:pt x="204" y="912"/>
                  </a:lnTo>
                  <a:lnTo>
                    <a:pt x="198" y="912"/>
                  </a:lnTo>
                  <a:lnTo>
                    <a:pt x="192" y="918"/>
                  </a:lnTo>
                  <a:lnTo>
                    <a:pt x="180" y="918"/>
                  </a:lnTo>
                  <a:lnTo>
                    <a:pt x="174" y="930"/>
                  </a:lnTo>
                  <a:lnTo>
                    <a:pt x="174" y="936"/>
                  </a:lnTo>
                  <a:lnTo>
                    <a:pt x="168" y="942"/>
                  </a:lnTo>
                  <a:lnTo>
                    <a:pt x="162" y="942"/>
                  </a:lnTo>
                  <a:lnTo>
                    <a:pt x="150" y="960"/>
                  </a:lnTo>
                  <a:lnTo>
                    <a:pt x="144" y="966"/>
                  </a:lnTo>
                  <a:lnTo>
                    <a:pt x="138" y="972"/>
                  </a:lnTo>
                  <a:lnTo>
                    <a:pt x="132" y="972"/>
                  </a:lnTo>
                  <a:lnTo>
                    <a:pt x="126" y="984"/>
                  </a:lnTo>
                  <a:lnTo>
                    <a:pt x="120" y="984"/>
                  </a:lnTo>
                  <a:lnTo>
                    <a:pt x="114" y="990"/>
                  </a:lnTo>
                  <a:lnTo>
                    <a:pt x="96" y="990"/>
                  </a:lnTo>
                  <a:lnTo>
                    <a:pt x="90" y="990"/>
                  </a:lnTo>
                  <a:lnTo>
                    <a:pt x="78" y="990"/>
                  </a:lnTo>
                  <a:lnTo>
                    <a:pt x="72" y="990"/>
                  </a:lnTo>
                  <a:lnTo>
                    <a:pt x="60" y="990"/>
                  </a:lnTo>
                  <a:lnTo>
                    <a:pt x="42" y="990"/>
                  </a:lnTo>
                  <a:lnTo>
                    <a:pt x="36" y="996"/>
                  </a:lnTo>
                  <a:lnTo>
                    <a:pt x="30" y="1002"/>
                  </a:lnTo>
                  <a:lnTo>
                    <a:pt x="24" y="1014"/>
                  </a:lnTo>
                  <a:lnTo>
                    <a:pt x="24" y="1020"/>
                  </a:lnTo>
                  <a:lnTo>
                    <a:pt x="18" y="1020"/>
                  </a:lnTo>
                  <a:lnTo>
                    <a:pt x="12" y="1014"/>
                  </a:lnTo>
                  <a:lnTo>
                    <a:pt x="12" y="1008"/>
                  </a:lnTo>
                  <a:lnTo>
                    <a:pt x="12" y="990"/>
                  </a:lnTo>
                  <a:lnTo>
                    <a:pt x="12" y="984"/>
                  </a:lnTo>
                  <a:lnTo>
                    <a:pt x="12" y="972"/>
                  </a:lnTo>
                  <a:lnTo>
                    <a:pt x="12" y="966"/>
                  </a:lnTo>
                  <a:lnTo>
                    <a:pt x="6" y="966"/>
                  </a:lnTo>
                  <a:lnTo>
                    <a:pt x="6" y="960"/>
                  </a:lnTo>
                  <a:lnTo>
                    <a:pt x="6" y="954"/>
                  </a:lnTo>
                  <a:lnTo>
                    <a:pt x="6" y="948"/>
                  </a:lnTo>
                  <a:lnTo>
                    <a:pt x="6" y="942"/>
                  </a:lnTo>
                  <a:lnTo>
                    <a:pt x="12" y="930"/>
                  </a:lnTo>
                  <a:lnTo>
                    <a:pt x="6" y="924"/>
                  </a:lnTo>
                  <a:lnTo>
                    <a:pt x="6" y="918"/>
                  </a:lnTo>
                  <a:lnTo>
                    <a:pt x="6" y="912"/>
                  </a:lnTo>
                  <a:lnTo>
                    <a:pt x="6" y="906"/>
                  </a:lnTo>
                  <a:lnTo>
                    <a:pt x="6" y="900"/>
                  </a:lnTo>
                  <a:lnTo>
                    <a:pt x="0" y="894"/>
                  </a:lnTo>
                  <a:lnTo>
                    <a:pt x="0" y="888"/>
                  </a:lnTo>
                  <a:lnTo>
                    <a:pt x="0" y="882"/>
                  </a:lnTo>
                  <a:lnTo>
                    <a:pt x="6" y="876"/>
                  </a:lnTo>
                  <a:lnTo>
                    <a:pt x="6" y="870"/>
                  </a:lnTo>
                  <a:lnTo>
                    <a:pt x="18" y="864"/>
                  </a:lnTo>
                  <a:lnTo>
                    <a:pt x="18" y="858"/>
                  </a:lnTo>
                  <a:lnTo>
                    <a:pt x="18" y="846"/>
                  </a:lnTo>
                  <a:lnTo>
                    <a:pt x="18" y="834"/>
                  </a:lnTo>
                  <a:lnTo>
                    <a:pt x="18" y="828"/>
                  </a:lnTo>
                  <a:lnTo>
                    <a:pt x="24" y="828"/>
                  </a:lnTo>
                  <a:lnTo>
                    <a:pt x="24" y="810"/>
                  </a:lnTo>
                  <a:lnTo>
                    <a:pt x="24" y="804"/>
                  </a:lnTo>
                  <a:lnTo>
                    <a:pt x="18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24" y="792"/>
                  </a:lnTo>
                  <a:lnTo>
                    <a:pt x="30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6" y="762"/>
                  </a:lnTo>
                  <a:lnTo>
                    <a:pt x="36" y="756"/>
                  </a:lnTo>
                  <a:lnTo>
                    <a:pt x="30" y="756"/>
                  </a:lnTo>
                  <a:lnTo>
                    <a:pt x="30" y="750"/>
                  </a:lnTo>
                  <a:lnTo>
                    <a:pt x="36" y="750"/>
                  </a:lnTo>
                  <a:lnTo>
                    <a:pt x="36" y="744"/>
                  </a:lnTo>
                  <a:lnTo>
                    <a:pt x="30" y="744"/>
                  </a:lnTo>
                  <a:lnTo>
                    <a:pt x="30" y="738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0" y="732"/>
                  </a:lnTo>
                  <a:lnTo>
                    <a:pt x="36" y="726"/>
                  </a:lnTo>
                  <a:lnTo>
                    <a:pt x="30" y="726"/>
                  </a:lnTo>
                  <a:lnTo>
                    <a:pt x="24" y="726"/>
                  </a:lnTo>
                  <a:lnTo>
                    <a:pt x="30" y="720"/>
                  </a:lnTo>
                  <a:lnTo>
                    <a:pt x="30" y="714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696"/>
                  </a:lnTo>
                  <a:lnTo>
                    <a:pt x="66" y="702"/>
                  </a:lnTo>
                  <a:lnTo>
                    <a:pt x="78" y="702"/>
                  </a:lnTo>
                  <a:lnTo>
                    <a:pt x="84" y="702"/>
                  </a:lnTo>
                  <a:lnTo>
                    <a:pt x="96" y="696"/>
                  </a:lnTo>
                  <a:lnTo>
                    <a:pt x="102" y="690"/>
                  </a:lnTo>
                  <a:lnTo>
                    <a:pt x="102" y="684"/>
                  </a:lnTo>
                  <a:lnTo>
                    <a:pt x="114" y="684"/>
                  </a:lnTo>
                  <a:lnTo>
                    <a:pt x="144" y="684"/>
                  </a:lnTo>
                  <a:lnTo>
                    <a:pt x="150" y="690"/>
                  </a:lnTo>
                  <a:lnTo>
                    <a:pt x="162" y="696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6" y="690"/>
                  </a:lnTo>
                  <a:lnTo>
                    <a:pt x="192" y="690"/>
                  </a:lnTo>
                  <a:lnTo>
                    <a:pt x="198" y="684"/>
                  </a:lnTo>
                  <a:lnTo>
                    <a:pt x="204" y="684"/>
                  </a:lnTo>
                  <a:lnTo>
                    <a:pt x="210" y="684"/>
                  </a:lnTo>
                  <a:lnTo>
                    <a:pt x="222" y="678"/>
                  </a:lnTo>
                  <a:lnTo>
                    <a:pt x="228" y="678"/>
                  </a:lnTo>
                  <a:lnTo>
                    <a:pt x="228" y="660"/>
                  </a:lnTo>
                  <a:lnTo>
                    <a:pt x="234" y="642"/>
                  </a:lnTo>
                  <a:lnTo>
                    <a:pt x="246" y="618"/>
                  </a:lnTo>
                  <a:lnTo>
                    <a:pt x="252" y="618"/>
                  </a:lnTo>
                  <a:lnTo>
                    <a:pt x="252" y="600"/>
                  </a:lnTo>
                  <a:lnTo>
                    <a:pt x="252" y="588"/>
                  </a:lnTo>
                  <a:lnTo>
                    <a:pt x="252" y="582"/>
                  </a:lnTo>
                  <a:lnTo>
                    <a:pt x="258" y="576"/>
                  </a:lnTo>
                  <a:lnTo>
                    <a:pt x="270" y="564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70" y="522"/>
                  </a:lnTo>
                  <a:lnTo>
                    <a:pt x="270" y="510"/>
                  </a:lnTo>
                  <a:lnTo>
                    <a:pt x="270" y="498"/>
                  </a:lnTo>
                  <a:lnTo>
                    <a:pt x="258" y="468"/>
                  </a:lnTo>
                  <a:lnTo>
                    <a:pt x="252" y="456"/>
                  </a:lnTo>
                  <a:lnTo>
                    <a:pt x="258" y="444"/>
                  </a:lnTo>
                  <a:lnTo>
                    <a:pt x="264" y="432"/>
                  </a:lnTo>
                  <a:lnTo>
                    <a:pt x="270" y="426"/>
                  </a:lnTo>
                  <a:lnTo>
                    <a:pt x="276" y="420"/>
                  </a:lnTo>
                  <a:lnTo>
                    <a:pt x="288" y="420"/>
                  </a:lnTo>
                  <a:lnTo>
                    <a:pt x="288" y="414"/>
                  </a:lnTo>
                  <a:lnTo>
                    <a:pt x="294" y="414"/>
                  </a:lnTo>
                  <a:lnTo>
                    <a:pt x="306" y="390"/>
                  </a:lnTo>
                  <a:lnTo>
                    <a:pt x="312" y="384"/>
                  </a:lnTo>
                  <a:lnTo>
                    <a:pt x="318" y="378"/>
                  </a:lnTo>
                  <a:lnTo>
                    <a:pt x="318" y="372"/>
                  </a:lnTo>
                  <a:lnTo>
                    <a:pt x="324" y="366"/>
                  </a:lnTo>
                  <a:lnTo>
                    <a:pt x="330" y="354"/>
                  </a:lnTo>
                  <a:lnTo>
                    <a:pt x="336" y="348"/>
                  </a:lnTo>
                  <a:lnTo>
                    <a:pt x="336" y="330"/>
                  </a:lnTo>
                  <a:lnTo>
                    <a:pt x="342" y="324"/>
                  </a:lnTo>
                  <a:lnTo>
                    <a:pt x="342" y="318"/>
                  </a:lnTo>
                  <a:lnTo>
                    <a:pt x="348" y="318"/>
                  </a:lnTo>
                  <a:lnTo>
                    <a:pt x="360" y="318"/>
                  </a:lnTo>
                  <a:lnTo>
                    <a:pt x="372" y="318"/>
                  </a:lnTo>
                  <a:lnTo>
                    <a:pt x="384" y="306"/>
                  </a:lnTo>
                  <a:lnTo>
                    <a:pt x="396" y="300"/>
                  </a:lnTo>
                  <a:lnTo>
                    <a:pt x="396" y="294"/>
                  </a:lnTo>
                  <a:lnTo>
                    <a:pt x="396" y="288"/>
                  </a:lnTo>
                  <a:lnTo>
                    <a:pt x="390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2"/>
                  </a:lnTo>
                  <a:lnTo>
                    <a:pt x="378" y="246"/>
                  </a:lnTo>
                  <a:lnTo>
                    <a:pt x="384" y="228"/>
                  </a:lnTo>
                  <a:lnTo>
                    <a:pt x="390" y="216"/>
                  </a:lnTo>
                  <a:lnTo>
                    <a:pt x="402" y="210"/>
                  </a:lnTo>
                  <a:lnTo>
                    <a:pt x="408" y="210"/>
                  </a:lnTo>
                  <a:lnTo>
                    <a:pt x="420" y="204"/>
                  </a:lnTo>
                  <a:lnTo>
                    <a:pt x="444" y="198"/>
                  </a:lnTo>
                  <a:lnTo>
                    <a:pt x="462" y="192"/>
                  </a:lnTo>
                  <a:lnTo>
                    <a:pt x="474" y="186"/>
                  </a:lnTo>
                  <a:lnTo>
                    <a:pt x="480" y="192"/>
                  </a:lnTo>
                  <a:lnTo>
                    <a:pt x="492" y="192"/>
                  </a:lnTo>
                  <a:lnTo>
                    <a:pt x="498" y="192"/>
                  </a:lnTo>
                  <a:lnTo>
                    <a:pt x="504" y="192"/>
                  </a:lnTo>
                  <a:lnTo>
                    <a:pt x="510" y="192"/>
                  </a:lnTo>
                  <a:lnTo>
                    <a:pt x="516" y="186"/>
                  </a:lnTo>
                  <a:lnTo>
                    <a:pt x="522" y="180"/>
                  </a:lnTo>
                  <a:lnTo>
                    <a:pt x="522" y="174"/>
                  </a:lnTo>
                  <a:lnTo>
                    <a:pt x="528" y="168"/>
                  </a:lnTo>
                  <a:lnTo>
                    <a:pt x="534" y="168"/>
                  </a:lnTo>
                  <a:lnTo>
                    <a:pt x="534" y="156"/>
                  </a:lnTo>
                  <a:lnTo>
                    <a:pt x="534" y="150"/>
                  </a:lnTo>
                  <a:lnTo>
                    <a:pt x="552" y="138"/>
                  </a:lnTo>
                  <a:lnTo>
                    <a:pt x="558" y="126"/>
                  </a:lnTo>
                  <a:lnTo>
                    <a:pt x="558" y="114"/>
                  </a:lnTo>
                  <a:lnTo>
                    <a:pt x="564" y="102"/>
                  </a:lnTo>
                  <a:lnTo>
                    <a:pt x="564" y="96"/>
                  </a:lnTo>
                  <a:lnTo>
                    <a:pt x="564" y="90"/>
                  </a:lnTo>
                  <a:lnTo>
                    <a:pt x="564" y="72"/>
                  </a:lnTo>
                  <a:lnTo>
                    <a:pt x="564" y="60"/>
                  </a:lnTo>
                  <a:lnTo>
                    <a:pt x="564" y="54"/>
                  </a:lnTo>
                  <a:lnTo>
                    <a:pt x="570" y="42"/>
                  </a:lnTo>
                  <a:lnTo>
                    <a:pt x="576" y="42"/>
                  </a:lnTo>
                  <a:lnTo>
                    <a:pt x="582" y="36"/>
                  </a:lnTo>
                  <a:lnTo>
                    <a:pt x="594" y="36"/>
                  </a:lnTo>
                  <a:lnTo>
                    <a:pt x="594" y="30"/>
                  </a:lnTo>
                  <a:lnTo>
                    <a:pt x="600" y="24"/>
                  </a:lnTo>
                  <a:lnTo>
                    <a:pt x="600" y="12"/>
                  </a:lnTo>
                  <a:lnTo>
                    <a:pt x="606" y="6"/>
                  </a:lnTo>
                  <a:lnTo>
                    <a:pt x="606" y="0"/>
                  </a:lnTo>
                  <a:lnTo>
                    <a:pt x="612" y="0"/>
                  </a:lnTo>
                  <a:lnTo>
                    <a:pt x="618" y="0"/>
                  </a:lnTo>
                  <a:lnTo>
                    <a:pt x="624" y="6"/>
                  </a:lnTo>
                  <a:lnTo>
                    <a:pt x="624" y="12"/>
                  </a:lnTo>
                  <a:lnTo>
                    <a:pt x="624" y="18"/>
                  </a:lnTo>
                  <a:lnTo>
                    <a:pt x="624" y="24"/>
                  </a:lnTo>
                  <a:lnTo>
                    <a:pt x="624" y="30"/>
                  </a:lnTo>
                  <a:lnTo>
                    <a:pt x="630" y="30"/>
                  </a:lnTo>
                  <a:lnTo>
                    <a:pt x="630" y="36"/>
                  </a:lnTo>
                  <a:lnTo>
                    <a:pt x="630" y="42"/>
                  </a:lnTo>
                  <a:lnTo>
                    <a:pt x="630" y="48"/>
                  </a:lnTo>
                  <a:lnTo>
                    <a:pt x="636" y="54"/>
                  </a:lnTo>
                  <a:lnTo>
                    <a:pt x="642" y="48"/>
                  </a:lnTo>
                  <a:lnTo>
                    <a:pt x="648" y="48"/>
                  </a:lnTo>
                  <a:lnTo>
                    <a:pt x="648" y="60"/>
                  </a:lnTo>
                  <a:lnTo>
                    <a:pt x="654" y="66"/>
                  </a:lnTo>
                  <a:lnTo>
                    <a:pt x="660" y="72"/>
                  </a:lnTo>
                  <a:lnTo>
                    <a:pt x="666" y="72"/>
                  </a:lnTo>
                  <a:lnTo>
                    <a:pt x="666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72" y="66"/>
                  </a:lnTo>
                  <a:lnTo>
                    <a:pt x="678" y="66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6" y="66"/>
                  </a:lnTo>
                  <a:lnTo>
                    <a:pt x="696" y="72"/>
                  </a:lnTo>
                  <a:lnTo>
                    <a:pt x="702" y="72"/>
                  </a:lnTo>
                  <a:lnTo>
                    <a:pt x="708" y="72"/>
                  </a:lnTo>
                  <a:lnTo>
                    <a:pt x="720" y="66"/>
                  </a:lnTo>
                  <a:lnTo>
                    <a:pt x="726" y="78"/>
                  </a:lnTo>
                  <a:lnTo>
                    <a:pt x="744" y="84"/>
                  </a:lnTo>
                  <a:lnTo>
                    <a:pt x="744" y="90"/>
                  </a:lnTo>
                  <a:lnTo>
                    <a:pt x="744" y="96"/>
                  </a:lnTo>
                  <a:lnTo>
                    <a:pt x="738" y="96"/>
                  </a:lnTo>
                  <a:lnTo>
                    <a:pt x="738" y="102"/>
                  </a:lnTo>
                  <a:lnTo>
                    <a:pt x="732" y="102"/>
                  </a:lnTo>
                  <a:lnTo>
                    <a:pt x="732" y="108"/>
                  </a:lnTo>
                  <a:lnTo>
                    <a:pt x="738" y="108"/>
                  </a:lnTo>
                  <a:lnTo>
                    <a:pt x="744" y="114"/>
                  </a:lnTo>
                  <a:lnTo>
                    <a:pt x="750" y="108"/>
                  </a:lnTo>
                  <a:lnTo>
                    <a:pt x="756" y="108"/>
                  </a:lnTo>
                  <a:lnTo>
                    <a:pt x="762" y="108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80" y="120"/>
                  </a:lnTo>
                  <a:lnTo>
                    <a:pt x="774" y="120"/>
                  </a:lnTo>
                  <a:lnTo>
                    <a:pt x="768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74" y="138"/>
                  </a:lnTo>
                  <a:lnTo>
                    <a:pt x="774" y="132"/>
                  </a:lnTo>
                  <a:lnTo>
                    <a:pt x="780" y="132"/>
                  </a:lnTo>
                  <a:lnTo>
                    <a:pt x="786" y="132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44"/>
                  </a:lnTo>
                  <a:lnTo>
                    <a:pt x="786" y="150"/>
                  </a:lnTo>
                  <a:lnTo>
                    <a:pt x="780" y="150"/>
                  </a:lnTo>
                  <a:lnTo>
                    <a:pt x="774" y="150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74" y="162"/>
                  </a:lnTo>
                  <a:lnTo>
                    <a:pt x="780" y="162"/>
                  </a:lnTo>
                  <a:lnTo>
                    <a:pt x="786" y="168"/>
                  </a:lnTo>
                  <a:lnTo>
                    <a:pt x="792" y="162"/>
                  </a:lnTo>
                  <a:lnTo>
                    <a:pt x="798" y="168"/>
                  </a:lnTo>
                  <a:lnTo>
                    <a:pt x="798" y="174"/>
                  </a:lnTo>
                  <a:lnTo>
                    <a:pt x="804" y="168"/>
                  </a:lnTo>
                  <a:lnTo>
                    <a:pt x="810" y="168"/>
                  </a:lnTo>
                  <a:lnTo>
                    <a:pt x="810" y="174"/>
                  </a:lnTo>
                  <a:lnTo>
                    <a:pt x="816" y="168"/>
                  </a:lnTo>
                  <a:lnTo>
                    <a:pt x="822" y="162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74"/>
                  </a:lnTo>
                  <a:lnTo>
                    <a:pt x="834" y="192"/>
                  </a:lnTo>
                  <a:lnTo>
                    <a:pt x="834" y="198"/>
                  </a:lnTo>
                  <a:lnTo>
                    <a:pt x="840" y="192"/>
                  </a:lnTo>
                  <a:lnTo>
                    <a:pt x="846" y="192"/>
                  </a:lnTo>
                  <a:lnTo>
                    <a:pt x="852" y="186"/>
                  </a:lnTo>
                  <a:lnTo>
                    <a:pt x="858" y="192"/>
                  </a:lnTo>
                  <a:lnTo>
                    <a:pt x="864" y="192"/>
                  </a:lnTo>
                  <a:lnTo>
                    <a:pt x="870" y="198"/>
                  </a:lnTo>
                  <a:lnTo>
                    <a:pt x="876" y="180"/>
                  </a:lnTo>
                  <a:lnTo>
                    <a:pt x="882" y="180"/>
                  </a:lnTo>
                  <a:lnTo>
                    <a:pt x="888" y="180"/>
                  </a:lnTo>
                  <a:lnTo>
                    <a:pt x="894" y="186"/>
                  </a:lnTo>
                  <a:lnTo>
                    <a:pt x="888" y="198"/>
                  </a:lnTo>
                  <a:lnTo>
                    <a:pt x="894" y="204"/>
                  </a:lnTo>
                  <a:lnTo>
                    <a:pt x="906" y="210"/>
                  </a:lnTo>
                  <a:lnTo>
                    <a:pt x="918" y="246"/>
                  </a:lnTo>
                  <a:lnTo>
                    <a:pt x="930" y="258"/>
                  </a:lnTo>
                  <a:lnTo>
                    <a:pt x="942" y="282"/>
                  </a:lnTo>
                  <a:lnTo>
                    <a:pt x="966" y="288"/>
                  </a:lnTo>
                  <a:lnTo>
                    <a:pt x="972" y="300"/>
                  </a:lnTo>
                  <a:lnTo>
                    <a:pt x="972" y="318"/>
                  </a:lnTo>
                  <a:lnTo>
                    <a:pt x="996" y="336"/>
                  </a:lnTo>
                  <a:lnTo>
                    <a:pt x="1050" y="390"/>
                  </a:lnTo>
                  <a:lnTo>
                    <a:pt x="1116" y="462"/>
                  </a:lnTo>
                  <a:lnTo>
                    <a:pt x="1122" y="468"/>
                  </a:lnTo>
                  <a:lnTo>
                    <a:pt x="1128" y="474"/>
                  </a:lnTo>
                  <a:lnTo>
                    <a:pt x="1140" y="474"/>
                  </a:lnTo>
                  <a:lnTo>
                    <a:pt x="1152" y="486"/>
                  </a:lnTo>
                  <a:lnTo>
                    <a:pt x="1152" y="492"/>
                  </a:lnTo>
                  <a:lnTo>
                    <a:pt x="1158" y="492"/>
                  </a:lnTo>
                  <a:lnTo>
                    <a:pt x="1164" y="492"/>
                  </a:lnTo>
                  <a:lnTo>
                    <a:pt x="1170" y="504"/>
                  </a:lnTo>
                  <a:lnTo>
                    <a:pt x="1176" y="504"/>
                  </a:lnTo>
                  <a:lnTo>
                    <a:pt x="1176" y="510"/>
                  </a:lnTo>
                  <a:lnTo>
                    <a:pt x="1200" y="516"/>
                  </a:lnTo>
                  <a:lnTo>
                    <a:pt x="1200" y="522"/>
                  </a:lnTo>
                  <a:lnTo>
                    <a:pt x="1212" y="534"/>
                  </a:lnTo>
                  <a:lnTo>
                    <a:pt x="1218" y="540"/>
                  </a:lnTo>
                  <a:lnTo>
                    <a:pt x="1224" y="552"/>
                  </a:lnTo>
                  <a:lnTo>
                    <a:pt x="1230" y="552"/>
                  </a:lnTo>
                  <a:lnTo>
                    <a:pt x="1242" y="552"/>
                  </a:lnTo>
                  <a:lnTo>
                    <a:pt x="1248" y="558"/>
                  </a:lnTo>
                  <a:lnTo>
                    <a:pt x="1254" y="558"/>
                  </a:lnTo>
                  <a:lnTo>
                    <a:pt x="1260" y="564"/>
                  </a:lnTo>
                  <a:lnTo>
                    <a:pt x="1266" y="564"/>
                  </a:lnTo>
                  <a:lnTo>
                    <a:pt x="1272" y="564"/>
                  </a:lnTo>
                  <a:lnTo>
                    <a:pt x="1284" y="564"/>
                  </a:lnTo>
                  <a:lnTo>
                    <a:pt x="1290" y="570"/>
                  </a:lnTo>
                  <a:lnTo>
                    <a:pt x="1296" y="576"/>
                  </a:lnTo>
                  <a:lnTo>
                    <a:pt x="1302" y="588"/>
                  </a:lnTo>
                  <a:lnTo>
                    <a:pt x="1296" y="594"/>
                  </a:lnTo>
                  <a:lnTo>
                    <a:pt x="1296" y="600"/>
                  </a:lnTo>
                  <a:lnTo>
                    <a:pt x="1296" y="606"/>
                  </a:lnTo>
                  <a:lnTo>
                    <a:pt x="1290" y="612"/>
                  </a:lnTo>
                  <a:lnTo>
                    <a:pt x="1290" y="624"/>
                  </a:lnTo>
                  <a:lnTo>
                    <a:pt x="1290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308" y="654"/>
                  </a:lnTo>
                  <a:lnTo>
                    <a:pt x="1320" y="654"/>
                  </a:lnTo>
                  <a:lnTo>
                    <a:pt x="1326" y="660"/>
                  </a:lnTo>
                  <a:lnTo>
                    <a:pt x="1338" y="654"/>
                  </a:lnTo>
                  <a:lnTo>
                    <a:pt x="1344" y="654"/>
                  </a:lnTo>
                  <a:lnTo>
                    <a:pt x="1356" y="654"/>
                  </a:lnTo>
                  <a:lnTo>
                    <a:pt x="1362" y="648"/>
                  </a:lnTo>
                  <a:lnTo>
                    <a:pt x="1368" y="642"/>
                  </a:lnTo>
                  <a:lnTo>
                    <a:pt x="1374" y="636"/>
                  </a:lnTo>
                  <a:lnTo>
                    <a:pt x="1380" y="636"/>
                  </a:lnTo>
                  <a:lnTo>
                    <a:pt x="1392" y="636"/>
                  </a:lnTo>
                  <a:lnTo>
                    <a:pt x="1398" y="636"/>
                  </a:lnTo>
                  <a:lnTo>
                    <a:pt x="1404" y="636"/>
                  </a:lnTo>
                  <a:lnTo>
                    <a:pt x="1410" y="630"/>
                  </a:lnTo>
                  <a:lnTo>
                    <a:pt x="1410" y="624"/>
                  </a:lnTo>
                  <a:lnTo>
                    <a:pt x="1422" y="618"/>
                  </a:lnTo>
                  <a:lnTo>
                    <a:pt x="1428" y="618"/>
                  </a:lnTo>
                  <a:lnTo>
                    <a:pt x="1440" y="612"/>
                  </a:lnTo>
                  <a:lnTo>
                    <a:pt x="1446" y="612"/>
                  </a:lnTo>
                  <a:lnTo>
                    <a:pt x="1458" y="612"/>
                  </a:lnTo>
                  <a:lnTo>
                    <a:pt x="1470" y="624"/>
                  </a:lnTo>
                  <a:lnTo>
                    <a:pt x="1488" y="642"/>
                  </a:lnTo>
                  <a:lnTo>
                    <a:pt x="1500" y="648"/>
                  </a:lnTo>
                  <a:lnTo>
                    <a:pt x="1512" y="654"/>
                  </a:lnTo>
                  <a:lnTo>
                    <a:pt x="1518" y="660"/>
                  </a:lnTo>
                  <a:lnTo>
                    <a:pt x="1524" y="660"/>
                  </a:lnTo>
                  <a:lnTo>
                    <a:pt x="1530" y="660"/>
                  </a:lnTo>
                  <a:lnTo>
                    <a:pt x="1536" y="666"/>
                  </a:lnTo>
                  <a:lnTo>
                    <a:pt x="1542" y="672"/>
                  </a:lnTo>
                  <a:lnTo>
                    <a:pt x="1548" y="672"/>
                  </a:lnTo>
                  <a:lnTo>
                    <a:pt x="1554" y="684"/>
                  </a:lnTo>
                  <a:lnTo>
                    <a:pt x="1554" y="690"/>
                  </a:lnTo>
                  <a:lnTo>
                    <a:pt x="1566" y="702"/>
                  </a:lnTo>
                  <a:lnTo>
                    <a:pt x="1572" y="720"/>
                  </a:lnTo>
                  <a:lnTo>
                    <a:pt x="1572" y="726"/>
                  </a:lnTo>
                  <a:lnTo>
                    <a:pt x="1578" y="732"/>
                  </a:lnTo>
                  <a:lnTo>
                    <a:pt x="1584" y="738"/>
                  </a:lnTo>
                  <a:lnTo>
                    <a:pt x="1590" y="738"/>
                  </a:lnTo>
                  <a:lnTo>
                    <a:pt x="1596" y="738"/>
                  </a:lnTo>
                  <a:lnTo>
                    <a:pt x="1602" y="744"/>
                  </a:lnTo>
                  <a:lnTo>
                    <a:pt x="1608" y="744"/>
                  </a:lnTo>
                  <a:lnTo>
                    <a:pt x="1614" y="744"/>
                  </a:lnTo>
                  <a:lnTo>
                    <a:pt x="1626" y="744"/>
                  </a:lnTo>
                  <a:lnTo>
                    <a:pt x="1638" y="744"/>
                  </a:lnTo>
                  <a:lnTo>
                    <a:pt x="1650" y="744"/>
                  </a:lnTo>
                  <a:lnTo>
                    <a:pt x="1662" y="744"/>
                  </a:lnTo>
                  <a:lnTo>
                    <a:pt x="1668" y="744"/>
                  </a:lnTo>
                  <a:lnTo>
                    <a:pt x="1674" y="744"/>
                  </a:lnTo>
                  <a:lnTo>
                    <a:pt x="1686" y="744"/>
                  </a:lnTo>
                  <a:lnTo>
                    <a:pt x="1698" y="750"/>
                  </a:lnTo>
                  <a:lnTo>
                    <a:pt x="1704" y="750"/>
                  </a:lnTo>
                  <a:lnTo>
                    <a:pt x="1716" y="756"/>
                  </a:lnTo>
                  <a:lnTo>
                    <a:pt x="1722" y="756"/>
                  </a:lnTo>
                  <a:lnTo>
                    <a:pt x="1728" y="756"/>
                  </a:lnTo>
                  <a:lnTo>
                    <a:pt x="1734" y="762"/>
                  </a:lnTo>
                  <a:lnTo>
                    <a:pt x="1740" y="768"/>
                  </a:lnTo>
                  <a:lnTo>
                    <a:pt x="1758" y="780"/>
                  </a:lnTo>
                  <a:lnTo>
                    <a:pt x="1770" y="780"/>
                  </a:lnTo>
                  <a:lnTo>
                    <a:pt x="1776" y="780"/>
                  </a:lnTo>
                  <a:lnTo>
                    <a:pt x="1782" y="780"/>
                  </a:lnTo>
                  <a:lnTo>
                    <a:pt x="1800" y="798"/>
                  </a:lnTo>
                  <a:lnTo>
                    <a:pt x="1818" y="810"/>
                  </a:lnTo>
                  <a:lnTo>
                    <a:pt x="1830" y="816"/>
                  </a:lnTo>
                  <a:lnTo>
                    <a:pt x="1836" y="822"/>
                  </a:lnTo>
                  <a:lnTo>
                    <a:pt x="1836" y="828"/>
                  </a:lnTo>
                  <a:lnTo>
                    <a:pt x="1842" y="828"/>
                  </a:lnTo>
                  <a:lnTo>
                    <a:pt x="1848" y="834"/>
                  </a:lnTo>
                  <a:lnTo>
                    <a:pt x="1854" y="840"/>
                  </a:lnTo>
                  <a:lnTo>
                    <a:pt x="1860" y="846"/>
                  </a:lnTo>
                  <a:lnTo>
                    <a:pt x="1872" y="852"/>
                  </a:lnTo>
                  <a:lnTo>
                    <a:pt x="1884" y="852"/>
                  </a:lnTo>
                  <a:lnTo>
                    <a:pt x="1896" y="852"/>
                  </a:lnTo>
                  <a:lnTo>
                    <a:pt x="1902" y="846"/>
                  </a:lnTo>
                  <a:lnTo>
                    <a:pt x="1908" y="852"/>
                  </a:lnTo>
                  <a:lnTo>
                    <a:pt x="1920" y="858"/>
                  </a:lnTo>
                  <a:lnTo>
                    <a:pt x="1926" y="870"/>
                  </a:lnTo>
                  <a:lnTo>
                    <a:pt x="1938" y="888"/>
                  </a:lnTo>
                  <a:lnTo>
                    <a:pt x="1944" y="900"/>
                  </a:lnTo>
                  <a:lnTo>
                    <a:pt x="1950" y="900"/>
                  </a:lnTo>
                  <a:lnTo>
                    <a:pt x="1962" y="906"/>
                  </a:lnTo>
                  <a:lnTo>
                    <a:pt x="1968" y="906"/>
                  </a:lnTo>
                  <a:lnTo>
                    <a:pt x="1980" y="906"/>
                  </a:lnTo>
                  <a:lnTo>
                    <a:pt x="1998" y="906"/>
                  </a:lnTo>
                  <a:lnTo>
                    <a:pt x="2010" y="900"/>
                  </a:lnTo>
                  <a:lnTo>
                    <a:pt x="2022" y="900"/>
                  </a:lnTo>
                  <a:lnTo>
                    <a:pt x="2028" y="900"/>
                  </a:lnTo>
                  <a:lnTo>
                    <a:pt x="2034" y="906"/>
                  </a:lnTo>
                  <a:lnTo>
                    <a:pt x="2046" y="906"/>
                  </a:lnTo>
                  <a:lnTo>
                    <a:pt x="2052" y="900"/>
                  </a:lnTo>
                  <a:lnTo>
                    <a:pt x="2058" y="900"/>
                  </a:lnTo>
                  <a:lnTo>
                    <a:pt x="2064" y="900"/>
                  </a:lnTo>
                  <a:lnTo>
                    <a:pt x="2070" y="900"/>
                  </a:lnTo>
                  <a:lnTo>
                    <a:pt x="2076" y="900"/>
                  </a:lnTo>
                  <a:lnTo>
                    <a:pt x="2076" y="906"/>
                  </a:lnTo>
                  <a:lnTo>
                    <a:pt x="2088" y="906"/>
                  </a:lnTo>
                  <a:lnTo>
                    <a:pt x="2106" y="900"/>
                  </a:lnTo>
                  <a:lnTo>
                    <a:pt x="2118" y="900"/>
                  </a:lnTo>
                  <a:lnTo>
                    <a:pt x="2130" y="900"/>
                  </a:lnTo>
                  <a:lnTo>
                    <a:pt x="2142" y="900"/>
                  </a:lnTo>
                  <a:lnTo>
                    <a:pt x="2148" y="906"/>
                  </a:lnTo>
                  <a:lnTo>
                    <a:pt x="2154" y="906"/>
                  </a:lnTo>
                  <a:lnTo>
                    <a:pt x="2160" y="906"/>
                  </a:lnTo>
                  <a:lnTo>
                    <a:pt x="2166" y="906"/>
                  </a:lnTo>
                  <a:lnTo>
                    <a:pt x="2178" y="918"/>
                  </a:lnTo>
                  <a:lnTo>
                    <a:pt x="2178" y="924"/>
                  </a:lnTo>
                  <a:lnTo>
                    <a:pt x="2184" y="924"/>
                  </a:lnTo>
                  <a:lnTo>
                    <a:pt x="2190" y="924"/>
                  </a:lnTo>
                  <a:lnTo>
                    <a:pt x="2196" y="924"/>
                  </a:lnTo>
                  <a:lnTo>
                    <a:pt x="2202" y="918"/>
                  </a:lnTo>
                  <a:lnTo>
                    <a:pt x="2208" y="918"/>
                  </a:lnTo>
                  <a:lnTo>
                    <a:pt x="2214" y="918"/>
                  </a:lnTo>
                  <a:lnTo>
                    <a:pt x="2226" y="918"/>
                  </a:lnTo>
                  <a:lnTo>
                    <a:pt x="2220" y="948"/>
                  </a:lnTo>
                  <a:lnTo>
                    <a:pt x="2214" y="972"/>
                  </a:lnTo>
                  <a:lnTo>
                    <a:pt x="2214" y="984"/>
                  </a:lnTo>
                  <a:lnTo>
                    <a:pt x="2208" y="990"/>
                  </a:lnTo>
                  <a:lnTo>
                    <a:pt x="2208" y="996"/>
                  </a:lnTo>
                  <a:lnTo>
                    <a:pt x="2202" y="996"/>
                  </a:lnTo>
                  <a:lnTo>
                    <a:pt x="2196" y="996"/>
                  </a:lnTo>
                  <a:lnTo>
                    <a:pt x="2190" y="1008"/>
                  </a:lnTo>
                  <a:lnTo>
                    <a:pt x="2172" y="1074"/>
                  </a:lnTo>
                  <a:lnTo>
                    <a:pt x="2166" y="1092"/>
                  </a:lnTo>
                  <a:lnTo>
                    <a:pt x="2172" y="1110"/>
                  </a:lnTo>
                  <a:lnTo>
                    <a:pt x="2172" y="1122"/>
                  </a:lnTo>
                  <a:lnTo>
                    <a:pt x="2166" y="1134"/>
                  </a:lnTo>
                  <a:lnTo>
                    <a:pt x="2148" y="1140"/>
                  </a:lnTo>
                  <a:lnTo>
                    <a:pt x="2148" y="1134"/>
                  </a:lnTo>
                  <a:lnTo>
                    <a:pt x="2118" y="1140"/>
                  </a:lnTo>
                  <a:lnTo>
                    <a:pt x="2088" y="1134"/>
                  </a:lnTo>
                  <a:lnTo>
                    <a:pt x="2064" y="1122"/>
                  </a:lnTo>
                  <a:lnTo>
                    <a:pt x="2034" y="1122"/>
                  </a:lnTo>
                  <a:lnTo>
                    <a:pt x="2022" y="1128"/>
                  </a:lnTo>
                  <a:lnTo>
                    <a:pt x="1986" y="1128"/>
                  </a:lnTo>
                  <a:lnTo>
                    <a:pt x="1938" y="1122"/>
                  </a:lnTo>
                  <a:lnTo>
                    <a:pt x="1932" y="1116"/>
                  </a:lnTo>
                  <a:lnTo>
                    <a:pt x="1896" y="1110"/>
                  </a:lnTo>
                  <a:lnTo>
                    <a:pt x="1878" y="1104"/>
                  </a:lnTo>
                  <a:lnTo>
                    <a:pt x="1866" y="1098"/>
                  </a:lnTo>
                  <a:lnTo>
                    <a:pt x="1860" y="1098"/>
                  </a:lnTo>
                  <a:lnTo>
                    <a:pt x="1854" y="1092"/>
                  </a:lnTo>
                  <a:lnTo>
                    <a:pt x="1860" y="1092"/>
                  </a:lnTo>
                  <a:lnTo>
                    <a:pt x="1860" y="1086"/>
                  </a:lnTo>
                  <a:lnTo>
                    <a:pt x="1854" y="1086"/>
                  </a:lnTo>
                  <a:lnTo>
                    <a:pt x="1842" y="1080"/>
                  </a:lnTo>
                  <a:lnTo>
                    <a:pt x="1818" y="1062"/>
                  </a:lnTo>
                  <a:lnTo>
                    <a:pt x="1782" y="1056"/>
                  </a:lnTo>
                  <a:lnTo>
                    <a:pt x="1770" y="1068"/>
                  </a:lnTo>
                  <a:lnTo>
                    <a:pt x="1746" y="1098"/>
                  </a:lnTo>
                  <a:lnTo>
                    <a:pt x="1722" y="1104"/>
                  </a:lnTo>
                  <a:lnTo>
                    <a:pt x="1710" y="1122"/>
                  </a:lnTo>
                  <a:lnTo>
                    <a:pt x="1710" y="1128"/>
                  </a:lnTo>
                  <a:lnTo>
                    <a:pt x="1710" y="1140"/>
                  </a:lnTo>
                  <a:lnTo>
                    <a:pt x="1698" y="1146"/>
                  </a:lnTo>
                  <a:lnTo>
                    <a:pt x="1686" y="1152"/>
                  </a:lnTo>
                  <a:lnTo>
                    <a:pt x="1680" y="1164"/>
                  </a:lnTo>
                  <a:lnTo>
                    <a:pt x="1680" y="1170"/>
                  </a:lnTo>
                  <a:lnTo>
                    <a:pt x="1686" y="1170"/>
                  </a:lnTo>
                  <a:lnTo>
                    <a:pt x="1686" y="1176"/>
                  </a:lnTo>
                  <a:lnTo>
                    <a:pt x="1698" y="1188"/>
                  </a:lnTo>
                  <a:lnTo>
                    <a:pt x="1704" y="1188"/>
                  </a:lnTo>
                  <a:lnTo>
                    <a:pt x="1698" y="1194"/>
                  </a:lnTo>
                  <a:lnTo>
                    <a:pt x="1704" y="1194"/>
                  </a:lnTo>
                  <a:lnTo>
                    <a:pt x="1704" y="1200"/>
                  </a:lnTo>
                  <a:lnTo>
                    <a:pt x="1704" y="1206"/>
                  </a:lnTo>
                  <a:lnTo>
                    <a:pt x="1704" y="1212"/>
                  </a:lnTo>
                  <a:lnTo>
                    <a:pt x="1704" y="1218"/>
                  </a:lnTo>
                  <a:lnTo>
                    <a:pt x="1710" y="1218"/>
                  </a:lnTo>
                  <a:lnTo>
                    <a:pt x="1710" y="1212"/>
                  </a:lnTo>
                  <a:lnTo>
                    <a:pt x="1716" y="1212"/>
                  </a:lnTo>
                  <a:lnTo>
                    <a:pt x="1716" y="1218"/>
                  </a:lnTo>
                  <a:lnTo>
                    <a:pt x="1716" y="1224"/>
                  </a:lnTo>
                  <a:lnTo>
                    <a:pt x="1716" y="1230"/>
                  </a:lnTo>
                  <a:lnTo>
                    <a:pt x="1722" y="1236"/>
                  </a:lnTo>
                  <a:lnTo>
                    <a:pt x="1740" y="1230"/>
                  </a:lnTo>
                  <a:lnTo>
                    <a:pt x="1734" y="1236"/>
                  </a:lnTo>
                  <a:lnTo>
                    <a:pt x="1734" y="1242"/>
                  </a:lnTo>
                  <a:lnTo>
                    <a:pt x="1734" y="1248"/>
                  </a:lnTo>
                  <a:lnTo>
                    <a:pt x="1734" y="1254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52" y="1266"/>
                  </a:lnTo>
                  <a:lnTo>
                    <a:pt x="1764" y="1266"/>
                  </a:lnTo>
                  <a:lnTo>
                    <a:pt x="1788" y="1260"/>
                  </a:lnTo>
                  <a:lnTo>
                    <a:pt x="1800" y="1260"/>
                  </a:lnTo>
                  <a:lnTo>
                    <a:pt x="1806" y="1272"/>
                  </a:lnTo>
                  <a:lnTo>
                    <a:pt x="1806" y="1296"/>
                  </a:lnTo>
                  <a:lnTo>
                    <a:pt x="1800" y="1308"/>
                  </a:lnTo>
                  <a:lnTo>
                    <a:pt x="1788" y="1308"/>
                  </a:lnTo>
                  <a:lnTo>
                    <a:pt x="1782" y="13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7" name="Freeform 32">
              <a:extLst>
                <a:ext uri="{FF2B5EF4-FFF2-40B4-BE49-F238E27FC236}">
                  <a16:creationId xmlns:a16="http://schemas.microsoft.com/office/drawing/2014/main" id="{1EF84438-BF7A-47D2-9156-E231EA2A279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3295" y="2316568"/>
              <a:ext cx="1290281" cy="1084704"/>
            </a:xfrm>
            <a:custGeom>
              <a:avLst/>
              <a:gdLst>
                <a:gd name="T0" fmla="*/ 177 w 2430"/>
                <a:gd name="T1" fmla="*/ 169 h 2040"/>
                <a:gd name="T2" fmla="*/ 174 w 2430"/>
                <a:gd name="T3" fmla="*/ 173 h 2040"/>
                <a:gd name="T4" fmla="*/ 169 w 2430"/>
                <a:gd name="T5" fmla="*/ 171 h 2040"/>
                <a:gd name="T6" fmla="*/ 160 w 2430"/>
                <a:gd name="T7" fmla="*/ 163 h 2040"/>
                <a:gd name="T8" fmla="*/ 154 w 2430"/>
                <a:gd name="T9" fmla="*/ 149 h 2040"/>
                <a:gd name="T10" fmla="*/ 144 w 2430"/>
                <a:gd name="T11" fmla="*/ 147 h 2040"/>
                <a:gd name="T12" fmla="*/ 133 w 2430"/>
                <a:gd name="T13" fmla="*/ 146 h 2040"/>
                <a:gd name="T14" fmla="*/ 121 w 2430"/>
                <a:gd name="T15" fmla="*/ 145 h 2040"/>
                <a:gd name="T16" fmla="*/ 110 w 2430"/>
                <a:gd name="T17" fmla="*/ 137 h 2040"/>
                <a:gd name="T18" fmla="*/ 97 w 2430"/>
                <a:gd name="T19" fmla="*/ 131 h 2040"/>
                <a:gd name="T20" fmla="*/ 87 w 2430"/>
                <a:gd name="T21" fmla="*/ 125 h 2040"/>
                <a:gd name="T22" fmla="*/ 75 w 2430"/>
                <a:gd name="T23" fmla="*/ 122 h 2040"/>
                <a:gd name="T24" fmla="*/ 65 w 2430"/>
                <a:gd name="T25" fmla="*/ 122 h 2040"/>
                <a:gd name="T26" fmla="*/ 59 w 2430"/>
                <a:gd name="T27" fmla="*/ 115 h 2040"/>
                <a:gd name="T28" fmla="*/ 50 w 2430"/>
                <a:gd name="T29" fmla="*/ 107 h 2040"/>
                <a:gd name="T30" fmla="*/ 28 w 2430"/>
                <a:gd name="T31" fmla="*/ 84 h 2040"/>
                <a:gd name="T32" fmla="*/ 22 w 2430"/>
                <a:gd name="T33" fmla="*/ 82 h 2040"/>
                <a:gd name="T34" fmla="*/ 20 w 2430"/>
                <a:gd name="T35" fmla="*/ 79 h 2040"/>
                <a:gd name="T36" fmla="*/ 16 w 2430"/>
                <a:gd name="T37" fmla="*/ 76 h 2040"/>
                <a:gd name="T38" fmla="*/ 11 w 2430"/>
                <a:gd name="T39" fmla="*/ 74 h 2040"/>
                <a:gd name="T40" fmla="*/ 7 w 2430"/>
                <a:gd name="T41" fmla="*/ 69 h 2040"/>
                <a:gd name="T42" fmla="*/ 0 w 2430"/>
                <a:gd name="T43" fmla="*/ 60 h 2040"/>
                <a:gd name="T44" fmla="*/ 10 w 2430"/>
                <a:gd name="T45" fmla="*/ 53 h 2040"/>
                <a:gd name="T46" fmla="*/ 15 w 2430"/>
                <a:gd name="T47" fmla="*/ 40 h 2040"/>
                <a:gd name="T48" fmla="*/ 9 w 2430"/>
                <a:gd name="T49" fmla="*/ 29 h 2040"/>
                <a:gd name="T50" fmla="*/ 7 w 2430"/>
                <a:gd name="T51" fmla="*/ 16 h 2040"/>
                <a:gd name="T52" fmla="*/ 18 w 2430"/>
                <a:gd name="T53" fmla="*/ 21 h 2040"/>
                <a:gd name="T54" fmla="*/ 48 w 2430"/>
                <a:gd name="T55" fmla="*/ 27 h 2040"/>
                <a:gd name="T56" fmla="*/ 62 w 2430"/>
                <a:gd name="T57" fmla="*/ 25 h 2040"/>
                <a:gd name="T58" fmla="*/ 59 w 2430"/>
                <a:gd name="T59" fmla="*/ 42 h 2040"/>
                <a:gd name="T60" fmla="*/ 54 w 2430"/>
                <a:gd name="T61" fmla="*/ 65 h 2040"/>
                <a:gd name="T62" fmla="*/ 65 w 2430"/>
                <a:gd name="T63" fmla="*/ 60 h 2040"/>
                <a:gd name="T64" fmla="*/ 68 w 2430"/>
                <a:gd name="T65" fmla="*/ 40 h 2040"/>
                <a:gd name="T66" fmla="*/ 75 w 2430"/>
                <a:gd name="T67" fmla="*/ 36 h 2040"/>
                <a:gd name="T68" fmla="*/ 83 w 2430"/>
                <a:gd name="T69" fmla="*/ 29 h 2040"/>
                <a:gd name="T70" fmla="*/ 81 w 2430"/>
                <a:gd name="T71" fmla="*/ 17 h 2040"/>
                <a:gd name="T72" fmla="*/ 66 w 2430"/>
                <a:gd name="T73" fmla="*/ 7 h 2040"/>
                <a:gd name="T74" fmla="*/ 80 w 2430"/>
                <a:gd name="T75" fmla="*/ 5 h 2040"/>
                <a:gd name="T76" fmla="*/ 89 w 2430"/>
                <a:gd name="T77" fmla="*/ 1 h 2040"/>
                <a:gd name="T78" fmla="*/ 101 w 2430"/>
                <a:gd name="T79" fmla="*/ 10 h 2040"/>
                <a:gd name="T80" fmla="*/ 103 w 2430"/>
                <a:gd name="T81" fmla="*/ 18 h 2040"/>
                <a:gd name="T82" fmla="*/ 110 w 2430"/>
                <a:gd name="T83" fmla="*/ 23 h 2040"/>
                <a:gd name="T84" fmla="*/ 121 w 2430"/>
                <a:gd name="T85" fmla="*/ 20 h 2040"/>
                <a:gd name="T86" fmla="*/ 129 w 2430"/>
                <a:gd name="T87" fmla="*/ 15 h 2040"/>
                <a:gd name="T88" fmla="*/ 142 w 2430"/>
                <a:gd name="T89" fmla="*/ 23 h 2040"/>
                <a:gd name="T90" fmla="*/ 141 w 2430"/>
                <a:gd name="T91" fmla="*/ 30 h 2040"/>
                <a:gd name="T92" fmla="*/ 140 w 2430"/>
                <a:gd name="T93" fmla="*/ 38 h 2040"/>
                <a:gd name="T94" fmla="*/ 139 w 2430"/>
                <a:gd name="T95" fmla="*/ 46 h 2040"/>
                <a:gd name="T96" fmla="*/ 147 w 2430"/>
                <a:gd name="T97" fmla="*/ 54 h 2040"/>
                <a:gd name="T98" fmla="*/ 152 w 2430"/>
                <a:gd name="T99" fmla="*/ 50 h 2040"/>
                <a:gd name="T100" fmla="*/ 159 w 2430"/>
                <a:gd name="T101" fmla="*/ 43 h 2040"/>
                <a:gd name="T102" fmla="*/ 174 w 2430"/>
                <a:gd name="T103" fmla="*/ 41 h 2040"/>
                <a:gd name="T104" fmla="*/ 190 w 2430"/>
                <a:gd name="T105" fmla="*/ 57 h 2040"/>
                <a:gd name="T106" fmla="*/ 187 w 2430"/>
                <a:gd name="T107" fmla="*/ 66 h 2040"/>
                <a:gd name="T108" fmla="*/ 183 w 2430"/>
                <a:gd name="T109" fmla="*/ 72 h 2040"/>
                <a:gd name="T110" fmla="*/ 194 w 2430"/>
                <a:gd name="T111" fmla="*/ 73 h 2040"/>
                <a:gd name="T112" fmla="*/ 202 w 2430"/>
                <a:gd name="T113" fmla="*/ 74 h 2040"/>
                <a:gd name="T114" fmla="*/ 204 w 2430"/>
                <a:gd name="T115" fmla="*/ 89 h 2040"/>
                <a:gd name="T116" fmla="*/ 208 w 2430"/>
                <a:gd name="T117" fmla="*/ 99 h 2040"/>
                <a:gd name="T118" fmla="*/ 203 w 2430"/>
                <a:gd name="T119" fmla="*/ 103 h 2040"/>
                <a:gd name="T120" fmla="*/ 209 w 2430"/>
                <a:gd name="T121" fmla="*/ 111 h 2040"/>
                <a:gd name="T122" fmla="*/ 204 w 2430"/>
                <a:gd name="T123" fmla="*/ 124 h 2040"/>
                <a:gd name="T124" fmla="*/ 190 w 2430"/>
                <a:gd name="T125" fmla="*/ 117 h 20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30"/>
                <a:gd name="T190" fmla="*/ 0 h 2040"/>
                <a:gd name="T191" fmla="*/ 2430 w 2430"/>
                <a:gd name="T192" fmla="*/ 2040 h 20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30" h="2040">
                  <a:moveTo>
                    <a:pt x="2076" y="1896"/>
                  </a:moveTo>
                  <a:lnTo>
                    <a:pt x="2070" y="1896"/>
                  </a:lnTo>
                  <a:lnTo>
                    <a:pt x="2070" y="1902"/>
                  </a:lnTo>
                  <a:lnTo>
                    <a:pt x="2076" y="1902"/>
                  </a:lnTo>
                  <a:lnTo>
                    <a:pt x="2082" y="1902"/>
                  </a:lnTo>
                  <a:lnTo>
                    <a:pt x="2082" y="1908"/>
                  </a:lnTo>
                  <a:lnTo>
                    <a:pt x="2076" y="1908"/>
                  </a:lnTo>
                  <a:lnTo>
                    <a:pt x="2076" y="1914"/>
                  </a:lnTo>
                  <a:lnTo>
                    <a:pt x="2070" y="1920"/>
                  </a:lnTo>
                  <a:lnTo>
                    <a:pt x="2064" y="1932"/>
                  </a:lnTo>
                  <a:lnTo>
                    <a:pt x="2064" y="1938"/>
                  </a:lnTo>
                  <a:lnTo>
                    <a:pt x="2058" y="1938"/>
                  </a:lnTo>
                  <a:lnTo>
                    <a:pt x="2052" y="1944"/>
                  </a:lnTo>
                  <a:lnTo>
                    <a:pt x="2052" y="1950"/>
                  </a:lnTo>
                  <a:lnTo>
                    <a:pt x="2040" y="1944"/>
                  </a:lnTo>
                  <a:lnTo>
                    <a:pt x="2040" y="1950"/>
                  </a:lnTo>
                  <a:lnTo>
                    <a:pt x="2034" y="1956"/>
                  </a:lnTo>
                  <a:lnTo>
                    <a:pt x="2034" y="1962"/>
                  </a:lnTo>
                  <a:lnTo>
                    <a:pt x="2028" y="1962"/>
                  </a:lnTo>
                  <a:lnTo>
                    <a:pt x="2022" y="1962"/>
                  </a:lnTo>
                  <a:lnTo>
                    <a:pt x="2022" y="1968"/>
                  </a:lnTo>
                  <a:lnTo>
                    <a:pt x="2028" y="1974"/>
                  </a:lnTo>
                  <a:lnTo>
                    <a:pt x="2034" y="1980"/>
                  </a:lnTo>
                  <a:lnTo>
                    <a:pt x="2028" y="1986"/>
                  </a:lnTo>
                  <a:lnTo>
                    <a:pt x="2022" y="1992"/>
                  </a:lnTo>
                  <a:lnTo>
                    <a:pt x="2022" y="1986"/>
                  </a:lnTo>
                  <a:lnTo>
                    <a:pt x="2016" y="1986"/>
                  </a:lnTo>
                  <a:lnTo>
                    <a:pt x="2010" y="1980"/>
                  </a:lnTo>
                  <a:lnTo>
                    <a:pt x="2004" y="1980"/>
                  </a:lnTo>
                  <a:lnTo>
                    <a:pt x="2004" y="1986"/>
                  </a:lnTo>
                  <a:lnTo>
                    <a:pt x="2010" y="1992"/>
                  </a:lnTo>
                  <a:lnTo>
                    <a:pt x="2010" y="1998"/>
                  </a:lnTo>
                  <a:lnTo>
                    <a:pt x="2004" y="2004"/>
                  </a:lnTo>
                  <a:lnTo>
                    <a:pt x="1998" y="2004"/>
                  </a:lnTo>
                  <a:lnTo>
                    <a:pt x="1998" y="2022"/>
                  </a:lnTo>
                  <a:lnTo>
                    <a:pt x="1998" y="2028"/>
                  </a:lnTo>
                  <a:lnTo>
                    <a:pt x="1992" y="2034"/>
                  </a:lnTo>
                  <a:lnTo>
                    <a:pt x="1992" y="2040"/>
                  </a:lnTo>
                  <a:lnTo>
                    <a:pt x="1986" y="2040"/>
                  </a:lnTo>
                  <a:lnTo>
                    <a:pt x="1986" y="2034"/>
                  </a:lnTo>
                  <a:lnTo>
                    <a:pt x="1980" y="2028"/>
                  </a:lnTo>
                  <a:lnTo>
                    <a:pt x="1980" y="2022"/>
                  </a:lnTo>
                  <a:lnTo>
                    <a:pt x="1968" y="2016"/>
                  </a:lnTo>
                  <a:lnTo>
                    <a:pt x="1962" y="2010"/>
                  </a:lnTo>
                  <a:lnTo>
                    <a:pt x="1956" y="2004"/>
                  </a:lnTo>
                  <a:lnTo>
                    <a:pt x="1950" y="1992"/>
                  </a:lnTo>
                  <a:lnTo>
                    <a:pt x="1950" y="1986"/>
                  </a:lnTo>
                  <a:lnTo>
                    <a:pt x="1950" y="1974"/>
                  </a:lnTo>
                  <a:lnTo>
                    <a:pt x="1944" y="1974"/>
                  </a:lnTo>
                  <a:lnTo>
                    <a:pt x="1932" y="1962"/>
                  </a:lnTo>
                  <a:lnTo>
                    <a:pt x="1932" y="1956"/>
                  </a:lnTo>
                  <a:lnTo>
                    <a:pt x="1932" y="1950"/>
                  </a:lnTo>
                  <a:lnTo>
                    <a:pt x="1920" y="1944"/>
                  </a:lnTo>
                  <a:lnTo>
                    <a:pt x="1914" y="1944"/>
                  </a:lnTo>
                  <a:lnTo>
                    <a:pt x="1908" y="1938"/>
                  </a:lnTo>
                  <a:lnTo>
                    <a:pt x="1902" y="1926"/>
                  </a:lnTo>
                  <a:lnTo>
                    <a:pt x="1890" y="1914"/>
                  </a:lnTo>
                  <a:lnTo>
                    <a:pt x="1884" y="1914"/>
                  </a:lnTo>
                  <a:lnTo>
                    <a:pt x="1878" y="1908"/>
                  </a:lnTo>
                  <a:lnTo>
                    <a:pt x="1872" y="1902"/>
                  </a:lnTo>
                  <a:lnTo>
                    <a:pt x="1872" y="1896"/>
                  </a:lnTo>
                  <a:lnTo>
                    <a:pt x="1866" y="1890"/>
                  </a:lnTo>
                  <a:lnTo>
                    <a:pt x="1854" y="1884"/>
                  </a:lnTo>
                  <a:lnTo>
                    <a:pt x="1848" y="1884"/>
                  </a:lnTo>
                  <a:lnTo>
                    <a:pt x="1842" y="1872"/>
                  </a:lnTo>
                  <a:lnTo>
                    <a:pt x="1836" y="1872"/>
                  </a:lnTo>
                  <a:lnTo>
                    <a:pt x="1830" y="1866"/>
                  </a:lnTo>
                  <a:lnTo>
                    <a:pt x="1830" y="1854"/>
                  </a:lnTo>
                  <a:lnTo>
                    <a:pt x="1824" y="1848"/>
                  </a:lnTo>
                  <a:lnTo>
                    <a:pt x="1818" y="1830"/>
                  </a:lnTo>
                  <a:lnTo>
                    <a:pt x="1818" y="1818"/>
                  </a:lnTo>
                  <a:lnTo>
                    <a:pt x="1812" y="1800"/>
                  </a:lnTo>
                  <a:lnTo>
                    <a:pt x="1812" y="1788"/>
                  </a:lnTo>
                  <a:lnTo>
                    <a:pt x="1806" y="1776"/>
                  </a:lnTo>
                  <a:lnTo>
                    <a:pt x="1800" y="1764"/>
                  </a:lnTo>
                  <a:lnTo>
                    <a:pt x="1794" y="1758"/>
                  </a:lnTo>
                  <a:lnTo>
                    <a:pt x="1782" y="1740"/>
                  </a:lnTo>
                  <a:lnTo>
                    <a:pt x="1776" y="1728"/>
                  </a:lnTo>
                  <a:lnTo>
                    <a:pt x="1776" y="1722"/>
                  </a:lnTo>
                  <a:lnTo>
                    <a:pt x="1770" y="1722"/>
                  </a:lnTo>
                  <a:lnTo>
                    <a:pt x="1770" y="1716"/>
                  </a:lnTo>
                  <a:lnTo>
                    <a:pt x="1764" y="1716"/>
                  </a:lnTo>
                  <a:lnTo>
                    <a:pt x="1758" y="1710"/>
                  </a:lnTo>
                  <a:lnTo>
                    <a:pt x="1752" y="1704"/>
                  </a:lnTo>
                  <a:lnTo>
                    <a:pt x="1746" y="1704"/>
                  </a:lnTo>
                  <a:lnTo>
                    <a:pt x="1740" y="1704"/>
                  </a:lnTo>
                  <a:lnTo>
                    <a:pt x="1734" y="1704"/>
                  </a:lnTo>
                  <a:lnTo>
                    <a:pt x="1734" y="1698"/>
                  </a:lnTo>
                  <a:lnTo>
                    <a:pt x="1728" y="1692"/>
                  </a:lnTo>
                  <a:lnTo>
                    <a:pt x="1722" y="1686"/>
                  </a:lnTo>
                  <a:lnTo>
                    <a:pt x="1716" y="1686"/>
                  </a:lnTo>
                  <a:lnTo>
                    <a:pt x="1698" y="1686"/>
                  </a:lnTo>
                  <a:lnTo>
                    <a:pt x="1692" y="1692"/>
                  </a:lnTo>
                  <a:lnTo>
                    <a:pt x="1680" y="1692"/>
                  </a:lnTo>
                  <a:lnTo>
                    <a:pt x="1668" y="1692"/>
                  </a:lnTo>
                  <a:lnTo>
                    <a:pt x="1662" y="1692"/>
                  </a:lnTo>
                  <a:lnTo>
                    <a:pt x="1656" y="1692"/>
                  </a:lnTo>
                  <a:lnTo>
                    <a:pt x="1650" y="1698"/>
                  </a:lnTo>
                  <a:lnTo>
                    <a:pt x="1644" y="1698"/>
                  </a:lnTo>
                  <a:lnTo>
                    <a:pt x="1638" y="1698"/>
                  </a:lnTo>
                  <a:lnTo>
                    <a:pt x="1632" y="1698"/>
                  </a:lnTo>
                  <a:lnTo>
                    <a:pt x="1632" y="1692"/>
                  </a:lnTo>
                  <a:lnTo>
                    <a:pt x="1620" y="1680"/>
                  </a:lnTo>
                  <a:lnTo>
                    <a:pt x="1614" y="1680"/>
                  </a:lnTo>
                  <a:lnTo>
                    <a:pt x="1608" y="1680"/>
                  </a:lnTo>
                  <a:lnTo>
                    <a:pt x="1602" y="1680"/>
                  </a:lnTo>
                  <a:lnTo>
                    <a:pt x="1596" y="1674"/>
                  </a:lnTo>
                  <a:lnTo>
                    <a:pt x="1584" y="1674"/>
                  </a:lnTo>
                  <a:lnTo>
                    <a:pt x="1572" y="1674"/>
                  </a:lnTo>
                  <a:lnTo>
                    <a:pt x="1560" y="1674"/>
                  </a:lnTo>
                  <a:lnTo>
                    <a:pt x="1542" y="1680"/>
                  </a:lnTo>
                  <a:lnTo>
                    <a:pt x="1530" y="1680"/>
                  </a:lnTo>
                  <a:lnTo>
                    <a:pt x="1530" y="1674"/>
                  </a:lnTo>
                  <a:lnTo>
                    <a:pt x="1524" y="1674"/>
                  </a:lnTo>
                  <a:lnTo>
                    <a:pt x="1518" y="1674"/>
                  </a:lnTo>
                  <a:lnTo>
                    <a:pt x="1512" y="1674"/>
                  </a:lnTo>
                  <a:lnTo>
                    <a:pt x="1506" y="1674"/>
                  </a:lnTo>
                  <a:lnTo>
                    <a:pt x="1500" y="1680"/>
                  </a:lnTo>
                  <a:lnTo>
                    <a:pt x="1488" y="1680"/>
                  </a:lnTo>
                  <a:lnTo>
                    <a:pt x="1482" y="1674"/>
                  </a:lnTo>
                  <a:lnTo>
                    <a:pt x="1476" y="1674"/>
                  </a:lnTo>
                  <a:lnTo>
                    <a:pt x="1464" y="1674"/>
                  </a:lnTo>
                  <a:lnTo>
                    <a:pt x="1452" y="1680"/>
                  </a:lnTo>
                  <a:lnTo>
                    <a:pt x="1434" y="1680"/>
                  </a:lnTo>
                  <a:lnTo>
                    <a:pt x="1422" y="1680"/>
                  </a:lnTo>
                  <a:lnTo>
                    <a:pt x="1416" y="1680"/>
                  </a:lnTo>
                  <a:lnTo>
                    <a:pt x="1404" y="1674"/>
                  </a:lnTo>
                  <a:lnTo>
                    <a:pt x="1398" y="1674"/>
                  </a:lnTo>
                  <a:lnTo>
                    <a:pt x="1392" y="1662"/>
                  </a:lnTo>
                  <a:lnTo>
                    <a:pt x="1380" y="1644"/>
                  </a:lnTo>
                  <a:lnTo>
                    <a:pt x="1374" y="1632"/>
                  </a:lnTo>
                  <a:lnTo>
                    <a:pt x="1362" y="1626"/>
                  </a:lnTo>
                  <a:lnTo>
                    <a:pt x="1356" y="1620"/>
                  </a:lnTo>
                  <a:lnTo>
                    <a:pt x="1350" y="1626"/>
                  </a:lnTo>
                  <a:lnTo>
                    <a:pt x="1338" y="1626"/>
                  </a:lnTo>
                  <a:lnTo>
                    <a:pt x="1326" y="1626"/>
                  </a:lnTo>
                  <a:lnTo>
                    <a:pt x="1314" y="1620"/>
                  </a:lnTo>
                  <a:lnTo>
                    <a:pt x="1308" y="1614"/>
                  </a:lnTo>
                  <a:lnTo>
                    <a:pt x="1302" y="1608"/>
                  </a:lnTo>
                  <a:lnTo>
                    <a:pt x="1296" y="1602"/>
                  </a:lnTo>
                  <a:lnTo>
                    <a:pt x="1290" y="1602"/>
                  </a:lnTo>
                  <a:lnTo>
                    <a:pt x="1290" y="1596"/>
                  </a:lnTo>
                  <a:lnTo>
                    <a:pt x="1284" y="1590"/>
                  </a:lnTo>
                  <a:lnTo>
                    <a:pt x="1272" y="1584"/>
                  </a:lnTo>
                  <a:lnTo>
                    <a:pt x="1254" y="1572"/>
                  </a:lnTo>
                  <a:lnTo>
                    <a:pt x="1236" y="1554"/>
                  </a:lnTo>
                  <a:lnTo>
                    <a:pt x="1230" y="1554"/>
                  </a:lnTo>
                  <a:lnTo>
                    <a:pt x="1224" y="1554"/>
                  </a:lnTo>
                  <a:lnTo>
                    <a:pt x="1212" y="1554"/>
                  </a:lnTo>
                  <a:lnTo>
                    <a:pt x="1194" y="1542"/>
                  </a:lnTo>
                  <a:lnTo>
                    <a:pt x="1188" y="1536"/>
                  </a:lnTo>
                  <a:lnTo>
                    <a:pt x="1182" y="1530"/>
                  </a:lnTo>
                  <a:lnTo>
                    <a:pt x="1176" y="1530"/>
                  </a:lnTo>
                  <a:lnTo>
                    <a:pt x="1170" y="1530"/>
                  </a:lnTo>
                  <a:lnTo>
                    <a:pt x="1158" y="1524"/>
                  </a:lnTo>
                  <a:lnTo>
                    <a:pt x="1152" y="1524"/>
                  </a:lnTo>
                  <a:lnTo>
                    <a:pt x="1140" y="1518"/>
                  </a:lnTo>
                  <a:lnTo>
                    <a:pt x="1128" y="1518"/>
                  </a:lnTo>
                  <a:lnTo>
                    <a:pt x="1122" y="1518"/>
                  </a:lnTo>
                  <a:lnTo>
                    <a:pt x="1116" y="1518"/>
                  </a:lnTo>
                  <a:lnTo>
                    <a:pt x="1104" y="1518"/>
                  </a:lnTo>
                  <a:lnTo>
                    <a:pt x="1092" y="1518"/>
                  </a:lnTo>
                  <a:lnTo>
                    <a:pt x="1080" y="1518"/>
                  </a:lnTo>
                  <a:lnTo>
                    <a:pt x="1068" y="1518"/>
                  </a:lnTo>
                  <a:lnTo>
                    <a:pt x="1062" y="1518"/>
                  </a:lnTo>
                  <a:lnTo>
                    <a:pt x="1056" y="1518"/>
                  </a:lnTo>
                  <a:lnTo>
                    <a:pt x="1050" y="1512"/>
                  </a:lnTo>
                  <a:lnTo>
                    <a:pt x="1044" y="1512"/>
                  </a:lnTo>
                  <a:lnTo>
                    <a:pt x="1038" y="1512"/>
                  </a:lnTo>
                  <a:lnTo>
                    <a:pt x="1032" y="1506"/>
                  </a:lnTo>
                  <a:lnTo>
                    <a:pt x="1026" y="1500"/>
                  </a:lnTo>
                  <a:lnTo>
                    <a:pt x="1026" y="1494"/>
                  </a:lnTo>
                  <a:lnTo>
                    <a:pt x="1020" y="1476"/>
                  </a:lnTo>
                  <a:lnTo>
                    <a:pt x="1008" y="1464"/>
                  </a:lnTo>
                  <a:lnTo>
                    <a:pt x="1008" y="1458"/>
                  </a:lnTo>
                  <a:lnTo>
                    <a:pt x="1002" y="1446"/>
                  </a:lnTo>
                  <a:lnTo>
                    <a:pt x="996" y="1446"/>
                  </a:lnTo>
                  <a:lnTo>
                    <a:pt x="990" y="1440"/>
                  </a:lnTo>
                  <a:lnTo>
                    <a:pt x="984" y="1434"/>
                  </a:lnTo>
                  <a:lnTo>
                    <a:pt x="978" y="1434"/>
                  </a:lnTo>
                  <a:lnTo>
                    <a:pt x="972" y="1434"/>
                  </a:lnTo>
                  <a:lnTo>
                    <a:pt x="966" y="1428"/>
                  </a:lnTo>
                  <a:lnTo>
                    <a:pt x="954" y="1422"/>
                  </a:lnTo>
                  <a:lnTo>
                    <a:pt x="942" y="1416"/>
                  </a:lnTo>
                  <a:lnTo>
                    <a:pt x="924" y="1398"/>
                  </a:lnTo>
                  <a:lnTo>
                    <a:pt x="912" y="1386"/>
                  </a:lnTo>
                  <a:lnTo>
                    <a:pt x="900" y="1386"/>
                  </a:lnTo>
                  <a:lnTo>
                    <a:pt x="894" y="1386"/>
                  </a:lnTo>
                  <a:lnTo>
                    <a:pt x="882" y="1392"/>
                  </a:lnTo>
                  <a:lnTo>
                    <a:pt x="876" y="1392"/>
                  </a:lnTo>
                  <a:lnTo>
                    <a:pt x="864" y="1398"/>
                  </a:lnTo>
                  <a:lnTo>
                    <a:pt x="864" y="1404"/>
                  </a:lnTo>
                  <a:lnTo>
                    <a:pt x="858" y="1410"/>
                  </a:lnTo>
                  <a:lnTo>
                    <a:pt x="852" y="1410"/>
                  </a:lnTo>
                  <a:lnTo>
                    <a:pt x="846" y="1410"/>
                  </a:lnTo>
                  <a:lnTo>
                    <a:pt x="834" y="1410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10" y="1428"/>
                  </a:lnTo>
                  <a:lnTo>
                    <a:pt x="798" y="1428"/>
                  </a:lnTo>
                  <a:lnTo>
                    <a:pt x="792" y="1428"/>
                  </a:lnTo>
                  <a:lnTo>
                    <a:pt x="780" y="1434"/>
                  </a:lnTo>
                  <a:lnTo>
                    <a:pt x="774" y="1428"/>
                  </a:lnTo>
                  <a:lnTo>
                    <a:pt x="762" y="1428"/>
                  </a:lnTo>
                  <a:lnTo>
                    <a:pt x="756" y="1422"/>
                  </a:lnTo>
                  <a:lnTo>
                    <a:pt x="750" y="1416"/>
                  </a:lnTo>
                  <a:lnTo>
                    <a:pt x="744" y="1410"/>
                  </a:lnTo>
                  <a:lnTo>
                    <a:pt x="744" y="1398"/>
                  </a:lnTo>
                  <a:lnTo>
                    <a:pt x="744" y="1386"/>
                  </a:lnTo>
                  <a:lnTo>
                    <a:pt x="750" y="1380"/>
                  </a:lnTo>
                  <a:lnTo>
                    <a:pt x="750" y="1374"/>
                  </a:lnTo>
                  <a:lnTo>
                    <a:pt x="750" y="1368"/>
                  </a:lnTo>
                  <a:lnTo>
                    <a:pt x="756" y="1362"/>
                  </a:lnTo>
                  <a:lnTo>
                    <a:pt x="750" y="1350"/>
                  </a:lnTo>
                  <a:lnTo>
                    <a:pt x="744" y="1344"/>
                  </a:lnTo>
                  <a:lnTo>
                    <a:pt x="738" y="1338"/>
                  </a:lnTo>
                  <a:lnTo>
                    <a:pt x="726" y="1338"/>
                  </a:lnTo>
                  <a:lnTo>
                    <a:pt x="720" y="1338"/>
                  </a:lnTo>
                  <a:lnTo>
                    <a:pt x="714" y="1338"/>
                  </a:lnTo>
                  <a:lnTo>
                    <a:pt x="708" y="1332"/>
                  </a:lnTo>
                  <a:lnTo>
                    <a:pt x="702" y="1332"/>
                  </a:lnTo>
                  <a:lnTo>
                    <a:pt x="696" y="1326"/>
                  </a:lnTo>
                  <a:lnTo>
                    <a:pt x="684" y="1326"/>
                  </a:lnTo>
                  <a:lnTo>
                    <a:pt x="678" y="1326"/>
                  </a:lnTo>
                  <a:lnTo>
                    <a:pt x="672" y="1314"/>
                  </a:lnTo>
                  <a:lnTo>
                    <a:pt x="666" y="1308"/>
                  </a:lnTo>
                  <a:lnTo>
                    <a:pt x="654" y="1296"/>
                  </a:lnTo>
                  <a:lnTo>
                    <a:pt x="654" y="1290"/>
                  </a:lnTo>
                  <a:lnTo>
                    <a:pt x="630" y="1284"/>
                  </a:lnTo>
                  <a:lnTo>
                    <a:pt x="630" y="1278"/>
                  </a:lnTo>
                  <a:lnTo>
                    <a:pt x="624" y="1278"/>
                  </a:lnTo>
                  <a:lnTo>
                    <a:pt x="618" y="1266"/>
                  </a:lnTo>
                  <a:lnTo>
                    <a:pt x="612" y="1266"/>
                  </a:lnTo>
                  <a:lnTo>
                    <a:pt x="606" y="1266"/>
                  </a:lnTo>
                  <a:lnTo>
                    <a:pt x="606" y="1260"/>
                  </a:lnTo>
                  <a:lnTo>
                    <a:pt x="594" y="1248"/>
                  </a:lnTo>
                  <a:lnTo>
                    <a:pt x="582" y="1248"/>
                  </a:lnTo>
                  <a:lnTo>
                    <a:pt x="576" y="1242"/>
                  </a:lnTo>
                  <a:lnTo>
                    <a:pt x="570" y="1236"/>
                  </a:lnTo>
                  <a:lnTo>
                    <a:pt x="504" y="1164"/>
                  </a:lnTo>
                  <a:lnTo>
                    <a:pt x="450" y="1110"/>
                  </a:lnTo>
                  <a:lnTo>
                    <a:pt x="426" y="1092"/>
                  </a:lnTo>
                  <a:lnTo>
                    <a:pt x="426" y="1074"/>
                  </a:lnTo>
                  <a:lnTo>
                    <a:pt x="420" y="1062"/>
                  </a:lnTo>
                  <a:lnTo>
                    <a:pt x="396" y="1056"/>
                  </a:lnTo>
                  <a:lnTo>
                    <a:pt x="384" y="1032"/>
                  </a:lnTo>
                  <a:lnTo>
                    <a:pt x="372" y="1020"/>
                  </a:lnTo>
                  <a:lnTo>
                    <a:pt x="360" y="984"/>
                  </a:lnTo>
                  <a:lnTo>
                    <a:pt x="348" y="978"/>
                  </a:lnTo>
                  <a:lnTo>
                    <a:pt x="342" y="972"/>
                  </a:lnTo>
                  <a:lnTo>
                    <a:pt x="348" y="960"/>
                  </a:lnTo>
                  <a:lnTo>
                    <a:pt x="342" y="954"/>
                  </a:lnTo>
                  <a:lnTo>
                    <a:pt x="336" y="954"/>
                  </a:lnTo>
                  <a:lnTo>
                    <a:pt x="330" y="954"/>
                  </a:lnTo>
                  <a:lnTo>
                    <a:pt x="324" y="972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0" y="966"/>
                  </a:lnTo>
                  <a:lnTo>
                    <a:pt x="294" y="966"/>
                  </a:lnTo>
                  <a:lnTo>
                    <a:pt x="288" y="972"/>
                  </a:lnTo>
                  <a:lnTo>
                    <a:pt x="288" y="966"/>
                  </a:lnTo>
                  <a:lnTo>
                    <a:pt x="282" y="948"/>
                  </a:lnTo>
                  <a:lnTo>
                    <a:pt x="282" y="942"/>
                  </a:lnTo>
                  <a:lnTo>
                    <a:pt x="276" y="942"/>
                  </a:lnTo>
                  <a:lnTo>
                    <a:pt x="276" y="936"/>
                  </a:lnTo>
                  <a:lnTo>
                    <a:pt x="270" y="942"/>
                  </a:lnTo>
                  <a:lnTo>
                    <a:pt x="264" y="948"/>
                  </a:lnTo>
                  <a:lnTo>
                    <a:pt x="264" y="942"/>
                  </a:lnTo>
                  <a:lnTo>
                    <a:pt x="258" y="942"/>
                  </a:lnTo>
                  <a:lnTo>
                    <a:pt x="252" y="948"/>
                  </a:lnTo>
                  <a:lnTo>
                    <a:pt x="252" y="942"/>
                  </a:lnTo>
                  <a:lnTo>
                    <a:pt x="246" y="936"/>
                  </a:lnTo>
                  <a:lnTo>
                    <a:pt x="240" y="942"/>
                  </a:lnTo>
                  <a:lnTo>
                    <a:pt x="234" y="936"/>
                  </a:lnTo>
                  <a:lnTo>
                    <a:pt x="228" y="936"/>
                  </a:lnTo>
                  <a:lnTo>
                    <a:pt x="222" y="936"/>
                  </a:lnTo>
                  <a:lnTo>
                    <a:pt x="222" y="930"/>
                  </a:lnTo>
                  <a:lnTo>
                    <a:pt x="222" y="924"/>
                  </a:lnTo>
                  <a:lnTo>
                    <a:pt x="228" y="924"/>
                  </a:lnTo>
                  <a:lnTo>
                    <a:pt x="234" y="924"/>
                  </a:lnTo>
                  <a:lnTo>
                    <a:pt x="240" y="924"/>
                  </a:lnTo>
                  <a:lnTo>
                    <a:pt x="240" y="918"/>
                  </a:lnTo>
                  <a:lnTo>
                    <a:pt x="246" y="918"/>
                  </a:lnTo>
                  <a:lnTo>
                    <a:pt x="246" y="912"/>
                  </a:lnTo>
                  <a:lnTo>
                    <a:pt x="240" y="906"/>
                  </a:lnTo>
                  <a:lnTo>
                    <a:pt x="234" y="906"/>
                  </a:lnTo>
                  <a:lnTo>
                    <a:pt x="228" y="906"/>
                  </a:lnTo>
                  <a:lnTo>
                    <a:pt x="228" y="912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8" y="894"/>
                  </a:lnTo>
                  <a:lnTo>
                    <a:pt x="234" y="894"/>
                  </a:lnTo>
                  <a:lnTo>
                    <a:pt x="228" y="888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198" y="888"/>
                  </a:lnTo>
                  <a:lnTo>
                    <a:pt x="192" y="882"/>
                  </a:lnTo>
                  <a:lnTo>
                    <a:pt x="186" y="882"/>
                  </a:lnTo>
                  <a:lnTo>
                    <a:pt x="186" y="876"/>
                  </a:lnTo>
                  <a:lnTo>
                    <a:pt x="192" y="876"/>
                  </a:lnTo>
                  <a:lnTo>
                    <a:pt x="192" y="870"/>
                  </a:lnTo>
                  <a:lnTo>
                    <a:pt x="198" y="870"/>
                  </a:lnTo>
                  <a:lnTo>
                    <a:pt x="198" y="864"/>
                  </a:lnTo>
                  <a:lnTo>
                    <a:pt x="198" y="858"/>
                  </a:lnTo>
                  <a:lnTo>
                    <a:pt x="180" y="852"/>
                  </a:lnTo>
                  <a:lnTo>
                    <a:pt x="174" y="840"/>
                  </a:lnTo>
                  <a:lnTo>
                    <a:pt x="162" y="846"/>
                  </a:lnTo>
                  <a:lnTo>
                    <a:pt x="156" y="846"/>
                  </a:lnTo>
                  <a:lnTo>
                    <a:pt x="150" y="846"/>
                  </a:lnTo>
                  <a:lnTo>
                    <a:pt x="150" y="840"/>
                  </a:lnTo>
                  <a:lnTo>
                    <a:pt x="138" y="834"/>
                  </a:lnTo>
                  <a:lnTo>
                    <a:pt x="132" y="834"/>
                  </a:lnTo>
                  <a:lnTo>
                    <a:pt x="132" y="840"/>
                  </a:lnTo>
                  <a:lnTo>
                    <a:pt x="126" y="840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58"/>
                  </a:lnTo>
                  <a:lnTo>
                    <a:pt x="120" y="846"/>
                  </a:lnTo>
                  <a:lnTo>
                    <a:pt x="114" y="846"/>
                  </a:lnTo>
                  <a:lnTo>
                    <a:pt x="108" y="840"/>
                  </a:lnTo>
                  <a:lnTo>
                    <a:pt x="102" y="834"/>
                  </a:lnTo>
                  <a:lnTo>
                    <a:pt x="102" y="822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78" y="804"/>
                  </a:lnTo>
                  <a:lnTo>
                    <a:pt x="78" y="798"/>
                  </a:lnTo>
                  <a:lnTo>
                    <a:pt x="78" y="792"/>
                  </a:lnTo>
                  <a:lnTo>
                    <a:pt x="78" y="786"/>
                  </a:lnTo>
                  <a:lnTo>
                    <a:pt x="78" y="780"/>
                  </a:lnTo>
                  <a:lnTo>
                    <a:pt x="72" y="774"/>
                  </a:lnTo>
                  <a:lnTo>
                    <a:pt x="66" y="774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60" y="762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6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2" y="666"/>
                  </a:lnTo>
                  <a:lnTo>
                    <a:pt x="18" y="648"/>
                  </a:lnTo>
                  <a:lnTo>
                    <a:pt x="24" y="636"/>
                  </a:lnTo>
                  <a:lnTo>
                    <a:pt x="30" y="630"/>
                  </a:lnTo>
                  <a:lnTo>
                    <a:pt x="30" y="624"/>
                  </a:lnTo>
                  <a:lnTo>
                    <a:pt x="30" y="612"/>
                  </a:lnTo>
                  <a:lnTo>
                    <a:pt x="30" y="606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66" y="582"/>
                  </a:lnTo>
                  <a:lnTo>
                    <a:pt x="72" y="588"/>
                  </a:lnTo>
                  <a:lnTo>
                    <a:pt x="84" y="594"/>
                  </a:lnTo>
                  <a:lnTo>
                    <a:pt x="90" y="600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14" y="612"/>
                  </a:lnTo>
                  <a:lnTo>
                    <a:pt x="120" y="612"/>
                  </a:lnTo>
                  <a:lnTo>
                    <a:pt x="126" y="618"/>
                  </a:lnTo>
                  <a:lnTo>
                    <a:pt x="138" y="594"/>
                  </a:lnTo>
                  <a:lnTo>
                    <a:pt x="138" y="582"/>
                  </a:lnTo>
                  <a:lnTo>
                    <a:pt x="138" y="570"/>
                  </a:lnTo>
                  <a:lnTo>
                    <a:pt x="138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50" y="528"/>
                  </a:lnTo>
                  <a:lnTo>
                    <a:pt x="156" y="510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62"/>
                  </a:lnTo>
                  <a:lnTo>
                    <a:pt x="168" y="450"/>
                  </a:lnTo>
                  <a:lnTo>
                    <a:pt x="168" y="444"/>
                  </a:lnTo>
                  <a:lnTo>
                    <a:pt x="162" y="432"/>
                  </a:lnTo>
                  <a:lnTo>
                    <a:pt x="162" y="426"/>
                  </a:lnTo>
                  <a:lnTo>
                    <a:pt x="156" y="420"/>
                  </a:lnTo>
                  <a:lnTo>
                    <a:pt x="144" y="414"/>
                  </a:lnTo>
                  <a:lnTo>
                    <a:pt x="132" y="402"/>
                  </a:lnTo>
                  <a:lnTo>
                    <a:pt x="126" y="390"/>
                  </a:lnTo>
                  <a:lnTo>
                    <a:pt x="120" y="384"/>
                  </a:lnTo>
                  <a:lnTo>
                    <a:pt x="120" y="372"/>
                  </a:lnTo>
                  <a:lnTo>
                    <a:pt x="114" y="360"/>
                  </a:lnTo>
                  <a:lnTo>
                    <a:pt x="108" y="360"/>
                  </a:lnTo>
                  <a:lnTo>
                    <a:pt x="108" y="354"/>
                  </a:lnTo>
                  <a:lnTo>
                    <a:pt x="102" y="348"/>
                  </a:lnTo>
                  <a:lnTo>
                    <a:pt x="102" y="342"/>
                  </a:lnTo>
                  <a:lnTo>
                    <a:pt x="108" y="330"/>
                  </a:lnTo>
                  <a:lnTo>
                    <a:pt x="114" y="312"/>
                  </a:lnTo>
                  <a:lnTo>
                    <a:pt x="114" y="300"/>
                  </a:lnTo>
                  <a:lnTo>
                    <a:pt x="120" y="288"/>
                  </a:lnTo>
                  <a:lnTo>
                    <a:pt x="120" y="282"/>
                  </a:lnTo>
                  <a:lnTo>
                    <a:pt x="114" y="270"/>
                  </a:lnTo>
                  <a:lnTo>
                    <a:pt x="114" y="258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84" y="222"/>
                  </a:lnTo>
                  <a:lnTo>
                    <a:pt x="84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84" y="186"/>
                  </a:lnTo>
                  <a:lnTo>
                    <a:pt x="84" y="180"/>
                  </a:lnTo>
                  <a:lnTo>
                    <a:pt x="108" y="174"/>
                  </a:lnTo>
                  <a:lnTo>
                    <a:pt x="132" y="186"/>
                  </a:lnTo>
                  <a:lnTo>
                    <a:pt x="138" y="192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56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74" y="204"/>
                  </a:lnTo>
                  <a:lnTo>
                    <a:pt x="180" y="216"/>
                  </a:lnTo>
                  <a:lnTo>
                    <a:pt x="186" y="228"/>
                  </a:lnTo>
                  <a:lnTo>
                    <a:pt x="192" y="234"/>
                  </a:lnTo>
                  <a:lnTo>
                    <a:pt x="198" y="234"/>
                  </a:lnTo>
                  <a:lnTo>
                    <a:pt x="204" y="240"/>
                  </a:lnTo>
                  <a:lnTo>
                    <a:pt x="210" y="240"/>
                  </a:lnTo>
                  <a:lnTo>
                    <a:pt x="216" y="240"/>
                  </a:lnTo>
                  <a:lnTo>
                    <a:pt x="222" y="240"/>
                  </a:lnTo>
                  <a:lnTo>
                    <a:pt x="228" y="246"/>
                  </a:lnTo>
                  <a:lnTo>
                    <a:pt x="234" y="246"/>
                  </a:lnTo>
                  <a:lnTo>
                    <a:pt x="240" y="246"/>
                  </a:lnTo>
                  <a:lnTo>
                    <a:pt x="252" y="252"/>
                  </a:lnTo>
                  <a:lnTo>
                    <a:pt x="330" y="246"/>
                  </a:lnTo>
                  <a:lnTo>
                    <a:pt x="360" y="228"/>
                  </a:lnTo>
                  <a:lnTo>
                    <a:pt x="396" y="228"/>
                  </a:lnTo>
                  <a:lnTo>
                    <a:pt x="402" y="240"/>
                  </a:lnTo>
                  <a:lnTo>
                    <a:pt x="432" y="240"/>
                  </a:lnTo>
                  <a:lnTo>
                    <a:pt x="450" y="258"/>
                  </a:lnTo>
                  <a:lnTo>
                    <a:pt x="468" y="258"/>
                  </a:lnTo>
                  <a:lnTo>
                    <a:pt x="474" y="294"/>
                  </a:lnTo>
                  <a:lnTo>
                    <a:pt x="558" y="318"/>
                  </a:lnTo>
                  <a:lnTo>
                    <a:pt x="588" y="318"/>
                  </a:lnTo>
                  <a:lnTo>
                    <a:pt x="588" y="312"/>
                  </a:lnTo>
                  <a:lnTo>
                    <a:pt x="594" y="306"/>
                  </a:lnTo>
                  <a:lnTo>
                    <a:pt x="600" y="306"/>
                  </a:lnTo>
                  <a:lnTo>
                    <a:pt x="612" y="300"/>
                  </a:lnTo>
                  <a:lnTo>
                    <a:pt x="618" y="300"/>
                  </a:lnTo>
                  <a:lnTo>
                    <a:pt x="630" y="300"/>
                  </a:lnTo>
                  <a:lnTo>
                    <a:pt x="642" y="306"/>
                  </a:lnTo>
                  <a:lnTo>
                    <a:pt x="660" y="306"/>
                  </a:lnTo>
                  <a:lnTo>
                    <a:pt x="666" y="306"/>
                  </a:lnTo>
                  <a:lnTo>
                    <a:pt x="672" y="306"/>
                  </a:lnTo>
                  <a:lnTo>
                    <a:pt x="684" y="300"/>
                  </a:lnTo>
                  <a:lnTo>
                    <a:pt x="696" y="294"/>
                  </a:lnTo>
                  <a:lnTo>
                    <a:pt x="702" y="288"/>
                  </a:lnTo>
                  <a:lnTo>
                    <a:pt x="714" y="282"/>
                  </a:lnTo>
                  <a:lnTo>
                    <a:pt x="714" y="288"/>
                  </a:lnTo>
                  <a:lnTo>
                    <a:pt x="726" y="300"/>
                  </a:lnTo>
                  <a:lnTo>
                    <a:pt x="732" y="306"/>
                  </a:lnTo>
                  <a:lnTo>
                    <a:pt x="732" y="318"/>
                  </a:lnTo>
                  <a:lnTo>
                    <a:pt x="732" y="330"/>
                  </a:lnTo>
                  <a:lnTo>
                    <a:pt x="726" y="342"/>
                  </a:lnTo>
                  <a:lnTo>
                    <a:pt x="720" y="354"/>
                  </a:lnTo>
                  <a:lnTo>
                    <a:pt x="720" y="360"/>
                  </a:lnTo>
                  <a:lnTo>
                    <a:pt x="714" y="372"/>
                  </a:lnTo>
                  <a:lnTo>
                    <a:pt x="714" y="378"/>
                  </a:lnTo>
                  <a:lnTo>
                    <a:pt x="714" y="408"/>
                  </a:lnTo>
                  <a:lnTo>
                    <a:pt x="708" y="420"/>
                  </a:lnTo>
                  <a:lnTo>
                    <a:pt x="714" y="432"/>
                  </a:lnTo>
                  <a:lnTo>
                    <a:pt x="708" y="450"/>
                  </a:lnTo>
                  <a:lnTo>
                    <a:pt x="708" y="468"/>
                  </a:lnTo>
                  <a:lnTo>
                    <a:pt x="696" y="480"/>
                  </a:lnTo>
                  <a:lnTo>
                    <a:pt x="684" y="486"/>
                  </a:lnTo>
                  <a:lnTo>
                    <a:pt x="672" y="492"/>
                  </a:lnTo>
                  <a:lnTo>
                    <a:pt x="660" y="498"/>
                  </a:lnTo>
                  <a:lnTo>
                    <a:pt x="654" y="510"/>
                  </a:lnTo>
                  <a:lnTo>
                    <a:pt x="648" y="516"/>
                  </a:lnTo>
                  <a:lnTo>
                    <a:pt x="642" y="522"/>
                  </a:lnTo>
                  <a:lnTo>
                    <a:pt x="630" y="522"/>
                  </a:lnTo>
                  <a:lnTo>
                    <a:pt x="624" y="528"/>
                  </a:lnTo>
                  <a:lnTo>
                    <a:pt x="618" y="540"/>
                  </a:lnTo>
                  <a:lnTo>
                    <a:pt x="618" y="558"/>
                  </a:lnTo>
                  <a:lnTo>
                    <a:pt x="612" y="576"/>
                  </a:lnTo>
                  <a:lnTo>
                    <a:pt x="612" y="684"/>
                  </a:lnTo>
                  <a:lnTo>
                    <a:pt x="618" y="696"/>
                  </a:lnTo>
                  <a:lnTo>
                    <a:pt x="636" y="696"/>
                  </a:lnTo>
                  <a:lnTo>
                    <a:pt x="636" y="720"/>
                  </a:lnTo>
                  <a:lnTo>
                    <a:pt x="636" y="732"/>
                  </a:lnTo>
                  <a:lnTo>
                    <a:pt x="618" y="750"/>
                  </a:lnTo>
                  <a:lnTo>
                    <a:pt x="606" y="762"/>
                  </a:lnTo>
                  <a:lnTo>
                    <a:pt x="600" y="774"/>
                  </a:lnTo>
                  <a:lnTo>
                    <a:pt x="594" y="798"/>
                  </a:lnTo>
                  <a:lnTo>
                    <a:pt x="606" y="798"/>
                  </a:lnTo>
                  <a:lnTo>
                    <a:pt x="660" y="792"/>
                  </a:lnTo>
                  <a:lnTo>
                    <a:pt x="696" y="798"/>
                  </a:lnTo>
                  <a:lnTo>
                    <a:pt x="720" y="798"/>
                  </a:lnTo>
                  <a:lnTo>
                    <a:pt x="720" y="786"/>
                  </a:lnTo>
                  <a:lnTo>
                    <a:pt x="720" y="774"/>
                  </a:lnTo>
                  <a:lnTo>
                    <a:pt x="702" y="762"/>
                  </a:lnTo>
                  <a:lnTo>
                    <a:pt x="702" y="750"/>
                  </a:lnTo>
                  <a:lnTo>
                    <a:pt x="702" y="726"/>
                  </a:lnTo>
                  <a:lnTo>
                    <a:pt x="714" y="714"/>
                  </a:lnTo>
                  <a:lnTo>
                    <a:pt x="720" y="702"/>
                  </a:lnTo>
                  <a:lnTo>
                    <a:pt x="720" y="696"/>
                  </a:lnTo>
                  <a:lnTo>
                    <a:pt x="744" y="690"/>
                  </a:lnTo>
                  <a:lnTo>
                    <a:pt x="744" y="696"/>
                  </a:lnTo>
                  <a:lnTo>
                    <a:pt x="756" y="696"/>
                  </a:lnTo>
                  <a:lnTo>
                    <a:pt x="762" y="690"/>
                  </a:lnTo>
                  <a:lnTo>
                    <a:pt x="768" y="690"/>
                  </a:lnTo>
                  <a:lnTo>
                    <a:pt x="774" y="696"/>
                  </a:lnTo>
                  <a:lnTo>
                    <a:pt x="780" y="696"/>
                  </a:lnTo>
                  <a:lnTo>
                    <a:pt x="786" y="696"/>
                  </a:lnTo>
                  <a:lnTo>
                    <a:pt x="804" y="684"/>
                  </a:lnTo>
                  <a:lnTo>
                    <a:pt x="810" y="684"/>
                  </a:lnTo>
                  <a:lnTo>
                    <a:pt x="810" y="654"/>
                  </a:lnTo>
                  <a:lnTo>
                    <a:pt x="816" y="588"/>
                  </a:lnTo>
                  <a:lnTo>
                    <a:pt x="804" y="582"/>
                  </a:lnTo>
                  <a:lnTo>
                    <a:pt x="798" y="552"/>
                  </a:lnTo>
                  <a:lnTo>
                    <a:pt x="798" y="480"/>
                  </a:lnTo>
                  <a:lnTo>
                    <a:pt x="780" y="468"/>
                  </a:lnTo>
                  <a:lnTo>
                    <a:pt x="780" y="462"/>
                  </a:lnTo>
                  <a:lnTo>
                    <a:pt x="774" y="450"/>
                  </a:lnTo>
                  <a:lnTo>
                    <a:pt x="762" y="444"/>
                  </a:lnTo>
                  <a:lnTo>
                    <a:pt x="762" y="438"/>
                  </a:lnTo>
                  <a:lnTo>
                    <a:pt x="768" y="432"/>
                  </a:lnTo>
                  <a:lnTo>
                    <a:pt x="774" y="426"/>
                  </a:lnTo>
                  <a:lnTo>
                    <a:pt x="780" y="426"/>
                  </a:lnTo>
                  <a:lnTo>
                    <a:pt x="780" y="414"/>
                  </a:lnTo>
                  <a:lnTo>
                    <a:pt x="834" y="414"/>
                  </a:lnTo>
                  <a:lnTo>
                    <a:pt x="834" y="426"/>
                  </a:lnTo>
                  <a:lnTo>
                    <a:pt x="840" y="432"/>
                  </a:lnTo>
                  <a:lnTo>
                    <a:pt x="846" y="432"/>
                  </a:lnTo>
                  <a:lnTo>
                    <a:pt x="852" y="432"/>
                  </a:lnTo>
                  <a:lnTo>
                    <a:pt x="858" y="432"/>
                  </a:lnTo>
                  <a:lnTo>
                    <a:pt x="870" y="432"/>
                  </a:lnTo>
                  <a:lnTo>
                    <a:pt x="870" y="426"/>
                  </a:lnTo>
                  <a:lnTo>
                    <a:pt x="870" y="420"/>
                  </a:lnTo>
                  <a:lnTo>
                    <a:pt x="876" y="420"/>
                  </a:lnTo>
                  <a:lnTo>
                    <a:pt x="882" y="420"/>
                  </a:lnTo>
                  <a:lnTo>
                    <a:pt x="894" y="414"/>
                  </a:lnTo>
                  <a:lnTo>
                    <a:pt x="900" y="414"/>
                  </a:lnTo>
                  <a:lnTo>
                    <a:pt x="906" y="408"/>
                  </a:lnTo>
                  <a:lnTo>
                    <a:pt x="918" y="408"/>
                  </a:lnTo>
                  <a:lnTo>
                    <a:pt x="924" y="402"/>
                  </a:lnTo>
                  <a:lnTo>
                    <a:pt x="930" y="384"/>
                  </a:lnTo>
                  <a:lnTo>
                    <a:pt x="948" y="396"/>
                  </a:lnTo>
                  <a:lnTo>
                    <a:pt x="954" y="384"/>
                  </a:lnTo>
                  <a:lnTo>
                    <a:pt x="960" y="384"/>
                  </a:lnTo>
                  <a:lnTo>
                    <a:pt x="972" y="384"/>
                  </a:lnTo>
                  <a:lnTo>
                    <a:pt x="978" y="378"/>
                  </a:lnTo>
                  <a:lnTo>
                    <a:pt x="972" y="366"/>
                  </a:lnTo>
                  <a:lnTo>
                    <a:pt x="966" y="342"/>
                  </a:lnTo>
                  <a:lnTo>
                    <a:pt x="960" y="330"/>
                  </a:lnTo>
                  <a:lnTo>
                    <a:pt x="942" y="324"/>
                  </a:lnTo>
                  <a:lnTo>
                    <a:pt x="936" y="318"/>
                  </a:lnTo>
                  <a:lnTo>
                    <a:pt x="936" y="294"/>
                  </a:lnTo>
                  <a:lnTo>
                    <a:pt x="942" y="294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282"/>
                  </a:lnTo>
                  <a:lnTo>
                    <a:pt x="954" y="276"/>
                  </a:lnTo>
                  <a:lnTo>
                    <a:pt x="960" y="276"/>
                  </a:lnTo>
                  <a:lnTo>
                    <a:pt x="966" y="276"/>
                  </a:lnTo>
                  <a:lnTo>
                    <a:pt x="960" y="258"/>
                  </a:lnTo>
                  <a:lnTo>
                    <a:pt x="954" y="240"/>
                  </a:lnTo>
                  <a:lnTo>
                    <a:pt x="948" y="204"/>
                  </a:lnTo>
                  <a:lnTo>
                    <a:pt x="954" y="204"/>
                  </a:lnTo>
                  <a:lnTo>
                    <a:pt x="960" y="198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00" y="186"/>
                  </a:lnTo>
                  <a:lnTo>
                    <a:pt x="876" y="180"/>
                  </a:lnTo>
                  <a:lnTo>
                    <a:pt x="858" y="180"/>
                  </a:lnTo>
                  <a:lnTo>
                    <a:pt x="852" y="168"/>
                  </a:lnTo>
                  <a:lnTo>
                    <a:pt x="834" y="156"/>
                  </a:lnTo>
                  <a:lnTo>
                    <a:pt x="822" y="156"/>
                  </a:lnTo>
                  <a:lnTo>
                    <a:pt x="804" y="156"/>
                  </a:lnTo>
                  <a:lnTo>
                    <a:pt x="804" y="150"/>
                  </a:lnTo>
                  <a:lnTo>
                    <a:pt x="792" y="144"/>
                  </a:lnTo>
                  <a:lnTo>
                    <a:pt x="762" y="138"/>
                  </a:lnTo>
                  <a:lnTo>
                    <a:pt x="768" y="120"/>
                  </a:lnTo>
                  <a:lnTo>
                    <a:pt x="756" y="120"/>
                  </a:lnTo>
                  <a:lnTo>
                    <a:pt x="744" y="108"/>
                  </a:lnTo>
                  <a:lnTo>
                    <a:pt x="744" y="96"/>
                  </a:lnTo>
                  <a:lnTo>
                    <a:pt x="762" y="84"/>
                  </a:lnTo>
                  <a:lnTo>
                    <a:pt x="768" y="84"/>
                  </a:lnTo>
                  <a:lnTo>
                    <a:pt x="768" y="72"/>
                  </a:lnTo>
                  <a:lnTo>
                    <a:pt x="780" y="66"/>
                  </a:lnTo>
                  <a:lnTo>
                    <a:pt x="798" y="54"/>
                  </a:lnTo>
                  <a:lnTo>
                    <a:pt x="792" y="54"/>
                  </a:lnTo>
                  <a:lnTo>
                    <a:pt x="798" y="36"/>
                  </a:lnTo>
                  <a:lnTo>
                    <a:pt x="804" y="36"/>
                  </a:lnTo>
                  <a:lnTo>
                    <a:pt x="816" y="30"/>
                  </a:lnTo>
                  <a:lnTo>
                    <a:pt x="828" y="30"/>
                  </a:lnTo>
                  <a:lnTo>
                    <a:pt x="846" y="12"/>
                  </a:lnTo>
                  <a:lnTo>
                    <a:pt x="876" y="0"/>
                  </a:lnTo>
                  <a:lnTo>
                    <a:pt x="882" y="6"/>
                  </a:lnTo>
                  <a:lnTo>
                    <a:pt x="900" y="6"/>
                  </a:lnTo>
                  <a:lnTo>
                    <a:pt x="912" y="36"/>
                  </a:lnTo>
                  <a:lnTo>
                    <a:pt x="918" y="42"/>
                  </a:lnTo>
                  <a:lnTo>
                    <a:pt x="924" y="54"/>
                  </a:lnTo>
                  <a:lnTo>
                    <a:pt x="930" y="54"/>
                  </a:lnTo>
                  <a:lnTo>
                    <a:pt x="930" y="78"/>
                  </a:lnTo>
                  <a:lnTo>
                    <a:pt x="954" y="72"/>
                  </a:lnTo>
                  <a:lnTo>
                    <a:pt x="954" y="60"/>
                  </a:lnTo>
                  <a:lnTo>
                    <a:pt x="966" y="66"/>
                  </a:lnTo>
                  <a:lnTo>
                    <a:pt x="966" y="78"/>
                  </a:lnTo>
                  <a:lnTo>
                    <a:pt x="960" y="84"/>
                  </a:lnTo>
                  <a:lnTo>
                    <a:pt x="954" y="102"/>
                  </a:lnTo>
                  <a:lnTo>
                    <a:pt x="972" y="102"/>
                  </a:lnTo>
                  <a:lnTo>
                    <a:pt x="978" y="84"/>
                  </a:lnTo>
                  <a:lnTo>
                    <a:pt x="984" y="72"/>
                  </a:lnTo>
                  <a:lnTo>
                    <a:pt x="990" y="72"/>
                  </a:lnTo>
                  <a:lnTo>
                    <a:pt x="996" y="18"/>
                  </a:lnTo>
                  <a:lnTo>
                    <a:pt x="990" y="12"/>
                  </a:lnTo>
                  <a:lnTo>
                    <a:pt x="1014" y="12"/>
                  </a:lnTo>
                  <a:lnTo>
                    <a:pt x="1026" y="12"/>
                  </a:lnTo>
                  <a:lnTo>
                    <a:pt x="1026" y="24"/>
                  </a:lnTo>
                  <a:lnTo>
                    <a:pt x="1050" y="24"/>
                  </a:lnTo>
                  <a:lnTo>
                    <a:pt x="1050" y="36"/>
                  </a:lnTo>
                  <a:lnTo>
                    <a:pt x="1062" y="66"/>
                  </a:lnTo>
                  <a:lnTo>
                    <a:pt x="1074" y="66"/>
                  </a:lnTo>
                  <a:lnTo>
                    <a:pt x="1080" y="60"/>
                  </a:lnTo>
                  <a:lnTo>
                    <a:pt x="1074" y="24"/>
                  </a:lnTo>
                  <a:lnTo>
                    <a:pt x="1086" y="18"/>
                  </a:lnTo>
                  <a:lnTo>
                    <a:pt x="1086" y="12"/>
                  </a:lnTo>
                  <a:lnTo>
                    <a:pt x="1104" y="6"/>
                  </a:lnTo>
                  <a:lnTo>
                    <a:pt x="1122" y="0"/>
                  </a:lnTo>
                  <a:lnTo>
                    <a:pt x="1134" y="6"/>
                  </a:lnTo>
                  <a:lnTo>
                    <a:pt x="1134" y="42"/>
                  </a:lnTo>
                  <a:lnTo>
                    <a:pt x="1140" y="72"/>
                  </a:lnTo>
                  <a:lnTo>
                    <a:pt x="1158" y="114"/>
                  </a:lnTo>
                  <a:lnTo>
                    <a:pt x="1170" y="114"/>
                  </a:lnTo>
                  <a:lnTo>
                    <a:pt x="1170" y="126"/>
                  </a:lnTo>
                  <a:lnTo>
                    <a:pt x="1182" y="126"/>
                  </a:lnTo>
                  <a:lnTo>
                    <a:pt x="1182" y="138"/>
                  </a:lnTo>
                  <a:lnTo>
                    <a:pt x="1194" y="144"/>
                  </a:lnTo>
                  <a:lnTo>
                    <a:pt x="1194" y="156"/>
                  </a:lnTo>
                  <a:lnTo>
                    <a:pt x="1188" y="156"/>
                  </a:lnTo>
                  <a:lnTo>
                    <a:pt x="1194" y="162"/>
                  </a:lnTo>
                  <a:lnTo>
                    <a:pt x="1194" y="168"/>
                  </a:lnTo>
                  <a:lnTo>
                    <a:pt x="1188" y="168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82" y="180"/>
                  </a:lnTo>
                  <a:lnTo>
                    <a:pt x="1188" y="186"/>
                  </a:lnTo>
                  <a:lnTo>
                    <a:pt x="1188" y="192"/>
                  </a:lnTo>
                  <a:lnTo>
                    <a:pt x="1182" y="198"/>
                  </a:lnTo>
                  <a:lnTo>
                    <a:pt x="1182" y="204"/>
                  </a:lnTo>
                  <a:lnTo>
                    <a:pt x="1182" y="210"/>
                  </a:lnTo>
                  <a:lnTo>
                    <a:pt x="1188" y="210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2"/>
                  </a:lnTo>
                  <a:lnTo>
                    <a:pt x="1194" y="264"/>
                  </a:lnTo>
                  <a:lnTo>
                    <a:pt x="1200" y="264"/>
                  </a:lnTo>
                  <a:lnTo>
                    <a:pt x="1212" y="264"/>
                  </a:lnTo>
                  <a:lnTo>
                    <a:pt x="1212" y="258"/>
                  </a:lnTo>
                  <a:lnTo>
                    <a:pt x="1224" y="258"/>
                  </a:lnTo>
                  <a:lnTo>
                    <a:pt x="1248" y="252"/>
                  </a:lnTo>
                  <a:lnTo>
                    <a:pt x="1248" y="264"/>
                  </a:lnTo>
                  <a:lnTo>
                    <a:pt x="1254" y="264"/>
                  </a:lnTo>
                  <a:lnTo>
                    <a:pt x="1254" y="270"/>
                  </a:lnTo>
                  <a:lnTo>
                    <a:pt x="1260" y="270"/>
                  </a:lnTo>
                  <a:lnTo>
                    <a:pt x="1266" y="270"/>
                  </a:lnTo>
                  <a:lnTo>
                    <a:pt x="1272" y="270"/>
                  </a:lnTo>
                  <a:lnTo>
                    <a:pt x="1272" y="264"/>
                  </a:lnTo>
                  <a:lnTo>
                    <a:pt x="1272" y="258"/>
                  </a:lnTo>
                  <a:lnTo>
                    <a:pt x="1278" y="258"/>
                  </a:lnTo>
                  <a:lnTo>
                    <a:pt x="1278" y="252"/>
                  </a:lnTo>
                  <a:lnTo>
                    <a:pt x="1290" y="252"/>
                  </a:lnTo>
                  <a:lnTo>
                    <a:pt x="1296" y="246"/>
                  </a:lnTo>
                  <a:lnTo>
                    <a:pt x="1308" y="246"/>
                  </a:lnTo>
                  <a:lnTo>
                    <a:pt x="1308" y="240"/>
                  </a:lnTo>
                  <a:lnTo>
                    <a:pt x="1320" y="240"/>
                  </a:lnTo>
                  <a:lnTo>
                    <a:pt x="1326" y="246"/>
                  </a:lnTo>
                  <a:lnTo>
                    <a:pt x="1338" y="246"/>
                  </a:lnTo>
                  <a:lnTo>
                    <a:pt x="1338" y="240"/>
                  </a:lnTo>
                  <a:lnTo>
                    <a:pt x="1350" y="240"/>
                  </a:lnTo>
                  <a:lnTo>
                    <a:pt x="1386" y="234"/>
                  </a:lnTo>
                  <a:lnTo>
                    <a:pt x="1398" y="228"/>
                  </a:lnTo>
                  <a:lnTo>
                    <a:pt x="1404" y="216"/>
                  </a:lnTo>
                  <a:lnTo>
                    <a:pt x="1416" y="204"/>
                  </a:lnTo>
                  <a:lnTo>
                    <a:pt x="1434" y="192"/>
                  </a:lnTo>
                  <a:lnTo>
                    <a:pt x="1446" y="198"/>
                  </a:lnTo>
                  <a:lnTo>
                    <a:pt x="1446" y="204"/>
                  </a:lnTo>
                  <a:lnTo>
                    <a:pt x="1452" y="210"/>
                  </a:lnTo>
                  <a:lnTo>
                    <a:pt x="1464" y="222"/>
                  </a:lnTo>
                  <a:lnTo>
                    <a:pt x="1464" y="228"/>
                  </a:lnTo>
                  <a:lnTo>
                    <a:pt x="1464" y="234"/>
                  </a:lnTo>
                  <a:lnTo>
                    <a:pt x="1470" y="240"/>
                  </a:lnTo>
                  <a:lnTo>
                    <a:pt x="1476" y="228"/>
                  </a:lnTo>
                  <a:lnTo>
                    <a:pt x="1476" y="222"/>
                  </a:lnTo>
                  <a:lnTo>
                    <a:pt x="1482" y="210"/>
                  </a:lnTo>
                  <a:lnTo>
                    <a:pt x="1488" y="192"/>
                  </a:lnTo>
                  <a:lnTo>
                    <a:pt x="1488" y="186"/>
                  </a:lnTo>
                  <a:lnTo>
                    <a:pt x="1488" y="180"/>
                  </a:lnTo>
                  <a:lnTo>
                    <a:pt x="1500" y="180"/>
                  </a:lnTo>
                  <a:lnTo>
                    <a:pt x="1500" y="174"/>
                  </a:lnTo>
                  <a:lnTo>
                    <a:pt x="1518" y="162"/>
                  </a:lnTo>
                  <a:lnTo>
                    <a:pt x="1536" y="150"/>
                  </a:lnTo>
                  <a:lnTo>
                    <a:pt x="1554" y="168"/>
                  </a:lnTo>
                  <a:lnTo>
                    <a:pt x="1572" y="180"/>
                  </a:lnTo>
                  <a:lnTo>
                    <a:pt x="1596" y="216"/>
                  </a:lnTo>
                  <a:lnTo>
                    <a:pt x="1602" y="216"/>
                  </a:lnTo>
                  <a:lnTo>
                    <a:pt x="1614" y="228"/>
                  </a:lnTo>
                  <a:lnTo>
                    <a:pt x="1614" y="234"/>
                  </a:lnTo>
                  <a:lnTo>
                    <a:pt x="1620" y="240"/>
                  </a:lnTo>
                  <a:lnTo>
                    <a:pt x="1620" y="246"/>
                  </a:lnTo>
                  <a:lnTo>
                    <a:pt x="1626" y="252"/>
                  </a:lnTo>
                  <a:lnTo>
                    <a:pt x="1632" y="258"/>
                  </a:lnTo>
                  <a:lnTo>
                    <a:pt x="1632" y="264"/>
                  </a:lnTo>
                  <a:lnTo>
                    <a:pt x="1638" y="264"/>
                  </a:lnTo>
                  <a:lnTo>
                    <a:pt x="1638" y="270"/>
                  </a:lnTo>
                  <a:lnTo>
                    <a:pt x="1638" y="276"/>
                  </a:lnTo>
                  <a:lnTo>
                    <a:pt x="1638" y="282"/>
                  </a:lnTo>
                  <a:lnTo>
                    <a:pt x="1644" y="288"/>
                  </a:lnTo>
                  <a:lnTo>
                    <a:pt x="1644" y="294"/>
                  </a:lnTo>
                  <a:lnTo>
                    <a:pt x="1644" y="300"/>
                  </a:lnTo>
                  <a:lnTo>
                    <a:pt x="1644" y="306"/>
                  </a:lnTo>
                  <a:lnTo>
                    <a:pt x="1650" y="306"/>
                  </a:lnTo>
                  <a:lnTo>
                    <a:pt x="1650" y="312"/>
                  </a:lnTo>
                  <a:lnTo>
                    <a:pt x="1650" y="318"/>
                  </a:lnTo>
                  <a:lnTo>
                    <a:pt x="1650" y="324"/>
                  </a:lnTo>
                  <a:lnTo>
                    <a:pt x="1644" y="330"/>
                  </a:lnTo>
                  <a:lnTo>
                    <a:pt x="1626" y="330"/>
                  </a:lnTo>
                  <a:lnTo>
                    <a:pt x="1626" y="336"/>
                  </a:lnTo>
                  <a:lnTo>
                    <a:pt x="1626" y="342"/>
                  </a:lnTo>
                  <a:lnTo>
                    <a:pt x="1626" y="348"/>
                  </a:lnTo>
                  <a:lnTo>
                    <a:pt x="1620" y="354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14" y="390"/>
                  </a:lnTo>
                  <a:lnTo>
                    <a:pt x="1614" y="396"/>
                  </a:lnTo>
                  <a:lnTo>
                    <a:pt x="1614" y="402"/>
                  </a:lnTo>
                  <a:lnTo>
                    <a:pt x="1614" y="408"/>
                  </a:lnTo>
                  <a:lnTo>
                    <a:pt x="1614" y="414"/>
                  </a:lnTo>
                  <a:lnTo>
                    <a:pt x="1602" y="420"/>
                  </a:lnTo>
                  <a:lnTo>
                    <a:pt x="1602" y="426"/>
                  </a:lnTo>
                  <a:lnTo>
                    <a:pt x="1608" y="432"/>
                  </a:lnTo>
                  <a:lnTo>
                    <a:pt x="1614" y="426"/>
                  </a:lnTo>
                  <a:lnTo>
                    <a:pt x="1620" y="438"/>
                  </a:lnTo>
                  <a:lnTo>
                    <a:pt x="1626" y="438"/>
                  </a:lnTo>
                  <a:lnTo>
                    <a:pt x="1632" y="444"/>
                  </a:lnTo>
                  <a:lnTo>
                    <a:pt x="1626" y="456"/>
                  </a:lnTo>
                  <a:lnTo>
                    <a:pt x="1626" y="468"/>
                  </a:lnTo>
                  <a:lnTo>
                    <a:pt x="1620" y="474"/>
                  </a:lnTo>
                  <a:lnTo>
                    <a:pt x="1614" y="474"/>
                  </a:lnTo>
                  <a:lnTo>
                    <a:pt x="1614" y="486"/>
                  </a:lnTo>
                  <a:lnTo>
                    <a:pt x="1614" y="492"/>
                  </a:lnTo>
                  <a:lnTo>
                    <a:pt x="1620" y="492"/>
                  </a:lnTo>
                  <a:lnTo>
                    <a:pt x="1626" y="498"/>
                  </a:lnTo>
                  <a:lnTo>
                    <a:pt x="1626" y="504"/>
                  </a:lnTo>
                  <a:lnTo>
                    <a:pt x="1626" y="510"/>
                  </a:lnTo>
                  <a:lnTo>
                    <a:pt x="1620" y="516"/>
                  </a:lnTo>
                  <a:lnTo>
                    <a:pt x="1620" y="522"/>
                  </a:lnTo>
                  <a:lnTo>
                    <a:pt x="1614" y="522"/>
                  </a:lnTo>
                  <a:lnTo>
                    <a:pt x="1608" y="528"/>
                  </a:lnTo>
                  <a:lnTo>
                    <a:pt x="1602" y="522"/>
                  </a:lnTo>
                  <a:lnTo>
                    <a:pt x="1602" y="528"/>
                  </a:lnTo>
                  <a:lnTo>
                    <a:pt x="1602" y="540"/>
                  </a:lnTo>
                  <a:lnTo>
                    <a:pt x="1602" y="558"/>
                  </a:lnTo>
                  <a:lnTo>
                    <a:pt x="1602" y="564"/>
                  </a:lnTo>
                  <a:lnTo>
                    <a:pt x="1602" y="570"/>
                  </a:lnTo>
                  <a:lnTo>
                    <a:pt x="1602" y="576"/>
                  </a:lnTo>
                  <a:lnTo>
                    <a:pt x="1596" y="576"/>
                  </a:lnTo>
                  <a:lnTo>
                    <a:pt x="1632" y="582"/>
                  </a:lnTo>
                  <a:lnTo>
                    <a:pt x="1644" y="618"/>
                  </a:lnTo>
                  <a:lnTo>
                    <a:pt x="1650" y="648"/>
                  </a:lnTo>
                  <a:lnTo>
                    <a:pt x="1662" y="636"/>
                  </a:lnTo>
                  <a:lnTo>
                    <a:pt x="1668" y="636"/>
                  </a:lnTo>
                  <a:lnTo>
                    <a:pt x="1674" y="636"/>
                  </a:lnTo>
                  <a:lnTo>
                    <a:pt x="1680" y="630"/>
                  </a:lnTo>
                  <a:lnTo>
                    <a:pt x="1686" y="630"/>
                  </a:lnTo>
                  <a:lnTo>
                    <a:pt x="1692" y="630"/>
                  </a:lnTo>
                  <a:lnTo>
                    <a:pt x="1698" y="630"/>
                  </a:lnTo>
                  <a:lnTo>
                    <a:pt x="1704" y="630"/>
                  </a:lnTo>
                  <a:lnTo>
                    <a:pt x="1704" y="624"/>
                  </a:lnTo>
                  <a:lnTo>
                    <a:pt x="1710" y="624"/>
                  </a:lnTo>
                  <a:lnTo>
                    <a:pt x="1716" y="624"/>
                  </a:lnTo>
                  <a:lnTo>
                    <a:pt x="1722" y="624"/>
                  </a:lnTo>
                  <a:lnTo>
                    <a:pt x="1728" y="624"/>
                  </a:lnTo>
                  <a:lnTo>
                    <a:pt x="1722" y="618"/>
                  </a:lnTo>
                  <a:lnTo>
                    <a:pt x="1728" y="606"/>
                  </a:lnTo>
                  <a:lnTo>
                    <a:pt x="1734" y="606"/>
                  </a:lnTo>
                  <a:lnTo>
                    <a:pt x="1740" y="600"/>
                  </a:lnTo>
                  <a:lnTo>
                    <a:pt x="1746" y="594"/>
                  </a:lnTo>
                  <a:lnTo>
                    <a:pt x="1752" y="588"/>
                  </a:lnTo>
                  <a:lnTo>
                    <a:pt x="1752" y="582"/>
                  </a:lnTo>
                  <a:lnTo>
                    <a:pt x="1758" y="576"/>
                  </a:lnTo>
                  <a:lnTo>
                    <a:pt x="1764" y="576"/>
                  </a:lnTo>
                  <a:lnTo>
                    <a:pt x="1770" y="570"/>
                  </a:lnTo>
                  <a:lnTo>
                    <a:pt x="1776" y="564"/>
                  </a:lnTo>
                  <a:lnTo>
                    <a:pt x="1788" y="558"/>
                  </a:lnTo>
                  <a:lnTo>
                    <a:pt x="1788" y="546"/>
                  </a:lnTo>
                  <a:lnTo>
                    <a:pt x="1788" y="540"/>
                  </a:lnTo>
                  <a:lnTo>
                    <a:pt x="1794" y="540"/>
                  </a:lnTo>
                  <a:lnTo>
                    <a:pt x="1788" y="534"/>
                  </a:lnTo>
                  <a:lnTo>
                    <a:pt x="1788" y="528"/>
                  </a:lnTo>
                  <a:lnTo>
                    <a:pt x="1794" y="516"/>
                  </a:lnTo>
                  <a:lnTo>
                    <a:pt x="1800" y="510"/>
                  </a:lnTo>
                  <a:lnTo>
                    <a:pt x="1812" y="510"/>
                  </a:lnTo>
                  <a:lnTo>
                    <a:pt x="1818" y="504"/>
                  </a:lnTo>
                  <a:lnTo>
                    <a:pt x="1824" y="504"/>
                  </a:lnTo>
                  <a:lnTo>
                    <a:pt x="1830" y="498"/>
                  </a:lnTo>
                  <a:lnTo>
                    <a:pt x="1836" y="498"/>
                  </a:lnTo>
                  <a:lnTo>
                    <a:pt x="1848" y="492"/>
                  </a:lnTo>
                  <a:lnTo>
                    <a:pt x="1848" y="480"/>
                  </a:lnTo>
                  <a:lnTo>
                    <a:pt x="1854" y="480"/>
                  </a:lnTo>
                  <a:lnTo>
                    <a:pt x="1890" y="504"/>
                  </a:lnTo>
                  <a:lnTo>
                    <a:pt x="1908" y="534"/>
                  </a:lnTo>
                  <a:lnTo>
                    <a:pt x="1902" y="534"/>
                  </a:lnTo>
                  <a:lnTo>
                    <a:pt x="1920" y="528"/>
                  </a:lnTo>
                  <a:lnTo>
                    <a:pt x="1920" y="516"/>
                  </a:lnTo>
                  <a:lnTo>
                    <a:pt x="1944" y="516"/>
                  </a:lnTo>
                  <a:lnTo>
                    <a:pt x="2004" y="516"/>
                  </a:lnTo>
                  <a:lnTo>
                    <a:pt x="2010" y="510"/>
                  </a:lnTo>
                  <a:lnTo>
                    <a:pt x="2004" y="510"/>
                  </a:lnTo>
                  <a:lnTo>
                    <a:pt x="2010" y="498"/>
                  </a:lnTo>
                  <a:lnTo>
                    <a:pt x="2004" y="486"/>
                  </a:lnTo>
                  <a:lnTo>
                    <a:pt x="2004" y="480"/>
                  </a:lnTo>
                  <a:lnTo>
                    <a:pt x="2004" y="474"/>
                  </a:lnTo>
                  <a:lnTo>
                    <a:pt x="2004" y="462"/>
                  </a:lnTo>
                  <a:lnTo>
                    <a:pt x="2004" y="456"/>
                  </a:lnTo>
                  <a:lnTo>
                    <a:pt x="2058" y="462"/>
                  </a:lnTo>
                  <a:lnTo>
                    <a:pt x="2076" y="474"/>
                  </a:lnTo>
                  <a:lnTo>
                    <a:pt x="2082" y="522"/>
                  </a:lnTo>
                  <a:lnTo>
                    <a:pt x="2088" y="516"/>
                  </a:lnTo>
                  <a:lnTo>
                    <a:pt x="2094" y="522"/>
                  </a:lnTo>
                  <a:lnTo>
                    <a:pt x="2100" y="528"/>
                  </a:lnTo>
                  <a:lnTo>
                    <a:pt x="2130" y="540"/>
                  </a:lnTo>
                  <a:lnTo>
                    <a:pt x="2160" y="564"/>
                  </a:lnTo>
                  <a:lnTo>
                    <a:pt x="2166" y="600"/>
                  </a:lnTo>
                  <a:lnTo>
                    <a:pt x="2160" y="618"/>
                  </a:lnTo>
                  <a:lnTo>
                    <a:pt x="2142" y="636"/>
                  </a:lnTo>
                  <a:lnTo>
                    <a:pt x="2148" y="648"/>
                  </a:lnTo>
                  <a:lnTo>
                    <a:pt x="2154" y="660"/>
                  </a:lnTo>
                  <a:lnTo>
                    <a:pt x="2196" y="654"/>
                  </a:lnTo>
                  <a:lnTo>
                    <a:pt x="2214" y="660"/>
                  </a:lnTo>
                  <a:lnTo>
                    <a:pt x="2214" y="666"/>
                  </a:lnTo>
                  <a:lnTo>
                    <a:pt x="2220" y="672"/>
                  </a:lnTo>
                  <a:lnTo>
                    <a:pt x="2214" y="678"/>
                  </a:lnTo>
                  <a:lnTo>
                    <a:pt x="2214" y="684"/>
                  </a:lnTo>
                  <a:lnTo>
                    <a:pt x="2214" y="690"/>
                  </a:lnTo>
                  <a:lnTo>
                    <a:pt x="2208" y="690"/>
                  </a:lnTo>
                  <a:lnTo>
                    <a:pt x="2202" y="696"/>
                  </a:lnTo>
                  <a:lnTo>
                    <a:pt x="2196" y="702"/>
                  </a:lnTo>
                  <a:lnTo>
                    <a:pt x="2190" y="708"/>
                  </a:lnTo>
                  <a:lnTo>
                    <a:pt x="2190" y="720"/>
                  </a:lnTo>
                  <a:lnTo>
                    <a:pt x="2184" y="720"/>
                  </a:lnTo>
                  <a:lnTo>
                    <a:pt x="2178" y="726"/>
                  </a:lnTo>
                  <a:lnTo>
                    <a:pt x="2166" y="732"/>
                  </a:lnTo>
                  <a:lnTo>
                    <a:pt x="2160" y="744"/>
                  </a:lnTo>
                  <a:lnTo>
                    <a:pt x="2154" y="756"/>
                  </a:lnTo>
                  <a:lnTo>
                    <a:pt x="2148" y="762"/>
                  </a:lnTo>
                  <a:lnTo>
                    <a:pt x="2124" y="762"/>
                  </a:lnTo>
                  <a:lnTo>
                    <a:pt x="2124" y="768"/>
                  </a:lnTo>
                  <a:lnTo>
                    <a:pt x="2118" y="768"/>
                  </a:lnTo>
                  <a:lnTo>
                    <a:pt x="2124" y="774"/>
                  </a:lnTo>
                  <a:lnTo>
                    <a:pt x="2118" y="774"/>
                  </a:lnTo>
                  <a:lnTo>
                    <a:pt x="2112" y="774"/>
                  </a:lnTo>
                  <a:lnTo>
                    <a:pt x="2106" y="780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06" y="798"/>
                  </a:lnTo>
                  <a:lnTo>
                    <a:pt x="2106" y="810"/>
                  </a:lnTo>
                  <a:lnTo>
                    <a:pt x="2112" y="828"/>
                  </a:lnTo>
                  <a:lnTo>
                    <a:pt x="2112" y="834"/>
                  </a:lnTo>
                  <a:lnTo>
                    <a:pt x="2112" y="840"/>
                  </a:lnTo>
                  <a:lnTo>
                    <a:pt x="2112" y="834"/>
                  </a:lnTo>
                  <a:lnTo>
                    <a:pt x="2124" y="834"/>
                  </a:lnTo>
                  <a:lnTo>
                    <a:pt x="2130" y="834"/>
                  </a:lnTo>
                  <a:lnTo>
                    <a:pt x="2136" y="840"/>
                  </a:lnTo>
                  <a:lnTo>
                    <a:pt x="2142" y="840"/>
                  </a:lnTo>
                  <a:lnTo>
                    <a:pt x="2154" y="852"/>
                  </a:lnTo>
                  <a:lnTo>
                    <a:pt x="2160" y="852"/>
                  </a:lnTo>
                  <a:lnTo>
                    <a:pt x="2172" y="846"/>
                  </a:lnTo>
                  <a:lnTo>
                    <a:pt x="2178" y="846"/>
                  </a:lnTo>
                  <a:lnTo>
                    <a:pt x="2184" y="846"/>
                  </a:lnTo>
                  <a:lnTo>
                    <a:pt x="2190" y="846"/>
                  </a:lnTo>
                  <a:lnTo>
                    <a:pt x="2196" y="852"/>
                  </a:lnTo>
                  <a:lnTo>
                    <a:pt x="2196" y="858"/>
                  </a:lnTo>
                  <a:lnTo>
                    <a:pt x="2202" y="852"/>
                  </a:lnTo>
                  <a:lnTo>
                    <a:pt x="2208" y="846"/>
                  </a:lnTo>
                  <a:lnTo>
                    <a:pt x="2214" y="846"/>
                  </a:lnTo>
                  <a:lnTo>
                    <a:pt x="2226" y="846"/>
                  </a:lnTo>
                  <a:lnTo>
                    <a:pt x="2232" y="852"/>
                  </a:lnTo>
                  <a:lnTo>
                    <a:pt x="2238" y="852"/>
                  </a:lnTo>
                  <a:lnTo>
                    <a:pt x="2244" y="858"/>
                  </a:lnTo>
                  <a:lnTo>
                    <a:pt x="2250" y="858"/>
                  </a:lnTo>
                  <a:lnTo>
                    <a:pt x="2256" y="858"/>
                  </a:lnTo>
                  <a:lnTo>
                    <a:pt x="2262" y="858"/>
                  </a:lnTo>
                  <a:lnTo>
                    <a:pt x="2268" y="852"/>
                  </a:lnTo>
                  <a:lnTo>
                    <a:pt x="2274" y="852"/>
                  </a:lnTo>
                  <a:lnTo>
                    <a:pt x="2280" y="852"/>
                  </a:lnTo>
                  <a:lnTo>
                    <a:pt x="2286" y="852"/>
                  </a:lnTo>
                  <a:lnTo>
                    <a:pt x="2298" y="858"/>
                  </a:lnTo>
                  <a:lnTo>
                    <a:pt x="2304" y="858"/>
                  </a:lnTo>
                  <a:lnTo>
                    <a:pt x="2310" y="858"/>
                  </a:lnTo>
                  <a:lnTo>
                    <a:pt x="2316" y="852"/>
                  </a:lnTo>
                  <a:lnTo>
                    <a:pt x="2322" y="858"/>
                  </a:lnTo>
                  <a:lnTo>
                    <a:pt x="2328" y="858"/>
                  </a:lnTo>
                  <a:lnTo>
                    <a:pt x="2328" y="852"/>
                  </a:lnTo>
                  <a:lnTo>
                    <a:pt x="2364" y="858"/>
                  </a:lnTo>
                  <a:lnTo>
                    <a:pt x="2376" y="876"/>
                  </a:lnTo>
                  <a:lnTo>
                    <a:pt x="2382" y="936"/>
                  </a:lnTo>
                  <a:lnTo>
                    <a:pt x="2388" y="966"/>
                  </a:lnTo>
                  <a:lnTo>
                    <a:pt x="2382" y="972"/>
                  </a:lnTo>
                  <a:lnTo>
                    <a:pt x="2382" y="978"/>
                  </a:lnTo>
                  <a:lnTo>
                    <a:pt x="2382" y="984"/>
                  </a:lnTo>
                  <a:lnTo>
                    <a:pt x="2388" y="990"/>
                  </a:lnTo>
                  <a:lnTo>
                    <a:pt x="2382" y="990"/>
                  </a:lnTo>
                  <a:lnTo>
                    <a:pt x="2382" y="996"/>
                  </a:lnTo>
                  <a:lnTo>
                    <a:pt x="2376" y="996"/>
                  </a:lnTo>
                  <a:lnTo>
                    <a:pt x="2376" y="1020"/>
                  </a:lnTo>
                  <a:lnTo>
                    <a:pt x="2370" y="1032"/>
                  </a:lnTo>
                  <a:lnTo>
                    <a:pt x="2352" y="1032"/>
                  </a:lnTo>
                  <a:lnTo>
                    <a:pt x="2346" y="1020"/>
                  </a:lnTo>
                  <a:lnTo>
                    <a:pt x="2328" y="1032"/>
                  </a:lnTo>
                  <a:lnTo>
                    <a:pt x="2316" y="1038"/>
                  </a:lnTo>
                  <a:lnTo>
                    <a:pt x="2328" y="1044"/>
                  </a:lnTo>
                  <a:lnTo>
                    <a:pt x="2340" y="1056"/>
                  </a:lnTo>
                  <a:lnTo>
                    <a:pt x="2376" y="1062"/>
                  </a:lnTo>
                  <a:lnTo>
                    <a:pt x="2376" y="1068"/>
                  </a:lnTo>
                  <a:lnTo>
                    <a:pt x="2382" y="1086"/>
                  </a:lnTo>
                  <a:lnTo>
                    <a:pt x="2376" y="1086"/>
                  </a:lnTo>
                  <a:lnTo>
                    <a:pt x="2370" y="1086"/>
                  </a:lnTo>
                  <a:lnTo>
                    <a:pt x="2364" y="1086"/>
                  </a:lnTo>
                  <a:lnTo>
                    <a:pt x="2364" y="1098"/>
                  </a:lnTo>
                  <a:lnTo>
                    <a:pt x="2388" y="1104"/>
                  </a:lnTo>
                  <a:lnTo>
                    <a:pt x="2400" y="1122"/>
                  </a:lnTo>
                  <a:lnTo>
                    <a:pt x="2400" y="1134"/>
                  </a:lnTo>
                  <a:lnTo>
                    <a:pt x="2400" y="1146"/>
                  </a:lnTo>
                  <a:lnTo>
                    <a:pt x="2394" y="1146"/>
                  </a:lnTo>
                  <a:lnTo>
                    <a:pt x="2394" y="1152"/>
                  </a:lnTo>
                  <a:lnTo>
                    <a:pt x="2388" y="1152"/>
                  </a:lnTo>
                  <a:lnTo>
                    <a:pt x="2388" y="1146"/>
                  </a:lnTo>
                  <a:lnTo>
                    <a:pt x="2382" y="1152"/>
                  </a:lnTo>
                  <a:lnTo>
                    <a:pt x="2376" y="1152"/>
                  </a:lnTo>
                  <a:lnTo>
                    <a:pt x="2370" y="1158"/>
                  </a:lnTo>
                  <a:lnTo>
                    <a:pt x="2370" y="1164"/>
                  </a:lnTo>
                  <a:lnTo>
                    <a:pt x="2364" y="1170"/>
                  </a:lnTo>
                  <a:lnTo>
                    <a:pt x="2370" y="1170"/>
                  </a:lnTo>
                  <a:lnTo>
                    <a:pt x="2376" y="1170"/>
                  </a:lnTo>
                  <a:lnTo>
                    <a:pt x="2370" y="1176"/>
                  </a:lnTo>
                  <a:lnTo>
                    <a:pt x="2364" y="1176"/>
                  </a:lnTo>
                  <a:lnTo>
                    <a:pt x="2358" y="1182"/>
                  </a:lnTo>
                  <a:lnTo>
                    <a:pt x="2352" y="1182"/>
                  </a:lnTo>
                  <a:lnTo>
                    <a:pt x="2346" y="1188"/>
                  </a:lnTo>
                  <a:lnTo>
                    <a:pt x="2340" y="1182"/>
                  </a:lnTo>
                  <a:lnTo>
                    <a:pt x="2334" y="1182"/>
                  </a:lnTo>
                  <a:lnTo>
                    <a:pt x="2334" y="1188"/>
                  </a:lnTo>
                  <a:lnTo>
                    <a:pt x="2328" y="1194"/>
                  </a:lnTo>
                  <a:lnTo>
                    <a:pt x="2328" y="1200"/>
                  </a:lnTo>
                  <a:lnTo>
                    <a:pt x="2322" y="1224"/>
                  </a:lnTo>
                  <a:lnTo>
                    <a:pt x="2328" y="1230"/>
                  </a:lnTo>
                  <a:lnTo>
                    <a:pt x="2358" y="1230"/>
                  </a:lnTo>
                  <a:lnTo>
                    <a:pt x="2358" y="1242"/>
                  </a:lnTo>
                  <a:lnTo>
                    <a:pt x="2358" y="1254"/>
                  </a:lnTo>
                  <a:lnTo>
                    <a:pt x="2346" y="1254"/>
                  </a:lnTo>
                  <a:lnTo>
                    <a:pt x="2346" y="1278"/>
                  </a:lnTo>
                  <a:lnTo>
                    <a:pt x="2358" y="1278"/>
                  </a:lnTo>
                  <a:lnTo>
                    <a:pt x="2358" y="1284"/>
                  </a:lnTo>
                  <a:lnTo>
                    <a:pt x="2376" y="1284"/>
                  </a:lnTo>
                  <a:lnTo>
                    <a:pt x="2388" y="1278"/>
                  </a:lnTo>
                  <a:lnTo>
                    <a:pt x="2406" y="1278"/>
                  </a:lnTo>
                  <a:lnTo>
                    <a:pt x="2430" y="1284"/>
                  </a:lnTo>
                  <a:lnTo>
                    <a:pt x="2430" y="1302"/>
                  </a:lnTo>
                  <a:lnTo>
                    <a:pt x="2430" y="1314"/>
                  </a:lnTo>
                  <a:lnTo>
                    <a:pt x="2424" y="1326"/>
                  </a:lnTo>
                  <a:lnTo>
                    <a:pt x="2412" y="1326"/>
                  </a:lnTo>
                  <a:lnTo>
                    <a:pt x="2412" y="1344"/>
                  </a:lnTo>
                  <a:lnTo>
                    <a:pt x="2406" y="1344"/>
                  </a:lnTo>
                  <a:lnTo>
                    <a:pt x="2400" y="1362"/>
                  </a:lnTo>
                  <a:lnTo>
                    <a:pt x="2394" y="1368"/>
                  </a:lnTo>
                  <a:lnTo>
                    <a:pt x="2388" y="1374"/>
                  </a:lnTo>
                  <a:lnTo>
                    <a:pt x="2382" y="1380"/>
                  </a:lnTo>
                  <a:lnTo>
                    <a:pt x="2376" y="1386"/>
                  </a:lnTo>
                  <a:lnTo>
                    <a:pt x="2376" y="1392"/>
                  </a:lnTo>
                  <a:lnTo>
                    <a:pt x="2370" y="1404"/>
                  </a:lnTo>
                  <a:lnTo>
                    <a:pt x="2364" y="1416"/>
                  </a:lnTo>
                  <a:lnTo>
                    <a:pt x="2346" y="1434"/>
                  </a:lnTo>
                  <a:lnTo>
                    <a:pt x="2328" y="1440"/>
                  </a:lnTo>
                  <a:lnTo>
                    <a:pt x="2328" y="1446"/>
                  </a:lnTo>
                  <a:lnTo>
                    <a:pt x="2322" y="1452"/>
                  </a:lnTo>
                  <a:lnTo>
                    <a:pt x="2316" y="1452"/>
                  </a:lnTo>
                  <a:lnTo>
                    <a:pt x="2304" y="1446"/>
                  </a:lnTo>
                  <a:lnTo>
                    <a:pt x="2298" y="1446"/>
                  </a:lnTo>
                  <a:lnTo>
                    <a:pt x="2298" y="1434"/>
                  </a:lnTo>
                  <a:lnTo>
                    <a:pt x="2292" y="1434"/>
                  </a:lnTo>
                  <a:lnTo>
                    <a:pt x="2286" y="1428"/>
                  </a:lnTo>
                  <a:lnTo>
                    <a:pt x="2274" y="1416"/>
                  </a:lnTo>
                  <a:lnTo>
                    <a:pt x="2256" y="1404"/>
                  </a:lnTo>
                  <a:lnTo>
                    <a:pt x="2244" y="1386"/>
                  </a:lnTo>
                  <a:lnTo>
                    <a:pt x="2220" y="1368"/>
                  </a:lnTo>
                  <a:lnTo>
                    <a:pt x="2208" y="1362"/>
                  </a:lnTo>
                  <a:lnTo>
                    <a:pt x="2202" y="1350"/>
                  </a:lnTo>
                  <a:lnTo>
                    <a:pt x="2196" y="1350"/>
                  </a:lnTo>
                  <a:lnTo>
                    <a:pt x="2190" y="1356"/>
                  </a:lnTo>
                  <a:lnTo>
                    <a:pt x="2184" y="1356"/>
                  </a:lnTo>
                  <a:lnTo>
                    <a:pt x="2094" y="1350"/>
                  </a:lnTo>
                  <a:lnTo>
                    <a:pt x="2058" y="1350"/>
                  </a:lnTo>
                  <a:lnTo>
                    <a:pt x="2034" y="1890"/>
                  </a:lnTo>
                  <a:lnTo>
                    <a:pt x="2064" y="1890"/>
                  </a:lnTo>
                  <a:lnTo>
                    <a:pt x="2070" y="1896"/>
                  </a:lnTo>
                  <a:lnTo>
                    <a:pt x="2076" y="18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8" name="Freeform 33">
              <a:extLst>
                <a:ext uri="{FF2B5EF4-FFF2-40B4-BE49-F238E27FC236}">
                  <a16:creationId xmlns:a16="http://schemas.microsoft.com/office/drawing/2014/main" id="{0E96F118-1F4D-4E52-AF27-149259451CD6}"/>
                </a:ext>
              </a:extLst>
            </p:cNvPr>
            <p:cNvSpPr>
              <a:spLocks/>
            </p:cNvSpPr>
            <p:nvPr/>
          </p:nvSpPr>
          <p:spPr bwMode="gray">
            <a:xfrm>
              <a:off x="1266662" y="1459989"/>
              <a:ext cx="903421" cy="778302"/>
            </a:xfrm>
            <a:custGeom>
              <a:avLst/>
              <a:gdLst>
                <a:gd name="T0" fmla="*/ 143 w 1698"/>
                <a:gd name="T1" fmla="*/ 43 h 1464"/>
                <a:gd name="T2" fmla="*/ 131 w 1698"/>
                <a:gd name="T3" fmla="*/ 44 h 1464"/>
                <a:gd name="T4" fmla="*/ 126 w 1698"/>
                <a:gd name="T5" fmla="*/ 41 h 1464"/>
                <a:gd name="T6" fmla="*/ 119 w 1698"/>
                <a:gd name="T7" fmla="*/ 45 h 1464"/>
                <a:gd name="T8" fmla="*/ 111 w 1698"/>
                <a:gd name="T9" fmla="*/ 46 h 1464"/>
                <a:gd name="T10" fmla="*/ 107 w 1698"/>
                <a:gd name="T11" fmla="*/ 50 h 1464"/>
                <a:gd name="T12" fmla="*/ 107 w 1698"/>
                <a:gd name="T13" fmla="*/ 60 h 1464"/>
                <a:gd name="T14" fmla="*/ 104 w 1698"/>
                <a:gd name="T15" fmla="*/ 62 h 1464"/>
                <a:gd name="T16" fmla="*/ 97 w 1698"/>
                <a:gd name="T17" fmla="*/ 59 h 1464"/>
                <a:gd name="T18" fmla="*/ 92 w 1698"/>
                <a:gd name="T19" fmla="*/ 59 h 1464"/>
                <a:gd name="T20" fmla="*/ 90 w 1698"/>
                <a:gd name="T21" fmla="*/ 62 h 1464"/>
                <a:gd name="T22" fmla="*/ 93 w 1698"/>
                <a:gd name="T23" fmla="*/ 77 h 1464"/>
                <a:gd name="T24" fmla="*/ 85 w 1698"/>
                <a:gd name="T25" fmla="*/ 88 h 1464"/>
                <a:gd name="T26" fmla="*/ 70 w 1698"/>
                <a:gd name="T27" fmla="*/ 89 h 1464"/>
                <a:gd name="T28" fmla="*/ 65 w 1698"/>
                <a:gd name="T29" fmla="*/ 88 h 1464"/>
                <a:gd name="T30" fmla="*/ 50 w 1698"/>
                <a:gd name="T31" fmla="*/ 88 h 1464"/>
                <a:gd name="T32" fmla="*/ 48 w 1698"/>
                <a:gd name="T33" fmla="*/ 107 h 1464"/>
                <a:gd name="T34" fmla="*/ 47 w 1698"/>
                <a:gd name="T35" fmla="*/ 120 h 1464"/>
                <a:gd name="T36" fmla="*/ 43 w 1698"/>
                <a:gd name="T37" fmla="*/ 121 h 1464"/>
                <a:gd name="T38" fmla="*/ 40 w 1698"/>
                <a:gd name="T39" fmla="*/ 120 h 1464"/>
                <a:gd name="T40" fmla="*/ 35 w 1698"/>
                <a:gd name="T41" fmla="*/ 122 h 1464"/>
                <a:gd name="T42" fmla="*/ 29 w 1698"/>
                <a:gd name="T43" fmla="*/ 123 h 1464"/>
                <a:gd name="T44" fmla="*/ 24 w 1698"/>
                <a:gd name="T45" fmla="*/ 125 h 1464"/>
                <a:gd name="T46" fmla="*/ 20 w 1698"/>
                <a:gd name="T47" fmla="*/ 125 h 1464"/>
                <a:gd name="T48" fmla="*/ 18 w 1698"/>
                <a:gd name="T49" fmla="*/ 122 h 1464"/>
                <a:gd name="T50" fmla="*/ 26 w 1698"/>
                <a:gd name="T51" fmla="*/ 108 h 1464"/>
                <a:gd name="T52" fmla="*/ 24 w 1698"/>
                <a:gd name="T53" fmla="*/ 89 h 1464"/>
                <a:gd name="T54" fmla="*/ 28 w 1698"/>
                <a:gd name="T55" fmla="*/ 85 h 1464"/>
                <a:gd name="T56" fmla="*/ 32 w 1698"/>
                <a:gd name="T57" fmla="*/ 80 h 1464"/>
                <a:gd name="T58" fmla="*/ 36 w 1698"/>
                <a:gd name="T59" fmla="*/ 86 h 1464"/>
                <a:gd name="T60" fmla="*/ 39 w 1698"/>
                <a:gd name="T61" fmla="*/ 80 h 1464"/>
                <a:gd name="T62" fmla="*/ 41 w 1698"/>
                <a:gd name="T63" fmla="*/ 73 h 1464"/>
                <a:gd name="T64" fmla="*/ 38 w 1698"/>
                <a:gd name="T65" fmla="*/ 64 h 1464"/>
                <a:gd name="T66" fmla="*/ 39 w 1698"/>
                <a:gd name="T67" fmla="*/ 59 h 1464"/>
                <a:gd name="T68" fmla="*/ 32 w 1698"/>
                <a:gd name="T69" fmla="*/ 54 h 1464"/>
                <a:gd name="T70" fmla="*/ 32 w 1698"/>
                <a:gd name="T71" fmla="*/ 45 h 1464"/>
                <a:gd name="T72" fmla="*/ 31 w 1698"/>
                <a:gd name="T73" fmla="*/ 41 h 1464"/>
                <a:gd name="T74" fmla="*/ 24 w 1698"/>
                <a:gd name="T75" fmla="*/ 43 h 1464"/>
                <a:gd name="T76" fmla="*/ 17 w 1698"/>
                <a:gd name="T77" fmla="*/ 40 h 1464"/>
                <a:gd name="T78" fmla="*/ 11 w 1698"/>
                <a:gd name="T79" fmla="*/ 38 h 1464"/>
                <a:gd name="T80" fmla="*/ 2 w 1698"/>
                <a:gd name="T81" fmla="*/ 36 h 1464"/>
                <a:gd name="T82" fmla="*/ 0 w 1698"/>
                <a:gd name="T83" fmla="*/ 24 h 1464"/>
                <a:gd name="T84" fmla="*/ 11 w 1698"/>
                <a:gd name="T85" fmla="*/ 18 h 1464"/>
                <a:gd name="T86" fmla="*/ 19 w 1698"/>
                <a:gd name="T87" fmla="*/ 10 h 1464"/>
                <a:gd name="T88" fmla="*/ 28 w 1698"/>
                <a:gd name="T89" fmla="*/ 9 h 1464"/>
                <a:gd name="T90" fmla="*/ 40 w 1698"/>
                <a:gd name="T91" fmla="*/ 6 h 1464"/>
                <a:gd name="T92" fmla="*/ 49 w 1698"/>
                <a:gd name="T93" fmla="*/ 8 h 1464"/>
                <a:gd name="T94" fmla="*/ 56 w 1698"/>
                <a:gd name="T95" fmla="*/ 8 h 1464"/>
                <a:gd name="T96" fmla="*/ 64 w 1698"/>
                <a:gd name="T97" fmla="*/ 7 h 1464"/>
                <a:gd name="T98" fmla="*/ 74 w 1698"/>
                <a:gd name="T99" fmla="*/ 1 h 1464"/>
                <a:gd name="T100" fmla="*/ 83 w 1698"/>
                <a:gd name="T101" fmla="*/ 3 h 1464"/>
                <a:gd name="T102" fmla="*/ 99 w 1698"/>
                <a:gd name="T103" fmla="*/ 9 h 1464"/>
                <a:gd name="T104" fmla="*/ 112 w 1698"/>
                <a:gd name="T105" fmla="*/ 14 h 1464"/>
                <a:gd name="T106" fmla="*/ 119 w 1698"/>
                <a:gd name="T107" fmla="*/ 12 h 1464"/>
                <a:gd name="T108" fmla="*/ 128 w 1698"/>
                <a:gd name="T109" fmla="*/ 17 h 1464"/>
                <a:gd name="T110" fmla="*/ 141 w 1698"/>
                <a:gd name="T111" fmla="*/ 29 h 1464"/>
                <a:gd name="T112" fmla="*/ 145 w 1698"/>
                <a:gd name="T113" fmla="*/ 35 h 14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98"/>
                <a:gd name="T172" fmla="*/ 0 h 1464"/>
                <a:gd name="T173" fmla="*/ 1698 w 1698"/>
                <a:gd name="T174" fmla="*/ 1464 h 14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98" h="1464">
                  <a:moveTo>
                    <a:pt x="1698" y="462"/>
                  </a:moveTo>
                  <a:lnTo>
                    <a:pt x="1686" y="468"/>
                  </a:lnTo>
                  <a:lnTo>
                    <a:pt x="1680" y="474"/>
                  </a:lnTo>
                  <a:lnTo>
                    <a:pt x="1674" y="480"/>
                  </a:lnTo>
                  <a:lnTo>
                    <a:pt x="1668" y="480"/>
                  </a:lnTo>
                  <a:lnTo>
                    <a:pt x="1662" y="486"/>
                  </a:lnTo>
                  <a:lnTo>
                    <a:pt x="1656" y="492"/>
                  </a:lnTo>
                  <a:lnTo>
                    <a:pt x="1644" y="498"/>
                  </a:lnTo>
                  <a:lnTo>
                    <a:pt x="1626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0" y="516"/>
                  </a:lnTo>
                  <a:lnTo>
                    <a:pt x="1590" y="522"/>
                  </a:lnTo>
                  <a:lnTo>
                    <a:pt x="1566" y="522"/>
                  </a:lnTo>
                  <a:lnTo>
                    <a:pt x="1506" y="510"/>
                  </a:lnTo>
                  <a:lnTo>
                    <a:pt x="1500" y="510"/>
                  </a:lnTo>
                  <a:lnTo>
                    <a:pt x="1488" y="504"/>
                  </a:lnTo>
                  <a:lnTo>
                    <a:pt x="1482" y="498"/>
                  </a:lnTo>
                  <a:lnTo>
                    <a:pt x="1476" y="498"/>
                  </a:lnTo>
                  <a:lnTo>
                    <a:pt x="1476" y="492"/>
                  </a:lnTo>
                  <a:lnTo>
                    <a:pt x="1470" y="492"/>
                  </a:lnTo>
                  <a:lnTo>
                    <a:pt x="1464" y="486"/>
                  </a:lnTo>
                  <a:lnTo>
                    <a:pt x="1452" y="486"/>
                  </a:lnTo>
                  <a:lnTo>
                    <a:pt x="1446" y="474"/>
                  </a:lnTo>
                  <a:lnTo>
                    <a:pt x="1434" y="468"/>
                  </a:lnTo>
                  <a:lnTo>
                    <a:pt x="1416" y="468"/>
                  </a:lnTo>
                  <a:lnTo>
                    <a:pt x="1392" y="468"/>
                  </a:lnTo>
                  <a:lnTo>
                    <a:pt x="1374" y="474"/>
                  </a:lnTo>
                  <a:lnTo>
                    <a:pt x="1368" y="474"/>
                  </a:lnTo>
                  <a:lnTo>
                    <a:pt x="1368" y="486"/>
                  </a:lnTo>
                  <a:lnTo>
                    <a:pt x="1368" y="498"/>
                  </a:lnTo>
                  <a:lnTo>
                    <a:pt x="1368" y="522"/>
                  </a:lnTo>
                  <a:lnTo>
                    <a:pt x="1368" y="534"/>
                  </a:lnTo>
                  <a:lnTo>
                    <a:pt x="1362" y="546"/>
                  </a:lnTo>
                  <a:lnTo>
                    <a:pt x="1356" y="546"/>
                  </a:lnTo>
                  <a:lnTo>
                    <a:pt x="1344" y="540"/>
                  </a:lnTo>
                  <a:lnTo>
                    <a:pt x="1338" y="534"/>
                  </a:lnTo>
                  <a:lnTo>
                    <a:pt x="1308" y="522"/>
                  </a:lnTo>
                  <a:lnTo>
                    <a:pt x="1296" y="522"/>
                  </a:lnTo>
                  <a:lnTo>
                    <a:pt x="1278" y="528"/>
                  </a:lnTo>
                  <a:lnTo>
                    <a:pt x="1260" y="534"/>
                  </a:lnTo>
                  <a:lnTo>
                    <a:pt x="1242" y="546"/>
                  </a:lnTo>
                  <a:lnTo>
                    <a:pt x="1236" y="552"/>
                  </a:lnTo>
                  <a:lnTo>
                    <a:pt x="1224" y="558"/>
                  </a:lnTo>
                  <a:lnTo>
                    <a:pt x="1218" y="558"/>
                  </a:lnTo>
                  <a:lnTo>
                    <a:pt x="1218" y="564"/>
                  </a:lnTo>
                  <a:lnTo>
                    <a:pt x="1224" y="570"/>
                  </a:lnTo>
                  <a:lnTo>
                    <a:pt x="1224" y="582"/>
                  </a:lnTo>
                  <a:lnTo>
                    <a:pt x="1224" y="594"/>
                  </a:lnTo>
                  <a:lnTo>
                    <a:pt x="1212" y="618"/>
                  </a:lnTo>
                  <a:lnTo>
                    <a:pt x="1212" y="624"/>
                  </a:lnTo>
                  <a:lnTo>
                    <a:pt x="1212" y="630"/>
                  </a:lnTo>
                  <a:lnTo>
                    <a:pt x="1212" y="636"/>
                  </a:lnTo>
                  <a:lnTo>
                    <a:pt x="1218" y="654"/>
                  </a:lnTo>
                  <a:lnTo>
                    <a:pt x="1224" y="672"/>
                  </a:lnTo>
                  <a:lnTo>
                    <a:pt x="1230" y="696"/>
                  </a:lnTo>
                  <a:lnTo>
                    <a:pt x="1236" y="708"/>
                  </a:lnTo>
                  <a:lnTo>
                    <a:pt x="1236" y="714"/>
                  </a:lnTo>
                  <a:lnTo>
                    <a:pt x="1236" y="720"/>
                  </a:lnTo>
                  <a:lnTo>
                    <a:pt x="1218" y="726"/>
                  </a:lnTo>
                  <a:lnTo>
                    <a:pt x="1212" y="726"/>
                  </a:lnTo>
                  <a:lnTo>
                    <a:pt x="1206" y="726"/>
                  </a:lnTo>
                  <a:lnTo>
                    <a:pt x="1194" y="720"/>
                  </a:lnTo>
                  <a:lnTo>
                    <a:pt x="1194" y="714"/>
                  </a:lnTo>
                  <a:lnTo>
                    <a:pt x="1176" y="714"/>
                  </a:lnTo>
                  <a:lnTo>
                    <a:pt x="1164" y="708"/>
                  </a:lnTo>
                  <a:lnTo>
                    <a:pt x="1158" y="708"/>
                  </a:lnTo>
                  <a:lnTo>
                    <a:pt x="1140" y="702"/>
                  </a:lnTo>
                  <a:lnTo>
                    <a:pt x="1134" y="696"/>
                  </a:lnTo>
                  <a:lnTo>
                    <a:pt x="1128" y="690"/>
                  </a:lnTo>
                  <a:lnTo>
                    <a:pt x="1116" y="678"/>
                  </a:lnTo>
                  <a:lnTo>
                    <a:pt x="1110" y="678"/>
                  </a:lnTo>
                  <a:lnTo>
                    <a:pt x="1104" y="672"/>
                  </a:lnTo>
                  <a:lnTo>
                    <a:pt x="1092" y="672"/>
                  </a:lnTo>
                  <a:lnTo>
                    <a:pt x="1086" y="672"/>
                  </a:lnTo>
                  <a:lnTo>
                    <a:pt x="1080" y="672"/>
                  </a:lnTo>
                  <a:lnTo>
                    <a:pt x="1074" y="672"/>
                  </a:lnTo>
                  <a:lnTo>
                    <a:pt x="1068" y="672"/>
                  </a:lnTo>
                  <a:lnTo>
                    <a:pt x="1062" y="678"/>
                  </a:lnTo>
                  <a:lnTo>
                    <a:pt x="1056" y="678"/>
                  </a:lnTo>
                  <a:lnTo>
                    <a:pt x="1056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6"/>
                  </a:lnTo>
                  <a:lnTo>
                    <a:pt x="1032" y="708"/>
                  </a:lnTo>
                  <a:lnTo>
                    <a:pt x="1026" y="708"/>
                  </a:lnTo>
                  <a:lnTo>
                    <a:pt x="1032" y="714"/>
                  </a:lnTo>
                  <a:lnTo>
                    <a:pt x="1026" y="720"/>
                  </a:lnTo>
                  <a:lnTo>
                    <a:pt x="1020" y="720"/>
                  </a:lnTo>
                  <a:lnTo>
                    <a:pt x="1014" y="732"/>
                  </a:lnTo>
                  <a:lnTo>
                    <a:pt x="1014" y="744"/>
                  </a:lnTo>
                  <a:lnTo>
                    <a:pt x="1038" y="810"/>
                  </a:lnTo>
                  <a:lnTo>
                    <a:pt x="1050" y="834"/>
                  </a:lnTo>
                  <a:lnTo>
                    <a:pt x="1056" y="858"/>
                  </a:lnTo>
                  <a:lnTo>
                    <a:pt x="1062" y="876"/>
                  </a:lnTo>
                  <a:lnTo>
                    <a:pt x="1068" y="882"/>
                  </a:lnTo>
                  <a:lnTo>
                    <a:pt x="1062" y="972"/>
                  </a:lnTo>
                  <a:lnTo>
                    <a:pt x="1056" y="972"/>
                  </a:lnTo>
                  <a:lnTo>
                    <a:pt x="1050" y="996"/>
                  </a:lnTo>
                  <a:lnTo>
                    <a:pt x="1044" y="1014"/>
                  </a:lnTo>
                  <a:lnTo>
                    <a:pt x="1008" y="1014"/>
                  </a:lnTo>
                  <a:lnTo>
                    <a:pt x="1008" y="1008"/>
                  </a:lnTo>
                  <a:lnTo>
                    <a:pt x="990" y="1008"/>
                  </a:lnTo>
                  <a:lnTo>
                    <a:pt x="972" y="1014"/>
                  </a:lnTo>
                  <a:lnTo>
                    <a:pt x="948" y="1020"/>
                  </a:lnTo>
                  <a:lnTo>
                    <a:pt x="918" y="1026"/>
                  </a:lnTo>
                  <a:lnTo>
                    <a:pt x="840" y="1032"/>
                  </a:lnTo>
                  <a:lnTo>
                    <a:pt x="834" y="1032"/>
                  </a:lnTo>
                  <a:lnTo>
                    <a:pt x="834" y="1026"/>
                  </a:lnTo>
                  <a:lnTo>
                    <a:pt x="822" y="1026"/>
                  </a:lnTo>
                  <a:lnTo>
                    <a:pt x="816" y="1032"/>
                  </a:lnTo>
                  <a:lnTo>
                    <a:pt x="804" y="1032"/>
                  </a:lnTo>
                  <a:lnTo>
                    <a:pt x="798" y="1026"/>
                  </a:lnTo>
                  <a:lnTo>
                    <a:pt x="780" y="1026"/>
                  </a:lnTo>
                  <a:lnTo>
                    <a:pt x="762" y="1026"/>
                  </a:lnTo>
                  <a:lnTo>
                    <a:pt x="756" y="1026"/>
                  </a:lnTo>
                  <a:lnTo>
                    <a:pt x="750" y="1026"/>
                  </a:lnTo>
                  <a:lnTo>
                    <a:pt x="756" y="1020"/>
                  </a:lnTo>
                  <a:lnTo>
                    <a:pt x="750" y="1020"/>
                  </a:lnTo>
                  <a:lnTo>
                    <a:pt x="744" y="1014"/>
                  </a:lnTo>
                  <a:lnTo>
                    <a:pt x="684" y="1020"/>
                  </a:lnTo>
                  <a:lnTo>
                    <a:pt x="648" y="1020"/>
                  </a:lnTo>
                  <a:lnTo>
                    <a:pt x="630" y="1020"/>
                  </a:lnTo>
                  <a:lnTo>
                    <a:pt x="618" y="1020"/>
                  </a:lnTo>
                  <a:lnTo>
                    <a:pt x="606" y="1014"/>
                  </a:lnTo>
                  <a:lnTo>
                    <a:pt x="582" y="1014"/>
                  </a:lnTo>
                  <a:lnTo>
                    <a:pt x="576" y="1014"/>
                  </a:lnTo>
                  <a:lnTo>
                    <a:pt x="570" y="1014"/>
                  </a:lnTo>
                  <a:lnTo>
                    <a:pt x="564" y="1020"/>
                  </a:lnTo>
                  <a:lnTo>
                    <a:pt x="558" y="1026"/>
                  </a:lnTo>
                  <a:lnTo>
                    <a:pt x="552" y="1032"/>
                  </a:lnTo>
                  <a:lnTo>
                    <a:pt x="552" y="1038"/>
                  </a:lnTo>
                  <a:lnTo>
                    <a:pt x="558" y="1194"/>
                  </a:lnTo>
                  <a:lnTo>
                    <a:pt x="558" y="1206"/>
                  </a:lnTo>
                  <a:lnTo>
                    <a:pt x="552" y="1218"/>
                  </a:lnTo>
                  <a:lnTo>
                    <a:pt x="552" y="1236"/>
                  </a:lnTo>
                  <a:lnTo>
                    <a:pt x="546" y="1272"/>
                  </a:lnTo>
                  <a:lnTo>
                    <a:pt x="546" y="1308"/>
                  </a:lnTo>
                  <a:lnTo>
                    <a:pt x="540" y="1332"/>
                  </a:lnTo>
                  <a:lnTo>
                    <a:pt x="546" y="1356"/>
                  </a:lnTo>
                  <a:lnTo>
                    <a:pt x="546" y="1362"/>
                  </a:lnTo>
                  <a:lnTo>
                    <a:pt x="546" y="1374"/>
                  </a:lnTo>
                  <a:lnTo>
                    <a:pt x="546" y="1380"/>
                  </a:lnTo>
                  <a:lnTo>
                    <a:pt x="540" y="1380"/>
                  </a:lnTo>
                  <a:lnTo>
                    <a:pt x="522" y="1380"/>
                  </a:lnTo>
                  <a:lnTo>
                    <a:pt x="516" y="1380"/>
                  </a:lnTo>
                  <a:lnTo>
                    <a:pt x="516" y="1386"/>
                  </a:lnTo>
                  <a:lnTo>
                    <a:pt x="516" y="1392"/>
                  </a:lnTo>
                  <a:lnTo>
                    <a:pt x="510" y="1392"/>
                  </a:lnTo>
                  <a:lnTo>
                    <a:pt x="504" y="1386"/>
                  </a:lnTo>
                  <a:lnTo>
                    <a:pt x="498" y="1392"/>
                  </a:lnTo>
                  <a:lnTo>
                    <a:pt x="492" y="1398"/>
                  </a:lnTo>
                  <a:lnTo>
                    <a:pt x="486" y="1398"/>
                  </a:lnTo>
                  <a:lnTo>
                    <a:pt x="486" y="1392"/>
                  </a:lnTo>
                  <a:lnTo>
                    <a:pt x="486" y="1380"/>
                  </a:lnTo>
                  <a:lnTo>
                    <a:pt x="486" y="1374"/>
                  </a:lnTo>
                  <a:lnTo>
                    <a:pt x="480" y="1374"/>
                  </a:lnTo>
                  <a:lnTo>
                    <a:pt x="474" y="1374"/>
                  </a:lnTo>
                  <a:lnTo>
                    <a:pt x="468" y="1380"/>
                  </a:lnTo>
                  <a:lnTo>
                    <a:pt x="462" y="1380"/>
                  </a:lnTo>
                  <a:lnTo>
                    <a:pt x="456" y="1380"/>
                  </a:lnTo>
                  <a:lnTo>
                    <a:pt x="450" y="1386"/>
                  </a:lnTo>
                  <a:lnTo>
                    <a:pt x="444" y="1386"/>
                  </a:lnTo>
                  <a:lnTo>
                    <a:pt x="444" y="1392"/>
                  </a:lnTo>
                  <a:lnTo>
                    <a:pt x="432" y="1398"/>
                  </a:lnTo>
                  <a:lnTo>
                    <a:pt x="426" y="1404"/>
                  </a:lnTo>
                  <a:lnTo>
                    <a:pt x="420" y="1404"/>
                  </a:lnTo>
                  <a:lnTo>
                    <a:pt x="408" y="1404"/>
                  </a:lnTo>
                  <a:lnTo>
                    <a:pt x="378" y="1410"/>
                  </a:lnTo>
                  <a:lnTo>
                    <a:pt x="372" y="1410"/>
                  </a:lnTo>
                  <a:lnTo>
                    <a:pt x="360" y="1410"/>
                  </a:lnTo>
                  <a:lnTo>
                    <a:pt x="354" y="1416"/>
                  </a:lnTo>
                  <a:lnTo>
                    <a:pt x="348" y="1416"/>
                  </a:lnTo>
                  <a:lnTo>
                    <a:pt x="342" y="1410"/>
                  </a:lnTo>
                  <a:lnTo>
                    <a:pt x="336" y="1410"/>
                  </a:lnTo>
                  <a:lnTo>
                    <a:pt x="336" y="1416"/>
                  </a:lnTo>
                  <a:lnTo>
                    <a:pt x="330" y="1422"/>
                  </a:lnTo>
                  <a:lnTo>
                    <a:pt x="324" y="1422"/>
                  </a:lnTo>
                  <a:lnTo>
                    <a:pt x="318" y="1422"/>
                  </a:lnTo>
                  <a:lnTo>
                    <a:pt x="312" y="1428"/>
                  </a:lnTo>
                  <a:lnTo>
                    <a:pt x="312" y="1434"/>
                  </a:lnTo>
                  <a:lnTo>
                    <a:pt x="300" y="1428"/>
                  </a:lnTo>
                  <a:lnTo>
                    <a:pt x="288" y="1434"/>
                  </a:lnTo>
                  <a:lnTo>
                    <a:pt x="282" y="1440"/>
                  </a:lnTo>
                  <a:lnTo>
                    <a:pt x="282" y="1446"/>
                  </a:lnTo>
                  <a:lnTo>
                    <a:pt x="276" y="1446"/>
                  </a:lnTo>
                  <a:lnTo>
                    <a:pt x="276" y="1452"/>
                  </a:lnTo>
                  <a:lnTo>
                    <a:pt x="270" y="1452"/>
                  </a:lnTo>
                  <a:lnTo>
                    <a:pt x="258" y="1464"/>
                  </a:lnTo>
                  <a:lnTo>
                    <a:pt x="240" y="1458"/>
                  </a:lnTo>
                  <a:lnTo>
                    <a:pt x="234" y="1452"/>
                  </a:lnTo>
                  <a:lnTo>
                    <a:pt x="234" y="1446"/>
                  </a:lnTo>
                  <a:lnTo>
                    <a:pt x="228" y="1446"/>
                  </a:lnTo>
                  <a:lnTo>
                    <a:pt x="222" y="1440"/>
                  </a:lnTo>
                  <a:lnTo>
                    <a:pt x="216" y="1440"/>
                  </a:lnTo>
                  <a:lnTo>
                    <a:pt x="210" y="1428"/>
                  </a:lnTo>
                  <a:lnTo>
                    <a:pt x="210" y="1422"/>
                  </a:lnTo>
                  <a:lnTo>
                    <a:pt x="198" y="1416"/>
                  </a:lnTo>
                  <a:lnTo>
                    <a:pt x="204" y="1410"/>
                  </a:lnTo>
                  <a:lnTo>
                    <a:pt x="210" y="1404"/>
                  </a:lnTo>
                  <a:lnTo>
                    <a:pt x="210" y="1398"/>
                  </a:lnTo>
                  <a:lnTo>
                    <a:pt x="252" y="1368"/>
                  </a:lnTo>
                  <a:lnTo>
                    <a:pt x="276" y="1350"/>
                  </a:lnTo>
                  <a:lnTo>
                    <a:pt x="300" y="1338"/>
                  </a:lnTo>
                  <a:lnTo>
                    <a:pt x="294" y="1314"/>
                  </a:lnTo>
                  <a:lnTo>
                    <a:pt x="288" y="1308"/>
                  </a:lnTo>
                  <a:lnTo>
                    <a:pt x="300" y="1266"/>
                  </a:lnTo>
                  <a:lnTo>
                    <a:pt x="300" y="1242"/>
                  </a:lnTo>
                  <a:lnTo>
                    <a:pt x="300" y="1206"/>
                  </a:lnTo>
                  <a:lnTo>
                    <a:pt x="300" y="1164"/>
                  </a:lnTo>
                  <a:lnTo>
                    <a:pt x="294" y="1134"/>
                  </a:lnTo>
                  <a:lnTo>
                    <a:pt x="282" y="1086"/>
                  </a:lnTo>
                  <a:lnTo>
                    <a:pt x="276" y="1074"/>
                  </a:lnTo>
                  <a:lnTo>
                    <a:pt x="276" y="1056"/>
                  </a:lnTo>
                  <a:lnTo>
                    <a:pt x="270" y="1038"/>
                  </a:lnTo>
                  <a:lnTo>
                    <a:pt x="270" y="1020"/>
                  </a:lnTo>
                  <a:lnTo>
                    <a:pt x="282" y="1020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94" y="1002"/>
                  </a:lnTo>
                  <a:lnTo>
                    <a:pt x="306" y="996"/>
                  </a:lnTo>
                  <a:lnTo>
                    <a:pt x="312" y="990"/>
                  </a:lnTo>
                  <a:lnTo>
                    <a:pt x="318" y="990"/>
                  </a:lnTo>
                  <a:lnTo>
                    <a:pt x="324" y="984"/>
                  </a:lnTo>
                  <a:lnTo>
                    <a:pt x="324" y="978"/>
                  </a:lnTo>
                  <a:lnTo>
                    <a:pt x="324" y="972"/>
                  </a:lnTo>
                  <a:lnTo>
                    <a:pt x="324" y="954"/>
                  </a:lnTo>
                  <a:lnTo>
                    <a:pt x="336" y="948"/>
                  </a:lnTo>
                  <a:lnTo>
                    <a:pt x="342" y="936"/>
                  </a:lnTo>
                  <a:lnTo>
                    <a:pt x="348" y="924"/>
                  </a:lnTo>
                  <a:lnTo>
                    <a:pt x="354" y="924"/>
                  </a:lnTo>
                  <a:lnTo>
                    <a:pt x="372" y="924"/>
                  </a:lnTo>
                  <a:lnTo>
                    <a:pt x="372" y="930"/>
                  </a:lnTo>
                  <a:lnTo>
                    <a:pt x="378" y="930"/>
                  </a:lnTo>
                  <a:lnTo>
                    <a:pt x="378" y="936"/>
                  </a:lnTo>
                  <a:lnTo>
                    <a:pt x="384" y="936"/>
                  </a:lnTo>
                  <a:lnTo>
                    <a:pt x="384" y="942"/>
                  </a:lnTo>
                  <a:lnTo>
                    <a:pt x="402" y="942"/>
                  </a:lnTo>
                  <a:lnTo>
                    <a:pt x="402" y="996"/>
                  </a:lnTo>
                  <a:lnTo>
                    <a:pt x="414" y="996"/>
                  </a:lnTo>
                  <a:lnTo>
                    <a:pt x="420" y="996"/>
                  </a:lnTo>
                  <a:lnTo>
                    <a:pt x="426" y="996"/>
                  </a:lnTo>
                  <a:lnTo>
                    <a:pt x="432" y="996"/>
                  </a:lnTo>
                  <a:lnTo>
                    <a:pt x="438" y="996"/>
                  </a:lnTo>
                  <a:lnTo>
                    <a:pt x="438" y="942"/>
                  </a:lnTo>
                  <a:lnTo>
                    <a:pt x="444" y="930"/>
                  </a:lnTo>
                  <a:lnTo>
                    <a:pt x="444" y="924"/>
                  </a:lnTo>
                  <a:lnTo>
                    <a:pt x="444" y="918"/>
                  </a:lnTo>
                  <a:lnTo>
                    <a:pt x="462" y="918"/>
                  </a:lnTo>
                  <a:lnTo>
                    <a:pt x="474" y="906"/>
                  </a:lnTo>
                  <a:lnTo>
                    <a:pt x="480" y="900"/>
                  </a:lnTo>
                  <a:lnTo>
                    <a:pt x="486" y="888"/>
                  </a:lnTo>
                  <a:lnTo>
                    <a:pt x="492" y="876"/>
                  </a:lnTo>
                  <a:lnTo>
                    <a:pt x="492" y="858"/>
                  </a:lnTo>
                  <a:lnTo>
                    <a:pt x="480" y="858"/>
                  </a:lnTo>
                  <a:lnTo>
                    <a:pt x="474" y="840"/>
                  </a:lnTo>
                  <a:lnTo>
                    <a:pt x="450" y="834"/>
                  </a:lnTo>
                  <a:lnTo>
                    <a:pt x="438" y="816"/>
                  </a:lnTo>
                  <a:lnTo>
                    <a:pt x="432" y="792"/>
                  </a:lnTo>
                  <a:lnTo>
                    <a:pt x="432" y="786"/>
                  </a:lnTo>
                  <a:lnTo>
                    <a:pt x="432" y="774"/>
                  </a:lnTo>
                  <a:lnTo>
                    <a:pt x="432" y="762"/>
                  </a:lnTo>
                  <a:lnTo>
                    <a:pt x="438" y="750"/>
                  </a:lnTo>
                  <a:lnTo>
                    <a:pt x="438" y="738"/>
                  </a:lnTo>
                  <a:lnTo>
                    <a:pt x="444" y="732"/>
                  </a:lnTo>
                  <a:lnTo>
                    <a:pt x="450" y="732"/>
                  </a:lnTo>
                  <a:lnTo>
                    <a:pt x="456" y="732"/>
                  </a:lnTo>
                  <a:lnTo>
                    <a:pt x="456" y="726"/>
                  </a:lnTo>
                  <a:lnTo>
                    <a:pt x="456" y="714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44" y="684"/>
                  </a:lnTo>
                  <a:lnTo>
                    <a:pt x="438" y="666"/>
                  </a:lnTo>
                  <a:lnTo>
                    <a:pt x="426" y="666"/>
                  </a:lnTo>
                  <a:lnTo>
                    <a:pt x="432" y="666"/>
                  </a:lnTo>
                  <a:lnTo>
                    <a:pt x="420" y="666"/>
                  </a:lnTo>
                  <a:lnTo>
                    <a:pt x="414" y="660"/>
                  </a:lnTo>
                  <a:lnTo>
                    <a:pt x="396" y="654"/>
                  </a:lnTo>
                  <a:lnTo>
                    <a:pt x="384" y="642"/>
                  </a:lnTo>
                  <a:lnTo>
                    <a:pt x="366" y="624"/>
                  </a:lnTo>
                  <a:lnTo>
                    <a:pt x="354" y="606"/>
                  </a:lnTo>
                  <a:lnTo>
                    <a:pt x="342" y="588"/>
                  </a:lnTo>
                  <a:lnTo>
                    <a:pt x="342" y="582"/>
                  </a:lnTo>
                  <a:lnTo>
                    <a:pt x="360" y="564"/>
                  </a:lnTo>
                  <a:lnTo>
                    <a:pt x="372" y="540"/>
                  </a:lnTo>
                  <a:lnTo>
                    <a:pt x="366" y="528"/>
                  </a:lnTo>
                  <a:lnTo>
                    <a:pt x="366" y="522"/>
                  </a:lnTo>
                  <a:lnTo>
                    <a:pt x="372" y="516"/>
                  </a:lnTo>
                  <a:lnTo>
                    <a:pt x="384" y="504"/>
                  </a:lnTo>
                  <a:lnTo>
                    <a:pt x="378" y="492"/>
                  </a:lnTo>
                  <a:lnTo>
                    <a:pt x="378" y="486"/>
                  </a:lnTo>
                  <a:lnTo>
                    <a:pt x="378" y="480"/>
                  </a:lnTo>
                  <a:lnTo>
                    <a:pt x="378" y="474"/>
                  </a:lnTo>
                  <a:lnTo>
                    <a:pt x="378" y="468"/>
                  </a:lnTo>
                  <a:lnTo>
                    <a:pt x="366" y="468"/>
                  </a:lnTo>
                  <a:lnTo>
                    <a:pt x="360" y="474"/>
                  </a:lnTo>
                  <a:lnTo>
                    <a:pt x="354" y="480"/>
                  </a:lnTo>
                  <a:lnTo>
                    <a:pt x="348" y="486"/>
                  </a:lnTo>
                  <a:lnTo>
                    <a:pt x="348" y="492"/>
                  </a:lnTo>
                  <a:lnTo>
                    <a:pt x="336" y="510"/>
                  </a:lnTo>
                  <a:lnTo>
                    <a:pt x="300" y="516"/>
                  </a:lnTo>
                  <a:lnTo>
                    <a:pt x="300" y="510"/>
                  </a:lnTo>
                  <a:lnTo>
                    <a:pt x="282" y="504"/>
                  </a:lnTo>
                  <a:lnTo>
                    <a:pt x="282" y="498"/>
                  </a:lnTo>
                  <a:lnTo>
                    <a:pt x="264" y="486"/>
                  </a:lnTo>
                  <a:lnTo>
                    <a:pt x="258" y="492"/>
                  </a:lnTo>
                  <a:lnTo>
                    <a:pt x="234" y="492"/>
                  </a:lnTo>
                  <a:lnTo>
                    <a:pt x="222" y="486"/>
                  </a:lnTo>
                  <a:lnTo>
                    <a:pt x="204" y="480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92" y="462"/>
                  </a:lnTo>
                  <a:lnTo>
                    <a:pt x="186" y="462"/>
                  </a:lnTo>
                  <a:lnTo>
                    <a:pt x="180" y="468"/>
                  </a:lnTo>
                  <a:lnTo>
                    <a:pt x="150" y="450"/>
                  </a:lnTo>
                  <a:lnTo>
                    <a:pt x="144" y="438"/>
                  </a:lnTo>
                  <a:lnTo>
                    <a:pt x="138" y="438"/>
                  </a:lnTo>
                  <a:lnTo>
                    <a:pt x="132" y="432"/>
                  </a:lnTo>
                  <a:lnTo>
                    <a:pt x="126" y="432"/>
                  </a:lnTo>
                  <a:lnTo>
                    <a:pt x="120" y="432"/>
                  </a:lnTo>
                  <a:lnTo>
                    <a:pt x="102" y="426"/>
                  </a:lnTo>
                  <a:lnTo>
                    <a:pt x="96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2" y="414"/>
                  </a:lnTo>
                  <a:lnTo>
                    <a:pt x="60" y="414"/>
                  </a:lnTo>
                  <a:lnTo>
                    <a:pt x="30" y="414"/>
                  </a:lnTo>
                  <a:lnTo>
                    <a:pt x="24" y="414"/>
                  </a:lnTo>
                  <a:lnTo>
                    <a:pt x="12" y="414"/>
                  </a:lnTo>
                  <a:lnTo>
                    <a:pt x="0" y="420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0" y="336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30" y="270"/>
                  </a:lnTo>
                  <a:lnTo>
                    <a:pt x="42" y="270"/>
                  </a:lnTo>
                  <a:lnTo>
                    <a:pt x="54" y="264"/>
                  </a:lnTo>
                  <a:lnTo>
                    <a:pt x="78" y="240"/>
                  </a:lnTo>
                  <a:lnTo>
                    <a:pt x="102" y="216"/>
                  </a:lnTo>
                  <a:lnTo>
                    <a:pt x="114" y="210"/>
                  </a:lnTo>
                  <a:lnTo>
                    <a:pt x="120" y="204"/>
                  </a:lnTo>
                  <a:lnTo>
                    <a:pt x="126" y="198"/>
                  </a:lnTo>
                  <a:lnTo>
                    <a:pt x="138" y="18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38"/>
                  </a:lnTo>
                  <a:lnTo>
                    <a:pt x="210" y="126"/>
                  </a:lnTo>
                  <a:lnTo>
                    <a:pt x="216" y="120"/>
                  </a:lnTo>
                  <a:lnTo>
                    <a:pt x="222" y="120"/>
                  </a:lnTo>
                  <a:lnTo>
                    <a:pt x="258" y="114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300" y="102"/>
                  </a:lnTo>
                  <a:lnTo>
                    <a:pt x="312" y="102"/>
                  </a:lnTo>
                  <a:lnTo>
                    <a:pt x="318" y="102"/>
                  </a:lnTo>
                  <a:lnTo>
                    <a:pt x="348" y="96"/>
                  </a:lnTo>
                  <a:lnTo>
                    <a:pt x="366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408" y="84"/>
                  </a:lnTo>
                  <a:lnTo>
                    <a:pt x="420" y="84"/>
                  </a:lnTo>
                  <a:lnTo>
                    <a:pt x="462" y="72"/>
                  </a:lnTo>
                  <a:lnTo>
                    <a:pt x="474" y="72"/>
                  </a:lnTo>
                  <a:lnTo>
                    <a:pt x="474" y="78"/>
                  </a:lnTo>
                  <a:lnTo>
                    <a:pt x="492" y="90"/>
                  </a:lnTo>
                  <a:lnTo>
                    <a:pt x="498" y="90"/>
                  </a:lnTo>
                  <a:lnTo>
                    <a:pt x="522" y="96"/>
                  </a:lnTo>
                  <a:lnTo>
                    <a:pt x="540" y="96"/>
                  </a:lnTo>
                  <a:lnTo>
                    <a:pt x="546" y="96"/>
                  </a:lnTo>
                  <a:lnTo>
                    <a:pt x="558" y="96"/>
                  </a:lnTo>
                  <a:lnTo>
                    <a:pt x="564" y="96"/>
                  </a:lnTo>
                  <a:lnTo>
                    <a:pt x="576" y="96"/>
                  </a:lnTo>
                  <a:lnTo>
                    <a:pt x="588" y="96"/>
                  </a:lnTo>
                  <a:lnTo>
                    <a:pt x="612" y="90"/>
                  </a:lnTo>
                  <a:lnTo>
                    <a:pt x="624" y="90"/>
                  </a:lnTo>
                  <a:lnTo>
                    <a:pt x="636" y="90"/>
                  </a:lnTo>
                  <a:lnTo>
                    <a:pt x="642" y="90"/>
                  </a:lnTo>
                  <a:lnTo>
                    <a:pt x="648" y="96"/>
                  </a:lnTo>
                  <a:lnTo>
                    <a:pt x="660" y="96"/>
                  </a:lnTo>
                  <a:lnTo>
                    <a:pt x="666" y="96"/>
                  </a:lnTo>
                  <a:lnTo>
                    <a:pt x="672" y="96"/>
                  </a:lnTo>
                  <a:lnTo>
                    <a:pt x="684" y="96"/>
                  </a:lnTo>
                  <a:lnTo>
                    <a:pt x="708" y="96"/>
                  </a:lnTo>
                  <a:lnTo>
                    <a:pt x="714" y="96"/>
                  </a:lnTo>
                  <a:lnTo>
                    <a:pt x="726" y="96"/>
                  </a:lnTo>
                  <a:lnTo>
                    <a:pt x="738" y="84"/>
                  </a:lnTo>
                  <a:lnTo>
                    <a:pt x="744" y="78"/>
                  </a:lnTo>
                  <a:lnTo>
                    <a:pt x="756" y="66"/>
                  </a:lnTo>
                  <a:lnTo>
                    <a:pt x="774" y="42"/>
                  </a:lnTo>
                  <a:lnTo>
                    <a:pt x="780" y="30"/>
                  </a:lnTo>
                  <a:lnTo>
                    <a:pt x="816" y="24"/>
                  </a:lnTo>
                  <a:lnTo>
                    <a:pt x="840" y="18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64" y="6"/>
                  </a:lnTo>
                  <a:lnTo>
                    <a:pt x="870" y="6"/>
                  </a:lnTo>
                  <a:lnTo>
                    <a:pt x="894" y="0"/>
                  </a:lnTo>
                  <a:lnTo>
                    <a:pt x="900" y="6"/>
                  </a:lnTo>
                  <a:lnTo>
                    <a:pt x="930" y="18"/>
                  </a:lnTo>
                  <a:lnTo>
                    <a:pt x="942" y="24"/>
                  </a:lnTo>
                  <a:lnTo>
                    <a:pt x="954" y="30"/>
                  </a:lnTo>
                  <a:lnTo>
                    <a:pt x="1026" y="60"/>
                  </a:lnTo>
                  <a:lnTo>
                    <a:pt x="1032" y="60"/>
                  </a:lnTo>
                  <a:lnTo>
                    <a:pt x="1038" y="66"/>
                  </a:lnTo>
                  <a:lnTo>
                    <a:pt x="1068" y="72"/>
                  </a:lnTo>
                  <a:lnTo>
                    <a:pt x="1098" y="84"/>
                  </a:lnTo>
                  <a:lnTo>
                    <a:pt x="1122" y="90"/>
                  </a:lnTo>
                  <a:lnTo>
                    <a:pt x="1122" y="96"/>
                  </a:lnTo>
                  <a:lnTo>
                    <a:pt x="1140" y="102"/>
                  </a:lnTo>
                  <a:lnTo>
                    <a:pt x="1182" y="114"/>
                  </a:lnTo>
                  <a:lnTo>
                    <a:pt x="1188" y="114"/>
                  </a:lnTo>
                  <a:lnTo>
                    <a:pt x="1200" y="120"/>
                  </a:lnTo>
                  <a:lnTo>
                    <a:pt x="1212" y="126"/>
                  </a:lnTo>
                  <a:lnTo>
                    <a:pt x="1224" y="126"/>
                  </a:lnTo>
                  <a:lnTo>
                    <a:pt x="1248" y="138"/>
                  </a:lnTo>
                  <a:lnTo>
                    <a:pt x="1272" y="150"/>
                  </a:lnTo>
                  <a:lnTo>
                    <a:pt x="1284" y="156"/>
                  </a:lnTo>
                  <a:lnTo>
                    <a:pt x="1290" y="162"/>
                  </a:lnTo>
                  <a:lnTo>
                    <a:pt x="1296" y="162"/>
                  </a:lnTo>
                  <a:lnTo>
                    <a:pt x="1308" y="156"/>
                  </a:lnTo>
                  <a:lnTo>
                    <a:pt x="1320" y="150"/>
                  </a:lnTo>
                  <a:lnTo>
                    <a:pt x="1326" y="150"/>
                  </a:lnTo>
                  <a:lnTo>
                    <a:pt x="1338" y="144"/>
                  </a:lnTo>
                  <a:lnTo>
                    <a:pt x="1362" y="144"/>
                  </a:lnTo>
                  <a:lnTo>
                    <a:pt x="1368" y="144"/>
                  </a:lnTo>
                  <a:lnTo>
                    <a:pt x="1374" y="144"/>
                  </a:lnTo>
                  <a:lnTo>
                    <a:pt x="1386" y="150"/>
                  </a:lnTo>
                  <a:lnTo>
                    <a:pt x="1392" y="150"/>
                  </a:lnTo>
                  <a:lnTo>
                    <a:pt x="1398" y="150"/>
                  </a:lnTo>
                  <a:lnTo>
                    <a:pt x="1416" y="162"/>
                  </a:lnTo>
                  <a:lnTo>
                    <a:pt x="1458" y="186"/>
                  </a:lnTo>
                  <a:lnTo>
                    <a:pt x="1464" y="186"/>
                  </a:lnTo>
                  <a:lnTo>
                    <a:pt x="1470" y="192"/>
                  </a:lnTo>
                  <a:lnTo>
                    <a:pt x="1482" y="204"/>
                  </a:lnTo>
                  <a:lnTo>
                    <a:pt x="1512" y="234"/>
                  </a:lnTo>
                  <a:lnTo>
                    <a:pt x="1554" y="276"/>
                  </a:lnTo>
                  <a:lnTo>
                    <a:pt x="1560" y="276"/>
                  </a:lnTo>
                  <a:lnTo>
                    <a:pt x="1566" y="282"/>
                  </a:lnTo>
                  <a:lnTo>
                    <a:pt x="1578" y="294"/>
                  </a:lnTo>
                  <a:lnTo>
                    <a:pt x="1602" y="318"/>
                  </a:lnTo>
                  <a:lnTo>
                    <a:pt x="1614" y="330"/>
                  </a:lnTo>
                  <a:lnTo>
                    <a:pt x="1620" y="336"/>
                  </a:lnTo>
                  <a:lnTo>
                    <a:pt x="1626" y="342"/>
                  </a:lnTo>
                  <a:lnTo>
                    <a:pt x="1632" y="354"/>
                  </a:lnTo>
                  <a:lnTo>
                    <a:pt x="1644" y="366"/>
                  </a:lnTo>
                  <a:lnTo>
                    <a:pt x="1650" y="378"/>
                  </a:lnTo>
                  <a:lnTo>
                    <a:pt x="1650" y="384"/>
                  </a:lnTo>
                  <a:lnTo>
                    <a:pt x="1656" y="384"/>
                  </a:lnTo>
                  <a:lnTo>
                    <a:pt x="1662" y="402"/>
                  </a:lnTo>
                  <a:lnTo>
                    <a:pt x="1668" y="408"/>
                  </a:lnTo>
                  <a:lnTo>
                    <a:pt x="1674" y="426"/>
                  </a:lnTo>
                  <a:lnTo>
                    <a:pt x="1686" y="438"/>
                  </a:lnTo>
                  <a:lnTo>
                    <a:pt x="1698" y="46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9" name="Freeform 34">
              <a:extLst>
                <a:ext uri="{FF2B5EF4-FFF2-40B4-BE49-F238E27FC236}">
                  <a16:creationId xmlns:a16="http://schemas.microsoft.com/office/drawing/2014/main" id="{94603F24-8CF7-4226-A433-00D18CA7D9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1988" y="1681402"/>
              <a:ext cx="869877" cy="1060101"/>
            </a:xfrm>
            <a:custGeom>
              <a:avLst/>
              <a:gdLst>
                <a:gd name="T0" fmla="*/ 4 w 1638"/>
                <a:gd name="T1" fmla="*/ 111 h 1998"/>
                <a:gd name="T2" fmla="*/ 6 w 1638"/>
                <a:gd name="T3" fmla="*/ 87 h 1998"/>
                <a:gd name="T4" fmla="*/ 10 w 1638"/>
                <a:gd name="T5" fmla="*/ 80 h 1998"/>
                <a:gd name="T6" fmla="*/ 10 w 1638"/>
                <a:gd name="T7" fmla="*/ 71 h 1998"/>
                <a:gd name="T8" fmla="*/ 9 w 1638"/>
                <a:gd name="T9" fmla="*/ 56 h 1998"/>
                <a:gd name="T10" fmla="*/ 8 w 1638"/>
                <a:gd name="T11" fmla="*/ 40 h 1998"/>
                <a:gd name="T12" fmla="*/ 20 w 1638"/>
                <a:gd name="T13" fmla="*/ 30 h 1998"/>
                <a:gd name="T14" fmla="*/ 30 w 1638"/>
                <a:gd name="T15" fmla="*/ 19 h 1998"/>
                <a:gd name="T16" fmla="*/ 35 w 1638"/>
                <a:gd name="T17" fmla="*/ 2 h 1998"/>
                <a:gd name="T18" fmla="*/ 47 w 1638"/>
                <a:gd name="T19" fmla="*/ 2 h 1998"/>
                <a:gd name="T20" fmla="*/ 56 w 1638"/>
                <a:gd name="T21" fmla="*/ 7 h 1998"/>
                <a:gd name="T22" fmla="*/ 67 w 1638"/>
                <a:gd name="T23" fmla="*/ 5 h 1998"/>
                <a:gd name="T24" fmla="*/ 65 w 1638"/>
                <a:gd name="T25" fmla="*/ 15 h 1998"/>
                <a:gd name="T26" fmla="*/ 74 w 1638"/>
                <a:gd name="T27" fmla="*/ 24 h 1998"/>
                <a:gd name="T28" fmla="*/ 73 w 1638"/>
                <a:gd name="T29" fmla="*/ 33 h 1998"/>
                <a:gd name="T30" fmla="*/ 74 w 1638"/>
                <a:gd name="T31" fmla="*/ 44 h 1998"/>
                <a:gd name="T32" fmla="*/ 68 w 1638"/>
                <a:gd name="T33" fmla="*/ 45 h 1998"/>
                <a:gd name="T34" fmla="*/ 63 w 1638"/>
                <a:gd name="T35" fmla="*/ 50 h 1998"/>
                <a:gd name="T36" fmla="*/ 61 w 1638"/>
                <a:gd name="T37" fmla="*/ 62 h 1998"/>
                <a:gd name="T38" fmla="*/ 53 w 1638"/>
                <a:gd name="T39" fmla="*/ 86 h 1998"/>
                <a:gd name="T40" fmla="*/ 59 w 1638"/>
                <a:gd name="T41" fmla="*/ 90 h 1998"/>
                <a:gd name="T42" fmla="*/ 65 w 1638"/>
                <a:gd name="T43" fmla="*/ 86 h 1998"/>
                <a:gd name="T44" fmla="*/ 74 w 1638"/>
                <a:gd name="T45" fmla="*/ 84 h 1998"/>
                <a:gd name="T46" fmla="*/ 79 w 1638"/>
                <a:gd name="T47" fmla="*/ 85 h 1998"/>
                <a:gd name="T48" fmla="*/ 84 w 1638"/>
                <a:gd name="T49" fmla="*/ 84 h 1998"/>
                <a:gd name="T50" fmla="*/ 91 w 1638"/>
                <a:gd name="T51" fmla="*/ 84 h 1998"/>
                <a:gd name="T52" fmla="*/ 94 w 1638"/>
                <a:gd name="T53" fmla="*/ 81 h 1998"/>
                <a:gd name="T54" fmla="*/ 100 w 1638"/>
                <a:gd name="T55" fmla="*/ 81 h 1998"/>
                <a:gd name="T56" fmla="*/ 102 w 1638"/>
                <a:gd name="T57" fmla="*/ 84 h 1998"/>
                <a:gd name="T58" fmla="*/ 108 w 1638"/>
                <a:gd name="T59" fmla="*/ 85 h 1998"/>
                <a:gd name="T60" fmla="*/ 113 w 1638"/>
                <a:gd name="T61" fmla="*/ 88 h 1998"/>
                <a:gd name="T62" fmla="*/ 116 w 1638"/>
                <a:gd name="T63" fmla="*/ 88 h 1998"/>
                <a:gd name="T64" fmla="*/ 123 w 1638"/>
                <a:gd name="T65" fmla="*/ 87 h 1998"/>
                <a:gd name="T66" fmla="*/ 128 w 1638"/>
                <a:gd name="T67" fmla="*/ 86 h 1998"/>
                <a:gd name="T68" fmla="*/ 132 w 1638"/>
                <a:gd name="T69" fmla="*/ 90 h 1998"/>
                <a:gd name="T70" fmla="*/ 138 w 1638"/>
                <a:gd name="T71" fmla="*/ 96 h 1998"/>
                <a:gd name="T72" fmla="*/ 138 w 1638"/>
                <a:gd name="T73" fmla="*/ 110 h 1998"/>
                <a:gd name="T74" fmla="*/ 137 w 1638"/>
                <a:gd name="T75" fmla="*/ 118 h 1998"/>
                <a:gd name="T76" fmla="*/ 133 w 1638"/>
                <a:gd name="T77" fmla="*/ 124 h 1998"/>
                <a:gd name="T78" fmla="*/ 122 w 1638"/>
                <a:gd name="T79" fmla="*/ 125 h 1998"/>
                <a:gd name="T80" fmla="*/ 116 w 1638"/>
                <a:gd name="T81" fmla="*/ 127 h 1998"/>
                <a:gd name="T82" fmla="*/ 108 w 1638"/>
                <a:gd name="T83" fmla="*/ 123 h 1998"/>
                <a:gd name="T84" fmla="*/ 109 w 1638"/>
                <a:gd name="T85" fmla="*/ 119 h 1998"/>
                <a:gd name="T86" fmla="*/ 104 w 1638"/>
                <a:gd name="T87" fmla="*/ 104 h 1998"/>
                <a:gd name="T88" fmla="*/ 94 w 1638"/>
                <a:gd name="T89" fmla="*/ 105 h 1998"/>
                <a:gd name="T90" fmla="*/ 88 w 1638"/>
                <a:gd name="T91" fmla="*/ 109 h 1998"/>
                <a:gd name="T92" fmla="*/ 76 w 1638"/>
                <a:gd name="T93" fmla="*/ 107 h 1998"/>
                <a:gd name="T94" fmla="*/ 72 w 1638"/>
                <a:gd name="T95" fmla="*/ 114 h 1998"/>
                <a:gd name="T96" fmla="*/ 86 w 1638"/>
                <a:gd name="T97" fmla="*/ 121 h 1998"/>
                <a:gd name="T98" fmla="*/ 87 w 1638"/>
                <a:gd name="T99" fmla="*/ 129 h 1998"/>
                <a:gd name="T100" fmla="*/ 86 w 1638"/>
                <a:gd name="T101" fmla="*/ 137 h 1998"/>
                <a:gd name="T102" fmla="*/ 79 w 1638"/>
                <a:gd name="T103" fmla="*/ 141 h 1998"/>
                <a:gd name="T104" fmla="*/ 73 w 1638"/>
                <a:gd name="T105" fmla="*/ 144 h 1998"/>
                <a:gd name="T106" fmla="*/ 72 w 1638"/>
                <a:gd name="T107" fmla="*/ 164 h 1998"/>
                <a:gd name="T108" fmla="*/ 68 w 1638"/>
                <a:gd name="T109" fmla="*/ 172 h 1998"/>
                <a:gd name="T110" fmla="*/ 59 w 1638"/>
                <a:gd name="T111" fmla="*/ 164 h 1998"/>
                <a:gd name="T112" fmla="*/ 65 w 1638"/>
                <a:gd name="T113" fmla="*/ 146 h 1998"/>
                <a:gd name="T114" fmla="*/ 69 w 1638"/>
                <a:gd name="T115" fmla="*/ 133 h 1998"/>
                <a:gd name="T116" fmla="*/ 61 w 1638"/>
                <a:gd name="T117" fmla="*/ 131 h 1998"/>
                <a:gd name="T118" fmla="*/ 43 w 1638"/>
                <a:gd name="T119" fmla="*/ 125 h 1998"/>
                <a:gd name="T120" fmla="*/ 23 w 1638"/>
                <a:gd name="T121" fmla="*/ 125 h 1998"/>
                <a:gd name="T122" fmla="*/ 17 w 1638"/>
                <a:gd name="T123" fmla="*/ 121 h 19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638"/>
                <a:gd name="T187" fmla="*/ 0 h 1998"/>
                <a:gd name="T188" fmla="*/ 1638 w 1638"/>
                <a:gd name="T189" fmla="*/ 1998 h 19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638" h="1998">
                  <a:moveTo>
                    <a:pt x="144" y="1380"/>
                  </a:moveTo>
                  <a:lnTo>
                    <a:pt x="150" y="1368"/>
                  </a:lnTo>
                  <a:lnTo>
                    <a:pt x="150" y="1362"/>
                  </a:lnTo>
                  <a:lnTo>
                    <a:pt x="150" y="1356"/>
                  </a:lnTo>
                  <a:lnTo>
                    <a:pt x="144" y="1356"/>
                  </a:lnTo>
                  <a:lnTo>
                    <a:pt x="138" y="1356"/>
                  </a:lnTo>
                  <a:lnTo>
                    <a:pt x="126" y="1356"/>
                  </a:lnTo>
                  <a:lnTo>
                    <a:pt x="114" y="1344"/>
                  </a:lnTo>
                  <a:lnTo>
                    <a:pt x="84" y="1320"/>
                  </a:lnTo>
                  <a:lnTo>
                    <a:pt x="54" y="1296"/>
                  </a:lnTo>
                  <a:lnTo>
                    <a:pt x="48" y="1290"/>
                  </a:lnTo>
                  <a:lnTo>
                    <a:pt x="42" y="1278"/>
                  </a:lnTo>
                  <a:lnTo>
                    <a:pt x="30" y="1272"/>
                  </a:lnTo>
                  <a:lnTo>
                    <a:pt x="0" y="1248"/>
                  </a:lnTo>
                  <a:lnTo>
                    <a:pt x="6" y="1230"/>
                  </a:lnTo>
                  <a:lnTo>
                    <a:pt x="12" y="1194"/>
                  </a:lnTo>
                  <a:lnTo>
                    <a:pt x="18" y="1170"/>
                  </a:lnTo>
                  <a:lnTo>
                    <a:pt x="30" y="1134"/>
                  </a:lnTo>
                  <a:lnTo>
                    <a:pt x="36" y="1086"/>
                  </a:lnTo>
                  <a:lnTo>
                    <a:pt x="42" y="1050"/>
                  </a:lnTo>
                  <a:lnTo>
                    <a:pt x="48" y="1044"/>
                  </a:lnTo>
                  <a:lnTo>
                    <a:pt x="54" y="1026"/>
                  </a:lnTo>
                  <a:lnTo>
                    <a:pt x="60" y="1014"/>
                  </a:lnTo>
                  <a:lnTo>
                    <a:pt x="66" y="1002"/>
                  </a:lnTo>
                  <a:lnTo>
                    <a:pt x="66" y="996"/>
                  </a:lnTo>
                  <a:lnTo>
                    <a:pt x="72" y="996"/>
                  </a:lnTo>
                  <a:lnTo>
                    <a:pt x="72" y="990"/>
                  </a:lnTo>
                  <a:lnTo>
                    <a:pt x="78" y="990"/>
                  </a:lnTo>
                  <a:lnTo>
                    <a:pt x="90" y="978"/>
                  </a:lnTo>
                  <a:lnTo>
                    <a:pt x="96" y="966"/>
                  </a:lnTo>
                  <a:lnTo>
                    <a:pt x="102" y="966"/>
                  </a:lnTo>
                  <a:lnTo>
                    <a:pt x="114" y="954"/>
                  </a:lnTo>
                  <a:lnTo>
                    <a:pt x="120" y="954"/>
                  </a:lnTo>
                  <a:lnTo>
                    <a:pt x="120" y="948"/>
                  </a:lnTo>
                  <a:lnTo>
                    <a:pt x="114" y="930"/>
                  </a:lnTo>
                  <a:lnTo>
                    <a:pt x="114" y="924"/>
                  </a:lnTo>
                  <a:lnTo>
                    <a:pt x="108" y="918"/>
                  </a:lnTo>
                  <a:lnTo>
                    <a:pt x="102" y="912"/>
                  </a:lnTo>
                  <a:lnTo>
                    <a:pt x="90" y="906"/>
                  </a:lnTo>
                  <a:lnTo>
                    <a:pt x="84" y="900"/>
                  </a:lnTo>
                  <a:lnTo>
                    <a:pt x="84" y="888"/>
                  </a:lnTo>
                  <a:lnTo>
                    <a:pt x="84" y="882"/>
                  </a:lnTo>
                  <a:lnTo>
                    <a:pt x="78" y="858"/>
                  </a:lnTo>
                  <a:lnTo>
                    <a:pt x="78" y="852"/>
                  </a:lnTo>
                  <a:lnTo>
                    <a:pt x="84" y="846"/>
                  </a:lnTo>
                  <a:lnTo>
                    <a:pt x="84" y="840"/>
                  </a:lnTo>
                  <a:lnTo>
                    <a:pt x="96" y="828"/>
                  </a:lnTo>
                  <a:lnTo>
                    <a:pt x="114" y="816"/>
                  </a:lnTo>
                  <a:lnTo>
                    <a:pt x="114" y="810"/>
                  </a:lnTo>
                  <a:lnTo>
                    <a:pt x="114" y="804"/>
                  </a:lnTo>
                  <a:lnTo>
                    <a:pt x="108" y="780"/>
                  </a:lnTo>
                  <a:lnTo>
                    <a:pt x="96" y="756"/>
                  </a:lnTo>
                  <a:lnTo>
                    <a:pt x="96" y="750"/>
                  </a:lnTo>
                  <a:lnTo>
                    <a:pt x="90" y="720"/>
                  </a:lnTo>
                  <a:lnTo>
                    <a:pt x="90" y="708"/>
                  </a:lnTo>
                  <a:lnTo>
                    <a:pt x="90" y="690"/>
                  </a:lnTo>
                  <a:lnTo>
                    <a:pt x="96" y="672"/>
                  </a:lnTo>
                  <a:lnTo>
                    <a:pt x="90" y="666"/>
                  </a:lnTo>
                  <a:lnTo>
                    <a:pt x="96" y="666"/>
                  </a:lnTo>
                  <a:lnTo>
                    <a:pt x="102" y="642"/>
                  </a:lnTo>
                  <a:lnTo>
                    <a:pt x="108" y="624"/>
                  </a:lnTo>
                  <a:lnTo>
                    <a:pt x="102" y="618"/>
                  </a:lnTo>
                  <a:lnTo>
                    <a:pt x="102" y="588"/>
                  </a:lnTo>
                  <a:lnTo>
                    <a:pt x="102" y="564"/>
                  </a:lnTo>
                  <a:lnTo>
                    <a:pt x="102" y="546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0"/>
                  </a:lnTo>
                  <a:lnTo>
                    <a:pt x="96" y="498"/>
                  </a:lnTo>
                  <a:lnTo>
                    <a:pt x="96" y="486"/>
                  </a:lnTo>
                  <a:lnTo>
                    <a:pt x="96" y="474"/>
                  </a:lnTo>
                  <a:lnTo>
                    <a:pt x="96" y="462"/>
                  </a:lnTo>
                  <a:lnTo>
                    <a:pt x="114" y="450"/>
                  </a:lnTo>
                  <a:lnTo>
                    <a:pt x="126" y="438"/>
                  </a:lnTo>
                  <a:lnTo>
                    <a:pt x="132" y="432"/>
                  </a:lnTo>
                  <a:lnTo>
                    <a:pt x="144" y="426"/>
                  </a:lnTo>
                  <a:lnTo>
                    <a:pt x="144" y="420"/>
                  </a:lnTo>
                  <a:lnTo>
                    <a:pt x="156" y="414"/>
                  </a:lnTo>
                  <a:lnTo>
                    <a:pt x="162" y="408"/>
                  </a:lnTo>
                  <a:lnTo>
                    <a:pt x="180" y="396"/>
                  </a:lnTo>
                  <a:lnTo>
                    <a:pt x="210" y="372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34" y="348"/>
                  </a:lnTo>
                  <a:lnTo>
                    <a:pt x="240" y="348"/>
                  </a:lnTo>
                  <a:lnTo>
                    <a:pt x="246" y="342"/>
                  </a:lnTo>
                  <a:lnTo>
                    <a:pt x="276" y="318"/>
                  </a:lnTo>
                  <a:lnTo>
                    <a:pt x="282" y="312"/>
                  </a:lnTo>
                  <a:lnTo>
                    <a:pt x="288" y="306"/>
                  </a:lnTo>
                  <a:lnTo>
                    <a:pt x="300" y="288"/>
                  </a:lnTo>
                  <a:lnTo>
                    <a:pt x="306" y="276"/>
                  </a:lnTo>
                  <a:lnTo>
                    <a:pt x="324" y="246"/>
                  </a:lnTo>
                  <a:lnTo>
                    <a:pt x="330" y="240"/>
                  </a:lnTo>
                  <a:lnTo>
                    <a:pt x="336" y="234"/>
                  </a:lnTo>
                  <a:lnTo>
                    <a:pt x="342" y="228"/>
                  </a:lnTo>
                  <a:lnTo>
                    <a:pt x="342" y="216"/>
                  </a:lnTo>
                  <a:lnTo>
                    <a:pt x="354" y="204"/>
                  </a:lnTo>
                  <a:lnTo>
                    <a:pt x="360" y="204"/>
                  </a:lnTo>
                  <a:lnTo>
                    <a:pt x="366" y="186"/>
                  </a:lnTo>
                  <a:lnTo>
                    <a:pt x="384" y="162"/>
                  </a:lnTo>
                  <a:lnTo>
                    <a:pt x="390" y="144"/>
                  </a:lnTo>
                  <a:lnTo>
                    <a:pt x="396" y="114"/>
                  </a:lnTo>
                  <a:lnTo>
                    <a:pt x="396" y="102"/>
                  </a:lnTo>
                  <a:lnTo>
                    <a:pt x="402" y="90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08" y="36"/>
                  </a:lnTo>
                  <a:lnTo>
                    <a:pt x="408" y="24"/>
                  </a:lnTo>
                  <a:lnTo>
                    <a:pt x="408" y="6"/>
                  </a:lnTo>
                  <a:lnTo>
                    <a:pt x="420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68" y="0"/>
                  </a:lnTo>
                  <a:lnTo>
                    <a:pt x="480" y="0"/>
                  </a:lnTo>
                  <a:lnTo>
                    <a:pt x="492" y="0"/>
                  </a:lnTo>
                  <a:lnTo>
                    <a:pt x="498" y="0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8" y="18"/>
                  </a:lnTo>
                  <a:lnTo>
                    <a:pt x="534" y="18"/>
                  </a:lnTo>
                  <a:lnTo>
                    <a:pt x="540" y="18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8" y="36"/>
                  </a:lnTo>
                  <a:lnTo>
                    <a:pt x="588" y="54"/>
                  </a:lnTo>
                  <a:lnTo>
                    <a:pt x="594" y="48"/>
                  </a:lnTo>
                  <a:lnTo>
                    <a:pt x="600" y="48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12" y="66"/>
                  </a:lnTo>
                  <a:lnTo>
                    <a:pt x="630" y="72"/>
                  </a:lnTo>
                  <a:lnTo>
                    <a:pt x="642" y="78"/>
                  </a:lnTo>
                  <a:lnTo>
                    <a:pt x="666" y="78"/>
                  </a:lnTo>
                  <a:lnTo>
                    <a:pt x="672" y="72"/>
                  </a:lnTo>
                  <a:lnTo>
                    <a:pt x="690" y="84"/>
                  </a:lnTo>
                  <a:lnTo>
                    <a:pt x="690" y="90"/>
                  </a:lnTo>
                  <a:lnTo>
                    <a:pt x="708" y="96"/>
                  </a:lnTo>
                  <a:lnTo>
                    <a:pt x="708" y="102"/>
                  </a:lnTo>
                  <a:lnTo>
                    <a:pt x="744" y="96"/>
                  </a:lnTo>
                  <a:lnTo>
                    <a:pt x="756" y="78"/>
                  </a:lnTo>
                  <a:lnTo>
                    <a:pt x="756" y="72"/>
                  </a:lnTo>
                  <a:lnTo>
                    <a:pt x="762" y="66"/>
                  </a:lnTo>
                  <a:lnTo>
                    <a:pt x="768" y="60"/>
                  </a:lnTo>
                  <a:lnTo>
                    <a:pt x="774" y="54"/>
                  </a:lnTo>
                  <a:lnTo>
                    <a:pt x="786" y="54"/>
                  </a:lnTo>
                  <a:lnTo>
                    <a:pt x="786" y="60"/>
                  </a:lnTo>
                  <a:lnTo>
                    <a:pt x="786" y="66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92" y="90"/>
                  </a:lnTo>
                  <a:lnTo>
                    <a:pt x="780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26"/>
                  </a:lnTo>
                  <a:lnTo>
                    <a:pt x="768" y="150"/>
                  </a:lnTo>
                  <a:lnTo>
                    <a:pt x="750" y="168"/>
                  </a:lnTo>
                  <a:lnTo>
                    <a:pt x="750" y="174"/>
                  </a:lnTo>
                  <a:lnTo>
                    <a:pt x="762" y="192"/>
                  </a:lnTo>
                  <a:lnTo>
                    <a:pt x="774" y="210"/>
                  </a:lnTo>
                  <a:lnTo>
                    <a:pt x="792" y="228"/>
                  </a:lnTo>
                  <a:lnTo>
                    <a:pt x="804" y="240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40" y="252"/>
                  </a:lnTo>
                  <a:lnTo>
                    <a:pt x="834" y="252"/>
                  </a:lnTo>
                  <a:lnTo>
                    <a:pt x="846" y="252"/>
                  </a:lnTo>
                  <a:lnTo>
                    <a:pt x="852" y="270"/>
                  </a:lnTo>
                  <a:lnTo>
                    <a:pt x="858" y="282"/>
                  </a:lnTo>
                  <a:lnTo>
                    <a:pt x="858" y="288"/>
                  </a:lnTo>
                  <a:lnTo>
                    <a:pt x="864" y="300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58" y="318"/>
                  </a:lnTo>
                  <a:lnTo>
                    <a:pt x="852" y="318"/>
                  </a:lnTo>
                  <a:lnTo>
                    <a:pt x="846" y="324"/>
                  </a:lnTo>
                  <a:lnTo>
                    <a:pt x="846" y="336"/>
                  </a:lnTo>
                  <a:lnTo>
                    <a:pt x="840" y="348"/>
                  </a:lnTo>
                  <a:lnTo>
                    <a:pt x="840" y="360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46" y="402"/>
                  </a:lnTo>
                  <a:lnTo>
                    <a:pt x="858" y="420"/>
                  </a:lnTo>
                  <a:lnTo>
                    <a:pt x="882" y="426"/>
                  </a:lnTo>
                  <a:lnTo>
                    <a:pt x="888" y="444"/>
                  </a:lnTo>
                  <a:lnTo>
                    <a:pt x="900" y="444"/>
                  </a:lnTo>
                  <a:lnTo>
                    <a:pt x="900" y="462"/>
                  </a:lnTo>
                  <a:lnTo>
                    <a:pt x="894" y="474"/>
                  </a:lnTo>
                  <a:lnTo>
                    <a:pt x="888" y="486"/>
                  </a:lnTo>
                  <a:lnTo>
                    <a:pt x="882" y="492"/>
                  </a:lnTo>
                  <a:lnTo>
                    <a:pt x="870" y="504"/>
                  </a:lnTo>
                  <a:lnTo>
                    <a:pt x="852" y="504"/>
                  </a:lnTo>
                  <a:lnTo>
                    <a:pt x="852" y="510"/>
                  </a:lnTo>
                  <a:lnTo>
                    <a:pt x="852" y="516"/>
                  </a:lnTo>
                  <a:lnTo>
                    <a:pt x="846" y="528"/>
                  </a:lnTo>
                  <a:lnTo>
                    <a:pt x="846" y="582"/>
                  </a:lnTo>
                  <a:lnTo>
                    <a:pt x="840" y="582"/>
                  </a:lnTo>
                  <a:lnTo>
                    <a:pt x="834" y="582"/>
                  </a:lnTo>
                  <a:lnTo>
                    <a:pt x="828" y="582"/>
                  </a:lnTo>
                  <a:lnTo>
                    <a:pt x="822" y="582"/>
                  </a:lnTo>
                  <a:lnTo>
                    <a:pt x="810" y="582"/>
                  </a:lnTo>
                  <a:lnTo>
                    <a:pt x="810" y="528"/>
                  </a:lnTo>
                  <a:lnTo>
                    <a:pt x="792" y="528"/>
                  </a:lnTo>
                  <a:lnTo>
                    <a:pt x="792" y="522"/>
                  </a:lnTo>
                  <a:lnTo>
                    <a:pt x="786" y="522"/>
                  </a:lnTo>
                  <a:lnTo>
                    <a:pt x="786" y="516"/>
                  </a:lnTo>
                  <a:lnTo>
                    <a:pt x="780" y="516"/>
                  </a:lnTo>
                  <a:lnTo>
                    <a:pt x="780" y="510"/>
                  </a:lnTo>
                  <a:lnTo>
                    <a:pt x="762" y="510"/>
                  </a:lnTo>
                  <a:lnTo>
                    <a:pt x="756" y="510"/>
                  </a:lnTo>
                  <a:lnTo>
                    <a:pt x="750" y="522"/>
                  </a:lnTo>
                  <a:lnTo>
                    <a:pt x="744" y="534"/>
                  </a:lnTo>
                  <a:lnTo>
                    <a:pt x="732" y="540"/>
                  </a:lnTo>
                  <a:lnTo>
                    <a:pt x="732" y="558"/>
                  </a:lnTo>
                  <a:lnTo>
                    <a:pt x="732" y="564"/>
                  </a:lnTo>
                  <a:lnTo>
                    <a:pt x="732" y="570"/>
                  </a:lnTo>
                  <a:lnTo>
                    <a:pt x="726" y="576"/>
                  </a:lnTo>
                  <a:lnTo>
                    <a:pt x="720" y="576"/>
                  </a:lnTo>
                  <a:lnTo>
                    <a:pt x="714" y="582"/>
                  </a:lnTo>
                  <a:lnTo>
                    <a:pt x="702" y="588"/>
                  </a:lnTo>
                  <a:lnTo>
                    <a:pt x="696" y="594"/>
                  </a:lnTo>
                  <a:lnTo>
                    <a:pt x="690" y="600"/>
                  </a:lnTo>
                  <a:lnTo>
                    <a:pt x="690" y="606"/>
                  </a:lnTo>
                  <a:lnTo>
                    <a:pt x="678" y="606"/>
                  </a:lnTo>
                  <a:lnTo>
                    <a:pt x="678" y="624"/>
                  </a:lnTo>
                  <a:lnTo>
                    <a:pt x="684" y="642"/>
                  </a:lnTo>
                  <a:lnTo>
                    <a:pt x="684" y="660"/>
                  </a:lnTo>
                  <a:lnTo>
                    <a:pt x="690" y="672"/>
                  </a:lnTo>
                  <a:lnTo>
                    <a:pt x="702" y="720"/>
                  </a:lnTo>
                  <a:lnTo>
                    <a:pt x="708" y="750"/>
                  </a:lnTo>
                  <a:lnTo>
                    <a:pt x="708" y="792"/>
                  </a:lnTo>
                  <a:lnTo>
                    <a:pt x="708" y="828"/>
                  </a:lnTo>
                  <a:lnTo>
                    <a:pt x="708" y="852"/>
                  </a:lnTo>
                  <a:lnTo>
                    <a:pt x="696" y="894"/>
                  </a:lnTo>
                  <a:lnTo>
                    <a:pt x="702" y="900"/>
                  </a:lnTo>
                  <a:lnTo>
                    <a:pt x="708" y="924"/>
                  </a:lnTo>
                  <a:lnTo>
                    <a:pt x="684" y="936"/>
                  </a:lnTo>
                  <a:lnTo>
                    <a:pt x="660" y="954"/>
                  </a:lnTo>
                  <a:lnTo>
                    <a:pt x="618" y="984"/>
                  </a:lnTo>
                  <a:lnTo>
                    <a:pt x="618" y="990"/>
                  </a:lnTo>
                  <a:lnTo>
                    <a:pt x="612" y="996"/>
                  </a:lnTo>
                  <a:lnTo>
                    <a:pt x="606" y="1002"/>
                  </a:lnTo>
                  <a:lnTo>
                    <a:pt x="618" y="1008"/>
                  </a:lnTo>
                  <a:lnTo>
                    <a:pt x="618" y="1014"/>
                  </a:lnTo>
                  <a:lnTo>
                    <a:pt x="624" y="1026"/>
                  </a:lnTo>
                  <a:lnTo>
                    <a:pt x="630" y="1026"/>
                  </a:lnTo>
                  <a:lnTo>
                    <a:pt x="636" y="1032"/>
                  </a:lnTo>
                  <a:lnTo>
                    <a:pt x="642" y="1032"/>
                  </a:lnTo>
                  <a:lnTo>
                    <a:pt x="642" y="1038"/>
                  </a:lnTo>
                  <a:lnTo>
                    <a:pt x="648" y="1044"/>
                  </a:lnTo>
                  <a:lnTo>
                    <a:pt x="666" y="1050"/>
                  </a:lnTo>
                  <a:lnTo>
                    <a:pt x="678" y="1038"/>
                  </a:lnTo>
                  <a:lnTo>
                    <a:pt x="684" y="1038"/>
                  </a:lnTo>
                  <a:lnTo>
                    <a:pt x="684" y="1032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20"/>
                  </a:lnTo>
                  <a:lnTo>
                    <a:pt x="708" y="1014"/>
                  </a:lnTo>
                  <a:lnTo>
                    <a:pt x="720" y="1020"/>
                  </a:lnTo>
                  <a:lnTo>
                    <a:pt x="720" y="1014"/>
                  </a:lnTo>
                  <a:lnTo>
                    <a:pt x="726" y="1008"/>
                  </a:lnTo>
                  <a:lnTo>
                    <a:pt x="732" y="1008"/>
                  </a:lnTo>
                  <a:lnTo>
                    <a:pt x="738" y="1008"/>
                  </a:lnTo>
                  <a:lnTo>
                    <a:pt x="744" y="1002"/>
                  </a:lnTo>
                  <a:lnTo>
                    <a:pt x="744" y="996"/>
                  </a:lnTo>
                  <a:lnTo>
                    <a:pt x="750" y="996"/>
                  </a:lnTo>
                  <a:lnTo>
                    <a:pt x="756" y="1002"/>
                  </a:lnTo>
                  <a:lnTo>
                    <a:pt x="762" y="1002"/>
                  </a:lnTo>
                  <a:lnTo>
                    <a:pt x="768" y="996"/>
                  </a:lnTo>
                  <a:lnTo>
                    <a:pt x="780" y="996"/>
                  </a:lnTo>
                  <a:lnTo>
                    <a:pt x="786" y="996"/>
                  </a:lnTo>
                  <a:lnTo>
                    <a:pt x="816" y="990"/>
                  </a:lnTo>
                  <a:lnTo>
                    <a:pt x="828" y="990"/>
                  </a:lnTo>
                  <a:lnTo>
                    <a:pt x="834" y="990"/>
                  </a:lnTo>
                  <a:lnTo>
                    <a:pt x="840" y="984"/>
                  </a:lnTo>
                  <a:lnTo>
                    <a:pt x="852" y="978"/>
                  </a:lnTo>
                  <a:lnTo>
                    <a:pt x="852" y="972"/>
                  </a:lnTo>
                  <a:lnTo>
                    <a:pt x="858" y="972"/>
                  </a:lnTo>
                  <a:lnTo>
                    <a:pt x="864" y="966"/>
                  </a:lnTo>
                  <a:lnTo>
                    <a:pt x="870" y="966"/>
                  </a:lnTo>
                  <a:lnTo>
                    <a:pt x="876" y="966"/>
                  </a:lnTo>
                  <a:lnTo>
                    <a:pt x="882" y="960"/>
                  </a:lnTo>
                  <a:lnTo>
                    <a:pt x="888" y="960"/>
                  </a:lnTo>
                  <a:lnTo>
                    <a:pt x="894" y="960"/>
                  </a:lnTo>
                  <a:lnTo>
                    <a:pt x="894" y="966"/>
                  </a:lnTo>
                  <a:lnTo>
                    <a:pt x="894" y="978"/>
                  </a:lnTo>
                  <a:lnTo>
                    <a:pt x="894" y="984"/>
                  </a:lnTo>
                  <a:lnTo>
                    <a:pt x="900" y="984"/>
                  </a:lnTo>
                  <a:lnTo>
                    <a:pt x="906" y="978"/>
                  </a:lnTo>
                  <a:lnTo>
                    <a:pt x="912" y="972"/>
                  </a:lnTo>
                  <a:lnTo>
                    <a:pt x="918" y="978"/>
                  </a:lnTo>
                  <a:lnTo>
                    <a:pt x="924" y="978"/>
                  </a:lnTo>
                  <a:lnTo>
                    <a:pt x="924" y="972"/>
                  </a:lnTo>
                  <a:lnTo>
                    <a:pt x="924" y="966"/>
                  </a:lnTo>
                  <a:lnTo>
                    <a:pt x="930" y="966"/>
                  </a:lnTo>
                  <a:lnTo>
                    <a:pt x="948" y="966"/>
                  </a:lnTo>
                  <a:lnTo>
                    <a:pt x="954" y="966"/>
                  </a:lnTo>
                  <a:lnTo>
                    <a:pt x="954" y="960"/>
                  </a:lnTo>
                  <a:lnTo>
                    <a:pt x="960" y="960"/>
                  </a:lnTo>
                  <a:lnTo>
                    <a:pt x="966" y="960"/>
                  </a:lnTo>
                  <a:lnTo>
                    <a:pt x="966" y="966"/>
                  </a:lnTo>
                  <a:lnTo>
                    <a:pt x="978" y="972"/>
                  </a:lnTo>
                  <a:lnTo>
                    <a:pt x="978" y="978"/>
                  </a:lnTo>
                  <a:lnTo>
                    <a:pt x="978" y="984"/>
                  </a:lnTo>
                  <a:lnTo>
                    <a:pt x="984" y="978"/>
                  </a:lnTo>
                  <a:lnTo>
                    <a:pt x="990" y="978"/>
                  </a:lnTo>
                  <a:lnTo>
                    <a:pt x="996" y="984"/>
                  </a:lnTo>
                  <a:lnTo>
                    <a:pt x="1002" y="990"/>
                  </a:lnTo>
                  <a:lnTo>
                    <a:pt x="1008" y="972"/>
                  </a:lnTo>
                  <a:lnTo>
                    <a:pt x="1026" y="972"/>
                  </a:lnTo>
                  <a:lnTo>
                    <a:pt x="1032" y="972"/>
                  </a:lnTo>
                  <a:lnTo>
                    <a:pt x="1038" y="972"/>
                  </a:lnTo>
                  <a:lnTo>
                    <a:pt x="1050" y="972"/>
                  </a:lnTo>
                  <a:lnTo>
                    <a:pt x="1056" y="972"/>
                  </a:lnTo>
                  <a:lnTo>
                    <a:pt x="1062" y="966"/>
                  </a:lnTo>
                  <a:lnTo>
                    <a:pt x="1074" y="966"/>
                  </a:lnTo>
                  <a:lnTo>
                    <a:pt x="1074" y="960"/>
                  </a:lnTo>
                  <a:lnTo>
                    <a:pt x="1080" y="954"/>
                  </a:lnTo>
                  <a:lnTo>
                    <a:pt x="1080" y="948"/>
                  </a:lnTo>
                  <a:lnTo>
                    <a:pt x="1074" y="948"/>
                  </a:lnTo>
                  <a:lnTo>
                    <a:pt x="1068" y="948"/>
                  </a:lnTo>
                  <a:lnTo>
                    <a:pt x="1062" y="942"/>
                  </a:lnTo>
                  <a:lnTo>
                    <a:pt x="1068" y="936"/>
                  </a:lnTo>
                  <a:lnTo>
                    <a:pt x="1074" y="936"/>
                  </a:lnTo>
                  <a:lnTo>
                    <a:pt x="1080" y="936"/>
                  </a:lnTo>
                  <a:lnTo>
                    <a:pt x="1086" y="942"/>
                  </a:lnTo>
                  <a:lnTo>
                    <a:pt x="1092" y="942"/>
                  </a:lnTo>
                  <a:lnTo>
                    <a:pt x="1098" y="948"/>
                  </a:lnTo>
                  <a:lnTo>
                    <a:pt x="1104" y="954"/>
                  </a:lnTo>
                  <a:lnTo>
                    <a:pt x="1110" y="954"/>
                  </a:lnTo>
                  <a:lnTo>
                    <a:pt x="1116" y="948"/>
                  </a:lnTo>
                  <a:lnTo>
                    <a:pt x="1122" y="942"/>
                  </a:lnTo>
                  <a:lnTo>
                    <a:pt x="1128" y="942"/>
                  </a:lnTo>
                  <a:lnTo>
                    <a:pt x="1134" y="942"/>
                  </a:lnTo>
                  <a:lnTo>
                    <a:pt x="1140" y="948"/>
                  </a:lnTo>
                  <a:lnTo>
                    <a:pt x="1146" y="942"/>
                  </a:lnTo>
                  <a:lnTo>
                    <a:pt x="1152" y="942"/>
                  </a:lnTo>
                  <a:lnTo>
                    <a:pt x="1152" y="930"/>
                  </a:lnTo>
                  <a:lnTo>
                    <a:pt x="1164" y="936"/>
                  </a:lnTo>
                  <a:lnTo>
                    <a:pt x="1158" y="942"/>
                  </a:lnTo>
                  <a:lnTo>
                    <a:pt x="1158" y="948"/>
                  </a:lnTo>
                  <a:lnTo>
                    <a:pt x="1146" y="954"/>
                  </a:lnTo>
                  <a:lnTo>
                    <a:pt x="1152" y="954"/>
                  </a:lnTo>
                  <a:lnTo>
                    <a:pt x="1158" y="954"/>
                  </a:lnTo>
                  <a:lnTo>
                    <a:pt x="1158" y="948"/>
                  </a:lnTo>
                  <a:lnTo>
                    <a:pt x="1164" y="948"/>
                  </a:lnTo>
                  <a:lnTo>
                    <a:pt x="1170" y="948"/>
                  </a:lnTo>
                  <a:lnTo>
                    <a:pt x="1176" y="954"/>
                  </a:lnTo>
                  <a:lnTo>
                    <a:pt x="1176" y="966"/>
                  </a:lnTo>
                  <a:lnTo>
                    <a:pt x="1182" y="972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88" y="984"/>
                  </a:lnTo>
                  <a:lnTo>
                    <a:pt x="1194" y="984"/>
                  </a:lnTo>
                  <a:lnTo>
                    <a:pt x="1200" y="984"/>
                  </a:lnTo>
                  <a:lnTo>
                    <a:pt x="1212" y="984"/>
                  </a:lnTo>
                  <a:lnTo>
                    <a:pt x="1218" y="990"/>
                  </a:lnTo>
                  <a:lnTo>
                    <a:pt x="1224" y="990"/>
                  </a:lnTo>
                  <a:lnTo>
                    <a:pt x="1224" y="984"/>
                  </a:lnTo>
                  <a:lnTo>
                    <a:pt x="1230" y="990"/>
                  </a:lnTo>
                  <a:lnTo>
                    <a:pt x="1236" y="984"/>
                  </a:lnTo>
                  <a:lnTo>
                    <a:pt x="1242" y="984"/>
                  </a:lnTo>
                  <a:lnTo>
                    <a:pt x="1248" y="990"/>
                  </a:lnTo>
                  <a:lnTo>
                    <a:pt x="1254" y="990"/>
                  </a:lnTo>
                  <a:lnTo>
                    <a:pt x="1254" y="996"/>
                  </a:lnTo>
                  <a:lnTo>
                    <a:pt x="1254" y="1002"/>
                  </a:lnTo>
                  <a:lnTo>
                    <a:pt x="1254" y="1008"/>
                  </a:lnTo>
                  <a:lnTo>
                    <a:pt x="1260" y="1014"/>
                  </a:lnTo>
                  <a:lnTo>
                    <a:pt x="1266" y="1014"/>
                  </a:lnTo>
                  <a:lnTo>
                    <a:pt x="1272" y="1014"/>
                  </a:lnTo>
                  <a:lnTo>
                    <a:pt x="1278" y="1020"/>
                  </a:lnTo>
                  <a:lnTo>
                    <a:pt x="1284" y="1020"/>
                  </a:lnTo>
                  <a:lnTo>
                    <a:pt x="1290" y="1014"/>
                  </a:lnTo>
                  <a:lnTo>
                    <a:pt x="1290" y="1008"/>
                  </a:lnTo>
                  <a:lnTo>
                    <a:pt x="1296" y="1008"/>
                  </a:lnTo>
                  <a:lnTo>
                    <a:pt x="1302" y="1014"/>
                  </a:lnTo>
                  <a:lnTo>
                    <a:pt x="1308" y="1014"/>
                  </a:lnTo>
                  <a:lnTo>
                    <a:pt x="1314" y="1008"/>
                  </a:lnTo>
                  <a:lnTo>
                    <a:pt x="1320" y="1008"/>
                  </a:lnTo>
                  <a:lnTo>
                    <a:pt x="1320" y="1002"/>
                  </a:lnTo>
                  <a:lnTo>
                    <a:pt x="1320" y="996"/>
                  </a:lnTo>
                  <a:lnTo>
                    <a:pt x="1332" y="1002"/>
                  </a:lnTo>
                  <a:lnTo>
                    <a:pt x="1332" y="1008"/>
                  </a:lnTo>
                  <a:lnTo>
                    <a:pt x="1326" y="1014"/>
                  </a:lnTo>
                  <a:lnTo>
                    <a:pt x="1332" y="1014"/>
                  </a:lnTo>
                  <a:lnTo>
                    <a:pt x="1338" y="1014"/>
                  </a:lnTo>
                  <a:lnTo>
                    <a:pt x="1338" y="1008"/>
                  </a:lnTo>
                  <a:lnTo>
                    <a:pt x="1344" y="1008"/>
                  </a:lnTo>
                  <a:lnTo>
                    <a:pt x="1350" y="1008"/>
                  </a:lnTo>
                  <a:lnTo>
                    <a:pt x="1356" y="1014"/>
                  </a:lnTo>
                  <a:lnTo>
                    <a:pt x="1356" y="1008"/>
                  </a:lnTo>
                  <a:lnTo>
                    <a:pt x="1362" y="1014"/>
                  </a:lnTo>
                  <a:lnTo>
                    <a:pt x="1392" y="1014"/>
                  </a:lnTo>
                  <a:lnTo>
                    <a:pt x="1398" y="1014"/>
                  </a:lnTo>
                  <a:lnTo>
                    <a:pt x="1404" y="1008"/>
                  </a:lnTo>
                  <a:lnTo>
                    <a:pt x="1404" y="1014"/>
                  </a:lnTo>
                  <a:lnTo>
                    <a:pt x="1410" y="1008"/>
                  </a:lnTo>
                  <a:lnTo>
                    <a:pt x="1416" y="1008"/>
                  </a:lnTo>
                  <a:lnTo>
                    <a:pt x="1422" y="1002"/>
                  </a:lnTo>
                  <a:lnTo>
                    <a:pt x="1428" y="1002"/>
                  </a:lnTo>
                  <a:lnTo>
                    <a:pt x="1428" y="996"/>
                  </a:lnTo>
                  <a:lnTo>
                    <a:pt x="1428" y="990"/>
                  </a:lnTo>
                  <a:lnTo>
                    <a:pt x="1440" y="1002"/>
                  </a:lnTo>
                  <a:lnTo>
                    <a:pt x="1446" y="1002"/>
                  </a:lnTo>
                  <a:lnTo>
                    <a:pt x="1452" y="1002"/>
                  </a:lnTo>
                  <a:lnTo>
                    <a:pt x="1446" y="996"/>
                  </a:lnTo>
                  <a:lnTo>
                    <a:pt x="1452" y="996"/>
                  </a:lnTo>
                  <a:lnTo>
                    <a:pt x="1458" y="996"/>
                  </a:lnTo>
                  <a:lnTo>
                    <a:pt x="1464" y="996"/>
                  </a:lnTo>
                  <a:lnTo>
                    <a:pt x="1464" y="1002"/>
                  </a:lnTo>
                  <a:lnTo>
                    <a:pt x="1476" y="1014"/>
                  </a:lnTo>
                  <a:lnTo>
                    <a:pt x="1476" y="1008"/>
                  </a:lnTo>
                  <a:lnTo>
                    <a:pt x="1482" y="1008"/>
                  </a:lnTo>
                  <a:lnTo>
                    <a:pt x="1488" y="1020"/>
                  </a:lnTo>
                  <a:lnTo>
                    <a:pt x="1494" y="1020"/>
                  </a:lnTo>
                  <a:lnTo>
                    <a:pt x="1500" y="1014"/>
                  </a:lnTo>
                  <a:lnTo>
                    <a:pt x="1500" y="1020"/>
                  </a:lnTo>
                  <a:lnTo>
                    <a:pt x="1506" y="1026"/>
                  </a:lnTo>
                  <a:lnTo>
                    <a:pt x="1512" y="1032"/>
                  </a:lnTo>
                  <a:lnTo>
                    <a:pt x="1518" y="1032"/>
                  </a:lnTo>
                  <a:lnTo>
                    <a:pt x="1518" y="1038"/>
                  </a:lnTo>
                  <a:lnTo>
                    <a:pt x="1518" y="1044"/>
                  </a:lnTo>
                  <a:lnTo>
                    <a:pt x="1524" y="1044"/>
                  </a:lnTo>
                  <a:lnTo>
                    <a:pt x="1524" y="1050"/>
                  </a:lnTo>
                  <a:lnTo>
                    <a:pt x="1530" y="1056"/>
                  </a:lnTo>
                  <a:lnTo>
                    <a:pt x="1548" y="1062"/>
                  </a:lnTo>
                  <a:lnTo>
                    <a:pt x="1560" y="1074"/>
                  </a:lnTo>
                  <a:lnTo>
                    <a:pt x="1560" y="1080"/>
                  </a:lnTo>
                  <a:lnTo>
                    <a:pt x="1560" y="1086"/>
                  </a:lnTo>
                  <a:lnTo>
                    <a:pt x="1566" y="1086"/>
                  </a:lnTo>
                  <a:lnTo>
                    <a:pt x="1572" y="1098"/>
                  </a:lnTo>
                  <a:lnTo>
                    <a:pt x="1572" y="1104"/>
                  </a:lnTo>
                  <a:lnTo>
                    <a:pt x="1584" y="1110"/>
                  </a:lnTo>
                  <a:lnTo>
                    <a:pt x="1590" y="1116"/>
                  </a:lnTo>
                  <a:lnTo>
                    <a:pt x="1596" y="1116"/>
                  </a:lnTo>
                  <a:lnTo>
                    <a:pt x="1608" y="1122"/>
                  </a:lnTo>
                  <a:lnTo>
                    <a:pt x="1620" y="1140"/>
                  </a:lnTo>
                  <a:lnTo>
                    <a:pt x="1626" y="1158"/>
                  </a:lnTo>
                  <a:lnTo>
                    <a:pt x="1638" y="1200"/>
                  </a:lnTo>
                  <a:lnTo>
                    <a:pt x="1638" y="1218"/>
                  </a:lnTo>
                  <a:lnTo>
                    <a:pt x="1620" y="1230"/>
                  </a:lnTo>
                  <a:lnTo>
                    <a:pt x="1554" y="1230"/>
                  </a:lnTo>
                  <a:lnTo>
                    <a:pt x="1560" y="1248"/>
                  </a:lnTo>
                  <a:lnTo>
                    <a:pt x="1584" y="1260"/>
                  </a:lnTo>
                  <a:lnTo>
                    <a:pt x="1584" y="1266"/>
                  </a:lnTo>
                  <a:lnTo>
                    <a:pt x="1578" y="1272"/>
                  </a:lnTo>
                  <a:lnTo>
                    <a:pt x="1572" y="1272"/>
                  </a:lnTo>
                  <a:lnTo>
                    <a:pt x="1566" y="1278"/>
                  </a:lnTo>
                  <a:lnTo>
                    <a:pt x="1566" y="1284"/>
                  </a:lnTo>
                  <a:lnTo>
                    <a:pt x="1560" y="1290"/>
                  </a:lnTo>
                  <a:lnTo>
                    <a:pt x="1554" y="1290"/>
                  </a:lnTo>
                  <a:lnTo>
                    <a:pt x="1554" y="1296"/>
                  </a:lnTo>
                  <a:lnTo>
                    <a:pt x="1554" y="1302"/>
                  </a:lnTo>
                  <a:lnTo>
                    <a:pt x="1560" y="1332"/>
                  </a:lnTo>
                  <a:lnTo>
                    <a:pt x="1566" y="1356"/>
                  </a:lnTo>
                  <a:lnTo>
                    <a:pt x="1572" y="1356"/>
                  </a:lnTo>
                  <a:lnTo>
                    <a:pt x="1572" y="1362"/>
                  </a:lnTo>
                  <a:lnTo>
                    <a:pt x="1578" y="1362"/>
                  </a:lnTo>
                  <a:lnTo>
                    <a:pt x="1560" y="1374"/>
                  </a:lnTo>
                  <a:lnTo>
                    <a:pt x="1560" y="1380"/>
                  </a:lnTo>
                  <a:lnTo>
                    <a:pt x="1548" y="1380"/>
                  </a:lnTo>
                  <a:lnTo>
                    <a:pt x="1548" y="1386"/>
                  </a:lnTo>
                  <a:lnTo>
                    <a:pt x="1548" y="1392"/>
                  </a:lnTo>
                  <a:lnTo>
                    <a:pt x="1542" y="1410"/>
                  </a:lnTo>
                  <a:lnTo>
                    <a:pt x="1536" y="1422"/>
                  </a:lnTo>
                  <a:lnTo>
                    <a:pt x="1536" y="1428"/>
                  </a:lnTo>
                  <a:lnTo>
                    <a:pt x="1530" y="1440"/>
                  </a:lnTo>
                  <a:lnTo>
                    <a:pt x="1524" y="1434"/>
                  </a:lnTo>
                  <a:lnTo>
                    <a:pt x="1524" y="1428"/>
                  </a:lnTo>
                  <a:lnTo>
                    <a:pt x="1524" y="1422"/>
                  </a:lnTo>
                  <a:lnTo>
                    <a:pt x="1512" y="1410"/>
                  </a:lnTo>
                  <a:lnTo>
                    <a:pt x="1506" y="1404"/>
                  </a:lnTo>
                  <a:lnTo>
                    <a:pt x="1506" y="1398"/>
                  </a:lnTo>
                  <a:lnTo>
                    <a:pt x="1494" y="1392"/>
                  </a:lnTo>
                  <a:lnTo>
                    <a:pt x="1476" y="1404"/>
                  </a:lnTo>
                  <a:lnTo>
                    <a:pt x="1464" y="1416"/>
                  </a:lnTo>
                  <a:lnTo>
                    <a:pt x="1458" y="1428"/>
                  </a:lnTo>
                  <a:lnTo>
                    <a:pt x="1446" y="1434"/>
                  </a:lnTo>
                  <a:lnTo>
                    <a:pt x="1410" y="1440"/>
                  </a:lnTo>
                  <a:lnTo>
                    <a:pt x="1398" y="1440"/>
                  </a:lnTo>
                  <a:lnTo>
                    <a:pt x="1398" y="1446"/>
                  </a:lnTo>
                  <a:lnTo>
                    <a:pt x="1386" y="1446"/>
                  </a:lnTo>
                  <a:lnTo>
                    <a:pt x="1380" y="1440"/>
                  </a:lnTo>
                  <a:lnTo>
                    <a:pt x="1368" y="1440"/>
                  </a:lnTo>
                  <a:lnTo>
                    <a:pt x="1368" y="1446"/>
                  </a:lnTo>
                  <a:lnTo>
                    <a:pt x="1356" y="1446"/>
                  </a:lnTo>
                  <a:lnTo>
                    <a:pt x="1350" y="1452"/>
                  </a:lnTo>
                  <a:lnTo>
                    <a:pt x="1338" y="1452"/>
                  </a:lnTo>
                  <a:lnTo>
                    <a:pt x="1338" y="1458"/>
                  </a:lnTo>
                  <a:lnTo>
                    <a:pt x="1332" y="1458"/>
                  </a:lnTo>
                  <a:lnTo>
                    <a:pt x="1332" y="1464"/>
                  </a:lnTo>
                  <a:lnTo>
                    <a:pt x="1332" y="1470"/>
                  </a:lnTo>
                  <a:lnTo>
                    <a:pt x="1326" y="1470"/>
                  </a:lnTo>
                  <a:lnTo>
                    <a:pt x="1320" y="1470"/>
                  </a:lnTo>
                  <a:lnTo>
                    <a:pt x="1314" y="1470"/>
                  </a:lnTo>
                  <a:lnTo>
                    <a:pt x="1314" y="1464"/>
                  </a:lnTo>
                  <a:lnTo>
                    <a:pt x="1308" y="1464"/>
                  </a:lnTo>
                  <a:lnTo>
                    <a:pt x="1308" y="1452"/>
                  </a:lnTo>
                  <a:lnTo>
                    <a:pt x="1284" y="1458"/>
                  </a:lnTo>
                  <a:lnTo>
                    <a:pt x="1272" y="1458"/>
                  </a:lnTo>
                  <a:lnTo>
                    <a:pt x="1272" y="1464"/>
                  </a:lnTo>
                  <a:lnTo>
                    <a:pt x="1260" y="1464"/>
                  </a:lnTo>
                  <a:lnTo>
                    <a:pt x="1254" y="1464"/>
                  </a:lnTo>
                  <a:lnTo>
                    <a:pt x="1242" y="1422"/>
                  </a:lnTo>
                  <a:lnTo>
                    <a:pt x="1242" y="1416"/>
                  </a:lnTo>
                  <a:lnTo>
                    <a:pt x="1242" y="1410"/>
                  </a:lnTo>
                  <a:lnTo>
                    <a:pt x="1248" y="1410"/>
                  </a:lnTo>
                  <a:lnTo>
                    <a:pt x="1242" y="1410"/>
                  </a:lnTo>
                  <a:lnTo>
                    <a:pt x="1242" y="1404"/>
                  </a:lnTo>
                  <a:lnTo>
                    <a:pt x="1242" y="1398"/>
                  </a:lnTo>
                  <a:lnTo>
                    <a:pt x="1248" y="1392"/>
                  </a:lnTo>
                  <a:lnTo>
                    <a:pt x="1248" y="1386"/>
                  </a:lnTo>
                  <a:lnTo>
                    <a:pt x="1242" y="1380"/>
                  </a:lnTo>
                  <a:lnTo>
                    <a:pt x="1248" y="1380"/>
                  </a:lnTo>
                  <a:lnTo>
                    <a:pt x="1248" y="1374"/>
                  </a:lnTo>
                  <a:lnTo>
                    <a:pt x="1248" y="1368"/>
                  </a:lnTo>
                  <a:lnTo>
                    <a:pt x="1254" y="1368"/>
                  </a:lnTo>
                  <a:lnTo>
                    <a:pt x="1254" y="1362"/>
                  </a:lnTo>
                  <a:lnTo>
                    <a:pt x="1248" y="1356"/>
                  </a:lnTo>
                  <a:lnTo>
                    <a:pt x="1254" y="1356"/>
                  </a:lnTo>
                  <a:lnTo>
                    <a:pt x="1254" y="1344"/>
                  </a:lnTo>
                  <a:lnTo>
                    <a:pt x="1242" y="1338"/>
                  </a:lnTo>
                  <a:lnTo>
                    <a:pt x="1242" y="1326"/>
                  </a:lnTo>
                  <a:lnTo>
                    <a:pt x="1230" y="1326"/>
                  </a:lnTo>
                  <a:lnTo>
                    <a:pt x="1230" y="1314"/>
                  </a:lnTo>
                  <a:lnTo>
                    <a:pt x="1218" y="1314"/>
                  </a:lnTo>
                  <a:lnTo>
                    <a:pt x="1200" y="1272"/>
                  </a:lnTo>
                  <a:lnTo>
                    <a:pt x="1194" y="1242"/>
                  </a:lnTo>
                  <a:lnTo>
                    <a:pt x="1194" y="1206"/>
                  </a:lnTo>
                  <a:lnTo>
                    <a:pt x="1182" y="1200"/>
                  </a:lnTo>
                  <a:lnTo>
                    <a:pt x="1164" y="1206"/>
                  </a:lnTo>
                  <a:lnTo>
                    <a:pt x="1146" y="1212"/>
                  </a:lnTo>
                  <a:lnTo>
                    <a:pt x="1146" y="1218"/>
                  </a:lnTo>
                  <a:lnTo>
                    <a:pt x="1134" y="1224"/>
                  </a:lnTo>
                  <a:lnTo>
                    <a:pt x="1140" y="1260"/>
                  </a:lnTo>
                  <a:lnTo>
                    <a:pt x="1134" y="1266"/>
                  </a:lnTo>
                  <a:lnTo>
                    <a:pt x="1122" y="1266"/>
                  </a:lnTo>
                  <a:lnTo>
                    <a:pt x="1110" y="1236"/>
                  </a:lnTo>
                  <a:lnTo>
                    <a:pt x="1110" y="1224"/>
                  </a:lnTo>
                  <a:lnTo>
                    <a:pt x="1086" y="1224"/>
                  </a:lnTo>
                  <a:lnTo>
                    <a:pt x="1086" y="1212"/>
                  </a:lnTo>
                  <a:lnTo>
                    <a:pt x="1074" y="1212"/>
                  </a:lnTo>
                  <a:lnTo>
                    <a:pt x="1050" y="1212"/>
                  </a:lnTo>
                  <a:lnTo>
                    <a:pt x="1056" y="1218"/>
                  </a:lnTo>
                  <a:lnTo>
                    <a:pt x="1050" y="1272"/>
                  </a:lnTo>
                  <a:lnTo>
                    <a:pt x="1044" y="1272"/>
                  </a:lnTo>
                  <a:lnTo>
                    <a:pt x="1038" y="1284"/>
                  </a:lnTo>
                  <a:lnTo>
                    <a:pt x="1032" y="1302"/>
                  </a:lnTo>
                  <a:lnTo>
                    <a:pt x="1014" y="1302"/>
                  </a:lnTo>
                  <a:lnTo>
                    <a:pt x="1020" y="1284"/>
                  </a:lnTo>
                  <a:lnTo>
                    <a:pt x="1026" y="1278"/>
                  </a:lnTo>
                  <a:lnTo>
                    <a:pt x="1026" y="1266"/>
                  </a:lnTo>
                  <a:lnTo>
                    <a:pt x="1014" y="1260"/>
                  </a:lnTo>
                  <a:lnTo>
                    <a:pt x="1014" y="1272"/>
                  </a:lnTo>
                  <a:lnTo>
                    <a:pt x="990" y="1278"/>
                  </a:lnTo>
                  <a:lnTo>
                    <a:pt x="990" y="1254"/>
                  </a:lnTo>
                  <a:lnTo>
                    <a:pt x="984" y="1254"/>
                  </a:lnTo>
                  <a:lnTo>
                    <a:pt x="978" y="1242"/>
                  </a:lnTo>
                  <a:lnTo>
                    <a:pt x="972" y="1236"/>
                  </a:lnTo>
                  <a:lnTo>
                    <a:pt x="960" y="1206"/>
                  </a:lnTo>
                  <a:lnTo>
                    <a:pt x="942" y="1206"/>
                  </a:lnTo>
                  <a:lnTo>
                    <a:pt x="936" y="1200"/>
                  </a:lnTo>
                  <a:lnTo>
                    <a:pt x="906" y="1212"/>
                  </a:lnTo>
                  <a:lnTo>
                    <a:pt x="888" y="1230"/>
                  </a:lnTo>
                  <a:lnTo>
                    <a:pt x="876" y="1230"/>
                  </a:lnTo>
                  <a:lnTo>
                    <a:pt x="864" y="1236"/>
                  </a:lnTo>
                  <a:lnTo>
                    <a:pt x="858" y="1236"/>
                  </a:lnTo>
                  <a:lnTo>
                    <a:pt x="852" y="1254"/>
                  </a:lnTo>
                  <a:lnTo>
                    <a:pt x="858" y="1254"/>
                  </a:lnTo>
                  <a:lnTo>
                    <a:pt x="840" y="1266"/>
                  </a:lnTo>
                  <a:lnTo>
                    <a:pt x="828" y="1272"/>
                  </a:lnTo>
                  <a:lnTo>
                    <a:pt x="828" y="1284"/>
                  </a:lnTo>
                  <a:lnTo>
                    <a:pt x="822" y="1284"/>
                  </a:lnTo>
                  <a:lnTo>
                    <a:pt x="804" y="1296"/>
                  </a:lnTo>
                  <a:lnTo>
                    <a:pt x="804" y="1308"/>
                  </a:lnTo>
                  <a:lnTo>
                    <a:pt x="816" y="1320"/>
                  </a:lnTo>
                  <a:lnTo>
                    <a:pt x="828" y="1320"/>
                  </a:lnTo>
                  <a:lnTo>
                    <a:pt x="822" y="1338"/>
                  </a:lnTo>
                  <a:lnTo>
                    <a:pt x="852" y="1344"/>
                  </a:lnTo>
                  <a:lnTo>
                    <a:pt x="864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94" y="1356"/>
                  </a:lnTo>
                  <a:lnTo>
                    <a:pt x="912" y="1368"/>
                  </a:lnTo>
                  <a:lnTo>
                    <a:pt x="918" y="1380"/>
                  </a:lnTo>
                  <a:lnTo>
                    <a:pt x="936" y="1380"/>
                  </a:lnTo>
                  <a:lnTo>
                    <a:pt x="960" y="1386"/>
                  </a:lnTo>
                  <a:lnTo>
                    <a:pt x="990" y="1386"/>
                  </a:lnTo>
                  <a:lnTo>
                    <a:pt x="990" y="1392"/>
                  </a:lnTo>
                  <a:lnTo>
                    <a:pt x="1020" y="1398"/>
                  </a:lnTo>
                  <a:lnTo>
                    <a:pt x="1014" y="1404"/>
                  </a:lnTo>
                  <a:lnTo>
                    <a:pt x="1008" y="1404"/>
                  </a:lnTo>
                  <a:lnTo>
                    <a:pt x="1014" y="1440"/>
                  </a:lnTo>
                  <a:lnTo>
                    <a:pt x="1020" y="1458"/>
                  </a:lnTo>
                  <a:lnTo>
                    <a:pt x="1026" y="1476"/>
                  </a:lnTo>
                  <a:lnTo>
                    <a:pt x="1020" y="1476"/>
                  </a:lnTo>
                  <a:lnTo>
                    <a:pt x="1014" y="1476"/>
                  </a:lnTo>
                  <a:lnTo>
                    <a:pt x="1014" y="1482"/>
                  </a:lnTo>
                  <a:lnTo>
                    <a:pt x="1014" y="1488"/>
                  </a:lnTo>
                  <a:lnTo>
                    <a:pt x="1002" y="1488"/>
                  </a:lnTo>
                  <a:lnTo>
                    <a:pt x="1002" y="1494"/>
                  </a:lnTo>
                  <a:lnTo>
                    <a:pt x="996" y="1494"/>
                  </a:lnTo>
                  <a:lnTo>
                    <a:pt x="996" y="1518"/>
                  </a:lnTo>
                  <a:lnTo>
                    <a:pt x="1002" y="1524"/>
                  </a:lnTo>
                  <a:lnTo>
                    <a:pt x="1020" y="1530"/>
                  </a:lnTo>
                  <a:lnTo>
                    <a:pt x="1026" y="1542"/>
                  </a:lnTo>
                  <a:lnTo>
                    <a:pt x="1032" y="1566"/>
                  </a:lnTo>
                  <a:lnTo>
                    <a:pt x="1038" y="1578"/>
                  </a:lnTo>
                  <a:lnTo>
                    <a:pt x="1032" y="1584"/>
                  </a:lnTo>
                  <a:lnTo>
                    <a:pt x="1020" y="1584"/>
                  </a:lnTo>
                  <a:lnTo>
                    <a:pt x="1014" y="1584"/>
                  </a:lnTo>
                  <a:lnTo>
                    <a:pt x="1008" y="1596"/>
                  </a:lnTo>
                  <a:lnTo>
                    <a:pt x="990" y="1584"/>
                  </a:lnTo>
                  <a:lnTo>
                    <a:pt x="984" y="1602"/>
                  </a:lnTo>
                  <a:lnTo>
                    <a:pt x="978" y="1608"/>
                  </a:lnTo>
                  <a:lnTo>
                    <a:pt x="966" y="1608"/>
                  </a:lnTo>
                  <a:lnTo>
                    <a:pt x="960" y="1614"/>
                  </a:lnTo>
                  <a:lnTo>
                    <a:pt x="954" y="1614"/>
                  </a:lnTo>
                  <a:lnTo>
                    <a:pt x="942" y="1620"/>
                  </a:lnTo>
                  <a:lnTo>
                    <a:pt x="936" y="1620"/>
                  </a:lnTo>
                  <a:lnTo>
                    <a:pt x="930" y="1620"/>
                  </a:lnTo>
                  <a:lnTo>
                    <a:pt x="930" y="1626"/>
                  </a:lnTo>
                  <a:lnTo>
                    <a:pt x="930" y="1632"/>
                  </a:lnTo>
                  <a:lnTo>
                    <a:pt x="918" y="1632"/>
                  </a:lnTo>
                  <a:lnTo>
                    <a:pt x="912" y="1632"/>
                  </a:lnTo>
                  <a:lnTo>
                    <a:pt x="906" y="1632"/>
                  </a:lnTo>
                  <a:lnTo>
                    <a:pt x="900" y="1632"/>
                  </a:lnTo>
                  <a:lnTo>
                    <a:pt x="894" y="1626"/>
                  </a:lnTo>
                  <a:lnTo>
                    <a:pt x="894" y="1614"/>
                  </a:lnTo>
                  <a:lnTo>
                    <a:pt x="840" y="1614"/>
                  </a:lnTo>
                  <a:lnTo>
                    <a:pt x="840" y="1626"/>
                  </a:lnTo>
                  <a:lnTo>
                    <a:pt x="834" y="1626"/>
                  </a:lnTo>
                  <a:lnTo>
                    <a:pt x="828" y="1632"/>
                  </a:lnTo>
                  <a:lnTo>
                    <a:pt x="822" y="1638"/>
                  </a:lnTo>
                  <a:lnTo>
                    <a:pt x="822" y="1644"/>
                  </a:lnTo>
                  <a:lnTo>
                    <a:pt x="834" y="1650"/>
                  </a:lnTo>
                  <a:lnTo>
                    <a:pt x="840" y="1662"/>
                  </a:lnTo>
                  <a:lnTo>
                    <a:pt x="840" y="1668"/>
                  </a:lnTo>
                  <a:lnTo>
                    <a:pt x="858" y="1680"/>
                  </a:lnTo>
                  <a:lnTo>
                    <a:pt x="858" y="1752"/>
                  </a:lnTo>
                  <a:lnTo>
                    <a:pt x="864" y="1782"/>
                  </a:lnTo>
                  <a:lnTo>
                    <a:pt x="876" y="1788"/>
                  </a:lnTo>
                  <a:lnTo>
                    <a:pt x="870" y="1854"/>
                  </a:lnTo>
                  <a:lnTo>
                    <a:pt x="870" y="1884"/>
                  </a:lnTo>
                  <a:lnTo>
                    <a:pt x="864" y="1884"/>
                  </a:lnTo>
                  <a:lnTo>
                    <a:pt x="846" y="1896"/>
                  </a:lnTo>
                  <a:lnTo>
                    <a:pt x="840" y="1896"/>
                  </a:lnTo>
                  <a:lnTo>
                    <a:pt x="834" y="1896"/>
                  </a:lnTo>
                  <a:lnTo>
                    <a:pt x="828" y="1890"/>
                  </a:lnTo>
                  <a:lnTo>
                    <a:pt x="822" y="1890"/>
                  </a:lnTo>
                  <a:lnTo>
                    <a:pt x="816" y="1896"/>
                  </a:lnTo>
                  <a:lnTo>
                    <a:pt x="804" y="1896"/>
                  </a:lnTo>
                  <a:lnTo>
                    <a:pt x="804" y="1890"/>
                  </a:lnTo>
                  <a:lnTo>
                    <a:pt x="780" y="1896"/>
                  </a:lnTo>
                  <a:lnTo>
                    <a:pt x="780" y="1902"/>
                  </a:lnTo>
                  <a:lnTo>
                    <a:pt x="774" y="1914"/>
                  </a:lnTo>
                  <a:lnTo>
                    <a:pt x="762" y="1926"/>
                  </a:lnTo>
                  <a:lnTo>
                    <a:pt x="762" y="1950"/>
                  </a:lnTo>
                  <a:lnTo>
                    <a:pt x="762" y="1962"/>
                  </a:lnTo>
                  <a:lnTo>
                    <a:pt x="780" y="1974"/>
                  </a:lnTo>
                  <a:lnTo>
                    <a:pt x="780" y="1986"/>
                  </a:lnTo>
                  <a:lnTo>
                    <a:pt x="780" y="1998"/>
                  </a:lnTo>
                  <a:lnTo>
                    <a:pt x="756" y="1998"/>
                  </a:lnTo>
                  <a:lnTo>
                    <a:pt x="720" y="1992"/>
                  </a:lnTo>
                  <a:lnTo>
                    <a:pt x="666" y="1998"/>
                  </a:lnTo>
                  <a:lnTo>
                    <a:pt x="654" y="1998"/>
                  </a:lnTo>
                  <a:lnTo>
                    <a:pt x="660" y="1974"/>
                  </a:lnTo>
                  <a:lnTo>
                    <a:pt x="666" y="1962"/>
                  </a:lnTo>
                  <a:lnTo>
                    <a:pt x="678" y="1950"/>
                  </a:lnTo>
                  <a:lnTo>
                    <a:pt x="696" y="1932"/>
                  </a:lnTo>
                  <a:lnTo>
                    <a:pt x="696" y="1920"/>
                  </a:lnTo>
                  <a:lnTo>
                    <a:pt x="696" y="1896"/>
                  </a:lnTo>
                  <a:lnTo>
                    <a:pt x="678" y="1896"/>
                  </a:lnTo>
                  <a:lnTo>
                    <a:pt x="672" y="1884"/>
                  </a:lnTo>
                  <a:lnTo>
                    <a:pt x="672" y="1776"/>
                  </a:lnTo>
                  <a:lnTo>
                    <a:pt x="678" y="1758"/>
                  </a:lnTo>
                  <a:lnTo>
                    <a:pt x="678" y="1740"/>
                  </a:lnTo>
                  <a:lnTo>
                    <a:pt x="684" y="1728"/>
                  </a:lnTo>
                  <a:lnTo>
                    <a:pt x="690" y="1722"/>
                  </a:lnTo>
                  <a:lnTo>
                    <a:pt x="702" y="1722"/>
                  </a:lnTo>
                  <a:lnTo>
                    <a:pt x="708" y="1716"/>
                  </a:lnTo>
                  <a:lnTo>
                    <a:pt x="714" y="1710"/>
                  </a:lnTo>
                  <a:lnTo>
                    <a:pt x="720" y="1698"/>
                  </a:lnTo>
                  <a:lnTo>
                    <a:pt x="732" y="1692"/>
                  </a:lnTo>
                  <a:lnTo>
                    <a:pt x="744" y="1686"/>
                  </a:lnTo>
                  <a:lnTo>
                    <a:pt x="756" y="1680"/>
                  </a:lnTo>
                  <a:lnTo>
                    <a:pt x="768" y="1668"/>
                  </a:lnTo>
                  <a:lnTo>
                    <a:pt x="768" y="1650"/>
                  </a:lnTo>
                  <a:lnTo>
                    <a:pt x="774" y="1632"/>
                  </a:lnTo>
                  <a:lnTo>
                    <a:pt x="768" y="1620"/>
                  </a:lnTo>
                  <a:lnTo>
                    <a:pt x="774" y="1608"/>
                  </a:lnTo>
                  <a:lnTo>
                    <a:pt x="774" y="1578"/>
                  </a:lnTo>
                  <a:lnTo>
                    <a:pt x="774" y="1572"/>
                  </a:lnTo>
                  <a:lnTo>
                    <a:pt x="780" y="1560"/>
                  </a:lnTo>
                  <a:lnTo>
                    <a:pt x="780" y="1554"/>
                  </a:lnTo>
                  <a:lnTo>
                    <a:pt x="786" y="1542"/>
                  </a:lnTo>
                  <a:lnTo>
                    <a:pt x="792" y="1530"/>
                  </a:lnTo>
                  <a:lnTo>
                    <a:pt x="792" y="1518"/>
                  </a:lnTo>
                  <a:lnTo>
                    <a:pt x="792" y="1506"/>
                  </a:lnTo>
                  <a:lnTo>
                    <a:pt x="786" y="1500"/>
                  </a:lnTo>
                  <a:lnTo>
                    <a:pt x="774" y="1488"/>
                  </a:lnTo>
                  <a:lnTo>
                    <a:pt x="774" y="1482"/>
                  </a:lnTo>
                  <a:lnTo>
                    <a:pt x="762" y="1488"/>
                  </a:lnTo>
                  <a:lnTo>
                    <a:pt x="756" y="1494"/>
                  </a:lnTo>
                  <a:lnTo>
                    <a:pt x="744" y="1500"/>
                  </a:lnTo>
                  <a:lnTo>
                    <a:pt x="732" y="1506"/>
                  </a:lnTo>
                  <a:lnTo>
                    <a:pt x="726" y="1506"/>
                  </a:lnTo>
                  <a:lnTo>
                    <a:pt x="720" y="1506"/>
                  </a:lnTo>
                  <a:lnTo>
                    <a:pt x="702" y="1506"/>
                  </a:lnTo>
                  <a:lnTo>
                    <a:pt x="690" y="1500"/>
                  </a:lnTo>
                  <a:lnTo>
                    <a:pt x="678" y="1500"/>
                  </a:lnTo>
                  <a:lnTo>
                    <a:pt x="672" y="1500"/>
                  </a:lnTo>
                  <a:lnTo>
                    <a:pt x="660" y="1506"/>
                  </a:lnTo>
                  <a:lnTo>
                    <a:pt x="654" y="1506"/>
                  </a:lnTo>
                  <a:lnTo>
                    <a:pt x="648" y="1512"/>
                  </a:lnTo>
                  <a:lnTo>
                    <a:pt x="648" y="1518"/>
                  </a:lnTo>
                  <a:lnTo>
                    <a:pt x="618" y="1518"/>
                  </a:lnTo>
                  <a:lnTo>
                    <a:pt x="534" y="1494"/>
                  </a:lnTo>
                  <a:lnTo>
                    <a:pt x="528" y="1458"/>
                  </a:lnTo>
                  <a:lnTo>
                    <a:pt x="510" y="1458"/>
                  </a:lnTo>
                  <a:lnTo>
                    <a:pt x="492" y="1440"/>
                  </a:lnTo>
                  <a:lnTo>
                    <a:pt x="462" y="1440"/>
                  </a:lnTo>
                  <a:lnTo>
                    <a:pt x="456" y="1428"/>
                  </a:lnTo>
                  <a:lnTo>
                    <a:pt x="420" y="1428"/>
                  </a:lnTo>
                  <a:lnTo>
                    <a:pt x="390" y="1446"/>
                  </a:lnTo>
                  <a:lnTo>
                    <a:pt x="312" y="1452"/>
                  </a:lnTo>
                  <a:lnTo>
                    <a:pt x="300" y="1446"/>
                  </a:lnTo>
                  <a:lnTo>
                    <a:pt x="294" y="1446"/>
                  </a:lnTo>
                  <a:lnTo>
                    <a:pt x="288" y="1446"/>
                  </a:lnTo>
                  <a:lnTo>
                    <a:pt x="282" y="1440"/>
                  </a:lnTo>
                  <a:lnTo>
                    <a:pt x="276" y="1440"/>
                  </a:lnTo>
                  <a:lnTo>
                    <a:pt x="270" y="1440"/>
                  </a:lnTo>
                  <a:lnTo>
                    <a:pt x="264" y="1440"/>
                  </a:lnTo>
                  <a:lnTo>
                    <a:pt x="258" y="1434"/>
                  </a:lnTo>
                  <a:lnTo>
                    <a:pt x="252" y="1434"/>
                  </a:lnTo>
                  <a:lnTo>
                    <a:pt x="246" y="1428"/>
                  </a:lnTo>
                  <a:lnTo>
                    <a:pt x="240" y="1416"/>
                  </a:lnTo>
                  <a:lnTo>
                    <a:pt x="234" y="1404"/>
                  </a:lnTo>
                  <a:lnTo>
                    <a:pt x="228" y="1398"/>
                  </a:lnTo>
                  <a:lnTo>
                    <a:pt x="222" y="1398"/>
                  </a:lnTo>
                  <a:lnTo>
                    <a:pt x="216" y="1404"/>
                  </a:lnTo>
                  <a:lnTo>
                    <a:pt x="210" y="1404"/>
                  </a:lnTo>
                  <a:lnTo>
                    <a:pt x="204" y="1404"/>
                  </a:lnTo>
                  <a:lnTo>
                    <a:pt x="204" y="1398"/>
                  </a:lnTo>
                  <a:lnTo>
                    <a:pt x="198" y="1392"/>
                  </a:lnTo>
                  <a:lnTo>
                    <a:pt x="192" y="1386"/>
                  </a:lnTo>
                  <a:lnTo>
                    <a:pt x="168" y="1374"/>
                  </a:lnTo>
                  <a:lnTo>
                    <a:pt x="144" y="13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0" name="Freeform 35">
              <a:extLst>
                <a:ext uri="{FF2B5EF4-FFF2-40B4-BE49-F238E27FC236}">
                  <a16:creationId xmlns:a16="http://schemas.microsoft.com/office/drawing/2014/main" id="{F64BF16E-9D62-438E-A1CC-CD4088AC7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2895" y="1706004"/>
              <a:ext cx="767013" cy="785011"/>
            </a:xfrm>
            <a:custGeom>
              <a:avLst/>
              <a:gdLst>
                <a:gd name="T0" fmla="*/ 102 w 1440"/>
                <a:gd name="T1" fmla="*/ 104 h 1476"/>
                <a:gd name="T2" fmla="*/ 99 w 1440"/>
                <a:gd name="T3" fmla="*/ 108 h 1476"/>
                <a:gd name="T4" fmla="*/ 98 w 1440"/>
                <a:gd name="T5" fmla="*/ 112 h 1476"/>
                <a:gd name="T6" fmla="*/ 96 w 1440"/>
                <a:gd name="T7" fmla="*/ 116 h 1476"/>
                <a:gd name="T8" fmla="*/ 91 w 1440"/>
                <a:gd name="T9" fmla="*/ 118 h 1476"/>
                <a:gd name="T10" fmla="*/ 87 w 1440"/>
                <a:gd name="T11" fmla="*/ 120 h 1476"/>
                <a:gd name="T12" fmla="*/ 75 w 1440"/>
                <a:gd name="T13" fmla="*/ 120 h 1476"/>
                <a:gd name="T14" fmla="*/ 72 w 1440"/>
                <a:gd name="T15" fmla="*/ 123 h 1476"/>
                <a:gd name="T16" fmla="*/ 69 w 1440"/>
                <a:gd name="T17" fmla="*/ 128 h 1476"/>
                <a:gd name="T18" fmla="*/ 67 w 1440"/>
                <a:gd name="T19" fmla="*/ 127 h 1476"/>
                <a:gd name="T20" fmla="*/ 66 w 1440"/>
                <a:gd name="T21" fmla="*/ 123 h 1476"/>
                <a:gd name="T22" fmla="*/ 63 w 1440"/>
                <a:gd name="T23" fmla="*/ 119 h 1476"/>
                <a:gd name="T24" fmla="*/ 54 w 1440"/>
                <a:gd name="T25" fmla="*/ 114 h 1476"/>
                <a:gd name="T26" fmla="*/ 55 w 1440"/>
                <a:gd name="T27" fmla="*/ 106 h 1476"/>
                <a:gd name="T28" fmla="*/ 60 w 1440"/>
                <a:gd name="T29" fmla="*/ 100 h 1476"/>
                <a:gd name="T30" fmla="*/ 55 w 1440"/>
                <a:gd name="T31" fmla="*/ 91 h 1476"/>
                <a:gd name="T32" fmla="*/ 51 w 1440"/>
                <a:gd name="T33" fmla="*/ 86 h 1476"/>
                <a:gd name="T34" fmla="*/ 47 w 1440"/>
                <a:gd name="T35" fmla="*/ 85 h 1476"/>
                <a:gd name="T36" fmla="*/ 44 w 1440"/>
                <a:gd name="T37" fmla="*/ 82 h 1476"/>
                <a:gd name="T38" fmla="*/ 41 w 1440"/>
                <a:gd name="T39" fmla="*/ 83 h 1476"/>
                <a:gd name="T40" fmla="*/ 36 w 1440"/>
                <a:gd name="T41" fmla="*/ 83 h 1476"/>
                <a:gd name="T42" fmla="*/ 33 w 1440"/>
                <a:gd name="T43" fmla="*/ 83 h 1476"/>
                <a:gd name="T44" fmla="*/ 30 w 1440"/>
                <a:gd name="T45" fmla="*/ 83 h 1476"/>
                <a:gd name="T46" fmla="*/ 27 w 1440"/>
                <a:gd name="T47" fmla="*/ 83 h 1476"/>
                <a:gd name="T48" fmla="*/ 24 w 1440"/>
                <a:gd name="T49" fmla="*/ 82 h 1476"/>
                <a:gd name="T50" fmla="*/ 21 w 1440"/>
                <a:gd name="T51" fmla="*/ 80 h 1476"/>
                <a:gd name="T52" fmla="*/ 18 w 1440"/>
                <a:gd name="T53" fmla="*/ 79 h 1476"/>
                <a:gd name="T54" fmla="*/ 17 w 1440"/>
                <a:gd name="T55" fmla="*/ 78 h 1476"/>
                <a:gd name="T56" fmla="*/ 12 w 1440"/>
                <a:gd name="T57" fmla="*/ 78 h 1476"/>
                <a:gd name="T58" fmla="*/ 12 w 1440"/>
                <a:gd name="T59" fmla="*/ 78 h 1476"/>
                <a:gd name="T60" fmla="*/ 7 w 1440"/>
                <a:gd name="T61" fmla="*/ 80 h 1476"/>
                <a:gd name="T62" fmla="*/ 3 w 1440"/>
                <a:gd name="T63" fmla="*/ 81 h 1476"/>
                <a:gd name="T64" fmla="*/ 0 w 1440"/>
                <a:gd name="T65" fmla="*/ 76 h 1476"/>
                <a:gd name="T66" fmla="*/ 1 w 1440"/>
                <a:gd name="T67" fmla="*/ 50 h 1476"/>
                <a:gd name="T68" fmla="*/ 8 w 1440"/>
                <a:gd name="T69" fmla="*/ 48 h 1476"/>
                <a:gd name="T70" fmla="*/ 20 w 1440"/>
                <a:gd name="T71" fmla="*/ 49 h 1476"/>
                <a:gd name="T72" fmla="*/ 26 w 1440"/>
                <a:gd name="T73" fmla="*/ 50 h 1476"/>
                <a:gd name="T74" fmla="*/ 44 w 1440"/>
                <a:gd name="T75" fmla="*/ 47 h 1476"/>
                <a:gd name="T76" fmla="*/ 41 w 1440"/>
                <a:gd name="T77" fmla="*/ 24 h 1476"/>
                <a:gd name="T78" fmla="*/ 44 w 1440"/>
                <a:gd name="T79" fmla="*/ 20 h 1476"/>
                <a:gd name="T80" fmla="*/ 47 w 1440"/>
                <a:gd name="T81" fmla="*/ 18 h 1476"/>
                <a:gd name="T82" fmla="*/ 54 w 1440"/>
                <a:gd name="T83" fmla="*/ 21 h 1476"/>
                <a:gd name="T84" fmla="*/ 61 w 1440"/>
                <a:gd name="T85" fmla="*/ 23 h 1476"/>
                <a:gd name="T86" fmla="*/ 59 w 1440"/>
                <a:gd name="T87" fmla="*/ 14 h 1476"/>
                <a:gd name="T88" fmla="*/ 61 w 1440"/>
                <a:gd name="T89" fmla="*/ 8 h 1476"/>
                <a:gd name="T90" fmla="*/ 71 w 1440"/>
                <a:gd name="T91" fmla="*/ 7 h 1476"/>
                <a:gd name="T92" fmla="*/ 75 w 1440"/>
                <a:gd name="T93" fmla="*/ 0 h 1476"/>
                <a:gd name="T94" fmla="*/ 82 w 1440"/>
                <a:gd name="T95" fmla="*/ 3 h 1476"/>
                <a:gd name="T96" fmla="*/ 93 w 1440"/>
                <a:gd name="T97" fmla="*/ 5 h 1476"/>
                <a:gd name="T98" fmla="*/ 100 w 1440"/>
                <a:gd name="T99" fmla="*/ 1 h 1476"/>
                <a:gd name="T100" fmla="*/ 104 w 1440"/>
                <a:gd name="T101" fmla="*/ 4 h 1476"/>
                <a:gd name="T102" fmla="*/ 110 w 1440"/>
                <a:gd name="T103" fmla="*/ 10 h 1476"/>
                <a:gd name="T104" fmla="*/ 115 w 1440"/>
                <a:gd name="T105" fmla="*/ 23 h 1476"/>
                <a:gd name="T106" fmla="*/ 117 w 1440"/>
                <a:gd name="T107" fmla="*/ 42 h 1476"/>
                <a:gd name="T108" fmla="*/ 121 w 1440"/>
                <a:gd name="T109" fmla="*/ 52 h 1476"/>
                <a:gd name="T110" fmla="*/ 118 w 1440"/>
                <a:gd name="T111" fmla="*/ 62 h 1476"/>
                <a:gd name="T112" fmla="*/ 124 w 1440"/>
                <a:gd name="T113" fmla="*/ 66 h 1476"/>
                <a:gd name="T114" fmla="*/ 121 w 1440"/>
                <a:gd name="T115" fmla="*/ 71 h 1476"/>
                <a:gd name="T116" fmla="*/ 115 w 1440"/>
                <a:gd name="T117" fmla="*/ 76 h 1476"/>
                <a:gd name="T118" fmla="*/ 109 w 1440"/>
                <a:gd name="T119" fmla="*/ 76 h 1476"/>
                <a:gd name="T120" fmla="*/ 105 w 1440"/>
                <a:gd name="T121" fmla="*/ 86 h 1476"/>
                <a:gd name="T122" fmla="*/ 107 w 1440"/>
                <a:gd name="T123" fmla="*/ 97 h 147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40"/>
                <a:gd name="T187" fmla="*/ 0 h 1476"/>
                <a:gd name="T188" fmla="*/ 1440 w 1440"/>
                <a:gd name="T189" fmla="*/ 1476 h 147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40" h="1476">
                  <a:moveTo>
                    <a:pt x="1212" y="1164"/>
                  </a:moveTo>
                  <a:lnTo>
                    <a:pt x="1206" y="1170"/>
                  </a:lnTo>
                  <a:lnTo>
                    <a:pt x="1200" y="1176"/>
                  </a:lnTo>
                  <a:lnTo>
                    <a:pt x="1194" y="1176"/>
                  </a:lnTo>
                  <a:lnTo>
                    <a:pt x="1188" y="1188"/>
                  </a:lnTo>
                  <a:lnTo>
                    <a:pt x="1182" y="1194"/>
                  </a:lnTo>
                  <a:lnTo>
                    <a:pt x="1176" y="1194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64" y="1206"/>
                  </a:lnTo>
                  <a:lnTo>
                    <a:pt x="1158" y="1206"/>
                  </a:lnTo>
                  <a:lnTo>
                    <a:pt x="1152" y="1212"/>
                  </a:lnTo>
                  <a:lnTo>
                    <a:pt x="1146" y="1212"/>
                  </a:lnTo>
                  <a:lnTo>
                    <a:pt x="1140" y="1224"/>
                  </a:lnTo>
                  <a:lnTo>
                    <a:pt x="1134" y="1230"/>
                  </a:lnTo>
                  <a:lnTo>
                    <a:pt x="1128" y="1236"/>
                  </a:lnTo>
                  <a:lnTo>
                    <a:pt x="1128" y="1242"/>
                  </a:lnTo>
                  <a:lnTo>
                    <a:pt x="1128" y="1254"/>
                  </a:lnTo>
                  <a:lnTo>
                    <a:pt x="1128" y="1260"/>
                  </a:lnTo>
                  <a:lnTo>
                    <a:pt x="1122" y="1260"/>
                  </a:lnTo>
                  <a:lnTo>
                    <a:pt x="1122" y="1266"/>
                  </a:lnTo>
                  <a:lnTo>
                    <a:pt x="1128" y="1278"/>
                  </a:lnTo>
                  <a:lnTo>
                    <a:pt x="1122" y="1278"/>
                  </a:lnTo>
                  <a:lnTo>
                    <a:pt x="1122" y="1284"/>
                  </a:lnTo>
                  <a:lnTo>
                    <a:pt x="1128" y="1290"/>
                  </a:lnTo>
                  <a:lnTo>
                    <a:pt x="1122" y="1296"/>
                  </a:lnTo>
                  <a:lnTo>
                    <a:pt x="1122" y="1302"/>
                  </a:lnTo>
                  <a:lnTo>
                    <a:pt x="1116" y="1302"/>
                  </a:lnTo>
                  <a:lnTo>
                    <a:pt x="1110" y="1314"/>
                  </a:lnTo>
                  <a:lnTo>
                    <a:pt x="1110" y="1320"/>
                  </a:lnTo>
                  <a:lnTo>
                    <a:pt x="1110" y="1326"/>
                  </a:lnTo>
                  <a:lnTo>
                    <a:pt x="1098" y="1332"/>
                  </a:lnTo>
                  <a:lnTo>
                    <a:pt x="1092" y="1338"/>
                  </a:lnTo>
                  <a:lnTo>
                    <a:pt x="1092" y="1344"/>
                  </a:lnTo>
                  <a:lnTo>
                    <a:pt x="1086" y="1350"/>
                  </a:lnTo>
                  <a:lnTo>
                    <a:pt x="1080" y="1350"/>
                  </a:lnTo>
                  <a:lnTo>
                    <a:pt x="1074" y="1350"/>
                  </a:lnTo>
                  <a:lnTo>
                    <a:pt x="1068" y="1356"/>
                  </a:lnTo>
                  <a:lnTo>
                    <a:pt x="1062" y="1356"/>
                  </a:lnTo>
                  <a:lnTo>
                    <a:pt x="1044" y="1356"/>
                  </a:lnTo>
                  <a:lnTo>
                    <a:pt x="1038" y="1362"/>
                  </a:lnTo>
                  <a:lnTo>
                    <a:pt x="1032" y="1368"/>
                  </a:lnTo>
                  <a:lnTo>
                    <a:pt x="1026" y="1368"/>
                  </a:lnTo>
                  <a:lnTo>
                    <a:pt x="1020" y="1374"/>
                  </a:lnTo>
                  <a:lnTo>
                    <a:pt x="1008" y="1374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74"/>
                  </a:lnTo>
                  <a:lnTo>
                    <a:pt x="978" y="1380"/>
                  </a:lnTo>
                  <a:lnTo>
                    <a:pt x="972" y="1380"/>
                  </a:lnTo>
                  <a:lnTo>
                    <a:pt x="954" y="1368"/>
                  </a:lnTo>
                  <a:lnTo>
                    <a:pt x="930" y="1368"/>
                  </a:lnTo>
                  <a:lnTo>
                    <a:pt x="918" y="1368"/>
                  </a:lnTo>
                  <a:lnTo>
                    <a:pt x="906" y="1368"/>
                  </a:lnTo>
                  <a:lnTo>
                    <a:pt x="894" y="1368"/>
                  </a:lnTo>
                  <a:lnTo>
                    <a:pt x="864" y="1374"/>
                  </a:lnTo>
                  <a:lnTo>
                    <a:pt x="852" y="1374"/>
                  </a:lnTo>
                  <a:lnTo>
                    <a:pt x="846" y="1386"/>
                  </a:lnTo>
                  <a:lnTo>
                    <a:pt x="846" y="1392"/>
                  </a:lnTo>
                  <a:lnTo>
                    <a:pt x="840" y="1398"/>
                  </a:lnTo>
                  <a:lnTo>
                    <a:pt x="840" y="1404"/>
                  </a:lnTo>
                  <a:lnTo>
                    <a:pt x="834" y="1416"/>
                  </a:lnTo>
                  <a:lnTo>
                    <a:pt x="828" y="1416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04" y="1428"/>
                  </a:lnTo>
                  <a:lnTo>
                    <a:pt x="804" y="1434"/>
                  </a:lnTo>
                  <a:lnTo>
                    <a:pt x="804" y="1440"/>
                  </a:lnTo>
                  <a:lnTo>
                    <a:pt x="798" y="1446"/>
                  </a:lnTo>
                  <a:lnTo>
                    <a:pt x="798" y="1458"/>
                  </a:lnTo>
                  <a:lnTo>
                    <a:pt x="792" y="1464"/>
                  </a:lnTo>
                  <a:lnTo>
                    <a:pt x="786" y="1476"/>
                  </a:lnTo>
                  <a:lnTo>
                    <a:pt x="780" y="1470"/>
                  </a:lnTo>
                  <a:lnTo>
                    <a:pt x="774" y="1470"/>
                  </a:lnTo>
                  <a:lnTo>
                    <a:pt x="768" y="1470"/>
                  </a:lnTo>
                  <a:lnTo>
                    <a:pt x="762" y="1476"/>
                  </a:lnTo>
                  <a:lnTo>
                    <a:pt x="762" y="1470"/>
                  </a:lnTo>
                  <a:lnTo>
                    <a:pt x="762" y="1464"/>
                  </a:lnTo>
                  <a:lnTo>
                    <a:pt x="762" y="1458"/>
                  </a:lnTo>
                  <a:lnTo>
                    <a:pt x="756" y="1458"/>
                  </a:lnTo>
                  <a:lnTo>
                    <a:pt x="756" y="1452"/>
                  </a:lnTo>
                  <a:lnTo>
                    <a:pt x="756" y="1446"/>
                  </a:lnTo>
                  <a:lnTo>
                    <a:pt x="756" y="1440"/>
                  </a:lnTo>
                  <a:lnTo>
                    <a:pt x="750" y="1434"/>
                  </a:lnTo>
                  <a:lnTo>
                    <a:pt x="750" y="1428"/>
                  </a:lnTo>
                  <a:lnTo>
                    <a:pt x="750" y="1422"/>
                  </a:lnTo>
                  <a:lnTo>
                    <a:pt x="750" y="1416"/>
                  </a:lnTo>
                  <a:lnTo>
                    <a:pt x="744" y="1416"/>
                  </a:lnTo>
                  <a:lnTo>
                    <a:pt x="744" y="1410"/>
                  </a:lnTo>
                  <a:lnTo>
                    <a:pt x="738" y="1404"/>
                  </a:lnTo>
                  <a:lnTo>
                    <a:pt x="732" y="1398"/>
                  </a:lnTo>
                  <a:lnTo>
                    <a:pt x="732" y="1392"/>
                  </a:lnTo>
                  <a:lnTo>
                    <a:pt x="726" y="1386"/>
                  </a:lnTo>
                  <a:lnTo>
                    <a:pt x="726" y="1380"/>
                  </a:lnTo>
                  <a:lnTo>
                    <a:pt x="714" y="1368"/>
                  </a:lnTo>
                  <a:lnTo>
                    <a:pt x="708" y="1368"/>
                  </a:lnTo>
                  <a:lnTo>
                    <a:pt x="684" y="1332"/>
                  </a:lnTo>
                  <a:lnTo>
                    <a:pt x="666" y="1320"/>
                  </a:lnTo>
                  <a:lnTo>
                    <a:pt x="648" y="1302"/>
                  </a:lnTo>
                  <a:lnTo>
                    <a:pt x="630" y="1314"/>
                  </a:lnTo>
                  <a:lnTo>
                    <a:pt x="624" y="1314"/>
                  </a:lnTo>
                  <a:lnTo>
                    <a:pt x="624" y="1308"/>
                  </a:lnTo>
                  <a:lnTo>
                    <a:pt x="618" y="1308"/>
                  </a:lnTo>
                  <a:lnTo>
                    <a:pt x="612" y="1284"/>
                  </a:lnTo>
                  <a:lnTo>
                    <a:pt x="606" y="1254"/>
                  </a:lnTo>
                  <a:lnTo>
                    <a:pt x="606" y="1248"/>
                  </a:lnTo>
                  <a:lnTo>
                    <a:pt x="606" y="1242"/>
                  </a:lnTo>
                  <a:lnTo>
                    <a:pt x="612" y="1242"/>
                  </a:lnTo>
                  <a:lnTo>
                    <a:pt x="618" y="1236"/>
                  </a:lnTo>
                  <a:lnTo>
                    <a:pt x="618" y="1230"/>
                  </a:lnTo>
                  <a:lnTo>
                    <a:pt x="624" y="1224"/>
                  </a:lnTo>
                  <a:lnTo>
                    <a:pt x="630" y="1224"/>
                  </a:lnTo>
                  <a:lnTo>
                    <a:pt x="636" y="1218"/>
                  </a:lnTo>
                  <a:lnTo>
                    <a:pt x="636" y="1212"/>
                  </a:lnTo>
                  <a:lnTo>
                    <a:pt x="612" y="1200"/>
                  </a:lnTo>
                  <a:lnTo>
                    <a:pt x="606" y="1182"/>
                  </a:lnTo>
                  <a:lnTo>
                    <a:pt x="672" y="1182"/>
                  </a:lnTo>
                  <a:lnTo>
                    <a:pt x="690" y="1170"/>
                  </a:lnTo>
                  <a:lnTo>
                    <a:pt x="690" y="1152"/>
                  </a:lnTo>
                  <a:lnTo>
                    <a:pt x="678" y="1110"/>
                  </a:lnTo>
                  <a:lnTo>
                    <a:pt x="672" y="1092"/>
                  </a:lnTo>
                  <a:lnTo>
                    <a:pt x="660" y="1074"/>
                  </a:lnTo>
                  <a:lnTo>
                    <a:pt x="648" y="1068"/>
                  </a:lnTo>
                  <a:lnTo>
                    <a:pt x="642" y="1068"/>
                  </a:lnTo>
                  <a:lnTo>
                    <a:pt x="636" y="1062"/>
                  </a:lnTo>
                  <a:lnTo>
                    <a:pt x="624" y="1056"/>
                  </a:lnTo>
                  <a:lnTo>
                    <a:pt x="624" y="1050"/>
                  </a:lnTo>
                  <a:lnTo>
                    <a:pt x="618" y="1038"/>
                  </a:lnTo>
                  <a:lnTo>
                    <a:pt x="612" y="1038"/>
                  </a:lnTo>
                  <a:lnTo>
                    <a:pt x="612" y="1032"/>
                  </a:lnTo>
                  <a:lnTo>
                    <a:pt x="612" y="1026"/>
                  </a:lnTo>
                  <a:lnTo>
                    <a:pt x="600" y="1014"/>
                  </a:lnTo>
                  <a:lnTo>
                    <a:pt x="582" y="1008"/>
                  </a:lnTo>
                  <a:lnTo>
                    <a:pt x="576" y="1002"/>
                  </a:lnTo>
                  <a:lnTo>
                    <a:pt x="576" y="996"/>
                  </a:lnTo>
                  <a:lnTo>
                    <a:pt x="570" y="996"/>
                  </a:lnTo>
                  <a:lnTo>
                    <a:pt x="570" y="990"/>
                  </a:lnTo>
                  <a:lnTo>
                    <a:pt x="570" y="984"/>
                  </a:lnTo>
                  <a:lnTo>
                    <a:pt x="564" y="984"/>
                  </a:lnTo>
                  <a:lnTo>
                    <a:pt x="558" y="978"/>
                  </a:lnTo>
                  <a:lnTo>
                    <a:pt x="552" y="972"/>
                  </a:lnTo>
                  <a:lnTo>
                    <a:pt x="552" y="966"/>
                  </a:lnTo>
                  <a:lnTo>
                    <a:pt x="546" y="972"/>
                  </a:lnTo>
                  <a:lnTo>
                    <a:pt x="540" y="972"/>
                  </a:lnTo>
                  <a:lnTo>
                    <a:pt x="534" y="960"/>
                  </a:lnTo>
                  <a:lnTo>
                    <a:pt x="528" y="960"/>
                  </a:lnTo>
                  <a:lnTo>
                    <a:pt x="528" y="966"/>
                  </a:lnTo>
                  <a:lnTo>
                    <a:pt x="516" y="954"/>
                  </a:lnTo>
                  <a:lnTo>
                    <a:pt x="516" y="948"/>
                  </a:lnTo>
                  <a:lnTo>
                    <a:pt x="510" y="948"/>
                  </a:lnTo>
                  <a:lnTo>
                    <a:pt x="504" y="948"/>
                  </a:lnTo>
                  <a:lnTo>
                    <a:pt x="498" y="948"/>
                  </a:lnTo>
                  <a:lnTo>
                    <a:pt x="504" y="954"/>
                  </a:lnTo>
                  <a:lnTo>
                    <a:pt x="498" y="954"/>
                  </a:lnTo>
                  <a:lnTo>
                    <a:pt x="492" y="954"/>
                  </a:lnTo>
                  <a:lnTo>
                    <a:pt x="480" y="942"/>
                  </a:lnTo>
                  <a:lnTo>
                    <a:pt x="480" y="948"/>
                  </a:lnTo>
                  <a:lnTo>
                    <a:pt x="480" y="954"/>
                  </a:lnTo>
                  <a:lnTo>
                    <a:pt x="474" y="954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56" y="966"/>
                  </a:lnTo>
                  <a:lnTo>
                    <a:pt x="456" y="960"/>
                  </a:lnTo>
                  <a:lnTo>
                    <a:pt x="450" y="966"/>
                  </a:lnTo>
                  <a:lnTo>
                    <a:pt x="444" y="966"/>
                  </a:lnTo>
                  <a:lnTo>
                    <a:pt x="414" y="966"/>
                  </a:lnTo>
                  <a:lnTo>
                    <a:pt x="408" y="960"/>
                  </a:lnTo>
                  <a:lnTo>
                    <a:pt x="408" y="966"/>
                  </a:lnTo>
                  <a:lnTo>
                    <a:pt x="402" y="960"/>
                  </a:lnTo>
                  <a:lnTo>
                    <a:pt x="396" y="960"/>
                  </a:lnTo>
                  <a:lnTo>
                    <a:pt x="390" y="960"/>
                  </a:lnTo>
                  <a:lnTo>
                    <a:pt x="390" y="966"/>
                  </a:lnTo>
                  <a:lnTo>
                    <a:pt x="384" y="966"/>
                  </a:lnTo>
                  <a:lnTo>
                    <a:pt x="378" y="966"/>
                  </a:lnTo>
                  <a:lnTo>
                    <a:pt x="384" y="960"/>
                  </a:lnTo>
                  <a:lnTo>
                    <a:pt x="384" y="954"/>
                  </a:lnTo>
                  <a:lnTo>
                    <a:pt x="372" y="948"/>
                  </a:lnTo>
                  <a:lnTo>
                    <a:pt x="372" y="954"/>
                  </a:lnTo>
                  <a:lnTo>
                    <a:pt x="372" y="960"/>
                  </a:lnTo>
                  <a:lnTo>
                    <a:pt x="366" y="960"/>
                  </a:lnTo>
                  <a:lnTo>
                    <a:pt x="360" y="966"/>
                  </a:lnTo>
                  <a:lnTo>
                    <a:pt x="354" y="966"/>
                  </a:lnTo>
                  <a:lnTo>
                    <a:pt x="348" y="960"/>
                  </a:lnTo>
                  <a:lnTo>
                    <a:pt x="342" y="960"/>
                  </a:lnTo>
                  <a:lnTo>
                    <a:pt x="342" y="966"/>
                  </a:lnTo>
                  <a:lnTo>
                    <a:pt x="336" y="972"/>
                  </a:lnTo>
                  <a:lnTo>
                    <a:pt x="330" y="972"/>
                  </a:lnTo>
                  <a:lnTo>
                    <a:pt x="324" y="966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6" y="954"/>
                  </a:lnTo>
                  <a:lnTo>
                    <a:pt x="306" y="948"/>
                  </a:lnTo>
                  <a:lnTo>
                    <a:pt x="306" y="942"/>
                  </a:lnTo>
                  <a:lnTo>
                    <a:pt x="300" y="942"/>
                  </a:lnTo>
                  <a:lnTo>
                    <a:pt x="294" y="936"/>
                  </a:lnTo>
                  <a:lnTo>
                    <a:pt x="288" y="936"/>
                  </a:lnTo>
                  <a:lnTo>
                    <a:pt x="282" y="942"/>
                  </a:lnTo>
                  <a:lnTo>
                    <a:pt x="276" y="936"/>
                  </a:lnTo>
                  <a:lnTo>
                    <a:pt x="276" y="942"/>
                  </a:lnTo>
                  <a:lnTo>
                    <a:pt x="270" y="942"/>
                  </a:lnTo>
                  <a:lnTo>
                    <a:pt x="264" y="936"/>
                  </a:lnTo>
                  <a:lnTo>
                    <a:pt x="252" y="936"/>
                  </a:lnTo>
                  <a:lnTo>
                    <a:pt x="246" y="936"/>
                  </a:lnTo>
                  <a:lnTo>
                    <a:pt x="240" y="936"/>
                  </a:lnTo>
                  <a:lnTo>
                    <a:pt x="234" y="936"/>
                  </a:lnTo>
                  <a:lnTo>
                    <a:pt x="240" y="924"/>
                  </a:lnTo>
                  <a:lnTo>
                    <a:pt x="234" y="924"/>
                  </a:lnTo>
                  <a:lnTo>
                    <a:pt x="228" y="918"/>
                  </a:lnTo>
                  <a:lnTo>
                    <a:pt x="228" y="906"/>
                  </a:lnTo>
                  <a:lnTo>
                    <a:pt x="222" y="900"/>
                  </a:lnTo>
                  <a:lnTo>
                    <a:pt x="216" y="900"/>
                  </a:lnTo>
                  <a:lnTo>
                    <a:pt x="210" y="900"/>
                  </a:lnTo>
                  <a:lnTo>
                    <a:pt x="210" y="906"/>
                  </a:lnTo>
                  <a:lnTo>
                    <a:pt x="204" y="906"/>
                  </a:lnTo>
                  <a:lnTo>
                    <a:pt x="198" y="906"/>
                  </a:lnTo>
                  <a:lnTo>
                    <a:pt x="210" y="900"/>
                  </a:lnTo>
                  <a:lnTo>
                    <a:pt x="210" y="894"/>
                  </a:lnTo>
                  <a:lnTo>
                    <a:pt x="216" y="888"/>
                  </a:lnTo>
                  <a:lnTo>
                    <a:pt x="204" y="882"/>
                  </a:lnTo>
                  <a:lnTo>
                    <a:pt x="204" y="894"/>
                  </a:lnTo>
                  <a:lnTo>
                    <a:pt x="198" y="894"/>
                  </a:lnTo>
                  <a:lnTo>
                    <a:pt x="192" y="900"/>
                  </a:lnTo>
                  <a:lnTo>
                    <a:pt x="186" y="894"/>
                  </a:lnTo>
                  <a:lnTo>
                    <a:pt x="180" y="894"/>
                  </a:lnTo>
                  <a:lnTo>
                    <a:pt x="174" y="894"/>
                  </a:lnTo>
                  <a:lnTo>
                    <a:pt x="168" y="900"/>
                  </a:lnTo>
                  <a:lnTo>
                    <a:pt x="162" y="906"/>
                  </a:lnTo>
                  <a:lnTo>
                    <a:pt x="156" y="906"/>
                  </a:lnTo>
                  <a:lnTo>
                    <a:pt x="150" y="900"/>
                  </a:lnTo>
                  <a:lnTo>
                    <a:pt x="144" y="894"/>
                  </a:lnTo>
                  <a:lnTo>
                    <a:pt x="138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0" y="888"/>
                  </a:lnTo>
                  <a:lnTo>
                    <a:pt x="114" y="894"/>
                  </a:lnTo>
                  <a:lnTo>
                    <a:pt x="120" y="900"/>
                  </a:lnTo>
                  <a:lnTo>
                    <a:pt x="126" y="900"/>
                  </a:lnTo>
                  <a:lnTo>
                    <a:pt x="132" y="900"/>
                  </a:lnTo>
                  <a:lnTo>
                    <a:pt x="132" y="906"/>
                  </a:lnTo>
                  <a:lnTo>
                    <a:pt x="126" y="912"/>
                  </a:lnTo>
                  <a:lnTo>
                    <a:pt x="126" y="918"/>
                  </a:lnTo>
                  <a:lnTo>
                    <a:pt x="114" y="918"/>
                  </a:lnTo>
                  <a:lnTo>
                    <a:pt x="108" y="924"/>
                  </a:lnTo>
                  <a:lnTo>
                    <a:pt x="102" y="924"/>
                  </a:lnTo>
                  <a:lnTo>
                    <a:pt x="90" y="924"/>
                  </a:lnTo>
                  <a:lnTo>
                    <a:pt x="84" y="924"/>
                  </a:lnTo>
                  <a:lnTo>
                    <a:pt x="78" y="924"/>
                  </a:lnTo>
                  <a:lnTo>
                    <a:pt x="60" y="924"/>
                  </a:lnTo>
                  <a:lnTo>
                    <a:pt x="54" y="942"/>
                  </a:lnTo>
                  <a:lnTo>
                    <a:pt x="48" y="936"/>
                  </a:lnTo>
                  <a:lnTo>
                    <a:pt x="42" y="930"/>
                  </a:lnTo>
                  <a:lnTo>
                    <a:pt x="36" y="930"/>
                  </a:lnTo>
                  <a:lnTo>
                    <a:pt x="30" y="936"/>
                  </a:lnTo>
                  <a:lnTo>
                    <a:pt x="30" y="930"/>
                  </a:lnTo>
                  <a:lnTo>
                    <a:pt x="30" y="924"/>
                  </a:lnTo>
                  <a:lnTo>
                    <a:pt x="18" y="918"/>
                  </a:lnTo>
                  <a:lnTo>
                    <a:pt x="18" y="912"/>
                  </a:lnTo>
                  <a:lnTo>
                    <a:pt x="12" y="912"/>
                  </a:lnTo>
                  <a:lnTo>
                    <a:pt x="6" y="912"/>
                  </a:lnTo>
                  <a:lnTo>
                    <a:pt x="6" y="900"/>
                  </a:lnTo>
                  <a:lnTo>
                    <a:pt x="6" y="894"/>
                  </a:lnTo>
                  <a:lnTo>
                    <a:pt x="0" y="870"/>
                  </a:lnTo>
                  <a:lnTo>
                    <a:pt x="6" y="846"/>
                  </a:lnTo>
                  <a:lnTo>
                    <a:pt x="6" y="810"/>
                  </a:lnTo>
                  <a:lnTo>
                    <a:pt x="12" y="774"/>
                  </a:lnTo>
                  <a:lnTo>
                    <a:pt x="12" y="756"/>
                  </a:lnTo>
                  <a:lnTo>
                    <a:pt x="18" y="744"/>
                  </a:lnTo>
                  <a:lnTo>
                    <a:pt x="18" y="732"/>
                  </a:lnTo>
                  <a:lnTo>
                    <a:pt x="12" y="576"/>
                  </a:lnTo>
                  <a:lnTo>
                    <a:pt x="12" y="570"/>
                  </a:lnTo>
                  <a:lnTo>
                    <a:pt x="18" y="564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42" y="552"/>
                  </a:lnTo>
                  <a:lnTo>
                    <a:pt x="66" y="552"/>
                  </a:lnTo>
                  <a:lnTo>
                    <a:pt x="78" y="558"/>
                  </a:lnTo>
                  <a:lnTo>
                    <a:pt x="90" y="558"/>
                  </a:lnTo>
                  <a:lnTo>
                    <a:pt x="108" y="558"/>
                  </a:lnTo>
                  <a:lnTo>
                    <a:pt x="144" y="558"/>
                  </a:lnTo>
                  <a:lnTo>
                    <a:pt x="204" y="552"/>
                  </a:lnTo>
                  <a:lnTo>
                    <a:pt x="210" y="558"/>
                  </a:lnTo>
                  <a:lnTo>
                    <a:pt x="216" y="558"/>
                  </a:lnTo>
                  <a:lnTo>
                    <a:pt x="210" y="564"/>
                  </a:lnTo>
                  <a:lnTo>
                    <a:pt x="216" y="564"/>
                  </a:lnTo>
                  <a:lnTo>
                    <a:pt x="222" y="564"/>
                  </a:lnTo>
                  <a:lnTo>
                    <a:pt x="240" y="564"/>
                  </a:lnTo>
                  <a:lnTo>
                    <a:pt x="258" y="564"/>
                  </a:lnTo>
                  <a:lnTo>
                    <a:pt x="264" y="570"/>
                  </a:lnTo>
                  <a:lnTo>
                    <a:pt x="276" y="570"/>
                  </a:lnTo>
                  <a:lnTo>
                    <a:pt x="282" y="564"/>
                  </a:lnTo>
                  <a:lnTo>
                    <a:pt x="294" y="564"/>
                  </a:lnTo>
                  <a:lnTo>
                    <a:pt x="294" y="570"/>
                  </a:lnTo>
                  <a:lnTo>
                    <a:pt x="300" y="570"/>
                  </a:lnTo>
                  <a:lnTo>
                    <a:pt x="378" y="564"/>
                  </a:lnTo>
                  <a:lnTo>
                    <a:pt x="408" y="558"/>
                  </a:lnTo>
                  <a:lnTo>
                    <a:pt x="432" y="552"/>
                  </a:lnTo>
                  <a:lnTo>
                    <a:pt x="450" y="546"/>
                  </a:lnTo>
                  <a:lnTo>
                    <a:pt x="468" y="546"/>
                  </a:lnTo>
                  <a:lnTo>
                    <a:pt x="468" y="552"/>
                  </a:lnTo>
                  <a:lnTo>
                    <a:pt x="504" y="552"/>
                  </a:lnTo>
                  <a:lnTo>
                    <a:pt x="510" y="534"/>
                  </a:lnTo>
                  <a:lnTo>
                    <a:pt x="516" y="510"/>
                  </a:lnTo>
                  <a:lnTo>
                    <a:pt x="522" y="510"/>
                  </a:lnTo>
                  <a:lnTo>
                    <a:pt x="528" y="420"/>
                  </a:lnTo>
                  <a:lnTo>
                    <a:pt x="522" y="414"/>
                  </a:lnTo>
                  <a:lnTo>
                    <a:pt x="516" y="396"/>
                  </a:lnTo>
                  <a:lnTo>
                    <a:pt x="510" y="372"/>
                  </a:lnTo>
                  <a:lnTo>
                    <a:pt x="498" y="348"/>
                  </a:lnTo>
                  <a:lnTo>
                    <a:pt x="474" y="282"/>
                  </a:lnTo>
                  <a:lnTo>
                    <a:pt x="474" y="270"/>
                  </a:lnTo>
                  <a:lnTo>
                    <a:pt x="480" y="258"/>
                  </a:lnTo>
                  <a:lnTo>
                    <a:pt x="486" y="258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92" y="246"/>
                  </a:lnTo>
                  <a:lnTo>
                    <a:pt x="504" y="234"/>
                  </a:lnTo>
                  <a:lnTo>
                    <a:pt x="510" y="228"/>
                  </a:lnTo>
                  <a:lnTo>
                    <a:pt x="516" y="228"/>
                  </a:lnTo>
                  <a:lnTo>
                    <a:pt x="516" y="222"/>
                  </a:lnTo>
                  <a:lnTo>
                    <a:pt x="516" y="216"/>
                  </a:lnTo>
                  <a:lnTo>
                    <a:pt x="522" y="216"/>
                  </a:lnTo>
                  <a:lnTo>
                    <a:pt x="528" y="210"/>
                  </a:lnTo>
                  <a:lnTo>
                    <a:pt x="534" y="210"/>
                  </a:lnTo>
                  <a:lnTo>
                    <a:pt x="540" y="210"/>
                  </a:lnTo>
                  <a:lnTo>
                    <a:pt x="546" y="210"/>
                  </a:lnTo>
                  <a:lnTo>
                    <a:pt x="552" y="210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16"/>
                  </a:lnTo>
                  <a:lnTo>
                    <a:pt x="588" y="228"/>
                  </a:lnTo>
                  <a:lnTo>
                    <a:pt x="594" y="234"/>
                  </a:lnTo>
                  <a:lnTo>
                    <a:pt x="600" y="240"/>
                  </a:lnTo>
                  <a:lnTo>
                    <a:pt x="618" y="246"/>
                  </a:lnTo>
                  <a:lnTo>
                    <a:pt x="624" y="246"/>
                  </a:lnTo>
                  <a:lnTo>
                    <a:pt x="636" y="252"/>
                  </a:lnTo>
                  <a:lnTo>
                    <a:pt x="654" y="252"/>
                  </a:lnTo>
                  <a:lnTo>
                    <a:pt x="654" y="258"/>
                  </a:lnTo>
                  <a:lnTo>
                    <a:pt x="666" y="264"/>
                  </a:lnTo>
                  <a:lnTo>
                    <a:pt x="672" y="264"/>
                  </a:lnTo>
                  <a:lnTo>
                    <a:pt x="678" y="264"/>
                  </a:lnTo>
                  <a:lnTo>
                    <a:pt x="696" y="258"/>
                  </a:lnTo>
                  <a:lnTo>
                    <a:pt x="696" y="252"/>
                  </a:lnTo>
                  <a:lnTo>
                    <a:pt x="696" y="246"/>
                  </a:lnTo>
                  <a:lnTo>
                    <a:pt x="690" y="234"/>
                  </a:lnTo>
                  <a:lnTo>
                    <a:pt x="684" y="210"/>
                  </a:lnTo>
                  <a:lnTo>
                    <a:pt x="678" y="192"/>
                  </a:lnTo>
                  <a:lnTo>
                    <a:pt x="672" y="174"/>
                  </a:lnTo>
                  <a:lnTo>
                    <a:pt x="672" y="168"/>
                  </a:lnTo>
                  <a:lnTo>
                    <a:pt x="672" y="162"/>
                  </a:lnTo>
                  <a:lnTo>
                    <a:pt x="672" y="156"/>
                  </a:lnTo>
                  <a:lnTo>
                    <a:pt x="684" y="132"/>
                  </a:lnTo>
                  <a:lnTo>
                    <a:pt x="684" y="120"/>
                  </a:lnTo>
                  <a:lnTo>
                    <a:pt x="684" y="108"/>
                  </a:lnTo>
                  <a:lnTo>
                    <a:pt x="678" y="102"/>
                  </a:lnTo>
                  <a:lnTo>
                    <a:pt x="678" y="96"/>
                  </a:lnTo>
                  <a:lnTo>
                    <a:pt x="684" y="96"/>
                  </a:lnTo>
                  <a:lnTo>
                    <a:pt x="696" y="90"/>
                  </a:lnTo>
                  <a:lnTo>
                    <a:pt x="702" y="84"/>
                  </a:lnTo>
                  <a:lnTo>
                    <a:pt x="720" y="72"/>
                  </a:lnTo>
                  <a:lnTo>
                    <a:pt x="738" y="66"/>
                  </a:lnTo>
                  <a:lnTo>
                    <a:pt x="756" y="60"/>
                  </a:lnTo>
                  <a:lnTo>
                    <a:pt x="768" y="60"/>
                  </a:lnTo>
                  <a:lnTo>
                    <a:pt x="798" y="72"/>
                  </a:lnTo>
                  <a:lnTo>
                    <a:pt x="804" y="78"/>
                  </a:lnTo>
                  <a:lnTo>
                    <a:pt x="816" y="84"/>
                  </a:lnTo>
                  <a:lnTo>
                    <a:pt x="822" y="84"/>
                  </a:lnTo>
                  <a:lnTo>
                    <a:pt x="828" y="72"/>
                  </a:lnTo>
                  <a:lnTo>
                    <a:pt x="828" y="60"/>
                  </a:lnTo>
                  <a:lnTo>
                    <a:pt x="828" y="36"/>
                  </a:lnTo>
                  <a:lnTo>
                    <a:pt x="828" y="24"/>
                  </a:lnTo>
                  <a:lnTo>
                    <a:pt x="828" y="12"/>
                  </a:lnTo>
                  <a:lnTo>
                    <a:pt x="834" y="12"/>
                  </a:lnTo>
                  <a:lnTo>
                    <a:pt x="852" y="6"/>
                  </a:lnTo>
                  <a:lnTo>
                    <a:pt x="876" y="6"/>
                  </a:lnTo>
                  <a:lnTo>
                    <a:pt x="894" y="6"/>
                  </a:lnTo>
                  <a:lnTo>
                    <a:pt x="906" y="12"/>
                  </a:lnTo>
                  <a:lnTo>
                    <a:pt x="912" y="24"/>
                  </a:lnTo>
                  <a:lnTo>
                    <a:pt x="924" y="24"/>
                  </a:lnTo>
                  <a:lnTo>
                    <a:pt x="930" y="30"/>
                  </a:lnTo>
                  <a:lnTo>
                    <a:pt x="936" y="30"/>
                  </a:lnTo>
                  <a:lnTo>
                    <a:pt x="936" y="36"/>
                  </a:lnTo>
                  <a:lnTo>
                    <a:pt x="942" y="36"/>
                  </a:lnTo>
                  <a:lnTo>
                    <a:pt x="948" y="42"/>
                  </a:lnTo>
                  <a:lnTo>
                    <a:pt x="960" y="48"/>
                  </a:lnTo>
                  <a:lnTo>
                    <a:pt x="966" y="48"/>
                  </a:lnTo>
                  <a:lnTo>
                    <a:pt x="1026" y="60"/>
                  </a:lnTo>
                  <a:lnTo>
                    <a:pt x="1050" y="60"/>
                  </a:lnTo>
                  <a:lnTo>
                    <a:pt x="1050" y="54"/>
                  </a:lnTo>
                  <a:lnTo>
                    <a:pt x="1062" y="54"/>
                  </a:lnTo>
                  <a:lnTo>
                    <a:pt x="1074" y="48"/>
                  </a:lnTo>
                  <a:lnTo>
                    <a:pt x="1086" y="42"/>
                  </a:lnTo>
                  <a:lnTo>
                    <a:pt x="1104" y="36"/>
                  </a:lnTo>
                  <a:lnTo>
                    <a:pt x="1116" y="30"/>
                  </a:lnTo>
                  <a:lnTo>
                    <a:pt x="1122" y="24"/>
                  </a:lnTo>
                  <a:lnTo>
                    <a:pt x="1128" y="18"/>
                  </a:lnTo>
                  <a:lnTo>
                    <a:pt x="1134" y="18"/>
                  </a:lnTo>
                  <a:lnTo>
                    <a:pt x="1140" y="12"/>
                  </a:lnTo>
                  <a:lnTo>
                    <a:pt x="1146" y="6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24"/>
                  </a:lnTo>
                  <a:lnTo>
                    <a:pt x="1176" y="36"/>
                  </a:lnTo>
                  <a:lnTo>
                    <a:pt x="1188" y="42"/>
                  </a:lnTo>
                  <a:lnTo>
                    <a:pt x="1200" y="54"/>
                  </a:lnTo>
                  <a:lnTo>
                    <a:pt x="1224" y="84"/>
                  </a:lnTo>
                  <a:lnTo>
                    <a:pt x="1224" y="90"/>
                  </a:lnTo>
                  <a:lnTo>
                    <a:pt x="1236" y="96"/>
                  </a:lnTo>
                  <a:lnTo>
                    <a:pt x="1236" y="108"/>
                  </a:lnTo>
                  <a:lnTo>
                    <a:pt x="1248" y="114"/>
                  </a:lnTo>
                  <a:lnTo>
                    <a:pt x="1254" y="114"/>
                  </a:lnTo>
                  <a:lnTo>
                    <a:pt x="1260" y="114"/>
                  </a:lnTo>
                  <a:lnTo>
                    <a:pt x="1296" y="114"/>
                  </a:lnTo>
                  <a:lnTo>
                    <a:pt x="1302" y="114"/>
                  </a:lnTo>
                  <a:lnTo>
                    <a:pt x="1320" y="108"/>
                  </a:lnTo>
                  <a:lnTo>
                    <a:pt x="1326" y="108"/>
                  </a:lnTo>
                  <a:lnTo>
                    <a:pt x="1326" y="138"/>
                  </a:lnTo>
                  <a:lnTo>
                    <a:pt x="1326" y="210"/>
                  </a:lnTo>
                  <a:lnTo>
                    <a:pt x="1320" y="252"/>
                  </a:lnTo>
                  <a:lnTo>
                    <a:pt x="1320" y="270"/>
                  </a:lnTo>
                  <a:lnTo>
                    <a:pt x="1320" y="288"/>
                  </a:lnTo>
                  <a:lnTo>
                    <a:pt x="1320" y="318"/>
                  </a:lnTo>
                  <a:lnTo>
                    <a:pt x="1326" y="354"/>
                  </a:lnTo>
                  <a:lnTo>
                    <a:pt x="1326" y="372"/>
                  </a:lnTo>
                  <a:lnTo>
                    <a:pt x="1332" y="420"/>
                  </a:lnTo>
                  <a:lnTo>
                    <a:pt x="1332" y="450"/>
                  </a:lnTo>
                  <a:lnTo>
                    <a:pt x="1338" y="480"/>
                  </a:lnTo>
                  <a:lnTo>
                    <a:pt x="1344" y="486"/>
                  </a:lnTo>
                  <a:lnTo>
                    <a:pt x="1338" y="492"/>
                  </a:lnTo>
                  <a:lnTo>
                    <a:pt x="1344" y="492"/>
                  </a:lnTo>
                  <a:lnTo>
                    <a:pt x="1344" y="498"/>
                  </a:lnTo>
                  <a:lnTo>
                    <a:pt x="1350" y="498"/>
                  </a:lnTo>
                  <a:lnTo>
                    <a:pt x="1350" y="522"/>
                  </a:lnTo>
                  <a:lnTo>
                    <a:pt x="1362" y="564"/>
                  </a:lnTo>
                  <a:lnTo>
                    <a:pt x="1368" y="582"/>
                  </a:lnTo>
                  <a:lnTo>
                    <a:pt x="1380" y="600"/>
                  </a:lnTo>
                  <a:lnTo>
                    <a:pt x="1386" y="636"/>
                  </a:lnTo>
                  <a:lnTo>
                    <a:pt x="1380" y="660"/>
                  </a:lnTo>
                  <a:lnTo>
                    <a:pt x="1380" y="678"/>
                  </a:lnTo>
                  <a:lnTo>
                    <a:pt x="1380" y="684"/>
                  </a:lnTo>
                  <a:lnTo>
                    <a:pt x="1374" y="684"/>
                  </a:lnTo>
                  <a:lnTo>
                    <a:pt x="1368" y="690"/>
                  </a:lnTo>
                  <a:lnTo>
                    <a:pt x="1356" y="702"/>
                  </a:lnTo>
                  <a:lnTo>
                    <a:pt x="1350" y="708"/>
                  </a:lnTo>
                  <a:lnTo>
                    <a:pt x="1356" y="714"/>
                  </a:lnTo>
                  <a:lnTo>
                    <a:pt x="1368" y="726"/>
                  </a:lnTo>
                  <a:lnTo>
                    <a:pt x="1380" y="738"/>
                  </a:lnTo>
                  <a:lnTo>
                    <a:pt x="1386" y="744"/>
                  </a:lnTo>
                  <a:lnTo>
                    <a:pt x="1392" y="744"/>
                  </a:lnTo>
                  <a:lnTo>
                    <a:pt x="1410" y="750"/>
                  </a:lnTo>
                  <a:lnTo>
                    <a:pt x="1416" y="756"/>
                  </a:lnTo>
                  <a:lnTo>
                    <a:pt x="1422" y="756"/>
                  </a:lnTo>
                  <a:lnTo>
                    <a:pt x="1422" y="762"/>
                  </a:lnTo>
                  <a:lnTo>
                    <a:pt x="1428" y="774"/>
                  </a:lnTo>
                  <a:lnTo>
                    <a:pt x="1428" y="780"/>
                  </a:lnTo>
                  <a:lnTo>
                    <a:pt x="1434" y="780"/>
                  </a:lnTo>
                  <a:lnTo>
                    <a:pt x="1440" y="798"/>
                  </a:lnTo>
                  <a:lnTo>
                    <a:pt x="1422" y="816"/>
                  </a:lnTo>
                  <a:lnTo>
                    <a:pt x="1386" y="810"/>
                  </a:lnTo>
                  <a:lnTo>
                    <a:pt x="1380" y="816"/>
                  </a:lnTo>
                  <a:lnTo>
                    <a:pt x="1374" y="840"/>
                  </a:lnTo>
                  <a:lnTo>
                    <a:pt x="1350" y="852"/>
                  </a:lnTo>
                  <a:lnTo>
                    <a:pt x="1350" y="858"/>
                  </a:lnTo>
                  <a:lnTo>
                    <a:pt x="1350" y="864"/>
                  </a:lnTo>
                  <a:lnTo>
                    <a:pt x="1344" y="864"/>
                  </a:lnTo>
                  <a:lnTo>
                    <a:pt x="1338" y="870"/>
                  </a:lnTo>
                  <a:lnTo>
                    <a:pt x="1332" y="876"/>
                  </a:lnTo>
                  <a:lnTo>
                    <a:pt x="1314" y="876"/>
                  </a:lnTo>
                  <a:lnTo>
                    <a:pt x="1314" y="870"/>
                  </a:lnTo>
                  <a:lnTo>
                    <a:pt x="1308" y="870"/>
                  </a:lnTo>
                  <a:lnTo>
                    <a:pt x="1302" y="864"/>
                  </a:lnTo>
                  <a:lnTo>
                    <a:pt x="1296" y="864"/>
                  </a:lnTo>
                  <a:lnTo>
                    <a:pt x="1284" y="870"/>
                  </a:lnTo>
                  <a:lnTo>
                    <a:pt x="1266" y="870"/>
                  </a:lnTo>
                  <a:lnTo>
                    <a:pt x="1260" y="870"/>
                  </a:lnTo>
                  <a:lnTo>
                    <a:pt x="1248" y="876"/>
                  </a:lnTo>
                  <a:lnTo>
                    <a:pt x="1236" y="876"/>
                  </a:lnTo>
                  <a:lnTo>
                    <a:pt x="1230" y="882"/>
                  </a:lnTo>
                  <a:lnTo>
                    <a:pt x="1224" y="894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18" y="942"/>
                  </a:lnTo>
                  <a:lnTo>
                    <a:pt x="1212" y="948"/>
                  </a:lnTo>
                  <a:lnTo>
                    <a:pt x="1200" y="984"/>
                  </a:lnTo>
                  <a:lnTo>
                    <a:pt x="1194" y="1008"/>
                  </a:lnTo>
                  <a:lnTo>
                    <a:pt x="1218" y="1038"/>
                  </a:lnTo>
                  <a:lnTo>
                    <a:pt x="1224" y="1044"/>
                  </a:lnTo>
                  <a:lnTo>
                    <a:pt x="1224" y="1062"/>
                  </a:lnTo>
                  <a:lnTo>
                    <a:pt x="1236" y="1080"/>
                  </a:lnTo>
                  <a:lnTo>
                    <a:pt x="1236" y="1086"/>
                  </a:lnTo>
                  <a:lnTo>
                    <a:pt x="1230" y="1092"/>
                  </a:lnTo>
                  <a:lnTo>
                    <a:pt x="1224" y="1110"/>
                  </a:lnTo>
                  <a:lnTo>
                    <a:pt x="1218" y="1122"/>
                  </a:lnTo>
                  <a:lnTo>
                    <a:pt x="1224" y="1140"/>
                  </a:lnTo>
                  <a:lnTo>
                    <a:pt x="1218" y="1146"/>
                  </a:lnTo>
                  <a:lnTo>
                    <a:pt x="1218" y="1152"/>
                  </a:lnTo>
                  <a:lnTo>
                    <a:pt x="1212" y="116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1" name="Freeform 36">
              <a:extLst>
                <a:ext uri="{FF2B5EF4-FFF2-40B4-BE49-F238E27FC236}">
                  <a16:creationId xmlns:a16="http://schemas.microsoft.com/office/drawing/2014/main" id="{B9C0D6BE-CB1C-4E69-B224-1ABF097AA8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90208" y="1647855"/>
              <a:ext cx="742415" cy="758173"/>
            </a:xfrm>
            <a:custGeom>
              <a:avLst/>
              <a:gdLst>
                <a:gd name="T0" fmla="*/ 75 w 1398"/>
                <a:gd name="T1" fmla="*/ 48 h 1428"/>
                <a:gd name="T2" fmla="*/ 68 w 1398"/>
                <a:gd name="T3" fmla="*/ 54 h 1428"/>
                <a:gd name="T4" fmla="*/ 57 w 1398"/>
                <a:gd name="T5" fmla="*/ 59 h 1428"/>
                <a:gd name="T6" fmla="*/ 55 w 1398"/>
                <a:gd name="T7" fmla="*/ 68 h 1428"/>
                <a:gd name="T8" fmla="*/ 55 w 1398"/>
                <a:gd name="T9" fmla="*/ 77 h 1428"/>
                <a:gd name="T10" fmla="*/ 57 w 1398"/>
                <a:gd name="T11" fmla="*/ 81 h 1428"/>
                <a:gd name="T12" fmla="*/ 56 w 1398"/>
                <a:gd name="T13" fmla="*/ 86 h 1428"/>
                <a:gd name="T14" fmla="*/ 57 w 1398"/>
                <a:gd name="T15" fmla="*/ 89 h 1428"/>
                <a:gd name="T16" fmla="*/ 58 w 1398"/>
                <a:gd name="T17" fmla="*/ 92 h 1428"/>
                <a:gd name="T18" fmla="*/ 58 w 1398"/>
                <a:gd name="T19" fmla="*/ 96 h 1428"/>
                <a:gd name="T20" fmla="*/ 49 w 1398"/>
                <a:gd name="T21" fmla="*/ 100 h 1428"/>
                <a:gd name="T22" fmla="*/ 47 w 1398"/>
                <a:gd name="T23" fmla="*/ 108 h 1428"/>
                <a:gd name="T24" fmla="*/ 48 w 1398"/>
                <a:gd name="T25" fmla="*/ 113 h 1428"/>
                <a:gd name="T26" fmla="*/ 43 w 1398"/>
                <a:gd name="T27" fmla="*/ 114 h 1428"/>
                <a:gd name="T28" fmla="*/ 39 w 1398"/>
                <a:gd name="T29" fmla="*/ 113 h 1428"/>
                <a:gd name="T30" fmla="*/ 33 w 1398"/>
                <a:gd name="T31" fmla="*/ 109 h 1428"/>
                <a:gd name="T32" fmla="*/ 29 w 1398"/>
                <a:gd name="T33" fmla="*/ 114 h 1428"/>
                <a:gd name="T34" fmla="*/ 22 w 1398"/>
                <a:gd name="T35" fmla="*/ 115 h 1428"/>
                <a:gd name="T36" fmla="*/ 21 w 1398"/>
                <a:gd name="T37" fmla="*/ 121 h 1428"/>
                <a:gd name="T38" fmla="*/ 12 w 1398"/>
                <a:gd name="T39" fmla="*/ 119 h 1428"/>
                <a:gd name="T40" fmla="*/ 9 w 1398"/>
                <a:gd name="T41" fmla="*/ 113 h 1428"/>
                <a:gd name="T42" fmla="*/ 2 w 1398"/>
                <a:gd name="T43" fmla="*/ 109 h 1428"/>
                <a:gd name="T44" fmla="*/ 4 w 1398"/>
                <a:gd name="T45" fmla="*/ 103 h 1428"/>
                <a:gd name="T46" fmla="*/ 2 w 1398"/>
                <a:gd name="T47" fmla="*/ 91 h 1428"/>
                <a:gd name="T48" fmla="*/ 6 w 1398"/>
                <a:gd name="T49" fmla="*/ 85 h 1428"/>
                <a:gd name="T50" fmla="*/ 10 w 1398"/>
                <a:gd name="T51" fmla="*/ 85 h 1428"/>
                <a:gd name="T52" fmla="*/ 15 w 1398"/>
                <a:gd name="T53" fmla="*/ 82 h 1428"/>
                <a:gd name="T54" fmla="*/ 20 w 1398"/>
                <a:gd name="T55" fmla="*/ 77 h 1428"/>
                <a:gd name="T56" fmla="*/ 16 w 1398"/>
                <a:gd name="T57" fmla="*/ 73 h 1428"/>
                <a:gd name="T58" fmla="*/ 16 w 1398"/>
                <a:gd name="T59" fmla="*/ 69 h 1428"/>
                <a:gd name="T60" fmla="*/ 14 w 1398"/>
                <a:gd name="T61" fmla="*/ 54 h 1428"/>
                <a:gd name="T62" fmla="*/ 12 w 1398"/>
                <a:gd name="T63" fmla="*/ 48 h 1428"/>
                <a:gd name="T64" fmla="*/ 11 w 1398"/>
                <a:gd name="T65" fmla="*/ 31 h 1428"/>
                <a:gd name="T66" fmla="*/ 14 w 1398"/>
                <a:gd name="T67" fmla="*/ 18 h 1428"/>
                <a:gd name="T68" fmla="*/ 19 w 1398"/>
                <a:gd name="T69" fmla="*/ 15 h 1428"/>
                <a:gd name="T70" fmla="*/ 26 w 1398"/>
                <a:gd name="T71" fmla="*/ 13 h 1428"/>
                <a:gd name="T72" fmla="*/ 34 w 1398"/>
                <a:gd name="T73" fmla="*/ 12 h 1428"/>
                <a:gd name="T74" fmla="*/ 39 w 1398"/>
                <a:gd name="T75" fmla="*/ 9 h 1428"/>
                <a:gd name="T76" fmla="*/ 43 w 1398"/>
                <a:gd name="T77" fmla="*/ 7 h 1428"/>
                <a:gd name="T78" fmla="*/ 48 w 1398"/>
                <a:gd name="T79" fmla="*/ 3 h 1428"/>
                <a:gd name="T80" fmla="*/ 54 w 1398"/>
                <a:gd name="T81" fmla="*/ 0 h 1428"/>
                <a:gd name="T82" fmla="*/ 58 w 1398"/>
                <a:gd name="T83" fmla="*/ 0 h 1428"/>
                <a:gd name="T84" fmla="*/ 66 w 1398"/>
                <a:gd name="T85" fmla="*/ 2 h 1428"/>
                <a:gd name="T86" fmla="*/ 70 w 1398"/>
                <a:gd name="T87" fmla="*/ 3 h 1428"/>
                <a:gd name="T88" fmla="*/ 75 w 1398"/>
                <a:gd name="T89" fmla="*/ 6 h 1428"/>
                <a:gd name="T90" fmla="*/ 80 w 1398"/>
                <a:gd name="T91" fmla="*/ 9 h 1428"/>
                <a:gd name="T92" fmla="*/ 83 w 1398"/>
                <a:gd name="T93" fmla="*/ 12 h 1428"/>
                <a:gd name="T94" fmla="*/ 87 w 1398"/>
                <a:gd name="T95" fmla="*/ 15 h 1428"/>
                <a:gd name="T96" fmla="*/ 94 w 1398"/>
                <a:gd name="T97" fmla="*/ 15 h 1428"/>
                <a:gd name="T98" fmla="*/ 99 w 1398"/>
                <a:gd name="T99" fmla="*/ 21 h 1428"/>
                <a:gd name="T100" fmla="*/ 103 w 1398"/>
                <a:gd name="T101" fmla="*/ 23 h 1428"/>
                <a:gd name="T102" fmla="*/ 110 w 1398"/>
                <a:gd name="T103" fmla="*/ 26 h 1428"/>
                <a:gd name="T104" fmla="*/ 116 w 1398"/>
                <a:gd name="T105" fmla="*/ 27 h 1428"/>
                <a:gd name="T106" fmla="*/ 120 w 1398"/>
                <a:gd name="T107" fmla="*/ 27 h 1428"/>
                <a:gd name="T108" fmla="*/ 116 w 1398"/>
                <a:gd name="T109" fmla="*/ 35 h 1428"/>
                <a:gd name="T110" fmla="*/ 104 w 1398"/>
                <a:gd name="T111" fmla="*/ 37 h 1428"/>
                <a:gd name="T112" fmla="*/ 97 w 1398"/>
                <a:gd name="T113" fmla="*/ 34 h 1428"/>
                <a:gd name="T114" fmla="*/ 91 w 1398"/>
                <a:gd name="T115" fmla="*/ 29 h 1428"/>
                <a:gd name="T116" fmla="*/ 75 w 1398"/>
                <a:gd name="T117" fmla="*/ 29 h 1428"/>
                <a:gd name="T118" fmla="*/ 72 w 1398"/>
                <a:gd name="T119" fmla="*/ 39 h 1428"/>
                <a:gd name="T120" fmla="*/ 80 w 1398"/>
                <a:gd name="T121" fmla="*/ 41 h 142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98"/>
                <a:gd name="T184" fmla="*/ 0 h 1428"/>
                <a:gd name="T185" fmla="*/ 1398 w 1398"/>
                <a:gd name="T186" fmla="*/ 1428 h 142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98" h="1428">
                  <a:moveTo>
                    <a:pt x="924" y="474"/>
                  </a:moveTo>
                  <a:lnTo>
                    <a:pt x="900" y="480"/>
                  </a:lnTo>
                  <a:lnTo>
                    <a:pt x="864" y="486"/>
                  </a:lnTo>
                  <a:lnTo>
                    <a:pt x="864" y="504"/>
                  </a:lnTo>
                  <a:lnTo>
                    <a:pt x="858" y="522"/>
                  </a:lnTo>
                  <a:lnTo>
                    <a:pt x="864" y="528"/>
                  </a:lnTo>
                  <a:lnTo>
                    <a:pt x="864" y="552"/>
                  </a:lnTo>
                  <a:lnTo>
                    <a:pt x="852" y="552"/>
                  </a:lnTo>
                  <a:lnTo>
                    <a:pt x="846" y="564"/>
                  </a:lnTo>
                  <a:lnTo>
                    <a:pt x="840" y="582"/>
                  </a:lnTo>
                  <a:lnTo>
                    <a:pt x="834" y="594"/>
                  </a:lnTo>
                  <a:lnTo>
                    <a:pt x="828" y="606"/>
                  </a:lnTo>
                  <a:lnTo>
                    <a:pt x="828" y="618"/>
                  </a:lnTo>
                  <a:lnTo>
                    <a:pt x="786" y="630"/>
                  </a:lnTo>
                  <a:lnTo>
                    <a:pt x="774" y="636"/>
                  </a:lnTo>
                  <a:lnTo>
                    <a:pt x="762" y="642"/>
                  </a:lnTo>
                  <a:lnTo>
                    <a:pt x="744" y="648"/>
                  </a:lnTo>
                  <a:lnTo>
                    <a:pt x="714" y="660"/>
                  </a:lnTo>
                  <a:lnTo>
                    <a:pt x="696" y="666"/>
                  </a:lnTo>
                  <a:lnTo>
                    <a:pt x="666" y="672"/>
                  </a:lnTo>
                  <a:lnTo>
                    <a:pt x="654" y="684"/>
                  </a:lnTo>
                  <a:lnTo>
                    <a:pt x="648" y="684"/>
                  </a:lnTo>
                  <a:lnTo>
                    <a:pt x="642" y="696"/>
                  </a:lnTo>
                  <a:lnTo>
                    <a:pt x="636" y="696"/>
                  </a:lnTo>
                  <a:lnTo>
                    <a:pt x="630" y="714"/>
                  </a:lnTo>
                  <a:lnTo>
                    <a:pt x="624" y="738"/>
                  </a:lnTo>
                  <a:lnTo>
                    <a:pt x="624" y="762"/>
                  </a:lnTo>
                  <a:lnTo>
                    <a:pt x="630" y="780"/>
                  </a:lnTo>
                  <a:lnTo>
                    <a:pt x="636" y="804"/>
                  </a:lnTo>
                  <a:lnTo>
                    <a:pt x="642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6" y="834"/>
                  </a:lnTo>
                  <a:lnTo>
                    <a:pt x="636" y="870"/>
                  </a:lnTo>
                  <a:lnTo>
                    <a:pt x="636" y="882"/>
                  </a:lnTo>
                  <a:lnTo>
                    <a:pt x="636" y="906"/>
                  </a:lnTo>
                  <a:lnTo>
                    <a:pt x="630" y="906"/>
                  </a:lnTo>
                  <a:lnTo>
                    <a:pt x="636" y="918"/>
                  </a:lnTo>
                  <a:lnTo>
                    <a:pt x="642" y="918"/>
                  </a:lnTo>
                  <a:lnTo>
                    <a:pt x="642" y="930"/>
                  </a:lnTo>
                  <a:lnTo>
                    <a:pt x="648" y="936"/>
                  </a:lnTo>
                  <a:lnTo>
                    <a:pt x="654" y="936"/>
                  </a:lnTo>
                  <a:lnTo>
                    <a:pt x="654" y="942"/>
                  </a:lnTo>
                  <a:lnTo>
                    <a:pt x="654" y="948"/>
                  </a:lnTo>
                  <a:lnTo>
                    <a:pt x="648" y="954"/>
                  </a:lnTo>
                  <a:lnTo>
                    <a:pt x="648" y="960"/>
                  </a:lnTo>
                  <a:lnTo>
                    <a:pt x="648" y="966"/>
                  </a:lnTo>
                  <a:lnTo>
                    <a:pt x="648" y="972"/>
                  </a:lnTo>
                  <a:lnTo>
                    <a:pt x="648" y="990"/>
                  </a:lnTo>
                  <a:lnTo>
                    <a:pt x="654" y="996"/>
                  </a:lnTo>
                  <a:lnTo>
                    <a:pt x="648" y="1002"/>
                  </a:lnTo>
                  <a:lnTo>
                    <a:pt x="648" y="1008"/>
                  </a:lnTo>
                  <a:lnTo>
                    <a:pt x="654" y="1014"/>
                  </a:lnTo>
                  <a:lnTo>
                    <a:pt x="654" y="1020"/>
                  </a:lnTo>
                  <a:lnTo>
                    <a:pt x="654" y="1026"/>
                  </a:lnTo>
                  <a:lnTo>
                    <a:pt x="660" y="1026"/>
                  </a:lnTo>
                  <a:lnTo>
                    <a:pt x="660" y="1032"/>
                  </a:lnTo>
                  <a:lnTo>
                    <a:pt x="660" y="1038"/>
                  </a:lnTo>
                  <a:lnTo>
                    <a:pt x="666" y="1044"/>
                  </a:lnTo>
                  <a:lnTo>
                    <a:pt x="672" y="1050"/>
                  </a:lnTo>
                  <a:lnTo>
                    <a:pt x="672" y="1056"/>
                  </a:lnTo>
                  <a:lnTo>
                    <a:pt x="672" y="1062"/>
                  </a:lnTo>
                  <a:lnTo>
                    <a:pt x="672" y="1068"/>
                  </a:lnTo>
                  <a:lnTo>
                    <a:pt x="672" y="1074"/>
                  </a:lnTo>
                  <a:lnTo>
                    <a:pt x="678" y="1074"/>
                  </a:lnTo>
                  <a:lnTo>
                    <a:pt x="678" y="1080"/>
                  </a:lnTo>
                  <a:lnTo>
                    <a:pt x="678" y="1086"/>
                  </a:lnTo>
                  <a:lnTo>
                    <a:pt x="672" y="1092"/>
                  </a:lnTo>
                  <a:lnTo>
                    <a:pt x="672" y="1098"/>
                  </a:lnTo>
                  <a:lnTo>
                    <a:pt x="672" y="1104"/>
                  </a:lnTo>
                  <a:lnTo>
                    <a:pt x="666" y="1116"/>
                  </a:lnTo>
                  <a:lnTo>
                    <a:pt x="624" y="1122"/>
                  </a:lnTo>
                  <a:lnTo>
                    <a:pt x="576" y="1134"/>
                  </a:lnTo>
                  <a:lnTo>
                    <a:pt x="570" y="1140"/>
                  </a:lnTo>
                  <a:lnTo>
                    <a:pt x="570" y="1146"/>
                  </a:lnTo>
                  <a:lnTo>
                    <a:pt x="564" y="1146"/>
                  </a:lnTo>
                  <a:lnTo>
                    <a:pt x="564" y="1152"/>
                  </a:lnTo>
                  <a:lnTo>
                    <a:pt x="564" y="1164"/>
                  </a:lnTo>
                  <a:lnTo>
                    <a:pt x="564" y="1170"/>
                  </a:lnTo>
                  <a:lnTo>
                    <a:pt x="564" y="1176"/>
                  </a:lnTo>
                  <a:lnTo>
                    <a:pt x="546" y="1176"/>
                  </a:lnTo>
                  <a:lnTo>
                    <a:pt x="540" y="1212"/>
                  </a:lnTo>
                  <a:lnTo>
                    <a:pt x="540" y="1230"/>
                  </a:lnTo>
                  <a:lnTo>
                    <a:pt x="546" y="1242"/>
                  </a:lnTo>
                  <a:lnTo>
                    <a:pt x="546" y="1254"/>
                  </a:lnTo>
                  <a:lnTo>
                    <a:pt x="558" y="1266"/>
                  </a:lnTo>
                  <a:lnTo>
                    <a:pt x="576" y="1272"/>
                  </a:lnTo>
                  <a:lnTo>
                    <a:pt x="570" y="1278"/>
                  </a:lnTo>
                  <a:lnTo>
                    <a:pt x="576" y="1284"/>
                  </a:lnTo>
                  <a:lnTo>
                    <a:pt x="570" y="1296"/>
                  </a:lnTo>
                  <a:lnTo>
                    <a:pt x="558" y="1302"/>
                  </a:lnTo>
                  <a:lnTo>
                    <a:pt x="540" y="1308"/>
                  </a:lnTo>
                  <a:lnTo>
                    <a:pt x="522" y="1314"/>
                  </a:lnTo>
                  <a:lnTo>
                    <a:pt x="516" y="1314"/>
                  </a:lnTo>
                  <a:lnTo>
                    <a:pt x="510" y="1314"/>
                  </a:lnTo>
                  <a:lnTo>
                    <a:pt x="504" y="1314"/>
                  </a:lnTo>
                  <a:lnTo>
                    <a:pt x="498" y="1320"/>
                  </a:lnTo>
                  <a:lnTo>
                    <a:pt x="492" y="1320"/>
                  </a:lnTo>
                  <a:lnTo>
                    <a:pt x="492" y="1326"/>
                  </a:lnTo>
                  <a:lnTo>
                    <a:pt x="486" y="1326"/>
                  </a:lnTo>
                  <a:lnTo>
                    <a:pt x="480" y="1326"/>
                  </a:lnTo>
                  <a:lnTo>
                    <a:pt x="480" y="1320"/>
                  </a:lnTo>
                  <a:lnTo>
                    <a:pt x="468" y="1314"/>
                  </a:lnTo>
                  <a:lnTo>
                    <a:pt x="462" y="1308"/>
                  </a:lnTo>
                  <a:lnTo>
                    <a:pt x="456" y="1302"/>
                  </a:lnTo>
                  <a:lnTo>
                    <a:pt x="444" y="1296"/>
                  </a:lnTo>
                  <a:lnTo>
                    <a:pt x="420" y="1290"/>
                  </a:lnTo>
                  <a:lnTo>
                    <a:pt x="414" y="1278"/>
                  </a:lnTo>
                  <a:lnTo>
                    <a:pt x="408" y="1278"/>
                  </a:lnTo>
                  <a:lnTo>
                    <a:pt x="408" y="1266"/>
                  </a:lnTo>
                  <a:lnTo>
                    <a:pt x="402" y="1260"/>
                  </a:lnTo>
                  <a:lnTo>
                    <a:pt x="384" y="1260"/>
                  </a:lnTo>
                  <a:lnTo>
                    <a:pt x="372" y="1266"/>
                  </a:lnTo>
                  <a:lnTo>
                    <a:pt x="360" y="1272"/>
                  </a:lnTo>
                  <a:lnTo>
                    <a:pt x="348" y="1272"/>
                  </a:lnTo>
                  <a:lnTo>
                    <a:pt x="342" y="1284"/>
                  </a:lnTo>
                  <a:lnTo>
                    <a:pt x="336" y="1290"/>
                  </a:lnTo>
                  <a:lnTo>
                    <a:pt x="336" y="1308"/>
                  </a:lnTo>
                  <a:lnTo>
                    <a:pt x="336" y="1314"/>
                  </a:lnTo>
                  <a:lnTo>
                    <a:pt x="336" y="1320"/>
                  </a:lnTo>
                  <a:lnTo>
                    <a:pt x="330" y="1326"/>
                  </a:lnTo>
                  <a:lnTo>
                    <a:pt x="330" y="1332"/>
                  </a:lnTo>
                  <a:lnTo>
                    <a:pt x="330" y="1338"/>
                  </a:lnTo>
                  <a:lnTo>
                    <a:pt x="300" y="1338"/>
                  </a:lnTo>
                  <a:lnTo>
                    <a:pt x="288" y="1338"/>
                  </a:lnTo>
                  <a:lnTo>
                    <a:pt x="258" y="1326"/>
                  </a:lnTo>
                  <a:lnTo>
                    <a:pt x="246" y="1332"/>
                  </a:lnTo>
                  <a:lnTo>
                    <a:pt x="240" y="1338"/>
                  </a:lnTo>
                  <a:lnTo>
                    <a:pt x="234" y="1338"/>
                  </a:lnTo>
                  <a:lnTo>
                    <a:pt x="228" y="1350"/>
                  </a:lnTo>
                  <a:lnTo>
                    <a:pt x="228" y="1374"/>
                  </a:lnTo>
                  <a:lnTo>
                    <a:pt x="234" y="1392"/>
                  </a:lnTo>
                  <a:lnTo>
                    <a:pt x="246" y="1398"/>
                  </a:lnTo>
                  <a:lnTo>
                    <a:pt x="246" y="1410"/>
                  </a:lnTo>
                  <a:lnTo>
                    <a:pt x="216" y="1428"/>
                  </a:lnTo>
                  <a:lnTo>
                    <a:pt x="198" y="1428"/>
                  </a:lnTo>
                  <a:lnTo>
                    <a:pt x="192" y="1422"/>
                  </a:lnTo>
                  <a:lnTo>
                    <a:pt x="174" y="1410"/>
                  </a:lnTo>
                  <a:lnTo>
                    <a:pt x="156" y="1386"/>
                  </a:lnTo>
                  <a:lnTo>
                    <a:pt x="132" y="1374"/>
                  </a:lnTo>
                  <a:lnTo>
                    <a:pt x="108" y="1368"/>
                  </a:lnTo>
                  <a:lnTo>
                    <a:pt x="84" y="1368"/>
                  </a:lnTo>
                  <a:lnTo>
                    <a:pt x="96" y="1356"/>
                  </a:lnTo>
                  <a:lnTo>
                    <a:pt x="102" y="1344"/>
                  </a:lnTo>
                  <a:lnTo>
                    <a:pt x="102" y="1332"/>
                  </a:lnTo>
                  <a:lnTo>
                    <a:pt x="108" y="1320"/>
                  </a:lnTo>
                  <a:lnTo>
                    <a:pt x="108" y="1302"/>
                  </a:lnTo>
                  <a:lnTo>
                    <a:pt x="96" y="1278"/>
                  </a:lnTo>
                  <a:lnTo>
                    <a:pt x="66" y="1284"/>
                  </a:lnTo>
                  <a:lnTo>
                    <a:pt x="54" y="1278"/>
                  </a:lnTo>
                  <a:lnTo>
                    <a:pt x="36" y="1278"/>
                  </a:lnTo>
                  <a:lnTo>
                    <a:pt x="18" y="1284"/>
                  </a:lnTo>
                  <a:lnTo>
                    <a:pt x="18" y="1272"/>
                  </a:lnTo>
                  <a:lnTo>
                    <a:pt x="24" y="1260"/>
                  </a:lnTo>
                  <a:lnTo>
                    <a:pt x="24" y="1254"/>
                  </a:lnTo>
                  <a:lnTo>
                    <a:pt x="30" y="1248"/>
                  </a:lnTo>
                  <a:lnTo>
                    <a:pt x="24" y="1230"/>
                  </a:lnTo>
                  <a:lnTo>
                    <a:pt x="30" y="1218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30" y="1170"/>
                  </a:lnTo>
                  <a:lnTo>
                    <a:pt x="30" y="1152"/>
                  </a:lnTo>
                  <a:lnTo>
                    <a:pt x="24" y="1146"/>
                  </a:lnTo>
                  <a:lnTo>
                    <a:pt x="0" y="1116"/>
                  </a:lnTo>
                  <a:lnTo>
                    <a:pt x="6" y="1092"/>
                  </a:lnTo>
                  <a:lnTo>
                    <a:pt x="18" y="1056"/>
                  </a:lnTo>
                  <a:lnTo>
                    <a:pt x="24" y="1050"/>
                  </a:lnTo>
                  <a:lnTo>
                    <a:pt x="24" y="1038"/>
                  </a:lnTo>
                  <a:lnTo>
                    <a:pt x="24" y="1026"/>
                  </a:lnTo>
                  <a:lnTo>
                    <a:pt x="30" y="1002"/>
                  </a:lnTo>
                  <a:lnTo>
                    <a:pt x="36" y="990"/>
                  </a:lnTo>
                  <a:lnTo>
                    <a:pt x="42" y="984"/>
                  </a:lnTo>
                  <a:lnTo>
                    <a:pt x="54" y="984"/>
                  </a:lnTo>
                  <a:lnTo>
                    <a:pt x="66" y="978"/>
                  </a:lnTo>
                  <a:lnTo>
                    <a:pt x="72" y="978"/>
                  </a:lnTo>
                  <a:lnTo>
                    <a:pt x="90" y="978"/>
                  </a:lnTo>
                  <a:lnTo>
                    <a:pt x="102" y="972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78"/>
                  </a:lnTo>
                  <a:lnTo>
                    <a:pt x="120" y="984"/>
                  </a:lnTo>
                  <a:lnTo>
                    <a:pt x="138" y="984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6" y="972"/>
                  </a:lnTo>
                  <a:lnTo>
                    <a:pt x="156" y="966"/>
                  </a:lnTo>
                  <a:lnTo>
                    <a:pt x="156" y="960"/>
                  </a:lnTo>
                  <a:lnTo>
                    <a:pt x="180" y="948"/>
                  </a:lnTo>
                  <a:lnTo>
                    <a:pt x="186" y="924"/>
                  </a:lnTo>
                  <a:lnTo>
                    <a:pt x="192" y="918"/>
                  </a:lnTo>
                  <a:lnTo>
                    <a:pt x="228" y="924"/>
                  </a:lnTo>
                  <a:lnTo>
                    <a:pt x="246" y="906"/>
                  </a:lnTo>
                  <a:lnTo>
                    <a:pt x="240" y="888"/>
                  </a:lnTo>
                  <a:lnTo>
                    <a:pt x="234" y="888"/>
                  </a:lnTo>
                  <a:lnTo>
                    <a:pt x="234" y="882"/>
                  </a:lnTo>
                  <a:lnTo>
                    <a:pt x="228" y="870"/>
                  </a:lnTo>
                  <a:lnTo>
                    <a:pt x="228" y="864"/>
                  </a:lnTo>
                  <a:lnTo>
                    <a:pt x="222" y="864"/>
                  </a:lnTo>
                  <a:lnTo>
                    <a:pt x="216" y="858"/>
                  </a:lnTo>
                  <a:lnTo>
                    <a:pt x="198" y="852"/>
                  </a:lnTo>
                  <a:lnTo>
                    <a:pt x="192" y="852"/>
                  </a:lnTo>
                  <a:lnTo>
                    <a:pt x="186" y="846"/>
                  </a:lnTo>
                  <a:lnTo>
                    <a:pt x="174" y="834"/>
                  </a:lnTo>
                  <a:lnTo>
                    <a:pt x="162" y="822"/>
                  </a:lnTo>
                  <a:lnTo>
                    <a:pt x="156" y="816"/>
                  </a:lnTo>
                  <a:lnTo>
                    <a:pt x="162" y="810"/>
                  </a:lnTo>
                  <a:lnTo>
                    <a:pt x="174" y="798"/>
                  </a:lnTo>
                  <a:lnTo>
                    <a:pt x="180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68"/>
                  </a:lnTo>
                  <a:lnTo>
                    <a:pt x="192" y="744"/>
                  </a:lnTo>
                  <a:lnTo>
                    <a:pt x="186" y="708"/>
                  </a:lnTo>
                  <a:lnTo>
                    <a:pt x="174" y="690"/>
                  </a:lnTo>
                  <a:lnTo>
                    <a:pt x="168" y="672"/>
                  </a:lnTo>
                  <a:lnTo>
                    <a:pt x="156" y="630"/>
                  </a:lnTo>
                  <a:lnTo>
                    <a:pt x="156" y="606"/>
                  </a:lnTo>
                  <a:lnTo>
                    <a:pt x="150" y="606"/>
                  </a:lnTo>
                  <a:lnTo>
                    <a:pt x="150" y="600"/>
                  </a:lnTo>
                  <a:lnTo>
                    <a:pt x="144" y="600"/>
                  </a:lnTo>
                  <a:lnTo>
                    <a:pt x="150" y="594"/>
                  </a:lnTo>
                  <a:lnTo>
                    <a:pt x="144" y="588"/>
                  </a:lnTo>
                  <a:lnTo>
                    <a:pt x="138" y="558"/>
                  </a:lnTo>
                  <a:lnTo>
                    <a:pt x="138" y="528"/>
                  </a:lnTo>
                  <a:lnTo>
                    <a:pt x="132" y="480"/>
                  </a:lnTo>
                  <a:lnTo>
                    <a:pt x="132" y="462"/>
                  </a:lnTo>
                  <a:lnTo>
                    <a:pt x="126" y="426"/>
                  </a:lnTo>
                  <a:lnTo>
                    <a:pt x="126" y="396"/>
                  </a:lnTo>
                  <a:lnTo>
                    <a:pt x="126" y="378"/>
                  </a:lnTo>
                  <a:lnTo>
                    <a:pt x="126" y="360"/>
                  </a:lnTo>
                  <a:lnTo>
                    <a:pt x="132" y="318"/>
                  </a:lnTo>
                  <a:lnTo>
                    <a:pt x="132" y="24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2" y="210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92" y="198"/>
                  </a:lnTo>
                  <a:lnTo>
                    <a:pt x="198" y="198"/>
                  </a:lnTo>
                  <a:lnTo>
                    <a:pt x="216" y="180"/>
                  </a:lnTo>
                  <a:lnTo>
                    <a:pt x="222" y="174"/>
                  </a:lnTo>
                  <a:lnTo>
                    <a:pt x="222" y="168"/>
                  </a:lnTo>
                  <a:lnTo>
                    <a:pt x="228" y="168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44"/>
                  </a:lnTo>
                  <a:lnTo>
                    <a:pt x="258" y="144"/>
                  </a:lnTo>
                  <a:lnTo>
                    <a:pt x="276" y="150"/>
                  </a:lnTo>
                  <a:lnTo>
                    <a:pt x="300" y="150"/>
                  </a:lnTo>
                  <a:lnTo>
                    <a:pt x="312" y="150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8" y="156"/>
                  </a:lnTo>
                  <a:lnTo>
                    <a:pt x="354" y="150"/>
                  </a:lnTo>
                  <a:lnTo>
                    <a:pt x="372" y="144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08" y="126"/>
                  </a:lnTo>
                  <a:lnTo>
                    <a:pt x="414" y="120"/>
                  </a:lnTo>
                  <a:lnTo>
                    <a:pt x="420" y="120"/>
                  </a:lnTo>
                  <a:lnTo>
                    <a:pt x="426" y="120"/>
                  </a:lnTo>
                  <a:lnTo>
                    <a:pt x="432" y="114"/>
                  </a:lnTo>
                  <a:lnTo>
                    <a:pt x="450" y="102"/>
                  </a:lnTo>
                  <a:lnTo>
                    <a:pt x="456" y="96"/>
                  </a:lnTo>
                  <a:lnTo>
                    <a:pt x="468" y="90"/>
                  </a:lnTo>
                  <a:lnTo>
                    <a:pt x="474" y="90"/>
                  </a:lnTo>
                  <a:lnTo>
                    <a:pt x="480" y="84"/>
                  </a:lnTo>
                  <a:lnTo>
                    <a:pt x="486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504" y="72"/>
                  </a:lnTo>
                  <a:lnTo>
                    <a:pt x="510" y="66"/>
                  </a:lnTo>
                  <a:lnTo>
                    <a:pt x="516" y="66"/>
                  </a:lnTo>
                  <a:lnTo>
                    <a:pt x="522" y="60"/>
                  </a:lnTo>
                  <a:lnTo>
                    <a:pt x="552" y="42"/>
                  </a:lnTo>
                  <a:lnTo>
                    <a:pt x="558" y="36"/>
                  </a:lnTo>
                  <a:lnTo>
                    <a:pt x="576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94" y="18"/>
                  </a:lnTo>
                  <a:lnTo>
                    <a:pt x="600" y="12"/>
                  </a:lnTo>
                  <a:lnTo>
                    <a:pt x="612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6"/>
                  </a:lnTo>
                  <a:lnTo>
                    <a:pt x="648" y="6"/>
                  </a:lnTo>
                  <a:lnTo>
                    <a:pt x="660" y="6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38" y="18"/>
                  </a:lnTo>
                  <a:lnTo>
                    <a:pt x="744" y="18"/>
                  </a:lnTo>
                  <a:lnTo>
                    <a:pt x="756" y="18"/>
                  </a:lnTo>
                  <a:lnTo>
                    <a:pt x="762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80" y="24"/>
                  </a:lnTo>
                  <a:lnTo>
                    <a:pt x="792" y="24"/>
                  </a:lnTo>
                  <a:lnTo>
                    <a:pt x="792" y="30"/>
                  </a:lnTo>
                  <a:lnTo>
                    <a:pt x="810" y="30"/>
                  </a:lnTo>
                  <a:lnTo>
                    <a:pt x="822" y="36"/>
                  </a:lnTo>
                  <a:lnTo>
                    <a:pt x="834" y="42"/>
                  </a:lnTo>
                  <a:lnTo>
                    <a:pt x="840" y="48"/>
                  </a:lnTo>
                  <a:lnTo>
                    <a:pt x="846" y="54"/>
                  </a:lnTo>
                  <a:lnTo>
                    <a:pt x="852" y="60"/>
                  </a:lnTo>
                  <a:lnTo>
                    <a:pt x="858" y="66"/>
                  </a:lnTo>
                  <a:lnTo>
                    <a:pt x="864" y="66"/>
                  </a:lnTo>
                  <a:lnTo>
                    <a:pt x="864" y="72"/>
                  </a:lnTo>
                  <a:lnTo>
                    <a:pt x="876" y="78"/>
                  </a:lnTo>
                  <a:lnTo>
                    <a:pt x="900" y="84"/>
                  </a:lnTo>
                  <a:lnTo>
                    <a:pt x="906" y="90"/>
                  </a:lnTo>
                  <a:lnTo>
                    <a:pt x="912" y="90"/>
                  </a:lnTo>
                  <a:lnTo>
                    <a:pt x="912" y="96"/>
                  </a:lnTo>
                  <a:lnTo>
                    <a:pt x="924" y="108"/>
                  </a:lnTo>
                  <a:lnTo>
                    <a:pt x="930" y="108"/>
                  </a:lnTo>
                  <a:lnTo>
                    <a:pt x="936" y="114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60" y="138"/>
                  </a:lnTo>
                  <a:lnTo>
                    <a:pt x="966" y="144"/>
                  </a:lnTo>
                  <a:lnTo>
                    <a:pt x="972" y="156"/>
                  </a:lnTo>
                  <a:lnTo>
                    <a:pt x="978" y="162"/>
                  </a:lnTo>
                  <a:lnTo>
                    <a:pt x="984" y="162"/>
                  </a:lnTo>
                  <a:lnTo>
                    <a:pt x="990" y="168"/>
                  </a:lnTo>
                  <a:lnTo>
                    <a:pt x="996" y="174"/>
                  </a:lnTo>
                  <a:lnTo>
                    <a:pt x="1002" y="180"/>
                  </a:lnTo>
                  <a:lnTo>
                    <a:pt x="1008" y="180"/>
                  </a:lnTo>
                  <a:lnTo>
                    <a:pt x="1020" y="180"/>
                  </a:lnTo>
                  <a:lnTo>
                    <a:pt x="1038" y="174"/>
                  </a:lnTo>
                  <a:lnTo>
                    <a:pt x="1050" y="174"/>
                  </a:lnTo>
                  <a:lnTo>
                    <a:pt x="1056" y="174"/>
                  </a:lnTo>
                  <a:lnTo>
                    <a:pt x="1068" y="180"/>
                  </a:lnTo>
                  <a:lnTo>
                    <a:pt x="1080" y="180"/>
                  </a:lnTo>
                  <a:lnTo>
                    <a:pt x="1086" y="186"/>
                  </a:lnTo>
                  <a:lnTo>
                    <a:pt x="1098" y="192"/>
                  </a:lnTo>
                  <a:lnTo>
                    <a:pt x="1116" y="204"/>
                  </a:lnTo>
                  <a:lnTo>
                    <a:pt x="1122" y="210"/>
                  </a:lnTo>
                  <a:lnTo>
                    <a:pt x="1134" y="222"/>
                  </a:lnTo>
                  <a:lnTo>
                    <a:pt x="1146" y="234"/>
                  </a:lnTo>
                  <a:lnTo>
                    <a:pt x="1146" y="240"/>
                  </a:lnTo>
                  <a:lnTo>
                    <a:pt x="1152" y="246"/>
                  </a:lnTo>
                  <a:lnTo>
                    <a:pt x="1152" y="252"/>
                  </a:lnTo>
                  <a:lnTo>
                    <a:pt x="1152" y="258"/>
                  </a:lnTo>
                  <a:lnTo>
                    <a:pt x="1164" y="258"/>
                  </a:lnTo>
                  <a:lnTo>
                    <a:pt x="1170" y="264"/>
                  </a:lnTo>
                  <a:lnTo>
                    <a:pt x="1182" y="270"/>
                  </a:lnTo>
                  <a:lnTo>
                    <a:pt x="1188" y="270"/>
                  </a:lnTo>
                  <a:lnTo>
                    <a:pt x="1194" y="270"/>
                  </a:lnTo>
                  <a:lnTo>
                    <a:pt x="1206" y="276"/>
                  </a:lnTo>
                  <a:lnTo>
                    <a:pt x="1224" y="282"/>
                  </a:lnTo>
                  <a:lnTo>
                    <a:pt x="1236" y="282"/>
                  </a:lnTo>
                  <a:lnTo>
                    <a:pt x="1242" y="288"/>
                  </a:lnTo>
                  <a:lnTo>
                    <a:pt x="1254" y="288"/>
                  </a:lnTo>
                  <a:lnTo>
                    <a:pt x="1266" y="294"/>
                  </a:lnTo>
                  <a:lnTo>
                    <a:pt x="1272" y="294"/>
                  </a:lnTo>
                  <a:lnTo>
                    <a:pt x="1284" y="300"/>
                  </a:lnTo>
                  <a:lnTo>
                    <a:pt x="1290" y="300"/>
                  </a:lnTo>
                  <a:lnTo>
                    <a:pt x="1296" y="300"/>
                  </a:lnTo>
                  <a:lnTo>
                    <a:pt x="1302" y="306"/>
                  </a:lnTo>
                  <a:lnTo>
                    <a:pt x="1326" y="312"/>
                  </a:lnTo>
                  <a:lnTo>
                    <a:pt x="1338" y="312"/>
                  </a:lnTo>
                  <a:lnTo>
                    <a:pt x="1338" y="318"/>
                  </a:lnTo>
                  <a:lnTo>
                    <a:pt x="1344" y="318"/>
                  </a:lnTo>
                  <a:lnTo>
                    <a:pt x="1350" y="318"/>
                  </a:lnTo>
                  <a:lnTo>
                    <a:pt x="1362" y="324"/>
                  </a:lnTo>
                  <a:lnTo>
                    <a:pt x="1368" y="318"/>
                  </a:lnTo>
                  <a:lnTo>
                    <a:pt x="1374" y="318"/>
                  </a:lnTo>
                  <a:lnTo>
                    <a:pt x="1386" y="318"/>
                  </a:lnTo>
                  <a:lnTo>
                    <a:pt x="1398" y="324"/>
                  </a:lnTo>
                  <a:lnTo>
                    <a:pt x="1398" y="342"/>
                  </a:lnTo>
                  <a:lnTo>
                    <a:pt x="1356" y="342"/>
                  </a:lnTo>
                  <a:lnTo>
                    <a:pt x="1350" y="348"/>
                  </a:lnTo>
                  <a:lnTo>
                    <a:pt x="1350" y="372"/>
                  </a:lnTo>
                  <a:lnTo>
                    <a:pt x="1338" y="384"/>
                  </a:lnTo>
                  <a:lnTo>
                    <a:pt x="1332" y="408"/>
                  </a:lnTo>
                  <a:lnTo>
                    <a:pt x="1320" y="420"/>
                  </a:lnTo>
                  <a:lnTo>
                    <a:pt x="1254" y="426"/>
                  </a:lnTo>
                  <a:lnTo>
                    <a:pt x="1248" y="432"/>
                  </a:lnTo>
                  <a:lnTo>
                    <a:pt x="1230" y="432"/>
                  </a:lnTo>
                  <a:lnTo>
                    <a:pt x="1212" y="432"/>
                  </a:lnTo>
                  <a:lnTo>
                    <a:pt x="1212" y="426"/>
                  </a:lnTo>
                  <a:lnTo>
                    <a:pt x="1200" y="426"/>
                  </a:lnTo>
                  <a:lnTo>
                    <a:pt x="1182" y="414"/>
                  </a:lnTo>
                  <a:lnTo>
                    <a:pt x="1182" y="420"/>
                  </a:lnTo>
                  <a:lnTo>
                    <a:pt x="1164" y="420"/>
                  </a:lnTo>
                  <a:lnTo>
                    <a:pt x="1158" y="414"/>
                  </a:lnTo>
                  <a:lnTo>
                    <a:pt x="1152" y="408"/>
                  </a:lnTo>
                  <a:lnTo>
                    <a:pt x="1146" y="402"/>
                  </a:lnTo>
                  <a:lnTo>
                    <a:pt x="1122" y="396"/>
                  </a:lnTo>
                  <a:lnTo>
                    <a:pt x="1116" y="366"/>
                  </a:lnTo>
                  <a:lnTo>
                    <a:pt x="1116" y="348"/>
                  </a:lnTo>
                  <a:lnTo>
                    <a:pt x="1110" y="342"/>
                  </a:lnTo>
                  <a:lnTo>
                    <a:pt x="1104" y="336"/>
                  </a:lnTo>
                  <a:lnTo>
                    <a:pt x="1092" y="330"/>
                  </a:lnTo>
                  <a:lnTo>
                    <a:pt x="1074" y="330"/>
                  </a:lnTo>
                  <a:lnTo>
                    <a:pt x="1044" y="330"/>
                  </a:lnTo>
                  <a:lnTo>
                    <a:pt x="1014" y="336"/>
                  </a:lnTo>
                  <a:lnTo>
                    <a:pt x="984" y="342"/>
                  </a:lnTo>
                  <a:lnTo>
                    <a:pt x="978" y="330"/>
                  </a:lnTo>
                  <a:lnTo>
                    <a:pt x="966" y="324"/>
                  </a:lnTo>
                  <a:lnTo>
                    <a:pt x="888" y="336"/>
                  </a:lnTo>
                  <a:lnTo>
                    <a:pt x="888" y="330"/>
                  </a:lnTo>
                  <a:lnTo>
                    <a:pt x="870" y="336"/>
                  </a:lnTo>
                  <a:lnTo>
                    <a:pt x="858" y="336"/>
                  </a:lnTo>
                  <a:lnTo>
                    <a:pt x="852" y="354"/>
                  </a:lnTo>
                  <a:lnTo>
                    <a:pt x="852" y="402"/>
                  </a:lnTo>
                  <a:lnTo>
                    <a:pt x="840" y="414"/>
                  </a:lnTo>
                  <a:lnTo>
                    <a:pt x="834" y="420"/>
                  </a:lnTo>
                  <a:lnTo>
                    <a:pt x="834" y="444"/>
                  </a:lnTo>
                  <a:lnTo>
                    <a:pt x="834" y="450"/>
                  </a:lnTo>
                  <a:lnTo>
                    <a:pt x="852" y="456"/>
                  </a:lnTo>
                  <a:lnTo>
                    <a:pt x="864" y="462"/>
                  </a:lnTo>
                  <a:lnTo>
                    <a:pt x="894" y="456"/>
                  </a:lnTo>
                  <a:lnTo>
                    <a:pt x="900" y="468"/>
                  </a:lnTo>
                  <a:lnTo>
                    <a:pt x="918" y="462"/>
                  </a:lnTo>
                  <a:lnTo>
                    <a:pt x="924" y="468"/>
                  </a:lnTo>
                  <a:lnTo>
                    <a:pt x="924" y="47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2" name="Freeform 37">
              <a:extLst>
                <a:ext uri="{FF2B5EF4-FFF2-40B4-BE49-F238E27FC236}">
                  <a16:creationId xmlns:a16="http://schemas.microsoft.com/office/drawing/2014/main" id="{DED8A1FF-B656-4D37-BD26-5B0A7B1A4A6D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441" y="1898343"/>
              <a:ext cx="567992" cy="686605"/>
            </a:xfrm>
            <a:custGeom>
              <a:avLst/>
              <a:gdLst>
                <a:gd name="T0" fmla="*/ 79 w 1068"/>
                <a:gd name="T1" fmla="*/ 72 h 1290"/>
                <a:gd name="T2" fmla="*/ 75 w 1068"/>
                <a:gd name="T3" fmla="*/ 73 h 1290"/>
                <a:gd name="T4" fmla="*/ 72 w 1068"/>
                <a:gd name="T5" fmla="*/ 76 h 1290"/>
                <a:gd name="T6" fmla="*/ 70 w 1068"/>
                <a:gd name="T7" fmla="*/ 78 h 1290"/>
                <a:gd name="T8" fmla="*/ 67 w 1068"/>
                <a:gd name="T9" fmla="*/ 82 h 1290"/>
                <a:gd name="T10" fmla="*/ 61 w 1068"/>
                <a:gd name="T11" fmla="*/ 86 h 1290"/>
                <a:gd name="T12" fmla="*/ 60 w 1068"/>
                <a:gd name="T13" fmla="*/ 93 h 1290"/>
                <a:gd name="T14" fmla="*/ 59 w 1068"/>
                <a:gd name="T15" fmla="*/ 97 h 1290"/>
                <a:gd name="T16" fmla="*/ 61 w 1068"/>
                <a:gd name="T17" fmla="*/ 101 h 1290"/>
                <a:gd name="T18" fmla="*/ 63 w 1068"/>
                <a:gd name="T19" fmla="*/ 104 h 1290"/>
                <a:gd name="T20" fmla="*/ 62 w 1068"/>
                <a:gd name="T21" fmla="*/ 108 h 1290"/>
                <a:gd name="T22" fmla="*/ 60 w 1068"/>
                <a:gd name="T23" fmla="*/ 111 h 1290"/>
                <a:gd name="T24" fmla="*/ 56 w 1068"/>
                <a:gd name="T25" fmla="*/ 111 h 1290"/>
                <a:gd name="T26" fmla="*/ 53 w 1068"/>
                <a:gd name="T27" fmla="*/ 110 h 1290"/>
                <a:gd name="T28" fmla="*/ 50 w 1068"/>
                <a:gd name="T29" fmla="*/ 109 h 1290"/>
                <a:gd name="T30" fmla="*/ 47 w 1068"/>
                <a:gd name="T31" fmla="*/ 110 h 1290"/>
                <a:gd name="T32" fmla="*/ 51 w 1068"/>
                <a:gd name="T33" fmla="*/ 104 h 1290"/>
                <a:gd name="T34" fmla="*/ 50 w 1068"/>
                <a:gd name="T35" fmla="*/ 95 h 1290"/>
                <a:gd name="T36" fmla="*/ 51 w 1068"/>
                <a:gd name="T37" fmla="*/ 90 h 1290"/>
                <a:gd name="T38" fmla="*/ 47 w 1068"/>
                <a:gd name="T39" fmla="*/ 84 h 1290"/>
                <a:gd name="T40" fmla="*/ 42 w 1068"/>
                <a:gd name="T41" fmla="*/ 78 h 1290"/>
                <a:gd name="T42" fmla="*/ 33 w 1068"/>
                <a:gd name="T43" fmla="*/ 73 h 1290"/>
                <a:gd name="T44" fmla="*/ 26 w 1068"/>
                <a:gd name="T45" fmla="*/ 68 h 1290"/>
                <a:gd name="T46" fmla="*/ 22 w 1068"/>
                <a:gd name="T47" fmla="*/ 63 h 1290"/>
                <a:gd name="T48" fmla="*/ 11 w 1068"/>
                <a:gd name="T49" fmla="*/ 67 h 1290"/>
                <a:gd name="T50" fmla="*/ 0 w 1068"/>
                <a:gd name="T51" fmla="*/ 68 h 1290"/>
                <a:gd name="T52" fmla="*/ 2 w 1068"/>
                <a:gd name="T53" fmla="*/ 59 h 1290"/>
                <a:gd name="T54" fmla="*/ 12 w 1068"/>
                <a:gd name="T55" fmla="*/ 55 h 1290"/>
                <a:gd name="T56" fmla="*/ 12 w 1068"/>
                <a:gd name="T57" fmla="*/ 51 h 1290"/>
                <a:gd name="T58" fmla="*/ 10 w 1068"/>
                <a:gd name="T59" fmla="*/ 47 h 1290"/>
                <a:gd name="T60" fmla="*/ 9 w 1068"/>
                <a:gd name="T61" fmla="*/ 42 h 1290"/>
                <a:gd name="T62" fmla="*/ 8 w 1068"/>
                <a:gd name="T63" fmla="*/ 38 h 1290"/>
                <a:gd name="T64" fmla="*/ 8 w 1068"/>
                <a:gd name="T65" fmla="*/ 29 h 1290"/>
                <a:gd name="T66" fmla="*/ 10 w 1068"/>
                <a:gd name="T67" fmla="*/ 18 h 1290"/>
                <a:gd name="T68" fmla="*/ 25 w 1068"/>
                <a:gd name="T69" fmla="*/ 12 h 1290"/>
                <a:gd name="T70" fmla="*/ 27 w 1068"/>
                <a:gd name="T71" fmla="*/ 4 h 1290"/>
                <a:gd name="T72" fmla="*/ 35 w 1068"/>
                <a:gd name="T73" fmla="*/ 6 h 1290"/>
                <a:gd name="T74" fmla="*/ 39 w 1068"/>
                <a:gd name="T75" fmla="*/ 8 h 1290"/>
                <a:gd name="T76" fmla="*/ 41 w 1068"/>
                <a:gd name="T77" fmla="*/ 3 h 1290"/>
                <a:gd name="T78" fmla="*/ 45 w 1068"/>
                <a:gd name="T79" fmla="*/ 0 h 1290"/>
                <a:gd name="T80" fmla="*/ 51 w 1068"/>
                <a:gd name="T81" fmla="*/ 0 h 1290"/>
                <a:gd name="T82" fmla="*/ 56 w 1068"/>
                <a:gd name="T83" fmla="*/ 4 h 1290"/>
                <a:gd name="T84" fmla="*/ 62 w 1068"/>
                <a:gd name="T85" fmla="*/ 12 h 1290"/>
                <a:gd name="T86" fmla="*/ 58 w 1068"/>
                <a:gd name="T87" fmla="*/ 17 h 1290"/>
                <a:gd name="T88" fmla="*/ 60 w 1068"/>
                <a:gd name="T89" fmla="*/ 18 h 1290"/>
                <a:gd name="T90" fmla="*/ 64 w 1068"/>
                <a:gd name="T91" fmla="*/ 16 h 1290"/>
                <a:gd name="T92" fmla="*/ 68 w 1068"/>
                <a:gd name="T93" fmla="*/ 18 h 1290"/>
                <a:gd name="T94" fmla="*/ 71 w 1068"/>
                <a:gd name="T95" fmla="*/ 27 h 1290"/>
                <a:gd name="T96" fmla="*/ 74 w 1068"/>
                <a:gd name="T97" fmla="*/ 30 h 1290"/>
                <a:gd name="T98" fmla="*/ 82 w 1068"/>
                <a:gd name="T99" fmla="*/ 30 h 1290"/>
                <a:gd name="T100" fmla="*/ 87 w 1068"/>
                <a:gd name="T101" fmla="*/ 35 h 1290"/>
                <a:gd name="T102" fmla="*/ 85 w 1068"/>
                <a:gd name="T103" fmla="*/ 42 h 1290"/>
                <a:gd name="T104" fmla="*/ 81 w 1068"/>
                <a:gd name="T105" fmla="*/ 46 h 1290"/>
                <a:gd name="T106" fmla="*/ 86 w 1068"/>
                <a:gd name="T107" fmla="*/ 50 h 1290"/>
                <a:gd name="T108" fmla="*/ 89 w 1068"/>
                <a:gd name="T109" fmla="*/ 58 h 1290"/>
                <a:gd name="T110" fmla="*/ 92 w 1068"/>
                <a:gd name="T111" fmla="*/ 61 h 1290"/>
                <a:gd name="T112" fmla="*/ 86 w 1068"/>
                <a:gd name="T113" fmla="*/ 66 h 1290"/>
                <a:gd name="T114" fmla="*/ 85 w 1068"/>
                <a:gd name="T115" fmla="*/ 70 h 129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68"/>
                <a:gd name="T175" fmla="*/ 0 h 1290"/>
                <a:gd name="T176" fmla="*/ 1068 w 1068"/>
                <a:gd name="T177" fmla="*/ 1290 h 129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68" h="1290">
                  <a:moveTo>
                    <a:pt x="978" y="804"/>
                  </a:moveTo>
                  <a:lnTo>
                    <a:pt x="972" y="810"/>
                  </a:lnTo>
                  <a:lnTo>
                    <a:pt x="966" y="810"/>
                  </a:lnTo>
                  <a:lnTo>
                    <a:pt x="966" y="816"/>
                  </a:lnTo>
                  <a:lnTo>
                    <a:pt x="936" y="828"/>
                  </a:lnTo>
                  <a:lnTo>
                    <a:pt x="924" y="822"/>
                  </a:lnTo>
                  <a:lnTo>
                    <a:pt x="912" y="822"/>
                  </a:lnTo>
                  <a:lnTo>
                    <a:pt x="906" y="828"/>
                  </a:lnTo>
                  <a:lnTo>
                    <a:pt x="900" y="828"/>
                  </a:lnTo>
                  <a:lnTo>
                    <a:pt x="900" y="822"/>
                  </a:lnTo>
                  <a:lnTo>
                    <a:pt x="894" y="822"/>
                  </a:lnTo>
                  <a:lnTo>
                    <a:pt x="888" y="828"/>
                  </a:lnTo>
                  <a:lnTo>
                    <a:pt x="882" y="834"/>
                  </a:lnTo>
                  <a:lnTo>
                    <a:pt x="876" y="834"/>
                  </a:lnTo>
                  <a:lnTo>
                    <a:pt x="870" y="840"/>
                  </a:lnTo>
                  <a:lnTo>
                    <a:pt x="864" y="840"/>
                  </a:lnTo>
                  <a:lnTo>
                    <a:pt x="864" y="846"/>
                  </a:lnTo>
                  <a:lnTo>
                    <a:pt x="858" y="846"/>
                  </a:lnTo>
                  <a:lnTo>
                    <a:pt x="852" y="846"/>
                  </a:lnTo>
                  <a:lnTo>
                    <a:pt x="852" y="858"/>
                  </a:lnTo>
                  <a:lnTo>
                    <a:pt x="846" y="864"/>
                  </a:lnTo>
                  <a:lnTo>
                    <a:pt x="840" y="870"/>
                  </a:lnTo>
                  <a:lnTo>
                    <a:pt x="834" y="870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34" y="876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10" y="894"/>
                  </a:lnTo>
                  <a:lnTo>
                    <a:pt x="810" y="900"/>
                  </a:lnTo>
                  <a:lnTo>
                    <a:pt x="804" y="900"/>
                  </a:lnTo>
                  <a:lnTo>
                    <a:pt x="798" y="900"/>
                  </a:lnTo>
                  <a:lnTo>
                    <a:pt x="798" y="906"/>
                  </a:lnTo>
                  <a:lnTo>
                    <a:pt x="792" y="906"/>
                  </a:lnTo>
                  <a:lnTo>
                    <a:pt x="792" y="912"/>
                  </a:lnTo>
                  <a:lnTo>
                    <a:pt x="792" y="924"/>
                  </a:lnTo>
                  <a:lnTo>
                    <a:pt x="786" y="930"/>
                  </a:lnTo>
                  <a:lnTo>
                    <a:pt x="774" y="942"/>
                  </a:lnTo>
                  <a:lnTo>
                    <a:pt x="774" y="948"/>
                  </a:lnTo>
                  <a:lnTo>
                    <a:pt x="768" y="954"/>
                  </a:lnTo>
                  <a:lnTo>
                    <a:pt x="762" y="954"/>
                  </a:lnTo>
                  <a:lnTo>
                    <a:pt x="750" y="972"/>
                  </a:lnTo>
                  <a:lnTo>
                    <a:pt x="720" y="978"/>
                  </a:lnTo>
                  <a:lnTo>
                    <a:pt x="714" y="978"/>
                  </a:lnTo>
                  <a:lnTo>
                    <a:pt x="708" y="978"/>
                  </a:lnTo>
                  <a:lnTo>
                    <a:pt x="702" y="990"/>
                  </a:lnTo>
                  <a:lnTo>
                    <a:pt x="696" y="990"/>
                  </a:lnTo>
                  <a:lnTo>
                    <a:pt x="696" y="1008"/>
                  </a:lnTo>
                  <a:lnTo>
                    <a:pt x="690" y="1008"/>
                  </a:lnTo>
                  <a:lnTo>
                    <a:pt x="690" y="1014"/>
                  </a:lnTo>
                  <a:lnTo>
                    <a:pt x="684" y="1032"/>
                  </a:lnTo>
                  <a:lnTo>
                    <a:pt x="690" y="1050"/>
                  </a:lnTo>
                  <a:lnTo>
                    <a:pt x="690" y="1062"/>
                  </a:lnTo>
                  <a:lnTo>
                    <a:pt x="690" y="1068"/>
                  </a:lnTo>
                  <a:lnTo>
                    <a:pt x="690" y="1074"/>
                  </a:lnTo>
                  <a:lnTo>
                    <a:pt x="684" y="1074"/>
                  </a:lnTo>
                  <a:lnTo>
                    <a:pt x="684" y="1080"/>
                  </a:lnTo>
                  <a:lnTo>
                    <a:pt x="678" y="1086"/>
                  </a:lnTo>
                  <a:lnTo>
                    <a:pt x="678" y="1104"/>
                  </a:lnTo>
                  <a:lnTo>
                    <a:pt x="678" y="1110"/>
                  </a:lnTo>
                  <a:lnTo>
                    <a:pt x="678" y="1116"/>
                  </a:lnTo>
                  <a:lnTo>
                    <a:pt x="684" y="1116"/>
                  </a:lnTo>
                  <a:lnTo>
                    <a:pt x="678" y="1128"/>
                  </a:lnTo>
                  <a:lnTo>
                    <a:pt x="684" y="1128"/>
                  </a:lnTo>
                  <a:lnTo>
                    <a:pt x="690" y="1134"/>
                  </a:lnTo>
                  <a:lnTo>
                    <a:pt x="690" y="1140"/>
                  </a:lnTo>
                  <a:lnTo>
                    <a:pt x="696" y="1140"/>
                  </a:lnTo>
                  <a:lnTo>
                    <a:pt x="696" y="1146"/>
                  </a:lnTo>
                  <a:lnTo>
                    <a:pt x="696" y="1152"/>
                  </a:lnTo>
                  <a:lnTo>
                    <a:pt x="702" y="1152"/>
                  </a:lnTo>
                  <a:lnTo>
                    <a:pt x="708" y="1152"/>
                  </a:lnTo>
                  <a:lnTo>
                    <a:pt x="714" y="1158"/>
                  </a:lnTo>
                  <a:lnTo>
                    <a:pt x="714" y="1164"/>
                  </a:lnTo>
                  <a:lnTo>
                    <a:pt x="720" y="1170"/>
                  </a:lnTo>
                  <a:lnTo>
                    <a:pt x="720" y="1176"/>
                  </a:lnTo>
                  <a:lnTo>
                    <a:pt x="720" y="1182"/>
                  </a:lnTo>
                  <a:lnTo>
                    <a:pt x="726" y="1188"/>
                  </a:lnTo>
                  <a:lnTo>
                    <a:pt x="726" y="1194"/>
                  </a:lnTo>
                  <a:lnTo>
                    <a:pt x="732" y="1194"/>
                  </a:lnTo>
                  <a:lnTo>
                    <a:pt x="732" y="1200"/>
                  </a:lnTo>
                  <a:lnTo>
                    <a:pt x="738" y="1212"/>
                  </a:lnTo>
                  <a:lnTo>
                    <a:pt x="732" y="1218"/>
                  </a:lnTo>
                  <a:lnTo>
                    <a:pt x="732" y="1224"/>
                  </a:lnTo>
                  <a:lnTo>
                    <a:pt x="726" y="1230"/>
                  </a:lnTo>
                  <a:lnTo>
                    <a:pt x="720" y="1230"/>
                  </a:lnTo>
                  <a:lnTo>
                    <a:pt x="720" y="1236"/>
                  </a:lnTo>
                  <a:lnTo>
                    <a:pt x="720" y="1242"/>
                  </a:lnTo>
                  <a:lnTo>
                    <a:pt x="720" y="1248"/>
                  </a:lnTo>
                  <a:lnTo>
                    <a:pt x="714" y="1248"/>
                  </a:lnTo>
                  <a:lnTo>
                    <a:pt x="714" y="1254"/>
                  </a:lnTo>
                  <a:lnTo>
                    <a:pt x="708" y="1260"/>
                  </a:lnTo>
                  <a:lnTo>
                    <a:pt x="702" y="1272"/>
                  </a:lnTo>
                  <a:lnTo>
                    <a:pt x="696" y="1272"/>
                  </a:lnTo>
                  <a:lnTo>
                    <a:pt x="696" y="1278"/>
                  </a:lnTo>
                  <a:lnTo>
                    <a:pt x="690" y="1284"/>
                  </a:lnTo>
                  <a:lnTo>
                    <a:pt x="690" y="1290"/>
                  </a:lnTo>
                  <a:lnTo>
                    <a:pt x="684" y="1290"/>
                  </a:lnTo>
                  <a:lnTo>
                    <a:pt x="660" y="1284"/>
                  </a:lnTo>
                  <a:lnTo>
                    <a:pt x="660" y="1278"/>
                  </a:lnTo>
                  <a:lnTo>
                    <a:pt x="654" y="1272"/>
                  </a:lnTo>
                  <a:lnTo>
                    <a:pt x="648" y="1272"/>
                  </a:lnTo>
                  <a:lnTo>
                    <a:pt x="642" y="1272"/>
                  </a:lnTo>
                  <a:lnTo>
                    <a:pt x="642" y="1266"/>
                  </a:lnTo>
                  <a:lnTo>
                    <a:pt x="636" y="1266"/>
                  </a:lnTo>
                  <a:lnTo>
                    <a:pt x="630" y="1266"/>
                  </a:lnTo>
                  <a:lnTo>
                    <a:pt x="624" y="1266"/>
                  </a:lnTo>
                  <a:lnTo>
                    <a:pt x="624" y="1260"/>
                  </a:lnTo>
                  <a:lnTo>
                    <a:pt x="618" y="1260"/>
                  </a:lnTo>
                  <a:lnTo>
                    <a:pt x="612" y="1260"/>
                  </a:lnTo>
                  <a:lnTo>
                    <a:pt x="606" y="1260"/>
                  </a:lnTo>
                  <a:lnTo>
                    <a:pt x="600" y="1260"/>
                  </a:lnTo>
                  <a:lnTo>
                    <a:pt x="600" y="1254"/>
                  </a:lnTo>
                  <a:lnTo>
                    <a:pt x="594" y="1254"/>
                  </a:lnTo>
                  <a:lnTo>
                    <a:pt x="588" y="1248"/>
                  </a:lnTo>
                  <a:lnTo>
                    <a:pt x="588" y="1254"/>
                  </a:lnTo>
                  <a:lnTo>
                    <a:pt x="582" y="1254"/>
                  </a:lnTo>
                  <a:lnTo>
                    <a:pt x="582" y="1248"/>
                  </a:lnTo>
                  <a:lnTo>
                    <a:pt x="576" y="1248"/>
                  </a:lnTo>
                  <a:lnTo>
                    <a:pt x="576" y="1254"/>
                  </a:lnTo>
                  <a:lnTo>
                    <a:pt x="570" y="1248"/>
                  </a:lnTo>
                  <a:lnTo>
                    <a:pt x="564" y="1248"/>
                  </a:lnTo>
                  <a:lnTo>
                    <a:pt x="564" y="1254"/>
                  </a:lnTo>
                  <a:lnTo>
                    <a:pt x="558" y="1254"/>
                  </a:lnTo>
                  <a:lnTo>
                    <a:pt x="552" y="1254"/>
                  </a:lnTo>
                  <a:lnTo>
                    <a:pt x="552" y="1260"/>
                  </a:lnTo>
                  <a:lnTo>
                    <a:pt x="546" y="1260"/>
                  </a:lnTo>
                  <a:lnTo>
                    <a:pt x="540" y="1260"/>
                  </a:lnTo>
                  <a:lnTo>
                    <a:pt x="540" y="1254"/>
                  </a:lnTo>
                  <a:lnTo>
                    <a:pt x="534" y="1254"/>
                  </a:lnTo>
                  <a:lnTo>
                    <a:pt x="528" y="1224"/>
                  </a:lnTo>
                  <a:lnTo>
                    <a:pt x="534" y="1212"/>
                  </a:lnTo>
                  <a:lnTo>
                    <a:pt x="546" y="1206"/>
                  </a:lnTo>
                  <a:lnTo>
                    <a:pt x="582" y="1206"/>
                  </a:lnTo>
                  <a:lnTo>
                    <a:pt x="588" y="1188"/>
                  </a:lnTo>
                  <a:lnTo>
                    <a:pt x="582" y="1188"/>
                  </a:lnTo>
                  <a:lnTo>
                    <a:pt x="582" y="1182"/>
                  </a:lnTo>
                  <a:lnTo>
                    <a:pt x="576" y="1176"/>
                  </a:lnTo>
                  <a:lnTo>
                    <a:pt x="558" y="1128"/>
                  </a:lnTo>
                  <a:lnTo>
                    <a:pt x="558" y="1122"/>
                  </a:lnTo>
                  <a:lnTo>
                    <a:pt x="576" y="1098"/>
                  </a:lnTo>
                  <a:lnTo>
                    <a:pt x="576" y="1092"/>
                  </a:lnTo>
                  <a:lnTo>
                    <a:pt x="582" y="1092"/>
                  </a:lnTo>
                  <a:lnTo>
                    <a:pt x="582" y="1086"/>
                  </a:lnTo>
                  <a:lnTo>
                    <a:pt x="582" y="1080"/>
                  </a:lnTo>
                  <a:lnTo>
                    <a:pt x="582" y="1074"/>
                  </a:lnTo>
                  <a:lnTo>
                    <a:pt x="588" y="1074"/>
                  </a:lnTo>
                  <a:lnTo>
                    <a:pt x="588" y="1062"/>
                  </a:lnTo>
                  <a:lnTo>
                    <a:pt x="588" y="1056"/>
                  </a:lnTo>
                  <a:lnTo>
                    <a:pt x="588" y="1044"/>
                  </a:lnTo>
                  <a:lnTo>
                    <a:pt x="588" y="1038"/>
                  </a:lnTo>
                  <a:lnTo>
                    <a:pt x="588" y="1032"/>
                  </a:lnTo>
                  <a:lnTo>
                    <a:pt x="582" y="1026"/>
                  </a:lnTo>
                  <a:lnTo>
                    <a:pt x="582" y="1020"/>
                  </a:lnTo>
                  <a:lnTo>
                    <a:pt x="582" y="1008"/>
                  </a:lnTo>
                  <a:lnTo>
                    <a:pt x="576" y="990"/>
                  </a:lnTo>
                  <a:lnTo>
                    <a:pt x="570" y="972"/>
                  </a:lnTo>
                  <a:lnTo>
                    <a:pt x="552" y="972"/>
                  </a:lnTo>
                  <a:lnTo>
                    <a:pt x="540" y="960"/>
                  </a:lnTo>
                  <a:lnTo>
                    <a:pt x="534" y="954"/>
                  </a:lnTo>
                  <a:lnTo>
                    <a:pt x="534" y="948"/>
                  </a:lnTo>
                  <a:lnTo>
                    <a:pt x="516" y="948"/>
                  </a:lnTo>
                  <a:lnTo>
                    <a:pt x="522" y="936"/>
                  </a:lnTo>
                  <a:lnTo>
                    <a:pt x="522" y="930"/>
                  </a:lnTo>
                  <a:lnTo>
                    <a:pt x="504" y="918"/>
                  </a:lnTo>
                  <a:lnTo>
                    <a:pt x="492" y="906"/>
                  </a:lnTo>
                  <a:lnTo>
                    <a:pt x="486" y="894"/>
                  </a:lnTo>
                  <a:lnTo>
                    <a:pt x="468" y="876"/>
                  </a:lnTo>
                  <a:lnTo>
                    <a:pt x="450" y="876"/>
                  </a:lnTo>
                  <a:lnTo>
                    <a:pt x="414" y="882"/>
                  </a:lnTo>
                  <a:lnTo>
                    <a:pt x="402" y="870"/>
                  </a:lnTo>
                  <a:lnTo>
                    <a:pt x="390" y="864"/>
                  </a:lnTo>
                  <a:lnTo>
                    <a:pt x="384" y="852"/>
                  </a:lnTo>
                  <a:lnTo>
                    <a:pt x="378" y="840"/>
                  </a:lnTo>
                  <a:lnTo>
                    <a:pt x="378" y="834"/>
                  </a:lnTo>
                  <a:lnTo>
                    <a:pt x="360" y="822"/>
                  </a:lnTo>
                  <a:lnTo>
                    <a:pt x="342" y="828"/>
                  </a:lnTo>
                  <a:lnTo>
                    <a:pt x="324" y="816"/>
                  </a:lnTo>
                  <a:lnTo>
                    <a:pt x="318" y="816"/>
                  </a:lnTo>
                  <a:lnTo>
                    <a:pt x="306" y="810"/>
                  </a:lnTo>
                  <a:lnTo>
                    <a:pt x="306" y="804"/>
                  </a:lnTo>
                  <a:lnTo>
                    <a:pt x="300" y="804"/>
                  </a:lnTo>
                  <a:lnTo>
                    <a:pt x="300" y="780"/>
                  </a:lnTo>
                  <a:lnTo>
                    <a:pt x="300" y="774"/>
                  </a:lnTo>
                  <a:lnTo>
                    <a:pt x="306" y="774"/>
                  </a:lnTo>
                  <a:lnTo>
                    <a:pt x="312" y="756"/>
                  </a:lnTo>
                  <a:lnTo>
                    <a:pt x="312" y="732"/>
                  </a:lnTo>
                  <a:lnTo>
                    <a:pt x="300" y="720"/>
                  </a:lnTo>
                  <a:lnTo>
                    <a:pt x="288" y="702"/>
                  </a:lnTo>
                  <a:lnTo>
                    <a:pt x="276" y="702"/>
                  </a:lnTo>
                  <a:lnTo>
                    <a:pt x="258" y="714"/>
                  </a:lnTo>
                  <a:lnTo>
                    <a:pt x="246" y="726"/>
                  </a:lnTo>
                  <a:lnTo>
                    <a:pt x="222" y="726"/>
                  </a:lnTo>
                  <a:lnTo>
                    <a:pt x="192" y="726"/>
                  </a:lnTo>
                  <a:lnTo>
                    <a:pt x="174" y="738"/>
                  </a:lnTo>
                  <a:lnTo>
                    <a:pt x="162" y="750"/>
                  </a:lnTo>
                  <a:lnTo>
                    <a:pt x="144" y="762"/>
                  </a:lnTo>
                  <a:lnTo>
                    <a:pt x="138" y="768"/>
                  </a:lnTo>
                  <a:lnTo>
                    <a:pt x="126" y="774"/>
                  </a:lnTo>
                  <a:lnTo>
                    <a:pt x="114" y="780"/>
                  </a:lnTo>
                  <a:lnTo>
                    <a:pt x="108" y="786"/>
                  </a:lnTo>
                  <a:lnTo>
                    <a:pt x="102" y="786"/>
                  </a:lnTo>
                  <a:lnTo>
                    <a:pt x="54" y="786"/>
                  </a:lnTo>
                  <a:lnTo>
                    <a:pt x="48" y="792"/>
                  </a:lnTo>
                  <a:lnTo>
                    <a:pt x="36" y="798"/>
                  </a:lnTo>
                  <a:lnTo>
                    <a:pt x="18" y="792"/>
                  </a:lnTo>
                  <a:lnTo>
                    <a:pt x="6" y="780"/>
                  </a:lnTo>
                  <a:lnTo>
                    <a:pt x="6" y="768"/>
                  </a:lnTo>
                  <a:lnTo>
                    <a:pt x="0" y="756"/>
                  </a:lnTo>
                  <a:lnTo>
                    <a:pt x="0" y="738"/>
                  </a:lnTo>
                  <a:lnTo>
                    <a:pt x="6" y="702"/>
                  </a:lnTo>
                  <a:lnTo>
                    <a:pt x="24" y="702"/>
                  </a:lnTo>
                  <a:lnTo>
                    <a:pt x="24" y="696"/>
                  </a:lnTo>
                  <a:lnTo>
                    <a:pt x="24" y="690"/>
                  </a:lnTo>
                  <a:lnTo>
                    <a:pt x="24" y="678"/>
                  </a:lnTo>
                  <a:lnTo>
                    <a:pt x="24" y="672"/>
                  </a:lnTo>
                  <a:lnTo>
                    <a:pt x="30" y="672"/>
                  </a:lnTo>
                  <a:lnTo>
                    <a:pt x="30" y="666"/>
                  </a:lnTo>
                  <a:lnTo>
                    <a:pt x="36" y="660"/>
                  </a:lnTo>
                  <a:lnTo>
                    <a:pt x="84" y="648"/>
                  </a:lnTo>
                  <a:lnTo>
                    <a:pt x="126" y="642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32" y="618"/>
                  </a:lnTo>
                  <a:lnTo>
                    <a:pt x="138" y="612"/>
                  </a:lnTo>
                  <a:lnTo>
                    <a:pt x="138" y="606"/>
                  </a:lnTo>
                  <a:lnTo>
                    <a:pt x="138" y="600"/>
                  </a:lnTo>
                  <a:lnTo>
                    <a:pt x="132" y="600"/>
                  </a:lnTo>
                  <a:lnTo>
                    <a:pt x="132" y="594"/>
                  </a:lnTo>
                  <a:lnTo>
                    <a:pt x="132" y="588"/>
                  </a:lnTo>
                  <a:lnTo>
                    <a:pt x="132" y="582"/>
                  </a:lnTo>
                  <a:lnTo>
                    <a:pt x="132" y="576"/>
                  </a:lnTo>
                  <a:lnTo>
                    <a:pt x="126" y="570"/>
                  </a:lnTo>
                  <a:lnTo>
                    <a:pt x="120" y="564"/>
                  </a:lnTo>
                  <a:lnTo>
                    <a:pt x="120" y="558"/>
                  </a:lnTo>
                  <a:lnTo>
                    <a:pt x="120" y="552"/>
                  </a:lnTo>
                  <a:lnTo>
                    <a:pt x="114" y="552"/>
                  </a:lnTo>
                  <a:lnTo>
                    <a:pt x="114" y="546"/>
                  </a:lnTo>
                  <a:lnTo>
                    <a:pt x="114" y="540"/>
                  </a:lnTo>
                  <a:lnTo>
                    <a:pt x="108" y="534"/>
                  </a:lnTo>
                  <a:lnTo>
                    <a:pt x="108" y="528"/>
                  </a:lnTo>
                  <a:lnTo>
                    <a:pt x="114" y="522"/>
                  </a:lnTo>
                  <a:lnTo>
                    <a:pt x="108" y="516"/>
                  </a:lnTo>
                  <a:lnTo>
                    <a:pt x="108" y="498"/>
                  </a:lnTo>
                  <a:lnTo>
                    <a:pt x="108" y="492"/>
                  </a:lnTo>
                  <a:lnTo>
                    <a:pt x="108" y="486"/>
                  </a:lnTo>
                  <a:lnTo>
                    <a:pt x="108" y="480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08" y="462"/>
                  </a:lnTo>
                  <a:lnTo>
                    <a:pt x="102" y="456"/>
                  </a:lnTo>
                  <a:lnTo>
                    <a:pt x="102" y="444"/>
                  </a:lnTo>
                  <a:lnTo>
                    <a:pt x="96" y="444"/>
                  </a:lnTo>
                  <a:lnTo>
                    <a:pt x="90" y="432"/>
                  </a:lnTo>
                  <a:lnTo>
                    <a:pt x="96" y="432"/>
                  </a:lnTo>
                  <a:lnTo>
                    <a:pt x="96" y="408"/>
                  </a:lnTo>
                  <a:lnTo>
                    <a:pt x="96" y="396"/>
                  </a:lnTo>
                  <a:lnTo>
                    <a:pt x="96" y="360"/>
                  </a:lnTo>
                  <a:lnTo>
                    <a:pt x="96" y="354"/>
                  </a:lnTo>
                  <a:lnTo>
                    <a:pt x="102" y="354"/>
                  </a:lnTo>
                  <a:lnTo>
                    <a:pt x="102" y="348"/>
                  </a:lnTo>
                  <a:lnTo>
                    <a:pt x="96" y="330"/>
                  </a:lnTo>
                  <a:lnTo>
                    <a:pt x="90" y="306"/>
                  </a:lnTo>
                  <a:lnTo>
                    <a:pt x="84" y="288"/>
                  </a:lnTo>
                  <a:lnTo>
                    <a:pt x="84" y="264"/>
                  </a:lnTo>
                  <a:lnTo>
                    <a:pt x="90" y="240"/>
                  </a:lnTo>
                  <a:lnTo>
                    <a:pt x="96" y="222"/>
                  </a:lnTo>
                  <a:lnTo>
                    <a:pt x="102" y="222"/>
                  </a:lnTo>
                  <a:lnTo>
                    <a:pt x="108" y="210"/>
                  </a:lnTo>
                  <a:lnTo>
                    <a:pt x="114" y="210"/>
                  </a:lnTo>
                  <a:lnTo>
                    <a:pt x="126" y="198"/>
                  </a:lnTo>
                  <a:lnTo>
                    <a:pt x="156" y="192"/>
                  </a:lnTo>
                  <a:lnTo>
                    <a:pt x="174" y="186"/>
                  </a:lnTo>
                  <a:lnTo>
                    <a:pt x="204" y="174"/>
                  </a:lnTo>
                  <a:lnTo>
                    <a:pt x="222" y="168"/>
                  </a:lnTo>
                  <a:lnTo>
                    <a:pt x="234" y="162"/>
                  </a:lnTo>
                  <a:lnTo>
                    <a:pt x="246" y="156"/>
                  </a:lnTo>
                  <a:lnTo>
                    <a:pt x="288" y="144"/>
                  </a:lnTo>
                  <a:lnTo>
                    <a:pt x="288" y="132"/>
                  </a:lnTo>
                  <a:lnTo>
                    <a:pt x="294" y="120"/>
                  </a:lnTo>
                  <a:lnTo>
                    <a:pt x="300" y="108"/>
                  </a:lnTo>
                  <a:lnTo>
                    <a:pt x="306" y="90"/>
                  </a:lnTo>
                  <a:lnTo>
                    <a:pt x="312" y="78"/>
                  </a:lnTo>
                  <a:lnTo>
                    <a:pt x="324" y="78"/>
                  </a:lnTo>
                  <a:lnTo>
                    <a:pt x="324" y="54"/>
                  </a:lnTo>
                  <a:lnTo>
                    <a:pt x="318" y="48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60" y="6"/>
                  </a:lnTo>
                  <a:lnTo>
                    <a:pt x="384" y="0"/>
                  </a:lnTo>
                  <a:lnTo>
                    <a:pt x="390" y="6"/>
                  </a:lnTo>
                  <a:lnTo>
                    <a:pt x="390" y="18"/>
                  </a:lnTo>
                  <a:lnTo>
                    <a:pt x="390" y="54"/>
                  </a:lnTo>
                  <a:lnTo>
                    <a:pt x="396" y="66"/>
                  </a:lnTo>
                  <a:lnTo>
                    <a:pt x="414" y="84"/>
                  </a:lnTo>
                  <a:lnTo>
                    <a:pt x="426" y="90"/>
                  </a:lnTo>
                  <a:lnTo>
                    <a:pt x="432" y="96"/>
                  </a:lnTo>
                  <a:lnTo>
                    <a:pt x="426" y="102"/>
                  </a:lnTo>
                  <a:lnTo>
                    <a:pt x="438" y="102"/>
                  </a:lnTo>
                  <a:lnTo>
                    <a:pt x="444" y="108"/>
                  </a:lnTo>
                  <a:lnTo>
                    <a:pt x="444" y="102"/>
                  </a:lnTo>
                  <a:lnTo>
                    <a:pt x="450" y="90"/>
                  </a:lnTo>
                  <a:lnTo>
                    <a:pt x="450" y="84"/>
                  </a:lnTo>
                  <a:lnTo>
                    <a:pt x="450" y="78"/>
                  </a:lnTo>
                  <a:lnTo>
                    <a:pt x="456" y="72"/>
                  </a:lnTo>
                  <a:lnTo>
                    <a:pt x="462" y="66"/>
                  </a:lnTo>
                  <a:lnTo>
                    <a:pt x="462" y="60"/>
                  </a:lnTo>
                  <a:lnTo>
                    <a:pt x="462" y="54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74" y="24"/>
                  </a:lnTo>
                  <a:lnTo>
                    <a:pt x="480" y="18"/>
                  </a:lnTo>
                  <a:lnTo>
                    <a:pt x="486" y="12"/>
                  </a:lnTo>
                  <a:lnTo>
                    <a:pt x="492" y="12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2" y="6"/>
                  </a:lnTo>
                  <a:lnTo>
                    <a:pt x="534" y="6"/>
                  </a:lnTo>
                  <a:lnTo>
                    <a:pt x="540" y="6"/>
                  </a:lnTo>
                  <a:lnTo>
                    <a:pt x="546" y="6"/>
                  </a:lnTo>
                  <a:lnTo>
                    <a:pt x="564" y="0"/>
                  </a:lnTo>
                  <a:lnTo>
                    <a:pt x="570" y="0"/>
                  </a:lnTo>
                  <a:lnTo>
                    <a:pt x="576" y="6"/>
                  </a:lnTo>
                  <a:lnTo>
                    <a:pt x="582" y="6"/>
                  </a:lnTo>
                  <a:lnTo>
                    <a:pt x="594" y="6"/>
                  </a:lnTo>
                  <a:lnTo>
                    <a:pt x="600" y="6"/>
                  </a:lnTo>
                  <a:lnTo>
                    <a:pt x="606" y="6"/>
                  </a:lnTo>
                  <a:lnTo>
                    <a:pt x="624" y="0"/>
                  </a:lnTo>
                  <a:lnTo>
                    <a:pt x="636" y="0"/>
                  </a:lnTo>
                  <a:lnTo>
                    <a:pt x="636" y="6"/>
                  </a:lnTo>
                  <a:lnTo>
                    <a:pt x="654" y="18"/>
                  </a:lnTo>
                  <a:lnTo>
                    <a:pt x="654" y="30"/>
                  </a:lnTo>
                  <a:lnTo>
                    <a:pt x="642" y="42"/>
                  </a:lnTo>
                  <a:lnTo>
                    <a:pt x="630" y="66"/>
                  </a:lnTo>
                  <a:lnTo>
                    <a:pt x="636" y="84"/>
                  </a:lnTo>
                  <a:lnTo>
                    <a:pt x="636" y="96"/>
                  </a:lnTo>
                  <a:lnTo>
                    <a:pt x="648" y="102"/>
                  </a:lnTo>
                  <a:lnTo>
                    <a:pt x="672" y="114"/>
                  </a:lnTo>
                  <a:lnTo>
                    <a:pt x="702" y="120"/>
                  </a:lnTo>
                  <a:lnTo>
                    <a:pt x="714" y="126"/>
                  </a:lnTo>
                  <a:lnTo>
                    <a:pt x="720" y="144"/>
                  </a:lnTo>
                  <a:lnTo>
                    <a:pt x="720" y="156"/>
                  </a:lnTo>
                  <a:lnTo>
                    <a:pt x="708" y="156"/>
                  </a:lnTo>
                  <a:lnTo>
                    <a:pt x="702" y="162"/>
                  </a:lnTo>
                  <a:lnTo>
                    <a:pt x="702" y="174"/>
                  </a:lnTo>
                  <a:lnTo>
                    <a:pt x="696" y="174"/>
                  </a:lnTo>
                  <a:lnTo>
                    <a:pt x="690" y="180"/>
                  </a:lnTo>
                  <a:lnTo>
                    <a:pt x="678" y="186"/>
                  </a:lnTo>
                  <a:lnTo>
                    <a:pt x="672" y="192"/>
                  </a:lnTo>
                  <a:lnTo>
                    <a:pt x="654" y="210"/>
                  </a:lnTo>
                  <a:lnTo>
                    <a:pt x="654" y="216"/>
                  </a:lnTo>
                  <a:lnTo>
                    <a:pt x="648" y="246"/>
                  </a:lnTo>
                  <a:lnTo>
                    <a:pt x="660" y="246"/>
                  </a:lnTo>
                  <a:lnTo>
                    <a:pt x="666" y="234"/>
                  </a:lnTo>
                  <a:lnTo>
                    <a:pt x="678" y="240"/>
                  </a:lnTo>
                  <a:lnTo>
                    <a:pt x="684" y="228"/>
                  </a:lnTo>
                  <a:lnTo>
                    <a:pt x="690" y="210"/>
                  </a:lnTo>
                  <a:lnTo>
                    <a:pt x="696" y="204"/>
                  </a:lnTo>
                  <a:lnTo>
                    <a:pt x="702" y="204"/>
                  </a:lnTo>
                  <a:lnTo>
                    <a:pt x="708" y="192"/>
                  </a:lnTo>
                  <a:lnTo>
                    <a:pt x="714" y="192"/>
                  </a:lnTo>
                  <a:lnTo>
                    <a:pt x="714" y="186"/>
                  </a:lnTo>
                  <a:lnTo>
                    <a:pt x="726" y="186"/>
                  </a:lnTo>
                  <a:lnTo>
                    <a:pt x="732" y="186"/>
                  </a:lnTo>
                  <a:lnTo>
                    <a:pt x="738" y="186"/>
                  </a:lnTo>
                  <a:lnTo>
                    <a:pt x="744" y="216"/>
                  </a:lnTo>
                  <a:lnTo>
                    <a:pt x="750" y="210"/>
                  </a:lnTo>
                  <a:lnTo>
                    <a:pt x="750" y="204"/>
                  </a:lnTo>
                  <a:lnTo>
                    <a:pt x="756" y="192"/>
                  </a:lnTo>
                  <a:lnTo>
                    <a:pt x="762" y="192"/>
                  </a:lnTo>
                  <a:lnTo>
                    <a:pt x="768" y="192"/>
                  </a:lnTo>
                  <a:lnTo>
                    <a:pt x="780" y="186"/>
                  </a:lnTo>
                  <a:lnTo>
                    <a:pt x="786" y="204"/>
                  </a:lnTo>
                  <a:lnTo>
                    <a:pt x="774" y="210"/>
                  </a:lnTo>
                  <a:lnTo>
                    <a:pt x="774" y="234"/>
                  </a:lnTo>
                  <a:lnTo>
                    <a:pt x="780" y="246"/>
                  </a:lnTo>
                  <a:lnTo>
                    <a:pt x="804" y="264"/>
                  </a:lnTo>
                  <a:lnTo>
                    <a:pt x="816" y="276"/>
                  </a:lnTo>
                  <a:lnTo>
                    <a:pt x="822" y="288"/>
                  </a:lnTo>
                  <a:lnTo>
                    <a:pt x="822" y="312"/>
                  </a:lnTo>
                  <a:lnTo>
                    <a:pt x="816" y="312"/>
                  </a:lnTo>
                  <a:lnTo>
                    <a:pt x="810" y="318"/>
                  </a:lnTo>
                  <a:lnTo>
                    <a:pt x="810" y="348"/>
                  </a:lnTo>
                  <a:lnTo>
                    <a:pt x="816" y="348"/>
                  </a:lnTo>
                  <a:lnTo>
                    <a:pt x="816" y="342"/>
                  </a:lnTo>
                  <a:lnTo>
                    <a:pt x="834" y="342"/>
                  </a:lnTo>
                  <a:lnTo>
                    <a:pt x="834" y="348"/>
                  </a:lnTo>
                  <a:lnTo>
                    <a:pt x="846" y="348"/>
                  </a:lnTo>
                  <a:lnTo>
                    <a:pt x="846" y="342"/>
                  </a:lnTo>
                  <a:lnTo>
                    <a:pt x="882" y="342"/>
                  </a:lnTo>
                  <a:lnTo>
                    <a:pt x="894" y="366"/>
                  </a:lnTo>
                  <a:lnTo>
                    <a:pt x="900" y="372"/>
                  </a:lnTo>
                  <a:lnTo>
                    <a:pt x="906" y="384"/>
                  </a:lnTo>
                  <a:lnTo>
                    <a:pt x="924" y="384"/>
                  </a:lnTo>
                  <a:lnTo>
                    <a:pt x="930" y="372"/>
                  </a:lnTo>
                  <a:lnTo>
                    <a:pt x="936" y="372"/>
                  </a:lnTo>
                  <a:lnTo>
                    <a:pt x="942" y="348"/>
                  </a:lnTo>
                  <a:lnTo>
                    <a:pt x="954" y="348"/>
                  </a:lnTo>
                  <a:lnTo>
                    <a:pt x="954" y="342"/>
                  </a:lnTo>
                  <a:lnTo>
                    <a:pt x="984" y="342"/>
                  </a:lnTo>
                  <a:lnTo>
                    <a:pt x="978" y="390"/>
                  </a:lnTo>
                  <a:lnTo>
                    <a:pt x="984" y="390"/>
                  </a:lnTo>
                  <a:lnTo>
                    <a:pt x="990" y="396"/>
                  </a:lnTo>
                  <a:lnTo>
                    <a:pt x="996" y="396"/>
                  </a:lnTo>
                  <a:lnTo>
                    <a:pt x="1002" y="396"/>
                  </a:lnTo>
                  <a:lnTo>
                    <a:pt x="1002" y="408"/>
                  </a:lnTo>
                  <a:lnTo>
                    <a:pt x="990" y="414"/>
                  </a:lnTo>
                  <a:lnTo>
                    <a:pt x="984" y="426"/>
                  </a:lnTo>
                  <a:lnTo>
                    <a:pt x="990" y="444"/>
                  </a:lnTo>
                  <a:lnTo>
                    <a:pt x="996" y="450"/>
                  </a:lnTo>
                  <a:lnTo>
                    <a:pt x="990" y="462"/>
                  </a:lnTo>
                  <a:lnTo>
                    <a:pt x="990" y="468"/>
                  </a:lnTo>
                  <a:lnTo>
                    <a:pt x="984" y="480"/>
                  </a:lnTo>
                  <a:lnTo>
                    <a:pt x="978" y="486"/>
                  </a:lnTo>
                  <a:lnTo>
                    <a:pt x="972" y="486"/>
                  </a:lnTo>
                  <a:lnTo>
                    <a:pt x="966" y="492"/>
                  </a:lnTo>
                  <a:lnTo>
                    <a:pt x="966" y="498"/>
                  </a:lnTo>
                  <a:lnTo>
                    <a:pt x="954" y="510"/>
                  </a:lnTo>
                  <a:lnTo>
                    <a:pt x="948" y="510"/>
                  </a:lnTo>
                  <a:lnTo>
                    <a:pt x="942" y="516"/>
                  </a:lnTo>
                  <a:lnTo>
                    <a:pt x="936" y="528"/>
                  </a:lnTo>
                  <a:lnTo>
                    <a:pt x="936" y="534"/>
                  </a:lnTo>
                  <a:lnTo>
                    <a:pt x="936" y="546"/>
                  </a:lnTo>
                  <a:lnTo>
                    <a:pt x="936" y="558"/>
                  </a:lnTo>
                  <a:lnTo>
                    <a:pt x="948" y="558"/>
                  </a:lnTo>
                  <a:lnTo>
                    <a:pt x="954" y="558"/>
                  </a:lnTo>
                  <a:lnTo>
                    <a:pt x="996" y="558"/>
                  </a:lnTo>
                  <a:lnTo>
                    <a:pt x="1002" y="570"/>
                  </a:lnTo>
                  <a:lnTo>
                    <a:pt x="996" y="576"/>
                  </a:lnTo>
                  <a:lnTo>
                    <a:pt x="996" y="588"/>
                  </a:lnTo>
                  <a:lnTo>
                    <a:pt x="984" y="588"/>
                  </a:lnTo>
                  <a:lnTo>
                    <a:pt x="990" y="612"/>
                  </a:lnTo>
                  <a:lnTo>
                    <a:pt x="1014" y="606"/>
                  </a:lnTo>
                  <a:lnTo>
                    <a:pt x="1014" y="636"/>
                  </a:lnTo>
                  <a:lnTo>
                    <a:pt x="1014" y="648"/>
                  </a:lnTo>
                  <a:lnTo>
                    <a:pt x="1020" y="648"/>
                  </a:lnTo>
                  <a:lnTo>
                    <a:pt x="1026" y="660"/>
                  </a:lnTo>
                  <a:lnTo>
                    <a:pt x="1038" y="654"/>
                  </a:lnTo>
                  <a:lnTo>
                    <a:pt x="1050" y="654"/>
                  </a:lnTo>
                  <a:lnTo>
                    <a:pt x="1062" y="654"/>
                  </a:lnTo>
                  <a:lnTo>
                    <a:pt x="1068" y="660"/>
                  </a:lnTo>
                  <a:lnTo>
                    <a:pt x="1068" y="678"/>
                  </a:lnTo>
                  <a:lnTo>
                    <a:pt x="1068" y="684"/>
                  </a:lnTo>
                  <a:lnTo>
                    <a:pt x="1062" y="690"/>
                  </a:lnTo>
                  <a:lnTo>
                    <a:pt x="1056" y="696"/>
                  </a:lnTo>
                  <a:lnTo>
                    <a:pt x="1056" y="702"/>
                  </a:lnTo>
                  <a:lnTo>
                    <a:pt x="1038" y="714"/>
                  </a:lnTo>
                  <a:lnTo>
                    <a:pt x="1026" y="720"/>
                  </a:lnTo>
                  <a:lnTo>
                    <a:pt x="1008" y="726"/>
                  </a:lnTo>
                  <a:lnTo>
                    <a:pt x="1008" y="732"/>
                  </a:lnTo>
                  <a:lnTo>
                    <a:pt x="990" y="732"/>
                  </a:lnTo>
                  <a:lnTo>
                    <a:pt x="984" y="744"/>
                  </a:lnTo>
                  <a:lnTo>
                    <a:pt x="990" y="750"/>
                  </a:lnTo>
                  <a:lnTo>
                    <a:pt x="984" y="762"/>
                  </a:lnTo>
                  <a:lnTo>
                    <a:pt x="984" y="768"/>
                  </a:lnTo>
                  <a:lnTo>
                    <a:pt x="984" y="774"/>
                  </a:lnTo>
                  <a:lnTo>
                    <a:pt x="984" y="780"/>
                  </a:lnTo>
                  <a:lnTo>
                    <a:pt x="984" y="786"/>
                  </a:lnTo>
                  <a:lnTo>
                    <a:pt x="984" y="792"/>
                  </a:lnTo>
                  <a:lnTo>
                    <a:pt x="978" y="798"/>
                  </a:lnTo>
                  <a:lnTo>
                    <a:pt x="978" y="80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3" name="Freeform 38">
              <a:extLst>
                <a:ext uri="{FF2B5EF4-FFF2-40B4-BE49-F238E27FC236}">
                  <a16:creationId xmlns:a16="http://schemas.microsoft.com/office/drawing/2014/main" id="{819B99CE-D972-4530-8964-A992C1EC87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2825" y="1634436"/>
              <a:ext cx="959326" cy="959458"/>
            </a:xfrm>
            <a:custGeom>
              <a:avLst/>
              <a:gdLst>
                <a:gd name="T0" fmla="*/ 105 w 1806"/>
                <a:gd name="T1" fmla="*/ 155 h 1806"/>
                <a:gd name="T2" fmla="*/ 103 w 1806"/>
                <a:gd name="T3" fmla="*/ 155 h 1806"/>
                <a:gd name="T4" fmla="*/ 103 w 1806"/>
                <a:gd name="T5" fmla="*/ 150 h 1806"/>
                <a:gd name="T6" fmla="*/ 104 w 1806"/>
                <a:gd name="T7" fmla="*/ 141 h 1806"/>
                <a:gd name="T8" fmla="*/ 104 w 1806"/>
                <a:gd name="T9" fmla="*/ 136 h 1806"/>
                <a:gd name="T10" fmla="*/ 100 w 1806"/>
                <a:gd name="T11" fmla="*/ 131 h 1806"/>
                <a:gd name="T12" fmla="*/ 96 w 1806"/>
                <a:gd name="T13" fmla="*/ 127 h 1806"/>
                <a:gd name="T14" fmla="*/ 91 w 1806"/>
                <a:gd name="T15" fmla="*/ 121 h 1806"/>
                <a:gd name="T16" fmla="*/ 87 w 1806"/>
                <a:gd name="T17" fmla="*/ 120 h 1806"/>
                <a:gd name="T18" fmla="*/ 81 w 1806"/>
                <a:gd name="T19" fmla="*/ 117 h 1806"/>
                <a:gd name="T20" fmla="*/ 65 w 1806"/>
                <a:gd name="T21" fmla="*/ 113 h 1806"/>
                <a:gd name="T22" fmla="*/ 69 w 1806"/>
                <a:gd name="T23" fmla="*/ 105 h 1806"/>
                <a:gd name="T24" fmla="*/ 66 w 1806"/>
                <a:gd name="T25" fmla="*/ 89 h 1806"/>
                <a:gd name="T26" fmla="*/ 63 w 1806"/>
                <a:gd name="T27" fmla="*/ 84 h 1806"/>
                <a:gd name="T28" fmla="*/ 62 w 1806"/>
                <a:gd name="T29" fmla="*/ 74 h 1806"/>
                <a:gd name="T30" fmla="*/ 58 w 1806"/>
                <a:gd name="T31" fmla="*/ 52 h 1806"/>
                <a:gd name="T32" fmla="*/ 53 w 1806"/>
                <a:gd name="T33" fmla="*/ 49 h 1806"/>
                <a:gd name="T34" fmla="*/ 51 w 1806"/>
                <a:gd name="T35" fmla="*/ 36 h 1806"/>
                <a:gd name="T36" fmla="*/ 43 w 1806"/>
                <a:gd name="T37" fmla="*/ 32 h 1806"/>
                <a:gd name="T38" fmla="*/ 33 w 1806"/>
                <a:gd name="T39" fmla="*/ 30 h 1806"/>
                <a:gd name="T40" fmla="*/ 30 w 1806"/>
                <a:gd name="T41" fmla="*/ 21 h 1806"/>
                <a:gd name="T42" fmla="*/ 17 w 1806"/>
                <a:gd name="T43" fmla="*/ 25 h 1806"/>
                <a:gd name="T44" fmla="*/ 4 w 1806"/>
                <a:gd name="T45" fmla="*/ 33 h 1806"/>
                <a:gd name="T46" fmla="*/ 7 w 1806"/>
                <a:gd name="T47" fmla="*/ 26 h 1806"/>
                <a:gd name="T48" fmla="*/ 11 w 1806"/>
                <a:gd name="T49" fmla="*/ 20 h 1806"/>
                <a:gd name="T50" fmla="*/ 18 w 1806"/>
                <a:gd name="T51" fmla="*/ 12 h 1806"/>
                <a:gd name="T52" fmla="*/ 26 w 1806"/>
                <a:gd name="T53" fmla="*/ 8 h 1806"/>
                <a:gd name="T54" fmla="*/ 35 w 1806"/>
                <a:gd name="T55" fmla="*/ 6 h 1806"/>
                <a:gd name="T56" fmla="*/ 44 w 1806"/>
                <a:gd name="T57" fmla="*/ 5 h 1806"/>
                <a:gd name="T58" fmla="*/ 54 w 1806"/>
                <a:gd name="T59" fmla="*/ 2 h 1806"/>
                <a:gd name="T60" fmla="*/ 65 w 1806"/>
                <a:gd name="T61" fmla="*/ 0 h 1806"/>
                <a:gd name="T62" fmla="*/ 76 w 1806"/>
                <a:gd name="T63" fmla="*/ 0 h 1806"/>
                <a:gd name="T64" fmla="*/ 85 w 1806"/>
                <a:gd name="T65" fmla="*/ 0 h 1806"/>
                <a:gd name="T66" fmla="*/ 97 w 1806"/>
                <a:gd name="T67" fmla="*/ 0 h 1806"/>
                <a:gd name="T68" fmla="*/ 108 w 1806"/>
                <a:gd name="T69" fmla="*/ 3 h 1806"/>
                <a:gd name="T70" fmla="*/ 115 w 1806"/>
                <a:gd name="T71" fmla="*/ 5 h 1806"/>
                <a:gd name="T72" fmla="*/ 123 w 1806"/>
                <a:gd name="T73" fmla="*/ 7 h 1806"/>
                <a:gd name="T74" fmla="*/ 133 w 1806"/>
                <a:gd name="T75" fmla="*/ 14 h 1806"/>
                <a:gd name="T76" fmla="*/ 138 w 1806"/>
                <a:gd name="T77" fmla="*/ 16 h 1806"/>
                <a:gd name="T78" fmla="*/ 140 w 1806"/>
                <a:gd name="T79" fmla="*/ 14 h 1806"/>
                <a:gd name="T80" fmla="*/ 145 w 1806"/>
                <a:gd name="T81" fmla="*/ 16 h 1806"/>
                <a:gd name="T82" fmla="*/ 147 w 1806"/>
                <a:gd name="T83" fmla="*/ 16 h 1806"/>
                <a:gd name="T84" fmla="*/ 150 w 1806"/>
                <a:gd name="T85" fmla="*/ 17 h 1806"/>
                <a:gd name="T86" fmla="*/ 152 w 1806"/>
                <a:gd name="T87" fmla="*/ 18 h 1806"/>
                <a:gd name="T88" fmla="*/ 155 w 1806"/>
                <a:gd name="T89" fmla="*/ 37 h 1806"/>
                <a:gd name="T90" fmla="*/ 146 w 1806"/>
                <a:gd name="T91" fmla="*/ 66 h 1806"/>
                <a:gd name="T92" fmla="*/ 143 w 1806"/>
                <a:gd name="T93" fmla="*/ 88 h 1806"/>
                <a:gd name="T94" fmla="*/ 144 w 1806"/>
                <a:gd name="T95" fmla="*/ 98 h 1806"/>
                <a:gd name="T96" fmla="*/ 137 w 1806"/>
                <a:gd name="T97" fmla="*/ 118 h 1806"/>
                <a:gd name="T98" fmla="*/ 132 w 1806"/>
                <a:gd name="T99" fmla="*/ 129 h 1806"/>
                <a:gd name="T100" fmla="*/ 124 w 1806"/>
                <a:gd name="T101" fmla="*/ 135 h 1806"/>
                <a:gd name="T102" fmla="*/ 119 w 1806"/>
                <a:gd name="T103" fmla="*/ 136 h 1806"/>
                <a:gd name="T104" fmla="*/ 116 w 1806"/>
                <a:gd name="T105" fmla="*/ 137 h 1806"/>
                <a:gd name="T106" fmla="*/ 112 w 1806"/>
                <a:gd name="T107" fmla="*/ 139 h 1806"/>
                <a:gd name="T108" fmla="*/ 112 w 1806"/>
                <a:gd name="T109" fmla="*/ 141 h 1806"/>
                <a:gd name="T110" fmla="*/ 116 w 1806"/>
                <a:gd name="T111" fmla="*/ 146 h 1806"/>
                <a:gd name="T112" fmla="*/ 116 w 1806"/>
                <a:gd name="T113" fmla="*/ 151 h 1806"/>
                <a:gd name="T114" fmla="*/ 113 w 1806"/>
                <a:gd name="T115" fmla="*/ 153 h 18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6"/>
                <a:gd name="T175" fmla="*/ 0 h 1806"/>
                <a:gd name="T176" fmla="*/ 1806 w 1806"/>
                <a:gd name="T177" fmla="*/ 1806 h 18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6" h="1806">
                  <a:moveTo>
                    <a:pt x="1260" y="1776"/>
                  </a:moveTo>
                  <a:lnTo>
                    <a:pt x="1254" y="1776"/>
                  </a:lnTo>
                  <a:lnTo>
                    <a:pt x="1248" y="1776"/>
                  </a:lnTo>
                  <a:lnTo>
                    <a:pt x="1242" y="1782"/>
                  </a:lnTo>
                  <a:lnTo>
                    <a:pt x="1236" y="1782"/>
                  </a:lnTo>
                  <a:lnTo>
                    <a:pt x="1230" y="1788"/>
                  </a:lnTo>
                  <a:lnTo>
                    <a:pt x="1224" y="1782"/>
                  </a:lnTo>
                  <a:lnTo>
                    <a:pt x="1218" y="1782"/>
                  </a:lnTo>
                  <a:lnTo>
                    <a:pt x="1218" y="1788"/>
                  </a:lnTo>
                  <a:lnTo>
                    <a:pt x="1212" y="1788"/>
                  </a:lnTo>
                  <a:lnTo>
                    <a:pt x="1206" y="1788"/>
                  </a:lnTo>
                  <a:lnTo>
                    <a:pt x="1206" y="1794"/>
                  </a:lnTo>
                  <a:lnTo>
                    <a:pt x="1200" y="1806"/>
                  </a:lnTo>
                  <a:lnTo>
                    <a:pt x="1194" y="1800"/>
                  </a:lnTo>
                  <a:lnTo>
                    <a:pt x="1194" y="1794"/>
                  </a:lnTo>
                  <a:lnTo>
                    <a:pt x="1194" y="1788"/>
                  </a:lnTo>
                  <a:lnTo>
                    <a:pt x="1188" y="1788"/>
                  </a:lnTo>
                  <a:lnTo>
                    <a:pt x="1188" y="1782"/>
                  </a:lnTo>
                  <a:lnTo>
                    <a:pt x="1188" y="1776"/>
                  </a:lnTo>
                  <a:lnTo>
                    <a:pt x="1194" y="1770"/>
                  </a:lnTo>
                  <a:lnTo>
                    <a:pt x="1194" y="1764"/>
                  </a:lnTo>
                  <a:lnTo>
                    <a:pt x="1194" y="1758"/>
                  </a:lnTo>
                  <a:lnTo>
                    <a:pt x="1194" y="1752"/>
                  </a:lnTo>
                  <a:lnTo>
                    <a:pt x="1200" y="1746"/>
                  </a:lnTo>
                  <a:lnTo>
                    <a:pt x="1200" y="1740"/>
                  </a:lnTo>
                  <a:lnTo>
                    <a:pt x="1200" y="1734"/>
                  </a:lnTo>
                  <a:lnTo>
                    <a:pt x="1188" y="1722"/>
                  </a:lnTo>
                  <a:lnTo>
                    <a:pt x="1188" y="1716"/>
                  </a:lnTo>
                  <a:lnTo>
                    <a:pt x="1194" y="1704"/>
                  </a:lnTo>
                  <a:lnTo>
                    <a:pt x="1194" y="1692"/>
                  </a:lnTo>
                  <a:lnTo>
                    <a:pt x="1200" y="1680"/>
                  </a:lnTo>
                  <a:lnTo>
                    <a:pt x="1200" y="1662"/>
                  </a:lnTo>
                  <a:lnTo>
                    <a:pt x="1200" y="1650"/>
                  </a:lnTo>
                  <a:lnTo>
                    <a:pt x="1206" y="1644"/>
                  </a:lnTo>
                  <a:lnTo>
                    <a:pt x="1206" y="1638"/>
                  </a:lnTo>
                  <a:lnTo>
                    <a:pt x="1206" y="1626"/>
                  </a:lnTo>
                  <a:lnTo>
                    <a:pt x="1206" y="1620"/>
                  </a:lnTo>
                  <a:lnTo>
                    <a:pt x="1206" y="1614"/>
                  </a:lnTo>
                  <a:lnTo>
                    <a:pt x="1200" y="1608"/>
                  </a:lnTo>
                  <a:lnTo>
                    <a:pt x="1200" y="1602"/>
                  </a:lnTo>
                  <a:lnTo>
                    <a:pt x="1200" y="1596"/>
                  </a:lnTo>
                  <a:lnTo>
                    <a:pt x="1200" y="1590"/>
                  </a:lnTo>
                  <a:lnTo>
                    <a:pt x="1200" y="1572"/>
                  </a:lnTo>
                  <a:lnTo>
                    <a:pt x="1200" y="1566"/>
                  </a:lnTo>
                  <a:lnTo>
                    <a:pt x="1200" y="1560"/>
                  </a:lnTo>
                  <a:lnTo>
                    <a:pt x="1194" y="1554"/>
                  </a:lnTo>
                  <a:lnTo>
                    <a:pt x="1188" y="1548"/>
                  </a:lnTo>
                  <a:lnTo>
                    <a:pt x="1188" y="1542"/>
                  </a:lnTo>
                  <a:lnTo>
                    <a:pt x="1176" y="1536"/>
                  </a:lnTo>
                  <a:lnTo>
                    <a:pt x="1176" y="1530"/>
                  </a:lnTo>
                  <a:lnTo>
                    <a:pt x="1170" y="1524"/>
                  </a:lnTo>
                  <a:lnTo>
                    <a:pt x="1170" y="1518"/>
                  </a:lnTo>
                  <a:lnTo>
                    <a:pt x="1164" y="1512"/>
                  </a:lnTo>
                  <a:lnTo>
                    <a:pt x="1158" y="1506"/>
                  </a:lnTo>
                  <a:lnTo>
                    <a:pt x="1152" y="1500"/>
                  </a:lnTo>
                  <a:lnTo>
                    <a:pt x="1146" y="1494"/>
                  </a:lnTo>
                  <a:lnTo>
                    <a:pt x="1140" y="1488"/>
                  </a:lnTo>
                  <a:lnTo>
                    <a:pt x="1134" y="1482"/>
                  </a:lnTo>
                  <a:lnTo>
                    <a:pt x="1128" y="1476"/>
                  </a:lnTo>
                  <a:lnTo>
                    <a:pt x="1122" y="1470"/>
                  </a:lnTo>
                  <a:lnTo>
                    <a:pt x="1116" y="1464"/>
                  </a:lnTo>
                  <a:lnTo>
                    <a:pt x="1110" y="1464"/>
                  </a:lnTo>
                  <a:lnTo>
                    <a:pt x="1104" y="1458"/>
                  </a:lnTo>
                  <a:lnTo>
                    <a:pt x="1098" y="1464"/>
                  </a:lnTo>
                  <a:lnTo>
                    <a:pt x="1092" y="1464"/>
                  </a:lnTo>
                  <a:lnTo>
                    <a:pt x="1086" y="1446"/>
                  </a:lnTo>
                  <a:lnTo>
                    <a:pt x="1086" y="1440"/>
                  </a:lnTo>
                  <a:lnTo>
                    <a:pt x="1080" y="1416"/>
                  </a:lnTo>
                  <a:lnTo>
                    <a:pt x="1068" y="1404"/>
                  </a:lnTo>
                  <a:lnTo>
                    <a:pt x="1062" y="1398"/>
                  </a:lnTo>
                  <a:lnTo>
                    <a:pt x="1056" y="1398"/>
                  </a:lnTo>
                  <a:lnTo>
                    <a:pt x="1050" y="1398"/>
                  </a:lnTo>
                  <a:lnTo>
                    <a:pt x="1044" y="1398"/>
                  </a:lnTo>
                  <a:lnTo>
                    <a:pt x="1044" y="1392"/>
                  </a:lnTo>
                  <a:lnTo>
                    <a:pt x="1038" y="1392"/>
                  </a:lnTo>
                  <a:lnTo>
                    <a:pt x="1032" y="1392"/>
                  </a:lnTo>
                  <a:lnTo>
                    <a:pt x="1020" y="1386"/>
                  </a:lnTo>
                  <a:lnTo>
                    <a:pt x="1014" y="1386"/>
                  </a:lnTo>
                  <a:lnTo>
                    <a:pt x="1014" y="1380"/>
                  </a:lnTo>
                  <a:lnTo>
                    <a:pt x="1008" y="1380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62"/>
                  </a:lnTo>
                  <a:lnTo>
                    <a:pt x="984" y="1356"/>
                  </a:lnTo>
                  <a:lnTo>
                    <a:pt x="978" y="1356"/>
                  </a:lnTo>
                  <a:lnTo>
                    <a:pt x="972" y="1356"/>
                  </a:lnTo>
                  <a:lnTo>
                    <a:pt x="966" y="1356"/>
                  </a:lnTo>
                  <a:lnTo>
                    <a:pt x="966" y="1350"/>
                  </a:lnTo>
                  <a:lnTo>
                    <a:pt x="948" y="1350"/>
                  </a:lnTo>
                  <a:lnTo>
                    <a:pt x="936" y="1344"/>
                  </a:lnTo>
                  <a:lnTo>
                    <a:pt x="930" y="1338"/>
                  </a:lnTo>
                  <a:lnTo>
                    <a:pt x="918" y="1332"/>
                  </a:lnTo>
                  <a:lnTo>
                    <a:pt x="900" y="1326"/>
                  </a:lnTo>
                  <a:lnTo>
                    <a:pt x="864" y="1332"/>
                  </a:lnTo>
                  <a:lnTo>
                    <a:pt x="828" y="1332"/>
                  </a:lnTo>
                  <a:lnTo>
                    <a:pt x="792" y="1314"/>
                  </a:lnTo>
                  <a:lnTo>
                    <a:pt x="780" y="1314"/>
                  </a:lnTo>
                  <a:lnTo>
                    <a:pt x="780" y="1308"/>
                  </a:lnTo>
                  <a:lnTo>
                    <a:pt x="756" y="1296"/>
                  </a:lnTo>
                  <a:lnTo>
                    <a:pt x="756" y="1278"/>
                  </a:lnTo>
                  <a:lnTo>
                    <a:pt x="768" y="1278"/>
                  </a:lnTo>
                  <a:lnTo>
                    <a:pt x="774" y="1272"/>
                  </a:lnTo>
                  <a:lnTo>
                    <a:pt x="780" y="1266"/>
                  </a:lnTo>
                  <a:lnTo>
                    <a:pt x="786" y="1260"/>
                  </a:lnTo>
                  <a:lnTo>
                    <a:pt x="792" y="1254"/>
                  </a:lnTo>
                  <a:lnTo>
                    <a:pt x="798" y="1242"/>
                  </a:lnTo>
                  <a:lnTo>
                    <a:pt x="804" y="1242"/>
                  </a:lnTo>
                  <a:lnTo>
                    <a:pt x="804" y="1206"/>
                  </a:lnTo>
                  <a:lnTo>
                    <a:pt x="804" y="1182"/>
                  </a:lnTo>
                  <a:lnTo>
                    <a:pt x="804" y="1158"/>
                  </a:lnTo>
                  <a:lnTo>
                    <a:pt x="804" y="1134"/>
                  </a:lnTo>
                  <a:lnTo>
                    <a:pt x="798" y="1116"/>
                  </a:lnTo>
                  <a:lnTo>
                    <a:pt x="792" y="1092"/>
                  </a:lnTo>
                  <a:lnTo>
                    <a:pt x="786" y="1062"/>
                  </a:lnTo>
                  <a:lnTo>
                    <a:pt x="768" y="1032"/>
                  </a:lnTo>
                  <a:lnTo>
                    <a:pt x="762" y="1032"/>
                  </a:lnTo>
                  <a:lnTo>
                    <a:pt x="762" y="1020"/>
                  </a:lnTo>
                  <a:lnTo>
                    <a:pt x="762" y="1014"/>
                  </a:lnTo>
                  <a:lnTo>
                    <a:pt x="756" y="1008"/>
                  </a:lnTo>
                  <a:lnTo>
                    <a:pt x="750" y="1002"/>
                  </a:lnTo>
                  <a:lnTo>
                    <a:pt x="738" y="1002"/>
                  </a:lnTo>
                  <a:lnTo>
                    <a:pt x="738" y="990"/>
                  </a:lnTo>
                  <a:lnTo>
                    <a:pt x="726" y="990"/>
                  </a:lnTo>
                  <a:lnTo>
                    <a:pt x="726" y="978"/>
                  </a:lnTo>
                  <a:lnTo>
                    <a:pt x="732" y="972"/>
                  </a:lnTo>
                  <a:lnTo>
                    <a:pt x="732" y="966"/>
                  </a:lnTo>
                  <a:lnTo>
                    <a:pt x="726" y="966"/>
                  </a:lnTo>
                  <a:lnTo>
                    <a:pt x="732" y="948"/>
                  </a:lnTo>
                  <a:lnTo>
                    <a:pt x="726" y="942"/>
                  </a:lnTo>
                  <a:lnTo>
                    <a:pt x="726" y="930"/>
                  </a:lnTo>
                  <a:lnTo>
                    <a:pt x="720" y="924"/>
                  </a:lnTo>
                  <a:lnTo>
                    <a:pt x="714" y="912"/>
                  </a:lnTo>
                  <a:lnTo>
                    <a:pt x="714" y="882"/>
                  </a:lnTo>
                  <a:lnTo>
                    <a:pt x="714" y="870"/>
                  </a:lnTo>
                  <a:lnTo>
                    <a:pt x="714" y="858"/>
                  </a:lnTo>
                  <a:lnTo>
                    <a:pt x="714" y="846"/>
                  </a:lnTo>
                  <a:lnTo>
                    <a:pt x="708" y="822"/>
                  </a:lnTo>
                  <a:lnTo>
                    <a:pt x="702" y="798"/>
                  </a:lnTo>
                  <a:lnTo>
                    <a:pt x="696" y="792"/>
                  </a:lnTo>
                  <a:lnTo>
                    <a:pt x="684" y="726"/>
                  </a:lnTo>
                  <a:lnTo>
                    <a:pt x="678" y="666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66" y="600"/>
                  </a:lnTo>
                  <a:lnTo>
                    <a:pt x="660" y="594"/>
                  </a:lnTo>
                  <a:lnTo>
                    <a:pt x="654" y="594"/>
                  </a:lnTo>
                  <a:lnTo>
                    <a:pt x="636" y="582"/>
                  </a:lnTo>
                  <a:lnTo>
                    <a:pt x="630" y="576"/>
                  </a:lnTo>
                  <a:lnTo>
                    <a:pt x="624" y="576"/>
                  </a:lnTo>
                  <a:lnTo>
                    <a:pt x="618" y="570"/>
                  </a:lnTo>
                  <a:lnTo>
                    <a:pt x="612" y="564"/>
                  </a:lnTo>
                  <a:lnTo>
                    <a:pt x="606" y="558"/>
                  </a:lnTo>
                  <a:lnTo>
                    <a:pt x="606" y="564"/>
                  </a:lnTo>
                  <a:lnTo>
                    <a:pt x="600" y="564"/>
                  </a:lnTo>
                  <a:lnTo>
                    <a:pt x="594" y="558"/>
                  </a:lnTo>
                  <a:lnTo>
                    <a:pt x="594" y="540"/>
                  </a:lnTo>
                  <a:lnTo>
                    <a:pt x="594" y="528"/>
                  </a:lnTo>
                  <a:lnTo>
                    <a:pt x="594" y="516"/>
                  </a:lnTo>
                  <a:lnTo>
                    <a:pt x="594" y="510"/>
                  </a:lnTo>
                  <a:lnTo>
                    <a:pt x="594" y="492"/>
                  </a:lnTo>
                  <a:lnTo>
                    <a:pt x="594" y="456"/>
                  </a:lnTo>
                  <a:lnTo>
                    <a:pt x="588" y="414"/>
                  </a:lnTo>
                  <a:lnTo>
                    <a:pt x="588" y="408"/>
                  </a:lnTo>
                  <a:lnTo>
                    <a:pt x="582" y="396"/>
                  </a:lnTo>
                  <a:lnTo>
                    <a:pt x="582" y="384"/>
                  </a:lnTo>
                  <a:lnTo>
                    <a:pt x="582" y="372"/>
                  </a:lnTo>
                  <a:lnTo>
                    <a:pt x="564" y="372"/>
                  </a:lnTo>
                  <a:lnTo>
                    <a:pt x="552" y="366"/>
                  </a:lnTo>
                  <a:lnTo>
                    <a:pt x="552" y="372"/>
                  </a:lnTo>
                  <a:lnTo>
                    <a:pt x="498" y="372"/>
                  </a:lnTo>
                  <a:lnTo>
                    <a:pt x="498" y="366"/>
                  </a:lnTo>
                  <a:lnTo>
                    <a:pt x="474" y="360"/>
                  </a:lnTo>
                  <a:lnTo>
                    <a:pt x="456" y="354"/>
                  </a:lnTo>
                  <a:lnTo>
                    <a:pt x="438" y="348"/>
                  </a:lnTo>
                  <a:lnTo>
                    <a:pt x="426" y="354"/>
                  </a:lnTo>
                  <a:lnTo>
                    <a:pt x="408" y="360"/>
                  </a:lnTo>
                  <a:lnTo>
                    <a:pt x="378" y="360"/>
                  </a:lnTo>
                  <a:lnTo>
                    <a:pt x="378" y="354"/>
                  </a:lnTo>
                  <a:lnTo>
                    <a:pt x="378" y="348"/>
                  </a:lnTo>
                  <a:lnTo>
                    <a:pt x="378" y="342"/>
                  </a:lnTo>
                  <a:lnTo>
                    <a:pt x="390" y="330"/>
                  </a:lnTo>
                  <a:lnTo>
                    <a:pt x="396" y="312"/>
                  </a:lnTo>
                  <a:lnTo>
                    <a:pt x="396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8"/>
                  </a:lnTo>
                  <a:lnTo>
                    <a:pt x="372" y="234"/>
                  </a:lnTo>
                  <a:lnTo>
                    <a:pt x="354" y="234"/>
                  </a:lnTo>
                  <a:lnTo>
                    <a:pt x="342" y="246"/>
                  </a:lnTo>
                  <a:lnTo>
                    <a:pt x="330" y="252"/>
                  </a:lnTo>
                  <a:lnTo>
                    <a:pt x="318" y="252"/>
                  </a:lnTo>
                  <a:lnTo>
                    <a:pt x="276" y="258"/>
                  </a:lnTo>
                  <a:lnTo>
                    <a:pt x="276" y="264"/>
                  </a:lnTo>
                  <a:lnTo>
                    <a:pt x="252" y="270"/>
                  </a:lnTo>
                  <a:lnTo>
                    <a:pt x="240" y="270"/>
                  </a:lnTo>
                  <a:lnTo>
                    <a:pt x="228" y="276"/>
                  </a:lnTo>
                  <a:lnTo>
                    <a:pt x="210" y="282"/>
                  </a:lnTo>
                  <a:lnTo>
                    <a:pt x="198" y="288"/>
                  </a:lnTo>
                  <a:lnTo>
                    <a:pt x="186" y="294"/>
                  </a:lnTo>
                  <a:lnTo>
                    <a:pt x="174" y="330"/>
                  </a:lnTo>
                  <a:lnTo>
                    <a:pt x="162" y="342"/>
                  </a:lnTo>
                  <a:lnTo>
                    <a:pt x="156" y="354"/>
                  </a:lnTo>
                  <a:lnTo>
                    <a:pt x="150" y="360"/>
                  </a:lnTo>
                  <a:lnTo>
                    <a:pt x="150" y="366"/>
                  </a:lnTo>
                  <a:lnTo>
                    <a:pt x="108" y="372"/>
                  </a:lnTo>
                  <a:lnTo>
                    <a:pt x="60" y="378"/>
                  </a:lnTo>
                  <a:lnTo>
                    <a:pt x="42" y="378"/>
                  </a:lnTo>
                  <a:lnTo>
                    <a:pt x="12" y="378"/>
                  </a:lnTo>
                  <a:lnTo>
                    <a:pt x="6" y="378"/>
                  </a:lnTo>
                  <a:lnTo>
                    <a:pt x="0" y="366"/>
                  </a:lnTo>
                  <a:lnTo>
                    <a:pt x="12" y="360"/>
                  </a:lnTo>
                  <a:lnTo>
                    <a:pt x="24" y="348"/>
                  </a:lnTo>
                  <a:lnTo>
                    <a:pt x="30" y="342"/>
                  </a:lnTo>
                  <a:lnTo>
                    <a:pt x="36" y="330"/>
                  </a:lnTo>
                  <a:lnTo>
                    <a:pt x="72" y="300"/>
                  </a:lnTo>
                  <a:lnTo>
                    <a:pt x="78" y="294"/>
                  </a:lnTo>
                  <a:lnTo>
                    <a:pt x="78" y="288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96" y="270"/>
                  </a:lnTo>
                  <a:lnTo>
                    <a:pt x="102" y="264"/>
                  </a:lnTo>
                  <a:lnTo>
                    <a:pt x="108" y="258"/>
                  </a:lnTo>
                  <a:lnTo>
                    <a:pt x="114" y="246"/>
                  </a:lnTo>
                  <a:lnTo>
                    <a:pt x="120" y="240"/>
                  </a:lnTo>
                  <a:lnTo>
                    <a:pt x="126" y="234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0" y="210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86" y="174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22" y="138"/>
                  </a:lnTo>
                  <a:lnTo>
                    <a:pt x="234" y="132"/>
                  </a:lnTo>
                  <a:lnTo>
                    <a:pt x="246" y="126"/>
                  </a:lnTo>
                  <a:lnTo>
                    <a:pt x="246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88" y="102"/>
                  </a:lnTo>
                  <a:lnTo>
                    <a:pt x="300" y="96"/>
                  </a:lnTo>
                  <a:lnTo>
                    <a:pt x="306" y="90"/>
                  </a:lnTo>
                  <a:lnTo>
                    <a:pt x="318" y="90"/>
                  </a:lnTo>
                  <a:lnTo>
                    <a:pt x="324" y="84"/>
                  </a:lnTo>
                  <a:lnTo>
                    <a:pt x="348" y="72"/>
                  </a:lnTo>
                  <a:lnTo>
                    <a:pt x="354" y="72"/>
                  </a:lnTo>
                  <a:lnTo>
                    <a:pt x="384" y="66"/>
                  </a:lnTo>
                  <a:lnTo>
                    <a:pt x="390" y="66"/>
                  </a:lnTo>
                  <a:lnTo>
                    <a:pt x="396" y="66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66"/>
                  </a:lnTo>
                  <a:lnTo>
                    <a:pt x="438" y="66"/>
                  </a:lnTo>
                  <a:lnTo>
                    <a:pt x="468" y="66"/>
                  </a:lnTo>
                  <a:lnTo>
                    <a:pt x="480" y="66"/>
                  </a:lnTo>
                  <a:lnTo>
                    <a:pt x="486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22" y="60"/>
                  </a:lnTo>
                  <a:lnTo>
                    <a:pt x="534" y="54"/>
                  </a:lnTo>
                  <a:lnTo>
                    <a:pt x="564" y="42"/>
                  </a:lnTo>
                  <a:lnTo>
                    <a:pt x="570" y="42"/>
                  </a:lnTo>
                  <a:lnTo>
                    <a:pt x="582" y="36"/>
                  </a:lnTo>
                  <a:lnTo>
                    <a:pt x="588" y="36"/>
                  </a:lnTo>
                  <a:lnTo>
                    <a:pt x="600" y="30"/>
                  </a:lnTo>
                  <a:lnTo>
                    <a:pt x="606" y="30"/>
                  </a:lnTo>
                  <a:lnTo>
                    <a:pt x="618" y="24"/>
                  </a:lnTo>
                  <a:lnTo>
                    <a:pt x="642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72" y="12"/>
                  </a:lnTo>
                  <a:lnTo>
                    <a:pt x="696" y="12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50" y="6"/>
                  </a:lnTo>
                  <a:lnTo>
                    <a:pt x="768" y="6"/>
                  </a:lnTo>
                  <a:lnTo>
                    <a:pt x="774" y="6"/>
                  </a:lnTo>
                  <a:lnTo>
                    <a:pt x="786" y="6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6" y="6"/>
                  </a:lnTo>
                  <a:lnTo>
                    <a:pt x="846" y="6"/>
                  </a:lnTo>
                  <a:lnTo>
                    <a:pt x="852" y="0"/>
                  </a:lnTo>
                  <a:lnTo>
                    <a:pt x="876" y="0"/>
                  </a:lnTo>
                  <a:lnTo>
                    <a:pt x="876" y="6"/>
                  </a:lnTo>
                  <a:lnTo>
                    <a:pt x="888" y="0"/>
                  </a:lnTo>
                  <a:lnTo>
                    <a:pt x="900" y="0"/>
                  </a:lnTo>
                  <a:lnTo>
                    <a:pt x="906" y="0"/>
                  </a:lnTo>
                  <a:lnTo>
                    <a:pt x="912" y="0"/>
                  </a:lnTo>
                  <a:lnTo>
                    <a:pt x="948" y="0"/>
                  </a:lnTo>
                  <a:lnTo>
                    <a:pt x="954" y="0"/>
                  </a:lnTo>
                  <a:lnTo>
                    <a:pt x="972" y="0"/>
                  </a:lnTo>
                  <a:lnTo>
                    <a:pt x="978" y="0"/>
                  </a:lnTo>
                  <a:lnTo>
                    <a:pt x="996" y="0"/>
                  </a:lnTo>
                  <a:lnTo>
                    <a:pt x="1032" y="0"/>
                  </a:lnTo>
                  <a:lnTo>
                    <a:pt x="1044" y="0"/>
                  </a:lnTo>
                  <a:lnTo>
                    <a:pt x="1050" y="0"/>
                  </a:lnTo>
                  <a:lnTo>
                    <a:pt x="1056" y="6"/>
                  </a:lnTo>
                  <a:lnTo>
                    <a:pt x="1056" y="0"/>
                  </a:lnTo>
                  <a:lnTo>
                    <a:pt x="1074" y="0"/>
                  </a:lnTo>
                  <a:lnTo>
                    <a:pt x="1098" y="6"/>
                  </a:lnTo>
                  <a:lnTo>
                    <a:pt x="1116" y="6"/>
                  </a:lnTo>
                  <a:lnTo>
                    <a:pt x="1140" y="12"/>
                  </a:lnTo>
                  <a:lnTo>
                    <a:pt x="1152" y="12"/>
                  </a:lnTo>
                  <a:lnTo>
                    <a:pt x="1158" y="12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6" y="12"/>
                  </a:lnTo>
                  <a:lnTo>
                    <a:pt x="1194" y="18"/>
                  </a:lnTo>
                  <a:lnTo>
                    <a:pt x="1206" y="18"/>
                  </a:lnTo>
                  <a:lnTo>
                    <a:pt x="1242" y="36"/>
                  </a:lnTo>
                  <a:lnTo>
                    <a:pt x="1248" y="36"/>
                  </a:lnTo>
                  <a:lnTo>
                    <a:pt x="1254" y="36"/>
                  </a:lnTo>
                  <a:lnTo>
                    <a:pt x="1260" y="42"/>
                  </a:lnTo>
                  <a:lnTo>
                    <a:pt x="1272" y="48"/>
                  </a:lnTo>
                  <a:lnTo>
                    <a:pt x="1278" y="48"/>
                  </a:lnTo>
                  <a:lnTo>
                    <a:pt x="1284" y="48"/>
                  </a:lnTo>
                  <a:lnTo>
                    <a:pt x="1290" y="54"/>
                  </a:lnTo>
                  <a:lnTo>
                    <a:pt x="1308" y="60"/>
                  </a:lnTo>
                  <a:lnTo>
                    <a:pt x="1326" y="60"/>
                  </a:lnTo>
                  <a:lnTo>
                    <a:pt x="1338" y="66"/>
                  </a:lnTo>
                  <a:lnTo>
                    <a:pt x="1344" y="66"/>
                  </a:lnTo>
                  <a:lnTo>
                    <a:pt x="1350" y="66"/>
                  </a:lnTo>
                  <a:lnTo>
                    <a:pt x="1356" y="66"/>
                  </a:lnTo>
                  <a:lnTo>
                    <a:pt x="1362" y="72"/>
                  </a:lnTo>
                  <a:lnTo>
                    <a:pt x="1368" y="72"/>
                  </a:lnTo>
                  <a:lnTo>
                    <a:pt x="1380" y="72"/>
                  </a:lnTo>
                  <a:lnTo>
                    <a:pt x="1386" y="72"/>
                  </a:lnTo>
                  <a:lnTo>
                    <a:pt x="1422" y="84"/>
                  </a:lnTo>
                  <a:lnTo>
                    <a:pt x="1428" y="84"/>
                  </a:lnTo>
                  <a:lnTo>
                    <a:pt x="1446" y="90"/>
                  </a:lnTo>
                  <a:lnTo>
                    <a:pt x="1458" y="102"/>
                  </a:lnTo>
                  <a:lnTo>
                    <a:pt x="1494" y="126"/>
                  </a:lnTo>
                  <a:lnTo>
                    <a:pt x="1500" y="132"/>
                  </a:lnTo>
                  <a:lnTo>
                    <a:pt x="1512" y="138"/>
                  </a:lnTo>
                  <a:lnTo>
                    <a:pt x="1512" y="144"/>
                  </a:lnTo>
                  <a:lnTo>
                    <a:pt x="1518" y="150"/>
                  </a:lnTo>
                  <a:lnTo>
                    <a:pt x="1530" y="156"/>
                  </a:lnTo>
                  <a:lnTo>
                    <a:pt x="1530" y="162"/>
                  </a:lnTo>
                  <a:lnTo>
                    <a:pt x="1548" y="168"/>
                  </a:lnTo>
                  <a:lnTo>
                    <a:pt x="1566" y="180"/>
                  </a:lnTo>
                  <a:lnTo>
                    <a:pt x="1578" y="186"/>
                  </a:lnTo>
                  <a:lnTo>
                    <a:pt x="1578" y="180"/>
                  </a:lnTo>
                  <a:lnTo>
                    <a:pt x="1584" y="186"/>
                  </a:lnTo>
                  <a:lnTo>
                    <a:pt x="1584" y="174"/>
                  </a:lnTo>
                  <a:lnTo>
                    <a:pt x="1590" y="174"/>
                  </a:lnTo>
                  <a:lnTo>
                    <a:pt x="1590" y="180"/>
                  </a:lnTo>
                  <a:lnTo>
                    <a:pt x="1596" y="180"/>
                  </a:lnTo>
                  <a:lnTo>
                    <a:pt x="1596" y="174"/>
                  </a:lnTo>
                  <a:lnTo>
                    <a:pt x="1602" y="174"/>
                  </a:lnTo>
                  <a:lnTo>
                    <a:pt x="1608" y="174"/>
                  </a:lnTo>
                  <a:lnTo>
                    <a:pt x="1614" y="180"/>
                  </a:lnTo>
                  <a:lnTo>
                    <a:pt x="1620" y="174"/>
                  </a:lnTo>
                  <a:lnTo>
                    <a:pt x="1614" y="168"/>
                  </a:lnTo>
                  <a:lnTo>
                    <a:pt x="1614" y="162"/>
                  </a:lnTo>
                  <a:lnTo>
                    <a:pt x="1620" y="162"/>
                  </a:lnTo>
                  <a:lnTo>
                    <a:pt x="1626" y="162"/>
                  </a:lnTo>
                  <a:lnTo>
                    <a:pt x="1632" y="162"/>
                  </a:lnTo>
                  <a:lnTo>
                    <a:pt x="1638" y="168"/>
                  </a:lnTo>
                  <a:lnTo>
                    <a:pt x="1644" y="168"/>
                  </a:lnTo>
                  <a:lnTo>
                    <a:pt x="1650" y="174"/>
                  </a:lnTo>
                  <a:lnTo>
                    <a:pt x="1656" y="168"/>
                  </a:lnTo>
                  <a:lnTo>
                    <a:pt x="1668" y="168"/>
                  </a:lnTo>
                  <a:lnTo>
                    <a:pt x="1674" y="174"/>
                  </a:lnTo>
                  <a:lnTo>
                    <a:pt x="1674" y="180"/>
                  </a:lnTo>
                  <a:lnTo>
                    <a:pt x="1674" y="186"/>
                  </a:lnTo>
                  <a:lnTo>
                    <a:pt x="1680" y="186"/>
                  </a:lnTo>
                  <a:lnTo>
                    <a:pt x="1680" y="192"/>
                  </a:lnTo>
                  <a:lnTo>
                    <a:pt x="1686" y="192"/>
                  </a:lnTo>
                  <a:lnTo>
                    <a:pt x="1686" y="186"/>
                  </a:lnTo>
                  <a:lnTo>
                    <a:pt x="1680" y="186"/>
                  </a:lnTo>
                  <a:lnTo>
                    <a:pt x="1686" y="180"/>
                  </a:lnTo>
                  <a:lnTo>
                    <a:pt x="1692" y="180"/>
                  </a:lnTo>
                  <a:lnTo>
                    <a:pt x="1698" y="180"/>
                  </a:lnTo>
                  <a:lnTo>
                    <a:pt x="1704" y="180"/>
                  </a:lnTo>
                  <a:lnTo>
                    <a:pt x="1704" y="186"/>
                  </a:lnTo>
                  <a:lnTo>
                    <a:pt x="1710" y="186"/>
                  </a:lnTo>
                  <a:lnTo>
                    <a:pt x="1716" y="186"/>
                  </a:lnTo>
                  <a:lnTo>
                    <a:pt x="1716" y="192"/>
                  </a:lnTo>
                  <a:lnTo>
                    <a:pt x="1716" y="198"/>
                  </a:lnTo>
                  <a:lnTo>
                    <a:pt x="1722" y="192"/>
                  </a:lnTo>
                  <a:lnTo>
                    <a:pt x="1722" y="186"/>
                  </a:lnTo>
                  <a:lnTo>
                    <a:pt x="1728" y="192"/>
                  </a:lnTo>
                  <a:lnTo>
                    <a:pt x="1734" y="192"/>
                  </a:lnTo>
                  <a:lnTo>
                    <a:pt x="1734" y="186"/>
                  </a:lnTo>
                  <a:lnTo>
                    <a:pt x="1740" y="186"/>
                  </a:lnTo>
                  <a:lnTo>
                    <a:pt x="1740" y="192"/>
                  </a:lnTo>
                  <a:lnTo>
                    <a:pt x="1746" y="192"/>
                  </a:lnTo>
                  <a:lnTo>
                    <a:pt x="1758" y="192"/>
                  </a:lnTo>
                  <a:lnTo>
                    <a:pt x="1764" y="192"/>
                  </a:lnTo>
                  <a:lnTo>
                    <a:pt x="1764" y="198"/>
                  </a:lnTo>
                  <a:lnTo>
                    <a:pt x="1758" y="204"/>
                  </a:lnTo>
                  <a:lnTo>
                    <a:pt x="1752" y="210"/>
                  </a:lnTo>
                  <a:lnTo>
                    <a:pt x="1746" y="216"/>
                  </a:lnTo>
                  <a:lnTo>
                    <a:pt x="1746" y="222"/>
                  </a:lnTo>
                  <a:lnTo>
                    <a:pt x="1734" y="228"/>
                  </a:lnTo>
                  <a:lnTo>
                    <a:pt x="1734" y="234"/>
                  </a:lnTo>
                  <a:lnTo>
                    <a:pt x="1734" y="258"/>
                  </a:lnTo>
                  <a:lnTo>
                    <a:pt x="1740" y="330"/>
                  </a:lnTo>
                  <a:lnTo>
                    <a:pt x="1746" y="372"/>
                  </a:lnTo>
                  <a:lnTo>
                    <a:pt x="1788" y="426"/>
                  </a:lnTo>
                  <a:lnTo>
                    <a:pt x="1806" y="438"/>
                  </a:lnTo>
                  <a:lnTo>
                    <a:pt x="1794" y="480"/>
                  </a:lnTo>
                  <a:lnTo>
                    <a:pt x="1770" y="516"/>
                  </a:lnTo>
                  <a:lnTo>
                    <a:pt x="1746" y="546"/>
                  </a:lnTo>
                  <a:lnTo>
                    <a:pt x="1716" y="570"/>
                  </a:lnTo>
                  <a:lnTo>
                    <a:pt x="1680" y="594"/>
                  </a:lnTo>
                  <a:lnTo>
                    <a:pt x="1668" y="630"/>
                  </a:lnTo>
                  <a:lnTo>
                    <a:pt x="1680" y="684"/>
                  </a:lnTo>
                  <a:lnTo>
                    <a:pt x="1686" y="756"/>
                  </a:lnTo>
                  <a:lnTo>
                    <a:pt x="1662" y="870"/>
                  </a:lnTo>
                  <a:lnTo>
                    <a:pt x="1656" y="888"/>
                  </a:lnTo>
                  <a:lnTo>
                    <a:pt x="1650" y="972"/>
                  </a:lnTo>
                  <a:lnTo>
                    <a:pt x="1656" y="978"/>
                  </a:lnTo>
                  <a:lnTo>
                    <a:pt x="1650" y="984"/>
                  </a:lnTo>
                  <a:lnTo>
                    <a:pt x="1650" y="990"/>
                  </a:lnTo>
                  <a:lnTo>
                    <a:pt x="1650" y="1002"/>
                  </a:lnTo>
                  <a:lnTo>
                    <a:pt x="1656" y="1008"/>
                  </a:lnTo>
                  <a:lnTo>
                    <a:pt x="1656" y="1014"/>
                  </a:lnTo>
                  <a:lnTo>
                    <a:pt x="1662" y="1026"/>
                  </a:lnTo>
                  <a:lnTo>
                    <a:pt x="1650" y="1032"/>
                  </a:lnTo>
                  <a:lnTo>
                    <a:pt x="1638" y="1044"/>
                  </a:lnTo>
                  <a:lnTo>
                    <a:pt x="1626" y="1080"/>
                  </a:lnTo>
                  <a:lnTo>
                    <a:pt x="1614" y="1116"/>
                  </a:lnTo>
                  <a:lnTo>
                    <a:pt x="1614" y="1128"/>
                  </a:lnTo>
                  <a:lnTo>
                    <a:pt x="1626" y="1134"/>
                  </a:lnTo>
                  <a:lnTo>
                    <a:pt x="1644" y="1134"/>
                  </a:lnTo>
                  <a:lnTo>
                    <a:pt x="1662" y="1134"/>
                  </a:lnTo>
                  <a:lnTo>
                    <a:pt x="1680" y="1140"/>
                  </a:lnTo>
                  <a:lnTo>
                    <a:pt x="1698" y="1170"/>
                  </a:lnTo>
                  <a:lnTo>
                    <a:pt x="1704" y="1194"/>
                  </a:lnTo>
                  <a:lnTo>
                    <a:pt x="1692" y="1206"/>
                  </a:lnTo>
                  <a:lnTo>
                    <a:pt x="1662" y="1242"/>
                  </a:lnTo>
                  <a:lnTo>
                    <a:pt x="1632" y="1266"/>
                  </a:lnTo>
                  <a:lnTo>
                    <a:pt x="1620" y="1314"/>
                  </a:lnTo>
                  <a:lnTo>
                    <a:pt x="1584" y="1356"/>
                  </a:lnTo>
                  <a:lnTo>
                    <a:pt x="1578" y="1356"/>
                  </a:lnTo>
                  <a:lnTo>
                    <a:pt x="1578" y="1362"/>
                  </a:lnTo>
                  <a:lnTo>
                    <a:pt x="1572" y="1410"/>
                  </a:lnTo>
                  <a:lnTo>
                    <a:pt x="1584" y="1452"/>
                  </a:lnTo>
                  <a:lnTo>
                    <a:pt x="1608" y="1476"/>
                  </a:lnTo>
                  <a:lnTo>
                    <a:pt x="1596" y="1476"/>
                  </a:lnTo>
                  <a:lnTo>
                    <a:pt x="1584" y="1482"/>
                  </a:lnTo>
                  <a:lnTo>
                    <a:pt x="1560" y="1482"/>
                  </a:lnTo>
                  <a:lnTo>
                    <a:pt x="1536" y="1482"/>
                  </a:lnTo>
                  <a:lnTo>
                    <a:pt x="1524" y="1482"/>
                  </a:lnTo>
                  <a:lnTo>
                    <a:pt x="1506" y="1500"/>
                  </a:lnTo>
                  <a:lnTo>
                    <a:pt x="1482" y="1530"/>
                  </a:lnTo>
                  <a:lnTo>
                    <a:pt x="1452" y="1542"/>
                  </a:lnTo>
                  <a:lnTo>
                    <a:pt x="1446" y="1542"/>
                  </a:lnTo>
                  <a:lnTo>
                    <a:pt x="1440" y="1542"/>
                  </a:lnTo>
                  <a:lnTo>
                    <a:pt x="1440" y="1548"/>
                  </a:lnTo>
                  <a:lnTo>
                    <a:pt x="1434" y="1548"/>
                  </a:lnTo>
                  <a:lnTo>
                    <a:pt x="1428" y="1548"/>
                  </a:lnTo>
                  <a:lnTo>
                    <a:pt x="1428" y="1554"/>
                  </a:lnTo>
                  <a:lnTo>
                    <a:pt x="1422" y="1560"/>
                  </a:lnTo>
                  <a:lnTo>
                    <a:pt x="1416" y="1560"/>
                  </a:lnTo>
                  <a:lnTo>
                    <a:pt x="1410" y="1566"/>
                  </a:lnTo>
                  <a:lnTo>
                    <a:pt x="1410" y="1560"/>
                  </a:lnTo>
                  <a:lnTo>
                    <a:pt x="1404" y="1560"/>
                  </a:lnTo>
                  <a:lnTo>
                    <a:pt x="1392" y="1560"/>
                  </a:lnTo>
                  <a:lnTo>
                    <a:pt x="1386" y="1560"/>
                  </a:lnTo>
                  <a:lnTo>
                    <a:pt x="1380" y="1566"/>
                  </a:lnTo>
                  <a:lnTo>
                    <a:pt x="1374" y="1560"/>
                  </a:lnTo>
                  <a:lnTo>
                    <a:pt x="1368" y="1566"/>
                  </a:lnTo>
                  <a:lnTo>
                    <a:pt x="1362" y="1566"/>
                  </a:lnTo>
                  <a:lnTo>
                    <a:pt x="1362" y="1572"/>
                  </a:lnTo>
                  <a:lnTo>
                    <a:pt x="1356" y="1572"/>
                  </a:lnTo>
                  <a:lnTo>
                    <a:pt x="1356" y="1578"/>
                  </a:lnTo>
                  <a:lnTo>
                    <a:pt x="1350" y="1578"/>
                  </a:lnTo>
                  <a:lnTo>
                    <a:pt x="1350" y="1572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32" y="1584"/>
                  </a:lnTo>
                  <a:lnTo>
                    <a:pt x="1326" y="1590"/>
                  </a:lnTo>
                  <a:lnTo>
                    <a:pt x="1320" y="1584"/>
                  </a:lnTo>
                  <a:lnTo>
                    <a:pt x="1314" y="1590"/>
                  </a:lnTo>
                  <a:lnTo>
                    <a:pt x="1308" y="1596"/>
                  </a:lnTo>
                  <a:lnTo>
                    <a:pt x="1302" y="1596"/>
                  </a:lnTo>
                  <a:lnTo>
                    <a:pt x="1296" y="1596"/>
                  </a:lnTo>
                  <a:lnTo>
                    <a:pt x="1290" y="1596"/>
                  </a:lnTo>
                  <a:lnTo>
                    <a:pt x="1284" y="1596"/>
                  </a:lnTo>
                  <a:lnTo>
                    <a:pt x="1278" y="1602"/>
                  </a:lnTo>
                  <a:lnTo>
                    <a:pt x="1266" y="1602"/>
                  </a:lnTo>
                  <a:lnTo>
                    <a:pt x="1272" y="1608"/>
                  </a:lnTo>
                  <a:lnTo>
                    <a:pt x="1278" y="1608"/>
                  </a:lnTo>
                  <a:lnTo>
                    <a:pt x="1284" y="1608"/>
                  </a:lnTo>
                  <a:lnTo>
                    <a:pt x="1290" y="1614"/>
                  </a:lnTo>
                  <a:lnTo>
                    <a:pt x="1296" y="1620"/>
                  </a:lnTo>
                  <a:lnTo>
                    <a:pt x="1302" y="1626"/>
                  </a:lnTo>
                  <a:lnTo>
                    <a:pt x="1308" y="1632"/>
                  </a:lnTo>
                  <a:lnTo>
                    <a:pt x="1314" y="1638"/>
                  </a:lnTo>
                  <a:lnTo>
                    <a:pt x="1314" y="1644"/>
                  </a:lnTo>
                  <a:lnTo>
                    <a:pt x="1320" y="1644"/>
                  </a:lnTo>
                  <a:lnTo>
                    <a:pt x="1320" y="1650"/>
                  </a:lnTo>
                  <a:lnTo>
                    <a:pt x="1326" y="1656"/>
                  </a:lnTo>
                  <a:lnTo>
                    <a:pt x="1332" y="1668"/>
                  </a:lnTo>
                  <a:lnTo>
                    <a:pt x="1338" y="1680"/>
                  </a:lnTo>
                  <a:lnTo>
                    <a:pt x="1338" y="1698"/>
                  </a:lnTo>
                  <a:lnTo>
                    <a:pt x="1350" y="1710"/>
                  </a:lnTo>
                  <a:lnTo>
                    <a:pt x="1350" y="1716"/>
                  </a:lnTo>
                  <a:lnTo>
                    <a:pt x="1350" y="1722"/>
                  </a:lnTo>
                  <a:lnTo>
                    <a:pt x="1350" y="1728"/>
                  </a:lnTo>
                  <a:lnTo>
                    <a:pt x="1356" y="1728"/>
                  </a:lnTo>
                  <a:lnTo>
                    <a:pt x="1356" y="1734"/>
                  </a:lnTo>
                  <a:lnTo>
                    <a:pt x="1350" y="1734"/>
                  </a:lnTo>
                  <a:lnTo>
                    <a:pt x="1344" y="1740"/>
                  </a:lnTo>
                  <a:lnTo>
                    <a:pt x="1338" y="1740"/>
                  </a:lnTo>
                  <a:lnTo>
                    <a:pt x="1332" y="1746"/>
                  </a:lnTo>
                  <a:lnTo>
                    <a:pt x="1326" y="1746"/>
                  </a:lnTo>
                  <a:lnTo>
                    <a:pt x="1326" y="1752"/>
                  </a:lnTo>
                  <a:lnTo>
                    <a:pt x="1320" y="1752"/>
                  </a:lnTo>
                  <a:lnTo>
                    <a:pt x="1320" y="1758"/>
                  </a:lnTo>
                  <a:lnTo>
                    <a:pt x="1314" y="1758"/>
                  </a:lnTo>
                  <a:lnTo>
                    <a:pt x="1308" y="1758"/>
                  </a:lnTo>
                  <a:lnTo>
                    <a:pt x="1302" y="1758"/>
                  </a:lnTo>
                  <a:lnTo>
                    <a:pt x="1296" y="1758"/>
                  </a:lnTo>
                  <a:lnTo>
                    <a:pt x="1290" y="1764"/>
                  </a:lnTo>
                  <a:lnTo>
                    <a:pt x="1284" y="1770"/>
                  </a:lnTo>
                  <a:lnTo>
                    <a:pt x="1278" y="1770"/>
                  </a:lnTo>
                  <a:lnTo>
                    <a:pt x="1272" y="1770"/>
                  </a:lnTo>
                  <a:lnTo>
                    <a:pt x="1266" y="1770"/>
                  </a:lnTo>
                  <a:lnTo>
                    <a:pt x="1266" y="1776"/>
                  </a:lnTo>
                  <a:lnTo>
                    <a:pt x="1260" y="1776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4" name="Freeform 39">
              <a:extLst>
                <a:ext uri="{FF2B5EF4-FFF2-40B4-BE49-F238E27FC236}">
                  <a16:creationId xmlns:a16="http://schemas.microsoft.com/office/drawing/2014/main" id="{E01CDA8B-32C7-421A-B23E-968CAC7F78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2974" y="1759680"/>
              <a:ext cx="825155" cy="700024"/>
            </a:xfrm>
            <a:custGeom>
              <a:avLst/>
              <a:gdLst>
                <a:gd name="T0" fmla="*/ 60 w 1554"/>
                <a:gd name="T1" fmla="*/ 86 h 1320"/>
                <a:gd name="T2" fmla="*/ 66 w 1554"/>
                <a:gd name="T3" fmla="*/ 80 h 1320"/>
                <a:gd name="T4" fmla="*/ 61 w 1554"/>
                <a:gd name="T5" fmla="*/ 73 h 1320"/>
                <a:gd name="T6" fmla="*/ 57 w 1554"/>
                <a:gd name="T7" fmla="*/ 67 h 1320"/>
                <a:gd name="T8" fmla="*/ 60 w 1554"/>
                <a:gd name="T9" fmla="*/ 59 h 1320"/>
                <a:gd name="T10" fmla="*/ 56 w 1554"/>
                <a:gd name="T11" fmla="*/ 55 h 1320"/>
                <a:gd name="T12" fmla="*/ 45 w 1554"/>
                <a:gd name="T13" fmla="*/ 53 h 1320"/>
                <a:gd name="T14" fmla="*/ 42 w 1554"/>
                <a:gd name="T15" fmla="*/ 41 h 1320"/>
                <a:gd name="T16" fmla="*/ 37 w 1554"/>
                <a:gd name="T17" fmla="*/ 39 h 1320"/>
                <a:gd name="T18" fmla="*/ 31 w 1554"/>
                <a:gd name="T19" fmla="*/ 44 h 1320"/>
                <a:gd name="T20" fmla="*/ 37 w 1554"/>
                <a:gd name="T21" fmla="*/ 35 h 1320"/>
                <a:gd name="T22" fmla="*/ 30 w 1554"/>
                <a:gd name="T23" fmla="*/ 23 h 1320"/>
                <a:gd name="T24" fmla="*/ 21 w 1554"/>
                <a:gd name="T25" fmla="*/ 23 h 1320"/>
                <a:gd name="T26" fmla="*/ 15 w 1554"/>
                <a:gd name="T27" fmla="*/ 27 h 1320"/>
                <a:gd name="T28" fmla="*/ 11 w 1554"/>
                <a:gd name="T29" fmla="*/ 32 h 1320"/>
                <a:gd name="T30" fmla="*/ 6 w 1554"/>
                <a:gd name="T31" fmla="*/ 22 h 1320"/>
                <a:gd name="T32" fmla="*/ 3 w 1554"/>
                <a:gd name="T33" fmla="*/ 11 h 1320"/>
                <a:gd name="T34" fmla="*/ 24 w 1554"/>
                <a:gd name="T35" fmla="*/ 12 h 1320"/>
                <a:gd name="T36" fmla="*/ 33 w 1554"/>
                <a:gd name="T37" fmla="*/ 19 h 1320"/>
                <a:gd name="T38" fmla="*/ 49 w 1554"/>
                <a:gd name="T39" fmla="*/ 12 h 1320"/>
                <a:gd name="T40" fmla="*/ 58 w 1554"/>
                <a:gd name="T41" fmla="*/ 10 h 1320"/>
                <a:gd name="T42" fmla="*/ 68 w 1554"/>
                <a:gd name="T43" fmla="*/ 11 h 1320"/>
                <a:gd name="T44" fmla="*/ 79 w 1554"/>
                <a:gd name="T45" fmla="*/ 12 h 1320"/>
                <a:gd name="T46" fmla="*/ 96 w 1554"/>
                <a:gd name="T47" fmla="*/ 11 h 1320"/>
                <a:gd name="T48" fmla="*/ 107 w 1554"/>
                <a:gd name="T49" fmla="*/ 2 h 1320"/>
                <a:gd name="T50" fmla="*/ 117 w 1554"/>
                <a:gd name="T51" fmla="*/ 8 h 1320"/>
                <a:gd name="T52" fmla="*/ 126 w 1554"/>
                <a:gd name="T53" fmla="*/ 12 h 1320"/>
                <a:gd name="T54" fmla="*/ 134 w 1554"/>
                <a:gd name="T55" fmla="*/ 24 h 1320"/>
                <a:gd name="T56" fmla="*/ 133 w 1554"/>
                <a:gd name="T57" fmla="*/ 29 h 1320"/>
                <a:gd name="T58" fmla="*/ 129 w 1554"/>
                <a:gd name="T59" fmla="*/ 31 h 1320"/>
                <a:gd name="T60" fmla="*/ 125 w 1554"/>
                <a:gd name="T61" fmla="*/ 32 h 1320"/>
                <a:gd name="T62" fmla="*/ 115 w 1554"/>
                <a:gd name="T63" fmla="*/ 34 h 1320"/>
                <a:gd name="T64" fmla="*/ 113 w 1554"/>
                <a:gd name="T65" fmla="*/ 44 h 1320"/>
                <a:gd name="T66" fmla="*/ 111 w 1554"/>
                <a:gd name="T67" fmla="*/ 54 h 1320"/>
                <a:gd name="T68" fmla="*/ 107 w 1554"/>
                <a:gd name="T69" fmla="*/ 56 h 1320"/>
                <a:gd name="T70" fmla="*/ 102 w 1554"/>
                <a:gd name="T71" fmla="*/ 58 h 1320"/>
                <a:gd name="T72" fmla="*/ 99 w 1554"/>
                <a:gd name="T73" fmla="*/ 60 h 1320"/>
                <a:gd name="T74" fmla="*/ 93 w 1554"/>
                <a:gd name="T75" fmla="*/ 62 h 1320"/>
                <a:gd name="T76" fmla="*/ 87 w 1554"/>
                <a:gd name="T77" fmla="*/ 64 h 1320"/>
                <a:gd name="T78" fmla="*/ 84 w 1554"/>
                <a:gd name="T79" fmla="*/ 65 h 1320"/>
                <a:gd name="T80" fmla="*/ 81 w 1554"/>
                <a:gd name="T81" fmla="*/ 69 h 1320"/>
                <a:gd name="T82" fmla="*/ 83 w 1554"/>
                <a:gd name="T83" fmla="*/ 72 h 1320"/>
                <a:gd name="T84" fmla="*/ 92 w 1554"/>
                <a:gd name="T85" fmla="*/ 73 h 1320"/>
                <a:gd name="T86" fmla="*/ 93 w 1554"/>
                <a:gd name="T87" fmla="*/ 87 h 1320"/>
                <a:gd name="T88" fmla="*/ 104 w 1554"/>
                <a:gd name="T89" fmla="*/ 98 h 1320"/>
                <a:gd name="T90" fmla="*/ 108 w 1554"/>
                <a:gd name="T91" fmla="*/ 98 h 1320"/>
                <a:gd name="T92" fmla="*/ 112 w 1554"/>
                <a:gd name="T93" fmla="*/ 100 h 1320"/>
                <a:gd name="T94" fmla="*/ 118 w 1554"/>
                <a:gd name="T95" fmla="*/ 100 h 1320"/>
                <a:gd name="T96" fmla="*/ 122 w 1554"/>
                <a:gd name="T97" fmla="*/ 102 h 1320"/>
                <a:gd name="T98" fmla="*/ 118 w 1554"/>
                <a:gd name="T99" fmla="*/ 105 h 1320"/>
                <a:gd name="T100" fmla="*/ 114 w 1554"/>
                <a:gd name="T101" fmla="*/ 107 h 1320"/>
                <a:gd name="T102" fmla="*/ 113 w 1554"/>
                <a:gd name="T103" fmla="*/ 113 h 1320"/>
                <a:gd name="T104" fmla="*/ 104 w 1554"/>
                <a:gd name="T105" fmla="*/ 113 h 1320"/>
                <a:gd name="T106" fmla="*/ 93 w 1554"/>
                <a:gd name="T107" fmla="*/ 109 h 1320"/>
                <a:gd name="T108" fmla="*/ 96 w 1554"/>
                <a:gd name="T109" fmla="*/ 103 h 1320"/>
                <a:gd name="T110" fmla="*/ 95 w 1554"/>
                <a:gd name="T111" fmla="*/ 97 h 1320"/>
                <a:gd name="T112" fmla="*/ 87 w 1554"/>
                <a:gd name="T113" fmla="*/ 98 h 1320"/>
                <a:gd name="T114" fmla="*/ 81 w 1554"/>
                <a:gd name="T115" fmla="*/ 98 h 1320"/>
                <a:gd name="T116" fmla="*/ 78 w 1554"/>
                <a:gd name="T117" fmla="*/ 93 h 1320"/>
                <a:gd name="T118" fmla="*/ 65 w 1554"/>
                <a:gd name="T119" fmla="*/ 92 h 1320"/>
                <a:gd name="T120" fmla="*/ 59 w 1554"/>
                <a:gd name="T121" fmla="*/ 92 h 13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54"/>
                <a:gd name="T184" fmla="*/ 0 h 1320"/>
                <a:gd name="T185" fmla="*/ 1554 w 1554"/>
                <a:gd name="T186" fmla="*/ 1320 h 132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54" h="1320">
                  <a:moveTo>
                    <a:pt x="684" y="1068"/>
                  </a:moveTo>
                  <a:lnTo>
                    <a:pt x="684" y="1062"/>
                  </a:lnTo>
                  <a:lnTo>
                    <a:pt x="690" y="1056"/>
                  </a:lnTo>
                  <a:lnTo>
                    <a:pt x="690" y="1050"/>
                  </a:lnTo>
                  <a:lnTo>
                    <a:pt x="690" y="1044"/>
                  </a:lnTo>
                  <a:lnTo>
                    <a:pt x="690" y="1038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14"/>
                  </a:lnTo>
                  <a:lnTo>
                    <a:pt x="690" y="1008"/>
                  </a:lnTo>
                  <a:lnTo>
                    <a:pt x="696" y="996"/>
                  </a:lnTo>
                  <a:lnTo>
                    <a:pt x="714" y="996"/>
                  </a:lnTo>
                  <a:lnTo>
                    <a:pt x="714" y="990"/>
                  </a:lnTo>
                  <a:lnTo>
                    <a:pt x="732" y="984"/>
                  </a:lnTo>
                  <a:lnTo>
                    <a:pt x="744" y="978"/>
                  </a:lnTo>
                  <a:lnTo>
                    <a:pt x="762" y="966"/>
                  </a:lnTo>
                  <a:lnTo>
                    <a:pt x="762" y="960"/>
                  </a:lnTo>
                  <a:lnTo>
                    <a:pt x="768" y="954"/>
                  </a:lnTo>
                  <a:lnTo>
                    <a:pt x="774" y="948"/>
                  </a:lnTo>
                  <a:lnTo>
                    <a:pt x="774" y="942"/>
                  </a:lnTo>
                  <a:lnTo>
                    <a:pt x="774" y="924"/>
                  </a:lnTo>
                  <a:lnTo>
                    <a:pt x="768" y="918"/>
                  </a:lnTo>
                  <a:lnTo>
                    <a:pt x="756" y="918"/>
                  </a:lnTo>
                  <a:lnTo>
                    <a:pt x="744" y="918"/>
                  </a:lnTo>
                  <a:lnTo>
                    <a:pt x="732" y="924"/>
                  </a:lnTo>
                  <a:lnTo>
                    <a:pt x="726" y="912"/>
                  </a:lnTo>
                  <a:lnTo>
                    <a:pt x="720" y="912"/>
                  </a:lnTo>
                  <a:lnTo>
                    <a:pt x="720" y="900"/>
                  </a:lnTo>
                  <a:lnTo>
                    <a:pt x="720" y="870"/>
                  </a:lnTo>
                  <a:lnTo>
                    <a:pt x="696" y="876"/>
                  </a:lnTo>
                  <a:lnTo>
                    <a:pt x="690" y="852"/>
                  </a:lnTo>
                  <a:lnTo>
                    <a:pt x="702" y="852"/>
                  </a:lnTo>
                  <a:lnTo>
                    <a:pt x="702" y="840"/>
                  </a:lnTo>
                  <a:lnTo>
                    <a:pt x="708" y="834"/>
                  </a:lnTo>
                  <a:lnTo>
                    <a:pt x="702" y="822"/>
                  </a:lnTo>
                  <a:lnTo>
                    <a:pt x="660" y="822"/>
                  </a:lnTo>
                  <a:lnTo>
                    <a:pt x="654" y="822"/>
                  </a:lnTo>
                  <a:lnTo>
                    <a:pt x="642" y="822"/>
                  </a:lnTo>
                  <a:lnTo>
                    <a:pt x="642" y="810"/>
                  </a:lnTo>
                  <a:lnTo>
                    <a:pt x="642" y="798"/>
                  </a:lnTo>
                  <a:lnTo>
                    <a:pt x="642" y="792"/>
                  </a:lnTo>
                  <a:lnTo>
                    <a:pt x="648" y="780"/>
                  </a:lnTo>
                  <a:lnTo>
                    <a:pt x="654" y="774"/>
                  </a:lnTo>
                  <a:lnTo>
                    <a:pt x="660" y="774"/>
                  </a:lnTo>
                  <a:lnTo>
                    <a:pt x="672" y="762"/>
                  </a:lnTo>
                  <a:lnTo>
                    <a:pt x="672" y="756"/>
                  </a:lnTo>
                  <a:lnTo>
                    <a:pt x="678" y="750"/>
                  </a:lnTo>
                  <a:lnTo>
                    <a:pt x="684" y="750"/>
                  </a:lnTo>
                  <a:lnTo>
                    <a:pt x="690" y="744"/>
                  </a:lnTo>
                  <a:lnTo>
                    <a:pt x="696" y="732"/>
                  </a:lnTo>
                  <a:lnTo>
                    <a:pt x="696" y="726"/>
                  </a:lnTo>
                  <a:lnTo>
                    <a:pt x="702" y="714"/>
                  </a:lnTo>
                  <a:lnTo>
                    <a:pt x="696" y="708"/>
                  </a:lnTo>
                  <a:lnTo>
                    <a:pt x="690" y="690"/>
                  </a:lnTo>
                  <a:lnTo>
                    <a:pt x="696" y="678"/>
                  </a:lnTo>
                  <a:lnTo>
                    <a:pt x="708" y="672"/>
                  </a:lnTo>
                  <a:lnTo>
                    <a:pt x="708" y="660"/>
                  </a:lnTo>
                  <a:lnTo>
                    <a:pt x="702" y="660"/>
                  </a:lnTo>
                  <a:lnTo>
                    <a:pt x="696" y="660"/>
                  </a:lnTo>
                  <a:lnTo>
                    <a:pt x="690" y="654"/>
                  </a:lnTo>
                  <a:lnTo>
                    <a:pt x="684" y="654"/>
                  </a:lnTo>
                  <a:lnTo>
                    <a:pt x="690" y="606"/>
                  </a:lnTo>
                  <a:lnTo>
                    <a:pt x="660" y="606"/>
                  </a:lnTo>
                  <a:lnTo>
                    <a:pt x="660" y="612"/>
                  </a:lnTo>
                  <a:lnTo>
                    <a:pt x="648" y="612"/>
                  </a:lnTo>
                  <a:lnTo>
                    <a:pt x="642" y="636"/>
                  </a:lnTo>
                  <a:lnTo>
                    <a:pt x="636" y="636"/>
                  </a:lnTo>
                  <a:lnTo>
                    <a:pt x="630" y="648"/>
                  </a:lnTo>
                  <a:lnTo>
                    <a:pt x="612" y="648"/>
                  </a:lnTo>
                  <a:lnTo>
                    <a:pt x="606" y="636"/>
                  </a:lnTo>
                  <a:lnTo>
                    <a:pt x="600" y="630"/>
                  </a:lnTo>
                  <a:lnTo>
                    <a:pt x="588" y="606"/>
                  </a:lnTo>
                  <a:lnTo>
                    <a:pt x="552" y="606"/>
                  </a:lnTo>
                  <a:lnTo>
                    <a:pt x="552" y="612"/>
                  </a:lnTo>
                  <a:lnTo>
                    <a:pt x="540" y="612"/>
                  </a:lnTo>
                  <a:lnTo>
                    <a:pt x="540" y="606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16" y="612"/>
                  </a:lnTo>
                  <a:lnTo>
                    <a:pt x="516" y="582"/>
                  </a:lnTo>
                  <a:lnTo>
                    <a:pt x="522" y="576"/>
                  </a:lnTo>
                  <a:lnTo>
                    <a:pt x="528" y="576"/>
                  </a:lnTo>
                  <a:lnTo>
                    <a:pt x="528" y="552"/>
                  </a:lnTo>
                  <a:lnTo>
                    <a:pt x="522" y="540"/>
                  </a:lnTo>
                  <a:lnTo>
                    <a:pt x="510" y="528"/>
                  </a:lnTo>
                  <a:lnTo>
                    <a:pt x="486" y="510"/>
                  </a:lnTo>
                  <a:lnTo>
                    <a:pt x="480" y="498"/>
                  </a:lnTo>
                  <a:lnTo>
                    <a:pt x="480" y="474"/>
                  </a:lnTo>
                  <a:lnTo>
                    <a:pt x="492" y="468"/>
                  </a:lnTo>
                  <a:lnTo>
                    <a:pt x="486" y="450"/>
                  </a:lnTo>
                  <a:lnTo>
                    <a:pt x="474" y="456"/>
                  </a:lnTo>
                  <a:lnTo>
                    <a:pt x="468" y="456"/>
                  </a:lnTo>
                  <a:lnTo>
                    <a:pt x="462" y="456"/>
                  </a:lnTo>
                  <a:lnTo>
                    <a:pt x="456" y="468"/>
                  </a:lnTo>
                  <a:lnTo>
                    <a:pt x="456" y="474"/>
                  </a:lnTo>
                  <a:lnTo>
                    <a:pt x="450" y="480"/>
                  </a:lnTo>
                  <a:lnTo>
                    <a:pt x="444" y="450"/>
                  </a:lnTo>
                  <a:lnTo>
                    <a:pt x="438" y="450"/>
                  </a:lnTo>
                  <a:lnTo>
                    <a:pt x="432" y="450"/>
                  </a:lnTo>
                  <a:lnTo>
                    <a:pt x="420" y="450"/>
                  </a:lnTo>
                  <a:lnTo>
                    <a:pt x="420" y="456"/>
                  </a:lnTo>
                  <a:lnTo>
                    <a:pt x="414" y="456"/>
                  </a:lnTo>
                  <a:lnTo>
                    <a:pt x="408" y="468"/>
                  </a:lnTo>
                  <a:lnTo>
                    <a:pt x="402" y="468"/>
                  </a:lnTo>
                  <a:lnTo>
                    <a:pt x="396" y="474"/>
                  </a:lnTo>
                  <a:lnTo>
                    <a:pt x="390" y="492"/>
                  </a:lnTo>
                  <a:lnTo>
                    <a:pt x="384" y="504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54" y="510"/>
                  </a:lnTo>
                  <a:lnTo>
                    <a:pt x="360" y="480"/>
                  </a:lnTo>
                  <a:lnTo>
                    <a:pt x="360" y="474"/>
                  </a:lnTo>
                  <a:lnTo>
                    <a:pt x="378" y="456"/>
                  </a:lnTo>
                  <a:lnTo>
                    <a:pt x="384" y="450"/>
                  </a:lnTo>
                  <a:lnTo>
                    <a:pt x="396" y="444"/>
                  </a:lnTo>
                  <a:lnTo>
                    <a:pt x="402" y="438"/>
                  </a:lnTo>
                  <a:lnTo>
                    <a:pt x="408" y="438"/>
                  </a:lnTo>
                  <a:lnTo>
                    <a:pt x="408" y="426"/>
                  </a:lnTo>
                  <a:lnTo>
                    <a:pt x="414" y="420"/>
                  </a:lnTo>
                  <a:lnTo>
                    <a:pt x="426" y="420"/>
                  </a:lnTo>
                  <a:lnTo>
                    <a:pt x="426" y="408"/>
                  </a:lnTo>
                  <a:lnTo>
                    <a:pt x="420" y="390"/>
                  </a:lnTo>
                  <a:lnTo>
                    <a:pt x="408" y="384"/>
                  </a:lnTo>
                  <a:lnTo>
                    <a:pt x="378" y="378"/>
                  </a:lnTo>
                  <a:lnTo>
                    <a:pt x="354" y="366"/>
                  </a:lnTo>
                  <a:lnTo>
                    <a:pt x="342" y="360"/>
                  </a:lnTo>
                  <a:lnTo>
                    <a:pt x="342" y="348"/>
                  </a:lnTo>
                  <a:lnTo>
                    <a:pt x="336" y="330"/>
                  </a:lnTo>
                  <a:lnTo>
                    <a:pt x="348" y="306"/>
                  </a:lnTo>
                  <a:lnTo>
                    <a:pt x="360" y="294"/>
                  </a:lnTo>
                  <a:lnTo>
                    <a:pt x="360" y="282"/>
                  </a:lnTo>
                  <a:lnTo>
                    <a:pt x="342" y="270"/>
                  </a:lnTo>
                  <a:lnTo>
                    <a:pt x="342" y="264"/>
                  </a:lnTo>
                  <a:lnTo>
                    <a:pt x="330" y="264"/>
                  </a:lnTo>
                  <a:lnTo>
                    <a:pt x="312" y="270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88" y="270"/>
                  </a:lnTo>
                  <a:lnTo>
                    <a:pt x="282" y="270"/>
                  </a:lnTo>
                  <a:lnTo>
                    <a:pt x="276" y="264"/>
                  </a:lnTo>
                  <a:lnTo>
                    <a:pt x="270" y="264"/>
                  </a:lnTo>
                  <a:lnTo>
                    <a:pt x="252" y="270"/>
                  </a:lnTo>
                  <a:lnTo>
                    <a:pt x="246" y="270"/>
                  </a:lnTo>
                  <a:lnTo>
                    <a:pt x="240" y="270"/>
                  </a:lnTo>
                  <a:lnTo>
                    <a:pt x="228" y="270"/>
                  </a:lnTo>
                  <a:lnTo>
                    <a:pt x="216" y="276"/>
                  </a:lnTo>
                  <a:lnTo>
                    <a:pt x="210" y="270"/>
                  </a:lnTo>
                  <a:lnTo>
                    <a:pt x="204" y="270"/>
                  </a:lnTo>
                  <a:lnTo>
                    <a:pt x="198" y="276"/>
                  </a:lnTo>
                  <a:lnTo>
                    <a:pt x="192" y="276"/>
                  </a:lnTo>
                  <a:lnTo>
                    <a:pt x="186" y="282"/>
                  </a:lnTo>
                  <a:lnTo>
                    <a:pt x="180" y="288"/>
                  </a:lnTo>
                  <a:lnTo>
                    <a:pt x="174" y="300"/>
                  </a:lnTo>
                  <a:lnTo>
                    <a:pt x="168" y="306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8" y="330"/>
                  </a:lnTo>
                  <a:lnTo>
                    <a:pt x="162" y="336"/>
                  </a:lnTo>
                  <a:lnTo>
                    <a:pt x="156" y="342"/>
                  </a:lnTo>
                  <a:lnTo>
                    <a:pt x="156" y="348"/>
                  </a:lnTo>
                  <a:lnTo>
                    <a:pt x="156" y="354"/>
                  </a:lnTo>
                  <a:lnTo>
                    <a:pt x="150" y="366"/>
                  </a:lnTo>
                  <a:lnTo>
                    <a:pt x="150" y="372"/>
                  </a:lnTo>
                  <a:lnTo>
                    <a:pt x="144" y="366"/>
                  </a:lnTo>
                  <a:lnTo>
                    <a:pt x="132" y="366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20" y="348"/>
                  </a:lnTo>
                  <a:lnTo>
                    <a:pt x="102" y="330"/>
                  </a:lnTo>
                  <a:lnTo>
                    <a:pt x="96" y="318"/>
                  </a:lnTo>
                  <a:lnTo>
                    <a:pt x="96" y="282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0" y="258"/>
                  </a:lnTo>
                  <a:lnTo>
                    <a:pt x="84" y="252"/>
                  </a:lnTo>
                  <a:lnTo>
                    <a:pt x="66" y="258"/>
                  </a:lnTo>
                  <a:lnTo>
                    <a:pt x="60" y="246"/>
                  </a:lnTo>
                  <a:lnTo>
                    <a:pt x="30" y="252"/>
                  </a:lnTo>
                  <a:lnTo>
                    <a:pt x="18" y="246"/>
                  </a:lnTo>
                  <a:lnTo>
                    <a:pt x="0" y="240"/>
                  </a:lnTo>
                  <a:lnTo>
                    <a:pt x="0" y="234"/>
                  </a:lnTo>
                  <a:lnTo>
                    <a:pt x="0" y="210"/>
                  </a:lnTo>
                  <a:lnTo>
                    <a:pt x="6" y="204"/>
                  </a:lnTo>
                  <a:lnTo>
                    <a:pt x="18" y="192"/>
                  </a:lnTo>
                  <a:lnTo>
                    <a:pt x="18" y="144"/>
                  </a:lnTo>
                  <a:lnTo>
                    <a:pt x="24" y="126"/>
                  </a:lnTo>
                  <a:lnTo>
                    <a:pt x="36" y="126"/>
                  </a:lnTo>
                  <a:lnTo>
                    <a:pt x="54" y="120"/>
                  </a:lnTo>
                  <a:lnTo>
                    <a:pt x="54" y="126"/>
                  </a:lnTo>
                  <a:lnTo>
                    <a:pt x="132" y="114"/>
                  </a:lnTo>
                  <a:lnTo>
                    <a:pt x="144" y="120"/>
                  </a:lnTo>
                  <a:lnTo>
                    <a:pt x="150" y="132"/>
                  </a:lnTo>
                  <a:lnTo>
                    <a:pt x="180" y="126"/>
                  </a:lnTo>
                  <a:lnTo>
                    <a:pt x="210" y="120"/>
                  </a:lnTo>
                  <a:lnTo>
                    <a:pt x="240" y="120"/>
                  </a:lnTo>
                  <a:lnTo>
                    <a:pt x="258" y="120"/>
                  </a:lnTo>
                  <a:lnTo>
                    <a:pt x="270" y="126"/>
                  </a:lnTo>
                  <a:lnTo>
                    <a:pt x="276" y="132"/>
                  </a:lnTo>
                  <a:lnTo>
                    <a:pt x="282" y="138"/>
                  </a:lnTo>
                  <a:lnTo>
                    <a:pt x="282" y="156"/>
                  </a:lnTo>
                  <a:lnTo>
                    <a:pt x="288" y="186"/>
                  </a:lnTo>
                  <a:lnTo>
                    <a:pt x="312" y="192"/>
                  </a:lnTo>
                  <a:lnTo>
                    <a:pt x="318" y="198"/>
                  </a:lnTo>
                  <a:lnTo>
                    <a:pt x="324" y="204"/>
                  </a:lnTo>
                  <a:lnTo>
                    <a:pt x="330" y="210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66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86" y="210"/>
                  </a:lnTo>
                  <a:lnTo>
                    <a:pt x="498" y="198"/>
                  </a:lnTo>
                  <a:lnTo>
                    <a:pt x="504" y="174"/>
                  </a:lnTo>
                  <a:lnTo>
                    <a:pt x="516" y="162"/>
                  </a:lnTo>
                  <a:lnTo>
                    <a:pt x="516" y="138"/>
                  </a:lnTo>
                  <a:lnTo>
                    <a:pt x="522" y="132"/>
                  </a:lnTo>
                  <a:lnTo>
                    <a:pt x="564" y="132"/>
                  </a:lnTo>
                  <a:lnTo>
                    <a:pt x="564" y="114"/>
                  </a:lnTo>
                  <a:lnTo>
                    <a:pt x="582" y="114"/>
                  </a:lnTo>
                  <a:lnTo>
                    <a:pt x="594" y="114"/>
                  </a:lnTo>
                  <a:lnTo>
                    <a:pt x="606" y="114"/>
                  </a:lnTo>
                  <a:lnTo>
                    <a:pt x="612" y="114"/>
                  </a:lnTo>
                  <a:lnTo>
                    <a:pt x="630" y="114"/>
                  </a:lnTo>
                  <a:lnTo>
                    <a:pt x="636" y="114"/>
                  </a:lnTo>
                  <a:lnTo>
                    <a:pt x="648" y="114"/>
                  </a:lnTo>
                  <a:lnTo>
                    <a:pt x="654" y="114"/>
                  </a:lnTo>
                  <a:lnTo>
                    <a:pt x="660" y="120"/>
                  </a:lnTo>
                  <a:lnTo>
                    <a:pt x="672" y="120"/>
                  </a:lnTo>
                  <a:lnTo>
                    <a:pt x="684" y="120"/>
                  </a:lnTo>
                  <a:lnTo>
                    <a:pt x="690" y="120"/>
                  </a:lnTo>
                  <a:lnTo>
                    <a:pt x="702" y="120"/>
                  </a:lnTo>
                  <a:lnTo>
                    <a:pt x="708" y="120"/>
                  </a:lnTo>
                  <a:lnTo>
                    <a:pt x="726" y="126"/>
                  </a:lnTo>
                  <a:lnTo>
                    <a:pt x="732" y="126"/>
                  </a:lnTo>
                  <a:lnTo>
                    <a:pt x="738" y="126"/>
                  </a:lnTo>
                  <a:lnTo>
                    <a:pt x="750" y="126"/>
                  </a:lnTo>
                  <a:lnTo>
                    <a:pt x="756" y="126"/>
                  </a:lnTo>
                  <a:lnTo>
                    <a:pt x="768" y="126"/>
                  </a:lnTo>
                  <a:lnTo>
                    <a:pt x="780" y="126"/>
                  </a:lnTo>
                  <a:lnTo>
                    <a:pt x="786" y="120"/>
                  </a:lnTo>
                  <a:lnTo>
                    <a:pt x="792" y="120"/>
                  </a:lnTo>
                  <a:lnTo>
                    <a:pt x="810" y="120"/>
                  </a:lnTo>
                  <a:lnTo>
                    <a:pt x="822" y="120"/>
                  </a:lnTo>
                  <a:lnTo>
                    <a:pt x="846" y="126"/>
                  </a:lnTo>
                  <a:lnTo>
                    <a:pt x="858" y="126"/>
                  </a:lnTo>
                  <a:lnTo>
                    <a:pt x="870" y="132"/>
                  </a:lnTo>
                  <a:lnTo>
                    <a:pt x="882" y="132"/>
                  </a:lnTo>
                  <a:lnTo>
                    <a:pt x="894" y="132"/>
                  </a:lnTo>
                  <a:lnTo>
                    <a:pt x="900" y="132"/>
                  </a:lnTo>
                  <a:lnTo>
                    <a:pt x="912" y="132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36" y="132"/>
                  </a:lnTo>
                  <a:lnTo>
                    <a:pt x="960" y="132"/>
                  </a:lnTo>
                  <a:lnTo>
                    <a:pt x="966" y="144"/>
                  </a:lnTo>
                  <a:lnTo>
                    <a:pt x="972" y="144"/>
                  </a:lnTo>
                  <a:lnTo>
                    <a:pt x="1002" y="144"/>
                  </a:lnTo>
                  <a:lnTo>
                    <a:pt x="1020" y="144"/>
                  </a:lnTo>
                  <a:lnTo>
                    <a:pt x="1068" y="138"/>
                  </a:lnTo>
                  <a:lnTo>
                    <a:pt x="1110" y="132"/>
                  </a:lnTo>
                  <a:lnTo>
                    <a:pt x="1110" y="126"/>
                  </a:lnTo>
                  <a:lnTo>
                    <a:pt x="1116" y="120"/>
                  </a:lnTo>
                  <a:lnTo>
                    <a:pt x="1122" y="108"/>
                  </a:lnTo>
                  <a:lnTo>
                    <a:pt x="1134" y="96"/>
                  </a:lnTo>
                  <a:lnTo>
                    <a:pt x="1146" y="60"/>
                  </a:lnTo>
                  <a:lnTo>
                    <a:pt x="1158" y="54"/>
                  </a:lnTo>
                  <a:lnTo>
                    <a:pt x="1170" y="48"/>
                  </a:lnTo>
                  <a:lnTo>
                    <a:pt x="1188" y="42"/>
                  </a:lnTo>
                  <a:lnTo>
                    <a:pt x="1200" y="36"/>
                  </a:lnTo>
                  <a:lnTo>
                    <a:pt x="1212" y="36"/>
                  </a:lnTo>
                  <a:lnTo>
                    <a:pt x="1236" y="30"/>
                  </a:lnTo>
                  <a:lnTo>
                    <a:pt x="1236" y="24"/>
                  </a:lnTo>
                  <a:lnTo>
                    <a:pt x="1278" y="18"/>
                  </a:lnTo>
                  <a:lnTo>
                    <a:pt x="1290" y="18"/>
                  </a:lnTo>
                  <a:lnTo>
                    <a:pt x="1302" y="12"/>
                  </a:lnTo>
                  <a:lnTo>
                    <a:pt x="1314" y="0"/>
                  </a:lnTo>
                  <a:lnTo>
                    <a:pt x="1332" y="0"/>
                  </a:lnTo>
                  <a:lnTo>
                    <a:pt x="1338" y="24"/>
                  </a:lnTo>
                  <a:lnTo>
                    <a:pt x="1344" y="30"/>
                  </a:lnTo>
                  <a:lnTo>
                    <a:pt x="1350" y="42"/>
                  </a:lnTo>
                  <a:lnTo>
                    <a:pt x="1356" y="48"/>
                  </a:lnTo>
                  <a:lnTo>
                    <a:pt x="1356" y="78"/>
                  </a:lnTo>
                  <a:lnTo>
                    <a:pt x="1350" y="96"/>
                  </a:lnTo>
                  <a:lnTo>
                    <a:pt x="1338" y="108"/>
                  </a:lnTo>
                  <a:lnTo>
                    <a:pt x="1338" y="114"/>
                  </a:lnTo>
                  <a:lnTo>
                    <a:pt x="1338" y="120"/>
                  </a:lnTo>
                  <a:lnTo>
                    <a:pt x="1338" y="126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398" y="114"/>
                  </a:lnTo>
                  <a:lnTo>
                    <a:pt x="1416" y="120"/>
                  </a:lnTo>
                  <a:lnTo>
                    <a:pt x="1434" y="126"/>
                  </a:lnTo>
                  <a:lnTo>
                    <a:pt x="1458" y="132"/>
                  </a:lnTo>
                  <a:lnTo>
                    <a:pt x="1458" y="138"/>
                  </a:lnTo>
                  <a:lnTo>
                    <a:pt x="1512" y="138"/>
                  </a:lnTo>
                  <a:lnTo>
                    <a:pt x="1512" y="132"/>
                  </a:lnTo>
                  <a:lnTo>
                    <a:pt x="1524" y="138"/>
                  </a:lnTo>
                  <a:lnTo>
                    <a:pt x="1542" y="138"/>
                  </a:lnTo>
                  <a:lnTo>
                    <a:pt x="1542" y="150"/>
                  </a:lnTo>
                  <a:lnTo>
                    <a:pt x="1542" y="162"/>
                  </a:lnTo>
                  <a:lnTo>
                    <a:pt x="1548" y="174"/>
                  </a:lnTo>
                  <a:lnTo>
                    <a:pt x="1548" y="180"/>
                  </a:lnTo>
                  <a:lnTo>
                    <a:pt x="1554" y="222"/>
                  </a:lnTo>
                  <a:lnTo>
                    <a:pt x="1554" y="258"/>
                  </a:lnTo>
                  <a:lnTo>
                    <a:pt x="1554" y="276"/>
                  </a:lnTo>
                  <a:lnTo>
                    <a:pt x="1554" y="282"/>
                  </a:lnTo>
                  <a:lnTo>
                    <a:pt x="1554" y="294"/>
                  </a:lnTo>
                  <a:lnTo>
                    <a:pt x="1554" y="306"/>
                  </a:lnTo>
                  <a:lnTo>
                    <a:pt x="1554" y="324"/>
                  </a:lnTo>
                  <a:lnTo>
                    <a:pt x="1554" y="330"/>
                  </a:lnTo>
                  <a:lnTo>
                    <a:pt x="1548" y="330"/>
                  </a:lnTo>
                  <a:lnTo>
                    <a:pt x="1548" y="336"/>
                  </a:lnTo>
                  <a:lnTo>
                    <a:pt x="1548" y="342"/>
                  </a:lnTo>
                  <a:lnTo>
                    <a:pt x="1542" y="336"/>
                  </a:lnTo>
                  <a:lnTo>
                    <a:pt x="1542" y="330"/>
                  </a:lnTo>
                  <a:lnTo>
                    <a:pt x="1536" y="330"/>
                  </a:lnTo>
                  <a:lnTo>
                    <a:pt x="1530" y="330"/>
                  </a:lnTo>
                  <a:lnTo>
                    <a:pt x="1530" y="336"/>
                  </a:lnTo>
                  <a:lnTo>
                    <a:pt x="1536" y="342"/>
                  </a:lnTo>
                  <a:lnTo>
                    <a:pt x="1530" y="342"/>
                  </a:lnTo>
                  <a:lnTo>
                    <a:pt x="1518" y="348"/>
                  </a:lnTo>
                  <a:lnTo>
                    <a:pt x="1512" y="354"/>
                  </a:lnTo>
                  <a:lnTo>
                    <a:pt x="1506" y="354"/>
                  </a:lnTo>
                  <a:lnTo>
                    <a:pt x="1500" y="354"/>
                  </a:lnTo>
                  <a:lnTo>
                    <a:pt x="1494" y="354"/>
                  </a:lnTo>
                  <a:lnTo>
                    <a:pt x="1494" y="360"/>
                  </a:lnTo>
                  <a:lnTo>
                    <a:pt x="1488" y="360"/>
                  </a:lnTo>
                  <a:lnTo>
                    <a:pt x="1488" y="366"/>
                  </a:lnTo>
                  <a:lnTo>
                    <a:pt x="1488" y="372"/>
                  </a:lnTo>
                  <a:lnTo>
                    <a:pt x="1482" y="372"/>
                  </a:lnTo>
                  <a:lnTo>
                    <a:pt x="1476" y="372"/>
                  </a:lnTo>
                  <a:lnTo>
                    <a:pt x="1470" y="372"/>
                  </a:lnTo>
                  <a:lnTo>
                    <a:pt x="1470" y="378"/>
                  </a:lnTo>
                  <a:lnTo>
                    <a:pt x="1470" y="384"/>
                  </a:lnTo>
                  <a:lnTo>
                    <a:pt x="1470" y="390"/>
                  </a:lnTo>
                  <a:lnTo>
                    <a:pt x="1464" y="402"/>
                  </a:lnTo>
                  <a:lnTo>
                    <a:pt x="1446" y="402"/>
                  </a:lnTo>
                  <a:lnTo>
                    <a:pt x="1440" y="372"/>
                  </a:lnTo>
                  <a:lnTo>
                    <a:pt x="1410" y="372"/>
                  </a:lnTo>
                  <a:lnTo>
                    <a:pt x="1380" y="372"/>
                  </a:lnTo>
                  <a:lnTo>
                    <a:pt x="1374" y="372"/>
                  </a:lnTo>
                  <a:lnTo>
                    <a:pt x="1368" y="378"/>
                  </a:lnTo>
                  <a:lnTo>
                    <a:pt x="1362" y="378"/>
                  </a:lnTo>
                  <a:lnTo>
                    <a:pt x="1356" y="378"/>
                  </a:lnTo>
                  <a:lnTo>
                    <a:pt x="1350" y="384"/>
                  </a:lnTo>
                  <a:lnTo>
                    <a:pt x="1350" y="390"/>
                  </a:lnTo>
                  <a:lnTo>
                    <a:pt x="1344" y="390"/>
                  </a:lnTo>
                  <a:lnTo>
                    <a:pt x="1338" y="390"/>
                  </a:lnTo>
                  <a:lnTo>
                    <a:pt x="1332" y="390"/>
                  </a:lnTo>
                  <a:lnTo>
                    <a:pt x="1332" y="396"/>
                  </a:lnTo>
                  <a:lnTo>
                    <a:pt x="1332" y="390"/>
                  </a:lnTo>
                  <a:lnTo>
                    <a:pt x="1326" y="402"/>
                  </a:lnTo>
                  <a:lnTo>
                    <a:pt x="1320" y="402"/>
                  </a:lnTo>
                  <a:lnTo>
                    <a:pt x="1302" y="474"/>
                  </a:lnTo>
                  <a:lnTo>
                    <a:pt x="1308" y="480"/>
                  </a:lnTo>
                  <a:lnTo>
                    <a:pt x="1314" y="480"/>
                  </a:lnTo>
                  <a:lnTo>
                    <a:pt x="1308" y="498"/>
                  </a:lnTo>
                  <a:lnTo>
                    <a:pt x="1308" y="504"/>
                  </a:lnTo>
                  <a:lnTo>
                    <a:pt x="1314" y="510"/>
                  </a:lnTo>
                  <a:lnTo>
                    <a:pt x="1308" y="510"/>
                  </a:lnTo>
                  <a:lnTo>
                    <a:pt x="1308" y="516"/>
                  </a:lnTo>
                  <a:lnTo>
                    <a:pt x="1302" y="516"/>
                  </a:lnTo>
                  <a:lnTo>
                    <a:pt x="1296" y="510"/>
                  </a:lnTo>
                  <a:lnTo>
                    <a:pt x="1296" y="516"/>
                  </a:lnTo>
                  <a:lnTo>
                    <a:pt x="1290" y="540"/>
                  </a:lnTo>
                  <a:lnTo>
                    <a:pt x="1290" y="552"/>
                  </a:lnTo>
                  <a:lnTo>
                    <a:pt x="1284" y="558"/>
                  </a:lnTo>
                  <a:lnTo>
                    <a:pt x="1290" y="576"/>
                  </a:lnTo>
                  <a:lnTo>
                    <a:pt x="1290" y="600"/>
                  </a:lnTo>
                  <a:lnTo>
                    <a:pt x="1284" y="618"/>
                  </a:lnTo>
                  <a:lnTo>
                    <a:pt x="1290" y="624"/>
                  </a:lnTo>
                  <a:lnTo>
                    <a:pt x="1284" y="630"/>
                  </a:lnTo>
                  <a:lnTo>
                    <a:pt x="1278" y="630"/>
                  </a:lnTo>
                  <a:lnTo>
                    <a:pt x="1272" y="630"/>
                  </a:lnTo>
                  <a:lnTo>
                    <a:pt x="1266" y="636"/>
                  </a:lnTo>
                  <a:lnTo>
                    <a:pt x="1260" y="642"/>
                  </a:lnTo>
                  <a:lnTo>
                    <a:pt x="1260" y="636"/>
                  </a:lnTo>
                  <a:lnTo>
                    <a:pt x="1254" y="636"/>
                  </a:lnTo>
                  <a:lnTo>
                    <a:pt x="1248" y="636"/>
                  </a:lnTo>
                  <a:lnTo>
                    <a:pt x="1248" y="642"/>
                  </a:lnTo>
                  <a:lnTo>
                    <a:pt x="1242" y="642"/>
                  </a:lnTo>
                  <a:lnTo>
                    <a:pt x="1242" y="648"/>
                  </a:lnTo>
                  <a:lnTo>
                    <a:pt x="1236" y="654"/>
                  </a:lnTo>
                  <a:lnTo>
                    <a:pt x="1230" y="654"/>
                  </a:lnTo>
                  <a:lnTo>
                    <a:pt x="1224" y="654"/>
                  </a:lnTo>
                  <a:lnTo>
                    <a:pt x="1218" y="660"/>
                  </a:lnTo>
                  <a:lnTo>
                    <a:pt x="1212" y="660"/>
                  </a:lnTo>
                  <a:lnTo>
                    <a:pt x="1206" y="660"/>
                  </a:lnTo>
                  <a:lnTo>
                    <a:pt x="1200" y="660"/>
                  </a:lnTo>
                  <a:lnTo>
                    <a:pt x="1200" y="666"/>
                  </a:lnTo>
                  <a:lnTo>
                    <a:pt x="1194" y="666"/>
                  </a:lnTo>
                  <a:lnTo>
                    <a:pt x="1188" y="666"/>
                  </a:lnTo>
                  <a:lnTo>
                    <a:pt x="1182" y="672"/>
                  </a:lnTo>
                  <a:lnTo>
                    <a:pt x="1176" y="672"/>
                  </a:lnTo>
                  <a:lnTo>
                    <a:pt x="1170" y="672"/>
                  </a:lnTo>
                  <a:lnTo>
                    <a:pt x="1164" y="678"/>
                  </a:lnTo>
                  <a:lnTo>
                    <a:pt x="1170" y="678"/>
                  </a:lnTo>
                  <a:lnTo>
                    <a:pt x="1164" y="684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52" y="684"/>
                  </a:lnTo>
                  <a:lnTo>
                    <a:pt x="1152" y="690"/>
                  </a:lnTo>
                  <a:lnTo>
                    <a:pt x="1146" y="690"/>
                  </a:lnTo>
                  <a:lnTo>
                    <a:pt x="1140" y="690"/>
                  </a:lnTo>
                  <a:lnTo>
                    <a:pt x="1134" y="696"/>
                  </a:lnTo>
                  <a:lnTo>
                    <a:pt x="1128" y="696"/>
                  </a:lnTo>
                  <a:lnTo>
                    <a:pt x="1122" y="702"/>
                  </a:lnTo>
                  <a:lnTo>
                    <a:pt x="1116" y="702"/>
                  </a:lnTo>
                  <a:lnTo>
                    <a:pt x="1110" y="708"/>
                  </a:lnTo>
                  <a:lnTo>
                    <a:pt x="1104" y="708"/>
                  </a:lnTo>
                  <a:lnTo>
                    <a:pt x="1098" y="708"/>
                  </a:lnTo>
                  <a:lnTo>
                    <a:pt x="1092" y="708"/>
                  </a:lnTo>
                  <a:lnTo>
                    <a:pt x="1092" y="714"/>
                  </a:lnTo>
                  <a:lnTo>
                    <a:pt x="1086" y="720"/>
                  </a:lnTo>
                  <a:lnTo>
                    <a:pt x="1080" y="720"/>
                  </a:lnTo>
                  <a:lnTo>
                    <a:pt x="1074" y="720"/>
                  </a:lnTo>
                  <a:lnTo>
                    <a:pt x="1068" y="720"/>
                  </a:lnTo>
                  <a:lnTo>
                    <a:pt x="1062" y="720"/>
                  </a:lnTo>
                  <a:lnTo>
                    <a:pt x="1050" y="726"/>
                  </a:lnTo>
                  <a:lnTo>
                    <a:pt x="1044" y="726"/>
                  </a:lnTo>
                  <a:lnTo>
                    <a:pt x="1038" y="732"/>
                  </a:lnTo>
                  <a:lnTo>
                    <a:pt x="1026" y="732"/>
                  </a:lnTo>
                  <a:lnTo>
                    <a:pt x="1020" y="732"/>
                  </a:lnTo>
                  <a:lnTo>
                    <a:pt x="1014" y="738"/>
                  </a:lnTo>
                  <a:lnTo>
                    <a:pt x="1008" y="738"/>
                  </a:lnTo>
                  <a:lnTo>
                    <a:pt x="1002" y="738"/>
                  </a:lnTo>
                  <a:lnTo>
                    <a:pt x="996" y="738"/>
                  </a:lnTo>
                  <a:lnTo>
                    <a:pt x="990" y="738"/>
                  </a:lnTo>
                  <a:lnTo>
                    <a:pt x="990" y="732"/>
                  </a:lnTo>
                  <a:lnTo>
                    <a:pt x="984" y="732"/>
                  </a:lnTo>
                  <a:lnTo>
                    <a:pt x="978" y="738"/>
                  </a:lnTo>
                  <a:lnTo>
                    <a:pt x="978" y="744"/>
                  </a:lnTo>
                  <a:lnTo>
                    <a:pt x="984" y="744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8" y="756"/>
                  </a:lnTo>
                  <a:lnTo>
                    <a:pt x="972" y="756"/>
                  </a:lnTo>
                  <a:lnTo>
                    <a:pt x="972" y="762"/>
                  </a:lnTo>
                  <a:lnTo>
                    <a:pt x="966" y="768"/>
                  </a:lnTo>
                  <a:lnTo>
                    <a:pt x="966" y="762"/>
                  </a:lnTo>
                  <a:lnTo>
                    <a:pt x="960" y="762"/>
                  </a:lnTo>
                  <a:lnTo>
                    <a:pt x="954" y="768"/>
                  </a:lnTo>
                  <a:lnTo>
                    <a:pt x="954" y="774"/>
                  </a:lnTo>
                  <a:lnTo>
                    <a:pt x="948" y="774"/>
                  </a:lnTo>
                  <a:lnTo>
                    <a:pt x="948" y="780"/>
                  </a:lnTo>
                  <a:lnTo>
                    <a:pt x="948" y="786"/>
                  </a:lnTo>
                  <a:lnTo>
                    <a:pt x="942" y="786"/>
                  </a:lnTo>
                  <a:lnTo>
                    <a:pt x="942" y="792"/>
                  </a:lnTo>
                  <a:lnTo>
                    <a:pt x="936" y="792"/>
                  </a:lnTo>
                  <a:lnTo>
                    <a:pt x="942" y="798"/>
                  </a:lnTo>
                  <a:lnTo>
                    <a:pt x="942" y="804"/>
                  </a:lnTo>
                  <a:lnTo>
                    <a:pt x="942" y="810"/>
                  </a:lnTo>
                  <a:lnTo>
                    <a:pt x="948" y="810"/>
                  </a:lnTo>
                  <a:lnTo>
                    <a:pt x="942" y="816"/>
                  </a:lnTo>
                  <a:lnTo>
                    <a:pt x="948" y="816"/>
                  </a:lnTo>
                  <a:lnTo>
                    <a:pt x="948" y="822"/>
                  </a:lnTo>
                  <a:lnTo>
                    <a:pt x="954" y="822"/>
                  </a:lnTo>
                  <a:lnTo>
                    <a:pt x="960" y="828"/>
                  </a:lnTo>
                  <a:lnTo>
                    <a:pt x="960" y="834"/>
                  </a:lnTo>
                  <a:lnTo>
                    <a:pt x="966" y="834"/>
                  </a:lnTo>
                  <a:lnTo>
                    <a:pt x="960" y="840"/>
                  </a:lnTo>
                  <a:lnTo>
                    <a:pt x="966" y="846"/>
                  </a:lnTo>
                  <a:lnTo>
                    <a:pt x="966" y="840"/>
                  </a:lnTo>
                  <a:lnTo>
                    <a:pt x="972" y="840"/>
                  </a:lnTo>
                  <a:lnTo>
                    <a:pt x="990" y="840"/>
                  </a:lnTo>
                  <a:lnTo>
                    <a:pt x="1002" y="834"/>
                  </a:lnTo>
                  <a:lnTo>
                    <a:pt x="1020" y="828"/>
                  </a:lnTo>
                  <a:lnTo>
                    <a:pt x="1032" y="828"/>
                  </a:lnTo>
                  <a:lnTo>
                    <a:pt x="1050" y="828"/>
                  </a:lnTo>
                  <a:lnTo>
                    <a:pt x="1062" y="846"/>
                  </a:lnTo>
                  <a:lnTo>
                    <a:pt x="1074" y="876"/>
                  </a:lnTo>
                  <a:lnTo>
                    <a:pt x="1068" y="900"/>
                  </a:lnTo>
                  <a:lnTo>
                    <a:pt x="1074" y="912"/>
                  </a:lnTo>
                  <a:lnTo>
                    <a:pt x="1074" y="936"/>
                  </a:lnTo>
                  <a:lnTo>
                    <a:pt x="1068" y="942"/>
                  </a:lnTo>
                  <a:lnTo>
                    <a:pt x="1062" y="954"/>
                  </a:lnTo>
                  <a:lnTo>
                    <a:pt x="1056" y="978"/>
                  </a:lnTo>
                  <a:lnTo>
                    <a:pt x="1056" y="996"/>
                  </a:lnTo>
                  <a:lnTo>
                    <a:pt x="1068" y="990"/>
                  </a:lnTo>
                  <a:lnTo>
                    <a:pt x="1074" y="990"/>
                  </a:lnTo>
                  <a:lnTo>
                    <a:pt x="1074" y="1008"/>
                  </a:lnTo>
                  <a:lnTo>
                    <a:pt x="1080" y="1008"/>
                  </a:lnTo>
                  <a:lnTo>
                    <a:pt x="1092" y="1014"/>
                  </a:lnTo>
                  <a:lnTo>
                    <a:pt x="1110" y="1044"/>
                  </a:lnTo>
                  <a:lnTo>
                    <a:pt x="1110" y="1062"/>
                  </a:lnTo>
                  <a:lnTo>
                    <a:pt x="1128" y="1068"/>
                  </a:lnTo>
                  <a:lnTo>
                    <a:pt x="1128" y="1092"/>
                  </a:lnTo>
                  <a:lnTo>
                    <a:pt x="1134" y="1098"/>
                  </a:lnTo>
                  <a:lnTo>
                    <a:pt x="1158" y="1122"/>
                  </a:lnTo>
                  <a:lnTo>
                    <a:pt x="1188" y="1122"/>
                  </a:lnTo>
                  <a:lnTo>
                    <a:pt x="1188" y="1128"/>
                  </a:lnTo>
                  <a:lnTo>
                    <a:pt x="1200" y="1134"/>
                  </a:lnTo>
                  <a:lnTo>
                    <a:pt x="1206" y="1134"/>
                  </a:lnTo>
                  <a:lnTo>
                    <a:pt x="1206" y="1128"/>
                  </a:lnTo>
                  <a:lnTo>
                    <a:pt x="1212" y="1128"/>
                  </a:lnTo>
                  <a:lnTo>
                    <a:pt x="1218" y="1128"/>
                  </a:lnTo>
                  <a:lnTo>
                    <a:pt x="1224" y="1122"/>
                  </a:lnTo>
                  <a:lnTo>
                    <a:pt x="1224" y="1128"/>
                  </a:lnTo>
                  <a:lnTo>
                    <a:pt x="1230" y="1128"/>
                  </a:lnTo>
                  <a:lnTo>
                    <a:pt x="1236" y="1128"/>
                  </a:lnTo>
                  <a:lnTo>
                    <a:pt x="1236" y="1122"/>
                  </a:lnTo>
                  <a:lnTo>
                    <a:pt x="1242" y="1122"/>
                  </a:lnTo>
                  <a:lnTo>
                    <a:pt x="1248" y="1128"/>
                  </a:lnTo>
                  <a:lnTo>
                    <a:pt x="1254" y="1128"/>
                  </a:lnTo>
                  <a:lnTo>
                    <a:pt x="1260" y="1134"/>
                  </a:lnTo>
                  <a:lnTo>
                    <a:pt x="1260" y="1140"/>
                  </a:lnTo>
                  <a:lnTo>
                    <a:pt x="1266" y="1140"/>
                  </a:lnTo>
                  <a:lnTo>
                    <a:pt x="1272" y="1140"/>
                  </a:lnTo>
                  <a:lnTo>
                    <a:pt x="1278" y="1140"/>
                  </a:lnTo>
                  <a:lnTo>
                    <a:pt x="1284" y="1140"/>
                  </a:lnTo>
                  <a:lnTo>
                    <a:pt x="1290" y="1146"/>
                  </a:lnTo>
                  <a:lnTo>
                    <a:pt x="1290" y="1152"/>
                  </a:lnTo>
                  <a:lnTo>
                    <a:pt x="1296" y="1146"/>
                  </a:lnTo>
                  <a:lnTo>
                    <a:pt x="1296" y="1152"/>
                  </a:lnTo>
                  <a:lnTo>
                    <a:pt x="1308" y="1152"/>
                  </a:lnTo>
                  <a:lnTo>
                    <a:pt x="1314" y="1152"/>
                  </a:lnTo>
                  <a:lnTo>
                    <a:pt x="1320" y="1152"/>
                  </a:lnTo>
                  <a:lnTo>
                    <a:pt x="1332" y="1152"/>
                  </a:lnTo>
                  <a:lnTo>
                    <a:pt x="1338" y="1152"/>
                  </a:lnTo>
                  <a:lnTo>
                    <a:pt x="1344" y="1152"/>
                  </a:lnTo>
                  <a:lnTo>
                    <a:pt x="1344" y="1158"/>
                  </a:lnTo>
                  <a:lnTo>
                    <a:pt x="1350" y="1158"/>
                  </a:lnTo>
                  <a:lnTo>
                    <a:pt x="1356" y="1158"/>
                  </a:lnTo>
                  <a:lnTo>
                    <a:pt x="1362" y="1158"/>
                  </a:lnTo>
                  <a:lnTo>
                    <a:pt x="1368" y="1158"/>
                  </a:lnTo>
                  <a:lnTo>
                    <a:pt x="1374" y="1164"/>
                  </a:lnTo>
                  <a:lnTo>
                    <a:pt x="1380" y="1164"/>
                  </a:lnTo>
                  <a:lnTo>
                    <a:pt x="1386" y="1170"/>
                  </a:lnTo>
                  <a:lnTo>
                    <a:pt x="1392" y="1170"/>
                  </a:lnTo>
                  <a:lnTo>
                    <a:pt x="1398" y="1164"/>
                  </a:lnTo>
                  <a:lnTo>
                    <a:pt x="1404" y="1164"/>
                  </a:lnTo>
                  <a:lnTo>
                    <a:pt x="1410" y="1164"/>
                  </a:lnTo>
                  <a:lnTo>
                    <a:pt x="1416" y="1164"/>
                  </a:lnTo>
                  <a:lnTo>
                    <a:pt x="1416" y="1170"/>
                  </a:lnTo>
                  <a:lnTo>
                    <a:pt x="1422" y="1176"/>
                  </a:lnTo>
                  <a:lnTo>
                    <a:pt x="1416" y="1176"/>
                  </a:lnTo>
                  <a:lnTo>
                    <a:pt x="1416" y="1182"/>
                  </a:lnTo>
                  <a:lnTo>
                    <a:pt x="1410" y="1188"/>
                  </a:lnTo>
                  <a:lnTo>
                    <a:pt x="1404" y="1194"/>
                  </a:lnTo>
                  <a:lnTo>
                    <a:pt x="1404" y="1200"/>
                  </a:lnTo>
                  <a:lnTo>
                    <a:pt x="1404" y="1206"/>
                  </a:lnTo>
                  <a:lnTo>
                    <a:pt x="1398" y="1212"/>
                  </a:lnTo>
                  <a:lnTo>
                    <a:pt x="1398" y="1206"/>
                  </a:lnTo>
                  <a:lnTo>
                    <a:pt x="1392" y="1206"/>
                  </a:lnTo>
                  <a:lnTo>
                    <a:pt x="1386" y="1206"/>
                  </a:lnTo>
                  <a:lnTo>
                    <a:pt x="1380" y="1212"/>
                  </a:lnTo>
                  <a:lnTo>
                    <a:pt x="1374" y="1212"/>
                  </a:lnTo>
                  <a:lnTo>
                    <a:pt x="1368" y="1218"/>
                  </a:lnTo>
                  <a:lnTo>
                    <a:pt x="1362" y="1218"/>
                  </a:lnTo>
                  <a:lnTo>
                    <a:pt x="1362" y="1224"/>
                  </a:lnTo>
                  <a:lnTo>
                    <a:pt x="1356" y="1230"/>
                  </a:lnTo>
                  <a:lnTo>
                    <a:pt x="1350" y="1230"/>
                  </a:lnTo>
                  <a:lnTo>
                    <a:pt x="1344" y="1236"/>
                  </a:lnTo>
                  <a:lnTo>
                    <a:pt x="1338" y="1230"/>
                  </a:lnTo>
                  <a:lnTo>
                    <a:pt x="1332" y="1230"/>
                  </a:lnTo>
                  <a:lnTo>
                    <a:pt x="1326" y="1230"/>
                  </a:lnTo>
                  <a:lnTo>
                    <a:pt x="1320" y="1230"/>
                  </a:lnTo>
                  <a:lnTo>
                    <a:pt x="1314" y="1230"/>
                  </a:lnTo>
                  <a:lnTo>
                    <a:pt x="1296" y="1242"/>
                  </a:lnTo>
                  <a:lnTo>
                    <a:pt x="1296" y="1248"/>
                  </a:lnTo>
                  <a:lnTo>
                    <a:pt x="1290" y="1248"/>
                  </a:lnTo>
                  <a:lnTo>
                    <a:pt x="1290" y="1260"/>
                  </a:lnTo>
                  <a:lnTo>
                    <a:pt x="1278" y="1272"/>
                  </a:lnTo>
                  <a:lnTo>
                    <a:pt x="1278" y="1278"/>
                  </a:lnTo>
                  <a:lnTo>
                    <a:pt x="1278" y="1284"/>
                  </a:lnTo>
                  <a:lnTo>
                    <a:pt x="1278" y="1290"/>
                  </a:lnTo>
                  <a:lnTo>
                    <a:pt x="1284" y="1296"/>
                  </a:lnTo>
                  <a:lnTo>
                    <a:pt x="1302" y="1302"/>
                  </a:lnTo>
                  <a:lnTo>
                    <a:pt x="1308" y="1308"/>
                  </a:lnTo>
                  <a:lnTo>
                    <a:pt x="1308" y="1314"/>
                  </a:lnTo>
                  <a:lnTo>
                    <a:pt x="1302" y="1320"/>
                  </a:lnTo>
                  <a:lnTo>
                    <a:pt x="1278" y="1314"/>
                  </a:lnTo>
                  <a:lnTo>
                    <a:pt x="1266" y="1308"/>
                  </a:lnTo>
                  <a:lnTo>
                    <a:pt x="1260" y="1296"/>
                  </a:lnTo>
                  <a:lnTo>
                    <a:pt x="1236" y="1296"/>
                  </a:lnTo>
                  <a:lnTo>
                    <a:pt x="1224" y="1308"/>
                  </a:lnTo>
                  <a:lnTo>
                    <a:pt x="1218" y="1308"/>
                  </a:lnTo>
                  <a:lnTo>
                    <a:pt x="1218" y="1302"/>
                  </a:lnTo>
                  <a:lnTo>
                    <a:pt x="1212" y="1302"/>
                  </a:lnTo>
                  <a:lnTo>
                    <a:pt x="1206" y="1302"/>
                  </a:lnTo>
                  <a:lnTo>
                    <a:pt x="1170" y="1314"/>
                  </a:lnTo>
                  <a:lnTo>
                    <a:pt x="1134" y="1296"/>
                  </a:lnTo>
                  <a:lnTo>
                    <a:pt x="1122" y="1290"/>
                  </a:lnTo>
                  <a:lnTo>
                    <a:pt x="1104" y="1290"/>
                  </a:lnTo>
                  <a:lnTo>
                    <a:pt x="1098" y="1278"/>
                  </a:lnTo>
                  <a:lnTo>
                    <a:pt x="1092" y="1242"/>
                  </a:lnTo>
                  <a:lnTo>
                    <a:pt x="1086" y="1242"/>
                  </a:lnTo>
                  <a:lnTo>
                    <a:pt x="1086" y="1248"/>
                  </a:lnTo>
                  <a:lnTo>
                    <a:pt x="1086" y="1254"/>
                  </a:lnTo>
                  <a:lnTo>
                    <a:pt x="1080" y="1254"/>
                  </a:lnTo>
                  <a:lnTo>
                    <a:pt x="1080" y="1260"/>
                  </a:lnTo>
                  <a:lnTo>
                    <a:pt x="1074" y="1260"/>
                  </a:lnTo>
                  <a:lnTo>
                    <a:pt x="1068" y="1236"/>
                  </a:lnTo>
                  <a:lnTo>
                    <a:pt x="1068" y="1206"/>
                  </a:lnTo>
                  <a:lnTo>
                    <a:pt x="1080" y="1194"/>
                  </a:lnTo>
                  <a:lnTo>
                    <a:pt x="1086" y="1194"/>
                  </a:lnTo>
                  <a:lnTo>
                    <a:pt x="1092" y="1200"/>
                  </a:lnTo>
                  <a:lnTo>
                    <a:pt x="1098" y="1206"/>
                  </a:lnTo>
                  <a:lnTo>
                    <a:pt x="1104" y="1200"/>
                  </a:lnTo>
                  <a:lnTo>
                    <a:pt x="1104" y="1194"/>
                  </a:lnTo>
                  <a:lnTo>
                    <a:pt x="1110" y="1194"/>
                  </a:lnTo>
                  <a:lnTo>
                    <a:pt x="1110" y="1188"/>
                  </a:lnTo>
                  <a:lnTo>
                    <a:pt x="1116" y="1182"/>
                  </a:lnTo>
                  <a:lnTo>
                    <a:pt x="1110" y="1182"/>
                  </a:lnTo>
                  <a:lnTo>
                    <a:pt x="1110" y="1170"/>
                  </a:lnTo>
                  <a:lnTo>
                    <a:pt x="1110" y="1158"/>
                  </a:lnTo>
                  <a:lnTo>
                    <a:pt x="1110" y="1152"/>
                  </a:lnTo>
                  <a:lnTo>
                    <a:pt x="1104" y="1146"/>
                  </a:lnTo>
                  <a:lnTo>
                    <a:pt x="1098" y="1140"/>
                  </a:lnTo>
                  <a:lnTo>
                    <a:pt x="1098" y="1134"/>
                  </a:lnTo>
                  <a:lnTo>
                    <a:pt x="1098" y="1128"/>
                  </a:lnTo>
                  <a:lnTo>
                    <a:pt x="1092" y="1128"/>
                  </a:lnTo>
                  <a:lnTo>
                    <a:pt x="1092" y="1122"/>
                  </a:lnTo>
                  <a:lnTo>
                    <a:pt x="1092" y="1116"/>
                  </a:lnTo>
                  <a:lnTo>
                    <a:pt x="1092" y="1110"/>
                  </a:lnTo>
                  <a:lnTo>
                    <a:pt x="1056" y="1122"/>
                  </a:lnTo>
                  <a:lnTo>
                    <a:pt x="1038" y="1128"/>
                  </a:lnTo>
                  <a:lnTo>
                    <a:pt x="1032" y="1128"/>
                  </a:lnTo>
                  <a:lnTo>
                    <a:pt x="1026" y="1128"/>
                  </a:lnTo>
                  <a:lnTo>
                    <a:pt x="1020" y="1128"/>
                  </a:lnTo>
                  <a:lnTo>
                    <a:pt x="1014" y="1128"/>
                  </a:lnTo>
                  <a:lnTo>
                    <a:pt x="1014" y="1122"/>
                  </a:lnTo>
                  <a:lnTo>
                    <a:pt x="1008" y="1122"/>
                  </a:lnTo>
                  <a:lnTo>
                    <a:pt x="1002" y="1128"/>
                  </a:lnTo>
                  <a:lnTo>
                    <a:pt x="1002" y="1134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84" y="1140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66" y="1140"/>
                  </a:lnTo>
                  <a:lnTo>
                    <a:pt x="954" y="1140"/>
                  </a:lnTo>
                  <a:lnTo>
                    <a:pt x="954" y="1134"/>
                  </a:lnTo>
                  <a:lnTo>
                    <a:pt x="948" y="1134"/>
                  </a:lnTo>
                  <a:lnTo>
                    <a:pt x="942" y="1134"/>
                  </a:lnTo>
                  <a:lnTo>
                    <a:pt x="936" y="1134"/>
                  </a:lnTo>
                  <a:lnTo>
                    <a:pt x="930" y="1134"/>
                  </a:lnTo>
                  <a:lnTo>
                    <a:pt x="924" y="1134"/>
                  </a:lnTo>
                  <a:lnTo>
                    <a:pt x="918" y="1134"/>
                  </a:lnTo>
                  <a:lnTo>
                    <a:pt x="918" y="1128"/>
                  </a:lnTo>
                  <a:lnTo>
                    <a:pt x="918" y="1104"/>
                  </a:lnTo>
                  <a:lnTo>
                    <a:pt x="906" y="1104"/>
                  </a:lnTo>
                  <a:lnTo>
                    <a:pt x="900" y="1098"/>
                  </a:lnTo>
                  <a:lnTo>
                    <a:pt x="900" y="1092"/>
                  </a:lnTo>
                  <a:lnTo>
                    <a:pt x="900" y="1086"/>
                  </a:lnTo>
                  <a:lnTo>
                    <a:pt x="900" y="1080"/>
                  </a:lnTo>
                  <a:lnTo>
                    <a:pt x="894" y="1080"/>
                  </a:lnTo>
                  <a:lnTo>
                    <a:pt x="858" y="1074"/>
                  </a:lnTo>
                  <a:lnTo>
                    <a:pt x="852" y="1080"/>
                  </a:lnTo>
                  <a:lnTo>
                    <a:pt x="846" y="1086"/>
                  </a:lnTo>
                  <a:lnTo>
                    <a:pt x="840" y="1086"/>
                  </a:lnTo>
                  <a:lnTo>
                    <a:pt x="840" y="1092"/>
                  </a:lnTo>
                  <a:lnTo>
                    <a:pt x="834" y="1092"/>
                  </a:lnTo>
                  <a:lnTo>
                    <a:pt x="828" y="1098"/>
                  </a:lnTo>
                  <a:lnTo>
                    <a:pt x="822" y="1098"/>
                  </a:lnTo>
                  <a:lnTo>
                    <a:pt x="762" y="1074"/>
                  </a:lnTo>
                  <a:lnTo>
                    <a:pt x="756" y="1068"/>
                  </a:lnTo>
                  <a:lnTo>
                    <a:pt x="750" y="1068"/>
                  </a:lnTo>
                  <a:lnTo>
                    <a:pt x="744" y="1062"/>
                  </a:lnTo>
                  <a:lnTo>
                    <a:pt x="744" y="1068"/>
                  </a:lnTo>
                  <a:lnTo>
                    <a:pt x="744" y="1074"/>
                  </a:lnTo>
                  <a:lnTo>
                    <a:pt x="738" y="1074"/>
                  </a:lnTo>
                  <a:lnTo>
                    <a:pt x="738" y="1068"/>
                  </a:lnTo>
                  <a:lnTo>
                    <a:pt x="732" y="1068"/>
                  </a:lnTo>
                  <a:lnTo>
                    <a:pt x="726" y="1068"/>
                  </a:lnTo>
                  <a:lnTo>
                    <a:pt x="726" y="1074"/>
                  </a:lnTo>
                  <a:lnTo>
                    <a:pt x="720" y="1074"/>
                  </a:lnTo>
                  <a:lnTo>
                    <a:pt x="684" y="106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5" name="Freeform 40">
              <a:extLst>
                <a:ext uri="{FF2B5EF4-FFF2-40B4-BE49-F238E27FC236}">
                  <a16:creationId xmlns:a16="http://schemas.microsoft.com/office/drawing/2014/main" id="{37EC2F22-BDB9-4162-8FA4-08493F6898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3558" y="1520374"/>
              <a:ext cx="1057717" cy="1252440"/>
            </a:xfrm>
            <a:custGeom>
              <a:avLst/>
              <a:gdLst>
                <a:gd name="T0" fmla="*/ 98 w 1992"/>
                <a:gd name="T1" fmla="*/ 162 h 2358"/>
                <a:gd name="T2" fmla="*/ 93 w 1992"/>
                <a:gd name="T3" fmla="*/ 172 h 2358"/>
                <a:gd name="T4" fmla="*/ 82 w 1992"/>
                <a:gd name="T5" fmla="*/ 179 h 2358"/>
                <a:gd name="T6" fmla="*/ 70 w 1992"/>
                <a:gd name="T7" fmla="*/ 174 h 2358"/>
                <a:gd name="T8" fmla="*/ 62 w 1992"/>
                <a:gd name="T9" fmla="*/ 182 h 2358"/>
                <a:gd name="T10" fmla="*/ 45 w 1992"/>
                <a:gd name="T11" fmla="*/ 189 h 2358"/>
                <a:gd name="T12" fmla="*/ 24 w 1992"/>
                <a:gd name="T13" fmla="*/ 205 h 2358"/>
                <a:gd name="T14" fmla="*/ 17 w 1992"/>
                <a:gd name="T15" fmla="*/ 204 h 2358"/>
                <a:gd name="T16" fmla="*/ 7 w 1992"/>
                <a:gd name="T17" fmla="*/ 197 h 2358"/>
                <a:gd name="T18" fmla="*/ 1 w 1992"/>
                <a:gd name="T19" fmla="*/ 191 h 2358"/>
                <a:gd name="T20" fmla="*/ 4 w 1992"/>
                <a:gd name="T21" fmla="*/ 175 h 2358"/>
                <a:gd name="T22" fmla="*/ 7 w 1992"/>
                <a:gd name="T23" fmla="*/ 172 h 2358"/>
                <a:gd name="T24" fmla="*/ 11 w 1992"/>
                <a:gd name="T25" fmla="*/ 168 h 2358"/>
                <a:gd name="T26" fmla="*/ 5 w 1992"/>
                <a:gd name="T27" fmla="*/ 159 h 2358"/>
                <a:gd name="T28" fmla="*/ 10 w 1992"/>
                <a:gd name="T29" fmla="*/ 156 h 2358"/>
                <a:gd name="T30" fmla="*/ 15 w 1992"/>
                <a:gd name="T31" fmla="*/ 155 h 2358"/>
                <a:gd name="T32" fmla="*/ 24 w 1992"/>
                <a:gd name="T33" fmla="*/ 149 h 2358"/>
                <a:gd name="T34" fmla="*/ 38 w 1992"/>
                <a:gd name="T35" fmla="*/ 127 h 2358"/>
                <a:gd name="T36" fmla="*/ 38 w 1992"/>
                <a:gd name="T37" fmla="*/ 107 h 2358"/>
                <a:gd name="T38" fmla="*/ 45 w 1992"/>
                <a:gd name="T39" fmla="*/ 66 h 2358"/>
                <a:gd name="T40" fmla="*/ 47 w 1992"/>
                <a:gd name="T41" fmla="*/ 36 h 2358"/>
                <a:gd name="T42" fmla="*/ 51 w 1992"/>
                <a:gd name="T43" fmla="*/ 35 h 2358"/>
                <a:gd name="T44" fmla="*/ 55 w 1992"/>
                <a:gd name="T45" fmla="*/ 30 h 2358"/>
                <a:gd name="T46" fmla="*/ 56 w 1992"/>
                <a:gd name="T47" fmla="*/ 27 h 2358"/>
                <a:gd name="T48" fmla="*/ 60 w 1992"/>
                <a:gd name="T49" fmla="*/ 23 h 2358"/>
                <a:gd name="T50" fmla="*/ 63 w 1992"/>
                <a:gd name="T51" fmla="*/ 23 h 2358"/>
                <a:gd name="T52" fmla="*/ 70 w 1992"/>
                <a:gd name="T53" fmla="*/ 18 h 2358"/>
                <a:gd name="T54" fmla="*/ 71 w 1992"/>
                <a:gd name="T55" fmla="*/ 15 h 2358"/>
                <a:gd name="T56" fmla="*/ 72 w 1992"/>
                <a:gd name="T57" fmla="*/ 13 h 2358"/>
                <a:gd name="T58" fmla="*/ 77 w 1992"/>
                <a:gd name="T59" fmla="*/ 12 h 2358"/>
                <a:gd name="T60" fmla="*/ 83 w 1992"/>
                <a:gd name="T61" fmla="*/ 10 h 2358"/>
                <a:gd name="T62" fmla="*/ 87 w 1992"/>
                <a:gd name="T63" fmla="*/ 10 h 2358"/>
                <a:gd name="T64" fmla="*/ 89 w 1992"/>
                <a:gd name="T65" fmla="*/ 10 h 2358"/>
                <a:gd name="T66" fmla="*/ 93 w 1992"/>
                <a:gd name="T67" fmla="*/ 8 h 2358"/>
                <a:gd name="T68" fmla="*/ 95 w 1992"/>
                <a:gd name="T69" fmla="*/ 4 h 2358"/>
                <a:gd name="T70" fmla="*/ 99 w 1992"/>
                <a:gd name="T71" fmla="*/ 0 h 2358"/>
                <a:gd name="T72" fmla="*/ 111 w 1992"/>
                <a:gd name="T73" fmla="*/ 0 h 2358"/>
                <a:gd name="T74" fmla="*/ 121 w 1992"/>
                <a:gd name="T75" fmla="*/ 9 h 2358"/>
                <a:gd name="T76" fmla="*/ 128 w 1992"/>
                <a:gd name="T77" fmla="*/ 19 h 2358"/>
                <a:gd name="T78" fmla="*/ 138 w 1992"/>
                <a:gd name="T79" fmla="*/ 33 h 2358"/>
                <a:gd name="T80" fmla="*/ 142 w 1992"/>
                <a:gd name="T81" fmla="*/ 47 h 2358"/>
                <a:gd name="T82" fmla="*/ 145 w 1992"/>
                <a:gd name="T83" fmla="*/ 62 h 2358"/>
                <a:gd name="T84" fmla="*/ 145 w 1992"/>
                <a:gd name="T85" fmla="*/ 70 h 2358"/>
                <a:gd name="T86" fmla="*/ 147 w 1992"/>
                <a:gd name="T87" fmla="*/ 75 h 2358"/>
                <a:gd name="T88" fmla="*/ 153 w 1992"/>
                <a:gd name="T89" fmla="*/ 75 h 2358"/>
                <a:gd name="T90" fmla="*/ 160 w 1992"/>
                <a:gd name="T91" fmla="*/ 76 h 2358"/>
                <a:gd name="T92" fmla="*/ 164 w 1992"/>
                <a:gd name="T93" fmla="*/ 79 h 2358"/>
                <a:gd name="T94" fmla="*/ 168 w 1992"/>
                <a:gd name="T95" fmla="*/ 83 h 2358"/>
                <a:gd name="T96" fmla="*/ 172 w 1992"/>
                <a:gd name="T97" fmla="*/ 86 h 2358"/>
                <a:gd name="T98" fmla="*/ 170 w 1992"/>
                <a:gd name="T99" fmla="*/ 93 h 2358"/>
                <a:gd name="T100" fmla="*/ 170 w 1992"/>
                <a:gd name="T101" fmla="*/ 99 h 2358"/>
                <a:gd name="T102" fmla="*/ 169 w 1992"/>
                <a:gd name="T103" fmla="*/ 106 h 2358"/>
                <a:gd name="T104" fmla="*/ 166 w 1992"/>
                <a:gd name="T105" fmla="*/ 113 h 2358"/>
                <a:gd name="T106" fmla="*/ 170 w 1992"/>
                <a:gd name="T107" fmla="*/ 122 h 2358"/>
                <a:gd name="T108" fmla="*/ 159 w 1992"/>
                <a:gd name="T109" fmla="*/ 128 h 2358"/>
                <a:gd name="T110" fmla="*/ 148 w 1992"/>
                <a:gd name="T111" fmla="*/ 134 h 2358"/>
                <a:gd name="T112" fmla="*/ 139 w 1992"/>
                <a:gd name="T113" fmla="*/ 136 h 2358"/>
                <a:gd name="T114" fmla="*/ 132 w 1992"/>
                <a:gd name="T115" fmla="*/ 138 h 2358"/>
                <a:gd name="T116" fmla="*/ 128 w 1992"/>
                <a:gd name="T117" fmla="*/ 145 h 2358"/>
                <a:gd name="T118" fmla="*/ 124 w 1992"/>
                <a:gd name="T119" fmla="*/ 150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92"/>
                <a:gd name="T181" fmla="*/ 0 h 2358"/>
                <a:gd name="T182" fmla="*/ 1992 w 1992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92" h="2358">
                  <a:moveTo>
                    <a:pt x="1356" y="1782"/>
                  </a:moveTo>
                  <a:lnTo>
                    <a:pt x="1350" y="1788"/>
                  </a:lnTo>
                  <a:lnTo>
                    <a:pt x="1266" y="1788"/>
                  </a:lnTo>
                  <a:lnTo>
                    <a:pt x="1260" y="1800"/>
                  </a:lnTo>
                  <a:lnTo>
                    <a:pt x="1242" y="1806"/>
                  </a:lnTo>
                  <a:lnTo>
                    <a:pt x="1218" y="1812"/>
                  </a:lnTo>
                  <a:lnTo>
                    <a:pt x="1182" y="1812"/>
                  </a:lnTo>
                  <a:lnTo>
                    <a:pt x="1158" y="1806"/>
                  </a:lnTo>
                  <a:lnTo>
                    <a:pt x="1134" y="1800"/>
                  </a:lnTo>
                  <a:lnTo>
                    <a:pt x="1134" y="1806"/>
                  </a:lnTo>
                  <a:lnTo>
                    <a:pt x="1134" y="1830"/>
                  </a:lnTo>
                  <a:lnTo>
                    <a:pt x="1128" y="1842"/>
                  </a:lnTo>
                  <a:lnTo>
                    <a:pt x="1128" y="1854"/>
                  </a:lnTo>
                  <a:lnTo>
                    <a:pt x="1128" y="1860"/>
                  </a:lnTo>
                  <a:lnTo>
                    <a:pt x="1128" y="1866"/>
                  </a:lnTo>
                  <a:lnTo>
                    <a:pt x="1128" y="1872"/>
                  </a:lnTo>
                  <a:lnTo>
                    <a:pt x="1128" y="1884"/>
                  </a:lnTo>
                  <a:lnTo>
                    <a:pt x="1128" y="1890"/>
                  </a:lnTo>
                  <a:lnTo>
                    <a:pt x="1128" y="1896"/>
                  </a:lnTo>
                  <a:lnTo>
                    <a:pt x="1122" y="1902"/>
                  </a:lnTo>
                  <a:lnTo>
                    <a:pt x="1122" y="1920"/>
                  </a:lnTo>
                  <a:lnTo>
                    <a:pt x="1116" y="1920"/>
                  </a:lnTo>
                  <a:lnTo>
                    <a:pt x="1110" y="1926"/>
                  </a:lnTo>
                  <a:lnTo>
                    <a:pt x="1110" y="1932"/>
                  </a:lnTo>
                  <a:lnTo>
                    <a:pt x="1104" y="1938"/>
                  </a:lnTo>
                  <a:lnTo>
                    <a:pt x="1086" y="1962"/>
                  </a:lnTo>
                  <a:lnTo>
                    <a:pt x="1074" y="1974"/>
                  </a:lnTo>
                  <a:lnTo>
                    <a:pt x="1074" y="1980"/>
                  </a:lnTo>
                  <a:lnTo>
                    <a:pt x="1068" y="1986"/>
                  </a:lnTo>
                  <a:lnTo>
                    <a:pt x="1062" y="1998"/>
                  </a:lnTo>
                  <a:lnTo>
                    <a:pt x="1062" y="2004"/>
                  </a:lnTo>
                  <a:lnTo>
                    <a:pt x="1068" y="2004"/>
                  </a:lnTo>
                  <a:lnTo>
                    <a:pt x="1056" y="2034"/>
                  </a:lnTo>
                  <a:lnTo>
                    <a:pt x="1050" y="2076"/>
                  </a:lnTo>
                  <a:lnTo>
                    <a:pt x="1056" y="2100"/>
                  </a:lnTo>
                  <a:lnTo>
                    <a:pt x="1038" y="2106"/>
                  </a:lnTo>
                  <a:lnTo>
                    <a:pt x="1002" y="2106"/>
                  </a:lnTo>
                  <a:lnTo>
                    <a:pt x="978" y="2094"/>
                  </a:lnTo>
                  <a:lnTo>
                    <a:pt x="972" y="2082"/>
                  </a:lnTo>
                  <a:lnTo>
                    <a:pt x="966" y="2070"/>
                  </a:lnTo>
                  <a:lnTo>
                    <a:pt x="954" y="2064"/>
                  </a:lnTo>
                  <a:lnTo>
                    <a:pt x="942" y="2058"/>
                  </a:lnTo>
                  <a:lnTo>
                    <a:pt x="936" y="2058"/>
                  </a:lnTo>
                  <a:lnTo>
                    <a:pt x="918" y="2046"/>
                  </a:lnTo>
                  <a:lnTo>
                    <a:pt x="906" y="2028"/>
                  </a:lnTo>
                  <a:lnTo>
                    <a:pt x="900" y="2022"/>
                  </a:lnTo>
                  <a:lnTo>
                    <a:pt x="894" y="2022"/>
                  </a:lnTo>
                  <a:lnTo>
                    <a:pt x="882" y="2022"/>
                  </a:lnTo>
                  <a:lnTo>
                    <a:pt x="870" y="2016"/>
                  </a:lnTo>
                  <a:lnTo>
                    <a:pt x="864" y="2016"/>
                  </a:lnTo>
                  <a:lnTo>
                    <a:pt x="852" y="2010"/>
                  </a:lnTo>
                  <a:lnTo>
                    <a:pt x="846" y="2004"/>
                  </a:lnTo>
                  <a:lnTo>
                    <a:pt x="840" y="2004"/>
                  </a:lnTo>
                  <a:lnTo>
                    <a:pt x="828" y="1998"/>
                  </a:lnTo>
                  <a:lnTo>
                    <a:pt x="816" y="1998"/>
                  </a:lnTo>
                  <a:lnTo>
                    <a:pt x="810" y="1998"/>
                  </a:lnTo>
                  <a:lnTo>
                    <a:pt x="804" y="1998"/>
                  </a:lnTo>
                  <a:lnTo>
                    <a:pt x="798" y="1998"/>
                  </a:lnTo>
                  <a:lnTo>
                    <a:pt x="792" y="2004"/>
                  </a:lnTo>
                  <a:lnTo>
                    <a:pt x="786" y="2010"/>
                  </a:lnTo>
                  <a:lnTo>
                    <a:pt x="762" y="2010"/>
                  </a:lnTo>
                  <a:lnTo>
                    <a:pt x="756" y="2010"/>
                  </a:lnTo>
                  <a:lnTo>
                    <a:pt x="744" y="2022"/>
                  </a:lnTo>
                  <a:lnTo>
                    <a:pt x="738" y="2034"/>
                  </a:lnTo>
                  <a:lnTo>
                    <a:pt x="732" y="2040"/>
                  </a:lnTo>
                  <a:lnTo>
                    <a:pt x="732" y="2046"/>
                  </a:lnTo>
                  <a:lnTo>
                    <a:pt x="726" y="2058"/>
                  </a:lnTo>
                  <a:lnTo>
                    <a:pt x="720" y="2064"/>
                  </a:lnTo>
                  <a:lnTo>
                    <a:pt x="714" y="2070"/>
                  </a:lnTo>
                  <a:lnTo>
                    <a:pt x="708" y="2088"/>
                  </a:lnTo>
                  <a:lnTo>
                    <a:pt x="702" y="2100"/>
                  </a:lnTo>
                  <a:lnTo>
                    <a:pt x="690" y="2100"/>
                  </a:lnTo>
                  <a:lnTo>
                    <a:pt x="684" y="2094"/>
                  </a:lnTo>
                  <a:lnTo>
                    <a:pt x="666" y="2100"/>
                  </a:lnTo>
                  <a:lnTo>
                    <a:pt x="636" y="2106"/>
                  </a:lnTo>
                  <a:lnTo>
                    <a:pt x="636" y="2112"/>
                  </a:lnTo>
                  <a:lnTo>
                    <a:pt x="636" y="2118"/>
                  </a:lnTo>
                  <a:lnTo>
                    <a:pt x="636" y="2124"/>
                  </a:lnTo>
                  <a:lnTo>
                    <a:pt x="630" y="2124"/>
                  </a:lnTo>
                  <a:lnTo>
                    <a:pt x="630" y="2148"/>
                  </a:lnTo>
                  <a:lnTo>
                    <a:pt x="612" y="2160"/>
                  </a:lnTo>
                  <a:lnTo>
                    <a:pt x="576" y="2172"/>
                  </a:lnTo>
                  <a:lnTo>
                    <a:pt x="546" y="2172"/>
                  </a:lnTo>
                  <a:lnTo>
                    <a:pt x="516" y="2172"/>
                  </a:lnTo>
                  <a:lnTo>
                    <a:pt x="486" y="2172"/>
                  </a:lnTo>
                  <a:lnTo>
                    <a:pt x="462" y="2172"/>
                  </a:lnTo>
                  <a:lnTo>
                    <a:pt x="444" y="2196"/>
                  </a:lnTo>
                  <a:lnTo>
                    <a:pt x="432" y="2232"/>
                  </a:lnTo>
                  <a:lnTo>
                    <a:pt x="408" y="2238"/>
                  </a:lnTo>
                  <a:lnTo>
                    <a:pt x="390" y="2256"/>
                  </a:lnTo>
                  <a:lnTo>
                    <a:pt x="372" y="2274"/>
                  </a:lnTo>
                  <a:lnTo>
                    <a:pt x="360" y="2274"/>
                  </a:lnTo>
                  <a:lnTo>
                    <a:pt x="336" y="2328"/>
                  </a:lnTo>
                  <a:lnTo>
                    <a:pt x="324" y="2340"/>
                  </a:lnTo>
                  <a:lnTo>
                    <a:pt x="300" y="2346"/>
                  </a:lnTo>
                  <a:lnTo>
                    <a:pt x="294" y="2352"/>
                  </a:lnTo>
                  <a:lnTo>
                    <a:pt x="288" y="2352"/>
                  </a:lnTo>
                  <a:lnTo>
                    <a:pt x="282" y="2352"/>
                  </a:lnTo>
                  <a:lnTo>
                    <a:pt x="276" y="2352"/>
                  </a:lnTo>
                  <a:lnTo>
                    <a:pt x="270" y="2352"/>
                  </a:lnTo>
                  <a:lnTo>
                    <a:pt x="270" y="2346"/>
                  </a:lnTo>
                  <a:lnTo>
                    <a:pt x="264" y="2346"/>
                  </a:lnTo>
                  <a:lnTo>
                    <a:pt x="258" y="2352"/>
                  </a:lnTo>
                  <a:lnTo>
                    <a:pt x="252" y="2352"/>
                  </a:lnTo>
                  <a:lnTo>
                    <a:pt x="240" y="2352"/>
                  </a:lnTo>
                  <a:lnTo>
                    <a:pt x="228" y="2352"/>
                  </a:lnTo>
                  <a:lnTo>
                    <a:pt x="222" y="2352"/>
                  </a:lnTo>
                  <a:lnTo>
                    <a:pt x="216" y="2358"/>
                  </a:lnTo>
                  <a:lnTo>
                    <a:pt x="216" y="2352"/>
                  </a:lnTo>
                  <a:lnTo>
                    <a:pt x="210" y="2346"/>
                  </a:lnTo>
                  <a:lnTo>
                    <a:pt x="204" y="2346"/>
                  </a:lnTo>
                  <a:lnTo>
                    <a:pt x="198" y="2340"/>
                  </a:lnTo>
                  <a:lnTo>
                    <a:pt x="192" y="2340"/>
                  </a:lnTo>
                  <a:lnTo>
                    <a:pt x="186" y="2340"/>
                  </a:lnTo>
                  <a:lnTo>
                    <a:pt x="180" y="2340"/>
                  </a:lnTo>
                  <a:lnTo>
                    <a:pt x="174" y="2340"/>
                  </a:lnTo>
                  <a:lnTo>
                    <a:pt x="162" y="2328"/>
                  </a:lnTo>
                  <a:lnTo>
                    <a:pt x="156" y="2322"/>
                  </a:lnTo>
                  <a:lnTo>
                    <a:pt x="156" y="2316"/>
                  </a:lnTo>
                  <a:lnTo>
                    <a:pt x="156" y="2310"/>
                  </a:lnTo>
                  <a:lnTo>
                    <a:pt x="132" y="2286"/>
                  </a:lnTo>
                  <a:lnTo>
                    <a:pt x="120" y="2280"/>
                  </a:lnTo>
                  <a:lnTo>
                    <a:pt x="96" y="2274"/>
                  </a:lnTo>
                  <a:lnTo>
                    <a:pt x="84" y="2268"/>
                  </a:lnTo>
                  <a:lnTo>
                    <a:pt x="78" y="2268"/>
                  </a:lnTo>
                  <a:lnTo>
                    <a:pt x="78" y="2262"/>
                  </a:lnTo>
                  <a:lnTo>
                    <a:pt x="78" y="2256"/>
                  </a:lnTo>
                  <a:lnTo>
                    <a:pt x="78" y="2250"/>
                  </a:lnTo>
                  <a:lnTo>
                    <a:pt x="72" y="2250"/>
                  </a:lnTo>
                  <a:lnTo>
                    <a:pt x="66" y="2250"/>
                  </a:lnTo>
                  <a:lnTo>
                    <a:pt x="60" y="2250"/>
                  </a:lnTo>
                  <a:lnTo>
                    <a:pt x="48" y="2244"/>
                  </a:lnTo>
                  <a:lnTo>
                    <a:pt x="36" y="2238"/>
                  </a:lnTo>
                  <a:lnTo>
                    <a:pt x="36" y="2226"/>
                  </a:lnTo>
                  <a:lnTo>
                    <a:pt x="30" y="2226"/>
                  </a:lnTo>
                  <a:lnTo>
                    <a:pt x="30" y="2220"/>
                  </a:lnTo>
                  <a:lnTo>
                    <a:pt x="24" y="2208"/>
                  </a:lnTo>
                  <a:lnTo>
                    <a:pt x="18" y="2202"/>
                  </a:lnTo>
                  <a:lnTo>
                    <a:pt x="18" y="2196"/>
                  </a:lnTo>
                  <a:lnTo>
                    <a:pt x="12" y="2190"/>
                  </a:lnTo>
                  <a:lnTo>
                    <a:pt x="0" y="2190"/>
                  </a:lnTo>
                  <a:lnTo>
                    <a:pt x="6" y="2184"/>
                  </a:lnTo>
                  <a:lnTo>
                    <a:pt x="12" y="2178"/>
                  </a:lnTo>
                  <a:lnTo>
                    <a:pt x="18" y="2172"/>
                  </a:lnTo>
                  <a:lnTo>
                    <a:pt x="24" y="2166"/>
                  </a:lnTo>
                  <a:lnTo>
                    <a:pt x="30" y="2166"/>
                  </a:lnTo>
                  <a:lnTo>
                    <a:pt x="24" y="2160"/>
                  </a:lnTo>
                  <a:lnTo>
                    <a:pt x="30" y="2160"/>
                  </a:lnTo>
                  <a:lnTo>
                    <a:pt x="36" y="2154"/>
                  </a:lnTo>
                  <a:lnTo>
                    <a:pt x="36" y="2136"/>
                  </a:lnTo>
                  <a:lnTo>
                    <a:pt x="36" y="2118"/>
                  </a:lnTo>
                  <a:lnTo>
                    <a:pt x="48" y="2058"/>
                  </a:lnTo>
                  <a:lnTo>
                    <a:pt x="48" y="2022"/>
                  </a:lnTo>
                  <a:lnTo>
                    <a:pt x="48" y="2016"/>
                  </a:lnTo>
                  <a:lnTo>
                    <a:pt x="48" y="2010"/>
                  </a:lnTo>
                  <a:lnTo>
                    <a:pt x="48" y="2004"/>
                  </a:lnTo>
                  <a:lnTo>
                    <a:pt x="42" y="2004"/>
                  </a:lnTo>
                  <a:lnTo>
                    <a:pt x="42" y="1998"/>
                  </a:lnTo>
                  <a:lnTo>
                    <a:pt x="36" y="1992"/>
                  </a:lnTo>
                  <a:lnTo>
                    <a:pt x="42" y="1992"/>
                  </a:lnTo>
                  <a:lnTo>
                    <a:pt x="42" y="1986"/>
                  </a:lnTo>
                  <a:lnTo>
                    <a:pt x="48" y="1986"/>
                  </a:lnTo>
                  <a:lnTo>
                    <a:pt x="54" y="1986"/>
                  </a:lnTo>
                  <a:lnTo>
                    <a:pt x="60" y="1986"/>
                  </a:lnTo>
                  <a:lnTo>
                    <a:pt x="66" y="1980"/>
                  </a:lnTo>
                  <a:lnTo>
                    <a:pt x="72" y="1974"/>
                  </a:lnTo>
                  <a:lnTo>
                    <a:pt x="78" y="1974"/>
                  </a:lnTo>
                  <a:lnTo>
                    <a:pt x="84" y="1974"/>
                  </a:lnTo>
                  <a:lnTo>
                    <a:pt x="90" y="1974"/>
                  </a:lnTo>
                  <a:lnTo>
                    <a:pt x="96" y="1974"/>
                  </a:lnTo>
                  <a:lnTo>
                    <a:pt x="96" y="1968"/>
                  </a:lnTo>
                  <a:lnTo>
                    <a:pt x="102" y="1968"/>
                  </a:lnTo>
                  <a:lnTo>
                    <a:pt x="102" y="1962"/>
                  </a:lnTo>
                  <a:lnTo>
                    <a:pt x="108" y="1962"/>
                  </a:lnTo>
                  <a:lnTo>
                    <a:pt x="114" y="1956"/>
                  </a:lnTo>
                  <a:lnTo>
                    <a:pt x="120" y="1956"/>
                  </a:lnTo>
                  <a:lnTo>
                    <a:pt x="126" y="1950"/>
                  </a:lnTo>
                  <a:lnTo>
                    <a:pt x="132" y="1950"/>
                  </a:lnTo>
                  <a:lnTo>
                    <a:pt x="132" y="1944"/>
                  </a:lnTo>
                  <a:lnTo>
                    <a:pt x="126" y="1944"/>
                  </a:lnTo>
                  <a:lnTo>
                    <a:pt x="126" y="1938"/>
                  </a:lnTo>
                  <a:lnTo>
                    <a:pt x="126" y="1932"/>
                  </a:lnTo>
                  <a:lnTo>
                    <a:pt x="126" y="1926"/>
                  </a:lnTo>
                  <a:lnTo>
                    <a:pt x="114" y="1914"/>
                  </a:lnTo>
                  <a:lnTo>
                    <a:pt x="114" y="1896"/>
                  </a:lnTo>
                  <a:lnTo>
                    <a:pt x="108" y="1884"/>
                  </a:lnTo>
                  <a:lnTo>
                    <a:pt x="102" y="1872"/>
                  </a:lnTo>
                  <a:lnTo>
                    <a:pt x="96" y="1866"/>
                  </a:lnTo>
                  <a:lnTo>
                    <a:pt x="96" y="1860"/>
                  </a:lnTo>
                  <a:lnTo>
                    <a:pt x="90" y="1860"/>
                  </a:lnTo>
                  <a:lnTo>
                    <a:pt x="90" y="1854"/>
                  </a:lnTo>
                  <a:lnTo>
                    <a:pt x="84" y="1848"/>
                  </a:lnTo>
                  <a:lnTo>
                    <a:pt x="78" y="1842"/>
                  </a:lnTo>
                  <a:lnTo>
                    <a:pt x="72" y="1836"/>
                  </a:lnTo>
                  <a:lnTo>
                    <a:pt x="66" y="1830"/>
                  </a:lnTo>
                  <a:lnTo>
                    <a:pt x="60" y="1824"/>
                  </a:lnTo>
                  <a:lnTo>
                    <a:pt x="54" y="1824"/>
                  </a:lnTo>
                  <a:lnTo>
                    <a:pt x="48" y="1824"/>
                  </a:lnTo>
                  <a:lnTo>
                    <a:pt x="42" y="1818"/>
                  </a:lnTo>
                  <a:lnTo>
                    <a:pt x="54" y="1818"/>
                  </a:lnTo>
                  <a:lnTo>
                    <a:pt x="60" y="1812"/>
                  </a:lnTo>
                  <a:lnTo>
                    <a:pt x="66" y="1812"/>
                  </a:lnTo>
                  <a:lnTo>
                    <a:pt x="72" y="1812"/>
                  </a:lnTo>
                  <a:lnTo>
                    <a:pt x="78" y="1812"/>
                  </a:lnTo>
                  <a:lnTo>
                    <a:pt x="84" y="1812"/>
                  </a:lnTo>
                  <a:lnTo>
                    <a:pt x="90" y="1806"/>
                  </a:lnTo>
                  <a:lnTo>
                    <a:pt x="96" y="1800"/>
                  </a:lnTo>
                  <a:lnTo>
                    <a:pt x="102" y="1806"/>
                  </a:lnTo>
                  <a:lnTo>
                    <a:pt x="108" y="1800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26" y="1788"/>
                  </a:lnTo>
                  <a:lnTo>
                    <a:pt x="126" y="1794"/>
                  </a:lnTo>
                  <a:lnTo>
                    <a:pt x="132" y="1794"/>
                  </a:lnTo>
                  <a:lnTo>
                    <a:pt x="132" y="1788"/>
                  </a:lnTo>
                  <a:lnTo>
                    <a:pt x="138" y="1788"/>
                  </a:lnTo>
                  <a:lnTo>
                    <a:pt x="138" y="1782"/>
                  </a:lnTo>
                  <a:lnTo>
                    <a:pt x="144" y="1782"/>
                  </a:lnTo>
                  <a:lnTo>
                    <a:pt x="150" y="1776"/>
                  </a:lnTo>
                  <a:lnTo>
                    <a:pt x="156" y="1782"/>
                  </a:lnTo>
                  <a:lnTo>
                    <a:pt x="162" y="1776"/>
                  </a:lnTo>
                  <a:lnTo>
                    <a:pt x="168" y="1776"/>
                  </a:lnTo>
                  <a:lnTo>
                    <a:pt x="180" y="1776"/>
                  </a:lnTo>
                  <a:lnTo>
                    <a:pt x="186" y="1776"/>
                  </a:lnTo>
                  <a:lnTo>
                    <a:pt x="186" y="1782"/>
                  </a:lnTo>
                  <a:lnTo>
                    <a:pt x="192" y="1776"/>
                  </a:lnTo>
                  <a:lnTo>
                    <a:pt x="198" y="1776"/>
                  </a:lnTo>
                  <a:lnTo>
                    <a:pt x="204" y="1770"/>
                  </a:lnTo>
                  <a:lnTo>
                    <a:pt x="204" y="1764"/>
                  </a:lnTo>
                  <a:lnTo>
                    <a:pt x="210" y="1764"/>
                  </a:lnTo>
                  <a:lnTo>
                    <a:pt x="216" y="1764"/>
                  </a:lnTo>
                  <a:lnTo>
                    <a:pt x="216" y="1758"/>
                  </a:lnTo>
                  <a:lnTo>
                    <a:pt x="222" y="1758"/>
                  </a:lnTo>
                  <a:lnTo>
                    <a:pt x="228" y="1758"/>
                  </a:lnTo>
                  <a:lnTo>
                    <a:pt x="258" y="1746"/>
                  </a:lnTo>
                  <a:lnTo>
                    <a:pt x="282" y="1716"/>
                  </a:lnTo>
                  <a:lnTo>
                    <a:pt x="300" y="1698"/>
                  </a:lnTo>
                  <a:lnTo>
                    <a:pt x="312" y="1698"/>
                  </a:lnTo>
                  <a:lnTo>
                    <a:pt x="336" y="1698"/>
                  </a:lnTo>
                  <a:lnTo>
                    <a:pt x="360" y="1698"/>
                  </a:lnTo>
                  <a:lnTo>
                    <a:pt x="372" y="1692"/>
                  </a:lnTo>
                  <a:lnTo>
                    <a:pt x="384" y="1692"/>
                  </a:lnTo>
                  <a:lnTo>
                    <a:pt x="360" y="1668"/>
                  </a:lnTo>
                  <a:lnTo>
                    <a:pt x="348" y="1626"/>
                  </a:lnTo>
                  <a:lnTo>
                    <a:pt x="354" y="1578"/>
                  </a:lnTo>
                  <a:lnTo>
                    <a:pt x="354" y="1572"/>
                  </a:lnTo>
                  <a:lnTo>
                    <a:pt x="360" y="1572"/>
                  </a:lnTo>
                  <a:lnTo>
                    <a:pt x="396" y="1530"/>
                  </a:lnTo>
                  <a:lnTo>
                    <a:pt x="408" y="1482"/>
                  </a:lnTo>
                  <a:lnTo>
                    <a:pt x="438" y="1458"/>
                  </a:lnTo>
                  <a:lnTo>
                    <a:pt x="468" y="1422"/>
                  </a:lnTo>
                  <a:lnTo>
                    <a:pt x="480" y="1410"/>
                  </a:lnTo>
                  <a:lnTo>
                    <a:pt x="474" y="1386"/>
                  </a:lnTo>
                  <a:lnTo>
                    <a:pt x="456" y="1356"/>
                  </a:lnTo>
                  <a:lnTo>
                    <a:pt x="438" y="1350"/>
                  </a:lnTo>
                  <a:lnTo>
                    <a:pt x="420" y="1350"/>
                  </a:lnTo>
                  <a:lnTo>
                    <a:pt x="402" y="1350"/>
                  </a:lnTo>
                  <a:lnTo>
                    <a:pt x="390" y="1344"/>
                  </a:lnTo>
                  <a:lnTo>
                    <a:pt x="390" y="1332"/>
                  </a:lnTo>
                  <a:lnTo>
                    <a:pt x="402" y="1296"/>
                  </a:lnTo>
                  <a:lnTo>
                    <a:pt x="414" y="1260"/>
                  </a:lnTo>
                  <a:lnTo>
                    <a:pt x="426" y="1248"/>
                  </a:lnTo>
                  <a:lnTo>
                    <a:pt x="438" y="1242"/>
                  </a:lnTo>
                  <a:lnTo>
                    <a:pt x="432" y="1230"/>
                  </a:lnTo>
                  <a:lnTo>
                    <a:pt x="432" y="1224"/>
                  </a:lnTo>
                  <a:lnTo>
                    <a:pt x="426" y="1218"/>
                  </a:lnTo>
                  <a:lnTo>
                    <a:pt x="426" y="1206"/>
                  </a:lnTo>
                  <a:lnTo>
                    <a:pt x="426" y="1200"/>
                  </a:lnTo>
                  <a:lnTo>
                    <a:pt x="432" y="1194"/>
                  </a:lnTo>
                  <a:lnTo>
                    <a:pt x="426" y="1188"/>
                  </a:lnTo>
                  <a:lnTo>
                    <a:pt x="432" y="1104"/>
                  </a:lnTo>
                  <a:lnTo>
                    <a:pt x="438" y="1086"/>
                  </a:lnTo>
                  <a:lnTo>
                    <a:pt x="462" y="972"/>
                  </a:lnTo>
                  <a:lnTo>
                    <a:pt x="456" y="900"/>
                  </a:lnTo>
                  <a:lnTo>
                    <a:pt x="444" y="846"/>
                  </a:lnTo>
                  <a:lnTo>
                    <a:pt x="456" y="810"/>
                  </a:lnTo>
                  <a:lnTo>
                    <a:pt x="492" y="786"/>
                  </a:lnTo>
                  <a:lnTo>
                    <a:pt x="522" y="762"/>
                  </a:lnTo>
                  <a:lnTo>
                    <a:pt x="546" y="732"/>
                  </a:lnTo>
                  <a:lnTo>
                    <a:pt x="570" y="696"/>
                  </a:lnTo>
                  <a:lnTo>
                    <a:pt x="582" y="654"/>
                  </a:lnTo>
                  <a:lnTo>
                    <a:pt x="564" y="642"/>
                  </a:lnTo>
                  <a:lnTo>
                    <a:pt x="522" y="588"/>
                  </a:lnTo>
                  <a:lnTo>
                    <a:pt x="516" y="546"/>
                  </a:lnTo>
                  <a:lnTo>
                    <a:pt x="510" y="474"/>
                  </a:lnTo>
                  <a:lnTo>
                    <a:pt x="510" y="450"/>
                  </a:lnTo>
                  <a:lnTo>
                    <a:pt x="510" y="444"/>
                  </a:lnTo>
                  <a:lnTo>
                    <a:pt x="522" y="438"/>
                  </a:lnTo>
                  <a:lnTo>
                    <a:pt x="522" y="432"/>
                  </a:lnTo>
                  <a:lnTo>
                    <a:pt x="528" y="426"/>
                  </a:lnTo>
                  <a:lnTo>
                    <a:pt x="534" y="420"/>
                  </a:lnTo>
                  <a:lnTo>
                    <a:pt x="540" y="414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08"/>
                  </a:lnTo>
                  <a:lnTo>
                    <a:pt x="546" y="408"/>
                  </a:lnTo>
                  <a:lnTo>
                    <a:pt x="558" y="414"/>
                  </a:lnTo>
                  <a:lnTo>
                    <a:pt x="564" y="414"/>
                  </a:lnTo>
                  <a:lnTo>
                    <a:pt x="570" y="414"/>
                  </a:lnTo>
                  <a:lnTo>
                    <a:pt x="582" y="414"/>
                  </a:lnTo>
                  <a:lnTo>
                    <a:pt x="582" y="420"/>
                  </a:lnTo>
                  <a:lnTo>
                    <a:pt x="588" y="414"/>
                  </a:lnTo>
                  <a:lnTo>
                    <a:pt x="582" y="408"/>
                  </a:lnTo>
                  <a:lnTo>
                    <a:pt x="588" y="402"/>
                  </a:lnTo>
                  <a:lnTo>
                    <a:pt x="594" y="402"/>
                  </a:lnTo>
                  <a:lnTo>
                    <a:pt x="594" y="396"/>
                  </a:lnTo>
                  <a:lnTo>
                    <a:pt x="594" y="390"/>
                  </a:lnTo>
                  <a:lnTo>
                    <a:pt x="594" y="384"/>
                  </a:lnTo>
                  <a:lnTo>
                    <a:pt x="594" y="378"/>
                  </a:lnTo>
                  <a:lnTo>
                    <a:pt x="600" y="366"/>
                  </a:lnTo>
                  <a:lnTo>
                    <a:pt x="606" y="366"/>
                  </a:lnTo>
                  <a:lnTo>
                    <a:pt x="612" y="360"/>
                  </a:lnTo>
                  <a:lnTo>
                    <a:pt x="612" y="366"/>
                  </a:lnTo>
                  <a:lnTo>
                    <a:pt x="618" y="366"/>
                  </a:lnTo>
                  <a:lnTo>
                    <a:pt x="624" y="366"/>
                  </a:lnTo>
                  <a:lnTo>
                    <a:pt x="630" y="360"/>
                  </a:lnTo>
                  <a:lnTo>
                    <a:pt x="636" y="354"/>
                  </a:lnTo>
                  <a:lnTo>
                    <a:pt x="630" y="354"/>
                  </a:lnTo>
                  <a:lnTo>
                    <a:pt x="630" y="348"/>
                  </a:lnTo>
                  <a:lnTo>
                    <a:pt x="630" y="342"/>
                  </a:lnTo>
                  <a:lnTo>
                    <a:pt x="636" y="342"/>
                  </a:lnTo>
                  <a:lnTo>
                    <a:pt x="642" y="336"/>
                  </a:lnTo>
                  <a:lnTo>
                    <a:pt x="636" y="330"/>
                  </a:lnTo>
                  <a:lnTo>
                    <a:pt x="630" y="336"/>
                  </a:lnTo>
                  <a:lnTo>
                    <a:pt x="624" y="336"/>
                  </a:lnTo>
                  <a:lnTo>
                    <a:pt x="624" y="330"/>
                  </a:lnTo>
                  <a:lnTo>
                    <a:pt x="624" y="324"/>
                  </a:lnTo>
                  <a:lnTo>
                    <a:pt x="618" y="324"/>
                  </a:lnTo>
                  <a:lnTo>
                    <a:pt x="624" y="324"/>
                  </a:lnTo>
                  <a:lnTo>
                    <a:pt x="630" y="330"/>
                  </a:lnTo>
                  <a:lnTo>
                    <a:pt x="630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2" y="306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8" y="288"/>
                  </a:lnTo>
                  <a:lnTo>
                    <a:pt x="648" y="282"/>
                  </a:lnTo>
                  <a:lnTo>
                    <a:pt x="654" y="288"/>
                  </a:lnTo>
                  <a:lnTo>
                    <a:pt x="654" y="282"/>
                  </a:lnTo>
                  <a:lnTo>
                    <a:pt x="660" y="282"/>
                  </a:lnTo>
                  <a:lnTo>
                    <a:pt x="666" y="282"/>
                  </a:lnTo>
                  <a:lnTo>
                    <a:pt x="672" y="282"/>
                  </a:lnTo>
                  <a:lnTo>
                    <a:pt x="678" y="282"/>
                  </a:lnTo>
                  <a:lnTo>
                    <a:pt x="684" y="276"/>
                  </a:lnTo>
                  <a:lnTo>
                    <a:pt x="690" y="270"/>
                  </a:lnTo>
                  <a:lnTo>
                    <a:pt x="690" y="264"/>
                  </a:lnTo>
                  <a:lnTo>
                    <a:pt x="690" y="270"/>
                  </a:lnTo>
                  <a:lnTo>
                    <a:pt x="690" y="276"/>
                  </a:lnTo>
                  <a:lnTo>
                    <a:pt x="696" y="276"/>
                  </a:lnTo>
                  <a:lnTo>
                    <a:pt x="702" y="276"/>
                  </a:lnTo>
                  <a:lnTo>
                    <a:pt x="702" y="282"/>
                  </a:lnTo>
                  <a:lnTo>
                    <a:pt x="708" y="282"/>
                  </a:lnTo>
                  <a:lnTo>
                    <a:pt x="720" y="270"/>
                  </a:lnTo>
                  <a:lnTo>
                    <a:pt x="720" y="264"/>
                  </a:lnTo>
                  <a:lnTo>
                    <a:pt x="720" y="258"/>
                  </a:lnTo>
                  <a:lnTo>
                    <a:pt x="726" y="258"/>
                  </a:lnTo>
                  <a:lnTo>
                    <a:pt x="732" y="258"/>
                  </a:lnTo>
                  <a:lnTo>
                    <a:pt x="732" y="264"/>
                  </a:lnTo>
                  <a:lnTo>
                    <a:pt x="738" y="264"/>
                  </a:lnTo>
                  <a:lnTo>
                    <a:pt x="738" y="258"/>
                  </a:lnTo>
                  <a:lnTo>
                    <a:pt x="732" y="258"/>
                  </a:lnTo>
                  <a:lnTo>
                    <a:pt x="732" y="252"/>
                  </a:lnTo>
                  <a:lnTo>
                    <a:pt x="744" y="252"/>
                  </a:lnTo>
                  <a:lnTo>
                    <a:pt x="750" y="252"/>
                  </a:lnTo>
                  <a:lnTo>
                    <a:pt x="750" y="246"/>
                  </a:lnTo>
                  <a:lnTo>
                    <a:pt x="750" y="240"/>
                  </a:lnTo>
                  <a:lnTo>
                    <a:pt x="762" y="234"/>
                  </a:lnTo>
                  <a:lnTo>
                    <a:pt x="768" y="234"/>
                  </a:lnTo>
                  <a:lnTo>
                    <a:pt x="774" y="234"/>
                  </a:lnTo>
                  <a:lnTo>
                    <a:pt x="780" y="228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16"/>
                  </a:lnTo>
                  <a:lnTo>
                    <a:pt x="792" y="210"/>
                  </a:lnTo>
                  <a:lnTo>
                    <a:pt x="804" y="204"/>
                  </a:lnTo>
                  <a:lnTo>
                    <a:pt x="804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0" y="192"/>
                  </a:lnTo>
                  <a:lnTo>
                    <a:pt x="798" y="186"/>
                  </a:lnTo>
                  <a:lnTo>
                    <a:pt x="810" y="186"/>
                  </a:lnTo>
                  <a:lnTo>
                    <a:pt x="810" y="180"/>
                  </a:lnTo>
                  <a:lnTo>
                    <a:pt x="810" y="186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0" y="180"/>
                  </a:lnTo>
                  <a:lnTo>
                    <a:pt x="816" y="174"/>
                  </a:lnTo>
                  <a:lnTo>
                    <a:pt x="822" y="174"/>
                  </a:lnTo>
                  <a:lnTo>
                    <a:pt x="822" y="180"/>
                  </a:lnTo>
                  <a:lnTo>
                    <a:pt x="828" y="180"/>
                  </a:lnTo>
                  <a:lnTo>
                    <a:pt x="828" y="174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62"/>
                  </a:lnTo>
                  <a:lnTo>
                    <a:pt x="828" y="156"/>
                  </a:lnTo>
                  <a:lnTo>
                    <a:pt x="822" y="156"/>
                  </a:lnTo>
                  <a:lnTo>
                    <a:pt x="828" y="156"/>
                  </a:lnTo>
                  <a:lnTo>
                    <a:pt x="828" y="150"/>
                  </a:lnTo>
                  <a:lnTo>
                    <a:pt x="834" y="150"/>
                  </a:lnTo>
                  <a:lnTo>
                    <a:pt x="840" y="156"/>
                  </a:lnTo>
                  <a:lnTo>
                    <a:pt x="840" y="150"/>
                  </a:lnTo>
                  <a:lnTo>
                    <a:pt x="834" y="150"/>
                  </a:lnTo>
                  <a:lnTo>
                    <a:pt x="834" y="144"/>
                  </a:lnTo>
                  <a:lnTo>
                    <a:pt x="840" y="138"/>
                  </a:lnTo>
                  <a:lnTo>
                    <a:pt x="846" y="144"/>
                  </a:lnTo>
                  <a:lnTo>
                    <a:pt x="846" y="150"/>
                  </a:lnTo>
                  <a:lnTo>
                    <a:pt x="852" y="150"/>
                  </a:lnTo>
                  <a:lnTo>
                    <a:pt x="858" y="150"/>
                  </a:lnTo>
                  <a:lnTo>
                    <a:pt x="870" y="150"/>
                  </a:lnTo>
                  <a:lnTo>
                    <a:pt x="870" y="144"/>
                  </a:lnTo>
                  <a:lnTo>
                    <a:pt x="876" y="138"/>
                  </a:lnTo>
                  <a:lnTo>
                    <a:pt x="882" y="138"/>
                  </a:lnTo>
                  <a:lnTo>
                    <a:pt x="888" y="132"/>
                  </a:lnTo>
                  <a:lnTo>
                    <a:pt x="888" y="138"/>
                  </a:lnTo>
                  <a:lnTo>
                    <a:pt x="894" y="138"/>
                  </a:lnTo>
                  <a:lnTo>
                    <a:pt x="894" y="132"/>
                  </a:lnTo>
                  <a:lnTo>
                    <a:pt x="900" y="126"/>
                  </a:lnTo>
                  <a:lnTo>
                    <a:pt x="900" y="132"/>
                  </a:lnTo>
                  <a:lnTo>
                    <a:pt x="906" y="132"/>
                  </a:lnTo>
                  <a:lnTo>
                    <a:pt x="912" y="132"/>
                  </a:lnTo>
                  <a:lnTo>
                    <a:pt x="918" y="126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24" y="126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8" y="120"/>
                  </a:lnTo>
                  <a:lnTo>
                    <a:pt x="948" y="114"/>
                  </a:lnTo>
                  <a:lnTo>
                    <a:pt x="948" y="108"/>
                  </a:lnTo>
                  <a:lnTo>
                    <a:pt x="954" y="114"/>
                  </a:lnTo>
                  <a:lnTo>
                    <a:pt x="960" y="108"/>
                  </a:lnTo>
                  <a:lnTo>
                    <a:pt x="966" y="108"/>
                  </a:lnTo>
                  <a:lnTo>
                    <a:pt x="972" y="108"/>
                  </a:lnTo>
                  <a:lnTo>
                    <a:pt x="966" y="114"/>
                  </a:lnTo>
                  <a:lnTo>
                    <a:pt x="960" y="114"/>
                  </a:lnTo>
                  <a:lnTo>
                    <a:pt x="960" y="120"/>
                  </a:lnTo>
                  <a:lnTo>
                    <a:pt x="966" y="126"/>
                  </a:lnTo>
                  <a:lnTo>
                    <a:pt x="972" y="126"/>
                  </a:lnTo>
                  <a:lnTo>
                    <a:pt x="978" y="126"/>
                  </a:lnTo>
                  <a:lnTo>
                    <a:pt x="984" y="120"/>
                  </a:lnTo>
                  <a:lnTo>
                    <a:pt x="984" y="114"/>
                  </a:lnTo>
                  <a:lnTo>
                    <a:pt x="996" y="126"/>
                  </a:lnTo>
                  <a:lnTo>
                    <a:pt x="996" y="120"/>
                  </a:lnTo>
                  <a:lnTo>
                    <a:pt x="1002" y="120"/>
                  </a:lnTo>
                  <a:lnTo>
                    <a:pt x="996" y="114"/>
                  </a:lnTo>
                  <a:lnTo>
                    <a:pt x="1002" y="114"/>
                  </a:lnTo>
                  <a:lnTo>
                    <a:pt x="1008" y="114"/>
                  </a:lnTo>
                  <a:lnTo>
                    <a:pt x="1008" y="108"/>
                  </a:lnTo>
                  <a:lnTo>
                    <a:pt x="1014" y="108"/>
                  </a:lnTo>
                  <a:lnTo>
                    <a:pt x="1008" y="114"/>
                  </a:lnTo>
                  <a:lnTo>
                    <a:pt x="1008" y="120"/>
                  </a:lnTo>
                  <a:lnTo>
                    <a:pt x="1008" y="126"/>
                  </a:lnTo>
                  <a:lnTo>
                    <a:pt x="1014" y="126"/>
                  </a:lnTo>
                  <a:lnTo>
                    <a:pt x="1014" y="132"/>
                  </a:lnTo>
                  <a:lnTo>
                    <a:pt x="1020" y="132"/>
                  </a:lnTo>
                  <a:lnTo>
                    <a:pt x="1020" y="126"/>
                  </a:lnTo>
                  <a:lnTo>
                    <a:pt x="1020" y="120"/>
                  </a:lnTo>
                  <a:lnTo>
                    <a:pt x="1032" y="120"/>
                  </a:lnTo>
                  <a:lnTo>
                    <a:pt x="1038" y="120"/>
                  </a:lnTo>
                  <a:lnTo>
                    <a:pt x="1038" y="126"/>
                  </a:lnTo>
                  <a:lnTo>
                    <a:pt x="1044" y="132"/>
                  </a:lnTo>
                  <a:lnTo>
                    <a:pt x="1044" y="126"/>
                  </a:lnTo>
                  <a:lnTo>
                    <a:pt x="1050" y="120"/>
                  </a:lnTo>
                  <a:lnTo>
                    <a:pt x="1050" y="114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68" y="102"/>
                  </a:lnTo>
                  <a:lnTo>
                    <a:pt x="1074" y="96"/>
                  </a:lnTo>
                  <a:lnTo>
                    <a:pt x="1074" y="90"/>
                  </a:lnTo>
                  <a:lnTo>
                    <a:pt x="1068" y="90"/>
                  </a:lnTo>
                  <a:lnTo>
                    <a:pt x="1068" y="84"/>
                  </a:lnTo>
                  <a:lnTo>
                    <a:pt x="1080" y="84"/>
                  </a:lnTo>
                  <a:lnTo>
                    <a:pt x="1086" y="78"/>
                  </a:lnTo>
                  <a:lnTo>
                    <a:pt x="1086" y="72"/>
                  </a:lnTo>
                  <a:lnTo>
                    <a:pt x="1080" y="78"/>
                  </a:lnTo>
                  <a:lnTo>
                    <a:pt x="1080" y="72"/>
                  </a:lnTo>
                  <a:lnTo>
                    <a:pt x="1080" y="66"/>
                  </a:lnTo>
                  <a:lnTo>
                    <a:pt x="1074" y="66"/>
                  </a:lnTo>
                  <a:lnTo>
                    <a:pt x="1080" y="66"/>
                  </a:lnTo>
                  <a:lnTo>
                    <a:pt x="1080" y="60"/>
                  </a:lnTo>
                  <a:lnTo>
                    <a:pt x="1086" y="60"/>
                  </a:lnTo>
                  <a:lnTo>
                    <a:pt x="1086" y="54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2" y="42"/>
                  </a:lnTo>
                  <a:lnTo>
                    <a:pt x="1098" y="42"/>
                  </a:lnTo>
                  <a:lnTo>
                    <a:pt x="1104" y="36"/>
                  </a:lnTo>
                  <a:lnTo>
                    <a:pt x="1110" y="36"/>
                  </a:lnTo>
                  <a:lnTo>
                    <a:pt x="1110" y="30"/>
                  </a:lnTo>
                  <a:lnTo>
                    <a:pt x="1110" y="24"/>
                  </a:lnTo>
                  <a:lnTo>
                    <a:pt x="1116" y="24"/>
                  </a:lnTo>
                  <a:lnTo>
                    <a:pt x="1116" y="18"/>
                  </a:lnTo>
                  <a:lnTo>
                    <a:pt x="1122" y="18"/>
                  </a:lnTo>
                  <a:lnTo>
                    <a:pt x="1128" y="18"/>
                  </a:lnTo>
                  <a:lnTo>
                    <a:pt x="1134" y="12"/>
                  </a:lnTo>
                  <a:lnTo>
                    <a:pt x="1134" y="6"/>
                  </a:lnTo>
                  <a:lnTo>
                    <a:pt x="1140" y="6"/>
                  </a:lnTo>
                  <a:lnTo>
                    <a:pt x="1146" y="0"/>
                  </a:lnTo>
                  <a:lnTo>
                    <a:pt x="1152" y="0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70" y="0"/>
                  </a:lnTo>
                  <a:lnTo>
                    <a:pt x="1176" y="6"/>
                  </a:lnTo>
                  <a:lnTo>
                    <a:pt x="1182" y="6"/>
                  </a:lnTo>
                  <a:lnTo>
                    <a:pt x="1194" y="6"/>
                  </a:lnTo>
                  <a:lnTo>
                    <a:pt x="1200" y="6"/>
                  </a:lnTo>
                  <a:lnTo>
                    <a:pt x="1212" y="0"/>
                  </a:lnTo>
                  <a:lnTo>
                    <a:pt x="1212" y="6"/>
                  </a:lnTo>
                  <a:lnTo>
                    <a:pt x="1218" y="6"/>
                  </a:lnTo>
                  <a:lnTo>
                    <a:pt x="1266" y="6"/>
                  </a:lnTo>
                  <a:lnTo>
                    <a:pt x="1272" y="0"/>
                  </a:lnTo>
                  <a:lnTo>
                    <a:pt x="1278" y="6"/>
                  </a:lnTo>
                  <a:lnTo>
                    <a:pt x="1290" y="6"/>
                  </a:lnTo>
                  <a:lnTo>
                    <a:pt x="1296" y="6"/>
                  </a:lnTo>
                  <a:lnTo>
                    <a:pt x="1308" y="6"/>
                  </a:lnTo>
                  <a:lnTo>
                    <a:pt x="1314" y="6"/>
                  </a:lnTo>
                  <a:lnTo>
                    <a:pt x="1320" y="6"/>
                  </a:lnTo>
                  <a:lnTo>
                    <a:pt x="1326" y="12"/>
                  </a:lnTo>
                  <a:lnTo>
                    <a:pt x="1338" y="30"/>
                  </a:lnTo>
                  <a:lnTo>
                    <a:pt x="1344" y="36"/>
                  </a:lnTo>
                  <a:lnTo>
                    <a:pt x="1356" y="48"/>
                  </a:lnTo>
                  <a:lnTo>
                    <a:pt x="1362" y="60"/>
                  </a:lnTo>
                  <a:lnTo>
                    <a:pt x="1368" y="66"/>
                  </a:lnTo>
                  <a:lnTo>
                    <a:pt x="1374" y="72"/>
                  </a:lnTo>
                  <a:lnTo>
                    <a:pt x="1374" y="78"/>
                  </a:lnTo>
                  <a:lnTo>
                    <a:pt x="1398" y="108"/>
                  </a:lnTo>
                  <a:lnTo>
                    <a:pt x="1398" y="114"/>
                  </a:lnTo>
                  <a:lnTo>
                    <a:pt x="1404" y="114"/>
                  </a:lnTo>
                  <a:lnTo>
                    <a:pt x="1404" y="120"/>
                  </a:lnTo>
                  <a:lnTo>
                    <a:pt x="1410" y="132"/>
                  </a:lnTo>
                  <a:lnTo>
                    <a:pt x="1416" y="132"/>
                  </a:lnTo>
                  <a:lnTo>
                    <a:pt x="1416" y="138"/>
                  </a:lnTo>
                  <a:lnTo>
                    <a:pt x="1422" y="144"/>
                  </a:lnTo>
                  <a:lnTo>
                    <a:pt x="1428" y="150"/>
                  </a:lnTo>
                  <a:lnTo>
                    <a:pt x="1428" y="156"/>
                  </a:lnTo>
                  <a:lnTo>
                    <a:pt x="1458" y="192"/>
                  </a:lnTo>
                  <a:lnTo>
                    <a:pt x="1458" y="198"/>
                  </a:lnTo>
                  <a:lnTo>
                    <a:pt x="1464" y="204"/>
                  </a:lnTo>
                  <a:lnTo>
                    <a:pt x="1470" y="210"/>
                  </a:lnTo>
                  <a:lnTo>
                    <a:pt x="1476" y="216"/>
                  </a:lnTo>
                  <a:lnTo>
                    <a:pt x="1482" y="228"/>
                  </a:lnTo>
                  <a:lnTo>
                    <a:pt x="1488" y="234"/>
                  </a:lnTo>
                  <a:lnTo>
                    <a:pt x="1512" y="270"/>
                  </a:lnTo>
                  <a:lnTo>
                    <a:pt x="1512" y="276"/>
                  </a:lnTo>
                  <a:lnTo>
                    <a:pt x="1530" y="300"/>
                  </a:lnTo>
                  <a:lnTo>
                    <a:pt x="1536" y="306"/>
                  </a:lnTo>
                  <a:lnTo>
                    <a:pt x="1542" y="312"/>
                  </a:lnTo>
                  <a:lnTo>
                    <a:pt x="1542" y="318"/>
                  </a:lnTo>
                  <a:lnTo>
                    <a:pt x="1560" y="336"/>
                  </a:lnTo>
                  <a:lnTo>
                    <a:pt x="1566" y="348"/>
                  </a:lnTo>
                  <a:lnTo>
                    <a:pt x="1572" y="354"/>
                  </a:lnTo>
                  <a:lnTo>
                    <a:pt x="1578" y="360"/>
                  </a:lnTo>
                  <a:lnTo>
                    <a:pt x="1584" y="378"/>
                  </a:lnTo>
                  <a:lnTo>
                    <a:pt x="1590" y="378"/>
                  </a:lnTo>
                  <a:lnTo>
                    <a:pt x="1596" y="390"/>
                  </a:lnTo>
                  <a:lnTo>
                    <a:pt x="1602" y="396"/>
                  </a:lnTo>
                  <a:lnTo>
                    <a:pt x="1608" y="408"/>
                  </a:lnTo>
                  <a:lnTo>
                    <a:pt x="1614" y="408"/>
                  </a:lnTo>
                  <a:lnTo>
                    <a:pt x="1614" y="432"/>
                  </a:lnTo>
                  <a:lnTo>
                    <a:pt x="1620" y="438"/>
                  </a:lnTo>
                  <a:lnTo>
                    <a:pt x="1620" y="450"/>
                  </a:lnTo>
                  <a:lnTo>
                    <a:pt x="1620" y="462"/>
                  </a:lnTo>
                  <a:lnTo>
                    <a:pt x="1626" y="474"/>
                  </a:lnTo>
                  <a:lnTo>
                    <a:pt x="1626" y="480"/>
                  </a:lnTo>
                  <a:lnTo>
                    <a:pt x="1626" y="486"/>
                  </a:lnTo>
                  <a:lnTo>
                    <a:pt x="1632" y="522"/>
                  </a:lnTo>
                  <a:lnTo>
                    <a:pt x="1632" y="528"/>
                  </a:lnTo>
                  <a:lnTo>
                    <a:pt x="1632" y="534"/>
                  </a:lnTo>
                  <a:lnTo>
                    <a:pt x="1638" y="540"/>
                  </a:lnTo>
                  <a:lnTo>
                    <a:pt x="1638" y="558"/>
                  </a:lnTo>
                  <a:lnTo>
                    <a:pt x="1638" y="570"/>
                  </a:lnTo>
                  <a:lnTo>
                    <a:pt x="1644" y="582"/>
                  </a:lnTo>
                  <a:lnTo>
                    <a:pt x="1650" y="618"/>
                  </a:lnTo>
                  <a:lnTo>
                    <a:pt x="1650" y="624"/>
                  </a:lnTo>
                  <a:lnTo>
                    <a:pt x="1650" y="636"/>
                  </a:lnTo>
                  <a:lnTo>
                    <a:pt x="1656" y="642"/>
                  </a:lnTo>
                  <a:lnTo>
                    <a:pt x="1656" y="648"/>
                  </a:lnTo>
                  <a:lnTo>
                    <a:pt x="1656" y="654"/>
                  </a:lnTo>
                  <a:lnTo>
                    <a:pt x="1656" y="660"/>
                  </a:lnTo>
                  <a:lnTo>
                    <a:pt x="1662" y="696"/>
                  </a:lnTo>
                  <a:lnTo>
                    <a:pt x="1668" y="708"/>
                  </a:lnTo>
                  <a:lnTo>
                    <a:pt x="1668" y="714"/>
                  </a:lnTo>
                  <a:lnTo>
                    <a:pt x="1668" y="732"/>
                  </a:lnTo>
                  <a:lnTo>
                    <a:pt x="1668" y="744"/>
                  </a:lnTo>
                  <a:lnTo>
                    <a:pt x="1674" y="756"/>
                  </a:lnTo>
                  <a:lnTo>
                    <a:pt x="1680" y="762"/>
                  </a:lnTo>
                  <a:lnTo>
                    <a:pt x="1680" y="768"/>
                  </a:lnTo>
                  <a:lnTo>
                    <a:pt x="1680" y="774"/>
                  </a:lnTo>
                  <a:lnTo>
                    <a:pt x="1680" y="780"/>
                  </a:lnTo>
                  <a:lnTo>
                    <a:pt x="1674" y="786"/>
                  </a:lnTo>
                  <a:lnTo>
                    <a:pt x="1668" y="792"/>
                  </a:lnTo>
                  <a:lnTo>
                    <a:pt x="1668" y="798"/>
                  </a:lnTo>
                  <a:lnTo>
                    <a:pt x="1668" y="804"/>
                  </a:lnTo>
                  <a:lnTo>
                    <a:pt x="1674" y="804"/>
                  </a:lnTo>
                  <a:lnTo>
                    <a:pt x="1668" y="810"/>
                  </a:lnTo>
                  <a:lnTo>
                    <a:pt x="1674" y="810"/>
                  </a:lnTo>
                  <a:lnTo>
                    <a:pt x="1680" y="810"/>
                  </a:lnTo>
                  <a:lnTo>
                    <a:pt x="1680" y="816"/>
                  </a:lnTo>
                  <a:lnTo>
                    <a:pt x="1680" y="822"/>
                  </a:lnTo>
                  <a:lnTo>
                    <a:pt x="1674" y="822"/>
                  </a:lnTo>
                  <a:lnTo>
                    <a:pt x="1674" y="828"/>
                  </a:lnTo>
                  <a:lnTo>
                    <a:pt x="1668" y="828"/>
                  </a:lnTo>
                  <a:lnTo>
                    <a:pt x="1674" y="834"/>
                  </a:lnTo>
                  <a:lnTo>
                    <a:pt x="1668" y="834"/>
                  </a:lnTo>
                  <a:lnTo>
                    <a:pt x="1668" y="840"/>
                  </a:lnTo>
                  <a:lnTo>
                    <a:pt x="1674" y="840"/>
                  </a:lnTo>
                  <a:lnTo>
                    <a:pt x="1686" y="852"/>
                  </a:lnTo>
                  <a:lnTo>
                    <a:pt x="1692" y="858"/>
                  </a:lnTo>
                  <a:lnTo>
                    <a:pt x="1698" y="858"/>
                  </a:lnTo>
                  <a:lnTo>
                    <a:pt x="1698" y="864"/>
                  </a:lnTo>
                  <a:lnTo>
                    <a:pt x="1698" y="870"/>
                  </a:lnTo>
                  <a:lnTo>
                    <a:pt x="1704" y="864"/>
                  </a:lnTo>
                  <a:lnTo>
                    <a:pt x="1716" y="864"/>
                  </a:lnTo>
                  <a:lnTo>
                    <a:pt x="1722" y="864"/>
                  </a:lnTo>
                  <a:lnTo>
                    <a:pt x="1728" y="864"/>
                  </a:lnTo>
                  <a:lnTo>
                    <a:pt x="1734" y="864"/>
                  </a:lnTo>
                  <a:lnTo>
                    <a:pt x="1740" y="864"/>
                  </a:lnTo>
                  <a:lnTo>
                    <a:pt x="1746" y="876"/>
                  </a:lnTo>
                  <a:lnTo>
                    <a:pt x="1746" y="870"/>
                  </a:lnTo>
                  <a:lnTo>
                    <a:pt x="1740" y="864"/>
                  </a:lnTo>
                  <a:lnTo>
                    <a:pt x="1746" y="864"/>
                  </a:lnTo>
                  <a:lnTo>
                    <a:pt x="1752" y="870"/>
                  </a:lnTo>
                  <a:lnTo>
                    <a:pt x="1758" y="864"/>
                  </a:lnTo>
                  <a:lnTo>
                    <a:pt x="1764" y="864"/>
                  </a:lnTo>
                  <a:lnTo>
                    <a:pt x="1770" y="858"/>
                  </a:lnTo>
                  <a:lnTo>
                    <a:pt x="1782" y="864"/>
                  </a:lnTo>
                  <a:lnTo>
                    <a:pt x="1782" y="870"/>
                  </a:lnTo>
                  <a:lnTo>
                    <a:pt x="1788" y="864"/>
                  </a:lnTo>
                  <a:lnTo>
                    <a:pt x="1794" y="864"/>
                  </a:lnTo>
                  <a:lnTo>
                    <a:pt x="1800" y="870"/>
                  </a:lnTo>
                  <a:lnTo>
                    <a:pt x="1818" y="864"/>
                  </a:lnTo>
                  <a:lnTo>
                    <a:pt x="1824" y="870"/>
                  </a:lnTo>
                  <a:lnTo>
                    <a:pt x="1830" y="864"/>
                  </a:lnTo>
                  <a:lnTo>
                    <a:pt x="1836" y="864"/>
                  </a:lnTo>
                  <a:lnTo>
                    <a:pt x="1842" y="870"/>
                  </a:lnTo>
                  <a:lnTo>
                    <a:pt x="1842" y="876"/>
                  </a:lnTo>
                  <a:lnTo>
                    <a:pt x="1848" y="876"/>
                  </a:lnTo>
                  <a:lnTo>
                    <a:pt x="1848" y="870"/>
                  </a:lnTo>
                  <a:lnTo>
                    <a:pt x="1854" y="870"/>
                  </a:lnTo>
                  <a:lnTo>
                    <a:pt x="1860" y="870"/>
                  </a:lnTo>
                  <a:lnTo>
                    <a:pt x="1860" y="876"/>
                  </a:lnTo>
                  <a:lnTo>
                    <a:pt x="1866" y="876"/>
                  </a:lnTo>
                  <a:lnTo>
                    <a:pt x="1866" y="882"/>
                  </a:lnTo>
                  <a:lnTo>
                    <a:pt x="1872" y="882"/>
                  </a:lnTo>
                  <a:lnTo>
                    <a:pt x="1878" y="888"/>
                  </a:lnTo>
                  <a:lnTo>
                    <a:pt x="1890" y="888"/>
                  </a:lnTo>
                  <a:lnTo>
                    <a:pt x="1890" y="894"/>
                  </a:lnTo>
                  <a:lnTo>
                    <a:pt x="1890" y="900"/>
                  </a:lnTo>
                  <a:lnTo>
                    <a:pt x="1884" y="900"/>
                  </a:lnTo>
                  <a:lnTo>
                    <a:pt x="1884" y="906"/>
                  </a:lnTo>
                  <a:lnTo>
                    <a:pt x="1884" y="912"/>
                  </a:lnTo>
                  <a:lnTo>
                    <a:pt x="1890" y="912"/>
                  </a:lnTo>
                  <a:lnTo>
                    <a:pt x="1896" y="912"/>
                  </a:lnTo>
                  <a:lnTo>
                    <a:pt x="1902" y="912"/>
                  </a:lnTo>
                  <a:lnTo>
                    <a:pt x="1908" y="918"/>
                  </a:lnTo>
                  <a:lnTo>
                    <a:pt x="1908" y="924"/>
                  </a:lnTo>
                  <a:lnTo>
                    <a:pt x="1908" y="930"/>
                  </a:lnTo>
                  <a:lnTo>
                    <a:pt x="1908" y="936"/>
                  </a:lnTo>
                  <a:lnTo>
                    <a:pt x="1914" y="936"/>
                  </a:lnTo>
                  <a:lnTo>
                    <a:pt x="1914" y="942"/>
                  </a:lnTo>
                  <a:lnTo>
                    <a:pt x="1908" y="948"/>
                  </a:lnTo>
                  <a:lnTo>
                    <a:pt x="1914" y="948"/>
                  </a:lnTo>
                  <a:lnTo>
                    <a:pt x="1920" y="954"/>
                  </a:lnTo>
                  <a:lnTo>
                    <a:pt x="1926" y="954"/>
                  </a:lnTo>
                  <a:lnTo>
                    <a:pt x="1932" y="954"/>
                  </a:lnTo>
                  <a:lnTo>
                    <a:pt x="1938" y="954"/>
                  </a:lnTo>
                  <a:lnTo>
                    <a:pt x="1938" y="960"/>
                  </a:lnTo>
                  <a:lnTo>
                    <a:pt x="1944" y="966"/>
                  </a:lnTo>
                  <a:lnTo>
                    <a:pt x="1944" y="972"/>
                  </a:lnTo>
                  <a:lnTo>
                    <a:pt x="1944" y="978"/>
                  </a:lnTo>
                  <a:lnTo>
                    <a:pt x="1950" y="978"/>
                  </a:lnTo>
                  <a:lnTo>
                    <a:pt x="1950" y="984"/>
                  </a:lnTo>
                  <a:lnTo>
                    <a:pt x="1956" y="984"/>
                  </a:lnTo>
                  <a:lnTo>
                    <a:pt x="1962" y="984"/>
                  </a:lnTo>
                  <a:lnTo>
                    <a:pt x="1962" y="978"/>
                  </a:lnTo>
                  <a:lnTo>
                    <a:pt x="1968" y="978"/>
                  </a:lnTo>
                  <a:lnTo>
                    <a:pt x="1974" y="978"/>
                  </a:lnTo>
                  <a:lnTo>
                    <a:pt x="1980" y="972"/>
                  </a:lnTo>
                  <a:lnTo>
                    <a:pt x="1980" y="978"/>
                  </a:lnTo>
                  <a:lnTo>
                    <a:pt x="1980" y="984"/>
                  </a:lnTo>
                  <a:lnTo>
                    <a:pt x="1986" y="984"/>
                  </a:lnTo>
                  <a:lnTo>
                    <a:pt x="1992" y="990"/>
                  </a:lnTo>
                  <a:lnTo>
                    <a:pt x="1992" y="996"/>
                  </a:lnTo>
                  <a:lnTo>
                    <a:pt x="1992" y="1002"/>
                  </a:lnTo>
                  <a:lnTo>
                    <a:pt x="1974" y="1008"/>
                  </a:lnTo>
                  <a:lnTo>
                    <a:pt x="1974" y="1014"/>
                  </a:lnTo>
                  <a:lnTo>
                    <a:pt x="1974" y="1020"/>
                  </a:lnTo>
                  <a:lnTo>
                    <a:pt x="1974" y="1026"/>
                  </a:lnTo>
                  <a:lnTo>
                    <a:pt x="1968" y="1038"/>
                  </a:lnTo>
                  <a:lnTo>
                    <a:pt x="1968" y="1044"/>
                  </a:lnTo>
                  <a:lnTo>
                    <a:pt x="1974" y="1056"/>
                  </a:lnTo>
                  <a:lnTo>
                    <a:pt x="1968" y="1062"/>
                  </a:lnTo>
                  <a:lnTo>
                    <a:pt x="1962" y="1062"/>
                  </a:lnTo>
                  <a:lnTo>
                    <a:pt x="1956" y="1068"/>
                  </a:lnTo>
                  <a:lnTo>
                    <a:pt x="1956" y="1074"/>
                  </a:lnTo>
                  <a:lnTo>
                    <a:pt x="1956" y="1080"/>
                  </a:lnTo>
                  <a:lnTo>
                    <a:pt x="1956" y="1086"/>
                  </a:lnTo>
                  <a:lnTo>
                    <a:pt x="1956" y="1092"/>
                  </a:lnTo>
                  <a:lnTo>
                    <a:pt x="1962" y="1092"/>
                  </a:lnTo>
                  <a:lnTo>
                    <a:pt x="1962" y="1104"/>
                  </a:lnTo>
                  <a:lnTo>
                    <a:pt x="1968" y="1110"/>
                  </a:lnTo>
                  <a:lnTo>
                    <a:pt x="1968" y="1116"/>
                  </a:lnTo>
                  <a:lnTo>
                    <a:pt x="1974" y="1116"/>
                  </a:lnTo>
                  <a:lnTo>
                    <a:pt x="1974" y="1122"/>
                  </a:lnTo>
                  <a:lnTo>
                    <a:pt x="1980" y="1122"/>
                  </a:lnTo>
                  <a:lnTo>
                    <a:pt x="1974" y="1128"/>
                  </a:lnTo>
                  <a:lnTo>
                    <a:pt x="1968" y="1134"/>
                  </a:lnTo>
                  <a:lnTo>
                    <a:pt x="1962" y="1140"/>
                  </a:lnTo>
                  <a:lnTo>
                    <a:pt x="1962" y="1146"/>
                  </a:lnTo>
                  <a:lnTo>
                    <a:pt x="1968" y="1152"/>
                  </a:lnTo>
                  <a:lnTo>
                    <a:pt x="1968" y="1158"/>
                  </a:lnTo>
                  <a:lnTo>
                    <a:pt x="1962" y="1158"/>
                  </a:lnTo>
                  <a:lnTo>
                    <a:pt x="1962" y="1164"/>
                  </a:lnTo>
                  <a:lnTo>
                    <a:pt x="1956" y="1164"/>
                  </a:lnTo>
                  <a:lnTo>
                    <a:pt x="1956" y="1170"/>
                  </a:lnTo>
                  <a:lnTo>
                    <a:pt x="1944" y="1182"/>
                  </a:lnTo>
                  <a:lnTo>
                    <a:pt x="1944" y="1188"/>
                  </a:lnTo>
                  <a:lnTo>
                    <a:pt x="1950" y="1188"/>
                  </a:lnTo>
                  <a:lnTo>
                    <a:pt x="1944" y="1200"/>
                  </a:lnTo>
                  <a:lnTo>
                    <a:pt x="1944" y="1206"/>
                  </a:lnTo>
                  <a:lnTo>
                    <a:pt x="1944" y="1212"/>
                  </a:lnTo>
                  <a:lnTo>
                    <a:pt x="1944" y="1218"/>
                  </a:lnTo>
                  <a:lnTo>
                    <a:pt x="1944" y="1230"/>
                  </a:lnTo>
                  <a:lnTo>
                    <a:pt x="1944" y="1236"/>
                  </a:lnTo>
                  <a:lnTo>
                    <a:pt x="1944" y="1242"/>
                  </a:lnTo>
                  <a:lnTo>
                    <a:pt x="1938" y="1248"/>
                  </a:lnTo>
                  <a:lnTo>
                    <a:pt x="1938" y="1254"/>
                  </a:lnTo>
                  <a:lnTo>
                    <a:pt x="1932" y="1254"/>
                  </a:lnTo>
                  <a:lnTo>
                    <a:pt x="1926" y="1260"/>
                  </a:lnTo>
                  <a:lnTo>
                    <a:pt x="1920" y="1266"/>
                  </a:lnTo>
                  <a:lnTo>
                    <a:pt x="1914" y="1272"/>
                  </a:lnTo>
                  <a:lnTo>
                    <a:pt x="1908" y="1272"/>
                  </a:lnTo>
                  <a:lnTo>
                    <a:pt x="1908" y="1278"/>
                  </a:lnTo>
                  <a:lnTo>
                    <a:pt x="1914" y="1278"/>
                  </a:lnTo>
                  <a:lnTo>
                    <a:pt x="1914" y="1290"/>
                  </a:lnTo>
                  <a:lnTo>
                    <a:pt x="1920" y="1296"/>
                  </a:lnTo>
                  <a:lnTo>
                    <a:pt x="1938" y="1302"/>
                  </a:lnTo>
                  <a:lnTo>
                    <a:pt x="1944" y="1308"/>
                  </a:lnTo>
                  <a:lnTo>
                    <a:pt x="1950" y="1314"/>
                  </a:lnTo>
                  <a:lnTo>
                    <a:pt x="1956" y="1314"/>
                  </a:lnTo>
                  <a:lnTo>
                    <a:pt x="1962" y="1320"/>
                  </a:lnTo>
                  <a:lnTo>
                    <a:pt x="1962" y="1326"/>
                  </a:lnTo>
                  <a:lnTo>
                    <a:pt x="1968" y="1326"/>
                  </a:lnTo>
                  <a:lnTo>
                    <a:pt x="1968" y="1332"/>
                  </a:lnTo>
                  <a:lnTo>
                    <a:pt x="1968" y="1344"/>
                  </a:lnTo>
                  <a:lnTo>
                    <a:pt x="1968" y="1350"/>
                  </a:lnTo>
                  <a:lnTo>
                    <a:pt x="1968" y="1368"/>
                  </a:lnTo>
                  <a:lnTo>
                    <a:pt x="1962" y="1380"/>
                  </a:lnTo>
                  <a:lnTo>
                    <a:pt x="1968" y="1392"/>
                  </a:lnTo>
                  <a:lnTo>
                    <a:pt x="1962" y="1398"/>
                  </a:lnTo>
                  <a:lnTo>
                    <a:pt x="1956" y="1404"/>
                  </a:lnTo>
                  <a:lnTo>
                    <a:pt x="1950" y="1410"/>
                  </a:lnTo>
                  <a:lnTo>
                    <a:pt x="1944" y="1410"/>
                  </a:lnTo>
                  <a:lnTo>
                    <a:pt x="1932" y="1416"/>
                  </a:lnTo>
                  <a:lnTo>
                    <a:pt x="1926" y="1416"/>
                  </a:lnTo>
                  <a:lnTo>
                    <a:pt x="1896" y="1428"/>
                  </a:lnTo>
                  <a:lnTo>
                    <a:pt x="1884" y="1434"/>
                  </a:lnTo>
                  <a:lnTo>
                    <a:pt x="1878" y="1434"/>
                  </a:lnTo>
                  <a:lnTo>
                    <a:pt x="1866" y="1434"/>
                  </a:lnTo>
                  <a:lnTo>
                    <a:pt x="1854" y="1440"/>
                  </a:lnTo>
                  <a:lnTo>
                    <a:pt x="1848" y="1440"/>
                  </a:lnTo>
                  <a:lnTo>
                    <a:pt x="1842" y="1446"/>
                  </a:lnTo>
                  <a:lnTo>
                    <a:pt x="1842" y="1458"/>
                  </a:lnTo>
                  <a:lnTo>
                    <a:pt x="1836" y="1470"/>
                  </a:lnTo>
                  <a:lnTo>
                    <a:pt x="1830" y="1476"/>
                  </a:lnTo>
                  <a:lnTo>
                    <a:pt x="1824" y="1476"/>
                  </a:lnTo>
                  <a:lnTo>
                    <a:pt x="1806" y="1482"/>
                  </a:lnTo>
                  <a:lnTo>
                    <a:pt x="1800" y="1488"/>
                  </a:lnTo>
                  <a:lnTo>
                    <a:pt x="1794" y="1488"/>
                  </a:lnTo>
                  <a:lnTo>
                    <a:pt x="1788" y="1488"/>
                  </a:lnTo>
                  <a:lnTo>
                    <a:pt x="1776" y="1494"/>
                  </a:lnTo>
                  <a:lnTo>
                    <a:pt x="1764" y="1494"/>
                  </a:lnTo>
                  <a:lnTo>
                    <a:pt x="1758" y="1500"/>
                  </a:lnTo>
                  <a:lnTo>
                    <a:pt x="1746" y="1506"/>
                  </a:lnTo>
                  <a:lnTo>
                    <a:pt x="1728" y="1518"/>
                  </a:lnTo>
                  <a:lnTo>
                    <a:pt x="1716" y="1524"/>
                  </a:lnTo>
                  <a:lnTo>
                    <a:pt x="1710" y="1530"/>
                  </a:lnTo>
                  <a:lnTo>
                    <a:pt x="1704" y="1536"/>
                  </a:lnTo>
                  <a:lnTo>
                    <a:pt x="1698" y="1542"/>
                  </a:lnTo>
                  <a:lnTo>
                    <a:pt x="1692" y="1554"/>
                  </a:lnTo>
                  <a:lnTo>
                    <a:pt x="1686" y="1560"/>
                  </a:lnTo>
                  <a:lnTo>
                    <a:pt x="1680" y="1560"/>
                  </a:lnTo>
                  <a:lnTo>
                    <a:pt x="1674" y="1560"/>
                  </a:lnTo>
                  <a:lnTo>
                    <a:pt x="1656" y="1572"/>
                  </a:lnTo>
                  <a:lnTo>
                    <a:pt x="1650" y="1572"/>
                  </a:lnTo>
                  <a:lnTo>
                    <a:pt x="1644" y="1572"/>
                  </a:lnTo>
                  <a:lnTo>
                    <a:pt x="1638" y="1578"/>
                  </a:lnTo>
                  <a:lnTo>
                    <a:pt x="1632" y="1578"/>
                  </a:lnTo>
                  <a:lnTo>
                    <a:pt x="1626" y="1578"/>
                  </a:lnTo>
                  <a:lnTo>
                    <a:pt x="1620" y="1572"/>
                  </a:lnTo>
                  <a:lnTo>
                    <a:pt x="1614" y="1572"/>
                  </a:lnTo>
                  <a:lnTo>
                    <a:pt x="1608" y="1566"/>
                  </a:lnTo>
                  <a:lnTo>
                    <a:pt x="1602" y="1560"/>
                  </a:lnTo>
                  <a:lnTo>
                    <a:pt x="1596" y="1554"/>
                  </a:lnTo>
                  <a:lnTo>
                    <a:pt x="1590" y="1548"/>
                  </a:lnTo>
                  <a:lnTo>
                    <a:pt x="1578" y="1548"/>
                  </a:lnTo>
                  <a:lnTo>
                    <a:pt x="1572" y="1548"/>
                  </a:lnTo>
                  <a:lnTo>
                    <a:pt x="1566" y="1548"/>
                  </a:lnTo>
                  <a:lnTo>
                    <a:pt x="1554" y="1536"/>
                  </a:lnTo>
                  <a:lnTo>
                    <a:pt x="1548" y="1536"/>
                  </a:lnTo>
                  <a:lnTo>
                    <a:pt x="1542" y="1542"/>
                  </a:lnTo>
                  <a:lnTo>
                    <a:pt x="1536" y="1548"/>
                  </a:lnTo>
                  <a:lnTo>
                    <a:pt x="1536" y="1566"/>
                  </a:lnTo>
                  <a:lnTo>
                    <a:pt x="1530" y="1572"/>
                  </a:lnTo>
                  <a:lnTo>
                    <a:pt x="1524" y="1578"/>
                  </a:lnTo>
                  <a:lnTo>
                    <a:pt x="1518" y="1584"/>
                  </a:lnTo>
                  <a:lnTo>
                    <a:pt x="1512" y="1596"/>
                  </a:lnTo>
                  <a:lnTo>
                    <a:pt x="1506" y="1602"/>
                  </a:lnTo>
                  <a:lnTo>
                    <a:pt x="1506" y="1608"/>
                  </a:lnTo>
                  <a:lnTo>
                    <a:pt x="1506" y="1614"/>
                  </a:lnTo>
                  <a:lnTo>
                    <a:pt x="1500" y="1614"/>
                  </a:lnTo>
                  <a:lnTo>
                    <a:pt x="1500" y="1620"/>
                  </a:lnTo>
                  <a:lnTo>
                    <a:pt x="1500" y="1626"/>
                  </a:lnTo>
                  <a:lnTo>
                    <a:pt x="1494" y="1632"/>
                  </a:lnTo>
                  <a:lnTo>
                    <a:pt x="1488" y="1638"/>
                  </a:lnTo>
                  <a:lnTo>
                    <a:pt x="1482" y="1638"/>
                  </a:lnTo>
                  <a:lnTo>
                    <a:pt x="1482" y="1644"/>
                  </a:lnTo>
                  <a:lnTo>
                    <a:pt x="1482" y="1650"/>
                  </a:lnTo>
                  <a:lnTo>
                    <a:pt x="1482" y="1656"/>
                  </a:lnTo>
                  <a:lnTo>
                    <a:pt x="1476" y="1662"/>
                  </a:lnTo>
                  <a:lnTo>
                    <a:pt x="1470" y="1668"/>
                  </a:lnTo>
                  <a:lnTo>
                    <a:pt x="1464" y="1674"/>
                  </a:lnTo>
                  <a:lnTo>
                    <a:pt x="1464" y="1680"/>
                  </a:lnTo>
                  <a:lnTo>
                    <a:pt x="1458" y="1680"/>
                  </a:lnTo>
                  <a:lnTo>
                    <a:pt x="1452" y="1686"/>
                  </a:lnTo>
                  <a:lnTo>
                    <a:pt x="1446" y="1686"/>
                  </a:lnTo>
                  <a:lnTo>
                    <a:pt x="1440" y="1698"/>
                  </a:lnTo>
                  <a:lnTo>
                    <a:pt x="1440" y="1704"/>
                  </a:lnTo>
                  <a:lnTo>
                    <a:pt x="1434" y="1710"/>
                  </a:lnTo>
                  <a:lnTo>
                    <a:pt x="1434" y="1716"/>
                  </a:lnTo>
                  <a:lnTo>
                    <a:pt x="1428" y="1716"/>
                  </a:lnTo>
                  <a:lnTo>
                    <a:pt x="1428" y="1722"/>
                  </a:lnTo>
                  <a:lnTo>
                    <a:pt x="1428" y="1728"/>
                  </a:lnTo>
                  <a:lnTo>
                    <a:pt x="1422" y="1728"/>
                  </a:lnTo>
                  <a:lnTo>
                    <a:pt x="1422" y="1734"/>
                  </a:lnTo>
                  <a:lnTo>
                    <a:pt x="1416" y="1734"/>
                  </a:lnTo>
                  <a:lnTo>
                    <a:pt x="1410" y="1734"/>
                  </a:lnTo>
                  <a:lnTo>
                    <a:pt x="1392" y="1746"/>
                  </a:lnTo>
                  <a:lnTo>
                    <a:pt x="1386" y="1746"/>
                  </a:lnTo>
                  <a:lnTo>
                    <a:pt x="1368" y="1752"/>
                  </a:lnTo>
                  <a:lnTo>
                    <a:pt x="1362" y="1758"/>
                  </a:lnTo>
                  <a:lnTo>
                    <a:pt x="1362" y="1770"/>
                  </a:lnTo>
                  <a:lnTo>
                    <a:pt x="1356" y="178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</p:grpSp>
      <p:graphicFrame>
        <p:nvGraphicFramePr>
          <p:cNvPr id="357" name="Group 76">
            <a:extLst>
              <a:ext uri="{FF2B5EF4-FFF2-40B4-BE49-F238E27FC236}">
                <a16:creationId xmlns:a16="http://schemas.microsoft.com/office/drawing/2014/main" id="{57830D68-CF73-4A3E-9D36-141B03AADBF7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41338" y="3402013"/>
          <a:ext cx="3735387" cy="1827306"/>
        </p:xfrm>
        <a:graphic>
          <a:graphicData uri="http://schemas.openxmlformats.org/drawingml/2006/table">
            <a:tbl>
              <a:tblPr/>
              <a:tblGrid>
                <a:gridCol w="1316931">
                  <a:extLst>
                    <a:ext uri="{9D8B030D-6E8A-4147-A177-3AD203B41FA5}">
                      <a16:colId xmlns:a16="http://schemas.microsoft.com/office/drawing/2014/main" val="2027704273"/>
                    </a:ext>
                  </a:extLst>
                </a:gridCol>
                <a:gridCol w="603796">
                  <a:extLst>
                    <a:ext uri="{9D8B030D-6E8A-4147-A177-3AD203B41FA5}">
                      <a16:colId xmlns:a16="http://schemas.microsoft.com/office/drawing/2014/main" val="3432768286"/>
                    </a:ext>
                  </a:extLst>
                </a:gridCol>
                <a:gridCol w="744015">
                  <a:extLst>
                    <a:ext uri="{9D8B030D-6E8A-4147-A177-3AD203B41FA5}">
                      <a16:colId xmlns:a16="http://schemas.microsoft.com/office/drawing/2014/main" val="3730294207"/>
                    </a:ext>
                  </a:extLst>
                </a:gridCol>
                <a:gridCol w="1070645">
                  <a:extLst>
                    <a:ext uri="{9D8B030D-6E8A-4147-A177-3AD203B41FA5}">
                      <a16:colId xmlns:a16="http://schemas.microsoft.com/office/drawing/2014/main" val="2258321117"/>
                    </a:ext>
                  </a:extLst>
                </a:gridCol>
              </a:tblGrid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apital</a:t>
                      </a:r>
                      <a:endParaRPr kumimoji="0" lang="en-SG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292929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SG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Ibadan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703009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nd Are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6,500 km</a:t>
                      </a:r>
                      <a:r>
                        <a:rPr kumimoji="0" lang="en-US" altLang="en-US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16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603614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Population (2017E)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7,796,670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5 of 37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505851"/>
                  </a:ext>
                </a:extLst>
              </a:tr>
              <a:tr h="203024">
                <a:tc row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Dem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0-14: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,933,333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8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130093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5-64: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4,564,648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58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387564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65+: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   298,689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[4%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38801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bour force 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3,907,460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797882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limate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ropical savann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3942226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op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Rock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32899"/>
                  </a:ext>
                </a:extLst>
              </a:tr>
            </a:tbl>
          </a:graphicData>
        </a:graphic>
      </p:graphicFrame>
      <p:pic>
        <p:nvPicPr>
          <p:cNvPr id="23609" name="Picture 13">
            <a:extLst>
              <a:ext uri="{FF2B5EF4-FFF2-40B4-BE49-F238E27FC236}">
                <a16:creationId xmlns:a16="http://schemas.microsoft.com/office/drawing/2014/main" id="{952964D5-F0ED-4CAE-B71C-DB4A723FA5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0" y="3006725"/>
            <a:ext cx="1116013" cy="155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9" name="TextBox 378">
            <a:extLst>
              <a:ext uri="{FF2B5EF4-FFF2-40B4-BE49-F238E27FC236}">
                <a16:creationId xmlns:a16="http://schemas.microsoft.com/office/drawing/2014/main" id="{1B3FD4BF-4685-4C74-821F-10048D6246BF}"/>
              </a:ext>
            </a:extLst>
          </p:cNvPr>
          <p:cNvSpPr txBox="1"/>
          <p:nvPr/>
        </p:nvSpPr>
        <p:spPr>
          <a:xfrm>
            <a:off x="6124575" y="957263"/>
            <a:ext cx="3475038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mpetitive Advantages</a:t>
            </a: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455FE7A1-ADE5-4F7B-A489-00196671A53E}"/>
              </a:ext>
            </a:extLst>
          </p:cNvPr>
          <p:cNvSpPr/>
          <p:nvPr/>
        </p:nvSpPr>
        <p:spPr>
          <a:xfrm>
            <a:off x="4267248" y="1187511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22.4bn/$73.6.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EBB25788-D073-4A78-9D6C-DF3836CFFFBB}"/>
              </a:ext>
            </a:extLst>
          </p:cNvPr>
          <p:cNvSpPr txBox="1"/>
          <p:nvPr/>
        </p:nvSpPr>
        <p:spPr>
          <a:xfrm>
            <a:off x="4267200" y="955675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GR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6F07DF39-553B-44F0-8864-1F897C2BD79A}"/>
              </a:ext>
            </a:extLst>
          </p:cNvPr>
          <p:cNvSpPr/>
          <p:nvPr/>
        </p:nvSpPr>
        <p:spPr>
          <a:xfrm>
            <a:off x="4267252" y="1809750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267bn/$875.4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2508695A-2D2C-45A3-80FE-9C2CB18200C2}"/>
              </a:ext>
            </a:extLst>
          </p:cNvPr>
          <p:cNvSpPr txBox="1"/>
          <p:nvPr/>
        </p:nvSpPr>
        <p:spPr>
          <a:xfrm>
            <a:off x="4267200" y="1576388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Budget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8)</a:t>
            </a: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86A33ABE-3AE3-40A7-A6A6-1B757A6A9B0F}"/>
              </a:ext>
            </a:extLst>
          </p:cNvPr>
          <p:cNvSpPr/>
          <p:nvPr/>
        </p:nvSpPr>
        <p:spPr>
          <a:xfrm>
            <a:off x="4256076" y="2667155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2.9trn /$9.8bn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1E919764-A18B-4532-A533-A84A31D7FEFE}"/>
              </a:ext>
            </a:extLst>
          </p:cNvPr>
          <p:cNvSpPr txBox="1"/>
          <p:nvPr/>
        </p:nvSpPr>
        <p:spPr>
          <a:xfrm>
            <a:off x="4256088" y="2185988"/>
            <a:ext cx="1811337" cy="50641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Household </a:t>
            </a:r>
          </a:p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nsumption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96" name="Plaque 95">
            <a:extLst>
              <a:ext uri="{FF2B5EF4-FFF2-40B4-BE49-F238E27FC236}">
                <a16:creationId xmlns:a16="http://schemas.microsoft.com/office/drawing/2014/main" id="{E3BE1182-17B4-4194-8641-F1EA2CCBB757}"/>
              </a:ext>
            </a:extLst>
          </p:cNvPr>
          <p:cNvSpPr/>
          <p:nvPr/>
        </p:nvSpPr>
        <p:spPr>
          <a:xfrm>
            <a:off x="5656263" y="2805113"/>
            <a:ext cx="411162" cy="153987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3 of 36</a:t>
            </a:r>
          </a:p>
        </p:txBody>
      </p:sp>
      <p:sp>
        <p:nvSpPr>
          <p:cNvPr id="99" name="Plaque 98">
            <a:extLst>
              <a:ext uri="{FF2B5EF4-FFF2-40B4-BE49-F238E27FC236}">
                <a16:creationId xmlns:a16="http://schemas.microsoft.com/office/drawing/2014/main" id="{8620E393-1C52-4CE1-9888-20922FA6DFEA}"/>
              </a:ext>
            </a:extLst>
          </p:cNvPr>
          <p:cNvSpPr/>
          <p:nvPr/>
        </p:nvSpPr>
        <p:spPr>
          <a:xfrm>
            <a:off x="5689600" y="1951038"/>
            <a:ext cx="377825" cy="153987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8 of 36</a:t>
            </a:r>
          </a:p>
        </p:txBody>
      </p:sp>
      <p:sp>
        <p:nvSpPr>
          <p:cNvPr id="100" name="Plaque 99">
            <a:extLst>
              <a:ext uri="{FF2B5EF4-FFF2-40B4-BE49-F238E27FC236}">
                <a16:creationId xmlns:a16="http://schemas.microsoft.com/office/drawing/2014/main" id="{3BFA6D28-9A42-4459-8BF1-090CE1B45216}"/>
              </a:ext>
            </a:extLst>
          </p:cNvPr>
          <p:cNvSpPr/>
          <p:nvPr/>
        </p:nvSpPr>
        <p:spPr>
          <a:xfrm>
            <a:off x="5638800" y="1333500"/>
            <a:ext cx="430213" cy="1539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latin typeface="Calibri" panose="020F0502020204030204" pitchFamily="34" charset="0"/>
                <a:cs typeface="Calibri" panose="020F0502020204030204" pitchFamily="34" charset="0"/>
              </a:rPr>
              <a:t>8 of 36</a:t>
            </a:r>
          </a:p>
        </p:txBody>
      </p:sp>
      <p:sp>
        <p:nvSpPr>
          <p:cNvPr id="101" name="Pentagon 19">
            <a:extLst>
              <a:ext uri="{FF2B5EF4-FFF2-40B4-BE49-F238E27FC236}">
                <a16:creationId xmlns:a16="http://schemas.microsoft.com/office/drawing/2014/main" id="{CCD74FA4-19D0-4356-90C9-B3B49BCC3F54}"/>
              </a:ext>
            </a:extLst>
          </p:cNvPr>
          <p:cNvSpPr>
            <a:spLocks/>
          </p:cNvSpPr>
          <p:nvPr/>
        </p:nvSpPr>
        <p:spPr bwMode="auto">
          <a:xfrm>
            <a:off x="688340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8 of 37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12EE735-1E43-4799-A46A-5D0787F375CE}"/>
              </a:ext>
            </a:extLst>
          </p:cNvPr>
          <p:cNvSpPr/>
          <p:nvPr/>
        </p:nvSpPr>
        <p:spPr>
          <a:xfrm>
            <a:off x="6880225" y="5726113"/>
            <a:ext cx="642938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Starting a Business</a:t>
            </a:r>
          </a:p>
        </p:txBody>
      </p:sp>
      <p:pic>
        <p:nvPicPr>
          <p:cNvPr id="23622" name="Picture 3">
            <a:extLst>
              <a:ext uri="{FF2B5EF4-FFF2-40B4-BE49-F238E27FC236}">
                <a16:creationId xmlns:a16="http://schemas.microsoft.com/office/drawing/2014/main" id="{53FAD0C6-8FFE-437B-B7E4-F2A938D3BE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350" y="5249863"/>
            <a:ext cx="41910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23" name="Freeform 15">
            <a:extLst>
              <a:ext uri="{FF2B5EF4-FFF2-40B4-BE49-F238E27FC236}">
                <a16:creationId xmlns:a16="http://schemas.microsoft.com/office/drawing/2014/main" id="{183A3C8B-011E-4D99-9165-3FF03A2D3207}"/>
              </a:ext>
            </a:extLst>
          </p:cNvPr>
          <p:cNvSpPr>
            <a:spLocks noEditPoints="1"/>
          </p:cNvSpPr>
          <p:nvPr/>
        </p:nvSpPr>
        <p:spPr bwMode="auto">
          <a:xfrm>
            <a:off x="9093200" y="5257800"/>
            <a:ext cx="276225" cy="347663"/>
          </a:xfrm>
          <a:custGeom>
            <a:avLst/>
            <a:gdLst>
              <a:gd name="T0" fmla="*/ 2147483646 w 3556"/>
              <a:gd name="T1" fmla="*/ 2147483646 h 3950"/>
              <a:gd name="T2" fmla="*/ 2147483646 w 3556"/>
              <a:gd name="T3" fmla="*/ 2147483646 h 3950"/>
              <a:gd name="T4" fmla="*/ 2147483646 w 3556"/>
              <a:gd name="T5" fmla="*/ 2147483646 h 3950"/>
              <a:gd name="T6" fmla="*/ 2147483646 w 3556"/>
              <a:gd name="T7" fmla="*/ 2147483646 h 3950"/>
              <a:gd name="T8" fmla="*/ 2147483646 w 3556"/>
              <a:gd name="T9" fmla="*/ 2147483646 h 3950"/>
              <a:gd name="T10" fmla="*/ 2147483646 w 3556"/>
              <a:gd name="T11" fmla="*/ 2147483646 h 3950"/>
              <a:gd name="T12" fmla="*/ 2147483646 w 3556"/>
              <a:gd name="T13" fmla="*/ 2147483646 h 3950"/>
              <a:gd name="T14" fmla="*/ 2147483646 w 3556"/>
              <a:gd name="T15" fmla="*/ 2147483646 h 3950"/>
              <a:gd name="T16" fmla="*/ 2147483646 w 3556"/>
              <a:gd name="T17" fmla="*/ 2147483646 h 3950"/>
              <a:gd name="T18" fmla="*/ 2147483646 w 3556"/>
              <a:gd name="T19" fmla="*/ 2147483646 h 3950"/>
              <a:gd name="T20" fmla="*/ 2147483646 w 3556"/>
              <a:gd name="T21" fmla="*/ 2147483646 h 3950"/>
              <a:gd name="T22" fmla="*/ 0 w 3556"/>
              <a:gd name="T23" fmla="*/ 2147483646 h 3950"/>
              <a:gd name="T24" fmla="*/ 2147483646 w 3556"/>
              <a:gd name="T25" fmla="*/ 2147483646 h 3950"/>
              <a:gd name="T26" fmla="*/ 2147483646 w 3556"/>
              <a:gd name="T27" fmla="*/ 2147483646 h 3950"/>
              <a:gd name="T28" fmla="*/ 2147483646 w 3556"/>
              <a:gd name="T29" fmla="*/ 2147483646 h 3950"/>
              <a:gd name="T30" fmla="*/ 2147483646 w 3556"/>
              <a:gd name="T31" fmla="*/ 2147483646 h 3950"/>
              <a:gd name="T32" fmla="*/ 2147483646 w 3556"/>
              <a:gd name="T33" fmla="*/ 2147483646 h 3950"/>
              <a:gd name="T34" fmla="*/ 2147483646 w 3556"/>
              <a:gd name="T35" fmla="*/ 2147483646 h 3950"/>
              <a:gd name="T36" fmla="*/ 2147483646 w 3556"/>
              <a:gd name="T37" fmla="*/ 2147483646 h 3950"/>
              <a:gd name="T38" fmla="*/ 2147483646 w 3556"/>
              <a:gd name="T39" fmla="*/ 2147483646 h 3950"/>
              <a:gd name="T40" fmla="*/ 2147483646 w 3556"/>
              <a:gd name="T41" fmla="*/ 2147483646 h 3950"/>
              <a:gd name="T42" fmla="*/ 2147483646 w 3556"/>
              <a:gd name="T43" fmla="*/ 2147483646 h 3950"/>
              <a:gd name="T44" fmla="*/ 2147483646 w 3556"/>
              <a:gd name="T45" fmla="*/ 2147483646 h 3950"/>
              <a:gd name="T46" fmla="*/ 2147483646 w 3556"/>
              <a:gd name="T47" fmla="*/ 2147483646 h 3950"/>
              <a:gd name="T48" fmla="*/ 2147483646 w 3556"/>
              <a:gd name="T49" fmla="*/ 2147483646 h 3950"/>
              <a:gd name="T50" fmla="*/ 2147483646 w 3556"/>
              <a:gd name="T51" fmla="*/ 2147483646 h 3950"/>
              <a:gd name="T52" fmla="*/ 2147483646 w 3556"/>
              <a:gd name="T53" fmla="*/ 2147483646 h 3950"/>
              <a:gd name="T54" fmla="*/ 2147483646 w 3556"/>
              <a:gd name="T55" fmla="*/ 2147483646 h 3950"/>
              <a:gd name="T56" fmla="*/ 2147483646 w 3556"/>
              <a:gd name="T57" fmla="*/ 2147483646 h 3950"/>
              <a:gd name="T58" fmla="*/ 2147483646 w 3556"/>
              <a:gd name="T59" fmla="*/ 2147483646 h 3950"/>
              <a:gd name="T60" fmla="*/ 2147483646 w 3556"/>
              <a:gd name="T61" fmla="*/ 2147483646 h 3950"/>
              <a:gd name="T62" fmla="*/ 2147483646 w 3556"/>
              <a:gd name="T63" fmla="*/ 2147483646 h 3950"/>
              <a:gd name="T64" fmla="*/ 2147483646 w 3556"/>
              <a:gd name="T65" fmla="*/ 2147483646 h 3950"/>
              <a:gd name="T66" fmla="*/ 2147483646 w 3556"/>
              <a:gd name="T67" fmla="*/ 2147483646 h 3950"/>
              <a:gd name="T68" fmla="*/ 2147483646 w 3556"/>
              <a:gd name="T69" fmla="*/ 2147483646 h 3950"/>
              <a:gd name="T70" fmla="*/ 2147483646 w 3556"/>
              <a:gd name="T71" fmla="*/ 2147483646 h 3950"/>
              <a:gd name="T72" fmla="*/ 2147483646 w 3556"/>
              <a:gd name="T73" fmla="*/ 2147483646 h 3950"/>
              <a:gd name="T74" fmla="*/ 2147483646 w 3556"/>
              <a:gd name="T75" fmla="*/ 2147483646 h 3950"/>
              <a:gd name="T76" fmla="*/ 2147483646 w 3556"/>
              <a:gd name="T77" fmla="*/ 2147483646 h 3950"/>
              <a:gd name="T78" fmla="*/ 2147483646 w 3556"/>
              <a:gd name="T79" fmla="*/ 2147483646 h 3950"/>
              <a:gd name="T80" fmla="*/ 2147483646 w 3556"/>
              <a:gd name="T81" fmla="*/ 0 h 3950"/>
              <a:gd name="T82" fmla="*/ 2147483646 w 3556"/>
              <a:gd name="T83" fmla="*/ 2147483646 h 3950"/>
              <a:gd name="T84" fmla="*/ 2147483646 w 3556"/>
              <a:gd name="T85" fmla="*/ 2147483646 h 3950"/>
              <a:gd name="T86" fmla="*/ 2147483646 w 3556"/>
              <a:gd name="T87" fmla="*/ 2147483646 h 395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556"/>
              <a:gd name="T133" fmla="*/ 0 h 3950"/>
              <a:gd name="T134" fmla="*/ 3556 w 3556"/>
              <a:gd name="T135" fmla="*/ 3950 h 395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556" h="3950">
                <a:moveTo>
                  <a:pt x="909" y="3917"/>
                </a:moveTo>
                <a:cubicBezTo>
                  <a:pt x="824" y="3832"/>
                  <a:pt x="894" y="3725"/>
                  <a:pt x="1036" y="3725"/>
                </a:cubicBezTo>
                <a:cubicBezTo>
                  <a:pt x="1119" y="3725"/>
                  <a:pt x="1129" y="3717"/>
                  <a:pt x="1129" y="3645"/>
                </a:cubicBezTo>
                <a:cubicBezTo>
                  <a:pt x="1129" y="3472"/>
                  <a:pt x="1135" y="3471"/>
                  <a:pt x="2192" y="3471"/>
                </a:cubicBezTo>
                <a:cubicBezTo>
                  <a:pt x="3086" y="3471"/>
                  <a:pt x="3155" y="3475"/>
                  <a:pt x="3199" y="3523"/>
                </a:cubicBezTo>
                <a:cubicBezTo>
                  <a:pt x="3225" y="3551"/>
                  <a:pt x="3246" y="3608"/>
                  <a:pt x="3246" y="3648"/>
                </a:cubicBezTo>
                <a:cubicBezTo>
                  <a:pt x="3246" y="3712"/>
                  <a:pt x="3259" y="3723"/>
                  <a:pt x="3349" y="3730"/>
                </a:cubicBezTo>
                <a:cubicBezTo>
                  <a:pt x="3470" y="3741"/>
                  <a:pt x="3530" y="3811"/>
                  <a:pt x="3482" y="3887"/>
                </a:cubicBezTo>
                <a:cubicBezTo>
                  <a:pt x="3453" y="3933"/>
                  <a:pt x="3356" y="3937"/>
                  <a:pt x="2197" y="3944"/>
                </a:cubicBezTo>
                <a:cubicBezTo>
                  <a:pt x="1245" y="3950"/>
                  <a:pt x="935" y="3943"/>
                  <a:pt x="909" y="3917"/>
                </a:cubicBezTo>
                <a:close/>
                <a:moveTo>
                  <a:pt x="87" y="3370"/>
                </a:moveTo>
                <a:cubicBezTo>
                  <a:pt x="24" y="3317"/>
                  <a:pt x="0" y="3272"/>
                  <a:pt x="0" y="3209"/>
                </a:cubicBezTo>
                <a:cubicBezTo>
                  <a:pt x="0" y="3132"/>
                  <a:pt x="86" y="3035"/>
                  <a:pt x="705" y="2414"/>
                </a:cubicBezTo>
                <a:lnTo>
                  <a:pt x="1411" y="1706"/>
                </a:lnTo>
                <a:lnTo>
                  <a:pt x="1235" y="1530"/>
                </a:lnTo>
                <a:lnTo>
                  <a:pt x="1059" y="1355"/>
                </a:lnTo>
                <a:lnTo>
                  <a:pt x="1510" y="903"/>
                </a:lnTo>
                <a:lnTo>
                  <a:pt x="1960" y="452"/>
                </a:lnTo>
                <a:lnTo>
                  <a:pt x="2135" y="624"/>
                </a:lnTo>
                <a:cubicBezTo>
                  <a:pt x="2305" y="793"/>
                  <a:pt x="2310" y="796"/>
                  <a:pt x="2374" y="751"/>
                </a:cubicBezTo>
                <a:cubicBezTo>
                  <a:pt x="2469" y="685"/>
                  <a:pt x="2547" y="695"/>
                  <a:pt x="2633" y="785"/>
                </a:cubicBezTo>
                <a:cubicBezTo>
                  <a:pt x="2720" y="875"/>
                  <a:pt x="2731" y="974"/>
                  <a:pt x="2662" y="1050"/>
                </a:cubicBezTo>
                <a:cubicBezTo>
                  <a:pt x="2616" y="1100"/>
                  <a:pt x="2624" y="1112"/>
                  <a:pt x="2823" y="1313"/>
                </a:cubicBezTo>
                <a:lnTo>
                  <a:pt x="3033" y="1524"/>
                </a:lnTo>
                <a:lnTo>
                  <a:pt x="2582" y="1975"/>
                </a:lnTo>
                <a:lnTo>
                  <a:pt x="2132" y="2427"/>
                </a:lnTo>
                <a:lnTo>
                  <a:pt x="1933" y="2229"/>
                </a:lnTo>
                <a:cubicBezTo>
                  <a:pt x="1824" y="2121"/>
                  <a:pt x="1722" y="2032"/>
                  <a:pt x="1707" y="2032"/>
                </a:cubicBezTo>
                <a:cubicBezTo>
                  <a:pt x="1693" y="2032"/>
                  <a:pt x="1362" y="2349"/>
                  <a:pt x="973" y="2737"/>
                </a:cubicBezTo>
                <a:cubicBezTo>
                  <a:pt x="584" y="3125"/>
                  <a:pt x="245" y="3443"/>
                  <a:pt x="220" y="3443"/>
                </a:cubicBezTo>
                <a:cubicBezTo>
                  <a:pt x="194" y="3443"/>
                  <a:pt x="135" y="3410"/>
                  <a:pt x="87" y="3370"/>
                </a:cubicBezTo>
                <a:close/>
                <a:moveTo>
                  <a:pt x="2258" y="2887"/>
                </a:moveTo>
                <a:cubicBezTo>
                  <a:pt x="2196" y="2865"/>
                  <a:pt x="2145" y="2792"/>
                  <a:pt x="2145" y="2725"/>
                </a:cubicBezTo>
                <a:cubicBezTo>
                  <a:pt x="2145" y="2686"/>
                  <a:pt x="2337" y="2474"/>
                  <a:pt x="2703" y="2109"/>
                </a:cubicBezTo>
                <a:cubicBezTo>
                  <a:pt x="3289" y="1523"/>
                  <a:pt x="3346" y="1485"/>
                  <a:pt x="3453" y="1604"/>
                </a:cubicBezTo>
                <a:cubicBezTo>
                  <a:pt x="3556" y="1717"/>
                  <a:pt x="3522" y="1766"/>
                  <a:pt x="2956" y="2331"/>
                </a:cubicBezTo>
                <a:cubicBezTo>
                  <a:pt x="2657" y="2630"/>
                  <a:pt x="2388" y="2880"/>
                  <a:pt x="2357" y="2888"/>
                </a:cubicBezTo>
                <a:cubicBezTo>
                  <a:pt x="2326" y="2895"/>
                  <a:pt x="2281" y="2895"/>
                  <a:pt x="2258" y="2887"/>
                </a:cubicBezTo>
                <a:close/>
                <a:moveTo>
                  <a:pt x="637" y="1282"/>
                </a:moveTo>
                <a:cubicBezTo>
                  <a:pt x="528" y="1172"/>
                  <a:pt x="568" y="1113"/>
                  <a:pt x="1137" y="544"/>
                </a:cubicBezTo>
                <a:cubicBezTo>
                  <a:pt x="1607" y="74"/>
                  <a:pt x="1693" y="0"/>
                  <a:pt x="1767" y="0"/>
                </a:cubicBezTo>
                <a:cubicBezTo>
                  <a:pt x="1862" y="0"/>
                  <a:pt x="1947" y="73"/>
                  <a:pt x="1947" y="156"/>
                </a:cubicBezTo>
                <a:cubicBezTo>
                  <a:pt x="1947" y="186"/>
                  <a:pt x="1715" y="442"/>
                  <a:pt x="1391" y="767"/>
                </a:cubicBezTo>
                <a:cubicBezTo>
                  <a:pt x="808" y="1353"/>
                  <a:pt x="749" y="1393"/>
                  <a:pt x="637" y="12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4" name="Group 118">
            <a:extLst>
              <a:ext uri="{FF2B5EF4-FFF2-40B4-BE49-F238E27FC236}">
                <a16:creationId xmlns:a16="http://schemas.microsoft.com/office/drawing/2014/main" id="{FB3D6A90-C4FD-433A-A1C1-A4B3864804A5}"/>
              </a:ext>
            </a:extLst>
          </p:cNvPr>
          <p:cNvGrpSpPr/>
          <p:nvPr/>
        </p:nvGrpSpPr>
        <p:grpSpPr>
          <a:xfrm>
            <a:off x="8409631" y="5248358"/>
            <a:ext cx="346498" cy="347472"/>
            <a:chOff x="1468138" y="5997240"/>
            <a:chExt cx="283642" cy="307072"/>
          </a:xfrm>
          <a:solidFill>
            <a:schemeClr val="bg1"/>
          </a:solidFill>
        </p:grpSpPr>
        <p:sp>
          <p:nvSpPr>
            <p:cNvPr id="120" name="Freeform 16">
              <a:extLst>
                <a:ext uri="{FF2B5EF4-FFF2-40B4-BE49-F238E27FC236}">
                  <a16:creationId xmlns:a16="http://schemas.microsoft.com/office/drawing/2014/main" id="{D6134FC8-4249-4088-8AE8-003C8AAC7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6136" y="6255221"/>
              <a:ext cx="26428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1 w 349"/>
                <a:gd name="T25" fmla="*/ 226 h 350"/>
                <a:gd name="T26" fmla="*/ 225 w 349"/>
                <a:gd name="T27" fmla="*/ 213 h 350"/>
                <a:gd name="T28" fmla="*/ 234 w 349"/>
                <a:gd name="T29" fmla="*/ 194 h 350"/>
                <a:gd name="T30" fmla="*/ 237 w 349"/>
                <a:gd name="T31" fmla="*/ 175 h 350"/>
                <a:gd name="T32" fmla="*/ 235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5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4 w 349"/>
                <a:gd name="T47" fmla="*/ 3 h 350"/>
                <a:gd name="T48" fmla="*/ 234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8 w 349"/>
                <a:gd name="T55" fmla="*/ 63 h 350"/>
                <a:gd name="T56" fmla="*/ 325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5 w 349"/>
                <a:gd name="T65" fmla="*/ 210 h 350"/>
                <a:gd name="T66" fmla="*/ 335 w 349"/>
                <a:gd name="T67" fmla="*/ 243 h 350"/>
                <a:gd name="T68" fmla="*/ 319 w 349"/>
                <a:gd name="T69" fmla="*/ 273 h 350"/>
                <a:gd name="T70" fmla="*/ 297 w 349"/>
                <a:gd name="T71" fmla="*/ 299 h 350"/>
                <a:gd name="T72" fmla="*/ 272 w 349"/>
                <a:gd name="T73" fmla="*/ 319 h 350"/>
                <a:gd name="T74" fmla="*/ 242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39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29 w 349"/>
                <a:gd name="T89" fmla="*/ 273 h 350"/>
                <a:gd name="T90" fmla="*/ 14 w 349"/>
                <a:gd name="T91" fmla="*/ 243 h 350"/>
                <a:gd name="T92" fmla="*/ 3 w 349"/>
                <a:gd name="T93" fmla="*/ 210 h 350"/>
                <a:gd name="T94" fmla="*/ 0 w 349"/>
                <a:gd name="T95" fmla="*/ 175 h 350"/>
                <a:gd name="T96" fmla="*/ 3 w 349"/>
                <a:gd name="T97" fmla="*/ 140 h 350"/>
                <a:gd name="T98" fmla="*/ 14 w 349"/>
                <a:gd name="T99" fmla="*/ 107 h 350"/>
                <a:gd name="T100" fmla="*/ 29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39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1" y="226"/>
                  </a:lnTo>
                  <a:lnTo>
                    <a:pt x="225" y="213"/>
                  </a:lnTo>
                  <a:lnTo>
                    <a:pt x="234" y="194"/>
                  </a:lnTo>
                  <a:lnTo>
                    <a:pt x="237" y="175"/>
                  </a:lnTo>
                  <a:lnTo>
                    <a:pt x="235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5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4" y="3"/>
                  </a:lnTo>
                  <a:lnTo>
                    <a:pt x="234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8" y="63"/>
                  </a:lnTo>
                  <a:lnTo>
                    <a:pt x="325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5" y="210"/>
                  </a:lnTo>
                  <a:lnTo>
                    <a:pt x="335" y="243"/>
                  </a:lnTo>
                  <a:lnTo>
                    <a:pt x="319" y="273"/>
                  </a:lnTo>
                  <a:lnTo>
                    <a:pt x="297" y="299"/>
                  </a:lnTo>
                  <a:lnTo>
                    <a:pt x="272" y="319"/>
                  </a:lnTo>
                  <a:lnTo>
                    <a:pt x="242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39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29" y="273"/>
                  </a:lnTo>
                  <a:lnTo>
                    <a:pt x="14" y="243"/>
                  </a:lnTo>
                  <a:lnTo>
                    <a:pt x="3" y="210"/>
                  </a:lnTo>
                  <a:lnTo>
                    <a:pt x="0" y="175"/>
                  </a:lnTo>
                  <a:lnTo>
                    <a:pt x="3" y="140"/>
                  </a:lnTo>
                  <a:lnTo>
                    <a:pt x="14" y="107"/>
                  </a:lnTo>
                  <a:lnTo>
                    <a:pt x="29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39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1" name="Freeform 17">
              <a:extLst>
                <a:ext uri="{FF2B5EF4-FFF2-40B4-BE49-F238E27FC236}">
                  <a16:creationId xmlns:a16="http://schemas.microsoft.com/office/drawing/2014/main" id="{67A5F0B0-C078-4A85-9E32-409FF0B3D5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2133" y="6255221"/>
              <a:ext cx="26656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2 w 349"/>
                <a:gd name="T25" fmla="*/ 226 h 350"/>
                <a:gd name="T26" fmla="*/ 226 w 349"/>
                <a:gd name="T27" fmla="*/ 213 h 350"/>
                <a:gd name="T28" fmla="*/ 235 w 349"/>
                <a:gd name="T29" fmla="*/ 194 h 350"/>
                <a:gd name="T30" fmla="*/ 237 w 349"/>
                <a:gd name="T31" fmla="*/ 175 h 350"/>
                <a:gd name="T32" fmla="*/ 236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7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5 w 349"/>
                <a:gd name="T47" fmla="*/ 3 h 350"/>
                <a:gd name="T48" fmla="*/ 235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9 w 349"/>
                <a:gd name="T55" fmla="*/ 63 h 350"/>
                <a:gd name="T56" fmla="*/ 326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6 w 349"/>
                <a:gd name="T65" fmla="*/ 210 h 350"/>
                <a:gd name="T66" fmla="*/ 336 w 349"/>
                <a:gd name="T67" fmla="*/ 243 h 350"/>
                <a:gd name="T68" fmla="*/ 319 w 349"/>
                <a:gd name="T69" fmla="*/ 273 h 350"/>
                <a:gd name="T70" fmla="*/ 298 w 349"/>
                <a:gd name="T71" fmla="*/ 299 h 350"/>
                <a:gd name="T72" fmla="*/ 272 w 349"/>
                <a:gd name="T73" fmla="*/ 319 h 350"/>
                <a:gd name="T74" fmla="*/ 243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40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30 w 349"/>
                <a:gd name="T89" fmla="*/ 273 h 350"/>
                <a:gd name="T90" fmla="*/ 14 w 349"/>
                <a:gd name="T91" fmla="*/ 243 h 350"/>
                <a:gd name="T92" fmla="*/ 4 w 349"/>
                <a:gd name="T93" fmla="*/ 210 h 350"/>
                <a:gd name="T94" fmla="*/ 0 w 349"/>
                <a:gd name="T95" fmla="*/ 175 h 350"/>
                <a:gd name="T96" fmla="*/ 4 w 349"/>
                <a:gd name="T97" fmla="*/ 140 h 350"/>
                <a:gd name="T98" fmla="*/ 14 w 349"/>
                <a:gd name="T99" fmla="*/ 107 h 350"/>
                <a:gd name="T100" fmla="*/ 30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40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7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7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5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19" y="273"/>
                  </a:lnTo>
                  <a:lnTo>
                    <a:pt x="298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2" name="Freeform 18">
              <a:extLst>
                <a:ext uri="{FF2B5EF4-FFF2-40B4-BE49-F238E27FC236}">
                  <a16:creationId xmlns:a16="http://schemas.microsoft.com/office/drawing/2014/main" id="{BF1784DA-3E40-44FD-998D-DB1DD379C0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8357" y="6255221"/>
              <a:ext cx="26428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7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1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7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8 w 350"/>
                <a:gd name="T31" fmla="*/ 175 h 350"/>
                <a:gd name="T32" fmla="*/ 236 w 350"/>
                <a:gd name="T33" fmla="*/ 158 h 350"/>
                <a:gd name="T34" fmla="*/ 229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7 w 350"/>
                <a:gd name="T53" fmla="*/ 41 h 350"/>
                <a:gd name="T54" fmla="*/ 309 w 350"/>
                <a:gd name="T55" fmla="*/ 63 h 350"/>
                <a:gd name="T56" fmla="*/ 326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2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7 w 350"/>
                <a:gd name="T85" fmla="*/ 319 h 350"/>
                <a:gd name="T86" fmla="*/ 51 w 350"/>
                <a:gd name="T87" fmla="*/ 299 h 350"/>
                <a:gd name="T88" fmla="*/ 30 w 350"/>
                <a:gd name="T89" fmla="*/ 273 h 350"/>
                <a:gd name="T90" fmla="*/ 14 w 350"/>
                <a:gd name="T91" fmla="*/ 243 h 350"/>
                <a:gd name="T92" fmla="*/ 4 w 350"/>
                <a:gd name="T93" fmla="*/ 210 h 350"/>
                <a:gd name="T94" fmla="*/ 0 w 350"/>
                <a:gd name="T95" fmla="*/ 175 h 350"/>
                <a:gd name="T96" fmla="*/ 4 w 350"/>
                <a:gd name="T97" fmla="*/ 140 h 350"/>
                <a:gd name="T98" fmla="*/ 14 w 350"/>
                <a:gd name="T99" fmla="*/ 107 h 350"/>
                <a:gd name="T100" fmla="*/ 30 w 350"/>
                <a:gd name="T101" fmla="*/ 78 h 350"/>
                <a:gd name="T102" fmla="*/ 51 w 350"/>
                <a:gd name="T103" fmla="*/ 52 h 350"/>
                <a:gd name="T104" fmla="*/ 77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8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3" name="Freeform 19">
              <a:extLst>
                <a:ext uri="{FF2B5EF4-FFF2-40B4-BE49-F238E27FC236}">
                  <a16:creationId xmlns:a16="http://schemas.microsoft.com/office/drawing/2014/main" id="{FF26547B-24B3-4108-8095-A2794E966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4353" y="6255221"/>
              <a:ext cx="26656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8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3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8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9 w 350"/>
                <a:gd name="T31" fmla="*/ 175 h 350"/>
                <a:gd name="T32" fmla="*/ 236 w 350"/>
                <a:gd name="T33" fmla="*/ 158 h 350"/>
                <a:gd name="T34" fmla="*/ 231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8 w 350"/>
                <a:gd name="T53" fmla="*/ 41 h 350"/>
                <a:gd name="T54" fmla="*/ 309 w 350"/>
                <a:gd name="T55" fmla="*/ 63 h 350"/>
                <a:gd name="T56" fmla="*/ 327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3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8 w 350"/>
                <a:gd name="T85" fmla="*/ 319 h 350"/>
                <a:gd name="T86" fmla="*/ 53 w 350"/>
                <a:gd name="T87" fmla="*/ 299 h 350"/>
                <a:gd name="T88" fmla="*/ 31 w 350"/>
                <a:gd name="T89" fmla="*/ 273 h 350"/>
                <a:gd name="T90" fmla="*/ 15 w 350"/>
                <a:gd name="T91" fmla="*/ 243 h 350"/>
                <a:gd name="T92" fmla="*/ 5 w 350"/>
                <a:gd name="T93" fmla="*/ 210 h 350"/>
                <a:gd name="T94" fmla="*/ 0 w 350"/>
                <a:gd name="T95" fmla="*/ 175 h 350"/>
                <a:gd name="T96" fmla="*/ 5 w 350"/>
                <a:gd name="T97" fmla="*/ 140 h 350"/>
                <a:gd name="T98" fmla="*/ 15 w 350"/>
                <a:gd name="T99" fmla="*/ 107 h 350"/>
                <a:gd name="T100" fmla="*/ 31 w 350"/>
                <a:gd name="T101" fmla="*/ 78 h 350"/>
                <a:gd name="T102" fmla="*/ 53 w 350"/>
                <a:gd name="T103" fmla="*/ 52 h 350"/>
                <a:gd name="T104" fmla="*/ 78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8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3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8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9" y="175"/>
                  </a:lnTo>
                  <a:lnTo>
                    <a:pt x="236" y="158"/>
                  </a:lnTo>
                  <a:lnTo>
                    <a:pt x="231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8" y="41"/>
                  </a:lnTo>
                  <a:lnTo>
                    <a:pt x="309" y="63"/>
                  </a:lnTo>
                  <a:lnTo>
                    <a:pt x="327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3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8" y="319"/>
                  </a:lnTo>
                  <a:lnTo>
                    <a:pt x="53" y="299"/>
                  </a:lnTo>
                  <a:lnTo>
                    <a:pt x="31" y="273"/>
                  </a:lnTo>
                  <a:lnTo>
                    <a:pt x="15" y="243"/>
                  </a:lnTo>
                  <a:lnTo>
                    <a:pt x="5" y="210"/>
                  </a:lnTo>
                  <a:lnTo>
                    <a:pt x="0" y="175"/>
                  </a:lnTo>
                  <a:lnTo>
                    <a:pt x="5" y="140"/>
                  </a:lnTo>
                  <a:lnTo>
                    <a:pt x="15" y="107"/>
                  </a:lnTo>
                  <a:lnTo>
                    <a:pt x="31" y="78"/>
                  </a:lnTo>
                  <a:lnTo>
                    <a:pt x="53" y="52"/>
                  </a:lnTo>
                  <a:lnTo>
                    <a:pt x="78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4" name="Freeform 20">
              <a:extLst>
                <a:ext uri="{FF2B5EF4-FFF2-40B4-BE49-F238E27FC236}">
                  <a16:creationId xmlns:a16="http://schemas.microsoft.com/office/drawing/2014/main" id="{6F553FA1-4728-401A-8C20-F18E165CA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80832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2 h 111"/>
                <a:gd name="T10" fmla="*/ 168 w 171"/>
                <a:gd name="T11" fmla="*/ 37 h 111"/>
                <a:gd name="T12" fmla="*/ 171 w 171"/>
                <a:gd name="T13" fmla="*/ 55 h 111"/>
                <a:gd name="T14" fmla="*/ 168 w 171"/>
                <a:gd name="T15" fmla="*/ 72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8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8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2 h 111"/>
                <a:gd name="T34" fmla="*/ 0 w 171"/>
                <a:gd name="T35" fmla="*/ 55 h 111"/>
                <a:gd name="T36" fmla="*/ 2 w 171"/>
                <a:gd name="T37" fmla="*/ 37 h 111"/>
                <a:gd name="T38" fmla="*/ 10 w 171"/>
                <a:gd name="T39" fmla="*/ 22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2"/>
                  </a:lnTo>
                  <a:lnTo>
                    <a:pt x="168" y="37"/>
                  </a:lnTo>
                  <a:lnTo>
                    <a:pt x="171" y="55"/>
                  </a:lnTo>
                  <a:lnTo>
                    <a:pt x="168" y="72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8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8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2"/>
                  </a:lnTo>
                  <a:lnTo>
                    <a:pt x="0" y="55"/>
                  </a:lnTo>
                  <a:lnTo>
                    <a:pt x="2" y="37"/>
                  </a:lnTo>
                  <a:lnTo>
                    <a:pt x="10" y="22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5" name="Freeform 21">
              <a:extLst>
                <a:ext uri="{FF2B5EF4-FFF2-40B4-BE49-F238E27FC236}">
                  <a16:creationId xmlns:a16="http://schemas.microsoft.com/office/drawing/2014/main" id="{2A783787-5E9B-43C9-9BF4-073950C97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95860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3 h 111"/>
                <a:gd name="T10" fmla="*/ 168 w 171"/>
                <a:gd name="T11" fmla="*/ 38 h 111"/>
                <a:gd name="T12" fmla="*/ 171 w 171"/>
                <a:gd name="T13" fmla="*/ 55 h 111"/>
                <a:gd name="T14" fmla="*/ 168 w 171"/>
                <a:gd name="T15" fmla="*/ 74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9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9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4 h 111"/>
                <a:gd name="T34" fmla="*/ 0 w 171"/>
                <a:gd name="T35" fmla="*/ 55 h 111"/>
                <a:gd name="T36" fmla="*/ 2 w 171"/>
                <a:gd name="T37" fmla="*/ 38 h 111"/>
                <a:gd name="T38" fmla="*/ 10 w 171"/>
                <a:gd name="T39" fmla="*/ 23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3"/>
                  </a:lnTo>
                  <a:lnTo>
                    <a:pt x="168" y="38"/>
                  </a:lnTo>
                  <a:lnTo>
                    <a:pt x="171" y="55"/>
                  </a:lnTo>
                  <a:lnTo>
                    <a:pt x="168" y="74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9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9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4"/>
                  </a:lnTo>
                  <a:lnTo>
                    <a:pt x="0" y="55"/>
                  </a:lnTo>
                  <a:lnTo>
                    <a:pt x="2" y="38"/>
                  </a:lnTo>
                  <a:lnTo>
                    <a:pt x="10" y="23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6" name="Freeform 22">
              <a:extLst>
                <a:ext uri="{FF2B5EF4-FFF2-40B4-BE49-F238E27FC236}">
                  <a16:creationId xmlns:a16="http://schemas.microsoft.com/office/drawing/2014/main" id="{6465D05A-ED22-49B3-924E-6DFC4C8C8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8138" y="5997240"/>
              <a:ext cx="283642" cy="307072"/>
            </a:xfrm>
            <a:custGeom>
              <a:avLst/>
              <a:gdLst>
                <a:gd name="T0" fmla="*/ 185 w 3736"/>
                <a:gd name="T1" fmla="*/ 3069 h 3678"/>
                <a:gd name="T2" fmla="*/ 125 w 3736"/>
                <a:gd name="T3" fmla="*/ 3352 h 3678"/>
                <a:gd name="T4" fmla="*/ 325 w 3736"/>
                <a:gd name="T5" fmla="*/ 3554 h 3678"/>
                <a:gd name="T6" fmla="*/ 2002 w 3736"/>
                <a:gd name="T7" fmla="*/ 3518 h 3678"/>
                <a:gd name="T8" fmla="*/ 2140 w 3736"/>
                <a:gd name="T9" fmla="*/ 3266 h 3678"/>
                <a:gd name="T10" fmla="*/ 2002 w 3736"/>
                <a:gd name="T11" fmla="*/ 3013 h 3678"/>
                <a:gd name="T12" fmla="*/ 943 w 3736"/>
                <a:gd name="T13" fmla="*/ 2853 h 3678"/>
                <a:gd name="T14" fmla="*/ 2970 w 3736"/>
                <a:gd name="T15" fmla="*/ 2765 h 3678"/>
                <a:gd name="T16" fmla="*/ 3240 w 3736"/>
                <a:gd name="T17" fmla="*/ 2787 h 3678"/>
                <a:gd name="T18" fmla="*/ 3506 w 3736"/>
                <a:gd name="T19" fmla="*/ 2599 h 3678"/>
                <a:gd name="T20" fmla="*/ 302 w 3736"/>
                <a:gd name="T21" fmla="*/ 2099 h 3678"/>
                <a:gd name="T22" fmla="*/ 333 w 3736"/>
                <a:gd name="T23" fmla="*/ 2613 h 3678"/>
                <a:gd name="T24" fmla="*/ 3524 w 3736"/>
                <a:gd name="T25" fmla="*/ 1966 h 3678"/>
                <a:gd name="T26" fmla="*/ 3542 w 3736"/>
                <a:gd name="T27" fmla="*/ 2077 h 3678"/>
                <a:gd name="T28" fmla="*/ 3622 w 3736"/>
                <a:gd name="T29" fmla="*/ 1998 h 3678"/>
                <a:gd name="T30" fmla="*/ 893 w 3736"/>
                <a:gd name="T31" fmla="*/ 1458 h 3678"/>
                <a:gd name="T32" fmla="*/ 1843 w 3736"/>
                <a:gd name="T33" fmla="*/ 2616 h 3678"/>
                <a:gd name="T34" fmla="*/ 1132 w 3736"/>
                <a:gd name="T35" fmla="*/ 2414 h 3678"/>
                <a:gd name="T36" fmla="*/ 954 w 3736"/>
                <a:gd name="T37" fmla="*/ 2256 h 3678"/>
                <a:gd name="T38" fmla="*/ 1082 w 3736"/>
                <a:gd name="T39" fmla="*/ 2271 h 3678"/>
                <a:gd name="T40" fmla="*/ 1271 w 3736"/>
                <a:gd name="T41" fmla="*/ 1557 h 3678"/>
                <a:gd name="T42" fmla="*/ 1360 w 3736"/>
                <a:gd name="T43" fmla="*/ 1601 h 3678"/>
                <a:gd name="T44" fmla="*/ 1958 w 3736"/>
                <a:gd name="T45" fmla="*/ 2171 h 3678"/>
                <a:gd name="T46" fmla="*/ 1525 w 3736"/>
                <a:gd name="T47" fmla="*/ 1457 h 3678"/>
                <a:gd name="T48" fmla="*/ 2749 w 3736"/>
                <a:gd name="T49" fmla="*/ 361 h 3678"/>
                <a:gd name="T50" fmla="*/ 3541 w 3736"/>
                <a:gd name="T51" fmla="*/ 1844 h 3678"/>
                <a:gd name="T52" fmla="*/ 1658 w 3736"/>
                <a:gd name="T53" fmla="*/ 1439 h 3678"/>
                <a:gd name="T54" fmla="*/ 2419 w 3736"/>
                <a:gd name="T55" fmla="*/ 427 h 3678"/>
                <a:gd name="T56" fmla="*/ 2498 w 3736"/>
                <a:gd name="T57" fmla="*/ 124 h 3678"/>
                <a:gd name="T58" fmla="*/ 2441 w 3736"/>
                <a:gd name="T59" fmla="*/ 287 h 3678"/>
                <a:gd name="T60" fmla="*/ 2599 w 3736"/>
                <a:gd name="T61" fmla="*/ 347 h 3678"/>
                <a:gd name="T62" fmla="*/ 2672 w 3736"/>
                <a:gd name="T63" fmla="*/ 256 h 3678"/>
                <a:gd name="T64" fmla="*/ 2625 w 3736"/>
                <a:gd name="T65" fmla="*/ 136 h 3678"/>
                <a:gd name="T66" fmla="*/ 2665 w 3736"/>
                <a:gd name="T67" fmla="*/ 28 h 3678"/>
                <a:gd name="T68" fmla="*/ 3734 w 3736"/>
                <a:gd name="T69" fmla="*/ 1986 h 3678"/>
                <a:gd name="T70" fmla="*/ 3646 w 3736"/>
                <a:gd name="T71" fmla="*/ 2170 h 3678"/>
                <a:gd name="T72" fmla="*/ 3580 w 3736"/>
                <a:gd name="T73" fmla="*/ 2724 h 3678"/>
                <a:gd name="T74" fmla="*/ 3180 w 3736"/>
                <a:gd name="T75" fmla="*/ 2918 h 3678"/>
                <a:gd name="T76" fmla="*/ 2865 w 3736"/>
                <a:gd name="T77" fmla="*/ 2826 h 3678"/>
                <a:gd name="T78" fmla="*/ 2459 w 3736"/>
                <a:gd name="T79" fmla="*/ 2397 h 3678"/>
                <a:gd name="T80" fmla="*/ 3431 w 3736"/>
                <a:gd name="T81" fmla="*/ 2200 h 3678"/>
                <a:gd name="T82" fmla="*/ 3506 w 3736"/>
                <a:gd name="T83" fmla="*/ 2183 h 3678"/>
                <a:gd name="T84" fmla="*/ 1983 w 3736"/>
                <a:gd name="T85" fmla="*/ 1926 h 3678"/>
                <a:gd name="T86" fmla="*/ 2073 w 3736"/>
                <a:gd name="T87" fmla="*/ 2433 h 3678"/>
                <a:gd name="T88" fmla="*/ 2059 w 3736"/>
                <a:gd name="T89" fmla="*/ 2469 h 3678"/>
                <a:gd name="T90" fmla="*/ 2043 w 3736"/>
                <a:gd name="T91" fmla="*/ 2482 h 3678"/>
                <a:gd name="T92" fmla="*/ 2024 w 3736"/>
                <a:gd name="T93" fmla="*/ 2489 h 3678"/>
                <a:gd name="T94" fmla="*/ 1942 w 3736"/>
                <a:gd name="T95" fmla="*/ 2705 h 3678"/>
                <a:gd name="T96" fmla="*/ 1890 w 3736"/>
                <a:gd name="T97" fmla="*/ 2857 h 3678"/>
                <a:gd name="T98" fmla="*/ 2177 w 3736"/>
                <a:gd name="T99" fmla="*/ 3030 h 3678"/>
                <a:gd name="T100" fmla="*/ 2238 w 3736"/>
                <a:gd name="T101" fmla="*/ 3367 h 3678"/>
                <a:gd name="T102" fmla="*/ 2032 w 3736"/>
                <a:gd name="T103" fmla="*/ 3630 h 3678"/>
                <a:gd name="T104" fmla="*/ 311 w 3736"/>
                <a:gd name="T105" fmla="*/ 3666 h 3678"/>
                <a:gd name="T106" fmla="*/ 49 w 3736"/>
                <a:gd name="T107" fmla="*/ 3460 h 3678"/>
                <a:gd name="T108" fmla="*/ 28 w 3736"/>
                <a:gd name="T109" fmla="*/ 3116 h 3678"/>
                <a:gd name="T110" fmla="*/ 263 w 3736"/>
                <a:gd name="T111" fmla="*/ 2882 h 3678"/>
                <a:gd name="T112" fmla="*/ 317 w 3736"/>
                <a:gd name="T113" fmla="*/ 2724 h 3678"/>
                <a:gd name="T114" fmla="*/ 178 w 3736"/>
                <a:gd name="T115" fmla="*/ 2553 h 3678"/>
                <a:gd name="T116" fmla="*/ 284 w 3736"/>
                <a:gd name="T117" fmla="*/ 1975 h 3678"/>
                <a:gd name="T118" fmla="*/ 740 w 3736"/>
                <a:gd name="T119" fmla="*/ 1477 h 3678"/>
                <a:gd name="T120" fmla="*/ 963 w 3736"/>
                <a:gd name="T121" fmla="*/ 1310 h 3678"/>
                <a:gd name="T122" fmla="*/ 2410 w 3736"/>
                <a:gd name="T123" fmla="*/ 48 h 3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6" h="3678">
                  <a:moveTo>
                    <a:pt x="413" y="2964"/>
                  </a:moveTo>
                  <a:lnTo>
                    <a:pt x="367" y="2968"/>
                  </a:lnTo>
                  <a:lnTo>
                    <a:pt x="325" y="2978"/>
                  </a:lnTo>
                  <a:lnTo>
                    <a:pt x="286" y="2993"/>
                  </a:lnTo>
                  <a:lnTo>
                    <a:pt x="248" y="3013"/>
                  </a:lnTo>
                  <a:lnTo>
                    <a:pt x="215" y="3039"/>
                  </a:lnTo>
                  <a:lnTo>
                    <a:pt x="185" y="3069"/>
                  </a:lnTo>
                  <a:lnTo>
                    <a:pt x="160" y="3102"/>
                  </a:lnTo>
                  <a:lnTo>
                    <a:pt x="139" y="3139"/>
                  </a:lnTo>
                  <a:lnTo>
                    <a:pt x="125" y="3179"/>
                  </a:lnTo>
                  <a:lnTo>
                    <a:pt x="114" y="3222"/>
                  </a:lnTo>
                  <a:lnTo>
                    <a:pt x="111" y="3266"/>
                  </a:lnTo>
                  <a:lnTo>
                    <a:pt x="114" y="3310"/>
                  </a:lnTo>
                  <a:lnTo>
                    <a:pt x="125" y="3352"/>
                  </a:lnTo>
                  <a:lnTo>
                    <a:pt x="139" y="3393"/>
                  </a:lnTo>
                  <a:lnTo>
                    <a:pt x="160" y="3430"/>
                  </a:lnTo>
                  <a:lnTo>
                    <a:pt x="185" y="3464"/>
                  </a:lnTo>
                  <a:lnTo>
                    <a:pt x="215" y="3493"/>
                  </a:lnTo>
                  <a:lnTo>
                    <a:pt x="248" y="3518"/>
                  </a:lnTo>
                  <a:lnTo>
                    <a:pt x="286" y="3538"/>
                  </a:lnTo>
                  <a:lnTo>
                    <a:pt x="325" y="3554"/>
                  </a:lnTo>
                  <a:lnTo>
                    <a:pt x="367" y="3563"/>
                  </a:lnTo>
                  <a:lnTo>
                    <a:pt x="413" y="3567"/>
                  </a:lnTo>
                  <a:lnTo>
                    <a:pt x="1838" y="3567"/>
                  </a:lnTo>
                  <a:lnTo>
                    <a:pt x="1882" y="3563"/>
                  </a:lnTo>
                  <a:lnTo>
                    <a:pt x="1925" y="3554"/>
                  </a:lnTo>
                  <a:lnTo>
                    <a:pt x="1965" y="3538"/>
                  </a:lnTo>
                  <a:lnTo>
                    <a:pt x="2002" y="3518"/>
                  </a:lnTo>
                  <a:lnTo>
                    <a:pt x="2035" y="3493"/>
                  </a:lnTo>
                  <a:lnTo>
                    <a:pt x="2065" y="3464"/>
                  </a:lnTo>
                  <a:lnTo>
                    <a:pt x="2091" y="3430"/>
                  </a:lnTo>
                  <a:lnTo>
                    <a:pt x="2111" y="3393"/>
                  </a:lnTo>
                  <a:lnTo>
                    <a:pt x="2126" y="3352"/>
                  </a:lnTo>
                  <a:lnTo>
                    <a:pt x="2136" y="3310"/>
                  </a:lnTo>
                  <a:lnTo>
                    <a:pt x="2140" y="3266"/>
                  </a:lnTo>
                  <a:lnTo>
                    <a:pt x="2136" y="3222"/>
                  </a:lnTo>
                  <a:lnTo>
                    <a:pt x="2126" y="3179"/>
                  </a:lnTo>
                  <a:lnTo>
                    <a:pt x="2111" y="3139"/>
                  </a:lnTo>
                  <a:lnTo>
                    <a:pt x="2091" y="3102"/>
                  </a:lnTo>
                  <a:lnTo>
                    <a:pt x="2065" y="3069"/>
                  </a:lnTo>
                  <a:lnTo>
                    <a:pt x="2035" y="3039"/>
                  </a:lnTo>
                  <a:lnTo>
                    <a:pt x="2002" y="3013"/>
                  </a:lnTo>
                  <a:lnTo>
                    <a:pt x="1965" y="2993"/>
                  </a:lnTo>
                  <a:lnTo>
                    <a:pt x="1925" y="2978"/>
                  </a:lnTo>
                  <a:lnTo>
                    <a:pt x="1882" y="2968"/>
                  </a:lnTo>
                  <a:lnTo>
                    <a:pt x="1838" y="2964"/>
                  </a:lnTo>
                  <a:lnTo>
                    <a:pt x="413" y="2964"/>
                  </a:lnTo>
                  <a:close/>
                  <a:moveTo>
                    <a:pt x="943" y="2727"/>
                  </a:moveTo>
                  <a:lnTo>
                    <a:pt x="943" y="2853"/>
                  </a:lnTo>
                  <a:lnTo>
                    <a:pt x="1307" y="2853"/>
                  </a:lnTo>
                  <a:lnTo>
                    <a:pt x="1307" y="2727"/>
                  </a:lnTo>
                  <a:lnTo>
                    <a:pt x="943" y="2727"/>
                  </a:lnTo>
                  <a:close/>
                  <a:moveTo>
                    <a:pt x="3407" y="2328"/>
                  </a:moveTo>
                  <a:lnTo>
                    <a:pt x="2754" y="2590"/>
                  </a:lnTo>
                  <a:lnTo>
                    <a:pt x="2936" y="2741"/>
                  </a:lnTo>
                  <a:lnTo>
                    <a:pt x="2970" y="2765"/>
                  </a:lnTo>
                  <a:lnTo>
                    <a:pt x="3005" y="2783"/>
                  </a:lnTo>
                  <a:lnTo>
                    <a:pt x="3042" y="2797"/>
                  </a:lnTo>
                  <a:lnTo>
                    <a:pt x="3081" y="2806"/>
                  </a:lnTo>
                  <a:lnTo>
                    <a:pt x="3121" y="2809"/>
                  </a:lnTo>
                  <a:lnTo>
                    <a:pt x="3161" y="2808"/>
                  </a:lnTo>
                  <a:lnTo>
                    <a:pt x="3201" y="2800"/>
                  </a:lnTo>
                  <a:lnTo>
                    <a:pt x="3240" y="2787"/>
                  </a:lnTo>
                  <a:lnTo>
                    <a:pt x="3429" y="2711"/>
                  </a:lnTo>
                  <a:lnTo>
                    <a:pt x="3452" y="2700"/>
                  </a:lnTo>
                  <a:lnTo>
                    <a:pt x="3470" y="2684"/>
                  </a:lnTo>
                  <a:lnTo>
                    <a:pt x="3485" y="2666"/>
                  </a:lnTo>
                  <a:lnTo>
                    <a:pt x="3496" y="2646"/>
                  </a:lnTo>
                  <a:lnTo>
                    <a:pt x="3504" y="2623"/>
                  </a:lnTo>
                  <a:lnTo>
                    <a:pt x="3506" y="2599"/>
                  </a:lnTo>
                  <a:lnTo>
                    <a:pt x="3504" y="2575"/>
                  </a:lnTo>
                  <a:lnTo>
                    <a:pt x="3497" y="2551"/>
                  </a:lnTo>
                  <a:lnTo>
                    <a:pt x="3407" y="2328"/>
                  </a:lnTo>
                  <a:close/>
                  <a:moveTo>
                    <a:pt x="353" y="2073"/>
                  </a:moveTo>
                  <a:lnTo>
                    <a:pt x="333" y="2076"/>
                  </a:lnTo>
                  <a:lnTo>
                    <a:pt x="315" y="2085"/>
                  </a:lnTo>
                  <a:lnTo>
                    <a:pt x="302" y="2099"/>
                  </a:lnTo>
                  <a:lnTo>
                    <a:pt x="292" y="2116"/>
                  </a:lnTo>
                  <a:lnTo>
                    <a:pt x="289" y="2136"/>
                  </a:lnTo>
                  <a:lnTo>
                    <a:pt x="289" y="2553"/>
                  </a:lnTo>
                  <a:lnTo>
                    <a:pt x="292" y="2572"/>
                  </a:lnTo>
                  <a:lnTo>
                    <a:pt x="302" y="2590"/>
                  </a:lnTo>
                  <a:lnTo>
                    <a:pt x="315" y="2604"/>
                  </a:lnTo>
                  <a:lnTo>
                    <a:pt x="333" y="2613"/>
                  </a:lnTo>
                  <a:lnTo>
                    <a:pt x="353" y="2616"/>
                  </a:lnTo>
                  <a:lnTo>
                    <a:pt x="713" y="2616"/>
                  </a:lnTo>
                  <a:lnTo>
                    <a:pt x="713" y="2073"/>
                  </a:lnTo>
                  <a:lnTo>
                    <a:pt x="353" y="2073"/>
                  </a:lnTo>
                  <a:close/>
                  <a:moveTo>
                    <a:pt x="3562" y="1955"/>
                  </a:moveTo>
                  <a:lnTo>
                    <a:pt x="3542" y="1957"/>
                  </a:lnTo>
                  <a:lnTo>
                    <a:pt x="3524" y="1966"/>
                  </a:lnTo>
                  <a:lnTo>
                    <a:pt x="3511" y="1980"/>
                  </a:lnTo>
                  <a:lnTo>
                    <a:pt x="3502" y="1998"/>
                  </a:lnTo>
                  <a:lnTo>
                    <a:pt x="3498" y="2017"/>
                  </a:lnTo>
                  <a:lnTo>
                    <a:pt x="3502" y="2038"/>
                  </a:lnTo>
                  <a:lnTo>
                    <a:pt x="3511" y="2055"/>
                  </a:lnTo>
                  <a:lnTo>
                    <a:pt x="3524" y="2068"/>
                  </a:lnTo>
                  <a:lnTo>
                    <a:pt x="3542" y="2077"/>
                  </a:lnTo>
                  <a:lnTo>
                    <a:pt x="3562" y="2081"/>
                  </a:lnTo>
                  <a:lnTo>
                    <a:pt x="3582" y="2077"/>
                  </a:lnTo>
                  <a:lnTo>
                    <a:pt x="3599" y="2068"/>
                  </a:lnTo>
                  <a:lnTo>
                    <a:pt x="3613" y="2055"/>
                  </a:lnTo>
                  <a:lnTo>
                    <a:pt x="3622" y="2038"/>
                  </a:lnTo>
                  <a:lnTo>
                    <a:pt x="3625" y="2017"/>
                  </a:lnTo>
                  <a:lnTo>
                    <a:pt x="3622" y="1998"/>
                  </a:lnTo>
                  <a:lnTo>
                    <a:pt x="3613" y="1980"/>
                  </a:lnTo>
                  <a:lnTo>
                    <a:pt x="3599" y="1966"/>
                  </a:lnTo>
                  <a:lnTo>
                    <a:pt x="3582" y="1957"/>
                  </a:lnTo>
                  <a:lnTo>
                    <a:pt x="3562" y="1955"/>
                  </a:lnTo>
                  <a:close/>
                  <a:moveTo>
                    <a:pt x="950" y="1428"/>
                  </a:moveTo>
                  <a:lnTo>
                    <a:pt x="921" y="1441"/>
                  </a:lnTo>
                  <a:lnTo>
                    <a:pt x="893" y="1458"/>
                  </a:lnTo>
                  <a:lnTo>
                    <a:pt x="871" y="1481"/>
                  </a:lnTo>
                  <a:lnTo>
                    <a:pt x="851" y="1507"/>
                  </a:lnTo>
                  <a:lnTo>
                    <a:pt x="837" y="1536"/>
                  </a:lnTo>
                  <a:lnTo>
                    <a:pt x="828" y="1568"/>
                  </a:lnTo>
                  <a:lnTo>
                    <a:pt x="824" y="1601"/>
                  </a:lnTo>
                  <a:lnTo>
                    <a:pt x="824" y="2616"/>
                  </a:lnTo>
                  <a:lnTo>
                    <a:pt x="1843" y="2616"/>
                  </a:lnTo>
                  <a:lnTo>
                    <a:pt x="1843" y="2489"/>
                  </a:lnTo>
                  <a:lnTo>
                    <a:pt x="1556" y="2489"/>
                  </a:lnTo>
                  <a:lnTo>
                    <a:pt x="1468" y="2487"/>
                  </a:lnTo>
                  <a:lnTo>
                    <a:pt x="1382" y="2478"/>
                  </a:lnTo>
                  <a:lnTo>
                    <a:pt x="1297" y="2462"/>
                  </a:lnTo>
                  <a:lnTo>
                    <a:pt x="1213" y="2441"/>
                  </a:lnTo>
                  <a:lnTo>
                    <a:pt x="1132" y="2414"/>
                  </a:lnTo>
                  <a:lnTo>
                    <a:pt x="1050" y="2382"/>
                  </a:lnTo>
                  <a:lnTo>
                    <a:pt x="1026" y="2369"/>
                  </a:lnTo>
                  <a:lnTo>
                    <a:pt x="1005" y="2352"/>
                  </a:lnTo>
                  <a:lnTo>
                    <a:pt x="985" y="2331"/>
                  </a:lnTo>
                  <a:lnTo>
                    <a:pt x="971" y="2309"/>
                  </a:lnTo>
                  <a:lnTo>
                    <a:pt x="960" y="2284"/>
                  </a:lnTo>
                  <a:lnTo>
                    <a:pt x="954" y="2256"/>
                  </a:lnTo>
                  <a:lnTo>
                    <a:pt x="950" y="2228"/>
                  </a:lnTo>
                  <a:lnTo>
                    <a:pt x="950" y="1428"/>
                  </a:lnTo>
                  <a:close/>
                  <a:moveTo>
                    <a:pt x="1062" y="1419"/>
                  </a:moveTo>
                  <a:lnTo>
                    <a:pt x="1062" y="2228"/>
                  </a:lnTo>
                  <a:lnTo>
                    <a:pt x="1065" y="2245"/>
                  </a:lnTo>
                  <a:lnTo>
                    <a:pt x="1071" y="2259"/>
                  </a:lnTo>
                  <a:lnTo>
                    <a:pt x="1082" y="2271"/>
                  </a:lnTo>
                  <a:lnTo>
                    <a:pt x="1095" y="2280"/>
                  </a:lnTo>
                  <a:lnTo>
                    <a:pt x="1171" y="2311"/>
                  </a:lnTo>
                  <a:lnTo>
                    <a:pt x="1248" y="2335"/>
                  </a:lnTo>
                  <a:lnTo>
                    <a:pt x="1248" y="1601"/>
                  </a:lnTo>
                  <a:lnTo>
                    <a:pt x="1251" y="1584"/>
                  </a:lnTo>
                  <a:lnTo>
                    <a:pt x="1259" y="1568"/>
                  </a:lnTo>
                  <a:lnTo>
                    <a:pt x="1271" y="1557"/>
                  </a:lnTo>
                  <a:lnTo>
                    <a:pt x="1286" y="1549"/>
                  </a:lnTo>
                  <a:lnTo>
                    <a:pt x="1304" y="1545"/>
                  </a:lnTo>
                  <a:lnTo>
                    <a:pt x="1321" y="1549"/>
                  </a:lnTo>
                  <a:lnTo>
                    <a:pt x="1337" y="1557"/>
                  </a:lnTo>
                  <a:lnTo>
                    <a:pt x="1348" y="1568"/>
                  </a:lnTo>
                  <a:lnTo>
                    <a:pt x="1356" y="1584"/>
                  </a:lnTo>
                  <a:lnTo>
                    <a:pt x="1360" y="1601"/>
                  </a:lnTo>
                  <a:lnTo>
                    <a:pt x="1360" y="2361"/>
                  </a:lnTo>
                  <a:lnTo>
                    <a:pt x="1424" y="2370"/>
                  </a:lnTo>
                  <a:lnTo>
                    <a:pt x="1490" y="2376"/>
                  </a:lnTo>
                  <a:lnTo>
                    <a:pt x="1556" y="2378"/>
                  </a:lnTo>
                  <a:lnTo>
                    <a:pt x="1961" y="2378"/>
                  </a:lnTo>
                  <a:lnTo>
                    <a:pt x="1961" y="2221"/>
                  </a:lnTo>
                  <a:lnTo>
                    <a:pt x="1958" y="2171"/>
                  </a:lnTo>
                  <a:lnTo>
                    <a:pt x="1949" y="2123"/>
                  </a:lnTo>
                  <a:lnTo>
                    <a:pt x="1936" y="2076"/>
                  </a:lnTo>
                  <a:lnTo>
                    <a:pt x="1915" y="2031"/>
                  </a:lnTo>
                  <a:lnTo>
                    <a:pt x="1890" y="1988"/>
                  </a:lnTo>
                  <a:lnTo>
                    <a:pt x="1566" y="1500"/>
                  </a:lnTo>
                  <a:lnTo>
                    <a:pt x="1547" y="1477"/>
                  </a:lnTo>
                  <a:lnTo>
                    <a:pt x="1525" y="1457"/>
                  </a:lnTo>
                  <a:lnTo>
                    <a:pt x="1500" y="1441"/>
                  </a:lnTo>
                  <a:lnTo>
                    <a:pt x="1473" y="1428"/>
                  </a:lnTo>
                  <a:lnTo>
                    <a:pt x="1445" y="1422"/>
                  </a:lnTo>
                  <a:lnTo>
                    <a:pt x="1414" y="1419"/>
                  </a:lnTo>
                  <a:lnTo>
                    <a:pt x="1062" y="1419"/>
                  </a:lnTo>
                  <a:close/>
                  <a:moveTo>
                    <a:pt x="2753" y="353"/>
                  </a:moveTo>
                  <a:lnTo>
                    <a:pt x="2749" y="361"/>
                  </a:lnTo>
                  <a:lnTo>
                    <a:pt x="2571" y="659"/>
                  </a:lnTo>
                  <a:lnTo>
                    <a:pt x="3419" y="1917"/>
                  </a:lnTo>
                  <a:lnTo>
                    <a:pt x="3437" y="1895"/>
                  </a:lnTo>
                  <a:lnTo>
                    <a:pt x="3460" y="1876"/>
                  </a:lnTo>
                  <a:lnTo>
                    <a:pt x="3485" y="1861"/>
                  </a:lnTo>
                  <a:lnTo>
                    <a:pt x="3512" y="1850"/>
                  </a:lnTo>
                  <a:lnTo>
                    <a:pt x="3541" y="1844"/>
                  </a:lnTo>
                  <a:lnTo>
                    <a:pt x="2753" y="353"/>
                  </a:lnTo>
                  <a:close/>
                  <a:moveTo>
                    <a:pt x="2334" y="320"/>
                  </a:moveTo>
                  <a:lnTo>
                    <a:pt x="1562" y="1348"/>
                  </a:lnTo>
                  <a:lnTo>
                    <a:pt x="1590" y="1366"/>
                  </a:lnTo>
                  <a:lnTo>
                    <a:pt x="1616" y="1387"/>
                  </a:lnTo>
                  <a:lnTo>
                    <a:pt x="1638" y="1411"/>
                  </a:lnTo>
                  <a:lnTo>
                    <a:pt x="1658" y="1439"/>
                  </a:lnTo>
                  <a:lnTo>
                    <a:pt x="1827" y="1690"/>
                  </a:lnTo>
                  <a:lnTo>
                    <a:pt x="2555" y="467"/>
                  </a:lnTo>
                  <a:lnTo>
                    <a:pt x="2551" y="467"/>
                  </a:lnTo>
                  <a:lnTo>
                    <a:pt x="2515" y="465"/>
                  </a:lnTo>
                  <a:lnTo>
                    <a:pt x="2481" y="457"/>
                  </a:lnTo>
                  <a:lnTo>
                    <a:pt x="2448" y="444"/>
                  </a:lnTo>
                  <a:lnTo>
                    <a:pt x="2419" y="427"/>
                  </a:lnTo>
                  <a:lnTo>
                    <a:pt x="2391" y="405"/>
                  </a:lnTo>
                  <a:lnTo>
                    <a:pt x="2369" y="380"/>
                  </a:lnTo>
                  <a:lnTo>
                    <a:pt x="2349" y="351"/>
                  </a:lnTo>
                  <a:lnTo>
                    <a:pt x="2334" y="320"/>
                  </a:lnTo>
                  <a:close/>
                  <a:moveTo>
                    <a:pt x="2551" y="111"/>
                  </a:moveTo>
                  <a:lnTo>
                    <a:pt x="2523" y="115"/>
                  </a:lnTo>
                  <a:lnTo>
                    <a:pt x="2498" y="124"/>
                  </a:lnTo>
                  <a:lnTo>
                    <a:pt x="2475" y="138"/>
                  </a:lnTo>
                  <a:lnTo>
                    <a:pt x="2456" y="157"/>
                  </a:lnTo>
                  <a:lnTo>
                    <a:pt x="2441" y="180"/>
                  </a:lnTo>
                  <a:lnTo>
                    <a:pt x="2432" y="205"/>
                  </a:lnTo>
                  <a:lnTo>
                    <a:pt x="2429" y="234"/>
                  </a:lnTo>
                  <a:lnTo>
                    <a:pt x="2432" y="262"/>
                  </a:lnTo>
                  <a:lnTo>
                    <a:pt x="2441" y="287"/>
                  </a:lnTo>
                  <a:lnTo>
                    <a:pt x="2456" y="311"/>
                  </a:lnTo>
                  <a:lnTo>
                    <a:pt x="2475" y="329"/>
                  </a:lnTo>
                  <a:lnTo>
                    <a:pt x="2498" y="344"/>
                  </a:lnTo>
                  <a:lnTo>
                    <a:pt x="2523" y="353"/>
                  </a:lnTo>
                  <a:lnTo>
                    <a:pt x="2551" y="356"/>
                  </a:lnTo>
                  <a:lnTo>
                    <a:pt x="2576" y="354"/>
                  </a:lnTo>
                  <a:lnTo>
                    <a:pt x="2599" y="347"/>
                  </a:lnTo>
                  <a:lnTo>
                    <a:pt x="2619" y="336"/>
                  </a:lnTo>
                  <a:lnTo>
                    <a:pt x="2638" y="321"/>
                  </a:lnTo>
                  <a:lnTo>
                    <a:pt x="2653" y="303"/>
                  </a:lnTo>
                  <a:lnTo>
                    <a:pt x="2656" y="298"/>
                  </a:lnTo>
                  <a:lnTo>
                    <a:pt x="2657" y="297"/>
                  </a:lnTo>
                  <a:lnTo>
                    <a:pt x="2666" y="278"/>
                  </a:lnTo>
                  <a:lnTo>
                    <a:pt x="2672" y="256"/>
                  </a:lnTo>
                  <a:lnTo>
                    <a:pt x="2674" y="234"/>
                  </a:lnTo>
                  <a:lnTo>
                    <a:pt x="2672" y="210"/>
                  </a:lnTo>
                  <a:lnTo>
                    <a:pt x="2665" y="187"/>
                  </a:lnTo>
                  <a:lnTo>
                    <a:pt x="2661" y="180"/>
                  </a:lnTo>
                  <a:lnTo>
                    <a:pt x="2658" y="174"/>
                  </a:lnTo>
                  <a:lnTo>
                    <a:pt x="2643" y="153"/>
                  </a:lnTo>
                  <a:lnTo>
                    <a:pt x="2625" y="136"/>
                  </a:lnTo>
                  <a:lnTo>
                    <a:pt x="2603" y="123"/>
                  </a:lnTo>
                  <a:lnTo>
                    <a:pt x="2579" y="115"/>
                  </a:lnTo>
                  <a:lnTo>
                    <a:pt x="2551" y="111"/>
                  </a:lnTo>
                  <a:close/>
                  <a:moveTo>
                    <a:pt x="2551" y="0"/>
                  </a:moveTo>
                  <a:lnTo>
                    <a:pt x="2591" y="3"/>
                  </a:lnTo>
                  <a:lnTo>
                    <a:pt x="2630" y="12"/>
                  </a:lnTo>
                  <a:lnTo>
                    <a:pt x="2665" y="28"/>
                  </a:lnTo>
                  <a:lnTo>
                    <a:pt x="2696" y="50"/>
                  </a:lnTo>
                  <a:lnTo>
                    <a:pt x="2724" y="75"/>
                  </a:lnTo>
                  <a:lnTo>
                    <a:pt x="2747" y="106"/>
                  </a:lnTo>
                  <a:lnTo>
                    <a:pt x="2766" y="138"/>
                  </a:lnTo>
                  <a:lnTo>
                    <a:pt x="3713" y="1930"/>
                  </a:lnTo>
                  <a:lnTo>
                    <a:pt x="3726" y="1957"/>
                  </a:lnTo>
                  <a:lnTo>
                    <a:pt x="3734" y="1986"/>
                  </a:lnTo>
                  <a:lnTo>
                    <a:pt x="3736" y="2017"/>
                  </a:lnTo>
                  <a:lnTo>
                    <a:pt x="3733" y="2050"/>
                  </a:lnTo>
                  <a:lnTo>
                    <a:pt x="3725" y="2080"/>
                  </a:lnTo>
                  <a:lnTo>
                    <a:pt x="3711" y="2108"/>
                  </a:lnTo>
                  <a:lnTo>
                    <a:pt x="3693" y="2132"/>
                  </a:lnTo>
                  <a:lnTo>
                    <a:pt x="3672" y="2153"/>
                  </a:lnTo>
                  <a:lnTo>
                    <a:pt x="3646" y="2170"/>
                  </a:lnTo>
                  <a:lnTo>
                    <a:pt x="3617" y="2183"/>
                  </a:lnTo>
                  <a:lnTo>
                    <a:pt x="3617" y="2612"/>
                  </a:lnTo>
                  <a:lnTo>
                    <a:pt x="3617" y="2620"/>
                  </a:lnTo>
                  <a:lnTo>
                    <a:pt x="3616" y="2626"/>
                  </a:lnTo>
                  <a:lnTo>
                    <a:pt x="3609" y="2660"/>
                  </a:lnTo>
                  <a:lnTo>
                    <a:pt x="3597" y="2693"/>
                  </a:lnTo>
                  <a:lnTo>
                    <a:pt x="3580" y="2724"/>
                  </a:lnTo>
                  <a:lnTo>
                    <a:pt x="3559" y="2752"/>
                  </a:lnTo>
                  <a:lnTo>
                    <a:pt x="3533" y="2777"/>
                  </a:lnTo>
                  <a:lnTo>
                    <a:pt x="3504" y="2799"/>
                  </a:lnTo>
                  <a:lnTo>
                    <a:pt x="3471" y="2815"/>
                  </a:lnTo>
                  <a:lnTo>
                    <a:pt x="3282" y="2891"/>
                  </a:lnTo>
                  <a:lnTo>
                    <a:pt x="3231" y="2908"/>
                  </a:lnTo>
                  <a:lnTo>
                    <a:pt x="3180" y="2918"/>
                  </a:lnTo>
                  <a:lnTo>
                    <a:pt x="3127" y="2920"/>
                  </a:lnTo>
                  <a:lnTo>
                    <a:pt x="3081" y="2918"/>
                  </a:lnTo>
                  <a:lnTo>
                    <a:pt x="3034" y="2910"/>
                  </a:lnTo>
                  <a:lnTo>
                    <a:pt x="2989" y="2896"/>
                  </a:lnTo>
                  <a:lnTo>
                    <a:pt x="2946" y="2878"/>
                  </a:lnTo>
                  <a:lnTo>
                    <a:pt x="2904" y="2855"/>
                  </a:lnTo>
                  <a:lnTo>
                    <a:pt x="2865" y="2826"/>
                  </a:lnTo>
                  <a:lnTo>
                    <a:pt x="2454" y="2487"/>
                  </a:lnTo>
                  <a:lnTo>
                    <a:pt x="2442" y="2474"/>
                  </a:lnTo>
                  <a:lnTo>
                    <a:pt x="2436" y="2458"/>
                  </a:lnTo>
                  <a:lnTo>
                    <a:pt x="2433" y="2441"/>
                  </a:lnTo>
                  <a:lnTo>
                    <a:pt x="2438" y="2424"/>
                  </a:lnTo>
                  <a:lnTo>
                    <a:pt x="2447" y="2409"/>
                  </a:lnTo>
                  <a:lnTo>
                    <a:pt x="2459" y="2397"/>
                  </a:lnTo>
                  <a:lnTo>
                    <a:pt x="2475" y="2390"/>
                  </a:lnTo>
                  <a:lnTo>
                    <a:pt x="2492" y="2388"/>
                  </a:lnTo>
                  <a:lnTo>
                    <a:pt x="2509" y="2393"/>
                  </a:lnTo>
                  <a:lnTo>
                    <a:pt x="2525" y="2402"/>
                  </a:lnTo>
                  <a:lnTo>
                    <a:pt x="2656" y="2509"/>
                  </a:lnTo>
                  <a:lnTo>
                    <a:pt x="3418" y="2203"/>
                  </a:lnTo>
                  <a:lnTo>
                    <a:pt x="3431" y="2200"/>
                  </a:lnTo>
                  <a:lnTo>
                    <a:pt x="3446" y="2200"/>
                  </a:lnTo>
                  <a:lnTo>
                    <a:pt x="3460" y="2204"/>
                  </a:lnTo>
                  <a:lnTo>
                    <a:pt x="3472" y="2211"/>
                  </a:lnTo>
                  <a:lnTo>
                    <a:pt x="3482" y="2221"/>
                  </a:lnTo>
                  <a:lnTo>
                    <a:pt x="3490" y="2235"/>
                  </a:lnTo>
                  <a:lnTo>
                    <a:pt x="3506" y="2275"/>
                  </a:lnTo>
                  <a:lnTo>
                    <a:pt x="3506" y="2183"/>
                  </a:lnTo>
                  <a:lnTo>
                    <a:pt x="3478" y="2170"/>
                  </a:lnTo>
                  <a:lnTo>
                    <a:pt x="3452" y="2152"/>
                  </a:lnTo>
                  <a:lnTo>
                    <a:pt x="3429" y="2131"/>
                  </a:lnTo>
                  <a:lnTo>
                    <a:pt x="3411" y="2106"/>
                  </a:lnTo>
                  <a:lnTo>
                    <a:pt x="2507" y="766"/>
                  </a:lnTo>
                  <a:lnTo>
                    <a:pt x="1895" y="1794"/>
                  </a:lnTo>
                  <a:lnTo>
                    <a:pt x="1983" y="1926"/>
                  </a:lnTo>
                  <a:lnTo>
                    <a:pt x="2010" y="1971"/>
                  </a:lnTo>
                  <a:lnTo>
                    <a:pt x="2032" y="2018"/>
                  </a:lnTo>
                  <a:lnTo>
                    <a:pt x="2050" y="2067"/>
                  </a:lnTo>
                  <a:lnTo>
                    <a:pt x="2063" y="2117"/>
                  </a:lnTo>
                  <a:lnTo>
                    <a:pt x="2069" y="2168"/>
                  </a:lnTo>
                  <a:lnTo>
                    <a:pt x="2073" y="2221"/>
                  </a:lnTo>
                  <a:lnTo>
                    <a:pt x="2073" y="2433"/>
                  </a:lnTo>
                  <a:lnTo>
                    <a:pt x="2072" y="2441"/>
                  </a:lnTo>
                  <a:lnTo>
                    <a:pt x="2069" y="2452"/>
                  </a:lnTo>
                  <a:lnTo>
                    <a:pt x="2066" y="2460"/>
                  </a:lnTo>
                  <a:lnTo>
                    <a:pt x="2064" y="2463"/>
                  </a:lnTo>
                  <a:lnTo>
                    <a:pt x="2063" y="2465"/>
                  </a:lnTo>
                  <a:lnTo>
                    <a:pt x="2060" y="2469"/>
                  </a:lnTo>
                  <a:lnTo>
                    <a:pt x="2059" y="2469"/>
                  </a:lnTo>
                  <a:lnTo>
                    <a:pt x="2058" y="2471"/>
                  </a:lnTo>
                  <a:lnTo>
                    <a:pt x="2056" y="2473"/>
                  </a:lnTo>
                  <a:lnTo>
                    <a:pt x="2055" y="2474"/>
                  </a:lnTo>
                  <a:lnTo>
                    <a:pt x="2052" y="2477"/>
                  </a:lnTo>
                  <a:lnTo>
                    <a:pt x="2050" y="2478"/>
                  </a:lnTo>
                  <a:lnTo>
                    <a:pt x="2048" y="2480"/>
                  </a:lnTo>
                  <a:lnTo>
                    <a:pt x="2043" y="2482"/>
                  </a:lnTo>
                  <a:lnTo>
                    <a:pt x="2039" y="2485"/>
                  </a:lnTo>
                  <a:lnTo>
                    <a:pt x="2039" y="2485"/>
                  </a:lnTo>
                  <a:lnTo>
                    <a:pt x="2035" y="2486"/>
                  </a:lnTo>
                  <a:lnTo>
                    <a:pt x="2033" y="2487"/>
                  </a:lnTo>
                  <a:lnTo>
                    <a:pt x="2031" y="2488"/>
                  </a:lnTo>
                  <a:lnTo>
                    <a:pt x="2027" y="2488"/>
                  </a:lnTo>
                  <a:lnTo>
                    <a:pt x="2024" y="2489"/>
                  </a:lnTo>
                  <a:lnTo>
                    <a:pt x="2023" y="2489"/>
                  </a:lnTo>
                  <a:lnTo>
                    <a:pt x="2019" y="2489"/>
                  </a:lnTo>
                  <a:lnTo>
                    <a:pt x="2017" y="2489"/>
                  </a:lnTo>
                  <a:lnTo>
                    <a:pt x="1954" y="2489"/>
                  </a:lnTo>
                  <a:lnTo>
                    <a:pt x="1954" y="2672"/>
                  </a:lnTo>
                  <a:lnTo>
                    <a:pt x="1950" y="2689"/>
                  </a:lnTo>
                  <a:lnTo>
                    <a:pt x="1942" y="2705"/>
                  </a:lnTo>
                  <a:lnTo>
                    <a:pt x="1931" y="2716"/>
                  </a:lnTo>
                  <a:lnTo>
                    <a:pt x="1915" y="2724"/>
                  </a:lnTo>
                  <a:lnTo>
                    <a:pt x="1898" y="2727"/>
                  </a:lnTo>
                  <a:lnTo>
                    <a:pt x="1418" y="2727"/>
                  </a:lnTo>
                  <a:lnTo>
                    <a:pt x="1418" y="2853"/>
                  </a:lnTo>
                  <a:lnTo>
                    <a:pt x="1838" y="2853"/>
                  </a:lnTo>
                  <a:lnTo>
                    <a:pt x="1890" y="2857"/>
                  </a:lnTo>
                  <a:lnTo>
                    <a:pt x="1940" y="2866"/>
                  </a:lnTo>
                  <a:lnTo>
                    <a:pt x="1988" y="2882"/>
                  </a:lnTo>
                  <a:lnTo>
                    <a:pt x="2032" y="2902"/>
                  </a:lnTo>
                  <a:lnTo>
                    <a:pt x="2074" y="2927"/>
                  </a:lnTo>
                  <a:lnTo>
                    <a:pt x="2112" y="2958"/>
                  </a:lnTo>
                  <a:lnTo>
                    <a:pt x="2146" y="2992"/>
                  </a:lnTo>
                  <a:lnTo>
                    <a:pt x="2177" y="3030"/>
                  </a:lnTo>
                  <a:lnTo>
                    <a:pt x="2202" y="3072"/>
                  </a:lnTo>
                  <a:lnTo>
                    <a:pt x="2222" y="3116"/>
                  </a:lnTo>
                  <a:lnTo>
                    <a:pt x="2238" y="3164"/>
                  </a:lnTo>
                  <a:lnTo>
                    <a:pt x="2247" y="3214"/>
                  </a:lnTo>
                  <a:lnTo>
                    <a:pt x="2251" y="3266"/>
                  </a:lnTo>
                  <a:lnTo>
                    <a:pt x="2247" y="3317"/>
                  </a:lnTo>
                  <a:lnTo>
                    <a:pt x="2238" y="3367"/>
                  </a:lnTo>
                  <a:lnTo>
                    <a:pt x="2222" y="3415"/>
                  </a:lnTo>
                  <a:lnTo>
                    <a:pt x="2202" y="3460"/>
                  </a:lnTo>
                  <a:lnTo>
                    <a:pt x="2177" y="3501"/>
                  </a:lnTo>
                  <a:lnTo>
                    <a:pt x="2146" y="3540"/>
                  </a:lnTo>
                  <a:lnTo>
                    <a:pt x="2112" y="3574"/>
                  </a:lnTo>
                  <a:lnTo>
                    <a:pt x="2074" y="3604"/>
                  </a:lnTo>
                  <a:lnTo>
                    <a:pt x="2032" y="3630"/>
                  </a:lnTo>
                  <a:lnTo>
                    <a:pt x="1988" y="3651"/>
                  </a:lnTo>
                  <a:lnTo>
                    <a:pt x="1940" y="3666"/>
                  </a:lnTo>
                  <a:lnTo>
                    <a:pt x="1890" y="3676"/>
                  </a:lnTo>
                  <a:lnTo>
                    <a:pt x="1838" y="3678"/>
                  </a:lnTo>
                  <a:lnTo>
                    <a:pt x="413" y="3678"/>
                  </a:lnTo>
                  <a:lnTo>
                    <a:pt x="360" y="3676"/>
                  </a:lnTo>
                  <a:lnTo>
                    <a:pt x="311" y="3666"/>
                  </a:lnTo>
                  <a:lnTo>
                    <a:pt x="263" y="3651"/>
                  </a:lnTo>
                  <a:lnTo>
                    <a:pt x="219" y="3630"/>
                  </a:lnTo>
                  <a:lnTo>
                    <a:pt x="177" y="3604"/>
                  </a:lnTo>
                  <a:lnTo>
                    <a:pt x="138" y="3574"/>
                  </a:lnTo>
                  <a:lnTo>
                    <a:pt x="104" y="3540"/>
                  </a:lnTo>
                  <a:lnTo>
                    <a:pt x="74" y="3501"/>
                  </a:lnTo>
                  <a:lnTo>
                    <a:pt x="49" y="3460"/>
                  </a:lnTo>
                  <a:lnTo>
                    <a:pt x="28" y="3415"/>
                  </a:lnTo>
                  <a:lnTo>
                    <a:pt x="12" y="3367"/>
                  </a:lnTo>
                  <a:lnTo>
                    <a:pt x="3" y="3317"/>
                  </a:lnTo>
                  <a:lnTo>
                    <a:pt x="0" y="3266"/>
                  </a:lnTo>
                  <a:lnTo>
                    <a:pt x="3" y="3214"/>
                  </a:lnTo>
                  <a:lnTo>
                    <a:pt x="12" y="3164"/>
                  </a:lnTo>
                  <a:lnTo>
                    <a:pt x="28" y="3116"/>
                  </a:lnTo>
                  <a:lnTo>
                    <a:pt x="49" y="3072"/>
                  </a:lnTo>
                  <a:lnTo>
                    <a:pt x="74" y="3030"/>
                  </a:lnTo>
                  <a:lnTo>
                    <a:pt x="104" y="2992"/>
                  </a:lnTo>
                  <a:lnTo>
                    <a:pt x="138" y="2958"/>
                  </a:lnTo>
                  <a:lnTo>
                    <a:pt x="177" y="2927"/>
                  </a:lnTo>
                  <a:lnTo>
                    <a:pt x="219" y="2902"/>
                  </a:lnTo>
                  <a:lnTo>
                    <a:pt x="263" y="2882"/>
                  </a:lnTo>
                  <a:lnTo>
                    <a:pt x="311" y="2866"/>
                  </a:lnTo>
                  <a:lnTo>
                    <a:pt x="360" y="2857"/>
                  </a:lnTo>
                  <a:lnTo>
                    <a:pt x="413" y="2853"/>
                  </a:lnTo>
                  <a:lnTo>
                    <a:pt x="832" y="2853"/>
                  </a:lnTo>
                  <a:lnTo>
                    <a:pt x="832" y="2727"/>
                  </a:lnTo>
                  <a:lnTo>
                    <a:pt x="353" y="2727"/>
                  </a:lnTo>
                  <a:lnTo>
                    <a:pt x="317" y="2724"/>
                  </a:lnTo>
                  <a:lnTo>
                    <a:pt x="284" y="2714"/>
                  </a:lnTo>
                  <a:lnTo>
                    <a:pt x="255" y="2698"/>
                  </a:lnTo>
                  <a:lnTo>
                    <a:pt x="229" y="2676"/>
                  </a:lnTo>
                  <a:lnTo>
                    <a:pt x="209" y="2650"/>
                  </a:lnTo>
                  <a:lnTo>
                    <a:pt x="192" y="2621"/>
                  </a:lnTo>
                  <a:lnTo>
                    <a:pt x="181" y="2588"/>
                  </a:lnTo>
                  <a:lnTo>
                    <a:pt x="178" y="2553"/>
                  </a:lnTo>
                  <a:lnTo>
                    <a:pt x="178" y="2136"/>
                  </a:lnTo>
                  <a:lnTo>
                    <a:pt x="181" y="2101"/>
                  </a:lnTo>
                  <a:lnTo>
                    <a:pt x="192" y="2068"/>
                  </a:lnTo>
                  <a:lnTo>
                    <a:pt x="209" y="2039"/>
                  </a:lnTo>
                  <a:lnTo>
                    <a:pt x="229" y="2013"/>
                  </a:lnTo>
                  <a:lnTo>
                    <a:pt x="255" y="1991"/>
                  </a:lnTo>
                  <a:lnTo>
                    <a:pt x="284" y="1975"/>
                  </a:lnTo>
                  <a:lnTo>
                    <a:pt x="317" y="1965"/>
                  </a:lnTo>
                  <a:lnTo>
                    <a:pt x="353" y="1962"/>
                  </a:lnTo>
                  <a:lnTo>
                    <a:pt x="713" y="1962"/>
                  </a:lnTo>
                  <a:lnTo>
                    <a:pt x="713" y="1601"/>
                  </a:lnTo>
                  <a:lnTo>
                    <a:pt x="717" y="1558"/>
                  </a:lnTo>
                  <a:lnTo>
                    <a:pt x="726" y="1517"/>
                  </a:lnTo>
                  <a:lnTo>
                    <a:pt x="740" y="1477"/>
                  </a:lnTo>
                  <a:lnTo>
                    <a:pt x="761" y="1442"/>
                  </a:lnTo>
                  <a:lnTo>
                    <a:pt x="785" y="1409"/>
                  </a:lnTo>
                  <a:lnTo>
                    <a:pt x="814" y="1380"/>
                  </a:lnTo>
                  <a:lnTo>
                    <a:pt x="847" y="1355"/>
                  </a:lnTo>
                  <a:lnTo>
                    <a:pt x="883" y="1335"/>
                  </a:lnTo>
                  <a:lnTo>
                    <a:pt x="922" y="1321"/>
                  </a:lnTo>
                  <a:lnTo>
                    <a:pt x="963" y="1310"/>
                  </a:lnTo>
                  <a:lnTo>
                    <a:pt x="1007" y="1308"/>
                  </a:lnTo>
                  <a:lnTo>
                    <a:pt x="1414" y="1308"/>
                  </a:lnTo>
                  <a:lnTo>
                    <a:pt x="1452" y="1310"/>
                  </a:lnTo>
                  <a:lnTo>
                    <a:pt x="2359" y="101"/>
                  </a:lnTo>
                  <a:lnTo>
                    <a:pt x="2359" y="101"/>
                  </a:lnTo>
                  <a:lnTo>
                    <a:pt x="2382" y="73"/>
                  </a:lnTo>
                  <a:lnTo>
                    <a:pt x="2410" y="48"/>
                  </a:lnTo>
                  <a:lnTo>
                    <a:pt x="2441" y="27"/>
                  </a:lnTo>
                  <a:lnTo>
                    <a:pt x="2475" y="12"/>
                  </a:lnTo>
                  <a:lnTo>
                    <a:pt x="2513" y="3"/>
                  </a:lnTo>
                  <a:lnTo>
                    <a:pt x="2551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</p:grpSp>
      <p:sp>
        <p:nvSpPr>
          <p:cNvPr id="23625" name="TextBox 158">
            <a:extLst>
              <a:ext uri="{FF2B5EF4-FFF2-40B4-BE49-F238E27FC236}">
                <a16:creationId xmlns:a16="http://schemas.microsoft.com/office/drawing/2014/main" id="{E039C87F-72AD-4054-B63A-554ACFFB9E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4663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6" name="TextBox 159">
            <a:extLst>
              <a:ext uri="{FF2B5EF4-FFF2-40B4-BE49-F238E27FC236}">
                <a16:creationId xmlns:a16="http://schemas.microsoft.com/office/drawing/2014/main" id="{C89D28E8-6E73-4458-A352-42A749EC09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3488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7" name="TextBox 127">
            <a:extLst>
              <a:ext uri="{FF2B5EF4-FFF2-40B4-BE49-F238E27FC236}">
                <a16:creationId xmlns:a16="http://schemas.microsoft.com/office/drawing/2014/main" id="{D2C4F5E9-E854-4896-8355-45DEC69063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7813" y="6378575"/>
            <a:ext cx="426243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Sources: National Bureau of Statistics, World Bank Report on Doing Business in Nigeria 2018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climate-data.org, State Government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Exchange rate= $1/N305 (Central Bank of Nigeria)</a:t>
            </a:r>
          </a:p>
        </p:txBody>
      </p:sp>
      <p:sp>
        <p:nvSpPr>
          <p:cNvPr id="23628" name="TextBox 128">
            <a:extLst>
              <a:ext uri="{FF2B5EF4-FFF2-40B4-BE49-F238E27FC236}">
                <a16:creationId xmlns:a16="http://schemas.microsoft.com/office/drawing/2014/main" id="{409BCC6F-A5F0-4C79-BB4A-38A1ABC14F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18122" y="3649889"/>
            <a:ext cx="46198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Millet</a:t>
            </a:r>
          </a:p>
        </p:txBody>
      </p:sp>
      <p:sp>
        <p:nvSpPr>
          <p:cNvPr id="23629" name="TextBox 129">
            <a:extLst>
              <a:ext uri="{FF2B5EF4-FFF2-40B4-BE49-F238E27FC236}">
                <a16:creationId xmlns:a16="http://schemas.microsoft.com/office/drawing/2014/main" id="{489E7B41-20C9-4493-8E7D-07238EB8FA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89567" y="3654980"/>
            <a:ext cx="38023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Rice</a:t>
            </a:r>
          </a:p>
        </p:txBody>
      </p:sp>
      <p:sp>
        <p:nvSpPr>
          <p:cNvPr id="23630" name="TextBox 130">
            <a:extLst>
              <a:ext uri="{FF2B5EF4-FFF2-40B4-BE49-F238E27FC236}">
                <a16:creationId xmlns:a16="http://schemas.microsoft.com/office/drawing/2014/main" id="{048DE5D8-5309-42DA-9D97-2935A10CB7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31" name="TextBox 131">
            <a:extLst>
              <a:ext uri="{FF2B5EF4-FFF2-40B4-BE49-F238E27FC236}">
                <a16:creationId xmlns:a16="http://schemas.microsoft.com/office/drawing/2014/main" id="{FF8B6C80-43E2-43AF-A364-A31845F05C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5388" y="3656613"/>
            <a:ext cx="57579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Oil Palm</a:t>
            </a:r>
          </a:p>
        </p:txBody>
      </p:sp>
      <p:sp>
        <p:nvSpPr>
          <p:cNvPr id="23632" name="TextBox 132">
            <a:extLst>
              <a:ext uri="{FF2B5EF4-FFF2-40B4-BE49-F238E27FC236}">
                <a16:creationId xmlns:a16="http://schemas.microsoft.com/office/drawing/2014/main" id="{A1C640C1-61D1-4BA5-8A76-E684397E8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46689" y="3650683"/>
            <a:ext cx="55175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Cassava</a:t>
            </a:r>
          </a:p>
        </p:txBody>
      </p:sp>
      <p:sp>
        <p:nvSpPr>
          <p:cNvPr id="23638" name="TextBox 141">
            <a:extLst>
              <a:ext uri="{FF2B5EF4-FFF2-40B4-BE49-F238E27FC236}">
                <a16:creationId xmlns:a16="http://schemas.microsoft.com/office/drawing/2014/main" id="{EE481231-8673-4FD7-B5CC-900AEE7A9F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8233" y="3652271"/>
            <a:ext cx="40588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Gold</a:t>
            </a:r>
          </a:p>
        </p:txBody>
      </p:sp>
      <p:sp>
        <p:nvSpPr>
          <p:cNvPr id="23649" name="TextBox 165">
            <a:extLst>
              <a:ext uri="{FF2B5EF4-FFF2-40B4-BE49-F238E27FC236}">
                <a16:creationId xmlns:a16="http://schemas.microsoft.com/office/drawing/2014/main" id="{1242633E-9CB1-48ED-83F4-2223DFC7ED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81236" y="4459560"/>
            <a:ext cx="56778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Tourism</a:t>
            </a:r>
          </a:p>
        </p:txBody>
      </p:sp>
      <p:sp>
        <p:nvSpPr>
          <p:cNvPr id="23650" name="TextBox 166">
            <a:extLst>
              <a:ext uri="{FF2B5EF4-FFF2-40B4-BE49-F238E27FC236}">
                <a16:creationId xmlns:a16="http://schemas.microsoft.com/office/drawing/2014/main" id="{6B51369B-8FA6-464A-B908-12B0FFE6B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51841" y="4458812"/>
            <a:ext cx="47160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Hydro</a:t>
            </a:r>
          </a:p>
        </p:txBody>
      </p:sp>
      <p:sp>
        <p:nvSpPr>
          <p:cNvPr id="23651" name="TextBox 167">
            <a:extLst>
              <a:ext uri="{FF2B5EF4-FFF2-40B4-BE49-F238E27FC236}">
                <a16:creationId xmlns:a16="http://schemas.microsoft.com/office/drawing/2014/main" id="{4F9404E1-8339-401B-8B10-4C7D1A8CEC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96936" y="4457881"/>
            <a:ext cx="74411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Cashew Nut</a:t>
            </a:r>
          </a:p>
        </p:txBody>
      </p:sp>
      <p:sp>
        <p:nvSpPr>
          <p:cNvPr id="23652" name="TextBox 168">
            <a:extLst>
              <a:ext uri="{FF2B5EF4-FFF2-40B4-BE49-F238E27FC236}">
                <a16:creationId xmlns:a16="http://schemas.microsoft.com/office/drawing/2014/main" id="{1C04917D-B2C3-4C21-8CC2-A45C349B4B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65456" y="4457133"/>
            <a:ext cx="62068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Feed Mill</a:t>
            </a:r>
          </a:p>
        </p:txBody>
      </p:sp>
      <p:sp>
        <p:nvSpPr>
          <p:cNvPr id="23653" name="TextBox 169">
            <a:extLst>
              <a:ext uri="{FF2B5EF4-FFF2-40B4-BE49-F238E27FC236}">
                <a16:creationId xmlns:a16="http://schemas.microsoft.com/office/drawing/2014/main" id="{4BADA327-4F2D-4897-B7C0-4647A1484B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3926" y="4457973"/>
            <a:ext cx="51328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Fishing</a:t>
            </a:r>
          </a:p>
        </p:txBody>
      </p:sp>
      <p:grpSp>
        <p:nvGrpSpPr>
          <p:cNvPr id="23659" name="Group 139">
            <a:extLst>
              <a:ext uri="{FF2B5EF4-FFF2-40B4-BE49-F238E27FC236}">
                <a16:creationId xmlns:a16="http://schemas.microsoft.com/office/drawing/2014/main" id="{E08BAEA7-B520-4BF2-8862-C8047EE65DEB}"/>
              </a:ext>
            </a:extLst>
          </p:cNvPr>
          <p:cNvGrpSpPr>
            <a:grpSpLocks/>
          </p:cNvGrpSpPr>
          <p:nvPr/>
        </p:nvGrpSpPr>
        <p:grpSpPr bwMode="auto">
          <a:xfrm>
            <a:off x="4894264" y="4606925"/>
            <a:ext cx="689527" cy="187325"/>
            <a:chOff x="4880067" y="5445518"/>
            <a:chExt cx="471906" cy="128478"/>
          </a:xfrm>
        </p:grpSpPr>
        <p:sp>
          <p:nvSpPr>
            <p:cNvPr id="23681" name="object 53">
              <a:extLst>
                <a:ext uri="{FF2B5EF4-FFF2-40B4-BE49-F238E27FC236}">
                  <a16:creationId xmlns:a16="http://schemas.microsoft.com/office/drawing/2014/main" id="{3DA8E9F9-0B25-4361-B2E5-6321A7D3F3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80067" y="5445518"/>
              <a:ext cx="144548" cy="128478"/>
            </a:xfrm>
            <a:custGeom>
              <a:avLst/>
              <a:gdLst>
                <a:gd name="T0" fmla="*/ 0 w 342900"/>
                <a:gd name="T1" fmla="*/ 18382 h 342900"/>
                <a:gd name="T2" fmla="*/ 23267 w 342900"/>
                <a:gd name="T3" fmla="*/ 18382 h 342900"/>
                <a:gd name="T4" fmla="*/ 30467 w 342900"/>
                <a:gd name="T5" fmla="*/ 0 h 342900"/>
                <a:gd name="T6" fmla="*/ 37667 w 342900"/>
                <a:gd name="T7" fmla="*/ 18382 h 342900"/>
                <a:gd name="T8" fmla="*/ 60934 w 342900"/>
                <a:gd name="T9" fmla="*/ 18382 h 342900"/>
                <a:gd name="T10" fmla="*/ 42112 w 342900"/>
                <a:gd name="T11" fmla="*/ 29756 h 342900"/>
                <a:gd name="T12" fmla="*/ 49288 w 342900"/>
                <a:gd name="T13" fmla="*/ 48138 h 342900"/>
                <a:gd name="T14" fmla="*/ 30467 w 342900"/>
                <a:gd name="T15" fmla="*/ 36782 h 342900"/>
                <a:gd name="T16" fmla="*/ 11645 w 342900"/>
                <a:gd name="T17" fmla="*/ 48138 h 342900"/>
                <a:gd name="T18" fmla="*/ 18822 w 342900"/>
                <a:gd name="T19" fmla="*/ 29756 h 342900"/>
                <a:gd name="T20" fmla="*/ 0 w 342900"/>
                <a:gd name="T21" fmla="*/ 18382 h 3429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42900"/>
                <a:gd name="T34" fmla="*/ 0 h 342900"/>
                <a:gd name="T35" fmla="*/ 342900 w 342900"/>
                <a:gd name="T36" fmla="*/ 342900 h 3429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42900" h="342900">
                  <a:moveTo>
                    <a:pt x="0" y="130942"/>
                  </a:moveTo>
                  <a:lnTo>
                    <a:pt x="130932" y="130942"/>
                  </a:lnTo>
                  <a:lnTo>
                    <a:pt x="171449" y="0"/>
                  </a:lnTo>
                  <a:lnTo>
                    <a:pt x="211967" y="130942"/>
                  </a:lnTo>
                  <a:lnTo>
                    <a:pt x="342899" y="130942"/>
                  </a:lnTo>
                  <a:lnTo>
                    <a:pt x="236981" y="211957"/>
                  </a:lnTo>
                  <a:lnTo>
                    <a:pt x="277367" y="342899"/>
                  </a:lnTo>
                  <a:lnTo>
                    <a:pt x="171449" y="262006"/>
                  </a:lnTo>
                  <a:lnTo>
                    <a:pt x="65531" y="342899"/>
                  </a:lnTo>
                  <a:lnTo>
                    <a:pt x="105917" y="211957"/>
                  </a:lnTo>
                  <a:lnTo>
                    <a:pt x="0" y="130942"/>
                  </a:lnTo>
                  <a:close/>
                </a:path>
              </a:pathLst>
            </a:custGeom>
            <a:solidFill>
              <a:srgbClr val="FF0000"/>
            </a:solidFill>
            <a:ln w="9143">
              <a:solidFill>
                <a:srgbClr val="FF0000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3682" name="object 53">
              <a:extLst>
                <a:ext uri="{FF2B5EF4-FFF2-40B4-BE49-F238E27FC236}">
                  <a16:creationId xmlns:a16="http://schemas.microsoft.com/office/drawing/2014/main" id="{48562C28-FBD6-4159-ABCF-90C0BA7D97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3746" y="5445518"/>
              <a:ext cx="144548" cy="128478"/>
            </a:xfrm>
            <a:custGeom>
              <a:avLst/>
              <a:gdLst>
                <a:gd name="T0" fmla="*/ 0 w 342900"/>
                <a:gd name="T1" fmla="*/ 18382 h 342900"/>
                <a:gd name="T2" fmla="*/ 23267 w 342900"/>
                <a:gd name="T3" fmla="*/ 18382 h 342900"/>
                <a:gd name="T4" fmla="*/ 30467 w 342900"/>
                <a:gd name="T5" fmla="*/ 0 h 342900"/>
                <a:gd name="T6" fmla="*/ 37667 w 342900"/>
                <a:gd name="T7" fmla="*/ 18382 h 342900"/>
                <a:gd name="T8" fmla="*/ 60934 w 342900"/>
                <a:gd name="T9" fmla="*/ 18382 h 342900"/>
                <a:gd name="T10" fmla="*/ 42112 w 342900"/>
                <a:gd name="T11" fmla="*/ 29756 h 342900"/>
                <a:gd name="T12" fmla="*/ 49288 w 342900"/>
                <a:gd name="T13" fmla="*/ 48138 h 342900"/>
                <a:gd name="T14" fmla="*/ 30467 w 342900"/>
                <a:gd name="T15" fmla="*/ 36782 h 342900"/>
                <a:gd name="T16" fmla="*/ 11645 w 342900"/>
                <a:gd name="T17" fmla="*/ 48138 h 342900"/>
                <a:gd name="T18" fmla="*/ 18822 w 342900"/>
                <a:gd name="T19" fmla="*/ 29756 h 342900"/>
                <a:gd name="T20" fmla="*/ 0 w 342900"/>
                <a:gd name="T21" fmla="*/ 18382 h 3429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42900"/>
                <a:gd name="T34" fmla="*/ 0 h 342900"/>
                <a:gd name="T35" fmla="*/ 342900 w 342900"/>
                <a:gd name="T36" fmla="*/ 342900 h 3429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42900" h="342900">
                  <a:moveTo>
                    <a:pt x="0" y="130942"/>
                  </a:moveTo>
                  <a:lnTo>
                    <a:pt x="130932" y="130942"/>
                  </a:lnTo>
                  <a:lnTo>
                    <a:pt x="171449" y="0"/>
                  </a:lnTo>
                  <a:lnTo>
                    <a:pt x="211967" y="130942"/>
                  </a:lnTo>
                  <a:lnTo>
                    <a:pt x="342899" y="130942"/>
                  </a:lnTo>
                  <a:lnTo>
                    <a:pt x="236981" y="211957"/>
                  </a:lnTo>
                  <a:lnTo>
                    <a:pt x="277367" y="342899"/>
                  </a:lnTo>
                  <a:lnTo>
                    <a:pt x="171449" y="262006"/>
                  </a:lnTo>
                  <a:lnTo>
                    <a:pt x="65531" y="342899"/>
                  </a:lnTo>
                  <a:lnTo>
                    <a:pt x="105917" y="211957"/>
                  </a:lnTo>
                  <a:lnTo>
                    <a:pt x="0" y="130942"/>
                  </a:lnTo>
                  <a:close/>
                </a:path>
              </a:pathLst>
            </a:custGeom>
            <a:solidFill>
              <a:srgbClr val="FF0000"/>
            </a:solidFill>
            <a:ln w="9143">
              <a:solidFill>
                <a:srgbClr val="FF0000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3683" name="object 53">
              <a:extLst>
                <a:ext uri="{FF2B5EF4-FFF2-40B4-BE49-F238E27FC236}">
                  <a16:creationId xmlns:a16="http://schemas.microsoft.com/office/drawing/2014/main" id="{6AA9EC38-167C-4FAD-84CC-4372823726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07425" y="5445518"/>
              <a:ext cx="144548" cy="128478"/>
            </a:xfrm>
            <a:custGeom>
              <a:avLst/>
              <a:gdLst>
                <a:gd name="T0" fmla="*/ 0 w 342900"/>
                <a:gd name="T1" fmla="*/ 18382 h 342900"/>
                <a:gd name="T2" fmla="*/ 23267 w 342900"/>
                <a:gd name="T3" fmla="*/ 18382 h 342900"/>
                <a:gd name="T4" fmla="*/ 30467 w 342900"/>
                <a:gd name="T5" fmla="*/ 0 h 342900"/>
                <a:gd name="T6" fmla="*/ 37667 w 342900"/>
                <a:gd name="T7" fmla="*/ 18382 h 342900"/>
                <a:gd name="T8" fmla="*/ 60934 w 342900"/>
                <a:gd name="T9" fmla="*/ 18382 h 342900"/>
                <a:gd name="T10" fmla="*/ 42112 w 342900"/>
                <a:gd name="T11" fmla="*/ 29756 h 342900"/>
                <a:gd name="T12" fmla="*/ 49288 w 342900"/>
                <a:gd name="T13" fmla="*/ 48138 h 342900"/>
                <a:gd name="T14" fmla="*/ 30467 w 342900"/>
                <a:gd name="T15" fmla="*/ 36782 h 342900"/>
                <a:gd name="T16" fmla="*/ 11645 w 342900"/>
                <a:gd name="T17" fmla="*/ 48138 h 342900"/>
                <a:gd name="T18" fmla="*/ 18822 w 342900"/>
                <a:gd name="T19" fmla="*/ 29756 h 342900"/>
                <a:gd name="T20" fmla="*/ 0 w 342900"/>
                <a:gd name="T21" fmla="*/ 18382 h 3429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42900"/>
                <a:gd name="T34" fmla="*/ 0 h 342900"/>
                <a:gd name="T35" fmla="*/ 342900 w 342900"/>
                <a:gd name="T36" fmla="*/ 342900 h 3429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42900" h="342900">
                  <a:moveTo>
                    <a:pt x="0" y="130942"/>
                  </a:moveTo>
                  <a:lnTo>
                    <a:pt x="130932" y="130942"/>
                  </a:lnTo>
                  <a:lnTo>
                    <a:pt x="171449" y="0"/>
                  </a:lnTo>
                  <a:lnTo>
                    <a:pt x="211967" y="130942"/>
                  </a:lnTo>
                  <a:lnTo>
                    <a:pt x="342899" y="130942"/>
                  </a:lnTo>
                  <a:lnTo>
                    <a:pt x="236981" y="211957"/>
                  </a:lnTo>
                  <a:lnTo>
                    <a:pt x="277367" y="342899"/>
                  </a:lnTo>
                  <a:lnTo>
                    <a:pt x="171449" y="262006"/>
                  </a:lnTo>
                  <a:lnTo>
                    <a:pt x="65531" y="342899"/>
                  </a:lnTo>
                  <a:lnTo>
                    <a:pt x="105917" y="211957"/>
                  </a:lnTo>
                  <a:lnTo>
                    <a:pt x="0" y="130942"/>
                  </a:lnTo>
                  <a:close/>
                </a:path>
              </a:pathLst>
            </a:custGeom>
            <a:solidFill>
              <a:srgbClr val="FF0000"/>
            </a:solidFill>
            <a:ln w="9143">
              <a:solidFill>
                <a:srgbClr val="FF0000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GB"/>
            </a:p>
          </p:txBody>
        </p:sp>
      </p:grpSp>
      <p:sp>
        <p:nvSpPr>
          <p:cNvPr id="23660" name="object 41">
            <a:extLst>
              <a:ext uri="{FF2B5EF4-FFF2-40B4-BE49-F238E27FC236}">
                <a16:creationId xmlns:a16="http://schemas.microsoft.com/office/drawing/2014/main" id="{C79ED595-FE92-4F99-8EDE-4BBD37B96AC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37088" y="4841875"/>
            <a:ext cx="12446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>
            <a:spAutoFit/>
          </a:bodyPr>
          <a:lstStyle>
            <a:lvl1pPr indent="127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1400" b="1" dirty="0">
                <a:solidFill>
                  <a:srgbClr val="595959"/>
                </a:solidFill>
                <a:latin typeface="Calibri" panose="020F0502020204030204" pitchFamily="34" charset="0"/>
              </a:rPr>
              <a:t>Well</a:t>
            </a:r>
            <a:r>
              <a:rPr lang="en-US" altLang="en-US" sz="1400" b="1" dirty="0">
                <a:solidFill>
                  <a:srgbClr val="595959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400" b="1" dirty="0">
                <a:solidFill>
                  <a:srgbClr val="595959"/>
                </a:solidFill>
                <a:latin typeface="Calibri" panose="020F0502020204030204" pitchFamily="34" charset="0"/>
              </a:rPr>
              <a:t>qualified</a:t>
            </a:r>
            <a:r>
              <a:rPr lang="en-US" altLang="en-US" sz="1400" b="1" dirty="0">
                <a:solidFill>
                  <a:srgbClr val="595959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400" b="1" dirty="0">
                <a:solidFill>
                  <a:srgbClr val="595959"/>
                </a:solidFill>
                <a:latin typeface="Calibri" panose="020F0502020204030204" pitchFamily="34" charset="0"/>
              </a:rPr>
              <a:t>to</a:t>
            </a:r>
            <a:r>
              <a:rPr lang="en-US" altLang="en-US" sz="1400" b="1" dirty="0">
                <a:solidFill>
                  <a:srgbClr val="595959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400" b="1" dirty="0">
                <a:solidFill>
                  <a:srgbClr val="595959"/>
                </a:solidFill>
                <a:latin typeface="Calibri" panose="020F0502020204030204" pitchFamily="34" charset="0"/>
              </a:rPr>
              <a:t>help</a:t>
            </a:r>
            <a:r>
              <a:rPr lang="en-GB" altLang="en-US" sz="1400" b="1" dirty="0">
                <a:solidFill>
                  <a:srgbClr val="595959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400" b="1" dirty="0">
                <a:solidFill>
                  <a:srgbClr val="595959"/>
                </a:solidFill>
                <a:latin typeface="Calibri" panose="020F0502020204030204" pitchFamily="34" charset="0"/>
              </a:rPr>
              <a:t>investors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8A28B48-1841-45BB-BFBC-EADE77B37C6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779712" y="2589213"/>
          <a:ext cx="1482725" cy="812800"/>
        </p:xfrm>
        <a:graphic>
          <a:graphicData uri="http://schemas.openxmlformats.org/drawingml/2006/table">
            <a:tbl>
              <a:tblPr/>
              <a:tblGrid>
                <a:gridCol w="11367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9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32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GB" sz="1000" b="1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Domestic</a:t>
                      </a:r>
                      <a:r>
                        <a:rPr lang="en-GB" sz="10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US" sz="1000" b="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International 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Railway</a:t>
                      </a:r>
                      <a:r>
                        <a:rPr lang="en-GB" sz="1000" b="1" kern="1200" baseline="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 Station</a:t>
                      </a:r>
                      <a:endParaRPr lang="en-GB" sz="1000" b="1" kern="1200" dirty="0">
                        <a:solidFill>
                          <a:srgbClr val="292929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32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Sea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7" name="TextBox 136">
            <a:extLst>
              <a:ext uri="{FF2B5EF4-FFF2-40B4-BE49-F238E27FC236}">
                <a16:creationId xmlns:a16="http://schemas.microsoft.com/office/drawing/2014/main" id="{2F4C4876-7073-4C13-A183-127A8909BDC0}"/>
              </a:ext>
            </a:extLst>
          </p:cNvPr>
          <p:cNvSpPr txBox="1"/>
          <p:nvPr/>
        </p:nvSpPr>
        <p:spPr>
          <a:xfrm>
            <a:off x="538163" y="5268913"/>
            <a:ext cx="373856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For further details</a:t>
            </a:r>
          </a:p>
        </p:txBody>
      </p:sp>
      <p:sp>
        <p:nvSpPr>
          <p:cNvPr id="23676" name="TextBox 156">
            <a:extLst>
              <a:ext uri="{FF2B5EF4-FFF2-40B4-BE49-F238E27FC236}">
                <a16:creationId xmlns:a16="http://schemas.microsoft.com/office/drawing/2014/main" id="{95D66AAF-6B48-4B9E-9E5B-F1BB063A89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6300" y="6342063"/>
            <a:ext cx="37306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Abbreviations: </a:t>
            </a:r>
            <a:r>
              <a:rPr lang="en-GB" altLang="en-US" sz="800" b="1" dirty="0">
                <a:latin typeface="Calibri" panose="020F0502020204030204" pitchFamily="34" charset="0"/>
              </a:rPr>
              <a:t>	NICPS</a:t>
            </a:r>
            <a:r>
              <a:rPr lang="en-GB" altLang="en-US" sz="800" dirty="0">
                <a:latin typeface="Calibri" panose="020F0502020204030204" pitchFamily="34" charset="0"/>
              </a:rPr>
              <a:t>: Nigerian Investment Certification Programme for States              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	</a:t>
            </a:r>
            <a:r>
              <a:rPr lang="en-GB" altLang="en-US" sz="800" b="1" dirty="0">
                <a:latin typeface="Calibri" panose="020F0502020204030204" pitchFamily="34" charset="0"/>
              </a:rPr>
              <a:t>IGR</a:t>
            </a:r>
            <a:r>
              <a:rPr lang="en-GB" altLang="en-US" sz="800" dirty="0">
                <a:latin typeface="Calibri" panose="020F0502020204030204" pitchFamily="34" charset="0"/>
              </a:rPr>
              <a:t>:     Internal Generated Revenue</a:t>
            </a:r>
          </a:p>
        </p:txBody>
      </p:sp>
      <p:sp>
        <p:nvSpPr>
          <p:cNvPr id="23678" name="TextBox 152">
            <a:extLst>
              <a:ext uri="{FF2B5EF4-FFF2-40B4-BE49-F238E27FC236}">
                <a16:creationId xmlns:a16="http://schemas.microsoft.com/office/drawing/2014/main" id="{BFAF6896-F732-45FC-AC47-950DF99D9E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67425" y="1138926"/>
            <a:ext cx="3481014" cy="20544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15888" indent="-11588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>
              <a:buFont typeface="Arial" panose="020B0604020202020204" pitchFamily="34" charset="0"/>
              <a:buChar char="•"/>
            </a:pPr>
            <a:r>
              <a:rPr lang="en-GB" sz="1150" dirty="0" err="1">
                <a:latin typeface="Calibri" panose="020F0502020204030204" pitchFamily="34" charset="0"/>
              </a:rPr>
              <a:t>Ikere</a:t>
            </a:r>
            <a:r>
              <a:rPr lang="en-GB" sz="1150" dirty="0">
                <a:latin typeface="Calibri" panose="020F0502020204030204" pitchFamily="34" charset="0"/>
              </a:rPr>
              <a:t> Gorge Dam (Potential for 3,750MW of electricity and 12,000 hectares of land for paddy rice)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en-GB" sz="1150" dirty="0">
                <a:latin typeface="Calibri" panose="020F0502020204030204" pitchFamily="34" charset="0"/>
              </a:rPr>
              <a:t>2</a:t>
            </a:r>
            <a:r>
              <a:rPr lang="en-GB" sz="1150" baseline="30000" dirty="0">
                <a:latin typeface="Calibri" panose="020F0502020204030204" pitchFamily="34" charset="0"/>
              </a:rPr>
              <a:t>nd</a:t>
            </a:r>
            <a:r>
              <a:rPr lang="en-GB" sz="1150" dirty="0">
                <a:latin typeface="Calibri" panose="020F0502020204030204" pitchFamily="34" charset="0"/>
              </a:rPr>
              <a:t> largest non-oil economy in Nigeria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en-GB" sz="1150" dirty="0">
                <a:latin typeface="Calibri" panose="020F0502020204030204" pitchFamily="34" charset="0"/>
              </a:rPr>
              <a:t>Key transport links to West Africa in Nigeria markets through Benin Republic 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en-GB" sz="1150" dirty="0">
                <a:latin typeface="Calibri" panose="020F0502020204030204" pitchFamily="34" charset="0"/>
              </a:rPr>
              <a:t>Abundance of clay, kaolin and aquamarine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en-GB" sz="1150" dirty="0">
                <a:latin typeface="Calibri" panose="020F0502020204030204" pitchFamily="34" charset="0"/>
              </a:rPr>
              <a:t>Proximity to Lagos  international airport &amp; seaport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en-GB" sz="1150" dirty="0">
                <a:latin typeface="Calibri" panose="020F0502020204030204" pitchFamily="34" charset="0"/>
              </a:rPr>
              <a:t>Tourist attraction (</a:t>
            </a:r>
            <a:r>
              <a:rPr lang="en-GB" sz="1150" dirty="0" err="1">
                <a:latin typeface="Calibri" panose="020F0502020204030204" pitchFamily="34" charset="0"/>
              </a:rPr>
              <a:t>Iyake</a:t>
            </a:r>
            <a:r>
              <a:rPr lang="en-GB" sz="1150" dirty="0">
                <a:latin typeface="Calibri" panose="020F0502020204030204" pitchFamily="34" charset="0"/>
              </a:rPr>
              <a:t> lake: one of the two suspended lakes in the world)</a:t>
            </a:r>
          </a:p>
          <a:p>
            <a:pPr algn="just">
              <a:buFont typeface="Arial" panose="020B0604020202020204" pitchFamily="34" charset="0"/>
              <a:buChar char="•"/>
            </a:pPr>
            <a:endParaRPr lang="en-GB" sz="1200" dirty="0">
              <a:latin typeface="Calibri" panose="020F0502020204030204" pitchFamily="34" charset="0"/>
            </a:endParaRPr>
          </a:p>
          <a:p>
            <a:pPr eaLnBrk="1" hangingPunct="1">
              <a:buFont typeface="Arial" panose="020B0604020202020204" pitchFamily="34" charset="0"/>
              <a:buChar char="•"/>
            </a:pPr>
            <a:endParaRPr lang="en-GB" altLang="en-US" sz="1200" dirty="0">
              <a:latin typeface="Calibri" panose="020F0502020204030204" pitchFamily="34" charset="0"/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D4E23C6-26A0-4545-B8F7-7007C8EEBFE4}"/>
              </a:ext>
            </a:extLst>
          </p:cNvPr>
          <p:cNvSpPr txBox="1"/>
          <p:nvPr/>
        </p:nvSpPr>
        <p:spPr>
          <a:xfrm>
            <a:off x="4338638" y="5265738"/>
            <a:ext cx="247491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id you know?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132" name="Text Placeholder 42">
            <a:extLst>
              <a:ext uri="{FF2B5EF4-FFF2-40B4-BE49-F238E27FC236}">
                <a16:creationId xmlns:a16="http://schemas.microsoft.com/office/drawing/2014/main" id="{D510D0DC-1548-4249-8DB1-9A1055126D07}"/>
              </a:ext>
            </a:extLst>
          </p:cNvPr>
          <p:cNvSpPr txBox="1">
            <a:spLocks/>
          </p:cNvSpPr>
          <p:nvPr/>
        </p:nvSpPr>
        <p:spPr>
          <a:xfrm>
            <a:off x="522287" y="5511800"/>
            <a:ext cx="3754437" cy="701675"/>
          </a:xfrm>
          <a:prstGeom prst="rect">
            <a:avLst/>
          </a:prstGeom>
        </p:spPr>
        <p:txBody>
          <a:bodyPr lIns="36576" tIns="0" rIns="36576" bIns="0"/>
          <a:lstStyle>
            <a:lvl1pPr marL="0" indent="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/>
              <a:buNone/>
              <a:defRPr sz="800" b="1" baseline="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6575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93763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 charset="0"/>
              <a:buChar char="►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50950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619250" indent="-188913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0764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25336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29908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34480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NIGERIAN INVESTMENT PROMOTION COMMISSION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>
                <a:solidFill>
                  <a:schemeClr val="tx1"/>
                </a:solidFill>
                <a:hlinkClick r:id="rId7"/>
              </a:rPr>
              <a:t>statesco@nipc.gov.ng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000" kern="0" dirty="0">
                <a:solidFill>
                  <a:schemeClr val="tx1"/>
                </a:solidFill>
              </a:rPr>
              <a:t>BUREAU  OF INVESTMENTS PROMOTION &amp; PUBLIC PRIVATE PARTNERSHIP</a:t>
            </a: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 err="1">
                <a:solidFill>
                  <a:schemeClr val="tx1"/>
                </a:solidFill>
                <a:hlinkClick r:id="rId8"/>
              </a:rPr>
              <a:t>yinkafatoki@bipp.org</a:t>
            </a:r>
            <a:r>
              <a:rPr lang="en-US" sz="1000" b="0" kern="0" dirty="0">
                <a:solidFill>
                  <a:schemeClr val="tx1"/>
                </a:solidFill>
              </a:rPr>
              <a:t> </a:t>
            </a:r>
          </a:p>
        </p:txBody>
      </p:sp>
      <p:pic>
        <p:nvPicPr>
          <p:cNvPr id="134" name="Picture 6">
            <a:extLst>
              <a:ext uri="{FF2B5EF4-FFF2-40B4-BE49-F238E27FC236}">
                <a16:creationId xmlns:a16="http://schemas.microsoft.com/office/drawing/2014/main" id="{7FE7B6E3-B504-4257-B600-8480E7A8F7B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814" r="8128"/>
          <a:stretch/>
        </p:blipFill>
        <p:spPr bwMode="auto">
          <a:xfrm>
            <a:off x="8267090" y="3127172"/>
            <a:ext cx="577630" cy="4210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5" name="Picture 7">
            <a:extLst>
              <a:ext uri="{FF2B5EF4-FFF2-40B4-BE49-F238E27FC236}">
                <a16:creationId xmlns:a16="http://schemas.microsoft.com/office/drawing/2014/main" id="{4F1B91A6-3834-45A2-8AAD-59939A08B5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5830" y="3907022"/>
            <a:ext cx="464946" cy="42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6" name="Picture 135">
            <a:extLst>
              <a:ext uri="{FF2B5EF4-FFF2-40B4-BE49-F238E27FC236}">
                <a16:creationId xmlns:a16="http://schemas.microsoft.com/office/drawing/2014/main" id="{FAB13A8A-ADA6-41C9-85B8-4A6BB324964C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17557" y="3903177"/>
            <a:ext cx="464155" cy="464155"/>
          </a:xfrm>
          <a:prstGeom prst="rect">
            <a:avLst/>
          </a:prstGeom>
        </p:spPr>
      </p:pic>
      <p:pic>
        <p:nvPicPr>
          <p:cNvPr id="139" name="Picture 138" descr="rice.png">
            <a:extLst>
              <a:ext uri="{FF2B5EF4-FFF2-40B4-BE49-F238E27FC236}">
                <a16:creationId xmlns:a16="http://schemas.microsoft.com/office/drawing/2014/main" id="{5F425F52-ACE8-4103-AEB7-D9861627743E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15867" r="20664"/>
          <a:stretch>
            <a:fillRect/>
          </a:stretch>
        </p:blipFill>
        <p:spPr>
          <a:xfrm>
            <a:off x="6852971" y="3102210"/>
            <a:ext cx="524341" cy="512146"/>
          </a:xfrm>
          <a:prstGeom prst="rect">
            <a:avLst/>
          </a:prstGeom>
        </p:spPr>
      </p:pic>
      <p:pic>
        <p:nvPicPr>
          <p:cNvPr id="141" name="Picture 140">
            <a:extLst>
              <a:ext uri="{FF2B5EF4-FFF2-40B4-BE49-F238E27FC236}">
                <a16:creationId xmlns:a16="http://schemas.microsoft.com/office/drawing/2014/main" id="{660E432B-7A46-4B0F-BF5E-E8A7CFF5A620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9921" y="3115228"/>
            <a:ext cx="433829" cy="404678"/>
          </a:xfrm>
          <a:prstGeom prst="rect">
            <a:avLst/>
          </a:prstGeom>
        </p:spPr>
      </p:pic>
      <p:pic>
        <p:nvPicPr>
          <p:cNvPr id="142" name="Picture 141">
            <a:extLst>
              <a:ext uri="{FF2B5EF4-FFF2-40B4-BE49-F238E27FC236}">
                <a16:creationId xmlns:a16="http://schemas.microsoft.com/office/drawing/2014/main" id="{672BE154-8327-4C2E-B983-FBA6AD72909E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47" t="15869" r="6216" b="22345"/>
          <a:stretch/>
        </p:blipFill>
        <p:spPr>
          <a:xfrm>
            <a:off x="6130946" y="3154838"/>
            <a:ext cx="514001" cy="375677"/>
          </a:xfrm>
          <a:prstGeom prst="rect">
            <a:avLst/>
          </a:prstGeom>
        </p:spPr>
      </p:pic>
      <p:pic>
        <p:nvPicPr>
          <p:cNvPr id="149" name="Picture 148">
            <a:extLst>
              <a:ext uri="{FF2B5EF4-FFF2-40B4-BE49-F238E27FC236}">
                <a16:creationId xmlns:a16="http://schemas.microsoft.com/office/drawing/2014/main" id="{F5DD381B-314B-4955-A6B5-AB3C9D69008F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179099" y="3939996"/>
            <a:ext cx="405155" cy="405155"/>
          </a:xfrm>
          <a:prstGeom prst="rect">
            <a:avLst/>
          </a:prstGeom>
        </p:spPr>
      </p:pic>
      <p:pic>
        <p:nvPicPr>
          <p:cNvPr id="150" name="Picture 149" descr="Power.jpg">
            <a:extLst>
              <a:ext uri="{FF2B5EF4-FFF2-40B4-BE49-F238E27FC236}">
                <a16:creationId xmlns:a16="http://schemas.microsoft.com/office/drawing/2014/main" id="{3E135300-2A15-471A-B958-9CC20475D1D2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12320" t="35282" r="71508" b="46256"/>
          <a:stretch>
            <a:fillRect/>
          </a:stretch>
        </p:blipFill>
        <p:spPr>
          <a:xfrm>
            <a:off x="6872883" y="3971756"/>
            <a:ext cx="441795" cy="353436"/>
          </a:xfrm>
          <a:prstGeom prst="rect">
            <a:avLst/>
          </a:prstGeom>
        </p:spPr>
      </p:pic>
      <p:pic>
        <p:nvPicPr>
          <p:cNvPr id="151" name="Picture 150">
            <a:extLst>
              <a:ext uri="{FF2B5EF4-FFF2-40B4-BE49-F238E27FC236}">
                <a16:creationId xmlns:a16="http://schemas.microsoft.com/office/drawing/2014/main" id="{F0D0F972-2BA4-44CC-8866-6F994469213A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7108" y="3918330"/>
            <a:ext cx="384858" cy="374543"/>
          </a:xfrm>
          <a:prstGeom prst="rect">
            <a:avLst/>
          </a:prstGeom>
        </p:spPr>
      </p:pic>
      <p:sp>
        <p:nvSpPr>
          <p:cNvPr id="144" name="Oval 143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238751" y="3833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8" name="Oval 147">
            <a:extLst>
              <a:ext uri="{FF2B5EF4-FFF2-40B4-BE49-F238E27FC236}">
                <a16:creationId xmlns:a16="http://schemas.microsoft.com/office/drawing/2014/main" id="{FF015425-7997-4612-9D0E-1F6C433DFCC7}"/>
              </a:ext>
            </a:extLst>
          </p:cNvPr>
          <p:cNvSpPr/>
          <p:nvPr/>
        </p:nvSpPr>
        <p:spPr>
          <a:xfrm>
            <a:off x="6080877" y="3040856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2" name="Oval 151">
            <a:extLst>
              <a:ext uri="{FF2B5EF4-FFF2-40B4-BE49-F238E27FC236}">
                <a16:creationId xmlns:a16="http://schemas.microsoft.com/office/drawing/2014/main" id="{4C0B7457-CABD-4AC8-8A1A-1FD468581E4D}"/>
              </a:ext>
            </a:extLst>
          </p:cNvPr>
          <p:cNvSpPr/>
          <p:nvPr/>
        </p:nvSpPr>
        <p:spPr>
          <a:xfrm>
            <a:off x="6784796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3" name="Oval 152">
            <a:extLst>
              <a:ext uri="{FF2B5EF4-FFF2-40B4-BE49-F238E27FC236}">
                <a16:creationId xmlns:a16="http://schemas.microsoft.com/office/drawing/2014/main" id="{2D626A89-F50C-45A3-9271-5D3F2EEA9C83}"/>
              </a:ext>
            </a:extLst>
          </p:cNvPr>
          <p:cNvSpPr/>
          <p:nvPr/>
        </p:nvSpPr>
        <p:spPr>
          <a:xfrm>
            <a:off x="7518399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4" name="Oval 153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240713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5" name="Oval 154">
            <a:extLst>
              <a:ext uri="{FF2B5EF4-FFF2-40B4-BE49-F238E27FC236}">
                <a16:creationId xmlns:a16="http://schemas.microsoft.com/office/drawing/2014/main" id="{4D1FAA17-3EFF-404B-B4C4-B468BCE2E9A5}"/>
              </a:ext>
            </a:extLst>
          </p:cNvPr>
          <p:cNvSpPr/>
          <p:nvPr/>
        </p:nvSpPr>
        <p:spPr>
          <a:xfrm>
            <a:off x="6078265" y="3836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6" name="Oval 155">
            <a:extLst>
              <a:ext uri="{FF2B5EF4-FFF2-40B4-BE49-F238E27FC236}">
                <a16:creationId xmlns:a16="http://schemas.microsoft.com/office/drawing/2014/main" id="{E861211D-5D09-4577-8A09-FD96D972A5D4}"/>
              </a:ext>
            </a:extLst>
          </p:cNvPr>
          <p:cNvSpPr/>
          <p:nvPr/>
        </p:nvSpPr>
        <p:spPr>
          <a:xfrm>
            <a:off x="6780509" y="3833831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7" name="Oval 156">
            <a:extLst>
              <a:ext uri="{FF2B5EF4-FFF2-40B4-BE49-F238E27FC236}">
                <a16:creationId xmlns:a16="http://schemas.microsoft.com/office/drawing/2014/main" id="{3CBEFD1C-6360-47CD-AEDD-DFB49FC0E0C7}"/>
              </a:ext>
            </a:extLst>
          </p:cNvPr>
          <p:cNvSpPr/>
          <p:nvPr/>
        </p:nvSpPr>
        <p:spPr>
          <a:xfrm>
            <a:off x="7518603" y="3830834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8" name="Oval 157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953126" y="3843338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9" name="Oval 158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955088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60" name="Picture 5"/>
          <p:cNvPicPr>
            <a:picLocks noChangeAspect="1" noChangeArrowheads="1"/>
          </p:cNvPicPr>
          <p:nvPr/>
        </p:nvPicPr>
        <p:blipFill rotWithShape="1"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942" r="26332"/>
          <a:stretch/>
        </p:blipFill>
        <p:spPr bwMode="auto">
          <a:xfrm>
            <a:off x="7534231" y="3006165"/>
            <a:ext cx="597901" cy="6694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4319954" y="5448534"/>
            <a:ext cx="2511646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First sky scrapper in Africa consisting of eleven floors was built in Oyo State </a:t>
            </a:r>
          </a:p>
        </p:txBody>
      </p:sp>
    </p:spTree>
    <p:extLst>
      <p:ext uri="{BB962C8B-B14F-4D97-AF65-F5344CB8AC3E}">
        <p14:creationId xmlns:p14="http://schemas.microsoft.com/office/powerpoint/2010/main" val="194879640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Pentagon 19">
            <a:extLst>
              <a:ext uri="{FF2B5EF4-FFF2-40B4-BE49-F238E27FC236}">
                <a16:creationId xmlns:a16="http://schemas.microsoft.com/office/drawing/2014/main" id="{CAD93C59-72A9-4F6D-A654-02B9F8A5EFF9}"/>
              </a:ext>
            </a:extLst>
          </p:cNvPr>
          <p:cNvSpPr>
            <a:spLocks/>
          </p:cNvSpPr>
          <p:nvPr/>
        </p:nvSpPr>
        <p:spPr bwMode="auto">
          <a:xfrm>
            <a:off x="756602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7 of 37</a:t>
            </a:r>
          </a:p>
        </p:txBody>
      </p:sp>
      <p:sp>
        <p:nvSpPr>
          <p:cNvPr id="376" name="Pentagon 19">
            <a:extLst>
              <a:ext uri="{FF2B5EF4-FFF2-40B4-BE49-F238E27FC236}">
                <a16:creationId xmlns:a16="http://schemas.microsoft.com/office/drawing/2014/main" id="{1BDC5465-6022-4404-B4D8-ED55CF961B8A}"/>
              </a:ext>
            </a:extLst>
          </p:cNvPr>
          <p:cNvSpPr>
            <a:spLocks/>
          </p:cNvSpPr>
          <p:nvPr/>
        </p:nvSpPr>
        <p:spPr bwMode="auto">
          <a:xfrm>
            <a:off x="824865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30 of 3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57F1EBC-D01A-4083-B657-63AFB1490839}"/>
              </a:ext>
            </a:extLst>
          </p:cNvPr>
          <p:cNvSpPr txBox="1"/>
          <p:nvPr/>
        </p:nvSpPr>
        <p:spPr>
          <a:xfrm>
            <a:off x="6122988" y="2749550"/>
            <a:ext cx="3475037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nvestment Opportunit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D251BD-538A-4F4F-847E-620EEDA298A0}"/>
              </a:ext>
            </a:extLst>
          </p:cNvPr>
          <p:cNvSpPr txBox="1"/>
          <p:nvPr/>
        </p:nvSpPr>
        <p:spPr>
          <a:xfrm>
            <a:off x="6881813" y="4648300"/>
            <a:ext cx="2697162" cy="30777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Doing Business Ranking(2018)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1B8F13C-F732-4DA1-9250-DB02936E7688}"/>
              </a:ext>
            </a:extLst>
          </p:cNvPr>
          <p:cNvSpPr/>
          <p:nvPr/>
        </p:nvSpPr>
        <p:spPr>
          <a:xfrm>
            <a:off x="756602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Registering Propert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6BA1818-32ED-44D1-975C-958200BDD124}"/>
              </a:ext>
            </a:extLst>
          </p:cNvPr>
          <p:cNvSpPr/>
          <p:nvPr/>
        </p:nvSpPr>
        <p:spPr>
          <a:xfrm>
            <a:off x="8248650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Dealing with Construction Permits</a:t>
            </a:r>
          </a:p>
        </p:txBody>
      </p:sp>
      <p:sp>
        <p:nvSpPr>
          <p:cNvPr id="23560" name="TextBox 174">
            <a:extLst>
              <a:ext uri="{FF2B5EF4-FFF2-40B4-BE49-F238E27FC236}">
                <a16:creationId xmlns:a16="http://schemas.microsoft.com/office/drawing/2014/main" id="{1573FD4E-62B9-45E8-8F28-CED990ED2D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0B63A6C-2A5E-4CA3-BC66-4CBC6008BC9A}"/>
              </a:ext>
            </a:extLst>
          </p:cNvPr>
          <p:cNvSpPr/>
          <p:nvPr/>
        </p:nvSpPr>
        <p:spPr>
          <a:xfrm>
            <a:off x="893127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Enforcing Contracts</a:t>
            </a:r>
          </a:p>
        </p:txBody>
      </p:sp>
      <p:pic>
        <p:nvPicPr>
          <p:cNvPr id="23562" name="Picture 4">
            <a:extLst>
              <a:ext uri="{FF2B5EF4-FFF2-40B4-BE49-F238E27FC236}">
                <a16:creationId xmlns:a16="http://schemas.microsoft.com/office/drawing/2014/main" id="{7C8EEAB2-0239-4BB5-94B3-23E319AF1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513" y="5249863"/>
            <a:ext cx="439737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6" name="Pentagon 19">
            <a:extLst>
              <a:ext uri="{FF2B5EF4-FFF2-40B4-BE49-F238E27FC236}">
                <a16:creationId xmlns:a16="http://schemas.microsoft.com/office/drawing/2014/main" id="{5F8E9670-D71A-4765-B6B5-D711BC9AD6E1}"/>
              </a:ext>
            </a:extLst>
          </p:cNvPr>
          <p:cNvSpPr>
            <a:spLocks/>
          </p:cNvSpPr>
          <p:nvPr/>
        </p:nvSpPr>
        <p:spPr bwMode="auto">
          <a:xfrm>
            <a:off x="893127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2</a:t>
            </a:r>
            <a:r>
              <a:rPr lang="en-GB" sz="1000" baseline="3000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of 37</a:t>
            </a:r>
          </a:p>
        </p:txBody>
      </p:sp>
      <p:sp>
        <p:nvSpPr>
          <p:cNvPr id="23564" name="Title 3">
            <a:extLst>
              <a:ext uri="{FF2B5EF4-FFF2-40B4-BE49-F238E27FC236}">
                <a16:creationId xmlns:a16="http://schemas.microsoft.com/office/drawing/2014/main" id="{C62A749B-CFC7-4224-A789-D20A772AC33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77813" y="222250"/>
            <a:ext cx="8543925" cy="5619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en-GB" alt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lateau State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6882DF2C-9120-4A66-8487-575D9494F4D6}"/>
              </a:ext>
            </a:extLst>
          </p:cNvPr>
          <p:cNvSpPr txBox="1"/>
          <p:nvPr/>
        </p:nvSpPr>
        <p:spPr>
          <a:xfrm rot="16200000">
            <a:off x="-2290084" y="3478372"/>
            <a:ext cx="5303837" cy="2743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Home of Peace and Tourism</a:t>
            </a:r>
          </a:p>
        </p:txBody>
      </p:sp>
      <p:grpSp>
        <p:nvGrpSpPr>
          <p:cNvPr id="23566" name="Group 9">
            <a:extLst>
              <a:ext uri="{FF2B5EF4-FFF2-40B4-BE49-F238E27FC236}">
                <a16:creationId xmlns:a16="http://schemas.microsoft.com/office/drawing/2014/main" id="{5B6131BD-3CE3-4FC4-B13A-FA9B797C1EF5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41338" y="963613"/>
            <a:ext cx="2897187" cy="2319337"/>
            <a:chOff x="770228" y="1459989"/>
            <a:chExt cx="4081047" cy="3267527"/>
          </a:xfrm>
        </p:grpSpPr>
        <p:sp>
          <p:nvSpPr>
            <p:cNvPr id="299" name="Freeform 4">
              <a:extLst>
                <a:ext uri="{FF2B5EF4-FFF2-40B4-BE49-F238E27FC236}">
                  <a16:creationId xmlns:a16="http://schemas.microsoft.com/office/drawing/2014/main" id="{B6150C82-CBE5-48B4-B60C-C210BB7B26A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91538" y="4349548"/>
              <a:ext cx="418167" cy="377968"/>
            </a:xfrm>
            <a:custGeom>
              <a:avLst/>
              <a:gdLst>
                <a:gd name="T0" fmla="*/ 12 w 786"/>
                <a:gd name="T1" fmla="*/ 19 h 714"/>
                <a:gd name="T2" fmla="*/ 22 w 786"/>
                <a:gd name="T3" fmla="*/ 18 h 714"/>
                <a:gd name="T4" fmla="*/ 27 w 786"/>
                <a:gd name="T5" fmla="*/ 17 h 714"/>
                <a:gd name="T6" fmla="*/ 30 w 786"/>
                <a:gd name="T7" fmla="*/ 14 h 714"/>
                <a:gd name="T8" fmla="*/ 37 w 786"/>
                <a:gd name="T9" fmla="*/ 16 h 714"/>
                <a:gd name="T10" fmla="*/ 43 w 786"/>
                <a:gd name="T11" fmla="*/ 13 h 714"/>
                <a:gd name="T12" fmla="*/ 48 w 786"/>
                <a:gd name="T13" fmla="*/ 8 h 714"/>
                <a:gd name="T14" fmla="*/ 55 w 786"/>
                <a:gd name="T15" fmla="*/ 4 h 714"/>
                <a:gd name="T16" fmla="*/ 66 w 786"/>
                <a:gd name="T17" fmla="*/ 0 h 714"/>
                <a:gd name="T18" fmla="*/ 63 w 786"/>
                <a:gd name="T19" fmla="*/ 12 h 714"/>
                <a:gd name="T20" fmla="*/ 59 w 786"/>
                <a:gd name="T21" fmla="*/ 19 h 714"/>
                <a:gd name="T22" fmla="*/ 57 w 786"/>
                <a:gd name="T23" fmla="*/ 29 h 714"/>
                <a:gd name="T24" fmla="*/ 59 w 786"/>
                <a:gd name="T25" fmla="*/ 36 h 714"/>
                <a:gd name="T26" fmla="*/ 66 w 786"/>
                <a:gd name="T27" fmla="*/ 35 h 714"/>
                <a:gd name="T28" fmla="*/ 64 w 786"/>
                <a:gd name="T29" fmla="*/ 41 h 714"/>
                <a:gd name="T30" fmla="*/ 64 w 786"/>
                <a:gd name="T31" fmla="*/ 48 h 714"/>
                <a:gd name="T32" fmla="*/ 63 w 786"/>
                <a:gd name="T33" fmla="*/ 56 h 714"/>
                <a:gd name="T34" fmla="*/ 60 w 786"/>
                <a:gd name="T35" fmla="*/ 60 h 714"/>
                <a:gd name="T36" fmla="*/ 57 w 786"/>
                <a:gd name="T37" fmla="*/ 58 h 714"/>
                <a:gd name="T38" fmla="*/ 54 w 786"/>
                <a:gd name="T39" fmla="*/ 54 h 714"/>
                <a:gd name="T40" fmla="*/ 53 w 786"/>
                <a:gd name="T41" fmla="*/ 51 h 714"/>
                <a:gd name="T42" fmla="*/ 51 w 786"/>
                <a:gd name="T43" fmla="*/ 53 h 714"/>
                <a:gd name="T44" fmla="*/ 49 w 786"/>
                <a:gd name="T45" fmla="*/ 54 h 714"/>
                <a:gd name="T46" fmla="*/ 47 w 786"/>
                <a:gd name="T47" fmla="*/ 50 h 714"/>
                <a:gd name="T48" fmla="*/ 48 w 786"/>
                <a:gd name="T49" fmla="*/ 54 h 714"/>
                <a:gd name="T50" fmla="*/ 47 w 786"/>
                <a:gd name="T51" fmla="*/ 54 h 714"/>
                <a:gd name="T52" fmla="*/ 46 w 786"/>
                <a:gd name="T53" fmla="*/ 59 h 714"/>
                <a:gd name="T54" fmla="*/ 47 w 786"/>
                <a:gd name="T55" fmla="*/ 62 h 714"/>
                <a:gd name="T56" fmla="*/ 42 w 786"/>
                <a:gd name="T57" fmla="*/ 62 h 714"/>
                <a:gd name="T58" fmla="*/ 39 w 786"/>
                <a:gd name="T59" fmla="*/ 57 h 714"/>
                <a:gd name="T60" fmla="*/ 40 w 786"/>
                <a:gd name="T61" fmla="*/ 54 h 714"/>
                <a:gd name="T62" fmla="*/ 43 w 786"/>
                <a:gd name="T63" fmla="*/ 55 h 714"/>
                <a:gd name="T64" fmla="*/ 40 w 786"/>
                <a:gd name="T65" fmla="*/ 53 h 714"/>
                <a:gd name="T66" fmla="*/ 38 w 786"/>
                <a:gd name="T67" fmla="*/ 57 h 714"/>
                <a:gd name="T68" fmla="*/ 37 w 786"/>
                <a:gd name="T69" fmla="*/ 57 h 714"/>
                <a:gd name="T70" fmla="*/ 37 w 786"/>
                <a:gd name="T71" fmla="*/ 60 h 714"/>
                <a:gd name="T72" fmla="*/ 33 w 786"/>
                <a:gd name="T73" fmla="*/ 56 h 714"/>
                <a:gd name="T74" fmla="*/ 32 w 786"/>
                <a:gd name="T75" fmla="*/ 58 h 714"/>
                <a:gd name="T76" fmla="*/ 26 w 786"/>
                <a:gd name="T77" fmla="*/ 54 h 714"/>
                <a:gd name="T78" fmla="*/ 26 w 786"/>
                <a:gd name="T79" fmla="*/ 54 h 714"/>
                <a:gd name="T80" fmla="*/ 24 w 786"/>
                <a:gd name="T81" fmla="*/ 51 h 714"/>
                <a:gd name="T82" fmla="*/ 22 w 786"/>
                <a:gd name="T83" fmla="*/ 51 h 714"/>
                <a:gd name="T84" fmla="*/ 20 w 786"/>
                <a:gd name="T85" fmla="*/ 50 h 714"/>
                <a:gd name="T86" fmla="*/ 20 w 786"/>
                <a:gd name="T87" fmla="*/ 48 h 714"/>
                <a:gd name="T88" fmla="*/ 18 w 786"/>
                <a:gd name="T89" fmla="*/ 47 h 714"/>
                <a:gd name="T90" fmla="*/ 15 w 786"/>
                <a:gd name="T91" fmla="*/ 45 h 714"/>
                <a:gd name="T92" fmla="*/ 11 w 786"/>
                <a:gd name="T93" fmla="*/ 39 h 714"/>
                <a:gd name="T94" fmla="*/ 12 w 786"/>
                <a:gd name="T95" fmla="*/ 36 h 714"/>
                <a:gd name="T96" fmla="*/ 7 w 786"/>
                <a:gd name="T97" fmla="*/ 33 h 714"/>
                <a:gd name="T98" fmla="*/ 5 w 786"/>
                <a:gd name="T99" fmla="*/ 28 h 714"/>
                <a:gd name="T100" fmla="*/ 7 w 786"/>
                <a:gd name="T101" fmla="*/ 30 h 714"/>
                <a:gd name="T102" fmla="*/ 4 w 786"/>
                <a:gd name="T103" fmla="*/ 24 h 714"/>
                <a:gd name="T104" fmla="*/ 2 w 786"/>
                <a:gd name="T105" fmla="*/ 20 h 714"/>
                <a:gd name="T106" fmla="*/ 0 w 786"/>
                <a:gd name="T107" fmla="*/ 15 h 714"/>
                <a:gd name="T108" fmla="*/ 4 w 786"/>
                <a:gd name="T109" fmla="*/ 16 h 714"/>
                <a:gd name="T110" fmla="*/ 55 w 786"/>
                <a:gd name="T111" fmla="*/ 60 h 714"/>
                <a:gd name="T112" fmla="*/ 47 w 786"/>
                <a:gd name="T113" fmla="*/ 60 h 714"/>
                <a:gd name="T114" fmla="*/ 51 w 786"/>
                <a:gd name="T115" fmla="*/ 54 h 714"/>
                <a:gd name="T116" fmla="*/ 54 w 786"/>
                <a:gd name="T117" fmla="*/ 56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86"/>
                <a:gd name="T178" fmla="*/ 0 h 714"/>
                <a:gd name="T179" fmla="*/ 786 w 786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86" h="714">
                  <a:moveTo>
                    <a:pt x="54" y="186"/>
                  </a:moveTo>
                  <a:lnTo>
                    <a:pt x="54" y="192"/>
                  </a:lnTo>
                  <a:lnTo>
                    <a:pt x="72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204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20" y="210"/>
                  </a:lnTo>
                  <a:lnTo>
                    <a:pt x="126" y="210"/>
                  </a:lnTo>
                  <a:lnTo>
                    <a:pt x="132" y="210"/>
                  </a:lnTo>
                  <a:lnTo>
                    <a:pt x="132" y="216"/>
                  </a:lnTo>
                  <a:lnTo>
                    <a:pt x="138" y="222"/>
                  </a:lnTo>
                  <a:lnTo>
                    <a:pt x="150" y="222"/>
                  </a:lnTo>
                  <a:lnTo>
                    <a:pt x="162" y="234"/>
                  </a:lnTo>
                  <a:lnTo>
                    <a:pt x="168" y="240"/>
                  </a:lnTo>
                  <a:lnTo>
                    <a:pt x="180" y="240"/>
                  </a:lnTo>
                  <a:lnTo>
                    <a:pt x="186" y="228"/>
                  </a:lnTo>
                  <a:lnTo>
                    <a:pt x="210" y="234"/>
                  </a:lnTo>
                  <a:lnTo>
                    <a:pt x="222" y="228"/>
                  </a:lnTo>
                  <a:lnTo>
                    <a:pt x="228" y="216"/>
                  </a:lnTo>
                  <a:lnTo>
                    <a:pt x="234" y="210"/>
                  </a:lnTo>
                  <a:lnTo>
                    <a:pt x="240" y="216"/>
                  </a:lnTo>
                  <a:lnTo>
                    <a:pt x="246" y="210"/>
                  </a:lnTo>
                  <a:lnTo>
                    <a:pt x="252" y="210"/>
                  </a:lnTo>
                  <a:lnTo>
                    <a:pt x="258" y="210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192"/>
                  </a:lnTo>
                  <a:lnTo>
                    <a:pt x="270" y="192"/>
                  </a:lnTo>
                  <a:lnTo>
                    <a:pt x="276" y="192"/>
                  </a:lnTo>
                  <a:lnTo>
                    <a:pt x="282" y="192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192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198"/>
                  </a:lnTo>
                  <a:lnTo>
                    <a:pt x="312" y="198"/>
                  </a:lnTo>
                  <a:lnTo>
                    <a:pt x="312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24" y="186"/>
                  </a:lnTo>
                  <a:lnTo>
                    <a:pt x="318" y="180"/>
                  </a:lnTo>
                  <a:lnTo>
                    <a:pt x="324" y="180"/>
                  </a:lnTo>
                  <a:lnTo>
                    <a:pt x="330" y="186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74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54" y="144"/>
                  </a:lnTo>
                  <a:lnTo>
                    <a:pt x="360" y="144"/>
                  </a:lnTo>
                  <a:lnTo>
                    <a:pt x="372" y="156"/>
                  </a:lnTo>
                  <a:lnTo>
                    <a:pt x="372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96" y="168"/>
                  </a:lnTo>
                  <a:lnTo>
                    <a:pt x="396" y="174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26" y="186"/>
                  </a:lnTo>
                  <a:lnTo>
                    <a:pt x="432" y="186"/>
                  </a:lnTo>
                  <a:lnTo>
                    <a:pt x="438" y="180"/>
                  </a:lnTo>
                  <a:lnTo>
                    <a:pt x="438" y="168"/>
                  </a:lnTo>
                  <a:lnTo>
                    <a:pt x="438" y="162"/>
                  </a:lnTo>
                  <a:lnTo>
                    <a:pt x="444" y="156"/>
                  </a:lnTo>
                  <a:lnTo>
                    <a:pt x="450" y="156"/>
                  </a:lnTo>
                  <a:lnTo>
                    <a:pt x="456" y="150"/>
                  </a:lnTo>
                  <a:lnTo>
                    <a:pt x="462" y="156"/>
                  </a:lnTo>
                  <a:lnTo>
                    <a:pt x="468" y="162"/>
                  </a:lnTo>
                  <a:lnTo>
                    <a:pt x="474" y="162"/>
                  </a:lnTo>
                  <a:lnTo>
                    <a:pt x="486" y="162"/>
                  </a:lnTo>
                  <a:lnTo>
                    <a:pt x="492" y="156"/>
                  </a:lnTo>
                  <a:lnTo>
                    <a:pt x="498" y="150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28" y="126"/>
                  </a:lnTo>
                  <a:lnTo>
                    <a:pt x="522" y="120"/>
                  </a:lnTo>
                  <a:lnTo>
                    <a:pt x="522" y="114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28" y="102"/>
                  </a:lnTo>
                  <a:lnTo>
                    <a:pt x="534" y="96"/>
                  </a:lnTo>
                  <a:lnTo>
                    <a:pt x="552" y="96"/>
                  </a:lnTo>
                  <a:lnTo>
                    <a:pt x="570" y="102"/>
                  </a:lnTo>
                  <a:lnTo>
                    <a:pt x="582" y="96"/>
                  </a:lnTo>
                  <a:lnTo>
                    <a:pt x="582" y="90"/>
                  </a:lnTo>
                  <a:lnTo>
                    <a:pt x="582" y="78"/>
                  </a:lnTo>
                  <a:lnTo>
                    <a:pt x="582" y="72"/>
                  </a:lnTo>
                  <a:lnTo>
                    <a:pt x="582" y="66"/>
                  </a:lnTo>
                  <a:lnTo>
                    <a:pt x="594" y="60"/>
                  </a:lnTo>
                  <a:lnTo>
                    <a:pt x="600" y="60"/>
                  </a:lnTo>
                  <a:lnTo>
                    <a:pt x="606" y="54"/>
                  </a:lnTo>
                  <a:lnTo>
                    <a:pt x="618" y="48"/>
                  </a:lnTo>
                  <a:lnTo>
                    <a:pt x="618" y="42"/>
                  </a:lnTo>
                  <a:lnTo>
                    <a:pt x="624" y="42"/>
                  </a:lnTo>
                  <a:lnTo>
                    <a:pt x="636" y="48"/>
                  </a:lnTo>
                  <a:lnTo>
                    <a:pt x="648" y="54"/>
                  </a:lnTo>
                  <a:lnTo>
                    <a:pt x="660" y="54"/>
                  </a:lnTo>
                  <a:lnTo>
                    <a:pt x="666" y="60"/>
                  </a:lnTo>
                  <a:lnTo>
                    <a:pt x="672" y="54"/>
                  </a:lnTo>
                  <a:lnTo>
                    <a:pt x="684" y="48"/>
                  </a:lnTo>
                  <a:lnTo>
                    <a:pt x="708" y="42"/>
                  </a:lnTo>
                  <a:lnTo>
                    <a:pt x="714" y="42"/>
                  </a:lnTo>
                  <a:lnTo>
                    <a:pt x="720" y="36"/>
                  </a:lnTo>
                  <a:lnTo>
                    <a:pt x="720" y="30"/>
                  </a:lnTo>
                  <a:lnTo>
                    <a:pt x="714" y="12"/>
                  </a:lnTo>
                  <a:lnTo>
                    <a:pt x="708" y="0"/>
                  </a:lnTo>
                  <a:lnTo>
                    <a:pt x="738" y="6"/>
                  </a:lnTo>
                  <a:lnTo>
                    <a:pt x="756" y="6"/>
                  </a:lnTo>
                  <a:lnTo>
                    <a:pt x="762" y="42"/>
                  </a:lnTo>
                  <a:lnTo>
                    <a:pt x="738" y="72"/>
                  </a:lnTo>
                  <a:lnTo>
                    <a:pt x="750" y="90"/>
                  </a:lnTo>
                  <a:lnTo>
                    <a:pt x="762" y="96"/>
                  </a:lnTo>
                  <a:lnTo>
                    <a:pt x="756" y="102"/>
                  </a:lnTo>
                  <a:lnTo>
                    <a:pt x="750" y="108"/>
                  </a:lnTo>
                  <a:lnTo>
                    <a:pt x="750" y="114"/>
                  </a:lnTo>
                  <a:lnTo>
                    <a:pt x="750" y="120"/>
                  </a:lnTo>
                  <a:lnTo>
                    <a:pt x="750" y="126"/>
                  </a:lnTo>
                  <a:lnTo>
                    <a:pt x="750" y="132"/>
                  </a:lnTo>
                  <a:lnTo>
                    <a:pt x="738" y="132"/>
                  </a:lnTo>
                  <a:lnTo>
                    <a:pt x="732" y="138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14" y="144"/>
                  </a:lnTo>
                  <a:lnTo>
                    <a:pt x="714" y="150"/>
                  </a:lnTo>
                  <a:lnTo>
                    <a:pt x="720" y="156"/>
                  </a:lnTo>
                  <a:lnTo>
                    <a:pt x="720" y="162"/>
                  </a:lnTo>
                  <a:lnTo>
                    <a:pt x="714" y="162"/>
                  </a:lnTo>
                  <a:lnTo>
                    <a:pt x="708" y="168"/>
                  </a:lnTo>
                  <a:lnTo>
                    <a:pt x="708" y="180"/>
                  </a:lnTo>
                  <a:lnTo>
                    <a:pt x="708" y="192"/>
                  </a:lnTo>
                  <a:lnTo>
                    <a:pt x="696" y="198"/>
                  </a:lnTo>
                  <a:lnTo>
                    <a:pt x="696" y="204"/>
                  </a:lnTo>
                  <a:lnTo>
                    <a:pt x="684" y="210"/>
                  </a:lnTo>
                  <a:lnTo>
                    <a:pt x="684" y="216"/>
                  </a:lnTo>
                  <a:lnTo>
                    <a:pt x="684" y="222"/>
                  </a:lnTo>
                  <a:lnTo>
                    <a:pt x="678" y="228"/>
                  </a:lnTo>
                  <a:lnTo>
                    <a:pt x="678" y="234"/>
                  </a:lnTo>
                  <a:lnTo>
                    <a:pt x="672" y="240"/>
                  </a:lnTo>
                  <a:lnTo>
                    <a:pt x="672" y="252"/>
                  </a:lnTo>
                  <a:lnTo>
                    <a:pt x="672" y="258"/>
                  </a:lnTo>
                  <a:lnTo>
                    <a:pt x="666" y="264"/>
                  </a:lnTo>
                  <a:lnTo>
                    <a:pt x="678" y="264"/>
                  </a:lnTo>
                  <a:lnTo>
                    <a:pt x="684" y="276"/>
                  </a:lnTo>
                  <a:lnTo>
                    <a:pt x="684" y="288"/>
                  </a:lnTo>
                  <a:lnTo>
                    <a:pt x="672" y="300"/>
                  </a:lnTo>
                  <a:lnTo>
                    <a:pt x="660" y="318"/>
                  </a:lnTo>
                  <a:lnTo>
                    <a:pt x="660" y="336"/>
                  </a:lnTo>
                  <a:lnTo>
                    <a:pt x="654" y="342"/>
                  </a:lnTo>
                  <a:lnTo>
                    <a:pt x="660" y="354"/>
                  </a:lnTo>
                  <a:lnTo>
                    <a:pt x="660" y="366"/>
                  </a:lnTo>
                  <a:lnTo>
                    <a:pt x="666" y="378"/>
                  </a:lnTo>
                  <a:lnTo>
                    <a:pt x="672" y="390"/>
                  </a:lnTo>
                  <a:lnTo>
                    <a:pt x="678" y="396"/>
                  </a:lnTo>
                  <a:lnTo>
                    <a:pt x="684" y="390"/>
                  </a:lnTo>
                  <a:lnTo>
                    <a:pt x="690" y="390"/>
                  </a:lnTo>
                  <a:lnTo>
                    <a:pt x="690" y="396"/>
                  </a:lnTo>
                  <a:lnTo>
                    <a:pt x="684" y="396"/>
                  </a:lnTo>
                  <a:lnTo>
                    <a:pt x="684" y="402"/>
                  </a:lnTo>
                  <a:lnTo>
                    <a:pt x="684" y="408"/>
                  </a:lnTo>
                  <a:lnTo>
                    <a:pt x="678" y="414"/>
                  </a:lnTo>
                  <a:lnTo>
                    <a:pt x="684" y="414"/>
                  </a:lnTo>
                  <a:lnTo>
                    <a:pt x="684" y="420"/>
                  </a:lnTo>
                  <a:lnTo>
                    <a:pt x="684" y="426"/>
                  </a:lnTo>
                  <a:lnTo>
                    <a:pt x="690" y="420"/>
                  </a:lnTo>
                  <a:lnTo>
                    <a:pt x="696" y="420"/>
                  </a:lnTo>
                  <a:lnTo>
                    <a:pt x="696" y="426"/>
                  </a:lnTo>
                  <a:lnTo>
                    <a:pt x="690" y="426"/>
                  </a:lnTo>
                  <a:lnTo>
                    <a:pt x="696" y="426"/>
                  </a:lnTo>
                  <a:lnTo>
                    <a:pt x="708" y="426"/>
                  </a:lnTo>
                  <a:lnTo>
                    <a:pt x="726" y="414"/>
                  </a:lnTo>
                  <a:lnTo>
                    <a:pt x="732" y="408"/>
                  </a:lnTo>
                  <a:lnTo>
                    <a:pt x="744" y="402"/>
                  </a:lnTo>
                  <a:lnTo>
                    <a:pt x="756" y="402"/>
                  </a:lnTo>
                  <a:lnTo>
                    <a:pt x="768" y="402"/>
                  </a:lnTo>
                  <a:lnTo>
                    <a:pt x="786" y="408"/>
                  </a:lnTo>
                  <a:lnTo>
                    <a:pt x="786" y="414"/>
                  </a:lnTo>
                  <a:lnTo>
                    <a:pt x="774" y="420"/>
                  </a:lnTo>
                  <a:lnTo>
                    <a:pt x="774" y="426"/>
                  </a:lnTo>
                  <a:lnTo>
                    <a:pt x="768" y="432"/>
                  </a:lnTo>
                  <a:lnTo>
                    <a:pt x="762" y="438"/>
                  </a:lnTo>
                  <a:lnTo>
                    <a:pt x="756" y="438"/>
                  </a:lnTo>
                  <a:lnTo>
                    <a:pt x="756" y="444"/>
                  </a:lnTo>
                  <a:lnTo>
                    <a:pt x="756" y="450"/>
                  </a:lnTo>
                  <a:lnTo>
                    <a:pt x="762" y="450"/>
                  </a:lnTo>
                  <a:lnTo>
                    <a:pt x="750" y="456"/>
                  </a:lnTo>
                  <a:lnTo>
                    <a:pt x="738" y="468"/>
                  </a:lnTo>
                  <a:lnTo>
                    <a:pt x="726" y="480"/>
                  </a:lnTo>
                  <a:lnTo>
                    <a:pt x="726" y="486"/>
                  </a:lnTo>
                  <a:lnTo>
                    <a:pt x="732" y="486"/>
                  </a:lnTo>
                  <a:lnTo>
                    <a:pt x="732" y="492"/>
                  </a:lnTo>
                  <a:lnTo>
                    <a:pt x="732" y="504"/>
                  </a:lnTo>
                  <a:lnTo>
                    <a:pt x="738" y="504"/>
                  </a:lnTo>
                  <a:lnTo>
                    <a:pt x="744" y="510"/>
                  </a:lnTo>
                  <a:lnTo>
                    <a:pt x="738" y="522"/>
                  </a:lnTo>
                  <a:lnTo>
                    <a:pt x="744" y="528"/>
                  </a:lnTo>
                  <a:lnTo>
                    <a:pt x="756" y="534"/>
                  </a:lnTo>
                  <a:lnTo>
                    <a:pt x="756" y="540"/>
                  </a:lnTo>
                  <a:lnTo>
                    <a:pt x="744" y="552"/>
                  </a:lnTo>
                  <a:lnTo>
                    <a:pt x="738" y="552"/>
                  </a:lnTo>
                  <a:lnTo>
                    <a:pt x="738" y="558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64"/>
                  </a:lnTo>
                  <a:lnTo>
                    <a:pt x="744" y="576"/>
                  </a:lnTo>
                  <a:lnTo>
                    <a:pt x="738" y="588"/>
                  </a:lnTo>
                  <a:lnTo>
                    <a:pt x="738" y="594"/>
                  </a:lnTo>
                  <a:lnTo>
                    <a:pt x="738" y="600"/>
                  </a:lnTo>
                  <a:lnTo>
                    <a:pt x="738" y="606"/>
                  </a:lnTo>
                  <a:lnTo>
                    <a:pt x="732" y="612"/>
                  </a:lnTo>
                  <a:lnTo>
                    <a:pt x="726" y="624"/>
                  </a:lnTo>
                  <a:lnTo>
                    <a:pt x="726" y="636"/>
                  </a:lnTo>
                  <a:lnTo>
                    <a:pt x="726" y="648"/>
                  </a:lnTo>
                  <a:lnTo>
                    <a:pt x="738" y="654"/>
                  </a:lnTo>
                  <a:lnTo>
                    <a:pt x="750" y="660"/>
                  </a:lnTo>
                  <a:lnTo>
                    <a:pt x="750" y="666"/>
                  </a:lnTo>
                  <a:lnTo>
                    <a:pt x="750" y="678"/>
                  </a:lnTo>
                  <a:lnTo>
                    <a:pt x="744" y="678"/>
                  </a:lnTo>
                  <a:lnTo>
                    <a:pt x="738" y="684"/>
                  </a:lnTo>
                  <a:lnTo>
                    <a:pt x="732" y="684"/>
                  </a:lnTo>
                  <a:lnTo>
                    <a:pt x="720" y="678"/>
                  </a:lnTo>
                  <a:lnTo>
                    <a:pt x="714" y="684"/>
                  </a:lnTo>
                  <a:lnTo>
                    <a:pt x="708" y="684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0" y="690"/>
                  </a:lnTo>
                  <a:lnTo>
                    <a:pt x="690" y="684"/>
                  </a:lnTo>
                  <a:lnTo>
                    <a:pt x="690" y="690"/>
                  </a:lnTo>
                  <a:lnTo>
                    <a:pt x="684" y="690"/>
                  </a:lnTo>
                  <a:lnTo>
                    <a:pt x="684" y="684"/>
                  </a:lnTo>
                  <a:lnTo>
                    <a:pt x="678" y="684"/>
                  </a:lnTo>
                  <a:lnTo>
                    <a:pt x="672" y="678"/>
                  </a:lnTo>
                  <a:lnTo>
                    <a:pt x="672" y="672"/>
                  </a:lnTo>
                  <a:lnTo>
                    <a:pt x="678" y="672"/>
                  </a:lnTo>
                  <a:lnTo>
                    <a:pt x="672" y="672"/>
                  </a:lnTo>
                  <a:lnTo>
                    <a:pt x="666" y="672"/>
                  </a:lnTo>
                  <a:lnTo>
                    <a:pt x="660" y="672"/>
                  </a:lnTo>
                  <a:lnTo>
                    <a:pt x="654" y="672"/>
                  </a:lnTo>
                  <a:lnTo>
                    <a:pt x="654" y="666"/>
                  </a:lnTo>
                  <a:lnTo>
                    <a:pt x="648" y="666"/>
                  </a:lnTo>
                  <a:lnTo>
                    <a:pt x="642" y="660"/>
                  </a:lnTo>
                  <a:lnTo>
                    <a:pt x="642" y="654"/>
                  </a:lnTo>
                  <a:lnTo>
                    <a:pt x="642" y="648"/>
                  </a:lnTo>
                  <a:lnTo>
                    <a:pt x="636" y="648"/>
                  </a:lnTo>
                  <a:lnTo>
                    <a:pt x="630" y="648"/>
                  </a:lnTo>
                  <a:lnTo>
                    <a:pt x="624" y="648"/>
                  </a:lnTo>
                  <a:lnTo>
                    <a:pt x="624" y="642"/>
                  </a:lnTo>
                  <a:lnTo>
                    <a:pt x="618" y="636"/>
                  </a:lnTo>
                  <a:lnTo>
                    <a:pt x="624" y="636"/>
                  </a:lnTo>
                  <a:lnTo>
                    <a:pt x="624" y="630"/>
                  </a:lnTo>
                  <a:lnTo>
                    <a:pt x="618" y="630"/>
                  </a:lnTo>
                  <a:lnTo>
                    <a:pt x="618" y="624"/>
                  </a:lnTo>
                  <a:lnTo>
                    <a:pt x="618" y="618"/>
                  </a:lnTo>
                  <a:lnTo>
                    <a:pt x="618" y="612"/>
                  </a:lnTo>
                  <a:lnTo>
                    <a:pt x="618" y="606"/>
                  </a:lnTo>
                  <a:lnTo>
                    <a:pt x="624" y="606"/>
                  </a:lnTo>
                  <a:lnTo>
                    <a:pt x="624" y="600"/>
                  </a:lnTo>
                  <a:lnTo>
                    <a:pt x="618" y="600"/>
                  </a:lnTo>
                  <a:lnTo>
                    <a:pt x="618" y="594"/>
                  </a:lnTo>
                  <a:lnTo>
                    <a:pt x="618" y="588"/>
                  </a:lnTo>
                  <a:lnTo>
                    <a:pt x="618" y="582"/>
                  </a:lnTo>
                  <a:lnTo>
                    <a:pt x="612" y="582"/>
                  </a:lnTo>
                  <a:lnTo>
                    <a:pt x="606" y="582"/>
                  </a:lnTo>
                  <a:lnTo>
                    <a:pt x="612" y="582"/>
                  </a:lnTo>
                  <a:lnTo>
                    <a:pt x="612" y="588"/>
                  </a:lnTo>
                  <a:lnTo>
                    <a:pt x="612" y="594"/>
                  </a:lnTo>
                  <a:lnTo>
                    <a:pt x="618" y="594"/>
                  </a:lnTo>
                  <a:lnTo>
                    <a:pt x="618" y="600"/>
                  </a:lnTo>
                  <a:lnTo>
                    <a:pt x="618" y="606"/>
                  </a:lnTo>
                  <a:lnTo>
                    <a:pt x="618" y="612"/>
                  </a:lnTo>
                  <a:lnTo>
                    <a:pt x="612" y="612"/>
                  </a:lnTo>
                  <a:lnTo>
                    <a:pt x="612" y="618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94" y="612"/>
                  </a:lnTo>
                  <a:lnTo>
                    <a:pt x="588" y="606"/>
                  </a:lnTo>
                  <a:lnTo>
                    <a:pt x="588" y="612"/>
                  </a:lnTo>
                  <a:lnTo>
                    <a:pt x="594" y="612"/>
                  </a:lnTo>
                  <a:lnTo>
                    <a:pt x="594" y="618"/>
                  </a:lnTo>
                  <a:lnTo>
                    <a:pt x="588" y="618"/>
                  </a:lnTo>
                  <a:lnTo>
                    <a:pt x="588" y="624"/>
                  </a:lnTo>
                  <a:lnTo>
                    <a:pt x="582" y="624"/>
                  </a:lnTo>
                  <a:lnTo>
                    <a:pt x="582" y="630"/>
                  </a:lnTo>
                  <a:lnTo>
                    <a:pt x="576" y="630"/>
                  </a:lnTo>
                  <a:lnTo>
                    <a:pt x="576" y="636"/>
                  </a:lnTo>
                  <a:lnTo>
                    <a:pt x="570" y="636"/>
                  </a:lnTo>
                  <a:lnTo>
                    <a:pt x="570" y="642"/>
                  </a:lnTo>
                  <a:lnTo>
                    <a:pt x="564" y="642"/>
                  </a:lnTo>
                  <a:lnTo>
                    <a:pt x="564" y="636"/>
                  </a:lnTo>
                  <a:lnTo>
                    <a:pt x="564" y="630"/>
                  </a:lnTo>
                  <a:lnTo>
                    <a:pt x="564" y="624"/>
                  </a:lnTo>
                  <a:lnTo>
                    <a:pt x="564" y="618"/>
                  </a:lnTo>
                  <a:lnTo>
                    <a:pt x="570" y="612"/>
                  </a:lnTo>
                  <a:lnTo>
                    <a:pt x="564" y="606"/>
                  </a:lnTo>
                  <a:lnTo>
                    <a:pt x="564" y="600"/>
                  </a:lnTo>
                  <a:lnTo>
                    <a:pt x="564" y="594"/>
                  </a:lnTo>
                  <a:lnTo>
                    <a:pt x="558" y="594"/>
                  </a:lnTo>
                  <a:lnTo>
                    <a:pt x="558" y="588"/>
                  </a:lnTo>
                  <a:lnTo>
                    <a:pt x="552" y="582"/>
                  </a:lnTo>
                  <a:lnTo>
                    <a:pt x="552" y="576"/>
                  </a:lnTo>
                  <a:lnTo>
                    <a:pt x="552" y="570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6" y="582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58" y="588"/>
                  </a:lnTo>
                  <a:lnTo>
                    <a:pt x="558" y="594"/>
                  </a:lnTo>
                  <a:lnTo>
                    <a:pt x="558" y="600"/>
                  </a:lnTo>
                  <a:lnTo>
                    <a:pt x="558" y="606"/>
                  </a:lnTo>
                  <a:lnTo>
                    <a:pt x="552" y="612"/>
                  </a:lnTo>
                  <a:lnTo>
                    <a:pt x="558" y="612"/>
                  </a:lnTo>
                  <a:lnTo>
                    <a:pt x="558" y="618"/>
                  </a:lnTo>
                  <a:lnTo>
                    <a:pt x="558" y="624"/>
                  </a:lnTo>
                  <a:lnTo>
                    <a:pt x="558" y="630"/>
                  </a:lnTo>
                  <a:lnTo>
                    <a:pt x="552" y="630"/>
                  </a:lnTo>
                  <a:lnTo>
                    <a:pt x="552" y="624"/>
                  </a:lnTo>
                  <a:lnTo>
                    <a:pt x="546" y="624"/>
                  </a:lnTo>
                  <a:lnTo>
                    <a:pt x="546" y="618"/>
                  </a:lnTo>
                  <a:lnTo>
                    <a:pt x="546" y="612"/>
                  </a:lnTo>
                  <a:lnTo>
                    <a:pt x="540" y="612"/>
                  </a:lnTo>
                  <a:lnTo>
                    <a:pt x="534" y="612"/>
                  </a:lnTo>
                  <a:lnTo>
                    <a:pt x="528" y="612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28" y="618"/>
                  </a:lnTo>
                  <a:lnTo>
                    <a:pt x="534" y="618"/>
                  </a:lnTo>
                  <a:lnTo>
                    <a:pt x="540" y="618"/>
                  </a:lnTo>
                  <a:lnTo>
                    <a:pt x="540" y="624"/>
                  </a:lnTo>
                  <a:lnTo>
                    <a:pt x="546" y="624"/>
                  </a:lnTo>
                  <a:lnTo>
                    <a:pt x="546" y="630"/>
                  </a:lnTo>
                  <a:lnTo>
                    <a:pt x="552" y="630"/>
                  </a:lnTo>
                  <a:lnTo>
                    <a:pt x="552" y="636"/>
                  </a:lnTo>
                  <a:lnTo>
                    <a:pt x="546" y="642"/>
                  </a:lnTo>
                  <a:lnTo>
                    <a:pt x="546" y="648"/>
                  </a:lnTo>
                  <a:lnTo>
                    <a:pt x="540" y="648"/>
                  </a:lnTo>
                  <a:lnTo>
                    <a:pt x="540" y="654"/>
                  </a:lnTo>
                  <a:lnTo>
                    <a:pt x="540" y="660"/>
                  </a:lnTo>
                  <a:lnTo>
                    <a:pt x="534" y="666"/>
                  </a:lnTo>
                  <a:lnTo>
                    <a:pt x="534" y="672"/>
                  </a:lnTo>
                  <a:lnTo>
                    <a:pt x="534" y="678"/>
                  </a:lnTo>
                  <a:lnTo>
                    <a:pt x="534" y="684"/>
                  </a:lnTo>
                  <a:lnTo>
                    <a:pt x="534" y="678"/>
                  </a:lnTo>
                  <a:lnTo>
                    <a:pt x="528" y="678"/>
                  </a:lnTo>
                  <a:lnTo>
                    <a:pt x="528" y="684"/>
                  </a:lnTo>
                  <a:lnTo>
                    <a:pt x="522" y="690"/>
                  </a:lnTo>
                  <a:lnTo>
                    <a:pt x="528" y="690"/>
                  </a:lnTo>
                  <a:lnTo>
                    <a:pt x="528" y="684"/>
                  </a:lnTo>
                  <a:lnTo>
                    <a:pt x="534" y="684"/>
                  </a:lnTo>
                  <a:lnTo>
                    <a:pt x="534" y="690"/>
                  </a:lnTo>
                  <a:lnTo>
                    <a:pt x="534" y="696"/>
                  </a:lnTo>
                  <a:lnTo>
                    <a:pt x="540" y="696"/>
                  </a:lnTo>
                  <a:lnTo>
                    <a:pt x="540" y="702"/>
                  </a:lnTo>
                  <a:lnTo>
                    <a:pt x="540" y="708"/>
                  </a:lnTo>
                  <a:lnTo>
                    <a:pt x="534" y="708"/>
                  </a:lnTo>
                  <a:lnTo>
                    <a:pt x="528" y="708"/>
                  </a:lnTo>
                  <a:lnTo>
                    <a:pt x="522" y="708"/>
                  </a:lnTo>
                  <a:lnTo>
                    <a:pt x="516" y="708"/>
                  </a:lnTo>
                  <a:lnTo>
                    <a:pt x="510" y="708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2" y="708"/>
                  </a:lnTo>
                  <a:lnTo>
                    <a:pt x="486" y="714"/>
                  </a:lnTo>
                  <a:lnTo>
                    <a:pt x="480" y="708"/>
                  </a:lnTo>
                  <a:lnTo>
                    <a:pt x="474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68" y="714"/>
                  </a:lnTo>
                  <a:lnTo>
                    <a:pt x="456" y="714"/>
                  </a:lnTo>
                  <a:lnTo>
                    <a:pt x="450" y="714"/>
                  </a:lnTo>
                  <a:lnTo>
                    <a:pt x="450" y="708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50" y="690"/>
                  </a:lnTo>
                  <a:lnTo>
                    <a:pt x="450" y="684"/>
                  </a:lnTo>
                  <a:lnTo>
                    <a:pt x="450" y="678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56" y="660"/>
                  </a:lnTo>
                  <a:lnTo>
                    <a:pt x="462" y="660"/>
                  </a:lnTo>
                  <a:lnTo>
                    <a:pt x="462" y="654"/>
                  </a:lnTo>
                  <a:lnTo>
                    <a:pt x="456" y="654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48"/>
                  </a:lnTo>
                  <a:lnTo>
                    <a:pt x="444" y="648"/>
                  </a:lnTo>
                  <a:lnTo>
                    <a:pt x="444" y="642"/>
                  </a:lnTo>
                  <a:lnTo>
                    <a:pt x="444" y="636"/>
                  </a:lnTo>
                  <a:lnTo>
                    <a:pt x="450" y="636"/>
                  </a:lnTo>
                  <a:lnTo>
                    <a:pt x="450" y="630"/>
                  </a:lnTo>
                  <a:lnTo>
                    <a:pt x="456" y="630"/>
                  </a:lnTo>
                  <a:lnTo>
                    <a:pt x="462" y="630"/>
                  </a:lnTo>
                  <a:lnTo>
                    <a:pt x="462" y="624"/>
                  </a:lnTo>
                  <a:lnTo>
                    <a:pt x="468" y="624"/>
                  </a:lnTo>
                  <a:lnTo>
                    <a:pt x="474" y="624"/>
                  </a:lnTo>
                  <a:lnTo>
                    <a:pt x="474" y="618"/>
                  </a:lnTo>
                  <a:lnTo>
                    <a:pt x="480" y="618"/>
                  </a:lnTo>
                  <a:lnTo>
                    <a:pt x="486" y="618"/>
                  </a:lnTo>
                  <a:lnTo>
                    <a:pt x="486" y="624"/>
                  </a:lnTo>
                  <a:lnTo>
                    <a:pt x="486" y="636"/>
                  </a:lnTo>
                  <a:lnTo>
                    <a:pt x="486" y="642"/>
                  </a:lnTo>
                  <a:lnTo>
                    <a:pt x="486" y="648"/>
                  </a:lnTo>
                  <a:lnTo>
                    <a:pt x="492" y="648"/>
                  </a:lnTo>
                  <a:lnTo>
                    <a:pt x="492" y="642"/>
                  </a:lnTo>
                  <a:lnTo>
                    <a:pt x="498" y="636"/>
                  </a:lnTo>
                  <a:lnTo>
                    <a:pt x="492" y="636"/>
                  </a:lnTo>
                  <a:lnTo>
                    <a:pt x="492" y="630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6" y="618"/>
                  </a:lnTo>
                  <a:lnTo>
                    <a:pt x="486" y="612"/>
                  </a:lnTo>
                  <a:lnTo>
                    <a:pt x="486" y="606"/>
                  </a:lnTo>
                  <a:lnTo>
                    <a:pt x="480" y="606"/>
                  </a:lnTo>
                  <a:lnTo>
                    <a:pt x="480" y="612"/>
                  </a:lnTo>
                  <a:lnTo>
                    <a:pt x="474" y="618"/>
                  </a:lnTo>
                  <a:lnTo>
                    <a:pt x="468" y="618"/>
                  </a:lnTo>
                  <a:lnTo>
                    <a:pt x="462" y="618"/>
                  </a:lnTo>
                  <a:lnTo>
                    <a:pt x="462" y="612"/>
                  </a:lnTo>
                  <a:lnTo>
                    <a:pt x="456" y="612"/>
                  </a:lnTo>
                  <a:lnTo>
                    <a:pt x="456" y="618"/>
                  </a:lnTo>
                  <a:lnTo>
                    <a:pt x="462" y="618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30"/>
                  </a:lnTo>
                  <a:lnTo>
                    <a:pt x="444" y="630"/>
                  </a:lnTo>
                  <a:lnTo>
                    <a:pt x="444" y="636"/>
                  </a:lnTo>
                  <a:lnTo>
                    <a:pt x="444" y="642"/>
                  </a:lnTo>
                  <a:lnTo>
                    <a:pt x="444" y="654"/>
                  </a:lnTo>
                  <a:lnTo>
                    <a:pt x="444" y="660"/>
                  </a:lnTo>
                  <a:lnTo>
                    <a:pt x="438" y="660"/>
                  </a:lnTo>
                  <a:lnTo>
                    <a:pt x="432" y="660"/>
                  </a:lnTo>
                  <a:lnTo>
                    <a:pt x="432" y="654"/>
                  </a:lnTo>
                  <a:lnTo>
                    <a:pt x="438" y="654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48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26" y="660"/>
                  </a:lnTo>
                  <a:lnTo>
                    <a:pt x="432" y="666"/>
                  </a:lnTo>
                  <a:lnTo>
                    <a:pt x="432" y="672"/>
                  </a:lnTo>
                  <a:lnTo>
                    <a:pt x="438" y="672"/>
                  </a:lnTo>
                  <a:lnTo>
                    <a:pt x="438" y="678"/>
                  </a:lnTo>
                  <a:lnTo>
                    <a:pt x="444" y="678"/>
                  </a:lnTo>
                  <a:lnTo>
                    <a:pt x="444" y="684"/>
                  </a:lnTo>
                  <a:lnTo>
                    <a:pt x="438" y="690"/>
                  </a:lnTo>
                  <a:lnTo>
                    <a:pt x="438" y="696"/>
                  </a:lnTo>
                  <a:lnTo>
                    <a:pt x="438" y="702"/>
                  </a:lnTo>
                  <a:lnTo>
                    <a:pt x="432" y="702"/>
                  </a:lnTo>
                  <a:lnTo>
                    <a:pt x="426" y="702"/>
                  </a:lnTo>
                  <a:lnTo>
                    <a:pt x="426" y="696"/>
                  </a:lnTo>
                  <a:lnTo>
                    <a:pt x="414" y="696"/>
                  </a:lnTo>
                  <a:lnTo>
                    <a:pt x="402" y="696"/>
                  </a:lnTo>
                  <a:lnTo>
                    <a:pt x="402" y="690"/>
                  </a:lnTo>
                  <a:lnTo>
                    <a:pt x="396" y="690"/>
                  </a:lnTo>
                  <a:lnTo>
                    <a:pt x="390" y="690"/>
                  </a:lnTo>
                  <a:lnTo>
                    <a:pt x="384" y="690"/>
                  </a:lnTo>
                  <a:lnTo>
                    <a:pt x="384" y="684"/>
                  </a:lnTo>
                  <a:lnTo>
                    <a:pt x="384" y="678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390" y="660"/>
                  </a:lnTo>
                  <a:lnTo>
                    <a:pt x="390" y="654"/>
                  </a:lnTo>
                  <a:lnTo>
                    <a:pt x="384" y="648"/>
                  </a:lnTo>
                  <a:lnTo>
                    <a:pt x="384" y="642"/>
                  </a:lnTo>
                  <a:lnTo>
                    <a:pt x="378" y="636"/>
                  </a:lnTo>
                  <a:lnTo>
                    <a:pt x="378" y="642"/>
                  </a:lnTo>
                  <a:lnTo>
                    <a:pt x="378" y="648"/>
                  </a:lnTo>
                  <a:lnTo>
                    <a:pt x="372" y="648"/>
                  </a:lnTo>
                  <a:lnTo>
                    <a:pt x="378" y="654"/>
                  </a:lnTo>
                  <a:lnTo>
                    <a:pt x="378" y="660"/>
                  </a:lnTo>
                  <a:lnTo>
                    <a:pt x="378" y="666"/>
                  </a:lnTo>
                  <a:lnTo>
                    <a:pt x="372" y="672"/>
                  </a:lnTo>
                  <a:lnTo>
                    <a:pt x="378" y="672"/>
                  </a:lnTo>
                  <a:lnTo>
                    <a:pt x="378" y="678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54" y="666"/>
                  </a:lnTo>
                  <a:lnTo>
                    <a:pt x="354" y="660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0" y="654"/>
                  </a:lnTo>
                  <a:lnTo>
                    <a:pt x="324" y="648"/>
                  </a:lnTo>
                  <a:lnTo>
                    <a:pt x="318" y="648"/>
                  </a:lnTo>
                  <a:lnTo>
                    <a:pt x="318" y="642"/>
                  </a:lnTo>
                  <a:lnTo>
                    <a:pt x="312" y="642"/>
                  </a:lnTo>
                  <a:lnTo>
                    <a:pt x="306" y="636"/>
                  </a:lnTo>
                  <a:lnTo>
                    <a:pt x="300" y="636"/>
                  </a:lnTo>
                  <a:lnTo>
                    <a:pt x="300" y="630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0" y="618"/>
                  </a:lnTo>
                  <a:lnTo>
                    <a:pt x="306" y="612"/>
                  </a:lnTo>
                  <a:lnTo>
                    <a:pt x="300" y="612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294" y="612"/>
                  </a:lnTo>
                  <a:lnTo>
                    <a:pt x="288" y="618"/>
                  </a:lnTo>
                  <a:lnTo>
                    <a:pt x="288" y="612"/>
                  </a:lnTo>
                  <a:lnTo>
                    <a:pt x="288" y="618"/>
                  </a:lnTo>
                  <a:lnTo>
                    <a:pt x="294" y="618"/>
                  </a:lnTo>
                  <a:lnTo>
                    <a:pt x="300" y="624"/>
                  </a:lnTo>
                  <a:lnTo>
                    <a:pt x="294" y="624"/>
                  </a:lnTo>
                  <a:lnTo>
                    <a:pt x="288" y="624"/>
                  </a:lnTo>
                  <a:lnTo>
                    <a:pt x="282" y="61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70" y="600"/>
                  </a:lnTo>
                  <a:lnTo>
                    <a:pt x="270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82" y="588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594"/>
                  </a:lnTo>
                  <a:lnTo>
                    <a:pt x="264" y="600"/>
                  </a:lnTo>
                  <a:lnTo>
                    <a:pt x="264" y="594"/>
                  </a:lnTo>
                  <a:lnTo>
                    <a:pt x="270" y="594"/>
                  </a:lnTo>
                  <a:lnTo>
                    <a:pt x="270" y="588"/>
                  </a:lnTo>
                  <a:lnTo>
                    <a:pt x="264" y="594"/>
                  </a:lnTo>
                  <a:lnTo>
                    <a:pt x="258" y="594"/>
                  </a:lnTo>
                  <a:lnTo>
                    <a:pt x="258" y="588"/>
                  </a:lnTo>
                  <a:lnTo>
                    <a:pt x="252" y="588"/>
                  </a:lnTo>
                  <a:lnTo>
                    <a:pt x="246" y="588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52" y="588"/>
                  </a:lnTo>
                  <a:lnTo>
                    <a:pt x="252" y="594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46" y="594"/>
                  </a:lnTo>
                  <a:lnTo>
                    <a:pt x="246" y="588"/>
                  </a:lnTo>
                  <a:lnTo>
                    <a:pt x="240" y="588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2" y="570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64"/>
                  </a:lnTo>
                  <a:lnTo>
                    <a:pt x="234" y="564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34" y="558"/>
                  </a:lnTo>
                  <a:lnTo>
                    <a:pt x="228" y="558"/>
                  </a:lnTo>
                  <a:lnTo>
                    <a:pt x="222" y="558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2" y="564"/>
                  </a:lnTo>
                  <a:lnTo>
                    <a:pt x="222" y="558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04" y="546"/>
                  </a:lnTo>
                  <a:lnTo>
                    <a:pt x="204" y="540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10" y="540"/>
                  </a:lnTo>
                  <a:lnTo>
                    <a:pt x="210" y="534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8"/>
                  </a:lnTo>
                  <a:lnTo>
                    <a:pt x="174" y="516"/>
                  </a:lnTo>
                  <a:lnTo>
                    <a:pt x="168" y="510"/>
                  </a:lnTo>
                  <a:lnTo>
                    <a:pt x="162" y="504"/>
                  </a:lnTo>
                  <a:lnTo>
                    <a:pt x="156" y="498"/>
                  </a:lnTo>
                  <a:lnTo>
                    <a:pt x="156" y="492"/>
                  </a:lnTo>
                  <a:lnTo>
                    <a:pt x="150" y="486"/>
                  </a:lnTo>
                  <a:lnTo>
                    <a:pt x="144" y="480"/>
                  </a:lnTo>
                  <a:lnTo>
                    <a:pt x="144" y="474"/>
                  </a:lnTo>
                  <a:lnTo>
                    <a:pt x="138" y="474"/>
                  </a:lnTo>
                  <a:lnTo>
                    <a:pt x="138" y="468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26" y="450"/>
                  </a:lnTo>
                  <a:lnTo>
                    <a:pt x="126" y="444"/>
                  </a:lnTo>
                  <a:lnTo>
                    <a:pt x="114" y="438"/>
                  </a:lnTo>
                  <a:lnTo>
                    <a:pt x="114" y="432"/>
                  </a:lnTo>
                  <a:lnTo>
                    <a:pt x="114" y="426"/>
                  </a:lnTo>
                  <a:lnTo>
                    <a:pt x="114" y="432"/>
                  </a:lnTo>
                  <a:lnTo>
                    <a:pt x="120" y="432"/>
                  </a:lnTo>
                  <a:lnTo>
                    <a:pt x="120" y="438"/>
                  </a:lnTo>
                  <a:lnTo>
                    <a:pt x="120" y="444"/>
                  </a:lnTo>
                  <a:lnTo>
                    <a:pt x="126" y="444"/>
                  </a:lnTo>
                  <a:lnTo>
                    <a:pt x="126" y="438"/>
                  </a:lnTo>
                  <a:lnTo>
                    <a:pt x="120" y="438"/>
                  </a:lnTo>
                  <a:lnTo>
                    <a:pt x="126" y="432"/>
                  </a:lnTo>
                  <a:lnTo>
                    <a:pt x="126" y="426"/>
                  </a:lnTo>
                  <a:lnTo>
                    <a:pt x="132" y="420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08" y="414"/>
                  </a:lnTo>
                  <a:lnTo>
                    <a:pt x="102" y="414"/>
                  </a:lnTo>
                  <a:lnTo>
                    <a:pt x="102" y="408"/>
                  </a:lnTo>
                  <a:lnTo>
                    <a:pt x="96" y="402"/>
                  </a:lnTo>
                  <a:lnTo>
                    <a:pt x="96" y="396"/>
                  </a:lnTo>
                  <a:lnTo>
                    <a:pt x="96" y="390"/>
                  </a:lnTo>
                  <a:lnTo>
                    <a:pt x="90" y="390"/>
                  </a:lnTo>
                  <a:lnTo>
                    <a:pt x="90" y="384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78" y="372"/>
                  </a:lnTo>
                  <a:lnTo>
                    <a:pt x="78" y="366"/>
                  </a:lnTo>
                  <a:lnTo>
                    <a:pt x="78" y="360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6" y="348"/>
                  </a:lnTo>
                  <a:lnTo>
                    <a:pt x="66" y="342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6" y="336"/>
                  </a:lnTo>
                  <a:lnTo>
                    <a:pt x="66" y="342"/>
                  </a:lnTo>
                  <a:lnTo>
                    <a:pt x="72" y="348"/>
                  </a:lnTo>
                  <a:lnTo>
                    <a:pt x="78" y="354"/>
                  </a:lnTo>
                  <a:lnTo>
                    <a:pt x="84" y="360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0" y="360"/>
                  </a:lnTo>
                  <a:lnTo>
                    <a:pt x="84" y="360"/>
                  </a:lnTo>
                  <a:lnTo>
                    <a:pt x="84" y="354"/>
                  </a:lnTo>
                  <a:lnTo>
                    <a:pt x="78" y="348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66" y="330"/>
                  </a:lnTo>
                  <a:lnTo>
                    <a:pt x="66" y="324"/>
                  </a:lnTo>
                  <a:lnTo>
                    <a:pt x="60" y="318"/>
                  </a:lnTo>
                  <a:lnTo>
                    <a:pt x="60" y="312"/>
                  </a:lnTo>
                  <a:lnTo>
                    <a:pt x="54" y="306"/>
                  </a:lnTo>
                  <a:lnTo>
                    <a:pt x="54" y="300"/>
                  </a:lnTo>
                  <a:lnTo>
                    <a:pt x="54" y="294"/>
                  </a:lnTo>
                  <a:lnTo>
                    <a:pt x="48" y="288"/>
                  </a:lnTo>
                  <a:lnTo>
                    <a:pt x="48" y="294"/>
                  </a:lnTo>
                  <a:lnTo>
                    <a:pt x="48" y="288"/>
                  </a:lnTo>
                  <a:lnTo>
                    <a:pt x="48" y="282"/>
                  </a:lnTo>
                  <a:lnTo>
                    <a:pt x="48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18" y="216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62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68"/>
                  </a:lnTo>
                  <a:lnTo>
                    <a:pt x="42" y="168"/>
                  </a:lnTo>
                  <a:lnTo>
                    <a:pt x="42" y="174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86"/>
                  </a:lnTo>
                  <a:close/>
                  <a:moveTo>
                    <a:pt x="642" y="660"/>
                  </a:moveTo>
                  <a:lnTo>
                    <a:pt x="642" y="666"/>
                  </a:lnTo>
                  <a:lnTo>
                    <a:pt x="648" y="666"/>
                  </a:lnTo>
                  <a:lnTo>
                    <a:pt x="648" y="672"/>
                  </a:lnTo>
                  <a:lnTo>
                    <a:pt x="648" y="678"/>
                  </a:lnTo>
                  <a:lnTo>
                    <a:pt x="654" y="678"/>
                  </a:lnTo>
                  <a:lnTo>
                    <a:pt x="654" y="684"/>
                  </a:lnTo>
                  <a:lnTo>
                    <a:pt x="660" y="684"/>
                  </a:lnTo>
                  <a:lnTo>
                    <a:pt x="660" y="690"/>
                  </a:lnTo>
                  <a:lnTo>
                    <a:pt x="654" y="690"/>
                  </a:lnTo>
                  <a:lnTo>
                    <a:pt x="648" y="690"/>
                  </a:lnTo>
                  <a:lnTo>
                    <a:pt x="636" y="696"/>
                  </a:lnTo>
                  <a:lnTo>
                    <a:pt x="630" y="696"/>
                  </a:lnTo>
                  <a:lnTo>
                    <a:pt x="624" y="696"/>
                  </a:lnTo>
                  <a:lnTo>
                    <a:pt x="618" y="696"/>
                  </a:lnTo>
                  <a:lnTo>
                    <a:pt x="612" y="696"/>
                  </a:lnTo>
                  <a:lnTo>
                    <a:pt x="594" y="696"/>
                  </a:lnTo>
                  <a:lnTo>
                    <a:pt x="588" y="696"/>
                  </a:lnTo>
                  <a:lnTo>
                    <a:pt x="582" y="696"/>
                  </a:lnTo>
                  <a:lnTo>
                    <a:pt x="570" y="702"/>
                  </a:lnTo>
                  <a:lnTo>
                    <a:pt x="564" y="702"/>
                  </a:lnTo>
                  <a:lnTo>
                    <a:pt x="558" y="702"/>
                  </a:lnTo>
                  <a:lnTo>
                    <a:pt x="552" y="702"/>
                  </a:lnTo>
                  <a:lnTo>
                    <a:pt x="552" y="696"/>
                  </a:lnTo>
                  <a:lnTo>
                    <a:pt x="546" y="696"/>
                  </a:lnTo>
                  <a:lnTo>
                    <a:pt x="546" y="690"/>
                  </a:lnTo>
                  <a:lnTo>
                    <a:pt x="552" y="684"/>
                  </a:lnTo>
                  <a:lnTo>
                    <a:pt x="552" y="678"/>
                  </a:lnTo>
                  <a:lnTo>
                    <a:pt x="558" y="672"/>
                  </a:lnTo>
                  <a:lnTo>
                    <a:pt x="558" y="666"/>
                  </a:lnTo>
                  <a:lnTo>
                    <a:pt x="564" y="666"/>
                  </a:lnTo>
                  <a:lnTo>
                    <a:pt x="570" y="666"/>
                  </a:lnTo>
                  <a:lnTo>
                    <a:pt x="570" y="654"/>
                  </a:lnTo>
                  <a:lnTo>
                    <a:pt x="570" y="648"/>
                  </a:lnTo>
                  <a:lnTo>
                    <a:pt x="582" y="642"/>
                  </a:lnTo>
                  <a:lnTo>
                    <a:pt x="582" y="636"/>
                  </a:lnTo>
                  <a:lnTo>
                    <a:pt x="588" y="636"/>
                  </a:lnTo>
                  <a:lnTo>
                    <a:pt x="588" y="630"/>
                  </a:lnTo>
                  <a:lnTo>
                    <a:pt x="594" y="624"/>
                  </a:lnTo>
                  <a:lnTo>
                    <a:pt x="594" y="618"/>
                  </a:lnTo>
                  <a:lnTo>
                    <a:pt x="600" y="618"/>
                  </a:lnTo>
                  <a:lnTo>
                    <a:pt x="600" y="612"/>
                  </a:lnTo>
                  <a:lnTo>
                    <a:pt x="606" y="612"/>
                  </a:lnTo>
                  <a:lnTo>
                    <a:pt x="606" y="618"/>
                  </a:lnTo>
                  <a:lnTo>
                    <a:pt x="612" y="618"/>
                  </a:lnTo>
                  <a:lnTo>
                    <a:pt x="618" y="618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18" y="636"/>
                  </a:lnTo>
                  <a:lnTo>
                    <a:pt x="618" y="642"/>
                  </a:lnTo>
                  <a:lnTo>
                    <a:pt x="618" y="648"/>
                  </a:lnTo>
                  <a:lnTo>
                    <a:pt x="624" y="648"/>
                  </a:lnTo>
                  <a:lnTo>
                    <a:pt x="630" y="648"/>
                  </a:lnTo>
                  <a:lnTo>
                    <a:pt x="636" y="654"/>
                  </a:lnTo>
                  <a:lnTo>
                    <a:pt x="642" y="654"/>
                  </a:lnTo>
                  <a:lnTo>
                    <a:pt x="642" y="66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0" name="Freeform 5">
              <a:extLst>
                <a:ext uri="{FF2B5EF4-FFF2-40B4-BE49-F238E27FC236}">
                  <a16:creationId xmlns:a16="http://schemas.microsoft.com/office/drawing/2014/main" id="{5577BDCA-F2C7-42E0-A391-018D79AA29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0384" y="4231013"/>
              <a:ext cx="404750" cy="480848"/>
            </a:xfrm>
            <a:custGeom>
              <a:avLst/>
              <a:gdLst>
                <a:gd name="T0" fmla="*/ 9 w 762"/>
                <a:gd name="T1" fmla="*/ 58 h 900"/>
                <a:gd name="T2" fmla="*/ 4 w 762"/>
                <a:gd name="T3" fmla="*/ 56 h 900"/>
                <a:gd name="T4" fmla="*/ 0 w 762"/>
                <a:gd name="T5" fmla="*/ 49 h 900"/>
                <a:gd name="T6" fmla="*/ 4 w 762"/>
                <a:gd name="T7" fmla="*/ 36 h 900"/>
                <a:gd name="T8" fmla="*/ 8 w 762"/>
                <a:gd name="T9" fmla="*/ 28 h 900"/>
                <a:gd name="T10" fmla="*/ 7 w 762"/>
                <a:gd name="T11" fmla="*/ 13 h 900"/>
                <a:gd name="T12" fmla="*/ 15 w 762"/>
                <a:gd name="T13" fmla="*/ 0 h 900"/>
                <a:gd name="T14" fmla="*/ 16 w 762"/>
                <a:gd name="T15" fmla="*/ 13 h 900"/>
                <a:gd name="T16" fmla="*/ 31 w 762"/>
                <a:gd name="T17" fmla="*/ 28 h 900"/>
                <a:gd name="T18" fmla="*/ 49 w 762"/>
                <a:gd name="T19" fmla="*/ 33 h 900"/>
                <a:gd name="T20" fmla="*/ 42 w 762"/>
                <a:gd name="T21" fmla="*/ 48 h 900"/>
                <a:gd name="T22" fmla="*/ 51 w 762"/>
                <a:gd name="T23" fmla="*/ 48 h 900"/>
                <a:gd name="T24" fmla="*/ 61 w 762"/>
                <a:gd name="T25" fmla="*/ 51 h 900"/>
                <a:gd name="T26" fmla="*/ 63 w 762"/>
                <a:gd name="T27" fmla="*/ 60 h 900"/>
                <a:gd name="T28" fmla="*/ 63 w 762"/>
                <a:gd name="T29" fmla="*/ 66 h 900"/>
                <a:gd name="T30" fmla="*/ 65 w 762"/>
                <a:gd name="T31" fmla="*/ 69 h 900"/>
                <a:gd name="T32" fmla="*/ 66 w 762"/>
                <a:gd name="T33" fmla="*/ 72 h 900"/>
                <a:gd name="T34" fmla="*/ 56 w 762"/>
                <a:gd name="T35" fmla="*/ 73 h 900"/>
                <a:gd name="T36" fmla="*/ 55 w 762"/>
                <a:gd name="T37" fmla="*/ 69 h 900"/>
                <a:gd name="T38" fmla="*/ 57 w 762"/>
                <a:gd name="T39" fmla="*/ 67 h 900"/>
                <a:gd name="T40" fmla="*/ 55 w 762"/>
                <a:gd name="T41" fmla="*/ 65 h 900"/>
                <a:gd name="T42" fmla="*/ 53 w 762"/>
                <a:gd name="T43" fmla="*/ 68 h 900"/>
                <a:gd name="T44" fmla="*/ 49 w 762"/>
                <a:gd name="T45" fmla="*/ 68 h 900"/>
                <a:gd name="T46" fmla="*/ 44 w 762"/>
                <a:gd name="T47" fmla="*/ 63 h 900"/>
                <a:gd name="T48" fmla="*/ 40 w 762"/>
                <a:gd name="T49" fmla="*/ 59 h 900"/>
                <a:gd name="T50" fmla="*/ 38 w 762"/>
                <a:gd name="T51" fmla="*/ 57 h 900"/>
                <a:gd name="T52" fmla="*/ 43 w 762"/>
                <a:gd name="T53" fmla="*/ 62 h 900"/>
                <a:gd name="T54" fmla="*/ 43 w 762"/>
                <a:gd name="T55" fmla="*/ 66 h 900"/>
                <a:gd name="T56" fmla="*/ 41 w 762"/>
                <a:gd name="T57" fmla="*/ 71 h 900"/>
                <a:gd name="T58" fmla="*/ 37 w 762"/>
                <a:gd name="T59" fmla="*/ 69 h 900"/>
                <a:gd name="T60" fmla="*/ 35 w 762"/>
                <a:gd name="T61" fmla="*/ 64 h 900"/>
                <a:gd name="T62" fmla="*/ 31 w 762"/>
                <a:gd name="T63" fmla="*/ 57 h 900"/>
                <a:gd name="T64" fmla="*/ 30 w 762"/>
                <a:gd name="T65" fmla="*/ 62 h 900"/>
                <a:gd name="T66" fmla="*/ 29 w 762"/>
                <a:gd name="T67" fmla="*/ 61 h 900"/>
                <a:gd name="T68" fmla="*/ 31 w 762"/>
                <a:gd name="T69" fmla="*/ 66 h 900"/>
                <a:gd name="T70" fmla="*/ 33 w 762"/>
                <a:gd name="T71" fmla="*/ 72 h 900"/>
                <a:gd name="T72" fmla="*/ 32 w 762"/>
                <a:gd name="T73" fmla="*/ 76 h 900"/>
                <a:gd name="T74" fmla="*/ 28 w 762"/>
                <a:gd name="T75" fmla="*/ 75 h 900"/>
                <a:gd name="T76" fmla="*/ 24 w 762"/>
                <a:gd name="T77" fmla="*/ 69 h 900"/>
                <a:gd name="T78" fmla="*/ 24 w 762"/>
                <a:gd name="T79" fmla="*/ 62 h 900"/>
                <a:gd name="T80" fmla="*/ 23 w 762"/>
                <a:gd name="T81" fmla="*/ 62 h 900"/>
                <a:gd name="T82" fmla="*/ 23 w 762"/>
                <a:gd name="T83" fmla="*/ 68 h 900"/>
                <a:gd name="T84" fmla="*/ 25 w 762"/>
                <a:gd name="T85" fmla="*/ 77 h 900"/>
                <a:gd name="T86" fmla="*/ 17 w 762"/>
                <a:gd name="T87" fmla="*/ 74 h 900"/>
                <a:gd name="T88" fmla="*/ 17 w 762"/>
                <a:gd name="T89" fmla="*/ 67 h 900"/>
                <a:gd name="T90" fmla="*/ 16 w 762"/>
                <a:gd name="T91" fmla="*/ 67 h 900"/>
                <a:gd name="T92" fmla="*/ 15 w 762"/>
                <a:gd name="T93" fmla="*/ 71 h 900"/>
                <a:gd name="T94" fmla="*/ 12 w 762"/>
                <a:gd name="T95" fmla="*/ 68 h 900"/>
                <a:gd name="T96" fmla="*/ 15 w 762"/>
                <a:gd name="T97" fmla="*/ 72 h 900"/>
                <a:gd name="T98" fmla="*/ 17 w 762"/>
                <a:gd name="T99" fmla="*/ 77 h 900"/>
                <a:gd name="T100" fmla="*/ 11 w 762"/>
                <a:gd name="T101" fmla="*/ 77 h 900"/>
                <a:gd name="T102" fmla="*/ 10 w 762"/>
                <a:gd name="T103" fmla="*/ 69 h 900"/>
                <a:gd name="T104" fmla="*/ 11 w 762"/>
                <a:gd name="T105" fmla="*/ 72 h 900"/>
                <a:gd name="T106" fmla="*/ 9 w 762"/>
                <a:gd name="T107" fmla="*/ 78 h 900"/>
                <a:gd name="T108" fmla="*/ 43 w 762"/>
                <a:gd name="T109" fmla="*/ 71 h 900"/>
                <a:gd name="T110" fmla="*/ 51 w 762"/>
                <a:gd name="T111" fmla="*/ 69 h 900"/>
                <a:gd name="T112" fmla="*/ 43 w 762"/>
                <a:gd name="T113" fmla="*/ 76 h 900"/>
                <a:gd name="T114" fmla="*/ 36 w 762"/>
                <a:gd name="T115" fmla="*/ 65 h 900"/>
                <a:gd name="T116" fmla="*/ 38 w 762"/>
                <a:gd name="T117" fmla="*/ 72 h 900"/>
                <a:gd name="T118" fmla="*/ 34 w 762"/>
                <a:gd name="T119" fmla="*/ 69 h 900"/>
                <a:gd name="T120" fmla="*/ 29 w 762"/>
                <a:gd name="T121" fmla="*/ 64 h 900"/>
                <a:gd name="T122" fmla="*/ 32 w 762"/>
                <a:gd name="T123" fmla="*/ 66 h 9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900"/>
                <a:gd name="T188" fmla="*/ 762 w 762"/>
                <a:gd name="T189" fmla="*/ 900 h 90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900">
                  <a:moveTo>
                    <a:pt x="90" y="768"/>
                  </a:moveTo>
                  <a:lnTo>
                    <a:pt x="102" y="756"/>
                  </a:lnTo>
                  <a:lnTo>
                    <a:pt x="102" y="750"/>
                  </a:lnTo>
                  <a:lnTo>
                    <a:pt x="90" y="744"/>
                  </a:lnTo>
                  <a:lnTo>
                    <a:pt x="84" y="738"/>
                  </a:lnTo>
                  <a:lnTo>
                    <a:pt x="90" y="726"/>
                  </a:lnTo>
                  <a:lnTo>
                    <a:pt x="84" y="720"/>
                  </a:lnTo>
                  <a:lnTo>
                    <a:pt x="78" y="720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72" y="702"/>
                  </a:lnTo>
                  <a:lnTo>
                    <a:pt x="72" y="696"/>
                  </a:lnTo>
                  <a:lnTo>
                    <a:pt x="84" y="684"/>
                  </a:lnTo>
                  <a:lnTo>
                    <a:pt x="96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102" y="654"/>
                  </a:lnTo>
                  <a:lnTo>
                    <a:pt x="108" y="654"/>
                  </a:lnTo>
                  <a:lnTo>
                    <a:pt x="114" y="648"/>
                  </a:lnTo>
                  <a:lnTo>
                    <a:pt x="120" y="642"/>
                  </a:lnTo>
                  <a:lnTo>
                    <a:pt x="120" y="636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14" y="618"/>
                  </a:lnTo>
                  <a:lnTo>
                    <a:pt x="102" y="618"/>
                  </a:lnTo>
                  <a:lnTo>
                    <a:pt x="90" y="618"/>
                  </a:lnTo>
                  <a:lnTo>
                    <a:pt x="78" y="624"/>
                  </a:lnTo>
                  <a:lnTo>
                    <a:pt x="72" y="630"/>
                  </a:lnTo>
                  <a:lnTo>
                    <a:pt x="54" y="642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42" y="642"/>
                  </a:lnTo>
                  <a:lnTo>
                    <a:pt x="42" y="636"/>
                  </a:lnTo>
                  <a:lnTo>
                    <a:pt x="36" y="636"/>
                  </a:lnTo>
                  <a:lnTo>
                    <a:pt x="30" y="642"/>
                  </a:lnTo>
                  <a:lnTo>
                    <a:pt x="30" y="636"/>
                  </a:lnTo>
                  <a:lnTo>
                    <a:pt x="30" y="630"/>
                  </a:lnTo>
                  <a:lnTo>
                    <a:pt x="24" y="630"/>
                  </a:lnTo>
                  <a:lnTo>
                    <a:pt x="30" y="624"/>
                  </a:lnTo>
                  <a:lnTo>
                    <a:pt x="30" y="618"/>
                  </a:lnTo>
                  <a:lnTo>
                    <a:pt x="30" y="612"/>
                  </a:lnTo>
                  <a:lnTo>
                    <a:pt x="36" y="612"/>
                  </a:lnTo>
                  <a:lnTo>
                    <a:pt x="36" y="606"/>
                  </a:lnTo>
                  <a:lnTo>
                    <a:pt x="30" y="606"/>
                  </a:lnTo>
                  <a:lnTo>
                    <a:pt x="24" y="612"/>
                  </a:lnTo>
                  <a:lnTo>
                    <a:pt x="18" y="606"/>
                  </a:lnTo>
                  <a:lnTo>
                    <a:pt x="12" y="594"/>
                  </a:lnTo>
                  <a:lnTo>
                    <a:pt x="6" y="582"/>
                  </a:lnTo>
                  <a:lnTo>
                    <a:pt x="6" y="570"/>
                  </a:lnTo>
                  <a:lnTo>
                    <a:pt x="0" y="558"/>
                  </a:lnTo>
                  <a:lnTo>
                    <a:pt x="6" y="552"/>
                  </a:lnTo>
                  <a:lnTo>
                    <a:pt x="6" y="534"/>
                  </a:lnTo>
                  <a:lnTo>
                    <a:pt x="18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12" y="480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54" y="408"/>
                  </a:lnTo>
                  <a:lnTo>
                    <a:pt x="54" y="396"/>
                  </a:lnTo>
                  <a:lnTo>
                    <a:pt x="54" y="384"/>
                  </a:lnTo>
                  <a:lnTo>
                    <a:pt x="60" y="378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66"/>
                  </a:lnTo>
                  <a:lnTo>
                    <a:pt x="60" y="360"/>
                  </a:lnTo>
                  <a:lnTo>
                    <a:pt x="66" y="360"/>
                  </a:lnTo>
                  <a:lnTo>
                    <a:pt x="72" y="354"/>
                  </a:lnTo>
                  <a:lnTo>
                    <a:pt x="78" y="354"/>
                  </a:lnTo>
                  <a:lnTo>
                    <a:pt x="84" y="348"/>
                  </a:lnTo>
                  <a:lnTo>
                    <a:pt x="96" y="348"/>
                  </a:lnTo>
                  <a:lnTo>
                    <a:pt x="96" y="342"/>
                  </a:lnTo>
                  <a:lnTo>
                    <a:pt x="96" y="336"/>
                  </a:lnTo>
                  <a:lnTo>
                    <a:pt x="96" y="330"/>
                  </a:lnTo>
                  <a:lnTo>
                    <a:pt x="96" y="324"/>
                  </a:lnTo>
                  <a:lnTo>
                    <a:pt x="102" y="318"/>
                  </a:lnTo>
                  <a:lnTo>
                    <a:pt x="108" y="312"/>
                  </a:lnTo>
                  <a:lnTo>
                    <a:pt x="96" y="306"/>
                  </a:lnTo>
                  <a:lnTo>
                    <a:pt x="84" y="288"/>
                  </a:lnTo>
                  <a:lnTo>
                    <a:pt x="108" y="258"/>
                  </a:lnTo>
                  <a:lnTo>
                    <a:pt x="102" y="222"/>
                  </a:lnTo>
                  <a:lnTo>
                    <a:pt x="84" y="222"/>
                  </a:lnTo>
                  <a:lnTo>
                    <a:pt x="54" y="216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2"/>
                  </a:lnTo>
                  <a:lnTo>
                    <a:pt x="72" y="192"/>
                  </a:lnTo>
                  <a:lnTo>
                    <a:pt x="84" y="186"/>
                  </a:lnTo>
                  <a:lnTo>
                    <a:pt x="90" y="186"/>
                  </a:lnTo>
                  <a:lnTo>
                    <a:pt x="90" y="174"/>
                  </a:lnTo>
                  <a:lnTo>
                    <a:pt x="84" y="162"/>
                  </a:lnTo>
                  <a:lnTo>
                    <a:pt x="84" y="150"/>
                  </a:lnTo>
                  <a:lnTo>
                    <a:pt x="84" y="126"/>
                  </a:lnTo>
                  <a:lnTo>
                    <a:pt x="84" y="114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8" y="96"/>
                  </a:lnTo>
                  <a:lnTo>
                    <a:pt x="120" y="90"/>
                  </a:lnTo>
                  <a:lnTo>
                    <a:pt x="126" y="78"/>
                  </a:lnTo>
                  <a:lnTo>
                    <a:pt x="138" y="66"/>
                  </a:lnTo>
                  <a:lnTo>
                    <a:pt x="138" y="48"/>
                  </a:lnTo>
                  <a:lnTo>
                    <a:pt x="138" y="42"/>
                  </a:lnTo>
                  <a:lnTo>
                    <a:pt x="126" y="30"/>
                  </a:lnTo>
                  <a:lnTo>
                    <a:pt x="120" y="18"/>
                  </a:lnTo>
                  <a:lnTo>
                    <a:pt x="132" y="12"/>
                  </a:lnTo>
                  <a:lnTo>
                    <a:pt x="144" y="0"/>
                  </a:lnTo>
                  <a:lnTo>
                    <a:pt x="150" y="6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6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74" y="66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68" y="72"/>
                  </a:lnTo>
                  <a:lnTo>
                    <a:pt x="156" y="150"/>
                  </a:lnTo>
                  <a:lnTo>
                    <a:pt x="168" y="144"/>
                  </a:lnTo>
                  <a:lnTo>
                    <a:pt x="180" y="150"/>
                  </a:lnTo>
                  <a:lnTo>
                    <a:pt x="186" y="150"/>
                  </a:lnTo>
                  <a:lnTo>
                    <a:pt x="186" y="144"/>
                  </a:lnTo>
                  <a:lnTo>
                    <a:pt x="192" y="150"/>
                  </a:lnTo>
                  <a:lnTo>
                    <a:pt x="222" y="150"/>
                  </a:lnTo>
                  <a:lnTo>
                    <a:pt x="222" y="168"/>
                  </a:lnTo>
                  <a:lnTo>
                    <a:pt x="222" y="186"/>
                  </a:lnTo>
                  <a:lnTo>
                    <a:pt x="234" y="198"/>
                  </a:lnTo>
                  <a:lnTo>
                    <a:pt x="234" y="234"/>
                  </a:lnTo>
                  <a:lnTo>
                    <a:pt x="228" y="270"/>
                  </a:lnTo>
                  <a:lnTo>
                    <a:pt x="246" y="282"/>
                  </a:lnTo>
                  <a:lnTo>
                    <a:pt x="258" y="294"/>
                  </a:lnTo>
                  <a:lnTo>
                    <a:pt x="270" y="300"/>
                  </a:lnTo>
                  <a:lnTo>
                    <a:pt x="294" y="300"/>
                  </a:lnTo>
                  <a:lnTo>
                    <a:pt x="288" y="306"/>
                  </a:lnTo>
                  <a:lnTo>
                    <a:pt x="300" y="312"/>
                  </a:lnTo>
                  <a:lnTo>
                    <a:pt x="306" y="318"/>
                  </a:lnTo>
                  <a:lnTo>
                    <a:pt x="324" y="324"/>
                  </a:lnTo>
                  <a:lnTo>
                    <a:pt x="354" y="318"/>
                  </a:lnTo>
                  <a:lnTo>
                    <a:pt x="354" y="312"/>
                  </a:lnTo>
                  <a:lnTo>
                    <a:pt x="366" y="312"/>
                  </a:lnTo>
                  <a:lnTo>
                    <a:pt x="384" y="312"/>
                  </a:lnTo>
                  <a:lnTo>
                    <a:pt x="390" y="306"/>
                  </a:lnTo>
                  <a:lnTo>
                    <a:pt x="396" y="306"/>
                  </a:lnTo>
                  <a:lnTo>
                    <a:pt x="408" y="306"/>
                  </a:lnTo>
                  <a:lnTo>
                    <a:pt x="426" y="312"/>
                  </a:lnTo>
                  <a:lnTo>
                    <a:pt x="456" y="324"/>
                  </a:lnTo>
                  <a:lnTo>
                    <a:pt x="504" y="330"/>
                  </a:lnTo>
                  <a:lnTo>
                    <a:pt x="510" y="336"/>
                  </a:lnTo>
                  <a:lnTo>
                    <a:pt x="534" y="336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58" y="330"/>
                  </a:lnTo>
                  <a:lnTo>
                    <a:pt x="564" y="330"/>
                  </a:lnTo>
                  <a:lnTo>
                    <a:pt x="570" y="354"/>
                  </a:lnTo>
                  <a:lnTo>
                    <a:pt x="564" y="378"/>
                  </a:lnTo>
                  <a:lnTo>
                    <a:pt x="558" y="396"/>
                  </a:lnTo>
                  <a:lnTo>
                    <a:pt x="546" y="414"/>
                  </a:lnTo>
                  <a:lnTo>
                    <a:pt x="546" y="438"/>
                  </a:lnTo>
                  <a:lnTo>
                    <a:pt x="540" y="456"/>
                  </a:lnTo>
                  <a:lnTo>
                    <a:pt x="540" y="474"/>
                  </a:lnTo>
                  <a:lnTo>
                    <a:pt x="528" y="480"/>
                  </a:lnTo>
                  <a:lnTo>
                    <a:pt x="522" y="492"/>
                  </a:lnTo>
                  <a:lnTo>
                    <a:pt x="504" y="498"/>
                  </a:lnTo>
                  <a:lnTo>
                    <a:pt x="498" y="498"/>
                  </a:lnTo>
                  <a:lnTo>
                    <a:pt x="492" y="504"/>
                  </a:lnTo>
                  <a:lnTo>
                    <a:pt x="486" y="510"/>
                  </a:lnTo>
                  <a:lnTo>
                    <a:pt x="480" y="510"/>
                  </a:lnTo>
                  <a:lnTo>
                    <a:pt x="480" y="516"/>
                  </a:lnTo>
                  <a:lnTo>
                    <a:pt x="474" y="522"/>
                  </a:lnTo>
                  <a:lnTo>
                    <a:pt x="474" y="528"/>
                  </a:lnTo>
                  <a:lnTo>
                    <a:pt x="474" y="534"/>
                  </a:lnTo>
                  <a:lnTo>
                    <a:pt x="480" y="540"/>
                  </a:lnTo>
                  <a:lnTo>
                    <a:pt x="492" y="540"/>
                  </a:lnTo>
                  <a:lnTo>
                    <a:pt x="498" y="546"/>
                  </a:lnTo>
                  <a:lnTo>
                    <a:pt x="504" y="552"/>
                  </a:lnTo>
                  <a:lnTo>
                    <a:pt x="510" y="552"/>
                  </a:lnTo>
                  <a:lnTo>
                    <a:pt x="516" y="558"/>
                  </a:lnTo>
                  <a:lnTo>
                    <a:pt x="528" y="558"/>
                  </a:lnTo>
                  <a:lnTo>
                    <a:pt x="534" y="552"/>
                  </a:lnTo>
                  <a:lnTo>
                    <a:pt x="540" y="552"/>
                  </a:lnTo>
                  <a:lnTo>
                    <a:pt x="546" y="552"/>
                  </a:lnTo>
                  <a:lnTo>
                    <a:pt x="558" y="546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70" y="546"/>
                  </a:lnTo>
                  <a:lnTo>
                    <a:pt x="570" y="540"/>
                  </a:lnTo>
                  <a:lnTo>
                    <a:pt x="570" y="546"/>
                  </a:lnTo>
                  <a:lnTo>
                    <a:pt x="576" y="546"/>
                  </a:lnTo>
                  <a:lnTo>
                    <a:pt x="582" y="546"/>
                  </a:lnTo>
                  <a:lnTo>
                    <a:pt x="588" y="540"/>
                  </a:lnTo>
                  <a:lnTo>
                    <a:pt x="594" y="546"/>
                  </a:lnTo>
                  <a:lnTo>
                    <a:pt x="606" y="546"/>
                  </a:lnTo>
                  <a:lnTo>
                    <a:pt x="612" y="546"/>
                  </a:lnTo>
                  <a:lnTo>
                    <a:pt x="612" y="552"/>
                  </a:lnTo>
                  <a:lnTo>
                    <a:pt x="618" y="552"/>
                  </a:lnTo>
                  <a:lnTo>
                    <a:pt x="624" y="552"/>
                  </a:lnTo>
                  <a:lnTo>
                    <a:pt x="630" y="552"/>
                  </a:lnTo>
                  <a:lnTo>
                    <a:pt x="648" y="546"/>
                  </a:lnTo>
                  <a:lnTo>
                    <a:pt x="654" y="546"/>
                  </a:lnTo>
                  <a:lnTo>
                    <a:pt x="654" y="552"/>
                  </a:lnTo>
                  <a:lnTo>
                    <a:pt x="660" y="558"/>
                  </a:lnTo>
                  <a:lnTo>
                    <a:pt x="666" y="564"/>
                  </a:lnTo>
                  <a:lnTo>
                    <a:pt x="672" y="564"/>
                  </a:lnTo>
                  <a:lnTo>
                    <a:pt x="678" y="564"/>
                  </a:lnTo>
                  <a:lnTo>
                    <a:pt x="696" y="576"/>
                  </a:lnTo>
                  <a:lnTo>
                    <a:pt x="696" y="582"/>
                  </a:lnTo>
                  <a:lnTo>
                    <a:pt x="708" y="588"/>
                  </a:lnTo>
                  <a:lnTo>
                    <a:pt x="708" y="594"/>
                  </a:lnTo>
                  <a:lnTo>
                    <a:pt x="720" y="606"/>
                  </a:lnTo>
                  <a:lnTo>
                    <a:pt x="720" y="618"/>
                  </a:lnTo>
                  <a:lnTo>
                    <a:pt x="720" y="624"/>
                  </a:lnTo>
                  <a:lnTo>
                    <a:pt x="726" y="630"/>
                  </a:lnTo>
                  <a:lnTo>
                    <a:pt x="732" y="636"/>
                  </a:lnTo>
                  <a:lnTo>
                    <a:pt x="732" y="642"/>
                  </a:lnTo>
                  <a:lnTo>
                    <a:pt x="732" y="648"/>
                  </a:lnTo>
                  <a:lnTo>
                    <a:pt x="726" y="654"/>
                  </a:lnTo>
                  <a:lnTo>
                    <a:pt x="720" y="660"/>
                  </a:lnTo>
                  <a:lnTo>
                    <a:pt x="714" y="666"/>
                  </a:lnTo>
                  <a:lnTo>
                    <a:pt x="714" y="672"/>
                  </a:lnTo>
                  <a:lnTo>
                    <a:pt x="714" y="678"/>
                  </a:lnTo>
                  <a:lnTo>
                    <a:pt x="720" y="678"/>
                  </a:lnTo>
                  <a:lnTo>
                    <a:pt x="720" y="684"/>
                  </a:lnTo>
                  <a:lnTo>
                    <a:pt x="714" y="690"/>
                  </a:lnTo>
                  <a:lnTo>
                    <a:pt x="714" y="696"/>
                  </a:lnTo>
                  <a:lnTo>
                    <a:pt x="714" y="702"/>
                  </a:lnTo>
                  <a:lnTo>
                    <a:pt x="714" y="708"/>
                  </a:lnTo>
                  <a:lnTo>
                    <a:pt x="720" y="708"/>
                  </a:lnTo>
                  <a:lnTo>
                    <a:pt x="720" y="720"/>
                  </a:lnTo>
                  <a:lnTo>
                    <a:pt x="720" y="726"/>
                  </a:lnTo>
                  <a:lnTo>
                    <a:pt x="726" y="726"/>
                  </a:lnTo>
                  <a:lnTo>
                    <a:pt x="726" y="732"/>
                  </a:lnTo>
                  <a:lnTo>
                    <a:pt x="732" y="732"/>
                  </a:lnTo>
                  <a:lnTo>
                    <a:pt x="732" y="738"/>
                  </a:lnTo>
                  <a:lnTo>
                    <a:pt x="726" y="738"/>
                  </a:lnTo>
                  <a:lnTo>
                    <a:pt x="720" y="738"/>
                  </a:lnTo>
                  <a:lnTo>
                    <a:pt x="720" y="744"/>
                  </a:lnTo>
                  <a:lnTo>
                    <a:pt x="720" y="750"/>
                  </a:lnTo>
                  <a:lnTo>
                    <a:pt x="714" y="750"/>
                  </a:lnTo>
                  <a:lnTo>
                    <a:pt x="714" y="756"/>
                  </a:lnTo>
                  <a:lnTo>
                    <a:pt x="720" y="756"/>
                  </a:lnTo>
                  <a:lnTo>
                    <a:pt x="714" y="762"/>
                  </a:lnTo>
                  <a:lnTo>
                    <a:pt x="720" y="762"/>
                  </a:lnTo>
                  <a:lnTo>
                    <a:pt x="726" y="768"/>
                  </a:lnTo>
                  <a:lnTo>
                    <a:pt x="726" y="774"/>
                  </a:lnTo>
                  <a:lnTo>
                    <a:pt x="732" y="774"/>
                  </a:lnTo>
                  <a:lnTo>
                    <a:pt x="732" y="780"/>
                  </a:lnTo>
                  <a:lnTo>
                    <a:pt x="726" y="780"/>
                  </a:lnTo>
                  <a:lnTo>
                    <a:pt x="726" y="786"/>
                  </a:lnTo>
                  <a:lnTo>
                    <a:pt x="720" y="786"/>
                  </a:lnTo>
                  <a:lnTo>
                    <a:pt x="726" y="786"/>
                  </a:lnTo>
                  <a:lnTo>
                    <a:pt x="732" y="780"/>
                  </a:lnTo>
                  <a:lnTo>
                    <a:pt x="738" y="780"/>
                  </a:lnTo>
                  <a:lnTo>
                    <a:pt x="744" y="780"/>
                  </a:lnTo>
                  <a:lnTo>
                    <a:pt x="744" y="786"/>
                  </a:lnTo>
                  <a:lnTo>
                    <a:pt x="750" y="786"/>
                  </a:lnTo>
                  <a:lnTo>
                    <a:pt x="744" y="786"/>
                  </a:lnTo>
                  <a:lnTo>
                    <a:pt x="744" y="792"/>
                  </a:lnTo>
                  <a:lnTo>
                    <a:pt x="744" y="786"/>
                  </a:lnTo>
                  <a:lnTo>
                    <a:pt x="738" y="792"/>
                  </a:lnTo>
                  <a:lnTo>
                    <a:pt x="744" y="792"/>
                  </a:lnTo>
                  <a:lnTo>
                    <a:pt x="750" y="792"/>
                  </a:lnTo>
                  <a:lnTo>
                    <a:pt x="750" y="786"/>
                  </a:lnTo>
                  <a:lnTo>
                    <a:pt x="756" y="786"/>
                  </a:lnTo>
                  <a:lnTo>
                    <a:pt x="756" y="792"/>
                  </a:lnTo>
                  <a:lnTo>
                    <a:pt x="762" y="792"/>
                  </a:lnTo>
                  <a:lnTo>
                    <a:pt x="756" y="798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0" y="810"/>
                  </a:lnTo>
                  <a:lnTo>
                    <a:pt x="756" y="810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6" y="816"/>
                  </a:lnTo>
                  <a:lnTo>
                    <a:pt x="750" y="816"/>
                  </a:lnTo>
                  <a:lnTo>
                    <a:pt x="738" y="810"/>
                  </a:lnTo>
                  <a:lnTo>
                    <a:pt x="732" y="810"/>
                  </a:lnTo>
                  <a:lnTo>
                    <a:pt x="732" y="816"/>
                  </a:lnTo>
                  <a:lnTo>
                    <a:pt x="726" y="810"/>
                  </a:lnTo>
                  <a:lnTo>
                    <a:pt x="714" y="816"/>
                  </a:lnTo>
                  <a:lnTo>
                    <a:pt x="708" y="816"/>
                  </a:lnTo>
                  <a:lnTo>
                    <a:pt x="702" y="816"/>
                  </a:lnTo>
                  <a:lnTo>
                    <a:pt x="696" y="816"/>
                  </a:lnTo>
                  <a:lnTo>
                    <a:pt x="690" y="822"/>
                  </a:lnTo>
                  <a:lnTo>
                    <a:pt x="684" y="822"/>
                  </a:lnTo>
                  <a:lnTo>
                    <a:pt x="678" y="822"/>
                  </a:lnTo>
                  <a:lnTo>
                    <a:pt x="672" y="822"/>
                  </a:lnTo>
                  <a:lnTo>
                    <a:pt x="666" y="822"/>
                  </a:lnTo>
                  <a:lnTo>
                    <a:pt x="666" y="828"/>
                  </a:lnTo>
                  <a:lnTo>
                    <a:pt x="654" y="828"/>
                  </a:lnTo>
                  <a:lnTo>
                    <a:pt x="648" y="828"/>
                  </a:lnTo>
                  <a:lnTo>
                    <a:pt x="642" y="828"/>
                  </a:lnTo>
                  <a:lnTo>
                    <a:pt x="630" y="828"/>
                  </a:lnTo>
                  <a:lnTo>
                    <a:pt x="624" y="822"/>
                  </a:lnTo>
                  <a:lnTo>
                    <a:pt x="618" y="822"/>
                  </a:lnTo>
                  <a:lnTo>
                    <a:pt x="612" y="822"/>
                  </a:lnTo>
                  <a:lnTo>
                    <a:pt x="606" y="822"/>
                  </a:lnTo>
                  <a:lnTo>
                    <a:pt x="600" y="822"/>
                  </a:lnTo>
                  <a:lnTo>
                    <a:pt x="594" y="822"/>
                  </a:lnTo>
                  <a:lnTo>
                    <a:pt x="594" y="816"/>
                  </a:lnTo>
                  <a:lnTo>
                    <a:pt x="594" y="810"/>
                  </a:lnTo>
                  <a:lnTo>
                    <a:pt x="600" y="804"/>
                  </a:lnTo>
                  <a:lnTo>
                    <a:pt x="600" y="798"/>
                  </a:lnTo>
                  <a:lnTo>
                    <a:pt x="600" y="792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2" y="786"/>
                  </a:lnTo>
                  <a:lnTo>
                    <a:pt x="618" y="786"/>
                  </a:lnTo>
                  <a:lnTo>
                    <a:pt x="624" y="786"/>
                  </a:lnTo>
                  <a:lnTo>
                    <a:pt x="624" y="780"/>
                  </a:lnTo>
                  <a:lnTo>
                    <a:pt x="630" y="780"/>
                  </a:lnTo>
                  <a:lnTo>
                    <a:pt x="630" y="774"/>
                  </a:lnTo>
                  <a:lnTo>
                    <a:pt x="636" y="774"/>
                  </a:lnTo>
                  <a:lnTo>
                    <a:pt x="642" y="780"/>
                  </a:lnTo>
                  <a:lnTo>
                    <a:pt x="642" y="786"/>
                  </a:lnTo>
                  <a:lnTo>
                    <a:pt x="642" y="792"/>
                  </a:lnTo>
                  <a:lnTo>
                    <a:pt x="648" y="792"/>
                  </a:lnTo>
                  <a:lnTo>
                    <a:pt x="648" y="786"/>
                  </a:lnTo>
                  <a:lnTo>
                    <a:pt x="642" y="786"/>
                  </a:lnTo>
                  <a:lnTo>
                    <a:pt x="642" y="780"/>
                  </a:lnTo>
                  <a:lnTo>
                    <a:pt x="642" y="774"/>
                  </a:lnTo>
                  <a:lnTo>
                    <a:pt x="648" y="768"/>
                  </a:lnTo>
                  <a:lnTo>
                    <a:pt x="642" y="768"/>
                  </a:lnTo>
                  <a:lnTo>
                    <a:pt x="648" y="768"/>
                  </a:lnTo>
                  <a:lnTo>
                    <a:pt x="648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66" y="762"/>
                  </a:lnTo>
                  <a:lnTo>
                    <a:pt x="672" y="756"/>
                  </a:lnTo>
                  <a:lnTo>
                    <a:pt x="666" y="756"/>
                  </a:lnTo>
                  <a:lnTo>
                    <a:pt x="660" y="756"/>
                  </a:lnTo>
                  <a:lnTo>
                    <a:pt x="660" y="750"/>
                  </a:lnTo>
                  <a:lnTo>
                    <a:pt x="654" y="750"/>
                  </a:lnTo>
                  <a:lnTo>
                    <a:pt x="648" y="750"/>
                  </a:lnTo>
                  <a:lnTo>
                    <a:pt x="648" y="756"/>
                  </a:lnTo>
                  <a:lnTo>
                    <a:pt x="642" y="756"/>
                  </a:lnTo>
                  <a:lnTo>
                    <a:pt x="642" y="750"/>
                  </a:lnTo>
                  <a:lnTo>
                    <a:pt x="642" y="744"/>
                  </a:lnTo>
                  <a:lnTo>
                    <a:pt x="642" y="750"/>
                  </a:lnTo>
                  <a:lnTo>
                    <a:pt x="636" y="750"/>
                  </a:lnTo>
                  <a:lnTo>
                    <a:pt x="636" y="744"/>
                  </a:lnTo>
                  <a:lnTo>
                    <a:pt x="630" y="744"/>
                  </a:lnTo>
                  <a:lnTo>
                    <a:pt x="630" y="738"/>
                  </a:lnTo>
                  <a:lnTo>
                    <a:pt x="630" y="744"/>
                  </a:lnTo>
                  <a:lnTo>
                    <a:pt x="630" y="750"/>
                  </a:lnTo>
                  <a:lnTo>
                    <a:pt x="636" y="750"/>
                  </a:lnTo>
                  <a:lnTo>
                    <a:pt x="636" y="756"/>
                  </a:lnTo>
                  <a:lnTo>
                    <a:pt x="630" y="756"/>
                  </a:lnTo>
                  <a:lnTo>
                    <a:pt x="636" y="762"/>
                  </a:lnTo>
                  <a:lnTo>
                    <a:pt x="630" y="762"/>
                  </a:lnTo>
                  <a:lnTo>
                    <a:pt x="624" y="762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24" y="786"/>
                  </a:lnTo>
                  <a:lnTo>
                    <a:pt x="618" y="786"/>
                  </a:lnTo>
                  <a:lnTo>
                    <a:pt x="618" y="78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12" y="774"/>
                  </a:lnTo>
                  <a:lnTo>
                    <a:pt x="612" y="780"/>
                  </a:lnTo>
                  <a:lnTo>
                    <a:pt x="606" y="780"/>
                  </a:lnTo>
                  <a:lnTo>
                    <a:pt x="600" y="780"/>
                  </a:lnTo>
                  <a:lnTo>
                    <a:pt x="600" y="774"/>
                  </a:lnTo>
                  <a:lnTo>
                    <a:pt x="594" y="768"/>
                  </a:lnTo>
                  <a:lnTo>
                    <a:pt x="594" y="762"/>
                  </a:lnTo>
                  <a:lnTo>
                    <a:pt x="594" y="756"/>
                  </a:lnTo>
                  <a:lnTo>
                    <a:pt x="594" y="762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594" y="780"/>
                  </a:lnTo>
                  <a:lnTo>
                    <a:pt x="588" y="780"/>
                  </a:lnTo>
                  <a:lnTo>
                    <a:pt x="582" y="780"/>
                  </a:lnTo>
                  <a:lnTo>
                    <a:pt x="576" y="780"/>
                  </a:lnTo>
                  <a:lnTo>
                    <a:pt x="570" y="780"/>
                  </a:lnTo>
                  <a:lnTo>
                    <a:pt x="564" y="780"/>
                  </a:lnTo>
                  <a:lnTo>
                    <a:pt x="564" y="786"/>
                  </a:lnTo>
                  <a:lnTo>
                    <a:pt x="558" y="786"/>
                  </a:lnTo>
                  <a:lnTo>
                    <a:pt x="552" y="786"/>
                  </a:lnTo>
                  <a:lnTo>
                    <a:pt x="552" y="780"/>
                  </a:lnTo>
                  <a:lnTo>
                    <a:pt x="552" y="774"/>
                  </a:lnTo>
                  <a:lnTo>
                    <a:pt x="552" y="768"/>
                  </a:lnTo>
                  <a:lnTo>
                    <a:pt x="546" y="768"/>
                  </a:lnTo>
                  <a:lnTo>
                    <a:pt x="540" y="762"/>
                  </a:lnTo>
                  <a:lnTo>
                    <a:pt x="540" y="756"/>
                  </a:lnTo>
                  <a:lnTo>
                    <a:pt x="534" y="756"/>
                  </a:lnTo>
                  <a:lnTo>
                    <a:pt x="534" y="750"/>
                  </a:lnTo>
                  <a:lnTo>
                    <a:pt x="534" y="744"/>
                  </a:lnTo>
                  <a:lnTo>
                    <a:pt x="528" y="738"/>
                  </a:lnTo>
                  <a:lnTo>
                    <a:pt x="522" y="738"/>
                  </a:lnTo>
                  <a:lnTo>
                    <a:pt x="522" y="732"/>
                  </a:lnTo>
                  <a:lnTo>
                    <a:pt x="510" y="726"/>
                  </a:lnTo>
                  <a:lnTo>
                    <a:pt x="510" y="720"/>
                  </a:lnTo>
                  <a:lnTo>
                    <a:pt x="504" y="720"/>
                  </a:lnTo>
                  <a:lnTo>
                    <a:pt x="504" y="714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8" y="702"/>
                  </a:lnTo>
                  <a:lnTo>
                    <a:pt x="498" y="696"/>
                  </a:lnTo>
                  <a:lnTo>
                    <a:pt x="492" y="690"/>
                  </a:lnTo>
                  <a:lnTo>
                    <a:pt x="492" y="684"/>
                  </a:lnTo>
                  <a:lnTo>
                    <a:pt x="486" y="684"/>
                  </a:lnTo>
                  <a:lnTo>
                    <a:pt x="486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74" y="678"/>
                  </a:lnTo>
                  <a:lnTo>
                    <a:pt x="468" y="678"/>
                  </a:lnTo>
                  <a:lnTo>
                    <a:pt x="462" y="678"/>
                  </a:lnTo>
                  <a:lnTo>
                    <a:pt x="462" y="672"/>
                  </a:lnTo>
                  <a:lnTo>
                    <a:pt x="456" y="672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44" y="666"/>
                  </a:lnTo>
                  <a:lnTo>
                    <a:pt x="438" y="660"/>
                  </a:lnTo>
                  <a:lnTo>
                    <a:pt x="438" y="648"/>
                  </a:lnTo>
                  <a:lnTo>
                    <a:pt x="438" y="642"/>
                  </a:lnTo>
                  <a:lnTo>
                    <a:pt x="438" y="636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36"/>
                  </a:lnTo>
                  <a:lnTo>
                    <a:pt x="420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60"/>
                  </a:lnTo>
                  <a:lnTo>
                    <a:pt x="432" y="666"/>
                  </a:lnTo>
                  <a:lnTo>
                    <a:pt x="438" y="666"/>
                  </a:lnTo>
                  <a:lnTo>
                    <a:pt x="438" y="672"/>
                  </a:lnTo>
                  <a:lnTo>
                    <a:pt x="444" y="672"/>
                  </a:lnTo>
                  <a:lnTo>
                    <a:pt x="444" y="678"/>
                  </a:lnTo>
                  <a:lnTo>
                    <a:pt x="450" y="678"/>
                  </a:lnTo>
                  <a:lnTo>
                    <a:pt x="456" y="678"/>
                  </a:lnTo>
                  <a:lnTo>
                    <a:pt x="456" y="684"/>
                  </a:lnTo>
                  <a:lnTo>
                    <a:pt x="462" y="684"/>
                  </a:lnTo>
                  <a:lnTo>
                    <a:pt x="468" y="684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80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86" y="708"/>
                  </a:lnTo>
                  <a:lnTo>
                    <a:pt x="492" y="714"/>
                  </a:lnTo>
                  <a:lnTo>
                    <a:pt x="492" y="720"/>
                  </a:lnTo>
                  <a:lnTo>
                    <a:pt x="492" y="726"/>
                  </a:lnTo>
                  <a:lnTo>
                    <a:pt x="498" y="732"/>
                  </a:lnTo>
                  <a:lnTo>
                    <a:pt x="492" y="738"/>
                  </a:lnTo>
                  <a:lnTo>
                    <a:pt x="492" y="744"/>
                  </a:lnTo>
                  <a:lnTo>
                    <a:pt x="492" y="750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68" y="738"/>
                  </a:lnTo>
                  <a:lnTo>
                    <a:pt x="468" y="744"/>
                  </a:lnTo>
                  <a:lnTo>
                    <a:pt x="474" y="750"/>
                  </a:lnTo>
                  <a:lnTo>
                    <a:pt x="480" y="756"/>
                  </a:lnTo>
                  <a:lnTo>
                    <a:pt x="486" y="756"/>
                  </a:lnTo>
                  <a:lnTo>
                    <a:pt x="492" y="762"/>
                  </a:lnTo>
                  <a:lnTo>
                    <a:pt x="498" y="768"/>
                  </a:lnTo>
                  <a:lnTo>
                    <a:pt x="492" y="774"/>
                  </a:lnTo>
                  <a:lnTo>
                    <a:pt x="492" y="780"/>
                  </a:lnTo>
                  <a:lnTo>
                    <a:pt x="498" y="780"/>
                  </a:lnTo>
                  <a:lnTo>
                    <a:pt x="492" y="786"/>
                  </a:lnTo>
                  <a:lnTo>
                    <a:pt x="492" y="792"/>
                  </a:lnTo>
                  <a:lnTo>
                    <a:pt x="492" y="79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0" y="810"/>
                  </a:lnTo>
                  <a:lnTo>
                    <a:pt x="480" y="804"/>
                  </a:lnTo>
                  <a:lnTo>
                    <a:pt x="474" y="804"/>
                  </a:lnTo>
                  <a:lnTo>
                    <a:pt x="474" y="798"/>
                  </a:lnTo>
                  <a:lnTo>
                    <a:pt x="474" y="804"/>
                  </a:lnTo>
                  <a:lnTo>
                    <a:pt x="468" y="804"/>
                  </a:lnTo>
                  <a:lnTo>
                    <a:pt x="468" y="810"/>
                  </a:lnTo>
                  <a:lnTo>
                    <a:pt x="462" y="810"/>
                  </a:lnTo>
                  <a:lnTo>
                    <a:pt x="456" y="810"/>
                  </a:lnTo>
                  <a:lnTo>
                    <a:pt x="450" y="810"/>
                  </a:lnTo>
                  <a:lnTo>
                    <a:pt x="450" y="816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50" y="822"/>
                  </a:lnTo>
                  <a:lnTo>
                    <a:pt x="450" y="816"/>
                  </a:lnTo>
                  <a:lnTo>
                    <a:pt x="444" y="816"/>
                  </a:lnTo>
                  <a:lnTo>
                    <a:pt x="438" y="810"/>
                  </a:lnTo>
                  <a:lnTo>
                    <a:pt x="432" y="810"/>
                  </a:lnTo>
                  <a:lnTo>
                    <a:pt x="426" y="804"/>
                  </a:lnTo>
                  <a:lnTo>
                    <a:pt x="426" y="798"/>
                  </a:lnTo>
                  <a:lnTo>
                    <a:pt x="420" y="798"/>
                  </a:lnTo>
                  <a:lnTo>
                    <a:pt x="426" y="798"/>
                  </a:lnTo>
                  <a:lnTo>
                    <a:pt x="426" y="792"/>
                  </a:lnTo>
                  <a:lnTo>
                    <a:pt x="426" y="786"/>
                  </a:lnTo>
                  <a:lnTo>
                    <a:pt x="432" y="786"/>
                  </a:lnTo>
                  <a:lnTo>
                    <a:pt x="432" y="780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0" y="756"/>
                  </a:lnTo>
                  <a:lnTo>
                    <a:pt x="420" y="750"/>
                  </a:lnTo>
                  <a:lnTo>
                    <a:pt x="414" y="750"/>
                  </a:lnTo>
                  <a:lnTo>
                    <a:pt x="420" y="750"/>
                  </a:lnTo>
                  <a:lnTo>
                    <a:pt x="420" y="744"/>
                  </a:lnTo>
                  <a:lnTo>
                    <a:pt x="414" y="744"/>
                  </a:lnTo>
                  <a:lnTo>
                    <a:pt x="414" y="738"/>
                  </a:lnTo>
                  <a:lnTo>
                    <a:pt x="414" y="732"/>
                  </a:lnTo>
                  <a:lnTo>
                    <a:pt x="408" y="732"/>
                  </a:lnTo>
                  <a:lnTo>
                    <a:pt x="408" y="726"/>
                  </a:lnTo>
                  <a:lnTo>
                    <a:pt x="402" y="726"/>
                  </a:lnTo>
                  <a:lnTo>
                    <a:pt x="396" y="726"/>
                  </a:lnTo>
                  <a:lnTo>
                    <a:pt x="390" y="726"/>
                  </a:lnTo>
                  <a:lnTo>
                    <a:pt x="390" y="720"/>
                  </a:lnTo>
                  <a:lnTo>
                    <a:pt x="390" y="714"/>
                  </a:lnTo>
                  <a:lnTo>
                    <a:pt x="384" y="708"/>
                  </a:lnTo>
                  <a:lnTo>
                    <a:pt x="384" y="702"/>
                  </a:lnTo>
                  <a:lnTo>
                    <a:pt x="378" y="702"/>
                  </a:lnTo>
                  <a:lnTo>
                    <a:pt x="378" y="696"/>
                  </a:lnTo>
                  <a:lnTo>
                    <a:pt x="378" y="690"/>
                  </a:lnTo>
                  <a:lnTo>
                    <a:pt x="372" y="684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66" y="666"/>
                  </a:lnTo>
                  <a:lnTo>
                    <a:pt x="366" y="660"/>
                  </a:lnTo>
                  <a:lnTo>
                    <a:pt x="366" y="654"/>
                  </a:lnTo>
                  <a:lnTo>
                    <a:pt x="360" y="648"/>
                  </a:lnTo>
                  <a:lnTo>
                    <a:pt x="360" y="654"/>
                  </a:lnTo>
                  <a:lnTo>
                    <a:pt x="360" y="660"/>
                  </a:lnTo>
                  <a:lnTo>
                    <a:pt x="360" y="666"/>
                  </a:lnTo>
                  <a:lnTo>
                    <a:pt x="360" y="672"/>
                  </a:lnTo>
                  <a:lnTo>
                    <a:pt x="360" y="678"/>
                  </a:lnTo>
                  <a:lnTo>
                    <a:pt x="366" y="678"/>
                  </a:lnTo>
                  <a:lnTo>
                    <a:pt x="366" y="684"/>
                  </a:lnTo>
                  <a:lnTo>
                    <a:pt x="366" y="690"/>
                  </a:lnTo>
                  <a:lnTo>
                    <a:pt x="372" y="696"/>
                  </a:lnTo>
                  <a:lnTo>
                    <a:pt x="372" y="702"/>
                  </a:lnTo>
                  <a:lnTo>
                    <a:pt x="372" y="708"/>
                  </a:lnTo>
                  <a:lnTo>
                    <a:pt x="372" y="714"/>
                  </a:lnTo>
                  <a:lnTo>
                    <a:pt x="366" y="714"/>
                  </a:lnTo>
                  <a:lnTo>
                    <a:pt x="360" y="714"/>
                  </a:lnTo>
                  <a:lnTo>
                    <a:pt x="354" y="714"/>
                  </a:lnTo>
                  <a:lnTo>
                    <a:pt x="348" y="714"/>
                  </a:lnTo>
                  <a:lnTo>
                    <a:pt x="348" y="708"/>
                  </a:lnTo>
                  <a:lnTo>
                    <a:pt x="342" y="708"/>
                  </a:lnTo>
                  <a:lnTo>
                    <a:pt x="342" y="702"/>
                  </a:lnTo>
                  <a:lnTo>
                    <a:pt x="342" y="696"/>
                  </a:lnTo>
                  <a:lnTo>
                    <a:pt x="336" y="696"/>
                  </a:lnTo>
                  <a:lnTo>
                    <a:pt x="336" y="690"/>
                  </a:lnTo>
                  <a:lnTo>
                    <a:pt x="336" y="684"/>
                  </a:lnTo>
                  <a:lnTo>
                    <a:pt x="330" y="684"/>
                  </a:lnTo>
                  <a:lnTo>
                    <a:pt x="330" y="678"/>
                  </a:lnTo>
                  <a:lnTo>
                    <a:pt x="324" y="672"/>
                  </a:lnTo>
                  <a:lnTo>
                    <a:pt x="324" y="666"/>
                  </a:lnTo>
                  <a:lnTo>
                    <a:pt x="318" y="666"/>
                  </a:lnTo>
                  <a:lnTo>
                    <a:pt x="318" y="672"/>
                  </a:lnTo>
                  <a:lnTo>
                    <a:pt x="324" y="672"/>
                  </a:lnTo>
                  <a:lnTo>
                    <a:pt x="324" y="678"/>
                  </a:lnTo>
                  <a:lnTo>
                    <a:pt x="324" y="684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30" y="696"/>
                  </a:lnTo>
                  <a:lnTo>
                    <a:pt x="336" y="702"/>
                  </a:lnTo>
                  <a:lnTo>
                    <a:pt x="342" y="708"/>
                  </a:lnTo>
                  <a:lnTo>
                    <a:pt x="342" y="714"/>
                  </a:lnTo>
                  <a:lnTo>
                    <a:pt x="348" y="720"/>
                  </a:lnTo>
                  <a:lnTo>
                    <a:pt x="342" y="720"/>
                  </a:lnTo>
                  <a:lnTo>
                    <a:pt x="336" y="720"/>
                  </a:lnTo>
                  <a:lnTo>
                    <a:pt x="330" y="720"/>
                  </a:lnTo>
                  <a:lnTo>
                    <a:pt x="330" y="726"/>
                  </a:lnTo>
                  <a:lnTo>
                    <a:pt x="336" y="726"/>
                  </a:lnTo>
                  <a:lnTo>
                    <a:pt x="330" y="732"/>
                  </a:lnTo>
                  <a:lnTo>
                    <a:pt x="330" y="738"/>
                  </a:lnTo>
                  <a:lnTo>
                    <a:pt x="330" y="744"/>
                  </a:lnTo>
                  <a:lnTo>
                    <a:pt x="336" y="744"/>
                  </a:lnTo>
                  <a:lnTo>
                    <a:pt x="342" y="744"/>
                  </a:lnTo>
                  <a:lnTo>
                    <a:pt x="348" y="744"/>
                  </a:lnTo>
                  <a:lnTo>
                    <a:pt x="348" y="750"/>
                  </a:lnTo>
                  <a:lnTo>
                    <a:pt x="354" y="750"/>
                  </a:lnTo>
                  <a:lnTo>
                    <a:pt x="360" y="756"/>
                  </a:lnTo>
                  <a:lnTo>
                    <a:pt x="360" y="762"/>
                  </a:lnTo>
                  <a:lnTo>
                    <a:pt x="366" y="762"/>
                  </a:lnTo>
                  <a:lnTo>
                    <a:pt x="366" y="768"/>
                  </a:lnTo>
                  <a:lnTo>
                    <a:pt x="366" y="774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72" y="792"/>
                  </a:lnTo>
                  <a:lnTo>
                    <a:pt x="372" y="798"/>
                  </a:lnTo>
                  <a:lnTo>
                    <a:pt x="372" y="804"/>
                  </a:lnTo>
                  <a:lnTo>
                    <a:pt x="378" y="804"/>
                  </a:lnTo>
                  <a:lnTo>
                    <a:pt x="378" y="810"/>
                  </a:lnTo>
                  <a:lnTo>
                    <a:pt x="378" y="816"/>
                  </a:lnTo>
                  <a:lnTo>
                    <a:pt x="372" y="816"/>
                  </a:lnTo>
                  <a:lnTo>
                    <a:pt x="378" y="816"/>
                  </a:lnTo>
                  <a:lnTo>
                    <a:pt x="378" y="822"/>
                  </a:lnTo>
                  <a:lnTo>
                    <a:pt x="378" y="828"/>
                  </a:lnTo>
                  <a:lnTo>
                    <a:pt x="378" y="834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0" y="864"/>
                  </a:lnTo>
                  <a:lnTo>
                    <a:pt x="384" y="864"/>
                  </a:lnTo>
                  <a:lnTo>
                    <a:pt x="384" y="870"/>
                  </a:lnTo>
                  <a:lnTo>
                    <a:pt x="378" y="864"/>
                  </a:lnTo>
                  <a:lnTo>
                    <a:pt x="372" y="864"/>
                  </a:lnTo>
                  <a:lnTo>
                    <a:pt x="366" y="858"/>
                  </a:lnTo>
                  <a:lnTo>
                    <a:pt x="366" y="852"/>
                  </a:lnTo>
                  <a:lnTo>
                    <a:pt x="360" y="852"/>
                  </a:lnTo>
                  <a:lnTo>
                    <a:pt x="360" y="858"/>
                  </a:lnTo>
                  <a:lnTo>
                    <a:pt x="366" y="858"/>
                  </a:lnTo>
                  <a:lnTo>
                    <a:pt x="366" y="864"/>
                  </a:lnTo>
                  <a:lnTo>
                    <a:pt x="360" y="864"/>
                  </a:lnTo>
                  <a:lnTo>
                    <a:pt x="354" y="864"/>
                  </a:lnTo>
                  <a:lnTo>
                    <a:pt x="354" y="870"/>
                  </a:lnTo>
                  <a:lnTo>
                    <a:pt x="354" y="864"/>
                  </a:lnTo>
                  <a:lnTo>
                    <a:pt x="348" y="864"/>
                  </a:lnTo>
                  <a:lnTo>
                    <a:pt x="342" y="864"/>
                  </a:lnTo>
                  <a:lnTo>
                    <a:pt x="342" y="858"/>
                  </a:lnTo>
                  <a:lnTo>
                    <a:pt x="336" y="858"/>
                  </a:lnTo>
                  <a:lnTo>
                    <a:pt x="330" y="858"/>
                  </a:lnTo>
                  <a:lnTo>
                    <a:pt x="324" y="858"/>
                  </a:lnTo>
                  <a:lnTo>
                    <a:pt x="318" y="858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0" y="852"/>
                  </a:lnTo>
                  <a:lnTo>
                    <a:pt x="294" y="852"/>
                  </a:lnTo>
                  <a:lnTo>
                    <a:pt x="294" y="846"/>
                  </a:lnTo>
                  <a:lnTo>
                    <a:pt x="288" y="840"/>
                  </a:lnTo>
                  <a:lnTo>
                    <a:pt x="288" y="828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2" y="816"/>
                  </a:lnTo>
                  <a:lnTo>
                    <a:pt x="282" y="810"/>
                  </a:lnTo>
                  <a:lnTo>
                    <a:pt x="276" y="810"/>
                  </a:lnTo>
                  <a:lnTo>
                    <a:pt x="276" y="804"/>
                  </a:lnTo>
                  <a:lnTo>
                    <a:pt x="276" y="798"/>
                  </a:lnTo>
                  <a:lnTo>
                    <a:pt x="276" y="792"/>
                  </a:lnTo>
                  <a:lnTo>
                    <a:pt x="270" y="786"/>
                  </a:lnTo>
                  <a:lnTo>
                    <a:pt x="270" y="780"/>
                  </a:lnTo>
                  <a:lnTo>
                    <a:pt x="270" y="774"/>
                  </a:lnTo>
                  <a:lnTo>
                    <a:pt x="264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64" y="750"/>
                  </a:lnTo>
                  <a:lnTo>
                    <a:pt x="264" y="744"/>
                  </a:lnTo>
                  <a:lnTo>
                    <a:pt x="264" y="738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26"/>
                  </a:lnTo>
                  <a:lnTo>
                    <a:pt x="276" y="720"/>
                  </a:lnTo>
                  <a:lnTo>
                    <a:pt x="282" y="720"/>
                  </a:lnTo>
                  <a:lnTo>
                    <a:pt x="282" y="714"/>
                  </a:lnTo>
                  <a:lnTo>
                    <a:pt x="282" y="708"/>
                  </a:lnTo>
                  <a:lnTo>
                    <a:pt x="276" y="708"/>
                  </a:lnTo>
                  <a:lnTo>
                    <a:pt x="276" y="702"/>
                  </a:lnTo>
                  <a:lnTo>
                    <a:pt x="270" y="702"/>
                  </a:lnTo>
                  <a:lnTo>
                    <a:pt x="270" y="696"/>
                  </a:lnTo>
                  <a:lnTo>
                    <a:pt x="264" y="690"/>
                  </a:lnTo>
                  <a:lnTo>
                    <a:pt x="258" y="690"/>
                  </a:lnTo>
                  <a:lnTo>
                    <a:pt x="258" y="684"/>
                  </a:lnTo>
                  <a:lnTo>
                    <a:pt x="252" y="684"/>
                  </a:lnTo>
                  <a:lnTo>
                    <a:pt x="252" y="678"/>
                  </a:lnTo>
                  <a:lnTo>
                    <a:pt x="246" y="678"/>
                  </a:lnTo>
                  <a:lnTo>
                    <a:pt x="240" y="678"/>
                  </a:lnTo>
                  <a:lnTo>
                    <a:pt x="240" y="684"/>
                  </a:lnTo>
                  <a:lnTo>
                    <a:pt x="246" y="684"/>
                  </a:lnTo>
                  <a:lnTo>
                    <a:pt x="252" y="690"/>
                  </a:lnTo>
                  <a:lnTo>
                    <a:pt x="258" y="690"/>
                  </a:lnTo>
                  <a:lnTo>
                    <a:pt x="258" y="696"/>
                  </a:lnTo>
                  <a:lnTo>
                    <a:pt x="258" y="702"/>
                  </a:lnTo>
                  <a:lnTo>
                    <a:pt x="264" y="702"/>
                  </a:lnTo>
                  <a:lnTo>
                    <a:pt x="270" y="708"/>
                  </a:lnTo>
                  <a:lnTo>
                    <a:pt x="270" y="714"/>
                  </a:lnTo>
                  <a:lnTo>
                    <a:pt x="270" y="720"/>
                  </a:lnTo>
                  <a:lnTo>
                    <a:pt x="276" y="720"/>
                  </a:lnTo>
                  <a:lnTo>
                    <a:pt x="270" y="720"/>
                  </a:lnTo>
                  <a:lnTo>
                    <a:pt x="270" y="726"/>
                  </a:lnTo>
                  <a:lnTo>
                    <a:pt x="264" y="726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52" y="738"/>
                  </a:lnTo>
                  <a:lnTo>
                    <a:pt x="252" y="744"/>
                  </a:lnTo>
                  <a:lnTo>
                    <a:pt x="252" y="750"/>
                  </a:lnTo>
                  <a:lnTo>
                    <a:pt x="252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58" y="774"/>
                  </a:lnTo>
                  <a:lnTo>
                    <a:pt x="258" y="780"/>
                  </a:lnTo>
                  <a:lnTo>
                    <a:pt x="264" y="786"/>
                  </a:lnTo>
                  <a:lnTo>
                    <a:pt x="264" y="792"/>
                  </a:lnTo>
                  <a:lnTo>
                    <a:pt x="264" y="798"/>
                  </a:lnTo>
                  <a:lnTo>
                    <a:pt x="270" y="810"/>
                  </a:lnTo>
                  <a:lnTo>
                    <a:pt x="270" y="816"/>
                  </a:lnTo>
                  <a:lnTo>
                    <a:pt x="270" y="822"/>
                  </a:lnTo>
                  <a:lnTo>
                    <a:pt x="276" y="822"/>
                  </a:lnTo>
                  <a:lnTo>
                    <a:pt x="276" y="828"/>
                  </a:lnTo>
                  <a:lnTo>
                    <a:pt x="276" y="834"/>
                  </a:lnTo>
                  <a:lnTo>
                    <a:pt x="276" y="840"/>
                  </a:lnTo>
                  <a:lnTo>
                    <a:pt x="276" y="846"/>
                  </a:lnTo>
                  <a:lnTo>
                    <a:pt x="282" y="852"/>
                  </a:lnTo>
                  <a:lnTo>
                    <a:pt x="282" y="858"/>
                  </a:lnTo>
                  <a:lnTo>
                    <a:pt x="294" y="864"/>
                  </a:lnTo>
                  <a:lnTo>
                    <a:pt x="300" y="870"/>
                  </a:lnTo>
                  <a:lnTo>
                    <a:pt x="300" y="876"/>
                  </a:lnTo>
                  <a:lnTo>
                    <a:pt x="288" y="876"/>
                  </a:lnTo>
                  <a:lnTo>
                    <a:pt x="282" y="876"/>
                  </a:lnTo>
                  <a:lnTo>
                    <a:pt x="276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2" y="882"/>
                  </a:lnTo>
                  <a:lnTo>
                    <a:pt x="246" y="882"/>
                  </a:lnTo>
                  <a:lnTo>
                    <a:pt x="240" y="882"/>
                  </a:lnTo>
                  <a:lnTo>
                    <a:pt x="234" y="882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204" y="876"/>
                  </a:lnTo>
                  <a:lnTo>
                    <a:pt x="198" y="876"/>
                  </a:lnTo>
                  <a:lnTo>
                    <a:pt x="198" y="870"/>
                  </a:lnTo>
                  <a:lnTo>
                    <a:pt x="198" y="852"/>
                  </a:lnTo>
                  <a:lnTo>
                    <a:pt x="198" y="846"/>
                  </a:lnTo>
                  <a:lnTo>
                    <a:pt x="204" y="846"/>
                  </a:lnTo>
                  <a:lnTo>
                    <a:pt x="198" y="840"/>
                  </a:lnTo>
                  <a:lnTo>
                    <a:pt x="198" y="834"/>
                  </a:lnTo>
                  <a:lnTo>
                    <a:pt x="198" y="828"/>
                  </a:lnTo>
                  <a:lnTo>
                    <a:pt x="198" y="822"/>
                  </a:lnTo>
                  <a:lnTo>
                    <a:pt x="198" y="816"/>
                  </a:lnTo>
                  <a:lnTo>
                    <a:pt x="198" y="810"/>
                  </a:lnTo>
                  <a:lnTo>
                    <a:pt x="192" y="810"/>
                  </a:lnTo>
                  <a:lnTo>
                    <a:pt x="192" y="804"/>
                  </a:lnTo>
                  <a:lnTo>
                    <a:pt x="192" y="798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2" y="774"/>
                  </a:lnTo>
                  <a:lnTo>
                    <a:pt x="192" y="768"/>
                  </a:lnTo>
                  <a:lnTo>
                    <a:pt x="198" y="768"/>
                  </a:lnTo>
                  <a:lnTo>
                    <a:pt x="198" y="762"/>
                  </a:lnTo>
                  <a:lnTo>
                    <a:pt x="198" y="756"/>
                  </a:lnTo>
                  <a:lnTo>
                    <a:pt x="204" y="756"/>
                  </a:lnTo>
                  <a:lnTo>
                    <a:pt x="204" y="750"/>
                  </a:lnTo>
                  <a:lnTo>
                    <a:pt x="210" y="744"/>
                  </a:lnTo>
                  <a:lnTo>
                    <a:pt x="210" y="738"/>
                  </a:lnTo>
                  <a:lnTo>
                    <a:pt x="210" y="732"/>
                  </a:lnTo>
                  <a:lnTo>
                    <a:pt x="210" y="726"/>
                  </a:lnTo>
                  <a:lnTo>
                    <a:pt x="210" y="720"/>
                  </a:lnTo>
                  <a:lnTo>
                    <a:pt x="204" y="714"/>
                  </a:lnTo>
                  <a:lnTo>
                    <a:pt x="204" y="720"/>
                  </a:lnTo>
                  <a:lnTo>
                    <a:pt x="204" y="732"/>
                  </a:lnTo>
                  <a:lnTo>
                    <a:pt x="204" y="738"/>
                  </a:lnTo>
                  <a:lnTo>
                    <a:pt x="198" y="738"/>
                  </a:lnTo>
                  <a:lnTo>
                    <a:pt x="198" y="744"/>
                  </a:lnTo>
                  <a:lnTo>
                    <a:pt x="198" y="750"/>
                  </a:lnTo>
                  <a:lnTo>
                    <a:pt x="192" y="756"/>
                  </a:lnTo>
                  <a:lnTo>
                    <a:pt x="186" y="762"/>
                  </a:lnTo>
                  <a:lnTo>
                    <a:pt x="186" y="768"/>
                  </a:lnTo>
                  <a:lnTo>
                    <a:pt x="186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98"/>
                  </a:lnTo>
                  <a:lnTo>
                    <a:pt x="186" y="804"/>
                  </a:lnTo>
                  <a:lnTo>
                    <a:pt x="186" y="810"/>
                  </a:lnTo>
                  <a:lnTo>
                    <a:pt x="192" y="816"/>
                  </a:lnTo>
                  <a:lnTo>
                    <a:pt x="192" y="828"/>
                  </a:lnTo>
                  <a:lnTo>
                    <a:pt x="192" y="834"/>
                  </a:lnTo>
                  <a:lnTo>
                    <a:pt x="186" y="834"/>
                  </a:lnTo>
                  <a:lnTo>
                    <a:pt x="186" y="828"/>
                  </a:lnTo>
                  <a:lnTo>
                    <a:pt x="180" y="822"/>
                  </a:lnTo>
                  <a:lnTo>
                    <a:pt x="180" y="816"/>
                  </a:lnTo>
                  <a:lnTo>
                    <a:pt x="180" y="810"/>
                  </a:lnTo>
                  <a:lnTo>
                    <a:pt x="174" y="810"/>
                  </a:lnTo>
                  <a:lnTo>
                    <a:pt x="174" y="804"/>
                  </a:lnTo>
                  <a:lnTo>
                    <a:pt x="174" y="798"/>
                  </a:lnTo>
                  <a:lnTo>
                    <a:pt x="174" y="792"/>
                  </a:lnTo>
                  <a:lnTo>
                    <a:pt x="168" y="786"/>
                  </a:lnTo>
                  <a:lnTo>
                    <a:pt x="168" y="780"/>
                  </a:lnTo>
                  <a:lnTo>
                    <a:pt x="162" y="780"/>
                  </a:lnTo>
                  <a:lnTo>
                    <a:pt x="168" y="774"/>
                  </a:lnTo>
                  <a:lnTo>
                    <a:pt x="168" y="768"/>
                  </a:lnTo>
                  <a:lnTo>
                    <a:pt x="174" y="768"/>
                  </a:lnTo>
                  <a:lnTo>
                    <a:pt x="168" y="768"/>
                  </a:lnTo>
                  <a:lnTo>
                    <a:pt x="162" y="774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50" y="774"/>
                  </a:lnTo>
                  <a:lnTo>
                    <a:pt x="144" y="774"/>
                  </a:lnTo>
                  <a:lnTo>
                    <a:pt x="144" y="768"/>
                  </a:lnTo>
                  <a:lnTo>
                    <a:pt x="144" y="762"/>
                  </a:lnTo>
                  <a:lnTo>
                    <a:pt x="138" y="756"/>
                  </a:lnTo>
                  <a:lnTo>
                    <a:pt x="132" y="756"/>
                  </a:lnTo>
                  <a:lnTo>
                    <a:pt x="138" y="756"/>
                  </a:lnTo>
                  <a:lnTo>
                    <a:pt x="138" y="762"/>
                  </a:lnTo>
                  <a:lnTo>
                    <a:pt x="138" y="768"/>
                  </a:lnTo>
                  <a:lnTo>
                    <a:pt x="144" y="768"/>
                  </a:lnTo>
                  <a:lnTo>
                    <a:pt x="144" y="774"/>
                  </a:lnTo>
                  <a:lnTo>
                    <a:pt x="150" y="780"/>
                  </a:lnTo>
                  <a:lnTo>
                    <a:pt x="156" y="780"/>
                  </a:lnTo>
                  <a:lnTo>
                    <a:pt x="156" y="786"/>
                  </a:lnTo>
                  <a:lnTo>
                    <a:pt x="162" y="786"/>
                  </a:lnTo>
                  <a:lnTo>
                    <a:pt x="168" y="792"/>
                  </a:lnTo>
                  <a:lnTo>
                    <a:pt x="168" y="798"/>
                  </a:lnTo>
                  <a:lnTo>
                    <a:pt x="168" y="804"/>
                  </a:lnTo>
                  <a:lnTo>
                    <a:pt x="174" y="810"/>
                  </a:lnTo>
                  <a:lnTo>
                    <a:pt x="174" y="816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68" y="828"/>
                  </a:lnTo>
                  <a:lnTo>
                    <a:pt x="168" y="834"/>
                  </a:lnTo>
                  <a:lnTo>
                    <a:pt x="174" y="840"/>
                  </a:lnTo>
                  <a:lnTo>
                    <a:pt x="180" y="840"/>
                  </a:lnTo>
                  <a:lnTo>
                    <a:pt x="180" y="846"/>
                  </a:lnTo>
                  <a:lnTo>
                    <a:pt x="186" y="846"/>
                  </a:lnTo>
                  <a:lnTo>
                    <a:pt x="186" y="852"/>
                  </a:lnTo>
                  <a:lnTo>
                    <a:pt x="186" y="858"/>
                  </a:lnTo>
                  <a:lnTo>
                    <a:pt x="186" y="864"/>
                  </a:lnTo>
                  <a:lnTo>
                    <a:pt x="192" y="864"/>
                  </a:lnTo>
                  <a:lnTo>
                    <a:pt x="192" y="870"/>
                  </a:lnTo>
                  <a:lnTo>
                    <a:pt x="192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6" y="888"/>
                  </a:lnTo>
                  <a:lnTo>
                    <a:pt x="180" y="888"/>
                  </a:lnTo>
                  <a:lnTo>
                    <a:pt x="174" y="888"/>
                  </a:lnTo>
                  <a:lnTo>
                    <a:pt x="168" y="894"/>
                  </a:lnTo>
                  <a:lnTo>
                    <a:pt x="162" y="894"/>
                  </a:lnTo>
                  <a:lnTo>
                    <a:pt x="156" y="894"/>
                  </a:lnTo>
                  <a:lnTo>
                    <a:pt x="150" y="894"/>
                  </a:lnTo>
                  <a:lnTo>
                    <a:pt x="144" y="894"/>
                  </a:lnTo>
                  <a:lnTo>
                    <a:pt x="144" y="900"/>
                  </a:lnTo>
                  <a:lnTo>
                    <a:pt x="138" y="894"/>
                  </a:lnTo>
                  <a:lnTo>
                    <a:pt x="138" y="900"/>
                  </a:lnTo>
                  <a:lnTo>
                    <a:pt x="132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6" y="882"/>
                  </a:lnTo>
                  <a:lnTo>
                    <a:pt x="126" y="876"/>
                  </a:lnTo>
                  <a:lnTo>
                    <a:pt x="120" y="876"/>
                  </a:lnTo>
                  <a:lnTo>
                    <a:pt x="126" y="870"/>
                  </a:lnTo>
                  <a:lnTo>
                    <a:pt x="126" y="864"/>
                  </a:lnTo>
                  <a:lnTo>
                    <a:pt x="126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26" y="828"/>
                  </a:lnTo>
                  <a:lnTo>
                    <a:pt x="126" y="822"/>
                  </a:lnTo>
                  <a:lnTo>
                    <a:pt x="126" y="816"/>
                  </a:lnTo>
                  <a:lnTo>
                    <a:pt x="126" y="810"/>
                  </a:lnTo>
                  <a:lnTo>
                    <a:pt x="126" y="804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20" y="792"/>
                  </a:lnTo>
                  <a:lnTo>
                    <a:pt x="114" y="792"/>
                  </a:lnTo>
                  <a:lnTo>
                    <a:pt x="114" y="786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96" y="780"/>
                  </a:lnTo>
                  <a:lnTo>
                    <a:pt x="96" y="774"/>
                  </a:lnTo>
                  <a:lnTo>
                    <a:pt x="90" y="774"/>
                  </a:lnTo>
                  <a:lnTo>
                    <a:pt x="90" y="768"/>
                  </a:lnTo>
                  <a:close/>
                  <a:moveTo>
                    <a:pt x="96" y="780"/>
                  </a:moveTo>
                  <a:lnTo>
                    <a:pt x="102" y="780"/>
                  </a:lnTo>
                  <a:lnTo>
                    <a:pt x="102" y="786"/>
                  </a:lnTo>
                  <a:lnTo>
                    <a:pt x="108" y="786"/>
                  </a:lnTo>
                  <a:lnTo>
                    <a:pt x="114" y="792"/>
                  </a:lnTo>
                  <a:lnTo>
                    <a:pt x="120" y="798"/>
                  </a:lnTo>
                  <a:lnTo>
                    <a:pt x="120" y="804"/>
                  </a:lnTo>
                  <a:lnTo>
                    <a:pt x="126" y="810"/>
                  </a:lnTo>
                  <a:lnTo>
                    <a:pt x="126" y="816"/>
                  </a:lnTo>
                  <a:lnTo>
                    <a:pt x="126" y="822"/>
                  </a:lnTo>
                  <a:lnTo>
                    <a:pt x="120" y="828"/>
                  </a:lnTo>
                  <a:lnTo>
                    <a:pt x="120" y="840"/>
                  </a:lnTo>
                  <a:lnTo>
                    <a:pt x="120" y="852"/>
                  </a:lnTo>
                  <a:lnTo>
                    <a:pt x="120" y="858"/>
                  </a:lnTo>
                  <a:lnTo>
                    <a:pt x="120" y="864"/>
                  </a:lnTo>
                  <a:lnTo>
                    <a:pt x="120" y="870"/>
                  </a:lnTo>
                  <a:lnTo>
                    <a:pt x="114" y="870"/>
                  </a:lnTo>
                  <a:lnTo>
                    <a:pt x="108" y="870"/>
                  </a:lnTo>
                  <a:lnTo>
                    <a:pt x="108" y="876"/>
                  </a:lnTo>
                  <a:lnTo>
                    <a:pt x="114" y="876"/>
                  </a:lnTo>
                  <a:lnTo>
                    <a:pt x="120" y="876"/>
                  </a:lnTo>
                  <a:lnTo>
                    <a:pt x="120" y="882"/>
                  </a:lnTo>
                  <a:lnTo>
                    <a:pt x="114" y="888"/>
                  </a:lnTo>
                  <a:lnTo>
                    <a:pt x="120" y="888"/>
                  </a:lnTo>
                  <a:lnTo>
                    <a:pt x="120" y="894"/>
                  </a:lnTo>
                  <a:lnTo>
                    <a:pt x="114" y="894"/>
                  </a:lnTo>
                  <a:lnTo>
                    <a:pt x="108" y="894"/>
                  </a:lnTo>
                  <a:lnTo>
                    <a:pt x="96" y="894"/>
                  </a:lnTo>
                  <a:lnTo>
                    <a:pt x="96" y="882"/>
                  </a:lnTo>
                  <a:lnTo>
                    <a:pt x="96" y="876"/>
                  </a:lnTo>
                  <a:lnTo>
                    <a:pt x="84" y="870"/>
                  </a:lnTo>
                  <a:lnTo>
                    <a:pt x="72" y="864"/>
                  </a:lnTo>
                  <a:lnTo>
                    <a:pt x="72" y="852"/>
                  </a:lnTo>
                  <a:lnTo>
                    <a:pt x="72" y="840"/>
                  </a:lnTo>
                  <a:lnTo>
                    <a:pt x="78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90" y="792"/>
                  </a:lnTo>
                  <a:lnTo>
                    <a:pt x="96" y="780"/>
                  </a:lnTo>
                  <a:close/>
                  <a:moveTo>
                    <a:pt x="492" y="810"/>
                  </a:moveTo>
                  <a:lnTo>
                    <a:pt x="498" y="810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510" y="792"/>
                  </a:lnTo>
                  <a:lnTo>
                    <a:pt x="516" y="786"/>
                  </a:lnTo>
                  <a:lnTo>
                    <a:pt x="522" y="780"/>
                  </a:lnTo>
                  <a:lnTo>
                    <a:pt x="522" y="774"/>
                  </a:lnTo>
                  <a:lnTo>
                    <a:pt x="528" y="768"/>
                  </a:lnTo>
                  <a:lnTo>
                    <a:pt x="528" y="762"/>
                  </a:lnTo>
                  <a:lnTo>
                    <a:pt x="534" y="762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46" y="780"/>
                  </a:lnTo>
                  <a:lnTo>
                    <a:pt x="552" y="786"/>
                  </a:lnTo>
                  <a:lnTo>
                    <a:pt x="558" y="786"/>
                  </a:lnTo>
                  <a:lnTo>
                    <a:pt x="564" y="786"/>
                  </a:lnTo>
                  <a:lnTo>
                    <a:pt x="576" y="786"/>
                  </a:lnTo>
                  <a:lnTo>
                    <a:pt x="582" y="786"/>
                  </a:lnTo>
                  <a:lnTo>
                    <a:pt x="588" y="786"/>
                  </a:lnTo>
                  <a:lnTo>
                    <a:pt x="594" y="786"/>
                  </a:lnTo>
                  <a:lnTo>
                    <a:pt x="588" y="792"/>
                  </a:lnTo>
                  <a:lnTo>
                    <a:pt x="588" y="798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82" y="822"/>
                  </a:lnTo>
                  <a:lnTo>
                    <a:pt x="588" y="828"/>
                  </a:lnTo>
                  <a:lnTo>
                    <a:pt x="588" y="834"/>
                  </a:lnTo>
                  <a:lnTo>
                    <a:pt x="582" y="840"/>
                  </a:lnTo>
                  <a:lnTo>
                    <a:pt x="570" y="840"/>
                  </a:lnTo>
                  <a:lnTo>
                    <a:pt x="558" y="846"/>
                  </a:lnTo>
                  <a:lnTo>
                    <a:pt x="552" y="846"/>
                  </a:lnTo>
                  <a:lnTo>
                    <a:pt x="534" y="852"/>
                  </a:lnTo>
                  <a:lnTo>
                    <a:pt x="522" y="858"/>
                  </a:lnTo>
                  <a:lnTo>
                    <a:pt x="510" y="858"/>
                  </a:lnTo>
                  <a:lnTo>
                    <a:pt x="498" y="864"/>
                  </a:lnTo>
                  <a:lnTo>
                    <a:pt x="474" y="864"/>
                  </a:lnTo>
                  <a:lnTo>
                    <a:pt x="468" y="858"/>
                  </a:lnTo>
                  <a:lnTo>
                    <a:pt x="468" y="852"/>
                  </a:lnTo>
                  <a:lnTo>
                    <a:pt x="468" y="846"/>
                  </a:lnTo>
                  <a:lnTo>
                    <a:pt x="474" y="840"/>
                  </a:lnTo>
                  <a:lnTo>
                    <a:pt x="474" y="834"/>
                  </a:lnTo>
                  <a:lnTo>
                    <a:pt x="480" y="828"/>
                  </a:lnTo>
                  <a:lnTo>
                    <a:pt x="492" y="822"/>
                  </a:lnTo>
                  <a:lnTo>
                    <a:pt x="492" y="810"/>
                  </a:lnTo>
                  <a:close/>
                  <a:moveTo>
                    <a:pt x="384" y="720"/>
                  </a:moveTo>
                  <a:lnTo>
                    <a:pt x="384" y="726"/>
                  </a:lnTo>
                  <a:lnTo>
                    <a:pt x="390" y="726"/>
                  </a:lnTo>
                  <a:lnTo>
                    <a:pt x="396" y="726"/>
                  </a:lnTo>
                  <a:lnTo>
                    <a:pt x="402" y="732"/>
                  </a:lnTo>
                  <a:lnTo>
                    <a:pt x="408" y="732"/>
                  </a:lnTo>
                  <a:lnTo>
                    <a:pt x="414" y="732"/>
                  </a:lnTo>
                  <a:lnTo>
                    <a:pt x="414" y="738"/>
                  </a:lnTo>
                  <a:lnTo>
                    <a:pt x="414" y="744"/>
                  </a:lnTo>
                  <a:lnTo>
                    <a:pt x="414" y="750"/>
                  </a:lnTo>
                  <a:lnTo>
                    <a:pt x="414" y="756"/>
                  </a:lnTo>
                  <a:lnTo>
                    <a:pt x="414" y="762"/>
                  </a:lnTo>
                  <a:lnTo>
                    <a:pt x="420" y="768"/>
                  </a:lnTo>
                  <a:lnTo>
                    <a:pt x="420" y="774"/>
                  </a:lnTo>
                  <a:lnTo>
                    <a:pt x="426" y="780"/>
                  </a:lnTo>
                  <a:lnTo>
                    <a:pt x="426" y="786"/>
                  </a:lnTo>
                  <a:lnTo>
                    <a:pt x="420" y="786"/>
                  </a:lnTo>
                  <a:lnTo>
                    <a:pt x="420" y="792"/>
                  </a:lnTo>
                  <a:lnTo>
                    <a:pt x="420" y="798"/>
                  </a:lnTo>
                  <a:lnTo>
                    <a:pt x="420" y="804"/>
                  </a:lnTo>
                  <a:lnTo>
                    <a:pt x="426" y="804"/>
                  </a:lnTo>
                  <a:lnTo>
                    <a:pt x="426" y="810"/>
                  </a:lnTo>
                  <a:lnTo>
                    <a:pt x="426" y="816"/>
                  </a:lnTo>
                  <a:lnTo>
                    <a:pt x="432" y="816"/>
                  </a:lnTo>
                  <a:lnTo>
                    <a:pt x="438" y="816"/>
                  </a:lnTo>
                  <a:lnTo>
                    <a:pt x="438" y="822"/>
                  </a:lnTo>
                  <a:lnTo>
                    <a:pt x="432" y="822"/>
                  </a:lnTo>
                  <a:lnTo>
                    <a:pt x="426" y="828"/>
                  </a:lnTo>
                  <a:lnTo>
                    <a:pt x="420" y="828"/>
                  </a:lnTo>
                  <a:lnTo>
                    <a:pt x="414" y="828"/>
                  </a:lnTo>
                  <a:lnTo>
                    <a:pt x="408" y="828"/>
                  </a:lnTo>
                  <a:lnTo>
                    <a:pt x="402" y="828"/>
                  </a:lnTo>
                  <a:lnTo>
                    <a:pt x="402" y="822"/>
                  </a:lnTo>
                  <a:lnTo>
                    <a:pt x="396" y="822"/>
                  </a:lnTo>
                  <a:lnTo>
                    <a:pt x="402" y="822"/>
                  </a:lnTo>
                  <a:lnTo>
                    <a:pt x="402" y="816"/>
                  </a:lnTo>
                  <a:lnTo>
                    <a:pt x="396" y="816"/>
                  </a:lnTo>
                  <a:lnTo>
                    <a:pt x="396" y="810"/>
                  </a:lnTo>
                  <a:lnTo>
                    <a:pt x="396" y="804"/>
                  </a:lnTo>
                  <a:lnTo>
                    <a:pt x="390" y="798"/>
                  </a:lnTo>
                  <a:lnTo>
                    <a:pt x="390" y="792"/>
                  </a:lnTo>
                  <a:lnTo>
                    <a:pt x="390" y="786"/>
                  </a:lnTo>
                  <a:lnTo>
                    <a:pt x="390" y="780"/>
                  </a:lnTo>
                  <a:lnTo>
                    <a:pt x="390" y="774"/>
                  </a:lnTo>
                  <a:lnTo>
                    <a:pt x="390" y="768"/>
                  </a:lnTo>
                  <a:lnTo>
                    <a:pt x="390" y="762"/>
                  </a:lnTo>
                  <a:lnTo>
                    <a:pt x="384" y="756"/>
                  </a:lnTo>
                  <a:lnTo>
                    <a:pt x="384" y="750"/>
                  </a:lnTo>
                  <a:lnTo>
                    <a:pt x="384" y="744"/>
                  </a:lnTo>
                  <a:lnTo>
                    <a:pt x="378" y="744"/>
                  </a:lnTo>
                  <a:lnTo>
                    <a:pt x="384" y="744"/>
                  </a:lnTo>
                  <a:lnTo>
                    <a:pt x="384" y="738"/>
                  </a:lnTo>
                  <a:lnTo>
                    <a:pt x="378" y="738"/>
                  </a:lnTo>
                  <a:lnTo>
                    <a:pt x="378" y="732"/>
                  </a:lnTo>
                  <a:lnTo>
                    <a:pt x="378" y="726"/>
                  </a:lnTo>
                  <a:lnTo>
                    <a:pt x="378" y="720"/>
                  </a:lnTo>
                  <a:lnTo>
                    <a:pt x="384" y="720"/>
                  </a:lnTo>
                  <a:close/>
                  <a:moveTo>
                    <a:pt x="330" y="738"/>
                  </a:moveTo>
                  <a:lnTo>
                    <a:pt x="336" y="732"/>
                  </a:lnTo>
                  <a:lnTo>
                    <a:pt x="336" y="726"/>
                  </a:lnTo>
                  <a:lnTo>
                    <a:pt x="342" y="720"/>
                  </a:lnTo>
                  <a:lnTo>
                    <a:pt x="348" y="720"/>
                  </a:lnTo>
                  <a:lnTo>
                    <a:pt x="360" y="720"/>
                  </a:lnTo>
                  <a:lnTo>
                    <a:pt x="366" y="726"/>
                  </a:lnTo>
                  <a:lnTo>
                    <a:pt x="372" y="732"/>
                  </a:lnTo>
                  <a:lnTo>
                    <a:pt x="372" y="738"/>
                  </a:lnTo>
                  <a:lnTo>
                    <a:pt x="366" y="750"/>
                  </a:lnTo>
                  <a:lnTo>
                    <a:pt x="372" y="756"/>
                  </a:lnTo>
                  <a:lnTo>
                    <a:pt x="372" y="762"/>
                  </a:lnTo>
                  <a:lnTo>
                    <a:pt x="372" y="768"/>
                  </a:lnTo>
                  <a:lnTo>
                    <a:pt x="372" y="774"/>
                  </a:lnTo>
                  <a:lnTo>
                    <a:pt x="372" y="780"/>
                  </a:lnTo>
                  <a:lnTo>
                    <a:pt x="372" y="774"/>
                  </a:lnTo>
                  <a:lnTo>
                    <a:pt x="366" y="768"/>
                  </a:lnTo>
                  <a:lnTo>
                    <a:pt x="366" y="762"/>
                  </a:lnTo>
                  <a:lnTo>
                    <a:pt x="366" y="756"/>
                  </a:lnTo>
                  <a:lnTo>
                    <a:pt x="360" y="756"/>
                  </a:lnTo>
                  <a:lnTo>
                    <a:pt x="360" y="750"/>
                  </a:lnTo>
                  <a:lnTo>
                    <a:pt x="354" y="750"/>
                  </a:lnTo>
                  <a:lnTo>
                    <a:pt x="348" y="744"/>
                  </a:lnTo>
                  <a:lnTo>
                    <a:pt x="342" y="744"/>
                  </a:lnTo>
                  <a:lnTo>
                    <a:pt x="336" y="744"/>
                  </a:lnTo>
                  <a:lnTo>
                    <a:pt x="330" y="73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1" name="Freeform 6">
              <a:extLst>
                <a:ext uri="{FF2B5EF4-FFF2-40B4-BE49-F238E27FC236}">
                  <a16:creationId xmlns:a16="http://schemas.microsoft.com/office/drawing/2014/main" id="{0656C385-F30A-4AC8-AE9F-B1F66208B38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3123" y="4163918"/>
              <a:ext cx="266107" cy="248252"/>
            </a:xfrm>
            <a:custGeom>
              <a:avLst/>
              <a:gdLst>
                <a:gd name="T0" fmla="*/ 33 w 504"/>
                <a:gd name="T1" fmla="*/ 41 h 468"/>
                <a:gd name="T2" fmla="*/ 26 w 504"/>
                <a:gd name="T3" fmla="*/ 39 h 468"/>
                <a:gd name="T4" fmla="*/ 21 w 504"/>
                <a:gd name="T5" fmla="*/ 38 h 468"/>
                <a:gd name="T6" fmla="*/ 18 w 504"/>
                <a:gd name="T7" fmla="*/ 38 h 468"/>
                <a:gd name="T8" fmla="*/ 15 w 504"/>
                <a:gd name="T9" fmla="*/ 39 h 468"/>
                <a:gd name="T10" fmla="*/ 12 w 504"/>
                <a:gd name="T11" fmla="*/ 38 h 468"/>
                <a:gd name="T12" fmla="*/ 9 w 504"/>
                <a:gd name="T13" fmla="*/ 37 h 468"/>
                <a:gd name="T14" fmla="*/ 7 w 504"/>
                <a:gd name="T15" fmla="*/ 32 h 468"/>
                <a:gd name="T16" fmla="*/ 6 w 504"/>
                <a:gd name="T17" fmla="*/ 26 h 468"/>
                <a:gd name="T18" fmla="*/ 3 w 504"/>
                <a:gd name="T19" fmla="*/ 24 h 468"/>
                <a:gd name="T20" fmla="*/ 1 w 504"/>
                <a:gd name="T21" fmla="*/ 24 h 468"/>
                <a:gd name="T22" fmla="*/ 2 w 504"/>
                <a:gd name="T23" fmla="*/ 18 h 468"/>
                <a:gd name="T24" fmla="*/ 1 w 504"/>
                <a:gd name="T25" fmla="*/ 17 h 468"/>
                <a:gd name="T26" fmla="*/ 0 w 504"/>
                <a:gd name="T27" fmla="*/ 17 h 468"/>
                <a:gd name="T28" fmla="*/ 0 w 504"/>
                <a:gd name="T29" fmla="*/ 15 h 468"/>
                <a:gd name="T30" fmla="*/ 2 w 504"/>
                <a:gd name="T31" fmla="*/ 12 h 468"/>
                <a:gd name="T32" fmla="*/ 4 w 504"/>
                <a:gd name="T33" fmla="*/ 10 h 468"/>
                <a:gd name="T34" fmla="*/ 6 w 504"/>
                <a:gd name="T35" fmla="*/ 8 h 468"/>
                <a:gd name="T36" fmla="*/ 8 w 504"/>
                <a:gd name="T37" fmla="*/ 8 h 468"/>
                <a:gd name="T38" fmla="*/ 10 w 504"/>
                <a:gd name="T39" fmla="*/ 9 h 468"/>
                <a:gd name="T40" fmla="*/ 12 w 504"/>
                <a:gd name="T41" fmla="*/ 10 h 468"/>
                <a:gd name="T42" fmla="*/ 12 w 504"/>
                <a:gd name="T43" fmla="*/ 11 h 468"/>
                <a:gd name="T44" fmla="*/ 14 w 504"/>
                <a:gd name="T45" fmla="*/ 8 h 468"/>
                <a:gd name="T46" fmla="*/ 15 w 504"/>
                <a:gd name="T47" fmla="*/ 7 h 468"/>
                <a:gd name="T48" fmla="*/ 17 w 504"/>
                <a:gd name="T49" fmla="*/ 6 h 468"/>
                <a:gd name="T50" fmla="*/ 19 w 504"/>
                <a:gd name="T51" fmla="*/ 3 h 468"/>
                <a:gd name="T52" fmla="*/ 20 w 504"/>
                <a:gd name="T53" fmla="*/ 2 h 468"/>
                <a:gd name="T54" fmla="*/ 22 w 504"/>
                <a:gd name="T55" fmla="*/ 1 h 468"/>
                <a:gd name="T56" fmla="*/ 27 w 504"/>
                <a:gd name="T57" fmla="*/ 1 h 468"/>
                <a:gd name="T58" fmla="*/ 30 w 504"/>
                <a:gd name="T59" fmla="*/ 2 h 468"/>
                <a:gd name="T60" fmla="*/ 31 w 504"/>
                <a:gd name="T61" fmla="*/ 2 h 468"/>
                <a:gd name="T62" fmla="*/ 34 w 504"/>
                <a:gd name="T63" fmla="*/ 0 h 468"/>
                <a:gd name="T64" fmla="*/ 37 w 504"/>
                <a:gd name="T65" fmla="*/ 1 h 468"/>
                <a:gd name="T66" fmla="*/ 41 w 504"/>
                <a:gd name="T67" fmla="*/ 2 h 468"/>
                <a:gd name="T68" fmla="*/ 42 w 504"/>
                <a:gd name="T69" fmla="*/ 4 h 468"/>
                <a:gd name="T70" fmla="*/ 42 w 504"/>
                <a:gd name="T71" fmla="*/ 10 h 468"/>
                <a:gd name="T72" fmla="*/ 41 w 504"/>
                <a:gd name="T73" fmla="*/ 14 h 468"/>
                <a:gd name="T74" fmla="*/ 42 w 504"/>
                <a:gd name="T75" fmla="*/ 15 h 468"/>
                <a:gd name="T76" fmla="*/ 44 w 504"/>
                <a:gd name="T77" fmla="*/ 18 h 468"/>
                <a:gd name="T78" fmla="*/ 43 w 504"/>
                <a:gd name="T79" fmla="*/ 19 h 468"/>
                <a:gd name="T80" fmla="*/ 42 w 504"/>
                <a:gd name="T81" fmla="*/ 21 h 468"/>
                <a:gd name="T82" fmla="*/ 42 w 504"/>
                <a:gd name="T83" fmla="*/ 23 h 468"/>
                <a:gd name="T84" fmla="*/ 39 w 504"/>
                <a:gd name="T85" fmla="*/ 27 h 468"/>
                <a:gd name="T86" fmla="*/ 38 w 504"/>
                <a:gd name="T87" fmla="*/ 29 h 468"/>
                <a:gd name="T88" fmla="*/ 38 w 504"/>
                <a:gd name="T89" fmla="*/ 31 h 468"/>
                <a:gd name="T90" fmla="*/ 36 w 504"/>
                <a:gd name="T91" fmla="*/ 32 h 468"/>
                <a:gd name="T92" fmla="*/ 35 w 504"/>
                <a:gd name="T93" fmla="*/ 34 h 468"/>
                <a:gd name="T94" fmla="*/ 34 w 504"/>
                <a:gd name="T95" fmla="*/ 38 h 46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04"/>
                <a:gd name="T145" fmla="*/ 0 h 468"/>
                <a:gd name="T146" fmla="*/ 504 w 504"/>
                <a:gd name="T147" fmla="*/ 468 h 46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04" h="468">
                  <a:moveTo>
                    <a:pt x="390" y="456"/>
                  </a:moveTo>
                  <a:lnTo>
                    <a:pt x="384" y="468"/>
                  </a:lnTo>
                  <a:lnTo>
                    <a:pt x="378" y="468"/>
                  </a:lnTo>
                  <a:lnTo>
                    <a:pt x="354" y="468"/>
                  </a:lnTo>
                  <a:lnTo>
                    <a:pt x="348" y="462"/>
                  </a:lnTo>
                  <a:lnTo>
                    <a:pt x="300" y="456"/>
                  </a:lnTo>
                  <a:lnTo>
                    <a:pt x="270" y="444"/>
                  </a:lnTo>
                  <a:lnTo>
                    <a:pt x="252" y="438"/>
                  </a:lnTo>
                  <a:lnTo>
                    <a:pt x="240" y="438"/>
                  </a:lnTo>
                  <a:lnTo>
                    <a:pt x="234" y="438"/>
                  </a:lnTo>
                  <a:lnTo>
                    <a:pt x="228" y="444"/>
                  </a:lnTo>
                  <a:lnTo>
                    <a:pt x="210" y="444"/>
                  </a:lnTo>
                  <a:lnTo>
                    <a:pt x="198" y="444"/>
                  </a:lnTo>
                  <a:lnTo>
                    <a:pt x="198" y="450"/>
                  </a:lnTo>
                  <a:lnTo>
                    <a:pt x="168" y="456"/>
                  </a:lnTo>
                  <a:lnTo>
                    <a:pt x="150" y="450"/>
                  </a:lnTo>
                  <a:lnTo>
                    <a:pt x="144" y="444"/>
                  </a:lnTo>
                  <a:lnTo>
                    <a:pt x="132" y="438"/>
                  </a:lnTo>
                  <a:lnTo>
                    <a:pt x="138" y="432"/>
                  </a:lnTo>
                  <a:lnTo>
                    <a:pt x="114" y="432"/>
                  </a:lnTo>
                  <a:lnTo>
                    <a:pt x="102" y="426"/>
                  </a:lnTo>
                  <a:lnTo>
                    <a:pt x="90" y="414"/>
                  </a:lnTo>
                  <a:lnTo>
                    <a:pt x="72" y="402"/>
                  </a:lnTo>
                  <a:lnTo>
                    <a:pt x="78" y="366"/>
                  </a:lnTo>
                  <a:lnTo>
                    <a:pt x="78" y="330"/>
                  </a:lnTo>
                  <a:lnTo>
                    <a:pt x="66" y="318"/>
                  </a:lnTo>
                  <a:lnTo>
                    <a:pt x="66" y="300"/>
                  </a:lnTo>
                  <a:lnTo>
                    <a:pt x="66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30" y="282"/>
                  </a:lnTo>
                  <a:lnTo>
                    <a:pt x="24" y="282"/>
                  </a:lnTo>
                  <a:lnTo>
                    <a:pt x="12" y="276"/>
                  </a:lnTo>
                  <a:lnTo>
                    <a:pt x="0" y="282"/>
                  </a:lnTo>
                  <a:lnTo>
                    <a:pt x="12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2" y="198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6" y="180"/>
                  </a:lnTo>
                  <a:lnTo>
                    <a:pt x="12" y="186"/>
                  </a:lnTo>
                  <a:lnTo>
                    <a:pt x="18" y="138"/>
                  </a:lnTo>
                  <a:lnTo>
                    <a:pt x="24" y="126"/>
                  </a:lnTo>
                  <a:lnTo>
                    <a:pt x="30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20" y="102"/>
                  </a:lnTo>
                  <a:lnTo>
                    <a:pt x="126" y="108"/>
                  </a:lnTo>
                  <a:lnTo>
                    <a:pt x="126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0"/>
                  </a:lnTo>
                  <a:lnTo>
                    <a:pt x="156" y="96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16" y="42"/>
                  </a:lnTo>
                  <a:lnTo>
                    <a:pt x="222" y="36"/>
                  </a:lnTo>
                  <a:lnTo>
                    <a:pt x="228" y="36"/>
                  </a:lnTo>
                  <a:lnTo>
                    <a:pt x="228" y="30"/>
                  </a:lnTo>
                  <a:lnTo>
                    <a:pt x="228" y="24"/>
                  </a:lnTo>
                  <a:lnTo>
                    <a:pt x="246" y="18"/>
                  </a:lnTo>
                  <a:lnTo>
                    <a:pt x="252" y="18"/>
                  </a:lnTo>
                  <a:lnTo>
                    <a:pt x="258" y="12"/>
                  </a:lnTo>
                  <a:lnTo>
                    <a:pt x="270" y="6"/>
                  </a:lnTo>
                  <a:lnTo>
                    <a:pt x="288" y="6"/>
                  </a:lnTo>
                  <a:lnTo>
                    <a:pt x="312" y="12"/>
                  </a:lnTo>
                  <a:lnTo>
                    <a:pt x="324" y="12"/>
                  </a:lnTo>
                  <a:lnTo>
                    <a:pt x="336" y="18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14" y="12"/>
                  </a:lnTo>
                  <a:lnTo>
                    <a:pt x="426" y="12"/>
                  </a:lnTo>
                  <a:lnTo>
                    <a:pt x="444" y="18"/>
                  </a:lnTo>
                  <a:lnTo>
                    <a:pt x="462" y="18"/>
                  </a:lnTo>
                  <a:lnTo>
                    <a:pt x="474" y="18"/>
                  </a:lnTo>
                  <a:lnTo>
                    <a:pt x="480" y="18"/>
                  </a:lnTo>
                  <a:lnTo>
                    <a:pt x="486" y="36"/>
                  </a:lnTo>
                  <a:lnTo>
                    <a:pt x="480" y="42"/>
                  </a:lnTo>
                  <a:lnTo>
                    <a:pt x="480" y="54"/>
                  </a:lnTo>
                  <a:lnTo>
                    <a:pt x="486" y="78"/>
                  </a:lnTo>
                  <a:lnTo>
                    <a:pt x="486" y="114"/>
                  </a:lnTo>
                  <a:lnTo>
                    <a:pt x="486" y="150"/>
                  </a:lnTo>
                  <a:lnTo>
                    <a:pt x="468" y="150"/>
                  </a:lnTo>
                  <a:lnTo>
                    <a:pt x="474" y="162"/>
                  </a:lnTo>
                  <a:lnTo>
                    <a:pt x="480" y="162"/>
                  </a:lnTo>
                  <a:lnTo>
                    <a:pt x="486" y="174"/>
                  </a:lnTo>
                  <a:lnTo>
                    <a:pt x="492" y="174"/>
                  </a:lnTo>
                  <a:lnTo>
                    <a:pt x="492" y="192"/>
                  </a:lnTo>
                  <a:lnTo>
                    <a:pt x="498" y="198"/>
                  </a:lnTo>
                  <a:lnTo>
                    <a:pt x="504" y="204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8" y="222"/>
                  </a:lnTo>
                  <a:lnTo>
                    <a:pt x="492" y="228"/>
                  </a:lnTo>
                  <a:lnTo>
                    <a:pt x="492" y="234"/>
                  </a:lnTo>
                  <a:lnTo>
                    <a:pt x="492" y="240"/>
                  </a:lnTo>
                  <a:lnTo>
                    <a:pt x="486" y="246"/>
                  </a:lnTo>
                  <a:lnTo>
                    <a:pt x="486" y="258"/>
                  </a:lnTo>
                  <a:lnTo>
                    <a:pt x="480" y="264"/>
                  </a:lnTo>
                  <a:lnTo>
                    <a:pt x="474" y="276"/>
                  </a:lnTo>
                  <a:lnTo>
                    <a:pt x="468" y="288"/>
                  </a:lnTo>
                  <a:lnTo>
                    <a:pt x="456" y="306"/>
                  </a:lnTo>
                  <a:lnTo>
                    <a:pt x="456" y="312"/>
                  </a:lnTo>
                  <a:lnTo>
                    <a:pt x="444" y="318"/>
                  </a:lnTo>
                  <a:lnTo>
                    <a:pt x="432" y="336"/>
                  </a:lnTo>
                  <a:lnTo>
                    <a:pt x="432" y="342"/>
                  </a:lnTo>
                  <a:lnTo>
                    <a:pt x="432" y="348"/>
                  </a:lnTo>
                  <a:lnTo>
                    <a:pt x="432" y="354"/>
                  </a:lnTo>
                  <a:lnTo>
                    <a:pt x="426" y="366"/>
                  </a:lnTo>
                  <a:lnTo>
                    <a:pt x="420" y="366"/>
                  </a:lnTo>
                  <a:lnTo>
                    <a:pt x="420" y="372"/>
                  </a:lnTo>
                  <a:lnTo>
                    <a:pt x="414" y="378"/>
                  </a:lnTo>
                  <a:lnTo>
                    <a:pt x="414" y="390"/>
                  </a:lnTo>
                  <a:lnTo>
                    <a:pt x="408" y="390"/>
                  </a:lnTo>
                  <a:lnTo>
                    <a:pt x="408" y="402"/>
                  </a:lnTo>
                  <a:lnTo>
                    <a:pt x="402" y="414"/>
                  </a:lnTo>
                  <a:lnTo>
                    <a:pt x="396" y="438"/>
                  </a:lnTo>
                  <a:lnTo>
                    <a:pt x="396" y="444"/>
                  </a:lnTo>
                  <a:lnTo>
                    <a:pt x="390" y="45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11" name="Freeform 7">
              <a:extLst>
                <a:ext uri="{FF2B5EF4-FFF2-40B4-BE49-F238E27FC236}">
                  <a16:creationId xmlns:a16="http://schemas.microsoft.com/office/drawing/2014/main" id="{0D8DE62D-4554-4314-9F3A-7208D89B4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90838" y="4128134"/>
              <a:ext cx="283995" cy="411516"/>
            </a:xfrm>
            <a:custGeom>
              <a:avLst/>
              <a:gdLst>
                <a:gd name="T0" fmla="*/ 39 w 534"/>
                <a:gd name="T1" fmla="*/ 35 h 774"/>
                <a:gd name="T2" fmla="*/ 35 w 534"/>
                <a:gd name="T3" fmla="*/ 31 h 774"/>
                <a:gd name="T4" fmla="*/ 32 w 534"/>
                <a:gd name="T5" fmla="*/ 29 h 774"/>
                <a:gd name="T6" fmla="*/ 32 w 534"/>
                <a:gd name="T7" fmla="*/ 31 h 774"/>
                <a:gd name="T8" fmla="*/ 29 w 534"/>
                <a:gd name="T9" fmla="*/ 33 h 774"/>
                <a:gd name="T10" fmla="*/ 27 w 534"/>
                <a:gd name="T11" fmla="*/ 36 h 774"/>
                <a:gd name="T12" fmla="*/ 30 w 534"/>
                <a:gd name="T13" fmla="*/ 38 h 774"/>
                <a:gd name="T14" fmla="*/ 29 w 534"/>
                <a:gd name="T15" fmla="*/ 40 h 774"/>
                <a:gd name="T16" fmla="*/ 25 w 534"/>
                <a:gd name="T17" fmla="*/ 40 h 774"/>
                <a:gd name="T18" fmla="*/ 23 w 534"/>
                <a:gd name="T19" fmla="*/ 42 h 774"/>
                <a:gd name="T20" fmla="*/ 22 w 534"/>
                <a:gd name="T21" fmla="*/ 47 h 774"/>
                <a:gd name="T22" fmla="*/ 22 w 534"/>
                <a:gd name="T23" fmla="*/ 51 h 774"/>
                <a:gd name="T24" fmla="*/ 22 w 534"/>
                <a:gd name="T25" fmla="*/ 54 h 774"/>
                <a:gd name="T26" fmla="*/ 21 w 534"/>
                <a:gd name="T27" fmla="*/ 56 h 774"/>
                <a:gd name="T28" fmla="*/ 19 w 534"/>
                <a:gd name="T29" fmla="*/ 58 h 774"/>
                <a:gd name="T30" fmla="*/ 20 w 534"/>
                <a:gd name="T31" fmla="*/ 59 h 774"/>
                <a:gd name="T32" fmla="*/ 19 w 534"/>
                <a:gd name="T33" fmla="*/ 62 h 774"/>
                <a:gd name="T34" fmla="*/ 19 w 534"/>
                <a:gd name="T35" fmla="*/ 64 h 774"/>
                <a:gd name="T36" fmla="*/ 20 w 534"/>
                <a:gd name="T37" fmla="*/ 66 h 774"/>
                <a:gd name="T38" fmla="*/ 17 w 534"/>
                <a:gd name="T39" fmla="*/ 66 h 774"/>
                <a:gd name="T40" fmla="*/ 16 w 534"/>
                <a:gd name="T41" fmla="*/ 65 h 774"/>
                <a:gd name="T42" fmla="*/ 13 w 534"/>
                <a:gd name="T43" fmla="*/ 65 h 774"/>
                <a:gd name="T44" fmla="*/ 11 w 534"/>
                <a:gd name="T45" fmla="*/ 65 h 774"/>
                <a:gd name="T46" fmla="*/ 8 w 534"/>
                <a:gd name="T47" fmla="*/ 65 h 774"/>
                <a:gd name="T48" fmla="*/ 8 w 534"/>
                <a:gd name="T49" fmla="*/ 64 h 774"/>
                <a:gd name="T50" fmla="*/ 5 w 534"/>
                <a:gd name="T51" fmla="*/ 65 h 774"/>
                <a:gd name="T52" fmla="*/ 3 w 534"/>
                <a:gd name="T53" fmla="*/ 65 h 774"/>
                <a:gd name="T54" fmla="*/ 0 w 534"/>
                <a:gd name="T55" fmla="*/ 64 h 774"/>
                <a:gd name="T56" fmla="*/ 0 w 534"/>
                <a:gd name="T57" fmla="*/ 62 h 774"/>
                <a:gd name="T58" fmla="*/ 3 w 534"/>
                <a:gd name="T59" fmla="*/ 60 h 774"/>
                <a:gd name="T60" fmla="*/ 6 w 534"/>
                <a:gd name="T61" fmla="*/ 57 h 774"/>
                <a:gd name="T62" fmla="*/ 8 w 534"/>
                <a:gd name="T63" fmla="*/ 50 h 774"/>
                <a:gd name="T64" fmla="*/ 6 w 534"/>
                <a:gd name="T65" fmla="*/ 45 h 774"/>
                <a:gd name="T66" fmla="*/ 8 w 534"/>
                <a:gd name="T67" fmla="*/ 41 h 774"/>
                <a:gd name="T68" fmla="*/ 9 w 534"/>
                <a:gd name="T69" fmla="*/ 38 h 774"/>
                <a:gd name="T70" fmla="*/ 10 w 534"/>
                <a:gd name="T71" fmla="*/ 36 h 774"/>
                <a:gd name="T72" fmla="*/ 12 w 534"/>
                <a:gd name="T73" fmla="*/ 33 h 774"/>
                <a:gd name="T74" fmla="*/ 14 w 534"/>
                <a:gd name="T75" fmla="*/ 29 h 774"/>
                <a:gd name="T76" fmla="*/ 16 w 534"/>
                <a:gd name="T77" fmla="*/ 26 h 774"/>
                <a:gd name="T78" fmla="*/ 16 w 534"/>
                <a:gd name="T79" fmla="*/ 24 h 774"/>
                <a:gd name="T80" fmla="*/ 16 w 534"/>
                <a:gd name="T81" fmla="*/ 21 h 774"/>
                <a:gd name="T82" fmla="*/ 13 w 534"/>
                <a:gd name="T83" fmla="*/ 19 h 774"/>
                <a:gd name="T84" fmla="*/ 14 w 534"/>
                <a:gd name="T85" fmla="*/ 10 h 774"/>
                <a:gd name="T86" fmla="*/ 14 w 534"/>
                <a:gd name="T87" fmla="*/ 7 h 774"/>
                <a:gd name="T88" fmla="*/ 8 w 534"/>
                <a:gd name="T89" fmla="*/ 7 h 774"/>
                <a:gd name="T90" fmla="*/ 7 w 534"/>
                <a:gd name="T91" fmla="*/ 3 h 774"/>
                <a:gd name="T92" fmla="*/ 11 w 534"/>
                <a:gd name="T93" fmla="*/ 1 h 774"/>
                <a:gd name="T94" fmla="*/ 12 w 534"/>
                <a:gd name="T95" fmla="*/ 0 h 774"/>
                <a:gd name="T96" fmla="*/ 16 w 534"/>
                <a:gd name="T97" fmla="*/ 2 h 774"/>
                <a:gd name="T98" fmla="*/ 20 w 534"/>
                <a:gd name="T99" fmla="*/ 2 h 774"/>
                <a:gd name="T100" fmla="*/ 23 w 534"/>
                <a:gd name="T101" fmla="*/ 3 h 774"/>
                <a:gd name="T102" fmla="*/ 23 w 534"/>
                <a:gd name="T103" fmla="*/ 10 h 774"/>
                <a:gd name="T104" fmla="*/ 29 w 534"/>
                <a:gd name="T105" fmla="*/ 12 h 774"/>
                <a:gd name="T106" fmla="*/ 35 w 534"/>
                <a:gd name="T107" fmla="*/ 12 h 774"/>
                <a:gd name="T108" fmla="*/ 38 w 534"/>
                <a:gd name="T109" fmla="*/ 17 h 774"/>
                <a:gd name="T110" fmla="*/ 40 w 534"/>
                <a:gd name="T111" fmla="*/ 19 h 774"/>
                <a:gd name="T112" fmla="*/ 44 w 534"/>
                <a:gd name="T113" fmla="*/ 23 h 774"/>
                <a:gd name="T114" fmla="*/ 44 w 534"/>
                <a:gd name="T115" fmla="*/ 30 h 774"/>
                <a:gd name="T116" fmla="*/ 46 w 534"/>
                <a:gd name="T117" fmla="*/ 36 h 774"/>
                <a:gd name="T118" fmla="*/ 41 w 534"/>
                <a:gd name="T119" fmla="*/ 37 h 77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34"/>
                <a:gd name="T181" fmla="*/ 0 h 774"/>
                <a:gd name="T182" fmla="*/ 534 w 534"/>
                <a:gd name="T183" fmla="*/ 774 h 77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34" h="774">
                  <a:moveTo>
                    <a:pt x="462" y="426"/>
                  </a:moveTo>
                  <a:lnTo>
                    <a:pt x="462" y="414"/>
                  </a:lnTo>
                  <a:lnTo>
                    <a:pt x="450" y="402"/>
                  </a:lnTo>
                  <a:lnTo>
                    <a:pt x="444" y="396"/>
                  </a:lnTo>
                  <a:lnTo>
                    <a:pt x="420" y="396"/>
                  </a:lnTo>
                  <a:lnTo>
                    <a:pt x="408" y="390"/>
                  </a:lnTo>
                  <a:lnTo>
                    <a:pt x="402" y="366"/>
                  </a:lnTo>
                  <a:lnTo>
                    <a:pt x="390" y="354"/>
                  </a:lnTo>
                  <a:lnTo>
                    <a:pt x="384" y="336"/>
                  </a:lnTo>
                  <a:lnTo>
                    <a:pt x="378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8" y="348"/>
                  </a:lnTo>
                  <a:lnTo>
                    <a:pt x="360" y="354"/>
                  </a:lnTo>
                  <a:lnTo>
                    <a:pt x="360" y="390"/>
                  </a:lnTo>
                  <a:lnTo>
                    <a:pt x="348" y="390"/>
                  </a:lnTo>
                  <a:lnTo>
                    <a:pt x="342" y="384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90"/>
                  </a:lnTo>
                  <a:lnTo>
                    <a:pt x="312" y="402"/>
                  </a:lnTo>
                  <a:lnTo>
                    <a:pt x="306" y="420"/>
                  </a:lnTo>
                  <a:lnTo>
                    <a:pt x="324" y="414"/>
                  </a:lnTo>
                  <a:lnTo>
                    <a:pt x="330" y="414"/>
                  </a:lnTo>
                  <a:lnTo>
                    <a:pt x="336" y="420"/>
                  </a:lnTo>
                  <a:lnTo>
                    <a:pt x="336" y="432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6"/>
                  </a:lnTo>
                  <a:lnTo>
                    <a:pt x="318" y="456"/>
                  </a:lnTo>
                  <a:lnTo>
                    <a:pt x="300" y="456"/>
                  </a:lnTo>
                  <a:lnTo>
                    <a:pt x="288" y="462"/>
                  </a:lnTo>
                  <a:lnTo>
                    <a:pt x="276" y="462"/>
                  </a:lnTo>
                  <a:lnTo>
                    <a:pt x="270" y="462"/>
                  </a:lnTo>
                  <a:lnTo>
                    <a:pt x="270" y="468"/>
                  </a:lnTo>
                  <a:lnTo>
                    <a:pt x="252" y="468"/>
                  </a:lnTo>
                  <a:lnTo>
                    <a:pt x="258" y="480"/>
                  </a:lnTo>
                  <a:lnTo>
                    <a:pt x="258" y="492"/>
                  </a:lnTo>
                  <a:lnTo>
                    <a:pt x="258" y="498"/>
                  </a:lnTo>
                  <a:lnTo>
                    <a:pt x="258" y="510"/>
                  </a:lnTo>
                  <a:lnTo>
                    <a:pt x="252" y="540"/>
                  </a:lnTo>
                  <a:lnTo>
                    <a:pt x="246" y="564"/>
                  </a:lnTo>
                  <a:lnTo>
                    <a:pt x="246" y="570"/>
                  </a:lnTo>
                  <a:lnTo>
                    <a:pt x="252" y="576"/>
                  </a:lnTo>
                  <a:lnTo>
                    <a:pt x="246" y="582"/>
                  </a:lnTo>
                  <a:lnTo>
                    <a:pt x="252" y="600"/>
                  </a:lnTo>
                  <a:lnTo>
                    <a:pt x="258" y="606"/>
                  </a:lnTo>
                  <a:lnTo>
                    <a:pt x="258" y="612"/>
                  </a:lnTo>
                  <a:lnTo>
                    <a:pt x="252" y="618"/>
                  </a:lnTo>
                  <a:lnTo>
                    <a:pt x="246" y="624"/>
                  </a:lnTo>
                  <a:lnTo>
                    <a:pt x="246" y="630"/>
                  </a:lnTo>
                  <a:lnTo>
                    <a:pt x="246" y="636"/>
                  </a:lnTo>
                  <a:lnTo>
                    <a:pt x="240" y="642"/>
                  </a:lnTo>
                  <a:lnTo>
                    <a:pt x="234" y="654"/>
                  </a:lnTo>
                  <a:lnTo>
                    <a:pt x="228" y="654"/>
                  </a:lnTo>
                  <a:lnTo>
                    <a:pt x="222" y="660"/>
                  </a:lnTo>
                  <a:lnTo>
                    <a:pt x="216" y="666"/>
                  </a:lnTo>
                  <a:lnTo>
                    <a:pt x="210" y="666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22" y="684"/>
                  </a:lnTo>
                  <a:lnTo>
                    <a:pt x="222" y="690"/>
                  </a:lnTo>
                  <a:lnTo>
                    <a:pt x="222" y="696"/>
                  </a:lnTo>
                  <a:lnTo>
                    <a:pt x="222" y="702"/>
                  </a:lnTo>
                  <a:lnTo>
                    <a:pt x="216" y="708"/>
                  </a:lnTo>
                  <a:lnTo>
                    <a:pt x="210" y="720"/>
                  </a:lnTo>
                  <a:lnTo>
                    <a:pt x="216" y="732"/>
                  </a:lnTo>
                  <a:lnTo>
                    <a:pt x="210" y="732"/>
                  </a:lnTo>
                  <a:lnTo>
                    <a:pt x="216" y="738"/>
                  </a:lnTo>
                  <a:lnTo>
                    <a:pt x="216" y="744"/>
                  </a:lnTo>
                  <a:lnTo>
                    <a:pt x="222" y="750"/>
                  </a:lnTo>
                  <a:lnTo>
                    <a:pt x="228" y="756"/>
                  </a:lnTo>
                  <a:lnTo>
                    <a:pt x="222" y="762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04" y="762"/>
                  </a:lnTo>
                  <a:lnTo>
                    <a:pt x="198" y="762"/>
                  </a:lnTo>
                  <a:lnTo>
                    <a:pt x="192" y="762"/>
                  </a:lnTo>
                  <a:lnTo>
                    <a:pt x="186" y="756"/>
                  </a:lnTo>
                  <a:lnTo>
                    <a:pt x="180" y="750"/>
                  </a:lnTo>
                  <a:lnTo>
                    <a:pt x="180" y="744"/>
                  </a:lnTo>
                  <a:lnTo>
                    <a:pt x="174" y="744"/>
                  </a:lnTo>
                  <a:lnTo>
                    <a:pt x="156" y="750"/>
                  </a:lnTo>
                  <a:lnTo>
                    <a:pt x="150" y="750"/>
                  </a:lnTo>
                  <a:lnTo>
                    <a:pt x="144" y="750"/>
                  </a:lnTo>
                  <a:lnTo>
                    <a:pt x="138" y="750"/>
                  </a:lnTo>
                  <a:lnTo>
                    <a:pt x="138" y="744"/>
                  </a:lnTo>
                  <a:lnTo>
                    <a:pt x="132" y="744"/>
                  </a:lnTo>
                  <a:lnTo>
                    <a:pt x="120" y="744"/>
                  </a:lnTo>
                  <a:lnTo>
                    <a:pt x="114" y="738"/>
                  </a:lnTo>
                  <a:lnTo>
                    <a:pt x="108" y="744"/>
                  </a:lnTo>
                  <a:lnTo>
                    <a:pt x="102" y="744"/>
                  </a:lnTo>
                  <a:lnTo>
                    <a:pt x="96" y="744"/>
                  </a:lnTo>
                  <a:lnTo>
                    <a:pt x="96" y="738"/>
                  </a:lnTo>
                  <a:lnTo>
                    <a:pt x="96" y="744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44"/>
                  </a:lnTo>
                  <a:lnTo>
                    <a:pt x="72" y="750"/>
                  </a:lnTo>
                  <a:lnTo>
                    <a:pt x="66" y="750"/>
                  </a:lnTo>
                  <a:lnTo>
                    <a:pt x="60" y="750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0"/>
                  </a:lnTo>
                  <a:lnTo>
                    <a:pt x="30" y="750"/>
                  </a:lnTo>
                  <a:lnTo>
                    <a:pt x="24" y="744"/>
                  </a:lnTo>
                  <a:lnTo>
                    <a:pt x="18" y="738"/>
                  </a:lnTo>
                  <a:lnTo>
                    <a:pt x="6" y="738"/>
                  </a:lnTo>
                  <a:lnTo>
                    <a:pt x="0" y="732"/>
                  </a:lnTo>
                  <a:lnTo>
                    <a:pt x="0" y="726"/>
                  </a:lnTo>
                  <a:lnTo>
                    <a:pt x="0" y="720"/>
                  </a:lnTo>
                  <a:lnTo>
                    <a:pt x="6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8" y="702"/>
                  </a:lnTo>
                  <a:lnTo>
                    <a:pt x="24" y="696"/>
                  </a:lnTo>
                  <a:lnTo>
                    <a:pt x="30" y="696"/>
                  </a:lnTo>
                  <a:lnTo>
                    <a:pt x="48" y="690"/>
                  </a:lnTo>
                  <a:lnTo>
                    <a:pt x="54" y="678"/>
                  </a:lnTo>
                  <a:lnTo>
                    <a:pt x="66" y="672"/>
                  </a:lnTo>
                  <a:lnTo>
                    <a:pt x="66" y="654"/>
                  </a:lnTo>
                  <a:lnTo>
                    <a:pt x="72" y="636"/>
                  </a:lnTo>
                  <a:lnTo>
                    <a:pt x="72" y="612"/>
                  </a:lnTo>
                  <a:lnTo>
                    <a:pt x="84" y="594"/>
                  </a:lnTo>
                  <a:lnTo>
                    <a:pt x="90" y="576"/>
                  </a:lnTo>
                  <a:lnTo>
                    <a:pt x="96" y="552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72" y="522"/>
                  </a:lnTo>
                  <a:lnTo>
                    <a:pt x="78" y="510"/>
                  </a:lnTo>
                  <a:lnTo>
                    <a:pt x="78" y="504"/>
                  </a:lnTo>
                  <a:lnTo>
                    <a:pt x="84" y="480"/>
                  </a:lnTo>
                  <a:lnTo>
                    <a:pt x="90" y="468"/>
                  </a:lnTo>
                  <a:lnTo>
                    <a:pt x="90" y="456"/>
                  </a:lnTo>
                  <a:lnTo>
                    <a:pt x="96" y="456"/>
                  </a:lnTo>
                  <a:lnTo>
                    <a:pt x="96" y="444"/>
                  </a:lnTo>
                  <a:lnTo>
                    <a:pt x="102" y="438"/>
                  </a:lnTo>
                  <a:lnTo>
                    <a:pt x="102" y="432"/>
                  </a:lnTo>
                  <a:lnTo>
                    <a:pt x="108" y="432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14" y="408"/>
                  </a:lnTo>
                  <a:lnTo>
                    <a:pt x="114" y="402"/>
                  </a:lnTo>
                  <a:lnTo>
                    <a:pt x="126" y="384"/>
                  </a:lnTo>
                  <a:lnTo>
                    <a:pt x="138" y="378"/>
                  </a:lnTo>
                  <a:lnTo>
                    <a:pt x="138" y="372"/>
                  </a:lnTo>
                  <a:lnTo>
                    <a:pt x="150" y="354"/>
                  </a:lnTo>
                  <a:lnTo>
                    <a:pt x="156" y="342"/>
                  </a:lnTo>
                  <a:lnTo>
                    <a:pt x="162" y="330"/>
                  </a:lnTo>
                  <a:lnTo>
                    <a:pt x="168" y="324"/>
                  </a:lnTo>
                  <a:lnTo>
                    <a:pt x="168" y="312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74" y="294"/>
                  </a:lnTo>
                  <a:lnTo>
                    <a:pt x="180" y="288"/>
                  </a:lnTo>
                  <a:lnTo>
                    <a:pt x="180" y="276"/>
                  </a:lnTo>
                  <a:lnTo>
                    <a:pt x="186" y="276"/>
                  </a:lnTo>
                  <a:lnTo>
                    <a:pt x="186" y="270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40"/>
                  </a:lnTo>
                  <a:lnTo>
                    <a:pt x="168" y="240"/>
                  </a:lnTo>
                  <a:lnTo>
                    <a:pt x="162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68" y="216"/>
                  </a:lnTo>
                  <a:lnTo>
                    <a:pt x="168" y="180"/>
                  </a:lnTo>
                  <a:lnTo>
                    <a:pt x="168" y="144"/>
                  </a:lnTo>
                  <a:lnTo>
                    <a:pt x="162" y="120"/>
                  </a:lnTo>
                  <a:lnTo>
                    <a:pt x="162" y="108"/>
                  </a:lnTo>
                  <a:lnTo>
                    <a:pt x="168" y="102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44" y="84"/>
                  </a:lnTo>
                  <a:lnTo>
                    <a:pt x="126" y="84"/>
                  </a:lnTo>
                  <a:lnTo>
                    <a:pt x="108" y="78"/>
                  </a:lnTo>
                  <a:lnTo>
                    <a:pt x="96" y="78"/>
                  </a:lnTo>
                  <a:lnTo>
                    <a:pt x="78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8" y="36"/>
                  </a:lnTo>
                  <a:lnTo>
                    <a:pt x="96" y="24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56" y="0"/>
                  </a:lnTo>
                  <a:lnTo>
                    <a:pt x="156" y="6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18"/>
                  </a:lnTo>
                  <a:lnTo>
                    <a:pt x="198" y="18"/>
                  </a:lnTo>
                  <a:lnTo>
                    <a:pt x="210" y="18"/>
                  </a:lnTo>
                  <a:lnTo>
                    <a:pt x="222" y="18"/>
                  </a:lnTo>
                  <a:lnTo>
                    <a:pt x="234" y="12"/>
                  </a:lnTo>
                  <a:lnTo>
                    <a:pt x="252" y="18"/>
                  </a:lnTo>
                  <a:lnTo>
                    <a:pt x="252" y="24"/>
                  </a:lnTo>
                  <a:lnTo>
                    <a:pt x="258" y="36"/>
                  </a:lnTo>
                  <a:lnTo>
                    <a:pt x="258" y="66"/>
                  </a:lnTo>
                  <a:lnTo>
                    <a:pt x="252" y="84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82" y="126"/>
                  </a:lnTo>
                  <a:lnTo>
                    <a:pt x="294" y="132"/>
                  </a:lnTo>
                  <a:lnTo>
                    <a:pt x="306" y="138"/>
                  </a:lnTo>
                  <a:lnTo>
                    <a:pt x="324" y="138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60" y="144"/>
                  </a:lnTo>
                  <a:lnTo>
                    <a:pt x="396" y="144"/>
                  </a:lnTo>
                  <a:lnTo>
                    <a:pt x="408" y="150"/>
                  </a:lnTo>
                  <a:lnTo>
                    <a:pt x="414" y="180"/>
                  </a:lnTo>
                  <a:lnTo>
                    <a:pt x="420" y="186"/>
                  </a:lnTo>
                  <a:lnTo>
                    <a:pt x="426" y="192"/>
                  </a:lnTo>
                  <a:lnTo>
                    <a:pt x="426" y="198"/>
                  </a:lnTo>
                  <a:lnTo>
                    <a:pt x="432" y="198"/>
                  </a:lnTo>
                  <a:lnTo>
                    <a:pt x="438" y="210"/>
                  </a:lnTo>
                  <a:lnTo>
                    <a:pt x="450" y="216"/>
                  </a:lnTo>
                  <a:lnTo>
                    <a:pt x="468" y="228"/>
                  </a:lnTo>
                  <a:lnTo>
                    <a:pt x="492" y="234"/>
                  </a:lnTo>
                  <a:lnTo>
                    <a:pt x="492" y="246"/>
                  </a:lnTo>
                  <a:lnTo>
                    <a:pt x="492" y="270"/>
                  </a:lnTo>
                  <a:lnTo>
                    <a:pt x="486" y="294"/>
                  </a:lnTo>
                  <a:lnTo>
                    <a:pt x="486" y="312"/>
                  </a:lnTo>
                  <a:lnTo>
                    <a:pt x="486" y="330"/>
                  </a:lnTo>
                  <a:lnTo>
                    <a:pt x="492" y="348"/>
                  </a:lnTo>
                  <a:lnTo>
                    <a:pt x="498" y="360"/>
                  </a:lnTo>
                  <a:lnTo>
                    <a:pt x="510" y="366"/>
                  </a:lnTo>
                  <a:lnTo>
                    <a:pt x="516" y="384"/>
                  </a:lnTo>
                  <a:lnTo>
                    <a:pt x="522" y="414"/>
                  </a:lnTo>
                  <a:lnTo>
                    <a:pt x="528" y="414"/>
                  </a:lnTo>
                  <a:lnTo>
                    <a:pt x="534" y="426"/>
                  </a:lnTo>
                  <a:lnTo>
                    <a:pt x="528" y="432"/>
                  </a:lnTo>
                  <a:lnTo>
                    <a:pt x="468" y="426"/>
                  </a:lnTo>
                  <a:lnTo>
                    <a:pt x="462" y="4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3" name="Freeform 8">
              <a:extLst>
                <a:ext uri="{FF2B5EF4-FFF2-40B4-BE49-F238E27FC236}">
                  <a16:creationId xmlns:a16="http://schemas.microsoft.com/office/drawing/2014/main" id="{D473457C-872E-4E31-888A-D60FD52063A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98175" y="4307054"/>
              <a:ext cx="295177" cy="348894"/>
            </a:xfrm>
            <a:custGeom>
              <a:avLst/>
              <a:gdLst>
                <a:gd name="T0" fmla="*/ 3 w 552"/>
                <a:gd name="T1" fmla="*/ 46 h 660"/>
                <a:gd name="T2" fmla="*/ 4 w 552"/>
                <a:gd name="T3" fmla="*/ 42 h 660"/>
                <a:gd name="T4" fmla="*/ 2 w 552"/>
                <a:gd name="T5" fmla="*/ 38 h 660"/>
                <a:gd name="T6" fmla="*/ 0 w 552"/>
                <a:gd name="T7" fmla="*/ 34 h 660"/>
                <a:gd name="T8" fmla="*/ 2 w 552"/>
                <a:gd name="T9" fmla="*/ 30 h 660"/>
                <a:gd name="T10" fmla="*/ 3 w 552"/>
                <a:gd name="T11" fmla="*/ 27 h 660"/>
                <a:gd name="T12" fmla="*/ 5 w 552"/>
                <a:gd name="T13" fmla="*/ 23 h 660"/>
                <a:gd name="T14" fmla="*/ 5 w 552"/>
                <a:gd name="T15" fmla="*/ 15 h 660"/>
                <a:gd name="T16" fmla="*/ 6 w 552"/>
                <a:gd name="T17" fmla="*/ 11 h 660"/>
                <a:gd name="T18" fmla="*/ 11 w 552"/>
                <a:gd name="T19" fmla="*/ 9 h 660"/>
                <a:gd name="T20" fmla="*/ 10 w 552"/>
                <a:gd name="T21" fmla="*/ 5 h 660"/>
                <a:gd name="T22" fmla="*/ 12 w 552"/>
                <a:gd name="T23" fmla="*/ 1 h 660"/>
                <a:gd name="T24" fmla="*/ 16 w 552"/>
                <a:gd name="T25" fmla="*/ 2 h 660"/>
                <a:gd name="T26" fmla="*/ 23 w 552"/>
                <a:gd name="T27" fmla="*/ 8 h 660"/>
                <a:gd name="T28" fmla="*/ 23 w 552"/>
                <a:gd name="T29" fmla="*/ 11 h 660"/>
                <a:gd name="T30" fmla="*/ 27 w 552"/>
                <a:gd name="T31" fmla="*/ 12 h 660"/>
                <a:gd name="T32" fmla="*/ 29 w 552"/>
                <a:gd name="T33" fmla="*/ 17 h 660"/>
                <a:gd name="T34" fmla="*/ 31 w 552"/>
                <a:gd name="T35" fmla="*/ 15 h 660"/>
                <a:gd name="T36" fmla="*/ 33 w 552"/>
                <a:gd name="T37" fmla="*/ 17 h 660"/>
                <a:gd name="T38" fmla="*/ 36 w 552"/>
                <a:gd name="T39" fmla="*/ 23 h 660"/>
                <a:gd name="T40" fmla="*/ 41 w 552"/>
                <a:gd name="T41" fmla="*/ 33 h 660"/>
                <a:gd name="T42" fmla="*/ 43 w 552"/>
                <a:gd name="T43" fmla="*/ 36 h 660"/>
                <a:gd name="T44" fmla="*/ 43 w 552"/>
                <a:gd name="T45" fmla="*/ 37 h 660"/>
                <a:gd name="T46" fmla="*/ 41 w 552"/>
                <a:gd name="T47" fmla="*/ 35 h 660"/>
                <a:gd name="T48" fmla="*/ 43 w 552"/>
                <a:gd name="T49" fmla="*/ 37 h 660"/>
                <a:gd name="T50" fmla="*/ 44 w 552"/>
                <a:gd name="T51" fmla="*/ 39 h 660"/>
                <a:gd name="T52" fmla="*/ 47 w 552"/>
                <a:gd name="T53" fmla="*/ 41 h 660"/>
                <a:gd name="T54" fmla="*/ 47 w 552"/>
                <a:gd name="T55" fmla="*/ 44 h 660"/>
                <a:gd name="T56" fmla="*/ 48 w 552"/>
                <a:gd name="T57" fmla="*/ 46 h 660"/>
                <a:gd name="T58" fmla="*/ 47 w 552"/>
                <a:gd name="T59" fmla="*/ 46 h 660"/>
                <a:gd name="T60" fmla="*/ 44 w 552"/>
                <a:gd name="T61" fmla="*/ 46 h 660"/>
                <a:gd name="T62" fmla="*/ 47 w 552"/>
                <a:gd name="T63" fmla="*/ 47 h 660"/>
                <a:gd name="T64" fmla="*/ 47 w 552"/>
                <a:gd name="T65" fmla="*/ 49 h 660"/>
                <a:gd name="T66" fmla="*/ 47 w 552"/>
                <a:gd name="T67" fmla="*/ 52 h 660"/>
                <a:gd name="T68" fmla="*/ 46 w 552"/>
                <a:gd name="T69" fmla="*/ 53 h 660"/>
                <a:gd name="T70" fmla="*/ 43 w 552"/>
                <a:gd name="T71" fmla="*/ 54 h 660"/>
                <a:gd name="T72" fmla="*/ 37 w 552"/>
                <a:gd name="T73" fmla="*/ 54 h 660"/>
                <a:gd name="T74" fmla="*/ 30 w 552"/>
                <a:gd name="T75" fmla="*/ 54 h 660"/>
                <a:gd name="T76" fmla="*/ 29 w 552"/>
                <a:gd name="T77" fmla="*/ 53 h 660"/>
                <a:gd name="T78" fmla="*/ 27 w 552"/>
                <a:gd name="T79" fmla="*/ 53 h 660"/>
                <a:gd name="T80" fmla="*/ 29 w 552"/>
                <a:gd name="T81" fmla="*/ 53 h 660"/>
                <a:gd name="T82" fmla="*/ 28 w 552"/>
                <a:gd name="T83" fmla="*/ 54 h 660"/>
                <a:gd name="T84" fmla="*/ 24 w 552"/>
                <a:gd name="T85" fmla="*/ 54 h 660"/>
                <a:gd name="T86" fmla="*/ 20 w 552"/>
                <a:gd name="T87" fmla="*/ 55 h 660"/>
                <a:gd name="T88" fmla="*/ 15 w 552"/>
                <a:gd name="T89" fmla="*/ 56 h 660"/>
                <a:gd name="T90" fmla="*/ 12 w 552"/>
                <a:gd name="T91" fmla="*/ 56 h 660"/>
                <a:gd name="T92" fmla="*/ 11 w 552"/>
                <a:gd name="T93" fmla="*/ 57 h 660"/>
                <a:gd name="T94" fmla="*/ 9 w 552"/>
                <a:gd name="T95" fmla="*/ 57 h 660"/>
                <a:gd name="T96" fmla="*/ 7 w 552"/>
                <a:gd name="T97" fmla="*/ 56 h 660"/>
                <a:gd name="T98" fmla="*/ 5 w 552"/>
                <a:gd name="T99" fmla="*/ 55 h 660"/>
                <a:gd name="T100" fmla="*/ 7 w 552"/>
                <a:gd name="T101" fmla="*/ 54 h 660"/>
                <a:gd name="T102" fmla="*/ 5 w 552"/>
                <a:gd name="T103" fmla="*/ 54 h 660"/>
                <a:gd name="T104" fmla="*/ 5 w 552"/>
                <a:gd name="T105" fmla="*/ 53 h 660"/>
                <a:gd name="T106" fmla="*/ 4 w 552"/>
                <a:gd name="T107" fmla="*/ 49 h 660"/>
                <a:gd name="T108" fmla="*/ 45 w 552"/>
                <a:gd name="T109" fmla="*/ 38 h 66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52"/>
                <a:gd name="T166" fmla="*/ 0 h 660"/>
                <a:gd name="T167" fmla="*/ 552 w 552"/>
                <a:gd name="T168" fmla="*/ 660 h 66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52" h="660">
                  <a:moveTo>
                    <a:pt x="36" y="564"/>
                  </a:moveTo>
                  <a:lnTo>
                    <a:pt x="36" y="558"/>
                  </a:lnTo>
                  <a:lnTo>
                    <a:pt x="36" y="552"/>
                  </a:lnTo>
                  <a:lnTo>
                    <a:pt x="42" y="546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34"/>
                  </a:lnTo>
                  <a:lnTo>
                    <a:pt x="36" y="528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54" y="510"/>
                  </a:lnTo>
                  <a:lnTo>
                    <a:pt x="54" y="504"/>
                  </a:lnTo>
                  <a:lnTo>
                    <a:pt x="54" y="498"/>
                  </a:lnTo>
                  <a:lnTo>
                    <a:pt x="48" y="492"/>
                  </a:lnTo>
                  <a:lnTo>
                    <a:pt x="42" y="486"/>
                  </a:lnTo>
                  <a:lnTo>
                    <a:pt x="42" y="480"/>
                  </a:lnTo>
                  <a:lnTo>
                    <a:pt x="42" y="468"/>
                  </a:lnTo>
                  <a:lnTo>
                    <a:pt x="30" y="456"/>
                  </a:lnTo>
                  <a:lnTo>
                    <a:pt x="30" y="450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2"/>
                  </a:lnTo>
                  <a:lnTo>
                    <a:pt x="18" y="426"/>
                  </a:lnTo>
                  <a:lnTo>
                    <a:pt x="24" y="420"/>
                  </a:lnTo>
                  <a:lnTo>
                    <a:pt x="18" y="414"/>
                  </a:lnTo>
                  <a:lnTo>
                    <a:pt x="12" y="408"/>
                  </a:lnTo>
                  <a:lnTo>
                    <a:pt x="12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6" y="384"/>
                  </a:lnTo>
                  <a:lnTo>
                    <a:pt x="12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8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36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54" y="270"/>
                  </a:lnTo>
                  <a:lnTo>
                    <a:pt x="48" y="264"/>
                  </a:lnTo>
                  <a:lnTo>
                    <a:pt x="42" y="246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8" y="204"/>
                  </a:lnTo>
                  <a:lnTo>
                    <a:pt x="54" y="174"/>
                  </a:lnTo>
                  <a:lnTo>
                    <a:pt x="54" y="162"/>
                  </a:lnTo>
                  <a:lnTo>
                    <a:pt x="54" y="156"/>
                  </a:lnTo>
                  <a:lnTo>
                    <a:pt x="54" y="144"/>
                  </a:lnTo>
                  <a:lnTo>
                    <a:pt x="48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72" y="126"/>
                  </a:lnTo>
                  <a:lnTo>
                    <a:pt x="84" y="126"/>
                  </a:lnTo>
                  <a:lnTo>
                    <a:pt x="96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2" y="84"/>
                  </a:lnTo>
                  <a:lnTo>
                    <a:pt x="126" y="78"/>
                  </a:lnTo>
                  <a:lnTo>
                    <a:pt x="120" y="78"/>
                  </a:lnTo>
                  <a:lnTo>
                    <a:pt x="102" y="84"/>
                  </a:lnTo>
                  <a:lnTo>
                    <a:pt x="108" y="66"/>
                  </a:lnTo>
                  <a:lnTo>
                    <a:pt x="114" y="54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8" y="4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6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74" y="0"/>
                  </a:lnTo>
                  <a:lnTo>
                    <a:pt x="180" y="0"/>
                  </a:lnTo>
                  <a:lnTo>
                    <a:pt x="186" y="18"/>
                  </a:lnTo>
                  <a:lnTo>
                    <a:pt x="198" y="30"/>
                  </a:lnTo>
                  <a:lnTo>
                    <a:pt x="204" y="54"/>
                  </a:lnTo>
                  <a:lnTo>
                    <a:pt x="216" y="60"/>
                  </a:lnTo>
                  <a:lnTo>
                    <a:pt x="240" y="60"/>
                  </a:lnTo>
                  <a:lnTo>
                    <a:pt x="246" y="66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2" y="120"/>
                  </a:lnTo>
                  <a:lnTo>
                    <a:pt x="25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6" y="126"/>
                  </a:lnTo>
                  <a:lnTo>
                    <a:pt x="282" y="120"/>
                  </a:lnTo>
                  <a:lnTo>
                    <a:pt x="282" y="126"/>
                  </a:lnTo>
                  <a:lnTo>
                    <a:pt x="294" y="126"/>
                  </a:lnTo>
                  <a:lnTo>
                    <a:pt x="300" y="132"/>
                  </a:lnTo>
                  <a:lnTo>
                    <a:pt x="306" y="144"/>
                  </a:lnTo>
                  <a:lnTo>
                    <a:pt x="312" y="144"/>
                  </a:lnTo>
                  <a:lnTo>
                    <a:pt x="312" y="150"/>
                  </a:lnTo>
                  <a:lnTo>
                    <a:pt x="312" y="162"/>
                  </a:lnTo>
                  <a:lnTo>
                    <a:pt x="312" y="174"/>
                  </a:lnTo>
                  <a:lnTo>
                    <a:pt x="324" y="180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30" y="192"/>
                  </a:lnTo>
                  <a:lnTo>
                    <a:pt x="336" y="198"/>
                  </a:lnTo>
                  <a:lnTo>
                    <a:pt x="342" y="192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54" y="180"/>
                  </a:lnTo>
                  <a:lnTo>
                    <a:pt x="354" y="174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84" y="192"/>
                  </a:lnTo>
                  <a:lnTo>
                    <a:pt x="390" y="204"/>
                  </a:lnTo>
                  <a:lnTo>
                    <a:pt x="390" y="210"/>
                  </a:lnTo>
                  <a:lnTo>
                    <a:pt x="390" y="216"/>
                  </a:lnTo>
                  <a:lnTo>
                    <a:pt x="384" y="234"/>
                  </a:lnTo>
                  <a:lnTo>
                    <a:pt x="390" y="240"/>
                  </a:lnTo>
                  <a:lnTo>
                    <a:pt x="408" y="252"/>
                  </a:lnTo>
                  <a:lnTo>
                    <a:pt x="414" y="264"/>
                  </a:lnTo>
                  <a:lnTo>
                    <a:pt x="408" y="300"/>
                  </a:lnTo>
                  <a:lnTo>
                    <a:pt x="414" y="312"/>
                  </a:lnTo>
                  <a:lnTo>
                    <a:pt x="426" y="336"/>
                  </a:lnTo>
                  <a:lnTo>
                    <a:pt x="438" y="354"/>
                  </a:lnTo>
                  <a:lnTo>
                    <a:pt x="444" y="366"/>
                  </a:lnTo>
                  <a:lnTo>
                    <a:pt x="456" y="366"/>
                  </a:lnTo>
                  <a:lnTo>
                    <a:pt x="474" y="378"/>
                  </a:lnTo>
                  <a:lnTo>
                    <a:pt x="474" y="384"/>
                  </a:lnTo>
                  <a:lnTo>
                    <a:pt x="480" y="390"/>
                  </a:lnTo>
                  <a:lnTo>
                    <a:pt x="486" y="396"/>
                  </a:lnTo>
                  <a:lnTo>
                    <a:pt x="486" y="402"/>
                  </a:lnTo>
                  <a:lnTo>
                    <a:pt x="480" y="408"/>
                  </a:lnTo>
                  <a:lnTo>
                    <a:pt x="486" y="408"/>
                  </a:lnTo>
                  <a:lnTo>
                    <a:pt x="486" y="414"/>
                  </a:lnTo>
                  <a:lnTo>
                    <a:pt x="492" y="414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32"/>
                  </a:lnTo>
                  <a:lnTo>
                    <a:pt x="498" y="438"/>
                  </a:lnTo>
                  <a:lnTo>
                    <a:pt x="492" y="432"/>
                  </a:lnTo>
                  <a:lnTo>
                    <a:pt x="486" y="426"/>
                  </a:lnTo>
                  <a:lnTo>
                    <a:pt x="486" y="420"/>
                  </a:lnTo>
                  <a:lnTo>
                    <a:pt x="486" y="414"/>
                  </a:lnTo>
                  <a:lnTo>
                    <a:pt x="480" y="414"/>
                  </a:lnTo>
                  <a:lnTo>
                    <a:pt x="480" y="408"/>
                  </a:lnTo>
                  <a:lnTo>
                    <a:pt x="474" y="408"/>
                  </a:lnTo>
                  <a:lnTo>
                    <a:pt x="468" y="408"/>
                  </a:lnTo>
                  <a:lnTo>
                    <a:pt x="468" y="402"/>
                  </a:lnTo>
                  <a:lnTo>
                    <a:pt x="462" y="402"/>
                  </a:lnTo>
                  <a:lnTo>
                    <a:pt x="462" y="408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80" y="426"/>
                  </a:lnTo>
                  <a:lnTo>
                    <a:pt x="486" y="426"/>
                  </a:lnTo>
                  <a:lnTo>
                    <a:pt x="486" y="432"/>
                  </a:lnTo>
                  <a:lnTo>
                    <a:pt x="492" y="438"/>
                  </a:lnTo>
                  <a:lnTo>
                    <a:pt x="498" y="438"/>
                  </a:lnTo>
                  <a:lnTo>
                    <a:pt x="504" y="444"/>
                  </a:lnTo>
                  <a:lnTo>
                    <a:pt x="510" y="444"/>
                  </a:lnTo>
                  <a:lnTo>
                    <a:pt x="510" y="450"/>
                  </a:lnTo>
                  <a:lnTo>
                    <a:pt x="510" y="456"/>
                  </a:lnTo>
                  <a:lnTo>
                    <a:pt x="516" y="456"/>
                  </a:lnTo>
                  <a:lnTo>
                    <a:pt x="516" y="462"/>
                  </a:lnTo>
                  <a:lnTo>
                    <a:pt x="522" y="462"/>
                  </a:lnTo>
                  <a:lnTo>
                    <a:pt x="522" y="468"/>
                  </a:lnTo>
                  <a:lnTo>
                    <a:pt x="528" y="468"/>
                  </a:lnTo>
                  <a:lnTo>
                    <a:pt x="534" y="468"/>
                  </a:lnTo>
                  <a:lnTo>
                    <a:pt x="534" y="474"/>
                  </a:lnTo>
                  <a:lnTo>
                    <a:pt x="540" y="474"/>
                  </a:lnTo>
                  <a:lnTo>
                    <a:pt x="540" y="480"/>
                  </a:lnTo>
                  <a:lnTo>
                    <a:pt x="546" y="486"/>
                  </a:lnTo>
                  <a:lnTo>
                    <a:pt x="546" y="492"/>
                  </a:lnTo>
                  <a:lnTo>
                    <a:pt x="546" y="498"/>
                  </a:lnTo>
                  <a:lnTo>
                    <a:pt x="546" y="504"/>
                  </a:lnTo>
                  <a:lnTo>
                    <a:pt x="540" y="504"/>
                  </a:lnTo>
                  <a:lnTo>
                    <a:pt x="546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10"/>
                  </a:lnTo>
                  <a:lnTo>
                    <a:pt x="552" y="516"/>
                  </a:lnTo>
                  <a:lnTo>
                    <a:pt x="552" y="522"/>
                  </a:lnTo>
                  <a:lnTo>
                    <a:pt x="552" y="528"/>
                  </a:lnTo>
                  <a:lnTo>
                    <a:pt x="552" y="534"/>
                  </a:lnTo>
                  <a:lnTo>
                    <a:pt x="552" y="540"/>
                  </a:lnTo>
                  <a:lnTo>
                    <a:pt x="546" y="540"/>
                  </a:lnTo>
                  <a:lnTo>
                    <a:pt x="546" y="546"/>
                  </a:lnTo>
                  <a:lnTo>
                    <a:pt x="546" y="540"/>
                  </a:lnTo>
                  <a:lnTo>
                    <a:pt x="546" y="534"/>
                  </a:lnTo>
                  <a:lnTo>
                    <a:pt x="540" y="534"/>
                  </a:lnTo>
                  <a:lnTo>
                    <a:pt x="540" y="528"/>
                  </a:lnTo>
                  <a:lnTo>
                    <a:pt x="534" y="528"/>
                  </a:lnTo>
                  <a:lnTo>
                    <a:pt x="528" y="528"/>
                  </a:lnTo>
                  <a:lnTo>
                    <a:pt x="522" y="528"/>
                  </a:lnTo>
                  <a:lnTo>
                    <a:pt x="516" y="528"/>
                  </a:lnTo>
                  <a:lnTo>
                    <a:pt x="510" y="528"/>
                  </a:lnTo>
                  <a:lnTo>
                    <a:pt x="510" y="534"/>
                  </a:lnTo>
                  <a:lnTo>
                    <a:pt x="510" y="528"/>
                  </a:lnTo>
                  <a:lnTo>
                    <a:pt x="516" y="528"/>
                  </a:lnTo>
                  <a:lnTo>
                    <a:pt x="522" y="528"/>
                  </a:lnTo>
                  <a:lnTo>
                    <a:pt x="528" y="528"/>
                  </a:lnTo>
                  <a:lnTo>
                    <a:pt x="534" y="534"/>
                  </a:lnTo>
                  <a:lnTo>
                    <a:pt x="540" y="534"/>
                  </a:lnTo>
                  <a:lnTo>
                    <a:pt x="540" y="540"/>
                  </a:lnTo>
                  <a:lnTo>
                    <a:pt x="540" y="546"/>
                  </a:lnTo>
                  <a:lnTo>
                    <a:pt x="546" y="546"/>
                  </a:lnTo>
                  <a:lnTo>
                    <a:pt x="546" y="552"/>
                  </a:lnTo>
                  <a:lnTo>
                    <a:pt x="552" y="552"/>
                  </a:lnTo>
                  <a:lnTo>
                    <a:pt x="552" y="558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0" y="576"/>
                  </a:lnTo>
                  <a:lnTo>
                    <a:pt x="540" y="582"/>
                  </a:lnTo>
                  <a:lnTo>
                    <a:pt x="540" y="588"/>
                  </a:lnTo>
                  <a:lnTo>
                    <a:pt x="534" y="594"/>
                  </a:lnTo>
                  <a:lnTo>
                    <a:pt x="534" y="600"/>
                  </a:lnTo>
                  <a:lnTo>
                    <a:pt x="528" y="600"/>
                  </a:lnTo>
                  <a:lnTo>
                    <a:pt x="522" y="594"/>
                  </a:lnTo>
                  <a:lnTo>
                    <a:pt x="528" y="600"/>
                  </a:lnTo>
                  <a:lnTo>
                    <a:pt x="534" y="600"/>
                  </a:lnTo>
                  <a:lnTo>
                    <a:pt x="534" y="606"/>
                  </a:lnTo>
                  <a:lnTo>
                    <a:pt x="528" y="606"/>
                  </a:lnTo>
                  <a:lnTo>
                    <a:pt x="528" y="612"/>
                  </a:lnTo>
                  <a:lnTo>
                    <a:pt x="522" y="612"/>
                  </a:lnTo>
                  <a:lnTo>
                    <a:pt x="522" y="618"/>
                  </a:lnTo>
                  <a:lnTo>
                    <a:pt x="522" y="624"/>
                  </a:lnTo>
                  <a:lnTo>
                    <a:pt x="510" y="624"/>
                  </a:lnTo>
                  <a:lnTo>
                    <a:pt x="498" y="624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0" y="624"/>
                  </a:lnTo>
                  <a:lnTo>
                    <a:pt x="474" y="624"/>
                  </a:lnTo>
                  <a:lnTo>
                    <a:pt x="468" y="618"/>
                  </a:lnTo>
                  <a:lnTo>
                    <a:pt x="456" y="618"/>
                  </a:lnTo>
                  <a:lnTo>
                    <a:pt x="450" y="618"/>
                  </a:lnTo>
                  <a:lnTo>
                    <a:pt x="426" y="618"/>
                  </a:lnTo>
                  <a:lnTo>
                    <a:pt x="420" y="618"/>
                  </a:lnTo>
                  <a:lnTo>
                    <a:pt x="414" y="618"/>
                  </a:lnTo>
                  <a:lnTo>
                    <a:pt x="408" y="618"/>
                  </a:lnTo>
                  <a:lnTo>
                    <a:pt x="396" y="618"/>
                  </a:lnTo>
                  <a:lnTo>
                    <a:pt x="366" y="618"/>
                  </a:lnTo>
                  <a:lnTo>
                    <a:pt x="348" y="624"/>
                  </a:lnTo>
                  <a:lnTo>
                    <a:pt x="342" y="624"/>
                  </a:lnTo>
                  <a:lnTo>
                    <a:pt x="342" y="618"/>
                  </a:lnTo>
                  <a:lnTo>
                    <a:pt x="336" y="618"/>
                  </a:lnTo>
                  <a:lnTo>
                    <a:pt x="336" y="612"/>
                  </a:lnTo>
                  <a:lnTo>
                    <a:pt x="342" y="612"/>
                  </a:lnTo>
                  <a:lnTo>
                    <a:pt x="348" y="612"/>
                  </a:lnTo>
                  <a:lnTo>
                    <a:pt x="342" y="612"/>
                  </a:lnTo>
                  <a:lnTo>
                    <a:pt x="336" y="612"/>
                  </a:lnTo>
                  <a:lnTo>
                    <a:pt x="336" y="606"/>
                  </a:lnTo>
                  <a:lnTo>
                    <a:pt x="330" y="606"/>
                  </a:lnTo>
                  <a:lnTo>
                    <a:pt x="330" y="600"/>
                  </a:lnTo>
                  <a:lnTo>
                    <a:pt x="324" y="600"/>
                  </a:lnTo>
                  <a:lnTo>
                    <a:pt x="324" y="606"/>
                  </a:lnTo>
                  <a:lnTo>
                    <a:pt x="318" y="606"/>
                  </a:lnTo>
                  <a:lnTo>
                    <a:pt x="318" y="612"/>
                  </a:lnTo>
                  <a:lnTo>
                    <a:pt x="312" y="612"/>
                  </a:lnTo>
                  <a:lnTo>
                    <a:pt x="306" y="606"/>
                  </a:lnTo>
                  <a:lnTo>
                    <a:pt x="306" y="612"/>
                  </a:lnTo>
                  <a:lnTo>
                    <a:pt x="312" y="612"/>
                  </a:lnTo>
                  <a:lnTo>
                    <a:pt x="318" y="612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30" y="606"/>
                  </a:lnTo>
                  <a:lnTo>
                    <a:pt x="336" y="612"/>
                  </a:lnTo>
                  <a:lnTo>
                    <a:pt x="336" y="618"/>
                  </a:lnTo>
                  <a:lnTo>
                    <a:pt x="330" y="618"/>
                  </a:lnTo>
                  <a:lnTo>
                    <a:pt x="336" y="618"/>
                  </a:lnTo>
                  <a:lnTo>
                    <a:pt x="336" y="624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288" y="624"/>
                  </a:lnTo>
                  <a:lnTo>
                    <a:pt x="282" y="624"/>
                  </a:lnTo>
                  <a:lnTo>
                    <a:pt x="270" y="630"/>
                  </a:lnTo>
                  <a:lnTo>
                    <a:pt x="264" y="630"/>
                  </a:lnTo>
                  <a:lnTo>
                    <a:pt x="258" y="630"/>
                  </a:lnTo>
                  <a:lnTo>
                    <a:pt x="252" y="630"/>
                  </a:lnTo>
                  <a:lnTo>
                    <a:pt x="246" y="630"/>
                  </a:lnTo>
                  <a:lnTo>
                    <a:pt x="240" y="630"/>
                  </a:lnTo>
                  <a:lnTo>
                    <a:pt x="228" y="636"/>
                  </a:lnTo>
                  <a:lnTo>
                    <a:pt x="222" y="636"/>
                  </a:lnTo>
                  <a:lnTo>
                    <a:pt x="210" y="636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42"/>
                  </a:lnTo>
                  <a:lnTo>
                    <a:pt x="186" y="642"/>
                  </a:lnTo>
                  <a:lnTo>
                    <a:pt x="180" y="642"/>
                  </a:lnTo>
                  <a:lnTo>
                    <a:pt x="168" y="642"/>
                  </a:lnTo>
                  <a:lnTo>
                    <a:pt x="162" y="642"/>
                  </a:lnTo>
                  <a:lnTo>
                    <a:pt x="162" y="648"/>
                  </a:lnTo>
                  <a:lnTo>
                    <a:pt x="156" y="648"/>
                  </a:lnTo>
                  <a:lnTo>
                    <a:pt x="150" y="648"/>
                  </a:lnTo>
                  <a:lnTo>
                    <a:pt x="144" y="648"/>
                  </a:lnTo>
                  <a:lnTo>
                    <a:pt x="138" y="648"/>
                  </a:lnTo>
                  <a:lnTo>
                    <a:pt x="132" y="648"/>
                  </a:lnTo>
                  <a:lnTo>
                    <a:pt x="126" y="642"/>
                  </a:lnTo>
                  <a:lnTo>
                    <a:pt x="126" y="636"/>
                  </a:lnTo>
                  <a:lnTo>
                    <a:pt x="120" y="636"/>
                  </a:lnTo>
                  <a:lnTo>
                    <a:pt x="126" y="642"/>
                  </a:lnTo>
                  <a:lnTo>
                    <a:pt x="126" y="648"/>
                  </a:lnTo>
                  <a:lnTo>
                    <a:pt x="132" y="648"/>
                  </a:lnTo>
                  <a:lnTo>
                    <a:pt x="126" y="654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54"/>
                  </a:lnTo>
                  <a:lnTo>
                    <a:pt x="108" y="660"/>
                  </a:lnTo>
                  <a:lnTo>
                    <a:pt x="108" y="654"/>
                  </a:lnTo>
                  <a:lnTo>
                    <a:pt x="102" y="654"/>
                  </a:lnTo>
                  <a:lnTo>
                    <a:pt x="102" y="660"/>
                  </a:lnTo>
                  <a:lnTo>
                    <a:pt x="108" y="660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0" y="660"/>
                  </a:lnTo>
                  <a:lnTo>
                    <a:pt x="90" y="654"/>
                  </a:lnTo>
                  <a:lnTo>
                    <a:pt x="84" y="648"/>
                  </a:lnTo>
                  <a:lnTo>
                    <a:pt x="84" y="642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72" y="636"/>
                  </a:lnTo>
                  <a:lnTo>
                    <a:pt x="78" y="636"/>
                  </a:lnTo>
                  <a:lnTo>
                    <a:pt x="72" y="636"/>
                  </a:lnTo>
                  <a:lnTo>
                    <a:pt x="66" y="636"/>
                  </a:lnTo>
                  <a:lnTo>
                    <a:pt x="60" y="636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60" y="618"/>
                  </a:lnTo>
                  <a:lnTo>
                    <a:pt x="66" y="618"/>
                  </a:lnTo>
                  <a:lnTo>
                    <a:pt x="72" y="618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2" y="612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12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54" y="618"/>
                  </a:lnTo>
                  <a:lnTo>
                    <a:pt x="54" y="624"/>
                  </a:lnTo>
                  <a:lnTo>
                    <a:pt x="48" y="618"/>
                  </a:lnTo>
                  <a:lnTo>
                    <a:pt x="42" y="618"/>
                  </a:lnTo>
                  <a:lnTo>
                    <a:pt x="42" y="612"/>
                  </a:lnTo>
                  <a:lnTo>
                    <a:pt x="48" y="606"/>
                  </a:lnTo>
                  <a:lnTo>
                    <a:pt x="54" y="606"/>
                  </a:lnTo>
                  <a:lnTo>
                    <a:pt x="54" y="600"/>
                  </a:lnTo>
                  <a:lnTo>
                    <a:pt x="54" y="594"/>
                  </a:lnTo>
                  <a:lnTo>
                    <a:pt x="54" y="588"/>
                  </a:lnTo>
                  <a:lnTo>
                    <a:pt x="48" y="588"/>
                  </a:lnTo>
                  <a:lnTo>
                    <a:pt x="48" y="582"/>
                  </a:lnTo>
                  <a:lnTo>
                    <a:pt x="42" y="582"/>
                  </a:lnTo>
                  <a:lnTo>
                    <a:pt x="42" y="570"/>
                  </a:lnTo>
                  <a:lnTo>
                    <a:pt x="42" y="564"/>
                  </a:lnTo>
                  <a:lnTo>
                    <a:pt x="36" y="564"/>
                  </a:lnTo>
                  <a:close/>
                  <a:moveTo>
                    <a:pt x="498" y="420"/>
                  </a:moveTo>
                  <a:lnTo>
                    <a:pt x="504" y="426"/>
                  </a:lnTo>
                  <a:lnTo>
                    <a:pt x="510" y="432"/>
                  </a:lnTo>
                  <a:lnTo>
                    <a:pt x="516" y="432"/>
                  </a:lnTo>
                  <a:lnTo>
                    <a:pt x="516" y="438"/>
                  </a:lnTo>
                  <a:lnTo>
                    <a:pt x="510" y="438"/>
                  </a:lnTo>
                  <a:lnTo>
                    <a:pt x="504" y="438"/>
                  </a:lnTo>
                  <a:lnTo>
                    <a:pt x="504" y="432"/>
                  </a:lnTo>
                  <a:lnTo>
                    <a:pt x="498" y="432"/>
                  </a:lnTo>
                  <a:lnTo>
                    <a:pt x="498" y="426"/>
                  </a:lnTo>
                  <a:lnTo>
                    <a:pt x="498" y="4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4" name="Freeform 9">
              <a:extLst>
                <a:ext uri="{FF2B5EF4-FFF2-40B4-BE49-F238E27FC236}">
                  <a16:creationId xmlns:a16="http://schemas.microsoft.com/office/drawing/2014/main" id="{E0116D32-BD2E-45EA-B818-A3082585D5F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3055" y="2468650"/>
              <a:ext cx="800556" cy="1207710"/>
            </a:xfrm>
            <a:custGeom>
              <a:avLst/>
              <a:gdLst>
                <a:gd name="T0" fmla="*/ 24 w 1506"/>
                <a:gd name="T1" fmla="*/ 190 h 2274"/>
                <a:gd name="T2" fmla="*/ 25 w 1506"/>
                <a:gd name="T3" fmla="*/ 180 h 2274"/>
                <a:gd name="T4" fmla="*/ 21 w 1506"/>
                <a:gd name="T5" fmla="*/ 174 h 2274"/>
                <a:gd name="T6" fmla="*/ 17 w 1506"/>
                <a:gd name="T7" fmla="*/ 170 h 2274"/>
                <a:gd name="T8" fmla="*/ 12 w 1506"/>
                <a:gd name="T9" fmla="*/ 168 h 2274"/>
                <a:gd name="T10" fmla="*/ 10 w 1506"/>
                <a:gd name="T11" fmla="*/ 173 h 2274"/>
                <a:gd name="T12" fmla="*/ 7 w 1506"/>
                <a:gd name="T13" fmla="*/ 174 h 2274"/>
                <a:gd name="T14" fmla="*/ 0 w 1506"/>
                <a:gd name="T15" fmla="*/ 163 h 2274"/>
                <a:gd name="T16" fmla="*/ 16 w 1506"/>
                <a:gd name="T17" fmla="*/ 140 h 2274"/>
                <a:gd name="T18" fmla="*/ 19 w 1506"/>
                <a:gd name="T19" fmla="*/ 137 h 2274"/>
                <a:gd name="T20" fmla="*/ 24 w 1506"/>
                <a:gd name="T21" fmla="*/ 126 h 2274"/>
                <a:gd name="T22" fmla="*/ 23 w 1506"/>
                <a:gd name="T23" fmla="*/ 105 h 2274"/>
                <a:gd name="T24" fmla="*/ 14 w 1506"/>
                <a:gd name="T25" fmla="*/ 86 h 2274"/>
                <a:gd name="T26" fmla="*/ 8 w 1506"/>
                <a:gd name="T27" fmla="*/ 84 h 2274"/>
                <a:gd name="T28" fmla="*/ 5 w 1506"/>
                <a:gd name="T29" fmla="*/ 79 h 2274"/>
                <a:gd name="T30" fmla="*/ 16 w 1506"/>
                <a:gd name="T31" fmla="*/ 71 h 2274"/>
                <a:gd name="T32" fmla="*/ 28 w 1506"/>
                <a:gd name="T33" fmla="*/ 55 h 2274"/>
                <a:gd name="T34" fmla="*/ 29 w 1506"/>
                <a:gd name="T35" fmla="*/ 48 h 2274"/>
                <a:gd name="T36" fmla="*/ 35 w 1506"/>
                <a:gd name="T37" fmla="*/ 50 h 2274"/>
                <a:gd name="T38" fmla="*/ 42 w 1506"/>
                <a:gd name="T39" fmla="*/ 47 h 2274"/>
                <a:gd name="T40" fmla="*/ 63 w 1506"/>
                <a:gd name="T41" fmla="*/ 34 h 2274"/>
                <a:gd name="T42" fmla="*/ 74 w 1506"/>
                <a:gd name="T43" fmla="*/ 27 h 2274"/>
                <a:gd name="T44" fmla="*/ 81 w 1506"/>
                <a:gd name="T45" fmla="*/ 20 h 2274"/>
                <a:gd name="T46" fmla="*/ 89 w 1506"/>
                <a:gd name="T47" fmla="*/ 20 h 2274"/>
                <a:gd name="T48" fmla="*/ 98 w 1506"/>
                <a:gd name="T49" fmla="*/ 27 h 2274"/>
                <a:gd name="T50" fmla="*/ 106 w 1506"/>
                <a:gd name="T51" fmla="*/ 17 h 2274"/>
                <a:gd name="T52" fmla="*/ 111 w 1506"/>
                <a:gd name="T53" fmla="*/ 8 h 2274"/>
                <a:gd name="T54" fmla="*/ 121 w 1506"/>
                <a:gd name="T55" fmla="*/ 2 h 2274"/>
                <a:gd name="T56" fmla="*/ 129 w 1506"/>
                <a:gd name="T57" fmla="*/ 5 h 2274"/>
                <a:gd name="T58" fmla="*/ 125 w 1506"/>
                <a:gd name="T59" fmla="*/ 12 h 2274"/>
                <a:gd name="T60" fmla="*/ 122 w 1506"/>
                <a:gd name="T61" fmla="*/ 20 h 2274"/>
                <a:gd name="T62" fmla="*/ 122 w 1506"/>
                <a:gd name="T63" fmla="*/ 27 h 2274"/>
                <a:gd name="T64" fmla="*/ 120 w 1506"/>
                <a:gd name="T65" fmla="*/ 36 h 2274"/>
                <a:gd name="T66" fmla="*/ 116 w 1506"/>
                <a:gd name="T67" fmla="*/ 43 h 2274"/>
                <a:gd name="T68" fmla="*/ 109 w 1506"/>
                <a:gd name="T69" fmla="*/ 47 h 2274"/>
                <a:gd name="T70" fmla="*/ 108 w 1506"/>
                <a:gd name="T71" fmla="*/ 54 h 2274"/>
                <a:gd name="T72" fmla="*/ 106 w 1506"/>
                <a:gd name="T73" fmla="*/ 59 h 2274"/>
                <a:gd name="T74" fmla="*/ 109 w 1506"/>
                <a:gd name="T75" fmla="*/ 64 h 2274"/>
                <a:gd name="T76" fmla="*/ 106 w 1506"/>
                <a:gd name="T77" fmla="*/ 70 h 2274"/>
                <a:gd name="T78" fmla="*/ 105 w 1506"/>
                <a:gd name="T79" fmla="*/ 75 h 2274"/>
                <a:gd name="T80" fmla="*/ 101 w 1506"/>
                <a:gd name="T81" fmla="*/ 78 h 2274"/>
                <a:gd name="T82" fmla="*/ 92 w 1506"/>
                <a:gd name="T83" fmla="*/ 81 h 2274"/>
                <a:gd name="T84" fmla="*/ 85 w 1506"/>
                <a:gd name="T85" fmla="*/ 85 h 2274"/>
                <a:gd name="T86" fmla="*/ 87 w 1506"/>
                <a:gd name="T87" fmla="*/ 91 h 2274"/>
                <a:gd name="T88" fmla="*/ 86 w 1506"/>
                <a:gd name="T89" fmla="*/ 98 h 2274"/>
                <a:gd name="T90" fmla="*/ 86 w 1506"/>
                <a:gd name="T91" fmla="*/ 103 h 2274"/>
                <a:gd name="T92" fmla="*/ 82 w 1506"/>
                <a:gd name="T93" fmla="*/ 111 h 2274"/>
                <a:gd name="T94" fmla="*/ 81 w 1506"/>
                <a:gd name="T95" fmla="*/ 116 h 2274"/>
                <a:gd name="T96" fmla="*/ 78 w 1506"/>
                <a:gd name="T97" fmla="*/ 120 h 2274"/>
                <a:gd name="T98" fmla="*/ 76 w 1506"/>
                <a:gd name="T99" fmla="*/ 126 h 2274"/>
                <a:gd name="T100" fmla="*/ 68 w 1506"/>
                <a:gd name="T101" fmla="*/ 129 h 2274"/>
                <a:gd name="T102" fmla="*/ 62 w 1506"/>
                <a:gd name="T103" fmla="*/ 131 h 2274"/>
                <a:gd name="T104" fmla="*/ 58 w 1506"/>
                <a:gd name="T105" fmla="*/ 136 h 2274"/>
                <a:gd name="T106" fmla="*/ 51 w 1506"/>
                <a:gd name="T107" fmla="*/ 138 h 2274"/>
                <a:gd name="T108" fmla="*/ 51 w 1506"/>
                <a:gd name="T109" fmla="*/ 147 h 2274"/>
                <a:gd name="T110" fmla="*/ 49 w 1506"/>
                <a:gd name="T111" fmla="*/ 159 h 2274"/>
                <a:gd name="T112" fmla="*/ 48 w 1506"/>
                <a:gd name="T113" fmla="*/ 166 h 2274"/>
                <a:gd name="T114" fmla="*/ 41 w 1506"/>
                <a:gd name="T115" fmla="*/ 174 h 2274"/>
                <a:gd name="T116" fmla="*/ 39 w 1506"/>
                <a:gd name="T117" fmla="*/ 181 h 2274"/>
                <a:gd name="T118" fmla="*/ 37 w 1506"/>
                <a:gd name="T119" fmla="*/ 190 h 2274"/>
                <a:gd name="T120" fmla="*/ 29 w 1506"/>
                <a:gd name="T121" fmla="*/ 198 h 22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06"/>
                <a:gd name="T184" fmla="*/ 0 h 2274"/>
                <a:gd name="T185" fmla="*/ 1506 w 1506"/>
                <a:gd name="T186" fmla="*/ 2274 h 227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06" h="2274">
                  <a:moveTo>
                    <a:pt x="330" y="2274"/>
                  </a:moveTo>
                  <a:lnTo>
                    <a:pt x="318" y="2262"/>
                  </a:lnTo>
                  <a:lnTo>
                    <a:pt x="312" y="2238"/>
                  </a:lnTo>
                  <a:lnTo>
                    <a:pt x="312" y="2232"/>
                  </a:lnTo>
                  <a:lnTo>
                    <a:pt x="294" y="2214"/>
                  </a:lnTo>
                  <a:lnTo>
                    <a:pt x="288" y="2208"/>
                  </a:lnTo>
                  <a:lnTo>
                    <a:pt x="288" y="2202"/>
                  </a:lnTo>
                  <a:lnTo>
                    <a:pt x="276" y="2196"/>
                  </a:lnTo>
                  <a:lnTo>
                    <a:pt x="276" y="2190"/>
                  </a:lnTo>
                  <a:lnTo>
                    <a:pt x="282" y="2190"/>
                  </a:lnTo>
                  <a:lnTo>
                    <a:pt x="282" y="2184"/>
                  </a:lnTo>
                  <a:lnTo>
                    <a:pt x="276" y="2172"/>
                  </a:lnTo>
                  <a:lnTo>
                    <a:pt x="276" y="2166"/>
                  </a:lnTo>
                  <a:lnTo>
                    <a:pt x="282" y="2166"/>
                  </a:lnTo>
                  <a:lnTo>
                    <a:pt x="282" y="2154"/>
                  </a:lnTo>
                  <a:lnTo>
                    <a:pt x="276" y="2136"/>
                  </a:lnTo>
                  <a:lnTo>
                    <a:pt x="276" y="2112"/>
                  </a:lnTo>
                  <a:lnTo>
                    <a:pt x="282" y="2088"/>
                  </a:lnTo>
                  <a:lnTo>
                    <a:pt x="282" y="2082"/>
                  </a:lnTo>
                  <a:lnTo>
                    <a:pt x="282" y="2076"/>
                  </a:lnTo>
                  <a:lnTo>
                    <a:pt x="282" y="2070"/>
                  </a:lnTo>
                  <a:lnTo>
                    <a:pt x="288" y="2070"/>
                  </a:lnTo>
                  <a:lnTo>
                    <a:pt x="288" y="2064"/>
                  </a:lnTo>
                  <a:lnTo>
                    <a:pt x="282" y="2052"/>
                  </a:lnTo>
                  <a:lnTo>
                    <a:pt x="282" y="2046"/>
                  </a:lnTo>
                  <a:lnTo>
                    <a:pt x="276" y="2040"/>
                  </a:lnTo>
                  <a:lnTo>
                    <a:pt x="270" y="2034"/>
                  </a:lnTo>
                  <a:lnTo>
                    <a:pt x="264" y="2022"/>
                  </a:lnTo>
                  <a:lnTo>
                    <a:pt x="258" y="2022"/>
                  </a:lnTo>
                  <a:lnTo>
                    <a:pt x="258" y="2016"/>
                  </a:lnTo>
                  <a:lnTo>
                    <a:pt x="252" y="2016"/>
                  </a:lnTo>
                  <a:lnTo>
                    <a:pt x="246" y="2016"/>
                  </a:lnTo>
                  <a:lnTo>
                    <a:pt x="240" y="2010"/>
                  </a:lnTo>
                  <a:lnTo>
                    <a:pt x="234" y="2004"/>
                  </a:lnTo>
                  <a:lnTo>
                    <a:pt x="228" y="2004"/>
                  </a:lnTo>
                  <a:lnTo>
                    <a:pt x="228" y="1998"/>
                  </a:lnTo>
                  <a:lnTo>
                    <a:pt x="228" y="1992"/>
                  </a:lnTo>
                  <a:lnTo>
                    <a:pt x="222" y="1992"/>
                  </a:lnTo>
                  <a:lnTo>
                    <a:pt x="222" y="1986"/>
                  </a:lnTo>
                  <a:lnTo>
                    <a:pt x="216" y="1986"/>
                  </a:lnTo>
                  <a:lnTo>
                    <a:pt x="210" y="1980"/>
                  </a:lnTo>
                  <a:lnTo>
                    <a:pt x="216" y="1974"/>
                  </a:lnTo>
                  <a:lnTo>
                    <a:pt x="210" y="1968"/>
                  </a:lnTo>
                  <a:lnTo>
                    <a:pt x="198" y="1956"/>
                  </a:lnTo>
                  <a:lnTo>
                    <a:pt x="192" y="1956"/>
                  </a:lnTo>
                  <a:lnTo>
                    <a:pt x="186" y="1956"/>
                  </a:lnTo>
                  <a:lnTo>
                    <a:pt x="180" y="1944"/>
                  </a:lnTo>
                  <a:lnTo>
                    <a:pt x="180" y="1938"/>
                  </a:lnTo>
                  <a:lnTo>
                    <a:pt x="174" y="1932"/>
                  </a:lnTo>
                  <a:lnTo>
                    <a:pt x="168" y="1932"/>
                  </a:lnTo>
                  <a:lnTo>
                    <a:pt x="162" y="1932"/>
                  </a:lnTo>
                  <a:lnTo>
                    <a:pt x="150" y="1932"/>
                  </a:lnTo>
                  <a:lnTo>
                    <a:pt x="150" y="1926"/>
                  </a:lnTo>
                  <a:lnTo>
                    <a:pt x="150" y="1932"/>
                  </a:lnTo>
                  <a:lnTo>
                    <a:pt x="144" y="1932"/>
                  </a:lnTo>
                  <a:lnTo>
                    <a:pt x="138" y="1932"/>
                  </a:lnTo>
                  <a:lnTo>
                    <a:pt x="132" y="1932"/>
                  </a:lnTo>
                  <a:lnTo>
                    <a:pt x="132" y="1938"/>
                  </a:lnTo>
                  <a:lnTo>
                    <a:pt x="126" y="1944"/>
                  </a:lnTo>
                  <a:lnTo>
                    <a:pt x="126" y="1956"/>
                  </a:lnTo>
                  <a:lnTo>
                    <a:pt x="120" y="1968"/>
                  </a:lnTo>
                  <a:lnTo>
                    <a:pt x="120" y="1974"/>
                  </a:lnTo>
                  <a:lnTo>
                    <a:pt x="120" y="1980"/>
                  </a:lnTo>
                  <a:lnTo>
                    <a:pt x="126" y="1980"/>
                  </a:lnTo>
                  <a:lnTo>
                    <a:pt x="120" y="1986"/>
                  </a:lnTo>
                  <a:lnTo>
                    <a:pt x="120" y="1992"/>
                  </a:lnTo>
                  <a:lnTo>
                    <a:pt x="114" y="1992"/>
                  </a:lnTo>
                  <a:lnTo>
                    <a:pt x="114" y="1986"/>
                  </a:lnTo>
                  <a:lnTo>
                    <a:pt x="108" y="1992"/>
                  </a:lnTo>
                  <a:lnTo>
                    <a:pt x="108" y="1998"/>
                  </a:lnTo>
                  <a:lnTo>
                    <a:pt x="114" y="2004"/>
                  </a:lnTo>
                  <a:lnTo>
                    <a:pt x="108" y="2004"/>
                  </a:lnTo>
                  <a:lnTo>
                    <a:pt x="102" y="2010"/>
                  </a:lnTo>
                  <a:lnTo>
                    <a:pt x="102" y="2004"/>
                  </a:lnTo>
                  <a:lnTo>
                    <a:pt x="90" y="2004"/>
                  </a:lnTo>
                  <a:lnTo>
                    <a:pt x="84" y="2004"/>
                  </a:lnTo>
                  <a:lnTo>
                    <a:pt x="78" y="1998"/>
                  </a:lnTo>
                  <a:lnTo>
                    <a:pt x="78" y="1992"/>
                  </a:lnTo>
                  <a:lnTo>
                    <a:pt x="78" y="1986"/>
                  </a:lnTo>
                  <a:lnTo>
                    <a:pt x="72" y="1986"/>
                  </a:lnTo>
                  <a:lnTo>
                    <a:pt x="66" y="1980"/>
                  </a:lnTo>
                  <a:lnTo>
                    <a:pt x="66" y="1968"/>
                  </a:lnTo>
                  <a:lnTo>
                    <a:pt x="60" y="1956"/>
                  </a:lnTo>
                  <a:lnTo>
                    <a:pt x="60" y="1950"/>
                  </a:lnTo>
                  <a:lnTo>
                    <a:pt x="48" y="1944"/>
                  </a:lnTo>
                  <a:lnTo>
                    <a:pt x="30" y="1926"/>
                  </a:lnTo>
                  <a:lnTo>
                    <a:pt x="12" y="1890"/>
                  </a:lnTo>
                  <a:lnTo>
                    <a:pt x="6" y="1872"/>
                  </a:lnTo>
                  <a:lnTo>
                    <a:pt x="0" y="1854"/>
                  </a:lnTo>
                  <a:lnTo>
                    <a:pt x="6" y="1824"/>
                  </a:lnTo>
                  <a:lnTo>
                    <a:pt x="30" y="1794"/>
                  </a:lnTo>
                  <a:lnTo>
                    <a:pt x="66" y="1752"/>
                  </a:lnTo>
                  <a:lnTo>
                    <a:pt x="72" y="1752"/>
                  </a:lnTo>
                  <a:lnTo>
                    <a:pt x="78" y="1746"/>
                  </a:lnTo>
                  <a:lnTo>
                    <a:pt x="84" y="1746"/>
                  </a:lnTo>
                  <a:lnTo>
                    <a:pt x="90" y="1746"/>
                  </a:lnTo>
                  <a:lnTo>
                    <a:pt x="138" y="1674"/>
                  </a:lnTo>
                  <a:lnTo>
                    <a:pt x="186" y="1620"/>
                  </a:lnTo>
                  <a:lnTo>
                    <a:pt x="186" y="1614"/>
                  </a:lnTo>
                  <a:lnTo>
                    <a:pt x="186" y="1608"/>
                  </a:lnTo>
                  <a:lnTo>
                    <a:pt x="192" y="1608"/>
                  </a:lnTo>
                  <a:lnTo>
                    <a:pt x="192" y="1614"/>
                  </a:lnTo>
                  <a:lnTo>
                    <a:pt x="198" y="1614"/>
                  </a:lnTo>
                  <a:lnTo>
                    <a:pt x="198" y="1608"/>
                  </a:lnTo>
                  <a:lnTo>
                    <a:pt x="198" y="1602"/>
                  </a:lnTo>
                  <a:lnTo>
                    <a:pt x="204" y="1602"/>
                  </a:lnTo>
                  <a:lnTo>
                    <a:pt x="204" y="1596"/>
                  </a:lnTo>
                  <a:lnTo>
                    <a:pt x="210" y="1590"/>
                  </a:lnTo>
                  <a:lnTo>
                    <a:pt x="216" y="1590"/>
                  </a:lnTo>
                  <a:lnTo>
                    <a:pt x="216" y="1584"/>
                  </a:lnTo>
                  <a:lnTo>
                    <a:pt x="222" y="1584"/>
                  </a:lnTo>
                  <a:lnTo>
                    <a:pt x="228" y="1572"/>
                  </a:lnTo>
                  <a:lnTo>
                    <a:pt x="222" y="1572"/>
                  </a:lnTo>
                  <a:lnTo>
                    <a:pt x="228" y="1566"/>
                  </a:lnTo>
                  <a:lnTo>
                    <a:pt x="228" y="1560"/>
                  </a:lnTo>
                  <a:lnTo>
                    <a:pt x="252" y="1548"/>
                  </a:lnTo>
                  <a:lnTo>
                    <a:pt x="276" y="1530"/>
                  </a:lnTo>
                  <a:lnTo>
                    <a:pt x="282" y="1512"/>
                  </a:lnTo>
                  <a:lnTo>
                    <a:pt x="282" y="1506"/>
                  </a:lnTo>
                  <a:lnTo>
                    <a:pt x="282" y="1494"/>
                  </a:lnTo>
                  <a:lnTo>
                    <a:pt x="282" y="1452"/>
                  </a:lnTo>
                  <a:lnTo>
                    <a:pt x="288" y="1440"/>
                  </a:lnTo>
                  <a:lnTo>
                    <a:pt x="294" y="1440"/>
                  </a:lnTo>
                  <a:lnTo>
                    <a:pt x="294" y="1428"/>
                  </a:lnTo>
                  <a:lnTo>
                    <a:pt x="324" y="1368"/>
                  </a:lnTo>
                  <a:lnTo>
                    <a:pt x="330" y="1362"/>
                  </a:lnTo>
                  <a:lnTo>
                    <a:pt x="330" y="1356"/>
                  </a:lnTo>
                  <a:lnTo>
                    <a:pt x="360" y="1338"/>
                  </a:lnTo>
                  <a:lnTo>
                    <a:pt x="366" y="1296"/>
                  </a:lnTo>
                  <a:lnTo>
                    <a:pt x="354" y="1278"/>
                  </a:lnTo>
                  <a:lnTo>
                    <a:pt x="336" y="1230"/>
                  </a:lnTo>
                  <a:lnTo>
                    <a:pt x="270" y="1212"/>
                  </a:lnTo>
                  <a:lnTo>
                    <a:pt x="264" y="1212"/>
                  </a:lnTo>
                  <a:lnTo>
                    <a:pt x="252" y="1200"/>
                  </a:lnTo>
                  <a:lnTo>
                    <a:pt x="234" y="1188"/>
                  </a:lnTo>
                  <a:lnTo>
                    <a:pt x="222" y="1182"/>
                  </a:lnTo>
                  <a:lnTo>
                    <a:pt x="228" y="1104"/>
                  </a:lnTo>
                  <a:lnTo>
                    <a:pt x="228" y="1098"/>
                  </a:lnTo>
                  <a:lnTo>
                    <a:pt x="198" y="1038"/>
                  </a:lnTo>
                  <a:lnTo>
                    <a:pt x="192" y="1032"/>
                  </a:lnTo>
                  <a:lnTo>
                    <a:pt x="180" y="1020"/>
                  </a:lnTo>
                  <a:lnTo>
                    <a:pt x="168" y="996"/>
                  </a:lnTo>
                  <a:lnTo>
                    <a:pt x="162" y="990"/>
                  </a:lnTo>
                  <a:lnTo>
                    <a:pt x="156" y="990"/>
                  </a:lnTo>
                  <a:lnTo>
                    <a:pt x="150" y="990"/>
                  </a:lnTo>
                  <a:lnTo>
                    <a:pt x="132" y="990"/>
                  </a:lnTo>
                  <a:lnTo>
                    <a:pt x="120" y="984"/>
                  </a:lnTo>
                  <a:lnTo>
                    <a:pt x="120" y="990"/>
                  </a:lnTo>
                  <a:lnTo>
                    <a:pt x="114" y="990"/>
                  </a:lnTo>
                  <a:lnTo>
                    <a:pt x="102" y="984"/>
                  </a:lnTo>
                  <a:lnTo>
                    <a:pt x="96" y="984"/>
                  </a:lnTo>
                  <a:lnTo>
                    <a:pt x="96" y="978"/>
                  </a:lnTo>
                  <a:lnTo>
                    <a:pt x="90" y="978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84" y="960"/>
                  </a:lnTo>
                  <a:lnTo>
                    <a:pt x="84" y="954"/>
                  </a:lnTo>
                  <a:lnTo>
                    <a:pt x="78" y="948"/>
                  </a:lnTo>
                  <a:lnTo>
                    <a:pt x="72" y="948"/>
                  </a:lnTo>
                  <a:lnTo>
                    <a:pt x="72" y="942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06"/>
                  </a:lnTo>
                  <a:lnTo>
                    <a:pt x="60" y="888"/>
                  </a:lnTo>
                  <a:lnTo>
                    <a:pt x="54" y="882"/>
                  </a:lnTo>
                  <a:lnTo>
                    <a:pt x="60" y="882"/>
                  </a:lnTo>
                  <a:lnTo>
                    <a:pt x="72" y="876"/>
                  </a:lnTo>
                  <a:lnTo>
                    <a:pt x="78" y="876"/>
                  </a:lnTo>
                  <a:lnTo>
                    <a:pt x="90" y="870"/>
                  </a:lnTo>
                  <a:lnTo>
                    <a:pt x="90" y="864"/>
                  </a:lnTo>
                  <a:lnTo>
                    <a:pt x="96" y="840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80" y="822"/>
                  </a:lnTo>
                  <a:lnTo>
                    <a:pt x="204" y="798"/>
                  </a:lnTo>
                  <a:lnTo>
                    <a:pt x="222" y="786"/>
                  </a:lnTo>
                  <a:lnTo>
                    <a:pt x="252" y="780"/>
                  </a:lnTo>
                  <a:lnTo>
                    <a:pt x="264" y="762"/>
                  </a:lnTo>
                  <a:lnTo>
                    <a:pt x="276" y="762"/>
                  </a:lnTo>
                  <a:lnTo>
                    <a:pt x="288" y="744"/>
                  </a:lnTo>
                  <a:lnTo>
                    <a:pt x="306" y="738"/>
                  </a:lnTo>
                  <a:lnTo>
                    <a:pt x="318" y="732"/>
                  </a:lnTo>
                  <a:lnTo>
                    <a:pt x="324" y="648"/>
                  </a:lnTo>
                  <a:lnTo>
                    <a:pt x="324" y="636"/>
                  </a:lnTo>
                  <a:lnTo>
                    <a:pt x="324" y="630"/>
                  </a:lnTo>
                  <a:lnTo>
                    <a:pt x="330" y="624"/>
                  </a:lnTo>
                  <a:lnTo>
                    <a:pt x="324" y="618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24" y="588"/>
                  </a:lnTo>
                  <a:lnTo>
                    <a:pt x="318" y="576"/>
                  </a:lnTo>
                  <a:lnTo>
                    <a:pt x="318" y="570"/>
                  </a:lnTo>
                  <a:lnTo>
                    <a:pt x="324" y="570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30" y="558"/>
                  </a:lnTo>
                  <a:lnTo>
                    <a:pt x="336" y="558"/>
                  </a:lnTo>
                  <a:lnTo>
                    <a:pt x="342" y="558"/>
                  </a:lnTo>
                  <a:lnTo>
                    <a:pt x="348" y="558"/>
                  </a:lnTo>
                  <a:lnTo>
                    <a:pt x="354" y="564"/>
                  </a:lnTo>
                  <a:lnTo>
                    <a:pt x="360" y="564"/>
                  </a:lnTo>
                  <a:lnTo>
                    <a:pt x="366" y="570"/>
                  </a:lnTo>
                  <a:lnTo>
                    <a:pt x="366" y="576"/>
                  </a:lnTo>
                  <a:lnTo>
                    <a:pt x="372" y="570"/>
                  </a:lnTo>
                  <a:lnTo>
                    <a:pt x="378" y="570"/>
                  </a:lnTo>
                  <a:lnTo>
                    <a:pt x="390" y="570"/>
                  </a:lnTo>
                  <a:lnTo>
                    <a:pt x="402" y="570"/>
                  </a:lnTo>
                  <a:lnTo>
                    <a:pt x="408" y="570"/>
                  </a:lnTo>
                  <a:lnTo>
                    <a:pt x="414" y="564"/>
                  </a:lnTo>
                  <a:lnTo>
                    <a:pt x="420" y="564"/>
                  </a:lnTo>
                  <a:lnTo>
                    <a:pt x="420" y="570"/>
                  </a:lnTo>
                  <a:lnTo>
                    <a:pt x="426" y="570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44" y="570"/>
                  </a:lnTo>
                  <a:lnTo>
                    <a:pt x="450" y="564"/>
                  </a:lnTo>
                  <a:lnTo>
                    <a:pt x="474" y="558"/>
                  </a:lnTo>
                  <a:lnTo>
                    <a:pt x="486" y="54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40" y="474"/>
                  </a:lnTo>
                  <a:lnTo>
                    <a:pt x="558" y="456"/>
                  </a:lnTo>
                  <a:lnTo>
                    <a:pt x="582" y="450"/>
                  </a:lnTo>
                  <a:lnTo>
                    <a:pt x="594" y="414"/>
                  </a:lnTo>
                  <a:lnTo>
                    <a:pt x="612" y="390"/>
                  </a:lnTo>
                  <a:lnTo>
                    <a:pt x="636" y="390"/>
                  </a:lnTo>
                  <a:lnTo>
                    <a:pt x="666" y="390"/>
                  </a:lnTo>
                  <a:lnTo>
                    <a:pt x="696" y="390"/>
                  </a:lnTo>
                  <a:lnTo>
                    <a:pt x="726" y="390"/>
                  </a:lnTo>
                  <a:lnTo>
                    <a:pt x="762" y="378"/>
                  </a:lnTo>
                  <a:lnTo>
                    <a:pt x="780" y="366"/>
                  </a:lnTo>
                  <a:lnTo>
                    <a:pt x="780" y="342"/>
                  </a:lnTo>
                  <a:lnTo>
                    <a:pt x="786" y="342"/>
                  </a:lnTo>
                  <a:lnTo>
                    <a:pt x="786" y="336"/>
                  </a:lnTo>
                  <a:lnTo>
                    <a:pt x="786" y="330"/>
                  </a:lnTo>
                  <a:lnTo>
                    <a:pt x="786" y="324"/>
                  </a:lnTo>
                  <a:lnTo>
                    <a:pt x="816" y="318"/>
                  </a:lnTo>
                  <a:lnTo>
                    <a:pt x="834" y="312"/>
                  </a:lnTo>
                  <a:lnTo>
                    <a:pt x="840" y="318"/>
                  </a:lnTo>
                  <a:lnTo>
                    <a:pt x="852" y="318"/>
                  </a:lnTo>
                  <a:lnTo>
                    <a:pt x="858" y="306"/>
                  </a:lnTo>
                  <a:lnTo>
                    <a:pt x="864" y="288"/>
                  </a:lnTo>
                  <a:lnTo>
                    <a:pt x="870" y="282"/>
                  </a:lnTo>
                  <a:lnTo>
                    <a:pt x="876" y="276"/>
                  </a:lnTo>
                  <a:lnTo>
                    <a:pt x="882" y="264"/>
                  </a:lnTo>
                  <a:lnTo>
                    <a:pt x="882" y="258"/>
                  </a:lnTo>
                  <a:lnTo>
                    <a:pt x="888" y="252"/>
                  </a:lnTo>
                  <a:lnTo>
                    <a:pt x="894" y="240"/>
                  </a:lnTo>
                  <a:lnTo>
                    <a:pt x="906" y="228"/>
                  </a:lnTo>
                  <a:lnTo>
                    <a:pt x="912" y="228"/>
                  </a:lnTo>
                  <a:lnTo>
                    <a:pt x="936" y="228"/>
                  </a:lnTo>
                  <a:lnTo>
                    <a:pt x="942" y="222"/>
                  </a:lnTo>
                  <a:lnTo>
                    <a:pt x="948" y="216"/>
                  </a:lnTo>
                  <a:lnTo>
                    <a:pt x="954" y="216"/>
                  </a:lnTo>
                  <a:lnTo>
                    <a:pt x="960" y="216"/>
                  </a:lnTo>
                  <a:lnTo>
                    <a:pt x="966" y="216"/>
                  </a:lnTo>
                  <a:lnTo>
                    <a:pt x="978" y="216"/>
                  </a:lnTo>
                  <a:lnTo>
                    <a:pt x="990" y="222"/>
                  </a:lnTo>
                  <a:lnTo>
                    <a:pt x="996" y="222"/>
                  </a:lnTo>
                  <a:lnTo>
                    <a:pt x="1002" y="228"/>
                  </a:lnTo>
                  <a:lnTo>
                    <a:pt x="1014" y="234"/>
                  </a:lnTo>
                  <a:lnTo>
                    <a:pt x="1020" y="234"/>
                  </a:lnTo>
                  <a:lnTo>
                    <a:pt x="1032" y="240"/>
                  </a:lnTo>
                  <a:lnTo>
                    <a:pt x="1044" y="240"/>
                  </a:lnTo>
                  <a:lnTo>
                    <a:pt x="1050" y="240"/>
                  </a:lnTo>
                  <a:lnTo>
                    <a:pt x="1056" y="246"/>
                  </a:lnTo>
                  <a:lnTo>
                    <a:pt x="1068" y="264"/>
                  </a:lnTo>
                  <a:lnTo>
                    <a:pt x="1086" y="276"/>
                  </a:lnTo>
                  <a:lnTo>
                    <a:pt x="1092" y="276"/>
                  </a:lnTo>
                  <a:lnTo>
                    <a:pt x="1104" y="282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8" y="312"/>
                  </a:lnTo>
                  <a:lnTo>
                    <a:pt x="1152" y="324"/>
                  </a:lnTo>
                  <a:lnTo>
                    <a:pt x="1188" y="324"/>
                  </a:lnTo>
                  <a:lnTo>
                    <a:pt x="1206" y="318"/>
                  </a:lnTo>
                  <a:lnTo>
                    <a:pt x="1200" y="294"/>
                  </a:lnTo>
                  <a:lnTo>
                    <a:pt x="1206" y="252"/>
                  </a:lnTo>
                  <a:lnTo>
                    <a:pt x="1218" y="222"/>
                  </a:lnTo>
                  <a:lnTo>
                    <a:pt x="1212" y="222"/>
                  </a:lnTo>
                  <a:lnTo>
                    <a:pt x="1212" y="216"/>
                  </a:lnTo>
                  <a:lnTo>
                    <a:pt x="1218" y="204"/>
                  </a:lnTo>
                  <a:lnTo>
                    <a:pt x="1224" y="198"/>
                  </a:lnTo>
                  <a:lnTo>
                    <a:pt x="1224" y="192"/>
                  </a:lnTo>
                  <a:lnTo>
                    <a:pt x="1236" y="180"/>
                  </a:lnTo>
                  <a:lnTo>
                    <a:pt x="1254" y="156"/>
                  </a:lnTo>
                  <a:lnTo>
                    <a:pt x="1260" y="150"/>
                  </a:lnTo>
                  <a:lnTo>
                    <a:pt x="1260" y="144"/>
                  </a:lnTo>
                  <a:lnTo>
                    <a:pt x="1266" y="138"/>
                  </a:lnTo>
                  <a:lnTo>
                    <a:pt x="1272" y="138"/>
                  </a:lnTo>
                  <a:lnTo>
                    <a:pt x="1272" y="120"/>
                  </a:lnTo>
                  <a:lnTo>
                    <a:pt x="1278" y="114"/>
                  </a:lnTo>
                  <a:lnTo>
                    <a:pt x="1278" y="108"/>
                  </a:lnTo>
                  <a:lnTo>
                    <a:pt x="1278" y="102"/>
                  </a:lnTo>
                  <a:lnTo>
                    <a:pt x="1278" y="90"/>
                  </a:lnTo>
                  <a:lnTo>
                    <a:pt x="1278" y="84"/>
                  </a:lnTo>
                  <a:lnTo>
                    <a:pt x="1278" y="78"/>
                  </a:lnTo>
                  <a:lnTo>
                    <a:pt x="1278" y="72"/>
                  </a:lnTo>
                  <a:lnTo>
                    <a:pt x="1278" y="60"/>
                  </a:lnTo>
                  <a:lnTo>
                    <a:pt x="1284" y="48"/>
                  </a:lnTo>
                  <a:lnTo>
                    <a:pt x="1284" y="24"/>
                  </a:lnTo>
                  <a:lnTo>
                    <a:pt x="1284" y="18"/>
                  </a:lnTo>
                  <a:lnTo>
                    <a:pt x="1308" y="24"/>
                  </a:lnTo>
                  <a:lnTo>
                    <a:pt x="1332" y="30"/>
                  </a:lnTo>
                  <a:lnTo>
                    <a:pt x="1368" y="30"/>
                  </a:lnTo>
                  <a:lnTo>
                    <a:pt x="1392" y="24"/>
                  </a:lnTo>
                  <a:lnTo>
                    <a:pt x="1410" y="18"/>
                  </a:lnTo>
                  <a:lnTo>
                    <a:pt x="1416" y="6"/>
                  </a:lnTo>
                  <a:lnTo>
                    <a:pt x="1500" y="6"/>
                  </a:lnTo>
                  <a:lnTo>
                    <a:pt x="1506" y="0"/>
                  </a:lnTo>
                  <a:lnTo>
                    <a:pt x="1506" y="6"/>
                  </a:lnTo>
                  <a:lnTo>
                    <a:pt x="1506" y="18"/>
                  </a:lnTo>
                  <a:lnTo>
                    <a:pt x="1506" y="24"/>
                  </a:lnTo>
                  <a:lnTo>
                    <a:pt x="1500" y="30"/>
                  </a:lnTo>
                  <a:lnTo>
                    <a:pt x="1500" y="42"/>
                  </a:lnTo>
                  <a:lnTo>
                    <a:pt x="1494" y="54"/>
                  </a:lnTo>
                  <a:lnTo>
                    <a:pt x="1488" y="60"/>
                  </a:lnTo>
                  <a:lnTo>
                    <a:pt x="1482" y="60"/>
                  </a:lnTo>
                  <a:lnTo>
                    <a:pt x="1476" y="66"/>
                  </a:lnTo>
                  <a:lnTo>
                    <a:pt x="1476" y="72"/>
                  </a:lnTo>
                  <a:lnTo>
                    <a:pt x="1476" y="78"/>
                  </a:lnTo>
                  <a:lnTo>
                    <a:pt x="1470" y="78"/>
                  </a:lnTo>
                  <a:lnTo>
                    <a:pt x="1464" y="90"/>
                  </a:lnTo>
                  <a:lnTo>
                    <a:pt x="1458" y="96"/>
                  </a:lnTo>
                  <a:lnTo>
                    <a:pt x="1458" y="102"/>
                  </a:lnTo>
                  <a:lnTo>
                    <a:pt x="1452" y="120"/>
                  </a:lnTo>
                  <a:lnTo>
                    <a:pt x="1452" y="132"/>
                  </a:lnTo>
                  <a:lnTo>
                    <a:pt x="1446" y="144"/>
                  </a:lnTo>
                  <a:lnTo>
                    <a:pt x="1446" y="150"/>
                  </a:lnTo>
                  <a:lnTo>
                    <a:pt x="1440" y="150"/>
                  </a:lnTo>
                  <a:lnTo>
                    <a:pt x="1434" y="156"/>
                  </a:lnTo>
                  <a:lnTo>
                    <a:pt x="1428" y="168"/>
                  </a:lnTo>
                  <a:lnTo>
                    <a:pt x="1422" y="168"/>
                  </a:lnTo>
                  <a:lnTo>
                    <a:pt x="1416" y="174"/>
                  </a:lnTo>
                  <a:lnTo>
                    <a:pt x="1410" y="186"/>
                  </a:lnTo>
                  <a:lnTo>
                    <a:pt x="1410" y="204"/>
                  </a:lnTo>
                  <a:lnTo>
                    <a:pt x="1404" y="210"/>
                  </a:lnTo>
                  <a:lnTo>
                    <a:pt x="1404" y="216"/>
                  </a:lnTo>
                  <a:lnTo>
                    <a:pt x="1410" y="228"/>
                  </a:lnTo>
                  <a:lnTo>
                    <a:pt x="1410" y="234"/>
                  </a:lnTo>
                  <a:lnTo>
                    <a:pt x="1410" y="240"/>
                  </a:lnTo>
                  <a:lnTo>
                    <a:pt x="1416" y="252"/>
                  </a:lnTo>
                  <a:lnTo>
                    <a:pt x="1416" y="258"/>
                  </a:lnTo>
                  <a:lnTo>
                    <a:pt x="1422" y="264"/>
                  </a:lnTo>
                  <a:lnTo>
                    <a:pt x="1422" y="270"/>
                  </a:lnTo>
                  <a:lnTo>
                    <a:pt x="1422" y="282"/>
                  </a:lnTo>
                  <a:lnTo>
                    <a:pt x="1416" y="288"/>
                  </a:lnTo>
                  <a:lnTo>
                    <a:pt x="1410" y="294"/>
                  </a:lnTo>
                  <a:lnTo>
                    <a:pt x="1404" y="300"/>
                  </a:lnTo>
                  <a:lnTo>
                    <a:pt x="1404" y="306"/>
                  </a:lnTo>
                  <a:lnTo>
                    <a:pt x="1398" y="324"/>
                  </a:lnTo>
                  <a:lnTo>
                    <a:pt x="1404" y="330"/>
                  </a:lnTo>
                  <a:lnTo>
                    <a:pt x="1404" y="342"/>
                  </a:lnTo>
                  <a:lnTo>
                    <a:pt x="1392" y="354"/>
                  </a:lnTo>
                  <a:lnTo>
                    <a:pt x="1392" y="360"/>
                  </a:lnTo>
                  <a:lnTo>
                    <a:pt x="1392" y="372"/>
                  </a:lnTo>
                  <a:lnTo>
                    <a:pt x="1392" y="384"/>
                  </a:lnTo>
                  <a:lnTo>
                    <a:pt x="1392" y="396"/>
                  </a:lnTo>
                  <a:lnTo>
                    <a:pt x="1392" y="408"/>
                  </a:lnTo>
                  <a:lnTo>
                    <a:pt x="1386" y="414"/>
                  </a:lnTo>
                  <a:lnTo>
                    <a:pt x="1380" y="420"/>
                  </a:lnTo>
                  <a:lnTo>
                    <a:pt x="1380" y="426"/>
                  </a:lnTo>
                  <a:lnTo>
                    <a:pt x="1368" y="432"/>
                  </a:lnTo>
                  <a:lnTo>
                    <a:pt x="1362" y="444"/>
                  </a:lnTo>
                  <a:lnTo>
                    <a:pt x="1362" y="450"/>
                  </a:lnTo>
                  <a:lnTo>
                    <a:pt x="1362" y="462"/>
                  </a:lnTo>
                  <a:lnTo>
                    <a:pt x="1362" y="468"/>
                  </a:lnTo>
                  <a:lnTo>
                    <a:pt x="1362" y="474"/>
                  </a:lnTo>
                  <a:lnTo>
                    <a:pt x="1356" y="474"/>
                  </a:lnTo>
                  <a:lnTo>
                    <a:pt x="1350" y="480"/>
                  </a:lnTo>
                  <a:lnTo>
                    <a:pt x="1344" y="486"/>
                  </a:lnTo>
                  <a:lnTo>
                    <a:pt x="1338" y="498"/>
                  </a:lnTo>
                  <a:lnTo>
                    <a:pt x="1332" y="510"/>
                  </a:lnTo>
                  <a:lnTo>
                    <a:pt x="1320" y="510"/>
                  </a:lnTo>
                  <a:lnTo>
                    <a:pt x="1314" y="516"/>
                  </a:lnTo>
                  <a:lnTo>
                    <a:pt x="1302" y="522"/>
                  </a:lnTo>
                  <a:lnTo>
                    <a:pt x="1296" y="522"/>
                  </a:lnTo>
                  <a:lnTo>
                    <a:pt x="1284" y="516"/>
                  </a:lnTo>
                  <a:lnTo>
                    <a:pt x="1278" y="516"/>
                  </a:lnTo>
                  <a:lnTo>
                    <a:pt x="1272" y="522"/>
                  </a:lnTo>
                  <a:lnTo>
                    <a:pt x="1266" y="522"/>
                  </a:lnTo>
                  <a:lnTo>
                    <a:pt x="1266" y="528"/>
                  </a:lnTo>
                  <a:lnTo>
                    <a:pt x="1254" y="540"/>
                  </a:lnTo>
                  <a:lnTo>
                    <a:pt x="1248" y="546"/>
                  </a:lnTo>
                  <a:lnTo>
                    <a:pt x="1242" y="558"/>
                  </a:lnTo>
                  <a:lnTo>
                    <a:pt x="1230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30" y="594"/>
                  </a:lnTo>
                  <a:lnTo>
                    <a:pt x="1230" y="600"/>
                  </a:lnTo>
                  <a:lnTo>
                    <a:pt x="1236" y="606"/>
                  </a:lnTo>
                  <a:lnTo>
                    <a:pt x="1242" y="606"/>
                  </a:lnTo>
                  <a:lnTo>
                    <a:pt x="1242" y="612"/>
                  </a:lnTo>
                  <a:lnTo>
                    <a:pt x="1242" y="618"/>
                  </a:lnTo>
                  <a:lnTo>
                    <a:pt x="1242" y="624"/>
                  </a:lnTo>
                  <a:lnTo>
                    <a:pt x="1236" y="630"/>
                  </a:lnTo>
                  <a:lnTo>
                    <a:pt x="1230" y="642"/>
                  </a:lnTo>
                  <a:lnTo>
                    <a:pt x="1230" y="648"/>
                  </a:lnTo>
                  <a:lnTo>
                    <a:pt x="1218" y="654"/>
                  </a:lnTo>
                  <a:lnTo>
                    <a:pt x="1212" y="654"/>
                  </a:lnTo>
                  <a:lnTo>
                    <a:pt x="1212" y="660"/>
                  </a:lnTo>
                  <a:lnTo>
                    <a:pt x="1212" y="666"/>
                  </a:lnTo>
                  <a:lnTo>
                    <a:pt x="1212" y="672"/>
                  </a:lnTo>
                  <a:lnTo>
                    <a:pt x="1212" y="678"/>
                  </a:lnTo>
                  <a:lnTo>
                    <a:pt x="1218" y="684"/>
                  </a:lnTo>
                  <a:lnTo>
                    <a:pt x="1218" y="690"/>
                  </a:lnTo>
                  <a:lnTo>
                    <a:pt x="1224" y="696"/>
                  </a:lnTo>
                  <a:lnTo>
                    <a:pt x="1230" y="702"/>
                  </a:lnTo>
                  <a:lnTo>
                    <a:pt x="1236" y="696"/>
                  </a:lnTo>
                  <a:lnTo>
                    <a:pt x="1242" y="702"/>
                  </a:lnTo>
                  <a:lnTo>
                    <a:pt x="1248" y="708"/>
                  </a:lnTo>
                  <a:lnTo>
                    <a:pt x="1254" y="714"/>
                  </a:lnTo>
                  <a:lnTo>
                    <a:pt x="1254" y="720"/>
                  </a:lnTo>
                  <a:lnTo>
                    <a:pt x="1260" y="720"/>
                  </a:lnTo>
                  <a:lnTo>
                    <a:pt x="1254" y="732"/>
                  </a:lnTo>
                  <a:lnTo>
                    <a:pt x="1248" y="738"/>
                  </a:lnTo>
                  <a:lnTo>
                    <a:pt x="1242" y="744"/>
                  </a:lnTo>
                  <a:lnTo>
                    <a:pt x="1236" y="750"/>
                  </a:lnTo>
                  <a:lnTo>
                    <a:pt x="1236" y="756"/>
                  </a:lnTo>
                  <a:lnTo>
                    <a:pt x="1236" y="762"/>
                  </a:lnTo>
                  <a:lnTo>
                    <a:pt x="1236" y="768"/>
                  </a:lnTo>
                  <a:lnTo>
                    <a:pt x="1236" y="780"/>
                  </a:lnTo>
                  <a:lnTo>
                    <a:pt x="1230" y="780"/>
                  </a:lnTo>
                  <a:lnTo>
                    <a:pt x="1230" y="786"/>
                  </a:lnTo>
                  <a:lnTo>
                    <a:pt x="1230" y="792"/>
                  </a:lnTo>
                  <a:lnTo>
                    <a:pt x="1230" y="804"/>
                  </a:lnTo>
                  <a:lnTo>
                    <a:pt x="1224" y="810"/>
                  </a:lnTo>
                  <a:lnTo>
                    <a:pt x="1218" y="816"/>
                  </a:lnTo>
                  <a:lnTo>
                    <a:pt x="1224" y="822"/>
                  </a:lnTo>
                  <a:lnTo>
                    <a:pt x="1224" y="828"/>
                  </a:lnTo>
                  <a:lnTo>
                    <a:pt x="1218" y="834"/>
                  </a:lnTo>
                  <a:lnTo>
                    <a:pt x="1224" y="834"/>
                  </a:lnTo>
                  <a:lnTo>
                    <a:pt x="1224" y="840"/>
                  </a:lnTo>
                  <a:lnTo>
                    <a:pt x="1224" y="846"/>
                  </a:lnTo>
                  <a:lnTo>
                    <a:pt x="1224" y="852"/>
                  </a:lnTo>
                  <a:lnTo>
                    <a:pt x="1218" y="858"/>
                  </a:lnTo>
                  <a:lnTo>
                    <a:pt x="1218" y="870"/>
                  </a:lnTo>
                  <a:lnTo>
                    <a:pt x="1212" y="870"/>
                  </a:lnTo>
                  <a:lnTo>
                    <a:pt x="1212" y="876"/>
                  </a:lnTo>
                  <a:lnTo>
                    <a:pt x="1206" y="888"/>
                  </a:lnTo>
                  <a:lnTo>
                    <a:pt x="1200" y="882"/>
                  </a:lnTo>
                  <a:lnTo>
                    <a:pt x="1194" y="888"/>
                  </a:lnTo>
                  <a:lnTo>
                    <a:pt x="1188" y="894"/>
                  </a:lnTo>
                  <a:lnTo>
                    <a:pt x="1182" y="894"/>
                  </a:lnTo>
                  <a:lnTo>
                    <a:pt x="1182" y="900"/>
                  </a:lnTo>
                  <a:lnTo>
                    <a:pt x="1176" y="900"/>
                  </a:lnTo>
                  <a:lnTo>
                    <a:pt x="1170" y="894"/>
                  </a:lnTo>
                  <a:lnTo>
                    <a:pt x="1164" y="900"/>
                  </a:lnTo>
                  <a:lnTo>
                    <a:pt x="1158" y="900"/>
                  </a:lnTo>
                  <a:lnTo>
                    <a:pt x="1152" y="900"/>
                  </a:lnTo>
                  <a:lnTo>
                    <a:pt x="1140" y="900"/>
                  </a:lnTo>
                  <a:lnTo>
                    <a:pt x="1134" y="900"/>
                  </a:lnTo>
                  <a:lnTo>
                    <a:pt x="1128" y="906"/>
                  </a:lnTo>
                  <a:lnTo>
                    <a:pt x="1110" y="906"/>
                  </a:lnTo>
                  <a:lnTo>
                    <a:pt x="1104" y="906"/>
                  </a:lnTo>
                  <a:lnTo>
                    <a:pt x="1098" y="906"/>
                  </a:lnTo>
                  <a:lnTo>
                    <a:pt x="1092" y="912"/>
                  </a:lnTo>
                  <a:lnTo>
                    <a:pt x="1080" y="918"/>
                  </a:lnTo>
                  <a:lnTo>
                    <a:pt x="1068" y="930"/>
                  </a:lnTo>
                  <a:lnTo>
                    <a:pt x="1062" y="930"/>
                  </a:lnTo>
                  <a:lnTo>
                    <a:pt x="1056" y="930"/>
                  </a:lnTo>
                  <a:lnTo>
                    <a:pt x="1050" y="930"/>
                  </a:lnTo>
                  <a:lnTo>
                    <a:pt x="1050" y="936"/>
                  </a:lnTo>
                  <a:lnTo>
                    <a:pt x="1038" y="942"/>
                  </a:lnTo>
                  <a:lnTo>
                    <a:pt x="1032" y="948"/>
                  </a:lnTo>
                  <a:lnTo>
                    <a:pt x="1026" y="954"/>
                  </a:lnTo>
                  <a:lnTo>
                    <a:pt x="1020" y="960"/>
                  </a:lnTo>
                  <a:lnTo>
                    <a:pt x="1014" y="966"/>
                  </a:lnTo>
                  <a:lnTo>
                    <a:pt x="1002" y="966"/>
                  </a:lnTo>
                  <a:lnTo>
                    <a:pt x="990" y="978"/>
                  </a:lnTo>
                  <a:lnTo>
                    <a:pt x="984" y="978"/>
                  </a:lnTo>
                  <a:lnTo>
                    <a:pt x="978" y="984"/>
                  </a:lnTo>
                  <a:lnTo>
                    <a:pt x="972" y="984"/>
                  </a:lnTo>
                  <a:lnTo>
                    <a:pt x="978" y="990"/>
                  </a:lnTo>
                  <a:lnTo>
                    <a:pt x="972" y="996"/>
                  </a:lnTo>
                  <a:lnTo>
                    <a:pt x="978" y="1002"/>
                  </a:lnTo>
                  <a:lnTo>
                    <a:pt x="1002" y="1002"/>
                  </a:lnTo>
                  <a:lnTo>
                    <a:pt x="1002" y="1008"/>
                  </a:lnTo>
                  <a:lnTo>
                    <a:pt x="1008" y="1020"/>
                  </a:lnTo>
                  <a:lnTo>
                    <a:pt x="1002" y="1026"/>
                  </a:lnTo>
                  <a:lnTo>
                    <a:pt x="1002" y="1032"/>
                  </a:lnTo>
                  <a:lnTo>
                    <a:pt x="1002" y="1050"/>
                  </a:lnTo>
                  <a:lnTo>
                    <a:pt x="1002" y="1056"/>
                  </a:lnTo>
                  <a:lnTo>
                    <a:pt x="1008" y="1062"/>
                  </a:lnTo>
                  <a:lnTo>
                    <a:pt x="1008" y="1074"/>
                  </a:lnTo>
                  <a:lnTo>
                    <a:pt x="1008" y="1086"/>
                  </a:lnTo>
                  <a:lnTo>
                    <a:pt x="996" y="1092"/>
                  </a:lnTo>
                  <a:lnTo>
                    <a:pt x="996" y="1098"/>
                  </a:lnTo>
                  <a:lnTo>
                    <a:pt x="996" y="1104"/>
                  </a:lnTo>
                  <a:lnTo>
                    <a:pt x="990" y="1110"/>
                  </a:lnTo>
                  <a:lnTo>
                    <a:pt x="990" y="1116"/>
                  </a:lnTo>
                  <a:lnTo>
                    <a:pt x="996" y="1122"/>
                  </a:lnTo>
                  <a:lnTo>
                    <a:pt x="990" y="1128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96" y="1140"/>
                  </a:lnTo>
                  <a:lnTo>
                    <a:pt x="996" y="1146"/>
                  </a:lnTo>
                  <a:lnTo>
                    <a:pt x="996" y="1152"/>
                  </a:lnTo>
                  <a:lnTo>
                    <a:pt x="996" y="1158"/>
                  </a:lnTo>
                  <a:lnTo>
                    <a:pt x="996" y="1164"/>
                  </a:lnTo>
                  <a:lnTo>
                    <a:pt x="996" y="1170"/>
                  </a:lnTo>
                  <a:lnTo>
                    <a:pt x="996" y="1176"/>
                  </a:lnTo>
                  <a:lnTo>
                    <a:pt x="990" y="1182"/>
                  </a:lnTo>
                  <a:lnTo>
                    <a:pt x="990" y="1188"/>
                  </a:lnTo>
                  <a:lnTo>
                    <a:pt x="984" y="1200"/>
                  </a:lnTo>
                  <a:lnTo>
                    <a:pt x="990" y="1206"/>
                  </a:lnTo>
                  <a:lnTo>
                    <a:pt x="990" y="1212"/>
                  </a:lnTo>
                  <a:lnTo>
                    <a:pt x="990" y="1218"/>
                  </a:lnTo>
                  <a:lnTo>
                    <a:pt x="978" y="1230"/>
                  </a:lnTo>
                  <a:lnTo>
                    <a:pt x="972" y="1236"/>
                  </a:lnTo>
                  <a:lnTo>
                    <a:pt x="972" y="1242"/>
                  </a:lnTo>
                  <a:lnTo>
                    <a:pt x="966" y="1248"/>
                  </a:lnTo>
                  <a:lnTo>
                    <a:pt x="960" y="1260"/>
                  </a:lnTo>
                  <a:lnTo>
                    <a:pt x="954" y="1266"/>
                  </a:lnTo>
                  <a:lnTo>
                    <a:pt x="942" y="1278"/>
                  </a:lnTo>
                  <a:lnTo>
                    <a:pt x="936" y="1278"/>
                  </a:lnTo>
                  <a:lnTo>
                    <a:pt x="936" y="1284"/>
                  </a:lnTo>
                  <a:lnTo>
                    <a:pt x="936" y="1296"/>
                  </a:lnTo>
                  <a:lnTo>
                    <a:pt x="936" y="1302"/>
                  </a:lnTo>
                  <a:lnTo>
                    <a:pt x="942" y="1302"/>
                  </a:lnTo>
                  <a:lnTo>
                    <a:pt x="942" y="1308"/>
                  </a:lnTo>
                  <a:lnTo>
                    <a:pt x="936" y="1314"/>
                  </a:lnTo>
                  <a:lnTo>
                    <a:pt x="930" y="1320"/>
                  </a:lnTo>
                  <a:lnTo>
                    <a:pt x="930" y="1326"/>
                  </a:lnTo>
                  <a:lnTo>
                    <a:pt x="930" y="1332"/>
                  </a:lnTo>
                  <a:lnTo>
                    <a:pt x="936" y="1338"/>
                  </a:lnTo>
                  <a:lnTo>
                    <a:pt x="936" y="1344"/>
                  </a:lnTo>
                  <a:lnTo>
                    <a:pt x="942" y="1356"/>
                  </a:lnTo>
                  <a:lnTo>
                    <a:pt x="948" y="1368"/>
                  </a:lnTo>
                  <a:lnTo>
                    <a:pt x="942" y="1380"/>
                  </a:lnTo>
                  <a:lnTo>
                    <a:pt x="936" y="1386"/>
                  </a:lnTo>
                  <a:lnTo>
                    <a:pt x="930" y="1392"/>
                  </a:lnTo>
                  <a:lnTo>
                    <a:pt x="924" y="1392"/>
                  </a:lnTo>
                  <a:lnTo>
                    <a:pt x="918" y="1386"/>
                  </a:lnTo>
                  <a:lnTo>
                    <a:pt x="912" y="1386"/>
                  </a:lnTo>
                  <a:lnTo>
                    <a:pt x="906" y="1386"/>
                  </a:lnTo>
                  <a:lnTo>
                    <a:pt x="900" y="1386"/>
                  </a:lnTo>
                  <a:lnTo>
                    <a:pt x="900" y="1392"/>
                  </a:lnTo>
                  <a:lnTo>
                    <a:pt x="894" y="1392"/>
                  </a:lnTo>
                  <a:lnTo>
                    <a:pt x="888" y="1392"/>
                  </a:lnTo>
                  <a:lnTo>
                    <a:pt x="888" y="1398"/>
                  </a:lnTo>
                  <a:lnTo>
                    <a:pt x="882" y="1404"/>
                  </a:lnTo>
                  <a:lnTo>
                    <a:pt x="882" y="1416"/>
                  </a:lnTo>
                  <a:lnTo>
                    <a:pt x="882" y="1428"/>
                  </a:lnTo>
                  <a:lnTo>
                    <a:pt x="882" y="1434"/>
                  </a:lnTo>
                  <a:lnTo>
                    <a:pt x="870" y="1440"/>
                  </a:lnTo>
                  <a:lnTo>
                    <a:pt x="864" y="1452"/>
                  </a:lnTo>
                  <a:lnTo>
                    <a:pt x="870" y="1452"/>
                  </a:lnTo>
                  <a:lnTo>
                    <a:pt x="864" y="1458"/>
                  </a:lnTo>
                  <a:lnTo>
                    <a:pt x="858" y="1464"/>
                  </a:lnTo>
                  <a:lnTo>
                    <a:pt x="852" y="1464"/>
                  </a:lnTo>
                  <a:lnTo>
                    <a:pt x="846" y="1458"/>
                  </a:lnTo>
                  <a:lnTo>
                    <a:pt x="840" y="1458"/>
                  </a:lnTo>
                  <a:lnTo>
                    <a:pt x="828" y="1470"/>
                  </a:lnTo>
                  <a:lnTo>
                    <a:pt x="810" y="1482"/>
                  </a:lnTo>
                  <a:lnTo>
                    <a:pt x="804" y="1488"/>
                  </a:lnTo>
                  <a:lnTo>
                    <a:pt x="798" y="1488"/>
                  </a:lnTo>
                  <a:lnTo>
                    <a:pt x="792" y="1488"/>
                  </a:lnTo>
                  <a:lnTo>
                    <a:pt x="786" y="1488"/>
                  </a:lnTo>
                  <a:lnTo>
                    <a:pt x="768" y="1482"/>
                  </a:lnTo>
                  <a:lnTo>
                    <a:pt x="762" y="1476"/>
                  </a:lnTo>
                  <a:lnTo>
                    <a:pt x="744" y="1476"/>
                  </a:lnTo>
                  <a:lnTo>
                    <a:pt x="738" y="1476"/>
                  </a:lnTo>
                  <a:lnTo>
                    <a:pt x="732" y="1476"/>
                  </a:lnTo>
                  <a:lnTo>
                    <a:pt x="726" y="1482"/>
                  </a:lnTo>
                  <a:lnTo>
                    <a:pt x="726" y="1488"/>
                  </a:lnTo>
                  <a:lnTo>
                    <a:pt x="726" y="1494"/>
                  </a:lnTo>
                  <a:lnTo>
                    <a:pt x="726" y="1500"/>
                  </a:lnTo>
                  <a:lnTo>
                    <a:pt x="720" y="1500"/>
                  </a:lnTo>
                  <a:lnTo>
                    <a:pt x="720" y="1506"/>
                  </a:lnTo>
                  <a:lnTo>
                    <a:pt x="714" y="1512"/>
                  </a:lnTo>
                  <a:lnTo>
                    <a:pt x="714" y="1518"/>
                  </a:lnTo>
                  <a:lnTo>
                    <a:pt x="708" y="1518"/>
                  </a:lnTo>
                  <a:lnTo>
                    <a:pt x="708" y="1530"/>
                  </a:lnTo>
                  <a:lnTo>
                    <a:pt x="708" y="1536"/>
                  </a:lnTo>
                  <a:lnTo>
                    <a:pt x="708" y="1542"/>
                  </a:lnTo>
                  <a:lnTo>
                    <a:pt x="696" y="1554"/>
                  </a:lnTo>
                  <a:lnTo>
                    <a:pt x="690" y="1560"/>
                  </a:lnTo>
                  <a:lnTo>
                    <a:pt x="684" y="1566"/>
                  </a:lnTo>
                  <a:lnTo>
                    <a:pt x="672" y="1566"/>
                  </a:lnTo>
                  <a:lnTo>
                    <a:pt x="666" y="1566"/>
                  </a:lnTo>
                  <a:lnTo>
                    <a:pt x="660" y="1566"/>
                  </a:lnTo>
                  <a:lnTo>
                    <a:pt x="654" y="1572"/>
                  </a:lnTo>
                  <a:lnTo>
                    <a:pt x="654" y="1578"/>
                  </a:lnTo>
                  <a:lnTo>
                    <a:pt x="642" y="1578"/>
                  </a:lnTo>
                  <a:lnTo>
                    <a:pt x="630" y="1572"/>
                  </a:lnTo>
                  <a:lnTo>
                    <a:pt x="624" y="1572"/>
                  </a:lnTo>
                  <a:lnTo>
                    <a:pt x="618" y="1578"/>
                  </a:lnTo>
                  <a:lnTo>
                    <a:pt x="612" y="1584"/>
                  </a:lnTo>
                  <a:lnTo>
                    <a:pt x="606" y="1584"/>
                  </a:lnTo>
                  <a:lnTo>
                    <a:pt x="600" y="1590"/>
                  </a:lnTo>
                  <a:lnTo>
                    <a:pt x="594" y="1590"/>
                  </a:lnTo>
                  <a:lnTo>
                    <a:pt x="588" y="1590"/>
                  </a:lnTo>
                  <a:lnTo>
                    <a:pt x="582" y="1590"/>
                  </a:lnTo>
                  <a:lnTo>
                    <a:pt x="582" y="1596"/>
                  </a:lnTo>
                  <a:lnTo>
                    <a:pt x="576" y="1614"/>
                  </a:lnTo>
                  <a:lnTo>
                    <a:pt x="570" y="1632"/>
                  </a:lnTo>
                  <a:lnTo>
                    <a:pt x="570" y="1638"/>
                  </a:lnTo>
                  <a:lnTo>
                    <a:pt x="576" y="1644"/>
                  </a:lnTo>
                  <a:lnTo>
                    <a:pt x="576" y="1650"/>
                  </a:lnTo>
                  <a:lnTo>
                    <a:pt x="582" y="1662"/>
                  </a:lnTo>
                  <a:lnTo>
                    <a:pt x="582" y="1668"/>
                  </a:lnTo>
                  <a:lnTo>
                    <a:pt x="588" y="1692"/>
                  </a:lnTo>
                  <a:lnTo>
                    <a:pt x="594" y="1728"/>
                  </a:lnTo>
                  <a:lnTo>
                    <a:pt x="594" y="1752"/>
                  </a:lnTo>
                  <a:lnTo>
                    <a:pt x="594" y="1764"/>
                  </a:lnTo>
                  <a:lnTo>
                    <a:pt x="582" y="1770"/>
                  </a:lnTo>
                  <a:lnTo>
                    <a:pt x="582" y="1782"/>
                  </a:lnTo>
                  <a:lnTo>
                    <a:pt x="576" y="1788"/>
                  </a:lnTo>
                  <a:lnTo>
                    <a:pt x="570" y="1794"/>
                  </a:lnTo>
                  <a:lnTo>
                    <a:pt x="564" y="1806"/>
                  </a:lnTo>
                  <a:lnTo>
                    <a:pt x="564" y="1812"/>
                  </a:lnTo>
                  <a:lnTo>
                    <a:pt x="558" y="1812"/>
                  </a:lnTo>
                  <a:lnTo>
                    <a:pt x="564" y="1824"/>
                  </a:lnTo>
                  <a:lnTo>
                    <a:pt x="564" y="1830"/>
                  </a:lnTo>
                  <a:lnTo>
                    <a:pt x="564" y="1842"/>
                  </a:lnTo>
                  <a:lnTo>
                    <a:pt x="564" y="1848"/>
                  </a:lnTo>
                  <a:lnTo>
                    <a:pt x="564" y="1854"/>
                  </a:lnTo>
                  <a:lnTo>
                    <a:pt x="570" y="1860"/>
                  </a:lnTo>
                  <a:lnTo>
                    <a:pt x="570" y="1866"/>
                  </a:lnTo>
                  <a:lnTo>
                    <a:pt x="570" y="1872"/>
                  </a:lnTo>
                  <a:lnTo>
                    <a:pt x="570" y="1878"/>
                  </a:lnTo>
                  <a:lnTo>
                    <a:pt x="564" y="1890"/>
                  </a:lnTo>
                  <a:lnTo>
                    <a:pt x="558" y="1896"/>
                  </a:lnTo>
                  <a:lnTo>
                    <a:pt x="552" y="1908"/>
                  </a:lnTo>
                  <a:lnTo>
                    <a:pt x="546" y="1914"/>
                  </a:lnTo>
                  <a:lnTo>
                    <a:pt x="540" y="1920"/>
                  </a:lnTo>
                  <a:lnTo>
                    <a:pt x="534" y="1932"/>
                  </a:lnTo>
                  <a:lnTo>
                    <a:pt x="528" y="1944"/>
                  </a:lnTo>
                  <a:lnTo>
                    <a:pt x="516" y="1950"/>
                  </a:lnTo>
                  <a:lnTo>
                    <a:pt x="510" y="1956"/>
                  </a:lnTo>
                  <a:lnTo>
                    <a:pt x="498" y="1962"/>
                  </a:lnTo>
                  <a:lnTo>
                    <a:pt x="492" y="1974"/>
                  </a:lnTo>
                  <a:lnTo>
                    <a:pt x="486" y="1980"/>
                  </a:lnTo>
                  <a:lnTo>
                    <a:pt x="480" y="1998"/>
                  </a:lnTo>
                  <a:lnTo>
                    <a:pt x="474" y="2004"/>
                  </a:lnTo>
                  <a:lnTo>
                    <a:pt x="474" y="2010"/>
                  </a:lnTo>
                  <a:lnTo>
                    <a:pt x="474" y="2016"/>
                  </a:lnTo>
                  <a:lnTo>
                    <a:pt x="468" y="2016"/>
                  </a:lnTo>
                  <a:lnTo>
                    <a:pt x="468" y="2028"/>
                  </a:lnTo>
                  <a:lnTo>
                    <a:pt x="462" y="2034"/>
                  </a:lnTo>
                  <a:lnTo>
                    <a:pt x="456" y="2040"/>
                  </a:lnTo>
                  <a:lnTo>
                    <a:pt x="456" y="2052"/>
                  </a:lnTo>
                  <a:lnTo>
                    <a:pt x="450" y="2058"/>
                  </a:lnTo>
                  <a:lnTo>
                    <a:pt x="450" y="2070"/>
                  </a:lnTo>
                  <a:lnTo>
                    <a:pt x="450" y="2076"/>
                  </a:lnTo>
                  <a:lnTo>
                    <a:pt x="450" y="2082"/>
                  </a:lnTo>
                  <a:lnTo>
                    <a:pt x="444" y="2088"/>
                  </a:lnTo>
                  <a:lnTo>
                    <a:pt x="438" y="2094"/>
                  </a:lnTo>
                  <a:lnTo>
                    <a:pt x="444" y="2100"/>
                  </a:lnTo>
                  <a:lnTo>
                    <a:pt x="444" y="2124"/>
                  </a:lnTo>
                  <a:lnTo>
                    <a:pt x="444" y="2142"/>
                  </a:lnTo>
                  <a:lnTo>
                    <a:pt x="444" y="2160"/>
                  </a:lnTo>
                  <a:lnTo>
                    <a:pt x="450" y="2166"/>
                  </a:lnTo>
                  <a:lnTo>
                    <a:pt x="456" y="2178"/>
                  </a:lnTo>
                  <a:lnTo>
                    <a:pt x="438" y="2184"/>
                  </a:lnTo>
                  <a:lnTo>
                    <a:pt x="432" y="2184"/>
                  </a:lnTo>
                  <a:lnTo>
                    <a:pt x="426" y="2190"/>
                  </a:lnTo>
                  <a:lnTo>
                    <a:pt x="408" y="2190"/>
                  </a:lnTo>
                  <a:lnTo>
                    <a:pt x="402" y="2196"/>
                  </a:lnTo>
                  <a:lnTo>
                    <a:pt x="396" y="2196"/>
                  </a:lnTo>
                  <a:lnTo>
                    <a:pt x="384" y="2208"/>
                  </a:lnTo>
                  <a:lnTo>
                    <a:pt x="378" y="2220"/>
                  </a:lnTo>
                  <a:lnTo>
                    <a:pt x="366" y="2232"/>
                  </a:lnTo>
                  <a:lnTo>
                    <a:pt x="366" y="2238"/>
                  </a:lnTo>
                  <a:lnTo>
                    <a:pt x="360" y="2238"/>
                  </a:lnTo>
                  <a:lnTo>
                    <a:pt x="360" y="2244"/>
                  </a:lnTo>
                  <a:lnTo>
                    <a:pt x="354" y="2244"/>
                  </a:lnTo>
                  <a:lnTo>
                    <a:pt x="330" y="227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5" name="Freeform 10">
              <a:extLst>
                <a:ext uri="{FF2B5EF4-FFF2-40B4-BE49-F238E27FC236}">
                  <a16:creationId xmlns:a16="http://schemas.microsoft.com/office/drawing/2014/main" id="{3AD2FC58-3490-4B7F-A8BE-621F3CDD69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1996" y="1931890"/>
              <a:ext cx="805029" cy="1037736"/>
            </a:xfrm>
            <a:custGeom>
              <a:avLst/>
              <a:gdLst>
                <a:gd name="T0" fmla="*/ 124 w 1512"/>
                <a:gd name="T1" fmla="*/ 76 h 1956"/>
                <a:gd name="T2" fmla="*/ 120 w 1512"/>
                <a:gd name="T3" fmla="*/ 80 h 1956"/>
                <a:gd name="T4" fmla="*/ 106 w 1512"/>
                <a:gd name="T5" fmla="*/ 84 h 1956"/>
                <a:gd name="T6" fmla="*/ 105 w 1512"/>
                <a:gd name="T7" fmla="*/ 91 h 1956"/>
                <a:gd name="T8" fmla="*/ 101 w 1512"/>
                <a:gd name="T9" fmla="*/ 99 h 1956"/>
                <a:gd name="T10" fmla="*/ 105 w 1512"/>
                <a:gd name="T11" fmla="*/ 107 h 1956"/>
                <a:gd name="T12" fmla="*/ 119 w 1512"/>
                <a:gd name="T13" fmla="*/ 116 h 1956"/>
                <a:gd name="T14" fmla="*/ 121 w 1512"/>
                <a:gd name="T15" fmla="*/ 128 h 1956"/>
                <a:gd name="T16" fmla="*/ 112 w 1512"/>
                <a:gd name="T17" fmla="*/ 136 h 1956"/>
                <a:gd name="T18" fmla="*/ 119 w 1512"/>
                <a:gd name="T19" fmla="*/ 143 h 1956"/>
                <a:gd name="T20" fmla="*/ 126 w 1512"/>
                <a:gd name="T21" fmla="*/ 148 h 1956"/>
                <a:gd name="T22" fmla="*/ 126 w 1512"/>
                <a:gd name="T23" fmla="*/ 160 h 1956"/>
                <a:gd name="T24" fmla="*/ 104 w 1512"/>
                <a:gd name="T25" fmla="*/ 170 h 1956"/>
                <a:gd name="T26" fmla="*/ 99 w 1512"/>
                <a:gd name="T27" fmla="*/ 164 h 1956"/>
                <a:gd name="T28" fmla="*/ 73 w 1512"/>
                <a:gd name="T29" fmla="*/ 152 h 1956"/>
                <a:gd name="T30" fmla="*/ 56 w 1512"/>
                <a:gd name="T31" fmla="*/ 165 h 1956"/>
                <a:gd name="T32" fmla="*/ 33 w 1512"/>
                <a:gd name="T33" fmla="*/ 162 h 1956"/>
                <a:gd name="T34" fmla="*/ 25 w 1512"/>
                <a:gd name="T35" fmla="*/ 155 h 1956"/>
                <a:gd name="T36" fmla="*/ 31 w 1512"/>
                <a:gd name="T37" fmla="*/ 142 h 1956"/>
                <a:gd name="T38" fmla="*/ 24 w 1512"/>
                <a:gd name="T39" fmla="*/ 137 h 1956"/>
                <a:gd name="T40" fmla="*/ 14 w 1512"/>
                <a:gd name="T41" fmla="*/ 136 h 1956"/>
                <a:gd name="T42" fmla="*/ 11 w 1512"/>
                <a:gd name="T43" fmla="*/ 125 h 1956"/>
                <a:gd name="T44" fmla="*/ 3 w 1512"/>
                <a:gd name="T45" fmla="*/ 116 h 1956"/>
                <a:gd name="T46" fmla="*/ 2 w 1512"/>
                <a:gd name="T47" fmla="*/ 106 h 1956"/>
                <a:gd name="T48" fmla="*/ 5 w 1512"/>
                <a:gd name="T49" fmla="*/ 101 h 1956"/>
                <a:gd name="T50" fmla="*/ 2 w 1512"/>
                <a:gd name="T51" fmla="*/ 95 h 1956"/>
                <a:gd name="T52" fmla="*/ 1 w 1512"/>
                <a:gd name="T53" fmla="*/ 88 h 1956"/>
                <a:gd name="T54" fmla="*/ 4 w 1512"/>
                <a:gd name="T55" fmla="*/ 80 h 1956"/>
                <a:gd name="T56" fmla="*/ 12 w 1512"/>
                <a:gd name="T57" fmla="*/ 73 h 1956"/>
                <a:gd name="T58" fmla="*/ 16 w 1512"/>
                <a:gd name="T59" fmla="*/ 68 h 1956"/>
                <a:gd name="T60" fmla="*/ 22 w 1512"/>
                <a:gd name="T61" fmla="*/ 66 h 1956"/>
                <a:gd name="T62" fmla="*/ 32 w 1512"/>
                <a:gd name="T63" fmla="*/ 65 h 1956"/>
                <a:gd name="T64" fmla="*/ 45 w 1512"/>
                <a:gd name="T65" fmla="*/ 66 h 1956"/>
                <a:gd name="T66" fmla="*/ 50 w 1512"/>
                <a:gd name="T67" fmla="*/ 70 h 1956"/>
                <a:gd name="T68" fmla="*/ 55 w 1512"/>
                <a:gd name="T69" fmla="*/ 70 h 1956"/>
                <a:gd name="T70" fmla="*/ 63 w 1512"/>
                <a:gd name="T71" fmla="*/ 71 h 1956"/>
                <a:gd name="T72" fmla="*/ 61 w 1512"/>
                <a:gd name="T73" fmla="*/ 75 h 1956"/>
                <a:gd name="T74" fmla="*/ 66 w 1512"/>
                <a:gd name="T75" fmla="*/ 84 h 1956"/>
                <a:gd name="T76" fmla="*/ 81 w 1512"/>
                <a:gd name="T77" fmla="*/ 85 h 1956"/>
                <a:gd name="T78" fmla="*/ 83 w 1512"/>
                <a:gd name="T79" fmla="*/ 79 h 1956"/>
                <a:gd name="T80" fmla="*/ 89 w 1512"/>
                <a:gd name="T81" fmla="*/ 77 h 1956"/>
                <a:gd name="T82" fmla="*/ 89 w 1512"/>
                <a:gd name="T83" fmla="*/ 73 h 1956"/>
                <a:gd name="T84" fmla="*/ 83 w 1512"/>
                <a:gd name="T85" fmla="*/ 72 h 1956"/>
                <a:gd name="T86" fmla="*/ 77 w 1512"/>
                <a:gd name="T87" fmla="*/ 70 h 1956"/>
                <a:gd name="T88" fmla="*/ 71 w 1512"/>
                <a:gd name="T89" fmla="*/ 70 h 1956"/>
                <a:gd name="T90" fmla="*/ 59 w 1512"/>
                <a:gd name="T91" fmla="*/ 58 h 1956"/>
                <a:gd name="T92" fmla="*/ 54 w 1512"/>
                <a:gd name="T93" fmla="*/ 45 h 1956"/>
                <a:gd name="T94" fmla="*/ 49 w 1512"/>
                <a:gd name="T95" fmla="*/ 42 h 1956"/>
                <a:gd name="T96" fmla="*/ 51 w 1512"/>
                <a:gd name="T97" fmla="*/ 39 h 1956"/>
                <a:gd name="T98" fmla="*/ 55 w 1512"/>
                <a:gd name="T99" fmla="*/ 36 h 1956"/>
                <a:gd name="T100" fmla="*/ 63 w 1512"/>
                <a:gd name="T101" fmla="*/ 34 h 1956"/>
                <a:gd name="T102" fmla="*/ 68 w 1512"/>
                <a:gd name="T103" fmla="*/ 32 h 1956"/>
                <a:gd name="T104" fmla="*/ 73 w 1512"/>
                <a:gd name="T105" fmla="*/ 29 h 1956"/>
                <a:gd name="T106" fmla="*/ 78 w 1512"/>
                <a:gd name="T107" fmla="*/ 27 h 1956"/>
                <a:gd name="T108" fmla="*/ 81 w 1512"/>
                <a:gd name="T109" fmla="*/ 17 h 1956"/>
                <a:gd name="T110" fmla="*/ 84 w 1512"/>
                <a:gd name="T111" fmla="*/ 6 h 1956"/>
                <a:gd name="T112" fmla="*/ 95 w 1512"/>
                <a:gd name="T113" fmla="*/ 6 h 1956"/>
                <a:gd name="T114" fmla="*/ 99 w 1512"/>
                <a:gd name="T115" fmla="*/ 3 h 1956"/>
                <a:gd name="T116" fmla="*/ 103 w 1512"/>
                <a:gd name="T117" fmla="*/ 0 h 1956"/>
                <a:gd name="T118" fmla="*/ 110 w 1512"/>
                <a:gd name="T119" fmla="*/ 4 h 1956"/>
                <a:gd name="T120" fmla="*/ 114 w 1512"/>
                <a:gd name="T121" fmla="*/ 33 h 1956"/>
                <a:gd name="T122" fmla="*/ 117 w 1512"/>
                <a:gd name="T123" fmla="*/ 41 h 1956"/>
                <a:gd name="T124" fmla="*/ 119 w 1512"/>
                <a:gd name="T125" fmla="*/ 62 h 195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12"/>
                <a:gd name="T190" fmla="*/ 0 h 1956"/>
                <a:gd name="T191" fmla="*/ 1512 w 1512"/>
                <a:gd name="T192" fmla="*/ 1956 h 195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12" h="1956">
                  <a:moveTo>
                    <a:pt x="1512" y="780"/>
                  </a:moveTo>
                  <a:lnTo>
                    <a:pt x="1482" y="786"/>
                  </a:lnTo>
                  <a:lnTo>
                    <a:pt x="1476" y="792"/>
                  </a:lnTo>
                  <a:lnTo>
                    <a:pt x="1476" y="798"/>
                  </a:lnTo>
                  <a:lnTo>
                    <a:pt x="1476" y="804"/>
                  </a:lnTo>
                  <a:lnTo>
                    <a:pt x="1476" y="816"/>
                  </a:lnTo>
                  <a:lnTo>
                    <a:pt x="1470" y="834"/>
                  </a:lnTo>
                  <a:lnTo>
                    <a:pt x="1464" y="840"/>
                  </a:lnTo>
                  <a:lnTo>
                    <a:pt x="1452" y="852"/>
                  </a:lnTo>
                  <a:lnTo>
                    <a:pt x="1440" y="864"/>
                  </a:lnTo>
                  <a:lnTo>
                    <a:pt x="1434" y="864"/>
                  </a:lnTo>
                  <a:lnTo>
                    <a:pt x="1434" y="870"/>
                  </a:lnTo>
                  <a:lnTo>
                    <a:pt x="1422" y="876"/>
                  </a:lnTo>
                  <a:lnTo>
                    <a:pt x="1410" y="894"/>
                  </a:lnTo>
                  <a:lnTo>
                    <a:pt x="1404" y="894"/>
                  </a:lnTo>
                  <a:lnTo>
                    <a:pt x="1404" y="900"/>
                  </a:lnTo>
                  <a:lnTo>
                    <a:pt x="1404" y="906"/>
                  </a:lnTo>
                  <a:lnTo>
                    <a:pt x="1410" y="918"/>
                  </a:lnTo>
                  <a:lnTo>
                    <a:pt x="1404" y="918"/>
                  </a:lnTo>
                  <a:lnTo>
                    <a:pt x="1392" y="924"/>
                  </a:lnTo>
                  <a:lnTo>
                    <a:pt x="1386" y="924"/>
                  </a:lnTo>
                  <a:lnTo>
                    <a:pt x="1380" y="924"/>
                  </a:lnTo>
                  <a:lnTo>
                    <a:pt x="1380" y="930"/>
                  </a:lnTo>
                  <a:lnTo>
                    <a:pt x="1374" y="930"/>
                  </a:lnTo>
                  <a:lnTo>
                    <a:pt x="1374" y="924"/>
                  </a:lnTo>
                  <a:lnTo>
                    <a:pt x="1374" y="918"/>
                  </a:lnTo>
                  <a:lnTo>
                    <a:pt x="1368" y="912"/>
                  </a:lnTo>
                  <a:lnTo>
                    <a:pt x="1368" y="906"/>
                  </a:lnTo>
                  <a:lnTo>
                    <a:pt x="1368" y="900"/>
                  </a:lnTo>
                  <a:lnTo>
                    <a:pt x="1368" y="894"/>
                  </a:lnTo>
                  <a:lnTo>
                    <a:pt x="1362" y="894"/>
                  </a:lnTo>
                  <a:lnTo>
                    <a:pt x="1326" y="894"/>
                  </a:lnTo>
                  <a:lnTo>
                    <a:pt x="1302" y="906"/>
                  </a:lnTo>
                  <a:lnTo>
                    <a:pt x="1284" y="918"/>
                  </a:lnTo>
                  <a:lnTo>
                    <a:pt x="1284" y="924"/>
                  </a:lnTo>
                  <a:lnTo>
                    <a:pt x="1278" y="930"/>
                  </a:lnTo>
                  <a:lnTo>
                    <a:pt x="1266" y="930"/>
                  </a:lnTo>
                  <a:lnTo>
                    <a:pt x="1236" y="954"/>
                  </a:lnTo>
                  <a:lnTo>
                    <a:pt x="1212" y="972"/>
                  </a:lnTo>
                  <a:lnTo>
                    <a:pt x="1218" y="996"/>
                  </a:lnTo>
                  <a:lnTo>
                    <a:pt x="1224" y="1008"/>
                  </a:lnTo>
                  <a:lnTo>
                    <a:pt x="1236" y="1014"/>
                  </a:lnTo>
                  <a:lnTo>
                    <a:pt x="1242" y="1026"/>
                  </a:lnTo>
                  <a:lnTo>
                    <a:pt x="1248" y="1038"/>
                  </a:lnTo>
                  <a:lnTo>
                    <a:pt x="1260" y="1050"/>
                  </a:lnTo>
                  <a:lnTo>
                    <a:pt x="1260" y="1056"/>
                  </a:lnTo>
                  <a:lnTo>
                    <a:pt x="1260" y="1074"/>
                  </a:lnTo>
                  <a:lnTo>
                    <a:pt x="1254" y="1074"/>
                  </a:lnTo>
                  <a:lnTo>
                    <a:pt x="1236" y="1056"/>
                  </a:lnTo>
                  <a:lnTo>
                    <a:pt x="1224" y="1050"/>
                  </a:lnTo>
                  <a:lnTo>
                    <a:pt x="1212" y="1050"/>
                  </a:lnTo>
                  <a:lnTo>
                    <a:pt x="1206" y="1050"/>
                  </a:lnTo>
                  <a:lnTo>
                    <a:pt x="1200" y="1056"/>
                  </a:lnTo>
                  <a:lnTo>
                    <a:pt x="1194" y="1062"/>
                  </a:lnTo>
                  <a:lnTo>
                    <a:pt x="1188" y="1068"/>
                  </a:lnTo>
                  <a:lnTo>
                    <a:pt x="1188" y="1074"/>
                  </a:lnTo>
                  <a:lnTo>
                    <a:pt x="1176" y="1086"/>
                  </a:lnTo>
                  <a:lnTo>
                    <a:pt x="1170" y="1086"/>
                  </a:lnTo>
                  <a:lnTo>
                    <a:pt x="1170" y="1092"/>
                  </a:lnTo>
                  <a:lnTo>
                    <a:pt x="1164" y="1098"/>
                  </a:lnTo>
                  <a:lnTo>
                    <a:pt x="1158" y="1110"/>
                  </a:lnTo>
                  <a:lnTo>
                    <a:pt x="1152" y="1116"/>
                  </a:lnTo>
                  <a:lnTo>
                    <a:pt x="1152" y="1122"/>
                  </a:lnTo>
                  <a:lnTo>
                    <a:pt x="1146" y="1128"/>
                  </a:lnTo>
                  <a:lnTo>
                    <a:pt x="1152" y="1140"/>
                  </a:lnTo>
                  <a:lnTo>
                    <a:pt x="1158" y="1140"/>
                  </a:lnTo>
                  <a:lnTo>
                    <a:pt x="1164" y="1146"/>
                  </a:lnTo>
                  <a:lnTo>
                    <a:pt x="1164" y="1152"/>
                  </a:lnTo>
                  <a:lnTo>
                    <a:pt x="1170" y="1164"/>
                  </a:lnTo>
                  <a:lnTo>
                    <a:pt x="1164" y="1176"/>
                  </a:lnTo>
                  <a:lnTo>
                    <a:pt x="1170" y="1182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82" y="1218"/>
                  </a:lnTo>
                  <a:lnTo>
                    <a:pt x="1188" y="1218"/>
                  </a:lnTo>
                  <a:lnTo>
                    <a:pt x="1194" y="1218"/>
                  </a:lnTo>
                  <a:lnTo>
                    <a:pt x="1194" y="1224"/>
                  </a:lnTo>
                  <a:lnTo>
                    <a:pt x="1200" y="1230"/>
                  </a:lnTo>
                  <a:lnTo>
                    <a:pt x="1200" y="1248"/>
                  </a:lnTo>
                  <a:lnTo>
                    <a:pt x="1212" y="1266"/>
                  </a:lnTo>
                  <a:lnTo>
                    <a:pt x="1218" y="1278"/>
                  </a:lnTo>
                  <a:lnTo>
                    <a:pt x="1224" y="1284"/>
                  </a:lnTo>
                  <a:lnTo>
                    <a:pt x="1236" y="1296"/>
                  </a:lnTo>
                  <a:lnTo>
                    <a:pt x="1242" y="1302"/>
                  </a:lnTo>
                  <a:lnTo>
                    <a:pt x="1242" y="1308"/>
                  </a:lnTo>
                  <a:lnTo>
                    <a:pt x="1272" y="1308"/>
                  </a:lnTo>
                  <a:lnTo>
                    <a:pt x="1296" y="1314"/>
                  </a:lnTo>
                  <a:lnTo>
                    <a:pt x="1320" y="1320"/>
                  </a:lnTo>
                  <a:lnTo>
                    <a:pt x="1338" y="1320"/>
                  </a:lnTo>
                  <a:lnTo>
                    <a:pt x="1356" y="1332"/>
                  </a:lnTo>
                  <a:lnTo>
                    <a:pt x="1368" y="1344"/>
                  </a:lnTo>
                  <a:lnTo>
                    <a:pt x="1374" y="1362"/>
                  </a:lnTo>
                  <a:lnTo>
                    <a:pt x="1368" y="1362"/>
                  </a:lnTo>
                  <a:lnTo>
                    <a:pt x="1368" y="1398"/>
                  </a:lnTo>
                  <a:lnTo>
                    <a:pt x="1368" y="1410"/>
                  </a:lnTo>
                  <a:lnTo>
                    <a:pt x="1368" y="1428"/>
                  </a:lnTo>
                  <a:lnTo>
                    <a:pt x="1368" y="1434"/>
                  </a:lnTo>
                  <a:lnTo>
                    <a:pt x="1368" y="1440"/>
                  </a:lnTo>
                  <a:lnTo>
                    <a:pt x="1374" y="1446"/>
                  </a:lnTo>
                  <a:lnTo>
                    <a:pt x="1374" y="1452"/>
                  </a:lnTo>
                  <a:lnTo>
                    <a:pt x="1380" y="1458"/>
                  </a:lnTo>
                  <a:lnTo>
                    <a:pt x="1386" y="1464"/>
                  </a:lnTo>
                  <a:lnTo>
                    <a:pt x="1386" y="1470"/>
                  </a:lnTo>
                  <a:lnTo>
                    <a:pt x="1380" y="1476"/>
                  </a:lnTo>
                  <a:lnTo>
                    <a:pt x="1374" y="1482"/>
                  </a:lnTo>
                  <a:lnTo>
                    <a:pt x="1362" y="1500"/>
                  </a:lnTo>
                  <a:lnTo>
                    <a:pt x="1362" y="1506"/>
                  </a:lnTo>
                  <a:lnTo>
                    <a:pt x="1362" y="1512"/>
                  </a:lnTo>
                  <a:lnTo>
                    <a:pt x="1362" y="1518"/>
                  </a:lnTo>
                  <a:lnTo>
                    <a:pt x="1362" y="1524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38" y="1548"/>
                  </a:lnTo>
                  <a:lnTo>
                    <a:pt x="1296" y="1548"/>
                  </a:lnTo>
                  <a:lnTo>
                    <a:pt x="1290" y="1554"/>
                  </a:lnTo>
                  <a:lnTo>
                    <a:pt x="1284" y="1560"/>
                  </a:lnTo>
                  <a:lnTo>
                    <a:pt x="1284" y="1566"/>
                  </a:lnTo>
                  <a:lnTo>
                    <a:pt x="1290" y="1578"/>
                  </a:lnTo>
                  <a:lnTo>
                    <a:pt x="1296" y="1590"/>
                  </a:lnTo>
                  <a:lnTo>
                    <a:pt x="1302" y="1590"/>
                  </a:lnTo>
                  <a:lnTo>
                    <a:pt x="1308" y="1596"/>
                  </a:lnTo>
                  <a:lnTo>
                    <a:pt x="1320" y="1602"/>
                  </a:lnTo>
                  <a:lnTo>
                    <a:pt x="1326" y="1602"/>
                  </a:lnTo>
                  <a:lnTo>
                    <a:pt x="1326" y="1608"/>
                  </a:lnTo>
                  <a:lnTo>
                    <a:pt x="1332" y="1614"/>
                  </a:lnTo>
                  <a:lnTo>
                    <a:pt x="1344" y="1620"/>
                  </a:lnTo>
                  <a:lnTo>
                    <a:pt x="1356" y="1626"/>
                  </a:lnTo>
                  <a:lnTo>
                    <a:pt x="1356" y="1632"/>
                  </a:lnTo>
                  <a:lnTo>
                    <a:pt x="1356" y="1638"/>
                  </a:lnTo>
                  <a:lnTo>
                    <a:pt x="1362" y="1644"/>
                  </a:lnTo>
                  <a:lnTo>
                    <a:pt x="1368" y="1644"/>
                  </a:lnTo>
                  <a:lnTo>
                    <a:pt x="1380" y="1650"/>
                  </a:lnTo>
                  <a:lnTo>
                    <a:pt x="1386" y="1650"/>
                  </a:lnTo>
                  <a:lnTo>
                    <a:pt x="1386" y="1656"/>
                  </a:lnTo>
                  <a:lnTo>
                    <a:pt x="1392" y="1656"/>
                  </a:lnTo>
                  <a:lnTo>
                    <a:pt x="1398" y="1662"/>
                  </a:lnTo>
                  <a:lnTo>
                    <a:pt x="1410" y="1674"/>
                  </a:lnTo>
                  <a:lnTo>
                    <a:pt x="1428" y="1680"/>
                  </a:lnTo>
                  <a:lnTo>
                    <a:pt x="1428" y="1686"/>
                  </a:lnTo>
                  <a:lnTo>
                    <a:pt x="1428" y="1698"/>
                  </a:lnTo>
                  <a:lnTo>
                    <a:pt x="1434" y="1704"/>
                  </a:lnTo>
                  <a:lnTo>
                    <a:pt x="1434" y="1710"/>
                  </a:lnTo>
                  <a:lnTo>
                    <a:pt x="1440" y="1710"/>
                  </a:lnTo>
                  <a:lnTo>
                    <a:pt x="1446" y="1710"/>
                  </a:lnTo>
                  <a:lnTo>
                    <a:pt x="1446" y="1716"/>
                  </a:lnTo>
                  <a:lnTo>
                    <a:pt x="1440" y="1722"/>
                  </a:lnTo>
                  <a:lnTo>
                    <a:pt x="1440" y="1728"/>
                  </a:lnTo>
                  <a:lnTo>
                    <a:pt x="1440" y="1734"/>
                  </a:lnTo>
                  <a:lnTo>
                    <a:pt x="1440" y="1740"/>
                  </a:lnTo>
                  <a:lnTo>
                    <a:pt x="1440" y="1746"/>
                  </a:lnTo>
                  <a:lnTo>
                    <a:pt x="1440" y="1788"/>
                  </a:lnTo>
                  <a:lnTo>
                    <a:pt x="1440" y="1800"/>
                  </a:lnTo>
                  <a:lnTo>
                    <a:pt x="1440" y="1806"/>
                  </a:lnTo>
                  <a:lnTo>
                    <a:pt x="1440" y="1836"/>
                  </a:lnTo>
                  <a:lnTo>
                    <a:pt x="1440" y="1848"/>
                  </a:lnTo>
                  <a:lnTo>
                    <a:pt x="1446" y="1848"/>
                  </a:lnTo>
                  <a:lnTo>
                    <a:pt x="1446" y="1854"/>
                  </a:lnTo>
                  <a:lnTo>
                    <a:pt x="1452" y="1848"/>
                  </a:lnTo>
                  <a:lnTo>
                    <a:pt x="1458" y="1854"/>
                  </a:lnTo>
                  <a:lnTo>
                    <a:pt x="1452" y="1860"/>
                  </a:lnTo>
                  <a:lnTo>
                    <a:pt x="1452" y="1866"/>
                  </a:lnTo>
                  <a:lnTo>
                    <a:pt x="1458" y="1872"/>
                  </a:lnTo>
                  <a:lnTo>
                    <a:pt x="1464" y="1884"/>
                  </a:lnTo>
                  <a:lnTo>
                    <a:pt x="1428" y="1878"/>
                  </a:lnTo>
                  <a:lnTo>
                    <a:pt x="1356" y="1890"/>
                  </a:lnTo>
                  <a:lnTo>
                    <a:pt x="1296" y="1926"/>
                  </a:lnTo>
                  <a:lnTo>
                    <a:pt x="1266" y="1944"/>
                  </a:lnTo>
                  <a:lnTo>
                    <a:pt x="1224" y="1944"/>
                  </a:lnTo>
                  <a:lnTo>
                    <a:pt x="1188" y="1956"/>
                  </a:lnTo>
                  <a:lnTo>
                    <a:pt x="1188" y="1950"/>
                  </a:lnTo>
                  <a:lnTo>
                    <a:pt x="1176" y="1944"/>
                  </a:lnTo>
                  <a:lnTo>
                    <a:pt x="1176" y="1938"/>
                  </a:lnTo>
                  <a:lnTo>
                    <a:pt x="1170" y="1938"/>
                  </a:lnTo>
                  <a:lnTo>
                    <a:pt x="1164" y="1932"/>
                  </a:lnTo>
                  <a:lnTo>
                    <a:pt x="1158" y="1926"/>
                  </a:lnTo>
                  <a:lnTo>
                    <a:pt x="1158" y="1920"/>
                  </a:lnTo>
                  <a:lnTo>
                    <a:pt x="1152" y="1920"/>
                  </a:lnTo>
                  <a:lnTo>
                    <a:pt x="1146" y="1914"/>
                  </a:lnTo>
                  <a:lnTo>
                    <a:pt x="1146" y="1908"/>
                  </a:lnTo>
                  <a:lnTo>
                    <a:pt x="1140" y="1908"/>
                  </a:lnTo>
                  <a:lnTo>
                    <a:pt x="1134" y="1902"/>
                  </a:lnTo>
                  <a:lnTo>
                    <a:pt x="1134" y="1896"/>
                  </a:lnTo>
                  <a:lnTo>
                    <a:pt x="1116" y="1896"/>
                  </a:lnTo>
                  <a:lnTo>
                    <a:pt x="1104" y="1884"/>
                  </a:lnTo>
                  <a:lnTo>
                    <a:pt x="1092" y="1860"/>
                  </a:lnTo>
                  <a:lnTo>
                    <a:pt x="1068" y="1854"/>
                  </a:lnTo>
                  <a:lnTo>
                    <a:pt x="1032" y="1842"/>
                  </a:lnTo>
                  <a:lnTo>
                    <a:pt x="1008" y="1836"/>
                  </a:lnTo>
                  <a:lnTo>
                    <a:pt x="978" y="1824"/>
                  </a:lnTo>
                  <a:lnTo>
                    <a:pt x="942" y="1818"/>
                  </a:lnTo>
                  <a:lnTo>
                    <a:pt x="924" y="1806"/>
                  </a:lnTo>
                  <a:lnTo>
                    <a:pt x="906" y="1788"/>
                  </a:lnTo>
                  <a:lnTo>
                    <a:pt x="894" y="1776"/>
                  </a:lnTo>
                  <a:lnTo>
                    <a:pt x="864" y="1758"/>
                  </a:lnTo>
                  <a:lnTo>
                    <a:pt x="834" y="1752"/>
                  </a:lnTo>
                  <a:lnTo>
                    <a:pt x="798" y="1746"/>
                  </a:lnTo>
                  <a:lnTo>
                    <a:pt x="792" y="1806"/>
                  </a:lnTo>
                  <a:lnTo>
                    <a:pt x="798" y="1812"/>
                  </a:lnTo>
                  <a:lnTo>
                    <a:pt x="810" y="1830"/>
                  </a:lnTo>
                  <a:lnTo>
                    <a:pt x="792" y="1842"/>
                  </a:lnTo>
                  <a:lnTo>
                    <a:pt x="768" y="1842"/>
                  </a:lnTo>
                  <a:lnTo>
                    <a:pt x="708" y="1848"/>
                  </a:lnTo>
                  <a:lnTo>
                    <a:pt x="690" y="1860"/>
                  </a:lnTo>
                  <a:lnTo>
                    <a:pt x="690" y="1866"/>
                  </a:lnTo>
                  <a:lnTo>
                    <a:pt x="678" y="1878"/>
                  </a:lnTo>
                  <a:lnTo>
                    <a:pt x="660" y="1884"/>
                  </a:lnTo>
                  <a:lnTo>
                    <a:pt x="660" y="1902"/>
                  </a:lnTo>
                  <a:lnTo>
                    <a:pt x="642" y="1902"/>
                  </a:lnTo>
                  <a:lnTo>
                    <a:pt x="582" y="1914"/>
                  </a:lnTo>
                  <a:lnTo>
                    <a:pt x="534" y="1908"/>
                  </a:lnTo>
                  <a:lnTo>
                    <a:pt x="510" y="1908"/>
                  </a:lnTo>
                  <a:lnTo>
                    <a:pt x="510" y="1896"/>
                  </a:lnTo>
                  <a:lnTo>
                    <a:pt x="492" y="1896"/>
                  </a:lnTo>
                  <a:lnTo>
                    <a:pt x="486" y="1902"/>
                  </a:lnTo>
                  <a:lnTo>
                    <a:pt x="474" y="1908"/>
                  </a:lnTo>
                  <a:lnTo>
                    <a:pt x="450" y="1908"/>
                  </a:lnTo>
                  <a:lnTo>
                    <a:pt x="432" y="1902"/>
                  </a:lnTo>
                  <a:lnTo>
                    <a:pt x="426" y="1896"/>
                  </a:lnTo>
                  <a:lnTo>
                    <a:pt x="402" y="1884"/>
                  </a:lnTo>
                  <a:lnTo>
                    <a:pt x="390" y="1872"/>
                  </a:lnTo>
                  <a:lnTo>
                    <a:pt x="384" y="1872"/>
                  </a:lnTo>
                  <a:lnTo>
                    <a:pt x="378" y="1872"/>
                  </a:lnTo>
                  <a:lnTo>
                    <a:pt x="378" y="1866"/>
                  </a:lnTo>
                  <a:lnTo>
                    <a:pt x="372" y="1860"/>
                  </a:lnTo>
                  <a:lnTo>
                    <a:pt x="372" y="1854"/>
                  </a:lnTo>
                  <a:lnTo>
                    <a:pt x="366" y="1842"/>
                  </a:lnTo>
                  <a:lnTo>
                    <a:pt x="366" y="1836"/>
                  </a:lnTo>
                  <a:lnTo>
                    <a:pt x="348" y="1830"/>
                  </a:lnTo>
                  <a:lnTo>
                    <a:pt x="348" y="1806"/>
                  </a:lnTo>
                  <a:lnTo>
                    <a:pt x="348" y="1800"/>
                  </a:lnTo>
                  <a:lnTo>
                    <a:pt x="348" y="1782"/>
                  </a:lnTo>
                  <a:lnTo>
                    <a:pt x="336" y="1788"/>
                  </a:lnTo>
                  <a:lnTo>
                    <a:pt x="312" y="1794"/>
                  </a:lnTo>
                  <a:lnTo>
                    <a:pt x="288" y="1788"/>
                  </a:lnTo>
                  <a:lnTo>
                    <a:pt x="264" y="1758"/>
                  </a:lnTo>
                  <a:lnTo>
                    <a:pt x="270" y="1758"/>
                  </a:lnTo>
                  <a:lnTo>
                    <a:pt x="270" y="1752"/>
                  </a:lnTo>
                  <a:lnTo>
                    <a:pt x="276" y="1752"/>
                  </a:lnTo>
                  <a:lnTo>
                    <a:pt x="282" y="1746"/>
                  </a:lnTo>
                  <a:lnTo>
                    <a:pt x="300" y="1746"/>
                  </a:lnTo>
                  <a:lnTo>
                    <a:pt x="312" y="1746"/>
                  </a:lnTo>
                  <a:lnTo>
                    <a:pt x="336" y="1710"/>
                  </a:lnTo>
                  <a:lnTo>
                    <a:pt x="342" y="1692"/>
                  </a:lnTo>
                  <a:lnTo>
                    <a:pt x="348" y="1680"/>
                  </a:lnTo>
                  <a:lnTo>
                    <a:pt x="342" y="1650"/>
                  </a:lnTo>
                  <a:lnTo>
                    <a:pt x="354" y="1644"/>
                  </a:lnTo>
                  <a:lnTo>
                    <a:pt x="354" y="1638"/>
                  </a:lnTo>
                  <a:lnTo>
                    <a:pt x="360" y="1632"/>
                  </a:lnTo>
                  <a:lnTo>
                    <a:pt x="354" y="1626"/>
                  </a:lnTo>
                  <a:lnTo>
                    <a:pt x="348" y="1626"/>
                  </a:lnTo>
                  <a:lnTo>
                    <a:pt x="348" y="1620"/>
                  </a:lnTo>
                  <a:lnTo>
                    <a:pt x="342" y="1620"/>
                  </a:lnTo>
                  <a:lnTo>
                    <a:pt x="348" y="1614"/>
                  </a:lnTo>
                  <a:lnTo>
                    <a:pt x="324" y="1566"/>
                  </a:lnTo>
                  <a:lnTo>
                    <a:pt x="318" y="1566"/>
                  </a:lnTo>
                  <a:lnTo>
                    <a:pt x="306" y="1572"/>
                  </a:lnTo>
                  <a:lnTo>
                    <a:pt x="300" y="1572"/>
                  </a:lnTo>
                  <a:lnTo>
                    <a:pt x="294" y="1578"/>
                  </a:lnTo>
                  <a:lnTo>
                    <a:pt x="288" y="1584"/>
                  </a:lnTo>
                  <a:lnTo>
                    <a:pt x="282" y="1584"/>
                  </a:lnTo>
                  <a:lnTo>
                    <a:pt x="282" y="1578"/>
                  </a:lnTo>
                  <a:lnTo>
                    <a:pt x="276" y="1578"/>
                  </a:lnTo>
                  <a:lnTo>
                    <a:pt x="270" y="1578"/>
                  </a:lnTo>
                  <a:lnTo>
                    <a:pt x="264" y="1578"/>
                  </a:lnTo>
                  <a:lnTo>
                    <a:pt x="258" y="1578"/>
                  </a:lnTo>
                  <a:lnTo>
                    <a:pt x="252" y="1578"/>
                  </a:lnTo>
                  <a:lnTo>
                    <a:pt x="252" y="1584"/>
                  </a:lnTo>
                  <a:lnTo>
                    <a:pt x="246" y="1584"/>
                  </a:lnTo>
                  <a:lnTo>
                    <a:pt x="210" y="1584"/>
                  </a:lnTo>
                  <a:lnTo>
                    <a:pt x="204" y="1584"/>
                  </a:lnTo>
                  <a:lnTo>
                    <a:pt x="192" y="1584"/>
                  </a:lnTo>
                  <a:lnTo>
                    <a:pt x="168" y="1596"/>
                  </a:lnTo>
                  <a:lnTo>
                    <a:pt x="156" y="1572"/>
                  </a:lnTo>
                  <a:lnTo>
                    <a:pt x="156" y="1566"/>
                  </a:lnTo>
                  <a:lnTo>
                    <a:pt x="156" y="1560"/>
                  </a:lnTo>
                  <a:lnTo>
                    <a:pt x="162" y="1548"/>
                  </a:lnTo>
                  <a:lnTo>
                    <a:pt x="162" y="1542"/>
                  </a:lnTo>
                  <a:lnTo>
                    <a:pt x="162" y="1536"/>
                  </a:lnTo>
                  <a:lnTo>
                    <a:pt x="168" y="1530"/>
                  </a:lnTo>
                  <a:lnTo>
                    <a:pt x="168" y="1524"/>
                  </a:lnTo>
                  <a:lnTo>
                    <a:pt x="168" y="1518"/>
                  </a:lnTo>
                  <a:lnTo>
                    <a:pt x="174" y="1518"/>
                  </a:lnTo>
                  <a:lnTo>
                    <a:pt x="174" y="1506"/>
                  </a:lnTo>
                  <a:lnTo>
                    <a:pt x="156" y="1470"/>
                  </a:lnTo>
                  <a:lnTo>
                    <a:pt x="138" y="1464"/>
                  </a:lnTo>
                  <a:lnTo>
                    <a:pt x="126" y="1446"/>
                  </a:lnTo>
                  <a:lnTo>
                    <a:pt x="126" y="1440"/>
                  </a:lnTo>
                  <a:lnTo>
                    <a:pt x="126" y="1434"/>
                  </a:lnTo>
                  <a:lnTo>
                    <a:pt x="120" y="1428"/>
                  </a:lnTo>
                  <a:lnTo>
                    <a:pt x="126" y="1398"/>
                  </a:lnTo>
                  <a:lnTo>
                    <a:pt x="120" y="1374"/>
                  </a:lnTo>
                  <a:lnTo>
                    <a:pt x="60" y="1374"/>
                  </a:lnTo>
                  <a:lnTo>
                    <a:pt x="60" y="1368"/>
                  </a:lnTo>
                  <a:lnTo>
                    <a:pt x="54" y="1362"/>
                  </a:lnTo>
                  <a:lnTo>
                    <a:pt x="48" y="1356"/>
                  </a:lnTo>
                  <a:lnTo>
                    <a:pt x="42" y="1356"/>
                  </a:lnTo>
                  <a:lnTo>
                    <a:pt x="42" y="1350"/>
                  </a:lnTo>
                  <a:lnTo>
                    <a:pt x="36" y="1344"/>
                  </a:lnTo>
                  <a:lnTo>
                    <a:pt x="36" y="1338"/>
                  </a:lnTo>
                  <a:lnTo>
                    <a:pt x="30" y="1332"/>
                  </a:lnTo>
                  <a:lnTo>
                    <a:pt x="30" y="1326"/>
                  </a:lnTo>
                  <a:lnTo>
                    <a:pt x="18" y="1326"/>
                  </a:lnTo>
                  <a:lnTo>
                    <a:pt x="18" y="1320"/>
                  </a:lnTo>
                  <a:lnTo>
                    <a:pt x="18" y="1326"/>
                  </a:lnTo>
                  <a:lnTo>
                    <a:pt x="6" y="1320"/>
                  </a:lnTo>
                  <a:lnTo>
                    <a:pt x="0" y="1314"/>
                  </a:lnTo>
                  <a:lnTo>
                    <a:pt x="12" y="1266"/>
                  </a:lnTo>
                  <a:lnTo>
                    <a:pt x="6" y="1242"/>
                  </a:lnTo>
                  <a:lnTo>
                    <a:pt x="12" y="1236"/>
                  </a:lnTo>
                  <a:lnTo>
                    <a:pt x="12" y="1230"/>
                  </a:lnTo>
                  <a:lnTo>
                    <a:pt x="18" y="1230"/>
                  </a:lnTo>
                  <a:lnTo>
                    <a:pt x="18" y="1224"/>
                  </a:lnTo>
                  <a:lnTo>
                    <a:pt x="24" y="1218"/>
                  </a:lnTo>
                  <a:lnTo>
                    <a:pt x="24" y="1212"/>
                  </a:lnTo>
                  <a:lnTo>
                    <a:pt x="30" y="1212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48" y="1188"/>
                  </a:lnTo>
                  <a:lnTo>
                    <a:pt x="48" y="1182"/>
                  </a:lnTo>
                  <a:lnTo>
                    <a:pt x="48" y="1176"/>
                  </a:lnTo>
                  <a:lnTo>
                    <a:pt x="48" y="1170"/>
                  </a:lnTo>
                  <a:lnTo>
                    <a:pt x="54" y="1170"/>
                  </a:lnTo>
                  <a:lnTo>
                    <a:pt x="60" y="1164"/>
                  </a:lnTo>
                  <a:lnTo>
                    <a:pt x="60" y="1158"/>
                  </a:lnTo>
                  <a:lnTo>
                    <a:pt x="66" y="1152"/>
                  </a:lnTo>
                  <a:lnTo>
                    <a:pt x="60" y="1140"/>
                  </a:lnTo>
                  <a:lnTo>
                    <a:pt x="60" y="1134"/>
                  </a:lnTo>
                  <a:lnTo>
                    <a:pt x="54" y="1134"/>
                  </a:lnTo>
                  <a:lnTo>
                    <a:pt x="54" y="1128"/>
                  </a:lnTo>
                  <a:lnTo>
                    <a:pt x="48" y="1122"/>
                  </a:lnTo>
                  <a:lnTo>
                    <a:pt x="48" y="1116"/>
                  </a:lnTo>
                  <a:lnTo>
                    <a:pt x="48" y="1110"/>
                  </a:lnTo>
                  <a:lnTo>
                    <a:pt x="42" y="1104"/>
                  </a:lnTo>
                  <a:lnTo>
                    <a:pt x="42" y="1098"/>
                  </a:lnTo>
                  <a:lnTo>
                    <a:pt x="36" y="1092"/>
                  </a:lnTo>
                  <a:lnTo>
                    <a:pt x="30" y="1092"/>
                  </a:lnTo>
                  <a:lnTo>
                    <a:pt x="24" y="1092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18" y="1080"/>
                  </a:lnTo>
                  <a:lnTo>
                    <a:pt x="18" y="1074"/>
                  </a:lnTo>
                  <a:lnTo>
                    <a:pt x="12" y="1068"/>
                  </a:lnTo>
                  <a:lnTo>
                    <a:pt x="6" y="1068"/>
                  </a:lnTo>
                  <a:lnTo>
                    <a:pt x="12" y="1056"/>
                  </a:lnTo>
                  <a:lnTo>
                    <a:pt x="6" y="1056"/>
                  </a:lnTo>
                  <a:lnTo>
                    <a:pt x="6" y="1050"/>
                  </a:lnTo>
                  <a:lnTo>
                    <a:pt x="6" y="1044"/>
                  </a:lnTo>
                  <a:lnTo>
                    <a:pt x="6" y="1026"/>
                  </a:lnTo>
                  <a:lnTo>
                    <a:pt x="12" y="1020"/>
                  </a:lnTo>
                  <a:lnTo>
                    <a:pt x="12" y="1014"/>
                  </a:lnTo>
                  <a:lnTo>
                    <a:pt x="18" y="1014"/>
                  </a:lnTo>
                  <a:lnTo>
                    <a:pt x="18" y="1008"/>
                  </a:lnTo>
                  <a:lnTo>
                    <a:pt x="18" y="1002"/>
                  </a:lnTo>
                  <a:lnTo>
                    <a:pt x="18" y="990"/>
                  </a:lnTo>
                  <a:lnTo>
                    <a:pt x="12" y="972"/>
                  </a:lnTo>
                  <a:lnTo>
                    <a:pt x="18" y="954"/>
                  </a:lnTo>
                  <a:lnTo>
                    <a:pt x="18" y="948"/>
                  </a:lnTo>
                  <a:lnTo>
                    <a:pt x="24" y="948"/>
                  </a:lnTo>
                  <a:lnTo>
                    <a:pt x="24" y="930"/>
                  </a:lnTo>
                  <a:lnTo>
                    <a:pt x="30" y="930"/>
                  </a:lnTo>
                  <a:lnTo>
                    <a:pt x="36" y="918"/>
                  </a:lnTo>
                  <a:lnTo>
                    <a:pt x="42" y="918"/>
                  </a:lnTo>
                  <a:lnTo>
                    <a:pt x="48" y="918"/>
                  </a:lnTo>
                  <a:lnTo>
                    <a:pt x="78" y="912"/>
                  </a:lnTo>
                  <a:lnTo>
                    <a:pt x="90" y="894"/>
                  </a:lnTo>
                  <a:lnTo>
                    <a:pt x="96" y="894"/>
                  </a:lnTo>
                  <a:lnTo>
                    <a:pt x="102" y="888"/>
                  </a:lnTo>
                  <a:lnTo>
                    <a:pt x="102" y="882"/>
                  </a:lnTo>
                  <a:lnTo>
                    <a:pt x="114" y="870"/>
                  </a:lnTo>
                  <a:lnTo>
                    <a:pt x="120" y="864"/>
                  </a:lnTo>
                  <a:lnTo>
                    <a:pt x="120" y="852"/>
                  </a:lnTo>
                  <a:lnTo>
                    <a:pt x="120" y="846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32" y="840"/>
                  </a:lnTo>
                  <a:lnTo>
                    <a:pt x="138" y="840"/>
                  </a:lnTo>
                  <a:lnTo>
                    <a:pt x="138" y="834"/>
                  </a:lnTo>
                  <a:lnTo>
                    <a:pt x="144" y="834"/>
                  </a:lnTo>
                  <a:lnTo>
                    <a:pt x="144" y="828"/>
                  </a:lnTo>
                  <a:lnTo>
                    <a:pt x="150" y="828"/>
                  </a:lnTo>
                  <a:lnTo>
                    <a:pt x="156" y="822"/>
                  </a:lnTo>
                  <a:lnTo>
                    <a:pt x="162" y="816"/>
                  </a:lnTo>
                  <a:lnTo>
                    <a:pt x="162" y="822"/>
                  </a:lnTo>
                  <a:lnTo>
                    <a:pt x="162" y="816"/>
                  </a:lnTo>
                  <a:lnTo>
                    <a:pt x="162" y="810"/>
                  </a:lnTo>
                  <a:lnTo>
                    <a:pt x="168" y="810"/>
                  </a:lnTo>
                  <a:lnTo>
                    <a:pt x="174" y="804"/>
                  </a:lnTo>
                  <a:lnTo>
                    <a:pt x="180" y="798"/>
                  </a:lnTo>
                  <a:lnTo>
                    <a:pt x="180" y="786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8" y="780"/>
                  </a:lnTo>
                  <a:lnTo>
                    <a:pt x="204" y="774"/>
                  </a:lnTo>
                  <a:lnTo>
                    <a:pt x="210" y="774"/>
                  </a:lnTo>
                  <a:lnTo>
                    <a:pt x="216" y="768"/>
                  </a:lnTo>
                  <a:lnTo>
                    <a:pt x="222" y="762"/>
                  </a:lnTo>
                  <a:lnTo>
                    <a:pt x="228" y="762"/>
                  </a:lnTo>
                  <a:lnTo>
                    <a:pt x="228" y="768"/>
                  </a:lnTo>
                  <a:lnTo>
                    <a:pt x="234" y="768"/>
                  </a:lnTo>
                  <a:lnTo>
                    <a:pt x="240" y="762"/>
                  </a:lnTo>
                  <a:lnTo>
                    <a:pt x="252" y="762"/>
                  </a:lnTo>
                  <a:lnTo>
                    <a:pt x="264" y="768"/>
                  </a:lnTo>
                  <a:lnTo>
                    <a:pt x="294" y="756"/>
                  </a:lnTo>
                  <a:lnTo>
                    <a:pt x="294" y="750"/>
                  </a:lnTo>
                  <a:lnTo>
                    <a:pt x="300" y="750"/>
                  </a:lnTo>
                  <a:lnTo>
                    <a:pt x="306" y="744"/>
                  </a:lnTo>
                  <a:lnTo>
                    <a:pt x="342" y="750"/>
                  </a:lnTo>
                  <a:lnTo>
                    <a:pt x="348" y="750"/>
                  </a:lnTo>
                  <a:lnTo>
                    <a:pt x="348" y="744"/>
                  </a:lnTo>
                  <a:lnTo>
                    <a:pt x="354" y="744"/>
                  </a:lnTo>
                  <a:lnTo>
                    <a:pt x="360" y="744"/>
                  </a:lnTo>
                  <a:lnTo>
                    <a:pt x="360" y="750"/>
                  </a:lnTo>
                  <a:lnTo>
                    <a:pt x="366" y="750"/>
                  </a:lnTo>
                  <a:lnTo>
                    <a:pt x="366" y="744"/>
                  </a:lnTo>
                  <a:lnTo>
                    <a:pt x="366" y="738"/>
                  </a:lnTo>
                  <a:lnTo>
                    <a:pt x="372" y="744"/>
                  </a:lnTo>
                  <a:lnTo>
                    <a:pt x="378" y="744"/>
                  </a:lnTo>
                  <a:lnTo>
                    <a:pt x="384" y="750"/>
                  </a:lnTo>
                  <a:lnTo>
                    <a:pt x="444" y="774"/>
                  </a:lnTo>
                  <a:lnTo>
                    <a:pt x="450" y="774"/>
                  </a:lnTo>
                  <a:lnTo>
                    <a:pt x="456" y="768"/>
                  </a:lnTo>
                  <a:lnTo>
                    <a:pt x="462" y="768"/>
                  </a:lnTo>
                  <a:lnTo>
                    <a:pt x="462" y="762"/>
                  </a:lnTo>
                  <a:lnTo>
                    <a:pt x="468" y="762"/>
                  </a:lnTo>
                  <a:lnTo>
                    <a:pt x="474" y="756"/>
                  </a:lnTo>
                  <a:lnTo>
                    <a:pt x="480" y="750"/>
                  </a:lnTo>
                  <a:lnTo>
                    <a:pt x="516" y="756"/>
                  </a:lnTo>
                  <a:lnTo>
                    <a:pt x="522" y="756"/>
                  </a:lnTo>
                  <a:lnTo>
                    <a:pt x="522" y="762"/>
                  </a:lnTo>
                  <a:lnTo>
                    <a:pt x="522" y="768"/>
                  </a:lnTo>
                  <a:lnTo>
                    <a:pt x="522" y="774"/>
                  </a:lnTo>
                  <a:lnTo>
                    <a:pt x="528" y="780"/>
                  </a:lnTo>
                  <a:lnTo>
                    <a:pt x="540" y="780"/>
                  </a:lnTo>
                  <a:lnTo>
                    <a:pt x="540" y="804"/>
                  </a:lnTo>
                  <a:lnTo>
                    <a:pt x="540" y="810"/>
                  </a:lnTo>
                  <a:lnTo>
                    <a:pt x="546" y="810"/>
                  </a:lnTo>
                  <a:lnTo>
                    <a:pt x="552" y="810"/>
                  </a:lnTo>
                  <a:lnTo>
                    <a:pt x="558" y="810"/>
                  </a:lnTo>
                  <a:lnTo>
                    <a:pt x="564" y="810"/>
                  </a:lnTo>
                  <a:lnTo>
                    <a:pt x="570" y="810"/>
                  </a:lnTo>
                  <a:lnTo>
                    <a:pt x="576" y="810"/>
                  </a:lnTo>
                  <a:lnTo>
                    <a:pt x="576" y="816"/>
                  </a:lnTo>
                  <a:lnTo>
                    <a:pt x="588" y="816"/>
                  </a:lnTo>
                  <a:lnTo>
                    <a:pt x="594" y="816"/>
                  </a:lnTo>
                  <a:lnTo>
                    <a:pt x="600" y="822"/>
                  </a:lnTo>
                  <a:lnTo>
                    <a:pt x="606" y="816"/>
                  </a:lnTo>
                  <a:lnTo>
                    <a:pt x="612" y="816"/>
                  </a:lnTo>
                  <a:lnTo>
                    <a:pt x="612" y="810"/>
                  </a:lnTo>
                  <a:lnTo>
                    <a:pt x="624" y="810"/>
                  </a:lnTo>
                  <a:lnTo>
                    <a:pt x="624" y="804"/>
                  </a:lnTo>
                  <a:lnTo>
                    <a:pt x="630" y="798"/>
                  </a:lnTo>
                  <a:lnTo>
                    <a:pt x="636" y="798"/>
                  </a:lnTo>
                  <a:lnTo>
                    <a:pt x="636" y="804"/>
                  </a:lnTo>
                  <a:lnTo>
                    <a:pt x="642" y="804"/>
                  </a:lnTo>
                  <a:lnTo>
                    <a:pt x="648" y="804"/>
                  </a:lnTo>
                  <a:lnTo>
                    <a:pt x="654" y="804"/>
                  </a:lnTo>
                  <a:lnTo>
                    <a:pt x="660" y="804"/>
                  </a:lnTo>
                  <a:lnTo>
                    <a:pt x="678" y="798"/>
                  </a:lnTo>
                  <a:lnTo>
                    <a:pt x="714" y="786"/>
                  </a:lnTo>
                  <a:lnTo>
                    <a:pt x="714" y="792"/>
                  </a:lnTo>
                  <a:lnTo>
                    <a:pt x="714" y="798"/>
                  </a:lnTo>
                  <a:lnTo>
                    <a:pt x="714" y="804"/>
                  </a:lnTo>
                  <a:lnTo>
                    <a:pt x="720" y="804"/>
                  </a:lnTo>
                  <a:lnTo>
                    <a:pt x="720" y="810"/>
                  </a:lnTo>
                  <a:lnTo>
                    <a:pt x="720" y="816"/>
                  </a:lnTo>
                  <a:lnTo>
                    <a:pt x="726" y="822"/>
                  </a:lnTo>
                  <a:lnTo>
                    <a:pt x="732" y="828"/>
                  </a:lnTo>
                  <a:lnTo>
                    <a:pt x="732" y="834"/>
                  </a:lnTo>
                  <a:lnTo>
                    <a:pt x="732" y="846"/>
                  </a:lnTo>
                  <a:lnTo>
                    <a:pt x="732" y="858"/>
                  </a:lnTo>
                  <a:lnTo>
                    <a:pt x="738" y="858"/>
                  </a:lnTo>
                  <a:lnTo>
                    <a:pt x="732" y="864"/>
                  </a:lnTo>
                  <a:lnTo>
                    <a:pt x="732" y="870"/>
                  </a:lnTo>
                  <a:lnTo>
                    <a:pt x="726" y="870"/>
                  </a:lnTo>
                  <a:lnTo>
                    <a:pt x="726" y="876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0" y="882"/>
                  </a:lnTo>
                  <a:lnTo>
                    <a:pt x="690" y="912"/>
                  </a:lnTo>
                  <a:lnTo>
                    <a:pt x="696" y="936"/>
                  </a:lnTo>
                  <a:lnTo>
                    <a:pt x="702" y="936"/>
                  </a:lnTo>
                  <a:lnTo>
                    <a:pt x="702" y="930"/>
                  </a:lnTo>
                  <a:lnTo>
                    <a:pt x="708" y="930"/>
                  </a:lnTo>
                  <a:lnTo>
                    <a:pt x="708" y="924"/>
                  </a:lnTo>
                  <a:lnTo>
                    <a:pt x="708" y="918"/>
                  </a:lnTo>
                  <a:lnTo>
                    <a:pt x="714" y="918"/>
                  </a:lnTo>
                  <a:lnTo>
                    <a:pt x="720" y="954"/>
                  </a:lnTo>
                  <a:lnTo>
                    <a:pt x="726" y="966"/>
                  </a:lnTo>
                  <a:lnTo>
                    <a:pt x="744" y="966"/>
                  </a:lnTo>
                  <a:lnTo>
                    <a:pt x="756" y="972"/>
                  </a:lnTo>
                  <a:lnTo>
                    <a:pt x="792" y="990"/>
                  </a:lnTo>
                  <a:lnTo>
                    <a:pt x="828" y="978"/>
                  </a:lnTo>
                  <a:lnTo>
                    <a:pt x="834" y="978"/>
                  </a:lnTo>
                  <a:lnTo>
                    <a:pt x="840" y="978"/>
                  </a:lnTo>
                  <a:lnTo>
                    <a:pt x="840" y="984"/>
                  </a:lnTo>
                  <a:lnTo>
                    <a:pt x="846" y="984"/>
                  </a:lnTo>
                  <a:lnTo>
                    <a:pt x="858" y="972"/>
                  </a:lnTo>
                  <a:lnTo>
                    <a:pt x="882" y="972"/>
                  </a:lnTo>
                  <a:lnTo>
                    <a:pt x="888" y="984"/>
                  </a:lnTo>
                  <a:lnTo>
                    <a:pt x="900" y="990"/>
                  </a:lnTo>
                  <a:lnTo>
                    <a:pt x="924" y="996"/>
                  </a:lnTo>
                  <a:lnTo>
                    <a:pt x="930" y="990"/>
                  </a:lnTo>
                  <a:lnTo>
                    <a:pt x="930" y="984"/>
                  </a:lnTo>
                  <a:lnTo>
                    <a:pt x="924" y="978"/>
                  </a:lnTo>
                  <a:lnTo>
                    <a:pt x="906" y="972"/>
                  </a:lnTo>
                  <a:lnTo>
                    <a:pt x="900" y="966"/>
                  </a:lnTo>
                  <a:lnTo>
                    <a:pt x="900" y="960"/>
                  </a:lnTo>
                  <a:lnTo>
                    <a:pt x="900" y="954"/>
                  </a:lnTo>
                  <a:lnTo>
                    <a:pt x="900" y="948"/>
                  </a:lnTo>
                  <a:lnTo>
                    <a:pt x="912" y="936"/>
                  </a:lnTo>
                  <a:lnTo>
                    <a:pt x="912" y="924"/>
                  </a:lnTo>
                  <a:lnTo>
                    <a:pt x="918" y="924"/>
                  </a:lnTo>
                  <a:lnTo>
                    <a:pt x="918" y="918"/>
                  </a:lnTo>
                  <a:lnTo>
                    <a:pt x="936" y="906"/>
                  </a:lnTo>
                  <a:lnTo>
                    <a:pt x="942" y="906"/>
                  </a:lnTo>
                  <a:lnTo>
                    <a:pt x="948" y="906"/>
                  </a:lnTo>
                  <a:lnTo>
                    <a:pt x="954" y="906"/>
                  </a:lnTo>
                  <a:lnTo>
                    <a:pt x="960" y="906"/>
                  </a:lnTo>
                  <a:lnTo>
                    <a:pt x="966" y="912"/>
                  </a:lnTo>
                  <a:lnTo>
                    <a:pt x="972" y="906"/>
                  </a:lnTo>
                  <a:lnTo>
                    <a:pt x="978" y="906"/>
                  </a:lnTo>
                  <a:lnTo>
                    <a:pt x="984" y="900"/>
                  </a:lnTo>
                  <a:lnTo>
                    <a:pt x="984" y="894"/>
                  </a:lnTo>
                  <a:lnTo>
                    <a:pt x="990" y="894"/>
                  </a:lnTo>
                  <a:lnTo>
                    <a:pt x="996" y="888"/>
                  </a:lnTo>
                  <a:lnTo>
                    <a:pt x="1002" y="888"/>
                  </a:lnTo>
                  <a:lnTo>
                    <a:pt x="1008" y="882"/>
                  </a:lnTo>
                  <a:lnTo>
                    <a:pt x="1014" y="882"/>
                  </a:lnTo>
                  <a:lnTo>
                    <a:pt x="1020" y="882"/>
                  </a:lnTo>
                  <a:lnTo>
                    <a:pt x="1020" y="888"/>
                  </a:lnTo>
                  <a:lnTo>
                    <a:pt x="1026" y="882"/>
                  </a:lnTo>
                  <a:lnTo>
                    <a:pt x="1026" y="876"/>
                  </a:lnTo>
                  <a:lnTo>
                    <a:pt x="1026" y="870"/>
                  </a:lnTo>
                  <a:lnTo>
                    <a:pt x="1032" y="864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44" y="852"/>
                  </a:lnTo>
                  <a:lnTo>
                    <a:pt x="1038" y="846"/>
                  </a:lnTo>
                  <a:lnTo>
                    <a:pt x="1038" y="840"/>
                  </a:lnTo>
                  <a:lnTo>
                    <a:pt x="1032" y="840"/>
                  </a:lnTo>
                  <a:lnTo>
                    <a:pt x="1026" y="840"/>
                  </a:lnTo>
                  <a:lnTo>
                    <a:pt x="1020" y="840"/>
                  </a:lnTo>
                  <a:lnTo>
                    <a:pt x="1014" y="846"/>
                  </a:lnTo>
                  <a:lnTo>
                    <a:pt x="1008" y="846"/>
                  </a:lnTo>
                  <a:lnTo>
                    <a:pt x="1002" y="840"/>
                  </a:lnTo>
                  <a:lnTo>
                    <a:pt x="996" y="840"/>
                  </a:lnTo>
                  <a:lnTo>
                    <a:pt x="990" y="834"/>
                  </a:lnTo>
                  <a:lnTo>
                    <a:pt x="984" y="834"/>
                  </a:lnTo>
                  <a:lnTo>
                    <a:pt x="978" y="834"/>
                  </a:lnTo>
                  <a:lnTo>
                    <a:pt x="972" y="834"/>
                  </a:lnTo>
                  <a:lnTo>
                    <a:pt x="966" y="834"/>
                  </a:lnTo>
                  <a:lnTo>
                    <a:pt x="966" y="828"/>
                  </a:lnTo>
                  <a:lnTo>
                    <a:pt x="960" y="828"/>
                  </a:lnTo>
                  <a:lnTo>
                    <a:pt x="954" y="828"/>
                  </a:lnTo>
                  <a:lnTo>
                    <a:pt x="942" y="828"/>
                  </a:lnTo>
                  <a:lnTo>
                    <a:pt x="936" y="828"/>
                  </a:lnTo>
                  <a:lnTo>
                    <a:pt x="930" y="828"/>
                  </a:lnTo>
                  <a:lnTo>
                    <a:pt x="918" y="828"/>
                  </a:lnTo>
                  <a:lnTo>
                    <a:pt x="918" y="822"/>
                  </a:lnTo>
                  <a:lnTo>
                    <a:pt x="912" y="828"/>
                  </a:lnTo>
                  <a:lnTo>
                    <a:pt x="912" y="822"/>
                  </a:lnTo>
                  <a:lnTo>
                    <a:pt x="906" y="816"/>
                  </a:lnTo>
                  <a:lnTo>
                    <a:pt x="900" y="816"/>
                  </a:lnTo>
                  <a:lnTo>
                    <a:pt x="894" y="816"/>
                  </a:lnTo>
                  <a:lnTo>
                    <a:pt x="888" y="816"/>
                  </a:lnTo>
                  <a:lnTo>
                    <a:pt x="882" y="816"/>
                  </a:lnTo>
                  <a:lnTo>
                    <a:pt x="882" y="810"/>
                  </a:lnTo>
                  <a:lnTo>
                    <a:pt x="876" y="804"/>
                  </a:lnTo>
                  <a:lnTo>
                    <a:pt x="870" y="804"/>
                  </a:lnTo>
                  <a:lnTo>
                    <a:pt x="864" y="798"/>
                  </a:lnTo>
                  <a:lnTo>
                    <a:pt x="858" y="798"/>
                  </a:lnTo>
                  <a:lnTo>
                    <a:pt x="858" y="804"/>
                  </a:lnTo>
                  <a:lnTo>
                    <a:pt x="852" y="804"/>
                  </a:lnTo>
                  <a:lnTo>
                    <a:pt x="846" y="804"/>
                  </a:lnTo>
                  <a:lnTo>
                    <a:pt x="846" y="798"/>
                  </a:lnTo>
                  <a:lnTo>
                    <a:pt x="840" y="804"/>
                  </a:lnTo>
                  <a:lnTo>
                    <a:pt x="834" y="804"/>
                  </a:lnTo>
                  <a:lnTo>
                    <a:pt x="828" y="804"/>
                  </a:lnTo>
                  <a:lnTo>
                    <a:pt x="828" y="810"/>
                  </a:lnTo>
                  <a:lnTo>
                    <a:pt x="822" y="810"/>
                  </a:lnTo>
                  <a:lnTo>
                    <a:pt x="810" y="804"/>
                  </a:lnTo>
                  <a:lnTo>
                    <a:pt x="810" y="798"/>
                  </a:lnTo>
                  <a:lnTo>
                    <a:pt x="780" y="798"/>
                  </a:lnTo>
                  <a:lnTo>
                    <a:pt x="756" y="774"/>
                  </a:lnTo>
                  <a:lnTo>
                    <a:pt x="750" y="768"/>
                  </a:lnTo>
                  <a:lnTo>
                    <a:pt x="750" y="744"/>
                  </a:lnTo>
                  <a:lnTo>
                    <a:pt x="732" y="738"/>
                  </a:lnTo>
                  <a:lnTo>
                    <a:pt x="732" y="720"/>
                  </a:lnTo>
                  <a:lnTo>
                    <a:pt x="714" y="690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6" y="666"/>
                  </a:lnTo>
                  <a:lnTo>
                    <a:pt x="690" y="666"/>
                  </a:lnTo>
                  <a:lnTo>
                    <a:pt x="678" y="672"/>
                  </a:lnTo>
                  <a:lnTo>
                    <a:pt x="678" y="654"/>
                  </a:lnTo>
                  <a:lnTo>
                    <a:pt x="684" y="630"/>
                  </a:lnTo>
                  <a:lnTo>
                    <a:pt x="690" y="618"/>
                  </a:lnTo>
                  <a:lnTo>
                    <a:pt x="696" y="612"/>
                  </a:lnTo>
                  <a:lnTo>
                    <a:pt x="696" y="588"/>
                  </a:lnTo>
                  <a:lnTo>
                    <a:pt x="690" y="576"/>
                  </a:lnTo>
                  <a:lnTo>
                    <a:pt x="696" y="552"/>
                  </a:lnTo>
                  <a:lnTo>
                    <a:pt x="684" y="522"/>
                  </a:lnTo>
                  <a:lnTo>
                    <a:pt x="672" y="504"/>
                  </a:lnTo>
                  <a:lnTo>
                    <a:pt x="654" y="504"/>
                  </a:lnTo>
                  <a:lnTo>
                    <a:pt x="642" y="504"/>
                  </a:lnTo>
                  <a:lnTo>
                    <a:pt x="624" y="510"/>
                  </a:lnTo>
                  <a:lnTo>
                    <a:pt x="612" y="516"/>
                  </a:lnTo>
                  <a:lnTo>
                    <a:pt x="594" y="516"/>
                  </a:lnTo>
                  <a:lnTo>
                    <a:pt x="588" y="516"/>
                  </a:lnTo>
                  <a:lnTo>
                    <a:pt x="588" y="522"/>
                  </a:lnTo>
                  <a:lnTo>
                    <a:pt x="582" y="516"/>
                  </a:lnTo>
                  <a:lnTo>
                    <a:pt x="588" y="510"/>
                  </a:lnTo>
                  <a:lnTo>
                    <a:pt x="582" y="510"/>
                  </a:lnTo>
                  <a:lnTo>
                    <a:pt x="582" y="504"/>
                  </a:lnTo>
                  <a:lnTo>
                    <a:pt x="576" y="498"/>
                  </a:lnTo>
                  <a:lnTo>
                    <a:pt x="570" y="498"/>
                  </a:lnTo>
                  <a:lnTo>
                    <a:pt x="570" y="492"/>
                  </a:lnTo>
                  <a:lnTo>
                    <a:pt x="564" y="492"/>
                  </a:lnTo>
                  <a:lnTo>
                    <a:pt x="570" y="486"/>
                  </a:lnTo>
                  <a:lnTo>
                    <a:pt x="564" y="486"/>
                  </a:lnTo>
                  <a:lnTo>
                    <a:pt x="564" y="480"/>
                  </a:lnTo>
                  <a:lnTo>
                    <a:pt x="564" y="474"/>
                  </a:lnTo>
                  <a:lnTo>
                    <a:pt x="558" y="468"/>
                  </a:lnTo>
                  <a:lnTo>
                    <a:pt x="564" y="468"/>
                  </a:lnTo>
                  <a:lnTo>
                    <a:pt x="564" y="462"/>
                  </a:lnTo>
                  <a:lnTo>
                    <a:pt x="570" y="462"/>
                  </a:lnTo>
                  <a:lnTo>
                    <a:pt x="570" y="456"/>
                  </a:lnTo>
                  <a:lnTo>
                    <a:pt x="570" y="450"/>
                  </a:lnTo>
                  <a:lnTo>
                    <a:pt x="576" y="450"/>
                  </a:lnTo>
                  <a:lnTo>
                    <a:pt x="576" y="444"/>
                  </a:lnTo>
                  <a:lnTo>
                    <a:pt x="582" y="438"/>
                  </a:lnTo>
                  <a:lnTo>
                    <a:pt x="588" y="438"/>
                  </a:lnTo>
                  <a:lnTo>
                    <a:pt x="588" y="444"/>
                  </a:lnTo>
                  <a:lnTo>
                    <a:pt x="594" y="438"/>
                  </a:lnTo>
                  <a:lnTo>
                    <a:pt x="594" y="432"/>
                  </a:lnTo>
                  <a:lnTo>
                    <a:pt x="600" y="432"/>
                  </a:lnTo>
                  <a:lnTo>
                    <a:pt x="600" y="426"/>
                  </a:lnTo>
                  <a:lnTo>
                    <a:pt x="600" y="420"/>
                  </a:lnTo>
                  <a:lnTo>
                    <a:pt x="606" y="420"/>
                  </a:lnTo>
                  <a:lnTo>
                    <a:pt x="600" y="420"/>
                  </a:lnTo>
                  <a:lnTo>
                    <a:pt x="600" y="414"/>
                  </a:lnTo>
                  <a:lnTo>
                    <a:pt x="606" y="408"/>
                  </a:lnTo>
                  <a:lnTo>
                    <a:pt x="612" y="408"/>
                  </a:lnTo>
                  <a:lnTo>
                    <a:pt x="612" y="414"/>
                  </a:lnTo>
                  <a:lnTo>
                    <a:pt x="618" y="414"/>
                  </a:lnTo>
                  <a:lnTo>
                    <a:pt x="624" y="414"/>
                  </a:lnTo>
                  <a:lnTo>
                    <a:pt x="630" y="414"/>
                  </a:lnTo>
                  <a:lnTo>
                    <a:pt x="636" y="414"/>
                  </a:lnTo>
                  <a:lnTo>
                    <a:pt x="642" y="408"/>
                  </a:lnTo>
                  <a:lnTo>
                    <a:pt x="648" y="408"/>
                  </a:lnTo>
                  <a:lnTo>
                    <a:pt x="660" y="408"/>
                  </a:lnTo>
                  <a:lnTo>
                    <a:pt x="666" y="402"/>
                  </a:lnTo>
                  <a:lnTo>
                    <a:pt x="672" y="402"/>
                  </a:lnTo>
                  <a:lnTo>
                    <a:pt x="684" y="396"/>
                  </a:lnTo>
                  <a:lnTo>
                    <a:pt x="690" y="396"/>
                  </a:lnTo>
                  <a:lnTo>
                    <a:pt x="696" y="396"/>
                  </a:lnTo>
                  <a:lnTo>
                    <a:pt x="702" y="396"/>
                  </a:lnTo>
                  <a:lnTo>
                    <a:pt x="708" y="396"/>
                  </a:lnTo>
                  <a:lnTo>
                    <a:pt x="714" y="390"/>
                  </a:lnTo>
                  <a:lnTo>
                    <a:pt x="714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32" y="384"/>
                  </a:lnTo>
                  <a:lnTo>
                    <a:pt x="738" y="378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56" y="372"/>
                  </a:lnTo>
                  <a:lnTo>
                    <a:pt x="762" y="366"/>
                  </a:lnTo>
                  <a:lnTo>
                    <a:pt x="768" y="366"/>
                  </a:lnTo>
                  <a:lnTo>
                    <a:pt x="774" y="366"/>
                  </a:lnTo>
                  <a:lnTo>
                    <a:pt x="774" y="360"/>
                  </a:lnTo>
                  <a:lnTo>
                    <a:pt x="780" y="366"/>
                  </a:lnTo>
                  <a:lnTo>
                    <a:pt x="786" y="366"/>
                  </a:lnTo>
                  <a:lnTo>
                    <a:pt x="786" y="360"/>
                  </a:lnTo>
                  <a:lnTo>
                    <a:pt x="792" y="354"/>
                  </a:lnTo>
                  <a:lnTo>
                    <a:pt x="786" y="354"/>
                  </a:lnTo>
                  <a:lnTo>
                    <a:pt x="792" y="348"/>
                  </a:lnTo>
                  <a:lnTo>
                    <a:pt x="798" y="348"/>
                  </a:lnTo>
                  <a:lnTo>
                    <a:pt x="804" y="348"/>
                  </a:lnTo>
                  <a:lnTo>
                    <a:pt x="810" y="342"/>
                  </a:lnTo>
                  <a:lnTo>
                    <a:pt x="816" y="342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28" y="336"/>
                  </a:lnTo>
                  <a:lnTo>
                    <a:pt x="834" y="336"/>
                  </a:lnTo>
                  <a:lnTo>
                    <a:pt x="840" y="336"/>
                  </a:lnTo>
                  <a:lnTo>
                    <a:pt x="846" y="330"/>
                  </a:lnTo>
                  <a:lnTo>
                    <a:pt x="852" y="330"/>
                  </a:lnTo>
                  <a:lnTo>
                    <a:pt x="858" y="330"/>
                  </a:lnTo>
                  <a:lnTo>
                    <a:pt x="864" y="324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0" y="312"/>
                  </a:lnTo>
                  <a:lnTo>
                    <a:pt x="876" y="312"/>
                  </a:lnTo>
                  <a:lnTo>
                    <a:pt x="882" y="312"/>
                  </a:lnTo>
                  <a:lnTo>
                    <a:pt x="882" y="318"/>
                  </a:lnTo>
                  <a:lnTo>
                    <a:pt x="888" y="312"/>
                  </a:lnTo>
                  <a:lnTo>
                    <a:pt x="894" y="306"/>
                  </a:lnTo>
                  <a:lnTo>
                    <a:pt x="900" y="306"/>
                  </a:lnTo>
                  <a:lnTo>
                    <a:pt x="906" y="306"/>
                  </a:lnTo>
                  <a:lnTo>
                    <a:pt x="912" y="300"/>
                  </a:lnTo>
                  <a:lnTo>
                    <a:pt x="906" y="294"/>
                  </a:lnTo>
                  <a:lnTo>
                    <a:pt x="912" y="276"/>
                  </a:lnTo>
                  <a:lnTo>
                    <a:pt x="912" y="252"/>
                  </a:lnTo>
                  <a:lnTo>
                    <a:pt x="906" y="234"/>
                  </a:lnTo>
                  <a:lnTo>
                    <a:pt x="912" y="228"/>
                  </a:lnTo>
                  <a:lnTo>
                    <a:pt x="912" y="216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24" y="192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36" y="186"/>
                  </a:lnTo>
                  <a:lnTo>
                    <a:pt x="930" y="180"/>
                  </a:lnTo>
                  <a:lnTo>
                    <a:pt x="930" y="174"/>
                  </a:lnTo>
                  <a:lnTo>
                    <a:pt x="936" y="156"/>
                  </a:lnTo>
                  <a:lnTo>
                    <a:pt x="930" y="156"/>
                  </a:lnTo>
                  <a:lnTo>
                    <a:pt x="924" y="150"/>
                  </a:lnTo>
                  <a:lnTo>
                    <a:pt x="942" y="78"/>
                  </a:lnTo>
                  <a:lnTo>
                    <a:pt x="948" y="78"/>
                  </a:lnTo>
                  <a:lnTo>
                    <a:pt x="954" y="66"/>
                  </a:lnTo>
                  <a:lnTo>
                    <a:pt x="954" y="72"/>
                  </a:lnTo>
                  <a:lnTo>
                    <a:pt x="954" y="66"/>
                  </a:lnTo>
                  <a:lnTo>
                    <a:pt x="960" y="66"/>
                  </a:lnTo>
                  <a:lnTo>
                    <a:pt x="966" y="66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54"/>
                  </a:lnTo>
                  <a:lnTo>
                    <a:pt x="990" y="54"/>
                  </a:lnTo>
                  <a:lnTo>
                    <a:pt x="996" y="48"/>
                  </a:lnTo>
                  <a:lnTo>
                    <a:pt x="1002" y="48"/>
                  </a:lnTo>
                  <a:lnTo>
                    <a:pt x="1032" y="48"/>
                  </a:lnTo>
                  <a:lnTo>
                    <a:pt x="1062" y="48"/>
                  </a:lnTo>
                  <a:lnTo>
                    <a:pt x="1068" y="78"/>
                  </a:lnTo>
                  <a:lnTo>
                    <a:pt x="1086" y="78"/>
                  </a:lnTo>
                  <a:lnTo>
                    <a:pt x="1092" y="66"/>
                  </a:lnTo>
                  <a:lnTo>
                    <a:pt x="1092" y="60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8" y="48"/>
                  </a:lnTo>
                  <a:lnTo>
                    <a:pt x="1104" y="48"/>
                  </a:lnTo>
                  <a:lnTo>
                    <a:pt x="1110" y="48"/>
                  </a:lnTo>
                  <a:lnTo>
                    <a:pt x="1110" y="42"/>
                  </a:lnTo>
                  <a:lnTo>
                    <a:pt x="1110" y="36"/>
                  </a:lnTo>
                  <a:lnTo>
                    <a:pt x="1116" y="36"/>
                  </a:lnTo>
                  <a:lnTo>
                    <a:pt x="1116" y="30"/>
                  </a:lnTo>
                  <a:lnTo>
                    <a:pt x="1122" y="30"/>
                  </a:lnTo>
                  <a:lnTo>
                    <a:pt x="1128" y="30"/>
                  </a:lnTo>
                  <a:lnTo>
                    <a:pt x="1134" y="30"/>
                  </a:lnTo>
                  <a:lnTo>
                    <a:pt x="1140" y="24"/>
                  </a:lnTo>
                  <a:lnTo>
                    <a:pt x="1152" y="18"/>
                  </a:lnTo>
                  <a:lnTo>
                    <a:pt x="1158" y="18"/>
                  </a:lnTo>
                  <a:lnTo>
                    <a:pt x="1152" y="12"/>
                  </a:lnTo>
                  <a:lnTo>
                    <a:pt x="1152" y="6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8"/>
                  </a:lnTo>
                  <a:lnTo>
                    <a:pt x="1170" y="12"/>
                  </a:lnTo>
                  <a:lnTo>
                    <a:pt x="1170" y="6"/>
                  </a:lnTo>
                  <a:lnTo>
                    <a:pt x="1176" y="6"/>
                  </a:lnTo>
                  <a:lnTo>
                    <a:pt x="1176" y="0"/>
                  </a:lnTo>
                  <a:lnTo>
                    <a:pt x="1182" y="6"/>
                  </a:lnTo>
                  <a:lnTo>
                    <a:pt x="1188" y="6"/>
                  </a:lnTo>
                  <a:lnTo>
                    <a:pt x="1188" y="0"/>
                  </a:lnTo>
                  <a:lnTo>
                    <a:pt x="1194" y="6"/>
                  </a:lnTo>
                  <a:lnTo>
                    <a:pt x="1200" y="12"/>
                  </a:lnTo>
                  <a:lnTo>
                    <a:pt x="1206" y="18"/>
                  </a:lnTo>
                  <a:lnTo>
                    <a:pt x="1212" y="18"/>
                  </a:lnTo>
                  <a:lnTo>
                    <a:pt x="1218" y="24"/>
                  </a:lnTo>
                  <a:lnTo>
                    <a:pt x="1236" y="36"/>
                  </a:lnTo>
                  <a:lnTo>
                    <a:pt x="1242" y="36"/>
                  </a:lnTo>
                  <a:lnTo>
                    <a:pt x="1248" y="42"/>
                  </a:lnTo>
                  <a:lnTo>
                    <a:pt x="1248" y="48"/>
                  </a:lnTo>
                  <a:lnTo>
                    <a:pt x="1260" y="48"/>
                  </a:lnTo>
                  <a:lnTo>
                    <a:pt x="1260" y="108"/>
                  </a:lnTo>
                  <a:lnTo>
                    <a:pt x="1266" y="168"/>
                  </a:lnTo>
                  <a:lnTo>
                    <a:pt x="1278" y="234"/>
                  </a:lnTo>
                  <a:lnTo>
                    <a:pt x="1284" y="240"/>
                  </a:lnTo>
                  <a:lnTo>
                    <a:pt x="1290" y="264"/>
                  </a:lnTo>
                  <a:lnTo>
                    <a:pt x="1296" y="288"/>
                  </a:lnTo>
                  <a:lnTo>
                    <a:pt x="1296" y="300"/>
                  </a:lnTo>
                  <a:lnTo>
                    <a:pt x="1296" y="312"/>
                  </a:lnTo>
                  <a:lnTo>
                    <a:pt x="1296" y="324"/>
                  </a:lnTo>
                  <a:lnTo>
                    <a:pt x="1296" y="354"/>
                  </a:lnTo>
                  <a:lnTo>
                    <a:pt x="1302" y="366"/>
                  </a:lnTo>
                  <a:lnTo>
                    <a:pt x="1308" y="372"/>
                  </a:lnTo>
                  <a:lnTo>
                    <a:pt x="1308" y="384"/>
                  </a:lnTo>
                  <a:lnTo>
                    <a:pt x="1314" y="390"/>
                  </a:lnTo>
                  <a:lnTo>
                    <a:pt x="1308" y="408"/>
                  </a:lnTo>
                  <a:lnTo>
                    <a:pt x="1314" y="408"/>
                  </a:lnTo>
                  <a:lnTo>
                    <a:pt x="1314" y="414"/>
                  </a:lnTo>
                  <a:lnTo>
                    <a:pt x="1308" y="420"/>
                  </a:lnTo>
                  <a:lnTo>
                    <a:pt x="1308" y="432"/>
                  </a:lnTo>
                  <a:lnTo>
                    <a:pt x="1320" y="432"/>
                  </a:lnTo>
                  <a:lnTo>
                    <a:pt x="1320" y="444"/>
                  </a:lnTo>
                  <a:lnTo>
                    <a:pt x="1332" y="444"/>
                  </a:lnTo>
                  <a:lnTo>
                    <a:pt x="1338" y="450"/>
                  </a:lnTo>
                  <a:lnTo>
                    <a:pt x="1344" y="456"/>
                  </a:lnTo>
                  <a:lnTo>
                    <a:pt x="1344" y="462"/>
                  </a:lnTo>
                  <a:lnTo>
                    <a:pt x="1344" y="474"/>
                  </a:lnTo>
                  <a:lnTo>
                    <a:pt x="1350" y="474"/>
                  </a:lnTo>
                  <a:lnTo>
                    <a:pt x="1368" y="504"/>
                  </a:lnTo>
                  <a:lnTo>
                    <a:pt x="1374" y="534"/>
                  </a:lnTo>
                  <a:lnTo>
                    <a:pt x="1380" y="558"/>
                  </a:lnTo>
                  <a:lnTo>
                    <a:pt x="1386" y="576"/>
                  </a:lnTo>
                  <a:lnTo>
                    <a:pt x="1386" y="600"/>
                  </a:lnTo>
                  <a:lnTo>
                    <a:pt x="1386" y="624"/>
                  </a:lnTo>
                  <a:lnTo>
                    <a:pt x="1386" y="648"/>
                  </a:lnTo>
                  <a:lnTo>
                    <a:pt x="1386" y="684"/>
                  </a:lnTo>
                  <a:lnTo>
                    <a:pt x="1380" y="684"/>
                  </a:lnTo>
                  <a:lnTo>
                    <a:pt x="1374" y="696"/>
                  </a:lnTo>
                  <a:lnTo>
                    <a:pt x="1368" y="702"/>
                  </a:lnTo>
                  <a:lnTo>
                    <a:pt x="1362" y="708"/>
                  </a:lnTo>
                  <a:lnTo>
                    <a:pt x="1356" y="714"/>
                  </a:lnTo>
                  <a:lnTo>
                    <a:pt x="1350" y="720"/>
                  </a:lnTo>
                  <a:lnTo>
                    <a:pt x="1338" y="720"/>
                  </a:lnTo>
                  <a:lnTo>
                    <a:pt x="1338" y="738"/>
                  </a:lnTo>
                  <a:lnTo>
                    <a:pt x="1362" y="750"/>
                  </a:lnTo>
                  <a:lnTo>
                    <a:pt x="1362" y="756"/>
                  </a:lnTo>
                  <a:lnTo>
                    <a:pt x="1374" y="756"/>
                  </a:lnTo>
                  <a:lnTo>
                    <a:pt x="1410" y="774"/>
                  </a:lnTo>
                  <a:lnTo>
                    <a:pt x="1446" y="774"/>
                  </a:lnTo>
                  <a:lnTo>
                    <a:pt x="1482" y="768"/>
                  </a:lnTo>
                  <a:lnTo>
                    <a:pt x="1500" y="774"/>
                  </a:lnTo>
                  <a:lnTo>
                    <a:pt x="1512" y="78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6" name="Freeform 11">
              <a:extLst>
                <a:ext uri="{FF2B5EF4-FFF2-40B4-BE49-F238E27FC236}">
                  <a16:creationId xmlns:a16="http://schemas.microsoft.com/office/drawing/2014/main" id="{1FF8E66F-B850-456A-B132-C45FEEDE95C6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2475" y="2345643"/>
              <a:ext cx="445003" cy="603855"/>
            </a:xfrm>
            <a:custGeom>
              <a:avLst/>
              <a:gdLst>
                <a:gd name="T0" fmla="*/ 47 w 840"/>
                <a:gd name="T1" fmla="*/ 98 h 1134"/>
                <a:gd name="T2" fmla="*/ 41 w 840"/>
                <a:gd name="T3" fmla="*/ 98 h 1134"/>
                <a:gd name="T4" fmla="*/ 37 w 840"/>
                <a:gd name="T5" fmla="*/ 98 h 1134"/>
                <a:gd name="T6" fmla="*/ 29 w 840"/>
                <a:gd name="T7" fmla="*/ 97 h 1134"/>
                <a:gd name="T8" fmla="*/ 27 w 840"/>
                <a:gd name="T9" fmla="*/ 94 h 1134"/>
                <a:gd name="T10" fmla="*/ 26 w 840"/>
                <a:gd name="T11" fmla="*/ 93 h 1134"/>
                <a:gd name="T12" fmla="*/ 26 w 840"/>
                <a:gd name="T13" fmla="*/ 83 h 1134"/>
                <a:gd name="T14" fmla="*/ 26 w 840"/>
                <a:gd name="T15" fmla="*/ 81 h 1134"/>
                <a:gd name="T16" fmla="*/ 23 w 840"/>
                <a:gd name="T17" fmla="*/ 77 h 1134"/>
                <a:gd name="T18" fmla="*/ 19 w 840"/>
                <a:gd name="T19" fmla="*/ 75 h 1134"/>
                <a:gd name="T20" fmla="*/ 16 w 840"/>
                <a:gd name="T21" fmla="*/ 72 h 1134"/>
                <a:gd name="T22" fmla="*/ 13 w 840"/>
                <a:gd name="T23" fmla="*/ 70 h 1134"/>
                <a:gd name="T24" fmla="*/ 17 w 840"/>
                <a:gd name="T25" fmla="*/ 67 h 1134"/>
                <a:gd name="T26" fmla="*/ 19 w 840"/>
                <a:gd name="T27" fmla="*/ 63 h 1134"/>
                <a:gd name="T28" fmla="*/ 20 w 840"/>
                <a:gd name="T29" fmla="*/ 59 h 1134"/>
                <a:gd name="T30" fmla="*/ 19 w 840"/>
                <a:gd name="T31" fmla="*/ 55 h 1134"/>
                <a:gd name="T32" fmla="*/ 17 w 840"/>
                <a:gd name="T33" fmla="*/ 47 h 1134"/>
                <a:gd name="T34" fmla="*/ 8 w 840"/>
                <a:gd name="T35" fmla="*/ 45 h 1134"/>
                <a:gd name="T36" fmla="*/ 4 w 840"/>
                <a:gd name="T37" fmla="*/ 39 h 1134"/>
                <a:gd name="T38" fmla="*/ 2 w 840"/>
                <a:gd name="T39" fmla="*/ 35 h 1134"/>
                <a:gd name="T40" fmla="*/ 0 w 840"/>
                <a:gd name="T41" fmla="*/ 31 h 1134"/>
                <a:gd name="T42" fmla="*/ 2 w 840"/>
                <a:gd name="T43" fmla="*/ 27 h 1134"/>
                <a:gd name="T44" fmla="*/ 5 w 840"/>
                <a:gd name="T45" fmla="*/ 24 h 1134"/>
                <a:gd name="T46" fmla="*/ 10 w 840"/>
                <a:gd name="T47" fmla="*/ 26 h 1134"/>
                <a:gd name="T48" fmla="*/ 7 w 840"/>
                <a:gd name="T49" fmla="*/ 20 h 1134"/>
                <a:gd name="T50" fmla="*/ 12 w 840"/>
                <a:gd name="T51" fmla="*/ 12 h 1134"/>
                <a:gd name="T52" fmla="*/ 19 w 840"/>
                <a:gd name="T53" fmla="*/ 10 h 1134"/>
                <a:gd name="T54" fmla="*/ 20 w 840"/>
                <a:gd name="T55" fmla="*/ 13 h 1134"/>
                <a:gd name="T56" fmla="*/ 22 w 840"/>
                <a:gd name="T57" fmla="*/ 11 h 1134"/>
                <a:gd name="T58" fmla="*/ 25 w 840"/>
                <a:gd name="T59" fmla="*/ 7 h 1134"/>
                <a:gd name="T60" fmla="*/ 29 w 840"/>
                <a:gd name="T61" fmla="*/ 2 h 1134"/>
                <a:gd name="T62" fmla="*/ 33 w 840"/>
                <a:gd name="T63" fmla="*/ 1 h 1134"/>
                <a:gd name="T64" fmla="*/ 37 w 840"/>
                <a:gd name="T65" fmla="*/ 2 h 1134"/>
                <a:gd name="T66" fmla="*/ 39 w 840"/>
                <a:gd name="T67" fmla="*/ 4 h 1134"/>
                <a:gd name="T68" fmla="*/ 43 w 840"/>
                <a:gd name="T69" fmla="*/ 5 h 1134"/>
                <a:gd name="T70" fmla="*/ 46 w 840"/>
                <a:gd name="T71" fmla="*/ 11 h 1134"/>
                <a:gd name="T72" fmla="*/ 49 w 840"/>
                <a:gd name="T73" fmla="*/ 12 h 1134"/>
                <a:gd name="T74" fmla="*/ 52 w 840"/>
                <a:gd name="T75" fmla="*/ 15 h 1134"/>
                <a:gd name="T76" fmla="*/ 54 w 840"/>
                <a:gd name="T77" fmla="*/ 18 h 1134"/>
                <a:gd name="T78" fmla="*/ 55 w 840"/>
                <a:gd name="T79" fmla="*/ 22 h 1134"/>
                <a:gd name="T80" fmla="*/ 56 w 840"/>
                <a:gd name="T81" fmla="*/ 26 h 1134"/>
                <a:gd name="T82" fmla="*/ 55 w 840"/>
                <a:gd name="T83" fmla="*/ 32 h 1134"/>
                <a:gd name="T84" fmla="*/ 55 w 840"/>
                <a:gd name="T85" fmla="*/ 36 h 1134"/>
                <a:gd name="T86" fmla="*/ 54 w 840"/>
                <a:gd name="T87" fmla="*/ 39 h 1134"/>
                <a:gd name="T88" fmla="*/ 56 w 840"/>
                <a:gd name="T89" fmla="*/ 39 h 1134"/>
                <a:gd name="T90" fmla="*/ 58 w 840"/>
                <a:gd name="T91" fmla="*/ 39 h 1134"/>
                <a:gd name="T92" fmla="*/ 61 w 840"/>
                <a:gd name="T93" fmla="*/ 39 h 1134"/>
                <a:gd name="T94" fmla="*/ 60 w 840"/>
                <a:gd name="T95" fmla="*/ 49 h 1134"/>
                <a:gd name="T96" fmla="*/ 59 w 840"/>
                <a:gd name="T97" fmla="*/ 53 h 1134"/>
                <a:gd name="T98" fmla="*/ 59 w 840"/>
                <a:gd name="T99" fmla="*/ 56 h 1134"/>
                <a:gd name="T100" fmla="*/ 60 w 840"/>
                <a:gd name="T101" fmla="*/ 59 h 1134"/>
                <a:gd name="T102" fmla="*/ 64 w 840"/>
                <a:gd name="T103" fmla="*/ 61 h 1134"/>
                <a:gd name="T104" fmla="*/ 69 w 840"/>
                <a:gd name="T105" fmla="*/ 63 h 1134"/>
                <a:gd name="T106" fmla="*/ 72 w 840"/>
                <a:gd name="T107" fmla="*/ 69 h 1134"/>
                <a:gd name="T108" fmla="*/ 72 w 840"/>
                <a:gd name="T109" fmla="*/ 73 h 1134"/>
                <a:gd name="T110" fmla="*/ 72 w 840"/>
                <a:gd name="T111" fmla="*/ 83 h 1134"/>
                <a:gd name="T112" fmla="*/ 63 w 840"/>
                <a:gd name="T113" fmla="*/ 88 h 1134"/>
                <a:gd name="T114" fmla="*/ 52 w 840"/>
                <a:gd name="T115" fmla="*/ 95 h 11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40"/>
                <a:gd name="T175" fmla="*/ 0 h 1134"/>
                <a:gd name="T176" fmla="*/ 840 w 840"/>
                <a:gd name="T177" fmla="*/ 1134 h 11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40" h="1134">
                  <a:moveTo>
                    <a:pt x="564" y="1110"/>
                  </a:moveTo>
                  <a:lnTo>
                    <a:pt x="564" y="1104"/>
                  </a:lnTo>
                  <a:lnTo>
                    <a:pt x="558" y="1104"/>
                  </a:lnTo>
                  <a:lnTo>
                    <a:pt x="552" y="1110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28" y="1128"/>
                  </a:lnTo>
                  <a:lnTo>
                    <a:pt x="498" y="1128"/>
                  </a:lnTo>
                  <a:lnTo>
                    <a:pt x="492" y="1128"/>
                  </a:lnTo>
                  <a:lnTo>
                    <a:pt x="486" y="1128"/>
                  </a:lnTo>
                  <a:lnTo>
                    <a:pt x="480" y="1128"/>
                  </a:lnTo>
                  <a:lnTo>
                    <a:pt x="474" y="1134"/>
                  </a:lnTo>
                  <a:lnTo>
                    <a:pt x="468" y="1134"/>
                  </a:lnTo>
                  <a:lnTo>
                    <a:pt x="462" y="1134"/>
                  </a:lnTo>
                  <a:lnTo>
                    <a:pt x="456" y="1134"/>
                  </a:lnTo>
                  <a:lnTo>
                    <a:pt x="456" y="1128"/>
                  </a:lnTo>
                  <a:lnTo>
                    <a:pt x="450" y="1122"/>
                  </a:lnTo>
                  <a:lnTo>
                    <a:pt x="426" y="1128"/>
                  </a:lnTo>
                  <a:lnTo>
                    <a:pt x="414" y="1128"/>
                  </a:lnTo>
                  <a:lnTo>
                    <a:pt x="348" y="1134"/>
                  </a:lnTo>
                  <a:lnTo>
                    <a:pt x="348" y="1128"/>
                  </a:lnTo>
                  <a:lnTo>
                    <a:pt x="342" y="1128"/>
                  </a:lnTo>
                  <a:lnTo>
                    <a:pt x="336" y="1122"/>
                  </a:lnTo>
                  <a:lnTo>
                    <a:pt x="330" y="1122"/>
                  </a:lnTo>
                  <a:lnTo>
                    <a:pt x="324" y="1116"/>
                  </a:lnTo>
                  <a:lnTo>
                    <a:pt x="324" y="1110"/>
                  </a:lnTo>
                  <a:lnTo>
                    <a:pt x="318" y="1110"/>
                  </a:lnTo>
                  <a:lnTo>
                    <a:pt x="318" y="1104"/>
                  </a:lnTo>
                  <a:lnTo>
                    <a:pt x="312" y="1092"/>
                  </a:lnTo>
                  <a:lnTo>
                    <a:pt x="306" y="1086"/>
                  </a:lnTo>
                  <a:lnTo>
                    <a:pt x="306" y="1080"/>
                  </a:lnTo>
                  <a:lnTo>
                    <a:pt x="312" y="1074"/>
                  </a:lnTo>
                  <a:lnTo>
                    <a:pt x="306" y="1068"/>
                  </a:lnTo>
                  <a:lnTo>
                    <a:pt x="300" y="1074"/>
                  </a:lnTo>
                  <a:lnTo>
                    <a:pt x="300" y="1068"/>
                  </a:lnTo>
                  <a:lnTo>
                    <a:pt x="294" y="1068"/>
                  </a:lnTo>
                  <a:lnTo>
                    <a:pt x="294" y="1056"/>
                  </a:lnTo>
                  <a:lnTo>
                    <a:pt x="294" y="1026"/>
                  </a:lnTo>
                  <a:lnTo>
                    <a:pt x="294" y="1020"/>
                  </a:lnTo>
                  <a:lnTo>
                    <a:pt x="294" y="1008"/>
                  </a:lnTo>
                  <a:lnTo>
                    <a:pt x="294" y="966"/>
                  </a:lnTo>
                  <a:lnTo>
                    <a:pt x="294" y="960"/>
                  </a:lnTo>
                  <a:lnTo>
                    <a:pt x="294" y="954"/>
                  </a:lnTo>
                  <a:lnTo>
                    <a:pt x="294" y="948"/>
                  </a:lnTo>
                  <a:lnTo>
                    <a:pt x="294" y="942"/>
                  </a:lnTo>
                  <a:lnTo>
                    <a:pt x="300" y="936"/>
                  </a:lnTo>
                  <a:lnTo>
                    <a:pt x="300" y="930"/>
                  </a:lnTo>
                  <a:lnTo>
                    <a:pt x="294" y="930"/>
                  </a:lnTo>
                  <a:lnTo>
                    <a:pt x="288" y="930"/>
                  </a:lnTo>
                  <a:lnTo>
                    <a:pt x="288" y="924"/>
                  </a:lnTo>
                  <a:lnTo>
                    <a:pt x="282" y="918"/>
                  </a:lnTo>
                  <a:lnTo>
                    <a:pt x="282" y="906"/>
                  </a:lnTo>
                  <a:lnTo>
                    <a:pt x="282" y="900"/>
                  </a:lnTo>
                  <a:lnTo>
                    <a:pt x="264" y="894"/>
                  </a:lnTo>
                  <a:lnTo>
                    <a:pt x="252" y="882"/>
                  </a:lnTo>
                  <a:lnTo>
                    <a:pt x="246" y="876"/>
                  </a:lnTo>
                  <a:lnTo>
                    <a:pt x="240" y="876"/>
                  </a:lnTo>
                  <a:lnTo>
                    <a:pt x="240" y="870"/>
                  </a:lnTo>
                  <a:lnTo>
                    <a:pt x="234" y="870"/>
                  </a:lnTo>
                  <a:lnTo>
                    <a:pt x="222" y="864"/>
                  </a:lnTo>
                  <a:lnTo>
                    <a:pt x="216" y="864"/>
                  </a:lnTo>
                  <a:lnTo>
                    <a:pt x="210" y="858"/>
                  </a:lnTo>
                  <a:lnTo>
                    <a:pt x="210" y="852"/>
                  </a:lnTo>
                  <a:lnTo>
                    <a:pt x="210" y="846"/>
                  </a:lnTo>
                  <a:lnTo>
                    <a:pt x="198" y="840"/>
                  </a:lnTo>
                  <a:lnTo>
                    <a:pt x="186" y="834"/>
                  </a:lnTo>
                  <a:lnTo>
                    <a:pt x="180" y="828"/>
                  </a:lnTo>
                  <a:lnTo>
                    <a:pt x="180" y="822"/>
                  </a:lnTo>
                  <a:lnTo>
                    <a:pt x="174" y="822"/>
                  </a:lnTo>
                  <a:lnTo>
                    <a:pt x="162" y="816"/>
                  </a:lnTo>
                  <a:lnTo>
                    <a:pt x="156" y="810"/>
                  </a:lnTo>
                  <a:lnTo>
                    <a:pt x="150" y="810"/>
                  </a:lnTo>
                  <a:lnTo>
                    <a:pt x="144" y="798"/>
                  </a:lnTo>
                  <a:lnTo>
                    <a:pt x="138" y="786"/>
                  </a:lnTo>
                  <a:lnTo>
                    <a:pt x="138" y="780"/>
                  </a:lnTo>
                  <a:lnTo>
                    <a:pt x="144" y="774"/>
                  </a:lnTo>
                  <a:lnTo>
                    <a:pt x="150" y="768"/>
                  </a:lnTo>
                  <a:lnTo>
                    <a:pt x="192" y="768"/>
                  </a:lnTo>
                  <a:lnTo>
                    <a:pt x="210" y="762"/>
                  </a:lnTo>
                  <a:lnTo>
                    <a:pt x="216" y="756"/>
                  </a:lnTo>
                  <a:lnTo>
                    <a:pt x="216" y="744"/>
                  </a:lnTo>
                  <a:lnTo>
                    <a:pt x="216" y="738"/>
                  </a:lnTo>
                  <a:lnTo>
                    <a:pt x="216" y="732"/>
                  </a:lnTo>
                  <a:lnTo>
                    <a:pt x="216" y="726"/>
                  </a:lnTo>
                  <a:lnTo>
                    <a:pt x="216" y="720"/>
                  </a:lnTo>
                  <a:lnTo>
                    <a:pt x="228" y="702"/>
                  </a:lnTo>
                  <a:lnTo>
                    <a:pt x="234" y="696"/>
                  </a:lnTo>
                  <a:lnTo>
                    <a:pt x="240" y="690"/>
                  </a:lnTo>
                  <a:lnTo>
                    <a:pt x="240" y="684"/>
                  </a:lnTo>
                  <a:lnTo>
                    <a:pt x="234" y="678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0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22" y="630"/>
                  </a:lnTo>
                  <a:lnTo>
                    <a:pt x="222" y="618"/>
                  </a:lnTo>
                  <a:lnTo>
                    <a:pt x="222" y="582"/>
                  </a:lnTo>
                  <a:lnTo>
                    <a:pt x="228" y="582"/>
                  </a:lnTo>
                  <a:lnTo>
                    <a:pt x="222" y="564"/>
                  </a:lnTo>
                  <a:lnTo>
                    <a:pt x="210" y="552"/>
                  </a:lnTo>
                  <a:lnTo>
                    <a:pt x="192" y="540"/>
                  </a:lnTo>
                  <a:lnTo>
                    <a:pt x="174" y="540"/>
                  </a:lnTo>
                  <a:lnTo>
                    <a:pt x="150" y="534"/>
                  </a:lnTo>
                  <a:lnTo>
                    <a:pt x="126" y="528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90" y="516"/>
                  </a:lnTo>
                  <a:lnTo>
                    <a:pt x="78" y="504"/>
                  </a:lnTo>
                  <a:lnTo>
                    <a:pt x="72" y="498"/>
                  </a:lnTo>
                  <a:lnTo>
                    <a:pt x="66" y="486"/>
                  </a:lnTo>
                  <a:lnTo>
                    <a:pt x="54" y="468"/>
                  </a:lnTo>
                  <a:lnTo>
                    <a:pt x="54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42" y="438"/>
                  </a:lnTo>
                  <a:lnTo>
                    <a:pt x="36" y="438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24" y="384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2" y="360"/>
                  </a:lnTo>
                  <a:lnTo>
                    <a:pt x="6" y="360"/>
                  </a:lnTo>
                  <a:lnTo>
                    <a:pt x="0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0"/>
                  </a:lnTo>
                  <a:lnTo>
                    <a:pt x="18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8" y="270"/>
                  </a:lnTo>
                  <a:lnTo>
                    <a:pt x="90" y="276"/>
                  </a:lnTo>
                  <a:lnTo>
                    <a:pt x="108" y="294"/>
                  </a:lnTo>
                  <a:lnTo>
                    <a:pt x="114" y="294"/>
                  </a:lnTo>
                  <a:lnTo>
                    <a:pt x="114" y="276"/>
                  </a:lnTo>
                  <a:lnTo>
                    <a:pt x="114" y="270"/>
                  </a:lnTo>
                  <a:lnTo>
                    <a:pt x="102" y="258"/>
                  </a:lnTo>
                  <a:lnTo>
                    <a:pt x="96" y="246"/>
                  </a:lnTo>
                  <a:lnTo>
                    <a:pt x="90" y="234"/>
                  </a:lnTo>
                  <a:lnTo>
                    <a:pt x="78" y="228"/>
                  </a:lnTo>
                  <a:lnTo>
                    <a:pt x="72" y="216"/>
                  </a:lnTo>
                  <a:lnTo>
                    <a:pt x="66" y="192"/>
                  </a:lnTo>
                  <a:lnTo>
                    <a:pt x="90" y="174"/>
                  </a:lnTo>
                  <a:lnTo>
                    <a:pt x="120" y="150"/>
                  </a:lnTo>
                  <a:lnTo>
                    <a:pt x="132" y="150"/>
                  </a:lnTo>
                  <a:lnTo>
                    <a:pt x="138" y="144"/>
                  </a:lnTo>
                  <a:lnTo>
                    <a:pt x="138" y="138"/>
                  </a:lnTo>
                  <a:lnTo>
                    <a:pt x="156" y="126"/>
                  </a:lnTo>
                  <a:lnTo>
                    <a:pt x="180" y="114"/>
                  </a:lnTo>
                  <a:lnTo>
                    <a:pt x="216" y="114"/>
                  </a:lnTo>
                  <a:lnTo>
                    <a:pt x="222" y="114"/>
                  </a:lnTo>
                  <a:lnTo>
                    <a:pt x="222" y="120"/>
                  </a:lnTo>
                  <a:lnTo>
                    <a:pt x="222" y="126"/>
                  </a:lnTo>
                  <a:lnTo>
                    <a:pt x="222" y="132"/>
                  </a:lnTo>
                  <a:lnTo>
                    <a:pt x="228" y="138"/>
                  </a:lnTo>
                  <a:lnTo>
                    <a:pt x="228" y="144"/>
                  </a:lnTo>
                  <a:lnTo>
                    <a:pt x="228" y="150"/>
                  </a:lnTo>
                  <a:lnTo>
                    <a:pt x="234" y="150"/>
                  </a:lnTo>
                  <a:lnTo>
                    <a:pt x="234" y="144"/>
                  </a:lnTo>
                  <a:lnTo>
                    <a:pt x="240" y="144"/>
                  </a:lnTo>
                  <a:lnTo>
                    <a:pt x="246" y="144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58" y="126"/>
                  </a:lnTo>
                  <a:lnTo>
                    <a:pt x="258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76" y="96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6" y="72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36"/>
                  </a:lnTo>
                  <a:lnTo>
                    <a:pt x="330" y="24"/>
                  </a:lnTo>
                  <a:lnTo>
                    <a:pt x="330" y="18"/>
                  </a:lnTo>
                  <a:lnTo>
                    <a:pt x="330" y="12"/>
                  </a:lnTo>
                  <a:lnTo>
                    <a:pt x="336" y="6"/>
                  </a:lnTo>
                  <a:lnTo>
                    <a:pt x="366" y="0"/>
                  </a:lnTo>
                  <a:lnTo>
                    <a:pt x="372" y="6"/>
                  </a:lnTo>
                  <a:lnTo>
                    <a:pt x="384" y="12"/>
                  </a:lnTo>
                  <a:lnTo>
                    <a:pt x="402" y="12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18"/>
                  </a:lnTo>
                  <a:lnTo>
                    <a:pt x="420" y="18"/>
                  </a:lnTo>
                  <a:lnTo>
                    <a:pt x="426" y="24"/>
                  </a:lnTo>
                  <a:lnTo>
                    <a:pt x="432" y="30"/>
                  </a:lnTo>
                  <a:lnTo>
                    <a:pt x="438" y="36"/>
                  </a:lnTo>
                  <a:lnTo>
                    <a:pt x="444" y="42"/>
                  </a:lnTo>
                  <a:lnTo>
                    <a:pt x="450" y="42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16" y="78"/>
                  </a:lnTo>
                  <a:lnTo>
                    <a:pt x="522" y="102"/>
                  </a:lnTo>
                  <a:lnTo>
                    <a:pt x="522" y="108"/>
                  </a:lnTo>
                  <a:lnTo>
                    <a:pt x="528" y="126"/>
                  </a:lnTo>
                  <a:lnTo>
                    <a:pt x="534" y="126"/>
                  </a:lnTo>
                  <a:lnTo>
                    <a:pt x="540" y="120"/>
                  </a:lnTo>
                  <a:lnTo>
                    <a:pt x="546" y="126"/>
                  </a:lnTo>
                  <a:lnTo>
                    <a:pt x="552" y="126"/>
                  </a:lnTo>
                  <a:lnTo>
                    <a:pt x="558" y="132"/>
                  </a:lnTo>
                  <a:lnTo>
                    <a:pt x="564" y="138"/>
                  </a:lnTo>
                  <a:lnTo>
                    <a:pt x="570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594" y="168"/>
                  </a:lnTo>
                  <a:lnTo>
                    <a:pt x="600" y="174"/>
                  </a:lnTo>
                  <a:lnTo>
                    <a:pt x="606" y="180"/>
                  </a:lnTo>
                  <a:lnTo>
                    <a:pt x="606" y="186"/>
                  </a:lnTo>
                  <a:lnTo>
                    <a:pt x="612" y="192"/>
                  </a:lnTo>
                  <a:lnTo>
                    <a:pt x="612" y="198"/>
                  </a:lnTo>
                  <a:lnTo>
                    <a:pt x="624" y="204"/>
                  </a:lnTo>
                  <a:lnTo>
                    <a:pt x="624" y="210"/>
                  </a:lnTo>
                  <a:lnTo>
                    <a:pt x="630" y="216"/>
                  </a:lnTo>
                  <a:lnTo>
                    <a:pt x="636" y="222"/>
                  </a:lnTo>
                  <a:lnTo>
                    <a:pt x="636" y="228"/>
                  </a:lnTo>
                  <a:lnTo>
                    <a:pt x="636" y="234"/>
                  </a:lnTo>
                  <a:lnTo>
                    <a:pt x="636" y="252"/>
                  </a:lnTo>
                  <a:lnTo>
                    <a:pt x="636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42" y="276"/>
                  </a:lnTo>
                  <a:lnTo>
                    <a:pt x="642" y="282"/>
                  </a:lnTo>
                  <a:lnTo>
                    <a:pt x="642" y="288"/>
                  </a:lnTo>
                  <a:lnTo>
                    <a:pt x="642" y="300"/>
                  </a:lnTo>
                  <a:lnTo>
                    <a:pt x="642" y="306"/>
                  </a:lnTo>
                  <a:lnTo>
                    <a:pt x="636" y="312"/>
                  </a:lnTo>
                  <a:lnTo>
                    <a:pt x="636" y="324"/>
                  </a:lnTo>
                  <a:lnTo>
                    <a:pt x="636" y="342"/>
                  </a:lnTo>
                  <a:lnTo>
                    <a:pt x="630" y="354"/>
                  </a:lnTo>
                  <a:lnTo>
                    <a:pt x="630" y="366"/>
                  </a:lnTo>
                  <a:lnTo>
                    <a:pt x="624" y="378"/>
                  </a:lnTo>
                  <a:lnTo>
                    <a:pt x="624" y="384"/>
                  </a:lnTo>
                  <a:lnTo>
                    <a:pt x="636" y="396"/>
                  </a:lnTo>
                  <a:lnTo>
                    <a:pt x="636" y="402"/>
                  </a:lnTo>
                  <a:lnTo>
                    <a:pt x="636" y="408"/>
                  </a:lnTo>
                  <a:lnTo>
                    <a:pt x="630" y="414"/>
                  </a:lnTo>
                  <a:lnTo>
                    <a:pt x="630" y="420"/>
                  </a:lnTo>
                  <a:lnTo>
                    <a:pt x="630" y="426"/>
                  </a:lnTo>
                  <a:lnTo>
                    <a:pt x="630" y="432"/>
                  </a:lnTo>
                  <a:lnTo>
                    <a:pt x="624" y="438"/>
                  </a:lnTo>
                  <a:lnTo>
                    <a:pt x="624" y="444"/>
                  </a:lnTo>
                  <a:lnTo>
                    <a:pt x="624" y="450"/>
                  </a:lnTo>
                  <a:lnTo>
                    <a:pt x="630" y="450"/>
                  </a:lnTo>
                  <a:lnTo>
                    <a:pt x="630" y="456"/>
                  </a:lnTo>
                  <a:lnTo>
                    <a:pt x="630" y="462"/>
                  </a:lnTo>
                  <a:lnTo>
                    <a:pt x="636" y="468"/>
                  </a:lnTo>
                  <a:lnTo>
                    <a:pt x="642" y="456"/>
                  </a:lnTo>
                  <a:lnTo>
                    <a:pt x="642" y="450"/>
                  </a:lnTo>
                  <a:lnTo>
                    <a:pt x="648" y="450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60" y="444"/>
                  </a:lnTo>
                  <a:lnTo>
                    <a:pt x="666" y="450"/>
                  </a:lnTo>
                  <a:lnTo>
                    <a:pt x="672" y="444"/>
                  </a:lnTo>
                  <a:lnTo>
                    <a:pt x="678" y="444"/>
                  </a:lnTo>
                  <a:lnTo>
                    <a:pt x="684" y="438"/>
                  </a:lnTo>
                  <a:lnTo>
                    <a:pt x="690" y="438"/>
                  </a:lnTo>
                  <a:lnTo>
                    <a:pt x="696" y="438"/>
                  </a:lnTo>
                  <a:lnTo>
                    <a:pt x="702" y="444"/>
                  </a:lnTo>
                  <a:lnTo>
                    <a:pt x="702" y="450"/>
                  </a:lnTo>
                  <a:lnTo>
                    <a:pt x="708" y="450"/>
                  </a:lnTo>
                  <a:lnTo>
                    <a:pt x="708" y="456"/>
                  </a:lnTo>
                  <a:lnTo>
                    <a:pt x="708" y="462"/>
                  </a:lnTo>
                  <a:lnTo>
                    <a:pt x="708" y="468"/>
                  </a:lnTo>
                  <a:lnTo>
                    <a:pt x="708" y="504"/>
                  </a:lnTo>
                  <a:lnTo>
                    <a:pt x="696" y="564"/>
                  </a:lnTo>
                  <a:lnTo>
                    <a:pt x="696" y="582"/>
                  </a:lnTo>
                  <a:lnTo>
                    <a:pt x="696" y="600"/>
                  </a:lnTo>
                  <a:lnTo>
                    <a:pt x="690" y="606"/>
                  </a:lnTo>
                  <a:lnTo>
                    <a:pt x="684" y="606"/>
                  </a:lnTo>
                  <a:lnTo>
                    <a:pt x="690" y="612"/>
                  </a:lnTo>
                  <a:lnTo>
                    <a:pt x="684" y="612"/>
                  </a:lnTo>
                  <a:lnTo>
                    <a:pt x="678" y="618"/>
                  </a:lnTo>
                  <a:lnTo>
                    <a:pt x="672" y="624"/>
                  </a:lnTo>
                  <a:lnTo>
                    <a:pt x="666" y="630"/>
                  </a:lnTo>
                  <a:lnTo>
                    <a:pt x="660" y="636"/>
                  </a:lnTo>
                  <a:lnTo>
                    <a:pt x="672" y="636"/>
                  </a:lnTo>
                  <a:lnTo>
                    <a:pt x="678" y="642"/>
                  </a:lnTo>
                  <a:lnTo>
                    <a:pt x="678" y="648"/>
                  </a:lnTo>
                  <a:lnTo>
                    <a:pt x="684" y="654"/>
                  </a:lnTo>
                  <a:lnTo>
                    <a:pt x="690" y="666"/>
                  </a:lnTo>
                  <a:lnTo>
                    <a:pt x="690" y="672"/>
                  </a:lnTo>
                  <a:lnTo>
                    <a:pt x="696" y="672"/>
                  </a:lnTo>
                  <a:lnTo>
                    <a:pt x="696" y="684"/>
                  </a:lnTo>
                  <a:lnTo>
                    <a:pt x="708" y="690"/>
                  </a:lnTo>
                  <a:lnTo>
                    <a:pt x="720" y="696"/>
                  </a:lnTo>
                  <a:lnTo>
                    <a:pt x="726" y="696"/>
                  </a:lnTo>
                  <a:lnTo>
                    <a:pt x="732" y="696"/>
                  </a:lnTo>
                  <a:lnTo>
                    <a:pt x="738" y="696"/>
                  </a:lnTo>
                  <a:lnTo>
                    <a:pt x="738" y="702"/>
                  </a:lnTo>
                  <a:lnTo>
                    <a:pt x="738" y="708"/>
                  </a:lnTo>
                  <a:lnTo>
                    <a:pt x="738" y="714"/>
                  </a:lnTo>
                  <a:lnTo>
                    <a:pt x="744" y="714"/>
                  </a:lnTo>
                  <a:lnTo>
                    <a:pt x="756" y="720"/>
                  </a:lnTo>
                  <a:lnTo>
                    <a:pt x="780" y="726"/>
                  </a:lnTo>
                  <a:lnTo>
                    <a:pt x="792" y="732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22" y="774"/>
                  </a:lnTo>
                  <a:lnTo>
                    <a:pt x="834" y="786"/>
                  </a:lnTo>
                  <a:lnTo>
                    <a:pt x="834" y="792"/>
                  </a:lnTo>
                  <a:lnTo>
                    <a:pt x="834" y="798"/>
                  </a:lnTo>
                  <a:lnTo>
                    <a:pt x="828" y="798"/>
                  </a:lnTo>
                  <a:lnTo>
                    <a:pt x="828" y="804"/>
                  </a:lnTo>
                  <a:lnTo>
                    <a:pt x="834" y="816"/>
                  </a:lnTo>
                  <a:lnTo>
                    <a:pt x="834" y="834"/>
                  </a:lnTo>
                  <a:lnTo>
                    <a:pt x="834" y="840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34" y="858"/>
                  </a:lnTo>
                  <a:lnTo>
                    <a:pt x="834" y="864"/>
                  </a:lnTo>
                  <a:lnTo>
                    <a:pt x="834" y="876"/>
                  </a:lnTo>
                  <a:lnTo>
                    <a:pt x="828" y="960"/>
                  </a:lnTo>
                  <a:lnTo>
                    <a:pt x="816" y="966"/>
                  </a:lnTo>
                  <a:lnTo>
                    <a:pt x="798" y="972"/>
                  </a:lnTo>
                  <a:lnTo>
                    <a:pt x="786" y="990"/>
                  </a:lnTo>
                  <a:lnTo>
                    <a:pt x="774" y="990"/>
                  </a:lnTo>
                  <a:lnTo>
                    <a:pt x="762" y="1008"/>
                  </a:lnTo>
                  <a:lnTo>
                    <a:pt x="732" y="1014"/>
                  </a:lnTo>
                  <a:lnTo>
                    <a:pt x="714" y="1026"/>
                  </a:lnTo>
                  <a:lnTo>
                    <a:pt x="690" y="1050"/>
                  </a:lnTo>
                  <a:lnTo>
                    <a:pt x="654" y="1056"/>
                  </a:lnTo>
                  <a:lnTo>
                    <a:pt x="630" y="1056"/>
                  </a:lnTo>
                  <a:lnTo>
                    <a:pt x="606" y="1068"/>
                  </a:lnTo>
                  <a:lnTo>
                    <a:pt x="600" y="1092"/>
                  </a:lnTo>
                  <a:lnTo>
                    <a:pt x="600" y="1098"/>
                  </a:lnTo>
                  <a:lnTo>
                    <a:pt x="588" y="1104"/>
                  </a:lnTo>
                  <a:lnTo>
                    <a:pt x="582" y="1104"/>
                  </a:lnTo>
                  <a:lnTo>
                    <a:pt x="570" y="1110"/>
                  </a:lnTo>
                  <a:lnTo>
                    <a:pt x="564" y="111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7" name="Freeform 12">
              <a:extLst>
                <a:ext uri="{FF2B5EF4-FFF2-40B4-BE49-F238E27FC236}">
                  <a16:creationId xmlns:a16="http://schemas.microsoft.com/office/drawing/2014/main" id="{6C93C114-E5D0-49BB-A44C-A127CE01CFE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810" y="2271838"/>
              <a:ext cx="923547" cy="845397"/>
            </a:xfrm>
            <a:custGeom>
              <a:avLst/>
              <a:gdLst>
                <a:gd name="T0" fmla="*/ 138 w 1740"/>
                <a:gd name="T1" fmla="*/ 134 h 1590"/>
                <a:gd name="T2" fmla="*/ 128 w 1740"/>
                <a:gd name="T3" fmla="*/ 131 h 1590"/>
                <a:gd name="T4" fmla="*/ 121 w 1740"/>
                <a:gd name="T5" fmla="*/ 130 h 1590"/>
                <a:gd name="T6" fmla="*/ 119 w 1740"/>
                <a:gd name="T7" fmla="*/ 134 h 1590"/>
                <a:gd name="T8" fmla="*/ 110 w 1740"/>
                <a:gd name="T9" fmla="*/ 132 h 1590"/>
                <a:gd name="T10" fmla="*/ 111 w 1740"/>
                <a:gd name="T11" fmla="*/ 127 h 1590"/>
                <a:gd name="T12" fmla="*/ 103 w 1740"/>
                <a:gd name="T13" fmla="*/ 117 h 1590"/>
                <a:gd name="T14" fmla="*/ 93 w 1740"/>
                <a:gd name="T15" fmla="*/ 123 h 1590"/>
                <a:gd name="T16" fmla="*/ 80 w 1740"/>
                <a:gd name="T17" fmla="*/ 118 h 1590"/>
                <a:gd name="T18" fmla="*/ 66 w 1740"/>
                <a:gd name="T19" fmla="*/ 117 h 1590"/>
                <a:gd name="T20" fmla="*/ 66 w 1740"/>
                <a:gd name="T21" fmla="*/ 110 h 1590"/>
                <a:gd name="T22" fmla="*/ 69 w 1740"/>
                <a:gd name="T23" fmla="*/ 107 h 1590"/>
                <a:gd name="T24" fmla="*/ 68 w 1740"/>
                <a:gd name="T25" fmla="*/ 102 h 1590"/>
                <a:gd name="T26" fmla="*/ 68 w 1740"/>
                <a:gd name="T27" fmla="*/ 96 h 1590"/>
                <a:gd name="T28" fmla="*/ 67 w 1740"/>
                <a:gd name="T29" fmla="*/ 82 h 1590"/>
                <a:gd name="T30" fmla="*/ 58 w 1740"/>
                <a:gd name="T31" fmla="*/ 82 h 1590"/>
                <a:gd name="T32" fmla="*/ 52 w 1740"/>
                <a:gd name="T33" fmla="*/ 82 h 1590"/>
                <a:gd name="T34" fmla="*/ 46 w 1740"/>
                <a:gd name="T35" fmla="*/ 80 h 1590"/>
                <a:gd name="T36" fmla="*/ 45 w 1740"/>
                <a:gd name="T37" fmla="*/ 74 h 1590"/>
                <a:gd name="T38" fmla="*/ 52 w 1740"/>
                <a:gd name="T39" fmla="*/ 70 h 1590"/>
                <a:gd name="T40" fmla="*/ 52 w 1740"/>
                <a:gd name="T41" fmla="*/ 64 h 1590"/>
                <a:gd name="T42" fmla="*/ 42 w 1740"/>
                <a:gd name="T43" fmla="*/ 53 h 1590"/>
                <a:gd name="T44" fmla="*/ 35 w 1740"/>
                <a:gd name="T45" fmla="*/ 52 h 1590"/>
                <a:gd name="T46" fmla="*/ 20 w 1740"/>
                <a:gd name="T47" fmla="*/ 51 h 1590"/>
                <a:gd name="T48" fmla="*/ 17 w 1740"/>
                <a:gd name="T49" fmla="*/ 56 h 1590"/>
                <a:gd name="T50" fmla="*/ 11 w 1740"/>
                <a:gd name="T51" fmla="*/ 61 h 1590"/>
                <a:gd name="T52" fmla="*/ 7 w 1740"/>
                <a:gd name="T53" fmla="*/ 63 h 1590"/>
                <a:gd name="T54" fmla="*/ 0 w 1740"/>
                <a:gd name="T55" fmla="*/ 55 h 1590"/>
                <a:gd name="T56" fmla="*/ 2 w 1740"/>
                <a:gd name="T57" fmla="*/ 50 h 1590"/>
                <a:gd name="T58" fmla="*/ 0 w 1740"/>
                <a:gd name="T59" fmla="*/ 44 h 1590"/>
                <a:gd name="T60" fmla="*/ 2 w 1740"/>
                <a:gd name="T61" fmla="*/ 38 h 1590"/>
                <a:gd name="T62" fmla="*/ 7 w 1740"/>
                <a:gd name="T63" fmla="*/ 35 h 1590"/>
                <a:gd name="T64" fmla="*/ 11 w 1740"/>
                <a:gd name="T65" fmla="*/ 30 h 1590"/>
                <a:gd name="T66" fmla="*/ 21 w 1740"/>
                <a:gd name="T67" fmla="*/ 26 h 1590"/>
                <a:gd name="T68" fmla="*/ 29 w 1740"/>
                <a:gd name="T69" fmla="*/ 25 h 1590"/>
                <a:gd name="T70" fmla="*/ 35 w 1740"/>
                <a:gd name="T71" fmla="*/ 21 h 1590"/>
                <a:gd name="T72" fmla="*/ 36 w 1740"/>
                <a:gd name="T73" fmla="*/ 16 h 1590"/>
                <a:gd name="T74" fmla="*/ 41 w 1740"/>
                <a:gd name="T75" fmla="*/ 11 h 1590"/>
                <a:gd name="T76" fmla="*/ 51 w 1740"/>
                <a:gd name="T77" fmla="*/ 9 h 1590"/>
                <a:gd name="T78" fmla="*/ 59 w 1740"/>
                <a:gd name="T79" fmla="*/ 21 h 1590"/>
                <a:gd name="T80" fmla="*/ 65 w 1740"/>
                <a:gd name="T81" fmla="*/ 13 h 1590"/>
                <a:gd name="T82" fmla="*/ 73 w 1740"/>
                <a:gd name="T83" fmla="*/ 8 h 1590"/>
                <a:gd name="T84" fmla="*/ 82 w 1740"/>
                <a:gd name="T85" fmla="*/ 12 h 1590"/>
                <a:gd name="T86" fmla="*/ 88 w 1740"/>
                <a:gd name="T87" fmla="*/ 12 h 1590"/>
                <a:gd name="T88" fmla="*/ 99 w 1740"/>
                <a:gd name="T89" fmla="*/ 7 h 1590"/>
                <a:gd name="T90" fmla="*/ 114 w 1740"/>
                <a:gd name="T91" fmla="*/ 0 h 1590"/>
                <a:gd name="T92" fmla="*/ 117 w 1740"/>
                <a:gd name="T93" fmla="*/ 10 h 1590"/>
                <a:gd name="T94" fmla="*/ 132 w 1740"/>
                <a:gd name="T95" fmla="*/ 17 h 1590"/>
                <a:gd name="T96" fmla="*/ 140 w 1740"/>
                <a:gd name="T97" fmla="*/ 25 h 1590"/>
                <a:gd name="T98" fmla="*/ 140 w 1740"/>
                <a:gd name="T99" fmla="*/ 33 h 1590"/>
                <a:gd name="T100" fmla="*/ 140 w 1740"/>
                <a:gd name="T101" fmla="*/ 44 h 1590"/>
                <a:gd name="T102" fmla="*/ 138 w 1740"/>
                <a:gd name="T103" fmla="*/ 48 h 1590"/>
                <a:gd name="T104" fmla="*/ 141 w 1740"/>
                <a:gd name="T105" fmla="*/ 49 h 1590"/>
                <a:gd name="T106" fmla="*/ 146 w 1740"/>
                <a:gd name="T107" fmla="*/ 50 h 1590"/>
                <a:gd name="T108" fmla="*/ 149 w 1740"/>
                <a:gd name="T109" fmla="*/ 59 h 1590"/>
                <a:gd name="T110" fmla="*/ 148 w 1740"/>
                <a:gd name="T111" fmla="*/ 67 h 1590"/>
                <a:gd name="T112" fmla="*/ 141 w 1740"/>
                <a:gd name="T113" fmla="*/ 78 h 1590"/>
                <a:gd name="T114" fmla="*/ 141 w 1740"/>
                <a:gd name="T115" fmla="*/ 91 h 1590"/>
                <a:gd name="T116" fmla="*/ 138 w 1740"/>
                <a:gd name="T117" fmla="*/ 102 h 1590"/>
                <a:gd name="T118" fmla="*/ 138 w 1740"/>
                <a:gd name="T119" fmla="*/ 110 h 1590"/>
                <a:gd name="T120" fmla="*/ 144 w 1740"/>
                <a:gd name="T121" fmla="*/ 118 h 1590"/>
                <a:gd name="T122" fmla="*/ 143 w 1740"/>
                <a:gd name="T123" fmla="*/ 125 h 159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740"/>
                <a:gd name="T187" fmla="*/ 0 h 1590"/>
                <a:gd name="T188" fmla="*/ 1740 w 1740"/>
                <a:gd name="T189" fmla="*/ 1590 h 159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740" h="1590">
                  <a:moveTo>
                    <a:pt x="1638" y="1458"/>
                  </a:moveTo>
                  <a:lnTo>
                    <a:pt x="1638" y="1482"/>
                  </a:lnTo>
                  <a:lnTo>
                    <a:pt x="1638" y="1500"/>
                  </a:lnTo>
                  <a:lnTo>
                    <a:pt x="1626" y="1500"/>
                  </a:lnTo>
                  <a:lnTo>
                    <a:pt x="1620" y="1500"/>
                  </a:lnTo>
                  <a:lnTo>
                    <a:pt x="1614" y="1500"/>
                  </a:lnTo>
                  <a:lnTo>
                    <a:pt x="1614" y="1506"/>
                  </a:lnTo>
                  <a:lnTo>
                    <a:pt x="1614" y="1512"/>
                  </a:lnTo>
                  <a:lnTo>
                    <a:pt x="1620" y="1518"/>
                  </a:lnTo>
                  <a:lnTo>
                    <a:pt x="1614" y="1524"/>
                  </a:lnTo>
                  <a:lnTo>
                    <a:pt x="1590" y="1536"/>
                  </a:lnTo>
                  <a:lnTo>
                    <a:pt x="1584" y="1566"/>
                  </a:lnTo>
                  <a:lnTo>
                    <a:pt x="1578" y="1590"/>
                  </a:lnTo>
                  <a:lnTo>
                    <a:pt x="1548" y="1590"/>
                  </a:lnTo>
                  <a:lnTo>
                    <a:pt x="1542" y="1584"/>
                  </a:lnTo>
                  <a:lnTo>
                    <a:pt x="1542" y="1572"/>
                  </a:lnTo>
                  <a:lnTo>
                    <a:pt x="1536" y="1566"/>
                  </a:lnTo>
                  <a:lnTo>
                    <a:pt x="1536" y="1554"/>
                  </a:lnTo>
                  <a:lnTo>
                    <a:pt x="1536" y="1548"/>
                  </a:lnTo>
                  <a:lnTo>
                    <a:pt x="1506" y="1530"/>
                  </a:lnTo>
                  <a:lnTo>
                    <a:pt x="1488" y="1506"/>
                  </a:lnTo>
                  <a:lnTo>
                    <a:pt x="1464" y="1500"/>
                  </a:lnTo>
                  <a:lnTo>
                    <a:pt x="1470" y="1494"/>
                  </a:lnTo>
                  <a:lnTo>
                    <a:pt x="1470" y="1488"/>
                  </a:lnTo>
                  <a:lnTo>
                    <a:pt x="1470" y="1482"/>
                  </a:lnTo>
                  <a:lnTo>
                    <a:pt x="1428" y="1464"/>
                  </a:lnTo>
                  <a:lnTo>
                    <a:pt x="1404" y="1470"/>
                  </a:lnTo>
                  <a:lnTo>
                    <a:pt x="1398" y="1470"/>
                  </a:lnTo>
                  <a:lnTo>
                    <a:pt x="1392" y="1476"/>
                  </a:lnTo>
                  <a:lnTo>
                    <a:pt x="1386" y="1476"/>
                  </a:lnTo>
                  <a:lnTo>
                    <a:pt x="1386" y="1482"/>
                  </a:lnTo>
                  <a:lnTo>
                    <a:pt x="1392" y="1482"/>
                  </a:lnTo>
                  <a:lnTo>
                    <a:pt x="1386" y="1488"/>
                  </a:lnTo>
                  <a:lnTo>
                    <a:pt x="1386" y="1494"/>
                  </a:lnTo>
                  <a:lnTo>
                    <a:pt x="1380" y="1494"/>
                  </a:lnTo>
                  <a:lnTo>
                    <a:pt x="1380" y="1500"/>
                  </a:lnTo>
                  <a:lnTo>
                    <a:pt x="1380" y="1512"/>
                  </a:lnTo>
                  <a:lnTo>
                    <a:pt x="1380" y="1518"/>
                  </a:lnTo>
                  <a:lnTo>
                    <a:pt x="1380" y="1524"/>
                  </a:lnTo>
                  <a:lnTo>
                    <a:pt x="1380" y="1530"/>
                  </a:lnTo>
                  <a:lnTo>
                    <a:pt x="1374" y="1536"/>
                  </a:lnTo>
                  <a:lnTo>
                    <a:pt x="1374" y="1542"/>
                  </a:lnTo>
                  <a:lnTo>
                    <a:pt x="1368" y="1542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44" y="1554"/>
                  </a:lnTo>
                  <a:lnTo>
                    <a:pt x="1332" y="1560"/>
                  </a:lnTo>
                  <a:lnTo>
                    <a:pt x="1302" y="1554"/>
                  </a:lnTo>
                  <a:lnTo>
                    <a:pt x="1290" y="1554"/>
                  </a:lnTo>
                  <a:lnTo>
                    <a:pt x="1278" y="1542"/>
                  </a:lnTo>
                  <a:lnTo>
                    <a:pt x="1272" y="1530"/>
                  </a:lnTo>
                  <a:lnTo>
                    <a:pt x="1272" y="1524"/>
                  </a:lnTo>
                  <a:lnTo>
                    <a:pt x="1272" y="1518"/>
                  </a:lnTo>
                  <a:lnTo>
                    <a:pt x="1266" y="1518"/>
                  </a:lnTo>
                  <a:lnTo>
                    <a:pt x="1266" y="1512"/>
                  </a:lnTo>
                  <a:lnTo>
                    <a:pt x="1266" y="1506"/>
                  </a:lnTo>
                  <a:lnTo>
                    <a:pt x="1272" y="1506"/>
                  </a:lnTo>
                  <a:lnTo>
                    <a:pt x="1272" y="1500"/>
                  </a:lnTo>
                  <a:lnTo>
                    <a:pt x="1278" y="1500"/>
                  </a:lnTo>
                  <a:lnTo>
                    <a:pt x="1278" y="1494"/>
                  </a:lnTo>
                  <a:lnTo>
                    <a:pt x="1278" y="1488"/>
                  </a:lnTo>
                  <a:lnTo>
                    <a:pt x="1284" y="1488"/>
                  </a:lnTo>
                  <a:lnTo>
                    <a:pt x="1284" y="1482"/>
                  </a:lnTo>
                  <a:lnTo>
                    <a:pt x="1290" y="1476"/>
                  </a:lnTo>
                  <a:lnTo>
                    <a:pt x="1284" y="1470"/>
                  </a:lnTo>
                  <a:lnTo>
                    <a:pt x="1278" y="1458"/>
                  </a:lnTo>
                  <a:lnTo>
                    <a:pt x="1278" y="1452"/>
                  </a:lnTo>
                  <a:lnTo>
                    <a:pt x="1260" y="1428"/>
                  </a:lnTo>
                  <a:lnTo>
                    <a:pt x="1254" y="1416"/>
                  </a:lnTo>
                  <a:lnTo>
                    <a:pt x="1254" y="1410"/>
                  </a:lnTo>
                  <a:lnTo>
                    <a:pt x="1248" y="1398"/>
                  </a:lnTo>
                  <a:lnTo>
                    <a:pt x="1242" y="1398"/>
                  </a:lnTo>
                  <a:lnTo>
                    <a:pt x="1236" y="1398"/>
                  </a:lnTo>
                  <a:lnTo>
                    <a:pt x="1218" y="1386"/>
                  </a:lnTo>
                  <a:lnTo>
                    <a:pt x="1212" y="1362"/>
                  </a:lnTo>
                  <a:lnTo>
                    <a:pt x="1200" y="1344"/>
                  </a:lnTo>
                  <a:lnTo>
                    <a:pt x="1188" y="1338"/>
                  </a:lnTo>
                  <a:lnTo>
                    <a:pt x="1164" y="1338"/>
                  </a:lnTo>
                  <a:lnTo>
                    <a:pt x="1158" y="1344"/>
                  </a:lnTo>
                  <a:lnTo>
                    <a:pt x="1152" y="1350"/>
                  </a:lnTo>
                  <a:lnTo>
                    <a:pt x="1152" y="1356"/>
                  </a:lnTo>
                  <a:lnTo>
                    <a:pt x="1140" y="1362"/>
                  </a:lnTo>
                  <a:lnTo>
                    <a:pt x="1134" y="1380"/>
                  </a:lnTo>
                  <a:lnTo>
                    <a:pt x="1116" y="1398"/>
                  </a:lnTo>
                  <a:lnTo>
                    <a:pt x="1110" y="1416"/>
                  </a:lnTo>
                  <a:lnTo>
                    <a:pt x="1086" y="1416"/>
                  </a:lnTo>
                  <a:lnTo>
                    <a:pt x="1080" y="1410"/>
                  </a:lnTo>
                  <a:lnTo>
                    <a:pt x="1074" y="1410"/>
                  </a:lnTo>
                  <a:lnTo>
                    <a:pt x="1074" y="1404"/>
                  </a:lnTo>
                  <a:lnTo>
                    <a:pt x="1062" y="1404"/>
                  </a:lnTo>
                  <a:lnTo>
                    <a:pt x="1062" y="1380"/>
                  </a:lnTo>
                  <a:lnTo>
                    <a:pt x="1038" y="1380"/>
                  </a:lnTo>
                  <a:lnTo>
                    <a:pt x="1026" y="1350"/>
                  </a:lnTo>
                  <a:lnTo>
                    <a:pt x="996" y="1326"/>
                  </a:lnTo>
                  <a:lnTo>
                    <a:pt x="966" y="1314"/>
                  </a:lnTo>
                  <a:lnTo>
                    <a:pt x="954" y="1320"/>
                  </a:lnTo>
                  <a:lnTo>
                    <a:pt x="942" y="1338"/>
                  </a:lnTo>
                  <a:lnTo>
                    <a:pt x="930" y="1338"/>
                  </a:lnTo>
                  <a:lnTo>
                    <a:pt x="924" y="1350"/>
                  </a:lnTo>
                  <a:lnTo>
                    <a:pt x="906" y="1356"/>
                  </a:lnTo>
                  <a:lnTo>
                    <a:pt x="846" y="1356"/>
                  </a:lnTo>
                  <a:lnTo>
                    <a:pt x="834" y="1368"/>
                  </a:lnTo>
                  <a:lnTo>
                    <a:pt x="810" y="1362"/>
                  </a:lnTo>
                  <a:lnTo>
                    <a:pt x="792" y="1362"/>
                  </a:lnTo>
                  <a:lnTo>
                    <a:pt x="780" y="1368"/>
                  </a:lnTo>
                  <a:lnTo>
                    <a:pt x="762" y="1368"/>
                  </a:lnTo>
                  <a:lnTo>
                    <a:pt x="762" y="1362"/>
                  </a:lnTo>
                  <a:lnTo>
                    <a:pt x="750" y="1362"/>
                  </a:lnTo>
                  <a:lnTo>
                    <a:pt x="750" y="1338"/>
                  </a:lnTo>
                  <a:lnTo>
                    <a:pt x="762" y="1338"/>
                  </a:lnTo>
                  <a:lnTo>
                    <a:pt x="762" y="1326"/>
                  </a:lnTo>
                  <a:lnTo>
                    <a:pt x="762" y="1314"/>
                  </a:lnTo>
                  <a:lnTo>
                    <a:pt x="732" y="1314"/>
                  </a:lnTo>
                  <a:lnTo>
                    <a:pt x="726" y="1308"/>
                  </a:lnTo>
                  <a:lnTo>
                    <a:pt x="732" y="1284"/>
                  </a:lnTo>
                  <a:lnTo>
                    <a:pt x="732" y="1278"/>
                  </a:lnTo>
                  <a:lnTo>
                    <a:pt x="738" y="1272"/>
                  </a:lnTo>
                  <a:lnTo>
                    <a:pt x="738" y="1266"/>
                  </a:lnTo>
                  <a:lnTo>
                    <a:pt x="744" y="1266"/>
                  </a:lnTo>
                  <a:lnTo>
                    <a:pt x="750" y="1272"/>
                  </a:lnTo>
                  <a:lnTo>
                    <a:pt x="756" y="1266"/>
                  </a:lnTo>
                  <a:lnTo>
                    <a:pt x="762" y="1266"/>
                  </a:lnTo>
                  <a:lnTo>
                    <a:pt x="768" y="1260"/>
                  </a:lnTo>
                  <a:lnTo>
                    <a:pt x="774" y="1260"/>
                  </a:lnTo>
                  <a:lnTo>
                    <a:pt x="780" y="1254"/>
                  </a:lnTo>
                  <a:lnTo>
                    <a:pt x="774" y="1254"/>
                  </a:lnTo>
                  <a:lnTo>
                    <a:pt x="768" y="1254"/>
                  </a:lnTo>
                  <a:lnTo>
                    <a:pt x="774" y="1248"/>
                  </a:lnTo>
                  <a:lnTo>
                    <a:pt x="774" y="1242"/>
                  </a:lnTo>
                  <a:lnTo>
                    <a:pt x="780" y="1236"/>
                  </a:lnTo>
                  <a:lnTo>
                    <a:pt x="786" y="1236"/>
                  </a:lnTo>
                  <a:lnTo>
                    <a:pt x="792" y="1230"/>
                  </a:lnTo>
                  <a:lnTo>
                    <a:pt x="792" y="1236"/>
                  </a:lnTo>
                  <a:lnTo>
                    <a:pt x="798" y="1236"/>
                  </a:lnTo>
                  <a:lnTo>
                    <a:pt x="798" y="1230"/>
                  </a:lnTo>
                  <a:lnTo>
                    <a:pt x="804" y="1230"/>
                  </a:lnTo>
                  <a:lnTo>
                    <a:pt x="804" y="1218"/>
                  </a:lnTo>
                  <a:lnTo>
                    <a:pt x="804" y="1206"/>
                  </a:lnTo>
                  <a:lnTo>
                    <a:pt x="792" y="1188"/>
                  </a:lnTo>
                  <a:lnTo>
                    <a:pt x="768" y="1182"/>
                  </a:lnTo>
                  <a:lnTo>
                    <a:pt x="768" y="1170"/>
                  </a:lnTo>
                  <a:lnTo>
                    <a:pt x="774" y="1170"/>
                  </a:lnTo>
                  <a:lnTo>
                    <a:pt x="780" y="1170"/>
                  </a:lnTo>
                  <a:lnTo>
                    <a:pt x="786" y="1170"/>
                  </a:lnTo>
                  <a:lnTo>
                    <a:pt x="780" y="1152"/>
                  </a:lnTo>
                  <a:lnTo>
                    <a:pt x="780" y="1146"/>
                  </a:lnTo>
                  <a:lnTo>
                    <a:pt x="744" y="1140"/>
                  </a:lnTo>
                  <a:lnTo>
                    <a:pt x="732" y="1128"/>
                  </a:lnTo>
                  <a:lnTo>
                    <a:pt x="720" y="1122"/>
                  </a:lnTo>
                  <a:lnTo>
                    <a:pt x="732" y="1116"/>
                  </a:lnTo>
                  <a:lnTo>
                    <a:pt x="750" y="1104"/>
                  </a:lnTo>
                  <a:lnTo>
                    <a:pt x="756" y="1116"/>
                  </a:lnTo>
                  <a:lnTo>
                    <a:pt x="774" y="1116"/>
                  </a:lnTo>
                  <a:lnTo>
                    <a:pt x="780" y="1104"/>
                  </a:lnTo>
                  <a:lnTo>
                    <a:pt x="780" y="1080"/>
                  </a:lnTo>
                  <a:lnTo>
                    <a:pt x="786" y="1080"/>
                  </a:lnTo>
                  <a:lnTo>
                    <a:pt x="786" y="1074"/>
                  </a:lnTo>
                  <a:lnTo>
                    <a:pt x="792" y="1074"/>
                  </a:lnTo>
                  <a:lnTo>
                    <a:pt x="786" y="1068"/>
                  </a:lnTo>
                  <a:lnTo>
                    <a:pt x="786" y="1062"/>
                  </a:lnTo>
                  <a:lnTo>
                    <a:pt x="786" y="1056"/>
                  </a:lnTo>
                  <a:lnTo>
                    <a:pt x="792" y="1050"/>
                  </a:lnTo>
                  <a:lnTo>
                    <a:pt x="786" y="1020"/>
                  </a:lnTo>
                  <a:lnTo>
                    <a:pt x="780" y="960"/>
                  </a:lnTo>
                  <a:lnTo>
                    <a:pt x="768" y="942"/>
                  </a:lnTo>
                  <a:lnTo>
                    <a:pt x="732" y="936"/>
                  </a:lnTo>
                  <a:lnTo>
                    <a:pt x="732" y="942"/>
                  </a:lnTo>
                  <a:lnTo>
                    <a:pt x="726" y="942"/>
                  </a:lnTo>
                  <a:lnTo>
                    <a:pt x="720" y="936"/>
                  </a:lnTo>
                  <a:lnTo>
                    <a:pt x="714" y="942"/>
                  </a:lnTo>
                  <a:lnTo>
                    <a:pt x="708" y="942"/>
                  </a:lnTo>
                  <a:lnTo>
                    <a:pt x="702" y="942"/>
                  </a:lnTo>
                  <a:lnTo>
                    <a:pt x="690" y="936"/>
                  </a:lnTo>
                  <a:lnTo>
                    <a:pt x="684" y="936"/>
                  </a:lnTo>
                  <a:lnTo>
                    <a:pt x="678" y="936"/>
                  </a:lnTo>
                  <a:lnTo>
                    <a:pt x="672" y="936"/>
                  </a:lnTo>
                  <a:lnTo>
                    <a:pt x="666" y="942"/>
                  </a:lnTo>
                  <a:lnTo>
                    <a:pt x="660" y="942"/>
                  </a:lnTo>
                  <a:lnTo>
                    <a:pt x="654" y="942"/>
                  </a:lnTo>
                  <a:lnTo>
                    <a:pt x="648" y="942"/>
                  </a:lnTo>
                  <a:lnTo>
                    <a:pt x="642" y="936"/>
                  </a:lnTo>
                  <a:lnTo>
                    <a:pt x="636" y="936"/>
                  </a:lnTo>
                  <a:lnTo>
                    <a:pt x="630" y="930"/>
                  </a:lnTo>
                  <a:lnTo>
                    <a:pt x="618" y="930"/>
                  </a:lnTo>
                  <a:lnTo>
                    <a:pt x="612" y="930"/>
                  </a:lnTo>
                  <a:lnTo>
                    <a:pt x="606" y="936"/>
                  </a:lnTo>
                  <a:lnTo>
                    <a:pt x="600" y="942"/>
                  </a:lnTo>
                  <a:lnTo>
                    <a:pt x="600" y="936"/>
                  </a:lnTo>
                  <a:lnTo>
                    <a:pt x="594" y="930"/>
                  </a:lnTo>
                  <a:lnTo>
                    <a:pt x="588" y="930"/>
                  </a:lnTo>
                  <a:lnTo>
                    <a:pt x="582" y="930"/>
                  </a:lnTo>
                  <a:lnTo>
                    <a:pt x="576" y="930"/>
                  </a:lnTo>
                  <a:lnTo>
                    <a:pt x="564" y="936"/>
                  </a:lnTo>
                  <a:lnTo>
                    <a:pt x="558" y="936"/>
                  </a:lnTo>
                  <a:lnTo>
                    <a:pt x="546" y="924"/>
                  </a:lnTo>
                  <a:lnTo>
                    <a:pt x="540" y="924"/>
                  </a:lnTo>
                  <a:lnTo>
                    <a:pt x="534" y="918"/>
                  </a:lnTo>
                  <a:lnTo>
                    <a:pt x="528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6" y="918"/>
                  </a:lnTo>
                  <a:lnTo>
                    <a:pt x="516" y="912"/>
                  </a:lnTo>
                  <a:lnTo>
                    <a:pt x="510" y="894"/>
                  </a:lnTo>
                  <a:lnTo>
                    <a:pt x="510" y="882"/>
                  </a:lnTo>
                  <a:lnTo>
                    <a:pt x="510" y="876"/>
                  </a:lnTo>
                  <a:lnTo>
                    <a:pt x="516" y="870"/>
                  </a:lnTo>
                  <a:lnTo>
                    <a:pt x="510" y="864"/>
                  </a:lnTo>
                  <a:lnTo>
                    <a:pt x="516" y="858"/>
                  </a:lnTo>
                  <a:lnTo>
                    <a:pt x="522" y="858"/>
                  </a:lnTo>
                  <a:lnTo>
                    <a:pt x="528" y="858"/>
                  </a:lnTo>
                  <a:lnTo>
                    <a:pt x="522" y="852"/>
                  </a:lnTo>
                  <a:lnTo>
                    <a:pt x="528" y="852"/>
                  </a:lnTo>
                  <a:lnTo>
                    <a:pt x="528" y="846"/>
                  </a:lnTo>
                  <a:lnTo>
                    <a:pt x="552" y="846"/>
                  </a:lnTo>
                  <a:lnTo>
                    <a:pt x="558" y="840"/>
                  </a:lnTo>
                  <a:lnTo>
                    <a:pt x="564" y="828"/>
                  </a:lnTo>
                  <a:lnTo>
                    <a:pt x="570" y="816"/>
                  </a:lnTo>
                  <a:lnTo>
                    <a:pt x="582" y="810"/>
                  </a:lnTo>
                  <a:lnTo>
                    <a:pt x="588" y="804"/>
                  </a:lnTo>
                  <a:lnTo>
                    <a:pt x="594" y="804"/>
                  </a:lnTo>
                  <a:lnTo>
                    <a:pt x="594" y="792"/>
                  </a:lnTo>
                  <a:lnTo>
                    <a:pt x="600" y="786"/>
                  </a:lnTo>
                  <a:lnTo>
                    <a:pt x="606" y="780"/>
                  </a:lnTo>
                  <a:lnTo>
                    <a:pt x="612" y="774"/>
                  </a:lnTo>
                  <a:lnTo>
                    <a:pt x="618" y="774"/>
                  </a:lnTo>
                  <a:lnTo>
                    <a:pt x="618" y="768"/>
                  </a:lnTo>
                  <a:lnTo>
                    <a:pt x="618" y="762"/>
                  </a:lnTo>
                  <a:lnTo>
                    <a:pt x="624" y="756"/>
                  </a:lnTo>
                  <a:lnTo>
                    <a:pt x="618" y="750"/>
                  </a:lnTo>
                  <a:lnTo>
                    <a:pt x="618" y="744"/>
                  </a:lnTo>
                  <a:lnTo>
                    <a:pt x="600" y="738"/>
                  </a:lnTo>
                  <a:lnTo>
                    <a:pt x="558" y="744"/>
                  </a:lnTo>
                  <a:lnTo>
                    <a:pt x="552" y="732"/>
                  </a:lnTo>
                  <a:lnTo>
                    <a:pt x="546" y="720"/>
                  </a:lnTo>
                  <a:lnTo>
                    <a:pt x="564" y="702"/>
                  </a:lnTo>
                  <a:lnTo>
                    <a:pt x="570" y="684"/>
                  </a:lnTo>
                  <a:lnTo>
                    <a:pt x="564" y="648"/>
                  </a:lnTo>
                  <a:lnTo>
                    <a:pt x="534" y="624"/>
                  </a:lnTo>
                  <a:lnTo>
                    <a:pt x="504" y="612"/>
                  </a:lnTo>
                  <a:lnTo>
                    <a:pt x="498" y="606"/>
                  </a:lnTo>
                  <a:lnTo>
                    <a:pt x="492" y="600"/>
                  </a:lnTo>
                  <a:lnTo>
                    <a:pt x="486" y="606"/>
                  </a:lnTo>
                  <a:lnTo>
                    <a:pt x="480" y="558"/>
                  </a:lnTo>
                  <a:lnTo>
                    <a:pt x="462" y="546"/>
                  </a:lnTo>
                  <a:lnTo>
                    <a:pt x="408" y="540"/>
                  </a:lnTo>
                  <a:lnTo>
                    <a:pt x="408" y="546"/>
                  </a:lnTo>
                  <a:lnTo>
                    <a:pt x="408" y="558"/>
                  </a:lnTo>
                  <a:lnTo>
                    <a:pt x="408" y="564"/>
                  </a:lnTo>
                  <a:lnTo>
                    <a:pt x="408" y="570"/>
                  </a:lnTo>
                  <a:lnTo>
                    <a:pt x="414" y="582"/>
                  </a:lnTo>
                  <a:lnTo>
                    <a:pt x="408" y="594"/>
                  </a:lnTo>
                  <a:lnTo>
                    <a:pt x="414" y="594"/>
                  </a:lnTo>
                  <a:lnTo>
                    <a:pt x="408" y="600"/>
                  </a:lnTo>
                  <a:lnTo>
                    <a:pt x="348" y="600"/>
                  </a:lnTo>
                  <a:lnTo>
                    <a:pt x="324" y="600"/>
                  </a:lnTo>
                  <a:lnTo>
                    <a:pt x="324" y="612"/>
                  </a:lnTo>
                  <a:lnTo>
                    <a:pt x="306" y="618"/>
                  </a:lnTo>
                  <a:lnTo>
                    <a:pt x="312" y="618"/>
                  </a:lnTo>
                  <a:lnTo>
                    <a:pt x="294" y="588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76"/>
                  </a:lnTo>
                  <a:lnTo>
                    <a:pt x="240" y="582"/>
                  </a:lnTo>
                  <a:lnTo>
                    <a:pt x="234" y="582"/>
                  </a:lnTo>
                  <a:lnTo>
                    <a:pt x="228" y="588"/>
                  </a:lnTo>
                  <a:lnTo>
                    <a:pt x="222" y="588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8" y="600"/>
                  </a:lnTo>
                  <a:lnTo>
                    <a:pt x="192" y="612"/>
                  </a:lnTo>
                  <a:lnTo>
                    <a:pt x="192" y="618"/>
                  </a:lnTo>
                  <a:lnTo>
                    <a:pt x="198" y="624"/>
                  </a:lnTo>
                  <a:lnTo>
                    <a:pt x="192" y="624"/>
                  </a:lnTo>
                  <a:lnTo>
                    <a:pt x="192" y="630"/>
                  </a:lnTo>
                  <a:lnTo>
                    <a:pt x="192" y="642"/>
                  </a:lnTo>
                  <a:lnTo>
                    <a:pt x="180" y="648"/>
                  </a:lnTo>
                  <a:lnTo>
                    <a:pt x="174" y="654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6"/>
                  </a:lnTo>
                  <a:lnTo>
                    <a:pt x="156" y="672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90"/>
                  </a:lnTo>
                  <a:lnTo>
                    <a:pt x="132" y="690"/>
                  </a:lnTo>
                  <a:lnTo>
                    <a:pt x="126" y="702"/>
                  </a:lnTo>
                  <a:lnTo>
                    <a:pt x="132" y="708"/>
                  </a:lnTo>
                  <a:lnTo>
                    <a:pt x="126" y="708"/>
                  </a:lnTo>
                  <a:lnTo>
                    <a:pt x="120" y="708"/>
                  </a:lnTo>
                  <a:lnTo>
                    <a:pt x="114" y="708"/>
                  </a:lnTo>
                  <a:lnTo>
                    <a:pt x="108" y="708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78" y="720"/>
                  </a:lnTo>
                  <a:lnTo>
                    <a:pt x="72" y="720"/>
                  </a:lnTo>
                  <a:lnTo>
                    <a:pt x="66" y="720"/>
                  </a:lnTo>
                  <a:lnTo>
                    <a:pt x="54" y="732"/>
                  </a:lnTo>
                  <a:lnTo>
                    <a:pt x="48" y="702"/>
                  </a:lnTo>
                  <a:lnTo>
                    <a:pt x="36" y="666"/>
                  </a:lnTo>
                  <a:lnTo>
                    <a:pt x="0" y="660"/>
                  </a:lnTo>
                  <a:lnTo>
                    <a:pt x="6" y="660"/>
                  </a:lnTo>
                  <a:lnTo>
                    <a:pt x="6" y="654"/>
                  </a:lnTo>
                  <a:lnTo>
                    <a:pt x="6" y="648"/>
                  </a:lnTo>
                  <a:lnTo>
                    <a:pt x="6" y="642"/>
                  </a:lnTo>
                  <a:lnTo>
                    <a:pt x="6" y="624"/>
                  </a:lnTo>
                  <a:lnTo>
                    <a:pt x="6" y="612"/>
                  </a:lnTo>
                  <a:lnTo>
                    <a:pt x="6" y="606"/>
                  </a:lnTo>
                  <a:lnTo>
                    <a:pt x="12" y="612"/>
                  </a:lnTo>
                  <a:lnTo>
                    <a:pt x="18" y="606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30" y="594"/>
                  </a:lnTo>
                  <a:lnTo>
                    <a:pt x="30" y="588"/>
                  </a:lnTo>
                  <a:lnTo>
                    <a:pt x="30" y="582"/>
                  </a:lnTo>
                  <a:lnTo>
                    <a:pt x="24" y="576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18" y="558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36" y="528"/>
                  </a:lnTo>
                  <a:lnTo>
                    <a:pt x="30" y="522"/>
                  </a:lnTo>
                  <a:lnTo>
                    <a:pt x="24" y="522"/>
                  </a:lnTo>
                  <a:lnTo>
                    <a:pt x="18" y="510"/>
                  </a:lnTo>
                  <a:lnTo>
                    <a:pt x="12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8" y="474"/>
                  </a:lnTo>
                  <a:lnTo>
                    <a:pt x="12" y="468"/>
                  </a:lnTo>
                  <a:lnTo>
                    <a:pt x="12" y="462"/>
                  </a:lnTo>
                  <a:lnTo>
                    <a:pt x="18" y="456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0" y="420"/>
                  </a:lnTo>
                  <a:lnTo>
                    <a:pt x="30" y="414"/>
                  </a:lnTo>
                  <a:lnTo>
                    <a:pt x="48" y="414"/>
                  </a:lnTo>
                  <a:lnTo>
                    <a:pt x="54" y="408"/>
                  </a:lnTo>
                  <a:lnTo>
                    <a:pt x="60" y="402"/>
                  </a:lnTo>
                  <a:lnTo>
                    <a:pt x="66" y="402"/>
                  </a:lnTo>
                  <a:lnTo>
                    <a:pt x="72" y="402"/>
                  </a:lnTo>
                  <a:lnTo>
                    <a:pt x="78" y="408"/>
                  </a:lnTo>
                  <a:lnTo>
                    <a:pt x="84" y="396"/>
                  </a:lnTo>
                  <a:lnTo>
                    <a:pt x="90" y="390"/>
                  </a:lnTo>
                  <a:lnTo>
                    <a:pt x="90" y="378"/>
                  </a:lnTo>
                  <a:lnTo>
                    <a:pt x="96" y="372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8" y="354"/>
                  </a:lnTo>
                  <a:lnTo>
                    <a:pt x="114" y="348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32" y="336"/>
                  </a:lnTo>
                  <a:lnTo>
                    <a:pt x="132" y="330"/>
                  </a:lnTo>
                  <a:lnTo>
                    <a:pt x="138" y="324"/>
                  </a:lnTo>
                  <a:lnTo>
                    <a:pt x="138" y="318"/>
                  </a:lnTo>
                  <a:lnTo>
                    <a:pt x="144" y="306"/>
                  </a:lnTo>
                  <a:lnTo>
                    <a:pt x="156" y="306"/>
                  </a:lnTo>
                  <a:lnTo>
                    <a:pt x="186" y="300"/>
                  </a:lnTo>
                  <a:lnTo>
                    <a:pt x="198" y="300"/>
                  </a:lnTo>
                  <a:lnTo>
                    <a:pt x="210" y="300"/>
                  </a:lnTo>
                  <a:lnTo>
                    <a:pt x="222" y="300"/>
                  </a:lnTo>
                  <a:lnTo>
                    <a:pt x="246" y="300"/>
                  </a:lnTo>
                  <a:lnTo>
                    <a:pt x="264" y="312"/>
                  </a:lnTo>
                  <a:lnTo>
                    <a:pt x="270" y="312"/>
                  </a:lnTo>
                  <a:lnTo>
                    <a:pt x="282" y="306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300" y="306"/>
                  </a:lnTo>
                  <a:lnTo>
                    <a:pt x="312" y="306"/>
                  </a:lnTo>
                  <a:lnTo>
                    <a:pt x="318" y="300"/>
                  </a:lnTo>
                  <a:lnTo>
                    <a:pt x="324" y="300"/>
                  </a:lnTo>
                  <a:lnTo>
                    <a:pt x="330" y="294"/>
                  </a:lnTo>
                  <a:lnTo>
                    <a:pt x="336" y="288"/>
                  </a:lnTo>
                  <a:lnTo>
                    <a:pt x="354" y="288"/>
                  </a:lnTo>
                  <a:lnTo>
                    <a:pt x="360" y="288"/>
                  </a:lnTo>
                  <a:lnTo>
                    <a:pt x="366" y="282"/>
                  </a:lnTo>
                  <a:lnTo>
                    <a:pt x="372" y="282"/>
                  </a:lnTo>
                  <a:lnTo>
                    <a:pt x="378" y="282"/>
                  </a:lnTo>
                  <a:lnTo>
                    <a:pt x="384" y="276"/>
                  </a:lnTo>
                  <a:lnTo>
                    <a:pt x="384" y="270"/>
                  </a:lnTo>
                  <a:lnTo>
                    <a:pt x="390" y="264"/>
                  </a:lnTo>
                  <a:lnTo>
                    <a:pt x="402" y="258"/>
                  </a:lnTo>
                  <a:lnTo>
                    <a:pt x="402" y="252"/>
                  </a:lnTo>
                  <a:lnTo>
                    <a:pt x="402" y="246"/>
                  </a:lnTo>
                  <a:lnTo>
                    <a:pt x="408" y="234"/>
                  </a:lnTo>
                  <a:lnTo>
                    <a:pt x="414" y="234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14" y="216"/>
                  </a:lnTo>
                  <a:lnTo>
                    <a:pt x="414" y="210"/>
                  </a:lnTo>
                  <a:lnTo>
                    <a:pt x="420" y="210"/>
                  </a:lnTo>
                  <a:lnTo>
                    <a:pt x="414" y="198"/>
                  </a:lnTo>
                  <a:lnTo>
                    <a:pt x="414" y="192"/>
                  </a:lnTo>
                  <a:lnTo>
                    <a:pt x="420" y="192"/>
                  </a:lnTo>
                  <a:lnTo>
                    <a:pt x="420" y="186"/>
                  </a:lnTo>
                  <a:lnTo>
                    <a:pt x="420" y="174"/>
                  </a:lnTo>
                  <a:lnTo>
                    <a:pt x="420" y="168"/>
                  </a:lnTo>
                  <a:lnTo>
                    <a:pt x="426" y="162"/>
                  </a:lnTo>
                  <a:lnTo>
                    <a:pt x="432" y="156"/>
                  </a:lnTo>
                  <a:lnTo>
                    <a:pt x="438" y="144"/>
                  </a:lnTo>
                  <a:lnTo>
                    <a:pt x="444" y="144"/>
                  </a:lnTo>
                  <a:lnTo>
                    <a:pt x="450" y="138"/>
                  </a:lnTo>
                  <a:lnTo>
                    <a:pt x="456" y="138"/>
                  </a:lnTo>
                  <a:lnTo>
                    <a:pt x="462" y="132"/>
                  </a:lnTo>
                  <a:lnTo>
                    <a:pt x="462" y="126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0"/>
                  </a:lnTo>
                  <a:lnTo>
                    <a:pt x="486" y="108"/>
                  </a:lnTo>
                  <a:lnTo>
                    <a:pt x="492" y="108"/>
                  </a:lnTo>
                  <a:lnTo>
                    <a:pt x="498" y="102"/>
                  </a:lnTo>
                  <a:lnTo>
                    <a:pt x="504" y="96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40" y="102"/>
                  </a:lnTo>
                  <a:lnTo>
                    <a:pt x="552" y="108"/>
                  </a:lnTo>
                  <a:lnTo>
                    <a:pt x="582" y="102"/>
                  </a:lnTo>
                  <a:lnTo>
                    <a:pt x="594" y="126"/>
                  </a:lnTo>
                  <a:lnTo>
                    <a:pt x="594" y="144"/>
                  </a:lnTo>
                  <a:lnTo>
                    <a:pt x="588" y="156"/>
                  </a:lnTo>
                  <a:lnTo>
                    <a:pt x="588" y="168"/>
                  </a:lnTo>
                  <a:lnTo>
                    <a:pt x="582" y="180"/>
                  </a:lnTo>
                  <a:lnTo>
                    <a:pt x="570" y="192"/>
                  </a:lnTo>
                  <a:lnTo>
                    <a:pt x="594" y="192"/>
                  </a:lnTo>
                  <a:lnTo>
                    <a:pt x="618" y="198"/>
                  </a:lnTo>
                  <a:lnTo>
                    <a:pt x="642" y="210"/>
                  </a:lnTo>
                  <a:lnTo>
                    <a:pt x="660" y="234"/>
                  </a:lnTo>
                  <a:lnTo>
                    <a:pt x="678" y="246"/>
                  </a:lnTo>
                  <a:lnTo>
                    <a:pt x="684" y="252"/>
                  </a:lnTo>
                  <a:lnTo>
                    <a:pt x="702" y="252"/>
                  </a:lnTo>
                  <a:lnTo>
                    <a:pt x="732" y="234"/>
                  </a:lnTo>
                  <a:lnTo>
                    <a:pt x="732" y="222"/>
                  </a:lnTo>
                  <a:lnTo>
                    <a:pt x="720" y="216"/>
                  </a:lnTo>
                  <a:lnTo>
                    <a:pt x="714" y="198"/>
                  </a:lnTo>
                  <a:lnTo>
                    <a:pt x="714" y="174"/>
                  </a:lnTo>
                  <a:lnTo>
                    <a:pt x="720" y="162"/>
                  </a:lnTo>
                  <a:lnTo>
                    <a:pt x="726" y="162"/>
                  </a:lnTo>
                  <a:lnTo>
                    <a:pt x="732" y="156"/>
                  </a:lnTo>
                  <a:lnTo>
                    <a:pt x="744" y="150"/>
                  </a:lnTo>
                  <a:lnTo>
                    <a:pt x="774" y="162"/>
                  </a:lnTo>
                  <a:lnTo>
                    <a:pt x="786" y="162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16" y="150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2" y="132"/>
                  </a:lnTo>
                  <a:lnTo>
                    <a:pt x="822" y="114"/>
                  </a:lnTo>
                  <a:lnTo>
                    <a:pt x="828" y="108"/>
                  </a:lnTo>
                  <a:lnTo>
                    <a:pt x="834" y="96"/>
                  </a:lnTo>
                  <a:lnTo>
                    <a:pt x="846" y="96"/>
                  </a:lnTo>
                  <a:lnTo>
                    <a:pt x="858" y="90"/>
                  </a:lnTo>
                  <a:lnTo>
                    <a:pt x="870" y="84"/>
                  </a:lnTo>
                  <a:lnTo>
                    <a:pt x="888" y="84"/>
                  </a:lnTo>
                  <a:lnTo>
                    <a:pt x="894" y="90"/>
                  </a:lnTo>
                  <a:lnTo>
                    <a:pt x="894" y="102"/>
                  </a:lnTo>
                  <a:lnTo>
                    <a:pt x="900" y="102"/>
                  </a:lnTo>
                  <a:lnTo>
                    <a:pt x="906" y="114"/>
                  </a:lnTo>
                  <a:lnTo>
                    <a:pt x="930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54" y="138"/>
                  </a:lnTo>
                  <a:lnTo>
                    <a:pt x="966" y="144"/>
                  </a:lnTo>
                  <a:lnTo>
                    <a:pt x="966" y="150"/>
                  </a:lnTo>
                  <a:lnTo>
                    <a:pt x="972" y="150"/>
                  </a:lnTo>
                  <a:lnTo>
                    <a:pt x="978" y="150"/>
                  </a:lnTo>
                  <a:lnTo>
                    <a:pt x="978" y="144"/>
                  </a:lnTo>
                  <a:lnTo>
                    <a:pt x="984" y="144"/>
                  </a:lnTo>
                  <a:lnTo>
                    <a:pt x="990" y="138"/>
                  </a:lnTo>
                  <a:lnTo>
                    <a:pt x="996" y="138"/>
                  </a:lnTo>
                  <a:lnTo>
                    <a:pt x="1002" y="138"/>
                  </a:lnTo>
                  <a:lnTo>
                    <a:pt x="1008" y="138"/>
                  </a:lnTo>
                  <a:lnTo>
                    <a:pt x="1026" y="132"/>
                  </a:lnTo>
                  <a:lnTo>
                    <a:pt x="1044" y="126"/>
                  </a:lnTo>
                  <a:lnTo>
                    <a:pt x="1056" y="120"/>
                  </a:lnTo>
                  <a:lnTo>
                    <a:pt x="1062" y="108"/>
                  </a:lnTo>
                  <a:lnTo>
                    <a:pt x="1056" y="102"/>
                  </a:lnTo>
                  <a:lnTo>
                    <a:pt x="1062" y="96"/>
                  </a:lnTo>
                  <a:lnTo>
                    <a:pt x="1074" y="90"/>
                  </a:lnTo>
                  <a:lnTo>
                    <a:pt x="1080" y="84"/>
                  </a:lnTo>
                  <a:lnTo>
                    <a:pt x="1128" y="84"/>
                  </a:lnTo>
                  <a:lnTo>
                    <a:pt x="1134" y="84"/>
                  </a:lnTo>
                  <a:lnTo>
                    <a:pt x="1140" y="78"/>
                  </a:lnTo>
                  <a:lnTo>
                    <a:pt x="1152" y="72"/>
                  </a:lnTo>
                  <a:lnTo>
                    <a:pt x="1164" y="66"/>
                  </a:lnTo>
                  <a:lnTo>
                    <a:pt x="1170" y="60"/>
                  </a:lnTo>
                  <a:lnTo>
                    <a:pt x="1188" y="48"/>
                  </a:lnTo>
                  <a:lnTo>
                    <a:pt x="1200" y="36"/>
                  </a:lnTo>
                  <a:lnTo>
                    <a:pt x="1218" y="24"/>
                  </a:lnTo>
                  <a:lnTo>
                    <a:pt x="1248" y="24"/>
                  </a:lnTo>
                  <a:lnTo>
                    <a:pt x="1272" y="24"/>
                  </a:lnTo>
                  <a:lnTo>
                    <a:pt x="1284" y="12"/>
                  </a:lnTo>
                  <a:lnTo>
                    <a:pt x="1302" y="0"/>
                  </a:lnTo>
                  <a:lnTo>
                    <a:pt x="1314" y="0"/>
                  </a:lnTo>
                  <a:lnTo>
                    <a:pt x="1326" y="18"/>
                  </a:lnTo>
                  <a:lnTo>
                    <a:pt x="1338" y="30"/>
                  </a:lnTo>
                  <a:lnTo>
                    <a:pt x="1338" y="54"/>
                  </a:lnTo>
                  <a:lnTo>
                    <a:pt x="1332" y="72"/>
                  </a:lnTo>
                  <a:lnTo>
                    <a:pt x="1326" y="72"/>
                  </a:lnTo>
                  <a:lnTo>
                    <a:pt x="1326" y="78"/>
                  </a:lnTo>
                  <a:lnTo>
                    <a:pt x="1326" y="102"/>
                  </a:lnTo>
                  <a:lnTo>
                    <a:pt x="1332" y="102"/>
                  </a:lnTo>
                  <a:lnTo>
                    <a:pt x="1332" y="108"/>
                  </a:lnTo>
                  <a:lnTo>
                    <a:pt x="1344" y="114"/>
                  </a:lnTo>
                  <a:lnTo>
                    <a:pt x="1350" y="114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404" y="132"/>
                  </a:lnTo>
                  <a:lnTo>
                    <a:pt x="1404" y="138"/>
                  </a:lnTo>
                  <a:lnTo>
                    <a:pt x="1410" y="150"/>
                  </a:lnTo>
                  <a:lnTo>
                    <a:pt x="1416" y="162"/>
                  </a:lnTo>
                  <a:lnTo>
                    <a:pt x="1428" y="168"/>
                  </a:lnTo>
                  <a:lnTo>
                    <a:pt x="1440" y="180"/>
                  </a:lnTo>
                  <a:lnTo>
                    <a:pt x="1476" y="174"/>
                  </a:lnTo>
                  <a:lnTo>
                    <a:pt x="1494" y="174"/>
                  </a:lnTo>
                  <a:lnTo>
                    <a:pt x="1512" y="192"/>
                  </a:lnTo>
                  <a:lnTo>
                    <a:pt x="1518" y="204"/>
                  </a:lnTo>
                  <a:lnTo>
                    <a:pt x="1530" y="216"/>
                  </a:lnTo>
                  <a:lnTo>
                    <a:pt x="1548" y="228"/>
                  </a:lnTo>
                  <a:lnTo>
                    <a:pt x="1548" y="234"/>
                  </a:lnTo>
                  <a:lnTo>
                    <a:pt x="1542" y="246"/>
                  </a:lnTo>
                  <a:lnTo>
                    <a:pt x="1560" y="246"/>
                  </a:lnTo>
                  <a:lnTo>
                    <a:pt x="1560" y="252"/>
                  </a:lnTo>
                  <a:lnTo>
                    <a:pt x="1566" y="258"/>
                  </a:lnTo>
                  <a:lnTo>
                    <a:pt x="1578" y="270"/>
                  </a:lnTo>
                  <a:lnTo>
                    <a:pt x="1596" y="270"/>
                  </a:lnTo>
                  <a:lnTo>
                    <a:pt x="1602" y="288"/>
                  </a:lnTo>
                  <a:lnTo>
                    <a:pt x="1608" y="306"/>
                  </a:lnTo>
                  <a:lnTo>
                    <a:pt x="1608" y="318"/>
                  </a:lnTo>
                  <a:lnTo>
                    <a:pt x="1608" y="324"/>
                  </a:lnTo>
                  <a:lnTo>
                    <a:pt x="1614" y="330"/>
                  </a:lnTo>
                  <a:lnTo>
                    <a:pt x="1614" y="336"/>
                  </a:lnTo>
                  <a:lnTo>
                    <a:pt x="1614" y="342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08" y="390"/>
                  </a:lnTo>
                  <a:lnTo>
                    <a:pt x="1602" y="390"/>
                  </a:lnTo>
                  <a:lnTo>
                    <a:pt x="1602" y="396"/>
                  </a:lnTo>
                  <a:lnTo>
                    <a:pt x="1584" y="420"/>
                  </a:lnTo>
                  <a:lnTo>
                    <a:pt x="1584" y="426"/>
                  </a:lnTo>
                  <a:lnTo>
                    <a:pt x="1602" y="474"/>
                  </a:lnTo>
                  <a:lnTo>
                    <a:pt x="1608" y="480"/>
                  </a:lnTo>
                  <a:lnTo>
                    <a:pt x="1608" y="486"/>
                  </a:lnTo>
                  <a:lnTo>
                    <a:pt x="1614" y="486"/>
                  </a:lnTo>
                  <a:lnTo>
                    <a:pt x="1608" y="504"/>
                  </a:lnTo>
                  <a:lnTo>
                    <a:pt x="1572" y="504"/>
                  </a:lnTo>
                  <a:lnTo>
                    <a:pt x="1560" y="510"/>
                  </a:lnTo>
                  <a:lnTo>
                    <a:pt x="1554" y="522"/>
                  </a:lnTo>
                  <a:lnTo>
                    <a:pt x="1560" y="552"/>
                  </a:lnTo>
                  <a:lnTo>
                    <a:pt x="1566" y="552"/>
                  </a:lnTo>
                  <a:lnTo>
                    <a:pt x="1566" y="558"/>
                  </a:lnTo>
                  <a:lnTo>
                    <a:pt x="1572" y="558"/>
                  </a:lnTo>
                  <a:lnTo>
                    <a:pt x="1578" y="558"/>
                  </a:lnTo>
                  <a:lnTo>
                    <a:pt x="1578" y="552"/>
                  </a:lnTo>
                  <a:lnTo>
                    <a:pt x="1584" y="552"/>
                  </a:lnTo>
                  <a:lnTo>
                    <a:pt x="1590" y="552"/>
                  </a:lnTo>
                  <a:lnTo>
                    <a:pt x="1590" y="546"/>
                  </a:lnTo>
                  <a:lnTo>
                    <a:pt x="1596" y="546"/>
                  </a:lnTo>
                  <a:lnTo>
                    <a:pt x="1602" y="552"/>
                  </a:lnTo>
                  <a:lnTo>
                    <a:pt x="1602" y="546"/>
                  </a:lnTo>
                  <a:lnTo>
                    <a:pt x="1608" y="546"/>
                  </a:lnTo>
                  <a:lnTo>
                    <a:pt x="1608" y="552"/>
                  </a:lnTo>
                  <a:lnTo>
                    <a:pt x="1614" y="552"/>
                  </a:lnTo>
                  <a:lnTo>
                    <a:pt x="1614" y="546"/>
                  </a:lnTo>
                  <a:lnTo>
                    <a:pt x="1620" y="552"/>
                  </a:lnTo>
                  <a:lnTo>
                    <a:pt x="1626" y="552"/>
                  </a:lnTo>
                  <a:lnTo>
                    <a:pt x="1626" y="558"/>
                  </a:lnTo>
                  <a:lnTo>
                    <a:pt x="1632" y="558"/>
                  </a:lnTo>
                  <a:lnTo>
                    <a:pt x="1638" y="558"/>
                  </a:lnTo>
                  <a:lnTo>
                    <a:pt x="1644" y="558"/>
                  </a:lnTo>
                  <a:lnTo>
                    <a:pt x="1650" y="558"/>
                  </a:lnTo>
                  <a:lnTo>
                    <a:pt x="1650" y="564"/>
                  </a:lnTo>
                  <a:lnTo>
                    <a:pt x="1656" y="564"/>
                  </a:lnTo>
                  <a:lnTo>
                    <a:pt x="1662" y="564"/>
                  </a:lnTo>
                  <a:lnTo>
                    <a:pt x="1668" y="564"/>
                  </a:lnTo>
                  <a:lnTo>
                    <a:pt x="1668" y="570"/>
                  </a:lnTo>
                  <a:lnTo>
                    <a:pt x="1674" y="570"/>
                  </a:lnTo>
                  <a:lnTo>
                    <a:pt x="1680" y="570"/>
                  </a:lnTo>
                  <a:lnTo>
                    <a:pt x="1686" y="576"/>
                  </a:lnTo>
                  <a:lnTo>
                    <a:pt x="1686" y="582"/>
                  </a:lnTo>
                  <a:lnTo>
                    <a:pt x="1710" y="588"/>
                  </a:lnTo>
                  <a:lnTo>
                    <a:pt x="1710" y="594"/>
                  </a:lnTo>
                  <a:lnTo>
                    <a:pt x="1704" y="600"/>
                  </a:lnTo>
                  <a:lnTo>
                    <a:pt x="1710" y="624"/>
                  </a:lnTo>
                  <a:lnTo>
                    <a:pt x="1698" y="672"/>
                  </a:lnTo>
                  <a:lnTo>
                    <a:pt x="1704" y="678"/>
                  </a:lnTo>
                  <a:lnTo>
                    <a:pt x="1716" y="684"/>
                  </a:lnTo>
                  <a:lnTo>
                    <a:pt x="1716" y="678"/>
                  </a:lnTo>
                  <a:lnTo>
                    <a:pt x="1716" y="684"/>
                  </a:lnTo>
                  <a:lnTo>
                    <a:pt x="1728" y="684"/>
                  </a:lnTo>
                  <a:lnTo>
                    <a:pt x="1728" y="690"/>
                  </a:lnTo>
                  <a:lnTo>
                    <a:pt x="1734" y="696"/>
                  </a:lnTo>
                  <a:lnTo>
                    <a:pt x="1734" y="702"/>
                  </a:lnTo>
                  <a:lnTo>
                    <a:pt x="1740" y="708"/>
                  </a:lnTo>
                  <a:lnTo>
                    <a:pt x="1740" y="714"/>
                  </a:lnTo>
                  <a:lnTo>
                    <a:pt x="1710" y="714"/>
                  </a:lnTo>
                  <a:lnTo>
                    <a:pt x="1710" y="756"/>
                  </a:lnTo>
                  <a:lnTo>
                    <a:pt x="1704" y="762"/>
                  </a:lnTo>
                  <a:lnTo>
                    <a:pt x="1698" y="762"/>
                  </a:lnTo>
                  <a:lnTo>
                    <a:pt x="1698" y="768"/>
                  </a:lnTo>
                  <a:lnTo>
                    <a:pt x="1698" y="774"/>
                  </a:lnTo>
                  <a:lnTo>
                    <a:pt x="1692" y="780"/>
                  </a:lnTo>
                  <a:lnTo>
                    <a:pt x="1692" y="786"/>
                  </a:lnTo>
                  <a:lnTo>
                    <a:pt x="1686" y="786"/>
                  </a:lnTo>
                  <a:lnTo>
                    <a:pt x="1668" y="798"/>
                  </a:lnTo>
                  <a:lnTo>
                    <a:pt x="1662" y="810"/>
                  </a:lnTo>
                  <a:lnTo>
                    <a:pt x="1650" y="810"/>
                  </a:lnTo>
                  <a:lnTo>
                    <a:pt x="1644" y="816"/>
                  </a:lnTo>
                  <a:lnTo>
                    <a:pt x="1638" y="816"/>
                  </a:lnTo>
                  <a:lnTo>
                    <a:pt x="1626" y="852"/>
                  </a:lnTo>
                  <a:lnTo>
                    <a:pt x="1620" y="888"/>
                  </a:lnTo>
                  <a:lnTo>
                    <a:pt x="1626" y="888"/>
                  </a:lnTo>
                  <a:lnTo>
                    <a:pt x="1638" y="912"/>
                  </a:lnTo>
                  <a:lnTo>
                    <a:pt x="1644" y="918"/>
                  </a:lnTo>
                  <a:lnTo>
                    <a:pt x="1650" y="966"/>
                  </a:lnTo>
                  <a:lnTo>
                    <a:pt x="1626" y="972"/>
                  </a:lnTo>
                  <a:lnTo>
                    <a:pt x="1608" y="978"/>
                  </a:lnTo>
                  <a:lnTo>
                    <a:pt x="1614" y="984"/>
                  </a:lnTo>
                  <a:lnTo>
                    <a:pt x="1620" y="984"/>
                  </a:lnTo>
                  <a:lnTo>
                    <a:pt x="1620" y="1020"/>
                  </a:lnTo>
                  <a:lnTo>
                    <a:pt x="1614" y="1038"/>
                  </a:lnTo>
                  <a:lnTo>
                    <a:pt x="1620" y="1044"/>
                  </a:lnTo>
                  <a:lnTo>
                    <a:pt x="1626" y="1056"/>
                  </a:lnTo>
                  <a:lnTo>
                    <a:pt x="1626" y="1074"/>
                  </a:lnTo>
                  <a:lnTo>
                    <a:pt x="1620" y="1080"/>
                  </a:lnTo>
                  <a:lnTo>
                    <a:pt x="1620" y="1104"/>
                  </a:lnTo>
                  <a:lnTo>
                    <a:pt x="1620" y="1110"/>
                  </a:lnTo>
                  <a:lnTo>
                    <a:pt x="1614" y="1116"/>
                  </a:lnTo>
                  <a:lnTo>
                    <a:pt x="1608" y="1140"/>
                  </a:lnTo>
                  <a:lnTo>
                    <a:pt x="1602" y="1146"/>
                  </a:lnTo>
                  <a:lnTo>
                    <a:pt x="1602" y="1164"/>
                  </a:lnTo>
                  <a:lnTo>
                    <a:pt x="1596" y="1170"/>
                  </a:lnTo>
                  <a:lnTo>
                    <a:pt x="1590" y="1164"/>
                  </a:lnTo>
                  <a:lnTo>
                    <a:pt x="1584" y="1164"/>
                  </a:lnTo>
                  <a:lnTo>
                    <a:pt x="1578" y="1164"/>
                  </a:lnTo>
                  <a:lnTo>
                    <a:pt x="1578" y="1188"/>
                  </a:lnTo>
                  <a:lnTo>
                    <a:pt x="1584" y="1194"/>
                  </a:lnTo>
                  <a:lnTo>
                    <a:pt x="1590" y="1194"/>
                  </a:lnTo>
                  <a:lnTo>
                    <a:pt x="1590" y="1212"/>
                  </a:lnTo>
                  <a:lnTo>
                    <a:pt x="1584" y="1212"/>
                  </a:lnTo>
                  <a:lnTo>
                    <a:pt x="1584" y="1224"/>
                  </a:lnTo>
                  <a:lnTo>
                    <a:pt x="1578" y="1224"/>
                  </a:lnTo>
                  <a:lnTo>
                    <a:pt x="1578" y="1236"/>
                  </a:lnTo>
                  <a:lnTo>
                    <a:pt x="1584" y="1254"/>
                  </a:lnTo>
                  <a:lnTo>
                    <a:pt x="1584" y="1260"/>
                  </a:lnTo>
                  <a:lnTo>
                    <a:pt x="1590" y="1260"/>
                  </a:lnTo>
                  <a:lnTo>
                    <a:pt x="1590" y="1266"/>
                  </a:lnTo>
                  <a:lnTo>
                    <a:pt x="1596" y="1284"/>
                  </a:lnTo>
                  <a:lnTo>
                    <a:pt x="1602" y="1278"/>
                  </a:lnTo>
                  <a:lnTo>
                    <a:pt x="1608" y="1284"/>
                  </a:lnTo>
                  <a:lnTo>
                    <a:pt x="1632" y="1350"/>
                  </a:lnTo>
                  <a:lnTo>
                    <a:pt x="1638" y="1356"/>
                  </a:lnTo>
                  <a:lnTo>
                    <a:pt x="1644" y="1356"/>
                  </a:lnTo>
                  <a:lnTo>
                    <a:pt x="1650" y="1356"/>
                  </a:lnTo>
                  <a:lnTo>
                    <a:pt x="1656" y="1356"/>
                  </a:lnTo>
                  <a:lnTo>
                    <a:pt x="1662" y="1362"/>
                  </a:lnTo>
                  <a:lnTo>
                    <a:pt x="1668" y="1356"/>
                  </a:lnTo>
                  <a:lnTo>
                    <a:pt x="1668" y="1380"/>
                  </a:lnTo>
                  <a:lnTo>
                    <a:pt x="1662" y="1392"/>
                  </a:lnTo>
                  <a:lnTo>
                    <a:pt x="1656" y="1404"/>
                  </a:lnTo>
                  <a:lnTo>
                    <a:pt x="1656" y="1410"/>
                  </a:lnTo>
                  <a:lnTo>
                    <a:pt x="1656" y="1416"/>
                  </a:lnTo>
                  <a:lnTo>
                    <a:pt x="1650" y="1422"/>
                  </a:lnTo>
                  <a:lnTo>
                    <a:pt x="1650" y="1428"/>
                  </a:lnTo>
                  <a:lnTo>
                    <a:pt x="1644" y="1428"/>
                  </a:lnTo>
                  <a:lnTo>
                    <a:pt x="1644" y="1434"/>
                  </a:lnTo>
                  <a:lnTo>
                    <a:pt x="1638" y="1434"/>
                  </a:lnTo>
                  <a:lnTo>
                    <a:pt x="1638" y="1440"/>
                  </a:lnTo>
                  <a:lnTo>
                    <a:pt x="1632" y="1440"/>
                  </a:lnTo>
                  <a:lnTo>
                    <a:pt x="1638" y="145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8" name="Freeform 13">
              <a:extLst>
                <a:ext uri="{FF2B5EF4-FFF2-40B4-BE49-F238E27FC236}">
                  <a16:creationId xmlns:a16="http://schemas.microsoft.com/office/drawing/2014/main" id="{66308D9B-1739-4227-AAC3-BB866CD1F5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63374" y="2969626"/>
              <a:ext cx="330956" cy="357840"/>
            </a:xfrm>
            <a:custGeom>
              <a:avLst/>
              <a:gdLst>
                <a:gd name="T0" fmla="*/ 11 w 624"/>
                <a:gd name="T1" fmla="*/ 59 h 672"/>
                <a:gd name="T2" fmla="*/ 4 w 624"/>
                <a:gd name="T3" fmla="*/ 58 h 672"/>
                <a:gd name="T4" fmla="*/ 3 w 624"/>
                <a:gd name="T5" fmla="*/ 58 h 672"/>
                <a:gd name="T6" fmla="*/ 2 w 624"/>
                <a:gd name="T7" fmla="*/ 11 h 672"/>
                <a:gd name="T8" fmla="*/ 13 w 624"/>
                <a:gd name="T9" fmla="*/ 11 h 672"/>
                <a:gd name="T10" fmla="*/ 14 w 624"/>
                <a:gd name="T11" fmla="*/ 11 h 672"/>
                <a:gd name="T12" fmla="*/ 15 w 624"/>
                <a:gd name="T13" fmla="*/ 12 h 672"/>
                <a:gd name="T14" fmla="*/ 18 w 624"/>
                <a:gd name="T15" fmla="*/ 14 h 672"/>
                <a:gd name="T16" fmla="*/ 21 w 624"/>
                <a:gd name="T17" fmla="*/ 16 h 672"/>
                <a:gd name="T18" fmla="*/ 22 w 624"/>
                <a:gd name="T19" fmla="*/ 18 h 672"/>
                <a:gd name="T20" fmla="*/ 23 w 624"/>
                <a:gd name="T21" fmla="*/ 19 h 672"/>
                <a:gd name="T22" fmla="*/ 24 w 624"/>
                <a:gd name="T23" fmla="*/ 19 h 672"/>
                <a:gd name="T24" fmla="*/ 26 w 624"/>
                <a:gd name="T25" fmla="*/ 19 h 672"/>
                <a:gd name="T26" fmla="*/ 27 w 624"/>
                <a:gd name="T27" fmla="*/ 18 h 672"/>
                <a:gd name="T28" fmla="*/ 29 w 624"/>
                <a:gd name="T29" fmla="*/ 15 h 672"/>
                <a:gd name="T30" fmla="*/ 30 w 624"/>
                <a:gd name="T31" fmla="*/ 14 h 672"/>
                <a:gd name="T32" fmla="*/ 31 w 624"/>
                <a:gd name="T33" fmla="*/ 12 h 672"/>
                <a:gd name="T34" fmla="*/ 32 w 624"/>
                <a:gd name="T35" fmla="*/ 12 h 672"/>
                <a:gd name="T36" fmla="*/ 33 w 624"/>
                <a:gd name="T37" fmla="*/ 10 h 672"/>
                <a:gd name="T38" fmla="*/ 34 w 624"/>
                <a:gd name="T39" fmla="*/ 8 h 672"/>
                <a:gd name="T40" fmla="*/ 34 w 624"/>
                <a:gd name="T41" fmla="*/ 6 h 672"/>
                <a:gd name="T42" fmla="*/ 35 w 624"/>
                <a:gd name="T43" fmla="*/ 4 h 672"/>
                <a:gd name="T44" fmla="*/ 42 w 624"/>
                <a:gd name="T45" fmla="*/ 3 h 672"/>
                <a:gd name="T46" fmla="*/ 44 w 624"/>
                <a:gd name="T47" fmla="*/ 2 h 672"/>
                <a:gd name="T48" fmla="*/ 46 w 624"/>
                <a:gd name="T49" fmla="*/ 0 h 672"/>
                <a:gd name="T50" fmla="*/ 51 w 624"/>
                <a:gd name="T51" fmla="*/ 3 h 672"/>
                <a:gd name="T52" fmla="*/ 54 w 624"/>
                <a:gd name="T53" fmla="*/ 6 h 672"/>
                <a:gd name="T54" fmla="*/ 54 w 624"/>
                <a:gd name="T55" fmla="*/ 8 h 672"/>
                <a:gd name="T56" fmla="*/ 52 w 624"/>
                <a:gd name="T57" fmla="*/ 9 h 672"/>
                <a:gd name="T58" fmla="*/ 49 w 624"/>
                <a:gd name="T59" fmla="*/ 11 h 672"/>
                <a:gd name="T60" fmla="*/ 48 w 624"/>
                <a:gd name="T61" fmla="*/ 14 h 672"/>
                <a:gd name="T62" fmla="*/ 46 w 624"/>
                <a:gd name="T63" fmla="*/ 22 h 672"/>
                <a:gd name="T64" fmla="*/ 45 w 624"/>
                <a:gd name="T65" fmla="*/ 39 h 672"/>
                <a:gd name="T66" fmla="*/ 43 w 624"/>
                <a:gd name="T67" fmla="*/ 43 h 672"/>
                <a:gd name="T68" fmla="*/ 39 w 624"/>
                <a:gd name="T69" fmla="*/ 50 h 672"/>
                <a:gd name="T70" fmla="*/ 36 w 624"/>
                <a:gd name="T71" fmla="*/ 53 h 672"/>
                <a:gd name="T72" fmla="*/ 32 w 624"/>
                <a:gd name="T73" fmla="*/ 56 h 672"/>
                <a:gd name="T74" fmla="*/ 30 w 624"/>
                <a:gd name="T75" fmla="*/ 58 h 672"/>
                <a:gd name="T76" fmla="*/ 20 w 624"/>
                <a:gd name="T77" fmla="*/ 59 h 672"/>
                <a:gd name="T78" fmla="*/ 15 w 624"/>
                <a:gd name="T79" fmla="*/ 59 h 67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24"/>
                <a:gd name="T121" fmla="*/ 0 h 672"/>
                <a:gd name="T122" fmla="*/ 624 w 624"/>
                <a:gd name="T123" fmla="*/ 672 h 67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24" h="672">
                  <a:moveTo>
                    <a:pt x="168" y="672"/>
                  </a:moveTo>
                  <a:lnTo>
                    <a:pt x="132" y="672"/>
                  </a:lnTo>
                  <a:lnTo>
                    <a:pt x="72" y="666"/>
                  </a:lnTo>
                  <a:lnTo>
                    <a:pt x="42" y="666"/>
                  </a:lnTo>
                  <a:lnTo>
                    <a:pt x="36" y="666"/>
                  </a:lnTo>
                  <a:lnTo>
                    <a:pt x="30" y="660"/>
                  </a:lnTo>
                  <a:lnTo>
                    <a:pt x="0" y="660"/>
                  </a:lnTo>
                  <a:lnTo>
                    <a:pt x="24" y="120"/>
                  </a:lnTo>
                  <a:lnTo>
                    <a:pt x="60" y="120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62" y="120"/>
                  </a:lnTo>
                  <a:lnTo>
                    <a:pt x="168" y="120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10" y="156"/>
                  </a:lnTo>
                  <a:lnTo>
                    <a:pt x="222" y="174"/>
                  </a:lnTo>
                  <a:lnTo>
                    <a:pt x="240" y="186"/>
                  </a:lnTo>
                  <a:lnTo>
                    <a:pt x="252" y="198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216"/>
                  </a:lnTo>
                  <a:lnTo>
                    <a:pt x="270" y="216"/>
                  </a:lnTo>
                  <a:lnTo>
                    <a:pt x="282" y="222"/>
                  </a:lnTo>
                  <a:lnTo>
                    <a:pt x="288" y="222"/>
                  </a:lnTo>
                  <a:lnTo>
                    <a:pt x="294" y="216"/>
                  </a:lnTo>
                  <a:lnTo>
                    <a:pt x="294" y="210"/>
                  </a:lnTo>
                  <a:lnTo>
                    <a:pt x="312" y="204"/>
                  </a:lnTo>
                  <a:lnTo>
                    <a:pt x="330" y="186"/>
                  </a:lnTo>
                  <a:lnTo>
                    <a:pt x="336" y="174"/>
                  </a:lnTo>
                  <a:lnTo>
                    <a:pt x="342" y="162"/>
                  </a:lnTo>
                  <a:lnTo>
                    <a:pt x="342" y="156"/>
                  </a:lnTo>
                  <a:lnTo>
                    <a:pt x="348" y="150"/>
                  </a:lnTo>
                  <a:lnTo>
                    <a:pt x="354" y="144"/>
                  </a:lnTo>
                  <a:lnTo>
                    <a:pt x="360" y="138"/>
                  </a:lnTo>
                  <a:lnTo>
                    <a:pt x="366" y="132"/>
                  </a:lnTo>
                  <a:lnTo>
                    <a:pt x="372" y="114"/>
                  </a:lnTo>
                  <a:lnTo>
                    <a:pt x="378" y="114"/>
                  </a:lnTo>
                  <a:lnTo>
                    <a:pt x="378" y="96"/>
                  </a:lnTo>
                  <a:lnTo>
                    <a:pt x="390" y="96"/>
                  </a:lnTo>
                  <a:lnTo>
                    <a:pt x="396" y="84"/>
                  </a:lnTo>
                  <a:lnTo>
                    <a:pt x="396" y="72"/>
                  </a:lnTo>
                  <a:lnTo>
                    <a:pt x="396" y="54"/>
                  </a:lnTo>
                  <a:lnTo>
                    <a:pt x="408" y="42"/>
                  </a:lnTo>
                  <a:lnTo>
                    <a:pt x="468" y="42"/>
                  </a:lnTo>
                  <a:lnTo>
                    <a:pt x="486" y="36"/>
                  </a:lnTo>
                  <a:lnTo>
                    <a:pt x="492" y="24"/>
                  </a:lnTo>
                  <a:lnTo>
                    <a:pt x="504" y="24"/>
                  </a:lnTo>
                  <a:lnTo>
                    <a:pt x="516" y="6"/>
                  </a:lnTo>
                  <a:lnTo>
                    <a:pt x="528" y="0"/>
                  </a:lnTo>
                  <a:lnTo>
                    <a:pt x="558" y="12"/>
                  </a:lnTo>
                  <a:lnTo>
                    <a:pt x="588" y="36"/>
                  </a:lnTo>
                  <a:lnTo>
                    <a:pt x="600" y="66"/>
                  </a:lnTo>
                  <a:lnTo>
                    <a:pt x="624" y="66"/>
                  </a:lnTo>
                  <a:lnTo>
                    <a:pt x="624" y="90"/>
                  </a:lnTo>
                  <a:lnTo>
                    <a:pt x="618" y="90"/>
                  </a:lnTo>
                  <a:lnTo>
                    <a:pt x="618" y="96"/>
                  </a:lnTo>
                  <a:lnTo>
                    <a:pt x="600" y="102"/>
                  </a:lnTo>
                  <a:lnTo>
                    <a:pt x="588" y="108"/>
                  </a:lnTo>
                  <a:lnTo>
                    <a:pt x="570" y="120"/>
                  </a:lnTo>
                  <a:lnTo>
                    <a:pt x="564" y="138"/>
                  </a:lnTo>
                  <a:lnTo>
                    <a:pt x="558" y="162"/>
                  </a:lnTo>
                  <a:lnTo>
                    <a:pt x="540" y="210"/>
                  </a:lnTo>
                  <a:lnTo>
                    <a:pt x="528" y="252"/>
                  </a:lnTo>
                  <a:lnTo>
                    <a:pt x="528" y="402"/>
                  </a:lnTo>
                  <a:lnTo>
                    <a:pt x="522" y="444"/>
                  </a:lnTo>
                  <a:lnTo>
                    <a:pt x="510" y="468"/>
                  </a:lnTo>
                  <a:lnTo>
                    <a:pt x="498" y="498"/>
                  </a:lnTo>
                  <a:lnTo>
                    <a:pt x="474" y="534"/>
                  </a:lnTo>
                  <a:lnTo>
                    <a:pt x="456" y="570"/>
                  </a:lnTo>
                  <a:lnTo>
                    <a:pt x="444" y="576"/>
                  </a:lnTo>
                  <a:lnTo>
                    <a:pt x="420" y="606"/>
                  </a:lnTo>
                  <a:lnTo>
                    <a:pt x="390" y="624"/>
                  </a:lnTo>
                  <a:lnTo>
                    <a:pt x="372" y="642"/>
                  </a:lnTo>
                  <a:lnTo>
                    <a:pt x="366" y="654"/>
                  </a:lnTo>
                  <a:lnTo>
                    <a:pt x="342" y="660"/>
                  </a:lnTo>
                  <a:lnTo>
                    <a:pt x="300" y="666"/>
                  </a:lnTo>
                  <a:lnTo>
                    <a:pt x="234" y="672"/>
                  </a:lnTo>
                  <a:lnTo>
                    <a:pt x="192" y="672"/>
                  </a:lnTo>
                  <a:lnTo>
                    <a:pt x="168" y="67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9" name="Freeform 14">
              <a:extLst>
                <a:ext uri="{FF2B5EF4-FFF2-40B4-BE49-F238E27FC236}">
                  <a16:creationId xmlns:a16="http://schemas.microsoft.com/office/drawing/2014/main" id="{2EA1E999-9CDF-4391-8BC9-7DE71AF9C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0460" y="2983045"/>
              <a:ext cx="905658" cy="561362"/>
            </a:xfrm>
            <a:custGeom>
              <a:avLst/>
              <a:gdLst>
                <a:gd name="T0" fmla="*/ 31 w 1704"/>
                <a:gd name="T1" fmla="*/ 78 h 1056"/>
                <a:gd name="T2" fmla="*/ 23 w 1704"/>
                <a:gd name="T3" fmla="*/ 78 h 1056"/>
                <a:gd name="T4" fmla="*/ 11 w 1704"/>
                <a:gd name="T5" fmla="*/ 79 h 1056"/>
                <a:gd name="T6" fmla="*/ 1 w 1704"/>
                <a:gd name="T7" fmla="*/ 81 h 1056"/>
                <a:gd name="T8" fmla="*/ 0 w 1704"/>
                <a:gd name="T9" fmla="*/ 62 h 1056"/>
                <a:gd name="T10" fmla="*/ 9 w 1704"/>
                <a:gd name="T11" fmla="*/ 56 h 1056"/>
                <a:gd name="T12" fmla="*/ 27 w 1704"/>
                <a:gd name="T13" fmla="*/ 48 h 1056"/>
                <a:gd name="T14" fmla="*/ 35 w 1704"/>
                <a:gd name="T15" fmla="*/ 20 h 1056"/>
                <a:gd name="T16" fmla="*/ 43 w 1704"/>
                <a:gd name="T17" fmla="*/ 6 h 1056"/>
                <a:gd name="T18" fmla="*/ 47 w 1704"/>
                <a:gd name="T19" fmla="*/ 7 h 1056"/>
                <a:gd name="T20" fmla="*/ 52 w 1704"/>
                <a:gd name="T21" fmla="*/ 0 h 1056"/>
                <a:gd name="T22" fmla="*/ 59 w 1704"/>
                <a:gd name="T23" fmla="*/ 5 h 1056"/>
                <a:gd name="T24" fmla="*/ 63 w 1704"/>
                <a:gd name="T25" fmla="*/ 12 h 1056"/>
                <a:gd name="T26" fmla="*/ 62 w 1704"/>
                <a:gd name="T27" fmla="*/ 15 h 1056"/>
                <a:gd name="T28" fmla="*/ 62 w 1704"/>
                <a:gd name="T29" fmla="*/ 18 h 1056"/>
                <a:gd name="T30" fmla="*/ 70 w 1704"/>
                <a:gd name="T31" fmla="*/ 18 h 1056"/>
                <a:gd name="T32" fmla="*/ 71 w 1704"/>
                <a:gd name="T33" fmla="*/ 14 h 1056"/>
                <a:gd name="T34" fmla="*/ 72 w 1704"/>
                <a:gd name="T35" fmla="*/ 12 h 1056"/>
                <a:gd name="T36" fmla="*/ 78 w 1704"/>
                <a:gd name="T37" fmla="*/ 14 h 1056"/>
                <a:gd name="T38" fmla="*/ 85 w 1704"/>
                <a:gd name="T39" fmla="*/ 21 h 1056"/>
                <a:gd name="T40" fmla="*/ 91 w 1704"/>
                <a:gd name="T41" fmla="*/ 15 h 1056"/>
                <a:gd name="T42" fmla="*/ 93 w 1704"/>
                <a:gd name="T43" fmla="*/ 10 h 1056"/>
                <a:gd name="T44" fmla="*/ 101 w 1704"/>
                <a:gd name="T45" fmla="*/ 14 h 1056"/>
                <a:gd name="T46" fmla="*/ 103 w 1704"/>
                <a:gd name="T47" fmla="*/ 19 h 1056"/>
                <a:gd name="T48" fmla="*/ 115 w 1704"/>
                <a:gd name="T49" fmla="*/ 20 h 1056"/>
                <a:gd name="T50" fmla="*/ 118 w 1704"/>
                <a:gd name="T51" fmla="*/ 23 h 1056"/>
                <a:gd name="T52" fmla="*/ 117 w 1704"/>
                <a:gd name="T53" fmla="*/ 27 h 1056"/>
                <a:gd name="T54" fmla="*/ 111 w 1704"/>
                <a:gd name="T55" fmla="*/ 33 h 1056"/>
                <a:gd name="T56" fmla="*/ 108 w 1704"/>
                <a:gd name="T57" fmla="*/ 36 h 1056"/>
                <a:gd name="T58" fmla="*/ 109 w 1704"/>
                <a:gd name="T59" fmla="*/ 40 h 1056"/>
                <a:gd name="T60" fmla="*/ 111 w 1704"/>
                <a:gd name="T61" fmla="*/ 43 h 1056"/>
                <a:gd name="T62" fmla="*/ 113 w 1704"/>
                <a:gd name="T63" fmla="*/ 50 h 1056"/>
                <a:gd name="T64" fmla="*/ 121 w 1704"/>
                <a:gd name="T65" fmla="*/ 55 h 1056"/>
                <a:gd name="T66" fmla="*/ 132 w 1704"/>
                <a:gd name="T67" fmla="*/ 52 h 1056"/>
                <a:gd name="T68" fmla="*/ 148 w 1704"/>
                <a:gd name="T69" fmla="*/ 58 h 1056"/>
                <a:gd name="T70" fmla="*/ 148 w 1704"/>
                <a:gd name="T71" fmla="*/ 61 h 1056"/>
                <a:gd name="T72" fmla="*/ 148 w 1704"/>
                <a:gd name="T73" fmla="*/ 64 h 1056"/>
                <a:gd name="T74" fmla="*/ 135 w 1704"/>
                <a:gd name="T75" fmla="*/ 61 h 1056"/>
                <a:gd name="T76" fmla="*/ 135 w 1704"/>
                <a:gd name="T77" fmla="*/ 66 h 1056"/>
                <a:gd name="T78" fmla="*/ 137 w 1704"/>
                <a:gd name="T79" fmla="*/ 71 h 1056"/>
                <a:gd name="T80" fmla="*/ 136 w 1704"/>
                <a:gd name="T81" fmla="*/ 79 h 1056"/>
                <a:gd name="T82" fmla="*/ 126 w 1704"/>
                <a:gd name="T83" fmla="*/ 84 h 1056"/>
                <a:gd name="T84" fmla="*/ 121 w 1704"/>
                <a:gd name="T85" fmla="*/ 79 h 1056"/>
                <a:gd name="T86" fmla="*/ 117 w 1704"/>
                <a:gd name="T87" fmla="*/ 75 h 1056"/>
                <a:gd name="T88" fmla="*/ 98 w 1704"/>
                <a:gd name="T89" fmla="*/ 74 h 1056"/>
                <a:gd name="T90" fmla="*/ 81 w 1704"/>
                <a:gd name="T91" fmla="*/ 75 h 1056"/>
                <a:gd name="T92" fmla="*/ 83 w 1704"/>
                <a:gd name="T93" fmla="*/ 88 h 1056"/>
                <a:gd name="T94" fmla="*/ 82 w 1704"/>
                <a:gd name="T95" fmla="*/ 91 h 1056"/>
                <a:gd name="T96" fmla="*/ 77 w 1704"/>
                <a:gd name="T97" fmla="*/ 90 h 1056"/>
                <a:gd name="T98" fmla="*/ 73 w 1704"/>
                <a:gd name="T99" fmla="*/ 86 h 1056"/>
                <a:gd name="T100" fmla="*/ 68 w 1704"/>
                <a:gd name="T101" fmla="*/ 85 h 1056"/>
                <a:gd name="T102" fmla="*/ 64 w 1704"/>
                <a:gd name="T103" fmla="*/ 83 h 1056"/>
                <a:gd name="T104" fmla="*/ 57 w 1704"/>
                <a:gd name="T105" fmla="*/ 81 h 1056"/>
                <a:gd name="T106" fmla="*/ 52 w 1704"/>
                <a:gd name="T107" fmla="*/ 80 h 1056"/>
                <a:gd name="T108" fmla="*/ 50 w 1704"/>
                <a:gd name="T109" fmla="*/ 80 h 1056"/>
                <a:gd name="T110" fmla="*/ 46 w 1704"/>
                <a:gd name="T111" fmla="*/ 79 h 1056"/>
                <a:gd name="T112" fmla="*/ 41 w 1704"/>
                <a:gd name="T113" fmla="*/ 78 h 10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04"/>
                <a:gd name="T172" fmla="*/ 0 h 1056"/>
                <a:gd name="T173" fmla="*/ 1704 w 1704"/>
                <a:gd name="T174" fmla="*/ 1056 h 10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04" h="1056">
                  <a:moveTo>
                    <a:pt x="450" y="888"/>
                  </a:moveTo>
                  <a:lnTo>
                    <a:pt x="420" y="888"/>
                  </a:lnTo>
                  <a:lnTo>
                    <a:pt x="414" y="888"/>
                  </a:lnTo>
                  <a:lnTo>
                    <a:pt x="396" y="888"/>
                  </a:lnTo>
                  <a:lnTo>
                    <a:pt x="372" y="888"/>
                  </a:lnTo>
                  <a:lnTo>
                    <a:pt x="366" y="888"/>
                  </a:lnTo>
                  <a:lnTo>
                    <a:pt x="360" y="888"/>
                  </a:lnTo>
                  <a:lnTo>
                    <a:pt x="348" y="888"/>
                  </a:lnTo>
                  <a:lnTo>
                    <a:pt x="330" y="894"/>
                  </a:lnTo>
                  <a:lnTo>
                    <a:pt x="324" y="894"/>
                  </a:lnTo>
                  <a:lnTo>
                    <a:pt x="312" y="888"/>
                  </a:lnTo>
                  <a:lnTo>
                    <a:pt x="300" y="888"/>
                  </a:lnTo>
                  <a:lnTo>
                    <a:pt x="282" y="888"/>
                  </a:lnTo>
                  <a:lnTo>
                    <a:pt x="270" y="888"/>
                  </a:lnTo>
                  <a:lnTo>
                    <a:pt x="240" y="882"/>
                  </a:lnTo>
                  <a:lnTo>
                    <a:pt x="222" y="882"/>
                  </a:lnTo>
                  <a:lnTo>
                    <a:pt x="198" y="882"/>
                  </a:lnTo>
                  <a:lnTo>
                    <a:pt x="174" y="894"/>
                  </a:lnTo>
                  <a:lnTo>
                    <a:pt x="162" y="900"/>
                  </a:lnTo>
                  <a:lnTo>
                    <a:pt x="144" y="906"/>
                  </a:lnTo>
                  <a:lnTo>
                    <a:pt x="126" y="912"/>
                  </a:lnTo>
                  <a:lnTo>
                    <a:pt x="102" y="924"/>
                  </a:lnTo>
                  <a:lnTo>
                    <a:pt x="78" y="930"/>
                  </a:lnTo>
                  <a:lnTo>
                    <a:pt x="72" y="936"/>
                  </a:lnTo>
                  <a:lnTo>
                    <a:pt x="30" y="954"/>
                  </a:lnTo>
                  <a:lnTo>
                    <a:pt x="12" y="966"/>
                  </a:lnTo>
                  <a:lnTo>
                    <a:pt x="12" y="954"/>
                  </a:lnTo>
                  <a:lnTo>
                    <a:pt x="12" y="930"/>
                  </a:lnTo>
                  <a:lnTo>
                    <a:pt x="12" y="894"/>
                  </a:lnTo>
                  <a:lnTo>
                    <a:pt x="30" y="828"/>
                  </a:lnTo>
                  <a:lnTo>
                    <a:pt x="36" y="798"/>
                  </a:lnTo>
                  <a:lnTo>
                    <a:pt x="18" y="774"/>
                  </a:lnTo>
                  <a:lnTo>
                    <a:pt x="18" y="756"/>
                  </a:lnTo>
                  <a:lnTo>
                    <a:pt x="6" y="738"/>
                  </a:lnTo>
                  <a:lnTo>
                    <a:pt x="0" y="714"/>
                  </a:lnTo>
                  <a:lnTo>
                    <a:pt x="12" y="678"/>
                  </a:lnTo>
                  <a:lnTo>
                    <a:pt x="18" y="678"/>
                  </a:lnTo>
                  <a:lnTo>
                    <a:pt x="24" y="672"/>
                  </a:lnTo>
                  <a:lnTo>
                    <a:pt x="30" y="666"/>
                  </a:lnTo>
                  <a:lnTo>
                    <a:pt x="42" y="648"/>
                  </a:lnTo>
                  <a:lnTo>
                    <a:pt x="66" y="648"/>
                  </a:lnTo>
                  <a:lnTo>
                    <a:pt x="108" y="648"/>
                  </a:lnTo>
                  <a:lnTo>
                    <a:pt x="174" y="642"/>
                  </a:lnTo>
                  <a:lnTo>
                    <a:pt x="216" y="636"/>
                  </a:lnTo>
                  <a:lnTo>
                    <a:pt x="240" y="630"/>
                  </a:lnTo>
                  <a:lnTo>
                    <a:pt x="246" y="618"/>
                  </a:lnTo>
                  <a:lnTo>
                    <a:pt x="264" y="600"/>
                  </a:lnTo>
                  <a:lnTo>
                    <a:pt x="294" y="582"/>
                  </a:lnTo>
                  <a:lnTo>
                    <a:pt x="318" y="552"/>
                  </a:lnTo>
                  <a:lnTo>
                    <a:pt x="330" y="546"/>
                  </a:lnTo>
                  <a:lnTo>
                    <a:pt x="348" y="510"/>
                  </a:lnTo>
                  <a:lnTo>
                    <a:pt x="372" y="474"/>
                  </a:lnTo>
                  <a:lnTo>
                    <a:pt x="384" y="444"/>
                  </a:lnTo>
                  <a:lnTo>
                    <a:pt x="396" y="420"/>
                  </a:lnTo>
                  <a:lnTo>
                    <a:pt x="402" y="378"/>
                  </a:lnTo>
                  <a:lnTo>
                    <a:pt x="402" y="228"/>
                  </a:lnTo>
                  <a:lnTo>
                    <a:pt x="414" y="186"/>
                  </a:lnTo>
                  <a:lnTo>
                    <a:pt x="432" y="138"/>
                  </a:lnTo>
                  <a:lnTo>
                    <a:pt x="438" y="114"/>
                  </a:lnTo>
                  <a:lnTo>
                    <a:pt x="444" y="96"/>
                  </a:lnTo>
                  <a:lnTo>
                    <a:pt x="462" y="84"/>
                  </a:lnTo>
                  <a:lnTo>
                    <a:pt x="474" y="78"/>
                  </a:lnTo>
                  <a:lnTo>
                    <a:pt x="492" y="72"/>
                  </a:lnTo>
                  <a:lnTo>
                    <a:pt x="492" y="66"/>
                  </a:lnTo>
                  <a:lnTo>
                    <a:pt x="498" y="66"/>
                  </a:lnTo>
                  <a:lnTo>
                    <a:pt x="510" y="66"/>
                  </a:lnTo>
                  <a:lnTo>
                    <a:pt x="510" y="72"/>
                  </a:lnTo>
                  <a:lnTo>
                    <a:pt x="516" y="72"/>
                  </a:lnTo>
                  <a:lnTo>
                    <a:pt x="522" y="78"/>
                  </a:lnTo>
                  <a:lnTo>
                    <a:pt x="546" y="78"/>
                  </a:lnTo>
                  <a:lnTo>
                    <a:pt x="552" y="60"/>
                  </a:lnTo>
                  <a:lnTo>
                    <a:pt x="570" y="42"/>
                  </a:lnTo>
                  <a:lnTo>
                    <a:pt x="576" y="24"/>
                  </a:lnTo>
                  <a:lnTo>
                    <a:pt x="588" y="18"/>
                  </a:lnTo>
                  <a:lnTo>
                    <a:pt x="588" y="12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624" y="0"/>
                  </a:lnTo>
                  <a:lnTo>
                    <a:pt x="636" y="6"/>
                  </a:lnTo>
                  <a:lnTo>
                    <a:pt x="648" y="24"/>
                  </a:lnTo>
                  <a:lnTo>
                    <a:pt x="654" y="48"/>
                  </a:lnTo>
                  <a:lnTo>
                    <a:pt x="672" y="60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0" y="72"/>
                  </a:lnTo>
                  <a:lnTo>
                    <a:pt x="690" y="78"/>
                  </a:lnTo>
                  <a:lnTo>
                    <a:pt x="696" y="90"/>
                  </a:lnTo>
                  <a:lnTo>
                    <a:pt x="714" y="114"/>
                  </a:lnTo>
                  <a:lnTo>
                    <a:pt x="714" y="120"/>
                  </a:lnTo>
                  <a:lnTo>
                    <a:pt x="720" y="132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20" y="150"/>
                  </a:lnTo>
                  <a:lnTo>
                    <a:pt x="714" y="150"/>
                  </a:lnTo>
                  <a:lnTo>
                    <a:pt x="714" y="156"/>
                  </a:lnTo>
                  <a:lnTo>
                    <a:pt x="714" y="162"/>
                  </a:lnTo>
                  <a:lnTo>
                    <a:pt x="708" y="162"/>
                  </a:lnTo>
                  <a:lnTo>
                    <a:pt x="708" y="168"/>
                  </a:lnTo>
                  <a:lnTo>
                    <a:pt x="702" y="168"/>
                  </a:lnTo>
                  <a:lnTo>
                    <a:pt x="702" y="174"/>
                  </a:lnTo>
                  <a:lnTo>
                    <a:pt x="702" y="180"/>
                  </a:lnTo>
                  <a:lnTo>
                    <a:pt x="708" y="180"/>
                  </a:lnTo>
                  <a:lnTo>
                    <a:pt x="708" y="186"/>
                  </a:lnTo>
                  <a:lnTo>
                    <a:pt x="708" y="192"/>
                  </a:lnTo>
                  <a:lnTo>
                    <a:pt x="714" y="204"/>
                  </a:lnTo>
                  <a:lnTo>
                    <a:pt x="726" y="216"/>
                  </a:lnTo>
                  <a:lnTo>
                    <a:pt x="738" y="216"/>
                  </a:lnTo>
                  <a:lnTo>
                    <a:pt x="768" y="222"/>
                  </a:lnTo>
                  <a:lnTo>
                    <a:pt x="780" y="216"/>
                  </a:lnTo>
                  <a:lnTo>
                    <a:pt x="792" y="204"/>
                  </a:lnTo>
                  <a:lnTo>
                    <a:pt x="798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6" y="192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6" y="174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22" y="156"/>
                  </a:lnTo>
                  <a:lnTo>
                    <a:pt x="822" y="150"/>
                  </a:lnTo>
                  <a:lnTo>
                    <a:pt x="828" y="144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8" y="138"/>
                  </a:lnTo>
                  <a:lnTo>
                    <a:pt x="834" y="132"/>
                  </a:lnTo>
                  <a:lnTo>
                    <a:pt x="840" y="132"/>
                  </a:lnTo>
                  <a:lnTo>
                    <a:pt x="864" y="126"/>
                  </a:lnTo>
                  <a:lnTo>
                    <a:pt x="906" y="144"/>
                  </a:lnTo>
                  <a:lnTo>
                    <a:pt x="906" y="150"/>
                  </a:lnTo>
                  <a:lnTo>
                    <a:pt x="906" y="156"/>
                  </a:lnTo>
                  <a:lnTo>
                    <a:pt x="900" y="162"/>
                  </a:lnTo>
                  <a:lnTo>
                    <a:pt x="924" y="168"/>
                  </a:lnTo>
                  <a:lnTo>
                    <a:pt x="942" y="192"/>
                  </a:lnTo>
                  <a:lnTo>
                    <a:pt x="972" y="210"/>
                  </a:lnTo>
                  <a:lnTo>
                    <a:pt x="972" y="216"/>
                  </a:lnTo>
                  <a:lnTo>
                    <a:pt x="972" y="228"/>
                  </a:lnTo>
                  <a:lnTo>
                    <a:pt x="978" y="234"/>
                  </a:lnTo>
                  <a:lnTo>
                    <a:pt x="978" y="246"/>
                  </a:lnTo>
                  <a:lnTo>
                    <a:pt x="984" y="252"/>
                  </a:lnTo>
                  <a:lnTo>
                    <a:pt x="1014" y="252"/>
                  </a:lnTo>
                  <a:lnTo>
                    <a:pt x="1020" y="228"/>
                  </a:lnTo>
                  <a:lnTo>
                    <a:pt x="1026" y="198"/>
                  </a:lnTo>
                  <a:lnTo>
                    <a:pt x="1050" y="186"/>
                  </a:lnTo>
                  <a:lnTo>
                    <a:pt x="1056" y="180"/>
                  </a:lnTo>
                  <a:lnTo>
                    <a:pt x="1050" y="174"/>
                  </a:lnTo>
                  <a:lnTo>
                    <a:pt x="1050" y="168"/>
                  </a:lnTo>
                  <a:lnTo>
                    <a:pt x="1050" y="162"/>
                  </a:lnTo>
                  <a:lnTo>
                    <a:pt x="1056" y="162"/>
                  </a:lnTo>
                  <a:lnTo>
                    <a:pt x="1062" y="162"/>
                  </a:lnTo>
                  <a:lnTo>
                    <a:pt x="1074" y="162"/>
                  </a:lnTo>
                  <a:lnTo>
                    <a:pt x="1074" y="144"/>
                  </a:lnTo>
                  <a:lnTo>
                    <a:pt x="1074" y="120"/>
                  </a:lnTo>
                  <a:lnTo>
                    <a:pt x="1092" y="120"/>
                  </a:lnTo>
                  <a:lnTo>
                    <a:pt x="1098" y="126"/>
                  </a:lnTo>
                  <a:lnTo>
                    <a:pt x="1134" y="132"/>
                  </a:lnTo>
                  <a:lnTo>
                    <a:pt x="1146" y="132"/>
                  </a:lnTo>
                  <a:lnTo>
                    <a:pt x="1158" y="150"/>
                  </a:lnTo>
                  <a:lnTo>
                    <a:pt x="1158" y="156"/>
                  </a:lnTo>
                  <a:lnTo>
                    <a:pt x="1158" y="162"/>
                  </a:lnTo>
                  <a:lnTo>
                    <a:pt x="1158" y="180"/>
                  </a:lnTo>
                  <a:lnTo>
                    <a:pt x="1158" y="186"/>
                  </a:lnTo>
                  <a:lnTo>
                    <a:pt x="1164" y="192"/>
                  </a:lnTo>
                  <a:lnTo>
                    <a:pt x="1176" y="198"/>
                  </a:lnTo>
                  <a:lnTo>
                    <a:pt x="1182" y="198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8"/>
                  </a:lnTo>
                  <a:lnTo>
                    <a:pt x="1188" y="234"/>
                  </a:lnTo>
                  <a:lnTo>
                    <a:pt x="1212" y="234"/>
                  </a:lnTo>
                  <a:lnTo>
                    <a:pt x="1242" y="234"/>
                  </a:lnTo>
                  <a:lnTo>
                    <a:pt x="1248" y="234"/>
                  </a:lnTo>
                  <a:lnTo>
                    <a:pt x="1278" y="240"/>
                  </a:lnTo>
                  <a:lnTo>
                    <a:pt x="1320" y="234"/>
                  </a:lnTo>
                  <a:lnTo>
                    <a:pt x="1332" y="228"/>
                  </a:lnTo>
                  <a:lnTo>
                    <a:pt x="1344" y="228"/>
                  </a:lnTo>
                  <a:lnTo>
                    <a:pt x="1350" y="234"/>
                  </a:lnTo>
                  <a:lnTo>
                    <a:pt x="1350" y="240"/>
                  </a:lnTo>
                  <a:lnTo>
                    <a:pt x="1356" y="246"/>
                  </a:lnTo>
                  <a:lnTo>
                    <a:pt x="1350" y="252"/>
                  </a:lnTo>
                  <a:lnTo>
                    <a:pt x="1356" y="264"/>
                  </a:lnTo>
                  <a:lnTo>
                    <a:pt x="1356" y="270"/>
                  </a:lnTo>
                  <a:lnTo>
                    <a:pt x="1356" y="276"/>
                  </a:lnTo>
                  <a:lnTo>
                    <a:pt x="1356" y="282"/>
                  </a:lnTo>
                  <a:lnTo>
                    <a:pt x="1356" y="288"/>
                  </a:lnTo>
                  <a:lnTo>
                    <a:pt x="1350" y="294"/>
                  </a:lnTo>
                  <a:lnTo>
                    <a:pt x="1344" y="300"/>
                  </a:lnTo>
                  <a:lnTo>
                    <a:pt x="1344" y="306"/>
                  </a:lnTo>
                  <a:lnTo>
                    <a:pt x="1338" y="312"/>
                  </a:lnTo>
                  <a:lnTo>
                    <a:pt x="1326" y="342"/>
                  </a:lnTo>
                  <a:lnTo>
                    <a:pt x="1320" y="348"/>
                  </a:lnTo>
                  <a:lnTo>
                    <a:pt x="1314" y="354"/>
                  </a:lnTo>
                  <a:lnTo>
                    <a:pt x="1290" y="354"/>
                  </a:lnTo>
                  <a:lnTo>
                    <a:pt x="1284" y="360"/>
                  </a:lnTo>
                  <a:lnTo>
                    <a:pt x="1278" y="378"/>
                  </a:lnTo>
                  <a:lnTo>
                    <a:pt x="1278" y="384"/>
                  </a:lnTo>
                  <a:lnTo>
                    <a:pt x="1272" y="390"/>
                  </a:lnTo>
                  <a:lnTo>
                    <a:pt x="1266" y="396"/>
                  </a:lnTo>
                  <a:lnTo>
                    <a:pt x="1260" y="396"/>
                  </a:lnTo>
                  <a:lnTo>
                    <a:pt x="1248" y="402"/>
                  </a:lnTo>
                  <a:lnTo>
                    <a:pt x="1242" y="408"/>
                  </a:lnTo>
                  <a:lnTo>
                    <a:pt x="1242" y="414"/>
                  </a:lnTo>
                  <a:lnTo>
                    <a:pt x="1242" y="420"/>
                  </a:lnTo>
                  <a:lnTo>
                    <a:pt x="1236" y="432"/>
                  </a:lnTo>
                  <a:lnTo>
                    <a:pt x="1242" y="432"/>
                  </a:lnTo>
                  <a:lnTo>
                    <a:pt x="1242" y="444"/>
                  </a:lnTo>
                  <a:lnTo>
                    <a:pt x="1242" y="456"/>
                  </a:lnTo>
                  <a:lnTo>
                    <a:pt x="1248" y="456"/>
                  </a:lnTo>
                  <a:lnTo>
                    <a:pt x="1254" y="462"/>
                  </a:lnTo>
                  <a:lnTo>
                    <a:pt x="1248" y="468"/>
                  </a:lnTo>
                  <a:lnTo>
                    <a:pt x="1254" y="468"/>
                  </a:lnTo>
                  <a:lnTo>
                    <a:pt x="1266" y="474"/>
                  </a:lnTo>
                  <a:lnTo>
                    <a:pt x="1266" y="480"/>
                  </a:lnTo>
                  <a:lnTo>
                    <a:pt x="1266" y="486"/>
                  </a:lnTo>
                  <a:lnTo>
                    <a:pt x="1272" y="486"/>
                  </a:lnTo>
                  <a:lnTo>
                    <a:pt x="1272" y="492"/>
                  </a:lnTo>
                  <a:lnTo>
                    <a:pt x="1290" y="510"/>
                  </a:lnTo>
                  <a:lnTo>
                    <a:pt x="1296" y="516"/>
                  </a:lnTo>
                  <a:lnTo>
                    <a:pt x="1302" y="540"/>
                  </a:lnTo>
                  <a:lnTo>
                    <a:pt x="1302" y="546"/>
                  </a:lnTo>
                  <a:lnTo>
                    <a:pt x="1302" y="558"/>
                  </a:lnTo>
                  <a:lnTo>
                    <a:pt x="1302" y="570"/>
                  </a:lnTo>
                  <a:lnTo>
                    <a:pt x="1302" y="576"/>
                  </a:lnTo>
                  <a:lnTo>
                    <a:pt x="1344" y="570"/>
                  </a:lnTo>
                  <a:lnTo>
                    <a:pt x="1350" y="582"/>
                  </a:lnTo>
                  <a:lnTo>
                    <a:pt x="1368" y="594"/>
                  </a:lnTo>
                  <a:lnTo>
                    <a:pt x="1374" y="600"/>
                  </a:lnTo>
                  <a:lnTo>
                    <a:pt x="1380" y="600"/>
                  </a:lnTo>
                  <a:lnTo>
                    <a:pt x="1380" y="618"/>
                  </a:lnTo>
                  <a:lnTo>
                    <a:pt x="1386" y="624"/>
                  </a:lnTo>
                  <a:lnTo>
                    <a:pt x="1404" y="624"/>
                  </a:lnTo>
                  <a:lnTo>
                    <a:pt x="1410" y="612"/>
                  </a:lnTo>
                  <a:lnTo>
                    <a:pt x="1428" y="606"/>
                  </a:lnTo>
                  <a:lnTo>
                    <a:pt x="1488" y="606"/>
                  </a:lnTo>
                  <a:lnTo>
                    <a:pt x="1506" y="606"/>
                  </a:lnTo>
                  <a:lnTo>
                    <a:pt x="1512" y="600"/>
                  </a:lnTo>
                  <a:lnTo>
                    <a:pt x="1524" y="594"/>
                  </a:lnTo>
                  <a:lnTo>
                    <a:pt x="1554" y="594"/>
                  </a:lnTo>
                  <a:lnTo>
                    <a:pt x="1578" y="606"/>
                  </a:lnTo>
                  <a:lnTo>
                    <a:pt x="1596" y="624"/>
                  </a:lnTo>
                  <a:lnTo>
                    <a:pt x="1650" y="642"/>
                  </a:lnTo>
                  <a:lnTo>
                    <a:pt x="1686" y="648"/>
                  </a:lnTo>
                  <a:lnTo>
                    <a:pt x="1698" y="654"/>
                  </a:lnTo>
                  <a:lnTo>
                    <a:pt x="1698" y="660"/>
                  </a:lnTo>
                  <a:lnTo>
                    <a:pt x="1692" y="666"/>
                  </a:lnTo>
                  <a:lnTo>
                    <a:pt x="1692" y="672"/>
                  </a:lnTo>
                  <a:lnTo>
                    <a:pt x="1698" y="678"/>
                  </a:lnTo>
                  <a:lnTo>
                    <a:pt x="1698" y="684"/>
                  </a:lnTo>
                  <a:lnTo>
                    <a:pt x="1692" y="684"/>
                  </a:lnTo>
                  <a:lnTo>
                    <a:pt x="1692" y="690"/>
                  </a:lnTo>
                  <a:lnTo>
                    <a:pt x="1698" y="696"/>
                  </a:lnTo>
                  <a:lnTo>
                    <a:pt x="1698" y="702"/>
                  </a:lnTo>
                  <a:lnTo>
                    <a:pt x="1698" y="708"/>
                  </a:lnTo>
                  <a:lnTo>
                    <a:pt x="1704" y="714"/>
                  </a:lnTo>
                  <a:lnTo>
                    <a:pt x="1704" y="720"/>
                  </a:lnTo>
                  <a:lnTo>
                    <a:pt x="1704" y="726"/>
                  </a:lnTo>
                  <a:lnTo>
                    <a:pt x="1704" y="732"/>
                  </a:lnTo>
                  <a:lnTo>
                    <a:pt x="1704" y="738"/>
                  </a:lnTo>
                  <a:lnTo>
                    <a:pt x="1698" y="726"/>
                  </a:lnTo>
                  <a:lnTo>
                    <a:pt x="1668" y="720"/>
                  </a:lnTo>
                  <a:lnTo>
                    <a:pt x="1626" y="714"/>
                  </a:lnTo>
                  <a:lnTo>
                    <a:pt x="1614" y="708"/>
                  </a:lnTo>
                  <a:lnTo>
                    <a:pt x="1578" y="696"/>
                  </a:lnTo>
                  <a:lnTo>
                    <a:pt x="1566" y="696"/>
                  </a:lnTo>
                  <a:lnTo>
                    <a:pt x="1548" y="702"/>
                  </a:lnTo>
                  <a:lnTo>
                    <a:pt x="1542" y="714"/>
                  </a:lnTo>
                  <a:lnTo>
                    <a:pt x="1536" y="732"/>
                  </a:lnTo>
                  <a:lnTo>
                    <a:pt x="1530" y="750"/>
                  </a:lnTo>
                  <a:lnTo>
                    <a:pt x="1536" y="750"/>
                  </a:lnTo>
                  <a:lnTo>
                    <a:pt x="1542" y="756"/>
                  </a:lnTo>
                  <a:lnTo>
                    <a:pt x="1542" y="762"/>
                  </a:lnTo>
                  <a:lnTo>
                    <a:pt x="1548" y="762"/>
                  </a:lnTo>
                  <a:lnTo>
                    <a:pt x="1554" y="762"/>
                  </a:lnTo>
                  <a:lnTo>
                    <a:pt x="1554" y="768"/>
                  </a:lnTo>
                  <a:lnTo>
                    <a:pt x="1560" y="774"/>
                  </a:lnTo>
                  <a:lnTo>
                    <a:pt x="1566" y="774"/>
                  </a:lnTo>
                  <a:lnTo>
                    <a:pt x="1584" y="792"/>
                  </a:lnTo>
                  <a:lnTo>
                    <a:pt x="1584" y="810"/>
                  </a:lnTo>
                  <a:lnTo>
                    <a:pt x="1572" y="816"/>
                  </a:lnTo>
                  <a:lnTo>
                    <a:pt x="1578" y="834"/>
                  </a:lnTo>
                  <a:lnTo>
                    <a:pt x="1578" y="846"/>
                  </a:lnTo>
                  <a:lnTo>
                    <a:pt x="1584" y="858"/>
                  </a:lnTo>
                  <a:lnTo>
                    <a:pt x="1590" y="864"/>
                  </a:lnTo>
                  <a:lnTo>
                    <a:pt x="1590" y="876"/>
                  </a:lnTo>
                  <a:lnTo>
                    <a:pt x="1578" y="888"/>
                  </a:lnTo>
                  <a:lnTo>
                    <a:pt x="1560" y="906"/>
                  </a:lnTo>
                  <a:lnTo>
                    <a:pt x="1536" y="930"/>
                  </a:lnTo>
                  <a:lnTo>
                    <a:pt x="1530" y="930"/>
                  </a:lnTo>
                  <a:lnTo>
                    <a:pt x="1506" y="942"/>
                  </a:lnTo>
                  <a:lnTo>
                    <a:pt x="1488" y="948"/>
                  </a:lnTo>
                  <a:lnTo>
                    <a:pt x="1476" y="954"/>
                  </a:lnTo>
                  <a:lnTo>
                    <a:pt x="1458" y="960"/>
                  </a:lnTo>
                  <a:lnTo>
                    <a:pt x="1452" y="966"/>
                  </a:lnTo>
                  <a:lnTo>
                    <a:pt x="1446" y="966"/>
                  </a:lnTo>
                  <a:lnTo>
                    <a:pt x="1434" y="972"/>
                  </a:lnTo>
                  <a:lnTo>
                    <a:pt x="1434" y="954"/>
                  </a:lnTo>
                  <a:lnTo>
                    <a:pt x="1422" y="942"/>
                  </a:lnTo>
                  <a:lnTo>
                    <a:pt x="1398" y="924"/>
                  </a:lnTo>
                  <a:lnTo>
                    <a:pt x="1398" y="912"/>
                  </a:lnTo>
                  <a:lnTo>
                    <a:pt x="1398" y="906"/>
                  </a:lnTo>
                  <a:lnTo>
                    <a:pt x="1398" y="900"/>
                  </a:lnTo>
                  <a:lnTo>
                    <a:pt x="1380" y="900"/>
                  </a:lnTo>
                  <a:lnTo>
                    <a:pt x="1380" y="894"/>
                  </a:lnTo>
                  <a:lnTo>
                    <a:pt x="1368" y="888"/>
                  </a:lnTo>
                  <a:lnTo>
                    <a:pt x="1362" y="882"/>
                  </a:lnTo>
                  <a:lnTo>
                    <a:pt x="1356" y="876"/>
                  </a:lnTo>
                  <a:lnTo>
                    <a:pt x="1350" y="864"/>
                  </a:lnTo>
                  <a:lnTo>
                    <a:pt x="1344" y="858"/>
                  </a:lnTo>
                  <a:lnTo>
                    <a:pt x="1314" y="870"/>
                  </a:lnTo>
                  <a:lnTo>
                    <a:pt x="1272" y="876"/>
                  </a:lnTo>
                  <a:lnTo>
                    <a:pt x="1218" y="870"/>
                  </a:lnTo>
                  <a:lnTo>
                    <a:pt x="1200" y="864"/>
                  </a:lnTo>
                  <a:lnTo>
                    <a:pt x="1182" y="864"/>
                  </a:lnTo>
                  <a:lnTo>
                    <a:pt x="1134" y="858"/>
                  </a:lnTo>
                  <a:lnTo>
                    <a:pt x="1110" y="840"/>
                  </a:lnTo>
                  <a:lnTo>
                    <a:pt x="1086" y="828"/>
                  </a:lnTo>
                  <a:lnTo>
                    <a:pt x="1044" y="816"/>
                  </a:lnTo>
                  <a:lnTo>
                    <a:pt x="1014" y="816"/>
                  </a:lnTo>
                  <a:lnTo>
                    <a:pt x="990" y="822"/>
                  </a:lnTo>
                  <a:lnTo>
                    <a:pt x="948" y="858"/>
                  </a:lnTo>
                  <a:lnTo>
                    <a:pt x="930" y="864"/>
                  </a:lnTo>
                  <a:lnTo>
                    <a:pt x="924" y="876"/>
                  </a:lnTo>
                  <a:lnTo>
                    <a:pt x="918" y="906"/>
                  </a:lnTo>
                  <a:lnTo>
                    <a:pt x="924" y="930"/>
                  </a:lnTo>
                  <a:lnTo>
                    <a:pt x="948" y="984"/>
                  </a:lnTo>
                  <a:lnTo>
                    <a:pt x="954" y="1008"/>
                  </a:lnTo>
                  <a:lnTo>
                    <a:pt x="948" y="1014"/>
                  </a:lnTo>
                  <a:lnTo>
                    <a:pt x="954" y="1014"/>
                  </a:lnTo>
                  <a:lnTo>
                    <a:pt x="954" y="1032"/>
                  </a:lnTo>
                  <a:lnTo>
                    <a:pt x="966" y="1044"/>
                  </a:lnTo>
                  <a:lnTo>
                    <a:pt x="960" y="1056"/>
                  </a:lnTo>
                  <a:lnTo>
                    <a:pt x="954" y="1056"/>
                  </a:lnTo>
                  <a:lnTo>
                    <a:pt x="948" y="1056"/>
                  </a:lnTo>
                  <a:lnTo>
                    <a:pt x="942" y="1056"/>
                  </a:lnTo>
                  <a:lnTo>
                    <a:pt x="936" y="1050"/>
                  </a:lnTo>
                  <a:lnTo>
                    <a:pt x="930" y="1044"/>
                  </a:lnTo>
                  <a:lnTo>
                    <a:pt x="924" y="1044"/>
                  </a:lnTo>
                  <a:lnTo>
                    <a:pt x="918" y="1038"/>
                  </a:lnTo>
                  <a:lnTo>
                    <a:pt x="912" y="1038"/>
                  </a:lnTo>
                  <a:lnTo>
                    <a:pt x="906" y="1032"/>
                  </a:lnTo>
                  <a:lnTo>
                    <a:pt x="900" y="1032"/>
                  </a:lnTo>
                  <a:lnTo>
                    <a:pt x="888" y="1026"/>
                  </a:lnTo>
                  <a:lnTo>
                    <a:pt x="882" y="1026"/>
                  </a:lnTo>
                  <a:lnTo>
                    <a:pt x="876" y="1026"/>
                  </a:lnTo>
                  <a:lnTo>
                    <a:pt x="864" y="1014"/>
                  </a:lnTo>
                  <a:lnTo>
                    <a:pt x="846" y="1008"/>
                  </a:lnTo>
                  <a:lnTo>
                    <a:pt x="840" y="996"/>
                  </a:lnTo>
                  <a:lnTo>
                    <a:pt x="840" y="990"/>
                  </a:lnTo>
                  <a:lnTo>
                    <a:pt x="834" y="990"/>
                  </a:lnTo>
                  <a:lnTo>
                    <a:pt x="828" y="990"/>
                  </a:lnTo>
                  <a:lnTo>
                    <a:pt x="816" y="990"/>
                  </a:lnTo>
                  <a:lnTo>
                    <a:pt x="810" y="990"/>
                  </a:lnTo>
                  <a:lnTo>
                    <a:pt x="804" y="984"/>
                  </a:lnTo>
                  <a:lnTo>
                    <a:pt x="792" y="978"/>
                  </a:lnTo>
                  <a:lnTo>
                    <a:pt x="786" y="972"/>
                  </a:lnTo>
                  <a:lnTo>
                    <a:pt x="780" y="972"/>
                  </a:lnTo>
                  <a:lnTo>
                    <a:pt x="768" y="966"/>
                  </a:lnTo>
                  <a:lnTo>
                    <a:pt x="762" y="966"/>
                  </a:lnTo>
                  <a:lnTo>
                    <a:pt x="756" y="966"/>
                  </a:lnTo>
                  <a:lnTo>
                    <a:pt x="750" y="966"/>
                  </a:lnTo>
                  <a:lnTo>
                    <a:pt x="744" y="966"/>
                  </a:lnTo>
                  <a:lnTo>
                    <a:pt x="738" y="960"/>
                  </a:lnTo>
                  <a:lnTo>
                    <a:pt x="732" y="954"/>
                  </a:lnTo>
                  <a:lnTo>
                    <a:pt x="720" y="954"/>
                  </a:lnTo>
                  <a:lnTo>
                    <a:pt x="714" y="948"/>
                  </a:lnTo>
                  <a:lnTo>
                    <a:pt x="708" y="948"/>
                  </a:lnTo>
                  <a:lnTo>
                    <a:pt x="696" y="948"/>
                  </a:lnTo>
                  <a:lnTo>
                    <a:pt x="684" y="942"/>
                  </a:lnTo>
                  <a:lnTo>
                    <a:pt x="678" y="936"/>
                  </a:lnTo>
                  <a:lnTo>
                    <a:pt x="660" y="930"/>
                  </a:lnTo>
                  <a:lnTo>
                    <a:pt x="642" y="924"/>
                  </a:lnTo>
                  <a:lnTo>
                    <a:pt x="636" y="924"/>
                  </a:lnTo>
                  <a:lnTo>
                    <a:pt x="630" y="924"/>
                  </a:lnTo>
                  <a:lnTo>
                    <a:pt x="618" y="924"/>
                  </a:lnTo>
                  <a:lnTo>
                    <a:pt x="618" y="918"/>
                  </a:lnTo>
                  <a:lnTo>
                    <a:pt x="606" y="918"/>
                  </a:lnTo>
                  <a:lnTo>
                    <a:pt x="600" y="918"/>
                  </a:lnTo>
                  <a:lnTo>
                    <a:pt x="594" y="918"/>
                  </a:lnTo>
                  <a:lnTo>
                    <a:pt x="594" y="912"/>
                  </a:lnTo>
                  <a:lnTo>
                    <a:pt x="588" y="912"/>
                  </a:lnTo>
                  <a:lnTo>
                    <a:pt x="582" y="912"/>
                  </a:lnTo>
                  <a:lnTo>
                    <a:pt x="582" y="918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58" y="918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12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00"/>
                  </a:lnTo>
                  <a:lnTo>
                    <a:pt x="516" y="900"/>
                  </a:lnTo>
                  <a:lnTo>
                    <a:pt x="510" y="900"/>
                  </a:lnTo>
                  <a:lnTo>
                    <a:pt x="486" y="894"/>
                  </a:lnTo>
                  <a:lnTo>
                    <a:pt x="474" y="888"/>
                  </a:lnTo>
                  <a:lnTo>
                    <a:pt x="468" y="888"/>
                  </a:lnTo>
                  <a:lnTo>
                    <a:pt x="450" y="888"/>
                  </a:lnTo>
                  <a:close/>
                </a:path>
              </a:pathLst>
            </a:custGeom>
            <a:solidFill>
              <a:srgbClr val="BFBFBF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0" name="Freeform 15">
              <a:extLst>
                <a:ext uri="{FF2B5EF4-FFF2-40B4-BE49-F238E27FC236}">
                  <a16:creationId xmlns:a16="http://schemas.microsoft.com/office/drawing/2014/main" id="{8B991D7A-45C6-40F6-A035-24DFC733305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382" y="2652043"/>
              <a:ext cx="724526" cy="695552"/>
            </a:xfrm>
            <a:custGeom>
              <a:avLst/>
              <a:gdLst>
                <a:gd name="T0" fmla="*/ 44 w 1362"/>
                <a:gd name="T1" fmla="*/ 106 h 1308"/>
                <a:gd name="T2" fmla="*/ 32 w 1362"/>
                <a:gd name="T3" fmla="*/ 109 h 1308"/>
                <a:gd name="T4" fmla="*/ 25 w 1362"/>
                <a:gd name="T5" fmla="*/ 105 h 1308"/>
                <a:gd name="T6" fmla="*/ 22 w 1362"/>
                <a:gd name="T7" fmla="*/ 97 h 1308"/>
                <a:gd name="T8" fmla="*/ 21 w 1362"/>
                <a:gd name="T9" fmla="*/ 95 h 1308"/>
                <a:gd name="T10" fmla="*/ 20 w 1362"/>
                <a:gd name="T11" fmla="*/ 90 h 1308"/>
                <a:gd name="T12" fmla="*/ 23 w 1362"/>
                <a:gd name="T13" fmla="*/ 87 h 1308"/>
                <a:gd name="T14" fmla="*/ 29 w 1362"/>
                <a:gd name="T15" fmla="*/ 81 h 1308"/>
                <a:gd name="T16" fmla="*/ 30 w 1362"/>
                <a:gd name="T17" fmla="*/ 78 h 1308"/>
                <a:gd name="T18" fmla="*/ 27 w 1362"/>
                <a:gd name="T19" fmla="*/ 75 h 1308"/>
                <a:gd name="T20" fmla="*/ 15 w 1362"/>
                <a:gd name="T21" fmla="*/ 73 h 1308"/>
                <a:gd name="T22" fmla="*/ 12 w 1362"/>
                <a:gd name="T23" fmla="*/ 69 h 1308"/>
                <a:gd name="T24" fmla="*/ 5 w 1362"/>
                <a:gd name="T25" fmla="*/ 65 h 1308"/>
                <a:gd name="T26" fmla="*/ 6 w 1362"/>
                <a:gd name="T27" fmla="*/ 62 h 1308"/>
                <a:gd name="T28" fmla="*/ 7 w 1362"/>
                <a:gd name="T29" fmla="*/ 56 h 1308"/>
                <a:gd name="T30" fmla="*/ 2 w 1362"/>
                <a:gd name="T31" fmla="*/ 49 h 1308"/>
                <a:gd name="T32" fmla="*/ 0 w 1362"/>
                <a:gd name="T33" fmla="*/ 44 h 1308"/>
                <a:gd name="T34" fmla="*/ 0 w 1362"/>
                <a:gd name="T35" fmla="*/ 39 h 1308"/>
                <a:gd name="T36" fmla="*/ 3 w 1362"/>
                <a:gd name="T37" fmla="*/ 35 h 1308"/>
                <a:gd name="T38" fmla="*/ 3 w 1362"/>
                <a:gd name="T39" fmla="*/ 28 h 1308"/>
                <a:gd name="T40" fmla="*/ 6 w 1362"/>
                <a:gd name="T41" fmla="*/ 18 h 1308"/>
                <a:gd name="T42" fmla="*/ 6 w 1362"/>
                <a:gd name="T43" fmla="*/ 8 h 1308"/>
                <a:gd name="T44" fmla="*/ 10 w 1362"/>
                <a:gd name="T45" fmla="*/ 5 h 1308"/>
                <a:gd name="T46" fmla="*/ 15 w 1362"/>
                <a:gd name="T47" fmla="*/ 0 h 1308"/>
                <a:gd name="T48" fmla="*/ 21 w 1362"/>
                <a:gd name="T49" fmla="*/ 7 h 1308"/>
                <a:gd name="T50" fmla="*/ 25 w 1362"/>
                <a:gd name="T51" fmla="*/ 15 h 1308"/>
                <a:gd name="T52" fmla="*/ 24 w 1362"/>
                <a:gd name="T53" fmla="*/ 19 h 1308"/>
                <a:gd name="T54" fmla="*/ 32 w 1362"/>
                <a:gd name="T55" fmla="*/ 19 h 1308"/>
                <a:gd name="T56" fmla="*/ 35 w 1362"/>
                <a:gd name="T57" fmla="*/ 20 h 1308"/>
                <a:gd name="T58" fmla="*/ 40 w 1362"/>
                <a:gd name="T59" fmla="*/ 23 h 1308"/>
                <a:gd name="T60" fmla="*/ 40 w 1362"/>
                <a:gd name="T61" fmla="*/ 26 h 1308"/>
                <a:gd name="T62" fmla="*/ 34 w 1362"/>
                <a:gd name="T63" fmla="*/ 35 h 1308"/>
                <a:gd name="T64" fmla="*/ 41 w 1362"/>
                <a:gd name="T65" fmla="*/ 37 h 1308"/>
                <a:gd name="T66" fmla="*/ 43 w 1362"/>
                <a:gd name="T67" fmla="*/ 44 h 1308"/>
                <a:gd name="T68" fmla="*/ 48 w 1362"/>
                <a:gd name="T69" fmla="*/ 47 h 1308"/>
                <a:gd name="T70" fmla="*/ 57 w 1362"/>
                <a:gd name="T71" fmla="*/ 48 h 1308"/>
                <a:gd name="T72" fmla="*/ 70 w 1362"/>
                <a:gd name="T73" fmla="*/ 44 h 1308"/>
                <a:gd name="T74" fmla="*/ 80 w 1362"/>
                <a:gd name="T75" fmla="*/ 34 h 1308"/>
                <a:gd name="T76" fmla="*/ 95 w 1362"/>
                <a:gd name="T77" fmla="*/ 41 h 1308"/>
                <a:gd name="T78" fmla="*/ 109 w 1362"/>
                <a:gd name="T79" fmla="*/ 47 h 1308"/>
                <a:gd name="T80" fmla="*/ 111 w 1362"/>
                <a:gd name="T81" fmla="*/ 50 h 1308"/>
                <a:gd name="T82" fmla="*/ 113 w 1362"/>
                <a:gd name="T83" fmla="*/ 53 h 1308"/>
                <a:gd name="T84" fmla="*/ 113 w 1362"/>
                <a:gd name="T85" fmla="*/ 55 h 1308"/>
                <a:gd name="T86" fmla="*/ 113 w 1362"/>
                <a:gd name="T87" fmla="*/ 59 h 1308"/>
                <a:gd name="T88" fmla="*/ 113 w 1362"/>
                <a:gd name="T89" fmla="*/ 62 h 1308"/>
                <a:gd name="T90" fmla="*/ 115 w 1362"/>
                <a:gd name="T91" fmla="*/ 65 h 1308"/>
                <a:gd name="T92" fmla="*/ 115 w 1362"/>
                <a:gd name="T93" fmla="*/ 67 h 1308"/>
                <a:gd name="T94" fmla="*/ 116 w 1362"/>
                <a:gd name="T95" fmla="*/ 69 h 1308"/>
                <a:gd name="T96" fmla="*/ 116 w 1362"/>
                <a:gd name="T97" fmla="*/ 71 h 1308"/>
                <a:gd name="T98" fmla="*/ 118 w 1362"/>
                <a:gd name="T99" fmla="*/ 75 h 1308"/>
                <a:gd name="T100" fmla="*/ 116 w 1362"/>
                <a:gd name="T101" fmla="*/ 77 h 1308"/>
                <a:gd name="T102" fmla="*/ 116 w 1362"/>
                <a:gd name="T103" fmla="*/ 79 h 1308"/>
                <a:gd name="T104" fmla="*/ 101 w 1362"/>
                <a:gd name="T105" fmla="*/ 87 h 1308"/>
                <a:gd name="T106" fmla="*/ 85 w 1362"/>
                <a:gd name="T107" fmla="*/ 103 h 1308"/>
                <a:gd name="T108" fmla="*/ 67 w 1362"/>
                <a:gd name="T109" fmla="*/ 114 h 130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62"/>
                <a:gd name="T166" fmla="*/ 0 h 1308"/>
                <a:gd name="T167" fmla="*/ 1362 w 1362"/>
                <a:gd name="T168" fmla="*/ 1308 h 130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62" h="1308">
                  <a:moveTo>
                    <a:pt x="684" y="1278"/>
                  </a:moveTo>
                  <a:lnTo>
                    <a:pt x="672" y="1272"/>
                  </a:lnTo>
                  <a:lnTo>
                    <a:pt x="636" y="1266"/>
                  </a:lnTo>
                  <a:lnTo>
                    <a:pt x="582" y="1248"/>
                  </a:lnTo>
                  <a:lnTo>
                    <a:pt x="564" y="1230"/>
                  </a:lnTo>
                  <a:lnTo>
                    <a:pt x="540" y="1218"/>
                  </a:lnTo>
                  <a:lnTo>
                    <a:pt x="510" y="1218"/>
                  </a:lnTo>
                  <a:lnTo>
                    <a:pt x="498" y="1224"/>
                  </a:lnTo>
                  <a:lnTo>
                    <a:pt x="492" y="1230"/>
                  </a:lnTo>
                  <a:lnTo>
                    <a:pt x="474" y="1230"/>
                  </a:lnTo>
                  <a:lnTo>
                    <a:pt x="414" y="1230"/>
                  </a:lnTo>
                  <a:lnTo>
                    <a:pt x="396" y="1236"/>
                  </a:lnTo>
                  <a:lnTo>
                    <a:pt x="390" y="1248"/>
                  </a:lnTo>
                  <a:lnTo>
                    <a:pt x="372" y="1248"/>
                  </a:lnTo>
                  <a:lnTo>
                    <a:pt x="366" y="1242"/>
                  </a:lnTo>
                  <a:lnTo>
                    <a:pt x="366" y="1224"/>
                  </a:lnTo>
                  <a:lnTo>
                    <a:pt x="360" y="1224"/>
                  </a:lnTo>
                  <a:lnTo>
                    <a:pt x="354" y="1218"/>
                  </a:lnTo>
                  <a:lnTo>
                    <a:pt x="336" y="1206"/>
                  </a:lnTo>
                  <a:lnTo>
                    <a:pt x="330" y="1194"/>
                  </a:lnTo>
                  <a:lnTo>
                    <a:pt x="288" y="1200"/>
                  </a:lnTo>
                  <a:lnTo>
                    <a:pt x="288" y="1194"/>
                  </a:lnTo>
                  <a:lnTo>
                    <a:pt x="288" y="1182"/>
                  </a:lnTo>
                  <a:lnTo>
                    <a:pt x="288" y="1170"/>
                  </a:lnTo>
                  <a:lnTo>
                    <a:pt x="288" y="1164"/>
                  </a:lnTo>
                  <a:lnTo>
                    <a:pt x="282" y="1140"/>
                  </a:lnTo>
                  <a:lnTo>
                    <a:pt x="276" y="1134"/>
                  </a:lnTo>
                  <a:lnTo>
                    <a:pt x="258" y="1116"/>
                  </a:lnTo>
                  <a:lnTo>
                    <a:pt x="258" y="1110"/>
                  </a:lnTo>
                  <a:lnTo>
                    <a:pt x="252" y="1110"/>
                  </a:lnTo>
                  <a:lnTo>
                    <a:pt x="252" y="1104"/>
                  </a:lnTo>
                  <a:lnTo>
                    <a:pt x="252" y="1098"/>
                  </a:lnTo>
                  <a:lnTo>
                    <a:pt x="240" y="1092"/>
                  </a:lnTo>
                  <a:lnTo>
                    <a:pt x="234" y="1092"/>
                  </a:lnTo>
                  <a:lnTo>
                    <a:pt x="240" y="1086"/>
                  </a:lnTo>
                  <a:lnTo>
                    <a:pt x="234" y="1080"/>
                  </a:lnTo>
                  <a:lnTo>
                    <a:pt x="228" y="1080"/>
                  </a:lnTo>
                  <a:lnTo>
                    <a:pt x="228" y="1068"/>
                  </a:lnTo>
                  <a:lnTo>
                    <a:pt x="228" y="1056"/>
                  </a:lnTo>
                  <a:lnTo>
                    <a:pt x="222" y="1056"/>
                  </a:lnTo>
                  <a:lnTo>
                    <a:pt x="228" y="1044"/>
                  </a:lnTo>
                  <a:lnTo>
                    <a:pt x="228" y="1038"/>
                  </a:lnTo>
                  <a:lnTo>
                    <a:pt x="228" y="1032"/>
                  </a:lnTo>
                  <a:lnTo>
                    <a:pt x="234" y="1026"/>
                  </a:lnTo>
                  <a:lnTo>
                    <a:pt x="246" y="1020"/>
                  </a:lnTo>
                  <a:lnTo>
                    <a:pt x="252" y="1020"/>
                  </a:lnTo>
                  <a:lnTo>
                    <a:pt x="258" y="1014"/>
                  </a:lnTo>
                  <a:lnTo>
                    <a:pt x="264" y="1008"/>
                  </a:lnTo>
                  <a:lnTo>
                    <a:pt x="264" y="1002"/>
                  </a:lnTo>
                  <a:lnTo>
                    <a:pt x="270" y="984"/>
                  </a:lnTo>
                  <a:lnTo>
                    <a:pt x="276" y="978"/>
                  </a:lnTo>
                  <a:lnTo>
                    <a:pt x="300" y="978"/>
                  </a:lnTo>
                  <a:lnTo>
                    <a:pt x="306" y="972"/>
                  </a:lnTo>
                  <a:lnTo>
                    <a:pt x="312" y="966"/>
                  </a:lnTo>
                  <a:lnTo>
                    <a:pt x="324" y="936"/>
                  </a:lnTo>
                  <a:lnTo>
                    <a:pt x="330" y="930"/>
                  </a:lnTo>
                  <a:lnTo>
                    <a:pt x="330" y="924"/>
                  </a:lnTo>
                  <a:lnTo>
                    <a:pt x="336" y="918"/>
                  </a:lnTo>
                  <a:lnTo>
                    <a:pt x="342" y="912"/>
                  </a:lnTo>
                  <a:lnTo>
                    <a:pt x="342" y="906"/>
                  </a:lnTo>
                  <a:lnTo>
                    <a:pt x="342" y="900"/>
                  </a:lnTo>
                  <a:lnTo>
                    <a:pt x="342" y="894"/>
                  </a:lnTo>
                  <a:lnTo>
                    <a:pt x="342" y="888"/>
                  </a:lnTo>
                  <a:lnTo>
                    <a:pt x="336" y="876"/>
                  </a:lnTo>
                  <a:lnTo>
                    <a:pt x="342" y="870"/>
                  </a:lnTo>
                  <a:lnTo>
                    <a:pt x="336" y="864"/>
                  </a:lnTo>
                  <a:lnTo>
                    <a:pt x="336" y="858"/>
                  </a:lnTo>
                  <a:lnTo>
                    <a:pt x="330" y="852"/>
                  </a:lnTo>
                  <a:lnTo>
                    <a:pt x="318" y="852"/>
                  </a:lnTo>
                  <a:lnTo>
                    <a:pt x="306" y="858"/>
                  </a:lnTo>
                  <a:lnTo>
                    <a:pt x="264" y="864"/>
                  </a:lnTo>
                  <a:lnTo>
                    <a:pt x="234" y="858"/>
                  </a:lnTo>
                  <a:lnTo>
                    <a:pt x="228" y="858"/>
                  </a:lnTo>
                  <a:lnTo>
                    <a:pt x="198" y="858"/>
                  </a:lnTo>
                  <a:lnTo>
                    <a:pt x="174" y="858"/>
                  </a:lnTo>
                  <a:lnTo>
                    <a:pt x="168" y="852"/>
                  </a:lnTo>
                  <a:lnTo>
                    <a:pt x="168" y="840"/>
                  </a:lnTo>
                  <a:lnTo>
                    <a:pt x="168" y="834"/>
                  </a:lnTo>
                  <a:lnTo>
                    <a:pt x="168" y="822"/>
                  </a:lnTo>
                  <a:lnTo>
                    <a:pt x="162" y="822"/>
                  </a:lnTo>
                  <a:lnTo>
                    <a:pt x="150" y="816"/>
                  </a:lnTo>
                  <a:lnTo>
                    <a:pt x="144" y="810"/>
                  </a:lnTo>
                  <a:lnTo>
                    <a:pt x="144" y="804"/>
                  </a:lnTo>
                  <a:lnTo>
                    <a:pt x="144" y="786"/>
                  </a:lnTo>
                  <a:lnTo>
                    <a:pt x="144" y="780"/>
                  </a:lnTo>
                  <a:lnTo>
                    <a:pt x="144" y="774"/>
                  </a:lnTo>
                  <a:lnTo>
                    <a:pt x="132" y="756"/>
                  </a:lnTo>
                  <a:lnTo>
                    <a:pt x="120" y="756"/>
                  </a:lnTo>
                  <a:lnTo>
                    <a:pt x="84" y="750"/>
                  </a:lnTo>
                  <a:lnTo>
                    <a:pt x="78" y="744"/>
                  </a:lnTo>
                  <a:lnTo>
                    <a:pt x="60" y="744"/>
                  </a:lnTo>
                  <a:lnTo>
                    <a:pt x="54" y="726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66" y="720"/>
                  </a:lnTo>
                  <a:lnTo>
                    <a:pt x="66" y="714"/>
                  </a:lnTo>
                  <a:lnTo>
                    <a:pt x="72" y="714"/>
                  </a:lnTo>
                  <a:lnTo>
                    <a:pt x="72" y="708"/>
                  </a:lnTo>
                  <a:lnTo>
                    <a:pt x="78" y="702"/>
                  </a:lnTo>
                  <a:lnTo>
                    <a:pt x="78" y="696"/>
                  </a:lnTo>
                  <a:lnTo>
                    <a:pt x="78" y="690"/>
                  </a:lnTo>
                  <a:lnTo>
                    <a:pt x="84" y="678"/>
                  </a:lnTo>
                  <a:lnTo>
                    <a:pt x="90" y="666"/>
                  </a:lnTo>
                  <a:lnTo>
                    <a:pt x="90" y="642"/>
                  </a:lnTo>
                  <a:lnTo>
                    <a:pt x="84" y="648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66" y="642"/>
                  </a:lnTo>
                  <a:lnTo>
                    <a:pt x="60" y="642"/>
                  </a:lnTo>
                  <a:lnTo>
                    <a:pt x="54" y="636"/>
                  </a:lnTo>
                  <a:lnTo>
                    <a:pt x="30" y="570"/>
                  </a:lnTo>
                  <a:lnTo>
                    <a:pt x="24" y="564"/>
                  </a:lnTo>
                  <a:lnTo>
                    <a:pt x="18" y="570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6"/>
                  </a:lnTo>
                  <a:lnTo>
                    <a:pt x="6" y="540"/>
                  </a:lnTo>
                  <a:lnTo>
                    <a:pt x="0" y="522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2" y="480"/>
                  </a:lnTo>
                  <a:lnTo>
                    <a:pt x="6" y="480"/>
                  </a:lnTo>
                  <a:lnTo>
                    <a:pt x="0" y="474"/>
                  </a:lnTo>
                  <a:lnTo>
                    <a:pt x="0" y="450"/>
                  </a:lnTo>
                  <a:lnTo>
                    <a:pt x="6" y="450"/>
                  </a:lnTo>
                  <a:lnTo>
                    <a:pt x="12" y="450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32"/>
                  </a:lnTo>
                  <a:lnTo>
                    <a:pt x="30" y="426"/>
                  </a:lnTo>
                  <a:lnTo>
                    <a:pt x="36" y="402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2" y="366"/>
                  </a:lnTo>
                  <a:lnTo>
                    <a:pt x="48" y="360"/>
                  </a:lnTo>
                  <a:lnTo>
                    <a:pt x="48" y="342"/>
                  </a:lnTo>
                  <a:lnTo>
                    <a:pt x="42" y="330"/>
                  </a:lnTo>
                  <a:lnTo>
                    <a:pt x="36" y="324"/>
                  </a:lnTo>
                  <a:lnTo>
                    <a:pt x="42" y="306"/>
                  </a:lnTo>
                  <a:lnTo>
                    <a:pt x="42" y="270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48" y="258"/>
                  </a:lnTo>
                  <a:lnTo>
                    <a:pt x="72" y="252"/>
                  </a:lnTo>
                  <a:lnTo>
                    <a:pt x="66" y="204"/>
                  </a:lnTo>
                  <a:lnTo>
                    <a:pt x="60" y="198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8" y="13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84" y="96"/>
                  </a:lnTo>
                  <a:lnTo>
                    <a:pt x="90" y="84"/>
                  </a:lnTo>
                  <a:lnTo>
                    <a:pt x="108" y="72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20" y="60"/>
                  </a:lnTo>
                  <a:lnTo>
                    <a:pt x="120" y="54"/>
                  </a:lnTo>
                  <a:lnTo>
                    <a:pt x="120" y="48"/>
                  </a:lnTo>
                  <a:lnTo>
                    <a:pt x="126" y="48"/>
                  </a:lnTo>
                  <a:lnTo>
                    <a:pt x="132" y="42"/>
                  </a:lnTo>
                  <a:lnTo>
                    <a:pt x="132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240" y="18"/>
                  </a:lnTo>
                  <a:lnTo>
                    <a:pt x="246" y="42"/>
                  </a:lnTo>
                  <a:lnTo>
                    <a:pt x="240" y="72"/>
                  </a:lnTo>
                  <a:lnTo>
                    <a:pt x="246" y="78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8" y="108"/>
                  </a:lnTo>
                  <a:lnTo>
                    <a:pt x="276" y="114"/>
                  </a:lnTo>
                  <a:lnTo>
                    <a:pt x="294" y="150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82" y="186"/>
                  </a:lnTo>
                  <a:lnTo>
                    <a:pt x="282" y="192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76" y="216"/>
                  </a:lnTo>
                  <a:lnTo>
                    <a:pt x="288" y="240"/>
                  </a:lnTo>
                  <a:lnTo>
                    <a:pt x="312" y="228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66" y="228"/>
                  </a:lnTo>
                  <a:lnTo>
                    <a:pt x="372" y="228"/>
                  </a:lnTo>
                  <a:lnTo>
                    <a:pt x="372" y="222"/>
                  </a:lnTo>
                  <a:lnTo>
                    <a:pt x="378" y="222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6" y="222"/>
                  </a:lnTo>
                  <a:lnTo>
                    <a:pt x="402" y="222"/>
                  </a:lnTo>
                  <a:lnTo>
                    <a:pt x="402" y="228"/>
                  </a:lnTo>
                  <a:lnTo>
                    <a:pt x="408" y="228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26" y="216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68" y="258"/>
                  </a:lnTo>
                  <a:lnTo>
                    <a:pt x="462" y="264"/>
                  </a:lnTo>
                  <a:lnTo>
                    <a:pt x="468" y="264"/>
                  </a:lnTo>
                  <a:lnTo>
                    <a:pt x="468" y="270"/>
                  </a:lnTo>
                  <a:lnTo>
                    <a:pt x="474" y="270"/>
                  </a:lnTo>
                  <a:lnTo>
                    <a:pt x="480" y="276"/>
                  </a:lnTo>
                  <a:lnTo>
                    <a:pt x="474" y="282"/>
                  </a:lnTo>
                  <a:lnTo>
                    <a:pt x="474" y="288"/>
                  </a:lnTo>
                  <a:lnTo>
                    <a:pt x="462" y="294"/>
                  </a:lnTo>
                  <a:lnTo>
                    <a:pt x="468" y="324"/>
                  </a:lnTo>
                  <a:lnTo>
                    <a:pt x="462" y="336"/>
                  </a:lnTo>
                  <a:lnTo>
                    <a:pt x="456" y="354"/>
                  </a:lnTo>
                  <a:lnTo>
                    <a:pt x="432" y="390"/>
                  </a:lnTo>
                  <a:lnTo>
                    <a:pt x="420" y="390"/>
                  </a:lnTo>
                  <a:lnTo>
                    <a:pt x="402" y="390"/>
                  </a:lnTo>
                  <a:lnTo>
                    <a:pt x="396" y="396"/>
                  </a:lnTo>
                  <a:lnTo>
                    <a:pt x="390" y="396"/>
                  </a:lnTo>
                  <a:lnTo>
                    <a:pt x="390" y="402"/>
                  </a:lnTo>
                  <a:lnTo>
                    <a:pt x="384" y="402"/>
                  </a:lnTo>
                  <a:lnTo>
                    <a:pt x="408" y="432"/>
                  </a:lnTo>
                  <a:lnTo>
                    <a:pt x="432" y="438"/>
                  </a:lnTo>
                  <a:lnTo>
                    <a:pt x="456" y="432"/>
                  </a:lnTo>
                  <a:lnTo>
                    <a:pt x="468" y="426"/>
                  </a:lnTo>
                  <a:lnTo>
                    <a:pt x="468" y="444"/>
                  </a:lnTo>
                  <a:lnTo>
                    <a:pt x="468" y="450"/>
                  </a:lnTo>
                  <a:lnTo>
                    <a:pt x="468" y="474"/>
                  </a:lnTo>
                  <a:lnTo>
                    <a:pt x="486" y="480"/>
                  </a:lnTo>
                  <a:lnTo>
                    <a:pt x="486" y="486"/>
                  </a:lnTo>
                  <a:lnTo>
                    <a:pt x="492" y="498"/>
                  </a:lnTo>
                  <a:lnTo>
                    <a:pt x="492" y="504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504" y="516"/>
                  </a:lnTo>
                  <a:lnTo>
                    <a:pt x="510" y="516"/>
                  </a:lnTo>
                  <a:lnTo>
                    <a:pt x="522" y="528"/>
                  </a:lnTo>
                  <a:lnTo>
                    <a:pt x="546" y="540"/>
                  </a:lnTo>
                  <a:lnTo>
                    <a:pt x="552" y="546"/>
                  </a:lnTo>
                  <a:lnTo>
                    <a:pt x="570" y="552"/>
                  </a:lnTo>
                  <a:lnTo>
                    <a:pt x="594" y="552"/>
                  </a:lnTo>
                  <a:lnTo>
                    <a:pt x="606" y="546"/>
                  </a:lnTo>
                  <a:lnTo>
                    <a:pt x="612" y="540"/>
                  </a:lnTo>
                  <a:lnTo>
                    <a:pt x="630" y="540"/>
                  </a:lnTo>
                  <a:lnTo>
                    <a:pt x="630" y="552"/>
                  </a:lnTo>
                  <a:lnTo>
                    <a:pt x="654" y="552"/>
                  </a:lnTo>
                  <a:lnTo>
                    <a:pt x="702" y="558"/>
                  </a:lnTo>
                  <a:lnTo>
                    <a:pt x="762" y="546"/>
                  </a:lnTo>
                  <a:lnTo>
                    <a:pt x="780" y="546"/>
                  </a:lnTo>
                  <a:lnTo>
                    <a:pt x="780" y="528"/>
                  </a:lnTo>
                  <a:lnTo>
                    <a:pt x="798" y="522"/>
                  </a:lnTo>
                  <a:lnTo>
                    <a:pt x="810" y="510"/>
                  </a:lnTo>
                  <a:lnTo>
                    <a:pt x="810" y="504"/>
                  </a:lnTo>
                  <a:lnTo>
                    <a:pt x="828" y="492"/>
                  </a:lnTo>
                  <a:lnTo>
                    <a:pt x="888" y="486"/>
                  </a:lnTo>
                  <a:lnTo>
                    <a:pt x="912" y="486"/>
                  </a:lnTo>
                  <a:lnTo>
                    <a:pt x="930" y="474"/>
                  </a:lnTo>
                  <a:lnTo>
                    <a:pt x="918" y="456"/>
                  </a:lnTo>
                  <a:lnTo>
                    <a:pt x="912" y="450"/>
                  </a:lnTo>
                  <a:lnTo>
                    <a:pt x="918" y="390"/>
                  </a:lnTo>
                  <a:lnTo>
                    <a:pt x="954" y="396"/>
                  </a:lnTo>
                  <a:lnTo>
                    <a:pt x="984" y="402"/>
                  </a:lnTo>
                  <a:lnTo>
                    <a:pt x="1014" y="420"/>
                  </a:lnTo>
                  <a:lnTo>
                    <a:pt x="1026" y="432"/>
                  </a:lnTo>
                  <a:lnTo>
                    <a:pt x="1044" y="450"/>
                  </a:lnTo>
                  <a:lnTo>
                    <a:pt x="1062" y="462"/>
                  </a:lnTo>
                  <a:lnTo>
                    <a:pt x="1098" y="468"/>
                  </a:lnTo>
                  <a:lnTo>
                    <a:pt x="1128" y="480"/>
                  </a:lnTo>
                  <a:lnTo>
                    <a:pt x="1152" y="486"/>
                  </a:lnTo>
                  <a:lnTo>
                    <a:pt x="1188" y="498"/>
                  </a:lnTo>
                  <a:lnTo>
                    <a:pt x="1212" y="504"/>
                  </a:lnTo>
                  <a:lnTo>
                    <a:pt x="1224" y="528"/>
                  </a:lnTo>
                  <a:lnTo>
                    <a:pt x="1236" y="540"/>
                  </a:lnTo>
                  <a:lnTo>
                    <a:pt x="1254" y="540"/>
                  </a:lnTo>
                  <a:lnTo>
                    <a:pt x="1254" y="546"/>
                  </a:lnTo>
                  <a:lnTo>
                    <a:pt x="1260" y="552"/>
                  </a:lnTo>
                  <a:lnTo>
                    <a:pt x="1266" y="552"/>
                  </a:lnTo>
                  <a:lnTo>
                    <a:pt x="1266" y="558"/>
                  </a:lnTo>
                  <a:lnTo>
                    <a:pt x="1272" y="564"/>
                  </a:lnTo>
                  <a:lnTo>
                    <a:pt x="1278" y="564"/>
                  </a:lnTo>
                  <a:lnTo>
                    <a:pt x="1278" y="570"/>
                  </a:lnTo>
                  <a:lnTo>
                    <a:pt x="1284" y="576"/>
                  </a:lnTo>
                  <a:lnTo>
                    <a:pt x="1290" y="582"/>
                  </a:lnTo>
                  <a:lnTo>
                    <a:pt x="1296" y="582"/>
                  </a:lnTo>
                  <a:lnTo>
                    <a:pt x="1296" y="588"/>
                  </a:lnTo>
                  <a:lnTo>
                    <a:pt x="1308" y="594"/>
                  </a:lnTo>
                  <a:lnTo>
                    <a:pt x="1308" y="600"/>
                  </a:lnTo>
                  <a:lnTo>
                    <a:pt x="1308" y="606"/>
                  </a:lnTo>
                  <a:lnTo>
                    <a:pt x="1314" y="612"/>
                  </a:lnTo>
                  <a:lnTo>
                    <a:pt x="1308" y="618"/>
                  </a:lnTo>
                  <a:lnTo>
                    <a:pt x="1314" y="618"/>
                  </a:lnTo>
                  <a:lnTo>
                    <a:pt x="1314" y="624"/>
                  </a:lnTo>
                  <a:lnTo>
                    <a:pt x="1308" y="624"/>
                  </a:lnTo>
                  <a:lnTo>
                    <a:pt x="1302" y="630"/>
                  </a:lnTo>
                  <a:lnTo>
                    <a:pt x="1302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296" y="654"/>
                  </a:lnTo>
                  <a:lnTo>
                    <a:pt x="1302" y="660"/>
                  </a:lnTo>
                  <a:lnTo>
                    <a:pt x="1302" y="666"/>
                  </a:lnTo>
                  <a:lnTo>
                    <a:pt x="1308" y="666"/>
                  </a:lnTo>
                  <a:lnTo>
                    <a:pt x="1308" y="672"/>
                  </a:lnTo>
                  <a:lnTo>
                    <a:pt x="1308" y="678"/>
                  </a:lnTo>
                  <a:lnTo>
                    <a:pt x="1308" y="684"/>
                  </a:lnTo>
                  <a:lnTo>
                    <a:pt x="1308" y="690"/>
                  </a:lnTo>
                  <a:lnTo>
                    <a:pt x="1302" y="696"/>
                  </a:lnTo>
                  <a:lnTo>
                    <a:pt x="1302" y="702"/>
                  </a:lnTo>
                  <a:lnTo>
                    <a:pt x="1308" y="702"/>
                  </a:lnTo>
                  <a:lnTo>
                    <a:pt x="1302" y="708"/>
                  </a:lnTo>
                  <a:lnTo>
                    <a:pt x="1308" y="714"/>
                  </a:lnTo>
                  <a:lnTo>
                    <a:pt x="1308" y="720"/>
                  </a:lnTo>
                  <a:lnTo>
                    <a:pt x="1308" y="726"/>
                  </a:lnTo>
                  <a:lnTo>
                    <a:pt x="1308" y="732"/>
                  </a:lnTo>
                  <a:lnTo>
                    <a:pt x="1314" y="732"/>
                  </a:lnTo>
                  <a:lnTo>
                    <a:pt x="1314" y="738"/>
                  </a:lnTo>
                  <a:lnTo>
                    <a:pt x="1320" y="744"/>
                  </a:lnTo>
                  <a:lnTo>
                    <a:pt x="1326" y="750"/>
                  </a:lnTo>
                  <a:lnTo>
                    <a:pt x="1320" y="750"/>
                  </a:lnTo>
                  <a:lnTo>
                    <a:pt x="1320" y="756"/>
                  </a:lnTo>
                  <a:lnTo>
                    <a:pt x="1314" y="756"/>
                  </a:lnTo>
                  <a:lnTo>
                    <a:pt x="1314" y="762"/>
                  </a:lnTo>
                  <a:lnTo>
                    <a:pt x="1314" y="768"/>
                  </a:lnTo>
                  <a:lnTo>
                    <a:pt x="1320" y="768"/>
                  </a:lnTo>
                  <a:lnTo>
                    <a:pt x="1320" y="762"/>
                  </a:lnTo>
                  <a:lnTo>
                    <a:pt x="1320" y="768"/>
                  </a:lnTo>
                  <a:lnTo>
                    <a:pt x="1326" y="774"/>
                  </a:lnTo>
                  <a:lnTo>
                    <a:pt x="1332" y="774"/>
                  </a:lnTo>
                  <a:lnTo>
                    <a:pt x="1332" y="780"/>
                  </a:lnTo>
                  <a:lnTo>
                    <a:pt x="1332" y="786"/>
                  </a:lnTo>
                  <a:lnTo>
                    <a:pt x="1332" y="792"/>
                  </a:lnTo>
                  <a:lnTo>
                    <a:pt x="1338" y="786"/>
                  </a:lnTo>
                  <a:lnTo>
                    <a:pt x="1338" y="792"/>
                  </a:lnTo>
                  <a:lnTo>
                    <a:pt x="1344" y="798"/>
                  </a:lnTo>
                  <a:lnTo>
                    <a:pt x="1344" y="804"/>
                  </a:lnTo>
                  <a:lnTo>
                    <a:pt x="1344" y="810"/>
                  </a:lnTo>
                  <a:lnTo>
                    <a:pt x="1344" y="816"/>
                  </a:lnTo>
                  <a:lnTo>
                    <a:pt x="1344" y="822"/>
                  </a:lnTo>
                  <a:lnTo>
                    <a:pt x="1338" y="828"/>
                  </a:lnTo>
                  <a:lnTo>
                    <a:pt x="1332" y="828"/>
                  </a:lnTo>
                  <a:lnTo>
                    <a:pt x="1338" y="840"/>
                  </a:lnTo>
                  <a:lnTo>
                    <a:pt x="1344" y="846"/>
                  </a:lnTo>
                  <a:lnTo>
                    <a:pt x="1344" y="852"/>
                  </a:lnTo>
                  <a:lnTo>
                    <a:pt x="1350" y="852"/>
                  </a:lnTo>
                  <a:lnTo>
                    <a:pt x="1356" y="858"/>
                  </a:lnTo>
                  <a:lnTo>
                    <a:pt x="1362" y="858"/>
                  </a:lnTo>
                  <a:lnTo>
                    <a:pt x="1362" y="870"/>
                  </a:lnTo>
                  <a:lnTo>
                    <a:pt x="1356" y="870"/>
                  </a:lnTo>
                  <a:lnTo>
                    <a:pt x="1356" y="876"/>
                  </a:lnTo>
                  <a:lnTo>
                    <a:pt x="1350" y="876"/>
                  </a:lnTo>
                  <a:lnTo>
                    <a:pt x="1344" y="876"/>
                  </a:lnTo>
                  <a:lnTo>
                    <a:pt x="1344" y="882"/>
                  </a:lnTo>
                  <a:lnTo>
                    <a:pt x="1338" y="882"/>
                  </a:lnTo>
                  <a:lnTo>
                    <a:pt x="1338" y="888"/>
                  </a:lnTo>
                  <a:lnTo>
                    <a:pt x="1338" y="894"/>
                  </a:lnTo>
                  <a:lnTo>
                    <a:pt x="1344" y="900"/>
                  </a:lnTo>
                  <a:lnTo>
                    <a:pt x="1344" y="906"/>
                  </a:lnTo>
                  <a:lnTo>
                    <a:pt x="1338" y="906"/>
                  </a:lnTo>
                  <a:lnTo>
                    <a:pt x="1332" y="912"/>
                  </a:lnTo>
                  <a:lnTo>
                    <a:pt x="1332" y="918"/>
                  </a:lnTo>
                  <a:lnTo>
                    <a:pt x="1326" y="918"/>
                  </a:lnTo>
                  <a:lnTo>
                    <a:pt x="1332" y="924"/>
                  </a:lnTo>
                  <a:lnTo>
                    <a:pt x="1284" y="942"/>
                  </a:lnTo>
                  <a:lnTo>
                    <a:pt x="1236" y="948"/>
                  </a:lnTo>
                  <a:lnTo>
                    <a:pt x="1194" y="966"/>
                  </a:lnTo>
                  <a:lnTo>
                    <a:pt x="1170" y="1002"/>
                  </a:lnTo>
                  <a:lnTo>
                    <a:pt x="1134" y="1020"/>
                  </a:lnTo>
                  <a:lnTo>
                    <a:pt x="1116" y="1032"/>
                  </a:lnTo>
                  <a:lnTo>
                    <a:pt x="1098" y="1050"/>
                  </a:lnTo>
                  <a:lnTo>
                    <a:pt x="1074" y="1074"/>
                  </a:lnTo>
                  <a:lnTo>
                    <a:pt x="1008" y="1134"/>
                  </a:lnTo>
                  <a:lnTo>
                    <a:pt x="990" y="1158"/>
                  </a:lnTo>
                  <a:lnTo>
                    <a:pt x="978" y="1182"/>
                  </a:lnTo>
                  <a:lnTo>
                    <a:pt x="960" y="1194"/>
                  </a:lnTo>
                  <a:lnTo>
                    <a:pt x="942" y="1212"/>
                  </a:lnTo>
                  <a:lnTo>
                    <a:pt x="912" y="1242"/>
                  </a:lnTo>
                  <a:lnTo>
                    <a:pt x="888" y="1254"/>
                  </a:lnTo>
                  <a:lnTo>
                    <a:pt x="864" y="1278"/>
                  </a:lnTo>
                  <a:lnTo>
                    <a:pt x="828" y="1296"/>
                  </a:lnTo>
                  <a:lnTo>
                    <a:pt x="774" y="1308"/>
                  </a:lnTo>
                  <a:lnTo>
                    <a:pt x="732" y="1302"/>
                  </a:lnTo>
                  <a:lnTo>
                    <a:pt x="702" y="1284"/>
                  </a:lnTo>
                  <a:lnTo>
                    <a:pt x="684" y="1278"/>
                  </a:lnTo>
                  <a:close/>
                </a:path>
              </a:pathLst>
            </a:custGeom>
            <a:solidFill>
              <a:srgbClr val="2A4F1D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1" name="Freeform 16">
              <a:extLst>
                <a:ext uri="{FF2B5EF4-FFF2-40B4-BE49-F238E27FC236}">
                  <a16:creationId xmlns:a16="http://schemas.microsoft.com/office/drawing/2014/main" id="{D8D8591A-D9DB-4301-BEBD-D8F5A26DA9E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3001" y="2929369"/>
              <a:ext cx="914601" cy="1037736"/>
            </a:xfrm>
            <a:custGeom>
              <a:avLst/>
              <a:gdLst>
                <a:gd name="T0" fmla="*/ 144 w 1722"/>
                <a:gd name="T1" fmla="*/ 131 h 1956"/>
                <a:gd name="T2" fmla="*/ 142 w 1722"/>
                <a:gd name="T3" fmla="*/ 139 h 1956"/>
                <a:gd name="T4" fmla="*/ 137 w 1722"/>
                <a:gd name="T5" fmla="*/ 143 h 1956"/>
                <a:gd name="T6" fmla="*/ 133 w 1722"/>
                <a:gd name="T7" fmla="*/ 147 h 1956"/>
                <a:gd name="T8" fmla="*/ 132 w 1722"/>
                <a:gd name="T9" fmla="*/ 152 h 1956"/>
                <a:gd name="T10" fmla="*/ 130 w 1722"/>
                <a:gd name="T11" fmla="*/ 159 h 1956"/>
                <a:gd name="T12" fmla="*/ 127 w 1722"/>
                <a:gd name="T13" fmla="*/ 164 h 1956"/>
                <a:gd name="T14" fmla="*/ 123 w 1722"/>
                <a:gd name="T15" fmla="*/ 168 h 1956"/>
                <a:gd name="T16" fmla="*/ 117 w 1722"/>
                <a:gd name="T17" fmla="*/ 169 h 1956"/>
                <a:gd name="T18" fmla="*/ 110 w 1722"/>
                <a:gd name="T19" fmla="*/ 168 h 1956"/>
                <a:gd name="T20" fmla="*/ 104 w 1722"/>
                <a:gd name="T21" fmla="*/ 166 h 1956"/>
                <a:gd name="T22" fmla="*/ 101 w 1722"/>
                <a:gd name="T23" fmla="*/ 159 h 1956"/>
                <a:gd name="T24" fmla="*/ 95 w 1722"/>
                <a:gd name="T25" fmla="*/ 156 h 1956"/>
                <a:gd name="T26" fmla="*/ 89 w 1722"/>
                <a:gd name="T27" fmla="*/ 151 h 1956"/>
                <a:gd name="T28" fmla="*/ 87 w 1722"/>
                <a:gd name="T29" fmla="*/ 144 h 1956"/>
                <a:gd name="T30" fmla="*/ 82 w 1722"/>
                <a:gd name="T31" fmla="*/ 141 h 1956"/>
                <a:gd name="T32" fmla="*/ 76 w 1722"/>
                <a:gd name="T33" fmla="*/ 134 h 1956"/>
                <a:gd name="T34" fmla="*/ 74 w 1722"/>
                <a:gd name="T35" fmla="*/ 143 h 1956"/>
                <a:gd name="T36" fmla="*/ 68 w 1722"/>
                <a:gd name="T37" fmla="*/ 147 h 1956"/>
                <a:gd name="T38" fmla="*/ 54 w 1722"/>
                <a:gd name="T39" fmla="*/ 144 h 1956"/>
                <a:gd name="T40" fmla="*/ 51 w 1722"/>
                <a:gd name="T41" fmla="*/ 142 h 1956"/>
                <a:gd name="T42" fmla="*/ 42 w 1722"/>
                <a:gd name="T43" fmla="*/ 151 h 1956"/>
                <a:gd name="T44" fmla="*/ 33 w 1722"/>
                <a:gd name="T45" fmla="*/ 154 h 1956"/>
                <a:gd name="T46" fmla="*/ 31 w 1722"/>
                <a:gd name="T47" fmla="*/ 159 h 1956"/>
                <a:gd name="T48" fmla="*/ 29 w 1722"/>
                <a:gd name="T49" fmla="*/ 166 h 1956"/>
                <a:gd name="T50" fmla="*/ 25 w 1722"/>
                <a:gd name="T51" fmla="*/ 169 h 1956"/>
                <a:gd name="T52" fmla="*/ 27 w 1722"/>
                <a:gd name="T53" fmla="*/ 154 h 1956"/>
                <a:gd name="T54" fmla="*/ 37 w 1722"/>
                <a:gd name="T55" fmla="*/ 133 h 1956"/>
                <a:gd name="T56" fmla="*/ 36 w 1722"/>
                <a:gd name="T57" fmla="*/ 109 h 1956"/>
                <a:gd name="T58" fmla="*/ 27 w 1722"/>
                <a:gd name="T59" fmla="*/ 101 h 1956"/>
                <a:gd name="T60" fmla="*/ 5 w 1722"/>
                <a:gd name="T61" fmla="*/ 98 h 1956"/>
                <a:gd name="T62" fmla="*/ 2 w 1722"/>
                <a:gd name="T63" fmla="*/ 93 h 1956"/>
                <a:gd name="T64" fmla="*/ 12 w 1722"/>
                <a:gd name="T65" fmla="*/ 82 h 1956"/>
                <a:gd name="T66" fmla="*/ 9 w 1722"/>
                <a:gd name="T67" fmla="*/ 74 h 1956"/>
                <a:gd name="T68" fmla="*/ 23 w 1722"/>
                <a:gd name="T69" fmla="*/ 72 h 1956"/>
                <a:gd name="T70" fmla="*/ 22 w 1722"/>
                <a:gd name="T71" fmla="*/ 67 h 1956"/>
                <a:gd name="T72" fmla="*/ 48 w 1722"/>
                <a:gd name="T73" fmla="*/ 57 h 1956"/>
                <a:gd name="T74" fmla="*/ 78 w 1722"/>
                <a:gd name="T75" fmla="*/ 34 h 1956"/>
                <a:gd name="T76" fmla="*/ 81 w 1722"/>
                <a:gd name="T77" fmla="*/ 31 h 1956"/>
                <a:gd name="T78" fmla="*/ 80 w 1722"/>
                <a:gd name="T79" fmla="*/ 26 h 1956"/>
                <a:gd name="T80" fmla="*/ 78 w 1722"/>
                <a:gd name="T81" fmla="*/ 21 h 1956"/>
                <a:gd name="T82" fmla="*/ 77 w 1722"/>
                <a:gd name="T83" fmla="*/ 18 h 1956"/>
                <a:gd name="T84" fmla="*/ 77 w 1722"/>
                <a:gd name="T85" fmla="*/ 12 h 1956"/>
                <a:gd name="T86" fmla="*/ 77 w 1722"/>
                <a:gd name="T87" fmla="*/ 7 h 1956"/>
                <a:gd name="T88" fmla="*/ 102 w 1722"/>
                <a:gd name="T89" fmla="*/ 2 h 1956"/>
                <a:gd name="T90" fmla="*/ 115 w 1722"/>
                <a:gd name="T91" fmla="*/ 3 h 1956"/>
                <a:gd name="T92" fmla="*/ 123 w 1722"/>
                <a:gd name="T93" fmla="*/ 3 h 1956"/>
                <a:gd name="T94" fmla="*/ 125 w 1722"/>
                <a:gd name="T95" fmla="*/ 9 h 1956"/>
                <a:gd name="T96" fmla="*/ 133 w 1722"/>
                <a:gd name="T97" fmla="*/ 13 h 1956"/>
                <a:gd name="T98" fmla="*/ 149 w 1722"/>
                <a:gd name="T99" fmla="*/ 37 h 1956"/>
                <a:gd name="T100" fmla="*/ 141 w 1722"/>
                <a:gd name="T101" fmla="*/ 57 h 1956"/>
                <a:gd name="T102" fmla="*/ 135 w 1722"/>
                <a:gd name="T103" fmla="*/ 63 h 1956"/>
                <a:gd name="T104" fmla="*/ 124 w 1722"/>
                <a:gd name="T105" fmla="*/ 77 h 1956"/>
                <a:gd name="T106" fmla="*/ 123 w 1722"/>
                <a:gd name="T107" fmla="*/ 96 h 1956"/>
                <a:gd name="T108" fmla="*/ 127 w 1722"/>
                <a:gd name="T109" fmla="*/ 97 h 1956"/>
                <a:gd name="T110" fmla="*/ 129 w 1722"/>
                <a:gd name="T111" fmla="*/ 92 h 1956"/>
                <a:gd name="T112" fmla="*/ 134 w 1722"/>
                <a:gd name="T113" fmla="*/ 94 h 1956"/>
                <a:gd name="T114" fmla="*/ 138 w 1722"/>
                <a:gd name="T115" fmla="*/ 99 h 1956"/>
                <a:gd name="T116" fmla="*/ 142 w 1722"/>
                <a:gd name="T117" fmla="*/ 104 h 1956"/>
                <a:gd name="T118" fmla="*/ 141 w 1722"/>
                <a:gd name="T119" fmla="*/ 115 h 19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722"/>
                <a:gd name="T181" fmla="*/ 0 h 1956"/>
                <a:gd name="T182" fmla="*/ 1722 w 1722"/>
                <a:gd name="T183" fmla="*/ 1956 h 19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722" h="1956">
                  <a:moveTo>
                    <a:pt x="1686" y="1404"/>
                  </a:moveTo>
                  <a:lnTo>
                    <a:pt x="1680" y="1416"/>
                  </a:lnTo>
                  <a:lnTo>
                    <a:pt x="1674" y="1422"/>
                  </a:lnTo>
                  <a:lnTo>
                    <a:pt x="1674" y="1428"/>
                  </a:lnTo>
                  <a:lnTo>
                    <a:pt x="1668" y="1428"/>
                  </a:lnTo>
                  <a:lnTo>
                    <a:pt x="1668" y="1434"/>
                  </a:lnTo>
                  <a:lnTo>
                    <a:pt x="1662" y="1446"/>
                  </a:lnTo>
                  <a:lnTo>
                    <a:pt x="1656" y="1464"/>
                  </a:lnTo>
                  <a:lnTo>
                    <a:pt x="1656" y="1476"/>
                  </a:lnTo>
                  <a:lnTo>
                    <a:pt x="1656" y="1488"/>
                  </a:lnTo>
                  <a:lnTo>
                    <a:pt x="1662" y="1500"/>
                  </a:lnTo>
                  <a:lnTo>
                    <a:pt x="1662" y="1506"/>
                  </a:lnTo>
                  <a:lnTo>
                    <a:pt x="1662" y="1524"/>
                  </a:lnTo>
                  <a:lnTo>
                    <a:pt x="1668" y="1542"/>
                  </a:lnTo>
                  <a:lnTo>
                    <a:pt x="1674" y="1560"/>
                  </a:lnTo>
                  <a:lnTo>
                    <a:pt x="1680" y="1578"/>
                  </a:lnTo>
                  <a:lnTo>
                    <a:pt x="1686" y="1578"/>
                  </a:lnTo>
                  <a:lnTo>
                    <a:pt x="1686" y="1584"/>
                  </a:lnTo>
                  <a:lnTo>
                    <a:pt x="1686" y="1590"/>
                  </a:lnTo>
                  <a:lnTo>
                    <a:pt x="1686" y="1596"/>
                  </a:lnTo>
                  <a:lnTo>
                    <a:pt x="1680" y="1596"/>
                  </a:lnTo>
                  <a:lnTo>
                    <a:pt x="1674" y="1602"/>
                  </a:lnTo>
                  <a:lnTo>
                    <a:pt x="1662" y="1602"/>
                  </a:lnTo>
                  <a:lnTo>
                    <a:pt x="1638" y="1596"/>
                  </a:lnTo>
                  <a:lnTo>
                    <a:pt x="1632" y="1596"/>
                  </a:lnTo>
                  <a:lnTo>
                    <a:pt x="1626" y="1602"/>
                  </a:lnTo>
                  <a:lnTo>
                    <a:pt x="1620" y="1602"/>
                  </a:lnTo>
                  <a:lnTo>
                    <a:pt x="1614" y="1602"/>
                  </a:lnTo>
                  <a:lnTo>
                    <a:pt x="1602" y="1602"/>
                  </a:lnTo>
                  <a:lnTo>
                    <a:pt x="1602" y="1608"/>
                  </a:lnTo>
                  <a:lnTo>
                    <a:pt x="1602" y="1620"/>
                  </a:lnTo>
                  <a:lnTo>
                    <a:pt x="1596" y="1620"/>
                  </a:lnTo>
                  <a:lnTo>
                    <a:pt x="1590" y="1620"/>
                  </a:lnTo>
                  <a:lnTo>
                    <a:pt x="1584" y="1626"/>
                  </a:lnTo>
                  <a:lnTo>
                    <a:pt x="1584" y="1632"/>
                  </a:lnTo>
                  <a:lnTo>
                    <a:pt x="1578" y="1644"/>
                  </a:lnTo>
                  <a:lnTo>
                    <a:pt x="1572" y="1644"/>
                  </a:lnTo>
                  <a:lnTo>
                    <a:pt x="1566" y="1644"/>
                  </a:lnTo>
                  <a:lnTo>
                    <a:pt x="1566" y="1650"/>
                  </a:lnTo>
                  <a:lnTo>
                    <a:pt x="1560" y="1650"/>
                  </a:lnTo>
                  <a:lnTo>
                    <a:pt x="1554" y="1650"/>
                  </a:lnTo>
                  <a:lnTo>
                    <a:pt x="1548" y="1650"/>
                  </a:lnTo>
                  <a:lnTo>
                    <a:pt x="1548" y="1656"/>
                  </a:lnTo>
                  <a:lnTo>
                    <a:pt x="1542" y="1668"/>
                  </a:lnTo>
                  <a:lnTo>
                    <a:pt x="1542" y="1674"/>
                  </a:lnTo>
                  <a:lnTo>
                    <a:pt x="1542" y="1692"/>
                  </a:lnTo>
                  <a:lnTo>
                    <a:pt x="1536" y="1698"/>
                  </a:lnTo>
                  <a:lnTo>
                    <a:pt x="1530" y="1698"/>
                  </a:lnTo>
                  <a:lnTo>
                    <a:pt x="1524" y="1698"/>
                  </a:lnTo>
                  <a:lnTo>
                    <a:pt x="1518" y="1704"/>
                  </a:lnTo>
                  <a:lnTo>
                    <a:pt x="1512" y="1710"/>
                  </a:lnTo>
                  <a:lnTo>
                    <a:pt x="1506" y="1722"/>
                  </a:lnTo>
                  <a:lnTo>
                    <a:pt x="1500" y="1728"/>
                  </a:lnTo>
                  <a:lnTo>
                    <a:pt x="1500" y="1734"/>
                  </a:lnTo>
                  <a:lnTo>
                    <a:pt x="1512" y="1734"/>
                  </a:lnTo>
                  <a:lnTo>
                    <a:pt x="1518" y="1740"/>
                  </a:lnTo>
                  <a:lnTo>
                    <a:pt x="1518" y="1746"/>
                  </a:lnTo>
                  <a:lnTo>
                    <a:pt x="1518" y="1752"/>
                  </a:lnTo>
                  <a:lnTo>
                    <a:pt x="1518" y="1758"/>
                  </a:lnTo>
                  <a:lnTo>
                    <a:pt x="1524" y="1758"/>
                  </a:lnTo>
                  <a:lnTo>
                    <a:pt x="1524" y="1764"/>
                  </a:lnTo>
                  <a:lnTo>
                    <a:pt x="1530" y="1770"/>
                  </a:lnTo>
                  <a:lnTo>
                    <a:pt x="1518" y="1770"/>
                  </a:lnTo>
                  <a:lnTo>
                    <a:pt x="1512" y="1782"/>
                  </a:lnTo>
                  <a:lnTo>
                    <a:pt x="1512" y="1788"/>
                  </a:lnTo>
                  <a:lnTo>
                    <a:pt x="1518" y="1788"/>
                  </a:lnTo>
                  <a:lnTo>
                    <a:pt x="1524" y="1800"/>
                  </a:lnTo>
                  <a:lnTo>
                    <a:pt x="1524" y="1806"/>
                  </a:lnTo>
                  <a:lnTo>
                    <a:pt x="1518" y="1812"/>
                  </a:lnTo>
                  <a:lnTo>
                    <a:pt x="1512" y="1818"/>
                  </a:lnTo>
                  <a:lnTo>
                    <a:pt x="1506" y="1818"/>
                  </a:lnTo>
                  <a:lnTo>
                    <a:pt x="1500" y="1824"/>
                  </a:lnTo>
                  <a:lnTo>
                    <a:pt x="1500" y="1836"/>
                  </a:lnTo>
                  <a:lnTo>
                    <a:pt x="1500" y="1842"/>
                  </a:lnTo>
                  <a:lnTo>
                    <a:pt x="1500" y="1848"/>
                  </a:lnTo>
                  <a:lnTo>
                    <a:pt x="1500" y="1854"/>
                  </a:lnTo>
                  <a:lnTo>
                    <a:pt x="1494" y="1860"/>
                  </a:lnTo>
                  <a:lnTo>
                    <a:pt x="1488" y="1860"/>
                  </a:lnTo>
                  <a:lnTo>
                    <a:pt x="1488" y="1866"/>
                  </a:lnTo>
                  <a:lnTo>
                    <a:pt x="1482" y="1872"/>
                  </a:lnTo>
                  <a:lnTo>
                    <a:pt x="1482" y="1878"/>
                  </a:lnTo>
                  <a:lnTo>
                    <a:pt x="1482" y="1884"/>
                  </a:lnTo>
                  <a:lnTo>
                    <a:pt x="1476" y="1890"/>
                  </a:lnTo>
                  <a:lnTo>
                    <a:pt x="1470" y="1890"/>
                  </a:lnTo>
                  <a:lnTo>
                    <a:pt x="1470" y="1896"/>
                  </a:lnTo>
                  <a:lnTo>
                    <a:pt x="1464" y="1896"/>
                  </a:lnTo>
                  <a:lnTo>
                    <a:pt x="1458" y="1896"/>
                  </a:lnTo>
                  <a:lnTo>
                    <a:pt x="1452" y="1896"/>
                  </a:lnTo>
                  <a:lnTo>
                    <a:pt x="1440" y="1890"/>
                  </a:lnTo>
                  <a:lnTo>
                    <a:pt x="1434" y="1896"/>
                  </a:lnTo>
                  <a:lnTo>
                    <a:pt x="1428" y="1896"/>
                  </a:lnTo>
                  <a:lnTo>
                    <a:pt x="1422" y="1896"/>
                  </a:lnTo>
                  <a:lnTo>
                    <a:pt x="1422" y="1902"/>
                  </a:lnTo>
                  <a:lnTo>
                    <a:pt x="1416" y="1902"/>
                  </a:lnTo>
                  <a:lnTo>
                    <a:pt x="1422" y="1914"/>
                  </a:lnTo>
                  <a:lnTo>
                    <a:pt x="1422" y="1932"/>
                  </a:lnTo>
                  <a:lnTo>
                    <a:pt x="1416" y="1938"/>
                  </a:lnTo>
                  <a:lnTo>
                    <a:pt x="1422" y="1938"/>
                  </a:lnTo>
                  <a:lnTo>
                    <a:pt x="1404" y="1938"/>
                  </a:lnTo>
                  <a:lnTo>
                    <a:pt x="1392" y="1944"/>
                  </a:lnTo>
                  <a:lnTo>
                    <a:pt x="1386" y="1944"/>
                  </a:lnTo>
                  <a:lnTo>
                    <a:pt x="1374" y="1944"/>
                  </a:lnTo>
                  <a:lnTo>
                    <a:pt x="1368" y="1950"/>
                  </a:lnTo>
                  <a:lnTo>
                    <a:pt x="1374" y="1956"/>
                  </a:lnTo>
                  <a:lnTo>
                    <a:pt x="1368" y="1956"/>
                  </a:lnTo>
                  <a:lnTo>
                    <a:pt x="1356" y="1956"/>
                  </a:lnTo>
                  <a:lnTo>
                    <a:pt x="1350" y="1956"/>
                  </a:lnTo>
                  <a:lnTo>
                    <a:pt x="1350" y="1950"/>
                  </a:lnTo>
                  <a:lnTo>
                    <a:pt x="1344" y="1944"/>
                  </a:lnTo>
                  <a:lnTo>
                    <a:pt x="1332" y="1938"/>
                  </a:lnTo>
                  <a:lnTo>
                    <a:pt x="1326" y="1938"/>
                  </a:lnTo>
                  <a:lnTo>
                    <a:pt x="1320" y="1938"/>
                  </a:lnTo>
                  <a:lnTo>
                    <a:pt x="1314" y="1944"/>
                  </a:lnTo>
                  <a:lnTo>
                    <a:pt x="1308" y="1944"/>
                  </a:lnTo>
                  <a:lnTo>
                    <a:pt x="1302" y="1944"/>
                  </a:lnTo>
                  <a:lnTo>
                    <a:pt x="1296" y="1938"/>
                  </a:lnTo>
                  <a:lnTo>
                    <a:pt x="1284" y="1938"/>
                  </a:lnTo>
                  <a:lnTo>
                    <a:pt x="1278" y="1938"/>
                  </a:lnTo>
                  <a:lnTo>
                    <a:pt x="1272" y="1938"/>
                  </a:lnTo>
                  <a:lnTo>
                    <a:pt x="1266" y="1932"/>
                  </a:lnTo>
                  <a:lnTo>
                    <a:pt x="1260" y="1932"/>
                  </a:lnTo>
                  <a:lnTo>
                    <a:pt x="1254" y="1920"/>
                  </a:lnTo>
                  <a:lnTo>
                    <a:pt x="1248" y="1920"/>
                  </a:lnTo>
                  <a:lnTo>
                    <a:pt x="1242" y="1920"/>
                  </a:lnTo>
                  <a:lnTo>
                    <a:pt x="1236" y="1926"/>
                  </a:lnTo>
                  <a:lnTo>
                    <a:pt x="1236" y="1932"/>
                  </a:lnTo>
                  <a:lnTo>
                    <a:pt x="1230" y="1932"/>
                  </a:lnTo>
                  <a:lnTo>
                    <a:pt x="1224" y="1932"/>
                  </a:lnTo>
                  <a:lnTo>
                    <a:pt x="1218" y="1938"/>
                  </a:lnTo>
                  <a:lnTo>
                    <a:pt x="1212" y="1932"/>
                  </a:lnTo>
                  <a:lnTo>
                    <a:pt x="1206" y="1926"/>
                  </a:lnTo>
                  <a:lnTo>
                    <a:pt x="1206" y="1908"/>
                  </a:lnTo>
                  <a:lnTo>
                    <a:pt x="1206" y="1884"/>
                  </a:lnTo>
                  <a:lnTo>
                    <a:pt x="1206" y="1866"/>
                  </a:lnTo>
                  <a:lnTo>
                    <a:pt x="1212" y="1848"/>
                  </a:lnTo>
                  <a:lnTo>
                    <a:pt x="1212" y="1842"/>
                  </a:lnTo>
                  <a:lnTo>
                    <a:pt x="1206" y="1836"/>
                  </a:lnTo>
                  <a:lnTo>
                    <a:pt x="1200" y="1830"/>
                  </a:lnTo>
                  <a:lnTo>
                    <a:pt x="1194" y="1824"/>
                  </a:lnTo>
                  <a:lnTo>
                    <a:pt x="1188" y="1824"/>
                  </a:lnTo>
                  <a:lnTo>
                    <a:pt x="1182" y="1824"/>
                  </a:lnTo>
                  <a:lnTo>
                    <a:pt x="1176" y="1824"/>
                  </a:lnTo>
                  <a:lnTo>
                    <a:pt x="1170" y="1818"/>
                  </a:lnTo>
                  <a:lnTo>
                    <a:pt x="1164" y="1830"/>
                  </a:lnTo>
                  <a:lnTo>
                    <a:pt x="1152" y="1836"/>
                  </a:lnTo>
                  <a:lnTo>
                    <a:pt x="1146" y="1842"/>
                  </a:lnTo>
                  <a:lnTo>
                    <a:pt x="1140" y="1842"/>
                  </a:lnTo>
                  <a:lnTo>
                    <a:pt x="1134" y="1842"/>
                  </a:lnTo>
                  <a:lnTo>
                    <a:pt x="1128" y="1842"/>
                  </a:lnTo>
                  <a:lnTo>
                    <a:pt x="1116" y="1836"/>
                  </a:lnTo>
                  <a:lnTo>
                    <a:pt x="1110" y="1842"/>
                  </a:lnTo>
                  <a:lnTo>
                    <a:pt x="1092" y="1830"/>
                  </a:lnTo>
                  <a:lnTo>
                    <a:pt x="1092" y="1824"/>
                  </a:lnTo>
                  <a:lnTo>
                    <a:pt x="1092" y="1806"/>
                  </a:lnTo>
                  <a:lnTo>
                    <a:pt x="1092" y="1800"/>
                  </a:lnTo>
                  <a:lnTo>
                    <a:pt x="1092" y="1794"/>
                  </a:lnTo>
                  <a:lnTo>
                    <a:pt x="1086" y="1788"/>
                  </a:lnTo>
                  <a:lnTo>
                    <a:pt x="1080" y="1794"/>
                  </a:lnTo>
                  <a:lnTo>
                    <a:pt x="1074" y="1788"/>
                  </a:lnTo>
                  <a:lnTo>
                    <a:pt x="1068" y="1770"/>
                  </a:lnTo>
                  <a:lnTo>
                    <a:pt x="1056" y="1764"/>
                  </a:lnTo>
                  <a:lnTo>
                    <a:pt x="1050" y="1764"/>
                  </a:lnTo>
                  <a:lnTo>
                    <a:pt x="1044" y="1764"/>
                  </a:lnTo>
                  <a:lnTo>
                    <a:pt x="1038" y="1758"/>
                  </a:lnTo>
                  <a:lnTo>
                    <a:pt x="1032" y="1752"/>
                  </a:lnTo>
                  <a:lnTo>
                    <a:pt x="1032" y="1746"/>
                  </a:lnTo>
                  <a:lnTo>
                    <a:pt x="1032" y="1740"/>
                  </a:lnTo>
                  <a:lnTo>
                    <a:pt x="1032" y="1734"/>
                  </a:lnTo>
                  <a:lnTo>
                    <a:pt x="1026" y="1734"/>
                  </a:lnTo>
                  <a:lnTo>
                    <a:pt x="1032" y="1728"/>
                  </a:lnTo>
                  <a:lnTo>
                    <a:pt x="1032" y="1722"/>
                  </a:lnTo>
                  <a:lnTo>
                    <a:pt x="1044" y="1686"/>
                  </a:lnTo>
                  <a:lnTo>
                    <a:pt x="1044" y="1680"/>
                  </a:lnTo>
                  <a:lnTo>
                    <a:pt x="1032" y="1674"/>
                  </a:lnTo>
                  <a:lnTo>
                    <a:pt x="1026" y="1674"/>
                  </a:lnTo>
                  <a:lnTo>
                    <a:pt x="1026" y="1668"/>
                  </a:lnTo>
                  <a:lnTo>
                    <a:pt x="1020" y="1662"/>
                  </a:lnTo>
                  <a:lnTo>
                    <a:pt x="1014" y="1668"/>
                  </a:lnTo>
                  <a:lnTo>
                    <a:pt x="1008" y="1662"/>
                  </a:lnTo>
                  <a:lnTo>
                    <a:pt x="1002" y="1662"/>
                  </a:lnTo>
                  <a:lnTo>
                    <a:pt x="1002" y="1668"/>
                  </a:lnTo>
                  <a:lnTo>
                    <a:pt x="996" y="1668"/>
                  </a:lnTo>
                  <a:lnTo>
                    <a:pt x="996" y="1662"/>
                  </a:lnTo>
                  <a:lnTo>
                    <a:pt x="984" y="1662"/>
                  </a:lnTo>
                  <a:lnTo>
                    <a:pt x="984" y="1656"/>
                  </a:lnTo>
                  <a:lnTo>
                    <a:pt x="978" y="1650"/>
                  </a:lnTo>
                  <a:lnTo>
                    <a:pt x="978" y="1644"/>
                  </a:lnTo>
                  <a:lnTo>
                    <a:pt x="966" y="1650"/>
                  </a:lnTo>
                  <a:lnTo>
                    <a:pt x="960" y="1638"/>
                  </a:lnTo>
                  <a:lnTo>
                    <a:pt x="954" y="1632"/>
                  </a:lnTo>
                  <a:lnTo>
                    <a:pt x="948" y="1632"/>
                  </a:lnTo>
                  <a:lnTo>
                    <a:pt x="942" y="1626"/>
                  </a:lnTo>
                  <a:lnTo>
                    <a:pt x="942" y="1614"/>
                  </a:lnTo>
                  <a:lnTo>
                    <a:pt x="930" y="1608"/>
                  </a:lnTo>
                  <a:lnTo>
                    <a:pt x="924" y="1614"/>
                  </a:lnTo>
                  <a:lnTo>
                    <a:pt x="912" y="1608"/>
                  </a:lnTo>
                  <a:lnTo>
                    <a:pt x="888" y="1590"/>
                  </a:lnTo>
                  <a:lnTo>
                    <a:pt x="894" y="1578"/>
                  </a:lnTo>
                  <a:lnTo>
                    <a:pt x="894" y="1572"/>
                  </a:lnTo>
                  <a:lnTo>
                    <a:pt x="894" y="1566"/>
                  </a:lnTo>
                  <a:lnTo>
                    <a:pt x="894" y="1548"/>
                  </a:lnTo>
                  <a:lnTo>
                    <a:pt x="888" y="1548"/>
                  </a:lnTo>
                  <a:lnTo>
                    <a:pt x="882" y="1542"/>
                  </a:lnTo>
                  <a:lnTo>
                    <a:pt x="876" y="1542"/>
                  </a:lnTo>
                  <a:lnTo>
                    <a:pt x="876" y="1536"/>
                  </a:lnTo>
                  <a:lnTo>
                    <a:pt x="870" y="1542"/>
                  </a:lnTo>
                  <a:lnTo>
                    <a:pt x="870" y="1554"/>
                  </a:lnTo>
                  <a:lnTo>
                    <a:pt x="870" y="1566"/>
                  </a:lnTo>
                  <a:lnTo>
                    <a:pt x="870" y="1578"/>
                  </a:lnTo>
                  <a:lnTo>
                    <a:pt x="870" y="1584"/>
                  </a:lnTo>
                  <a:lnTo>
                    <a:pt x="864" y="1584"/>
                  </a:lnTo>
                  <a:lnTo>
                    <a:pt x="870" y="1602"/>
                  </a:lnTo>
                  <a:lnTo>
                    <a:pt x="864" y="1608"/>
                  </a:lnTo>
                  <a:lnTo>
                    <a:pt x="870" y="1614"/>
                  </a:lnTo>
                  <a:lnTo>
                    <a:pt x="864" y="1644"/>
                  </a:lnTo>
                  <a:lnTo>
                    <a:pt x="858" y="1650"/>
                  </a:lnTo>
                  <a:lnTo>
                    <a:pt x="858" y="1656"/>
                  </a:lnTo>
                  <a:lnTo>
                    <a:pt x="852" y="1662"/>
                  </a:lnTo>
                  <a:lnTo>
                    <a:pt x="852" y="1680"/>
                  </a:lnTo>
                  <a:lnTo>
                    <a:pt x="846" y="1686"/>
                  </a:lnTo>
                  <a:lnTo>
                    <a:pt x="834" y="1692"/>
                  </a:lnTo>
                  <a:lnTo>
                    <a:pt x="828" y="1692"/>
                  </a:lnTo>
                  <a:lnTo>
                    <a:pt x="822" y="1698"/>
                  </a:lnTo>
                  <a:lnTo>
                    <a:pt x="822" y="1704"/>
                  </a:lnTo>
                  <a:lnTo>
                    <a:pt x="816" y="1704"/>
                  </a:lnTo>
                  <a:lnTo>
                    <a:pt x="804" y="1692"/>
                  </a:lnTo>
                  <a:lnTo>
                    <a:pt x="786" y="1698"/>
                  </a:lnTo>
                  <a:lnTo>
                    <a:pt x="780" y="1698"/>
                  </a:lnTo>
                  <a:lnTo>
                    <a:pt x="756" y="1698"/>
                  </a:lnTo>
                  <a:lnTo>
                    <a:pt x="744" y="1698"/>
                  </a:lnTo>
                  <a:lnTo>
                    <a:pt x="738" y="1698"/>
                  </a:lnTo>
                  <a:lnTo>
                    <a:pt x="732" y="1704"/>
                  </a:lnTo>
                  <a:lnTo>
                    <a:pt x="726" y="1704"/>
                  </a:lnTo>
                  <a:lnTo>
                    <a:pt x="678" y="1710"/>
                  </a:lnTo>
                  <a:lnTo>
                    <a:pt x="642" y="1710"/>
                  </a:lnTo>
                  <a:lnTo>
                    <a:pt x="618" y="1680"/>
                  </a:lnTo>
                  <a:lnTo>
                    <a:pt x="618" y="1674"/>
                  </a:lnTo>
                  <a:lnTo>
                    <a:pt x="618" y="1668"/>
                  </a:lnTo>
                  <a:lnTo>
                    <a:pt x="624" y="1662"/>
                  </a:lnTo>
                  <a:lnTo>
                    <a:pt x="624" y="1656"/>
                  </a:lnTo>
                  <a:lnTo>
                    <a:pt x="624" y="1650"/>
                  </a:lnTo>
                  <a:lnTo>
                    <a:pt x="618" y="1650"/>
                  </a:lnTo>
                  <a:lnTo>
                    <a:pt x="618" y="1644"/>
                  </a:lnTo>
                  <a:lnTo>
                    <a:pt x="618" y="1638"/>
                  </a:lnTo>
                  <a:lnTo>
                    <a:pt x="618" y="1632"/>
                  </a:lnTo>
                  <a:lnTo>
                    <a:pt x="618" y="1626"/>
                  </a:lnTo>
                  <a:lnTo>
                    <a:pt x="612" y="1626"/>
                  </a:lnTo>
                  <a:lnTo>
                    <a:pt x="612" y="1620"/>
                  </a:lnTo>
                  <a:lnTo>
                    <a:pt x="606" y="1614"/>
                  </a:lnTo>
                  <a:lnTo>
                    <a:pt x="594" y="1626"/>
                  </a:lnTo>
                  <a:lnTo>
                    <a:pt x="594" y="1632"/>
                  </a:lnTo>
                  <a:lnTo>
                    <a:pt x="588" y="1638"/>
                  </a:lnTo>
                  <a:lnTo>
                    <a:pt x="582" y="1638"/>
                  </a:lnTo>
                  <a:lnTo>
                    <a:pt x="564" y="1656"/>
                  </a:lnTo>
                  <a:lnTo>
                    <a:pt x="558" y="1662"/>
                  </a:lnTo>
                  <a:lnTo>
                    <a:pt x="552" y="1662"/>
                  </a:lnTo>
                  <a:lnTo>
                    <a:pt x="540" y="1674"/>
                  </a:lnTo>
                  <a:lnTo>
                    <a:pt x="534" y="1680"/>
                  </a:lnTo>
                  <a:lnTo>
                    <a:pt x="522" y="1692"/>
                  </a:lnTo>
                  <a:lnTo>
                    <a:pt x="516" y="1704"/>
                  </a:lnTo>
                  <a:lnTo>
                    <a:pt x="510" y="1704"/>
                  </a:lnTo>
                  <a:lnTo>
                    <a:pt x="504" y="1704"/>
                  </a:lnTo>
                  <a:lnTo>
                    <a:pt x="486" y="1722"/>
                  </a:lnTo>
                  <a:lnTo>
                    <a:pt x="480" y="1740"/>
                  </a:lnTo>
                  <a:lnTo>
                    <a:pt x="474" y="1740"/>
                  </a:lnTo>
                  <a:lnTo>
                    <a:pt x="468" y="1746"/>
                  </a:lnTo>
                  <a:lnTo>
                    <a:pt x="456" y="1758"/>
                  </a:lnTo>
                  <a:lnTo>
                    <a:pt x="444" y="1770"/>
                  </a:lnTo>
                  <a:lnTo>
                    <a:pt x="438" y="1782"/>
                  </a:lnTo>
                  <a:lnTo>
                    <a:pt x="426" y="1788"/>
                  </a:lnTo>
                  <a:lnTo>
                    <a:pt x="420" y="1788"/>
                  </a:lnTo>
                  <a:lnTo>
                    <a:pt x="420" y="1782"/>
                  </a:lnTo>
                  <a:lnTo>
                    <a:pt x="414" y="1782"/>
                  </a:lnTo>
                  <a:lnTo>
                    <a:pt x="390" y="1782"/>
                  </a:lnTo>
                  <a:lnTo>
                    <a:pt x="390" y="1776"/>
                  </a:lnTo>
                  <a:lnTo>
                    <a:pt x="384" y="1776"/>
                  </a:lnTo>
                  <a:lnTo>
                    <a:pt x="378" y="1776"/>
                  </a:lnTo>
                  <a:lnTo>
                    <a:pt x="372" y="1776"/>
                  </a:lnTo>
                  <a:lnTo>
                    <a:pt x="366" y="1770"/>
                  </a:lnTo>
                  <a:lnTo>
                    <a:pt x="366" y="1776"/>
                  </a:lnTo>
                  <a:lnTo>
                    <a:pt x="360" y="1788"/>
                  </a:lnTo>
                  <a:lnTo>
                    <a:pt x="360" y="1794"/>
                  </a:lnTo>
                  <a:lnTo>
                    <a:pt x="360" y="1800"/>
                  </a:lnTo>
                  <a:lnTo>
                    <a:pt x="354" y="1806"/>
                  </a:lnTo>
                  <a:lnTo>
                    <a:pt x="354" y="1812"/>
                  </a:lnTo>
                  <a:lnTo>
                    <a:pt x="354" y="1824"/>
                  </a:lnTo>
                  <a:lnTo>
                    <a:pt x="348" y="1830"/>
                  </a:lnTo>
                  <a:lnTo>
                    <a:pt x="354" y="1836"/>
                  </a:lnTo>
                  <a:lnTo>
                    <a:pt x="348" y="1842"/>
                  </a:lnTo>
                  <a:lnTo>
                    <a:pt x="354" y="1848"/>
                  </a:lnTo>
                  <a:lnTo>
                    <a:pt x="348" y="1854"/>
                  </a:lnTo>
                  <a:lnTo>
                    <a:pt x="354" y="1854"/>
                  </a:lnTo>
                  <a:lnTo>
                    <a:pt x="348" y="1860"/>
                  </a:lnTo>
                  <a:lnTo>
                    <a:pt x="348" y="1866"/>
                  </a:lnTo>
                  <a:lnTo>
                    <a:pt x="342" y="1866"/>
                  </a:lnTo>
                  <a:lnTo>
                    <a:pt x="342" y="1872"/>
                  </a:lnTo>
                  <a:lnTo>
                    <a:pt x="342" y="1878"/>
                  </a:lnTo>
                  <a:lnTo>
                    <a:pt x="342" y="1884"/>
                  </a:lnTo>
                  <a:lnTo>
                    <a:pt x="336" y="1896"/>
                  </a:lnTo>
                  <a:lnTo>
                    <a:pt x="330" y="1914"/>
                  </a:lnTo>
                  <a:lnTo>
                    <a:pt x="324" y="1920"/>
                  </a:lnTo>
                  <a:lnTo>
                    <a:pt x="324" y="1926"/>
                  </a:lnTo>
                  <a:lnTo>
                    <a:pt x="318" y="1944"/>
                  </a:lnTo>
                  <a:lnTo>
                    <a:pt x="318" y="1950"/>
                  </a:lnTo>
                  <a:lnTo>
                    <a:pt x="312" y="1956"/>
                  </a:lnTo>
                  <a:lnTo>
                    <a:pt x="312" y="1950"/>
                  </a:lnTo>
                  <a:lnTo>
                    <a:pt x="306" y="1950"/>
                  </a:lnTo>
                  <a:lnTo>
                    <a:pt x="306" y="1956"/>
                  </a:lnTo>
                  <a:lnTo>
                    <a:pt x="300" y="1950"/>
                  </a:lnTo>
                  <a:lnTo>
                    <a:pt x="294" y="1956"/>
                  </a:lnTo>
                  <a:lnTo>
                    <a:pt x="288" y="1950"/>
                  </a:lnTo>
                  <a:lnTo>
                    <a:pt x="288" y="1944"/>
                  </a:lnTo>
                  <a:lnTo>
                    <a:pt x="282" y="1938"/>
                  </a:lnTo>
                  <a:lnTo>
                    <a:pt x="282" y="1932"/>
                  </a:lnTo>
                  <a:lnTo>
                    <a:pt x="282" y="1890"/>
                  </a:lnTo>
                  <a:lnTo>
                    <a:pt x="288" y="1860"/>
                  </a:lnTo>
                  <a:lnTo>
                    <a:pt x="294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300" y="1818"/>
                  </a:lnTo>
                  <a:lnTo>
                    <a:pt x="306" y="1794"/>
                  </a:lnTo>
                  <a:lnTo>
                    <a:pt x="306" y="1788"/>
                  </a:lnTo>
                  <a:lnTo>
                    <a:pt x="306" y="1782"/>
                  </a:lnTo>
                  <a:lnTo>
                    <a:pt x="312" y="1776"/>
                  </a:lnTo>
                  <a:lnTo>
                    <a:pt x="306" y="1776"/>
                  </a:lnTo>
                  <a:lnTo>
                    <a:pt x="312" y="1770"/>
                  </a:lnTo>
                  <a:lnTo>
                    <a:pt x="312" y="1740"/>
                  </a:lnTo>
                  <a:lnTo>
                    <a:pt x="318" y="1722"/>
                  </a:lnTo>
                  <a:lnTo>
                    <a:pt x="312" y="1722"/>
                  </a:lnTo>
                  <a:lnTo>
                    <a:pt x="300" y="1716"/>
                  </a:lnTo>
                  <a:lnTo>
                    <a:pt x="306" y="1716"/>
                  </a:lnTo>
                  <a:lnTo>
                    <a:pt x="312" y="1710"/>
                  </a:lnTo>
                  <a:lnTo>
                    <a:pt x="324" y="1674"/>
                  </a:lnTo>
                  <a:lnTo>
                    <a:pt x="366" y="1590"/>
                  </a:lnTo>
                  <a:lnTo>
                    <a:pt x="408" y="1548"/>
                  </a:lnTo>
                  <a:lnTo>
                    <a:pt x="426" y="1530"/>
                  </a:lnTo>
                  <a:lnTo>
                    <a:pt x="432" y="1500"/>
                  </a:lnTo>
                  <a:lnTo>
                    <a:pt x="426" y="1494"/>
                  </a:lnTo>
                  <a:lnTo>
                    <a:pt x="426" y="1482"/>
                  </a:lnTo>
                  <a:lnTo>
                    <a:pt x="432" y="1464"/>
                  </a:lnTo>
                  <a:lnTo>
                    <a:pt x="438" y="1428"/>
                  </a:lnTo>
                  <a:lnTo>
                    <a:pt x="462" y="1398"/>
                  </a:lnTo>
                  <a:lnTo>
                    <a:pt x="468" y="1362"/>
                  </a:lnTo>
                  <a:lnTo>
                    <a:pt x="462" y="1314"/>
                  </a:lnTo>
                  <a:lnTo>
                    <a:pt x="444" y="1284"/>
                  </a:lnTo>
                  <a:lnTo>
                    <a:pt x="432" y="1260"/>
                  </a:lnTo>
                  <a:lnTo>
                    <a:pt x="426" y="1260"/>
                  </a:lnTo>
                  <a:lnTo>
                    <a:pt x="420" y="1254"/>
                  </a:lnTo>
                  <a:lnTo>
                    <a:pt x="408" y="1260"/>
                  </a:lnTo>
                  <a:lnTo>
                    <a:pt x="402" y="1260"/>
                  </a:lnTo>
                  <a:lnTo>
                    <a:pt x="402" y="1254"/>
                  </a:lnTo>
                  <a:lnTo>
                    <a:pt x="396" y="1254"/>
                  </a:lnTo>
                  <a:lnTo>
                    <a:pt x="396" y="1248"/>
                  </a:lnTo>
                  <a:lnTo>
                    <a:pt x="384" y="1248"/>
                  </a:lnTo>
                  <a:lnTo>
                    <a:pt x="372" y="1230"/>
                  </a:lnTo>
                  <a:lnTo>
                    <a:pt x="360" y="1212"/>
                  </a:lnTo>
                  <a:lnTo>
                    <a:pt x="348" y="1188"/>
                  </a:lnTo>
                  <a:lnTo>
                    <a:pt x="324" y="1170"/>
                  </a:lnTo>
                  <a:lnTo>
                    <a:pt x="318" y="1170"/>
                  </a:lnTo>
                  <a:lnTo>
                    <a:pt x="312" y="1158"/>
                  </a:lnTo>
                  <a:lnTo>
                    <a:pt x="312" y="1152"/>
                  </a:lnTo>
                  <a:lnTo>
                    <a:pt x="306" y="1146"/>
                  </a:lnTo>
                  <a:lnTo>
                    <a:pt x="270" y="1122"/>
                  </a:lnTo>
                  <a:lnTo>
                    <a:pt x="240" y="1122"/>
                  </a:lnTo>
                  <a:lnTo>
                    <a:pt x="180" y="1116"/>
                  </a:lnTo>
                  <a:lnTo>
                    <a:pt x="174" y="1122"/>
                  </a:lnTo>
                  <a:lnTo>
                    <a:pt x="174" y="1128"/>
                  </a:lnTo>
                  <a:lnTo>
                    <a:pt x="168" y="1122"/>
                  </a:lnTo>
                  <a:lnTo>
                    <a:pt x="162" y="1116"/>
                  </a:lnTo>
                  <a:lnTo>
                    <a:pt x="144" y="1122"/>
                  </a:lnTo>
                  <a:lnTo>
                    <a:pt x="120" y="1122"/>
                  </a:lnTo>
                  <a:lnTo>
                    <a:pt x="54" y="1134"/>
                  </a:lnTo>
                  <a:lnTo>
                    <a:pt x="24" y="1152"/>
                  </a:lnTo>
                  <a:lnTo>
                    <a:pt x="6" y="1146"/>
                  </a:lnTo>
                  <a:lnTo>
                    <a:pt x="0" y="1134"/>
                  </a:lnTo>
                  <a:lnTo>
                    <a:pt x="0" y="1128"/>
                  </a:lnTo>
                  <a:lnTo>
                    <a:pt x="18" y="1110"/>
                  </a:lnTo>
                  <a:lnTo>
                    <a:pt x="24" y="1104"/>
                  </a:lnTo>
                  <a:lnTo>
                    <a:pt x="24" y="1098"/>
                  </a:lnTo>
                  <a:lnTo>
                    <a:pt x="30" y="1086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24" y="1074"/>
                  </a:lnTo>
                  <a:lnTo>
                    <a:pt x="18" y="1068"/>
                  </a:lnTo>
                  <a:lnTo>
                    <a:pt x="24" y="1062"/>
                  </a:lnTo>
                  <a:lnTo>
                    <a:pt x="42" y="1056"/>
                  </a:lnTo>
                  <a:lnTo>
                    <a:pt x="54" y="1050"/>
                  </a:lnTo>
                  <a:lnTo>
                    <a:pt x="72" y="1044"/>
                  </a:lnTo>
                  <a:lnTo>
                    <a:pt x="96" y="1032"/>
                  </a:lnTo>
                  <a:lnTo>
                    <a:pt x="102" y="1032"/>
                  </a:lnTo>
                  <a:lnTo>
                    <a:pt x="126" y="1008"/>
                  </a:lnTo>
                  <a:lnTo>
                    <a:pt x="144" y="990"/>
                  </a:lnTo>
                  <a:lnTo>
                    <a:pt x="156" y="978"/>
                  </a:lnTo>
                  <a:lnTo>
                    <a:pt x="156" y="966"/>
                  </a:lnTo>
                  <a:lnTo>
                    <a:pt x="150" y="960"/>
                  </a:lnTo>
                  <a:lnTo>
                    <a:pt x="144" y="948"/>
                  </a:lnTo>
                  <a:lnTo>
                    <a:pt x="144" y="936"/>
                  </a:lnTo>
                  <a:lnTo>
                    <a:pt x="138" y="918"/>
                  </a:lnTo>
                  <a:lnTo>
                    <a:pt x="150" y="912"/>
                  </a:lnTo>
                  <a:lnTo>
                    <a:pt x="150" y="894"/>
                  </a:lnTo>
                  <a:lnTo>
                    <a:pt x="132" y="876"/>
                  </a:lnTo>
                  <a:lnTo>
                    <a:pt x="126" y="876"/>
                  </a:lnTo>
                  <a:lnTo>
                    <a:pt x="120" y="870"/>
                  </a:lnTo>
                  <a:lnTo>
                    <a:pt x="120" y="864"/>
                  </a:lnTo>
                  <a:lnTo>
                    <a:pt x="114" y="864"/>
                  </a:lnTo>
                  <a:lnTo>
                    <a:pt x="108" y="864"/>
                  </a:lnTo>
                  <a:lnTo>
                    <a:pt x="108" y="858"/>
                  </a:lnTo>
                  <a:lnTo>
                    <a:pt x="102" y="852"/>
                  </a:lnTo>
                  <a:lnTo>
                    <a:pt x="96" y="852"/>
                  </a:lnTo>
                  <a:lnTo>
                    <a:pt x="102" y="834"/>
                  </a:lnTo>
                  <a:lnTo>
                    <a:pt x="108" y="816"/>
                  </a:lnTo>
                  <a:lnTo>
                    <a:pt x="114" y="804"/>
                  </a:lnTo>
                  <a:lnTo>
                    <a:pt x="132" y="798"/>
                  </a:lnTo>
                  <a:lnTo>
                    <a:pt x="144" y="798"/>
                  </a:lnTo>
                  <a:lnTo>
                    <a:pt x="180" y="810"/>
                  </a:lnTo>
                  <a:lnTo>
                    <a:pt x="192" y="816"/>
                  </a:lnTo>
                  <a:lnTo>
                    <a:pt x="234" y="822"/>
                  </a:lnTo>
                  <a:lnTo>
                    <a:pt x="264" y="828"/>
                  </a:lnTo>
                  <a:lnTo>
                    <a:pt x="270" y="840"/>
                  </a:lnTo>
                  <a:lnTo>
                    <a:pt x="270" y="834"/>
                  </a:lnTo>
                  <a:lnTo>
                    <a:pt x="270" y="828"/>
                  </a:lnTo>
                  <a:lnTo>
                    <a:pt x="270" y="822"/>
                  </a:lnTo>
                  <a:lnTo>
                    <a:pt x="270" y="816"/>
                  </a:lnTo>
                  <a:lnTo>
                    <a:pt x="264" y="810"/>
                  </a:lnTo>
                  <a:lnTo>
                    <a:pt x="264" y="804"/>
                  </a:lnTo>
                  <a:lnTo>
                    <a:pt x="264" y="798"/>
                  </a:lnTo>
                  <a:lnTo>
                    <a:pt x="258" y="792"/>
                  </a:lnTo>
                  <a:lnTo>
                    <a:pt x="258" y="786"/>
                  </a:lnTo>
                  <a:lnTo>
                    <a:pt x="264" y="786"/>
                  </a:lnTo>
                  <a:lnTo>
                    <a:pt x="264" y="780"/>
                  </a:lnTo>
                  <a:lnTo>
                    <a:pt x="258" y="774"/>
                  </a:lnTo>
                  <a:lnTo>
                    <a:pt x="258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82" y="762"/>
                  </a:lnTo>
                  <a:lnTo>
                    <a:pt x="312" y="780"/>
                  </a:lnTo>
                  <a:lnTo>
                    <a:pt x="354" y="786"/>
                  </a:lnTo>
                  <a:lnTo>
                    <a:pt x="408" y="774"/>
                  </a:lnTo>
                  <a:lnTo>
                    <a:pt x="444" y="756"/>
                  </a:lnTo>
                  <a:lnTo>
                    <a:pt x="468" y="732"/>
                  </a:lnTo>
                  <a:lnTo>
                    <a:pt x="492" y="720"/>
                  </a:lnTo>
                  <a:lnTo>
                    <a:pt x="522" y="690"/>
                  </a:lnTo>
                  <a:lnTo>
                    <a:pt x="540" y="672"/>
                  </a:lnTo>
                  <a:lnTo>
                    <a:pt x="558" y="660"/>
                  </a:lnTo>
                  <a:lnTo>
                    <a:pt x="570" y="636"/>
                  </a:lnTo>
                  <a:lnTo>
                    <a:pt x="588" y="612"/>
                  </a:lnTo>
                  <a:lnTo>
                    <a:pt x="654" y="552"/>
                  </a:lnTo>
                  <a:lnTo>
                    <a:pt x="678" y="528"/>
                  </a:lnTo>
                  <a:lnTo>
                    <a:pt x="696" y="510"/>
                  </a:lnTo>
                  <a:lnTo>
                    <a:pt x="714" y="498"/>
                  </a:lnTo>
                  <a:lnTo>
                    <a:pt x="750" y="480"/>
                  </a:lnTo>
                  <a:lnTo>
                    <a:pt x="774" y="444"/>
                  </a:lnTo>
                  <a:lnTo>
                    <a:pt x="816" y="426"/>
                  </a:lnTo>
                  <a:lnTo>
                    <a:pt x="864" y="420"/>
                  </a:lnTo>
                  <a:lnTo>
                    <a:pt x="912" y="402"/>
                  </a:lnTo>
                  <a:lnTo>
                    <a:pt x="906" y="396"/>
                  </a:lnTo>
                  <a:lnTo>
                    <a:pt x="912" y="396"/>
                  </a:lnTo>
                  <a:lnTo>
                    <a:pt x="912" y="390"/>
                  </a:lnTo>
                  <a:lnTo>
                    <a:pt x="918" y="384"/>
                  </a:lnTo>
                  <a:lnTo>
                    <a:pt x="924" y="384"/>
                  </a:lnTo>
                  <a:lnTo>
                    <a:pt x="924" y="378"/>
                  </a:lnTo>
                  <a:lnTo>
                    <a:pt x="918" y="372"/>
                  </a:lnTo>
                  <a:lnTo>
                    <a:pt x="918" y="366"/>
                  </a:lnTo>
                  <a:lnTo>
                    <a:pt x="918" y="360"/>
                  </a:lnTo>
                  <a:lnTo>
                    <a:pt x="924" y="360"/>
                  </a:lnTo>
                  <a:lnTo>
                    <a:pt x="924" y="354"/>
                  </a:lnTo>
                  <a:lnTo>
                    <a:pt x="930" y="354"/>
                  </a:lnTo>
                  <a:lnTo>
                    <a:pt x="936" y="354"/>
                  </a:lnTo>
                  <a:lnTo>
                    <a:pt x="936" y="348"/>
                  </a:lnTo>
                  <a:lnTo>
                    <a:pt x="942" y="348"/>
                  </a:lnTo>
                  <a:lnTo>
                    <a:pt x="942" y="336"/>
                  </a:lnTo>
                  <a:lnTo>
                    <a:pt x="936" y="336"/>
                  </a:lnTo>
                  <a:lnTo>
                    <a:pt x="930" y="330"/>
                  </a:lnTo>
                  <a:lnTo>
                    <a:pt x="924" y="330"/>
                  </a:lnTo>
                  <a:lnTo>
                    <a:pt x="924" y="324"/>
                  </a:lnTo>
                  <a:lnTo>
                    <a:pt x="918" y="318"/>
                  </a:lnTo>
                  <a:lnTo>
                    <a:pt x="912" y="306"/>
                  </a:lnTo>
                  <a:lnTo>
                    <a:pt x="918" y="306"/>
                  </a:lnTo>
                  <a:lnTo>
                    <a:pt x="924" y="300"/>
                  </a:lnTo>
                  <a:lnTo>
                    <a:pt x="924" y="294"/>
                  </a:lnTo>
                  <a:lnTo>
                    <a:pt x="924" y="288"/>
                  </a:lnTo>
                  <a:lnTo>
                    <a:pt x="924" y="282"/>
                  </a:lnTo>
                  <a:lnTo>
                    <a:pt x="924" y="276"/>
                  </a:lnTo>
                  <a:lnTo>
                    <a:pt x="918" y="270"/>
                  </a:lnTo>
                  <a:lnTo>
                    <a:pt x="918" y="264"/>
                  </a:lnTo>
                  <a:lnTo>
                    <a:pt x="912" y="270"/>
                  </a:lnTo>
                  <a:lnTo>
                    <a:pt x="912" y="264"/>
                  </a:lnTo>
                  <a:lnTo>
                    <a:pt x="912" y="258"/>
                  </a:lnTo>
                  <a:lnTo>
                    <a:pt x="912" y="252"/>
                  </a:lnTo>
                  <a:lnTo>
                    <a:pt x="906" y="252"/>
                  </a:lnTo>
                  <a:lnTo>
                    <a:pt x="900" y="246"/>
                  </a:lnTo>
                  <a:lnTo>
                    <a:pt x="900" y="240"/>
                  </a:lnTo>
                  <a:lnTo>
                    <a:pt x="900" y="246"/>
                  </a:lnTo>
                  <a:lnTo>
                    <a:pt x="894" y="246"/>
                  </a:lnTo>
                  <a:lnTo>
                    <a:pt x="894" y="240"/>
                  </a:lnTo>
                  <a:lnTo>
                    <a:pt x="894" y="234"/>
                  </a:lnTo>
                  <a:lnTo>
                    <a:pt x="900" y="234"/>
                  </a:lnTo>
                  <a:lnTo>
                    <a:pt x="900" y="228"/>
                  </a:lnTo>
                  <a:lnTo>
                    <a:pt x="906" y="228"/>
                  </a:lnTo>
                  <a:lnTo>
                    <a:pt x="900" y="222"/>
                  </a:lnTo>
                  <a:lnTo>
                    <a:pt x="894" y="216"/>
                  </a:lnTo>
                  <a:lnTo>
                    <a:pt x="894" y="210"/>
                  </a:lnTo>
                  <a:lnTo>
                    <a:pt x="888" y="210"/>
                  </a:lnTo>
                  <a:lnTo>
                    <a:pt x="888" y="204"/>
                  </a:lnTo>
                  <a:lnTo>
                    <a:pt x="888" y="198"/>
                  </a:lnTo>
                  <a:lnTo>
                    <a:pt x="888" y="192"/>
                  </a:lnTo>
                  <a:lnTo>
                    <a:pt x="882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82" y="174"/>
                  </a:lnTo>
                  <a:lnTo>
                    <a:pt x="888" y="168"/>
                  </a:lnTo>
                  <a:lnTo>
                    <a:pt x="888" y="162"/>
                  </a:lnTo>
                  <a:lnTo>
                    <a:pt x="888" y="156"/>
                  </a:lnTo>
                  <a:lnTo>
                    <a:pt x="888" y="150"/>
                  </a:lnTo>
                  <a:lnTo>
                    <a:pt x="888" y="144"/>
                  </a:lnTo>
                  <a:lnTo>
                    <a:pt x="882" y="144"/>
                  </a:lnTo>
                  <a:lnTo>
                    <a:pt x="882" y="138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76" y="120"/>
                  </a:lnTo>
                  <a:lnTo>
                    <a:pt x="882" y="114"/>
                  </a:lnTo>
                  <a:lnTo>
                    <a:pt x="882" y="108"/>
                  </a:lnTo>
                  <a:lnTo>
                    <a:pt x="888" y="102"/>
                  </a:lnTo>
                  <a:lnTo>
                    <a:pt x="894" y="102"/>
                  </a:lnTo>
                  <a:lnTo>
                    <a:pt x="894" y="96"/>
                  </a:lnTo>
                  <a:lnTo>
                    <a:pt x="888" y="96"/>
                  </a:lnTo>
                  <a:lnTo>
                    <a:pt x="894" y="90"/>
                  </a:lnTo>
                  <a:lnTo>
                    <a:pt x="888" y="84"/>
                  </a:lnTo>
                  <a:lnTo>
                    <a:pt x="888" y="78"/>
                  </a:lnTo>
                  <a:lnTo>
                    <a:pt x="924" y="66"/>
                  </a:lnTo>
                  <a:lnTo>
                    <a:pt x="966" y="66"/>
                  </a:lnTo>
                  <a:lnTo>
                    <a:pt x="996" y="48"/>
                  </a:lnTo>
                  <a:lnTo>
                    <a:pt x="1056" y="12"/>
                  </a:lnTo>
                  <a:lnTo>
                    <a:pt x="1128" y="0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0" y="18"/>
                  </a:lnTo>
                  <a:lnTo>
                    <a:pt x="1176" y="24"/>
                  </a:lnTo>
                  <a:lnTo>
                    <a:pt x="1182" y="24"/>
                  </a:lnTo>
                  <a:lnTo>
                    <a:pt x="1188" y="30"/>
                  </a:lnTo>
                  <a:lnTo>
                    <a:pt x="1194" y="30"/>
                  </a:lnTo>
                  <a:lnTo>
                    <a:pt x="1194" y="36"/>
                  </a:lnTo>
                  <a:lnTo>
                    <a:pt x="1260" y="30"/>
                  </a:lnTo>
                  <a:lnTo>
                    <a:pt x="1272" y="30"/>
                  </a:lnTo>
                  <a:lnTo>
                    <a:pt x="1296" y="24"/>
                  </a:lnTo>
                  <a:lnTo>
                    <a:pt x="1302" y="30"/>
                  </a:lnTo>
                  <a:lnTo>
                    <a:pt x="1302" y="36"/>
                  </a:lnTo>
                  <a:lnTo>
                    <a:pt x="1308" y="36"/>
                  </a:lnTo>
                  <a:lnTo>
                    <a:pt x="1314" y="36"/>
                  </a:lnTo>
                  <a:lnTo>
                    <a:pt x="1320" y="36"/>
                  </a:lnTo>
                  <a:lnTo>
                    <a:pt x="1326" y="30"/>
                  </a:lnTo>
                  <a:lnTo>
                    <a:pt x="1332" y="30"/>
                  </a:lnTo>
                  <a:lnTo>
                    <a:pt x="1338" y="30"/>
                  </a:lnTo>
                  <a:lnTo>
                    <a:pt x="1344" y="30"/>
                  </a:lnTo>
                  <a:lnTo>
                    <a:pt x="1374" y="30"/>
                  </a:lnTo>
                  <a:lnTo>
                    <a:pt x="1386" y="30"/>
                  </a:lnTo>
                  <a:lnTo>
                    <a:pt x="1392" y="24"/>
                  </a:lnTo>
                  <a:lnTo>
                    <a:pt x="1398" y="12"/>
                  </a:lnTo>
                  <a:lnTo>
                    <a:pt x="1404" y="6"/>
                  </a:lnTo>
                  <a:lnTo>
                    <a:pt x="1410" y="6"/>
                  </a:lnTo>
                  <a:lnTo>
                    <a:pt x="1410" y="12"/>
                  </a:lnTo>
                  <a:lnTo>
                    <a:pt x="1416" y="18"/>
                  </a:lnTo>
                  <a:lnTo>
                    <a:pt x="1416" y="36"/>
                  </a:lnTo>
                  <a:lnTo>
                    <a:pt x="1434" y="54"/>
                  </a:lnTo>
                  <a:lnTo>
                    <a:pt x="1434" y="60"/>
                  </a:lnTo>
                  <a:lnTo>
                    <a:pt x="1434" y="66"/>
                  </a:lnTo>
                  <a:lnTo>
                    <a:pt x="1434" y="72"/>
                  </a:lnTo>
                  <a:lnTo>
                    <a:pt x="1428" y="72"/>
                  </a:lnTo>
                  <a:lnTo>
                    <a:pt x="1428" y="78"/>
                  </a:lnTo>
                  <a:lnTo>
                    <a:pt x="1434" y="78"/>
                  </a:lnTo>
                  <a:lnTo>
                    <a:pt x="1440" y="84"/>
                  </a:lnTo>
                  <a:lnTo>
                    <a:pt x="1440" y="90"/>
                  </a:lnTo>
                  <a:lnTo>
                    <a:pt x="1440" y="96"/>
                  </a:lnTo>
                  <a:lnTo>
                    <a:pt x="1446" y="96"/>
                  </a:lnTo>
                  <a:lnTo>
                    <a:pt x="1446" y="108"/>
                  </a:lnTo>
                  <a:lnTo>
                    <a:pt x="1452" y="108"/>
                  </a:lnTo>
                  <a:lnTo>
                    <a:pt x="1452" y="114"/>
                  </a:lnTo>
                  <a:lnTo>
                    <a:pt x="1458" y="114"/>
                  </a:lnTo>
                  <a:lnTo>
                    <a:pt x="1470" y="120"/>
                  </a:lnTo>
                  <a:lnTo>
                    <a:pt x="1476" y="120"/>
                  </a:lnTo>
                  <a:lnTo>
                    <a:pt x="1476" y="114"/>
                  </a:lnTo>
                  <a:lnTo>
                    <a:pt x="1488" y="120"/>
                  </a:lnTo>
                  <a:lnTo>
                    <a:pt x="1506" y="120"/>
                  </a:lnTo>
                  <a:lnTo>
                    <a:pt x="1512" y="120"/>
                  </a:lnTo>
                  <a:lnTo>
                    <a:pt x="1518" y="120"/>
                  </a:lnTo>
                  <a:lnTo>
                    <a:pt x="1524" y="126"/>
                  </a:lnTo>
                  <a:lnTo>
                    <a:pt x="1536" y="150"/>
                  </a:lnTo>
                  <a:lnTo>
                    <a:pt x="1548" y="162"/>
                  </a:lnTo>
                  <a:lnTo>
                    <a:pt x="1554" y="168"/>
                  </a:lnTo>
                  <a:lnTo>
                    <a:pt x="1584" y="228"/>
                  </a:lnTo>
                  <a:lnTo>
                    <a:pt x="1584" y="234"/>
                  </a:lnTo>
                  <a:lnTo>
                    <a:pt x="1578" y="312"/>
                  </a:lnTo>
                  <a:lnTo>
                    <a:pt x="1590" y="318"/>
                  </a:lnTo>
                  <a:lnTo>
                    <a:pt x="1608" y="330"/>
                  </a:lnTo>
                  <a:lnTo>
                    <a:pt x="1620" y="342"/>
                  </a:lnTo>
                  <a:lnTo>
                    <a:pt x="1626" y="342"/>
                  </a:lnTo>
                  <a:lnTo>
                    <a:pt x="1692" y="360"/>
                  </a:lnTo>
                  <a:lnTo>
                    <a:pt x="1710" y="408"/>
                  </a:lnTo>
                  <a:lnTo>
                    <a:pt x="1722" y="426"/>
                  </a:lnTo>
                  <a:lnTo>
                    <a:pt x="1716" y="468"/>
                  </a:lnTo>
                  <a:lnTo>
                    <a:pt x="1686" y="486"/>
                  </a:lnTo>
                  <a:lnTo>
                    <a:pt x="1686" y="492"/>
                  </a:lnTo>
                  <a:lnTo>
                    <a:pt x="1680" y="498"/>
                  </a:lnTo>
                  <a:lnTo>
                    <a:pt x="1650" y="558"/>
                  </a:lnTo>
                  <a:lnTo>
                    <a:pt x="1650" y="570"/>
                  </a:lnTo>
                  <a:lnTo>
                    <a:pt x="1644" y="570"/>
                  </a:lnTo>
                  <a:lnTo>
                    <a:pt x="1638" y="582"/>
                  </a:lnTo>
                  <a:lnTo>
                    <a:pt x="1638" y="624"/>
                  </a:lnTo>
                  <a:lnTo>
                    <a:pt x="1638" y="636"/>
                  </a:lnTo>
                  <a:lnTo>
                    <a:pt x="1638" y="642"/>
                  </a:lnTo>
                  <a:lnTo>
                    <a:pt x="1632" y="660"/>
                  </a:lnTo>
                  <a:lnTo>
                    <a:pt x="1608" y="678"/>
                  </a:lnTo>
                  <a:lnTo>
                    <a:pt x="1584" y="690"/>
                  </a:lnTo>
                  <a:lnTo>
                    <a:pt x="1584" y="696"/>
                  </a:lnTo>
                  <a:lnTo>
                    <a:pt x="1578" y="702"/>
                  </a:lnTo>
                  <a:lnTo>
                    <a:pt x="1584" y="702"/>
                  </a:lnTo>
                  <a:lnTo>
                    <a:pt x="1578" y="714"/>
                  </a:lnTo>
                  <a:lnTo>
                    <a:pt x="1572" y="714"/>
                  </a:lnTo>
                  <a:lnTo>
                    <a:pt x="1572" y="720"/>
                  </a:lnTo>
                  <a:lnTo>
                    <a:pt x="1566" y="720"/>
                  </a:lnTo>
                  <a:lnTo>
                    <a:pt x="1560" y="726"/>
                  </a:lnTo>
                  <a:lnTo>
                    <a:pt x="1560" y="732"/>
                  </a:lnTo>
                  <a:lnTo>
                    <a:pt x="1554" y="732"/>
                  </a:lnTo>
                  <a:lnTo>
                    <a:pt x="1554" y="738"/>
                  </a:lnTo>
                  <a:lnTo>
                    <a:pt x="1554" y="744"/>
                  </a:lnTo>
                  <a:lnTo>
                    <a:pt x="1548" y="744"/>
                  </a:lnTo>
                  <a:lnTo>
                    <a:pt x="1548" y="738"/>
                  </a:lnTo>
                  <a:lnTo>
                    <a:pt x="1542" y="738"/>
                  </a:lnTo>
                  <a:lnTo>
                    <a:pt x="1542" y="744"/>
                  </a:lnTo>
                  <a:lnTo>
                    <a:pt x="1542" y="750"/>
                  </a:lnTo>
                  <a:lnTo>
                    <a:pt x="1494" y="804"/>
                  </a:lnTo>
                  <a:lnTo>
                    <a:pt x="1446" y="876"/>
                  </a:lnTo>
                  <a:lnTo>
                    <a:pt x="1440" y="876"/>
                  </a:lnTo>
                  <a:lnTo>
                    <a:pt x="1434" y="876"/>
                  </a:lnTo>
                  <a:lnTo>
                    <a:pt x="1428" y="882"/>
                  </a:lnTo>
                  <a:lnTo>
                    <a:pt x="1422" y="882"/>
                  </a:lnTo>
                  <a:lnTo>
                    <a:pt x="1386" y="924"/>
                  </a:lnTo>
                  <a:lnTo>
                    <a:pt x="1362" y="954"/>
                  </a:lnTo>
                  <a:lnTo>
                    <a:pt x="1356" y="984"/>
                  </a:lnTo>
                  <a:lnTo>
                    <a:pt x="1362" y="1002"/>
                  </a:lnTo>
                  <a:lnTo>
                    <a:pt x="1368" y="1020"/>
                  </a:lnTo>
                  <a:lnTo>
                    <a:pt x="1386" y="1056"/>
                  </a:lnTo>
                  <a:lnTo>
                    <a:pt x="1404" y="1074"/>
                  </a:lnTo>
                  <a:lnTo>
                    <a:pt x="1416" y="1080"/>
                  </a:lnTo>
                  <a:lnTo>
                    <a:pt x="1416" y="1086"/>
                  </a:lnTo>
                  <a:lnTo>
                    <a:pt x="1422" y="1098"/>
                  </a:lnTo>
                  <a:lnTo>
                    <a:pt x="1422" y="1110"/>
                  </a:lnTo>
                  <a:lnTo>
                    <a:pt x="1428" y="1116"/>
                  </a:lnTo>
                  <a:lnTo>
                    <a:pt x="1434" y="1116"/>
                  </a:lnTo>
                  <a:lnTo>
                    <a:pt x="1434" y="1122"/>
                  </a:lnTo>
                  <a:lnTo>
                    <a:pt x="1434" y="1128"/>
                  </a:lnTo>
                  <a:lnTo>
                    <a:pt x="1440" y="1134"/>
                  </a:lnTo>
                  <a:lnTo>
                    <a:pt x="1446" y="1134"/>
                  </a:lnTo>
                  <a:lnTo>
                    <a:pt x="1458" y="1134"/>
                  </a:lnTo>
                  <a:lnTo>
                    <a:pt x="1458" y="1140"/>
                  </a:lnTo>
                  <a:lnTo>
                    <a:pt x="1464" y="1134"/>
                  </a:lnTo>
                  <a:lnTo>
                    <a:pt x="1470" y="1134"/>
                  </a:lnTo>
                  <a:lnTo>
                    <a:pt x="1464" y="1128"/>
                  </a:lnTo>
                  <a:lnTo>
                    <a:pt x="1464" y="1122"/>
                  </a:lnTo>
                  <a:lnTo>
                    <a:pt x="1470" y="1116"/>
                  </a:lnTo>
                  <a:lnTo>
                    <a:pt x="1470" y="1122"/>
                  </a:lnTo>
                  <a:lnTo>
                    <a:pt x="1476" y="1122"/>
                  </a:lnTo>
                  <a:lnTo>
                    <a:pt x="1476" y="1116"/>
                  </a:lnTo>
                  <a:lnTo>
                    <a:pt x="1482" y="1110"/>
                  </a:lnTo>
                  <a:lnTo>
                    <a:pt x="1476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82" y="1086"/>
                  </a:lnTo>
                  <a:lnTo>
                    <a:pt x="1482" y="1074"/>
                  </a:lnTo>
                  <a:lnTo>
                    <a:pt x="1488" y="1068"/>
                  </a:lnTo>
                  <a:lnTo>
                    <a:pt x="1488" y="1062"/>
                  </a:lnTo>
                  <a:lnTo>
                    <a:pt x="1494" y="1062"/>
                  </a:lnTo>
                  <a:lnTo>
                    <a:pt x="1500" y="1062"/>
                  </a:lnTo>
                  <a:lnTo>
                    <a:pt x="1506" y="1062"/>
                  </a:lnTo>
                  <a:lnTo>
                    <a:pt x="1506" y="1056"/>
                  </a:lnTo>
                  <a:lnTo>
                    <a:pt x="1506" y="1062"/>
                  </a:lnTo>
                  <a:lnTo>
                    <a:pt x="1518" y="1062"/>
                  </a:lnTo>
                  <a:lnTo>
                    <a:pt x="1524" y="1062"/>
                  </a:lnTo>
                  <a:lnTo>
                    <a:pt x="1530" y="1062"/>
                  </a:lnTo>
                  <a:lnTo>
                    <a:pt x="1536" y="1068"/>
                  </a:lnTo>
                  <a:lnTo>
                    <a:pt x="1536" y="1074"/>
                  </a:lnTo>
                  <a:lnTo>
                    <a:pt x="1542" y="1086"/>
                  </a:lnTo>
                  <a:lnTo>
                    <a:pt x="1548" y="1086"/>
                  </a:lnTo>
                  <a:lnTo>
                    <a:pt x="1554" y="1086"/>
                  </a:lnTo>
                  <a:lnTo>
                    <a:pt x="1566" y="1098"/>
                  </a:lnTo>
                  <a:lnTo>
                    <a:pt x="1572" y="1104"/>
                  </a:lnTo>
                  <a:lnTo>
                    <a:pt x="1566" y="1110"/>
                  </a:lnTo>
                  <a:lnTo>
                    <a:pt x="1572" y="1116"/>
                  </a:lnTo>
                  <a:lnTo>
                    <a:pt x="1578" y="1116"/>
                  </a:lnTo>
                  <a:lnTo>
                    <a:pt x="1578" y="1122"/>
                  </a:lnTo>
                  <a:lnTo>
                    <a:pt x="1584" y="1122"/>
                  </a:lnTo>
                  <a:lnTo>
                    <a:pt x="1584" y="1128"/>
                  </a:lnTo>
                  <a:lnTo>
                    <a:pt x="1584" y="1134"/>
                  </a:lnTo>
                  <a:lnTo>
                    <a:pt x="1590" y="1134"/>
                  </a:lnTo>
                  <a:lnTo>
                    <a:pt x="1596" y="1140"/>
                  </a:lnTo>
                  <a:lnTo>
                    <a:pt x="1602" y="1146"/>
                  </a:lnTo>
                  <a:lnTo>
                    <a:pt x="1608" y="1146"/>
                  </a:lnTo>
                  <a:lnTo>
                    <a:pt x="1614" y="1146"/>
                  </a:lnTo>
                  <a:lnTo>
                    <a:pt x="1614" y="1152"/>
                  </a:lnTo>
                  <a:lnTo>
                    <a:pt x="1620" y="1152"/>
                  </a:lnTo>
                  <a:lnTo>
                    <a:pt x="1626" y="1164"/>
                  </a:lnTo>
                  <a:lnTo>
                    <a:pt x="1632" y="1170"/>
                  </a:lnTo>
                  <a:lnTo>
                    <a:pt x="1638" y="1176"/>
                  </a:lnTo>
                  <a:lnTo>
                    <a:pt x="1638" y="1182"/>
                  </a:lnTo>
                  <a:lnTo>
                    <a:pt x="1644" y="1194"/>
                  </a:lnTo>
                  <a:lnTo>
                    <a:pt x="1644" y="1200"/>
                  </a:lnTo>
                  <a:lnTo>
                    <a:pt x="1638" y="1200"/>
                  </a:lnTo>
                  <a:lnTo>
                    <a:pt x="1638" y="1206"/>
                  </a:lnTo>
                  <a:lnTo>
                    <a:pt x="1638" y="1212"/>
                  </a:lnTo>
                  <a:lnTo>
                    <a:pt x="1638" y="1218"/>
                  </a:lnTo>
                  <a:lnTo>
                    <a:pt x="1632" y="1242"/>
                  </a:lnTo>
                  <a:lnTo>
                    <a:pt x="1632" y="1266"/>
                  </a:lnTo>
                  <a:lnTo>
                    <a:pt x="1638" y="1284"/>
                  </a:lnTo>
                  <a:lnTo>
                    <a:pt x="1638" y="1296"/>
                  </a:lnTo>
                  <a:lnTo>
                    <a:pt x="1632" y="1296"/>
                  </a:lnTo>
                  <a:lnTo>
                    <a:pt x="1632" y="1302"/>
                  </a:lnTo>
                  <a:lnTo>
                    <a:pt x="1638" y="1314"/>
                  </a:lnTo>
                  <a:lnTo>
                    <a:pt x="1638" y="1320"/>
                  </a:lnTo>
                  <a:lnTo>
                    <a:pt x="1632" y="1320"/>
                  </a:lnTo>
                  <a:lnTo>
                    <a:pt x="1632" y="1326"/>
                  </a:lnTo>
                  <a:lnTo>
                    <a:pt x="1644" y="1332"/>
                  </a:lnTo>
                  <a:lnTo>
                    <a:pt x="1644" y="1338"/>
                  </a:lnTo>
                  <a:lnTo>
                    <a:pt x="1650" y="1344"/>
                  </a:lnTo>
                  <a:lnTo>
                    <a:pt x="1668" y="1362"/>
                  </a:lnTo>
                  <a:lnTo>
                    <a:pt x="1668" y="1368"/>
                  </a:lnTo>
                  <a:lnTo>
                    <a:pt x="1674" y="1392"/>
                  </a:lnTo>
                  <a:lnTo>
                    <a:pt x="1686" y="140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2" name="Freeform 17">
              <a:extLst>
                <a:ext uri="{FF2B5EF4-FFF2-40B4-BE49-F238E27FC236}">
                  <a16:creationId xmlns:a16="http://schemas.microsoft.com/office/drawing/2014/main" id="{9F9DF7AF-2203-4CCB-AF1B-32CDAF87CC5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416927"/>
              <a:ext cx="816209" cy="574781"/>
            </a:xfrm>
            <a:custGeom>
              <a:avLst/>
              <a:gdLst>
                <a:gd name="T0" fmla="*/ 115 w 1536"/>
                <a:gd name="T1" fmla="*/ 89 h 1080"/>
                <a:gd name="T2" fmla="*/ 113 w 1536"/>
                <a:gd name="T3" fmla="*/ 92 h 1080"/>
                <a:gd name="T4" fmla="*/ 107 w 1536"/>
                <a:gd name="T5" fmla="*/ 93 h 1080"/>
                <a:gd name="T6" fmla="*/ 108 w 1536"/>
                <a:gd name="T7" fmla="*/ 90 h 1080"/>
                <a:gd name="T8" fmla="*/ 105 w 1536"/>
                <a:gd name="T9" fmla="*/ 87 h 1080"/>
                <a:gd name="T10" fmla="*/ 102 w 1536"/>
                <a:gd name="T11" fmla="*/ 85 h 1080"/>
                <a:gd name="T12" fmla="*/ 89 w 1536"/>
                <a:gd name="T13" fmla="*/ 80 h 1080"/>
                <a:gd name="T14" fmla="*/ 85 w 1536"/>
                <a:gd name="T15" fmla="*/ 82 h 1080"/>
                <a:gd name="T16" fmla="*/ 82 w 1536"/>
                <a:gd name="T17" fmla="*/ 80 h 1080"/>
                <a:gd name="T18" fmla="*/ 80 w 1536"/>
                <a:gd name="T19" fmla="*/ 75 h 1080"/>
                <a:gd name="T20" fmla="*/ 75 w 1536"/>
                <a:gd name="T21" fmla="*/ 72 h 1080"/>
                <a:gd name="T22" fmla="*/ 61 w 1536"/>
                <a:gd name="T23" fmla="*/ 70 h 1080"/>
                <a:gd name="T24" fmla="*/ 62 w 1536"/>
                <a:gd name="T25" fmla="*/ 72 h 1080"/>
                <a:gd name="T26" fmla="*/ 58 w 1536"/>
                <a:gd name="T27" fmla="*/ 75 h 1080"/>
                <a:gd name="T28" fmla="*/ 49 w 1536"/>
                <a:gd name="T29" fmla="*/ 76 h 1080"/>
                <a:gd name="T30" fmla="*/ 41 w 1536"/>
                <a:gd name="T31" fmla="*/ 79 h 1080"/>
                <a:gd name="T32" fmla="*/ 41 w 1536"/>
                <a:gd name="T33" fmla="*/ 77 h 1080"/>
                <a:gd name="T34" fmla="*/ 39 w 1536"/>
                <a:gd name="T35" fmla="*/ 74 h 1080"/>
                <a:gd name="T36" fmla="*/ 28 w 1536"/>
                <a:gd name="T37" fmla="*/ 78 h 1080"/>
                <a:gd name="T38" fmla="*/ 18 w 1536"/>
                <a:gd name="T39" fmla="*/ 85 h 1080"/>
                <a:gd name="T40" fmla="*/ 18 w 1536"/>
                <a:gd name="T41" fmla="*/ 77 h 1080"/>
                <a:gd name="T42" fmla="*/ 19 w 1536"/>
                <a:gd name="T43" fmla="*/ 69 h 1080"/>
                <a:gd name="T44" fmla="*/ 16 w 1536"/>
                <a:gd name="T45" fmla="*/ 69 h 1080"/>
                <a:gd name="T46" fmla="*/ 11 w 1536"/>
                <a:gd name="T47" fmla="*/ 69 h 1080"/>
                <a:gd name="T48" fmla="*/ 5 w 1536"/>
                <a:gd name="T49" fmla="*/ 68 h 1080"/>
                <a:gd name="T50" fmla="*/ 1 w 1536"/>
                <a:gd name="T51" fmla="*/ 63 h 1080"/>
                <a:gd name="T52" fmla="*/ 3 w 1536"/>
                <a:gd name="T53" fmla="*/ 59 h 1080"/>
                <a:gd name="T54" fmla="*/ 9 w 1536"/>
                <a:gd name="T55" fmla="*/ 54 h 1080"/>
                <a:gd name="T56" fmla="*/ 15 w 1536"/>
                <a:gd name="T57" fmla="*/ 47 h 1080"/>
                <a:gd name="T58" fmla="*/ 17 w 1536"/>
                <a:gd name="T59" fmla="*/ 40 h 1080"/>
                <a:gd name="T60" fmla="*/ 12 w 1536"/>
                <a:gd name="T61" fmla="*/ 33 h 1080"/>
                <a:gd name="T62" fmla="*/ 10 w 1536"/>
                <a:gd name="T63" fmla="*/ 21 h 1080"/>
                <a:gd name="T64" fmla="*/ 6 w 1536"/>
                <a:gd name="T65" fmla="*/ 14 h 1080"/>
                <a:gd name="T66" fmla="*/ 7 w 1536"/>
                <a:gd name="T67" fmla="*/ 9 h 1080"/>
                <a:gd name="T68" fmla="*/ 12 w 1536"/>
                <a:gd name="T69" fmla="*/ 7 h 1080"/>
                <a:gd name="T70" fmla="*/ 16 w 1536"/>
                <a:gd name="T71" fmla="*/ 8 h 1080"/>
                <a:gd name="T72" fmla="*/ 19 w 1536"/>
                <a:gd name="T73" fmla="*/ 8 h 1080"/>
                <a:gd name="T74" fmla="*/ 22 w 1536"/>
                <a:gd name="T75" fmla="*/ 9 h 1080"/>
                <a:gd name="T76" fmla="*/ 29 w 1536"/>
                <a:gd name="T77" fmla="*/ 12 h 1080"/>
                <a:gd name="T78" fmla="*/ 33 w 1536"/>
                <a:gd name="T79" fmla="*/ 13 h 1080"/>
                <a:gd name="T80" fmla="*/ 38 w 1536"/>
                <a:gd name="T81" fmla="*/ 15 h 1080"/>
                <a:gd name="T82" fmla="*/ 42 w 1536"/>
                <a:gd name="T83" fmla="*/ 17 h 1080"/>
                <a:gd name="T84" fmla="*/ 47 w 1536"/>
                <a:gd name="T85" fmla="*/ 19 h 1080"/>
                <a:gd name="T86" fmla="*/ 51 w 1536"/>
                <a:gd name="T87" fmla="*/ 21 h 1080"/>
                <a:gd name="T88" fmla="*/ 50 w 1536"/>
                <a:gd name="T89" fmla="*/ 15 h 1080"/>
                <a:gd name="T90" fmla="*/ 56 w 1536"/>
                <a:gd name="T91" fmla="*/ 0 h 1080"/>
                <a:gd name="T92" fmla="*/ 74 w 1536"/>
                <a:gd name="T93" fmla="*/ 5 h 1080"/>
                <a:gd name="T94" fmla="*/ 87 w 1536"/>
                <a:gd name="T95" fmla="*/ 6 h 1080"/>
                <a:gd name="T96" fmla="*/ 92 w 1536"/>
                <a:gd name="T97" fmla="*/ 11 h 1080"/>
                <a:gd name="T98" fmla="*/ 95 w 1536"/>
                <a:gd name="T99" fmla="*/ 15 h 1080"/>
                <a:gd name="T100" fmla="*/ 93 w 1536"/>
                <a:gd name="T101" fmla="*/ 20 h 1080"/>
                <a:gd name="T102" fmla="*/ 108 w 1536"/>
                <a:gd name="T103" fmla="*/ 18 h 1080"/>
                <a:gd name="T104" fmla="*/ 120 w 1536"/>
                <a:gd name="T105" fmla="*/ 21 h 1080"/>
                <a:gd name="T106" fmla="*/ 127 w 1536"/>
                <a:gd name="T107" fmla="*/ 29 h 1080"/>
                <a:gd name="T108" fmla="*/ 130 w 1536"/>
                <a:gd name="T109" fmla="*/ 30 h 1080"/>
                <a:gd name="T110" fmla="*/ 130 w 1536"/>
                <a:gd name="T111" fmla="*/ 49 h 1080"/>
                <a:gd name="T112" fmla="*/ 120 w 1536"/>
                <a:gd name="T113" fmla="*/ 69 h 1080"/>
                <a:gd name="T114" fmla="*/ 119 w 1536"/>
                <a:gd name="T115" fmla="*/ 74 h 1080"/>
                <a:gd name="T116" fmla="*/ 118 w 1536"/>
                <a:gd name="T117" fmla="*/ 80 h 108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536"/>
                <a:gd name="T178" fmla="*/ 0 h 1080"/>
                <a:gd name="T179" fmla="*/ 1536 w 1536"/>
                <a:gd name="T180" fmla="*/ 1080 h 108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536" h="1080">
                  <a:moveTo>
                    <a:pt x="1350" y="1020"/>
                  </a:moveTo>
                  <a:lnTo>
                    <a:pt x="1350" y="1026"/>
                  </a:lnTo>
                  <a:lnTo>
                    <a:pt x="1344" y="1026"/>
                  </a:lnTo>
                  <a:lnTo>
                    <a:pt x="1338" y="1032"/>
                  </a:lnTo>
                  <a:lnTo>
                    <a:pt x="1332" y="1026"/>
                  </a:lnTo>
                  <a:lnTo>
                    <a:pt x="1326" y="1026"/>
                  </a:lnTo>
                  <a:lnTo>
                    <a:pt x="1320" y="1020"/>
                  </a:lnTo>
                  <a:lnTo>
                    <a:pt x="1314" y="1026"/>
                  </a:lnTo>
                  <a:lnTo>
                    <a:pt x="1314" y="1032"/>
                  </a:lnTo>
                  <a:lnTo>
                    <a:pt x="1308" y="1038"/>
                  </a:lnTo>
                  <a:lnTo>
                    <a:pt x="1308" y="1044"/>
                  </a:lnTo>
                  <a:lnTo>
                    <a:pt x="1308" y="1050"/>
                  </a:lnTo>
                  <a:lnTo>
                    <a:pt x="1308" y="1056"/>
                  </a:lnTo>
                  <a:lnTo>
                    <a:pt x="1308" y="1062"/>
                  </a:lnTo>
                  <a:lnTo>
                    <a:pt x="1296" y="1068"/>
                  </a:lnTo>
                  <a:lnTo>
                    <a:pt x="1284" y="1074"/>
                  </a:lnTo>
                  <a:lnTo>
                    <a:pt x="1272" y="1080"/>
                  </a:lnTo>
                  <a:lnTo>
                    <a:pt x="1260" y="1080"/>
                  </a:lnTo>
                  <a:lnTo>
                    <a:pt x="1254" y="1074"/>
                  </a:lnTo>
                  <a:lnTo>
                    <a:pt x="1236" y="1074"/>
                  </a:lnTo>
                  <a:lnTo>
                    <a:pt x="1230" y="1074"/>
                  </a:lnTo>
                  <a:lnTo>
                    <a:pt x="1236" y="1074"/>
                  </a:lnTo>
                  <a:lnTo>
                    <a:pt x="1236" y="1068"/>
                  </a:lnTo>
                  <a:lnTo>
                    <a:pt x="1236" y="1062"/>
                  </a:lnTo>
                  <a:lnTo>
                    <a:pt x="1236" y="1056"/>
                  </a:lnTo>
                  <a:lnTo>
                    <a:pt x="1242" y="1050"/>
                  </a:lnTo>
                  <a:lnTo>
                    <a:pt x="1242" y="1044"/>
                  </a:lnTo>
                  <a:lnTo>
                    <a:pt x="1242" y="1038"/>
                  </a:lnTo>
                  <a:lnTo>
                    <a:pt x="1248" y="1032"/>
                  </a:lnTo>
                  <a:lnTo>
                    <a:pt x="1236" y="1026"/>
                  </a:lnTo>
                  <a:lnTo>
                    <a:pt x="1218" y="1020"/>
                  </a:lnTo>
                  <a:lnTo>
                    <a:pt x="1224" y="1014"/>
                  </a:lnTo>
                  <a:lnTo>
                    <a:pt x="1218" y="1008"/>
                  </a:lnTo>
                  <a:lnTo>
                    <a:pt x="1218" y="1002"/>
                  </a:lnTo>
                  <a:lnTo>
                    <a:pt x="1212" y="1008"/>
                  </a:lnTo>
                  <a:lnTo>
                    <a:pt x="1206" y="1002"/>
                  </a:lnTo>
                  <a:lnTo>
                    <a:pt x="1212" y="1002"/>
                  </a:lnTo>
                  <a:lnTo>
                    <a:pt x="1212" y="996"/>
                  </a:lnTo>
                  <a:lnTo>
                    <a:pt x="1200" y="990"/>
                  </a:lnTo>
                  <a:lnTo>
                    <a:pt x="1200" y="984"/>
                  </a:lnTo>
                  <a:lnTo>
                    <a:pt x="1188" y="984"/>
                  </a:lnTo>
                  <a:lnTo>
                    <a:pt x="1176" y="978"/>
                  </a:lnTo>
                  <a:lnTo>
                    <a:pt x="1164" y="960"/>
                  </a:lnTo>
                  <a:lnTo>
                    <a:pt x="1152" y="936"/>
                  </a:lnTo>
                  <a:lnTo>
                    <a:pt x="1146" y="936"/>
                  </a:lnTo>
                  <a:lnTo>
                    <a:pt x="1128" y="900"/>
                  </a:lnTo>
                  <a:lnTo>
                    <a:pt x="1038" y="912"/>
                  </a:lnTo>
                  <a:lnTo>
                    <a:pt x="1038" y="918"/>
                  </a:lnTo>
                  <a:lnTo>
                    <a:pt x="1032" y="924"/>
                  </a:lnTo>
                  <a:lnTo>
                    <a:pt x="1026" y="918"/>
                  </a:lnTo>
                  <a:lnTo>
                    <a:pt x="1020" y="924"/>
                  </a:lnTo>
                  <a:lnTo>
                    <a:pt x="1008" y="936"/>
                  </a:lnTo>
                  <a:lnTo>
                    <a:pt x="990" y="936"/>
                  </a:lnTo>
                  <a:lnTo>
                    <a:pt x="990" y="942"/>
                  </a:lnTo>
                  <a:lnTo>
                    <a:pt x="996" y="942"/>
                  </a:lnTo>
                  <a:lnTo>
                    <a:pt x="984" y="948"/>
                  </a:lnTo>
                  <a:lnTo>
                    <a:pt x="972" y="948"/>
                  </a:lnTo>
                  <a:lnTo>
                    <a:pt x="960" y="948"/>
                  </a:lnTo>
                  <a:lnTo>
                    <a:pt x="948" y="942"/>
                  </a:lnTo>
                  <a:lnTo>
                    <a:pt x="948" y="936"/>
                  </a:lnTo>
                  <a:lnTo>
                    <a:pt x="942" y="936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30" y="924"/>
                  </a:lnTo>
                  <a:lnTo>
                    <a:pt x="936" y="918"/>
                  </a:lnTo>
                  <a:lnTo>
                    <a:pt x="918" y="918"/>
                  </a:lnTo>
                  <a:lnTo>
                    <a:pt x="918" y="900"/>
                  </a:lnTo>
                  <a:lnTo>
                    <a:pt x="924" y="900"/>
                  </a:lnTo>
                  <a:lnTo>
                    <a:pt x="924" y="894"/>
                  </a:lnTo>
                  <a:lnTo>
                    <a:pt x="924" y="870"/>
                  </a:lnTo>
                  <a:lnTo>
                    <a:pt x="924" y="864"/>
                  </a:lnTo>
                  <a:lnTo>
                    <a:pt x="918" y="858"/>
                  </a:lnTo>
                  <a:lnTo>
                    <a:pt x="918" y="852"/>
                  </a:lnTo>
                  <a:lnTo>
                    <a:pt x="906" y="840"/>
                  </a:lnTo>
                  <a:lnTo>
                    <a:pt x="894" y="834"/>
                  </a:lnTo>
                  <a:lnTo>
                    <a:pt x="876" y="822"/>
                  </a:lnTo>
                  <a:lnTo>
                    <a:pt x="870" y="828"/>
                  </a:lnTo>
                  <a:lnTo>
                    <a:pt x="858" y="816"/>
                  </a:lnTo>
                  <a:lnTo>
                    <a:pt x="810" y="798"/>
                  </a:lnTo>
                  <a:lnTo>
                    <a:pt x="774" y="792"/>
                  </a:lnTo>
                  <a:lnTo>
                    <a:pt x="732" y="798"/>
                  </a:lnTo>
                  <a:lnTo>
                    <a:pt x="726" y="804"/>
                  </a:lnTo>
                  <a:lnTo>
                    <a:pt x="714" y="810"/>
                  </a:lnTo>
                  <a:lnTo>
                    <a:pt x="702" y="810"/>
                  </a:lnTo>
                  <a:lnTo>
                    <a:pt x="690" y="810"/>
                  </a:lnTo>
                  <a:lnTo>
                    <a:pt x="696" y="816"/>
                  </a:lnTo>
                  <a:lnTo>
                    <a:pt x="696" y="822"/>
                  </a:lnTo>
                  <a:lnTo>
                    <a:pt x="702" y="822"/>
                  </a:lnTo>
                  <a:lnTo>
                    <a:pt x="708" y="822"/>
                  </a:lnTo>
                  <a:lnTo>
                    <a:pt x="708" y="828"/>
                  </a:lnTo>
                  <a:lnTo>
                    <a:pt x="708" y="834"/>
                  </a:lnTo>
                  <a:lnTo>
                    <a:pt x="714" y="834"/>
                  </a:lnTo>
                  <a:lnTo>
                    <a:pt x="708" y="846"/>
                  </a:lnTo>
                  <a:lnTo>
                    <a:pt x="708" y="852"/>
                  </a:lnTo>
                  <a:lnTo>
                    <a:pt x="702" y="852"/>
                  </a:lnTo>
                  <a:lnTo>
                    <a:pt x="696" y="858"/>
                  </a:lnTo>
                  <a:lnTo>
                    <a:pt x="690" y="864"/>
                  </a:lnTo>
                  <a:lnTo>
                    <a:pt x="666" y="870"/>
                  </a:lnTo>
                  <a:lnTo>
                    <a:pt x="660" y="876"/>
                  </a:lnTo>
                  <a:lnTo>
                    <a:pt x="642" y="876"/>
                  </a:lnTo>
                  <a:lnTo>
                    <a:pt x="606" y="882"/>
                  </a:lnTo>
                  <a:lnTo>
                    <a:pt x="588" y="882"/>
                  </a:lnTo>
                  <a:lnTo>
                    <a:pt x="582" y="876"/>
                  </a:lnTo>
                  <a:lnTo>
                    <a:pt x="576" y="876"/>
                  </a:lnTo>
                  <a:lnTo>
                    <a:pt x="564" y="876"/>
                  </a:lnTo>
                  <a:lnTo>
                    <a:pt x="552" y="882"/>
                  </a:lnTo>
                  <a:lnTo>
                    <a:pt x="540" y="894"/>
                  </a:lnTo>
                  <a:lnTo>
                    <a:pt x="534" y="906"/>
                  </a:lnTo>
                  <a:lnTo>
                    <a:pt x="528" y="912"/>
                  </a:lnTo>
                  <a:lnTo>
                    <a:pt x="516" y="924"/>
                  </a:lnTo>
                  <a:lnTo>
                    <a:pt x="486" y="930"/>
                  </a:lnTo>
                  <a:lnTo>
                    <a:pt x="474" y="912"/>
                  </a:lnTo>
                  <a:lnTo>
                    <a:pt x="474" y="906"/>
                  </a:lnTo>
                  <a:lnTo>
                    <a:pt x="468" y="906"/>
                  </a:lnTo>
                  <a:lnTo>
                    <a:pt x="468" y="900"/>
                  </a:lnTo>
                  <a:lnTo>
                    <a:pt x="462" y="894"/>
                  </a:lnTo>
                  <a:lnTo>
                    <a:pt x="456" y="894"/>
                  </a:lnTo>
                  <a:lnTo>
                    <a:pt x="462" y="888"/>
                  </a:lnTo>
                  <a:lnTo>
                    <a:pt x="468" y="888"/>
                  </a:lnTo>
                  <a:lnTo>
                    <a:pt x="462" y="882"/>
                  </a:lnTo>
                  <a:lnTo>
                    <a:pt x="462" y="876"/>
                  </a:lnTo>
                  <a:lnTo>
                    <a:pt x="456" y="870"/>
                  </a:lnTo>
                  <a:lnTo>
                    <a:pt x="456" y="864"/>
                  </a:lnTo>
                  <a:lnTo>
                    <a:pt x="450" y="858"/>
                  </a:lnTo>
                  <a:lnTo>
                    <a:pt x="444" y="858"/>
                  </a:lnTo>
                  <a:lnTo>
                    <a:pt x="444" y="852"/>
                  </a:lnTo>
                  <a:lnTo>
                    <a:pt x="438" y="852"/>
                  </a:lnTo>
                  <a:lnTo>
                    <a:pt x="438" y="858"/>
                  </a:lnTo>
                  <a:lnTo>
                    <a:pt x="402" y="870"/>
                  </a:lnTo>
                  <a:lnTo>
                    <a:pt x="390" y="882"/>
                  </a:lnTo>
                  <a:lnTo>
                    <a:pt x="384" y="900"/>
                  </a:lnTo>
                  <a:lnTo>
                    <a:pt x="342" y="900"/>
                  </a:lnTo>
                  <a:lnTo>
                    <a:pt x="324" y="900"/>
                  </a:lnTo>
                  <a:lnTo>
                    <a:pt x="294" y="906"/>
                  </a:lnTo>
                  <a:lnTo>
                    <a:pt x="282" y="948"/>
                  </a:lnTo>
                  <a:lnTo>
                    <a:pt x="282" y="978"/>
                  </a:lnTo>
                  <a:lnTo>
                    <a:pt x="270" y="1008"/>
                  </a:lnTo>
                  <a:lnTo>
                    <a:pt x="240" y="1014"/>
                  </a:lnTo>
                  <a:lnTo>
                    <a:pt x="216" y="996"/>
                  </a:lnTo>
                  <a:lnTo>
                    <a:pt x="204" y="984"/>
                  </a:lnTo>
                  <a:lnTo>
                    <a:pt x="192" y="966"/>
                  </a:lnTo>
                  <a:lnTo>
                    <a:pt x="186" y="948"/>
                  </a:lnTo>
                  <a:lnTo>
                    <a:pt x="174" y="948"/>
                  </a:lnTo>
                  <a:lnTo>
                    <a:pt x="174" y="936"/>
                  </a:lnTo>
                  <a:lnTo>
                    <a:pt x="186" y="924"/>
                  </a:lnTo>
                  <a:lnTo>
                    <a:pt x="198" y="906"/>
                  </a:lnTo>
                  <a:lnTo>
                    <a:pt x="204" y="888"/>
                  </a:lnTo>
                  <a:lnTo>
                    <a:pt x="222" y="870"/>
                  </a:lnTo>
                  <a:lnTo>
                    <a:pt x="234" y="858"/>
                  </a:lnTo>
                  <a:lnTo>
                    <a:pt x="234" y="852"/>
                  </a:lnTo>
                  <a:lnTo>
                    <a:pt x="222" y="852"/>
                  </a:lnTo>
                  <a:lnTo>
                    <a:pt x="228" y="810"/>
                  </a:lnTo>
                  <a:lnTo>
                    <a:pt x="222" y="798"/>
                  </a:lnTo>
                  <a:lnTo>
                    <a:pt x="216" y="798"/>
                  </a:lnTo>
                  <a:lnTo>
                    <a:pt x="216" y="792"/>
                  </a:lnTo>
                  <a:lnTo>
                    <a:pt x="210" y="792"/>
                  </a:lnTo>
                  <a:lnTo>
                    <a:pt x="204" y="798"/>
                  </a:lnTo>
                  <a:lnTo>
                    <a:pt x="204" y="792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0" y="786"/>
                  </a:lnTo>
                  <a:lnTo>
                    <a:pt x="174" y="792"/>
                  </a:lnTo>
                  <a:lnTo>
                    <a:pt x="162" y="792"/>
                  </a:lnTo>
                  <a:lnTo>
                    <a:pt x="156" y="792"/>
                  </a:lnTo>
                  <a:lnTo>
                    <a:pt x="156" y="798"/>
                  </a:lnTo>
                  <a:lnTo>
                    <a:pt x="138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6" y="804"/>
                  </a:lnTo>
                  <a:lnTo>
                    <a:pt x="102" y="810"/>
                  </a:lnTo>
                  <a:lnTo>
                    <a:pt x="90" y="810"/>
                  </a:lnTo>
                  <a:lnTo>
                    <a:pt x="72" y="798"/>
                  </a:lnTo>
                  <a:lnTo>
                    <a:pt x="66" y="780"/>
                  </a:lnTo>
                  <a:lnTo>
                    <a:pt x="60" y="780"/>
                  </a:lnTo>
                  <a:lnTo>
                    <a:pt x="60" y="768"/>
                  </a:lnTo>
                  <a:lnTo>
                    <a:pt x="54" y="768"/>
                  </a:lnTo>
                  <a:lnTo>
                    <a:pt x="24" y="756"/>
                  </a:lnTo>
                  <a:lnTo>
                    <a:pt x="18" y="744"/>
                  </a:lnTo>
                  <a:lnTo>
                    <a:pt x="12" y="738"/>
                  </a:lnTo>
                  <a:lnTo>
                    <a:pt x="18" y="732"/>
                  </a:lnTo>
                  <a:lnTo>
                    <a:pt x="12" y="726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8" y="696"/>
                  </a:lnTo>
                  <a:lnTo>
                    <a:pt x="24" y="708"/>
                  </a:lnTo>
                  <a:lnTo>
                    <a:pt x="36" y="702"/>
                  </a:lnTo>
                  <a:lnTo>
                    <a:pt x="36" y="678"/>
                  </a:lnTo>
                  <a:lnTo>
                    <a:pt x="36" y="660"/>
                  </a:lnTo>
                  <a:lnTo>
                    <a:pt x="42" y="654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72" y="624"/>
                  </a:lnTo>
                  <a:lnTo>
                    <a:pt x="90" y="618"/>
                  </a:lnTo>
                  <a:lnTo>
                    <a:pt x="102" y="618"/>
                  </a:lnTo>
                  <a:lnTo>
                    <a:pt x="114" y="612"/>
                  </a:lnTo>
                  <a:lnTo>
                    <a:pt x="138" y="606"/>
                  </a:lnTo>
                  <a:lnTo>
                    <a:pt x="144" y="606"/>
                  </a:lnTo>
                  <a:lnTo>
                    <a:pt x="150" y="594"/>
                  </a:lnTo>
                  <a:lnTo>
                    <a:pt x="156" y="576"/>
                  </a:lnTo>
                  <a:lnTo>
                    <a:pt x="168" y="552"/>
                  </a:lnTo>
                  <a:lnTo>
                    <a:pt x="168" y="540"/>
                  </a:lnTo>
                  <a:lnTo>
                    <a:pt x="180" y="522"/>
                  </a:lnTo>
                  <a:lnTo>
                    <a:pt x="186" y="498"/>
                  </a:lnTo>
                  <a:lnTo>
                    <a:pt x="198" y="480"/>
                  </a:lnTo>
                  <a:lnTo>
                    <a:pt x="204" y="486"/>
                  </a:lnTo>
                  <a:lnTo>
                    <a:pt x="210" y="480"/>
                  </a:lnTo>
                  <a:lnTo>
                    <a:pt x="204" y="474"/>
                  </a:lnTo>
                  <a:lnTo>
                    <a:pt x="198" y="462"/>
                  </a:lnTo>
                  <a:lnTo>
                    <a:pt x="192" y="456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50"/>
                  </a:lnTo>
                  <a:lnTo>
                    <a:pt x="132" y="426"/>
                  </a:lnTo>
                  <a:lnTo>
                    <a:pt x="132" y="396"/>
                  </a:lnTo>
                  <a:lnTo>
                    <a:pt x="132" y="378"/>
                  </a:lnTo>
                  <a:lnTo>
                    <a:pt x="126" y="348"/>
                  </a:lnTo>
                  <a:lnTo>
                    <a:pt x="132" y="312"/>
                  </a:lnTo>
                  <a:lnTo>
                    <a:pt x="126" y="288"/>
                  </a:lnTo>
                  <a:lnTo>
                    <a:pt x="138" y="282"/>
                  </a:lnTo>
                  <a:lnTo>
                    <a:pt x="126" y="264"/>
                  </a:lnTo>
                  <a:lnTo>
                    <a:pt x="126" y="258"/>
                  </a:lnTo>
                  <a:lnTo>
                    <a:pt x="120" y="246"/>
                  </a:lnTo>
                  <a:lnTo>
                    <a:pt x="126" y="234"/>
                  </a:lnTo>
                  <a:lnTo>
                    <a:pt x="114" y="228"/>
                  </a:lnTo>
                  <a:lnTo>
                    <a:pt x="114" y="222"/>
                  </a:lnTo>
                  <a:lnTo>
                    <a:pt x="96" y="204"/>
                  </a:lnTo>
                  <a:lnTo>
                    <a:pt x="84" y="180"/>
                  </a:lnTo>
                  <a:lnTo>
                    <a:pt x="78" y="168"/>
                  </a:lnTo>
                  <a:lnTo>
                    <a:pt x="72" y="162"/>
                  </a:lnTo>
                  <a:lnTo>
                    <a:pt x="66" y="144"/>
                  </a:lnTo>
                  <a:lnTo>
                    <a:pt x="60" y="138"/>
                  </a:lnTo>
                  <a:lnTo>
                    <a:pt x="66" y="126"/>
                  </a:lnTo>
                  <a:lnTo>
                    <a:pt x="66" y="114"/>
                  </a:lnTo>
                  <a:lnTo>
                    <a:pt x="72" y="114"/>
                  </a:lnTo>
                  <a:lnTo>
                    <a:pt x="72" y="108"/>
                  </a:lnTo>
                  <a:lnTo>
                    <a:pt x="78" y="102"/>
                  </a:lnTo>
                  <a:lnTo>
                    <a:pt x="78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120" y="78"/>
                  </a:lnTo>
                  <a:lnTo>
                    <a:pt x="144" y="84"/>
                  </a:lnTo>
                  <a:lnTo>
                    <a:pt x="150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74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92" y="102"/>
                  </a:lnTo>
                  <a:lnTo>
                    <a:pt x="198" y="96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16" y="96"/>
                  </a:lnTo>
                  <a:lnTo>
                    <a:pt x="222" y="96"/>
                  </a:lnTo>
                  <a:lnTo>
                    <a:pt x="228" y="96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94" y="114"/>
                  </a:lnTo>
                  <a:lnTo>
                    <a:pt x="312" y="120"/>
                  </a:lnTo>
                  <a:lnTo>
                    <a:pt x="318" y="126"/>
                  </a:lnTo>
                  <a:lnTo>
                    <a:pt x="330" y="132"/>
                  </a:lnTo>
                  <a:lnTo>
                    <a:pt x="342" y="132"/>
                  </a:lnTo>
                  <a:lnTo>
                    <a:pt x="348" y="132"/>
                  </a:lnTo>
                  <a:lnTo>
                    <a:pt x="354" y="138"/>
                  </a:lnTo>
                  <a:lnTo>
                    <a:pt x="366" y="138"/>
                  </a:lnTo>
                  <a:lnTo>
                    <a:pt x="372" y="144"/>
                  </a:lnTo>
                  <a:lnTo>
                    <a:pt x="378" y="150"/>
                  </a:lnTo>
                  <a:lnTo>
                    <a:pt x="384" y="150"/>
                  </a:lnTo>
                  <a:lnTo>
                    <a:pt x="390" y="150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14" y="156"/>
                  </a:lnTo>
                  <a:lnTo>
                    <a:pt x="420" y="156"/>
                  </a:lnTo>
                  <a:lnTo>
                    <a:pt x="426" y="162"/>
                  </a:lnTo>
                  <a:lnTo>
                    <a:pt x="438" y="168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62" y="174"/>
                  </a:lnTo>
                  <a:lnTo>
                    <a:pt x="468" y="174"/>
                  </a:lnTo>
                  <a:lnTo>
                    <a:pt x="474" y="174"/>
                  </a:lnTo>
                  <a:lnTo>
                    <a:pt x="474" y="180"/>
                  </a:lnTo>
                  <a:lnTo>
                    <a:pt x="480" y="192"/>
                  </a:lnTo>
                  <a:lnTo>
                    <a:pt x="498" y="198"/>
                  </a:lnTo>
                  <a:lnTo>
                    <a:pt x="510" y="210"/>
                  </a:lnTo>
                  <a:lnTo>
                    <a:pt x="516" y="210"/>
                  </a:lnTo>
                  <a:lnTo>
                    <a:pt x="522" y="210"/>
                  </a:lnTo>
                  <a:lnTo>
                    <a:pt x="534" y="216"/>
                  </a:lnTo>
                  <a:lnTo>
                    <a:pt x="540" y="216"/>
                  </a:lnTo>
                  <a:lnTo>
                    <a:pt x="546" y="222"/>
                  </a:lnTo>
                  <a:lnTo>
                    <a:pt x="552" y="222"/>
                  </a:lnTo>
                  <a:lnTo>
                    <a:pt x="558" y="228"/>
                  </a:lnTo>
                  <a:lnTo>
                    <a:pt x="564" y="228"/>
                  </a:lnTo>
                  <a:lnTo>
                    <a:pt x="570" y="234"/>
                  </a:lnTo>
                  <a:lnTo>
                    <a:pt x="576" y="240"/>
                  </a:lnTo>
                  <a:lnTo>
                    <a:pt x="582" y="240"/>
                  </a:lnTo>
                  <a:lnTo>
                    <a:pt x="588" y="240"/>
                  </a:lnTo>
                  <a:lnTo>
                    <a:pt x="594" y="240"/>
                  </a:lnTo>
                  <a:lnTo>
                    <a:pt x="600" y="228"/>
                  </a:lnTo>
                  <a:lnTo>
                    <a:pt x="588" y="216"/>
                  </a:lnTo>
                  <a:lnTo>
                    <a:pt x="588" y="198"/>
                  </a:lnTo>
                  <a:lnTo>
                    <a:pt x="582" y="198"/>
                  </a:lnTo>
                  <a:lnTo>
                    <a:pt x="588" y="192"/>
                  </a:lnTo>
                  <a:lnTo>
                    <a:pt x="582" y="168"/>
                  </a:lnTo>
                  <a:lnTo>
                    <a:pt x="558" y="114"/>
                  </a:lnTo>
                  <a:lnTo>
                    <a:pt x="552" y="90"/>
                  </a:lnTo>
                  <a:lnTo>
                    <a:pt x="558" y="60"/>
                  </a:lnTo>
                  <a:lnTo>
                    <a:pt x="564" y="48"/>
                  </a:lnTo>
                  <a:lnTo>
                    <a:pt x="582" y="42"/>
                  </a:lnTo>
                  <a:lnTo>
                    <a:pt x="624" y="6"/>
                  </a:lnTo>
                  <a:lnTo>
                    <a:pt x="648" y="0"/>
                  </a:lnTo>
                  <a:lnTo>
                    <a:pt x="678" y="0"/>
                  </a:lnTo>
                  <a:lnTo>
                    <a:pt x="720" y="12"/>
                  </a:lnTo>
                  <a:lnTo>
                    <a:pt x="744" y="24"/>
                  </a:lnTo>
                  <a:lnTo>
                    <a:pt x="768" y="42"/>
                  </a:lnTo>
                  <a:lnTo>
                    <a:pt x="816" y="48"/>
                  </a:lnTo>
                  <a:lnTo>
                    <a:pt x="834" y="48"/>
                  </a:lnTo>
                  <a:lnTo>
                    <a:pt x="852" y="54"/>
                  </a:lnTo>
                  <a:lnTo>
                    <a:pt x="906" y="60"/>
                  </a:lnTo>
                  <a:lnTo>
                    <a:pt x="948" y="54"/>
                  </a:lnTo>
                  <a:lnTo>
                    <a:pt x="978" y="42"/>
                  </a:lnTo>
                  <a:lnTo>
                    <a:pt x="984" y="48"/>
                  </a:lnTo>
                  <a:lnTo>
                    <a:pt x="990" y="60"/>
                  </a:lnTo>
                  <a:lnTo>
                    <a:pt x="996" y="66"/>
                  </a:lnTo>
                  <a:lnTo>
                    <a:pt x="1002" y="72"/>
                  </a:lnTo>
                  <a:lnTo>
                    <a:pt x="1014" y="78"/>
                  </a:lnTo>
                  <a:lnTo>
                    <a:pt x="1014" y="84"/>
                  </a:lnTo>
                  <a:lnTo>
                    <a:pt x="1032" y="84"/>
                  </a:lnTo>
                  <a:lnTo>
                    <a:pt x="1032" y="90"/>
                  </a:lnTo>
                  <a:lnTo>
                    <a:pt x="1032" y="96"/>
                  </a:lnTo>
                  <a:lnTo>
                    <a:pt x="1032" y="108"/>
                  </a:lnTo>
                  <a:lnTo>
                    <a:pt x="1056" y="126"/>
                  </a:lnTo>
                  <a:lnTo>
                    <a:pt x="1068" y="138"/>
                  </a:lnTo>
                  <a:lnTo>
                    <a:pt x="1068" y="156"/>
                  </a:lnTo>
                  <a:lnTo>
                    <a:pt x="1080" y="150"/>
                  </a:lnTo>
                  <a:lnTo>
                    <a:pt x="1086" y="150"/>
                  </a:lnTo>
                  <a:lnTo>
                    <a:pt x="1092" y="156"/>
                  </a:lnTo>
                  <a:lnTo>
                    <a:pt x="1092" y="162"/>
                  </a:lnTo>
                  <a:lnTo>
                    <a:pt x="1092" y="168"/>
                  </a:lnTo>
                  <a:lnTo>
                    <a:pt x="1098" y="168"/>
                  </a:lnTo>
                  <a:lnTo>
                    <a:pt x="1092" y="180"/>
                  </a:lnTo>
                  <a:lnTo>
                    <a:pt x="1092" y="186"/>
                  </a:lnTo>
                  <a:lnTo>
                    <a:pt x="1086" y="192"/>
                  </a:lnTo>
                  <a:lnTo>
                    <a:pt x="1068" y="210"/>
                  </a:lnTo>
                  <a:lnTo>
                    <a:pt x="1068" y="216"/>
                  </a:lnTo>
                  <a:lnTo>
                    <a:pt x="1074" y="228"/>
                  </a:lnTo>
                  <a:lnTo>
                    <a:pt x="1092" y="234"/>
                  </a:lnTo>
                  <a:lnTo>
                    <a:pt x="1122" y="216"/>
                  </a:lnTo>
                  <a:lnTo>
                    <a:pt x="1188" y="204"/>
                  </a:lnTo>
                  <a:lnTo>
                    <a:pt x="1212" y="204"/>
                  </a:lnTo>
                  <a:lnTo>
                    <a:pt x="1230" y="198"/>
                  </a:lnTo>
                  <a:lnTo>
                    <a:pt x="1236" y="204"/>
                  </a:lnTo>
                  <a:lnTo>
                    <a:pt x="1242" y="210"/>
                  </a:lnTo>
                  <a:lnTo>
                    <a:pt x="1242" y="204"/>
                  </a:lnTo>
                  <a:lnTo>
                    <a:pt x="1248" y="198"/>
                  </a:lnTo>
                  <a:lnTo>
                    <a:pt x="1308" y="204"/>
                  </a:lnTo>
                  <a:lnTo>
                    <a:pt x="1338" y="204"/>
                  </a:lnTo>
                  <a:lnTo>
                    <a:pt x="1374" y="228"/>
                  </a:lnTo>
                  <a:lnTo>
                    <a:pt x="1380" y="234"/>
                  </a:lnTo>
                  <a:lnTo>
                    <a:pt x="1380" y="240"/>
                  </a:lnTo>
                  <a:lnTo>
                    <a:pt x="1386" y="252"/>
                  </a:lnTo>
                  <a:lnTo>
                    <a:pt x="1392" y="252"/>
                  </a:lnTo>
                  <a:lnTo>
                    <a:pt x="1416" y="270"/>
                  </a:lnTo>
                  <a:lnTo>
                    <a:pt x="1428" y="294"/>
                  </a:lnTo>
                  <a:lnTo>
                    <a:pt x="1440" y="312"/>
                  </a:lnTo>
                  <a:lnTo>
                    <a:pt x="1452" y="330"/>
                  </a:lnTo>
                  <a:lnTo>
                    <a:pt x="1464" y="330"/>
                  </a:lnTo>
                  <a:lnTo>
                    <a:pt x="1464" y="336"/>
                  </a:lnTo>
                  <a:lnTo>
                    <a:pt x="1470" y="336"/>
                  </a:lnTo>
                  <a:lnTo>
                    <a:pt x="1470" y="342"/>
                  </a:lnTo>
                  <a:lnTo>
                    <a:pt x="1476" y="342"/>
                  </a:lnTo>
                  <a:lnTo>
                    <a:pt x="1488" y="336"/>
                  </a:lnTo>
                  <a:lnTo>
                    <a:pt x="1494" y="342"/>
                  </a:lnTo>
                  <a:lnTo>
                    <a:pt x="1500" y="342"/>
                  </a:lnTo>
                  <a:lnTo>
                    <a:pt x="1512" y="366"/>
                  </a:lnTo>
                  <a:lnTo>
                    <a:pt x="1530" y="396"/>
                  </a:lnTo>
                  <a:lnTo>
                    <a:pt x="1536" y="444"/>
                  </a:lnTo>
                  <a:lnTo>
                    <a:pt x="1530" y="480"/>
                  </a:lnTo>
                  <a:lnTo>
                    <a:pt x="1506" y="510"/>
                  </a:lnTo>
                  <a:lnTo>
                    <a:pt x="1500" y="546"/>
                  </a:lnTo>
                  <a:lnTo>
                    <a:pt x="1494" y="564"/>
                  </a:lnTo>
                  <a:lnTo>
                    <a:pt x="1494" y="576"/>
                  </a:lnTo>
                  <a:lnTo>
                    <a:pt x="1500" y="582"/>
                  </a:lnTo>
                  <a:lnTo>
                    <a:pt x="1494" y="612"/>
                  </a:lnTo>
                  <a:lnTo>
                    <a:pt x="1476" y="630"/>
                  </a:lnTo>
                  <a:lnTo>
                    <a:pt x="1434" y="672"/>
                  </a:lnTo>
                  <a:lnTo>
                    <a:pt x="1392" y="756"/>
                  </a:lnTo>
                  <a:lnTo>
                    <a:pt x="1380" y="792"/>
                  </a:lnTo>
                  <a:lnTo>
                    <a:pt x="1374" y="798"/>
                  </a:lnTo>
                  <a:lnTo>
                    <a:pt x="1368" y="798"/>
                  </a:lnTo>
                  <a:lnTo>
                    <a:pt x="1380" y="804"/>
                  </a:lnTo>
                  <a:lnTo>
                    <a:pt x="1386" y="804"/>
                  </a:lnTo>
                  <a:lnTo>
                    <a:pt x="1380" y="822"/>
                  </a:lnTo>
                  <a:lnTo>
                    <a:pt x="1380" y="852"/>
                  </a:lnTo>
                  <a:lnTo>
                    <a:pt x="1374" y="858"/>
                  </a:lnTo>
                  <a:lnTo>
                    <a:pt x="1380" y="858"/>
                  </a:lnTo>
                  <a:lnTo>
                    <a:pt x="1374" y="864"/>
                  </a:lnTo>
                  <a:lnTo>
                    <a:pt x="1374" y="870"/>
                  </a:lnTo>
                  <a:lnTo>
                    <a:pt x="1374" y="876"/>
                  </a:lnTo>
                  <a:lnTo>
                    <a:pt x="1368" y="900"/>
                  </a:lnTo>
                  <a:lnTo>
                    <a:pt x="1362" y="906"/>
                  </a:lnTo>
                  <a:lnTo>
                    <a:pt x="1362" y="918"/>
                  </a:lnTo>
                  <a:lnTo>
                    <a:pt x="1362" y="924"/>
                  </a:lnTo>
                  <a:lnTo>
                    <a:pt x="1356" y="942"/>
                  </a:lnTo>
                  <a:lnTo>
                    <a:pt x="1350" y="972"/>
                  </a:lnTo>
                  <a:lnTo>
                    <a:pt x="1350" y="1014"/>
                  </a:lnTo>
                  <a:lnTo>
                    <a:pt x="1350" y="10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3" name="Freeform 18">
              <a:extLst>
                <a:ext uri="{FF2B5EF4-FFF2-40B4-BE49-F238E27FC236}">
                  <a16:creationId xmlns:a16="http://schemas.microsoft.com/office/drawing/2014/main" id="{EC11F2E0-3C06-46E2-8AD2-66EBE00FFE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32346" y="3837389"/>
              <a:ext cx="556811" cy="818559"/>
            </a:xfrm>
            <a:custGeom>
              <a:avLst/>
              <a:gdLst>
                <a:gd name="T0" fmla="*/ 12 w 1044"/>
                <a:gd name="T1" fmla="*/ 95 h 1542"/>
                <a:gd name="T2" fmla="*/ 7 w 1044"/>
                <a:gd name="T3" fmla="*/ 93 h 1542"/>
                <a:gd name="T4" fmla="*/ 0 w 1044"/>
                <a:gd name="T5" fmla="*/ 88 h 1542"/>
                <a:gd name="T6" fmla="*/ 3 w 1044"/>
                <a:gd name="T7" fmla="*/ 74 h 1542"/>
                <a:gd name="T8" fmla="*/ 4 w 1044"/>
                <a:gd name="T9" fmla="*/ 59 h 1542"/>
                <a:gd name="T10" fmla="*/ 7 w 1044"/>
                <a:gd name="T11" fmla="*/ 52 h 1542"/>
                <a:gd name="T12" fmla="*/ 20 w 1044"/>
                <a:gd name="T13" fmla="*/ 50 h 1542"/>
                <a:gd name="T14" fmla="*/ 24 w 1044"/>
                <a:gd name="T15" fmla="*/ 46 h 1542"/>
                <a:gd name="T16" fmla="*/ 29 w 1044"/>
                <a:gd name="T17" fmla="*/ 33 h 1542"/>
                <a:gd name="T18" fmla="*/ 32 w 1044"/>
                <a:gd name="T19" fmla="*/ 26 h 1542"/>
                <a:gd name="T20" fmla="*/ 30 w 1044"/>
                <a:gd name="T21" fmla="*/ 20 h 1542"/>
                <a:gd name="T22" fmla="*/ 26 w 1044"/>
                <a:gd name="T23" fmla="*/ 17 h 1542"/>
                <a:gd name="T24" fmla="*/ 28 w 1044"/>
                <a:gd name="T25" fmla="*/ 12 h 1542"/>
                <a:gd name="T26" fmla="*/ 44 w 1044"/>
                <a:gd name="T27" fmla="*/ 5 h 1542"/>
                <a:gd name="T28" fmla="*/ 57 w 1044"/>
                <a:gd name="T29" fmla="*/ 2 h 1542"/>
                <a:gd name="T30" fmla="*/ 65 w 1044"/>
                <a:gd name="T31" fmla="*/ 12 h 1542"/>
                <a:gd name="T32" fmla="*/ 81 w 1044"/>
                <a:gd name="T33" fmla="*/ 9 h 1542"/>
                <a:gd name="T34" fmla="*/ 91 w 1044"/>
                <a:gd name="T35" fmla="*/ 20 h 1542"/>
                <a:gd name="T36" fmla="*/ 89 w 1044"/>
                <a:gd name="T37" fmla="*/ 28 h 1542"/>
                <a:gd name="T38" fmla="*/ 83 w 1044"/>
                <a:gd name="T39" fmla="*/ 33 h 1542"/>
                <a:gd name="T40" fmla="*/ 74 w 1044"/>
                <a:gd name="T41" fmla="*/ 42 h 1542"/>
                <a:gd name="T42" fmla="*/ 58 w 1044"/>
                <a:gd name="T43" fmla="*/ 57 h 1542"/>
                <a:gd name="T44" fmla="*/ 54 w 1044"/>
                <a:gd name="T45" fmla="*/ 65 h 1542"/>
                <a:gd name="T46" fmla="*/ 59 w 1044"/>
                <a:gd name="T47" fmla="*/ 74 h 1542"/>
                <a:gd name="T48" fmla="*/ 55 w 1044"/>
                <a:gd name="T49" fmla="*/ 84 h 1542"/>
                <a:gd name="T50" fmla="*/ 52 w 1044"/>
                <a:gd name="T51" fmla="*/ 98 h 1542"/>
                <a:gd name="T52" fmla="*/ 47 w 1044"/>
                <a:gd name="T53" fmla="*/ 105 h 1542"/>
                <a:gd name="T54" fmla="*/ 42 w 1044"/>
                <a:gd name="T55" fmla="*/ 111 h 1542"/>
                <a:gd name="T56" fmla="*/ 43 w 1044"/>
                <a:gd name="T57" fmla="*/ 120 h 1542"/>
                <a:gd name="T58" fmla="*/ 45 w 1044"/>
                <a:gd name="T59" fmla="*/ 125 h 1542"/>
                <a:gd name="T60" fmla="*/ 44 w 1044"/>
                <a:gd name="T61" fmla="*/ 130 h 1542"/>
                <a:gd name="T62" fmla="*/ 45 w 1044"/>
                <a:gd name="T63" fmla="*/ 131 h 1542"/>
                <a:gd name="T64" fmla="*/ 48 w 1044"/>
                <a:gd name="T65" fmla="*/ 133 h 1542"/>
                <a:gd name="T66" fmla="*/ 39 w 1044"/>
                <a:gd name="T67" fmla="*/ 133 h 1542"/>
                <a:gd name="T68" fmla="*/ 42 w 1044"/>
                <a:gd name="T69" fmla="*/ 132 h 1542"/>
                <a:gd name="T70" fmla="*/ 38 w 1044"/>
                <a:gd name="T71" fmla="*/ 133 h 1542"/>
                <a:gd name="T72" fmla="*/ 37 w 1044"/>
                <a:gd name="T73" fmla="*/ 129 h 1542"/>
                <a:gd name="T74" fmla="*/ 40 w 1044"/>
                <a:gd name="T75" fmla="*/ 125 h 1542"/>
                <a:gd name="T76" fmla="*/ 40 w 1044"/>
                <a:gd name="T77" fmla="*/ 120 h 1542"/>
                <a:gd name="T78" fmla="*/ 40 w 1044"/>
                <a:gd name="T79" fmla="*/ 117 h 1542"/>
                <a:gd name="T80" fmla="*/ 37 w 1044"/>
                <a:gd name="T81" fmla="*/ 120 h 1542"/>
                <a:gd name="T82" fmla="*/ 34 w 1044"/>
                <a:gd name="T83" fmla="*/ 122 h 1542"/>
                <a:gd name="T84" fmla="*/ 36 w 1044"/>
                <a:gd name="T85" fmla="*/ 120 h 1542"/>
                <a:gd name="T86" fmla="*/ 30 w 1044"/>
                <a:gd name="T87" fmla="*/ 120 h 1542"/>
                <a:gd name="T88" fmla="*/ 31 w 1044"/>
                <a:gd name="T89" fmla="*/ 113 h 1542"/>
                <a:gd name="T90" fmla="*/ 29 w 1044"/>
                <a:gd name="T91" fmla="*/ 112 h 1542"/>
                <a:gd name="T92" fmla="*/ 31 w 1044"/>
                <a:gd name="T93" fmla="*/ 117 h 1542"/>
                <a:gd name="T94" fmla="*/ 27 w 1044"/>
                <a:gd name="T95" fmla="*/ 116 h 1542"/>
                <a:gd name="T96" fmla="*/ 25 w 1044"/>
                <a:gd name="T97" fmla="*/ 112 h 1542"/>
                <a:gd name="T98" fmla="*/ 21 w 1044"/>
                <a:gd name="T99" fmla="*/ 109 h 1542"/>
                <a:gd name="T100" fmla="*/ 21 w 1044"/>
                <a:gd name="T101" fmla="*/ 113 h 1542"/>
                <a:gd name="T102" fmla="*/ 40 w 1044"/>
                <a:gd name="T103" fmla="*/ 120 h 1542"/>
                <a:gd name="T104" fmla="*/ 40 w 1044"/>
                <a:gd name="T105" fmla="*/ 121 h 1542"/>
                <a:gd name="T106" fmla="*/ 40 w 1044"/>
                <a:gd name="T107" fmla="*/ 116 h 1542"/>
                <a:gd name="T108" fmla="*/ 38 w 1044"/>
                <a:gd name="T109" fmla="*/ 120 h 1542"/>
                <a:gd name="T110" fmla="*/ 23 w 1044"/>
                <a:gd name="T111" fmla="*/ 110 h 1542"/>
                <a:gd name="T112" fmla="*/ 37 w 1044"/>
                <a:gd name="T113" fmla="*/ 124 h 1542"/>
                <a:gd name="T114" fmla="*/ 40 w 1044"/>
                <a:gd name="T115" fmla="*/ 125 h 1542"/>
                <a:gd name="T116" fmla="*/ 38 w 1044"/>
                <a:gd name="T117" fmla="*/ 128 h 1542"/>
                <a:gd name="T118" fmla="*/ 25 w 1044"/>
                <a:gd name="T119" fmla="*/ 117 h 1542"/>
                <a:gd name="T120" fmla="*/ 27 w 1044"/>
                <a:gd name="T121" fmla="*/ 127 h 1542"/>
                <a:gd name="T122" fmla="*/ 24 w 1044"/>
                <a:gd name="T123" fmla="*/ 113 h 15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4"/>
                <a:gd name="T187" fmla="*/ 0 h 1542"/>
                <a:gd name="T188" fmla="*/ 1044 w 1044"/>
                <a:gd name="T189" fmla="*/ 1542 h 154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4" h="1542">
                  <a:moveTo>
                    <a:pt x="234" y="1278"/>
                  </a:moveTo>
                  <a:lnTo>
                    <a:pt x="228" y="1272"/>
                  </a:lnTo>
                  <a:lnTo>
                    <a:pt x="222" y="1266"/>
                  </a:lnTo>
                  <a:lnTo>
                    <a:pt x="222" y="1260"/>
                  </a:lnTo>
                  <a:lnTo>
                    <a:pt x="204" y="1248"/>
                  </a:lnTo>
                  <a:lnTo>
                    <a:pt x="192" y="1248"/>
                  </a:lnTo>
                  <a:lnTo>
                    <a:pt x="186" y="1236"/>
                  </a:lnTo>
                  <a:lnTo>
                    <a:pt x="174" y="1218"/>
                  </a:lnTo>
                  <a:lnTo>
                    <a:pt x="162" y="1194"/>
                  </a:lnTo>
                  <a:lnTo>
                    <a:pt x="156" y="1182"/>
                  </a:lnTo>
                  <a:lnTo>
                    <a:pt x="162" y="1146"/>
                  </a:lnTo>
                  <a:lnTo>
                    <a:pt x="156" y="1134"/>
                  </a:lnTo>
                  <a:lnTo>
                    <a:pt x="138" y="1122"/>
                  </a:lnTo>
                  <a:lnTo>
                    <a:pt x="132" y="1116"/>
                  </a:lnTo>
                  <a:lnTo>
                    <a:pt x="138" y="1098"/>
                  </a:lnTo>
                  <a:lnTo>
                    <a:pt x="138" y="1092"/>
                  </a:lnTo>
                  <a:lnTo>
                    <a:pt x="138" y="1086"/>
                  </a:lnTo>
                  <a:lnTo>
                    <a:pt x="132" y="1074"/>
                  </a:lnTo>
                  <a:lnTo>
                    <a:pt x="126" y="1074"/>
                  </a:lnTo>
                  <a:lnTo>
                    <a:pt x="126" y="1068"/>
                  </a:lnTo>
                  <a:lnTo>
                    <a:pt x="120" y="1062"/>
                  </a:lnTo>
                  <a:lnTo>
                    <a:pt x="120" y="1056"/>
                  </a:lnTo>
                  <a:lnTo>
                    <a:pt x="114" y="1050"/>
                  </a:lnTo>
                  <a:lnTo>
                    <a:pt x="108" y="1050"/>
                  </a:lnTo>
                  <a:lnTo>
                    <a:pt x="102" y="1056"/>
                  </a:lnTo>
                  <a:lnTo>
                    <a:pt x="102" y="1062"/>
                  </a:lnTo>
                  <a:lnTo>
                    <a:pt x="96" y="1062"/>
                  </a:lnTo>
                  <a:lnTo>
                    <a:pt x="96" y="1068"/>
                  </a:lnTo>
                  <a:lnTo>
                    <a:pt x="96" y="1074"/>
                  </a:lnTo>
                  <a:lnTo>
                    <a:pt x="90" y="1074"/>
                  </a:lnTo>
                  <a:lnTo>
                    <a:pt x="84" y="1080"/>
                  </a:lnTo>
                  <a:lnTo>
                    <a:pt x="78" y="1074"/>
                  </a:lnTo>
                  <a:lnTo>
                    <a:pt x="72" y="1074"/>
                  </a:lnTo>
                  <a:lnTo>
                    <a:pt x="72" y="1068"/>
                  </a:lnTo>
                  <a:lnTo>
                    <a:pt x="72" y="1062"/>
                  </a:lnTo>
                  <a:lnTo>
                    <a:pt x="60" y="1056"/>
                  </a:lnTo>
                  <a:lnTo>
                    <a:pt x="60" y="1044"/>
                  </a:lnTo>
                  <a:lnTo>
                    <a:pt x="60" y="1032"/>
                  </a:lnTo>
                  <a:lnTo>
                    <a:pt x="60" y="1026"/>
                  </a:lnTo>
                  <a:lnTo>
                    <a:pt x="54" y="1026"/>
                  </a:lnTo>
                  <a:lnTo>
                    <a:pt x="48" y="1014"/>
                  </a:lnTo>
                  <a:lnTo>
                    <a:pt x="42" y="1008"/>
                  </a:lnTo>
                  <a:lnTo>
                    <a:pt x="30" y="1008"/>
                  </a:lnTo>
                  <a:lnTo>
                    <a:pt x="30" y="1002"/>
                  </a:lnTo>
                  <a:lnTo>
                    <a:pt x="24" y="1008"/>
                  </a:lnTo>
                  <a:lnTo>
                    <a:pt x="12" y="1008"/>
                  </a:lnTo>
                  <a:lnTo>
                    <a:pt x="6" y="1008"/>
                  </a:lnTo>
                  <a:lnTo>
                    <a:pt x="0" y="1008"/>
                  </a:lnTo>
                  <a:lnTo>
                    <a:pt x="0" y="1002"/>
                  </a:lnTo>
                  <a:lnTo>
                    <a:pt x="6" y="990"/>
                  </a:lnTo>
                  <a:lnTo>
                    <a:pt x="6" y="984"/>
                  </a:lnTo>
                  <a:lnTo>
                    <a:pt x="0" y="978"/>
                  </a:lnTo>
                  <a:lnTo>
                    <a:pt x="6" y="972"/>
                  </a:lnTo>
                  <a:lnTo>
                    <a:pt x="12" y="972"/>
                  </a:lnTo>
                  <a:lnTo>
                    <a:pt x="72" y="978"/>
                  </a:lnTo>
                  <a:lnTo>
                    <a:pt x="78" y="972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30"/>
                  </a:lnTo>
                  <a:lnTo>
                    <a:pt x="54" y="912"/>
                  </a:lnTo>
                  <a:lnTo>
                    <a:pt x="42" y="906"/>
                  </a:lnTo>
                  <a:lnTo>
                    <a:pt x="36" y="894"/>
                  </a:lnTo>
                  <a:lnTo>
                    <a:pt x="30" y="876"/>
                  </a:lnTo>
                  <a:lnTo>
                    <a:pt x="30" y="858"/>
                  </a:lnTo>
                  <a:lnTo>
                    <a:pt x="30" y="840"/>
                  </a:lnTo>
                  <a:lnTo>
                    <a:pt x="36" y="816"/>
                  </a:lnTo>
                  <a:lnTo>
                    <a:pt x="36" y="792"/>
                  </a:lnTo>
                  <a:lnTo>
                    <a:pt x="36" y="780"/>
                  </a:lnTo>
                  <a:lnTo>
                    <a:pt x="12" y="774"/>
                  </a:lnTo>
                  <a:lnTo>
                    <a:pt x="24" y="756"/>
                  </a:lnTo>
                  <a:lnTo>
                    <a:pt x="24" y="744"/>
                  </a:lnTo>
                  <a:lnTo>
                    <a:pt x="30" y="738"/>
                  </a:lnTo>
                  <a:lnTo>
                    <a:pt x="30" y="732"/>
                  </a:lnTo>
                  <a:lnTo>
                    <a:pt x="36" y="720"/>
                  </a:lnTo>
                  <a:lnTo>
                    <a:pt x="42" y="714"/>
                  </a:lnTo>
                  <a:lnTo>
                    <a:pt x="54" y="708"/>
                  </a:lnTo>
                  <a:lnTo>
                    <a:pt x="60" y="702"/>
                  </a:lnTo>
                  <a:lnTo>
                    <a:pt x="48" y="690"/>
                  </a:lnTo>
                  <a:lnTo>
                    <a:pt x="48" y="684"/>
                  </a:lnTo>
                  <a:lnTo>
                    <a:pt x="48" y="678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66"/>
                  </a:lnTo>
                  <a:lnTo>
                    <a:pt x="72" y="654"/>
                  </a:lnTo>
                  <a:lnTo>
                    <a:pt x="72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84" y="630"/>
                  </a:lnTo>
                  <a:lnTo>
                    <a:pt x="90" y="630"/>
                  </a:lnTo>
                  <a:lnTo>
                    <a:pt x="96" y="630"/>
                  </a:lnTo>
                  <a:lnTo>
                    <a:pt x="96" y="624"/>
                  </a:lnTo>
                  <a:lnTo>
                    <a:pt x="90" y="624"/>
                  </a:lnTo>
                  <a:lnTo>
                    <a:pt x="84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90" y="600"/>
                  </a:lnTo>
                  <a:lnTo>
                    <a:pt x="84" y="600"/>
                  </a:lnTo>
                  <a:lnTo>
                    <a:pt x="78" y="594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126" y="564"/>
                  </a:lnTo>
                  <a:lnTo>
                    <a:pt x="144" y="564"/>
                  </a:lnTo>
                  <a:lnTo>
                    <a:pt x="156" y="582"/>
                  </a:lnTo>
                  <a:lnTo>
                    <a:pt x="162" y="600"/>
                  </a:lnTo>
                  <a:lnTo>
                    <a:pt x="180" y="588"/>
                  </a:lnTo>
                  <a:lnTo>
                    <a:pt x="192" y="588"/>
                  </a:lnTo>
                  <a:lnTo>
                    <a:pt x="198" y="588"/>
                  </a:lnTo>
                  <a:lnTo>
                    <a:pt x="210" y="582"/>
                  </a:lnTo>
                  <a:lnTo>
                    <a:pt x="216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58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46" y="558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58" y="570"/>
                  </a:lnTo>
                  <a:lnTo>
                    <a:pt x="264" y="570"/>
                  </a:lnTo>
                  <a:lnTo>
                    <a:pt x="270" y="564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46"/>
                  </a:lnTo>
                  <a:lnTo>
                    <a:pt x="276" y="540"/>
                  </a:lnTo>
                  <a:lnTo>
                    <a:pt x="276" y="534"/>
                  </a:lnTo>
                  <a:lnTo>
                    <a:pt x="276" y="528"/>
                  </a:lnTo>
                  <a:lnTo>
                    <a:pt x="282" y="528"/>
                  </a:lnTo>
                  <a:lnTo>
                    <a:pt x="282" y="522"/>
                  </a:lnTo>
                  <a:lnTo>
                    <a:pt x="282" y="516"/>
                  </a:lnTo>
                  <a:lnTo>
                    <a:pt x="282" y="510"/>
                  </a:lnTo>
                  <a:lnTo>
                    <a:pt x="282" y="504"/>
                  </a:lnTo>
                  <a:lnTo>
                    <a:pt x="282" y="492"/>
                  </a:lnTo>
                  <a:lnTo>
                    <a:pt x="288" y="486"/>
                  </a:lnTo>
                  <a:lnTo>
                    <a:pt x="300" y="480"/>
                  </a:lnTo>
                  <a:lnTo>
                    <a:pt x="306" y="462"/>
                  </a:lnTo>
                  <a:lnTo>
                    <a:pt x="318" y="444"/>
                  </a:lnTo>
                  <a:lnTo>
                    <a:pt x="330" y="444"/>
                  </a:lnTo>
                  <a:lnTo>
                    <a:pt x="330" y="432"/>
                  </a:lnTo>
                  <a:lnTo>
                    <a:pt x="342" y="432"/>
                  </a:lnTo>
                  <a:lnTo>
                    <a:pt x="354" y="402"/>
                  </a:lnTo>
                  <a:lnTo>
                    <a:pt x="348" y="390"/>
                  </a:lnTo>
                  <a:lnTo>
                    <a:pt x="336" y="384"/>
                  </a:lnTo>
                  <a:lnTo>
                    <a:pt x="336" y="360"/>
                  </a:lnTo>
                  <a:lnTo>
                    <a:pt x="336" y="354"/>
                  </a:lnTo>
                  <a:lnTo>
                    <a:pt x="336" y="342"/>
                  </a:lnTo>
                  <a:lnTo>
                    <a:pt x="342" y="336"/>
                  </a:lnTo>
                  <a:lnTo>
                    <a:pt x="342" y="324"/>
                  </a:lnTo>
                  <a:lnTo>
                    <a:pt x="372" y="324"/>
                  </a:lnTo>
                  <a:lnTo>
                    <a:pt x="378" y="324"/>
                  </a:lnTo>
                  <a:lnTo>
                    <a:pt x="378" y="318"/>
                  </a:lnTo>
                  <a:lnTo>
                    <a:pt x="372" y="312"/>
                  </a:lnTo>
                  <a:lnTo>
                    <a:pt x="378" y="312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84" y="300"/>
                  </a:lnTo>
                  <a:lnTo>
                    <a:pt x="384" y="294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66" y="294"/>
                  </a:lnTo>
                  <a:lnTo>
                    <a:pt x="366" y="288"/>
                  </a:lnTo>
                  <a:lnTo>
                    <a:pt x="372" y="288"/>
                  </a:lnTo>
                  <a:lnTo>
                    <a:pt x="372" y="282"/>
                  </a:lnTo>
                  <a:lnTo>
                    <a:pt x="366" y="276"/>
                  </a:lnTo>
                  <a:lnTo>
                    <a:pt x="360" y="270"/>
                  </a:lnTo>
                  <a:lnTo>
                    <a:pt x="360" y="264"/>
                  </a:lnTo>
                  <a:lnTo>
                    <a:pt x="354" y="264"/>
                  </a:lnTo>
                  <a:lnTo>
                    <a:pt x="348" y="258"/>
                  </a:lnTo>
                  <a:lnTo>
                    <a:pt x="354" y="258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40"/>
                  </a:lnTo>
                  <a:lnTo>
                    <a:pt x="354" y="240"/>
                  </a:lnTo>
                  <a:lnTo>
                    <a:pt x="342" y="234"/>
                  </a:lnTo>
                  <a:lnTo>
                    <a:pt x="342" y="228"/>
                  </a:lnTo>
                  <a:lnTo>
                    <a:pt x="348" y="228"/>
                  </a:lnTo>
                  <a:lnTo>
                    <a:pt x="342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6" y="216"/>
                  </a:lnTo>
                  <a:lnTo>
                    <a:pt x="330" y="222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24" y="210"/>
                  </a:lnTo>
                  <a:lnTo>
                    <a:pt x="318" y="210"/>
                  </a:lnTo>
                  <a:lnTo>
                    <a:pt x="318" y="204"/>
                  </a:lnTo>
                  <a:lnTo>
                    <a:pt x="312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294" y="192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300" y="174"/>
                  </a:lnTo>
                  <a:lnTo>
                    <a:pt x="300" y="168"/>
                  </a:lnTo>
                  <a:lnTo>
                    <a:pt x="300" y="162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88" y="150"/>
                  </a:lnTo>
                  <a:lnTo>
                    <a:pt x="288" y="144"/>
                  </a:lnTo>
                  <a:lnTo>
                    <a:pt x="282" y="144"/>
                  </a:lnTo>
                  <a:lnTo>
                    <a:pt x="282" y="138"/>
                  </a:lnTo>
                  <a:lnTo>
                    <a:pt x="312" y="132"/>
                  </a:lnTo>
                  <a:lnTo>
                    <a:pt x="324" y="120"/>
                  </a:lnTo>
                  <a:lnTo>
                    <a:pt x="330" y="114"/>
                  </a:lnTo>
                  <a:lnTo>
                    <a:pt x="336" y="102"/>
                  </a:lnTo>
                  <a:lnTo>
                    <a:pt x="348" y="90"/>
                  </a:lnTo>
                  <a:lnTo>
                    <a:pt x="360" y="84"/>
                  </a:lnTo>
                  <a:lnTo>
                    <a:pt x="372" y="84"/>
                  </a:lnTo>
                  <a:lnTo>
                    <a:pt x="378" y="84"/>
                  </a:lnTo>
                  <a:lnTo>
                    <a:pt x="384" y="90"/>
                  </a:lnTo>
                  <a:lnTo>
                    <a:pt x="402" y="90"/>
                  </a:lnTo>
                  <a:lnTo>
                    <a:pt x="438" y="84"/>
                  </a:lnTo>
                  <a:lnTo>
                    <a:pt x="456" y="84"/>
                  </a:lnTo>
                  <a:lnTo>
                    <a:pt x="462" y="78"/>
                  </a:lnTo>
                  <a:lnTo>
                    <a:pt x="486" y="72"/>
                  </a:lnTo>
                  <a:lnTo>
                    <a:pt x="492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04" y="54"/>
                  </a:lnTo>
                  <a:lnTo>
                    <a:pt x="510" y="42"/>
                  </a:lnTo>
                  <a:lnTo>
                    <a:pt x="504" y="42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498" y="30"/>
                  </a:lnTo>
                  <a:lnTo>
                    <a:pt x="492" y="30"/>
                  </a:lnTo>
                  <a:lnTo>
                    <a:pt x="492" y="24"/>
                  </a:lnTo>
                  <a:lnTo>
                    <a:pt x="486" y="18"/>
                  </a:lnTo>
                  <a:lnTo>
                    <a:pt x="498" y="18"/>
                  </a:lnTo>
                  <a:lnTo>
                    <a:pt x="510" y="18"/>
                  </a:lnTo>
                  <a:lnTo>
                    <a:pt x="522" y="12"/>
                  </a:lnTo>
                  <a:lnTo>
                    <a:pt x="528" y="6"/>
                  </a:lnTo>
                  <a:lnTo>
                    <a:pt x="570" y="0"/>
                  </a:lnTo>
                  <a:lnTo>
                    <a:pt x="606" y="6"/>
                  </a:lnTo>
                  <a:lnTo>
                    <a:pt x="654" y="24"/>
                  </a:lnTo>
                  <a:lnTo>
                    <a:pt x="666" y="36"/>
                  </a:lnTo>
                  <a:lnTo>
                    <a:pt x="672" y="30"/>
                  </a:lnTo>
                  <a:lnTo>
                    <a:pt x="690" y="42"/>
                  </a:lnTo>
                  <a:lnTo>
                    <a:pt x="702" y="48"/>
                  </a:lnTo>
                  <a:lnTo>
                    <a:pt x="714" y="60"/>
                  </a:lnTo>
                  <a:lnTo>
                    <a:pt x="714" y="66"/>
                  </a:lnTo>
                  <a:lnTo>
                    <a:pt x="720" y="72"/>
                  </a:lnTo>
                  <a:lnTo>
                    <a:pt x="720" y="78"/>
                  </a:lnTo>
                  <a:lnTo>
                    <a:pt x="720" y="102"/>
                  </a:lnTo>
                  <a:lnTo>
                    <a:pt x="720" y="108"/>
                  </a:lnTo>
                  <a:lnTo>
                    <a:pt x="714" y="108"/>
                  </a:lnTo>
                  <a:lnTo>
                    <a:pt x="714" y="126"/>
                  </a:lnTo>
                  <a:lnTo>
                    <a:pt x="732" y="126"/>
                  </a:lnTo>
                  <a:lnTo>
                    <a:pt x="726" y="132"/>
                  </a:lnTo>
                  <a:lnTo>
                    <a:pt x="738" y="132"/>
                  </a:lnTo>
                  <a:lnTo>
                    <a:pt x="738" y="138"/>
                  </a:lnTo>
                  <a:lnTo>
                    <a:pt x="738" y="144"/>
                  </a:lnTo>
                  <a:lnTo>
                    <a:pt x="744" y="144"/>
                  </a:lnTo>
                  <a:lnTo>
                    <a:pt x="744" y="150"/>
                  </a:lnTo>
                  <a:lnTo>
                    <a:pt x="756" y="156"/>
                  </a:lnTo>
                  <a:lnTo>
                    <a:pt x="768" y="156"/>
                  </a:lnTo>
                  <a:lnTo>
                    <a:pt x="780" y="156"/>
                  </a:lnTo>
                  <a:lnTo>
                    <a:pt x="792" y="150"/>
                  </a:lnTo>
                  <a:lnTo>
                    <a:pt x="786" y="150"/>
                  </a:lnTo>
                  <a:lnTo>
                    <a:pt x="786" y="144"/>
                  </a:lnTo>
                  <a:lnTo>
                    <a:pt x="804" y="144"/>
                  </a:lnTo>
                  <a:lnTo>
                    <a:pt x="816" y="132"/>
                  </a:lnTo>
                  <a:lnTo>
                    <a:pt x="822" y="126"/>
                  </a:lnTo>
                  <a:lnTo>
                    <a:pt x="828" y="132"/>
                  </a:lnTo>
                  <a:lnTo>
                    <a:pt x="834" y="126"/>
                  </a:lnTo>
                  <a:lnTo>
                    <a:pt x="834" y="120"/>
                  </a:lnTo>
                  <a:lnTo>
                    <a:pt x="924" y="108"/>
                  </a:lnTo>
                  <a:lnTo>
                    <a:pt x="942" y="144"/>
                  </a:lnTo>
                  <a:lnTo>
                    <a:pt x="948" y="144"/>
                  </a:lnTo>
                  <a:lnTo>
                    <a:pt x="960" y="168"/>
                  </a:lnTo>
                  <a:lnTo>
                    <a:pt x="972" y="186"/>
                  </a:lnTo>
                  <a:lnTo>
                    <a:pt x="984" y="192"/>
                  </a:lnTo>
                  <a:lnTo>
                    <a:pt x="996" y="192"/>
                  </a:lnTo>
                  <a:lnTo>
                    <a:pt x="996" y="198"/>
                  </a:lnTo>
                  <a:lnTo>
                    <a:pt x="1008" y="204"/>
                  </a:lnTo>
                  <a:lnTo>
                    <a:pt x="1008" y="210"/>
                  </a:lnTo>
                  <a:lnTo>
                    <a:pt x="1002" y="210"/>
                  </a:lnTo>
                  <a:lnTo>
                    <a:pt x="1008" y="216"/>
                  </a:lnTo>
                  <a:lnTo>
                    <a:pt x="1014" y="210"/>
                  </a:lnTo>
                  <a:lnTo>
                    <a:pt x="1014" y="216"/>
                  </a:lnTo>
                  <a:lnTo>
                    <a:pt x="1020" y="222"/>
                  </a:lnTo>
                  <a:lnTo>
                    <a:pt x="1014" y="228"/>
                  </a:lnTo>
                  <a:lnTo>
                    <a:pt x="1032" y="234"/>
                  </a:lnTo>
                  <a:lnTo>
                    <a:pt x="1044" y="240"/>
                  </a:lnTo>
                  <a:lnTo>
                    <a:pt x="1038" y="246"/>
                  </a:lnTo>
                  <a:lnTo>
                    <a:pt x="1038" y="252"/>
                  </a:lnTo>
                  <a:lnTo>
                    <a:pt x="1038" y="258"/>
                  </a:lnTo>
                  <a:lnTo>
                    <a:pt x="1032" y="264"/>
                  </a:lnTo>
                  <a:lnTo>
                    <a:pt x="1032" y="270"/>
                  </a:lnTo>
                  <a:lnTo>
                    <a:pt x="1032" y="276"/>
                  </a:lnTo>
                  <a:lnTo>
                    <a:pt x="1032" y="282"/>
                  </a:lnTo>
                  <a:lnTo>
                    <a:pt x="1026" y="282"/>
                  </a:lnTo>
                  <a:lnTo>
                    <a:pt x="1026" y="288"/>
                  </a:lnTo>
                  <a:lnTo>
                    <a:pt x="1026" y="294"/>
                  </a:lnTo>
                  <a:lnTo>
                    <a:pt x="1026" y="300"/>
                  </a:lnTo>
                  <a:lnTo>
                    <a:pt x="1026" y="306"/>
                  </a:lnTo>
                  <a:lnTo>
                    <a:pt x="1020" y="318"/>
                  </a:lnTo>
                  <a:lnTo>
                    <a:pt x="1020" y="324"/>
                  </a:lnTo>
                  <a:lnTo>
                    <a:pt x="1014" y="324"/>
                  </a:lnTo>
                  <a:lnTo>
                    <a:pt x="1014" y="330"/>
                  </a:lnTo>
                  <a:lnTo>
                    <a:pt x="1014" y="336"/>
                  </a:lnTo>
                  <a:lnTo>
                    <a:pt x="1008" y="366"/>
                  </a:lnTo>
                  <a:lnTo>
                    <a:pt x="1002" y="366"/>
                  </a:lnTo>
                  <a:lnTo>
                    <a:pt x="984" y="354"/>
                  </a:lnTo>
                  <a:lnTo>
                    <a:pt x="978" y="354"/>
                  </a:lnTo>
                  <a:lnTo>
                    <a:pt x="972" y="354"/>
                  </a:lnTo>
                  <a:lnTo>
                    <a:pt x="966" y="348"/>
                  </a:lnTo>
                  <a:lnTo>
                    <a:pt x="954" y="348"/>
                  </a:lnTo>
                  <a:lnTo>
                    <a:pt x="948" y="348"/>
                  </a:lnTo>
                  <a:lnTo>
                    <a:pt x="948" y="360"/>
                  </a:lnTo>
                  <a:lnTo>
                    <a:pt x="948" y="366"/>
                  </a:lnTo>
                  <a:lnTo>
                    <a:pt x="948" y="372"/>
                  </a:lnTo>
                  <a:lnTo>
                    <a:pt x="948" y="378"/>
                  </a:lnTo>
                  <a:lnTo>
                    <a:pt x="948" y="384"/>
                  </a:lnTo>
                  <a:lnTo>
                    <a:pt x="942" y="384"/>
                  </a:lnTo>
                  <a:lnTo>
                    <a:pt x="942" y="390"/>
                  </a:lnTo>
                  <a:lnTo>
                    <a:pt x="936" y="390"/>
                  </a:lnTo>
                  <a:lnTo>
                    <a:pt x="942" y="390"/>
                  </a:lnTo>
                  <a:lnTo>
                    <a:pt x="936" y="396"/>
                  </a:lnTo>
                  <a:lnTo>
                    <a:pt x="930" y="402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2" y="432"/>
                  </a:lnTo>
                  <a:lnTo>
                    <a:pt x="900" y="450"/>
                  </a:lnTo>
                  <a:lnTo>
                    <a:pt x="894" y="456"/>
                  </a:lnTo>
                  <a:lnTo>
                    <a:pt x="888" y="456"/>
                  </a:lnTo>
                  <a:lnTo>
                    <a:pt x="882" y="456"/>
                  </a:lnTo>
                  <a:lnTo>
                    <a:pt x="876" y="456"/>
                  </a:lnTo>
                  <a:lnTo>
                    <a:pt x="864" y="462"/>
                  </a:lnTo>
                  <a:lnTo>
                    <a:pt x="852" y="474"/>
                  </a:lnTo>
                  <a:lnTo>
                    <a:pt x="846" y="480"/>
                  </a:lnTo>
                  <a:lnTo>
                    <a:pt x="840" y="486"/>
                  </a:lnTo>
                  <a:lnTo>
                    <a:pt x="834" y="498"/>
                  </a:lnTo>
                  <a:lnTo>
                    <a:pt x="828" y="510"/>
                  </a:lnTo>
                  <a:lnTo>
                    <a:pt x="816" y="522"/>
                  </a:lnTo>
                  <a:lnTo>
                    <a:pt x="798" y="540"/>
                  </a:lnTo>
                  <a:lnTo>
                    <a:pt x="780" y="558"/>
                  </a:lnTo>
                  <a:lnTo>
                    <a:pt x="774" y="558"/>
                  </a:lnTo>
                  <a:lnTo>
                    <a:pt x="756" y="576"/>
                  </a:lnTo>
                  <a:lnTo>
                    <a:pt x="732" y="600"/>
                  </a:lnTo>
                  <a:lnTo>
                    <a:pt x="726" y="600"/>
                  </a:lnTo>
                  <a:lnTo>
                    <a:pt x="720" y="606"/>
                  </a:lnTo>
                  <a:lnTo>
                    <a:pt x="714" y="612"/>
                  </a:lnTo>
                  <a:lnTo>
                    <a:pt x="690" y="630"/>
                  </a:lnTo>
                  <a:lnTo>
                    <a:pt x="678" y="636"/>
                  </a:lnTo>
                  <a:lnTo>
                    <a:pt x="672" y="642"/>
                  </a:lnTo>
                  <a:lnTo>
                    <a:pt x="660" y="660"/>
                  </a:lnTo>
                  <a:lnTo>
                    <a:pt x="642" y="666"/>
                  </a:lnTo>
                  <a:lnTo>
                    <a:pt x="636" y="678"/>
                  </a:lnTo>
                  <a:lnTo>
                    <a:pt x="630" y="678"/>
                  </a:lnTo>
                  <a:lnTo>
                    <a:pt x="630" y="684"/>
                  </a:lnTo>
                  <a:lnTo>
                    <a:pt x="630" y="690"/>
                  </a:lnTo>
                  <a:lnTo>
                    <a:pt x="636" y="696"/>
                  </a:lnTo>
                  <a:lnTo>
                    <a:pt x="642" y="696"/>
                  </a:lnTo>
                  <a:lnTo>
                    <a:pt x="648" y="702"/>
                  </a:lnTo>
                  <a:lnTo>
                    <a:pt x="648" y="708"/>
                  </a:lnTo>
                  <a:lnTo>
                    <a:pt x="642" y="708"/>
                  </a:lnTo>
                  <a:lnTo>
                    <a:pt x="636" y="714"/>
                  </a:lnTo>
                  <a:lnTo>
                    <a:pt x="636" y="720"/>
                  </a:lnTo>
                  <a:lnTo>
                    <a:pt x="642" y="726"/>
                  </a:lnTo>
                  <a:lnTo>
                    <a:pt x="636" y="738"/>
                  </a:lnTo>
                  <a:lnTo>
                    <a:pt x="618" y="756"/>
                  </a:lnTo>
                  <a:lnTo>
                    <a:pt x="612" y="750"/>
                  </a:lnTo>
                  <a:lnTo>
                    <a:pt x="612" y="756"/>
                  </a:lnTo>
                  <a:lnTo>
                    <a:pt x="618" y="762"/>
                  </a:lnTo>
                  <a:lnTo>
                    <a:pt x="618" y="768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36" y="786"/>
                  </a:lnTo>
                  <a:lnTo>
                    <a:pt x="642" y="792"/>
                  </a:lnTo>
                  <a:lnTo>
                    <a:pt x="642" y="798"/>
                  </a:lnTo>
                  <a:lnTo>
                    <a:pt x="648" y="804"/>
                  </a:lnTo>
                  <a:lnTo>
                    <a:pt x="654" y="810"/>
                  </a:lnTo>
                  <a:lnTo>
                    <a:pt x="660" y="816"/>
                  </a:lnTo>
                  <a:lnTo>
                    <a:pt x="666" y="816"/>
                  </a:lnTo>
                  <a:lnTo>
                    <a:pt x="666" y="822"/>
                  </a:lnTo>
                  <a:lnTo>
                    <a:pt x="672" y="828"/>
                  </a:lnTo>
                  <a:lnTo>
                    <a:pt x="672" y="840"/>
                  </a:lnTo>
                  <a:lnTo>
                    <a:pt x="672" y="846"/>
                  </a:lnTo>
                  <a:lnTo>
                    <a:pt x="666" y="852"/>
                  </a:lnTo>
                  <a:lnTo>
                    <a:pt x="660" y="864"/>
                  </a:lnTo>
                  <a:lnTo>
                    <a:pt x="654" y="876"/>
                  </a:lnTo>
                  <a:lnTo>
                    <a:pt x="648" y="882"/>
                  </a:lnTo>
                  <a:lnTo>
                    <a:pt x="642" y="888"/>
                  </a:lnTo>
                  <a:lnTo>
                    <a:pt x="642" y="894"/>
                  </a:lnTo>
                  <a:lnTo>
                    <a:pt x="642" y="906"/>
                  </a:lnTo>
                  <a:lnTo>
                    <a:pt x="630" y="918"/>
                  </a:lnTo>
                  <a:lnTo>
                    <a:pt x="630" y="924"/>
                  </a:lnTo>
                  <a:lnTo>
                    <a:pt x="624" y="930"/>
                  </a:lnTo>
                  <a:lnTo>
                    <a:pt x="630" y="936"/>
                  </a:lnTo>
                  <a:lnTo>
                    <a:pt x="630" y="942"/>
                  </a:lnTo>
                  <a:lnTo>
                    <a:pt x="630" y="948"/>
                  </a:lnTo>
                  <a:lnTo>
                    <a:pt x="630" y="954"/>
                  </a:lnTo>
                  <a:lnTo>
                    <a:pt x="630" y="960"/>
                  </a:lnTo>
                  <a:lnTo>
                    <a:pt x="624" y="966"/>
                  </a:lnTo>
                  <a:lnTo>
                    <a:pt x="618" y="990"/>
                  </a:lnTo>
                  <a:lnTo>
                    <a:pt x="618" y="1008"/>
                  </a:lnTo>
                  <a:lnTo>
                    <a:pt x="612" y="1026"/>
                  </a:lnTo>
                  <a:lnTo>
                    <a:pt x="612" y="1038"/>
                  </a:lnTo>
                  <a:lnTo>
                    <a:pt x="612" y="1050"/>
                  </a:lnTo>
                  <a:lnTo>
                    <a:pt x="612" y="1056"/>
                  </a:lnTo>
                  <a:lnTo>
                    <a:pt x="612" y="1062"/>
                  </a:lnTo>
                  <a:lnTo>
                    <a:pt x="612" y="1068"/>
                  </a:lnTo>
                  <a:lnTo>
                    <a:pt x="612" y="1086"/>
                  </a:lnTo>
                  <a:lnTo>
                    <a:pt x="612" y="1092"/>
                  </a:lnTo>
                  <a:lnTo>
                    <a:pt x="606" y="1098"/>
                  </a:lnTo>
                  <a:lnTo>
                    <a:pt x="600" y="1110"/>
                  </a:lnTo>
                  <a:lnTo>
                    <a:pt x="600" y="1116"/>
                  </a:lnTo>
                  <a:lnTo>
                    <a:pt x="594" y="1122"/>
                  </a:lnTo>
                  <a:lnTo>
                    <a:pt x="594" y="1128"/>
                  </a:lnTo>
                  <a:lnTo>
                    <a:pt x="588" y="1134"/>
                  </a:lnTo>
                  <a:lnTo>
                    <a:pt x="582" y="1140"/>
                  </a:lnTo>
                  <a:lnTo>
                    <a:pt x="570" y="1140"/>
                  </a:lnTo>
                  <a:lnTo>
                    <a:pt x="564" y="1146"/>
                  </a:lnTo>
                  <a:lnTo>
                    <a:pt x="570" y="1146"/>
                  </a:lnTo>
                  <a:lnTo>
                    <a:pt x="564" y="1152"/>
                  </a:lnTo>
                  <a:lnTo>
                    <a:pt x="558" y="1158"/>
                  </a:lnTo>
                  <a:lnTo>
                    <a:pt x="552" y="1164"/>
                  </a:lnTo>
                  <a:lnTo>
                    <a:pt x="552" y="1170"/>
                  </a:lnTo>
                  <a:lnTo>
                    <a:pt x="546" y="1176"/>
                  </a:lnTo>
                  <a:lnTo>
                    <a:pt x="546" y="1182"/>
                  </a:lnTo>
                  <a:lnTo>
                    <a:pt x="546" y="1188"/>
                  </a:lnTo>
                  <a:lnTo>
                    <a:pt x="540" y="1188"/>
                  </a:lnTo>
                  <a:lnTo>
                    <a:pt x="540" y="1194"/>
                  </a:lnTo>
                  <a:lnTo>
                    <a:pt x="528" y="1206"/>
                  </a:lnTo>
                  <a:lnTo>
                    <a:pt x="528" y="1212"/>
                  </a:lnTo>
                  <a:lnTo>
                    <a:pt x="534" y="1212"/>
                  </a:lnTo>
                  <a:lnTo>
                    <a:pt x="540" y="1218"/>
                  </a:lnTo>
                  <a:lnTo>
                    <a:pt x="534" y="1218"/>
                  </a:lnTo>
                  <a:lnTo>
                    <a:pt x="528" y="1218"/>
                  </a:lnTo>
                  <a:lnTo>
                    <a:pt x="528" y="1224"/>
                  </a:lnTo>
                  <a:lnTo>
                    <a:pt x="522" y="1230"/>
                  </a:lnTo>
                  <a:lnTo>
                    <a:pt x="516" y="1236"/>
                  </a:lnTo>
                  <a:lnTo>
                    <a:pt x="522" y="1236"/>
                  </a:lnTo>
                  <a:lnTo>
                    <a:pt x="516" y="1242"/>
                  </a:lnTo>
                  <a:lnTo>
                    <a:pt x="510" y="1242"/>
                  </a:lnTo>
                  <a:lnTo>
                    <a:pt x="504" y="1248"/>
                  </a:lnTo>
                  <a:lnTo>
                    <a:pt x="510" y="1260"/>
                  </a:lnTo>
                  <a:lnTo>
                    <a:pt x="504" y="1266"/>
                  </a:lnTo>
                  <a:lnTo>
                    <a:pt x="492" y="1266"/>
                  </a:lnTo>
                  <a:lnTo>
                    <a:pt x="486" y="1272"/>
                  </a:lnTo>
                  <a:lnTo>
                    <a:pt x="486" y="1278"/>
                  </a:lnTo>
                  <a:lnTo>
                    <a:pt x="480" y="1278"/>
                  </a:lnTo>
                  <a:lnTo>
                    <a:pt x="480" y="1284"/>
                  </a:lnTo>
                  <a:lnTo>
                    <a:pt x="480" y="1290"/>
                  </a:lnTo>
                  <a:lnTo>
                    <a:pt x="480" y="1296"/>
                  </a:lnTo>
                  <a:lnTo>
                    <a:pt x="492" y="1302"/>
                  </a:lnTo>
                  <a:lnTo>
                    <a:pt x="492" y="1308"/>
                  </a:lnTo>
                  <a:lnTo>
                    <a:pt x="492" y="1320"/>
                  </a:lnTo>
                  <a:lnTo>
                    <a:pt x="492" y="1332"/>
                  </a:lnTo>
                  <a:lnTo>
                    <a:pt x="498" y="1344"/>
                  </a:lnTo>
                  <a:lnTo>
                    <a:pt x="498" y="1350"/>
                  </a:lnTo>
                  <a:lnTo>
                    <a:pt x="498" y="1356"/>
                  </a:lnTo>
                  <a:lnTo>
                    <a:pt x="504" y="1362"/>
                  </a:lnTo>
                  <a:lnTo>
                    <a:pt x="498" y="1362"/>
                  </a:lnTo>
                  <a:lnTo>
                    <a:pt x="498" y="1368"/>
                  </a:lnTo>
                  <a:lnTo>
                    <a:pt x="492" y="1368"/>
                  </a:lnTo>
                  <a:lnTo>
                    <a:pt x="492" y="1374"/>
                  </a:lnTo>
                  <a:lnTo>
                    <a:pt x="492" y="1380"/>
                  </a:lnTo>
                  <a:lnTo>
                    <a:pt x="498" y="1380"/>
                  </a:lnTo>
                  <a:lnTo>
                    <a:pt x="504" y="1380"/>
                  </a:lnTo>
                  <a:lnTo>
                    <a:pt x="498" y="1386"/>
                  </a:lnTo>
                  <a:lnTo>
                    <a:pt x="498" y="1392"/>
                  </a:lnTo>
                  <a:lnTo>
                    <a:pt x="498" y="1398"/>
                  </a:lnTo>
                  <a:lnTo>
                    <a:pt x="498" y="1404"/>
                  </a:lnTo>
                  <a:lnTo>
                    <a:pt x="498" y="1410"/>
                  </a:lnTo>
                  <a:lnTo>
                    <a:pt x="498" y="1416"/>
                  </a:lnTo>
                  <a:lnTo>
                    <a:pt x="492" y="1416"/>
                  </a:lnTo>
                  <a:lnTo>
                    <a:pt x="498" y="1416"/>
                  </a:lnTo>
                  <a:lnTo>
                    <a:pt x="504" y="1416"/>
                  </a:lnTo>
                  <a:lnTo>
                    <a:pt x="504" y="1422"/>
                  </a:lnTo>
                  <a:lnTo>
                    <a:pt x="510" y="1428"/>
                  </a:lnTo>
                  <a:lnTo>
                    <a:pt x="510" y="1434"/>
                  </a:lnTo>
                  <a:lnTo>
                    <a:pt x="510" y="1440"/>
                  </a:lnTo>
                  <a:lnTo>
                    <a:pt x="516" y="1446"/>
                  </a:lnTo>
                  <a:lnTo>
                    <a:pt x="516" y="1452"/>
                  </a:lnTo>
                  <a:lnTo>
                    <a:pt x="516" y="1458"/>
                  </a:lnTo>
                  <a:lnTo>
                    <a:pt x="516" y="1464"/>
                  </a:lnTo>
                  <a:lnTo>
                    <a:pt x="516" y="1482"/>
                  </a:lnTo>
                  <a:lnTo>
                    <a:pt x="516" y="1488"/>
                  </a:lnTo>
                  <a:lnTo>
                    <a:pt x="522" y="1488"/>
                  </a:lnTo>
                  <a:lnTo>
                    <a:pt x="522" y="1494"/>
                  </a:lnTo>
                  <a:lnTo>
                    <a:pt x="522" y="1500"/>
                  </a:lnTo>
                  <a:lnTo>
                    <a:pt x="516" y="1506"/>
                  </a:lnTo>
                  <a:lnTo>
                    <a:pt x="510" y="1500"/>
                  </a:lnTo>
                  <a:lnTo>
                    <a:pt x="504" y="1500"/>
                  </a:lnTo>
                  <a:lnTo>
                    <a:pt x="504" y="1494"/>
                  </a:lnTo>
                  <a:lnTo>
                    <a:pt x="504" y="1488"/>
                  </a:lnTo>
                  <a:lnTo>
                    <a:pt x="504" y="1482"/>
                  </a:lnTo>
                  <a:lnTo>
                    <a:pt x="504" y="1488"/>
                  </a:lnTo>
                  <a:lnTo>
                    <a:pt x="504" y="1494"/>
                  </a:lnTo>
                  <a:lnTo>
                    <a:pt x="504" y="1500"/>
                  </a:lnTo>
                  <a:lnTo>
                    <a:pt x="498" y="1500"/>
                  </a:lnTo>
                  <a:lnTo>
                    <a:pt x="492" y="1500"/>
                  </a:lnTo>
                  <a:lnTo>
                    <a:pt x="492" y="1494"/>
                  </a:lnTo>
                  <a:lnTo>
                    <a:pt x="492" y="1488"/>
                  </a:lnTo>
                  <a:lnTo>
                    <a:pt x="492" y="1494"/>
                  </a:lnTo>
                  <a:lnTo>
                    <a:pt x="492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00"/>
                  </a:lnTo>
                  <a:lnTo>
                    <a:pt x="510" y="1500"/>
                  </a:lnTo>
                  <a:lnTo>
                    <a:pt x="510" y="1506"/>
                  </a:lnTo>
                  <a:lnTo>
                    <a:pt x="516" y="1506"/>
                  </a:lnTo>
                  <a:lnTo>
                    <a:pt x="510" y="1506"/>
                  </a:lnTo>
                  <a:lnTo>
                    <a:pt x="510" y="1512"/>
                  </a:lnTo>
                  <a:lnTo>
                    <a:pt x="516" y="1506"/>
                  </a:lnTo>
                  <a:lnTo>
                    <a:pt x="522" y="1506"/>
                  </a:lnTo>
                  <a:lnTo>
                    <a:pt x="528" y="1506"/>
                  </a:lnTo>
                  <a:lnTo>
                    <a:pt x="528" y="1500"/>
                  </a:lnTo>
                  <a:lnTo>
                    <a:pt x="534" y="1500"/>
                  </a:lnTo>
                  <a:lnTo>
                    <a:pt x="534" y="1506"/>
                  </a:lnTo>
                  <a:lnTo>
                    <a:pt x="540" y="1512"/>
                  </a:lnTo>
                  <a:lnTo>
                    <a:pt x="540" y="1518"/>
                  </a:lnTo>
                  <a:lnTo>
                    <a:pt x="546" y="1518"/>
                  </a:lnTo>
                  <a:lnTo>
                    <a:pt x="540" y="1518"/>
                  </a:lnTo>
                  <a:lnTo>
                    <a:pt x="540" y="1524"/>
                  </a:lnTo>
                  <a:lnTo>
                    <a:pt x="534" y="1524"/>
                  </a:lnTo>
                  <a:lnTo>
                    <a:pt x="540" y="1524"/>
                  </a:lnTo>
                  <a:lnTo>
                    <a:pt x="546" y="1524"/>
                  </a:lnTo>
                  <a:lnTo>
                    <a:pt x="546" y="1530"/>
                  </a:lnTo>
                  <a:lnTo>
                    <a:pt x="540" y="1530"/>
                  </a:lnTo>
                  <a:lnTo>
                    <a:pt x="540" y="1536"/>
                  </a:lnTo>
                  <a:lnTo>
                    <a:pt x="534" y="1542"/>
                  </a:lnTo>
                  <a:lnTo>
                    <a:pt x="528" y="1542"/>
                  </a:lnTo>
                  <a:lnTo>
                    <a:pt x="522" y="1542"/>
                  </a:lnTo>
                  <a:lnTo>
                    <a:pt x="516" y="1542"/>
                  </a:lnTo>
                  <a:lnTo>
                    <a:pt x="510" y="1542"/>
                  </a:lnTo>
                  <a:lnTo>
                    <a:pt x="504" y="1542"/>
                  </a:lnTo>
                  <a:lnTo>
                    <a:pt x="492" y="1542"/>
                  </a:lnTo>
                  <a:lnTo>
                    <a:pt x="486" y="1536"/>
                  </a:lnTo>
                  <a:lnTo>
                    <a:pt x="480" y="1536"/>
                  </a:lnTo>
                  <a:lnTo>
                    <a:pt x="468" y="1536"/>
                  </a:lnTo>
                  <a:lnTo>
                    <a:pt x="468" y="1542"/>
                  </a:lnTo>
                  <a:lnTo>
                    <a:pt x="462" y="1542"/>
                  </a:lnTo>
                  <a:lnTo>
                    <a:pt x="456" y="1542"/>
                  </a:lnTo>
                  <a:lnTo>
                    <a:pt x="450" y="1542"/>
                  </a:lnTo>
                  <a:lnTo>
                    <a:pt x="444" y="1542"/>
                  </a:lnTo>
                  <a:lnTo>
                    <a:pt x="444" y="1536"/>
                  </a:lnTo>
                  <a:lnTo>
                    <a:pt x="450" y="1536"/>
                  </a:lnTo>
                  <a:lnTo>
                    <a:pt x="456" y="1536"/>
                  </a:lnTo>
                  <a:lnTo>
                    <a:pt x="450" y="1536"/>
                  </a:lnTo>
                  <a:lnTo>
                    <a:pt x="444" y="1536"/>
                  </a:lnTo>
                  <a:lnTo>
                    <a:pt x="444" y="1530"/>
                  </a:lnTo>
                  <a:lnTo>
                    <a:pt x="450" y="1530"/>
                  </a:lnTo>
                  <a:lnTo>
                    <a:pt x="456" y="1524"/>
                  </a:lnTo>
                  <a:lnTo>
                    <a:pt x="456" y="1518"/>
                  </a:lnTo>
                  <a:lnTo>
                    <a:pt x="462" y="1518"/>
                  </a:lnTo>
                  <a:lnTo>
                    <a:pt x="462" y="1524"/>
                  </a:lnTo>
                  <a:lnTo>
                    <a:pt x="468" y="1524"/>
                  </a:lnTo>
                  <a:lnTo>
                    <a:pt x="474" y="1524"/>
                  </a:lnTo>
                  <a:lnTo>
                    <a:pt x="474" y="1518"/>
                  </a:lnTo>
                  <a:lnTo>
                    <a:pt x="480" y="1518"/>
                  </a:lnTo>
                  <a:lnTo>
                    <a:pt x="474" y="1518"/>
                  </a:lnTo>
                  <a:lnTo>
                    <a:pt x="474" y="1524"/>
                  </a:lnTo>
                  <a:lnTo>
                    <a:pt x="468" y="1524"/>
                  </a:lnTo>
                  <a:lnTo>
                    <a:pt x="462" y="1518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62" y="1512"/>
                  </a:lnTo>
                  <a:lnTo>
                    <a:pt x="462" y="1506"/>
                  </a:lnTo>
                  <a:lnTo>
                    <a:pt x="456" y="1506"/>
                  </a:lnTo>
                  <a:lnTo>
                    <a:pt x="456" y="1512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50" y="1518"/>
                  </a:lnTo>
                  <a:lnTo>
                    <a:pt x="444" y="1518"/>
                  </a:lnTo>
                  <a:lnTo>
                    <a:pt x="444" y="1524"/>
                  </a:lnTo>
                  <a:lnTo>
                    <a:pt x="438" y="1524"/>
                  </a:lnTo>
                  <a:lnTo>
                    <a:pt x="438" y="1530"/>
                  </a:lnTo>
                  <a:lnTo>
                    <a:pt x="432" y="1530"/>
                  </a:lnTo>
                  <a:lnTo>
                    <a:pt x="432" y="1536"/>
                  </a:lnTo>
                  <a:lnTo>
                    <a:pt x="426" y="1530"/>
                  </a:lnTo>
                  <a:lnTo>
                    <a:pt x="420" y="1530"/>
                  </a:lnTo>
                  <a:lnTo>
                    <a:pt x="414" y="1530"/>
                  </a:lnTo>
                  <a:lnTo>
                    <a:pt x="414" y="1524"/>
                  </a:lnTo>
                  <a:lnTo>
                    <a:pt x="408" y="1518"/>
                  </a:lnTo>
                  <a:lnTo>
                    <a:pt x="414" y="1512"/>
                  </a:lnTo>
                  <a:lnTo>
                    <a:pt x="408" y="1512"/>
                  </a:lnTo>
                  <a:lnTo>
                    <a:pt x="408" y="1506"/>
                  </a:lnTo>
                  <a:lnTo>
                    <a:pt x="408" y="1500"/>
                  </a:lnTo>
                  <a:lnTo>
                    <a:pt x="408" y="1494"/>
                  </a:lnTo>
                  <a:lnTo>
                    <a:pt x="408" y="1488"/>
                  </a:lnTo>
                  <a:lnTo>
                    <a:pt x="408" y="1494"/>
                  </a:lnTo>
                  <a:lnTo>
                    <a:pt x="414" y="1494"/>
                  </a:lnTo>
                  <a:lnTo>
                    <a:pt x="420" y="1494"/>
                  </a:lnTo>
                  <a:lnTo>
                    <a:pt x="420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82"/>
                  </a:lnTo>
                  <a:lnTo>
                    <a:pt x="426" y="1476"/>
                  </a:lnTo>
                  <a:lnTo>
                    <a:pt x="432" y="1476"/>
                  </a:lnTo>
                  <a:lnTo>
                    <a:pt x="432" y="1470"/>
                  </a:lnTo>
                  <a:lnTo>
                    <a:pt x="438" y="1470"/>
                  </a:lnTo>
                  <a:lnTo>
                    <a:pt x="444" y="1464"/>
                  </a:lnTo>
                  <a:lnTo>
                    <a:pt x="450" y="1458"/>
                  </a:lnTo>
                  <a:lnTo>
                    <a:pt x="456" y="1458"/>
                  </a:lnTo>
                  <a:lnTo>
                    <a:pt x="462" y="1452"/>
                  </a:lnTo>
                  <a:lnTo>
                    <a:pt x="468" y="1452"/>
                  </a:lnTo>
                  <a:lnTo>
                    <a:pt x="468" y="1446"/>
                  </a:lnTo>
                  <a:lnTo>
                    <a:pt x="462" y="1440"/>
                  </a:lnTo>
                  <a:lnTo>
                    <a:pt x="456" y="1434"/>
                  </a:lnTo>
                  <a:lnTo>
                    <a:pt x="456" y="1428"/>
                  </a:lnTo>
                  <a:lnTo>
                    <a:pt x="456" y="1422"/>
                  </a:lnTo>
                  <a:lnTo>
                    <a:pt x="456" y="1416"/>
                  </a:lnTo>
                  <a:lnTo>
                    <a:pt x="450" y="1410"/>
                  </a:lnTo>
                  <a:lnTo>
                    <a:pt x="444" y="1410"/>
                  </a:lnTo>
                  <a:lnTo>
                    <a:pt x="450" y="1410"/>
                  </a:lnTo>
                  <a:lnTo>
                    <a:pt x="450" y="1404"/>
                  </a:lnTo>
                  <a:lnTo>
                    <a:pt x="456" y="1404"/>
                  </a:lnTo>
                  <a:lnTo>
                    <a:pt x="462" y="1404"/>
                  </a:lnTo>
                  <a:lnTo>
                    <a:pt x="468" y="1398"/>
                  </a:lnTo>
                  <a:lnTo>
                    <a:pt x="462" y="1398"/>
                  </a:lnTo>
                  <a:lnTo>
                    <a:pt x="462" y="1392"/>
                  </a:lnTo>
                  <a:lnTo>
                    <a:pt x="456" y="1392"/>
                  </a:lnTo>
                  <a:lnTo>
                    <a:pt x="456" y="1386"/>
                  </a:lnTo>
                  <a:lnTo>
                    <a:pt x="462" y="1386"/>
                  </a:lnTo>
                  <a:lnTo>
                    <a:pt x="468" y="1386"/>
                  </a:lnTo>
                  <a:lnTo>
                    <a:pt x="474" y="1386"/>
                  </a:lnTo>
                  <a:lnTo>
                    <a:pt x="468" y="1386"/>
                  </a:lnTo>
                  <a:lnTo>
                    <a:pt x="462" y="1386"/>
                  </a:lnTo>
                  <a:lnTo>
                    <a:pt x="456" y="1380"/>
                  </a:lnTo>
                  <a:lnTo>
                    <a:pt x="456" y="1374"/>
                  </a:lnTo>
                  <a:lnTo>
                    <a:pt x="462" y="1374"/>
                  </a:lnTo>
                  <a:lnTo>
                    <a:pt x="462" y="1368"/>
                  </a:lnTo>
                  <a:lnTo>
                    <a:pt x="456" y="1374"/>
                  </a:lnTo>
                  <a:lnTo>
                    <a:pt x="456" y="1368"/>
                  </a:lnTo>
                  <a:lnTo>
                    <a:pt x="456" y="1362"/>
                  </a:lnTo>
                  <a:lnTo>
                    <a:pt x="450" y="1362"/>
                  </a:lnTo>
                  <a:lnTo>
                    <a:pt x="450" y="1356"/>
                  </a:lnTo>
                  <a:lnTo>
                    <a:pt x="450" y="1350"/>
                  </a:lnTo>
                  <a:lnTo>
                    <a:pt x="450" y="1344"/>
                  </a:lnTo>
                  <a:lnTo>
                    <a:pt x="456" y="1344"/>
                  </a:lnTo>
                  <a:lnTo>
                    <a:pt x="456" y="1338"/>
                  </a:lnTo>
                  <a:lnTo>
                    <a:pt x="462" y="1338"/>
                  </a:lnTo>
                  <a:lnTo>
                    <a:pt x="462" y="1332"/>
                  </a:lnTo>
                  <a:lnTo>
                    <a:pt x="456" y="1332"/>
                  </a:lnTo>
                  <a:lnTo>
                    <a:pt x="456" y="1326"/>
                  </a:lnTo>
                  <a:lnTo>
                    <a:pt x="450" y="1326"/>
                  </a:lnTo>
                  <a:lnTo>
                    <a:pt x="444" y="1326"/>
                  </a:lnTo>
                  <a:lnTo>
                    <a:pt x="444" y="1332"/>
                  </a:lnTo>
                  <a:lnTo>
                    <a:pt x="438" y="1332"/>
                  </a:lnTo>
                  <a:lnTo>
                    <a:pt x="438" y="1338"/>
                  </a:lnTo>
                  <a:lnTo>
                    <a:pt x="432" y="1338"/>
                  </a:lnTo>
                  <a:lnTo>
                    <a:pt x="432" y="1344"/>
                  </a:lnTo>
                  <a:lnTo>
                    <a:pt x="432" y="1350"/>
                  </a:lnTo>
                  <a:lnTo>
                    <a:pt x="426" y="1356"/>
                  </a:lnTo>
                  <a:lnTo>
                    <a:pt x="426" y="1368"/>
                  </a:lnTo>
                  <a:lnTo>
                    <a:pt x="426" y="1374"/>
                  </a:lnTo>
                  <a:lnTo>
                    <a:pt x="426" y="1380"/>
                  </a:lnTo>
                  <a:lnTo>
                    <a:pt x="432" y="1386"/>
                  </a:lnTo>
                  <a:lnTo>
                    <a:pt x="432" y="1392"/>
                  </a:lnTo>
                  <a:lnTo>
                    <a:pt x="432" y="1398"/>
                  </a:lnTo>
                  <a:lnTo>
                    <a:pt x="426" y="1398"/>
                  </a:lnTo>
                  <a:lnTo>
                    <a:pt x="420" y="1398"/>
                  </a:lnTo>
                  <a:lnTo>
                    <a:pt x="414" y="1398"/>
                  </a:lnTo>
                  <a:lnTo>
                    <a:pt x="420" y="1398"/>
                  </a:lnTo>
                  <a:lnTo>
                    <a:pt x="414" y="1404"/>
                  </a:lnTo>
                  <a:lnTo>
                    <a:pt x="420" y="1404"/>
                  </a:lnTo>
                  <a:lnTo>
                    <a:pt x="414" y="1404"/>
                  </a:lnTo>
                  <a:lnTo>
                    <a:pt x="408" y="1404"/>
                  </a:lnTo>
                  <a:lnTo>
                    <a:pt x="402" y="1410"/>
                  </a:lnTo>
                  <a:lnTo>
                    <a:pt x="402" y="1404"/>
                  </a:lnTo>
                  <a:lnTo>
                    <a:pt x="396" y="1404"/>
                  </a:lnTo>
                  <a:lnTo>
                    <a:pt x="390" y="1404"/>
                  </a:lnTo>
                  <a:lnTo>
                    <a:pt x="384" y="1404"/>
                  </a:lnTo>
                  <a:lnTo>
                    <a:pt x="384" y="1398"/>
                  </a:lnTo>
                  <a:lnTo>
                    <a:pt x="384" y="1392"/>
                  </a:lnTo>
                  <a:lnTo>
                    <a:pt x="390" y="1392"/>
                  </a:lnTo>
                  <a:lnTo>
                    <a:pt x="390" y="1386"/>
                  </a:lnTo>
                  <a:lnTo>
                    <a:pt x="390" y="1380"/>
                  </a:lnTo>
                  <a:lnTo>
                    <a:pt x="396" y="1380"/>
                  </a:lnTo>
                  <a:lnTo>
                    <a:pt x="402" y="1380"/>
                  </a:lnTo>
                  <a:lnTo>
                    <a:pt x="408" y="1380"/>
                  </a:lnTo>
                  <a:lnTo>
                    <a:pt x="408" y="1374"/>
                  </a:lnTo>
                  <a:lnTo>
                    <a:pt x="414" y="1374"/>
                  </a:lnTo>
                  <a:lnTo>
                    <a:pt x="414" y="1368"/>
                  </a:lnTo>
                  <a:lnTo>
                    <a:pt x="414" y="1362"/>
                  </a:lnTo>
                  <a:lnTo>
                    <a:pt x="414" y="1368"/>
                  </a:lnTo>
                  <a:lnTo>
                    <a:pt x="414" y="1374"/>
                  </a:lnTo>
                  <a:lnTo>
                    <a:pt x="408" y="1374"/>
                  </a:lnTo>
                  <a:lnTo>
                    <a:pt x="402" y="1380"/>
                  </a:lnTo>
                  <a:lnTo>
                    <a:pt x="396" y="1380"/>
                  </a:lnTo>
                  <a:lnTo>
                    <a:pt x="396" y="1374"/>
                  </a:lnTo>
                  <a:lnTo>
                    <a:pt x="390" y="1374"/>
                  </a:lnTo>
                  <a:lnTo>
                    <a:pt x="390" y="1368"/>
                  </a:lnTo>
                  <a:lnTo>
                    <a:pt x="384" y="1368"/>
                  </a:lnTo>
                  <a:lnTo>
                    <a:pt x="384" y="1374"/>
                  </a:lnTo>
                  <a:lnTo>
                    <a:pt x="378" y="1374"/>
                  </a:lnTo>
                  <a:lnTo>
                    <a:pt x="378" y="1380"/>
                  </a:lnTo>
                  <a:lnTo>
                    <a:pt x="372" y="1380"/>
                  </a:lnTo>
                  <a:lnTo>
                    <a:pt x="366" y="1386"/>
                  </a:lnTo>
                  <a:lnTo>
                    <a:pt x="360" y="1386"/>
                  </a:lnTo>
                  <a:lnTo>
                    <a:pt x="354" y="1386"/>
                  </a:lnTo>
                  <a:lnTo>
                    <a:pt x="354" y="1380"/>
                  </a:lnTo>
                  <a:lnTo>
                    <a:pt x="348" y="1380"/>
                  </a:lnTo>
                  <a:lnTo>
                    <a:pt x="342" y="1380"/>
                  </a:lnTo>
                  <a:lnTo>
                    <a:pt x="342" y="1374"/>
                  </a:lnTo>
                  <a:lnTo>
                    <a:pt x="336" y="1368"/>
                  </a:lnTo>
                  <a:lnTo>
                    <a:pt x="342" y="1368"/>
                  </a:lnTo>
                  <a:lnTo>
                    <a:pt x="342" y="1362"/>
                  </a:lnTo>
                  <a:lnTo>
                    <a:pt x="348" y="1362"/>
                  </a:lnTo>
                  <a:lnTo>
                    <a:pt x="354" y="1362"/>
                  </a:lnTo>
                  <a:lnTo>
                    <a:pt x="354" y="1356"/>
                  </a:lnTo>
                  <a:lnTo>
                    <a:pt x="348" y="1356"/>
                  </a:lnTo>
                  <a:lnTo>
                    <a:pt x="348" y="1350"/>
                  </a:lnTo>
                  <a:lnTo>
                    <a:pt x="348" y="1344"/>
                  </a:lnTo>
                  <a:lnTo>
                    <a:pt x="354" y="1338"/>
                  </a:lnTo>
                  <a:lnTo>
                    <a:pt x="354" y="1332"/>
                  </a:lnTo>
                  <a:lnTo>
                    <a:pt x="354" y="1326"/>
                  </a:lnTo>
                  <a:lnTo>
                    <a:pt x="354" y="1320"/>
                  </a:lnTo>
                  <a:lnTo>
                    <a:pt x="354" y="1314"/>
                  </a:lnTo>
                  <a:lnTo>
                    <a:pt x="354" y="1308"/>
                  </a:lnTo>
                  <a:lnTo>
                    <a:pt x="348" y="1308"/>
                  </a:lnTo>
                  <a:lnTo>
                    <a:pt x="348" y="1302"/>
                  </a:lnTo>
                  <a:lnTo>
                    <a:pt x="342" y="1296"/>
                  </a:lnTo>
                  <a:lnTo>
                    <a:pt x="336" y="1296"/>
                  </a:lnTo>
                  <a:lnTo>
                    <a:pt x="336" y="1290"/>
                  </a:lnTo>
                  <a:lnTo>
                    <a:pt x="330" y="1290"/>
                  </a:lnTo>
                  <a:lnTo>
                    <a:pt x="324" y="1290"/>
                  </a:lnTo>
                  <a:lnTo>
                    <a:pt x="324" y="1284"/>
                  </a:lnTo>
                  <a:lnTo>
                    <a:pt x="318" y="1284"/>
                  </a:lnTo>
                  <a:lnTo>
                    <a:pt x="318" y="1278"/>
                  </a:lnTo>
                  <a:lnTo>
                    <a:pt x="312" y="1278"/>
                  </a:lnTo>
                  <a:lnTo>
                    <a:pt x="312" y="1272"/>
                  </a:lnTo>
                  <a:lnTo>
                    <a:pt x="312" y="1278"/>
                  </a:lnTo>
                  <a:lnTo>
                    <a:pt x="318" y="1284"/>
                  </a:lnTo>
                  <a:lnTo>
                    <a:pt x="324" y="1290"/>
                  </a:lnTo>
                  <a:lnTo>
                    <a:pt x="330" y="1290"/>
                  </a:lnTo>
                  <a:lnTo>
                    <a:pt x="330" y="1296"/>
                  </a:lnTo>
                  <a:lnTo>
                    <a:pt x="336" y="1296"/>
                  </a:lnTo>
                  <a:lnTo>
                    <a:pt x="336" y="1302"/>
                  </a:lnTo>
                  <a:lnTo>
                    <a:pt x="342" y="1302"/>
                  </a:lnTo>
                  <a:lnTo>
                    <a:pt x="348" y="1302"/>
                  </a:lnTo>
                  <a:lnTo>
                    <a:pt x="348" y="1308"/>
                  </a:lnTo>
                  <a:lnTo>
                    <a:pt x="348" y="1314"/>
                  </a:lnTo>
                  <a:lnTo>
                    <a:pt x="354" y="1314"/>
                  </a:lnTo>
                  <a:lnTo>
                    <a:pt x="354" y="1320"/>
                  </a:lnTo>
                  <a:lnTo>
                    <a:pt x="354" y="1326"/>
                  </a:lnTo>
                  <a:lnTo>
                    <a:pt x="348" y="1326"/>
                  </a:lnTo>
                  <a:lnTo>
                    <a:pt x="348" y="1332"/>
                  </a:lnTo>
                  <a:lnTo>
                    <a:pt x="348" y="1338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2" y="1350"/>
                  </a:lnTo>
                  <a:lnTo>
                    <a:pt x="336" y="1350"/>
                  </a:lnTo>
                  <a:lnTo>
                    <a:pt x="330" y="1350"/>
                  </a:lnTo>
                  <a:lnTo>
                    <a:pt x="330" y="1356"/>
                  </a:lnTo>
                  <a:lnTo>
                    <a:pt x="330" y="1350"/>
                  </a:lnTo>
                  <a:lnTo>
                    <a:pt x="324" y="1350"/>
                  </a:lnTo>
                  <a:lnTo>
                    <a:pt x="318" y="1344"/>
                  </a:lnTo>
                  <a:lnTo>
                    <a:pt x="318" y="1350"/>
                  </a:lnTo>
                  <a:lnTo>
                    <a:pt x="312" y="1344"/>
                  </a:lnTo>
                  <a:lnTo>
                    <a:pt x="312" y="1338"/>
                  </a:lnTo>
                  <a:lnTo>
                    <a:pt x="306" y="1338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6" y="1326"/>
                  </a:lnTo>
                  <a:lnTo>
                    <a:pt x="306" y="1320"/>
                  </a:lnTo>
                  <a:lnTo>
                    <a:pt x="306" y="1326"/>
                  </a:lnTo>
                  <a:lnTo>
                    <a:pt x="312" y="1326"/>
                  </a:lnTo>
                  <a:lnTo>
                    <a:pt x="312" y="1320"/>
                  </a:lnTo>
                  <a:lnTo>
                    <a:pt x="306" y="1320"/>
                  </a:lnTo>
                  <a:lnTo>
                    <a:pt x="300" y="1320"/>
                  </a:lnTo>
                  <a:lnTo>
                    <a:pt x="294" y="1320"/>
                  </a:lnTo>
                  <a:lnTo>
                    <a:pt x="294" y="1314"/>
                  </a:lnTo>
                  <a:lnTo>
                    <a:pt x="288" y="1314"/>
                  </a:lnTo>
                  <a:lnTo>
                    <a:pt x="288" y="1308"/>
                  </a:lnTo>
                  <a:lnTo>
                    <a:pt x="288" y="1302"/>
                  </a:lnTo>
                  <a:lnTo>
                    <a:pt x="294" y="1302"/>
                  </a:lnTo>
                  <a:lnTo>
                    <a:pt x="294" y="1296"/>
                  </a:lnTo>
                  <a:lnTo>
                    <a:pt x="288" y="1296"/>
                  </a:lnTo>
                  <a:lnTo>
                    <a:pt x="288" y="1290"/>
                  </a:lnTo>
                  <a:lnTo>
                    <a:pt x="288" y="1296"/>
                  </a:lnTo>
                  <a:lnTo>
                    <a:pt x="294" y="1302"/>
                  </a:lnTo>
                  <a:lnTo>
                    <a:pt x="288" y="1302"/>
                  </a:lnTo>
                  <a:lnTo>
                    <a:pt x="282" y="1296"/>
                  </a:lnTo>
                  <a:lnTo>
                    <a:pt x="276" y="1296"/>
                  </a:lnTo>
                  <a:lnTo>
                    <a:pt x="276" y="1290"/>
                  </a:lnTo>
                  <a:lnTo>
                    <a:pt x="270" y="1290"/>
                  </a:lnTo>
                  <a:lnTo>
                    <a:pt x="264" y="1284"/>
                  </a:lnTo>
                  <a:lnTo>
                    <a:pt x="264" y="1278"/>
                  </a:lnTo>
                  <a:lnTo>
                    <a:pt x="264" y="1272"/>
                  </a:lnTo>
                  <a:lnTo>
                    <a:pt x="264" y="1266"/>
                  </a:lnTo>
                  <a:lnTo>
                    <a:pt x="258" y="1266"/>
                  </a:lnTo>
                  <a:lnTo>
                    <a:pt x="252" y="1266"/>
                  </a:lnTo>
                  <a:lnTo>
                    <a:pt x="246" y="1260"/>
                  </a:lnTo>
                  <a:lnTo>
                    <a:pt x="240" y="1254"/>
                  </a:lnTo>
                  <a:lnTo>
                    <a:pt x="240" y="1260"/>
                  </a:lnTo>
                  <a:lnTo>
                    <a:pt x="240" y="1266"/>
                  </a:lnTo>
                  <a:lnTo>
                    <a:pt x="240" y="1272"/>
                  </a:lnTo>
                  <a:lnTo>
                    <a:pt x="246" y="1272"/>
                  </a:lnTo>
                  <a:lnTo>
                    <a:pt x="246" y="1278"/>
                  </a:lnTo>
                  <a:lnTo>
                    <a:pt x="246" y="1284"/>
                  </a:lnTo>
                  <a:lnTo>
                    <a:pt x="252" y="1284"/>
                  </a:lnTo>
                  <a:lnTo>
                    <a:pt x="252" y="1290"/>
                  </a:lnTo>
                  <a:lnTo>
                    <a:pt x="258" y="1296"/>
                  </a:lnTo>
                  <a:lnTo>
                    <a:pt x="264" y="1302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58" y="1314"/>
                  </a:lnTo>
                  <a:lnTo>
                    <a:pt x="258" y="1308"/>
                  </a:lnTo>
                  <a:lnTo>
                    <a:pt x="252" y="1308"/>
                  </a:lnTo>
                  <a:lnTo>
                    <a:pt x="252" y="1302"/>
                  </a:lnTo>
                  <a:lnTo>
                    <a:pt x="246" y="1302"/>
                  </a:lnTo>
                  <a:lnTo>
                    <a:pt x="246" y="1296"/>
                  </a:lnTo>
                  <a:lnTo>
                    <a:pt x="240" y="1296"/>
                  </a:lnTo>
                  <a:lnTo>
                    <a:pt x="240" y="1290"/>
                  </a:lnTo>
                  <a:lnTo>
                    <a:pt x="234" y="1284"/>
                  </a:lnTo>
                  <a:lnTo>
                    <a:pt x="234" y="1278"/>
                  </a:lnTo>
                  <a:close/>
                  <a:moveTo>
                    <a:pt x="444" y="1332"/>
                  </a:moveTo>
                  <a:lnTo>
                    <a:pt x="450" y="1326"/>
                  </a:lnTo>
                  <a:lnTo>
                    <a:pt x="456" y="1326"/>
                  </a:lnTo>
                  <a:lnTo>
                    <a:pt x="456" y="1332"/>
                  </a:lnTo>
                  <a:lnTo>
                    <a:pt x="456" y="1338"/>
                  </a:lnTo>
                  <a:lnTo>
                    <a:pt x="450" y="1338"/>
                  </a:lnTo>
                  <a:lnTo>
                    <a:pt x="444" y="1338"/>
                  </a:lnTo>
                  <a:lnTo>
                    <a:pt x="444" y="1332"/>
                  </a:lnTo>
                  <a:close/>
                  <a:moveTo>
                    <a:pt x="444" y="1368"/>
                  </a:moveTo>
                  <a:lnTo>
                    <a:pt x="456" y="1368"/>
                  </a:lnTo>
                  <a:lnTo>
                    <a:pt x="456" y="1374"/>
                  </a:lnTo>
                  <a:lnTo>
                    <a:pt x="444" y="1374"/>
                  </a:lnTo>
                  <a:lnTo>
                    <a:pt x="444" y="1368"/>
                  </a:lnTo>
                  <a:close/>
                  <a:moveTo>
                    <a:pt x="444" y="1386"/>
                  </a:moveTo>
                  <a:lnTo>
                    <a:pt x="444" y="1380"/>
                  </a:lnTo>
                  <a:lnTo>
                    <a:pt x="444" y="1374"/>
                  </a:lnTo>
                  <a:lnTo>
                    <a:pt x="444" y="1380"/>
                  </a:lnTo>
                  <a:lnTo>
                    <a:pt x="450" y="1380"/>
                  </a:lnTo>
                  <a:lnTo>
                    <a:pt x="456" y="1380"/>
                  </a:lnTo>
                  <a:lnTo>
                    <a:pt x="456" y="1386"/>
                  </a:lnTo>
                  <a:lnTo>
                    <a:pt x="456" y="1392"/>
                  </a:lnTo>
                  <a:lnTo>
                    <a:pt x="462" y="1392"/>
                  </a:lnTo>
                  <a:lnTo>
                    <a:pt x="462" y="1398"/>
                  </a:lnTo>
                  <a:lnTo>
                    <a:pt x="462" y="1404"/>
                  </a:lnTo>
                  <a:lnTo>
                    <a:pt x="456" y="1404"/>
                  </a:lnTo>
                  <a:lnTo>
                    <a:pt x="450" y="1404"/>
                  </a:lnTo>
                  <a:lnTo>
                    <a:pt x="450" y="1398"/>
                  </a:lnTo>
                  <a:lnTo>
                    <a:pt x="444" y="1398"/>
                  </a:lnTo>
                  <a:lnTo>
                    <a:pt x="444" y="1392"/>
                  </a:lnTo>
                  <a:lnTo>
                    <a:pt x="444" y="1386"/>
                  </a:lnTo>
                  <a:close/>
                  <a:moveTo>
                    <a:pt x="438" y="1362"/>
                  </a:moveTo>
                  <a:lnTo>
                    <a:pt x="444" y="1356"/>
                  </a:lnTo>
                  <a:lnTo>
                    <a:pt x="450" y="1356"/>
                  </a:lnTo>
                  <a:lnTo>
                    <a:pt x="450" y="1362"/>
                  </a:lnTo>
                  <a:lnTo>
                    <a:pt x="450" y="1368"/>
                  </a:lnTo>
                  <a:lnTo>
                    <a:pt x="444" y="1368"/>
                  </a:lnTo>
                  <a:lnTo>
                    <a:pt x="444" y="1362"/>
                  </a:lnTo>
                  <a:lnTo>
                    <a:pt x="438" y="1362"/>
                  </a:lnTo>
                  <a:close/>
                  <a:moveTo>
                    <a:pt x="438" y="1350"/>
                  </a:moveTo>
                  <a:lnTo>
                    <a:pt x="438" y="1344"/>
                  </a:lnTo>
                  <a:lnTo>
                    <a:pt x="438" y="1338"/>
                  </a:lnTo>
                  <a:lnTo>
                    <a:pt x="444" y="1338"/>
                  </a:lnTo>
                  <a:lnTo>
                    <a:pt x="450" y="1338"/>
                  </a:lnTo>
                  <a:lnTo>
                    <a:pt x="456" y="1338"/>
                  </a:lnTo>
                  <a:lnTo>
                    <a:pt x="450" y="1344"/>
                  </a:lnTo>
                  <a:lnTo>
                    <a:pt x="444" y="1350"/>
                  </a:lnTo>
                  <a:lnTo>
                    <a:pt x="438" y="1350"/>
                  </a:lnTo>
                  <a:close/>
                  <a:moveTo>
                    <a:pt x="432" y="1380"/>
                  </a:moveTo>
                  <a:lnTo>
                    <a:pt x="432" y="1368"/>
                  </a:lnTo>
                  <a:lnTo>
                    <a:pt x="432" y="1362"/>
                  </a:lnTo>
                  <a:lnTo>
                    <a:pt x="432" y="1356"/>
                  </a:lnTo>
                  <a:lnTo>
                    <a:pt x="438" y="1356"/>
                  </a:lnTo>
                  <a:lnTo>
                    <a:pt x="438" y="1362"/>
                  </a:lnTo>
                  <a:lnTo>
                    <a:pt x="438" y="1368"/>
                  </a:lnTo>
                  <a:lnTo>
                    <a:pt x="438" y="1374"/>
                  </a:lnTo>
                  <a:lnTo>
                    <a:pt x="438" y="1380"/>
                  </a:lnTo>
                  <a:lnTo>
                    <a:pt x="438" y="1386"/>
                  </a:lnTo>
                  <a:lnTo>
                    <a:pt x="438" y="1380"/>
                  </a:lnTo>
                  <a:lnTo>
                    <a:pt x="432" y="1380"/>
                  </a:lnTo>
                  <a:close/>
                  <a:moveTo>
                    <a:pt x="246" y="1272"/>
                  </a:moveTo>
                  <a:lnTo>
                    <a:pt x="252" y="1272"/>
                  </a:lnTo>
                  <a:lnTo>
                    <a:pt x="252" y="1278"/>
                  </a:lnTo>
                  <a:lnTo>
                    <a:pt x="246" y="1278"/>
                  </a:lnTo>
                  <a:lnTo>
                    <a:pt x="246" y="1272"/>
                  </a:lnTo>
                  <a:close/>
                  <a:moveTo>
                    <a:pt x="426" y="1416"/>
                  </a:moveTo>
                  <a:lnTo>
                    <a:pt x="432" y="1410"/>
                  </a:lnTo>
                  <a:lnTo>
                    <a:pt x="438" y="1410"/>
                  </a:lnTo>
                  <a:lnTo>
                    <a:pt x="438" y="1416"/>
                  </a:lnTo>
                  <a:lnTo>
                    <a:pt x="438" y="1422"/>
                  </a:lnTo>
                  <a:lnTo>
                    <a:pt x="432" y="1422"/>
                  </a:lnTo>
                  <a:lnTo>
                    <a:pt x="426" y="1422"/>
                  </a:lnTo>
                  <a:lnTo>
                    <a:pt x="426" y="1416"/>
                  </a:lnTo>
                  <a:close/>
                  <a:moveTo>
                    <a:pt x="246" y="1266"/>
                  </a:moveTo>
                  <a:lnTo>
                    <a:pt x="252" y="1266"/>
                  </a:lnTo>
                  <a:lnTo>
                    <a:pt x="258" y="1272"/>
                  </a:lnTo>
                  <a:lnTo>
                    <a:pt x="258" y="1278"/>
                  </a:lnTo>
                  <a:lnTo>
                    <a:pt x="258" y="1284"/>
                  </a:lnTo>
                  <a:lnTo>
                    <a:pt x="252" y="1284"/>
                  </a:lnTo>
                  <a:lnTo>
                    <a:pt x="252" y="1278"/>
                  </a:lnTo>
                  <a:lnTo>
                    <a:pt x="252" y="1272"/>
                  </a:lnTo>
                  <a:lnTo>
                    <a:pt x="252" y="1266"/>
                  </a:lnTo>
                  <a:lnTo>
                    <a:pt x="246" y="1266"/>
                  </a:lnTo>
                  <a:close/>
                  <a:moveTo>
                    <a:pt x="408" y="1458"/>
                  </a:moveTo>
                  <a:lnTo>
                    <a:pt x="408" y="1452"/>
                  </a:lnTo>
                  <a:lnTo>
                    <a:pt x="414" y="1452"/>
                  </a:lnTo>
                  <a:lnTo>
                    <a:pt x="414" y="1446"/>
                  </a:lnTo>
                  <a:lnTo>
                    <a:pt x="414" y="1440"/>
                  </a:lnTo>
                  <a:lnTo>
                    <a:pt x="420" y="1440"/>
                  </a:lnTo>
                  <a:lnTo>
                    <a:pt x="420" y="1434"/>
                  </a:lnTo>
                  <a:lnTo>
                    <a:pt x="420" y="1428"/>
                  </a:lnTo>
                  <a:lnTo>
                    <a:pt x="420" y="1422"/>
                  </a:lnTo>
                  <a:lnTo>
                    <a:pt x="426" y="1422"/>
                  </a:lnTo>
                  <a:lnTo>
                    <a:pt x="432" y="1428"/>
                  </a:lnTo>
                  <a:lnTo>
                    <a:pt x="438" y="1428"/>
                  </a:lnTo>
                  <a:lnTo>
                    <a:pt x="438" y="1434"/>
                  </a:lnTo>
                  <a:lnTo>
                    <a:pt x="438" y="1428"/>
                  </a:lnTo>
                  <a:lnTo>
                    <a:pt x="438" y="1422"/>
                  </a:lnTo>
                  <a:lnTo>
                    <a:pt x="444" y="1416"/>
                  </a:lnTo>
                  <a:lnTo>
                    <a:pt x="444" y="1410"/>
                  </a:lnTo>
                  <a:lnTo>
                    <a:pt x="450" y="1416"/>
                  </a:lnTo>
                  <a:lnTo>
                    <a:pt x="456" y="1416"/>
                  </a:lnTo>
                  <a:lnTo>
                    <a:pt x="456" y="1422"/>
                  </a:lnTo>
                  <a:lnTo>
                    <a:pt x="456" y="1428"/>
                  </a:lnTo>
                  <a:lnTo>
                    <a:pt x="456" y="1434"/>
                  </a:lnTo>
                  <a:lnTo>
                    <a:pt x="456" y="1440"/>
                  </a:lnTo>
                  <a:lnTo>
                    <a:pt x="462" y="1440"/>
                  </a:lnTo>
                  <a:lnTo>
                    <a:pt x="462" y="1446"/>
                  </a:lnTo>
                  <a:lnTo>
                    <a:pt x="462" y="1452"/>
                  </a:lnTo>
                  <a:lnTo>
                    <a:pt x="456" y="1452"/>
                  </a:lnTo>
                  <a:lnTo>
                    <a:pt x="450" y="1452"/>
                  </a:lnTo>
                  <a:lnTo>
                    <a:pt x="444" y="1446"/>
                  </a:lnTo>
                  <a:lnTo>
                    <a:pt x="444" y="1452"/>
                  </a:lnTo>
                  <a:lnTo>
                    <a:pt x="450" y="1452"/>
                  </a:lnTo>
                  <a:lnTo>
                    <a:pt x="450" y="1458"/>
                  </a:lnTo>
                  <a:lnTo>
                    <a:pt x="444" y="1458"/>
                  </a:lnTo>
                  <a:lnTo>
                    <a:pt x="438" y="1464"/>
                  </a:lnTo>
                  <a:lnTo>
                    <a:pt x="438" y="1458"/>
                  </a:lnTo>
                  <a:lnTo>
                    <a:pt x="432" y="1458"/>
                  </a:lnTo>
                  <a:lnTo>
                    <a:pt x="426" y="1458"/>
                  </a:lnTo>
                  <a:lnTo>
                    <a:pt x="432" y="1458"/>
                  </a:lnTo>
                  <a:lnTo>
                    <a:pt x="438" y="1464"/>
                  </a:lnTo>
                  <a:lnTo>
                    <a:pt x="432" y="1464"/>
                  </a:lnTo>
                  <a:lnTo>
                    <a:pt x="432" y="1470"/>
                  </a:lnTo>
                  <a:lnTo>
                    <a:pt x="426" y="1470"/>
                  </a:lnTo>
                  <a:lnTo>
                    <a:pt x="420" y="1476"/>
                  </a:lnTo>
                  <a:lnTo>
                    <a:pt x="420" y="1470"/>
                  </a:lnTo>
                  <a:lnTo>
                    <a:pt x="414" y="1470"/>
                  </a:lnTo>
                  <a:lnTo>
                    <a:pt x="414" y="1464"/>
                  </a:lnTo>
                  <a:lnTo>
                    <a:pt x="414" y="1458"/>
                  </a:lnTo>
                  <a:lnTo>
                    <a:pt x="408" y="1458"/>
                  </a:lnTo>
                  <a:close/>
                  <a:moveTo>
                    <a:pt x="270" y="1326"/>
                  </a:moveTo>
                  <a:lnTo>
                    <a:pt x="270" y="1320"/>
                  </a:lnTo>
                  <a:lnTo>
                    <a:pt x="276" y="1320"/>
                  </a:lnTo>
                  <a:lnTo>
                    <a:pt x="282" y="1326"/>
                  </a:lnTo>
                  <a:lnTo>
                    <a:pt x="288" y="1326"/>
                  </a:lnTo>
                  <a:lnTo>
                    <a:pt x="288" y="1332"/>
                  </a:lnTo>
                  <a:lnTo>
                    <a:pt x="288" y="1338"/>
                  </a:lnTo>
                  <a:lnTo>
                    <a:pt x="288" y="1344"/>
                  </a:lnTo>
                  <a:lnTo>
                    <a:pt x="282" y="1344"/>
                  </a:lnTo>
                  <a:lnTo>
                    <a:pt x="282" y="1338"/>
                  </a:lnTo>
                  <a:lnTo>
                    <a:pt x="276" y="1338"/>
                  </a:lnTo>
                  <a:lnTo>
                    <a:pt x="276" y="1332"/>
                  </a:lnTo>
                  <a:lnTo>
                    <a:pt x="270" y="1332"/>
                  </a:lnTo>
                  <a:lnTo>
                    <a:pt x="270" y="1326"/>
                  </a:lnTo>
                  <a:close/>
                  <a:moveTo>
                    <a:pt x="288" y="1458"/>
                  </a:moveTo>
                  <a:lnTo>
                    <a:pt x="294" y="1458"/>
                  </a:lnTo>
                  <a:lnTo>
                    <a:pt x="294" y="1452"/>
                  </a:lnTo>
                  <a:lnTo>
                    <a:pt x="294" y="1446"/>
                  </a:lnTo>
                  <a:lnTo>
                    <a:pt x="300" y="1446"/>
                  </a:lnTo>
                  <a:lnTo>
                    <a:pt x="300" y="1440"/>
                  </a:lnTo>
                  <a:lnTo>
                    <a:pt x="306" y="1440"/>
                  </a:lnTo>
                  <a:lnTo>
                    <a:pt x="306" y="1446"/>
                  </a:lnTo>
                  <a:lnTo>
                    <a:pt x="312" y="1452"/>
                  </a:lnTo>
                  <a:lnTo>
                    <a:pt x="306" y="1452"/>
                  </a:lnTo>
                  <a:lnTo>
                    <a:pt x="306" y="1458"/>
                  </a:lnTo>
                  <a:lnTo>
                    <a:pt x="312" y="1464"/>
                  </a:lnTo>
                  <a:lnTo>
                    <a:pt x="306" y="1464"/>
                  </a:lnTo>
                  <a:lnTo>
                    <a:pt x="306" y="1470"/>
                  </a:lnTo>
                  <a:lnTo>
                    <a:pt x="300" y="1476"/>
                  </a:lnTo>
                  <a:lnTo>
                    <a:pt x="294" y="1476"/>
                  </a:lnTo>
                  <a:lnTo>
                    <a:pt x="294" y="1470"/>
                  </a:lnTo>
                  <a:lnTo>
                    <a:pt x="288" y="1470"/>
                  </a:lnTo>
                  <a:lnTo>
                    <a:pt x="288" y="1464"/>
                  </a:lnTo>
                  <a:lnTo>
                    <a:pt x="288" y="1458"/>
                  </a:lnTo>
                  <a:close/>
                  <a:moveTo>
                    <a:pt x="270" y="1296"/>
                  </a:moveTo>
                  <a:lnTo>
                    <a:pt x="276" y="1296"/>
                  </a:lnTo>
                  <a:lnTo>
                    <a:pt x="282" y="1296"/>
                  </a:lnTo>
                  <a:lnTo>
                    <a:pt x="288" y="1296"/>
                  </a:lnTo>
                  <a:lnTo>
                    <a:pt x="288" y="1302"/>
                  </a:lnTo>
                  <a:lnTo>
                    <a:pt x="282" y="1308"/>
                  </a:lnTo>
                  <a:lnTo>
                    <a:pt x="276" y="1308"/>
                  </a:lnTo>
                  <a:lnTo>
                    <a:pt x="276" y="1302"/>
                  </a:lnTo>
                  <a:lnTo>
                    <a:pt x="270" y="12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4" name="Freeform 19">
              <a:extLst>
                <a:ext uri="{FF2B5EF4-FFF2-40B4-BE49-F238E27FC236}">
                  <a16:creationId xmlns:a16="http://schemas.microsoft.com/office/drawing/2014/main" id="{5B9020B8-E1C1-4611-A248-9642BBD69C9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7043" y="3765821"/>
              <a:ext cx="333193" cy="398097"/>
            </a:xfrm>
            <a:custGeom>
              <a:avLst/>
              <a:gdLst>
                <a:gd name="T0" fmla="*/ 30 w 624"/>
                <a:gd name="T1" fmla="*/ 61 h 750"/>
                <a:gd name="T2" fmla="*/ 27 w 624"/>
                <a:gd name="T3" fmla="*/ 62 h 750"/>
                <a:gd name="T4" fmla="*/ 23 w 624"/>
                <a:gd name="T5" fmla="*/ 59 h 750"/>
                <a:gd name="T6" fmla="*/ 20 w 624"/>
                <a:gd name="T7" fmla="*/ 58 h 750"/>
                <a:gd name="T8" fmla="*/ 19 w 624"/>
                <a:gd name="T9" fmla="*/ 56 h 750"/>
                <a:gd name="T10" fmla="*/ 17 w 624"/>
                <a:gd name="T11" fmla="*/ 55 h 750"/>
                <a:gd name="T12" fmla="*/ 16 w 624"/>
                <a:gd name="T13" fmla="*/ 51 h 750"/>
                <a:gd name="T14" fmla="*/ 14 w 624"/>
                <a:gd name="T15" fmla="*/ 48 h 750"/>
                <a:gd name="T16" fmla="*/ 12 w 624"/>
                <a:gd name="T17" fmla="*/ 46 h 750"/>
                <a:gd name="T18" fmla="*/ 12 w 624"/>
                <a:gd name="T19" fmla="*/ 44 h 750"/>
                <a:gd name="T20" fmla="*/ 11 w 624"/>
                <a:gd name="T21" fmla="*/ 41 h 750"/>
                <a:gd name="T22" fmla="*/ 8 w 624"/>
                <a:gd name="T23" fmla="*/ 38 h 750"/>
                <a:gd name="T24" fmla="*/ 6 w 624"/>
                <a:gd name="T25" fmla="*/ 38 h 750"/>
                <a:gd name="T26" fmla="*/ 6 w 624"/>
                <a:gd name="T27" fmla="*/ 35 h 750"/>
                <a:gd name="T28" fmla="*/ 7 w 624"/>
                <a:gd name="T29" fmla="*/ 31 h 750"/>
                <a:gd name="T30" fmla="*/ 10 w 624"/>
                <a:gd name="T31" fmla="*/ 27 h 750"/>
                <a:gd name="T32" fmla="*/ 8 w 624"/>
                <a:gd name="T33" fmla="*/ 23 h 750"/>
                <a:gd name="T34" fmla="*/ 6 w 624"/>
                <a:gd name="T35" fmla="*/ 23 h 750"/>
                <a:gd name="T36" fmla="*/ 3 w 624"/>
                <a:gd name="T37" fmla="*/ 22 h 750"/>
                <a:gd name="T38" fmla="*/ 0 w 624"/>
                <a:gd name="T39" fmla="*/ 22 h 750"/>
                <a:gd name="T40" fmla="*/ 0 w 624"/>
                <a:gd name="T41" fmla="*/ 19 h 750"/>
                <a:gd name="T42" fmla="*/ 1 w 624"/>
                <a:gd name="T43" fmla="*/ 18 h 750"/>
                <a:gd name="T44" fmla="*/ 2 w 624"/>
                <a:gd name="T45" fmla="*/ 14 h 750"/>
                <a:gd name="T46" fmla="*/ 4 w 624"/>
                <a:gd name="T47" fmla="*/ 17 h 750"/>
                <a:gd name="T48" fmla="*/ 6 w 624"/>
                <a:gd name="T49" fmla="*/ 17 h 750"/>
                <a:gd name="T50" fmla="*/ 7 w 624"/>
                <a:gd name="T51" fmla="*/ 17 h 750"/>
                <a:gd name="T52" fmla="*/ 9 w 624"/>
                <a:gd name="T53" fmla="*/ 15 h 750"/>
                <a:gd name="T54" fmla="*/ 10 w 624"/>
                <a:gd name="T55" fmla="*/ 14 h 750"/>
                <a:gd name="T56" fmla="*/ 11 w 624"/>
                <a:gd name="T57" fmla="*/ 12 h 750"/>
                <a:gd name="T58" fmla="*/ 13 w 624"/>
                <a:gd name="T59" fmla="*/ 12 h 750"/>
                <a:gd name="T60" fmla="*/ 18 w 624"/>
                <a:gd name="T61" fmla="*/ 10 h 750"/>
                <a:gd name="T62" fmla="*/ 22 w 624"/>
                <a:gd name="T63" fmla="*/ 4 h 750"/>
                <a:gd name="T64" fmla="*/ 24 w 624"/>
                <a:gd name="T65" fmla="*/ 4 h 750"/>
                <a:gd name="T66" fmla="*/ 26 w 624"/>
                <a:gd name="T67" fmla="*/ 2 h 750"/>
                <a:gd name="T68" fmla="*/ 29 w 624"/>
                <a:gd name="T69" fmla="*/ 0 h 750"/>
                <a:gd name="T70" fmla="*/ 32 w 624"/>
                <a:gd name="T71" fmla="*/ 2 h 750"/>
                <a:gd name="T72" fmla="*/ 34 w 624"/>
                <a:gd name="T73" fmla="*/ 5 h 750"/>
                <a:gd name="T74" fmla="*/ 35 w 624"/>
                <a:gd name="T75" fmla="*/ 8 h 750"/>
                <a:gd name="T76" fmla="*/ 39 w 624"/>
                <a:gd name="T77" fmla="*/ 11 h 750"/>
                <a:gd name="T78" fmla="*/ 42 w 624"/>
                <a:gd name="T79" fmla="*/ 14 h 750"/>
                <a:gd name="T80" fmla="*/ 46 w 624"/>
                <a:gd name="T81" fmla="*/ 12 h 750"/>
                <a:gd name="T82" fmla="*/ 49 w 624"/>
                <a:gd name="T83" fmla="*/ 12 h 750"/>
                <a:gd name="T84" fmla="*/ 51 w 624"/>
                <a:gd name="T85" fmla="*/ 12 h 750"/>
                <a:gd name="T86" fmla="*/ 53 w 624"/>
                <a:gd name="T87" fmla="*/ 12 h 750"/>
                <a:gd name="T88" fmla="*/ 53 w 624"/>
                <a:gd name="T89" fmla="*/ 17 h 750"/>
                <a:gd name="T90" fmla="*/ 51 w 624"/>
                <a:gd name="T91" fmla="*/ 20 h 750"/>
                <a:gd name="T92" fmla="*/ 49 w 624"/>
                <a:gd name="T93" fmla="*/ 26 h 750"/>
                <a:gd name="T94" fmla="*/ 47 w 624"/>
                <a:gd name="T95" fmla="*/ 26 h 750"/>
                <a:gd name="T96" fmla="*/ 44 w 624"/>
                <a:gd name="T97" fmla="*/ 26 h 750"/>
                <a:gd name="T98" fmla="*/ 43 w 624"/>
                <a:gd name="T99" fmla="*/ 27 h 750"/>
                <a:gd name="T100" fmla="*/ 45 w 624"/>
                <a:gd name="T101" fmla="*/ 32 h 750"/>
                <a:gd name="T102" fmla="*/ 44 w 624"/>
                <a:gd name="T103" fmla="*/ 43 h 750"/>
                <a:gd name="T104" fmla="*/ 44 w 624"/>
                <a:gd name="T105" fmla="*/ 47 h 750"/>
                <a:gd name="T106" fmla="*/ 44 w 624"/>
                <a:gd name="T107" fmla="*/ 54 h 750"/>
                <a:gd name="T108" fmla="*/ 41 w 624"/>
                <a:gd name="T109" fmla="*/ 60 h 750"/>
                <a:gd name="T110" fmla="*/ 42 w 624"/>
                <a:gd name="T111" fmla="*/ 62 h 750"/>
                <a:gd name="T112" fmla="*/ 43 w 624"/>
                <a:gd name="T113" fmla="*/ 65 h 750"/>
                <a:gd name="T114" fmla="*/ 39 w 624"/>
                <a:gd name="T115" fmla="*/ 63 h 750"/>
                <a:gd name="T116" fmla="*/ 35 w 624"/>
                <a:gd name="T117" fmla="*/ 62 h 75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24"/>
                <a:gd name="T178" fmla="*/ 0 h 750"/>
                <a:gd name="T179" fmla="*/ 624 w 624"/>
                <a:gd name="T180" fmla="*/ 750 h 75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24" h="750">
                  <a:moveTo>
                    <a:pt x="390" y="702"/>
                  </a:moveTo>
                  <a:lnTo>
                    <a:pt x="372" y="696"/>
                  </a:lnTo>
                  <a:lnTo>
                    <a:pt x="360" y="702"/>
                  </a:lnTo>
                  <a:lnTo>
                    <a:pt x="348" y="702"/>
                  </a:lnTo>
                  <a:lnTo>
                    <a:pt x="336" y="702"/>
                  </a:lnTo>
                  <a:lnTo>
                    <a:pt x="330" y="702"/>
                  </a:lnTo>
                  <a:lnTo>
                    <a:pt x="318" y="708"/>
                  </a:lnTo>
                  <a:lnTo>
                    <a:pt x="306" y="708"/>
                  </a:lnTo>
                  <a:lnTo>
                    <a:pt x="294" y="690"/>
                  </a:lnTo>
                  <a:lnTo>
                    <a:pt x="294" y="684"/>
                  </a:lnTo>
                  <a:lnTo>
                    <a:pt x="276" y="684"/>
                  </a:lnTo>
                  <a:lnTo>
                    <a:pt x="270" y="678"/>
                  </a:lnTo>
                  <a:lnTo>
                    <a:pt x="240" y="672"/>
                  </a:lnTo>
                  <a:lnTo>
                    <a:pt x="234" y="672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6"/>
                  </a:lnTo>
                  <a:lnTo>
                    <a:pt x="216" y="660"/>
                  </a:lnTo>
                  <a:lnTo>
                    <a:pt x="216" y="654"/>
                  </a:lnTo>
                  <a:lnTo>
                    <a:pt x="216" y="642"/>
                  </a:lnTo>
                  <a:lnTo>
                    <a:pt x="210" y="642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36"/>
                  </a:lnTo>
                  <a:lnTo>
                    <a:pt x="192" y="624"/>
                  </a:lnTo>
                  <a:lnTo>
                    <a:pt x="186" y="612"/>
                  </a:lnTo>
                  <a:lnTo>
                    <a:pt x="186" y="600"/>
                  </a:lnTo>
                  <a:lnTo>
                    <a:pt x="186" y="588"/>
                  </a:lnTo>
                  <a:lnTo>
                    <a:pt x="180" y="582"/>
                  </a:lnTo>
                  <a:lnTo>
                    <a:pt x="180" y="570"/>
                  </a:lnTo>
                  <a:lnTo>
                    <a:pt x="174" y="558"/>
                  </a:lnTo>
                  <a:lnTo>
                    <a:pt x="162" y="558"/>
                  </a:lnTo>
                  <a:lnTo>
                    <a:pt x="144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38" y="534"/>
                  </a:lnTo>
                  <a:lnTo>
                    <a:pt x="138" y="528"/>
                  </a:lnTo>
                  <a:lnTo>
                    <a:pt x="132" y="522"/>
                  </a:lnTo>
                  <a:lnTo>
                    <a:pt x="144" y="522"/>
                  </a:lnTo>
                  <a:lnTo>
                    <a:pt x="144" y="510"/>
                  </a:lnTo>
                  <a:lnTo>
                    <a:pt x="144" y="504"/>
                  </a:lnTo>
                  <a:lnTo>
                    <a:pt x="138" y="492"/>
                  </a:lnTo>
                  <a:lnTo>
                    <a:pt x="138" y="474"/>
                  </a:lnTo>
                  <a:lnTo>
                    <a:pt x="126" y="468"/>
                  </a:lnTo>
                  <a:lnTo>
                    <a:pt x="120" y="456"/>
                  </a:lnTo>
                  <a:lnTo>
                    <a:pt x="114" y="450"/>
                  </a:lnTo>
                  <a:lnTo>
                    <a:pt x="108" y="438"/>
                  </a:lnTo>
                  <a:lnTo>
                    <a:pt x="96" y="432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60" y="426"/>
                  </a:lnTo>
                  <a:lnTo>
                    <a:pt x="66" y="420"/>
                  </a:lnTo>
                  <a:lnTo>
                    <a:pt x="66" y="408"/>
                  </a:lnTo>
                  <a:lnTo>
                    <a:pt x="72" y="408"/>
                  </a:lnTo>
                  <a:lnTo>
                    <a:pt x="72" y="384"/>
                  </a:lnTo>
                  <a:lnTo>
                    <a:pt x="72" y="366"/>
                  </a:lnTo>
                  <a:lnTo>
                    <a:pt x="78" y="354"/>
                  </a:lnTo>
                  <a:lnTo>
                    <a:pt x="84" y="354"/>
                  </a:lnTo>
                  <a:lnTo>
                    <a:pt x="90" y="348"/>
                  </a:lnTo>
                  <a:lnTo>
                    <a:pt x="102" y="336"/>
                  </a:lnTo>
                  <a:lnTo>
                    <a:pt x="114" y="324"/>
                  </a:lnTo>
                  <a:lnTo>
                    <a:pt x="120" y="312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20" y="276"/>
                  </a:lnTo>
                  <a:lnTo>
                    <a:pt x="96" y="270"/>
                  </a:lnTo>
                  <a:lnTo>
                    <a:pt x="84" y="270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72" y="264"/>
                  </a:lnTo>
                  <a:lnTo>
                    <a:pt x="60" y="252"/>
                  </a:lnTo>
                  <a:lnTo>
                    <a:pt x="42" y="252"/>
                  </a:lnTo>
                  <a:lnTo>
                    <a:pt x="42" y="258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18" y="252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42" y="156"/>
                  </a:lnTo>
                  <a:lnTo>
                    <a:pt x="48" y="198"/>
                  </a:lnTo>
                  <a:lnTo>
                    <a:pt x="48" y="204"/>
                  </a:lnTo>
                  <a:lnTo>
                    <a:pt x="54" y="198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204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192"/>
                  </a:lnTo>
                  <a:lnTo>
                    <a:pt x="96" y="186"/>
                  </a:lnTo>
                  <a:lnTo>
                    <a:pt x="102" y="180"/>
                  </a:lnTo>
                  <a:lnTo>
                    <a:pt x="102" y="174"/>
                  </a:lnTo>
                  <a:lnTo>
                    <a:pt x="108" y="168"/>
                  </a:lnTo>
                  <a:lnTo>
                    <a:pt x="108" y="162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0"/>
                  </a:lnTo>
                  <a:lnTo>
                    <a:pt x="132" y="144"/>
                  </a:lnTo>
                  <a:lnTo>
                    <a:pt x="138" y="138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0" y="132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74" y="126"/>
                  </a:lnTo>
                  <a:lnTo>
                    <a:pt x="204" y="120"/>
                  </a:lnTo>
                  <a:lnTo>
                    <a:pt x="210" y="78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54"/>
                  </a:lnTo>
                  <a:lnTo>
                    <a:pt x="276" y="54"/>
                  </a:lnTo>
                  <a:lnTo>
                    <a:pt x="276" y="48"/>
                  </a:lnTo>
                  <a:lnTo>
                    <a:pt x="282" y="48"/>
                  </a:lnTo>
                  <a:lnTo>
                    <a:pt x="288" y="42"/>
                  </a:lnTo>
                  <a:lnTo>
                    <a:pt x="294" y="42"/>
                  </a:lnTo>
                  <a:lnTo>
                    <a:pt x="294" y="18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0"/>
                  </a:lnTo>
                  <a:lnTo>
                    <a:pt x="336" y="0"/>
                  </a:lnTo>
                  <a:lnTo>
                    <a:pt x="342" y="0"/>
                  </a:lnTo>
                  <a:lnTo>
                    <a:pt x="354" y="6"/>
                  </a:lnTo>
                  <a:lnTo>
                    <a:pt x="366" y="18"/>
                  </a:lnTo>
                  <a:lnTo>
                    <a:pt x="378" y="36"/>
                  </a:lnTo>
                  <a:lnTo>
                    <a:pt x="390" y="42"/>
                  </a:lnTo>
                  <a:lnTo>
                    <a:pt x="390" y="48"/>
                  </a:lnTo>
                  <a:lnTo>
                    <a:pt x="396" y="60"/>
                  </a:lnTo>
                  <a:lnTo>
                    <a:pt x="402" y="72"/>
                  </a:lnTo>
                  <a:lnTo>
                    <a:pt x="408" y="78"/>
                  </a:lnTo>
                  <a:lnTo>
                    <a:pt x="402" y="84"/>
                  </a:lnTo>
                  <a:lnTo>
                    <a:pt x="408" y="90"/>
                  </a:lnTo>
                  <a:lnTo>
                    <a:pt x="414" y="102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50" y="126"/>
                  </a:lnTo>
                  <a:lnTo>
                    <a:pt x="456" y="126"/>
                  </a:lnTo>
                  <a:lnTo>
                    <a:pt x="462" y="144"/>
                  </a:lnTo>
                  <a:lnTo>
                    <a:pt x="480" y="156"/>
                  </a:lnTo>
                  <a:lnTo>
                    <a:pt x="492" y="156"/>
                  </a:lnTo>
                  <a:lnTo>
                    <a:pt x="516" y="150"/>
                  </a:lnTo>
                  <a:lnTo>
                    <a:pt x="516" y="144"/>
                  </a:lnTo>
                  <a:lnTo>
                    <a:pt x="516" y="138"/>
                  </a:lnTo>
                  <a:lnTo>
                    <a:pt x="528" y="138"/>
                  </a:lnTo>
                  <a:lnTo>
                    <a:pt x="546" y="144"/>
                  </a:lnTo>
                  <a:lnTo>
                    <a:pt x="546" y="138"/>
                  </a:lnTo>
                  <a:lnTo>
                    <a:pt x="552" y="138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76" y="138"/>
                  </a:lnTo>
                  <a:lnTo>
                    <a:pt x="582" y="138"/>
                  </a:lnTo>
                  <a:lnTo>
                    <a:pt x="588" y="138"/>
                  </a:lnTo>
                  <a:lnTo>
                    <a:pt x="594" y="138"/>
                  </a:lnTo>
                  <a:lnTo>
                    <a:pt x="594" y="144"/>
                  </a:lnTo>
                  <a:lnTo>
                    <a:pt x="600" y="138"/>
                  </a:lnTo>
                  <a:lnTo>
                    <a:pt x="606" y="138"/>
                  </a:lnTo>
                  <a:lnTo>
                    <a:pt x="606" y="144"/>
                  </a:lnTo>
                  <a:lnTo>
                    <a:pt x="612" y="144"/>
                  </a:lnTo>
                  <a:lnTo>
                    <a:pt x="618" y="156"/>
                  </a:lnTo>
                  <a:lnTo>
                    <a:pt x="612" y="198"/>
                  </a:lnTo>
                  <a:lnTo>
                    <a:pt x="624" y="198"/>
                  </a:lnTo>
                  <a:lnTo>
                    <a:pt x="624" y="204"/>
                  </a:lnTo>
                  <a:lnTo>
                    <a:pt x="612" y="216"/>
                  </a:lnTo>
                  <a:lnTo>
                    <a:pt x="594" y="234"/>
                  </a:lnTo>
                  <a:lnTo>
                    <a:pt x="588" y="252"/>
                  </a:lnTo>
                  <a:lnTo>
                    <a:pt x="576" y="270"/>
                  </a:lnTo>
                  <a:lnTo>
                    <a:pt x="564" y="282"/>
                  </a:lnTo>
                  <a:lnTo>
                    <a:pt x="564" y="294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8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34" y="294"/>
                  </a:lnTo>
                  <a:lnTo>
                    <a:pt x="522" y="300"/>
                  </a:lnTo>
                  <a:lnTo>
                    <a:pt x="510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498" y="324"/>
                  </a:lnTo>
                  <a:lnTo>
                    <a:pt x="504" y="336"/>
                  </a:lnTo>
                  <a:lnTo>
                    <a:pt x="510" y="348"/>
                  </a:lnTo>
                  <a:lnTo>
                    <a:pt x="516" y="366"/>
                  </a:lnTo>
                  <a:lnTo>
                    <a:pt x="522" y="432"/>
                  </a:lnTo>
                  <a:lnTo>
                    <a:pt x="522" y="456"/>
                  </a:lnTo>
                  <a:lnTo>
                    <a:pt x="504" y="492"/>
                  </a:lnTo>
                  <a:lnTo>
                    <a:pt x="504" y="498"/>
                  </a:lnTo>
                  <a:lnTo>
                    <a:pt x="498" y="504"/>
                  </a:lnTo>
                  <a:lnTo>
                    <a:pt x="498" y="522"/>
                  </a:lnTo>
                  <a:lnTo>
                    <a:pt x="504" y="534"/>
                  </a:lnTo>
                  <a:lnTo>
                    <a:pt x="510" y="546"/>
                  </a:lnTo>
                  <a:lnTo>
                    <a:pt x="516" y="558"/>
                  </a:lnTo>
                  <a:lnTo>
                    <a:pt x="516" y="588"/>
                  </a:lnTo>
                  <a:lnTo>
                    <a:pt x="516" y="600"/>
                  </a:lnTo>
                  <a:lnTo>
                    <a:pt x="510" y="618"/>
                  </a:lnTo>
                  <a:lnTo>
                    <a:pt x="504" y="636"/>
                  </a:lnTo>
                  <a:lnTo>
                    <a:pt x="504" y="642"/>
                  </a:lnTo>
                  <a:lnTo>
                    <a:pt x="474" y="654"/>
                  </a:lnTo>
                  <a:lnTo>
                    <a:pt x="474" y="690"/>
                  </a:lnTo>
                  <a:lnTo>
                    <a:pt x="474" y="696"/>
                  </a:lnTo>
                  <a:lnTo>
                    <a:pt x="480" y="702"/>
                  </a:lnTo>
                  <a:lnTo>
                    <a:pt x="486" y="708"/>
                  </a:lnTo>
                  <a:lnTo>
                    <a:pt x="492" y="708"/>
                  </a:lnTo>
                  <a:lnTo>
                    <a:pt x="498" y="726"/>
                  </a:lnTo>
                  <a:lnTo>
                    <a:pt x="504" y="726"/>
                  </a:lnTo>
                  <a:lnTo>
                    <a:pt x="504" y="738"/>
                  </a:lnTo>
                  <a:lnTo>
                    <a:pt x="498" y="744"/>
                  </a:lnTo>
                  <a:lnTo>
                    <a:pt x="486" y="750"/>
                  </a:lnTo>
                  <a:lnTo>
                    <a:pt x="474" y="744"/>
                  </a:lnTo>
                  <a:lnTo>
                    <a:pt x="462" y="744"/>
                  </a:lnTo>
                  <a:lnTo>
                    <a:pt x="456" y="732"/>
                  </a:lnTo>
                  <a:lnTo>
                    <a:pt x="444" y="732"/>
                  </a:lnTo>
                  <a:lnTo>
                    <a:pt x="432" y="726"/>
                  </a:lnTo>
                  <a:lnTo>
                    <a:pt x="420" y="720"/>
                  </a:lnTo>
                  <a:lnTo>
                    <a:pt x="408" y="708"/>
                  </a:lnTo>
                  <a:lnTo>
                    <a:pt x="402" y="708"/>
                  </a:lnTo>
                  <a:lnTo>
                    <a:pt x="390" y="70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5" name="Freeform 20">
              <a:extLst>
                <a:ext uri="{FF2B5EF4-FFF2-40B4-BE49-F238E27FC236}">
                  <a16:creationId xmlns:a16="http://schemas.microsoft.com/office/drawing/2014/main" id="{B8342C3B-ECEC-465F-AAFF-4815B8AC392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870937"/>
              <a:ext cx="313067" cy="377968"/>
            </a:xfrm>
            <a:custGeom>
              <a:avLst/>
              <a:gdLst>
                <a:gd name="T0" fmla="*/ 15 w 588"/>
                <a:gd name="T1" fmla="*/ 59 h 714"/>
                <a:gd name="T2" fmla="*/ 14 w 588"/>
                <a:gd name="T3" fmla="*/ 58 h 714"/>
                <a:gd name="T4" fmla="*/ 9 w 588"/>
                <a:gd name="T5" fmla="*/ 54 h 714"/>
                <a:gd name="T6" fmla="*/ 4 w 588"/>
                <a:gd name="T7" fmla="*/ 54 h 714"/>
                <a:gd name="T8" fmla="*/ 0 w 588"/>
                <a:gd name="T9" fmla="*/ 50 h 714"/>
                <a:gd name="T10" fmla="*/ 0 w 588"/>
                <a:gd name="T11" fmla="*/ 44 h 714"/>
                <a:gd name="T12" fmla="*/ 4 w 588"/>
                <a:gd name="T13" fmla="*/ 46 h 714"/>
                <a:gd name="T14" fmla="*/ 7 w 588"/>
                <a:gd name="T15" fmla="*/ 47 h 714"/>
                <a:gd name="T16" fmla="*/ 10 w 588"/>
                <a:gd name="T17" fmla="*/ 46 h 714"/>
                <a:gd name="T18" fmla="*/ 8 w 588"/>
                <a:gd name="T19" fmla="*/ 44 h 714"/>
                <a:gd name="T20" fmla="*/ 10 w 588"/>
                <a:gd name="T21" fmla="*/ 39 h 714"/>
                <a:gd name="T22" fmla="*/ 11 w 588"/>
                <a:gd name="T23" fmla="*/ 34 h 714"/>
                <a:gd name="T24" fmla="*/ 9 w 588"/>
                <a:gd name="T25" fmla="*/ 28 h 714"/>
                <a:gd name="T26" fmla="*/ 11 w 588"/>
                <a:gd name="T27" fmla="*/ 22 h 714"/>
                <a:gd name="T28" fmla="*/ 10 w 588"/>
                <a:gd name="T29" fmla="*/ 12 h 714"/>
                <a:gd name="T30" fmla="*/ 9 w 588"/>
                <a:gd name="T31" fmla="*/ 9 h 714"/>
                <a:gd name="T32" fmla="*/ 12 w 588"/>
                <a:gd name="T33" fmla="*/ 8 h 714"/>
                <a:gd name="T34" fmla="*/ 14 w 588"/>
                <a:gd name="T35" fmla="*/ 7 h 714"/>
                <a:gd name="T36" fmla="*/ 17 w 588"/>
                <a:gd name="T37" fmla="*/ 10 h 714"/>
                <a:gd name="T38" fmla="*/ 23 w 588"/>
                <a:gd name="T39" fmla="*/ 14 h 714"/>
                <a:gd name="T40" fmla="*/ 28 w 588"/>
                <a:gd name="T41" fmla="*/ 4 h 714"/>
                <a:gd name="T42" fmla="*/ 35 w 588"/>
                <a:gd name="T43" fmla="*/ 2 h 714"/>
                <a:gd name="T44" fmla="*/ 38 w 588"/>
                <a:gd name="T45" fmla="*/ 0 h 714"/>
                <a:gd name="T46" fmla="*/ 40 w 588"/>
                <a:gd name="T47" fmla="*/ 2 h 714"/>
                <a:gd name="T48" fmla="*/ 39 w 588"/>
                <a:gd name="T49" fmla="*/ 4 h 714"/>
                <a:gd name="T50" fmla="*/ 41 w 588"/>
                <a:gd name="T51" fmla="*/ 5 h 714"/>
                <a:gd name="T52" fmla="*/ 42 w 588"/>
                <a:gd name="T53" fmla="*/ 7 h 714"/>
                <a:gd name="T54" fmla="*/ 43 w 588"/>
                <a:gd name="T55" fmla="*/ 9 h 714"/>
                <a:gd name="T56" fmla="*/ 43 w 588"/>
                <a:gd name="T57" fmla="*/ 10 h 714"/>
                <a:gd name="T58" fmla="*/ 43 w 588"/>
                <a:gd name="T59" fmla="*/ 12 h 714"/>
                <a:gd name="T60" fmla="*/ 44 w 588"/>
                <a:gd name="T61" fmla="*/ 12 h 714"/>
                <a:gd name="T62" fmla="*/ 46 w 588"/>
                <a:gd name="T63" fmla="*/ 13 h 714"/>
                <a:gd name="T64" fmla="*/ 47 w 588"/>
                <a:gd name="T65" fmla="*/ 14 h 714"/>
                <a:gd name="T66" fmla="*/ 48 w 588"/>
                <a:gd name="T67" fmla="*/ 15 h 714"/>
                <a:gd name="T68" fmla="*/ 49 w 588"/>
                <a:gd name="T69" fmla="*/ 15 h 714"/>
                <a:gd name="T70" fmla="*/ 48 w 588"/>
                <a:gd name="T71" fmla="*/ 17 h 714"/>
                <a:gd name="T72" fmla="*/ 49 w 588"/>
                <a:gd name="T73" fmla="*/ 19 h 714"/>
                <a:gd name="T74" fmla="*/ 49 w 588"/>
                <a:gd name="T75" fmla="*/ 20 h 714"/>
                <a:gd name="T76" fmla="*/ 51 w 588"/>
                <a:gd name="T77" fmla="*/ 21 h 714"/>
                <a:gd name="T78" fmla="*/ 50 w 588"/>
                <a:gd name="T79" fmla="*/ 22 h 714"/>
                <a:gd name="T80" fmla="*/ 47 w 588"/>
                <a:gd name="T81" fmla="*/ 23 h 714"/>
                <a:gd name="T82" fmla="*/ 47 w 588"/>
                <a:gd name="T83" fmla="*/ 26 h 714"/>
                <a:gd name="T84" fmla="*/ 47 w 588"/>
                <a:gd name="T85" fmla="*/ 32 h 714"/>
                <a:gd name="T86" fmla="*/ 44 w 588"/>
                <a:gd name="T87" fmla="*/ 35 h 714"/>
                <a:gd name="T88" fmla="*/ 42 w 588"/>
                <a:gd name="T89" fmla="*/ 39 h 714"/>
                <a:gd name="T90" fmla="*/ 42 w 588"/>
                <a:gd name="T91" fmla="*/ 41 h 714"/>
                <a:gd name="T92" fmla="*/ 42 w 588"/>
                <a:gd name="T93" fmla="*/ 42 h 714"/>
                <a:gd name="T94" fmla="*/ 41 w 588"/>
                <a:gd name="T95" fmla="*/ 44 h 714"/>
                <a:gd name="T96" fmla="*/ 39 w 588"/>
                <a:gd name="T97" fmla="*/ 43 h 714"/>
                <a:gd name="T98" fmla="*/ 37 w 588"/>
                <a:gd name="T99" fmla="*/ 44 h 714"/>
                <a:gd name="T100" fmla="*/ 35 w 588"/>
                <a:gd name="T101" fmla="*/ 46 h 714"/>
                <a:gd name="T102" fmla="*/ 31 w 588"/>
                <a:gd name="T103" fmla="*/ 45 h 714"/>
                <a:gd name="T104" fmla="*/ 24 w 588"/>
                <a:gd name="T105" fmla="*/ 45 h 714"/>
                <a:gd name="T106" fmla="*/ 25 w 588"/>
                <a:gd name="T107" fmla="*/ 47 h 714"/>
                <a:gd name="T108" fmla="*/ 25 w 588"/>
                <a:gd name="T109" fmla="*/ 49 h 714"/>
                <a:gd name="T110" fmla="*/ 25 w 588"/>
                <a:gd name="T111" fmla="*/ 50 h 714"/>
                <a:gd name="T112" fmla="*/ 24 w 588"/>
                <a:gd name="T113" fmla="*/ 51 h 714"/>
                <a:gd name="T114" fmla="*/ 22 w 588"/>
                <a:gd name="T115" fmla="*/ 53 h 714"/>
                <a:gd name="T116" fmla="*/ 23 w 588"/>
                <a:gd name="T117" fmla="*/ 56 h 714"/>
                <a:gd name="T118" fmla="*/ 20 w 588"/>
                <a:gd name="T119" fmla="*/ 58 h 714"/>
                <a:gd name="T120" fmla="*/ 19 w 588"/>
                <a:gd name="T121" fmla="*/ 62 h 7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8"/>
                <a:gd name="T184" fmla="*/ 0 h 714"/>
                <a:gd name="T185" fmla="*/ 588 w 588"/>
                <a:gd name="T186" fmla="*/ 714 h 7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8" h="714">
                  <a:moveTo>
                    <a:pt x="216" y="714"/>
                  </a:moveTo>
                  <a:lnTo>
                    <a:pt x="198" y="702"/>
                  </a:lnTo>
                  <a:lnTo>
                    <a:pt x="186" y="696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74" y="678"/>
                  </a:lnTo>
                  <a:lnTo>
                    <a:pt x="168" y="672"/>
                  </a:lnTo>
                  <a:lnTo>
                    <a:pt x="162" y="666"/>
                  </a:lnTo>
                  <a:lnTo>
                    <a:pt x="156" y="636"/>
                  </a:lnTo>
                  <a:lnTo>
                    <a:pt x="144" y="630"/>
                  </a:lnTo>
                  <a:lnTo>
                    <a:pt x="108" y="630"/>
                  </a:lnTo>
                  <a:lnTo>
                    <a:pt x="102" y="624"/>
                  </a:lnTo>
                  <a:lnTo>
                    <a:pt x="96" y="624"/>
                  </a:lnTo>
                  <a:lnTo>
                    <a:pt x="72" y="624"/>
                  </a:lnTo>
                  <a:lnTo>
                    <a:pt x="54" y="624"/>
                  </a:lnTo>
                  <a:lnTo>
                    <a:pt x="42" y="618"/>
                  </a:lnTo>
                  <a:lnTo>
                    <a:pt x="30" y="612"/>
                  </a:lnTo>
                  <a:lnTo>
                    <a:pt x="6" y="606"/>
                  </a:lnTo>
                  <a:lnTo>
                    <a:pt x="0" y="606"/>
                  </a:lnTo>
                  <a:lnTo>
                    <a:pt x="0" y="570"/>
                  </a:lnTo>
                  <a:lnTo>
                    <a:pt x="6" y="552"/>
                  </a:lnTo>
                  <a:lnTo>
                    <a:pt x="6" y="522"/>
                  </a:lnTo>
                  <a:lnTo>
                    <a:pt x="0" y="510"/>
                  </a:lnTo>
                  <a:lnTo>
                    <a:pt x="0" y="504"/>
                  </a:lnTo>
                  <a:lnTo>
                    <a:pt x="12" y="510"/>
                  </a:lnTo>
                  <a:lnTo>
                    <a:pt x="18" y="510"/>
                  </a:lnTo>
                  <a:lnTo>
                    <a:pt x="30" y="522"/>
                  </a:lnTo>
                  <a:lnTo>
                    <a:pt x="42" y="528"/>
                  </a:lnTo>
                  <a:lnTo>
                    <a:pt x="54" y="534"/>
                  </a:lnTo>
                  <a:lnTo>
                    <a:pt x="66" y="534"/>
                  </a:lnTo>
                  <a:lnTo>
                    <a:pt x="72" y="546"/>
                  </a:lnTo>
                  <a:lnTo>
                    <a:pt x="84" y="546"/>
                  </a:lnTo>
                  <a:lnTo>
                    <a:pt x="96" y="552"/>
                  </a:lnTo>
                  <a:lnTo>
                    <a:pt x="108" y="546"/>
                  </a:lnTo>
                  <a:lnTo>
                    <a:pt x="114" y="540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90" y="504"/>
                  </a:lnTo>
                  <a:lnTo>
                    <a:pt x="84" y="498"/>
                  </a:lnTo>
                  <a:lnTo>
                    <a:pt x="84" y="492"/>
                  </a:lnTo>
                  <a:lnTo>
                    <a:pt x="84" y="456"/>
                  </a:lnTo>
                  <a:lnTo>
                    <a:pt x="114" y="444"/>
                  </a:lnTo>
                  <a:lnTo>
                    <a:pt x="114" y="438"/>
                  </a:lnTo>
                  <a:lnTo>
                    <a:pt x="120" y="420"/>
                  </a:lnTo>
                  <a:lnTo>
                    <a:pt x="126" y="402"/>
                  </a:lnTo>
                  <a:lnTo>
                    <a:pt x="126" y="390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14" y="336"/>
                  </a:lnTo>
                  <a:lnTo>
                    <a:pt x="108" y="324"/>
                  </a:lnTo>
                  <a:lnTo>
                    <a:pt x="108" y="306"/>
                  </a:lnTo>
                  <a:lnTo>
                    <a:pt x="114" y="300"/>
                  </a:lnTo>
                  <a:lnTo>
                    <a:pt x="114" y="294"/>
                  </a:lnTo>
                  <a:lnTo>
                    <a:pt x="132" y="258"/>
                  </a:lnTo>
                  <a:lnTo>
                    <a:pt x="132" y="234"/>
                  </a:lnTo>
                  <a:lnTo>
                    <a:pt x="126" y="168"/>
                  </a:lnTo>
                  <a:lnTo>
                    <a:pt x="120" y="150"/>
                  </a:lnTo>
                  <a:lnTo>
                    <a:pt x="114" y="138"/>
                  </a:lnTo>
                  <a:lnTo>
                    <a:pt x="108" y="126"/>
                  </a:lnTo>
                  <a:lnTo>
                    <a:pt x="108" y="120"/>
                  </a:lnTo>
                  <a:lnTo>
                    <a:pt x="108" y="114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20" y="96"/>
                  </a:lnTo>
                  <a:lnTo>
                    <a:pt x="132" y="102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56" y="90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96"/>
                  </a:lnTo>
                  <a:lnTo>
                    <a:pt x="186" y="96"/>
                  </a:lnTo>
                  <a:lnTo>
                    <a:pt x="192" y="114"/>
                  </a:lnTo>
                  <a:lnTo>
                    <a:pt x="204" y="132"/>
                  </a:lnTo>
                  <a:lnTo>
                    <a:pt x="216" y="144"/>
                  </a:lnTo>
                  <a:lnTo>
                    <a:pt x="240" y="162"/>
                  </a:lnTo>
                  <a:lnTo>
                    <a:pt x="270" y="156"/>
                  </a:lnTo>
                  <a:lnTo>
                    <a:pt x="282" y="126"/>
                  </a:lnTo>
                  <a:lnTo>
                    <a:pt x="282" y="96"/>
                  </a:lnTo>
                  <a:lnTo>
                    <a:pt x="294" y="54"/>
                  </a:lnTo>
                  <a:lnTo>
                    <a:pt x="324" y="48"/>
                  </a:lnTo>
                  <a:lnTo>
                    <a:pt x="342" y="48"/>
                  </a:lnTo>
                  <a:lnTo>
                    <a:pt x="384" y="48"/>
                  </a:lnTo>
                  <a:lnTo>
                    <a:pt x="390" y="30"/>
                  </a:lnTo>
                  <a:lnTo>
                    <a:pt x="402" y="18"/>
                  </a:lnTo>
                  <a:lnTo>
                    <a:pt x="438" y="6"/>
                  </a:lnTo>
                  <a:lnTo>
                    <a:pt x="438" y="0"/>
                  </a:lnTo>
                  <a:lnTo>
                    <a:pt x="444" y="0"/>
                  </a:lnTo>
                  <a:lnTo>
                    <a:pt x="444" y="6"/>
                  </a:lnTo>
                  <a:lnTo>
                    <a:pt x="450" y="6"/>
                  </a:lnTo>
                  <a:lnTo>
                    <a:pt x="456" y="12"/>
                  </a:lnTo>
                  <a:lnTo>
                    <a:pt x="456" y="18"/>
                  </a:lnTo>
                  <a:lnTo>
                    <a:pt x="462" y="24"/>
                  </a:lnTo>
                  <a:lnTo>
                    <a:pt x="462" y="30"/>
                  </a:lnTo>
                  <a:lnTo>
                    <a:pt x="468" y="36"/>
                  </a:lnTo>
                  <a:lnTo>
                    <a:pt x="462" y="36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74" y="60"/>
                  </a:lnTo>
                  <a:lnTo>
                    <a:pt x="486" y="78"/>
                  </a:lnTo>
                  <a:lnTo>
                    <a:pt x="486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8" y="102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498" y="114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504" y="126"/>
                  </a:lnTo>
                  <a:lnTo>
                    <a:pt x="498" y="132"/>
                  </a:lnTo>
                  <a:lnTo>
                    <a:pt x="504" y="138"/>
                  </a:lnTo>
                  <a:lnTo>
                    <a:pt x="504" y="132"/>
                  </a:lnTo>
                  <a:lnTo>
                    <a:pt x="510" y="132"/>
                  </a:lnTo>
                  <a:lnTo>
                    <a:pt x="510" y="138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56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6" y="168"/>
                  </a:lnTo>
                  <a:lnTo>
                    <a:pt x="552" y="168"/>
                  </a:lnTo>
                  <a:lnTo>
                    <a:pt x="546" y="168"/>
                  </a:lnTo>
                  <a:lnTo>
                    <a:pt x="546" y="174"/>
                  </a:lnTo>
                  <a:lnTo>
                    <a:pt x="558" y="180"/>
                  </a:lnTo>
                  <a:lnTo>
                    <a:pt x="564" y="180"/>
                  </a:lnTo>
                  <a:lnTo>
                    <a:pt x="564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52" y="198"/>
                  </a:lnTo>
                  <a:lnTo>
                    <a:pt x="558" y="204"/>
                  </a:lnTo>
                  <a:lnTo>
                    <a:pt x="564" y="204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22"/>
                  </a:lnTo>
                  <a:lnTo>
                    <a:pt x="576" y="228"/>
                  </a:lnTo>
                  <a:lnTo>
                    <a:pt x="570" y="228"/>
                  </a:lnTo>
                  <a:lnTo>
                    <a:pt x="570" y="234"/>
                  </a:lnTo>
                  <a:lnTo>
                    <a:pt x="576" y="234"/>
                  </a:lnTo>
                  <a:lnTo>
                    <a:pt x="582" y="234"/>
                  </a:lnTo>
                  <a:lnTo>
                    <a:pt x="588" y="234"/>
                  </a:lnTo>
                  <a:lnTo>
                    <a:pt x="588" y="240"/>
                  </a:lnTo>
                  <a:lnTo>
                    <a:pt x="588" y="246"/>
                  </a:lnTo>
                  <a:lnTo>
                    <a:pt x="588" y="252"/>
                  </a:lnTo>
                  <a:lnTo>
                    <a:pt x="582" y="252"/>
                  </a:lnTo>
                  <a:lnTo>
                    <a:pt x="576" y="252"/>
                  </a:lnTo>
                  <a:lnTo>
                    <a:pt x="582" y="258"/>
                  </a:lnTo>
                  <a:lnTo>
                    <a:pt x="582" y="264"/>
                  </a:lnTo>
                  <a:lnTo>
                    <a:pt x="576" y="264"/>
                  </a:lnTo>
                  <a:lnTo>
                    <a:pt x="546" y="264"/>
                  </a:lnTo>
                  <a:lnTo>
                    <a:pt x="546" y="276"/>
                  </a:lnTo>
                  <a:lnTo>
                    <a:pt x="540" y="282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40" y="324"/>
                  </a:lnTo>
                  <a:lnTo>
                    <a:pt x="552" y="330"/>
                  </a:lnTo>
                  <a:lnTo>
                    <a:pt x="558" y="342"/>
                  </a:lnTo>
                  <a:lnTo>
                    <a:pt x="546" y="372"/>
                  </a:lnTo>
                  <a:lnTo>
                    <a:pt x="534" y="372"/>
                  </a:lnTo>
                  <a:lnTo>
                    <a:pt x="534" y="384"/>
                  </a:lnTo>
                  <a:lnTo>
                    <a:pt x="522" y="384"/>
                  </a:lnTo>
                  <a:lnTo>
                    <a:pt x="510" y="402"/>
                  </a:lnTo>
                  <a:lnTo>
                    <a:pt x="504" y="420"/>
                  </a:lnTo>
                  <a:lnTo>
                    <a:pt x="492" y="426"/>
                  </a:lnTo>
                  <a:lnTo>
                    <a:pt x="486" y="432"/>
                  </a:lnTo>
                  <a:lnTo>
                    <a:pt x="486" y="444"/>
                  </a:lnTo>
                  <a:lnTo>
                    <a:pt x="486" y="450"/>
                  </a:lnTo>
                  <a:lnTo>
                    <a:pt x="486" y="456"/>
                  </a:lnTo>
                  <a:lnTo>
                    <a:pt x="486" y="462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80" y="474"/>
                  </a:lnTo>
                  <a:lnTo>
                    <a:pt x="480" y="480"/>
                  </a:lnTo>
                  <a:lnTo>
                    <a:pt x="480" y="486"/>
                  </a:lnTo>
                  <a:lnTo>
                    <a:pt x="480" y="492"/>
                  </a:lnTo>
                  <a:lnTo>
                    <a:pt x="480" y="498"/>
                  </a:lnTo>
                  <a:lnTo>
                    <a:pt x="474" y="504"/>
                  </a:lnTo>
                  <a:lnTo>
                    <a:pt x="468" y="510"/>
                  </a:lnTo>
                  <a:lnTo>
                    <a:pt x="462" y="510"/>
                  </a:lnTo>
                  <a:lnTo>
                    <a:pt x="456" y="504"/>
                  </a:lnTo>
                  <a:lnTo>
                    <a:pt x="456" y="498"/>
                  </a:lnTo>
                  <a:lnTo>
                    <a:pt x="450" y="498"/>
                  </a:lnTo>
                  <a:lnTo>
                    <a:pt x="444" y="498"/>
                  </a:lnTo>
                  <a:lnTo>
                    <a:pt x="438" y="498"/>
                  </a:lnTo>
                  <a:lnTo>
                    <a:pt x="432" y="498"/>
                  </a:lnTo>
                  <a:lnTo>
                    <a:pt x="426" y="504"/>
                  </a:lnTo>
                  <a:lnTo>
                    <a:pt x="426" y="510"/>
                  </a:lnTo>
                  <a:lnTo>
                    <a:pt x="420" y="516"/>
                  </a:lnTo>
                  <a:lnTo>
                    <a:pt x="414" y="522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84" y="528"/>
                  </a:lnTo>
                  <a:lnTo>
                    <a:pt x="366" y="540"/>
                  </a:lnTo>
                  <a:lnTo>
                    <a:pt x="360" y="522"/>
                  </a:lnTo>
                  <a:lnTo>
                    <a:pt x="348" y="504"/>
                  </a:lnTo>
                  <a:lnTo>
                    <a:pt x="330" y="504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34"/>
                  </a:lnTo>
                  <a:lnTo>
                    <a:pt x="288" y="540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2" y="540"/>
                  </a:lnTo>
                  <a:lnTo>
                    <a:pt x="282" y="546"/>
                  </a:lnTo>
                  <a:lnTo>
                    <a:pt x="288" y="552"/>
                  </a:lnTo>
                  <a:lnTo>
                    <a:pt x="294" y="564"/>
                  </a:lnTo>
                  <a:lnTo>
                    <a:pt x="300" y="564"/>
                  </a:lnTo>
                  <a:lnTo>
                    <a:pt x="300" y="570"/>
                  </a:lnTo>
                  <a:lnTo>
                    <a:pt x="294" y="570"/>
                  </a:lnTo>
                  <a:lnTo>
                    <a:pt x="288" y="570"/>
                  </a:lnTo>
                  <a:lnTo>
                    <a:pt x="288" y="576"/>
                  </a:lnTo>
                  <a:lnTo>
                    <a:pt x="288" y="582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606"/>
                  </a:lnTo>
                  <a:lnTo>
                    <a:pt x="264" y="612"/>
                  </a:lnTo>
                  <a:lnTo>
                    <a:pt x="258" y="612"/>
                  </a:lnTo>
                  <a:lnTo>
                    <a:pt x="252" y="612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52" y="630"/>
                  </a:lnTo>
                  <a:lnTo>
                    <a:pt x="264" y="642"/>
                  </a:lnTo>
                  <a:lnTo>
                    <a:pt x="258" y="648"/>
                  </a:lnTo>
                  <a:lnTo>
                    <a:pt x="246" y="654"/>
                  </a:lnTo>
                  <a:lnTo>
                    <a:pt x="240" y="660"/>
                  </a:lnTo>
                  <a:lnTo>
                    <a:pt x="234" y="672"/>
                  </a:lnTo>
                  <a:lnTo>
                    <a:pt x="234" y="678"/>
                  </a:lnTo>
                  <a:lnTo>
                    <a:pt x="228" y="684"/>
                  </a:lnTo>
                  <a:lnTo>
                    <a:pt x="228" y="696"/>
                  </a:lnTo>
                  <a:lnTo>
                    <a:pt x="216" y="71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6" name="Freeform 21">
              <a:extLst>
                <a:ext uri="{FF2B5EF4-FFF2-40B4-BE49-F238E27FC236}">
                  <a16:creationId xmlns:a16="http://schemas.microsoft.com/office/drawing/2014/main" id="{DCB1E808-522D-4C19-B741-CC5DD56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4178" y="3866464"/>
              <a:ext cx="250453" cy="371259"/>
            </a:xfrm>
            <a:custGeom>
              <a:avLst/>
              <a:gdLst>
                <a:gd name="T0" fmla="*/ 0 w 468"/>
                <a:gd name="T1" fmla="*/ 61 h 696"/>
                <a:gd name="T2" fmla="*/ 1 w 468"/>
                <a:gd name="T3" fmla="*/ 58 h 696"/>
                <a:gd name="T4" fmla="*/ 2 w 468"/>
                <a:gd name="T5" fmla="*/ 54 h 696"/>
                <a:gd name="T6" fmla="*/ 3 w 468"/>
                <a:gd name="T7" fmla="*/ 51 h 696"/>
                <a:gd name="T8" fmla="*/ 4 w 468"/>
                <a:gd name="T9" fmla="*/ 48 h 696"/>
                <a:gd name="T10" fmla="*/ 6 w 468"/>
                <a:gd name="T11" fmla="*/ 44 h 696"/>
                <a:gd name="T12" fmla="*/ 5 w 468"/>
                <a:gd name="T13" fmla="*/ 41 h 696"/>
                <a:gd name="T14" fmla="*/ 7 w 468"/>
                <a:gd name="T15" fmla="*/ 38 h 696"/>
                <a:gd name="T16" fmla="*/ 8 w 468"/>
                <a:gd name="T17" fmla="*/ 36 h 696"/>
                <a:gd name="T18" fmla="*/ 7 w 468"/>
                <a:gd name="T19" fmla="*/ 33 h 696"/>
                <a:gd name="T20" fmla="*/ 6 w 468"/>
                <a:gd name="T21" fmla="*/ 29 h 696"/>
                <a:gd name="T22" fmla="*/ 4 w 468"/>
                <a:gd name="T23" fmla="*/ 22 h 696"/>
                <a:gd name="T24" fmla="*/ 2 w 468"/>
                <a:gd name="T25" fmla="*/ 14 h 696"/>
                <a:gd name="T26" fmla="*/ 12 w 468"/>
                <a:gd name="T27" fmla="*/ 11 h 696"/>
                <a:gd name="T28" fmla="*/ 14 w 468"/>
                <a:gd name="T29" fmla="*/ 2 h 696"/>
                <a:gd name="T30" fmla="*/ 16 w 468"/>
                <a:gd name="T31" fmla="*/ 0 h 696"/>
                <a:gd name="T32" fmla="*/ 17 w 468"/>
                <a:gd name="T33" fmla="*/ 0 h 696"/>
                <a:gd name="T34" fmla="*/ 18 w 468"/>
                <a:gd name="T35" fmla="*/ 1 h 696"/>
                <a:gd name="T36" fmla="*/ 17 w 468"/>
                <a:gd name="T37" fmla="*/ 2 h 696"/>
                <a:gd name="T38" fmla="*/ 17 w 468"/>
                <a:gd name="T39" fmla="*/ 4 h 696"/>
                <a:gd name="T40" fmla="*/ 17 w 468"/>
                <a:gd name="T41" fmla="*/ 6 h 696"/>
                <a:gd name="T42" fmla="*/ 20 w 468"/>
                <a:gd name="T43" fmla="*/ 6 h 696"/>
                <a:gd name="T44" fmla="*/ 22 w 468"/>
                <a:gd name="T45" fmla="*/ 5 h 696"/>
                <a:gd name="T46" fmla="*/ 24 w 468"/>
                <a:gd name="T47" fmla="*/ 7 h 696"/>
                <a:gd name="T48" fmla="*/ 28 w 468"/>
                <a:gd name="T49" fmla="*/ 7 h 696"/>
                <a:gd name="T50" fmla="*/ 28 w 468"/>
                <a:gd name="T51" fmla="*/ 11 h 696"/>
                <a:gd name="T52" fmla="*/ 25 w 468"/>
                <a:gd name="T53" fmla="*/ 14 h 696"/>
                <a:gd name="T54" fmla="*/ 23 w 468"/>
                <a:gd name="T55" fmla="*/ 15 h 696"/>
                <a:gd name="T56" fmla="*/ 23 w 468"/>
                <a:gd name="T57" fmla="*/ 19 h 696"/>
                <a:gd name="T58" fmla="*/ 23 w 468"/>
                <a:gd name="T59" fmla="*/ 21 h 696"/>
                <a:gd name="T60" fmla="*/ 24 w 468"/>
                <a:gd name="T61" fmla="*/ 21 h 696"/>
                <a:gd name="T62" fmla="*/ 27 w 468"/>
                <a:gd name="T63" fmla="*/ 23 h 696"/>
                <a:gd name="T64" fmla="*/ 29 w 468"/>
                <a:gd name="T65" fmla="*/ 24 h 696"/>
                <a:gd name="T66" fmla="*/ 29 w 468"/>
                <a:gd name="T67" fmla="*/ 28 h 696"/>
                <a:gd name="T68" fmla="*/ 29 w 468"/>
                <a:gd name="T69" fmla="*/ 29 h 696"/>
                <a:gd name="T70" fmla="*/ 29 w 468"/>
                <a:gd name="T71" fmla="*/ 32 h 696"/>
                <a:gd name="T72" fmla="*/ 32 w 468"/>
                <a:gd name="T73" fmla="*/ 32 h 696"/>
                <a:gd name="T74" fmla="*/ 33 w 468"/>
                <a:gd name="T75" fmla="*/ 35 h 696"/>
                <a:gd name="T76" fmla="*/ 34 w 468"/>
                <a:gd name="T77" fmla="*/ 38 h 696"/>
                <a:gd name="T78" fmla="*/ 35 w 468"/>
                <a:gd name="T79" fmla="*/ 39 h 696"/>
                <a:gd name="T80" fmla="*/ 36 w 468"/>
                <a:gd name="T81" fmla="*/ 40 h 696"/>
                <a:gd name="T82" fmla="*/ 37 w 468"/>
                <a:gd name="T83" fmla="*/ 41 h 696"/>
                <a:gd name="T84" fmla="*/ 38 w 468"/>
                <a:gd name="T85" fmla="*/ 42 h 696"/>
                <a:gd name="T86" fmla="*/ 41 w 468"/>
                <a:gd name="T87" fmla="*/ 44 h 696"/>
                <a:gd name="T88" fmla="*/ 40 w 468"/>
                <a:gd name="T89" fmla="*/ 44 h 696"/>
                <a:gd name="T90" fmla="*/ 37 w 468"/>
                <a:gd name="T91" fmla="*/ 45 h 696"/>
                <a:gd name="T92" fmla="*/ 36 w 468"/>
                <a:gd name="T93" fmla="*/ 48 h 696"/>
                <a:gd name="T94" fmla="*/ 34 w 468"/>
                <a:gd name="T95" fmla="*/ 49 h 696"/>
                <a:gd name="T96" fmla="*/ 32 w 468"/>
                <a:gd name="T97" fmla="*/ 51 h 696"/>
                <a:gd name="T98" fmla="*/ 31 w 468"/>
                <a:gd name="T99" fmla="*/ 51 h 696"/>
                <a:gd name="T100" fmla="*/ 26 w 468"/>
                <a:gd name="T101" fmla="*/ 49 h 696"/>
                <a:gd name="T102" fmla="*/ 23 w 468"/>
                <a:gd name="T103" fmla="*/ 51 h 696"/>
                <a:gd name="T104" fmla="*/ 21 w 468"/>
                <a:gd name="T105" fmla="*/ 51 h 696"/>
                <a:gd name="T106" fmla="*/ 20 w 468"/>
                <a:gd name="T107" fmla="*/ 52 h 696"/>
                <a:gd name="T108" fmla="*/ 17 w 468"/>
                <a:gd name="T109" fmla="*/ 55 h 696"/>
                <a:gd name="T110" fmla="*/ 15 w 468"/>
                <a:gd name="T111" fmla="*/ 56 h 696"/>
                <a:gd name="T112" fmla="*/ 15 w 468"/>
                <a:gd name="T113" fmla="*/ 59 h 696"/>
                <a:gd name="T114" fmla="*/ 14 w 468"/>
                <a:gd name="T115" fmla="*/ 59 h 696"/>
                <a:gd name="T116" fmla="*/ 12 w 468"/>
                <a:gd name="T117" fmla="*/ 59 h 696"/>
                <a:gd name="T118" fmla="*/ 11 w 468"/>
                <a:gd name="T119" fmla="*/ 57 h 696"/>
                <a:gd name="T120" fmla="*/ 9 w 468"/>
                <a:gd name="T121" fmla="*/ 57 h 696"/>
                <a:gd name="T122" fmla="*/ 6 w 468"/>
                <a:gd name="T123" fmla="*/ 58 h 696"/>
                <a:gd name="T124" fmla="*/ 4 w 468"/>
                <a:gd name="T125" fmla="*/ 60 h 69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8"/>
                <a:gd name="T190" fmla="*/ 0 h 696"/>
                <a:gd name="T191" fmla="*/ 468 w 468"/>
                <a:gd name="T192" fmla="*/ 696 h 69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8" h="696">
                  <a:moveTo>
                    <a:pt x="30" y="696"/>
                  </a:moveTo>
                  <a:lnTo>
                    <a:pt x="18" y="696"/>
                  </a:lnTo>
                  <a:lnTo>
                    <a:pt x="6" y="696"/>
                  </a:lnTo>
                  <a:lnTo>
                    <a:pt x="0" y="690"/>
                  </a:lnTo>
                  <a:lnTo>
                    <a:pt x="6" y="678"/>
                  </a:lnTo>
                  <a:lnTo>
                    <a:pt x="12" y="666"/>
                  </a:lnTo>
                  <a:lnTo>
                    <a:pt x="18" y="654"/>
                  </a:lnTo>
                  <a:lnTo>
                    <a:pt x="18" y="642"/>
                  </a:lnTo>
                  <a:lnTo>
                    <a:pt x="18" y="618"/>
                  </a:lnTo>
                  <a:lnTo>
                    <a:pt x="24" y="606"/>
                  </a:lnTo>
                  <a:lnTo>
                    <a:pt x="30" y="594"/>
                  </a:lnTo>
                  <a:lnTo>
                    <a:pt x="30" y="582"/>
                  </a:lnTo>
                  <a:lnTo>
                    <a:pt x="36" y="576"/>
                  </a:lnTo>
                  <a:lnTo>
                    <a:pt x="42" y="564"/>
                  </a:lnTo>
                  <a:lnTo>
                    <a:pt x="48" y="546"/>
                  </a:lnTo>
                  <a:lnTo>
                    <a:pt x="48" y="528"/>
                  </a:lnTo>
                  <a:lnTo>
                    <a:pt x="60" y="516"/>
                  </a:lnTo>
                  <a:lnTo>
                    <a:pt x="66" y="504"/>
                  </a:lnTo>
                  <a:lnTo>
                    <a:pt x="66" y="492"/>
                  </a:lnTo>
                  <a:lnTo>
                    <a:pt x="60" y="480"/>
                  </a:lnTo>
                  <a:lnTo>
                    <a:pt x="54" y="468"/>
                  </a:lnTo>
                  <a:lnTo>
                    <a:pt x="60" y="456"/>
                  </a:lnTo>
                  <a:lnTo>
                    <a:pt x="72" y="450"/>
                  </a:lnTo>
                  <a:lnTo>
                    <a:pt x="84" y="438"/>
                  </a:lnTo>
                  <a:lnTo>
                    <a:pt x="90" y="426"/>
                  </a:lnTo>
                  <a:lnTo>
                    <a:pt x="90" y="420"/>
                  </a:lnTo>
                  <a:lnTo>
                    <a:pt x="90" y="408"/>
                  </a:lnTo>
                  <a:lnTo>
                    <a:pt x="90" y="402"/>
                  </a:lnTo>
                  <a:lnTo>
                    <a:pt x="84" y="396"/>
                  </a:lnTo>
                  <a:lnTo>
                    <a:pt x="78" y="378"/>
                  </a:lnTo>
                  <a:lnTo>
                    <a:pt x="72" y="360"/>
                  </a:lnTo>
                  <a:lnTo>
                    <a:pt x="66" y="348"/>
                  </a:lnTo>
                  <a:lnTo>
                    <a:pt x="72" y="336"/>
                  </a:lnTo>
                  <a:lnTo>
                    <a:pt x="66" y="306"/>
                  </a:lnTo>
                  <a:lnTo>
                    <a:pt x="54" y="276"/>
                  </a:lnTo>
                  <a:lnTo>
                    <a:pt x="42" y="252"/>
                  </a:lnTo>
                  <a:lnTo>
                    <a:pt x="36" y="222"/>
                  </a:lnTo>
                  <a:lnTo>
                    <a:pt x="30" y="192"/>
                  </a:lnTo>
                  <a:lnTo>
                    <a:pt x="24" y="162"/>
                  </a:lnTo>
                  <a:lnTo>
                    <a:pt x="42" y="174"/>
                  </a:lnTo>
                  <a:lnTo>
                    <a:pt x="120" y="138"/>
                  </a:lnTo>
                  <a:lnTo>
                    <a:pt x="132" y="126"/>
                  </a:lnTo>
                  <a:lnTo>
                    <a:pt x="120" y="54"/>
                  </a:lnTo>
                  <a:lnTo>
                    <a:pt x="156" y="30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0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8" y="18"/>
                  </a:lnTo>
                  <a:lnTo>
                    <a:pt x="198" y="24"/>
                  </a:lnTo>
                  <a:lnTo>
                    <a:pt x="198" y="30"/>
                  </a:lnTo>
                  <a:lnTo>
                    <a:pt x="198" y="42"/>
                  </a:lnTo>
                  <a:lnTo>
                    <a:pt x="198" y="48"/>
                  </a:lnTo>
                  <a:lnTo>
                    <a:pt x="192" y="60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28" y="60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34" y="60"/>
                  </a:lnTo>
                  <a:lnTo>
                    <a:pt x="252" y="60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312" y="84"/>
                  </a:lnTo>
                  <a:lnTo>
                    <a:pt x="318" y="96"/>
                  </a:lnTo>
                  <a:lnTo>
                    <a:pt x="318" y="102"/>
                  </a:lnTo>
                  <a:lnTo>
                    <a:pt x="312" y="120"/>
                  </a:lnTo>
                  <a:lnTo>
                    <a:pt x="306" y="132"/>
                  </a:lnTo>
                  <a:lnTo>
                    <a:pt x="294" y="144"/>
                  </a:lnTo>
                  <a:lnTo>
                    <a:pt x="282" y="156"/>
                  </a:lnTo>
                  <a:lnTo>
                    <a:pt x="276" y="162"/>
                  </a:lnTo>
                  <a:lnTo>
                    <a:pt x="270" y="162"/>
                  </a:lnTo>
                  <a:lnTo>
                    <a:pt x="264" y="174"/>
                  </a:lnTo>
                  <a:lnTo>
                    <a:pt x="264" y="192"/>
                  </a:lnTo>
                  <a:lnTo>
                    <a:pt x="264" y="216"/>
                  </a:lnTo>
                  <a:lnTo>
                    <a:pt x="258" y="216"/>
                  </a:lnTo>
                  <a:lnTo>
                    <a:pt x="258" y="228"/>
                  </a:lnTo>
                  <a:lnTo>
                    <a:pt x="252" y="234"/>
                  </a:lnTo>
                  <a:lnTo>
                    <a:pt x="258" y="240"/>
                  </a:lnTo>
                  <a:lnTo>
                    <a:pt x="264" y="240"/>
                  </a:lnTo>
                  <a:lnTo>
                    <a:pt x="270" y="240"/>
                  </a:lnTo>
                  <a:lnTo>
                    <a:pt x="276" y="240"/>
                  </a:lnTo>
                  <a:lnTo>
                    <a:pt x="288" y="240"/>
                  </a:lnTo>
                  <a:lnTo>
                    <a:pt x="300" y="246"/>
                  </a:lnTo>
                  <a:lnTo>
                    <a:pt x="306" y="258"/>
                  </a:lnTo>
                  <a:lnTo>
                    <a:pt x="312" y="264"/>
                  </a:lnTo>
                  <a:lnTo>
                    <a:pt x="318" y="276"/>
                  </a:lnTo>
                  <a:lnTo>
                    <a:pt x="330" y="282"/>
                  </a:lnTo>
                  <a:lnTo>
                    <a:pt x="330" y="300"/>
                  </a:lnTo>
                  <a:lnTo>
                    <a:pt x="336" y="312"/>
                  </a:lnTo>
                  <a:lnTo>
                    <a:pt x="336" y="318"/>
                  </a:lnTo>
                  <a:lnTo>
                    <a:pt x="336" y="330"/>
                  </a:lnTo>
                  <a:lnTo>
                    <a:pt x="324" y="330"/>
                  </a:lnTo>
                  <a:lnTo>
                    <a:pt x="330" y="336"/>
                  </a:lnTo>
                  <a:lnTo>
                    <a:pt x="330" y="342"/>
                  </a:lnTo>
                  <a:lnTo>
                    <a:pt x="336" y="348"/>
                  </a:lnTo>
                  <a:lnTo>
                    <a:pt x="330" y="360"/>
                  </a:lnTo>
                  <a:lnTo>
                    <a:pt x="336" y="372"/>
                  </a:lnTo>
                  <a:lnTo>
                    <a:pt x="354" y="366"/>
                  </a:lnTo>
                  <a:lnTo>
                    <a:pt x="366" y="366"/>
                  </a:lnTo>
                  <a:lnTo>
                    <a:pt x="372" y="378"/>
                  </a:lnTo>
                  <a:lnTo>
                    <a:pt x="372" y="390"/>
                  </a:lnTo>
                  <a:lnTo>
                    <a:pt x="378" y="396"/>
                  </a:lnTo>
                  <a:lnTo>
                    <a:pt x="378" y="408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44"/>
                  </a:lnTo>
                  <a:lnTo>
                    <a:pt x="390" y="444"/>
                  </a:lnTo>
                  <a:lnTo>
                    <a:pt x="396" y="444"/>
                  </a:lnTo>
                  <a:lnTo>
                    <a:pt x="402" y="450"/>
                  </a:lnTo>
                  <a:lnTo>
                    <a:pt x="408" y="450"/>
                  </a:lnTo>
                  <a:lnTo>
                    <a:pt x="408" y="462"/>
                  </a:lnTo>
                  <a:lnTo>
                    <a:pt x="408" y="468"/>
                  </a:lnTo>
                  <a:lnTo>
                    <a:pt x="414" y="474"/>
                  </a:lnTo>
                  <a:lnTo>
                    <a:pt x="420" y="474"/>
                  </a:lnTo>
                  <a:lnTo>
                    <a:pt x="420" y="480"/>
                  </a:lnTo>
                  <a:lnTo>
                    <a:pt x="426" y="480"/>
                  </a:lnTo>
                  <a:lnTo>
                    <a:pt x="432" y="480"/>
                  </a:lnTo>
                  <a:lnTo>
                    <a:pt x="462" y="486"/>
                  </a:lnTo>
                  <a:lnTo>
                    <a:pt x="468" y="492"/>
                  </a:lnTo>
                  <a:lnTo>
                    <a:pt x="468" y="498"/>
                  </a:lnTo>
                  <a:lnTo>
                    <a:pt x="462" y="498"/>
                  </a:lnTo>
                  <a:lnTo>
                    <a:pt x="456" y="498"/>
                  </a:lnTo>
                  <a:lnTo>
                    <a:pt x="456" y="504"/>
                  </a:lnTo>
                  <a:lnTo>
                    <a:pt x="456" y="510"/>
                  </a:lnTo>
                  <a:lnTo>
                    <a:pt x="450" y="516"/>
                  </a:lnTo>
                  <a:lnTo>
                    <a:pt x="426" y="516"/>
                  </a:lnTo>
                  <a:lnTo>
                    <a:pt x="408" y="528"/>
                  </a:lnTo>
                  <a:lnTo>
                    <a:pt x="408" y="546"/>
                  </a:lnTo>
                  <a:lnTo>
                    <a:pt x="414" y="552"/>
                  </a:lnTo>
                  <a:lnTo>
                    <a:pt x="408" y="558"/>
                  </a:lnTo>
                  <a:lnTo>
                    <a:pt x="402" y="564"/>
                  </a:lnTo>
                  <a:lnTo>
                    <a:pt x="384" y="564"/>
                  </a:lnTo>
                  <a:lnTo>
                    <a:pt x="372" y="564"/>
                  </a:lnTo>
                  <a:lnTo>
                    <a:pt x="372" y="576"/>
                  </a:lnTo>
                  <a:lnTo>
                    <a:pt x="366" y="576"/>
                  </a:lnTo>
                  <a:lnTo>
                    <a:pt x="366" y="582"/>
                  </a:lnTo>
                  <a:lnTo>
                    <a:pt x="360" y="582"/>
                  </a:lnTo>
                  <a:lnTo>
                    <a:pt x="348" y="576"/>
                  </a:lnTo>
                  <a:lnTo>
                    <a:pt x="336" y="570"/>
                  </a:lnTo>
                  <a:lnTo>
                    <a:pt x="324" y="570"/>
                  </a:lnTo>
                  <a:lnTo>
                    <a:pt x="300" y="564"/>
                  </a:lnTo>
                  <a:lnTo>
                    <a:pt x="282" y="564"/>
                  </a:lnTo>
                  <a:lnTo>
                    <a:pt x="270" y="570"/>
                  </a:lnTo>
                  <a:lnTo>
                    <a:pt x="264" y="576"/>
                  </a:lnTo>
                  <a:lnTo>
                    <a:pt x="258" y="576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34" y="594"/>
                  </a:lnTo>
                  <a:lnTo>
                    <a:pt x="228" y="600"/>
                  </a:lnTo>
                  <a:lnTo>
                    <a:pt x="210" y="618"/>
                  </a:lnTo>
                  <a:lnTo>
                    <a:pt x="210" y="624"/>
                  </a:lnTo>
                  <a:lnTo>
                    <a:pt x="192" y="630"/>
                  </a:lnTo>
                  <a:lnTo>
                    <a:pt x="186" y="630"/>
                  </a:lnTo>
                  <a:lnTo>
                    <a:pt x="180" y="636"/>
                  </a:lnTo>
                  <a:lnTo>
                    <a:pt x="174" y="642"/>
                  </a:lnTo>
                  <a:lnTo>
                    <a:pt x="168" y="642"/>
                  </a:lnTo>
                  <a:lnTo>
                    <a:pt x="168" y="654"/>
                  </a:lnTo>
                  <a:lnTo>
                    <a:pt x="168" y="678"/>
                  </a:lnTo>
                  <a:lnTo>
                    <a:pt x="162" y="684"/>
                  </a:lnTo>
                  <a:lnTo>
                    <a:pt x="156" y="684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72"/>
                  </a:lnTo>
                  <a:lnTo>
                    <a:pt x="138" y="672"/>
                  </a:lnTo>
                  <a:lnTo>
                    <a:pt x="138" y="666"/>
                  </a:lnTo>
                  <a:lnTo>
                    <a:pt x="132" y="660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48"/>
                  </a:lnTo>
                  <a:lnTo>
                    <a:pt x="102" y="654"/>
                  </a:lnTo>
                  <a:lnTo>
                    <a:pt x="90" y="654"/>
                  </a:lnTo>
                  <a:lnTo>
                    <a:pt x="84" y="654"/>
                  </a:lnTo>
                  <a:lnTo>
                    <a:pt x="72" y="660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36" y="684"/>
                  </a:lnTo>
                  <a:lnTo>
                    <a:pt x="30" y="6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7" name="Freeform 22">
              <a:extLst>
                <a:ext uri="{FF2B5EF4-FFF2-40B4-BE49-F238E27FC236}">
                  <a16:creationId xmlns:a16="http://schemas.microsoft.com/office/drawing/2014/main" id="{2F7A477D-6CF8-44B3-8B32-64EE03DC4D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2895" y="3967106"/>
              <a:ext cx="610479" cy="507686"/>
            </a:xfrm>
            <a:custGeom>
              <a:avLst/>
              <a:gdLst>
                <a:gd name="T0" fmla="*/ 87 w 1146"/>
                <a:gd name="T1" fmla="*/ 56 h 954"/>
                <a:gd name="T2" fmla="*/ 83 w 1146"/>
                <a:gd name="T3" fmla="*/ 66 h 954"/>
                <a:gd name="T4" fmla="*/ 74 w 1146"/>
                <a:gd name="T5" fmla="*/ 69 h 954"/>
                <a:gd name="T6" fmla="*/ 67 w 1146"/>
                <a:gd name="T7" fmla="*/ 75 h 954"/>
                <a:gd name="T8" fmla="*/ 59 w 1146"/>
                <a:gd name="T9" fmla="*/ 78 h 954"/>
                <a:gd name="T10" fmla="*/ 52 w 1146"/>
                <a:gd name="T11" fmla="*/ 77 h 954"/>
                <a:gd name="T12" fmla="*/ 48 w 1146"/>
                <a:gd name="T13" fmla="*/ 79 h 954"/>
                <a:gd name="T14" fmla="*/ 41 w 1146"/>
                <a:gd name="T15" fmla="*/ 82 h 954"/>
                <a:gd name="T16" fmla="*/ 29 w 1146"/>
                <a:gd name="T17" fmla="*/ 78 h 954"/>
                <a:gd name="T18" fmla="*/ 28 w 1146"/>
                <a:gd name="T19" fmla="*/ 76 h 954"/>
                <a:gd name="T20" fmla="*/ 28 w 1146"/>
                <a:gd name="T21" fmla="*/ 72 h 954"/>
                <a:gd name="T22" fmla="*/ 28 w 1146"/>
                <a:gd name="T23" fmla="*/ 74 h 954"/>
                <a:gd name="T24" fmla="*/ 21 w 1146"/>
                <a:gd name="T25" fmla="*/ 74 h 954"/>
                <a:gd name="T26" fmla="*/ 20 w 1146"/>
                <a:gd name="T27" fmla="*/ 67 h 954"/>
                <a:gd name="T28" fmla="*/ 23 w 1146"/>
                <a:gd name="T29" fmla="*/ 64 h 954"/>
                <a:gd name="T30" fmla="*/ 28 w 1146"/>
                <a:gd name="T31" fmla="*/ 65 h 954"/>
                <a:gd name="T32" fmla="*/ 32 w 1146"/>
                <a:gd name="T33" fmla="*/ 62 h 954"/>
                <a:gd name="T34" fmla="*/ 31 w 1146"/>
                <a:gd name="T35" fmla="*/ 56 h 954"/>
                <a:gd name="T36" fmla="*/ 36 w 1146"/>
                <a:gd name="T37" fmla="*/ 54 h 954"/>
                <a:gd name="T38" fmla="*/ 38 w 1146"/>
                <a:gd name="T39" fmla="*/ 54 h 954"/>
                <a:gd name="T40" fmla="*/ 32 w 1146"/>
                <a:gd name="T41" fmla="*/ 54 h 954"/>
                <a:gd name="T42" fmla="*/ 29 w 1146"/>
                <a:gd name="T43" fmla="*/ 59 h 954"/>
                <a:gd name="T44" fmla="*/ 26 w 1146"/>
                <a:gd name="T45" fmla="*/ 59 h 954"/>
                <a:gd name="T46" fmla="*/ 25 w 1146"/>
                <a:gd name="T47" fmla="*/ 61 h 954"/>
                <a:gd name="T48" fmla="*/ 20 w 1146"/>
                <a:gd name="T49" fmla="*/ 61 h 954"/>
                <a:gd name="T50" fmla="*/ 11 w 1146"/>
                <a:gd name="T51" fmla="*/ 54 h 954"/>
                <a:gd name="T52" fmla="*/ 14 w 1146"/>
                <a:gd name="T53" fmla="*/ 50 h 954"/>
                <a:gd name="T54" fmla="*/ 21 w 1146"/>
                <a:gd name="T55" fmla="*/ 51 h 954"/>
                <a:gd name="T56" fmla="*/ 24 w 1146"/>
                <a:gd name="T57" fmla="*/ 50 h 954"/>
                <a:gd name="T58" fmla="*/ 28 w 1146"/>
                <a:gd name="T59" fmla="*/ 48 h 954"/>
                <a:gd name="T60" fmla="*/ 30 w 1146"/>
                <a:gd name="T61" fmla="*/ 49 h 954"/>
                <a:gd name="T62" fmla="*/ 26 w 1146"/>
                <a:gd name="T63" fmla="*/ 47 h 954"/>
                <a:gd name="T64" fmla="*/ 20 w 1146"/>
                <a:gd name="T65" fmla="*/ 50 h 954"/>
                <a:gd name="T66" fmla="*/ 20 w 1146"/>
                <a:gd name="T67" fmla="*/ 44 h 954"/>
                <a:gd name="T68" fmla="*/ 19 w 1146"/>
                <a:gd name="T69" fmla="*/ 46 h 954"/>
                <a:gd name="T70" fmla="*/ 15 w 1146"/>
                <a:gd name="T71" fmla="*/ 49 h 954"/>
                <a:gd name="T72" fmla="*/ 8 w 1146"/>
                <a:gd name="T73" fmla="*/ 48 h 954"/>
                <a:gd name="T74" fmla="*/ 6 w 1146"/>
                <a:gd name="T75" fmla="*/ 41 h 954"/>
                <a:gd name="T76" fmla="*/ 10 w 1146"/>
                <a:gd name="T77" fmla="*/ 41 h 954"/>
                <a:gd name="T78" fmla="*/ 9 w 1146"/>
                <a:gd name="T79" fmla="*/ 39 h 954"/>
                <a:gd name="T80" fmla="*/ 14 w 1146"/>
                <a:gd name="T81" fmla="*/ 35 h 954"/>
                <a:gd name="T82" fmla="*/ 19 w 1146"/>
                <a:gd name="T83" fmla="*/ 32 h 954"/>
                <a:gd name="T84" fmla="*/ 20 w 1146"/>
                <a:gd name="T85" fmla="*/ 29 h 954"/>
                <a:gd name="T86" fmla="*/ 27 w 1146"/>
                <a:gd name="T87" fmla="*/ 27 h 954"/>
                <a:gd name="T88" fmla="*/ 33 w 1146"/>
                <a:gd name="T89" fmla="*/ 28 h 954"/>
                <a:gd name="T90" fmla="*/ 44 w 1146"/>
                <a:gd name="T91" fmla="*/ 27 h 954"/>
                <a:gd name="T92" fmla="*/ 52 w 1146"/>
                <a:gd name="T93" fmla="*/ 41 h 954"/>
                <a:gd name="T94" fmla="*/ 61 w 1146"/>
                <a:gd name="T95" fmla="*/ 40 h 954"/>
                <a:gd name="T96" fmla="*/ 69 w 1146"/>
                <a:gd name="T97" fmla="*/ 34 h 954"/>
                <a:gd name="T98" fmla="*/ 62 w 1146"/>
                <a:gd name="T99" fmla="*/ 12 h 954"/>
                <a:gd name="T100" fmla="*/ 74 w 1146"/>
                <a:gd name="T101" fmla="*/ 8 h 954"/>
                <a:gd name="T102" fmla="*/ 87 w 1146"/>
                <a:gd name="T103" fmla="*/ 1 h 954"/>
                <a:gd name="T104" fmla="*/ 99 w 1146"/>
                <a:gd name="T105" fmla="*/ 12 h 954"/>
                <a:gd name="T106" fmla="*/ 98 w 1146"/>
                <a:gd name="T107" fmla="*/ 27 h 954"/>
                <a:gd name="T108" fmla="*/ 16 w 1146"/>
                <a:gd name="T109" fmla="*/ 33 h 954"/>
                <a:gd name="T110" fmla="*/ 11 w 1146"/>
                <a:gd name="T111" fmla="*/ 36 h 954"/>
                <a:gd name="T112" fmla="*/ 5 w 1146"/>
                <a:gd name="T113" fmla="*/ 41 h 954"/>
                <a:gd name="T114" fmla="*/ 2 w 1146"/>
                <a:gd name="T115" fmla="*/ 36 h 954"/>
                <a:gd name="T116" fmla="*/ 5 w 1146"/>
                <a:gd name="T117" fmla="*/ 26 h 954"/>
                <a:gd name="T118" fmla="*/ 10 w 1146"/>
                <a:gd name="T119" fmla="*/ 20 h 954"/>
                <a:gd name="T120" fmla="*/ 13 w 1146"/>
                <a:gd name="T121" fmla="*/ 20 h 954"/>
                <a:gd name="T122" fmla="*/ 15 w 1146"/>
                <a:gd name="T123" fmla="*/ 27 h 95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46"/>
                <a:gd name="T187" fmla="*/ 0 h 954"/>
                <a:gd name="T188" fmla="*/ 1146 w 1146"/>
                <a:gd name="T189" fmla="*/ 954 h 95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46" h="954">
                  <a:moveTo>
                    <a:pt x="1056" y="498"/>
                  </a:moveTo>
                  <a:lnTo>
                    <a:pt x="1044" y="510"/>
                  </a:lnTo>
                  <a:lnTo>
                    <a:pt x="1032" y="516"/>
                  </a:lnTo>
                  <a:lnTo>
                    <a:pt x="1038" y="528"/>
                  </a:lnTo>
                  <a:lnTo>
                    <a:pt x="1050" y="540"/>
                  </a:lnTo>
                  <a:lnTo>
                    <a:pt x="1050" y="546"/>
                  </a:lnTo>
                  <a:lnTo>
                    <a:pt x="1050" y="564"/>
                  </a:lnTo>
                  <a:lnTo>
                    <a:pt x="1038" y="576"/>
                  </a:lnTo>
                  <a:lnTo>
                    <a:pt x="1032" y="588"/>
                  </a:lnTo>
                  <a:lnTo>
                    <a:pt x="1020" y="594"/>
                  </a:lnTo>
                  <a:lnTo>
                    <a:pt x="1008" y="594"/>
                  </a:lnTo>
                  <a:lnTo>
                    <a:pt x="1002" y="600"/>
                  </a:lnTo>
                  <a:lnTo>
                    <a:pt x="996" y="612"/>
                  </a:lnTo>
                  <a:lnTo>
                    <a:pt x="996" y="624"/>
                  </a:lnTo>
                  <a:lnTo>
                    <a:pt x="996" y="648"/>
                  </a:lnTo>
                  <a:lnTo>
                    <a:pt x="996" y="660"/>
                  </a:lnTo>
                  <a:lnTo>
                    <a:pt x="1002" y="672"/>
                  </a:lnTo>
                  <a:lnTo>
                    <a:pt x="1002" y="684"/>
                  </a:lnTo>
                  <a:lnTo>
                    <a:pt x="996" y="684"/>
                  </a:lnTo>
                  <a:lnTo>
                    <a:pt x="984" y="690"/>
                  </a:lnTo>
                  <a:lnTo>
                    <a:pt x="972" y="690"/>
                  </a:lnTo>
                  <a:lnTo>
                    <a:pt x="966" y="696"/>
                  </a:lnTo>
                  <a:lnTo>
                    <a:pt x="966" y="702"/>
                  </a:lnTo>
                  <a:lnTo>
                    <a:pt x="966" y="714"/>
                  </a:lnTo>
                  <a:lnTo>
                    <a:pt x="972" y="726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2" y="756"/>
                  </a:lnTo>
                  <a:lnTo>
                    <a:pt x="966" y="756"/>
                  </a:lnTo>
                  <a:lnTo>
                    <a:pt x="942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18" y="768"/>
                  </a:lnTo>
                  <a:lnTo>
                    <a:pt x="906" y="768"/>
                  </a:lnTo>
                  <a:lnTo>
                    <a:pt x="894" y="762"/>
                  </a:lnTo>
                  <a:lnTo>
                    <a:pt x="882" y="756"/>
                  </a:lnTo>
                  <a:lnTo>
                    <a:pt x="876" y="756"/>
                  </a:lnTo>
                  <a:lnTo>
                    <a:pt x="876" y="762"/>
                  </a:lnTo>
                  <a:lnTo>
                    <a:pt x="864" y="768"/>
                  </a:lnTo>
                  <a:lnTo>
                    <a:pt x="858" y="774"/>
                  </a:lnTo>
                  <a:lnTo>
                    <a:pt x="852" y="774"/>
                  </a:lnTo>
                  <a:lnTo>
                    <a:pt x="840" y="780"/>
                  </a:lnTo>
                  <a:lnTo>
                    <a:pt x="840" y="786"/>
                  </a:lnTo>
                  <a:lnTo>
                    <a:pt x="840" y="792"/>
                  </a:lnTo>
                  <a:lnTo>
                    <a:pt x="840" y="804"/>
                  </a:lnTo>
                  <a:lnTo>
                    <a:pt x="840" y="810"/>
                  </a:lnTo>
                  <a:lnTo>
                    <a:pt x="828" y="816"/>
                  </a:lnTo>
                  <a:lnTo>
                    <a:pt x="810" y="810"/>
                  </a:lnTo>
                  <a:lnTo>
                    <a:pt x="792" y="810"/>
                  </a:lnTo>
                  <a:lnTo>
                    <a:pt x="786" y="816"/>
                  </a:lnTo>
                  <a:lnTo>
                    <a:pt x="780" y="816"/>
                  </a:lnTo>
                  <a:lnTo>
                    <a:pt x="780" y="822"/>
                  </a:lnTo>
                  <a:lnTo>
                    <a:pt x="780" y="828"/>
                  </a:lnTo>
                  <a:lnTo>
                    <a:pt x="780" y="834"/>
                  </a:lnTo>
                  <a:lnTo>
                    <a:pt x="786" y="840"/>
                  </a:lnTo>
                  <a:lnTo>
                    <a:pt x="786" y="846"/>
                  </a:lnTo>
                  <a:lnTo>
                    <a:pt x="786" y="852"/>
                  </a:lnTo>
                  <a:lnTo>
                    <a:pt x="780" y="858"/>
                  </a:lnTo>
                  <a:lnTo>
                    <a:pt x="768" y="858"/>
                  </a:lnTo>
                  <a:lnTo>
                    <a:pt x="762" y="864"/>
                  </a:lnTo>
                  <a:lnTo>
                    <a:pt x="756" y="864"/>
                  </a:lnTo>
                  <a:lnTo>
                    <a:pt x="750" y="870"/>
                  </a:lnTo>
                  <a:lnTo>
                    <a:pt x="744" y="876"/>
                  </a:lnTo>
                  <a:lnTo>
                    <a:pt x="732" y="876"/>
                  </a:lnTo>
                  <a:lnTo>
                    <a:pt x="726" y="876"/>
                  </a:lnTo>
                  <a:lnTo>
                    <a:pt x="720" y="870"/>
                  </a:lnTo>
                  <a:lnTo>
                    <a:pt x="714" y="864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6" y="876"/>
                  </a:lnTo>
                  <a:lnTo>
                    <a:pt x="696" y="882"/>
                  </a:lnTo>
                  <a:lnTo>
                    <a:pt x="696" y="894"/>
                  </a:lnTo>
                  <a:lnTo>
                    <a:pt x="690" y="900"/>
                  </a:lnTo>
                  <a:lnTo>
                    <a:pt x="684" y="900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54" y="888"/>
                  </a:lnTo>
                  <a:lnTo>
                    <a:pt x="654" y="882"/>
                  </a:lnTo>
                  <a:lnTo>
                    <a:pt x="642" y="876"/>
                  </a:lnTo>
                  <a:lnTo>
                    <a:pt x="636" y="876"/>
                  </a:lnTo>
                  <a:lnTo>
                    <a:pt x="630" y="876"/>
                  </a:lnTo>
                  <a:lnTo>
                    <a:pt x="630" y="870"/>
                  </a:lnTo>
                  <a:lnTo>
                    <a:pt x="618" y="858"/>
                  </a:lnTo>
                  <a:lnTo>
                    <a:pt x="612" y="858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06" y="876"/>
                  </a:lnTo>
                  <a:lnTo>
                    <a:pt x="606" y="882"/>
                  </a:lnTo>
                  <a:lnTo>
                    <a:pt x="606" y="888"/>
                  </a:lnTo>
                  <a:lnTo>
                    <a:pt x="600" y="894"/>
                  </a:lnTo>
                  <a:lnTo>
                    <a:pt x="594" y="894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76" y="894"/>
                  </a:lnTo>
                  <a:lnTo>
                    <a:pt x="582" y="900"/>
                  </a:lnTo>
                  <a:lnTo>
                    <a:pt x="576" y="906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64" y="918"/>
                  </a:lnTo>
                  <a:lnTo>
                    <a:pt x="558" y="918"/>
                  </a:lnTo>
                  <a:lnTo>
                    <a:pt x="558" y="912"/>
                  </a:lnTo>
                  <a:lnTo>
                    <a:pt x="552" y="906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06"/>
                  </a:lnTo>
                  <a:lnTo>
                    <a:pt x="534" y="906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0" y="924"/>
                  </a:lnTo>
                  <a:lnTo>
                    <a:pt x="504" y="924"/>
                  </a:lnTo>
                  <a:lnTo>
                    <a:pt x="498" y="930"/>
                  </a:lnTo>
                  <a:lnTo>
                    <a:pt x="492" y="924"/>
                  </a:lnTo>
                  <a:lnTo>
                    <a:pt x="486" y="930"/>
                  </a:lnTo>
                  <a:lnTo>
                    <a:pt x="480" y="942"/>
                  </a:lnTo>
                  <a:lnTo>
                    <a:pt x="468" y="948"/>
                  </a:lnTo>
                  <a:lnTo>
                    <a:pt x="444" y="942"/>
                  </a:lnTo>
                  <a:lnTo>
                    <a:pt x="438" y="954"/>
                  </a:lnTo>
                  <a:lnTo>
                    <a:pt x="426" y="954"/>
                  </a:lnTo>
                  <a:lnTo>
                    <a:pt x="420" y="948"/>
                  </a:lnTo>
                  <a:lnTo>
                    <a:pt x="408" y="936"/>
                  </a:lnTo>
                  <a:lnTo>
                    <a:pt x="396" y="936"/>
                  </a:lnTo>
                  <a:lnTo>
                    <a:pt x="390" y="930"/>
                  </a:lnTo>
                  <a:lnTo>
                    <a:pt x="390" y="924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66" y="924"/>
                  </a:lnTo>
                  <a:lnTo>
                    <a:pt x="360" y="924"/>
                  </a:lnTo>
                  <a:lnTo>
                    <a:pt x="348" y="918"/>
                  </a:lnTo>
                  <a:lnTo>
                    <a:pt x="342" y="906"/>
                  </a:lnTo>
                  <a:lnTo>
                    <a:pt x="336" y="906"/>
                  </a:lnTo>
                  <a:lnTo>
                    <a:pt x="330" y="906"/>
                  </a:lnTo>
                  <a:lnTo>
                    <a:pt x="312" y="906"/>
                  </a:lnTo>
                  <a:lnTo>
                    <a:pt x="312" y="900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888"/>
                  </a:lnTo>
                  <a:lnTo>
                    <a:pt x="312" y="882"/>
                  </a:lnTo>
                  <a:lnTo>
                    <a:pt x="306" y="876"/>
                  </a:lnTo>
                  <a:lnTo>
                    <a:pt x="312" y="876"/>
                  </a:lnTo>
                  <a:lnTo>
                    <a:pt x="312" y="870"/>
                  </a:lnTo>
                  <a:lnTo>
                    <a:pt x="318" y="876"/>
                  </a:lnTo>
                  <a:lnTo>
                    <a:pt x="318" y="870"/>
                  </a:lnTo>
                  <a:lnTo>
                    <a:pt x="324" y="876"/>
                  </a:lnTo>
                  <a:lnTo>
                    <a:pt x="330" y="876"/>
                  </a:lnTo>
                  <a:lnTo>
                    <a:pt x="336" y="876"/>
                  </a:lnTo>
                  <a:lnTo>
                    <a:pt x="342" y="876"/>
                  </a:lnTo>
                  <a:lnTo>
                    <a:pt x="336" y="876"/>
                  </a:lnTo>
                  <a:lnTo>
                    <a:pt x="330" y="870"/>
                  </a:lnTo>
                  <a:lnTo>
                    <a:pt x="324" y="870"/>
                  </a:lnTo>
                  <a:lnTo>
                    <a:pt x="318" y="870"/>
                  </a:lnTo>
                  <a:lnTo>
                    <a:pt x="312" y="870"/>
                  </a:lnTo>
                  <a:lnTo>
                    <a:pt x="318" y="864"/>
                  </a:lnTo>
                  <a:lnTo>
                    <a:pt x="318" y="858"/>
                  </a:lnTo>
                  <a:lnTo>
                    <a:pt x="318" y="852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6" y="846"/>
                  </a:lnTo>
                  <a:lnTo>
                    <a:pt x="312" y="828"/>
                  </a:lnTo>
                  <a:lnTo>
                    <a:pt x="312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06" y="816"/>
                  </a:lnTo>
                  <a:lnTo>
                    <a:pt x="306" y="810"/>
                  </a:lnTo>
                  <a:lnTo>
                    <a:pt x="306" y="816"/>
                  </a:lnTo>
                  <a:lnTo>
                    <a:pt x="312" y="822"/>
                  </a:lnTo>
                  <a:lnTo>
                    <a:pt x="306" y="822"/>
                  </a:lnTo>
                  <a:lnTo>
                    <a:pt x="306" y="828"/>
                  </a:lnTo>
                  <a:lnTo>
                    <a:pt x="306" y="834"/>
                  </a:lnTo>
                  <a:lnTo>
                    <a:pt x="300" y="840"/>
                  </a:lnTo>
                  <a:lnTo>
                    <a:pt x="300" y="846"/>
                  </a:lnTo>
                  <a:lnTo>
                    <a:pt x="306" y="852"/>
                  </a:lnTo>
                  <a:lnTo>
                    <a:pt x="306" y="858"/>
                  </a:lnTo>
                  <a:lnTo>
                    <a:pt x="312" y="858"/>
                  </a:lnTo>
                  <a:lnTo>
                    <a:pt x="312" y="864"/>
                  </a:lnTo>
                  <a:lnTo>
                    <a:pt x="306" y="864"/>
                  </a:lnTo>
                  <a:lnTo>
                    <a:pt x="300" y="864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82" y="870"/>
                  </a:lnTo>
                  <a:lnTo>
                    <a:pt x="276" y="870"/>
                  </a:lnTo>
                  <a:lnTo>
                    <a:pt x="270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8" y="870"/>
                  </a:lnTo>
                  <a:lnTo>
                    <a:pt x="252" y="870"/>
                  </a:lnTo>
                  <a:lnTo>
                    <a:pt x="252" y="864"/>
                  </a:lnTo>
                  <a:lnTo>
                    <a:pt x="246" y="858"/>
                  </a:lnTo>
                  <a:lnTo>
                    <a:pt x="246" y="852"/>
                  </a:lnTo>
                  <a:lnTo>
                    <a:pt x="246" y="846"/>
                  </a:lnTo>
                  <a:lnTo>
                    <a:pt x="246" y="840"/>
                  </a:lnTo>
                  <a:lnTo>
                    <a:pt x="246" y="834"/>
                  </a:lnTo>
                  <a:lnTo>
                    <a:pt x="246" y="828"/>
                  </a:lnTo>
                  <a:lnTo>
                    <a:pt x="246" y="822"/>
                  </a:lnTo>
                  <a:lnTo>
                    <a:pt x="240" y="816"/>
                  </a:lnTo>
                  <a:lnTo>
                    <a:pt x="240" y="810"/>
                  </a:lnTo>
                  <a:lnTo>
                    <a:pt x="240" y="804"/>
                  </a:lnTo>
                  <a:lnTo>
                    <a:pt x="240" y="798"/>
                  </a:lnTo>
                  <a:lnTo>
                    <a:pt x="234" y="798"/>
                  </a:lnTo>
                  <a:lnTo>
                    <a:pt x="234" y="792"/>
                  </a:lnTo>
                  <a:lnTo>
                    <a:pt x="234" y="786"/>
                  </a:lnTo>
                  <a:lnTo>
                    <a:pt x="234" y="780"/>
                  </a:lnTo>
                  <a:lnTo>
                    <a:pt x="228" y="780"/>
                  </a:lnTo>
                  <a:lnTo>
                    <a:pt x="228" y="774"/>
                  </a:lnTo>
                  <a:lnTo>
                    <a:pt x="228" y="768"/>
                  </a:lnTo>
                  <a:lnTo>
                    <a:pt x="222" y="762"/>
                  </a:lnTo>
                  <a:lnTo>
                    <a:pt x="222" y="756"/>
                  </a:lnTo>
                  <a:lnTo>
                    <a:pt x="222" y="750"/>
                  </a:lnTo>
                  <a:lnTo>
                    <a:pt x="222" y="744"/>
                  </a:lnTo>
                  <a:lnTo>
                    <a:pt x="222" y="738"/>
                  </a:lnTo>
                  <a:lnTo>
                    <a:pt x="216" y="732"/>
                  </a:lnTo>
                  <a:lnTo>
                    <a:pt x="222" y="732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32"/>
                  </a:lnTo>
                  <a:lnTo>
                    <a:pt x="246" y="732"/>
                  </a:lnTo>
                  <a:lnTo>
                    <a:pt x="246" y="738"/>
                  </a:lnTo>
                  <a:lnTo>
                    <a:pt x="252" y="738"/>
                  </a:lnTo>
                  <a:lnTo>
                    <a:pt x="258" y="738"/>
                  </a:lnTo>
                  <a:lnTo>
                    <a:pt x="258" y="732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8" y="732"/>
                  </a:lnTo>
                  <a:lnTo>
                    <a:pt x="294" y="732"/>
                  </a:lnTo>
                  <a:lnTo>
                    <a:pt x="300" y="732"/>
                  </a:lnTo>
                  <a:lnTo>
                    <a:pt x="300" y="738"/>
                  </a:lnTo>
                  <a:lnTo>
                    <a:pt x="306" y="738"/>
                  </a:lnTo>
                  <a:lnTo>
                    <a:pt x="306" y="744"/>
                  </a:lnTo>
                  <a:lnTo>
                    <a:pt x="306" y="750"/>
                  </a:lnTo>
                  <a:lnTo>
                    <a:pt x="312" y="750"/>
                  </a:lnTo>
                  <a:lnTo>
                    <a:pt x="312" y="756"/>
                  </a:lnTo>
                  <a:lnTo>
                    <a:pt x="318" y="756"/>
                  </a:lnTo>
                  <a:lnTo>
                    <a:pt x="318" y="750"/>
                  </a:lnTo>
                  <a:lnTo>
                    <a:pt x="312" y="750"/>
                  </a:lnTo>
                  <a:lnTo>
                    <a:pt x="312" y="744"/>
                  </a:lnTo>
                  <a:lnTo>
                    <a:pt x="318" y="738"/>
                  </a:lnTo>
                  <a:lnTo>
                    <a:pt x="324" y="738"/>
                  </a:lnTo>
                  <a:lnTo>
                    <a:pt x="330" y="738"/>
                  </a:lnTo>
                  <a:lnTo>
                    <a:pt x="336" y="738"/>
                  </a:lnTo>
                  <a:lnTo>
                    <a:pt x="342" y="738"/>
                  </a:lnTo>
                  <a:lnTo>
                    <a:pt x="348" y="732"/>
                  </a:lnTo>
                  <a:lnTo>
                    <a:pt x="354" y="732"/>
                  </a:lnTo>
                  <a:lnTo>
                    <a:pt x="360" y="732"/>
                  </a:lnTo>
                  <a:lnTo>
                    <a:pt x="360" y="726"/>
                  </a:lnTo>
                  <a:lnTo>
                    <a:pt x="366" y="726"/>
                  </a:lnTo>
                  <a:lnTo>
                    <a:pt x="366" y="720"/>
                  </a:lnTo>
                  <a:lnTo>
                    <a:pt x="366" y="714"/>
                  </a:lnTo>
                  <a:lnTo>
                    <a:pt x="360" y="708"/>
                  </a:lnTo>
                  <a:lnTo>
                    <a:pt x="354" y="708"/>
                  </a:lnTo>
                  <a:lnTo>
                    <a:pt x="348" y="702"/>
                  </a:lnTo>
                  <a:lnTo>
                    <a:pt x="354" y="702"/>
                  </a:lnTo>
                  <a:lnTo>
                    <a:pt x="354" y="696"/>
                  </a:lnTo>
                  <a:lnTo>
                    <a:pt x="348" y="696"/>
                  </a:lnTo>
                  <a:lnTo>
                    <a:pt x="348" y="690"/>
                  </a:lnTo>
                  <a:lnTo>
                    <a:pt x="342" y="690"/>
                  </a:lnTo>
                  <a:lnTo>
                    <a:pt x="342" y="684"/>
                  </a:lnTo>
                  <a:lnTo>
                    <a:pt x="342" y="678"/>
                  </a:lnTo>
                  <a:lnTo>
                    <a:pt x="342" y="666"/>
                  </a:lnTo>
                  <a:lnTo>
                    <a:pt x="342" y="660"/>
                  </a:lnTo>
                  <a:lnTo>
                    <a:pt x="348" y="654"/>
                  </a:lnTo>
                  <a:lnTo>
                    <a:pt x="348" y="642"/>
                  </a:lnTo>
                  <a:lnTo>
                    <a:pt x="354" y="642"/>
                  </a:lnTo>
                  <a:lnTo>
                    <a:pt x="360" y="642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66" y="642"/>
                  </a:lnTo>
                  <a:lnTo>
                    <a:pt x="372" y="642"/>
                  </a:lnTo>
                  <a:lnTo>
                    <a:pt x="378" y="642"/>
                  </a:lnTo>
                  <a:lnTo>
                    <a:pt x="384" y="642"/>
                  </a:lnTo>
                  <a:lnTo>
                    <a:pt x="390" y="642"/>
                  </a:lnTo>
                  <a:lnTo>
                    <a:pt x="396" y="642"/>
                  </a:lnTo>
                  <a:lnTo>
                    <a:pt x="396" y="636"/>
                  </a:lnTo>
                  <a:lnTo>
                    <a:pt x="402" y="636"/>
                  </a:lnTo>
                  <a:lnTo>
                    <a:pt x="408" y="636"/>
                  </a:lnTo>
                  <a:lnTo>
                    <a:pt x="402" y="636"/>
                  </a:lnTo>
                  <a:lnTo>
                    <a:pt x="402" y="630"/>
                  </a:lnTo>
                  <a:lnTo>
                    <a:pt x="408" y="630"/>
                  </a:lnTo>
                  <a:lnTo>
                    <a:pt x="408" y="624"/>
                  </a:lnTo>
                  <a:lnTo>
                    <a:pt x="408" y="618"/>
                  </a:lnTo>
                  <a:lnTo>
                    <a:pt x="414" y="618"/>
                  </a:lnTo>
                  <a:lnTo>
                    <a:pt x="420" y="618"/>
                  </a:lnTo>
                  <a:lnTo>
                    <a:pt x="426" y="624"/>
                  </a:lnTo>
                  <a:lnTo>
                    <a:pt x="432" y="624"/>
                  </a:lnTo>
                  <a:lnTo>
                    <a:pt x="438" y="624"/>
                  </a:lnTo>
                  <a:lnTo>
                    <a:pt x="438" y="618"/>
                  </a:lnTo>
                  <a:lnTo>
                    <a:pt x="444" y="618"/>
                  </a:lnTo>
                  <a:lnTo>
                    <a:pt x="450" y="618"/>
                  </a:lnTo>
                  <a:lnTo>
                    <a:pt x="444" y="618"/>
                  </a:lnTo>
                  <a:lnTo>
                    <a:pt x="438" y="618"/>
                  </a:lnTo>
                  <a:lnTo>
                    <a:pt x="438" y="612"/>
                  </a:lnTo>
                  <a:lnTo>
                    <a:pt x="438" y="618"/>
                  </a:lnTo>
                  <a:lnTo>
                    <a:pt x="432" y="624"/>
                  </a:lnTo>
                  <a:lnTo>
                    <a:pt x="426" y="618"/>
                  </a:lnTo>
                  <a:lnTo>
                    <a:pt x="420" y="612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402" y="624"/>
                  </a:lnTo>
                  <a:lnTo>
                    <a:pt x="396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78" y="630"/>
                  </a:lnTo>
                  <a:lnTo>
                    <a:pt x="378" y="636"/>
                  </a:lnTo>
                  <a:lnTo>
                    <a:pt x="372" y="630"/>
                  </a:lnTo>
                  <a:lnTo>
                    <a:pt x="366" y="630"/>
                  </a:lnTo>
                  <a:lnTo>
                    <a:pt x="360" y="630"/>
                  </a:lnTo>
                  <a:lnTo>
                    <a:pt x="354" y="630"/>
                  </a:lnTo>
                  <a:lnTo>
                    <a:pt x="354" y="636"/>
                  </a:lnTo>
                  <a:lnTo>
                    <a:pt x="348" y="636"/>
                  </a:lnTo>
                  <a:lnTo>
                    <a:pt x="348" y="642"/>
                  </a:lnTo>
                  <a:lnTo>
                    <a:pt x="342" y="642"/>
                  </a:lnTo>
                  <a:lnTo>
                    <a:pt x="342" y="648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6" y="660"/>
                  </a:lnTo>
                  <a:lnTo>
                    <a:pt x="336" y="666"/>
                  </a:lnTo>
                  <a:lnTo>
                    <a:pt x="330" y="672"/>
                  </a:lnTo>
                  <a:lnTo>
                    <a:pt x="330" y="678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24" y="696"/>
                  </a:lnTo>
                  <a:lnTo>
                    <a:pt x="324" y="702"/>
                  </a:lnTo>
                  <a:lnTo>
                    <a:pt x="318" y="702"/>
                  </a:lnTo>
                  <a:lnTo>
                    <a:pt x="318" y="708"/>
                  </a:lnTo>
                  <a:lnTo>
                    <a:pt x="312" y="708"/>
                  </a:lnTo>
                  <a:lnTo>
                    <a:pt x="312" y="702"/>
                  </a:lnTo>
                  <a:lnTo>
                    <a:pt x="306" y="702"/>
                  </a:lnTo>
                  <a:lnTo>
                    <a:pt x="300" y="702"/>
                  </a:lnTo>
                  <a:lnTo>
                    <a:pt x="294" y="696"/>
                  </a:lnTo>
                  <a:lnTo>
                    <a:pt x="288" y="696"/>
                  </a:lnTo>
                  <a:lnTo>
                    <a:pt x="282" y="690"/>
                  </a:lnTo>
                  <a:lnTo>
                    <a:pt x="288" y="684"/>
                  </a:lnTo>
                  <a:lnTo>
                    <a:pt x="294" y="684"/>
                  </a:lnTo>
                  <a:lnTo>
                    <a:pt x="294" y="678"/>
                  </a:lnTo>
                  <a:lnTo>
                    <a:pt x="300" y="678"/>
                  </a:lnTo>
                  <a:lnTo>
                    <a:pt x="294" y="678"/>
                  </a:lnTo>
                  <a:lnTo>
                    <a:pt x="294" y="672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94" y="672"/>
                  </a:lnTo>
                  <a:lnTo>
                    <a:pt x="288" y="678"/>
                  </a:lnTo>
                  <a:lnTo>
                    <a:pt x="282" y="684"/>
                  </a:lnTo>
                  <a:lnTo>
                    <a:pt x="282" y="678"/>
                  </a:lnTo>
                  <a:lnTo>
                    <a:pt x="276" y="678"/>
                  </a:lnTo>
                  <a:lnTo>
                    <a:pt x="282" y="684"/>
                  </a:lnTo>
                  <a:lnTo>
                    <a:pt x="282" y="690"/>
                  </a:lnTo>
                  <a:lnTo>
                    <a:pt x="282" y="696"/>
                  </a:lnTo>
                  <a:lnTo>
                    <a:pt x="288" y="702"/>
                  </a:lnTo>
                  <a:lnTo>
                    <a:pt x="294" y="708"/>
                  </a:lnTo>
                  <a:lnTo>
                    <a:pt x="294" y="714"/>
                  </a:lnTo>
                  <a:lnTo>
                    <a:pt x="288" y="714"/>
                  </a:lnTo>
                  <a:lnTo>
                    <a:pt x="282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64" y="714"/>
                  </a:lnTo>
                  <a:lnTo>
                    <a:pt x="258" y="714"/>
                  </a:lnTo>
                  <a:lnTo>
                    <a:pt x="252" y="714"/>
                  </a:lnTo>
                  <a:lnTo>
                    <a:pt x="246" y="714"/>
                  </a:lnTo>
                  <a:lnTo>
                    <a:pt x="240" y="714"/>
                  </a:lnTo>
                  <a:lnTo>
                    <a:pt x="240" y="708"/>
                  </a:lnTo>
                  <a:lnTo>
                    <a:pt x="234" y="708"/>
                  </a:lnTo>
                  <a:lnTo>
                    <a:pt x="228" y="708"/>
                  </a:lnTo>
                  <a:lnTo>
                    <a:pt x="222" y="702"/>
                  </a:lnTo>
                  <a:lnTo>
                    <a:pt x="216" y="702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2" y="690"/>
                  </a:lnTo>
                  <a:lnTo>
                    <a:pt x="186" y="690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68" y="684"/>
                  </a:lnTo>
                  <a:lnTo>
                    <a:pt x="168" y="678"/>
                  </a:lnTo>
                  <a:lnTo>
                    <a:pt x="156" y="672"/>
                  </a:lnTo>
                  <a:lnTo>
                    <a:pt x="150" y="660"/>
                  </a:lnTo>
                  <a:lnTo>
                    <a:pt x="126" y="630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12"/>
                  </a:lnTo>
                  <a:lnTo>
                    <a:pt x="126" y="606"/>
                  </a:lnTo>
                  <a:lnTo>
                    <a:pt x="126" y="600"/>
                  </a:lnTo>
                  <a:lnTo>
                    <a:pt x="132" y="594"/>
                  </a:lnTo>
                  <a:lnTo>
                    <a:pt x="138" y="594"/>
                  </a:lnTo>
                  <a:lnTo>
                    <a:pt x="144" y="588"/>
                  </a:lnTo>
                  <a:lnTo>
                    <a:pt x="144" y="582"/>
                  </a:lnTo>
                  <a:lnTo>
                    <a:pt x="150" y="582"/>
                  </a:lnTo>
                  <a:lnTo>
                    <a:pt x="150" y="576"/>
                  </a:lnTo>
                  <a:lnTo>
                    <a:pt x="156" y="576"/>
                  </a:lnTo>
                  <a:lnTo>
                    <a:pt x="156" y="582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8" y="576"/>
                  </a:lnTo>
                  <a:lnTo>
                    <a:pt x="174" y="576"/>
                  </a:lnTo>
                  <a:lnTo>
                    <a:pt x="180" y="582"/>
                  </a:lnTo>
                  <a:lnTo>
                    <a:pt x="192" y="582"/>
                  </a:lnTo>
                  <a:lnTo>
                    <a:pt x="198" y="582"/>
                  </a:lnTo>
                  <a:lnTo>
                    <a:pt x="204" y="582"/>
                  </a:lnTo>
                  <a:lnTo>
                    <a:pt x="210" y="582"/>
                  </a:lnTo>
                  <a:lnTo>
                    <a:pt x="216" y="588"/>
                  </a:lnTo>
                  <a:lnTo>
                    <a:pt x="222" y="588"/>
                  </a:lnTo>
                  <a:lnTo>
                    <a:pt x="234" y="588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46" y="594"/>
                  </a:lnTo>
                  <a:lnTo>
                    <a:pt x="252" y="588"/>
                  </a:lnTo>
                  <a:lnTo>
                    <a:pt x="258" y="588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52" y="600"/>
                  </a:lnTo>
                  <a:lnTo>
                    <a:pt x="246" y="600"/>
                  </a:lnTo>
                  <a:lnTo>
                    <a:pt x="246" y="606"/>
                  </a:lnTo>
                  <a:lnTo>
                    <a:pt x="246" y="600"/>
                  </a:lnTo>
                  <a:lnTo>
                    <a:pt x="252" y="600"/>
                  </a:lnTo>
                  <a:lnTo>
                    <a:pt x="258" y="594"/>
                  </a:lnTo>
                  <a:lnTo>
                    <a:pt x="264" y="594"/>
                  </a:lnTo>
                  <a:lnTo>
                    <a:pt x="264" y="588"/>
                  </a:lnTo>
                  <a:lnTo>
                    <a:pt x="270" y="588"/>
                  </a:lnTo>
                  <a:lnTo>
                    <a:pt x="270" y="582"/>
                  </a:lnTo>
                  <a:lnTo>
                    <a:pt x="270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76" y="564"/>
                  </a:lnTo>
                  <a:lnTo>
                    <a:pt x="270" y="558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58"/>
                  </a:lnTo>
                  <a:lnTo>
                    <a:pt x="282" y="558"/>
                  </a:lnTo>
                  <a:lnTo>
                    <a:pt x="288" y="558"/>
                  </a:lnTo>
                  <a:lnTo>
                    <a:pt x="294" y="558"/>
                  </a:lnTo>
                  <a:lnTo>
                    <a:pt x="300" y="558"/>
                  </a:lnTo>
                  <a:lnTo>
                    <a:pt x="306" y="558"/>
                  </a:lnTo>
                  <a:lnTo>
                    <a:pt x="312" y="558"/>
                  </a:lnTo>
                  <a:lnTo>
                    <a:pt x="318" y="558"/>
                  </a:lnTo>
                  <a:lnTo>
                    <a:pt x="318" y="564"/>
                  </a:lnTo>
                  <a:lnTo>
                    <a:pt x="324" y="564"/>
                  </a:lnTo>
                  <a:lnTo>
                    <a:pt x="324" y="570"/>
                  </a:lnTo>
                  <a:lnTo>
                    <a:pt x="330" y="570"/>
                  </a:lnTo>
                  <a:lnTo>
                    <a:pt x="336" y="570"/>
                  </a:lnTo>
                  <a:lnTo>
                    <a:pt x="342" y="570"/>
                  </a:lnTo>
                  <a:lnTo>
                    <a:pt x="348" y="570"/>
                  </a:lnTo>
                  <a:lnTo>
                    <a:pt x="354" y="570"/>
                  </a:lnTo>
                  <a:lnTo>
                    <a:pt x="360" y="570"/>
                  </a:lnTo>
                  <a:lnTo>
                    <a:pt x="366" y="570"/>
                  </a:lnTo>
                  <a:lnTo>
                    <a:pt x="360" y="570"/>
                  </a:lnTo>
                  <a:lnTo>
                    <a:pt x="360" y="564"/>
                  </a:lnTo>
                  <a:lnTo>
                    <a:pt x="354" y="564"/>
                  </a:lnTo>
                  <a:lnTo>
                    <a:pt x="348" y="564"/>
                  </a:lnTo>
                  <a:lnTo>
                    <a:pt x="342" y="564"/>
                  </a:lnTo>
                  <a:lnTo>
                    <a:pt x="342" y="570"/>
                  </a:lnTo>
                  <a:lnTo>
                    <a:pt x="336" y="564"/>
                  </a:lnTo>
                  <a:lnTo>
                    <a:pt x="336" y="570"/>
                  </a:lnTo>
                  <a:lnTo>
                    <a:pt x="336" y="564"/>
                  </a:lnTo>
                  <a:lnTo>
                    <a:pt x="330" y="564"/>
                  </a:lnTo>
                  <a:lnTo>
                    <a:pt x="324" y="558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18" y="558"/>
                  </a:lnTo>
                  <a:lnTo>
                    <a:pt x="312" y="552"/>
                  </a:lnTo>
                  <a:lnTo>
                    <a:pt x="312" y="558"/>
                  </a:lnTo>
                  <a:lnTo>
                    <a:pt x="312" y="552"/>
                  </a:lnTo>
                  <a:lnTo>
                    <a:pt x="306" y="552"/>
                  </a:lnTo>
                  <a:lnTo>
                    <a:pt x="300" y="546"/>
                  </a:lnTo>
                  <a:lnTo>
                    <a:pt x="294" y="546"/>
                  </a:lnTo>
                  <a:lnTo>
                    <a:pt x="288" y="546"/>
                  </a:lnTo>
                  <a:lnTo>
                    <a:pt x="282" y="546"/>
                  </a:lnTo>
                  <a:lnTo>
                    <a:pt x="276" y="546"/>
                  </a:lnTo>
                  <a:lnTo>
                    <a:pt x="276" y="552"/>
                  </a:lnTo>
                  <a:lnTo>
                    <a:pt x="270" y="552"/>
                  </a:lnTo>
                  <a:lnTo>
                    <a:pt x="270" y="558"/>
                  </a:lnTo>
                  <a:lnTo>
                    <a:pt x="270" y="564"/>
                  </a:lnTo>
                  <a:lnTo>
                    <a:pt x="264" y="570"/>
                  </a:lnTo>
                  <a:lnTo>
                    <a:pt x="258" y="576"/>
                  </a:lnTo>
                  <a:lnTo>
                    <a:pt x="258" y="582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34" y="576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16" y="552"/>
                  </a:lnTo>
                  <a:lnTo>
                    <a:pt x="216" y="546"/>
                  </a:lnTo>
                  <a:lnTo>
                    <a:pt x="216" y="540"/>
                  </a:lnTo>
                  <a:lnTo>
                    <a:pt x="222" y="534"/>
                  </a:lnTo>
                  <a:lnTo>
                    <a:pt x="222" y="528"/>
                  </a:lnTo>
                  <a:lnTo>
                    <a:pt x="228" y="522"/>
                  </a:lnTo>
                  <a:lnTo>
                    <a:pt x="228" y="516"/>
                  </a:lnTo>
                  <a:lnTo>
                    <a:pt x="228" y="510"/>
                  </a:lnTo>
                  <a:lnTo>
                    <a:pt x="234" y="510"/>
                  </a:lnTo>
                  <a:lnTo>
                    <a:pt x="240" y="516"/>
                  </a:lnTo>
                  <a:lnTo>
                    <a:pt x="246" y="522"/>
                  </a:lnTo>
                  <a:lnTo>
                    <a:pt x="246" y="516"/>
                  </a:lnTo>
                  <a:lnTo>
                    <a:pt x="240" y="516"/>
                  </a:lnTo>
                  <a:lnTo>
                    <a:pt x="240" y="510"/>
                  </a:lnTo>
                  <a:lnTo>
                    <a:pt x="234" y="510"/>
                  </a:lnTo>
                  <a:lnTo>
                    <a:pt x="234" y="504"/>
                  </a:lnTo>
                  <a:lnTo>
                    <a:pt x="228" y="504"/>
                  </a:lnTo>
                  <a:lnTo>
                    <a:pt x="222" y="504"/>
                  </a:lnTo>
                  <a:lnTo>
                    <a:pt x="222" y="498"/>
                  </a:lnTo>
                  <a:lnTo>
                    <a:pt x="222" y="504"/>
                  </a:lnTo>
                  <a:lnTo>
                    <a:pt x="222" y="510"/>
                  </a:lnTo>
                  <a:lnTo>
                    <a:pt x="222" y="516"/>
                  </a:lnTo>
                  <a:lnTo>
                    <a:pt x="216" y="522"/>
                  </a:lnTo>
                  <a:lnTo>
                    <a:pt x="216" y="528"/>
                  </a:lnTo>
                  <a:lnTo>
                    <a:pt x="210" y="528"/>
                  </a:lnTo>
                  <a:lnTo>
                    <a:pt x="216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04" y="546"/>
                  </a:lnTo>
                  <a:lnTo>
                    <a:pt x="204" y="552"/>
                  </a:lnTo>
                  <a:lnTo>
                    <a:pt x="204" y="558"/>
                  </a:lnTo>
                  <a:lnTo>
                    <a:pt x="204" y="564"/>
                  </a:lnTo>
                  <a:lnTo>
                    <a:pt x="198" y="570"/>
                  </a:lnTo>
                  <a:lnTo>
                    <a:pt x="192" y="564"/>
                  </a:lnTo>
                  <a:lnTo>
                    <a:pt x="186" y="564"/>
                  </a:lnTo>
                  <a:lnTo>
                    <a:pt x="180" y="564"/>
                  </a:lnTo>
                  <a:lnTo>
                    <a:pt x="174" y="564"/>
                  </a:lnTo>
                  <a:lnTo>
                    <a:pt x="168" y="564"/>
                  </a:lnTo>
                  <a:lnTo>
                    <a:pt x="162" y="564"/>
                  </a:lnTo>
                  <a:lnTo>
                    <a:pt x="156" y="570"/>
                  </a:lnTo>
                  <a:lnTo>
                    <a:pt x="150" y="570"/>
                  </a:lnTo>
                  <a:lnTo>
                    <a:pt x="150" y="564"/>
                  </a:lnTo>
                  <a:lnTo>
                    <a:pt x="150" y="570"/>
                  </a:lnTo>
                  <a:lnTo>
                    <a:pt x="150" y="576"/>
                  </a:lnTo>
                  <a:lnTo>
                    <a:pt x="144" y="576"/>
                  </a:lnTo>
                  <a:lnTo>
                    <a:pt x="138" y="576"/>
                  </a:lnTo>
                  <a:lnTo>
                    <a:pt x="132" y="582"/>
                  </a:lnTo>
                  <a:lnTo>
                    <a:pt x="126" y="582"/>
                  </a:lnTo>
                  <a:lnTo>
                    <a:pt x="120" y="582"/>
                  </a:lnTo>
                  <a:lnTo>
                    <a:pt x="114" y="576"/>
                  </a:lnTo>
                  <a:lnTo>
                    <a:pt x="108" y="564"/>
                  </a:lnTo>
                  <a:lnTo>
                    <a:pt x="102" y="558"/>
                  </a:lnTo>
                  <a:lnTo>
                    <a:pt x="96" y="552"/>
                  </a:lnTo>
                  <a:lnTo>
                    <a:pt x="90" y="546"/>
                  </a:lnTo>
                  <a:lnTo>
                    <a:pt x="90" y="540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2"/>
                  </a:lnTo>
                  <a:lnTo>
                    <a:pt x="78" y="516"/>
                  </a:lnTo>
                  <a:lnTo>
                    <a:pt x="72" y="510"/>
                  </a:lnTo>
                  <a:lnTo>
                    <a:pt x="66" y="504"/>
                  </a:lnTo>
                  <a:lnTo>
                    <a:pt x="66" y="498"/>
                  </a:lnTo>
                  <a:lnTo>
                    <a:pt x="66" y="492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6" y="474"/>
                  </a:lnTo>
                  <a:lnTo>
                    <a:pt x="72" y="474"/>
                  </a:lnTo>
                  <a:lnTo>
                    <a:pt x="72" y="468"/>
                  </a:lnTo>
                  <a:lnTo>
                    <a:pt x="78" y="462"/>
                  </a:lnTo>
                  <a:lnTo>
                    <a:pt x="78" y="456"/>
                  </a:lnTo>
                  <a:lnTo>
                    <a:pt x="84" y="456"/>
                  </a:lnTo>
                  <a:lnTo>
                    <a:pt x="84" y="450"/>
                  </a:lnTo>
                  <a:lnTo>
                    <a:pt x="84" y="444"/>
                  </a:lnTo>
                  <a:lnTo>
                    <a:pt x="90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02" y="450"/>
                  </a:lnTo>
                  <a:lnTo>
                    <a:pt x="108" y="450"/>
                  </a:lnTo>
                  <a:lnTo>
                    <a:pt x="108" y="456"/>
                  </a:lnTo>
                  <a:lnTo>
                    <a:pt x="108" y="462"/>
                  </a:lnTo>
                  <a:lnTo>
                    <a:pt x="114" y="462"/>
                  </a:lnTo>
                  <a:lnTo>
                    <a:pt x="114" y="468"/>
                  </a:lnTo>
                  <a:lnTo>
                    <a:pt x="114" y="474"/>
                  </a:lnTo>
                  <a:lnTo>
                    <a:pt x="114" y="480"/>
                  </a:lnTo>
                  <a:lnTo>
                    <a:pt x="114" y="486"/>
                  </a:lnTo>
                  <a:lnTo>
                    <a:pt x="120" y="486"/>
                  </a:lnTo>
                  <a:lnTo>
                    <a:pt x="126" y="486"/>
                  </a:lnTo>
                  <a:lnTo>
                    <a:pt x="132" y="486"/>
                  </a:lnTo>
                  <a:lnTo>
                    <a:pt x="126" y="480"/>
                  </a:lnTo>
                  <a:lnTo>
                    <a:pt x="120" y="480"/>
                  </a:lnTo>
                  <a:lnTo>
                    <a:pt x="114" y="480"/>
                  </a:lnTo>
                  <a:lnTo>
                    <a:pt x="120" y="480"/>
                  </a:lnTo>
                  <a:lnTo>
                    <a:pt x="120" y="474"/>
                  </a:lnTo>
                  <a:lnTo>
                    <a:pt x="120" y="468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108" y="450"/>
                  </a:lnTo>
                  <a:lnTo>
                    <a:pt x="108" y="444"/>
                  </a:lnTo>
                  <a:lnTo>
                    <a:pt x="114" y="438"/>
                  </a:lnTo>
                  <a:lnTo>
                    <a:pt x="120" y="438"/>
                  </a:lnTo>
                  <a:lnTo>
                    <a:pt x="120" y="432"/>
                  </a:lnTo>
                  <a:lnTo>
                    <a:pt x="132" y="426"/>
                  </a:lnTo>
                  <a:lnTo>
                    <a:pt x="138" y="420"/>
                  </a:lnTo>
                  <a:lnTo>
                    <a:pt x="144" y="420"/>
                  </a:lnTo>
                  <a:lnTo>
                    <a:pt x="144" y="414"/>
                  </a:lnTo>
                  <a:lnTo>
                    <a:pt x="144" y="420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6" y="414"/>
                  </a:lnTo>
                  <a:lnTo>
                    <a:pt x="162" y="414"/>
                  </a:lnTo>
                  <a:lnTo>
                    <a:pt x="162" y="408"/>
                  </a:lnTo>
                  <a:lnTo>
                    <a:pt x="168" y="408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86" y="396"/>
                  </a:lnTo>
                  <a:lnTo>
                    <a:pt x="186" y="390"/>
                  </a:lnTo>
                  <a:lnTo>
                    <a:pt x="192" y="390"/>
                  </a:lnTo>
                  <a:lnTo>
                    <a:pt x="198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210" y="378"/>
                  </a:lnTo>
                  <a:lnTo>
                    <a:pt x="210" y="372"/>
                  </a:lnTo>
                  <a:lnTo>
                    <a:pt x="216" y="372"/>
                  </a:lnTo>
                  <a:lnTo>
                    <a:pt x="222" y="366"/>
                  </a:lnTo>
                  <a:lnTo>
                    <a:pt x="228" y="360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6" y="348"/>
                  </a:lnTo>
                  <a:lnTo>
                    <a:pt x="252" y="348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0" y="342"/>
                  </a:lnTo>
                  <a:lnTo>
                    <a:pt x="234" y="342"/>
                  </a:lnTo>
                  <a:lnTo>
                    <a:pt x="228" y="336"/>
                  </a:lnTo>
                  <a:lnTo>
                    <a:pt x="222" y="336"/>
                  </a:lnTo>
                  <a:lnTo>
                    <a:pt x="216" y="336"/>
                  </a:lnTo>
                  <a:lnTo>
                    <a:pt x="222" y="324"/>
                  </a:lnTo>
                  <a:lnTo>
                    <a:pt x="222" y="318"/>
                  </a:lnTo>
                  <a:lnTo>
                    <a:pt x="222" y="312"/>
                  </a:lnTo>
                  <a:lnTo>
                    <a:pt x="234" y="318"/>
                  </a:lnTo>
                  <a:lnTo>
                    <a:pt x="246" y="318"/>
                  </a:lnTo>
                  <a:lnTo>
                    <a:pt x="258" y="318"/>
                  </a:lnTo>
                  <a:lnTo>
                    <a:pt x="270" y="312"/>
                  </a:lnTo>
                  <a:lnTo>
                    <a:pt x="276" y="312"/>
                  </a:lnTo>
                  <a:lnTo>
                    <a:pt x="288" y="324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94" y="306"/>
                  </a:lnTo>
                  <a:lnTo>
                    <a:pt x="300" y="300"/>
                  </a:lnTo>
                  <a:lnTo>
                    <a:pt x="306" y="306"/>
                  </a:lnTo>
                  <a:lnTo>
                    <a:pt x="312" y="318"/>
                  </a:lnTo>
                  <a:lnTo>
                    <a:pt x="318" y="312"/>
                  </a:lnTo>
                  <a:lnTo>
                    <a:pt x="324" y="312"/>
                  </a:lnTo>
                  <a:lnTo>
                    <a:pt x="330" y="312"/>
                  </a:lnTo>
                  <a:lnTo>
                    <a:pt x="342" y="306"/>
                  </a:lnTo>
                  <a:lnTo>
                    <a:pt x="348" y="306"/>
                  </a:lnTo>
                  <a:lnTo>
                    <a:pt x="348" y="312"/>
                  </a:lnTo>
                  <a:lnTo>
                    <a:pt x="348" y="318"/>
                  </a:lnTo>
                  <a:lnTo>
                    <a:pt x="354" y="318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60" y="336"/>
                  </a:lnTo>
                  <a:lnTo>
                    <a:pt x="366" y="330"/>
                  </a:lnTo>
                  <a:lnTo>
                    <a:pt x="378" y="324"/>
                  </a:lnTo>
                  <a:lnTo>
                    <a:pt x="384" y="324"/>
                  </a:lnTo>
                  <a:lnTo>
                    <a:pt x="384" y="318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6"/>
                  </a:lnTo>
                  <a:lnTo>
                    <a:pt x="402" y="306"/>
                  </a:lnTo>
                  <a:lnTo>
                    <a:pt x="408" y="306"/>
                  </a:lnTo>
                  <a:lnTo>
                    <a:pt x="414" y="300"/>
                  </a:lnTo>
                  <a:lnTo>
                    <a:pt x="420" y="300"/>
                  </a:lnTo>
                  <a:lnTo>
                    <a:pt x="426" y="300"/>
                  </a:lnTo>
                  <a:lnTo>
                    <a:pt x="432" y="300"/>
                  </a:lnTo>
                  <a:lnTo>
                    <a:pt x="444" y="288"/>
                  </a:lnTo>
                  <a:lnTo>
                    <a:pt x="450" y="294"/>
                  </a:lnTo>
                  <a:lnTo>
                    <a:pt x="468" y="300"/>
                  </a:lnTo>
                  <a:lnTo>
                    <a:pt x="498" y="312"/>
                  </a:lnTo>
                  <a:lnTo>
                    <a:pt x="504" y="324"/>
                  </a:lnTo>
                  <a:lnTo>
                    <a:pt x="516" y="330"/>
                  </a:lnTo>
                  <a:lnTo>
                    <a:pt x="516" y="336"/>
                  </a:lnTo>
                  <a:lnTo>
                    <a:pt x="540" y="342"/>
                  </a:lnTo>
                  <a:lnTo>
                    <a:pt x="558" y="372"/>
                  </a:lnTo>
                  <a:lnTo>
                    <a:pt x="594" y="384"/>
                  </a:lnTo>
                  <a:lnTo>
                    <a:pt x="606" y="402"/>
                  </a:lnTo>
                  <a:lnTo>
                    <a:pt x="600" y="420"/>
                  </a:lnTo>
                  <a:lnTo>
                    <a:pt x="588" y="444"/>
                  </a:lnTo>
                  <a:lnTo>
                    <a:pt x="588" y="450"/>
                  </a:lnTo>
                  <a:lnTo>
                    <a:pt x="588" y="456"/>
                  </a:lnTo>
                  <a:lnTo>
                    <a:pt x="594" y="456"/>
                  </a:lnTo>
                  <a:lnTo>
                    <a:pt x="594" y="462"/>
                  </a:lnTo>
                  <a:lnTo>
                    <a:pt x="594" y="468"/>
                  </a:lnTo>
                  <a:lnTo>
                    <a:pt x="594" y="474"/>
                  </a:lnTo>
                  <a:lnTo>
                    <a:pt x="600" y="474"/>
                  </a:lnTo>
                  <a:lnTo>
                    <a:pt x="606" y="480"/>
                  </a:lnTo>
                  <a:lnTo>
                    <a:pt x="606" y="486"/>
                  </a:lnTo>
                  <a:lnTo>
                    <a:pt x="612" y="486"/>
                  </a:lnTo>
                  <a:lnTo>
                    <a:pt x="618" y="486"/>
                  </a:lnTo>
                  <a:lnTo>
                    <a:pt x="624" y="486"/>
                  </a:lnTo>
                  <a:lnTo>
                    <a:pt x="636" y="486"/>
                  </a:lnTo>
                  <a:lnTo>
                    <a:pt x="642" y="486"/>
                  </a:lnTo>
                  <a:lnTo>
                    <a:pt x="648" y="480"/>
                  </a:lnTo>
                  <a:lnTo>
                    <a:pt x="654" y="474"/>
                  </a:lnTo>
                  <a:lnTo>
                    <a:pt x="660" y="468"/>
                  </a:lnTo>
                  <a:lnTo>
                    <a:pt x="666" y="468"/>
                  </a:lnTo>
                  <a:lnTo>
                    <a:pt x="684" y="468"/>
                  </a:lnTo>
                  <a:lnTo>
                    <a:pt x="696" y="468"/>
                  </a:lnTo>
                  <a:lnTo>
                    <a:pt x="696" y="462"/>
                  </a:lnTo>
                  <a:lnTo>
                    <a:pt x="702" y="456"/>
                  </a:lnTo>
                  <a:lnTo>
                    <a:pt x="708" y="450"/>
                  </a:lnTo>
                  <a:lnTo>
                    <a:pt x="714" y="450"/>
                  </a:lnTo>
                  <a:lnTo>
                    <a:pt x="720" y="450"/>
                  </a:lnTo>
                  <a:lnTo>
                    <a:pt x="720" y="438"/>
                  </a:lnTo>
                  <a:lnTo>
                    <a:pt x="726" y="432"/>
                  </a:lnTo>
                  <a:lnTo>
                    <a:pt x="738" y="420"/>
                  </a:lnTo>
                  <a:lnTo>
                    <a:pt x="744" y="420"/>
                  </a:lnTo>
                  <a:lnTo>
                    <a:pt x="750" y="414"/>
                  </a:lnTo>
                  <a:lnTo>
                    <a:pt x="762" y="408"/>
                  </a:lnTo>
                  <a:lnTo>
                    <a:pt x="768" y="408"/>
                  </a:lnTo>
                  <a:lnTo>
                    <a:pt x="768" y="402"/>
                  </a:lnTo>
                  <a:lnTo>
                    <a:pt x="780" y="396"/>
                  </a:lnTo>
                  <a:lnTo>
                    <a:pt x="786" y="396"/>
                  </a:lnTo>
                  <a:lnTo>
                    <a:pt x="786" y="390"/>
                  </a:lnTo>
                  <a:lnTo>
                    <a:pt x="792" y="384"/>
                  </a:lnTo>
                  <a:lnTo>
                    <a:pt x="792" y="378"/>
                  </a:lnTo>
                  <a:lnTo>
                    <a:pt x="798" y="366"/>
                  </a:lnTo>
                  <a:lnTo>
                    <a:pt x="804" y="360"/>
                  </a:lnTo>
                  <a:lnTo>
                    <a:pt x="816" y="342"/>
                  </a:lnTo>
                  <a:lnTo>
                    <a:pt x="816" y="312"/>
                  </a:lnTo>
                  <a:lnTo>
                    <a:pt x="804" y="300"/>
                  </a:lnTo>
                  <a:lnTo>
                    <a:pt x="798" y="288"/>
                  </a:lnTo>
                  <a:lnTo>
                    <a:pt x="762" y="264"/>
                  </a:lnTo>
                  <a:lnTo>
                    <a:pt x="738" y="234"/>
                  </a:lnTo>
                  <a:lnTo>
                    <a:pt x="738" y="222"/>
                  </a:lnTo>
                  <a:lnTo>
                    <a:pt x="744" y="210"/>
                  </a:lnTo>
                  <a:lnTo>
                    <a:pt x="732" y="174"/>
                  </a:lnTo>
                  <a:lnTo>
                    <a:pt x="714" y="156"/>
                  </a:lnTo>
                  <a:lnTo>
                    <a:pt x="708" y="144"/>
                  </a:lnTo>
                  <a:lnTo>
                    <a:pt x="714" y="126"/>
                  </a:lnTo>
                  <a:lnTo>
                    <a:pt x="720" y="114"/>
                  </a:lnTo>
                  <a:lnTo>
                    <a:pt x="732" y="102"/>
                  </a:lnTo>
                  <a:lnTo>
                    <a:pt x="744" y="102"/>
                  </a:lnTo>
                  <a:lnTo>
                    <a:pt x="762" y="108"/>
                  </a:lnTo>
                  <a:lnTo>
                    <a:pt x="774" y="114"/>
                  </a:lnTo>
                  <a:lnTo>
                    <a:pt x="780" y="138"/>
                  </a:lnTo>
                  <a:lnTo>
                    <a:pt x="786" y="144"/>
                  </a:lnTo>
                  <a:lnTo>
                    <a:pt x="798" y="138"/>
                  </a:lnTo>
                  <a:lnTo>
                    <a:pt x="804" y="132"/>
                  </a:lnTo>
                  <a:lnTo>
                    <a:pt x="816" y="120"/>
                  </a:lnTo>
                  <a:lnTo>
                    <a:pt x="816" y="108"/>
                  </a:lnTo>
                  <a:lnTo>
                    <a:pt x="828" y="102"/>
                  </a:lnTo>
                  <a:lnTo>
                    <a:pt x="828" y="96"/>
                  </a:lnTo>
                  <a:lnTo>
                    <a:pt x="840" y="96"/>
                  </a:lnTo>
                  <a:lnTo>
                    <a:pt x="840" y="84"/>
                  </a:lnTo>
                  <a:lnTo>
                    <a:pt x="852" y="90"/>
                  </a:lnTo>
                  <a:lnTo>
                    <a:pt x="852" y="96"/>
                  </a:lnTo>
                  <a:lnTo>
                    <a:pt x="870" y="90"/>
                  </a:lnTo>
                  <a:lnTo>
                    <a:pt x="894" y="78"/>
                  </a:lnTo>
                  <a:lnTo>
                    <a:pt x="912" y="78"/>
                  </a:lnTo>
                  <a:lnTo>
                    <a:pt x="942" y="66"/>
                  </a:lnTo>
                  <a:lnTo>
                    <a:pt x="942" y="60"/>
                  </a:lnTo>
                  <a:lnTo>
                    <a:pt x="954" y="48"/>
                  </a:lnTo>
                  <a:lnTo>
                    <a:pt x="966" y="30"/>
                  </a:lnTo>
                  <a:lnTo>
                    <a:pt x="978" y="30"/>
                  </a:lnTo>
                  <a:lnTo>
                    <a:pt x="978" y="24"/>
                  </a:lnTo>
                  <a:lnTo>
                    <a:pt x="984" y="12"/>
                  </a:lnTo>
                  <a:lnTo>
                    <a:pt x="990" y="12"/>
                  </a:lnTo>
                  <a:lnTo>
                    <a:pt x="996" y="12"/>
                  </a:lnTo>
                  <a:lnTo>
                    <a:pt x="1014" y="6"/>
                  </a:lnTo>
                  <a:lnTo>
                    <a:pt x="1026" y="6"/>
                  </a:lnTo>
                  <a:lnTo>
                    <a:pt x="1044" y="6"/>
                  </a:lnTo>
                  <a:lnTo>
                    <a:pt x="1050" y="6"/>
                  </a:lnTo>
                  <a:lnTo>
                    <a:pt x="1056" y="6"/>
                  </a:lnTo>
                  <a:lnTo>
                    <a:pt x="1062" y="6"/>
                  </a:lnTo>
                  <a:lnTo>
                    <a:pt x="1068" y="6"/>
                  </a:lnTo>
                  <a:lnTo>
                    <a:pt x="1074" y="6"/>
                  </a:lnTo>
                  <a:lnTo>
                    <a:pt x="1080" y="6"/>
                  </a:lnTo>
                  <a:lnTo>
                    <a:pt x="1086" y="0"/>
                  </a:lnTo>
                  <a:lnTo>
                    <a:pt x="1092" y="30"/>
                  </a:lnTo>
                  <a:lnTo>
                    <a:pt x="1098" y="60"/>
                  </a:lnTo>
                  <a:lnTo>
                    <a:pt x="1110" y="84"/>
                  </a:lnTo>
                  <a:lnTo>
                    <a:pt x="1122" y="114"/>
                  </a:lnTo>
                  <a:lnTo>
                    <a:pt x="1128" y="144"/>
                  </a:lnTo>
                  <a:lnTo>
                    <a:pt x="1122" y="156"/>
                  </a:lnTo>
                  <a:lnTo>
                    <a:pt x="1128" y="168"/>
                  </a:lnTo>
                  <a:lnTo>
                    <a:pt x="1134" y="186"/>
                  </a:lnTo>
                  <a:lnTo>
                    <a:pt x="1140" y="204"/>
                  </a:lnTo>
                  <a:lnTo>
                    <a:pt x="1146" y="210"/>
                  </a:lnTo>
                  <a:lnTo>
                    <a:pt x="1146" y="216"/>
                  </a:lnTo>
                  <a:lnTo>
                    <a:pt x="1146" y="228"/>
                  </a:lnTo>
                  <a:lnTo>
                    <a:pt x="1146" y="234"/>
                  </a:lnTo>
                  <a:lnTo>
                    <a:pt x="1140" y="246"/>
                  </a:lnTo>
                  <a:lnTo>
                    <a:pt x="1128" y="258"/>
                  </a:lnTo>
                  <a:lnTo>
                    <a:pt x="1116" y="264"/>
                  </a:lnTo>
                  <a:lnTo>
                    <a:pt x="1110" y="276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2" y="312"/>
                  </a:lnTo>
                  <a:lnTo>
                    <a:pt x="1116" y="324"/>
                  </a:lnTo>
                  <a:lnTo>
                    <a:pt x="1104" y="336"/>
                  </a:lnTo>
                  <a:lnTo>
                    <a:pt x="1104" y="354"/>
                  </a:lnTo>
                  <a:lnTo>
                    <a:pt x="1098" y="372"/>
                  </a:lnTo>
                  <a:lnTo>
                    <a:pt x="1092" y="384"/>
                  </a:lnTo>
                  <a:lnTo>
                    <a:pt x="1086" y="390"/>
                  </a:lnTo>
                  <a:lnTo>
                    <a:pt x="1086" y="402"/>
                  </a:lnTo>
                  <a:lnTo>
                    <a:pt x="1080" y="414"/>
                  </a:lnTo>
                  <a:lnTo>
                    <a:pt x="1074" y="426"/>
                  </a:lnTo>
                  <a:lnTo>
                    <a:pt x="1074" y="450"/>
                  </a:lnTo>
                  <a:lnTo>
                    <a:pt x="1074" y="462"/>
                  </a:lnTo>
                  <a:lnTo>
                    <a:pt x="1068" y="474"/>
                  </a:lnTo>
                  <a:lnTo>
                    <a:pt x="1062" y="486"/>
                  </a:lnTo>
                  <a:lnTo>
                    <a:pt x="1056" y="498"/>
                  </a:lnTo>
                  <a:close/>
                  <a:moveTo>
                    <a:pt x="186" y="378"/>
                  </a:moveTo>
                  <a:lnTo>
                    <a:pt x="186" y="384"/>
                  </a:lnTo>
                  <a:lnTo>
                    <a:pt x="180" y="390"/>
                  </a:lnTo>
                  <a:lnTo>
                    <a:pt x="174" y="396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14"/>
                  </a:lnTo>
                  <a:lnTo>
                    <a:pt x="126" y="414"/>
                  </a:lnTo>
                  <a:lnTo>
                    <a:pt x="120" y="414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2" y="426"/>
                  </a:lnTo>
                  <a:lnTo>
                    <a:pt x="102" y="432"/>
                  </a:lnTo>
                  <a:lnTo>
                    <a:pt x="96" y="432"/>
                  </a:lnTo>
                  <a:lnTo>
                    <a:pt x="90" y="432"/>
                  </a:lnTo>
                  <a:lnTo>
                    <a:pt x="84" y="438"/>
                  </a:lnTo>
                  <a:lnTo>
                    <a:pt x="78" y="438"/>
                  </a:lnTo>
                  <a:lnTo>
                    <a:pt x="78" y="444"/>
                  </a:lnTo>
                  <a:lnTo>
                    <a:pt x="72" y="444"/>
                  </a:lnTo>
                  <a:lnTo>
                    <a:pt x="72" y="450"/>
                  </a:lnTo>
                  <a:lnTo>
                    <a:pt x="66" y="456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48" y="468"/>
                  </a:lnTo>
                  <a:lnTo>
                    <a:pt x="42" y="468"/>
                  </a:lnTo>
                  <a:lnTo>
                    <a:pt x="42" y="462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8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0" y="396"/>
                  </a:lnTo>
                  <a:lnTo>
                    <a:pt x="6" y="384"/>
                  </a:lnTo>
                  <a:lnTo>
                    <a:pt x="18" y="372"/>
                  </a:lnTo>
                  <a:lnTo>
                    <a:pt x="30" y="348"/>
                  </a:lnTo>
                  <a:lnTo>
                    <a:pt x="30" y="342"/>
                  </a:lnTo>
                  <a:lnTo>
                    <a:pt x="42" y="330"/>
                  </a:lnTo>
                  <a:lnTo>
                    <a:pt x="42" y="324"/>
                  </a:lnTo>
                  <a:lnTo>
                    <a:pt x="48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60" y="282"/>
                  </a:lnTo>
                  <a:lnTo>
                    <a:pt x="60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2" y="258"/>
                  </a:lnTo>
                  <a:lnTo>
                    <a:pt x="84" y="246"/>
                  </a:lnTo>
                  <a:lnTo>
                    <a:pt x="90" y="234"/>
                  </a:lnTo>
                  <a:lnTo>
                    <a:pt x="96" y="234"/>
                  </a:lnTo>
                  <a:lnTo>
                    <a:pt x="96" y="228"/>
                  </a:lnTo>
                  <a:lnTo>
                    <a:pt x="102" y="222"/>
                  </a:lnTo>
                  <a:lnTo>
                    <a:pt x="102" y="228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14" y="228"/>
                  </a:lnTo>
                  <a:lnTo>
                    <a:pt x="114" y="234"/>
                  </a:lnTo>
                  <a:lnTo>
                    <a:pt x="120" y="228"/>
                  </a:lnTo>
                  <a:lnTo>
                    <a:pt x="120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26" y="228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8" y="234"/>
                  </a:lnTo>
                  <a:lnTo>
                    <a:pt x="144" y="234"/>
                  </a:lnTo>
                  <a:lnTo>
                    <a:pt x="144" y="228"/>
                  </a:lnTo>
                  <a:lnTo>
                    <a:pt x="150" y="228"/>
                  </a:lnTo>
                  <a:lnTo>
                    <a:pt x="156" y="228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46"/>
                  </a:lnTo>
                  <a:lnTo>
                    <a:pt x="162" y="240"/>
                  </a:lnTo>
                  <a:lnTo>
                    <a:pt x="162" y="246"/>
                  </a:lnTo>
                  <a:lnTo>
                    <a:pt x="162" y="258"/>
                  </a:lnTo>
                  <a:lnTo>
                    <a:pt x="162" y="264"/>
                  </a:lnTo>
                  <a:lnTo>
                    <a:pt x="156" y="270"/>
                  </a:lnTo>
                  <a:lnTo>
                    <a:pt x="162" y="270"/>
                  </a:lnTo>
                  <a:lnTo>
                    <a:pt x="162" y="282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86" y="288"/>
                  </a:lnTo>
                  <a:lnTo>
                    <a:pt x="186" y="294"/>
                  </a:lnTo>
                  <a:lnTo>
                    <a:pt x="180" y="300"/>
                  </a:lnTo>
                  <a:lnTo>
                    <a:pt x="174" y="318"/>
                  </a:lnTo>
                  <a:lnTo>
                    <a:pt x="174" y="324"/>
                  </a:lnTo>
                  <a:lnTo>
                    <a:pt x="168" y="330"/>
                  </a:lnTo>
                  <a:lnTo>
                    <a:pt x="168" y="342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74" y="360"/>
                  </a:lnTo>
                  <a:lnTo>
                    <a:pt x="180" y="366"/>
                  </a:lnTo>
                  <a:lnTo>
                    <a:pt x="186" y="3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8" name="Freeform 23">
              <a:extLst>
                <a:ext uri="{FF2B5EF4-FFF2-40B4-BE49-F238E27FC236}">
                  <a16:creationId xmlns:a16="http://schemas.microsoft.com/office/drawing/2014/main" id="{A539A33E-3F6E-4AF7-BD88-1853165307F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6312" y="3604793"/>
              <a:ext cx="581410" cy="621747"/>
            </a:xfrm>
            <a:custGeom>
              <a:avLst/>
              <a:gdLst>
                <a:gd name="T0" fmla="*/ 90 w 1092"/>
                <a:gd name="T1" fmla="*/ 60 h 1170"/>
                <a:gd name="T2" fmla="*/ 83 w 1092"/>
                <a:gd name="T3" fmla="*/ 62 h 1170"/>
                <a:gd name="T4" fmla="*/ 72 w 1092"/>
                <a:gd name="T5" fmla="*/ 68 h 1170"/>
                <a:gd name="T6" fmla="*/ 68 w 1092"/>
                <a:gd name="T7" fmla="*/ 71 h 1170"/>
                <a:gd name="T8" fmla="*/ 61 w 1092"/>
                <a:gd name="T9" fmla="*/ 69 h 1170"/>
                <a:gd name="T10" fmla="*/ 64 w 1092"/>
                <a:gd name="T11" fmla="*/ 82 h 1170"/>
                <a:gd name="T12" fmla="*/ 67 w 1092"/>
                <a:gd name="T13" fmla="*/ 93 h 1170"/>
                <a:gd name="T14" fmla="*/ 62 w 1092"/>
                <a:gd name="T15" fmla="*/ 96 h 1170"/>
                <a:gd name="T16" fmla="*/ 59 w 1092"/>
                <a:gd name="T17" fmla="*/ 99 h 1170"/>
                <a:gd name="T18" fmla="*/ 53 w 1092"/>
                <a:gd name="T19" fmla="*/ 101 h 1170"/>
                <a:gd name="T20" fmla="*/ 50 w 1092"/>
                <a:gd name="T21" fmla="*/ 100 h 1170"/>
                <a:gd name="T22" fmla="*/ 50 w 1092"/>
                <a:gd name="T23" fmla="*/ 93 h 1170"/>
                <a:gd name="T24" fmla="*/ 37 w 1092"/>
                <a:gd name="T25" fmla="*/ 85 h 1170"/>
                <a:gd name="T26" fmla="*/ 32 w 1092"/>
                <a:gd name="T27" fmla="*/ 86 h 1170"/>
                <a:gd name="T28" fmla="*/ 29 w 1092"/>
                <a:gd name="T29" fmla="*/ 88 h 1170"/>
                <a:gd name="T30" fmla="*/ 27 w 1092"/>
                <a:gd name="T31" fmla="*/ 86 h 1170"/>
                <a:gd name="T32" fmla="*/ 23 w 1092"/>
                <a:gd name="T33" fmla="*/ 87 h 1170"/>
                <a:gd name="T34" fmla="*/ 17 w 1092"/>
                <a:gd name="T35" fmla="*/ 87 h 1170"/>
                <a:gd name="T36" fmla="*/ 18 w 1092"/>
                <a:gd name="T37" fmla="*/ 89 h 1170"/>
                <a:gd name="T38" fmla="*/ 16 w 1092"/>
                <a:gd name="T39" fmla="*/ 92 h 1170"/>
                <a:gd name="T40" fmla="*/ 12 w 1092"/>
                <a:gd name="T41" fmla="*/ 89 h 1170"/>
                <a:gd name="T42" fmla="*/ 13 w 1092"/>
                <a:gd name="T43" fmla="*/ 84 h 1170"/>
                <a:gd name="T44" fmla="*/ 12 w 1092"/>
                <a:gd name="T45" fmla="*/ 80 h 1170"/>
                <a:gd name="T46" fmla="*/ 10 w 1092"/>
                <a:gd name="T47" fmla="*/ 80 h 1170"/>
                <a:gd name="T48" fmla="*/ 8 w 1092"/>
                <a:gd name="T49" fmla="*/ 79 h 1170"/>
                <a:gd name="T50" fmla="*/ 6 w 1092"/>
                <a:gd name="T51" fmla="*/ 78 h 1170"/>
                <a:gd name="T52" fmla="*/ 6 w 1092"/>
                <a:gd name="T53" fmla="*/ 77 h 1170"/>
                <a:gd name="T54" fmla="*/ 4 w 1092"/>
                <a:gd name="T55" fmla="*/ 75 h 1170"/>
                <a:gd name="T56" fmla="*/ 0 w 1092"/>
                <a:gd name="T57" fmla="*/ 72 h 1170"/>
                <a:gd name="T58" fmla="*/ 0 w 1092"/>
                <a:gd name="T59" fmla="*/ 69 h 1170"/>
                <a:gd name="T60" fmla="*/ 3 w 1092"/>
                <a:gd name="T61" fmla="*/ 67 h 1170"/>
                <a:gd name="T62" fmla="*/ 6 w 1092"/>
                <a:gd name="T63" fmla="*/ 62 h 1170"/>
                <a:gd name="T64" fmla="*/ 8 w 1092"/>
                <a:gd name="T65" fmla="*/ 58 h 1170"/>
                <a:gd name="T66" fmla="*/ 5 w 1092"/>
                <a:gd name="T67" fmla="*/ 54 h 1170"/>
                <a:gd name="T68" fmla="*/ 6 w 1092"/>
                <a:gd name="T69" fmla="*/ 50 h 1170"/>
                <a:gd name="T70" fmla="*/ 8 w 1092"/>
                <a:gd name="T71" fmla="*/ 46 h 1170"/>
                <a:gd name="T72" fmla="*/ 10 w 1092"/>
                <a:gd name="T73" fmla="*/ 43 h 1170"/>
                <a:gd name="T74" fmla="*/ 14 w 1092"/>
                <a:gd name="T75" fmla="*/ 38 h 1170"/>
                <a:gd name="T76" fmla="*/ 31 w 1092"/>
                <a:gd name="T77" fmla="*/ 40 h 1170"/>
                <a:gd name="T78" fmla="*/ 30 w 1092"/>
                <a:gd name="T79" fmla="*/ 46 h 1170"/>
                <a:gd name="T80" fmla="*/ 36 w 1092"/>
                <a:gd name="T81" fmla="*/ 47 h 1170"/>
                <a:gd name="T82" fmla="*/ 41 w 1092"/>
                <a:gd name="T83" fmla="*/ 44 h 1170"/>
                <a:gd name="T84" fmla="*/ 43 w 1092"/>
                <a:gd name="T85" fmla="*/ 39 h 1170"/>
                <a:gd name="T86" fmla="*/ 44 w 1092"/>
                <a:gd name="T87" fmla="*/ 35 h 1170"/>
                <a:gd name="T88" fmla="*/ 44 w 1092"/>
                <a:gd name="T89" fmla="*/ 29 h 1170"/>
                <a:gd name="T90" fmla="*/ 48 w 1092"/>
                <a:gd name="T91" fmla="*/ 24 h 1170"/>
                <a:gd name="T92" fmla="*/ 49 w 1092"/>
                <a:gd name="T93" fmla="*/ 19 h 1170"/>
                <a:gd name="T94" fmla="*/ 51 w 1092"/>
                <a:gd name="T95" fmla="*/ 14 h 1170"/>
                <a:gd name="T96" fmla="*/ 54 w 1092"/>
                <a:gd name="T97" fmla="*/ 10 h 1170"/>
                <a:gd name="T98" fmla="*/ 53 w 1092"/>
                <a:gd name="T99" fmla="*/ 7 h 1170"/>
                <a:gd name="T100" fmla="*/ 55 w 1092"/>
                <a:gd name="T101" fmla="*/ 3 h 1170"/>
                <a:gd name="T102" fmla="*/ 58 w 1092"/>
                <a:gd name="T103" fmla="*/ 0 h 1170"/>
                <a:gd name="T104" fmla="*/ 65 w 1092"/>
                <a:gd name="T105" fmla="*/ 2 h 1170"/>
                <a:gd name="T106" fmla="*/ 61 w 1092"/>
                <a:gd name="T107" fmla="*/ 6 h 1170"/>
                <a:gd name="T108" fmla="*/ 67 w 1092"/>
                <a:gd name="T109" fmla="*/ 7 h 1170"/>
                <a:gd name="T110" fmla="*/ 71 w 1092"/>
                <a:gd name="T111" fmla="*/ 6 h 1170"/>
                <a:gd name="T112" fmla="*/ 75 w 1092"/>
                <a:gd name="T113" fmla="*/ 9 h 1170"/>
                <a:gd name="T114" fmla="*/ 82 w 1092"/>
                <a:gd name="T115" fmla="*/ 12 h 1170"/>
                <a:gd name="T116" fmla="*/ 84 w 1092"/>
                <a:gd name="T117" fmla="*/ 17 h 1170"/>
                <a:gd name="T118" fmla="*/ 94 w 1092"/>
                <a:gd name="T119" fmla="*/ 23 h 1170"/>
                <a:gd name="T120" fmla="*/ 94 w 1092"/>
                <a:gd name="T121" fmla="*/ 34 h 1170"/>
                <a:gd name="T122" fmla="*/ 90 w 1092"/>
                <a:gd name="T123" fmla="*/ 41 h 1170"/>
                <a:gd name="T124" fmla="*/ 91 w 1092"/>
                <a:gd name="T125" fmla="*/ 51 h 11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92"/>
                <a:gd name="T190" fmla="*/ 0 h 1170"/>
                <a:gd name="T191" fmla="*/ 1092 w 1092"/>
                <a:gd name="T192" fmla="*/ 1170 h 117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92" h="1170">
                  <a:moveTo>
                    <a:pt x="1056" y="654"/>
                  </a:moveTo>
                  <a:lnTo>
                    <a:pt x="1062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0"/>
                  </a:lnTo>
                  <a:lnTo>
                    <a:pt x="1038" y="690"/>
                  </a:lnTo>
                  <a:lnTo>
                    <a:pt x="1032" y="690"/>
                  </a:lnTo>
                  <a:lnTo>
                    <a:pt x="1026" y="690"/>
                  </a:lnTo>
                  <a:lnTo>
                    <a:pt x="1020" y="690"/>
                  </a:lnTo>
                  <a:lnTo>
                    <a:pt x="1002" y="690"/>
                  </a:lnTo>
                  <a:lnTo>
                    <a:pt x="990" y="690"/>
                  </a:lnTo>
                  <a:lnTo>
                    <a:pt x="972" y="696"/>
                  </a:lnTo>
                  <a:lnTo>
                    <a:pt x="966" y="696"/>
                  </a:lnTo>
                  <a:lnTo>
                    <a:pt x="960" y="696"/>
                  </a:lnTo>
                  <a:lnTo>
                    <a:pt x="954" y="708"/>
                  </a:lnTo>
                  <a:lnTo>
                    <a:pt x="954" y="714"/>
                  </a:lnTo>
                  <a:lnTo>
                    <a:pt x="942" y="714"/>
                  </a:lnTo>
                  <a:lnTo>
                    <a:pt x="930" y="732"/>
                  </a:lnTo>
                  <a:lnTo>
                    <a:pt x="918" y="744"/>
                  </a:lnTo>
                  <a:lnTo>
                    <a:pt x="918" y="750"/>
                  </a:lnTo>
                  <a:lnTo>
                    <a:pt x="888" y="762"/>
                  </a:lnTo>
                  <a:lnTo>
                    <a:pt x="870" y="762"/>
                  </a:lnTo>
                  <a:lnTo>
                    <a:pt x="846" y="774"/>
                  </a:lnTo>
                  <a:lnTo>
                    <a:pt x="828" y="780"/>
                  </a:lnTo>
                  <a:lnTo>
                    <a:pt x="828" y="774"/>
                  </a:lnTo>
                  <a:lnTo>
                    <a:pt x="816" y="768"/>
                  </a:lnTo>
                  <a:lnTo>
                    <a:pt x="816" y="780"/>
                  </a:lnTo>
                  <a:lnTo>
                    <a:pt x="804" y="780"/>
                  </a:lnTo>
                  <a:lnTo>
                    <a:pt x="804" y="786"/>
                  </a:lnTo>
                  <a:lnTo>
                    <a:pt x="792" y="792"/>
                  </a:lnTo>
                  <a:lnTo>
                    <a:pt x="792" y="804"/>
                  </a:lnTo>
                  <a:lnTo>
                    <a:pt x="780" y="816"/>
                  </a:lnTo>
                  <a:lnTo>
                    <a:pt x="774" y="822"/>
                  </a:lnTo>
                  <a:lnTo>
                    <a:pt x="762" y="828"/>
                  </a:lnTo>
                  <a:lnTo>
                    <a:pt x="756" y="822"/>
                  </a:lnTo>
                  <a:lnTo>
                    <a:pt x="750" y="798"/>
                  </a:lnTo>
                  <a:lnTo>
                    <a:pt x="738" y="792"/>
                  </a:lnTo>
                  <a:lnTo>
                    <a:pt x="720" y="786"/>
                  </a:lnTo>
                  <a:lnTo>
                    <a:pt x="708" y="786"/>
                  </a:lnTo>
                  <a:lnTo>
                    <a:pt x="696" y="798"/>
                  </a:lnTo>
                  <a:lnTo>
                    <a:pt x="690" y="810"/>
                  </a:lnTo>
                  <a:lnTo>
                    <a:pt x="684" y="828"/>
                  </a:lnTo>
                  <a:lnTo>
                    <a:pt x="690" y="840"/>
                  </a:lnTo>
                  <a:lnTo>
                    <a:pt x="708" y="858"/>
                  </a:lnTo>
                  <a:lnTo>
                    <a:pt x="720" y="894"/>
                  </a:lnTo>
                  <a:lnTo>
                    <a:pt x="714" y="906"/>
                  </a:lnTo>
                  <a:lnTo>
                    <a:pt x="714" y="918"/>
                  </a:lnTo>
                  <a:lnTo>
                    <a:pt x="738" y="948"/>
                  </a:lnTo>
                  <a:lnTo>
                    <a:pt x="774" y="972"/>
                  </a:lnTo>
                  <a:lnTo>
                    <a:pt x="780" y="984"/>
                  </a:lnTo>
                  <a:lnTo>
                    <a:pt x="792" y="996"/>
                  </a:lnTo>
                  <a:lnTo>
                    <a:pt x="792" y="1026"/>
                  </a:lnTo>
                  <a:lnTo>
                    <a:pt x="780" y="1044"/>
                  </a:lnTo>
                  <a:lnTo>
                    <a:pt x="774" y="1050"/>
                  </a:lnTo>
                  <a:lnTo>
                    <a:pt x="768" y="1062"/>
                  </a:lnTo>
                  <a:lnTo>
                    <a:pt x="768" y="1068"/>
                  </a:lnTo>
                  <a:lnTo>
                    <a:pt x="762" y="1074"/>
                  </a:lnTo>
                  <a:lnTo>
                    <a:pt x="762" y="1080"/>
                  </a:lnTo>
                  <a:lnTo>
                    <a:pt x="756" y="1080"/>
                  </a:lnTo>
                  <a:lnTo>
                    <a:pt x="744" y="1086"/>
                  </a:lnTo>
                  <a:lnTo>
                    <a:pt x="744" y="1092"/>
                  </a:lnTo>
                  <a:lnTo>
                    <a:pt x="738" y="1092"/>
                  </a:lnTo>
                  <a:lnTo>
                    <a:pt x="726" y="1098"/>
                  </a:lnTo>
                  <a:lnTo>
                    <a:pt x="720" y="1104"/>
                  </a:lnTo>
                  <a:lnTo>
                    <a:pt x="714" y="1104"/>
                  </a:lnTo>
                  <a:lnTo>
                    <a:pt x="702" y="1116"/>
                  </a:lnTo>
                  <a:lnTo>
                    <a:pt x="696" y="1122"/>
                  </a:lnTo>
                  <a:lnTo>
                    <a:pt x="696" y="1134"/>
                  </a:lnTo>
                  <a:lnTo>
                    <a:pt x="690" y="1134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72" y="1146"/>
                  </a:lnTo>
                  <a:lnTo>
                    <a:pt x="672" y="1152"/>
                  </a:lnTo>
                  <a:lnTo>
                    <a:pt x="660" y="1152"/>
                  </a:lnTo>
                  <a:lnTo>
                    <a:pt x="642" y="1152"/>
                  </a:lnTo>
                  <a:lnTo>
                    <a:pt x="636" y="1152"/>
                  </a:lnTo>
                  <a:lnTo>
                    <a:pt x="630" y="1158"/>
                  </a:lnTo>
                  <a:lnTo>
                    <a:pt x="624" y="1164"/>
                  </a:lnTo>
                  <a:lnTo>
                    <a:pt x="618" y="1170"/>
                  </a:lnTo>
                  <a:lnTo>
                    <a:pt x="612" y="1170"/>
                  </a:lnTo>
                  <a:lnTo>
                    <a:pt x="600" y="1170"/>
                  </a:lnTo>
                  <a:lnTo>
                    <a:pt x="594" y="1170"/>
                  </a:lnTo>
                  <a:lnTo>
                    <a:pt x="588" y="1170"/>
                  </a:lnTo>
                  <a:lnTo>
                    <a:pt x="582" y="1170"/>
                  </a:lnTo>
                  <a:lnTo>
                    <a:pt x="582" y="1164"/>
                  </a:lnTo>
                  <a:lnTo>
                    <a:pt x="576" y="1158"/>
                  </a:lnTo>
                  <a:lnTo>
                    <a:pt x="570" y="1158"/>
                  </a:lnTo>
                  <a:lnTo>
                    <a:pt x="570" y="1152"/>
                  </a:lnTo>
                  <a:lnTo>
                    <a:pt x="570" y="1146"/>
                  </a:lnTo>
                  <a:lnTo>
                    <a:pt x="570" y="1140"/>
                  </a:lnTo>
                  <a:lnTo>
                    <a:pt x="564" y="1140"/>
                  </a:lnTo>
                  <a:lnTo>
                    <a:pt x="564" y="1134"/>
                  </a:lnTo>
                  <a:lnTo>
                    <a:pt x="564" y="1128"/>
                  </a:lnTo>
                  <a:lnTo>
                    <a:pt x="576" y="1104"/>
                  </a:lnTo>
                  <a:lnTo>
                    <a:pt x="582" y="1086"/>
                  </a:lnTo>
                  <a:lnTo>
                    <a:pt x="570" y="1068"/>
                  </a:lnTo>
                  <a:lnTo>
                    <a:pt x="534" y="1056"/>
                  </a:lnTo>
                  <a:lnTo>
                    <a:pt x="516" y="1026"/>
                  </a:lnTo>
                  <a:lnTo>
                    <a:pt x="492" y="1020"/>
                  </a:lnTo>
                  <a:lnTo>
                    <a:pt x="492" y="1014"/>
                  </a:lnTo>
                  <a:lnTo>
                    <a:pt x="480" y="1008"/>
                  </a:lnTo>
                  <a:lnTo>
                    <a:pt x="474" y="996"/>
                  </a:lnTo>
                  <a:lnTo>
                    <a:pt x="444" y="984"/>
                  </a:lnTo>
                  <a:lnTo>
                    <a:pt x="426" y="978"/>
                  </a:lnTo>
                  <a:lnTo>
                    <a:pt x="420" y="972"/>
                  </a:lnTo>
                  <a:lnTo>
                    <a:pt x="408" y="984"/>
                  </a:lnTo>
                  <a:lnTo>
                    <a:pt x="402" y="984"/>
                  </a:lnTo>
                  <a:lnTo>
                    <a:pt x="396" y="984"/>
                  </a:lnTo>
                  <a:lnTo>
                    <a:pt x="390" y="984"/>
                  </a:lnTo>
                  <a:lnTo>
                    <a:pt x="384" y="990"/>
                  </a:lnTo>
                  <a:lnTo>
                    <a:pt x="378" y="990"/>
                  </a:lnTo>
                  <a:lnTo>
                    <a:pt x="372" y="990"/>
                  </a:lnTo>
                  <a:lnTo>
                    <a:pt x="372" y="996"/>
                  </a:lnTo>
                  <a:lnTo>
                    <a:pt x="366" y="996"/>
                  </a:lnTo>
                  <a:lnTo>
                    <a:pt x="360" y="1002"/>
                  </a:lnTo>
                  <a:lnTo>
                    <a:pt x="360" y="1008"/>
                  </a:lnTo>
                  <a:lnTo>
                    <a:pt x="354" y="1008"/>
                  </a:lnTo>
                  <a:lnTo>
                    <a:pt x="342" y="1014"/>
                  </a:lnTo>
                  <a:lnTo>
                    <a:pt x="336" y="1020"/>
                  </a:lnTo>
                  <a:lnTo>
                    <a:pt x="336" y="1014"/>
                  </a:lnTo>
                  <a:lnTo>
                    <a:pt x="330" y="1014"/>
                  </a:lnTo>
                  <a:lnTo>
                    <a:pt x="330" y="1008"/>
                  </a:lnTo>
                  <a:lnTo>
                    <a:pt x="330" y="1002"/>
                  </a:lnTo>
                  <a:lnTo>
                    <a:pt x="324" y="1002"/>
                  </a:lnTo>
                  <a:lnTo>
                    <a:pt x="324" y="996"/>
                  </a:lnTo>
                  <a:lnTo>
                    <a:pt x="324" y="990"/>
                  </a:lnTo>
                  <a:lnTo>
                    <a:pt x="318" y="990"/>
                  </a:lnTo>
                  <a:lnTo>
                    <a:pt x="306" y="996"/>
                  </a:lnTo>
                  <a:lnTo>
                    <a:pt x="300" y="996"/>
                  </a:lnTo>
                  <a:lnTo>
                    <a:pt x="294" y="996"/>
                  </a:lnTo>
                  <a:lnTo>
                    <a:pt x="288" y="1002"/>
                  </a:lnTo>
                  <a:lnTo>
                    <a:pt x="282" y="990"/>
                  </a:lnTo>
                  <a:lnTo>
                    <a:pt x="276" y="984"/>
                  </a:lnTo>
                  <a:lnTo>
                    <a:pt x="270" y="990"/>
                  </a:lnTo>
                  <a:lnTo>
                    <a:pt x="270" y="996"/>
                  </a:lnTo>
                  <a:lnTo>
                    <a:pt x="270" y="1002"/>
                  </a:lnTo>
                  <a:lnTo>
                    <a:pt x="264" y="1008"/>
                  </a:lnTo>
                  <a:lnTo>
                    <a:pt x="252" y="996"/>
                  </a:lnTo>
                  <a:lnTo>
                    <a:pt x="246" y="996"/>
                  </a:lnTo>
                  <a:lnTo>
                    <a:pt x="234" y="1002"/>
                  </a:lnTo>
                  <a:lnTo>
                    <a:pt x="222" y="1002"/>
                  </a:lnTo>
                  <a:lnTo>
                    <a:pt x="210" y="1002"/>
                  </a:lnTo>
                  <a:lnTo>
                    <a:pt x="198" y="996"/>
                  </a:lnTo>
                  <a:lnTo>
                    <a:pt x="198" y="1002"/>
                  </a:lnTo>
                  <a:lnTo>
                    <a:pt x="198" y="1008"/>
                  </a:lnTo>
                  <a:lnTo>
                    <a:pt x="192" y="1020"/>
                  </a:lnTo>
                  <a:lnTo>
                    <a:pt x="198" y="1020"/>
                  </a:lnTo>
                  <a:lnTo>
                    <a:pt x="204" y="1020"/>
                  </a:lnTo>
                  <a:lnTo>
                    <a:pt x="210" y="1026"/>
                  </a:lnTo>
                  <a:lnTo>
                    <a:pt x="216" y="1026"/>
                  </a:lnTo>
                  <a:lnTo>
                    <a:pt x="216" y="1032"/>
                  </a:lnTo>
                  <a:lnTo>
                    <a:pt x="210" y="1032"/>
                  </a:lnTo>
                  <a:lnTo>
                    <a:pt x="210" y="1038"/>
                  </a:lnTo>
                  <a:lnTo>
                    <a:pt x="204" y="1038"/>
                  </a:lnTo>
                  <a:lnTo>
                    <a:pt x="204" y="1044"/>
                  </a:lnTo>
                  <a:lnTo>
                    <a:pt x="198" y="1044"/>
                  </a:lnTo>
                  <a:lnTo>
                    <a:pt x="192" y="1044"/>
                  </a:lnTo>
                  <a:lnTo>
                    <a:pt x="186" y="1050"/>
                  </a:lnTo>
                  <a:lnTo>
                    <a:pt x="186" y="1056"/>
                  </a:lnTo>
                  <a:lnTo>
                    <a:pt x="180" y="1056"/>
                  </a:lnTo>
                  <a:lnTo>
                    <a:pt x="180" y="1062"/>
                  </a:lnTo>
                  <a:lnTo>
                    <a:pt x="174" y="1062"/>
                  </a:lnTo>
                  <a:lnTo>
                    <a:pt x="168" y="1062"/>
                  </a:lnTo>
                  <a:lnTo>
                    <a:pt x="162" y="1062"/>
                  </a:lnTo>
                  <a:lnTo>
                    <a:pt x="156" y="1050"/>
                  </a:lnTo>
                  <a:lnTo>
                    <a:pt x="150" y="1044"/>
                  </a:lnTo>
                  <a:lnTo>
                    <a:pt x="150" y="1038"/>
                  </a:lnTo>
                  <a:lnTo>
                    <a:pt x="144" y="1032"/>
                  </a:lnTo>
                  <a:lnTo>
                    <a:pt x="144" y="1026"/>
                  </a:lnTo>
                  <a:lnTo>
                    <a:pt x="144" y="1014"/>
                  </a:lnTo>
                  <a:lnTo>
                    <a:pt x="150" y="1008"/>
                  </a:lnTo>
                  <a:lnTo>
                    <a:pt x="150" y="1002"/>
                  </a:lnTo>
                  <a:lnTo>
                    <a:pt x="156" y="984"/>
                  </a:lnTo>
                  <a:lnTo>
                    <a:pt x="162" y="978"/>
                  </a:lnTo>
                  <a:lnTo>
                    <a:pt x="162" y="972"/>
                  </a:lnTo>
                  <a:lnTo>
                    <a:pt x="150" y="966"/>
                  </a:lnTo>
                  <a:lnTo>
                    <a:pt x="144" y="966"/>
                  </a:lnTo>
                  <a:lnTo>
                    <a:pt x="138" y="966"/>
                  </a:lnTo>
                  <a:lnTo>
                    <a:pt x="138" y="954"/>
                  </a:lnTo>
                  <a:lnTo>
                    <a:pt x="132" y="954"/>
                  </a:lnTo>
                  <a:lnTo>
                    <a:pt x="138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8" y="924"/>
                  </a:lnTo>
                  <a:lnTo>
                    <a:pt x="132" y="930"/>
                  </a:lnTo>
                  <a:lnTo>
                    <a:pt x="132" y="924"/>
                  </a:lnTo>
                  <a:lnTo>
                    <a:pt x="126" y="918"/>
                  </a:lnTo>
                  <a:lnTo>
                    <a:pt x="132" y="918"/>
                  </a:lnTo>
                  <a:lnTo>
                    <a:pt x="132" y="912"/>
                  </a:lnTo>
                  <a:lnTo>
                    <a:pt x="126" y="912"/>
                  </a:lnTo>
                  <a:lnTo>
                    <a:pt x="120" y="912"/>
                  </a:lnTo>
                  <a:lnTo>
                    <a:pt x="120" y="918"/>
                  </a:lnTo>
                  <a:lnTo>
                    <a:pt x="114" y="918"/>
                  </a:lnTo>
                  <a:lnTo>
                    <a:pt x="114" y="912"/>
                  </a:lnTo>
                  <a:lnTo>
                    <a:pt x="108" y="912"/>
                  </a:lnTo>
                  <a:lnTo>
                    <a:pt x="102" y="912"/>
                  </a:lnTo>
                  <a:lnTo>
                    <a:pt x="108" y="906"/>
                  </a:lnTo>
                  <a:lnTo>
                    <a:pt x="102" y="906"/>
                  </a:lnTo>
                  <a:lnTo>
                    <a:pt x="96" y="906"/>
                  </a:lnTo>
                  <a:lnTo>
                    <a:pt x="96" y="912"/>
                  </a:lnTo>
                  <a:lnTo>
                    <a:pt x="90" y="918"/>
                  </a:lnTo>
                  <a:lnTo>
                    <a:pt x="90" y="912"/>
                  </a:lnTo>
                  <a:lnTo>
                    <a:pt x="84" y="912"/>
                  </a:lnTo>
                  <a:lnTo>
                    <a:pt x="84" y="918"/>
                  </a:lnTo>
                  <a:lnTo>
                    <a:pt x="78" y="918"/>
                  </a:lnTo>
                  <a:lnTo>
                    <a:pt x="78" y="912"/>
                  </a:lnTo>
                  <a:lnTo>
                    <a:pt x="78" y="906"/>
                  </a:lnTo>
                  <a:lnTo>
                    <a:pt x="72" y="900"/>
                  </a:lnTo>
                  <a:lnTo>
                    <a:pt x="78" y="900"/>
                  </a:lnTo>
                  <a:lnTo>
                    <a:pt x="72" y="900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8" y="888"/>
                  </a:lnTo>
                  <a:lnTo>
                    <a:pt x="72" y="888"/>
                  </a:lnTo>
                  <a:lnTo>
                    <a:pt x="72" y="882"/>
                  </a:lnTo>
                  <a:lnTo>
                    <a:pt x="66" y="876"/>
                  </a:lnTo>
                  <a:lnTo>
                    <a:pt x="60" y="882"/>
                  </a:lnTo>
                  <a:lnTo>
                    <a:pt x="54" y="876"/>
                  </a:lnTo>
                  <a:lnTo>
                    <a:pt x="54" y="882"/>
                  </a:lnTo>
                  <a:lnTo>
                    <a:pt x="48" y="882"/>
                  </a:lnTo>
                  <a:lnTo>
                    <a:pt x="42" y="870"/>
                  </a:lnTo>
                  <a:lnTo>
                    <a:pt x="42" y="864"/>
                  </a:lnTo>
                  <a:lnTo>
                    <a:pt x="36" y="858"/>
                  </a:lnTo>
                  <a:lnTo>
                    <a:pt x="36" y="852"/>
                  </a:lnTo>
                  <a:lnTo>
                    <a:pt x="30" y="852"/>
                  </a:lnTo>
                  <a:lnTo>
                    <a:pt x="30" y="846"/>
                  </a:lnTo>
                  <a:lnTo>
                    <a:pt x="24" y="846"/>
                  </a:lnTo>
                  <a:lnTo>
                    <a:pt x="18" y="840"/>
                  </a:lnTo>
                  <a:lnTo>
                    <a:pt x="12" y="834"/>
                  </a:lnTo>
                  <a:lnTo>
                    <a:pt x="0" y="828"/>
                  </a:lnTo>
                  <a:lnTo>
                    <a:pt x="0" y="822"/>
                  </a:lnTo>
                  <a:lnTo>
                    <a:pt x="0" y="816"/>
                  </a:lnTo>
                  <a:lnTo>
                    <a:pt x="0" y="810"/>
                  </a:lnTo>
                  <a:lnTo>
                    <a:pt x="6" y="804"/>
                  </a:lnTo>
                  <a:lnTo>
                    <a:pt x="12" y="804"/>
                  </a:lnTo>
                  <a:lnTo>
                    <a:pt x="12" y="798"/>
                  </a:lnTo>
                  <a:lnTo>
                    <a:pt x="12" y="792"/>
                  </a:lnTo>
                  <a:lnTo>
                    <a:pt x="6" y="792"/>
                  </a:lnTo>
                  <a:lnTo>
                    <a:pt x="6" y="786"/>
                  </a:lnTo>
                  <a:lnTo>
                    <a:pt x="6" y="780"/>
                  </a:lnTo>
                  <a:lnTo>
                    <a:pt x="18" y="780"/>
                  </a:lnTo>
                  <a:lnTo>
                    <a:pt x="18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0" y="774"/>
                  </a:lnTo>
                  <a:lnTo>
                    <a:pt x="36" y="768"/>
                  </a:lnTo>
                  <a:lnTo>
                    <a:pt x="42" y="768"/>
                  </a:lnTo>
                  <a:lnTo>
                    <a:pt x="60" y="750"/>
                  </a:lnTo>
                  <a:lnTo>
                    <a:pt x="60" y="744"/>
                  </a:lnTo>
                  <a:lnTo>
                    <a:pt x="54" y="738"/>
                  </a:lnTo>
                  <a:lnTo>
                    <a:pt x="60" y="732"/>
                  </a:lnTo>
                  <a:lnTo>
                    <a:pt x="54" y="732"/>
                  </a:lnTo>
                  <a:lnTo>
                    <a:pt x="60" y="726"/>
                  </a:lnTo>
                  <a:lnTo>
                    <a:pt x="66" y="720"/>
                  </a:lnTo>
                  <a:lnTo>
                    <a:pt x="72" y="714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84" y="696"/>
                  </a:lnTo>
                  <a:lnTo>
                    <a:pt x="90" y="684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66"/>
                  </a:lnTo>
                  <a:lnTo>
                    <a:pt x="90" y="660"/>
                  </a:lnTo>
                  <a:lnTo>
                    <a:pt x="84" y="654"/>
                  </a:lnTo>
                  <a:lnTo>
                    <a:pt x="84" y="648"/>
                  </a:lnTo>
                  <a:lnTo>
                    <a:pt x="78" y="636"/>
                  </a:lnTo>
                  <a:lnTo>
                    <a:pt x="66" y="630"/>
                  </a:lnTo>
                  <a:lnTo>
                    <a:pt x="66" y="624"/>
                  </a:lnTo>
                  <a:lnTo>
                    <a:pt x="60" y="624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60" y="600"/>
                  </a:lnTo>
                  <a:lnTo>
                    <a:pt x="66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6" y="588"/>
                  </a:lnTo>
                  <a:lnTo>
                    <a:pt x="66" y="582"/>
                  </a:lnTo>
                  <a:lnTo>
                    <a:pt x="72" y="582"/>
                  </a:lnTo>
                  <a:lnTo>
                    <a:pt x="78" y="576"/>
                  </a:lnTo>
                  <a:lnTo>
                    <a:pt x="72" y="576"/>
                  </a:lnTo>
                  <a:lnTo>
                    <a:pt x="66" y="570"/>
                  </a:lnTo>
                  <a:lnTo>
                    <a:pt x="72" y="564"/>
                  </a:lnTo>
                  <a:lnTo>
                    <a:pt x="78" y="558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90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102" y="516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0" y="504"/>
                  </a:lnTo>
                  <a:lnTo>
                    <a:pt x="120" y="498"/>
                  </a:lnTo>
                  <a:lnTo>
                    <a:pt x="120" y="492"/>
                  </a:lnTo>
                  <a:lnTo>
                    <a:pt x="126" y="480"/>
                  </a:lnTo>
                  <a:lnTo>
                    <a:pt x="132" y="474"/>
                  </a:lnTo>
                  <a:lnTo>
                    <a:pt x="132" y="468"/>
                  </a:lnTo>
                  <a:lnTo>
                    <a:pt x="138" y="462"/>
                  </a:lnTo>
                  <a:lnTo>
                    <a:pt x="138" y="456"/>
                  </a:lnTo>
                  <a:lnTo>
                    <a:pt x="138" y="450"/>
                  </a:lnTo>
                  <a:lnTo>
                    <a:pt x="144" y="444"/>
                  </a:lnTo>
                  <a:lnTo>
                    <a:pt x="162" y="438"/>
                  </a:lnTo>
                  <a:lnTo>
                    <a:pt x="186" y="438"/>
                  </a:lnTo>
                  <a:lnTo>
                    <a:pt x="210" y="444"/>
                  </a:lnTo>
                  <a:lnTo>
                    <a:pt x="276" y="450"/>
                  </a:lnTo>
                  <a:lnTo>
                    <a:pt x="342" y="450"/>
                  </a:lnTo>
                  <a:lnTo>
                    <a:pt x="348" y="450"/>
                  </a:lnTo>
                  <a:lnTo>
                    <a:pt x="354" y="450"/>
                  </a:lnTo>
                  <a:lnTo>
                    <a:pt x="360" y="456"/>
                  </a:lnTo>
                  <a:lnTo>
                    <a:pt x="354" y="462"/>
                  </a:lnTo>
                  <a:lnTo>
                    <a:pt x="354" y="468"/>
                  </a:lnTo>
                  <a:lnTo>
                    <a:pt x="354" y="474"/>
                  </a:lnTo>
                  <a:lnTo>
                    <a:pt x="348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48" y="498"/>
                  </a:lnTo>
                  <a:lnTo>
                    <a:pt x="342" y="510"/>
                  </a:lnTo>
                  <a:lnTo>
                    <a:pt x="348" y="528"/>
                  </a:lnTo>
                  <a:lnTo>
                    <a:pt x="348" y="534"/>
                  </a:lnTo>
                  <a:lnTo>
                    <a:pt x="354" y="552"/>
                  </a:lnTo>
                  <a:lnTo>
                    <a:pt x="366" y="546"/>
                  </a:lnTo>
                  <a:lnTo>
                    <a:pt x="372" y="540"/>
                  </a:lnTo>
                  <a:lnTo>
                    <a:pt x="384" y="540"/>
                  </a:lnTo>
                  <a:lnTo>
                    <a:pt x="396" y="534"/>
                  </a:lnTo>
                  <a:lnTo>
                    <a:pt x="402" y="534"/>
                  </a:lnTo>
                  <a:lnTo>
                    <a:pt x="414" y="546"/>
                  </a:lnTo>
                  <a:lnTo>
                    <a:pt x="432" y="540"/>
                  </a:lnTo>
                  <a:lnTo>
                    <a:pt x="450" y="534"/>
                  </a:lnTo>
                  <a:lnTo>
                    <a:pt x="450" y="528"/>
                  </a:lnTo>
                  <a:lnTo>
                    <a:pt x="456" y="528"/>
                  </a:lnTo>
                  <a:lnTo>
                    <a:pt x="456" y="522"/>
                  </a:lnTo>
                  <a:lnTo>
                    <a:pt x="456" y="516"/>
                  </a:lnTo>
                  <a:lnTo>
                    <a:pt x="462" y="516"/>
                  </a:lnTo>
                  <a:lnTo>
                    <a:pt x="468" y="510"/>
                  </a:lnTo>
                  <a:lnTo>
                    <a:pt x="468" y="504"/>
                  </a:lnTo>
                  <a:lnTo>
                    <a:pt x="474" y="504"/>
                  </a:lnTo>
                  <a:lnTo>
                    <a:pt x="480" y="504"/>
                  </a:lnTo>
                  <a:lnTo>
                    <a:pt x="486" y="498"/>
                  </a:lnTo>
                  <a:lnTo>
                    <a:pt x="492" y="498"/>
                  </a:lnTo>
                  <a:lnTo>
                    <a:pt x="486" y="480"/>
                  </a:lnTo>
                  <a:lnTo>
                    <a:pt x="492" y="462"/>
                  </a:lnTo>
                  <a:lnTo>
                    <a:pt x="498" y="444"/>
                  </a:lnTo>
                  <a:lnTo>
                    <a:pt x="498" y="426"/>
                  </a:lnTo>
                  <a:lnTo>
                    <a:pt x="498" y="420"/>
                  </a:lnTo>
                  <a:lnTo>
                    <a:pt x="504" y="426"/>
                  </a:lnTo>
                  <a:lnTo>
                    <a:pt x="504" y="420"/>
                  </a:lnTo>
                  <a:lnTo>
                    <a:pt x="510" y="420"/>
                  </a:lnTo>
                  <a:lnTo>
                    <a:pt x="510" y="414"/>
                  </a:lnTo>
                  <a:lnTo>
                    <a:pt x="510" y="408"/>
                  </a:lnTo>
                  <a:lnTo>
                    <a:pt x="504" y="402"/>
                  </a:lnTo>
                  <a:lnTo>
                    <a:pt x="504" y="396"/>
                  </a:lnTo>
                  <a:lnTo>
                    <a:pt x="504" y="384"/>
                  </a:lnTo>
                  <a:lnTo>
                    <a:pt x="504" y="378"/>
                  </a:lnTo>
                  <a:lnTo>
                    <a:pt x="504" y="360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510" y="348"/>
                  </a:lnTo>
                  <a:lnTo>
                    <a:pt x="510" y="336"/>
                  </a:lnTo>
                  <a:lnTo>
                    <a:pt x="516" y="330"/>
                  </a:lnTo>
                  <a:lnTo>
                    <a:pt x="522" y="324"/>
                  </a:lnTo>
                  <a:lnTo>
                    <a:pt x="528" y="318"/>
                  </a:lnTo>
                  <a:lnTo>
                    <a:pt x="534" y="312"/>
                  </a:lnTo>
                  <a:lnTo>
                    <a:pt x="534" y="300"/>
                  </a:lnTo>
                  <a:lnTo>
                    <a:pt x="540" y="294"/>
                  </a:lnTo>
                  <a:lnTo>
                    <a:pt x="546" y="288"/>
                  </a:lnTo>
                  <a:lnTo>
                    <a:pt x="552" y="276"/>
                  </a:lnTo>
                  <a:lnTo>
                    <a:pt x="558" y="264"/>
                  </a:lnTo>
                  <a:lnTo>
                    <a:pt x="558" y="258"/>
                  </a:lnTo>
                  <a:lnTo>
                    <a:pt x="558" y="252"/>
                  </a:lnTo>
                  <a:lnTo>
                    <a:pt x="558" y="246"/>
                  </a:lnTo>
                  <a:lnTo>
                    <a:pt x="564" y="246"/>
                  </a:lnTo>
                  <a:lnTo>
                    <a:pt x="564" y="240"/>
                  </a:lnTo>
                  <a:lnTo>
                    <a:pt x="570" y="234"/>
                  </a:lnTo>
                  <a:lnTo>
                    <a:pt x="564" y="216"/>
                  </a:lnTo>
                  <a:lnTo>
                    <a:pt x="564" y="210"/>
                  </a:lnTo>
                  <a:lnTo>
                    <a:pt x="570" y="210"/>
                  </a:lnTo>
                  <a:lnTo>
                    <a:pt x="570" y="204"/>
                  </a:lnTo>
                  <a:lnTo>
                    <a:pt x="570" y="198"/>
                  </a:lnTo>
                  <a:lnTo>
                    <a:pt x="582" y="180"/>
                  </a:lnTo>
                  <a:lnTo>
                    <a:pt x="582" y="174"/>
                  </a:lnTo>
                  <a:lnTo>
                    <a:pt x="582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606" y="150"/>
                  </a:lnTo>
                  <a:lnTo>
                    <a:pt x="612" y="150"/>
                  </a:lnTo>
                  <a:lnTo>
                    <a:pt x="618" y="150"/>
                  </a:lnTo>
                  <a:lnTo>
                    <a:pt x="624" y="138"/>
                  </a:lnTo>
                  <a:lnTo>
                    <a:pt x="618" y="132"/>
                  </a:lnTo>
                  <a:lnTo>
                    <a:pt x="618" y="126"/>
                  </a:lnTo>
                  <a:lnTo>
                    <a:pt x="618" y="120"/>
                  </a:lnTo>
                  <a:lnTo>
                    <a:pt x="618" y="114"/>
                  </a:lnTo>
                  <a:lnTo>
                    <a:pt x="612" y="108"/>
                  </a:lnTo>
                  <a:lnTo>
                    <a:pt x="612" y="102"/>
                  </a:lnTo>
                  <a:lnTo>
                    <a:pt x="618" y="90"/>
                  </a:lnTo>
                  <a:lnTo>
                    <a:pt x="624" y="84"/>
                  </a:lnTo>
                  <a:lnTo>
                    <a:pt x="618" y="84"/>
                  </a:lnTo>
                  <a:lnTo>
                    <a:pt x="618" y="78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0" y="72"/>
                  </a:lnTo>
                  <a:lnTo>
                    <a:pt x="600" y="66"/>
                  </a:lnTo>
                  <a:lnTo>
                    <a:pt x="600" y="60"/>
                  </a:lnTo>
                  <a:lnTo>
                    <a:pt x="600" y="48"/>
                  </a:lnTo>
                  <a:lnTo>
                    <a:pt x="612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36"/>
                  </a:lnTo>
                  <a:lnTo>
                    <a:pt x="630" y="30"/>
                  </a:lnTo>
                  <a:lnTo>
                    <a:pt x="636" y="24"/>
                  </a:lnTo>
                  <a:lnTo>
                    <a:pt x="642" y="24"/>
                  </a:lnTo>
                  <a:lnTo>
                    <a:pt x="648" y="24"/>
                  </a:lnTo>
                  <a:lnTo>
                    <a:pt x="648" y="18"/>
                  </a:lnTo>
                  <a:lnTo>
                    <a:pt x="654" y="12"/>
                  </a:lnTo>
                  <a:lnTo>
                    <a:pt x="660" y="0"/>
                  </a:lnTo>
                  <a:lnTo>
                    <a:pt x="678" y="0"/>
                  </a:lnTo>
                  <a:lnTo>
                    <a:pt x="696" y="0"/>
                  </a:lnTo>
                  <a:lnTo>
                    <a:pt x="702" y="0"/>
                  </a:lnTo>
                  <a:lnTo>
                    <a:pt x="714" y="0"/>
                  </a:lnTo>
                  <a:lnTo>
                    <a:pt x="720" y="6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44" y="24"/>
                  </a:lnTo>
                  <a:lnTo>
                    <a:pt x="744" y="30"/>
                  </a:lnTo>
                  <a:lnTo>
                    <a:pt x="732" y="42"/>
                  </a:lnTo>
                  <a:lnTo>
                    <a:pt x="726" y="42"/>
                  </a:lnTo>
                  <a:lnTo>
                    <a:pt x="720" y="42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54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90"/>
                  </a:lnTo>
                  <a:lnTo>
                    <a:pt x="726" y="84"/>
                  </a:lnTo>
                  <a:lnTo>
                    <a:pt x="738" y="84"/>
                  </a:lnTo>
                  <a:lnTo>
                    <a:pt x="750" y="96"/>
                  </a:lnTo>
                  <a:lnTo>
                    <a:pt x="768" y="96"/>
                  </a:lnTo>
                  <a:lnTo>
                    <a:pt x="768" y="90"/>
                  </a:lnTo>
                  <a:lnTo>
                    <a:pt x="774" y="84"/>
                  </a:lnTo>
                  <a:lnTo>
                    <a:pt x="780" y="78"/>
                  </a:lnTo>
                  <a:lnTo>
                    <a:pt x="786" y="78"/>
                  </a:lnTo>
                  <a:lnTo>
                    <a:pt x="792" y="72"/>
                  </a:lnTo>
                  <a:lnTo>
                    <a:pt x="804" y="72"/>
                  </a:lnTo>
                  <a:lnTo>
                    <a:pt x="804" y="66"/>
                  </a:lnTo>
                  <a:lnTo>
                    <a:pt x="810" y="66"/>
                  </a:lnTo>
                  <a:lnTo>
                    <a:pt x="810" y="72"/>
                  </a:lnTo>
                  <a:lnTo>
                    <a:pt x="816" y="66"/>
                  </a:lnTo>
                  <a:lnTo>
                    <a:pt x="828" y="66"/>
                  </a:lnTo>
                  <a:lnTo>
                    <a:pt x="834" y="72"/>
                  </a:lnTo>
                  <a:lnTo>
                    <a:pt x="840" y="72"/>
                  </a:lnTo>
                  <a:lnTo>
                    <a:pt x="840" y="78"/>
                  </a:lnTo>
                  <a:lnTo>
                    <a:pt x="840" y="84"/>
                  </a:lnTo>
                  <a:lnTo>
                    <a:pt x="852" y="84"/>
                  </a:lnTo>
                  <a:lnTo>
                    <a:pt x="858" y="96"/>
                  </a:lnTo>
                  <a:lnTo>
                    <a:pt x="864" y="108"/>
                  </a:lnTo>
                  <a:lnTo>
                    <a:pt x="876" y="114"/>
                  </a:lnTo>
                  <a:lnTo>
                    <a:pt x="894" y="114"/>
                  </a:lnTo>
                  <a:lnTo>
                    <a:pt x="906" y="114"/>
                  </a:lnTo>
                  <a:lnTo>
                    <a:pt x="906" y="126"/>
                  </a:lnTo>
                  <a:lnTo>
                    <a:pt x="912" y="144"/>
                  </a:lnTo>
                  <a:lnTo>
                    <a:pt x="930" y="138"/>
                  </a:lnTo>
                  <a:lnTo>
                    <a:pt x="936" y="138"/>
                  </a:lnTo>
                  <a:lnTo>
                    <a:pt x="942" y="144"/>
                  </a:lnTo>
                  <a:lnTo>
                    <a:pt x="948" y="150"/>
                  </a:lnTo>
                  <a:lnTo>
                    <a:pt x="954" y="156"/>
                  </a:lnTo>
                  <a:lnTo>
                    <a:pt x="954" y="168"/>
                  </a:lnTo>
                  <a:lnTo>
                    <a:pt x="954" y="174"/>
                  </a:lnTo>
                  <a:lnTo>
                    <a:pt x="960" y="180"/>
                  </a:lnTo>
                  <a:lnTo>
                    <a:pt x="966" y="186"/>
                  </a:lnTo>
                  <a:lnTo>
                    <a:pt x="960" y="186"/>
                  </a:lnTo>
                  <a:lnTo>
                    <a:pt x="966" y="192"/>
                  </a:lnTo>
                  <a:lnTo>
                    <a:pt x="966" y="198"/>
                  </a:lnTo>
                  <a:lnTo>
                    <a:pt x="978" y="204"/>
                  </a:lnTo>
                  <a:lnTo>
                    <a:pt x="1050" y="186"/>
                  </a:lnTo>
                  <a:lnTo>
                    <a:pt x="1056" y="198"/>
                  </a:lnTo>
                  <a:lnTo>
                    <a:pt x="1068" y="210"/>
                  </a:lnTo>
                  <a:lnTo>
                    <a:pt x="1074" y="216"/>
                  </a:lnTo>
                  <a:lnTo>
                    <a:pt x="1080" y="252"/>
                  </a:lnTo>
                  <a:lnTo>
                    <a:pt x="1086" y="270"/>
                  </a:lnTo>
                  <a:lnTo>
                    <a:pt x="1092" y="282"/>
                  </a:lnTo>
                  <a:lnTo>
                    <a:pt x="1086" y="300"/>
                  </a:lnTo>
                  <a:lnTo>
                    <a:pt x="1074" y="330"/>
                  </a:lnTo>
                  <a:lnTo>
                    <a:pt x="1068" y="336"/>
                  </a:lnTo>
                  <a:lnTo>
                    <a:pt x="1062" y="348"/>
                  </a:lnTo>
                  <a:lnTo>
                    <a:pt x="1062" y="360"/>
                  </a:lnTo>
                  <a:lnTo>
                    <a:pt x="1068" y="378"/>
                  </a:lnTo>
                  <a:lnTo>
                    <a:pt x="1074" y="390"/>
                  </a:lnTo>
                  <a:lnTo>
                    <a:pt x="1068" y="396"/>
                  </a:lnTo>
                  <a:lnTo>
                    <a:pt x="1068" y="408"/>
                  </a:lnTo>
                  <a:lnTo>
                    <a:pt x="1062" y="414"/>
                  </a:lnTo>
                  <a:lnTo>
                    <a:pt x="1050" y="432"/>
                  </a:lnTo>
                  <a:lnTo>
                    <a:pt x="1044" y="450"/>
                  </a:lnTo>
                  <a:lnTo>
                    <a:pt x="1038" y="456"/>
                  </a:lnTo>
                  <a:lnTo>
                    <a:pt x="1026" y="468"/>
                  </a:lnTo>
                  <a:lnTo>
                    <a:pt x="1026" y="474"/>
                  </a:lnTo>
                  <a:lnTo>
                    <a:pt x="1026" y="480"/>
                  </a:lnTo>
                  <a:lnTo>
                    <a:pt x="1032" y="492"/>
                  </a:lnTo>
                  <a:lnTo>
                    <a:pt x="1044" y="504"/>
                  </a:lnTo>
                  <a:lnTo>
                    <a:pt x="1044" y="516"/>
                  </a:lnTo>
                  <a:lnTo>
                    <a:pt x="1038" y="528"/>
                  </a:lnTo>
                  <a:lnTo>
                    <a:pt x="1032" y="546"/>
                  </a:lnTo>
                  <a:lnTo>
                    <a:pt x="1032" y="570"/>
                  </a:lnTo>
                  <a:lnTo>
                    <a:pt x="1050" y="594"/>
                  </a:lnTo>
                  <a:lnTo>
                    <a:pt x="1056" y="624"/>
                  </a:lnTo>
                  <a:lnTo>
                    <a:pt x="1056" y="65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9" name="Freeform 24">
              <a:extLst>
                <a:ext uri="{FF2B5EF4-FFF2-40B4-BE49-F238E27FC236}">
                  <a16:creationId xmlns:a16="http://schemas.microsoft.com/office/drawing/2014/main" id="{CAE689DA-332A-4F73-BDE6-8865C9170AA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84829" y="3213406"/>
              <a:ext cx="851989" cy="744754"/>
            </a:xfrm>
            <a:custGeom>
              <a:avLst/>
              <a:gdLst>
                <a:gd name="T0" fmla="*/ 116 w 1602"/>
                <a:gd name="T1" fmla="*/ 91 h 1404"/>
                <a:gd name="T2" fmla="*/ 111 w 1602"/>
                <a:gd name="T3" fmla="*/ 95 h 1404"/>
                <a:gd name="T4" fmla="*/ 102 w 1602"/>
                <a:gd name="T5" fmla="*/ 101 h 1404"/>
                <a:gd name="T6" fmla="*/ 99 w 1602"/>
                <a:gd name="T7" fmla="*/ 103 h 1404"/>
                <a:gd name="T8" fmla="*/ 96 w 1602"/>
                <a:gd name="T9" fmla="*/ 106 h 1404"/>
                <a:gd name="T10" fmla="*/ 93 w 1602"/>
                <a:gd name="T11" fmla="*/ 108 h 1404"/>
                <a:gd name="T12" fmla="*/ 88 w 1602"/>
                <a:gd name="T13" fmla="*/ 106 h 1404"/>
                <a:gd name="T14" fmla="*/ 86 w 1602"/>
                <a:gd name="T15" fmla="*/ 108 h 1404"/>
                <a:gd name="T16" fmla="*/ 81 w 1602"/>
                <a:gd name="T17" fmla="*/ 119 h 1404"/>
                <a:gd name="T18" fmla="*/ 71 w 1602"/>
                <a:gd name="T19" fmla="*/ 109 h 1404"/>
                <a:gd name="T20" fmla="*/ 72 w 1602"/>
                <a:gd name="T21" fmla="*/ 101 h 1404"/>
                <a:gd name="T22" fmla="*/ 74 w 1602"/>
                <a:gd name="T23" fmla="*/ 93 h 1404"/>
                <a:gd name="T24" fmla="*/ 73 w 1602"/>
                <a:gd name="T25" fmla="*/ 82 h 1404"/>
                <a:gd name="T26" fmla="*/ 64 w 1602"/>
                <a:gd name="T27" fmla="*/ 79 h 1404"/>
                <a:gd name="T28" fmla="*/ 59 w 1602"/>
                <a:gd name="T29" fmla="*/ 75 h 1404"/>
                <a:gd name="T30" fmla="*/ 54 w 1602"/>
                <a:gd name="T31" fmla="*/ 71 h 1404"/>
                <a:gd name="T32" fmla="*/ 51 w 1602"/>
                <a:gd name="T33" fmla="*/ 70 h 1404"/>
                <a:gd name="T34" fmla="*/ 45 w 1602"/>
                <a:gd name="T35" fmla="*/ 71 h 1404"/>
                <a:gd name="T36" fmla="*/ 43 w 1602"/>
                <a:gd name="T37" fmla="*/ 68 h 1404"/>
                <a:gd name="T38" fmla="*/ 43 w 1602"/>
                <a:gd name="T39" fmla="*/ 64 h 1404"/>
                <a:gd name="T40" fmla="*/ 36 w 1602"/>
                <a:gd name="T41" fmla="*/ 66 h 1404"/>
                <a:gd name="T42" fmla="*/ 31 w 1602"/>
                <a:gd name="T43" fmla="*/ 55 h 1404"/>
                <a:gd name="T44" fmla="*/ 25 w 1602"/>
                <a:gd name="T45" fmla="*/ 53 h 1404"/>
                <a:gd name="T46" fmla="*/ 19 w 1602"/>
                <a:gd name="T47" fmla="*/ 51 h 1404"/>
                <a:gd name="T48" fmla="*/ 17 w 1602"/>
                <a:gd name="T49" fmla="*/ 43 h 1404"/>
                <a:gd name="T50" fmla="*/ 17 w 1602"/>
                <a:gd name="T51" fmla="*/ 39 h 1404"/>
                <a:gd name="T52" fmla="*/ 12 w 1602"/>
                <a:gd name="T53" fmla="*/ 39 h 1404"/>
                <a:gd name="T54" fmla="*/ 10 w 1602"/>
                <a:gd name="T55" fmla="*/ 35 h 1404"/>
                <a:gd name="T56" fmla="*/ 5 w 1602"/>
                <a:gd name="T57" fmla="*/ 30 h 1404"/>
                <a:gd name="T58" fmla="*/ 3 w 1602"/>
                <a:gd name="T59" fmla="*/ 27 h 1404"/>
                <a:gd name="T60" fmla="*/ 2 w 1602"/>
                <a:gd name="T61" fmla="*/ 25 h 1404"/>
                <a:gd name="T62" fmla="*/ 0 w 1602"/>
                <a:gd name="T63" fmla="*/ 22 h 1404"/>
                <a:gd name="T64" fmla="*/ 8 w 1602"/>
                <a:gd name="T65" fmla="*/ 14 h 1404"/>
                <a:gd name="T66" fmla="*/ 16 w 1602"/>
                <a:gd name="T67" fmla="*/ 16 h 1404"/>
                <a:gd name="T68" fmla="*/ 31 w 1602"/>
                <a:gd name="T69" fmla="*/ 18 h 1404"/>
                <a:gd name="T70" fmla="*/ 43 w 1602"/>
                <a:gd name="T71" fmla="*/ 17 h 1404"/>
                <a:gd name="T72" fmla="*/ 47 w 1602"/>
                <a:gd name="T73" fmla="*/ 6 h 1404"/>
                <a:gd name="T74" fmla="*/ 52 w 1602"/>
                <a:gd name="T75" fmla="*/ 0 h 1404"/>
                <a:gd name="T76" fmla="*/ 55 w 1602"/>
                <a:gd name="T77" fmla="*/ 3 h 1404"/>
                <a:gd name="T78" fmla="*/ 59 w 1602"/>
                <a:gd name="T79" fmla="*/ 9 h 1404"/>
                <a:gd name="T80" fmla="*/ 62 w 1602"/>
                <a:gd name="T81" fmla="*/ 16 h 1404"/>
                <a:gd name="T82" fmla="*/ 66 w 1602"/>
                <a:gd name="T83" fmla="*/ 20 h 1404"/>
                <a:gd name="T84" fmla="*/ 70 w 1602"/>
                <a:gd name="T85" fmla="*/ 25 h 1404"/>
                <a:gd name="T86" fmla="*/ 74 w 1602"/>
                <a:gd name="T87" fmla="*/ 30 h 1404"/>
                <a:gd name="T88" fmla="*/ 76 w 1602"/>
                <a:gd name="T89" fmla="*/ 27 h 1404"/>
                <a:gd name="T90" fmla="*/ 78 w 1602"/>
                <a:gd name="T91" fmla="*/ 27 h 1404"/>
                <a:gd name="T92" fmla="*/ 78 w 1602"/>
                <a:gd name="T93" fmla="*/ 23 h 1404"/>
                <a:gd name="T94" fmla="*/ 82 w 1602"/>
                <a:gd name="T95" fmla="*/ 20 h 1404"/>
                <a:gd name="T96" fmla="*/ 82 w 1602"/>
                <a:gd name="T97" fmla="*/ 18 h 1404"/>
                <a:gd name="T98" fmla="*/ 90 w 1602"/>
                <a:gd name="T99" fmla="*/ 24 h 1404"/>
                <a:gd name="T100" fmla="*/ 90 w 1602"/>
                <a:gd name="T101" fmla="*/ 45 h 1404"/>
                <a:gd name="T102" fmla="*/ 104 w 1602"/>
                <a:gd name="T103" fmla="*/ 41 h 1404"/>
                <a:gd name="T104" fmla="*/ 117 w 1602"/>
                <a:gd name="T105" fmla="*/ 39 h 1404"/>
                <a:gd name="T106" fmla="*/ 125 w 1602"/>
                <a:gd name="T107" fmla="*/ 39 h 1404"/>
                <a:gd name="T108" fmla="*/ 127 w 1602"/>
                <a:gd name="T109" fmla="*/ 43 h 1404"/>
                <a:gd name="T110" fmla="*/ 131 w 1602"/>
                <a:gd name="T111" fmla="*/ 53 h 1404"/>
                <a:gd name="T112" fmla="*/ 133 w 1602"/>
                <a:gd name="T113" fmla="*/ 60 h 1404"/>
                <a:gd name="T114" fmla="*/ 138 w 1602"/>
                <a:gd name="T115" fmla="*/ 73 h 1404"/>
                <a:gd name="T116" fmla="*/ 136 w 1602"/>
                <a:gd name="T117" fmla="*/ 80 h 1404"/>
                <a:gd name="T118" fmla="*/ 129 w 1602"/>
                <a:gd name="T119" fmla="*/ 87 h 1404"/>
                <a:gd name="T120" fmla="*/ 123 w 1602"/>
                <a:gd name="T121" fmla="*/ 95 h 14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02"/>
                <a:gd name="T184" fmla="*/ 0 h 1404"/>
                <a:gd name="T185" fmla="*/ 1602 w 1602"/>
                <a:gd name="T186" fmla="*/ 1404 h 14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02" h="1404">
                  <a:moveTo>
                    <a:pt x="1392" y="1080"/>
                  </a:moveTo>
                  <a:lnTo>
                    <a:pt x="1380" y="1074"/>
                  </a:lnTo>
                  <a:lnTo>
                    <a:pt x="1368" y="1056"/>
                  </a:lnTo>
                  <a:lnTo>
                    <a:pt x="1356" y="1044"/>
                  </a:lnTo>
                  <a:lnTo>
                    <a:pt x="1344" y="1038"/>
                  </a:lnTo>
                  <a:lnTo>
                    <a:pt x="1338" y="1038"/>
                  </a:lnTo>
                  <a:lnTo>
                    <a:pt x="1332" y="1038"/>
                  </a:lnTo>
                  <a:lnTo>
                    <a:pt x="1326" y="1044"/>
                  </a:lnTo>
                  <a:lnTo>
                    <a:pt x="1320" y="1044"/>
                  </a:lnTo>
                  <a:lnTo>
                    <a:pt x="1314" y="1044"/>
                  </a:lnTo>
                  <a:lnTo>
                    <a:pt x="1296" y="1056"/>
                  </a:lnTo>
                  <a:lnTo>
                    <a:pt x="1296" y="1080"/>
                  </a:lnTo>
                  <a:lnTo>
                    <a:pt x="1290" y="1080"/>
                  </a:lnTo>
                  <a:lnTo>
                    <a:pt x="1284" y="1086"/>
                  </a:lnTo>
                  <a:lnTo>
                    <a:pt x="1278" y="1086"/>
                  </a:lnTo>
                  <a:lnTo>
                    <a:pt x="1278" y="1092"/>
                  </a:lnTo>
                  <a:lnTo>
                    <a:pt x="1272" y="1092"/>
                  </a:lnTo>
                  <a:lnTo>
                    <a:pt x="1266" y="1086"/>
                  </a:lnTo>
                  <a:lnTo>
                    <a:pt x="1260" y="1086"/>
                  </a:lnTo>
                  <a:lnTo>
                    <a:pt x="1260" y="1098"/>
                  </a:lnTo>
                  <a:lnTo>
                    <a:pt x="1248" y="1098"/>
                  </a:lnTo>
                  <a:lnTo>
                    <a:pt x="1212" y="1116"/>
                  </a:lnTo>
                  <a:lnTo>
                    <a:pt x="1206" y="1158"/>
                  </a:lnTo>
                  <a:lnTo>
                    <a:pt x="1176" y="1164"/>
                  </a:lnTo>
                  <a:lnTo>
                    <a:pt x="1158" y="1164"/>
                  </a:lnTo>
                  <a:lnTo>
                    <a:pt x="1152" y="1164"/>
                  </a:lnTo>
                  <a:lnTo>
                    <a:pt x="1152" y="1170"/>
                  </a:lnTo>
                  <a:lnTo>
                    <a:pt x="1152" y="1176"/>
                  </a:lnTo>
                  <a:lnTo>
                    <a:pt x="1146" y="1176"/>
                  </a:lnTo>
                  <a:lnTo>
                    <a:pt x="1140" y="1176"/>
                  </a:lnTo>
                  <a:lnTo>
                    <a:pt x="1134" y="1182"/>
                  </a:lnTo>
                  <a:lnTo>
                    <a:pt x="1134" y="1188"/>
                  </a:lnTo>
                  <a:lnTo>
                    <a:pt x="1128" y="1194"/>
                  </a:lnTo>
                  <a:lnTo>
                    <a:pt x="1122" y="1194"/>
                  </a:lnTo>
                  <a:lnTo>
                    <a:pt x="1116" y="1194"/>
                  </a:lnTo>
                  <a:lnTo>
                    <a:pt x="1110" y="1200"/>
                  </a:lnTo>
                  <a:lnTo>
                    <a:pt x="1110" y="1206"/>
                  </a:lnTo>
                  <a:lnTo>
                    <a:pt x="1104" y="1212"/>
                  </a:lnTo>
                  <a:lnTo>
                    <a:pt x="1104" y="1218"/>
                  </a:lnTo>
                  <a:lnTo>
                    <a:pt x="1098" y="1224"/>
                  </a:lnTo>
                  <a:lnTo>
                    <a:pt x="1092" y="1230"/>
                  </a:lnTo>
                  <a:lnTo>
                    <a:pt x="1086" y="1230"/>
                  </a:lnTo>
                  <a:lnTo>
                    <a:pt x="1080" y="1230"/>
                  </a:lnTo>
                  <a:lnTo>
                    <a:pt x="1080" y="1242"/>
                  </a:lnTo>
                  <a:lnTo>
                    <a:pt x="1074" y="1242"/>
                  </a:lnTo>
                  <a:lnTo>
                    <a:pt x="1068" y="1242"/>
                  </a:lnTo>
                  <a:lnTo>
                    <a:pt x="1068" y="1236"/>
                  </a:lnTo>
                  <a:lnTo>
                    <a:pt x="1062" y="1242"/>
                  </a:lnTo>
                  <a:lnTo>
                    <a:pt x="1056" y="1236"/>
                  </a:lnTo>
                  <a:lnTo>
                    <a:pt x="1050" y="1242"/>
                  </a:lnTo>
                  <a:lnTo>
                    <a:pt x="1050" y="1236"/>
                  </a:lnTo>
                  <a:lnTo>
                    <a:pt x="1044" y="1194"/>
                  </a:lnTo>
                  <a:lnTo>
                    <a:pt x="1032" y="1194"/>
                  </a:lnTo>
                  <a:lnTo>
                    <a:pt x="1032" y="1200"/>
                  </a:lnTo>
                  <a:lnTo>
                    <a:pt x="1026" y="1200"/>
                  </a:lnTo>
                  <a:lnTo>
                    <a:pt x="1014" y="1218"/>
                  </a:lnTo>
                  <a:lnTo>
                    <a:pt x="1014" y="1224"/>
                  </a:lnTo>
                  <a:lnTo>
                    <a:pt x="1014" y="1236"/>
                  </a:lnTo>
                  <a:lnTo>
                    <a:pt x="1014" y="1242"/>
                  </a:lnTo>
                  <a:lnTo>
                    <a:pt x="1008" y="1242"/>
                  </a:lnTo>
                  <a:lnTo>
                    <a:pt x="1002" y="1236"/>
                  </a:lnTo>
                  <a:lnTo>
                    <a:pt x="1002" y="1230"/>
                  </a:lnTo>
                  <a:lnTo>
                    <a:pt x="996" y="1236"/>
                  </a:lnTo>
                  <a:lnTo>
                    <a:pt x="990" y="1236"/>
                  </a:lnTo>
                  <a:lnTo>
                    <a:pt x="990" y="1230"/>
                  </a:lnTo>
                  <a:lnTo>
                    <a:pt x="984" y="1236"/>
                  </a:lnTo>
                  <a:lnTo>
                    <a:pt x="978" y="1248"/>
                  </a:lnTo>
                  <a:lnTo>
                    <a:pt x="972" y="1254"/>
                  </a:lnTo>
                  <a:lnTo>
                    <a:pt x="966" y="1260"/>
                  </a:lnTo>
                  <a:lnTo>
                    <a:pt x="930" y="1284"/>
                  </a:lnTo>
                  <a:lnTo>
                    <a:pt x="942" y="1356"/>
                  </a:lnTo>
                  <a:lnTo>
                    <a:pt x="930" y="1368"/>
                  </a:lnTo>
                  <a:lnTo>
                    <a:pt x="852" y="1404"/>
                  </a:lnTo>
                  <a:lnTo>
                    <a:pt x="834" y="1392"/>
                  </a:lnTo>
                  <a:lnTo>
                    <a:pt x="834" y="1362"/>
                  </a:lnTo>
                  <a:lnTo>
                    <a:pt x="828" y="1332"/>
                  </a:lnTo>
                  <a:lnTo>
                    <a:pt x="810" y="1308"/>
                  </a:lnTo>
                  <a:lnTo>
                    <a:pt x="810" y="1284"/>
                  </a:lnTo>
                  <a:lnTo>
                    <a:pt x="816" y="1266"/>
                  </a:lnTo>
                  <a:lnTo>
                    <a:pt x="822" y="1254"/>
                  </a:lnTo>
                  <a:lnTo>
                    <a:pt x="822" y="1242"/>
                  </a:lnTo>
                  <a:lnTo>
                    <a:pt x="810" y="1230"/>
                  </a:lnTo>
                  <a:lnTo>
                    <a:pt x="804" y="1218"/>
                  </a:lnTo>
                  <a:lnTo>
                    <a:pt x="804" y="1212"/>
                  </a:lnTo>
                  <a:lnTo>
                    <a:pt x="804" y="1206"/>
                  </a:lnTo>
                  <a:lnTo>
                    <a:pt x="816" y="1194"/>
                  </a:lnTo>
                  <a:lnTo>
                    <a:pt x="822" y="1188"/>
                  </a:lnTo>
                  <a:lnTo>
                    <a:pt x="828" y="1170"/>
                  </a:lnTo>
                  <a:lnTo>
                    <a:pt x="840" y="1152"/>
                  </a:lnTo>
                  <a:lnTo>
                    <a:pt x="846" y="1146"/>
                  </a:lnTo>
                  <a:lnTo>
                    <a:pt x="846" y="1134"/>
                  </a:lnTo>
                  <a:lnTo>
                    <a:pt x="852" y="1128"/>
                  </a:lnTo>
                  <a:lnTo>
                    <a:pt x="846" y="1116"/>
                  </a:lnTo>
                  <a:lnTo>
                    <a:pt x="840" y="1098"/>
                  </a:lnTo>
                  <a:lnTo>
                    <a:pt x="840" y="1086"/>
                  </a:lnTo>
                  <a:lnTo>
                    <a:pt x="846" y="1074"/>
                  </a:lnTo>
                  <a:lnTo>
                    <a:pt x="852" y="1068"/>
                  </a:lnTo>
                  <a:lnTo>
                    <a:pt x="864" y="1038"/>
                  </a:lnTo>
                  <a:lnTo>
                    <a:pt x="870" y="1020"/>
                  </a:lnTo>
                  <a:lnTo>
                    <a:pt x="864" y="1008"/>
                  </a:lnTo>
                  <a:lnTo>
                    <a:pt x="858" y="990"/>
                  </a:lnTo>
                  <a:lnTo>
                    <a:pt x="852" y="954"/>
                  </a:lnTo>
                  <a:lnTo>
                    <a:pt x="846" y="948"/>
                  </a:lnTo>
                  <a:lnTo>
                    <a:pt x="834" y="936"/>
                  </a:lnTo>
                  <a:lnTo>
                    <a:pt x="828" y="924"/>
                  </a:lnTo>
                  <a:lnTo>
                    <a:pt x="756" y="942"/>
                  </a:lnTo>
                  <a:lnTo>
                    <a:pt x="744" y="936"/>
                  </a:lnTo>
                  <a:lnTo>
                    <a:pt x="744" y="930"/>
                  </a:lnTo>
                  <a:lnTo>
                    <a:pt x="738" y="924"/>
                  </a:lnTo>
                  <a:lnTo>
                    <a:pt x="744" y="924"/>
                  </a:lnTo>
                  <a:lnTo>
                    <a:pt x="738" y="918"/>
                  </a:lnTo>
                  <a:lnTo>
                    <a:pt x="732" y="912"/>
                  </a:lnTo>
                  <a:lnTo>
                    <a:pt x="732" y="906"/>
                  </a:lnTo>
                  <a:lnTo>
                    <a:pt x="732" y="894"/>
                  </a:lnTo>
                  <a:lnTo>
                    <a:pt x="726" y="888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6"/>
                  </a:lnTo>
                  <a:lnTo>
                    <a:pt x="690" y="882"/>
                  </a:lnTo>
                  <a:lnTo>
                    <a:pt x="684" y="864"/>
                  </a:lnTo>
                  <a:lnTo>
                    <a:pt x="684" y="852"/>
                  </a:lnTo>
                  <a:lnTo>
                    <a:pt x="672" y="852"/>
                  </a:lnTo>
                  <a:lnTo>
                    <a:pt x="654" y="852"/>
                  </a:lnTo>
                  <a:lnTo>
                    <a:pt x="642" y="846"/>
                  </a:lnTo>
                  <a:lnTo>
                    <a:pt x="636" y="834"/>
                  </a:lnTo>
                  <a:lnTo>
                    <a:pt x="630" y="822"/>
                  </a:lnTo>
                  <a:lnTo>
                    <a:pt x="618" y="822"/>
                  </a:lnTo>
                  <a:lnTo>
                    <a:pt x="618" y="816"/>
                  </a:lnTo>
                  <a:lnTo>
                    <a:pt x="618" y="810"/>
                  </a:lnTo>
                  <a:lnTo>
                    <a:pt x="612" y="810"/>
                  </a:lnTo>
                  <a:lnTo>
                    <a:pt x="606" y="804"/>
                  </a:lnTo>
                  <a:lnTo>
                    <a:pt x="594" y="804"/>
                  </a:lnTo>
                  <a:lnTo>
                    <a:pt x="588" y="810"/>
                  </a:lnTo>
                  <a:lnTo>
                    <a:pt x="588" y="804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70" y="810"/>
                  </a:lnTo>
                  <a:lnTo>
                    <a:pt x="564" y="816"/>
                  </a:lnTo>
                  <a:lnTo>
                    <a:pt x="558" y="816"/>
                  </a:lnTo>
                  <a:lnTo>
                    <a:pt x="552" y="822"/>
                  </a:lnTo>
                  <a:lnTo>
                    <a:pt x="546" y="828"/>
                  </a:lnTo>
                  <a:lnTo>
                    <a:pt x="546" y="834"/>
                  </a:lnTo>
                  <a:lnTo>
                    <a:pt x="528" y="834"/>
                  </a:lnTo>
                  <a:lnTo>
                    <a:pt x="516" y="822"/>
                  </a:lnTo>
                  <a:lnTo>
                    <a:pt x="504" y="822"/>
                  </a:lnTo>
                  <a:lnTo>
                    <a:pt x="492" y="82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6" y="792"/>
                  </a:lnTo>
                  <a:lnTo>
                    <a:pt x="492" y="786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504" y="780"/>
                  </a:lnTo>
                  <a:lnTo>
                    <a:pt x="510" y="780"/>
                  </a:lnTo>
                  <a:lnTo>
                    <a:pt x="522" y="768"/>
                  </a:lnTo>
                  <a:lnTo>
                    <a:pt x="522" y="762"/>
                  </a:lnTo>
                  <a:lnTo>
                    <a:pt x="504" y="756"/>
                  </a:lnTo>
                  <a:lnTo>
                    <a:pt x="498" y="756"/>
                  </a:lnTo>
                  <a:lnTo>
                    <a:pt x="498" y="744"/>
                  </a:lnTo>
                  <a:lnTo>
                    <a:pt x="492" y="738"/>
                  </a:lnTo>
                  <a:lnTo>
                    <a:pt x="480" y="738"/>
                  </a:lnTo>
                  <a:lnTo>
                    <a:pt x="474" y="738"/>
                  </a:lnTo>
                  <a:lnTo>
                    <a:pt x="456" y="738"/>
                  </a:lnTo>
                  <a:lnTo>
                    <a:pt x="438" y="738"/>
                  </a:lnTo>
                  <a:lnTo>
                    <a:pt x="432" y="750"/>
                  </a:lnTo>
                  <a:lnTo>
                    <a:pt x="426" y="756"/>
                  </a:lnTo>
                  <a:lnTo>
                    <a:pt x="426" y="762"/>
                  </a:lnTo>
                  <a:lnTo>
                    <a:pt x="420" y="762"/>
                  </a:lnTo>
                  <a:lnTo>
                    <a:pt x="408" y="744"/>
                  </a:lnTo>
                  <a:lnTo>
                    <a:pt x="408" y="732"/>
                  </a:lnTo>
                  <a:lnTo>
                    <a:pt x="390" y="714"/>
                  </a:lnTo>
                  <a:lnTo>
                    <a:pt x="384" y="702"/>
                  </a:lnTo>
                  <a:lnTo>
                    <a:pt x="384" y="690"/>
                  </a:lnTo>
                  <a:lnTo>
                    <a:pt x="372" y="690"/>
                  </a:lnTo>
                  <a:lnTo>
                    <a:pt x="366" y="660"/>
                  </a:lnTo>
                  <a:lnTo>
                    <a:pt x="354" y="630"/>
                  </a:lnTo>
                  <a:lnTo>
                    <a:pt x="348" y="630"/>
                  </a:lnTo>
                  <a:lnTo>
                    <a:pt x="336" y="630"/>
                  </a:lnTo>
                  <a:lnTo>
                    <a:pt x="330" y="630"/>
                  </a:lnTo>
                  <a:lnTo>
                    <a:pt x="318" y="630"/>
                  </a:lnTo>
                  <a:lnTo>
                    <a:pt x="312" y="624"/>
                  </a:lnTo>
                  <a:lnTo>
                    <a:pt x="306" y="624"/>
                  </a:lnTo>
                  <a:lnTo>
                    <a:pt x="294" y="618"/>
                  </a:lnTo>
                  <a:lnTo>
                    <a:pt x="288" y="612"/>
                  </a:lnTo>
                  <a:lnTo>
                    <a:pt x="276" y="600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58" y="588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8"/>
                  </a:lnTo>
                  <a:lnTo>
                    <a:pt x="216" y="582"/>
                  </a:lnTo>
                  <a:lnTo>
                    <a:pt x="210" y="588"/>
                  </a:lnTo>
                  <a:lnTo>
                    <a:pt x="198" y="582"/>
                  </a:lnTo>
                  <a:lnTo>
                    <a:pt x="180" y="582"/>
                  </a:lnTo>
                  <a:lnTo>
                    <a:pt x="174" y="552"/>
                  </a:lnTo>
                  <a:lnTo>
                    <a:pt x="168" y="504"/>
                  </a:lnTo>
                  <a:lnTo>
                    <a:pt x="186" y="504"/>
                  </a:lnTo>
                  <a:lnTo>
                    <a:pt x="192" y="504"/>
                  </a:lnTo>
                  <a:lnTo>
                    <a:pt x="192" y="498"/>
                  </a:lnTo>
                  <a:lnTo>
                    <a:pt x="192" y="492"/>
                  </a:lnTo>
                  <a:lnTo>
                    <a:pt x="192" y="486"/>
                  </a:lnTo>
                  <a:lnTo>
                    <a:pt x="198" y="486"/>
                  </a:lnTo>
                  <a:lnTo>
                    <a:pt x="198" y="480"/>
                  </a:lnTo>
                  <a:lnTo>
                    <a:pt x="204" y="474"/>
                  </a:lnTo>
                  <a:lnTo>
                    <a:pt x="210" y="468"/>
                  </a:lnTo>
                  <a:lnTo>
                    <a:pt x="198" y="462"/>
                  </a:lnTo>
                  <a:lnTo>
                    <a:pt x="192" y="444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32"/>
                  </a:lnTo>
                  <a:lnTo>
                    <a:pt x="168" y="438"/>
                  </a:lnTo>
                  <a:lnTo>
                    <a:pt x="150" y="450"/>
                  </a:lnTo>
                  <a:lnTo>
                    <a:pt x="144" y="456"/>
                  </a:lnTo>
                  <a:lnTo>
                    <a:pt x="132" y="456"/>
                  </a:lnTo>
                  <a:lnTo>
                    <a:pt x="126" y="468"/>
                  </a:lnTo>
                  <a:lnTo>
                    <a:pt x="114" y="468"/>
                  </a:lnTo>
                  <a:lnTo>
                    <a:pt x="108" y="468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14"/>
                  </a:lnTo>
                  <a:lnTo>
                    <a:pt x="108" y="396"/>
                  </a:lnTo>
                  <a:lnTo>
                    <a:pt x="120" y="396"/>
                  </a:lnTo>
                  <a:lnTo>
                    <a:pt x="126" y="384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84" y="354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0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60" y="318"/>
                  </a:lnTo>
                  <a:lnTo>
                    <a:pt x="42" y="324"/>
                  </a:lnTo>
                  <a:lnTo>
                    <a:pt x="36" y="318"/>
                  </a:lnTo>
                  <a:lnTo>
                    <a:pt x="36" y="312"/>
                  </a:lnTo>
                  <a:lnTo>
                    <a:pt x="36" y="306"/>
                  </a:lnTo>
                  <a:lnTo>
                    <a:pt x="36" y="300"/>
                  </a:lnTo>
                  <a:lnTo>
                    <a:pt x="30" y="300"/>
                  </a:lnTo>
                  <a:lnTo>
                    <a:pt x="30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24" y="276"/>
                  </a:lnTo>
                  <a:lnTo>
                    <a:pt x="18" y="276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18" y="234"/>
                  </a:lnTo>
                  <a:lnTo>
                    <a:pt x="30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42" y="192"/>
                  </a:lnTo>
                  <a:lnTo>
                    <a:pt x="66" y="186"/>
                  </a:lnTo>
                  <a:lnTo>
                    <a:pt x="90" y="156"/>
                  </a:lnTo>
                  <a:lnTo>
                    <a:pt x="102" y="144"/>
                  </a:lnTo>
                  <a:lnTo>
                    <a:pt x="138" y="150"/>
                  </a:lnTo>
                  <a:lnTo>
                    <a:pt x="162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0" y="180"/>
                  </a:lnTo>
                  <a:lnTo>
                    <a:pt x="174" y="180"/>
                  </a:lnTo>
                  <a:lnTo>
                    <a:pt x="180" y="186"/>
                  </a:lnTo>
                  <a:lnTo>
                    <a:pt x="186" y="186"/>
                  </a:lnTo>
                  <a:lnTo>
                    <a:pt x="198" y="192"/>
                  </a:lnTo>
                  <a:lnTo>
                    <a:pt x="216" y="198"/>
                  </a:lnTo>
                  <a:lnTo>
                    <a:pt x="252" y="204"/>
                  </a:lnTo>
                  <a:lnTo>
                    <a:pt x="258" y="210"/>
                  </a:lnTo>
                  <a:lnTo>
                    <a:pt x="306" y="216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84" y="210"/>
                  </a:lnTo>
                  <a:lnTo>
                    <a:pt x="408" y="222"/>
                  </a:lnTo>
                  <a:lnTo>
                    <a:pt x="438" y="228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86" y="222"/>
                  </a:lnTo>
                  <a:lnTo>
                    <a:pt x="492" y="210"/>
                  </a:lnTo>
                  <a:lnTo>
                    <a:pt x="492" y="198"/>
                  </a:lnTo>
                  <a:lnTo>
                    <a:pt x="486" y="180"/>
                  </a:lnTo>
                  <a:lnTo>
                    <a:pt x="492" y="162"/>
                  </a:lnTo>
                  <a:lnTo>
                    <a:pt x="510" y="96"/>
                  </a:lnTo>
                  <a:lnTo>
                    <a:pt x="516" y="84"/>
                  </a:lnTo>
                  <a:lnTo>
                    <a:pt x="522" y="84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34" y="72"/>
                  </a:lnTo>
                  <a:lnTo>
                    <a:pt x="534" y="60"/>
                  </a:lnTo>
                  <a:lnTo>
                    <a:pt x="540" y="36"/>
                  </a:lnTo>
                  <a:lnTo>
                    <a:pt x="546" y="6"/>
                  </a:lnTo>
                  <a:lnTo>
                    <a:pt x="558" y="6"/>
                  </a:lnTo>
                  <a:lnTo>
                    <a:pt x="564" y="0"/>
                  </a:lnTo>
                  <a:lnTo>
                    <a:pt x="582" y="0"/>
                  </a:lnTo>
                  <a:lnTo>
                    <a:pt x="588" y="0"/>
                  </a:lnTo>
                  <a:lnTo>
                    <a:pt x="594" y="6"/>
                  </a:lnTo>
                  <a:lnTo>
                    <a:pt x="600" y="12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24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36" y="36"/>
                  </a:lnTo>
                  <a:lnTo>
                    <a:pt x="642" y="36"/>
                  </a:lnTo>
                  <a:lnTo>
                    <a:pt x="642" y="42"/>
                  </a:lnTo>
                  <a:lnTo>
                    <a:pt x="648" y="54"/>
                  </a:lnTo>
                  <a:lnTo>
                    <a:pt x="660" y="72"/>
                  </a:lnTo>
                  <a:lnTo>
                    <a:pt x="666" y="78"/>
                  </a:lnTo>
                  <a:lnTo>
                    <a:pt x="672" y="90"/>
                  </a:lnTo>
                  <a:lnTo>
                    <a:pt x="678" y="102"/>
                  </a:lnTo>
                  <a:lnTo>
                    <a:pt x="678" y="114"/>
                  </a:lnTo>
                  <a:lnTo>
                    <a:pt x="684" y="132"/>
                  </a:lnTo>
                  <a:lnTo>
                    <a:pt x="684" y="144"/>
                  </a:lnTo>
                  <a:lnTo>
                    <a:pt x="690" y="162"/>
                  </a:lnTo>
                  <a:lnTo>
                    <a:pt x="696" y="168"/>
                  </a:lnTo>
                  <a:lnTo>
                    <a:pt x="696" y="180"/>
                  </a:lnTo>
                  <a:lnTo>
                    <a:pt x="702" y="186"/>
                  </a:lnTo>
                  <a:lnTo>
                    <a:pt x="708" y="186"/>
                  </a:lnTo>
                  <a:lnTo>
                    <a:pt x="714" y="198"/>
                  </a:lnTo>
                  <a:lnTo>
                    <a:pt x="720" y="198"/>
                  </a:lnTo>
                  <a:lnTo>
                    <a:pt x="732" y="204"/>
                  </a:lnTo>
                  <a:lnTo>
                    <a:pt x="738" y="210"/>
                  </a:lnTo>
                  <a:lnTo>
                    <a:pt x="738" y="216"/>
                  </a:lnTo>
                  <a:lnTo>
                    <a:pt x="744" y="222"/>
                  </a:lnTo>
                  <a:lnTo>
                    <a:pt x="750" y="228"/>
                  </a:lnTo>
                  <a:lnTo>
                    <a:pt x="756" y="228"/>
                  </a:lnTo>
                  <a:lnTo>
                    <a:pt x="768" y="240"/>
                  </a:lnTo>
                  <a:lnTo>
                    <a:pt x="774" y="252"/>
                  </a:lnTo>
                  <a:lnTo>
                    <a:pt x="780" y="258"/>
                  </a:lnTo>
                  <a:lnTo>
                    <a:pt x="786" y="258"/>
                  </a:lnTo>
                  <a:lnTo>
                    <a:pt x="798" y="264"/>
                  </a:lnTo>
                  <a:lnTo>
                    <a:pt x="798" y="270"/>
                  </a:lnTo>
                  <a:lnTo>
                    <a:pt x="798" y="276"/>
                  </a:lnTo>
                  <a:lnTo>
                    <a:pt x="810" y="288"/>
                  </a:lnTo>
                  <a:lnTo>
                    <a:pt x="816" y="288"/>
                  </a:lnTo>
                  <a:lnTo>
                    <a:pt x="816" y="300"/>
                  </a:lnTo>
                  <a:lnTo>
                    <a:pt x="816" y="306"/>
                  </a:lnTo>
                  <a:lnTo>
                    <a:pt x="822" y="318"/>
                  </a:lnTo>
                  <a:lnTo>
                    <a:pt x="828" y="324"/>
                  </a:lnTo>
                  <a:lnTo>
                    <a:pt x="834" y="330"/>
                  </a:lnTo>
                  <a:lnTo>
                    <a:pt x="846" y="336"/>
                  </a:lnTo>
                  <a:lnTo>
                    <a:pt x="846" y="342"/>
                  </a:lnTo>
                  <a:lnTo>
                    <a:pt x="852" y="348"/>
                  </a:lnTo>
                  <a:lnTo>
                    <a:pt x="852" y="354"/>
                  </a:lnTo>
                  <a:lnTo>
                    <a:pt x="858" y="354"/>
                  </a:lnTo>
                  <a:lnTo>
                    <a:pt x="858" y="348"/>
                  </a:lnTo>
                  <a:lnTo>
                    <a:pt x="864" y="342"/>
                  </a:lnTo>
                  <a:lnTo>
                    <a:pt x="864" y="336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76" y="306"/>
                  </a:lnTo>
                  <a:lnTo>
                    <a:pt x="870" y="300"/>
                  </a:lnTo>
                  <a:lnTo>
                    <a:pt x="870" y="294"/>
                  </a:lnTo>
                  <a:lnTo>
                    <a:pt x="876" y="294"/>
                  </a:lnTo>
                  <a:lnTo>
                    <a:pt x="882" y="300"/>
                  </a:lnTo>
                  <a:lnTo>
                    <a:pt x="888" y="300"/>
                  </a:lnTo>
                  <a:lnTo>
                    <a:pt x="888" y="306"/>
                  </a:lnTo>
                  <a:lnTo>
                    <a:pt x="894" y="300"/>
                  </a:lnTo>
                  <a:lnTo>
                    <a:pt x="900" y="294"/>
                  </a:lnTo>
                  <a:lnTo>
                    <a:pt x="894" y="288"/>
                  </a:lnTo>
                  <a:lnTo>
                    <a:pt x="888" y="282"/>
                  </a:lnTo>
                  <a:lnTo>
                    <a:pt x="888" y="276"/>
                  </a:lnTo>
                  <a:lnTo>
                    <a:pt x="894" y="276"/>
                  </a:lnTo>
                  <a:lnTo>
                    <a:pt x="900" y="276"/>
                  </a:lnTo>
                  <a:lnTo>
                    <a:pt x="900" y="270"/>
                  </a:lnTo>
                  <a:lnTo>
                    <a:pt x="906" y="264"/>
                  </a:lnTo>
                  <a:lnTo>
                    <a:pt x="906" y="258"/>
                  </a:lnTo>
                  <a:lnTo>
                    <a:pt x="918" y="264"/>
                  </a:lnTo>
                  <a:lnTo>
                    <a:pt x="918" y="258"/>
                  </a:lnTo>
                  <a:lnTo>
                    <a:pt x="924" y="252"/>
                  </a:lnTo>
                  <a:lnTo>
                    <a:pt x="930" y="252"/>
                  </a:lnTo>
                  <a:lnTo>
                    <a:pt x="930" y="246"/>
                  </a:lnTo>
                  <a:lnTo>
                    <a:pt x="936" y="234"/>
                  </a:lnTo>
                  <a:lnTo>
                    <a:pt x="942" y="228"/>
                  </a:lnTo>
                  <a:lnTo>
                    <a:pt x="942" y="222"/>
                  </a:lnTo>
                  <a:lnTo>
                    <a:pt x="948" y="222"/>
                  </a:lnTo>
                  <a:lnTo>
                    <a:pt x="948" y="216"/>
                  </a:lnTo>
                  <a:lnTo>
                    <a:pt x="942" y="216"/>
                  </a:lnTo>
                  <a:lnTo>
                    <a:pt x="936" y="216"/>
                  </a:lnTo>
                  <a:lnTo>
                    <a:pt x="936" y="210"/>
                  </a:lnTo>
                  <a:lnTo>
                    <a:pt x="942" y="210"/>
                  </a:lnTo>
                  <a:lnTo>
                    <a:pt x="972" y="210"/>
                  </a:lnTo>
                  <a:lnTo>
                    <a:pt x="1032" y="216"/>
                  </a:lnTo>
                  <a:lnTo>
                    <a:pt x="1068" y="216"/>
                  </a:lnTo>
                  <a:lnTo>
                    <a:pt x="1056" y="234"/>
                  </a:lnTo>
                  <a:lnTo>
                    <a:pt x="1050" y="240"/>
                  </a:lnTo>
                  <a:lnTo>
                    <a:pt x="1044" y="246"/>
                  </a:lnTo>
                  <a:lnTo>
                    <a:pt x="1038" y="246"/>
                  </a:lnTo>
                  <a:lnTo>
                    <a:pt x="1026" y="282"/>
                  </a:lnTo>
                  <a:lnTo>
                    <a:pt x="1032" y="306"/>
                  </a:lnTo>
                  <a:lnTo>
                    <a:pt x="1044" y="324"/>
                  </a:lnTo>
                  <a:lnTo>
                    <a:pt x="1044" y="342"/>
                  </a:lnTo>
                  <a:lnTo>
                    <a:pt x="1062" y="366"/>
                  </a:lnTo>
                  <a:lnTo>
                    <a:pt x="1056" y="396"/>
                  </a:lnTo>
                  <a:lnTo>
                    <a:pt x="1038" y="462"/>
                  </a:lnTo>
                  <a:lnTo>
                    <a:pt x="1038" y="498"/>
                  </a:lnTo>
                  <a:lnTo>
                    <a:pt x="1038" y="522"/>
                  </a:lnTo>
                  <a:lnTo>
                    <a:pt x="1038" y="534"/>
                  </a:lnTo>
                  <a:lnTo>
                    <a:pt x="1056" y="522"/>
                  </a:lnTo>
                  <a:lnTo>
                    <a:pt x="1098" y="504"/>
                  </a:lnTo>
                  <a:lnTo>
                    <a:pt x="1104" y="498"/>
                  </a:lnTo>
                  <a:lnTo>
                    <a:pt x="1128" y="492"/>
                  </a:lnTo>
                  <a:lnTo>
                    <a:pt x="1152" y="480"/>
                  </a:lnTo>
                  <a:lnTo>
                    <a:pt x="1170" y="474"/>
                  </a:lnTo>
                  <a:lnTo>
                    <a:pt x="1188" y="468"/>
                  </a:lnTo>
                  <a:lnTo>
                    <a:pt x="1200" y="462"/>
                  </a:lnTo>
                  <a:lnTo>
                    <a:pt x="1224" y="450"/>
                  </a:lnTo>
                  <a:lnTo>
                    <a:pt x="1248" y="450"/>
                  </a:lnTo>
                  <a:lnTo>
                    <a:pt x="1266" y="450"/>
                  </a:lnTo>
                  <a:lnTo>
                    <a:pt x="1296" y="456"/>
                  </a:lnTo>
                  <a:lnTo>
                    <a:pt x="1308" y="456"/>
                  </a:lnTo>
                  <a:lnTo>
                    <a:pt x="1326" y="456"/>
                  </a:lnTo>
                  <a:lnTo>
                    <a:pt x="1338" y="456"/>
                  </a:lnTo>
                  <a:lnTo>
                    <a:pt x="1350" y="462"/>
                  </a:lnTo>
                  <a:lnTo>
                    <a:pt x="1356" y="462"/>
                  </a:lnTo>
                  <a:lnTo>
                    <a:pt x="1374" y="456"/>
                  </a:lnTo>
                  <a:lnTo>
                    <a:pt x="1386" y="456"/>
                  </a:lnTo>
                  <a:lnTo>
                    <a:pt x="1392" y="456"/>
                  </a:lnTo>
                  <a:lnTo>
                    <a:pt x="1398" y="456"/>
                  </a:lnTo>
                  <a:lnTo>
                    <a:pt x="1422" y="456"/>
                  </a:lnTo>
                  <a:lnTo>
                    <a:pt x="1440" y="456"/>
                  </a:lnTo>
                  <a:lnTo>
                    <a:pt x="1446" y="456"/>
                  </a:lnTo>
                  <a:lnTo>
                    <a:pt x="1476" y="456"/>
                  </a:lnTo>
                  <a:lnTo>
                    <a:pt x="1470" y="468"/>
                  </a:lnTo>
                  <a:lnTo>
                    <a:pt x="1470" y="474"/>
                  </a:lnTo>
                  <a:lnTo>
                    <a:pt x="1470" y="486"/>
                  </a:lnTo>
                  <a:lnTo>
                    <a:pt x="1464" y="492"/>
                  </a:lnTo>
                  <a:lnTo>
                    <a:pt x="1464" y="498"/>
                  </a:lnTo>
                  <a:lnTo>
                    <a:pt x="1458" y="498"/>
                  </a:lnTo>
                  <a:lnTo>
                    <a:pt x="1458" y="510"/>
                  </a:lnTo>
                  <a:lnTo>
                    <a:pt x="1452" y="522"/>
                  </a:lnTo>
                  <a:lnTo>
                    <a:pt x="1458" y="528"/>
                  </a:lnTo>
                  <a:lnTo>
                    <a:pt x="1464" y="546"/>
                  </a:lnTo>
                  <a:lnTo>
                    <a:pt x="1470" y="552"/>
                  </a:lnTo>
                  <a:lnTo>
                    <a:pt x="1476" y="564"/>
                  </a:lnTo>
                  <a:lnTo>
                    <a:pt x="1488" y="588"/>
                  </a:lnTo>
                  <a:lnTo>
                    <a:pt x="1506" y="606"/>
                  </a:lnTo>
                  <a:lnTo>
                    <a:pt x="1506" y="612"/>
                  </a:lnTo>
                  <a:lnTo>
                    <a:pt x="1518" y="618"/>
                  </a:lnTo>
                  <a:lnTo>
                    <a:pt x="1512" y="630"/>
                  </a:lnTo>
                  <a:lnTo>
                    <a:pt x="1518" y="642"/>
                  </a:lnTo>
                  <a:lnTo>
                    <a:pt x="1518" y="648"/>
                  </a:lnTo>
                  <a:lnTo>
                    <a:pt x="1530" y="666"/>
                  </a:lnTo>
                  <a:lnTo>
                    <a:pt x="1518" y="672"/>
                  </a:lnTo>
                  <a:lnTo>
                    <a:pt x="1524" y="696"/>
                  </a:lnTo>
                  <a:lnTo>
                    <a:pt x="1518" y="732"/>
                  </a:lnTo>
                  <a:lnTo>
                    <a:pt x="1524" y="762"/>
                  </a:lnTo>
                  <a:lnTo>
                    <a:pt x="1524" y="780"/>
                  </a:lnTo>
                  <a:lnTo>
                    <a:pt x="1524" y="810"/>
                  </a:lnTo>
                  <a:lnTo>
                    <a:pt x="1530" y="834"/>
                  </a:lnTo>
                  <a:lnTo>
                    <a:pt x="1536" y="846"/>
                  </a:lnTo>
                  <a:lnTo>
                    <a:pt x="1542" y="846"/>
                  </a:lnTo>
                  <a:lnTo>
                    <a:pt x="1584" y="840"/>
                  </a:lnTo>
                  <a:lnTo>
                    <a:pt x="1590" y="846"/>
                  </a:lnTo>
                  <a:lnTo>
                    <a:pt x="1596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90" y="864"/>
                  </a:lnTo>
                  <a:lnTo>
                    <a:pt x="1578" y="882"/>
                  </a:lnTo>
                  <a:lnTo>
                    <a:pt x="1572" y="906"/>
                  </a:lnTo>
                  <a:lnTo>
                    <a:pt x="1560" y="924"/>
                  </a:lnTo>
                  <a:lnTo>
                    <a:pt x="1560" y="936"/>
                  </a:lnTo>
                  <a:lnTo>
                    <a:pt x="1548" y="960"/>
                  </a:lnTo>
                  <a:lnTo>
                    <a:pt x="1542" y="978"/>
                  </a:lnTo>
                  <a:lnTo>
                    <a:pt x="1536" y="990"/>
                  </a:lnTo>
                  <a:lnTo>
                    <a:pt x="1530" y="990"/>
                  </a:lnTo>
                  <a:lnTo>
                    <a:pt x="1506" y="996"/>
                  </a:lnTo>
                  <a:lnTo>
                    <a:pt x="1494" y="1002"/>
                  </a:lnTo>
                  <a:lnTo>
                    <a:pt x="1482" y="1002"/>
                  </a:lnTo>
                  <a:lnTo>
                    <a:pt x="1464" y="1008"/>
                  </a:lnTo>
                  <a:lnTo>
                    <a:pt x="1446" y="1026"/>
                  </a:lnTo>
                  <a:lnTo>
                    <a:pt x="1440" y="1026"/>
                  </a:lnTo>
                  <a:lnTo>
                    <a:pt x="1434" y="1038"/>
                  </a:lnTo>
                  <a:lnTo>
                    <a:pt x="1428" y="1044"/>
                  </a:lnTo>
                  <a:lnTo>
                    <a:pt x="1428" y="1062"/>
                  </a:lnTo>
                  <a:lnTo>
                    <a:pt x="1428" y="1086"/>
                  </a:lnTo>
                  <a:lnTo>
                    <a:pt x="1416" y="1092"/>
                  </a:lnTo>
                  <a:lnTo>
                    <a:pt x="1410" y="1080"/>
                  </a:lnTo>
                  <a:lnTo>
                    <a:pt x="1392" y="1080"/>
                  </a:lnTo>
                  <a:close/>
                </a:path>
              </a:pathLst>
            </a:custGeom>
            <a:solidFill>
              <a:srgbClr val="BFBFBF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0" name="Freeform 25">
              <a:extLst>
                <a:ext uri="{FF2B5EF4-FFF2-40B4-BE49-F238E27FC236}">
                  <a16:creationId xmlns:a16="http://schemas.microsoft.com/office/drawing/2014/main" id="{39FDFF90-5ACF-4D65-81AD-C44D2CBE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70228" y="3063559"/>
              <a:ext cx="644023" cy="704498"/>
            </a:xfrm>
            <a:custGeom>
              <a:avLst/>
              <a:gdLst>
                <a:gd name="T0" fmla="*/ 74 w 1212"/>
                <a:gd name="T1" fmla="*/ 113 h 1326"/>
                <a:gd name="T2" fmla="*/ 60 w 1212"/>
                <a:gd name="T3" fmla="*/ 116 h 1326"/>
                <a:gd name="T4" fmla="*/ 62 w 1212"/>
                <a:gd name="T5" fmla="*/ 110 h 1326"/>
                <a:gd name="T6" fmla="*/ 60 w 1212"/>
                <a:gd name="T7" fmla="*/ 105 h 1326"/>
                <a:gd name="T8" fmla="*/ 52 w 1212"/>
                <a:gd name="T9" fmla="*/ 96 h 1326"/>
                <a:gd name="T10" fmla="*/ 47 w 1212"/>
                <a:gd name="T11" fmla="*/ 98 h 1326"/>
                <a:gd name="T12" fmla="*/ 44 w 1212"/>
                <a:gd name="T13" fmla="*/ 93 h 1326"/>
                <a:gd name="T14" fmla="*/ 40 w 1212"/>
                <a:gd name="T15" fmla="*/ 96 h 1326"/>
                <a:gd name="T16" fmla="*/ 35 w 1212"/>
                <a:gd name="T17" fmla="*/ 102 h 1326"/>
                <a:gd name="T18" fmla="*/ 27 w 1212"/>
                <a:gd name="T19" fmla="*/ 100 h 1326"/>
                <a:gd name="T20" fmla="*/ 23 w 1212"/>
                <a:gd name="T21" fmla="*/ 96 h 1326"/>
                <a:gd name="T22" fmla="*/ 20 w 1212"/>
                <a:gd name="T23" fmla="*/ 90 h 1326"/>
                <a:gd name="T24" fmla="*/ 18 w 1212"/>
                <a:gd name="T25" fmla="*/ 89 h 1326"/>
                <a:gd name="T26" fmla="*/ 18 w 1212"/>
                <a:gd name="T27" fmla="*/ 85 h 1326"/>
                <a:gd name="T28" fmla="*/ 19 w 1212"/>
                <a:gd name="T29" fmla="*/ 83 h 1326"/>
                <a:gd name="T30" fmla="*/ 19 w 1212"/>
                <a:gd name="T31" fmla="*/ 82 h 1326"/>
                <a:gd name="T32" fmla="*/ 20 w 1212"/>
                <a:gd name="T33" fmla="*/ 79 h 1326"/>
                <a:gd name="T34" fmla="*/ 19 w 1212"/>
                <a:gd name="T35" fmla="*/ 75 h 1326"/>
                <a:gd name="T36" fmla="*/ 17 w 1212"/>
                <a:gd name="T37" fmla="*/ 77 h 1326"/>
                <a:gd name="T38" fmla="*/ 14 w 1212"/>
                <a:gd name="T39" fmla="*/ 76 h 1326"/>
                <a:gd name="T40" fmla="*/ 12 w 1212"/>
                <a:gd name="T41" fmla="*/ 71 h 1326"/>
                <a:gd name="T42" fmla="*/ 8 w 1212"/>
                <a:gd name="T43" fmla="*/ 69 h 1326"/>
                <a:gd name="T44" fmla="*/ 0 w 1212"/>
                <a:gd name="T45" fmla="*/ 72 h 1326"/>
                <a:gd name="T46" fmla="*/ 2 w 1212"/>
                <a:gd name="T47" fmla="*/ 67 h 1326"/>
                <a:gd name="T48" fmla="*/ 3 w 1212"/>
                <a:gd name="T49" fmla="*/ 61 h 1326"/>
                <a:gd name="T50" fmla="*/ 4 w 1212"/>
                <a:gd name="T51" fmla="*/ 56 h 1326"/>
                <a:gd name="T52" fmla="*/ 4 w 1212"/>
                <a:gd name="T53" fmla="*/ 52 h 1326"/>
                <a:gd name="T54" fmla="*/ 2 w 1212"/>
                <a:gd name="T55" fmla="*/ 47 h 1326"/>
                <a:gd name="T56" fmla="*/ 2 w 1212"/>
                <a:gd name="T57" fmla="*/ 42 h 1326"/>
                <a:gd name="T58" fmla="*/ 5 w 1212"/>
                <a:gd name="T59" fmla="*/ 39 h 1326"/>
                <a:gd name="T60" fmla="*/ 5 w 1212"/>
                <a:gd name="T61" fmla="*/ 35 h 1326"/>
                <a:gd name="T62" fmla="*/ 7 w 1212"/>
                <a:gd name="T63" fmla="*/ 31 h 1326"/>
                <a:gd name="T64" fmla="*/ 14 w 1212"/>
                <a:gd name="T65" fmla="*/ 31 h 1326"/>
                <a:gd name="T66" fmla="*/ 18 w 1212"/>
                <a:gd name="T67" fmla="*/ 27 h 1326"/>
                <a:gd name="T68" fmla="*/ 22 w 1212"/>
                <a:gd name="T69" fmla="*/ 24 h 1326"/>
                <a:gd name="T70" fmla="*/ 27 w 1212"/>
                <a:gd name="T71" fmla="*/ 20 h 1326"/>
                <a:gd name="T72" fmla="*/ 35 w 1212"/>
                <a:gd name="T73" fmla="*/ 21 h 1326"/>
                <a:gd name="T74" fmla="*/ 61 w 1212"/>
                <a:gd name="T75" fmla="*/ 8 h 1326"/>
                <a:gd name="T76" fmla="*/ 73 w 1212"/>
                <a:gd name="T77" fmla="*/ 4 h 1326"/>
                <a:gd name="T78" fmla="*/ 86 w 1212"/>
                <a:gd name="T79" fmla="*/ 12 h 1326"/>
                <a:gd name="T80" fmla="*/ 92 w 1212"/>
                <a:gd name="T81" fmla="*/ 13 h 1326"/>
                <a:gd name="T82" fmla="*/ 86 w 1212"/>
                <a:gd name="T83" fmla="*/ 18 h 1326"/>
                <a:gd name="T84" fmla="*/ 88 w 1212"/>
                <a:gd name="T85" fmla="*/ 33 h 1326"/>
                <a:gd name="T86" fmla="*/ 97 w 1212"/>
                <a:gd name="T87" fmla="*/ 49 h 1326"/>
                <a:gd name="T88" fmla="*/ 102 w 1212"/>
                <a:gd name="T89" fmla="*/ 57 h 1326"/>
                <a:gd name="T90" fmla="*/ 104 w 1212"/>
                <a:gd name="T91" fmla="*/ 67 h 1326"/>
                <a:gd name="T92" fmla="*/ 101 w 1212"/>
                <a:gd name="T93" fmla="*/ 69 h 1326"/>
                <a:gd name="T94" fmla="*/ 97 w 1212"/>
                <a:gd name="T95" fmla="*/ 69 h 1326"/>
                <a:gd name="T96" fmla="*/ 96 w 1212"/>
                <a:gd name="T97" fmla="*/ 71 h 1326"/>
                <a:gd name="T98" fmla="*/ 93 w 1212"/>
                <a:gd name="T99" fmla="*/ 70 h 1326"/>
                <a:gd name="T100" fmla="*/ 86 w 1212"/>
                <a:gd name="T101" fmla="*/ 69 h 1326"/>
                <a:gd name="T102" fmla="*/ 82 w 1212"/>
                <a:gd name="T103" fmla="*/ 73 h 1326"/>
                <a:gd name="T104" fmla="*/ 79 w 1212"/>
                <a:gd name="T105" fmla="*/ 74 h 1326"/>
                <a:gd name="T106" fmla="*/ 78 w 1212"/>
                <a:gd name="T107" fmla="*/ 79 h 1326"/>
                <a:gd name="T108" fmla="*/ 78 w 1212"/>
                <a:gd name="T109" fmla="*/ 83 h 1326"/>
                <a:gd name="T110" fmla="*/ 82 w 1212"/>
                <a:gd name="T111" fmla="*/ 87 h 1326"/>
                <a:gd name="T112" fmla="*/ 83 w 1212"/>
                <a:gd name="T113" fmla="*/ 90 h 1326"/>
                <a:gd name="T114" fmla="*/ 82 w 1212"/>
                <a:gd name="T115" fmla="*/ 94 h 1326"/>
                <a:gd name="T116" fmla="*/ 82 w 1212"/>
                <a:gd name="T117" fmla="*/ 98 h 1326"/>
                <a:gd name="T118" fmla="*/ 82 w 1212"/>
                <a:gd name="T119" fmla="*/ 104 h 1326"/>
                <a:gd name="T120" fmla="*/ 78 w 1212"/>
                <a:gd name="T121" fmla="*/ 110 h 132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12"/>
                <a:gd name="T184" fmla="*/ 0 h 1326"/>
                <a:gd name="T185" fmla="*/ 1212 w 1212"/>
                <a:gd name="T186" fmla="*/ 1326 h 132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12" h="1326">
                  <a:moveTo>
                    <a:pt x="906" y="1290"/>
                  </a:moveTo>
                  <a:lnTo>
                    <a:pt x="906" y="1296"/>
                  </a:lnTo>
                  <a:lnTo>
                    <a:pt x="900" y="1296"/>
                  </a:lnTo>
                  <a:lnTo>
                    <a:pt x="876" y="1290"/>
                  </a:lnTo>
                  <a:lnTo>
                    <a:pt x="870" y="1290"/>
                  </a:lnTo>
                  <a:lnTo>
                    <a:pt x="864" y="1296"/>
                  </a:lnTo>
                  <a:lnTo>
                    <a:pt x="852" y="1296"/>
                  </a:lnTo>
                  <a:lnTo>
                    <a:pt x="840" y="1302"/>
                  </a:lnTo>
                  <a:lnTo>
                    <a:pt x="834" y="1308"/>
                  </a:lnTo>
                  <a:lnTo>
                    <a:pt x="822" y="1320"/>
                  </a:lnTo>
                  <a:lnTo>
                    <a:pt x="816" y="1320"/>
                  </a:lnTo>
                  <a:lnTo>
                    <a:pt x="732" y="1320"/>
                  </a:lnTo>
                  <a:lnTo>
                    <a:pt x="696" y="1320"/>
                  </a:lnTo>
                  <a:lnTo>
                    <a:pt x="690" y="1326"/>
                  </a:lnTo>
                  <a:lnTo>
                    <a:pt x="678" y="1326"/>
                  </a:lnTo>
                  <a:lnTo>
                    <a:pt x="672" y="1308"/>
                  </a:lnTo>
                  <a:lnTo>
                    <a:pt x="696" y="1302"/>
                  </a:lnTo>
                  <a:lnTo>
                    <a:pt x="708" y="1296"/>
                  </a:lnTo>
                  <a:lnTo>
                    <a:pt x="720" y="1284"/>
                  </a:lnTo>
                  <a:lnTo>
                    <a:pt x="714" y="1278"/>
                  </a:lnTo>
                  <a:lnTo>
                    <a:pt x="714" y="1266"/>
                  </a:lnTo>
                  <a:lnTo>
                    <a:pt x="708" y="1260"/>
                  </a:lnTo>
                  <a:lnTo>
                    <a:pt x="708" y="1254"/>
                  </a:lnTo>
                  <a:lnTo>
                    <a:pt x="708" y="1248"/>
                  </a:lnTo>
                  <a:lnTo>
                    <a:pt x="702" y="1236"/>
                  </a:lnTo>
                  <a:lnTo>
                    <a:pt x="702" y="1230"/>
                  </a:lnTo>
                  <a:lnTo>
                    <a:pt x="702" y="1218"/>
                  </a:lnTo>
                  <a:lnTo>
                    <a:pt x="696" y="1200"/>
                  </a:lnTo>
                  <a:lnTo>
                    <a:pt x="696" y="1182"/>
                  </a:lnTo>
                  <a:lnTo>
                    <a:pt x="666" y="1182"/>
                  </a:lnTo>
                  <a:lnTo>
                    <a:pt x="672" y="1134"/>
                  </a:lnTo>
                  <a:lnTo>
                    <a:pt x="666" y="1128"/>
                  </a:lnTo>
                  <a:lnTo>
                    <a:pt x="660" y="1092"/>
                  </a:lnTo>
                  <a:lnTo>
                    <a:pt x="654" y="1098"/>
                  </a:lnTo>
                  <a:lnTo>
                    <a:pt x="594" y="1098"/>
                  </a:lnTo>
                  <a:lnTo>
                    <a:pt x="576" y="1098"/>
                  </a:lnTo>
                  <a:lnTo>
                    <a:pt x="570" y="1104"/>
                  </a:lnTo>
                  <a:lnTo>
                    <a:pt x="564" y="1110"/>
                  </a:lnTo>
                  <a:lnTo>
                    <a:pt x="558" y="1110"/>
                  </a:lnTo>
                  <a:lnTo>
                    <a:pt x="552" y="1110"/>
                  </a:lnTo>
                  <a:lnTo>
                    <a:pt x="546" y="1110"/>
                  </a:lnTo>
                  <a:lnTo>
                    <a:pt x="546" y="1116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10" y="1128"/>
                  </a:lnTo>
                  <a:lnTo>
                    <a:pt x="522" y="1104"/>
                  </a:lnTo>
                  <a:lnTo>
                    <a:pt x="510" y="1098"/>
                  </a:lnTo>
                  <a:lnTo>
                    <a:pt x="510" y="1074"/>
                  </a:lnTo>
                  <a:lnTo>
                    <a:pt x="504" y="1068"/>
                  </a:lnTo>
                  <a:lnTo>
                    <a:pt x="498" y="1068"/>
                  </a:lnTo>
                  <a:lnTo>
                    <a:pt x="492" y="1068"/>
                  </a:lnTo>
                  <a:lnTo>
                    <a:pt x="474" y="1080"/>
                  </a:lnTo>
                  <a:lnTo>
                    <a:pt x="474" y="1086"/>
                  </a:lnTo>
                  <a:lnTo>
                    <a:pt x="474" y="1092"/>
                  </a:lnTo>
                  <a:lnTo>
                    <a:pt x="468" y="1098"/>
                  </a:lnTo>
                  <a:lnTo>
                    <a:pt x="462" y="1104"/>
                  </a:lnTo>
                  <a:lnTo>
                    <a:pt x="456" y="1110"/>
                  </a:lnTo>
                  <a:lnTo>
                    <a:pt x="456" y="1122"/>
                  </a:lnTo>
                  <a:lnTo>
                    <a:pt x="456" y="1128"/>
                  </a:lnTo>
                  <a:lnTo>
                    <a:pt x="450" y="1140"/>
                  </a:lnTo>
                  <a:lnTo>
                    <a:pt x="444" y="1146"/>
                  </a:lnTo>
                  <a:lnTo>
                    <a:pt x="426" y="1170"/>
                  </a:lnTo>
                  <a:lnTo>
                    <a:pt x="408" y="1176"/>
                  </a:lnTo>
                  <a:lnTo>
                    <a:pt x="402" y="1170"/>
                  </a:lnTo>
                  <a:lnTo>
                    <a:pt x="396" y="1170"/>
                  </a:lnTo>
                  <a:lnTo>
                    <a:pt x="396" y="1158"/>
                  </a:lnTo>
                  <a:lnTo>
                    <a:pt x="384" y="1152"/>
                  </a:lnTo>
                  <a:lnTo>
                    <a:pt x="372" y="1140"/>
                  </a:lnTo>
                  <a:lnTo>
                    <a:pt x="354" y="1140"/>
                  </a:lnTo>
                  <a:lnTo>
                    <a:pt x="306" y="1146"/>
                  </a:lnTo>
                  <a:lnTo>
                    <a:pt x="294" y="1134"/>
                  </a:lnTo>
                  <a:lnTo>
                    <a:pt x="294" y="1128"/>
                  </a:lnTo>
                  <a:lnTo>
                    <a:pt x="288" y="1122"/>
                  </a:lnTo>
                  <a:lnTo>
                    <a:pt x="276" y="1122"/>
                  </a:lnTo>
                  <a:lnTo>
                    <a:pt x="276" y="1110"/>
                  </a:lnTo>
                  <a:lnTo>
                    <a:pt x="276" y="1104"/>
                  </a:lnTo>
                  <a:lnTo>
                    <a:pt x="270" y="1098"/>
                  </a:lnTo>
                  <a:lnTo>
                    <a:pt x="264" y="1086"/>
                  </a:lnTo>
                  <a:lnTo>
                    <a:pt x="264" y="1074"/>
                  </a:lnTo>
                  <a:lnTo>
                    <a:pt x="258" y="1068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34" y="1038"/>
                  </a:lnTo>
                  <a:lnTo>
                    <a:pt x="228" y="1038"/>
                  </a:lnTo>
                  <a:lnTo>
                    <a:pt x="222" y="1038"/>
                  </a:lnTo>
                  <a:lnTo>
                    <a:pt x="216" y="1038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0"/>
                  </a:lnTo>
                  <a:lnTo>
                    <a:pt x="204" y="1014"/>
                  </a:lnTo>
                  <a:lnTo>
                    <a:pt x="204" y="1008"/>
                  </a:lnTo>
                  <a:lnTo>
                    <a:pt x="198" y="1002"/>
                  </a:lnTo>
                  <a:lnTo>
                    <a:pt x="198" y="996"/>
                  </a:lnTo>
                  <a:lnTo>
                    <a:pt x="198" y="990"/>
                  </a:lnTo>
                  <a:lnTo>
                    <a:pt x="204" y="990"/>
                  </a:lnTo>
                  <a:lnTo>
                    <a:pt x="204" y="984"/>
                  </a:lnTo>
                  <a:lnTo>
                    <a:pt x="210" y="978"/>
                  </a:lnTo>
                  <a:lnTo>
                    <a:pt x="210" y="972"/>
                  </a:lnTo>
                  <a:lnTo>
                    <a:pt x="210" y="966"/>
                  </a:lnTo>
                  <a:lnTo>
                    <a:pt x="216" y="960"/>
                  </a:lnTo>
                  <a:lnTo>
                    <a:pt x="216" y="954"/>
                  </a:lnTo>
                  <a:lnTo>
                    <a:pt x="210" y="954"/>
                  </a:lnTo>
                  <a:lnTo>
                    <a:pt x="204" y="954"/>
                  </a:lnTo>
                  <a:lnTo>
                    <a:pt x="216" y="954"/>
                  </a:lnTo>
                  <a:lnTo>
                    <a:pt x="216" y="948"/>
                  </a:lnTo>
                  <a:lnTo>
                    <a:pt x="210" y="948"/>
                  </a:lnTo>
                  <a:lnTo>
                    <a:pt x="210" y="942"/>
                  </a:lnTo>
                  <a:lnTo>
                    <a:pt x="216" y="942"/>
                  </a:lnTo>
                  <a:lnTo>
                    <a:pt x="222" y="942"/>
                  </a:lnTo>
                  <a:lnTo>
                    <a:pt x="222" y="936"/>
                  </a:lnTo>
                  <a:lnTo>
                    <a:pt x="216" y="936"/>
                  </a:lnTo>
                  <a:lnTo>
                    <a:pt x="210" y="936"/>
                  </a:lnTo>
                  <a:lnTo>
                    <a:pt x="210" y="930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22" y="918"/>
                  </a:lnTo>
                  <a:lnTo>
                    <a:pt x="228" y="912"/>
                  </a:lnTo>
                  <a:lnTo>
                    <a:pt x="228" y="906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2" y="888"/>
                  </a:lnTo>
                  <a:lnTo>
                    <a:pt x="222" y="882"/>
                  </a:lnTo>
                  <a:lnTo>
                    <a:pt x="222" y="876"/>
                  </a:lnTo>
                  <a:lnTo>
                    <a:pt x="222" y="858"/>
                  </a:lnTo>
                  <a:lnTo>
                    <a:pt x="216" y="858"/>
                  </a:lnTo>
                  <a:lnTo>
                    <a:pt x="216" y="852"/>
                  </a:lnTo>
                  <a:lnTo>
                    <a:pt x="210" y="852"/>
                  </a:lnTo>
                  <a:lnTo>
                    <a:pt x="210" y="840"/>
                  </a:lnTo>
                  <a:lnTo>
                    <a:pt x="198" y="840"/>
                  </a:lnTo>
                  <a:lnTo>
                    <a:pt x="198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0" y="894"/>
                  </a:lnTo>
                  <a:lnTo>
                    <a:pt x="180" y="906"/>
                  </a:lnTo>
                  <a:lnTo>
                    <a:pt x="156" y="912"/>
                  </a:lnTo>
                  <a:lnTo>
                    <a:pt x="156" y="894"/>
                  </a:lnTo>
                  <a:lnTo>
                    <a:pt x="156" y="882"/>
                  </a:lnTo>
                  <a:lnTo>
                    <a:pt x="156" y="876"/>
                  </a:lnTo>
                  <a:lnTo>
                    <a:pt x="150" y="876"/>
                  </a:lnTo>
                  <a:lnTo>
                    <a:pt x="144" y="876"/>
                  </a:lnTo>
                  <a:lnTo>
                    <a:pt x="138" y="870"/>
                  </a:lnTo>
                  <a:lnTo>
                    <a:pt x="132" y="864"/>
                  </a:lnTo>
                  <a:lnTo>
                    <a:pt x="138" y="840"/>
                  </a:lnTo>
                  <a:lnTo>
                    <a:pt x="132" y="840"/>
                  </a:lnTo>
                  <a:lnTo>
                    <a:pt x="138" y="810"/>
                  </a:lnTo>
                  <a:lnTo>
                    <a:pt x="144" y="804"/>
                  </a:lnTo>
                  <a:lnTo>
                    <a:pt x="144" y="798"/>
                  </a:lnTo>
                  <a:lnTo>
                    <a:pt x="156" y="798"/>
                  </a:lnTo>
                  <a:lnTo>
                    <a:pt x="156" y="792"/>
                  </a:lnTo>
                  <a:lnTo>
                    <a:pt x="120" y="792"/>
                  </a:lnTo>
                  <a:lnTo>
                    <a:pt x="108" y="786"/>
                  </a:lnTo>
                  <a:lnTo>
                    <a:pt x="96" y="786"/>
                  </a:lnTo>
                  <a:lnTo>
                    <a:pt x="96" y="780"/>
                  </a:lnTo>
                  <a:lnTo>
                    <a:pt x="78" y="780"/>
                  </a:lnTo>
                  <a:lnTo>
                    <a:pt x="72" y="804"/>
                  </a:lnTo>
                  <a:lnTo>
                    <a:pt x="60" y="816"/>
                  </a:lnTo>
                  <a:lnTo>
                    <a:pt x="36" y="828"/>
                  </a:lnTo>
                  <a:lnTo>
                    <a:pt x="18" y="840"/>
                  </a:lnTo>
                  <a:lnTo>
                    <a:pt x="0" y="822"/>
                  </a:lnTo>
                  <a:lnTo>
                    <a:pt x="6" y="816"/>
                  </a:lnTo>
                  <a:lnTo>
                    <a:pt x="12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18" y="786"/>
                  </a:lnTo>
                  <a:lnTo>
                    <a:pt x="24" y="780"/>
                  </a:lnTo>
                  <a:lnTo>
                    <a:pt x="24" y="768"/>
                  </a:lnTo>
                  <a:lnTo>
                    <a:pt x="24" y="762"/>
                  </a:lnTo>
                  <a:lnTo>
                    <a:pt x="24" y="750"/>
                  </a:lnTo>
                  <a:lnTo>
                    <a:pt x="36" y="714"/>
                  </a:lnTo>
                  <a:lnTo>
                    <a:pt x="36" y="708"/>
                  </a:lnTo>
                  <a:lnTo>
                    <a:pt x="42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6" y="690"/>
                  </a:lnTo>
                  <a:lnTo>
                    <a:pt x="42" y="684"/>
                  </a:lnTo>
                  <a:lnTo>
                    <a:pt x="42" y="672"/>
                  </a:lnTo>
                  <a:lnTo>
                    <a:pt x="42" y="666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48" y="648"/>
                  </a:lnTo>
                  <a:lnTo>
                    <a:pt x="54" y="642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54" y="612"/>
                  </a:lnTo>
                  <a:lnTo>
                    <a:pt x="48" y="606"/>
                  </a:lnTo>
                  <a:lnTo>
                    <a:pt x="48" y="600"/>
                  </a:lnTo>
                  <a:lnTo>
                    <a:pt x="42" y="600"/>
                  </a:lnTo>
                  <a:lnTo>
                    <a:pt x="36" y="594"/>
                  </a:lnTo>
                  <a:lnTo>
                    <a:pt x="36" y="588"/>
                  </a:lnTo>
                  <a:lnTo>
                    <a:pt x="30" y="582"/>
                  </a:lnTo>
                  <a:lnTo>
                    <a:pt x="30" y="570"/>
                  </a:lnTo>
                  <a:lnTo>
                    <a:pt x="18" y="552"/>
                  </a:lnTo>
                  <a:lnTo>
                    <a:pt x="18" y="546"/>
                  </a:lnTo>
                  <a:lnTo>
                    <a:pt x="18" y="540"/>
                  </a:lnTo>
                  <a:lnTo>
                    <a:pt x="18" y="528"/>
                  </a:lnTo>
                  <a:lnTo>
                    <a:pt x="18" y="522"/>
                  </a:lnTo>
                  <a:lnTo>
                    <a:pt x="24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30" y="474"/>
                  </a:lnTo>
                  <a:lnTo>
                    <a:pt x="36" y="474"/>
                  </a:lnTo>
                  <a:lnTo>
                    <a:pt x="42" y="468"/>
                  </a:lnTo>
                  <a:lnTo>
                    <a:pt x="48" y="468"/>
                  </a:lnTo>
                  <a:lnTo>
                    <a:pt x="48" y="462"/>
                  </a:lnTo>
                  <a:lnTo>
                    <a:pt x="48" y="456"/>
                  </a:lnTo>
                  <a:lnTo>
                    <a:pt x="54" y="450"/>
                  </a:lnTo>
                  <a:lnTo>
                    <a:pt x="60" y="438"/>
                  </a:lnTo>
                  <a:lnTo>
                    <a:pt x="54" y="438"/>
                  </a:lnTo>
                  <a:lnTo>
                    <a:pt x="54" y="432"/>
                  </a:ln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54" y="402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6" y="384"/>
                  </a:lnTo>
                  <a:lnTo>
                    <a:pt x="72" y="372"/>
                  </a:lnTo>
                  <a:lnTo>
                    <a:pt x="78" y="366"/>
                  </a:lnTo>
                  <a:lnTo>
                    <a:pt x="84" y="360"/>
                  </a:lnTo>
                  <a:lnTo>
                    <a:pt x="102" y="360"/>
                  </a:lnTo>
                  <a:lnTo>
                    <a:pt x="114" y="36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8" y="360"/>
                  </a:lnTo>
                  <a:lnTo>
                    <a:pt x="156" y="360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74" y="342"/>
                  </a:lnTo>
                  <a:lnTo>
                    <a:pt x="180" y="342"/>
                  </a:lnTo>
                  <a:lnTo>
                    <a:pt x="186" y="336"/>
                  </a:lnTo>
                  <a:lnTo>
                    <a:pt x="192" y="330"/>
                  </a:lnTo>
                  <a:lnTo>
                    <a:pt x="204" y="312"/>
                  </a:lnTo>
                  <a:lnTo>
                    <a:pt x="210" y="312"/>
                  </a:lnTo>
                  <a:lnTo>
                    <a:pt x="216" y="306"/>
                  </a:lnTo>
                  <a:lnTo>
                    <a:pt x="216" y="300"/>
                  </a:lnTo>
                  <a:lnTo>
                    <a:pt x="222" y="288"/>
                  </a:lnTo>
                  <a:lnTo>
                    <a:pt x="234" y="288"/>
                  </a:lnTo>
                  <a:lnTo>
                    <a:pt x="240" y="282"/>
                  </a:lnTo>
                  <a:lnTo>
                    <a:pt x="246" y="282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70" y="270"/>
                  </a:lnTo>
                  <a:lnTo>
                    <a:pt x="276" y="264"/>
                  </a:lnTo>
                  <a:lnTo>
                    <a:pt x="282" y="26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8" y="234"/>
                  </a:lnTo>
                  <a:lnTo>
                    <a:pt x="330" y="234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72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14" y="240"/>
                  </a:lnTo>
                  <a:lnTo>
                    <a:pt x="444" y="216"/>
                  </a:lnTo>
                  <a:lnTo>
                    <a:pt x="480" y="204"/>
                  </a:lnTo>
                  <a:lnTo>
                    <a:pt x="600" y="150"/>
                  </a:lnTo>
                  <a:lnTo>
                    <a:pt x="648" y="126"/>
                  </a:lnTo>
                  <a:lnTo>
                    <a:pt x="702" y="96"/>
                  </a:lnTo>
                  <a:lnTo>
                    <a:pt x="708" y="54"/>
                  </a:lnTo>
                  <a:lnTo>
                    <a:pt x="720" y="24"/>
                  </a:lnTo>
                  <a:lnTo>
                    <a:pt x="738" y="12"/>
                  </a:lnTo>
                  <a:lnTo>
                    <a:pt x="768" y="0"/>
                  </a:lnTo>
                  <a:lnTo>
                    <a:pt x="792" y="6"/>
                  </a:lnTo>
                  <a:lnTo>
                    <a:pt x="804" y="12"/>
                  </a:lnTo>
                  <a:lnTo>
                    <a:pt x="834" y="48"/>
                  </a:lnTo>
                  <a:lnTo>
                    <a:pt x="834" y="60"/>
                  </a:lnTo>
                  <a:lnTo>
                    <a:pt x="852" y="84"/>
                  </a:lnTo>
                  <a:lnTo>
                    <a:pt x="864" y="96"/>
                  </a:lnTo>
                  <a:lnTo>
                    <a:pt x="888" y="102"/>
                  </a:lnTo>
                  <a:lnTo>
                    <a:pt x="978" y="120"/>
                  </a:lnTo>
                  <a:lnTo>
                    <a:pt x="984" y="126"/>
                  </a:lnTo>
                  <a:lnTo>
                    <a:pt x="984" y="132"/>
                  </a:lnTo>
                  <a:lnTo>
                    <a:pt x="996" y="138"/>
                  </a:lnTo>
                  <a:lnTo>
                    <a:pt x="1038" y="126"/>
                  </a:lnTo>
                  <a:lnTo>
                    <a:pt x="1056" y="114"/>
                  </a:lnTo>
                  <a:lnTo>
                    <a:pt x="1068" y="126"/>
                  </a:lnTo>
                  <a:lnTo>
                    <a:pt x="1074" y="132"/>
                  </a:lnTo>
                  <a:lnTo>
                    <a:pt x="1068" y="138"/>
                  </a:lnTo>
                  <a:lnTo>
                    <a:pt x="1056" y="150"/>
                  </a:lnTo>
                  <a:lnTo>
                    <a:pt x="1038" y="162"/>
                  </a:lnTo>
                  <a:lnTo>
                    <a:pt x="1038" y="168"/>
                  </a:lnTo>
                  <a:lnTo>
                    <a:pt x="1020" y="174"/>
                  </a:lnTo>
                  <a:lnTo>
                    <a:pt x="1014" y="180"/>
                  </a:lnTo>
                  <a:lnTo>
                    <a:pt x="1008" y="186"/>
                  </a:lnTo>
                  <a:lnTo>
                    <a:pt x="1002" y="198"/>
                  </a:lnTo>
                  <a:lnTo>
                    <a:pt x="984" y="204"/>
                  </a:lnTo>
                  <a:lnTo>
                    <a:pt x="984" y="246"/>
                  </a:lnTo>
                  <a:lnTo>
                    <a:pt x="978" y="270"/>
                  </a:lnTo>
                  <a:lnTo>
                    <a:pt x="990" y="306"/>
                  </a:lnTo>
                  <a:lnTo>
                    <a:pt x="990" y="324"/>
                  </a:lnTo>
                  <a:lnTo>
                    <a:pt x="1002" y="336"/>
                  </a:lnTo>
                  <a:lnTo>
                    <a:pt x="1020" y="372"/>
                  </a:lnTo>
                  <a:lnTo>
                    <a:pt x="1014" y="378"/>
                  </a:lnTo>
                  <a:lnTo>
                    <a:pt x="1014" y="384"/>
                  </a:lnTo>
                  <a:lnTo>
                    <a:pt x="1020" y="384"/>
                  </a:lnTo>
                  <a:lnTo>
                    <a:pt x="1020" y="396"/>
                  </a:lnTo>
                  <a:lnTo>
                    <a:pt x="1062" y="468"/>
                  </a:lnTo>
                  <a:lnTo>
                    <a:pt x="1092" y="522"/>
                  </a:lnTo>
                  <a:lnTo>
                    <a:pt x="1110" y="546"/>
                  </a:lnTo>
                  <a:lnTo>
                    <a:pt x="1122" y="564"/>
                  </a:lnTo>
                  <a:lnTo>
                    <a:pt x="1134" y="576"/>
                  </a:lnTo>
                  <a:lnTo>
                    <a:pt x="1146" y="582"/>
                  </a:lnTo>
                  <a:lnTo>
                    <a:pt x="1146" y="588"/>
                  </a:lnTo>
                  <a:lnTo>
                    <a:pt x="1164" y="600"/>
                  </a:lnTo>
                  <a:lnTo>
                    <a:pt x="1170" y="612"/>
                  </a:lnTo>
                  <a:lnTo>
                    <a:pt x="1170" y="624"/>
                  </a:lnTo>
                  <a:lnTo>
                    <a:pt x="1176" y="654"/>
                  </a:lnTo>
                  <a:lnTo>
                    <a:pt x="1176" y="666"/>
                  </a:lnTo>
                  <a:lnTo>
                    <a:pt x="1182" y="684"/>
                  </a:lnTo>
                  <a:lnTo>
                    <a:pt x="1194" y="696"/>
                  </a:lnTo>
                  <a:lnTo>
                    <a:pt x="1212" y="696"/>
                  </a:lnTo>
                  <a:lnTo>
                    <a:pt x="1206" y="762"/>
                  </a:lnTo>
                  <a:lnTo>
                    <a:pt x="1200" y="768"/>
                  </a:lnTo>
                  <a:lnTo>
                    <a:pt x="1194" y="768"/>
                  </a:lnTo>
                  <a:lnTo>
                    <a:pt x="1194" y="774"/>
                  </a:lnTo>
                  <a:lnTo>
                    <a:pt x="1188" y="774"/>
                  </a:lnTo>
                  <a:lnTo>
                    <a:pt x="1182" y="780"/>
                  </a:lnTo>
                  <a:lnTo>
                    <a:pt x="1176" y="780"/>
                  </a:lnTo>
                  <a:lnTo>
                    <a:pt x="1170" y="780"/>
                  </a:lnTo>
                  <a:lnTo>
                    <a:pt x="1164" y="786"/>
                  </a:lnTo>
                  <a:lnTo>
                    <a:pt x="1158" y="786"/>
                  </a:lnTo>
                  <a:lnTo>
                    <a:pt x="1152" y="786"/>
                  </a:lnTo>
                  <a:lnTo>
                    <a:pt x="1140" y="786"/>
                  </a:lnTo>
                  <a:lnTo>
                    <a:pt x="1134" y="786"/>
                  </a:lnTo>
                  <a:lnTo>
                    <a:pt x="1134" y="780"/>
                  </a:lnTo>
                  <a:lnTo>
                    <a:pt x="1122" y="780"/>
                  </a:lnTo>
                  <a:lnTo>
                    <a:pt x="1116" y="786"/>
                  </a:lnTo>
                  <a:lnTo>
                    <a:pt x="1116" y="792"/>
                  </a:lnTo>
                  <a:lnTo>
                    <a:pt x="1122" y="804"/>
                  </a:lnTo>
                  <a:lnTo>
                    <a:pt x="1128" y="804"/>
                  </a:lnTo>
                  <a:lnTo>
                    <a:pt x="1128" y="816"/>
                  </a:lnTo>
                  <a:lnTo>
                    <a:pt x="1122" y="822"/>
                  </a:lnTo>
                  <a:lnTo>
                    <a:pt x="1116" y="816"/>
                  </a:lnTo>
                  <a:lnTo>
                    <a:pt x="1110" y="816"/>
                  </a:lnTo>
                  <a:lnTo>
                    <a:pt x="1104" y="816"/>
                  </a:lnTo>
                  <a:lnTo>
                    <a:pt x="1098" y="816"/>
                  </a:lnTo>
                  <a:lnTo>
                    <a:pt x="1098" y="822"/>
                  </a:lnTo>
                  <a:lnTo>
                    <a:pt x="1092" y="834"/>
                  </a:lnTo>
                  <a:lnTo>
                    <a:pt x="1092" y="840"/>
                  </a:lnTo>
                  <a:lnTo>
                    <a:pt x="1074" y="840"/>
                  </a:lnTo>
                  <a:lnTo>
                    <a:pt x="1074" y="828"/>
                  </a:lnTo>
                  <a:lnTo>
                    <a:pt x="1062" y="804"/>
                  </a:lnTo>
                  <a:lnTo>
                    <a:pt x="1056" y="792"/>
                  </a:lnTo>
                  <a:lnTo>
                    <a:pt x="1056" y="786"/>
                  </a:lnTo>
                  <a:lnTo>
                    <a:pt x="1026" y="780"/>
                  </a:lnTo>
                  <a:lnTo>
                    <a:pt x="1026" y="768"/>
                  </a:lnTo>
                  <a:lnTo>
                    <a:pt x="1008" y="768"/>
                  </a:lnTo>
                  <a:lnTo>
                    <a:pt x="1002" y="780"/>
                  </a:lnTo>
                  <a:lnTo>
                    <a:pt x="996" y="792"/>
                  </a:lnTo>
                  <a:lnTo>
                    <a:pt x="978" y="798"/>
                  </a:lnTo>
                  <a:lnTo>
                    <a:pt x="972" y="810"/>
                  </a:lnTo>
                  <a:lnTo>
                    <a:pt x="972" y="822"/>
                  </a:lnTo>
                  <a:lnTo>
                    <a:pt x="978" y="828"/>
                  </a:lnTo>
                  <a:lnTo>
                    <a:pt x="978" y="834"/>
                  </a:lnTo>
                  <a:lnTo>
                    <a:pt x="960" y="840"/>
                  </a:lnTo>
                  <a:lnTo>
                    <a:pt x="936" y="840"/>
                  </a:lnTo>
                  <a:lnTo>
                    <a:pt x="918" y="846"/>
                  </a:lnTo>
                  <a:lnTo>
                    <a:pt x="912" y="840"/>
                  </a:lnTo>
                  <a:lnTo>
                    <a:pt x="912" y="834"/>
                  </a:lnTo>
                  <a:lnTo>
                    <a:pt x="906" y="834"/>
                  </a:lnTo>
                  <a:lnTo>
                    <a:pt x="906" y="840"/>
                  </a:lnTo>
                  <a:lnTo>
                    <a:pt x="900" y="846"/>
                  </a:lnTo>
                  <a:lnTo>
                    <a:pt x="906" y="852"/>
                  </a:lnTo>
                  <a:lnTo>
                    <a:pt x="900" y="864"/>
                  </a:lnTo>
                  <a:lnTo>
                    <a:pt x="900" y="876"/>
                  </a:lnTo>
                  <a:lnTo>
                    <a:pt x="900" y="882"/>
                  </a:lnTo>
                  <a:lnTo>
                    <a:pt x="894" y="888"/>
                  </a:lnTo>
                  <a:lnTo>
                    <a:pt x="900" y="900"/>
                  </a:lnTo>
                  <a:lnTo>
                    <a:pt x="900" y="906"/>
                  </a:lnTo>
                  <a:lnTo>
                    <a:pt x="894" y="906"/>
                  </a:lnTo>
                  <a:lnTo>
                    <a:pt x="894" y="912"/>
                  </a:lnTo>
                  <a:lnTo>
                    <a:pt x="900" y="918"/>
                  </a:lnTo>
                  <a:lnTo>
                    <a:pt x="900" y="924"/>
                  </a:lnTo>
                  <a:lnTo>
                    <a:pt x="900" y="948"/>
                  </a:lnTo>
                  <a:lnTo>
                    <a:pt x="888" y="948"/>
                  </a:lnTo>
                  <a:lnTo>
                    <a:pt x="888" y="954"/>
                  </a:lnTo>
                  <a:lnTo>
                    <a:pt x="894" y="954"/>
                  </a:lnTo>
                  <a:lnTo>
                    <a:pt x="900" y="960"/>
                  </a:lnTo>
                  <a:lnTo>
                    <a:pt x="900" y="972"/>
                  </a:lnTo>
                  <a:lnTo>
                    <a:pt x="906" y="984"/>
                  </a:lnTo>
                  <a:lnTo>
                    <a:pt x="912" y="984"/>
                  </a:lnTo>
                  <a:lnTo>
                    <a:pt x="918" y="990"/>
                  </a:lnTo>
                  <a:lnTo>
                    <a:pt x="936" y="990"/>
                  </a:lnTo>
                  <a:lnTo>
                    <a:pt x="936" y="996"/>
                  </a:lnTo>
                  <a:lnTo>
                    <a:pt x="942" y="996"/>
                  </a:lnTo>
                  <a:lnTo>
                    <a:pt x="942" y="1002"/>
                  </a:lnTo>
                  <a:lnTo>
                    <a:pt x="942" y="1008"/>
                  </a:lnTo>
                  <a:lnTo>
                    <a:pt x="948" y="1008"/>
                  </a:lnTo>
                  <a:lnTo>
                    <a:pt x="948" y="1014"/>
                  </a:lnTo>
                  <a:lnTo>
                    <a:pt x="948" y="1020"/>
                  </a:lnTo>
                  <a:lnTo>
                    <a:pt x="954" y="1032"/>
                  </a:lnTo>
                  <a:lnTo>
                    <a:pt x="948" y="1038"/>
                  </a:lnTo>
                  <a:lnTo>
                    <a:pt x="954" y="1044"/>
                  </a:lnTo>
                  <a:lnTo>
                    <a:pt x="954" y="1056"/>
                  </a:lnTo>
                  <a:lnTo>
                    <a:pt x="960" y="1056"/>
                  </a:lnTo>
                  <a:lnTo>
                    <a:pt x="960" y="1062"/>
                  </a:lnTo>
                  <a:lnTo>
                    <a:pt x="954" y="1068"/>
                  </a:lnTo>
                  <a:lnTo>
                    <a:pt x="948" y="1074"/>
                  </a:lnTo>
                  <a:lnTo>
                    <a:pt x="948" y="1080"/>
                  </a:lnTo>
                  <a:lnTo>
                    <a:pt x="948" y="1086"/>
                  </a:lnTo>
                  <a:lnTo>
                    <a:pt x="942" y="1092"/>
                  </a:lnTo>
                  <a:lnTo>
                    <a:pt x="942" y="1098"/>
                  </a:lnTo>
                  <a:lnTo>
                    <a:pt x="942" y="1104"/>
                  </a:lnTo>
                  <a:lnTo>
                    <a:pt x="942" y="1110"/>
                  </a:lnTo>
                  <a:lnTo>
                    <a:pt x="936" y="1116"/>
                  </a:lnTo>
                  <a:lnTo>
                    <a:pt x="936" y="1122"/>
                  </a:lnTo>
                  <a:lnTo>
                    <a:pt x="936" y="1128"/>
                  </a:lnTo>
                  <a:lnTo>
                    <a:pt x="936" y="1134"/>
                  </a:lnTo>
                  <a:lnTo>
                    <a:pt x="942" y="1146"/>
                  </a:lnTo>
                  <a:lnTo>
                    <a:pt x="936" y="1158"/>
                  </a:lnTo>
                  <a:lnTo>
                    <a:pt x="936" y="1170"/>
                  </a:lnTo>
                  <a:lnTo>
                    <a:pt x="936" y="1194"/>
                  </a:lnTo>
                  <a:lnTo>
                    <a:pt x="930" y="1200"/>
                  </a:lnTo>
                  <a:lnTo>
                    <a:pt x="930" y="1212"/>
                  </a:lnTo>
                  <a:lnTo>
                    <a:pt x="918" y="1218"/>
                  </a:lnTo>
                  <a:lnTo>
                    <a:pt x="918" y="1230"/>
                  </a:lnTo>
                  <a:lnTo>
                    <a:pt x="906" y="1230"/>
                  </a:lnTo>
                  <a:lnTo>
                    <a:pt x="900" y="1254"/>
                  </a:lnTo>
                  <a:lnTo>
                    <a:pt x="900" y="1260"/>
                  </a:lnTo>
                  <a:lnTo>
                    <a:pt x="900" y="1266"/>
                  </a:lnTo>
                  <a:lnTo>
                    <a:pt x="900" y="1272"/>
                  </a:lnTo>
                  <a:lnTo>
                    <a:pt x="900" y="1278"/>
                  </a:lnTo>
                  <a:lnTo>
                    <a:pt x="900" y="1284"/>
                  </a:lnTo>
                  <a:lnTo>
                    <a:pt x="906" y="129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1" name="Freeform 26">
              <a:extLst>
                <a:ext uri="{FF2B5EF4-FFF2-40B4-BE49-F238E27FC236}">
                  <a16:creationId xmlns:a16="http://schemas.microsoft.com/office/drawing/2014/main" id="{25725EFE-FE00-49A8-A87A-6752B785C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79173" y="3477313"/>
              <a:ext cx="650731" cy="559125"/>
            </a:xfrm>
            <a:custGeom>
              <a:avLst/>
              <a:gdLst>
                <a:gd name="T0" fmla="*/ 95 w 1224"/>
                <a:gd name="T1" fmla="*/ 89 h 1050"/>
                <a:gd name="T2" fmla="*/ 90 w 1224"/>
                <a:gd name="T3" fmla="*/ 84 h 1050"/>
                <a:gd name="T4" fmla="*/ 84 w 1224"/>
                <a:gd name="T5" fmla="*/ 83 h 1050"/>
                <a:gd name="T6" fmla="*/ 82 w 1224"/>
                <a:gd name="T7" fmla="*/ 80 h 1050"/>
                <a:gd name="T8" fmla="*/ 85 w 1224"/>
                <a:gd name="T9" fmla="*/ 77 h 1050"/>
                <a:gd name="T10" fmla="*/ 81 w 1224"/>
                <a:gd name="T11" fmla="*/ 76 h 1050"/>
                <a:gd name="T12" fmla="*/ 77 w 1224"/>
                <a:gd name="T13" fmla="*/ 77 h 1050"/>
                <a:gd name="T14" fmla="*/ 78 w 1224"/>
                <a:gd name="T15" fmla="*/ 73 h 1050"/>
                <a:gd name="T16" fmla="*/ 59 w 1224"/>
                <a:gd name="T17" fmla="*/ 71 h 1050"/>
                <a:gd name="T18" fmla="*/ 41 w 1224"/>
                <a:gd name="T19" fmla="*/ 73 h 1050"/>
                <a:gd name="T20" fmla="*/ 33 w 1224"/>
                <a:gd name="T21" fmla="*/ 71 h 1050"/>
                <a:gd name="T22" fmla="*/ 30 w 1224"/>
                <a:gd name="T23" fmla="*/ 75 h 1050"/>
                <a:gd name="T24" fmla="*/ 27 w 1224"/>
                <a:gd name="T25" fmla="*/ 80 h 1050"/>
                <a:gd name="T26" fmla="*/ 12 w 1224"/>
                <a:gd name="T27" fmla="*/ 81 h 1050"/>
                <a:gd name="T28" fmla="*/ 9 w 1224"/>
                <a:gd name="T29" fmla="*/ 84 h 1050"/>
                <a:gd name="T30" fmla="*/ 6 w 1224"/>
                <a:gd name="T31" fmla="*/ 83 h 1050"/>
                <a:gd name="T32" fmla="*/ 1 w 1224"/>
                <a:gd name="T33" fmla="*/ 83 h 1050"/>
                <a:gd name="T34" fmla="*/ 3 w 1224"/>
                <a:gd name="T35" fmla="*/ 77 h 1050"/>
                <a:gd name="T36" fmla="*/ 5 w 1224"/>
                <a:gd name="T37" fmla="*/ 70 h 1050"/>
                <a:gd name="T38" fmla="*/ 2 w 1224"/>
                <a:gd name="T39" fmla="*/ 65 h 1050"/>
                <a:gd name="T40" fmla="*/ 3 w 1224"/>
                <a:gd name="T41" fmla="*/ 58 h 1050"/>
                <a:gd name="T42" fmla="*/ 4 w 1224"/>
                <a:gd name="T43" fmla="*/ 51 h 1050"/>
                <a:gd name="T44" fmla="*/ 3 w 1224"/>
                <a:gd name="T45" fmla="*/ 47 h 1050"/>
                <a:gd name="T46" fmla="*/ 4 w 1224"/>
                <a:gd name="T47" fmla="*/ 39 h 1050"/>
                <a:gd name="T48" fmla="*/ 6 w 1224"/>
                <a:gd name="T49" fmla="*/ 29 h 1050"/>
                <a:gd name="T50" fmla="*/ 3 w 1224"/>
                <a:gd name="T51" fmla="*/ 22 h 1050"/>
                <a:gd name="T52" fmla="*/ 2 w 1224"/>
                <a:gd name="T53" fmla="*/ 14 h 1050"/>
                <a:gd name="T54" fmla="*/ 0 w 1224"/>
                <a:gd name="T55" fmla="*/ 6 h 1050"/>
                <a:gd name="T56" fmla="*/ 9 w 1224"/>
                <a:gd name="T57" fmla="*/ 1 h 1050"/>
                <a:gd name="T58" fmla="*/ 11 w 1224"/>
                <a:gd name="T59" fmla="*/ 8 h 1050"/>
                <a:gd name="T60" fmla="*/ 15 w 1224"/>
                <a:gd name="T61" fmla="*/ 9 h 1050"/>
                <a:gd name="T62" fmla="*/ 18 w 1224"/>
                <a:gd name="T63" fmla="*/ 8 h 1050"/>
                <a:gd name="T64" fmla="*/ 18 w 1224"/>
                <a:gd name="T65" fmla="*/ 13 h 1050"/>
                <a:gd name="T66" fmla="*/ 17 w 1224"/>
                <a:gd name="T67" fmla="*/ 15 h 1050"/>
                <a:gd name="T68" fmla="*/ 17 w 1224"/>
                <a:gd name="T69" fmla="*/ 17 h 1050"/>
                <a:gd name="T70" fmla="*/ 17 w 1224"/>
                <a:gd name="T71" fmla="*/ 21 h 1050"/>
                <a:gd name="T72" fmla="*/ 21 w 1224"/>
                <a:gd name="T73" fmla="*/ 25 h 1050"/>
                <a:gd name="T74" fmla="*/ 24 w 1224"/>
                <a:gd name="T75" fmla="*/ 31 h 1050"/>
                <a:gd name="T76" fmla="*/ 35 w 1224"/>
                <a:gd name="T77" fmla="*/ 34 h 1050"/>
                <a:gd name="T78" fmla="*/ 40 w 1224"/>
                <a:gd name="T79" fmla="*/ 27 h 1050"/>
                <a:gd name="T80" fmla="*/ 46 w 1224"/>
                <a:gd name="T81" fmla="*/ 30 h 1050"/>
                <a:gd name="T82" fmla="*/ 51 w 1224"/>
                <a:gd name="T83" fmla="*/ 27 h 1050"/>
                <a:gd name="T84" fmla="*/ 59 w 1224"/>
                <a:gd name="T85" fmla="*/ 39 h 1050"/>
                <a:gd name="T86" fmla="*/ 59 w 1224"/>
                <a:gd name="T87" fmla="*/ 45 h 1050"/>
                <a:gd name="T88" fmla="*/ 72 w 1224"/>
                <a:gd name="T89" fmla="*/ 45 h 1050"/>
                <a:gd name="T90" fmla="*/ 79 w 1224"/>
                <a:gd name="T91" fmla="*/ 44 h 1050"/>
                <a:gd name="T92" fmla="*/ 87 w 1224"/>
                <a:gd name="T93" fmla="*/ 48 h 1050"/>
                <a:gd name="T94" fmla="*/ 93 w 1224"/>
                <a:gd name="T95" fmla="*/ 50 h 1050"/>
                <a:gd name="T96" fmla="*/ 98 w 1224"/>
                <a:gd name="T97" fmla="*/ 51 h 1050"/>
                <a:gd name="T98" fmla="*/ 106 w 1224"/>
                <a:gd name="T99" fmla="*/ 50 h 1050"/>
                <a:gd name="T100" fmla="*/ 104 w 1224"/>
                <a:gd name="T101" fmla="*/ 54 h 1050"/>
                <a:gd name="T102" fmla="*/ 104 w 1224"/>
                <a:gd name="T103" fmla="*/ 60 h 1050"/>
                <a:gd name="T104" fmla="*/ 101 w 1224"/>
                <a:gd name="T105" fmla="*/ 63 h 1050"/>
                <a:gd name="T106" fmla="*/ 98 w 1224"/>
                <a:gd name="T107" fmla="*/ 66 h 1050"/>
                <a:gd name="T108" fmla="*/ 95 w 1224"/>
                <a:gd name="T109" fmla="*/ 68 h 1050"/>
                <a:gd name="T110" fmla="*/ 93 w 1224"/>
                <a:gd name="T111" fmla="*/ 72 h 1050"/>
                <a:gd name="T112" fmla="*/ 98 w 1224"/>
                <a:gd name="T113" fmla="*/ 75 h 1050"/>
                <a:gd name="T114" fmla="*/ 102 w 1224"/>
                <a:gd name="T115" fmla="*/ 77 h 1050"/>
                <a:gd name="T116" fmla="*/ 107 w 1224"/>
                <a:gd name="T117" fmla="*/ 76 h 1050"/>
                <a:gd name="T118" fmla="*/ 104 w 1224"/>
                <a:gd name="T119" fmla="*/ 84 h 1050"/>
                <a:gd name="T120" fmla="*/ 103 w 1224"/>
                <a:gd name="T121" fmla="*/ 87 h 1050"/>
                <a:gd name="T122" fmla="*/ 104 w 1224"/>
                <a:gd name="T123" fmla="*/ 91 h 105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24"/>
                <a:gd name="T187" fmla="*/ 0 h 1050"/>
                <a:gd name="T188" fmla="*/ 1224 w 1224"/>
                <a:gd name="T189" fmla="*/ 1050 h 105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24" h="1050">
                  <a:moveTo>
                    <a:pt x="1128" y="1032"/>
                  </a:moveTo>
                  <a:lnTo>
                    <a:pt x="1122" y="1026"/>
                  </a:lnTo>
                  <a:lnTo>
                    <a:pt x="1116" y="1026"/>
                  </a:lnTo>
                  <a:lnTo>
                    <a:pt x="1110" y="1026"/>
                  </a:lnTo>
                  <a:lnTo>
                    <a:pt x="1104" y="1026"/>
                  </a:lnTo>
                  <a:lnTo>
                    <a:pt x="1104" y="1020"/>
                  </a:lnTo>
                  <a:lnTo>
                    <a:pt x="1098" y="1020"/>
                  </a:lnTo>
                  <a:lnTo>
                    <a:pt x="1092" y="1020"/>
                  </a:lnTo>
                  <a:lnTo>
                    <a:pt x="1086" y="1020"/>
                  </a:lnTo>
                  <a:lnTo>
                    <a:pt x="1080" y="1014"/>
                  </a:lnTo>
                  <a:lnTo>
                    <a:pt x="1068" y="1014"/>
                  </a:lnTo>
                  <a:lnTo>
                    <a:pt x="1062" y="1014"/>
                  </a:lnTo>
                  <a:lnTo>
                    <a:pt x="1062" y="1008"/>
                  </a:lnTo>
                  <a:lnTo>
                    <a:pt x="1062" y="990"/>
                  </a:lnTo>
                  <a:lnTo>
                    <a:pt x="1062" y="984"/>
                  </a:lnTo>
                  <a:lnTo>
                    <a:pt x="1062" y="972"/>
                  </a:lnTo>
                  <a:lnTo>
                    <a:pt x="1044" y="966"/>
                  </a:lnTo>
                  <a:lnTo>
                    <a:pt x="1026" y="966"/>
                  </a:lnTo>
                  <a:lnTo>
                    <a:pt x="1014" y="966"/>
                  </a:lnTo>
                  <a:lnTo>
                    <a:pt x="996" y="966"/>
                  </a:lnTo>
                  <a:lnTo>
                    <a:pt x="996" y="972"/>
                  </a:lnTo>
                  <a:lnTo>
                    <a:pt x="990" y="972"/>
                  </a:lnTo>
                  <a:lnTo>
                    <a:pt x="984" y="966"/>
                  </a:lnTo>
                  <a:lnTo>
                    <a:pt x="978" y="966"/>
                  </a:lnTo>
                  <a:lnTo>
                    <a:pt x="978" y="960"/>
                  </a:lnTo>
                  <a:lnTo>
                    <a:pt x="972" y="954"/>
                  </a:lnTo>
                  <a:lnTo>
                    <a:pt x="966" y="954"/>
                  </a:lnTo>
                  <a:lnTo>
                    <a:pt x="960" y="954"/>
                  </a:lnTo>
                  <a:lnTo>
                    <a:pt x="954" y="954"/>
                  </a:lnTo>
                  <a:lnTo>
                    <a:pt x="954" y="948"/>
                  </a:lnTo>
                  <a:lnTo>
                    <a:pt x="942" y="942"/>
                  </a:lnTo>
                  <a:lnTo>
                    <a:pt x="936" y="942"/>
                  </a:lnTo>
                  <a:lnTo>
                    <a:pt x="936" y="936"/>
                  </a:lnTo>
                  <a:lnTo>
                    <a:pt x="936" y="930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42" y="918"/>
                  </a:lnTo>
                  <a:lnTo>
                    <a:pt x="948" y="918"/>
                  </a:lnTo>
                  <a:lnTo>
                    <a:pt x="960" y="918"/>
                  </a:lnTo>
                  <a:lnTo>
                    <a:pt x="966" y="912"/>
                  </a:lnTo>
                  <a:lnTo>
                    <a:pt x="978" y="906"/>
                  </a:lnTo>
                  <a:lnTo>
                    <a:pt x="978" y="900"/>
                  </a:lnTo>
                  <a:lnTo>
                    <a:pt x="978" y="894"/>
                  </a:lnTo>
                  <a:lnTo>
                    <a:pt x="978" y="888"/>
                  </a:lnTo>
                  <a:lnTo>
                    <a:pt x="972" y="888"/>
                  </a:lnTo>
                  <a:lnTo>
                    <a:pt x="978" y="888"/>
                  </a:lnTo>
                  <a:lnTo>
                    <a:pt x="978" y="882"/>
                  </a:lnTo>
                  <a:lnTo>
                    <a:pt x="972" y="876"/>
                  </a:lnTo>
                  <a:lnTo>
                    <a:pt x="966" y="870"/>
                  </a:lnTo>
                  <a:lnTo>
                    <a:pt x="954" y="876"/>
                  </a:lnTo>
                  <a:lnTo>
                    <a:pt x="948" y="876"/>
                  </a:lnTo>
                  <a:lnTo>
                    <a:pt x="942" y="870"/>
                  </a:lnTo>
                  <a:lnTo>
                    <a:pt x="936" y="876"/>
                  </a:lnTo>
                  <a:lnTo>
                    <a:pt x="930" y="876"/>
                  </a:lnTo>
                  <a:lnTo>
                    <a:pt x="924" y="882"/>
                  </a:lnTo>
                  <a:lnTo>
                    <a:pt x="912" y="888"/>
                  </a:lnTo>
                  <a:lnTo>
                    <a:pt x="906" y="894"/>
                  </a:lnTo>
                  <a:lnTo>
                    <a:pt x="900" y="900"/>
                  </a:lnTo>
                  <a:lnTo>
                    <a:pt x="894" y="888"/>
                  </a:lnTo>
                  <a:lnTo>
                    <a:pt x="888" y="894"/>
                  </a:lnTo>
                  <a:lnTo>
                    <a:pt x="882" y="888"/>
                  </a:lnTo>
                  <a:lnTo>
                    <a:pt x="876" y="894"/>
                  </a:lnTo>
                  <a:lnTo>
                    <a:pt x="876" y="888"/>
                  </a:lnTo>
                  <a:lnTo>
                    <a:pt x="876" y="882"/>
                  </a:lnTo>
                  <a:lnTo>
                    <a:pt x="876" y="876"/>
                  </a:lnTo>
                  <a:lnTo>
                    <a:pt x="870" y="858"/>
                  </a:lnTo>
                  <a:lnTo>
                    <a:pt x="864" y="858"/>
                  </a:lnTo>
                  <a:lnTo>
                    <a:pt x="870" y="852"/>
                  </a:lnTo>
                  <a:lnTo>
                    <a:pt x="870" y="846"/>
                  </a:lnTo>
                  <a:lnTo>
                    <a:pt x="876" y="846"/>
                  </a:lnTo>
                  <a:lnTo>
                    <a:pt x="882" y="846"/>
                  </a:lnTo>
                  <a:lnTo>
                    <a:pt x="888" y="840"/>
                  </a:lnTo>
                  <a:lnTo>
                    <a:pt x="894" y="834"/>
                  </a:lnTo>
                  <a:lnTo>
                    <a:pt x="894" y="828"/>
                  </a:lnTo>
                  <a:lnTo>
                    <a:pt x="894" y="816"/>
                  </a:lnTo>
                  <a:lnTo>
                    <a:pt x="858" y="810"/>
                  </a:lnTo>
                  <a:lnTo>
                    <a:pt x="858" y="816"/>
                  </a:lnTo>
                  <a:lnTo>
                    <a:pt x="852" y="816"/>
                  </a:lnTo>
                  <a:lnTo>
                    <a:pt x="780" y="816"/>
                  </a:lnTo>
                  <a:lnTo>
                    <a:pt x="750" y="816"/>
                  </a:lnTo>
                  <a:lnTo>
                    <a:pt x="684" y="816"/>
                  </a:lnTo>
                  <a:lnTo>
                    <a:pt x="636" y="816"/>
                  </a:lnTo>
                  <a:lnTo>
                    <a:pt x="612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0" y="816"/>
                  </a:lnTo>
                  <a:lnTo>
                    <a:pt x="480" y="822"/>
                  </a:lnTo>
                  <a:lnTo>
                    <a:pt x="480" y="834"/>
                  </a:lnTo>
                  <a:lnTo>
                    <a:pt x="474" y="840"/>
                  </a:lnTo>
                  <a:lnTo>
                    <a:pt x="468" y="840"/>
                  </a:lnTo>
                  <a:lnTo>
                    <a:pt x="432" y="840"/>
                  </a:lnTo>
                  <a:lnTo>
                    <a:pt x="426" y="834"/>
                  </a:lnTo>
                  <a:lnTo>
                    <a:pt x="420" y="834"/>
                  </a:lnTo>
                  <a:lnTo>
                    <a:pt x="420" y="828"/>
                  </a:lnTo>
                  <a:lnTo>
                    <a:pt x="414" y="822"/>
                  </a:lnTo>
                  <a:lnTo>
                    <a:pt x="408" y="822"/>
                  </a:lnTo>
                  <a:lnTo>
                    <a:pt x="396" y="822"/>
                  </a:lnTo>
                  <a:lnTo>
                    <a:pt x="396" y="816"/>
                  </a:lnTo>
                  <a:lnTo>
                    <a:pt x="384" y="816"/>
                  </a:lnTo>
                  <a:lnTo>
                    <a:pt x="372" y="810"/>
                  </a:lnTo>
                  <a:lnTo>
                    <a:pt x="372" y="804"/>
                  </a:lnTo>
                  <a:lnTo>
                    <a:pt x="366" y="804"/>
                  </a:lnTo>
                  <a:lnTo>
                    <a:pt x="360" y="804"/>
                  </a:lnTo>
                  <a:lnTo>
                    <a:pt x="348" y="828"/>
                  </a:lnTo>
                  <a:lnTo>
                    <a:pt x="348" y="834"/>
                  </a:lnTo>
                  <a:lnTo>
                    <a:pt x="348" y="852"/>
                  </a:lnTo>
                  <a:lnTo>
                    <a:pt x="348" y="858"/>
                  </a:lnTo>
                  <a:lnTo>
                    <a:pt x="342" y="864"/>
                  </a:lnTo>
                  <a:lnTo>
                    <a:pt x="342" y="870"/>
                  </a:lnTo>
                  <a:lnTo>
                    <a:pt x="330" y="876"/>
                  </a:lnTo>
                  <a:lnTo>
                    <a:pt x="324" y="888"/>
                  </a:lnTo>
                  <a:lnTo>
                    <a:pt x="324" y="894"/>
                  </a:lnTo>
                  <a:lnTo>
                    <a:pt x="330" y="900"/>
                  </a:lnTo>
                  <a:lnTo>
                    <a:pt x="330" y="906"/>
                  </a:lnTo>
                  <a:lnTo>
                    <a:pt x="324" y="906"/>
                  </a:lnTo>
                  <a:lnTo>
                    <a:pt x="318" y="912"/>
                  </a:lnTo>
                  <a:lnTo>
                    <a:pt x="312" y="918"/>
                  </a:lnTo>
                  <a:lnTo>
                    <a:pt x="306" y="924"/>
                  </a:lnTo>
                  <a:lnTo>
                    <a:pt x="288" y="924"/>
                  </a:lnTo>
                  <a:lnTo>
                    <a:pt x="282" y="924"/>
                  </a:lnTo>
                  <a:lnTo>
                    <a:pt x="276" y="930"/>
                  </a:lnTo>
                  <a:lnTo>
                    <a:pt x="270" y="930"/>
                  </a:lnTo>
                  <a:lnTo>
                    <a:pt x="264" y="930"/>
                  </a:lnTo>
                  <a:lnTo>
                    <a:pt x="198" y="930"/>
                  </a:lnTo>
                  <a:lnTo>
                    <a:pt x="132" y="930"/>
                  </a:lnTo>
                  <a:lnTo>
                    <a:pt x="132" y="936"/>
                  </a:lnTo>
                  <a:lnTo>
                    <a:pt x="132" y="942"/>
                  </a:lnTo>
                  <a:lnTo>
                    <a:pt x="132" y="948"/>
                  </a:lnTo>
                  <a:lnTo>
                    <a:pt x="126" y="948"/>
                  </a:lnTo>
                  <a:lnTo>
                    <a:pt x="120" y="948"/>
                  </a:lnTo>
                  <a:lnTo>
                    <a:pt x="120" y="954"/>
                  </a:lnTo>
                  <a:lnTo>
                    <a:pt x="114" y="954"/>
                  </a:lnTo>
                  <a:lnTo>
                    <a:pt x="114" y="960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02" y="966"/>
                  </a:lnTo>
                  <a:lnTo>
                    <a:pt x="102" y="972"/>
                  </a:lnTo>
                  <a:lnTo>
                    <a:pt x="96" y="972"/>
                  </a:lnTo>
                  <a:lnTo>
                    <a:pt x="96" y="966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78" y="960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60"/>
                  </a:lnTo>
                  <a:lnTo>
                    <a:pt x="54" y="966"/>
                  </a:lnTo>
                  <a:lnTo>
                    <a:pt x="48" y="966"/>
                  </a:lnTo>
                  <a:lnTo>
                    <a:pt x="42" y="966"/>
                  </a:lnTo>
                  <a:lnTo>
                    <a:pt x="36" y="966"/>
                  </a:lnTo>
                  <a:lnTo>
                    <a:pt x="30" y="966"/>
                  </a:lnTo>
                  <a:lnTo>
                    <a:pt x="24" y="960"/>
                  </a:lnTo>
                  <a:lnTo>
                    <a:pt x="18" y="960"/>
                  </a:lnTo>
                  <a:lnTo>
                    <a:pt x="12" y="960"/>
                  </a:lnTo>
                  <a:lnTo>
                    <a:pt x="12" y="948"/>
                  </a:lnTo>
                  <a:lnTo>
                    <a:pt x="18" y="942"/>
                  </a:lnTo>
                  <a:lnTo>
                    <a:pt x="18" y="936"/>
                  </a:lnTo>
                  <a:lnTo>
                    <a:pt x="18" y="930"/>
                  </a:lnTo>
                  <a:lnTo>
                    <a:pt x="18" y="924"/>
                  </a:lnTo>
                  <a:lnTo>
                    <a:pt x="18" y="912"/>
                  </a:lnTo>
                  <a:lnTo>
                    <a:pt x="24" y="906"/>
                  </a:lnTo>
                  <a:lnTo>
                    <a:pt x="30" y="900"/>
                  </a:lnTo>
                  <a:lnTo>
                    <a:pt x="36" y="894"/>
                  </a:lnTo>
                  <a:lnTo>
                    <a:pt x="36" y="882"/>
                  </a:lnTo>
                  <a:lnTo>
                    <a:pt x="30" y="876"/>
                  </a:lnTo>
                  <a:lnTo>
                    <a:pt x="30" y="870"/>
                  </a:lnTo>
                  <a:lnTo>
                    <a:pt x="24" y="858"/>
                  </a:lnTo>
                  <a:lnTo>
                    <a:pt x="24" y="846"/>
                  </a:lnTo>
                  <a:lnTo>
                    <a:pt x="36" y="822"/>
                  </a:lnTo>
                  <a:lnTo>
                    <a:pt x="42" y="816"/>
                  </a:lnTo>
                  <a:lnTo>
                    <a:pt x="48" y="816"/>
                  </a:lnTo>
                  <a:lnTo>
                    <a:pt x="60" y="804"/>
                  </a:lnTo>
                  <a:lnTo>
                    <a:pt x="60" y="786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54" y="762"/>
                  </a:lnTo>
                  <a:lnTo>
                    <a:pt x="42" y="762"/>
                  </a:lnTo>
                  <a:lnTo>
                    <a:pt x="36" y="762"/>
                  </a:lnTo>
                  <a:lnTo>
                    <a:pt x="30" y="762"/>
                  </a:lnTo>
                  <a:lnTo>
                    <a:pt x="30" y="756"/>
                  </a:lnTo>
                  <a:lnTo>
                    <a:pt x="24" y="750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702"/>
                  </a:lnTo>
                  <a:lnTo>
                    <a:pt x="36" y="684"/>
                  </a:lnTo>
                  <a:lnTo>
                    <a:pt x="36" y="678"/>
                  </a:lnTo>
                  <a:lnTo>
                    <a:pt x="36" y="666"/>
                  </a:lnTo>
                  <a:lnTo>
                    <a:pt x="36" y="654"/>
                  </a:lnTo>
                  <a:lnTo>
                    <a:pt x="18" y="654"/>
                  </a:lnTo>
                  <a:lnTo>
                    <a:pt x="18" y="648"/>
                  </a:lnTo>
                  <a:lnTo>
                    <a:pt x="18" y="618"/>
                  </a:lnTo>
                  <a:lnTo>
                    <a:pt x="18" y="612"/>
                  </a:lnTo>
                  <a:lnTo>
                    <a:pt x="24" y="612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54" y="588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76"/>
                  </a:lnTo>
                  <a:lnTo>
                    <a:pt x="48" y="564"/>
                  </a:lnTo>
                  <a:lnTo>
                    <a:pt x="42" y="564"/>
                  </a:lnTo>
                  <a:lnTo>
                    <a:pt x="36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6" y="540"/>
                  </a:lnTo>
                  <a:lnTo>
                    <a:pt x="48" y="534"/>
                  </a:lnTo>
                  <a:lnTo>
                    <a:pt x="54" y="528"/>
                  </a:lnTo>
                  <a:lnTo>
                    <a:pt x="60" y="504"/>
                  </a:lnTo>
                  <a:lnTo>
                    <a:pt x="60" y="492"/>
                  </a:lnTo>
                  <a:lnTo>
                    <a:pt x="54" y="492"/>
                  </a:lnTo>
                  <a:lnTo>
                    <a:pt x="54" y="480"/>
                  </a:lnTo>
                  <a:lnTo>
                    <a:pt x="48" y="456"/>
                  </a:lnTo>
                  <a:lnTo>
                    <a:pt x="42" y="450"/>
                  </a:lnTo>
                  <a:lnTo>
                    <a:pt x="36" y="444"/>
                  </a:lnTo>
                  <a:lnTo>
                    <a:pt x="36" y="420"/>
                  </a:lnTo>
                  <a:lnTo>
                    <a:pt x="36" y="408"/>
                  </a:lnTo>
                  <a:lnTo>
                    <a:pt x="36" y="37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60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6" y="300"/>
                  </a:lnTo>
                  <a:lnTo>
                    <a:pt x="60" y="294"/>
                  </a:lnTo>
                  <a:lnTo>
                    <a:pt x="60" y="288"/>
                  </a:lnTo>
                  <a:lnTo>
                    <a:pt x="54" y="282"/>
                  </a:lnTo>
                  <a:lnTo>
                    <a:pt x="42" y="276"/>
                  </a:lnTo>
                  <a:lnTo>
                    <a:pt x="36" y="276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0" y="252"/>
                  </a:lnTo>
                  <a:lnTo>
                    <a:pt x="24" y="246"/>
                  </a:lnTo>
                  <a:lnTo>
                    <a:pt x="24" y="240"/>
                  </a:lnTo>
                  <a:lnTo>
                    <a:pt x="24" y="228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62"/>
                  </a:lnTo>
                  <a:lnTo>
                    <a:pt x="24" y="144"/>
                  </a:lnTo>
                  <a:lnTo>
                    <a:pt x="24" y="132"/>
                  </a:lnTo>
                  <a:lnTo>
                    <a:pt x="24" y="114"/>
                  </a:lnTo>
                  <a:lnTo>
                    <a:pt x="24" y="102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18" y="48"/>
                  </a:lnTo>
                  <a:lnTo>
                    <a:pt x="42" y="36"/>
                  </a:lnTo>
                  <a:lnTo>
                    <a:pt x="54" y="24"/>
                  </a:lnTo>
                  <a:lnTo>
                    <a:pt x="60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10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14" y="60"/>
                  </a:lnTo>
                  <a:lnTo>
                    <a:pt x="120" y="60"/>
                  </a:lnTo>
                  <a:lnTo>
                    <a:pt x="114" y="84"/>
                  </a:lnTo>
                  <a:lnTo>
                    <a:pt x="120" y="90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38" y="114"/>
                  </a:lnTo>
                  <a:lnTo>
                    <a:pt x="138" y="132"/>
                  </a:lnTo>
                  <a:lnTo>
                    <a:pt x="162" y="126"/>
                  </a:lnTo>
                  <a:lnTo>
                    <a:pt x="162" y="114"/>
                  </a:lnTo>
                  <a:lnTo>
                    <a:pt x="174" y="108"/>
                  </a:lnTo>
                  <a:lnTo>
                    <a:pt x="174" y="102"/>
                  </a:lnTo>
                  <a:lnTo>
                    <a:pt x="180" y="96"/>
                  </a:lnTo>
                  <a:lnTo>
                    <a:pt x="180" y="60"/>
                  </a:lnTo>
                  <a:lnTo>
                    <a:pt x="192" y="60"/>
                  </a:lnTo>
                  <a:lnTo>
                    <a:pt x="192" y="72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04" y="108"/>
                  </a:lnTo>
                  <a:lnTo>
                    <a:pt x="204" y="114"/>
                  </a:lnTo>
                  <a:lnTo>
                    <a:pt x="204" y="120"/>
                  </a:lnTo>
                  <a:lnTo>
                    <a:pt x="204" y="126"/>
                  </a:lnTo>
                  <a:lnTo>
                    <a:pt x="210" y="126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8" y="174"/>
                  </a:lnTo>
                  <a:lnTo>
                    <a:pt x="198" y="180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86" y="204"/>
                  </a:lnTo>
                  <a:lnTo>
                    <a:pt x="186" y="210"/>
                  </a:lnTo>
                  <a:lnTo>
                    <a:pt x="180" y="210"/>
                  </a:lnTo>
                  <a:lnTo>
                    <a:pt x="180" y="216"/>
                  </a:lnTo>
                  <a:lnTo>
                    <a:pt x="180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92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8" y="258"/>
                  </a:lnTo>
                  <a:lnTo>
                    <a:pt x="204" y="258"/>
                  </a:lnTo>
                  <a:lnTo>
                    <a:pt x="210" y="258"/>
                  </a:lnTo>
                  <a:lnTo>
                    <a:pt x="216" y="258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34" y="276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46" y="306"/>
                  </a:lnTo>
                  <a:lnTo>
                    <a:pt x="252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42"/>
                  </a:lnTo>
                  <a:lnTo>
                    <a:pt x="270" y="342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88" y="366"/>
                  </a:lnTo>
                  <a:lnTo>
                    <a:pt x="336" y="360"/>
                  </a:lnTo>
                  <a:lnTo>
                    <a:pt x="354" y="360"/>
                  </a:lnTo>
                  <a:lnTo>
                    <a:pt x="366" y="372"/>
                  </a:lnTo>
                  <a:lnTo>
                    <a:pt x="378" y="378"/>
                  </a:lnTo>
                  <a:lnTo>
                    <a:pt x="378" y="390"/>
                  </a:lnTo>
                  <a:lnTo>
                    <a:pt x="384" y="390"/>
                  </a:lnTo>
                  <a:lnTo>
                    <a:pt x="390" y="396"/>
                  </a:lnTo>
                  <a:lnTo>
                    <a:pt x="408" y="390"/>
                  </a:lnTo>
                  <a:lnTo>
                    <a:pt x="426" y="366"/>
                  </a:lnTo>
                  <a:lnTo>
                    <a:pt x="432" y="360"/>
                  </a:lnTo>
                  <a:lnTo>
                    <a:pt x="438" y="348"/>
                  </a:lnTo>
                  <a:lnTo>
                    <a:pt x="438" y="342"/>
                  </a:lnTo>
                  <a:lnTo>
                    <a:pt x="438" y="330"/>
                  </a:lnTo>
                  <a:lnTo>
                    <a:pt x="444" y="324"/>
                  </a:lnTo>
                  <a:lnTo>
                    <a:pt x="450" y="318"/>
                  </a:lnTo>
                  <a:lnTo>
                    <a:pt x="456" y="312"/>
                  </a:lnTo>
                  <a:lnTo>
                    <a:pt x="456" y="306"/>
                  </a:lnTo>
                  <a:lnTo>
                    <a:pt x="456" y="300"/>
                  </a:lnTo>
                  <a:lnTo>
                    <a:pt x="474" y="288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92" y="294"/>
                  </a:lnTo>
                  <a:lnTo>
                    <a:pt x="492" y="318"/>
                  </a:lnTo>
                  <a:lnTo>
                    <a:pt x="504" y="324"/>
                  </a:lnTo>
                  <a:lnTo>
                    <a:pt x="492" y="348"/>
                  </a:lnTo>
                  <a:lnTo>
                    <a:pt x="522" y="348"/>
                  </a:lnTo>
                  <a:lnTo>
                    <a:pt x="528" y="342"/>
                  </a:lnTo>
                  <a:lnTo>
                    <a:pt x="528" y="336"/>
                  </a:lnTo>
                  <a:lnTo>
                    <a:pt x="528" y="330"/>
                  </a:lnTo>
                  <a:lnTo>
                    <a:pt x="534" y="330"/>
                  </a:lnTo>
                  <a:lnTo>
                    <a:pt x="540" y="330"/>
                  </a:lnTo>
                  <a:lnTo>
                    <a:pt x="546" y="330"/>
                  </a:lnTo>
                  <a:lnTo>
                    <a:pt x="552" y="324"/>
                  </a:lnTo>
                  <a:lnTo>
                    <a:pt x="558" y="318"/>
                  </a:lnTo>
                  <a:lnTo>
                    <a:pt x="576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8" y="348"/>
                  </a:lnTo>
                  <a:lnTo>
                    <a:pt x="654" y="354"/>
                  </a:lnTo>
                  <a:lnTo>
                    <a:pt x="648" y="402"/>
                  </a:lnTo>
                  <a:lnTo>
                    <a:pt x="678" y="402"/>
                  </a:lnTo>
                  <a:lnTo>
                    <a:pt x="678" y="420"/>
                  </a:lnTo>
                  <a:lnTo>
                    <a:pt x="684" y="438"/>
                  </a:lnTo>
                  <a:lnTo>
                    <a:pt x="684" y="450"/>
                  </a:lnTo>
                  <a:lnTo>
                    <a:pt x="684" y="456"/>
                  </a:lnTo>
                  <a:lnTo>
                    <a:pt x="690" y="468"/>
                  </a:lnTo>
                  <a:lnTo>
                    <a:pt x="690" y="474"/>
                  </a:lnTo>
                  <a:lnTo>
                    <a:pt x="690" y="480"/>
                  </a:lnTo>
                  <a:lnTo>
                    <a:pt x="696" y="486"/>
                  </a:lnTo>
                  <a:lnTo>
                    <a:pt x="696" y="498"/>
                  </a:lnTo>
                  <a:lnTo>
                    <a:pt x="702" y="504"/>
                  </a:lnTo>
                  <a:lnTo>
                    <a:pt x="690" y="516"/>
                  </a:lnTo>
                  <a:lnTo>
                    <a:pt x="678" y="522"/>
                  </a:lnTo>
                  <a:lnTo>
                    <a:pt x="654" y="528"/>
                  </a:lnTo>
                  <a:lnTo>
                    <a:pt x="660" y="546"/>
                  </a:lnTo>
                  <a:lnTo>
                    <a:pt x="672" y="546"/>
                  </a:lnTo>
                  <a:lnTo>
                    <a:pt x="678" y="540"/>
                  </a:lnTo>
                  <a:lnTo>
                    <a:pt x="714" y="540"/>
                  </a:lnTo>
                  <a:lnTo>
                    <a:pt x="798" y="540"/>
                  </a:lnTo>
                  <a:lnTo>
                    <a:pt x="804" y="540"/>
                  </a:lnTo>
                  <a:lnTo>
                    <a:pt x="816" y="528"/>
                  </a:lnTo>
                  <a:lnTo>
                    <a:pt x="822" y="522"/>
                  </a:lnTo>
                  <a:lnTo>
                    <a:pt x="834" y="516"/>
                  </a:lnTo>
                  <a:lnTo>
                    <a:pt x="846" y="516"/>
                  </a:lnTo>
                  <a:lnTo>
                    <a:pt x="852" y="510"/>
                  </a:lnTo>
                  <a:lnTo>
                    <a:pt x="858" y="510"/>
                  </a:lnTo>
                  <a:lnTo>
                    <a:pt x="882" y="516"/>
                  </a:lnTo>
                  <a:lnTo>
                    <a:pt x="888" y="516"/>
                  </a:lnTo>
                  <a:lnTo>
                    <a:pt x="888" y="510"/>
                  </a:lnTo>
                  <a:lnTo>
                    <a:pt x="894" y="510"/>
                  </a:lnTo>
                  <a:lnTo>
                    <a:pt x="906" y="504"/>
                  </a:lnTo>
                  <a:lnTo>
                    <a:pt x="918" y="498"/>
                  </a:lnTo>
                  <a:lnTo>
                    <a:pt x="930" y="492"/>
                  </a:lnTo>
                  <a:lnTo>
                    <a:pt x="936" y="492"/>
                  </a:lnTo>
                  <a:lnTo>
                    <a:pt x="948" y="492"/>
                  </a:lnTo>
                  <a:lnTo>
                    <a:pt x="954" y="528"/>
                  </a:lnTo>
                  <a:lnTo>
                    <a:pt x="954" y="564"/>
                  </a:lnTo>
                  <a:lnTo>
                    <a:pt x="972" y="564"/>
                  </a:lnTo>
                  <a:lnTo>
                    <a:pt x="978" y="558"/>
                  </a:lnTo>
                  <a:lnTo>
                    <a:pt x="990" y="552"/>
                  </a:lnTo>
                  <a:lnTo>
                    <a:pt x="1002" y="540"/>
                  </a:lnTo>
                  <a:lnTo>
                    <a:pt x="1026" y="534"/>
                  </a:lnTo>
                  <a:lnTo>
                    <a:pt x="1032" y="540"/>
                  </a:lnTo>
                  <a:lnTo>
                    <a:pt x="1044" y="546"/>
                  </a:lnTo>
                  <a:lnTo>
                    <a:pt x="1062" y="552"/>
                  </a:lnTo>
                  <a:lnTo>
                    <a:pt x="1068" y="552"/>
                  </a:lnTo>
                  <a:lnTo>
                    <a:pt x="1068" y="570"/>
                  </a:lnTo>
                  <a:lnTo>
                    <a:pt x="1068" y="576"/>
                  </a:lnTo>
                  <a:lnTo>
                    <a:pt x="1068" y="582"/>
                  </a:lnTo>
                  <a:lnTo>
                    <a:pt x="1068" y="588"/>
                  </a:lnTo>
                  <a:lnTo>
                    <a:pt x="1068" y="594"/>
                  </a:lnTo>
                  <a:lnTo>
                    <a:pt x="1080" y="600"/>
                  </a:lnTo>
                  <a:lnTo>
                    <a:pt x="1086" y="606"/>
                  </a:lnTo>
                  <a:lnTo>
                    <a:pt x="1092" y="594"/>
                  </a:lnTo>
                  <a:lnTo>
                    <a:pt x="1104" y="588"/>
                  </a:lnTo>
                  <a:lnTo>
                    <a:pt x="1116" y="588"/>
                  </a:lnTo>
                  <a:lnTo>
                    <a:pt x="1122" y="588"/>
                  </a:lnTo>
                  <a:lnTo>
                    <a:pt x="1122" y="594"/>
                  </a:lnTo>
                  <a:lnTo>
                    <a:pt x="1128" y="594"/>
                  </a:lnTo>
                  <a:lnTo>
                    <a:pt x="1134" y="594"/>
                  </a:lnTo>
                  <a:lnTo>
                    <a:pt x="1140" y="594"/>
                  </a:lnTo>
                  <a:lnTo>
                    <a:pt x="1146" y="588"/>
                  </a:lnTo>
                  <a:lnTo>
                    <a:pt x="1158" y="582"/>
                  </a:lnTo>
                  <a:lnTo>
                    <a:pt x="1164" y="576"/>
                  </a:lnTo>
                  <a:lnTo>
                    <a:pt x="1176" y="576"/>
                  </a:lnTo>
                  <a:lnTo>
                    <a:pt x="1194" y="576"/>
                  </a:lnTo>
                  <a:lnTo>
                    <a:pt x="1218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24" y="594"/>
                  </a:lnTo>
                  <a:lnTo>
                    <a:pt x="1212" y="600"/>
                  </a:lnTo>
                  <a:lnTo>
                    <a:pt x="1206" y="606"/>
                  </a:lnTo>
                  <a:lnTo>
                    <a:pt x="1200" y="606"/>
                  </a:lnTo>
                  <a:lnTo>
                    <a:pt x="1200" y="612"/>
                  </a:lnTo>
                  <a:lnTo>
                    <a:pt x="1194" y="612"/>
                  </a:lnTo>
                  <a:lnTo>
                    <a:pt x="1194" y="618"/>
                  </a:lnTo>
                  <a:lnTo>
                    <a:pt x="1194" y="624"/>
                  </a:lnTo>
                  <a:lnTo>
                    <a:pt x="1194" y="630"/>
                  </a:lnTo>
                  <a:lnTo>
                    <a:pt x="1194" y="648"/>
                  </a:lnTo>
                  <a:lnTo>
                    <a:pt x="1194" y="660"/>
                  </a:lnTo>
                  <a:lnTo>
                    <a:pt x="1194" y="666"/>
                  </a:lnTo>
                  <a:lnTo>
                    <a:pt x="1194" y="672"/>
                  </a:lnTo>
                  <a:lnTo>
                    <a:pt x="1194" y="678"/>
                  </a:lnTo>
                  <a:lnTo>
                    <a:pt x="1188" y="684"/>
                  </a:lnTo>
                  <a:lnTo>
                    <a:pt x="1188" y="690"/>
                  </a:lnTo>
                  <a:lnTo>
                    <a:pt x="1188" y="696"/>
                  </a:lnTo>
                  <a:lnTo>
                    <a:pt x="1188" y="702"/>
                  </a:lnTo>
                  <a:lnTo>
                    <a:pt x="1188" y="708"/>
                  </a:lnTo>
                  <a:lnTo>
                    <a:pt x="1188" y="714"/>
                  </a:lnTo>
                  <a:lnTo>
                    <a:pt x="1182" y="720"/>
                  </a:lnTo>
                  <a:lnTo>
                    <a:pt x="1170" y="720"/>
                  </a:lnTo>
                  <a:lnTo>
                    <a:pt x="1158" y="726"/>
                  </a:lnTo>
                  <a:lnTo>
                    <a:pt x="1152" y="726"/>
                  </a:lnTo>
                  <a:lnTo>
                    <a:pt x="1152" y="732"/>
                  </a:lnTo>
                  <a:lnTo>
                    <a:pt x="1146" y="738"/>
                  </a:lnTo>
                  <a:lnTo>
                    <a:pt x="1140" y="738"/>
                  </a:lnTo>
                  <a:lnTo>
                    <a:pt x="1140" y="744"/>
                  </a:lnTo>
                  <a:lnTo>
                    <a:pt x="1134" y="744"/>
                  </a:lnTo>
                  <a:lnTo>
                    <a:pt x="1128" y="744"/>
                  </a:lnTo>
                  <a:lnTo>
                    <a:pt x="1122" y="750"/>
                  </a:lnTo>
                  <a:lnTo>
                    <a:pt x="1128" y="750"/>
                  </a:lnTo>
                  <a:lnTo>
                    <a:pt x="1122" y="756"/>
                  </a:lnTo>
                  <a:lnTo>
                    <a:pt x="1116" y="756"/>
                  </a:lnTo>
                  <a:lnTo>
                    <a:pt x="1110" y="762"/>
                  </a:lnTo>
                  <a:lnTo>
                    <a:pt x="1104" y="762"/>
                  </a:lnTo>
                  <a:lnTo>
                    <a:pt x="1104" y="768"/>
                  </a:lnTo>
                  <a:lnTo>
                    <a:pt x="1098" y="768"/>
                  </a:lnTo>
                  <a:lnTo>
                    <a:pt x="1098" y="774"/>
                  </a:lnTo>
                  <a:lnTo>
                    <a:pt x="1092" y="774"/>
                  </a:lnTo>
                  <a:lnTo>
                    <a:pt x="1092" y="780"/>
                  </a:lnTo>
                  <a:lnTo>
                    <a:pt x="1086" y="780"/>
                  </a:lnTo>
                  <a:lnTo>
                    <a:pt x="1086" y="786"/>
                  </a:lnTo>
                  <a:lnTo>
                    <a:pt x="1080" y="786"/>
                  </a:lnTo>
                  <a:lnTo>
                    <a:pt x="1080" y="792"/>
                  </a:lnTo>
                  <a:lnTo>
                    <a:pt x="1080" y="798"/>
                  </a:lnTo>
                  <a:lnTo>
                    <a:pt x="1080" y="804"/>
                  </a:lnTo>
                  <a:lnTo>
                    <a:pt x="1086" y="810"/>
                  </a:lnTo>
                  <a:lnTo>
                    <a:pt x="1080" y="816"/>
                  </a:lnTo>
                  <a:lnTo>
                    <a:pt x="1080" y="822"/>
                  </a:lnTo>
                  <a:lnTo>
                    <a:pt x="1074" y="822"/>
                  </a:lnTo>
                  <a:lnTo>
                    <a:pt x="1068" y="828"/>
                  </a:lnTo>
                  <a:lnTo>
                    <a:pt x="1074" y="828"/>
                  </a:lnTo>
                  <a:lnTo>
                    <a:pt x="1074" y="834"/>
                  </a:lnTo>
                  <a:lnTo>
                    <a:pt x="1080" y="846"/>
                  </a:lnTo>
                  <a:lnTo>
                    <a:pt x="1086" y="846"/>
                  </a:lnTo>
                  <a:lnTo>
                    <a:pt x="1092" y="852"/>
                  </a:lnTo>
                  <a:lnTo>
                    <a:pt x="1092" y="858"/>
                  </a:lnTo>
                  <a:lnTo>
                    <a:pt x="1098" y="858"/>
                  </a:lnTo>
                  <a:lnTo>
                    <a:pt x="1110" y="864"/>
                  </a:lnTo>
                  <a:lnTo>
                    <a:pt x="1116" y="864"/>
                  </a:lnTo>
                  <a:lnTo>
                    <a:pt x="1122" y="864"/>
                  </a:lnTo>
                  <a:lnTo>
                    <a:pt x="1128" y="864"/>
                  </a:lnTo>
                  <a:lnTo>
                    <a:pt x="1134" y="876"/>
                  </a:lnTo>
                  <a:lnTo>
                    <a:pt x="1140" y="882"/>
                  </a:lnTo>
                  <a:lnTo>
                    <a:pt x="1140" y="888"/>
                  </a:lnTo>
                  <a:lnTo>
                    <a:pt x="1152" y="918"/>
                  </a:lnTo>
                  <a:lnTo>
                    <a:pt x="1158" y="894"/>
                  </a:lnTo>
                  <a:lnTo>
                    <a:pt x="1164" y="888"/>
                  </a:lnTo>
                  <a:lnTo>
                    <a:pt x="1164" y="882"/>
                  </a:lnTo>
                  <a:lnTo>
                    <a:pt x="1176" y="864"/>
                  </a:lnTo>
                  <a:lnTo>
                    <a:pt x="1182" y="858"/>
                  </a:lnTo>
                  <a:lnTo>
                    <a:pt x="1188" y="846"/>
                  </a:lnTo>
                  <a:lnTo>
                    <a:pt x="1200" y="840"/>
                  </a:lnTo>
                  <a:lnTo>
                    <a:pt x="1212" y="840"/>
                  </a:lnTo>
                  <a:lnTo>
                    <a:pt x="1218" y="846"/>
                  </a:lnTo>
                  <a:lnTo>
                    <a:pt x="1224" y="858"/>
                  </a:lnTo>
                  <a:lnTo>
                    <a:pt x="1224" y="864"/>
                  </a:lnTo>
                  <a:lnTo>
                    <a:pt x="1224" y="876"/>
                  </a:lnTo>
                  <a:lnTo>
                    <a:pt x="1212" y="912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00" y="930"/>
                  </a:lnTo>
                  <a:lnTo>
                    <a:pt x="1200" y="942"/>
                  </a:lnTo>
                  <a:lnTo>
                    <a:pt x="1194" y="948"/>
                  </a:lnTo>
                  <a:lnTo>
                    <a:pt x="1194" y="960"/>
                  </a:lnTo>
                  <a:lnTo>
                    <a:pt x="1194" y="966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70" y="984"/>
                  </a:lnTo>
                  <a:lnTo>
                    <a:pt x="1164" y="984"/>
                  </a:lnTo>
                  <a:lnTo>
                    <a:pt x="1158" y="984"/>
                  </a:lnTo>
                  <a:lnTo>
                    <a:pt x="1146" y="984"/>
                  </a:lnTo>
                  <a:lnTo>
                    <a:pt x="1140" y="990"/>
                  </a:lnTo>
                  <a:lnTo>
                    <a:pt x="1140" y="996"/>
                  </a:lnTo>
                  <a:lnTo>
                    <a:pt x="1152" y="996"/>
                  </a:lnTo>
                  <a:lnTo>
                    <a:pt x="1176" y="1002"/>
                  </a:lnTo>
                  <a:lnTo>
                    <a:pt x="1194" y="1008"/>
                  </a:lnTo>
                  <a:lnTo>
                    <a:pt x="1206" y="1008"/>
                  </a:lnTo>
                  <a:lnTo>
                    <a:pt x="1218" y="1014"/>
                  </a:lnTo>
                  <a:lnTo>
                    <a:pt x="1212" y="1038"/>
                  </a:lnTo>
                  <a:lnTo>
                    <a:pt x="1212" y="1044"/>
                  </a:lnTo>
                  <a:lnTo>
                    <a:pt x="1206" y="1044"/>
                  </a:lnTo>
                  <a:lnTo>
                    <a:pt x="1206" y="1050"/>
                  </a:lnTo>
                  <a:lnTo>
                    <a:pt x="1194" y="1050"/>
                  </a:lnTo>
                  <a:lnTo>
                    <a:pt x="1188" y="1044"/>
                  </a:lnTo>
                  <a:lnTo>
                    <a:pt x="1158" y="1020"/>
                  </a:lnTo>
                  <a:lnTo>
                    <a:pt x="1152" y="1020"/>
                  </a:lnTo>
                  <a:lnTo>
                    <a:pt x="1140" y="1020"/>
                  </a:lnTo>
                  <a:lnTo>
                    <a:pt x="1134" y="1020"/>
                  </a:lnTo>
                  <a:lnTo>
                    <a:pt x="1134" y="1026"/>
                  </a:lnTo>
                  <a:lnTo>
                    <a:pt x="1134" y="1032"/>
                  </a:lnTo>
                  <a:lnTo>
                    <a:pt x="1128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2" name="Freeform 27">
              <a:extLst>
                <a:ext uri="{FF2B5EF4-FFF2-40B4-BE49-F238E27FC236}">
                  <a16:creationId xmlns:a16="http://schemas.microsoft.com/office/drawing/2014/main" id="{CE95C9DF-B651-4085-946F-65424BC51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2063" y="3421400"/>
              <a:ext cx="342138" cy="377969"/>
            </a:xfrm>
            <a:custGeom>
              <a:avLst/>
              <a:gdLst>
                <a:gd name="T0" fmla="*/ 43 w 642"/>
                <a:gd name="T1" fmla="*/ 41 h 708"/>
                <a:gd name="T2" fmla="*/ 39 w 642"/>
                <a:gd name="T3" fmla="*/ 41 h 708"/>
                <a:gd name="T4" fmla="*/ 38 w 642"/>
                <a:gd name="T5" fmla="*/ 47 h 708"/>
                <a:gd name="T6" fmla="*/ 38 w 642"/>
                <a:gd name="T7" fmla="*/ 49 h 708"/>
                <a:gd name="T8" fmla="*/ 38 w 642"/>
                <a:gd name="T9" fmla="*/ 50 h 708"/>
                <a:gd name="T10" fmla="*/ 36 w 642"/>
                <a:gd name="T11" fmla="*/ 52 h 708"/>
                <a:gd name="T12" fmla="*/ 35 w 642"/>
                <a:gd name="T13" fmla="*/ 53 h 708"/>
                <a:gd name="T14" fmla="*/ 33 w 642"/>
                <a:gd name="T15" fmla="*/ 55 h 708"/>
                <a:gd name="T16" fmla="*/ 32 w 642"/>
                <a:gd name="T17" fmla="*/ 56 h 708"/>
                <a:gd name="T18" fmla="*/ 31 w 642"/>
                <a:gd name="T19" fmla="*/ 59 h 708"/>
                <a:gd name="T20" fmla="*/ 26 w 642"/>
                <a:gd name="T21" fmla="*/ 59 h 708"/>
                <a:gd name="T22" fmla="*/ 23 w 642"/>
                <a:gd name="T23" fmla="*/ 61 h 708"/>
                <a:gd name="T24" fmla="*/ 20 w 642"/>
                <a:gd name="T25" fmla="*/ 61 h 708"/>
                <a:gd name="T26" fmla="*/ 17 w 642"/>
                <a:gd name="T27" fmla="*/ 59 h 708"/>
                <a:gd name="T28" fmla="*/ 15 w 642"/>
                <a:gd name="T29" fmla="*/ 56 h 708"/>
                <a:gd name="T30" fmla="*/ 9 w 642"/>
                <a:gd name="T31" fmla="*/ 58 h 708"/>
                <a:gd name="T32" fmla="*/ 6 w 642"/>
                <a:gd name="T33" fmla="*/ 52 h 708"/>
                <a:gd name="T34" fmla="*/ 2 w 642"/>
                <a:gd name="T35" fmla="*/ 53 h 708"/>
                <a:gd name="T36" fmla="*/ 1 w 642"/>
                <a:gd name="T37" fmla="*/ 51 h 708"/>
                <a:gd name="T38" fmla="*/ 4 w 642"/>
                <a:gd name="T39" fmla="*/ 47 h 708"/>
                <a:gd name="T40" fmla="*/ 5 w 642"/>
                <a:gd name="T41" fmla="*/ 41 h 708"/>
                <a:gd name="T42" fmla="*/ 5 w 642"/>
                <a:gd name="T43" fmla="*/ 38 h 708"/>
                <a:gd name="T44" fmla="*/ 5 w 642"/>
                <a:gd name="T45" fmla="*/ 35 h 708"/>
                <a:gd name="T46" fmla="*/ 6 w 642"/>
                <a:gd name="T47" fmla="*/ 33 h 708"/>
                <a:gd name="T48" fmla="*/ 5 w 642"/>
                <a:gd name="T49" fmla="*/ 29 h 708"/>
                <a:gd name="T50" fmla="*/ 4 w 642"/>
                <a:gd name="T51" fmla="*/ 28 h 708"/>
                <a:gd name="T52" fmla="*/ 1 w 642"/>
                <a:gd name="T53" fmla="*/ 26 h 708"/>
                <a:gd name="T54" fmla="*/ 1 w 642"/>
                <a:gd name="T55" fmla="*/ 24 h 708"/>
                <a:gd name="T56" fmla="*/ 1 w 642"/>
                <a:gd name="T57" fmla="*/ 20 h 708"/>
                <a:gd name="T58" fmla="*/ 1 w 642"/>
                <a:gd name="T59" fmla="*/ 16 h 708"/>
                <a:gd name="T60" fmla="*/ 2 w 642"/>
                <a:gd name="T61" fmla="*/ 14 h 708"/>
                <a:gd name="T62" fmla="*/ 8 w 642"/>
                <a:gd name="T63" fmla="*/ 14 h 708"/>
                <a:gd name="T64" fmla="*/ 9 w 642"/>
                <a:gd name="T65" fmla="*/ 10 h 708"/>
                <a:gd name="T66" fmla="*/ 15 w 642"/>
                <a:gd name="T67" fmla="*/ 9 h 708"/>
                <a:gd name="T68" fmla="*/ 18 w 642"/>
                <a:gd name="T69" fmla="*/ 14 h 708"/>
                <a:gd name="T70" fmla="*/ 20 w 642"/>
                <a:gd name="T71" fmla="*/ 12 h 708"/>
                <a:gd name="T72" fmla="*/ 20 w 642"/>
                <a:gd name="T73" fmla="*/ 11 h 708"/>
                <a:gd name="T74" fmla="*/ 21 w 642"/>
                <a:gd name="T75" fmla="*/ 9 h 708"/>
                <a:gd name="T76" fmla="*/ 24 w 642"/>
                <a:gd name="T77" fmla="*/ 9 h 708"/>
                <a:gd name="T78" fmla="*/ 27 w 642"/>
                <a:gd name="T79" fmla="*/ 8 h 708"/>
                <a:gd name="T80" fmla="*/ 33 w 642"/>
                <a:gd name="T81" fmla="*/ 2 h 708"/>
                <a:gd name="T82" fmla="*/ 42 w 642"/>
                <a:gd name="T83" fmla="*/ 2 h 708"/>
                <a:gd name="T84" fmla="*/ 49 w 642"/>
                <a:gd name="T85" fmla="*/ 1 h 708"/>
                <a:gd name="T86" fmla="*/ 53 w 642"/>
                <a:gd name="T87" fmla="*/ 4 h 708"/>
                <a:gd name="T88" fmla="*/ 55 w 642"/>
                <a:gd name="T89" fmla="*/ 4 h 708"/>
                <a:gd name="T90" fmla="*/ 55 w 642"/>
                <a:gd name="T91" fmla="*/ 7 h 708"/>
                <a:gd name="T92" fmla="*/ 52 w 642"/>
                <a:gd name="T93" fmla="*/ 9 h 708"/>
                <a:gd name="T94" fmla="*/ 49 w 642"/>
                <a:gd name="T95" fmla="*/ 12 h 708"/>
                <a:gd name="T96" fmla="*/ 47 w 642"/>
                <a:gd name="T97" fmla="*/ 14 h 708"/>
                <a:gd name="T98" fmla="*/ 47 w 642"/>
                <a:gd name="T99" fmla="*/ 17 h 708"/>
                <a:gd name="T100" fmla="*/ 45 w 642"/>
                <a:gd name="T101" fmla="*/ 26 h 708"/>
                <a:gd name="T102" fmla="*/ 50 w 642"/>
                <a:gd name="T103" fmla="*/ 37 h 70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42"/>
                <a:gd name="T157" fmla="*/ 0 h 708"/>
                <a:gd name="T158" fmla="*/ 642 w 642"/>
                <a:gd name="T159" fmla="*/ 708 h 70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42" h="708">
                  <a:moveTo>
                    <a:pt x="576" y="468"/>
                  </a:moveTo>
                  <a:lnTo>
                    <a:pt x="564" y="468"/>
                  </a:lnTo>
                  <a:lnTo>
                    <a:pt x="516" y="468"/>
                  </a:lnTo>
                  <a:lnTo>
                    <a:pt x="498" y="474"/>
                  </a:lnTo>
                  <a:lnTo>
                    <a:pt x="492" y="468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68" y="474"/>
                  </a:lnTo>
                  <a:lnTo>
                    <a:pt x="456" y="468"/>
                  </a:lnTo>
                  <a:lnTo>
                    <a:pt x="444" y="474"/>
                  </a:lnTo>
                  <a:lnTo>
                    <a:pt x="438" y="492"/>
                  </a:lnTo>
                  <a:lnTo>
                    <a:pt x="438" y="504"/>
                  </a:lnTo>
                  <a:lnTo>
                    <a:pt x="432" y="516"/>
                  </a:lnTo>
                  <a:lnTo>
                    <a:pt x="432" y="528"/>
                  </a:lnTo>
                  <a:lnTo>
                    <a:pt x="432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52"/>
                  </a:lnTo>
                  <a:lnTo>
                    <a:pt x="432" y="558"/>
                  </a:lnTo>
                  <a:lnTo>
                    <a:pt x="438" y="564"/>
                  </a:lnTo>
                  <a:lnTo>
                    <a:pt x="444" y="564"/>
                  </a:lnTo>
                  <a:lnTo>
                    <a:pt x="438" y="564"/>
                  </a:lnTo>
                  <a:lnTo>
                    <a:pt x="438" y="570"/>
                  </a:lnTo>
                  <a:lnTo>
                    <a:pt x="432" y="570"/>
                  </a:lnTo>
                  <a:lnTo>
                    <a:pt x="432" y="576"/>
                  </a:lnTo>
                  <a:lnTo>
                    <a:pt x="426" y="588"/>
                  </a:lnTo>
                  <a:lnTo>
                    <a:pt x="420" y="594"/>
                  </a:lnTo>
                  <a:lnTo>
                    <a:pt x="420" y="600"/>
                  </a:lnTo>
                  <a:lnTo>
                    <a:pt x="414" y="600"/>
                  </a:lnTo>
                  <a:lnTo>
                    <a:pt x="414" y="606"/>
                  </a:lnTo>
                  <a:lnTo>
                    <a:pt x="408" y="606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396" y="612"/>
                  </a:lnTo>
                  <a:lnTo>
                    <a:pt x="390" y="612"/>
                  </a:lnTo>
                  <a:lnTo>
                    <a:pt x="390" y="618"/>
                  </a:lnTo>
                  <a:lnTo>
                    <a:pt x="384" y="618"/>
                  </a:lnTo>
                  <a:lnTo>
                    <a:pt x="378" y="618"/>
                  </a:lnTo>
                  <a:lnTo>
                    <a:pt x="378" y="624"/>
                  </a:lnTo>
                  <a:lnTo>
                    <a:pt x="384" y="630"/>
                  </a:lnTo>
                  <a:lnTo>
                    <a:pt x="384" y="636"/>
                  </a:lnTo>
                  <a:lnTo>
                    <a:pt x="378" y="630"/>
                  </a:lnTo>
                  <a:lnTo>
                    <a:pt x="372" y="636"/>
                  </a:lnTo>
                  <a:lnTo>
                    <a:pt x="372" y="642"/>
                  </a:lnTo>
                  <a:lnTo>
                    <a:pt x="366" y="642"/>
                  </a:lnTo>
                  <a:lnTo>
                    <a:pt x="360" y="654"/>
                  </a:lnTo>
                  <a:lnTo>
                    <a:pt x="354" y="666"/>
                  </a:lnTo>
                  <a:lnTo>
                    <a:pt x="354" y="672"/>
                  </a:lnTo>
                  <a:lnTo>
                    <a:pt x="354" y="678"/>
                  </a:lnTo>
                  <a:lnTo>
                    <a:pt x="354" y="684"/>
                  </a:lnTo>
                  <a:lnTo>
                    <a:pt x="348" y="678"/>
                  </a:lnTo>
                  <a:lnTo>
                    <a:pt x="324" y="678"/>
                  </a:lnTo>
                  <a:lnTo>
                    <a:pt x="306" y="678"/>
                  </a:lnTo>
                  <a:lnTo>
                    <a:pt x="294" y="678"/>
                  </a:lnTo>
                  <a:lnTo>
                    <a:pt x="288" y="684"/>
                  </a:lnTo>
                  <a:lnTo>
                    <a:pt x="276" y="690"/>
                  </a:lnTo>
                  <a:lnTo>
                    <a:pt x="270" y="696"/>
                  </a:lnTo>
                  <a:lnTo>
                    <a:pt x="264" y="696"/>
                  </a:lnTo>
                  <a:lnTo>
                    <a:pt x="258" y="696"/>
                  </a:lnTo>
                  <a:lnTo>
                    <a:pt x="252" y="696"/>
                  </a:lnTo>
                  <a:lnTo>
                    <a:pt x="252" y="690"/>
                  </a:lnTo>
                  <a:lnTo>
                    <a:pt x="246" y="690"/>
                  </a:lnTo>
                  <a:lnTo>
                    <a:pt x="234" y="690"/>
                  </a:lnTo>
                  <a:lnTo>
                    <a:pt x="222" y="696"/>
                  </a:lnTo>
                  <a:lnTo>
                    <a:pt x="216" y="708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8" y="690"/>
                  </a:lnTo>
                  <a:lnTo>
                    <a:pt x="198" y="684"/>
                  </a:lnTo>
                  <a:lnTo>
                    <a:pt x="198" y="678"/>
                  </a:lnTo>
                  <a:lnTo>
                    <a:pt x="198" y="672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74" y="648"/>
                  </a:lnTo>
                  <a:lnTo>
                    <a:pt x="162" y="642"/>
                  </a:lnTo>
                  <a:lnTo>
                    <a:pt x="156" y="636"/>
                  </a:lnTo>
                  <a:lnTo>
                    <a:pt x="132" y="642"/>
                  </a:lnTo>
                  <a:lnTo>
                    <a:pt x="120" y="654"/>
                  </a:lnTo>
                  <a:lnTo>
                    <a:pt x="108" y="660"/>
                  </a:lnTo>
                  <a:lnTo>
                    <a:pt x="102" y="666"/>
                  </a:lnTo>
                  <a:lnTo>
                    <a:pt x="84" y="666"/>
                  </a:lnTo>
                  <a:lnTo>
                    <a:pt x="84" y="630"/>
                  </a:lnTo>
                  <a:lnTo>
                    <a:pt x="78" y="594"/>
                  </a:lnTo>
                  <a:lnTo>
                    <a:pt x="66" y="594"/>
                  </a:lnTo>
                  <a:lnTo>
                    <a:pt x="60" y="594"/>
                  </a:lnTo>
                  <a:lnTo>
                    <a:pt x="48" y="600"/>
                  </a:lnTo>
                  <a:lnTo>
                    <a:pt x="36" y="606"/>
                  </a:lnTo>
                  <a:lnTo>
                    <a:pt x="24" y="612"/>
                  </a:lnTo>
                  <a:lnTo>
                    <a:pt x="18" y="612"/>
                  </a:lnTo>
                  <a:lnTo>
                    <a:pt x="12" y="606"/>
                  </a:lnTo>
                  <a:lnTo>
                    <a:pt x="12" y="600"/>
                  </a:lnTo>
                  <a:lnTo>
                    <a:pt x="12" y="594"/>
                  </a:lnTo>
                  <a:lnTo>
                    <a:pt x="12" y="588"/>
                  </a:lnTo>
                  <a:lnTo>
                    <a:pt x="12" y="582"/>
                  </a:lnTo>
                  <a:lnTo>
                    <a:pt x="12" y="576"/>
                  </a:lnTo>
                  <a:lnTo>
                    <a:pt x="18" y="552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42" y="534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48" y="492"/>
                  </a:lnTo>
                  <a:lnTo>
                    <a:pt x="48" y="480"/>
                  </a:lnTo>
                  <a:lnTo>
                    <a:pt x="54" y="468"/>
                  </a:lnTo>
                  <a:lnTo>
                    <a:pt x="48" y="456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66" y="390"/>
                  </a:lnTo>
                  <a:lnTo>
                    <a:pt x="72" y="384"/>
                  </a:lnTo>
                  <a:lnTo>
                    <a:pt x="72" y="378"/>
                  </a:lnTo>
                  <a:lnTo>
                    <a:pt x="66" y="378"/>
                  </a:lnTo>
                  <a:lnTo>
                    <a:pt x="66" y="366"/>
                  </a:lnTo>
                  <a:lnTo>
                    <a:pt x="60" y="360"/>
                  </a:lnTo>
                  <a:lnTo>
                    <a:pt x="66" y="354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48" y="312"/>
                  </a:lnTo>
                  <a:lnTo>
                    <a:pt x="30" y="312"/>
                  </a:lnTo>
                  <a:lnTo>
                    <a:pt x="24" y="306"/>
                  </a:lnTo>
                  <a:lnTo>
                    <a:pt x="18" y="306"/>
                  </a:lnTo>
                  <a:lnTo>
                    <a:pt x="12" y="294"/>
                  </a:lnTo>
                  <a:lnTo>
                    <a:pt x="12" y="282"/>
                  </a:lnTo>
                  <a:lnTo>
                    <a:pt x="6" y="276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12" y="270"/>
                  </a:lnTo>
                  <a:lnTo>
                    <a:pt x="12" y="246"/>
                  </a:lnTo>
                  <a:lnTo>
                    <a:pt x="12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8" y="174"/>
                  </a:lnTo>
                  <a:lnTo>
                    <a:pt x="12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48" y="162"/>
                  </a:lnTo>
                  <a:lnTo>
                    <a:pt x="72" y="162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84" y="132"/>
                  </a:lnTo>
                  <a:lnTo>
                    <a:pt x="90" y="120"/>
                  </a:lnTo>
                  <a:lnTo>
                    <a:pt x="108" y="114"/>
                  </a:lnTo>
                  <a:lnTo>
                    <a:pt x="114" y="102"/>
                  </a:lnTo>
                  <a:lnTo>
                    <a:pt x="120" y="90"/>
                  </a:lnTo>
                  <a:lnTo>
                    <a:pt x="138" y="90"/>
                  </a:lnTo>
                  <a:lnTo>
                    <a:pt x="138" y="102"/>
                  </a:lnTo>
                  <a:lnTo>
                    <a:pt x="168" y="108"/>
                  </a:lnTo>
                  <a:lnTo>
                    <a:pt x="168" y="114"/>
                  </a:lnTo>
                  <a:lnTo>
                    <a:pt x="174" y="126"/>
                  </a:lnTo>
                  <a:lnTo>
                    <a:pt x="186" y="150"/>
                  </a:lnTo>
                  <a:lnTo>
                    <a:pt x="186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34" y="144"/>
                  </a:lnTo>
                  <a:lnTo>
                    <a:pt x="240" y="138"/>
                  </a:lnTo>
                  <a:lnTo>
                    <a:pt x="240" y="126"/>
                  </a:lnTo>
                  <a:lnTo>
                    <a:pt x="234" y="126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34" y="102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82" y="102"/>
                  </a:lnTo>
                  <a:lnTo>
                    <a:pt x="288" y="102"/>
                  </a:lnTo>
                  <a:lnTo>
                    <a:pt x="294" y="102"/>
                  </a:lnTo>
                  <a:lnTo>
                    <a:pt x="300" y="96"/>
                  </a:lnTo>
                  <a:lnTo>
                    <a:pt x="306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84"/>
                  </a:lnTo>
                  <a:lnTo>
                    <a:pt x="324" y="18"/>
                  </a:lnTo>
                  <a:lnTo>
                    <a:pt x="360" y="18"/>
                  </a:lnTo>
                  <a:lnTo>
                    <a:pt x="378" y="18"/>
                  </a:lnTo>
                  <a:lnTo>
                    <a:pt x="378" y="30"/>
                  </a:lnTo>
                  <a:lnTo>
                    <a:pt x="390" y="30"/>
                  </a:lnTo>
                  <a:lnTo>
                    <a:pt x="432" y="30"/>
                  </a:lnTo>
                  <a:lnTo>
                    <a:pt x="456" y="24"/>
                  </a:lnTo>
                  <a:lnTo>
                    <a:pt x="480" y="24"/>
                  </a:lnTo>
                  <a:lnTo>
                    <a:pt x="498" y="30"/>
                  </a:lnTo>
                  <a:lnTo>
                    <a:pt x="522" y="18"/>
                  </a:lnTo>
                  <a:lnTo>
                    <a:pt x="528" y="0"/>
                  </a:lnTo>
                  <a:lnTo>
                    <a:pt x="558" y="6"/>
                  </a:lnTo>
                  <a:lnTo>
                    <a:pt x="558" y="12"/>
                  </a:lnTo>
                  <a:lnTo>
                    <a:pt x="570" y="18"/>
                  </a:lnTo>
                  <a:lnTo>
                    <a:pt x="576" y="24"/>
                  </a:lnTo>
                  <a:lnTo>
                    <a:pt x="588" y="36"/>
                  </a:lnTo>
                  <a:lnTo>
                    <a:pt x="594" y="48"/>
                  </a:lnTo>
                  <a:lnTo>
                    <a:pt x="606" y="48"/>
                  </a:lnTo>
                  <a:lnTo>
                    <a:pt x="606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42"/>
                  </a:lnTo>
                  <a:lnTo>
                    <a:pt x="636" y="42"/>
                  </a:lnTo>
                  <a:lnTo>
                    <a:pt x="636" y="48"/>
                  </a:lnTo>
                  <a:lnTo>
                    <a:pt x="642" y="54"/>
                  </a:lnTo>
                  <a:lnTo>
                    <a:pt x="636" y="60"/>
                  </a:lnTo>
                  <a:lnTo>
                    <a:pt x="636" y="66"/>
                  </a:lnTo>
                  <a:lnTo>
                    <a:pt x="636" y="78"/>
                  </a:lnTo>
                  <a:lnTo>
                    <a:pt x="624" y="84"/>
                  </a:lnTo>
                  <a:lnTo>
                    <a:pt x="618" y="90"/>
                  </a:lnTo>
                  <a:lnTo>
                    <a:pt x="612" y="90"/>
                  </a:lnTo>
                  <a:lnTo>
                    <a:pt x="600" y="102"/>
                  </a:lnTo>
                  <a:lnTo>
                    <a:pt x="594" y="108"/>
                  </a:lnTo>
                  <a:lnTo>
                    <a:pt x="582" y="114"/>
                  </a:lnTo>
                  <a:lnTo>
                    <a:pt x="570" y="132"/>
                  </a:lnTo>
                  <a:lnTo>
                    <a:pt x="564" y="132"/>
                  </a:lnTo>
                  <a:lnTo>
                    <a:pt x="564" y="138"/>
                  </a:lnTo>
                  <a:lnTo>
                    <a:pt x="558" y="144"/>
                  </a:lnTo>
                  <a:lnTo>
                    <a:pt x="558" y="150"/>
                  </a:lnTo>
                  <a:lnTo>
                    <a:pt x="552" y="150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0" y="162"/>
                  </a:lnTo>
                  <a:lnTo>
                    <a:pt x="534" y="168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6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28" y="234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16" y="294"/>
                  </a:lnTo>
                  <a:lnTo>
                    <a:pt x="516" y="312"/>
                  </a:lnTo>
                  <a:lnTo>
                    <a:pt x="528" y="318"/>
                  </a:lnTo>
                  <a:lnTo>
                    <a:pt x="540" y="360"/>
                  </a:lnTo>
                  <a:lnTo>
                    <a:pt x="558" y="408"/>
                  </a:lnTo>
                  <a:lnTo>
                    <a:pt x="570" y="426"/>
                  </a:lnTo>
                  <a:lnTo>
                    <a:pt x="576" y="432"/>
                  </a:lnTo>
                  <a:lnTo>
                    <a:pt x="576" y="438"/>
                  </a:lnTo>
                  <a:lnTo>
                    <a:pt x="576" y="444"/>
                  </a:lnTo>
                  <a:lnTo>
                    <a:pt x="576" y="46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3" name="Freeform 28">
              <a:extLst>
                <a:ext uri="{FF2B5EF4-FFF2-40B4-BE49-F238E27FC236}">
                  <a16:creationId xmlns:a16="http://schemas.microsoft.com/office/drawing/2014/main" id="{CF9B4F31-BF73-448E-83AA-188F6CF1BDC5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4879" y="3432583"/>
              <a:ext cx="324248" cy="270616"/>
            </a:xfrm>
            <a:custGeom>
              <a:avLst/>
              <a:gdLst>
                <a:gd name="T0" fmla="*/ 5 w 606"/>
                <a:gd name="T1" fmla="*/ 36 h 510"/>
                <a:gd name="T2" fmla="*/ 4 w 606"/>
                <a:gd name="T3" fmla="*/ 34 h 510"/>
                <a:gd name="T4" fmla="*/ 0 w 606"/>
                <a:gd name="T5" fmla="*/ 25 h 510"/>
                <a:gd name="T6" fmla="*/ 1 w 606"/>
                <a:gd name="T7" fmla="*/ 20 h 510"/>
                <a:gd name="T8" fmla="*/ 2 w 606"/>
                <a:gd name="T9" fmla="*/ 15 h 510"/>
                <a:gd name="T10" fmla="*/ 2 w 606"/>
                <a:gd name="T11" fmla="*/ 13 h 510"/>
                <a:gd name="T12" fmla="*/ 3 w 606"/>
                <a:gd name="T13" fmla="*/ 12 h 510"/>
                <a:gd name="T14" fmla="*/ 4 w 606"/>
                <a:gd name="T15" fmla="*/ 11 h 510"/>
                <a:gd name="T16" fmla="*/ 4 w 606"/>
                <a:gd name="T17" fmla="*/ 10 h 510"/>
                <a:gd name="T18" fmla="*/ 7 w 606"/>
                <a:gd name="T19" fmla="*/ 8 h 510"/>
                <a:gd name="T20" fmla="*/ 9 w 606"/>
                <a:gd name="T21" fmla="*/ 6 h 510"/>
                <a:gd name="T22" fmla="*/ 11 w 606"/>
                <a:gd name="T23" fmla="*/ 4 h 510"/>
                <a:gd name="T24" fmla="*/ 12 w 606"/>
                <a:gd name="T25" fmla="*/ 3 h 510"/>
                <a:gd name="T26" fmla="*/ 13 w 606"/>
                <a:gd name="T27" fmla="*/ 4 h 510"/>
                <a:gd name="T28" fmla="*/ 15 w 606"/>
                <a:gd name="T29" fmla="*/ 2 h 510"/>
                <a:gd name="T30" fmla="*/ 17 w 606"/>
                <a:gd name="T31" fmla="*/ 2 h 510"/>
                <a:gd name="T32" fmla="*/ 19 w 606"/>
                <a:gd name="T33" fmla="*/ 5 h 510"/>
                <a:gd name="T34" fmla="*/ 22 w 606"/>
                <a:gd name="T35" fmla="*/ 5 h 510"/>
                <a:gd name="T36" fmla="*/ 25 w 606"/>
                <a:gd name="T37" fmla="*/ 6 h 510"/>
                <a:gd name="T38" fmla="*/ 29 w 606"/>
                <a:gd name="T39" fmla="*/ 1 h 510"/>
                <a:gd name="T40" fmla="*/ 38 w 606"/>
                <a:gd name="T41" fmla="*/ 0 h 510"/>
                <a:gd name="T42" fmla="*/ 38 w 606"/>
                <a:gd name="T43" fmla="*/ 5 h 510"/>
                <a:gd name="T44" fmla="*/ 41 w 606"/>
                <a:gd name="T45" fmla="*/ 4 h 510"/>
                <a:gd name="T46" fmla="*/ 45 w 606"/>
                <a:gd name="T47" fmla="*/ 2 h 510"/>
                <a:gd name="T48" fmla="*/ 46 w 606"/>
                <a:gd name="T49" fmla="*/ 2 h 510"/>
                <a:gd name="T50" fmla="*/ 47 w 606"/>
                <a:gd name="T51" fmla="*/ 5 h 510"/>
                <a:gd name="T52" fmla="*/ 45 w 606"/>
                <a:gd name="T53" fmla="*/ 6 h 510"/>
                <a:gd name="T54" fmla="*/ 45 w 606"/>
                <a:gd name="T55" fmla="*/ 7 h 510"/>
                <a:gd name="T56" fmla="*/ 43 w 606"/>
                <a:gd name="T57" fmla="*/ 8 h 510"/>
                <a:gd name="T58" fmla="*/ 45 w 606"/>
                <a:gd name="T59" fmla="*/ 15 h 510"/>
                <a:gd name="T60" fmla="*/ 49 w 606"/>
                <a:gd name="T61" fmla="*/ 15 h 510"/>
                <a:gd name="T62" fmla="*/ 51 w 606"/>
                <a:gd name="T63" fmla="*/ 15 h 510"/>
                <a:gd name="T64" fmla="*/ 53 w 606"/>
                <a:gd name="T65" fmla="*/ 16 h 510"/>
                <a:gd name="T66" fmla="*/ 52 w 606"/>
                <a:gd name="T67" fmla="*/ 20 h 510"/>
                <a:gd name="T68" fmla="*/ 48 w 606"/>
                <a:gd name="T69" fmla="*/ 23 h 510"/>
                <a:gd name="T70" fmla="*/ 45 w 606"/>
                <a:gd name="T71" fmla="*/ 25 h 510"/>
                <a:gd name="T72" fmla="*/ 44 w 606"/>
                <a:gd name="T73" fmla="*/ 28 h 510"/>
                <a:gd name="T74" fmla="*/ 43 w 606"/>
                <a:gd name="T75" fmla="*/ 33 h 510"/>
                <a:gd name="T76" fmla="*/ 39 w 606"/>
                <a:gd name="T77" fmla="*/ 38 h 510"/>
                <a:gd name="T78" fmla="*/ 37 w 606"/>
                <a:gd name="T79" fmla="*/ 41 h 510"/>
                <a:gd name="T80" fmla="*/ 31 w 606"/>
                <a:gd name="T81" fmla="*/ 44 h 510"/>
                <a:gd name="T82" fmla="*/ 28 w 606"/>
                <a:gd name="T83" fmla="*/ 43 h 510"/>
                <a:gd name="T84" fmla="*/ 28 w 606"/>
                <a:gd name="T85" fmla="*/ 41 h 510"/>
                <a:gd name="T86" fmla="*/ 28 w 606"/>
                <a:gd name="T87" fmla="*/ 40 h 510"/>
                <a:gd name="T88" fmla="*/ 27 w 606"/>
                <a:gd name="T89" fmla="*/ 38 h 510"/>
                <a:gd name="T90" fmla="*/ 27 w 606"/>
                <a:gd name="T91" fmla="*/ 36 h 510"/>
                <a:gd name="T92" fmla="*/ 24 w 606"/>
                <a:gd name="T93" fmla="*/ 35 h 510"/>
                <a:gd name="T94" fmla="*/ 16 w 606"/>
                <a:gd name="T95" fmla="*/ 34 h 510"/>
                <a:gd name="T96" fmla="*/ 13 w 606"/>
                <a:gd name="T97" fmla="*/ 34 h 510"/>
                <a:gd name="T98" fmla="*/ 9 w 606"/>
                <a:gd name="T99" fmla="*/ 36 h 510"/>
                <a:gd name="T100" fmla="*/ 8 w 606"/>
                <a:gd name="T101" fmla="*/ 38 h 510"/>
                <a:gd name="T102" fmla="*/ 7 w 606"/>
                <a:gd name="T103" fmla="*/ 39 h 51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06"/>
                <a:gd name="T157" fmla="*/ 0 h 510"/>
                <a:gd name="T158" fmla="*/ 606 w 606"/>
                <a:gd name="T159" fmla="*/ 510 h 51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06" h="510">
                  <a:moveTo>
                    <a:pt x="60" y="450"/>
                  </a:move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42" y="390"/>
                  </a:lnTo>
                  <a:lnTo>
                    <a:pt x="24" y="342"/>
                  </a:lnTo>
                  <a:lnTo>
                    <a:pt x="12" y="300"/>
                  </a:lnTo>
                  <a:lnTo>
                    <a:pt x="0" y="294"/>
                  </a:lnTo>
                  <a:lnTo>
                    <a:pt x="0" y="276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24" y="192"/>
                  </a:lnTo>
                  <a:lnTo>
                    <a:pt x="24" y="180"/>
                  </a:lnTo>
                  <a:lnTo>
                    <a:pt x="24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6" y="96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108" y="66"/>
                  </a:lnTo>
                  <a:lnTo>
                    <a:pt x="120" y="60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36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62" y="36"/>
                  </a:lnTo>
                  <a:lnTo>
                    <a:pt x="162" y="30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0" y="54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46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76" y="66"/>
                  </a:lnTo>
                  <a:lnTo>
                    <a:pt x="312" y="66"/>
                  </a:lnTo>
                  <a:lnTo>
                    <a:pt x="318" y="60"/>
                  </a:lnTo>
                  <a:lnTo>
                    <a:pt x="330" y="12"/>
                  </a:lnTo>
                  <a:lnTo>
                    <a:pt x="414" y="6"/>
                  </a:lnTo>
                  <a:lnTo>
                    <a:pt x="420" y="0"/>
                  </a:lnTo>
                  <a:lnTo>
                    <a:pt x="426" y="6"/>
                  </a:lnTo>
                  <a:lnTo>
                    <a:pt x="426" y="12"/>
                  </a:lnTo>
                  <a:lnTo>
                    <a:pt x="426" y="54"/>
                  </a:lnTo>
                  <a:lnTo>
                    <a:pt x="432" y="54"/>
                  </a:lnTo>
                  <a:lnTo>
                    <a:pt x="444" y="54"/>
                  </a:lnTo>
                  <a:lnTo>
                    <a:pt x="450" y="42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86" y="24"/>
                  </a:lnTo>
                  <a:lnTo>
                    <a:pt x="504" y="18"/>
                  </a:lnTo>
                  <a:lnTo>
                    <a:pt x="510" y="12"/>
                  </a:lnTo>
                  <a:lnTo>
                    <a:pt x="516" y="18"/>
                  </a:lnTo>
                  <a:lnTo>
                    <a:pt x="522" y="24"/>
                  </a:lnTo>
                  <a:lnTo>
                    <a:pt x="510" y="30"/>
                  </a:lnTo>
                  <a:lnTo>
                    <a:pt x="516" y="48"/>
                  </a:lnTo>
                  <a:lnTo>
                    <a:pt x="528" y="54"/>
                  </a:lnTo>
                  <a:lnTo>
                    <a:pt x="522" y="60"/>
                  </a:lnTo>
                  <a:lnTo>
                    <a:pt x="516" y="66"/>
                  </a:lnTo>
                  <a:lnTo>
                    <a:pt x="516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0" y="84"/>
                  </a:lnTo>
                  <a:lnTo>
                    <a:pt x="510" y="90"/>
                  </a:lnTo>
                  <a:lnTo>
                    <a:pt x="504" y="90"/>
                  </a:lnTo>
                  <a:lnTo>
                    <a:pt x="486" y="90"/>
                  </a:lnTo>
                  <a:lnTo>
                    <a:pt x="492" y="138"/>
                  </a:lnTo>
                  <a:lnTo>
                    <a:pt x="498" y="168"/>
                  </a:lnTo>
                  <a:lnTo>
                    <a:pt x="516" y="168"/>
                  </a:lnTo>
                  <a:lnTo>
                    <a:pt x="528" y="174"/>
                  </a:lnTo>
                  <a:lnTo>
                    <a:pt x="534" y="168"/>
                  </a:lnTo>
                  <a:lnTo>
                    <a:pt x="558" y="174"/>
                  </a:lnTo>
                  <a:lnTo>
                    <a:pt x="564" y="168"/>
                  </a:lnTo>
                  <a:lnTo>
                    <a:pt x="570" y="168"/>
                  </a:lnTo>
                  <a:lnTo>
                    <a:pt x="576" y="174"/>
                  </a:lnTo>
                  <a:lnTo>
                    <a:pt x="588" y="168"/>
                  </a:lnTo>
                  <a:lnTo>
                    <a:pt x="594" y="168"/>
                  </a:lnTo>
                  <a:lnTo>
                    <a:pt x="594" y="186"/>
                  </a:lnTo>
                  <a:lnTo>
                    <a:pt x="606" y="198"/>
                  </a:lnTo>
                  <a:lnTo>
                    <a:pt x="600" y="210"/>
                  </a:lnTo>
                  <a:lnTo>
                    <a:pt x="588" y="234"/>
                  </a:lnTo>
                  <a:lnTo>
                    <a:pt x="564" y="246"/>
                  </a:lnTo>
                  <a:lnTo>
                    <a:pt x="546" y="258"/>
                  </a:lnTo>
                  <a:lnTo>
                    <a:pt x="540" y="270"/>
                  </a:lnTo>
                  <a:lnTo>
                    <a:pt x="534" y="294"/>
                  </a:lnTo>
                  <a:lnTo>
                    <a:pt x="528" y="300"/>
                  </a:lnTo>
                  <a:lnTo>
                    <a:pt x="516" y="294"/>
                  </a:lnTo>
                  <a:lnTo>
                    <a:pt x="510" y="300"/>
                  </a:lnTo>
                  <a:lnTo>
                    <a:pt x="498" y="318"/>
                  </a:lnTo>
                  <a:lnTo>
                    <a:pt x="492" y="324"/>
                  </a:lnTo>
                  <a:lnTo>
                    <a:pt x="486" y="336"/>
                  </a:lnTo>
                  <a:lnTo>
                    <a:pt x="486" y="354"/>
                  </a:lnTo>
                  <a:lnTo>
                    <a:pt x="486" y="384"/>
                  </a:lnTo>
                  <a:lnTo>
                    <a:pt x="474" y="408"/>
                  </a:lnTo>
                  <a:lnTo>
                    <a:pt x="450" y="426"/>
                  </a:lnTo>
                  <a:lnTo>
                    <a:pt x="444" y="444"/>
                  </a:lnTo>
                  <a:lnTo>
                    <a:pt x="426" y="474"/>
                  </a:lnTo>
                  <a:lnTo>
                    <a:pt x="420" y="486"/>
                  </a:lnTo>
                  <a:lnTo>
                    <a:pt x="414" y="486"/>
                  </a:lnTo>
                  <a:lnTo>
                    <a:pt x="414" y="498"/>
                  </a:lnTo>
                  <a:lnTo>
                    <a:pt x="378" y="504"/>
                  </a:lnTo>
                  <a:lnTo>
                    <a:pt x="348" y="510"/>
                  </a:lnTo>
                  <a:lnTo>
                    <a:pt x="330" y="510"/>
                  </a:lnTo>
                  <a:lnTo>
                    <a:pt x="324" y="504"/>
                  </a:lnTo>
                  <a:lnTo>
                    <a:pt x="318" y="504"/>
                  </a:lnTo>
                  <a:lnTo>
                    <a:pt x="312" y="504"/>
                  </a:lnTo>
                  <a:lnTo>
                    <a:pt x="312" y="498"/>
                  </a:lnTo>
                  <a:lnTo>
                    <a:pt x="312" y="486"/>
                  </a:lnTo>
                  <a:lnTo>
                    <a:pt x="312" y="480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56"/>
                  </a:lnTo>
                  <a:lnTo>
                    <a:pt x="312" y="450"/>
                  </a:lnTo>
                  <a:lnTo>
                    <a:pt x="306" y="444"/>
                  </a:lnTo>
                  <a:lnTo>
                    <a:pt x="306" y="438"/>
                  </a:lnTo>
                  <a:lnTo>
                    <a:pt x="300" y="426"/>
                  </a:lnTo>
                  <a:lnTo>
                    <a:pt x="300" y="420"/>
                  </a:lnTo>
                  <a:lnTo>
                    <a:pt x="294" y="414"/>
                  </a:lnTo>
                  <a:lnTo>
                    <a:pt x="294" y="408"/>
                  </a:lnTo>
                  <a:lnTo>
                    <a:pt x="270" y="408"/>
                  </a:lnTo>
                  <a:lnTo>
                    <a:pt x="246" y="408"/>
                  </a:lnTo>
                  <a:lnTo>
                    <a:pt x="222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56" y="402"/>
                  </a:lnTo>
                  <a:lnTo>
                    <a:pt x="144" y="396"/>
                  </a:lnTo>
                  <a:lnTo>
                    <a:pt x="126" y="396"/>
                  </a:lnTo>
                  <a:lnTo>
                    <a:pt x="108" y="408"/>
                  </a:lnTo>
                  <a:lnTo>
                    <a:pt x="102" y="414"/>
                  </a:lnTo>
                  <a:lnTo>
                    <a:pt x="102" y="420"/>
                  </a:lnTo>
                  <a:lnTo>
                    <a:pt x="96" y="426"/>
                  </a:lnTo>
                  <a:lnTo>
                    <a:pt x="96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78" y="450"/>
                  </a:lnTo>
                  <a:lnTo>
                    <a:pt x="60" y="45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4" name="Freeform 29">
              <a:extLst>
                <a:ext uri="{FF2B5EF4-FFF2-40B4-BE49-F238E27FC236}">
                  <a16:creationId xmlns:a16="http://schemas.microsoft.com/office/drawing/2014/main" id="{B6AC2B96-1504-4082-8778-17130FDA021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401" y="3537698"/>
              <a:ext cx="559048" cy="641876"/>
            </a:xfrm>
            <a:custGeom>
              <a:avLst/>
              <a:gdLst>
                <a:gd name="T0" fmla="*/ 39 w 1056"/>
                <a:gd name="T1" fmla="*/ 94 h 1206"/>
                <a:gd name="T2" fmla="*/ 35 w 1056"/>
                <a:gd name="T3" fmla="*/ 103 h 1206"/>
                <a:gd name="T4" fmla="*/ 29 w 1056"/>
                <a:gd name="T5" fmla="*/ 99 h 1206"/>
                <a:gd name="T6" fmla="*/ 23 w 1056"/>
                <a:gd name="T7" fmla="*/ 94 h 1206"/>
                <a:gd name="T8" fmla="*/ 21 w 1056"/>
                <a:gd name="T9" fmla="*/ 91 h 1206"/>
                <a:gd name="T10" fmla="*/ 18 w 1056"/>
                <a:gd name="T11" fmla="*/ 89 h 1206"/>
                <a:gd name="T12" fmla="*/ 15 w 1056"/>
                <a:gd name="T13" fmla="*/ 86 h 1206"/>
                <a:gd name="T14" fmla="*/ 11 w 1056"/>
                <a:gd name="T15" fmla="*/ 83 h 1206"/>
                <a:gd name="T16" fmla="*/ 8 w 1056"/>
                <a:gd name="T17" fmla="*/ 81 h 1206"/>
                <a:gd name="T18" fmla="*/ 6 w 1056"/>
                <a:gd name="T19" fmla="*/ 79 h 1206"/>
                <a:gd name="T20" fmla="*/ 13 w 1056"/>
                <a:gd name="T21" fmla="*/ 78 h 1206"/>
                <a:gd name="T22" fmla="*/ 8 w 1056"/>
                <a:gd name="T23" fmla="*/ 75 h 1206"/>
                <a:gd name="T24" fmla="*/ 13 w 1056"/>
                <a:gd name="T25" fmla="*/ 71 h 1206"/>
                <a:gd name="T26" fmla="*/ 10 w 1056"/>
                <a:gd name="T27" fmla="*/ 63 h 1206"/>
                <a:gd name="T28" fmla="*/ 6 w 1056"/>
                <a:gd name="T29" fmla="*/ 66 h 1206"/>
                <a:gd name="T30" fmla="*/ 1 w 1056"/>
                <a:gd name="T31" fmla="*/ 63 h 1206"/>
                <a:gd name="T32" fmla="*/ 1 w 1056"/>
                <a:gd name="T33" fmla="*/ 59 h 1206"/>
                <a:gd name="T34" fmla="*/ 3 w 1056"/>
                <a:gd name="T35" fmla="*/ 57 h 1206"/>
                <a:gd name="T36" fmla="*/ 6 w 1056"/>
                <a:gd name="T37" fmla="*/ 55 h 1206"/>
                <a:gd name="T38" fmla="*/ 10 w 1056"/>
                <a:gd name="T39" fmla="*/ 51 h 1206"/>
                <a:gd name="T40" fmla="*/ 11 w 1056"/>
                <a:gd name="T41" fmla="*/ 46 h 1206"/>
                <a:gd name="T42" fmla="*/ 14 w 1056"/>
                <a:gd name="T43" fmla="*/ 42 h 1206"/>
                <a:gd name="T44" fmla="*/ 15 w 1056"/>
                <a:gd name="T45" fmla="*/ 36 h 1206"/>
                <a:gd name="T46" fmla="*/ 17 w 1056"/>
                <a:gd name="T47" fmla="*/ 34 h 1206"/>
                <a:gd name="T48" fmla="*/ 20 w 1056"/>
                <a:gd name="T49" fmla="*/ 31 h 1206"/>
                <a:gd name="T50" fmla="*/ 21 w 1056"/>
                <a:gd name="T51" fmla="*/ 29 h 1206"/>
                <a:gd name="T52" fmla="*/ 23 w 1056"/>
                <a:gd name="T53" fmla="*/ 22 h 1206"/>
                <a:gd name="T54" fmla="*/ 35 w 1056"/>
                <a:gd name="T55" fmla="*/ 22 h 1206"/>
                <a:gd name="T56" fmla="*/ 41 w 1056"/>
                <a:gd name="T57" fmla="*/ 18 h 1206"/>
                <a:gd name="T58" fmla="*/ 54 w 1056"/>
                <a:gd name="T59" fmla="*/ 20 h 1206"/>
                <a:gd name="T60" fmla="*/ 54 w 1056"/>
                <a:gd name="T61" fmla="*/ 26 h 1206"/>
                <a:gd name="T62" fmla="*/ 64 w 1056"/>
                <a:gd name="T63" fmla="*/ 25 h 1206"/>
                <a:gd name="T64" fmla="*/ 71 w 1056"/>
                <a:gd name="T65" fmla="*/ 10 h 1206"/>
                <a:gd name="T66" fmla="*/ 80 w 1056"/>
                <a:gd name="T67" fmla="*/ 1 h 1206"/>
                <a:gd name="T68" fmla="*/ 86 w 1056"/>
                <a:gd name="T69" fmla="*/ 2 h 1206"/>
                <a:gd name="T70" fmla="*/ 91 w 1056"/>
                <a:gd name="T71" fmla="*/ 13 h 1206"/>
                <a:gd name="T72" fmla="*/ 88 w 1056"/>
                <a:gd name="T73" fmla="*/ 17 h 1206"/>
                <a:gd name="T74" fmla="*/ 89 w 1056"/>
                <a:gd name="T75" fmla="*/ 21 h 1206"/>
                <a:gd name="T76" fmla="*/ 86 w 1056"/>
                <a:gd name="T77" fmla="*/ 25 h 1206"/>
                <a:gd name="T78" fmla="*/ 85 w 1056"/>
                <a:gd name="T79" fmla="*/ 31 h 1206"/>
                <a:gd name="T80" fmla="*/ 83 w 1056"/>
                <a:gd name="T81" fmla="*/ 36 h 1206"/>
                <a:gd name="T82" fmla="*/ 80 w 1056"/>
                <a:gd name="T83" fmla="*/ 42 h 1206"/>
                <a:gd name="T84" fmla="*/ 80 w 1056"/>
                <a:gd name="T85" fmla="*/ 47 h 1206"/>
                <a:gd name="T86" fmla="*/ 77 w 1056"/>
                <a:gd name="T87" fmla="*/ 55 h 1206"/>
                <a:gd name="T88" fmla="*/ 75 w 1056"/>
                <a:gd name="T89" fmla="*/ 57 h 1206"/>
                <a:gd name="T90" fmla="*/ 66 w 1056"/>
                <a:gd name="T91" fmla="*/ 57 h 1206"/>
                <a:gd name="T92" fmla="*/ 66 w 1056"/>
                <a:gd name="T93" fmla="*/ 51 h 1206"/>
                <a:gd name="T94" fmla="*/ 48 w 1056"/>
                <a:gd name="T95" fmla="*/ 50 h 1206"/>
                <a:gd name="T96" fmla="*/ 46 w 1056"/>
                <a:gd name="T97" fmla="*/ 55 h 1206"/>
                <a:gd name="T98" fmla="*/ 42 w 1056"/>
                <a:gd name="T99" fmla="*/ 59 h 1206"/>
                <a:gd name="T100" fmla="*/ 41 w 1056"/>
                <a:gd name="T101" fmla="*/ 62 h 1206"/>
                <a:gd name="T102" fmla="*/ 43 w 1056"/>
                <a:gd name="T103" fmla="*/ 67 h 1206"/>
                <a:gd name="T104" fmla="*/ 42 w 1056"/>
                <a:gd name="T105" fmla="*/ 72 h 1206"/>
                <a:gd name="T106" fmla="*/ 39 w 1056"/>
                <a:gd name="T107" fmla="*/ 77 h 1206"/>
                <a:gd name="T108" fmla="*/ 36 w 1056"/>
                <a:gd name="T109" fmla="*/ 80 h 1206"/>
                <a:gd name="T110" fmla="*/ 37 w 1056"/>
                <a:gd name="T111" fmla="*/ 83 h 1206"/>
                <a:gd name="T112" fmla="*/ 40 w 1056"/>
                <a:gd name="T113" fmla="*/ 87 h 1206"/>
                <a:gd name="T114" fmla="*/ 42 w 1056"/>
                <a:gd name="T115" fmla="*/ 89 h 12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56"/>
                <a:gd name="T175" fmla="*/ 0 h 1206"/>
                <a:gd name="T176" fmla="*/ 1056 w 1056"/>
                <a:gd name="T177" fmla="*/ 1206 h 12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56" h="1206">
                  <a:moveTo>
                    <a:pt x="492" y="1032"/>
                  </a:moveTo>
                  <a:lnTo>
                    <a:pt x="486" y="1038"/>
                  </a:lnTo>
                  <a:lnTo>
                    <a:pt x="486" y="1044"/>
                  </a:lnTo>
                  <a:lnTo>
                    <a:pt x="480" y="1044"/>
                  </a:lnTo>
                  <a:lnTo>
                    <a:pt x="474" y="1056"/>
                  </a:lnTo>
                  <a:lnTo>
                    <a:pt x="462" y="1068"/>
                  </a:lnTo>
                  <a:lnTo>
                    <a:pt x="456" y="1080"/>
                  </a:lnTo>
                  <a:lnTo>
                    <a:pt x="450" y="1080"/>
                  </a:lnTo>
                  <a:lnTo>
                    <a:pt x="450" y="1086"/>
                  </a:lnTo>
                  <a:lnTo>
                    <a:pt x="450" y="1092"/>
                  </a:lnTo>
                  <a:lnTo>
                    <a:pt x="444" y="1104"/>
                  </a:lnTo>
                  <a:lnTo>
                    <a:pt x="444" y="1116"/>
                  </a:lnTo>
                  <a:lnTo>
                    <a:pt x="438" y="1128"/>
                  </a:lnTo>
                  <a:lnTo>
                    <a:pt x="432" y="1134"/>
                  </a:lnTo>
                  <a:lnTo>
                    <a:pt x="432" y="1140"/>
                  </a:lnTo>
                  <a:lnTo>
                    <a:pt x="420" y="1152"/>
                  </a:lnTo>
                  <a:lnTo>
                    <a:pt x="420" y="1158"/>
                  </a:lnTo>
                  <a:lnTo>
                    <a:pt x="408" y="1182"/>
                  </a:lnTo>
                  <a:lnTo>
                    <a:pt x="396" y="1194"/>
                  </a:lnTo>
                  <a:lnTo>
                    <a:pt x="390" y="1206"/>
                  </a:lnTo>
                  <a:lnTo>
                    <a:pt x="390" y="1200"/>
                  </a:lnTo>
                  <a:lnTo>
                    <a:pt x="384" y="1194"/>
                  </a:lnTo>
                  <a:lnTo>
                    <a:pt x="378" y="1188"/>
                  </a:lnTo>
                  <a:lnTo>
                    <a:pt x="366" y="1176"/>
                  </a:lnTo>
                  <a:lnTo>
                    <a:pt x="366" y="1170"/>
                  </a:lnTo>
                  <a:lnTo>
                    <a:pt x="348" y="1152"/>
                  </a:lnTo>
                  <a:lnTo>
                    <a:pt x="336" y="1140"/>
                  </a:lnTo>
                  <a:lnTo>
                    <a:pt x="330" y="1134"/>
                  </a:lnTo>
                  <a:lnTo>
                    <a:pt x="324" y="1128"/>
                  </a:lnTo>
                  <a:lnTo>
                    <a:pt x="318" y="1122"/>
                  </a:lnTo>
                  <a:lnTo>
                    <a:pt x="312" y="1116"/>
                  </a:lnTo>
                  <a:lnTo>
                    <a:pt x="306" y="1110"/>
                  </a:lnTo>
                  <a:lnTo>
                    <a:pt x="300" y="1104"/>
                  </a:lnTo>
                  <a:lnTo>
                    <a:pt x="294" y="1098"/>
                  </a:lnTo>
                  <a:lnTo>
                    <a:pt x="276" y="1080"/>
                  </a:lnTo>
                  <a:lnTo>
                    <a:pt x="270" y="1080"/>
                  </a:lnTo>
                  <a:lnTo>
                    <a:pt x="270" y="1074"/>
                  </a:lnTo>
                  <a:lnTo>
                    <a:pt x="264" y="1068"/>
                  </a:lnTo>
                  <a:lnTo>
                    <a:pt x="258" y="1062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40" y="1050"/>
                  </a:lnTo>
                  <a:lnTo>
                    <a:pt x="234" y="1044"/>
                  </a:lnTo>
                  <a:lnTo>
                    <a:pt x="228" y="1044"/>
                  </a:lnTo>
                  <a:lnTo>
                    <a:pt x="222" y="1038"/>
                  </a:lnTo>
                  <a:lnTo>
                    <a:pt x="222" y="1032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6"/>
                  </a:lnTo>
                  <a:lnTo>
                    <a:pt x="204" y="1020"/>
                  </a:lnTo>
                  <a:lnTo>
                    <a:pt x="204" y="1014"/>
                  </a:lnTo>
                  <a:lnTo>
                    <a:pt x="198" y="1014"/>
                  </a:lnTo>
                  <a:lnTo>
                    <a:pt x="192" y="1014"/>
                  </a:lnTo>
                  <a:lnTo>
                    <a:pt x="192" y="1008"/>
                  </a:lnTo>
                  <a:lnTo>
                    <a:pt x="186" y="1008"/>
                  </a:lnTo>
                  <a:lnTo>
                    <a:pt x="186" y="1002"/>
                  </a:lnTo>
                  <a:lnTo>
                    <a:pt x="180" y="1002"/>
                  </a:lnTo>
                  <a:lnTo>
                    <a:pt x="174" y="996"/>
                  </a:lnTo>
                  <a:lnTo>
                    <a:pt x="168" y="996"/>
                  </a:lnTo>
                  <a:lnTo>
                    <a:pt x="168" y="990"/>
                  </a:lnTo>
                  <a:lnTo>
                    <a:pt x="162" y="990"/>
                  </a:lnTo>
                  <a:lnTo>
                    <a:pt x="162" y="984"/>
                  </a:lnTo>
                  <a:lnTo>
                    <a:pt x="150" y="978"/>
                  </a:lnTo>
                  <a:lnTo>
                    <a:pt x="144" y="972"/>
                  </a:lnTo>
                  <a:lnTo>
                    <a:pt x="138" y="972"/>
                  </a:lnTo>
                  <a:lnTo>
                    <a:pt x="138" y="966"/>
                  </a:lnTo>
                  <a:lnTo>
                    <a:pt x="132" y="966"/>
                  </a:lnTo>
                  <a:lnTo>
                    <a:pt x="126" y="960"/>
                  </a:lnTo>
                  <a:lnTo>
                    <a:pt x="126" y="954"/>
                  </a:lnTo>
                  <a:lnTo>
                    <a:pt x="120" y="954"/>
                  </a:lnTo>
                  <a:lnTo>
                    <a:pt x="114" y="948"/>
                  </a:lnTo>
                  <a:lnTo>
                    <a:pt x="108" y="948"/>
                  </a:lnTo>
                  <a:lnTo>
                    <a:pt x="108" y="942"/>
                  </a:lnTo>
                  <a:lnTo>
                    <a:pt x="102" y="942"/>
                  </a:lnTo>
                  <a:lnTo>
                    <a:pt x="96" y="942"/>
                  </a:lnTo>
                  <a:lnTo>
                    <a:pt x="96" y="936"/>
                  </a:lnTo>
                  <a:lnTo>
                    <a:pt x="90" y="936"/>
                  </a:lnTo>
                  <a:lnTo>
                    <a:pt x="90" y="930"/>
                  </a:lnTo>
                  <a:lnTo>
                    <a:pt x="84" y="930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18"/>
                  </a:lnTo>
                  <a:lnTo>
                    <a:pt x="66" y="918"/>
                  </a:lnTo>
                  <a:lnTo>
                    <a:pt x="66" y="912"/>
                  </a:lnTo>
                  <a:lnTo>
                    <a:pt x="66" y="906"/>
                  </a:lnTo>
                  <a:lnTo>
                    <a:pt x="72" y="906"/>
                  </a:lnTo>
                  <a:lnTo>
                    <a:pt x="84" y="906"/>
                  </a:lnTo>
                  <a:lnTo>
                    <a:pt x="90" y="906"/>
                  </a:lnTo>
                  <a:lnTo>
                    <a:pt x="120" y="930"/>
                  </a:lnTo>
                  <a:lnTo>
                    <a:pt x="126" y="936"/>
                  </a:lnTo>
                  <a:lnTo>
                    <a:pt x="138" y="936"/>
                  </a:lnTo>
                  <a:lnTo>
                    <a:pt x="138" y="930"/>
                  </a:lnTo>
                  <a:lnTo>
                    <a:pt x="144" y="930"/>
                  </a:lnTo>
                  <a:lnTo>
                    <a:pt x="144" y="924"/>
                  </a:lnTo>
                  <a:lnTo>
                    <a:pt x="150" y="900"/>
                  </a:lnTo>
                  <a:lnTo>
                    <a:pt x="138" y="894"/>
                  </a:lnTo>
                  <a:lnTo>
                    <a:pt x="126" y="894"/>
                  </a:lnTo>
                  <a:lnTo>
                    <a:pt x="108" y="888"/>
                  </a:lnTo>
                  <a:lnTo>
                    <a:pt x="84" y="882"/>
                  </a:lnTo>
                  <a:lnTo>
                    <a:pt x="72" y="882"/>
                  </a:lnTo>
                  <a:lnTo>
                    <a:pt x="72" y="876"/>
                  </a:lnTo>
                  <a:lnTo>
                    <a:pt x="78" y="870"/>
                  </a:lnTo>
                  <a:lnTo>
                    <a:pt x="90" y="870"/>
                  </a:lnTo>
                  <a:lnTo>
                    <a:pt x="96" y="870"/>
                  </a:lnTo>
                  <a:lnTo>
                    <a:pt x="102" y="870"/>
                  </a:lnTo>
                  <a:lnTo>
                    <a:pt x="114" y="870"/>
                  </a:lnTo>
                  <a:lnTo>
                    <a:pt x="120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34"/>
                  </a:lnTo>
                  <a:lnTo>
                    <a:pt x="132" y="828"/>
                  </a:lnTo>
                  <a:lnTo>
                    <a:pt x="132" y="816"/>
                  </a:lnTo>
                  <a:lnTo>
                    <a:pt x="150" y="816"/>
                  </a:lnTo>
                  <a:lnTo>
                    <a:pt x="150" y="804"/>
                  </a:lnTo>
                  <a:lnTo>
                    <a:pt x="144" y="798"/>
                  </a:lnTo>
                  <a:lnTo>
                    <a:pt x="156" y="762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32"/>
                  </a:lnTo>
                  <a:lnTo>
                    <a:pt x="144" y="726"/>
                  </a:lnTo>
                  <a:lnTo>
                    <a:pt x="132" y="726"/>
                  </a:lnTo>
                  <a:lnTo>
                    <a:pt x="120" y="732"/>
                  </a:lnTo>
                  <a:lnTo>
                    <a:pt x="114" y="744"/>
                  </a:lnTo>
                  <a:lnTo>
                    <a:pt x="108" y="750"/>
                  </a:lnTo>
                  <a:lnTo>
                    <a:pt x="96" y="768"/>
                  </a:lnTo>
                  <a:lnTo>
                    <a:pt x="96" y="774"/>
                  </a:lnTo>
                  <a:lnTo>
                    <a:pt x="90" y="780"/>
                  </a:lnTo>
                  <a:lnTo>
                    <a:pt x="84" y="804"/>
                  </a:lnTo>
                  <a:lnTo>
                    <a:pt x="72" y="774"/>
                  </a:lnTo>
                  <a:lnTo>
                    <a:pt x="72" y="768"/>
                  </a:lnTo>
                  <a:lnTo>
                    <a:pt x="66" y="762"/>
                  </a:lnTo>
                  <a:lnTo>
                    <a:pt x="60" y="750"/>
                  </a:lnTo>
                  <a:lnTo>
                    <a:pt x="54" y="750"/>
                  </a:lnTo>
                  <a:lnTo>
                    <a:pt x="48" y="750"/>
                  </a:lnTo>
                  <a:lnTo>
                    <a:pt x="42" y="750"/>
                  </a:lnTo>
                  <a:lnTo>
                    <a:pt x="30" y="744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12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2" y="702"/>
                  </a:lnTo>
                  <a:lnTo>
                    <a:pt x="18" y="696"/>
                  </a:lnTo>
                  <a:lnTo>
                    <a:pt x="12" y="690"/>
                  </a:lnTo>
                  <a:lnTo>
                    <a:pt x="12" y="684"/>
                  </a:lnTo>
                  <a:lnTo>
                    <a:pt x="12" y="678"/>
                  </a:lnTo>
                  <a:lnTo>
                    <a:pt x="12" y="672"/>
                  </a:lnTo>
                  <a:lnTo>
                    <a:pt x="18" y="672"/>
                  </a:lnTo>
                  <a:lnTo>
                    <a:pt x="18" y="666"/>
                  </a:lnTo>
                  <a:lnTo>
                    <a:pt x="24" y="666"/>
                  </a:lnTo>
                  <a:lnTo>
                    <a:pt x="24" y="660"/>
                  </a:lnTo>
                  <a:lnTo>
                    <a:pt x="30" y="660"/>
                  </a:lnTo>
                  <a:lnTo>
                    <a:pt x="30" y="654"/>
                  </a:lnTo>
                  <a:lnTo>
                    <a:pt x="36" y="654"/>
                  </a:lnTo>
                  <a:lnTo>
                    <a:pt x="36" y="648"/>
                  </a:lnTo>
                  <a:lnTo>
                    <a:pt x="42" y="648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60" y="630"/>
                  </a:lnTo>
                  <a:lnTo>
                    <a:pt x="66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78" y="624"/>
                  </a:lnTo>
                  <a:lnTo>
                    <a:pt x="84" y="618"/>
                  </a:lnTo>
                  <a:lnTo>
                    <a:pt x="84" y="612"/>
                  </a:lnTo>
                  <a:lnTo>
                    <a:pt x="90" y="612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20" y="588"/>
                  </a:lnTo>
                  <a:lnTo>
                    <a:pt x="120" y="582"/>
                  </a:lnTo>
                  <a:lnTo>
                    <a:pt x="120" y="576"/>
                  </a:lnTo>
                  <a:lnTo>
                    <a:pt x="120" y="570"/>
                  </a:lnTo>
                  <a:lnTo>
                    <a:pt x="126" y="564"/>
                  </a:lnTo>
                  <a:lnTo>
                    <a:pt x="126" y="558"/>
                  </a:lnTo>
                  <a:lnTo>
                    <a:pt x="126" y="552"/>
                  </a:lnTo>
                  <a:lnTo>
                    <a:pt x="126" y="546"/>
                  </a:lnTo>
                  <a:lnTo>
                    <a:pt x="126" y="534"/>
                  </a:lnTo>
                  <a:lnTo>
                    <a:pt x="126" y="516"/>
                  </a:lnTo>
                  <a:lnTo>
                    <a:pt x="126" y="510"/>
                  </a:lnTo>
                  <a:lnTo>
                    <a:pt x="126" y="504"/>
                  </a:lnTo>
                  <a:lnTo>
                    <a:pt x="126" y="498"/>
                  </a:lnTo>
                  <a:lnTo>
                    <a:pt x="132" y="498"/>
                  </a:lnTo>
                  <a:lnTo>
                    <a:pt x="132" y="492"/>
                  </a:lnTo>
                  <a:lnTo>
                    <a:pt x="138" y="492"/>
                  </a:lnTo>
                  <a:lnTo>
                    <a:pt x="144" y="486"/>
                  </a:lnTo>
                  <a:lnTo>
                    <a:pt x="156" y="480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6" y="462"/>
                  </a:lnTo>
                  <a:lnTo>
                    <a:pt x="156" y="456"/>
                  </a:lnTo>
                  <a:lnTo>
                    <a:pt x="156" y="450"/>
                  </a:lnTo>
                  <a:lnTo>
                    <a:pt x="162" y="438"/>
                  </a:lnTo>
                  <a:lnTo>
                    <a:pt x="168" y="426"/>
                  </a:lnTo>
                  <a:lnTo>
                    <a:pt x="174" y="426"/>
                  </a:lnTo>
                  <a:lnTo>
                    <a:pt x="174" y="420"/>
                  </a:lnTo>
                  <a:lnTo>
                    <a:pt x="180" y="414"/>
                  </a:lnTo>
                  <a:lnTo>
                    <a:pt x="186" y="420"/>
                  </a:lnTo>
                  <a:lnTo>
                    <a:pt x="186" y="414"/>
                  </a:lnTo>
                  <a:lnTo>
                    <a:pt x="180" y="408"/>
                  </a:lnTo>
                  <a:lnTo>
                    <a:pt x="180" y="402"/>
                  </a:lnTo>
                  <a:lnTo>
                    <a:pt x="186" y="402"/>
                  </a:lnTo>
                  <a:lnTo>
                    <a:pt x="192" y="402"/>
                  </a:lnTo>
                  <a:lnTo>
                    <a:pt x="192" y="396"/>
                  </a:lnTo>
                  <a:lnTo>
                    <a:pt x="198" y="396"/>
                  </a:lnTo>
                  <a:lnTo>
                    <a:pt x="204" y="396"/>
                  </a:lnTo>
                  <a:lnTo>
                    <a:pt x="210" y="396"/>
                  </a:lnTo>
                  <a:lnTo>
                    <a:pt x="210" y="390"/>
                  </a:lnTo>
                  <a:lnTo>
                    <a:pt x="216" y="390"/>
                  </a:lnTo>
                  <a:lnTo>
                    <a:pt x="216" y="384"/>
                  </a:lnTo>
                  <a:lnTo>
                    <a:pt x="222" y="384"/>
                  </a:lnTo>
                  <a:lnTo>
                    <a:pt x="222" y="378"/>
                  </a:lnTo>
                  <a:lnTo>
                    <a:pt x="228" y="372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0" y="348"/>
                  </a:lnTo>
                  <a:lnTo>
                    <a:pt x="234" y="342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46" y="330"/>
                  </a:lnTo>
                  <a:lnTo>
                    <a:pt x="246" y="324"/>
                  </a:lnTo>
                  <a:lnTo>
                    <a:pt x="234" y="318"/>
                  </a:lnTo>
                  <a:lnTo>
                    <a:pt x="234" y="312"/>
                  </a:lnTo>
                  <a:lnTo>
                    <a:pt x="234" y="300"/>
                  </a:lnTo>
                  <a:lnTo>
                    <a:pt x="240" y="288"/>
                  </a:lnTo>
                  <a:lnTo>
                    <a:pt x="240" y="276"/>
                  </a:lnTo>
                  <a:lnTo>
                    <a:pt x="246" y="258"/>
                  </a:lnTo>
                  <a:lnTo>
                    <a:pt x="258" y="252"/>
                  </a:lnTo>
                  <a:lnTo>
                    <a:pt x="270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294" y="252"/>
                  </a:lnTo>
                  <a:lnTo>
                    <a:pt x="300" y="258"/>
                  </a:lnTo>
                  <a:lnTo>
                    <a:pt x="318" y="252"/>
                  </a:lnTo>
                  <a:lnTo>
                    <a:pt x="366" y="252"/>
                  </a:lnTo>
                  <a:lnTo>
                    <a:pt x="378" y="252"/>
                  </a:lnTo>
                  <a:lnTo>
                    <a:pt x="396" y="252"/>
                  </a:lnTo>
                  <a:lnTo>
                    <a:pt x="408" y="252"/>
                  </a:lnTo>
                  <a:lnTo>
                    <a:pt x="408" y="246"/>
                  </a:lnTo>
                  <a:lnTo>
                    <a:pt x="414" y="240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20" y="216"/>
                  </a:lnTo>
                  <a:lnTo>
                    <a:pt x="426" y="210"/>
                  </a:lnTo>
                  <a:lnTo>
                    <a:pt x="444" y="198"/>
                  </a:lnTo>
                  <a:lnTo>
                    <a:pt x="462" y="198"/>
                  </a:lnTo>
                  <a:lnTo>
                    <a:pt x="474" y="204"/>
                  </a:lnTo>
                  <a:lnTo>
                    <a:pt x="498" y="198"/>
                  </a:lnTo>
                  <a:lnTo>
                    <a:pt x="498" y="204"/>
                  </a:lnTo>
                  <a:lnTo>
                    <a:pt x="540" y="210"/>
                  </a:lnTo>
                  <a:lnTo>
                    <a:pt x="564" y="210"/>
                  </a:lnTo>
                  <a:lnTo>
                    <a:pt x="588" y="210"/>
                  </a:lnTo>
                  <a:lnTo>
                    <a:pt x="612" y="210"/>
                  </a:lnTo>
                  <a:lnTo>
                    <a:pt x="612" y="216"/>
                  </a:lnTo>
                  <a:lnTo>
                    <a:pt x="618" y="222"/>
                  </a:lnTo>
                  <a:lnTo>
                    <a:pt x="618" y="228"/>
                  </a:lnTo>
                  <a:lnTo>
                    <a:pt x="624" y="240"/>
                  </a:lnTo>
                  <a:lnTo>
                    <a:pt x="624" y="246"/>
                  </a:lnTo>
                  <a:lnTo>
                    <a:pt x="630" y="252"/>
                  </a:lnTo>
                  <a:lnTo>
                    <a:pt x="630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0" y="282"/>
                  </a:lnTo>
                  <a:lnTo>
                    <a:pt x="630" y="288"/>
                  </a:lnTo>
                  <a:lnTo>
                    <a:pt x="630" y="300"/>
                  </a:lnTo>
                  <a:lnTo>
                    <a:pt x="630" y="306"/>
                  </a:lnTo>
                  <a:lnTo>
                    <a:pt x="636" y="306"/>
                  </a:lnTo>
                  <a:lnTo>
                    <a:pt x="642" y="306"/>
                  </a:lnTo>
                  <a:lnTo>
                    <a:pt x="648" y="312"/>
                  </a:lnTo>
                  <a:lnTo>
                    <a:pt x="666" y="312"/>
                  </a:lnTo>
                  <a:lnTo>
                    <a:pt x="696" y="306"/>
                  </a:lnTo>
                  <a:lnTo>
                    <a:pt x="732" y="300"/>
                  </a:lnTo>
                  <a:lnTo>
                    <a:pt x="732" y="288"/>
                  </a:lnTo>
                  <a:lnTo>
                    <a:pt x="738" y="288"/>
                  </a:lnTo>
                  <a:lnTo>
                    <a:pt x="744" y="276"/>
                  </a:lnTo>
                  <a:lnTo>
                    <a:pt x="762" y="246"/>
                  </a:lnTo>
                  <a:lnTo>
                    <a:pt x="768" y="228"/>
                  </a:lnTo>
                  <a:lnTo>
                    <a:pt x="792" y="210"/>
                  </a:lnTo>
                  <a:lnTo>
                    <a:pt x="804" y="186"/>
                  </a:lnTo>
                  <a:lnTo>
                    <a:pt x="804" y="156"/>
                  </a:lnTo>
                  <a:lnTo>
                    <a:pt x="804" y="138"/>
                  </a:lnTo>
                  <a:lnTo>
                    <a:pt x="810" y="126"/>
                  </a:lnTo>
                  <a:lnTo>
                    <a:pt x="816" y="120"/>
                  </a:lnTo>
                  <a:lnTo>
                    <a:pt x="828" y="102"/>
                  </a:lnTo>
                  <a:lnTo>
                    <a:pt x="834" y="96"/>
                  </a:lnTo>
                  <a:lnTo>
                    <a:pt x="846" y="102"/>
                  </a:lnTo>
                  <a:lnTo>
                    <a:pt x="852" y="96"/>
                  </a:lnTo>
                  <a:lnTo>
                    <a:pt x="858" y="72"/>
                  </a:lnTo>
                  <a:lnTo>
                    <a:pt x="864" y="60"/>
                  </a:lnTo>
                  <a:lnTo>
                    <a:pt x="882" y="48"/>
                  </a:lnTo>
                  <a:lnTo>
                    <a:pt x="906" y="36"/>
                  </a:lnTo>
                  <a:lnTo>
                    <a:pt x="918" y="12"/>
                  </a:lnTo>
                  <a:lnTo>
                    <a:pt x="924" y="0"/>
                  </a:lnTo>
                  <a:lnTo>
                    <a:pt x="930" y="6"/>
                  </a:lnTo>
                  <a:lnTo>
                    <a:pt x="942" y="12"/>
                  </a:lnTo>
                  <a:lnTo>
                    <a:pt x="948" y="12"/>
                  </a:lnTo>
                  <a:lnTo>
                    <a:pt x="954" y="18"/>
                  </a:lnTo>
                  <a:lnTo>
                    <a:pt x="966" y="18"/>
                  </a:lnTo>
                  <a:lnTo>
                    <a:pt x="972" y="18"/>
                  </a:lnTo>
                  <a:lnTo>
                    <a:pt x="984" y="18"/>
                  </a:lnTo>
                  <a:lnTo>
                    <a:pt x="990" y="18"/>
                  </a:lnTo>
                  <a:lnTo>
                    <a:pt x="1002" y="48"/>
                  </a:lnTo>
                  <a:lnTo>
                    <a:pt x="1008" y="78"/>
                  </a:lnTo>
                  <a:lnTo>
                    <a:pt x="1020" y="78"/>
                  </a:lnTo>
                  <a:lnTo>
                    <a:pt x="1020" y="90"/>
                  </a:lnTo>
                  <a:lnTo>
                    <a:pt x="1026" y="102"/>
                  </a:lnTo>
                  <a:lnTo>
                    <a:pt x="1044" y="120"/>
                  </a:lnTo>
                  <a:lnTo>
                    <a:pt x="1044" y="132"/>
                  </a:lnTo>
                  <a:lnTo>
                    <a:pt x="1056" y="150"/>
                  </a:lnTo>
                  <a:lnTo>
                    <a:pt x="1050" y="150"/>
                  </a:lnTo>
                  <a:lnTo>
                    <a:pt x="1044" y="156"/>
                  </a:lnTo>
                  <a:lnTo>
                    <a:pt x="1044" y="162"/>
                  </a:lnTo>
                  <a:lnTo>
                    <a:pt x="1038" y="162"/>
                  </a:lnTo>
                  <a:lnTo>
                    <a:pt x="1032" y="162"/>
                  </a:lnTo>
                  <a:lnTo>
                    <a:pt x="1026" y="168"/>
                  </a:lnTo>
                  <a:lnTo>
                    <a:pt x="1014" y="174"/>
                  </a:lnTo>
                  <a:lnTo>
                    <a:pt x="1014" y="186"/>
                  </a:lnTo>
                  <a:lnTo>
                    <a:pt x="1014" y="192"/>
                  </a:lnTo>
                  <a:lnTo>
                    <a:pt x="1014" y="198"/>
                  </a:lnTo>
                  <a:lnTo>
                    <a:pt x="1020" y="204"/>
                  </a:lnTo>
                  <a:lnTo>
                    <a:pt x="1026" y="204"/>
                  </a:lnTo>
                  <a:lnTo>
                    <a:pt x="1032" y="204"/>
                  </a:lnTo>
                  <a:lnTo>
                    <a:pt x="1032" y="210"/>
                  </a:lnTo>
                  <a:lnTo>
                    <a:pt x="1038" y="210"/>
                  </a:lnTo>
                  <a:lnTo>
                    <a:pt x="1032" y="216"/>
                  </a:lnTo>
                  <a:lnTo>
                    <a:pt x="1026" y="228"/>
                  </a:lnTo>
                  <a:lnTo>
                    <a:pt x="1026" y="234"/>
                  </a:lnTo>
                  <a:lnTo>
                    <a:pt x="1032" y="240"/>
                  </a:lnTo>
                  <a:lnTo>
                    <a:pt x="1032" y="246"/>
                  </a:lnTo>
                  <a:lnTo>
                    <a:pt x="1032" y="252"/>
                  </a:lnTo>
                  <a:lnTo>
                    <a:pt x="1032" y="258"/>
                  </a:lnTo>
                  <a:lnTo>
                    <a:pt x="1038" y="264"/>
                  </a:lnTo>
                  <a:lnTo>
                    <a:pt x="1032" y="276"/>
                  </a:lnTo>
                  <a:lnTo>
                    <a:pt x="1026" y="276"/>
                  </a:lnTo>
                  <a:lnTo>
                    <a:pt x="1020" y="276"/>
                  </a:lnTo>
                  <a:lnTo>
                    <a:pt x="996" y="282"/>
                  </a:lnTo>
                  <a:lnTo>
                    <a:pt x="996" y="288"/>
                  </a:lnTo>
                  <a:lnTo>
                    <a:pt x="996" y="294"/>
                  </a:lnTo>
                  <a:lnTo>
                    <a:pt x="996" y="300"/>
                  </a:lnTo>
                  <a:lnTo>
                    <a:pt x="996" y="306"/>
                  </a:lnTo>
                  <a:lnTo>
                    <a:pt x="984" y="324"/>
                  </a:lnTo>
                  <a:lnTo>
                    <a:pt x="984" y="330"/>
                  </a:lnTo>
                  <a:lnTo>
                    <a:pt x="984" y="336"/>
                  </a:lnTo>
                  <a:lnTo>
                    <a:pt x="978" y="336"/>
                  </a:lnTo>
                  <a:lnTo>
                    <a:pt x="978" y="342"/>
                  </a:lnTo>
                  <a:lnTo>
                    <a:pt x="984" y="360"/>
                  </a:lnTo>
                  <a:lnTo>
                    <a:pt x="978" y="366"/>
                  </a:lnTo>
                  <a:lnTo>
                    <a:pt x="978" y="372"/>
                  </a:lnTo>
                  <a:lnTo>
                    <a:pt x="972" y="372"/>
                  </a:lnTo>
                  <a:lnTo>
                    <a:pt x="972" y="378"/>
                  </a:lnTo>
                  <a:lnTo>
                    <a:pt x="972" y="384"/>
                  </a:lnTo>
                  <a:lnTo>
                    <a:pt x="972" y="390"/>
                  </a:lnTo>
                  <a:lnTo>
                    <a:pt x="966" y="402"/>
                  </a:lnTo>
                  <a:lnTo>
                    <a:pt x="960" y="414"/>
                  </a:lnTo>
                  <a:lnTo>
                    <a:pt x="954" y="420"/>
                  </a:lnTo>
                  <a:lnTo>
                    <a:pt x="948" y="426"/>
                  </a:lnTo>
                  <a:lnTo>
                    <a:pt x="948" y="438"/>
                  </a:lnTo>
                  <a:lnTo>
                    <a:pt x="942" y="444"/>
                  </a:lnTo>
                  <a:lnTo>
                    <a:pt x="936" y="450"/>
                  </a:lnTo>
                  <a:lnTo>
                    <a:pt x="930" y="456"/>
                  </a:lnTo>
                  <a:lnTo>
                    <a:pt x="924" y="462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18" y="522"/>
                  </a:lnTo>
                  <a:lnTo>
                    <a:pt x="918" y="528"/>
                  </a:lnTo>
                  <a:lnTo>
                    <a:pt x="924" y="534"/>
                  </a:lnTo>
                  <a:lnTo>
                    <a:pt x="924" y="540"/>
                  </a:lnTo>
                  <a:lnTo>
                    <a:pt x="924" y="546"/>
                  </a:lnTo>
                  <a:lnTo>
                    <a:pt x="918" y="546"/>
                  </a:lnTo>
                  <a:lnTo>
                    <a:pt x="918" y="552"/>
                  </a:lnTo>
                  <a:lnTo>
                    <a:pt x="912" y="546"/>
                  </a:lnTo>
                  <a:lnTo>
                    <a:pt x="912" y="552"/>
                  </a:lnTo>
                  <a:lnTo>
                    <a:pt x="912" y="570"/>
                  </a:lnTo>
                  <a:lnTo>
                    <a:pt x="906" y="588"/>
                  </a:lnTo>
                  <a:lnTo>
                    <a:pt x="900" y="606"/>
                  </a:lnTo>
                  <a:lnTo>
                    <a:pt x="906" y="624"/>
                  </a:lnTo>
                  <a:lnTo>
                    <a:pt x="900" y="624"/>
                  </a:lnTo>
                  <a:lnTo>
                    <a:pt x="894" y="630"/>
                  </a:lnTo>
                  <a:lnTo>
                    <a:pt x="888" y="630"/>
                  </a:lnTo>
                  <a:lnTo>
                    <a:pt x="882" y="630"/>
                  </a:lnTo>
                  <a:lnTo>
                    <a:pt x="882" y="636"/>
                  </a:lnTo>
                  <a:lnTo>
                    <a:pt x="876" y="642"/>
                  </a:lnTo>
                  <a:lnTo>
                    <a:pt x="870" y="642"/>
                  </a:lnTo>
                  <a:lnTo>
                    <a:pt x="870" y="648"/>
                  </a:lnTo>
                  <a:lnTo>
                    <a:pt x="870" y="654"/>
                  </a:lnTo>
                  <a:lnTo>
                    <a:pt x="864" y="654"/>
                  </a:lnTo>
                  <a:lnTo>
                    <a:pt x="864" y="660"/>
                  </a:lnTo>
                  <a:lnTo>
                    <a:pt x="846" y="666"/>
                  </a:lnTo>
                  <a:lnTo>
                    <a:pt x="828" y="672"/>
                  </a:lnTo>
                  <a:lnTo>
                    <a:pt x="816" y="660"/>
                  </a:lnTo>
                  <a:lnTo>
                    <a:pt x="810" y="660"/>
                  </a:lnTo>
                  <a:lnTo>
                    <a:pt x="798" y="666"/>
                  </a:lnTo>
                  <a:lnTo>
                    <a:pt x="786" y="666"/>
                  </a:lnTo>
                  <a:lnTo>
                    <a:pt x="780" y="672"/>
                  </a:lnTo>
                  <a:lnTo>
                    <a:pt x="768" y="678"/>
                  </a:lnTo>
                  <a:lnTo>
                    <a:pt x="762" y="660"/>
                  </a:lnTo>
                  <a:lnTo>
                    <a:pt x="762" y="654"/>
                  </a:lnTo>
                  <a:lnTo>
                    <a:pt x="756" y="636"/>
                  </a:lnTo>
                  <a:lnTo>
                    <a:pt x="762" y="624"/>
                  </a:lnTo>
                  <a:lnTo>
                    <a:pt x="756" y="606"/>
                  </a:lnTo>
                  <a:lnTo>
                    <a:pt x="756" y="600"/>
                  </a:lnTo>
                  <a:lnTo>
                    <a:pt x="762" y="594"/>
                  </a:lnTo>
                  <a:lnTo>
                    <a:pt x="768" y="600"/>
                  </a:lnTo>
                  <a:lnTo>
                    <a:pt x="768" y="594"/>
                  </a:lnTo>
                  <a:lnTo>
                    <a:pt x="768" y="588"/>
                  </a:lnTo>
                  <a:lnTo>
                    <a:pt x="774" y="582"/>
                  </a:lnTo>
                  <a:lnTo>
                    <a:pt x="768" y="576"/>
                  </a:lnTo>
                  <a:lnTo>
                    <a:pt x="762" y="576"/>
                  </a:lnTo>
                  <a:lnTo>
                    <a:pt x="756" y="576"/>
                  </a:lnTo>
                  <a:lnTo>
                    <a:pt x="690" y="576"/>
                  </a:lnTo>
                  <a:lnTo>
                    <a:pt x="624" y="570"/>
                  </a:lnTo>
                  <a:lnTo>
                    <a:pt x="600" y="564"/>
                  </a:lnTo>
                  <a:lnTo>
                    <a:pt x="576" y="564"/>
                  </a:lnTo>
                  <a:lnTo>
                    <a:pt x="558" y="570"/>
                  </a:lnTo>
                  <a:lnTo>
                    <a:pt x="552" y="576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46" y="594"/>
                  </a:lnTo>
                  <a:lnTo>
                    <a:pt x="546" y="600"/>
                  </a:lnTo>
                  <a:lnTo>
                    <a:pt x="540" y="606"/>
                  </a:lnTo>
                  <a:lnTo>
                    <a:pt x="534" y="618"/>
                  </a:lnTo>
                  <a:lnTo>
                    <a:pt x="534" y="624"/>
                  </a:lnTo>
                  <a:lnTo>
                    <a:pt x="534" y="630"/>
                  </a:lnTo>
                  <a:lnTo>
                    <a:pt x="534" y="636"/>
                  </a:lnTo>
                  <a:lnTo>
                    <a:pt x="528" y="636"/>
                  </a:lnTo>
                  <a:lnTo>
                    <a:pt x="516" y="642"/>
                  </a:lnTo>
                  <a:lnTo>
                    <a:pt x="516" y="648"/>
                  </a:lnTo>
                  <a:lnTo>
                    <a:pt x="510" y="648"/>
                  </a:lnTo>
                  <a:lnTo>
                    <a:pt x="504" y="654"/>
                  </a:lnTo>
                  <a:lnTo>
                    <a:pt x="492" y="666"/>
                  </a:lnTo>
                  <a:lnTo>
                    <a:pt x="492" y="672"/>
                  </a:lnTo>
                  <a:lnTo>
                    <a:pt x="492" y="684"/>
                  </a:lnTo>
                  <a:lnTo>
                    <a:pt x="486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92" y="702"/>
                  </a:lnTo>
                  <a:lnTo>
                    <a:pt x="486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74" y="720"/>
                  </a:lnTo>
                  <a:lnTo>
                    <a:pt x="480" y="726"/>
                  </a:lnTo>
                  <a:lnTo>
                    <a:pt x="474" y="726"/>
                  </a:lnTo>
                  <a:lnTo>
                    <a:pt x="474" y="738"/>
                  </a:lnTo>
                  <a:lnTo>
                    <a:pt x="474" y="744"/>
                  </a:lnTo>
                  <a:lnTo>
                    <a:pt x="474" y="750"/>
                  </a:lnTo>
                  <a:lnTo>
                    <a:pt x="480" y="750"/>
                  </a:lnTo>
                  <a:lnTo>
                    <a:pt x="480" y="756"/>
                  </a:lnTo>
                  <a:lnTo>
                    <a:pt x="492" y="762"/>
                  </a:lnTo>
                  <a:lnTo>
                    <a:pt x="498" y="774"/>
                  </a:lnTo>
                  <a:lnTo>
                    <a:pt x="498" y="780"/>
                  </a:lnTo>
                  <a:lnTo>
                    <a:pt x="504" y="786"/>
                  </a:lnTo>
                  <a:lnTo>
                    <a:pt x="510" y="792"/>
                  </a:lnTo>
                  <a:lnTo>
                    <a:pt x="504" y="798"/>
                  </a:lnTo>
                  <a:lnTo>
                    <a:pt x="504" y="804"/>
                  </a:lnTo>
                  <a:lnTo>
                    <a:pt x="504" y="810"/>
                  </a:lnTo>
                  <a:lnTo>
                    <a:pt x="498" y="822"/>
                  </a:lnTo>
                  <a:lnTo>
                    <a:pt x="492" y="828"/>
                  </a:lnTo>
                  <a:lnTo>
                    <a:pt x="492" y="834"/>
                  </a:lnTo>
                  <a:lnTo>
                    <a:pt x="486" y="840"/>
                  </a:lnTo>
                  <a:lnTo>
                    <a:pt x="480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74" y="858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876"/>
                  </a:lnTo>
                  <a:lnTo>
                    <a:pt x="456" y="894"/>
                  </a:lnTo>
                  <a:lnTo>
                    <a:pt x="450" y="894"/>
                  </a:lnTo>
                  <a:lnTo>
                    <a:pt x="444" y="900"/>
                  </a:lnTo>
                  <a:lnTo>
                    <a:pt x="444" y="894"/>
                  </a:lnTo>
                  <a:lnTo>
                    <a:pt x="438" y="894"/>
                  </a:lnTo>
                  <a:lnTo>
                    <a:pt x="432" y="900"/>
                  </a:lnTo>
                  <a:lnTo>
                    <a:pt x="432" y="906"/>
                  </a:lnTo>
                  <a:lnTo>
                    <a:pt x="420" y="906"/>
                  </a:lnTo>
                  <a:lnTo>
                    <a:pt x="420" y="912"/>
                  </a:lnTo>
                  <a:lnTo>
                    <a:pt x="420" y="918"/>
                  </a:lnTo>
                  <a:lnTo>
                    <a:pt x="426" y="918"/>
                  </a:lnTo>
                  <a:lnTo>
                    <a:pt x="426" y="924"/>
                  </a:lnTo>
                  <a:lnTo>
                    <a:pt x="426" y="930"/>
                  </a:lnTo>
                  <a:lnTo>
                    <a:pt x="420" y="930"/>
                  </a:lnTo>
                  <a:lnTo>
                    <a:pt x="414" y="936"/>
                  </a:lnTo>
                  <a:lnTo>
                    <a:pt x="414" y="942"/>
                  </a:lnTo>
                  <a:lnTo>
                    <a:pt x="414" y="948"/>
                  </a:lnTo>
                  <a:lnTo>
                    <a:pt x="414" y="954"/>
                  </a:lnTo>
                  <a:lnTo>
                    <a:pt x="426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44" y="972"/>
                  </a:lnTo>
                  <a:lnTo>
                    <a:pt x="444" y="978"/>
                  </a:lnTo>
                  <a:lnTo>
                    <a:pt x="450" y="978"/>
                  </a:lnTo>
                  <a:lnTo>
                    <a:pt x="450" y="984"/>
                  </a:lnTo>
                  <a:lnTo>
                    <a:pt x="456" y="990"/>
                  </a:lnTo>
                  <a:lnTo>
                    <a:pt x="456" y="996"/>
                  </a:lnTo>
                  <a:lnTo>
                    <a:pt x="462" y="1008"/>
                  </a:lnTo>
                  <a:lnTo>
                    <a:pt x="468" y="1008"/>
                  </a:lnTo>
                  <a:lnTo>
                    <a:pt x="468" y="1002"/>
                  </a:lnTo>
                  <a:lnTo>
                    <a:pt x="474" y="1008"/>
                  </a:lnTo>
                  <a:lnTo>
                    <a:pt x="480" y="1002"/>
                  </a:lnTo>
                  <a:lnTo>
                    <a:pt x="486" y="1008"/>
                  </a:lnTo>
                  <a:lnTo>
                    <a:pt x="486" y="1014"/>
                  </a:lnTo>
                  <a:lnTo>
                    <a:pt x="492" y="1014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86" y="1026"/>
                  </a:lnTo>
                  <a:lnTo>
                    <a:pt x="492" y="1026"/>
                  </a:lnTo>
                  <a:lnTo>
                    <a:pt x="486" y="1026"/>
                  </a:lnTo>
                  <a:lnTo>
                    <a:pt x="492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5" name="Freeform 30">
              <a:extLst>
                <a:ext uri="{FF2B5EF4-FFF2-40B4-BE49-F238E27FC236}">
                  <a16:creationId xmlns:a16="http://schemas.microsoft.com/office/drawing/2014/main" id="{85C7B827-0C1A-4D72-AEBD-F01CFE7EC12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3645" y="3904484"/>
              <a:ext cx="559048" cy="111825"/>
            </a:xfrm>
            <a:custGeom>
              <a:avLst/>
              <a:gdLst>
                <a:gd name="T0" fmla="*/ 69 w 1056"/>
                <a:gd name="T1" fmla="*/ 7 h 210"/>
                <a:gd name="T2" fmla="*/ 63 w 1056"/>
                <a:gd name="T3" fmla="*/ 5 h 210"/>
                <a:gd name="T4" fmla="*/ 57 w 1056"/>
                <a:gd name="T5" fmla="*/ 5 h 210"/>
                <a:gd name="T6" fmla="*/ 54 w 1056"/>
                <a:gd name="T7" fmla="*/ 6 h 210"/>
                <a:gd name="T8" fmla="*/ 51 w 1056"/>
                <a:gd name="T9" fmla="*/ 7 h 210"/>
                <a:gd name="T10" fmla="*/ 46 w 1056"/>
                <a:gd name="T11" fmla="*/ 9 h 210"/>
                <a:gd name="T12" fmla="*/ 42 w 1056"/>
                <a:gd name="T13" fmla="*/ 8 h 210"/>
                <a:gd name="T14" fmla="*/ 42 w 1056"/>
                <a:gd name="T15" fmla="*/ 5 h 210"/>
                <a:gd name="T16" fmla="*/ 41 w 1056"/>
                <a:gd name="T17" fmla="*/ 7 h 210"/>
                <a:gd name="T18" fmla="*/ 38 w 1056"/>
                <a:gd name="T19" fmla="*/ 10 h 210"/>
                <a:gd name="T20" fmla="*/ 37 w 1056"/>
                <a:gd name="T21" fmla="*/ 12 h 210"/>
                <a:gd name="T22" fmla="*/ 37 w 1056"/>
                <a:gd name="T23" fmla="*/ 15 h 210"/>
                <a:gd name="T24" fmla="*/ 37 w 1056"/>
                <a:gd name="T25" fmla="*/ 16 h 210"/>
                <a:gd name="T26" fmla="*/ 38 w 1056"/>
                <a:gd name="T27" fmla="*/ 16 h 210"/>
                <a:gd name="T28" fmla="*/ 34 w 1056"/>
                <a:gd name="T29" fmla="*/ 16 h 210"/>
                <a:gd name="T30" fmla="*/ 26 w 1056"/>
                <a:gd name="T31" fmla="*/ 16 h 210"/>
                <a:gd name="T32" fmla="*/ 20 w 1056"/>
                <a:gd name="T33" fmla="*/ 17 h 210"/>
                <a:gd name="T34" fmla="*/ 13 w 1056"/>
                <a:gd name="T35" fmla="*/ 17 h 210"/>
                <a:gd name="T36" fmla="*/ 6 w 1056"/>
                <a:gd name="T37" fmla="*/ 17 h 210"/>
                <a:gd name="T38" fmla="*/ 1 w 1056"/>
                <a:gd name="T39" fmla="*/ 18 h 210"/>
                <a:gd name="T40" fmla="*/ 3 w 1056"/>
                <a:gd name="T41" fmla="*/ 14 h 210"/>
                <a:gd name="T42" fmla="*/ 8 w 1056"/>
                <a:gd name="T43" fmla="*/ 15 h 210"/>
                <a:gd name="T44" fmla="*/ 11 w 1056"/>
                <a:gd name="T45" fmla="*/ 12 h 210"/>
                <a:gd name="T46" fmla="*/ 26 w 1056"/>
                <a:gd name="T47" fmla="*/ 10 h 210"/>
                <a:gd name="T48" fmla="*/ 29 w 1056"/>
                <a:gd name="T49" fmla="*/ 5 h 210"/>
                <a:gd name="T50" fmla="*/ 34 w 1056"/>
                <a:gd name="T51" fmla="*/ 1 h 210"/>
                <a:gd name="T52" fmla="*/ 41 w 1056"/>
                <a:gd name="T53" fmla="*/ 3 h 210"/>
                <a:gd name="T54" fmla="*/ 73 w 1056"/>
                <a:gd name="T55" fmla="*/ 1 h 210"/>
                <a:gd name="T56" fmla="*/ 75 w 1056"/>
                <a:gd name="T57" fmla="*/ 4 h 210"/>
                <a:gd name="T58" fmla="*/ 85 w 1056"/>
                <a:gd name="T59" fmla="*/ 15 h 210"/>
                <a:gd name="T60" fmla="*/ 91 w 1056"/>
                <a:gd name="T61" fmla="*/ 18 h 210"/>
                <a:gd name="T62" fmla="*/ 85 w 1056"/>
                <a:gd name="T63" fmla="*/ 18 h 210"/>
                <a:gd name="T64" fmla="*/ 79 w 1056"/>
                <a:gd name="T65" fmla="*/ 16 h 210"/>
                <a:gd name="T66" fmla="*/ 74 w 1056"/>
                <a:gd name="T67" fmla="*/ 16 h 210"/>
                <a:gd name="T68" fmla="*/ 69 w 1056"/>
                <a:gd name="T69" fmla="*/ 15 h 210"/>
                <a:gd name="T70" fmla="*/ 65 w 1056"/>
                <a:gd name="T71" fmla="*/ 14 h 210"/>
                <a:gd name="T72" fmla="*/ 59 w 1056"/>
                <a:gd name="T73" fmla="*/ 15 h 210"/>
                <a:gd name="T74" fmla="*/ 54 w 1056"/>
                <a:gd name="T75" fmla="*/ 15 h 210"/>
                <a:gd name="T76" fmla="*/ 49 w 1056"/>
                <a:gd name="T77" fmla="*/ 15 h 210"/>
                <a:gd name="T78" fmla="*/ 42 w 1056"/>
                <a:gd name="T79" fmla="*/ 15 h 210"/>
                <a:gd name="T80" fmla="*/ 38 w 1056"/>
                <a:gd name="T81" fmla="*/ 16 h 210"/>
                <a:gd name="T82" fmla="*/ 41 w 1056"/>
                <a:gd name="T83" fmla="*/ 14 h 210"/>
                <a:gd name="T84" fmla="*/ 42 w 1056"/>
                <a:gd name="T85" fmla="*/ 13 h 210"/>
                <a:gd name="T86" fmla="*/ 45 w 1056"/>
                <a:gd name="T87" fmla="*/ 13 h 210"/>
                <a:gd name="T88" fmla="*/ 48 w 1056"/>
                <a:gd name="T89" fmla="*/ 12 h 210"/>
                <a:gd name="T90" fmla="*/ 51 w 1056"/>
                <a:gd name="T91" fmla="*/ 11 h 210"/>
                <a:gd name="T92" fmla="*/ 54 w 1056"/>
                <a:gd name="T93" fmla="*/ 9 h 210"/>
                <a:gd name="T94" fmla="*/ 57 w 1056"/>
                <a:gd name="T95" fmla="*/ 8 h 210"/>
                <a:gd name="T96" fmla="*/ 60 w 1056"/>
                <a:gd name="T97" fmla="*/ 5 h 210"/>
                <a:gd name="T98" fmla="*/ 65 w 1056"/>
                <a:gd name="T99" fmla="*/ 5 h 210"/>
                <a:gd name="T100" fmla="*/ 72 w 1056"/>
                <a:gd name="T101" fmla="*/ 7 h 210"/>
                <a:gd name="T102" fmla="*/ 77 w 1056"/>
                <a:gd name="T103" fmla="*/ 11 h 210"/>
                <a:gd name="T104" fmla="*/ 69 w 1056"/>
                <a:gd name="T105" fmla="*/ 10 h 210"/>
                <a:gd name="T106" fmla="*/ 72 w 1056"/>
                <a:gd name="T107" fmla="*/ 12 h 210"/>
                <a:gd name="T108" fmla="*/ 78 w 1056"/>
                <a:gd name="T109" fmla="*/ 15 h 210"/>
                <a:gd name="T110" fmla="*/ 84 w 1056"/>
                <a:gd name="T111" fmla="*/ 14 h 210"/>
                <a:gd name="T112" fmla="*/ 84 w 1056"/>
                <a:gd name="T113" fmla="*/ 14 h 210"/>
                <a:gd name="T114" fmla="*/ 78 w 1056"/>
                <a:gd name="T115" fmla="*/ 13 h 210"/>
                <a:gd name="T116" fmla="*/ 76 w 1056"/>
                <a:gd name="T117" fmla="*/ 14 h 210"/>
                <a:gd name="T118" fmla="*/ 38 w 1056"/>
                <a:gd name="T119" fmla="*/ 12 h 210"/>
                <a:gd name="T120" fmla="*/ 41 w 1056"/>
                <a:gd name="T121" fmla="*/ 12 h 210"/>
                <a:gd name="T122" fmla="*/ 40 w 1056"/>
                <a:gd name="T123" fmla="*/ 14 h 2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6"/>
                <a:gd name="T187" fmla="*/ 0 h 210"/>
                <a:gd name="T188" fmla="*/ 1056 w 1056"/>
                <a:gd name="T189" fmla="*/ 210 h 21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6" h="210">
                  <a:moveTo>
                    <a:pt x="870" y="90"/>
                  </a:moveTo>
                  <a:lnTo>
                    <a:pt x="864" y="90"/>
                  </a:lnTo>
                  <a:lnTo>
                    <a:pt x="852" y="84"/>
                  </a:lnTo>
                  <a:lnTo>
                    <a:pt x="846" y="84"/>
                  </a:lnTo>
                  <a:lnTo>
                    <a:pt x="846" y="78"/>
                  </a:lnTo>
                  <a:lnTo>
                    <a:pt x="840" y="78"/>
                  </a:lnTo>
                  <a:lnTo>
                    <a:pt x="834" y="78"/>
                  </a:lnTo>
                  <a:lnTo>
                    <a:pt x="834" y="72"/>
                  </a:lnTo>
                  <a:lnTo>
                    <a:pt x="804" y="78"/>
                  </a:lnTo>
                  <a:lnTo>
                    <a:pt x="798" y="78"/>
                  </a:lnTo>
                  <a:lnTo>
                    <a:pt x="792" y="72"/>
                  </a:lnTo>
                  <a:lnTo>
                    <a:pt x="780" y="60"/>
                  </a:lnTo>
                  <a:lnTo>
                    <a:pt x="768" y="54"/>
                  </a:lnTo>
                  <a:lnTo>
                    <a:pt x="756" y="54"/>
                  </a:lnTo>
                  <a:lnTo>
                    <a:pt x="750" y="54"/>
                  </a:lnTo>
                  <a:lnTo>
                    <a:pt x="750" y="48"/>
                  </a:lnTo>
                  <a:lnTo>
                    <a:pt x="744" y="48"/>
                  </a:lnTo>
                  <a:lnTo>
                    <a:pt x="738" y="48"/>
                  </a:lnTo>
                  <a:lnTo>
                    <a:pt x="732" y="48"/>
                  </a:lnTo>
                  <a:lnTo>
                    <a:pt x="732" y="54"/>
                  </a:lnTo>
                  <a:lnTo>
                    <a:pt x="726" y="48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48"/>
                  </a:lnTo>
                  <a:lnTo>
                    <a:pt x="702" y="48"/>
                  </a:lnTo>
                  <a:lnTo>
                    <a:pt x="696" y="48"/>
                  </a:lnTo>
                  <a:lnTo>
                    <a:pt x="684" y="48"/>
                  </a:lnTo>
                  <a:lnTo>
                    <a:pt x="678" y="48"/>
                  </a:lnTo>
                  <a:lnTo>
                    <a:pt x="672" y="48"/>
                  </a:lnTo>
                  <a:lnTo>
                    <a:pt x="666" y="54"/>
                  </a:lnTo>
                  <a:lnTo>
                    <a:pt x="660" y="54"/>
                  </a:lnTo>
                  <a:lnTo>
                    <a:pt x="660" y="48"/>
                  </a:lnTo>
                  <a:lnTo>
                    <a:pt x="654" y="48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42" y="54"/>
                  </a:lnTo>
                  <a:lnTo>
                    <a:pt x="63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30" y="66"/>
                  </a:lnTo>
                  <a:lnTo>
                    <a:pt x="624" y="66"/>
                  </a:lnTo>
                  <a:lnTo>
                    <a:pt x="618" y="66"/>
                  </a:lnTo>
                  <a:lnTo>
                    <a:pt x="618" y="72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6" y="84"/>
                  </a:lnTo>
                  <a:lnTo>
                    <a:pt x="600" y="84"/>
                  </a:lnTo>
                  <a:lnTo>
                    <a:pt x="594" y="90"/>
                  </a:lnTo>
                  <a:lnTo>
                    <a:pt x="588" y="90"/>
                  </a:lnTo>
                  <a:lnTo>
                    <a:pt x="588" y="84"/>
                  </a:lnTo>
                  <a:lnTo>
                    <a:pt x="582" y="84"/>
                  </a:lnTo>
                  <a:lnTo>
                    <a:pt x="576" y="84"/>
                  </a:lnTo>
                  <a:lnTo>
                    <a:pt x="570" y="84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58" y="96"/>
                  </a:lnTo>
                  <a:lnTo>
                    <a:pt x="552" y="96"/>
                  </a:lnTo>
                  <a:lnTo>
                    <a:pt x="546" y="102"/>
                  </a:lnTo>
                  <a:lnTo>
                    <a:pt x="540" y="102"/>
                  </a:lnTo>
                  <a:lnTo>
                    <a:pt x="534" y="102"/>
                  </a:lnTo>
                  <a:lnTo>
                    <a:pt x="528" y="102"/>
                  </a:lnTo>
                  <a:lnTo>
                    <a:pt x="528" y="108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16" y="102"/>
                  </a:lnTo>
                  <a:lnTo>
                    <a:pt x="510" y="102"/>
                  </a:lnTo>
                  <a:lnTo>
                    <a:pt x="504" y="102"/>
                  </a:lnTo>
                  <a:lnTo>
                    <a:pt x="498" y="102"/>
                  </a:lnTo>
                  <a:lnTo>
                    <a:pt x="498" y="96"/>
                  </a:lnTo>
                  <a:lnTo>
                    <a:pt x="492" y="96"/>
                  </a:lnTo>
                  <a:lnTo>
                    <a:pt x="492" y="90"/>
                  </a:lnTo>
                  <a:lnTo>
                    <a:pt x="492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498" y="66"/>
                  </a:lnTo>
                  <a:lnTo>
                    <a:pt x="504" y="60"/>
                  </a:lnTo>
                  <a:lnTo>
                    <a:pt x="498" y="60"/>
                  </a:lnTo>
                  <a:lnTo>
                    <a:pt x="498" y="54"/>
                  </a:lnTo>
                  <a:lnTo>
                    <a:pt x="492" y="54"/>
                  </a:lnTo>
                  <a:lnTo>
                    <a:pt x="492" y="60"/>
                  </a:lnTo>
                  <a:lnTo>
                    <a:pt x="486" y="60"/>
                  </a:lnTo>
                  <a:lnTo>
                    <a:pt x="486" y="66"/>
                  </a:lnTo>
                  <a:lnTo>
                    <a:pt x="480" y="66"/>
                  </a:lnTo>
                  <a:lnTo>
                    <a:pt x="474" y="72"/>
                  </a:lnTo>
                  <a:lnTo>
                    <a:pt x="474" y="66"/>
                  </a:lnTo>
                  <a:lnTo>
                    <a:pt x="474" y="72"/>
                  </a:lnTo>
                  <a:lnTo>
                    <a:pt x="468" y="72"/>
                  </a:lnTo>
                  <a:lnTo>
                    <a:pt x="468" y="78"/>
                  </a:lnTo>
                  <a:lnTo>
                    <a:pt x="468" y="84"/>
                  </a:lnTo>
                  <a:lnTo>
                    <a:pt x="462" y="90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0" y="84"/>
                  </a:lnTo>
                  <a:lnTo>
                    <a:pt x="450" y="90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44" y="102"/>
                  </a:lnTo>
                  <a:lnTo>
                    <a:pt x="444" y="108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38" y="126"/>
                  </a:lnTo>
                  <a:lnTo>
                    <a:pt x="438" y="132"/>
                  </a:lnTo>
                  <a:lnTo>
                    <a:pt x="438" y="138"/>
                  </a:lnTo>
                  <a:lnTo>
                    <a:pt x="438" y="144"/>
                  </a:lnTo>
                  <a:lnTo>
                    <a:pt x="432" y="144"/>
                  </a:lnTo>
                  <a:lnTo>
                    <a:pt x="432" y="150"/>
                  </a:lnTo>
                  <a:lnTo>
                    <a:pt x="432" y="144"/>
                  </a:lnTo>
                  <a:lnTo>
                    <a:pt x="426" y="144"/>
                  </a:lnTo>
                  <a:lnTo>
                    <a:pt x="426" y="150"/>
                  </a:lnTo>
                  <a:lnTo>
                    <a:pt x="426" y="156"/>
                  </a:lnTo>
                  <a:lnTo>
                    <a:pt x="432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2"/>
                  </a:lnTo>
                  <a:lnTo>
                    <a:pt x="432" y="168"/>
                  </a:lnTo>
                  <a:lnTo>
                    <a:pt x="426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44" y="168"/>
                  </a:lnTo>
                  <a:lnTo>
                    <a:pt x="444" y="174"/>
                  </a:lnTo>
                  <a:lnTo>
                    <a:pt x="444" y="180"/>
                  </a:lnTo>
                  <a:lnTo>
                    <a:pt x="444" y="186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2" y="192"/>
                  </a:lnTo>
                  <a:lnTo>
                    <a:pt x="426" y="192"/>
                  </a:lnTo>
                  <a:lnTo>
                    <a:pt x="420" y="186"/>
                  </a:lnTo>
                  <a:lnTo>
                    <a:pt x="414" y="186"/>
                  </a:lnTo>
                  <a:lnTo>
                    <a:pt x="408" y="186"/>
                  </a:lnTo>
                  <a:lnTo>
                    <a:pt x="402" y="186"/>
                  </a:lnTo>
                  <a:lnTo>
                    <a:pt x="396" y="186"/>
                  </a:lnTo>
                  <a:lnTo>
                    <a:pt x="390" y="186"/>
                  </a:lnTo>
                  <a:lnTo>
                    <a:pt x="384" y="186"/>
                  </a:lnTo>
                  <a:lnTo>
                    <a:pt x="378" y="186"/>
                  </a:lnTo>
                  <a:lnTo>
                    <a:pt x="372" y="186"/>
                  </a:lnTo>
                  <a:lnTo>
                    <a:pt x="354" y="186"/>
                  </a:lnTo>
                  <a:lnTo>
                    <a:pt x="342" y="186"/>
                  </a:lnTo>
                  <a:lnTo>
                    <a:pt x="324" y="186"/>
                  </a:lnTo>
                  <a:lnTo>
                    <a:pt x="312" y="186"/>
                  </a:lnTo>
                  <a:lnTo>
                    <a:pt x="306" y="186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82" y="186"/>
                  </a:lnTo>
                  <a:lnTo>
                    <a:pt x="270" y="186"/>
                  </a:lnTo>
                  <a:lnTo>
                    <a:pt x="264" y="186"/>
                  </a:lnTo>
                  <a:lnTo>
                    <a:pt x="258" y="192"/>
                  </a:lnTo>
                  <a:lnTo>
                    <a:pt x="258" y="186"/>
                  </a:lnTo>
                  <a:lnTo>
                    <a:pt x="246" y="186"/>
                  </a:lnTo>
                  <a:lnTo>
                    <a:pt x="240" y="186"/>
                  </a:lnTo>
                  <a:lnTo>
                    <a:pt x="234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2"/>
                  </a:lnTo>
                  <a:lnTo>
                    <a:pt x="204" y="192"/>
                  </a:lnTo>
                  <a:lnTo>
                    <a:pt x="198" y="192"/>
                  </a:lnTo>
                  <a:lnTo>
                    <a:pt x="192" y="192"/>
                  </a:lnTo>
                  <a:lnTo>
                    <a:pt x="180" y="192"/>
                  </a:lnTo>
                  <a:lnTo>
                    <a:pt x="168" y="192"/>
                  </a:lnTo>
                  <a:lnTo>
                    <a:pt x="162" y="192"/>
                  </a:lnTo>
                  <a:lnTo>
                    <a:pt x="150" y="192"/>
                  </a:lnTo>
                  <a:lnTo>
                    <a:pt x="138" y="192"/>
                  </a:lnTo>
                  <a:lnTo>
                    <a:pt x="132" y="192"/>
                  </a:lnTo>
                  <a:lnTo>
                    <a:pt x="120" y="192"/>
                  </a:lnTo>
                  <a:lnTo>
                    <a:pt x="114" y="192"/>
                  </a:lnTo>
                  <a:lnTo>
                    <a:pt x="108" y="192"/>
                  </a:lnTo>
                  <a:lnTo>
                    <a:pt x="102" y="192"/>
                  </a:lnTo>
                  <a:lnTo>
                    <a:pt x="90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2" y="198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36" y="198"/>
                  </a:lnTo>
                  <a:lnTo>
                    <a:pt x="30" y="204"/>
                  </a:lnTo>
                  <a:lnTo>
                    <a:pt x="24" y="204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6" y="210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54" y="156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56"/>
                  </a:lnTo>
                  <a:lnTo>
                    <a:pt x="78" y="162"/>
                  </a:lnTo>
                  <a:lnTo>
                    <a:pt x="84" y="162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9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0" y="126"/>
                  </a:lnTo>
                  <a:lnTo>
                    <a:pt x="276" y="120"/>
                  </a:lnTo>
                  <a:lnTo>
                    <a:pt x="282" y="120"/>
                  </a:lnTo>
                  <a:lnTo>
                    <a:pt x="300" y="120"/>
                  </a:lnTo>
                  <a:lnTo>
                    <a:pt x="306" y="114"/>
                  </a:lnTo>
                  <a:lnTo>
                    <a:pt x="312" y="108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8"/>
                  </a:lnTo>
                  <a:lnTo>
                    <a:pt x="342" y="30"/>
                  </a:lnTo>
                  <a:lnTo>
                    <a:pt x="342" y="24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8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24"/>
                  </a:lnTo>
                  <a:lnTo>
                    <a:pt x="414" y="30"/>
                  </a:lnTo>
                  <a:lnTo>
                    <a:pt x="420" y="30"/>
                  </a:lnTo>
                  <a:lnTo>
                    <a:pt x="42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74" y="30"/>
                  </a:lnTo>
                  <a:lnTo>
                    <a:pt x="474" y="18"/>
                  </a:lnTo>
                  <a:lnTo>
                    <a:pt x="474" y="12"/>
                  </a:lnTo>
                  <a:lnTo>
                    <a:pt x="480" y="12"/>
                  </a:lnTo>
                  <a:lnTo>
                    <a:pt x="486" y="12"/>
                  </a:lnTo>
                  <a:lnTo>
                    <a:pt x="606" y="12"/>
                  </a:lnTo>
                  <a:lnTo>
                    <a:pt x="630" y="12"/>
                  </a:lnTo>
                  <a:lnTo>
                    <a:pt x="678" y="12"/>
                  </a:lnTo>
                  <a:lnTo>
                    <a:pt x="744" y="12"/>
                  </a:lnTo>
                  <a:lnTo>
                    <a:pt x="774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2" y="6"/>
                  </a:lnTo>
                  <a:lnTo>
                    <a:pt x="888" y="12"/>
                  </a:lnTo>
                  <a:lnTo>
                    <a:pt x="888" y="24"/>
                  </a:lnTo>
                  <a:lnTo>
                    <a:pt x="888" y="30"/>
                  </a:lnTo>
                  <a:lnTo>
                    <a:pt x="882" y="36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64" y="42"/>
                  </a:lnTo>
                  <a:lnTo>
                    <a:pt x="864" y="48"/>
                  </a:lnTo>
                  <a:lnTo>
                    <a:pt x="858" y="54"/>
                  </a:lnTo>
                  <a:lnTo>
                    <a:pt x="864" y="54"/>
                  </a:lnTo>
                  <a:lnTo>
                    <a:pt x="870" y="72"/>
                  </a:lnTo>
                  <a:lnTo>
                    <a:pt x="870" y="78"/>
                  </a:lnTo>
                  <a:lnTo>
                    <a:pt x="870" y="84"/>
                  </a:lnTo>
                  <a:lnTo>
                    <a:pt x="870" y="90"/>
                  </a:lnTo>
                  <a:close/>
                  <a:moveTo>
                    <a:pt x="972" y="156"/>
                  </a:moveTo>
                  <a:lnTo>
                    <a:pt x="972" y="162"/>
                  </a:lnTo>
                  <a:lnTo>
                    <a:pt x="978" y="162"/>
                  </a:lnTo>
                  <a:lnTo>
                    <a:pt x="984" y="168"/>
                  </a:lnTo>
                  <a:lnTo>
                    <a:pt x="990" y="168"/>
                  </a:lnTo>
                  <a:lnTo>
                    <a:pt x="990" y="162"/>
                  </a:lnTo>
                  <a:lnTo>
                    <a:pt x="1008" y="162"/>
                  </a:lnTo>
                  <a:lnTo>
                    <a:pt x="1020" y="162"/>
                  </a:lnTo>
                  <a:lnTo>
                    <a:pt x="1038" y="162"/>
                  </a:lnTo>
                  <a:lnTo>
                    <a:pt x="1056" y="168"/>
                  </a:lnTo>
                  <a:lnTo>
                    <a:pt x="1056" y="180"/>
                  </a:lnTo>
                  <a:lnTo>
                    <a:pt x="1056" y="186"/>
                  </a:lnTo>
                  <a:lnTo>
                    <a:pt x="1056" y="204"/>
                  </a:lnTo>
                  <a:lnTo>
                    <a:pt x="1050" y="204"/>
                  </a:lnTo>
                  <a:lnTo>
                    <a:pt x="1044" y="204"/>
                  </a:lnTo>
                  <a:lnTo>
                    <a:pt x="1038" y="204"/>
                  </a:lnTo>
                  <a:lnTo>
                    <a:pt x="1032" y="204"/>
                  </a:lnTo>
                  <a:lnTo>
                    <a:pt x="1026" y="204"/>
                  </a:lnTo>
                  <a:lnTo>
                    <a:pt x="1020" y="204"/>
                  </a:lnTo>
                  <a:lnTo>
                    <a:pt x="1014" y="204"/>
                  </a:lnTo>
                  <a:lnTo>
                    <a:pt x="1008" y="204"/>
                  </a:lnTo>
                  <a:lnTo>
                    <a:pt x="1002" y="204"/>
                  </a:lnTo>
                  <a:lnTo>
                    <a:pt x="996" y="204"/>
                  </a:lnTo>
                  <a:lnTo>
                    <a:pt x="984" y="204"/>
                  </a:lnTo>
                  <a:lnTo>
                    <a:pt x="984" y="198"/>
                  </a:lnTo>
                  <a:lnTo>
                    <a:pt x="978" y="198"/>
                  </a:lnTo>
                  <a:lnTo>
                    <a:pt x="966" y="198"/>
                  </a:lnTo>
                  <a:lnTo>
                    <a:pt x="948" y="192"/>
                  </a:lnTo>
                  <a:lnTo>
                    <a:pt x="942" y="192"/>
                  </a:lnTo>
                  <a:lnTo>
                    <a:pt x="936" y="192"/>
                  </a:lnTo>
                  <a:lnTo>
                    <a:pt x="924" y="192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12" y="186"/>
                  </a:lnTo>
                  <a:lnTo>
                    <a:pt x="906" y="186"/>
                  </a:lnTo>
                  <a:lnTo>
                    <a:pt x="900" y="186"/>
                  </a:lnTo>
                  <a:lnTo>
                    <a:pt x="894" y="186"/>
                  </a:lnTo>
                  <a:lnTo>
                    <a:pt x="888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76" y="180"/>
                  </a:lnTo>
                  <a:lnTo>
                    <a:pt x="870" y="180"/>
                  </a:lnTo>
                  <a:lnTo>
                    <a:pt x="864" y="180"/>
                  </a:lnTo>
                  <a:lnTo>
                    <a:pt x="858" y="180"/>
                  </a:lnTo>
                  <a:lnTo>
                    <a:pt x="852" y="180"/>
                  </a:lnTo>
                  <a:lnTo>
                    <a:pt x="852" y="174"/>
                  </a:lnTo>
                  <a:lnTo>
                    <a:pt x="846" y="174"/>
                  </a:lnTo>
                  <a:lnTo>
                    <a:pt x="840" y="174"/>
                  </a:lnTo>
                  <a:lnTo>
                    <a:pt x="834" y="174"/>
                  </a:lnTo>
                  <a:lnTo>
                    <a:pt x="828" y="174"/>
                  </a:lnTo>
                  <a:lnTo>
                    <a:pt x="822" y="174"/>
                  </a:lnTo>
                  <a:lnTo>
                    <a:pt x="816" y="174"/>
                  </a:lnTo>
                  <a:lnTo>
                    <a:pt x="810" y="168"/>
                  </a:lnTo>
                  <a:lnTo>
                    <a:pt x="804" y="168"/>
                  </a:lnTo>
                  <a:lnTo>
                    <a:pt x="798" y="168"/>
                  </a:lnTo>
                  <a:lnTo>
                    <a:pt x="792" y="168"/>
                  </a:lnTo>
                  <a:lnTo>
                    <a:pt x="786" y="168"/>
                  </a:lnTo>
                  <a:lnTo>
                    <a:pt x="780" y="168"/>
                  </a:lnTo>
                  <a:lnTo>
                    <a:pt x="774" y="168"/>
                  </a:lnTo>
                  <a:lnTo>
                    <a:pt x="768" y="168"/>
                  </a:lnTo>
                  <a:lnTo>
                    <a:pt x="762" y="168"/>
                  </a:lnTo>
                  <a:lnTo>
                    <a:pt x="756" y="168"/>
                  </a:lnTo>
                  <a:lnTo>
                    <a:pt x="750" y="168"/>
                  </a:lnTo>
                  <a:lnTo>
                    <a:pt x="750" y="162"/>
                  </a:lnTo>
                  <a:lnTo>
                    <a:pt x="744" y="168"/>
                  </a:lnTo>
                  <a:lnTo>
                    <a:pt x="738" y="162"/>
                  </a:lnTo>
                  <a:lnTo>
                    <a:pt x="732" y="162"/>
                  </a:lnTo>
                  <a:lnTo>
                    <a:pt x="726" y="162"/>
                  </a:lnTo>
                  <a:lnTo>
                    <a:pt x="714" y="162"/>
                  </a:lnTo>
                  <a:lnTo>
                    <a:pt x="702" y="162"/>
                  </a:lnTo>
                  <a:lnTo>
                    <a:pt x="696" y="168"/>
                  </a:lnTo>
                  <a:lnTo>
                    <a:pt x="690" y="168"/>
                  </a:lnTo>
                  <a:lnTo>
                    <a:pt x="684" y="168"/>
                  </a:lnTo>
                  <a:lnTo>
                    <a:pt x="678" y="168"/>
                  </a:lnTo>
                  <a:lnTo>
                    <a:pt x="672" y="168"/>
                  </a:lnTo>
                  <a:lnTo>
                    <a:pt x="666" y="168"/>
                  </a:lnTo>
                  <a:lnTo>
                    <a:pt x="660" y="168"/>
                  </a:lnTo>
                  <a:lnTo>
                    <a:pt x="654" y="168"/>
                  </a:lnTo>
                  <a:lnTo>
                    <a:pt x="648" y="174"/>
                  </a:lnTo>
                  <a:lnTo>
                    <a:pt x="648" y="168"/>
                  </a:lnTo>
                  <a:lnTo>
                    <a:pt x="642" y="174"/>
                  </a:lnTo>
                  <a:lnTo>
                    <a:pt x="636" y="174"/>
                  </a:lnTo>
                  <a:lnTo>
                    <a:pt x="630" y="174"/>
                  </a:lnTo>
                  <a:lnTo>
                    <a:pt x="624" y="174"/>
                  </a:lnTo>
                  <a:lnTo>
                    <a:pt x="618" y="174"/>
                  </a:lnTo>
                  <a:lnTo>
                    <a:pt x="612" y="174"/>
                  </a:lnTo>
                  <a:lnTo>
                    <a:pt x="606" y="174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74"/>
                  </a:lnTo>
                  <a:lnTo>
                    <a:pt x="582" y="174"/>
                  </a:lnTo>
                  <a:lnTo>
                    <a:pt x="576" y="174"/>
                  </a:lnTo>
                  <a:lnTo>
                    <a:pt x="570" y="174"/>
                  </a:lnTo>
                  <a:lnTo>
                    <a:pt x="564" y="174"/>
                  </a:lnTo>
                  <a:lnTo>
                    <a:pt x="558" y="174"/>
                  </a:lnTo>
                  <a:lnTo>
                    <a:pt x="552" y="174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0" y="174"/>
                  </a:lnTo>
                  <a:lnTo>
                    <a:pt x="504" y="174"/>
                  </a:lnTo>
                  <a:lnTo>
                    <a:pt x="498" y="174"/>
                  </a:lnTo>
                  <a:lnTo>
                    <a:pt x="492" y="174"/>
                  </a:lnTo>
                  <a:lnTo>
                    <a:pt x="486" y="174"/>
                  </a:lnTo>
                  <a:lnTo>
                    <a:pt x="480" y="174"/>
                  </a:lnTo>
                  <a:lnTo>
                    <a:pt x="474" y="174"/>
                  </a:lnTo>
                  <a:lnTo>
                    <a:pt x="468" y="174"/>
                  </a:lnTo>
                  <a:lnTo>
                    <a:pt x="462" y="174"/>
                  </a:lnTo>
                  <a:lnTo>
                    <a:pt x="456" y="174"/>
                  </a:lnTo>
                  <a:lnTo>
                    <a:pt x="450" y="180"/>
                  </a:lnTo>
                  <a:lnTo>
                    <a:pt x="450" y="186"/>
                  </a:lnTo>
                  <a:lnTo>
                    <a:pt x="450" y="192"/>
                  </a:lnTo>
                  <a:lnTo>
                    <a:pt x="444" y="192"/>
                  </a:lnTo>
                  <a:lnTo>
                    <a:pt x="444" y="186"/>
                  </a:lnTo>
                  <a:lnTo>
                    <a:pt x="444" y="180"/>
                  </a:lnTo>
                  <a:lnTo>
                    <a:pt x="450" y="180"/>
                  </a:lnTo>
                  <a:lnTo>
                    <a:pt x="450" y="174"/>
                  </a:lnTo>
                  <a:lnTo>
                    <a:pt x="450" y="168"/>
                  </a:lnTo>
                  <a:lnTo>
                    <a:pt x="450" y="162"/>
                  </a:lnTo>
                  <a:lnTo>
                    <a:pt x="456" y="162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62" y="162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74" y="168"/>
                  </a:lnTo>
                  <a:lnTo>
                    <a:pt x="480" y="168"/>
                  </a:lnTo>
                  <a:lnTo>
                    <a:pt x="480" y="162"/>
                  </a:lnTo>
                  <a:lnTo>
                    <a:pt x="480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56"/>
                  </a:lnTo>
                  <a:lnTo>
                    <a:pt x="492" y="156"/>
                  </a:lnTo>
                  <a:lnTo>
                    <a:pt x="486" y="150"/>
                  </a:lnTo>
                  <a:lnTo>
                    <a:pt x="492" y="150"/>
                  </a:lnTo>
                  <a:lnTo>
                    <a:pt x="498" y="150"/>
                  </a:lnTo>
                  <a:lnTo>
                    <a:pt x="498" y="156"/>
                  </a:lnTo>
                  <a:lnTo>
                    <a:pt x="504" y="156"/>
                  </a:lnTo>
                  <a:lnTo>
                    <a:pt x="504" y="162"/>
                  </a:lnTo>
                  <a:lnTo>
                    <a:pt x="504" y="156"/>
                  </a:lnTo>
                  <a:lnTo>
                    <a:pt x="510" y="156"/>
                  </a:lnTo>
                  <a:lnTo>
                    <a:pt x="510" y="150"/>
                  </a:lnTo>
                  <a:lnTo>
                    <a:pt x="516" y="150"/>
                  </a:lnTo>
                  <a:lnTo>
                    <a:pt x="522" y="150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28" y="150"/>
                  </a:lnTo>
                  <a:lnTo>
                    <a:pt x="528" y="144"/>
                  </a:lnTo>
                  <a:lnTo>
                    <a:pt x="540" y="144"/>
                  </a:lnTo>
                  <a:lnTo>
                    <a:pt x="546" y="144"/>
                  </a:lnTo>
                  <a:lnTo>
                    <a:pt x="552" y="138"/>
                  </a:lnTo>
                  <a:lnTo>
                    <a:pt x="552" y="132"/>
                  </a:lnTo>
                  <a:lnTo>
                    <a:pt x="558" y="132"/>
                  </a:lnTo>
                  <a:lnTo>
                    <a:pt x="558" y="126"/>
                  </a:lnTo>
                  <a:lnTo>
                    <a:pt x="558" y="120"/>
                  </a:lnTo>
                  <a:lnTo>
                    <a:pt x="558" y="114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6" y="114"/>
                  </a:lnTo>
                  <a:lnTo>
                    <a:pt x="582" y="120"/>
                  </a:lnTo>
                  <a:lnTo>
                    <a:pt x="588" y="120"/>
                  </a:lnTo>
                  <a:lnTo>
                    <a:pt x="588" y="126"/>
                  </a:lnTo>
                  <a:lnTo>
                    <a:pt x="588" y="120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600" y="114"/>
                  </a:lnTo>
                  <a:lnTo>
                    <a:pt x="606" y="114"/>
                  </a:lnTo>
                  <a:lnTo>
                    <a:pt x="618" y="114"/>
                  </a:lnTo>
                  <a:lnTo>
                    <a:pt x="618" y="108"/>
                  </a:lnTo>
                  <a:lnTo>
                    <a:pt x="624" y="108"/>
                  </a:lnTo>
                  <a:lnTo>
                    <a:pt x="624" y="102"/>
                  </a:lnTo>
                  <a:lnTo>
                    <a:pt x="630" y="102"/>
                  </a:lnTo>
                  <a:lnTo>
                    <a:pt x="636" y="102"/>
                  </a:lnTo>
                  <a:lnTo>
                    <a:pt x="636" y="108"/>
                  </a:lnTo>
                  <a:lnTo>
                    <a:pt x="642" y="108"/>
                  </a:lnTo>
                  <a:lnTo>
                    <a:pt x="648" y="108"/>
                  </a:lnTo>
                  <a:lnTo>
                    <a:pt x="648" y="102"/>
                  </a:lnTo>
                  <a:lnTo>
                    <a:pt x="654" y="102"/>
                  </a:lnTo>
                  <a:lnTo>
                    <a:pt x="660" y="102"/>
                  </a:lnTo>
                  <a:lnTo>
                    <a:pt x="660" y="96"/>
                  </a:lnTo>
                  <a:lnTo>
                    <a:pt x="660" y="90"/>
                  </a:lnTo>
                  <a:lnTo>
                    <a:pt x="666" y="90"/>
                  </a:lnTo>
                  <a:lnTo>
                    <a:pt x="666" y="84"/>
                  </a:lnTo>
                  <a:lnTo>
                    <a:pt x="672" y="78"/>
                  </a:lnTo>
                  <a:lnTo>
                    <a:pt x="672" y="72"/>
                  </a:lnTo>
                  <a:lnTo>
                    <a:pt x="678" y="66"/>
                  </a:lnTo>
                  <a:lnTo>
                    <a:pt x="684" y="66"/>
                  </a:lnTo>
                  <a:lnTo>
                    <a:pt x="684" y="60"/>
                  </a:lnTo>
                  <a:lnTo>
                    <a:pt x="690" y="60"/>
                  </a:lnTo>
                  <a:lnTo>
                    <a:pt x="696" y="60"/>
                  </a:lnTo>
                  <a:lnTo>
                    <a:pt x="702" y="60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66"/>
                  </a:lnTo>
                  <a:lnTo>
                    <a:pt x="720" y="66"/>
                  </a:lnTo>
                  <a:lnTo>
                    <a:pt x="720" y="60"/>
                  </a:lnTo>
                  <a:lnTo>
                    <a:pt x="726" y="60"/>
                  </a:lnTo>
                  <a:lnTo>
                    <a:pt x="732" y="60"/>
                  </a:lnTo>
                  <a:lnTo>
                    <a:pt x="744" y="60"/>
                  </a:lnTo>
                  <a:lnTo>
                    <a:pt x="750" y="54"/>
                  </a:lnTo>
                  <a:lnTo>
                    <a:pt x="762" y="60"/>
                  </a:lnTo>
                  <a:lnTo>
                    <a:pt x="774" y="60"/>
                  </a:lnTo>
                  <a:lnTo>
                    <a:pt x="774" y="66"/>
                  </a:lnTo>
                  <a:lnTo>
                    <a:pt x="780" y="72"/>
                  </a:lnTo>
                  <a:lnTo>
                    <a:pt x="786" y="78"/>
                  </a:lnTo>
                  <a:lnTo>
                    <a:pt x="792" y="78"/>
                  </a:lnTo>
                  <a:lnTo>
                    <a:pt x="810" y="84"/>
                  </a:lnTo>
                  <a:lnTo>
                    <a:pt x="822" y="84"/>
                  </a:lnTo>
                  <a:lnTo>
                    <a:pt x="828" y="84"/>
                  </a:lnTo>
                  <a:lnTo>
                    <a:pt x="834" y="84"/>
                  </a:lnTo>
                  <a:lnTo>
                    <a:pt x="840" y="96"/>
                  </a:lnTo>
                  <a:lnTo>
                    <a:pt x="846" y="102"/>
                  </a:lnTo>
                  <a:lnTo>
                    <a:pt x="858" y="102"/>
                  </a:lnTo>
                  <a:lnTo>
                    <a:pt x="864" y="102"/>
                  </a:lnTo>
                  <a:lnTo>
                    <a:pt x="876" y="96"/>
                  </a:lnTo>
                  <a:lnTo>
                    <a:pt x="882" y="102"/>
                  </a:lnTo>
                  <a:lnTo>
                    <a:pt x="888" y="108"/>
                  </a:lnTo>
                  <a:lnTo>
                    <a:pt x="888" y="114"/>
                  </a:lnTo>
                  <a:lnTo>
                    <a:pt x="888" y="120"/>
                  </a:lnTo>
                  <a:lnTo>
                    <a:pt x="888" y="126"/>
                  </a:lnTo>
                  <a:lnTo>
                    <a:pt x="888" y="132"/>
                  </a:lnTo>
                  <a:lnTo>
                    <a:pt x="882" y="132"/>
                  </a:lnTo>
                  <a:lnTo>
                    <a:pt x="864" y="126"/>
                  </a:lnTo>
                  <a:lnTo>
                    <a:pt x="852" y="120"/>
                  </a:lnTo>
                  <a:lnTo>
                    <a:pt x="840" y="126"/>
                  </a:lnTo>
                  <a:lnTo>
                    <a:pt x="834" y="120"/>
                  </a:lnTo>
                  <a:lnTo>
                    <a:pt x="828" y="120"/>
                  </a:lnTo>
                  <a:lnTo>
                    <a:pt x="822" y="120"/>
                  </a:lnTo>
                  <a:lnTo>
                    <a:pt x="810" y="114"/>
                  </a:lnTo>
                  <a:lnTo>
                    <a:pt x="804" y="114"/>
                  </a:lnTo>
                  <a:lnTo>
                    <a:pt x="798" y="114"/>
                  </a:lnTo>
                  <a:lnTo>
                    <a:pt x="792" y="114"/>
                  </a:lnTo>
                  <a:lnTo>
                    <a:pt x="786" y="114"/>
                  </a:lnTo>
                  <a:lnTo>
                    <a:pt x="780" y="114"/>
                  </a:lnTo>
                  <a:lnTo>
                    <a:pt x="780" y="126"/>
                  </a:lnTo>
                  <a:lnTo>
                    <a:pt x="786" y="126"/>
                  </a:lnTo>
                  <a:lnTo>
                    <a:pt x="798" y="126"/>
                  </a:lnTo>
                  <a:lnTo>
                    <a:pt x="804" y="126"/>
                  </a:lnTo>
                  <a:lnTo>
                    <a:pt x="822" y="132"/>
                  </a:lnTo>
                  <a:lnTo>
                    <a:pt x="828" y="132"/>
                  </a:lnTo>
                  <a:lnTo>
                    <a:pt x="834" y="132"/>
                  </a:lnTo>
                  <a:lnTo>
                    <a:pt x="840" y="144"/>
                  </a:lnTo>
                  <a:lnTo>
                    <a:pt x="846" y="150"/>
                  </a:lnTo>
                  <a:lnTo>
                    <a:pt x="858" y="150"/>
                  </a:lnTo>
                  <a:lnTo>
                    <a:pt x="864" y="162"/>
                  </a:lnTo>
                  <a:lnTo>
                    <a:pt x="870" y="162"/>
                  </a:lnTo>
                  <a:lnTo>
                    <a:pt x="876" y="168"/>
                  </a:lnTo>
                  <a:lnTo>
                    <a:pt x="888" y="168"/>
                  </a:lnTo>
                  <a:lnTo>
                    <a:pt x="894" y="174"/>
                  </a:lnTo>
                  <a:lnTo>
                    <a:pt x="900" y="174"/>
                  </a:lnTo>
                  <a:lnTo>
                    <a:pt x="918" y="174"/>
                  </a:lnTo>
                  <a:lnTo>
                    <a:pt x="924" y="174"/>
                  </a:lnTo>
                  <a:lnTo>
                    <a:pt x="930" y="174"/>
                  </a:lnTo>
                  <a:lnTo>
                    <a:pt x="942" y="174"/>
                  </a:lnTo>
                  <a:lnTo>
                    <a:pt x="954" y="174"/>
                  </a:lnTo>
                  <a:lnTo>
                    <a:pt x="960" y="174"/>
                  </a:lnTo>
                  <a:lnTo>
                    <a:pt x="966" y="174"/>
                  </a:lnTo>
                  <a:lnTo>
                    <a:pt x="966" y="168"/>
                  </a:lnTo>
                  <a:lnTo>
                    <a:pt x="972" y="162"/>
                  </a:lnTo>
                  <a:lnTo>
                    <a:pt x="972" y="156"/>
                  </a:lnTo>
                  <a:close/>
                  <a:moveTo>
                    <a:pt x="942" y="174"/>
                  </a:moveTo>
                  <a:lnTo>
                    <a:pt x="936" y="174"/>
                  </a:lnTo>
                  <a:lnTo>
                    <a:pt x="936" y="168"/>
                  </a:lnTo>
                  <a:lnTo>
                    <a:pt x="936" y="162"/>
                  </a:lnTo>
                  <a:lnTo>
                    <a:pt x="948" y="162"/>
                  </a:lnTo>
                  <a:lnTo>
                    <a:pt x="948" y="156"/>
                  </a:lnTo>
                  <a:lnTo>
                    <a:pt x="954" y="156"/>
                  </a:lnTo>
                  <a:lnTo>
                    <a:pt x="960" y="156"/>
                  </a:lnTo>
                  <a:lnTo>
                    <a:pt x="966" y="156"/>
                  </a:lnTo>
                  <a:lnTo>
                    <a:pt x="966" y="162"/>
                  </a:lnTo>
                  <a:lnTo>
                    <a:pt x="960" y="168"/>
                  </a:lnTo>
                  <a:lnTo>
                    <a:pt x="942" y="174"/>
                  </a:lnTo>
                  <a:close/>
                  <a:moveTo>
                    <a:pt x="900" y="168"/>
                  </a:moveTo>
                  <a:lnTo>
                    <a:pt x="894" y="168"/>
                  </a:lnTo>
                  <a:lnTo>
                    <a:pt x="882" y="156"/>
                  </a:lnTo>
                  <a:lnTo>
                    <a:pt x="882" y="150"/>
                  </a:lnTo>
                  <a:lnTo>
                    <a:pt x="888" y="156"/>
                  </a:lnTo>
                  <a:lnTo>
                    <a:pt x="894" y="150"/>
                  </a:lnTo>
                  <a:lnTo>
                    <a:pt x="900" y="150"/>
                  </a:lnTo>
                  <a:lnTo>
                    <a:pt x="906" y="150"/>
                  </a:lnTo>
                  <a:lnTo>
                    <a:pt x="912" y="150"/>
                  </a:lnTo>
                  <a:lnTo>
                    <a:pt x="924" y="150"/>
                  </a:lnTo>
                  <a:lnTo>
                    <a:pt x="924" y="156"/>
                  </a:lnTo>
                  <a:lnTo>
                    <a:pt x="924" y="162"/>
                  </a:lnTo>
                  <a:lnTo>
                    <a:pt x="924" y="168"/>
                  </a:lnTo>
                  <a:lnTo>
                    <a:pt x="918" y="168"/>
                  </a:lnTo>
                  <a:lnTo>
                    <a:pt x="906" y="168"/>
                  </a:lnTo>
                  <a:lnTo>
                    <a:pt x="900" y="168"/>
                  </a:lnTo>
                  <a:close/>
                  <a:moveTo>
                    <a:pt x="870" y="162"/>
                  </a:moveTo>
                  <a:lnTo>
                    <a:pt x="876" y="162"/>
                  </a:lnTo>
                  <a:lnTo>
                    <a:pt x="876" y="168"/>
                  </a:lnTo>
                  <a:lnTo>
                    <a:pt x="870" y="168"/>
                  </a:lnTo>
                  <a:lnTo>
                    <a:pt x="870" y="162"/>
                  </a:lnTo>
                  <a:close/>
                  <a:moveTo>
                    <a:pt x="450" y="162"/>
                  </a:moveTo>
                  <a:lnTo>
                    <a:pt x="444" y="162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2" y="150"/>
                  </a:lnTo>
                  <a:lnTo>
                    <a:pt x="438" y="150"/>
                  </a:lnTo>
                  <a:lnTo>
                    <a:pt x="438" y="144"/>
                  </a:lnTo>
                  <a:lnTo>
                    <a:pt x="438" y="150"/>
                  </a:lnTo>
                  <a:lnTo>
                    <a:pt x="444" y="150"/>
                  </a:lnTo>
                  <a:lnTo>
                    <a:pt x="450" y="150"/>
                  </a:lnTo>
                  <a:lnTo>
                    <a:pt x="450" y="156"/>
                  </a:lnTo>
                  <a:lnTo>
                    <a:pt x="456" y="156"/>
                  </a:lnTo>
                  <a:lnTo>
                    <a:pt x="456" y="150"/>
                  </a:lnTo>
                  <a:lnTo>
                    <a:pt x="456" y="156"/>
                  </a:lnTo>
                  <a:lnTo>
                    <a:pt x="462" y="150"/>
                  </a:lnTo>
                  <a:lnTo>
                    <a:pt x="462" y="144"/>
                  </a:lnTo>
                  <a:lnTo>
                    <a:pt x="468" y="144"/>
                  </a:lnTo>
                  <a:lnTo>
                    <a:pt x="468" y="150"/>
                  </a:lnTo>
                  <a:lnTo>
                    <a:pt x="474" y="150"/>
                  </a:lnTo>
                  <a:lnTo>
                    <a:pt x="480" y="150"/>
                  </a:lnTo>
                  <a:lnTo>
                    <a:pt x="480" y="156"/>
                  </a:lnTo>
                  <a:lnTo>
                    <a:pt x="480" y="162"/>
                  </a:lnTo>
                  <a:lnTo>
                    <a:pt x="474" y="162"/>
                  </a:lnTo>
                  <a:lnTo>
                    <a:pt x="474" y="168"/>
                  </a:lnTo>
                  <a:lnTo>
                    <a:pt x="474" y="162"/>
                  </a:lnTo>
                  <a:lnTo>
                    <a:pt x="468" y="162"/>
                  </a:lnTo>
                  <a:lnTo>
                    <a:pt x="462" y="162"/>
                  </a:lnTo>
                  <a:lnTo>
                    <a:pt x="456" y="162"/>
                  </a:lnTo>
                  <a:lnTo>
                    <a:pt x="450" y="16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6" name="Freeform 31">
              <a:extLst>
                <a:ext uri="{FF2B5EF4-FFF2-40B4-BE49-F238E27FC236}">
                  <a16:creationId xmlns:a16="http://schemas.microsoft.com/office/drawing/2014/main" id="{0989F057-38E8-4AA5-8B73-27F6355E235C}"/>
                </a:ext>
              </a:extLst>
            </p:cNvPr>
            <p:cNvSpPr>
              <a:spLocks/>
            </p:cNvSpPr>
            <p:nvPr/>
          </p:nvSpPr>
          <p:spPr bwMode="gray">
            <a:xfrm>
              <a:off x="792590" y="2728084"/>
              <a:ext cx="1182944" cy="740282"/>
            </a:xfrm>
            <a:custGeom>
              <a:avLst/>
              <a:gdLst>
                <a:gd name="T0" fmla="*/ 138 w 2226"/>
                <a:gd name="T1" fmla="*/ 121 h 1392"/>
                <a:gd name="T2" fmla="*/ 133 w 2226"/>
                <a:gd name="T3" fmla="*/ 119 h 1392"/>
                <a:gd name="T4" fmla="*/ 128 w 2226"/>
                <a:gd name="T5" fmla="*/ 117 h 1392"/>
                <a:gd name="T6" fmla="*/ 119 w 2226"/>
                <a:gd name="T7" fmla="*/ 116 h 1392"/>
                <a:gd name="T8" fmla="*/ 101 w 2226"/>
                <a:gd name="T9" fmla="*/ 116 h 1392"/>
                <a:gd name="T10" fmla="*/ 94 w 2226"/>
                <a:gd name="T11" fmla="*/ 104 h 1392"/>
                <a:gd name="T12" fmla="*/ 82 w 2226"/>
                <a:gd name="T13" fmla="*/ 83 h 1392"/>
                <a:gd name="T14" fmla="*/ 87 w 2226"/>
                <a:gd name="T15" fmla="*/ 69 h 1392"/>
                <a:gd name="T16" fmla="*/ 82 w 2226"/>
                <a:gd name="T17" fmla="*/ 65 h 1392"/>
                <a:gd name="T18" fmla="*/ 59 w 2226"/>
                <a:gd name="T19" fmla="*/ 57 h 1392"/>
                <a:gd name="T20" fmla="*/ 29 w 2226"/>
                <a:gd name="T21" fmla="*/ 77 h 1392"/>
                <a:gd name="T22" fmla="*/ 20 w 2226"/>
                <a:gd name="T23" fmla="*/ 78 h 1392"/>
                <a:gd name="T24" fmla="*/ 15 w 2226"/>
                <a:gd name="T25" fmla="*/ 82 h 1392"/>
                <a:gd name="T26" fmla="*/ 8 w 2226"/>
                <a:gd name="T27" fmla="*/ 86 h 1392"/>
                <a:gd name="T28" fmla="*/ 1 w 2226"/>
                <a:gd name="T29" fmla="*/ 88 h 1392"/>
                <a:gd name="T30" fmla="*/ 0 w 2226"/>
                <a:gd name="T31" fmla="*/ 82 h 1392"/>
                <a:gd name="T32" fmla="*/ 0 w 2226"/>
                <a:gd name="T33" fmla="*/ 76 h 1392"/>
                <a:gd name="T34" fmla="*/ 2 w 2226"/>
                <a:gd name="T35" fmla="*/ 70 h 1392"/>
                <a:gd name="T36" fmla="*/ 3 w 2226"/>
                <a:gd name="T37" fmla="*/ 65 h 1392"/>
                <a:gd name="T38" fmla="*/ 2 w 2226"/>
                <a:gd name="T39" fmla="*/ 63 h 1392"/>
                <a:gd name="T40" fmla="*/ 9 w 2226"/>
                <a:gd name="T41" fmla="*/ 60 h 1392"/>
                <a:gd name="T42" fmla="*/ 17 w 2226"/>
                <a:gd name="T43" fmla="*/ 59 h 1392"/>
                <a:gd name="T44" fmla="*/ 22 w 2226"/>
                <a:gd name="T45" fmla="*/ 51 h 1392"/>
                <a:gd name="T46" fmla="*/ 23 w 2226"/>
                <a:gd name="T47" fmla="*/ 43 h 1392"/>
                <a:gd name="T48" fmla="*/ 27 w 2226"/>
                <a:gd name="T49" fmla="*/ 34 h 1392"/>
                <a:gd name="T50" fmla="*/ 30 w 2226"/>
                <a:gd name="T51" fmla="*/ 27 h 1392"/>
                <a:gd name="T52" fmla="*/ 33 w 2226"/>
                <a:gd name="T53" fmla="*/ 22 h 1392"/>
                <a:gd name="T54" fmla="*/ 42 w 2226"/>
                <a:gd name="T55" fmla="*/ 17 h 1392"/>
                <a:gd name="T56" fmla="*/ 47 w 2226"/>
                <a:gd name="T57" fmla="*/ 14 h 1392"/>
                <a:gd name="T58" fmla="*/ 49 w 2226"/>
                <a:gd name="T59" fmla="*/ 5 h 1392"/>
                <a:gd name="T60" fmla="*/ 53 w 2226"/>
                <a:gd name="T61" fmla="*/ 0 h 1392"/>
                <a:gd name="T62" fmla="*/ 55 w 2226"/>
                <a:gd name="T63" fmla="*/ 4 h 1392"/>
                <a:gd name="T64" fmla="*/ 59 w 2226"/>
                <a:gd name="T65" fmla="*/ 7 h 1392"/>
                <a:gd name="T66" fmla="*/ 63 w 2226"/>
                <a:gd name="T67" fmla="*/ 7 h 1392"/>
                <a:gd name="T68" fmla="*/ 66 w 2226"/>
                <a:gd name="T69" fmla="*/ 9 h 1392"/>
                <a:gd name="T70" fmla="*/ 67 w 2226"/>
                <a:gd name="T71" fmla="*/ 12 h 1392"/>
                <a:gd name="T72" fmla="*/ 67 w 2226"/>
                <a:gd name="T73" fmla="*/ 13 h 1392"/>
                <a:gd name="T74" fmla="*/ 70 w 2226"/>
                <a:gd name="T75" fmla="*/ 15 h 1392"/>
                <a:gd name="T76" fmla="*/ 74 w 2226"/>
                <a:gd name="T77" fmla="*/ 17 h 1392"/>
                <a:gd name="T78" fmla="*/ 78 w 2226"/>
                <a:gd name="T79" fmla="*/ 18 h 1392"/>
                <a:gd name="T80" fmla="*/ 97 w 2226"/>
                <a:gd name="T81" fmla="*/ 40 h 1392"/>
                <a:gd name="T82" fmla="*/ 102 w 2226"/>
                <a:gd name="T83" fmla="*/ 44 h 1392"/>
                <a:gd name="T84" fmla="*/ 110 w 2226"/>
                <a:gd name="T85" fmla="*/ 49 h 1392"/>
                <a:gd name="T86" fmla="*/ 113 w 2226"/>
                <a:gd name="T87" fmla="*/ 53 h 1392"/>
                <a:gd name="T88" fmla="*/ 118 w 2226"/>
                <a:gd name="T89" fmla="*/ 57 h 1392"/>
                <a:gd name="T90" fmla="*/ 124 w 2226"/>
                <a:gd name="T91" fmla="*/ 54 h 1392"/>
                <a:gd name="T92" fmla="*/ 133 w 2226"/>
                <a:gd name="T93" fmla="*/ 58 h 1392"/>
                <a:gd name="T94" fmla="*/ 137 w 2226"/>
                <a:gd name="T95" fmla="*/ 64 h 1392"/>
                <a:gd name="T96" fmla="*/ 145 w 2226"/>
                <a:gd name="T97" fmla="*/ 65 h 1392"/>
                <a:gd name="T98" fmla="*/ 152 w 2226"/>
                <a:gd name="T99" fmla="*/ 67 h 1392"/>
                <a:gd name="T100" fmla="*/ 161 w 2226"/>
                <a:gd name="T101" fmla="*/ 72 h 1392"/>
                <a:gd name="T102" fmla="*/ 168 w 2226"/>
                <a:gd name="T103" fmla="*/ 76 h 1392"/>
                <a:gd name="T104" fmla="*/ 177 w 2226"/>
                <a:gd name="T105" fmla="*/ 78 h 1392"/>
                <a:gd name="T106" fmla="*/ 184 w 2226"/>
                <a:gd name="T107" fmla="*/ 78 h 1392"/>
                <a:gd name="T108" fmla="*/ 190 w 2226"/>
                <a:gd name="T109" fmla="*/ 81 h 1392"/>
                <a:gd name="T110" fmla="*/ 192 w 2226"/>
                <a:gd name="T111" fmla="*/ 86 h 1392"/>
                <a:gd name="T112" fmla="*/ 187 w 2226"/>
                <a:gd name="T113" fmla="*/ 99 h 1392"/>
                <a:gd name="T114" fmla="*/ 165 w 2226"/>
                <a:gd name="T115" fmla="*/ 97 h 1392"/>
                <a:gd name="T116" fmla="*/ 155 w 2226"/>
                <a:gd name="T117" fmla="*/ 92 h 1392"/>
                <a:gd name="T118" fmla="*/ 146 w 2226"/>
                <a:gd name="T119" fmla="*/ 102 h 1392"/>
                <a:gd name="T120" fmla="*/ 149 w 2226"/>
                <a:gd name="T121" fmla="*/ 106 h 1392"/>
                <a:gd name="T122" fmla="*/ 151 w 2226"/>
                <a:gd name="T123" fmla="*/ 108 h 1392"/>
                <a:gd name="T124" fmla="*/ 157 w 2226"/>
                <a:gd name="T125" fmla="*/ 113 h 13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1392"/>
                <a:gd name="T191" fmla="*/ 2226 w 2226"/>
                <a:gd name="T192" fmla="*/ 1392 h 13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1392">
                  <a:moveTo>
                    <a:pt x="1782" y="1326"/>
                  </a:moveTo>
                  <a:lnTo>
                    <a:pt x="1776" y="1332"/>
                  </a:lnTo>
                  <a:lnTo>
                    <a:pt x="1692" y="1338"/>
                  </a:lnTo>
                  <a:lnTo>
                    <a:pt x="1680" y="1386"/>
                  </a:lnTo>
                  <a:lnTo>
                    <a:pt x="1674" y="1392"/>
                  </a:lnTo>
                  <a:lnTo>
                    <a:pt x="1638" y="1392"/>
                  </a:lnTo>
                  <a:lnTo>
                    <a:pt x="1620" y="1392"/>
                  </a:lnTo>
                  <a:lnTo>
                    <a:pt x="1614" y="1392"/>
                  </a:lnTo>
                  <a:lnTo>
                    <a:pt x="1608" y="1386"/>
                  </a:lnTo>
                  <a:lnTo>
                    <a:pt x="1584" y="1386"/>
                  </a:lnTo>
                  <a:lnTo>
                    <a:pt x="1578" y="1386"/>
                  </a:lnTo>
                  <a:lnTo>
                    <a:pt x="1572" y="1380"/>
                  </a:lnTo>
                  <a:lnTo>
                    <a:pt x="1578" y="1356"/>
                  </a:lnTo>
                  <a:lnTo>
                    <a:pt x="1572" y="1356"/>
                  </a:lnTo>
                  <a:lnTo>
                    <a:pt x="1560" y="1350"/>
                  </a:lnTo>
                  <a:lnTo>
                    <a:pt x="1554" y="1350"/>
                  </a:lnTo>
                  <a:lnTo>
                    <a:pt x="1542" y="1350"/>
                  </a:lnTo>
                  <a:lnTo>
                    <a:pt x="1530" y="1350"/>
                  </a:lnTo>
                  <a:lnTo>
                    <a:pt x="1524" y="1356"/>
                  </a:lnTo>
                  <a:lnTo>
                    <a:pt x="1524" y="1362"/>
                  </a:lnTo>
                  <a:lnTo>
                    <a:pt x="1512" y="1374"/>
                  </a:lnTo>
                  <a:lnTo>
                    <a:pt x="1506" y="1374"/>
                  </a:lnTo>
                  <a:lnTo>
                    <a:pt x="1500" y="1368"/>
                  </a:lnTo>
                  <a:lnTo>
                    <a:pt x="1500" y="1362"/>
                  </a:lnTo>
                  <a:lnTo>
                    <a:pt x="1488" y="1362"/>
                  </a:lnTo>
                  <a:lnTo>
                    <a:pt x="1482" y="1356"/>
                  </a:lnTo>
                  <a:lnTo>
                    <a:pt x="1482" y="1350"/>
                  </a:lnTo>
                  <a:lnTo>
                    <a:pt x="1476" y="1350"/>
                  </a:lnTo>
                  <a:lnTo>
                    <a:pt x="1470" y="1344"/>
                  </a:lnTo>
                  <a:lnTo>
                    <a:pt x="1464" y="1344"/>
                  </a:lnTo>
                  <a:lnTo>
                    <a:pt x="1452" y="1350"/>
                  </a:lnTo>
                  <a:lnTo>
                    <a:pt x="1452" y="1356"/>
                  </a:lnTo>
                  <a:lnTo>
                    <a:pt x="1440" y="1356"/>
                  </a:lnTo>
                  <a:lnTo>
                    <a:pt x="1434" y="1344"/>
                  </a:lnTo>
                  <a:lnTo>
                    <a:pt x="1422" y="1332"/>
                  </a:lnTo>
                  <a:lnTo>
                    <a:pt x="1416" y="1326"/>
                  </a:lnTo>
                  <a:lnTo>
                    <a:pt x="1404" y="1320"/>
                  </a:lnTo>
                  <a:lnTo>
                    <a:pt x="1404" y="1314"/>
                  </a:lnTo>
                  <a:lnTo>
                    <a:pt x="1374" y="1308"/>
                  </a:lnTo>
                  <a:lnTo>
                    <a:pt x="1368" y="1326"/>
                  </a:lnTo>
                  <a:lnTo>
                    <a:pt x="1344" y="1338"/>
                  </a:lnTo>
                  <a:lnTo>
                    <a:pt x="1326" y="1332"/>
                  </a:lnTo>
                  <a:lnTo>
                    <a:pt x="1302" y="1332"/>
                  </a:lnTo>
                  <a:lnTo>
                    <a:pt x="1278" y="1338"/>
                  </a:lnTo>
                  <a:lnTo>
                    <a:pt x="1236" y="1338"/>
                  </a:lnTo>
                  <a:lnTo>
                    <a:pt x="1224" y="1338"/>
                  </a:lnTo>
                  <a:lnTo>
                    <a:pt x="1224" y="1326"/>
                  </a:lnTo>
                  <a:lnTo>
                    <a:pt x="1206" y="1326"/>
                  </a:lnTo>
                  <a:lnTo>
                    <a:pt x="1170" y="1326"/>
                  </a:lnTo>
                  <a:lnTo>
                    <a:pt x="1152" y="1326"/>
                  </a:lnTo>
                  <a:lnTo>
                    <a:pt x="1140" y="1314"/>
                  </a:lnTo>
                  <a:lnTo>
                    <a:pt x="1134" y="1296"/>
                  </a:lnTo>
                  <a:lnTo>
                    <a:pt x="1134" y="1284"/>
                  </a:lnTo>
                  <a:lnTo>
                    <a:pt x="1128" y="1254"/>
                  </a:lnTo>
                  <a:lnTo>
                    <a:pt x="1128" y="1242"/>
                  </a:lnTo>
                  <a:lnTo>
                    <a:pt x="1122" y="1230"/>
                  </a:lnTo>
                  <a:lnTo>
                    <a:pt x="1104" y="1218"/>
                  </a:lnTo>
                  <a:lnTo>
                    <a:pt x="1104" y="1212"/>
                  </a:lnTo>
                  <a:lnTo>
                    <a:pt x="1092" y="1206"/>
                  </a:lnTo>
                  <a:lnTo>
                    <a:pt x="1080" y="1194"/>
                  </a:lnTo>
                  <a:lnTo>
                    <a:pt x="1068" y="1176"/>
                  </a:lnTo>
                  <a:lnTo>
                    <a:pt x="1050" y="1152"/>
                  </a:lnTo>
                  <a:lnTo>
                    <a:pt x="1020" y="1098"/>
                  </a:lnTo>
                  <a:lnTo>
                    <a:pt x="978" y="1026"/>
                  </a:lnTo>
                  <a:lnTo>
                    <a:pt x="978" y="1014"/>
                  </a:lnTo>
                  <a:lnTo>
                    <a:pt x="972" y="1014"/>
                  </a:lnTo>
                  <a:lnTo>
                    <a:pt x="972" y="1008"/>
                  </a:lnTo>
                  <a:lnTo>
                    <a:pt x="978" y="1002"/>
                  </a:lnTo>
                  <a:lnTo>
                    <a:pt x="960" y="966"/>
                  </a:lnTo>
                  <a:lnTo>
                    <a:pt x="948" y="954"/>
                  </a:lnTo>
                  <a:lnTo>
                    <a:pt x="948" y="936"/>
                  </a:lnTo>
                  <a:lnTo>
                    <a:pt x="936" y="900"/>
                  </a:lnTo>
                  <a:lnTo>
                    <a:pt x="942" y="876"/>
                  </a:lnTo>
                  <a:lnTo>
                    <a:pt x="942" y="834"/>
                  </a:lnTo>
                  <a:lnTo>
                    <a:pt x="960" y="828"/>
                  </a:lnTo>
                  <a:lnTo>
                    <a:pt x="966" y="816"/>
                  </a:lnTo>
                  <a:lnTo>
                    <a:pt x="972" y="810"/>
                  </a:lnTo>
                  <a:lnTo>
                    <a:pt x="978" y="804"/>
                  </a:lnTo>
                  <a:lnTo>
                    <a:pt x="996" y="798"/>
                  </a:lnTo>
                  <a:lnTo>
                    <a:pt x="996" y="792"/>
                  </a:lnTo>
                  <a:lnTo>
                    <a:pt x="1014" y="780"/>
                  </a:lnTo>
                  <a:lnTo>
                    <a:pt x="1026" y="768"/>
                  </a:lnTo>
                  <a:lnTo>
                    <a:pt x="1032" y="762"/>
                  </a:lnTo>
                  <a:lnTo>
                    <a:pt x="1026" y="756"/>
                  </a:lnTo>
                  <a:lnTo>
                    <a:pt x="1014" y="744"/>
                  </a:lnTo>
                  <a:lnTo>
                    <a:pt x="996" y="756"/>
                  </a:lnTo>
                  <a:lnTo>
                    <a:pt x="954" y="768"/>
                  </a:lnTo>
                  <a:lnTo>
                    <a:pt x="942" y="762"/>
                  </a:lnTo>
                  <a:lnTo>
                    <a:pt x="942" y="756"/>
                  </a:lnTo>
                  <a:lnTo>
                    <a:pt x="936" y="750"/>
                  </a:lnTo>
                  <a:lnTo>
                    <a:pt x="846" y="732"/>
                  </a:lnTo>
                  <a:lnTo>
                    <a:pt x="822" y="726"/>
                  </a:lnTo>
                  <a:lnTo>
                    <a:pt x="810" y="714"/>
                  </a:lnTo>
                  <a:lnTo>
                    <a:pt x="792" y="690"/>
                  </a:lnTo>
                  <a:lnTo>
                    <a:pt x="792" y="678"/>
                  </a:lnTo>
                  <a:lnTo>
                    <a:pt x="762" y="642"/>
                  </a:lnTo>
                  <a:lnTo>
                    <a:pt x="750" y="636"/>
                  </a:lnTo>
                  <a:lnTo>
                    <a:pt x="726" y="630"/>
                  </a:lnTo>
                  <a:lnTo>
                    <a:pt x="696" y="642"/>
                  </a:lnTo>
                  <a:lnTo>
                    <a:pt x="678" y="654"/>
                  </a:lnTo>
                  <a:lnTo>
                    <a:pt x="666" y="684"/>
                  </a:lnTo>
                  <a:lnTo>
                    <a:pt x="660" y="726"/>
                  </a:lnTo>
                  <a:lnTo>
                    <a:pt x="606" y="756"/>
                  </a:lnTo>
                  <a:lnTo>
                    <a:pt x="558" y="780"/>
                  </a:lnTo>
                  <a:lnTo>
                    <a:pt x="438" y="834"/>
                  </a:lnTo>
                  <a:lnTo>
                    <a:pt x="402" y="846"/>
                  </a:lnTo>
                  <a:lnTo>
                    <a:pt x="372" y="870"/>
                  </a:lnTo>
                  <a:lnTo>
                    <a:pt x="360" y="876"/>
                  </a:lnTo>
                  <a:lnTo>
                    <a:pt x="354" y="876"/>
                  </a:lnTo>
                  <a:lnTo>
                    <a:pt x="330" y="882"/>
                  </a:lnTo>
                  <a:lnTo>
                    <a:pt x="306" y="882"/>
                  </a:lnTo>
                  <a:lnTo>
                    <a:pt x="300" y="876"/>
                  </a:lnTo>
                  <a:lnTo>
                    <a:pt x="294" y="876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76" y="864"/>
                  </a:lnTo>
                  <a:lnTo>
                    <a:pt x="270" y="870"/>
                  </a:lnTo>
                  <a:lnTo>
                    <a:pt x="264" y="870"/>
                  </a:lnTo>
                  <a:lnTo>
                    <a:pt x="240" y="894"/>
                  </a:lnTo>
                  <a:lnTo>
                    <a:pt x="234" y="894"/>
                  </a:lnTo>
                  <a:lnTo>
                    <a:pt x="228" y="900"/>
                  </a:lnTo>
                  <a:lnTo>
                    <a:pt x="222" y="906"/>
                  </a:lnTo>
                  <a:lnTo>
                    <a:pt x="210" y="912"/>
                  </a:lnTo>
                  <a:lnTo>
                    <a:pt x="204" y="912"/>
                  </a:lnTo>
                  <a:lnTo>
                    <a:pt x="198" y="912"/>
                  </a:lnTo>
                  <a:lnTo>
                    <a:pt x="192" y="918"/>
                  </a:lnTo>
                  <a:lnTo>
                    <a:pt x="180" y="918"/>
                  </a:lnTo>
                  <a:lnTo>
                    <a:pt x="174" y="930"/>
                  </a:lnTo>
                  <a:lnTo>
                    <a:pt x="174" y="936"/>
                  </a:lnTo>
                  <a:lnTo>
                    <a:pt x="168" y="942"/>
                  </a:lnTo>
                  <a:lnTo>
                    <a:pt x="162" y="942"/>
                  </a:lnTo>
                  <a:lnTo>
                    <a:pt x="150" y="960"/>
                  </a:lnTo>
                  <a:lnTo>
                    <a:pt x="144" y="966"/>
                  </a:lnTo>
                  <a:lnTo>
                    <a:pt x="138" y="972"/>
                  </a:lnTo>
                  <a:lnTo>
                    <a:pt x="132" y="972"/>
                  </a:lnTo>
                  <a:lnTo>
                    <a:pt x="126" y="984"/>
                  </a:lnTo>
                  <a:lnTo>
                    <a:pt x="120" y="984"/>
                  </a:lnTo>
                  <a:lnTo>
                    <a:pt x="114" y="990"/>
                  </a:lnTo>
                  <a:lnTo>
                    <a:pt x="96" y="990"/>
                  </a:lnTo>
                  <a:lnTo>
                    <a:pt x="90" y="990"/>
                  </a:lnTo>
                  <a:lnTo>
                    <a:pt x="78" y="990"/>
                  </a:lnTo>
                  <a:lnTo>
                    <a:pt x="72" y="990"/>
                  </a:lnTo>
                  <a:lnTo>
                    <a:pt x="60" y="990"/>
                  </a:lnTo>
                  <a:lnTo>
                    <a:pt x="42" y="990"/>
                  </a:lnTo>
                  <a:lnTo>
                    <a:pt x="36" y="996"/>
                  </a:lnTo>
                  <a:lnTo>
                    <a:pt x="30" y="1002"/>
                  </a:lnTo>
                  <a:lnTo>
                    <a:pt x="24" y="1014"/>
                  </a:lnTo>
                  <a:lnTo>
                    <a:pt x="24" y="1020"/>
                  </a:lnTo>
                  <a:lnTo>
                    <a:pt x="18" y="1020"/>
                  </a:lnTo>
                  <a:lnTo>
                    <a:pt x="12" y="1014"/>
                  </a:lnTo>
                  <a:lnTo>
                    <a:pt x="12" y="1008"/>
                  </a:lnTo>
                  <a:lnTo>
                    <a:pt x="12" y="990"/>
                  </a:lnTo>
                  <a:lnTo>
                    <a:pt x="12" y="984"/>
                  </a:lnTo>
                  <a:lnTo>
                    <a:pt x="12" y="972"/>
                  </a:lnTo>
                  <a:lnTo>
                    <a:pt x="12" y="966"/>
                  </a:lnTo>
                  <a:lnTo>
                    <a:pt x="6" y="966"/>
                  </a:lnTo>
                  <a:lnTo>
                    <a:pt x="6" y="960"/>
                  </a:lnTo>
                  <a:lnTo>
                    <a:pt x="6" y="954"/>
                  </a:lnTo>
                  <a:lnTo>
                    <a:pt x="6" y="948"/>
                  </a:lnTo>
                  <a:lnTo>
                    <a:pt x="6" y="942"/>
                  </a:lnTo>
                  <a:lnTo>
                    <a:pt x="12" y="930"/>
                  </a:lnTo>
                  <a:lnTo>
                    <a:pt x="6" y="924"/>
                  </a:lnTo>
                  <a:lnTo>
                    <a:pt x="6" y="918"/>
                  </a:lnTo>
                  <a:lnTo>
                    <a:pt x="6" y="912"/>
                  </a:lnTo>
                  <a:lnTo>
                    <a:pt x="6" y="906"/>
                  </a:lnTo>
                  <a:lnTo>
                    <a:pt x="6" y="900"/>
                  </a:lnTo>
                  <a:lnTo>
                    <a:pt x="0" y="894"/>
                  </a:lnTo>
                  <a:lnTo>
                    <a:pt x="0" y="888"/>
                  </a:lnTo>
                  <a:lnTo>
                    <a:pt x="0" y="882"/>
                  </a:lnTo>
                  <a:lnTo>
                    <a:pt x="6" y="876"/>
                  </a:lnTo>
                  <a:lnTo>
                    <a:pt x="6" y="870"/>
                  </a:lnTo>
                  <a:lnTo>
                    <a:pt x="18" y="864"/>
                  </a:lnTo>
                  <a:lnTo>
                    <a:pt x="18" y="858"/>
                  </a:lnTo>
                  <a:lnTo>
                    <a:pt x="18" y="846"/>
                  </a:lnTo>
                  <a:lnTo>
                    <a:pt x="18" y="834"/>
                  </a:lnTo>
                  <a:lnTo>
                    <a:pt x="18" y="828"/>
                  </a:lnTo>
                  <a:lnTo>
                    <a:pt x="24" y="828"/>
                  </a:lnTo>
                  <a:lnTo>
                    <a:pt x="24" y="810"/>
                  </a:lnTo>
                  <a:lnTo>
                    <a:pt x="24" y="804"/>
                  </a:lnTo>
                  <a:lnTo>
                    <a:pt x="18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24" y="792"/>
                  </a:lnTo>
                  <a:lnTo>
                    <a:pt x="30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6" y="762"/>
                  </a:lnTo>
                  <a:lnTo>
                    <a:pt x="36" y="756"/>
                  </a:lnTo>
                  <a:lnTo>
                    <a:pt x="30" y="756"/>
                  </a:lnTo>
                  <a:lnTo>
                    <a:pt x="30" y="750"/>
                  </a:lnTo>
                  <a:lnTo>
                    <a:pt x="36" y="750"/>
                  </a:lnTo>
                  <a:lnTo>
                    <a:pt x="36" y="744"/>
                  </a:lnTo>
                  <a:lnTo>
                    <a:pt x="30" y="744"/>
                  </a:lnTo>
                  <a:lnTo>
                    <a:pt x="30" y="738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0" y="732"/>
                  </a:lnTo>
                  <a:lnTo>
                    <a:pt x="36" y="726"/>
                  </a:lnTo>
                  <a:lnTo>
                    <a:pt x="30" y="726"/>
                  </a:lnTo>
                  <a:lnTo>
                    <a:pt x="24" y="726"/>
                  </a:lnTo>
                  <a:lnTo>
                    <a:pt x="30" y="720"/>
                  </a:lnTo>
                  <a:lnTo>
                    <a:pt x="30" y="714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696"/>
                  </a:lnTo>
                  <a:lnTo>
                    <a:pt x="66" y="702"/>
                  </a:lnTo>
                  <a:lnTo>
                    <a:pt x="78" y="702"/>
                  </a:lnTo>
                  <a:lnTo>
                    <a:pt x="84" y="702"/>
                  </a:lnTo>
                  <a:lnTo>
                    <a:pt x="96" y="696"/>
                  </a:lnTo>
                  <a:lnTo>
                    <a:pt x="102" y="690"/>
                  </a:lnTo>
                  <a:lnTo>
                    <a:pt x="102" y="684"/>
                  </a:lnTo>
                  <a:lnTo>
                    <a:pt x="114" y="684"/>
                  </a:lnTo>
                  <a:lnTo>
                    <a:pt x="144" y="684"/>
                  </a:lnTo>
                  <a:lnTo>
                    <a:pt x="150" y="690"/>
                  </a:lnTo>
                  <a:lnTo>
                    <a:pt x="162" y="696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6" y="690"/>
                  </a:lnTo>
                  <a:lnTo>
                    <a:pt x="192" y="690"/>
                  </a:lnTo>
                  <a:lnTo>
                    <a:pt x="198" y="684"/>
                  </a:lnTo>
                  <a:lnTo>
                    <a:pt x="204" y="684"/>
                  </a:lnTo>
                  <a:lnTo>
                    <a:pt x="210" y="684"/>
                  </a:lnTo>
                  <a:lnTo>
                    <a:pt x="222" y="678"/>
                  </a:lnTo>
                  <a:lnTo>
                    <a:pt x="228" y="678"/>
                  </a:lnTo>
                  <a:lnTo>
                    <a:pt x="228" y="660"/>
                  </a:lnTo>
                  <a:lnTo>
                    <a:pt x="234" y="642"/>
                  </a:lnTo>
                  <a:lnTo>
                    <a:pt x="246" y="618"/>
                  </a:lnTo>
                  <a:lnTo>
                    <a:pt x="252" y="618"/>
                  </a:lnTo>
                  <a:lnTo>
                    <a:pt x="252" y="600"/>
                  </a:lnTo>
                  <a:lnTo>
                    <a:pt x="252" y="588"/>
                  </a:lnTo>
                  <a:lnTo>
                    <a:pt x="252" y="582"/>
                  </a:lnTo>
                  <a:lnTo>
                    <a:pt x="258" y="576"/>
                  </a:lnTo>
                  <a:lnTo>
                    <a:pt x="270" y="564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70" y="522"/>
                  </a:lnTo>
                  <a:lnTo>
                    <a:pt x="270" y="510"/>
                  </a:lnTo>
                  <a:lnTo>
                    <a:pt x="270" y="498"/>
                  </a:lnTo>
                  <a:lnTo>
                    <a:pt x="258" y="468"/>
                  </a:lnTo>
                  <a:lnTo>
                    <a:pt x="252" y="456"/>
                  </a:lnTo>
                  <a:lnTo>
                    <a:pt x="258" y="444"/>
                  </a:lnTo>
                  <a:lnTo>
                    <a:pt x="264" y="432"/>
                  </a:lnTo>
                  <a:lnTo>
                    <a:pt x="270" y="426"/>
                  </a:lnTo>
                  <a:lnTo>
                    <a:pt x="276" y="420"/>
                  </a:lnTo>
                  <a:lnTo>
                    <a:pt x="288" y="420"/>
                  </a:lnTo>
                  <a:lnTo>
                    <a:pt x="288" y="414"/>
                  </a:lnTo>
                  <a:lnTo>
                    <a:pt x="294" y="414"/>
                  </a:lnTo>
                  <a:lnTo>
                    <a:pt x="306" y="390"/>
                  </a:lnTo>
                  <a:lnTo>
                    <a:pt x="312" y="384"/>
                  </a:lnTo>
                  <a:lnTo>
                    <a:pt x="318" y="378"/>
                  </a:lnTo>
                  <a:lnTo>
                    <a:pt x="318" y="372"/>
                  </a:lnTo>
                  <a:lnTo>
                    <a:pt x="324" y="366"/>
                  </a:lnTo>
                  <a:lnTo>
                    <a:pt x="330" y="354"/>
                  </a:lnTo>
                  <a:lnTo>
                    <a:pt x="336" y="348"/>
                  </a:lnTo>
                  <a:lnTo>
                    <a:pt x="336" y="330"/>
                  </a:lnTo>
                  <a:lnTo>
                    <a:pt x="342" y="324"/>
                  </a:lnTo>
                  <a:lnTo>
                    <a:pt x="342" y="318"/>
                  </a:lnTo>
                  <a:lnTo>
                    <a:pt x="348" y="318"/>
                  </a:lnTo>
                  <a:lnTo>
                    <a:pt x="360" y="318"/>
                  </a:lnTo>
                  <a:lnTo>
                    <a:pt x="372" y="318"/>
                  </a:lnTo>
                  <a:lnTo>
                    <a:pt x="384" y="306"/>
                  </a:lnTo>
                  <a:lnTo>
                    <a:pt x="396" y="300"/>
                  </a:lnTo>
                  <a:lnTo>
                    <a:pt x="396" y="294"/>
                  </a:lnTo>
                  <a:lnTo>
                    <a:pt x="396" y="288"/>
                  </a:lnTo>
                  <a:lnTo>
                    <a:pt x="390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2"/>
                  </a:lnTo>
                  <a:lnTo>
                    <a:pt x="378" y="246"/>
                  </a:lnTo>
                  <a:lnTo>
                    <a:pt x="384" y="228"/>
                  </a:lnTo>
                  <a:lnTo>
                    <a:pt x="390" y="216"/>
                  </a:lnTo>
                  <a:lnTo>
                    <a:pt x="402" y="210"/>
                  </a:lnTo>
                  <a:lnTo>
                    <a:pt x="408" y="210"/>
                  </a:lnTo>
                  <a:lnTo>
                    <a:pt x="420" y="204"/>
                  </a:lnTo>
                  <a:lnTo>
                    <a:pt x="444" y="198"/>
                  </a:lnTo>
                  <a:lnTo>
                    <a:pt x="462" y="192"/>
                  </a:lnTo>
                  <a:lnTo>
                    <a:pt x="474" y="186"/>
                  </a:lnTo>
                  <a:lnTo>
                    <a:pt x="480" y="192"/>
                  </a:lnTo>
                  <a:lnTo>
                    <a:pt x="492" y="192"/>
                  </a:lnTo>
                  <a:lnTo>
                    <a:pt x="498" y="192"/>
                  </a:lnTo>
                  <a:lnTo>
                    <a:pt x="504" y="192"/>
                  </a:lnTo>
                  <a:lnTo>
                    <a:pt x="510" y="192"/>
                  </a:lnTo>
                  <a:lnTo>
                    <a:pt x="516" y="186"/>
                  </a:lnTo>
                  <a:lnTo>
                    <a:pt x="522" y="180"/>
                  </a:lnTo>
                  <a:lnTo>
                    <a:pt x="522" y="174"/>
                  </a:lnTo>
                  <a:lnTo>
                    <a:pt x="528" y="168"/>
                  </a:lnTo>
                  <a:lnTo>
                    <a:pt x="534" y="168"/>
                  </a:lnTo>
                  <a:lnTo>
                    <a:pt x="534" y="156"/>
                  </a:lnTo>
                  <a:lnTo>
                    <a:pt x="534" y="150"/>
                  </a:lnTo>
                  <a:lnTo>
                    <a:pt x="552" y="138"/>
                  </a:lnTo>
                  <a:lnTo>
                    <a:pt x="558" y="126"/>
                  </a:lnTo>
                  <a:lnTo>
                    <a:pt x="558" y="114"/>
                  </a:lnTo>
                  <a:lnTo>
                    <a:pt x="564" y="102"/>
                  </a:lnTo>
                  <a:lnTo>
                    <a:pt x="564" y="96"/>
                  </a:lnTo>
                  <a:lnTo>
                    <a:pt x="564" y="90"/>
                  </a:lnTo>
                  <a:lnTo>
                    <a:pt x="564" y="72"/>
                  </a:lnTo>
                  <a:lnTo>
                    <a:pt x="564" y="60"/>
                  </a:lnTo>
                  <a:lnTo>
                    <a:pt x="564" y="54"/>
                  </a:lnTo>
                  <a:lnTo>
                    <a:pt x="570" y="42"/>
                  </a:lnTo>
                  <a:lnTo>
                    <a:pt x="576" y="42"/>
                  </a:lnTo>
                  <a:lnTo>
                    <a:pt x="582" y="36"/>
                  </a:lnTo>
                  <a:lnTo>
                    <a:pt x="594" y="36"/>
                  </a:lnTo>
                  <a:lnTo>
                    <a:pt x="594" y="30"/>
                  </a:lnTo>
                  <a:lnTo>
                    <a:pt x="600" y="24"/>
                  </a:lnTo>
                  <a:lnTo>
                    <a:pt x="600" y="12"/>
                  </a:lnTo>
                  <a:lnTo>
                    <a:pt x="606" y="6"/>
                  </a:lnTo>
                  <a:lnTo>
                    <a:pt x="606" y="0"/>
                  </a:lnTo>
                  <a:lnTo>
                    <a:pt x="612" y="0"/>
                  </a:lnTo>
                  <a:lnTo>
                    <a:pt x="618" y="0"/>
                  </a:lnTo>
                  <a:lnTo>
                    <a:pt x="624" y="6"/>
                  </a:lnTo>
                  <a:lnTo>
                    <a:pt x="624" y="12"/>
                  </a:lnTo>
                  <a:lnTo>
                    <a:pt x="624" y="18"/>
                  </a:lnTo>
                  <a:lnTo>
                    <a:pt x="624" y="24"/>
                  </a:lnTo>
                  <a:lnTo>
                    <a:pt x="624" y="30"/>
                  </a:lnTo>
                  <a:lnTo>
                    <a:pt x="630" y="30"/>
                  </a:lnTo>
                  <a:lnTo>
                    <a:pt x="630" y="36"/>
                  </a:lnTo>
                  <a:lnTo>
                    <a:pt x="630" y="42"/>
                  </a:lnTo>
                  <a:lnTo>
                    <a:pt x="630" y="48"/>
                  </a:lnTo>
                  <a:lnTo>
                    <a:pt x="636" y="54"/>
                  </a:lnTo>
                  <a:lnTo>
                    <a:pt x="642" y="48"/>
                  </a:lnTo>
                  <a:lnTo>
                    <a:pt x="648" y="48"/>
                  </a:lnTo>
                  <a:lnTo>
                    <a:pt x="648" y="60"/>
                  </a:lnTo>
                  <a:lnTo>
                    <a:pt x="654" y="66"/>
                  </a:lnTo>
                  <a:lnTo>
                    <a:pt x="660" y="72"/>
                  </a:lnTo>
                  <a:lnTo>
                    <a:pt x="666" y="72"/>
                  </a:lnTo>
                  <a:lnTo>
                    <a:pt x="666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72" y="66"/>
                  </a:lnTo>
                  <a:lnTo>
                    <a:pt x="678" y="66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6" y="66"/>
                  </a:lnTo>
                  <a:lnTo>
                    <a:pt x="696" y="72"/>
                  </a:lnTo>
                  <a:lnTo>
                    <a:pt x="702" y="72"/>
                  </a:lnTo>
                  <a:lnTo>
                    <a:pt x="708" y="72"/>
                  </a:lnTo>
                  <a:lnTo>
                    <a:pt x="720" y="66"/>
                  </a:lnTo>
                  <a:lnTo>
                    <a:pt x="726" y="78"/>
                  </a:lnTo>
                  <a:lnTo>
                    <a:pt x="744" y="84"/>
                  </a:lnTo>
                  <a:lnTo>
                    <a:pt x="744" y="90"/>
                  </a:lnTo>
                  <a:lnTo>
                    <a:pt x="744" y="96"/>
                  </a:lnTo>
                  <a:lnTo>
                    <a:pt x="738" y="96"/>
                  </a:lnTo>
                  <a:lnTo>
                    <a:pt x="738" y="102"/>
                  </a:lnTo>
                  <a:lnTo>
                    <a:pt x="732" y="102"/>
                  </a:lnTo>
                  <a:lnTo>
                    <a:pt x="732" y="108"/>
                  </a:lnTo>
                  <a:lnTo>
                    <a:pt x="738" y="108"/>
                  </a:lnTo>
                  <a:lnTo>
                    <a:pt x="744" y="114"/>
                  </a:lnTo>
                  <a:lnTo>
                    <a:pt x="750" y="108"/>
                  </a:lnTo>
                  <a:lnTo>
                    <a:pt x="756" y="108"/>
                  </a:lnTo>
                  <a:lnTo>
                    <a:pt x="762" y="108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80" y="120"/>
                  </a:lnTo>
                  <a:lnTo>
                    <a:pt x="774" y="120"/>
                  </a:lnTo>
                  <a:lnTo>
                    <a:pt x="768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74" y="138"/>
                  </a:lnTo>
                  <a:lnTo>
                    <a:pt x="774" y="132"/>
                  </a:lnTo>
                  <a:lnTo>
                    <a:pt x="780" y="132"/>
                  </a:lnTo>
                  <a:lnTo>
                    <a:pt x="786" y="132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44"/>
                  </a:lnTo>
                  <a:lnTo>
                    <a:pt x="786" y="150"/>
                  </a:lnTo>
                  <a:lnTo>
                    <a:pt x="780" y="150"/>
                  </a:lnTo>
                  <a:lnTo>
                    <a:pt x="774" y="150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74" y="162"/>
                  </a:lnTo>
                  <a:lnTo>
                    <a:pt x="780" y="162"/>
                  </a:lnTo>
                  <a:lnTo>
                    <a:pt x="786" y="168"/>
                  </a:lnTo>
                  <a:lnTo>
                    <a:pt x="792" y="162"/>
                  </a:lnTo>
                  <a:lnTo>
                    <a:pt x="798" y="168"/>
                  </a:lnTo>
                  <a:lnTo>
                    <a:pt x="798" y="174"/>
                  </a:lnTo>
                  <a:lnTo>
                    <a:pt x="804" y="168"/>
                  </a:lnTo>
                  <a:lnTo>
                    <a:pt x="810" y="168"/>
                  </a:lnTo>
                  <a:lnTo>
                    <a:pt x="810" y="174"/>
                  </a:lnTo>
                  <a:lnTo>
                    <a:pt x="816" y="168"/>
                  </a:lnTo>
                  <a:lnTo>
                    <a:pt x="822" y="162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74"/>
                  </a:lnTo>
                  <a:lnTo>
                    <a:pt x="834" y="192"/>
                  </a:lnTo>
                  <a:lnTo>
                    <a:pt x="834" y="198"/>
                  </a:lnTo>
                  <a:lnTo>
                    <a:pt x="840" y="192"/>
                  </a:lnTo>
                  <a:lnTo>
                    <a:pt x="846" y="192"/>
                  </a:lnTo>
                  <a:lnTo>
                    <a:pt x="852" y="186"/>
                  </a:lnTo>
                  <a:lnTo>
                    <a:pt x="858" y="192"/>
                  </a:lnTo>
                  <a:lnTo>
                    <a:pt x="864" y="192"/>
                  </a:lnTo>
                  <a:lnTo>
                    <a:pt x="870" y="198"/>
                  </a:lnTo>
                  <a:lnTo>
                    <a:pt x="876" y="180"/>
                  </a:lnTo>
                  <a:lnTo>
                    <a:pt x="882" y="180"/>
                  </a:lnTo>
                  <a:lnTo>
                    <a:pt x="888" y="180"/>
                  </a:lnTo>
                  <a:lnTo>
                    <a:pt x="894" y="186"/>
                  </a:lnTo>
                  <a:lnTo>
                    <a:pt x="888" y="198"/>
                  </a:lnTo>
                  <a:lnTo>
                    <a:pt x="894" y="204"/>
                  </a:lnTo>
                  <a:lnTo>
                    <a:pt x="906" y="210"/>
                  </a:lnTo>
                  <a:lnTo>
                    <a:pt x="918" y="246"/>
                  </a:lnTo>
                  <a:lnTo>
                    <a:pt x="930" y="258"/>
                  </a:lnTo>
                  <a:lnTo>
                    <a:pt x="942" y="282"/>
                  </a:lnTo>
                  <a:lnTo>
                    <a:pt x="966" y="288"/>
                  </a:lnTo>
                  <a:lnTo>
                    <a:pt x="972" y="300"/>
                  </a:lnTo>
                  <a:lnTo>
                    <a:pt x="972" y="318"/>
                  </a:lnTo>
                  <a:lnTo>
                    <a:pt x="996" y="336"/>
                  </a:lnTo>
                  <a:lnTo>
                    <a:pt x="1050" y="390"/>
                  </a:lnTo>
                  <a:lnTo>
                    <a:pt x="1116" y="462"/>
                  </a:lnTo>
                  <a:lnTo>
                    <a:pt x="1122" y="468"/>
                  </a:lnTo>
                  <a:lnTo>
                    <a:pt x="1128" y="474"/>
                  </a:lnTo>
                  <a:lnTo>
                    <a:pt x="1140" y="474"/>
                  </a:lnTo>
                  <a:lnTo>
                    <a:pt x="1152" y="486"/>
                  </a:lnTo>
                  <a:lnTo>
                    <a:pt x="1152" y="492"/>
                  </a:lnTo>
                  <a:lnTo>
                    <a:pt x="1158" y="492"/>
                  </a:lnTo>
                  <a:lnTo>
                    <a:pt x="1164" y="492"/>
                  </a:lnTo>
                  <a:lnTo>
                    <a:pt x="1170" y="504"/>
                  </a:lnTo>
                  <a:lnTo>
                    <a:pt x="1176" y="504"/>
                  </a:lnTo>
                  <a:lnTo>
                    <a:pt x="1176" y="510"/>
                  </a:lnTo>
                  <a:lnTo>
                    <a:pt x="1200" y="516"/>
                  </a:lnTo>
                  <a:lnTo>
                    <a:pt x="1200" y="522"/>
                  </a:lnTo>
                  <a:lnTo>
                    <a:pt x="1212" y="534"/>
                  </a:lnTo>
                  <a:lnTo>
                    <a:pt x="1218" y="540"/>
                  </a:lnTo>
                  <a:lnTo>
                    <a:pt x="1224" y="552"/>
                  </a:lnTo>
                  <a:lnTo>
                    <a:pt x="1230" y="552"/>
                  </a:lnTo>
                  <a:lnTo>
                    <a:pt x="1242" y="552"/>
                  </a:lnTo>
                  <a:lnTo>
                    <a:pt x="1248" y="558"/>
                  </a:lnTo>
                  <a:lnTo>
                    <a:pt x="1254" y="558"/>
                  </a:lnTo>
                  <a:lnTo>
                    <a:pt x="1260" y="564"/>
                  </a:lnTo>
                  <a:lnTo>
                    <a:pt x="1266" y="564"/>
                  </a:lnTo>
                  <a:lnTo>
                    <a:pt x="1272" y="564"/>
                  </a:lnTo>
                  <a:lnTo>
                    <a:pt x="1284" y="564"/>
                  </a:lnTo>
                  <a:lnTo>
                    <a:pt x="1290" y="570"/>
                  </a:lnTo>
                  <a:lnTo>
                    <a:pt x="1296" y="576"/>
                  </a:lnTo>
                  <a:lnTo>
                    <a:pt x="1302" y="588"/>
                  </a:lnTo>
                  <a:lnTo>
                    <a:pt x="1296" y="594"/>
                  </a:lnTo>
                  <a:lnTo>
                    <a:pt x="1296" y="600"/>
                  </a:lnTo>
                  <a:lnTo>
                    <a:pt x="1296" y="606"/>
                  </a:lnTo>
                  <a:lnTo>
                    <a:pt x="1290" y="612"/>
                  </a:lnTo>
                  <a:lnTo>
                    <a:pt x="1290" y="624"/>
                  </a:lnTo>
                  <a:lnTo>
                    <a:pt x="1290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308" y="654"/>
                  </a:lnTo>
                  <a:lnTo>
                    <a:pt x="1320" y="654"/>
                  </a:lnTo>
                  <a:lnTo>
                    <a:pt x="1326" y="660"/>
                  </a:lnTo>
                  <a:lnTo>
                    <a:pt x="1338" y="654"/>
                  </a:lnTo>
                  <a:lnTo>
                    <a:pt x="1344" y="654"/>
                  </a:lnTo>
                  <a:lnTo>
                    <a:pt x="1356" y="654"/>
                  </a:lnTo>
                  <a:lnTo>
                    <a:pt x="1362" y="648"/>
                  </a:lnTo>
                  <a:lnTo>
                    <a:pt x="1368" y="642"/>
                  </a:lnTo>
                  <a:lnTo>
                    <a:pt x="1374" y="636"/>
                  </a:lnTo>
                  <a:lnTo>
                    <a:pt x="1380" y="636"/>
                  </a:lnTo>
                  <a:lnTo>
                    <a:pt x="1392" y="636"/>
                  </a:lnTo>
                  <a:lnTo>
                    <a:pt x="1398" y="636"/>
                  </a:lnTo>
                  <a:lnTo>
                    <a:pt x="1404" y="636"/>
                  </a:lnTo>
                  <a:lnTo>
                    <a:pt x="1410" y="630"/>
                  </a:lnTo>
                  <a:lnTo>
                    <a:pt x="1410" y="624"/>
                  </a:lnTo>
                  <a:lnTo>
                    <a:pt x="1422" y="618"/>
                  </a:lnTo>
                  <a:lnTo>
                    <a:pt x="1428" y="618"/>
                  </a:lnTo>
                  <a:lnTo>
                    <a:pt x="1440" y="612"/>
                  </a:lnTo>
                  <a:lnTo>
                    <a:pt x="1446" y="612"/>
                  </a:lnTo>
                  <a:lnTo>
                    <a:pt x="1458" y="612"/>
                  </a:lnTo>
                  <a:lnTo>
                    <a:pt x="1470" y="624"/>
                  </a:lnTo>
                  <a:lnTo>
                    <a:pt x="1488" y="642"/>
                  </a:lnTo>
                  <a:lnTo>
                    <a:pt x="1500" y="648"/>
                  </a:lnTo>
                  <a:lnTo>
                    <a:pt x="1512" y="654"/>
                  </a:lnTo>
                  <a:lnTo>
                    <a:pt x="1518" y="660"/>
                  </a:lnTo>
                  <a:lnTo>
                    <a:pt x="1524" y="660"/>
                  </a:lnTo>
                  <a:lnTo>
                    <a:pt x="1530" y="660"/>
                  </a:lnTo>
                  <a:lnTo>
                    <a:pt x="1536" y="666"/>
                  </a:lnTo>
                  <a:lnTo>
                    <a:pt x="1542" y="672"/>
                  </a:lnTo>
                  <a:lnTo>
                    <a:pt x="1548" y="672"/>
                  </a:lnTo>
                  <a:lnTo>
                    <a:pt x="1554" y="684"/>
                  </a:lnTo>
                  <a:lnTo>
                    <a:pt x="1554" y="690"/>
                  </a:lnTo>
                  <a:lnTo>
                    <a:pt x="1566" y="702"/>
                  </a:lnTo>
                  <a:lnTo>
                    <a:pt x="1572" y="720"/>
                  </a:lnTo>
                  <a:lnTo>
                    <a:pt x="1572" y="726"/>
                  </a:lnTo>
                  <a:lnTo>
                    <a:pt x="1578" y="732"/>
                  </a:lnTo>
                  <a:lnTo>
                    <a:pt x="1584" y="738"/>
                  </a:lnTo>
                  <a:lnTo>
                    <a:pt x="1590" y="738"/>
                  </a:lnTo>
                  <a:lnTo>
                    <a:pt x="1596" y="738"/>
                  </a:lnTo>
                  <a:lnTo>
                    <a:pt x="1602" y="744"/>
                  </a:lnTo>
                  <a:lnTo>
                    <a:pt x="1608" y="744"/>
                  </a:lnTo>
                  <a:lnTo>
                    <a:pt x="1614" y="744"/>
                  </a:lnTo>
                  <a:lnTo>
                    <a:pt x="1626" y="744"/>
                  </a:lnTo>
                  <a:lnTo>
                    <a:pt x="1638" y="744"/>
                  </a:lnTo>
                  <a:lnTo>
                    <a:pt x="1650" y="744"/>
                  </a:lnTo>
                  <a:lnTo>
                    <a:pt x="1662" y="744"/>
                  </a:lnTo>
                  <a:lnTo>
                    <a:pt x="1668" y="744"/>
                  </a:lnTo>
                  <a:lnTo>
                    <a:pt x="1674" y="744"/>
                  </a:lnTo>
                  <a:lnTo>
                    <a:pt x="1686" y="744"/>
                  </a:lnTo>
                  <a:lnTo>
                    <a:pt x="1698" y="750"/>
                  </a:lnTo>
                  <a:lnTo>
                    <a:pt x="1704" y="750"/>
                  </a:lnTo>
                  <a:lnTo>
                    <a:pt x="1716" y="756"/>
                  </a:lnTo>
                  <a:lnTo>
                    <a:pt x="1722" y="756"/>
                  </a:lnTo>
                  <a:lnTo>
                    <a:pt x="1728" y="756"/>
                  </a:lnTo>
                  <a:lnTo>
                    <a:pt x="1734" y="762"/>
                  </a:lnTo>
                  <a:lnTo>
                    <a:pt x="1740" y="768"/>
                  </a:lnTo>
                  <a:lnTo>
                    <a:pt x="1758" y="780"/>
                  </a:lnTo>
                  <a:lnTo>
                    <a:pt x="1770" y="780"/>
                  </a:lnTo>
                  <a:lnTo>
                    <a:pt x="1776" y="780"/>
                  </a:lnTo>
                  <a:lnTo>
                    <a:pt x="1782" y="780"/>
                  </a:lnTo>
                  <a:lnTo>
                    <a:pt x="1800" y="798"/>
                  </a:lnTo>
                  <a:lnTo>
                    <a:pt x="1818" y="810"/>
                  </a:lnTo>
                  <a:lnTo>
                    <a:pt x="1830" y="816"/>
                  </a:lnTo>
                  <a:lnTo>
                    <a:pt x="1836" y="822"/>
                  </a:lnTo>
                  <a:lnTo>
                    <a:pt x="1836" y="828"/>
                  </a:lnTo>
                  <a:lnTo>
                    <a:pt x="1842" y="828"/>
                  </a:lnTo>
                  <a:lnTo>
                    <a:pt x="1848" y="834"/>
                  </a:lnTo>
                  <a:lnTo>
                    <a:pt x="1854" y="840"/>
                  </a:lnTo>
                  <a:lnTo>
                    <a:pt x="1860" y="846"/>
                  </a:lnTo>
                  <a:lnTo>
                    <a:pt x="1872" y="852"/>
                  </a:lnTo>
                  <a:lnTo>
                    <a:pt x="1884" y="852"/>
                  </a:lnTo>
                  <a:lnTo>
                    <a:pt x="1896" y="852"/>
                  </a:lnTo>
                  <a:lnTo>
                    <a:pt x="1902" y="846"/>
                  </a:lnTo>
                  <a:lnTo>
                    <a:pt x="1908" y="852"/>
                  </a:lnTo>
                  <a:lnTo>
                    <a:pt x="1920" y="858"/>
                  </a:lnTo>
                  <a:lnTo>
                    <a:pt x="1926" y="870"/>
                  </a:lnTo>
                  <a:lnTo>
                    <a:pt x="1938" y="888"/>
                  </a:lnTo>
                  <a:lnTo>
                    <a:pt x="1944" y="900"/>
                  </a:lnTo>
                  <a:lnTo>
                    <a:pt x="1950" y="900"/>
                  </a:lnTo>
                  <a:lnTo>
                    <a:pt x="1962" y="906"/>
                  </a:lnTo>
                  <a:lnTo>
                    <a:pt x="1968" y="906"/>
                  </a:lnTo>
                  <a:lnTo>
                    <a:pt x="1980" y="906"/>
                  </a:lnTo>
                  <a:lnTo>
                    <a:pt x="1998" y="906"/>
                  </a:lnTo>
                  <a:lnTo>
                    <a:pt x="2010" y="900"/>
                  </a:lnTo>
                  <a:lnTo>
                    <a:pt x="2022" y="900"/>
                  </a:lnTo>
                  <a:lnTo>
                    <a:pt x="2028" y="900"/>
                  </a:lnTo>
                  <a:lnTo>
                    <a:pt x="2034" y="906"/>
                  </a:lnTo>
                  <a:lnTo>
                    <a:pt x="2046" y="906"/>
                  </a:lnTo>
                  <a:lnTo>
                    <a:pt x="2052" y="900"/>
                  </a:lnTo>
                  <a:lnTo>
                    <a:pt x="2058" y="900"/>
                  </a:lnTo>
                  <a:lnTo>
                    <a:pt x="2064" y="900"/>
                  </a:lnTo>
                  <a:lnTo>
                    <a:pt x="2070" y="900"/>
                  </a:lnTo>
                  <a:lnTo>
                    <a:pt x="2076" y="900"/>
                  </a:lnTo>
                  <a:lnTo>
                    <a:pt x="2076" y="906"/>
                  </a:lnTo>
                  <a:lnTo>
                    <a:pt x="2088" y="906"/>
                  </a:lnTo>
                  <a:lnTo>
                    <a:pt x="2106" y="900"/>
                  </a:lnTo>
                  <a:lnTo>
                    <a:pt x="2118" y="900"/>
                  </a:lnTo>
                  <a:lnTo>
                    <a:pt x="2130" y="900"/>
                  </a:lnTo>
                  <a:lnTo>
                    <a:pt x="2142" y="900"/>
                  </a:lnTo>
                  <a:lnTo>
                    <a:pt x="2148" y="906"/>
                  </a:lnTo>
                  <a:lnTo>
                    <a:pt x="2154" y="906"/>
                  </a:lnTo>
                  <a:lnTo>
                    <a:pt x="2160" y="906"/>
                  </a:lnTo>
                  <a:lnTo>
                    <a:pt x="2166" y="906"/>
                  </a:lnTo>
                  <a:lnTo>
                    <a:pt x="2178" y="918"/>
                  </a:lnTo>
                  <a:lnTo>
                    <a:pt x="2178" y="924"/>
                  </a:lnTo>
                  <a:lnTo>
                    <a:pt x="2184" y="924"/>
                  </a:lnTo>
                  <a:lnTo>
                    <a:pt x="2190" y="924"/>
                  </a:lnTo>
                  <a:lnTo>
                    <a:pt x="2196" y="924"/>
                  </a:lnTo>
                  <a:lnTo>
                    <a:pt x="2202" y="918"/>
                  </a:lnTo>
                  <a:lnTo>
                    <a:pt x="2208" y="918"/>
                  </a:lnTo>
                  <a:lnTo>
                    <a:pt x="2214" y="918"/>
                  </a:lnTo>
                  <a:lnTo>
                    <a:pt x="2226" y="918"/>
                  </a:lnTo>
                  <a:lnTo>
                    <a:pt x="2220" y="948"/>
                  </a:lnTo>
                  <a:lnTo>
                    <a:pt x="2214" y="972"/>
                  </a:lnTo>
                  <a:lnTo>
                    <a:pt x="2214" y="984"/>
                  </a:lnTo>
                  <a:lnTo>
                    <a:pt x="2208" y="990"/>
                  </a:lnTo>
                  <a:lnTo>
                    <a:pt x="2208" y="996"/>
                  </a:lnTo>
                  <a:lnTo>
                    <a:pt x="2202" y="996"/>
                  </a:lnTo>
                  <a:lnTo>
                    <a:pt x="2196" y="996"/>
                  </a:lnTo>
                  <a:lnTo>
                    <a:pt x="2190" y="1008"/>
                  </a:lnTo>
                  <a:lnTo>
                    <a:pt x="2172" y="1074"/>
                  </a:lnTo>
                  <a:lnTo>
                    <a:pt x="2166" y="1092"/>
                  </a:lnTo>
                  <a:lnTo>
                    <a:pt x="2172" y="1110"/>
                  </a:lnTo>
                  <a:lnTo>
                    <a:pt x="2172" y="1122"/>
                  </a:lnTo>
                  <a:lnTo>
                    <a:pt x="2166" y="1134"/>
                  </a:lnTo>
                  <a:lnTo>
                    <a:pt x="2148" y="1140"/>
                  </a:lnTo>
                  <a:lnTo>
                    <a:pt x="2148" y="1134"/>
                  </a:lnTo>
                  <a:lnTo>
                    <a:pt x="2118" y="1140"/>
                  </a:lnTo>
                  <a:lnTo>
                    <a:pt x="2088" y="1134"/>
                  </a:lnTo>
                  <a:lnTo>
                    <a:pt x="2064" y="1122"/>
                  </a:lnTo>
                  <a:lnTo>
                    <a:pt x="2034" y="1122"/>
                  </a:lnTo>
                  <a:lnTo>
                    <a:pt x="2022" y="1128"/>
                  </a:lnTo>
                  <a:lnTo>
                    <a:pt x="1986" y="1128"/>
                  </a:lnTo>
                  <a:lnTo>
                    <a:pt x="1938" y="1122"/>
                  </a:lnTo>
                  <a:lnTo>
                    <a:pt x="1932" y="1116"/>
                  </a:lnTo>
                  <a:lnTo>
                    <a:pt x="1896" y="1110"/>
                  </a:lnTo>
                  <a:lnTo>
                    <a:pt x="1878" y="1104"/>
                  </a:lnTo>
                  <a:lnTo>
                    <a:pt x="1866" y="1098"/>
                  </a:lnTo>
                  <a:lnTo>
                    <a:pt x="1860" y="1098"/>
                  </a:lnTo>
                  <a:lnTo>
                    <a:pt x="1854" y="1092"/>
                  </a:lnTo>
                  <a:lnTo>
                    <a:pt x="1860" y="1092"/>
                  </a:lnTo>
                  <a:lnTo>
                    <a:pt x="1860" y="1086"/>
                  </a:lnTo>
                  <a:lnTo>
                    <a:pt x="1854" y="1086"/>
                  </a:lnTo>
                  <a:lnTo>
                    <a:pt x="1842" y="1080"/>
                  </a:lnTo>
                  <a:lnTo>
                    <a:pt x="1818" y="1062"/>
                  </a:lnTo>
                  <a:lnTo>
                    <a:pt x="1782" y="1056"/>
                  </a:lnTo>
                  <a:lnTo>
                    <a:pt x="1770" y="1068"/>
                  </a:lnTo>
                  <a:lnTo>
                    <a:pt x="1746" y="1098"/>
                  </a:lnTo>
                  <a:lnTo>
                    <a:pt x="1722" y="1104"/>
                  </a:lnTo>
                  <a:lnTo>
                    <a:pt x="1710" y="1122"/>
                  </a:lnTo>
                  <a:lnTo>
                    <a:pt x="1710" y="1128"/>
                  </a:lnTo>
                  <a:lnTo>
                    <a:pt x="1710" y="1140"/>
                  </a:lnTo>
                  <a:lnTo>
                    <a:pt x="1698" y="1146"/>
                  </a:lnTo>
                  <a:lnTo>
                    <a:pt x="1686" y="1152"/>
                  </a:lnTo>
                  <a:lnTo>
                    <a:pt x="1680" y="1164"/>
                  </a:lnTo>
                  <a:lnTo>
                    <a:pt x="1680" y="1170"/>
                  </a:lnTo>
                  <a:lnTo>
                    <a:pt x="1686" y="1170"/>
                  </a:lnTo>
                  <a:lnTo>
                    <a:pt x="1686" y="1176"/>
                  </a:lnTo>
                  <a:lnTo>
                    <a:pt x="1698" y="1188"/>
                  </a:lnTo>
                  <a:lnTo>
                    <a:pt x="1704" y="1188"/>
                  </a:lnTo>
                  <a:lnTo>
                    <a:pt x="1698" y="1194"/>
                  </a:lnTo>
                  <a:lnTo>
                    <a:pt x="1704" y="1194"/>
                  </a:lnTo>
                  <a:lnTo>
                    <a:pt x="1704" y="1200"/>
                  </a:lnTo>
                  <a:lnTo>
                    <a:pt x="1704" y="1206"/>
                  </a:lnTo>
                  <a:lnTo>
                    <a:pt x="1704" y="1212"/>
                  </a:lnTo>
                  <a:lnTo>
                    <a:pt x="1704" y="1218"/>
                  </a:lnTo>
                  <a:lnTo>
                    <a:pt x="1710" y="1218"/>
                  </a:lnTo>
                  <a:lnTo>
                    <a:pt x="1710" y="1212"/>
                  </a:lnTo>
                  <a:lnTo>
                    <a:pt x="1716" y="1212"/>
                  </a:lnTo>
                  <a:lnTo>
                    <a:pt x="1716" y="1218"/>
                  </a:lnTo>
                  <a:lnTo>
                    <a:pt x="1716" y="1224"/>
                  </a:lnTo>
                  <a:lnTo>
                    <a:pt x="1716" y="1230"/>
                  </a:lnTo>
                  <a:lnTo>
                    <a:pt x="1722" y="1236"/>
                  </a:lnTo>
                  <a:lnTo>
                    <a:pt x="1740" y="1230"/>
                  </a:lnTo>
                  <a:lnTo>
                    <a:pt x="1734" y="1236"/>
                  </a:lnTo>
                  <a:lnTo>
                    <a:pt x="1734" y="1242"/>
                  </a:lnTo>
                  <a:lnTo>
                    <a:pt x="1734" y="1248"/>
                  </a:lnTo>
                  <a:lnTo>
                    <a:pt x="1734" y="1254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52" y="1266"/>
                  </a:lnTo>
                  <a:lnTo>
                    <a:pt x="1764" y="1266"/>
                  </a:lnTo>
                  <a:lnTo>
                    <a:pt x="1788" y="1260"/>
                  </a:lnTo>
                  <a:lnTo>
                    <a:pt x="1800" y="1260"/>
                  </a:lnTo>
                  <a:lnTo>
                    <a:pt x="1806" y="1272"/>
                  </a:lnTo>
                  <a:lnTo>
                    <a:pt x="1806" y="1296"/>
                  </a:lnTo>
                  <a:lnTo>
                    <a:pt x="1800" y="1308"/>
                  </a:lnTo>
                  <a:lnTo>
                    <a:pt x="1788" y="1308"/>
                  </a:lnTo>
                  <a:lnTo>
                    <a:pt x="1782" y="1326"/>
                  </a:lnTo>
                  <a:close/>
                </a:path>
              </a:pathLst>
            </a:custGeom>
            <a:solidFill>
              <a:srgbClr val="BFBFBF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7" name="Freeform 32">
              <a:extLst>
                <a:ext uri="{FF2B5EF4-FFF2-40B4-BE49-F238E27FC236}">
                  <a16:creationId xmlns:a16="http://schemas.microsoft.com/office/drawing/2014/main" id="{1EF84438-BF7A-47D2-9156-E231EA2A279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3295" y="2316568"/>
              <a:ext cx="1290281" cy="1084704"/>
            </a:xfrm>
            <a:custGeom>
              <a:avLst/>
              <a:gdLst>
                <a:gd name="T0" fmla="*/ 177 w 2430"/>
                <a:gd name="T1" fmla="*/ 169 h 2040"/>
                <a:gd name="T2" fmla="*/ 174 w 2430"/>
                <a:gd name="T3" fmla="*/ 173 h 2040"/>
                <a:gd name="T4" fmla="*/ 169 w 2430"/>
                <a:gd name="T5" fmla="*/ 171 h 2040"/>
                <a:gd name="T6" fmla="*/ 160 w 2430"/>
                <a:gd name="T7" fmla="*/ 163 h 2040"/>
                <a:gd name="T8" fmla="*/ 154 w 2430"/>
                <a:gd name="T9" fmla="*/ 149 h 2040"/>
                <a:gd name="T10" fmla="*/ 144 w 2430"/>
                <a:gd name="T11" fmla="*/ 147 h 2040"/>
                <a:gd name="T12" fmla="*/ 133 w 2430"/>
                <a:gd name="T13" fmla="*/ 146 h 2040"/>
                <a:gd name="T14" fmla="*/ 121 w 2430"/>
                <a:gd name="T15" fmla="*/ 145 h 2040"/>
                <a:gd name="T16" fmla="*/ 110 w 2430"/>
                <a:gd name="T17" fmla="*/ 137 h 2040"/>
                <a:gd name="T18" fmla="*/ 97 w 2430"/>
                <a:gd name="T19" fmla="*/ 131 h 2040"/>
                <a:gd name="T20" fmla="*/ 87 w 2430"/>
                <a:gd name="T21" fmla="*/ 125 h 2040"/>
                <a:gd name="T22" fmla="*/ 75 w 2430"/>
                <a:gd name="T23" fmla="*/ 122 h 2040"/>
                <a:gd name="T24" fmla="*/ 65 w 2430"/>
                <a:gd name="T25" fmla="*/ 122 h 2040"/>
                <a:gd name="T26" fmla="*/ 59 w 2430"/>
                <a:gd name="T27" fmla="*/ 115 h 2040"/>
                <a:gd name="T28" fmla="*/ 50 w 2430"/>
                <a:gd name="T29" fmla="*/ 107 h 2040"/>
                <a:gd name="T30" fmla="*/ 28 w 2430"/>
                <a:gd name="T31" fmla="*/ 84 h 2040"/>
                <a:gd name="T32" fmla="*/ 22 w 2430"/>
                <a:gd name="T33" fmla="*/ 82 h 2040"/>
                <a:gd name="T34" fmla="*/ 20 w 2430"/>
                <a:gd name="T35" fmla="*/ 79 h 2040"/>
                <a:gd name="T36" fmla="*/ 16 w 2430"/>
                <a:gd name="T37" fmla="*/ 76 h 2040"/>
                <a:gd name="T38" fmla="*/ 11 w 2430"/>
                <a:gd name="T39" fmla="*/ 74 h 2040"/>
                <a:gd name="T40" fmla="*/ 7 w 2430"/>
                <a:gd name="T41" fmla="*/ 69 h 2040"/>
                <a:gd name="T42" fmla="*/ 0 w 2430"/>
                <a:gd name="T43" fmla="*/ 60 h 2040"/>
                <a:gd name="T44" fmla="*/ 10 w 2430"/>
                <a:gd name="T45" fmla="*/ 53 h 2040"/>
                <a:gd name="T46" fmla="*/ 15 w 2430"/>
                <a:gd name="T47" fmla="*/ 40 h 2040"/>
                <a:gd name="T48" fmla="*/ 9 w 2430"/>
                <a:gd name="T49" fmla="*/ 29 h 2040"/>
                <a:gd name="T50" fmla="*/ 7 w 2430"/>
                <a:gd name="T51" fmla="*/ 16 h 2040"/>
                <a:gd name="T52" fmla="*/ 18 w 2430"/>
                <a:gd name="T53" fmla="*/ 21 h 2040"/>
                <a:gd name="T54" fmla="*/ 48 w 2430"/>
                <a:gd name="T55" fmla="*/ 27 h 2040"/>
                <a:gd name="T56" fmla="*/ 62 w 2430"/>
                <a:gd name="T57" fmla="*/ 25 h 2040"/>
                <a:gd name="T58" fmla="*/ 59 w 2430"/>
                <a:gd name="T59" fmla="*/ 42 h 2040"/>
                <a:gd name="T60" fmla="*/ 54 w 2430"/>
                <a:gd name="T61" fmla="*/ 65 h 2040"/>
                <a:gd name="T62" fmla="*/ 65 w 2430"/>
                <a:gd name="T63" fmla="*/ 60 h 2040"/>
                <a:gd name="T64" fmla="*/ 68 w 2430"/>
                <a:gd name="T65" fmla="*/ 40 h 2040"/>
                <a:gd name="T66" fmla="*/ 75 w 2430"/>
                <a:gd name="T67" fmla="*/ 36 h 2040"/>
                <a:gd name="T68" fmla="*/ 83 w 2430"/>
                <a:gd name="T69" fmla="*/ 29 h 2040"/>
                <a:gd name="T70" fmla="*/ 81 w 2430"/>
                <a:gd name="T71" fmla="*/ 17 h 2040"/>
                <a:gd name="T72" fmla="*/ 66 w 2430"/>
                <a:gd name="T73" fmla="*/ 7 h 2040"/>
                <a:gd name="T74" fmla="*/ 80 w 2430"/>
                <a:gd name="T75" fmla="*/ 5 h 2040"/>
                <a:gd name="T76" fmla="*/ 89 w 2430"/>
                <a:gd name="T77" fmla="*/ 1 h 2040"/>
                <a:gd name="T78" fmla="*/ 101 w 2430"/>
                <a:gd name="T79" fmla="*/ 10 h 2040"/>
                <a:gd name="T80" fmla="*/ 103 w 2430"/>
                <a:gd name="T81" fmla="*/ 18 h 2040"/>
                <a:gd name="T82" fmla="*/ 110 w 2430"/>
                <a:gd name="T83" fmla="*/ 23 h 2040"/>
                <a:gd name="T84" fmla="*/ 121 w 2430"/>
                <a:gd name="T85" fmla="*/ 20 h 2040"/>
                <a:gd name="T86" fmla="*/ 129 w 2430"/>
                <a:gd name="T87" fmla="*/ 15 h 2040"/>
                <a:gd name="T88" fmla="*/ 142 w 2430"/>
                <a:gd name="T89" fmla="*/ 23 h 2040"/>
                <a:gd name="T90" fmla="*/ 141 w 2430"/>
                <a:gd name="T91" fmla="*/ 30 h 2040"/>
                <a:gd name="T92" fmla="*/ 140 w 2430"/>
                <a:gd name="T93" fmla="*/ 38 h 2040"/>
                <a:gd name="T94" fmla="*/ 139 w 2430"/>
                <a:gd name="T95" fmla="*/ 46 h 2040"/>
                <a:gd name="T96" fmla="*/ 147 w 2430"/>
                <a:gd name="T97" fmla="*/ 54 h 2040"/>
                <a:gd name="T98" fmla="*/ 152 w 2430"/>
                <a:gd name="T99" fmla="*/ 50 h 2040"/>
                <a:gd name="T100" fmla="*/ 159 w 2430"/>
                <a:gd name="T101" fmla="*/ 43 h 2040"/>
                <a:gd name="T102" fmla="*/ 174 w 2430"/>
                <a:gd name="T103" fmla="*/ 41 h 2040"/>
                <a:gd name="T104" fmla="*/ 190 w 2430"/>
                <a:gd name="T105" fmla="*/ 57 h 2040"/>
                <a:gd name="T106" fmla="*/ 187 w 2430"/>
                <a:gd name="T107" fmla="*/ 66 h 2040"/>
                <a:gd name="T108" fmla="*/ 183 w 2430"/>
                <a:gd name="T109" fmla="*/ 72 h 2040"/>
                <a:gd name="T110" fmla="*/ 194 w 2430"/>
                <a:gd name="T111" fmla="*/ 73 h 2040"/>
                <a:gd name="T112" fmla="*/ 202 w 2430"/>
                <a:gd name="T113" fmla="*/ 74 h 2040"/>
                <a:gd name="T114" fmla="*/ 204 w 2430"/>
                <a:gd name="T115" fmla="*/ 89 h 2040"/>
                <a:gd name="T116" fmla="*/ 208 w 2430"/>
                <a:gd name="T117" fmla="*/ 99 h 2040"/>
                <a:gd name="T118" fmla="*/ 203 w 2430"/>
                <a:gd name="T119" fmla="*/ 103 h 2040"/>
                <a:gd name="T120" fmla="*/ 209 w 2430"/>
                <a:gd name="T121" fmla="*/ 111 h 2040"/>
                <a:gd name="T122" fmla="*/ 204 w 2430"/>
                <a:gd name="T123" fmla="*/ 124 h 2040"/>
                <a:gd name="T124" fmla="*/ 190 w 2430"/>
                <a:gd name="T125" fmla="*/ 117 h 20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30"/>
                <a:gd name="T190" fmla="*/ 0 h 2040"/>
                <a:gd name="T191" fmla="*/ 2430 w 2430"/>
                <a:gd name="T192" fmla="*/ 2040 h 20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30" h="2040">
                  <a:moveTo>
                    <a:pt x="2076" y="1896"/>
                  </a:moveTo>
                  <a:lnTo>
                    <a:pt x="2070" y="1896"/>
                  </a:lnTo>
                  <a:lnTo>
                    <a:pt x="2070" y="1902"/>
                  </a:lnTo>
                  <a:lnTo>
                    <a:pt x="2076" y="1902"/>
                  </a:lnTo>
                  <a:lnTo>
                    <a:pt x="2082" y="1902"/>
                  </a:lnTo>
                  <a:lnTo>
                    <a:pt x="2082" y="1908"/>
                  </a:lnTo>
                  <a:lnTo>
                    <a:pt x="2076" y="1908"/>
                  </a:lnTo>
                  <a:lnTo>
                    <a:pt x="2076" y="1914"/>
                  </a:lnTo>
                  <a:lnTo>
                    <a:pt x="2070" y="1920"/>
                  </a:lnTo>
                  <a:lnTo>
                    <a:pt x="2064" y="1932"/>
                  </a:lnTo>
                  <a:lnTo>
                    <a:pt x="2064" y="1938"/>
                  </a:lnTo>
                  <a:lnTo>
                    <a:pt x="2058" y="1938"/>
                  </a:lnTo>
                  <a:lnTo>
                    <a:pt x="2052" y="1944"/>
                  </a:lnTo>
                  <a:lnTo>
                    <a:pt x="2052" y="1950"/>
                  </a:lnTo>
                  <a:lnTo>
                    <a:pt x="2040" y="1944"/>
                  </a:lnTo>
                  <a:lnTo>
                    <a:pt x="2040" y="1950"/>
                  </a:lnTo>
                  <a:lnTo>
                    <a:pt x="2034" y="1956"/>
                  </a:lnTo>
                  <a:lnTo>
                    <a:pt x="2034" y="1962"/>
                  </a:lnTo>
                  <a:lnTo>
                    <a:pt x="2028" y="1962"/>
                  </a:lnTo>
                  <a:lnTo>
                    <a:pt x="2022" y="1962"/>
                  </a:lnTo>
                  <a:lnTo>
                    <a:pt x="2022" y="1968"/>
                  </a:lnTo>
                  <a:lnTo>
                    <a:pt x="2028" y="1974"/>
                  </a:lnTo>
                  <a:lnTo>
                    <a:pt x="2034" y="1980"/>
                  </a:lnTo>
                  <a:lnTo>
                    <a:pt x="2028" y="1986"/>
                  </a:lnTo>
                  <a:lnTo>
                    <a:pt x="2022" y="1992"/>
                  </a:lnTo>
                  <a:lnTo>
                    <a:pt x="2022" y="1986"/>
                  </a:lnTo>
                  <a:lnTo>
                    <a:pt x="2016" y="1986"/>
                  </a:lnTo>
                  <a:lnTo>
                    <a:pt x="2010" y="1980"/>
                  </a:lnTo>
                  <a:lnTo>
                    <a:pt x="2004" y="1980"/>
                  </a:lnTo>
                  <a:lnTo>
                    <a:pt x="2004" y="1986"/>
                  </a:lnTo>
                  <a:lnTo>
                    <a:pt x="2010" y="1992"/>
                  </a:lnTo>
                  <a:lnTo>
                    <a:pt x="2010" y="1998"/>
                  </a:lnTo>
                  <a:lnTo>
                    <a:pt x="2004" y="2004"/>
                  </a:lnTo>
                  <a:lnTo>
                    <a:pt x="1998" y="2004"/>
                  </a:lnTo>
                  <a:lnTo>
                    <a:pt x="1998" y="2022"/>
                  </a:lnTo>
                  <a:lnTo>
                    <a:pt x="1998" y="2028"/>
                  </a:lnTo>
                  <a:lnTo>
                    <a:pt x="1992" y="2034"/>
                  </a:lnTo>
                  <a:lnTo>
                    <a:pt x="1992" y="2040"/>
                  </a:lnTo>
                  <a:lnTo>
                    <a:pt x="1986" y="2040"/>
                  </a:lnTo>
                  <a:lnTo>
                    <a:pt x="1986" y="2034"/>
                  </a:lnTo>
                  <a:lnTo>
                    <a:pt x="1980" y="2028"/>
                  </a:lnTo>
                  <a:lnTo>
                    <a:pt x="1980" y="2022"/>
                  </a:lnTo>
                  <a:lnTo>
                    <a:pt x="1968" y="2016"/>
                  </a:lnTo>
                  <a:lnTo>
                    <a:pt x="1962" y="2010"/>
                  </a:lnTo>
                  <a:lnTo>
                    <a:pt x="1956" y="2004"/>
                  </a:lnTo>
                  <a:lnTo>
                    <a:pt x="1950" y="1992"/>
                  </a:lnTo>
                  <a:lnTo>
                    <a:pt x="1950" y="1986"/>
                  </a:lnTo>
                  <a:lnTo>
                    <a:pt x="1950" y="1974"/>
                  </a:lnTo>
                  <a:lnTo>
                    <a:pt x="1944" y="1974"/>
                  </a:lnTo>
                  <a:lnTo>
                    <a:pt x="1932" y="1962"/>
                  </a:lnTo>
                  <a:lnTo>
                    <a:pt x="1932" y="1956"/>
                  </a:lnTo>
                  <a:lnTo>
                    <a:pt x="1932" y="1950"/>
                  </a:lnTo>
                  <a:lnTo>
                    <a:pt x="1920" y="1944"/>
                  </a:lnTo>
                  <a:lnTo>
                    <a:pt x="1914" y="1944"/>
                  </a:lnTo>
                  <a:lnTo>
                    <a:pt x="1908" y="1938"/>
                  </a:lnTo>
                  <a:lnTo>
                    <a:pt x="1902" y="1926"/>
                  </a:lnTo>
                  <a:lnTo>
                    <a:pt x="1890" y="1914"/>
                  </a:lnTo>
                  <a:lnTo>
                    <a:pt x="1884" y="1914"/>
                  </a:lnTo>
                  <a:lnTo>
                    <a:pt x="1878" y="1908"/>
                  </a:lnTo>
                  <a:lnTo>
                    <a:pt x="1872" y="1902"/>
                  </a:lnTo>
                  <a:lnTo>
                    <a:pt x="1872" y="1896"/>
                  </a:lnTo>
                  <a:lnTo>
                    <a:pt x="1866" y="1890"/>
                  </a:lnTo>
                  <a:lnTo>
                    <a:pt x="1854" y="1884"/>
                  </a:lnTo>
                  <a:lnTo>
                    <a:pt x="1848" y="1884"/>
                  </a:lnTo>
                  <a:lnTo>
                    <a:pt x="1842" y="1872"/>
                  </a:lnTo>
                  <a:lnTo>
                    <a:pt x="1836" y="1872"/>
                  </a:lnTo>
                  <a:lnTo>
                    <a:pt x="1830" y="1866"/>
                  </a:lnTo>
                  <a:lnTo>
                    <a:pt x="1830" y="1854"/>
                  </a:lnTo>
                  <a:lnTo>
                    <a:pt x="1824" y="1848"/>
                  </a:lnTo>
                  <a:lnTo>
                    <a:pt x="1818" y="1830"/>
                  </a:lnTo>
                  <a:lnTo>
                    <a:pt x="1818" y="1818"/>
                  </a:lnTo>
                  <a:lnTo>
                    <a:pt x="1812" y="1800"/>
                  </a:lnTo>
                  <a:lnTo>
                    <a:pt x="1812" y="1788"/>
                  </a:lnTo>
                  <a:lnTo>
                    <a:pt x="1806" y="1776"/>
                  </a:lnTo>
                  <a:lnTo>
                    <a:pt x="1800" y="1764"/>
                  </a:lnTo>
                  <a:lnTo>
                    <a:pt x="1794" y="1758"/>
                  </a:lnTo>
                  <a:lnTo>
                    <a:pt x="1782" y="1740"/>
                  </a:lnTo>
                  <a:lnTo>
                    <a:pt x="1776" y="1728"/>
                  </a:lnTo>
                  <a:lnTo>
                    <a:pt x="1776" y="1722"/>
                  </a:lnTo>
                  <a:lnTo>
                    <a:pt x="1770" y="1722"/>
                  </a:lnTo>
                  <a:lnTo>
                    <a:pt x="1770" y="1716"/>
                  </a:lnTo>
                  <a:lnTo>
                    <a:pt x="1764" y="1716"/>
                  </a:lnTo>
                  <a:lnTo>
                    <a:pt x="1758" y="1710"/>
                  </a:lnTo>
                  <a:lnTo>
                    <a:pt x="1752" y="1704"/>
                  </a:lnTo>
                  <a:lnTo>
                    <a:pt x="1746" y="1704"/>
                  </a:lnTo>
                  <a:lnTo>
                    <a:pt x="1740" y="1704"/>
                  </a:lnTo>
                  <a:lnTo>
                    <a:pt x="1734" y="1704"/>
                  </a:lnTo>
                  <a:lnTo>
                    <a:pt x="1734" y="1698"/>
                  </a:lnTo>
                  <a:lnTo>
                    <a:pt x="1728" y="1692"/>
                  </a:lnTo>
                  <a:lnTo>
                    <a:pt x="1722" y="1686"/>
                  </a:lnTo>
                  <a:lnTo>
                    <a:pt x="1716" y="1686"/>
                  </a:lnTo>
                  <a:lnTo>
                    <a:pt x="1698" y="1686"/>
                  </a:lnTo>
                  <a:lnTo>
                    <a:pt x="1692" y="1692"/>
                  </a:lnTo>
                  <a:lnTo>
                    <a:pt x="1680" y="1692"/>
                  </a:lnTo>
                  <a:lnTo>
                    <a:pt x="1668" y="1692"/>
                  </a:lnTo>
                  <a:lnTo>
                    <a:pt x="1662" y="1692"/>
                  </a:lnTo>
                  <a:lnTo>
                    <a:pt x="1656" y="1692"/>
                  </a:lnTo>
                  <a:lnTo>
                    <a:pt x="1650" y="1698"/>
                  </a:lnTo>
                  <a:lnTo>
                    <a:pt x="1644" y="1698"/>
                  </a:lnTo>
                  <a:lnTo>
                    <a:pt x="1638" y="1698"/>
                  </a:lnTo>
                  <a:lnTo>
                    <a:pt x="1632" y="1698"/>
                  </a:lnTo>
                  <a:lnTo>
                    <a:pt x="1632" y="1692"/>
                  </a:lnTo>
                  <a:lnTo>
                    <a:pt x="1620" y="1680"/>
                  </a:lnTo>
                  <a:lnTo>
                    <a:pt x="1614" y="1680"/>
                  </a:lnTo>
                  <a:lnTo>
                    <a:pt x="1608" y="1680"/>
                  </a:lnTo>
                  <a:lnTo>
                    <a:pt x="1602" y="1680"/>
                  </a:lnTo>
                  <a:lnTo>
                    <a:pt x="1596" y="1674"/>
                  </a:lnTo>
                  <a:lnTo>
                    <a:pt x="1584" y="1674"/>
                  </a:lnTo>
                  <a:lnTo>
                    <a:pt x="1572" y="1674"/>
                  </a:lnTo>
                  <a:lnTo>
                    <a:pt x="1560" y="1674"/>
                  </a:lnTo>
                  <a:lnTo>
                    <a:pt x="1542" y="1680"/>
                  </a:lnTo>
                  <a:lnTo>
                    <a:pt x="1530" y="1680"/>
                  </a:lnTo>
                  <a:lnTo>
                    <a:pt x="1530" y="1674"/>
                  </a:lnTo>
                  <a:lnTo>
                    <a:pt x="1524" y="1674"/>
                  </a:lnTo>
                  <a:lnTo>
                    <a:pt x="1518" y="1674"/>
                  </a:lnTo>
                  <a:lnTo>
                    <a:pt x="1512" y="1674"/>
                  </a:lnTo>
                  <a:lnTo>
                    <a:pt x="1506" y="1674"/>
                  </a:lnTo>
                  <a:lnTo>
                    <a:pt x="1500" y="1680"/>
                  </a:lnTo>
                  <a:lnTo>
                    <a:pt x="1488" y="1680"/>
                  </a:lnTo>
                  <a:lnTo>
                    <a:pt x="1482" y="1674"/>
                  </a:lnTo>
                  <a:lnTo>
                    <a:pt x="1476" y="1674"/>
                  </a:lnTo>
                  <a:lnTo>
                    <a:pt x="1464" y="1674"/>
                  </a:lnTo>
                  <a:lnTo>
                    <a:pt x="1452" y="1680"/>
                  </a:lnTo>
                  <a:lnTo>
                    <a:pt x="1434" y="1680"/>
                  </a:lnTo>
                  <a:lnTo>
                    <a:pt x="1422" y="1680"/>
                  </a:lnTo>
                  <a:lnTo>
                    <a:pt x="1416" y="1680"/>
                  </a:lnTo>
                  <a:lnTo>
                    <a:pt x="1404" y="1674"/>
                  </a:lnTo>
                  <a:lnTo>
                    <a:pt x="1398" y="1674"/>
                  </a:lnTo>
                  <a:lnTo>
                    <a:pt x="1392" y="1662"/>
                  </a:lnTo>
                  <a:lnTo>
                    <a:pt x="1380" y="1644"/>
                  </a:lnTo>
                  <a:lnTo>
                    <a:pt x="1374" y="1632"/>
                  </a:lnTo>
                  <a:lnTo>
                    <a:pt x="1362" y="1626"/>
                  </a:lnTo>
                  <a:lnTo>
                    <a:pt x="1356" y="1620"/>
                  </a:lnTo>
                  <a:lnTo>
                    <a:pt x="1350" y="1626"/>
                  </a:lnTo>
                  <a:lnTo>
                    <a:pt x="1338" y="1626"/>
                  </a:lnTo>
                  <a:lnTo>
                    <a:pt x="1326" y="1626"/>
                  </a:lnTo>
                  <a:lnTo>
                    <a:pt x="1314" y="1620"/>
                  </a:lnTo>
                  <a:lnTo>
                    <a:pt x="1308" y="1614"/>
                  </a:lnTo>
                  <a:lnTo>
                    <a:pt x="1302" y="1608"/>
                  </a:lnTo>
                  <a:lnTo>
                    <a:pt x="1296" y="1602"/>
                  </a:lnTo>
                  <a:lnTo>
                    <a:pt x="1290" y="1602"/>
                  </a:lnTo>
                  <a:lnTo>
                    <a:pt x="1290" y="1596"/>
                  </a:lnTo>
                  <a:lnTo>
                    <a:pt x="1284" y="1590"/>
                  </a:lnTo>
                  <a:lnTo>
                    <a:pt x="1272" y="1584"/>
                  </a:lnTo>
                  <a:lnTo>
                    <a:pt x="1254" y="1572"/>
                  </a:lnTo>
                  <a:lnTo>
                    <a:pt x="1236" y="1554"/>
                  </a:lnTo>
                  <a:lnTo>
                    <a:pt x="1230" y="1554"/>
                  </a:lnTo>
                  <a:lnTo>
                    <a:pt x="1224" y="1554"/>
                  </a:lnTo>
                  <a:lnTo>
                    <a:pt x="1212" y="1554"/>
                  </a:lnTo>
                  <a:lnTo>
                    <a:pt x="1194" y="1542"/>
                  </a:lnTo>
                  <a:lnTo>
                    <a:pt x="1188" y="1536"/>
                  </a:lnTo>
                  <a:lnTo>
                    <a:pt x="1182" y="1530"/>
                  </a:lnTo>
                  <a:lnTo>
                    <a:pt x="1176" y="1530"/>
                  </a:lnTo>
                  <a:lnTo>
                    <a:pt x="1170" y="1530"/>
                  </a:lnTo>
                  <a:lnTo>
                    <a:pt x="1158" y="1524"/>
                  </a:lnTo>
                  <a:lnTo>
                    <a:pt x="1152" y="1524"/>
                  </a:lnTo>
                  <a:lnTo>
                    <a:pt x="1140" y="1518"/>
                  </a:lnTo>
                  <a:lnTo>
                    <a:pt x="1128" y="1518"/>
                  </a:lnTo>
                  <a:lnTo>
                    <a:pt x="1122" y="1518"/>
                  </a:lnTo>
                  <a:lnTo>
                    <a:pt x="1116" y="1518"/>
                  </a:lnTo>
                  <a:lnTo>
                    <a:pt x="1104" y="1518"/>
                  </a:lnTo>
                  <a:lnTo>
                    <a:pt x="1092" y="1518"/>
                  </a:lnTo>
                  <a:lnTo>
                    <a:pt x="1080" y="1518"/>
                  </a:lnTo>
                  <a:lnTo>
                    <a:pt x="1068" y="1518"/>
                  </a:lnTo>
                  <a:lnTo>
                    <a:pt x="1062" y="1518"/>
                  </a:lnTo>
                  <a:lnTo>
                    <a:pt x="1056" y="1518"/>
                  </a:lnTo>
                  <a:lnTo>
                    <a:pt x="1050" y="1512"/>
                  </a:lnTo>
                  <a:lnTo>
                    <a:pt x="1044" y="1512"/>
                  </a:lnTo>
                  <a:lnTo>
                    <a:pt x="1038" y="1512"/>
                  </a:lnTo>
                  <a:lnTo>
                    <a:pt x="1032" y="1506"/>
                  </a:lnTo>
                  <a:lnTo>
                    <a:pt x="1026" y="1500"/>
                  </a:lnTo>
                  <a:lnTo>
                    <a:pt x="1026" y="1494"/>
                  </a:lnTo>
                  <a:lnTo>
                    <a:pt x="1020" y="1476"/>
                  </a:lnTo>
                  <a:lnTo>
                    <a:pt x="1008" y="1464"/>
                  </a:lnTo>
                  <a:lnTo>
                    <a:pt x="1008" y="1458"/>
                  </a:lnTo>
                  <a:lnTo>
                    <a:pt x="1002" y="1446"/>
                  </a:lnTo>
                  <a:lnTo>
                    <a:pt x="996" y="1446"/>
                  </a:lnTo>
                  <a:lnTo>
                    <a:pt x="990" y="1440"/>
                  </a:lnTo>
                  <a:lnTo>
                    <a:pt x="984" y="1434"/>
                  </a:lnTo>
                  <a:lnTo>
                    <a:pt x="978" y="1434"/>
                  </a:lnTo>
                  <a:lnTo>
                    <a:pt x="972" y="1434"/>
                  </a:lnTo>
                  <a:lnTo>
                    <a:pt x="966" y="1428"/>
                  </a:lnTo>
                  <a:lnTo>
                    <a:pt x="954" y="1422"/>
                  </a:lnTo>
                  <a:lnTo>
                    <a:pt x="942" y="1416"/>
                  </a:lnTo>
                  <a:lnTo>
                    <a:pt x="924" y="1398"/>
                  </a:lnTo>
                  <a:lnTo>
                    <a:pt x="912" y="1386"/>
                  </a:lnTo>
                  <a:lnTo>
                    <a:pt x="900" y="1386"/>
                  </a:lnTo>
                  <a:lnTo>
                    <a:pt x="894" y="1386"/>
                  </a:lnTo>
                  <a:lnTo>
                    <a:pt x="882" y="1392"/>
                  </a:lnTo>
                  <a:lnTo>
                    <a:pt x="876" y="1392"/>
                  </a:lnTo>
                  <a:lnTo>
                    <a:pt x="864" y="1398"/>
                  </a:lnTo>
                  <a:lnTo>
                    <a:pt x="864" y="1404"/>
                  </a:lnTo>
                  <a:lnTo>
                    <a:pt x="858" y="1410"/>
                  </a:lnTo>
                  <a:lnTo>
                    <a:pt x="852" y="1410"/>
                  </a:lnTo>
                  <a:lnTo>
                    <a:pt x="846" y="1410"/>
                  </a:lnTo>
                  <a:lnTo>
                    <a:pt x="834" y="1410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10" y="1428"/>
                  </a:lnTo>
                  <a:lnTo>
                    <a:pt x="798" y="1428"/>
                  </a:lnTo>
                  <a:lnTo>
                    <a:pt x="792" y="1428"/>
                  </a:lnTo>
                  <a:lnTo>
                    <a:pt x="780" y="1434"/>
                  </a:lnTo>
                  <a:lnTo>
                    <a:pt x="774" y="1428"/>
                  </a:lnTo>
                  <a:lnTo>
                    <a:pt x="762" y="1428"/>
                  </a:lnTo>
                  <a:lnTo>
                    <a:pt x="756" y="1422"/>
                  </a:lnTo>
                  <a:lnTo>
                    <a:pt x="750" y="1416"/>
                  </a:lnTo>
                  <a:lnTo>
                    <a:pt x="744" y="1410"/>
                  </a:lnTo>
                  <a:lnTo>
                    <a:pt x="744" y="1398"/>
                  </a:lnTo>
                  <a:lnTo>
                    <a:pt x="744" y="1386"/>
                  </a:lnTo>
                  <a:lnTo>
                    <a:pt x="750" y="1380"/>
                  </a:lnTo>
                  <a:lnTo>
                    <a:pt x="750" y="1374"/>
                  </a:lnTo>
                  <a:lnTo>
                    <a:pt x="750" y="1368"/>
                  </a:lnTo>
                  <a:lnTo>
                    <a:pt x="756" y="1362"/>
                  </a:lnTo>
                  <a:lnTo>
                    <a:pt x="750" y="1350"/>
                  </a:lnTo>
                  <a:lnTo>
                    <a:pt x="744" y="1344"/>
                  </a:lnTo>
                  <a:lnTo>
                    <a:pt x="738" y="1338"/>
                  </a:lnTo>
                  <a:lnTo>
                    <a:pt x="726" y="1338"/>
                  </a:lnTo>
                  <a:lnTo>
                    <a:pt x="720" y="1338"/>
                  </a:lnTo>
                  <a:lnTo>
                    <a:pt x="714" y="1338"/>
                  </a:lnTo>
                  <a:lnTo>
                    <a:pt x="708" y="1332"/>
                  </a:lnTo>
                  <a:lnTo>
                    <a:pt x="702" y="1332"/>
                  </a:lnTo>
                  <a:lnTo>
                    <a:pt x="696" y="1326"/>
                  </a:lnTo>
                  <a:lnTo>
                    <a:pt x="684" y="1326"/>
                  </a:lnTo>
                  <a:lnTo>
                    <a:pt x="678" y="1326"/>
                  </a:lnTo>
                  <a:lnTo>
                    <a:pt x="672" y="1314"/>
                  </a:lnTo>
                  <a:lnTo>
                    <a:pt x="666" y="1308"/>
                  </a:lnTo>
                  <a:lnTo>
                    <a:pt x="654" y="1296"/>
                  </a:lnTo>
                  <a:lnTo>
                    <a:pt x="654" y="1290"/>
                  </a:lnTo>
                  <a:lnTo>
                    <a:pt x="630" y="1284"/>
                  </a:lnTo>
                  <a:lnTo>
                    <a:pt x="630" y="1278"/>
                  </a:lnTo>
                  <a:lnTo>
                    <a:pt x="624" y="1278"/>
                  </a:lnTo>
                  <a:lnTo>
                    <a:pt x="618" y="1266"/>
                  </a:lnTo>
                  <a:lnTo>
                    <a:pt x="612" y="1266"/>
                  </a:lnTo>
                  <a:lnTo>
                    <a:pt x="606" y="1266"/>
                  </a:lnTo>
                  <a:lnTo>
                    <a:pt x="606" y="1260"/>
                  </a:lnTo>
                  <a:lnTo>
                    <a:pt x="594" y="1248"/>
                  </a:lnTo>
                  <a:lnTo>
                    <a:pt x="582" y="1248"/>
                  </a:lnTo>
                  <a:lnTo>
                    <a:pt x="576" y="1242"/>
                  </a:lnTo>
                  <a:lnTo>
                    <a:pt x="570" y="1236"/>
                  </a:lnTo>
                  <a:lnTo>
                    <a:pt x="504" y="1164"/>
                  </a:lnTo>
                  <a:lnTo>
                    <a:pt x="450" y="1110"/>
                  </a:lnTo>
                  <a:lnTo>
                    <a:pt x="426" y="1092"/>
                  </a:lnTo>
                  <a:lnTo>
                    <a:pt x="426" y="1074"/>
                  </a:lnTo>
                  <a:lnTo>
                    <a:pt x="420" y="1062"/>
                  </a:lnTo>
                  <a:lnTo>
                    <a:pt x="396" y="1056"/>
                  </a:lnTo>
                  <a:lnTo>
                    <a:pt x="384" y="1032"/>
                  </a:lnTo>
                  <a:lnTo>
                    <a:pt x="372" y="1020"/>
                  </a:lnTo>
                  <a:lnTo>
                    <a:pt x="360" y="984"/>
                  </a:lnTo>
                  <a:lnTo>
                    <a:pt x="348" y="978"/>
                  </a:lnTo>
                  <a:lnTo>
                    <a:pt x="342" y="972"/>
                  </a:lnTo>
                  <a:lnTo>
                    <a:pt x="348" y="960"/>
                  </a:lnTo>
                  <a:lnTo>
                    <a:pt x="342" y="954"/>
                  </a:lnTo>
                  <a:lnTo>
                    <a:pt x="336" y="954"/>
                  </a:lnTo>
                  <a:lnTo>
                    <a:pt x="330" y="954"/>
                  </a:lnTo>
                  <a:lnTo>
                    <a:pt x="324" y="972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0" y="966"/>
                  </a:lnTo>
                  <a:lnTo>
                    <a:pt x="294" y="966"/>
                  </a:lnTo>
                  <a:lnTo>
                    <a:pt x="288" y="972"/>
                  </a:lnTo>
                  <a:lnTo>
                    <a:pt x="288" y="966"/>
                  </a:lnTo>
                  <a:lnTo>
                    <a:pt x="282" y="948"/>
                  </a:lnTo>
                  <a:lnTo>
                    <a:pt x="282" y="942"/>
                  </a:lnTo>
                  <a:lnTo>
                    <a:pt x="276" y="942"/>
                  </a:lnTo>
                  <a:lnTo>
                    <a:pt x="276" y="936"/>
                  </a:lnTo>
                  <a:lnTo>
                    <a:pt x="270" y="942"/>
                  </a:lnTo>
                  <a:lnTo>
                    <a:pt x="264" y="948"/>
                  </a:lnTo>
                  <a:lnTo>
                    <a:pt x="264" y="942"/>
                  </a:lnTo>
                  <a:lnTo>
                    <a:pt x="258" y="942"/>
                  </a:lnTo>
                  <a:lnTo>
                    <a:pt x="252" y="948"/>
                  </a:lnTo>
                  <a:lnTo>
                    <a:pt x="252" y="942"/>
                  </a:lnTo>
                  <a:lnTo>
                    <a:pt x="246" y="936"/>
                  </a:lnTo>
                  <a:lnTo>
                    <a:pt x="240" y="942"/>
                  </a:lnTo>
                  <a:lnTo>
                    <a:pt x="234" y="936"/>
                  </a:lnTo>
                  <a:lnTo>
                    <a:pt x="228" y="936"/>
                  </a:lnTo>
                  <a:lnTo>
                    <a:pt x="222" y="936"/>
                  </a:lnTo>
                  <a:lnTo>
                    <a:pt x="222" y="930"/>
                  </a:lnTo>
                  <a:lnTo>
                    <a:pt x="222" y="924"/>
                  </a:lnTo>
                  <a:lnTo>
                    <a:pt x="228" y="924"/>
                  </a:lnTo>
                  <a:lnTo>
                    <a:pt x="234" y="924"/>
                  </a:lnTo>
                  <a:lnTo>
                    <a:pt x="240" y="924"/>
                  </a:lnTo>
                  <a:lnTo>
                    <a:pt x="240" y="918"/>
                  </a:lnTo>
                  <a:lnTo>
                    <a:pt x="246" y="918"/>
                  </a:lnTo>
                  <a:lnTo>
                    <a:pt x="246" y="912"/>
                  </a:lnTo>
                  <a:lnTo>
                    <a:pt x="240" y="906"/>
                  </a:lnTo>
                  <a:lnTo>
                    <a:pt x="234" y="906"/>
                  </a:lnTo>
                  <a:lnTo>
                    <a:pt x="228" y="906"/>
                  </a:lnTo>
                  <a:lnTo>
                    <a:pt x="228" y="912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8" y="894"/>
                  </a:lnTo>
                  <a:lnTo>
                    <a:pt x="234" y="894"/>
                  </a:lnTo>
                  <a:lnTo>
                    <a:pt x="228" y="888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198" y="888"/>
                  </a:lnTo>
                  <a:lnTo>
                    <a:pt x="192" y="882"/>
                  </a:lnTo>
                  <a:lnTo>
                    <a:pt x="186" y="882"/>
                  </a:lnTo>
                  <a:lnTo>
                    <a:pt x="186" y="876"/>
                  </a:lnTo>
                  <a:lnTo>
                    <a:pt x="192" y="876"/>
                  </a:lnTo>
                  <a:lnTo>
                    <a:pt x="192" y="870"/>
                  </a:lnTo>
                  <a:lnTo>
                    <a:pt x="198" y="870"/>
                  </a:lnTo>
                  <a:lnTo>
                    <a:pt x="198" y="864"/>
                  </a:lnTo>
                  <a:lnTo>
                    <a:pt x="198" y="858"/>
                  </a:lnTo>
                  <a:lnTo>
                    <a:pt x="180" y="852"/>
                  </a:lnTo>
                  <a:lnTo>
                    <a:pt x="174" y="840"/>
                  </a:lnTo>
                  <a:lnTo>
                    <a:pt x="162" y="846"/>
                  </a:lnTo>
                  <a:lnTo>
                    <a:pt x="156" y="846"/>
                  </a:lnTo>
                  <a:lnTo>
                    <a:pt x="150" y="846"/>
                  </a:lnTo>
                  <a:lnTo>
                    <a:pt x="150" y="840"/>
                  </a:lnTo>
                  <a:lnTo>
                    <a:pt x="138" y="834"/>
                  </a:lnTo>
                  <a:lnTo>
                    <a:pt x="132" y="834"/>
                  </a:lnTo>
                  <a:lnTo>
                    <a:pt x="132" y="840"/>
                  </a:lnTo>
                  <a:lnTo>
                    <a:pt x="126" y="840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58"/>
                  </a:lnTo>
                  <a:lnTo>
                    <a:pt x="120" y="846"/>
                  </a:lnTo>
                  <a:lnTo>
                    <a:pt x="114" y="846"/>
                  </a:lnTo>
                  <a:lnTo>
                    <a:pt x="108" y="840"/>
                  </a:lnTo>
                  <a:lnTo>
                    <a:pt x="102" y="834"/>
                  </a:lnTo>
                  <a:lnTo>
                    <a:pt x="102" y="822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78" y="804"/>
                  </a:lnTo>
                  <a:lnTo>
                    <a:pt x="78" y="798"/>
                  </a:lnTo>
                  <a:lnTo>
                    <a:pt x="78" y="792"/>
                  </a:lnTo>
                  <a:lnTo>
                    <a:pt x="78" y="786"/>
                  </a:lnTo>
                  <a:lnTo>
                    <a:pt x="78" y="780"/>
                  </a:lnTo>
                  <a:lnTo>
                    <a:pt x="72" y="774"/>
                  </a:lnTo>
                  <a:lnTo>
                    <a:pt x="66" y="774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60" y="762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6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2" y="666"/>
                  </a:lnTo>
                  <a:lnTo>
                    <a:pt x="18" y="648"/>
                  </a:lnTo>
                  <a:lnTo>
                    <a:pt x="24" y="636"/>
                  </a:lnTo>
                  <a:lnTo>
                    <a:pt x="30" y="630"/>
                  </a:lnTo>
                  <a:lnTo>
                    <a:pt x="30" y="624"/>
                  </a:lnTo>
                  <a:lnTo>
                    <a:pt x="30" y="612"/>
                  </a:lnTo>
                  <a:lnTo>
                    <a:pt x="30" y="606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66" y="582"/>
                  </a:lnTo>
                  <a:lnTo>
                    <a:pt x="72" y="588"/>
                  </a:lnTo>
                  <a:lnTo>
                    <a:pt x="84" y="594"/>
                  </a:lnTo>
                  <a:lnTo>
                    <a:pt x="90" y="600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14" y="612"/>
                  </a:lnTo>
                  <a:lnTo>
                    <a:pt x="120" y="612"/>
                  </a:lnTo>
                  <a:lnTo>
                    <a:pt x="126" y="618"/>
                  </a:lnTo>
                  <a:lnTo>
                    <a:pt x="138" y="594"/>
                  </a:lnTo>
                  <a:lnTo>
                    <a:pt x="138" y="582"/>
                  </a:lnTo>
                  <a:lnTo>
                    <a:pt x="138" y="570"/>
                  </a:lnTo>
                  <a:lnTo>
                    <a:pt x="138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50" y="528"/>
                  </a:lnTo>
                  <a:lnTo>
                    <a:pt x="156" y="510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62"/>
                  </a:lnTo>
                  <a:lnTo>
                    <a:pt x="168" y="450"/>
                  </a:lnTo>
                  <a:lnTo>
                    <a:pt x="168" y="444"/>
                  </a:lnTo>
                  <a:lnTo>
                    <a:pt x="162" y="432"/>
                  </a:lnTo>
                  <a:lnTo>
                    <a:pt x="162" y="426"/>
                  </a:lnTo>
                  <a:lnTo>
                    <a:pt x="156" y="420"/>
                  </a:lnTo>
                  <a:lnTo>
                    <a:pt x="144" y="414"/>
                  </a:lnTo>
                  <a:lnTo>
                    <a:pt x="132" y="402"/>
                  </a:lnTo>
                  <a:lnTo>
                    <a:pt x="126" y="390"/>
                  </a:lnTo>
                  <a:lnTo>
                    <a:pt x="120" y="384"/>
                  </a:lnTo>
                  <a:lnTo>
                    <a:pt x="120" y="372"/>
                  </a:lnTo>
                  <a:lnTo>
                    <a:pt x="114" y="360"/>
                  </a:lnTo>
                  <a:lnTo>
                    <a:pt x="108" y="360"/>
                  </a:lnTo>
                  <a:lnTo>
                    <a:pt x="108" y="354"/>
                  </a:lnTo>
                  <a:lnTo>
                    <a:pt x="102" y="348"/>
                  </a:lnTo>
                  <a:lnTo>
                    <a:pt x="102" y="342"/>
                  </a:lnTo>
                  <a:lnTo>
                    <a:pt x="108" y="330"/>
                  </a:lnTo>
                  <a:lnTo>
                    <a:pt x="114" y="312"/>
                  </a:lnTo>
                  <a:lnTo>
                    <a:pt x="114" y="300"/>
                  </a:lnTo>
                  <a:lnTo>
                    <a:pt x="120" y="288"/>
                  </a:lnTo>
                  <a:lnTo>
                    <a:pt x="120" y="282"/>
                  </a:lnTo>
                  <a:lnTo>
                    <a:pt x="114" y="270"/>
                  </a:lnTo>
                  <a:lnTo>
                    <a:pt x="114" y="258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84" y="222"/>
                  </a:lnTo>
                  <a:lnTo>
                    <a:pt x="84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84" y="186"/>
                  </a:lnTo>
                  <a:lnTo>
                    <a:pt x="84" y="180"/>
                  </a:lnTo>
                  <a:lnTo>
                    <a:pt x="108" y="174"/>
                  </a:lnTo>
                  <a:lnTo>
                    <a:pt x="132" y="186"/>
                  </a:lnTo>
                  <a:lnTo>
                    <a:pt x="138" y="192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56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74" y="204"/>
                  </a:lnTo>
                  <a:lnTo>
                    <a:pt x="180" y="216"/>
                  </a:lnTo>
                  <a:lnTo>
                    <a:pt x="186" y="228"/>
                  </a:lnTo>
                  <a:lnTo>
                    <a:pt x="192" y="234"/>
                  </a:lnTo>
                  <a:lnTo>
                    <a:pt x="198" y="234"/>
                  </a:lnTo>
                  <a:lnTo>
                    <a:pt x="204" y="240"/>
                  </a:lnTo>
                  <a:lnTo>
                    <a:pt x="210" y="240"/>
                  </a:lnTo>
                  <a:lnTo>
                    <a:pt x="216" y="240"/>
                  </a:lnTo>
                  <a:lnTo>
                    <a:pt x="222" y="240"/>
                  </a:lnTo>
                  <a:lnTo>
                    <a:pt x="228" y="246"/>
                  </a:lnTo>
                  <a:lnTo>
                    <a:pt x="234" y="246"/>
                  </a:lnTo>
                  <a:lnTo>
                    <a:pt x="240" y="246"/>
                  </a:lnTo>
                  <a:lnTo>
                    <a:pt x="252" y="252"/>
                  </a:lnTo>
                  <a:lnTo>
                    <a:pt x="330" y="246"/>
                  </a:lnTo>
                  <a:lnTo>
                    <a:pt x="360" y="228"/>
                  </a:lnTo>
                  <a:lnTo>
                    <a:pt x="396" y="228"/>
                  </a:lnTo>
                  <a:lnTo>
                    <a:pt x="402" y="240"/>
                  </a:lnTo>
                  <a:lnTo>
                    <a:pt x="432" y="240"/>
                  </a:lnTo>
                  <a:lnTo>
                    <a:pt x="450" y="258"/>
                  </a:lnTo>
                  <a:lnTo>
                    <a:pt x="468" y="258"/>
                  </a:lnTo>
                  <a:lnTo>
                    <a:pt x="474" y="294"/>
                  </a:lnTo>
                  <a:lnTo>
                    <a:pt x="558" y="318"/>
                  </a:lnTo>
                  <a:lnTo>
                    <a:pt x="588" y="318"/>
                  </a:lnTo>
                  <a:lnTo>
                    <a:pt x="588" y="312"/>
                  </a:lnTo>
                  <a:lnTo>
                    <a:pt x="594" y="306"/>
                  </a:lnTo>
                  <a:lnTo>
                    <a:pt x="600" y="306"/>
                  </a:lnTo>
                  <a:lnTo>
                    <a:pt x="612" y="300"/>
                  </a:lnTo>
                  <a:lnTo>
                    <a:pt x="618" y="300"/>
                  </a:lnTo>
                  <a:lnTo>
                    <a:pt x="630" y="300"/>
                  </a:lnTo>
                  <a:lnTo>
                    <a:pt x="642" y="306"/>
                  </a:lnTo>
                  <a:lnTo>
                    <a:pt x="660" y="306"/>
                  </a:lnTo>
                  <a:lnTo>
                    <a:pt x="666" y="306"/>
                  </a:lnTo>
                  <a:lnTo>
                    <a:pt x="672" y="306"/>
                  </a:lnTo>
                  <a:lnTo>
                    <a:pt x="684" y="300"/>
                  </a:lnTo>
                  <a:lnTo>
                    <a:pt x="696" y="294"/>
                  </a:lnTo>
                  <a:lnTo>
                    <a:pt x="702" y="288"/>
                  </a:lnTo>
                  <a:lnTo>
                    <a:pt x="714" y="282"/>
                  </a:lnTo>
                  <a:lnTo>
                    <a:pt x="714" y="288"/>
                  </a:lnTo>
                  <a:lnTo>
                    <a:pt x="726" y="300"/>
                  </a:lnTo>
                  <a:lnTo>
                    <a:pt x="732" y="306"/>
                  </a:lnTo>
                  <a:lnTo>
                    <a:pt x="732" y="318"/>
                  </a:lnTo>
                  <a:lnTo>
                    <a:pt x="732" y="330"/>
                  </a:lnTo>
                  <a:lnTo>
                    <a:pt x="726" y="342"/>
                  </a:lnTo>
                  <a:lnTo>
                    <a:pt x="720" y="354"/>
                  </a:lnTo>
                  <a:lnTo>
                    <a:pt x="720" y="360"/>
                  </a:lnTo>
                  <a:lnTo>
                    <a:pt x="714" y="372"/>
                  </a:lnTo>
                  <a:lnTo>
                    <a:pt x="714" y="378"/>
                  </a:lnTo>
                  <a:lnTo>
                    <a:pt x="714" y="408"/>
                  </a:lnTo>
                  <a:lnTo>
                    <a:pt x="708" y="420"/>
                  </a:lnTo>
                  <a:lnTo>
                    <a:pt x="714" y="432"/>
                  </a:lnTo>
                  <a:lnTo>
                    <a:pt x="708" y="450"/>
                  </a:lnTo>
                  <a:lnTo>
                    <a:pt x="708" y="468"/>
                  </a:lnTo>
                  <a:lnTo>
                    <a:pt x="696" y="480"/>
                  </a:lnTo>
                  <a:lnTo>
                    <a:pt x="684" y="486"/>
                  </a:lnTo>
                  <a:lnTo>
                    <a:pt x="672" y="492"/>
                  </a:lnTo>
                  <a:lnTo>
                    <a:pt x="660" y="498"/>
                  </a:lnTo>
                  <a:lnTo>
                    <a:pt x="654" y="510"/>
                  </a:lnTo>
                  <a:lnTo>
                    <a:pt x="648" y="516"/>
                  </a:lnTo>
                  <a:lnTo>
                    <a:pt x="642" y="522"/>
                  </a:lnTo>
                  <a:lnTo>
                    <a:pt x="630" y="522"/>
                  </a:lnTo>
                  <a:lnTo>
                    <a:pt x="624" y="528"/>
                  </a:lnTo>
                  <a:lnTo>
                    <a:pt x="618" y="540"/>
                  </a:lnTo>
                  <a:lnTo>
                    <a:pt x="618" y="558"/>
                  </a:lnTo>
                  <a:lnTo>
                    <a:pt x="612" y="576"/>
                  </a:lnTo>
                  <a:lnTo>
                    <a:pt x="612" y="684"/>
                  </a:lnTo>
                  <a:lnTo>
                    <a:pt x="618" y="696"/>
                  </a:lnTo>
                  <a:lnTo>
                    <a:pt x="636" y="696"/>
                  </a:lnTo>
                  <a:lnTo>
                    <a:pt x="636" y="720"/>
                  </a:lnTo>
                  <a:lnTo>
                    <a:pt x="636" y="732"/>
                  </a:lnTo>
                  <a:lnTo>
                    <a:pt x="618" y="750"/>
                  </a:lnTo>
                  <a:lnTo>
                    <a:pt x="606" y="762"/>
                  </a:lnTo>
                  <a:lnTo>
                    <a:pt x="600" y="774"/>
                  </a:lnTo>
                  <a:lnTo>
                    <a:pt x="594" y="798"/>
                  </a:lnTo>
                  <a:lnTo>
                    <a:pt x="606" y="798"/>
                  </a:lnTo>
                  <a:lnTo>
                    <a:pt x="660" y="792"/>
                  </a:lnTo>
                  <a:lnTo>
                    <a:pt x="696" y="798"/>
                  </a:lnTo>
                  <a:lnTo>
                    <a:pt x="720" y="798"/>
                  </a:lnTo>
                  <a:lnTo>
                    <a:pt x="720" y="786"/>
                  </a:lnTo>
                  <a:lnTo>
                    <a:pt x="720" y="774"/>
                  </a:lnTo>
                  <a:lnTo>
                    <a:pt x="702" y="762"/>
                  </a:lnTo>
                  <a:lnTo>
                    <a:pt x="702" y="750"/>
                  </a:lnTo>
                  <a:lnTo>
                    <a:pt x="702" y="726"/>
                  </a:lnTo>
                  <a:lnTo>
                    <a:pt x="714" y="714"/>
                  </a:lnTo>
                  <a:lnTo>
                    <a:pt x="720" y="702"/>
                  </a:lnTo>
                  <a:lnTo>
                    <a:pt x="720" y="696"/>
                  </a:lnTo>
                  <a:lnTo>
                    <a:pt x="744" y="690"/>
                  </a:lnTo>
                  <a:lnTo>
                    <a:pt x="744" y="696"/>
                  </a:lnTo>
                  <a:lnTo>
                    <a:pt x="756" y="696"/>
                  </a:lnTo>
                  <a:lnTo>
                    <a:pt x="762" y="690"/>
                  </a:lnTo>
                  <a:lnTo>
                    <a:pt x="768" y="690"/>
                  </a:lnTo>
                  <a:lnTo>
                    <a:pt x="774" y="696"/>
                  </a:lnTo>
                  <a:lnTo>
                    <a:pt x="780" y="696"/>
                  </a:lnTo>
                  <a:lnTo>
                    <a:pt x="786" y="696"/>
                  </a:lnTo>
                  <a:lnTo>
                    <a:pt x="804" y="684"/>
                  </a:lnTo>
                  <a:lnTo>
                    <a:pt x="810" y="684"/>
                  </a:lnTo>
                  <a:lnTo>
                    <a:pt x="810" y="654"/>
                  </a:lnTo>
                  <a:lnTo>
                    <a:pt x="816" y="588"/>
                  </a:lnTo>
                  <a:lnTo>
                    <a:pt x="804" y="582"/>
                  </a:lnTo>
                  <a:lnTo>
                    <a:pt x="798" y="552"/>
                  </a:lnTo>
                  <a:lnTo>
                    <a:pt x="798" y="480"/>
                  </a:lnTo>
                  <a:lnTo>
                    <a:pt x="780" y="468"/>
                  </a:lnTo>
                  <a:lnTo>
                    <a:pt x="780" y="462"/>
                  </a:lnTo>
                  <a:lnTo>
                    <a:pt x="774" y="450"/>
                  </a:lnTo>
                  <a:lnTo>
                    <a:pt x="762" y="444"/>
                  </a:lnTo>
                  <a:lnTo>
                    <a:pt x="762" y="438"/>
                  </a:lnTo>
                  <a:lnTo>
                    <a:pt x="768" y="432"/>
                  </a:lnTo>
                  <a:lnTo>
                    <a:pt x="774" y="426"/>
                  </a:lnTo>
                  <a:lnTo>
                    <a:pt x="780" y="426"/>
                  </a:lnTo>
                  <a:lnTo>
                    <a:pt x="780" y="414"/>
                  </a:lnTo>
                  <a:lnTo>
                    <a:pt x="834" y="414"/>
                  </a:lnTo>
                  <a:lnTo>
                    <a:pt x="834" y="426"/>
                  </a:lnTo>
                  <a:lnTo>
                    <a:pt x="840" y="432"/>
                  </a:lnTo>
                  <a:lnTo>
                    <a:pt x="846" y="432"/>
                  </a:lnTo>
                  <a:lnTo>
                    <a:pt x="852" y="432"/>
                  </a:lnTo>
                  <a:lnTo>
                    <a:pt x="858" y="432"/>
                  </a:lnTo>
                  <a:lnTo>
                    <a:pt x="870" y="432"/>
                  </a:lnTo>
                  <a:lnTo>
                    <a:pt x="870" y="426"/>
                  </a:lnTo>
                  <a:lnTo>
                    <a:pt x="870" y="420"/>
                  </a:lnTo>
                  <a:lnTo>
                    <a:pt x="876" y="420"/>
                  </a:lnTo>
                  <a:lnTo>
                    <a:pt x="882" y="420"/>
                  </a:lnTo>
                  <a:lnTo>
                    <a:pt x="894" y="414"/>
                  </a:lnTo>
                  <a:lnTo>
                    <a:pt x="900" y="414"/>
                  </a:lnTo>
                  <a:lnTo>
                    <a:pt x="906" y="408"/>
                  </a:lnTo>
                  <a:lnTo>
                    <a:pt x="918" y="408"/>
                  </a:lnTo>
                  <a:lnTo>
                    <a:pt x="924" y="402"/>
                  </a:lnTo>
                  <a:lnTo>
                    <a:pt x="930" y="384"/>
                  </a:lnTo>
                  <a:lnTo>
                    <a:pt x="948" y="396"/>
                  </a:lnTo>
                  <a:lnTo>
                    <a:pt x="954" y="384"/>
                  </a:lnTo>
                  <a:lnTo>
                    <a:pt x="960" y="384"/>
                  </a:lnTo>
                  <a:lnTo>
                    <a:pt x="972" y="384"/>
                  </a:lnTo>
                  <a:lnTo>
                    <a:pt x="978" y="378"/>
                  </a:lnTo>
                  <a:lnTo>
                    <a:pt x="972" y="366"/>
                  </a:lnTo>
                  <a:lnTo>
                    <a:pt x="966" y="342"/>
                  </a:lnTo>
                  <a:lnTo>
                    <a:pt x="960" y="330"/>
                  </a:lnTo>
                  <a:lnTo>
                    <a:pt x="942" y="324"/>
                  </a:lnTo>
                  <a:lnTo>
                    <a:pt x="936" y="318"/>
                  </a:lnTo>
                  <a:lnTo>
                    <a:pt x="936" y="294"/>
                  </a:lnTo>
                  <a:lnTo>
                    <a:pt x="942" y="294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282"/>
                  </a:lnTo>
                  <a:lnTo>
                    <a:pt x="954" y="276"/>
                  </a:lnTo>
                  <a:lnTo>
                    <a:pt x="960" y="276"/>
                  </a:lnTo>
                  <a:lnTo>
                    <a:pt x="966" y="276"/>
                  </a:lnTo>
                  <a:lnTo>
                    <a:pt x="960" y="258"/>
                  </a:lnTo>
                  <a:lnTo>
                    <a:pt x="954" y="240"/>
                  </a:lnTo>
                  <a:lnTo>
                    <a:pt x="948" y="204"/>
                  </a:lnTo>
                  <a:lnTo>
                    <a:pt x="954" y="204"/>
                  </a:lnTo>
                  <a:lnTo>
                    <a:pt x="960" y="198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00" y="186"/>
                  </a:lnTo>
                  <a:lnTo>
                    <a:pt x="876" y="180"/>
                  </a:lnTo>
                  <a:lnTo>
                    <a:pt x="858" y="180"/>
                  </a:lnTo>
                  <a:lnTo>
                    <a:pt x="852" y="168"/>
                  </a:lnTo>
                  <a:lnTo>
                    <a:pt x="834" y="156"/>
                  </a:lnTo>
                  <a:lnTo>
                    <a:pt x="822" y="156"/>
                  </a:lnTo>
                  <a:lnTo>
                    <a:pt x="804" y="156"/>
                  </a:lnTo>
                  <a:lnTo>
                    <a:pt x="804" y="150"/>
                  </a:lnTo>
                  <a:lnTo>
                    <a:pt x="792" y="144"/>
                  </a:lnTo>
                  <a:lnTo>
                    <a:pt x="762" y="138"/>
                  </a:lnTo>
                  <a:lnTo>
                    <a:pt x="768" y="120"/>
                  </a:lnTo>
                  <a:lnTo>
                    <a:pt x="756" y="120"/>
                  </a:lnTo>
                  <a:lnTo>
                    <a:pt x="744" y="108"/>
                  </a:lnTo>
                  <a:lnTo>
                    <a:pt x="744" y="96"/>
                  </a:lnTo>
                  <a:lnTo>
                    <a:pt x="762" y="84"/>
                  </a:lnTo>
                  <a:lnTo>
                    <a:pt x="768" y="84"/>
                  </a:lnTo>
                  <a:lnTo>
                    <a:pt x="768" y="72"/>
                  </a:lnTo>
                  <a:lnTo>
                    <a:pt x="780" y="66"/>
                  </a:lnTo>
                  <a:lnTo>
                    <a:pt x="798" y="54"/>
                  </a:lnTo>
                  <a:lnTo>
                    <a:pt x="792" y="54"/>
                  </a:lnTo>
                  <a:lnTo>
                    <a:pt x="798" y="36"/>
                  </a:lnTo>
                  <a:lnTo>
                    <a:pt x="804" y="36"/>
                  </a:lnTo>
                  <a:lnTo>
                    <a:pt x="816" y="30"/>
                  </a:lnTo>
                  <a:lnTo>
                    <a:pt x="828" y="30"/>
                  </a:lnTo>
                  <a:lnTo>
                    <a:pt x="846" y="12"/>
                  </a:lnTo>
                  <a:lnTo>
                    <a:pt x="876" y="0"/>
                  </a:lnTo>
                  <a:lnTo>
                    <a:pt x="882" y="6"/>
                  </a:lnTo>
                  <a:lnTo>
                    <a:pt x="900" y="6"/>
                  </a:lnTo>
                  <a:lnTo>
                    <a:pt x="912" y="36"/>
                  </a:lnTo>
                  <a:lnTo>
                    <a:pt x="918" y="42"/>
                  </a:lnTo>
                  <a:lnTo>
                    <a:pt x="924" y="54"/>
                  </a:lnTo>
                  <a:lnTo>
                    <a:pt x="930" y="54"/>
                  </a:lnTo>
                  <a:lnTo>
                    <a:pt x="930" y="78"/>
                  </a:lnTo>
                  <a:lnTo>
                    <a:pt x="954" y="72"/>
                  </a:lnTo>
                  <a:lnTo>
                    <a:pt x="954" y="60"/>
                  </a:lnTo>
                  <a:lnTo>
                    <a:pt x="966" y="66"/>
                  </a:lnTo>
                  <a:lnTo>
                    <a:pt x="966" y="78"/>
                  </a:lnTo>
                  <a:lnTo>
                    <a:pt x="960" y="84"/>
                  </a:lnTo>
                  <a:lnTo>
                    <a:pt x="954" y="102"/>
                  </a:lnTo>
                  <a:lnTo>
                    <a:pt x="972" y="102"/>
                  </a:lnTo>
                  <a:lnTo>
                    <a:pt x="978" y="84"/>
                  </a:lnTo>
                  <a:lnTo>
                    <a:pt x="984" y="72"/>
                  </a:lnTo>
                  <a:lnTo>
                    <a:pt x="990" y="72"/>
                  </a:lnTo>
                  <a:lnTo>
                    <a:pt x="996" y="18"/>
                  </a:lnTo>
                  <a:lnTo>
                    <a:pt x="990" y="12"/>
                  </a:lnTo>
                  <a:lnTo>
                    <a:pt x="1014" y="12"/>
                  </a:lnTo>
                  <a:lnTo>
                    <a:pt x="1026" y="12"/>
                  </a:lnTo>
                  <a:lnTo>
                    <a:pt x="1026" y="24"/>
                  </a:lnTo>
                  <a:lnTo>
                    <a:pt x="1050" y="24"/>
                  </a:lnTo>
                  <a:lnTo>
                    <a:pt x="1050" y="36"/>
                  </a:lnTo>
                  <a:lnTo>
                    <a:pt x="1062" y="66"/>
                  </a:lnTo>
                  <a:lnTo>
                    <a:pt x="1074" y="66"/>
                  </a:lnTo>
                  <a:lnTo>
                    <a:pt x="1080" y="60"/>
                  </a:lnTo>
                  <a:lnTo>
                    <a:pt x="1074" y="24"/>
                  </a:lnTo>
                  <a:lnTo>
                    <a:pt x="1086" y="18"/>
                  </a:lnTo>
                  <a:lnTo>
                    <a:pt x="1086" y="12"/>
                  </a:lnTo>
                  <a:lnTo>
                    <a:pt x="1104" y="6"/>
                  </a:lnTo>
                  <a:lnTo>
                    <a:pt x="1122" y="0"/>
                  </a:lnTo>
                  <a:lnTo>
                    <a:pt x="1134" y="6"/>
                  </a:lnTo>
                  <a:lnTo>
                    <a:pt x="1134" y="42"/>
                  </a:lnTo>
                  <a:lnTo>
                    <a:pt x="1140" y="72"/>
                  </a:lnTo>
                  <a:lnTo>
                    <a:pt x="1158" y="114"/>
                  </a:lnTo>
                  <a:lnTo>
                    <a:pt x="1170" y="114"/>
                  </a:lnTo>
                  <a:lnTo>
                    <a:pt x="1170" y="126"/>
                  </a:lnTo>
                  <a:lnTo>
                    <a:pt x="1182" y="126"/>
                  </a:lnTo>
                  <a:lnTo>
                    <a:pt x="1182" y="138"/>
                  </a:lnTo>
                  <a:lnTo>
                    <a:pt x="1194" y="144"/>
                  </a:lnTo>
                  <a:lnTo>
                    <a:pt x="1194" y="156"/>
                  </a:lnTo>
                  <a:lnTo>
                    <a:pt x="1188" y="156"/>
                  </a:lnTo>
                  <a:lnTo>
                    <a:pt x="1194" y="162"/>
                  </a:lnTo>
                  <a:lnTo>
                    <a:pt x="1194" y="168"/>
                  </a:lnTo>
                  <a:lnTo>
                    <a:pt x="1188" y="168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82" y="180"/>
                  </a:lnTo>
                  <a:lnTo>
                    <a:pt x="1188" y="186"/>
                  </a:lnTo>
                  <a:lnTo>
                    <a:pt x="1188" y="192"/>
                  </a:lnTo>
                  <a:lnTo>
                    <a:pt x="1182" y="198"/>
                  </a:lnTo>
                  <a:lnTo>
                    <a:pt x="1182" y="204"/>
                  </a:lnTo>
                  <a:lnTo>
                    <a:pt x="1182" y="210"/>
                  </a:lnTo>
                  <a:lnTo>
                    <a:pt x="1188" y="210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2"/>
                  </a:lnTo>
                  <a:lnTo>
                    <a:pt x="1194" y="264"/>
                  </a:lnTo>
                  <a:lnTo>
                    <a:pt x="1200" y="264"/>
                  </a:lnTo>
                  <a:lnTo>
                    <a:pt x="1212" y="264"/>
                  </a:lnTo>
                  <a:lnTo>
                    <a:pt x="1212" y="258"/>
                  </a:lnTo>
                  <a:lnTo>
                    <a:pt x="1224" y="258"/>
                  </a:lnTo>
                  <a:lnTo>
                    <a:pt x="1248" y="252"/>
                  </a:lnTo>
                  <a:lnTo>
                    <a:pt x="1248" y="264"/>
                  </a:lnTo>
                  <a:lnTo>
                    <a:pt x="1254" y="264"/>
                  </a:lnTo>
                  <a:lnTo>
                    <a:pt x="1254" y="270"/>
                  </a:lnTo>
                  <a:lnTo>
                    <a:pt x="1260" y="270"/>
                  </a:lnTo>
                  <a:lnTo>
                    <a:pt x="1266" y="270"/>
                  </a:lnTo>
                  <a:lnTo>
                    <a:pt x="1272" y="270"/>
                  </a:lnTo>
                  <a:lnTo>
                    <a:pt x="1272" y="264"/>
                  </a:lnTo>
                  <a:lnTo>
                    <a:pt x="1272" y="258"/>
                  </a:lnTo>
                  <a:lnTo>
                    <a:pt x="1278" y="258"/>
                  </a:lnTo>
                  <a:lnTo>
                    <a:pt x="1278" y="252"/>
                  </a:lnTo>
                  <a:lnTo>
                    <a:pt x="1290" y="252"/>
                  </a:lnTo>
                  <a:lnTo>
                    <a:pt x="1296" y="246"/>
                  </a:lnTo>
                  <a:lnTo>
                    <a:pt x="1308" y="246"/>
                  </a:lnTo>
                  <a:lnTo>
                    <a:pt x="1308" y="240"/>
                  </a:lnTo>
                  <a:lnTo>
                    <a:pt x="1320" y="240"/>
                  </a:lnTo>
                  <a:lnTo>
                    <a:pt x="1326" y="246"/>
                  </a:lnTo>
                  <a:lnTo>
                    <a:pt x="1338" y="246"/>
                  </a:lnTo>
                  <a:lnTo>
                    <a:pt x="1338" y="240"/>
                  </a:lnTo>
                  <a:lnTo>
                    <a:pt x="1350" y="240"/>
                  </a:lnTo>
                  <a:lnTo>
                    <a:pt x="1386" y="234"/>
                  </a:lnTo>
                  <a:lnTo>
                    <a:pt x="1398" y="228"/>
                  </a:lnTo>
                  <a:lnTo>
                    <a:pt x="1404" y="216"/>
                  </a:lnTo>
                  <a:lnTo>
                    <a:pt x="1416" y="204"/>
                  </a:lnTo>
                  <a:lnTo>
                    <a:pt x="1434" y="192"/>
                  </a:lnTo>
                  <a:lnTo>
                    <a:pt x="1446" y="198"/>
                  </a:lnTo>
                  <a:lnTo>
                    <a:pt x="1446" y="204"/>
                  </a:lnTo>
                  <a:lnTo>
                    <a:pt x="1452" y="210"/>
                  </a:lnTo>
                  <a:lnTo>
                    <a:pt x="1464" y="222"/>
                  </a:lnTo>
                  <a:lnTo>
                    <a:pt x="1464" y="228"/>
                  </a:lnTo>
                  <a:lnTo>
                    <a:pt x="1464" y="234"/>
                  </a:lnTo>
                  <a:lnTo>
                    <a:pt x="1470" y="240"/>
                  </a:lnTo>
                  <a:lnTo>
                    <a:pt x="1476" y="228"/>
                  </a:lnTo>
                  <a:lnTo>
                    <a:pt x="1476" y="222"/>
                  </a:lnTo>
                  <a:lnTo>
                    <a:pt x="1482" y="210"/>
                  </a:lnTo>
                  <a:lnTo>
                    <a:pt x="1488" y="192"/>
                  </a:lnTo>
                  <a:lnTo>
                    <a:pt x="1488" y="186"/>
                  </a:lnTo>
                  <a:lnTo>
                    <a:pt x="1488" y="180"/>
                  </a:lnTo>
                  <a:lnTo>
                    <a:pt x="1500" y="180"/>
                  </a:lnTo>
                  <a:lnTo>
                    <a:pt x="1500" y="174"/>
                  </a:lnTo>
                  <a:lnTo>
                    <a:pt x="1518" y="162"/>
                  </a:lnTo>
                  <a:lnTo>
                    <a:pt x="1536" y="150"/>
                  </a:lnTo>
                  <a:lnTo>
                    <a:pt x="1554" y="168"/>
                  </a:lnTo>
                  <a:lnTo>
                    <a:pt x="1572" y="180"/>
                  </a:lnTo>
                  <a:lnTo>
                    <a:pt x="1596" y="216"/>
                  </a:lnTo>
                  <a:lnTo>
                    <a:pt x="1602" y="216"/>
                  </a:lnTo>
                  <a:lnTo>
                    <a:pt x="1614" y="228"/>
                  </a:lnTo>
                  <a:lnTo>
                    <a:pt x="1614" y="234"/>
                  </a:lnTo>
                  <a:lnTo>
                    <a:pt x="1620" y="240"/>
                  </a:lnTo>
                  <a:lnTo>
                    <a:pt x="1620" y="246"/>
                  </a:lnTo>
                  <a:lnTo>
                    <a:pt x="1626" y="252"/>
                  </a:lnTo>
                  <a:lnTo>
                    <a:pt x="1632" y="258"/>
                  </a:lnTo>
                  <a:lnTo>
                    <a:pt x="1632" y="264"/>
                  </a:lnTo>
                  <a:lnTo>
                    <a:pt x="1638" y="264"/>
                  </a:lnTo>
                  <a:lnTo>
                    <a:pt x="1638" y="270"/>
                  </a:lnTo>
                  <a:lnTo>
                    <a:pt x="1638" y="276"/>
                  </a:lnTo>
                  <a:lnTo>
                    <a:pt x="1638" y="282"/>
                  </a:lnTo>
                  <a:lnTo>
                    <a:pt x="1644" y="288"/>
                  </a:lnTo>
                  <a:lnTo>
                    <a:pt x="1644" y="294"/>
                  </a:lnTo>
                  <a:lnTo>
                    <a:pt x="1644" y="300"/>
                  </a:lnTo>
                  <a:lnTo>
                    <a:pt x="1644" y="306"/>
                  </a:lnTo>
                  <a:lnTo>
                    <a:pt x="1650" y="306"/>
                  </a:lnTo>
                  <a:lnTo>
                    <a:pt x="1650" y="312"/>
                  </a:lnTo>
                  <a:lnTo>
                    <a:pt x="1650" y="318"/>
                  </a:lnTo>
                  <a:lnTo>
                    <a:pt x="1650" y="324"/>
                  </a:lnTo>
                  <a:lnTo>
                    <a:pt x="1644" y="330"/>
                  </a:lnTo>
                  <a:lnTo>
                    <a:pt x="1626" y="330"/>
                  </a:lnTo>
                  <a:lnTo>
                    <a:pt x="1626" y="336"/>
                  </a:lnTo>
                  <a:lnTo>
                    <a:pt x="1626" y="342"/>
                  </a:lnTo>
                  <a:lnTo>
                    <a:pt x="1626" y="348"/>
                  </a:lnTo>
                  <a:lnTo>
                    <a:pt x="1620" y="354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14" y="390"/>
                  </a:lnTo>
                  <a:lnTo>
                    <a:pt x="1614" y="396"/>
                  </a:lnTo>
                  <a:lnTo>
                    <a:pt x="1614" y="402"/>
                  </a:lnTo>
                  <a:lnTo>
                    <a:pt x="1614" y="408"/>
                  </a:lnTo>
                  <a:lnTo>
                    <a:pt x="1614" y="414"/>
                  </a:lnTo>
                  <a:lnTo>
                    <a:pt x="1602" y="420"/>
                  </a:lnTo>
                  <a:lnTo>
                    <a:pt x="1602" y="426"/>
                  </a:lnTo>
                  <a:lnTo>
                    <a:pt x="1608" y="432"/>
                  </a:lnTo>
                  <a:lnTo>
                    <a:pt x="1614" y="426"/>
                  </a:lnTo>
                  <a:lnTo>
                    <a:pt x="1620" y="438"/>
                  </a:lnTo>
                  <a:lnTo>
                    <a:pt x="1626" y="438"/>
                  </a:lnTo>
                  <a:lnTo>
                    <a:pt x="1632" y="444"/>
                  </a:lnTo>
                  <a:lnTo>
                    <a:pt x="1626" y="456"/>
                  </a:lnTo>
                  <a:lnTo>
                    <a:pt x="1626" y="468"/>
                  </a:lnTo>
                  <a:lnTo>
                    <a:pt x="1620" y="474"/>
                  </a:lnTo>
                  <a:lnTo>
                    <a:pt x="1614" y="474"/>
                  </a:lnTo>
                  <a:lnTo>
                    <a:pt x="1614" y="486"/>
                  </a:lnTo>
                  <a:lnTo>
                    <a:pt x="1614" y="492"/>
                  </a:lnTo>
                  <a:lnTo>
                    <a:pt x="1620" y="492"/>
                  </a:lnTo>
                  <a:lnTo>
                    <a:pt x="1626" y="498"/>
                  </a:lnTo>
                  <a:lnTo>
                    <a:pt x="1626" y="504"/>
                  </a:lnTo>
                  <a:lnTo>
                    <a:pt x="1626" y="510"/>
                  </a:lnTo>
                  <a:lnTo>
                    <a:pt x="1620" y="516"/>
                  </a:lnTo>
                  <a:lnTo>
                    <a:pt x="1620" y="522"/>
                  </a:lnTo>
                  <a:lnTo>
                    <a:pt x="1614" y="522"/>
                  </a:lnTo>
                  <a:lnTo>
                    <a:pt x="1608" y="528"/>
                  </a:lnTo>
                  <a:lnTo>
                    <a:pt x="1602" y="522"/>
                  </a:lnTo>
                  <a:lnTo>
                    <a:pt x="1602" y="528"/>
                  </a:lnTo>
                  <a:lnTo>
                    <a:pt x="1602" y="540"/>
                  </a:lnTo>
                  <a:lnTo>
                    <a:pt x="1602" y="558"/>
                  </a:lnTo>
                  <a:lnTo>
                    <a:pt x="1602" y="564"/>
                  </a:lnTo>
                  <a:lnTo>
                    <a:pt x="1602" y="570"/>
                  </a:lnTo>
                  <a:lnTo>
                    <a:pt x="1602" y="576"/>
                  </a:lnTo>
                  <a:lnTo>
                    <a:pt x="1596" y="576"/>
                  </a:lnTo>
                  <a:lnTo>
                    <a:pt x="1632" y="582"/>
                  </a:lnTo>
                  <a:lnTo>
                    <a:pt x="1644" y="618"/>
                  </a:lnTo>
                  <a:lnTo>
                    <a:pt x="1650" y="648"/>
                  </a:lnTo>
                  <a:lnTo>
                    <a:pt x="1662" y="636"/>
                  </a:lnTo>
                  <a:lnTo>
                    <a:pt x="1668" y="636"/>
                  </a:lnTo>
                  <a:lnTo>
                    <a:pt x="1674" y="636"/>
                  </a:lnTo>
                  <a:lnTo>
                    <a:pt x="1680" y="630"/>
                  </a:lnTo>
                  <a:lnTo>
                    <a:pt x="1686" y="630"/>
                  </a:lnTo>
                  <a:lnTo>
                    <a:pt x="1692" y="630"/>
                  </a:lnTo>
                  <a:lnTo>
                    <a:pt x="1698" y="630"/>
                  </a:lnTo>
                  <a:lnTo>
                    <a:pt x="1704" y="630"/>
                  </a:lnTo>
                  <a:lnTo>
                    <a:pt x="1704" y="624"/>
                  </a:lnTo>
                  <a:lnTo>
                    <a:pt x="1710" y="624"/>
                  </a:lnTo>
                  <a:lnTo>
                    <a:pt x="1716" y="624"/>
                  </a:lnTo>
                  <a:lnTo>
                    <a:pt x="1722" y="624"/>
                  </a:lnTo>
                  <a:lnTo>
                    <a:pt x="1728" y="624"/>
                  </a:lnTo>
                  <a:lnTo>
                    <a:pt x="1722" y="618"/>
                  </a:lnTo>
                  <a:lnTo>
                    <a:pt x="1728" y="606"/>
                  </a:lnTo>
                  <a:lnTo>
                    <a:pt x="1734" y="606"/>
                  </a:lnTo>
                  <a:lnTo>
                    <a:pt x="1740" y="600"/>
                  </a:lnTo>
                  <a:lnTo>
                    <a:pt x="1746" y="594"/>
                  </a:lnTo>
                  <a:lnTo>
                    <a:pt x="1752" y="588"/>
                  </a:lnTo>
                  <a:lnTo>
                    <a:pt x="1752" y="582"/>
                  </a:lnTo>
                  <a:lnTo>
                    <a:pt x="1758" y="576"/>
                  </a:lnTo>
                  <a:lnTo>
                    <a:pt x="1764" y="576"/>
                  </a:lnTo>
                  <a:lnTo>
                    <a:pt x="1770" y="570"/>
                  </a:lnTo>
                  <a:lnTo>
                    <a:pt x="1776" y="564"/>
                  </a:lnTo>
                  <a:lnTo>
                    <a:pt x="1788" y="558"/>
                  </a:lnTo>
                  <a:lnTo>
                    <a:pt x="1788" y="546"/>
                  </a:lnTo>
                  <a:lnTo>
                    <a:pt x="1788" y="540"/>
                  </a:lnTo>
                  <a:lnTo>
                    <a:pt x="1794" y="540"/>
                  </a:lnTo>
                  <a:lnTo>
                    <a:pt x="1788" y="534"/>
                  </a:lnTo>
                  <a:lnTo>
                    <a:pt x="1788" y="528"/>
                  </a:lnTo>
                  <a:lnTo>
                    <a:pt x="1794" y="516"/>
                  </a:lnTo>
                  <a:lnTo>
                    <a:pt x="1800" y="510"/>
                  </a:lnTo>
                  <a:lnTo>
                    <a:pt x="1812" y="510"/>
                  </a:lnTo>
                  <a:lnTo>
                    <a:pt x="1818" y="504"/>
                  </a:lnTo>
                  <a:lnTo>
                    <a:pt x="1824" y="504"/>
                  </a:lnTo>
                  <a:lnTo>
                    <a:pt x="1830" y="498"/>
                  </a:lnTo>
                  <a:lnTo>
                    <a:pt x="1836" y="498"/>
                  </a:lnTo>
                  <a:lnTo>
                    <a:pt x="1848" y="492"/>
                  </a:lnTo>
                  <a:lnTo>
                    <a:pt x="1848" y="480"/>
                  </a:lnTo>
                  <a:lnTo>
                    <a:pt x="1854" y="480"/>
                  </a:lnTo>
                  <a:lnTo>
                    <a:pt x="1890" y="504"/>
                  </a:lnTo>
                  <a:lnTo>
                    <a:pt x="1908" y="534"/>
                  </a:lnTo>
                  <a:lnTo>
                    <a:pt x="1902" y="534"/>
                  </a:lnTo>
                  <a:lnTo>
                    <a:pt x="1920" y="528"/>
                  </a:lnTo>
                  <a:lnTo>
                    <a:pt x="1920" y="516"/>
                  </a:lnTo>
                  <a:lnTo>
                    <a:pt x="1944" y="516"/>
                  </a:lnTo>
                  <a:lnTo>
                    <a:pt x="2004" y="516"/>
                  </a:lnTo>
                  <a:lnTo>
                    <a:pt x="2010" y="510"/>
                  </a:lnTo>
                  <a:lnTo>
                    <a:pt x="2004" y="510"/>
                  </a:lnTo>
                  <a:lnTo>
                    <a:pt x="2010" y="498"/>
                  </a:lnTo>
                  <a:lnTo>
                    <a:pt x="2004" y="486"/>
                  </a:lnTo>
                  <a:lnTo>
                    <a:pt x="2004" y="480"/>
                  </a:lnTo>
                  <a:lnTo>
                    <a:pt x="2004" y="474"/>
                  </a:lnTo>
                  <a:lnTo>
                    <a:pt x="2004" y="462"/>
                  </a:lnTo>
                  <a:lnTo>
                    <a:pt x="2004" y="456"/>
                  </a:lnTo>
                  <a:lnTo>
                    <a:pt x="2058" y="462"/>
                  </a:lnTo>
                  <a:lnTo>
                    <a:pt x="2076" y="474"/>
                  </a:lnTo>
                  <a:lnTo>
                    <a:pt x="2082" y="522"/>
                  </a:lnTo>
                  <a:lnTo>
                    <a:pt x="2088" y="516"/>
                  </a:lnTo>
                  <a:lnTo>
                    <a:pt x="2094" y="522"/>
                  </a:lnTo>
                  <a:lnTo>
                    <a:pt x="2100" y="528"/>
                  </a:lnTo>
                  <a:lnTo>
                    <a:pt x="2130" y="540"/>
                  </a:lnTo>
                  <a:lnTo>
                    <a:pt x="2160" y="564"/>
                  </a:lnTo>
                  <a:lnTo>
                    <a:pt x="2166" y="600"/>
                  </a:lnTo>
                  <a:lnTo>
                    <a:pt x="2160" y="618"/>
                  </a:lnTo>
                  <a:lnTo>
                    <a:pt x="2142" y="636"/>
                  </a:lnTo>
                  <a:lnTo>
                    <a:pt x="2148" y="648"/>
                  </a:lnTo>
                  <a:lnTo>
                    <a:pt x="2154" y="660"/>
                  </a:lnTo>
                  <a:lnTo>
                    <a:pt x="2196" y="654"/>
                  </a:lnTo>
                  <a:lnTo>
                    <a:pt x="2214" y="660"/>
                  </a:lnTo>
                  <a:lnTo>
                    <a:pt x="2214" y="666"/>
                  </a:lnTo>
                  <a:lnTo>
                    <a:pt x="2220" y="672"/>
                  </a:lnTo>
                  <a:lnTo>
                    <a:pt x="2214" y="678"/>
                  </a:lnTo>
                  <a:lnTo>
                    <a:pt x="2214" y="684"/>
                  </a:lnTo>
                  <a:lnTo>
                    <a:pt x="2214" y="690"/>
                  </a:lnTo>
                  <a:lnTo>
                    <a:pt x="2208" y="690"/>
                  </a:lnTo>
                  <a:lnTo>
                    <a:pt x="2202" y="696"/>
                  </a:lnTo>
                  <a:lnTo>
                    <a:pt x="2196" y="702"/>
                  </a:lnTo>
                  <a:lnTo>
                    <a:pt x="2190" y="708"/>
                  </a:lnTo>
                  <a:lnTo>
                    <a:pt x="2190" y="720"/>
                  </a:lnTo>
                  <a:lnTo>
                    <a:pt x="2184" y="720"/>
                  </a:lnTo>
                  <a:lnTo>
                    <a:pt x="2178" y="726"/>
                  </a:lnTo>
                  <a:lnTo>
                    <a:pt x="2166" y="732"/>
                  </a:lnTo>
                  <a:lnTo>
                    <a:pt x="2160" y="744"/>
                  </a:lnTo>
                  <a:lnTo>
                    <a:pt x="2154" y="756"/>
                  </a:lnTo>
                  <a:lnTo>
                    <a:pt x="2148" y="762"/>
                  </a:lnTo>
                  <a:lnTo>
                    <a:pt x="2124" y="762"/>
                  </a:lnTo>
                  <a:lnTo>
                    <a:pt x="2124" y="768"/>
                  </a:lnTo>
                  <a:lnTo>
                    <a:pt x="2118" y="768"/>
                  </a:lnTo>
                  <a:lnTo>
                    <a:pt x="2124" y="774"/>
                  </a:lnTo>
                  <a:lnTo>
                    <a:pt x="2118" y="774"/>
                  </a:lnTo>
                  <a:lnTo>
                    <a:pt x="2112" y="774"/>
                  </a:lnTo>
                  <a:lnTo>
                    <a:pt x="2106" y="780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06" y="798"/>
                  </a:lnTo>
                  <a:lnTo>
                    <a:pt x="2106" y="810"/>
                  </a:lnTo>
                  <a:lnTo>
                    <a:pt x="2112" y="828"/>
                  </a:lnTo>
                  <a:lnTo>
                    <a:pt x="2112" y="834"/>
                  </a:lnTo>
                  <a:lnTo>
                    <a:pt x="2112" y="840"/>
                  </a:lnTo>
                  <a:lnTo>
                    <a:pt x="2112" y="834"/>
                  </a:lnTo>
                  <a:lnTo>
                    <a:pt x="2124" y="834"/>
                  </a:lnTo>
                  <a:lnTo>
                    <a:pt x="2130" y="834"/>
                  </a:lnTo>
                  <a:lnTo>
                    <a:pt x="2136" y="840"/>
                  </a:lnTo>
                  <a:lnTo>
                    <a:pt x="2142" y="840"/>
                  </a:lnTo>
                  <a:lnTo>
                    <a:pt x="2154" y="852"/>
                  </a:lnTo>
                  <a:lnTo>
                    <a:pt x="2160" y="852"/>
                  </a:lnTo>
                  <a:lnTo>
                    <a:pt x="2172" y="846"/>
                  </a:lnTo>
                  <a:lnTo>
                    <a:pt x="2178" y="846"/>
                  </a:lnTo>
                  <a:lnTo>
                    <a:pt x="2184" y="846"/>
                  </a:lnTo>
                  <a:lnTo>
                    <a:pt x="2190" y="846"/>
                  </a:lnTo>
                  <a:lnTo>
                    <a:pt x="2196" y="852"/>
                  </a:lnTo>
                  <a:lnTo>
                    <a:pt x="2196" y="858"/>
                  </a:lnTo>
                  <a:lnTo>
                    <a:pt x="2202" y="852"/>
                  </a:lnTo>
                  <a:lnTo>
                    <a:pt x="2208" y="846"/>
                  </a:lnTo>
                  <a:lnTo>
                    <a:pt x="2214" y="846"/>
                  </a:lnTo>
                  <a:lnTo>
                    <a:pt x="2226" y="846"/>
                  </a:lnTo>
                  <a:lnTo>
                    <a:pt x="2232" y="852"/>
                  </a:lnTo>
                  <a:lnTo>
                    <a:pt x="2238" y="852"/>
                  </a:lnTo>
                  <a:lnTo>
                    <a:pt x="2244" y="858"/>
                  </a:lnTo>
                  <a:lnTo>
                    <a:pt x="2250" y="858"/>
                  </a:lnTo>
                  <a:lnTo>
                    <a:pt x="2256" y="858"/>
                  </a:lnTo>
                  <a:lnTo>
                    <a:pt x="2262" y="858"/>
                  </a:lnTo>
                  <a:lnTo>
                    <a:pt x="2268" y="852"/>
                  </a:lnTo>
                  <a:lnTo>
                    <a:pt x="2274" y="852"/>
                  </a:lnTo>
                  <a:lnTo>
                    <a:pt x="2280" y="852"/>
                  </a:lnTo>
                  <a:lnTo>
                    <a:pt x="2286" y="852"/>
                  </a:lnTo>
                  <a:lnTo>
                    <a:pt x="2298" y="858"/>
                  </a:lnTo>
                  <a:lnTo>
                    <a:pt x="2304" y="858"/>
                  </a:lnTo>
                  <a:lnTo>
                    <a:pt x="2310" y="858"/>
                  </a:lnTo>
                  <a:lnTo>
                    <a:pt x="2316" y="852"/>
                  </a:lnTo>
                  <a:lnTo>
                    <a:pt x="2322" y="858"/>
                  </a:lnTo>
                  <a:lnTo>
                    <a:pt x="2328" y="858"/>
                  </a:lnTo>
                  <a:lnTo>
                    <a:pt x="2328" y="852"/>
                  </a:lnTo>
                  <a:lnTo>
                    <a:pt x="2364" y="858"/>
                  </a:lnTo>
                  <a:lnTo>
                    <a:pt x="2376" y="876"/>
                  </a:lnTo>
                  <a:lnTo>
                    <a:pt x="2382" y="936"/>
                  </a:lnTo>
                  <a:lnTo>
                    <a:pt x="2388" y="966"/>
                  </a:lnTo>
                  <a:lnTo>
                    <a:pt x="2382" y="972"/>
                  </a:lnTo>
                  <a:lnTo>
                    <a:pt x="2382" y="978"/>
                  </a:lnTo>
                  <a:lnTo>
                    <a:pt x="2382" y="984"/>
                  </a:lnTo>
                  <a:lnTo>
                    <a:pt x="2388" y="990"/>
                  </a:lnTo>
                  <a:lnTo>
                    <a:pt x="2382" y="990"/>
                  </a:lnTo>
                  <a:lnTo>
                    <a:pt x="2382" y="996"/>
                  </a:lnTo>
                  <a:lnTo>
                    <a:pt x="2376" y="996"/>
                  </a:lnTo>
                  <a:lnTo>
                    <a:pt x="2376" y="1020"/>
                  </a:lnTo>
                  <a:lnTo>
                    <a:pt x="2370" y="1032"/>
                  </a:lnTo>
                  <a:lnTo>
                    <a:pt x="2352" y="1032"/>
                  </a:lnTo>
                  <a:lnTo>
                    <a:pt x="2346" y="1020"/>
                  </a:lnTo>
                  <a:lnTo>
                    <a:pt x="2328" y="1032"/>
                  </a:lnTo>
                  <a:lnTo>
                    <a:pt x="2316" y="1038"/>
                  </a:lnTo>
                  <a:lnTo>
                    <a:pt x="2328" y="1044"/>
                  </a:lnTo>
                  <a:lnTo>
                    <a:pt x="2340" y="1056"/>
                  </a:lnTo>
                  <a:lnTo>
                    <a:pt x="2376" y="1062"/>
                  </a:lnTo>
                  <a:lnTo>
                    <a:pt x="2376" y="1068"/>
                  </a:lnTo>
                  <a:lnTo>
                    <a:pt x="2382" y="1086"/>
                  </a:lnTo>
                  <a:lnTo>
                    <a:pt x="2376" y="1086"/>
                  </a:lnTo>
                  <a:lnTo>
                    <a:pt x="2370" y="1086"/>
                  </a:lnTo>
                  <a:lnTo>
                    <a:pt x="2364" y="1086"/>
                  </a:lnTo>
                  <a:lnTo>
                    <a:pt x="2364" y="1098"/>
                  </a:lnTo>
                  <a:lnTo>
                    <a:pt x="2388" y="1104"/>
                  </a:lnTo>
                  <a:lnTo>
                    <a:pt x="2400" y="1122"/>
                  </a:lnTo>
                  <a:lnTo>
                    <a:pt x="2400" y="1134"/>
                  </a:lnTo>
                  <a:lnTo>
                    <a:pt x="2400" y="1146"/>
                  </a:lnTo>
                  <a:lnTo>
                    <a:pt x="2394" y="1146"/>
                  </a:lnTo>
                  <a:lnTo>
                    <a:pt x="2394" y="1152"/>
                  </a:lnTo>
                  <a:lnTo>
                    <a:pt x="2388" y="1152"/>
                  </a:lnTo>
                  <a:lnTo>
                    <a:pt x="2388" y="1146"/>
                  </a:lnTo>
                  <a:lnTo>
                    <a:pt x="2382" y="1152"/>
                  </a:lnTo>
                  <a:lnTo>
                    <a:pt x="2376" y="1152"/>
                  </a:lnTo>
                  <a:lnTo>
                    <a:pt x="2370" y="1158"/>
                  </a:lnTo>
                  <a:lnTo>
                    <a:pt x="2370" y="1164"/>
                  </a:lnTo>
                  <a:lnTo>
                    <a:pt x="2364" y="1170"/>
                  </a:lnTo>
                  <a:lnTo>
                    <a:pt x="2370" y="1170"/>
                  </a:lnTo>
                  <a:lnTo>
                    <a:pt x="2376" y="1170"/>
                  </a:lnTo>
                  <a:lnTo>
                    <a:pt x="2370" y="1176"/>
                  </a:lnTo>
                  <a:lnTo>
                    <a:pt x="2364" y="1176"/>
                  </a:lnTo>
                  <a:lnTo>
                    <a:pt x="2358" y="1182"/>
                  </a:lnTo>
                  <a:lnTo>
                    <a:pt x="2352" y="1182"/>
                  </a:lnTo>
                  <a:lnTo>
                    <a:pt x="2346" y="1188"/>
                  </a:lnTo>
                  <a:lnTo>
                    <a:pt x="2340" y="1182"/>
                  </a:lnTo>
                  <a:lnTo>
                    <a:pt x="2334" y="1182"/>
                  </a:lnTo>
                  <a:lnTo>
                    <a:pt x="2334" y="1188"/>
                  </a:lnTo>
                  <a:lnTo>
                    <a:pt x="2328" y="1194"/>
                  </a:lnTo>
                  <a:lnTo>
                    <a:pt x="2328" y="1200"/>
                  </a:lnTo>
                  <a:lnTo>
                    <a:pt x="2322" y="1224"/>
                  </a:lnTo>
                  <a:lnTo>
                    <a:pt x="2328" y="1230"/>
                  </a:lnTo>
                  <a:lnTo>
                    <a:pt x="2358" y="1230"/>
                  </a:lnTo>
                  <a:lnTo>
                    <a:pt x="2358" y="1242"/>
                  </a:lnTo>
                  <a:lnTo>
                    <a:pt x="2358" y="1254"/>
                  </a:lnTo>
                  <a:lnTo>
                    <a:pt x="2346" y="1254"/>
                  </a:lnTo>
                  <a:lnTo>
                    <a:pt x="2346" y="1278"/>
                  </a:lnTo>
                  <a:lnTo>
                    <a:pt x="2358" y="1278"/>
                  </a:lnTo>
                  <a:lnTo>
                    <a:pt x="2358" y="1284"/>
                  </a:lnTo>
                  <a:lnTo>
                    <a:pt x="2376" y="1284"/>
                  </a:lnTo>
                  <a:lnTo>
                    <a:pt x="2388" y="1278"/>
                  </a:lnTo>
                  <a:lnTo>
                    <a:pt x="2406" y="1278"/>
                  </a:lnTo>
                  <a:lnTo>
                    <a:pt x="2430" y="1284"/>
                  </a:lnTo>
                  <a:lnTo>
                    <a:pt x="2430" y="1302"/>
                  </a:lnTo>
                  <a:lnTo>
                    <a:pt x="2430" y="1314"/>
                  </a:lnTo>
                  <a:lnTo>
                    <a:pt x="2424" y="1326"/>
                  </a:lnTo>
                  <a:lnTo>
                    <a:pt x="2412" y="1326"/>
                  </a:lnTo>
                  <a:lnTo>
                    <a:pt x="2412" y="1344"/>
                  </a:lnTo>
                  <a:lnTo>
                    <a:pt x="2406" y="1344"/>
                  </a:lnTo>
                  <a:lnTo>
                    <a:pt x="2400" y="1362"/>
                  </a:lnTo>
                  <a:lnTo>
                    <a:pt x="2394" y="1368"/>
                  </a:lnTo>
                  <a:lnTo>
                    <a:pt x="2388" y="1374"/>
                  </a:lnTo>
                  <a:lnTo>
                    <a:pt x="2382" y="1380"/>
                  </a:lnTo>
                  <a:lnTo>
                    <a:pt x="2376" y="1386"/>
                  </a:lnTo>
                  <a:lnTo>
                    <a:pt x="2376" y="1392"/>
                  </a:lnTo>
                  <a:lnTo>
                    <a:pt x="2370" y="1404"/>
                  </a:lnTo>
                  <a:lnTo>
                    <a:pt x="2364" y="1416"/>
                  </a:lnTo>
                  <a:lnTo>
                    <a:pt x="2346" y="1434"/>
                  </a:lnTo>
                  <a:lnTo>
                    <a:pt x="2328" y="1440"/>
                  </a:lnTo>
                  <a:lnTo>
                    <a:pt x="2328" y="1446"/>
                  </a:lnTo>
                  <a:lnTo>
                    <a:pt x="2322" y="1452"/>
                  </a:lnTo>
                  <a:lnTo>
                    <a:pt x="2316" y="1452"/>
                  </a:lnTo>
                  <a:lnTo>
                    <a:pt x="2304" y="1446"/>
                  </a:lnTo>
                  <a:lnTo>
                    <a:pt x="2298" y="1446"/>
                  </a:lnTo>
                  <a:lnTo>
                    <a:pt x="2298" y="1434"/>
                  </a:lnTo>
                  <a:lnTo>
                    <a:pt x="2292" y="1434"/>
                  </a:lnTo>
                  <a:lnTo>
                    <a:pt x="2286" y="1428"/>
                  </a:lnTo>
                  <a:lnTo>
                    <a:pt x="2274" y="1416"/>
                  </a:lnTo>
                  <a:lnTo>
                    <a:pt x="2256" y="1404"/>
                  </a:lnTo>
                  <a:lnTo>
                    <a:pt x="2244" y="1386"/>
                  </a:lnTo>
                  <a:lnTo>
                    <a:pt x="2220" y="1368"/>
                  </a:lnTo>
                  <a:lnTo>
                    <a:pt x="2208" y="1362"/>
                  </a:lnTo>
                  <a:lnTo>
                    <a:pt x="2202" y="1350"/>
                  </a:lnTo>
                  <a:lnTo>
                    <a:pt x="2196" y="1350"/>
                  </a:lnTo>
                  <a:lnTo>
                    <a:pt x="2190" y="1356"/>
                  </a:lnTo>
                  <a:lnTo>
                    <a:pt x="2184" y="1356"/>
                  </a:lnTo>
                  <a:lnTo>
                    <a:pt x="2094" y="1350"/>
                  </a:lnTo>
                  <a:lnTo>
                    <a:pt x="2058" y="1350"/>
                  </a:lnTo>
                  <a:lnTo>
                    <a:pt x="2034" y="1890"/>
                  </a:lnTo>
                  <a:lnTo>
                    <a:pt x="2064" y="1890"/>
                  </a:lnTo>
                  <a:lnTo>
                    <a:pt x="2070" y="1896"/>
                  </a:lnTo>
                  <a:lnTo>
                    <a:pt x="2076" y="1896"/>
                  </a:lnTo>
                  <a:close/>
                </a:path>
              </a:pathLst>
            </a:custGeom>
            <a:solidFill>
              <a:srgbClr val="BFBFBF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8" name="Freeform 33">
              <a:extLst>
                <a:ext uri="{FF2B5EF4-FFF2-40B4-BE49-F238E27FC236}">
                  <a16:creationId xmlns:a16="http://schemas.microsoft.com/office/drawing/2014/main" id="{0E96F118-1F4D-4E52-AF27-149259451CD6}"/>
                </a:ext>
              </a:extLst>
            </p:cNvPr>
            <p:cNvSpPr>
              <a:spLocks/>
            </p:cNvSpPr>
            <p:nvPr/>
          </p:nvSpPr>
          <p:spPr bwMode="gray">
            <a:xfrm>
              <a:off x="1266662" y="1459989"/>
              <a:ext cx="903421" cy="778302"/>
            </a:xfrm>
            <a:custGeom>
              <a:avLst/>
              <a:gdLst>
                <a:gd name="T0" fmla="*/ 143 w 1698"/>
                <a:gd name="T1" fmla="*/ 43 h 1464"/>
                <a:gd name="T2" fmla="*/ 131 w 1698"/>
                <a:gd name="T3" fmla="*/ 44 h 1464"/>
                <a:gd name="T4" fmla="*/ 126 w 1698"/>
                <a:gd name="T5" fmla="*/ 41 h 1464"/>
                <a:gd name="T6" fmla="*/ 119 w 1698"/>
                <a:gd name="T7" fmla="*/ 45 h 1464"/>
                <a:gd name="T8" fmla="*/ 111 w 1698"/>
                <a:gd name="T9" fmla="*/ 46 h 1464"/>
                <a:gd name="T10" fmla="*/ 107 w 1698"/>
                <a:gd name="T11" fmla="*/ 50 h 1464"/>
                <a:gd name="T12" fmla="*/ 107 w 1698"/>
                <a:gd name="T13" fmla="*/ 60 h 1464"/>
                <a:gd name="T14" fmla="*/ 104 w 1698"/>
                <a:gd name="T15" fmla="*/ 62 h 1464"/>
                <a:gd name="T16" fmla="*/ 97 w 1698"/>
                <a:gd name="T17" fmla="*/ 59 h 1464"/>
                <a:gd name="T18" fmla="*/ 92 w 1698"/>
                <a:gd name="T19" fmla="*/ 59 h 1464"/>
                <a:gd name="T20" fmla="*/ 90 w 1698"/>
                <a:gd name="T21" fmla="*/ 62 h 1464"/>
                <a:gd name="T22" fmla="*/ 93 w 1698"/>
                <a:gd name="T23" fmla="*/ 77 h 1464"/>
                <a:gd name="T24" fmla="*/ 85 w 1698"/>
                <a:gd name="T25" fmla="*/ 88 h 1464"/>
                <a:gd name="T26" fmla="*/ 70 w 1698"/>
                <a:gd name="T27" fmla="*/ 89 h 1464"/>
                <a:gd name="T28" fmla="*/ 65 w 1698"/>
                <a:gd name="T29" fmla="*/ 88 h 1464"/>
                <a:gd name="T30" fmla="*/ 50 w 1698"/>
                <a:gd name="T31" fmla="*/ 88 h 1464"/>
                <a:gd name="T32" fmla="*/ 48 w 1698"/>
                <a:gd name="T33" fmla="*/ 107 h 1464"/>
                <a:gd name="T34" fmla="*/ 47 w 1698"/>
                <a:gd name="T35" fmla="*/ 120 h 1464"/>
                <a:gd name="T36" fmla="*/ 43 w 1698"/>
                <a:gd name="T37" fmla="*/ 121 h 1464"/>
                <a:gd name="T38" fmla="*/ 40 w 1698"/>
                <a:gd name="T39" fmla="*/ 120 h 1464"/>
                <a:gd name="T40" fmla="*/ 35 w 1698"/>
                <a:gd name="T41" fmla="*/ 122 h 1464"/>
                <a:gd name="T42" fmla="*/ 29 w 1698"/>
                <a:gd name="T43" fmla="*/ 123 h 1464"/>
                <a:gd name="T44" fmla="*/ 24 w 1698"/>
                <a:gd name="T45" fmla="*/ 125 h 1464"/>
                <a:gd name="T46" fmla="*/ 20 w 1698"/>
                <a:gd name="T47" fmla="*/ 125 h 1464"/>
                <a:gd name="T48" fmla="*/ 18 w 1698"/>
                <a:gd name="T49" fmla="*/ 122 h 1464"/>
                <a:gd name="T50" fmla="*/ 26 w 1698"/>
                <a:gd name="T51" fmla="*/ 108 h 1464"/>
                <a:gd name="T52" fmla="*/ 24 w 1698"/>
                <a:gd name="T53" fmla="*/ 89 h 1464"/>
                <a:gd name="T54" fmla="*/ 28 w 1698"/>
                <a:gd name="T55" fmla="*/ 85 h 1464"/>
                <a:gd name="T56" fmla="*/ 32 w 1698"/>
                <a:gd name="T57" fmla="*/ 80 h 1464"/>
                <a:gd name="T58" fmla="*/ 36 w 1698"/>
                <a:gd name="T59" fmla="*/ 86 h 1464"/>
                <a:gd name="T60" fmla="*/ 39 w 1698"/>
                <a:gd name="T61" fmla="*/ 80 h 1464"/>
                <a:gd name="T62" fmla="*/ 41 w 1698"/>
                <a:gd name="T63" fmla="*/ 73 h 1464"/>
                <a:gd name="T64" fmla="*/ 38 w 1698"/>
                <a:gd name="T65" fmla="*/ 64 h 1464"/>
                <a:gd name="T66" fmla="*/ 39 w 1698"/>
                <a:gd name="T67" fmla="*/ 59 h 1464"/>
                <a:gd name="T68" fmla="*/ 32 w 1698"/>
                <a:gd name="T69" fmla="*/ 54 h 1464"/>
                <a:gd name="T70" fmla="*/ 32 w 1698"/>
                <a:gd name="T71" fmla="*/ 45 h 1464"/>
                <a:gd name="T72" fmla="*/ 31 w 1698"/>
                <a:gd name="T73" fmla="*/ 41 h 1464"/>
                <a:gd name="T74" fmla="*/ 24 w 1698"/>
                <a:gd name="T75" fmla="*/ 43 h 1464"/>
                <a:gd name="T76" fmla="*/ 17 w 1698"/>
                <a:gd name="T77" fmla="*/ 40 h 1464"/>
                <a:gd name="T78" fmla="*/ 11 w 1698"/>
                <a:gd name="T79" fmla="*/ 38 h 1464"/>
                <a:gd name="T80" fmla="*/ 2 w 1698"/>
                <a:gd name="T81" fmla="*/ 36 h 1464"/>
                <a:gd name="T82" fmla="*/ 0 w 1698"/>
                <a:gd name="T83" fmla="*/ 24 h 1464"/>
                <a:gd name="T84" fmla="*/ 11 w 1698"/>
                <a:gd name="T85" fmla="*/ 18 h 1464"/>
                <a:gd name="T86" fmla="*/ 19 w 1698"/>
                <a:gd name="T87" fmla="*/ 10 h 1464"/>
                <a:gd name="T88" fmla="*/ 28 w 1698"/>
                <a:gd name="T89" fmla="*/ 9 h 1464"/>
                <a:gd name="T90" fmla="*/ 40 w 1698"/>
                <a:gd name="T91" fmla="*/ 6 h 1464"/>
                <a:gd name="T92" fmla="*/ 49 w 1698"/>
                <a:gd name="T93" fmla="*/ 8 h 1464"/>
                <a:gd name="T94" fmla="*/ 56 w 1698"/>
                <a:gd name="T95" fmla="*/ 8 h 1464"/>
                <a:gd name="T96" fmla="*/ 64 w 1698"/>
                <a:gd name="T97" fmla="*/ 7 h 1464"/>
                <a:gd name="T98" fmla="*/ 74 w 1698"/>
                <a:gd name="T99" fmla="*/ 1 h 1464"/>
                <a:gd name="T100" fmla="*/ 83 w 1698"/>
                <a:gd name="T101" fmla="*/ 3 h 1464"/>
                <a:gd name="T102" fmla="*/ 99 w 1698"/>
                <a:gd name="T103" fmla="*/ 9 h 1464"/>
                <a:gd name="T104" fmla="*/ 112 w 1698"/>
                <a:gd name="T105" fmla="*/ 14 h 1464"/>
                <a:gd name="T106" fmla="*/ 119 w 1698"/>
                <a:gd name="T107" fmla="*/ 12 h 1464"/>
                <a:gd name="T108" fmla="*/ 128 w 1698"/>
                <a:gd name="T109" fmla="*/ 17 h 1464"/>
                <a:gd name="T110" fmla="*/ 141 w 1698"/>
                <a:gd name="T111" fmla="*/ 29 h 1464"/>
                <a:gd name="T112" fmla="*/ 145 w 1698"/>
                <a:gd name="T113" fmla="*/ 35 h 14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98"/>
                <a:gd name="T172" fmla="*/ 0 h 1464"/>
                <a:gd name="T173" fmla="*/ 1698 w 1698"/>
                <a:gd name="T174" fmla="*/ 1464 h 14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98" h="1464">
                  <a:moveTo>
                    <a:pt x="1698" y="462"/>
                  </a:moveTo>
                  <a:lnTo>
                    <a:pt x="1686" y="468"/>
                  </a:lnTo>
                  <a:lnTo>
                    <a:pt x="1680" y="474"/>
                  </a:lnTo>
                  <a:lnTo>
                    <a:pt x="1674" y="480"/>
                  </a:lnTo>
                  <a:lnTo>
                    <a:pt x="1668" y="480"/>
                  </a:lnTo>
                  <a:lnTo>
                    <a:pt x="1662" y="486"/>
                  </a:lnTo>
                  <a:lnTo>
                    <a:pt x="1656" y="492"/>
                  </a:lnTo>
                  <a:lnTo>
                    <a:pt x="1644" y="498"/>
                  </a:lnTo>
                  <a:lnTo>
                    <a:pt x="1626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0" y="516"/>
                  </a:lnTo>
                  <a:lnTo>
                    <a:pt x="1590" y="522"/>
                  </a:lnTo>
                  <a:lnTo>
                    <a:pt x="1566" y="522"/>
                  </a:lnTo>
                  <a:lnTo>
                    <a:pt x="1506" y="510"/>
                  </a:lnTo>
                  <a:lnTo>
                    <a:pt x="1500" y="510"/>
                  </a:lnTo>
                  <a:lnTo>
                    <a:pt x="1488" y="504"/>
                  </a:lnTo>
                  <a:lnTo>
                    <a:pt x="1482" y="498"/>
                  </a:lnTo>
                  <a:lnTo>
                    <a:pt x="1476" y="498"/>
                  </a:lnTo>
                  <a:lnTo>
                    <a:pt x="1476" y="492"/>
                  </a:lnTo>
                  <a:lnTo>
                    <a:pt x="1470" y="492"/>
                  </a:lnTo>
                  <a:lnTo>
                    <a:pt x="1464" y="486"/>
                  </a:lnTo>
                  <a:lnTo>
                    <a:pt x="1452" y="486"/>
                  </a:lnTo>
                  <a:lnTo>
                    <a:pt x="1446" y="474"/>
                  </a:lnTo>
                  <a:lnTo>
                    <a:pt x="1434" y="468"/>
                  </a:lnTo>
                  <a:lnTo>
                    <a:pt x="1416" y="468"/>
                  </a:lnTo>
                  <a:lnTo>
                    <a:pt x="1392" y="468"/>
                  </a:lnTo>
                  <a:lnTo>
                    <a:pt x="1374" y="474"/>
                  </a:lnTo>
                  <a:lnTo>
                    <a:pt x="1368" y="474"/>
                  </a:lnTo>
                  <a:lnTo>
                    <a:pt x="1368" y="486"/>
                  </a:lnTo>
                  <a:lnTo>
                    <a:pt x="1368" y="498"/>
                  </a:lnTo>
                  <a:lnTo>
                    <a:pt x="1368" y="522"/>
                  </a:lnTo>
                  <a:lnTo>
                    <a:pt x="1368" y="534"/>
                  </a:lnTo>
                  <a:lnTo>
                    <a:pt x="1362" y="546"/>
                  </a:lnTo>
                  <a:lnTo>
                    <a:pt x="1356" y="546"/>
                  </a:lnTo>
                  <a:lnTo>
                    <a:pt x="1344" y="540"/>
                  </a:lnTo>
                  <a:lnTo>
                    <a:pt x="1338" y="534"/>
                  </a:lnTo>
                  <a:lnTo>
                    <a:pt x="1308" y="522"/>
                  </a:lnTo>
                  <a:lnTo>
                    <a:pt x="1296" y="522"/>
                  </a:lnTo>
                  <a:lnTo>
                    <a:pt x="1278" y="528"/>
                  </a:lnTo>
                  <a:lnTo>
                    <a:pt x="1260" y="534"/>
                  </a:lnTo>
                  <a:lnTo>
                    <a:pt x="1242" y="546"/>
                  </a:lnTo>
                  <a:lnTo>
                    <a:pt x="1236" y="552"/>
                  </a:lnTo>
                  <a:lnTo>
                    <a:pt x="1224" y="558"/>
                  </a:lnTo>
                  <a:lnTo>
                    <a:pt x="1218" y="558"/>
                  </a:lnTo>
                  <a:lnTo>
                    <a:pt x="1218" y="564"/>
                  </a:lnTo>
                  <a:lnTo>
                    <a:pt x="1224" y="570"/>
                  </a:lnTo>
                  <a:lnTo>
                    <a:pt x="1224" y="582"/>
                  </a:lnTo>
                  <a:lnTo>
                    <a:pt x="1224" y="594"/>
                  </a:lnTo>
                  <a:lnTo>
                    <a:pt x="1212" y="618"/>
                  </a:lnTo>
                  <a:lnTo>
                    <a:pt x="1212" y="624"/>
                  </a:lnTo>
                  <a:lnTo>
                    <a:pt x="1212" y="630"/>
                  </a:lnTo>
                  <a:lnTo>
                    <a:pt x="1212" y="636"/>
                  </a:lnTo>
                  <a:lnTo>
                    <a:pt x="1218" y="654"/>
                  </a:lnTo>
                  <a:lnTo>
                    <a:pt x="1224" y="672"/>
                  </a:lnTo>
                  <a:lnTo>
                    <a:pt x="1230" y="696"/>
                  </a:lnTo>
                  <a:lnTo>
                    <a:pt x="1236" y="708"/>
                  </a:lnTo>
                  <a:lnTo>
                    <a:pt x="1236" y="714"/>
                  </a:lnTo>
                  <a:lnTo>
                    <a:pt x="1236" y="720"/>
                  </a:lnTo>
                  <a:lnTo>
                    <a:pt x="1218" y="726"/>
                  </a:lnTo>
                  <a:lnTo>
                    <a:pt x="1212" y="726"/>
                  </a:lnTo>
                  <a:lnTo>
                    <a:pt x="1206" y="726"/>
                  </a:lnTo>
                  <a:lnTo>
                    <a:pt x="1194" y="720"/>
                  </a:lnTo>
                  <a:lnTo>
                    <a:pt x="1194" y="714"/>
                  </a:lnTo>
                  <a:lnTo>
                    <a:pt x="1176" y="714"/>
                  </a:lnTo>
                  <a:lnTo>
                    <a:pt x="1164" y="708"/>
                  </a:lnTo>
                  <a:lnTo>
                    <a:pt x="1158" y="708"/>
                  </a:lnTo>
                  <a:lnTo>
                    <a:pt x="1140" y="702"/>
                  </a:lnTo>
                  <a:lnTo>
                    <a:pt x="1134" y="696"/>
                  </a:lnTo>
                  <a:lnTo>
                    <a:pt x="1128" y="690"/>
                  </a:lnTo>
                  <a:lnTo>
                    <a:pt x="1116" y="678"/>
                  </a:lnTo>
                  <a:lnTo>
                    <a:pt x="1110" y="678"/>
                  </a:lnTo>
                  <a:lnTo>
                    <a:pt x="1104" y="672"/>
                  </a:lnTo>
                  <a:lnTo>
                    <a:pt x="1092" y="672"/>
                  </a:lnTo>
                  <a:lnTo>
                    <a:pt x="1086" y="672"/>
                  </a:lnTo>
                  <a:lnTo>
                    <a:pt x="1080" y="672"/>
                  </a:lnTo>
                  <a:lnTo>
                    <a:pt x="1074" y="672"/>
                  </a:lnTo>
                  <a:lnTo>
                    <a:pt x="1068" y="672"/>
                  </a:lnTo>
                  <a:lnTo>
                    <a:pt x="1062" y="678"/>
                  </a:lnTo>
                  <a:lnTo>
                    <a:pt x="1056" y="678"/>
                  </a:lnTo>
                  <a:lnTo>
                    <a:pt x="1056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6"/>
                  </a:lnTo>
                  <a:lnTo>
                    <a:pt x="1032" y="708"/>
                  </a:lnTo>
                  <a:lnTo>
                    <a:pt x="1026" y="708"/>
                  </a:lnTo>
                  <a:lnTo>
                    <a:pt x="1032" y="714"/>
                  </a:lnTo>
                  <a:lnTo>
                    <a:pt x="1026" y="720"/>
                  </a:lnTo>
                  <a:lnTo>
                    <a:pt x="1020" y="720"/>
                  </a:lnTo>
                  <a:lnTo>
                    <a:pt x="1014" y="732"/>
                  </a:lnTo>
                  <a:lnTo>
                    <a:pt x="1014" y="744"/>
                  </a:lnTo>
                  <a:lnTo>
                    <a:pt x="1038" y="810"/>
                  </a:lnTo>
                  <a:lnTo>
                    <a:pt x="1050" y="834"/>
                  </a:lnTo>
                  <a:lnTo>
                    <a:pt x="1056" y="858"/>
                  </a:lnTo>
                  <a:lnTo>
                    <a:pt x="1062" y="876"/>
                  </a:lnTo>
                  <a:lnTo>
                    <a:pt x="1068" y="882"/>
                  </a:lnTo>
                  <a:lnTo>
                    <a:pt x="1062" y="972"/>
                  </a:lnTo>
                  <a:lnTo>
                    <a:pt x="1056" y="972"/>
                  </a:lnTo>
                  <a:lnTo>
                    <a:pt x="1050" y="996"/>
                  </a:lnTo>
                  <a:lnTo>
                    <a:pt x="1044" y="1014"/>
                  </a:lnTo>
                  <a:lnTo>
                    <a:pt x="1008" y="1014"/>
                  </a:lnTo>
                  <a:lnTo>
                    <a:pt x="1008" y="1008"/>
                  </a:lnTo>
                  <a:lnTo>
                    <a:pt x="990" y="1008"/>
                  </a:lnTo>
                  <a:lnTo>
                    <a:pt x="972" y="1014"/>
                  </a:lnTo>
                  <a:lnTo>
                    <a:pt x="948" y="1020"/>
                  </a:lnTo>
                  <a:lnTo>
                    <a:pt x="918" y="1026"/>
                  </a:lnTo>
                  <a:lnTo>
                    <a:pt x="840" y="1032"/>
                  </a:lnTo>
                  <a:lnTo>
                    <a:pt x="834" y="1032"/>
                  </a:lnTo>
                  <a:lnTo>
                    <a:pt x="834" y="1026"/>
                  </a:lnTo>
                  <a:lnTo>
                    <a:pt x="822" y="1026"/>
                  </a:lnTo>
                  <a:lnTo>
                    <a:pt x="816" y="1032"/>
                  </a:lnTo>
                  <a:lnTo>
                    <a:pt x="804" y="1032"/>
                  </a:lnTo>
                  <a:lnTo>
                    <a:pt x="798" y="1026"/>
                  </a:lnTo>
                  <a:lnTo>
                    <a:pt x="780" y="1026"/>
                  </a:lnTo>
                  <a:lnTo>
                    <a:pt x="762" y="1026"/>
                  </a:lnTo>
                  <a:lnTo>
                    <a:pt x="756" y="1026"/>
                  </a:lnTo>
                  <a:lnTo>
                    <a:pt x="750" y="1026"/>
                  </a:lnTo>
                  <a:lnTo>
                    <a:pt x="756" y="1020"/>
                  </a:lnTo>
                  <a:lnTo>
                    <a:pt x="750" y="1020"/>
                  </a:lnTo>
                  <a:lnTo>
                    <a:pt x="744" y="1014"/>
                  </a:lnTo>
                  <a:lnTo>
                    <a:pt x="684" y="1020"/>
                  </a:lnTo>
                  <a:lnTo>
                    <a:pt x="648" y="1020"/>
                  </a:lnTo>
                  <a:lnTo>
                    <a:pt x="630" y="1020"/>
                  </a:lnTo>
                  <a:lnTo>
                    <a:pt x="618" y="1020"/>
                  </a:lnTo>
                  <a:lnTo>
                    <a:pt x="606" y="1014"/>
                  </a:lnTo>
                  <a:lnTo>
                    <a:pt x="582" y="1014"/>
                  </a:lnTo>
                  <a:lnTo>
                    <a:pt x="576" y="1014"/>
                  </a:lnTo>
                  <a:lnTo>
                    <a:pt x="570" y="1014"/>
                  </a:lnTo>
                  <a:lnTo>
                    <a:pt x="564" y="1020"/>
                  </a:lnTo>
                  <a:lnTo>
                    <a:pt x="558" y="1026"/>
                  </a:lnTo>
                  <a:lnTo>
                    <a:pt x="552" y="1032"/>
                  </a:lnTo>
                  <a:lnTo>
                    <a:pt x="552" y="1038"/>
                  </a:lnTo>
                  <a:lnTo>
                    <a:pt x="558" y="1194"/>
                  </a:lnTo>
                  <a:lnTo>
                    <a:pt x="558" y="1206"/>
                  </a:lnTo>
                  <a:lnTo>
                    <a:pt x="552" y="1218"/>
                  </a:lnTo>
                  <a:lnTo>
                    <a:pt x="552" y="1236"/>
                  </a:lnTo>
                  <a:lnTo>
                    <a:pt x="546" y="1272"/>
                  </a:lnTo>
                  <a:lnTo>
                    <a:pt x="546" y="1308"/>
                  </a:lnTo>
                  <a:lnTo>
                    <a:pt x="540" y="1332"/>
                  </a:lnTo>
                  <a:lnTo>
                    <a:pt x="546" y="1356"/>
                  </a:lnTo>
                  <a:lnTo>
                    <a:pt x="546" y="1362"/>
                  </a:lnTo>
                  <a:lnTo>
                    <a:pt x="546" y="1374"/>
                  </a:lnTo>
                  <a:lnTo>
                    <a:pt x="546" y="1380"/>
                  </a:lnTo>
                  <a:lnTo>
                    <a:pt x="540" y="1380"/>
                  </a:lnTo>
                  <a:lnTo>
                    <a:pt x="522" y="1380"/>
                  </a:lnTo>
                  <a:lnTo>
                    <a:pt x="516" y="1380"/>
                  </a:lnTo>
                  <a:lnTo>
                    <a:pt x="516" y="1386"/>
                  </a:lnTo>
                  <a:lnTo>
                    <a:pt x="516" y="1392"/>
                  </a:lnTo>
                  <a:lnTo>
                    <a:pt x="510" y="1392"/>
                  </a:lnTo>
                  <a:lnTo>
                    <a:pt x="504" y="1386"/>
                  </a:lnTo>
                  <a:lnTo>
                    <a:pt x="498" y="1392"/>
                  </a:lnTo>
                  <a:lnTo>
                    <a:pt x="492" y="1398"/>
                  </a:lnTo>
                  <a:lnTo>
                    <a:pt x="486" y="1398"/>
                  </a:lnTo>
                  <a:lnTo>
                    <a:pt x="486" y="1392"/>
                  </a:lnTo>
                  <a:lnTo>
                    <a:pt x="486" y="1380"/>
                  </a:lnTo>
                  <a:lnTo>
                    <a:pt x="486" y="1374"/>
                  </a:lnTo>
                  <a:lnTo>
                    <a:pt x="480" y="1374"/>
                  </a:lnTo>
                  <a:lnTo>
                    <a:pt x="474" y="1374"/>
                  </a:lnTo>
                  <a:lnTo>
                    <a:pt x="468" y="1380"/>
                  </a:lnTo>
                  <a:lnTo>
                    <a:pt x="462" y="1380"/>
                  </a:lnTo>
                  <a:lnTo>
                    <a:pt x="456" y="1380"/>
                  </a:lnTo>
                  <a:lnTo>
                    <a:pt x="450" y="1386"/>
                  </a:lnTo>
                  <a:lnTo>
                    <a:pt x="444" y="1386"/>
                  </a:lnTo>
                  <a:lnTo>
                    <a:pt x="444" y="1392"/>
                  </a:lnTo>
                  <a:lnTo>
                    <a:pt x="432" y="1398"/>
                  </a:lnTo>
                  <a:lnTo>
                    <a:pt x="426" y="1404"/>
                  </a:lnTo>
                  <a:lnTo>
                    <a:pt x="420" y="1404"/>
                  </a:lnTo>
                  <a:lnTo>
                    <a:pt x="408" y="1404"/>
                  </a:lnTo>
                  <a:lnTo>
                    <a:pt x="378" y="1410"/>
                  </a:lnTo>
                  <a:lnTo>
                    <a:pt x="372" y="1410"/>
                  </a:lnTo>
                  <a:lnTo>
                    <a:pt x="360" y="1410"/>
                  </a:lnTo>
                  <a:lnTo>
                    <a:pt x="354" y="1416"/>
                  </a:lnTo>
                  <a:lnTo>
                    <a:pt x="348" y="1416"/>
                  </a:lnTo>
                  <a:lnTo>
                    <a:pt x="342" y="1410"/>
                  </a:lnTo>
                  <a:lnTo>
                    <a:pt x="336" y="1410"/>
                  </a:lnTo>
                  <a:lnTo>
                    <a:pt x="336" y="1416"/>
                  </a:lnTo>
                  <a:lnTo>
                    <a:pt x="330" y="1422"/>
                  </a:lnTo>
                  <a:lnTo>
                    <a:pt x="324" y="1422"/>
                  </a:lnTo>
                  <a:lnTo>
                    <a:pt x="318" y="1422"/>
                  </a:lnTo>
                  <a:lnTo>
                    <a:pt x="312" y="1428"/>
                  </a:lnTo>
                  <a:lnTo>
                    <a:pt x="312" y="1434"/>
                  </a:lnTo>
                  <a:lnTo>
                    <a:pt x="300" y="1428"/>
                  </a:lnTo>
                  <a:lnTo>
                    <a:pt x="288" y="1434"/>
                  </a:lnTo>
                  <a:lnTo>
                    <a:pt x="282" y="1440"/>
                  </a:lnTo>
                  <a:lnTo>
                    <a:pt x="282" y="1446"/>
                  </a:lnTo>
                  <a:lnTo>
                    <a:pt x="276" y="1446"/>
                  </a:lnTo>
                  <a:lnTo>
                    <a:pt x="276" y="1452"/>
                  </a:lnTo>
                  <a:lnTo>
                    <a:pt x="270" y="1452"/>
                  </a:lnTo>
                  <a:lnTo>
                    <a:pt x="258" y="1464"/>
                  </a:lnTo>
                  <a:lnTo>
                    <a:pt x="240" y="1458"/>
                  </a:lnTo>
                  <a:lnTo>
                    <a:pt x="234" y="1452"/>
                  </a:lnTo>
                  <a:lnTo>
                    <a:pt x="234" y="1446"/>
                  </a:lnTo>
                  <a:lnTo>
                    <a:pt x="228" y="1446"/>
                  </a:lnTo>
                  <a:lnTo>
                    <a:pt x="222" y="1440"/>
                  </a:lnTo>
                  <a:lnTo>
                    <a:pt x="216" y="1440"/>
                  </a:lnTo>
                  <a:lnTo>
                    <a:pt x="210" y="1428"/>
                  </a:lnTo>
                  <a:lnTo>
                    <a:pt x="210" y="1422"/>
                  </a:lnTo>
                  <a:lnTo>
                    <a:pt x="198" y="1416"/>
                  </a:lnTo>
                  <a:lnTo>
                    <a:pt x="204" y="1410"/>
                  </a:lnTo>
                  <a:lnTo>
                    <a:pt x="210" y="1404"/>
                  </a:lnTo>
                  <a:lnTo>
                    <a:pt x="210" y="1398"/>
                  </a:lnTo>
                  <a:lnTo>
                    <a:pt x="252" y="1368"/>
                  </a:lnTo>
                  <a:lnTo>
                    <a:pt x="276" y="1350"/>
                  </a:lnTo>
                  <a:lnTo>
                    <a:pt x="300" y="1338"/>
                  </a:lnTo>
                  <a:lnTo>
                    <a:pt x="294" y="1314"/>
                  </a:lnTo>
                  <a:lnTo>
                    <a:pt x="288" y="1308"/>
                  </a:lnTo>
                  <a:lnTo>
                    <a:pt x="300" y="1266"/>
                  </a:lnTo>
                  <a:lnTo>
                    <a:pt x="300" y="1242"/>
                  </a:lnTo>
                  <a:lnTo>
                    <a:pt x="300" y="1206"/>
                  </a:lnTo>
                  <a:lnTo>
                    <a:pt x="300" y="1164"/>
                  </a:lnTo>
                  <a:lnTo>
                    <a:pt x="294" y="1134"/>
                  </a:lnTo>
                  <a:lnTo>
                    <a:pt x="282" y="1086"/>
                  </a:lnTo>
                  <a:lnTo>
                    <a:pt x="276" y="1074"/>
                  </a:lnTo>
                  <a:lnTo>
                    <a:pt x="276" y="1056"/>
                  </a:lnTo>
                  <a:lnTo>
                    <a:pt x="270" y="1038"/>
                  </a:lnTo>
                  <a:lnTo>
                    <a:pt x="270" y="1020"/>
                  </a:lnTo>
                  <a:lnTo>
                    <a:pt x="282" y="1020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94" y="1002"/>
                  </a:lnTo>
                  <a:lnTo>
                    <a:pt x="306" y="996"/>
                  </a:lnTo>
                  <a:lnTo>
                    <a:pt x="312" y="990"/>
                  </a:lnTo>
                  <a:lnTo>
                    <a:pt x="318" y="990"/>
                  </a:lnTo>
                  <a:lnTo>
                    <a:pt x="324" y="984"/>
                  </a:lnTo>
                  <a:lnTo>
                    <a:pt x="324" y="978"/>
                  </a:lnTo>
                  <a:lnTo>
                    <a:pt x="324" y="972"/>
                  </a:lnTo>
                  <a:lnTo>
                    <a:pt x="324" y="954"/>
                  </a:lnTo>
                  <a:lnTo>
                    <a:pt x="336" y="948"/>
                  </a:lnTo>
                  <a:lnTo>
                    <a:pt x="342" y="936"/>
                  </a:lnTo>
                  <a:lnTo>
                    <a:pt x="348" y="924"/>
                  </a:lnTo>
                  <a:lnTo>
                    <a:pt x="354" y="924"/>
                  </a:lnTo>
                  <a:lnTo>
                    <a:pt x="372" y="924"/>
                  </a:lnTo>
                  <a:lnTo>
                    <a:pt x="372" y="930"/>
                  </a:lnTo>
                  <a:lnTo>
                    <a:pt x="378" y="930"/>
                  </a:lnTo>
                  <a:lnTo>
                    <a:pt x="378" y="936"/>
                  </a:lnTo>
                  <a:lnTo>
                    <a:pt x="384" y="936"/>
                  </a:lnTo>
                  <a:lnTo>
                    <a:pt x="384" y="942"/>
                  </a:lnTo>
                  <a:lnTo>
                    <a:pt x="402" y="942"/>
                  </a:lnTo>
                  <a:lnTo>
                    <a:pt x="402" y="996"/>
                  </a:lnTo>
                  <a:lnTo>
                    <a:pt x="414" y="996"/>
                  </a:lnTo>
                  <a:lnTo>
                    <a:pt x="420" y="996"/>
                  </a:lnTo>
                  <a:lnTo>
                    <a:pt x="426" y="996"/>
                  </a:lnTo>
                  <a:lnTo>
                    <a:pt x="432" y="996"/>
                  </a:lnTo>
                  <a:lnTo>
                    <a:pt x="438" y="996"/>
                  </a:lnTo>
                  <a:lnTo>
                    <a:pt x="438" y="942"/>
                  </a:lnTo>
                  <a:lnTo>
                    <a:pt x="444" y="930"/>
                  </a:lnTo>
                  <a:lnTo>
                    <a:pt x="444" y="924"/>
                  </a:lnTo>
                  <a:lnTo>
                    <a:pt x="444" y="918"/>
                  </a:lnTo>
                  <a:lnTo>
                    <a:pt x="462" y="918"/>
                  </a:lnTo>
                  <a:lnTo>
                    <a:pt x="474" y="906"/>
                  </a:lnTo>
                  <a:lnTo>
                    <a:pt x="480" y="900"/>
                  </a:lnTo>
                  <a:lnTo>
                    <a:pt x="486" y="888"/>
                  </a:lnTo>
                  <a:lnTo>
                    <a:pt x="492" y="876"/>
                  </a:lnTo>
                  <a:lnTo>
                    <a:pt x="492" y="858"/>
                  </a:lnTo>
                  <a:lnTo>
                    <a:pt x="480" y="858"/>
                  </a:lnTo>
                  <a:lnTo>
                    <a:pt x="474" y="840"/>
                  </a:lnTo>
                  <a:lnTo>
                    <a:pt x="450" y="834"/>
                  </a:lnTo>
                  <a:lnTo>
                    <a:pt x="438" y="816"/>
                  </a:lnTo>
                  <a:lnTo>
                    <a:pt x="432" y="792"/>
                  </a:lnTo>
                  <a:lnTo>
                    <a:pt x="432" y="786"/>
                  </a:lnTo>
                  <a:lnTo>
                    <a:pt x="432" y="774"/>
                  </a:lnTo>
                  <a:lnTo>
                    <a:pt x="432" y="762"/>
                  </a:lnTo>
                  <a:lnTo>
                    <a:pt x="438" y="750"/>
                  </a:lnTo>
                  <a:lnTo>
                    <a:pt x="438" y="738"/>
                  </a:lnTo>
                  <a:lnTo>
                    <a:pt x="444" y="732"/>
                  </a:lnTo>
                  <a:lnTo>
                    <a:pt x="450" y="732"/>
                  </a:lnTo>
                  <a:lnTo>
                    <a:pt x="456" y="732"/>
                  </a:lnTo>
                  <a:lnTo>
                    <a:pt x="456" y="726"/>
                  </a:lnTo>
                  <a:lnTo>
                    <a:pt x="456" y="714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44" y="684"/>
                  </a:lnTo>
                  <a:lnTo>
                    <a:pt x="438" y="666"/>
                  </a:lnTo>
                  <a:lnTo>
                    <a:pt x="426" y="666"/>
                  </a:lnTo>
                  <a:lnTo>
                    <a:pt x="432" y="666"/>
                  </a:lnTo>
                  <a:lnTo>
                    <a:pt x="420" y="666"/>
                  </a:lnTo>
                  <a:lnTo>
                    <a:pt x="414" y="660"/>
                  </a:lnTo>
                  <a:lnTo>
                    <a:pt x="396" y="654"/>
                  </a:lnTo>
                  <a:lnTo>
                    <a:pt x="384" y="642"/>
                  </a:lnTo>
                  <a:lnTo>
                    <a:pt x="366" y="624"/>
                  </a:lnTo>
                  <a:lnTo>
                    <a:pt x="354" y="606"/>
                  </a:lnTo>
                  <a:lnTo>
                    <a:pt x="342" y="588"/>
                  </a:lnTo>
                  <a:lnTo>
                    <a:pt x="342" y="582"/>
                  </a:lnTo>
                  <a:lnTo>
                    <a:pt x="360" y="564"/>
                  </a:lnTo>
                  <a:lnTo>
                    <a:pt x="372" y="540"/>
                  </a:lnTo>
                  <a:lnTo>
                    <a:pt x="366" y="528"/>
                  </a:lnTo>
                  <a:lnTo>
                    <a:pt x="366" y="522"/>
                  </a:lnTo>
                  <a:lnTo>
                    <a:pt x="372" y="516"/>
                  </a:lnTo>
                  <a:lnTo>
                    <a:pt x="384" y="504"/>
                  </a:lnTo>
                  <a:lnTo>
                    <a:pt x="378" y="492"/>
                  </a:lnTo>
                  <a:lnTo>
                    <a:pt x="378" y="486"/>
                  </a:lnTo>
                  <a:lnTo>
                    <a:pt x="378" y="480"/>
                  </a:lnTo>
                  <a:lnTo>
                    <a:pt x="378" y="474"/>
                  </a:lnTo>
                  <a:lnTo>
                    <a:pt x="378" y="468"/>
                  </a:lnTo>
                  <a:lnTo>
                    <a:pt x="366" y="468"/>
                  </a:lnTo>
                  <a:lnTo>
                    <a:pt x="360" y="474"/>
                  </a:lnTo>
                  <a:lnTo>
                    <a:pt x="354" y="480"/>
                  </a:lnTo>
                  <a:lnTo>
                    <a:pt x="348" y="486"/>
                  </a:lnTo>
                  <a:lnTo>
                    <a:pt x="348" y="492"/>
                  </a:lnTo>
                  <a:lnTo>
                    <a:pt x="336" y="510"/>
                  </a:lnTo>
                  <a:lnTo>
                    <a:pt x="300" y="516"/>
                  </a:lnTo>
                  <a:lnTo>
                    <a:pt x="300" y="510"/>
                  </a:lnTo>
                  <a:lnTo>
                    <a:pt x="282" y="504"/>
                  </a:lnTo>
                  <a:lnTo>
                    <a:pt x="282" y="498"/>
                  </a:lnTo>
                  <a:lnTo>
                    <a:pt x="264" y="486"/>
                  </a:lnTo>
                  <a:lnTo>
                    <a:pt x="258" y="492"/>
                  </a:lnTo>
                  <a:lnTo>
                    <a:pt x="234" y="492"/>
                  </a:lnTo>
                  <a:lnTo>
                    <a:pt x="222" y="486"/>
                  </a:lnTo>
                  <a:lnTo>
                    <a:pt x="204" y="480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92" y="462"/>
                  </a:lnTo>
                  <a:lnTo>
                    <a:pt x="186" y="462"/>
                  </a:lnTo>
                  <a:lnTo>
                    <a:pt x="180" y="468"/>
                  </a:lnTo>
                  <a:lnTo>
                    <a:pt x="150" y="450"/>
                  </a:lnTo>
                  <a:lnTo>
                    <a:pt x="144" y="438"/>
                  </a:lnTo>
                  <a:lnTo>
                    <a:pt x="138" y="438"/>
                  </a:lnTo>
                  <a:lnTo>
                    <a:pt x="132" y="432"/>
                  </a:lnTo>
                  <a:lnTo>
                    <a:pt x="126" y="432"/>
                  </a:lnTo>
                  <a:lnTo>
                    <a:pt x="120" y="432"/>
                  </a:lnTo>
                  <a:lnTo>
                    <a:pt x="102" y="426"/>
                  </a:lnTo>
                  <a:lnTo>
                    <a:pt x="96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2" y="414"/>
                  </a:lnTo>
                  <a:lnTo>
                    <a:pt x="60" y="414"/>
                  </a:lnTo>
                  <a:lnTo>
                    <a:pt x="30" y="414"/>
                  </a:lnTo>
                  <a:lnTo>
                    <a:pt x="24" y="414"/>
                  </a:lnTo>
                  <a:lnTo>
                    <a:pt x="12" y="414"/>
                  </a:lnTo>
                  <a:lnTo>
                    <a:pt x="0" y="420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0" y="336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30" y="270"/>
                  </a:lnTo>
                  <a:lnTo>
                    <a:pt x="42" y="270"/>
                  </a:lnTo>
                  <a:lnTo>
                    <a:pt x="54" y="264"/>
                  </a:lnTo>
                  <a:lnTo>
                    <a:pt x="78" y="240"/>
                  </a:lnTo>
                  <a:lnTo>
                    <a:pt x="102" y="216"/>
                  </a:lnTo>
                  <a:lnTo>
                    <a:pt x="114" y="210"/>
                  </a:lnTo>
                  <a:lnTo>
                    <a:pt x="120" y="204"/>
                  </a:lnTo>
                  <a:lnTo>
                    <a:pt x="126" y="198"/>
                  </a:lnTo>
                  <a:lnTo>
                    <a:pt x="138" y="18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38"/>
                  </a:lnTo>
                  <a:lnTo>
                    <a:pt x="210" y="126"/>
                  </a:lnTo>
                  <a:lnTo>
                    <a:pt x="216" y="120"/>
                  </a:lnTo>
                  <a:lnTo>
                    <a:pt x="222" y="120"/>
                  </a:lnTo>
                  <a:lnTo>
                    <a:pt x="258" y="114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300" y="102"/>
                  </a:lnTo>
                  <a:lnTo>
                    <a:pt x="312" y="102"/>
                  </a:lnTo>
                  <a:lnTo>
                    <a:pt x="318" y="102"/>
                  </a:lnTo>
                  <a:lnTo>
                    <a:pt x="348" y="96"/>
                  </a:lnTo>
                  <a:lnTo>
                    <a:pt x="366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408" y="84"/>
                  </a:lnTo>
                  <a:lnTo>
                    <a:pt x="420" y="84"/>
                  </a:lnTo>
                  <a:lnTo>
                    <a:pt x="462" y="72"/>
                  </a:lnTo>
                  <a:lnTo>
                    <a:pt x="474" y="72"/>
                  </a:lnTo>
                  <a:lnTo>
                    <a:pt x="474" y="78"/>
                  </a:lnTo>
                  <a:lnTo>
                    <a:pt x="492" y="90"/>
                  </a:lnTo>
                  <a:lnTo>
                    <a:pt x="498" y="90"/>
                  </a:lnTo>
                  <a:lnTo>
                    <a:pt x="522" y="96"/>
                  </a:lnTo>
                  <a:lnTo>
                    <a:pt x="540" y="96"/>
                  </a:lnTo>
                  <a:lnTo>
                    <a:pt x="546" y="96"/>
                  </a:lnTo>
                  <a:lnTo>
                    <a:pt x="558" y="96"/>
                  </a:lnTo>
                  <a:lnTo>
                    <a:pt x="564" y="96"/>
                  </a:lnTo>
                  <a:lnTo>
                    <a:pt x="576" y="96"/>
                  </a:lnTo>
                  <a:lnTo>
                    <a:pt x="588" y="96"/>
                  </a:lnTo>
                  <a:lnTo>
                    <a:pt x="612" y="90"/>
                  </a:lnTo>
                  <a:lnTo>
                    <a:pt x="624" y="90"/>
                  </a:lnTo>
                  <a:lnTo>
                    <a:pt x="636" y="90"/>
                  </a:lnTo>
                  <a:lnTo>
                    <a:pt x="642" y="90"/>
                  </a:lnTo>
                  <a:lnTo>
                    <a:pt x="648" y="96"/>
                  </a:lnTo>
                  <a:lnTo>
                    <a:pt x="660" y="96"/>
                  </a:lnTo>
                  <a:lnTo>
                    <a:pt x="666" y="96"/>
                  </a:lnTo>
                  <a:lnTo>
                    <a:pt x="672" y="96"/>
                  </a:lnTo>
                  <a:lnTo>
                    <a:pt x="684" y="96"/>
                  </a:lnTo>
                  <a:lnTo>
                    <a:pt x="708" y="96"/>
                  </a:lnTo>
                  <a:lnTo>
                    <a:pt x="714" y="96"/>
                  </a:lnTo>
                  <a:lnTo>
                    <a:pt x="726" y="96"/>
                  </a:lnTo>
                  <a:lnTo>
                    <a:pt x="738" y="84"/>
                  </a:lnTo>
                  <a:lnTo>
                    <a:pt x="744" y="78"/>
                  </a:lnTo>
                  <a:lnTo>
                    <a:pt x="756" y="66"/>
                  </a:lnTo>
                  <a:lnTo>
                    <a:pt x="774" y="42"/>
                  </a:lnTo>
                  <a:lnTo>
                    <a:pt x="780" y="30"/>
                  </a:lnTo>
                  <a:lnTo>
                    <a:pt x="816" y="24"/>
                  </a:lnTo>
                  <a:lnTo>
                    <a:pt x="840" y="18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64" y="6"/>
                  </a:lnTo>
                  <a:lnTo>
                    <a:pt x="870" y="6"/>
                  </a:lnTo>
                  <a:lnTo>
                    <a:pt x="894" y="0"/>
                  </a:lnTo>
                  <a:lnTo>
                    <a:pt x="900" y="6"/>
                  </a:lnTo>
                  <a:lnTo>
                    <a:pt x="930" y="18"/>
                  </a:lnTo>
                  <a:lnTo>
                    <a:pt x="942" y="24"/>
                  </a:lnTo>
                  <a:lnTo>
                    <a:pt x="954" y="30"/>
                  </a:lnTo>
                  <a:lnTo>
                    <a:pt x="1026" y="60"/>
                  </a:lnTo>
                  <a:lnTo>
                    <a:pt x="1032" y="60"/>
                  </a:lnTo>
                  <a:lnTo>
                    <a:pt x="1038" y="66"/>
                  </a:lnTo>
                  <a:lnTo>
                    <a:pt x="1068" y="72"/>
                  </a:lnTo>
                  <a:lnTo>
                    <a:pt x="1098" y="84"/>
                  </a:lnTo>
                  <a:lnTo>
                    <a:pt x="1122" y="90"/>
                  </a:lnTo>
                  <a:lnTo>
                    <a:pt x="1122" y="96"/>
                  </a:lnTo>
                  <a:lnTo>
                    <a:pt x="1140" y="102"/>
                  </a:lnTo>
                  <a:lnTo>
                    <a:pt x="1182" y="114"/>
                  </a:lnTo>
                  <a:lnTo>
                    <a:pt x="1188" y="114"/>
                  </a:lnTo>
                  <a:lnTo>
                    <a:pt x="1200" y="120"/>
                  </a:lnTo>
                  <a:lnTo>
                    <a:pt x="1212" y="126"/>
                  </a:lnTo>
                  <a:lnTo>
                    <a:pt x="1224" y="126"/>
                  </a:lnTo>
                  <a:lnTo>
                    <a:pt x="1248" y="138"/>
                  </a:lnTo>
                  <a:lnTo>
                    <a:pt x="1272" y="150"/>
                  </a:lnTo>
                  <a:lnTo>
                    <a:pt x="1284" y="156"/>
                  </a:lnTo>
                  <a:lnTo>
                    <a:pt x="1290" y="162"/>
                  </a:lnTo>
                  <a:lnTo>
                    <a:pt x="1296" y="162"/>
                  </a:lnTo>
                  <a:lnTo>
                    <a:pt x="1308" y="156"/>
                  </a:lnTo>
                  <a:lnTo>
                    <a:pt x="1320" y="150"/>
                  </a:lnTo>
                  <a:lnTo>
                    <a:pt x="1326" y="150"/>
                  </a:lnTo>
                  <a:lnTo>
                    <a:pt x="1338" y="144"/>
                  </a:lnTo>
                  <a:lnTo>
                    <a:pt x="1362" y="144"/>
                  </a:lnTo>
                  <a:lnTo>
                    <a:pt x="1368" y="144"/>
                  </a:lnTo>
                  <a:lnTo>
                    <a:pt x="1374" y="144"/>
                  </a:lnTo>
                  <a:lnTo>
                    <a:pt x="1386" y="150"/>
                  </a:lnTo>
                  <a:lnTo>
                    <a:pt x="1392" y="150"/>
                  </a:lnTo>
                  <a:lnTo>
                    <a:pt x="1398" y="150"/>
                  </a:lnTo>
                  <a:lnTo>
                    <a:pt x="1416" y="162"/>
                  </a:lnTo>
                  <a:lnTo>
                    <a:pt x="1458" y="186"/>
                  </a:lnTo>
                  <a:lnTo>
                    <a:pt x="1464" y="186"/>
                  </a:lnTo>
                  <a:lnTo>
                    <a:pt x="1470" y="192"/>
                  </a:lnTo>
                  <a:lnTo>
                    <a:pt x="1482" y="204"/>
                  </a:lnTo>
                  <a:lnTo>
                    <a:pt x="1512" y="234"/>
                  </a:lnTo>
                  <a:lnTo>
                    <a:pt x="1554" y="276"/>
                  </a:lnTo>
                  <a:lnTo>
                    <a:pt x="1560" y="276"/>
                  </a:lnTo>
                  <a:lnTo>
                    <a:pt x="1566" y="282"/>
                  </a:lnTo>
                  <a:lnTo>
                    <a:pt x="1578" y="294"/>
                  </a:lnTo>
                  <a:lnTo>
                    <a:pt x="1602" y="318"/>
                  </a:lnTo>
                  <a:lnTo>
                    <a:pt x="1614" y="330"/>
                  </a:lnTo>
                  <a:lnTo>
                    <a:pt x="1620" y="336"/>
                  </a:lnTo>
                  <a:lnTo>
                    <a:pt x="1626" y="342"/>
                  </a:lnTo>
                  <a:lnTo>
                    <a:pt x="1632" y="354"/>
                  </a:lnTo>
                  <a:lnTo>
                    <a:pt x="1644" y="366"/>
                  </a:lnTo>
                  <a:lnTo>
                    <a:pt x="1650" y="378"/>
                  </a:lnTo>
                  <a:lnTo>
                    <a:pt x="1650" y="384"/>
                  </a:lnTo>
                  <a:lnTo>
                    <a:pt x="1656" y="384"/>
                  </a:lnTo>
                  <a:lnTo>
                    <a:pt x="1662" y="402"/>
                  </a:lnTo>
                  <a:lnTo>
                    <a:pt x="1668" y="408"/>
                  </a:lnTo>
                  <a:lnTo>
                    <a:pt x="1674" y="426"/>
                  </a:lnTo>
                  <a:lnTo>
                    <a:pt x="1686" y="438"/>
                  </a:lnTo>
                  <a:lnTo>
                    <a:pt x="1698" y="46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9" name="Freeform 34">
              <a:extLst>
                <a:ext uri="{FF2B5EF4-FFF2-40B4-BE49-F238E27FC236}">
                  <a16:creationId xmlns:a16="http://schemas.microsoft.com/office/drawing/2014/main" id="{94603F24-8CF7-4226-A433-00D18CA7D9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1988" y="1681402"/>
              <a:ext cx="869877" cy="1060101"/>
            </a:xfrm>
            <a:custGeom>
              <a:avLst/>
              <a:gdLst>
                <a:gd name="T0" fmla="*/ 4 w 1638"/>
                <a:gd name="T1" fmla="*/ 111 h 1998"/>
                <a:gd name="T2" fmla="*/ 6 w 1638"/>
                <a:gd name="T3" fmla="*/ 87 h 1998"/>
                <a:gd name="T4" fmla="*/ 10 w 1638"/>
                <a:gd name="T5" fmla="*/ 80 h 1998"/>
                <a:gd name="T6" fmla="*/ 10 w 1638"/>
                <a:gd name="T7" fmla="*/ 71 h 1998"/>
                <a:gd name="T8" fmla="*/ 9 w 1638"/>
                <a:gd name="T9" fmla="*/ 56 h 1998"/>
                <a:gd name="T10" fmla="*/ 8 w 1638"/>
                <a:gd name="T11" fmla="*/ 40 h 1998"/>
                <a:gd name="T12" fmla="*/ 20 w 1638"/>
                <a:gd name="T13" fmla="*/ 30 h 1998"/>
                <a:gd name="T14" fmla="*/ 30 w 1638"/>
                <a:gd name="T15" fmla="*/ 19 h 1998"/>
                <a:gd name="T16" fmla="*/ 35 w 1638"/>
                <a:gd name="T17" fmla="*/ 2 h 1998"/>
                <a:gd name="T18" fmla="*/ 47 w 1638"/>
                <a:gd name="T19" fmla="*/ 2 h 1998"/>
                <a:gd name="T20" fmla="*/ 56 w 1638"/>
                <a:gd name="T21" fmla="*/ 7 h 1998"/>
                <a:gd name="T22" fmla="*/ 67 w 1638"/>
                <a:gd name="T23" fmla="*/ 5 h 1998"/>
                <a:gd name="T24" fmla="*/ 65 w 1638"/>
                <a:gd name="T25" fmla="*/ 15 h 1998"/>
                <a:gd name="T26" fmla="*/ 74 w 1638"/>
                <a:gd name="T27" fmla="*/ 24 h 1998"/>
                <a:gd name="T28" fmla="*/ 73 w 1638"/>
                <a:gd name="T29" fmla="*/ 33 h 1998"/>
                <a:gd name="T30" fmla="*/ 74 w 1638"/>
                <a:gd name="T31" fmla="*/ 44 h 1998"/>
                <a:gd name="T32" fmla="*/ 68 w 1638"/>
                <a:gd name="T33" fmla="*/ 45 h 1998"/>
                <a:gd name="T34" fmla="*/ 63 w 1638"/>
                <a:gd name="T35" fmla="*/ 50 h 1998"/>
                <a:gd name="T36" fmla="*/ 61 w 1638"/>
                <a:gd name="T37" fmla="*/ 62 h 1998"/>
                <a:gd name="T38" fmla="*/ 53 w 1638"/>
                <a:gd name="T39" fmla="*/ 86 h 1998"/>
                <a:gd name="T40" fmla="*/ 59 w 1638"/>
                <a:gd name="T41" fmla="*/ 90 h 1998"/>
                <a:gd name="T42" fmla="*/ 65 w 1638"/>
                <a:gd name="T43" fmla="*/ 86 h 1998"/>
                <a:gd name="T44" fmla="*/ 74 w 1638"/>
                <a:gd name="T45" fmla="*/ 84 h 1998"/>
                <a:gd name="T46" fmla="*/ 79 w 1638"/>
                <a:gd name="T47" fmla="*/ 85 h 1998"/>
                <a:gd name="T48" fmla="*/ 84 w 1638"/>
                <a:gd name="T49" fmla="*/ 84 h 1998"/>
                <a:gd name="T50" fmla="*/ 91 w 1638"/>
                <a:gd name="T51" fmla="*/ 84 h 1998"/>
                <a:gd name="T52" fmla="*/ 94 w 1638"/>
                <a:gd name="T53" fmla="*/ 81 h 1998"/>
                <a:gd name="T54" fmla="*/ 100 w 1638"/>
                <a:gd name="T55" fmla="*/ 81 h 1998"/>
                <a:gd name="T56" fmla="*/ 102 w 1638"/>
                <a:gd name="T57" fmla="*/ 84 h 1998"/>
                <a:gd name="T58" fmla="*/ 108 w 1638"/>
                <a:gd name="T59" fmla="*/ 85 h 1998"/>
                <a:gd name="T60" fmla="*/ 113 w 1638"/>
                <a:gd name="T61" fmla="*/ 88 h 1998"/>
                <a:gd name="T62" fmla="*/ 116 w 1638"/>
                <a:gd name="T63" fmla="*/ 88 h 1998"/>
                <a:gd name="T64" fmla="*/ 123 w 1638"/>
                <a:gd name="T65" fmla="*/ 87 h 1998"/>
                <a:gd name="T66" fmla="*/ 128 w 1638"/>
                <a:gd name="T67" fmla="*/ 86 h 1998"/>
                <a:gd name="T68" fmla="*/ 132 w 1638"/>
                <a:gd name="T69" fmla="*/ 90 h 1998"/>
                <a:gd name="T70" fmla="*/ 138 w 1638"/>
                <a:gd name="T71" fmla="*/ 96 h 1998"/>
                <a:gd name="T72" fmla="*/ 138 w 1638"/>
                <a:gd name="T73" fmla="*/ 110 h 1998"/>
                <a:gd name="T74" fmla="*/ 137 w 1638"/>
                <a:gd name="T75" fmla="*/ 118 h 1998"/>
                <a:gd name="T76" fmla="*/ 133 w 1638"/>
                <a:gd name="T77" fmla="*/ 124 h 1998"/>
                <a:gd name="T78" fmla="*/ 122 w 1638"/>
                <a:gd name="T79" fmla="*/ 125 h 1998"/>
                <a:gd name="T80" fmla="*/ 116 w 1638"/>
                <a:gd name="T81" fmla="*/ 127 h 1998"/>
                <a:gd name="T82" fmla="*/ 108 w 1638"/>
                <a:gd name="T83" fmla="*/ 123 h 1998"/>
                <a:gd name="T84" fmla="*/ 109 w 1638"/>
                <a:gd name="T85" fmla="*/ 119 h 1998"/>
                <a:gd name="T86" fmla="*/ 104 w 1638"/>
                <a:gd name="T87" fmla="*/ 104 h 1998"/>
                <a:gd name="T88" fmla="*/ 94 w 1638"/>
                <a:gd name="T89" fmla="*/ 105 h 1998"/>
                <a:gd name="T90" fmla="*/ 88 w 1638"/>
                <a:gd name="T91" fmla="*/ 109 h 1998"/>
                <a:gd name="T92" fmla="*/ 76 w 1638"/>
                <a:gd name="T93" fmla="*/ 107 h 1998"/>
                <a:gd name="T94" fmla="*/ 72 w 1638"/>
                <a:gd name="T95" fmla="*/ 114 h 1998"/>
                <a:gd name="T96" fmla="*/ 86 w 1638"/>
                <a:gd name="T97" fmla="*/ 121 h 1998"/>
                <a:gd name="T98" fmla="*/ 87 w 1638"/>
                <a:gd name="T99" fmla="*/ 129 h 1998"/>
                <a:gd name="T100" fmla="*/ 86 w 1638"/>
                <a:gd name="T101" fmla="*/ 137 h 1998"/>
                <a:gd name="T102" fmla="*/ 79 w 1638"/>
                <a:gd name="T103" fmla="*/ 141 h 1998"/>
                <a:gd name="T104" fmla="*/ 73 w 1638"/>
                <a:gd name="T105" fmla="*/ 144 h 1998"/>
                <a:gd name="T106" fmla="*/ 72 w 1638"/>
                <a:gd name="T107" fmla="*/ 164 h 1998"/>
                <a:gd name="T108" fmla="*/ 68 w 1638"/>
                <a:gd name="T109" fmla="*/ 172 h 1998"/>
                <a:gd name="T110" fmla="*/ 59 w 1638"/>
                <a:gd name="T111" fmla="*/ 164 h 1998"/>
                <a:gd name="T112" fmla="*/ 65 w 1638"/>
                <a:gd name="T113" fmla="*/ 146 h 1998"/>
                <a:gd name="T114" fmla="*/ 69 w 1638"/>
                <a:gd name="T115" fmla="*/ 133 h 1998"/>
                <a:gd name="T116" fmla="*/ 61 w 1638"/>
                <a:gd name="T117" fmla="*/ 131 h 1998"/>
                <a:gd name="T118" fmla="*/ 43 w 1638"/>
                <a:gd name="T119" fmla="*/ 125 h 1998"/>
                <a:gd name="T120" fmla="*/ 23 w 1638"/>
                <a:gd name="T121" fmla="*/ 125 h 1998"/>
                <a:gd name="T122" fmla="*/ 17 w 1638"/>
                <a:gd name="T123" fmla="*/ 121 h 19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638"/>
                <a:gd name="T187" fmla="*/ 0 h 1998"/>
                <a:gd name="T188" fmla="*/ 1638 w 1638"/>
                <a:gd name="T189" fmla="*/ 1998 h 19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638" h="1998">
                  <a:moveTo>
                    <a:pt x="144" y="1380"/>
                  </a:moveTo>
                  <a:lnTo>
                    <a:pt x="150" y="1368"/>
                  </a:lnTo>
                  <a:lnTo>
                    <a:pt x="150" y="1362"/>
                  </a:lnTo>
                  <a:lnTo>
                    <a:pt x="150" y="1356"/>
                  </a:lnTo>
                  <a:lnTo>
                    <a:pt x="144" y="1356"/>
                  </a:lnTo>
                  <a:lnTo>
                    <a:pt x="138" y="1356"/>
                  </a:lnTo>
                  <a:lnTo>
                    <a:pt x="126" y="1356"/>
                  </a:lnTo>
                  <a:lnTo>
                    <a:pt x="114" y="1344"/>
                  </a:lnTo>
                  <a:lnTo>
                    <a:pt x="84" y="1320"/>
                  </a:lnTo>
                  <a:lnTo>
                    <a:pt x="54" y="1296"/>
                  </a:lnTo>
                  <a:lnTo>
                    <a:pt x="48" y="1290"/>
                  </a:lnTo>
                  <a:lnTo>
                    <a:pt x="42" y="1278"/>
                  </a:lnTo>
                  <a:lnTo>
                    <a:pt x="30" y="1272"/>
                  </a:lnTo>
                  <a:lnTo>
                    <a:pt x="0" y="1248"/>
                  </a:lnTo>
                  <a:lnTo>
                    <a:pt x="6" y="1230"/>
                  </a:lnTo>
                  <a:lnTo>
                    <a:pt x="12" y="1194"/>
                  </a:lnTo>
                  <a:lnTo>
                    <a:pt x="18" y="1170"/>
                  </a:lnTo>
                  <a:lnTo>
                    <a:pt x="30" y="1134"/>
                  </a:lnTo>
                  <a:lnTo>
                    <a:pt x="36" y="1086"/>
                  </a:lnTo>
                  <a:lnTo>
                    <a:pt x="42" y="1050"/>
                  </a:lnTo>
                  <a:lnTo>
                    <a:pt x="48" y="1044"/>
                  </a:lnTo>
                  <a:lnTo>
                    <a:pt x="54" y="1026"/>
                  </a:lnTo>
                  <a:lnTo>
                    <a:pt x="60" y="1014"/>
                  </a:lnTo>
                  <a:lnTo>
                    <a:pt x="66" y="1002"/>
                  </a:lnTo>
                  <a:lnTo>
                    <a:pt x="66" y="996"/>
                  </a:lnTo>
                  <a:lnTo>
                    <a:pt x="72" y="996"/>
                  </a:lnTo>
                  <a:lnTo>
                    <a:pt x="72" y="990"/>
                  </a:lnTo>
                  <a:lnTo>
                    <a:pt x="78" y="990"/>
                  </a:lnTo>
                  <a:lnTo>
                    <a:pt x="90" y="978"/>
                  </a:lnTo>
                  <a:lnTo>
                    <a:pt x="96" y="966"/>
                  </a:lnTo>
                  <a:lnTo>
                    <a:pt x="102" y="966"/>
                  </a:lnTo>
                  <a:lnTo>
                    <a:pt x="114" y="954"/>
                  </a:lnTo>
                  <a:lnTo>
                    <a:pt x="120" y="954"/>
                  </a:lnTo>
                  <a:lnTo>
                    <a:pt x="120" y="948"/>
                  </a:lnTo>
                  <a:lnTo>
                    <a:pt x="114" y="930"/>
                  </a:lnTo>
                  <a:lnTo>
                    <a:pt x="114" y="924"/>
                  </a:lnTo>
                  <a:lnTo>
                    <a:pt x="108" y="918"/>
                  </a:lnTo>
                  <a:lnTo>
                    <a:pt x="102" y="912"/>
                  </a:lnTo>
                  <a:lnTo>
                    <a:pt x="90" y="906"/>
                  </a:lnTo>
                  <a:lnTo>
                    <a:pt x="84" y="900"/>
                  </a:lnTo>
                  <a:lnTo>
                    <a:pt x="84" y="888"/>
                  </a:lnTo>
                  <a:lnTo>
                    <a:pt x="84" y="882"/>
                  </a:lnTo>
                  <a:lnTo>
                    <a:pt x="78" y="858"/>
                  </a:lnTo>
                  <a:lnTo>
                    <a:pt x="78" y="852"/>
                  </a:lnTo>
                  <a:lnTo>
                    <a:pt x="84" y="846"/>
                  </a:lnTo>
                  <a:lnTo>
                    <a:pt x="84" y="840"/>
                  </a:lnTo>
                  <a:lnTo>
                    <a:pt x="96" y="828"/>
                  </a:lnTo>
                  <a:lnTo>
                    <a:pt x="114" y="816"/>
                  </a:lnTo>
                  <a:lnTo>
                    <a:pt x="114" y="810"/>
                  </a:lnTo>
                  <a:lnTo>
                    <a:pt x="114" y="804"/>
                  </a:lnTo>
                  <a:lnTo>
                    <a:pt x="108" y="780"/>
                  </a:lnTo>
                  <a:lnTo>
                    <a:pt x="96" y="756"/>
                  </a:lnTo>
                  <a:lnTo>
                    <a:pt x="96" y="750"/>
                  </a:lnTo>
                  <a:lnTo>
                    <a:pt x="90" y="720"/>
                  </a:lnTo>
                  <a:lnTo>
                    <a:pt x="90" y="708"/>
                  </a:lnTo>
                  <a:lnTo>
                    <a:pt x="90" y="690"/>
                  </a:lnTo>
                  <a:lnTo>
                    <a:pt x="96" y="672"/>
                  </a:lnTo>
                  <a:lnTo>
                    <a:pt x="90" y="666"/>
                  </a:lnTo>
                  <a:lnTo>
                    <a:pt x="96" y="666"/>
                  </a:lnTo>
                  <a:lnTo>
                    <a:pt x="102" y="642"/>
                  </a:lnTo>
                  <a:lnTo>
                    <a:pt x="108" y="624"/>
                  </a:lnTo>
                  <a:lnTo>
                    <a:pt x="102" y="618"/>
                  </a:lnTo>
                  <a:lnTo>
                    <a:pt x="102" y="588"/>
                  </a:lnTo>
                  <a:lnTo>
                    <a:pt x="102" y="564"/>
                  </a:lnTo>
                  <a:lnTo>
                    <a:pt x="102" y="546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0"/>
                  </a:lnTo>
                  <a:lnTo>
                    <a:pt x="96" y="498"/>
                  </a:lnTo>
                  <a:lnTo>
                    <a:pt x="96" y="486"/>
                  </a:lnTo>
                  <a:lnTo>
                    <a:pt x="96" y="474"/>
                  </a:lnTo>
                  <a:lnTo>
                    <a:pt x="96" y="462"/>
                  </a:lnTo>
                  <a:lnTo>
                    <a:pt x="114" y="450"/>
                  </a:lnTo>
                  <a:lnTo>
                    <a:pt x="126" y="438"/>
                  </a:lnTo>
                  <a:lnTo>
                    <a:pt x="132" y="432"/>
                  </a:lnTo>
                  <a:lnTo>
                    <a:pt x="144" y="426"/>
                  </a:lnTo>
                  <a:lnTo>
                    <a:pt x="144" y="420"/>
                  </a:lnTo>
                  <a:lnTo>
                    <a:pt x="156" y="414"/>
                  </a:lnTo>
                  <a:lnTo>
                    <a:pt x="162" y="408"/>
                  </a:lnTo>
                  <a:lnTo>
                    <a:pt x="180" y="396"/>
                  </a:lnTo>
                  <a:lnTo>
                    <a:pt x="210" y="372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34" y="348"/>
                  </a:lnTo>
                  <a:lnTo>
                    <a:pt x="240" y="348"/>
                  </a:lnTo>
                  <a:lnTo>
                    <a:pt x="246" y="342"/>
                  </a:lnTo>
                  <a:lnTo>
                    <a:pt x="276" y="318"/>
                  </a:lnTo>
                  <a:lnTo>
                    <a:pt x="282" y="312"/>
                  </a:lnTo>
                  <a:lnTo>
                    <a:pt x="288" y="306"/>
                  </a:lnTo>
                  <a:lnTo>
                    <a:pt x="300" y="288"/>
                  </a:lnTo>
                  <a:lnTo>
                    <a:pt x="306" y="276"/>
                  </a:lnTo>
                  <a:lnTo>
                    <a:pt x="324" y="246"/>
                  </a:lnTo>
                  <a:lnTo>
                    <a:pt x="330" y="240"/>
                  </a:lnTo>
                  <a:lnTo>
                    <a:pt x="336" y="234"/>
                  </a:lnTo>
                  <a:lnTo>
                    <a:pt x="342" y="228"/>
                  </a:lnTo>
                  <a:lnTo>
                    <a:pt x="342" y="216"/>
                  </a:lnTo>
                  <a:lnTo>
                    <a:pt x="354" y="204"/>
                  </a:lnTo>
                  <a:lnTo>
                    <a:pt x="360" y="204"/>
                  </a:lnTo>
                  <a:lnTo>
                    <a:pt x="366" y="186"/>
                  </a:lnTo>
                  <a:lnTo>
                    <a:pt x="384" y="162"/>
                  </a:lnTo>
                  <a:lnTo>
                    <a:pt x="390" y="144"/>
                  </a:lnTo>
                  <a:lnTo>
                    <a:pt x="396" y="114"/>
                  </a:lnTo>
                  <a:lnTo>
                    <a:pt x="396" y="102"/>
                  </a:lnTo>
                  <a:lnTo>
                    <a:pt x="402" y="90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08" y="36"/>
                  </a:lnTo>
                  <a:lnTo>
                    <a:pt x="408" y="24"/>
                  </a:lnTo>
                  <a:lnTo>
                    <a:pt x="408" y="6"/>
                  </a:lnTo>
                  <a:lnTo>
                    <a:pt x="420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68" y="0"/>
                  </a:lnTo>
                  <a:lnTo>
                    <a:pt x="480" y="0"/>
                  </a:lnTo>
                  <a:lnTo>
                    <a:pt x="492" y="0"/>
                  </a:lnTo>
                  <a:lnTo>
                    <a:pt x="498" y="0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8" y="18"/>
                  </a:lnTo>
                  <a:lnTo>
                    <a:pt x="534" y="18"/>
                  </a:lnTo>
                  <a:lnTo>
                    <a:pt x="540" y="18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8" y="36"/>
                  </a:lnTo>
                  <a:lnTo>
                    <a:pt x="588" y="54"/>
                  </a:lnTo>
                  <a:lnTo>
                    <a:pt x="594" y="48"/>
                  </a:lnTo>
                  <a:lnTo>
                    <a:pt x="600" y="48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12" y="66"/>
                  </a:lnTo>
                  <a:lnTo>
                    <a:pt x="630" y="72"/>
                  </a:lnTo>
                  <a:lnTo>
                    <a:pt x="642" y="78"/>
                  </a:lnTo>
                  <a:lnTo>
                    <a:pt x="666" y="78"/>
                  </a:lnTo>
                  <a:lnTo>
                    <a:pt x="672" y="72"/>
                  </a:lnTo>
                  <a:lnTo>
                    <a:pt x="690" y="84"/>
                  </a:lnTo>
                  <a:lnTo>
                    <a:pt x="690" y="90"/>
                  </a:lnTo>
                  <a:lnTo>
                    <a:pt x="708" y="96"/>
                  </a:lnTo>
                  <a:lnTo>
                    <a:pt x="708" y="102"/>
                  </a:lnTo>
                  <a:lnTo>
                    <a:pt x="744" y="96"/>
                  </a:lnTo>
                  <a:lnTo>
                    <a:pt x="756" y="78"/>
                  </a:lnTo>
                  <a:lnTo>
                    <a:pt x="756" y="72"/>
                  </a:lnTo>
                  <a:lnTo>
                    <a:pt x="762" y="66"/>
                  </a:lnTo>
                  <a:lnTo>
                    <a:pt x="768" y="60"/>
                  </a:lnTo>
                  <a:lnTo>
                    <a:pt x="774" y="54"/>
                  </a:lnTo>
                  <a:lnTo>
                    <a:pt x="786" y="54"/>
                  </a:lnTo>
                  <a:lnTo>
                    <a:pt x="786" y="60"/>
                  </a:lnTo>
                  <a:lnTo>
                    <a:pt x="786" y="66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92" y="90"/>
                  </a:lnTo>
                  <a:lnTo>
                    <a:pt x="780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26"/>
                  </a:lnTo>
                  <a:lnTo>
                    <a:pt x="768" y="150"/>
                  </a:lnTo>
                  <a:lnTo>
                    <a:pt x="750" y="168"/>
                  </a:lnTo>
                  <a:lnTo>
                    <a:pt x="750" y="174"/>
                  </a:lnTo>
                  <a:lnTo>
                    <a:pt x="762" y="192"/>
                  </a:lnTo>
                  <a:lnTo>
                    <a:pt x="774" y="210"/>
                  </a:lnTo>
                  <a:lnTo>
                    <a:pt x="792" y="228"/>
                  </a:lnTo>
                  <a:lnTo>
                    <a:pt x="804" y="240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40" y="252"/>
                  </a:lnTo>
                  <a:lnTo>
                    <a:pt x="834" y="252"/>
                  </a:lnTo>
                  <a:lnTo>
                    <a:pt x="846" y="252"/>
                  </a:lnTo>
                  <a:lnTo>
                    <a:pt x="852" y="270"/>
                  </a:lnTo>
                  <a:lnTo>
                    <a:pt x="858" y="282"/>
                  </a:lnTo>
                  <a:lnTo>
                    <a:pt x="858" y="288"/>
                  </a:lnTo>
                  <a:lnTo>
                    <a:pt x="864" y="300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58" y="318"/>
                  </a:lnTo>
                  <a:lnTo>
                    <a:pt x="852" y="318"/>
                  </a:lnTo>
                  <a:lnTo>
                    <a:pt x="846" y="324"/>
                  </a:lnTo>
                  <a:lnTo>
                    <a:pt x="846" y="336"/>
                  </a:lnTo>
                  <a:lnTo>
                    <a:pt x="840" y="348"/>
                  </a:lnTo>
                  <a:lnTo>
                    <a:pt x="840" y="360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46" y="402"/>
                  </a:lnTo>
                  <a:lnTo>
                    <a:pt x="858" y="420"/>
                  </a:lnTo>
                  <a:lnTo>
                    <a:pt x="882" y="426"/>
                  </a:lnTo>
                  <a:lnTo>
                    <a:pt x="888" y="444"/>
                  </a:lnTo>
                  <a:lnTo>
                    <a:pt x="900" y="444"/>
                  </a:lnTo>
                  <a:lnTo>
                    <a:pt x="900" y="462"/>
                  </a:lnTo>
                  <a:lnTo>
                    <a:pt x="894" y="474"/>
                  </a:lnTo>
                  <a:lnTo>
                    <a:pt x="888" y="486"/>
                  </a:lnTo>
                  <a:lnTo>
                    <a:pt x="882" y="492"/>
                  </a:lnTo>
                  <a:lnTo>
                    <a:pt x="870" y="504"/>
                  </a:lnTo>
                  <a:lnTo>
                    <a:pt x="852" y="504"/>
                  </a:lnTo>
                  <a:lnTo>
                    <a:pt x="852" y="510"/>
                  </a:lnTo>
                  <a:lnTo>
                    <a:pt x="852" y="516"/>
                  </a:lnTo>
                  <a:lnTo>
                    <a:pt x="846" y="528"/>
                  </a:lnTo>
                  <a:lnTo>
                    <a:pt x="846" y="582"/>
                  </a:lnTo>
                  <a:lnTo>
                    <a:pt x="840" y="582"/>
                  </a:lnTo>
                  <a:lnTo>
                    <a:pt x="834" y="582"/>
                  </a:lnTo>
                  <a:lnTo>
                    <a:pt x="828" y="582"/>
                  </a:lnTo>
                  <a:lnTo>
                    <a:pt x="822" y="582"/>
                  </a:lnTo>
                  <a:lnTo>
                    <a:pt x="810" y="582"/>
                  </a:lnTo>
                  <a:lnTo>
                    <a:pt x="810" y="528"/>
                  </a:lnTo>
                  <a:lnTo>
                    <a:pt x="792" y="528"/>
                  </a:lnTo>
                  <a:lnTo>
                    <a:pt x="792" y="522"/>
                  </a:lnTo>
                  <a:lnTo>
                    <a:pt x="786" y="522"/>
                  </a:lnTo>
                  <a:lnTo>
                    <a:pt x="786" y="516"/>
                  </a:lnTo>
                  <a:lnTo>
                    <a:pt x="780" y="516"/>
                  </a:lnTo>
                  <a:lnTo>
                    <a:pt x="780" y="510"/>
                  </a:lnTo>
                  <a:lnTo>
                    <a:pt x="762" y="510"/>
                  </a:lnTo>
                  <a:lnTo>
                    <a:pt x="756" y="510"/>
                  </a:lnTo>
                  <a:lnTo>
                    <a:pt x="750" y="522"/>
                  </a:lnTo>
                  <a:lnTo>
                    <a:pt x="744" y="534"/>
                  </a:lnTo>
                  <a:lnTo>
                    <a:pt x="732" y="540"/>
                  </a:lnTo>
                  <a:lnTo>
                    <a:pt x="732" y="558"/>
                  </a:lnTo>
                  <a:lnTo>
                    <a:pt x="732" y="564"/>
                  </a:lnTo>
                  <a:lnTo>
                    <a:pt x="732" y="570"/>
                  </a:lnTo>
                  <a:lnTo>
                    <a:pt x="726" y="576"/>
                  </a:lnTo>
                  <a:lnTo>
                    <a:pt x="720" y="576"/>
                  </a:lnTo>
                  <a:lnTo>
                    <a:pt x="714" y="582"/>
                  </a:lnTo>
                  <a:lnTo>
                    <a:pt x="702" y="588"/>
                  </a:lnTo>
                  <a:lnTo>
                    <a:pt x="696" y="594"/>
                  </a:lnTo>
                  <a:lnTo>
                    <a:pt x="690" y="600"/>
                  </a:lnTo>
                  <a:lnTo>
                    <a:pt x="690" y="606"/>
                  </a:lnTo>
                  <a:lnTo>
                    <a:pt x="678" y="606"/>
                  </a:lnTo>
                  <a:lnTo>
                    <a:pt x="678" y="624"/>
                  </a:lnTo>
                  <a:lnTo>
                    <a:pt x="684" y="642"/>
                  </a:lnTo>
                  <a:lnTo>
                    <a:pt x="684" y="660"/>
                  </a:lnTo>
                  <a:lnTo>
                    <a:pt x="690" y="672"/>
                  </a:lnTo>
                  <a:lnTo>
                    <a:pt x="702" y="720"/>
                  </a:lnTo>
                  <a:lnTo>
                    <a:pt x="708" y="750"/>
                  </a:lnTo>
                  <a:lnTo>
                    <a:pt x="708" y="792"/>
                  </a:lnTo>
                  <a:lnTo>
                    <a:pt x="708" y="828"/>
                  </a:lnTo>
                  <a:lnTo>
                    <a:pt x="708" y="852"/>
                  </a:lnTo>
                  <a:lnTo>
                    <a:pt x="696" y="894"/>
                  </a:lnTo>
                  <a:lnTo>
                    <a:pt x="702" y="900"/>
                  </a:lnTo>
                  <a:lnTo>
                    <a:pt x="708" y="924"/>
                  </a:lnTo>
                  <a:lnTo>
                    <a:pt x="684" y="936"/>
                  </a:lnTo>
                  <a:lnTo>
                    <a:pt x="660" y="954"/>
                  </a:lnTo>
                  <a:lnTo>
                    <a:pt x="618" y="984"/>
                  </a:lnTo>
                  <a:lnTo>
                    <a:pt x="618" y="990"/>
                  </a:lnTo>
                  <a:lnTo>
                    <a:pt x="612" y="996"/>
                  </a:lnTo>
                  <a:lnTo>
                    <a:pt x="606" y="1002"/>
                  </a:lnTo>
                  <a:lnTo>
                    <a:pt x="618" y="1008"/>
                  </a:lnTo>
                  <a:lnTo>
                    <a:pt x="618" y="1014"/>
                  </a:lnTo>
                  <a:lnTo>
                    <a:pt x="624" y="1026"/>
                  </a:lnTo>
                  <a:lnTo>
                    <a:pt x="630" y="1026"/>
                  </a:lnTo>
                  <a:lnTo>
                    <a:pt x="636" y="1032"/>
                  </a:lnTo>
                  <a:lnTo>
                    <a:pt x="642" y="1032"/>
                  </a:lnTo>
                  <a:lnTo>
                    <a:pt x="642" y="1038"/>
                  </a:lnTo>
                  <a:lnTo>
                    <a:pt x="648" y="1044"/>
                  </a:lnTo>
                  <a:lnTo>
                    <a:pt x="666" y="1050"/>
                  </a:lnTo>
                  <a:lnTo>
                    <a:pt x="678" y="1038"/>
                  </a:lnTo>
                  <a:lnTo>
                    <a:pt x="684" y="1038"/>
                  </a:lnTo>
                  <a:lnTo>
                    <a:pt x="684" y="1032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20"/>
                  </a:lnTo>
                  <a:lnTo>
                    <a:pt x="708" y="1014"/>
                  </a:lnTo>
                  <a:lnTo>
                    <a:pt x="720" y="1020"/>
                  </a:lnTo>
                  <a:lnTo>
                    <a:pt x="720" y="1014"/>
                  </a:lnTo>
                  <a:lnTo>
                    <a:pt x="726" y="1008"/>
                  </a:lnTo>
                  <a:lnTo>
                    <a:pt x="732" y="1008"/>
                  </a:lnTo>
                  <a:lnTo>
                    <a:pt x="738" y="1008"/>
                  </a:lnTo>
                  <a:lnTo>
                    <a:pt x="744" y="1002"/>
                  </a:lnTo>
                  <a:lnTo>
                    <a:pt x="744" y="996"/>
                  </a:lnTo>
                  <a:lnTo>
                    <a:pt x="750" y="996"/>
                  </a:lnTo>
                  <a:lnTo>
                    <a:pt x="756" y="1002"/>
                  </a:lnTo>
                  <a:lnTo>
                    <a:pt x="762" y="1002"/>
                  </a:lnTo>
                  <a:lnTo>
                    <a:pt x="768" y="996"/>
                  </a:lnTo>
                  <a:lnTo>
                    <a:pt x="780" y="996"/>
                  </a:lnTo>
                  <a:lnTo>
                    <a:pt x="786" y="996"/>
                  </a:lnTo>
                  <a:lnTo>
                    <a:pt x="816" y="990"/>
                  </a:lnTo>
                  <a:lnTo>
                    <a:pt x="828" y="990"/>
                  </a:lnTo>
                  <a:lnTo>
                    <a:pt x="834" y="990"/>
                  </a:lnTo>
                  <a:lnTo>
                    <a:pt x="840" y="984"/>
                  </a:lnTo>
                  <a:lnTo>
                    <a:pt x="852" y="978"/>
                  </a:lnTo>
                  <a:lnTo>
                    <a:pt x="852" y="972"/>
                  </a:lnTo>
                  <a:lnTo>
                    <a:pt x="858" y="972"/>
                  </a:lnTo>
                  <a:lnTo>
                    <a:pt x="864" y="966"/>
                  </a:lnTo>
                  <a:lnTo>
                    <a:pt x="870" y="966"/>
                  </a:lnTo>
                  <a:lnTo>
                    <a:pt x="876" y="966"/>
                  </a:lnTo>
                  <a:lnTo>
                    <a:pt x="882" y="960"/>
                  </a:lnTo>
                  <a:lnTo>
                    <a:pt x="888" y="960"/>
                  </a:lnTo>
                  <a:lnTo>
                    <a:pt x="894" y="960"/>
                  </a:lnTo>
                  <a:lnTo>
                    <a:pt x="894" y="966"/>
                  </a:lnTo>
                  <a:lnTo>
                    <a:pt x="894" y="978"/>
                  </a:lnTo>
                  <a:lnTo>
                    <a:pt x="894" y="984"/>
                  </a:lnTo>
                  <a:lnTo>
                    <a:pt x="900" y="984"/>
                  </a:lnTo>
                  <a:lnTo>
                    <a:pt x="906" y="978"/>
                  </a:lnTo>
                  <a:lnTo>
                    <a:pt x="912" y="972"/>
                  </a:lnTo>
                  <a:lnTo>
                    <a:pt x="918" y="978"/>
                  </a:lnTo>
                  <a:lnTo>
                    <a:pt x="924" y="978"/>
                  </a:lnTo>
                  <a:lnTo>
                    <a:pt x="924" y="972"/>
                  </a:lnTo>
                  <a:lnTo>
                    <a:pt x="924" y="966"/>
                  </a:lnTo>
                  <a:lnTo>
                    <a:pt x="930" y="966"/>
                  </a:lnTo>
                  <a:lnTo>
                    <a:pt x="948" y="966"/>
                  </a:lnTo>
                  <a:lnTo>
                    <a:pt x="954" y="966"/>
                  </a:lnTo>
                  <a:lnTo>
                    <a:pt x="954" y="960"/>
                  </a:lnTo>
                  <a:lnTo>
                    <a:pt x="960" y="960"/>
                  </a:lnTo>
                  <a:lnTo>
                    <a:pt x="966" y="960"/>
                  </a:lnTo>
                  <a:lnTo>
                    <a:pt x="966" y="966"/>
                  </a:lnTo>
                  <a:lnTo>
                    <a:pt x="978" y="972"/>
                  </a:lnTo>
                  <a:lnTo>
                    <a:pt x="978" y="978"/>
                  </a:lnTo>
                  <a:lnTo>
                    <a:pt x="978" y="984"/>
                  </a:lnTo>
                  <a:lnTo>
                    <a:pt x="984" y="978"/>
                  </a:lnTo>
                  <a:lnTo>
                    <a:pt x="990" y="978"/>
                  </a:lnTo>
                  <a:lnTo>
                    <a:pt x="996" y="984"/>
                  </a:lnTo>
                  <a:lnTo>
                    <a:pt x="1002" y="990"/>
                  </a:lnTo>
                  <a:lnTo>
                    <a:pt x="1008" y="972"/>
                  </a:lnTo>
                  <a:lnTo>
                    <a:pt x="1026" y="972"/>
                  </a:lnTo>
                  <a:lnTo>
                    <a:pt x="1032" y="972"/>
                  </a:lnTo>
                  <a:lnTo>
                    <a:pt x="1038" y="972"/>
                  </a:lnTo>
                  <a:lnTo>
                    <a:pt x="1050" y="972"/>
                  </a:lnTo>
                  <a:lnTo>
                    <a:pt x="1056" y="972"/>
                  </a:lnTo>
                  <a:lnTo>
                    <a:pt x="1062" y="966"/>
                  </a:lnTo>
                  <a:lnTo>
                    <a:pt x="1074" y="966"/>
                  </a:lnTo>
                  <a:lnTo>
                    <a:pt x="1074" y="960"/>
                  </a:lnTo>
                  <a:lnTo>
                    <a:pt x="1080" y="954"/>
                  </a:lnTo>
                  <a:lnTo>
                    <a:pt x="1080" y="948"/>
                  </a:lnTo>
                  <a:lnTo>
                    <a:pt x="1074" y="948"/>
                  </a:lnTo>
                  <a:lnTo>
                    <a:pt x="1068" y="948"/>
                  </a:lnTo>
                  <a:lnTo>
                    <a:pt x="1062" y="942"/>
                  </a:lnTo>
                  <a:lnTo>
                    <a:pt x="1068" y="936"/>
                  </a:lnTo>
                  <a:lnTo>
                    <a:pt x="1074" y="936"/>
                  </a:lnTo>
                  <a:lnTo>
                    <a:pt x="1080" y="936"/>
                  </a:lnTo>
                  <a:lnTo>
                    <a:pt x="1086" y="942"/>
                  </a:lnTo>
                  <a:lnTo>
                    <a:pt x="1092" y="942"/>
                  </a:lnTo>
                  <a:lnTo>
                    <a:pt x="1098" y="948"/>
                  </a:lnTo>
                  <a:lnTo>
                    <a:pt x="1104" y="954"/>
                  </a:lnTo>
                  <a:lnTo>
                    <a:pt x="1110" y="954"/>
                  </a:lnTo>
                  <a:lnTo>
                    <a:pt x="1116" y="948"/>
                  </a:lnTo>
                  <a:lnTo>
                    <a:pt x="1122" y="942"/>
                  </a:lnTo>
                  <a:lnTo>
                    <a:pt x="1128" y="942"/>
                  </a:lnTo>
                  <a:lnTo>
                    <a:pt x="1134" y="942"/>
                  </a:lnTo>
                  <a:lnTo>
                    <a:pt x="1140" y="948"/>
                  </a:lnTo>
                  <a:lnTo>
                    <a:pt x="1146" y="942"/>
                  </a:lnTo>
                  <a:lnTo>
                    <a:pt x="1152" y="942"/>
                  </a:lnTo>
                  <a:lnTo>
                    <a:pt x="1152" y="930"/>
                  </a:lnTo>
                  <a:lnTo>
                    <a:pt x="1164" y="936"/>
                  </a:lnTo>
                  <a:lnTo>
                    <a:pt x="1158" y="942"/>
                  </a:lnTo>
                  <a:lnTo>
                    <a:pt x="1158" y="948"/>
                  </a:lnTo>
                  <a:lnTo>
                    <a:pt x="1146" y="954"/>
                  </a:lnTo>
                  <a:lnTo>
                    <a:pt x="1152" y="954"/>
                  </a:lnTo>
                  <a:lnTo>
                    <a:pt x="1158" y="954"/>
                  </a:lnTo>
                  <a:lnTo>
                    <a:pt x="1158" y="948"/>
                  </a:lnTo>
                  <a:lnTo>
                    <a:pt x="1164" y="948"/>
                  </a:lnTo>
                  <a:lnTo>
                    <a:pt x="1170" y="948"/>
                  </a:lnTo>
                  <a:lnTo>
                    <a:pt x="1176" y="954"/>
                  </a:lnTo>
                  <a:lnTo>
                    <a:pt x="1176" y="966"/>
                  </a:lnTo>
                  <a:lnTo>
                    <a:pt x="1182" y="972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88" y="984"/>
                  </a:lnTo>
                  <a:lnTo>
                    <a:pt x="1194" y="984"/>
                  </a:lnTo>
                  <a:lnTo>
                    <a:pt x="1200" y="984"/>
                  </a:lnTo>
                  <a:lnTo>
                    <a:pt x="1212" y="984"/>
                  </a:lnTo>
                  <a:lnTo>
                    <a:pt x="1218" y="990"/>
                  </a:lnTo>
                  <a:lnTo>
                    <a:pt x="1224" y="990"/>
                  </a:lnTo>
                  <a:lnTo>
                    <a:pt x="1224" y="984"/>
                  </a:lnTo>
                  <a:lnTo>
                    <a:pt x="1230" y="990"/>
                  </a:lnTo>
                  <a:lnTo>
                    <a:pt x="1236" y="984"/>
                  </a:lnTo>
                  <a:lnTo>
                    <a:pt x="1242" y="984"/>
                  </a:lnTo>
                  <a:lnTo>
                    <a:pt x="1248" y="990"/>
                  </a:lnTo>
                  <a:lnTo>
                    <a:pt x="1254" y="990"/>
                  </a:lnTo>
                  <a:lnTo>
                    <a:pt x="1254" y="996"/>
                  </a:lnTo>
                  <a:lnTo>
                    <a:pt x="1254" y="1002"/>
                  </a:lnTo>
                  <a:lnTo>
                    <a:pt x="1254" y="1008"/>
                  </a:lnTo>
                  <a:lnTo>
                    <a:pt x="1260" y="1014"/>
                  </a:lnTo>
                  <a:lnTo>
                    <a:pt x="1266" y="1014"/>
                  </a:lnTo>
                  <a:lnTo>
                    <a:pt x="1272" y="1014"/>
                  </a:lnTo>
                  <a:lnTo>
                    <a:pt x="1278" y="1020"/>
                  </a:lnTo>
                  <a:lnTo>
                    <a:pt x="1284" y="1020"/>
                  </a:lnTo>
                  <a:lnTo>
                    <a:pt x="1290" y="1014"/>
                  </a:lnTo>
                  <a:lnTo>
                    <a:pt x="1290" y="1008"/>
                  </a:lnTo>
                  <a:lnTo>
                    <a:pt x="1296" y="1008"/>
                  </a:lnTo>
                  <a:lnTo>
                    <a:pt x="1302" y="1014"/>
                  </a:lnTo>
                  <a:lnTo>
                    <a:pt x="1308" y="1014"/>
                  </a:lnTo>
                  <a:lnTo>
                    <a:pt x="1314" y="1008"/>
                  </a:lnTo>
                  <a:lnTo>
                    <a:pt x="1320" y="1008"/>
                  </a:lnTo>
                  <a:lnTo>
                    <a:pt x="1320" y="1002"/>
                  </a:lnTo>
                  <a:lnTo>
                    <a:pt x="1320" y="996"/>
                  </a:lnTo>
                  <a:lnTo>
                    <a:pt x="1332" y="1002"/>
                  </a:lnTo>
                  <a:lnTo>
                    <a:pt x="1332" y="1008"/>
                  </a:lnTo>
                  <a:lnTo>
                    <a:pt x="1326" y="1014"/>
                  </a:lnTo>
                  <a:lnTo>
                    <a:pt x="1332" y="1014"/>
                  </a:lnTo>
                  <a:lnTo>
                    <a:pt x="1338" y="1014"/>
                  </a:lnTo>
                  <a:lnTo>
                    <a:pt x="1338" y="1008"/>
                  </a:lnTo>
                  <a:lnTo>
                    <a:pt x="1344" y="1008"/>
                  </a:lnTo>
                  <a:lnTo>
                    <a:pt x="1350" y="1008"/>
                  </a:lnTo>
                  <a:lnTo>
                    <a:pt x="1356" y="1014"/>
                  </a:lnTo>
                  <a:lnTo>
                    <a:pt x="1356" y="1008"/>
                  </a:lnTo>
                  <a:lnTo>
                    <a:pt x="1362" y="1014"/>
                  </a:lnTo>
                  <a:lnTo>
                    <a:pt x="1392" y="1014"/>
                  </a:lnTo>
                  <a:lnTo>
                    <a:pt x="1398" y="1014"/>
                  </a:lnTo>
                  <a:lnTo>
                    <a:pt x="1404" y="1008"/>
                  </a:lnTo>
                  <a:lnTo>
                    <a:pt x="1404" y="1014"/>
                  </a:lnTo>
                  <a:lnTo>
                    <a:pt x="1410" y="1008"/>
                  </a:lnTo>
                  <a:lnTo>
                    <a:pt x="1416" y="1008"/>
                  </a:lnTo>
                  <a:lnTo>
                    <a:pt x="1422" y="1002"/>
                  </a:lnTo>
                  <a:lnTo>
                    <a:pt x="1428" y="1002"/>
                  </a:lnTo>
                  <a:lnTo>
                    <a:pt x="1428" y="996"/>
                  </a:lnTo>
                  <a:lnTo>
                    <a:pt x="1428" y="990"/>
                  </a:lnTo>
                  <a:lnTo>
                    <a:pt x="1440" y="1002"/>
                  </a:lnTo>
                  <a:lnTo>
                    <a:pt x="1446" y="1002"/>
                  </a:lnTo>
                  <a:lnTo>
                    <a:pt x="1452" y="1002"/>
                  </a:lnTo>
                  <a:lnTo>
                    <a:pt x="1446" y="996"/>
                  </a:lnTo>
                  <a:lnTo>
                    <a:pt x="1452" y="996"/>
                  </a:lnTo>
                  <a:lnTo>
                    <a:pt x="1458" y="996"/>
                  </a:lnTo>
                  <a:lnTo>
                    <a:pt x="1464" y="996"/>
                  </a:lnTo>
                  <a:lnTo>
                    <a:pt x="1464" y="1002"/>
                  </a:lnTo>
                  <a:lnTo>
                    <a:pt x="1476" y="1014"/>
                  </a:lnTo>
                  <a:lnTo>
                    <a:pt x="1476" y="1008"/>
                  </a:lnTo>
                  <a:lnTo>
                    <a:pt x="1482" y="1008"/>
                  </a:lnTo>
                  <a:lnTo>
                    <a:pt x="1488" y="1020"/>
                  </a:lnTo>
                  <a:lnTo>
                    <a:pt x="1494" y="1020"/>
                  </a:lnTo>
                  <a:lnTo>
                    <a:pt x="1500" y="1014"/>
                  </a:lnTo>
                  <a:lnTo>
                    <a:pt x="1500" y="1020"/>
                  </a:lnTo>
                  <a:lnTo>
                    <a:pt x="1506" y="1026"/>
                  </a:lnTo>
                  <a:lnTo>
                    <a:pt x="1512" y="1032"/>
                  </a:lnTo>
                  <a:lnTo>
                    <a:pt x="1518" y="1032"/>
                  </a:lnTo>
                  <a:lnTo>
                    <a:pt x="1518" y="1038"/>
                  </a:lnTo>
                  <a:lnTo>
                    <a:pt x="1518" y="1044"/>
                  </a:lnTo>
                  <a:lnTo>
                    <a:pt x="1524" y="1044"/>
                  </a:lnTo>
                  <a:lnTo>
                    <a:pt x="1524" y="1050"/>
                  </a:lnTo>
                  <a:lnTo>
                    <a:pt x="1530" y="1056"/>
                  </a:lnTo>
                  <a:lnTo>
                    <a:pt x="1548" y="1062"/>
                  </a:lnTo>
                  <a:lnTo>
                    <a:pt x="1560" y="1074"/>
                  </a:lnTo>
                  <a:lnTo>
                    <a:pt x="1560" y="1080"/>
                  </a:lnTo>
                  <a:lnTo>
                    <a:pt x="1560" y="1086"/>
                  </a:lnTo>
                  <a:lnTo>
                    <a:pt x="1566" y="1086"/>
                  </a:lnTo>
                  <a:lnTo>
                    <a:pt x="1572" y="1098"/>
                  </a:lnTo>
                  <a:lnTo>
                    <a:pt x="1572" y="1104"/>
                  </a:lnTo>
                  <a:lnTo>
                    <a:pt x="1584" y="1110"/>
                  </a:lnTo>
                  <a:lnTo>
                    <a:pt x="1590" y="1116"/>
                  </a:lnTo>
                  <a:lnTo>
                    <a:pt x="1596" y="1116"/>
                  </a:lnTo>
                  <a:lnTo>
                    <a:pt x="1608" y="1122"/>
                  </a:lnTo>
                  <a:lnTo>
                    <a:pt x="1620" y="1140"/>
                  </a:lnTo>
                  <a:lnTo>
                    <a:pt x="1626" y="1158"/>
                  </a:lnTo>
                  <a:lnTo>
                    <a:pt x="1638" y="1200"/>
                  </a:lnTo>
                  <a:lnTo>
                    <a:pt x="1638" y="1218"/>
                  </a:lnTo>
                  <a:lnTo>
                    <a:pt x="1620" y="1230"/>
                  </a:lnTo>
                  <a:lnTo>
                    <a:pt x="1554" y="1230"/>
                  </a:lnTo>
                  <a:lnTo>
                    <a:pt x="1560" y="1248"/>
                  </a:lnTo>
                  <a:lnTo>
                    <a:pt x="1584" y="1260"/>
                  </a:lnTo>
                  <a:lnTo>
                    <a:pt x="1584" y="1266"/>
                  </a:lnTo>
                  <a:lnTo>
                    <a:pt x="1578" y="1272"/>
                  </a:lnTo>
                  <a:lnTo>
                    <a:pt x="1572" y="1272"/>
                  </a:lnTo>
                  <a:lnTo>
                    <a:pt x="1566" y="1278"/>
                  </a:lnTo>
                  <a:lnTo>
                    <a:pt x="1566" y="1284"/>
                  </a:lnTo>
                  <a:lnTo>
                    <a:pt x="1560" y="1290"/>
                  </a:lnTo>
                  <a:lnTo>
                    <a:pt x="1554" y="1290"/>
                  </a:lnTo>
                  <a:lnTo>
                    <a:pt x="1554" y="1296"/>
                  </a:lnTo>
                  <a:lnTo>
                    <a:pt x="1554" y="1302"/>
                  </a:lnTo>
                  <a:lnTo>
                    <a:pt x="1560" y="1332"/>
                  </a:lnTo>
                  <a:lnTo>
                    <a:pt x="1566" y="1356"/>
                  </a:lnTo>
                  <a:lnTo>
                    <a:pt x="1572" y="1356"/>
                  </a:lnTo>
                  <a:lnTo>
                    <a:pt x="1572" y="1362"/>
                  </a:lnTo>
                  <a:lnTo>
                    <a:pt x="1578" y="1362"/>
                  </a:lnTo>
                  <a:lnTo>
                    <a:pt x="1560" y="1374"/>
                  </a:lnTo>
                  <a:lnTo>
                    <a:pt x="1560" y="1380"/>
                  </a:lnTo>
                  <a:lnTo>
                    <a:pt x="1548" y="1380"/>
                  </a:lnTo>
                  <a:lnTo>
                    <a:pt x="1548" y="1386"/>
                  </a:lnTo>
                  <a:lnTo>
                    <a:pt x="1548" y="1392"/>
                  </a:lnTo>
                  <a:lnTo>
                    <a:pt x="1542" y="1410"/>
                  </a:lnTo>
                  <a:lnTo>
                    <a:pt x="1536" y="1422"/>
                  </a:lnTo>
                  <a:lnTo>
                    <a:pt x="1536" y="1428"/>
                  </a:lnTo>
                  <a:lnTo>
                    <a:pt x="1530" y="1440"/>
                  </a:lnTo>
                  <a:lnTo>
                    <a:pt x="1524" y="1434"/>
                  </a:lnTo>
                  <a:lnTo>
                    <a:pt x="1524" y="1428"/>
                  </a:lnTo>
                  <a:lnTo>
                    <a:pt x="1524" y="1422"/>
                  </a:lnTo>
                  <a:lnTo>
                    <a:pt x="1512" y="1410"/>
                  </a:lnTo>
                  <a:lnTo>
                    <a:pt x="1506" y="1404"/>
                  </a:lnTo>
                  <a:lnTo>
                    <a:pt x="1506" y="1398"/>
                  </a:lnTo>
                  <a:lnTo>
                    <a:pt x="1494" y="1392"/>
                  </a:lnTo>
                  <a:lnTo>
                    <a:pt x="1476" y="1404"/>
                  </a:lnTo>
                  <a:lnTo>
                    <a:pt x="1464" y="1416"/>
                  </a:lnTo>
                  <a:lnTo>
                    <a:pt x="1458" y="1428"/>
                  </a:lnTo>
                  <a:lnTo>
                    <a:pt x="1446" y="1434"/>
                  </a:lnTo>
                  <a:lnTo>
                    <a:pt x="1410" y="1440"/>
                  </a:lnTo>
                  <a:lnTo>
                    <a:pt x="1398" y="1440"/>
                  </a:lnTo>
                  <a:lnTo>
                    <a:pt x="1398" y="1446"/>
                  </a:lnTo>
                  <a:lnTo>
                    <a:pt x="1386" y="1446"/>
                  </a:lnTo>
                  <a:lnTo>
                    <a:pt x="1380" y="1440"/>
                  </a:lnTo>
                  <a:lnTo>
                    <a:pt x="1368" y="1440"/>
                  </a:lnTo>
                  <a:lnTo>
                    <a:pt x="1368" y="1446"/>
                  </a:lnTo>
                  <a:lnTo>
                    <a:pt x="1356" y="1446"/>
                  </a:lnTo>
                  <a:lnTo>
                    <a:pt x="1350" y="1452"/>
                  </a:lnTo>
                  <a:lnTo>
                    <a:pt x="1338" y="1452"/>
                  </a:lnTo>
                  <a:lnTo>
                    <a:pt x="1338" y="1458"/>
                  </a:lnTo>
                  <a:lnTo>
                    <a:pt x="1332" y="1458"/>
                  </a:lnTo>
                  <a:lnTo>
                    <a:pt x="1332" y="1464"/>
                  </a:lnTo>
                  <a:lnTo>
                    <a:pt x="1332" y="1470"/>
                  </a:lnTo>
                  <a:lnTo>
                    <a:pt x="1326" y="1470"/>
                  </a:lnTo>
                  <a:lnTo>
                    <a:pt x="1320" y="1470"/>
                  </a:lnTo>
                  <a:lnTo>
                    <a:pt x="1314" y="1470"/>
                  </a:lnTo>
                  <a:lnTo>
                    <a:pt x="1314" y="1464"/>
                  </a:lnTo>
                  <a:lnTo>
                    <a:pt x="1308" y="1464"/>
                  </a:lnTo>
                  <a:lnTo>
                    <a:pt x="1308" y="1452"/>
                  </a:lnTo>
                  <a:lnTo>
                    <a:pt x="1284" y="1458"/>
                  </a:lnTo>
                  <a:lnTo>
                    <a:pt x="1272" y="1458"/>
                  </a:lnTo>
                  <a:lnTo>
                    <a:pt x="1272" y="1464"/>
                  </a:lnTo>
                  <a:lnTo>
                    <a:pt x="1260" y="1464"/>
                  </a:lnTo>
                  <a:lnTo>
                    <a:pt x="1254" y="1464"/>
                  </a:lnTo>
                  <a:lnTo>
                    <a:pt x="1242" y="1422"/>
                  </a:lnTo>
                  <a:lnTo>
                    <a:pt x="1242" y="1416"/>
                  </a:lnTo>
                  <a:lnTo>
                    <a:pt x="1242" y="1410"/>
                  </a:lnTo>
                  <a:lnTo>
                    <a:pt x="1248" y="1410"/>
                  </a:lnTo>
                  <a:lnTo>
                    <a:pt x="1242" y="1410"/>
                  </a:lnTo>
                  <a:lnTo>
                    <a:pt x="1242" y="1404"/>
                  </a:lnTo>
                  <a:lnTo>
                    <a:pt x="1242" y="1398"/>
                  </a:lnTo>
                  <a:lnTo>
                    <a:pt x="1248" y="1392"/>
                  </a:lnTo>
                  <a:lnTo>
                    <a:pt x="1248" y="1386"/>
                  </a:lnTo>
                  <a:lnTo>
                    <a:pt x="1242" y="1380"/>
                  </a:lnTo>
                  <a:lnTo>
                    <a:pt x="1248" y="1380"/>
                  </a:lnTo>
                  <a:lnTo>
                    <a:pt x="1248" y="1374"/>
                  </a:lnTo>
                  <a:lnTo>
                    <a:pt x="1248" y="1368"/>
                  </a:lnTo>
                  <a:lnTo>
                    <a:pt x="1254" y="1368"/>
                  </a:lnTo>
                  <a:lnTo>
                    <a:pt x="1254" y="1362"/>
                  </a:lnTo>
                  <a:lnTo>
                    <a:pt x="1248" y="1356"/>
                  </a:lnTo>
                  <a:lnTo>
                    <a:pt x="1254" y="1356"/>
                  </a:lnTo>
                  <a:lnTo>
                    <a:pt x="1254" y="1344"/>
                  </a:lnTo>
                  <a:lnTo>
                    <a:pt x="1242" y="1338"/>
                  </a:lnTo>
                  <a:lnTo>
                    <a:pt x="1242" y="1326"/>
                  </a:lnTo>
                  <a:lnTo>
                    <a:pt x="1230" y="1326"/>
                  </a:lnTo>
                  <a:lnTo>
                    <a:pt x="1230" y="1314"/>
                  </a:lnTo>
                  <a:lnTo>
                    <a:pt x="1218" y="1314"/>
                  </a:lnTo>
                  <a:lnTo>
                    <a:pt x="1200" y="1272"/>
                  </a:lnTo>
                  <a:lnTo>
                    <a:pt x="1194" y="1242"/>
                  </a:lnTo>
                  <a:lnTo>
                    <a:pt x="1194" y="1206"/>
                  </a:lnTo>
                  <a:lnTo>
                    <a:pt x="1182" y="1200"/>
                  </a:lnTo>
                  <a:lnTo>
                    <a:pt x="1164" y="1206"/>
                  </a:lnTo>
                  <a:lnTo>
                    <a:pt x="1146" y="1212"/>
                  </a:lnTo>
                  <a:lnTo>
                    <a:pt x="1146" y="1218"/>
                  </a:lnTo>
                  <a:lnTo>
                    <a:pt x="1134" y="1224"/>
                  </a:lnTo>
                  <a:lnTo>
                    <a:pt x="1140" y="1260"/>
                  </a:lnTo>
                  <a:lnTo>
                    <a:pt x="1134" y="1266"/>
                  </a:lnTo>
                  <a:lnTo>
                    <a:pt x="1122" y="1266"/>
                  </a:lnTo>
                  <a:lnTo>
                    <a:pt x="1110" y="1236"/>
                  </a:lnTo>
                  <a:lnTo>
                    <a:pt x="1110" y="1224"/>
                  </a:lnTo>
                  <a:lnTo>
                    <a:pt x="1086" y="1224"/>
                  </a:lnTo>
                  <a:lnTo>
                    <a:pt x="1086" y="1212"/>
                  </a:lnTo>
                  <a:lnTo>
                    <a:pt x="1074" y="1212"/>
                  </a:lnTo>
                  <a:lnTo>
                    <a:pt x="1050" y="1212"/>
                  </a:lnTo>
                  <a:lnTo>
                    <a:pt x="1056" y="1218"/>
                  </a:lnTo>
                  <a:lnTo>
                    <a:pt x="1050" y="1272"/>
                  </a:lnTo>
                  <a:lnTo>
                    <a:pt x="1044" y="1272"/>
                  </a:lnTo>
                  <a:lnTo>
                    <a:pt x="1038" y="1284"/>
                  </a:lnTo>
                  <a:lnTo>
                    <a:pt x="1032" y="1302"/>
                  </a:lnTo>
                  <a:lnTo>
                    <a:pt x="1014" y="1302"/>
                  </a:lnTo>
                  <a:lnTo>
                    <a:pt x="1020" y="1284"/>
                  </a:lnTo>
                  <a:lnTo>
                    <a:pt x="1026" y="1278"/>
                  </a:lnTo>
                  <a:lnTo>
                    <a:pt x="1026" y="1266"/>
                  </a:lnTo>
                  <a:lnTo>
                    <a:pt x="1014" y="1260"/>
                  </a:lnTo>
                  <a:lnTo>
                    <a:pt x="1014" y="1272"/>
                  </a:lnTo>
                  <a:lnTo>
                    <a:pt x="990" y="1278"/>
                  </a:lnTo>
                  <a:lnTo>
                    <a:pt x="990" y="1254"/>
                  </a:lnTo>
                  <a:lnTo>
                    <a:pt x="984" y="1254"/>
                  </a:lnTo>
                  <a:lnTo>
                    <a:pt x="978" y="1242"/>
                  </a:lnTo>
                  <a:lnTo>
                    <a:pt x="972" y="1236"/>
                  </a:lnTo>
                  <a:lnTo>
                    <a:pt x="960" y="1206"/>
                  </a:lnTo>
                  <a:lnTo>
                    <a:pt x="942" y="1206"/>
                  </a:lnTo>
                  <a:lnTo>
                    <a:pt x="936" y="1200"/>
                  </a:lnTo>
                  <a:lnTo>
                    <a:pt x="906" y="1212"/>
                  </a:lnTo>
                  <a:lnTo>
                    <a:pt x="888" y="1230"/>
                  </a:lnTo>
                  <a:lnTo>
                    <a:pt x="876" y="1230"/>
                  </a:lnTo>
                  <a:lnTo>
                    <a:pt x="864" y="1236"/>
                  </a:lnTo>
                  <a:lnTo>
                    <a:pt x="858" y="1236"/>
                  </a:lnTo>
                  <a:lnTo>
                    <a:pt x="852" y="1254"/>
                  </a:lnTo>
                  <a:lnTo>
                    <a:pt x="858" y="1254"/>
                  </a:lnTo>
                  <a:lnTo>
                    <a:pt x="840" y="1266"/>
                  </a:lnTo>
                  <a:lnTo>
                    <a:pt x="828" y="1272"/>
                  </a:lnTo>
                  <a:lnTo>
                    <a:pt x="828" y="1284"/>
                  </a:lnTo>
                  <a:lnTo>
                    <a:pt x="822" y="1284"/>
                  </a:lnTo>
                  <a:lnTo>
                    <a:pt x="804" y="1296"/>
                  </a:lnTo>
                  <a:lnTo>
                    <a:pt x="804" y="1308"/>
                  </a:lnTo>
                  <a:lnTo>
                    <a:pt x="816" y="1320"/>
                  </a:lnTo>
                  <a:lnTo>
                    <a:pt x="828" y="1320"/>
                  </a:lnTo>
                  <a:lnTo>
                    <a:pt x="822" y="1338"/>
                  </a:lnTo>
                  <a:lnTo>
                    <a:pt x="852" y="1344"/>
                  </a:lnTo>
                  <a:lnTo>
                    <a:pt x="864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94" y="1356"/>
                  </a:lnTo>
                  <a:lnTo>
                    <a:pt x="912" y="1368"/>
                  </a:lnTo>
                  <a:lnTo>
                    <a:pt x="918" y="1380"/>
                  </a:lnTo>
                  <a:lnTo>
                    <a:pt x="936" y="1380"/>
                  </a:lnTo>
                  <a:lnTo>
                    <a:pt x="960" y="1386"/>
                  </a:lnTo>
                  <a:lnTo>
                    <a:pt x="990" y="1386"/>
                  </a:lnTo>
                  <a:lnTo>
                    <a:pt x="990" y="1392"/>
                  </a:lnTo>
                  <a:lnTo>
                    <a:pt x="1020" y="1398"/>
                  </a:lnTo>
                  <a:lnTo>
                    <a:pt x="1014" y="1404"/>
                  </a:lnTo>
                  <a:lnTo>
                    <a:pt x="1008" y="1404"/>
                  </a:lnTo>
                  <a:lnTo>
                    <a:pt x="1014" y="1440"/>
                  </a:lnTo>
                  <a:lnTo>
                    <a:pt x="1020" y="1458"/>
                  </a:lnTo>
                  <a:lnTo>
                    <a:pt x="1026" y="1476"/>
                  </a:lnTo>
                  <a:lnTo>
                    <a:pt x="1020" y="1476"/>
                  </a:lnTo>
                  <a:lnTo>
                    <a:pt x="1014" y="1476"/>
                  </a:lnTo>
                  <a:lnTo>
                    <a:pt x="1014" y="1482"/>
                  </a:lnTo>
                  <a:lnTo>
                    <a:pt x="1014" y="1488"/>
                  </a:lnTo>
                  <a:lnTo>
                    <a:pt x="1002" y="1488"/>
                  </a:lnTo>
                  <a:lnTo>
                    <a:pt x="1002" y="1494"/>
                  </a:lnTo>
                  <a:lnTo>
                    <a:pt x="996" y="1494"/>
                  </a:lnTo>
                  <a:lnTo>
                    <a:pt x="996" y="1518"/>
                  </a:lnTo>
                  <a:lnTo>
                    <a:pt x="1002" y="1524"/>
                  </a:lnTo>
                  <a:lnTo>
                    <a:pt x="1020" y="1530"/>
                  </a:lnTo>
                  <a:lnTo>
                    <a:pt x="1026" y="1542"/>
                  </a:lnTo>
                  <a:lnTo>
                    <a:pt x="1032" y="1566"/>
                  </a:lnTo>
                  <a:lnTo>
                    <a:pt x="1038" y="1578"/>
                  </a:lnTo>
                  <a:lnTo>
                    <a:pt x="1032" y="1584"/>
                  </a:lnTo>
                  <a:lnTo>
                    <a:pt x="1020" y="1584"/>
                  </a:lnTo>
                  <a:lnTo>
                    <a:pt x="1014" y="1584"/>
                  </a:lnTo>
                  <a:lnTo>
                    <a:pt x="1008" y="1596"/>
                  </a:lnTo>
                  <a:lnTo>
                    <a:pt x="990" y="1584"/>
                  </a:lnTo>
                  <a:lnTo>
                    <a:pt x="984" y="1602"/>
                  </a:lnTo>
                  <a:lnTo>
                    <a:pt x="978" y="1608"/>
                  </a:lnTo>
                  <a:lnTo>
                    <a:pt x="966" y="1608"/>
                  </a:lnTo>
                  <a:lnTo>
                    <a:pt x="960" y="1614"/>
                  </a:lnTo>
                  <a:lnTo>
                    <a:pt x="954" y="1614"/>
                  </a:lnTo>
                  <a:lnTo>
                    <a:pt x="942" y="1620"/>
                  </a:lnTo>
                  <a:lnTo>
                    <a:pt x="936" y="1620"/>
                  </a:lnTo>
                  <a:lnTo>
                    <a:pt x="930" y="1620"/>
                  </a:lnTo>
                  <a:lnTo>
                    <a:pt x="930" y="1626"/>
                  </a:lnTo>
                  <a:lnTo>
                    <a:pt x="930" y="1632"/>
                  </a:lnTo>
                  <a:lnTo>
                    <a:pt x="918" y="1632"/>
                  </a:lnTo>
                  <a:lnTo>
                    <a:pt x="912" y="1632"/>
                  </a:lnTo>
                  <a:lnTo>
                    <a:pt x="906" y="1632"/>
                  </a:lnTo>
                  <a:lnTo>
                    <a:pt x="900" y="1632"/>
                  </a:lnTo>
                  <a:lnTo>
                    <a:pt x="894" y="1626"/>
                  </a:lnTo>
                  <a:lnTo>
                    <a:pt x="894" y="1614"/>
                  </a:lnTo>
                  <a:lnTo>
                    <a:pt x="840" y="1614"/>
                  </a:lnTo>
                  <a:lnTo>
                    <a:pt x="840" y="1626"/>
                  </a:lnTo>
                  <a:lnTo>
                    <a:pt x="834" y="1626"/>
                  </a:lnTo>
                  <a:lnTo>
                    <a:pt x="828" y="1632"/>
                  </a:lnTo>
                  <a:lnTo>
                    <a:pt x="822" y="1638"/>
                  </a:lnTo>
                  <a:lnTo>
                    <a:pt x="822" y="1644"/>
                  </a:lnTo>
                  <a:lnTo>
                    <a:pt x="834" y="1650"/>
                  </a:lnTo>
                  <a:lnTo>
                    <a:pt x="840" y="1662"/>
                  </a:lnTo>
                  <a:lnTo>
                    <a:pt x="840" y="1668"/>
                  </a:lnTo>
                  <a:lnTo>
                    <a:pt x="858" y="1680"/>
                  </a:lnTo>
                  <a:lnTo>
                    <a:pt x="858" y="1752"/>
                  </a:lnTo>
                  <a:lnTo>
                    <a:pt x="864" y="1782"/>
                  </a:lnTo>
                  <a:lnTo>
                    <a:pt x="876" y="1788"/>
                  </a:lnTo>
                  <a:lnTo>
                    <a:pt x="870" y="1854"/>
                  </a:lnTo>
                  <a:lnTo>
                    <a:pt x="870" y="1884"/>
                  </a:lnTo>
                  <a:lnTo>
                    <a:pt x="864" y="1884"/>
                  </a:lnTo>
                  <a:lnTo>
                    <a:pt x="846" y="1896"/>
                  </a:lnTo>
                  <a:lnTo>
                    <a:pt x="840" y="1896"/>
                  </a:lnTo>
                  <a:lnTo>
                    <a:pt x="834" y="1896"/>
                  </a:lnTo>
                  <a:lnTo>
                    <a:pt x="828" y="1890"/>
                  </a:lnTo>
                  <a:lnTo>
                    <a:pt x="822" y="1890"/>
                  </a:lnTo>
                  <a:lnTo>
                    <a:pt x="816" y="1896"/>
                  </a:lnTo>
                  <a:lnTo>
                    <a:pt x="804" y="1896"/>
                  </a:lnTo>
                  <a:lnTo>
                    <a:pt x="804" y="1890"/>
                  </a:lnTo>
                  <a:lnTo>
                    <a:pt x="780" y="1896"/>
                  </a:lnTo>
                  <a:lnTo>
                    <a:pt x="780" y="1902"/>
                  </a:lnTo>
                  <a:lnTo>
                    <a:pt x="774" y="1914"/>
                  </a:lnTo>
                  <a:lnTo>
                    <a:pt x="762" y="1926"/>
                  </a:lnTo>
                  <a:lnTo>
                    <a:pt x="762" y="1950"/>
                  </a:lnTo>
                  <a:lnTo>
                    <a:pt x="762" y="1962"/>
                  </a:lnTo>
                  <a:lnTo>
                    <a:pt x="780" y="1974"/>
                  </a:lnTo>
                  <a:lnTo>
                    <a:pt x="780" y="1986"/>
                  </a:lnTo>
                  <a:lnTo>
                    <a:pt x="780" y="1998"/>
                  </a:lnTo>
                  <a:lnTo>
                    <a:pt x="756" y="1998"/>
                  </a:lnTo>
                  <a:lnTo>
                    <a:pt x="720" y="1992"/>
                  </a:lnTo>
                  <a:lnTo>
                    <a:pt x="666" y="1998"/>
                  </a:lnTo>
                  <a:lnTo>
                    <a:pt x="654" y="1998"/>
                  </a:lnTo>
                  <a:lnTo>
                    <a:pt x="660" y="1974"/>
                  </a:lnTo>
                  <a:lnTo>
                    <a:pt x="666" y="1962"/>
                  </a:lnTo>
                  <a:lnTo>
                    <a:pt x="678" y="1950"/>
                  </a:lnTo>
                  <a:lnTo>
                    <a:pt x="696" y="1932"/>
                  </a:lnTo>
                  <a:lnTo>
                    <a:pt x="696" y="1920"/>
                  </a:lnTo>
                  <a:lnTo>
                    <a:pt x="696" y="1896"/>
                  </a:lnTo>
                  <a:lnTo>
                    <a:pt x="678" y="1896"/>
                  </a:lnTo>
                  <a:lnTo>
                    <a:pt x="672" y="1884"/>
                  </a:lnTo>
                  <a:lnTo>
                    <a:pt x="672" y="1776"/>
                  </a:lnTo>
                  <a:lnTo>
                    <a:pt x="678" y="1758"/>
                  </a:lnTo>
                  <a:lnTo>
                    <a:pt x="678" y="1740"/>
                  </a:lnTo>
                  <a:lnTo>
                    <a:pt x="684" y="1728"/>
                  </a:lnTo>
                  <a:lnTo>
                    <a:pt x="690" y="1722"/>
                  </a:lnTo>
                  <a:lnTo>
                    <a:pt x="702" y="1722"/>
                  </a:lnTo>
                  <a:lnTo>
                    <a:pt x="708" y="1716"/>
                  </a:lnTo>
                  <a:lnTo>
                    <a:pt x="714" y="1710"/>
                  </a:lnTo>
                  <a:lnTo>
                    <a:pt x="720" y="1698"/>
                  </a:lnTo>
                  <a:lnTo>
                    <a:pt x="732" y="1692"/>
                  </a:lnTo>
                  <a:lnTo>
                    <a:pt x="744" y="1686"/>
                  </a:lnTo>
                  <a:lnTo>
                    <a:pt x="756" y="1680"/>
                  </a:lnTo>
                  <a:lnTo>
                    <a:pt x="768" y="1668"/>
                  </a:lnTo>
                  <a:lnTo>
                    <a:pt x="768" y="1650"/>
                  </a:lnTo>
                  <a:lnTo>
                    <a:pt x="774" y="1632"/>
                  </a:lnTo>
                  <a:lnTo>
                    <a:pt x="768" y="1620"/>
                  </a:lnTo>
                  <a:lnTo>
                    <a:pt x="774" y="1608"/>
                  </a:lnTo>
                  <a:lnTo>
                    <a:pt x="774" y="1578"/>
                  </a:lnTo>
                  <a:lnTo>
                    <a:pt x="774" y="1572"/>
                  </a:lnTo>
                  <a:lnTo>
                    <a:pt x="780" y="1560"/>
                  </a:lnTo>
                  <a:lnTo>
                    <a:pt x="780" y="1554"/>
                  </a:lnTo>
                  <a:lnTo>
                    <a:pt x="786" y="1542"/>
                  </a:lnTo>
                  <a:lnTo>
                    <a:pt x="792" y="1530"/>
                  </a:lnTo>
                  <a:lnTo>
                    <a:pt x="792" y="1518"/>
                  </a:lnTo>
                  <a:lnTo>
                    <a:pt x="792" y="1506"/>
                  </a:lnTo>
                  <a:lnTo>
                    <a:pt x="786" y="1500"/>
                  </a:lnTo>
                  <a:lnTo>
                    <a:pt x="774" y="1488"/>
                  </a:lnTo>
                  <a:lnTo>
                    <a:pt x="774" y="1482"/>
                  </a:lnTo>
                  <a:lnTo>
                    <a:pt x="762" y="1488"/>
                  </a:lnTo>
                  <a:lnTo>
                    <a:pt x="756" y="1494"/>
                  </a:lnTo>
                  <a:lnTo>
                    <a:pt x="744" y="1500"/>
                  </a:lnTo>
                  <a:lnTo>
                    <a:pt x="732" y="1506"/>
                  </a:lnTo>
                  <a:lnTo>
                    <a:pt x="726" y="1506"/>
                  </a:lnTo>
                  <a:lnTo>
                    <a:pt x="720" y="1506"/>
                  </a:lnTo>
                  <a:lnTo>
                    <a:pt x="702" y="1506"/>
                  </a:lnTo>
                  <a:lnTo>
                    <a:pt x="690" y="1500"/>
                  </a:lnTo>
                  <a:lnTo>
                    <a:pt x="678" y="1500"/>
                  </a:lnTo>
                  <a:lnTo>
                    <a:pt x="672" y="1500"/>
                  </a:lnTo>
                  <a:lnTo>
                    <a:pt x="660" y="1506"/>
                  </a:lnTo>
                  <a:lnTo>
                    <a:pt x="654" y="1506"/>
                  </a:lnTo>
                  <a:lnTo>
                    <a:pt x="648" y="1512"/>
                  </a:lnTo>
                  <a:lnTo>
                    <a:pt x="648" y="1518"/>
                  </a:lnTo>
                  <a:lnTo>
                    <a:pt x="618" y="1518"/>
                  </a:lnTo>
                  <a:lnTo>
                    <a:pt x="534" y="1494"/>
                  </a:lnTo>
                  <a:lnTo>
                    <a:pt x="528" y="1458"/>
                  </a:lnTo>
                  <a:lnTo>
                    <a:pt x="510" y="1458"/>
                  </a:lnTo>
                  <a:lnTo>
                    <a:pt x="492" y="1440"/>
                  </a:lnTo>
                  <a:lnTo>
                    <a:pt x="462" y="1440"/>
                  </a:lnTo>
                  <a:lnTo>
                    <a:pt x="456" y="1428"/>
                  </a:lnTo>
                  <a:lnTo>
                    <a:pt x="420" y="1428"/>
                  </a:lnTo>
                  <a:lnTo>
                    <a:pt x="390" y="1446"/>
                  </a:lnTo>
                  <a:lnTo>
                    <a:pt x="312" y="1452"/>
                  </a:lnTo>
                  <a:lnTo>
                    <a:pt x="300" y="1446"/>
                  </a:lnTo>
                  <a:lnTo>
                    <a:pt x="294" y="1446"/>
                  </a:lnTo>
                  <a:lnTo>
                    <a:pt x="288" y="1446"/>
                  </a:lnTo>
                  <a:lnTo>
                    <a:pt x="282" y="1440"/>
                  </a:lnTo>
                  <a:lnTo>
                    <a:pt x="276" y="1440"/>
                  </a:lnTo>
                  <a:lnTo>
                    <a:pt x="270" y="1440"/>
                  </a:lnTo>
                  <a:lnTo>
                    <a:pt x="264" y="1440"/>
                  </a:lnTo>
                  <a:lnTo>
                    <a:pt x="258" y="1434"/>
                  </a:lnTo>
                  <a:lnTo>
                    <a:pt x="252" y="1434"/>
                  </a:lnTo>
                  <a:lnTo>
                    <a:pt x="246" y="1428"/>
                  </a:lnTo>
                  <a:lnTo>
                    <a:pt x="240" y="1416"/>
                  </a:lnTo>
                  <a:lnTo>
                    <a:pt x="234" y="1404"/>
                  </a:lnTo>
                  <a:lnTo>
                    <a:pt x="228" y="1398"/>
                  </a:lnTo>
                  <a:lnTo>
                    <a:pt x="222" y="1398"/>
                  </a:lnTo>
                  <a:lnTo>
                    <a:pt x="216" y="1404"/>
                  </a:lnTo>
                  <a:lnTo>
                    <a:pt x="210" y="1404"/>
                  </a:lnTo>
                  <a:lnTo>
                    <a:pt x="204" y="1404"/>
                  </a:lnTo>
                  <a:lnTo>
                    <a:pt x="204" y="1398"/>
                  </a:lnTo>
                  <a:lnTo>
                    <a:pt x="198" y="1392"/>
                  </a:lnTo>
                  <a:lnTo>
                    <a:pt x="192" y="1386"/>
                  </a:lnTo>
                  <a:lnTo>
                    <a:pt x="168" y="1374"/>
                  </a:lnTo>
                  <a:lnTo>
                    <a:pt x="144" y="13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0" name="Freeform 35">
              <a:extLst>
                <a:ext uri="{FF2B5EF4-FFF2-40B4-BE49-F238E27FC236}">
                  <a16:creationId xmlns:a16="http://schemas.microsoft.com/office/drawing/2014/main" id="{F64BF16E-9D62-438E-A1CC-CD4088AC7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2895" y="1706004"/>
              <a:ext cx="767013" cy="785011"/>
            </a:xfrm>
            <a:custGeom>
              <a:avLst/>
              <a:gdLst>
                <a:gd name="T0" fmla="*/ 102 w 1440"/>
                <a:gd name="T1" fmla="*/ 104 h 1476"/>
                <a:gd name="T2" fmla="*/ 99 w 1440"/>
                <a:gd name="T3" fmla="*/ 108 h 1476"/>
                <a:gd name="T4" fmla="*/ 98 w 1440"/>
                <a:gd name="T5" fmla="*/ 112 h 1476"/>
                <a:gd name="T6" fmla="*/ 96 w 1440"/>
                <a:gd name="T7" fmla="*/ 116 h 1476"/>
                <a:gd name="T8" fmla="*/ 91 w 1440"/>
                <a:gd name="T9" fmla="*/ 118 h 1476"/>
                <a:gd name="T10" fmla="*/ 87 w 1440"/>
                <a:gd name="T11" fmla="*/ 120 h 1476"/>
                <a:gd name="T12" fmla="*/ 75 w 1440"/>
                <a:gd name="T13" fmla="*/ 120 h 1476"/>
                <a:gd name="T14" fmla="*/ 72 w 1440"/>
                <a:gd name="T15" fmla="*/ 123 h 1476"/>
                <a:gd name="T16" fmla="*/ 69 w 1440"/>
                <a:gd name="T17" fmla="*/ 128 h 1476"/>
                <a:gd name="T18" fmla="*/ 67 w 1440"/>
                <a:gd name="T19" fmla="*/ 127 h 1476"/>
                <a:gd name="T20" fmla="*/ 66 w 1440"/>
                <a:gd name="T21" fmla="*/ 123 h 1476"/>
                <a:gd name="T22" fmla="*/ 63 w 1440"/>
                <a:gd name="T23" fmla="*/ 119 h 1476"/>
                <a:gd name="T24" fmla="*/ 54 w 1440"/>
                <a:gd name="T25" fmla="*/ 114 h 1476"/>
                <a:gd name="T26" fmla="*/ 55 w 1440"/>
                <a:gd name="T27" fmla="*/ 106 h 1476"/>
                <a:gd name="T28" fmla="*/ 60 w 1440"/>
                <a:gd name="T29" fmla="*/ 100 h 1476"/>
                <a:gd name="T30" fmla="*/ 55 w 1440"/>
                <a:gd name="T31" fmla="*/ 91 h 1476"/>
                <a:gd name="T32" fmla="*/ 51 w 1440"/>
                <a:gd name="T33" fmla="*/ 86 h 1476"/>
                <a:gd name="T34" fmla="*/ 47 w 1440"/>
                <a:gd name="T35" fmla="*/ 85 h 1476"/>
                <a:gd name="T36" fmla="*/ 44 w 1440"/>
                <a:gd name="T37" fmla="*/ 82 h 1476"/>
                <a:gd name="T38" fmla="*/ 41 w 1440"/>
                <a:gd name="T39" fmla="*/ 83 h 1476"/>
                <a:gd name="T40" fmla="*/ 36 w 1440"/>
                <a:gd name="T41" fmla="*/ 83 h 1476"/>
                <a:gd name="T42" fmla="*/ 33 w 1440"/>
                <a:gd name="T43" fmla="*/ 83 h 1476"/>
                <a:gd name="T44" fmla="*/ 30 w 1440"/>
                <a:gd name="T45" fmla="*/ 83 h 1476"/>
                <a:gd name="T46" fmla="*/ 27 w 1440"/>
                <a:gd name="T47" fmla="*/ 83 h 1476"/>
                <a:gd name="T48" fmla="*/ 24 w 1440"/>
                <a:gd name="T49" fmla="*/ 82 h 1476"/>
                <a:gd name="T50" fmla="*/ 21 w 1440"/>
                <a:gd name="T51" fmla="*/ 80 h 1476"/>
                <a:gd name="T52" fmla="*/ 18 w 1440"/>
                <a:gd name="T53" fmla="*/ 79 h 1476"/>
                <a:gd name="T54" fmla="*/ 17 w 1440"/>
                <a:gd name="T55" fmla="*/ 78 h 1476"/>
                <a:gd name="T56" fmla="*/ 12 w 1440"/>
                <a:gd name="T57" fmla="*/ 78 h 1476"/>
                <a:gd name="T58" fmla="*/ 12 w 1440"/>
                <a:gd name="T59" fmla="*/ 78 h 1476"/>
                <a:gd name="T60" fmla="*/ 7 w 1440"/>
                <a:gd name="T61" fmla="*/ 80 h 1476"/>
                <a:gd name="T62" fmla="*/ 3 w 1440"/>
                <a:gd name="T63" fmla="*/ 81 h 1476"/>
                <a:gd name="T64" fmla="*/ 0 w 1440"/>
                <a:gd name="T65" fmla="*/ 76 h 1476"/>
                <a:gd name="T66" fmla="*/ 1 w 1440"/>
                <a:gd name="T67" fmla="*/ 50 h 1476"/>
                <a:gd name="T68" fmla="*/ 8 w 1440"/>
                <a:gd name="T69" fmla="*/ 48 h 1476"/>
                <a:gd name="T70" fmla="*/ 20 w 1440"/>
                <a:gd name="T71" fmla="*/ 49 h 1476"/>
                <a:gd name="T72" fmla="*/ 26 w 1440"/>
                <a:gd name="T73" fmla="*/ 50 h 1476"/>
                <a:gd name="T74" fmla="*/ 44 w 1440"/>
                <a:gd name="T75" fmla="*/ 47 h 1476"/>
                <a:gd name="T76" fmla="*/ 41 w 1440"/>
                <a:gd name="T77" fmla="*/ 24 h 1476"/>
                <a:gd name="T78" fmla="*/ 44 w 1440"/>
                <a:gd name="T79" fmla="*/ 20 h 1476"/>
                <a:gd name="T80" fmla="*/ 47 w 1440"/>
                <a:gd name="T81" fmla="*/ 18 h 1476"/>
                <a:gd name="T82" fmla="*/ 54 w 1440"/>
                <a:gd name="T83" fmla="*/ 21 h 1476"/>
                <a:gd name="T84" fmla="*/ 61 w 1440"/>
                <a:gd name="T85" fmla="*/ 23 h 1476"/>
                <a:gd name="T86" fmla="*/ 59 w 1440"/>
                <a:gd name="T87" fmla="*/ 14 h 1476"/>
                <a:gd name="T88" fmla="*/ 61 w 1440"/>
                <a:gd name="T89" fmla="*/ 8 h 1476"/>
                <a:gd name="T90" fmla="*/ 71 w 1440"/>
                <a:gd name="T91" fmla="*/ 7 h 1476"/>
                <a:gd name="T92" fmla="*/ 75 w 1440"/>
                <a:gd name="T93" fmla="*/ 0 h 1476"/>
                <a:gd name="T94" fmla="*/ 82 w 1440"/>
                <a:gd name="T95" fmla="*/ 3 h 1476"/>
                <a:gd name="T96" fmla="*/ 93 w 1440"/>
                <a:gd name="T97" fmla="*/ 5 h 1476"/>
                <a:gd name="T98" fmla="*/ 100 w 1440"/>
                <a:gd name="T99" fmla="*/ 1 h 1476"/>
                <a:gd name="T100" fmla="*/ 104 w 1440"/>
                <a:gd name="T101" fmla="*/ 4 h 1476"/>
                <a:gd name="T102" fmla="*/ 110 w 1440"/>
                <a:gd name="T103" fmla="*/ 10 h 1476"/>
                <a:gd name="T104" fmla="*/ 115 w 1440"/>
                <a:gd name="T105" fmla="*/ 23 h 1476"/>
                <a:gd name="T106" fmla="*/ 117 w 1440"/>
                <a:gd name="T107" fmla="*/ 42 h 1476"/>
                <a:gd name="T108" fmla="*/ 121 w 1440"/>
                <a:gd name="T109" fmla="*/ 52 h 1476"/>
                <a:gd name="T110" fmla="*/ 118 w 1440"/>
                <a:gd name="T111" fmla="*/ 62 h 1476"/>
                <a:gd name="T112" fmla="*/ 124 w 1440"/>
                <a:gd name="T113" fmla="*/ 66 h 1476"/>
                <a:gd name="T114" fmla="*/ 121 w 1440"/>
                <a:gd name="T115" fmla="*/ 71 h 1476"/>
                <a:gd name="T116" fmla="*/ 115 w 1440"/>
                <a:gd name="T117" fmla="*/ 76 h 1476"/>
                <a:gd name="T118" fmla="*/ 109 w 1440"/>
                <a:gd name="T119" fmla="*/ 76 h 1476"/>
                <a:gd name="T120" fmla="*/ 105 w 1440"/>
                <a:gd name="T121" fmla="*/ 86 h 1476"/>
                <a:gd name="T122" fmla="*/ 107 w 1440"/>
                <a:gd name="T123" fmla="*/ 97 h 147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40"/>
                <a:gd name="T187" fmla="*/ 0 h 1476"/>
                <a:gd name="T188" fmla="*/ 1440 w 1440"/>
                <a:gd name="T189" fmla="*/ 1476 h 147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40" h="1476">
                  <a:moveTo>
                    <a:pt x="1212" y="1164"/>
                  </a:moveTo>
                  <a:lnTo>
                    <a:pt x="1206" y="1170"/>
                  </a:lnTo>
                  <a:lnTo>
                    <a:pt x="1200" y="1176"/>
                  </a:lnTo>
                  <a:lnTo>
                    <a:pt x="1194" y="1176"/>
                  </a:lnTo>
                  <a:lnTo>
                    <a:pt x="1188" y="1188"/>
                  </a:lnTo>
                  <a:lnTo>
                    <a:pt x="1182" y="1194"/>
                  </a:lnTo>
                  <a:lnTo>
                    <a:pt x="1176" y="1194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64" y="1206"/>
                  </a:lnTo>
                  <a:lnTo>
                    <a:pt x="1158" y="1206"/>
                  </a:lnTo>
                  <a:lnTo>
                    <a:pt x="1152" y="1212"/>
                  </a:lnTo>
                  <a:lnTo>
                    <a:pt x="1146" y="1212"/>
                  </a:lnTo>
                  <a:lnTo>
                    <a:pt x="1140" y="1224"/>
                  </a:lnTo>
                  <a:lnTo>
                    <a:pt x="1134" y="1230"/>
                  </a:lnTo>
                  <a:lnTo>
                    <a:pt x="1128" y="1236"/>
                  </a:lnTo>
                  <a:lnTo>
                    <a:pt x="1128" y="1242"/>
                  </a:lnTo>
                  <a:lnTo>
                    <a:pt x="1128" y="1254"/>
                  </a:lnTo>
                  <a:lnTo>
                    <a:pt x="1128" y="1260"/>
                  </a:lnTo>
                  <a:lnTo>
                    <a:pt x="1122" y="1260"/>
                  </a:lnTo>
                  <a:lnTo>
                    <a:pt x="1122" y="1266"/>
                  </a:lnTo>
                  <a:lnTo>
                    <a:pt x="1128" y="1278"/>
                  </a:lnTo>
                  <a:lnTo>
                    <a:pt x="1122" y="1278"/>
                  </a:lnTo>
                  <a:lnTo>
                    <a:pt x="1122" y="1284"/>
                  </a:lnTo>
                  <a:lnTo>
                    <a:pt x="1128" y="1290"/>
                  </a:lnTo>
                  <a:lnTo>
                    <a:pt x="1122" y="1296"/>
                  </a:lnTo>
                  <a:lnTo>
                    <a:pt x="1122" y="1302"/>
                  </a:lnTo>
                  <a:lnTo>
                    <a:pt x="1116" y="1302"/>
                  </a:lnTo>
                  <a:lnTo>
                    <a:pt x="1110" y="1314"/>
                  </a:lnTo>
                  <a:lnTo>
                    <a:pt x="1110" y="1320"/>
                  </a:lnTo>
                  <a:lnTo>
                    <a:pt x="1110" y="1326"/>
                  </a:lnTo>
                  <a:lnTo>
                    <a:pt x="1098" y="1332"/>
                  </a:lnTo>
                  <a:lnTo>
                    <a:pt x="1092" y="1338"/>
                  </a:lnTo>
                  <a:lnTo>
                    <a:pt x="1092" y="1344"/>
                  </a:lnTo>
                  <a:lnTo>
                    <a:pt x="1086" y="1350"/>
                  </a:lnTo>
                  <a:lnTo>
                    <a:pt x="1080" y="1350"/>
                  </a:lnTo>
                  <a:lnTo>
                    <a:pt x="1074" y="1350"/>
                  </a:lnTo>
                  <a:lnTo>
                    <a:pt x="1068" y="1356"/>
                  </a:lnTo>
                  <a:lnTo>
                    <a:pt x="1062" y="1356"/>
                  </a:lnTo>
                  <a:lnTo>
                    <a:pt x="1044" y="1356"/>
                  </a:lnTo>
                  <a:lnTo>
                    <a:pt x="1038" y="1362"/>
                  </a:lnTo>
                  <a:lnTo>
                    <a:pt x="1032" y="1368"/>
                  </a:lnTo>
                  <a:lnTo>
                    <a:pt x="1026" y="1368"/>
                  </a:lnTo>
                  <a:lnTo>
                    <a:pt x="1020" y="1374"/>
                  </a:lnTo>
                  <a:lnTo>
                    <a:pt x="1008" y="1374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74"/>
                  </a:lnTo>
                  <a:lnTo>
                    <a:pt x="978" y="1380"/>
                  </a:lnTo>
                  <a:lnTo>
                    <a:pt x="972" y="1380"/>
                  </a:lnTo>
                  <a:lnTo>
                    <a:pt x="954" y="1368"/>
                  </a:lnTo>
                  <a:lnTo>
                    <a:pt x="930" y="1368"/>
                  </a:lnTo>
                  <a:lnTo>
                    <a:pt x="918" y="1368"/>
                  </a:lnTo>
                  <a:lnTo>
                    <a:pt x="906" y="1368"/>
                  </a:lnTo>
                  <a:lnTo>
                    <a:pt x="894" y="1368"/>
                  </a:lnTo>
                  <a:lnTo>
                    <a:pt x="864" y="1374"/>
                  </a:lnTo>
                  <a:lnTo>
                    <a:pt x="852" y="1374"/>
                  </a:lnTo>
                  <a:lnTo>
                    <a:pt x="846" y="1386"/>
                  </a:lnTo>
                  <a:lnTo>
                    <a:pt x="846" y="1392"/>
                  </a:lnTo>
                  <a:lnTo>
                    <a:pt x="840" y="1398"/>
                  </a:lnTo>
                  <a:lnTo>
                    <a:pt x="840" y="1404"/>
                  </a:lnTo>
                  <a:lnTo>
                    <a:pt x="834" y="1416"/>
                  </a:lnTo>
                  <a:lnTo>
                    <a:pt x="828" y="1416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04" y="1428"/>
                  </a:lnTo>
                  <a:lnTo>
                    <a:pt x="804" y="1434"/>
                  </a:lnTo>
                  <a:lnTo>
                    <a:pt x="804" y="1440"/>
                  </a:lnTo>
                  <a:lnTo>
                    <a:pt x="798" y="1446"/>
                  </a:lnTo>
                  <a:lnTo>
                    <a:pt x="798" y="1458"/>
                  </a:lnTo>
                  <a:lnTo>
                    <a:pt x="792" y="1464"/>
                  </a:lnTo>
                  <a:lnTo>
                    <a:pt x="786" y="1476"/>
                  </a:lnTo>
                  <a:lnTo>
                    <a:pt x="780" y="1470"/>
                  </a:lnTo>
                  <a:lnTo>
                    <a:pt x="774" y="1470"/>
                  </a:lnTo>
                  <a:lnTo>
                    <a:pt x="768" y="1470"/>
                  </a:lnTo>
                  <a:lnTo>
                    <a:pt x="762" y="1476"/>
                  </a:lnTo>
                  <a:lnTo>
                    <a:pt x="762" y="1470"/>
                  </a:lnTo>
                  <a:lnTo>
                    <a:pt x="762" y="1464"/>
                  </a:lnTo>
                  <a:lnTo>
                    <a:pt x="762" y="1458"/>
                  </a:lnTo>
                  <a:lnTo>
                    <a:pt x="756" y="1458"/>
                  </a:lnTo>
                  <a:lnTo>
                    <a:pt x="756" y="1452"/>
                  </a:lnTo>
                  <a:lnTo>
                    <a:pt x="756" y="1446"/>
                  </a:lnTo>
                  <a:lnTo>
                    <a:pt x="756" y="1440"/>
                  </a:lnTo>
                  <a:lnTo>
                    <a:pt x="750" y="1434"/>
                  </a:lnTo>
                  <a:lnTo>
                    <a:pt x="750" y="1428"/>
                  </a:lnTo>
                  <a:lnTo>
                    <a:pt x="750" y="1422"/>
                  </a:lnTo>
                  <a:lnTo>
                    <a:pt x="750" y="1416"/>
                  </a:lnTo>
                  <a:lnTo>
                    <a:pt x="744" y="1416"/>
                  </a:lnTo>
                  <a:lnTo>
                    <a:pt x="744" y="1410"/>
                  </a:lnTo>
                  <a:lnTo>
                    <a:pt x="738" y="1404"/>
                  </a:lnTo>
                  <a:lnTo>
                    <a:pt x="732" y="1398"/>
                  </a:lnTo>
                  <a:lnTo>
                    <a:pt x="732" y="1392"/>
                  </a:lnTo>
                  <a:lnTo>
                    <a:pt x="726" y="1386"/>
                  </a:lnTo>
                  <a:lnTo>
                    <a:pt x="726" y="1380"/>
                  </a:lnTo>
                  <a:lnTo>
                    <a:pt x="714" y="1368"/>
                  </a:lnTo>
                  <a:lnTo>
                    <a:pt x="708" y="1368"/>
                  </a:lnTo>
                  <a:lnTo>
                    <a:pt x="684" y="1332"/>
                  </a:lnTo>
                  <a:lnTo>
                    <a:pt x="666" y="1320"/>
                  </a:lnTo>
                  <a:lnTo>
                    <a:pt x="648" y="1302"/>
                  </a:lnTo>
                  <a:lnTo>
                    <a:pt x="630" y="1314"/>
                  </a:lnTo>
                  <a:lnTo>
                    <a:pt x="624" y="1314"/>
                  </a:lnTo>
                  <a:lnTo>
                    <a:pt x="624" y="1308"/>
                  </a:lnTo>
                  <a:lnTo>
                    <a:pt x="618" y="1308"/>
                  </a:lnTo>
                  <a:lnTo>
                    <a:pt x="612" y="1284"/>
                  </a:lnTo>
                  <a:lnTo>
                    <a:pt x="606" y="1254"/>
                  </a:lnTo>
                  <a:lnTo>
                    <a:pt x="606" y="1248"/>
                  </a:lnTo>
                  <a:lnTo>
                    <a:pt x="606" y="1242"/>
                  </a:lnTo>
                  <a:lnTo>
                    <a:pt x="612" y="1242"/>
                  </a:lnTo>
                  <a:lnTo>
                    <a:pt x="618" y="1236"/>
                  </a:lnTo>
                  <a:lnTo>
                    <a:pt x="618" y="1230"/>
                  </a:lnTo>
                  <a:lnTo>
                    <a:pt x="624" y="1224"/>
                  </a:lnTo>
                  <a:lnTo>
                    <a:pt x="630" y="1224"/>
                  </a:lnTo>
                  <a:lnTo>
                    <a:pt x="636" y="1218"/>
                  </a:lnTo>
                  <a:lnTo>
                    <a:pt x="636" y="1212"/>
                  </a:lnTo>
                  <a:lnTo>
                    <a:pt x="612" y="1200"/>
                  </a:lnTo>
                  <a:lnTo>
                    <a:pt x="606" y="1182"/>
                  </a:lnTo>
                  <a:lnTo>
                    <a:pt x="672" y="1182"/>
                  </a:lnTo>
                  <a:lnTo>
                    <a:pt x="690" y="1170"/>
                  </a:lnTo>
                  <a:lnTo>
                    <a:pt x="690" y="1152"/>
                  </a:lnTo>
                  <a:lnTo>
                    <a:pt x="678" y="1110"/>
                  </a:lnTo>
                  <a:lnTo>
                    <a:pt x="672" y="1092"/>
                  </a:lnTo>
                  <a:lnTo>
                    <a:pt x="660" y="1074"/>
                  </a:lnTo>
                  <a:lnTo>
                    <a:pt x="648" y="1068"/>
                  </a:lnTo>
                  <a:lnTo>
                    <a:pt x="642" y="1068"/>
                  </a:lnTo>
                  <a:lnTo>
                    <a:pt x="636" y="1062"/>
                  </a:lnTo>
                  <a:lnTo>
                    <a:pt x="624" y="1056"/>
                  </a:lnTo>
                  <a:lnTo>
                    <a:pt x="624" y="1050"/>
                  </a:lnTo>
                  <a:lnTo>
                    <a:pt x="618" y="1038"/>
                  </a:lnTo>
                  <a:lnTo>
                    <a:pt x="612" y="1038"/>
                  </a:lnTo>
                  <a:lnTo>
                    <a:pt x="612" y="1032"/>
                  </a:lnTo>
                  <a:lnTo>
                    <a:pt x="612" y="1026"/>
                  </a:lnTo>
                  <a:lnTo>
                    <a:pt x="600" y="1014"/>
                  </a:lnTo>
                  <a:lnTo>
                    <a:pt x="582" y="1008"/>
                  </a:lnTo>
                  <a:lnTo>
                    <a:pt x="576" y="1002"/>
                  </a:lnTo>
                  <a:lnTo>
                    <a:pt x="576" y="996"/>
                  </a:lnTo>
                  <a:lnTo>
                    <a:pt x="570" y="996"/>
                  </a:lnTo>
                  <a:lnTo>
                    <a:pt x="570" y="990"/>
                  </a:lnTo>
                  <a:lnTo>
                    <a:pt x="570" y="984"/>
                  </a:lnTo>
                  <a:lnTo>
                    <a:pt x="564" y="984"/>
                  </a:lnTo>
                  <a:lnTo>
                    <a:pt x="558" y="978"/>
                  </a:lnTo>
                  <a:lnTo>
                    <a:pt x="552" y="972"/>
                  </a:lnTo>
                  <a:lnTo>
                    <a:pt x="552" y="966"/>
                  </a:lnTo>
                  <a:lnTo>
                    <a:pt x="546" y="972"/>
                  </a:lnTo>
                  <a:lnTo>
                    <a:pt x="540" y="972"/>
                  </a:lnTo>
                  <a:lnTo>
                    <a:pt x="534" y="960"/>
                  </a:lnTo>
                  <a:lnTo>
                    <a:pt x="528" y="960"/>
                  </a:lnTo>
                  <a:lnTo>
                    <a:pt x="528" y="966"/>
                  </a:lnTo>
                  <a:lnTo>
                    <a:pt x="516" y="954"/>
                  </a:lnTo>
                  <a:lnTo>
                    <a:pt x="516" y="948"/>
                  </a:lnTo>
                  <a:lnTo>
                    <a:pt x="510" y="948"/>
                  </a:lnTo>
                  <a:lnTo>
                    <a:pt x="504" y="948"/>
                  </a:lnTo>
                  <a:lnTo>
                    <a:pt x="498" y="948"/>
                  </a:lnTo>
                  <a:lnTo>
                    <a:pt x="504" y="954"/>
                  </a:lnTo>
                  <a:lnTo>
                    <a:pt x="498" y="954"/>
                  </a:lnTo>
                  <a:lnTo>
                    <a:pt x="492" y="954"/>
                  </a:lnTo>
                  <a:lnTo>
                    <a:pt x="480" y="942"/>
                  </a:lnTo>
                  <a:lnTo>
                    <a:pt x="480" y="948"/>
                  </a:lnTo>
                  <a:lnTo>
                    <a:pt x="480" y="954"/>
                  </a:lnTo>
                  <a:lnTo>
                    <a:pt x="474" y="954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56" y="966"/>
                  </a:lnTo>
                  <a:lnTo>
                    <a:pt x="456" y="960"/>
                  </a:lnTo>
                  <a:lnTo>
                    <a:pt x="450" y="966"/>
                  </a:lnTo>
                  <a:lnTo>
                    <a:pt x="444" y="966"/>
                  </a:lnTo>
                  <a:lnTo>
                    <a:pt x="414" y="966"/>
                  </a:lnTo>
                  <a:lnTo>
                    <a:pt x="408" y="960"/>
                  </a:lnTo>
                  <a:lnTo>
                    <a:pt x="408" y="966"/>
                  </a:lnTo>
                  <a:lnTo>
                    <a:pt x="402" y="960"/>
                  </a:lnTo>
                  <a:lnTo>
                    <a:pt x="396" y="960"/>
                  </a:lnTo>
                  <a:lnTo>
                    <a:pt x="390" y="960"/>
                  </a:lnTo>
                  <a:lnTo>
                    <a:pt x="390" y="966"/>
                  </a:lnTo>
                  <a:lnTo>
                    <a:pt x="384" y="966"/>
                  </a:lnTo>
                  <a:lnTo>
                    <a:pt x="378" y="966"/>
                  </a:lnTo>
                  <a:lnTo>
                    <a:pt x="384" y="960"/>
                  </a:lnTo>
                  <a:lnTo>
                    <a:pt x="384" y="954"/>
                  </a:lnTo>
                  <a:lnTo>
                    <a:pt x="372" y="948"/>
                  </a:lnTo>
                  <a:lnTo>
                    <a:pt x="372" y="954"/>
                  </a:lnTo>
                  <a:lnTo>
                    <a:pt x="372" y="960"/>
                  </a:lnTo>
                  <a:lnTo>
                    <a:pt x="366" y="960"/>
                  </a:lnTo>
                  <a:lnTo>
                    <a:pt x="360" y="966"/>
                  </a:lnTo>
                  <a:lnTo>
                    <a:pt x="354" y="966"/>
                  </a:lnTo>
                  <a:lnTo>
                    <a:pt x="348" y="960"/>
                  </a:lnTo>
                  <a:lnTo>
                    <a:pt x="342" y="960"/>
                  </a:lnTo>
                  <a:lnTo>
                    <a:pt x="342" y="966"/>
                  </a:lnTo>
                  <a:lnTo>
                    <a:pt x="336" y="972"/>
                  </a:lnTo>
                  <a:lnTo>
                    <a:pt x="330" y="972"/>
                  </a:lnTo>
                  <a:lnTo>
                    <a:pt x="324" y="966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6" y="954"/>
                  </a:lnTo>
                  <a:lnTo>
                    <a:pt x="306" y="948"/>
                  </a:lnTo>
                  <a:lnTo>
                    <a:pt x="306" y="942"/>
                  </a:lnTo>
                  <a:lnTo>
                    <a:pt x="300" y="942"/>
                  </a:lnTo>
                  <a:lnTo>
                    <a:pt x="294" y="936"/>
                  </a:lnTo>
                  <a:lnTo>
                    <a:pt x="288" y="936"/>
                  </a:lnTo>
                  <a:lnTo>
                    <a:pt x="282" y="942"/>
                  </a:lnTo>
                  <a:lnTo>
                    <a:pt x="276" y="936"/>
                  </a:lnTo>
                  <a:lnTo>
                    <a:pt x="276" y="942"/>
                  </a:lnTo>
                  <a:lnTo>
                    <a:pt x="270" y="942"/>
                  </a:lnTo>
                  <a:lnTo>
                    <a:pt x="264" y="936"/>
                  </a:lnTo>
                  <a:lnTo>
                    <a:pt x="252" y="936"/>
                  </a:lnTo>
                  <a:lnTo>
                    <a:pt x="246" y="936"/>
                  </a:lnTo>
                  <a:lnTo>
                    <a:pt x="240" y="936"/>
                  </a:lnTo>
                  <a:lnTo>
                    <a:pt x="234" y="936"/>
                  </a:lnTo>
                  <a:lnTo>
                    <a:pt x="240" y="924"/>
                  </a:lnTo>
                  <a:lnTo>
                    <a:pt x="234" y="924"/>
                  </a:lnTo>
                  <a:lnTo>
                    <a:pt x="228" y="918"/>
                  </a:lnTo>
                  <a:lnTo>
                    <a:pt x="228" y="906"/>
                  </a:lnTo>
                  <a:lnTo>
                    <a:pt x="222" y="900"/>
                  </a:lnTo>
                  <a:lnTo>
                    <a:pt x="216" y="900"/>
                  </a:lnTo>
                  <a:lnTo>
                    <a:pt x="210" y="900"/>
                  </a:lnTo>
                  <a:lnTo>
                    <a:pt x="210" y="906"/>
                  </a:lnTo>
                  <a:lnTo>
                    <a:pt x="204" y="906"/>
                  </a:lnTo>
                  <a:lnTo>
                    <a:pt x="198" y="906"/>
                  </a:lnTo>
                  <a:lnTo>
                    <a:pt x="210" y="900"/>
                  </a:lnTo>
                  <a:lnTo>
                    <a:pt x="210" y="894"/>
                  </a:lnTo>
                  <a:lnTo>
                    <a:pt x="216" y="888"/>
                  </a:lnTo>
                  <a:lnTo>
                    <a:pt x="204" y="882"/>
                  </a:lnTo>
                  <a:lnTo>
                    <a:pt x="204" y="894"/>
                  </a:lnTo>
                  <a:lnTo>
                    <a:pt x="198" y="894"/>
                  </a:lnTo>
                  <a:lnTo>
                    <a:pt x="192" y="900"/>
                  </a:lnTo>
                  <a:lnTo>
                    <a:pt x="186" y="894"/>
                  </a:lnTo>
                  <a:lnTo>
                    <a:pt x="180" y="894"/>
                  </a:lnTo>
                  <a:lnTo>
                    <a:pt x="174" y="894"/>
                  </a:lnTo>
                  <a:lnTo>
                    <a:pt x="168" y="900"/>
                  </a:lnTo>
                  <a:lnTo>
                    <a:pt x="162" y="906"/>
                  </a:lnTo>
                  <a:lnTo>
                    <a:pt x="156" y="906"/>
                  </a:lnTo>
                  <a:lnTo>
                    <a:pt x="150" y="900"/>
                  </a:lnTo>
                  <a:lnTo>
                    <a:pt x="144" y="894"/>
                  </a:lnTo>
                  <a:lnTo>
                    <a:pt x="138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0" y="888"/>
                  </a:lnTo>
                  <a:lnTo>
                    <a:pt x="114" y="894"/>
                  </a:lnTo>
                  <a:lnTo>
                    <a:pt x="120" y="900"/>
                  </a:lnTo>
                  <a:lnTo>
                    <a:pt x="126" y="900"/>
                  </a:lnTo>
                  <a:lnTo>
                    <a:pt x="132" y="900"/>
                  </a:lnTo>
                  <a:lnTo>
                    <a:pt x="132" y="906"/>
                  </a:lnTo>
                  <a:lnTo>
                    <a:pt x="126" y="912"/>
                  </a:lnTo>
                  <a:lnTo>
                    <a:pt x="126" y="918"/>
                  </a:lnTo>
                  <a:lnTo>
                    <a:pt x="114" y="918"/>
                  </a:lnTo>
                  <a:lnTo>
                    <a:pt x="108" y="924"/>
                  </a:lnTo>
                  <a:lnTo>
                    <a:pt x="102" y="924"/>
                  </a:lnTo>
                  <a:lnTo>
                    <a:pt x="90" y="924"/>
                  </a:lnTo>
                  <a:lnTo>
                    <a:pt x="84" y="924"/>
                  </a:lnTo>
                  <a:lnTo>
                    <a:pt x="78" y="924"/>
                  </a:lnTo>
                  <a:lnTo>
                    <a:pt x="60" y="924"/>
                  </a:lnTo>
                  <a:lnTo>
                    <a:pt x="54" y="942"/>
                  </a:lnTo>
                  <a:lnTo>
                    <a:pt x="48" y="936"/>
                  </a:lnTo>
                  <a:lnTo>
                    <a:pt x="42" y="930"/>
                  </a:lnTo>
                  <a:lnTo>
                    <a:pt x="36" y="930"/>
                  </a:lnTo>
                  <a:lnTo>
                    <a:pt x="30" y="936"/>
                  </a:lnTo>
                  <a:lnTo>
                    <a:pt x="30" y="930"/>
                  </a:lnTo>
                  <a:lnTo>
                    <a:pt x="30" y="924"/>
                  </a:lnTo>
                  <a:lnTo>
                    <a:pt x="18" y="918"/>
                  </a:lnTo>
                  <a:lnTo>
                    <a:pt x="18" y="912"/>
                  </a:lnTo>
                  <a:lnTo>
                    <a:pt x="12" y="912"/>
                  </a:lnTo>
                  <a:lnTo>
                    <a:pt x="6" y="912"/>
                  </a:lnTo>
                  <a:lnTo>
                    <a:pt x="6" y="900"/>
                  </a:lnTo>
                  <a:lnTo>
                    <a:pt x="6" y="894"/>
                  </a:lnTo>
                  <a:lnTo>
                    <a:pt x="0" y="870"/>
                  </a:lnTo>
                  <a:lnTo>
                    <a:pt x="6" y="846"/>
                  </a:lnTo>
                  <a:lnTo>
                    <a:pt x="6" y="810"/>
                  </a:lnTo>
                  <a:lnTo>
                    <a:pt x="12" y="774"/>
                  </a:lnTo>
                  <a:lnTo>
                    <a:pt x="12" y="756"/>
                  </a:lnTo>
                  <a:lnTo>
                    <a:pt x="18" y="744"/>
                  </a:lnTo>
                  <a:lnTo>
                    <a:pt x="18" y="732"/>
                  </a:lnTo>
                  <a:lnTo>
                    <a:pt x="12" y="576"/>
                  </a:lnTo>
                  <a:lnTo>
                    <a:pt x="12" y="570"/>
                  </a:lnTo>
                  <a:lnTo>
                    <a:pt x="18" y="564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42" y="552"/>
                  </a:lnTo>
                  <a:lnTo>
                    <a:pt x="66" y="552"/>
                  </a:lnTo>
                  <a:lnTo>
                    <a:pt x="78" y="558"/>
                  </a:lnTo>
                  <a:lnTo>
                    <a:pt x="90" y="558"/>
                  </a:lnTo>
                  <a:lnTo>
                    <a:pt x="108" y="558"/>
                  </a:lnTo>
                  <a:lnTo>
                    <a:pt x="144" y="558"/>
                  </a:lnTo>
                  <a:lnTo>
                    <a:pt x="204" y="552"/>
                  </a:lnTo>
                  <a:lnTo>
                    <a:pt x="210" y="558"/>
                  </a:lnTo>
                  <a:lnTo>
                    <a:pt x="216" y="558"/>
                  </a:lnTo>
                  <a:lnTo>
                    <a:pt x="210" y="564"/>
                  </a:lnTo>
                  <a:lnTo>
                    <a:pt x="216" y="564"/>
                  </a:lnTo>
                  <a:lnTo>
                    <a:pt x="222" y="564"/>
                  </a:lnTo>
                  <a:lnTo>
                    <a:pt x="240" y="564"/>
                  </a:lnTo>
                  <a:lnTo>
                    <a:pt x="258" y="564"/>
                  </a:lnTo>
                  <a:lnTo>
                    <a:pt x="264" y="570"/>
                  </a:lnTo>
                  <a:lnTo>
                    <a:pt x="276" y="570"/>
                  </a:lnTo>
                  <a:lnTo>
                    <a:pt x="282" y="564"/>
                  </a:lnTo>
                  <a:lnTo>
                    <a:pt x="294" y="564"/>
                  </a:lnTo>
                  <a:lnTo>
                    <a:pt x="294" y="570"/>
                  </a:lnTo>
                  <a:lnTo>
                    <a:pt x="300" y="570"/>
                  </a:lnTo>
                  <a:lnTo>
                    <a:pt x="378" y="564"/>
                  </a:lnTo>
                  <a:lnTo>
                    <a:pt x="408" y="558"/>
                  </a:lnTo>
                  <a:lnTo>
                    <a:pt x="432" y="552"/>
                  </a:lnTo>
                  <a:lnTo>
                    <a:pt x="450" y="546"/>
                  </a:lnTo>
                  <a:lnTo>
                    <a:pt x="468" y="546"/>
                  </a:lnTo>
                  <a:lnTo>
                    <a:pt x="468" y="552"/>
                  </a:lnTo>
                  <a:lnTo>
                    <a:pt x="504" y="552"/>
                  </a:lnTo>
                  <a:lnTo>
                    <a:pt x="510" y="534"/>
                  </a:lnTo>
                  <a:lnTo>
                    <a:pt x="516" y="510"/>
                  </a:lnTo>
                  <a:lnTo>
                    <a:pt x="522" y="510"/>
                  </a:lnTo>
                  <a:lnTo>
                    <a:pt x="528" y="420"/>
                  </a:lnTo>
                  <a:lnTo>
                    <a:pt x="522" y="414"/>
                  </a:lnTo>
                  <a:lnTo>
                    <a:pt x="516" y="396"/>
                  </a:lnTo>
                  <a:lnTo>
                    <a:pt x="510" y="372"/>
                  </a:lnTo>
                  <a:lnTo>
                    <a:pt x="498" y="348"/>
                  </a:lnTo>
                  <a:lnTo>
                    <a:pt x="474" y="282"/>
                  </a:lnTo>
                  <a:lnTo>
                    <a:pt x="474" y="270"/>
                  </a:lnTo>
                  <a:lnTo>
                    <a:pt x="480" y="258"/>
                  </a:lnTo>
                  <a:lnTo>
                    <a:pt x="486" y="258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92" y="246"/>
                  </a:lnTo>
                  <a:lnTo>
                    <a:pt x="504" y="234"/>
                  </a:lnTo>
                  <a:lnTo>
                    <a:pt x="510" y="228"/>
                  </a:lnTo>
                  <a:lnTo>
                    <a:pt x="516" y="228"/>
                  </a:lnTo>
                  <a:lnTo>
                    <a:pt x="516" y="222"/>
                  </a:lnTo>
                  <a:lnTo>
                    <a:pt x="516" y="216"/>
                  </a:lnTo>
                  <a:lnTo>
                    <a:pt x="522" y="216"/>
                  </a:lnTo>
                  <a:lnTo>
                    <a:pt x="528" y="210"/>
                  </a:lnTo>
                  <a:lnTo>
                    <a:pt x="534" y="210"/>
                  </a:lnTo>
                  <a:lnTo>
                    <a:pt x="540" y="210"/>
                  </a:lnTo>
                  <a:lnTo>
                    <a:pt x="546" y="210"/>
                  </a:lnTo>
                  <a:lnTo>
                    <a:pt x="552" y="210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16"/>
                  </a:lnTo>
                  <a:lnTo>
                    <a:pt x="588" y="228"/>
                  </a:lnTo>
                  <a:lnTo>
                    <a:pt x="594" y="234"/>
                  </a:lnTo>
                  <a:lnTo>
                    <a:pt x="600" y="240"/>
                  </a:lnTo>
                  <a:lnTo>
                    <a:pt x="618" y="246"/>
                  </a:lnTo>
                  <a:lnTo>
                    <a:pt x="624" y="246"/>
                  </a:lnTo>
                  <a:lnTo>
                    <a:pt x="636" y="252"/>
                  </a:lnTo>
                  <a:lnTo>
                    <a:pt x="654" y="252"/>
                  </a:lnTo>
                  <a:lnTo>
                    <a:pt x="654" y="258"/>
                  </a:lnTo>
                  <a:lnTo>
                    <a:pt x="666" y="264"/>
                  </a:lnTo>
                  <a:lnTo>
                    <a:pt x="672" y="264"/>
                  </a:lnTo>
                  <a:lnTo>
                    <a:pt x="678" y="264"/>
                  </a:lnTo>
                  <a:lnTo>
                    <a:pt x="696" y="258"/>
                  </a:lnTo>
                  <a:lnTo>
                    <a:pt x="696" y="252"/>
                  </a:lnTo>
                  <a:lnTo>
                    <a:pt x="696" y="246"/>
                  </a:lnTo>
                  <a:lnTo>
                    <a:pt x="690" y="234"/>
                  </a:lnTo>
                  <a:lnTo>
                    <a:pt x="684" y="210"/>
                  </a:lnTo>
                  <a:lnTo>
                    <a:pt x="678" y="192"/>
                  </a:lnTo>
                  <a:lnTo>
                    <a:pt x="672" y="174"/>
                  </a:lnTo>
                  <a:lnTo>
                    <a:pt x="672" y="168"/>
                  </a:lnTo>
                  <a:lnTo>
                    <a:pt x="672" y="162"/>
                  </a:lnTo>
                  <a:lnTo>
                    <a:pt x="672" y="156"/>
                  </a:lnTo>
                  <a:lnTo>
                    <a:pt x="684" y="132"/>
                  </a:lnTo>
                  <a:lnTo>
                    <a:pt x="684" y="120"/>
                  </a:lnTo>
                  <a:lnTo>
                    <a:pt x="684" y="108"/>
                  </a:lnTo>
                  <a:lnTo>
                    <a:pt x="678" y="102"/>
                  </a:lnTo>
                  <a:lnTo>
                    <a:pt x="678" y="96"/>
                  </a:lnTo>
                  <a:lnTo>
                    <a:pt x="684" y="96"/>
                  </a:lnTo>
                  <a:lnTo>
                    <a:pt x="696" y="90"/>
                  </a:lnTo>
                  <a:lnTo>
                    <a:pt x="702" y="84"/>
                  </a:lnTo>
                  <a:lnTo>
                    <a:pt x="720" y="72"/>
                  </a:lnTo>
                  <a:lnTo>
                    <a:pt x="738" y="66"/>
                  </a:lnTo>
                  <a:lnTo>
                    <a:pt x="756" y="60"/>
                  </a:lnTo>
                  <a:lnTo>
                    <a:pt x="768" y="60"/>
                  </a:lnTo>
                  <a:lnTo>
                    <a:pt x="798" y="72"/>
                  </a:lnTo>
                  <a:lnTo>
                    <a:pt x="804" y="78"/>
                  </a:lnTo>
                  <a:lnTo>
                    <a:pt x="816" y="84"/>
                  </a:lnTo>
                  <a:lnTo>
                    <a:pt x="822" y="84"/>
                  </a:lnTo>
                  <a:lnTo>
                    <a:pt x="828" y="72"/>
                  </a:lnTo>
                  <a:lnTo>
                    <a:pt x="828" y="60"/>
                  </a:lnTo>
                  <a:lnTo>
                    <a:pt x="828" y="36"/>
                  </a:lnTo>
                  <a:lnTo>
                    <a:pt x="828" y="24"/>
                  </a:lnTo>
                  <a:lnTo>
                    <a:pt x="828" y="12"/>
                  </a:lnTo>
                  <a:lnTo>
                    <a:pt x="834" y="12"/>
                  </a:lnTo>
                  <a:lnTo>
                    <a:pt x="852" y="6"/>
                  </a:lnTo>
                  <a:lnTo>
                    <a:pt x="876" y="6"/>
                  </a:lnTo>
                  <a:lnTo>
                    <a:pt x="894" y="6"/>
                  </a:lnTo>
                  <a:lnTo>
                    <a:pt x="906" y="12"/>
                  </a:lnTo>
                  <a:lnTo>
                    <a:pt x="912" y="24"/>
                  </a:lnTo>
                  <a:lnTo>
                    <a:pt x="924" y="24"/>
                  </a:lnTo>
                  <a:lnTo>
                    <a:pt x="930" y="30"/>
                  </a:lnTo>
                  <a:lnTo>
                    <a:pt x="936" y="30"/>
                  </a:lnTo>
                  <a:lnTo>
                    <a:pt x="936" y="36"/>
                  </a:lnTo>
                  <a:lnTo>
                    <a:pt x="942" y="36"/>
                  </a:lnTo>
                  <a:lnTo>
                    <a:pt x="948" y="42"/>
                  </a:lnTo>
                  <a:lnTo>
                    <a:pt x="960" y="48"/>
                  </a:lnTo>
                  <a:lnTo>
                    <a:pt x="966" y="48"/>
                  </a:lnTo>
                  <a:lnTo>
                    <a:pt x="1026" y="60"/>
                  </a:lnTo>
                  <a:lnTo>
                    <a:pt x="1050" y="60"/>
                  </a:lnTo>
                  <a:lnTo>
                    <a:pt x="1050" y="54"/>
                  </a:lnTo>
                  <a:lnTo>
                    <a:pt x="1062" y="54"/>
                  </a:lnTo>
                  <a:lnTo>
                    <a:pt x="1074" y="48"/>
                  </a:lnTo>
                  <a:lnTo>
                    <a:pt x="1086" y="42"/>
                  </a:lnTo>
                  <a:lnTo>
                    <a:pt x="1104" y="36"/>
                  </a:lnTo>
                  <a:lnTo>
                    <a:pt x="1116" y="30"/>
                  </a:lnTo>
                  <a:lnTo>
                    <a:pt x="1122" y="24"/>
                  </a:lnTo>
                  <a:lnTo>
                    <a:pt x="1128" y="18"/>
                  </a:lnTo>
                  <a:lnTo>
                    <a:pt x="1134" y="18"/>
                  </a:lnTo>
                  <a:lnTo>
                    <a:pt x="1140" y="12"/>
                  </a:lnTo>
                  <a:lnTo>
                    <a:pt x="1146" y="6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24"/>
                  </a:lnTo>
                  <a:lnTo>
                    <a:pt x="1176" y="36"/>
                  </a:lnTo>
                  <a:lnTo>
                    <a:pt x="1188" y="42"/>
                  </a:lnTo>
                  <a:lnTo>
                    <a:pt x="1200" y="54"/>
                  </a:lnTo>
                  <a:lnTo>
                    <a:pt x="1224" y="84"/>
                  </a:lnTo>
                  <a:lnTo>
                    <a:pt x="1224" y="90"/>
                  </a:lnTo>
                  <a:lnTo>
                    <a:pt x="1236" y="96"/>
                  </a:lnTo>
                  <a:lnTo>
                    <a:pt x="1236" y="108"/>
                  </a:lnTo>
                  <a:lnTo>
                    <a:pt x="1248" y="114"/>
                  </a:lnTo>
                  <a:lnTo>
                    <a:pt x="1254" y="114"/>
                  </a:lnTo>
                  <a:lnTo>
                    <a:pt x="1260" y="114"/>
                  </a:lnTo>
                  <a:lnTo>
                    <a:pt x="1296" y="114"/>
                  </a:lnTo>
                  <a:lnTo>
                    <a:pt x="1302" y="114"/>
                  </a:lnTo>
                  <a:lnTo>
                    <a:pt x="1320" y="108"/>
                  </a:lnTo>
                  <a:lnTo>
                    <a:pt x="1326" y="108"/>
                  </a:lnTo>
                  <a:lnTo>
                    <a:pt x="1326" y="138"/>
                  </a:lnTo>
                  <a:lnTo>
                    <a:pt x="1326" y="210"/>
                  </a:lnTo>
                  <a:lnTo>
                    <a:pt x="1320" y="252"/>
                  </a:lnTo>
                  <a:lnTo>
                    <a:pt x="1320" y="270"/>
                  </a:lnTo>
                  <a:lnTo>
                    <a:pt x="1320" y="288"/>
                  </a:lnTo>
                  <a:lnTo>
                    <a:pt x="1320" y="318"/>
                  </a:lnTo>
                  <a:lnTo>
                    <a:pt x="1326" y="354"/>
                  </a:lnTo>
                  <a:lnTo>
                    <a:pt x="1326" y="372"/>
                  </a:lnTo>
                  <a:lnTo>
                    <a:pt x="1332" y="420"/>
                  </a:lnTo>
                  <a:lnTo>
                    <a:pt x="1332" y="450"/>
                  </a:lnTo>
                  <a:lnTo>
                    <a:pt x="1338" y="480"/>
                  </a:lnTo>
                  <a:lnTo>
                    <a:pt x="1344" y="486"/>
                  </a:lnTo>
                  <a:lnTo>
                    <a:pt x="1338" y="492"/>
                  </a:lnTo>
                  <a:lnTo>
                    <a:pt x="1344" y="492"/>
                  </a:lnTo>
                  <a:lnTo>
                    <a:pt x="1344" y="498"/>
                  </a:lnTo>
                  <a:lnTo>
                    <a:pt x="1350" y="498"/>
                  </a:lnTo>
                  <a:lnTo>
                    <a:pt x="1350" y="522"/>
                  </a:lnTo>
                  <a:lnTo>
                    <a:pt x="1362" y="564"/>
                  </a:lnTo>
                  <a:lnTo>
                    <a:pt x="1368" y="582"/>
                  </a:lnTo>
                  <a:lnTo>
                    <a:pt x="1380" y="600"/>
                  </a:lnTo>
                  <a:lnTo>
                    <a:pt x="1386" y="636"/>
                  </a:lnTo>
                  <a:lnTo>
                    <a:pt x="1380" y="660"/>
                  </a:lnTo>
                  <a:lnTo>
                    <a:pt x="1380" y="678"/>
                  </a:lnTo>
                  <a:lnTo>
                    <a:pt x="1380" y="684"/>
                  </a:lnTo>
                  <a:lnTo>
                    <a:pt x="1374" y="684"/>
                  </a:lnTo>
                  <a:lnTo>
                    <a:pt x="1368" y="690"/>
                  </a:lnTo>
                  <a:lnTo>
                    <a:pt x="1356" y="702"/>
                  </a:lnTo>
                  <a:lnTo>
                    <a:pt x="1350" y="708"/>
                  </a:lnTo>
                  <a:lnTo>
                    <a:pt x="1356" y="714"/>
                  </a:lnTo>
                  <a:lnTo>
                    <a:pt x="1368" y="726"/>
                  </a:lnTo>
                  <a:lnTo>
                    <a:pt x="1380" y="738"/>
                  </a:lnTo>
                  <a:lnTo>
                    <a:pt x="1386" y="744"/>
                  </a:lnTo>
                  <a:lnTo>
                    <a:pt x="1392" y="744"/>
                  </a:lnTo>
                  <a:lnTo>
                    <a:pt x="1410" y="750"/>
                  </a:lnTo>
                  <a:lnTo>
                    <a:pt x="1416" y="756"/>
                  </a:lnTo>
                  <a:lnTo>
                    <a:pt x="1422" y="756"/>
                  </a:lnTo>
                  <a:lnTo>
                    <a:pt x="1422" y="762"/>
                  </a:lnTo>
                  <a:lnTo>
                    <a:pt x="1428" y="774"/>
                  </a:lnTo>
                  <a:lnTo>
                    <a:pt x="1428" y="780"/>
                  </a:lnTo>
                  <a:lnTo>
                    <a:pt x="1434" y="780"/>
                  </a:lnTo>
                  <a:lnTo>
                    <a:pt x="1440" y="798"/>
                  </a:lnTo>
                  <a:lnTo>
                    <a:pt x="1422" y="816"/>
                  </a:lnTo>
                  <a:lnTo>
                    <a:pt x="1386" y="810"/>
                  </a:lnTo>
                  <a:lnTo>
                    <a:pt x="1380" y="816"/>
                  </a:lnTo>
                  <a:lnTo>
                    <a:pt x="1374" y="840"/>
                  </a:lnTo>
                  <a:lnTo>
                    <a:pt x="1350" y="852"/>
                  </a:lnTo>
                  <a:lnTo>
                    <a:pt x="1350" y="858"/>
                  </a:lnTo>
                  <a:lnTo>
                    <a:pt x="1350" y="864"/>
                  </a:lnTo>
                  <a:lnTo>
                    <a:pt x="1344" y="864"/>
                  </a:lnTo>
                  <a:lnTo>
                    <a:pt x="1338" y="870"/>
                  </a:lnTo>
                  <a:lnTo>
                    <a:pt x="1332" y="876"/>
                  </a:lnTo>
                  <a:lnTo>
                    <a:pt x="1314" y="876"/>
                  </a:lnTo>
                  <a:lnTo>
                    <a:pt x="1314" y="870"/>
                  </a:lnTo>
                  <a:lnTo>
                    <a:pt x="1308" y="870"/>
                  </a:lnTo>
                  <a:lnTo>
                    <a:pt x="1302" y="864"/>
                  </a:lnTo>
                  <a:lnTo>
                    <a:pt x="1296" y="864"/>
                  </a:lnTo>
                  <a:lnTo>
                    <a:pt x="1284" y="870"/>
                  </a:lnTo>
                  <a:lnTo>
                    <a:pt x="1266" y="870"/>
                  </a:lnTo>
                  <a:lnTo>
                    <a:pt x="1260" y="870"/>
                  </a:lnTo>
                  <a:lnTo>
                    <a:pt x="1248" y="876"/>
                  </a:lnTo>
                  <a:lnTo>
                    <a:pt x="1236" y="876"/>
                  </a:lnTo>
                  <a:lnTo>
                    <a:pt x="1230" y="882"/>
                  </a:lnTo>
                  <a:lnTo>
                    <a:pt x="1224" y="894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18" y="942"/>
                  </a:lnTo>
                  <a:lnTo>
                    <a:pt x="1212" y="948"/>
                  </a:lnTo>
                  <a:lnTo>
                    <a:pt x="1200" y="984"/>
                  </a:lnTo>
                  <a:lnTo>
                    <a:pt x="1194" y="1008"/>
                  </a:lnTo>
                  <a:lnTo>
                    <a:pt x="1218" y="1038"/>
                  </a:lnTo>
                  <a:lnTo>
                    <a:pt x="1224" y="1044"/>
                  </a:lnTo>
                  <a:lnTo>
                    <a:pt x="1224" y="1062"/>
                  </a:lnTo>
                  <a:lnTo>
                    <a:pt x="1236" y="1080"/>
                  </a:lnTo>
                  <a:lnTo>
                    <a:pt x="1236" y="1086"/>
                  </a:lnTo>
                  <a:lnTo>
                    <a:pt x="1230" y="1092"/>
                  </a:lnTo>
                  <a:lnTo>
                    <a:pt x="1224" y="1110"/>
                  </a:lnTo>
                  <a:lnTo>
                    <a:pt x="1218" y="1122"/>
                  </a:lnTo>
                  <a:lnTo>
                    <a:pt x="1224" y="1140"/>
                  </a:lnTo>
                  <a:lnTo>
                    <a:pt x="1218" y="1146"/>
                  </a:lnTo>
                  <a:lnTo>
                    <a:pt x="1218" y="1152"/>
                  </a:lnTo>
                  <a:lnTo>
                    <a:pt x="1212" y="116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1" name="Freeform 36">
              <a:extLst>
                <a:ext uri="{FF2B5EF4-FFF2-40B4-BE49-F238E27FC236}">
                  <a16:creationId xmlns:a16="http://schemas.microsoft.com/office/drawing/2014/main" id="{B9C0D6BE-CB1C-4E69-B224-1ABF097AA8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90208" y="1647855"/>
              <a:ext cx="742415" cy="758173"/>
            </a:xfrm>
            <a:custGeom>
              <a:avLst/>
              <a:gdLst>
                <a:gd name="T0" fmla="*/ 75 w 1398"/>
                <a:gd name="T1" fmla="*/ 48 h 1428"/>
                <a:gd name="T2" fmla="*/ 68 w 1398"/>
                <a:gd name="T3" fmla="*/ 54 h 1428"/>
                <a:gd name="T4" fmla="*/ 57 w 1398"/>
                <a:gd name="T5" fmla="*/ 59 h 1428"/>
                <a:gd name="T6" fmla="*/ 55 w 1398"/>
                <a:gd name="T7" fmla="*/ 68 h 1428"/>
                <a:gd name="T8" fmla="*/ 55 w 1398"/>
                <a:gd name="T9" fmla="*/ 77 h 1428"/>
                <a:gd name="T10" fmla="*/ 57 w 1398"/>
                <a:gd name="T11" fmla="*/ 81 h 1428"/>
                <a:gd name="T12" fmla="*/ 56 w 1398"/>
                <a:gd name="T13" fmla="*/ 86 h 1428"/>
                <a:gd name="T14" fmla="*/ 57 w 1398"/>
                <a:gd name="T15" fmla="*/ 89 h 1428"/>
                <a:gd name="T16" fmla="*/ 58 w 1398"/>
                <a:gd name="T17" fmla="*/ 92 h 1428"/>
                <a:gd name="T18" fmla="*/ 58 w 1398"/>
                <a:gd name="T19" fmla="*/ 96 h 1428"/>
                <a:gd name="T20" fmla="*/ 49 w 1398"/>
                <a:gd name="T21" fmla="*/ 100 h 1428"/>
                <a:gd name="T22" fmla="*/ 47 w 1398"/>
                <a:gd name="T23" fmla="*/ 108 h 1428"/>
                <a:gd name="T24" fmla="*/ 48 w 1398"/>
                <a:gd name="T25" fmla="*/ 113 h 1428"/>
                <a:gd name="T26" fmla="*/ 43 w 1398"/>
                <a:gd name="T27" fmla="*/ 114 h 1428"/>
                <a:gd name="T28" fmla="*/ 39 w 1398"/>
                <a:gd name="T29" fmla="*/ 113 h 1428"/>
                <a:gd name="T30" fmla="*/ 33 w 1398"/>
                <a:gd name="T31" fmla="*/ 109 h 1428"/>
                <a:gd name="T32" fmla="*/ 29 w 1398"/>
                <a:gd name="T33" fmla="*/ 114 h 1428"/>
                <a:gd name="T34" fmla="*/ 22 w 1398"/>
                <a:gd name="T35" fmla="*/ 115 h 1428"/>
                <a:gd name="T36" fmla="*/ 21 w 1398"/>
                <a:gd name="T37" fmla="*/ 121 h 1428"/>
                <a:gd name="T38" fmla="*/ 12 w 1398"/>
                <a:gd name="T39" fmla="*/ 119 h 1428"/>
                <a:gd name="T40" fmla="*/ 9 w 1398"/>
                <a:gd name="T41" fmla="*/ 113 h 1428"/>
                <a:gd name="T42" fmla="*/ 2 w 1398"/>
                <a:gd name="T43" fmla="*/ 109 h 1428"/>
                <a:gd name="T44" fmla="*/ 4 w 1398"/>
                <a:gd name="T45" fmla="*/ 103 h 1428"/>
                <a:gd name="T46" fmla="*/ 2 w 1398"/>
                <a:gd name="T47" fmla="*/ 91 h 1428"/>
                <a:gd name="T48" fmla="*/ 6 w 1398"/>
                <a:gd name="T49" fmla="*/ 85 h 1428"/>
                <a:gd name="T50" fmla="*/ 10 w 1398"/>
                <a:gd name="T51" fmla="*/ 85 h 1428"/>
                <a:gd name="T52" fmla="*/ 15 w 1398"/>
                <a:gd name="T53" fmla="*/ 82 h 1428"/>
                <a:gd name="T54" fmla="*/ 20 w 1398"/>
                <a:gd name="T55" fmla="*/ 77 h 1428"/>
                <a:gd name="T56" fmla="*/ 16 w 1398"/>
                <a:gd name="T57" fmla="*/ 73 h 1428"/>
                <a:gd name="T58" fmla="*/ 16 w 1398"/>
                <a:gd name="T59" fmla="*/ 69 h 1428"/>
                <a:gd name="T60" fmla="*/ 14 w 1398"/>
                <a:gd name="T61" fmla="*/ 54 h 1428"/>
                <a:gd name="T62" fmla="*/ 12 w 1398"/>
                <a:gd name="T63" fmla="*/ 48 h 1428"/>
                <a:gd name="T64" fmla="*/ 11 w 1398"/>
                <a:gd name="T65" fmla="*/ 31 h 1428"/>
                <a:gd name="T66" fmla="*/ 14 w 1398"/>
                <a:gd name="T67" fmla="*/ 18 h 1428"/>
                <a:gd name="T68" fmla="*/ 19 w 1398"/>
                <a:gd name="T69" fmla="*/ 15 h 1428"/>
                <a:gd name="T70" fmla="*/ 26 w 1398"/>
                <a:gd name="T71" fmla="*/ 13 h 1428"/>
                <a:gd name="T72" fmla="*/ 34 w 1398"/>
                <a:gd name="T73" fmla="*/ 12 h 1428"/>
                <a:gd name="T74" fmla="*/ 39 w 1398"/>
                <a:gd name="T75" fmla="*/ 9 h 1428"/>
                <a:gd name="T76" fmla="*/ 43 w 1398"/>
                <a:gd name="T77" fmla="*/ 7 h 1428"/>
                <a:gd name="T78" fmla="*/ 48 w 1398"/>
                <a:gd name="T79" fmla="*/ 3 h 1428"/>
                <a:gd name="T80" fmla="*/ 54 w 1398"/>
                <a:gd name="T81" fmla="*/ 0 h 1428"/>
                <a:gd name="T82" fmla="*/ 58 w 1398"/>
                <a:gd name="T83" fmla="*/ 0 h 1428"/>
                <a:gd name="T84" fmla="*/ 66 w 1398"/>
                <a:gd name="T85" fmla="*/ 2 h 1428"/>
                <a:gd name="T86" fmla="*/ 70 w 1398"/>
                <a:gd name="T87" fmla="*/ 3 h 1428"/>
                <a:gd name="T88" fmla="*/ 75 w 1398"/>
                <a:gd name="T89" fmla="*/ 6 h 1428"/>
                <a:gd name="T90" fmla="*/ 80 w 1398"/>
                <a:gd name="T91" fmla="*/ 9 h 1428"/>
                <a:gd name="T92" fmla="*/ 83 w 1398"/>
                <a:gd name="T93" fmla="*/ 12 h 1428"/>
                <a:gd name="T94" fmla="*/ 87 w 1398"/>
                <a:gd name="T95" fmla="*/ 15 h 1428"/>
                <a:gd name="T96" fmla="*/ 94 w 1398"/>
                <a:gd name="T97" fmla="*/ 15 h 1428"/>
                <a:gd name="T98" fmla="*/ 99 w 1398"/>
                <a:gd name="T99" fmla="*/ 21 h 1428"/>
                <a:gd name="T100" fmla="*/ 103 w 1398"/>
                <a:gd name="T101" fmla="*/ 23 h 1428"/>
                <a:gd name="T102" fmla="*/ 110 w 1398"/>
                <a:gd name="T103" fmla="*/ 26 h 1428"/>
                <a:gd name="T104" fmla="*/ 116 w 1398"/>
                <a:gd name="T105" fmla="*/ 27 h 1428"/>
                <a:gd name="T106" fmla="*/ 120 w 1398"/>
                <a:gd name="T107" fmla="*/ 27 h 1428"/>
                <a:gd name="T108" fmla="*/ 116 w 1398"/>
                <a:gd name="T109" fmla="*/ 35 h 1428"/>
                <a:gd name="T110" fmla="*/ 104 w 1398"/>
                <a:gd name="T111" fmla="*/ 37 h 1428"/>
                <a:gd name="T112" fmla="*/ 97 w 1398"/>
                <a:gd name="T113" fmla="*/ 34 h 1428"/>
                <a:gd name="T114" fmla="*/ 91 w 1398"/>
                <a:gd name="T115" fmla="*/ 29 h 1428"/>
                <a:gd name="T116" fmla="*/ 75 w 1398"/>
                <a:gd name="T117" fmla="*/ 29 h 1428"/>
                <a:gd name="T118" fmla="*/ 72 w 1398"/>
                <a:gd name="T119" fmla="*/ 39 h 1428"/>
                <a:gd name="T120" fmla="*/ 80 w 1398"/>
                <a:gd name="T121" fmla="*/ 41 h 142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98"/>
                <a:gd name="T184" fmla="*/ 0 h 1428"/>
                <a:gd name="T185" fmla="*/ 1398 w 1398"/>
                <a:gd name="T186" fmla="*/ 1428 h 142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98" h="1428">
                  <a:moveTo>
                    <a:pt x="924" y="474"/>
                  </a:moveTo>
                  <a:lnTo>
                    <a:pt x="900" y="480"/>
                  </a:lnTo>
                  <a:lnTo>
                    <a:pt x="864" y="486"/>
                  </a:lnTo>
                  <a:lnTo>
                    <a:pt x="864" y="504"/>
                  </a:lnTo>
                  <a:lnTo>
                    <a:pt x="858" y="522"/>
                  </a:lnTo>
                  <a:lnTo>
                    <a:pt x="864" y="528"/>
                  </a:lnTo>
                  <a:lnTo>
                    <a:pt x="864" y="552"/>
                  </a:lnTo>
                  <a:lnTo>
                    <a:pt x="852" y="552"/>
                  </a:lnTo>
                  <a:lnTo>
                    <a:pt x="846" y="564"/>
                  </a:lnTo>
                  <a:lnTo>
                    <a:pt x="840" y="582"/>
                  </a:lnTo>
                  <a:lnTo>
                    <a:pt x="834" y="594"/>
                  </a:lnTo>
                  <a:lnTo>
                    <a:pt x="828" y="606"/>
                  </a:lnTo>
                  <a:lnTo>
                    <a:pt x="828" y="618"/>
                  </a:lnTo>
                  <a:lnTo>
                    <a:pt x="786" y="630"/>
                  </a:lnTo>
                  <a:lnTo>
                    <a:pt x="774" y="636"/>
                  </a:lnTo>
                  <a:lnTo>
                    <a:pt x="762" y="642"/>
                  </a:lnTo>
                  <a:lnTo>
                    <a:pt x="744" y="648"/>
                  </a:lnTo>
                  <a:lnTo>
                    <a:pt x="714" y="660"/>
                  </a:lnTo>
                  <a:lnTo>
                    <a:pt x="696" y="666"/>
                  </a:lnTo>
                  <a:lnTo>
                    <a:pt x="666" y="672"/>
                  </a:lnTo>
                  <a:lnTo>
                    <a:pt x="654" y="684"/>
                  </a:lnTo>
                  <a:lnTo>
                    <a:pt x="648" y="684"/>
                  </a:lnTo>
                  <a:lnTo>
                    <a:pt x="642" y="696"/>
                  </a:lnTo>
                  <a:lnTo>
                    <a:pt x="636" y="696"/>
                  </a:lnTo>
                  <a:lnTo>
                    <a:pt x="630" y="714"/>
                  </a:lnTo>
                  <a:lnTo>
                    <a:pt x="624" y="738"/>
                  </a:lnTo>
                  <a:lnTo>
                    <a:pt x="624" y="762"/>
                  </a:lnTo>
                  <a:lnTo>
                    <a:pt x="630" y="780"/>
                  </a:lnTo>
                  <a:lnTo>
                    <a:pt x="636" y="804"/>
                  </a:lnTo>
                  <a:lnTo>
                    <a:pt x="642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6" y="834"/>
                  </a:lnTo>
                  <a:lnTo>
                    <a:pt x="636" y="870"/>
                  </a:lnTo>
                  <a:lnTo>
                    <a:pt x="636" y="882"/>
                  </a:lnTo>
                  <a:lnTo>
                    <a:pt x="636" y="906"/>
                  </a:lnTo>
                  <a:lnTo>
                    <a:pt x="630" y="906"/>
                  </a:lnTo>
                  <a:lnTo>
                    <a:pt x="636" y="918"/>
                  </a:lnTo>
                  <a:lnTo>
                    <a:pt x="642" y="918"/>
                  </a:lnTo>
                  <a:lnTo>
                    <a:pt x="642" y="930"/>
                  </a:lnTo>
                  <a:lnTo>
                    <a:pt x="648" y="936"/>
                  </a:lnTo>
                  <a:lnTo>
                    <a:pt x="654" y="936"/>
                  </a:lnTo>
                  <a:lnTo>
                    <a:pt x="654" y="942"/>
                  </a:lnTo>
                  <a:lnTo>
                    <a:pt x="654" y="948"/>
                  </a:lnTo>
                  <a:lnTo>
                    <a:pt x="648" y="954"/>
                  </a:lnTo>
                  <a:lnTo>
                    <a:pt x="648" y="960"/>
                  </a:lnTo>
                  <a:lnTo>
                    <a:pt x="648" y="966"/>
                  </a:lnTo>
                  <a:lnTo>
                    <a:pt x="648" y="972"/>
                  </a:lnTo>
                  <a:lnTo>
                    <a:pt x="648" y="990"/>
                  </a:lnTo>
                  <a:lnTo>
                    <a:pt x="654" y="996"/>
                  </a:lnTo>
                  <a:lnTo>
                    <a:pt x="648" y="1002"/>
                  </a:lnTo>
                  <a:lnTo>
                    <a:pt x="648" y="1008"/>
                  </a:lnTo>
                  <a:lnTo>
                    <a:pt x="654" y="1014"/>
                  </a:lnTo>
                  <a:lnTo>
                    <a:pt x="654" y="1020"/>
                  </a:lnTo>
                  <a:lnTo>
                    <a:pt x="654" y="1026"/>
                  </a:lnTo>
                  <a:lnTo>
                    <a:pt x="660" y="1026"/>
                  </a:lnTo>
                  <a:lnTo>
                    <a:pt x="660" y="1032"/>
                  </a:lnTo>
                  <a:lnTo>
                    <a:pt x="660" y="1038"/>
                  </a:lnTo>
                  <a:lnTo>
                    <a:pt x="666" y="1044"/>
                  </a:lnTo>
                  <a:lnTo>
                    <a:pt x="672" y="1050"/>
                  </a:lnTo>
                  <a:lnTo>
                    <a:pt x="672" y="1056"/>
                  </a:lnTo>
                  <a:lnTo>
                    <a:pt x="672" y="1062"/>
                  </a:lnTo>
                  <a:lnTo>
                    <a:pt x="672" y="1068"/>
                  </a:lnTo>
                  <a:lnTo>
                    <a:pt x="672" y="1074"/>
                  </a:lnTo>
                  <a:lnTo>
                    <a:pt x="678" y="1074"/>
                  </a:lnTo>
                  <a:lnTo>
                    <a:pt x="678" y="1080"/>
                  </a:lnTo>
                  <a:lnTo>
                    <a:pt x="678" y="1086"/>
                  </a:lnTo>
                  <a:lnTo>
                    <a:pt x="672" y="1092"/>
                  </a:lnTo>
                  <a:lnTo>
                    <a:pt x="672" y="1098"/>
                  </a:lnTo>
                  <a:lnTo>
                    <a:pt x="672" y="1104"/>
                  </a:lnTo>
                  <a:lnTo>
                    <a:pt x="666" y="1116"/>
                  </a:lnTo>
                  <a:lnTo>
                    <a:pt x="624" y="1122"/>
                  </a:lnTo>
                  <a:lnTo>
                    <a:pt x="576" y="1134"/>
                  </a:lnTo>
                  <a:lnTo>
                    <a:pt x="570" y="1140"/>
                  </a:lnTo>
                  <a:lnTo>
                    <a:pt x="570" y="1146"/>
                  </a:lnTo>
                  <a:lnTo>
                    <a:pt x="564" y="1146"/>
                  </a:lnTo>
                  <a:lnTo>
                    <a:pt x="564" y="1152"/>
                  </a:lnTo>
                  <a:lnTo>
                    <a:pt x="564" y="1164"/>
                  </a:lnTo>
                  <a:lnTo>
                    <a:pt x="564" y="1170"/>
                  </a:lnTo>
                  <a:lnTo>
                    <a:pt x="564" y="1176"/>
                  </a:lnTo>
                  <a:lnTo>
                    <a:pt x="546" y="1176"/>
                  </a:lnTo>
                  <a:lnTo>
                    <a:pt x="540" y="1212"/>
                  </a:lnTo>
                  <a:lnTo>
                    <a:pt x="540" y="1230"/>
                  </a:lnTo>
                  <a:lnTo>
                    <a:pt x="546" y="1242"/>
                  </a:lnTo>
                  <a:lnTo>
                    <a:pt x="546" y="1254"/>
                  </a:lnTo>
                  <a:lnTo>
                    <a:pt x="558" y="1266"/>
                  </a:lnTo>
                  <a:lnTo>
                    <a:pt x="576" y="1272"/>
                  </a:lnTo>
                  <a:lnTo>
                    <a:pt x="570" y="1278"/>
                  </a:lnTo>
                  <a:lnTo>
                    <a:pt x="576" y="1284"/>
                  </a:lnTo>
                  <a:lnTo>
                    <a:pt x="570" y="1296"/>
                  </a:lnTo>
                  <a:lnTo>
                    <a:pt x="558" y="1302"/>
                  </a:lnTo>
                  <a:lnTo>
                    <a:pt x="540" y="1308"/>
                  </a:lnTo>
                  <a:lnTo>
                    <a:pt x="522" y="1314"/>
                  </a:lnTo>
                  <a:lnTo>
                    <a:pt x="516" y="1314"/>
                  </a:lnTo>
                  <a:lnTo>
                    <a:pt x="510" y="1314"/>
                  </a:lnTo>
                  <a:lnTo>
                    <a:pt x="504" y="1314"/>
                  </a:lnTo>
                  <a:lnTo>
                    <a:pt x="498" y="1320"/>
                  </a:lnTo>
                  <a:lnTo>
                    <a:pt x="492" y="1320"/>
                  </a:lnTo>
                  <a:lnTo>
                    <a:pt x="492" y="1326"/>
                  </a:lnTo>
                  <a:lnTo>
                    <a:pt x="486" y="1326"/>
                  </a:lnTo>
                  <a:lnTo>
                    <a:pt x="480" y="1326"/>
                  </a:lnTo>
                  <a:lnTo>
                    <a:pt x="480" y="1320"/>
                  </a:lnTo>
                  <a:lnTo>
                    <a:pt x="468" y="1314"/>
                  </a:lnTo>
                  <a:lnTo>
                    <a:pt x="462" y="1308"/>
                  </a:lnTo>
                  <a:lnTo>
                    <a:pt x="456" y="1302"/>
                  </a:lnTo>
                  <a:lnTo>
                    <a:pt x="444" y="1296"/>
                  </a:lnTo>
                  <a:lnTo>
                    <a:pt x="420" y="1290"/>
                  </a:lnTo>
                  <a:lnTo>
                    <a:pt x="414" y="1278"/>
                  </a:lnTo>
                  <a:lnTo>
                    <a:pt x="408" y="1278"/>
                  </a:lnTo>
                  <a:lnTo>
                    <a:pt x="408" y="1266"/>
                  </a:lnTo>
                  <a:lnTo>
                    <a:pt x="402" y="1260"/>
                  </a:lnTo>
                  <a:lnTo>
                    <a:pt x="384" y="1260"/>
                  </a:lnTo>
                  <a:lnTo>
                    <a:pt x="372" y="1266"/>
                  </a:lnTo>
                  <a:lnTo>
                    <a:pt x="360" y="1272"/>
                  </a:lnTo>
                  <a:lnTo>
                    <a:pt x="348" y="1272"/>
                  </a:lnTo>
                  <a:lnTo>
                    <a:pt x="342" y="1284"/>
                  </a:lnTo>
                  <a:lnTo>
                    <a:pt x="336" y="1290"/>
                  </a:lnTo>
                  <a:lnTo>
                    <a:pt x="336" y="1308"/>
                  </a:lnTo>
                  <a:lnTo>
                    <a:pt x="336" y="1314"/>
                  </a:lnTo>
                  <a:lnTo>
                    <a:pt x="336" y="1320"/>
                  </a:lnTo>
                  <a:lnTo>
                    <a:pt x="330" y="1326"/>
                  </a:lnTo>
                  <a:lnTo>
                    <a:pt x="330" y="1332"/>
                  </a:lnTo>
                  <a:lnTo>
                    <a:pt x="330" y="1338"/>
                  </a:lnTo>
                  <a:lnTo>
                    <a:pt x="300" y="1338"/>
                  </a:lnTo>
                  <a:lnTo>
                    <a:pt x="288" y="1338"/>
                  </a:lnTo>
                  <a:lnTo>
                    <a:pt x="258" y="1326"/>
                  </a:lnTo>
                  <a:lnTo>
                    <a:pt x="246" y="1332"/>
                  </a:lnTo>
                  <a:lnTo>
                    <a:pt x="240" y="1338"/>
                  </a:lnTo>
                  <a:lnTo>
                    <a:pt x="234" y="1338"/>
                  </a:lnTo>
                  <a:lnTo>
                    <a:pt x="228" y="1350"/>
                  </a:lnTo>
                  <a:lnTo>
                    <a:pt x="228" y="1374"/>
                  </a:lnTo>
                  <a:lnTo>
                    <a:pt x="234" y="1392"/>
                  </a:lnTo>
                  <a:lnTo>
                    <a:pt x="246" y="1398"/>
                  </a:lnTo>
                  <a:lnTo>
                    <a:pt x="246" y="1410"/>
                  </a:lnTo>
                  <a:lnTo>
                    <a:pt x="216" y="1428"/>
                  </a:lnTo>
                  <a:lnTo>
                    <a:pt x="198" y="1428"/>
                  </a:lnTo>
                  <a:lnTo>
                    <a:pt x="192" y="1422"/>
                  </a:lnTo>
                  <a:lnTo>
                    <a:pt x="174" y="1410"/>
                  </a:lnTo>
                  <a:lnTo>
                    <a:pt x="156" y="1386"/>
                  </a:lnTo>
                  <a:lnTo>
                    <a:pt x="132" y="1374"/>
                  </a:lnTo>
                  <a:lnTo>
                    <a:pt x="108" y="1368"/>
                  </a:lnTo>
                  <a:lnTo>
                    <a:pt x="84" y="1368"/>
                  </a:lnTo>
                  <a:lnTo>
                    <a:pt x="96" y="1356"/>
                  </a:lnTo>
                  <a:lnTo>
                    <a:pt x="102" y="1344"/>
                  </a:lnTo>
                  <a:lnTo>
                    <a:pt x="102" y="1332"/>
                  </a:lnTo>
                  <a:lnTo>
                    <a:pt x="108" y="1320"/>
                  </a:lnTo>
                  <a:lnTo>
                    <a:pt x="108" y="1302"/>
                  </a:lnTo>
                  <a:lnTo>
                    <a:pt x="96" y="1278"/>
                  </a:lnTo>
                  <a:lnTo>
                    <a:pt x="66" y="1284"/>
                  </a:lnTo>
                  <a:lnTo>
                    <a:pt x="54" y="1278"/>
                  </a:lnTo>
                  <a:lnTo>
                    <a:pt x="36" y="1278"/>
                  </a:lnTo>
                  <a:lnTo>
                    <a:pt x="18" y="1284"/>
                  </a:lnTo>
                  <a:lnTo>
                    <a:pt x="18" y="1272"/>
                  </a:lnTo>
                  <a:lnTo>
                    <a:pt x="24" y="1260"/>
                  </a:lnTo>
                  <a:lnTo>
                    <a:pt x="24" y="1254"/>
                  </a:lnTo>
                  <a:lnTo>
                    <a:pt x="30" y="1248"/>
                  </a:lnTo>
                  <a:lnTo>
                    <a:pt x="24" y="1230"/>
                  </a:lnTo>
                  <a:lnTo>
                    <a:pt x="30" y="1218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30" y="1170"/>
                  </a:lnTo>
                  <a:lnTo>
                    <a:pt x="30" y="1152"/>
                  </a:lnTo>
                  <a:lnTo>
                    <a:pt x="24" y="1146"/>
                  </a:lnTo>
                  <a:lnTo>
                    <a:pt x="0" y="1116"/>
                  </a:lnTo>
                  <a:lnTo>
                    <a:pt x="6" y="1092"/>
                  </a:lnTo>
                  <a:lnTo>
                    <a:pt x="18" y="1056"/>
                  </a:lnTo>
                  <a:lnTo>
                    <a:pt x="24" y="1050"/>
                  </a:lnTo>
                  <a:lnTo>
                    <a:pt x="24" y="1038"/>
                  </a:lnTo>
                  <a:lnTo>
                    <a:pt x="24" y="1026"/>
                  </a:lnTo>
                  <a:lnTo>
                    <a:pt x="30" y="1002"/>
                  </a:lnTo>
                  <a:lnTo>
                    <a:pt x="36" y="990"/>
                  </a:lnTo>
                  <a:lnTo>
                    <a:pt x="42" y="984"/>
                  </a:lnTo>
                  <a:lnTo>
                    <a:pt x="54" y="984"/>
                  </a:lnTo>
                  <a:lnTo>
                    <a:pt x="66" y="978"/>
                  </a:lnTo>
                  <a:lnTo>
                    <a:pt x="72" y="978"/>
                  </a:lnTo>
                  <a:lnTo>
                    <a:pt x="90" y="978"/>
                  </a:lnTo>
                  <a:lnTo>
                    <a:pt x="102" y="972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78"/>
                  </a:lnTo>
                  <a:lnTo>
                    <a:pt x="120" y="984"/>
                  </a:lnTo>
                  <a:lnTo>
                    <a:pt x="138" y="984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6" y="972"/>
                  </a:lnTo>
                  <a:lnTo>
                    <a:pt x="156" y="966"/>
                  </a:lnTo>
                  <a:lnTo>
                    <a:pt x="156" y="960"/>
                  </a:lnTo>
                  <a:lnTo>
                    <a:pt x="180" y="948"/>
                  </a:lnTo>
                  <a:lnTo>
                    <a:pt x="186" y="924"/>
                  </a:lnTo>
                  <a:lnTo>
                    <a:pt x="192" y="918"/>
                  </a:lnTo>
                  <a:lnTo>
                    <a:pt x="228" y="924"/>
                  </a:lnTo>
                  <a:lnTo>
                    <a:pt x="246" y="906"/>
                  </a:lnTo>
                  <a:lnTo>
                    <a:pt x="240" y="888"/>
                  </a:lnTo>
                  <a:lnTo>
                    <a:pt x="234" y="888"/>
                  </a:lnTo>
                  <a:lnTo>
                    <a:pt x="234" y="882"/>
                  </a:lnTo>
                  <a:lnTo>
                    <a:pt x="228" y="870"/>
                  </a:lnTo>
                  <a:lnTo>
                    <a:pt x="228" y="864"/>
                  </a:lnTo>
                  <a:lnTo>
                    <a:pt x="222" y="864"/>
                  </a:lnTo>
                  <a:lnTo>
                    <a:pt x="216" y="858"/>
                  </a:lnTo>
                  <a:lnTo>
                    <a:pt x="198" y="852"/>
                  </a:lnTo>
                  <a:lnTo>
                    <a:pt x="192" y="852"/>
                  </a:lnTo>
                  <a:lnTo>
                    <a:pt x="186" y="846"/>
                  </a:lnTo>
                  <a:lnTo>
                    <a:pt x="174" y="834"/>
                  </a:lnTo>
                  <a:lnTo>
                    <a:pt x="162" y="822"/>
                  </a:lnTo>
                  <a:lnTo>
                    <a:pt x="156" y="816"/>
                  </a:lnTo>
                  <a:lnTo>
                    <a:pt x="162" y="810"/>
                  </a:lnTo>
                  <a:lnTo>
                    <a:pt x="174" y="798"/>
                  </a:lnTo>
                  <a:lnTo>
                    <a:pt x="180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68"/>
                  </a:lnTo>
                  <a:lnTo>
                    <a:pt x="192" y="744"/>
                  </a:lnTo>
                  <a:lnTo>
                    <a:pt x="186" y="708"/>
                  </a:lnTo>
                  <a:lnTo>
                    <a:pt x="174" y="690"/>
                  </a:lnTo>
                  <a:lnTo>
                    <a:pt x="168" y="672"/>
                  </a:lnTo>
                  <a:lnTo>
                    <a:pt x="156" y="630"/>
                  </a:lnTo>
                  <a:lnTo>
                    <a:pt x="156" y="606"/>
                  </a:lnTo>
                  <a:lnTo>
                    <a:pt x="150" y="606"/>
                  </a:lnTo>
                  <a:lnTo>
                    <a:pt x="150" y="600"/>
                  </a:lnTo>
                  <a:lnTo>
                    <a:pt x="144" y="600"/>
                  </a:lnTo>
                  <a:lnTo>
                    <a:pt x="150" y="594"/>
                  </a:lnTo>
                  <a:lnTo>
                    <a:pt x="144" y="588"/>
                  </a:lnTo>
                  <a:lnTo>
                    <a:pt x="138" y="558"/>
                  </a:lnTo>
                  <a:lnTo>
                    <a:pt x="138" y="528"/>
                  </a:lnTo>
                  <a:lnTo>
                    <a:pt x="132" y="480"/>
                  </a:lnTo>
                  <a:lnTo>
                    <a:pt x="132" y="462"/>
                  </a:lnTo>
                  <a:lnTo>
                    <a:pt x="126" y="426"/>
                  </a:lnTo>
                  <a:lnTo>
                    <a:pt x="126" y="396"/>
                  </a:lnTo>
                  <a:lnTo>
                    <a:pt x="126" y="378"/>
                  </a:lnTo>
                  <a:lnTo>
                    <a:pt x="126" y="360"/>
                  </a:lnTo>
                  <a:lnTo>
                    <a:pt x="132" y="318"/>
                  </a:lnTo>
                  <a:lnTo>
                    <a:pt x="132" y="24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2" y="210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92" y="198"/>
                  </a:lnTo>
                  <a:lnTo>
                    <a:pt x="198" y="198"/>
                  </a:lnTo>
                  <a:lnTo>
                    <a:pt x="216" y="180"/>
                  </a:lnTo>
                  <a:lnTo>
                    <a:pt x="222" y="174"/>
                  </a:lnTo>
                  <a:lnTo>
                    <a:pt x="222" y="168"/>
                  </a:lnTo>
                  <a:lnTo>
                    <a:pt x="228" y="168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44"/>
                  </a:lnTo>
                  <a:lnTo>
                    <a:pt x="258" y="144"/>
                  </a:lnTo>
                  <a:lnTo>
                    <a:pt x="276" y="150"/>
                  </a:lnTo>
                  <a:lnTo>
                    <a:pt x="300" y="150"/>
                  </a:lnTo>
                  <a:lnTo>
                    <a:pt x="312" y="150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8" y="156"/>
                  </a:lnTo>
                  <a:lnTo>
                    <a:pt x="354" y="150"/>
                  </a:lnTo>
                  <a:lnTo>
                    <a:pt x="372" y="144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08" y="126"/>
                  </a:lnTo>
                  <a:lnTo>
                    <a:pt x="414" y="120"/>
                  </a:lnTo>
                  <a:lnTo>
                    <a:pt x="420" y="120"/>
                  </a:lnTo>
                  <a:lnTo>
                    <a:pt x="426" y="120"/>
                  </a:lnTo>
                  <a:lnTo>
                    <a:pt x="432" y="114"/>
                  </a:lnTo>
                  <a:lnTo>
                    <a:pt x="450" y="102"/>
                  </a:lnTo>
                  <a:lnTo>
                    <a:pt x="456" y="96"/>
                  </a:lnTo>
                  <a:lnTo>
                    <a:pt x="468" y="90"/>
                  </a:lnTo>
                  <a:lnTo>
                    <a:pt x="474" y="90"/>
                  </a:lnTo>
                  <a:lnTo>
                    <a:pt x="480" y="84"/>
                  </a:lnTo>
                  <a:lnTo>
                    <a:pt x="486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504" y="72"/>
                  </a:lnTo>
                  <a:lnTo>
                    <a:pt x="510" y="66"/>
                  </a:lnTo>
                  <a:lnTo>
                    <a:pt x="516" y="66"/>
                  </a:lnTo>
                  <a:lnTo>
                    <a:pt x="522" y="60"/>
                  </a:lnTo>
                  <a:lnTo>
                    <a:pt x="552" y="42"/>
                  </a:lnTo>
                  <a:lnTo>
                    <a:pt x="558" y="36"/>
                  </a:lnTo>
                  <a:lnTo>
                    <a:pt x="576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94" y="18"/>
                  </a:lnTo>
                  <a:lnTo>
                    <a:pt x="600" y="12"/>
                  </a:lnTo>
                  <a:lnTo>
                    <a:pt x="612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6"/>
                  </a:lnTo>
                  <a:lnTo>
                    <a:pt x="648" y="6"/>
                  </a:lnTo>
                  <a:lnTo>
                    <a:pt x="660" y="6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38" y="18"/>
                  </a:lnTo>
                  <a:lnTo>
                    <a:pt x="744" y="18"/>
                  </a:lnTo>
                  <a:lnTo>
                    <a:pt x="756" y="18"/>
                  </a:lnTo>
                  <a:lnTo>
                    <a:pt x="762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80" y="24"/>
                  </a:lnTo>
                  <a:lnTo>
                    <a:pt x="792" y="24"/>
                  </a:lnTo>
                  <a:lnTo>
                    <a:pt x="792" y="30"/>
                  </a:lnTo>
                  <a:lnTo>
                    <a:pt x="810" y="30"/>
                  </a:lnTo>
                  <a:lnTo>
                    <a:pt x="822" y="36"/>
                  </a:lnTo>
                  <a:lnTo>
                    <a:pt x="834" y="42"/>
                  </a:lnTo>
                  <a:lnTo>
                    <a:pt x="840" y="48"/>
                  </a:lnTo>
                  <a:lnTo>
                    <a:pt x="846" y="54"/>
                  </a:lnTo>
                  <a:lnTo>
                    <a:pt x="852" y="60"/>
                  </a:lnTo>
                  <a:lnTo>
                    <a:pt x="858" y="66"/>
                  </a:lnTo>
                  <a:lnTo>
                    <a:pt x="864" y="66"/>
                  </a:lnTo>
                  <a:lnTo>
                    <a:pt x="864" y="72"/>
                  </a:lnTo>
                  <a:lnTo>
                    <a:pt x="876" y="78"/>
                  </a:lnTo>
                  <a:lnTo>
                    <a:pt x="900" y="84"/>
                  </a:lnTo>
                  <a:lnTo>
                    <a:pt x="906" y="90"/>
                  </a:lnTo>
                  <a:lnTo>
                    <a:pt x="912" y="90"/>
                  </a:lnTo>
                  <a:lnTo>
                    <a:pt x="912" y="96"/>
                  </a:lnTo>
                  <a:lnTo>
                    <a:pt x="924" y="108"/>
                  </a:lnTo>
                  <a:lnTo>
                    <a:pt x="930" y="108"/>
                  </a:lnTo>
                  <a:lnTo>
                    <a:pt x="936" y="114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60" y="138"/>
                  </a:lnTo>
                  <a:lnTo>
                    <a:pt x="966" y="144"/>
                  </a:lnTo>
                  <a:lnTo>
                    <a:pt x="972" y="156"/>
                  </a:lnTo>
                  <a:lnTo>
                    <a:pt x="978" y="162"/>
                  </a:lnTo>
                  <a:lnTo>
                    <a:pt x="984" y="162"/>
                  </a:lnTo>
                  <a:lnTo>
                    <a:pt x="990" y="168"/>
                  </a:lnTo>
                  <a:lnTo>
                    <a:pt x="996" y="174"/>
                  </a:lnTo>
                  <a:lnTo>
                    <a:pt x="1002" y="180"/>
                  </a:lnTo>
                  <a:lnTo>
                    <a:pt x="1008" y="180"/>
                  </a:lnTo>
                  <a:lnTo>
                    <a:pt x="1020" y="180"/>
                  </a:lnTo>
                  <a:lnTo>
                    <a:pt x="1038" y="174"/>
                  </a:lnTo>
                  <a:lnTo>
                    <a:pt x="1050" y="174"/>
                  </a:lnTo>
                  <a:lnTo>
                    <a:pt x="1056" y="174"/>
                  </a:lnTo>
                  <a:lnTo>
                    <a:pt x="1068" y="180"/>
                  </a:lnTo>
                  <a:lnTo>
                    <a:pt x="1080" y="180"/>
                  </a:lnTo>
                  <a:lnTo>
                    <a:pt x="1086" y="186"/>
                  </a:lnTo>
                  <a:lnTo>
                    <a:pt x="1098" y="192"/>
                  </a:lnTo>
                  <a:lnTo>
                    <a:pt x="1116" y="204"/>
                  </a:lnTo>
                  <a:lnTo>
                    <a:pt x="1122" y="210"/>
                  </a:lnTo>
                  <a:lnTo>
                    <a:pt x="1134" y="222"/>
                  </a:lnTo>
                  <a:lnTo>
                    <a:pt x="1146" y="234"/>
                  </a:lnTo>
                  <a:lnTo>
                    <a:pt x="1146" y="240"/>
                  </a:lnTo>
                  <a:lnTo>
                    <a:pt x="1152" y="246"/>
                  </a:lnTo>
                  <a:lnTo>
                    <a:pt x="1152" y="252"/>
                  </a:lnTo>
                  <a:lnTo>
                    <a:pt x="1152" y="258"/>
                  </a:lnTo>
                  <a:lnTo>
                    <a:pt x="1164" y="258"/>
                  </a:lnTo>
                  <a:lnTo>
                    <a:pt x="1170" y="264"/>
                  </a:lnTo>
                  <a:lnTo>
                    <a:pt x="1182" y="270"/>
                  </a:lnTo>
                  <a:lnTo>
                    <a:pt x="1188" y="270"/>
                  </a:lnTo>
                  <a:lnTo>
                    <a:pt x="1194" y="270"/>
                  </a:lnTo>
                  <a:lnTo>
                    <a:pt x="1206" y="276"/>
                  </a:lnTo>
                  <a:lnTo>
                    <a:pt x="1224" y="282"/>
                  </a:lnTo>
                  <a:lnTo>
                    <a:pt x="1236" y="282"/>
                  </a:lnTo>
                  <a:lnTo>
                    <a:pt x="1242" y="288"/>
                  </a:lnTo>
                  <a:lnTo>
                    <a:pt x="1254" y="288"/>
                  </a:lnTo>
                  <a:lnTo>
                    <a:pt x="1266" y="294"/>
                  </a:lnTo>
                  <a:lnTo>
                    <a:pt x="1272" y="294"/>
                  </a:lnTo>
                  <a:lnTo>
                    <a:pt x="1284" y="300"/>
                  </a:lnTo>
                  <a:lnTo>
                    <a:pt x="1290" y="300"/>
                  </a:lnTo>
                  <a:lnTo>
                    <a:pt x="1296" y="300"/>
                  </a:lnTo>
                  <a:lnTo>
                    <a:pt x="1302" y="306"/>
                  </a:lnTo>
                  <a:lnTo>
                    <a:pt x="1326" y="312"/>
                  </a:lnTo>
                  <a:lnTo>
                    <a:pt x="1338" y="312"/>
                  </a:lnTo>
                  <a:lnTo>
                    <a:pt x="1338" y="318"/>
                  </a:lnTo>
                  <a:lnTo>
                    <a:pt x="1344" y="318"/>
                  </a:lnTo>
                  <a:lnTo>
                    <a:pt x="1350" y="318"/>
                  </a:lnTo>
                  <a:lnTo>
                    <a:pt x="1362" y="324"/>
                  </a:lnTo>
                  <a:lnTo>
                    <a:pt x="1368" y="318"/>
                  </a:lnTo>
                  <a:lnTo>
                    <a:pt x="1374" y="318"/>
                  </a:lnTo>
                  <a:lnTo>
                    <a:pt x="1386" y="318"/>
                  </a:lnTo>
                  <a:lnTo>
                    <a:pt x="1398" y="324"/>
                  </a:lnTo>
                  <a:lnTo>
                    <a:pt x="1398" y="342"/>
                  </a:lnTo>
                  <a:lnTo>
                    <a:pt x="1356" y="342"/>
                  </a:lnTo>
                  <a:lnTo>
                    <a:pt x="1350" y="348"/>
                  </a:lnTo>
                  <a:lnTo>
                    <a:pt x="1350" y="372"/>
                  </a:lnTo>
                  <a:lnTo>
                    <a:pt x="1338" y="384"/>
                  </a:lnTo>
                  <a:lnTo>
                    <a:pt x="1332" y="408"/>
                  </a:lnTo>
                  <a:lnTo>
                    <a:pt x="1320" y="420"/>
                  </a:lnTo>
                  <a:lnTo>
                    <a:pt x="1254" y="426"/>
                  </a:lnTo>
                  <a:lnTo>
                    <a:pt x="1248" y="432"/>
                  </a:lnTo>
                  <a:lnTo>
                    <a:pt x="1230" y="432"/>
                  </a:lnTo>
                  <a:lnTo>
                    <a:pt x="1212" y="432"/>
                  </a:lnTo>
                  <a:lnTo>
                    <a:pt x="1212" y="426"/>
                  </a:lnTo>
                  <a:lnTo>
                    <a:pt x="1200" y="426"/>
                  </a:lnTo>
                  <a:lnTo>
                    <a:pt x="1182" y="414"/>
                  </a:lnTo>
                  <a:lnTo>
                    <a:pt x="1182" y="420"/>
                  </a:lnTo>
                  <a:lnTo>
                    <a:pt x="1164" y="420"/>
                  </a:lnTo>
                  <a:lnTo>
                    <a:pt x="1158" y="414"/>
                  </a:lnTo>
                  <a:lnTo>
                    <a:pt x="1152" y="408"/>
                  </a:lnTo>
                  <a:lnTo>
                    <a:pt x="1146" y="402"/>
                  </a:lnTo>
                  <a:lnTo>
                    <a:pt x="1122" y="396"/>
                  </a:lnTo>
                  <a:lnTo>
                    <a:pt x="1116" y="366"/>
                  </a:lnTo>
                  <a:lnTo>
                    <a:pt x="1116" y="348"/>
                  </a:lnTo>
                  <a:lnTo>
                    <a:pt x="1110" y="342"/>
                  </a:lnTo>
                  <a:lnTo>
                    <a:pt x="1104" y="336"/>
                  </a:lnTo>
                  <a:lnTo>
                    <a:pt x="1092" y="330"/>
                  </a:lnTo>
                  <a:lnTo>
                    <a:pt x="1074" y="330"/>
                  </a:lnTo>
                  <a:lnTo>
                    <a:pt x="1044" y="330"/>
                  </a:lnTo>
                  <a:lnTo>
                    <a:pt x="1014" y="336"/>
                  </a:lnTo>
                  <a:lnTo>
                    <a:pt x="984" y="342"/>
                  </a:lnTo>
                  <a:lnTo>
                    <a:pt x="978" y="330"/>
                  </a:lnTo>
                  <a:lnTo>
                    <a:pt x="966" y="324"/>
                  </a:lnTo>
                  <a:lnTo>
                    <a:pt x="888" y="336"/>
                  </a:lnTo>
                  <a:lnTo>
                    <a:pt x="888" y="330"/>
                  </a:lnTo>
                  <a:lnTo>
                    <a:pt x="870" y="336"/>
                  </a:lnTo>
                  <a:lnTo>
                    <a:pt x="858" y="336"/>
                  </a:lnTo>
                  <a:lnTo>
                    <a:pt x="852" y="354"/>
                  </a:lnTo>
                  <a:lnTo>
                    <a:pt x="852" y="402"/>
                  </a:lnTo>
                  <a:lnTo>
                    <a:pt x="840" y="414"/>
                  </a:lnTo>
                  <a:lnTo>
                    <a:pt x="834" y="420"/>
                  </a:lnTo>
                  <a:lnTo>
                    <a:pt x="834" y="444"/>
                  </a:lnTo>
                  <a:lnTo>
                    <a:pt x="834" y="450"/>
                  </a:lnTo>
                  <a:lnTo>
                    <a:pt x="852" y="456"/>
                  </a:lnTo>
                  <a:lnTo>
                    <a:pt x="864" y="462"/>
                  </a:lnTo>
                  <a:lnTo>
                    <a:pt x="894" y="456"/>
                  </a:lnTo>
                  <a:lnTo>
                    <a:pt x="900" y="468"/>
                  </a:lnTo>
                  <a:lnTo>
                    <a:pt x="918" y="462"/>
                  </a:lnTo>
                  <a:lnTo>
                    <a:pt x="924" y="468"/>
                  </a:lnTo>
                  <a:lnTo>
                    <a:pt x="924" y="47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2" name="Freeform 37">
              <a:extLst>
                <a:ext uri="{FF2B5EF4-FFF2-40B4-BE49-F238E27FC236}">
                  <a16:creationId xmlns:a16="http://schemas.microsoft.com/office/drawing/2014/main" id="{DED8A1FF-B656-4D37-BD26-5B0A7B1A4A6D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441" y="1898343"/>
              <a:ext cx="567992" cy="686605"/>
            </a:xfrm>
            <a:custGeom>
              <a:avLst/>
              <a:gdLst>
                <a:gd name="T0" fmla="*/ 79 w 1068"/>
                <a:gd name="T1" fmla="*/ 72 h 1290"/>
                <a:gd name="T2" fmla="*/ 75 w 1068"/>
                <a:gd name="T3" fmla="*/ 73 h 1290"/>
                <a:gd name="T4" fmla="*/ 72 w 1068"/>
                <a:gd name="T5" fmla="*/ 76 h 1290"/>
                <a:gd name="T6" fmla="*/ 70 w 1068"/>
                <a:gd name="T7" fmla="*/ 78 h 1290"/>
                <a:gd name="T8" fmla="*/ 67 w 1068"/>
                <a:gd name="T9" fmla="*/ 82 h 1290"/>
                <a:gd name="T10" fmla="*/ 61 w 1068"/>
                <a:gd name="T11" fmla="*/ 86 h 1290"/>
                <a:gd name="T12" fmla="*/ 60 w 1068"/>
                <a:gd name="T13" fmla="*/ 93 h 1290"/>
                <a:gd name="T14" fmla="*/ 59 w 1068"/>
                <a:gd name="T15" fmla="*/ 97 h 1290"/>
                <a:gd name="T16" fmla="*/ 61 w 1068"/>
                <a:gd name="T17" fmla="*/ 101 h 1290"/>
                <a:gd name="T18" fmla="*/ 63 w 1068"/>
                <a:gd name="T19" fmla="*/ 104 h 1290"/>
                <a:gd name="T20" fmla="*/ 62 w 1068"/>
                <a:gd name="T21" fmla="*/ 108 h 1290"/>
                <a:gd name="T22" fmla="*/ 60 w 1068"/>
                <a:gd name="T23" fmla="*/ 111 h 1290"/>
                <a:gd name="T24" fmla="*/ 56 w 1068"/>
                <a:gd name="T25" fmla="*/ 111 h 1290"/>
                <a:gd name="T26" fmla="*/ 53 w 1068"/>
                <a:gd name="T27" fmla="*/ 110 h 1290"/>
                <a:gd name="T28" fmla="*/ 50 w 1068"/>
                <a:gd name="T29" fmla="*/ 109 h 1290"/>
                <a:gd name="T30" fmla="*/ 47 w 1068"/>
                <a:gd name="T31" fmla="*/ 110 h 1290"/>
                <a:gd name="T32" fmla="*/ 51 w 1068"/>
                <a:gd name="T33" fmla="*/ 104 h 1290"/>
                <a:gd name="T34" fmla="*/ 50 w 1068"/>
                <a:gd name="T35" fmla="*/ 95 h 1290"/>
                <a:gd name="T36" fmla="*/ 51 w 1068"/>
                <a:gd name="T37" fmla="*/ 90 h 1290"/>
                <a:gd name="T38" fmla="*/ 47 w 1068"/>
                <a:gd name="T39" fmla="*/ 84 h 1290"/>
                <a:gd name="T40" fmla="*/ 42 w 1068"/>
                <a:gd name="T41" fmla="*/ 78 h 1290"/>
                <a:gd name="T42" fmla="*/ 33 w 1068"/>
                <a:gd name="T43" fmla="*/ 73 h 1290"/>
                <a:gd name="T44" fmla="*/ 26 w 1068"/>
                <a:gd name="T45" fmla="*/ 68 h 1290"/>
                <a:gd name="T46" fmla="*/ 22 w 1068"/>
                <a:gd name="T47" fmla="*/ 63 h 1290"/>
                <a:gd name="T48" fmla="*/ 11 w 1068"/>
                <a:gd name="T49" fmla="*/ 67 h 1290"/>
                <a:gd name="T50" fmla="*/ 0 w 1068"/>
                <a:gd name="T51" fmla="*/ 68 h 1290"/>
                <a:gd name="T52" fmla="*/ 2 w 1068"/>
                <a:gd name="T53" fmla="*/ 59 h 1290"/>
                <a:gd name="T54" fmla="*/ 12 w 1068"/>
                <a:gd name="T55" fmla="*/ 55 h 1290"/>
                <a:gd name="T56" fmla="*/ 12 w 1068"/>
                <a:gd name="T57" fmla="*/ 51 h 1290"/>
                <a:gd name="T58" fmla="*/ 10 w 1068"/>
                <a:gd name="T59" fmla="*/ 47 h 1290"/>
                <a:gd name="T60" fmla="*/ 9 w 1068"/>
                <a:gd name="T61" fmla="*/ 42 h 1290"/>
                <a:gd name="T62" fmla="*/ 8 w 1068"/>
                <a:gd name="T63" fmla="*/ 38 h 1290"/>
                <a:gd name="T64" fmla="*/ 8 w 1068"/>
                <a:gd name="T65" fmla="*/ 29 h 1290"/>
                <a:gd name="T66" fmla="*/ 10 w 1068"/>
                <a:gd name="T67" fmla="*/ 18 h 1290"/>
                <a:gd name="T68" fmla="*/ 25 w 1068"/>
                <a:gd name="T69" fmla="*/ 12 h 1290"/>
                <a:gd name="T70" fmla="*/ 27 w 1068"/>
                <a:gd name="T71" fmla="*/ 4 h 1290"/>
                <a:gd name="T72" fmla="*/ 35 w 1068"/>
                <a:gd name="T73" fmla="*/ 6 h 1290"/>
                <a:gd name="T74" fmla="*/ 39 w 1068"/>
                <a:gd name="T75" fmla="*/ 8 h 1290"/>
                <a:gd name="T76" fmla="*/ 41 w 1068"/>
                <a:gd name="T77" fmla="*/ 3 h 1290"/>
                <a:gd name="T78" fmla="*/ 45 w 1068"/>
                <a:gd name="T79" fmla="*/ 0 h 1290"/>
                <a:gd name="T80" fmla="*/ 51 w 1068"/>
                <a:gd name="T81" fmla="*/ 0 h 1290"/>
                <a:gd name="T82" fmla="*/ 56 w 1068"/>
                <a:gd name="T83" fmla="*/ 4 h 1290"/>
                <a:gd name="T84" fmla="*/ 62 w 1068"/>
                <a:gd name="T85" fmla="*/ 12 h 1290"/>
                <a:gd name="T86" fmla="*/ 58 w 1068"/>
                <a:gd name="T87" fmla="*/ 17 h 1290"/>
                <a:gd name="T88" fmla="*/ 60 w 1068"/>
                <a:gd name="T89" fmla="*/ 18 h 1290"/>
                <a:gd name="T90" fmla="*/ 64 w 1068"/>
                <a:gd name="T91" fmla="*/ 16 h 1290"/>
                <a:gd name="T92" fmla="*/ 68 w 1068"/>
                <a:gd name="T93" fmla="*/ 18 h 1290"/>
                <a:gd name="T94" fmla="*/ 71 w 1068"/>
                <a:gd name="T95" fmla="*/ 27 h 1290"/>
                <a:gd name="T96" fmla="*/ 74 w 1068"/>
                <a:gd name="T97" fmla="*/ 30 h 1290"/>
                <a:gd name="T98" fmla="*/ 82 w 1068"/>
                <a:gd name="T99" fmla="*/ 30 h 1290"/>
                <a:gd name="T100" fmla="*/ 87 w 1068"/>
                <a:gd name="T101" fmla="*/ 35 h 1290"/>
                <a:gd name="T102" fmla="*/ 85 w 1068"/>
                <a:gd name="T103" fmla="*/ 42 h 1290"/>
                <a:gd name="T104" fmla="*/ 81 w 1068"/>
                <a:gd name="T105" fmla="*/ 46 h 1290"/>
                <a:gd name="T106" fmla="*/ 86 w 1068"/>
                <a:gd name="T107" fmla="*/ 50 h 1290"/>
                <a:gd name="T108" fmla="*/ 89 w 1068"/>
                <a:gd name="T109" fmla="*/ 58 h 1290"/>
                <a:gd name="T110" fmla="*/ 92 w 1068"/>
                <a:gd name="T111" fmla="*/ 61 h 1290"/>
                <a:gd name="T112" fmla="*/ 86 w 1068"/>
                <a:gd name="T113" fmla="*/ 66 h 1290"/>
                <a:gd name="T114" fmla="*/ 85 w 1068"/>
                <a:gd name="T115" fmla="*/ 70 h 129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68"/>
                <a:gd name="T175" fmla="*/ 0 h 1290"/>
                <a:gd name="T176" fmla="*/ 1068 w 1068"/>
                <a:gd name="T177" fmla="*/ 1290 h 129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68" h="1290">
                  <a:moveTo>
                    <a:pt x="978" y="804"/>
                  </a:moveTo>
                  <a:lnTo>
                    <a:pt x="972" y="810"/>
                  </a:lnTo>
                  <a:lnTo>
                    <a:pt x="966" y="810"/>
                  </a:lnTo>
                  <a:lnTo>
                    <a:pt x="966" y="816"/>
                  </a:lnTo>
                  <a:lnTo>
                    <a:pt x="936" y="828"/>
                  </a:lnTo>
                  <a:lnTo>
                    <a:pt x="924" y="822"/>
                  </a:lnTo>
                  <a:lnTo>
                    <a:pt x="912" y="822"/>
                  </a:lnTo>
                  <a:lnTo>
                    <a:pt x="906" y="828"/>
                  </a:lnTo>
                  <a:lnTo>
                    <a:pt x="900" y="828"/>
                  </a:lnTo>
                  <a:lnTo>
                    <a:pt x="900" y="822"/>
                  </a:lnTo>
                  <a:lnTo>
                    <a:pt x="894" y="822"/>
                  </a:lnTo>
                  <a:lnTo>
                    <a:pt x="888" y="828"/>
                  </a:lnTo>
                  <a:lnTo>
                    <a:pt x="882" y="834"/>
                  </a:lnTo>
                  <a:lnTo>
                    <a:pt x="876" y="834"/>
                  </a:lnTo>
                  <a:lnTo>
                    <a:pt x="870" y="840"/>
                  </a:lnTo>
                  <a:lnTo>
                    <a:pt x="864" y="840"/>
                  </a:lnTo>
                  <a:lnTo>
                    <a:pt x="864" y="846"/>
                  </a:lnTo>
                  <a:lnTo>
                    <a:pt x="858" y="846"/>
                  </a:lnTo>
                  <a:lnTo>
                    <a:pt x="852" y="846"/>
                  </a:lnTo>
                  <a:lnTo>
                    <a:pt x="852" y="858"/>
                  </a:lnTo>
                  <a:lnTo>
                    <a:pt x="846" y="864"/>
                  </a:lnTo>
                  <a:lnTo>
                    <a:pt x="840" y="870"/>
                  </a:lnTo>
                  <a:lnTo>
                    <a:pt x="834" y="870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34" y="876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10" y="894"/>
                  </a:lnTo>
                  <a:lnTo>
                    <a:pt x="810" y="900"/>
                  </a:lnTo>
                  <a:lnTo>
                    <a:pt x="804" y="900"/>
                  </a:lnTo>
                  <a:lnTo>
                    <a:pt x="798" y="900"/>
                  </a:lnTo>
                  <a:lnTo>
                    <a:pt x="798" y="906"/>
                  </a:lnTo>
                  <a:lnTo>
                    <a:pt x="792" y="906"/>
                  </a:lnTo>
                  <a:lnTo>
                    <a:pt x="792" y="912"/>
                  </a:lnTo>
                  <a:lnTo>
                    <a:pt x="792" y="924"/>
                  </a:lnTo>
                  <a:lnTo>
                    <a:pt x="786" y="930"/>
                  </a:lnTo>
                  <a:lnTo>
                    <a:pt x="774" y="942"/>
                  </a:lnTo>
                  <a:lnTo>
                    <a:pt x="774" y="948"/>
                  </a:lnTo>
                  <a:lnTo>
                    <a:pt x="768" y="954"/>
                  </a:lnTo>
                  <a:lnTo>
                    <a:pt x="762" y="954"/>
                  </a:lnTo>
                  <a:lnTo>
                    <a:pt x="750" y="972"/>
                  </a:lnTo>
                  <a:lnTo>
                    <a:pt x="720" y="978"/>
                  </a:lnTo>
                  <a:lnTo>
                    <a:pt x="714" y="978"/>
                  </a:lnTo>
                  <a:lnTo>
                    <a:pt x="708" y="978"/>
                  </a:lnTo>
                  <a:lnTo>
                    <a:pt x="702" y="990"/>
                  </a:lnTo>
                  <a:lnTo>
                    <a:pt x="696" y="990"/>
                  </a:lnTo>
                  <a:lnTo>
                    <a:pt x="696" y="1008"/>
                  </a:lnTo>
                  <a:lnTo>
                    <a:pt x="690" y="1008"/>
                  </a:lnTo>
                  <a:lnTo>
                    <a:pt x="690" y="1014"/>
                  </a:lnTo>
                  <a:lnTo>
                    <a:pt x="684" y="1032"/>
                  </a:lnTo>
                  <a:lnTo>
                    <a:pt x="690" y="1050"/>
                  </a:lnTo>
                  <a:lnTo>
                    <a:pt x="690" y="1062"/>
                  </a:lnTo>
                  <a:lnTo>
                    <a:pt x="690" y="1068"/>
                  </a:lnTo>
                  <a:lnTo>
                    <a:pt x="690" y="1074"/>
                  </a:lnTo>
                  <a:lnTo>
                    <a:pt x="684" y="1074"/>
                  </a:lnTo>
                  <a:lnTo>
                    <a:pt x="684" y="1080"/>
                  </a:lnTo>
                  <a:lnTo>
                    <a:pt x="678" y="1086"/>
                  </a:lnTo>
                  <a:lnTo>
                    <a:pt x="678" y="1104"/>
                  </a:lnTo>
                  <a:lnTo>
                    <a:pt x="678" y="1110"/>
                  </a:lnTo>
                  <a:lnTo>
                    <a:pt x="678" y="1116"/>
                  </a:lnTo>
                  <a:lnTo>
                    <a:pt x="684" y="1116"/>
                  </a:lnTo>
                  <a:lnTo>
                    <a:pt x="678" y="1128"/>
                  </a:lnTo>
                  <a:lnTo>
                    <a:pt x="684" y="1128"/>
                  </a:lnTo>
                  <a:lnTo>
                    <a:pt x="690" y="1134"/>
                  </a:lnTo>
                  <a:lnTo>
                    <a:pt x="690" y="1140"/>
                  </a:lnTo>
                  <a:lnTo>
                    <a:pt x="696" y="1140"/>
                  </a:lnTo>
                  <a:lnTo>
                    <a:pt x="696" y="1146"/>
                  </a:lnTo>
                  <a:lnTo>
                    <a:pt x="696" y="1152"/>
                  </a:lnTo>
                  <a:lnTo>
                    <a:pt x="702" y="1152"/>
                  </a:lnTo>
                  <a:lnTo>
                    <a:pt x="708" y="1152"/>
                  </a:lnTo>
                  <a:lnTo>
                    <a:pt x="714" y="1158"/>
                  </a:lnTo>
                  <a:lnTo>
                    <a:pt x="714" y="1164"/>
                  </a:lnTo>
                  <a:lnTo>
                    <a:pt x="720" y="1170"/>
                  </a:lnTo>
                  <a:lnTo>
                    <a:pt x="720" y="1176"/>
                  </a:lnTo>
                  <a:lnTo>
                    <a:pt x="720" y="1182"/>
                  </a:lnTo>
                  <a:lnTo>
                    <a:pt x="726" y="1188"/>
                  </a:lnTo>
                  <a:lnTo>
                    <a:pt x="726" y="1194"/>
                  </a:lnTo>
                  <a:lnTo>
                    <a:pt x="732" y="1194"/>
                  </a:lnTo>
                  <a:lnTo>
                    <a:pt x="732" y="1200"/>
                  </a:lnTo>
                  <a:lnTo>
                    <a:pt x="738" y="1212"/>
                  </a:lnTo>
                  <a:lnTo>
                    <a:pt x="732" y="1218"/>
                  </a:lnTo>
                  <a:lnTo>
                    <a:pt x="732" y="1224"/>
                  </a:lnTo>
                  <a:lnTo>
                    <a:pt x="726" y="1230"/>
                  </a:lnTo>
                  <a:lnTo>
                    <a:pt x="720" y="1230"/>
                  </a:lnTo>
                  <a:lnTo>
                    <a:pt x="720" y="1236"/>
                  </a:lnTo>
                  <a:lnTo>
                    <a:pt x="720" y="1242"/>
                  </a:lnTo>
                  <a:lnTo>
                    <a:pt x="720" y="1248"/>
                  </a:lnTo>
                  <a:lnTo>
                    <a:pt x="714" y="1248"/>
                  </a:lnTo>
                  <a:lnTo>
                    <a:pt x="714" y="1254"/>
                  </a:lnTo>
                  <a:lnTo>
                    <a:pt x="708" y="1260"/>
                  </a:lnTo>
                  <a:lnTo>
                    <a:pt x="702" y="1272"/>
                  </a:lnTo>
                  <a:lnTo>
                    <a:pt x="696" y="1272"/>
                  </a:lnTo>
                  <a:lnTo>
                    <a:pt x="696" y="1278"/>
                  </a:lnTo>
                  <a:lnTo>
                    <a:pt x="690" y="1284"/>
                  </a:lnTo>
                  <a:lnTo>
                    <a:pt x="690" y="1290"/>
                  </a:lnTo>
                  <a:lnTo>
                    <a:pt x="684" y="1290"/>
                  </a:lnTo>
                  <a:lnTo>
                    <a:pt x="660" y="1284"/>
                  </a:lnTo>
                  <a:lnTo>
                    <a:pt x="660" y="1278"/>
                  </a:lnTo>
                  <a:lnTo>
                    <a:pt x="654" y="1272"/>
                  </a:lnTo>
                  <a:lnTo>
                    <a:pt x="648" y="1272"/>
                  </a:lnTo>
                  <a:lnTo>
                    <a:pt x="642" y="1272"/>
                  </a:lnTo>
                  <a:lnTo>
                    <a:pt x="642" y="1266"/>
                  </a:lnTo>
                  <a:lnTo>
                    <a:pt x="636" y="1266"/>
                  </a:lnTo>
                  <a:lnTo>
                    <a:pt x="630" y="1266"/>
                  </a:lnTo>
                  <a:lnTo>
                    <a:pt x="624" y="1266"/>
                  </a:lnTo>
                  <a:lnTo>
                    <a:pt x="624" y="1260"/>
                  </a:lnTo>
                  <a:lnTo>
                    <a:pt x="618" y="1260"/>
                  </a:lnTo>
                  <a:lnTo>
                    <a:pt x="612" y="1260"/>
                  </a:lnTo>
                  <a:lnTo>
                    <a:pt x="606" y="1260"/>
                  </a:lnTo>
                  <a:lnTo>
                    <a:pt x="600" y="1260"/>
                  </a:lnTo>
                  <a:lnTo>
                    <a:pt x="600" y="1254"/>
                  </a:lnTo>
                  <a:lnTo>
                    <a:pt x="594" y="1254"/>
                  </a:lnTo>
                  <a:lnTo>
                    <a:pt x="588" y="1248"/>
                  </a:lnTo>
                  <a:lnTo>
                    <a:pt x="588" y="1254"/>
                  </a:lnTo>
                  <a:lnTo>
                    <a:pt x="582" y="1254"/>
                  </a:lnTo>
                  <a:lnTo>
                    <a:pt x="582" y="1248"/>
                  </a:lnTo>
                  <a:lnTo>
                    <a:pt x="576" y="1248"/>
                  </a:lnTo>
                  <a:lnTo>
                    <a:pt x="576" y="1254"/>
                  </a:lnTo>
                  <a:lnTo>
                    <a:pt x="570" y="1248"/>
                  </a:lnTo>
                  <a:lnTo>
                    <a:pt x="564" y="1248"/>
                  </a:lnTo>
                  <a:lnTo>
                    <a:pt x="564" y="1254"/>
                  </a:lnTo>
                  <a:lnTo>
                    <a:pt x="558" y="1254"/>
                  </a:lnTo>
                  <a:lnTo>
                    <a:pt x="552" y="1254"/>
                  </a:lnTo>
                  <a:lnTo>
                    <a:pt x="552" y="1260"/>
                  </a:lnTo>
                  <a:lnTo>
                    <a:pt x="546" y="1260"/>
                  </a:lnTo>
                  <a:lnTo>
                    <a:pt x="540" y="1260"/>
                  </a:lnTo>
                  <a:lnTo>
                    <a:pt x="540" y="1254"/>
                  </a:lnTo>
                  <a:lnTo>
                    <a:pt x="534" y="1254"/>
                  </a:lnTo>
                  <a:lnTo>
                    <a:pt x="528" y="1224"/>
                  </a:lnTo>
                  <a:lnTo>
                    <a:pt x="534" y="1212"/>
                  </a:lnTo>
                  <a:lnTo>
                    <a:pt x="546" y="1206"/>
                  </a:lnTo>
                  <a:lnTo>
                    <a:pt x="582" y="1206"/>
                  </a:lnTo>
                  <a:lnTo>
                    <a:pt x="588" y="1188"/>
                  </a:lnTo>
                  <a:lnTo>
                    <a:pt x="582" y="1188"/>
                  </a:lnTo>
                  <a:lnTo>
                    <a:pt x="582" y="1182"/>
                  </a:lnTo>
                  <a:lnTo>
                    <a:pt x="576" y="1176"/>
                  </a:lnTo>
                  <a:lnTo>
                    <a:pt x="558" y="1128"/>
                  </a:lnTo>
                  <a:lnTo>
                    <a:pt x="558" y="1122"/>
                  </a:lnTo>
                  <a:lnTo>
                    <a:pt x="576" y="1098"/>
                  </a:lnTo>
                  <a:lnTo>
                    <a:pt x="576" y="1092"/>
                  </a:lnTo>
                  <a:lnTo>
                    <a:pt x="582" y="1092"/>
                  </a:lnTo>
                  <a:lnTo>
                    <a:pt x="582" y="1086"/>
                  </a:lnTo>
                  <a:lnTo>
                    <a:pt x="582" y="1080"/>
                  </a:lnTo>
                  <a:lnTo>
                    <a:pt x="582" y="1074"/>
                  </a:lnTo>
                  <a:lnTo>
                    <a:pt x="588" y="1074"/>
                  </a:lnTo>
                  <a:lnTo>
                    <a:pt x="588" y="1062"/>
                  </a:lnTo>
                  <a:lnTo>
                    <a:pt x="588" y="1056"/>
                  </a:lnTo>
                  <a:lnTo>
                    <a:pt x="588" y="1044"/>
                  </a:lnTo>
                  <a:lnTo>
                    <a:pt x="588" y="1038"/>
                  </a:lnTo>
                  <a:lnTo>
                    <a:pt x="588" y="1032"/>
                  </a:lnTo>
                  <a:lnTo>
                    <a:pt x="582" y="1026"/>
                  </a:lnTo>
                  <a:lnTo>
                    <a:pt x="582" y="1020"/>
                  </a:lnTo>
                  <a:lnTo>
                    <a:pt x="582" y="1008"/>
                  </a:lnTo>
                  <a:lnTo>
                    <a:pt x="576" y="990"/>
                  </a:lnTo>
                  <a:lnTo>
                    <a:pt x="570" y="972"/>
                  </a:lnTo>
                  <a:lnTo>
                    <a:pt x="552" y="972"/>
                  </a:lnTo>
                  <a:lnTo>
                    <a:pt x="540" y="960"/>
                  </a:lnTo>
                  <a:lnTo>
                    <a:pt x="534" y="954"/>
                  </a:lnTo>
                  <a:lnTo>
                    <a:pt x="534" y="948"/>
                  </a:lnTo>
                  <a:lnTo>
                    <a:pt x="516" y="948"/>
                  </a:lnTo>
                  <a:lnTo>
                    <a:pt x="522" y="936"/>
                  </a:lnTo>
                  <a:lnTo>
                    <a:pt x="522" y="930"/>
                  </a:lnTo>
                  <a:lnTo>
                    <a:pt x="504" y="918"/>
                  </a:lnTo>
                  <a:lnTo>
                    <a:pt x="492" y="906"/>
                  </a:lnTo>
                  <a:lnTo>
                    <a:pt x="486" y="894"/>
                  </a:lnTo>
                  <a:lnTo>
                    <a:pt x="468" y="876"/>
                  </a:lnTo>
                  <a:lnTo>
                    <a:pt x="450" y="876"/>
                  </a:lnTo>
                  <a:lnTo>
                    <a:pt x="414" y="882"/>
                  </a:lnTo>
                  <a:lnTo>
                    <a:pt x="402" y="870"/>
                  </a:lnTo>
                  <a:lnTo>
                    <a:pt x="390" y="864"/>
                  </a:lnTo>
                  <a:lnTo>
                    <a:pt x="384" y="852"/>
                  </a:lnTo>
                  <a:lnTo>
                    <a:pt x="378" y="840"/>
                  </a:lnTo>
                  <a:lnTo>
                    <a:pt x="378" y="834"/>
                  </a:lnTo>
                  <a:lnTo>
                    <a:pt x="360" y="822"/>
                  </a:lnTo>
                  <a:lnTo>
                    <a:pt x="342" y="828"/>
                  </a:lnTo>
                  <a:lnTo>
                    <a:pt x="324" y="816"/>
                  </a:lnTo>
                  <a:lnTo>
                    <a:pt x="318" y="816"/>
                  </a:lnTo>
                  <a:lnTo>
                    <a:pt x="306" y="810"/>
                  </a:lnTo>
                  <a:lnTo>
                    <a:pt x="306" y="804"/>
                  </a:lnTo>
                  <a:lnTo>
                    <a:pt x="300" y="804"/>
                  </a:lnTo>
                  <a:lnTo>
                    <a:pt x="300" y="780"/>
                  </a:lnTo>
                  <a:lnTo>
                    <a:pt x="300" y="774"/>
                  </a:lnTo>
                  <a:lnTo>
                    <a:pt x="306" y="774"/>
                  </a:lnTo>
                  <a:lnTo>
                    <a:pt x="312" y="756"/>
                  </a:lnTo>
                  <a:lnTo>
                    <a:pt x="312" y="732"/>
                  </a:lnTo>
                  <a:lnTo>
                    <a:pt x="300" y="720"/>
                  </a:lnTo>
                  <a:lnTo>
                    <a:pt x="288" y="702"/>
                  </a:lnTo>
                  <a:lnTo>
                    <a:pt x="276" y="702"/>
                  </a:lnTo>
                  <a:lnTo>
                    <a:pt x="258" y="714"/>
                  </a:lnTo>
                  <a:lnTo>
                    <a:pt x="246" y="726"/>
                  </a:lnTo>
                  <a:lnTo>
                    <a:pt x="222" y="726"/>
                  </a:lnTo>
                  <a:lnTo>
                    <a:pt x="192" y="726"/>
                  </a:lnTo>
                  <a:lnTo>
                    <a:pt x="174" y="738"/>
                  </a:lnTo>
                  <a:lnTo>
                    <a:pt x="162" y="750"/>
                  </a:lnTo>
                  <a:lnTo>
                    <a:pt x="144" y="762"/>
                  </a:lnTo>
                  <a:lnTo>
                    <a:pt x="138" y="768"/>
                  </a:lnTo>
                  <a:lnTo>
                    <a:pt x="126" y="774"/>
                  </a:lnTo>
                  <a:lnTo>
                    <a:pt x="114" y="780"/>
                  </a:lnTo>
                  <a:lnTo>
                    <a:pt x="108" y="786"/>
                  </a:lnTo>
                  <a:lnTo>
                    <a:pt x="102" y="786"/>
                  </a:lnTo>
                  <a:lnTo>
                    <a:pt x="54" y="786"/>
                  </a:lnTo>
                  <a:lnTo>
                    <a:pt x="48" y="792"/>
                  </a:lnTo>
                  <a:lnTo>
                    <a:pt x="36" y="798"/>
                  </a:lnTo>
                  <a:lnTo>
                    <a:pt x="18" y="792"/>
                  </a:lnTo>
                  <a:lnTo>
                    <a:pt x="6" y="780"/>
                  </a:lnTo>
                  <a:lnTo>
                    <a:pt x="6" y="768"/>
                  </a:lnTo>
                  <a:lnTo>
                    <a:pt x="0" y="756"/>
                  </a:lnTo>
                  <a:lnTo>
                    <a:pt x="0" y="738"/>
                  </a:lnTo>
                  <a:lnTo>
                    <a:pt x="6" y="702"/>
                  </a:lnTo>
                  <a:lnTo>
                    <a:pt x="24" y="702"/>
                  </a:lnTo>
                  <a:lnTo>
                    <a:pt x="24" y="696"/>
                  </a:lnTo>
                  <a:lnTo>
                    <a:pt x="24" y="690"/>
                  </a:lnTo>
                  <a:lnTo>
                    <a:pt x="24" y="678"/>
                  </a:lnTo>
                  <a:lnTo>
                    <a:pt x="24" y="672"/>
                  </a:lnTo>
                  <a:lnTo>
                    <a:pt x="30" y="672"/>
                  </a:lnTo>
                  <a:lnTo>
                    <a:pt x="30" y="666"/>
                  </a:lnTo>
                  <a:lnTo>
                    <a:pt x="36" y="660"/>
                  </a:lnTo>
                  <a:lnTo>
                    <a:pt x="84" y="648"/>
                  </a:lnTo>
                  <a:lnTo>
                    <a:pt x="126" y="642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32" y="618"/>
                  </a:lnTo>
                  <a:lnTo>
                    <a:pt x="138" y="612"/>
                  </a:lnTo>
                  <a:lnTo>
                    <a:pt x="138" y="606"/>
                  </a:lnTo>
                  <a:lnTo>
                    <a:pt x="138" y="600"/>
                  </a:lnTo>
                  <a:lnTo>
                    <a:pt x="132" y="600"/>
                  </a:lnTo>
                  <a:lnTo>
                    <a:pt x="132" y="594"/>
                  </a:lnTo>
                  <a:lnTo>
                    <a:pt x="132" y="588"/>
                  </a:lnTo>
                  <a:lnTo>
                    <a:pt x="132" y="582"/>
                  </a:lnTo>
                  <a:lnTo>
                    <a:pt x="132" y="576"/>
                  </a:lnTo>
                  <a:lnTo>
                    <a:pt x="126" y="570"/>
                  </a:lnTo>
                  <a:lnTo>
                    <a:pt x="120" y="564"/>
                  </a:lnTo>
                  <a:lnTo>
                    <a:pt x="120" y="558"/>
                  </a:lnTo>
                  <a:lnTo>
                    <a:pt x="120" y="552"/>
                  </a:lnTo>
                  <a:lnTo>
                    <a:pt x="114" y="552"/>
                  </a:lnTo>
                  <a:lnTo>
                    <a:pt x="114" y="546"/>
                  </a:lnTo>
                  <a:lnTo>
                    <a:pt x="114" y="540"/>
                  </a:lnTo>
                  <a:lnTo>
                    <a:pt x="108" y="534"/>
                  </a:lnTo>
                  <a:lnTo>
                    <a:pt x="108" y="528"/>
                  </a:lnTo>
                  <a:lnTo>
                    <a:pt x="114" y="522"/>
                  </a:lnTo>
                  <a:lnTo>
                    <a:pt x="108" y="516"/>
                  </a:lnTo>
                  <a:lnTo>
                    <a:pt x="108" y="498"/>
                  </a:lnTo>
                  <a:lnTo>
                    <a:pt x="108" y="492"/>
                  </a:lnTo>
                  <a:lnTo>
                    <a:pt x="108" y="486"/>
                  </a:lnTo>
                  <a:lnTo>
                    <a:pt x="108" y="480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08" y="462"/>
                  </a:lnTo>
                  <a:lnTo>
                    <a:pt x="102" y="456"/>
                  </a:lnTo>
                  <a:lnTo>
                    <a:pt x="102" y="444"/>
                  </a:lnTo>
                  <a:lnTo>
                    <a:pt x="96" y="444"/>
                  </a:lnTo>
                  <a:lnTo>
                    <a:pt x="90" y="432"/>
                  </a:lnTo>
                  <a:lnTo>
                    <a:pt x="96" y="432"/>
                  </a:lnTo>
                  <a:lnTo>
                    <a:pt x="96" y="408"/>
                  </a:lnTo>
                  <a:lnTo>
                    <a:pt x="96" y="396"/>
                  </a:lnTo>
                  <a:lnTo>
                    <a:pt x="96" y="360"/>
                  </a:lnTo>
                  <a:lnTo>
                    <a:pt x="96" y="354"/>
                  </a:lnTo>
                  <a:lnTo>
                    <a:pt x="102" y="354"/>
                  </a:lnTo>
                  <a:lnTo>
                    <a:pt x="102" y="348"/>
                  </a:lnTo>
                  <a:lnTo>
                    <a:pt x="96" y="330"/>
                  </a:lnTo>
                  <a:lnTo>
                    <a:pt x="90" y="306"/>
                  </a:lnTo>
                  <a:lnTo>
                    <a:pt x="84" y="288"/>
                  </a:lnTo>
                  <a:lnTo>
                    <a:pt x="84" y="264"/>
                  </a:lnTo>
                  <a:lnTo>
                    <a:pt x="90" y="240"/>
                  </a:lnTo>
                  <a:lnTo>
                    <a:pt x="96" y="222"/>
                  </a:lnTo>
                  <a:lnTo>
                    <a:pt x="102" y="222"/>
                  </a:lnTo>
                  <a:lnTo>
                    <a:pt x="108" y="210"/>
                  </a:lnTo>
                  <a:lnTo>
                    <a:pt x="114" y="210"/>
                  </a:lnTo>
                  <a:lnTo>
                    <a:pt x="126" y="198"/>
                  </a:lnTo>
                  <a:lnTo>
                    <a:pt x="156" y="192"/>
                  </a:lnTo>
                  <a:lnTo>
                    <a:pt x="174" y="186"/>
                  </a:lnTo>
                  <a:lnTo>
                    <a:pt x="204" y="174"/>
                  </a:lnTo>
                  <a:lnTo>
                    <a:pt x="222" y="168"/>
                  </a:lnTo>
                  <a:lnTo>
                    <a:pt x="234" y="162"/>
                  </a:lnTo>
                  <a:lnTo>
                    <a:pt x="246" y="156"/>
                  </a:lnTo>
                  <a:lnTo>
                    <a:pt x="288" y="144"/>
                  </a:lnTo>
                  <a:lnTo>
                    <a:pt x="288" y="132"/>
                  </a:lnTo>
                  <a:lnTo>
                    <a:pt x="294" y="120"/>
                  </a:lnTo>
                  <a:lnTo>
                    <a:pt x="300" y="108"/>
                  </a:lnTo>
                  <a:lnTo>
                    <a:pt x="306" y="90"/>
                  </a:lnTo>
                  <a:lnTo>
                    <a:pt x="312" y="78"/>
                  </a:lnTo>
                  <a:lnTo>
                    <a:pt x="324" y="78"/>
                  </a:lnTo>
                  <a:lnTo>
                    <a:pt x="324" y="54"/>
                  </a:lnTo>
                  <a:lnTo>
                    <a:pt x="318" y="48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60" y="6"/>
                  </a:lnTo>
                  <a:lnTo>
                    <a:pt x="384" y="0"/>
                  </a:lnTo>
                  <a:lnTo>
                    <a:pt x="390" y="6"/>
                  </a:lnTo>
                  <a:lnTo>
                    <a:pt x="390" y="18"/>
                  </a:lnTo>
                  <a:lnTo>
                    <a:pt x="390" y="54"/>
                  </a:lnTo>
                  <a:lnTo>
                    <a:pt x="396" y="66"/>
                  </a:lnTo>
                  <a:lnTo>
                    <a:pt x="414" y="84"/>
                  </a:lnTo>
                  <a:lnTo>
                    <a:pt x="426" y="90"/>
                  </a:lnTo>
                  <a:lnTo>
                    <a:pt x="432" y="96"/>
                  </a:lnTo>
                  <a:lnTo>
                    <a:pt x="426" y="102"/>
                  </a:lnTo>
                  <a:lnTo>
                    <a:pt x="438" y="102"/>
                  </a:lnTo>
                  <a:lnTo>
                    <a:pt x="444" y="108"/>
                  </a:lnTo>
                  <a:lnTo>
                    <a:pt x="444" y="102"/>
                  </a:lnTo>
                  <a:lnTo>
                    <a:pt x="450" y="90"/>
                  </a:lnTo>
                  <a:lnTo>
                    <a:pt x="450" y="84"/>
                  </a:lnTo>
                  <a:lnTo>
                    <a:pt x="450" y="78"/>
                  </a:lnTo>
                  <a:lnTo>
                    <a:pt x="456" y="72"/>
                  </a:lnTo>
                  <a:lnTo>
                    <a:pt x="462" y="66"/>
                  </a:lnTo>
                  <a:lnTo>
                    <a:pt x="462" y="60"/>
                  </a:lnTo>
                  <a:lnTo>
                    <a:pt x="462" y="54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74" y="24"/>
                  </a:lnTo>
                  <a:lnTo>
                    <a:pt x="480" y="18"/>
                  </a:lnTo>
                  <a:lnTo>
                    <a:pt x="486" y="12"/>
                  </a:lnTo>
                  <a:lnTo>
                    <a:pt x="492" y="12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2" y="6"/>
                  </a:lnTo>
                  <a:lnTo>
                    <a:pt x="534" y="6"/>
                  </a:lnTo>
                  <a:lnTo>
                    <a:pt x="540" y="6"/>
                  </a:lnTo>
                  <a:lnTo>
                    <a:pt x="546" y="6"/>
                  </a:lnTo>
                  <a:lnTo>
                    <a:pt x="564" y="0"/>
                  </a:lnTo>
                  <a:lnTo>
                    <a:pt x="570" y="0"/>
                  </a:lnTo>
                  <a:lnTo>
                    <a:pt x="576" y="6"/>
                  </a:lnTo>
                  <a:lnTo>
                    <a:pt x="582" y="6"/>
                  </a:lnTo>
                  <a:lnTo>
                    <a:pt x="594" y="6"/>
                  </a:lnTo>
                  <a:lnTo>
                    <a:pt x="600" y="6"/>
                  </a:lnTo>
                  <a:lnTo>
                    <a:pt x="606" y="6"/>
                  </a:lnTo>
                  <a:lnTo>
                    <a:pt x="624" y="0"/>
                  </a:lnTo>
                  <a:lnTo>
                    <a:pt x="636" y="0"/>
                  </a:lnTo>
                  <a:lnTo>
                    <a:pt x="636" y="6"/>
                  </a:lnTo>
                  <a:lnTo>
                    <a:pt x="654" y="18"/>
                  </a:lnTo>
                  <a:lnTo>
                    <a:pt x="654" y="30"/>
                  </a:lnTo>
                  <a:lnTo>
                    <a:pt x="642" y="42"/>
                  </a:lnTo>
                  <a:lnTo>
                    <a:pt x="630" y="66"/>
                  </a:lnTo>
                  <a:lnTo>
                    <a:pt x="636" y="84"/>
                  </a:lnTo>
                  <a:lnTo>
                    <a:pt x="636" y="96"/>
                  </a:lnTo>
                  <a:lnTo>
                    <a:pt x="648" y="102"/>
                  </a:lnTo>
                  <a:lnTo>
                    <a:pt x="672" y="114"/>
                  </a:lnTo>
                  <a:lnTo>
                    <a:pt x="702" y="120"/>
                  </a:lnTo>
                  <a:lnTo>
                    <a:pt x="714" y="126"/>
                  </a:lnTo>
                  <a:lnTo>
                    <a:pt x="720" y="144"/>
                  </a:lnTo>
                  <a:lnTo>
                    <a:pt x="720" y="156"/>
                  </a:lnTo>
                  <a:lnTo>
                    <a:pt x="708" y="156"/>
                  </a:lnTo>
                  <a:lnTo>
                    <a:pt x="702" y="162"/>
                  </a:lnTo>
                  <a:lnTo>
                    <a:pt x="702" y="174"/>
                  </a:lnTo>
                  <a:lnTo>
                    <a:pt x="696" y="174"/>
                  </a:lnTo>
                  <a:lnTo>
                    <a:pt x="690" y="180"/>
                  </a:lnTo>
                  <a:lnTo>
                    <a:pt x="678" y="186"/>
                  </a:lnTo>
                  <a:lnTo>
                    <a:pt x="672" y="192"/>
                  </a:lnTo>
                  <a:lnTo>
                    <a:pt x="654" y="210"/>
                  </a:lnTo>
                  <a:lnTo>
                    <a:pt x="654" y="216"/>
                  </a:lnTo>
                  <a:lnTo>
                    <a:pt x="648" y="246"/>
                  </a:lnTo>
                  <a:lnTo>
                    <a:pt x="660" y="246"/>
                  </a:lnTo>
                  <a:lnTo>
                    <a:pt x="666" y="234"/>
                  </a:lnTo>
                  <a:lnTo>
                    <a:pt x="678" y="240"/>
                  </a:lnTo>
                  <a:lnTo>
                    <a:pt x="684" y="228"/>
                  </a:lnTo>
                  <a:lnTo>
                    <a:pt x="690" y="210"/>
                  </a:lnTo>
                  <a:lnTo>
                    <a:pt x="696" y="204"/>
                  </a:lnTo>
                  <a:lnTo>
                    <a:pt x="702" y="204"/>
                  </a:lnTo>
                  <a:lnTo>
                    <a:pt x="708" y="192"/>
                  </a:lnTo>
                  <a:lnTo>
                    <a:pt x="714" y="192"/>
                  </a:lnTo>
                  <a:lnTo>
                    <a:pt x="714" y="186"/>
                  </a:lnTo>
                  <a:lnTo>
                    <a:pt x="726" y="186"/>
                  </a:lnTo>
                  <a:lnTo>
                    <a:pt x="732" y="186"/>
                  </a:lnTo>
                  <a:lnTo>
                    <a:pt x="738" y="186"/>
                  </a:lnTo>
                  <a:lnTo>
                    <a:pt x="744" y="216"/>
                  </a:lnTo>
                  <a:lnTo>
                    <a:pt x="750" y="210"/>
                  </a:lnTo>
                  <a:lnTo>
                    <a:pt x="750" y="204"/>
                  </a:lnTo>
                  <a:lnTo>
                    <a:pt x="756" y="192"/>
                  </a:lnTo>
                  <a:lnTo>
                    <a:pt x="762" y="192"/>
                  </a:lnTo>
                  <a:lnTo>
                    <a:pt x="768" y="192"/>
                  </a:lnTo>
                  <a:lnTo>
                    <a:pt x="780" y="186"/>
                  </a:lnTo>
                  <a:lnTo>
                    <a:pt x="786" y="204"/>
                  </a:lnTo>
                  <a:lnTo>
                    <a:pt x="774" y="210"/>
                  </a:lnTo>
                  <a:lnTo>
                    <a:pt x="774" y="234"/>
                  </a:lnTo>
                  <a:lnTo>
                    <a:pt x="780" y="246"/>
                  </a:lnTo>
                  <a:lnTo>
                    <a:pt x="804" y="264"/>
                  </a:lnTo>
                  <a:lnTo>
                    <a:pt x="816" y="276"/>
                  </a:lnTo>
                  <a:lnTo>
                    <a:pt x="822" y="288"/>
                  </a:lnTo>
                  <a:lnTo>
                    <a:pt x="822" y="312"/>
                  </a:lnTo>
                  <a:lnTo>
                    <a:pt x="816" y="312"/>
                  </a:lnTo>
                  <a:lnTo>
                    <a:pt x="810" y="318"/>
                  </a:lnTo>
                  <a:lnTo>
                    <a:pt x="810" y="348"/>
                  </a:lnTo>
                  <a:lnTo>
                    <a:pt x="816" y="348"/>
                  </a:lnTo>
                  <a:lnTo>
                    <a:pt x="816" y="342"/>
                  </a:lnTo>
                  <a:lnTo>
                    <a:pt x="834" y="342"/>
                  </a:lnTo>
                  <a:lnTo>
                    <a:pt x="834" y="348"/>
                  </a:lnTo>
                  <a:lnTo>
                    <a:pt x="846" y="348"/>
                  </a:lnTo>
                  <a:lnTo>
                    <a:pt x="846" y="342"/>
                  </a:lnTo>
                  <a:lnTo>
                    <a:pt x="882" y="342"/>
                  </a:lnTo>
                  <a:lnTo>
                    <a:pt x="894" y="366"/>
                  </a:lnTo>
                  <a:lnTo>
                    <a:pt x="900" y="372"/>
                  </a:lnTo>
                  <a:lnTo>
                    <a:pt x="906" y="384"/>
                  </a:lnTo>
                  <a:lnTo>
                    <a:pt x="924" y="384"/>
                  </a:lnTo>
                  <a:lnTo>
                    <a:pt x="930" y="372"/>
                  </a:lnTo>
                  <a:lnTo>
                    <a:pt x="936" y="372"/>
                  </a:lnTo>
                  <a:lnTo>
                    <a:pt x="942" y="348"/>
                  </a:lnTo>
                  <a:lnTo>
                    <a:pt x="954" y="348"/>
                  </a:lnTo>
                  <a:lnTo>
                    <a:pt x="954" y="342"/>
                  </a:lnTo>
                  <a:lnTo>
                    <a:pt x="984" y="342"/>
                  </a:lnTo>
                  <a:lnTo>
                    <a:pt x="978" y="390"/>
                  </a:lnTo>
                  <a:lnTo>
                    <a:pt x="984" y="390"/>
                  </a:lnTo>
                  <a:lnTo>
                    <a:pt x="990" y="396"/>
                  </a:lnTo>
                  <a:lnTo>
                    <a:pt x="996" y="396"/>
                  </a:lnTo>
                  <a:lnTo>
                    <a:pt x="1002" y="396"/>
                  </a:lnTo>
                  <a:lnTo>
                    <a:pt x="1002" y="408"/>
                  </a:lnTo>
                  <a:lnTo>
                    <a:pt x="990" y="414"/>
                  </a:lnTo>
                  <a:lnTo>
                    <a:pt x="984" y="426"/>
                  </a:lnTo>
                  <a:lnTo>
                    <a:pt x="990" y="444"/>
                  </a:lnTo>
                  <a:lnTo>
                    <a:pt x="996" y="450"/>
                  </a:lnTo>
                  <a:lnTo>
                    <a:pt x="990" y="462"/>
                  </a:lnTo>
                  <a:lnTo>
                    <a:pt x="990" y="468"/>
                  </a:lnTo>
                  <a:lnTo>
                    <a:pt x="984" y="480"/>
                  </a:lnTo>
                  <a:lnTo>
                    <a:pt x="978" y="486"/>
                  </a:lnTo>
                  <a:lnTo>
                    <a:pt x="972" y="486"/>
                  </a:lnTo>
                  <a:lnTo>
                    <a:pt x="966" y="492"/>
                  </a:lnTo>
                  <a:lnTo>
                    <a:pt x="966" y="498"/>
                  </a:lnTo>
                  <a:lnTo>
                    <a:pt x="954" y="510"/>
                  </a:lnTo>
                  <a:lnTo>
                    <a:pt x="948" y="510"/>
                  </a:lnTo>
                  <a:lnTo>
                    <a:pt x="942" y="516"/>
                  </a:lnTo>
                  <a:lnTo>
                    <a:pt x="936" y="528"/>
                  </a:lnTo>
                  <a:lnTo>
                    <a:pt x="936" y="534"/>
                  </a:lnTo>
                  <a:lnTo>
                    <a:pt x="936" y="546"/>
                  </a:lnTo>
                  <a:lnTo>
                    <a:pt x="936" y="558"/>
                  </a:lnTo>
                  <a:lnTo>
                    <a:pt x="948" y="558"/>
                  </a:lnTo>
                  <a:lnTo>
                    <a:pt x="954" y="558"/>
                  </a:lnTo>
                  <a:lnTo>
                    <a:pt x="996" y="558"/>
                  </a:lnTo>
                  <a:lnTo>
                    <a:pt x="1002" y="570"/>
                  </a:lnTo>
                  <a:lnTo>
                    <a:pt x="996" y="576"/>
                  </a:lnTo>
                  <a:lnTo>
                    <a:pt x="996" y="588"/>
                  </a:lnTo>
                  <a:lnTo>
                    <a:pt x="984" y="588"/>
                  </a:lnTo>
                  <a:lnTo>
                    <a:pt x="990" y="612"/>
                  </a:lnTo>
                  <a:lnTo>
                    <a:pt x="1014" y="606"/>
                  </a:lnTo>
                  <a:lnTo>
                    <a:pt x="1014" y="636"/>
                  </a:lnTo>
                  <a:lnTo>
                    <a:pt x="1014" y="648"/>
                  </a:lnTo>
                  <a:lnTo>
                    <a:pt x="1020" y="648"/>
                  </a:lnTo>
                  <a:lnTo>
                    <a:pt x="1026" y="660"/>
                  </a:lnTo>
                  <a:lnTo>
                    <a:pt x="1038" y="654"/>
                  </a:lnTo>
                  <a:lnTo>
                    <a:pt x="1050" y="654"/>
                  </a:lnTo>
                  <a:lnTo>
                    <a:pt x="1062" y="654"/>
                  </a:lnTo>
                  <a:lnTo>
                    <a:pt x="1068" y="660"/>
                  </a:lnTo>
                  <a:lnTo>
                    <a:pt x="1068" y="678"/>
                  </a:lnTo>
                  <a:lnTo>
                    <a:pt x="1068" y="684"/>
                  </a:lnTo>
                  <a:lnTo>
                    <a:pt x="1062" y="690"/>
                  </a:lnTo>
                  <a:lnTo>
                    <a:pt x="1056" y="696"/>
                  </a:lnTo>
                  <a:lnTo>
                    <a:pt x="1056" y="702"/>
                  </a:lnTo>
                  <a:lnTo>
                    <a:pt x="1038" y="714"/>
                  </a:lnTo>
                  <a:lnTo>
                    <a:pt x="1026" y="720"/>
                  </a:lnTo>
                  <a:lnTo>
                    <a:pt x="1008" y="726"/>
                  </a:lnTo>
                  <a:lnTo>
                    <a:pt x="1008" y="732"/>
                  </a:lnTo>
                  <a:lnTo>
                    <a:pt x="990" y="732"/>
                  </a:lnTo>
                  <a:lnTo>
                    <a:pt x="984" y="744"/>
                  </a:lnTo>
                  <a:lnTo>
                    <a:pt x="990" y="750"/>
                  </a:lnTo>
                  <a:lnTo>
                    <a:pt x="984" y="762"/>
                  </a:lnTo>
                  <a:lnTo>
                    <a:pt x="984" y="768"/>
                  </a:lnTo>
                  <a:lnTo>
                    <a:pt x="984" y="774"/>
                  </a:lnTo>
                  <a:lnTo>
                    <a:pt x="984" y="780"/>
                  </a:lnTo>
                  <a:lnTo>
                    <a:pt x="984" y="786"/>
                  </a:lnTo>
                  <a:lnTo>
                    <a:pt x="984" y="792"/>
                  </a:lnTo>
                  <a:lnTo>
                    <a:pt x="978" y="798"/>
                  </a:lnTo>
                  <a:lnTo>
                    <a:pt x="978" y="80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3" name="Freeform 38">
              <a:extLst>
                <a:ext uri="{FF2B5EF4-FFF2-40B4-BE49-F238E27FC236}">
                  <a16:creationId xmlns:a16="http://schemas.microsoft.com/office/drawing/2014/main" id="{819B99CE-D972-4530-8964-A992C1EC87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2825" y="1634436"/>
              <a:ext cx="959326" cy="959458"/>
            </a:xfrm>
            <a:custGeom>
              <a:avLst/>
              <a:gdLst>
                <a:gd name="T0" fmla="*/ 105 w 1806"/>
                <a:gd name="T1" fmla="*/ 155 h 1806"/>
                <a:gd name="T2" fmla="*/ 103 w 1806"/>
                <a:gd name="T3" fmla="*/ 155 h 1806"/>
                <a:gd name="T4" fmla="*/ 103 w 1806"/>
                <a:gd name="T5" fmla="*/ 150 h 1806"/>
                <a:gd name="T6" fmla="*/ 104 w 1806"/>
                <a:gd name="T7" fmla="*/ 141 h 1806"/>
                <a:gd name="T8" fmla="*/ 104 w 1806"/>
                <a:gd name="T9" fmla="*/ 136 h 1806"/>
                <a:gd name="T10" fmla="*/ 100 w 1806"/>
                <a:gd name="T11" fmla="*/ 131 h 1806"/>
                <a:gd name="T12" fmla="*/ 96 w 1806"/>
                <a:gd name="T13" fmla="*/ 127 h 1806"/>
                <a:gd name="T14" fmla="*/ 91 w 1806"/>
                <a:gd name="T15" fmla="*/ 121 h 1806"/>
                <a:gd name="T16" fmla="*/ 87 w 1806"/>
                <a:gd name="T17" fmla="*/ 120 h 1806"/>
                <a:gd name="T18" fmla="*/ 81 w 1806"/>
                <a:gd name="T19" fmla="*/ 117 h 1806"/>
                <a:gd name="T20" fmla="*/ 65 w 1806"/>
                <a:gd name="T21" fmla="*/ 113 h 1806"/>
                <a:gd name="T22" fmla="*/ 69 w 1806"/>
                <a:gd name="T23" fmla="*/ 105 h 1806"/>
                <a:gd name="T24" fmla="*/ 66 w 1806"/>
                <a:gd name="T25" fmla="*/ 89 h 1806"/>
                <a:gd name="T26" fmla="*/ 63 w 1806"/>
                <a:gd name="T27" fmla="*/ 84 h 1806"/>
                <a:gd name="T28" fmla="*/ 62 w 1806"/>
                <a:gd name="T29" fmla="*/ 74 h 1806"/>
                <a:gd name="T30" fmla="*/ 58 w 1806"/>
                <a:gd name="T31" fmla="*/ 52 h 1806"/>
                <a:gd name="T32" fmla="*/ 53 w 1806"/>
                <a:gd name="T33" fmla="*/ 49 h 1806"/>
                <a:gd name="T34" fmla="*/ 51 w 1806"/>
                <a:gd name="T35" fmla="*/ 36 h 1806"/>
                <a:gd name="T36" fmla="*/ 43 w 1806"/>
                <a:gd name="T37" fmla="*/ 32 h 1806"/>
                <a:gd name="T38" fmla="*/ 33 w 1806"/>
                <a:gd name="T39" fmla="*/ 30 h 1806"/>
                <a:gd name="T40" fmla="*/ 30 w 1806"/>
                <a:gd name="T41" fmla="*/ 21 h 1806"/>
                <a:gd name="T42" fmla="*/ 17 w 1806"/>
                <a:gd name="T43" fmla="*/ 25 h 1806"/>
                <a:gd name="T44" fmla="*/ 4 w 1806"/>
                <a:gd name="T45" fmla="*/ 33 h 1806"/>
                <a:gd name="T46" fmla="*/ 7 w 1806"/>
                <a:gd name="T47" fmla="*/ 26 h 1806"/>
                <a:gd name="T48" fmla="*/ 11 w 1806"/>
                <a:gd name="T49" fmla="*/ 20 h 1806"/>
                <a:gd name="T50" fmla="*/ 18 w 1806"/>
                <a:gd name="T51" fmla="*/ 12 h 1806"/>
                <a:gd name="T52" fmla="*/ 26 w 1806"/>
                <a:gd name="T53" fmla="*/ 8 h 1806"/>
                <a:gd name="T54" fmla="*/ 35 w 1806"/>
                <a:gd name="T55" fmla="*/ 6 h 1806"/>
                <a:gd name="T56" fmla="*/ 44 w 1806"/>
                <a:gd name="T57" fmla="*/ 5 h 1806"/>
                <a:gd name="T58" fmla="*/ 54 w 1806"/>
                <a:gd name="T59" fmla="*/ 2 h 1806"/>
                <a:gd name="T60" fmla="*/ 65 w 1806"/>
                <a:gd name="T61" fmla="*/ 0 h 1806"/>
                <a:gd name="T62" fmla="*/ 76 w 1806"/>
                <a:gd name="T63" fmla="*/ 0 h 1806"/>
                <a:gd name="T64" fmla="*/ 85 w 1806"/>
                <a:gd name="T65" fmla="*/ 0 h 1806"/>
                <a:gd name="T66" fmla="*/ 97 w 1806"/>
                <a:gd name="T67" fmla="*/ 0 h 1806"/>
                <a:gd name="T68" fmla="*/ 108 w 1806"/>
                <a:gd name="T69" fmla="*/ 3 h 1806"/>
                <a:gd name="T70" fmla="*/ 115 w 1806"/>
                <a:gd name="T71" fmla="*/ 5 h 1806"/>
                <a:gd name="T72" fmla="*/ 123 w 1806"/>
                <a:gd name="T73" fmla="*/ 7 h 1806"/>
                <a:gd name="T74" fmla="*/ 133 w 1806"/>
                <a:gd name="T75" fmla="*/ 14 h 1806"/>
                <a:gd name="T76" fmla="*/ 138 w 1806"/>
                <a:gd name="T77" fmla="*/ 16 h 1806"/>
                <a:gd name="T78" fmla="*/ 140 w 1806"/>
                <a:gd name="T79" fmla="*/ 14 h 1806"/>
                <a:gd name="T80" fmla="*/ 145 w 1806"/>
                <a:gd name="T81" fmla="*/ 16 h 1806"/>
                <a:gd name="T82" fmla="*/ 147 w 1806"/>
                <a:gd name="T83" fmla="*/ 16 h 1806"/>
                <a:gd name="T84" fmla="*/ 150 w 1806"/>
                <a:gd name="T85" fmla="*/ 17 h 1806"/>
                <a:gd name="T86" fmla="*/ 152 w 1806"/>
                <a:gd name="T87" fmla="*/ 18 h 1806"/>
                <a:gd name="T88" fmla="*/ 155 w 1806"/>
                <a:gd name="T89" fmla="*/ 37 h 1806"/>
                <a:gd name="T90" fmla="*/ 146 w 1806"/>
                <a:gd name="T91" fmla="*/ 66 h 1806"/>
                <a:gd name="T92" fmla="*/ 143 w 1806"/>
                <a:gd name="T93" fmla="*/ 88 h 1806"/>
                <a:gd name="T94" fmla="*/ 144 w 1806"/>
                <a:gd name="T95" fmla="*/ 98 h 1806"/>
                <a:gd name="T96" fmla="*/ 137 w 1806"/>
                <a:gd name="T97" fmla="*/ 118 h 1806"/>
                <a:gd name="T98" fmla="*/ 132 w 1806"/>
                <a:gd name="T99" fmla="*/ 129 h 1806"/>
                <a:gd name="T100" fmla="*/ 124 w 1806"/>
                <a:gd name="T101" fmla="*/ 135 h 1806"/>
                <a:gd name="T102" fmla="*/ 119 w 1806"/>
                <a:gd name="T103" fmla="*/ 136 h 1806"/>
                <a:gd name="T104" fmla="*/ 116 w 1806"/>
                <a:gd name="T105" fmla="*/ 137 h 1806"/>
                <a:gd name="T106" fmla="*/ 112 w 1806"/>
                <a:gd name="T107" fmla="*/ 139 h 1806"/>
                <a:gd name="T108" fmla="*/ 112 w 1806"/>
                <a:gd name="T109" fmla="*/ 141 h 1806"/>
                <a:gd name="T110" fmla="*/ 116 w 1806"/>
                <a:gd name="T111" fmla="*/ 146 h 1806"/>
                <a:gd name="T112" fmla="*/ 116 w 1806"/>
                <a:gd name="T113" fmla="*/ 151 h 1806"/>
                <a:gd name="T114" fmla="*/ 113 w 1806"/>
                <a:gd name="T115" fmla="*/ 153 h 18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6"/>
                <a:gd name="T175" fmla="*/ 0 h 1806"/>
                <a:gd name="T176" fmla="*/ 1806 w 1806"/>
                <a:gd name="T177" fmla="*/ 1806 h 18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6" h="1806">
                  <a:moveTo>
                    <a:pt x="1260" y="1776"/>
                  </a:moveTo>
                  <a:lnTo>
                    <a:pt x="1254" y="1776"/>
                  </a:lnTo>
                  <a:lnTo>
                    <a:pt x="1248" y="1776"/>
                  </a:lnTo>
                  <a:lnTo>
                    <a:pt x="1242" y="1782"/>
                  </a:lnTo>
                  <a:lnTo>
                    <a:pt x="1236" y="1782"/>
                  </a:lnTo>
                  <a:lnTo>
                    <a:pt x="1230" y="1788"/>
                  </a:lnTo>
                  <a:lnTo>
                    <a:pt x="1224" y="1782"/>
                  </a:lnTo>
                  <a:lnTo>
                    <a:pt x="1218" y="1782"/>
                  </a:lnTo>
                  <a:lnTo>
                    <a:pt x="1218" y="1788"/>
                  </a:lnTo>
                  <a:lnTo>
                    <a:pt x="1212" y="1788"/>
                  </a:lnTo>
                  <a:lnTo>
                    <a:pt x="1206" y="1788"/>
                  </a:lnTo>
                  <a:lnTo>
                    <a:pt x="1206" y="1794"/>
                  </a:lnTo>
                  <a:lnTo>
                    <a:pt x="1200" y="1806"/>
                  </a:lnTo>
                  <a:lnTo>
                    <a:pt x="1194" y="1800"/>
                  </a:lnTo>
                  <a:lnTo>
                    <a:pt x="1194" y="1794"/>
                  </a:lnTo>
                  <a:lnTo>
                    <a:pt x="1194" y="1788"/>
                  </a:lnTo>
                  <a:lnTo>
                    <a:pt x="1188" y="1788"/>
                  </a:lnTo>
                  <a:lnTo>
                    <a:pt x="1188" y="1782"/>
                  </a:lnTo>
                  <a:lnTo>
                    <a:pt x="1188" y="1776"/>
                  </a:lnTo>
                  <a:lnTo>
                    <a:pt x="1194" y="1770"/>
                  </a:lnTo>
                  <a:lnTo>
                    <a:pt x="1194" y="1764"/>
                  </a:lnTo>
                  <a:lnTo>
                    <a:pt x="1194" y="1758"/>
                  </a:lnTo>
                  <a:lnTo>
                    <a:pt x="1194" y="1752"/>
                  </a:lnTo>
                  <a:lnTo>
                    <a:pt x="1200" y="1746"/>
                  </a:lnTo>
                  <a:lnTo>
                    <a:pt x="1200" y="1740"/>
                  </a:lnTo>
                  <a:lnTo>
                    <a:pt x="1200" y="1734"/>
                  </a:lnTo>
                  <a:lnTo>
                    <a:pt x="1188" y="1722"/>
                  </a:lnTo>
                  <a:lnTo>
                    <a:pt x="1188" y="1716"/>
                  </a:lnTo>
                  <a:lnTo>
                    <a:pt x="1194" y="1704"/>
                  </a:lnTo>
                  <a:lnTo>
                    <a:pt x="1194" y="1692"/>
                  </a:lnTo>
                  <a:lnTo>
                    <a:pt x="1200" y="1680"/>
                  </a:lnTo>
                  <a:lnTo>
                    <a:pt x="1200" y="1662"/>
                  </a:lnTo>
                  <a:lnTo>
                    <a:pt x="1200" y="1650"/>
                  </a:lnTo>
                  <a:lnTo>
                    <a:pt x="1206" y="1644"/>
                  </a:lnTo>
                  <a:lnTo>
                    <a:pt x="1206" y="1638"/>
                  </a:lnTo>
                  <a:lnTo>
                    <a:pt x="1206" y="1626"/>
                  </a:lnTo>
                  <a:lnTo>
                    <a:pt x="1206" y="1620"/>
                  </a:lnTo>
                  <a:lnTo>
                    <a:pt x="1206" y="1614"/>
                  </a:lnTo>
                  <a:lnTo>
                    <a:pt x="1200" y="1608"/>
                  </a:lnTo>
                  <a:lnTo>
                    <a:pt x="1200" y="1602"/>
                  </a:lnTo>
                  <a:lnTo>
                    <a:pt x="1200" y="1596"/>
                  </a:lnTo>
                  <a:lnTo>
                    <a:pt x="1200" y="1590"/>
                  </a:lnTo>
                  <a:lnTo>
                    <a:pt x="1200" y="1572"/>
                  </a:lnTo>
                  <a:lnTo>
                    <a:pt x="1200" y="1566"/>
                  </a:lnTo>
                  <a:lnTo>
                    <a:pt x="1200" y="1560"/>
                  </a:lnTo>
                  <a:lnTo>
                    <a:pt x="1194" y="1554"/>
                  </a:lnTo>
                  <a:lnTo>
                    <a:pt x="1188" y="1548"/>
                  </a:lnTo>
                  <a:lnTo>
                    <a:pt x="1188" y="1542"/>
                  </a:lnTo>
                  <a:lnTo>
                    <a:pt x="1176" y="1536"/>
                  </a:lnTo>
                  <a:lnTo>
                    <a:pt x="1176" y="1530"/>
                  </a:lnTo>
                  <a:lnTo>
                    <a:pt x="1170" y="1524"/>
                  </a:lnTo>
                  <a:lnTo>
                    <a:pt x="1170" y="1518"/>
                  </a:lnTo>
                  <a:lnTo>
                    <a:pt x="1164" y="1512"/>
                  </a:lnTo>
                  <a:lnTo>
                    <a:pt x="1158" y="1506"/>
                  </a:lnTo>
                  <a:lnTo>
                    <a:pt x="1152" y="1500"/>
                  </a:lnTo>
                  <a:lnTo>
                    <a:pt x="1146" y="1494"/>
                  </a:lnTo>
                  <a:lnTo>
                    <a:pt x="1140" y="1488"/>
                  </a:lnTo>
                  <a:lnTo>
                    <a:pt x="1134" y="1482"/>
                  </a:lnTo>
                  <a:lnTo>
                    <a:pt x="1128" y="1476"/>
                  </a:lnTo>
                  <a:lnTo>
                    <a:pt x="1122" y="1470"/>
                  </a:lnTo>
                  <a:lnTo>
                    <a:pt x="1116" y="1464"/>
                  </a:lnTo>
                  <a:lnTo>
                    <a:pt x="1110" y="1464"/>
                  </a:lnTo>
                  <a:lnTo>
                    <a:pt x="1104" y="1458"/>
                  </a:lnTo>
                  <a:lnTo>
                    <a:pt x="1098" y="1464"/>
                  </a:lnTo>
                  <a:lnTo>
                    <a:pt x="1092" y="1464"/>
                  </a:lnTo>
                  <a:lnTo>
                    <a:pt x="1086" y="1446"/>
                  </a:lnTo>
                  <a:lnTo>
                    <a:pt x="1086" y="1440"/>
                  </a:lnTo>
                  <a:lnTo>
                    <a:pt x="1080" y="1416"/>
                  </a:lnTo>
                  <a:lnTo>
                    <a:pt x="1068" y="1404"/>
                  </a:lnTo>
                  <a:lnTo>
                    <a:pt x="1062" y="1398"/>
                  </a:lnTo>
                  <a:lnTo>
                    <a:pt x="1056" y="1398"/>
                  </a:lnTo>
                  <a:lnTo>
                    <a:pt x="1050" y="1398"/>
                  </a:lnTo>
                  <a:lnTo>
                    <a:pt x="1044" y="1398"/>
                  </a:lnTo>
                  <a:lnTo>
                    <a:pt x="1044" y="1392"/>
                  </a:lnTo>
                  <a:lnTo>
                    <a:pt x="1038" y="1392"/>
                  </a:lnTo>
                  <a:lnTo>
                    <a:pt x="1032" y="1392"/>
                  </a:lnTo>
                  <a:lnTo>
                    <a:pt x="1020" y="1386"/>
                  </a:lnTo>
                  <a:lnTo>
                    <a:pt x="1014" y="1386"/>
                  </a:lnTo>
                  <a:lnTo>
                    <a:pt x="1014" y="1380"/>
                  </a:lnTo>
                  <a:lnTo>
                    <a:pt x="1008" y="1380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62"/>
                  </a:lnTo>
                  <a:lnTo>
                    <a:pt x="984" y="1356"/>
                  </a:lnTo>
                  <a:lnTo>
                    <a:pt x="978" y="1356"/>
                  </a:lnTo>
                  <a:lnTo>
                    <a:pt x="972" y="1356"/>
                  </a:lnTo>
                  <a:lnTo>
                    <a:pt x="966" y="1356"/>
                  </a:lnTo>
                  <a:lnTo>
                    <a:pt x="966" y="1350"/>
                  </a:lnTo>
                  <a:lnTo>
                    <a:pt x="948" y="1350"/>
                  </a:lnTo>
                  <a:lnTo>
                    <a:pt x="936" y="1344"/>
                  </a:lnTo>
                  <a:lnTo>
                    <a:pt x="930" y="1338"/>
                  </a:lnTo>
                  <a:lnTo>
                    <a:pt x="918" y="1332"/>
                  </a:lnTo>
                  <a:lnTo>
                    <a:pt x="900" y="1326"/>
                  </a:lnTo>
                  <a:lnTo>
                    <a:pt x="864" y="1332"/>
                  </a:lnTo>
                  <a:lnTo>
                    <a:pt x="828" y="1332"/>
                  </a:lnTo>
                  <a:lnTo>
                    <a:pt x="792" y="1314"/>
                  </a:lnTo>
                  <a:lnTo>
                    <a:pt x="780" y="1314"/>
                  </a:lnTo>
                  <a:lnTo>
                    <a:pt x="780" y="1308"/>
                  </a:lnTo>
                  <a:lnTo>
                    <a:pt x="756" y="1296"/>
                  </a:lnTo>
                  <a:lnTo>
                    <a:pt x="756" y="1278"/>
                  </a:lnTo>
                  <a:lnTo>
                    <a:pt x="768" y="1278"/>
                  </a:lnTo>
                  <a:lnTo>
                    <a:pt x="774" y="1272"/>
                  </a:lnTo>
                  <a:lnTo>
                    <a:pt x="780" y="1266"/>
                  </a:lnTo>
                  <a:lnTo>
                    <a:pt x="786" y="1260"/>
                  </a:lnTo>
                  <a:lnTo>
                    <a:pt x="792" y="1254"/>
                  </a:lnTo>
                  <a:lnTo>
                    <a:pt x="798" y="1242"/>
                  </a:lnTo>
                  <a:lnTo>
                    <a:pt x="804" y="1242"/>
                  </a:lnTo>
                  <a:lnTo>
                    <a:pt x="804" y="1206"/>
                  </a:lnTo>
                  <a:lnTo>
                    <a:pt x="804" y="1182"/>
                  </a:lnTo>
                  <a:lnTo>
                    <a:pt x="804" y="1158"/>
                  </a:lnTo>
                  <a:lnTo>
                    <a:pt x="804" y="1134"/>
                  </a:lnTo>
                  <a:lnTo>
                    <a:pt x="798" y="1116"/>
                  </a:lnTo>
                  <a:lnTo>
                    <a:pt x="792" y="1092"/>
                  </a:lnTo>
                  <a:lnTo>
                    <a:pt x="786" y="1062"/>
                  </a:lnTo>
                  <a:lnTo>
                    <a:pt x="768" y="1032"/>
                  </a:lnTo>
                  <a:lnTo>
                    <a:pt x="762" y="1032"/>
                  </a:lnTo>
                  <a:lnTo>
                    <a:pt x="762" y="1020"/>
                  </a:lnTo>
                  <a:lnTo>
                    <a:pt x="762" y="1014"/>
                  </a:lnTo>
                  <a:lnTo>
                    <a:pt x="756" y="1008"/>
                  </a:lnTo>
                  <a:lnTo>
                    <a:pt x="750" y="1002"/>
                  </a:lnTo>
                  <a:lnTo>
                    <a:pt x="738" y="1002"/>
                  </a:lnTo>
                  <a:lnTo>
                    <a:pt x="738" y="990"/>
                  </a:lnTo>
                  <a:lnTo>
                    <a:pt x="726" y="990"/>
                  </a:lnTo>
                  <a:lnTo>
                    <a:pt x="726" y="978"/>
                  </a:lnTo>
                  <a:lnTo>
                    <a:pt x="732" y="972"/>
                  </a:lnTo>
                  <a:lnTo>
                    <a:pt x="732" y="966"/>
                  </a:lnTo>
                  <a:lnTo>
                    <a:pt x="726" y="966"/>
                  </a:lnTo>
                  <a:lnTo>
                    <a:pt x="732" y="948"/>
                  </a:lnTo>
                  <a:lnTo>
                    <a:pt x="726" y="942"/>
                  </a:lnTo>
                  <a:lnTo>
                    <a:pt x="726" y="930"/>
                  </a:lnTo>
                  <a:lnTo>
                    <a:pt x="720" y="924"/>
                  </a:lnTo>
                  <a:lnTo>
                    <a:pt x="714" y="912"/>
                  </a:lnTo>
                  <a:lnTo>
                    <a:pt x="714" y="882"/>
                  </a:lnTo>
                  <a:lnTo>
                    <a:pt x="714" y="870"/>
                  </a:lnTo>
                  <a:lnTo>
                    <a:pt x="714" y="858"/>
                  </a:lnTo>
                  <a:lnTo>
                    <a:pt x="714" y="846"/>
                  </a:lnTo>
                  <a:lnTo>
                    <a:pt x="708" y="822"/>
                  </a:lnTo>
                  <a:lnTo>
                    <a:pt x="702" y="798"/>
                  </a:lnTo>
                  <a:lnTo>
                    <a:pt x="696" y="792"/>
                  </a:lnTo>
                  <a:lnTo>
                    <a:pt x="684" y="726"/>
                  </a:lnTo>
                  <a:lnTo>
                    <a:pt x="678" y="666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66" y="600"/>
                  </a:lnTo>
                  <a:lnTo>
                    <a:pt x="660" y="594"/>
                  </a:lnTo>
                  <a:lnTo>
                    <a:pt x="654" y="594"/>
                  </a:lnTo>
                  <a:lnTo>
                    <a:pt x="636" y="582"/>
                  </a:lnTo>
                  <a:lnTo>
                    <a:pt x="630" y="576"/>
                  </a:lnTo>
                  <a:lnTo>
                    <a:pt x="624" y="576"/>
                  </a:lnTo>
                  <a:lnTo>
                    <a:pt x="618" y="570"/>
                  </a:lnTo>
                  <a:lnTo>
                    <a:pt x="612" y="564"/>
                  </a:lnTo>
                  <a:lnTo>
                    <a:pt x="606" y="558"/>
                  </a:lnTo>
                  <a:lnTo>
                    <a:pt x="606" y="564"/>
                  </a:lnTo>
                  <a:lnTo>
                    <a:pt x="600" y="564"/>
                  </a:lnTo>
                  <a:lnTo>
                    <a:pt x="594" y="558"/>
                  </a:lnTo>
                  <a:lnTo>
                    <a:pt x="594" y="540"/>
                  </a:lnTo>
                  <a:lnTo>
                    <a:pt x="594" y="528"/>
                  </a:lnTo>
                  <a:lnTo>
                    <a:pt x="594" y="516"/>
                  </a:lnTo>
                  <a:lnTo>
                    <a:pt x="594" y="510"/>
                  </a:lnTo>
                  <a:lnTo>
                    <a:pt x="594" y="492"/>
                  </a:lnTo>
                  <a:lnTo>
                    <a:pt x="594" y="456"/>
                  </a:lnTo>
                  <a:lnTo>
                    <a:pt x="588" y="414"/>
                  </a:lnTo>
                  <a:lnTo>
                    <a:pt x="588" y="408"/>
                  </a:lnTo>
                  <a:lnTo>
                    <a:pt x="582" y="396"/>
                  </a:lnTo>
                  <a:lnTo>
                    <a:pt x="582" y="384"/>
                  </a:lnTo>
                  <a:lnTo>
                    <a:pt x="582" y="372"/>
                  </a:lnTo>
                  <a:lnTo>
                    <a:pt x="564" y="372"/>
                  </a:lnTo>
                  <a:lnTo>
                    <a:pt x="552" y="366"/>
                  </a:lnTo>
                  <a:lnTo>
                    <a:pt x="552" y="372"/>
                  </a:lnTo>
                  <a:lnTo>
                    <a:pt x="498" y="372"/>
                  </a:lnTo>
                  <a:lnTo>
                    <a:pt x="498" y="366"/>
                  </a:lnTo>
                  <a:lnTo>
                    <a:pt x="474" y="360"/>
                  </a:lnTo>
                  <a:lnTo>
                    <a:pt x="456" y="354"/>
                  </a:lnTo>
                  <a:lnTo>
                    <a:pt x="438" y="348"/>
                  </a:lnTo>
                  <a:lnTo>
                    <a:pt x="426" y="354"/>
                  </a:lnTo>
                  <a:lnTo>
                    <a:pt x="408" y="360"/>
                  </a:lnTo>
                  <a:lnTo>
                    <a:pt x="378" y="360"/>
                  </a:lnTo>
                  <a:lnTo>
                    <a:pt x="378" y="354"/>
                  </a:lnTo>
                  <a:lnTo>
                    <a:pt x="378" y="348"/>
                  </a:lnTo>
                  <a:lnTo>
                    <a:pt x="378" y="342"/>
                  </a:lnTo>
                  <a:lnTo>
                    <a:pt x="390" y="330"/>
                  </a:lnTo>
                  <a:lnTo>
                    <a:pt x="396" y="312"/>
                  </a:lnTo>
                  <a:lnTo>
                    <a:pt x="396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8"/>
                  </a:lnTo>
                  <a:lnTo>
                    <a:pt x="372" y="234"/>
                  </a:lnTo>
                  <a:lnTo>
                    <a:pt x="354" y="234"/>
                  </a:lnTo>
                  <a:lnTo>
                    <a:pt x="342" y="246"/>
                  </a:lnTo>
                  <a:lnTo>
                    <a:pt x="330" y="252"/>
                  </a:lnTo>
                  <a:lnTo>
                    <a:pt x="318" y="252"/>
                  </a:lnTo>
                  <a:lnTo>
                    <a:pt x="276" y="258"/>
                  </a:lnTo>
                  <a:lnTo>
                    <a:pt x="276" y="264"/>
                  </a:lnTo>
                  <a:lnTo>
                    <a:pt x="252" y="270"/>
                  </a:lnTo>
                  <a:lnTo>
                    <a:pt x="240" y="270"/>
                  </a:lnTo>
                  <a:lnTo>
                    <a:pt x="228" y="276"/>
                  </a:lnTo>
                  <a:lnTo>
                    <a:pt x="210" y="282"/>
                  </a:lnTo>
                  <a:lnTo>
                    <a:pt x="198" y="288"/>
                  </a:lnTo>
                  <a:lnTo>
                    <a:pt x="186" y="294"/>
                  </a:lnTo>
                  <a:lnTo>
                    <a:pt x="174" y="330"/>
                  </a:lnTo>
                  <a:lnTo>
                    <a:pt x="162" y="342"/>
                  </a:lnTo>
                  <a:lnTo>
                    <a:pt x="156" y="354"/>
                  </a:lnTo>
                  <a:lnTo>
                    <a:pt x="150" y="360"/>
                  </a:lnTo>
                  <a:lnTo>
                    <a:pt x="150" y="366"/>
                  </a:lnTo>
                  <a:lnTo>
                    <a:pt x="108" y="372"/>
                  </a:lnTo>
                  <a:lnTo>
                    <a:pt x="60" y="378"/>
                  </a:lnTo>
                  <a:lnTo>
                    <a:pt x="42" y="378"/>
                  </a:lnTo>
                  <a:lnTo>
                    <a:pt x="12" y="378"/>
                  </a:lnTo>
                  <a:lnTo>
                    <a:pt x="6" y="378"/>
                  </a:lnTo>
                  <a:lnTo>
                    <a:pt x="0" y="366"/>
                  </a:lnTo>
                  <a:lnTo>
                    <a:pt x="12" y="360"/>
                  </a:lnTo>
                  <a:lnTo>
                    <a:pt x="24" y="348"/>
                  </a:lnTo>
                  <a:lnTo>
                    <a:pt x="30" y="342"/>
                  </a:lnTo>
                  <a:lnTo>
                    <a:pt x="36" y="330"/>
                  </a:lnTo>
                  <a:lnTo>
                    <a:pt x="72" y="300"/>
                  </a:lnTo>
                  <a:lnTo>
                    <a:pt x="78" y="294"/>
                  </a:lnTo>
                  <a:lnTo>
                    <a:pt x="78" y="288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96" y="270"/>
                  </a:lnTo>
                  <a:lnTo>
                    <a:pt x="102" y="264"/>
                  </a:lnTo>
                  <a:lnTo>
                    <a:pt x="108" y="258"/>
                  </a:lnTo>
                  <a:lnTo>
                    <a:pt x="114" y="246"/>
                  </a:lnTo>
                  <a:lnTo>
                    <a:pt x="120" y="240"/>
                  </a:lnTo>
                  <a:lnTo>
                    <a:pt x="126" y="234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0" y="210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86" y="174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22" y="138"/>
                  </a:lnTo>
                  <a:lnTo>
                    <a:pt x="234" y="132"/>
                  </a:lnTo>
                  <a:lnTo>
                    <a:pt x="246" y="126"/>
                  </a:lnTo>
                  <a:lnTo>
                    <a:pt x="246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88" y="102"/>
                  </a:lnTo>
                  <a:lnTo>
                    <a:pt x="300" y="96"/>
                  </a:lnTo>
                  <a:lnTo>
                    <a:pt x="306" y="90"/>
                  </a:lnTo>
                  <a:lnTo>
                    <a:pt x="318" y="90"/>
                  </a:lnTo>
                  <a:lnTo>
                    <a:pt x="324" y="84"/>
                  </a:lnTo>
                  <a:lnTo>
                    <a:pt x="348" y="72"/>
                  </a:lnTo>
                  <a:lnTo>
                    <a:pt x="354" y="72"/>
                  </a:lnTo>
                  <a:lnTo>
                    <a:pt x="384" y="66"/>
                  </a:lnTo>
                  <a:lnTo>
                    <a:pt x="390" y="66"/>
                  </a:lnTo>
                  <a:lnTo>
                    <a:pt x="396" y="66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66"/>
                  </a:lnTo>
                  <a:lnTo>
                    <a:pt x="438" y="66"/>
                  </a:lnTo>
                  <a:lnTo>
                    <a:pt x="468" y="66"/>
                  </a:lnTo>
                  <a:lnTo>
                    <a:pt x="480" y="66"/>
                  </a:lnTo>
                  <a:lnTo>
                    <a:pt x="486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22" y="60"/>
                  </a:lnTo>
                  <a:lnTo>
                    <a:pt x="534" y="54"/>
                  </a:lnTo>
                  <a:lnTo>
                    <a:pt x="564" y="42"/>
                  </a:lnTo>
                  <a:lnTo>
                    <a:pt x="570" y="42"/>
                  </a:lnTo>
                  <a:lnTo>
                    <a:pt x="582" y="36"/>
                  </a:lnTo>
                  <a:lnTo>
                    <a:pt x="588" y="36"/>
                  </a:lnTo>
                  <a:lnTo>
                    <a:pt x="600" y="30"/>
                  </a:lnTo>
                  <a:lnTo>
                    <a:pt x="606" y="30"/>
                  </a:lnTo>
                  <a:lnTo>
                    <a:pt x="618" y="24"/>
                  </a:lnTo>
                  <a:lnTo>
                    <a:pt x="642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72" y="12"/>
                  </a:lnTo>
                  <a:lnTo>
                    <a:pt x="696" y="12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50" y="6"/>
                  </a:lnTo>
                  <a:lnTo>
                    <a:pt x="768" y="6"/>
                  </a:lnTo>
                  <a:lnTo>
                    <a:pt x="774" y="6"/>
                  </a:lnTo>
                  <a:lnTo>
                    <a:pt x="786" y="6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6" y="6"/>
                  </a:lnTo>
                  <a:lnTo>
                    <a:pt x="846" y="6"/>
                  </a:lnTo>
                  <a:lnTo>
                    <a:pt x="852" y="0"/>
                  </a:lnTo>
                  <a:lnTo>
                    <a:pt x="876" y="0"/>
                  </a:lnTo>
                  <a:lnTo>
                    <a:pt x="876" y="6"/>
                  </a:lnTo>
                  <a:lnTo>
                    <a:pt x="888" y="0"/>
                  </a:lnTo>
                  <a:lnTo>
                    <a:pt x="900" y="0"/>
                  </a:lnTo>
                  <a:lnTo>
                    <a:pt x="906" y="0"/>
                  </a:lnTo>
                  <a:lnTo>
                    <a:pt x="912" y="0"/>
                  </a:lnTo>
                  <a:lnTo>
                    <a:pt x="948" y="0"/>
                  </a:lnTo>
                  <a:lnTo>
                    <a:pt x="954" y="0"/>
                  </a:lnTo>
                  <a:lnTo>
                    <a:pt x="972" y="0"/>
                  </a:lnTo>
                  <a:lnTo>
                    <a:pt x="978" y="0"/>
                  </a:lnTo>
                  <a:lnTo>
                    <a:pt x="996" y="0"/>
                  </a:lnTo>
                  <a:lnTo>
                    <a:pt x="1032" y="0"/>
                  </a:lnTo>
                  <a:lnTo>
                    <a:pt x="1044" y="0"/>
                  </a:lnTo>
                  <a:lnTo>
                    <a:pt x="1050" y="0"/>
                  </a:lnTo>
                  <a:lnTo>
                    <a:pt x="1056" y="6"/>
                  </a:lnTo>
                  <a:lnTo>
                    <a:pt x="1056" y="0"/>
                  </a:lnTo>
                  <a:lnTo>
                    <a:pt x="1074" y="0"/>
                  </a:lnTo>
                  <a:lnTo>
                    <a:pt x="1098" y="6"/>
                  </a:lnTo>
                  <a:lnTo>
                    <a:pt x="1116" y="6"/>
                  </a:lnTo>
                  <a:lnTo>
                    <a:pt x="1140" y="12"/>
                  </a:lnTo>
                  <a:lnTo>
                    <a:pt x="1152" y="12"/>
                  </a:lnTo>
                  <a:lnTo>
                    <a:pt x="1158" y="12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6" y="12"/>
                  </a:lnTo>
                  <a:lnTo>
                    <a:pt x="1194" y="18"/>
                  </a:lnTo>
                  <a:lnTo>
                    <a:pt x="1206" y="18"/>
                  </a:lnTo>
                  <a:lnTo>
                    <a:pt x="1242" y="36"/>
                  </a:lnTo>
                  <a:lnTo>
                    <a:pt x="1248" y="36"/>
                  </a:lnTo>
                  <a:lnTo>
                    <a:pt x="1254" y="36"/>
                  </a:lnTo>
                  <a:lnTo>
                    <a:pt x="1260" y="42"/>
                  </a:lnTo>
                  <a:lnTo>
                    <a:pt x="1272" y="48"/>
                  </a:lnTo>
                  <a:lnTo>
                    <a:pt x="1278" y="48"/>
                  </a:lnTo>
                  <a:lnTo>
                    <a:pt x="1284" y="48"/>
                  </a:lnTo>
                  <a:lnTo>
                    <a:pt x="1290" y="54"/>
                  </a:lnTo>
                  <a:lnTo>
                    <a:pt x="1308" y="60"/>
                  </a:lnTo>
                  <a:lnTo>
                    <a:pt x="1326" y="60"/>
                  </a:lnTo>
                  <a:lnTo>
                    <a:pt x="1338" y="66"/>
                  </a:lnTo>
                  <a:lnTo>
                    <a:pt x="1344" y="66"/>
                  </a:lnTo>
                  <a:lnTo>
                    <a:pt x="1350" y="66"/>
                  </a:lnTo>
                  <a:lnTo>
                    <a:pt x="1356" y="66"/>
                  </a:lnTo>
                  <a:lnTo>
                    <a:pt x="1362" y="72"/>
                  </a:lnTo>
                  <a:lnTo>
                    <a:pt x="1368" y="72"/>
                  </a:lnTo>
                  <a:lnTo>
                    <a:pt x="1380" y="72"/>
                  </a:lnTo>
                  <a:lnTo>
                    <a:pt x="1386" y="72"/>
                  </a:lnTo>
                  <a:lnTo>
                    <a:pt x="1422" y="84"/>
                  </a:lnTo>
                  <a:lnTo>
                    <a:pt x="1428" y="84"/>
                  </a:lnTo>
                  <a:lnTo>
                    <a:pt x="1446" y="90"/>
                  </a:lnTo>
                  <a:lnTo>
                    <a:pt x="1458" y="102"/>
                  </a:lnTo>
                  <a:lnTo>
                    <a:pt x="1494" y="126"/>
                  </a:lnTo>
                  <a:lnTo>
                    <a:pt x="1500" y="132"/>
                  </a:lnTo>
                  <a:lnTo>
                    <a:pt x="1512" y="138"/>
                  </a:lnTo>
                  <a:lnTo>
                    <a:pt x="1512" y="144"/>
                  </a:lnTo>
                  <a:lnTo>
                    <a:pt x="1518" y="150"/>
                  </a:lnTo>
                  <a:lnTo>
                    <a:pt x="1530" y="156"/>
                  </a:lnTo>
                  <a:lnTo>
                    <a:pt x="1530" y="162"/>
                  </a:lnTo>
                  <a:lnTo>
                    <a:pt x="1548" y="168"/>
                  </a:lnTo>
                  <a:lnTo>
                    <a:pt x="1566" y="180"/>
                  </a:lnTo>
                  <a:lnTo>
                    <a:pt x="1578" y="186"/>
                  </a:lnTo>
                  <a:lnTo>
                    <a:pt x="1578" y="180"/>
                  </a:lnTo>
                  <a:lnTo>
                    <a:pt x="1584" y="186"/>
                  </a:lnTo>
                  <a:lnTo>
                    <a:pt x="1584" y="174"/>
                  </a:lnTo>
                  <a:lnTo>
                    <a:pt x="1590" y="174"/>
                  </a:lnTo>
                  <a:lnTo>
                    <a:pt x="1590" y="180"/>
                  </a:lnTo>
                  <a:lnTo>
                    <a:pt x="1596" y="180"/>
                  </a:lnTo>
                  <a:lnTo>
                    <a:pt x="1596" y="174"/>
                  </a:lnTo>
                  <a:lnTo>
                    <a:pt x="1602" y="174"/>
                  </a:lnTo>
                  <a:lnTo>
                    <a:pt x="1608" y="174"/>
                  </a:lnTo>
                  <a:lnTo>
                    <a:pt x="1614" y="180"/>
                  </a:lnTo>
                  <a:lnTo>
                    <a:pt x="1620" y="174"/>
                  </a:lnTo>
                  <a:lnTo>
                    <a:pt x="1614" y="168"/>
                  </a:lnTo>
                  <a:lnTo>
                    <a:pt x="1614" y="162"/>
                  </a:lnTo>
                  <a:lnTo>
                    <a:pt x="1620" y="162"/>
                  </a:lnTo>
                  <a:lnTo>
                    <a:pt x="1626" y="162"/>
                  </a:lnTo>
                  <a:lnTo>
                    <a:pt x="1632" y="162"/>
                  </a:lnTo>
                  <a:lnTo>
                    <a:pt x="1638" y="168"/>
                  </a:lnTo>
                  <a:lnTo>
                    <a:pt x="1644" y="168"/>
                  </a:lnTo>
                  <a:lnTo>
                    <a:pt x="1650" y="174"/>
                  </a:lnTo>
                  <a:lnTo>
                    <a:pt x="1656" y="168"/>
                  </a:lnTo>
                  <a:lnTo>
                    <a:pt x="1668" y="168"/>
                  </a:lnTo>
                  <a:lnTo>
                    <a:pt x="1674" y="174"/>
                  </a:lnTo>
                  <a:lnTo>
                    <a:pt x="1674" y="180"/>
                  </a:lnTo>
                  <a:lnTo>
                    <a:pt x="1674" y="186"/>
                  </a:lnTo>
                  <a:lnTo>
                    <a:pt x="1680" y="186"/>
                  </a:lnTo>
                  <a:lnTo>
                    <a:pt x="1680" y="192"/>
                  </a:lnTo>
                  <a:lnTo>
                    <a:pt x="1686" y="192"/>
                  </a:lnTo>
                  <a:lnTo>
                    <a:pt x="1686" y="186"/>
                  </a:lnTo>
                  <a:lnTo>
                    <a:pt x="1680" y="186"/>
                  </a:lnTo>
                  <a:lnTo>
                    <a:pt x="1686" y="180"/>
                  </a:lnTo>
                  <a:lnTo>
                    <a:pt x="1692" y="180"/>
                  </a:lnTo>
                  <a:lnTo>
                    <a:pt x="1698" y="180"/>
                  </a:lnTo>
                  <a:lnTo>
                    <a:pt x="1704" y="180"/>
                  </a:lnTo>
                  <a:lnTo>
                    <a:pt x="1704" y="186"/>
                  </a:lnTo>
                  <a:lnTo>
                    <a:pt x="1710" y="186"/>
                  </a:lnTo>
                  <a:lnTo>
                    <a:pt x="1716" y="186"/>
                  </a:lnTo>
                  <a:lnTo>
                    <a:pt x="1716" y="192"/>
                  </a:lnTo>
                  <a:lnTo>
                    <a:pt x="1716" y="198"/>
                  </a:lnTo>
                  <a:lnTo>
                    <a:pt x="1722" y="192"/>
                  </a:lnTo>
                  <a:lnTo>
                    <a:pt x="1722" y="186"/>
                  </a:lnTo>
                  <a:lnTo>
                    <a:pt x="1728" y="192"/>
                  </a:lnTo>
                  <a:lnTo>
                    <a:pt x="1734" y="192"/>
                  </a:lnTo>
                  <a:lnTo>
                    <a:pt x="1734" y="186"/>
                  </a:lnTo>
                  <a:lnTo>
                    <a:pt x="1740" y="186"/>
                  </a:lnTo>
                  <a:lnTo>
                    <a:pt x="1740" y="192"/>
                  </a:lnTo>
                  <a:lnTo>
                    <a:pt x="1746" y="192"/>
                  </a:lnTo>
                  <a:lnTo>
                    <a:pt x="1758" y="192"/>
                  </a:lnTo>
                  <a:lnTo>
                    <a:pt x="1764" y="192"/>
                  </a:lnTo>
                  <a:lnTo>
                    <a:pt x="1764" y="198"/>
                  </a:lnTo>
                  <a:lnTo>
                    <a:pt x="1758" y="204"/>
                  </a:lnTo>
                  <a:lnTo>
                    <a:pt x="1752" y="210"/>
                  </a:lnTo>
                  <a:lnTo>
                    <a:pt x="1746" y="216"/>
                  </a:lnTo>
                  <a:lnTo>
                    <a:pt x="1746" y="222"/>
                  </a:lnTo>
                  <a:lnTo>
                    <a:pt x="1734" y="228"/>
                  </a:lnTo>
                  <a:lnTo>
                    <a:pt x="1734" y="234"/>
                  </a:lnTo>
                  <a:lnTo>
                    <a:pt x="1734" y="258"/>
                  </a:lnTo>
                  <a:lnTo>
                    <a:pt x="1740" y="330"/>
                  </a:lnTo>
                  <a:lnTo>
                    <a:pt x="1746" y="372"/>
                  </a:lnTo>
                  <a:lnTo>
                    <a:pt x="1788" y="426"/>
                  </a:lnTo>
                  <a:lnTo>
                    <a:pt x="1806" y="438"/>
                  </a:lnTo>
                  <a:lnTo>
                    <a:pt x="1794" y="480"/>
                  </a:lnTo>
                  <a:lnTo>
                    <a:pt x="1770" y="516"/>
                  </a:lnTo>
                  <a:lnTo>
                    <a:pt x="1746" y="546"/>
                  </a:lnTo>
                  <a:lnTo>
                    <a:pt x="1716" y="570"/>
                  </a:lnTo>
                  <a:lnTo>
                    <a:pt x="1680" y="594"/>
                  </a:lnTo>
                  <a:lnTo>
                    <a:pt x="1668" y="630"/>
                  </a:lnTo>
                  <a:lnTo>
                    <a:pt x="1680" y="684"/>
                  </a:lnTo>
                  <a:lnTo>
                    <a:pt x="1686" y="756"/>
                  </a:lnTo>
                  <a:lnTo>
                    <a:pt x="1662" y="870"/>
                  </a:lnTo>
                  <a:lnTo>
                    <a:pt x="1656" y="888"/>
                  </a:lnTo>
                  <a:lnTo>
                    <a:pt x="1650" y="972"/>
                  </a:lnTo>
                  <a:lnTo>
                    <a:pt x="1656" y="978"/>
                  </a:lnTo>
                  <a:lnTo>
                    <a:pt x="1650" y="984"/>
                  </a:lnTo>
                  <a:lnTo>
                    <a:pt x="1650" y="990"/>
                  </a:lnTo>
                  <a:lnTo>
                    <a:pt x="1650" y="1002"/>
                  </a:lnTo>
                  <a:lnTo>
                    <a:pt x="1656" y="1008"/>
                  </a:lnTo>
                  <a:lnTo>
                    <a:pt x="1656" y="1014"/>
                  </a:lnTo>
                  <a:lnTo>
                    <a:pt x="1662" y="1026"/>
                  </a:lnTo>
                  <a:lnTo>
                    <a:pt x="1650" y="1032"/>
                  </a:lnTo>
                  <a:lnTo>
                    <a:pt x="1638" y="1044"/>
                  </a:lnTo>
                  <a:lnTo>
                    <a:pt x="1626" y="1080"/>
                  </a:lnTo>
                  <a:lnTo>
                    <a:pt x="1614" y="1116"/>
                  </a:lnTo>
                  <a:lnTo>
                    <a:pt x="1614" y="1128"/>
                  </a:lnTo>
                  <a:lnTo>
                    <a:pt x="1626" y="1134"/>
                  </a:lnTo>
                  <a:lnTo>
                    <a:pt x="1644" y="1134"/>
                  </a:lnTo>
                  <a:lnTo>
                    <a:pt x="1662" y="1134"/>
                  </a:lnTo>
                  <a:lnTo>
                    <a:pt x="1680" y="1140"/>
                  </a:lnTo>
                  <a:lnTo>
                    <a:pt x="1698" y="1170"/>
                  </a:lnTo>
                  <a:lnTo>
                    <a:pt x="1704" y="1194"/>
                  </a:lnTo>
                  <a:lnTo>
                    <a:pt x="1692" y="1206"/>
                  </a:lnTo>
                  <a:lnTo>
                    <a:pt x="1662" y="1242"/>
                  </a:lnTo>
                  <a:lnTo>
                    <a:pt x="1632" y="1266"/>
                  </a:lnTo>
                  <a:lnTo>
                    <a:pt x="1620" y="1314"/>
                  </a:lnTo>
                  <a:lnTo>
                    <a:pt x="1584" y="1356"/>
                  </a:lnTo>
                  <a:lnTo>
                    <a:pt x="1578" y="1356"/>
                  </a:lnTo>
                  <a:lnTo>
                    <a:pt x="1578" y="1362"/>
                  </a:lnTo>
                  <a:lnTo>
                    <a:pt x="1572" y="1410"/>
                  </a:lnTo>
                  <a:lnTo>
                    <a:pt x="1584" y="1452"/>
                  </a:lnTo>
                  <a:lnTo>
                    <a:pt x="1608" y="1476"/>
                  </a:lnTo>
                  <a:lnTo>
                    <a:pt x="1596" y="1476"/>
                  </a:lnTo>
                  <a:lnTo>
                    <a:pt x="1584" y="1482"/>
                  </a:lnTo>
                  <a:lnTo>
                    <a:pt x="1560" y="1482"/>
                  </a:lnTo>
                  <a:lnTo>
                    <a:pt x="1536" y="1482"/>
                  </a:lnTo>
                  <a:lnTo>
                    <a:pt x="1524" y="1482"/>
                  </a:lnTo>
                  <a:lnTo>
                    <a:pt x="1506" y="1500"/>
                  </a:lnTo>
                  <a:lnTo>
                    <a:pt x="1482" y="1530"/>
                  </a:lnTo>
                  <a:lnTo>
                    <a:pt x="1452" y="1542"/>
                  </a:lnTo>
                  <a:lnTo>
                    <a:pt x="1446" y="1542"/>
                  </a:lnTo>
                  <a:lnTo>
                    <a:pt x="1440" y="1542"/>
                  </a:lnTo>
                  <a:lnTo>
                    <a:pt x="1440" y="1548"/>
                  </a:lnTo>
                  <a:lnTo>
                    <a:pt x="1434" y="1548"/>
                  </a:lnTo>
                  <a:lnTo>
                    <a:pt x="1428" y="1548"/>
                  </a:lnTo>
                  <a:lnTo>
                    <a:pt x="1428" y="1554"/>
                  </a:lnTo>
                  <a:lnTo>
                    <a:pt x="1422" y="1560"/>
                  </a:lnTo>
                  <a:lnTo>
                    <a:pt x="1416" y="1560"/>
                  </a:lnTo>
                  <a:lnTo>
                    <a:pt x="1410" y="1566"/>
                  </a:lnTo>
                  <a:lnTo>
                    <a:pt x="1410" y="1560"/>
                  </a:lnTo>
                  <a:lnTo>
                    <a:pt x="1404" y="1560"/>
                  </a:lnTo>
                  <a:lnTo>
                    <a:pt x="1392" y="1560"/>
                  </a:lnTo>
                  <a:lnTo>
                    <a:pt x="1386" y="1560"/>
                  </a:lnTo>
                  <a:lnTo>
                    <a:pt x="1380" y="1566"/>
                  </a:lnTo>
                  <a:lnTo>
                    <a:pt x="1374" y="1560"/>
                  </a:lnTo>
                  <a:lnTo>
                    <a:pt x="1368" y="1566"/>
                  </a:lnTo>
                  <a:lnTo>
                    <a:pt x="1362" y="1566"/>
                  </a:lnTo>
                  <a:lnTo>
                    <a:pt x="1362" y="1572"/>
                  </a:lnTo>
                  <a:lnTo>
                    <a:pt x="1356" y="1572"/>
                  </a:lnTo>
                  <a:lnTo>
                    <a:pt x="1356" y="1578"/>
                  </a:lnTo>
                  <a:lnTo>
                    <a:pt x="1350" y="1578"/>
                  </a:lnTo>
                  <a:lnTo>
                    <a:pt x="1350" y="1572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32" y="1584"/>
                  </a:lnTo>
                  <a:lnTo>
                    <a:pt x="1326" y="1590"/>
                  </a:lnTo>
                  <a:lnTo>
                    <a:pt x="1320" y="1584"/>
                  </a:lnTo>
                  <a:lnTo>
                    <a:pt x="1314" y="1590"/>
                  </a:lnTo>
                  <a:lnTo>
                    <a:pt x="1308" y="1596"/>
                  </a:lnTo>
                  <a:lnTo>
                    <a:pt x="1302" y="1596"/>
                  </a:lnTo>
                  <a:lnTo>
                    <a:pt x="1296" y="1596"/>
                  </a:lnTo>
                  <a:lnTo>
                    <a:pt x="1290" y="1596"/>
                  </a:lnTo>
                  <a:lnTo>
                    <a:pt x="1284" y="1596"/>
                  </a:lnTo>
                  <a:lnTo>
                    <a:pt x="1278" y="1602"/>
                  </a:lnTo>
                  <a:lnTo>
                    <a:pt x="1266" y="1602"/>
                  </a:lnTo>
                  <a:lnTo>
                    <a:pt x="1272" y="1608"/>
                  </a:lnTo>
                  <a:lnTo>
                    <a:pt x="1278" y="1608"/>
                  </a:lnTo>
                  <a:lnTo>
                    <a:pt x="1284" y="1608"/>
                  </a:lnTo>
                  <a:lnTo>
                    <a:pt x="1290" y="1614"/>
                  </a:lnTo>
                  <a:lnTo>
                    <a:pt x="1296" y="1620"/>
                  </a:lnTo>
                  <a:lnTo>
                    <a:pt x="1302" y="1626"/>
                  </a:lnTo>
                  <a:lnTo>
                    <a:pt x="1308" y="1632"/>
                  </a:lnTo>
                  <a:lnTo>
                    <a:pt x="1314" y="1638"/>
                  </a:lnTo>
                  <a:lnTo>
                    <a:pt x="1314" y="1644"/>
                  </a:lnTo>
                  <a:lnTo>
                    <a:pt x="1320" y="1644"/>
                  </a:lnTo>
                  <a:lnTo>
                    <a:pt x="1320" y="1650"/>
                  </a:lnTo>
                  <a:lnTo>
                    <a:pt x="1326" y="1656"/>
                  </a:lnTo>
                  <a:lnTo>
                    <a:pt x="1332" y="1668"/>
                  </a:lnTo>
                  <a:lnTo>
                    <a:pt x="1338" y="1680"/>
                  </a:lnTo>
                  <a:lnTo>
                    <a:pt x="1338" y="1698"/>
                  </a:lnTo>
                  <a:lnTo>
                    <a:pt x="1350" y="1710"/>
                  </a:lnTo>
                  <a:lnTo>
                    <a:pt x="1350" y="1716"/>
                  </a:lnTo>
                  <a:lnTo>
                    <a:pt x="1350" y="1722"/>
                  </a:lnTo>
                  <a:lnTo>
                    <a:pt x="1350" y="1728"/>
                  </a:lnTo>
                  <a:lnTo>
                    <a:pt x="1356" y="1728"/>
                  </a:lnTo>
                  <a:lnTo>
                    <a:pt x="1356" y="1734"/>
                  </a:lnTo>
                  <a:lnTo>
                    <a:pt x="1350" y="1734"/>
                  </a:lnTo>
                  <a:lnTo>
                    <a:pt x="1344" y="1740"/>
                  </a:lnTo>
                  <a:lnTo>
                    <a:pt x="1338" y="1740"/>
                  </a:lnTo>
                  <a:lnTo>
                    <a:pt x="1332" y="1746"/>
                  </a:lnTo>
                  <a:lnTo>
                    <a:pt x="1326" y="1746"/>
                  </a:lnTo>
                  <a:lnTo>
                    <a:pt x="1326" y="1752"/>
                  </a:lnTo>
                  <a:lnTo>
                    <a:pt x="1320" y="1752"/>
                  </a:lnTo>
                  <a:lnTo>
                    <a:pt x="1320" y="1758"/>
                  </a:lnTo>
                  <a:lnTo>
                    <a:pt x="1314" y="1758"/>
                  </a:lnTo>
                  <a:lnTo>
                    <a:pt x="1308" y="1758"/>
                  </a:lnTo>
                  <a:lnTo>
                    <a:pt x="1302" y="1758"/>
                  </a:lnTo>
                  <a:lnTo>
                    <a:pt x="1296" y="1758"/>
                  </a:lnTo>
                  <a:lnTo>
                    <a:pt x="1290" y="1764"/>
                  </a:lnTo>
                  <a:lnTo>
                    <a:pt x="1284" y="1770"/>
                  </a:lnTo>
                  <a:lnTo>
                    <a:pt x="1278" y="1770"/>
                  </a:lnTo>
                  <a:lnTo>
                    <a:pt x="1272" y="1770"/>
                  </a:lnTo>
                  <a:lnTo>
                    <a:pt x="1266" y="1770"/>
                  </a:lnTo>
                  <a:lnTo>
                    <a:pt x="1266" y="1776"/>
                  </a:lnTo>
                  <a:lnTo>
                    <a:pt x="1260" y="1776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4" name="Freeform 39">
              <a:extLst>
                <a:ext uri="{FF2B5EF4-FFF2-40B4-BE49-F238E27FC236}">
                  <a16:creationId xmlns:a16="http://schemas.microsoft.com/office/drawing/2014/main" id="{E01CDA8B-32C7-421A-B23E-968CAC7F78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2974" y="1759680"/>
              <a:ext cx="825155" cy="700024"/>
            </a:xfrm>
            <a:custGeom>
              <a:avLst/>
              <a:gdLst>
                <a:gd name="T0" fmla="*/ 60 w 1554"/>
                <a:gd name="T1" fmla="*/ 86 h 1320"/>
                <a:gd name="T2" fmla="*/ 66 w 1554"/>
                <a:gd name="T3" fmla="*/ 80 h 1320"/>
                <a:gd name="T4" fmla="*/ 61 w 1554"/>
                <a:gd name="T5" fmla="*/ 73 h 1320"/>
                <a:gd name="T6" fmla="*/ 57 w 1554"/>
                <a:gd name="T7" fmla="*/ 67 h 1320"/>
                <a:gd name="T8" fmla="*/ 60 w 1554"/>
                <a:gd name="T9" fmla="*/ 59 h 1320"/>
                <a:gd name="T10" fmla="*/ 56 w 1554"/>
                <a:gd name="T11" fmla="*/ 55 h 1320"/>
                <a:gd name="T12" fmla="*/ 45 w 1554"/>
                <a:gd name="T13" fmla="*/ 53 h 1320"/>
                <a:gd name="T14" fmla="*/ 42 w 1554"/>
                <a:gd name="T15" fmla="*/ 41 h 1320"/>
                <a:gd name="T16" fmla="*/ 37 w 1554"/>
                <a:gd name="T17" fmla="*/ 39 h 1320"/>
                <a:gd name="T18" fmla="*/ 31 w 1554"/>
                <a:gd name="T19" fmla="*/ 44 h 1320"/>
                <a:gd name="T20" fmla="*/ 37 w 1554"/>
                <a:gd name="T21" fmla="*/ 35 h 1320"/>
                <a:gd name="T22" fmla="*/ 30 w 1554"/>
                <a:gd name="T23" fmla="*/ 23 h 1320"/>
                <a:gd name="T24" fmla="*/ 21 w 1554"/>
                <a:gd name="T25" fmla="*/ 23 h 1320"/>
                <a:gd name="T26" fmla="*/ 15 w 1554"/>
                <a:gd name="T27" fmla="*/ 27 h 1320"/>
                <a:gd name="T28" fmla="*/ 11 w 1554"/>
                <a:gd name="T29" fmla="*/ 32 h 1320"/>
                <a:gd name="T30" fmla="*/ 6 w 1554"/>
                <a:gd name="T31" fmla="*/ 22 h 1320"/>
                <a:gd name="T32" fmla="*/ 3 w 1554"/>
                <a:gd name="T33" fmla="*/ 11 h 1320"/>
                <a:gd name="T34" fmla="*/ 24 w 1554"/>
                <a:gd name="T35" fmla="*/ 12 h 1320"/>
                <a:gd name="T36" fmla="*/ 33 w 1554"/>
                <a:gd name="T37" fmla="*/ 19 h 1320"/>
                <a:gd name="T38" fmla="*/ 49 w 1554"/>
                <a:gd name="T39" fmla="*/ 12 h 1320"/>
                <a:gd name="T40" fmla="*/ 58 w 1554"/>
                <a:gd name="T41" fmla="*/ 10 h 1320"/>
                <a:gd name="T42" fmla="*/ 68 w 1554"/>
                <a:gd name="T43" fmla="*/ 11 h 1320"/>
                <a:gd name="T44" fmla="*/ 79 w 1554"/>
                <a:gd name="T45" fmla="*/ 12 h 1320"/>
                <a:gd name="T46" fmla="*/ 96 w 1554"/>
                <a:gd name="T47" fmla="*/ 11 h 1320"/>
                <a:gd name="T48" fmla="*/ 107 w 1554"/>
                <a:gd name="T49" fmla="*/ 2 h 1320"/>
                <a:gd name="T50" fmla="*/ 117 w 1554"/>
                <a:gd name="T51" fmla="*/ 8 h 1320"/>
                <a:gd name="T52" fmla="*/ 126 w 1554"/>
                <a:gd name="T53" fmla="*/ 12 h 1320"/>
                <a:gd name="T54" fmla="*/ 134 w 1554"/>
                <a:gd name="T55" fmla="*/ 24 h 1320"/>
                <a:gd name="T56" fmla="*/ 133 w 1554"/>
                <a:gd name="T57" fmla="*/ 29 h 1320"/>
                <a:gd name="T58" fmla="*/ 129 w 1554"/>
                <a:gd name="T59" fmla="*/ 31 h 1320"/>
                <a:gd name="T60" fmla="*/ 125 w 1554"/>
                <a:gd name="T61" fmla="*/ 32 h 1320"/>
                <a:gd name="T62" fmla="*/ 115 w 1554"/>
                <a:gd name="T63" fmla="*/ 34 h 1320"/>
                <a:gd name="T64" fmla="*/ 113 w 1554"/>
                <a:gd name="T65" fmla="*/ 44 h 1320"/>
                <a:gd name="T66" fmla="*/ 111 w 1554"/>
                <a:gd name="T67" fmla="*/ 54 h 1320"/>
                <a:gd name="T68" fmla="*/ 107 w 1554"/>
                <a:gd name="T69" fmla="*/ 56 h 1320"/>
                <a:gd name="T70" fmla="*/ 102 w 1554"/>
                <a:gd name="T71" fmla="*/ 58 h 1320"/>
                <a:gd name="T72" fmla="*/ 99 w 1554"/>
                <a:gd name="T73" fmla="*/ 60 h 1320"/>
                <a:gd name="T74" fmla="*/ 93 w 1554"/>
                <a:gd name="T75" fmla="*/ 62 h 1320"/>
                <a:gd name="T76" fmla="*/ 87 w 1554"/>
                <a:gd name="T77" fmla="*/ 64 h 1320"/>
                <a:gd name="T78" fmla="*/ 84 w 1554"/>
                <a:gd name="T79" fmla="*/ 65 h 1320"/>
                <a:gd name="T80" fmla="*/ 81 w 1554"/>
                <a:gd name="T81" fmla="*/ 69 h 1320"/>
                <a:gd name="T82" fmla="*/ 83 w 1554"/>
                <a:gd name="T83" fmla="*/ 72 h 1320"/>
                <a:gd name="T84" fmla="*/ 92 w 1554"/>
                <a:gd name="T85" fmla="*/ 73 h 1320"/>
                <a:gd name="T86" fmla="*/ 93 w 1554"/>
                <a:gd name="T87" fmla="*/ 87 h 1320"/>
                <a:gd name="T88" fmla="*/ 104 w 1554"/>
                <a:gd name="T89" fmla="*/ 98 h 1320"/>
                <a:gd name="T90" fmla="*/ 108 w 1554"/>
                <a:gd name="T91" fmla="*/ 98 h 1320"/>
                <a:gd name="T92" fmla="*/ 112 w 1554"/>
                <a:gd name="T93" fmla="*/ 100 h 1320"/>
                <a:gd name="T94" fmla="*/ 118 w 1554"/>
                <a:gd name="T95" fmla="*/ 100 h 1320"/>
                <a:gd name="T96" fmla="*/ 122 w 1554"/>
                <a:gd name="T97" fmla="*/ 102 h 1320"/>
                <a:gd name="T98" fmla="*/ 118 w 1554"/>
                <a:gd name="T99" fmla="*/ 105 h 1320"/>
                <a:gd name="T100" fmla="*/ 114 w 1554"/>
                <a:gd name="T101" fmla="*/ 107 h 1320"/>
                <a:gd name="T102" fmla="*/ 113 w 1554"/>
                <a:gd name="T103" fmla="*/ 113 h 1320"/>
                <a:gd name="T104" fmla="*/ 104 w 1554"/>
                <a:gd name="T105" fmla="*/ 113 h 1320"/>
                <a:gd name="T106" fmla="*/ 93 w 1554"/>
                <a:gd name="T107" fmla="*/ 109 h 1320"/>
                <a:gd name="T108" fmla="*/ 96 w 1554"/>
                <a:gd name="T109" fmla="*/ 103 h 1320"/>
                <a:gd name="T110" fmla="*/ 95 w 1554"/>
                <a:gd name="T111" fmla="*/ 97 h 1320"/>
                <a:gd name="T112" fmla="*/ 87 w 1554"/>
                <a:gd name="T113" fmla="*/ 98 h 1320"/>
                <a:gd name="T114" fmla="*/ 81 w 1554"/>
                <a:gd name="T115" fmla="*/ 98 h 1320"/>
                <a:gd name="T116" fmla="*/ 78 w 1554"/>
                <a:gd name="T117" fmla="*/ 93 h 1320"/>
                <a:gd name="T118" fmla="*/ 65 w 1554"/>
                <a:gd name="T119" fmla="*/ 92 h 1320"/>
                <a:gd name="T120" fmla="*/ 59 w 1554"/>
                <a:gd name="T121" fmla="*/ 92 h 13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54"/>
                <a:gd name="T184" fmla="*/ 0 h 1320"/>
                <a:gd name="T185" fmla="*/ 1554 w 1554"/>
                <a:gd name="T186" fmla="*/ 1320 h 132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54" h="1320">
                  <a:moveTo>
                    <a:pt x="684" y="1068"/>
                  </a:moveTo>
                  <a:lnTo>
                    <a:pt x="684" y="1062"/>
                  </a:lnTo>
                  <a:lnTo>
                    <a:pt x="690" y="1056"/>
                  </a:lnTo>
                  <a:lnTo>
                    <a:pt x="690" y="1050"/>
                  </a:lnTo>
                  <a:lnTo>
                    <a:pt x="690" y="1044"/>
                  </a:lnTo>
                  <a:lnTo>
                    <a:pt x="690" y="1038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14"/>
                  </a:lnTo>
                  <a:lnTo>
                    <a:pt x="690" y="1008"/>
                  </a:lnTo>
                  <a:lnTo>
                    <a:pt x="696" y="996"/>
                  </a:lnTo>
                  <a:lnTo>
                    <a:pt x="714" y="996"/>
                  </a:lnTo>
                  <a:lnTo>
                    <a:pt x="714" y="990"/>
                  </a:lnTo>
                  <a:lnTo>
                    <a:pt x="732" y="984"/>
                  </a:lnTo>
                  <a:lnTo>
                    <a:pt x="744" y="978"/>
                  </a:lnTo>
                  <a:lnTo>
                    <a:pt x="762" y="966"/>
                  </a:lnTo>
                  <a:lnTo>
                    <a:pt x="762" y="960"/>
                  </a:lnTo>
                  <a:lnTo>
                    <a:pt x="768" y="954"/>
                  </a:lnTo>
                  <a:lnTo>
                    <a:pt x="774" y="948"/>
                  </a:lnTo>
                  <a:lnTo>
                    <a:pt x="774" y="942"/>
                  </a:lnTo>
                  <a:lnTo>
                    <a:pt x="774" y="924"/>
                  </a:lnTo>
                  <a:lnTo>
                    <a:pt x="768" y="918"/>
                  </a:lnTo>
                  <a:lnTo>
                    <a:pt x="756" y="918"/>
                  </a:lnTo>
                  <a:lnTo>
                    <a:pt x="744" y="918"/>
                  </a:lnTo>
                  <a:lnTo>
                    <a:pt x="732" y="924"/>
                  </a:lnTo>
                  <a:lnTo>
                    <a:pt x="726" y="912"/>
                  </a:lnTo>
                  <a:lnTo>
                    <a:pt x="720" y="912"/>
                  </a:lnTo>
                  <a:lnTo>
                    <a:pt x="720" y="900"/>
                  </a:lnTo>
                  <a:lnTo>
                    <a:pt x="720" y="870"/>
                  </a:lnTo>
                  <a:lnTo>
                    <a:pt x="696" y="876"/>
                  </a:lnTo>
                  <a:lnTo>
                    <a:pt x="690" y="852"/>
                  </a:lnTo>
                  <a:lnTo>
                    <a:pt x="702" y="852"/>
                  </a:lnTo>
                  <a:lnTo>
                    <a:pt x="702" y="840"/>
                  </a:lnTo>
                  <a:lnTo>
                    <a:pt x="708" y="834"/>
                  </a:lnTo>
                  <a:lnTo>
                    <a:pt x="702" y="822"/>
                  </a:lnTo>
                  <a:lnTo>
                    <a:pt x="660" y="822"/>
                  </a:lnTo>
                  <a:lnTo>
                    <a:pt x="654" y="822"/>
                  </a:lnTo>
                  <a:lnTo>
                    <a:pt x="642" y="822"/>
                  </a:lnTo>
                  <a:lnTo>
                    <a:pt x="642" y="810"/>
                  </a:lnTo>
                  <a:lnTo>
                    <a:pt x="642" y="798"/>
                  </a:lnTo>
                  <a:lnTo>
                    <a:pt x="642" y="792"/>
                  </a:lnTo>
                  <a:lnTo>
                    <a:pt x="648" y="780"/>
                  </a:lnTo>
                  <a:lnTo>
                    <a:pt x="654" y="774"/>
                  </a:lnTo>
                  <a:lnTo>
                    <a:pt x="660" y="774"/>
                  </a:lnTo>
                  <a:lnTo>
                    <a:pt x="672" y="762"/>
                  </a:lnTo>
                  <a:lnTo>
                    <a:pt x="672" y="756"/>
                  </a:lnTo>
                  <a:lnTo>
                    <a:pt x="678" y="750"/>
                  </a:lnTo>
                  <a:lnTo>
                    <a:pt x="684" y="750"/>
                  </a:lnTo>
                  <a:lnTo>
                    <a:pt x="690" y="744"/>
                  </a:lnTo>
                  <a:lnTo>
                    <a:pt x="696" y="732"/>
                  </a:lnTo>
                  <a:lnTo>
                    <a:pt x="696" y="726"/>
                  </a:lnTo>
                  <a:lnTo>
                    <a:pt x="702" y="714"/>
                  </a:lnTo>
                  <a:lnTo>
                    <a:pt x="696" y="708"/>
                  </a:lnTo>
                  <a:lnTo>
                    <a:pt x="690" y="690"/>
                  </a:lnTo>
                  <a:lnTo>
                    <a:pt x="696" y="678"/>
                  </a:lnTo>
                  <a:lnTo>
                    <a:pt x="708" y="672"/>
                  </a:lnTo>
                  <a:lnTo>
                    <a:pt x="708" y="660"/>
                  </a:lnTo>
                  <a:lnTo>
                    <a:pt x="702" y="660"/>
                  </a:lnTo>
                  <a:lnTo>
                    <a:pt x="696" y="660"/>
                  </a:lnTo>
                  <a:lnTo>
                    <a:pt x="690" y="654"/>
                  </a:lnTo>
                  <a:lnTo>
                    <a:pt x="684" y="654"/>
                  </a:lnTo>
                  <a:lnTo>
                    <a:pt x="690" y="606"/>
                  </a:lnTo>
                  <a:lnTo>
                    <a:pt x="660" y="606"/>
                  </a:lnTo>
                  <a:lnTo>
                    <a:pt x="660" y="612"/>
                  </a:lnTo>
                  <a:lnTo>
                    <a:pt x="648" y="612"/>
                  </a:lnTo>
                  <a:lnTo>
                    <a:pt x="642" y="636"/>
                  </a:lnTo>
                  <a:lnTo>
                    <a:pt x="636" y="636"/>
                  </a:lnTo>
                  <a:lnTo>
                    <a:pt x="630" y="648"/>
                  </a:lnTo>
                  <a:lnTo>
                    <a:pt x="612" y="648"/>
                  </a:lnTo>
                  <a:lnTo>
                    <a:pt x="606" y="636"/>
                  </a:lnTo>
                  <a:lnTo>
                    <a:pt x="600" y="630"/>
                  </a:lnTo>
                  <a:lnTo>
                    <a:pt x="588" y="606"/>
                  </a:lnTo>
                  <a:lnTo>
                    <a:pt x="552" y="606"/>
                  </a:lnTo>
                  <a:lnTo>
                    <a:pt x="552" y="612"/>
                  </a:lnTo>
                  <a:lnTo>
                    <a:pt x="540" y="612"/>
                  </a:lnTo>
                  <a:lnTo>
                    <a:pt x="540" y="606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16" y="612"/>
                  </a:lnTo>
                  <a:lnTo>
                    <a:pt x="516" y="582"/>
                  </a:lnTo>
                  <a:lnTo>
                    <a:pt x="522" y="576"/>
                  </a:lnTo>
                  <a:lnTo>
                    <a:pt x="528" y="576"/>
                  </a:lnTo>
                  <a:lnTo>
                    <a:pt x="528" y="552"/>
                  </a:lnTo>
                  <a:lnTo>
                    <a:pt x="522" y="540"/>
                  </a:lnTo>
                  <a:lnTo>
                    <a:pt x="510" y="528"/>
                  </a:lnTo>
                  <a:lnTo>
                    <a:pt x="486" y="510"/>
                  </a:lnTo>
                  <a:lnTo>
                    <a:pt x="480" y="498"/>
                  </a:lnTo>
                  <a:lnTo>
                    <a:pt x="480" y="474"/>
                  </a:lnTo>
                  <a:lnTo>
                    <a:pt x="492" y="468"/>
                  </a:lnTo>
                  <a:lnTo>
                    <a:pt x="486" y="450"/>
                  </a:lnTo>
                  <a:lnTo>
                    <a:pt x="474" y="456"/>
                  </a:lnTo>
                  <a:lnTo>
                    <a:pt x="468" y="456"/>
                  </a:lnTo>
                  <a:lnTo>
                    <a:pt x="462" y="456"/>
                  </a:lnTo>
                  <a:lnTo>
                    <a:pt x="456" y="468"/>
                  </a:lnTo>
                  <a:lnTo>
                    <a:pt x="456" y="474"/>
                  </a:lnTo>
                  <a:lnTo>
                    <a:pt x="450" y="480"/>
                  </a:lnTo>
                  <a:lnTo>
                    <a:pt x="444" y="450"/>
                  </a:lnTo>
                  <a:lnTo>
                    <a:pt x="438" y="450"/>
                  </a:lnTo>
                  <a:lnTo>
                    <a:pt x="432" y="450"/>
                  </a:lnTo>
                  <a:lnTo>
                    <a:pt x="420" y="450"/>
                  </a:lnTo>
                  <a:lnTo>
                    <a:pt x="420" y="456"/>
                  </a:lnTo>
                  <a:lnTo>
                    <a:pt x="414" y="456"/>
                  </a:lnTo>
                  <a:lnTo>
                    <a:pt x="408" y="468"/>
                  </a:lnTo>
                  <a:lnTo>
                    <a:pt x="402" y="468"/>
                  </a:lnTo>
                  <a:lnTo>
                    <a:pt x="396" y="474"/>
                  </a:lnTo>
                  <a:lnTo>
                    <a:pt x="390" y="492"/>
                  </a:lnTo>
                  <a:lnTo>
                    <a:pt x="384" y="504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54" y="510"/>
                  </a:lnTo>
                  <a:lnTo>
                    <a:pt x="360" y="480"/>
                  </a:lnTo>
                  <a:lnTo>
                    <a:pt x="360" y="474"/>
                  </a:lnTo>
                  <a:lnTo>
                    <a:pt x="378" y="456"/>
                  </a:lnTo>
                  <a:lnTo>
                    <a:pt x="384" y="450"/>
                  </a:lnTo>
                  <a:lnTo>
                    <a:pt x="396" y="444"/>
                  </a:lnTo>
                  <a:lnTo>
                    <a:pt x="402" y="438"/>
                  </a:lnTo>
                  <a:lnTo>
                    <a:pt x="408" y="438"/>
                  </a:lnTo>
                  <a:lnTo>
                    <a:pt x="408" y="426"/>
                  </a:lnTo>
                  <a:lnTo>
                    <a:pt x="414" y="420"/>
                  </a:lnTo>
                  <a:lnTo>
                    <a:pt x="426" y="420"/>
                  </a:lnTo>
                  <a:lnTo>
                    <a:pt x="426" y="408"/>
                  </a:lnTo>
                  <a:lnTo>
                    <a:pt x="420" y="390"/>
                  </a:lnTo>
                  <a:lnTo>
                    <a:pt x="408" y="384"/>
                  </a:lnTo>
                  <a:lnTo>
                    <a:pt x="378" y="378"/>
                  </a:lnTo>
                  <a:lnTo>
                    <a:pt x="354" y="366"/>
                  </a:lnTo>
                  <a:lnTo>
                    <a:pt x="342" y="360"/>
                  </a:lnTo>
                  <a:lnTo>
                    <a:pt x="342" y="348"/>
                  </a:lnTo>
                  <a:lnTo>
                    <a:pt x="336" y="330"/>
                  </a:lnTo>
                  <a:lnTo>
                    <a:pt x="348" y="306"/>
                  </a:lnTo>
                  <a:lnTo>
                    <a:pt x="360" y="294"/>
                  </a:lnTo>
                  <a:lnTo>
                    <a:pt x="360" y="282"/>
                  </a:lnTo>
                  <a:lnTo>
                    <a:pt x="342" y="270"/>
                  </a:lnTo>
                  <a:lnTo>
                    <a:pt x="342" y="264"/>
                  </a:lnTo>
                  <a:lnTo>
                    <a:pt x="330" y="264"/>
                  </a:lnTo>
                  <a:lnTo>
                    <a:pt x="312" y="270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88" y="270"/>
                  </a:lnTo>
                  <a:lnTo>
                    <a:pt x="282" y="270"/>
                  </a:lnTo>
                  <a:lnTo>
                    <a:pt x="276" y="264"/>
                  </a:lnTo>
                  <a:lnTo>
                    <a:pt x="270" y="264"/>
                  </a:lnTo>
                  <a:lnTo>
                    <a:pt x="252" y="270"/>
                  </a:lnTo>
                  <a:lnTo>
                    <a:pt x="246" y="270"/>
                  </a:lnTo>
                  <a:lnTo>
                    <a:pt x="240" y="270"/>
                  </a:lnTo>
                  <a:lnTo>
                    <a:pt x="228" y="270"/>
                  </a:lnTo>
                  <a:lnTo>
                    <a:pt x="216" y="276"/>
                  </a:lnTo>
                  <a:lnTo>
                    <a:pt x="210" y="270"/>
                  </a:lnTo>
                  <a:lnTo>
                    <a:pt x="204" y="270"/>
                  </a:lnTo>
                  <a:lnTo>
                    <a:pt x="198" y="276"/>
                  </a:lnTo>
                  <a:lnTo>
                    <a:pt x="192" y="276"/>
                  </a:lnTo>
                  <a:lnTo>
                    <a:pt x="186" y="282"/>
                  </a:lnTo>
                  <a:lnTo>
                    <a:pt x="180" y="288"/>
                  </a:lnTo>
                  <a:lnTo>
                    <a:pt x="174" y="300"/>
                  </a:lnTo>
                  <a:lnTo>
                    <a:pt x="168" y="306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8" y="330"/>
                  </a:lnTo>
                  <a:lnTo>
                    <a:pt x="162" y="336"/>
                  </a:lnTo>
                  <a:lnTo>
                    <a:pt x="156" y="342"/>
                  </a:lnTo>
                  <a:lnTo>
                    <a:pt x="156" y="348"/>
                  </a:lnTo>
                  <a:lnTo>
                    <a:pt x="156" y="354"/>
                  </a:lnTo>
                  <a:lnTo>
                    <a:pt x="150" y="366"/>
                  </a:lnTo>
                  <a:lnTo>
                    <a:pt x="150" y="372"/>
                  </a:lnTo>
                  <a:lnTo>
                    <a:pt x="144" y="366"/>
                  </a:lnTo>
                  <a:lnTo>
                    <a:pt x="132" y="366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20" y="348"/>
                  </a:lnTo>
                  <a:lnTo>
                    <a:pt x="102" y="330"/>
                  </a:lnTo>
                  <a:lnTo>
                    <a:pt x="96" y="318"/>
                  </a:lnTo>
                  <a:lnTo>
                    <a:pt x="96" y="282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0" y="258"/>
                  </a:lnTo>
                  <a:lnTo>
                    <a:pt x="84" y="252"/>
                  </a:lnTo>
                  <a:lnTo>
                    <a:pt x="66" y="258"/>
                  </a:lnTo>
                  <a:lnTo>
                    <a:pt x="60" y="246"/>
                  </a:lnTo>
                  <a:lnTo>
                    <a:pt x="30" y="252"/>
                  </a:lnTo>
                  <a:lnTo>
                    <a:pt x="18" y="246"/>
                  </a:lnTo>
                  <a:lnTo>
                    <a:pt x="0" y="240"/>
                  </a:lnTo>
                  <a:lnTo>
                    <a:pt x="0" y="234"/>
                  </a:lnTo>
                  <a:lnTo>
                    <a:pt x="0" y="210"/>
                  </a:lnTo>
                  <a:lnTo>
                    <a:pt x="6" y="204"/>
                  </a:lnTo>
                  <a:lnTo>
                    <a:pt x="18" y="192"/>
                  </a:lnTo>
                  <a:lnTo>
                    <a:pt x="18" y="144"/>
                  </a:lnTo>
                  <a:lnTo>
                    <a:pt x="24" y="126"/>
                  </a:lnTo>
                  <a:lnTo>
                    <a:pt x="36" y="126"/>
                  </a:lnTo>
                  <a:lnTo>
                    <a:pt x="54" y="120"/>
                  </a:lnTo>
                  <a:lnTo>
                    <a:pt x="54" y="126"/>
                  </a:lnTo>
                  <a:lnTo>
                    <a:pt x="132" y="114"/>
                  </a:lnTo>
                  <a:lnTo>
                    <a:pt x="144" y="120"/>
                  </a:lnTo>
                  <a:lnTo>
                    <a:pt x="150" y="132"/>
                  </a:lnTo>
                  <a:lnTo>
                    <a:pt x="180" y="126"/>
                  </a:lnTo>
                  <a:lnTo>
                    <a:pt x="210" y="120"/>
                  </a:lnTo>
                  <a:lnTo>
                    <a:pt x="240" y="120"/>
                  </a:lnTo>
                  <a:lnTo>
                    <a:pt x="258" y="120"/>
                  </a:lnTo>
                  <a:lnTo>
                    <a:pt x="270" y="126"/>
                  </a:lnTo>
                  <a:lnTo>
                    <a:pt x="276" y="132"/>
                  </a:lnTo>
                  <a:lnTo>
                    <a:pt x="282" y="138"/>
                  </a:lnTo>
                  <a:lnTo>
                    <a:pt x="282" y="156"/>
                  </a:lnTo>
                  <a:lnTo>
                    <a:pt x="288" y="186"/>
                  </a:lnTo>
                  <a:lnTo>
                    <a:pt x="312" y="192"/>
                  </a:lnTo>
                  <a:lnTo>
                    <a:pt x="318" y="198"/>
                  </a:lnTo>
                  <a:lnTo>
                    <a:pt x="324" y="204"/>
                  </a:lnTo>
                  <a:lnTo>
                    <a:pt x="330" y="210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66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86" y="210"/>
                  </a:lnTo>
                  <a:lnTo>
                    <a:pt x="498" y="198"/>
                  </a:lnTo>
                  <a:lnTo>
                    <a:pt x="504" y="174"/>
                  </a:lnTo>
                  <a:lnTo>
                    <a:pt x="516" y="162"/>
                  </a:lnTo>
                  <a:lnTo>
                    <a:pt x="516" y="138"/>
                  </a:lnTo>
                  <a:lnTo>
                    <a:pt x="522" y="132"/>
                  </a:lnTo>
                  <a:lnTo>
                    <a:pt x="564" y="132"/>
                  </a:lnTo>
                  <a:lnTo>
                    <a:pt x="564" y="114"/>
                  </a:lnTo>
                  <a:lnTo>
                    <a:pt x="582" y="114"/>
                  </a:lnTo>
                  <a:lnTo>
                    <a:pt x="594" y="114"/>
                  </a:lnTo>
                  <a:lnTo>
                    <a:pt x="606" y="114"/>
                  </a:lnTo>
                  <a:lnTo>
                    <a:pt x="612" y="114"/>
                  </a:lnTo>
                  <a:lnTo>
                    <a:pt x="630" y="114"/>
                  </a:lnTo>
                  <a:lnTo>
                    <a:pt x="636" y="114"/>
                  </a:lnTo>
                  <a:lnTo>
                    <a:pt x="648" y="114"/>
                  </a:lnTo>
                  <a:lnTo>
                    <a:pt x="654" y="114"/>
                  </a:lnTo>
                  <a:lnTo>
                    <a:pt x="660" y="120"/>
                  </a:lnTo>
                  <a:lnTo>
                    <a:pt x="672" y="120"/>
                  </a:lnTo>
                  <a:lnTo>
                    <a:pt x="684" y="120"/>
                  </a:lnTo>
                  <a:lnTo>
                    <a:pt x="690" y="120"/>
                  </a:lnTo>
                  <a:lnTo>
                    <a:pt x="702" y="120"/>
                  </a:lnTo>
                  <a:lnTo>
                    <a:pt x="708" y="120"/>
                  </a:lnTo>
                  <a:lnTo>
                    <a:pt x="726" y="126"/>
                  </a:lnTo>
                  <a:lnTo>
                    <a:pt x="732" y="126"/>
                  </a:lnTo>
                  <a:lnTo>
                    <a:pt x="738" y="126"/>
                  </a:lnTo>
                  <a:lnTo>
                    <a:pt x="750" y="126"/>
                  </a:lnTo>
                  <a:lnTo>
                    <a:pt x="756" y="126"/>
                  </a:lnTo>
                  <a:lnTo>
                    <a:pt x="768" y="126"/>
                  </a:lnTo>
                  <a:lnTo>
                    <a:pt x="780" y="126"/>
                  </a:lnTo>
                  <a:lnTo>
                    <a:pt x="786" y="120"/>
                  </a:lnTo>
                  <a:lnTo>
                    <a:pt x="792" y="120"/>
                  </a:lnTo>
                  <a:lnTo>
                    <a:pt x="810" y="120"/>
                  </a:lnTo>
                  <a:lnTo>
                    <a:pt x="822" y="120"/>
                  </a:lnTo>
                  <a:lnTo>
                    <a:pt x="846" y="126"/>
                  </a:lnTo>
                  <a:lnTo>
                    <a:pt x="858" y="126"/>
                  </a:lnTo>
                  <a:lnTo>
                    <a:pt x="870" y="132"/>
                  </a:lnTo>
                  <a:lnTo>
                    <a:pt x="882" y="132"/>
                  </a:lnTo>
                  <a:lnTo>
                    <a:pt x="894" y="132"/>
                  </a:lnTo>
                  <a:lnTo>
                    <a:pt x="900" y="132"/>
                  </a:lnTo>
                  <a:lnTo>
                    <a:pt x="912" y="132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36" y="132"/>
                  </a:lnTo>
                  <a:lnTo>
                    <a:pt x="960" y="132"/>
                  </a:lnTo>
                  <a:lnTo>
                    <a:pt x="966" y="144"/>
                  </a:lnTo>
                  <a:lnTo>
                    <a:pt x="972" y="144"/>
                  </a:lnTo>
                  <a:lnTo>
                    <a:pt x="1002" y="144"/>
                  </a:lnTo>
                  <a:lnTo>
                    <a:pt x="1020" y="144"/>
                  </a:lnTo>
                  <a:lnTo>
                    <a:pt x="1068" y="138"/>
                  </a:lnTo>
                  <a:lnTo>
                    <a:pt x="1110" y="132"/>
                  </a:lnTo>
                  <a:lnTo>
                    <a:pt x="1110" y="126"/>
                  </a:lnTo>
                  <a:lnTo>
                    <a:pt x="1116" y="120"/>
                  </a:lnTo>
                  <a:lnTo>
                    <a:pt x="1122" y="108"/>
                  </a:lnTo>
                  <a:lnTo>
                    <a:pt x="1134" y="96"/>
                  </a:lnTo>
                  <a:lnTo>
                    <a:pt x="1146" y="60"/>
                  </a:lnTo>
                  <a:lnTo>
                    <a:pt x="1158" y="54"/>
                  </a:lnTo>
                  <a:lnTo>
                    <a:pt x="1170" y="48"/>
                  </a:lnTo>
                  <a:lnTo>
                    <a:pt x="1188" y="42"/>
                  </a:lnTo>
                  <a:lnTo>
                    <a:pt x="1200" y="36"/>
                  </a:lnTo>
                  <a:lnTo>
                    <a:pt x="1212" y="36"/>
                  </a:lnTo>
                  <a:lnTo>
                    <a:pt x="1236" y="30"/>
                  </a:lnTo>
                  <a:lnTo>
                    <a:pt x="1236" y="24"/>
                  </a:lnTo>
                  <a:lnTo>
                    <a:pt x="1278" y="18"/>
                  </a:lnTo>
                  <a:lnTo>
                    <a:pt x="1290" y="18"/>
                  </a:lnTo>
                  <a:lnTo>
                    <a:pt x="1302" y="12"/>
                  </a:lnTo>
                  <a:lnTo>
                    <a:pt x="1314" y="0"/>
                  </a:lnTo>
                  <a:lnTo>
                    <a:pt x="1332" y="0"/>
                  </a:lnTo>
                  <a:lnTo>
                    <a:pt x="1338" y="24"/>
                  </a:lnTo>
                  <a:lnTo>
                    <a:pt x="1344" y="30"/>
                  </a:lnTo>
                  <a:lnTo>
                    <a:pt x="1350" y="42"/>
                  </a:lnTo>
                  <a:lnTo>
                    <a:pt x="1356" y="48"/>
                  </a:lnTo>
                  <a:lnTo>
                    <a:pt x="1356" y="78"/>
                  </a:lnTo>
                  <a:lnTo>
                    <a:pt x="1350" y="96"/>
                  </a:lnTo>
                  <a:lnTo>
                    <a:pt x="1338" y="108"/>
                  </a:lnTo>
                  <a:lnTo>
                    <a:pt x="1338" y="114"/>
                  </a:lnTo>
                  <a:lnTo>
                    <a:pt x="1338" y="120"/>
                  </a:lnTo>
                  <a:lnTo>
                    <a:pt x="1338" y="126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398" y="114"/>
                  </a:lnTo>
                  <a:lnTo>
                    <a:pt x="1416" y="120"/>
                  </a:lnTo>
                  <a:lnTo>
                    <a:pt x="1434" y="126"/>
                  </a:lnTo>
                  <a:lnTo>
                    <a:pt x="1458" y="132"/>
                  </a:lnTo>
                  <a:lnTo>
                    <a:pt x="1458" y="138"/>
                  </a:lnTo>
                  <a:lnTo>
                    <a:pt x="1512" y="138"/>
                  </a:lnTo>
                  <a:lnTo>
                    <a:pt x="1512" y="132"/>
                  </a:lnTo>
                  <a:lnTo>
                    <a:pt x="1524" y="138"/>
                  </a:lnTo>
                  <a:lnTo>
                    <a:pt x="1542" y="138"/>
                  </a:lnTo>
                  <a:lnTo>
                    <a:pt x="1542" y="150"/>
                  </a:lnTo>
                  <a:lnTo>
                    <a:pt x="1542" y="162"/>
                  </a:lnTo>
                  <a:lnTo>
                    <a:pt x="1548" y="174"/>
                  </a:lnTo>
                  <a:lnTo>
                    <a:pt x="1548" y="180"/>
                  </a:lnTo>
                  <a:lnTo>
                    <a:pt x="1554" y="222"/>
                  </a:lnTo>
                  <a:lnTo>
                    <a:pt x="1554" y="258"/>
                  </a:lnTo>
                  <a:lnTo>
                    <a:pt x="1554" y="276"/>
                  </a:lnTo>
                  <a:lnTo>
                    <a:pt x="1554" y="282"/>
                  </a:lnTo>
                  <a:lnTo>
                    <a:pt x="1554" y="294"/>
                  </a:lnTo>
                  <a:lnTo>
                    <a:pt x="1554" y="306"/>
                  </a:lnTo>
                  <a:lnTo>
                    <a:pt x="1554" y="324"/>
                  </a:lnTo>
                  <a:lnTo>
                    <a:pt x="1554" y="330"/>
                  </a:lnTo>
                  <a:lnTo>
                    <a:pt x="1548" y="330"/>
                  </a:lnTo>
                  <a:lnTo>
                    <a:pt x="1548" y="336"/>
                  </a:lnTo>
                  <a:lnTo>
                    <a:pt x="1548" y="342"/>
                  </a:lnTo>
                  <a:lnTo>
                    <a:pt x="1542" y="336"/>
                  </a:lnTo>
                  <a:lnTo>
                    <a:pt x="1542" y="330"/>
                  </a:lnTo>
                  <a:lnTo>
                    <a:pt x="1536" y="330"/>
                  </a:lnTo>
                  <a:lnTo>
                    <a:pt x="1530" y="330"/>
                  </a:lnTo>
                  <a:lnTo>
                    <a:pt x="1530" y="336"/>
                  </a:lnTo>
                  <a:lnTo>
                    <a:pt x="1536" y="342"/>
                  </a:lnTo>
                  <a:lnTo>
                    <a:pt x="1530" y="342"/>
                  </a:lnTo>
                  <a:lnTo>
                    <a:pt x="1518" y="348"/>
                  </a:lnTo>
                  <a:lnTo>
                    <a:pt x="1512" y="354"/>
                  </a:lnTo>
                  <a:lnTo>
                    <a:pt x="1506" y="354"/>
                  </a:lnTo>
                  <a:lnTo>
                    <a:pt x="1500" y="354"/>
                  </a:lnTo>
                  <a:lnTo>
                    <a:pt x="1494" y="354"/>
                  </a:lnTo>
                  <a:lnTo>
                    <a:pt x="1494" y="360"/>
                  </a:lnTo>
                  <a:lnTo>
                    <a:pt x="1488" y="360"/>
                  </a:lnTo>
                  <a:lnTo>
                    <a:pt x="1488" y="366"/>
                  </a:lnTo>
                  <a:lnTo>
                    <a:pt x="1488" y="372"/>
                  </a:lnTo>
                  <a:lnTo>
                    <a:pt x="1482" y="372"/>
                  </a:lnTo>
                  <a:lnTo>
                    <a:pt x="1476" y="372"/>
                  </a:lnTo>
                  <a:lnTo>
                    <a:pt x="1470" y="372"/>
                  </a:lnTo>
                  <a:lnTo>
                    <a:pt x="1470" y="378"/>
                  </a:lnTo>
                  <a:lnTo>
                    <a:pt x="1470" y="384"/>
                  </a:lnTo>
                  <a:lnTo>
                    <a:pt x="1470" y="390"/>
                  </a:lnTo>
                  <a:lnTo>
                    <a:pt x="1464" y="402"/>
                  </a:lnTo>
                  <a:lnTo>
                    <a:pt x="1446" y="402"/>
                  </a:lnTo>
                  <a:lnTo>
                    <a:pt x="1440" y="372"/>
                  </a:lnTo>
                  <a:lnTo>
                    <a:pt x="1410" y="372"/>
                  </a:lnTo>
                  <a:lnTo>
                    <a:pt x="1380" y="372"/>
                  </a:lnTo>
                  <a:lnTo>
                    <a:pt x="1374" y="372"/>
                  </a:lnTo>
                  <a:lnTo>
                    <a:pt x="1368" y="378"/>
                  </a:lnTo>
                  <a:lnTo>
                    <a:pt x="1362" y="378"/>
                  </a:lnTo>
                  <a:lnTo>
                    <a:pt x="1356" y="378"/>
                  </a:lnTo>
                  <a:lnTo>
                    <a:pt x="1350" y="384"/>
                  </a:lnTo>
                  <a:lnTo>
                    <a:pt x="1350" y="390"/>
                  </a:lnTo>
                  <a:lnTo>
                    <a:pt x="1344" y="390"/>
                  </a:lnTo>
                  <a:lnTo>
                    <a:pt x="1338" y="390"/>
                  </a:lnTo>
                  <a:lnTo>
                    <a:pt x="1332" y="390"/>
                  </a:lnTo>
                  <a:lnTo>
                    <a:pt x="1332" y="396"/>
                  </a:lnTo>
                  <a:lnTo>
                    <a:pt x="1332" y="390"/>
                  </a:lnTo>
                  <a:lnTo>
                    <a:pt x="1326" y="402"/>
                  </a:lnTo>
                  <a:lnTo>
                    <a:pt x="1320" y="402"/>
                  </a:lnTo>
                  <a:lnTo>
                    <a:pt x="1302" y="474"/>
                  </a:lnTo>
                  <a:lnTo>
                    <a:pt x="1308" y="480"/>
                  </a:lnTo>
                  <a:lnTo>
                    <a:pt x="1314" y="480"/>
                  </a:lnTo>
                  <a:lnTo>
                    <a:pt x="1308" y="498"/>
                  </a:lnTo>
                  <a:lnTo>
                    <a:pt x="1308" y="504"/>
                  </a:lnTo>
                  <a:lnTo>
                    <a:pt x="1314" y="510"/>
                  </a:lnTo>
                  <a:lnTo>
                    <a:pt x="1308" y="510"/>
                  </a:lnTo>
                  <a:lnTo>
                    <a:pt x="1308" y="516"/>
                  </a:lnTo>
                  <a:lnTo>
                    <a:pt x="1302" y="516"/>
                  </a:lnTo>
                  <a:lnTo>
                    <a:pt x="1296" y="510"/>
                  </a:lnTo>
                  <a:lnTo>
                    <a:pt x="1296" y="516"/>
                  </a:lnTo>
                  <a:lnTo>
                    <a:pt x="1290" y="540"/>
                  </a:lnTo>
                  <a:lnTo>
                    <a:pt x="1290" y="552"/>
                  </a:lnTo>
                  <a:lnTo>
                    <a:pt x="1284" y="558"/>
                  </a:lnTo>
                  <a:lnTo>
                    <a:pt x="1290" y="576"/>
                  </a:lnTo>
                  <a:lnTo>
                    <a:pt x="1290" y="600"/>
                  </a:lnTo>
                  <a:lnTo>
                    <a:pt x="1284" y="618"/>
                  </a:lnTo>
                  <a:lnTo>
                    <a:pt x="1290" y="624"/>
                  </a:lnTo>
                  <a:lnTo>
                    <a:pt x="1284" y="630"/>
                  </a:lnTo>
                  <a:lnTo>
                    <a:pt x="1278" y="630"/>
                  </a:lnTo>
                  <a:lnTo>
                    <a:pt x="1272" y="630"/>
                  </a:lnTo>
                  <a:lnTo>
                    <a:pt x="1266" y="636"/>
                  </a:lnTo>
                  <a:lnTo>
                    <a:pt x="1260" y="642"/>
                  </a:lnTo>
                  <a:lnTo>
                    <a:pt x="1260" y="636"/>
                  </a:lnTo>
                  <a:lnTo>
                    <a:pt x="1254" y="636"/>
                  </a:lnTo>
                  <a:lnTo>
                    <a:pt x="1248" y="636"/>
                  </a:lnTo>
                  <a:lnTo>
                    <a:pt x="1248" y="642"/>
                  </a:lnTo>
                  <a:lnTo>
                    <a:pt x="1242" y="642"/>
                  </a:lnTo>
                  <a:lnTo>
                    <a:pt x="1242" y="648"/>
                  </a:lnTo>
                  <a:lnTo>
                    <a:pt x="1236" y="654"/>
                  </a:lnTo>
                  <a:lnTo>
                    <a:pt x="1230" y="654"/>
                  </a:lnTo>
                  <a:lnTo>
                    <a:pt x="1224" y="654"/>
                  </a:lnTo>
                  <a:lnTo>
                    <a:pt x="1218" y="660"/>
                  </a:lnTo>
                  <a:lnTo>
                    <a:pt x="1212" y="660"/>
                  </a:lnTo>
                  <a:lnTo>
                    <a:pt x="1206" y="660"/>
                  </a:lnTo>
                  <a:lnTo>
                    <a:pt x="1200" y="660"/>
                  </a:lnTo>
                  <a:lnTo>
                    <a:pt x="1200" y="666"/>
                  </a:lnTo>
                  <a:lnTo>
                    <a:pt x="1194" y="666"/>
                  </a:lnTo>
                  <a:lnTo>
                    <a:pt x="1188" y="666"/>
                  </a:lnTo>
                  <a:lnTo>
                    <a:pt x="1182" y="672"/>
                  </a:lnTo>
                  <a:lnTo>
                    <a:pt x="1176" y="672"/>
                  </a:lnTo>
                  <a:lnTo>
                    <a:pt x="1170" y="672"/>
                  </a:lnTo>
                  <a:lnTo>
                    <a:pt x="1164" y="678"/>
                  </a:lnTo>
                  <a:lnTo>
                    <a:pt x="1170" y="678"/>
                  </a:lnTo>
                  <a:lnTo>
                    <a:pt x="1164" y="684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52" y="684"/>
                  </a:lnTo>
                  <a:lnTo>
                    <a:pt x="1152" y="690"/>
                  </a:lnTo>
                  <a:lnTo>
                    <a:pt x="1146" y="690"/>
                  </a:lnTo>
                  <a:lnTo>
                    <a:pt x="1140" y="690"/>
                  </a:lnTo>
                  <a:lnTo>
                    <a:pt x="1134" y="696"/>
                  </a:lnTo>
                  <a:lnTo>
                    <a:pt x="1128" y="696"/>
                  </a:lnTo>
                  <a:lnTo>
                    <a:pt x="1122" y="702"/>
                  </a:lnTo>
                  <a:lnTo>
                    <a:pt x="1116" y="702"/>
                  </a:lnTo>
                  <a:lnTo>
                    <a:pt x="1110" y="708"/>
                  </a:lnTo>
                  <a:lnTo>
                    <a:pt x="1104" y="708"/>
                  </a:lnTo>
                  <a:lnTo>
                    <a:pt x="1098" y="708"/>
                  </a:lnTo>
                  <a:lnTo>
                    <a:pt x="1092" y="708"/>
                  </a:lnTo>
                  <a:lnTo>
                    <a:pt x="1092" y="714"/>
                  </a:lnTo>
                  <a:lnTo>
                    <a:pt x="1086" y="720"/>
                  </a:lnTo>
                  <a:lnTo>
                    <a:pt x="1080" y="720"/>
                  </a:lnTo>
                  <a:lnTo>
                    <a:pt x="1074" y="720"/>
                  </a:lnTo>
                  <a:lnTo>
                    <a:pt x="1068" y="720"/>
                  </a:lnTo>
                  <a:lnTo>
                    <a:pt x="1062" y="720"/>
                  </a:lnTo>
                  <a:lnTo>
                    <a:pt x="1050" y="726"/>
                  </a:lnTo>
                  <a:lnTo>
                    <a:pt x="1044" y="726"/>
                  </a:lnTo>
                  <a:lnTo>
                    <a:pt x="1038" y="732"/>
                  </a:lnTo>
                  <a:lnTo>
                    <a:pt x="1026" y="732"/>
                  </a:lnTo>
                  <a:lnTo>
                    <a:pt x="1020" y="732"/>
                  </a:lnTo>
                  <a:lnTo>
                    <a:pt x="1014" y="738"/>
                  </a:lnTo>
                  <a:lnTo>
                    <a:pt x="1008" y="738"/>
                  </a:lnTo>
                  <a:lnTo>
                    <a:pt x="1002" y="738"/>
                  </a:lnTo>
                  <a:lnTo>
                    <a:pt x="996" y="738"/>
                  </a:lnTo>
                  <a:lnTo>
                    <a:pt x="990" y="738"/>
                  </a:lnTo>
                  <a:lnTo>
                    <a:pt x="990" y="732"/>
                  </a:lnTo>
                  <a:lnTo>
                    <a:pt x="984" y="732"/>
                  </a:lnTo>
                  <a:lnTo>
                    <a:pt x="978" y="738"/>
                  </a:lnTo>
                  <a:lnTo>
                    <a:pt x="978" y="744"/>
                  </a:lnTo>
                  <a:lnTo>
                    <a:pt x="984" y="744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8" y="756"/>
                  </a:lnTo>
                  <a:lnTo>
                    <a:pt x="972" y="756"/>
                  </a:lnTo>
                  <a:lnTo>
                    <a:pt x="972" y="762"/>
                  </a:lnTo>
                  <a:lnTo>
                    <a:pt x="966" y="768"/>
                  </a:lnTo>
                  <a:lnTo>
                    <a:pt x="966" y="762"/>
                  </a:lnTo>
                  <a:lnTo>
                    <a:pt x="960" y="762"/>
                  </a:lnTo>
                  <a:lnTo>
                    <a:pt x="954" y="768"/>
                  </a:lnTo>
                  <a:lnTo>
                    <a:pt x="954" y="774"/>
                  </a:lnTo>
                  <a:lnTo>
                    <a:pt x="948" y="774"/>
                  </a:lnTo>
                  <a:lnTo>
                    <a:pt x="948" y="780"/>
                  </a:lnTo>
                  <a:lnTo>
                    <a:pt x="948" y="786"/>
                  </a:lnTo>
                  <a:lnTo>
                    <a:pt x="942" y="786"/>
                  </a:lnTo>
                  <a:lnTo>
                    <a:pt x="942" y="792"/>
                  </a:lnTo>
                  <a:lnTo>
                    <a:pt x="936" y="792"/>
                  </a:lnTo>
                  <a:lnTo>
                    <a:pt x="942" y="798"/>
                  </a:lnTo>
                  <a:lnTo>
                    <a:pt x="942" y="804"/>
                  </a:lnTo>
                  <a:lnTo>
                    <a:pt x="942" y="810"/>
                  </a:lnTo>
                  <a:lnTo>
                    <a:pt x="948" y="810"/>
                  </a:lnTo>
                  <a:lnTo>
                    <a:pt x="942" y="816"/>
                  </a:lnTo>
                  <a:lnTo>
                    <a:pt x="948" y="816"/>
                  </a:lnTo>
                  <a:lnTo>
                    <a:pt x="948" y="822"/>
                  </a:lnTo>
                  <a:lnTo>
                    <a:pt x="954" y="822"/>
                  </a:lnTo>
                  <a:lnTo>
                    <a:pt x="960" y="828"/>
                  </a:lnTo>
                  <a:lnTo>
                    <a:pt x="960" y="834"/>
                  </a:lnTo>
                  <a:lnTo>
                    <a:pt x="966" y="834"/>
                  </a:lnTo>
                  <a:lnTo>
                    <a:pt x="960" y="840"/>
                  </a:lnTo>
                  <a:lnTo>
                    <a:pt x="966" y="846"/>
                  </a:lnTo>
                  <a:lnTo>
                    <a:pt x="966" y="840"/>
                  </a:lnTo>
                  <a:lnTo>
                    <a:pt x="972" y="840"/>
                  </a:lnTo>
                  <a:lnTo>
                    <a:pt x="990" y="840"/>
                  </a:lnTo>
                  <a:lnTo>
                    <a:pt x="1002" y="834"/>
                  </a:lnTo>
                  <a:lnTo>
                    <a:pt x="1020" y="828"/>
                  </a:lnTo>
                  <a:lnTo>
                    <a:pt x="1032" y="828"/>
                  </a:lnTo>
                  <a:lnTo>
                    <a:pt x="1050" y="828"/>
                  </a:lnTo>
                  <a:lnTo>
                    <a:pt x="1062" y="846"/>
                  </a:lnTo>
                  <a:lnTo>
                    <a:pt x="1074" y="876"/>
                  </a:lnTo>
                  <a:lnTo>
                    <a:pt x="1068" y="900"/>
                  </a:lnTo>
                  <a:lnTo>
                    <a:pt x="1074" y="912"/>
                  </a:lnTo>
                  <a:lnTo>
                    <a:pt x="1074" y="936"/>
                  </a:lnTo>
                  <a:lnTo>
                    <a:pt x="1068" y="942"/>
                  </a:lnTo>
                  <a:lnTo>
                    <a:pt x="1062" y="954"/>
                  </a:lnTo>
                  <a:lnTo>
                    <a:pt x="1056" y="978"/>
                  </a:lnTo>
                  <a:lnTo>
                    <a:pt x="1056" y="996"/>
                  </a:lnTo>
                  <a:lnTo>
                    <a:pt x="1068" y="990"/>
                  </a:lnTo>
                  <a:lnTo>
                    <a:pt x="1074" y="990"/>
                  </a:lnTo>
                  <a:lnTo>
                    <a:pt x="1074" y="1008"/>
                  </a:lnTo>
                  <a:lnTo>
                    <a:pt x="1080" y="1008"/>
                  </a:lnTo>
                  <a:lnTo>
                    <a:pt x="1092" y="1014"/>
                  </a:lnTo>
                  <a:lnTo>
                    <a:pt x="1110" y="1044"/>
                  </a:lnTo>
                  <a:lnTo>
                    <a:pt x="1110" y="1062"/>
                  </a:lnTo>
                  <a:lnTo>
                    <a:pt x="1128" y="1068"/>
                  </a:lnTo>
                  <a:lnTo>
                    <a:pt x="1128" y="1092"/>
                  </a:lnTo>
                  <a:lnTo>
                    <a:pt x="1134" y="1098"/>
                  </a:lnTo>
                  <a:lnTo>
                    <a:pt x="1158" y="1122"/>
                  </a:lnTo>
                  <a:lnTo>
                    <a:pt x="1188" y="1122"/>
                  </a:lnTo>
                  <a:lnTo>
                    <a:pt x="1188" y="1128"/>
                  </a:lnTo>
                  <a:lnTo>
                    <a:pt x="1200" y="1134"/>
                  </a:lnTo>
                  <a:lnTo>
                    <a:pt x="1206" y="1134"/>
                  </a:lnTo>
                  <a:lnTo>
                    <a:pt x="1206" y="1128"/>
                  </a:lnTo>
                  <a:lnTo>
                    <a:pt x="1212" y="1128"/>
                  </a:lnTo>
                  <a:lnTo>
                    <a:pt x="1218" y="1128"/>
                  </a:lnTo>
                  <a:lnTo>
                    <a:pt x="1224" y="1122"/>
                  </a:lnTo>
                  <a:lnTo>
                    <a:pt x="1224" y="1128"/>
                  </a:lnTo>
                  <a:lnTo>
                    <a:pt x="1230" y="1128"/>
                  </a:lnTo>
                  <a:lnTo>
                    <a:pt x="1236" y="1128"/>
                  </a:lnTo>
                  <a:lnTo>
                    <a:pt x="1236" y="1122"/>
                  </a:lnTo>
                  <a:lnTo>
                    <a:pt x="1242" y="1122"/>
                  </a:lnTo>
                  <a:lnTo>
                    <a:pt x="1248" y="1128"/>
                  </a:lnTo>
                  <a:lnTo>
                    <a:pt x="1254" y="1128"/>
                  </a:lnTo>
                  <a:lnTo>
                    <a:pt x="1260" y="1134"/>
                  </a:lnTo>
                  <a:lnTo>
                    <a:pt x="1260" y="1140"/>
                  </a:lnTo>
                  <a:lnTo>
                    <a:pt x="1266" y="1140"/>
                  </a:lnTo>
                  <a:lnTo>
                    <a:pt x="1272" y="1140"/>
                  </a:lnTo>
                  <a:lnTo>
                    <a:pt x="1278" y="1140"/>
                  </a:lnTo>
                  <a:lnTo>
                    <a:pt x="1284" y="1140"/>
                  </a:lnTo>
                  <a:lnTo>
                    <a:pt x="1290" y="1146"/>
                  </a:lnTo>
                  <a:lnTo>
                    <a:pt x="1290" y="1152"/>
                  </a:lnTo>
                  <a:lnTo>
                    <a:pt x="1296" y="1146"/>
                  </a:lnTo>
                  <a:lnTo>
                    <a:pt x="1296" y="1152"/>
                  </a:lnTo>
                  <a:lnTo>
                    <a:pt x="1308" y="1152"/>
                  </a:lnTo>
                  <a:lnTo>
                    <a:pt x="1314" y="1152"/>
                  </a:lnTo>
                  <a:lnTo>
                    <a:pt x="1320" y="1152"/>
                  </a:lnTo>
                  <a:lnTo>
                    <a:pt x="1332" y="1152"/>
                  </a:lnTo>
                  <a:lnTo>
                    <a:pt x="1338" y="1152"/>
                  </a:lnTo>
                  <a:lnTo>
                    <a:pt x="1344" y="1152"/>
                  </a:lnTo>
                  <a:lnTo>
                    <a:pt x="1344" y="1158"/>
                  </a:lnTo>
                  <a:lnTo>
                    <a:pt x="1350" y="1158"/>
                  </a:lnTo>
                  <a:lnTo>
                    <a:pt x="1356" y="1158"/>
                  </a:lnTo>
                  <a:lnTo>
                    <a:pt x="1362" y="1158"/>
                  </a:lnTo>
                  <a:lnTo>
                    <a:pt x="1368" y="1158"/>
                  </a:lnTo>
                  <a:lnTo>
                    <a:pt x="1374" y="1164"/>
                  </a:lnTo>
                  <a:lnTo>
                    <a:pt x="1380" y="1164"/>
                  </a:lnTo>
                  <a:lnTo>
                    <a:pt x="1386" y="1170"/>
                  </a:lnTo>
                  <a:lnTo>
                    <a:pt x="1392" y="1170"/>
                  </a:lnTo>
                  <a:lnTo>
                    <a:pt x="1398" y="1164"/>
                  </a:lnTo>
                  <a:lnTo>
                    <a:pt x="1404" y="1164"/>
                  </a:lnTo>
                  <a:lnTo>
                    <a:pt x="1410" y="1164"/>
                  </a:lnTo>
                  <a:lnTo>
                    <a:pt x="1416" y="1164"/>
                  </a:lnTo>
                  <a:lnTo>
                    <a:pt x="1416" y="1170"/>
                  </a:lnTo>
                  <a:lnTo>
                    <a:pt x="1422" y="1176"/>
                  </a:lnTo>
                  <a:lnTo>
                    <a:pt x="1416" y="1176"/>
                  </a:lnTo>
                  <a:lnTo>
                    <a:pt x="1416" y="1182"/>
                  </a:lnTo>
                  <a:lnTo>
                    <a:pt x="1410" y="1188"/>
                  </a:lnTo>
                  <a:lnTo>
                    <a:pt x="1404" y="1194"/>
                  </a:lnTo>
                  <a:lnTo>
                    <a:pt x="1404" y="1200"/>
                  </a:lnTo>
                  <a:lnTo>
                    <a:pt x="1404" y="1206"/>
                  </a:lnTo>
                  <a:lnTo>
                    <a:pt x="1398" y="1212"/>
                  </a:lnTo>
                  <a:lnTo>
                    <a:pt x="1398" y="1206"/>
                  </a:lnTo>
                  <a:lnTo>
                    <a:pt x="1392" y="1206"/>
                  </a:lnTo>
                  <a:lnTo>
                    <a:pt x="1386" y="1206"/>
                  </a:lnTo>
                  <a:lnTo>
                    <a:pt x="1380" y="1212"/>
                  </a:lnTo>
                  <a:lnTo>
                    <a:pt x="1374" y="1212"/>
                  </a:lnTo>
                  <a:lnTo>
                    <a:pt x="1368" y="1218"/>
                  </a:lnTo>
                  <a:lnTo>
                    <a:pt x="1362" y="1218"/>
                  </a:lnTo>
                  <a:lnTo>
                    <a:pt x="1362" y="1224"/>
                  </a:lnTo>
                  <a:lnTo>
                    <a:pt x="1356" y="1230"/>
                  </a:lnTo>
                  <a:lnTo>
                    <a:pt x="1350" y="1230"/>
                  </a:lnTo>
                  <a:lnTo>
                    <a:pt x="1344" y="1236"/>
                  </a:lnTo>
                  <a:lnTo>
                    <a:pt x="1338" y="1230"/>
                  </a:lnTo>
                  <a:lnTo>
                    <a:pt x="1332" y="1230"/>
                  </a:lnTo>
                  <a:lnTo>
                    <a:pt x="1326" y="1230"/>
                  </a:lnTo>
                  <a:lnTo>
                    <a:pt x="1320" y="1230"/>
                  </a:lnTo>
                  <a:lnTo>
                    <a:pt x="1314" y="1230"/>
                  </a:lnTo>
                  <a:lnTo>
                    <a:pt x="1296" y="1242"/>
                  </a:lnTo>
                  <a:lnTo>
                    <a:pt x="1296" y="1248"/>
                  </a:lnTo>
                  <a:lnTo>
                    <a:pt x="1290" y="1248"/>
                  </a:lnTo>
                  <a:lnTo>
                    <a:pt x="1290" y="1260"/>
                  </a:lnTo>
                  <a:lnTo>
                    <a:pt x="1278" y="1272"/>
                  </a:lnTo>
                  <a:lnTo>
                    <a:pt x="1278" y="1278"/>
                  </a:lnTo>
                  <a:lnTo>
                    <a:pt x="1278" y="1284"/>
                  </a:lnTo>
                  <a:lnTo>
                    <a:pt x="1278" y="1290"/>
                  </a:lnTo>
                  <a:lnTo>
                    <a:pt x="1284" y="1296"/>
                  </a:lnTo>
                  <a:lnTo>
                    <a:pt x="1302" y="1302"/>
                  </a:lnTo>
                  <a:lnTo>
                    <a:pt x="1308" y="1308"/>
                  </a:lnTo>
                  <a:lnTo>
                    <a:pt x="1308" y="1314"/>
                  </a:lnTo>
                  <a:lnTo>
                    <a:pt x="1302" y="1320"/>
                  </a:lnTo>
                  <a:lnTo>
                    <a:pt x="1278" y="1314"/>
                  </a:lnTo>
                  <a:lnTo>
                    <a:pt x="1266" y="1308"/>
                  </a:lnTo>
                  <a:lnTo>
                    <a:pt x="1260" y="1296"/>
                  </a:lnTo>
                  <a:lnTo>
                    <a:pt x="1236" y="1296"/>
                  </a:lnTo>
                  <a:lnTo>
                    <a:pt x="1224" y="1308"/>
                  </a:lnTo>
                  <a:lnTo>
                    <a:pt x="1218" y="1308"/>
                  </a:lnTo>
                  <a:lnTo>
                    <a:pt x="1218" y="1302"/>
                  </a:lnTo>
                  <a:lnTo>
                    <a:pt x="1212" y="1302"/>
                  </a:lnTo>
                  <a:lnTo>
                    <a:pt x="1206" y="1302"/>
                  </a:lnTo>
                  <a:lnTo>
                    <a:pt x="1170" y="1314"/>
                  </a:lnTo>
                  <a:lnTo>
                    <a:pt x="1134" y="1296"/>
                  </a:lnTo>
                  <a:lnTo>
                    <a:pt x="1122" y="1290"/>
                  </a:lnTo>
                  <a:lnTo>
                    <a:pt x="1104" y="1290"/>
                  </a:lnTo>
                  <a:lnTo>
                    <a:pt x="1098" y="1278"/>
                  </a:lnTo>
                  <a:lnTo>
                    <a:pt x="1092" y="1242"/>
                  </a:lnTo>
                  <a:lnTo>
                    <a:pt x="1086" y="1242"/>
                  </a:lnTo>
                  <a:lnTo>
                    <a:pt x="1086" y="1248"/>
                  </a:lnTo>
                  <a:lnTo>
                    <a:pt x="1086" y="1254"/>
                  </a:lnTo>
                  <a:lnTo>
                    <a:pt x="1080" y="1254"/>
                  </a:lnTo>
                  <a:lnTo>
                    <a:pt x="1080" y="1260"/>
                  </a:lnTo>
                  <a:lnTo>
                    <a:pt x="1074" y="1260"/>
                  </a:lnTo>
                  <a:lnTo>
                    <a:pt x="1068" y="1236"/>
                  </a:lnTo>
                  <a:lnTo>
                    <a:pt x="1068" y="1206"/>
                  </a:lnTo>
                  <a:lnTo>
                    <a:pt x="1080" y="1194"/>
                  </a:lnTo>
                  <a:lnTo>
                    <a:pt x="1086" y="1194"/>
                  </a:lnTo>
                  <a:lnTo>
                    <a:pt x="1092" y="1200"/>
                  </a:lnTo>
                  <a:lnTo>
                    <a:pt x="1098" y="1206"/>
                  </a:lnTo>
                  <a:lnTo>
                    <a:pt x="1104" y="1200"/>
                  </a:lnTo>
                  <a:lnTo>
                    <a:pt x="1104" y="1194"/>
                  </a:lnTo>
                  <a:lnTo>
                    <a:pt x="1110" y="1194"/>
                  </a:lnTo>
                  <a:lnTo>
                    <a:pt x="1110" y="1188"/>
                  </a:lnTo>
                  <a:lnTo>
                    <a:pt x="1116" y="1182"/>
                  </a:lnTo>
                  <a:lnTo>
                    <a:pt x="1110" y="1182"/>
                  </a:lnTo>
                  <a:lnTo>
                    <a:pt x="1110" y="1170"/>
                  </a:lnTo>
                  <a:lnTo>
                    <a:pt x="1110" y="1158"/>
                  </a:lnTo>
                  <a:lnTo>
                    <a:pt x="1110" y="1152"/>
                  </a:lnTo>
                  <a:lnTo>
                    <a:pt x="1104" y="1146"/>
                  </a:lnTo>
                  <a:lnTo>
                    <a:pt x="1098" y="1140"/>
                  </a:lnTo>
                  <a:lnTo>
                    <a:pt x="1098" y="1134"/>
                  </a:lnTo>
                  <a:lnTo>
                    <a:pt x="1098" y="1128"/>
                  </a:lnTo>
                  <a:lnTo>
                    <a:pt x="1092" y="1128"/>
                  </a:lnTo>
                  <a:lnTo>
                    <a:pt x="1092" y="1122"/>
                  </a:lnTo>
                  <a:lnTo>
                    <a:pt x="1092" y="1116"/>
                  </a:lnTo>
                  <a:lnTo>
                    <a:pt x="1092" y="1110"/>
                  </a:lnTo>
                  <a:lnTo>
                    <a:pt x="1056" y="1122"/>
                  </a:lnTo>
                  <a:lnTo>
                    <a:pt x="1038" y="1128"/>
                  </a:lnTo>
                  <a:lnTo>
                    <a:pt x="1032" y="1128"/>
                  </a:lnTo>
                  <a:lnTo>
                    <a:pt x="1026" y="1128"/>
                  </a:lnTo>
                  <a:lnTo>
                    <a:pt x="1020" y="1128"/>
                  </a:lnTo>
                  <a:lnTo>
                    <a:pt x="1014" y="1128"/>
                  </a:lnTo>
                  <a:lnTo>
                    <a:pt x="1014" y="1122"/>
                  </a:lnTo>
                  <a:lnTo>
                    <a:pt x="1008" y="1122"/>
                  </a:lnTo>
                  <a:lnTo>
                    <a:pt x="1002" y="1128"/>
                  </a:lnTo>
                  <a:lnTo>
                    <a:pt x="1002" y="1134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84" y="1140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66" y="1140"/>
                  </a:lnTo>
                  <a:lnTo>
                    <a:pt x="954" y="1140"/>
                  </a:lnTo>
                  <a:lnTo>
                    <a:pt x="954" y="1134"/>
                  </a:lnTo>
                  <a:lnTo>
                    <a:pt x="948" y="1134"/>
                  </a:lnTo>
                  <a:lnTo>
                    <a:pt x="942" y="1134"/>
                  </a:lnTo>
                  <a:lnTo>
                    <a:pt x="936" y="1134"/>
                  </a:lnTo>
                  <a:lnTo>
                    <a:pt x="930" y="1134"/>
                  </a:lnTo>
                  <a:lnTo>
                    <a:pt x="924" y="1134"/>
                  </a:lnTo>
                  <a:lnTo>
                    <a:pt x="918" y="1134"/>
                  </a:lnTo>
                  <a:lnTo>
                    <a:pt x="918" y="1128"/>
                  </a:lnTo>
                  <a:lnTo>
                    <a:pt x="918" y="1104"/>
                  </a:lnTo>
                  <a:lnTo>
                    <a:pt x="906" y="1104"/>
                  </a:lnTo>
                  <a:lnTo>
                    <a:pt x="900" y="1098"/>
                  </a:lnTo>
                  <a:lnTo>
                    <a:pt x="900" y="1092"/>
                  </a:lnTo>
                  <a:lnTo>
                    <a:pt x="900" y="1086"/>
                  </a:lnTo>
                  <a:lnTo>
                    <a:pt x="900" y="1080"/>
                  </a:lnTo>
                  <a:lnTo>
                    <a:pt x="894" y="1080"/>
                  </a:lnTo>
                  <a:lnTo>
                    <a:pt x="858" y="1074"/>
                  </a:lnTo>
                  <a:lnTo>
                    <a:pt x="852" y="1080"/>
                  </a:lnTo>
                  <a:lnTo>
                    <a:pt x="846" y="1086"/>
                  </a:lnTo>
                  <a:lnTo>
                    <a:pt x="840" y="1086"/>
                  </a:lnTo>
                  <a:lnTo>
                    <a:pt x="840" y="1092"/>
                  </a:lnTo>
                  <a:lnTo>
                    <a:pt x="834" y="1092"/>
                  </a:lnTo>
                  <a:lnTo>
                    <a:pt x="828" y="1098"/>
                  </a:lnTo>
                  <a:lnTo>
                    <a:pt x="822" y="1098"/>
                  </a:lnTo>
                  <a:lnTo>
                    <a:pt x="762" y="1074"/>
                  </a:lnTo>
                  <a:lnTo>
                    <a:pt x="756" y="1068"/>
                  </a:lnTo>
                  <a:lnTo>
                    <a:pt x="750" y="1068"/>
                  </a:lnTo>
                  <a:lnTo>
                    <a:pt x="744" y="1062"/>
                  </a:lnTo>
                  <a:lnTo>
                    <a:pt x="744" y="1068"/>
                  </a:lnTo>
                  <a:lnTo>
                    <a:pt x="744" y="1074"/>
                  </a:lnTo>
                  <a:lnTo>
                    <a:pt x="738" y="1074"/>
                  </a:lnTo>
                  <a:lnTo>
                    <a:pt x="738" y="1068"/>
                  </a:lnTo>
                  <a:lnTo>
                    <a:pt x="732" y="1068"/>
                  </a:lnTo>
                  <a:lnTo>
                    <a:pt x="726" y="1068"/>
                  </a:lnTo>
                  <a:lnTo>
                    <a:pt x="726" y="1074"/>
                  </a:lnTo>
                  <a:lnTo>
                    <a:pt x="720" y="1074"/>
                  </a:lnTo>
                  <a:lnTo>
                    <a:pt x="684" y="106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5" name="Freeform 40">
              <a:extLst>
                <a:ext uri="{FF2B5EF4-FFF2-40B4-BE49-F238E27FC236}">
                  <a16:creationId xmlns:a16="http://schemas.microsoft.com/office/drawing/2014/main" id="{37EC2F22-BDB9-4162-8FA4-08493F6898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3558" y="1520374"/>
              <a:ext cx="1057717" cy="1252440"/>
            </a:xfrm>
            <a:custGeom>
              <a:avLst/>
              <a:gdLst>
                <a:gd name="T0" fmla="*/ 98 w 1992"/>
                <a:gd name="T1" fmla="*/ 162 h 2358"/>
                <a:gd name="T2" fmla="*/ 93 w 1992"/>
                <a:gd name="T3" fmla="*/ 172 h 2358"/>
                <a:gd name="T4" fmla="*/ 82 w 1992"/>
                <a:gd name="T5" fmla="*/ 179 h 2358"/>
                <a:gd name="T6" fmla="*/ 70 w 1992"/>
                <a:gd name="T7" fmla="*/ 174 h 2358"/>
                <a:gd name="T8" fmla="*/ 62 w 1992"/>
                <a:gd name="T9" fmla="*/ 182 h 2358"/>
                <a:gd name="T10" fmla="*/ 45 w 1992"/>
                <a:gd name="T11" fmla="*/ 189 h 2358"/>
                <a:gd name="T12" fmla="*/ 24 w 1992"/>
                <a:gd name="T13" fmla="*/ 205 h 2358"/>
                <a:gd name="T14" fmla="*/ 17 w 1992"/>
                <a:gd name="T15" fmla="*/ 204 h 2358"/>
                <a:gd name="T16" fmla="*/ 7 w 1992"/>
                <a:gd name="T17" fmla="*/ 197 h 2358"/>
                <a:gd name="T18" fmla="*/ 1 w 1992"/>
                <a:gd name="T19" fmla="*/ 191 h 2358"/>
                <a:gd name="T20" fmla="*/ 4 w 1992"/>
                <a:gd name="T21" fmla="*/ 175 h 2358"/>
                <a:gd name="T22" fmla="*/ 7 w 1992"/>
                <a:gd name="T23" fmla="*/ 172 h 2358"/>
                <a:gd name="T24" fmla="*/ 11 w 1992"/>
                <a:gd name="T25" fmla="*/ 168 h 2358"/>
                <a:gd name="T26" fmla="*/ 5 w 1992"/>
                <a:gd name="T27" fmla="*/ 159 h 2358"/>
                <a:gd name="T28" fmla="*/ 10 w 1992"/>
                <a:gd name="T29" fmla="*/ 156 h 2358"/>
                <a:gd name="T30" fmla="*/ 15 w 1992"/>
                <a:gd name="T31" fmla="*/ 155 h 2358"/>
                <a:gd name="T32" fmla="*/ 24 w 1992"/>
                <a:gd name="T33" fmla="*/ 149 h 2358"/>
                <a:gd name="T34" fmla="*/ 38 w 1992"/>
                <a:gd name="T35" fmla="*/ 127 h 2358"/>
                <a:gd name="T36" fmla="*/ 38 w 1992"/>
                <a:gd name="T37" fmla="*/ 107 h 2358"/>
                <a:gd name="T38" fmla="*/ 45 w 1992"/>
                <a:gd name="T39" fmla="*/ 66 h 2358"/>
                <a:gd name="T40" fmla="*/ 47 w 1992"/>
                <a:gd name="T41" fmla="*/ 36 h 2358"/>
                <a:gd name="T42" fmla="*/ 51 w 1992"/>
                <a:gd name="T43" fmla="*/ 35 h 2358"/>
                <a:gd name="T44" fmla="*/ 55 w 1992"/>
                <a:gd name="T45" fmla="*/ 30 h 2358"/>
                <a:gd name="T46" fmla="*/ 56 w 1992"/>
                <a:gd name="T47" fmla="*/ 27 h 2358"/>
                <a:gd name="T48" fmla="*/ 60 w 1992"/>
                <a:gd name="T49" fmla="*/ 23 h 2358"/>
                <a:gd name="T50" fmla="*/ 63 w 1992"/>
                <a:gd name="T51" fmla="*/ 23 h 2358"/>
                <a:gd name="T52" fmla="*/ 70 w 1992"/>
                <a:gd name="T53" fmla="*/ 18 h 2358"/>
                <a:gd name="T54" fmla="*/ 71 w 1992"/>
                <a:gd name="T55" fmla="*/ 15 h 2358"/>
                <a:gd name="T56" fmla="*/ 72 w 1992"/>
                <a:gd name="T57" fmla="*/ 13 h 2358"/>
                <a:gd name="T58" fmla="*/ 77 w 1992"/>
                <a:gd name="T59" fmla="*/ 12 h 2358"/>
                <a:gd name="T60" fmla="*/ 83 w 1992"/>
                <a:gd name="T61" fmla="*/ 10 h 2358"/>
                <a:gd name="T62" fmla="*/ 87 w 1992"/>
                <a:gd name="T63" fmla="*/ 10 h 2358"/>
                <a:gd name="T64" fmla="*/ 89 w 1992"/>
                <a:gd name="T65" fmla="*/ 10 h 2358"/>
                <a:gd name="T66" fmla="*/ 93 w 1992"/>
                <a:gd name="T67" fmla="*/ 8 h 2358"/>
                <a:gd name="T68" fmla="*/ 95 w 1992"/>
                <a:gd name="T69" fmla="*/ 4 h 2358"/>
                <a:gd name="T70" fmla="*/ 99 w 1992"/>
                <a:gd name="T71" fmla="*/ 0 h 2358"/>
                <a:gd name="T72" fmla="*/ 111 w 1992"/>
                <a:gd name="T73" fmla="*/ 0 h 2358"/>
                <a:gd name="T74" fmla="*/ 121 w 1992"/>
                <a:gd name="T75" fmla="*/ 9 h 2358"/>
                <a:gd name="T76" fmla="*/ 128 w 1992"/>
                <a:gd name="T77" fmla="*/ 19 h 2358"/>
                <a:gd name="T78" fmla="*/ 138 w 1992"/>
                <a:gd name="T79" fmla="*/ 33 h 2358"/>
                <a:gd name="T80" fmla="*/ 142 w 1992"/>
                <a:gd name="T81" fmla="*/ 47 h 2358"/>
                <a:gd name="T82" fmla="*/ 145 w 1992"/>
                <a:gd name="T83" fmla="*/ 62 h 2358"/>
                <a:gd name="T84" fmla="*/ 145 w 1992"/>
                <a:gd name="T85" fmla="*/ 70 h 2358"/>
                <a:gd name="T86" fmla="*/ 147 w 1992"/>
                <a:gd name="T87" fmla="*/ 75 h 2358"/>
                <a:gd name="T88" fmla="*/ 153 w 1992"/>
                <a:gd name="T89" fmla="*/ 75 h 2358"/>
                <a:gd name="T90" fmla="*/ 160 w 1992"/>
                <a:gd name="T91" fmla="*/ 76 h 2358"/>
                <a:gd name="T92" fmla="*/ 164 w 1992"/>
                <a:gd name="T93" fmla="*/ 79 h 2358"/>
                <a:gd name="T94" fmla="*/ 168 w 1992"/>
                <a:gd name="T95" fmla="*/ 83 h 2358"/>
                <a:gd name="T96" fmla="*/ 172 w 1992"/>
                <a:gd name="T97" fmla="*/ 86 h 2358"/>
                <a:gd name="T98" fmla="*/ 170 w 1992"/>
                <a:gd name="T99" fmla="*/ 93 h 2358"/>
                <a:gd name="T100" fmla="*/ 170 w 1992"/>
                <a:gd name="T101" fmla="*/ 99 h 2358"/>
                <a:gd name="T102" fmla="*/ 169 w 1992"/>
                <a:gd name="T103" fmla="*/ 106 h 2358"/>
                <a:gd name="T104" fmla="*/ 166 w 1992"/>
                <a:gd name="T105" fmla="*/ 113 h 2358"/>
                <a:gd name="T106" fmla="*/ 170 w 1992"/>
                <a:gd name="T107" fmla="*/ 122 h 2358"/>
                <a:gd name="T108" fmla="*/ 159 w 1992"/>
                <a:gd name="T109" fmla="*/ 128 h 2358"/>
                <a:gd name="T110" fmla="*/ 148 w 1992"/>
                <a:gd name="T111" fmla="*/ 134 h 2358"/>
                <a:gd name="T112" fmla="*/ 139 w 1992"/>
                <a:gd name="T113" fmla="*/ 136 h 2358"/>
                <a:gd name="T114" fmla="*/ 132 w 1992"/>
                <a:gd name="T115" fmla="*/ 138 h 2358"/>
                <a:gd name="T116" fmla="*/ 128 w 1992"/>
                <a:gd name="T117" fmla="*/ 145 h 2358"/>
                <a:gd name="T118" fmla="*/ 124 w 1992"/>
                <a:gd name="T119" fmla="*/ 150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92"/>
                <a:gd name="T181" fmla="*/ 0 h 2358"/>
                <a:gd name="T182" fmla="*/ 1992 w 1992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92" h="2358">
                  <a:moveTo>
                    <a:pt x="1356" y="1782"/>
                  </a:moveTo>
                  <a:lnTo>
                    <a:pt x="1350" y="1788"/>
                  </a:lnTo>
                  <a:lnTo>
                    <a:pt x="1266" y="1788"/>
                  </a:lnTo>
                  <a:lnTo>
                    <a:pt x="1260" y="1800"/>
                  </a:lnTo>
                  <a:lnTo>
                    <a:pt x="1242" y="1806"/>
                  </a:lnTo>
                  <a:lnTo>
                    <a:pt x="1218" y="1812"/>
                  </a:lnTo>
                  <a:lnTo>
                    <a:pt x="1182" y="1812"/>
                  </a:lnTo>
                  <a:lnTo>
                    <a:pt x="1158" y="1806"/>
                  </a:lnTo>
                  <a:lnTo>
                    <a:pt x="1134" y="1800"/>
                  </a:lnTo>
                  <a:lnTo>
                    <a:pt x="1134" y="1806"/>
                  </a:lnTo>
                  <a:lnTo>
                    <a:pt x="1134" y="1830"/>
                  </a:lnTo>
                  <a:lnTo>
                    <a:pt x="1128" y="1842"/>
                  </a:lnTo>
                  <a:lnTo>
                    <a:pt x="1128" y="1854"/>
                  </a:lnTo>
                  <a:lnTo>
                    <a:pt x="1128" y="1860"/>
                  </a:lnTo>
                  <a:lnTo>
                    <a:pt x="1128" y="1866"/>
                  </a:lnTo>
                  <a:lnTo>
                    <a:pt x="1128" y="1872"/>
                  </a:lnTo>
                  <a:lnTo>
                    <a:pt x="1128" y="1884"/>
                  </a:lnTo>
                  <a:lnTo>
                    <a:pt x="1128" y="1890"/>
                  </a:lnTo>
                  <a:lnTo>
                    <a:pt x="1128" y="1896"/>
                  </a:lnTo>
                  <a:lnTo>
                    <a:pt x="1122" y="1902"/>
                  </a:lnTo>
                  <a:lnTo>
                    <a:pt x="1122" y="1920"/>
                  </a:lnTo>
                  <a:lnTo>
                    <a:pt x="1116" y="1920"/>
                  </a:lnTo>
                  <a:lnTo>
                    <a:pt x="1110" y="1926"/>
                  </a:lnTo>
                  <a:lnTo>
                    <a:pt x="1110" y="1932"/>
                  </a:lnTo>
                  <a:lnTo>
                    <a:pt x="1104" y="1938"/>
                  </a:lnTo>
                  <a:lnTo>
                    <a:pt x="1086" y="1962"/>
                  </a:lnTo>
                  <a:lnTo>
                    <a:pt x="1074" y="1974"/>
                  </a:lnTo>
                  <a:lnTo>
                    <a:pt x="1074" y="1980"/>
                  </a:lnTo>
                  <a:lnTo>
                    <a:pt x="1068" y="1986"/>
                  </a:lnTo>
                  <a:lnTo>
                    <a:pt x="1062" y="1998"/>
                  </a:lnTo>
                  <a:lnTo>
                    <a:pt x="1062" y="2004"/>
                  </a:lnTo>
                  <a:lnTo>
                    <a:pt x="1068" y="2004"/>
                  </a:lnTo>
                  <a:lnTo>
                    <a:pt x="1056" y="2034"/>
                  </a:lnTo>
                  <a:lnTo>
                    <a:pt x="1050" y="2076"/>
                  </a:lnTo>
                  <a:lnTo>
                    <a:pt x="1056" y="2100"/>
                  </a:lnTo>
                  <a:lnTo>
                    <a:pt x="1038" y="2106"/>
                  </a:lnTo>
                  <a:lnTo>
                    <a:pt x="1002" y="2106"/>
                  </a:lnTo>
                  <a:lnTo>
                    <a:pt x="978" y="2094"/>
                  </a:lnTo>
                  <a:lnTo>
                    <a:pt x="972" y="2082"/>
                  </a:lnTo>
                  <a:lnTo>
                    <a:pt x="966" y="2070"/>
                  </a:lnTo>
                  <a:lnTo>
                    <a:pt x="954" y="2064"/>
                  </a:lnTo>
                  <a:lnTo>
                    <a:pt x="942" y="2058"/>
                  </a:lnTo>
                  <a:lnTo>
                    <a:pt x="936" y="2058"/>
                  </a:lnTo>
                  <a:lnTo>
                    <a:pt x="918" y="2046"/>
                  </a:lnTo>
                  <a:lnTo>
                    <a:pt x="906" y="2028"/>
                  </a:lnTo>
                  <a:lnTo>
                    <a:pt x="900" y="2022"/>
                  </a:lnTo>
                  <a:lnTo>
                    <a:pt x="894" y="2022"/>
                  </a:lnTo>
                  <a:lnTo>
                    <a:pt x="882" y="2022"/>
                  </a:lnTo>
                  <a:lnTo>
                    <a:pt x="870" y="2016"/>
                  </a:lnTo>
                  <a:lnTo>
                    <a:pt x="864" y="2016"/>
                  </a:lnTo>
                  <a:lnTo>
                    <a:pt x="852" y="2010"/>
                  </a:lnTo>
                  <a:lnTo>
                    <a:pt x="846" y="2004"/>
                  </a:lnTo>
                  <a:lnTo>
                    <a:pt x="840" y="2004"/>
                  </a:lnTo>
                  <a:lnTo>
                    <a:pt x="828" y="1998"/>
                  </a:lnTo>
                  <a:lnTo>
                    <a:pt x="816" y="1998"/>
                  </a:lnTo>
                  <a:lnTo>
                    <a:pt x="810" y="1998"/>
                  </a:lnTo>
                  <a:lnTo>
                    <a:pt x="804" y="1998"/>
                  </a:lnTo>
                  <a:lnTo>
                    <a:pt x="798" y="1998"/>
                  </a:lnTo>
                  <a:lnTo>
                    <a:pt x="792" y="2004"/>
                  </a:lnTo>
                  <a:lnTo>
                    <a:pt x="786" y="2010"/>
                  </a:lnTo>
                  <a:lnTo>
                    <a:pt x="762" y="2010"/>
                  </a:lnTo>
                  <a:lnTo>
                    <a:pt x="756" y="2010"/>
                  </a:lnTo>
                  <a:lnTo>
                    <a:pt x="744" y="2022"/>
                  </a:lnTo>
                  <a:lnTo>
                    <a:pt x="738" y="2034"/>
                  </a:lnTo>
                  <a:lnTo>
                    <a:pt x="732" y="2040"/>
                  </a:lnTo>
                  <a:lnTo>
                    <a:pt x="732" y="2046"/>
                  </a:lnTo>
                  <a:lnTo>
                    <a:pt x="726" y="2058"/>
                  </a:lnTo>
                  <a:lnTo>
                    <a:pt x="720" y="2064"/>
                  </a:lnTo>
                  <a:lnTo>
                    <a:pt x="714" y="2070"/>
                  </a:lnTo>
                  <a:lnTo>
                    <a:pt x="708" y="2088"/>
                  </a:lnTo>
                  <a:lnTo>
                    <a:pt x="702" y="2100"/>
                  </a:lnTo>
                  <a:lnTo>
                    <a:pt x="690" y="2100"/>
                  </a:lnTo>
                  <a:lnTo>
                    <a:pt x="684" y="2094"/>
                  </a:lnTo>
                  <a:lnTo>
                    <a:pt x="666" y="2100"/>
                  </a:lnTo>
                  <a:lnTo>
                    <a:pt x="636" y="2106"/>
                  </a:lnTo>
                  <a:lnTo>
                    <a:pt x="636" y="2112"/>
                  </a:lnTo>
                  <a:lnTo>
                    <a:pt x="636" y="2118"/>
                  </a:lnTo>
                  <a:lnTo>
                    <a:pt x="636" y="2124"/>
                  </a:lnTo>
                  <a:lnTo>
                    <a:pt x="630" y="2124"/>
                  </a:lnTo>
                  <a:lnTo>
                    <a:pt x="630" y="2148"/>
                  </a:lnTo>
                  <a:lnTo>
                    <a:pt x="612" y="2160"/>
                  </a:lnTo>
                  <a:lnTo>
                    <a:pt x="576" y="2172"/>
                  </a:lnTo>
                  <a:lnTo>
                    <a:pt x="546" y="2172"/>
                  </a:lnTo>
                  <a:lnTo>
                    <a:pt x="516" y="2172"/>
                  </a:lnTo>
                  <a:lnTo>
                    <a:pt x="486" y="2172"/>
                  </a:lnTo>
                  <a:lnTo>
                    <a:pt x="462" y="2172"/>
                  </a:lnTo>
                  <a:lnTo>
                    <a:pt x="444" y="2196"/>
                  </a:lnTo>
                  <a:lnTo>
                    <a:pt x="432" y="2232"/>
                  </a:lnTo>
                  <a:lnTo>
                    <a:pt x="408" y="2238"/>
                  </a:lnTo>
                  <a:lnTo>
                    <a:pt x="390" y="2256"/>
                  </a:lnTo>
                  <a:lnTo>
                    <a:pt x="372" y="2274"/>
                  </a:lnTo>
                  <a:lnTo>
                    <a:pt x="360" y="2274"/>
                  </a:lnTo>
                  <a:lnTo>
                    <a:pt x="336" y="2328"/>
                  </a:lnTo>
                  <a:lnTo>
                    <a:pt x="324" y="2340"/>
                  </a:lnTo>
                  <a:lnTo>
                    <a:pt x="300" y="2346"/>
                  </a:lnTo>
                  <a:lnTo>
                    <a:pt x="294" y="2352"/>
                  </a:lnTo>
                  <a:lnTo>
                    <a:pt x="288" y="2352"/>
                  </a:lnTo>
                  <a:lnTo>
                    <a:pt x="282" y="2352"/>
                  </a:lnTo>
                  <a:lnTo>
                    <a:pt x="276" y="2352"/>
                  </a:lnTo>
                  <a:lnTo>
                    <a:pt x="270" y="2352"/>
                  </a:lnTo>
                  <a:lnTo>
                    <a:pt x="270" y="2346"/>
                  </a:lnTo>
                  <a:lnTo>
                    <a:pt x="264" y="2346"/>
                  </a:lnTo>
                  <a:lnTo>
                    <a:pt x="258" y="2352"/>
                  </a:lnTo>
                  <a:lnTo>
                    <a:pt x="252" y="2352"/>
                  </a:lnTo>
                  <a:lnTo>
                    <a:pt x="240" y="2352"/>
                  </a:lnTo>
                  <a:lnTo>
                    <a:pt x="228" y="2352"/>
                  </a:lnTo>
                  <a:lnTo>
                    <a:pt x="222" y="2352"/>
                  </a:lnTo>
                  <a:lnTo>
                    <a:pt x="216" y="2358"/>
                  </a:lnTo>
                  <a:lnTo>
                    <a:pt x="216" y="2352"/>
                  </a:lnTo>
                  <a:lnTo>
                    <a:pt x="210" y="2346"/>
                  </a:lnTo>
                  <a:lnTo>
                    <a:pt x="204" y="2346"/>
                  </a:lnTo>
                  <a:lnTo>
                    <a:pt x="198" y="2340"/>
                  </a:lnTo>
                  <a:lnTo>
                    <a:pt x="192" y="2340"/>
                  </a:lnTo>
                  <a:lnTo>
                    <a:pt x="186" y="2340"/>
                  </a:lnTo>
                  <a:lnTo>
                    <a:pt x="180" y="2340"/>
                  </a:lnTo>
                  <a:lnTo>
                    <a:pt x="174" y="2340"/>
                  </a:lnTo>
                  <a:lnTo>
                    <a:pt x="162" y="2328"/>
                  </a:lnTo>
                  <a:lnTo>
                    <a:pt x="156" y="2322"/>
                  </a:lnTo>
                  <a:lnTo>
                    <a:pt x="156" y="2316"/>
                  </a:lnTo>
                  <a:lnTo>
                    <a:pt x="156" y="2310"/>
                  </a:lnTo>
                  <a:lnTo>
                    <a:pt x="132" y="2286"/>
                  </a:lnTo>
                  <a:lnTo>
                    <a:pt x="120" y="2280"/>
                  </a:lnTo>
                  <a:lnTo>
                    <a:pt x="96" y="2274"/>
                  </a:lnTo>
                  <a:lnTo>
                    <a:pt x="84" y="2268"/>
                  </a:lnTo>
                  <a:lnTo>
                    <a:pt x="78" y="2268"/>
                  </a:lnTo>
                  <a:lnTo>
                    <a:pt x="78" y="2262"/>
                  </a:lnTo>
                  <a:lnTo>
                    <a:pt x="78" y="2256"/>
                  </a:lnTo>
                  <a:lnTo>
                    <a:pt x="78" y="2250"/>
                  </a:lnTo>
                  <a:lnTo>
                    <a:pt x="72" y="2250"/>
                  </a:lnTo>
                  <a:lnTo>
                    <a:pt x="66" y="2250"/>
                  </a:lnTo>
                  <a:lnTo>
                    <a:pt x="60" y="2250"/>
                  </a:lnTo>
                  <a:lnTo>
                    <a:pt x="48" y="2244"/>
                  </a:lnTo>
                  <a:lnTo>
                    <a:pt x="36" y="2238"/>
                  </a:lnTo>
                  <a:lnTo>
                    <a:pt x="36" y="2226"/>
                  </a:lnTo>
                  <a:lnTo>
                    <a:pt x="30" y="2226"/>
                  </a:lnTo>
                  <a:lnTo>
                    <a:pt x="30" y="2220"/>
                  </a:lnTo>
                  <a:lnTo>
                    <a:pt x="24" y="2208"/>
                  </a:lnTo>
                  <a:lnTo>
                    <a:pt x="18" y="2202"/>
                  </a:lnTo>
                  <a:lnTo>
                    <a:pt x="18" y="2196"/>
                  </a:lnTo>
                  <a:lnTo>
                    <a:pt x="12" y="2190"/>
                  </a:lnTo>
                  <a:lnTo>
                    <a:pt x="0" y="2190"/>
                  </a:lnTo>
                  <a:lnTo>
                    <a:pt x="6" y="2184"/>
                  </a:lnTo>
                  <a:lnTo>
                    <a:pt x="12" y="2178"/>
                  </a:lnTo>
                  <a:lnTo>
                    <a:pt x="18" y="2172"/>
                  </a:lnTo>
                  <a:lnTo>
                    <a:pt x="24" y="2166"/>
                  </a:lnTo>
                  <a:lnTo>
                    <a:pt x="30" y="2166"/>
                  </a:lnTo>
                  <a:lnTo>
                    <a:pt x="24" y="2160"/>
                  </a:lnTo>
                  <a:lnTo>
                    <a:pt x="30" y="2160"/>
                  </a:lnTo>
                  <a:lnTo>
                    <a:pt x="36" y="2154"/>
                  </a:lnTo>
                  <a:lnTo>
                    <a:pt x="36" y="2136"/>
                  </a:lnTo>
                  <a:lnTo>
                    <a:pt x="36" y="2118"/>
                  </a:lnTo>
                  <a:lnTo>
                    <a:pt x="48" y="2058"/>
                  </a:lnTo>
                  <a:lnTo>
                    <a:pt x="48" y="2022"/>
                  </a:lnTo>
                  <a:lnTo>
                    <a:pt x="48" y="2016"/>
                  </a:lnTo>
                  <a:lnTo>
                    <a:pt x="48" y="2010"/>
                  </a:lnTo>
                  <a:lnTo>
                    <a:pt x="48" y="2004"/>
                  </a:lnTo>
                  <a:lnTo>
                    <a:pt x="42" y="2004"/>
                  </a:lnTo>
                  <a:lnTo>
                    <a:pt x="42" y="1998"/>
                  </a:lnTo>
                  <a:lnTo>
                    <a:pt x="36" y="1992"/>
                  </a:lnTo>
                  <a:lnTo>
                    <a:pt x="42" y="1992"/>
                  </a:lnTo>
                  <a:lnTo>
                    <a:pt x="42" y="1986"/>
                  </a:lnTo>
                  <a:lnTo>
                    <a:pt x="48" y="1986"/>
                  </a:lnTo>
                  <a:lnTo>
                    <a:pt x="54" y="1986"/>
                  </a:lnTo>
                  <a:lnTo>
                    <a:pt x="60" y="1986"/>
                  </a:lnTo>
                  <a:lnTo>
                    <a:pt x="66" y="1980"/>
                  </a:lnTo>
                  <a:lnTo>
                    <a:pt x="72" y="1974"/>
                  </a:lnTo>
                  <a:lnTo>
                    <a:pt x="78" y="1974"/>
                  </a:lnTo>
                  <a:lnTo>
                    <a:pt x="84" y="1974"/>
                  </a:lnTo>
                  <a:lnTo>
                    <a:pt x="90" y="1974"/>
                  </a:lnTo>
                  <a:lnTo>
                    <a:pt x="96" y="1974"/>
                  </a:lnTo>
                  <a:lnTo>
                    <a:pt x="96" y="1968"/>
                  </a:lnTo>
                  <a:lnTo>
                    <a:pt x="102" y="1968"/>
                  </a:lnTo>
                  <a:lnTo>
                    <a:pt x="102" y="1962"/>
                  </a:lnTo>
                  <a:lnTo>
                    <a:pt x="108" y="1962"/>
                  </a:lnTo>
                  <a:lnTo>
                    <a:pt x="114" y="1956"/>
                  </a:lnTo>
                  <a:lnTo>
                    <a:pt x="120" y="1956"/>
                  </a:lnTo>
                  <a:lnTo>
                    <a:pt x="126" y="1950"/>
                  </a:lnTo>
                  <a:lnTo>
                    <a:pt x="132" y="1950"/>
                  </a:lnTo>
                  <a:lnTo>
                    <a:pt x="132" y="1944"/>
                  </a:lnTo>
                  <a:lnTo>
                    <a:pt x="126" y="1944"/>
                  </a:lnTo>
                  <a:lnTo>
                    <a:pt x="126" y="1938"/>
                  </a:lnTo>
                  <a:lnTo>
                    <a:pt x="126" y="1932"/>
                  </a:lnTo>
                  <a:lnTo>
                    <a:pt x="126" y="1926"/>
                  </a:lnTo>
                  <a:lnTo>
                    <a:pt x="114" y="1914"/>
                  </a:lnTo>
                  <a:lnTo>
                    <a:pt x="114" y="1896"/>
                  </a:lnTo>
                  <a:lnTo>
                    <a:pt x="108" y="1884"/>
                  </a:lnTo>
                  <a:lnTo>
                    <a:pt x="102" y="1872"/>
                  </a:lnTo>
                  <a:lnTo>
                    <a:pt x="96" y="1866"/>
                  </a:lnTo>
                  <a:lnTo>
                    <a:pt x="96" y="1860"/>
                  </a:lnTo>
                  <a:lnTo>
                    <a:pt x="90" y="1860"/>
                  </a:lnTo>
                  <a:lnTo>
                    <a:pt x="90" y="1854"/>
                  </a:lnTo>
                  <a:lnTo>
                    <a:pt x="84" y="1848"/>
                  </a:lnTo>
                  <a:lnTo>
                    <a:pt x="78" y="1842"/>
                  </a:lnTo>
                  <a:lnTo>
                    <a:pt x="72" y="1836"/>
                  </a:lnTo>
                  <a:lnTo>
                    <a:pt x="66" y="1830"/>
                  </a:lnTo>
                  <a:lnTo>
                    <a:pt x="60" y="1824"/>
                  </a:lnTo>
                  <a:lnTo>
                    <a:pt x="54" y="1824"/>
                  </a:lnTo>
                  <a:lnTo>
                    <a:pt x="48" y="1824"/>
                  </a:lnTo>
                  <a:lnTo>
                    <a:pt x="42" y="1818"/>
                  </a:lnTo>
                  <a:lnTo>
                    <a:pt x="54" y="1818"/>
                  </a:lnTo>
                  <a:lnTo>
                    <a:pt x="60" y="1812"/>
                  </a:lnTo>
                  <a:lnTo>
                    <a:pt x="66" y="1812"/>
                  </a:lnTo>
                  <a:lnTo>
                    <a:pt x="72" y="1812"/>
                  </a:lnTo>
                  <a:lnTo>
                    <a:pt x="78" y="1812"/>
                  </a:lnTo>
                  <a:lnTo>
                    <a:pt x="84" y="1812"/>
                  </a:lnTo>
                  <a:lnTo>
                    <a:pt x="90" y="1806"/>
                  </a:lnTo>
                  <a:lnTo>
                    <a:pt x="96" y="1800"/>
                  </a:lnTo>
                  <a:lnTo>
                    <a:pt x="102" y="1806"/>
                  </a:lnTo>
                  <a:lnTo>
                    <a:pt x="108" y="1800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26" y="1788"/>
                  </a:lnTo>
                  <a:lnTo>
                    <a:pt x="126" y="1794"/>
                  </a:lnTo>
                  <a:lnTo>
                    <a:pt x="132" y="1794"/>
                  </a:lnTo>
                  <a:lnTo>
                    <a:pt x="132" y="1788"/>
                  </a:lnTo>
                  <a:lnTo>
                    <a:pt x="138" y="1788"/>
                  </a:lnTo>
                  <a:lnTo>
                    <a:pt x="138" y="1782"/>
                  </a:lnTo>
                  <a:lnTo>
                    <a:pt x="144" y="1782"/>
                  </a:lnTo>
                  <a:lnTo>
                    <a:pt x="150" y="1776"/>
                  </a:lnTo>
                  <a:lnTo>
                    <a:pt x="156" y="1782"/>
                  </a:lnTo>
                  <a:lnTo>
                    <a:pt x="162" y="1776"/>
                  </a:lnTo>
                  <a:lnTo>
                    <a:pt x="168" y="1776"/>
                  </a:lnTo>
                  <a:lnTo>
                    <a:pt x="180" y="1776"/>
                  </a:lnTo>
                  <a:lnTo>
                    <a:pt x="186" y="1776"/>
                  </a:lnTo>
                  <a:lnTo>
                    <a:pt x="186" y="1782"/>
                  </a:lnTo>
                  <a:lnTo>
                    <a:pt x="192" y="1776"/>
                  </a:lnTo>
                  <a:lnTo>
                    <a:pt x="198" y="1776"/>
                  </a:lnTo>
                  <a:lnTo>
                    <a:pt x="204" y="1770"/>
                  </a:lnTo>
                  <a:lnTo>
                    <a:pt x="204" y="1764"/>
                  </a:lnTo>
                  <a:lnTo>
                    <a:pt x="210" y="1764"/>
                  </a:lnTo>
                  <a:lnTo>
                    <a:pt x="216" y="1764"/>
                  </a:lnTo>
                  <a:lnTo>
                    <a:pt x="216" y="1758"/>
                  </a:lnTo>
                  <a:lnTo>
                    <a:pt x="222" y="1758"/>
                  </a:lnTo>
                  <a:lnTo>
                    <a:pt x="228" y="1758"/>
                  </a:lnTo>
                  <a:lnTo>
                    <a:pt x="258" y="1746"/>
                  </a:lnTo>
                  <a:lnTo>
                    <a:pt x="282" y="1716"/>
                  </a:lnTo>
                  <a:lnTo>
                    <a:pt x="300" y="1698"/>
                  </a:lnTo>
                  <a:lnTo>
                    <a:pt x="312" y="1698"/>
                  </a:lnTo>
                  <a:lnTo>
                    <a:pt x="336" y="1698"/>
                  </a:lnTo>
                  <a:lnTo>
                    <a:pt x="360" y="1698"/>
                  </a:lnTo>
                  <a:lnTo>
                    <a:pt x="372" y="1692"/>
                  </a:lnTo>
                  <a:lnTo>
                    <a:pt x="384" y="1692"/>
                  </a:lnTo>
                  <a:lnTo>
                    <a:pt x="360" y="1668"/>
                  </a:lnTo>
                  <a:lnTo>
                    <a:pt x="348" y="1626"/>
                  </a:lnTo>
                  <a:lnTo>
                    <a:pt x="354" y="1578"/>
                  </a:lnTo>
                  <a:lnTo>
                    <a:pt x="354" y="1572"/>
                  </a:lnTo>
                  <a:lnTo>
                    <a:pt x="360" y="1572"/>
                  </a:lnTo>
                  <a:lnTo>
                    <a:pt x="396" y="1530"/>
                  </a:lnTo>
                  <a:lnTo>
                    <a:pt x="408" y="1482"/>
                  </a:lnTo>
                  <a:lnTo>
                    <a:pt x="438" y="1458"/>
                  </a:lnTo>
                  <a:lnTo>
                    <a:pt x="468" y="1422"/>
                  </a:lnTo>
                  <a:lnTo>
                    <a:pt x="480" y="1410"/>
                  </a:lnTo>
                  <a:lnTo>
                    <a:pt x="474" y="1386"/>
                  </a:lnTo>
                  <a:lnTo>
                    <a:pt x="456" y="1356"/>
                  </a:lnTo>
                  <a:lnTo>
                    <a:pt x="438" y="1350"/>
                  </a:lnTo>
                  <a:lnTo>
                    <a:pt x="420" y="1350"/>
                  </a:lnTo>
                  <a:lnTo>
                    <a:pt x="402" y="1350"/>
                  </a:lnTo>
                  <a:lnTo>
                    <a:pt x="390" y="1344"/>
                  </a:lnTo>
                  <a:lnTo>
                    <a:pt x="390" y="1332"/>
                  </a:lnTo>
                  <a:lnTo>
                    <a:pt x="402" y="1296"/>
                  </a:lnTo>
                  <a:lnTo>
                    <a:pt x="414" y="1260"/>
                  </a:lnTo>
                  <a:lnTo>
                    <a:pt x="426" y="1248"/>
                  </a:lnTo>
                  <a:lnTo>
                    <a:pt x="438" y="1242"/>
                  </a:lnTo>
                  <a:lnTo>
                    <a:pt x="432" y="1230"/>
                  </a:lnTo>
                  <a:lnTo>
                    <a:pt x="432" y="1224"/>
                  </a:lnTo>
                  <a:lnTo>
                    <a:pt x="426" y="1218"/>
                  </a:lnTo>
                  <a:lnTo>
                    <a:pt x="426" y="1206"/>
                  </a:lnTo>
                  <a:lnTo>
                    <a:pt x="426" y="1200"/>
                  </a:lnTo>
                  <a:lnTo>
                    <a:pt x="432" y="1194"/>
                  </a:lnTo>
                  <a:lnTo>
                    <a:pt x="426" y="1188"/>
                  </a:lnTo>
                  <a:lnTo>
                    <a:pt x="432" y="1104"/>
                  </a:lnTo>
                  <a:lnTo>
                    <a:pt x="438" y="1086"/>
                  </a:lnTo>
                  <a:lnTo>
                    <a:pt x="462" y="972"/>
                  </a:lnTo>
                  <a:lnTo>
                    <a:pt x="456" y="900"/>
                  </a:lnTo>
                  <a:lnTo>
                    <a:pt x="444" y="846"/>
                  </a:lnTo>
                  <a:lnTo>
                    <a:pt x="456" y="810"/>
                  </a:lnTo>
                  <a:lnTo>
                    <a:pt x="492" y="786"/>
                  </a:lnTo>
                  <a:lnTo>
                    <a:pt x="522" y="762"/>
                  </a:lnTo>
                  <a:lnTo>
                    <a:pt x="546" y="732"/>
                  </a:lnTo>
                  <a:lnTo>
                    <a:pt x="570" y="696"/>
                  </a:lnTo>
                  <a:lnTo>
                    <a:pt x="582" y="654"/>
                  </a:lnTo>
                  <a:lnTo>
                    <a:pt x="564" y="642"/>
                  </a:lnTo>
                  <a:lnTo>
                    <a:pt x="522" y="588"/>
                  </a:lnTo>
                  <a:lnTo>
                    <a:pt x="516" y="546"/>
                  </a:lnTo>
                  <a:lnTo>
                    <a:pt x="510" y="474"/>
                  </a:lnTo>
                  <a:lnTo>
                    <a:pt x="510" y="450"/>
                  </a:lnTo>
                  <a:lnTo>
                    <a:pt x="510" y="444"/>
                  </a:lnTo>
                  <a:lnTo>
                    <a:pt x="522" y="438"/>
                  </a:lnTo>
                  <a:lnTo>
                    <a:pt x="522" y="432"/>
                  </a:lnTo>
                  <a:lnTo>
                    <a:pt x="528" y="426"/>
                  </a:lnTo>
                  <a:lnTo>
                    <a:pt x="534" y="420"/>
                  </a:lnTo>
                  <a:lnTo>
                    <a:pt x="540" y="414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08"/>
                  </a:lnTo>
                  <a:lnTo>
                    <a:pt x="546" y="408"/>
                  </a:lnTo>
                  <a:lnTo>
                    <a:pt x="558" y="414"/>
                  </a:lnTo>
                  <a:lnTo>
                    <a:pt x="564" y="414"/>
                  </a:lnTo>
                  <a:lnTo>
                    <a:pt x="570" y="414"/>
                  </a:lnTo>
                  <a:lnTo>
                    <a:pt x="582" y="414"/>
                  </a:lnTo>
                  <a:lnTo>
                    <a:pt x="582" y="420"/>
                  </a:lnTo>
                  <a:lnTo>
                    <a:pt x="588" y="414"/>
                  </a:lnTo>
                  <a:lnTo>
                    <a:pt x="582" y="408"/>
                  </a:lnTo>
                  <a:lnTo>
                    <a:pt x="588" y="402"/>
                  </a:lnTo>
                  <a:lnTo>
                    <a:pt x="594" y="402"/>
                  </a:lnTo>
                  <a:lnTo>
                    <a:pt x="594" y="396"/>
                  </a:lnTo>
                  <a:lnTo>
                    <a:pt x="594" y="390"/>
                  </a:lnTo>
                  <a:lnTo>
                    <a:pt x="594" y="384"/>
                  </a:lnTo>
                  <a:lnTo>
                    <a:pt x="594" y="378"/>
                  </a:lnTo>
                  <a:lnTo>
                    <a:pt x="600" y="366"/>
                  </a:lnTo>
                  <a:lnTo>
                    <a:pt x="606" y="366"/>
                  </a:lnTo>
                  <a:lnTo>
                    <a:pt x="612" y="360"/>
                  </a:lnTo>
                  <a:lnTo>
                    <a:pt x="612" y="366"/>
                  </a:lnTo>
                  <a:lnTo>
                    <a:pt x="618" y="366"/>
                  </a:lnTo>
                  <a:lnTo>
                    <a:pt x="624" y="366"/>
                  </a:lnTo>
                  <a:lnTo>
                    <a:pt x="630" y="360"/>
                  </a:lnTo>
                  <a:lnTo>
                    <a:pt x="636" y="354"/>
                  </a:lnTo>
                  <a:lnTo>
                    <a:pt x="630" y="354"/>
                  </a:lnTo>
                  <a:lnTo>
                    <a:pt x="630" y="348"/>
                  </a:lnTo>
                  <a:lnTo>
                    <a:pt x="630" y="342"/>
                  </a:lnTo>
                  <a:lnTo>
                    <a:pt x="636" y="342"/>
                  </a:lnTo>
                  <a:lnTo>
                    <a:pt x="642" y="336"/>
                  </a:lnTo>
                  <a:lnTo>
                    <a:pt x="636" y="330"/>
                  </a:lnTo>
                  <a:lnTo>
                    <a:pt x="630" y="336"/>
                  </a:lnTo>
                  <a:lnTo>
                    <a:pt x="624" y="336"/>
                  </a:lnTo>
                  <a:lnTo>
                    <a:pt x="624" y="330"/>
                  </a:lnTo>
                  <a:lnTo>
                    <a:pt x="624" y="324"/>
                  </a:lnTo>
                  <a:lnTo>
                    <a:pt x="618" y="324"/>
                  </a:lnTo>
                  <a:lnTo>
                    <a:pt x="624" y="324"/>
                  </a:lnTo>
                  <a:lnTo>
                    <a:pt x="630" y="330"/>
                  </a:lnTo>
                  <a:lnTo>
                    <a:pt x="630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2" y="306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8" y="288"/>
                  </a:lnTo>
                  <a:lnTo>
                    <a:pt x="648" y="282"/>
                  </a:lnTo>
                  <a:lnTo>
                    <a:pt x="654" y="288"/>
                  </a:lnTo>
                  <a:lnTo>
                    <a:pt x="654" y="282"/>
                  </a:lnTo>
                  <a:lnTo>
                    <a:pt x="660" y="282"/>
                  </a:lnTo>
                  <a:lnTo>
                    <a:pt x="666" y="282"/>
                  </a:lnTo>
                  <a:lnTo>
                    <a:pt x="672" y="282"/>
                  </a:lnTo>
                  <a:lnTo>
                    <a:pt x="678" y="282"/>
                  </a:lnTo>
                  <a:lnTo>
                    <a:pt x="684" y="276"/>
                  </a:lnTo>
                  <a:lnTo>
                    <a:pt x="690" y="270"/>
                  </a:lnTo>
                  <a:lnTo>
                    <a:pt x="690" y="264"/>
                  </a:lnTo>
                  <a:lnTo>
                    <a:pt x="690" y="270"/>
                  </a:lnTo>
                  <a:lnTo>
                    <a:pt x="690" y="276"/>
                  </a:lnTo>
                  <a:lnTo>
                    <a:pt x="696" y="276"/>
                  </a:lnTo>
                  <a:lnTo>
                    <a:pt x="702" y="276"/>
                  </a:lnTo>
                  <a:lnTo>
                    <a:pt x="702" y="282"/>
                  </a:lnTo>
                  <a:lnTo>
                    <a:pt x="708" y="282"/>
                  </a:lnTo>
                  <a:lnTo>
                    <a:pt x="720" y="270"/>
                  </a:lnTo>
                  <a:lnTo>
                    <a:pt x="720" y="264"/>
                  </a:lnTo>
                  <a:lnTo>
                    <a:pt x="720" y="258"/>
                  </a:lnTo>
                  <a:lnTo>
                    <a:pt x="726" y="258"/>
                  </a:lnTo>
                  <a:lnTo>
                    <a:pt x="732" y="258"/>
                  </a:lnTo>
                  <a:lnTo>
                    <a:pt x="732" y="264"/>
                  </a:lnTo>
                  <a:lnTo>
                    <a:pt x="738" y="264"/>
                  </a:lnTo>
                  <a:lnTo>
                    <a:pt x="738" y="258"/>
                  </a:lnTo>
                  <a:lnTo>
                    <a:pt x="732" y="258"/>
                  </a:lnTo>
                  <a:lnTo>
                    <a:pt x="732" y="252"/>
                  </a:lnTo>
                  <a:lnTo>
                    <a:pt x="744" y="252"/>
                  </a:lnTo>
                  <a:lnTo>
                    <a:pt x="750" y="252"/>
                  </a:lnTo>
                  <a:lnTo>
                    <a:pt x="750" y="246"/>
                  </a:lnTo>
                  <a:lnTo>
                    <a:pt x="750" y="240"/>
                  </a:lnTo>
                  <a:lnTo>
                    <a:pt x="762" y="234"/>
                  </a:lnTo>
                  <a:lnTo>
                    <a:pt x="768" y="234"/>
                  </a:lnTo>
                  <a:lnTo>
                    <a:pt x="774" y="234"/>
                  </a:lnTo>
                  <a:lnTo>
                    <a:pt x="780" y="228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16"/>
                  </a:lnTo>
                  <a:lnTo>
                    <a:pt x="792" y="210"/>
                  </a:lnTo>
                  <a:lnTo>
                    <a:pt x="804" y="204"/>
                  </a:lnTo>
                  <a:lnTo>
                    <a:pt x="804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0" y="192"/>
                  </a:lnTo>
                  <a:lnTo>
                    <a:pt x="798" y="186"/>
                  </a:lnTo>
                  <a:lnTo>
                    <a:pt x="810" y="186"/>
                  </a:lnTo>
                  <a:lnTo>
                    <a:pt x="810" y="180"/>
                  </a:lnTo>
                  <a:lnTo>
                    <a:pt x="810" y="186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0" y="180"/>
                  </a:lnTo>
                  <a:lnTo>
                    <a:pt x="816" y="174"/>
                  </a:lnTo>
                  <a:lnTo>
                    <a:pt x="822" y="174"/>
                  </a:lnTo>
                  <a:lnTo>
                    <a:pt x="822" y="180"/>
                  </a:lnTo>
                  <a:lnTo>
                    <a:pt x="828" y="180"/>
                  </a:lnTo>
                  <a:lnTo>
                    <a:pt x="828" y="174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62"/>
                  </a:lnTo>
                  <a:lnTo>
                    <a:pt x="828" y="156"/>
                  </a:lnTo>
                  <a:lnTo>
                    <a:pt x="822" y="156"/>
                  </a:lnTo>
                  <a:lnTo>
                    <a:pt x="828" y="156"/>
                  </a:lnTo>
                  <a:lnTo>
                    <a:pt x="828" y="150"/>
                  </a:lnTo>
                  <a:lnTo>
                    <a:pt x="834" y="150"/>
                  </a:lnTo>
                  <a:lnTo>
                    <a:pt x="840" y="156"/>
                  </a:lnTo>
                  <a:lnTo>
                    <a:pt x="840" y="150"/>
                  </a:lnTo>
                  <a:lnTo>
                    <a:pt x="834" y="150"/>
                  </a:lnTo>
                  <a:lnTo>
                    <a:pt x="834" y="144"/>
                  </a:lnTo>
                  <a:lnTo>
                    <a:pt x="840" y="138"/>
                  </a:lnTo>
                  <a:lnTo>
                    <a:pt x="846" y="144"/>
                  </a:lnTo>
                  <a:lnTo>
                    <a:pt x="846" y="150"/>
                  </a:lnTo>
                  <a:lnTo>
                    <a:pt x="852" y="150"/>
                  </a:lnTo>
                  <a:lnTo>
                    <a:pt x="858" y="150"/>
                  </a:lnTo>
                  <a:lnTo>
                    <a:pt x="870" y="150"/>
                  </a:lnTo>
                  <a:lnTo>
                    <a:pt x="870" y="144"/>
                  </a:lnTo>
                  <a:lnTo>
                    <a:pt x="876" y="138"/>
                  </a:lnTo>
                  <a:lnTo>
                    <a:pt x="882" y="138"/>
                  </a:lnTo>
                  <a:lnTo>
                    <a:pt x="888" y="132"/>
                  </a:lnTo>
                  <a:lnTo>
                    <a:pt x="888" y="138"/>
                  </a:lnTo>
                  <a:lnTo>
                    <a:pt x="894" y="138"/>
                  </a:lnTo>
                  <a:lnTo>
                    <a:pt x="894" y="132"/>
                  </a:lnTo>
                  <a:lnTo>
                    <a:pt x="900" y="126"/>
                  </a:lnTo>
                  <a:lnTo>
                    <a:pt x="900" y="132"/>
                  </a:lnTo>
                  <a:lnTo>
                    <a:pt x="906" y="132"/>
                  </a:lnTo>
                  <a:lnTo>
                    <a:pt x="912" y="132"/>
                  </a:lnTo>
                  <a:lnTo>
                    <a:pt x="918" y="126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24" y="126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8" y="120"/>
                  </a:lnTo>
                  <a:lnTo>
                    <a:pt x="948" y="114"/>
                  </a:lnTo>
                  <a:lnTo>
                    <a:pt x="948" y="108"/>
                  </a:lnTo>
                  <a:lnTo>
                    <a:pt x="954" y="114"/>
                  </a:lnTo>
                  <a:lnTo>
                    <a:pt x="960" y="108"/>
                  </a:lnTo>
                  <a:lnTo>
                    <a:pt x="966" y="108"/>
                  </a:lnTo>
                  <a:lnTo>
                    <a:pt x="972" y="108"/>
                  </a:lnTo>
                  <a:lnTo>
                    <a:pt x="966" y="114"/>
                  </a:lnTo>
                  <a:lnTo>
                    <a:pt x="960" y="114"/>
                  </a:lnTo>
                  <a:lnTo>
                    <a:pt x="960" y="120"/>
                  </a:lnTo>
                  <a:lnTo>
                    <a:pt x="966" y="126"/>
                  </a:lnTo>
                  <a:lnTo>
                    <a:pt x="972" y="126"/>
                  </a:lnTo>
                  <a:lnTo>
                    <a:pt x="978" y="126"/>
                  </a:lnTo>
                  <a:lnTo>
                    <a:pt x="984" y="120"/>
                  </a:lnTo>
                  <a:lnTo>
                    <a:pt x="984" y="114"/>
                  </a:lnTo>
                  <a:lnTo>
                    <a:pt x="996" y="126"/>
                  </a:lnTo>
                  <a:lnTo>
                    <a:pt x="996" y="120"/>
                  </a:lnTo>
                  <a:lnTo>
                    <a:pt x="1002" y="120"/>
                  </a:lnTo>
                  <a:lnTo>
                    <a:pt x="996" y="114"/>
                  </a:lnTo>
                  <a:lnTo>
                    <a:pt x="1002" y="114"/>
                  </a:lnTo>
                  <a:lnTo>
                    <a:pt x="1008" y="114"/>
                  </a:lnTo>
                  <a:lnTo>
                    <a:pt x="1008" y="108"/>
                  </a:lnTo>
                  <a:lnTo>
                    <a:pt x="1014" y="108"/>
                  </a:lnTo>
                  <a:lnTo>
                    <a:pt x="1008" y="114"/>
                  </a:lnTo>
                  <a:lnTo>
                    <a:pt x="1008" y="120"/>
                  </a:lnTo>
                  <a:lnTo>
                    <a:pt x="1008" y="126"/>
                  </a:lnTo>
                  <a:lnTo>
                    <a:pt x="1014" y="126"/>
                  </a:lnTo>
                  <a:lnTo>
                    <a:pt x="1014" y="132"/>
                  </a:lnTo>
                  <a:lnTo>
                    <a:pt x="1020" y="132"/>
                  </a:lnTo>
                  <a:lnTo>
                    <a:pt x="1020" y="126"/>
                  </a:lnTo>
                  <a:lnTo>
                    <a:pt x="1020" y="120"/>
                  </a:lnTo>
                  <a:lnTo>
                    <a:pt x="1032" y="120"/>
                  </a:lnTo>
                  <a:lnTo>
                    <a:pt x="1038" y="120"/>
                  </a:lnTo>
                  <a:lnTo>
                    <a:pt x="1038" y="126"/>
                  </a:lnTo>
                  <a:lnTo>
                    <a:pt x="1044" y="132"/>
                  </a:lnTo>
                  <a:lnTo>
                    <a:pt x="1044" y="126"/>
                  </a:lnTo>
                  <a:lnTo>
                    <a:pt x="1050" y="120"/>
                  </a:lnTo>
                  <a:lnTo>
                    <a:pt x="1050" y="114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68" y="102"/>
                  </a:lnTo>
                  <a:lnTo>
                    <a:pt x="1074" y="96"/>
                  </a:lnTo>
                  <a:lnTo>
                    <a:pt x="1074" y="90"/>
                  </a:lnTo>
                  <a:lnTo>
                    <a:pt x="1068" y="90"/>
                  </a:lnTo>
                  <a:lnTo>
                    <a:pt x="1068" y="84"/>
                  </a:lnTo>
                  <a:lnTo>
                    <a:pt x="1080" y="84"/>
                  </a:lnTo>
                  <a:lnTo>
                    <a:pt x="1086" y="78"/>
                  </a:lnTo>
                  <a:lnTo>
                    <a:pt x="1086" y="72"/>
                  </a:lnTo>
                  <a:lnTo>
                    <a:pt x="1080" y="78"/>
                  </a:lnTo>
                  <a:lnTo>
                    <a:pt x="1080" y="72"/>
                  </a:lnTo>
                  <a:lnTo>
                    <a:pt x="1080" y="66"/>
                  </a:lnTo>
                  <a:lnTo>
                    <a:pt x="1074" y="66"/>
                  </a:lnTo>
                  <a:lnTo>
                    <a:pt x="1080" y="66"/>
                  </a:lnTo>
                  <a:lnTo>
                    <a:pt x="1080" y="60"/>
                  </a:lnTo>
                  <a:lnTo>
                    <a:pt x="1086" y="60"/>
                  </a:lnTo>
                  <a:lnTo>
                    <a:pt x="1086" y="54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2" y="42"/>
                  </a:lnTo>
                  <a:lnTo>
                    <a:pt x="1098" y="42"/>
                  </a:lnTo>
                  <a:lnTo>
                    <a:pt x="1104" y="36"/>
                  </a:lnTo>
                  <a:lnTo>
                    <a:pt x="1110" y="36"/>
                  </a:lnTo>
                  <a:lnTo>
                    <a:pt x="1110" y="30"/>
                  </a:lnTo>
                  <a:lnTo>
                    <a:pt x="1110" y="24"/>
                  </a:lnTo>
                  <a:lnTo>
                    <a:pt x="1116" y="24"/>
                  </a:lnTo>
                  <a:lnTo>
                    <a:pt x="1116" y="18"/>
                  </a:lnTo>
                  <a:lnTo>
                    <a:pt x="1122" y="18"/>
                  </a:lnTo>
                  <a:lnTo>
                    <a:pt x="1128" y="18"/>
                  </a:lnTo>
                  <a:lnTo>
                    <a:pt x="1134" y="12"/>
                  </a:lnTo>
                  <a:lnTo>
                    <a:pt x="1134" y="6"/>
                  </a:lnTo>
                  <a:lnTo>
                    <a:pt x="1140" y="6"/>
                  </a:lnTo>
                  <a:lnTo>
                    <a:pt x="1146" y="0"/>
                  </a:lnTo>
                  <a:lnTo>
                    <a:pt x="1152" y="0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70" y="0"/>
                  </a:lnTo>
                  <a:lnTo>
                    <a:pt x="1176" y="6"/>
                  </a:lnTo>
                  <a:lnTo>
                    <a:pt x="1182" y="6"/>
                  </a:lnTo>
                  <a:lnTo>
                    <a:pt x="1194" y="6"/>
                  </a:lnTo>
                  <a:lnTo>
                    <a:pt x="1200" y="6"/>
                  </a:lnTo>
                  <a:lnTo>
                    <a:pt x="1212" y="0"/>
                  </a:lnTo>
                  <a:lnTo>
                    <a:pt x="1212" y="6"/>
                  </a:lnTo>
                  <a:lnTo>
                    <a:pt x="1218" y="6"/>
                  </a:lnTo>
                  <a:lnTo>
                    <a:pt x="1266" y="6"/>
                  </a:lnTo>
                  <a:lnTo>
                    <a:pt x="1272" y="0"/>
                  </a:lnTo>
                  <a:lnTo>
                    <a:pt x="1278" y="6"/>
                  </a:lnTo>
                  <a:lnTo>
                    <a:pt x="1290" y="6"/>
                  </a:lnTo>
                  <a:lnTo>
                    <a:pt x="1296" y="6"/>
                  </a:lnTo>
                  <a:lnTo>
                    <a:pt x="1308" y="6"/>
                  </a:lnTo>
                  <a:lnTo>
                    <a:pt x="1314" y="6"/>
                  </a:lnTo>
                  <a:lnTo>
                    <a:pt x="1320" y="6"/>
                  </a:lnTo>
                  <a:lnTo>
                    <a:pt x="1326" y="12"/>
                  </a:lnTo>
                  <a:lnTo>
                    <a:pt x="1338" y="30"/>
                  </a:lnTo>
                  <a:lnTo>
                    <a:pt x="1344" y="36"/>
                  </a:lnTo>
                  <a:lnTo>
                    <a:pt x="1356" y="48"/>
                  </a:lnTo>
                  <a:lnTo>
                    <a:pt x="1362" y="60"/>
                  </a:lnTo>
                  <a:lnTo>
                    <a:pt x="1368" y="66"/>
                  </a:lnTo>
                  <a:lnTo>
                    <a:pt x="1374" y="72"/>
                  </a:lnTo>
                  <a:lnTo>
                    <a:pt x="1374" y="78"/>
                  </a:lnTo>
                  <a:lnTo>
                    <a:pt x="1398" y="108"/>
                  </a:lnTo>
                  <a:lnTo>
                    <a:pt x="1398" y="114"/>
                  </a:lnTo>
                  <a:lnTo>
                    <a:pt x="1404" y="114"/>
                  </a:lnTo>
                  <a:lnTo>
                    <a:pt x="1404" y="120"/>
                  </a:lnTo>
                  <a:lnTo>
                    <a:pt x="1410" y="132"/>
                  </a:lnTo>
                  <a:lnTo>
                    <a:pt x="1416" y="132"/>
                  </a:lnTo>
                  <a:lnTo>
                    <a:pt x="1416" y="138"/>
                  </a:lnTo>
                  <a:lnTo>
                    <a:pt x="1422" y="144"/>
                  </a:lnTo>
                  <a:lnTo>
                    <a:pt x="1428" y="150"/>
                  </a:lnTo>
                  <a:lnTo>
                    <a:pt x="1428" y="156"/>
                  </a:lnTo>
                  <a:lnTo>
                    <a:pt x="1458" y="192"/>
                  </a:lnTo>
                  <a:lnTo>
                    <a:pt x="1458" y="198"/>
                  </a:lnTo>
                  <a:lnTo>
                    <a:pt x="1464" y="204"/>
                  </a:lnTo>
                  <a:lnTo>
                    <a:pt x="1470" y="210"/>
                  </a:lnTo>
                  <a:lnTo>
                    <a:pt x="1476" y="216"/>
                  </a:lnTo>
                  <a:lnTo>
                    <a:pt x="1482" y="228"/>
                  </a:lnTo>
                  <a:lnTo>
                    <a:pt x="1488" y="234"/>
                  </a:lnTo>
                  <a:lnTo>
                    <a:pt x="1512" y="270"/>
                  </a:lnTo>
                  <a:lnTo>
                    <a:pt x="1512" y="276"/>
                  </a:lnTo>
                  <a:lnTo>
                    <a:pt x="1530" y="300"/>
                  </a:lnTo>
                  <a:lnTo>
                    <a:pt x="1536" y="306"/>
                  </a:lnTo>
                  <a:lnTo>
                    <a:pt x="1542" y="312"/>
                  </a:lnTo>
                  <a:lnTo>
                    <a:pt x="1542" y="318"/>
                  </a:lnTo>
                  <a:lnTo>
                    <a:pt x="1560" y="336"/>
                  </a:lnTo>
                  <a:lnTo>
                    <a:pt x="1566" y="348"/>
                  </a:lnTo>
                  <a:lnTo>
                    <a:pt x="1572" y="354"/>
                  </a:lnTo>
                  <a:lnTo>
                    <a:pt x="1578" y="360"/>
                  </a:lnTo>
                  <a:lnTo>
                    <a:pt x="1584" y="378"/>
                  </a:lnTo>
                  <a:lnTo>
                    <a:pt x="1590" y="378"/>
                  </a:lnTo>
                  <a:lnTo>
                    <a:pt x="1596" y="390"/>
                  </a:lnTo>
                  <a:lnTo>
                    <a:pt x="1602" y="396"/>
                  </a:lnTo>
                  <a:lnTo>
                    <a:pt x="1608" y="408"/>
                  </a:lnTo>
                  <a:lnTo>
                    <a:pt x="1614" y="408"/>
                  </a:lnTo>
                  <a:lnTo>
                    <a:pt x="1614" y="432"/>
                  </a:lnTo>
                  <a:lnTo>
                    <a:pt x="1620" y="438"/>
                  </a:lnTo>
                  <a:lnTo>
                    <a:pt x="1620" y="450"/>
                  </a:lnTo>
                  <a:lnTo>
                    <a:pt x="1620" y="462"/>
                  </a:lnTo>
                  <a:lnTo>
                    <a:pt x="1626" y="474"/>
                  </a:lnTo>
                  <a:lnTo>
                    <a:pt x="1626" y="480"/>
                  </a:lnTo>
                  <a:lnTo>
                    <a:pt x="1626" y="486"/>
                  </a:lnTo>
                  <a:lnTo>
                    <a:pt x="1632" y="522"/>
                  </a:lnTo>
                  <a:lnTo>
                    <a:pt x="1632" y="528"/>
                  </a:lnTo>
                  <a:lnTo>
                    <a:pt x="1632" y="534"/>
                  </a:lnTo>
                  <a:lnTo>
                    <a:pt x="1638" y="540"/>
                  </a:lnTo>
                  <a:lnTo>
                    <a:pt x="1638" y="558"/>
                  </a:lnTo>
                  <a:lnTo>
                    <a:pt x="1638" y="570"/>
                  </a:lnTo>
                  <a:lnTo>
                    <a:pt x="1644" y="582"/>
                  </a:lnTo>
                  <a:lnTo>
                    <a:pt x="1650" y="618"/>
                  </a:lnTo>
                  <a:lnTo>
                    <a:pt x="1650" y="624"/>
                  </a:lnTo>
                  <a:lnTo>
                    <a:pt x="1650" y="636"/>
                  </a:lnTo>
                  <a:lnTo>
                    <a:pt x="1656" y="642"/>
                  </a:lnTo>
                  <a:lnTo>
                    <a:pt x="1656" y="648"/>
                  </a:lnTo>
                  <a:lnTo>
                    <a:pt x="1656" y="654"/>
                  </a:lnTo>
                  <a:lnTo>
                    <a:pt x="1656" y="660"/>
                  </a:lnTo>
                  <a:lnTo>
                    <a:pt x="1662" y="696"/>
                  </a:lnTo>
                  <a:lnTo>
                    <a:pt x="1668" y="708"/>
                  </a:lnTo>
                  <a:lnTo>
                    <a:pt x="1668" y="714"/>
                  </a:lnTo>
                  <a:lnTo>
                    <a:pt x="1668" y="732"/>
                  </a:lnTo>
                  <a:lnTo>
                    <a:pt x="1668" y="744"/>
                  </a:lnTo>
                  <a:lnTo>
                    <a:pt x="1674" y="756"/>
                  </a:lnTo>
                  <a:lnTo>
                    <a:pt x="1680" y="762"/>
                  </a:lnTo>
                  <a:lnTo>
                    <a:pt x="1680" y="768"/>
                  </a:lnTo>
                  <a:lnTo>
                    <a:pt x="1680" y="774"/>
                  </a:lnTo>
                  <a:lnTo>
                    <a:pt x="1680" y="780"/>
                  </a:lnTo>
                  <a:lnTo>
                    <a:pt x="1674" y="786"/>
                  </a:lnTo>
                  <a:lnTo>
                    <a:pt x="1668" y="792"/>
                  </a:lnTo>
                  <a:lnTo>
                    <a:pt x="1668" y="798"/>
                  </a:lnTo>
                  <a:lnTo>
                    <a:pt x="1668" y="804"/>
                  </a:lnTo>
                  <a:lnTo>
                    <a:pt x="1674" y="804"/>
                  </a:lnTo>
                  <a:lnTo>
                    <a:pt x="1668" y="810"/>
                  </a:lnTo>
                  <a:lnTo>
                    <a:pt x="1674" y="810"/>
                  </a:lnTo>
                  <a:lnTo>
                    <a:pt x="1680" y="810"/>
                  </a:lnTo>
                  <a:lnTo>
                    <a:pt x="1680" y="816"/>
                  </a:lnTo>
                  <a:lnTo>
                    <a:pt x="1680" y="822"/>
                  </a:lnTo>
                  <a:lnTo>
                    <a:pt x="1674" y="822"/>
                  </a:lnTo>
                  <a:lnTo>
                    <a:pt x="1674" y="828"/>
                  </a:lnTo>
                  <a:lnTo>
                    <a:pt x="1668" y="828"/>
                  </a:lnTo>
                  <a:lnTo>
                    <a:pt x="1674" y="834"/>
                  </a:lnTo>
                  <a:lnTo>
                    <a:pt x="1668" y="834"/>
                  </a:lnTo>
                  <a:lnTo>
                    <a:pt x="1668" y="840"/>
                  </a:lnTo>
                  <a:lnTo>
                    <a:pt x="1674" y="840"/>
                  </a:lnTo>
                  <a:lnTo>
                    <a:pt x="1686" y="852"/>
                  </a:lnTo>
                  <a:lnTo>
                    <a:pt x="1692" y="858"/>
                  </a:lnTo>
                  <a:lnTo>
                    <a:pt x="1698" y="858"/>
                  </a:lnTo>
                  <a:lnTo>
                    <a:pt x="1698" y="864"/>
                  </a:lnTo>
                  <a:lnTo>
                    <a:pt x="1698" y="870"/>
                  </a:lnTo>
                  <a:lnTo>
                    <a:pt x="1704" y="864"/>
                  </a:lnTo>
                  <a:lnTo>
                    <a:pt x="1716" y="864"/>
                  </a:lnTo>
                  <a:lnTo>
                    <a:pt x="1722" y="864"/>
                  </a:lnTo>
                  <a:lnTo>
                    <a:pt x="1728" y="864"/>
                  </a:lnTo>
                  <a:lnTo>
                    <a:pt x="1734" y="864"/>
                  </a:lnTo>
                  <a:lnTo>
                    <a:pt x="1740" y="864"/>
                  </a:lnTo>
                  <a:lnTo>
                    <a:pt x="1746" y="876"/>
                  </a:lnTo>
                  <a:lnTo>
                    <a:pt x="1746" y="870"/>
                  </a:lnTo>
                  <a:lnTo>
                    <a:pt x="1740" y="864"/>
                  </a:lnTo>
                  <a:lnTo>
                    <a:pt x="1746" y="864"/>
                  </a:lnTo>
                  <a:lnTo>
                    <a:pt x="1752" y="870"/>
                  </a:lnTo>
                  <a:lnTo>
                    <a:pt x="1758" y="864"/>
                  </a:lnTo>
                  <a:lnTo>
                    <a:pt x="1764" y="864"/>
                  </a:lnTo>
                  <a:lnTo>
                    <a:pt x="1770" y="858"/>
                  </a:lnTo>
                  <a:lnTo>
                    <a:pt x="1782" y="864"/>
                  </a:lnTo>
                  <a:lnTo>
                    <a:pt x="1782" y="870"/>
                  </a:lnTo>
                  <a:lnTo>
                    <a:pt x="1788" y="864"/>
                  </a:lnTo>
                  <a:lnTo>
                    <a:pt x="1794" y="864"/>
                  </a:lnTo>
                  <a:lnTo>
                    <a:pt x="1800" y="870"/>
                  </a:lnTo>
                  <a:lnTo>
                    <a:pt x="1818" y="864"/>
                  </a:lnTo>
                  <a:lnTo>
                    <a:pt x="1824" y="870"/>
                  </a:lnTo>
                  <a:lnTo>
                    <a:pt x="1830" y="864"/>
                  </a:lnTo>
                  <a:lnTo>
                    <a:pt x="1836" y="864"/>
                  </a:lnTo>
                  <a:lnTo>
                    <a:pt x="1842" y="870"/>
                  </a:lnTo>
                  <a:lnTo>
                    <a:pt x="1842" y="876"/>
                  </a:lnTo>
                  <a:lnTo>
                    <a:pt x="1848" y="876"/>
                  </a:lnTo>
                  <a:lnTo>
                    <a:pt x="1848" y="870"/>
                  </a:lnTo>
                  <a:lnTo>
                    <a:pt x="1854" y="870"/>
                  </a:lnTo>
                  <a:lnTo>
                    <a:pt x="1860" y="870"/>
                  </a:lnTo>
                  <a:lnTo>
                    <a:pt x="1860" y="876"/>
                  </a:lnTo>
                  <a:lnTo>
                    <a:pt x="1866" y="876"/>
                  </a:lnTo>
                  <a:lnTo>
                    <a:pt x="1866" y="882"/>
                  </a:lnTo>
                  <a:lnTo>
                    <a:pt x="1872" y="882"/>
                  </a:lnTo>
                  <a:lnTo>
                    <a:pt x="1878" y="888"/>
                  </a:lnTo>
                  <a:lnTo>
                    <a:pt x="1890" y="888"/>
                  </a:lnTo>
                  <a:lnTo>
                    <a:pt x="1890" y="894"/>
                  </a:lnTo>
                  <a:lnTo>
                    <a:pt x="1890" y="900"/>
                  </a:lnTo>
                  <a:lnTo>
                    <a:pt x="1884" y="900"/>
                  </a:lnTo>
                  <a:lnTo>
                    <a:pt x="1884" y="906"/>
                  </a:lnTo>
                  <a:lnTo>
                    <a:pt x="1884" y="912"/>
                  </a:lnTo>
                  <a:lnTo>
                    <a:pt x="1890" y="912"/>
                  </a:lnTo>
                  <a:lnTo>
                    <a:pt x="1896" y="912"/>
                  </a:lnTo>
                  <a:lnTo>
                    <a:pt x="1902" y="912"/>
                  </a:lnTo>
                  <a:lnTo>
                    <a:pt x="1908" y="918"/>
                  </a:lnTo>
                  <a:lnTo>
                    <a:pt x="1908" y="924"/>
                  </a:lnTo>
                  <a:lnTo>
                    <a:pt x="1908" y="930"/>
                  </a:lnTo>
                  <a:lnTo>
                    <a:pt x="1908" y="936"/>
                  </a:lnTo>
                  <a:lnTo>
                    <a:pt x="1914" y="936"/>
                  </a:lnTo>
                  <a:lnTo>
                    <a:pt x="1914" y="942"/>
                  </a:lnTo>
                  <a:lnTo>
                    <a:pt x="1908" y="948"/>
                  </a:lnTo>
                  <a:lnTo>
                    <a:pt x="1914" y="948"/>
                  </a:lnTo>
                  <a:lnTo>
                    <a:pt x="1920" y="954"/>
                  </a:lnTo>
                  <a:lnTo>
                    <a:pt x="1926" y="954"/>
                  </a:lnTo>
                  <a:lnTo>
                    <a:pt x="1932" y="954"/>
                  </a:lnTo>
                  <a:lnTo>
                    <a:pt x="1938" y="954"/>
                  </a:lnTo>
                  <a:lnTo>
                    <a:pt x="1938" y="960"/>
                  </a:lnTo>
                  <a:lnTo>
                    <a:pt x="1944" y="966"/>
                  </a:lnTo>
                  <a:lnTo>
                    <a:pt x="1944" y="972"/>
                  </a:lnTo>
                  <a:lnTo>
                    <a:pt x="1944" y="978"/>
                  </a:lnTo>
                  <a:lnTo>
                    <a:pt x="1950" y="978"/>
                  </a:lnTo>
                  <a:lnTo>
                    <a:pt x="1950" y="984"/>
                  </a:lnTo>
                  <a:lnTo>
                    <a:pt x="1956" y="984"/>
                  </a:lnTo>
                  <a:lnTo>
                    <a:pt x="1962" y="984"/>
                  </a:lnTo>
                  <a:lnTo>
                    <a:pt x="1962" y="978"/>
                  </a:lnTo>
                  <a:lnTo>
                    <a:pt x="1968" y="978"/>
                  </a:lnTo>
                  <a:lnTo>
                    <a:pt x="1974" y="978"/>
                  </a:lnTo>
                  <a:lnTo>
                    <a:pt x="1980" y="972"/>
                  </a:lnTo>
                  <a:lnTo>
                    <a:pt x="1980" y="978"/>
                  </a:lnTo>
                  <a:lnTo>
                    <a:pt x="1980" y="984"/>
                  </a:lnTo>
                  <a:lnTo>
                    <a:pt x="1986" y="984"/>
                  </a:lnTo>
                  <a:lnTo>
                    <a:pt x="1992" y="990"/>
                  </a:lnTo>
                  <a:lnTo>
                    <a:pt x="1992" y="996"/>
                  </a:lnTo>
                  <a:lnTo>
                    <a:pt x="1992" y="1002"/>
                  </a:lnTo>
                  <a:lnTo>
                    <a:pt x="1974" y="1008"/>
                  </a:lnTo>
                  <a:lnTo>
                    <a:pt x="1974" y="1014"/>
                  </a:lnTo>
                  <a:lnTo>
                    <a:pt x="1974" y="1020"/>
                  </a:lnTo>
                  <a:lnTo>
                    <a:pt x="1974" y="1026"/>
                  </a:lnTo>
                  <a:lnTo>
                    <a:pt x="1968" y="1038"/>
                  </a:lnTo>
                  <a:lnTo>
                    <a:pt x="1968" y="1044"/>
                  </a:lnTo>
                  <a:lnTo>
                    <a:pt x="1974" y="1056"/>
                  </a:lnTo>
                  <a:lnTo>
                    <a:pt x="1968" y="1062"/>
                  </a:lnTo>
                  <a:lnTo>
                    <a:pt x="1962" y="1062"/>
                  </a:lnTo>
                  <a:lnTo>
                    <a:pt x="1956" y="1068"/>
                  </a:lnTo>
                  <a:lnTo>
                    <a:pt x="1956" y="1074"/>
                  </a:lnTo>
                  <a:lnTo>
                    <a:pt x="1956" y="1080"/>
                  </a:lnTo>
                  <a:lnTo>
                    <a:pt x="1956" y="1086"/>
                  </a:lnTo>
                  <a:lnTo>
                    <a:pt x="1956" y="1092"/>
                  </a:lnTo>
                  <a:lnTo>
                    <a:pt x="1962" y="1092"/>
                  </a:lnTo>
                  <a:lnTo>
                    <a:pt x="1962" y="1104"/>
                  </a:lnTo>
                  <a:lnTo>
                    <a:pt x="1968" y="1110"/>
                  </a:lnTo>
                  <a:lnTo>
                    <a:pt x="1968" y="1116"/>
                  </a:lnTo>
                  <a:lnTo>
                    <a:pt x="1974" y="1116"/>
                  </a:lnTo>
                  <a:lnTo>
                    <a:pt x="1974" y="1122"/>
                  </a:lnTo>
                  <a:lnTo>
                    <a:pt x="1980" y="1122"/>
                  </a:lnTo>
                  <a:lnTo>
                    <a:pt x="1974" y="1128"/>
                  </a:lnTo>
                  <a:lnTo>
                    <a:pt x="1968" y="1134"/>
                  </a:lnTo>
                  <a:lnTo>
                    <a:pt x="1962" y="1140"/>
                  </a:lnTo>
                  <a:lnTo>
                    <a:pt x="1962" y="1146"/>
                  </a:lnTo>
                  <a:lnTo>
                    <a:pt x="1968" y="1152"/>
                  </a:lnTo>
                  <a:lnTo>
                    <a:pt x="1968" y="1158"/>
                  </a:lnTo>
                  <a:lnTo>
                    <a:pt x="1962" y="1158"/>
                  </a:lnTo>
                  <a:lnTo>
                    <a:pt x="1962" y="1164"/>
                  </a:lnTo>
                  <a:lnTo>
                    <a:pt x="1956" y="1164"/>
                  </a:lnTo>
                  <a:lnTo>
                    <a:pt x="1956" y="1170"/>
                  </a:lnTo>
                  <a:lnTo>
                    <a:pt x="1944" y="1182"/>
                  </a:lnTo>
                  <a:lnTo>
                    <a:pt x="1944" y="1188"/>
                  </a:lnTo>
                  <a:lnTo>
                    <a:pt x="1950" y="1188"/>
                  </a:lnTo>
                  <a:lnTo>
                    <a:pt x="1944" y="1200"/>
                  </a:lnTo>
                  <a:lnTo>
                    <a:pt x="1944" y="1206"/>
                  </a:lnTo>
                  <a:lnTo>
                    <a:pt x="1944" y="1212"/>
                  </a:lnTo>
                  <a:lnTo>
                    <a:pt x="1944" y="1218"/>
                  </a:lnTo>
                  <a:lnTo>
                    <a:pt x="1944" y="1230"/>
                  </a:lnTo>
                  <a:lnTo>
                    <a:pt x="1944" y="1236"/>
                  </a:lnTo>
                  <a:lnTo>
                    <a:pt x="1944" y="1242"/>
                  </a:lnTo>
                  <a:lnTo>
                    <a:pt x="1938" y="1248"/>
                  </a:lnTo>
                  <a:lnTo>
                    <a:pt x="1938" y="1254"/>
                  </a:lnTo>
                  <a:lnTo>
                    <a:pt x="1932" y="1254"/>
                  </a:lnTo>
                  <a:lnTo>
                    <a:pt x="1926" y="1260"/>
                  </a:lnTo>
                  <a:lnTo>
                    <a:pt x="1920" y="1266"/>
                  </a:lnTo>
                  <a:lnTo>
                    <a:pt x="1914" y="1272"/>
                  </a:lnTo>
                  <a:lnTo>
                    <a:pt x="1908" y="1272"/>
                  </a:lnTo>
                  <a:lnTo>
                    <a:pt x="1908" y="1278"/>
                  </a:lnTo>
                  <a:lnTo>
                    <a:pt x="1914" y="1278"/>
                  </a:lnTo>
                  <a:lnTo>
                    <a:pt x="1914" y="1290"/>
                  </a:lnTo>
                  <a:lnTo>
                    <a:pt x="1920" y="1296"/>
                  </a:lnTo>
                  <a:lnTo>
                    <a:pt x="1938" y="1302"/>
                  </a:lnTo>
                  <a:lnTo>
                    <a:pt x="1944" y="1308"/>
                  </a:lnTo>
                  <a:lnTo>
                    <a:pt x="1950" y="1314"/>
                  </a:lnTo>
                  <a:lnTo>
                    <a:pt x="1956" y="1314"/>
                  </a:lnTo>
                  <a:lnTo>
                    <a:pt x="1962" y="1320"/>
                  </a:lnTo>
                  <a:lnTo>
                    <a:pt x="1962" y="1326"/>
                  </a:lnTo>
                  <a:lnTo>
                    <a:pt x="1968" y="1326"/>
                  </a:lnTo>
                  <a:lnTo>
                    <a:pt x="1968" y="1332"/>
                  </a:lnTo>
                  <a:lnTo>
                    <a:pt x="1968" y="1344"/>
                  </a:lnTo>
                  <a:lnTo>
                    <a:pt x="1968" y="1350"/>
                  </a:lnTo>
                  <a:lnTo>
                    <a:pt x="1968" y="1368"/>
                  </a:lnTo>
                  <a:lnTo>
                    <a:pt x="1962" y="1380"/>
                  </a:lnTo>
                  <a:lnTo>
                    <a:pt x="1968" y="1392"/>
                  </a:lnTo>
                  <a:lnTo>
                    <a:pt x="1962" y="1398"/>
                  </a:lnTo>
                  <a:lnTo>
                    <a:pt x="1956" y="1404"/>
                  </a:lnTo>
                  <a:lnTo>
                    <a:pt x="1950" y="1410"/>
                  </a:lnTo>
                  <a:lnTo>
                    <a:pt x="1944" y="1410"/>
                  </a:lnTo>
                  <a:lnTo>
                    <a:pt x="1932" y="1416"/>
                  </a:lnTo>
                  <a:lnTo>
                    <a:pt x="1926" y="1416"/>
                  </a:lnTo>
                  <a:lnTo>
                    <a:pt x="1896" y="1428"/>
                  </a:lnTo>
                  <a:lnTo>
                    <a:pt x="1884" y="1434"/>
                  </a:lnTo>
                  <a:lnTo>
                    <a:pt x="1878" y="1434"/>
                  </a:lnTo>
                  <a:lnTo>
                    <a:pt x="1866" y="1434"/>
                  </a:lnTo>
                  <a:lnTo>
                    <a:pt x="1854" y="1440"/>
                  </a:lnTo>
                  <a:lnTo>
                    <a:pt x="1848" y="1440"/>
                  </a:lnTo>
                  <a:lnTo>
                    <a:pt x="1842" y="1446"/>
                  </a:lnTo>
                  <a:lnTo>
                    <a:pt x="1842" y="1458"/>
                  </a:lnTo>
                  <a:lnTo>
                    <a:pt x="1836" y="1470"/>
                  </a:lnTo>
                  <a:lnTo>
                    <a:pt x="1830" y="1476"/>
                  </a:lnTo>
                  <a:lnTo>
                    <a:pt x="1824" y="1476"/>
                  </a:lnTo>
                  <a:lnTo>
                    <a:pt x="1806" y="1482"/>
                  </a:lnTo>
                  <a:lnTo>
                    <a:pt x="1800" y="1488"/>
                  </a:lnTo>
                  <a:lnTo>
                    <a:pt x="1794" y="1488"/>
                  </a:lnTo>
                  <a:lnTo>
                    <a:pt x="1788" y="1488"/>
                  </a:lnTo>
                  <a:lnTo>
                    <a:pt x="1776" y="1494"/>
                  </a:lnTo>
                  <a:lnTo>
                    <a:pt x="1764" y="1494"/>
                  </a:lnTo>
                  <a:lnTo>
                    <a:pt x="1758" y="1500"/>
                  </a:lnTo>
                  <a:lnTo>
                    <a:pt x="1746" y="1506"/>
                  </a:lnTo>
                  <a:lnTo>
                    <a:pt x="1728" y="1518"/>
                  </a:lnTo>
                  <a:lnTo>
                    <a:pt x="1716" y="1524"/>
                  </a:lnTo>
                  <a:lnTo>
                    <a:pt x="1710" y="1530"/>
                  </a:lnTo>
                  <a:lnTo>
                    <a:pt x="1704" y="1536"/>
                  </a:lnTo>
                  <a:lnTo>
                    <a:pt x="1698" y="1542"/>
                  </a:lnTo>
                  <a:lnTo>
                    <a:pt x="1692" y="1554"/>
                  </a:lnTo>
                  <a:lnTo>
                    <a:pt x="1686" y="1560"/>
                  </a:lnTo>
                  <a:lnTo>
                    <a:pt x="1680" y="1560"/>
                  </a:lnTo>
                  <a:lnTo>
                    <a:pt x="1674" y="1560"/>
                  </a:lnTo>
                  <a:lnTo>
                    <a:pt x="1656" y="1572"/>
                  </a:lnTo>
                  <a:lnTo>
                    <a:pt x="1650" y="1572"/>
                  </a:lnTo>
                  <a:lnTo>
                    <a:pt x="1644" y="1572"/>
                  </a:lnTo>
                  <a:lnTo>
                    <a:pt x="1638" y="1578"/>
                  </a:lnTo>
                  <a:lnTo>
                    <a:pt x="1632" y="1578"/>
                  </a:lnTo>
                  <a:lnTo>
                    <a:pt x="1626" y="1578"/>
                  </a:lnTo>
                  <a:lnTo>
                    <a:pt x="1620" y="1572"/>
                  </a:lnTo>
                  <a:lnTo>
                    <a:pt x="1614" y="1572"/>
                  </a:lnTo>
                  <a:lnTo>
                    <a:pt x="1608" y="1566"/>
                  </a:lnTo>
                  <a:lnTo>
                    <a:pt x="1602" y="1560"/>
                  </a:lnTo>
                  <a:lnTo>
                    <a:pt x="1596" y="1554"/>
                  </a:lnTo>
                  <a:lnTo>
                    <a:pt x="1590" y="1548"/>
                  </a:lnTo>
                  <a:lnTo>
                    <a:pt x="1578" y="1548"/>
                  </a:lnTo>
                  <a:lnTo>
                    <a:pt x="1572" y="1548"/>
                  </a:lnTo>
                  <a:lnTo>
                    <a:pt x="1566" y="1548"/>
                  </a:lnTo>
                  <a:lnTo>
                    <a:pt x="1554" y="1536"/>
                  </a:lnTo>
                  <a:lnTo>
                    <a:pt x="1548" y="1536"/>
                  </a:lnTo>
                  <a:lnTo>
                    <a:pt x="1542" y="1542"/>
                  </a:lnTo>
                  <a:lnTo>
                    <a:pt x="1536" y="1548"/>
                  </a:lnTo>
                  <a:lnTo>
                    <a:pt x="1536" y="1566"/>
                  </a:lnTo>
                  <a:lnTo>
                    <a:pt x="1530" y="1572"/>
                  </a:lnTo>
                  <a:lnTo>
                    <a:pt x="1524" y="1578"/>
                  </a:lnTo>
                  <a:lnTo>
                    <a:pt x="1518" y="1584"/>
                  </a:lnTo>
                  <a:lnTo>
                    <a:pt x="1512" y="1596"/>
                  </a:lnTo>
                  <a:lnTo>
                    <a:pt x="1506" y="1602"/>
                  </a:lnTo>
                  <a:lnTo>
                    <a:pt x="1506" y="1608"/>
                  </a:lnTo>
                  <a:lnTo>
                    <a:pt x="1506" y="1614"/>
                  </a:lnTo>
                  <a:lnTo>
                    <a:pt x="1500" y="1614"/>
                  </a:lnTo>
                  <a:lnTo>
                    <a:pt x="1500" y="1620"/>
                  </a:lnTo>
                  <a:lnTo>
                    <a:pt x="1500" y="1626"/>
                  </a:lnTo>
                  <a:lnTo>
                    <a:pt x="1494" y="1632"/>
                  </a:lnTo>
                  <a:lnTo>
                    <a:pt x="1488" y="1638"/>
                  </a:lnTo>
                  <a:lnTo>
                    <a:pt x="1482" y="1638"/>
                  </a:lnTo>
                  <a:lnTo>
                    <a:pt x="1482" y="1644"/>
                  </a:lnTo>
                  <a:lnTo>
                    <a:pt x="1482" y="1650"/>
                  </a:lnTo>
                  <a:lnTo>
                    <a:pt x="1482" y="1656"/>
                  </a:lnTo>
                  <a:lnTo>
                    <a:pt x="1476" y="1662"/>
                  </a:lnTo>
                  <a:lnTo>
                    <a:pt x="1470" y="1668"/>
                  </a:lnTo>
                  <a:lnTo>
                    <a:pt x="1464" y="1674"/>
                  </a:lnTo>
                  <a:lnTo>
                    <a:pt x="1464" y="1680"/>
                  </a:lnTo>
                  <a:lnTo>
                    <a:pt x="1458" y="1680"/>
                  </a:lnTo>
                  <a:lnTo>
                    <a:pt x="1452" y="1686"/>
                  </a:lnTo>
                  <a:lnTo>
                    <a:pt x="1446" y="1686"/>
                  </a:lnTo>
                  <a:lnTo>
                    <a:pt x="1440" y="1698"/>
                  </a:lnTo>
                  <a:lnTo>
                    <a:pt x="1440" y="1704"/>
                  </a:lnTo>
                  <a:lnTo>
                    <a:pt x="1434" y="1710"/>
                  </a:lnTo>
                  <a:lnTo>
                    <a:pt x="1434" y="1716"/>
                  </a:lnTo>
                  <a:lnTo>
                    <a:pt x="1428" y="1716"/>
                  </a:lnTo>
                  <a:lnTo>
                    <a:pt x="1428" y="1722"/>
                  </a:lnTo>
                  <a:lnTo>
                    <a:pt x="1428" y="1728"/>
                  </a:lnTo>
                  <a:lnTo>
                    <a:pt x="1422" y="1728"/>
                  </a:lnTo>
                  <a:lnTo>
                    <a:pt x="1422" y="1734"/>
                  </a:lnTo>
                  <a:lnTo>
                    <a:pt x="1416" y="1734"/>
                  </a:lnTo>
                  <a:lnTo>
                    <a:pt x="1410" y="1734"/>
                  </a:lnTo>
                  <a:lnTo>
                    <a:pt x="1392" y="1746"/>
                  </a:lnTo>
                  <a:lnTo>
                    <a:pt x="1386" y="1746"/>
                  </a:lnTo>
                  <a:lnTo>
                    <a:pt x="1368" y="1752"/>
                  </a:lnTo>
                  <a:lnTo>
                    <a:pt x="1362" y="1758"/>
                  </a:lnTo>
                  <a:lnTo>
                    <a:pt x="1362" y="1770"/>
                  </a:lnTo>
                  <a:lnTo>
                    <a:pt x="1356" y="178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</p:grpSp>
      <p:graphicFrame>
        <p:nvGraphicFramePr>
          <p:cNvPr id="357" name="Group 76">
            <a:extLst>
              <a:ext uri="{FF2B5EF4-FFF2-40B4-BE49-F238E27FC236}">
                <a16:creationId xmlns:a16="http://schemas.microsoft.com/office/drawing/2014/main" id="{57830D68-CF73-4A3E-9D36-141B03AADBF7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41338" y="3402013"/>
          <a:ext cx="3735387" cy="1827306"/>
        </p:xfrm>
        <a:graphic>
          <a:graphicData uri="http://schemas.openxmlformats.org/drawingml/2006/table">
            <a:tbl>
              <a:tblPr/>
              <a:tblGrid>
                <a:gridCol w="1316931">
                  <a:extLst>
                    <a:ext uri="{9D8B030D-6E8A-4147-A177-3AD203B41FA5}">
                      <a16:colId xmlns:a16="http://schemas.microsoft.com/office/drawing/2014/main" val="2027704273"/>
                    </a:ext>
                  </a:extLst>
                </a:gridCol>
                <a:gridCol w="603796">
                  <a:extLst>
                    <a:ext uri="{9D8B030D-6E8A-4147-A177-3AD203B41FA5}">
                      <a16:colId xmlns:a16="http://schemas.microsoft.com/office/drawing/2014/main" val="3432768286"/>
                    </a:ext>
                  </a:extLst>
                </a:gridCol>
                <a:gridCol w="744015">
                  <a:extLst>
                    <a:ext uri="{9D8B030D-6E8A-4147-A177-3AD203B41FA5}">
                      <a16:colId xmlns:a16="http://schemas.microsoft.com/office/drawing/2014/main" val="3730294207"/>
                    </a:ext>
                  </a:extLst>
                </a:gridCol>
                <a:gridCol w="1070645">
                  <a:extLst>
                    <a:ext uri="{9D8B030D-6E8A-4147-A177-3AD203B41FA5}">
                      <a16:colId xmlns:a16="http://schemas.microsoft.com/office/drawing/2014/main" val="2258321117"/>
                    </a:ext>
                  </a:extLst>
                </a:gridCol>
              </a:tblGrid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apital</a:t>
                      </a:r>
                      <a:endParaRPr kumimoji="0" lang="en-SG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292929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SG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Jos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703009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nd Are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7,147 km</a:t>
                      </a:r>
                      <a:r>
                        <a:rPr kumimoji="0" lang="en-US" altLang="en-US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15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603614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Population (2017E)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4,185,428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26 of 37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505851"/>
                  </a:ext>
                </a:extLst>
              </a:tr>
              <a:tr h="203024">
                <a:tc row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Dem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0-14: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,841,794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44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130093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5-64: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,202,508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53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387564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65+: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   141,126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[3%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38801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bour force 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,942,601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20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797882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limate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ropical savann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3942226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op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Rock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32899"/>
                  </a:ext>
                </a:extLst>
              </a:tr>
            </a:tbl>
          </a:graphicData>
        </a:graphic>
      </p:graphicFrame>
      <p:pic>
        <p:nvPicPr>
          <p:cNvPr id="23609" name="Picture 13">
            <a:extLst>
              <a:ext uri="{FF2B5EF4-FFF2-40B4-BE49-F238E27FC236}">
                <a16:creationId xmlns:a16="http://schemas.microsoft.com/office/drawing/2014/main" id="{952964D5-F0ED-4CAE-B71C-DB4A723FA5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0" y="3006725"/>
            <a:ext cx="1116013" cy="155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9" name="TextBox 378">
            <a:extLst>
              <a:ext uri="{FF2B5EF4-FFF2-40B4-BE49-F238E27FC236}">
                <a16:creationId xmlns:a16="http://schemas.microsoft.com/office/drawing/2014/main" id="{1B3FD4BF-4685-4C74-821F-10048D6246BF}"/>
              </a:ext>
            </a:extLst>
          </p:cNvPr>
          <p:cNvSpPr txBox="1"/>
          <p:nvPr/>
        </p:nvSpPr>
        <p:spPr>
          <a:xfrm>
            <a:off x="6124575" y="957263"/>
            <a:ext cx="3475038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mpetitive Advantages</a:t>
            </a: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455FE7A1-ADE5-4F7B-A489-00196671A53E}"/>
              </a:ext>
            </a:extLst>
          </p:cNvPr>
          <p:cNvSpPr/>
          <p:nvPr/>
        </p:nvSpPr>
        <p:spPr>
          <a:xfrm>
            <a:off x="4267248" y="1187511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10.8bn/$35.4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EBB25788-D073-4A78-9D6C-DF3836CFFFBB}"/>
              </a:ext>
            </a:extLst>
          </p:cNvPr>
          <p:cNvSpPr txBox="1"/>
          <p:nvPr/>
        </p:nvSpPr>
        <p:spPr>
          <a:xfrm>
            <a:off x="4267200" y="955675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GR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6F07DF39-553B-44F0-8864-1F897C2BD79A}"/>
              </a:ext>
            </a:extLst>
          </p:cNvPr>
          <p:cNvSpPr/>
          <p:nvPr/>
        </p:nvSpPr>
        <p:spPr>
          <a:xfrm>
            <a:off x="4267252" y="1809750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146bn/$478.7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2508695A-2D2C-45A3-80FE-9C2CB18200C2}"/>
              </a:ext>
            </a:extLst>
          </p:cNvPr>
          <p:cNvSpPr txBox="1"/>
          <p:nvPr/>
        </p:nvSpPr>
        <p:spPr>
          <a:xfrm>
            <a:off x="4267200" y="1576388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Budget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8)</a:t>
            </a: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86A33ABE-3AE3-40A7-A6A6-1B757A6A9B0F}"/>
              </a:ext>
            </a:extLst>
          </p:cNvPr>
          <p:cNvSpPr/>
          <p:nvPr/>
        </p:nvSpPr>
        <p:spPr>
          <a:xfrm>
            <a:off x="4256076" y="2667155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1.3trn /$4.4bn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1E919764-A18B-4532-A533-A84A31D7FEFE}"/>
              </a:ext>
            </a:extLst>
          </p:cNvPr>
          <p:cNvSpPr txBox="1"/>
          <p:nvPr/>
        </p:nvSpPr>
        <p:spPr>
          <a:xfrm>
            <a:off x="4256088" y="2185988"/>
            <a:ext cx="1811337" cy="50641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Household </a:t>
            </a:r>
          </a:p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nsumption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96" name="Plaque 95">
            <a:extLst>
              <a:ext uri="{FF2B5EF4-FFF2-40B4-BE49-F238E27FC236}">
                <a16:creationId xmlns:a16="http://schemas.microsoft.com/office/drawing/2014/main" id="{E3BE1182-17B4-4194-8641-F1EA2CCBB757}"/>
              </a:ext>
            </a:extLst>
          </p:cNvPr>
          <p:cNvSpPr/>
          <p:nvPr/>
        </p:nvSpPr>
        <p:spPr>
          <a:xfrm>
            <a:off x="5638800" y="2805162"/>
            <a:ext cx="428625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9 of 36</a:t>
            </a:r>
          </a:p>
        </p:txBody>
      </p:sp>
      <p:sp>
        <p:nvSpPr>
          <p:cNvPr id="99" name="Plaque 98">
            <a:extLst>
              <a:ext uri="{FF2B5EF4-FFF2-40B4-BE49-F238E27FC236}">
                <a16:creationId xmlns:a16="http://schemas.microsoft.com/office/drawing/2014/main" id="{8620E393-1C52-4CE1-9888-20922FA6DFEA}"/>
              </a:ext>
            </a:extLst>
          </p:cNvPr>
          <p:cNvSpPr/>
          <p:nvPr/>
        </p:nvSpPr>
        <p:spPr>
          <a:xfrm>
            <a:off x="5638800" y="1951087"/>
            <a:ext cx="428625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6 of 36</a:t>
            </a:r>
          </a:p>
        </p:txBody>
      </p:sp>
      <p:sp>
        <p:nvSpPr>
          <p:cNvPr id="100" name="Plaque 99">
            <a:extLst>
              <a:ext uri="{FF2B5EF4-FFF2-40B4-BE49-F238E27FC236}">
                <a16:creationId xmlns:a16="http://schemas.microsoft.com/office/drawing/2014/main" id="{3BFA6D28-9A42-4459-8BF1-090CE1B45216}"/>
              </a:ext>
            </a:extLst>
          </p:cNvPr>
          <p:cNvSpPr/>
          <p:nvPr/>
        </p:nvSpPr>
        <p:spPr>
          <a:xfrm>
            <a:off x="5638800" y="1333500"/>
            <a:ext cx="430213" cy="1539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latin typeface="Calibri" panose="020F0502020204030204" pitchFamily="34" charset="0"/>
                <a:cs typeface="Calibri" panose="020F0502020204030204" pitchFamily="34" charset="0"/>
              </a:rPr>
              <a:t>19 of 36</a:t>
            </a:r>
          </a:p>
        </p:txBody>
      </p:sp>
      <p:sp>
        <p:nvSpPr>
          <p:cNvPr id="101" name="Pentagon 19">
            <a:extLst>
              <a:ext uri="{FF2B5EF4-FFF2-40B4-BE49-F238E27FC236}">
                <a16:creationId xmlns:a16="http://schemas.microsoft.com/office/drawing/2014/main" id="{CCD74FA4-19D0-4356-90C9-B3B49BCC3F54}"/>
              </a:ext>
            </a:extLst>
          </p:cNvPr>
          <p:cNvSpPr>
            <a:spLocks/>
          </p:cNvSpPr>
          <p:nvPr/>
        </p:nvSpPr>
        <p:spPr bwMode="auto">
          <a:xfrm>
            <a:off x="688340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5 of 37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12EE735-1E43-4799-A46A-5D0787F375CE}"/>
              </a:ext>
            </a:extLst>
          </p:cNvPr>
          <p:cNvSpPr/>
          <p:nvPr/>
        </p:nvSpPr>
        <p:spPr>
          <a:xfrm>
            <a:off x="6880225" y="5726113"/>
            <a:ext cx="642938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Starting a Business</a:t>
            </a:r>
          </a:p>
        </p:txBody>
      </p:sp>
      <p:pic>
        <p:nvPicPr>
          <p:cNvPr id="23622" name="Picture 3">
            <a:extLst>
              <a:ext uri="{FF2B5EF4-FFF2-40B4-BE49-F238E27FC236}">
                <a16:creationId xmlns:a16="http://schemas.microsoft.com/office/drawing/2014/main" id="{53FAD0C6-8FFE-437B-B7E4-F2A938D3BE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350" y="5249863"/>
            <a:ext cx="41910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23" name="Freeform 15">
            <a:extLst>
              <a:ext uri="{FF2B5EF4-FFF2-40B4-BE49-F238E27FC236}">
                <a16:creationId xmlns:a16="http://schemas.microsoft.com/office/drawing/2014/main" id="{183A3C8B-011E-4D99-9165-3FF03A2D3207}"/>
              </a:ext>
            </a:extLst>
          </p:cNvPr>
          <p:cNvSpPr>
            <a:spLocks noEditPoints="1"/>
          </p:cNvSpPr>
          <p:nvPr/>
        </p:nvSpPr>
        <p:spPr bwMode="auto">
          <a:xfrm>
            <a:off x="9093200" y="5257800"/>
            <a:ext cx="276225" cy="347663"/>
          </a:xfrm>
          <a:custGeom>
            <a:avLst/>
            <a:gdLst>
              <a:gd name="T0" fmla="*/ 2147483646 w 3556"/>
              <a:gd name="T1" fmla="*/ 2147483646 h 3950"/>
              <a:gd name="T2" fmla="*/ 2147483646 w 3556"/>
              <a:gd name="T3" fmla="*/ 2147483646 h 3950"/>
              <a:gd name="T4" fmla="*/ 2147483646 w 3556"/>
              <a:gd name="T5" fmla="*/ 2147483646 h 3950"/>
              <a:gd name="T6" fmla="*/ 2147483646 w 3556"/>
              <a:gd name="T7" fmla="*/ 2147483646 h 3950"/>
              <a:gd name="T8" fmla="*/ 2147483646 w 3556"/>
              <a:gd name="T9" fmla="*/ 2147483646 h 3950"/>
              <a:gd name="T10" fmla="*/ 2147483646 w 3556"/>
              <a:gd name="T11" fmla="*/ 2147483646 h 3950"/>
              <a:gd name="T12" fmla="*/ 2147483646 w 3556"/>
              <a:gd name="T13" fmla="*/ 2147483646 h 3950"/>
              <a:gd name="T14" fmla="*/ 2147483646 w 3556"/>
              <a:gd name="T15" fmla="*/ 2147483646 h 3950"/>
              <a:gd name="T16" fmla="*/ 2147483646 w 3556"/>
              <a:gd name="T17" fmla="*/ 2147483646 h 3950"/>
              <a:gd name="T18" fmla="*/ 2147483646 w 3556"/>
              <a:gd name="T19" fmla="*/ 2147483646 h 3950"/>
              <a:gd name="T20" fmla="*/ 2147483646 w 3556"/>
              <a:gd name="T21" fmla="*/ 2147483646 h 3950"/>
              <a:gd name="T22" fmla="*/ 0 w 3556"/>
              <a:gd name="T23" fmla="*/ 2147483646 h 3950"/>
              <a:gd name="T24" fmla="*/ 2147483646 w 3556"/>
              <a:gd name="T25" fmla="*/ 2147483646 h 3950"/>
              <a:gd name="T26" fmla="*/ 2147483646 w 3556"/>
              <a:gd name="T27" fmla="*/ 2147483646 h 3950"/>
              <a:gd name="T28" fmla="*/ 2147483646 w 3556"/>
              <a:gd name="T29" fmla="*/ 2147483646 h 3950"/>
              <a:gd name="T30" fmla="*/ 2147483646 w 3556"/>
              <a:gd name="T31" fmla="*/ 2147483646 h 3950"/>
              <a:gd name="T32" fmla="*/ 2147483646 w 3556"/>
              <a:gd name="T33" fmla="*/ 2147483646 h 3950"/>
              <a:gd name="T34" fmla="*/ 2147483646 w 3556"/>
              <a:gd name="T35" fmla="*/ 2147483646 h 3950"/>
              <a:gd name="T36" fmla="*/ 2147483646 w 3556"/>
              <a:gd name="T37" fmla="*/ 2147483646 h 3950"/>
              <a:gd name="T38" fmla="*/ 2147483646 w 3556"/>
              <a:gd name="T39" fmla="*/ 2147483646 h 3950"/>
              <a:gd name="T40" fmla="*/ 2147483646 w 3556"/>
              <a:gd name="T41" fmla="*/ 2147483646 h 3950"/>
              <a:gd name="T42" fmla="*/ 2147483646 w 3556"/>
              <a:gd name="T43" fmla="*/ 2147483646 h 3950"/>
              <a:gd name="T44" fmla="*/ 2147483646 w 3556"/>
              <a:gd name="T45" fmla="*/ 2147483646 h 3950"/>
              <a:gd name="T46" fmla="*/ 2147483646 w 3556"/>
              <a:gd name="T47" fmla="*/ 2147483646 h 3950"/>
              <a:gd name="T48" fmla="*/ 2147483646 w 3556"/>
              <a:gd name="T49" fmla="*/ 2147483646 h 3950"/>
              <a:gd name="T50" fmla="*/ 2147483646 w 3556"/>
              <a:gd name="T51" fmla="*/ 2147483646 h 3950"/>
              <a:gd name="T52" fmla="*/ 2147483646 w 3556"/>
              <a:gd name="T53" fmla="*/ 2147483646 h 3950"/>
              <a:gd name="T54" fmla="*/ 2147483646 w 3556"/>
              <a:gd name="T55" fmla="*/ 2147483646 h 3950"/>
              <a:gd name="T56" fmla="*/ 2147483646 w 3556"/>
              <a:gd name="T57" fmla="*/ 2147483646 h 3950"/>
              <a:gd name="T58" fmla="*/ 2147483646 w 3556"/>
              <a:gd name="T59" fmla="*/ 2147483646 h 3950"/>
              <a:gd name="T60" fmla="*/ 2147483646 w 3556"/>
              <a:gd name="T61" fmla="*/ 2147483646 h 3950"/>
              <a:gd name="T62" fmla="*/ 2147483646 w 3556"/>
              <a:gd name="T63" fmla="*/ 2147483646 h 3950"/>
              <a:gd name="T64" fmla="*/ 2147483646 w 3556"/>
              <a:gd name="T65" fmla="*/ 2147483646 h 3950"/>
              <a:gd name="T66" fmla="*/ 2147483646 w 3556"/>
              <a:gd name="T67" fmla="*/ 2147483646 h 3950"/>
              <a:gd name="T68" fmla="*/ 2147483646 w 3556"/>
              <a:gd name="T69" fmla="*/ 2147483646 h 3950"/>
              <a:gd name="T70" fmla="*/ 2147483646 w 3556"/>
              <a:gd name="T71" fmla="*/ 2147483646 h 3950"/>
              <a:gd name="T72" fmla="*/ 2147483646 w 3556"/>
              <a:gd name="T73" fmla="*/ 2147483646 h 3950"/>
              <a:gd name="T74" fmla="*/ 2147483646 w 3556"/>
              <a:gd name="T75" fmla="*/ 2147483646 h 3950"/>
              <a:gd name="T76" fmla="*/ 2147483646 w 3556"/>
              <a:gd name="T77" fmla="*/ 2147483646 h 3950"/>
              <a:gd name="T78" fmla="*/ 2147483646 w 3556"/>
              <a:gd name="T79" fmla="*/ 2147483646 h 3950"/>
              <a:gd name="T80" fmla="*/ 2147483646 w 3556"/>
              <a:gd name="T81" fmla="*/ 0 h 3950"/>
              <a:gd name="T82" fmla="*/ 2147483646 w 3556"/>
              <a:gd name="T83" fmla="*/ 2147483646 h 3950"/>
              <a:gd name="T84" fmla="*/ 2147483646 w 3556"/>
              <a:gd name="T85" fmla="*/ 2147483646 h 3950"/>
              <a:gd name="T86" fmla="*/ 2147483646 w 3556"/>
              <a:gd name="T87" fmla="*/ 2147483646 h 395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556"/>
              <a:gd name="T133" fmla="*/ 0 h 3950"/>
              <a:gd name="T134" fmla="*/ 3556 w 3556"/>
              <a:gd name="T135" fmla="*/ 3950 h 395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556" h="3950">
                <a:moveTo>
                  <a:pt x="909" y="3917"/>
                </a:moveTo>
                <a:cubicBezTo>
                  <a:pt x="824" y="3832"/>
                  <a:pt x="894" y="3725"/>
                  <a:pt x="1036" y="3725"/>
                </a:cubicBezTo>
                <a:cubicBezTo>
                  <a:pt x="1119" y="3725"/>
                  <a:pt x="1129" y="3717"/>
                  <a:pt x="1129" y="3645"/>
                </a:cubicBezTo>
                <a:cubicBezTo>
                  <a:pt x="1129" y="3472"/>
                  <a:pt x="1135" y="3471"/>
                  <a:pt x="2192" y="3471"/>
                </a:cubicBezTo>
                <a:cubicBezTo>
                  <a:pt x="3086" y="3471"/>
                  <a:pt x="3155" y="3475"/>
                  <a:pt x="3199" y="3523"/>
                </a:cubicBezTo>
                <a:cubicBezTo>
                  <a:pt x="3225" y="3551"/>
                  <a:pt x="3246" y="3608"/>
                  <a:pt x="3246" y="3648"/>
                </a:cubicBezTo>
                <a:cubicBezTo>
                  <a:pt x="3246" y="3712"/>
                  <a:pt x="3259" y="3723"/>
                  <a:pt x="3349" y="3730"/>
                </a:cubicBezTo>
                <a:cubicBezTo>
                  <a:pt x="3470" y="3741"/>
                  <a:pt x="3530" y="3811"/>
                  <a:pt x="3482" y="3887"/>
                </a:cubicBezTo>
                <a:cubicBezTo>
                  <a:pt x="3453" y="3933"/>
                  <a:pt x="3356" y="3937"/>
                  <a:pt x="2197" y="3944"/>
                </a:cubicBezTo>
                <a:cubicBezTo>
                  <a:pt x="1245" y="3950"/>
                  <a:pt x="935" y="3943"/>
                  <a:pt x="909" y="3917"/>
                </a:cubicBezTo>
                <a:close/>
                <a:moveTo>
                  <a:pt x="87" y="3370"/>
                </a:moveTo>
                <a:cubicBezTo>
                  <a:pt x="24" y="3317"/>
                  <a:pt x="0" y="3272"/>
                  <a:pt x="0" y="3209"/>
                </a:cubicBezTo>
                <a:cubicBezTo>
                  <a:pt x="0" y="3132"/>
                  <a:pt x="86" y="3035"/>
                  <a:pt x="705" y="2414"/>
                </a:cubicBezTo>
                <a:lnTo>
                  <a:pt x="1411" y="1706"/>
                </a:lnTo>
                <a:lnTo>
                  <a:pt x="1235" y="1530"/>
                </a:lnTo>
                <a:lnTo>
                  <a:pt x="1059" y="1355"/>
                </a:lnTo>
                <a:lnTo>
                  <a:pt x="1510" y="903"/>
                </a:lnTo>
                <a:lnTo>
                  <a:pt x="1960" y="452"/>
                </a:lnTo>
                <a:lnTo>
                  <a:pt x="2135" y="624"/>
                </a:lnTo>
                <a:cubicBezTo>
                  <a:pt x="2305" y="793"/>
                  <a:pt x="2310" y="796"/>
                  <a:pt x="2374" y="751"/>
                </a:cubicBezTo>
                <a:cubicBezTo>
                  <a:pt x="2469" y="685"/>
                  <a:pt x="2547" y="695"/>
                  <a:pt x="2633" y="785"/>
                </a:cubicBezTo>
                <a:cubicBezTo>
                  <a:pt x="2720" y="875"/>
                  <a:pt x="2731" y="974"/>
                  <a:pt x="2662" y="1050"/>
                </a:cubicBezTo>
                <a:cubicBezTo>
                  <a:pt x="2616" y="1100"/>
                  <a:pt x="2624" y="1112"/>
                  <a:pt x="2823" y="1313"/>
                </a:cubicBezTo>
                <a:lnTo>
                  <a:pt x="3033" y="1524"/>
                </a:lnTo>
                <a:lnTo>
                  <a:pt x="2582" y="1975"/>
                </a:lnTo>
                <a:lnTo>
                  <a:pt x="2132" y="2427"/>
                </a:lnTo>
                <a:lnTo>
                  <a:pt x="1933" y="2229"/>
                </a:lnTo>
                <a:cubicBezTo>
                  <a:pt x="1824" y="2121"/>
                  <a:pt x="1722" y="2032"/>
                  <a:pt x="1707" y="2032"/>
                </a:cubicBezTo>
                <a:cubicBezTo>
                  <a:pt x="1693" y="2032"/>
                  <a:pt x="1362" y="2349"/>
                  <a:pt x="973" y="2737"/>
                </a:cubicBezTo>
                <a:cubicBezTo>
                  <a:pt x="584" y="3125"/>
                  <a:pt x="245" y="3443"/>
                  <a:pt x="220" y="3443"/>
                </a:cubicBezTo>
                <a:cubicBezTo>
                  <a:pt x="194" y="3443"/>
                  <a:pt x="135" y="3410"/>
                  <a:pt x="87" y="3370"/>
                </a:cubicBezTo>
                <a:close/>
                <a:moveTo>
                  <a:pt x="2258" y="2887"/>
                </a:moveTo>
                <a:cubicBezTo>
                  <a:pt x="2196" y="2865"/>
                  <a:pt x="2145" y="2792"/>
                  <a:pt x="2145" y="2725"/>
                </a:cubicBezTo>
                <a:cubicBezTo>
                  <a:pt x="2145" y="2686"/>
                  <a:pt x="2337" y="2474"/>
                  <a:pt x="2703" y="2109"/>
                </a:cubicBezTo>
                <a:cubicBezTo>
                  <a:pt x="3289" y="1523"/>
                  <a:pt x="3346" y="1485"/>
                  <a:pt x="3453" y="1604"/>
                </a:cubicBezTo>
                <a:cubicBezTo>
                  <a:pt x="3556" y="1717"/>
                  <a:pt x="3522" y="1766"/>
                  <a:pt x="2956" y="2331"/>
                </a:cubicBezTo>
                <a:cubicBezTo>
                  <a:pt x="2657" y="2630"/>
                  <a:pt x="2388" y="2880"/>
                  <a:pt x="2357" y="2888"/>
                </a:cubicBezTo>
                <a:cubicBezTo>
                  <a:pt x="2326" y="2895"/>
                  <a:pt x="2281" y="2895"/>
                  <a:pt x="2258" y="2887"/>
                </a:cubicBezTo>
                <a:close/>
                <a:moveTo>
                  <a:pt x="637" y="1282"/>
                </a:moveTo>
                <a:cubicBezTo>
                  <a:pt x="528" y="1172"/>
                  <a:pt x="568" y="1113"/>
                  <a:pt x="1137" y="544"/>
                </a:cubicBezTo>
                <a:cubicBezTo>
                  <a:pt x="1607" y="74"/>
                  <a:pt x="1693" y="0"/>
                  <a:pt x="1767" y="0"/>
                </a:cubicBezTo>
                <a:cubicBezTo>
                  <a:pt x="1862" y="0"/>
                  <a:pt x="1947" y="73"/>
                  <a:pt x="1947" y="156"/>
                </a:cubicBezTo>
                <a:cubicBezTo>
                  <a:pt x="1947" y="186"/>
                  <a:pt x="1715" y="442"/>
                  <a:pt x="1391" y="767"/>
                </a:cubicBezTo>
                <a:cubicBezTo>
                  <a:pt x="808" y="1353"/>
                  <a:pt x="749" y="1393"/>
                  <a:pt x="637" y="12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4" name="Group 118">
            <a:extLst>
              <a:ext uri="{FF2B5EF4-FFF2-40B4-BE49-F238E27FC236}">
                <a16:creationId xmlns:a16="http://schemas.microsoft.com/office/drawing/2014/main" id="{FB3D6A90-C4FD-433A-A1C1-A4B3864804A5}"/>
              </a:ext>
            </a:extLst>
          </p:cNvPr>
          <p:cNvGrpSpPr/>
          <p:nvPr/>
        </p:nvGrpSpPr>
        <p:grpSpPr>
          <a:xfrm>
            <a:off x="8409631" y="5248358"/>
            <a:ext cx="346498" cy="347472"/>
            <a:chOff x="1468138" y="5997240"/>
            <a:chExt cx="283642" cy="307072"/>
          </a:xfrm>
          <a:solidFill>
            <a:schemeClr val="bg1"/>
          </a:solidFill>
        </p:grpSpPr>
        <p:sp>
          <p:nvSpPr>
            <p:cNvPr id="120" name="Freeform 16">
              <a:extLst>
                <a:ext uri="{FF2B5EF4-FFF2-40B4-BE49-F238E27FC236}">
                  <a16:creationId xmlns:a16="http://schemas.microsoft.com/office/drawing/2014/main" id="{D6134FC8-4249-4088-8AE8-003C8AAC7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6136" y="6255221"/>
              <a:ext cx="26428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1 w 349"/>
                <a:gd name="T25" fmla="*/ 226 h 350"/>
                <a:gd name="T26" fmla="*/ 225 w 349"/>
                <a:gd name="T27" fmla="*/ 213 h 350"/>
                <a:gd name="T28" fmla="*/ 234 w 349"/>
                <a:gd name="T29" fmla="*/ 194 h 350"/>
                <a:gd name="T30" fmla="*/ 237 w 349"/>
                <a:gd name="T31" fmla="*/ 175 h 350"/>
                <a:gd name="T32" fmla="*/ 235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5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4 w 349"/>
                <a:gd name="T47" fmla="*/ 3 h 350"/>
                <a:gd name="T48" fmla="*/ 234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8 w 349"/>
                <a:gd name="T55" fmla="*/ 63 h 350"/>
                <a:gd name="T56" fmla="*/ 325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5 w 349"/>
                <a:gd name="T65" fmla="*/ 210 h 350"/>
                <a:gd name="T66" fmla="*/ 335 w 349"/>
                <a:gd name="T67" fmla="*/ 243 h 350"/>
                <a:gd name="T68" fmla="*/ 319 w 349"/>
                <a:gd name="T69" fmla="*/ 273 h 350"/>
                <a:gd name="T70" fmla="*/ 297 w 349"/>
                <a:gd name="T71" fmla="*/ 299 h 350"/>
                <a:gd name="T72" fmla="*/ 272 w 349"/>
                <a:gd name="T73" fmla="*/ 319 h 350"/>
                <a:gd name="T74" fmla="*/ 242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39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29 w 349"/>
                <a:gd name="T89" fmla="*/ 273 h 350"/>
                <a:gd name="T90" fmla="*/ 14 w 349"/>
                <a:gd name="T91" fmla="*/ 243 h 350"/>
                <a:gd name="T92" fmla="*/ 3 w 349"/>
                <a:gd name="T93" fmla="*/ 210 h 350"/>
                <a:gd name="T94" fmla="*/ 0 w 349"/>
                <a:gd name="T95" fmla="*/ 175 h 350"/>
                <a:gd name="T96" fmla="*/ 3 w 349"/>
                <a:gd name="T97" fmla="*/ 140 h 350"/>
                <a:gd name="T98" fmla="*/ 14 w 349"/>
                <a:gd name="T99" fmla="*/ 107 h 350"/>
                <a:gd name="T100" fmla="*/ 29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39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1" y="226"/>
                  </a:lnTo>
                  <a:lnTo>
                    <a:pt x="225" y="213"/>
                  </a:lnTo>
                  <a:lnTo>
                    <a:pt x="234" y="194"/>
                  </a:lnTo>
                  <a:lnTo>
                    <a:pt x="237" y="175"/>
                  </a:lnTo>
                  <a:lnTo>
                    <a:pt x="235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5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4" y="3"/>
                  </a:lnTo>
                  <a:lnTo>
                    <a:pt x="234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8" y="63"/>
                  </a:lnTo>
                  <a:lnTo>
                    <a:pt x="325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5" y="210"/>
                  </a:lnTo>
                  <a:lnTo>
                    <a:pt x="335" y="243"/>
                  </a:lnTo>
                  <a:lnTo>
                    <a:pt x="319" y="273"/>
                  </a:lnTo>
                  <a:lnTo>
                    <a:pt x="297" y="299"/>
                  </a:lnTo>
                  <a:lnTo>
                    <a:pt x="272" y="319"/>
                  </a:lnTo>
                  <a:lnTo>
                    <a:pt x="242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39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29" y="273"/>
                  </a:lnTo>
                  <a:lnTo>
                    <a:pt x="14" y="243"/>
                  </a:lnTo>
                  <a:lnTo>
                    <a:pt x="3" y="210"/>
                  </a:lnTo>
                  <a:lnTo>
                    <a:pt x="0" y="175"/>
                  </a:lnTo>
                  <a:lnTo>
                    <a:pt x="3" y="140"/>
                  </a:lnTo>
                  <a:lnTo>
                    <a:pt x="14" y="107"/>
                  </a:lnTo>
                  <a:lnTo>
                    <a:pt x="29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39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1" name="Freeform 17">
              <a:extLst>
                <a:ext uri="{FF2B5EF4-FFF2-40B4-BE49-F238E27FC236}">
                  <a16:creationId xmlns:a16="http://schemas.microsoft.com/office/drawing/2014/main" id="{67A5F0B0-C078-4A85-9E32-409FF0B3D5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2133" y="6255221"/>
              <a:ext cx="26656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2 w 349"/>
                <a:gd name="T25" fmla="*/ 226 h 350"/>
                <a:gd name="T26" fmla="*/ 226 w 349"/>
                <a:gd name="T27" fmla="*/ 213 h 350"/>
                <a:gd name="T28" fmla="*/ 235 w 349"/>
                <a:gd name="T29" fmla="*/ 194 h 350"/>
                <a:gd name="T30" fmla="*/ 237 w 349"/>
                <a:gd name="T31" fmla="*/ 175 h 350"/>
                <a:gd name="T32" fmla="*/ 236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7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5 w 349"/>
                <a:gd name="T47" fmla="*/ 3 h 350"/>
                <a:gd name="T48" fmla="*/ 235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9 w 349"/>
                <a:gd name="T55" fmla="*/ 63 h 350"/>
                <a:gd name="T56" fmla="*/ 326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6 w 349"/>
                <a:gd name="T65" fmla="*/ 210 h 350"/>
                <a:gd name="T66" fmla="*/ 336 w 349"/>
                <a:gd name="T67" fmla="*/ 243 h 350"/>
                <a:gd name="T68" fmla="*/ 319 w 349"/>
                <a:gd name="T69" fmla="*/ 273 h 350"/>
                <a:gd name="T70" fmla="*/ 298 w 349"/>
                <a:gd name="T71" fmla="*/ 299 h 350"/>
                <a:gd name="T72" fmla="*/ 272 w 349"/>
                <a:gd name="T73" fmla="*/ 319 h 350"/>
                <a:gd name="T74" fmla="*/ 243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40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30 w 349"/>
                <a:gd name="T89" fmla="*/ 273 h 350"/>
                <a:gd name="T90" fmla="*/ 14 w 349"/>
                <a:gd name="T91" fmla="*/ 243 h 350"/>
                <a:gd name="T92" fmla="*/ 4 w 349"/>
                <a:gd name="T93" fmla="*/ 210 h 350"/>
                <a:gd name="T94" fmla="*/ 0 w 349"/>
                <a:gd name="T95" fmla="*/ 175 h 350"/>
                <a:gd name="T96" fmla="*/ 4 w 349"/>
                <a:gd name="T97" fmla="*/ 140 h 350"/>
                <a:gd name="T98" fmla="*/ 14 w 349"/>
                <a:gd name="T99" fmla="*/ 107 h 350"/>
                <a:gd name="T100" fmla="*/ 30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40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7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7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5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19" y="273"/>
                  </a:lnTo>
                  <a:lnTo>
                    <a:pt x="298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2" name="Freeform 18">
              <a:extLst>
                <a:ext uri="{FF2B5EF4-FFF2-40B4-BE49-F238E27FC236}">
                  <a16:creationId xmlns:a16="http://schemas.microsoft.com/office/drawing/2014/main" id="{BF1784DA-3E40-44FD-998D-DB1DD379C0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8357" y="6255221"/>
              <a:ext cx="26428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7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1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7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8 w 350"/>
                <a:gd name="T31" fmla="*/ 175 h 350"/>
                <a:gd name="T32" fmla="*/ 236 w 350"/>
                <a:gd name="T33" fmla="*/ 158 h 350"/>
                <a:gd name="T34" fmla="*/ 229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7 w 350"/>
                <a:gd name="T53" fmla="*/ 41 h 350"/>
                <a:gd name="T54" fmla="*/ 309 w 350"/>
                <a:gd name="T55" fmla="*/ 63 h 350"/>
                <a:gd name="T56" fmla="*/ 326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2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7 w 350"/>
                <a:gd name="T85" fmla="*/ 319 h 350"/>
                <a:gd name="T86" fmla="*/ 51 w 350"/>
                <a:gd name="T87" fmla="*/ 299 h 350"/>
                <a:gd name="T88" fmla="*/ 30 w 350"/>
                <a:gd name="T89" fmla="*/ 273 h 350"/>
                <a:gd name="T90" fmla="*/ 14 w 350"/>
                <a:gd name="T91" fmla="*/ 243 h 350"/>
                <a:gd name="T92" fmla="*/ 4 w 350"/>
                <a:gd name="T93" fmla="*/ 210 h 350"/>
                <a:gd name="T94" fmla="*/ 0 w 350"/>
                <a:gd name="T95" fmla="*/ 175 h 350"/>
                <a:gd name="T96" fmla="*/ 4 w 350"/>
                <a:gd name="T97" fmla="*/ 140 h 350"/>
                <a:gd name="T98" fmla="*/ 14 w 350"/>
                <a:gd name="T99" fmla="*/ 107 h 350"/>
                <a:gd name="T100" fmla="*/ 30 w 350"/>
                <a:gd name="T101" fmla="*/ 78 h 350"/>
                <a:gd name="T102" fmla="*/ 51 w 350"/>
                <a:gd name="T103" fmla="*/ 52 h 350"/>
                <a:gd name="T104" fmla="*/ 77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8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3" name="Freeform 19">
              <a:extLst>
                <a:ext uri="{FF2B5EF4-FFF2-40B4-BE49-F238E27FC236}">
                  <a16:creationId xmlns:a16="http://schemas.microsoft.com/office/drawing/2014/main" id="{FF26547B-24B3-4108-8095-A2794E966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4353" y="6255221"/>
              <a:ext cx="26656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8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3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8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9 w 350"/>
                <a:gd name="T31" fmla="*/ 175 h 350"/>
                <a:gd name="T32" fmla="*/ 236 w 350"/>
                <a:gd name="T33" fmla="*/ 158 h 350"/>
                <a:gd name="T34" fmla="*/ 231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8 w 350"/>
                <a:gd name="T53" fmla="*/ 41 h 350"/>
                <a:gd name="T54" fmla="*/ 309 w 350"/>
                <a:gd name="T55" fmla="*/ 63 h 350"/>
                <a:gd name="T56" fmla="*/ 327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3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8 w 350"/>
                <a:gd name="T85" fmla="*/ 319 h 350"/>
                <a:gd name="T86" fmla="*/ 53 w 350"/>
                <a:gd name="T87" fmla="*/ 299 h 350"/>
                <a:gd name="T88" fmla="*/ 31 w 350"/>
                <a:gd name="T89" fmla="*/ 273 h 350"/>
                <a:gd name="T90" fmla="*/ 15 w 350"/>
                <a:gd name="T91" fmla="*/ 243 h 350"/>
                <a:gd name="T92" fmla="*/ 5 w 350"/>
                <a:gd name="T93" fmla="*/ 210 h 350"/>
                <a:gd name="T94" fmla="*/ 0 w 350"/>
                <a:gd name="T95" fmla="*/ 175 h 350"/>
                <a:gd name="T96" fmla="*/ 5 w 350"/>
                <a:gd name="T97" fmla="*/ 140 h 350"/>
                <a:gd name="T98" fmla="*/ 15 w 350"/>
                <a:gd name="T99" fmla="*/ 107 h 350"/>
                <a:gd name="T100" fmla="*/ 31 w 350"/>
                <a:gd name="T101" fmla="*/ 78 h 350"/>
                <a:gd name="T102" fmla="*/ 53 w 350"/>
                <a:gd name="T103" fmla="*/ 52 h 350"/>
                <a:gd name="T104" fmla="*/ 78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8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3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8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9" y="175"/>
                  </a:lnTo>
                  <a:lnTo>
                    <a:pt x="236" y="158"/>
                  </a:lnTo>
                  <a:lnTo>
                    <a:pt x="231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8" y="41"/>
                  </a:lnTo>
                  <a:lnTo>
                    <a:pt x="309" y="63"/>
                  </a:lnTo>
                  <a:lnTo>
                    <a:pt x="327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3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8" y="319"/>
                  </a:lnTo>
                  <a:lnTo>
                    <a:pt x="53" y="299"/>
                  </a:lnTo>
                  <a:lnTo>
                    <a:pt x="31" y="273"/>
                  </a:lnTo>
                  <a:lnTo>
                    <a:pt x="15" y="243"/>
                  </a:lnTo>
                  <a:lnTo>
                    <a:pt x="5" y="210"/>
                  </a:lnTo>
                  <a:lnTo>
                    <a:pt x="0" y="175"/>
                  </a:lnTo>
                  <a:lnTo>
                    <a:pt x="5" y="140"/>
                  </a:lnTo>
                  <a:lnTo>
                    <a:pt x="15" y="107"/>
                  </a:lnTo>
                  <a:lnTo>
                    <a:pt x="31" y="78"/>
                  </a:lnTo>
                  <a:lnTo>
                    <a:pt x="53" y="52"/>
                  </a:lnTo>
                  <a:lnTo>
                    <a:pt x="78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4" name="Freeform 20">
              <a:extLst>
                <a:ext uri="{FF2B5EF4-FFF2-40B4-BE49-F238E27FC236}">
                  <a16:creationId xmlns:a16="http://schemas.microsoft.com/office/drawing/2014/main" id="{6F553FA1-4728-401A-8C20-F18E165CA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80832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2 h 111"/>
                <a:gd name="T10" fmla="*/ 168 w 171"/>
                <a:gd name="T11" fmla="*/ 37 h 111"/>
                <a:gd name="T12" fmla="*/ 171 w 171"/>
                <a:gd name="T13" fmla="*/ 55 h 111"/>
                <a:gd name="T14" fmla="*/ 168 w 171"/>
                <a:gd name="T15" fmla="*/ 72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8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8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2 h 111"/>
                <a:gd name="T34" fmla="*/ 0 w 171"/>
                <a:gd name="T35" fmla="*/ 55 h 111"/>
                <a:gd name="T36" fmla="*/ 2 w 171"/>
                <a:gd name="T37" fmla="*/ 37 h 111"/>
                <a:gd name="T38" fmla="*/ 10 w 171"/>
                <a:gd name="T39" fmla="*/ 22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2"/>
                  </a:lnTo>
                  <a:lnTo>
                    <a:pt x="168" y="37"/>
                  </a:lnTo>
                  <a:lnTo>
                    <a:pt x="171" y="55"/>
                  </a:lnTo>
                  <a:lnTo>
                    <a:pt x="168" y="72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8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8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2"/>
                  </a:lnTo>
                  <a:lnTo>
                    <a:pt x="0" y="55"/>
                  </a:lnTo>
                  <a:lnTo>
                    <a:pt x="2" y="37"/>
                  </a:lnTo>
                  <a:lnTo>
                    <a:pt x="10" y="22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5" name="Freeform 21">
              <a:extLst>
                <a:ext uri="{FF2B5EF4-FFF2-40B4-BE49-F238E27FC236}">
                  <a16:creationId xmlns:a16="http://schemas.microsoft.com/office/drawing/2014/main" id="{2A783787-5E9B-43C9-9BF4-073950C97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95860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3 h 111"/>
                <a:gd name="T10" fmla="*/ 168 w 171"/>
                <a:gd name="T11" fmla="*/ 38 h 111"/>
                <a:gd name="T12" fmla="*/ 171 w 171"/>
                <a:gd name="T13" fmla="*/ 55 h 111"/>
                <a:gd name="T14" fmla="*/ 168 w 171"/>
                <a:gd name="T15" fmla="*/ 74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9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9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4 h 111"/>
                <a:gd name="T34" fmla="*/ 0 w 171"/>
                <a:gd name="T35" fmla="*/ 55 h 111"/>
                <a:gd name="T36" fmla="*/ 2 w 171"/>
                <a:gd name="T37" fmla="*/ 38 h 111"/>
                <a:gd name="T38" fmla="*/ 10 w 171"/>
                <a:gd name="T39" fmla="*/ 23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3"/>
                  </a:lnTo>
                  <a:lnTo>
                    <a:pt x="168" y="38"/>
                  </a:lnTo>
                  <a:lnTo>
                    <a:pt x="171" y="55"/>
                  </a:lnTo>
                  <a:lnTo>
                    <a:pt x="168" y="74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9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9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4"/>
                  </a:lnTo>
                  <a:lnTo>
                    <a:pt x="0" y="55"/>
                  </a:lnTo>
                  <a:lnTo>
                    <a:pt x="2" y="38"/>
                  </a:lnTo>
                  <a:lnTo>
                    <a:pt x="10" y="23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6" name="Freeform 22">
              <a:extLst>
                <a:ext uri="{FF2B5EF4-FFF2-40B4-BE49-F238E27FC236}">
                  <a16:creationId xmlns:a16="http://schemas.microsoft.com/office/drawing/2014/main" id="{6465D05A-ED22-49B3-924E-6DFC4C8C8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8138" y="5997240"/>
              <a:ext cx="283642" cy="307072"/>
            </a:xfrm>
            <a:custGeom>
              <a:avLst/>
              <a:gdLst>
                <a:gd name="T0" fmla="*/ 185 w 3736"/>
                <a:gd name="T1" fmla="*/ 3069 h 3678"/>
                <a:gd name="T2" fmla="*/ 125 w 3736"/>
                <a:gd name="T3" fmla="*/ 3352 h 3678"/>
                <a:gd name="T4" fmla="*/ 325 w 3736"/>
                <a:gd name="T5" fmla="*/ 3554 h 3678"/>
                <a:gd name="T6" fmla="*/ 2002 w 3736"/>
                <a:gd name="T7" fmla="*/ 3518 h 3678"/>
                <a:gd name="T8" fmla="*/ 2140 w 3736"/>
                <a:gd name="T9" fmla="*/ 3266 h 3678"/>
                <a:gd name="T10" fmla="*/ 2002 w 3736"/>
                <a:gd name="T11" fmla="*/ 3013 h 3678"/>
                <a:gd name="T12" fmla="*/ 943 w 3736"/>
                <a:gd name="T13" fmla="*/ 2853 h 3678"/>
                <a:gd name="T14" fmla="*/ 2970 w 3736"/>
                <a:gd name="T15" fmla="*/ 2765 h 3678"/>
                <a:gd name="T16" fmla="*/ 3240 w 3736"/>
                <a:gd name="T17" fmla="*/ 2787 h 3678"/>
                <a:gd name="T18" fmla="*/ 3506 w 3736"/>
                <a:gd name="T19" fmla="*/ 2599 h 3678"/>
                <a:gd name="T20" fmla="*/ 302 w 3736"/>
                <a:gd name="T21" fmla="*/ 2099 h 3678"/>
                <a:gd name="T22" fmla="*/ 333 w 3736"/>
                <a:gd name="T23" fmla="*/ 2613 h 3678"/>
                <a:gd name="T24" fmla="*/ 3524 w 3736"/>
                <a:gd name="T25" fmla="*/ 1966 h 3678"/>
                <a:gd name="T26" fmla="*/ 3542 w 3736"/>
                <a:gd name="T27" fmla="*/ 2077 h 3678"/>
                <a:gd name="T28" fmla="*/ 3622 w 3736"/>
                <a:gd name="T29" fmla="*/ 1998 h 3678"/>
                <a:gd name="T30" fmla="*/ 893 w 3736"/>
                <a:gd name="T31" fmla="*/ 1458 h 3678"/>
                <a:gd name="T32" fmla="*/ 1843 w 3736"/>
                <a:gd name="T33" fmla="*/ 2616 h 3678"/>
                <a:gd name="T34" fmla="*/ 1132 w 3736"/>
                <a:gd name="T35" fmla="*/ 2414 h 3678"/>
                <a:gd name="T36" fmla="*/ 954 w 3736"/>
                <a:gd name="T37" fmla="*/ 2256 h 3678"/>
                <a:gd name="T38" fmla="*/ 1082 w 3736"/>
                <a:gd name="T39" fmla="*/ 2271 h 3678"/>
                <a:gd name="T40" fmla="*/ 1271 w 3736"/>
                <a:gd name="T41" fmla="*/ 1557 h 3678"/>
                <a:gd name="T42" fmla="*/ 1360 w 3736"/>
                <a:gd name="T43" fmla="*/ 1601 h 3678"/>
                <a:gd name="T44" fmla="*/ 1958 w 3736"/>
                <a:gd name="T45" fmla="*/ 2171 h 3678"/>
                <a:gd name="T46" fmla="*/ 1525 w 3736"/>
                <a:gd name="T47" fmla="*/ 1457 h 3678"/>
                <a:gd name="T48" fmla="*/ 2749 w 3736"/>
                <a:gd name="T49" fmla="*/ 361 h 3678"/>
                <a:gd name="T50" fmla="*/ 3541 w 3736"/>
                <a:gd name="T51" fmla="*/ 1844 h 3678"/>
                <a:gd name="T52" fmla="*/ 1658 w 3736"/>
                <a:gd name="T53" fmla="*/ 1439 h 3678"/>
                <a:gd name="T54" fmla="*/ 2419 w 3736"/>
                <a:gd name="T55" fmla="*/ 427 h 3678"/>
                <a:gd name="T56" fmla="*/ 2498 w 3736"/>
                <a:gd name="T57" fmla="*/ 124 h 3678"/>
                <a:gd name="T58" fmla="*/ 2441 w 3736"/>
                <a:gd name="T59" fmla="*/ 287 h 3678"/>
                <a:gd name="T60" fmla="*/ 2599 w 3736"/>
                <a:gd name="T61" fmla="*/ 347 h 3678"/>
                <a:gd name="T62" fmla="*/ 2672 w 3736"/>
                <a:gd name="T63" fmla="*/ 256 h 3678"/>
                <a:gd name="T64" fmla="*/ 2625 w 3736"/>
                <a:gd name="T65" fmla="*/ 136 h 3678"/>
                <a:gd name="T66" fmla="*/ 2665 w 3736"/>
                <a:gd name="T67" fmla="*/ 28 h 3678"/>
                <a:gd name="T68" fmla="*/ 3734 w 3736"/>
                <a:gd name="T69" fmla="*/ 1986 h 3678"/>
                <a:gd name="T70" fmla="*/ 3646 w 3736"/>
                <a:gd name="T71" fmla="*/ 2170 h 3678"/>
                <a:gd name="T72" fmla="*/ 3580 w 3736"/>
                <a:gd name="T73" fmla="*/ 2724 h 3678"/>
                <a:gd name="T74" fmla="*/ 3180 w 3736"/>
                <a:gd name="T75" fmla="*/ 2918 h 3678"/>
                <a:gd name="T76" fmla="*/ 2865 w 3736"/>
                <a:gd name="T77" fmla="*/ 2826 h 3678"/>
                <a:gd name="T78" fmla="*/ 2459 w 3736"/>
                <a:gd name="T79" fmla="*/ 2397 h 3678"/>
                <a:gd name="T80" fmla="*/ 3431 w 3736"/>
                <a:gd name="T81" fmla="*/ 2200 h 3678"/>
                <a:gd name="T82" fmla="*/ 3506 w 3736"/>
                <a:gd name="T83" fmla="*/ 2183 h 3678"/>
                <a:gd name="T84" fmla="*/ 1983 w 3736"/>
                <a:gd name="T85" fmla="*/ 1926 h 3678"/>
                <a:gd name="T86" fmla="*/ 2073 w 3736"/>
                <a:gd name="T87" fmla="*/ 2433 h 3678"/>
                <a:gd name="T88" fmla="*/ 2059 w 3736"/>
                <a:gd name="T89" fmla="*/ 2469 h 3678"/>
                <a:gd name="T90" fmla="*/ 2043 w 3736"/>
                <a:gd name="T91" fmla="*/ 2482 h 3678"/>
                <a:gd name="T92" fmla="*/ 2024 w 3736"/>
                <a:gd name="T93" fmla="*/ 2489 h 3678"/>
                <a:gd name="T94" fmla="*/ 1942 w 3736"/>
                <a:gd name="T95" fmla="*/ 2705 h 3678"/>
                <a:gd name="T96" fmla="*/ 1890 w 3736"/>
                <a:gd name="T97" fmla="*/ 2857 h 3678"/>
                <a:gd name="T98" fmla="*/ 2177 w 3736"/>
                <a:gd name="T99" fmla="*/ 3030 h 3678"/>
                <a:gd name="T100" fmla="*/ 2238 w 3736"/>
                <a:gd name="T101" fmla="*/ 3367 h 3678"/>
                <a:gd name="T102" fmla="*/ 2032 w 3736"/>
                <a:gd name="T103" fmla="*/ 3630 h 3678"/>
                <a:gd name="T104" fmla="*/ 311 w 3736"/>
                <a:gd name="T105" fmla="*/ 3666 h 3678"/>
                <a:gd name="T106" fmla="*/ 49 w 3736"/>
                <a:gd name="T107" fmla="*/ 3460 h 3678"/>
                <a:gd name="T108" fmla="*/ 28 w 3736"/>
                <a:gd name="T109" fmla="*/ 3116 h 3678"/>
                <a:gd name="T110" fmla="*/ 263 w 3736"/>
                <a:gd name="T111" fmla="*/ 2882 h 3678"/>
                <a:gd name="T112" fmla="*/ 317 w 3736"/>
                <a:gd name="T113" fmla="*/ 2724 h 3678"/>
                <a:gd name="T114" fmla="*/ 178 w 3736"/>
                <a:gd name="T115" fmla="*/ 2553 h 3678"/>
                <a:gd name="T116" fmla="*/ 284 w 3736"/>
                <a:gd name="T117" fmla="*/ 1975 h 3678"/>
                <a:gd name="T118" fmla="*/ 740 w 3736"/>
                <a:gd name="T119" fmla="*/ 1477 h 3678"/>
                <a:gd name="T120" fmla="*/ 963 w 3736"/>
                <a:gd name="T121" fmla="*/ 1310 h 3678"/>
                <a:gd name="T122" fmla="*/ 2410 w 3736"/>
                <a:gd name="T123" fmla="*/ 48 h 3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6" h="3678">
                  <a:moveTo>
                    <a:pt x="413" y="2964"/>
                  </a:moveTo>
                  <a:lnTo>
                    <a:pt x="367" y="2968"/>
                  </a:lnTo>
                  <a:lnTo>
                    <a:pt x="325" y="2978"/>
                  </a:lnTo>
                  <a:lnTo>
                    <a:pt x="286" y="2993"/>
                  </a:lnTo>
                  <a:lnTo>
                    <a:pt x="248" y="3013"/>
                  </a:lnTo>
                  <a:lnTo>
                    <a:pt x="215" y="3039"/>
                  </a:lnTo>
                  <a:lnTo>
                    <a:pt x="185" y="3069"/>
                  </a:lnTo>
                  <a:lnTo>
                    <a:pt x="160" y="3102"/>
                  </a:lnTo>
                  <a:lnTo>
                    <a:pt x="139" y="3139"/>
                  </a:lnTo>
                  <a:lnTo>
                    <a:pt x="125" y="3179"/>
                  </a:lnTo>
                  <a:lnTo>
                    <a:pt x="114" y="3222"/>
                  </a:lnTo>
                  <a:lnTo>
                    <a:pt x="111" y="3266"/>
                  </a:lnTo>
                  <a:lnTo>
                    <a:pt x="114" y="3310"/>
                  </a:lnTo>
                  <a:lnTo>
                    <a:pt x="125" y="3352"/>
                  </a:lnTo>
                  <a:lnTo>
                    <a:pt x="139" y="3393"/>
                  </a:lnTo>
                  <a:lnTo>
                    <a:pt x="160" y="3430"/>
                  </a:lnTo>
                  <a:lnTo>
                    <a:pt x="185" y="3464"/>
                  </a:lnTo>
                  <a:lnTo>
                    <a:pt x="215" y="3493"/>
                  </a:lnTo>
                  <a:lnTo>
                    <a:pt x="248" y="3518"/>
                  </a:lnTo>
                  <a:lnTo>
                    <a:pt x="286" y="3538"/>
                  </a:lnTo>
                  <a:lnTo>
                    <a:pt x="325" y="3554"/>
                  </a:lnTo>
                  <a:lnTo>
                    <a:pt x="367" y="3563"/>
                  </a:lnTo>
                  <a:lnTo>
                    <a:pt x="413" y="3567"/>
                  </a:lnTo>
                  <a:lnTo>
                    <a:pt x="1838" y="3567"/>
                  </a:lnTo>
                  <a:lnTo>
                    <a:pt x="1882" y="3563"/>
                  </a:lnTo>
                  <a:lnTo>
                    <a:pt x="1925" y="3554"/>
                  </a:lnTo>
                  <a:lnTo>
                    <a:pt x="1965" y="3538"/>
                  </a:lnTo>
                  <a:lnTo>
                    <a:pt x="2002" y="3518"/>
                  </a:lnTo>
                  <a:lnTo>
                    <a:pt x="2035" y="3493"/>
                  </a:lnTo>
                  <a:lnTo>
                    <a:pt x="2065" y="3464"/>
                  </a:lnTo>
                  <a:lnTo>
                    <a:pt x="2091" y="3430"/>
                  </a:lnTo>
                  <a:lnTo>
                    <a:pt x="2111" y="3393"/>
                  </a:lnTo>
                  <a:lnTo>
                    <a:pt x="2126" y="3352"/>
                  </a:lnTo>
                  <a:lnTo>
                    <a:pt x="2136" y="3310"/>
                  </a:lnTo>
                  <a:lnTo>
                    <a:pt x="2140" y="3266"/>
                  </a:lnTo>
                  <a:lnTo>
                    <a:pt x="2136" y="3222"/>
                  </a:lnTo>
                  <a:lnTo>
                    <a:pt x="2126" y="3179"/>
                  </a:lnTo>
                  <a:lnTo>
                    <a:pt x="2111" y="3139"/>
                  </a:lnTo>
                  <a:lnTo>
                    <a:pt x="2091" y="3102"/>
                  </a:lnTo>
                  <a:lnTo>
                    <a:pt x="2065" y="3069"/>
                  </a:lnTo>
                  <a:lnTo>
                    <a:pt x="2035" y="3039"/>
                  </a:lnTo>
                  <a:lnTo>
                    <a:pt x="2002" y="3013"/>
                  </a:lnTo>
                  <a:lnTo>
                    <a:pt x="1965" y="2993"/>
                  </a:lnTo>
                  <a:lnTo>
                    <a:pt x="1925" y="2978"/>
                  </a:lnTo>
                  <a:lnTo>
                    <a:pt x="1882" y="2968"/>
                  </a:lnTo>
                  <a:lnTo>
                    <a:pt x="1838" y="2964"/>
                  </a:lnTo>
                  <a:lnTo>
                    <a:pt x="413" y="2964"/>
                  </a:lnTo>
                  <a:close/>
                  <a:moveTo>
                    <a:pt x="943" y="2727"/>
                  </a:moveTo>
                  <a:lnTo>
                    <a:pt x="943" y="2853"/>
                  </a:lnTo>
                  <a:lnTo>
                    <a:pt x="1307" y="2853"/>
                  </a:lnTo>
                  <a:lnTo>
                    <a:pt x="1307" y="2727"/>
                  </a:lnTo>
                  <a:lnTo>
                    <a:pt x="943" y="2727"/>
                  </a:lnTo>
                  <a:close/>
                  <a:moveTo>
                    <a:pt x="3407" y="2328"/>
                  </a:moveTo>
                  <a:lnTo>
                    <a:pt x="2754" y="2590"/>
                  </a:lnTo>
                  <a:lnTo>
                    <a:pt x="2936" y="2741"/>
                  </a:lnTo>
                  <a:lnTo>
                    <a:pt x="2970" y="2765"/>
                  </a:lnTo>
                  <a:lnTo>
                    <a:pt x="3005" y="2783"/>
                  </a:lnTo>
                  <a:lnTo>
                    <a:pt x="3042" y="2797"/>
                  </a:lnTo>
                  <a:lnTo>
                    <a:pt x="3081" y="2806"/>
                  </a:lnTo>
                  <a:lnTo>
                    <a:pt x="3121" y="2809"/>
                  </a:lnTo>
                  <a:lnTo>
                    <a:pt x="3161" y="2808"/>
                  </a:lnTo>
                  <a:lnTo>
                    <a:pt x="3201" y="2800"/>
                  </a:lnTo>
                  <a:lnTo>
                    <a:pt x="3240" y="2787"/>
                  </a:lnTo>
                  <a:lnTo>
                    <a:pt x="3429" y="2711"/>
                  </a:lnTo>
                  <a:lnTo>
                    <a:pt x="3452" y="2700"/>
                  </a:lnTo>
                  <a:lnTo>
                    <a:pt x="3470" y="2684"/>
                  </a:lnTo>
                  <a:lnTo>
                    <a:pt x="3485" y="2666"/>
                  </a:lnTo>
                  <a:lnTo>
                    <a:pt x="3496" y="2646"/>
                  </a:lnTo>
                  <a:lnTo>
                    <a:pt x="3504" y="2623"/>
                  </a:lnTo>
                  <a:lnTo>
                    <a:pt x="3506" y="2599"/>
                  </a:lnTo>
                  <a:lnTo>
                    <a:pt x="3504" y="2575"/>
                  </a:lnTo>
                  <a:lnTo>
                    <a:pt x="3497" y="2551"/>
                  </a:lnTo>
                  <a:lnTo>
                    <a:pt x="3407" y="2328"/>
                  </a:lnTo>
                  <a:close/>
                  <a:moveTo>
                    <a:pt x="353" y="2073"/>
                  </a:moveTo>
                  <a:lnTo>
                    <a:pt x="333" y="2076"/>
                  </a:lnTo>
                  <a:lnTo>
                    <a:pt x="315" y="2085"/>
                  </a:lnTo>
                  <a:lnTo>
                    <a:pt x="302" y="2099"/>
                  </a:lnTo>
                  <a:lnTo>
                    <a:pt x="292" y="2116"/>
                  </a:lnTo>
                  <a:lnTo>
                    <a:pt x="289" y="2136"/>
                  </a:lnTo>
                  <a:lnTo>
                    <a:pt x="289" y="2553"/>
                  </a:lnTo>
                  <a:lnTo>
                    <a:pt x="292" y="2572"/>
                  </a:lnTo>
                  <a:lnTo>
                    <a:pt x="302" y="2590"/>
                  </a:lnTo>
                  <a:lnTo>
                    <a:pt x="315" y="2604"/>
                  </a:lnTo>
                  <a:lnTo>
                    <a:pt x="333" y="2613"/>
                  </a:lnTo>
                  <a:lnTo>
                    <a:pt x="353" y="2616"/>
                  </a:lnTo>
                  <a:lnTo>
                    <a:pt x="713" y="2616"/>
                  </a:lnTo>
                  <a:lnTo>
                    <a:pt x="713" y="2073"/>
                  </a:lnTo>
                  <a:lnTo>
                    <a:pt x="353" y="2073"/>
                  </a:lnTo>
                  <a:close/>
                  <a:moveTo>
                    <a:pt x="3562" y="1955"/>
                  </a:moveTo>
                  <a:lnTo>
                    <a:pt x="3542" y="1957"/>
                  </a:lnTo>
                  <a:lnTo>
                    <a:pt x="3524" y="1966"/>
                  </a:lnTo>
                  <a:lnTo>
                    <a:pt x="3511" y="1980"/>
                  </a:lnTo>
                  <a:lnTo>
                    <a:pt x="3502" y="1998"/>
                  </a:lnTo>
                  <a:lnTo>
                    <a:pt x="3498" y="2017"/>
                  </a:lnTo>
                  <a:lnTo>
                    <a:pt x="3502" y="2038"/>
                  </a:lnTo>
                  <a:lnTo>
                    <a:pt x="3511" y="2055"/>
                  </a:lnTo>
                  <a:lnTo>
                    <a:pt x="3524" y="2068"/>
                  </a:lnTo>
                  <a:lnTo>
                    <a:pt x="3542" y="2077"/>
                  </a:lnTo>
                  <a:lnTo>
                    <a:pt x="3562" y="2081"/>
                  </a:lnTo>
                  <a:lnTo>
                    <a:pt x="3582" y="2077"/>
                  </a:lnTo>
                  <a:lnTo>
                    <a:pt x="3599" y="2068"/>
                  </a:lnTo>
                  <a:lnTo>
                    <a:pt x="3613" y="2055"/>
                  </a:lnTo>
                  <a:lnTo>
                    <a:pt x="3622" y="2038"/>
                  </a:lnTo>
                  <a:lnTo>
                    <a:pt x="3625" y="2017"/>
                  </a:lnTo>
                  <a:lnTo>
                    <a:pt x="3622" y="1998"/>
                  </a:lnTo>
                  <a:lnTo>
                    <a:pt x="3613" y="1980"/>
                  </a:lnTo>
                  <a:lnTo>
                    <a:pt x="3599" y="1966"/>
                  </a:lnTo>
                  <a:lnTo>
                    <a:pt x="3582" y="1957"/>
                  </a:lnTo>
                  <a:lnTo>
                    <a:pt x="3562" y="1955"/>
                  </a:lnTo>
                  <a:close/>
                  <a:moveTo>
                    <a:pt x="950" y="1428"/>
                  </a:moveTo>
                  <a:lnTo>
                    <a:pt x="921" y="1441"/>
                  </a:lnTo>
                  <a:lnTo>
                    <a:pt x="893" y="1458"/>
                  </a:lnTo>
                  <a:lnTo>
                    <a:pt x="871" y="1481"/>
                  </a:lnTo>
                  <a:lnTo>
                    <a:pt x="851" y="1507"/>
                  </a:lnTo>
                  <a:lnTo>
                    <a:pt x="837" y="1536"/>
                  </a:lnTo>
                  <a:lnTo>
                    <a:pt x="828" y="1568"/>
                  </a:lnTo>
                  <a:lnTo>
                    <a:pt x="824" y="1601"/>
                  </a:lnTo>
                  <a:lnTo>
                    <a:pt x="824" y="2616"/>
                  </a:lnTo>
                  <a:lnTo>
                    <a:pt x="1843" y="2616"/>
                  </a:lnTo>
                  <a:lnTo>
                    <a:pt x="1843" y="2489"/>
                  </a:lnTo>
                  <a:lnTo>
                    <a:pt x="1556" y="2489"/>
                  </a:lnTo>
                  <a:lnTo>
                    <a:pt x="1468" y="2487"/>
                  </a:lnTo>
                  <a:lnTo>
                    <a:pt x="1382" y="2478"/>
                  </a:lnTo>
                  <a:lnTo>
                    <a:pt x="1297" y="2462"/>
                  </a:lnTo>
                  <a:lnTo>
                    <a:pt x="1213" y="2441"/>
                  </a:lnTo>
                  <a:lnTo>
                    <a:pt x="1132" y="2414"/>
                  </a:lnTo>
                  <a:lnTo>
                    <a:pt x="1050" y="2382"/>
                  </a:lnTo>
                  <a:lnTo>
                    <a:pt x="1026" y="2369"/>
                  </a:lnTo>
                  <a:lnTo>
                    <a:pt x="1005" y="2352"/>
                  </a:lnTo>
                  <a:lnTo>
                    <a:pt x="985" y="2331"/>
                  </a:lnTo>
                  <a:lnTo>
                    <a:pt x="971" y="2309"/>
                  </a:lnTo>
                  <a:lnTo>
                    <a:pt x="960" y="2284"/>
                  </a:lnTo>
                  <a:lnTo>
                    <a:pt x="954" y="2256"/>
                  </a:lnTo>
                  <a:lnTo>
                    <a:pt x="950" y="2228"/>
                  </a:lnTo>
                  <a:lnTo>
                    <a:pt x="950" y="1428"/>
                  </a:lnTo>
                  <a:close/>
                  <a:moveTo>
                    <a:pt x="1062" y="1419"/>
                  </a:moveTo>
                  <a:lnTo>
                    <a:pt x="1062" y="2228"/>
                  </a:lnTo>
                  <a:lnTo>
                    <a:pt x="1065" y="2245"/>
                  </a:lnTo>
                  <a:lnTo>
                    <a:pt x="1071" y="2259"/>
                  </a:lnTo>
                  <a:lnTo>
                    <a:pt x="1082" y="2271"/>
                  </a:lnTo>
                  <a:lnTo>
                    <a:pt x="1095" y="2280"/>
                  </a:lnTo>
                  <a:lnTo>
                    <a:pt x="1171" y="2311"/>
                  </a:lnTo>
                  <a:lnTo>
                    <a:pt x="1248" y="2335"/>
                  </a:lnTo>
                  <a:lnTo>
                    <a:pt x="1248" y="1601"/>
                  </a:lnTo>
                  <a:lnTo>
                    <a:pt x="1251" y="1584"/>
                  </a:lnTo>
                  <a:lnTo>
                    <a:pt x="1259" y="1568"/>
                  </a:lnTo>
                  <a:lnTo>
                    <a:pt x="1271" y="1557"/>
                  </a:lnTo>
                  <a:lnTo>
                    <a:pt x="1286" y="1549"/>
                  </a:lnTo>
                  <a:lnTo>
                    <a:pt x="1304" y="1545"/>
                  </a:lnTo>
                  <a:lnTo>
                    <a:pt x="1321" y="1549"/>
                  </a:lnTo>
                  <a:lnTo>
                    <a:pt x="1337" y="1557"/>
                  </a:lnTo>
                  <a:lnTo>
                    <a:pt x="1348" y="1568"/>
                  </a:lnTo>
                  <a:lnTo>
                    <a:pt x="1356" y="1584"/>
                  </a:lnTo>
                  <a:lnTo>
                    <a:pt x="1360" y="1601"/>
                  </a:lnTo>
                  <a:lnTo>
                    <a:pt x="1360" y="2361"/>
                  </a:lnTo>
                  <a:lnTo>
                    <a:pt x="1424" y="2370"/>
                  </a:lnTo>
                  <a:lnTo>
                    <a:pt x="1490" y="2376"/>
                  </a:lnTo>
                  <a:lnTo>
                    <a:pt x="1556" y="2378"/>
                  </a:lnTo>
                  <a:lnTo>
                    <a:pt x="1961" y="2378"/>
                  </a:lnTo>
                  <a:lnTo>
                    <a:pt x="1961" y="2221"/>
                  </a:lnTo>
                  <a:lnTo>
                    <a:pt x="1958" y="2171"/>
                  </a:lnTo>
                  <a:lnTo>
                    <a:pt x="1949" y="2123"/>
                  </a:lnTo>
                  <a:lnTo>
                    <a:pt x="1936" y="2076"/>
                  </a:lnTo>
                  <a:lnTo>
                    <a:pt x="1915" y="2031"/>
                  </a:lnTo>
                  <a:lnTo>
                    <a:pt x="1890" y="1988"/>
                  </a:lnTo>
                  <a:lnTo>
                    <a:pt x="1566" y="1500"/>
                  </a:lnTo>
                  <a:lnTo>
                    <a:pt x="1547" y="1477"/>
                  </a:lnTo>
                  <a:lnTo>
                    <a:pt x="1525" y="1457"/>
                  </a:lnTo>
                  <a:lnTo>
                    <a:pt x="1500" y="1441"/>
                  </a:lnTo>
                  <a:lnTo>
                    <a:pt x="1473" y="1428"/>
                  </a:lnTo>
                  <a:lnTo>
                    <a:pt x="1445" y="1422"/>
                  </a:lnTo>
                  <a:lnTo>
                    <a:pt x="1414" y="1419"/>
                  </a:lnTo>
                  <a:lnTo>
                    <a:pt x="1062" y="1419"/>
                  </a:lnTo>
                  <a:close/>
                  <a:moveTo>
                    <a:pt x="2753" y="353"/>
                  </a:moveTo>
                  <a:lnTo>
                    <a:pt x="2749" y="361"/>
                  </a:lnTo>
                  <a:lnTo>
                    <a:pt x="2571" y="659"/>
                  </a:lnTo>
                  <a:lnTo>
                    <a:pt x="3419" y="1917"/>
                  </a:lnTo>
                  <a:lnTo>
                    <a:pt x="3437" y="1895"/>
                  </a:lnTo>
                  <a:lnTo>
                    <a:pt x="3460" y="1876"/>
                  </a:lnTo>
                  <a:lnTo>
                    <a:pt x="3485" y="1861"/>
                  </a:lnTo>
                  <a:lnTo>
                    <a:pt x="3512" y="1850"/>
                  </a:lnTo>
                  <a:lnTo>
                    <a:pt x="3541" y="1844"/>
                  </a:lnTo>
                  <a:lnTo>
                    <a:pt x="2753" y="353"/>
                  </a:lnTo>
                  <a:close/>
                  <a:moveTo>
                    <a:pt x="2334" y="320"/>
                  </a:moveTo>
                  <a:lnTo>
                    <a:pt x="1562" y="1348"/>
                  </a:lnTo>
                  <a:lnTo>
                    <a:pt x="1590" y="1366"/>
                  </a:lnTo>
                  <a:lnTo>
                    <a:pt x="1616" y="1387"/>
                  </a:lnTo>
                  <a:lnTo>
                    <a:pt x="1638" y="1411"/>
                  </a:lnTo>
                  <a:lnTo>
                    <a:pt x="1658" y="1439"/>
                  </a:lnTo>
                  <a:lnTo>
                    <a:pt x="1827" y="1690"/>
                  </a:lnTo>
                  <a:lnTo>
                    <a:pt x="2555" y="467"/>
                  </a:lnTo>
                  <a:lnTo>
                    <a:pt x="2551" y="467"/>
                  </a:lnTo>
                  <a:lnTo>
                    <a:pt x="2515" y="465"/>
                  </a:lnTo>
                  <a:lnTo>
                    <a:pt x="2481" y="457"/>
                  </a:lnTo>
                  <a:lnTo>
                    <a:pt x="2448" y="444"/>
                  </a:lnTo>
                  <a:lnTo>
                    <a:pt x="2419" y="427"/>
                  </a:lnTo>
                  <a:lnTo>
                    <a:pt x="2391" y="405"/>
                  </a:lnTo>
                  <a:lnTo>
                    <a:pt x="2369" y="380"/>
                  </a:lnTo>
                  <a:lnTo>
                    <a:pt x="2349" y="351"/>
                  </a:lnTo>
                  <a:lnTo>
                    <a:pt x="2334" y="320"/>
                  </a:lnTo>
                  <a:close/>
                  <a:moveTo>
                    <a:pt x="2551" y="111"/>
                  </a:moveTo>
                  <a:lnTo>
                    <a:pt x="2523" y="115"/>
                  </a:lnTo>
                  <a:lnTo>
                    <a:pt x="2498" y="124"/>
                  </a:lnTo>
                  <a:lnTo>
                    <a:pt x="2475" y="138"/>
                  </a:lnTo>
                  <a:lnTo>
                    <a:pt x="2456" y="157"/>
                  </a:lnTo>
                  <a:lnTo>
                    <a:pt x="2441" y="180"/>
                  </a:lnTo>
                  <a:lnTo>
                    <a:pt x="2432" y="205"/>
                  </a:lnTo>
                  <a:lnTo>
                    <a:pt x="2429" y="234"/>
                  </a:lnTo>
                  <a:lnTo>
                    <a:pt x="2432" y="262"/>
                  </a:lnTo>
                  <a:lnTo>
                    <a:pt x="2441" y="287"/>
                  </a:lnTo>
                  <a:lnTo>
                    <a:pt x="2456" y="311"/>
                  </a:lnTo>
                  <a:lnTo>
                    <a:pt x="2475" y="329"/>
                  </a:lnTo>
                  <a:lnTo>
                    <a:pt x="2498" y="344"/>
                  </a:lnTo>
                  <a:lnTo>
                    <a:pt x="2523" y="353"/>
                  </a:lnTo>
                  <a:lnTo>
                    <a:pt x="2551" y="356"/>
                  </a:lnTo>
                  <a:lnTo>
                    <a:pt x="2576" y="354"/>
                  </a:lnTo>
                  <a:lnTo>
                    <a:pt x="2599" y="347"/>
                  </a:lnTo>
                  <a:lnTo>
                    <a:pt x="2619" y="336"/>
                  </a:lnTo>
                  <a:lnTo>
                    <a:pt x="2638" y="321"/>
                  </a:lnTo>
                  <a:lnTo>
                    <a:pt x="2653" y="303"/>
                  </a:lnTo>
                  <a:lnTo>
                    <a:pt x="2656" y="298"/>
                  </a:lnTo>
                  <a:lnTo>
                    <a:pt x="2657" y="297"/>
                  </a:lnTo>
                  <a:lnTo>
                    <a:pt x="2666" y="278"/>
                  </a:lnTo>
                  <a:lnTo>
                    <a:pt x="2672" y="256"/>
                  </a:lnTo>
                  <a:lnTo>
                    <a:pt x="2674" y="234"/>
                  </a:lnTo>
                  <a:lnTo>
                    <a:pt x="2672" y="210"/>
                  </a:lnTo>
                  <a:lnTo>
                    <a:pt x="2665" y="187"/>
                  </a:lnTo>
                  <a:lnTo>
                    <a:pt x="2661" y="180"/>
                  </a:lnTo>
                  <a:lnTo>
                    <a:pt x="2658" y="174"/>
                  </a:lnTo>
                  <a:lnTo>
                    <a:pt x="2643" y="153"/>
                  </a:lnTo>
                  <a:lnTo>
                    <a:pt x="2625" y="136"/>
                  </a:lnTo>
                  <a:lnTo>
                    <a:pt x="2603" y="123"/>
                  </a:lnTo>
                  <a:lnTo>
                    <a:pt x="2579" y="115"/>
                  </a:lnTo>
                  <a:lnTo>
                    <a:pt x="2551" y="111"/>
                  </a:lnTo>
                  <a:close/>
                  <a:moveTo>
                    <a:pt x="2551" y="0"/>
                  </a:moveTo>
                  <a:lnTo>
                    <a:pt x="2591" y="3"/>
                  </a:lnTo>
                  <a:lnTo>
                    <a:pt x="2630" y="12"/>
                  </a:lnTo>
                  <a:lnTo>
                    <a:pt x="2665" y="28"/>
                  </a:lnTo>
                  <a:lnTo>
                    <a:pt x="2696" y="50"/>
                  </a:lnTo>
                  <a:lnTo>
                    <a:pt x="2724" y="75"/>
                  </a:lnTo>
                  <a:lnTo>
                    <a:pt x="2747" y="106"/>
                  </a:lnTo>
                  <a:lnTo>
                    <a:pt x="2766" y="138"/>
                  </a:lnTo>
                  <a:lnTo>
                    <a:pt x="3713" y="1930"/>
                  </a:lnTo>
                  <a:lnTo>
                    <a:pt x="3726" y="1957"/>
                  </a:lnTo>
                  <a:lnTo>
                    <a:pt x="3734" y="1986"/>
                  </a:lnTo>
                  <a:lnTo>
                    <a:pt x="3736" y="2017"/>
                  </a:lnTo>
                  <a:lnTo>
                    <a:pt x="3733" y="2050"/>
                  </a:lnTo>
                  <a:lnTo>
                    <a:pt x="3725" y="2080"/>
                  </a:lnTo>
                  <a:lnTo>
                    <a:pt x="3711" y="2108"/>
                  </a:lnTo>
                  <a:lnTo>
                    <a:pt x="3693" y="2132"/>
                  </a:lnTo>
                  <a:lnTo>
                    <a:pt x="3672" y="2153"/>
                  </a:lnTo>
                  <a:lnTo>
                    <a:pt x="3646" y="2170"/>
                  </a:lnTo>
                  <a:lnTo>
                    <a:pt x="3617" y="2183"/>
                  </a:lnTo>
                  <a:lnTo>
                    <a:pt x="3617" y="2612"/>
                  </a:lnTo>
                  <a:lnTo>
                    <a:pt x="3617" y="2620"/>
                  </a:lnTo>
                  <a:lnTo>
                    <a:pt x="3616" y="2626"/>
                  </a:lnTo>
                  <a:lnTo>
                    <a:pt x="3609" y="2660"/>
                  </a:lnTo>
                  <a:lnTo>
                    <a:pt x="3597" y="2693"/>
                  </a:lnTo>
                  <a:lnTo>
                    <a:pt x="3580" y="2724"/>
                  </a:lnTo>
                  <a:lnTo>
                    <a:pt x="3559" y="2752"/>
                  </a:lnTo>
                  <a:lnTo>
                    <a:pt x="3533" y="2777"/>
                  </a:lnTo>
                  <a:lnTo>
                    <a:pt x="3504" y="2799"/>
                  </a:lnTo>
                  <a:lnTo>
                    <a:pt x="3471" y="2815"/>
                  </a:lnTo>
                  <a:lnTo>
                    <a:pt x="3282" y="2891"/>
                  </a:lnTo>
                  <a:lnTo>
                    <a:pt x="3231" y="2908"/>
                  </a:lnTo>
                  <a:lnTo>
                    <a:pt x="3180" y="2918"/>
                  </a:lnTo>
                  <a:lnTo>
                    <a:pt x="3127" y="2920"/>
                  </a:lnTo>
                  <a:lnTo>
                    <a:pt x="3081" y="2918"/>
                  </a:lnTo>
                  <a:lnTo>
                    <a:pt x="3034" y="2910"/>
                  </a:lnTo>
                  <a:lnTo>
                    <a:pt x="2989" y="2896"/>
                  </a:lnTo>
                  <a:lnTo>
                    <a:pt x="2946" y="2878"/>
                  </a:lnTo>
                  <a:lnTo>
                    <a:pt x="2904" y="2855"/>
                  </a:lnTo>
                  <a:lnTo>
                    <a:pt x="2865" y="2826"/>
                  </a:lnTo>
                  <a:lnTo>
                    <a:pt x="2454" y="2487"/>
                  </a:lnTo>
                  <a:lnTo>
                    <a:pt x="2442" y="2474"/>
                  </a:lnTo>
                  <a:lnTo>
                    <a:pt x="2436" y="2458"/>
                  </a:lnTo>
                  <a:lnTo>
                    <a:pt x="2433" y="2441"/>
                  </a:lnTo>
                  <a:lnTo>
                    <a:pt x="2438" y="2424"/>
                  </a:lnTo>
                  <a:lnTo>
                    <a:pt x="2447" y="2409"/>
                  </a:lnTo>
                  <a:lnTo>
                    <a:pt x="2459" y="2397"/>
                  </a:lnTo>
                  <a:lnTo>
                    <a:pt x="2475" y="2390"/>
                  </a:lnTo>
                  <a:lnTo>
                    <a:pt x="2492" y="2388"/>
                  </a:lnTo>
                  <a:lnTo>
                    <a:pt x="2509" y="2393"/>
                  </a:lnTo>
                  <a:lnTo>
                    <a:pt x="2525" y="2402"/>
                  </a:lnTo>
                  <a:lnTo>
                    <a:pt x="2656" y="2509"/>
                  </a:lnTo>
                  <a:lnTo>
                    <a:pt x="3418" y="2203"/>
                  </a:lnTo>
                  <a:lnTo>
                    <a:pt x="3431" y="2200"/>
                  </a:lnTo>
                  <a:lnTo>
                    <a:pt x="3446" y="2200"/>
                  </a:lnTo>
                  <a:lnTo>
                    <a:pt x="3460" y="2204"/>
                  </a:lnTo>
                  <a:lnTo>
                    <a:pt x="3472" y="2211"/>
                  </a:lnTo>
                  <a:lnTo>
                    <a:pt x="3482" y="2221"/>
                  </a:lnTo>
                  <a:lnTo>
                    <a:pt x="3490" y="2235"/>
                  </a:lnTo>
                  <a:lnTo>
                    <a:pt x="3506" y="2275"/>
                  </a:lnTo>
                  <a:lnTo>
                    <a:pt x="3506" y="2183"/>
                  </a:lnTo>
                  <a:lnTo>
                    <a:pt x="3478" y="2170"/>
                  </a:lnTo>
                  <a:lnTo>
                    <a:pt x="3452" y="2152"/>
                  </a:lnTo>
                  <a:lnTo>
                    <a:pt x="3429" y="2131"/>
                  </a:lnTo>
                  <a:lnTo>
                    <a:pt x="3411" y="2106"/>
                  </a:lnTo>
                  <a:lnTo>
                    <a:pt x="2507" y="766"/>
                  </a:lnTo>
                  <a:lnTo>
                    <a:pt x="1895" y="1794"/>
                  </a:lnTo>
                  <a:lnTo>
                    <a:pt x="1983" y="1926"/>
                  </a:lnTo>
                  <a:lnTo>
                    <a:pt x="2010" y="1971"/>
                  </a:lnTo>
                  <a:lnTo>
                    <a:pt x="2032" y="2018"/>
                  </a:lnTo>
                  <a:lnTo>
                    <a:pt x="2050" y="2067"/>
                  </a:lnTo>
                  <a:lnTo>
                    <a:pt x="2063" y="2117"/>
                  </a:lnTo>
                  <a:lnTo>
                    <a:pt x="2069" y="2168"/>
                  </a:lnTo>
                  <a:lnTo>
                    <a:pt x="2073" y="2221"/>
                  </a:lnTo>
                  <a:lnTo>
                    <a:pt x="2073" y="2433"/>
                  </a:lnTo>
                  <a:lnTo>
                    <a:pt x="2072" y="2441"/>
                  </a:lnTo>
                  <a:lnTo>
                    <a:pt x="2069" y="2452"/>
                  </a:lnTo>
                  <a:lnTo>
                    <a:pt x="2066" y="2460"/>
                  </a:lnTo>
                  <a:lnTo>
                    <a:pt x="2064" y="2463"/>
                  </a:lnTo>
                  <a:lnTo>
                    <a:pt x="2063" y="2465"/>
                  </a:lnTo>
                  <a:lnTo>
                    <a:pt x="2060" y="2469"/>
                  </a:lnTo>
                  <a:lnTo>
                    <a:pt x="2059" y="2469"/>
                  </a:lnTo>
                  <a:lnTo>
                    <a:pt x="2058" y="2471"/>
                  </a:lnTo>
                  <a:lnTo>
                    <a:pt x="2056" y="2473"/>
                  </a:lnTo>
                  <a:lnTo>
                    <a:pt x="2055" y="2474"/>
                  </a:lnTo>
                  <a:lnTo>
                    <a:pt x="2052" y="2477"/>
                  </a:lnTo>
                  <a:lnTo>
                    <a:pt x="2050" y="2478"/>
                  </a:lnTo>
                  <a:lnTo>
                    <a:pt x="2048" y="2480"/>
                  </a:lnTo>
                  <a:lnTo>
                    <a:pt x="2043" y="2482"/>
                  </a:lnTo>
                  <a:lnTo>
                    <a:pt x="2039" y="2485"/>
                  </a:lnTo>
                  <a:lnTo>
                    <a:pt x="2039" y="2485"/>
                  </a:lnTo>
                  <a:lnTo>
                    <a:pt x="2035" y="2486"/>
                  </a:lnTo>
                  <a:lnTo>
                    <a:pt x="2033" y="2487"/>
                  </a:lnTo>
                  <a:lnTo>
                    <a:pt x="2031" y="2488"/>
                  </a:lnTo>
                  <a:lnTo>
                    <a:pt x="2027" y="2488"/>
                  </a:lnTo>
                  <a:lnTo>
                    <a:pt x="2024" y="2489"/>
                  </a:lnTo>
                  <a:lnTo>
                    <a:pt x="2023" y="2489"/>
                  </a:lnTo>
                  <a:lnTo>
                    <a:pt x="2019" y="2489"/>
                  </a:lnTo>
                  <a:lnTo>
                    <a:pt x="2017" y="2489"/>
                  </a:lnTo>
                  <a:lnTo>
                    <a:pt x="1954" y="2489"/>
                  </a:lnTo>
                  <a:lnTo>
                    <a:pt x="1954" y="2672"/>
                  </a:lnTo>
                  <a:lnTo>
                    <a:pt x="1950" y="2689"/>
                  </a:lnTo>
                  <a:lnTo>
                    <a:pt x="1942" y="2705"/>
                  </a:lnTo>
                  <a:lnTo>
                    <a:pt x="1931" y="2716"/>
                  </a:lnTo>
                  <a:lnTo>
                    <a:pt x="1915" y="2724"/>
                  </a:lnTo>
                  <a:lnTo>
                    <a:pt x="1898" y="2727"/>
                  </a:lnTo>
                  <a:lnTo>
                    <a:pt x="1418" y="2727"/>
                  </a:lnTo>
                  <a:lnTo>
                    <a:pt x="1418" y="2853"/>
                  </a:lnTo>
                  <a:lnTo>
                    <a:pt x="1838" y="2853"/>
                  </a:lnTo>
                  <a:lnTo>
                    <a:pt x="1890" y="2857"/>
                  </a:lnTo>
                  <a:lnTo>
                    <a:pt x="1940" y="2866"/>
                  </a:lnTo>
                  <a:lnTo>
                    <a:pt x="1988" y="2882"/>
                  </a:lnTo>
                  <a:lnTo>
                    <a:pt x="2032" y="2902"/>
                  </a:lnTo>
                  <a:lnTo>
                    <a:pt x="2074" y="2927"/>
                  </a:lnTo>
                  <a:lnTo>
                    <a:pt x="2112" y="2958"/>
                  </a:lnTo>
                  <a:lnTo>
                    <a:pt x="2146" y="2992"/>
                  </a:lnTo>
                  <a:lnTo>
                    <a:pt x="2177" y="3030"/>
                  </a:lnTo>
                  <a:lnTo>
                    <a:pt x="2202" y="3072"/>
                  </a:lnTo>
                  <a:lnTo>
                    <a:pt x="2222" y="3116"/>
                  </a:lnTo>
                  <a:lnTo>
                    <a:pt x="2238" y="3164"/>
                  </a:lnTo>
                  <a:lnTo>
                    <a:pt x="2247" y="3214"/>
                  </a:lnTo>
                  <a:lnTo>
                    <a:pt x="2251" y="3266"/>
                  </a:lnTo>
                  <a:lnTo>
                    <a:pt x="2247" y="3317"/>
                  </a:lnTo>
                  <a:lnTo>
                    <a:pt x="2238" y="3367"/>
                  </a:lnTo>
                  <a:lnTo>
                    <a:pt x="2222" y="3415"/>
                  </a:lnTo>
                  <a:lnTo>
                    <a:pt x="2202" y="3460"/>
                  </a:lnTo>
                  <a:lnTo>
                    <a:pt x="2177" y="3501"/>
                  </a:lnTo>
                  <a:lnTo>
                    <a:pt x="2146" y="3540"/>
                  </a:lnTo>
                  <a:lnTo>
                    <a:pt x="2112" y="3574"/>
                  </a:lnTo>
                  <a:lnTo>
                    <a:pt x="2074" y="3604"/>
                  </a:lnTo>
                  <a:lnTo>
                    <a:pt x="2032" y="3630"/>
                  </a:lnTo>
                  <a:lnTo>
                    <a:pt x="1988" y="3651"/>
                  </a:lnTo>
                  <a:lnTo>
                    <a:pt x="1940" y="3666"/>
                  </a:lnTo>
                  <a:lnTo>
                    <a:pt x="1890" y="3676"/>
                  </a:lnTo>
                  <a:lnTo>
                    <a:pt x="1838" y="3678"/>
                  </a:lnTo>
                  <a:lnTo>
                    <a:pt x="413" y="3678"/>
                  </a:lnTo>
                  <a:lnTo>
                    <a:pt x="360" y="3676"/>
                  </a:lnTo>
                  <a:lnTo>
                    <a:pt x="311" y="3666"/>
                  </a:lnTo>
                  <a:lnTo>
                    <a:pt x="263" y="3651"/>
                  </a:lnTo>
                  <a:lnTo>
                    <a:pt x="219" y="3630"/>
                  </a:lnTo>
                  <a:lnTo>
                    <a:pt x="177" y="3604"/>
                  </a:lnTo>
                  <a:lnTo>
                    <a:pt x="138" y="3574"/>
                  </a:lnTo>
                  <a:lnTo>
                    <a:pt x="104" y="3540"/>
                  </a:lnTo>
                  <a:lnTo>
                    <a:pt x="74" y="3501"/>
                  </a:lnTo>
                  <a:lnTo>
                    <a:pt x="49" y="3460"/>
                  </a:lnTo>
                  <a:lnTo>
                    <a:pt x="28" y="3415"/>
                  </a:lnTo>
                  <a:lnTo>
                    <a:pt x="12" y="3367"/>
                  </a:lnTo>
                  <a:lnTo>
                    <a:pt x="3" y="3317"/>
                  </a:lnTo>
                  <a:lnTo>
                    <a:pt x="0" y="3266"/>
                  </a:lnTo>
                  <a:lnTo>
                    <a:pt x="3" y="3214"/>
                  </a:lnTo>
                  <a:lnTo>
                    <a:pt x="12" y="3164"/>
                  </a:lnTo>
                  <a:lnTo>
                    <a:pt x="28" y="3116"/>
                  </a:lnTo>
                  <a:lnTo>
                    <a:pt x="49" y="3072"/>
                  </a:lnTo>
                  <a:lnTo>
                    <a:pt x="74" y="3030"/>
                  </a:lnTo>
                  <a:lnTo>
                    <a:pt x="104" y="2992"/>
                  </a:lnTo>
                  <a:lnTo>
                    <a:pt x="138" y="2958"/>
                  </a:lnTo>
                  <a:lnTo>
                    <a:pt x="177" y="2927"/>
                  </a:lnTo>
                  <a:lnTo>
                    <a:pt x="219" y="2902"/>
                  </a:lnTo>
                  <a:lnTo>
                    <a:pt x="263" y="2882"/>
                  </a:lnTo>
                  <a:lnTo>
                    <a:pt x="311" y="2866"/>
                  </a:lnTo>
                  <a:lnTo>
                    <a:pt x="360" y="2857"/>
                  </a:lnTo>
                  <a:lnTo>
                    <a:pt x="413" y="2853"/>
                  </a:lnTo>
                  <a:lnTo>
                    <a:pt x="832" y="2853"/>
                  </a:lnTo>
                  <a:lnTo>
                    <a:pt x="832" y="2727"/>
                  </a:lnTo>
                  <a:lnTo>
                    <a:pt x="353" y="2727"/>
                  </a:lnTo>
                  <a:lnTo>
                    <a:pt x="317" y="2724"/>
                  </a:lnTo>
                  <a:lnTo>
                    <a:pt x="284" y="2714"/>
                  </a:lnTo>
                  <a:lnTo>
                    <a:pt x="255" y="2698"/>
                  </a:lnTo>
                  <a:lnTo>
                    <a:pt x="229" y="2676"/>
                  </a:lnTo>
                  <a:lnTo>
                    <a:pt x="209" y="2650"/>
                  </a:lnTo>
                  <a:lnTo>
                    <a:pt x="192" y="2621"/>
                  </a:lnTo>
                  <a:lnTo>
                    <a:pt x="181" y="2588"/>
                  </a:lnTo>
                  <a:lnTo>
                    <a:pt x="178" y="2553"/>
                  </a:lnTo>
                  <a:lnTo>
                    <a:pt x="178" y="2136"/>
                  </a:lnTo>
                  <a:lnTo>
                    <a:pt x="181" y="2101"/>
                  </a:lnTo>
                  <a:lnTo>
                    <a:pt x="192" y="2068"/>
                  </a:lnTo>
                  <a:lnTo>
                    <a:pt x="209" y="2039"/>
                  </a:lnTo>
                  <a:lnTo>
                    <a:pt x="229" y="2013"/>
                  </a:lnTo>
                  <a:lnTo>
                    <a:pt x="255" y="1991"/>
                  </a:lnTo>
                  <a:lnTo>
                    <a:pt x="284" y="1975"/>
                  </a:lnTo>
                  <a:lnTo>
                    <a:pt x="317" y="1965"/>
                  </a:lnTo>
                  <a:lnTo>
                    <a:pt x="353" y="1962"/>
                  </a:lnTo>
                  <a:lnTo>
                    <a:pt x="713" y="1962"/>
                  </a:lnTo>
                  <a:lnTo>
                    <a:pt x="713" y="1601"/>
                  </a:lnTo>
                  <a:lnTo>
                    <a:pt x="717" y="1558"/>
                  </a:lnTo>
                  <a:lnTo>
                    <a:pt x="726" y="1517"/>
                  </a:lnTo>
                  <a:lnTo>
                    <a:pt x="740" y="1477"/>
                  </a:lnTo>
                  <a:lnTo>
                    <a:pt x="761" y="1442"/>
                  </a:lnTo>
                  <a:lnTo>
                    <a:pt x="785" y="1409"/>
                  </a:lnTo>
                  <a:lnTo>
                    <a:pt x="814" y="1380"/>
                  </a:lnTo>
                  <a:lnTo>
                    <a:pt x="847" y="1355"/>
                  </a:lnTo>
                  <a:lnTo>
                    <a:pt x="883" y="1335"/>
                  </a:lnTo>
                  <a:lnTo>
                    <a:pt x="922" y="1321"/>
                  </a:lnTo>
                  <a:lnTo>
                    <a:pt x="963" y="1310"/>
                  </a:lnTo>
                  <a:lnTo>
                    <a:pt x="1007" y="1308"/>
                  </a:lnTo>
                  <a:lnTo>
                    <a:pt x="1414" y="1308"/>
                  </a:lnTo>
                  <a:lnTo>
                    <a:pt x="1452" y="1310"/>
                  </a:lnTo>
                  <a:lnTo>
                    <a:pt x="2359" y="101"/>
                  </a:lnTo>
                  <a:lnTo>
                    <a:pt x="2359" y="101"/>
                  </a:lnTo>
                  <a:lnTo>
                    <a:pt x="2382" y="73"/>
                  </a:lnTo>
                  <a:lnTo>
                    <a:pt x="2410" y="48"/>
                  </a:lnTo>
                  <a:lnTo>
                    <a:pt x="2441" y="27"/>
                  </a:lnTo>
                  <a:lnTo>
                    <a:pt x="2475" y="12"/>
                  </a:lnTo>
                  <a:lnTo>
                    <a:pt x="2513" y="3"/>
                  </a:lnTo>
                  <a:lnTo>
                    <a:pt x="2551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</p:grpSp>
      <p:sp>
        <p:nvSpPr>
          <p:cNvPr id="23625" name="TextBox 158">
            <a:extLst>
              <a:ext uri="{FF2B5EF4-FFF2-40B4-BE49-F238E27FC236}">
                <a16:creationId xmlns:a16="http://schemas.microsoft.com/office/drawing/2014/main" id="{E039C87F-72AD-4054-B63A-554ACFFB9E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4663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6" name="TextBox 159">
            <a:extLst>
              <a:ext uri="{FF2B5EF4-FFF2-40B4-BE49-F238E27FC236}">
                <a16:creationId xmlns:a16="http://schemas.microsoft.com/office/drawing/2014/main" id="{C89D28E8-6E73-4458-A352-42A749EC09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3488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7" name="TextBox 127">
            <a:extLst>
              <a:ext uri="{FF2B5EF4-FFF2-40B4-BE49-F238E27FC236}">
                <a16:creationId xmlns:a16="http://schemas.microsoft.com/office/drawing/2014/main" id="{D2C4F5E9-E854-4896-8355-45DEC69063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7813" y="6378575"/>
            <a:ext cx="426243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Sources: National Bureau of Statistics, World Bank Report on Doing Business in Nigeria 2018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climate-data.org, State Government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Exchange rate= $1/N305 (Central Bank of Nigeria)</a:t>
            </a:r>
          </a:p>
        </p:txBody>
      </p:sp>
      <p:sp>
        <p:nvSpPr>
          <p:cNvPr id="23628" name="TextBox 128">
            <a:extLst>
              <a:ext uri="{FF2B5EF4-FFF2-40B4-BE49-F238E27FC236}">
                <a16:creationId xmlns:a16="http://schemas.microsoft.com/office/drawing/2014/main" id="{409BCC6F-A5F0-4C79-BB4A-38A1ABC14F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18122" y="3649889"/>
            <a:ext cx="35298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Tea</a:t>
            </a:r>
          </a:p>
        </p:txBody>
      </p:sp>
      <p:sp>
        <p:nvSpPr>
          <p:cNvPr id="23629" name="TextBox 129">
            <a:extLst>
              <a:ext uri="{FF2B5EF4-FFF2-40B4-BE49-F238E27FC236}">
                <a16:creationId xmlns:a16="http://schemas.microsoft.com/office/drawing/2014/main" id="{489E7B41-20C9-4493-8E7D-07238EB8FA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32417" y="3654980"/>
            <a:ext cx="56778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Tourism</a:t>
            </a:r>
          </a:p>
        </p:txBody>
      </p:sp>
      <p:sp>
        <p:nvSpPr>
          <p:cNvPr id="23630" name="TextBox 130">
            <a:extLst>
              <a:ext uri="{FF2B5EF4-FFF2-40B4-BE49-F238E27FC236}">
                <a16:creationId xmlns:a16="http://schemas.microsoft.com/office/drawing/2014/main" id="{048DE5D8-5309-42DA-9D97-2935A10CB7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31" name="TextBox 131">
            <a:extLst>
              <a:ext uri="{FF2B5EF4-FFF2-40B4-BE49-F238E27FC236}">
                <a16:creationId xmlns:a16="http://schemas.microsoft.com/office/drawing/2014/main" id="{FF8B6C80-43E2-43AF-A364-A31845F05C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5388" y="3656613"/>
            <a:ext cx="53572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Granite</a:t>
            </a:r>
          </a:p>
        </p:txBody>
      </p:sp>
      <p:sp>
        <p:nvSpPr>
          <p:cNvPr id="23632" name="TextBox 132">
            <a:extLst>
              <a:ext uri="{FF2B5EF4-FFF2-40B4-BE49-F238E27FC236}">
                <a16:creationId xmlns:a16="http://schemas.microsoft.com/office/drawing/2014/main" id="{A1C640C1-61D1-4BA5-8A76-E684397E8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62457" y="3650683"/>
            <a:ext cx="47481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Kaolin</a:t>
            </a:r>
          </a:p>
        </p:txBody>
      </p:sp>
      <p:sp>
        <p:nvSpPr>
          <p:cNvPr id="23638" name="TextBox 141">
            <a:extLst>
              <a:ext uri="{FF2B5EF4-FFF2-40B4-BE49-F238E27FC236}">
                <a16:creationId xmlns:a16="http://schemas.microsoft.com/office/drawing/2014/main" id="{EE481231-8673-4FD7-B5CC-900AEE7A9F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8233" y="3652271"/>
            <a:ext cx="59984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Potatoes</a:t>
            </a:r>
          </a:p>
        </p:txBody>
      </p:sp>
      <p:sp>
        <p:nvSpPr>
          <p:cNvPr id="23649" name="TextBox 165">
            <a:extLst>
              <a:ext uri="{FF2B5EF4-FFF2-40B4-BE49-F238E27FC236}">
                <a16:creationId xmlns:a16="http://schemas.microsoft.com/office/drawing/2014/main" id="{1242633E-9CB1-48ED-83F4-2223DFC7ED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33611" y="4459560"/>
            <a:ext cx="67037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dirty="0">
                <a:latin typeface="Calibri" panose="020F0502020204030204" pitchFamily="34" charset="0"/>
              </a:rPr>
              <a:t>Gemstone</a:t>
            </a:r>
            <a:endParaRPr lang="en-GB" altLang="en-US" sz="900" dirty="0">
              <a:latin typeface="Calibri" panose="020F0502020204030204" pitchFamily="34" charset="0"/>
            </a:endParaRPr>
          </a:p>
        </p:txBody>
      </p:sp>
      <p:sp>
        <p:nvSpPr>
          <p:cNvPr id="23650" name="TextBox 166">
            <a:extLst>
              <a:ext uri="{FF2B5EF4-FFF2-40B4-BE49-F238E27FC236}">
                <a16:creationId xmlns:a16="http://schemas.microsoft.com/office/drawing/2014/main" id="{6B51369B-8FA6-464A-B908-12B0FFE6B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51841" y="4458812"/>
            <a:ext cx="468398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Maize</a:t>
            </a:r>
          </a:p>
        </p:txBody>
      </p:sp>
      <p:sp>
        <p:nvSpPr>
          <p:cNvPr id="23651" name="TextBox 167">
            <a:extLst>
              <a:ext uri="{FF2B5EF4-FFF2-40B4-BE49-F238E27FC236}">
                <a16:creationId xmlns:a16="http://schemas.microsoft.com/office/drawing/2014/main" id="{4F9404E1-8339-401B-8B10-4C7D1A8CEC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11211" y="4457881"/>
            <a:ext cx="70083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 err="1">
                <a:latin typeface="Calibri" panose="020F0502020204030204" pitchFamily="34" charset="0"/>
              </a:rPr>
              <a:t>Foni</a:t>
            </a:r>
            <a:r>
              <a:rPr lang="en-GB" altLang="en-US" sz="900" dirty="0">
                <a:latin typeface="Calibri" panose="020F0502020204030204" pitchFamily="34" charset="0"/>
              </a:rPr>
              <a:t> (</a:t>
            </a:r>
            <a:r>
              <a:rPr lang="en-GB" altLang="en-US" sz="900" dirty="0" err="1">
                <a:latin typeface="Calibri" panose="020F0502020204030204" pitchFamily="34" charset="0"/>
              </a:rPr>
              <a:t>acha</a:t>
            </a:r>
            <a:r>
              <a:rPr lang="en-GB" altLang="en-US" sz="900" dirty="0">
                <a:latin typeface="Calibri" panose="020F0502020204030204" pitchFamily="34" charset="0"/>
              </a:rPr>
              <a:t>)</a:t>
            </a:r>
          </a:p>
        </p:txBody>
      </p:sp>
      <p:sp>
        <p:nvSpPr>
          <p:cNvPr id="23652" name="TextBox 168">
            <a:extLst>
              <a:ext uri="{FF2B5EF4-FFF2-40B4-BE49-F238E27FC236}">
                <a16:creationId xmlns:a16="http://schemas.microsoft.com/office/drawing/2014/main" id="{1C04917D-B2C3-4C21-8CC2-A45C349B4B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65456" y="4457133"/>
            <a:ext cx="59984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Tantalite</a:t>
            </a:r>
          </a:p>
        </p:txBody>
      </p:sp>
      <p:sp>
        <p:nvSpPr>
          <p:cNvPr id="23653" name="TextBox 169">
            <a:extLst>
              <a:ext uri="{FF2B5EF4-FFF2-40B4-BE49-F238E27FC236}">
                <a16:creationId xmlns:a16="http://schemas.microsoft.com/office/drawing/2014/main" id="{4BADA327-4F2D-4897-B7C0-4647A1484B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3926" y="4457973"/>
            <a:ext cx="44916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Fruits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8A28B48-1841-45BB-BFBC-EADE77B37C6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779712" y="2589213"/>
          <a:ext cx="1482725" cy="812800"/>
        </p:xfrm>
        <a:graphic>
          <a:graphicData uri="http://schemas.openxmlformats.org/drawingml/2006/table">
            <a:tbl>
              <a:tblPr/>
              <a:tblGrid>
                <a:gridCol w="11367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9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32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GB" sz="1000" b="1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Domestic</a:t>
                      </a:r>
                      <a:r>
                        <a:rPr lang="en-GB" sz="10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US" sz="1000" b="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International 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Railway</a:t>
                      </a:r>
                      <a:r>
                        <a:rPr lang="en-GB" sz="1000" b="1" kern="1200" baseline="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 Station</a:t>
                      </a:r>
                      <a:endParaRPr lang="en-GB" sz="1000" b="1" kern="1200" dirty="0">
                        <a:solidFill>
                          <a:srgbClr val="292929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32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Sea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7" name="TextBox 136">
            <a:extLst>
              <a:ext uri="{FF2B5EF4-FFF2-40B4-BE49-F238E27FC236}">
                <a16:creationId xmlns:a16="http://schemas.microsoft.com/office/drawing/2014/main" id="{2F4C4876-7073-4C13-A183-127A8909BDC0}"/>
              </a:ext>
            </a:extLst>
          </p:cNvPr>
          <p:cNvSpPr txBox="1"/>
          <p:nvPr/>
        </p:nvSpPr>
        <p:spPr>
          <a:xfrm>
            <a:off x="538163" y="5268913"/>
            <a:ext cx="373856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For further details</a:t>
            </a:r>
          </a:p>
        </p:txBody>
      </p:sp>
      <p:sp>
        <p:nvSpPr>
          <p:cNvPr id="23676" name="TextBox 156">
            <a:extLst>
              <a:ext uri="{FF2B5EF4-FFF2-40B4-BE49-F238E27FC236}">
                <a16:creationId xmlns:a16="http://schemas.microsoft.com/office/drawing/2014/main" id="{95D66AAF-6B48-4B9E-9E5B-F1BB063A89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6300" y="6342063"/>
            <a:ext cx="37306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Abbreviations: </a:t>
            </a:r>
            <a:r>
              <a:rPr lang="en-GB" altLang="en-US" sz="800" b="1" dirty="0">
                <a:latin typeface="Calibri" panose="020F0502020204030204" pitchFamily="34" charset="0"/>
              </a:rPr>
              <a:t>	NICPS</a:t>
            </a:r>
            <a:r>
              <a:rPr lang="en-GB" altLang="en-US" sz="800" dirty="0">
                <a:latin typeface="Calibri" panose="020F0502020204030204" pitchFamily="34" charset="0"/>
              </a:rPr>
              <a:t>: Nigerian Investment Certification Programme for States                  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	</a:t>
            </a:r>
            <a:r>
              <a:rPr lang="en-GB" altLang="en-US" sz="800" b="1" dirty="0">
                <a:latin typeface="Calibri" panose="020F0502020204030204" pitchFamily="34" charset="0"/>
              </a:rPr>
              <a:t>IGR</a:t>
            </a:r>
            <a:r>
              <a:rPr lang="en-GB" altLang="en-US" sz="800" dirty="0">
                <a:latin typeface="Calibri" panose="020F0502020204030204" pitchFamily="34" charset="0"/>
              </a:rPr>
              <a:t>:     Internal Generated Revenue</a:t>
            </a:r>
          </a:p>
        </p:txBody>
      </p:sp>
      <p:sp>
        <p:nvSpPr>
          <p:cNvPr id="23678" name="TextBox 152">
            <a:extLst>
              <a:ext uri="{FF2B5EF4-FFF2-40B4-BE49-F238E27FC236}">
                <a16:creationId xmlns:a16="http://schemas.microsoft.com/office/drawing/2014/main" id="{BFAF6896-F732-45FC-AC47-950DF99D9E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4575" y="1133316"/>
            <a:ext cx="3723755" cy="16927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15888" indent="-11588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Unique climate and favourable weathe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Soil for exotic crops, vegetables and frui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MY" sz="1300" dirty="0">
                <a:latin typeface="Calibri" panose="020F0502020204030204" pitchFamily="34" charset="0"/>
              </a:rPr>
              <a:t>Arabica; the World’s best coffee specie is cultivated in the Stat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Potentially West Africa’s largest potato producer (90% of Nigeria’s total output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13+ tourist attraction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Agro-Cargo dry port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D4E23C6-26A0-4545-B8F7-7007C8EEBFE4}"/>
              </a:ext>
            </a:extLst>
          </p:cNvPr>
          <p:cNvSpPr txBox="1"/>
          <p:nvPr/>
        </p:nvSpPr>
        <p:spPr>
          <a:xfrm>
            <a:off x="4338638" y="5265738"/>
            <a:ext cx="247491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id you know?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132" name="Text Placeholder 42">
            <a:extLst>
              <a:ext uri="{FF2B5EF4-FFF2-40B4-BE49-F238E27FC236}">
                <a16:creationId xmlns:a16="http://schemas.microsoft.com/office/drawing/2014/main" id="{D510D0DC-1548-4249-8DB1-9A1055126D07}"/>
              </a:ext>
            </a:extLst>
          </p:cNvPr>
          <p:cNvSpPr txBox="1">
            <a:spLocks/>
          </p:cNvSpPr>
          <p:nvPr/>
        </p:nvSpPr>
        <p:spPr>
          <a:xfrm>
            <a:off x="522288" y="5511800"/>
            <a:ext cx="3733800" cy="701675"/>
          </a:xfrm>
          <a:prstGeom prst="rect">
            <a:avLst/>
          </a:prstGeom>
        </p:spPr>
        <p:txBody>
          <a:bodyPr lIns="36576" tIns="0" rIns="36576" bIns="0"/>
          <a:lstStyle>
            <a:lvl1pPr marL="0" indent="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/>
              <a:buNone/>
              <a:defRPr sz="800" b="1" baseline="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6575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93763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 charset="0"/>
              <a:buChar char="►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50950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619250" indent="-188913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0764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25336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29908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34480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NIGERIAN INVESTMENT PROMOTION COMMISSION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>
                <a:solidFill>
                  <a:schemeClr val="tx1"/>
                </a:solidFill>
                <a:hlinkClick r:id="rId7"/>
              </a:rPr>
              <a:t>statesco@nipc.gov.ng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endParaRPr lang="en-US" sz="5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000" kern="0" dirty="0">
                <a:solidFill>
                  <a:schemeClr val="tx1"/>
                </a:solidFill>
              </a:rPr>
              <a:t>PLATEAU INVESTMENT &amp; PROPERTY DEVELOPMENT COMPANY</a:t>
            </a: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 err="1">
                <a:solidFill>
                  <a:schemeClr val="tx1"/>
                </a:solidFill>
                <a:hlinkClick r:id="rId8"/>
              </a:rPr>
              <a:t>chrisyilzak@yahoo.com</a:t>
            </a:r>
            <a:r>
              <a:rPr lang="en-US" sz="1000" b="0" kern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44" name="Oval 143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238751" y="3833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8" name="Oval 147">
            <a:extLst>
              <a:ext uri="{FF2B5EF4-FFF2-40B4-BE49-F238E27FC236}">
                <a16:creationId xmlns:a16="http://schemas.microsoft.com/office/drawing/2014/main" id="{FF015425-7997-4612-9D0E-1F6C433DFCC7}"/>
              </a:ext>
            </a:extLst>
          </p:cNvPr>
          <p:cNvSpPr/>
          <p:nvPr/>
        </p:nvSpPr>
        <p:spPr>
          <a:xfrm>
            <a:off x="6080877" y="3040856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2" name="Oval 151">
            <a:extLst>
              <a:ext uri="{FF2B5EF4-FFF2-40B4-BE49-F238E27FC236}">
                <a16:creationId xmlns:a16="http://schemas.microsoft.com/office/drawing/2014/main" id="{4C0B7457-CABD-4AC8-8A1A-1FD468581E4D}"/>
              </a:ext>
            </a:extLst>
          </p:cNvPr>
          <p:cNvSpPr/>
          <p:nvPr/>
        </p:nvSpPr>
        <p:spPr>
          <a:xfrm>
            <a:off x="6784796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3" name="Oval 152">
            <a:extLst>
              <a:ext uri="{FF2B5EF4-FFF2-40B4-BE49-F238E27FC236}">
                <a16:creationId xmlns:a16="http://schemas.microsoft.com/office/drawing/2014/main" id="{2D626A89-F50C-45A3-9271-5D3F2EEA9C83}"/>
              </a:ext>
            </a:extLst>
          </p:cNvPr>
          <p:cNvSpPr/>
          <p:nvPr/>
        </p:nvSpPr>
        <p:spPr>
          <a:xfrm>
            <a:off x="7518399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4" name="Oval 153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240713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5" name="Oval 154">
            <a:extLst>
              <a:ext uri="{FF2B5EF4-FFF2-40B4-BE49-F238E27FC236}">
                <a16:creationId xmlns:a16="http://schemas.microsoft.com/office/drawing/2014/main" id="{4D1FAA17-3EFF-404B-B4C4-B468BCE2E9A5}"/>
              </a:ext>
            </a:extLst>
          </p:cNvPr>
          <p:cNvSpPr/>
          <p:nvPr/>
        </p:nvSpPr>
        <p:spPr>
          <a:xfrm>
            <a:off x="6078265" y="3836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6" name="Oval 155">
            <a:extLst>
              <a:ext uri="{FF2B5EF4-FFF2-40B4-BE49-F238E27FC236}">
                <a16:creationId xmlns:a16="http://schemas.microsoft.com/office/drawing/2014/main" id="{E861211D-5D09-4577-8A09-FD96D972A5D4}"/>
              </a:ext>
            </a:extLst>
          </p:cNvPr>
          <p:cNvSpPr/>
          <p:nvPr/>
        </p:nvSpPr>
        <p:spPr>
          <a:xfrm>
            <a:off x="6780509" y="3833831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7" name="Oval 156">
            <a:extLst>
              <a:ext uri="{FF2B5EF4-FFF2-40B4-BE49-F238E27FC236}">
                <a16:creationId xmlns:a16="http://schemas.microsoft.com/office/drawing/2014/main" id="{3CBEFD1C-6360-47CD-AEDD-DFB49FC0E0C7}"/>
              </a:ext>
            </a:extLst>
          </p:cNvPr>
          <p:cNvSpPr/>
          <p:nvPr/>
        </p:nvSpPr>
        <p:spPr>
          <a:xfrm>
            <a:off x="7518603" y="3830834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8" name="Oval 157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953126" y="3843338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9" name="Oval 158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955088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29" name="Picture 128">
            <a:extLst>
              <a:ext uri="{FF2B5EF4-FFF2-40B4-BE49-F238E27FC236}">
                <a16:creationId xmlns:a16="http://schemas.microsoft.com/office/drawing/2014/main" id="{014B277C-FA20-4F6B-B0E0-01361BE82C2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39550" t="7753" r="40397" b="72426"/>
          <a:stretch/>
        </p:blipFill>
        <p:spPr>
          <a:xfrm>
            <a:off x="6127512" y="3088946"/>
            <a:ext cx="488693" cy="483015"/>
          </a:xfrm>
          <a:prstGeom prst="rect">
            <a:avLst/>
          </a:prstGeom>
        </p:spPr>
      </p:pic>
      <p:pic>
        <p:nvPicPr>
          <p:cNvPr id="131" name="Picture 130">
            <a:extLst>
              <a:ext uri="{FF2B5EF4-FFF2-40B4-BE49-F238E27FC236}">
                <a16:creationId xmlns:a16="http://schemas.microsoft.com/office/drawing/2014/main" id="{A16203D6-3E70-494E-8D6B-00982D8F32A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850347" y="3103390"/>
            <a:ext cx="463336" cy="463336"/>
          </a:xfrm>
          <a:prstGeom prst="rect">
            <a:avLst/>
          </a:prstGeom>
        </p:spPr>
      </p:pic>
      <p:pic>
        <p:nvPicPr>
          <p:cNvPr id="133" name="Picture 3"/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38693" y="3024756"/>
            <a:ext cx="541228" cy="6188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8" name="Picture 137" descr="Maize.jpg">
            <a:extLst>
              <a:ext uri="{FF2B5EF4-FFF2-40B4-BE49-F238E27FC236}">
                <a16:creationId xmlns:a16="http://schemas.microsoft.com/office/drawing/2014/main" id="{2067A339-BF94-4669-BB7F-40A6146D997C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790230" y="3882633"/>
            <a:ext cx="604911" cy="591587"/>
          </a:xfrm>
          <a:prstGeom prst="rect">
            <a:avLst/>
          </a:prstGeom>
        </p:spPr>
      </p:pic>
      <p:pic>
        <p:nvPicPr>
          <p:cNvPr id="143" name="Picture 142">
            <a:extLst>
              <a:ext uri="{FF2B5EF4-FFF2-40B4-BE49-F238E27FC236}">
                <a16:creationId xmlns:a16="http://schemas.microsoft.com/office/drawing/2014/main" id="{29207FB4-4715-4B42-A1CD-07ECB53C47C2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956446" y="3913715"/>
            <a:ext cx="610913" cy="500062"/>
          </a:xfrm>
          <a:prstGeom prst="rect">
            <a:avLst/>
          </a:prstGeom>
        </p:spPr>
      </p:pic>
      <p:pic>
        <p:nvPicPr>
          <p:cNvPr id="145" name="Picture 144">
            <a:extLst>
              <a:ext uri="{FF2B5EF4-FFF2-40B4-BE49-F238E27FC236}">
                <a16:creationId xmlns:a16="http://schemas.microsoft.com/office/drawing/2014/main" id="{E2A228DA-66E2-4EB3-9B8A-3F559FB971D9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flipH="1">
            <a:off x="7611171" y="3143693"/>
            <a:ext cx="394800" cy="400111"/>
          </a:xfrm>
          <a:prstGeom prst="rect">
            <a:avLst/>
          </a:prstGeom>
        </p:spPr>
      </p:pic>
      <p:sp>
        <p:nvSpPr>
          <p:cNvPr id="147" name="TextBox 146">
            <a:extLst>
              <a:ext uri="{FF2B5EF4-FFF2-40B4-BE49-F238E27FC236}">
                <a16:creationId xmlns:a16="http://schemas.microsoft.com/office/drawing/2014/main" id="{D0A41506-8873-4C2F-B45B-4459F0229CA3}"/>
              </a:ext>
            </a:extLst>
          </p:cNvPr>
          <p:cNvSpPr txBox="1"/>
          <p:nvPr/>
        </p:nvSpPr>
        <p:spPr>
          <a:xfrm>
            <a:off x="4374578" y="4541674"/>
            <a:ext cx="17988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te Investment Certification Process Not Started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295256" y="5418965"/>
            <a:ext cx="2563810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GB" sz="1300" dirty="0">
                <a:latin typeface="Calibri" panose="020F0502020204030204" pitchFamily="34" charset="0"/>
                <a:cs typeface="Calibri" panose="020F0502020204030204" pitchFamily="34" charset="0"/>
              </a:rPr>
              <a:t>The Nigerian Television Authority (NTA) Jos, was the first </a:t>
            </a:r>
            <a:r>
              <a:rPr lang="en-GB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color</a:t>
            </a:r>
            <a:r>
              <a:rPr lang="en-GB" sz="1300" dirty="0">
                <a:latin typeface="Calibri" panose="020F0502020204030204" pitchFamily="34" charset="0"/>
                <a:cs typeface="Calibri" panose="020F0502020204030204" pitchFamily="34" charset="0"/>
              </a:rPr>
              <a:t> television station in West Africa.</a:t>
            </a:r>
            <a:endParaRPr lang="en-US" sz="13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1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66" t="11406" r="17323" b="25622"/>
          <a:stretch/>
        </p:blipFill>
        <p:spPr>
          <a:xfrm>
            <a:off x="8336867" y="3132676"/>
            <a:ext cx="412166" cy="41322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1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61" r="9130" b="20482"/>
          <a:stretch/>
        </p:blipFill>
        <p:spPr>
          <a:xfrm>
            <a:off x="6134173" y="3894053"/>
            <a:ext cx="487090" cy="50231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33" r="5596" b="13574"/>
          <a:stretch/>
        </p:blipFill>
        <p:spPr>
          <a:xfrm>
            <a:off x="7559025" y="3891921"/>
            <a:ext cx="502894" cy="49462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409582" y="3845960"/>
            <a:ext cx="273865" cy="566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48580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Pentagon 19">
            <a:extLst>
              <a:ext uri="{FF2B5EF4-FFF2-40B4-BE49-F238E27FC236}">
                <a16:creationId xmlns:a16="http://schemas.microsoft.com/office/drawing/2014/main" id="{CAD93C59-72A9-4F6D-A654-02B9F8A5EFF9}"/>
              </a:ext>
            </a:extLst>
          </p:cNvPr>
          <p:cNvSpPr>
            <a:spLocks/>
          </p:cNvSpPr>
          <p:nvPr/>
        </p:nvSpPr>
        <p:spPr bwMode="auto">
          <a:xfrm>
            <a:off x="756602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36 of 37</a:t>
            </a:r>
          </a:p>
        </p:txBody>
      </p:sp>
      <p:sp>
        <p:nvSpPr>
          <p:cNvPr id="376" name="Pentagon 19">
            <a:extLst>
              <a:ext uri="{FF2B5EF4-FFF2-40B4-BE49-F238E27FC236}">
                <a16:creationId xmlns:a16="http://schemas.microsoft.com/office/drawing/2014/main" id="{1BDC5465-6022-4404-B4D8-ED55CF961B8A}"/>
              </a:ext>
            </a:extLst>
          </p:cNvPr>
          <p:cNvSpPr>
            <a:spLocks/>
          </p:cNvSpPr>
          <p:nvPr/>
        </p:nvSpPr>
        <p:spPr bwMode="auto">
          <a:xfrm>
            <a:off x="824865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36 of 3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57F1EBC-D01A-4083-B657-63AFB1490839}"/>
              </a:ext>
            </a:extLst>
          </p:cNvPr>
          <p:cNvSpPr txBox="1"/>
          <p:nvPr/>
        </p:nvSpPr>
        <p:spPr>
          <a:xfrm>
            <a:off x="6122988" y="2749550"/>
            <a:ext cx="3475037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nvestment Opportunit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D251BD-538A-4F4F-847E-620EEDA298A0}"/>
              </a:ext>
            </a:extLst>
          </p:cNvPr>
          <p:cNvSpPr txBox="1"/>
          <p:nvPr/>
        </p:nvSpPr>
        <p:spPr>
          <a:xfrm>
            <a:off x="6881813" y="4632911"/>
            <a:ext cx="2697162" cy="33855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oing Business Ranking(2018)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1B8F13C-F732-4DA1-9250-DB02936E7688}"/>
              </a:ext>
            </a:extLst>
          </p:cNvPr>
          <p:cNvSpPr/>
          <p:nvPr/>
        </p:nvSpPr>
        <p:spPr>
          <a:xfrm>
            <a:off x="756602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Registering Propert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6BA1818-32ED-44D1-975C-958200BDD124}"/>
              </a:ext>
            </a:extLst>
          </p:cNvPr>
          <p:cNvSpPr/>
          <p:nvPr/>
        </p:nvSpPr>
        <p:spPr>
          <a:xfrm>
            <a:off x="8248650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Dealing with Construction Permits</a:t>
            </a:r>
          </a:p>
        </p:txBody>
      </p:sp>
      <p:sp>
        <p:nvSpPr>
          <p:cNvPr id="23560" name="TextBox 174">
            <a:extLst>
              <a:ext uri="{FF2B5EF4-FFF2-40B4-BE49-F238E27FC236}">
                <a16:creationId xmlns:a16="http://schemas.microsoft.com/office/drawing/2014/main" id="{1573FD4E-62B9-45E8-8F28-CED990ED2D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0B63A6C-2A5E-4CA3-BC66-4CBC6008BC9A}"/>
              </a:ext>
            </a:extLst>
          </p:cNvPr>
          <p:cNvSpPr/>
          <p:nvPr/>
        </p:nvSpPr>
        <p:spPr>
          <a:xfrm>
            <a:off x="893127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Enforcing Contracts</a:t>
            </a:r>
          </a:p>
        </p:txBody>
      </p:sp>
      <p:pic>
        <p:nvPicPr>
          <p:cNvPr id="23562" name="Picture 4">
            <a:extLst>
              <a:ext uri="{FF2B5EF4-FFF2-40B4-BE49-F238E27FC236}">
                <a16:creationId xmlns:a16="http://schemas.microsoft.com/office/drawing/2014/main" id="{7C8EEAB2-0239-4BB5-94B3-23E319AF1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513" y="5249863"/>
            <a:ext cx="439737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6" name="Pentagon 19">
            <a:extLst>
              <a:ext uri="{FF2B5EF4-FFF2-40B4-BE49-F238E27FC236}">
                <a16:creationId xmlns:a16="http://schemas.microsoft.com/office/drawing/2014/main" id="{5F8E9670-D71A-4765-B6B5-D711BC9AD6E1}"/>
              </a:ext>
            </a:extLst>
          </p:cNvPr>
          <p:cNvSpPr>
            <a:spLocks/>
          </p:cNvSpPr>
          <p:nvPr/>
        </p:nvSpPr>
        <p:spPr bwMode="auto">
          <a:xfrm>
            <a:off x="893127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6</a:t>
            </a:r>
            <a:r>
              <a:rPr lang="en-GB" sz="1000" baseline="3000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of 37</a:t>
            </a:r>
          </a:p>
        </p:txBody>
      </p:sp>
      <p:sp>
        <p:nvSpPr>
          <p:cNvPr id="23564" name="Title 3">
            <a:extLst>
              <a:ext uri="{FF2B5EF4-FFF2-40B4-BE49-F238E27FC236}">
                <a16:creationId xmlns:a16="http://schemas.microsoft.com/office/drawing/2014/main" id="{C62A749B-CFC7-4224-A789-D20A772AC33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77813" y="222250"/>
            <a:ext cx="8543925" cy="5619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en-GB" alt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ivers State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6882DF2C-9120-4A66-8487-575D9494F4D6}"/>
              </a:ext>
            </a:extLst>
          </p:cNvPr>
          <p:cNvSpPr txBox="1"/>
          <p:nvPr/>
        </p:nvSpPr>
        <p:spPr>
          <a:xfrm rot="16200000">
            <a:off x="-2290084" y="3478372"/>
            <a:ext cx="5303837" cy="2743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Treasure Base of the Nation</a:t>
            </a:r>
          </a:p>
        </p:txBody>
      </p:sp>
      <p:grpSp>
        <p:nvGrpSpPr>
          <p:cNvPr id="23566" name="Group 9">
            <a:extLst>
              <a:ext uri="{FF2B5EF4-FFF2-40B4-BE49-F238E27FC236}">
                <a16:creationId xmlns:a16="http://schemas.microsoft.com/office/drawing/2014/main" id="{5B6131BD-3CE3-4FC4-B13A-FA9B797C1EF5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41338" y="963613"/>
            <a:ext cx="2897187" cy="2319337"/>
            <a:chOff x="770228" y="1459989"/>
            <a:chExt cx="4081047" cy="3267527"/>
          </a:xfrm>
        </p:grpSpPr>
        <p:sp>
          <p:nvSpPr>
            <p:cNvPr id="299" name="Freeform 4">
              <a:extLst>
                <a:ext uri="{FF2B5EF4-FFF2-40B4-BE49-F238E27FC236}">
                  <a16:creationId xmlns:a16="http://schemas.microsoft.com/office/drawing/2014/main" id="{B6150C82-CBE5-48B4-B60C-C210BB7B26A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91538" y="4349548"/>
              <a:ext cx="418167" cy="377968"/>
            </a:xfrm>
            <a:custGeom>
              <a:avLst/>
              <a:gdLst>
                <a:gd name="T0" fmla="*/ 12 w 786"/>
                <a:gd name="T1" fmla="*/ 19 h 714"/>
                <a:gd name="T2" fmla="*/ 22 w 786"/>
                <a:gd name="T3" fmla="*/ 18 h 714"/>
                <a:gd name="T4" fmla="*/ 27 w 786"/>
                <a:gd name="T5" fmla="*/ 17 h 714"/>
                <a:gd name="T6" fmla="*/ 30 w 786"/>
                <a:gd name="T7" fmla="*/ 14 h 714"/>
                <a:gd name="T8" fmla="*/ 37 w 786"/>
                <a:gd name="T9" fmla="*/ 16 h 714"/>
                <a:gd name="T10" fmla="*/ 43 w 786"/>
                <a:gd name="T11" fmla="*/ 13 h 714"/>
                <a:gd name="T12" fmla="*/ 48 w 786"/>
                <a:gd name="T13" fmla="*/ 8 h 714"/>
                <a:gd name="T14" fmla="*/ 55 w 786"/>
                <a:gd name="T15" fmla="*/ 4 h 714"/>
                <a:gd name="T16" fmla="*/ 66 w 786"/>
                <a:gd name="T17" fmla="*/ 0 h 714"/>
                <a:gd name="T18" fmla="*/ 63 w 786"/>
                <a:gd name="T19" fmla="*/ 12 h 714"/>
                <a:gd name="T20" fmla="*/ 59 w 786"/>
                <a:gd name="T21" fmla="*/ 19 h 714"/>
                <a:gd name="T22" fmla="*/ 57 w 786"/>
                <a:gd name="T23" fmla="*/ 29 h 714"/>
                <a:gd name="T24" fmla="*/ 59 w 786"/>
                <a:gd name="T25" fmla="*/ 36 h 714"/>
                <a:gd name="T26" fmla="*/ 66 w 786"/>
                <a:gd name="T27" fmla="*/ 35 h 714"/>
                <a:gd name="T28" fmla="*/ 64 w 786"/>
                <a:gd name="T29" fmla="*/ 41 h 714"/>
                <a:gd name="T30" fmla="*/ 64 w 786"/>
                <a:gd name="T31" fmla="*/ 48 h 714"/>
                <a:gd name="T32" fmla="*/ 63 w 786"/>
                <a:gd name="T33" fmla="*/ 56 h 714"/>
                <a:gd name="T34" fmla="*/ 60 w 786"/>
                <a:gd name="T35" fmla="*/ 60 h 714"/>
                <a:gd name="T36" fmla="*/ 57 w 786"/>
                <a:gd name="T37" fmla="*/ 58 h 714"/>
                <a:gd name="T38" fmla="*/ 54 w 786"/>
                <a:gd name="T39" fmla="*/ 54 h 714"/>
                <a:gd name="T40" fmla="*/ 53 w 786"/>
                <a:gd name="T41" fmla="*/ 51 h 714"/>
                <a:gd name="T42" fmla="*/ 51 w 786"/>
                <a:gd name="T43" fmla="*/ 53 h 714"/>
                <a:gd name="T44" fmla="*/ 49 w 786"/>
                <a:gd name="T45" fmla="*/ 54 h 714"/>
                <a:gd name="T46" fmla="*/ 47 w 786"/>
                <a:gd name="T47" fmla="*/ 50 h 714"/>
                <a:gd name="T48" fmla="*/ 48 w 786"/>
                <a:gd name="T49" fmla="*/ 54 h 714"/>
                <a:gd name="T50" fmla="*/ 47 w 786"/>
                <a:gd name="T51" fmla="*/ 54 h 714"/>
                <a:gd name="T52" fmla="*/ 46 w 786"/>
                <a:gd name="T53" fmla="*/ 59 h 714"/>
                <a:gd name="T54" fmla="*/ 47 w 786"/>
                <a:gd name="T55" fmla="*/ 62 h 714"/>
                <a:gd name="T56" fmla="*/ 42 w 786"/>
                <a:gd name="T57" fmla="*/ 62 h 714"/>
                <a:gd name="T58" fmla="*/ 39 w 786"/>
                <a:gd name="T59" fmla="*/ 57 h 714"/>
                <a:gd name="T60" fmla="*/ 40 w 786"/>
                <a:gd name="T61" fmla="*/ 54 h 714"/>
                <a:gd name="T62" fmla="*/ 43 w 786"/>
                <a:gd name="T63" fmla="*/ 55 h 714"/>
                <a:gd name="T64" fmla="*/ 40 w 786"/>
                <a:gd name="T65" fmla="*/ 53 h 714"/>
                <a:gd name="T66" fmla="*/ 38 w 786"/>
                <a:gd name="T67" fmla="*/ 57 h 714"/>
                <a:gd name="T68" fmla="*/ 37 w 786"/>
                <a:gd name="T69" fmla="*/ 57 h 714"/>
                <a:gd name="T70" fmla="*/ 37 w 786"/>
                <a:gd name="T71" fmla="*/ 60 h 714"/>
                <a:gd name="T72" fmla="*/ 33 w 786"/>
                <a:gd name="T73" fmla="*/ 56 h 714"/>
                <a:gd name="T74" fmla="*/ 32 w 786"/>
                <a:gd name="T75" fmla="*/ 58 h 714"/>
                <a:gd name="T76" fmla="*/ 26 w 786"/>
                <a:gd name="T77" fmla="*/ 54 h 714"/>
                <a:gd name="T78" fmla="*/ 26 w 786"/>
                <a:gd name="T79" fmla="*/ 54 h 714"/>
                <a:gd name="T80" fmla="*/ 24 w 786"/>
                <a:gd name="T81" fmla="*/ 51 h 714"/>
                <a:gd name="T82" fmla="*/ 22 w 786"/>
                <a:gd name="T83" fmla="*/ 51 h 714"/>
                <a:gd name="T84" fmla="*/ 20 w 786"/>
                <a:gd name="T85" fmla="*/ 50 h 714"/>
                <a:gd name="T86" fmla="*/ 20 w 786"/>
                <a:gd name="T87" fmla="*/ 48 h 714"/>
                <a:gd name="T88" fmla="*/ 18 w 786"/>
                <a:gd name="T89" fmla="*/ 47 h 714"/>
                <a:gd name="T90" fmla="*/ 15 w 786"/>
                <a:gd name="T91" fmla="*/ 45 h 714"/>
                <a:gd name="T92" fmla="*/ 11 w 786"/>
                <a:gd name="T93" fmla="*/ 39 h 714"/>
                <a:gd name="T94" fmla="*/ 12 w 786"/>
                <a:gd name="T95" fmla="*/ 36 h 714"/>
                <a:gd name="T96" fmla="*/ 7 w 786"/>
                <a:gd name="T97" fmla="*/ 33 h 714"/>
                <a:gd name="T98" fmla="*/ 5 w 786"/>
                <a:gd name="T99" fmla="*/ 28 h 714"/>
                <a:gd name="T100" fmla="*/ 7 w 786"/>
                <a:gd name="T101" fmla="*/ 30 h 714"/>
                <a:gd name="T102" fmla="*/ 4 w 786"/>
                <a:gd name="T103" fmla="*/ 24 h 714"/>
                <a:gd name="T104" fmla="*/ 2 w 786"/>
                <a:gd name="T105" fmla="*/ 20 h 714"/>
                <a:gd name="T106" fmla="*/ 0 w 786"/>
                <a:gd name="T107" fmla="*/ 15 h 714"/>
                <a:gd name="T108" fmla="*/ 4 w 786"/>
                <a:gd name="T109" fmla="*/ 16 h 714"/>
                <a:gd name="T110" fmla="*/ 55 w 786"/>
                <a:gd name="T111" fmla="*/ 60 h 714"/>
                <a:gd name="T112" fmla="*/ 47 w 786"/>
                <a:gd name="T113" fmla="*/ 60 h 714"/>
                <a:gd name="T114" fmla="*/ 51 w 786"/>
                <a:gd name="T115" fmla="*/ 54 h 714"/>
                <a:gd name="T116" fmla="*/ 54 w 786"/>
                <a:gd name="T117" fmla="*/ 56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86"/>
                <a:gd name="T178" fmla="*/ 0 h 714"/>
                <a:gd name="T179" fmla="*/ 786 w 786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86" h="714">
                  <a:moveTo>
                    <a:pt x="54" y="186"/>
                  </a:moveTo>
                  <a:lnTo>
                    <a:pt x="54" y="192"/>
                  </a:lnTo>
                  <a:lnTo>
                    <a:pt x="72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204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20" y="210"/>
                  </a:lnTo>
                  <a:lnTo>
                    <a:pt x="126" y="210"/>
                  </a:lnTo>
                  <a:lnTo>
                    <a:pt x="132" y="210"/>
                  </a:lnTo>
                  <a:lnTo>
                    <a:pt x="132" y="216"/>
                  </a:lnTo>
                  <a:lnTo>
                    <a:pt x="138" y="222"/>
                  </a:lnTo>
                  <a:lnTo>
                    <a:pt x="150" y="222"/>
                  </a:lnTo>
                  <a:lnTo>
                    <a:pt x="162" y="234"/>
                  </a:lnTo>
                  <a:lnTo>
                    <a:pt x="168" y="240"/>
                  </a:lnTo>
                  <a:lnTo>
                    <a:pt x="180" y="240"/>
                  </a:lnTo>
                  <a:lnTo>
                    <a:pt x="186" y="228"/>
                  </a:lnTo>
                  <a:lnTo>
                    <a:pt x="210" y="234"/>
                  </a:lnTo>
                  <a:lnTo>
                    <a:pt x="222" y="228"/>
                  </a:lnTo>
                  <a:lnTo>
                    <a:pt x="228" y="216"/>
                  </a:lnTo>
                  <a:lnTo>
                    <a:pt x="234" y="210"/>
                  </a:lnTo>
                  <a:lnTo>
                    <a:pt x="240" y="216"/>
                  </a:lnTo>
                  <a:lnTo>
                    <a:pt x="246" y="210"/>
                  </a:lnTo>
                  <a:lnTo>
                    <a:pt x="252" y="210"/>
                  </a:lnTo>
                  <a:lnTo>
                    <a:pt x="258" y="210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192"/>
                  </a:lnTo>
                  <a:lnTo>
                    <a:pt x="270" y="192"/>
                  </a:lnTo>
                  <a:lnTo>
                    <a:pt x="276" y="192"/>
                  </a:lnTo>
                  <a:lnTo>
                    <a:pt x="282" y="192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192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198"/>
                  </a:lnTo>
                  <a:lnTo>
                    <a:pt x="312" y="198"/>
                  </a:lnTo>
                  <a:lnTo>
                    <a:pt x="312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24" y="186"/>
                  </a:lnTo>
                  <a:lnTo>
                    <a:pt x="318" y="180"/>
                  </a:lnTo>
                  <a:lnTo>
                    <a:pt x="324" y="180"/>
                  </a:lnTo>
                  <a:lnTo>
                    <a:pt x="330" y="186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74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54" y="144"/>
                  </a:lnTo>
                  <a:lnTo>
                    <a:pt x="360" y="144"/>
                  </a:lnTo>
                  <a:lnTo>
                    <a:pt x="372" y="156"/>
                  </a:lnTo>
                  <a:lnTo>
                    <a:pt x="372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96" y="168"/>
                  </a:lnTo>
                  <a:lnTo>
                    <a:pt x="396" y="174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26" y="186"/>
                  </a:lnTo>
                  <a:lnTo>
                    <a:pt x="432" y="186"/>
                  </a:lnTo>
                  <a:lnTo>
                    <a:pt x="438" y="180"/>
                  </a:lnTo>
                  <a:lnTo>
                    <a:pt x="438" y="168"/>
                  </a:lnTo>
                  <a:lnTo>
                    <a:pt x="438" y="162"/>
                  </a:lnTo>
                  <a:lnTo>
                    <a:pt x="444" y="156"/>
                  </a:lnTo>
                  <a:lnTo>
                    <a:pt x="450" y="156"/>
                  </a:lnTo>
                  <a:lnTo>
                    <a:pt x="456" y="150"/>
                  </a:lnTo>
                  <a:lnTo>
                    <a:pt x="462" y="156"/>
                  </a:lnTo>
                  <a:lnTo>
                    <a:pt x="468" y="162"/>
                  </a:lnTo>
                  <a:lnTo>
                    <a:pt x="474" y="162"/>
                  </a:lnTo>
                  <a:lnTo>
                    <a:pt x="486" y="162"/>
                  </a:lnTo>
                  <a:lnTo>
                    <a:pt x="492" y="156"/>
                  </a:lnTo>
                  <a:lnTo>
                    <a:pt x="498" y="150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28" y="126"/>
                  </a:lnTo>
                  <a:lnTo>
                    <a:pt x="522" y="120"/>
                  </a:lnTo>
                  <a:lnTo>
                    <a:pt x="522" y="114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28" y="102"/>
                  </a:lnTo>
                  <a:lnTo>
                    <a:pt x="534" y="96"/>
                  </a:lnTo>
                  <a:lnTo>
                    <a:pt x="552" y="96"/>
                  </a:lnTo>
                  <a:lnTo>
                    <a:pt x="570" y="102"/>
                  </a:lnTo>
                  <a:lnTo>
                    <a:pt x="582" y="96"/>
                  </a:lnTo>
                  <a:lnTo>
                    <a:pt x="582" y="90"/>
                  </a:lnTo>
                  <a:lnTo>
                    <a:pt x="582" y="78"/>
                  </a:lnTo>
                  <a:lnTo>
                    <a:pt x="582" y="72"/>
                  </a:lnTo>
                  <a:lnTo>
                    <a:pt x="582" y="66"/>
                  </a:lnTo>
                  <a:lnTo>
                    <a:pt x="594" y="60"/>
                  </a:lnTo>
                  <a:lnTo>
                    <a:pt x="600" y="60"/>
                  </a:lnTo>
                  <a:lnTo>
                    <a:pt x="606" y="54"/>
                  </a:lnTo>
                  <a:lnTo>
                    <a:pt x="618" y="48"/>
                  </a:lnTo>
                  <a:lnTo>
                    <a:pt x="618" y="42"/>
                  </a:lnTo>
                  <a:lnTo>
                    <a:pt x="624" y="42"/>
                  </a:lnTo>
                  <a:lnTo>
                    <a:pt x="636" y="48"/>
                  </a:lnTo>
                  <a:lnTo>
                    <a:pt x="648" y="54"/>
                  </a:lnTo>
                  <a:lnTo>
                    <a:pt x="660" y="54"/>
                  </a:lnTo>
                  <a:lnTo>
                    <a:pt x="666" y="60"/>
                  </a:lnTo>
                  <a:lnTo>
                    <a:pt x="672" y="54"/>
                  </a:lnTo>
                  <a:lnTo>
                    <a:pt x="684" y="48"/>
                  </a:lnTo>
                  <a:lnTo>
                    <a:pt x="708" y="42"/>
                  </a:lnTo>
                  <a:lnTo>
                    <a:pt x="714" y="42"/>
                  </a:lnTo>
                  <a:lnTo>
                    <a:pt x="720" y="36"/>
                  </a:lnTo>
                  <a:lnTo>
                    <a:pt x="720" y="30"/>
                  </a:lnTo>
                  <a:lnTo>
                    <a:pt x="714" y="12"/>
                  </a:lnTo>
                  <a:lnTo>
                    <a:pt x="708" y="0"/>
                  </a:lnTo>
                  <a:lnTo>
                    <a:pt x="738" y="6"/>
                  </a:lnTo>
                  <a:lnTo>
                    <a:pt x="756" y="6"/>
                  </a:lnTo>
                  <a:lnTo>
                    <a:pt x="762" y="42"/>
                  </a:lnTo>
                  <a:lnTo>
                    <a:pt x="738" y="72"/>
                  </a:lnTo>
                  <a:lnTo>
                    <a:pt x="750" y="90"/>
                  </a:lnTo>
                  <a:lnTo>
                    <a:pt x="762" y="96"/>
                  </a:lnTo>
                  <a:lnTo>
                    <a:pt x="756" y="102"/>
                  </a:lnTo>
                  <a:lnTo>
                    <a:pt x="750" y="108"/>
                  </a:lnTo>
                  <a:lnTo>
                    <a:pt x="750" y="114"/>
                  </a:lnTo>
                  <a:lnTo>
                    <a:pt x="750" y="120"/>
                  </a:lnTo>
                  <a:lnTo>
                    <a:pt x="750" y="126"/>
                  </a:lnTo>
                  <a:lnTo>
                    <a:pt x="750" y="132"/>
                  </a:lnTo>
                  <a:lnTo>
                    <a:pt x="738" y="132"/>
                  </a:lnTo>
                  <a:lnTo>
                    <a:pt x="732" y="138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14" y="144"/>
                  </a:lnTo>
                  <a:lnTo>
                    <a:pt x="714" y="150"/>
                  </a:lnTo>
                  <a:lnTo>
                    <a:pt x="720" y="156"/>
                  </a:lnTo>
                  <a:lnTo>
                    <a:pt x="720" y="162"/>
                  </a:lnTo>
                  <a:lnTo>
                    <a:pt x="714" y="162"/>
                  </a:lnTo>
                  <a:lnTo>
                    <a:pt x="708" y="168"/>
                  </a:lnTo>
                  <a:lnTo>
                    <a:pt x="708" y="180"/>
                  </a:lnTo>
                  <a:lnTo>
                    <a:pt x="708" y="192"/>
                  </a:lnTo>
                  <a:lnTo>
                    <a:pt x="696" y="198"/>
                  </a:lnTo>
                  <a:lnTo>
                    <a:pt x="696" y="204"/>
                  </a:lnTo>
                  <a:lnTo>
                    <a:pt x="684" y="210"/>
                  </a:lnTo>
                  <a:lnTo>
                    <a:pt x="684" y="216"/>
                  </a:lnTo>
                  <a:lnTo>
                    <a:pt x="684" y="222"/>
                  </a:lnTo>
                  <a:lnTo>
                    <a:pt x="678" y="228"/>
                  </a:lnTo>
                  <a:lnTo>
                    <a:pt x="678" y="234"/>
                  </a:lnTo>
                  <a:lnTo>
                    <a:pt x="672" y="240"/>
                  </a:lnTo>
                  <a:lnTo>
                    <a:pt x="672" y="252"/>
                  </a:lnTo>
                  <a:lnTo>
                    <a:pt x="672" y="258"/>
                  </a:lnTo>
                  <a:lnTo>
                    <a:pt x="666" y="264"/>
                  </a:lnTo>
                  <a:lnTo>
                    <a:pt x="678" y="264"/>
                  </a:lnTo>
                  <a:lnTo>
                    <a:pt x="684" y="276"/>
                  </a:lnTo>
                  <a:lnTo>
                    <a:pt x="684" y="288"/>
                  </a:lnTo>
                  <a:lnTo>
                    <a:pt x="672" y="300"/>
                  </a:lnTo>
                  <a:lnTo>
                    <a:pt x="660" y="318"/>
                  </a:lnTo>
                  <a:lnTo>
                    <a:pt x="660" y="336"/>
                  </a:lnTo>
                  <a:lnTo>
                    <a:pt x="654" y="342"/>
                  </a:lnTo>
                  <a:lnTo>
                    <a:pt x="660" y="354"/>
                  </a:lnTo>
                  <a:lnTo>
                    <a:pt x="660" y="366"/>
                  </a:lnTo>
                  <a:lnTo>
                    <a:pt x="666" y="378"/>
                  </a:lnTo>
                  <a:lnTo>
                    <a:pt x="672" y="390"/>
                  </a:lnTo>
                  <a:lnTo>
                    <a:pt x="678" y="396"/>
                  </a:lnTo>
                  <a:lnTo>
                    <a:pt x="684" y="390"/>
                  </a:lnTo>
                  <a:lnTo>
                    <a:pt x="690" y="390"/>
                  </a:lnTo>
                  <a:lnTo>
                    <a:pt x="690" y="396"/>
                  </a:lnTo>
                  <a:lnTo>
                    <a:pt x="684" y="396"/>
                  </a:lnTo>
                  <a:lnTo>
                    <a:pt x="684" y="402"/>
                  </a:lnTo>
                  <a:lnTo>
                    <a:pt x="684" y="408"/>
                  </a:lnTo>
                  <a:lnTo>
                    <a:pt x="678" y="414"/>
                  </a:lnTo>
                  <a:lnTo>
                    <a:pt x="684" y="414"/>
                  </a:lnTo>
                  <a:lnTo>
                    <a:pt x="684" y="420"/>
                  </a:lnTo>
                  <a:lnTo>
                    <a:pt x="684" y="426"/>
                  </a:lnTo>
                  <a:lnTo>
                    <a:pt x="690" y="420"/>
                  </a:lnTo>
                  <a:lnTo>
                    <a:pt x="696" y="420"/>
                  </a:lnTo>
                  <a:lnTo>
                    <a:pt x="696" y="426"/>
                  </a:lnTo>
                  <a:lnTo>
                    <a:pt x="690" y="426"/>
                  </a:lnTo>
                  <a:lnTo>
                    <a:pt x="696" y="426"/>
                  </a:lnTo>
                  <a:lnTo>
                    <a:pt x="708" y="426"/>
                  </a:lnTo>
                  <a:lnTo>
                    <a:pt x="726" y="414"/>
                  </a:lnTo>
                  <a:lnTo>
                    <a:pt x="732" y="408"/>
                  </a:lnTo>
                  <a:lnTo>
                    <a:pt x="744" y="402"/>
                  </a:lnTo>
                  <a:lnTo>
                    <a:pt x="756" y="402"/>
                  </a:lnTo>
                  <a:lnTo>
                    <a:pt x="768" y="402"/>
                  </a:lnTo>
                  <a:lnTo>
                    <a:pt x="786" y="408"/>
                  </a:lnTo>
                  <a:lnTo>
                    <a:pt x="786" y="414"/>
                  </a:lnTo>
                  <a:lnTo>
                    <a:pt x="774" y="420"/>
                  </a:lnTo>
                  <a:lnTo>
                    <a:pt x="774" y="426"/>
                  </a:lnTo>
                  <a:lnTo>
                    <a:pt x="768" y="432"/>
                  </a:lnTo>
                  <a:lnTo>
                    <a:pt x="762" y="438"/>
                  </a:lnTo>
                  <a:lnTo>
                    <a:pt x="756" y="438"/>
                  </a:lnTo>
                  <a:lnTo>
                    <a:pt x="756" y="444"/>
                  </a:lnTo>
                  <a:lnTo>
                    <a:pt x="756" y="450"/>
                  </a:lnTo>
                  <a:lnTo>
                    <a:pt x="762" y="450"/>
                  </a:lnTo>
                  <a:lnTo>
                    <a:pt x="750" y="456"/>
                  </a:lnTo>
                  <a:lnTo>
                    <a:pt x="738" y="468"/>
                  </a:lnTo>
                  <a:lnTo>
                    <a:pt x="726" y="480"/>
                  </a:lnTo>
                  <a:lnTo>
                    <a:pt x="726" y="486"/>
                  </a:lnTo>
                  <a:lnTo>
                    <a:pt x="732" y="486"/>
                  </a:lnTo>
                  <a:lnTo>
                    <a:pt x="732" y="492"/>
                  </a:lnTo>
                  <a:lnTo>
                    <a:pt x="732" y="504"/>
                  </a:lnTo>
                  <a:lnTo>
                    <a:pt x="738" y="504"/>
                  </a:lnTo>
                  <a:lnTo>
                    <a:pt x="744" y="510"/>
                  </a:lnTo>
                  <a:lnTo>
                    <a:pt x="738" y="522"/>
                  </a:lnTo>
                  <a:lnTo>
                    <a:pt x="744" y="528"/>
                  </a:lnTo>
                  <a:lnTo>
                    <a:pt x="756" y="534"/>
                  </a:lnTo>
                  <a:lnTo>
                    <a:pt x="756" y="540"/>
                  </a:lnTo>
                  <a:lnTo>
                    <a:pt x="744" y="552"/>
                  </a:lnTo>
                  <a:lnTo>
                    <a:pt x="738" y="552"/>
                  </a:lnTo>
                  <a:lnTo>
                    <a:pt x="738" y="558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64"/>
                  </a:lnTo>
                  <a:lnTo>
                    <a:pt x="744" y="576"/>
                  </a:lnTo>
                  <a:lnTo>
                    <a:pt x="738" y="588"/>
                  </a:lnTo>
                  <a:lnTo>
                    <a:pt x="738" y="594"/>
                  </a:lnTo>
                  <a:lnTo>
                    <a:pt x="738" y="600"/>
                  </a:lnTo>
                  <a:lnTo>
                    <a:pt x="738" y="606"/>
                  </a:lnTo>
                  <a:lnTo>
                    <a:pt x="732" y="612"/>
                  </a:lnTo>
                  <a:lnTo>
                    <a:pt x="726" y="624"/>
                  </a:lnTo>
                  <a:lnTo>
                    <a:pt x="726" y="636"/>
                  </a:lnTo>
                  <a:lnTo>
                    <a:pt x="726" y="648"/>
                  </a:lnTo>
                  <a:lnTo>
                    <a:pt x="738" y="654"/>
                  </a:lnTo>
                  <a:lnTo>
                    <a:pt x="750" y="660"/>
                  </a:lnTo>
                  <a:lnTo>
                    <a:pt x="750" y="666"/>
                  </a:lnTo>
                  <a:lnTo>
                    <a:pt x="750" y="678"/>
                  </a:lnTo>
                  <a:lnTo>
                    <a:pt x="744" y="678"/>
                  </a:lnTo>
                  <a:lnTo>
                    <a:pt x="738" y="684"/>
                  </a:lnTo>
                  <a:lnTo>
                    <a:pt x="732" y="684"/>
                  </a:lnTo>
                  <a:lnTo>
                    <a:pt x="720" y="678"/>
                  </a:lnTo>
                  <a:lnTo>
                    <a:pt x="714" y="684"/>
                  </a:lnTo>
                  <a:lnTo>
                    <a:pt x="708" y="684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0" y="690"/>
                  </a:lnTo>
                  <a:lnTo>
                    <a:pt x="690" y="684"/>
                  </a:lnTo>
                  <a:lnTo>
                    <a:pt x="690" y="690"/>
                  </a:lnTo>
                  <a:lnTo>
                    <a:pt x="684" y="690"/>
                  </a:lnTo>
                  <a:lnTo>
                    <a:pt x="684" y="684"/>
                  </a:lnTo>
                  <a:lnTo>
                    <a:pt x="678" y="684"/>
                  </a:lnTo>
                  <a:lnTo>
                    <a:pt x="672" y="678"/>
                  </a:lnTo>
                  <a:lnTo>
                    <a:pt x="672" y="672"/>
                  </a:lnTo>
                  <a:lnTo>
                    <a:pt x="678" y="672"/>
                  </a:lnTo>
                  <a:lnTo>
                    <a:pt x="672" y="672"/>
                  </a:lnTo>
                  <a:lnTo>
                    <a:pt x="666" y="672"/>
                  </a:lnTo>
                  <a:lnTo>
                    <a:pt x="660" y="672"/>
                  </a:lnTo>
                  <a:lnTo>
                    <a:pt x="654" y="672"/>
                  </a:lnTo>
                  <a:lnTo>
                    <a:pt x="654" y="666"/>
                  </a:lnTo>
                  <a:lnTo>
                    <a:pt x="648" y="666"/>
                  </a:lnTo>
                  <a:lnTo>
                    <a:pt x="642" y="660"/>
                  </a:lnTo>
                  <a:lnTo>
                    <a:pt x="642" y="654"/>
                  </a:lnTo>
                  <a:lnTo>
                    <a:pt x="642" y="648"/>
                  </a:lnTo>
                  <a:lnTo>
                    <a:pt x="636" y="648"/>
                  </a:lnTo>
                  <a:lnTo>
                    <a:pt x="630" y="648"/>
                  </a:lnTo>
                  <a:lnTo>
                    <a:pt x="624" y="648"/>
                  </a:lnTo>
                  <a:lnTo>
                    <a:pt x="624" y="642"/>
                  </a:lnTo>
                  <a:lnTo>
                    <a:pt x="618" y="636"/>
                  </a:lnTo>
                  <a:lnTo>
                    <a:pt x="624" y="636"/>
                  </a:lnTo>
                  <a:lnTo>
                    <a:pt x="624" y="630"/>
                  </a:lnTo>
                  <a:lnTo>
                    <a:pt x="618" y="630"/>
                  </a:lnTo>
                  <a:lnTo>
                    <a:pt x="618" y="624"/>
                  </a:lnTo>
                  <a:lnTo>
                    <a:pt x="618" y="618"/>
                  </a:lnTo>
                  <a:lnTo>
                    <a:pt x="618" y="612"/>
                  </a:lnTo>
                  <a:lnTo>
                    <a:pt x="618" y="606"/>
                  </a:lnTo>
                  <a:lnTo>
                    <a:pt x="624" y="606"/>
                  </a:lnTo>
                  <a:lnTo>
                    <a:pt x="624" y="600"/>
                  </a:lnTo>
                  <a:lnTo>
                    <a:pt x="618" y="600"/>
                  </a:lnTo>
                  <a:lnTo>
                    <a:pt x="618" y="594"/>
                  </a:lnTo>
                  <a:lnTo>
                    <a:pt x="618" y="588"/>
                  </a:lnTo>
                  <a:lnTo>
                    <a:pt x="618" y="582"/>
                  </a:lnTo>
                  <a:lnTo>
                    <a:pt x="612" y="582"/>
                  </a:lnTo>
                  <a:lnTo>
                    <a:pt x="606" y="582"/>
                  </a:lnTo>
                  <a:lnTo>
                    <a:pt x="612" y="582"/>
                  </a:lnTo>
                  <a:lnTo>
                    <a:pt x="612" y="588"/>
                  </a:lnTo>
                  <a:lnTo>
                    <a:pt x="612" y="594"/>
                  </a:lnTo>
                  <a:lnTo>
                    <a:pt x="618" y="594"/>
                  </a:lnTo>
                  <a:lnTo>
                    <a:pt x="618" y="600"/>
                  </a:lnTo>
                  <a:lnTo>
                    <a:pt x="618" y="606"/>
                  </a:lnTo>
                  <a:lnTo>
                    <a:pt x="618" y="612"/>
                  </a:lnTo>
                  <a:lnTo>
                    <a:pt x="612" y="612"/>
                  </a:lnTo>
                  <a:lnTo>
                    <a:pt x="612" y="618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94" y="612"/>
                  </a:lnTo>
                  <a:lnTo>
                    <a:pt x="588" y="606"/>
                  </a:lnTo>
                  <a:lnTo>
                    <a:pt x="588" y="612"/>
                  </a:lnTo>
                  <a:lnTo>
                    <a:pt x="594" y="612"/>
                  </a:lnTo>
                  <a:lnTo>
                    <a:pt x="594" y="618"/>
                  </a:lnTo>
                  <a:lnTo>
                    <a:pt x="588" y="618"/>
                  </a:lnTo>
                  <a:lnTo>
                    <a:pt x="588" y="624"/>
                  </a:lnTo>
                  <a:lnTo>
                    <a:pt x="582" y="624"/>
                  </a:lnTo>
                  <a:lnTo>
                    <a:pt x="582" y="630"/>
                  </a:lnTo>
                  <a:lnTo>
                    <a:pt x="576" y="630"/>
                  </a:lnTo>
                  <a:lnTo>
                    <a:pt x="576" y="636"/>
                  </a:lnTo>
                  <a:lnTo>
                    <a:pt x="570" y="636"/>
                  </a:lnTo>
                  <a:lnTo>
                    <a:pt x="570" y="642"/>
                  </a:lnTo>
                  <a:lnTo>
                    <a:pt x="564" y="642"/>
                  </a:lnTo>
                  <a:lnTo>
                    <a:pt x="564" y="636"/>
                  </a:lnTo>
                  <a:lnTo>
                    <a:pt x="564" y="630"/>
                  </a:lnTo>
                  <a:lnTo>
                    <a:pt x="564" y="624"/>
                  </a:lnTo>
                  <a:lnTo>
                    <a:pt x="564" y="618"/>
                  </a:lnTo>
                  <a:lnTo>
                    <a:pt x="570" y="612"/>
                  </a:lnTo>
                  <a:lnTo>
                    <a:pt x="564" y="606"/>
                  </a:lnTo>
                  <a:lnTo>
                    <a:pt x="564" y="600"/>
                  </a:lnTo>
                  <a:lnTo>
                    <a:pt x="564" y="594"/>
                  </a:lnTo>
                  <a:lnTo>
                    <a:pt x="558" y="594"/>
                  </a:lnTo>
                  <a:lnTo>
                    <a:pt x="558" y="588"/>
                  </a:lnTo>
                  <a:lnTo>
                    <a:pt x="552" y="582"/>
                  </a:lnTo>
                  <a:lnTo>
                    <a:pt x="552" y="576"/>
                  </a:lnTo>
                  <a:lnTo>
                    <a:pt x="552" y="570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6" y="582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58" y="588"/>
                  </a:lnTo>
                  <a:lnTo>
                    <a:pt x="558" y="594"/>
                  </a:lnTo>
                  <a:lnTo>
                    <a:pt x="558" y="600"/>
                  </a:lnTo>
                  <a:lnTo>
                    <a:pt x="558" y="606"/>
                  </a:lnTo>
                  <a:lnTo>
                    <a:pt x="552" y="612"/>
                  </a:lnTo>
                  <a:lnTo>
                    <a:pt x="558" y="612"/>
                  </a:lnTo>
                  <a:lnTo>
                    <a:pt x="558" y="618"/>
                  </a:lnTo>
                  <a:lnTo>
                    <a:pt x="558" y="624"/>
                  </a:lnTo>
                  <a:lnTo>
                    <a:pt x="558" y="630"/>
                  </a:lnTo>
                  <a:lnTo>
                    <a:pt x="552" y="630"/>
                  </a:lnTo>
                  <a:lnTo>
                    <a:pt x="552" y="624"/>
                  </a:lnTo>
                  <a:lnTo>
                    <a:pt x="546" y="624"/>
                  </a:lnTo>
                  <a:lnTo>
                    <a:pt x="546" y="618"/>
                  </a:lnTo>
                  <a:lnTo>
                    <a:pt x="546" y="612"/>
                  </a:lnTo>
                  <a:lnTo>
                    <a:pt x="540" y="612"/>
                  </a:lnTo>
                  <a:lnTo>
                    <a:pt x="534" y="612"/>
                  </a:lnTo>
                  <a:lnTo>
                    <a:pt x="528" y="612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28" y="618"/>
                  </a:lnTo>
                  <a:lnTo>
                    <a:pt x="534" y="618"/>
                  </a:lnTo>
                  <a:lnTo>
                    <a:pt x="540" y="618"/>
                  </a:lnTo>
                  <a:lnTo>
                    <a:pt x="540" y="624"/>
                  </a:lnTo>
                  <a:lnTo>
                    <a:pt x="546" y="624"/>
                  </a:lnTo>
                  <a:lnTo>
                    <a:pt x="546" y="630"/>
                  </a:lnTo>
                  <a:lnTo>
                    <a:pt x="552" y="630"/>
                  </a:lnTo>
                  <a:lnTo>
                    <a:pt x="552" y="636"/>
                  </a:lnTo>
                  <a:lnTo>
                    <a:pt x="546" y="642"/>
                  </a:lnTo>
                  <a:lnTo>
                    <a:pt x="546" y="648"/>
                  </a:lnTo>
                  <a:lnTo>
                    <a:pt x="540" y="648"/>
                  </a:lnTo>
                  <a:lnTo>
                    <a:pt x="540" y="654"/>
                  </a:lnTo>
                  <a:lnTo>
                    <a:pt x="540" y="660"/>
                  </a:lnTo>
                  <a:lnTo>
                    <a:pt x="534" y="666"/>
                  </a:lnTo>
                  <a:lnTo>
                    <a:pt x="534" y="672"/>
                  </a:lnTo>
                  <a:lnTo>
                    <a:pt x="534" y="678"/>
                  </a:lnTo>
                  <a:lnTo>
                    <a:pt x="534" y="684"/>
                  </a:lnTo>
                  <a:lnTo>
                    <a:pt x="534" y="678"/>
                  </a:lnTo>
                  <a:lnTo>
                    <a:pt x="528" y="678"/>
                  </a:lnTo>
                  <a:lnTo>
                    <a:pt x="528" y="684"/>
                  </a:lnTo>
                  <a:lnTo>
                    <a:pt x="522" y="690"/>
                  </a:lnTo>
                  <a:lnTo>
                    <a:pt x="528" y="690"/>
                  </a:lnTo>
                  <a:lnTo>
                    <a:pt x="528" y="684"/>
                  </a:lnTo>
                  <a:lnTo>
                    <a:pt x="534" y="684"/>
                  </a:lnTo>
                  <a:lnTo>
                    <a:pt x="534" y="690"/>
                  </a:lnTo>
                  <a:lnTo>
                    <a:pt x="534" y="696"/>
                  </a:lnTo>
                  <a:lnTo>
                    <a:pt x="540" y="696"/>
                  </a:lnTo>
                  <a:lnTo>
                    <a:pt x="540" y="702"/>
                  </a:lnTo>
                  <a:lnTo>
                    <a:pt x="540" y="708"/>
                  </a:lnTo>
                  <a:lnTo>
                    <a:pt x="534" y="708"/>
                  </a:lnTo>
                  <a:lnTo>
                    <a:pt x="528" y="708"/>
                  </a:lnTo>
                  <a:lnTo>
                    <a:pt x="522" y="708"/>
                  </a:lnTo>
                  <a:lnTo>
                    <a:pt x="516" y="708"/>
                  </a:lnTo>
                  <a:lnTo>
                    <a:pt x="510" y="708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2" y="708"/>
                  </a:lnTo>
                  <a:lnTo>
                    <a:pt x="486" y="714"/>
                  </a:lnTo>
                  <a:lnTo>
                    <a:pt x="480" y="708"/>
                  </a:lnTo>
                  <a:lnTo>
                    <a:pt x="474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68" y="714"/>
                  </a:lnTo>
                  <a:lnTo>
                    <a:pt x="456" y="714"/>
                  </a:lnTo>
                  <a:lnTo>
                    <a:pt x="450" y="714"/>
                  </a:lnTo>
                  <a:lnTo>
                    <a:pt x="450" y="708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50" y="690"/>
                  </a:lnTo>
                  <a:lnTo>
                    <a:pt x="450" y="684"/>
                  </a:lnTo>
                  <a:lnTo>
                    <a:pt x="450" y="678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56" y="660"/>
                  </a:lnTo>
                  <a:lnTo>
                    <a:pt x="462" y="660"/>
                  </a:lnTo>
                  <a:lnTo>
                    <a:pt x="462" y="654"/>
                  </a:lnTo>
                  <a:lnTo>
                    <a:pt x="456" y="654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48"/>
                  </a:lnTo>
                  <a:lnTo>
                    <a:pt x="444" y="648"/>
                  </a:lnTo>
                  <a:lnTo>
                    <a:pt x="444" y="642"/>
                  </a:lnTo>
                  <a:lnTo>
                    <a:pt x="444" y="636"/>
                  </a:lnTo>
                  <a:lnTo>
                    <a:pt x="450" y="636"/>
                  </a:lnTo>
                  <a:lnTo>
                    <a:pt x="450" y="630"/>
                  </a:lnTo>
                  <a:lnTo>
                    <a:pt x="456" y="630"/>
                  </a:lnTo>
                  <a:lnTo>
                    <a:pt x="462" y="630"/>
                  </a:lnTo>
                  <a:lnTo>
                    <a:pt x="462" y="624"/>
                  </a:lnTo>
                  <a:lnTo>
                    <a:pt x="468" y="624"/>
                  </a:lnTo>
                  <a:lnTo>
                    <a:pt x="474" y="624"/>
                  </a:lnTo>
                  <a:lnTo>
                    <a:pt x="474" y="618"/>
                  </a:lnTo>
                  <a:lnTo>
                    <a:pt x="480" y="618"/>
                  </a:lnTo>
                  <a:lnTo>
                    <a:pt x="486" y="618"/>
                  </a:lnTo>
                  <a:lnTo>
                    <a:pt x="486" y="624"/>
                  </a:lnTo>
                  <a:lnTo>
                    <a:pt x="486" y="636"/>
                  </a:lnTo>
                  <a:lnTo>
                    <a:pt x="486" y="642"/>
                  </a:lnTo>
                  <a:lnTo>
                    <a:pt x="486" y="648"/>
                  </a:lnTo>
                  <a:lnTo>
                    <a:pt x="492" y="648"/>
                  </a:lnTo>
                  <a:lnTo>
                    <a:pt x="492" y="642"/>
                  </a:lnTo>
                  <a:lnTo>
                    <a:pt x="498" y="636"/>
                  </a:lnTo>
                  <a:lnTo>
                    <a:pt x="492" y="636"/>
                  </a:lnTo>
                  <a:lnTo>
                    <a:pt x="492" y="630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6" y="618"/>
                  </a:lnTo>
                  <a:lnTo>
                    <a:pt x="486" y="612"/>
                  </a:lnTo>
                  <a:lnTo>
                    <a:pt x="486" y="606"/>
                  </a:lnTo>
                  <a:lnTo>
                    <a:pt x="480" y="606"/>
                  </a:lnTo>
                  <a:lnTo>
                    <a:pt x="480" y="612"/>
                  </a:lnTo>
                  <a:lnTo>
                    <a:pt x="474" y="618"/>
                  </a:lnTo>
                  <a:lnTo>
                    <a:pt x="468" y="618"/>
                  </a:lnTo>
                  <a:lnTo>
                    <a:pt x="462" y="618"/>
                  </a:lnTo>
                  <a:lnTo>
                    <a:pt x="462" y="612"/>
                  </a:lnTo>
                  <a:lnTo>
                    <a:pt x="456" y="612"/>
                  </a:lnTo>
                  <a:lnTo>
                    <a:pt x="456" y="618"/>
                  </a:lnTo>
                  <a:lnTo>
                    <a:pt x="462" y="618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30"/>
                  </a:lnTo>
                  <a:lnTo>
                    <a:pt x="444" y="630"/>
                  </a:lnTo>
                  <a:lnTo>
                    <a:pt x="444" y="636"/>
                  </a:lnTo>
                  <a:lnTo>
                    <a:pt x="444" y="642"/>
                  </a:lnTo>
                  <a:lnTo>
                    <a:pt x="444" y="654"/>
                  </a:lnTo>
                  <a:lnTo>
                    <a:pt x="444" y="660"/>
                  </a:lnTo>
                  <a:lnTo>
                    <a:pt x="438" y="660"/>
                  </a:lnTo>
                  <a:lnTo>
                    <a:pt x="432" y="660"/>
                  </a:lnTo>
                  <a:lnTo>
                    <a:pt x="432" y="654"/>
                  </a:lnTo>
                  <a:lnTo>
                    <a:pt x="438" y="654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48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26" y="660"/>
                  </a:lnTo>
                  <a:lnTo>
                    <a:pt x="432" y="666"/>
                  </a:lnTo>
                  <a:lnTo>
                    <a:pt x="432" y="672"/>
                  </a:lnTo>
                  <a:lnTo>
                    <a:pt x="438" y="672"/>
                  </a:lnTo>
                  <a:lnTo>
                    <a:pt x="438" y="678"/>
                  </a:lnTo>
                  <a:lnTo>
                    <a:pt x="444" y="678"/>
                  </a:lnTo>
                  <a:lnTo>
                    <a:pt x="444" y="684"/>
                  </a:lnTo>
                  <a:lnTo>
                    <a:pt x="438" y="690"/>
                  </a:lnTo>
                  <a:lnTo>
                    <a:pt x="438" y="696"/>
                  </a:lnTo>
                  <a:lnTo>
                    <a:pt x="438" y="702"/>
                  </a:lnTo>
                  <a:lnTo>
                    <a:pt x="432" y="702"/>
                  </a:lnTo>
                  <a:lnTo>
                    <a:pt x="426" y="702"/>
                  </a:lnTo>
                  <a:lnTo>
                    <a:pt x="426" y="696"/>
                  </a:lnTo>
                  <a:lnTo>
                    <a:pt x="414" y="696"/>
                  </a:lnTo>
                  <a:lnTo>
                    <a:pt x="402" y="696"/>
                  </a:lnTo>
                  <a:lnTo>
                    <a:pt x="402" y="690"/>
                  </a:lnTo>
                  <a:lnTo>
                    <a:pt x="396" y="690"/>
                  </a:lnTo>
                  <a:lnTo>
                    <a:pt x="390" y="690"/>
                  </a:lnTo>
                  <a:lnTo>
                    <a:pt x="384" y="690"/>
                  </a:lnTo>
                  <a:lnTo>
                    <a:pt x="384" y="684"/>
                  </a:lnTo>
                  <a:lnTo>
                    <a:pt x="384" y="678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390" y="660"/>
                  </a:lnTo>
                  <a:lnTo>
                    <a:pt x="390" y="654"/>
                  </a:lnTo>
                  <a:lnTo>
                    <a:pt x="384" y="648"/>
                  </a:lnTo>
                  <a:lnTo>
                    <a:pt x="384" y="642"/>
                  </a:lnTo>
                  <a:lnTo>
                    <a:pt x="378" y="636"/>
                  </a:lnTo>
                  <a:lnTo>
                    <a:pt x="378" y="642"/>
                  </a:lnTo>
                  <a:lnTo>
                    <a:pt x="378" y="648"/>
                  </a:lnTo>
                  <a:lnTo>
                    <a:pt x="372" y="648"/>
                  </a:lnTo>
                  <a:lnTo>
                    <a:pt x="378" y="654"/>
                  </a:lnTo>
                  <a:lnTo>
                    <a:pt x="378" y="660"/>
                  </a:lnTo>
                  <a:lnTo>
                    <a:pt x="378" y="666"/>
                  </a:lnTo>
                  <a:lnTo>
                    <a:pt x="372" y="672"/>
                  </a:lnTo>
                  <a:lnTo>
                    <a:pt x="378" y="672"/>
                  </a:lnTo>
                  <a:lnTo>
                    <a:pt x="378" y="678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54" y="666"/>
                  </a:lnTo>
                  <a:lnTo>
                    <a:pt x="354" y="660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0" y="654"/>
                  </a:lnTo>
                  <a:lnTo>
                    <a:pt x="324" y="648"/>
                  </a:lnTo>
                  <a:lnTo>
                    <a:pt x="318" y="648"/>
                  </a:lnTo>
                  <a:lnTo>
                    <a:pt x="318" y="642"/>
                  </a:lnTo>
                  <a:lnTo>
                    <a:pt x="312" y="642"/>
                  </a:lnTo>
                  <a:lnTo>
                    <a:pt x="306" y="636"/>
                  </a:lnTo>
                  <a:lnTo>
                    <a:pt x="300" y="636"/>
                  </a:lnTo>
                  <a:lnTo>
                    <a:pt x="300" y="630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0" y="618"/>
                  </a:lnTo>
                  <a:lnTo>
                    <a:pt x="306" y="612"/>
                  </a:lnTo>
                  <a:lnTo>
                    <a:pt x="300" y="612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294" y="612"/>
                  </a:lnTo>
                  <a:lnTo>
                    <a:pt x="288" y="618"/>
                  </a:lnTo>
                  <a:lnTo>
                    <a:pt x="288" y="612"/>
                  </a:lnTo>
                  <a:lnTo>
                    <a:pt x="288" y="618"/>
                  </a:lnTo>
                  <a:lnTo>
                    <a:pt x="294" y="618"/>
                  </a:lnTo>
                  <a:lnTo>
                    <a:pt x="300" y="624"/>
                  </a:lnTo>
                  <a:lnTo>
                    <a:pt x="294" y="624"/>
                  </a:lnTo>
                  <a:lnTo>
                    <a:pt x="288" y="624"/>
                  </a:lnTo>
                  <a:lnTo>
                    <a:pt x="282" y="61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70" y="600"/>
                  </a:lnTo>
                  <a:lnTo>
                    <a:pt x="270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82" y="588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594"/>
                  </a:lnTo>
                  <a:lnTo>
                    <a:pt x="264" y="600"/>
                  </a:lnTo>
                  <a:lnTo>
                    <a:pt x="264" y="594"/>
                  </a:lnTo>
                  <a:lnTo>
                    <a:pt x="270" y="594"/>
                  </a:lnTo>
                  <a:lnTo>
                    <a:pt x="270" y="588"/>
                  </a:lnTo>
                  <a:lnTo>
                    <a:pt x="264" y="594"/>
                  </a:lnTo>
                  <a:lnTo>
                    <a:pt x="258" y="594"/>
                  </a:lnTo>
                  <a:lnTo>
                    <a:pt x="258" y="588"/>
                  </a:lnTo>
                  <a:lnTo>
                    <a:pt x="252" y="588"/>
                  </a:lnTo>
                  <a:lnTo>
                    <a:pt x="246" y="588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52" y="588"/>
                  </a:lnTo>
                  <a:lnTo>
                    <a:pt x="252" y="594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46" y="594"/>
                  </a:lnTo>
                  <a:lnTo>
                    <a:pt x="246" y="588"/>
                  </a:lnTo>
                  <a:lnTo>
                    <a:pt x="240" y="588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2" y="570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64"/>
                  </a:lnTo>
                  <a:lnTo>
                    <a:pt x="234" y="564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34" y="558"/>
                  </a:lnTo>
                  <a:lnTo>
                    <a:pt x="228" y="558"/>
                  </a:lnTo>
                  <a:lnTo>
                    <a:pt x="222" y="558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2" y="564"/>
                  </a:lnTo>
                  <a:lnTo>
                    <a:pt x="222" y="558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04" y="546"/>
                  </a:lnTo>
                  <a:lnTo>
                    <a:pt x="204" y="540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10" y="540"/>
                  </a:lnTo>
                  <a:lnTo>
                    <a:pt x="210" y="534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8"/>
                  </a:lnTo>
                  <a:lnTo>
                    <a:pt x="174" y="516"/>
                  </a:lnTo>
                  <a:lnTo>
                    <a:pt x="168" y="510"/>
                  </a:lnTo>
                  <a:lnTo>
                    <a:pt x="162" y="504"/>
                  </a:lnTo>
                  <a:lnTo>
                    <a:pt x="156" y="498"/>
                  </a:lnTo>
                  <a:lnTo>
                    <a:pt x="156" y="492"/>
                  </a:lnTo>
                  <a:lnTo>
                    <a:pt x="150" y="486"/>
                  </a:lnTo>
                  <a:lnTo>
                    <a:pt x="144" y="480"/>
                  </a:lnTo>
                  <a:lnTo>
                    <a:pt x="144" y="474"/>
                  </a:lnTo>
                  <a:lnTo>
                    <a:pt x="138" y="474"/>
                  </a:lnTo>
                  <a:lnTo>
                    <a:pt x="138" y="468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26" y="450"/>
                  </a:lnTo>
                  <a:lnTo>
                    <a:pt x="126" y="444"/>
                  </a:lnTo>
                  <a:lnTo>
                    <a:pt x="114" y="438"/>
                  </a:lnTo>
                  <a:lnTo>
                    <a:pt x="114" y="432"/>
                  </a:lnTo>
                  <a:lnTo>
                    <a:pt x="114" y="426"/>
                  </a:lnTo>
                  <a:lnTo>
                    <a:pt x="114" y="432"/>
                  </a:lnTo>
                  <a:lnTo>
                    <a:pt x="120" y="432"/>
                  </a:lnTo>
                  <a:lnTo>
                    <a:pt x="120" y="438"/>
                  </a:lnTo>
                  <a:lnTo>
                    <a:pt x="120" y="444"/>
                  </a:lnTo>
                  <a:lnTo>
                    <a:pt x="126" y="444"/>
                  </a:lnTo>
                  <a:lnTo>
                    <a:pt x="126" y="438"/>
                  </a:lnTo>
                  <a:lnTo>
                    <a:pt x="120" y="438"/>
                  </a:lnTo>
                  <a:lnTo>
                    <a:pt x="126" y="432"/>
                  </a:lnTo>
                  <a:lnTo>
                    <a:pt x="126" y="426"/>
                  </a:lnTo>
                  <a:lnTo>
                    <a:pt x="132" y="420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08" y="414"/>
                  </a:lnTo>
                  <a:lnTo>
                    <a:pt x="102" y="414"/>
                  </a:lnTo>
                  <a:lnTo>
                    <a:pt x="102" y="408"/>
                  </a:lnTo>
                  <a:lnTo>
                    <a:pt x="96" y="402"/>
                  </a:lnTo>
                  <a:lnTo>
                    <a:pt x="96" y="396"/>
                  </a:lnTo>
                  <a:lnTo>
                    <a:pt x="96" y="390"/>
                  </a:lnTo>
                  <a:lnTo>
                    <a:pt x="90" y="390"/>
                  </a:lnTo>
                  <a:lnTo>
                    <a:pt x="90" y="384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78" y="372"/>
                  </a:lnTo>
                  <a:lnTo>
                    <a:pt x="78" y="366"/>
                  </a:lnTo>
                  <a:lnTo>
                    <a:pt x="78" y="360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6" y="348"/>
                  </a:lnTo>
                  <a:lnTo>
                    <a:pt x="66" y="342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6" y="336"/>
                  </a:lnTo>
                  <a:lnTo>
                    <a:pt x="66" y="342"/>
                  </a:lnTo>
                  <a:lnTo>
                    <a:pt x="72" y="348"/>
                  </a:lnTo>
                  <a:lnTo>
                    <a:pt x="78" y="354"/>
                  </a:lnTo>
                  <a:lnTo>
                    <a:pt x="84" y="360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0" y="360"/>
                  </a:lnTo>
                  <a:lnTo>
                    <a:pt x="84" y="360"/>
                  </a:lnTo>
                  <a:lnTo>
                    <a:pt x="84" y="354"/>
                  </a:lnTo>
                  <a:lnTo>
                    <a:pt x="78" y="348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66" y="330"/>
                  </a:lnTo>
                  <a:lnTo>
                    <a:pt x="66" y="324"/>
                  </a:lnTo>
                  <a:lnTo>
                    <a:pt x="60" y="318"/>
                  </a:lnTo>
                  <a:lnTo>
                    <a:pt x="60" y="312"/>
                  </a:lnTo>
                  <a:lnTo>
                    <a:pt x="54" y="306"/>
                  </a:lnTo>
                  <a:lnTo>
                    <a:pt x="54" y="300"/>
                  </a:lnTo>
                  <a:lnTo>
                    <a:pt x="54" y="294"/>
                  </a:lnTo>
                  <a:lnTo>
                    <a:pt x="48" y="288"/>
                  </a:lnTo>
                  <a:lnTo>
                    <a:pt x="48" y="294"/>
                  </a:lnTo>
                  <a:lnTo>
                    <a:pt x="48" y="288"/>
                  </a:lnTo>
                  <a:lnTo>
                    <a:pt x="48" y="282"/>
                  </a:lnTo>
                  <a:lnTo>
                    <a:pt x="48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18" y="216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62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68"/>
                  </a:lnTo>
                  <a:lnTo>
                    <a:pt x="42" y="168"/>
                  </a:lnTo>
                  <a:lnTo>
                    <a:pt x="42" y="174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86"/>
                  </a:lnTo>
                  <a:close/>
                  <a:moveTo>
                    <a:pt x="642" y="660"/>
                  </a:moveTo>
                  <a:lnTo>
                    <a:pt x="642" y="666"/>
                  </a:lnTo>
                  <a:lnTo>
                    <a:pt x="648" y="666"/>
                  </a:lnTo>
                  <a:lnTo>
                    <a:pt x="648" y="672"/>
                  </a:lnTo>
                  <a:lnTo>
                    <a:pt x="648" y="678"/>
                  </a:lnTo>
                  <a:lnTo>
                    <a:pt x="654" y="678"/>
                  </a:lnTo>
                  <a:lnTo>
                    <a:pt x="654" y="684"/>
                  </a:lnTo>
                  <a:lnTo>
                    <a:pt x="660" y="684"/>
                  </a:lnTo>
                  <a:lnTo>
                    <a:pt x="660" y="690"/>
                  </a:lnTo>
                  <a:lnTo>
                    <a:pt x="654" y="690"/>
                  </a:lnTo>
                  <a:lnTo>
                    <a:pt x="648" y="690"/>
                  </a:lnTo>
                  <a:lnTo>
                    <a:pt x="636" y="696"/>
                  </a:lnTo>
                  <a:lnTo>
                    <a:pt x="630" y="696"/>
                  </a:lnTo>
                  <a:lnTo>
                    <a:pt x="624" y="696"/>
                  </a:lnTo>
                  <a:lnTo>
                    <a:pt x="618" y="696"/>
                  </a:lnTo>
                  <a:lnTo>
                    <a:pt x="612" y="696"/>
                  </a:lnTo>
                  <a:lnTo>
                    <a:pt x="594" y="696"/>
                  </a:lnTo>
                  <a:lnTo>
                    <a:pt x="588" y="696"/>
                  </a:lnTo>
                  <a:lnTo>
                    <a:pt x="582" y="696"/>
                  </a:lnTo>
                  <a:lnTo>
                    <a:pt x="570" y="702"/>
                  </a:lnTo>
                  <a:lnTo>
                    <a:pt x="564" y="702"/>
                  </a:lnTo>
                  <a:lnTo>
                    <a:pt x="558" y="702"/>
                  </a:lnTo>
                  <a:lnTo>
                    <a:pt x="552" y="702"/>
                  </a:lnTo>
                  <a:lnTo>
                    <a:pt x="552" y="696"/>
                  </a:lnTo>
                  <a:lnTo>
                    <a:pt x="546" y="696"/>
                  </a:lnTo>
                  <a:lnTo>
                    <a:pt x="546" y="690"/>
                  </a:lnTo>
                  <a:lnTo>
                    <a:pt x="552" y="684"/>
                  </a:lnTo>
                  <a:lnTo>
                    <a:pt x="552" y="678"/>
                  </a:lnTo>
                  <a:lnTo>
                    <a:pt x="558" y="672"/>
                  </a:lnTo>
                  <a:lnTo>
                    <a:pt x="558" y="666"/>
                  </a:lnTo>
                  <a:lnTo>
                    <a:pt x="564" y="666"/>
                  </a:lnTo>
                  <a:lnTo>
                    <a:pt x="570" y="666"/>
                  </a:lnTo>
                  <a:lnTo>
                    <a:pt x="570" y="654"/>
                  </a:lnTo>
                  <a:lnTo>
                    <a:pt x="570" y="648"/>
                  </a:lnTo>
                  <a:lnTo>
                    <a:pt x="582" y="642"/>
                  </a:lnTo>
                  <a:lnTo>
                    <a:pt x="582" y="636"/>
                  </a:lnTo>
                  <a:lnTo>
                    <a:pt x="588" y="636"/>
                  </a:lnTo>
                  <a:lnTo>
                    <a:pt x="588" y="630"/>
                  </a:lnTo>
                  <a:lnTo>
                    <a:pt x="594" y="624"/>
                  </a:lnTo>
                  <a:lnTo>
                    <a:pt x="594" y="618"/>
                  </a:lnTo>
                  <a:lnTo>
                    <a:pt x="600" y="618"/>
                  </a:lnTo>
                  <a:lnTo>
                    <a:pt x="600" y="612"/>
                  </a:lnTo>
                  <a:lnTo>
                    <a:pt x="606" y="612"/>
                  </a:lnTo>
                  <a:lnTo>
                    <a:pt x="606" y="618"/>
                  </a:lnTo>
                  <a:lnTo>
                    <a:pt x="612" y="618"/>
                  </a:lnTo>
                  <a:lnTo>
                    <a:pt x="618" y="618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18" y="636"/>
                  </a:lnTo>
                  <a:lnTo>
                    <a:pt x="618" y="642"/>
                  </a:lnTo>
                  <a:lnTo>
                    <a:pt x="618" y="648"/>
                  </a:lnTo>
                  <a:lnTo>
                    <a:pt x="624" y="648"/>
                  </a:lnTo>
                  <a:lnTo>
                    <a:pt x="630" y="648"/>
                  </a:lnTo>
                  <a:lnTo>
                    <a:pt x="636" y="654"/>
                  </a:lnTo>
                  <a:lnTo>
                    <a:pt x="642" y="654"/>
                  </a:lnTo>
                  <a:lnTo>
                    <a:pt x="642" y="66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0" name="Freeform 5">
              <a:extLst>
                <a:ext uri="{FF2B5EF4-FFF2-40B4-BE49-F238E27FC236}">
                  <a16:creationId xmlns:a16="http://schemas.microsoft.com/office/drawing/2014/main" id="{5577BDCA-F2C7-42E0-A391-018D79AA29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0384" y="4231013"/>
              <a:ext cx="404750" cy="480848"/>
            </a:xfrm>
            <a:custGeom>
              <a:avLst/>
              <a:gdLst>
                <a:gd name="T0" fmla="*/ 9 w 762"/>
                <a:gd name="T1" fmla="*/ 58 h 900"/>
                <a:gd name="T2" fmla="*/ 4 w 762"/>
                <a:gd name="T3" fmla="*/ 56 h 900"/>
                <a:gd name="T4" fmla="*/ 0 w 762"/>
                <a:gd name="T5" fmla="*/ 49 h 900"/>
                <a:gd name="T6" fmla="*/ 4 w 762"/>
                <a:gd name="T7" fmla="*/ 36 h 900"/>
                <a:gd name="T8" fmla="*/ 8 w 762"/>
                <a:gd name="T9" fmla="*/ 28 h 900"/>
                <a:gd name="T10" fmla="*/ 7 w 762"/>
                <a:gd name="T11" fmla="*/ 13 h 900"/>
                <a:gd name="T12" fmla="*/ 15 w 762"/>
                <a:gd name="T13" fmla="*/ 0 h 900"/>
                <a:gd name="T14" fmla="*/ 16 w 762"/>
                <a:gd name="T15" fmla="*/ 13 h 900"/>
                <a:gd name="T16" fmla="*/ 31 w 762"/>
                <a:gd name="T17" fmla="*/ 28 h 900"/>
                <a:gd name="T18" fmla="*/ 49 w 762"/>
                <a:gd name="T19" fmla="*/ 33 h 900"/>
                <a:gd name="T20" fmla="*/ 42 w 762"/>
                <a:gd name="T21" fmla="*/ 48 h 900"/>
                <a:gd name="T22" fmla="*/ 51 w 762"/>
                <a:gd name="T23" fmla="*/ 48 h 900"/>
                <a:gd name="T24" fmla="*/ 61 w 762"/>
                <a:gd name="T25" fmla="*/ 51 h 900"/>
                <a:gd name="T26" fmla="*/ 63 w 762"/>
                <a:gd name="T27" fmla="*/ 60 h 900"/>
                <a:gd name="T28" fmla="*/ 63 w 762"/>
                <a:gd name="T29" fmla="*/ 66 h 900"/>
                <a:gd name="T30" fmla="*/ 65 w 762"/>
                <a:gd name="T31" fmla="*/ 69 h 900"/>
                <a:gd name="T32" fmla="*/ 66 w 762"/>
                <a:gd name="T33" fmla="*/ 72 h 900"/>
                <a:gd name="T34" fmla="*/ 56 w 762"/>
                <a:gd name="T35" fmla="*/ 73 h 900"/>
                <a:gd name="T36" fmla="*/ 55 w 762"/>
                <a:gd name="T37" fmla="*/ 69 h 900"/>
                <a:gd name="T38" fmla="*/ 57 w 762"/>
                <a:gd name="T39" fmla="*/ 67 h 900"/>
                <a:gd name="T40" fmla="*/ 55 w 762"/>
                <a:gd name="T41" fmla="*/ 65 h 900"/>
                <a:gd name="T42" fmla="*/ 53 w 762"/>
                <a:gd name="T43" fmla="*/ 68 h 900"/>
                <a:gd name="T44" fmla="*/ 49 w 762"/>
                <a:gd name="T45" fmla="*/ 68 h 900"/>
                <a:gd name="T46" fmla="*/ 44 w 762"/>
                <a:gd name="T47" fmla="*/ 63 h 900"/>
                <a:gd name="T48" fmla="*/ 40 w 762"/>
                <a:gd name="T49" fmla="*/ 59 h 900"/>
                <a:gd name="T50" fmla="*/ 38 w 762"/>
                <a:gd name="T51" fmla="*/ 57 h 900"/>
                <a:gd name="T52" fmla="*/ 43 w 762"/>
                <a:gd name="T53" fmla="*/ 62 h 900"/>
                <a:gd name="T54" fmla="*/ 43 w 762"/>
                <a:gd name="T55" fmla="*/ 66 h 900"/>
                <a:gd name="T56" fmla="*/ 41 w 762"/>
                <a:gd name="T57" fmla="*/ 71 h 900"/>
                <a:gd name="T58" fmla="*/ 37 w 762"/>
                <a:gd name="T59" fmla="*/ 69 h 900"/>
                <a:gd name="T60" fmla="*/ 35 w 762"/>
                <a:gd name="T61" fmla="*/ 64 h 900"/>
                <a:gd name="T62" fmla="*/ 31 w 762"/>
                <a:gd name="T63" fmla="*/ 57 h 900"/>
                <a:gd name="T64" fmla="*/ 30 w 762"/>
                <a:gd name="T65" fmla="*/ 62 h 900"/>
                <a:gd name="T66" fmla="*/ 29 w 762"/>
                <a:gd name="T67" fmla="*/ 61 h 900"/>
                <a:gd name="T68" fmla="*/ 31 w 762"/>
                <a:gd name="T69" fmla="*/ 66 h 900"/>
                <a:gd name="T70" fmla="*/ 33 w 762"/>
                <a:gd name="T71" fmla="*/ 72 h 900"/>
                <a:gd name="T72" fmla="*/ 32 w 762"/>
                <a:gd name="T73" fmla="*/ 76 h 900"/>
                <a:gd name="T74" fmla="*/ 28 w 762"/>
                <a:gd name="T75" fmla="*/ 75 h 900"/>
                <a:gd name="T76" fmla="*/ 24 w 762"/>
                <a:gd name="T77" fmla="*/ 69 h 900"/>
                <a:gd name="T78" fmla="*/ 24 w 762"/>
                <a:gd name="T79" fmla="*/ 62 h 900"/>
                <a:gd name="T80" fmla="*/ 23 w 762"/>
                <a:gd name="T81" fmla="*/ 62 h 900"/>
                <a:gd name="T82" fmla="*/ 23 w 762"/>
                <a:gd name="T83" fmla="*/ 68 h 900"/>
                <a:gd name="T84" fmla="*/ 25 w 762"/>
                <a:gd name="T85" fmla="*/ 77 h 900"/>
                <a:gd name="T86" fmla="*/ 17 w 762"/>
                <a:gd name="T87" fmla="*/ 74 h 900"/>
                <a:gd name="T88" fmla="*/ 17 w 762"/>
                <a:gd name="T89" fmla="*/ 67 h 900"/>
                <a:gd name="T90" fmla="*/ 16 w 762"/>
                <a:gd name="T91" fmla="*/ 67 h 900"/>
                <a:gd name="T92" fmla="*/ 15 w 762"/>
                <a:gd name="T93" fmla="*/ 71 h 900"/>
                <a:gd name="T94" fmla="*/ 12 w 762"/>
                <a:gd name="T95" fmla="*/ 68 h 900"/>
                <a:gd name="T96" fmla="*/ 15 w 762"/>
                <a:gd name="T97" fmla="*/ 72 h 900"/>
                <a:gd name="T98" fmla="*/ 17 w 762"/>
                <a:gd name="T99" fmla="*/ 77 h 900"/>
                <a:gd name="T100" fmla="*/ 11 w 762"/>
                <a:gd name="T101" fmla="*/ 77 h 900"/>
                <a:gd name="T102" fmla="*/ 10 w 762"/>
                <a:gd name="T103" fmla="*/ 69 h 900"/>
                <a:gd name="T104" fmla="*/ 11 w 762"/>
                <a:gd name="T105" fmla="*/ 72 h 900"/>
                <a:gd name="T106" fmla="*/ 9 w 762"/>
                <a:gd name="T107" fmla="*/ 78 h 900"/>
                <a:gd name="T108" fmla="*/ 43 w 762"/>
                <a:gd name="T109" fmla="*/ 71 h 900"/>
                <a:gd name="T110" fmla="*/ 51 w 762"/>
                <a:gd name="T111" fmla="*/ 69 h 900"/>
                <a:gd name="T112" fmla="*/ 43 w 762"/>
                <a:gd name="T113" fmla="*/ 76 h 900"/>
                <a:gd name="T114" fmla="*/ 36 w 762"/>
                <a:gd name="T115" fmla="*/ 65 h 900"/>
                <a:gd name="T116" fmla="*/ 38 w 762"/>
                <a:gd name="T117" fmla="*/ 72 h 900"/>
                <a:gd name="T118" fmla="*/ 34 w 762"/>
                <a:gd name="T119" fmla="*/ 69 h 900"/>
                <a:gd name="T120" fmla="*/ 29 w 762"/>
                <a:gd name="T121" fmla="*/ 64 h 900"/>
                <a:gd name="T122" fmla="*/ 32 w 762"/>
                <a:gd name="T123" fmla="*/ 66 h 9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900"/>
                <a:gd name="T188" fmla="*/ 762 w 762"/>
                <a:gd name="T189" fmla="*/ 900 h 90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900">
                  <a:moveTo>
                    <a:pt x="90" y="768"/>
                  </a:moveTo>
                  <a:lnTo>
                    <a:pt x="102" y="756"/>
                  </a:lnTo>
                  <a:lnTo>
                    <a:pt x="102" y="750"/>
                  </a:lnTo>
                  <a:lnTo>
                    <a:pt x="90" y="744"/>
                  </a:lnTo>
                  <a:lnTo>
                    <a:pt x="84" y="738"/>
                  </a:lnTo>
                  <a:lnTo>
                    <a:pt x="90" y="726"/>
                  </a:lnTo>
                  <a:lnTo>
                    <a:pt x="84" y="720"/>
                  </a:lnTo>
                  <a:lnTo>
                    <a:pt x="78" y="720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72" y="702"/>
                  </a:lnTo>
                  <a:lnTo>
                    <a:pt x="72" y="696"/>
                  </a:lnTo>
                  <a:lnTo>
                    <a:pt x="84" y="684"/>
                  </a:lnTo>
                  <a:lnTo>
                    <a:pt x="96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102" y="654"/>
                  </a:lnTo>
                  <a:lnTo>
                    <a:pt x="108" y="654"/>
                  </a:lnTo>
                  <a:lnTo>
                    <a:pt x="114" y="648"/>
                  </a:lnTo>
                  <a:lnTo>
                    <a:pt x="120" y="642"/>
                  </a:lnTo>
                  <a:lnTo>
                    <a:pt x="120" y="636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14" y="618"/>
                  </a:lnTo>
                  <a:lnTo>
                    <a:pt x="102" y="618"/>
                  </a:lnTo>
                  <a:lnTo>
                    <a:pt x="90" y="618"/>
                  </a:lnTo>
                  <a:lnTo>
                    <a:pt x="78" y="624"/>
                  </a:lnTo>
                  <a:lnTo>
                    <a:pt x="72" y="630"/>
                  </a:lnTo>
                  <a:lnTo>
                    <a:pt x="54" y="642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42" y="642"/>
                  </a:lnTo>
                  <a:lnTo>
                    <a:pt x="42" y="636"/>
                  </a:lnTo>
                  <a:lnTo>
                    <a:pt x="36" y="636"/>
                  </a:lnTo>
                  <a:lnTo>
                    <a:pt x="30" y="642"/>
                  </a:lnTo>
                  <a:lnTo>
                    <a:pt x="30" y="636"/>
                  </a:lnTo>
                  <a:lnTo>
                    <a:pt x="30" y="630"/>
                  </a:lnTo>
                  <a:lnTo>
                    <a:pt x="24" y="630"/>
                  </a:lnTo>
                  <a:lnTo>
                    <a:pt x="30" y="624"/>
                  </a:lnTo>
                  <a:lnTo>
                    <a:pt x="30" y="618"/>
                  </a:lnTo>
                  <a:lnTo>
                    <a:pt x="30" y="612"/>
                  </a:lnTo>
                  <a:lnTo>
                    <a:pt x="36" y="612"/>
                  </a:lnTo>
                  <a:lnTo>
                    <a:pt x="36" y="606"/>
                  </a:lnTo>
                  <a:lnTo>
                    <a:pt x="30" y="606"/>
                  </a:lnTo>
                  <a:lnTo>
                    <a:pt x="24" y="612"/>
                  </a:lnTo>
                  <a:lnTo>
                    <a:pt x="18" y="606"/>
                  </a:lnTo>
                  <a:lnTo>
                    <a:pt x="12" y="594"/>
                  </a:lnTo>
                  <a:lnTo>
                    <a:pt x="6" y="582"/>
                  </a:lnTo>
                  <a:lnTo>
                    <a:pt x="6" y="570"/>
                  </a:lnTo>
                  <a:lnTo>
                    <a:pt x="0" y="558"/>
                  </a:lnTo>
                  <a:lnTo>
                    <a:pt x="6" y="552"/>
                  </a:lnTo>
                  <a:lnTo>
                    <a:pt x="6" y="534"/>
                  </a:lnTo>
                  <a:lnTo>
                    <a:pt x="18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12" y="480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54" y="408"/>
                  </a:lnTo>
                  <a:lnTo>
                    <a:pt x="54" y="396"/>
                  </a:lnTo>
                  <a:lnTo>
                    <a:pt x="54" y="384"/>
                  </a:lnTo>
                  <a:lnTo>
                    <a:pt x="60" y="378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66"/>
                  </a:lnTo>
                  <a:lnTo>
                    <a:pt x="60" y="360"/>
                  </a:lnTo>
                  <a:lnTo>
                    <a:pt x="66" y="360"/>
                  </a:lnTo>
                  <a:lnTo>
                    <a:pt x="72" y="354"/>
                  </a:lnTo>
                  <a:lnTo>
                    <a:pt x="78" y="354"/>
                  </a:lnTo>
                  <a:lnTo>
                    <a:pt x="84" y="348"/>
                  </a:lnTo>
                  <a:lnTo>
                    <a:pt x="96" y="348"/>
                  </a:lnTo>
                  <a:lnTo>
                    <a:pt x="96" y="342"/>
                  </a:lnTo>
                  <a:lnTo>
                    <a:pt x="96" y="336"/>
                  </a:lnTo>
                  <a:lnTo>
                    <a:pt x="96" y="330"/>
                  </a:lnTo>
                  <a:lnTo>
                    <a:pt x="96" y="324"/>
                  </a:lnTo>
                  <a:lnTo>
                    <a:pt x="102" y="318"/>
                  </a:lnTo>
                  <a:lnTo>
                    <a:pt x="108" y="312"/>
                  </a:lnTo>
                  <a:lnTo>
                    <a:pt x="96" y="306"/>
                  </a:lnTo>
                  <a:lnTo>
                    <a:pt x="84" y="288"/>
                  </a:lnTo>
                  <a:lnTo>
                    <a:pt x="108" y="258"/>
                  </a:lnTo>
                  <a:lnTo>
                    <a:pt x="102" y="222"/>
                  </a:lnTo>
                  <a:lnTo>
                    <a:pt x="84" y="222"/>
                  </a:lnTo>
                  <a:lnTo>
                    <a:pt x="54" y="216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2"/>
                  </a:lnTo>
                  <a:lnTo>
                    <a:pt x="72" y="192"/>
                  </a:lnTo>
                  <a:lnTo>
                    <a:pt x="84" y="186"/>
                  </a:lnTo>
                  <a:lnTo>
                    <a:pt x="90" y="186"/>
                  </a:lnTo>
                  <a:lnTo>
                    <a:pt x="90" y="174"/>
                  </a:lnTo>
                  <a:lnTo>
                    <a:pt x="84" y="162"/>
                  </a:lnTo>
                  <a:lnTo>
                    <a:pt x="84" y="150"/>
                  </a:lnTo>
                  <a:lnTo>
                    <a:pt x="84" y="126"/>
                  </a:lnTo>
                  <a:lnTo>
                    <a:pt x="84" y="114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8" y="96"/>
                  </a:lnTo>
                  <a:lnTo>
                    <a:pt x="120" y="90"/>
                  </a:lnTo>
                  <a:lnTo>
                    <a:pt x="126" y="78"/>
                  </a:lnTo>
                  <a:lnTo>
                    <a:pt x="138" y="66"/>
                  </a:lnTo>
                  <a:lnTo>
                    <a:pt x="138" y="48"/>
                  </a:lnTo>
                  <a:lnTo>
                    <a:pt x="138" y="42"/>
                  </a:lnTo>
                  <a:lnTo>
                    <a:pt x="126" y="30"/>
                  </a:lnTo>
                  <a:lnTo>
                    <a:pt x="120" y="18"/>
                  </a:lnTo>
                  <a:lnTo>
                    <a:pt x="132" y="12"/>
                  </a:lnTo>
                  <a:lnTo>
                    <a:pt x="144" y="0"/>
                  </a:lnTo>
                  <a:lnTo>
                    <a:pt x="150" y="6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6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74" y="66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68" y="72"/>
                  </a:lnTo>
                  <a:lnTo>
                    <a:pt x="156" y="150"/>
                  </a:lnTo>
                  <a:lnTo>
                    <a:pt x="168" y="144"/>
                  </a:lnTo>
                  <a:lnTo>
                    <a:pt x="180" y="150"/>
                  </a:lnTo>
                  <a:lnTo>
                    <a:pt x="186" y="150"/>
                  </a:lnTo>
                  <a:lnTo>
                    <a:pt x="186" y="144"/>
                  </a:lnTo>
                  <a:lnTo>
                    <a:pt x="192" y="150"/>
                  </a:lnTo>
                  <a:lnTo>
                    <a:pt x="222" y="150"/>
                  </a:lnTo>
                  <a:lnTo>
                    <a:pt x="222" y="168"/>
                  </a:lnTo>
                  <a:lnTo>
                    <a:pt x="222" y="186"/>
                  </a:lnTo>
                  <a:lnTo>
                    <a:pt x="234" y="198"/>
                  </a:lnTo>
                  <a:lnTo>
                    <a:pt x="234" y="234"/>
                  </a:lnTo>
                  <a:lnTo>
                    <a:pt x="228" y="270"/>
                  </a:lnTo>
                  <a:lnTo>
                    <a:pt x="246" y="282"/>
                  </a:lnTo>
                  <a:lnTo>
                    <a:pt x="258" y="294"/>
                  </a:lnTo>
                  <a:lnTo>
                    <a:pt x="270" y="300"/>
                  </a:lnTo>
                  <a:lnTo>
                    <a:pt x="294" y="300"/>
                  </a:lnTo>
                  <a:lnTo>
                    <a:pt x="288" y="306"/>
                  </a:lnTo>
                  <a:lnTo>
                    <a:pt x="300" y="312"/>
                  </a:lnTo>
                  <a:lnTo>
                    <a:pt x="306" y="318"/>
                  </a:lnTo>
                  <a:lnTo>
                    <a:pt x="324" y="324"/>
                  </a:lnTo>
                  <a:lnTo>
                    <a:pt x="354" y="318"/>
                  </a:lnTo>
                  <a:lnTo>
                    <a:pt x="354" y="312"/>
                  </a:lnTo>
                  <a:lnTo>
                    <a:pt x="366" y="312"/>
                  </a:lnTo>
                  <a:lnTo>
                    <a:pt x="384" y="312"/>
                  </a:lnTo>
                  <a:lnTo>
                    <a:pt x="390" y="306"/>
                  </a:lnTo>
                  <a:lnTo>
                    <a:pt x="396" y="306"/>
                  </a:lnTo>
                  <a:lnTo>
                    <a:pt x="408" y="306"/>
                  </a:lnTo>
                  <a:lnTo>
                    <a:pt x="426" y="312"/>
                  </a:lnTo>
                  <a:lnTo>
                    <a:pt x="456" y="324"/>
                  </a:lnTo>
                  <a:lnTo>
                    <a:pt x="504" y="330"/>
                  </a:lnTo>
                  <a:lnTo>
                    <a:pt x="510" y="336"/>
                  </a:lnTo>
                  <a:lnTo>
                    <a:pt x="534" y="336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58" y="330"/>
                  </a:lnTo>
                  <a:lnTo>
                    <a:pt x="564" y="330"/>
                  </a:lnTo>
                  <a:lnTo>
                    <a:pt x="570" y="354"/>
                  </a:lnTo>
                  <a:lnTo>
                    <a:pt x="564" y="378"/>
                  </a:lnTo>
                  <a:lnTo>
                    <a:pt x="558" y="396"/>
                  </a:lnTo>
                  <a:lnTo>
                    <a:pt x="546" y="414"/>
                  </a:lnTo>
                  <a:lnTo>
                    <a:pt x="546" y="438"/>
                  </a:lnTo>
                  <a:lnTo>
                    <a:pt x="540" y="456"/>
                  </a:lnTo>
                  <a:lnTo>
                    <a:pt x="540" y="474"/>
                  </a:lnTo>
                  <a:lnTo>
                    <a:pt x="528" y="480"/>
                  </a:lnTo>
                  <a:lnTo>
                    <a:pt x="522" y="492"/>
                  </a:lnTo>
                  <a:lnTo>
                    <a:pt x="504" y="498"/>
                  </a:lnTo>
                  <a:lnTo>
                    <a:pt x="498" y="498"/>
                  </a:lnTo>
                  <a:lnTo>
                    <a:pt x="492" y="504"/>
                  </a:lnTo>
                  <a:lnTo>
                    <a:pt x="486" y="510"/>
                  </a:lnTo>
                  <a:lnTo>
                    <a:pt x="480" y="510"/>
                  </a:lnTo>
                  <a:lnTo>
                    <a:pt x="480" y="516"/>
                  </a:lnTo>
                  <a:lnTo>
                    <a:pt x="474" y="522"/>
                  </a:lnTo>
                  <a:lnTo>
                    <a:pt x="474" y="528"/>
                  </a:lnTo>
                  <a:lnTo>
                    <a:pt x="474" y="534"/>
                  </a:lnTo>
                  <a:lnTo>
                    <a:pt x="480" y="540"/>
                  </a:lnTo>
                  <a:lnTo>
                    <a:pt x="492" y="540"/>
                  </a:lnTo>
                  <a:lnTo>
                    <a:pt x="498" y="546"/>
                  </a:lnTo>
                  <a:lnTo>
                    <a:pt x="504" y="552"/>
                  </a:lnTo>
                  <a:lnTo>
                    <a:pt x="510" y="552"/>
                  </a:lnTo>
                  <a:lnTo>
                    <a:pt x="516" y="558"/>
                  </a:lnTo>
                  <a:lnTo>
                    <a:pt x="528" y="558"/>
                  </a:lnTo>
                  <a:lnTo>
                    <a:pt x="534" y="552"/>
                  </a:lnTo>
                  <a:lnTo>
                    <a:pt x="540" y="552"/>
                  </a:lnTo>
                  <a:lnTo>
                    <a:pt x="546" y="552"/>
                  </a:lnTo>
                  <a:lnTo>
                    <a:pt x="558" y="546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70" y="546"/>
                  </a:lnTo>
                  <a:lnTo>
                    <a:pt x="570" y="540"/>
                  </a:lnTo>
                  <a:lnTo>
                    <a:pt x="570" y="546"/>
                  </a:lnTo>
                  <a:lnTo>
                    <a:pt x="576" y="546"/>
                  </a:lnTo>
                  <a:lnTo>
                    <a:pt x="582" y="546"/>
                  </a:lnTo>
                  <a:lnTo>
                    <a:pt x="588" y="540"/>
                  </a:lnTo>
                  <a:lnTo>
                    <a:pt x="594" y="546"/>
                  </a:lnTo>
                  <a:lnTo>
                    <a:pt x="606" y="546"/>
                  </a:lnTo>
                  <a:lnTo>
                    <a:pt x="612" y="546"/>
                  </a:lnTo>
                  <a:lnTo>
                    <a:pt x="612" y="552"/>
                  </a:lnTo>
                  <a:lnTo>
                    <a:pt x="618" y="552"/>
                  </a:lnTo>
                  <a:lnTo>
                    <a:pt x="624" y="552"/>
                  </a:lnTo>
                  <a:lnTo>
                    <a:pt x="630" y="552"/>
                  </a:lnTo>
                  <a:lnTo>
                    <a:pt x="648" y="546"/>
                  </a:lnTo>
                  <a:lnTo>
                    <a:pt x="654" y="546"/>
                  </a:lnTo>
                  <a:lnTo>
                    <a:pt x="654" y="552"/>
                  </a:lnTo>
                  <a:lnTo>
                    <a:pt x="660" y="558"/>
                  </a:lnTo>
                  <a:lnTo>
                    <a:pt x="666" y="564"/>
                  </a:lnTo>
                  <a:lnTo>
                    <a:pt x="672" y="564"/>
                  </a:lnTo>
                  <a:lnTo>
                    <a:pt x="678" y="564"/>
                  </a:lnTo>
                  <a:lnTo>
                    <a:pt x="696" y="576"/>
                  </a:lnTo>
                  <a:lnTo>
                    <a:pt x="696" y="582"/>
                  </a:lnTo>
                  <a:lnTo>
                    <a:pt x="708" y="588"/>
                  </a:lnTo>
                  <a:lnTo>
                    <a:pt x="708" y="594"/>
                  </a:lnTo>
                  <a:lnTo>
                    <a:pt x="720" y="606"/>
                  </a:lnTo>
                  <a:lnTo>
                    <a:pt x="720" y="618"/>
                  </a:lnTo>
                  <a:lnTo>
                    <a:pt x="720" y="624"/>
                  </a:lnTo>
                  <a:lnTo>
                    <a:pt x="726" y="630"/>
                  </a:lnTo>
                  <a:lnTo>
                    <a:pt x="732" y="636"/>
                  </a:lnTo>
                  <a:lnTo>
                    <a:pt x="732" y="642"/>
                  </a:lnTo>
                  <a:lnTo>
                    <a:pt x="732" y="648"/>
                  </a:lnTo>
                  <a:lnTo>
                    <a:pt x="726" y="654"/>
                  </a:lnTo>
                  <a:lnTo>
                    <a:pt x="720" y="660"/>
                  </a:lnTo>
                  <a:lnTo>
                    <a:pt x="714" y="666"/>
                  </a:lnTo>
                  <a:lnTo>
                    <a:pt x="714" y="672"/>
                  </a:lnTo>
                  <a:lnTo>
                    <a:pt x="714" y="678"/>
                  </a:lnTo>
                  <a:lnTo>
                    <a:pt x="720" y="678"/>
                  </a:lnTo>
                  <a:lnTo>
                    <a:pt x="720" y="684"/>
                  </a:lnTo>
                  <a:lnTo>
                    <a:pt x="714" y="690"/>
                  </a:lnTo>
                  <a:lnTo>
                    <a:pt x="714" y="696"/>
                  </a:lnTo>
                  <a:lnTo>
                    <a:pt x="714" y="702"/>
                  </a:lnTo>
                  <a:lnTo>
                    <a:pt x="714" y="708"/>
                  </a:lnTo>
                  <a:lnTo>
                    <a:pt x="720" y="708"/>
                  </a:lnTo>
                  <a:lnTo>
                    <a:pt x="720" y="720"/>
                  </a:lnTo>
                  <a:lnTo>
                    <a:pt x="720" y="726"/>
                  </a:lnTo>
                  <a:lnTo>
                    <a:pt x="726" y="726"/>
                  </a:lnTo>
                  <a:lnTo>
                    <a:pt x="726" y="732"/>
                  </a:lnTo>
                  <a:lnTo>
                    <a:pt x="732" y="732"/>
                  </a:lnTo>
                  <a:lnTo>
                    <a:pt x="732" y="738"/>
                  </a:lnTo>
                  <a:lnTo>
                    <a:pt x="726" y="738"/>
                  </a:lnTo>
                  <a:lnTo>
                    <a:pt x="720" y="738"/>
                  </a:lnTo>
                  <a:lnTo>
                    <a:pt x="720" y="744"/>
                  </a:lnTo>
                  <a:lnTo>
                    <a:pt x="720" y="750"/>
                  </a:lnTo>
                  <a:lnTo>
                    <a:pt x="714" y="750"/>
                  </a:lnTo>
                  <a:lnTo>
                    <a:pt x="714" y="756"/>
                  </a:lnTo>
                  <a:lnTo>
                    <a:pt x="720" y="756"/>
                  </a:lnTo>
                  <a:lnTo>
                    <a:pt x="714" y="762"/>
                  </a:lnTo>
                  <a:lnTo>
                    <a:pt x="720" y="762"/>
                  </a:lnTo>
                  <a:lnTo>
                    <a:pt x="726" y="768"/>
                  </a:lnTo>
                  <a:lnTo>
                    <a:pt x="726" y="774"/>
                  </a:lnTo>
                  <a:lnTo>
                    <a:pt x="732" y="774"/>
                  </a:lnTo>
                  <a:lnTo>
                    <a:pt x="732" y="780"/>
                  </a:lnTo>
                  <a:lnTo>
                    <a:pt x="726" y="780"/>
                  </a:lnTo>
                  <a:lnTo>
                    <a:pt x="726" y="786"/>
                  </a:lnTo>
                  <a:lnTo>
                    <a:pt x="720" y="786"/>
                  </a:lnTo>
                  <a:lnTo>
                    <a:pt x="726" y="786"/>
                  </a:lnTo>
                  <a:lnTo>
                    <a:pt x="732" y="780"/>
                  </a:lnTo>
                  <a:lnTo>
                    <a:pt x="738" y="780"/>
                  </a:lnTo>
                  <a:lnTo>
                    <a:pt x="744" y="780"/>
                  </a:lnTo>
                  <a:lnTo>
                    <a:pt x="744" y="786"/>
                  </a:lnTo>
                  <a:lnTo>
                    <a:pt x="750" y="786"/>
                  </a:lnTo>
                  <a:lnTo>
                    <a:pt x="744" y="786"/>
                  </a:lnTo>
                  <a:lnTo>
                    <a:pt x="744" y="792"/>
                  </a:lnTo>
                  <a:lnTo>
                    <a:pt x="744" y="786"/>
                  </a:lnTo>
                  <a:lnTo>
                    <a:pt x="738" y="792"/>
                  </a:lnTo>
                  <a:lnTo>
                    <a:pt x="744" y="792"/>
                  </a:lnTo>
                  <a:lnTo>
                    <a:pt x="750" y="792"/>
                  </a:lnTo>
                  <a:lnTo>
                    <a:pt x="750" y="786"/>
                  </a:lnTo>
                  <a:lnTo>
                    <a:pt x="756" y="786"/>
                  </a:lnTo>
                  <a:lnTo>
                    <a:pt x="756" y="792"/>
                  </a:lnTo>
                  <a:lnTo>
                    <a:pt x="762" y="792"/>
                  </a:lnTo>
                  <a:lnTo>
                    <a:pt x="756" y="798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0" y="810"/>
                  </a:lnTo>
                  <a:lnTo>
                    <a:pt x="756" y="810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6" y="816"/>
                  </a:lnTo>
                  <a:lnTo>
                    <a:pt x="750" y="816"/>
                  </a:lnTo>
                  <a:lnTo>
                    <a:pt x="738" y="810"/>
                  </a:lnTo>
                  <a:lnTo>
                    <a:pt x="732" y="810"/>
                  </a:lnTo>
                  <a:lnTo>
                    <a:pt x="732" y="816"/>
                  </a:lnTo>
                  <a:lnTo>
                    <a:pt x="726" y="810"/>
                  </a:lnTo>
                  <a:lnTo>
                    <a:pt x="714" y="816"/>
                  </a:lnTo>
                  <a:lnTo>
                    <a:pt x="708" y="816"/>
                  </a:lnTo>
                  <a:lnTo>
                    <a:pt x="702" y="816"/>
                  </a:lnTo>
                  <a:lnTo>
                    <a:pt x="696" y="816"/>
                  </a:lnTo>
                  <a:lnTo>
                    <a:pt x="690" y="822"/>
                  </a:lnTo>
                  <a:lnTo>
                    <a:pt x="684" y="822"/>
                  </a:lnTo>
                  <a:lnTo>
                    <a:pt x="678" y="822"/>
                  </a:lnTo>
                  <a:lnTo>
                    <a:pt x="672" y="822"/>
                  </a:lnTo>
                  <a:lnTo>
                    <a:pt x="666" y="822"/>
                  </a:lnTo>
                  <a:lnTo>
                    <a:pt x="666" y="828"/>
                  </a:lnTo>
                  <a:lnTo>
                    <a:pt x="654" y="828"/>
                  </a:lnTo>
                  <a:lnTo>
                    <a:pt x="648" y="828"/>
                  </a:lnTo>
                  <a:lnTo>
                    <a:pt x="642" y="828"/>
                  </a:lnTo>
                  <a:lnTo>
                    <a:pt x="630" y="828"/>
                  </a:lnTo>
                  <a:lnTo>
                    <a:pt x="624" y="822"/>
                  </a:lnTo>
                  <a:lnTo>
                    <a:pt x="618" y="822"/>
                  </a:lnTo>
                  <a:lnTo>
                    <a:pt x="612" y="822"/>
                  </a:lnTo>
                  <a:lnTo>
                    <a:pt x="606" y="822"/>
                  </a:lnTo>
                  <a:lnTo>
                    <a:pt x="600" y="822"/>
                  </a:lnTo>
                  <a:lnTo>
                    <a:pt x="594" y="822"/>
                  </a:lnTo>
                  <a:lnTo>
                    <a:pt x="594" y="816"/>
                  </a:lnTo>
                  <a:lnTo>
                    <a:pt x="594" y="810"/>
                  </a:lnTo>
                  <a:lnTo>
                    <a:pt x="600" y="804"/>
                  </a:lnTo>
                  <a:lnTo>
                    <a:pt x="600" y="798"/>
                  </a:lnTo>
                  <a:lnTo>
                    <a:pt x="600" y="792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2" y="786"/>
                  </a:lnTo>
                  <a:lnTo>
                    <a:pt x="618" y="786"/>
                  </a:lnTo>
                  <a:lnTo>
                    <a:pt x="624" y="786"/>
                  </a:lnTo>
                  <a:lnTo>
                    <a:pt x="624" y="780"/>
                  </a:lnTo>
                  <a:lnTo>
                    <a:pt x="630" y="780"/>
                  </a:lnTo>
                  <a:lnTo>
                    <a:pt x="630" y="774"/>
                  </a:lnTo>
                  <a:lnTo>
                    <a:pt x="636" y="774"/>
                  </a:lnTo>
                  <a:lnTo>
                    <a:pt x="642" y="780"/>
                  </a:lnTo>
                  <a:lnTo>
                    <a:pt x="642" y="786"/>
                  </a:lnTo>
                  <a:lnTo>
                    <a:pt x="642" y="792"/>
                  </a:lnTo>
                  <a:lnTo>
                    <a:pt x="648" y="792"/>
                  </a:lnTo>
                  <a:lnTo>
                    <a:pt x="648" y="786"/>
                  </a:lnTo>
                  <a:lnTo>
                    <a:pt x="642" y="786"/>
                  </a:lnTo>
                  <a:lnTo>
                    <a:pt x="642" y="780"/>
                  </a:lnTo>
                  <a:lnTo>
                    <a:pt x="642" y="774"/>
                  </a:lnTo>
                  <a:lnTo>
                    <a:pt x="648" y="768"/>
                  </a:lnTo>
                  <a:lnTo>
                    <a:pt x="642" y="768"/>
                  </a:lnTo>
                  <a:lnTo>
                    <a:pt x="648" y="768"/>
                  </a:lnTo>
                  <a:lnTo>
                    <a:pt x="648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66" y="762"/>
                  </a:lnTo>
                  <a:lnTo>
                    <a:pt x="672" y="756"/>
                  </a:lnTo>
                  <a:lnTo>
                    <a:pt x="666" y="756"/>
                  </a:lnTo>
                  <a:lnTo>
                    <a:pt x="660" y="756"/>
                  </a:lnTo>
                  <a:lnTo>
                    <a:pt x="660" y="750"/>
                  </a:lnTo>
                  <a:lnTo>
                    <a:pt x="654" y="750"/>
                  </a:lnTo>
                  <a:lnTo>
                    <a:pt x="648" y="750"/>
                  </a:lnTo>
                  <a:lnTo>
                    <a:pt x="648" y="756"/>
                  </a:lnTo>
                  <a:lnTo>
                    <a:pt x="642" y="756"/>
                  </a:lnTo>
                  <a:lnTo>
                    <a:pt x="642" y="750"/>
                  </a:lnTo>
                  <a:lnTo>
                    <a:pt x="642" y="744"/>
                  </a:lnTo>
                  <a:lnTo>
                    <a:pt x="642" y="750"/>
                  </a:lnTo>
                  <a:lnTo>
                    <a:pt x="636" y="750"/>
                  </a:lnTo>
                  <a:lnTo>
                    <a:pt x="636" y="744"/>
                  </a:lnTo>
                  <a:lnTo>
                    <a:pt x="630" y="744"/>
                  </a:lnTo>
                  <a:lnTo>
                    <a:pt x="630" y="738"/>
                  </a:lnTo>
                  <a:lnTo>
                    <a:pt x="630" y="744"/>
                  </a:lnTo>
                  <a:lnTo>
                    <a:pt x="630" y="750"/>
                  </a:lnTo>
                  <a:lnTo>
                    <a:pt x="636" y="750"/>
                  </a:lnTo>
                  <a:lnTo>
                    <a:pt x="636" y="756"/>
                  </a:lnTo>
                  <a:lnTo>
                    <a:pt x="630" y="756"/>
                  </a:lnTo>
                  <a:lnTo>
                    <a:pt x="636" y="762"/>
                  </a:lnTo>
                  <a:lnTo>
                    <a:pt x="630" y="762"/>
                  </a:lnTo>
                  <a:lnTo>
                    <a:pt x="624" y="762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24" y="786"/>
                  </a:lnTo>
                  <a:lnTo>
                    <a:pt x="618" y="786"/>
                  </a:lnTo>
                  <a:lnTo>
                    <a:pt x="618" y="78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12" y="774"/>
                  </a:lnTo>
                  <a:lnTo>
                    <a:pt x="612" y="780"/>
                  </a:lnTo>
                  <a:lnTo>
                    <a:pt x="606" y="780"/>
                  </a:lnTo>
                  <a:lnTo>
                    <a:pt x="600" y="780"/>
                  </a:lnTo>
                  <a:lnTo>
                    <a:pt x="600" y="774"/>
                  </a:lnTo>
                  <a:lnTo>
                    <a:pt x="594" y="768"/>
                  </a:lnTo>
                  <a:lnTo>
                    <a:pt x="594" y="762"/>
                  </a:lnTo>
                  <a:lnTo>
                    <a:pt x="594" y="756"/>
                  </a:lnTo>
                  <a:lnTo>
                    <a:pt x="594" y="762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594" y="780"/>
                  </a:lnTo>
                  <a:lnTo>
                    <a:pt x="588" y="780"/>
                  </a:lnTo>
                  <a:lnTo>
                    <a:pt x="582" y="780"/>
                  </a:lnTo>
                  <a:lnTo>
                    <a:pt x="576" y="780"/>
                  </a:lnTo>
                  <a:lnTo>
                    <a:pt x="570" y="780"/>
                  </a:lnTo>
                  <a:lnTo>
                    <a:pt x="564" y="780"/>
                  </a:lnTo>
                  <a:lnTo>
                    <a:pt x="564" y="786"/>
                  </a:lnTo>
                  <a:lnTo>
                    <a:pt x="558" y="786"/>
                  </a:lnTo>
                  <a:lnTo>
                    <a:pt x="552" y="786"/>
                  </a:lnTo>
                  <a:lnTo>
                    <a:pt x="552" y="780"/>
                  </a:lnTo>
                  <a:lnTo>
                    <a:pt x="552" y="774"/>
                  </a:lnTo>
                  <a:lnTo>
                    <a:pt x="552" y="768"/>
                  </a:lnTo>
                  <a:lnTo>
                    <a:pt x="546" y="768"/>
                  </a:lnTo>
                  <a:lnTo>
                    <a:pt x="540" y="762"/>
                  </a:lnTo>
                  <a:lnTo>
                    <a:pt x="540" y="756"/>
                  </a:lnTo>
                  <a:lnTo>
                    <a:pt x="534" y="756"/>
                  </a:lnTo>
                  <a:lnTo>
                    <a:pt x="534" y="750"/>
                  </a:lnTo>
                  <a:lnTo>
                    <a:pt x="534" y="744"/>
                  </a:lnTo>
                  <a:lnTo>
                    <a:pt x="528" y="738"/>
                  </a:lnTo>
                  <a:lnTo>
                    <a:pt x="522" y="738"/>
                  </a:lnTo>
                  <a:lnTo>
                    <a:pt x="522" y="732"/>
                  </a:lnTo>
                  <a:lnTo>
                    <a:pt x="510" y="726"/>
                  </a:lnTo>
                  <a:lnTo>
                    <a:pt x="510" y="720"/>
                  </a:lnTo>
                  <a:lnTo>
                    <a:pt x="504" y="720"/>
                  </a:lnTo>
                  <a:lnTo>
                    <a:pt x="504" y="714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8" y="702"/>
                  </a:lnTo>
                  <a:lnTo>
                    <a:pt x="498" y="696"/>
                  </a:lnTo>
                  <a:lnTo>
                    <a:pt x="492" y="690"/>
                  </a:lnTo>
                  <a:lnTo>
                    <a:pt x="492" y="684"/>
                  </a:lnTo>
                  <a:lnTo>
                    <a:pt x="486" y="684"/>
                  </a:lnTo>
                  <a:lnTo>
                    <a:pt x="486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74" y="678"/>
                  </a:lnTo>
                  <a:lnTo>
                    <a:pt x="468" y="678"/>
                  </a:lnTo>
                  <a:lnTo>
                    <a:pt x="462" y="678"/>
                  </a:lnTo>
                  <a:lnTo>
                    <a:pt x="462" y="672"/>
                  </a:lnTo>
                  <a:lnTo>
                    <a:pt x="456" y="672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44" y="666"/>
                  </a:lnTo>
                  <a:lnTo>
                    <a:pt x="438" y="660"/>
                  </a:lnTo>
                  <a:lnTo>
                    <a:pt x="438" y="648"/>
                  </a:lnTo>
                  <a:lnTo>
                    <a:pt x="438" y="642"/>
                  </a:lnTo>
                  <a:lnTo>
                    <a:pt x="438" y="636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36"/>
                  </a:lnTo>
                  <a:lnTo>
                    <a:pt x="420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60"/>
                  </a:lnTo>
                  <a:lnTo>
                    <a:pt x="432" y="666"/>
                  </a:lnTo>
                  <a:lnTo>
                    <a:pt x="438" y="666"/>
                  </a:lnTo>
                  <a:lnTo>
                    <a:pt x="438" y="672"/>
                  </a:lnTo>
                  <a:lnTo>
                    <a:pt x="444" y="672"/>
                  </a:lnTo>
                  <a:lnTo>
                    <a:pt x="444" y="678"/>
                  </a:lnTo>
                  <a:lnTo>
                    <a:pt x="450" y="678"/>
                  </a:lnTo>
                  <a:lnTo>
                    <a:pt x="456" y="678"/>
                  </a:lnTo>
                  <a:lnTo>
                    <a:pt x="456" y="684"/>
                  </a:lnTo>
                  <a:lnTo>
                    <a:pt x="462" y="684"/>
                  </a:lnTo>
                  <a:lnTo>
                    <a:pt x="468" y="684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80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86" y="708"/>
                  </a:lnTo>
                  <a:lnTo>
                    <a:pt x="492" y="714"/>
                  </a:lnTo>
                  <a:lnTo>
                    <a:pt x="492" y="720"/>
                  </a:lnTo>
                  <a:lnTo>
                    <a:pt x="492" y="726"/>
                  </a:lnTo>
                  <a:lnTo>
                    <a:pt x="498" y="732"/>
                  </a:lnTo>
                  <a:lnTo>
                    <a:pt x="492" y="738"/>
                  </a:lnTo>
                  <a:lnTo>
                    <a:pt x="492" y="744"/>
                  </a:lnTo>
                  <a:lnTo>
                    <a:pt x="492" y="750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68" y="738"/>
                  </a:lnTo>
                  <a:lnTo>
                    <a:pt x="468" y="744"/>
                  </a:lnTo>
                  <a:lnTo>
                    <a:pt x="474" y="750"/>
                  </a:lnTo>
                  <a:lnTo>
                    <a:pt x="480" y="756"/>
                  </a:lnTo>
                  <a:lnTo>
                    <a:pt x="486" y="756"/>
                  </a:lnTo>
                  <a:lnTo>
                    <a:pt x="492" y="762"/>
                  </a:lnTo>
                  <a:lnTo>
                    <a:pt x="498" y="768"/>
                  </a:lnTo>
                  <a:lnTo>
                    <a:pt x="492" y="774"/>
                  </a:lnTo>
                  <a:lnTo>
                    <a:pt x="492" y="780"/>
                  </a:lnTo>
                  <a:lnTo>
                    <a:pt x="498" y="780"/>
                  </a:lnTo>
                  <a:lnTo>
                    <a:pt x="492" y="786"/>
                  </a:lnTo>
                  <a:lnTo>
                    <a:pt x="492" y="792"/>
                  </a:lnTo>
                  <a:lnTo>
                    <a:pt x="492" y="79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0" y="810"/>
                  </a:lnTo>
                  <a:lnTo>
                    <a:pt x="480" y="804"/>
                  </a:lnTo>
                  <a:lnTo>
                    <a:pt x="474" y="804"/>
                  </a:lnTo>
                  <a:lnTo>
                    <a:pt x="474" y="798"/>
                  </a:lnTo>
                  <a:lnTo>
                    <a:pt x="474" y="804"/>
                  </a:lnTo>
                  <a:lnTo>
                    <a:pt x="468" y="804"/>
                  </a:lnTo>
                  <a:lnTo>
                    <a:pt x="468" y="810"/>
                  </a:lnTo>
                  <a:lnTo>
                    <a:pt x="462" y="810"/>
                  </a:lnTo>
                  <a:lnTo>
                    <a:pt x="456" y="810"/>
                  </a:lnTo>
                  <a:lnTo>
                    <a:pt x="450" y="810"/>
                  </a:lnTo>
                  <a:lnTo>
                    <a:pt x="450" y="816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50" y="822"/>
                  </a:lnTo>
                  <a:lnTo>
                    <a:pt x="450" y="816"/>
                  </a:lnTo>
                  <a:lnTo>
                    <a:pt x="444" y="816"/>
                  </a:lnTo>
                  <a:lnTo>
                    <a:pt x="438" y="810"/>
                  </a:lnTo>
                  <a:lnTo>
                    <a:pt x="432" y="810"/>
                  </a:lnTo>
                  <a:lnTo>
                    <a:pt x="426" y="804"/>
                  </a:lnTo>
                  <a:lnTo>
                    <a:pt x="426" y="798"/>
                  </a:lnTo>
                  <a:lnTo>
                    <a:pt x="420" y="798"/>
                  </a:lnTo>
                  <a:lnTo>
                    <a:pt x="426" y="798"/>
                  </a:lnTo>
                  <a:lnTo>
                    <a:pt x="426" y="792"/>
                  </a:lnTo>
                  <a:lnTo>
                    <a:pt x="426" y="786"/>
                  </a:lnTo>
                  <a:lnTo>
                    <a:pt x="432" y="786"/>
                  </a:lnTo>
                  <a:lnTo>
                    <a:pt x="432" y="780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0" y="756"/>
                  </a:lnTo>
                  <a:lnTo>
                    <a:pt x="420" y="750"/>
                  </a:lnTo>
                  <a:lnTo>
                    <a:pt x="414" y="750"/>
                  </a:lnTo>
                  <a:lnTo>
                    <a:pt x="420" y="750"/>
                  </a:lnTo>
                  <a:lnTo>
                    <a:pt x="420" y="744"/>
                  </a:lnTo>
                  <a:lnTo>
                    <a:pt x="414" y="744"/>
                  </a:lnTo>
                  <a:lnTo>
                    <a:pt x="414" y="738"/>
                  </a:lnTo>
                  <a:lnTo>
                    <a:pt x="414" y="732"/>
                  </a:lnTo>
                  <a:lnTo>
                    <a:pt x="408" y="732"/>
                  </a:lnTo>
                  <a:lnTo>
                    <a:pt x="408" y="726"/>
                  </a:lnTo>
                  <a:lnTo>
                    <a:pt x="402" y="726"/>
                  </a:lnTo>
                  <a:lnTo>
                    <a:pt x="396" y="726"/>
                  </a:lnTo>
                  <a:lnTo>
                    <a:pt x="390" y="726"/>
                  </a:lnTo>
                  <a:lnTo>
                    <a:pt x="390" y="720"/>
                  </a:lnTo>
                  <a:lnTo>
                    <a:pt x="390" y="714"/>
                  </a:lnTo>
                  <a:lnTo>
                    <a:pt x="384" y="708"/>
                  </a:lnTo>
                  <a:lnTo>
                    <a:pt x="384" y="702"/>
                  </a:lnTo>
                  <a:lnTo>
                    <a:pt x="378" y="702"/>
                  </a:lnTo>
                  <a:lnTo>
                    <a:pt x="378" y="696"/>
                  </a:lnTo>
                  <a:lnTo>
                    <a:pt x="378" y="690"/>
                  </a:lnTo>
                  <a:lnTo>
                    <a:pt x="372" y="684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66" y="666"/>
                  </a:lnTo>
                  <a:lnTo>
                    <a:pt x="366" y="660"/>
                  </a:lnTo>
                  <a:lnTo>
                    <a:pt x="366" y="654"/>
                  </a:lnTo>
                  <a:lnTo>
                    <a:pt x="360" y="648"/>
                  </a:lnTo>
                  <a:lnTo>
                    <a:pt x="360" y="654"/>
                  </a:lnTo>
                  <a:lnTo>
                    <a:pt x="360" y="660"/>
                  </a:lnTo>
                  <a:lnTo>
                    <a:pt x="360" y="666"/>
                  </a:lnTo>
                  <a:lnTo>
                    <a:pt x="360" y="672"/>
                  </a:lnTo>
                  <a:lnTo>
                    <a:pt x="360" y="678"/>
                  </a:lnTo>
                  <a:lnTo>
                    <a:pt x="366" y="678"/>
                  </a:lnTo>
                  <a:lnTo>
                    <a:pt x="366" y="684"/>
                  </a:lnTo>
                  <a:lnTo>
                    <a:pt x="366" y="690"/>
                  </a:lnTo>
                  <a:lnTo>
                    <a:pt x="372" y="696"/>
                  </a:lnTo>
                  <a:lnTo>
                    <a:pt x="372" y="702"/>
                  </a:lnTo>
                  <a:lnTo>
                    <a:pt x="372" y="708"/>
                  </a:lnTo>
                  <a:lnTo>
                    <a:pt x="372" y="714"/>
                  </a:lnTo>
                  <a:lnTo>
                    <a:pt x="366" y="714"/>
                  </a:lnTo>
                  <a:lnTo>
                    <a:pt x="360" y="714"/>
                  </a:lnTo>
                  <a:lnTo>
                    <a:pt x="354" y="714"/>
                  </a:lnTo>
                  <a:lnTo>
                    <a:pt x="348" y="714"/>
                  </a:lnTo>
                  <a:lnTo>
                    <a:pt x="348" y="708"/>
                  </a:lnTo>
                  <a:lnTo>
                    <a:pt x="342" y="708"/>
                  </a:lnTo>
                  <a:lnTo>
                    <a:pt x="342" y="702"/>
                  </a:lnTo>
                  <a:lnTo>
                    <a:pt x="342" y="696"/>
                  </a:lnTo>
                  <a:lnTo>
                    <a:pt x="336" y="696"/>
                  </a:lnTo>
                  <a:lnTo>
                    <a:pt x="336" y="690"/>
                  </a:lnTo>
                  <a:lnTo>
                    <a:pt x="336" y="684"/>
                  </a:lnTo>
                  <a:lnTo>
                    <a:pt x="330" y="684"/>
                  </a:lnTo>
                  <a:lnTo>
                    <a:pt x="330" y="678"/>
                  </a:lnTo>
                  <a:lnTo>
                    <a:pt x="324" y="672"/>
                  </a:lnTo>
                  <a:lnTo>
                    <a:pt x="324" y="666"/>
                  </a:lnTo>
                  <a:lnTo>
                    <a:pt x="318" y="666"/>
                  </a:lnTo>
                  <a:lnTo>
                    <a:pt x="318" y="672"/>
                  </a:lnTo>
                  <a:lnTo>
                    <a:pt x="324" y="672"/>
                  </a:lnTo>
                  <a:lnTo>
                    <a:pt x="324" y="678"/>
                  </a:lnTo>
                  <a:lnTo>
                    <a:pt x="324" y="684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30" y="696"/>
                  </a:lnTo>
                  <a:lnTo>
                    <a:pt x="336" y="702"/>
                  </a:lnTo>
                  <a:lnTo>
                    <a:pt x="342" y="708"/>
                  </a:lnTo>
                  <a:lnTo>
                    <a:pt x="342" y="714"/>
                  </a:lnTo>
                  <a:lnTo>
                    <a:pt x="348" y="720"/>
                  </a:lnTo>
                  <a:lnTo>
                    <a:pt x="342" y="720"/>
                  </a:lnTo>
                  <a:lnTo>
                    <a:pt x="336" y="720"/>
                  </a:lnTo>
                  <a:lnTo>
                    <a:pt x="330" y="720"/>
                  </a:lnTo>
                  <a:lnTo>
                    <a:pt x="330" y="726"/>
                  </a:lnTo>
                  <a:lnTo>
                    <a:pt x="336" y="726"/>
                  </a:lnTo>
                  <a:lnTo>
                    <a:pt x="330" y="732"/>
                  </a:lnTo>
                  <a:lnTo>
                    <a:pt x="330" y="738"/>
                  </a:lnTo>
                  <a:lnTo>
                    <a:pt x="330" y="744"/>
                  </a:lnTo>
                  <a:lnTo>
                    <a:pt x="336" y="744"/>
                  </a:lnTo>
                  <a:lnTo>
                    <a:pt x="342" y="744"/>
                  </a:lnTo>
                  <a:lnTo>
                    <a:pt x="348" y="744"/>
                  </a:lnTo>
                  <a:lnTo>
                    <a:pt x="348" y="750"/>
                  </a:lnTo>
                  <a:lnTo>
                    <a:pt x="354" y="750"/>
                  </a:lnTo>
                  <a:lnTo>
                    <a:pt x="360" y="756"/>
                  </a:lnTo>
                  <a:lnTo>
                    <a:pt x="360" y="762"/>
                  </a:lnTo>
                  <a:lnTo>
                    <a:pt x="366" y="762"/>
                  </a:lnTo>
                  <a:lnTo>
                    <a:pt x="366" y="768"/>
                  </a:lnTo>
                  <a:lnTo>
                    <a:pt x="366" y="774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72" y="792"/>
                  </a:lnTo>
                  <a:lnTo>
                    <a:pt x="372" y="798"/>
                  </a:lnTo>
                  <a:lnTo>
                    <a:pt x="372" y="804"/>
                  </a:lnTo>
                  <a:lnTo>
                    <a:pt x="378" y="804"/>
                  </a:lnTo>
                  <a:lnTo>
                    <a:pt x="378" y="810"/>
                  </a:lnTo>
                  <a:lnTo>
                    <a:pt x="378" y="816"/>
                  </a:lnTo>
                  <a:lnTo>
                    <a:pt x="372" y="816"/>
                  </a:lnTo>
                  <a:lnTo>
                    <a:pt x="378" y="816"/>
                  </a:lnTo>
                  <a:lnTo>
                    <a:pt x="378" y="822"/>
                  </a:lnTo>
                  <a:lnTo>
                    <a:pt x="378" y="828"/>
                  </a:lnTo>
                  <a:lnTo>
                    <a:pt x="378" y="834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0" y="864"/>
                  </a:lnTo>
                  <a:lnTo>
                    <a:pt x="384" y="864"/>
                  </a:lnTo>
                  <a:lnTo>
                    <a:pt x="384" y="870"/>
                  </a:lnTo>
                  <a:lnTo>
                    <a:pt x="378" y="864"/>
                  </a:lnTo>
                  <a:lnTo>
                    <a:pt x="372" y="864"/>
                  </a:lnTo>
                  <a:lnTo>
                    <a:pt x="366" y="858"/>
                  </a:lnTo>
                  <a:lnTo>
                    <a:pt x="366" y="852"/>
                  </a:lnTo>
                  <a:lnTo>
                    <a:pt x="360" y="852"/>
                  </a:lnTo>
                  <a:lnTo>
                    <a:pt x="360" y="858"/>
                  </a:lnTo>
                  <a:lnTo>
                    <a:pt x="366" y="858"/>
                  </a:lnTo>
                  <a:lnTo>
                    <a:pt x="366" y="864"/>
                  </a:lnTo>
                  <a:lnTo>
                    <a:pt x="360" y="864"/>
                  </a:lnTo>
                  <a:lnTo>
                    <a:pt x="354" y="864"/>
                  </a:lnTo>
                  <a:lnTo>
                    <a:pt x="354" y="870"/>
                  </a:lnTo>
                  <a:lnTo>
                    <a:pt x="354" y="864"/>
                  </a:lnTo>
                  <a:lnTo>
                    <a:pt x="348" y="864"/>
                  </a:lnTo>
                  <a:lnTo>
                    <a:pt x="342" y="864"/>
                  </a:lnTo>
                  <a:lnTo>
                    <a:pt x="342" y="858"/>
                  </a:lnTo>
                  <a:lnTo>
                    <a:pt x="336" y="858"/>
                  </a:lnTo>
                  <a:lnTo>
                    <a:pt x="330" y="858"/>
                  </a:lnTo>
                  <a:lnTo>
                    <a:pt x="324" y="858"/>
                  </a:lnTo>
                  <a:lnTo>
                    <a:pt x="318" y="858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0" y="852"/>
                  </a:lnTo>
                  <a:lnTo>
                    <a:pt x="294" y="852"/>
                  </a:lnTo>
                  <a:lnTo>
                    <a:pt x="294" y="846"/>
                  </a:lnTo>
                  <a:lnTo>
                    <a:pt x="288" y="840"/>
                  </a:lnTo>
                  <a:lnTo>
                    <a:pt x="288" y="828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2" y="816"/>
                  </a:lnTo>
                  <a:lnTo>
                    <a:pt x="282" y="810"/>
                  </a:lnTo>
                  <a:lnTo>
                    <a:pt x="276" y="810"/>
                  </a:lnTo>
                  <a:lnTo>
                    <a:pt x="276" y="804"/>
                  </a:lnTo>
                  <a:lnTo>
                    <a:pt x="276" y="798"/>
                  </a:lnTo>
                  <a:lnTo>
                    <a:pt x="276" y="792"/>
                  </a:lnTo>
                  <a:lnTo>
                    <a:pt x="270" y="786"/>
                  </a:lnTo>
                  <a:lnTo>
                    <a:pt x="270" y="780"/>
                  </a:lnTo>
                  <a:lnTo>
                    <a:pt x="270" y="774"/>
                  </a:lnTo>
                  <a:lnTo>
                    <a:pt x="264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64" y="750"/>
                  </a:lnTo>
                  <a:lnTo>
                    <a:pt x="264" y="744"/>
                  </a:lnTo>
                  <a:lnTo>
                    <a:pt x="264" y="738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26"/>
                  </a:lnTo>
                  <a:lnTo>
                    <a:pt x="276" y="720"/>
                  </a:lnTo>
                  <a:lnTo>
                    <a:pt x="282" y="720"/>
                  </a:lnTo>
                  <a:lnTo>
                    <a:pt x="282" y="714"/>
                  </a:lnTo>
                  <a:lnTo>
                    <a:pt x="282" y="708"/>
                  </a:lnTo>
                  <a:lnTo>
                    <a:pt x="276" y="708"/>
                  </a:lnTo>
                  <a:lnTo>
                    <a:pt x="276" y="702"/>
                  </a:lnTo>
                  <a:lnTo>
                    <a:pt x="270" y="702"/>
                  </a:lnTo>
                  <a:lnTo>
                    <a:pt x="270" y="696"/>
                  </a:lnTo>
                  <a:lnTo>
                    <a:pt x="264" y="690"/>
                  </a:lnTo>
                  <a:lnTo>
                    <a:pt x="258" y="690"/>
                  </a:lnTo>
                  <a:lnTo>
                    <a:pt x="258" y="684"/>
                  </a:lnTo>
                  <a:lnTo>
                    <a:pt x="252" y="684"/>
                  </a:lnTo>
                  <a:lnTo>
                    <a:pt x="252" y="678"/>
                  </a:lnTo>
                  <a:lnTo>
                    <a:pt x="246" y="678"/>
                  </a:lnTo>
                  <a:lnTo>
                    <a:pt x="240" y="678"/>
                  </a:lnTo>
                  <a:lnTo>
                    <a:pt x="240" y="684"/>
                  </a:lnTo>
                  <a:lnTo>
                    <a:pt x="246" y="684"/>
                  </a:lnTo>
                  <a:lnTo>
                    <a:pt x="252" y="690"/>
                  </a:lnTo>
                  <a:lnTo>
                    <a:pt x="258" y="690"/>
                  </a:lnTo>
                  <a:lnTo>
                    <a:pt x="258" y="696"/>
                  </a:lnTo>
                  <a:lnTo>
                    <a:pt x="258" y="702"/>
                  </a:lnTo>
                  <a:lnTo>
                    <a:pt x="264" y="702"/>
                  </a:lnTo>
                  <a:lnTo>
                    <a:pt x="270" y="708"/>
                  </a:lnTo>
                  <a:lnTo>
                    <a:pt x="270" y="714"/>
                  </a:lnTo>
                  <a:lnTo>
                    <a:pt x="270" y="720"/>
                  </a:lnTo>
                  <a:lnTo>
                    <a:pt x="276" y="720"/>
                  </a:lnTo>
                  <a:lnTo>
                    <a:pt x="270" y="720"/>
                  </a:lnTo>
                  <a:lnTo>
                    <a:pt x="270" y="726"/>
                  </a:lnTo>
                  <a:lnTo>
                    <a:pt x="264" y="726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52" y="738"/>
                  </a:lnTo>
                  <a:lnTo>
                    <a:pt x="252" y="744"/>
                  </a:lnTo>
                  <a:lnTo>
                    <a:pt x="252" y="750"/>
                  </a:lnTo>
                  <a:lnTo>
                    <a:pt x="252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58" y="774"/>
                  </a:lnTo>
                  <a:lnTo>
                    <a:pt x="258" y="780"/>
                  </a:lnTo>
                  <a:lnTo>
                    <a:pt x="264" y="786"/>
                  </a:lnTo>
                  <a:lnTo>
                    <a:pt x="264" y="792"/>
                  </a:lnTo>
                  <a:lnTo>
                    <a:pt x="264" y="798"/>
                  </a:lnTo>
                  <a:lnTo>
                    <a:pt x="270" y="810"/>
                  </a:lnTo>
                  <a:lnTo>
                    <a:pt x="270" y="816"/>
                  </a:lnTo>
                  <a:lnTo>
                    <a:pt x="270" y="822"/>
                  </a:lnTo>
                  <a:lnTo>
                    <a:pt x="276" y="822"/>
                  </a:lnTo>
                  <a:lnTo>
                    <a:pt x="276" y="828"/>
                  </a:lnTo>
                  <a:lnTo>
                    <a:pt x="276" y="834"/>
                  </a:lnTo>
                  <a:lnTo>
                    <a:pt x="276" y="840"/>
                  </a:lnTo>
                  <a:lnTo>
                    <a:pt x="276" y="846"/>
                  </a:lnTo>
                  <a:lnTo>
                    <a:pt x="282" y="852"/>
                  </a:lnTo>
                  <a:lnTo>
                    <a:pt x="282" y="858"/>
                  </a:lnTo>
                  <a:lnTo>
                    <a:pt x="294" y="864"/>
                  </a:lnTo>
                  <a:lnTo>
                    <a:pt x="300" y="870"/>
                  </a:lnTo>
                  <a:lnTo>
                    <a:pt x="300" y="876"/>
                  </a:lnTo>
                  <a:lnTo>
                    <a:pt x="288" y="876"/>
                  </a:lnTo>
                  <a:lnTo>
                    <a:pt x="282" y="876"/>
                  </a:lnTo>
                  <a:lnTo>
                    <a:pt x="276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2" y="882"/>
                  </a:lnTo>
                  <a:lnTo>
                    <a:pt x="246" y="882"/>
                  </a:lnTo>
                  <a:lnTo>
                    <a:pt x="240" y="882"/>
                  </a:lnTo>
                  <a:lnTo>
                    <a:pt x="234" y="882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204" y="876"/>
                  </a:lnTo>
                  <a:lnTo>
                    <a:pt x="198" y="876"/>
                  </a:lnTo>
                  <a:lnTo>
                    <a:pt x="198" y="870"/>
                  </a:lnTo>
                  <a:lnTo>
                    <a:pt x="198" y="852"/>
                  </a:lnTo>
                  <a:lnTo>
                    <a:pt x="198" y="846"/>
                  </a:lnTo>
                  <a:lnTo>
                    <a:pt x="204" y="846"/>
                  </a:lnTo>
                  <a:lnTo>
                    <a:pt x="198" y="840"/>
                  </a:lnTo>
                  <a:lnTo>
                    <a:pt x="198" y="834"/>
                  </a:lnTo>
                  <a:lnTo>
                    <a:pt x="198" y="828"/>
                  </a:lnTo>
                  <a:lnTo>
                    <a:pt x="198" y="822"/>
                  </a:lnTo>
                  <a:lnTo>
                    <a:pt x="198" y="816"/>
                  </a:lnTo>
                  <a:lnTo>
                    <a:pt x="198" y="810"/>
                  </a:lnTo>
                  <a:lnTo>
                    <a:pt x="192" y="810"/>
                  </a:lnTo>
                  <a:lnTo>
                    <a:pt x="192" y="804"/>
                  </a:lnTo>
                  <a:lnTo>
                    <a:pt x="192" y="798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2" y="774"/>
                  </a:lnTo>
                  <a:lnTo>
                    <a:pt x="192" y="768"/>
                  </a:lnTo>
                  <a:lnTo>
                    <a:pt x="198" y="768"/>
                  </a:lnTo>
                  <a:lnTo>
                    <a:pt x="198" y="762"/>
                  </a:lnTo>
                  <a:lnTo>
                    <a:pt x="198" y="756"/>
                  </a:lnTo>
                  <a:lnTo>
                    <a:pt x="204" y="756"/>
                  </a:lnTo>
                  <a:lnTo>
                    <a:pt x="204" y="750"/>
                  </a:lnTo>
                  <a:lnTo>
                    <a:pt x="210" y="744"/>
                  </a:lnTo>
                  <a:lnTo>
                    <a:pt x="210" y="738"/>
                  </a:lnTo>
                  <a:lnTo>
                    <a:pt x="210" y="732"/>
                  </a:lnTo>
                  <a:lnTo>
                    <a:pt x="210" y="726"/>
                  </a:lnTo>
                  <a:lnTo>
                    <a:pt x="210" y="720"/>
                  </a:lnTo>
                  <a:lnTo>
                    <a:pt x="204" y="714"/>
                  </a:lnTo>
                  <a:lnTo>
                    <a:pt x="204" y="720"/>
                  </a:lnTo>
                  <a:lnTo>
                    <a:pt x="204" y="732"/>
                  </a:lnTo>
                  <a:lnTo>
                    <a:pt x="204" y="738"/>
                  </a:lnTo>
                  <a:lnTo>
                    <a:pt x="198" y="738"/>
                  </a:lnTo>
                  <a:lnTo>
                    <a:pt x="198" y="744"/>
                  </a:lnTo>
                  <a:lnTo>
                    <a:pt x="198" y="750"/>
                  </a:lnTo>
                  <a:lnTo>
                    <a:pt x="192" y="756"/>
                  </a:lnTo>
                  <a:lnTo>
                    <a:pt x="186" y="762"/>
                  </a:lnTo>
                  <a:lnTo>
                    <a:pt x="186" y="768"/>
                  </a:lnTo>
                  <a:lnTo>
                    <a:pt x="186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98"/>
                  </a:lnTo>
                  <a:lnTo>
                    <a:pt x="186" y="804"/>
                  </a:lnTo>
                  <a:lnTo>
                    <a:pt x="186" y="810"/>
                  </a:lnTo>
                  <a:lnTo>
                    <a:pt x="192" y="816"/>
                  </a:lnTo>
                  <a:lnTo>
                    <a:pt x="192" y="828"/>
                  </a:lnTo>
                  <a:lnTo>
                    <a:pt x="192" y="834"/>
                  </a:lnTo>
                  <a:lnTo>
                    <a:pt x="186" y="834"/>
                  </a:lnTo>
                  <a:lnTo>
                    <a:pt x="186" y="828"/>
                  </a:lnTo>
                  <a:lnTo>
                    <a:pt x="180" y="822"/>
                  </a:lnTo>
                  <a:lnTo>
                    <a:pt x="180" y="816"/>
                  </a:lnTo>
                  <a:lnTo>
                    <a:pt x="180" y="810"/>
                  </a:lnTo>
                  <a:lnTo>
                    <a:pt x="174" y="810"/>
                  </a:lnTo>
                  <a:lnTo>
                    <a:pt x="174" y="804"/>
                  </a:lnTo>
                  <a:lnTo>
                    <a:pt x="174" y="798"/>
                  </a:lnTo>
                  <a:lnTo>
                    <a:pt x="174" y="792"/>
                  </a:lnTo>
                  <a:lnTo>
                    <a:pt x="168" y="786"/>
                  </a:lnTo>
                  <a:lnTo>
                    <a:pt x="168" y="780"/>
                  </a:lnTo>
                  <a:lnTo>
                    <a:pt x="162" y="780"/>
                  </a:lnTo>
                  <a:lnTo>
                    <a:pt x="168" y="774"/>
                  </a:lnTo>
                  <a:lnTo>
                    <a:pt x="168" y="768"/>
                  </a:lnTo>
                  <a:lnTo>
                    <a:pt x="174" y="768"/>
                  </a:lnTo>
                  <a:lnTo>
                    <a:pt x="168" y="768"/>
                  </a:lnTo>
                  <a:lnTo>
                    <a:pt x="162" y="774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50" y="774"/>
                  </a:lnTo>
                  <a:lnTo>
                    <a:pt x="144" y="774"/>
                  </a:lnTo>
                  <a:lnTo>
                    <a:pt x="144" y="768"/>
                  </a:lnTo>
                  <a:lnTo>
                    <a:pt x="144" y="762"/>
                  </a:lnTo>
                  <a:lnTo>
                    <a:pt x="138" y="756"/>
                  </a:lnTo>
                  <a:lnTo>
                    <a:pt x="132" y="756"/>
                  </a:lnTo>
                  <a:lnTo>
                    <a:pt x="138" y="756"/>
                  </a:lnTo>
                  <a:lnTo>
                    <a:pt x="138" y="762"/>
                  </a:lnTo>
                  <a:lnTo>
                    <a:pt x="138" y="768"/>
                  </a:lnTo>
                  <a:lnTo>
                    <a:pt x="144" y="768"/>
                  </a:lnTo>
                  <a:lnTo>
                    <a:pt x="144" y="774"/>
                  </a:lnTo>
                  <a:lnTo>
                    <a:pt x="150" y="780"/>
                  </a:lnTo>
                  <a:lnTo>
                    <a:pt x="156" y="780"/>
                  </a:lnTo>
                  <a:lnTo>
                    <a:pt x="156" y="786"/>
                  </a:lnTo>
                  <a:lnTo>
                    <a:pt x="162" y="786"/>
                  </a:lnTo>
                  <a:lnTo>
                    <a:pt x="168" y="792"/>
                  </a:lnTo>
                  <a:lnTo>
                    <a:pt x="168" y="798"/>
                  </a:lnTo>
                  <a:lnTo>
                    <a:pt x="168" y="804"/>
                  </a:lnTo>
                  <a:lnTo>
                    <a:pt x="174" y="810"/>
                  </a:lnTo>
                  <a:lnTo>
                    <a:pt x="174" y="816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68" y="828"/>
                  </a:lnTo>
                  <a:lnTo>
                    <a:pt x="168" y="834"/>
                  </a:lnTo>
                  <a:lnTo>
                    <a:pt x="174" y="840"/>
                  </a:lnTo>
                  <a:lnTo>
                    <a:pt x="180" y="840"/>
                  </a:lnTo>
                  <a:lnTo>
                    <a:pt x="180" y="846"/>
                  </a:lnTo>
                  <a:lnTo>
                    <a:pt x="186" y="846"/>
                  </a:lnTo>
                  <a:lnTo>
                    <a:pt x="186" y="852"/>
                  </a:lnTo>
                  <a:lnTo>
                    <a:pt x="186" y="858"/>
                  </a:lnTo>
                  <a:lnTo>
                    <a:pt x="186" y="864"/>
                  </a:lnTo>
                  <a:lnTo>
                    <a:pt x="192" y="864"/>
                  </a:lnTo>
                  <a:lnTo>
                    <a:pt x="192" y="870"/>
                  </a:lnTo>
                  <a:lnTo>
                    <a:pt x="192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6" y="888"/>
                  </a:lnTo>
                  <a:lnTo>
                    <a:pt x="180" y="888"/>
                  </a:lnTo>
                  <a:lnTo>
                    <a:pt x="174" y="888"/>
                  </a:lnTo>
                  <a:lnTo>
                    <a:pt x="168" y="894"/>
                  </a:lnTo>
                  <a:lnTo>
                    <a:pt x="162" y="894"/>
                  </a:lnTo>
                  <a:lnTo>
                    <a:pt x="156" y="894"/>
                  </a:lnTo>
                  <a:lnTo>
                    <a:pt x="150" y="894"/>
                  </a:lnTo>
                  <a:lnTo>
                    <a:pt x="144" y="894"/>
                  </a:lnTo>
                  <a:lnTo>
                    <a:pt x="144" y="900"/>
                  </a:lnTo>
                  <a:lnTo>
                    <a:pt x="138" y="894"/>
                  </a:lnTo>
                  <a:lnTo>
                    <a:pt x="138" y="900"/>
                  </a:lnTo>
                  <a:lnTo>
                    <a:pt x="132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6" y="882"/>
                  </a:lnTo>
                  <a:lnTo>
                    <a:pt x="126" y="876"/>
                  </a:lnTo>
                  <a:lnTo>
                    <a:pt x="120" y="876"/>
                  </a:lnTo>
                  <a:lnTo>
                    <a:pt x="126" y="870"/>
                  </a:lnTo>
                  <a:lnTo>
                    <a:pt x="126" y="864"/>
                  </a:lnTo>
                  <a:lnTo>
                    <a:pt x="126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26" y="828"/>
                  </a:lnTo>
                  <a:lnTo>
                    <a:pt x="126" y="822"/>
                  </a:lnTo>
                  <a:lnTo>
                    <a:pt x="126" y="816"/>
                  </a:lnTo>
                  <a:lnTo>
                    <a:pt x="126" y="810"/>
                  </a:lnTo>
                  <a:lnTo>
                    <a:pt x="126" y="804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20" y="792"/>
                  </a:lnTo>
                  <a:lnTo>
                    <a:pt x="114" y="792"/>
                  </a:lnTo>
                  <a:lnTo>
                    <a:pt x="114" y="786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96" y="780"/>
                  </a:lnTo>
                  <a:lnTo>
                    <a:pt x="96" y="774"/>
                  </a:lnTo>
                  <a:lnTo>
                    <a:pt x="90" y="774"/>
                  </a:lnTo>
                  <a:lnTo>
                    <a:pt x="90" y="768"/>
                  </a:lnTo>
                  <a:close/>
                  <a:moveTo>
                    <a:pt x="96" y="780"/>
                  </a:moveTo>
                  <a:lnTo>
                    <a:pt x="102" y="780"/>
                  </a:lnTo>
                  <a:lnTo>
                    <a:pt x="102" y="786"/>
                  </a:lnTo>
                  <a:lnTo>
                    <a:pt x="108" y="786"/>
                  </a:lnTo>
                  <a:lnTo>
                    <a:pt x="114" y="792"/>
                  </a:lnTo>
                  <a:lnTo>
                    <a:pt x="120" y="798"/>
                  </a:lnTo>
                  <a:lnTo>
                    <a:pt x="120" y="804"/>
                  </a:lnTo>
                  <a:lnTo>
                    <a:pt x="126" y="810"/>
                  </a:lnTo>
                  <a:lnTo>
                    <a:pt x="126" y="816"/>
                  </a:lnTo>
                  <a:lnTo>
                    <a:pt x="126" y="822"/>
                  </a:lnTo>
                  <a:lnTo>
                    <a:pt x="120" y="828"/>
                  </a:lnTo>
                  <a:lnTo>
                    <a:pt x="120" y="840"/>
                  </a:lnTo>
                  <a:lnTo>
                    <a:pt x="120" y="852"/>
                  </a:lnTo>
                  <a:lnTo>
                    <a:pt x="120" y="858"/>
                  </a:lnTo>
                  <a:lnTo>
                    <a:pt x="120" y="864"/>
                  </a:lnTo>
                  <a:lnTo>
                    <a:pt x="120" y="870"/>
                  </a:lnTo>
                  <a:lnTo>
                    <a:pt x="114" y="870"/>
                  </a:lnTo>
                  <a:lnTo>
                    <a:pt x="108" y="870"/>
                  </a:lnTo>
                  <a:lnTo>
                    <a:pt x="108" y="876"/>
                  </a:lnTo>
                  <a:lnTo>
                    <a:pt x="114" y="876"/>
                  </a:lnTo>
                  <a:lnTo>
                    <a:pt x="120" y="876"/>
                  </a:lnTo>
                  <a:lnTo>
                    <a:pt x="120" y="882"/>
                  </a:lnTo>
                  <a:lnTo>
                    <a:pt x="114" y="888"/>
                  </a:lnTo>
                  <a:lnTo>
                    <a:pt x="120" y="888"/>
                  </a:lnTo>
                  <a:lnTo>
                    <a:pt x="120" y="894"/>
                  </a:lnTo>
                  <a:lnTo>
                    <a:pt x="114" y="894"/>
                  </a:lnTo>
                  <a:lnTo>
                    <a:pt x="108" y="894"/>
                  </a:lnTo>
                  <a:lnTo>
                    <a:pt x="96" y="894"/>
                  </a:lnTo>
                  <a:lnTo>
                    <a:pt x="96" y="882"/>
                  </a:lnTo>
                  <a:lnTo>
                    <a:pt x="96" y="876"/>
                  </a:lnTo>
                  <a:lnTo>
                    <a:pt x="84" y="870"/>
                  </a:lnTo>
                  <a:lnTo>
                    <a:pt x="72" y="864"/>
                  </a:lnTo>
                  <a:lnTo>
                    <a:pt x="72" y="852"/>
                  </a:lnTo>
                  <a:lnTo>
                    <a:pt x="72" y="840"/>
                  </a:lnTo>
                  <a:lnTo>
                    <a:pt x="78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90" y="792"/>
                  </a:lnTo>
                  <a:lnTo>
                    <a:pt x="96" y="780"/>
                  </a:lnTo>
                  <a:close/>
                  <a:moveTo>
                    <a:pt x="492" y="810"/>
                  </a:moveTo>
                  <a:lnTo>
                    <a:pt x="498" y="810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510" y="792"/>
                  </a:lnTo>
                  <a:lnTo>
                    <a:pt x="516" y="786"/>
                  </a:lnTo>
                  <a:lnTo>
                    <a:pt x="522" y="780"/>
                  </a:lnTo>
                  <a:lnTo>
                    <a:pt x="522" y="774"/>
                  </a:lnTo>
                  <a:lnTo>
                    <a:pt x="528" y="768"/>
                  </a:lnTo>
                  <a:lnTo>
                    <a:pt x="528" y="762"/>
                  </a:lnTo>
                  <a:lnTo>
                    <a:pt x="534" y="762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46" y="780"/>
                  </a:lnTo>
                  <a:lnTo>
                    <a:pt x="552" y="786"/>
                  </a:lnTo>
                  <a:lnTo>
                    <a:pt x="558" y="786"/>
                  </a:lnTo>
                  <a:lnTo>
                    <a:pt x="564" y="786"/>
                  </a:lnTo>
                  <a:lnTo>
                    <a:pt x="576" y="786"/>
                  </a:lnTo>
                  <a:lnTo>
                    <a:pt x="582" y="786"/>
                  </a:lnTo>
                  <a:lnTo>
                    <a:pt x="588" y="786"/>
                  </a:lnTo>
                  <a:lnTo>
                    <a:pt x="594" y="786"/>
                  </a:lnTo>
                  <a:lnTo>
                    <a:pt x="588" y="792"/>
                  </a:lnTo>
                  <a:lnTo>
                    <a:pt x="588" y="798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82" y="822"/>
                  </a:lnTo>
                  <a:lnTo>
                    <a:pt x="588" y="828"/>
                  </a:lnTo>
                  <a:lnTo>
                    <a:pt x="588" y="834"/>
                  </a:lnTo>
                  <a:lnTo>
                    <a:pt x="582" y="840"/>
                  </a:lnTo>
                  <a:lnTo>
                    <a:pt x="570" y="840"/>
                  </a:lnTo>
                  <a:lnTo>
                    <a:pt x="558" y="846"/>
                  </a:lnTo>
                  <a:lnTo>
                    <a:pt x="552" y="846"/>
                  </a:lnTo>
                  <a:lnTo>
                    <a:pt x="534" y="852"/>
                  </a:lnTo>
                  <a:lnTo>
                    <a:pt x="522" y="858"/>
                  </a:lnTo>
                  <a:lnTo>
                    <a:pt x="510" y="858"/>
                  </a:lnTo>
                  <a:lnTo>
                    <a:pt x="498" y="864"/>
                  </a:lnTo>
                  <a:lnTo>
                    <a:pt x="474" y="864"/>
                  </a:lnTo>
                  <a:lnTo>
                    <a:pt x="468" y="858"/>
                  </a:lnTo>
                  <a:lnTo>
                    <a:pt x="468" y="852"/>
                  </a:lnTo>
                  <a:lnTo>
                    <a:pt x="468" y="846"/>
                  </a:lnTo>
                  <a:lnTo>
                    <a:pt x="474" y="840"/>
                  </a:lnTo>
                  <a:lnTo>
                    <a:pt x="474" y="834"/>
                  </a:lnTo>
                  <a:lnTo>
                    <a:pt x="480" y="828"/>
                  </a:lnTo>
                  <a:lnTo>
                    <a:pt x="492" y="822"/>
                  </a:lnTo>
                  <a:lnTo>
                    <a:pt x="492" y="810"/>
                  </a:lnTo>
                  <a:close/>
                  <a:moveTo>
                    <a:pt x="384" y="720"/>
                  </a:moveTo>
                  <a:lnTo>
                    <a:pt x="384" y="726"/>
                  </a:lnTo>
                  <a:lnTo>
                    <a:pt x="390" y="726"/>
                  </a:lnTo>
                  <a:lnTo>
                    <a:pt x="396" y="726"/>
                  </a:lnTo>
                  <a:lnTo>
                    <a:pt x="402" y="732"/>
                  </a:lnTo>
                  <a:lnTo>
                    <a:pt x="408" y="732"/>
                  </a:lnTo>
                  <a:lnTo>
                    <a:pt x="414" y="732"/>
                  </a:lnTo>
                  <a:lnTo>
                    <a:pt x="414" y="738"/>
                  </a:lnTo>
                  <a:lnTo>
                    <a:pt x="414" y="744"/>
                  </a:lnTo>
                  <a:lnTo>
                    <a:pt x="414" y="750"/>
                  </a:lnTo>
                  <a:lnTo>
                    <a:pt x="414" y="756"/>
                  </a:lnTo>
                  <a:lnTo>
                    <a:pt x="414" y="762"/>
                  </a:lnTo>
                  <a:lnTo>
                    <a:pt x="420" y="768"/>
                  </a:lnTo>
                  <a:lnTo>
                    <a:pt x="420" y="774"/>
                  </a:lnTo>
                  <a:lnTo>
                    <a:pt x="426" y="780"/>
                  </a:lnTo>
                  <a:lnTo>
                    <a:pt x="426" y="786"/>
                  </a:lnTo>
                  <a:lnTo>
                    <a:pt x="420" y="786"/>
                  </a:lnTo>
                  <a:lnTo>
                    <a:pt x="420" y="792"/>
                  </a:lnTo>
                  <a:lnTo>
                    <a:pt x="420" y="798"/>
                  </a:lnTo>
                  <a:lnTo>
                    <a:pt x="420" y="804"/>
                  </a:lnTo>
                  <a:lnTo>
                    <a:pt x="426" y="804"/>
                  </a:lnTo>
                  <a:lnTo>
                    <a:pt x="426" y="810"/>
                  </a:lnTo>
                  <a:lnTo>
                    <a:pt x="426" y="816"/>
                  </a:lnTo>
                  <a:lnTo>
                    <a:pt x="432" y="816"/>
                  </a:lnTo>
                  <a:lnTo>
                    <a:pt x="438" y="816"/>
                  </a:lnTo>
                  <a:lnTo>
                    <a:pt x="438" y="822"/>
                  </a:lnTo>
                  <a:lnTo>
                    <a:pt x="432" y="822"/>
                  </a:lnTo>
                  <a:lnTo>
                    <a:pt x="426" y="828"/>
                  </a:lnTo>
                  <a:lnTo>
                    <a:pt x="420" y="828"/>
                  </a:lnTo>
                  <a:lnTo>
                    <a:pt x="414" y="828"/>
                  </a:lnTo>
                  <a:lnTo>
                    <a:pt x="408" y="828"/>
                  </a:lnTo>
                  <a:lnTo>
                    <a:pt x="402" y="828"/>
                  </a:lnTo>
                  <a:lnTo>
                    <a:pt x="402" y="822"/>
                  </a:lnTo>
                  <a:lnTo>
                    <a:pt x="396" y="822"/>
                  </a:lnTo>
                  <a:lnTo>
                    <a:pt x="402" y="822"/>
                  </a:lnTo>
                  <a:lnTo>
                    <a:pt x="402" y="816"/>
                  </a:lnTo>
                  <a:lnTo>
                    <a:pt x="396" y="816"/>
                  </a:lnTo>
                  <a:lnTo>
                    <a:pt x="396" y="810"/>
                  </a:lnTo>
                  <a:lnTo>
                    <a:pt x="396" y="804"/>
                  </a:lnTo>
                  <a:lnTo>
                    <a:pt x="390" y="798"/>
                  </a:lnTo>
                  <a:lnTo>
                    <a:pt x="390" y="792"/>
                  </a:lnTo>
                  <a:lnTo>
                    <a:pt x="390" y="786"/>
                  </a:lnTo>
                  <a:lnTo>
                    <a:pt x="390" y="780"/>
                  </a:lnTo>
                  <a:lnTo>
                    <a:pt x="390" y="774"/>
                  </a:lnTo>
                  <a:lnTo>
                    <a:pt x="390" y="768"/>
                  </a:lnTo>
                  <a:lnTo>
                    <a:pt x="390" y="762"/>
                  </a:lnTo>
                  <a:lnTo>
                    <a:pt x="384" y="756"/>
                  </a:lnTo>
                  <a:lnTo>
                    <a:pt x="384" y="750"/>
                  </a:lnTo>
                  <a:lnTo>
                    <a:pt x="384" y="744"/>
                  </a:lnTo>
                  <a:lnTo>
                    <a:pt x="378" y="744"/>
                  </a:lnTo>
                  <a:lnTo>
                    <a:pt x="384" y="744"/>
                  </a:lnTo>
                  <a:lnTo>
                    <a:pt x="384" y="738"/>
                  </a:lnTo>
                  <a:lnTo>
                    <a:pt x="378" y="738"/>
                  </a:lnTo>
                  <a:lnTo>
                    <a:pt x="378" y="732"/>
                  </a:lnTo>
                  <a:lnTo>
                    <a:pt x="378" y="726"/>
                  </a:lnTo>
                  <a:lnTo>
                    <a:pt x="378" y="720"/>
                  </a:lnTo>
                  <a:lnTo>
                    <a:pt x="384" y="720"/>
                  </a:lnTo>
                  <a:close/>
                  <a:moveTo>
                    <a:pt x="330" y="738"/>
                  </a:moveTo>
                  <a:lnTo>
                    <a:pt x="336" y="732"/>
                  </a:lnTo>
                  <a:lnTo>
                    <a:pt x="336" y="726"/>
                  </a:lnTo>
                  <a:lnTo>
                    <a:pt x="342" y="720"/>
                  </a:lnTo>
                  <a:lnTo>
                    <a:pt x="348" y="720"/>
                  </a:lnTo>
                  <a:lnTo>
                    <a:pt x="360" y="720"/>
                  </a:lnTo>
                  <a:lnTo>
                    <a:pt x="366" y="726"/>
                  </a:lnTo>
                  <a:lnTo>
                    <a:pt x="372" y="732"/>
                  </a:lnTo>
                  <a:lnTo>
                    <a:pt x="372" y="738"/>
                  </a:lnTo>
                  <a:lnTo>
                    <a:pt x="366" y="750"/>
                  </a:lnTo>
                  <a:lnTo>
                    <a:pt x="372" y="756"/>
                  </a:lnTo>
                  <a:lnTo>
                    <a:pt x="372" y="762"/>
                  </a:lnTo>
                  <a:lnTo>
                    <a:pt x="372" y="768"/>
                  </a:lnTo>
                  <a:lnTo>
                    <a:pt x="372" y="774"/>
                  </a:lnTo>
                  <a:lnTo>
                    <a:pt x="372" y="780"/>
                  </a:lnTo>
                  <a:lnTo>
                    <a:pt x="372" y="774"/>
                  </a:lnTo>
                  <a:lnTo>
                    <a:pt x="366" y="768"/>
                  </a:lnTo>
                  <a:lnTo>
                    <a:pt x="366" y="762"/>
                  </a:lnTo>
                  <a:lnTo>
                    <a:pt x="366" y="756"/>
                  </a:lnTo>
                  <a:lnTo>
                    <a:pt x="360" y="756"/>
                  </a:lnTo>
                  <a:lnTo>
                    <a:pt x="360" y="750"/>
                  </a:lnTo>
                  <a:lnTo>
                    <a:pt x="354" y="750"/>
                  </a:lnTo>
                  <a:lnTo>
                    <a:pt x="348" y="744"/>
                  </a:lnTo>
                  <a:lnTo>
                    <a:pt x="342" y="744"/>
                  </a:lnTo>
                  <a:lnTo>
                    <a:pt x="336" y="744"/>
                  </a:lnTo>
                  <a:lnTo>
                    <a:pt x="330" y="738"/>
                  </a:lnTo>
                  <a:close/>
                </a:path>
              </a:pathLst>
            </a:custGeom>
            <a:solidFill>
              <a:srgbClr val="2A4F1D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1" name="Freeform 6">
              <a:extLst>
                <a:ext uri="{FF2B5EF4-FFF2-40B4-BE49-F238E27FC236}">
                  <a16:creationId xmlns:a16="http://schemas.microsoft.com/office/drawing/2014/main" id="{0656C385-F30A-4AC8-AE9F-B1F66208B38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3123" y="4163918"/>
              <a:ext cx="266107" cy="248252"/>
            </a:xfrm>
            <a:custGeom>
              <a:avLst/>
              <a:gdLst>
                <a:gd name="T0" fmla="*/ 33 w 504"/>
                <a:gd name="T1" fmla="*/ 41 h 468"/>
                <a:gd name="T2" fmla="*/ 26 w 504"/>
                <a:gd name="T3" fmla="*/ 39 h 468"/>
                <a:gd name="T4" fmla="*/ 21 w 504"/>
                <a:gd name="T5" fmla="*/ 38 h 468"/>
                <a:gd name="T6" fmla="*/ 18 w 504"/>
                <a:gd name="T7" fmla="*/ 38 h 468"/>
                <a:gd name="T8" fmla="*/ 15 w 504"/>
                <a:gd name="T9" fmla="*/ 39 h 468"/>
                <a:gd name="T10" fmla="*/ 12 w 504"/>
                <a:gd name="T11" fmla="*/ 38 h 468"/>
                <a:gd name="T12" fmla="*/ 9 w 504"/>
                <a:gd name="T13" fmla="*/ 37 h 468"/>
                <a:gd name="T14" fmla="*/ 7 w 504"/>
                <a:gd name="T15" fmla="*/ 32 h 468"/>
                <a:gd name="T16" fmla="*/ 6 w 504"/>
                <a:gd name="T17" fmla="*/ 26 h 468"/>
                <a:gd name="T18" fmla="*/ 3 w 504"/>
                <a:gd name="T19" fmla="*/ 24 h 468"/>
                <a:gd name="T20" fmla="*/ 1 w 504"/>
                <a:gd name="T21" fmla="*/ 24 h 468"/>
                <a:gd name="T22" fmla="*/ 2 w 504"/>
                <a:gd name="T23" fmla="*/ 18 h 468"/>
                <a:gd name="T24" fmla="*/ 1 w 504"/>
                <a:gd name="T25" fmla="*/ 17 h 468"/>
                <a:gd name="T26" fmla="*/ 0 w 504"/>
                <a:gd name="T27" fmla="*/ 17 h 468"/>
                <a:gd name="T28" fmla="*/ 0 w 504"/>
                <a:gd name="T29" fmla="*/ 15 h 468"/>
                <a:gd name="T30" fmla="*/ 2 w 504"/>
                <a:gd name="T31" fmla="*/ 12 h 468"/>
                <a:gd name="T32" fmla="*/ 4 w 504"/>
                <a:gd name="T33" fmla="*/ 10 h 468"/>
                <a:gd name="T34" fmla="*/ 6 w 504"/>
                <a:gd name="T35" fmla="*/ 8 h 468"/>
                <a:gd name="T36" fmla="*/ 8 w 504"/>
                <a:gd name="T37" fmla="*/ 8 h 468"/>
                <a:gd name="T38" fmla="*/ 10 w 504"/>
                <a:gd name="T39" fmla="*/ 9 h 468"/>
                <a:gd name="T40" fmla="*/ 12 w 504"/>
                <a:gd name="T41" fmla="*/ 10 h 468"/>
                <a:gd name="T42" fmla="*/ 12 w 504"/>
                <a:gd name="T43" fmla="*/ 11 h 468"/>
                <a:gd name="T44" fmla="*/ 14 w 504"/>
                <a:gd name="T45" fmla="*/ 8 h 468"/>
                <a:gd name="T46" fmla="*/ 15 w 504"/>
                <a:gd name="T47" fmla="*/ 7 h 468"/>
                <a:gd name="T48" fmla="*/ 17 w 504"/>
                <a:gd name="T49" fmla="*/ 6 h 468"/>
                <a:gd name="T50" fmla="*/ 19 w 504"/>
                <a:gd name="T51" fmla="*/ 3 h 468"/>
                <a:gd name="T52" fmla="*/ 20 w 504"/>
                <a:gd name="T53" fmla="*/ 2 h 468"/>
                <a:gd name="T54" fmla="*/ 22 w 504"/>
                <a:gd name="T55" fmla="*/ 1 h 468"/>
                <a:gd name="T56" fmla="*/ 27 w 504"/>
                <a:gd name="T57" fmla="*/ 1 h 468"/>
                <a:gd name="T58" fmla="*/ 30 w 504"/>
                <a:gd name="T59" fmla="*/ 2 h 468"/>
                <a:gd name="T60" fmla="*/ 31 w 504"/>
                <a:gd name="T61" fmla="*/ 2 h 468"/>
                <a:gd name="T62" fmla="*/ 34 w 504"/>
                <a:gd name="T63" fmla="*/ 0 h 468"/>
                <a:gd name="T64" fmla="*/ 37 w 504"/>
                <a:gd name="T65" fmla="*/ 1 h 468"/>
                <a:gd name="T66" fmla="*/ 41 w 504"/>
                <a:gd name="T67" fmla="*/ 2 h 468"/>
                <a:gd name="T68" fmla="*/ 42 w 504"/>
                <a:gd name="T69" fmla="*/ 4 h 468"/>
                <a:gd name="T70" fmla="*/ 42 w 504"/>
                <a:gd name="T71" fmla="*/ 10 h 468"/>
                <a:gd name="T72" fmla="*/ 41 w 504"/>
                <a:gd name="T73" fmla="*/ 14 h 468"/>
                <a:gd name="T74" fmla="*/ 42 w 504"/>
                <a:gd name="T75" fmla="*/ 15 h 468"/>
                <a:gd name="T76" fmla="*/ 44 w 504"/>
                <a:gd name="T77" fmla="*/ 18 h 468"/>
                <a:gd name="T78" fmla="*/ 43 w 504"/>
                <a:gd name="T79" fmla="*/ 19 h 468"/>
                <a:gd name="T80" fmla="*/ 42 w 504"/>
                <a:gd name="T81" fmla="*/ 21 h 468"/>
                <a:gd name="T82" fmla="*/ 42 w 504"/>
                <a:gd name="T83" fmla="*/ 23 h 468"/>
                <a:gd name="T84" fmla="*/ 39 w 504"/>
                <a:gd name="T85" fmla="*/ 27 h 468"/>
                <a:gd name="T86" fmla="*/ 38 w 504"/>
                <a:gd name="T87" fmla="*/ 29 h 468"/>
                <a:gd name="T88" fmla="*/ 38 w 504"/>
                <a:gd name="T89" fmla="*/ 31 h 468"/>
                <a:gd name="T90" fmla="*/ 36 w 504"/>
                <a:gd name="T91" fmla="*/ 32 h 468"/>
                <a:gd name="T92" fmla="*/ 35 w 504"/>
                <a:gd name="T93" fmla="*/ 34 h 468"/>
                <a:gd name="T94" fmla="*/ 34 w 504"/>
                <a:gd name="T95" fmla="*/ 38 h 46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04"/>
                <a:gd name="T145" fmla="*/ 0 h 468"/>
                <a:gd name="T146" fmla="*/ 504 w 504"/>
                <a:gd name="T147" fmla="*/ 468 h 46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04" h="468">
                  <a:moveTo>
                    <a:pt x="390" y="456"/>
                  </a:moveTo>
                  <a:lnTo>
                    <a:pt x="384" y="468"/>
                  </a:lnTo>
                  <a:lnTo>
                    <a:pt x="378" y="468"/>
                  </a:lnTo>
                  <a:lnTo>
                    <a:pt x="354" y="468"/>
                  </a:lnTo>
                  <a:lnTo>
                    <a:pt x="348" y="462"/>
                  </a:lnTo>
                  <a:lnTo>
                    <a:pt x="300" y="456"/>
                  </a:lnTo>
                  <a:lnTo>
                    <a:pt x="270" y="444"/>
                  </a:lnTo>
                  <a:lnTo>
                    <a:pt x="252" y="438"/>
                  </a:lnTo>
                  <a:lnTo>
                    <a:pt x="240" y="438"/>
                  </a:lnTo>
                  <a:lnTo>
                    <a:pt x="234" y="438"/>
                  </a:lnTo>
                  <a:lnTo>
                    <a:pt x="228" y="444"/>
                  </a:lnTo>
                  <a:lnTo>
                    <a:pt x="210" y="444"/>
                  </a:lnTo>
                  <a:lnTo>
                    <a:pt x="198" y="444"/>
                  </a:lnTo>
                  <a:lnTo>
                    <a:pt x="198" y="450"/>
                  </a:lnTo>
                  <a:lnTo>
                    <a:pt x="168" y="456"/>
                  </a:lnTo>
                  <a:lnTo>
                    <a:pt x="150" y="450"/>
                  </a:lnTo>
                  <a:lnTo>
                    <a:pt x="144" y="444"/>
                  </a:lnTo>
                  <a:lnTo>
                    <a:pt x="132" y="438"/>
                  </a:lnTo>
                  <a:lnTo>
                    <a:pt x="138" y="432"/>
                  </a:lnTo>
                  <a:lnTo>
                    <a:pt x="114" y="432"/>
                  </a:lnTo>
                  <a:lnTo>
                    <a:pt x="102" y="426"/>
                  </a:lnTo>
                  <a:lnTo>
                    <a:pt x="90" y="414"/>
                  </a:lnTo>
                  <a:lnTo>
                    <a:pt x="72" y="402"/>
                  </a:lnTo>
                  <a:lnTo>
                    <a:pt x="78" y="366"/>
                  </a:lnTo>
                  <a:lnTo>
                    <a:pt x="78" y="330"/>
                  </a:lnTo>
                  <a:lnTo>
                    <a:pt x="66" y="318"/>
                  </a:lnTo>
                  <a:lnTo>
                    <a:pt x="66" y="300"/>
                  </a:lnTo>
                  <a:lnTo>
                    <a:pt x="66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30" y="282"/>
                  </a:lnTo>
                  <a:lnTo>
                    <a:pt x="24" y="282"/>
                  </a:lnTo>
                  <a:lnTo>
                    <a:pt x="12" y="276"/>
                  </a:lnTo>
                  <a:lnTo>
                    <a:pt x="0" y="282"/>
                  </a:lnTo>
                  <a:lnTo>
                    <a:pt x="12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2" y="198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6" y="180"/>
                  </a:lnTo>
                  <a:lnTo>
                    <a:pt x="12" y="186"/>
                  </a:lnTo>
                  <a:lnTo>
                    <a:pt x="18" y="138"/>
                  </a:lnTo>
                  <a:lnTo>
                    <a:pt x="24" y="126"/>
                  </a:lnTo>
                  <a:lnTo>
                    <a:pt x="30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20" y="102"/>
                  </a:lnTo>
                  <a:lnTo>
                    <a:pt x="126" y="108"/>
                  </a:lnTo>
                  <a:lnTo>
                    <a:pt x="126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0"/>
                  </a:lnTo>
                  <a:lnTo>
                    <a:pt x="156" y="96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16" y="42"/>
                  </a:lnTo>
                  <a:lnTo>
                    <a:pt x="222" y="36"/>
                  </a:lnTo>
                  <a:lnTo>
                    <a:pt x="228" y="36"/>
                  </a:lnTo>
                  <a:lnTo>
                    <a:pt x="228" y="30"/>
                  </a:lnTo>
                  <a:lnTo>
                    <a:pt x="228" y="24"/>
                  </a:lnTo>
                  <a:lnTo>
                    <a:pt x="246" y="18"/>
                  </a:lnTo>
                  <a:lnTo>
                    <a:pt x="252" y="18"/>
                  </a:lnTo>
                  <a:lnTo>
                    <a:pt x="258" y="12"/>
                  </a:lnTo>
                  <a:lnTo>
                    <a:pt x="270" y="6"/>
                  </a:lnTo>
                  <a:lnTo>
                    <a:pt x="288" y="6"/>
                  </a:lnTo>
                  <a:lnTo>
                    <a:pt x="312" y="12"/>
                  </a:lnTo>
                  <a:lnTo>
                    <a:pt x="324" y="12"/>
                  </a:lnTo>
                  <a:lnTo>
                    <a:pt x="336" y="18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14" y="12"/>
                  </a:lnTo>
                  <a:lnTo>
                    <a:pt x="426" y="12"/>
                  </a:lnTo>
                  <a:lnTo>
                    <a:pt x="444" y="18"/>
                  </a:lnTo>
                  <a:lnTo>
                    <a:pt x="462" y="18"/>
                  </a:lnTo>
                  <a:lnTo>
                    <a:pt x="474" y="18"/>
                  </a:lnTo>
                  <a:lnTo>
                    <a:pt x="480" y="18"/>
                  </a:lnTo>
                  <a:lnTo>
                    <a:pt x="486" y="36"/>
                  </a:lnTo>
                  <a:lnTo>
                    <a:pt x="480" y="42"/>
                  </a:lnTo>
                  <a:lnTo>
                    <a:pt x="480" y="54"/>
                  </a:lnTo>
                  <a:lnTo>
                    <a:pt x="486" y="78"/>
                  </a:lnTo>
                  <a:lnTo>
                    <a:pt x="486" y="114"/>
                  </a:lnTo>
                  <a:lnTo>
                    <a:pt x="486" y="150"/>
                  </a:lnTo>
                  <a:lnTo>
                    <a:pt x="468" y="150"/>
                  </a:lnTo>
                  <a:lnTo>
                    <a:pt x="474" y="162"/>
                  </a:lnTo>
                  <a:lnTo>
                    <a:pt x="480" y="162"/>
                  </a:lnTo>
                  <a:lnTo>
                    <a:pt x="486" y="174"/>
                  </a:lnTo>
                  <a:lnTo>
                    <a:pt x="492" y="174"/>
                  </a:lnTo>
                  <a:lnTo>
                    <a:pt x="492" y="192"/>
                  </a:lnTo>
                  <a:lnTo>
                    <a:pt x="498" y="198"/>
                  </a:lnTo>
                  <a:lnTo>
                    <a:pt x="504" y="204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8" y="222"/>
                  </a:lnTo>
                  <a:lnTo>
                    <a:pt x="492" y="228"/>
                  </a:lnTo>
                  <a:lnTo>
                    <a:pt x="492" y="234"/>
                  </a:lnTo>
                  <a:lnTo>
                    <a:pt x="492" y="240"/>
                  </a:lnTo>
                  <a:lnTo>
                    <a:pt x="486" y="246"/>
                  </a:lnTo>
                  <a:lnTo>
                    <a:pt x="486" y="258"/>
                  </a:lnTo>
                  <a:lnTo>
                    <a:pt x="480" y="264"/>
                  </a:lnTo>
                  <a:lnTo>
                    <a:pt x="474" y="276"/>
                  </a:lnTo>
                  <a:lnTo>
                    <a:pt x="468" y="288"/>
                  </a:lnTo>
                  <a:lnTo>
                    <a:pt x="456" y="306"/>
                  </a:lnTo>
                  <a:lnTo>
                    <a:pt x="456" y="312"/>
                  </a:lnTo>
                  <a:lnTo>
                    <a:pt x="444" y="318"/>
                  </a:lnTo>
                  <a:lnTo>
                    <a:pt x="432" y="336"/>
                  </a:lnTo>
                  <a:lnTo>
                    <a:pt x="432" y="342"/>
                  </a:lnTo>
                  <a:lnTo>
                    <a:pt x="432" y="348"/>
                  </a:lnTo>
                  <a:lnTo>
                    <a:pt x="432" y="354"/>
                  </a:lnTo>
                  <a:lnTo>
                    <a:pt x="426" y="366"/>
                  </a:lnTo>
                  <a:lnTo>
                    <a:pt x="420" y="366"/>
                  </a:lnTo>
                  <a:lnTo>
                    <a:pt x="420" y="372"/>
                  </a:lnTo>
                  <a:lnTo>
                    <a:pt x="414" y="378"/>
                  </a:lnTo>
                  <a:lnTo>
                    <a:pt x="414" y="390"/>
                  </a:lnTo>
                  <a:lnTo>
                    <a:pt x="408" y="390"/>
                  </a:lnTo>
                  <a:lnTo>
                    <a:pt x="408" y="402"/>
                  </a:lnTo>
                  <a:lnTo>
                    <a:pt x="402" y="414"/>
                  </a:lnTo>
                  <a:lnTo>
                    <a:pt x="396" y="438"/>
                  </a:lnTo>
                  <a:lnTo>
                    <a:pt x="396" y="444"/>
                  </a:lnTo>
                  <a:lnTo>
                    <a:pt x="390" y="45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11" name="Freeform 7">
              <a:extLst>
                <a:ext uri="{FF2B5EF4-FFF2-40B4-BE49-F238E27FC236}">
                  <a16:creationId xmlns:a16="http://schemas.microsoft.com/office/drawing/2014/main" id="{0D8DE62D-4554-4314-9F3A-7208D89B4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90838" y="4128134"/>
              <a:ext cx="283995" cy="411516"/>
            </a:xfrm>
            <a:custGeom>
              <a:avLst/>
              <a:gdLst>
                <a:gd name="T0" fmla="*/ 39 w 534"/>
                <a:gd name="T1" fmla="*/ 35 h 774"/>
                <a:gd name="T2" fmla="*/ 35 w 534"/>
                <a:gd name="T3" fmla="*/ 31 h 774"/>
                <a:gd name="T4" fmla="*/ 32 w 534"/>
                <a:gd name="T5" fmla="*/ 29 h 774"/>
                <a:gd name="T6" fmla="*/ 32 w 534"/>
                <a:gd name="T7" fmla="*/ 31 h 774"/>
                <a:gd name="T8" fmla="*/ 29 w 534"/>
                <a:gd name="T9" fmla="*/ 33 h 774"/>
                <a:gd name="T10" fmla="*/ 27 w 534"/>
                <a:gd name="T11" fmla="*/ 36 h 774"/>
                <a:gd name="T12" fmla="*/ 30 w 534"/>
                <a:gd name="T13" fmla="*/ 38 h 774"/>
                <a:gd name="T14" fmla="*/ 29 w 534"/>
                <a:gd name="T15" fmla="*/ 40 h 774"/>
                <a:gd name="T16" fmla="*/ 25 w 534"/>
                <a:gd name="T17" fmla="*/ 40 h 774"/>
                <a:gd name="T18" fmla="*/ 23 w 534"/>
                <a:gd name="T19" fmla="*/ 42 h 774"/>
                <a:gd name="T20" fmla="*/ 22 w 534"/>
                <a:gd name="T21" fmla="*/ 47 h 774"/>
                <a:gd name="T22" fmla="*/ 22 w 534"/>
                <a:gd name="T23" fmla="*/ 51 h 774"/>
                <a:gd name="T24" fmla="*/ 22 w 534"/>
                <a:gd name="T25" fmla="*/ 54 h 774"/>
                <a:gd name="T26" fmla="*/ 21 w 534"/>
                <a:gd name="T27" fmla="*/ 56 h 774"/>
                <a:gd name="T28" fmla="*/ 19 w 534"/>
                <a:gd name="T29" fmla="*/ 58 h 774"/>
                <a:gd name="T30" fmla="*/ 20 w 534"/>
                <a:gd name="T31" fmla="*/ 59 h 774"/>
                <a:gd name="T32" fmla="*/ 19 w 534"/>
                <a:gd name="T33" fmla="*/ 62 h 774"/>
                <a:gd name="T34" fmla="*/ 19 w 534"/>
                <a:gd name="T35" fmla="*/ 64 h 774"/>
                <a:gd name="T36" fmla="*/ 20 w 534"/>
                <a:gd name="T37" fmla="*/ 66 h 774"/>
                <a:gd name="T38" fmla="*/ 17 w 534"/>
                <a:gd name="T39" fmla="*/ 66 h 774"/>
                <a:gd name="T40" fmla="*/ 16 w 534"/>
                <a:gd name="T41" fmla="*/ 65 h 774"/>
                <a:gd name="T42" fmla="*/ 13 w 534"/>
                <a:gd name="T43" fmla="*/ 65 h 774"/>
                <a:gd name="T44" fmla="*/ 11 w 534"/>
                <a:gd name="T45" fmla="*/ 65 h 774"/>
                <a:gd name="T46" fmla="*/ 8 w 534"/>
                <a:gd name="T47" fmla="*/ 65 h 774"/>
                <a:gd name="T48" fmla="*/ 8 w 534"/>
                <a:gd name="T49" fmla="*/ 64 h 774"/>
                <a:gd name="T50" fmla="*/ 5 w 534"/>
                <a:gd name="T51" fmla="*/ 65 h 774"/>
                <a:gd name="T52" fmla="*/ 3 w 534"/>
                <a:gd name="T53" fmla="*/ 65 h 774"/>
                <a:gd name="T54" fmla="*/ 0 w 534"/>
                <a:gd name="T55" fmla="*/ 64 h 774"/>
                <a:gd name="T56" fmla="*/ 0 w 534"/>
                <a:gd name="T57" fmla="*/ 62 h 774"/>
                <a:gd name="T58" fmla="*/ 3 w 534"/>
                <a:gd name="T59" fmla="*/ 60 h 774"/>
                <a:gd name="T60" fmla="*/ 6 w 534"/>
                <a:gd name="T61" fmla="*/ 57 h 774"/>
                <a:gd name="T62" fmla="*/ 8 w 534"/>
                <a:gd name="T63" fmla="*/ 50 h 774"/>
                <a:gd name="T64" fmla="*/ 6 w 534"/>
                <a:gd name="T65" fmla="*/ 45 h 774"/>
                <a:gd name="T66" fmla="*/ 8 w 534"/>
                <a:gd name="T67" fmla="*/ 41 h 774"/>
                <a:gd name="T68" fmla="*/ 9 w 534"/>
                <a:gd name="T69" fmla="*/ 38 h 774"/>
                <a:gd name="T70" fmla="*/ 10 w 534"/>
                <a:gd name="T71" fmla="*/ 36 h 774"/>
                <a:gd name="T72" fmla="*/ 12 w 534"/>
                <a:gd name="T73" fmla="*/ 33 h 774"/>
                <a:gd name="T74" fmla="*/ 14 w 534"/>
                <a:gd name="T75" fmla="*/ 29 h 774"/>
                <a:gd name="T76" fmla="*/ 16 w 534"/>
                <a:gd name="T77" fmla="*/ 26 h 774"/>
                <a:gd name="T78" fmla="*/ 16 w 534"/>
                <a:gd name="T79" fmla="*/ 24 h 774"/>
                <a:gd name="T80" fmla="*/ 16 w 534"/>
                <a:gd name="T81" fmla="*/ 21 h 774"/>
                <a:gd name="T82" fmla="*/ 13 w 534"/>
                <a:gd name="T83" fmla="*/ 19 h 774"/>
                <a:gd name="T84" fmla="*/ 14 w 534"/>
                <a:gd name="T85" fmla="*/ 10 h 774"/>
                <a:gd name="T86" fmla="*/ 14 w 534"/>
                <a:gd name="T87" fmla="*/ 7 h 774"/>
                <a:gd name="T88" fmla="*/ 8 w 534"/>
                <a:gd name="T89" fmla="*/ 7 h 774"/>
                <a:gd name="T90" fmla="*/ 7 w 534"/>
                <a:gd name="T91" fmla="*/ 3 h 774"/>
                <a:gd name="T92" fmla="*/ 11 w 534"/>
                <a:gd name="T93" fmla="*/ 1 h 774"/>
                <a:gd name="T94" fmla="*/ 12 w 534"/>
                <a:gd name="T95" fmla="*/ 0 h 774"/>
                <a:gd name="T96" fmla="*/ 16 w 534"/>
                <a:gd name="T97" fmla="*/ 2 h 774"/>
                <a:gd name="T98" fmla="*/ 20 w 534"/>
                <a:gd name="T99" fmla="*/ 2 h 774"/>
                <a:gd name="T100" fmla="*/ 23 w 534"/>
                <a:gd name="T101" fmla="*/ 3 h 774"/>
                <a:gd name="T102" fmla="*/ 23 w 534"/>
                <a:gd name="T103" fmla="*/ 10 h 774"/>
                <a:gd name="T104" fmla="*/ 29 w 534"/>
                <a:gd name="T105" fmla="*/ 12 h 774"/>
                <a:gd name="T106" fmla="*/ 35 w 534"/>
                <a:gd name="T107" fmla="*/ 12 h 774"/>
                <a:gd name="T108" fmla="*/ 38 w 534"/>
                <a:gd name="T109" fmla="*/ 17 h 774"/>
                <a:gd name="T110" fmla="*/ 40 w 534"/>
                <a:gd name="T111" fmla="*/ 19 h 774"/>
                <a:gd name="T112" fmla="*/ 44 w 534"/>
                <a:gd name="T113" fmla="*/ 23 h 774"/>
                <a:gd name="T114" fmla="*/ 44 w 534"/>
                <a:gd name="T115" fmla="*/ 30 h 774"/>
                <a:gd name="T116" fmla="*/ 46 w 534"/>
                <a:gd name="T117" fmla="*/ 36 h 774"/>
                <a:gd name="T118" fmla="*/ 41 w 534"/>
                <a:gd name="T119" fmla="*/ 37 h 77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34"/>
                <a:gd name="T181" fmla="*/ 0 h 774"/>
                <a:gd name="T182" fmla="*/ 534 w 534"/>
                <a:gd name="T183" fmla="*/ 774 h 77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34" h="774">
                  <a:moveTo>
                    <a:pt x="462" y="426"/>
                  </a:moveTo>
                  <a:lnTo>
                    <a:pt x="462" y="414"/>
                  </a:lnTo>
                  <a:lnTo>
                    <a:pt x="450" y="402"/>
                  </a:lnTo>
                  <a:lnTo>
                    <a:pt x="444" y="396"/>
                  </a:lnTo>
                  <a:lnTo>
                    <a:pt x="420" y="396"/>
                  </a:lnTo>
                  <a:lnTo>
                    <a:pt x="408" y="390"/>
                  </a:lnTo>
                  <a:lnTo>
                    <a:pt x="402" y="366"/>
                  </a:lnTo>
                  <a:lnTo>
                    <a:pt x="390" y="354"/>
                  </a:lnTo>
                  <a:lnTo>
                    <a:pt x="384" y="336"/>
                  </a:lnTo>
                  <a:lnTo>
                    <a:pt x="378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8" y="348"/>
                  </a:lnTo>
                  <a:lnTo>
                    <a:pt x="360" y="354"/>
                  </a:lnTo>
                  <a:lnTo>
                    <a:pt x="360" y="390"/>
                  </a:lnTo>
                  <a:lnTo>
                    <a:pt x="348" y="390"/>
                  </a:lnTo>
                  <a:lnTo>
                    <a:pt x="342" y="384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90"/>
                  </a:lnTo>
                  <a:lnTo>
                    <a:pt x="312" y="402"/>
                  </a:lnTo>
                  <a:lnTo>
                    <a:pt x="306" y="420"/>
                  </a:lnTo>
                  <a:lnTo>
                    <a:pt x="324" y="414"/>
                  </a:lnTo>
                  <a:lnTo>
                    <a:pt x="330" y="414"/>
                  </a:lnTo>
                  <a:lnTo>
                    <a:pt x="336" y="420"/>
                  </a:lnTo>
                  <a:lnTo>
                    <a:pt x="336" y="432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6"/>
                  </a:lnTo>
                  <a:lnTo>
                    <a:pt x="318" y="456"/>
                  </a:lnTo>
                  <a:lnTo>
                    <a:pt x="300" y="456"/>
                  </a:lnTo>
                  <a:lnTo>
                    <a:pt x="288" y="462"/>
                  </a:lnTo>
                  <a:lnTo>
                    <a:pt x="276" y="462"/>
                  </a:lnTo>
                  <a:lnTo>
                    <a:pt x="270" y="462"/>
                  </a:lnTo>
                  <a:lnTo>
                    <a:pt x="270" y="468"/>
                  </a:lnTo>
                  <a:lnTo>
                    <a:pt x="252" y="468"/>
                  </a:lnTo>
                  <a:lnTo>
                    <a:pt x="258" y="480"/>
                  </a:lnTo>
                  <a:lnTo>
                    <a:pt x="258" y="492"/>
                  </a:lnTo>
                  <a:lnTo>
                    <a:pt x="258" y="498"/>
                  </a:lnTo>
                  <a:lnTo>
                    <a:pt x="258" y="510"/>
                  </a:lnTo>
                  <a:lnTo>
                    <a:pt x="252" y="540"/>
                  </a:lnTo>
                  <a:lnTo>
                    <a:pt x="246" y="564"/>
                  </a:lnTo>
                  <a:lnTo>
                    <a:pt x="246" y="570"/>
                  </a:lnTo>
                  <a:lnTo>
                    <a:pt x="252" y="576"/>
                  </a:lnTo>
                  <a:lnTo>
                    <a:pt x="246" y="582"/>
                  </a:lnTo>
                  <a:lnTo>
                    <a:pt x="252" y="600"/>
                  </a:lnTo>
                  <a:lnTo>
                    <a:pt x="258" y="606"/>
                  </a:lnTo>
                  <a:lnTo>
                    <a:pt x="258" y="612"/>
                  </a:lnTo>
                  <a:lnTo>
                    <a:pt x="252" y="618"/>
                  </a:lnTo>
                  <a:lnTo>
                    <a:pt x="246" y="624"/>
                  </a:lnTo>
                  <a:lnTo>
                    <a:pt x="246" y="630"/>
                  </a:lnTo>
                  <a:lnTo>
                    <a:pt x="246" y="636"/>
                  </a:lnTo>
                  <a:lnTo>
                    <a:pt x="240" y="642"/>
                  </a:lnTo>
                  <a:lnTo>
                    <a:pt x="234" y="654"/>
                  </a:lnTo>
                  <a:lnTo>
                    <a:pt x="228" y="654"/>
                  </a:lnTo>
                  <a:lnTo>
                    <a:pt x="222" y="660"/>
                  </a:lnTo>
                  <a:lnTo>
                    <a:pt x="216" y="666"/>
                  </a:lnTo>
                  <a:lnTo>
                    <a:pt x="210" y="666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22" y="684"/>
                  </a:lnTo>
                  <a:lnTo>
                    <a:pt x="222" y="690"/>
                  </a:lnTo>
                  <a:lnTo>
                    <a:pt x="222" y="696"/>
                  </a:lnTo>
                  <a:lnTo>
                    <a:pt x="222" y="702"/>
                  </a:lnTo>
                  <a:lnTo>
                    <a:pt x="216" y="708"/>
                  </a:lnTo>
                  <a:lnTo>
                    <a:pt x="210" y="720"/>
                  </a:lnTo>
                  <a:lnTo>
                    <a:pt x="216" y="732"/>
                  </a:lnTo>
                  <a:lnTo>
                    <a:pt x="210" y="732"/>
                  </a:lnTo>
                  <a:lnTo>
                    <a:pt x="216" y="738"/>
                  </a:lnTo>
                  <a:lnTo>
                    <a:pt x="216" y="744"/>
                  </a:lnTo>
                  <a:lnTo>
                    <a:pt x="222" y="750"/>
                  </a:lnTo>
                  <a:lnTo>
                    <a:pt x="228" y="756"/>
                  </a:lnTo>
                  <a:lnTo>
                    <a:pt x="222" y="762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04" y="762"/>
                  </a:lnTo>
                  <a:lnTo>
                    <a:pt x="198" y="762"/>
                  </a:lnTo>
                  <a:lnTo>
                    <a:pt x="192" y="762"/>
                  </a:lnTo>
                  <a:lnTo>
                    <a:pt x="186" y="756"/>
                  </a:lnTo>
                  <a:lnTo>
                    <a:pt x="180" y="750"/>
                  </a:lnTo>
                  <a:lnTo>
                    <a:pt x="180" y="744"/>
                  </a:lnTo>
                  <a:lnTo>
                    <a:pt x="174" y="744"/>
                  </a:lnTo>
                  <a:lnTo>
                    <a:pt x="156" y="750"/>
                  </a:lnTo>
                  <a:lnTo>
                    <a:pt x="150" y="750"/>
                  </a:lnTo>
                  <a:lnTo>
                    <a:pt x="144" y="750"/>
                  </a:lnTo>
                  <a:lnTo>
                    <a:pt x="138" y="750"/>
                  </a:lnTo>
                  <a:lnTo>
                    <a:pt x="138" y="744"/>
                  </a:lnTo>
                  <a:lnTo>
                    <a:pt x="132" y="744"/>
                  </a:lnTo>
                  <a:lnTo>
                    <a:pt x="120" y="744"/>
                  </a:lnTo>
                  <a:lnTo>
                    <a:pt x="114" y="738"/>
                  </a:lnTo>
                  <a:lnTo>
                    <a:pt x="108" y="744"/>
                  </a:lnTo>
                  <a:lnTo>
                    <a:pt x="102" y="744"/>
                  </a:lnTo>
                  <a:lnTo>
                    <a:pt x="96" y="744"/>
                  </a:lnTo>
                  <a:lnTo>
                    <a:pt x="96" y="738"/>
                  </a:lnTo>
                  <a:lnTo>
                    <a:pt x="96" y="744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44"/>
                  </a:lnTo>
                  <a:lnTo>
                    <a:pt x="72" y="750"/>
                  </a:lnTo>
                  <a:lnTo>
                    <a:pt x="66" y="750"/>
                  </a:lnTo>
                  <a:lnTo>
                    <a:pt x="60" y="750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0"/>
                  </a:lnTo>
                  <a:lnTo>
                    <a:pt x="30" y="750"/>
                  </a:lnTo>
                  <a:lnTo>
                    <a:pt x="24" y="744"/>
                  </a:lnTo>
                  <a:lnTo>
                    <a:pt x="18" y="738"/>
                  </a:lnTo>
                  <a:lnTo>
                    <a:pt x="6" y="738"/>
                  </a:lnTo>
                  <a:lnTo>
                    <a:pt x="0" y="732"/>
                  </a:lnTo>
                  <a:lnTo>
                    <a:pt x="0" y="726"/>
                  </a:lnTo>
                  <a:lnTo>
                    <a:pt x="0" y="720"/>
                  </a:lnTo>
                  <a:lnTo>
                    <a:pt x="6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8" y="702"/>
                  </a:lnTo>
                  <a:lnTo>
                    <a:pt x="24" y="696"/>
                  </a:lnTo>
                  <a:lnTo>
                    <a:pt x="30" y="696"/>
                  </a:lnTo>
                  <a:lnTo>
                    <a:pt x="48" y="690"/>
                  </a:lnTo>
                  <a:lnTo>
                    <a:pt x="54" y="678"/>
                  </a:lnTo>
                  <a:lnTo>
                    <a:pt x="66" y="672"/>
                  </a:lnTo>
                  <a:lnTo>
                    <a:pt x="66" y="654"/>
                  </a:lnTo>
                  <a:lnTo>
                    <a:pt x="72" y="636"/>
                  </a:lnTo>
                  <a:lnTo>
                    <a:pt x="72" y="612"/>
                  </a:lnTo>
                  <a:lnTo>
                    <a:pt x="84" y="594"/>
                  </a:lnTo>
                  <a:lnTo>
                    <a:pt x="90" y="576"/>
                  </a:lnTo>
                  <a:lnTo>
                    <a:pt x="96" y="552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72" y="522"/>
                  </a:lnTo>
                  <a:lnTo>
                    <a:pt x="78" y="510"/>
                  </a:lnTo>
                  <a:lnTo>
                    <a:pt x="78" y="504"/>
                  </a:lnTo>
                  <a:lnTo>
                    <a:pt x="84" y="480"/>
                  </a:lnTo>
                  <a:lnTo>
                    <a:pt x="90" y="468"/>
                  </a:lnTo>
                  <a:lnTo>
                    <a:pt x="90" y="456"/>
                  </a:lnTo>
                  <a:lnTo>
                    <a:pt x="96" y="456"/>
                  </a:lnTo>
                  <a:lnTo>
                    <a:pt x="96" y="444"/>
                  </a:lnTo>
                  <a:lnTo>
                    <a:pt x="102" y="438"/>
                  </a:lnTo>
                  <a:lnTo>
                    <a:pt x="102" y="432"/>
                  </a:lnTo>
                  <a:lnTo>
                    <a:pt x="108" y="432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14" y="408"/>
                  </a:lnTo>
                  <a:lnTo>
                    <a:pt x="114" y="402"/>
                  </a:lnTo>
                  <a:lnTo>
                    <a:pt x="126" y="384"/>
                  </a:lnTo>
                  <a:lnTo>
                    <a:pt x="138" y="378"/>
                  </a:lnTo>
                  <a:lnTo>
                    <a:pt x="138" y="372"/>
                  </a:lnTo>
                  <a:lnTo>
                    <a:pt x="150" y="354"/>
                  </a:lnTo>
                  <a:lnTo>
                    <a:pt x="156" y="342"/>
                  </a:lnTo>
                  <a:lnTo>
                    <a:pt x="162" y="330"/>
                  </a:lnTo>
                  <a:lnTo>
                    <a:pt x="168" y="324"/>
                  </a:lnTo>
                  <a:lnTo>
                    <a:pt x="168" y="312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74" y="294"/>
                  </a:lnTo>
                  <a:lnTo>
                    <a:pt x="180" y="288"/>
                  </a:lnTo>
                  <a:lnTo>
                    <a:pt x="180" y="276"/>
                  </a:lnTo>
                  <a:lnTo>
                    <a:pt x="186" y="276"/>
                  </a:lnTo>
                  <a:lnTo>
                    <a:pt x="186" y="270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40"/>
                  </a:lnTo>
                  <a:lnTo>
                    <a:pt x="168" y="240"/>
                  </a:lnTo>
                  <a:lnTo>
                    <a:pt x="162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68" y="216"/>
                  </a:lnTo>
                  <a:lnTo>
                    <a:pt x="168" y="180"/>
                  </a:lnTo>
                  <a:lnTo>
                    <a:pt x="168" y="144"/>
                  </a:lnTo>
                  <a:lnTo>
                    <a:pt x="162" y="120"/>
                  </a:lnTo>
                  <a:lnTo>
                    <a:pt x="162" y="108"/>
                  </a:lnTo>
                  <a:lnTo>
                    <a:pt x="168" y="102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44" y="84"/>
                  </a:lnTo>
                  <a:lnTo>
                    <a:pt x="126" y="84"/>
                  </a:lnTo>
                  <a:lnTo>
                    <a:pt x="108" y="78"/>
                  </a:lnTo>
                  <a:lnTo>
                    <a:pt x="96" y="78"/>
                  </a:lnTo>
                  <a:lnTo>
                    <a:pt x="78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8" y="36"/>
                  </a:lnTo>
                  <a:lnTo>
                    <a:pt x="96" y="24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56" y="0"/>
                  </a:lnTo>
                  <a:lnTo>
                    <a:pt x="156" y="6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18"/>
                  </a:lnTo>
                  <a:lnTo>
                    <a:pt x="198" y="18"/>
                  </a:lnTo>
                  <a:lnTo>
                    <a:pt x="210" y="18"/>
                  </a:lnTo>
                  <a:lnTo>
                    <a:pt x="222" y="18"/>
                  </a:lnTo>
                  <a:lnTo>
                    <a:pt x="234" y="12"/>
                  </a:lnTo>
                  <a:lnTo>
                    <a:pt x="252" y="18"/>
                  </a:lnTo>
                  <a:lnTo>
                    <a:pt x="252" y="24"/>
                  </a:lnTo>
                  <a:lnTo>
                    <a:pt x="258" y="36"/>
                  </a:lnTo>
                  <a:lnTo>
                    <a:pt x="258" y="66"/>
                  </a:lnTo>
                  <a:lnTo>
                    <a:pt x="252" y="84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82" y="126"/>
                  </a:lnTo>
                  <a:lnTo>
                    <a:pt x="294" y="132"/>
                  </a:lnTo>
                  <a:lnTo>
                    <a:pt x="306" y="138"/>
                  </a:lnTo>
                  <a:lnTo>
                    <a:pt x="324" y="138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60" y="144"/>
                  </a:lnTo>
                  <a:lnTo>
                    <a:pt x="396" y="144"/>
                  </a:lnTo>
                  <a:lnTo>
                    <a:pt x="408" y="150"/>
                  </a:lnTo>
                  <a:lnTo>
                    <a:pt x="414" y="180"/>
                  </a:lnTo>
                  <a:lnTo>
                    <a:pt x="420" y="186"/>
                  </a:lnTo>
                  <a:lnTo>
                    <a:pt x="426" y="192"/>
                  </a:lnTo>
                  <a:lnTo>
                    <a:pt x="426" y="198"/>
                  </a:lnTo>
                  <a:lnTo>
                    <a:pt x="432" y="198"/>
                  </a:lnTo>
                  <a:lnTo>
                    <a:pt x="438" y="210"/>
                  </a:lnTo>
                  <a:lnTo>
                    <a:pt x="450" y="216"/>
                  </a:lnTo>
                  <a:lnTo>
                    <a:pt x="468" y="228"/>
                  </a:lnTo>
                  <a:lnTo>
                    <a:pt x="492" y="234"/>
                  </a:lnTo>
                  <a:lnTo>
                    <a:pt x="492" y="246"/>
                  </a:lnTo>
                  <a:lnTo>
                    <a:pt x="492" y="270"/>
                  </a:lnTo>
                  <a:lnTo>
                    <a:pt x="486" y="294"/>
                  </a:lnTo>
                  <a:lnTo>
                    <a:pt x="486" y="312"/>
                  </a:lnTo>
                  <a:lnTo>
                    <a:pt x="486" y="330"/>
                  </a:lnTo>
                  <a:lnTo>
                    <a:pt x="492" y="348"/>
                  </a:lnTo>
                  <a:lnTo>
                    <a:pt x="498" y="360"/>
                  </a:lnTo>
                  <a:lnTo>
                    <a:pt x="510" y="366"/>
                  </a:lnTo>
                  <a:lnTo>
                    <a:pt x="516" y="384"/>
                  </a:lnTo>
                  <a:lnTo>
                    <a:pt x="522" y="414"/>
                  </a:lnTo>
                  <a:lnTo>
                    <a:pt x="528" y="414"/>
                  </a:lnTo>
                  <a:lnTo>
                    <a:pt x="534" y="426"/>
                  </a:lnTo>
                  <a:lnTo>
                    <a:pt x="528" y="432"/>
                  </a:lnTo>
                  <a:lnTo>
                    <a:pt x="468" y="426"/>
                  </a:lnTo>
                  <a:lnTo>
                    <a:pt x="462" y="4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3" name="Freeform 8">
              <a:extLst>
                <a:ext uri="{FF2B5EF4-FFF2-40B4-BE49-F238E27FC236}">
                  <a16:creationId xmlns:a16="http://schemas.microsoft.com/office/drawing/2014/main" id="{D473457C-872E-4E31-888A-D60FD52063A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98175" y="4307054"/>
              <a:ext cx="295177" cy="348894"/>
            </a:xfrm>
            <a:custGeom>
              <a:avLst/>
              <a:gdLst>
                <a:gd name="T0" fmla="*/ 3 w 552"/>
                <a:gd name="T1" fmla="*/ 46 h 660"/>
                <a:gd name="T2" fmla="*/ 4 w 552"/>
                <a:gd name="T3" fmla="*/ 42 h 660"/>
                <a:gd name="T4" fmla="*/ 2 w 552"/>
                <a:gd name="T5" fmla="*/ 38 h 660"/>
                <a:gd name="T6" fmla="*/ 0 w 552"/>
                <a:gd name="T7" fmla="*/ 34 h 660"/>
                <a:gd name="T8" fmla="*/ 2 w 552"/>
                <a:gd name="T9" fmla="*/ 30 h 660"/>
                <a:gd name="T10" fmla="*/ 3 w 552"/>
                <a:gd name="T11" fmla="*/ 27 h 660"/>
                <a:gd name="T12" fmla="*/ 5 w 552"/>
                <a:gd name="T13" fmla="*/ 23 h 660"/>
                <a:gd name="T14" fmla="*/ 5 w 552"/>
                <a:gd name="T15" fmla="*/ 15 h 660"/>
                <a:gd name="T16" fmla="*/ 6 w 552"/>
                <a:gd name="T17" fmla="*/ 11 h 660"/>
                <a:gd name="T18" fmla="*/ 11 w 552"/>
                <a:gd name="T19" fmla="*/ 9 h 660"/>
                <a:gd name="T20" fmla="*/ 10 w 552"/>
                <a:gd name="T21" fmla="*/ 5 h 660"/>
                <a:gd name="T22" fmla="*/ 12 w 552"/>
                <a:gd name="T23" fmla="*/ 1 h 660"/>
                <a:gd name="T24" fmla="*/ 16 w 552"/>
                <a:gd name="T25" fmla="*/ 2 h 660"/>
                <a:gd name="T26" fmla="*/ 23 w 552"/>
                <a:gd name="T27" fmla="*/ 8 h 660"/>
                <a:gd name="T28" fmla="*/ 23 w 552"/>
                <a:gd name="T29" fmla="*/ 11 h 660"/>
                <a:gd name="T30" fmla="*/ 27 w 552"/>
                <a:gd name="T31" fmla="*/ 12 h 660"/>
                <a:gd name="T32" fmla="*/ 29 w 552"/>
                <a:gd name="T33" fmla="*/ 17 h 660"/>
                <a:gd name="T34" fmla="*/ 31 w 552"/>
                <a:gd name="T35" fmla="*/ 15 h 660"/>
                <a:gd name="T36" fmla="*/ 33 w 552"/>
                <a:gd name="T37" fmla="*/ 17 h 660"/>
                <a:gd name="T38" fmla="*/ 36 w 552"/>
                <a:gd name="T39" fmla="*/ 23 h 660"/>
                <a:gd name="T40" fmla="*/ 41 w 552"/>
                <a:gd name="T41" fmla="*/ 33 h 660"/>
                <a:gd name="T42" fmla="*/ 43 w 552"/>
                <a:gd name="T43" fmla="*/ 36 h 660"/>
                <a:gd name="T44" fmla="*/ 43 w 552"/>
                <a:gd name="T45" fmla="*/ 37 h 660"/>
                <a:gd name="T46" fmla="*/ 41 w 552"/>
                <a:gd name="T47" fmla="*/ 35 h 660"/>
                <a:gd name="T48" fmla="*/ 43 w 552"/>
                <a:gd name="T49" fmla="*/ 37 h 660"/>
                <a:gd name="T50" fmla="*/ 44 w 552"/>
                <a:gd name="T51" fmla="*/ 39 h 660"/>
                <a:gd name="T52" fmla="*/ 47 w 552"/>
                <a:gd name="T53" fmla="*/ 41 h 660"/>
                <a:gd name="T54" fmla="*/ 47 w 552"/>
                <a:gd name="T55" fmla="*/ 44 h 660"/>
                <a:gd name="T56" fmla="*/ 48 w 552"/>
                <a:gd name="T57" fmla="*/ 46 h 660"/>
                <a:gd name="T58" fmla="*/ 47 w 552"/>
                <a:gd name="T59" fmla="*/ 46 h 660"/>
                <a:gd name="T60" fmla="*/ 44 w 552"/>
                <a:gd name="T61" fmla="*/ 46 h 660"/>
                <a:gd name="T62" fmla="*/ 47 w 552"/>
                <a:gd name="T63" fmla="*/ 47 h 660"/>
                <a:gd name="T64" fmla="*/ 47 w 552"/>
                <a:gd name="T65" fmla="*/ 49 h 660"/>
                <a:gd name="T66" fmla="*/ 47 w 552"/>
                <a:gd name="T67" fmla="*/ 52 h 660"/>
                <a:gd name="T68" fmla="*/ 46 w 552"/>
                <a:gd name="T69" fmla="*/ 53 h 660"/>
                <a:gd name="T70" fmla="*/ 43 w 552"/>
                <a:gd name="T71" fmla="*/ 54 h 660"/>
                <a:gd name="T72" fmla="*/ 37 w 552"/>
                <a:gd name="T73" fmla="*/ 54 h 660"/>
                <a:gd name="T74" fmla="*/ 30 w 552"/>
                <a:gd name="T75" fmla="*/ 54 h 660"/>
                <a:gd name="T76" fmla="*/ 29 w 552"/>
                <a:gd name="T77" fmla="*/ 53 h 660"/>
                <a:gd name="T78" fmla="*/ 27 w 552"/>
                <a:gd name="T79" fmla="*/ 53 h 660"/>
                <a:gd name="T80" fmla="*/ 29 w 552"/>
                <a:gd name="T81" fmla="*/ 53 h 660"/>
                <a:gd name="T82" fmla="*/ 28 w 552"/>
                <a:gd name="T83" fmla="*/ 54 h 660"/>
                <a:gd name="T84" fmla="*/ 24 w 552"/>
                <a:gd name="T85" fmla="*/ 54 h 660"/>
                <a:gd name="T86" fmla="*/ 20 w 552"/>
                <a:gd name="T87" fmla="*/ 55 h 660"/>
                <a:gd name="T88" fmla="*/ 15 w 552"/>
                <a:gd name="T89" fmla="*/ 56 h 660"/>
                <a:gd name="T90" fmla="*/ 12 w 552"/>
                <a:gd name="T91" fmla="*/ 56 h 660"/>
                <a:gd name="T92" fmla="*/ 11 w 552"/>
                <a:gd name="T93" fmla="*/ 57 h 660"/>
                <a:gd name="T94" fmla="*/ 9 w 552"/>
                <a:gd name="T95" fmla="*/ 57 h 660"/>
                <a:gd name="T96" fmla="*/ 7 w 552"/>
                <a:gd name="T97" fmla="*/ 56 h 660"/>
                <a:gd name="T98" fmla="*/ 5 w 552"/>
                <a:gd name="T99" fmla="*/ 55 h 660"/>
                <a:gd name="T100" fmla="*/ 7 w 552"/>
                <a:gd name="T101" fmla="*/ 54 h 660"/>
                <a:gd name="T102" fmla="*/ 5 w 552"/>
                <a:gd name="T103" fmla="*/ 54 h 660"/>
                <a:gd name="T104" fmla="*/ 5 w 552"/>
                <a:gd name="T105" fmla="*/ 53 h 660"/>
                <a:gd name="T106" fmla="*/ 4 w 552"/>
                <a:gd name="T107" fmla="*/ 49 h 660"/>
                <a:gd name="T108" fmla="*/ 45 w 552"/>
                <a:gd name="T109" fmla="*/ 38 h 66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52"/>
                <a:gd name="T166" fmla="*/ 0 h 660"/>
                <a:gd name="T167" fmla="*/ 552 w 552"/>
                <a:gd name="T168" fmla="*/ 660 h 66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52" h="660">
                  <a:moveTo>
                    <a:pt x="36" y="564"/>
                  </a:moveTo>
                  <a:lnTo>
                    <a:pt x="36" y="558"/>
                  </a:lnTo>
                  <a:lnTo>
                    <a:pt x="36" y="552"/>
                  </a:lnTo>
                  <a:lnTo>
                    <a:pt x="42" y="546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34"/>
                  </a:lnTo>
                  <a:lnTo>
                    <a:pt x="36" y="528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54" y="510"/>
                  </a:lnTo>
                  <a:lnTo>
                    <a:pt x="54" y="504"/>
                  </a:lnTo>
                  <a:lnTo>
                    <a:pt x="54" y="498"/>
                  </a:lnTo>
                  <a:lnTo>
                    <a:pt x="48" y="492"/>
                  </a:lnTo>
                  <a:lnTo>
                    <a:pt x="42" y="486"/>
                  </a:lnTo>
                  <a:lnTo>
                    <a:pt x="42" y="480"/>
                  </a:lnTo>
                  <a:lnTo>
                    <a:pt x="42" y="468"/>
                  </a:lnTo>
                  <a:lnTo>
                    <a:pt x="30" y="456"/>
                  </a:lnTo>
                  <a:lnTo>
                    <a:pt x="30" y="450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2"/>
                  </a:lnTo>
                  <a:lnTo>
                    <a:pt x="18" y="426"/>
                  </a:lnTo>
                  <a:lnTo>
                    <a:pt x="24" y="420"/>
                  </a:lnTo>
                  <a:lnTo>
                    <a:pt x="18" y="414"/>
                  </a:lnTo>
                  <a:lnTo>
                    <a:pt x="12" y="408"/>
                  </a:lnTo>
                  <a:lnTo>
                    <a:pt x="12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6" y="384"/>
                  </a:lnTo>
                  <a:lnTo>
                    <a:pt x="12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8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36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54" y="270"/>
                  </a:lnTo>
                  <a:lnTo>
                    <a:pt x="48" y="264"/>
                  </a:lnTo>
                  <a:lnTo>
                    <a:pt x="42" y="246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8" y="204"/>
                  </a:lnTo>
                  <a:lnTo>
                    <a:pt x="54" y="174"/>
                  </a:lnTo>
                  <a:lnTo>
                    <a:pt x="54" y="162"/>
                  </a:lnTo>
                  <a:lnTo>
                    <a:pt x="54" y="156"/>
                  </a:lnTo>
                  <a:lnTo>
                    <a:pt x="54" y="144"/>
                  </a:lnTo>
                  <a:lnTo>
                    <a:pt x="48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72" y="126"/>
                  </a:lnTo>
                  <a:lnTo>
                    <a:pt x="84" y="126"/>
                  </a:lnTo>
                  <a:lnTo>
                    <a:pt x="96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2" y="84"/>
                  </a:lnTo>
                  <a:lnTo>
                    <a:pt x="126" y="78"/>
                  </a:lnTo>
                  <a:lnTo>
                    <a:pt x="120" y="78"/>
                  </a:lnTo>
                  <a:lnTo>
                    <a:pt x="102" y="84"/>
                  </a:lnTo>
                  <a:lnTo>
                    <a:pt x="108" y="66"/>
                  </a:lnTo>
                  <a:lnTo>
                    <a:pt x="114" y="54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8" y="4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6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74" y="0"/>
                  </a:lnTo>
                  <a:lnTo>
                    <a:pt x="180" y="0"/>
                  </a:lnTo>
                  <a:lnTo>
                    <a:pt x="186" y="18"/>
                  </a:lnTo>
                  <a:lnTo>
                    <a:pt x="198" y="30"/>
                  </a:lnTo>
                  <a:lnTo>
                    <a:pt x="204" y="54"/>
                  </a:lnTo>
                  <a:lnTo>
                    <a:pt x="216" y="60"/>
                  </a:lnTo>
                  <a:lnTo>
                    <a:pt x="240" y="60"/>
                  </a:lnTo>
                  <a:lnTo>
                    <a:pt x="246" y="66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2" y="120"/>
                  </a:lnTo>
                  <a:lnTo>
                    <a:pt x="25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6" y="126"/>
                  </a:lnTo>
                  <a:lnTo>
                    <a:pt x="282" y="120"/>
                  </a:lnTo>
                  <a:lnTo>
                    <a:pt x="282" y="126"/>
                  </a:lnTo>
                  <a:lnTo>
                    <a:pt x="294" y="126"/>
                  </a:lnTo>
                  <a:lnTo>
                    <a:pt x="300" y="132"/>
                  </a:lnTo>
                  <a:lnTo>
                    <a:pt x="306" y="144"/>
                  </a:lnTo>
                  <a:lnTo>
                    <a:pt x="312" y="144"/>
                  </a:lnTo>
                  <a:lnTo>
                    <a:pt x="312" y="150"/>
                  </a:lnTo>
                  <a:lnTo>
                    <a:pt x="312" y="162"/>
                  </a:lnTo>
                  <a:lnTo>
                    <a:pt x="312" y="174"/>
                  </a:lnTo>
                  <a:lnTo>
                    <a:pt x="324" y="180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30" y="192"/>
                  </a:lnTo>
                  <a:lnTo>
                    <a:pt x="336" y="198"/>
                  </a:lnTo>
                  <a:lnTo>
                    <a:pt x="342" y="192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54" y="180"/>
                  </a:lnTo>
                  <a:lnTo>
                    <a:pt x="354" y="174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84" y="192"/>
                  </a:lnTo>
                  <a:lnTo>
                    <a:pt x="390" y="204"/>
                  </a:lnTo>
                  <a:lnTo>
                    <a:pt x="390" y="210"/>
                  </a:lnTo>
                  <a:lnTo>
                    <a:pt x="390" y="216"/>
                  </a:lnTo>
                  <a:lnTo>
                    <a:pt x="384" y="234"/>
                  </a:lnTo>
                  <a:lnTo>
                    <a:pt x="390" y="240"/>
                  </a:lnTo>
                  <a:lnTo>
                    <a:pt x="408" y="252"/>
                  </a:lnTo>
                  <a:lnTo>
                    <a:pt x="414" y="264"/>
                  </a:lnTo>
                  <a:lnTo>
                    <a:pt x="408" y="300"/>
                  </a:lnTo>
                  <a:lnTo>
                    <a:pt x="414" y="312"/>
                  </a:lnTo>
                  <a:lnTo>
                    <a:pt x="426" y="336"/>
                  </a:lnTo>
                  <a:lnTo>
                    <a:pt x="438" y="354"/>
                  </a:lnTo>
                  <a:lnTo>
                    <a:pt x="444" y="366"/>
                  </a:lnTo>
                  <a:lnTo>
                    <a:pt x="456" y="366"/>
                  </a:lnTo>
                  <a:lnTo>
                    <a:pt x="474" y="378"/>
                  </a:lnTo>
                  <a:lnTo>
                    <a:pt x="474" y="384"/>
                  </a:lnTo>
                  <a:lnTo>
                    <a:pt x="480" y="390"/>
                  </a:lnTo>
                  <a:lnTo>
                    <a:pt x="486" y="396"/>
                  </a:lnTo>
                  <a:lnTo>
                    <a:pt x="486" y="402"/>
                  </a:lnTo>
                  <a:lnTo>
                    <a:pt x="480" y="408"/>
                  </a:lnTo>
                  <a:lnTo>
                    <a:pt x="486" y="408"/>
                  </a:lnTo>
                  <a:lnTo>
                    <a:pt x="486" y="414"/>
                  </a:lnTo>
                  <a:lnTo>
                    <a:pt x="492" y="414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32"/>
                  </a:lnTo>
                  <a:lnTo>
                    <a:pt x="498" y="438"/>
                  </a:lnTo>
                  <a:lnTo>
                    <a:pt x="492" y="432"/>
                  </a:lnTo>
                  <a:lnTo>
                    <a:pt x="486" y="426"/>
                  </a:lnTo>
                  <a:lnTo>
                    <a:pt x="486" y="420"/>
                  </a:lnTo>
                  <a:lnTo>
                    <a:pt x="486" y="414"/>
                  </a:lnTo>
                  <a:lnTo>
                    <a:pt x="480" y="414"/>
                  </a:lnTo>
                  <a:lnTo>
                    <a:pt x="480" y="408"/>
                  </a:lnTo>
                  <a:lnTo>
                    <a:pt x="474" y="408"/>
                  </a:lnTo>
                  <a:lnTo>
                    <a:pt x="468" y="408"/>
                  </a:lnTo>
                  <a:lnTo>
                    <a:pt x="468" y="402"/>
                  </a:lnTo>
                  <a:lnTo>
                    <a:pt x="462" y="402"/>
                  </a:lnTo>
                  <a:lnTo>
                    <a:pt x="462" y="408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80" y="426"/>
                  </a:lnTo>
                  <a:lnTo>
                    <a:pt x="486" y="426"/>
                  </a:lnTo>
                  <a:lnTo>
                    <a:pt x="486" y="432"/>
                  </a:lnTo>
                  <a:lnTo>
                    <a:pt x="492" y="438"/>
                  </a:lnTo>
                  <a:lnTo>
                    <a:pt x="498" y="438"/>
                  </a:lnTo>
                  <a:lnTo>
                    <a:pt x="504" y="444"/>
                  </a:lnTo>
                  <a:lnTo>
                    <a:pt x="510" y="444"/>
                  </a:lnTo>
                  <a:lnTo>
                    <a:pt x="510" y="450"/>
                  </a:lnTo>
                  <a:lnTo>
                    <a:pt x="510" y="456"/>
                  </a:lnTo>
                  <a:lnTo>
                    <a:pt x="516" y="456"/>
                  </a:lnTo>
                  <a:lnTo>
                    <a:pt x="516" y="462"/>
                  </a:lnTo>
                  <a:lnTo>
                    <a:pt x="522" y="462"/>
                  </a:lnTo>
                  <a:lnTo>
                    <a:pt x="522" y="468"/>
                  </a:lnTo>
                  <a:lnTo>
                    <a:pt x="528" y="468"/>
                  </a:lnTo>
                  <a:lnTo>
                    <a:pt x="534" y="468"/>
                  </a:lnTo>
                  <a:lnTo>
                    <a:pt x="534" y="474"/>
                  </a:lnTo>
                  <a:lnTo>
                    <a:pt x="540" y="474"/>
                  </a:lnTo>
                  <a:lnTo>
                    <a:pt x="540" y="480"/>
                  </a:lnTo>
                  <a:lnTo>
                    <a:pt x="546" y="486"/>
                  </a:lnTo>
                  <a:lnTo>
                    <a:pt x="546" y="492"/>
                  </a:lnTo>
                  <a:lnTo>
                    <a:pt x="546" y="498"/>
                  </a:lnTo>
                  <a:lnTo>
                    <a:pt x="546" y="504"/>
                  </a:lnTo>
                  <a:lnTo>
                    <a:pt x="540" y="504"/>
                  </a:lnTo>
                  <a:lnTo>
                    <a:pt x="546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10"/>
                  </a:lnTo>
                  <a:lnTo>
                    <a:pt x="552" y="516"/>
                  </a:lnTo>
                  <a:lnTo>
                    <a:pt x="552" y="522"/>
                  </a:lnTo>
                  <a:lnTo>
                    <a:pt x="552" y="528"/>
                  </a:lnTo>
                  <a:lnTo>
                    <a:pt x="552" y="534"/>
                  </a:lnTo>
                  <a:lnTo>
                    <a:pt x="552" y="540"/>
                  </a:lnTo>
                  <a:lnTo>
                    <a:pt x="546" y="540"/>
                  </a:lnTo>
                  <a:lnTo>
                    <a:pt x="546" y="546"/>
                  </a:lnTo>
                  <a:lnTo>
                    <a:pt x="546" y="540"/>
                  </a:lnTo>
                  <a:lnTo>
                    <a:pt x="546" y="534"/>
                  </a:lnTo>
                  <a:lnTo>
                    <a:pt x="540" y="534"/>
                  </a:lnTo>
                  <a:lnTo>
                    <a:pt x="540" y="528"/>
                  </a:lnTo>
                  <a:lnTo>
                    <a:pt x="534" y="528"/>
                  </a:lnTo>
                  <a:lnTo>
                    <a:pt x="528" y="528"/>
                  </a:lnTo>
                  <a:lnTo>
                    <a:pt x="522" y="528"/>
                  </a:lnTo>
                  <a:lnTo>
                    <a:pt x="516" y="528"/>
                  </a:lnTo>
                  <a:lnTo>
                    <a:pt x="510" y="528"/>
                  </a:lnTo>
                  <a:lnTo>
                    <a:pt x="510" y="534"/>
                  </a:lnTo>
                  <a:lnTo>
                    <a:pt x="510" y="528"/>
                  </a:lnTo>
                  <a:lnTo>
                    <a:pt x="516" y="528"/>
                  </a:lnTo>
                  <a:lnTo>
                    <a:pt x="522" y="528"/>
                  </a:lnTo>
                  <a:lnTo>
                    <a:pt x="528" y="528"/>
                  </a:lnTo>
                  <a:lnTo>
                    <a:pt x="534" y="534"/>
                  </a:lnTo>
                  <a:lnTo>
                    <a:pt x="540" y="534"/>
                  </a:lnTo>
                  <a:lnTo>
                    <a:pt x="540" y="540"/>
                  </a:lnTo>
                  <a:lnTo>
                    <a:pt x="540" y="546"/>
                  </a:lnTo>
                  <a:lnTo>
                    <a:pt x="546" y="546"/>
                  </a:lnTo>
                  <a:lnTo>
                    <a:pt x="546" y="552"/>
                  </a:lnTo>
                  <a:lnTo>
                    <a:pt x="552" y="552"/>
                  </a:lnTo>
                  <a:lnTo>
                    <a:pt x="552" y="558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0" y="576"/>
                  </a:lnTo>
                  <a:lnTo>
                    <a:pt x="540" y="582"/>
                  </a:lnTo>
                  <a:lnTo>
                    <a:pt x="540" y="588"/>
                  </a:lnTo>
                  <a:lnTo>
                    <a:pt x="534" y="594"/>
                  </a:lnTo>
                  <a:lnTo>
                    <a:pt x="534" y="600"/>
                  </a:lnTo>
                  <a:lnTo>
                    <a:pt x="528" y="600"/>
                  </a:lnTo>
                  <a:lnTo>
                    <a:pt x="522" y="594"/>
                  </a:lnTo>
                  <a:lnTo>
                    <a:pt x="528" y="600"/>
                  </a:lnTo>
                  <a:lnTo>
                    <a:pt x="534" y="600"/>
                  </a:lnTo>
                  <a:lnTo>
                    <a:pt x="534" y="606"/>
                  </a:lnTo>
                  <a:lnTo>
                    <a:pt x="528" y="606"/>
                  </a:lnTo>
                  <a:lnTo>
                    <a:pt x="528" y="612"/>
                  </a:lnTo>
                  <a:lnTo>
                    <a:pt x="522" y="612"/>
                  </a:lnTo>
                  <a:lnTo>
                    <a:pt x="522" y="618"/>
                  </a:lnTo>
                  <a:lnTo>
                    <a:pt x="522" y="624"/>
                  </a:lnTo>
                  <a:lnTo>
                    <a:pt x="510" y="624"/>
                  </a:lnTo>
                  <a:lnTo>
                    <a:pt x="498" y="624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0" y="624"/>
                  </a:lnTo>
                  <a:lnTo>
                    <a:pt x="474" y="624"/>
                  </a:lnTo>
                  <a:lnTo>
                    <a:pt x="468" y="618"/>
                  </a:lnTo>
                  <a:lnTo>
                    <a:pt x="456" y="618"/>
                  </a:lnTo>
                  <a:lnTo>
                    <a:pt x="450" y="618"/>
                  </a:lnTo>
                  <a:lnTo>
                    <a:pt x="426" y="618"/>
                  </a:lnTo>
                  <a:lnTo>
                    <a:pt x="420" y="618"/>
                  </a:lnTo>
                  <a:lnTo>
                    <a:pt x="414" y="618"/>
                  </a:lnTo>
                  <a:lnTo>
                    <a:pt x="408" y="618"/>
                  </a:lnTo>
                  <a:lnTo>
                    <a:pt x="396" y="618"/>
                  </a:lnTo>
                  <a:lnTo>
                    <a:pt x="366" y="618"/>
                  </a:lnTo>
                  <a:lnTo>
                    <a:pt x="348" y="624"/>
                  </a:lnTo>
                  <a:lnTo>
                    <a:pt x="342" y="624"/>
                  </a:lnTo>
                  <a:lnTo>
                    <a:pt x="342" y="618"/>
                  </a:lnTo>
                  <a:lnTo>
                    <a:pt x="336" y="618"/>
                  </a:lnTo>
                  <a:lnTo>
                    <a:pt x="336" y="612"/>
                  </a:lnTo>
                  <a:lnTo>
                    <a:pt x="342" y="612"/>
                  </a:lnTo>
                  <a:lnTo>
                    <a:pt x="348" y="612"/>
                  </a:lnTo>
                  <a:lnTo>
                    <a:pt x="342" y="612"/>
                  </a:lnTo>
                  <a:lnTo>
                    <a:pt x="336" y="612"/>
                  </a:lnTo>
                  <a:lnTo>
                    <a:pt x="336" y="606"/>
                  </a:lnTo>
                  <a:lnTo>
                    <a:pt x="330" y="606"/>
                  </a:lnTo>
                  <a:lnTo>
                    <a:pt x="330" y="600"/>
                  </a:lnTo>
                  <a:lnTo>
                    <a:pt x="324" y="600"/>
                  </a:lnTo>
                  <a:lnTo>
                    <a:pt x="324" y="606"/>
                  </a:lnTo>
                  <a:lnTo>
                    <a:pt x="318" y="606"/>
                  </a:lnTo>
                  <a:lnTo>
                    <a:pt x="318" y="612"/>
                  </a:lnTo>
                  <a:lnTo>
                    <a:pt x="312" y="612"/>
                  </a:lnTo>
                  <a:lnTo>
                    <a:pt x="306" y="606"/>
                  </a:lnTo>
                  <a:lnTo>
                    <a:pt x="306" y="612"/>
                  </a:lnTo>
                  <a:lnTo>
                    <a:pt x="312" y="612"/>
                  </a:lnTo>
                  <a:lnTo>
                    <a:pt x="318" y="612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30" y="606"/>
                  </a:lnTo>
                  <a:lnTo>
                    <a:pt x="336" y="612"/>
                  </a:lnTo>
                  <a:lnTo>
                    <a:pt x="336" y="618"/>
                  </a:lnTo>
                  <a:lnTo>
                    <a:pt x="330" y="618"/>
                  </a:lnTo>
                  <a:lnTo>
                    <a:pt x="336" y="618"/>
                  </a:lnTo>
                  <a:lnTo>
                    <a:pt x="336" y="624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288" y="624"/>
                  </a:lnTo>
                  <a:lnTo>
                    <a:pt x="282" y="624"/>
                  </a:lnTo>
                  <a:lnTo>
                    <a:pt x="270" y="630"/>
                  </a:lnTo>
                  <a:lnTo>
                    <a:pt x="264" y="630"/>
                  </a:lnTo>
                  <a:lnTo>
                    <a:pt x="258" y="630"/>
                  </a:lnTo>
                  <a:lnTo>
                    <a:pt x="252" y="630"/>
                  </a:lnTo>
                  <a:lnTo>
                    <a:pt x="246" y="630"/>
                  </a:lnTo>
                  <a:lnTo>
                    <a:pt x="240" y="630"/>
                  </a:lnTo>
                  <a:lnTo>
                    <a:pt x="228" y="636"/>
                  </a:lnTo>
                  <a:lnTo>
                    <a:pt x="222" y="636"/>
                  </a:lnTo>
                  <a:lnTo>
                    <a:pt x="210" y="636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42"/>
                  </a:lnTo>
                  <a:lnTo>
                    <a:pt x="186" y="642"/>
                  </a:lnTo>
                  <a:lnTo>
                    <a:pt x="180" y="642"/>
                  </a:lnTo>
                  <a:lnTo>
                    <a:pt x="168" y="642"/>
                  </a:lnTo>
                  <a:lnTo>
                    <a:pt x="162" y="642"/>
                  </a:lnTo>
                  <a:lnTo>
                    <a:pt x="162" y="648"/>
                  </a:lnTo>
                  <a:lnTo>
                    <a:pt x="156" y="648"/>
                  </a:lnTo>
                  <a:lnTo>
                    <a:pt x="150" y="648"/>
                  </a:lnTo>
                  <a:lnTo>
                    <a:pt x="144" y="648"/>
                  </a:lnTo>
                  <a:lnTo>
                    <a:pt x="138" y="648"/>
                  </a:lnTo>
                  <a:lnTo>
                    <a:pt x="132" y="648"/>
                  </a:lnTo>
                  <a:lnTo>
                    <a:pt x="126" y="642"/>
                  </a:lnTo>
                  <a:lnTo>
                    <a:pt x="126" y="636"/>
                  </a:lnTo>
                  <a:lnTo>
                    <a:pt x="120" y="636"/>
                  </a:lnTo>
                  <a:lnTo>
                    <a:pt x="126" y="642"/>
                  </a:lnTo>
                  <a:lnTo>
                    <a:pt x="126" y="648"/>
                  </a:lnTo>
                  <a:lnTo>
                    <a:pt x="132" y="648"/>
                  </a:lnTo>
                  <a:lnTo>
                    <a:pt x="126" y="654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54"/>
                  </a:lnTo>
                  <a:lnTo>
                    <a:pt x="108" y="660"/>
                  </a:lnTo>
                  <a:lnTo>
                    <a:pt x="108" y="654"/>
                  </a:lnTo>
                  <a:lnTo>
                    <a:pt x="102" y="654"/>
                  </a:lnTo>
                  <a:lnTo>
                    <a:pt x="102" y="660"/>
                  </a:lnTo>
                  <a:lnTo>
                    <a:pt x="108" y="660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0" y="660"/>
                  </a:lnTo>
                  <a:lnTo>
                    <a:pt x="90" y="654"/>
                  </a:lnTo>
                  <a:lnTo>
                    <a:pt x="84" y="648"/>
                  </a:lnTo>
                  <a:lnTo>
                    <a:pt x="84" y="642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72" y="636"/>
                  </a:lnTo>
                  <a:lnTo>
                    <a:pt x="78" y="636"/>
                  </a:lnTo>
                  <a:lnTo>
                    <a:pt x="72" y="636"/>
                  </a:lnTo>
                  <a:lnTo>
                    <a:pt x="66" y="636"/>
                  </a:lnTo>
                  <a:lnTo>
                    <a:pt x="60" y="636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60" y="618"/>
                  </a:lnTo>
                  <a:lnTo>
                    <a:pt x="66" y="618"/>
                  </a:lnTo>
                  <a:lnTo>
                    <a:pt x="72" y="618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2" y="612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12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54" y="618"/>
                  </a:lnTo>
                  <a:lnTo>
                    <a:pt x="54" y="624"/>
                  </a:lnTo>
                  <a:lnTo>
                    <a:pt x="48" y="618"/>
                  </a:lnTo>
                  <a:lnTo>
                    <a:pt x="42" y="618"/>
                  </a:lnTo>
                  <a:lnTo>
                    <a:pt x="42" y="612"/>
                  </a:lnTo>
                  <a:lnTo>
                    <a:pt x="48" y="606"/>
                  </a:lnTo>
                  <a:lnTo>
                    <a:pt x="54" y="606"/>
                  </a:lnTo>
                  <a:lnTo>
                    <a:pt x="54" y="600"/>
                  </a:lnTo>
                  <a:lnTo>
                    <a:pt x="54" y="594"/>
                  </a:lnTo>
                  <a:lnTo>
                    <a:pt x="54" y="588"/>
                  </a:lnTo>
                  <a:lnTo>
                    <a:pt x="48" y="588"/>
                  </a:lnTo>
                  <a:lnTo>
                    <a:pt x="48" y="582"/>
                  </a:lnTo>
                  <a:lnTo>
                    <a:pt x="42" y="582"/>
                  </a:lnTo>
                  <a:lnTo>
                    <a:pt x="42" y="570"/>
                  </a:lnTo>
                  <a:lnTo>
                    <a:pt x="42" y="564"/>
                  </a:lnTo>
                  <a:lnTo>
                    <a:pt x="36" y="564"/>
                  </a:lnTo>
                  <a:close/>
                  <a:moveTo>
                    <a:pt x="498" y="420"/>
                  </a:moveTo>
                  <a:lnTo>
                    <a:pt x="504" y="426"/>
                  </a:lnTo>
                  <a:lnTo>
                    <a:pt x="510" y="432"/>
                  </a:lnTo>
                  <a:lnTo>
                    <a:pt x="516" y="432"/>
                  </a:lnTo>
                  <a:lnTo>
                    <a:pt x="516" y="438"/>
                  </a:lnTo>
                  <a:lnTo>
                    <a:pt x="510" y="438"/>
                  </a:lnTo>
                  <a:lnTo>
                    <a:pt x="504" y="438"/>
                  </a:lnTo>
                  <a:lnTo>
                    <a:pt x="504" y="432"/>
                  </a:lnTo>
                  <a:lnTo>
                    <a:pt x="498" y="432"/>
                  </a:lnTo>
                  <a:lnTo>
                    <a:pt x="498" y="426"/>
                  </a:lnTo>
                  <a:lnTo>
                    <a:pt x="498" y="42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4" name="Freeform 9">
              <a:extLst>
                <a:ext uri="{FF2B5EF4-FFF2-40B4-BE49-F238E27FC236}">
                  <a16:creationId xmlns:a16="http://schemas.microsoft.com/office/drawing/2014/main" id="{E0116D32-BD2E-45EA-B818-A3082585D5F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3055" y="2468650"/>
              <a:ext cx="800556" cy="1207710"/>
            </a:xfrm>
            <a:custGeom>
              <a:avLst/>
              <a:gdLst>
                <a:gd name="T0" fmla="*/ 24 w 1506"/>
                <a:gd name="T1" fmla="*/ 190 h 2274"/>
                <a:gd name="T2" fmla="*/ 25 w 1506"/>
                <a:gd name="T3" fmla="*/ 180 h 2274"/>
                <a:gd name="T4" fmla="*/ 21 w 1506"/>
                <a:gd name="T5" fmla="*/ 174 h 2274"/>
                <a:gd name="T6" fmla="*/ 17 w 1506"/>
                <a:gd name="T7" fmla="*/ 170 h 2274"/>
                <a:gd name="T8" fmla="*/ 12 w 1506"/>
                <a:gd name="T9" fmla="*/ 168 h 2274"/>
                <a:gd name="T10" fmla="*/ 10 w 1506"/>
                <a:gd name="T11" fmla="*/ 173 h 2274"/>
                <a:gd name="T12" fmla="*/ 7 w 1506"/>
                <a:gd name="T13" fmla="*/ 174 h 2274"/>
                <a:gd name="T14" fmla="*/ 0 w 1506"/>
                <a:gd name="T15" fmla="*/ 163 h 2274"/>
                <a:gd name="T16" fmla="*/ 16 w 1506"/>
                <a:gd name="T17" fmla="*/ 140 h 2274"/>
                <a:gd name="T18" fmla="*/ 19 w 1506"/>
                <a:gd name="T19" fmla="*/ 137 h 2274"/>
                <a:gd name="T20" fmla="*/ 24 w 1506"/>
                <a:gd name="T21" fmla="*/ 126 h 2274"/>
                <a:gd name="T22" fmla="*/ 23 w 1506"/>
                <a:gd name="T23" fmla="*/ 105 h 2274"/>
                <a:gd name="T24" fmla="*/ 14 w 1506"/>
                <a:gd name="T25" fmla="*/ 86 h 2274"/>
                <a:gd name="T26" fmla="*/ 8 w 1506"/>
                <a:gd name="T27" fmla="*/ 84 h 2274"/>
                <a:gd name="T28" fmla="*/ 5 w 1506"/>
                <a:gd name="T29" fmla="*/ 79 h 2274"/>
                <a:gd name="T30" fmla="*/ 16 w 1506"/>
                <a:gd name="T31" fmla="*/ 71 h 2274"/>
                <a:gd name="T32" fmla="*/ 28 w 1506"/>
                <a:gd name="T33" fmla="*/ 55 h 2274"/>
                <a:gd name="T34" fmla="*/ 29 w 1506"/>
                <a:gd name="T35" fmla="*/ 48 h 2274"/>
                <a:gd name="T36" fmla="*/ 35 w 1506"/>
                <a:gd name="T37" fmla="*/ 50 h 2274"/>
                <a:gd name="T38" fmla="*/ 42 w 1506"/>
                <a:gd name="T39" fmla="*/ 47 h 2274"/>
                <a:gd name="T40" fmla="*/ 63 w 1506"/>
                <a:gd name="T41" fmla="*/ 34 h 2274"/>
                <a:gd name="T42" fmla="*/ 74 w 1506"/>
                <a:gd name="T43" fmla="*/ 27 h 2274"/>
                <a:gd name="T44" fmla="*/ 81 w 1506"/>
                <a:gd name="T45" fmla="*/ 20 h 2274"/>
                <a:gd name="T46" fmla="*/ 89 w 1506"/>
                <a:gd name="T47" fmla="*/ 20 h 2274"/>
                <a:gd name="T48" fmla="*/ 98 w 1506"/>
                <a:gd name="T49" fmla="*/ 27 h 2274"/>
                <a:gd name="T50" fmla="*/ 106 w 1506"/>
                <a:gd name="T51" fmla="*/ 17 h 2274"/>
                <a:gd name="T52" fmla="*/ 111 w 1506"/>
                <a:gd name="T53" fmla="*/ 8 h 2274"/>
                <a:gd name="T54" fmla="*/ 121 w 1506"/>
                <a:gd name="T55" fmla="*/ 2 h 2274"/>
                <a:gd name="T56" fmla="*/ 129 w 1506"/>
                <a:gd name="T57" fmla="*/ 5 h 2274"/>
                <a:gd name="T58" fmla="*/ 125 w 1506"/>
                <a:gd name="T59" fmla="*/ 12 h 2274"/>
                <a:gd name="T60" fmla="*/ 122 w 1506"/>
                <a:gd name="T61" fmla="*/ 20 h 2274"/>
                <a:gd name="T62" fmla="*/ 122 w 1506"/>
                <a:gd name="T63" fmla="*/ 27 h 2274"/>
                <a:gd name="T64" fmla="*/ 120 w 1506"/>
                <a:gd name="T65" fmla="*/ 36 h 2274"/>
                <a:gd name="T66" fmla="*/ 116 w 1506"/>
                <a:gd name="T67" fmla="*/ 43 h 2274"/>
                <a:gd name="T68" fmla="*/ 109 w 1506"/>
                <a:gd name="T69" fmla="*/ 47 h 2274"/>
                <a:gd name="T70" fmla="*/ 108 w 1506"/>
                <a:gd name="T71" fmla="*/ 54 h 2274"/>
                <a:gd name="T72" fmla="*/ 106 w 1506"/>
                <a:gd name="T73" fmla="*/ 59 h 2274"/>
                <a:gd name="T74" fmla="*/ 109 w 1506"/>
                <a:gd name="T75" fmla="*/ 64 h 2274"/>
                <a:gd name="T76" fmla="*/ 106 w 1506"/>
                <a:gd name="T77" fmla="*/ 70 h 2274"/>
                <a:gd name="T78" fmla="*/ 105 w 1506"/>
                <a:gd name="T79" fmla="*/ 75 h 2274"/>
                <a:gd name="T80" fmla="*/ 101 w 1506"/>
                <a:gd name="T81" fmla="*/ 78 h 2274"/>
                <a:gd name="T82" fmla="*/ 92 w 1506"/>
                <a:gd name="T83" fmla="*/ 81 h 2274"/>
                <a:gd name="T84" fmla="*/ 85 w 1506"/>
                <a:gd name="T85" fmla="*/ 85 h 2274"/>
                <a:gd name="T86" fmla="*/ 87 w 1506"/>
                <a:gd name="T87" fmla="*/ 91 h 2274"/>
                <a:gd name="T88" fmla="*/ 86 w 1506"/>
                <a:gd name="T89" fmla="*/ 98 h 2274"/>
                <a:gd name="T90" fmla="*/ 86 w 1506"/>
                <a:gd name="T91" fmla="*/ 103 h 2274"/>
                <a:gd name="T92" fmla="*/ 82 w 1506"/>
                <a:gd name="T93" fmla="*/ 111 h 2274"/>
                <a:gd name="T94" fmla="*/ 81 w 1506"/>
                <a:gd name="T95" fmla="*/ 116 h 2274"/>
                <a:gd name="T96" fmla="*/ 78 w 1506"/>
                <a:gd name="T97" fmla="*/ 120 h 2274"/>
                <a:gd name="T98" fmla="*/ 76 w 1506"/>
                <a:gd name="T99" fmla="*/ 126 h 2274"/>
                <a:gd name="T100" fmla="*/ 68 w 1506"/>
                <a:gd name="T101" fmla="*/ 129 h 2274"/>
                <a:gd name="T102" fmla="*/ 62 w 1506"/>
                <a:gd name="T103" fmla="*/ 131 h 2274"/>
                <a:gd name="T104" fmla="*/ 58 w 1506"/>
                <a:gd name="T105" fmla="*/ 136 h 2274"/>
                <a:gd name="T106" fmla="*/ 51 w 1506"/>
                <a:gd name="T107" fmla="*/ 138 h 2274"/>
                <a:gd name="T108" fmla="*/ 51 w 1506"/>
                <a:gd name="T109" fmla="*/ 147 h 2274"/>
                <a:gd name="T110" fmla="*/ 49 w 1506"/>
                <a:gd name="T111" fmla="*/ 159 h 2274"/>
                <a:gd name="T112" fmla="*/ 48 w 1506"/>
                <a:gd name="T113" fmla="*/ 166 h 2274"/>
                <a:gd name="T114" fmla="*/ 41 w 1506"/>
                <a:gd name="T115" fmla="*/ 174 h 2274"/>
                <a:gd name="T116" fmla="*/ 39 w 1506"/>
                <a:gd name="T117" fmla="*/ 181 h 2274"/>
                <a:gd name="T118" fmla="*/ 37 w 1506"/>
                <a:gd name="T119" fmla="*/ 190 h 2274"/>
                <a:gd name="T120" fmla="*/ 29 w 1506"/>
                <a:gd name="T121" fmla="*/ 198 h 22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06"/>
                <a:gd name="T184" fmla="*/ 0 h 2274"/>
                <a:gd name="T185" fmla="*/ 1506 w 1506"/>
                <a:gd name="T186" fmla="*/ 2274 h 227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06" h="2274">
                  <a:moveTo>
                    <a:pt x="330" y="2274"/>
                  </a:moveTo>
                  <a:lnTo>
                    <a:pt x="318" y="2262"/>
                  </a:lnTo>
                  <a:lnTo>
                    <a:pt x="312" y="2238"/>
                  </a:lnTo>
                  <a:lnTo>
                    <a:pt x="312" y="2232"/>
                  </a:lnTo>
                  <a:lnTo>
                    <a:pt x="294" y="2214"/>
                  </a:lnTo>
                  <a:lnTo>
                    <a:pt x="288" y="2208"/>
                  </a:lnTo>
                  <a:lnTo>
                    <a:pt x="288" y="2202"/>
                  </a:lnTo>
                  <a:lnTo>
                    <a:pt x="276" y="2196"/>
                  </a:lnTo>
                  <a:lnTo>
                    <a:pt x="276" y="2190"/>
                  </a:lnTo>
                  <a:lnTo>
                    <a:pt x="282" y="2190"/>
                  </a:lnTo>
                  <a:lnTo>
                    <a:pt x="282" y="2184"/>
                  </a:lnTo>
                  <a:lnTo>
                    <a:pt x="276" y="2172"/>
                  </a:lnTo>
                  <a:lnTo>
                    <a:pt x="276" y="2166"/>
                  </a:lnTo>
                  <a:lnTo>
                    <a:pt x="282" y="2166"/>
                  </a:lnTo>
                  <a:lnTo>
                    <a:pt x="282" y="2154"/>
                  </a:lnTo>
                  <a:lnTo>
                    <a:pt x="276" y="2136"/>
                  </a:lnTo>
                  <a:lnTo>
                    <a:pt x="276" y="2112"/>
                  </a:lnTo>
                  <a:lnTo>
                    <a:pt x="282" y="2088"/>
                  </a:lnTo>
                  <a:lnTo>
                    <a:pt x="282" y="2082"/>
                  </a:lnTo>
                  <a:lnTo>
                    <a:pt x="282" y="2076"/>
                  </a:lnTo>
                  <a:lnTo>
                    <a:pt x="282" y="2070"/>
                  </a:lnTo>
                  <a:lnTo>
                    <a:pt x="288" y="2070"/>
                  </a:lnTo>
                  <a:lnTo>
                    <a:pt x="288" y="2064"/>
                  </a:lnTo>
                  <a:lnTo>
                    <a:pt x="282" y="2052"/>
                  </a:lnTo>
                  <a:lnTo>
                    <a:pt x="282" y="2046"/>
                  </a:lnTo>
                  <a:lnTo>
                    <a:pt x="276" y="2040"/>
                  </a:lnTo>
                  <a:lnTo>
                    <a:pt x="270" y="2034"/>
                  </a:lnTo>
                  <a:lnTo>
                    <a:pt x="264" y="2022"/>
                  </a:lnTo>
                  <a:lnTo>
                    <a:pt x="258" y="2022"/>
                  </a:lnTo>
                  <a:lnTo>
                    <a:pt x="258" y="2016"/>
                  </a:lnTo>
                  <a:lnTo>
                    <a:pt x="252" y="2016"/>
                  </a:lnTo>
                  <a:lnTo>
                    <a:pt x="246" y="2016"/>
                  </a:lnTo>
                  <a:lnTo>
                    <a:pt x="240" y="2010"/>
                  </a:lnTo>
                  <a:lnTo>
                    <a:pt x="234" y="2004"/>
                  </a:lnTo>
                  <a:lnTo>
                    <a:pt x="228" y="2004"/>
                  </a:lnTo>
                  <a:lnTo>
                    <a:pt x="228" y="1998"/>
                  </a:lnTo>
                  <a:lnTo>
                    <a:pt x="228" y="1992"/>
                  </a:lnTo>
                  <a:lnTo>
                    <a:pt x="222" y="1992"/>
                  </a:lnTo>
                  <a:lnTo>
                    <a:pt x="222" y="1986"/>
                  </a:lnTo>
                  <a:lnTo>
                    <a:pt x="216" y="1986"/>
                  </a:lnTo>
                  <a:lnTo>
                    <a:pt x="210" y="1980"/>
                  </a:lnTo>
                  <a:lnTo>
                    <a:pt x="216" y="1974"/>
                  </a:lnTo>
                  <a:lnTo>
                    <a:pt x="210" y="1968"/>
                  </a:lnTo>
                  <a:lnTo>
                    <a:pt x="198" y="1956"/>
                  </a:lnTo>
                  <a:lnTo>
                    <a:pt x="192" y="1956"/>
                  </a:lnTo>
                  <a:lnTo>
                    <a:pt x="186" y="1956"/>
                  </a:lnTo>
                  <a:lnTo>
                    <a:pt x="180" y="1944"/>
                  </a:lnTo>
                  <a:lnTo>
                    <a:pt x="180" y="1938"/>
                  </a:lnTo>
                  <a:lnTo>
                    <a:pt x="174" y="1932"/>
                  </a:lnTo>
                  <a:lnTo>
                    <a:pt x="168" y="1932"/>
                  </a:lnTo>
                  <a:lnTo>
                    <a:pt x="162" y="1932"/>
                  </a:lnTo>
                  <a:lnTo>
                    <a:pt x="150" y="1932"/>
                  </a:lnTo>
                  <a:lnTo>
                    <a:pt x="150" y="1926"/>
                  </a:lnTo>
                  <a:lnTo>
                    <a:pt x="150" y="1932"/>
                  </a:lnTo>
                  <a:lnTo>
                    <a:pt x="144" y="1932"/>
                  </a:lnTo>
                  <a:lnTo>
                    <a:pt x="138" y="1932"/>
                  </a:lnTo>
                  <a:lnTo>
                    <a:pt x="132" y="1932"/>
                  </a:lnTo>
                  <a:lnTo>
                    <a:pt x="132" y="1938"/>
                  </a:lnTo>
                  <a:lnTo>
                    <a:pt x="126" y="1944"/>
                  </a:lnTo>
                  <a:lnTo>
                    <a:pt x="126" y="1956"/>
                  </a:lnTo>
                  <a:lnTo>
                    <a:pt x="120" y="1968"/>
                  </a:lnTo>
                  <a:lnTo>
                    <a:pt x="120" y="1974"/>
                  </a:lnTo>
                  <a:lnTo>
                    <a:pt x="120" y="1980"/>
                  </a:lnTo>
                  <a:lnTo>
                    <a:pt x="126" y="1980"/>
                  </a:lnTo>
                  <a:lnTo>
                    <a:pt x="120" y="1986"/>
                  </a:lnTo>
                  <a:lnTo>
                    <a:pt x="120" y="1992"/>
                  </a:lnTo>
                  <a:lnTo>
                    <a:pt x="114" y="1992"/>
                  </a:lnTo>
                  <a:lnTo>
                    <a:pt x="114" y="1986"/>
                  </a:lnTo>
                  <a:lnTo>
                    <a:pt x="108" y="1992"/>
                  </a:lnTo>
                  <a:lnTo>
                    <a:pt x="108" y="1998"/>
                  </a:lnTo>
                  <a:lnTo>
                    <a:pt x="114" y="2004"/>
                  </a:lnTo>
                  <a:lnTo>
                    <a:pt x="108" y="2004"/>
                  </a:lnTo>
                  <a:lnTo>
                    <a:pt x="102" y="2010"/>
                  </a:lnTo>
                  <a:lnTo>
                    <a:pt x="102" y="2004"/>
                  </a:lnTo>
                  <a:lnTo>
                    <a:pt x="90" y="2004"/>
                  </a:lnTo>
                  <a:lnTo>
                    <a:pt x="84" y="2004"/>
                  </a:lnTo>
                  <a:lnTo>
                    <a:pt x="78" y="1998"/>
                  </a:lnTo>
                  <a:lnTo>
                    <a:pt x="78" y="1992"/>
                  </a:lnTo>
                  <a:lnTo>
                    <a:pt x="78" y="1986"/>
                  </a:lnTo>
                  <a:lnTo>
                    <a:pt x="72" y="1986"/>
                  </a:lnTo>
                  <a:lnTo>
                    <a:pt x="66" y="1980"/>
                  </a:lnTo>
                  <a:lnTo>
                    <a:pt x="66" y="1968"/>
                  </a:lnTo>
                  <a:lnTo>
                    <a:pt x="60" y="1956"/>
                  </a:lnTo>
                  <a:lnTo>
                    <a:pt x="60" y="1950"/>
                  </a:lnTo>
                  <a:lnTo>
                    <a:pt x="48" y="1944"/>
                  </a:lnTo>
                  <a:lnTo>
                    <a:pt x="30" y="1926"/>
                  </a:lnTo>
                  <a:lnTo>
                    <a:pt x="12" y="1890"/>
                  </a:lnTo>
                  <a:lnTo>
                    <a:pt x="6" y="1872"/>
                  </a:lnTo>
                  <a:lnTo>
                    <a:pt x="0" y="1854"/>
                  </a:lnTo>
                  <a:lnTo>
                    <a:pt x="6" y="1824"/>
                  </a:lnTo>
                  <a:lnTo>
                    <a:pt x="30" y="1794"/>
                  </a:lnTo>
                  <a:lnTo>
                    <a:pt x="66" y="1752"/>
                  </a:lnTo>
                  <a:lnTo>
                    <a:pt x="72" y="1752"/>
                  </a:lnTo>
                  <a:lnTo>
                    <a:pt x="78" y="1746"/>
                  </a:lnTo>
                  <a:lnTo>
                    <a:pt x="84" y="1746"/>
                  </a:lnTo>
                  <a:lnTo>
                    <a:pt x="90" y="1746"/>
                  </a:lnTo>
                  <a:lnTo>
                    <a:pt x="138" y="1674"/>
                  </a:lnTo>
                  <a:lnTo>
                    <a:pt x="186" y="1620"/>
                  </a:lnTo>
                  <a:lnTo>
                    <a:pt x="186" y="1614"/>
                  </a:lnTo>
                  <a:lnTo>
                    <a:pt x="186" y="1608"/>
                  </a:lnTo>
                  <a:lnTo>
                    <a:pt x="192" y="1608"/>
                  </a:lnTo>
                  <a:lnTo>
                    <a:pt x="192" y="1614"/>
                  </a:lnTo>
                  <a:lnTo>
                    <a:pt x="198" y="1614"/>
                  </a:lnTo>
                  <a:lnTo>
                    <a:pt x="198" y="1608"/>
                  </a:lnTo>
                  <a:lnTo>
                    <a:pt x="198" y="1602"/>
                  </a:lnTo>
                  <a:lnTo>
                    <a:pt x="204" y="1602"/>
                  </a:lnTo>
                  <a:lnTo>
                    <a:pt x="204" y="1596"/>
                  </a:lnTo>
                  <a:lnTo>
                    <a:pt x="210" y="1590"/>
                  </a:lnTo>
                  <a:lnTo>
                    <a:pt x="216" y="1590"/>
                  </a:lnTo>
                  <a:lnTo>
                    <a:pt x="216" y="1584"/>
                  </a:lnTo>
                  <a:lnTo>
                    <a:pt x="222" y="1584"/>
                  </a:lnTo>
                  <a:lnTo>
                    <a:pt x="228" y="1572"/>
                  </a:lnTo>
                  <a:lnTo>
                    <a:pt x="222" y="1572"/>
                  </a:lnTo>
                  <a:lnTo>
                    <a:pt x="228" y="1566"/>
                  </a:lnTo>
                  <a:lnTo>
                    <a:pt x="228" y="1560"/>
                  </a:lnTo>
                  <a:lnTo>
                    <a:pt x="252" y="1548"/>
                  </a:lnTo>
                  <a:lnTo>
                    <a:pt x="276" y="1530"/>
                  </a:lnTo>
                  <a:lnTo>
                    <a:pt x="282" y="1512"/>
                  </a:lnTo>
                  <a:lnTo>
                    <a:pt x="282" y="1506"/>
                  </a:lnTo>
                  <a:lnTo>
                    <a:pt x="282" y="1494"/>
                  </a:lnTo>
                  <a:lnTo>
                    <a:pt x="282" y="1452"/>
                  </a:lnTo>
                  <a:lnTo>
                    <a:pt x="288" y="1440"/>
                  </a:lnTo>
                  <a:lnTo>
                    <a:pt x="294" y="1440"/>
                  </a:lnTo>
                  <a:lnTo>
                    <a:pt x="294" y="1428"/>
                  </a:lnTo>
                  <a:lnTo>
                    <a:pt x="324" y="1368"/>
                  </a:lnTo>
                  <a:lnTo>
                    <a:pt x="330" y="1362"/>
                  </a:lnTo>
                  <a:lnTo>
                    <a:pt x="330" y="1356"/>
                  </a:lnTo>
                  <a:lnTo>
                    <a:pt x="360" y="1338"/>
                  </a:lnTo>
                  <a:lnTo>
                    <a:pt x="366" y="1296"/>
                  </a:lnTo>
                  <a:lnTo>
                    <a:pt x="354" y="1278"/>
                  </a:lnTo>
                  <a:lnTo>
                    <a:pt x="336" y="1230"/>
                  </a:lnTo>
                  <a:lnTo>
                    <a:pt x="270" y="1212"/>
                  </a:lnTo>
                  <a:lnTo>
                    <a:pt x="264" y="1212"/>
                  </a:lnTo>
                  <a:lnTo>
                    <a:pt x="252" y="1200"/>
                  </a:lnTo>
                  <a:lnTo>
                    <a:pt x="234" y="1188"/>
                  </a:lnTo>
                  <a:lnTo>
                    <a:pt x="222" y="1182"/>
                  </a:lnTo>
                  <a:lnTo>
                    <a:pt x="228" y="1104"/>
                  </a:lnTo>
                  <a:lnTo>
                    <a:pt x="228" y="1098"/>
                  </a:lnTo>
                  <a:lnTo>
                    <a:pt x="198" y="1038"/>
                  </a:lnTo>
                  <a:lnTo>
                    <a:pt x="192" y="1032"/>
                  </a:lnTo>
                  <a:lnTo>
                    <a:pt x="180" y="1020"/>
                  </a:lnTo>
                  <a:lnTo>
                    <a:pt x="168" y="996"/>
                  </a:lnTo>
                  <a:lnTo>
                    <a:pt x="162" y="990"/>
                  </a:lnTo>
                  <a:lnTo>
                    <a:pt x="156" y="990"/>
                  </a:lnTo>
                  <a:lnTo>
                    <a:pt x="150" y="990"/>
                  </a:lnTo>
                  <a:lnTo>
                    <a:pt x="132" y="990"/>
                  </a:lnTo>
                  <a:lnTo>
                    <a:pt x="120" y="984"/>
                  </a:lnTo>
                  <a:lnTo>
                    <a:pt x="120" y="990"/>
                  </a:lnTo>
                  <a:lnTo>
                    <a:pt x="114" y="990"/>
                  </a:lnTo>
                  <a:lnTo>
                    <a:pt x="102" y="984"/>
                  </a:lnTo>
                  <a:lnTo>
                    <a:pt x="96" y="984"/>
                  </a:lnTo>
                  <a:lnTo>
                    <a:pt x="96" y="978"/>
                  </a:lnTo>
                  <a:lnTo>
                    <a:pt x="90" y="978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84" y="960"/>
                  </a:lnTo>
                  <a:lnTo>
                    <a:pt x="84" y="954"/>
                  </a:lnTo>
                  <a:lnTo>
                    <a:pt x="78" y="948"/>
                  </a:lnTo>
                  <a:lnTo>
                    <a:pt x="72" y="948"/>
                  </a:lnTo>
                  <a:lnTo>
                    <a:pt x="72" y="942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06"/>
                  </a:lnTo>
                  <a:lnTo>
                    <a:pt x="60" y="888"/>
                  </a:lnTo>
                  <a:lnTo>
                    <a:pt x="54" y="882"/>
                  </a:lnTo>
                  <a:lnTo>
                    <a:pt x="60" y="882"/>
                  </a:lnTo>
                  <a:lnTo>
                    <a:pt x="72" y="876"/>
                  </a:lnTo>
                  <a:lnTo>
                    <a:pt x="78" y="876"/>
                  </a:lnTo>
                  <a:lnTo>
                    <a:pt x="90" y="870"/>
                  </a:lnTo>
                  <a:lnTo>
                    <a:pt x="90" y="864"/>
                  </a:lnTo>
                  <a:lnTo>
                    <a:pt x="96" y="840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80" y="822"/>
                  </a:lnTo>
                  <a:lnTo>
                    <a:pt x="204" y="798"/>
                  </a:lnTo>
                  <a:lnTo>
                    <a:pt x="222" y="786"/>
                  </a:lnTo>
                  <a:lnTo>
                    <a:pt x="252" y="780"/>
                  </a:lnTo>
                  <a:lnTo>
                    <a:pt x="264" y="762"/>
                  </a:lnTo>
                  <a:lnTo>
                    <a:pt x="276" y="762"/>
                  </a:lnTo>
                  <a:lnTo>
                    <a:pt x="288" y="744"/>
                  </a:lnTo>
                  <a:lnTo>
                    <a:pt x="306" y="738"/>
                  </a:lnTo>
                  <a:lnTo>
                    <a:pt x="318" y="732"/>
                  </a:lnTo>
                  <a:lnTo>
                    <a:pt x="324" y="648"/>
                  </a:lnTo>
                  <a:lnTo>
                    <a:pt x="324" y="636"/>
                  </a:lnTo>
                  <a:lnTo>
                    <a:pt x="324" y="630"/>
                  </a:lnTo>
                  <a:lnTo>
                    <a:pt x="330" y="624"/>
                  </a:lnTo>
                  <a:lnTo>
                    <a:pt x="324" y="618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24" y="588"/>
                  </a:lnTo>
                  <a:lnTo>
                    <a:pt x="318" y="576"/>
                  </a:lnTo>
                  <a:lnTo>
                    <a:pt x="318" y="570"/>
                  </a:lnTo>
                  <a:lnTo>
                    <a:pt x="324" y="570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30" y="558"/>
                  </a:lnTo>
                  <a:lnTo>
                    <a:pt x="336" y="558"/>
                  </a:lnTo>
                  <a:lnTo>
                    <a:pt x="342" y="558"/>
                  </a:lnTo>
                  <a:lnTo>
                    <a:pt x="348" y="558"/>
                  </a:lnTo>
                  <a:lnTo>
                    <a:pt x="354" y="564"/>
                  </a:lnTo>
                  <a:lnTo>
                    <a:pt x="360" y="564"/>
                  </a:lnTo>
                  <a:lnTo>
                    <a:pt x="366" y="570"/>
                  </a:lnTo>
                  <a:lnTo>
                    <a:pt x="366" y="576"/>
                  </a:lnTo>
                  <a:lnTo>
                    <a:pt x="372" y="570"/>
                  </a:lnTo>
                  <a:lnTo>
                    <a:pt x="378" y="570"/>
                  </a:lnTo>
                  <a:lnTo>
                    <a:pt x="390" y="570"/>
                  </a:lnTo>
                  <a:lnTo>
                    <a:pt x="402" y="570"/>
                  </a:lnTo>
                  <a:lnTo>
                    <a:pt x="408" y="570"/>
                  </a:lnTo>
                  <a:lnTo>
                    <a:pt x="414" y="564"/>
                  </a:lnTo>
                  <a:lnTo>
                    <a:pt x="420" y="564"/>
                  </a:lnTo>
                  <a:lnTo>
                    <a:pt x="420" y="570"/>
                  </a:lnTo>
                  <a:lnTo>
                    <a:pt x="426" y="570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44" y="570"/>
                  </a:lnTo>
                  <a:lnTo>
                    <a:pt x="450" y="564"/>
                  </a:lnTo>
                  <a:lnTo>
                    <a:pt x="474" y="558"/>
                  </a:lnTo>
                  <a:lnTo>
                    <a:pt x="486" y="54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40" y="474"/>
                  </a:lnTo>
                  <a:lnTo>
                    <a:pt x="558" y="456"/>
                  </a:lnTo>
                  <a:lnTo>
                    <a:pt x="582" y="450"/>
                  </a:lnTo>
                  <a:lnTo>
                    <a:pt x="594" y="414"/>
                  </a:lnTo>
                  <a:lnTo>
                    <a:pt x="612" y="390"/>
                  </a:lnTo>
                  <a:lnTo>
                    <a:pt x="636" y="390"/>
                  </a:lnTo>
                  <a:lnTo>
                    <a:pt x="666" y="390"/>
                  </a:lnTo>
                  <a:lnTo>
                    <a:pt x="696" y="390"/>
                  </a:lnTo>
                  <a:lnTo>
                    <a:pt x="726" y="390"/>
                  </a:lnTo>
                  <a:lnTo>
                    <a:pt x="762" y="378"/>
                  </a:lnTo>
                  <a:lnTo>
                    <a:pt x="780" y="366"/>
                  </a:lnTo>
                  <a:lnTo>
                    <a:pt x="780" y="342"/>
                  </a:lnTo>
                  <a:lnTo>
                    <a:pt x="786" y="342"/>
                  </a:lnTo>
                  <a:lnTo>
                    <a:pt x="786" y="336"/>
                  </a:lnTo>
                  <a:lnTo>
                    <a:pt x="786" y="330"/>
                  </a:lnTo>
                  <a:lnTo>
                    <a:pt x="786" y="324"/>
                  </a:lnTo>
                  <a:lnTo>
                    <a:pt x="816" y="318"/>
                  </a:lnTo>
                  <a:lnTo>
                    <a:pt x="834" y="312"/>
                  </a:lnTo>
                  <a:lnTo>
                    <a:pt x="840" y="318"/>
                  </a:lnTo>
                  <a:lnTo>
                    <a:pt x="852" y="318"/>
                  </a:lnTo>
                  <a:lnTo>
                    <a:pt x="858" y="306"/>
                  </a:lnTo>
                  <a:lnTo>
                    <a:pt x="864" y="288"/>
                  </a:lnTo>
                  <a:lnTo>
                    <a:pt x="870" y="282"/>
                  </a:lnTo>
                  <a:lnTo>
                    <a:pt x="876" y="276"/>
                  </a:lnTo>
                  <a:lnTo>
                    <a:pt x="882" y="264"/>
                  </a:lnTo>
                  <a:lnTo>
                    <a:pt x="882" y="258"/>
                  </a:lnTo>
                  <a:lnTo>
                    <a:pt x="888" y="252"/>
                  </a:lnTo>
                  <a:lnTo>
                    <a:pt x="894" y="240"/>
                  </a:lnTo>
                  <a:lnTo>
                    <a:pt x="906" y="228"/>
                  </a:lnTo>
                  <a:lnTo>
                    <a:pt x="912" y="228"/>
                  </a:lnTo>
                  <a:lnTo>
                    <a:pt x="936" y="228"/>
                  </a:lnTo>
                  <a:lnTo>
                    <a:pt x="942" y="222"/>
                  </a:lnTo>
                  <a:lnTo>
                    <a:pt x="948" y="216"/>
                  </a:lnTo>
                  <a:lnTo>
                    <a:pt x="954" y="216"/>
                  </a:lnTo>
                  <a:lnTo>
                    <a:pt x="960" y="216"/>
                  </a:lnTo>
                  <a:lnTo>
                    <a:pt x="966" y="216"/>
                  </a:lnTo>
                  <a:lnTo>
                    <a:pt x="978" y="216"/>
                  </a:lnTo>
                  <a:lnTo>
                    <a:pt x="990" y="222"/>
                  </a:lnTo>
                  <a:lnTo>
                    <a:pt x="996" y="222"/>
                  </a:lnTo>
                  <a:lnTo>
                    <a:pt x="1002" y="228"/>
                  </a:lnTo>
                  <a:lnTo>
                    <a:pt x="1014" y="234"/>
                  </a:lnTo>
                  <a:lnTo>
                    <a:pt x="1020" y="234"/>
                  </a:lnTo>
                  <a:lnTo>
                    <a:pt x="1032" y="240"/>
                  </a:lnTo>
                  <a:lnTo>
                    <a:pt x="1044" y="240"/>
                  </a:lnTo>
                  <a:lnTo>
                    <a:pt x="1050" y="240"/>
                  </a:lnTo>
                  <a:lnTo>
                    <a:pt x="1056" y="246"/>
                  </a:lnTo>
                  <a:lnTo>
                    <a:pt x="1068" y="264"/>
                  </a:lnTo>
                  <a:lnTo>
                    <a:pt x="1086" y="276"/>
                  </a:lnTo>
                  <a:lnTo>
                    <a:pt x="1092" y="276"/>
                  </a:lnTo>
                  <a:lnTo>
                    <a:pt x="1104" y="282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8" y="312"/>
                  </a:lnTo>
                  <a:lnTo>
                    <a:pt x="1152" y="324"/>
                  </a:lnTo>
                  <a:lnTo>
                    <a:pt x="1188" y="324"/>
                  </a:lnTo>
                  <a:lnTo>
                    <a:pt x="1206" y="318"/>
                  </a:lnTo>
                  <a:lnTo>
                    <a:pt x="1200" y="294"/>
                  </a:lnTo>
                  <a:lnTo>
                    <a:pt x="1206" y="252"/>
                  </a:lnTo>
                  <a:lnTo>
                    <a:pt x="1218" y="222"/>
                  </a:lnTo>
                  <a:lnTo>
                    <a:pt x="1212" y="222"/>
                  </a:lnTo>
                  <a:lnTo>
                    <a:pt x="1212" y="216"/>
                  </a:lnTo>
                  <a:lnTo>
                    <a:pt x="1218" y="204"/>
                  </a:lnTo>
                  <a:lnTo>
                    <a:pt x="1224" y="198"/>
                  </a:lnTo>
                  <a:lnTo>
                    <a:pt x="1224" y="192"/>
                  </a:lnTo>
                  <a:lnTo>
                    <a:pt x="1236" y="180"/>
                  </a:lnTo>
                  <a:lnTo>
                    <a:pt x="1254" y="156"/>
                  </a:lnTo>
                  <a:lnTo>
                    <a:pt x="1260" y="150"/>
                  </a:lnTo>
                  <a:lnTo>
                    <a:pt x="1260" y="144"/>
                  </a:lnTo>
                  <a:lnTo>
                    <a:pt x="1266" y="138"/>
                  </a:lnTo>
                  <a:lnTo>
                    <a:pt x="1272" y="138"/>
                  </a:lnTo>
                  <a:lnTo>
                    <a:pt x="1272" y="120"/>
                  </a:lnTo>
                  <a:lnTo>
                    <a:pt x="1278" y="114"/>
                  </a:lnTo>
                  <a:lnTo>
                    <a:pt x="1278" y="108"/>
                  </a:lnTo>
                  <a:lnTo>
                    <a:pt x="1278" y="102"/>
                  </a:lnTo>
                  <a:lnTo>
                    <a:pt x="1278" y="90"/>
                  </a:lnTo>
                  <a:lnTo>
                    <a:pt x="1278" y="84"/>
                  </a:lnTo>
                  <a:lnTo>
                    <a:pt x="1278" y="78"/>
                  </a:lnTo>
                  <a:lnTo>
                    <a:pt x="1278" y="72"/>
                  </a:lnTo>
                  <a:lnTo>
                    <a:pt x="1278" y="60"/>
                  </a:lnTo>
                  <a:lnTo>
                    <a:pt x="1284" y="48"/>
                  </a:lnTo>
                  <a:lnTo>
                    <a:pt x="1284" y="24"/>
                  </a:lnTo>
                  <a:lnTo>
                    <a:pt x="1284" y="18"/>
                  </a:lnTo>
                  <a:lnTo>
                    <a:pt x="1308" y="24"/>
                  </a:lnTo>
                  <a:lnTo>
                    <a:pt x="1332" y="30"/>
                  </a:lnTo>
                  <a:lnTo>
                    <a:pt x="1368" y="30"/>
                  </a:lnTo>
                  <a:lnTo>
                    <a:pt x="1392" y="24"/>
                  </a:lnTo>
                  <a:lnTo>
                    <a:pt x="1410" y="18"/>
                  </a:lnTo>
                  <a:lnTo>
                    <a:pt x="1416" y="6"/>
                  </a:lnTo>
                  <a:lnTo>
                    <a:pt x="1500" y="6"/>
                  </a:lnTo>
                  <a:lnTo>
                    <a:pt x="1506" y="0"/>
                  </a:lnTo>
                  <a:lnTo>
                    <a:pt x="1506" y="6"/>
                  </a:lnTo>
                  <a:lnTo>
                    <a:pt x="1506" y="18"/>
                  </a:lnTo>
                  <a:lnTo>
                    <a:pt x="1506" y="24"/>
                  </a:lnTo>
                  <a:lnTo>
                    <a:pt x="1500" y="30"/>
                  </a:lnTo>
                  <a:lnTo>
                    <a:pt x="1500" y="42"/>
                  </a:lnTo>
                  <a:lnTo>
                    <a:pt x="1494" y="54"/>
                  </a:lnTo>
                  <a:lnTo>
                    <a:pt x="1488" y="60"/>
                  </a:lnTo>
                  <a:lnTo>
                    <a:pt x="1482" y="60"/>
                  </a:lnTo>
                  <a:lnTo>
                    <a:pt x="1476" y="66"/>
                  </a:lnTo>
                  <a:lnTo>
                    <a:pt x="1476" y="72"/>
                  </a:lnTo>
                  <a:lnTo>
                    <a:pt x="1476" y="78"/>
                  </a:lnTo>
                  <a:lnTo>
                    <a:pt x="1470" y="78"/>
                  </a:lnTo>
                  <a:lnTo>
                    <a:pt x="1464" y="90"/>
                  </a:lnTo>
                  <a:lnTo>
                    <a:pt x="1458" y="96"/>
                  </a:lnTo>
                  <a:lnTo>
                    <a:pt x="1458" y="102"/>
                  </a:lnTo>
                  <a:lnTo>
                    <a:pt x="1452" y="120"/>
                  </a:lnTo>
                  <a:lnTo>
                    <a:pt x="1452" y="132"/>
                  </a:lnTo>
                  <a:lnTo>
                    <a:pt x="1446" y="144"/>
                  </a:lnTo>
                  <a:lnTo>
                    <a:pt x="1446" y="150"/>
                  </a:lnTo>
                  <a:lnTo>
                    <a:pt x="1440" y="150"/>
                  </a:lnTo>
                  <a:lnTo>
                    <a:pt x="1434" y="156"/>
                  </a:lnTo>
                  <a:lnTo>
                    <a:pt x="1428" y="168"/>
                  </a:lnTo>
                  <a:lnTo>
                    <a:pt x="1422" y="168"/>
                  </a:lnTo>
                  <a:lnTo>
                    <a:pt x="1416" y="174"/>
                  </a:lnTo>
                  <a:lnTo>
                    <a:pt x="1410" y="186"/>
                  </a:lnTo>
                  <a:lnTo>
                    <a:pt x="1410" y="204"/>
                  </a:lnTo>
                  <a:lnTo>
                    <a:pt x="1404" y="210"/>
                  </a:lnTo>
                  <a:lnTo>
                    <a:pt x="1404" y="216"/>
                  </a:lnTo>
                  <a:lnTo>
                    <a:pt x="1410" y="228"/>
                  </a:lnTo>
                  <a:lnTo>
                    <a:pt x="1410" y="234"/>
                  </a:lnTo>
                  <a:lnTo>
                    <a:pt x="1410" y="240"/>
                  </a:lnTo>
                  <a:lnTo>
                    <a:pt x="1416" y="252"/>
                  </a:lnTo>
                  <a:lnTo>
                    <a:pt x="1416" y="258"/>
                  </a:lnTo>
                  <a:lnTo>
                    <a:pt x="1422" y="264"/>
                  </a:lnTo>
                  <a:lnTo>
                    <a:pt x="1422" y="270"/>
                  </a:lnTo>
                  <a:lnTo>
                    <a:pt x="1422" y="282"/>
                  </a:lnTo>
                  <a:lnTo>
                    <a:pt x="1416" y="288"/>
                  </a:lnTo>
                  <a:lnTo>
                    <a:pt x="1410" y="294"/>
                  </a:lnTo>
                  <a:lnTo>
                    <a:pt x="1404" y="300"/>
                  </a:lnTo>
                  <a:lnTo>
                    <a:pt x="1404" y="306"/>
                  </a:lnTo>
                  <a:lnTo>
                    <a:pt x="1398" y="324"/>
                  </a:lnTo>
                  <a:lnTo>
                    <a:pt x="1404" y="330"/>
                  </a:lnTo>
                  <a:lnTo>
                    <a:pt x="1404" y="342"/>
                  </a:lnTo>
                  <a:lnTo>
                    <a:pt x="1392" y="354"/>
                  </a:lnTo>
                  <a:lnTo>
                    <a:pt x="1392" y="360"/>
                  </a:lnTo>
                  <a:lnTo>
                    <a:pt x="1392" y="372"/>
                  </a:lnTo>
                  <a:lnTo>
                    <a:pt x="1392" y="384"/>
                  </a:lnTo>
                  <a:lnTo>
                    <a:pt x="1392" y="396"/>
                  </a:lnTo>
                  <a:lnTo>
                    <a:pt x="1392" y="408"/>
                  </a:lnTo>
                  <a:lnTo>
                    <a:pt x="1386" y="414"/>
                  </a:lnTo>
                  <a:lnTo>
                    <a:pt x="1380" y="420"/>
                  </a:lnTo>
                  <a:lnTo>
                    <a:pt x="1380" y="426"/>
                  </a:lnTo>
                  <a:lnTo>
                    <a:pt x="1368" y="432"/>
                  </a:lnTo>
                  <a:lnTo>
                    <a:pt x="1362" y="444"/>
                  </a:lnTo>
                  <a:lnTo>
                    <a:pt x="1362" y="450"/>
                  </a:lnTo>
                  <a:lnTo>
                    <a:pt x="1362" y="462"/>
                  </a:lnTo>
                  <a:lnTo>
                    <a:pt x="1362" y="468"/>
                  </a:lnTo>
                  <a:lnTo>
                    <a:pt x="1362" y="474"/>
                  </a:lnTo>
                  <a:lnTo>
                    <a:pt x="1356" y="474"/>
                  </a:lnTo>
                  <a:lnTo>
                    <a:pt x="1350" y="480"/>
                  </a:lnTo>
                  <a:lnTo>
                    <a:pt x="1344" y="486"/>
                  </a:lnTo>
                  <a:lnTo>
                    <a:pt x="1338" y="498"/>
                  </a:lnTo>
                  <a:lnTo>
                    <a:pt x="1332" y="510"/>
                  </a:lnTo>
                  <a:lnTo>
                    <a:pt x="1320" y="510"/>
                  </a:lnTo>
                  <a:lnTo>
                    <a:pt x="1314" y="516"/>
                  </a:lnTo>
                  <a:lnTo>
                    <a:pt x="1302" y="522"/>
                  </a:lnTo>
                  <a:lnTo>
                    <a:pt x="1296" y="522"/>
                  </a:lnTo>
                  <a:lnTo>
                    <a:pt x="1284" y="516"/>
                  </a:lnTo>
                  <a:lnTo>
                    <a:pt x="1278" y="516"/>
                  </a:lnTo>
                  <a:lnTo>
                    <a:pt x="1272" y="522"/>
                  </a:lnTo>
                  <a:lnTo>
                    <a:pt x="1266" y="522"/>
                  </a:lnTo>
                  <a:lnTo>
                    <a:pt x="1266" y="528"/>
                  </a:lnTo>
                  <a:lnTo>
                    <a:pt x="1254" y="540"/>
                  </a:lnTo>
                  <a:lnTo>
                    <a:pt x="1248" y="546"/>
                  </a:lnTo>
                  <a:lnTo>
                    <a:pt x="1242" y="558"/>
                  </a:lnTo>
                  <a:lnTo>
                    <a:pt x="1230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30" y="594"/>
                  </a:lnTo>
                  <a:lnTo>
                    <a:pt x="1230" y="600"/>
                  </a:lnTo>
                  <a:lnTo>
                    <a:pt x="1236" y="606"/>
                  </a:lnTo>
                  <a:lnTo>
                    <a:pt x="1242" y="606"/>
                  </a:lnTo>
                  <a:lnTo>
                    <a:pt x="1242" y="612"/>
                  </a:lnTo>
                  <a:lnTo>
                    <a:pt x="1242" y="618"/>
                  </a:lnTo>
                  <a:lnTo>
                    <a:pt x="1242" y="624"/>
                  </a:lnTo>
                  <a:lnTo>
                    <a:pt x="1236" y="630"/>
                  </a:lnTo>
                  <a:lnTo>
                    <a:pt x="1230" y="642"/>
                  </a:lnTo>
                  <a:lnTo>
                    <a:pt x="1230" y="648"/>
                  </a:lnTo>
                  <a:lnTo>
                    <a:pt x="1218" y="654"/>
                  </a:lnTo>
                  <a:lnTo>
                    <a:pt x="1212" y="654"/>
                  </a:lnTo>
                  <a:lnTo>
                    <a:pt x="1212" y="660"/>
                  </a:lnTo>
                  <a:lnTo>
                    <a:pt x="1212" y="666"/>
                  </a:lnTo>
                  <a:lnTo>
                    <a:pt x="1212" y="672"/>
                  </a:lnTo>
                  <a:lnTo>
                    <a:pt x="1212" y="678"/>
                  </a:lnTo>
                  <a:lnTo>
                    <a:pt x="1218" y="684"/>
                  </a:lnTo>
                  <a:lnTo>
                    <a:pt x="1218" y="690"/>
                  </a:lnTo>
                  <a:lnTo>
                    <a:pt x="1224" y="696"/>
                  </a:lnTo>
                  <a:lnTo>
                    <a:pt x="1230" y="702"/>
                  </a:lnTo>
                  <a:lnTo>
                    <a:pt x="1236" y="696"/>
                  </a:lnTo>
                  <a:lnTo>
                    <a:pt x="1242" y="702"/>
                  </a:lnTo>
                  <a:lnTo>
                    <a:pt x="1248" y="708"/>
                  </a:lnTo>
                  <a:lnTo>
                    <a:pt x="1254" y="714"/>
                  </a:lnTo>
                  <a:lnTo>
                    <a:pt x="1254" y="720"/>
                  </a:lnTo>
                  <a:lnTo>
                    <a:pt x="1260" y="720"/>
                  </a:lnTo>
                  <a:lnTo>
                    <a:pt x="1254" y="732"/>
                  </a:lnTo>
                  <a:lnTo>
                    <a:pt x="1248" y="738"/>
                  </a:lnTo>
                  <a:lnTo>
                    <a:pt x="1242" y="744"/>
                  </a:lnTo>
                  <a:lnTo>
                    <a:pt x="1236" y="750"/>
                  </a:lnTo>
                  <a:lnTo>
                    <a:pt x="1236" y="756"/>
                  </a:lnTo>
                  <a:lnTo>
                    <a:pt x="1236" y="762"/>
                  </a:lnTo>
                  <a:lnTo>
                    <a:pt x="1236" y="768"/>
                  </a:lnTo>
                  <a:lnTo>
                    <a:pt x="1236" y="780"/>
                  </a:lnTo>
                  <a:lnTo>
                    <a:pt x="1230" y="780"/>
                  </a:lnTo>
                  <a:lnTo>
                    <a:pt x="1230" y="786"/>
                  </a:lnTo>
                  <a:lnTo>
                    <a:pt x="1230" y="792"/>
                  </a:lnTo>
                  <a:lnTo>
                    <a:pt x="1230" y="804"/>
                  </a:lnTo>
                  <a:lnTo>
                    <a:pt x="1224" y="810"/>
                  </a:lnTo>
                  <a:lnTo>
                    <a:pt x="1218" y="816"/>
                  </a:lnTo>
                  <a:lnTo>
                    <a:pt x="1224" y="822"/>
                  </a:lnTo>
                  <a:lnTo>
                    <a:pt x="1224" y="828"/>
                  </a:lnTo>
                  <a:lnTo>
                    <a:pt x="1218" y="834"/>
                  </a:lnTo>
                  <a:lnTo>
                    <a:pt x="1224" y="834"/>
                  </a:lnTo>
                  <a:lnTo>
                    <a:pt x="1224" y="840"/>
                  </a:lnTo>
                  <a:lnTo>
                    <a:pt x="1224" y="846"/>
                  </a:lnTo>
                  <a:lnTo>
                    <a:pt x="1224" y="852"/>
                  </a:lnTo>
                  <a:lnTo>
                    <a:pt x="1218" y="858"/>
                  </a:lnTo>
                  <a:lnTo>
                    <a:pt x="1218" y="870"/>
                  </a:lnTo>
                  <a:lnTo>
                    <a:pt x="1212" y="870"/>
                  </a:lnTo>
                  <a:lnTo>
                    <a:pt x="1212" y="876"/>
                  </a:lnTo>
                  <a:lnTo>
                    <a:pt x="1206" y="888"/>
                  </a:lnTo>
                  <a:lnTo>
                    <a:pt x="1200" y="882"/>
                  </a:lnTo>
                  <a:lnTo>
                    <a:pt x="1194" y="888"/>
                  </a:lnTo>
                  <a:lnTo>
                    <a:pt x="1188" y="894"/>
                  </a:lnTo>
                  <a:lnTo>
                    <a:pt x="1182" y="894"/>
                  </a:lnTo>
                  <a:lnTo>
                    <a:pt x="1182" y="900"/>
                  </a:lnTo>
                  <a:lnTo>
                    <a:pt x="1176" y="900"/>
                  </a:lnTo>
                  <a:lnTo>
                    <a:pt x="1170" y="894"/>
                  </a:lnTo>
                  <a:lnTo>
                    <a:pt x="1164" y="900"/>
                  </a:lnTo>
                  <a:lnTo>
                    <a:pt x="1158" y="900"/>
                  </a:lnTo>
                  <a:lnTo>
                    <a:pt x="1152" y="900"/>
                  </a:lnTo>
                  <a:lnTo>
                    <a:pt x="1140" y="900"/>
                  </a:lnTo>
                  <a:lnTo>
                    <a:pt x="1134" y="900"/>
                  </a:lnTo>
                  <a:lnTo>
                    <a:pt x="1128" y="906"/>
                  </a:lnTo>
                  <a:lnTo>
                    <a:pt x="1110" y="906"/>
                  </a:lnTo>
                  <a:lnTo>
                    <a:pt x="1104" y="906"/>
                  </a:lnTo>
                  <a:lnTo>
                    <a:pt x="1098" y="906"/>
                  </a:lnTo>
                  <a:lnTo>
                    <a:pt x="1092" y="912"/>
                  </a:lnTo>
                  <a:lnTo>
                    <a:pt x="1080" y="918"/>
                  </a:lnTo>
                  <a:lnTo>
                    <a:pt x="1068" y="930"/>
                  </a:lnTo>
                  <a:lnTo>
                    <a:pt x="1062" y="930"/>
                  </a:lnTo>
                  <a:lnTo>
                    <a:pt x="1056" y="930"/>
                  </a:lnTo>
                  <a:lnTo>
                    <a:pt x="1050" y="930"/>
                  </a:lnTo>
                  <a:lnTo>
                    <a:pt x="1050" y="936"/>
                  </a:lnTo>
                  <a:lnTo>
                    <a:pt x="1038" y="942"/>
                  </a:lnTo>
                  <a:lnTo>
                    <a:pt x="1032" y="948"/>
                  </a:lnTo>
                  <a:lnTo>
                    <a:pt x="1026" y="954"/>
                  </a:lnTo>
                  <a:lnTo>
                    <a:pt x="1020" y="960"/>
                  </a:lnTo>
                  <a:lnTo>
                    <a:pt x="1014" y="966"/>
                  </a:lnTo>
                  <a:lnTo>
                    <a:pt x="1002" y="966"/>
                  </a:lnTo>
                  <a:lnTo>
                    <a:pt x="990" y="978"/>
                  </a:lnTo>
                  <a:lnTo>
                    <a:pt x="984" y="978"/>
                  </a:lnTo>
                  <a:lnTo>
                    <a:pt x="978" y="984"/>
                  </a:lnTo>
                  <a:lnTo>
                    <a:pt x="972" y="984"/>
                  </a:lnTo>
                  <a:lnTo>
                    <a:pt x="978" y="990"/>
                  </a:lnTo>
                  <a:lnTo>
                    <a:pt x="972" y="996"/>
                  </a:lnTo>
                  <a:lnTo>
                    <a:pt x="978" y="1002"/>
                  </a:lnTo>
                  <a:lnTo>
                    <a:pt x="1002" y="1002"/>
                  </a:lnTo>
                  <a:lnTo>
                    <a:pt x="1002" y="1008"/>
                  </a:lnTo>
                  <a:lnTo>
                    <a:pt x="1008" y="1020"/>
                  </a:lnTo>
                  <a:lnTo>
                    <a:pt x="1002" y="1026"/>
                  </a:lnTo>
                  <a:lnTo>
                    <a:pt x="1002" y="1032"/>
                  </a:lnTo>
                  <a:lnTo>
                    <a:pt x="1002" y="1050"/>
                  </a:lnTo>
                  <a:lnTo>
                    <a:pt x="1002" y="1056"/>
                  </a:lnTo>
                  <a:lnTo>
                    <a:pt x="1008" y="1062"/>
                  </a:lnTo>
                  <a:lnTo>
                    <a:pt x="1008" y="1074"/>
                  </a:lnTo>
                  <a:lnTo>
                    <a:pt x="1008" y="1086"/>
                  </a:lnTo>
                  <a:lnTo>
                    <a:pt x="996" y="1092"/>
                  </a:lnTo>
                  <a:lnTo>
                    <a:pt x="996" y="1098"/>
                  </a:lnTo>
                  <a:lnTo>
                    <a:pt x="996" y="1104"/>
                  </a:lnTo>
                  <a:lnTo>
                    <a:pt x="990" y="1110"/>
                  </a:lnTo>
                  <a:lnTo>
                    <a:pt x="990" y="1116"/>
                  </a:lnTo>
                  <a:lnTo>
                    <a:pt x="996" y="1122"/>
                  </a:lnTo>
                  <a:lnTo>
                    <a:pt x="990" y="1128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96" y="1140"/>
                  </a:lnTo>
                  <a:lnTo>
                    <a:pt x="996" y="1146"/>
                  </a:lnTo>
                  <a:lnTo>
                    <a:pt x="996" y="1152"/>
                  </a:lnTo>
                  <a:lnTo>
                    <a:pt x="996" y="1158"/>
                  </a:lnTo>
                  <a:lnTo>
                    <a:pt x="996" y="1164"/>
                  </a:lnTo>
                  <a:lnTo>
                    <a:pt x="996" y="1170"/>
                  </a:lnTo>
                  <a:lnTo>
                    <a:pt x="996" y="1176"/>
                  </a:lnTo>
                  <a:lnTo>
                    <a:pt x="990" y="1182"/>
                  </a:lnTo>
                  <a:lnTo>
                    <a:pt x="990" y="1188"/>
                  </a:lnTo>
                  <a:lnTo>
                    <a:pt x="984" y="1200"/>
                  </a:lnTo>
                  <a:lnTo>
                    <a:pt x="990" y="1206"/>
                  </a:lnTo>
                  <a:lnTo>
                    <a:pt x="990" y="1212"/>
                  </a:lnTo>
                  <a:lnTo>
                    <a:pt x="990" y="1218"/>
                  </a:lnTo>
                  <a:lnTo>
                    <a:pt x="978" y="1230"/>
                  </a:lnTo>
                  <a:lnTo>
                    <a:pt x="972" y="1236"/>
                  </a:lnTo>
                  <a:lnTo>
                    <a:pt x="972" y="1242"/>
                  </a:lnTo>
                  <a:lnTo>
                    <a:pt x="966" y="1248"/>
                  </a:lnTo>
                  <a:lnTo>
                    <a:pt x="960" y="1260"/>
                  </a:lnTo>
                  <a:lnTo>
                    <a:pt x="954" y="1266"/>
                  </a:lnTo>
                  <a:lnTo>
                    <a:pt x="942" y="1278"/>
                  </a:lnTo>
                  <a:lnTo>
                    <a:pt x="936" y="1278"/>
                  </a:lnTo>
                  <a:lnTo>
                    <a:pt x="936" y="1284"/>
                  </a:lnTo>
                  <a:lnTo>
                    <a:pt x="936" y="1296"/>
                  </a:lnTo>
                  <a:lnTo>
                    <a:pt x="936" y="1302"/>
                  </a:lnTo>
                  <a:lnTo>
                    <a:pt x="942" y="1302"/>
                  </a:lnTo>
                  <a:lnTo>
                    <a:pt x="942" y="1308"/>
                  </a:lnTo>
                  <a:lnTo>
                    <a:pt x="936" y="1314"/>
                  </a:lnTo>
                  <a:lnTo>
                    <a:pt x="930" y="1320"/>
                  </a:lnTo>
                  <a:lnTo>
                    <a:pt x="930" y="1326"/>
                  </a:lnTo>
                  <a:lnTo>
                    <a:pt x="930" y="1332"/>
                  </a:lnTo>
                  <a:lnTo>
                    <a:pt x="936" y="1338"/>
                  </a:lnTo>
                  <a:lnTo>
                    <a:pt x="936" y="1344"/>
                  </a:lnTo>
                  <a:lnTo>
                    <a:pt x="942" y="1356"/>
                  </a:lnTo>
                  <a:lnTo>
                    <a:pt x="948" y="1368"/>
                  </a:lnTo>
                  <a:lnTo>
                    <a:pt x="942" y="1380"/>
                  </a:lnTo>
                  <a:lnTo>
                    <a:pt x="936" y="1386"/>
                  </a:lnTo>
                  <a:lnTo>
                    <a:pt x="930" y="1392"/>
                  </a:lnTo>
                  <a:lnTo>
                    <a:pt x="924" y="1392"/>
                  </a:lnTo>
                  <a:lnTo>
                    <a:pt x="918" y="1386"/>
                  </a:lnTo>
                  <a:lnTo>
                    <a:pt x="912" y="1386"/>
                  </a:lnTo>
                  <a:lnTo>
                    <a:pt x="906" y="1386"/>
                  </a:lnTo>
                  <a:lnTo>
                    <a:pt x="900" y="1386"/>
                  </a:lnTo>
                  <a:lnTo>
                    <a:pt x="900" y="1392"/>
                  </a:lnTo>
                  <a:lnTo>
                    <a:pt x="894" y="1392"/>
                  </a:lnTo>
                  <a:lnTo>
                    <a:pt x="888" y="1392"/>
                  </a:lnTo>
                  <a:lnTo>
                    <a:pt x="888" y="1398"/>
                  </a:lnTo>
                  <a:lnTo>
                    <a:pt x="882" y="1404"/>
                  </a:lnTo>
                  <a:lnTo>
                    <a:pt x="882" y="1416"/>
                  </a:lnTo>
                  <a:lnTo>
                    <a:pt x="882" y="1428"/>
                  </a:lnTo>
                  <a:lnTo>
                    <a:pt x="882" y="1434"/>
                  </a:lnTo>
                  <a:lnTo>
                    <a:pt x="870" y="1440"/>
                  </a:lnTo>
                  <a:lnTo>
                    <a:pt x="864" y="1452"/>
                  </a:lnTo>
                  <a:lnTo>
                    <a:pt x="870" y="1452"/>
                  </a:lnTo>
                  <a:lnTo>
                    <a:pt x="864" y="1458"/>
                  </a:lnTo>
                  <a:lnTo>
                    <a:pt x="858" y="1464"/>
                  </a:lnTo>
                  <a:lnTo>
                    <a:pt x="852" y="1464"/>
                  </a:lnTo>
                  <a:lnTo>
                    <a:pt x="846" y="1458"/>
                  </a:lnTo>
                  <a:lnTo>
                    <a:pt x="840" y="1458"/>
                  </a:lnTo>
                  <a:lnTo>
                    <a:pt x="828" y="1470"/>
                  </a:lnTo>
                  <a:lnTo>
                    <a:pt x="810" y="1482"/>
                  </a:lnTo>
                  <a:lnTo>
                    <a:pt x="804" y="1488"/>
                  </a:lnTo>
                  <a:lnTo>
                    <a:pt x="798" y="1488"/>
                  </a:lnTo>
                  <a:lnTo>
                    <a:pt x="792" y="1488"/>
                  </a:lnTo>
                  <a:lnTo>
                    <a:pt x="786" y="1488"/>
                  </a:lnTo>
                  <a:lnTo>
                    <a:pt x="768" y="1482"/>
                  </a:lnTo>
                  <a:lnTo>
                    <a:pt x="762" y="1476"/>
                  </a:lnTo>
                  <a:lnTo>
                    <a:pt x="744" y="1476"/>
                  </a:lnTo>
                  <a:lnTo>
                    <a:pt x="738" y="1476"/>
                  </a:lnTo>
                  <a:lnTo>
                    <a:pt x="732" y="1476"/>
                  </a:lnTo>
                  <a:lnTo>
                    <a:pt x="726" y="1482"/>
                  </a:lnTo>
                  <a:lnTo>
                    <a:pt x="726" y="1488"/>
                  </a:lnTo>
                  <a:lnTo>
                    <a:pt x="726" y="1494"/>
                  </a:lnTo>
                  <a:lnTo>
                    <a:pt x="726" y="1500"/>
                  </a:lnTo>
                  <a:lnTo>
                    <a:pt x="720" y="1500"/>
                  </a:lnTo>
                  <a:lnTo>
                    <a:pt x="720" y="1506"/>
                  </a:lnTo>
                  <a:lnTo>
                    <a:pt x="714" y="1512"/>
                  </a:lnTo>
                  <a:lnTo>
                    <a:pt x="714" y="1518"/>
                  </a:lnTo>
                  <a:lnTo>
                    <a:pt x="708" y="1518"/>
                  </a:lnTo>
                  <a:lnTo>
                    <a:pt x="708" y="1530"/>
                  </a:lnTo>
                  <a:lnTo>
                    <a:pt x="708" y="1536"/>
                  </a:lnTo>
                  <a:lnTo>
                    <a:pt x="708" y="1542"/>
                  </a:lnTo>
                  <a:lnTo>
                    <a:pt x="696" y="1554"/>
                  </a:lnTo>
                  <a:lnTo>
                    <a:pt x="690" y="1560"/>
                  </a:lnTo>
                  <a:lnTo>
                    <a:pt x="684" y="1566"/>
                  </a:lnTo>
                  <a:lnTo>
                    <a:pt x="672" y="1566"/>
                  </a:lnTo>
                  <a:lnTo>
                    <a:pt x="666" y="1566"/>
                  </a:lnTo>
                  <a:lnTo>
                    <a:pt x="660" y="1566"/>
                  </a:lnTo>
                  <a:lnTo>
                    <a:pt x="654" y="1572"/>
                  </a:lnTo>
                  <a:lnTo>
                    <a:pt x="654" y="1578"/>
                  </a:lnTo>
                  <a:lnTo>
                    <a:pt x="642" y="1578"/>
                  </a:lnTo>
                  <a:lnTo>
                    <a:pt x="630" y="1572"/>
                  </a:lnTo>
                  <a:lnTo>
                    <a:pt x="624" y="1572"/>
                  </a:lnTo>
                  <a:lnTo>
                    <a:pt x="618" y="1578"/>
                  </a:lnTo>
                  <a:lnTo>
                    <a:pt x="612" y="1584"/>
                  </a:lnTo>
                  <a:lnTo>
                    <a:pt x="606" y="1584"/>
                  </a:lnTo>
                  <a:lnTo>
                    <a:pt x="600" y="1590"/>
                  </a:lnTo>
                  <a:lnTo>
                    <a:pt x="594" y="1590"/>
                  </a:lnTo>
                  <a:lnTo>
                    <a:pt x="588" y="1590"/>
                  </a:lnTo>
                  <a:lnTo>
                    <a:pt x="582" y="1590"/>
                  </a:lnTo>
                  <a:lnTo>
                    <a:pt x="582" y="1596"/>
                  </a:lnTo>
                  <a:lnTo>
                    <a:pt x="576" y="1614"/>
                  </a:lnTo>
                  <a:lnTo>
                    <a:pt x="570" y="1632"/>
                  </a:lnTo>
                  <a:lnTo>
                    <a:pt x="570" y="1638"/>
                  </a:lnTo>
                  <a:lnTo>
                    <a:pt x="576" y="1644"/>
                  </a:lnTo>
                  <a:lnTo>
                    <a:pt x="576" y="1650"/>
                  </a:lnTo>
                  <a:lnTo>
                    <a:pt x="582" y="1662"/>
                  </a:lnTo>
                  <a:lnTo>
                    <a:pt x="582" y="1668"/>
                  </a:lnTo>
                  <a:lnTo>
                    <a:pt x="588" y="1692"/>
                  </a:lnTo>
                  <a:lnTo>
                    <a:pt x="594" y="1728"/>
                  </a:lnTo>
                  <a:lnTo>
                    <a:pt x="594" y="1752"/>
                  </a:lnTo>
                  <a:lnTo>
                    <a:pt x="594" y="1764"/>
                  </a:lnTo>
                  <a:lnTo>
                    <a:pt x="582" y="1770"/>
                  </a:lnTo>
                  <a:lnTo>
                    <a:pt x="582" y="1782"/>
                  </a:lnTo>
                  <a:lnTo>
                    <a:pt x="576" y="1788"/>
                  </a:lnTo>
                  <a:lnTo>
                    <a:pt x="570" y="1794"/>
                  </a:lnTo>
                  <a:lnTo>
                    <a:pt x="564" y="1806"/>
                  </a:lnTo>
                  <a:lnTo>
                    <a:pt x="564" y="1812"/>
                  </a:lnTo>
                  <a:lnTo>
                    <a:pt x="558" y="1812"/>
                  </a:lnTo>
                  <a:lnTo>
                    <a:pt x="564" y="1824"/>
                  </a:lnTo>
                  <a:lnTo>
                    <a:pt x="564" y="1830"/>
                  </a:lnTo>
                  <a:lnTo>
                    <a:pt x="564" y="1842"/>
                  </a:lnTo>
                  <a:lnTo>
                    <a:pt x="564" y="1848"/>
                  </a:lnTo>
                  <a:lnTo>
                    <a:pt x="564" y="1854"/>
                  </a:lnTo>
                  <a:lnTo>
                    <a:pt x="570" y="1860"/>
                  </a:lnTo>
                  <a:lnTo>
                    <a:pt x="570" y="1866"/>
                  </a:lnTo>
                  <a:lnTo>
                    <a:pt x="570" y="1872"/>
                  </a:lnTo>
                  <a:lnTo>
                    <a:pt x="570" y="1878"/>
                  </a:lnTo>
                  <a:lnTo>
                    <a:pt x="564" y="1890"/>
                  </a:lnTo>
                  <a:lnTo>
                    <a:pt x="558" y="1896"/>
                  </a:lnTo>
                  <a:lnTo>
                    <a:pt x="552" y="1908"/>
                  </a:lnTo>
                  <a:lnTo>
                    <a:pt x="546" y="1914"/>
                  </a:lnTo>
                  <a:lnTo>
                    <a:pt x="540" y="1920"/>
                  </a:lnTo>
                  <a:lnTo>
                    <a:pt x="534" y="1932"/>
                  </a:lnTo>
                  <a:lnTo>
                    <a:pt x="528" y="1944"/>
                  </a:lnTo>
                  <a:lnTo>
                    <a:pt x="516" y="1950"/>
                  </a:lnTo>
                  <a:lnTo>
                    <a:pt x="510" y="1956"/>
                  </a:lnTo>
                  <a:lnTo>
                    <a:pt x="498" y="1962"/>
                  </a:lnTo>
                  <a:lnTo>
                    <a:pt x="492" y="1974"/>
                  </a:lnTo>
                  <a:lnTo>
                    <a:pt x="486" y="1980"/>
                  </a:lnTo>
                  <a:lnTo>
                    <a:pt x="480" y="1998"/>
                  </a:lnTo>
                  <a:lnTo>
                    <a:pt x="474" y="2004"/>
                  </a:lnTo>
                  <a:lnTo>
                    <a:pt x="474" y="2010"/>
                  </a:lnTo>
                  <a:lnTo>
                    <a:pt x="474" y="2016"/>
                  </a:lnTo>
                  <a:lnTo>
                    <a:pt x="468" y="2016"/>
                  </a:lnTo>
                  <a:lnTo>
                    <a:pt x="468" y="2028"/>
                  </a:lnTo>
                  <a:lnTo>
                    <a:pt x="462" y="2034"/>
                  </a:lnTo>
                  <a:lnTo>
                    <a:pt x="456" y="2040"/>
                  </a:lnTo>
                  <a:lnTo>
                    <a:pt x="456" y="2052"/>
                  </a:lnTo>
                  <a:lnTo>
                    <a:pt x="450" y="2058"/>
                  </a:lnTo>
                  <a:lnTo>
                    <a:pt x="450" y="2070"/>
                  </a:lnTo>
                  <a:lnTo>
                    <a:pt x="450" y="2076"/>
                  </a:lnTo>
                  <a:lnTo>
                    <a:pt x="450" y="2082"/>
                  </a:lnTo>
                  <a:lnTo>
                    <a:pt x="444" y="2088"/>
                  </a:lnTo>
                  <a:lnTo>
                    <a:pt x="438" y="2094"/>
                  </a:lnTo>
                  <a:lnTo>
                    <a:pt x="444" y="2100"/>
                  </a:lnTo>
                  <a:lnTo>
                    <a:pt x="444" y="2124"/>
                  </a:lnTo>
                  <a:lnTo>
                    <a:pt x="444" y="2142"/>
                  </a:lnTo>
                  <a:lnTo>
                    <a:pt x="444" y="2160"/>
                  </a:lnTo>
                  <a:lnTo>
                    <a:pt x="450" y="2166"/>
                  </a:lnTo>
                  <a:lnTo>
                    <a:pt x="456" y="2178"/>
                  </a:lnTo>
                  <a:lnTo>
                    <a:pt x="438" y="2184"/>
                  </a:lnTo>
                  <a:lnTo>
                    <a:pt x="432" y="2184"/>
                  </a:lnTo>
                  <a:lnTo>
                    <a:pt x="426" y="2190"/>
                  </a:lnTo>
                  <a:lnTo>
                    <a:pt x="408" y="2190"/>
                  </a:lnTo>
                  <a:lnTo>
                    <a:pt x="402" y="2196"/>
                  </a:lnTo>
                  <a:lnTo>
                    <a:pt x="396" y="2196"/>
                  </a:lnTo>
                  <a:lnTo>
                    <a:pt x="384" y="2208"/>
                  </a:lnTo>
                  <a:lnTo>
                    <a:pt x="378" y="2220"/>
                  </a:lnTo>
                  <a:lnTo>
                    <a:pt x="366" y="2232"/>
                  </a:lnTo>
                  <a:lnTo>
                    <a:pt x="366" y="2238"/>
                  </a:lnTo>
                  <a:lnTo>
                    <a:pt x="360" y="2238"/>
                  </a:lnTo>
                  <a:lnTo>
                    <a:pt x="360" y="2244"/>
                  </a:lnTo>
                  <a:lnTo>
                    <a:pt x="354" y="2244"/>
                  </a:lnTo>
                  <a:lnTo>
                    <a:pt x="330" y="227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5" name="Freeform 10">
              <a:extLst>
                <a:ext uri="{FF2B5EF4-FFF2-40B4-BE49-F238E27FC236}">
                  <a16:creationId xmlns:a16="http://schemas.microsoft.com/office/drawing/2014/main" id="{3AD2FC58-3490-4B7F-A8BE-621F3CDD69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1996" y="1931890"/>
              <a:ext cx="805029" cy="1037736"/>
            </a:xfrm>
            <a:custGeom>
              <a:avLst/>
              <a:gdLst>
                <a:gd name="T0" fmla="*/ 124 w 1512"/>
                <a:gd name="T1" fmla="*/ 76 h 1956"/>
                <a:gd name="T2" fmla="*/ 120 w 1512"/>
                <a:gd name="T3" fmla="*/ 80 h 1956"/>
                <a:gd name="T4" fmla="*/ 106 w 1512"/>
                <a:gd name="T5" fmla="*/ 84 h 1956"/>
                <a:gd name="T6" fmla="*/ 105 w 1512"/>
                <a:gd name="T7" fmla="*/ 91 h 1956"/>
                <a:gd name="T8" fmla="*/ 101 w 1512"/>
                <a:gd name="T9" fmla="*/ 99 h 1956"/>
                <a:gd name="T10" fmla="*/ 105 w 1512"/>
                <a:gd name="T11" fmla="*/ 107 h 1956"/>
                <a:gd name="T12" fmla="*/ 119 w 1512"/>
                <a:gd name="T13" fmla="*/ 116 h 1956"/>
                <a:gd name="T14" fmla="*/ 121 w 1512"/>
                <a:gd name="T15" fmla="*/ 128 h 1956"/>
                <a:gd name="T16" fmla="*/ 112 w 1512"/>
                <a:gd name="T17" fmla="*/ 136 h 1956"/>
                <a:gd name="T18" fmla="*/ 119 w 1512"/>
                <a:gd name="T19" fmla="*/ 143 h 1956"/>
                <a:gd name="T20" fmla="*/ 126 w 1512"/>
                <a:gd name="T21" fmla="*/ 148 h 1956"/>
                <a:gd name="T22" fmla="*/ 126 w 1512"/>
                <a:gd name="T23" fmla="*/ 160 h 1956"/>
                <a:gd name="T24" fmla="*/ 104 w 1512"/>
                <a:gd name="T25" fmla="*/ 170 h 1956"/>
                <a:gd name="T26" fmla="*/ 99 w 1512"/>
                <a:gd name="T27" fmla="*/ 164 h 1956"/>
                <a:gd name="T28" fmla="*/ 73 w 1512"/>
                <a:gd name="T29" fmla="*/ 152 h 1956"/>
                <a:gd name="T30" fmla="*/ 56 w 1512"/>
                <a:gd name="T31" fmla="*/ 165 h 1956"/>
                <a:gd name="T32" fmla="*/ 33 w 1512"/>
                <a:gd name="T33" fmla="*/ 162 h 1956"/>
                <a:gd name="T34" fmla="*/ 25 w 1512"/>
                <a:gd name="T35" fmla="*/ 155 h 1956"/>
                <a:gd name="T36" fmla="*/ 31 w 1512"/>
                <a:gd name="T37" fmla="*/ 142 h 1956"/>
                <a:gd name="T38" fmla="*/ 24 w 1512"/>
                <a:gd name="T39" fmla="*/ 137 h 1956"/>
                <a:gd name="T40" fmla="*/ 14 w 1512"/>
                <a:gd name="T41" fmla="*/ 136 h 1956"/>
                <a:gd name="T42" fmla="*/ 11 w 1512"/>
                <a:gd name="T43" fmla="*/ 125 h 1956"/>
                <a:gd name="T44" fmla="*/ 3 w 1512"/>
                <a:gd name="T45" fmla="*/ 116 h 1956"/>
                <a:gd name="T46" fmla="*/ 2 w 1512"/>
                <a:gd name="T47" fmla="*/ 106 h 1956"/>
                <a:gd name="T48" fmla="*/ 5 w 1512"/>
                <a:gd name="T49" fmla="*/ 101 h 1956"/>
                <a:gd name="T50" fmla="*/ 2 w 1512"/>
                <a:gd name="T51" fmla="*/ 95 h 1956"/>
                <a:gd name="T52" fmla="*/ 1 w 1512"/>
                <a:gd name="T53" fmla="*/ 88 h 1956"/>
                <a:gd name="T54" fmla="*/ 4 w 1512"/>
                <a:gd name="T55" fmla="*/ 80 h 1956"/>
                <a:gd name="T56" fmla="*/ 12 w 1512"/>
                <a:gd name="T57" fmla="*/ 73 h 1956"/>
                <a:gd name="T58" fmla="*/ 16 w 1512"/>
                <a:gd name="T59" fmla="*/ 68 h 1956"/>
                <a:gd name="T60" fmla="*/ 22 w 1512"/>
                <a:gd name="T61" fmla="*/ 66 h 1956"/>
                <a:gd name="T62" fmla="*/ 32 w 1512"/>
                <a:gd name="T63" fmla="*/ 65 h 1956"/>
                <a:gd name="T64" fmla="*/ 45 w 1512"/>
                <a:gd name="T65" fmla="*/ 66 h 1956"/>
                <a:gd name="T66" fmla="*/ 50 w 1512"/>
                <a:gd name="T67" fmla="*/ 70 h 1956"/>
                <a:gd name="T68" fmla="*/ 55 w 1512"/>
                <a:gd name="T69" fmla="*/ 70 h 1956"/>
                <a:gd name="T70" fmla="*/ 63 w 1512"/>
                <a:gd name="T71" fmla="*/ 71 h 1956"/>
                <a:gd name="T72" fmla="*/ 61 w 1512"/>
                <a:gd name="T73" fmla="*/ 75 h 1956"/>
                <a:gd name="T74" fmla="*/ 66 w 1512"/>
                <a:gd name="T75" fmla="*/ 84 h 1956"/>
                <a:gd name="T76" fmla="*/ 81 w 1512"/>
                <a:gd name="T77" fmla="*/ 85 h 1956"/>
                <a:gd name="T78" fmla="*/ 83 w 1512"/>
                <a:gd name="T79" fmla="*/ 79 h 1956"/>
                <a:gd name="T80" fmla="*/ 89 w 1512"/>
                <a:gd name="T81" fmla="*/ 77 h 1956"/>
                <a:gd name="T82" fmla="*/ 89 w 1512"/>
                <a:gd name="T83" fmla="*/ 73 h 1956"/>
                <a:gd name="T84" fmla="*/ 83 w 1512"/>
                <a:gd name="T85" fmla="*/ 72 h 1956"/>
                <a:gd name="T86" fmla="*/ 77 w 1512"/>
                <a:gd name="T87" fmla="*/ 70 h 1956"/>
                <a:gd name="T88" fmla="*/ 71 w 1512"/>
                <a:gd name="T89" fmla="*/ 70 h 1956"/>
                <a:gd name="T90" fmla="*/ 59 w 1512"/>
                <a:gd name="T91" fmla="*/ 58 h 1956"/>
                <a:gd name="T92" fmla="*/ 54 w 1512"/>
                <a:gd name="T93" fmla="*/ 45 h 1956"/>
                <a:gd name="T94" fmla="*/ 49 w 1512"/>
                <a:gd name="T95" fmla="*/ 42 h 1956"/>
                <a:gd name="T96" fmla="*/ 51 w 1512"/>
                <a:gd name="T97" fmla="*/ 39 h 1956"/>
                <a:gd name="T98" fmla="*/ 55 w 1512"/>
                <a:gd name="T99" fmla="*/ 36 h 1956"/>
                <a:gd name="T100" fmla="*/ 63 w 1512"/>
                <a:gd name="T101" fmla="*/ 34 h 1956"/>
                <a:gd name="T102" fmla="*/ 68 w 1512"/>
                <a:gd name="T103" fmla="*/ 32 h 1956"/>
                <a:gd name="T104" fmla="*/ 73 w 1512"/>
                <a:gd name="T105" fmla="*/ 29 h 1956"/>
                <a:gd name="T106" fmla="*/ 78 w 1512"/>
                <a:gd name="T107" fmla="*/ 27 h 1956"/>
                <a:gd name="T108" fmla="*/ 81 w 1512"/>
                <a:gd name="T109" fmla="*/ 17 h 1956"/>
                <a:gd name="T110" fmla="*/ 84 w 1512"/>
                <a:gd name="T111" fmla="*/ 6 h 1956"/>
                <a:gd name="T112" fmla="*/ 95 w 1512"/>
                <a:gd name="T113" fmla="*/ 6 h 1956"/>
                <a:gd name="T114" fmla="*/ 99 w 1512"/>
                <a:gd name="T115" fmla="*/ 3 h 1956"/>
                <a:gd name="T116" fmla="*/ 103 w 1512"/>
                <a:gd name="T117" fmla="*/ 0 h 1956"/>
                <a:gd name="T118" fmla="*/ 110 w 1512"/>
                <a:gd name="T119" fmla="*/ 4 h 1956"/>
                <a:gd name="T120" fmla="*/ 114 w 1512"/>
                <a:gd name="T121" fmla="*/ 33 h 1956"/>
                <a:gd name="T122" fmla="*/ 117 w 1512"/>
                <a:gd name="T123" fmla="*/ 41 h 1956"/>
                <a:gd name="T124" fmla="*/ 119 w 1512"/>
                <a:gd name="T125" fmla="*/ 62 h 195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12"/>
                <a:gd name="T190" fmla="*/ 0 h 1956"/>
                <a:gd name="T191" fmla="*/ 1512 w 1512"/>
                <a:gd name="T192" fmla="*/ 1956 h 195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12" h="1956">
                  <a:moveTo>
                    <a:pt x="1512" y="780"/>
                  </a:moveTo>
                  <a:lnTo>
                    <a:pt x="1482" y="786"/>
                  </a:lnTo>
                  <a:lnTo>
                    <a:pt x="1476" y="792"/>
                  </a:lnTo>
                  <a:lnTo>
                    <a:pt x="1476" y="798"/>
                  </a:lnTo>
                  <a:lnTo>
                    <a:pt x="1476" y="804"/>
                  </a:lnTo>
                  <a:lnTo>
                    <a:pt x="1476" y="816"/>
                  </a:lnTo>
                  <a:lnTo>
                    <a:pt x="1470" y="834"/>
                  </a:lnTo>
                  <a:lnTo>
                    <a:pt x="1464" y="840"/>
                  </a:lnTo>
                  <a:lnTo>
                    <a:pt x="1452" y="852"/>
                  </a:lnTo>
                  <a:lnTo>
                    <a:pt x="1440" y="864"/>
                  </a:lnTo>
                  <a:lnTo>
                    <a:pt x="1434" y="864"/>
                  </a:lnTo>
                  <a:lnTo>
                    <a:pt x="1434" y="870"/>
                  </a:lnTo>
                  <a:lnTo>
                    <a:pt x="1422" y="876"/>
                  </a:lnTo>
                  <a:lnTo>
                    <a:pt x="1410" y="894"/>
                  </a:lnTo>
                  <a:lnTo>
                    <a:pt x="1404" y="894"/>
                  </a:lnTo>
                  <a:lnTo>
                    <a:pt x="1404" y="900"/>
                  </a:lnTo>
                  <a:lnTo>
                    <a:pt x="1404" y="906"/>
                  </a:lnTo>
                  <a:lnTo>
                    <a:pt x="1410" y="918"/>
                  </a:lnTo>
                  <a:lnTo>
                    <a:pt x="1404" y="918"/>
                  </a:lnTo>
                  <a:lnTo>
                    <a:pt x="1392" y="924"/>
                  </a:lnTo>
                  <a:lnTo>
                    <a:pt x="1386" y="924"/>
                  </a:lnTo>
                  <a:lnTo>
                    <a:pt x="1380" y="924"/>
                  </a:lnTo>
                  <a:lnTo>
                    <a:pt x="1380" y="930"/>
                  </a:lnTo>
                  <a:lnTo>
                    <a:pt x="1374" y="930"/>
                  </a:lnTo>
                  <a:lnTo>
                    <a:pt x="1374" y="924"/>
                  </a:lnTo>
                  <a:lnTo>
                    <a:pt x="1374" y="918"/>
                  </a:lnTo>
                  <a:lnTo>
                    <a:pt x="1368" y="912"/>
                  </a:lnTo>
                  <a:lnTo>
                    <a:pt x="1368" y="906"/>
                  </a:lnTo>
                  <a:lnTo>
                    <a:pt x="1368" y="900"/>
                  </a:lnTo>
                  <a:lnTo>
                    <a:pt x="1368" y="894"/>
                  </a:lnTo>
                  <a:lnTo>
                    <a:pt x="1362" y="894"/>
                  </a:lnTo>
                  <a:lnTo>
                    <a:pt x="1326" y="894"/>
                  </a:lnTo>
                  <a:lnTo>
                    <a:pt x="1302" y="906"/>
                  </a:lnTo>
                  <a:lnTo>
                    <a:pt x="1284" y="918"/>
                  </a:lnTo>
                  <a:lnTo>
                    <a:pt x="1284" y="924"/>
                  </a:lnTo>
                  <a:lnTo>
                    <a:pt x="1278" y="930"/>
                  </a:lnTo>
                  <a:lnTo>
                    <a:pt x="1266" y="930"/>
                  </a:lnTo>
                  <a:lnTo>
                    <a:pt x="1236" y="954"/>
                  </a:lnTo>
                  <a:lnTo>
                    <a:pt x="1212" y="972"/>
                  </a:lnTo>
                  <a:lnTo>
                    <a:pt x="1218" y="996"/>
                  </a:lnTo>
                  <a:lnTo>
                    <a:pt x="1224" y="1008"/>
                  </a:lnTo>
                  <a:lnTo>
                    <a:pt x="1236" y="1014"/>
                  </a:lnTo>
                  <a:lnTo>
                    <a:pt x="1242" y="1026"/>
                  </a:lnTo>
                  <a:lnTo>
                    <a:pt x="1248" y="1038"/>
                  </a:lnTo>
                  <a:lnTo>
                    <a:pt x="1260" y="1050"/>
                  </a:lnTo>
                  <a:lnTo>
                    <a:pt x="1260" y="1056"/>
                  </a:lnTo>
                  <a:lnTo>
                    <a:pt x="1260" y="1074"/>
                  </a:lnTo>
                  <a:lnTo>
                    <a:pt x="1254" y="1074"/>
                  </a:lnTo>
                  <a:lnTo>
                    <a:pt x="1236" y="1056"/>
                  </a:lnTo>
                  <a:lnTo>
                    <a:pt x="1224" y="1050"/>
                  </a:lnTo>
                  <a:lnTo>
                    <a:pt x="1212" y="1050"/>
                  </a:lnTo>
                  <a:lnTo>
                    <a:pt x="1206" y="1050"/>
                  </a:lnTo>
                  <a:lnTo>
                    <a:pt x="1200" y="1056"/>
                  </a:lnTo>
                  <a:lnTo>
                    <a:pt x="1194" y="1062"/>
                  </a:lnTo>
                  <a:lnTo>
                    <a:pt x="1188" y="1068"/>
                  </a:lnTo>
                  <a:lnTo>
                    <a:pt x="1188" y="1074"/>
                  </a:lnTo>
                  <a:lnTo>
                    <a:pt x="1176" y="1086"/>
                  </a:lnTo>
                  <a:lnTo>
                    <a:pt x="1170" y="1086"/>
                  </a:lnTo>
                  <a:lnTo>
                    <a:pt x="1170" y="1092"/>
                  </a:lnTo>
                  <a:lnTo>
                    <a:pt x="1164" y="1098"/>
                  </a:lnTo>
                  <a:lnTo>
                    <a:pt x="1158" y="1110"/>
                  </a:lnTo>
                  <a:lnTo>
                    <a:pt x="1152" y="1116"/>
                  </a:lnTo>
                  <a:lnTo>
                    <a:pt x="1152" y="1122"/>
                  </a:lnTo>
                  <a:lnTo>
                    <a:pt x="1146" y="1128"/>
                  </a:lnTo>
                  <a:lnTo>
                    <a:pt x="1152" y="1140"/>
                  </a:lnTo>
                  <a:lnTo>
                    <a:pt x="1158" y="1140"/>
                  </a:lnTo>
                  <a:lnTo>
                    <a:pt x="1164" y="1146"/>
                  </a:lnTo>
                  <a:lnTo>
                    <a:pt x="1164" y="1152"/>
                  </a:lnTo>
                  <a:lnTo>
                    <a:pt x="1170" y="1164"/>
                  </a:lnTo>
                  <a:lnTo>
                    <a:pt x="1164" y="1176"/>
                  </a:lnTo>
                  <a:lnTo>
                    <a:pt x="1170" y="1182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82" y="1218"/>
                  </a:lnTo>
                  <a:lnTo>
                    <a:pt x="1188" y="1218"/>
                  </a:lnTo>
                  <a:lnTo>
                    <a:pt x="1194" y="1218"/>
                  </a:lnTo>
                  <a:lnTo>
                    <a:pt x="1194" y="1224"/>
                  </a:lnTo>
                  <a:lnTo>
                    <a:pt x="1200" y="1230"/>
                  </a:lnTo>
                  <a:lnTo>
                    <a:pt x="1200" y="1248"/>
                  </a:lnTo>
                  <a:lnTo>
                    <a:pt x="1212" y="1266"/>
                  </a:lnTo>
                  <a:lnTo>
                    <a:pt x="1218" y="1278"/>
                  </a:lnTo>
                  <a:lnTo>
                    <a:pt x="1224" y="1284"/>
                  </a:lnTo>
                  <a:lnTo>
                    <a:pt x="1236" y="1296"/>
                  </a:lnTo>
                  <a:lnTo>
                    <a:pt x="1242" y="1302"/>
                  </a:lnTo>
                  <a:lnTo>
                    <a:pt x="1242" y="1308"/>
                  </a:lnTo>
                  <a:lnTo>
                    <a:pt x="1272" y="1308"/>
                  </a:lnTo>
                  <a:lnTo>
                    <a:pt x="1296" y="1314"/>
                  </a:lnTo>
                  <a:lnTo>
                    <a:pt x="1320" y="1320"/>
                  </a:lnTo>
                  <a:lnTo>
                    <a:pt x="1338" y="1320"/>
                  </a:lnTo>
                  <a:lnTo>
                    <a:pt x="1356" y="1332"/>
                  </a:lnTo>
                  <a:lnTo>
                    <a:pt x="1368" y="1344"/>
                  </a:lnTo>
                  <a:lnTo>
                    <a:pt x="1374" y="1362"/>
                  </a:lnTo>
                  <a:lnTo>
                    <a:pt x="1368" y="1362"/>
                  </a:lnTo>
                  <a:lnTo>
                    <a:pt x="1368" y="1398"/>
                  </a:lnTo>
                  <a:lnTo>
                    <a:pt x="1368" y="1410"/>
                  </a:lnTo>
                  <a:lnTo>
                    <a:pt x="1368" y="1428"/>
                  </a:lnTo>
                  <a:lnTo>
                    <a:pt x="1368" y="1434"/>
                  </a:lnTo>
                  <a:lnTo>
                    <a:pt x="1368" y="1440"/>
                  </a:lnTo>
                  <a:lnTo>
                    <a:pt x="1374" y="1446"/>
                  </a:lnTo>
                  <a:lnTo>
                    <a:pt x="1374" y="1452"/>
                  </a:lnTo>
                  <a:lnTo>
                    <a:pt x="1380" y="1458"/>
                  </a:lnTo>
                  <a:lnTo>
                    <a:pt x="1386" y="1464"/>
                  </a:lnTo>
                  <a:lnTo>
                    <a:pt x="1386" y="1470"/>
                  </a:lnTo>
                  <a:lnTo>
                    <a:pt x="1380" y="1476"/>
                  </a:lnTo>
                  <a:lnTo>
                    <a:pt x="1374" y="1482"/>
                  </a:lnTo>
                  <a:lnTo>
                    <a:pt x="1362" y="1500"/>
                  </a:lnTo>
                  <a:lnTo>
                    <a:pt x="1362" y="1506"/>
                  </a:lnTo>
                  <a:lnTo>
                    <a:pt x="1362" y="1512"/>
                  </a:lnTo>
                  <a:lnTo>
                    <a:pt x="1362" y="1518"/>
                  </a:lnTo>
                  <a:lnTo>
                    <a:pt x="1362" y="1524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38" y="1548"/>
                  </a:lnTo>
                  <a:lnTo>
                    <a:pt x="1296" y="1548"/>
                  </a:lnTo>
                  <a:lnTo>
                    <a:pt x="1290" y="1554"/>
                  </a:lnTo>
                  <a:lnTo>
                    <a:pt x="1284" y="1560"/>
                  </a:lnTo>
                  <a:lnTo>
                    <a:pt x="1284" y="1566"/>
                  </a:lnTo>
                  <a:lnTo>
                    <a:pt x="1290" y="1578"/>
                  </a:lnTo>
                  <a:lnTo>
                    <a:pt x="1296" y="1590"/>
                  </a:lnTo>
                  <a:lnTo>
                    <a:pt x="1302" y="1590"/>
                  </a:lnTo>
                  <a:lnTo>
                    <a:pt x="1308" y="1596"/>
                  </a:lnTo>
                  <a:lnTo>
                    <a:pt x="1320" y="1602"/>
                  </a:lnTo>
                  <a:lnTo>
                    <a:pt x="1326" y="1602"/>
                  </a:lnTo>
                  <a:lnTo>
                    <a:pt x="1326" y="1608"/>
                  </a:lnTo>
                  <a:lnTo>
                    <a:pt x="1332" y="1614"/>
                  </a:lnTo>
                  <a:lnTo>
                    <a:pt x="1344" y="1620"/>
                  </a:lnTo>
                  <a:lnTo>
                    <a:pt x="1356" y="1626"/>
                  </a:lnTo>
                  <a:lnTo>
                    <a:pt x="1356" y="1632"/>
                  </a:lnTo>
                  <a:lnTo>
                    <a:pt x="1356" y="1638"/>
                  </a:lnTo>
                  <a:lnTo>
                    <a:pt x="1362" y="1644"/>
                  </a:lnTo>
                  <a:lnTo>
                    <a:pt x="1368" y="1644"/>
                  </a:lnTo>
                  <a:lnTo>
                    <a:pt x="1380" y="1650"/>
                  </a:lnTo>
                  <a:lnTo>
                    <a:pt x="1386" y="1650"/>
                  </a:lnTo>
                  <a:lnTo>
                    <a:pt x="1386" y="1656"/>
                  </a:lnTo>
                  <a:lnTo>
                    <a:pt x="1392" y="1656"/>
                  </a:lnTo>
                  <a:lnTo>
                    <a:pt x="1398" y="1662"/>
                  </a:lnTo>
                  <a:lnTo>
                    <a:pt x="1410" y="1674"/>
                  </a:lnTo>
                  <a:lnTo>
                    <a:pt x="1428" y="1680"/>
                  </a:lnTo>
                  <a:lnTo>
                    <a:pt x="1428" y="1686"/>
                  </a:lnTo>
                  <a:lnTo>
                    <a:pt x="1428" y="1698"/>
                  </a:lnTo>
                  <a:lnTo>
                    <a:pt x="1434" y="1704"/>
                  </a:lnTo>
                  <a:lnTo>
                    <a:pt x="1434" y="1710"/>
                  </a:lnTo>
                  <a:lnTo>
                    <a:pt x="1440" y="1710"/>
                  </a:lnTo>
                  <a:lnTo>
                    <a:pt x="1446" y="1710"/>
                  </a:lnTo>
                  <a:lnTo>
                    <a:pt x="1446" y="1716"/>
                  </a:lnTo>
                  <a:lnTo>
                    <a:pt x="1440" y="1722"/>
                  </a:lnTo>
                  <a:lnTo>
                    <a:pt x="1440" y="1728"/>
                  </a:lnTo>
                  <a:lnTo>
                    <a:pt x="1440" y="1734"/>
                  </a:lnTo>
                  <a:lnTo>
                    <a:pt x="1440" y="1740"/>
                  </a:lnTo>
                  <a:lnTo>
                    <a:pt x="1440" y="1746"/>
                  </a:lnTo>
                  <a:lnTo>
                    <a:pt x="1440" y="1788"/>
                  </a:lnTo>
                  <a:lnTo>
                    <a:pt x="1440" y="1800"/>
                  </a:lnTo>
                  <a:lnTo>
                    <a:pt x="1440" y="1806"/>
                  </a:lnTo>
                  <a:lnTo>
                    <a:pt x="1440" y="1836"/>
                  </a:lnTo>
                  <a:lnTo>
                    <a:pt x="1440" y="1848"/>
                  </a:lnTo>
                  <a:lnTo>
                    <a:pt x="1446" y="1848"/>
                  </a:lnTo>
                  <a:lnTo>
                    <a:pt x="1446" y="1854"/>
                  </a:lnTo>
                  <a:lnTo>
                    <a:pt x="1452" y="1848"/>
                  </a:lnTo>
                  <a:lnTo>
                    <a:pt x="1458" y="1854"/>
                  </a:lnTo>
                  <a:lnTo>
                    <a:pt x="1452" y="1860"/>
                  </a:lnTo>
                  <a:lnTo>
                    <a:pt x="1452" y="1866"/>
                  </a:lnTo>
                  <a:lnTo>
                    <a:pt x="1458" y="1872"/>
                  </a:lnTo>
                  <a:lnTo>
                    <a:pt x="1464" y="1884"/>
                  </a:lnTo>
                  <a:lnTo>
                    <a:pt x="1428" y="1878"/>
                  </a:lnTo>
                  <a:lnTo>
                    <a:pt x="1356" y="1890"/>
                  </a:lnTo>
                  <a:lnTo>
                    <a:pt x="1296" y="1926"/>
                  </a:lnTo>
                  <a:lnTo>
                    <a:pt x="1266" y="1944"/>
                  </a:lnTo>
                  <a:lnTo>
                    <a:pt x="1224" y="1944"/>
                  </a:lnTo>
                  <a:lnTo>
                    <a:pt x="1188" y="1956"/>
                  </a:lnTo>
                  <a:lnTo>
                    <a:pt x="1188" y="1950"/>
                  </a:lnTo>
                  <a:lnTo>
                    <a:pt x="1176" y="1944"/>
                  </a:lnTo>
                  <a:lnTo>
                    <a:pt x="1176" y="1938"/>
                  </a:lnTo>
                  <a:lnTo>
                    <a:pt x="1170" y="1938"/>
                  </a:lnTo>
                  <a:lnTo>
                    <a:pt x="1164" y="1932"/>
                  </a:lnTo>
                  <a:lnTo>
                    <a:pt x="1158" y="1926"/>
                  </a:lnTo>
                  <a:lnTo>
                    <a:pt x="1158" y="1920"/>
                  </a:lnTo>
                  <a:lnTo>
                    <a:pt x="1152" y="1920"/>
                  </a:lnTo>
                  <a:lnTo>
                    <a:pt x="1146" y="1914"/>
                  </a:lnTo>
                  <a:lnTo>
                    <a:pt x="1146" y="1908"/>
                  </a:lnTo>
                  <a:lnTo>
                    <a:pt x="1140" y="1908"/>
                  </a:lnTo>
                  <a:lnTo>
                    <a:pt x="1134" y="1902"/>
                  </a:lnTo>
                  <a:lnTo>
                    <a:pt x="1134" y="1896"/>
                  </a:lnTo>
                  <a:lnTo>
                    <a:pt x="1116" y="1896"/>
                  </a:lnTo>
                  <a:lnTo>
                    <a:pt x="1104" y="1884"/>
                  </a:lnTo>
                  <a:lnTo>
                    <a:pt x="1092" y="1860"/>
                  </a:lnTo>
                  <a:lnTo>
                    <a:pt x="1068" y="1854"/>
                  </a:lnTo>
                  <a:lnTo>
                    <a:pt x="1032" y="1842"/>
                  </a:lnTo>
                  <a:lnTo>
                    <a:pt x="1008" y="1836"/>
                  </a:lnTo>
                  <a:lnTo>
                    <a:pt x="978" y="1824"/>
                  </a:lnTo>
                  <a:lnTo>
                    <a:pt x="942" y="1818"/>
                  </a:lnTo>
                  <a:lnTo>
                    <a:pt x="924" y="1806"/>
                  </a:lnTo>
                  <a:lnTo>
                    <a:pt x="906" y="1788"/>
                  </a:lnTo>
                  <a:lnTo>
                    <a:pt x="894" y="1776"/>
                  </a:lnTo>
                  <a:lnTo>
                    <a:pt x="864" y="1758"/>
                  </a:lnTo>
                  <a:lnTo>
                    <a:pt x="834" y="1752"/>
                  </a:lnTo>
                  <a:lnTo>
                    <a:pt x="798" y="1746"/>
                  </a:lnTo>
                  <a:lnTo>
                    <a:pt x="792" y="1806"/>
                  </a:lnTo>
                  <a:lnTo>
                    <a:pt x="798" y="1812"/>
                  </a:lnTo>
                  <a:lnTo>
                    <a:pt x="810" y="1830"/>
                  </a:lnTo>
                  <a:lnTo>
                    <a:pt x="792" y="1842"/>
                  </a:lnTo>
                  <a:lnTo>
                    <a:pt x="768" y="1842"/>
                  </a:lnTo>
                  <a:lnTo>
                    <a:pt x="708" y="1848"/>
                  </a:lnTo>
                  <a:lnTo>
                    <a:pt x="690" y="1860"/>
                  </a:lnTo>
                  <a:lnTo>
                    <a:pt x="690" y="1866"/>
                  </a:lnTo>
                  <a:lnTo>
                    <a:pt x="678" y="1878"/>
                  </a:lnTo>
                  <a:lnTo>
                    <a:pt x="660" y="1884"/>
                  </a:lnTo>
                  <a:lnTo>
                    <a:pt x="660" y="1902"/>
                  </a:lnTo>
                  <a:lnTo>
                    <a:pt x="642" y="1902"/>
                  </a:lnTo>
                  <a:lnTo>
                    <a:pt x="582" y="1914"/>
                  </a:lnTo>
                  <a:lnTo>
                    <a:pt x="534" y="1908"/>
                  </a:lnTo>
                  <a:lnTo>
                    <a:pt x="510" y="1908"/>
                  </a:lnTo>
                  <a:lnTo>
                    <a:pt x="510" y="1896"/>
                  </a:lnTo>
                  <a:lnTo>
                    <a:pt x="492" y="1896"/>
                  </a:lnTo>
                  <a:lnTo>
                    <a:pt x="486" y="1902"/>
                  </a:lnTo>
                  <a:lnTo>
                    <a:pt x="474" y="1908"/>
                  </a:lnTo>
                  <a:lnTo>
                    <a:pt x="450" y="1908"/>
                  </a:lnTo>
                  <a:lnTo>
                    <a:pt x="432" y="1902"/>
                  </a:lnTo>
                  <a:lnTo>
                    <a:pt x="426" y="1896"/>
                  </a:lnTo>
                  <a:lnTo>
                    <a:pt x="402" y="1884"/>
                  </a:lnTo>
                  <a:lnTo>
                    <a:pt x="390" y="1872"/>
                  </a:lnTo>
                  <a:lnTo>
                    <a:pt x="384" y="1872"/>
                  </a:lnTo>
                  <a:lnTo>
                    <a:pt x="378" y="1872"/>
                  </a:lnTo>
                  <a:lnTo>
                    <a:pt x="378" y="1866"/>
                  </a:lnTo>
                  <a:lnTo>
                    <a:pt x="372" y="1860"/>
                  </a:lnTo>
                  <a:lnTo>
                    <a:pt x="372" y="1854"/>
                  </a:lnTo>
                  <a:lnTo>
                    <a:pt x="366" y="1842"/>
                  </a:lnTo>
                  <a:lnTo>
                    <a:pt x="366" y="1836"/>
                  </a:lnTo>
                  <a:lnTo>
                    <a:pt x="348" y="1830"/>
                  </a:lnTo>
                  <a:lnTo>
                    <a:pt x="348" y="1806"/>
                  </a:lnTo>
                  <a:lnTo>
                    <a:pt x="348" y="1800"/>
                  </a:lnTo>
                  <a:lnTo>
                    <a:pt x="348" y="1782"/>
                  </a:lnTo>
                  <a:lnTo>
                    <a:pt x="336" y="1788"/>
                  </a:lnTo>
                  <a:lnTo>
                    <a:pt x="312" y="1794"/>
                  </a:lnTo>
                  <a:lnTo>
                    <a:pt x="288" y="1788"/>
                  </a:lnTo>
                  <a:lnTo>
                    <a:pt x="264" y="1758"/>
                  </a:lnTo>
                  <a:lnTo>
                    <a:pt x="270" y="1758"/>
                  </a:lnTo>
                  <a:lnTo>
                    <a:pt x="270" y="1752"/>
                  </a:lnTo>
                  <a:lnTo>
                    <a:pt x="276" y="1752"/>
                  </a:lnTo>
                  <a:lnTo>
                    <a:pt x="282" y="1746"/>
                  </a:lnTo>
                  <a:lnTo>
                    <a:pt x="300" y="1746"/>
                  </a:lnTo>
                  <a:lnTo>
                    <a:pt x="312" y="1746"/>
                  </a:lnTo>
                  <a:lnTo>
                    <a:pt x="336" y="1710"/>
                  </a:lnTo>
                  <a:lnTo>
                    <a:pt x="342" y="1692"/>
                  </a:lnTo>
                  <a:lnTo>
                    <a:pt x="348" y="1680"/>
                  </a:lnTo>
                  <a:lnTo>
                    <a:pt x="342" y="1650"/>
                  </a:lnTo>
                  <a:lnTo>
                    <a:pt x="354" y="1644"/>
                  </a:lnTo>
                  <a:lnTo>
                    <a:pt x="354" y="1638"/>
                  </a:lnTo>
                  <a:lnTo>
                    <a:pt x="360" y="1632"/>
                  </a:lnTo>
                  <a:lnTo>
                    <a:pt x="354" y="1626"/>
                  </a:lnTo>
                  <a:lnTo>
                    <a:pt x="348" y="1626"/>
                  </a:lnTo>
                  <a:lnTo>
                    <a:pt x="348" y="1620"/>
                  </a:lnTo>
                  <a:lnTo>
                    <a:pt x="342" y="1620"/>
                  </a:lnTo>
                  <a:lnTo>
                    <a:pt x="348" y="1614"/>
                  </a:lnTo>
                  <a:lnTo>
                    <a:pt x="324" y="1566"/>
                  </a:lnTo>
                  <a:lnTo>
                    <a:pt x="318" y="1566"/>
                  </a:lnTo>
                  <a:lnTo>
                    <a:pt x="306" y="1572"/>
                  </a:lnTo>
                  <a:lnTo>
                    <a:pt x="300" y="1572"/>
                  </a:lnTo>
                  <a:lnTo>
                    <a:pt x="294" y="1578"/>
                  </a:lnTo>
                  <a:lnTo>
                    <a:pt x="288" y="1584"/>
                  </a:lnTo>
                  <a:lnTo>
                    <a:pt x="282" y="1584"/>
                  </a:lnTo>
                  <a:lnTo>
                    <a:pt x="282" y="1578"/>
                  </a:lnTo>
                  <a:lnTo>
                    <a:pt x="276" y="1578"/>
                  </a:lnTo>
                  <a:lnTo>
                    <a:pt x="270" y="1578"/>
                  </a:lnTo>
                  <a:lnTo>
                    <a:pt x="264" y="1578"/>
                  </a:lnTo>
                  <a:lnTo>
                    <a:pt x="258" y="1578"/>
                  </a:lnTo>
                  <a:lnTo>
                    <a:pt x="252" y="1578"/>
                  </a:lnTo>
                  <a:lnTo>
                    <a:pt x="252" y="1584"/>
                  </a:lnTo>
                  <a:lnTo>
                    <a:pt x="246" y="1584"/>
                  </a:lnTo>
                  <a:lnTo>
                    <a:pt x="210" y="1584"/>
                  </a:lnTo>
                  <a:lnTo>
                    <a:pt x="204" y="1584"/>
                  </a:lnTo>
                  <a:lnTo>
                    <a:pt x="192" y="1584"/>
                  </a:lnTo>
                  <a:lnTo>
                    <a:pt x="168" y="1596"/>
                  </a:lnTo>
                  <a:lnTo>
                    <a:pt x="156" y="1572"/>
                  </a:lnTo>
                  <a:lnTo>
                    <a:pt x="156" y="1566"/>
                  </a:lnTo>
                  <a:lnTo>
                    <a:pt x="156" y="1560"/>
                  </a:lnTo>
                  <a:lnTo>
                    <a:pt x="162" y="1548"/>
                  </a:lnTo>
                  <a:lnTo>
                    <a:pt x="162" y="1542"/>
                  </a:lnTo>
                  <a:lnTo>
                    <a:pt x="162" y="1536"/>
                  </a:lnTo>
                  <a:lnTo>
                    <a:pt x="168" y="1530"/>
                  </a:lnTo>
                  <a:lnTo>
                    <a:pt x="168" y="1524"/>
                  </a:lnTo>
                  <a:lnTo>
                    <a:pt x="168" y="1518"/>
                  </a:lnTo>
                  <a:lnTo>
                    <a:pt x="174" y="1518"/>
                  </a:lnTo>
                  <a:lnTo>
                    <a:pt x="174" y="1506"/>
                  </a:lnTo>
                  <a:lnTo>
                    <a:pt x="156" y="1470"/>
                  </a:lnTo>
                  <a:lnTo>
                    <a:pt x="138" y="1464"/>
                  </a:lnTo>
                  <a:lnTo>
                    <a:pt x="126" y="1446"/>
                  </a:lnTo>
                  <a:lnTo>
                    <a:pt x="126" y="1440"/>
                  </a:lnTo>
                  <a:lnTo>
                    <a:pt x="126" y="1434"/>
                  </a:lnTo>
                  <a:lnTo>
                    <a:pt x="120" y="1428"/>
                  </a:lnTo>
                  <a:lnTo>
                    <a:pt x="126" y="1398"/>
                  </a:lnTo>
                  <a:lnTo>
                    <a:pt x="120" y="1374"/>
                  </a:lnTo>
                  <a:lnTo>
                    <a:pt x="60" y="1374"/>
                  </a:lnTo>
                  <a:lnTo>
                    <a:pt x="60" y="1368"/>
                  </a:lnTo>
                  <a:lnTo>
                    <a:pt x="54" y="1362"/>
                  </a:lnTo>
                  <a:lnTo>
                    <a:pt x="48" y="1356"/>
                  </a:lnTo>
                  <a:lnTo>
                    <a:pt x="42" y="1356"/>
                  </a:lnTo>
                  <a:lnTo>
                    <a:pt x="42" y="1350"/>
                  </a:lnTo>
                  <a:lnTo>
                    <a:pt x="36" y="1344"/>
                  </a:lnTo>
                  <a:lnTo>
                    <a:pt x="36" y="1338"/>
                  </a:lnTo>
                  <a:lnTo>
                    <a:pt x="30" y="1332"/>
                  </a:lnTo>
                  <a:lnTo>
                    <a:pt x="30" y="1326"/>
                  </a:lnTo>
                  <a:lnTo>
                    <a:pt x="18" y="1326"/>
                  </a:lnTo>
                  <a:lnTo>
                    <a:pt x="18" y="1320"/>
                  </a:lnTo>
                  <a:lnTo>
                    <a:pt x="18" y="1326"/>
                  </a:lnTo>
                  <a:lnTo>
                    <a:pt x="6" y="1320"/>
                  </a:lnTo>
                  <a:lnTo>
                    <a:pt x="0" y="1314"/>
                  </a:lnTo>
                  <a:lnTo>
                    <a:pt x="12" y="1266"/>
                  </a:lnTo>
                  <a:lnTo>
                    <a:pt x="6" y="1242"/>
                  </a:lnTo>
                  <a:lnTo>
                    <a:pt x="12" y="1236"/>
                  </a:lnTo>
                  <a:lnTo>
                    <a:pt x="12" y="1230"/>
                  </a:lnTo>
                  <a:lnTo>
                    <a:pt x="18" y="1230"/>
                  </a:lnTo>
                  <a:lnTo>
                    <a:pt x="18" y="1224"/>
                  </a:lnTo>
                  <a:lnTo>
                    <a:pt x="24" y="1218"/>
                  </a:lnTo>
                  <a:lnTo>
                    <a:pt x="24" y="1212"/>
                  </a:lnTo>
                  <a:lnTo>
                    <a:pt x="30" y="1212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48" y="1188"/>
                  </a:lnTo>
                  <a:lnTo>
                    <a:pt x="48" y="1182"/>
                  </a:lnTo>
                  <a:lnTo>
                    <a:pt x="48" y="1176"/>
                  </a:lnTo>
                  <a:lnTo>
                    <a:pt x="48" y="1170"/>
                  </a:lnTo>
                  <a:lnTo>
                    <a:pt x="54" y="1170"/>
                  </a:lnTo>
                  <a:lnTo>
                    <a:pt x="60" y="1164"/>
                  </a:lnTo>
                  <a:lnTo>
                    <a:pt x="60" y="1158"/>
                  </a:lnTo>
                  <a:lnTo>
                    <a:pt x="66" y="1152"/>
                  </a:lnTo>
                  <a:lnTo>
                    <a:pt x="60" y="1140"/>
                  </a:lnTo>
                  <a:lnTo>
                    <a:pt x="60" y="1134"/>
                  </a:lnTo>
                  <a:lnTo>
                    <a:pt x="54" y="1134"/>
                  </a:lnTo>
                  <a:lnTo>
                    <a:pt x="54" y="1128"/>
                  </a:lnTo>
                  <a:lnTo>
                    <a:pt x="48" y="1122"/>
                  </a:lnTo>
                  <a:lnTo>
                    <a:pt x="48" y="1116"/>
                  </a:lnTo>
                  <a:lnTo>
                    <a:pt x="48" y="1110"/>
                  </a:lnTo>
                  <a:lnTo>
                    <a:pt x="42" y="1104"/>
                  </a:lnTo>
                  <a:lnTo>
                    <a:pt x="42" y="1098"/>
                  </a:lnTo>
                  <a:lnTo>
                    <a:pt x="36" y="1092"/>
                  </a:lnTo>
                  <a:lnTo>
                    <a:pt x="30" y="1092"/>
                  </a:lnTo>
                  <a:lnTo>
                    <a:pt x="24" y="1092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18" y="1080"/>
                  </a:lnTo>
                  <a:lnTo>
                    <a:pt x="18" y="1074"/>
                  </a:lnTo>
                  <a:lnTo>
                    <a:pt x="12" y="1068"/>
                  </a:lnTo>
                  <a:lnTo>
                    <a:pt x="6" y="1068"/>
                  </a:lnTo>
                  <a:lnTo>
                    <a:pt x="12" y="1056"/>
                  </a:lnTo>
                  <a:lnTo>
                    <a:pt x="6" y="1056"/>
                  </a:lnTo>
                  <a:lnTo>
                    <a:pt x="6" y="1050"/>
                  </a:lnTo>
                  <a:lnTo>
                    <a:pt x="6" y="1044"/>
                  </a:lnTo>
                  <a:lnTo>
                    <a:pt x="6" y="1026"/>
                  </a:lnTo>
                  <a:lnTo>
                    <a:pt x="12" y="1020"/>
                  </a:lnTo>
                  <a:lnTo>
                    <a:pt x="12" y="1014"/>
                  </a:lnTo>
                  <a:lnTo>
                    <a:pt x="18" y="1014"/>
                  </a:lnTo>
                  <a:lnTo>
                    <a:pt x="18" y="1008"/>
                  </a:lnTo>
                  <a:lnTo>
                    <a:pt x="18" y="1002"/>
                  </a:lnTo>
                  <a:lnTo>
                    <a:pt x="18" y="990"/>
                  </a:lnTo>
                  <a:lnTo>
                    <a:pt x="12" y="972"/>
                  </a:lnTo>
                  <a:lnTo>
                    <a:pt x="18" y="954"/>
                  </a:lnTo>
                  <a:lnTo>
                    <a:pt x="18" y="948"/>
                  </a:lnTo>
                  <a:lnTo>
                    <a:pt x="24" y="948"/>
                  </a:lnTo>
                  <a:lnTo>
                    <a:pt x="24" y="930"/>
                  </a:lnTo>
                  <a:lnTo>
                    <a:pt x="30" y="930"/>
                  </a:lnTo>
                  <a:lnTo>
                    <a:pt x="36" y="918"/>
                  </a:lnTo>
                  <a:lnTo>
                    <a:pt x="42" y="918"/>
                  </a:lnTo>
                  <a:lnTo>
                    <a:pt x="48" y="918"/>
                  </a:lnTo>
                  <a:lnTo>
                    <a:pt x="78" y="912"/>
                  </a:lnTo>
                  <a:lnTo>
                    <a:pt x="90" y="894"/>
                  </a:lnTo>
                  <a:lnTo>
                    <a:pt x="96" y="894"/>
                  </a:lnTo>
                  <a:lnTo>
                    <a:pt x="102" y="888"/>
                  </a:lnTo>
                  <a:lnTo>
                    <a:pt x="102" y="882"/>
                  </a:lnTo>
                  <a:lnTo>
                    <a:pt x="114" y="870"/>
                  </a:lnTo>
                  <a:lnTo>
                    <a:pt x="120" y="864"/>
                  </a:lnTo>
                  <a:lnTo>
                    <a:pt x="120" y="852"/>
                  </a:lnTo>
                  <a:lnTo>
                    <a:pt x="120" y="846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32" y="840"/>
                  </a:lnTo>
                  <a:lnTo>
                    <a:pt x="138" y="840"/>
                  </a:lnTo>
                  <a:lnTo>
                    <a:pt x="138" y="834"/>
                  </a:lnTo>
                  <a:lnTo>
                    <a:pt x="144" y="834"/>
                  </a:lnTo>
                  <a:lnTo>
                    <a:pt x="144" y="828"/>
                  </a:lnTo>
                  <a:lnTo>
                    <a:pt x="150" y="828"/>
                  </a:lnTo>
                  <a:lnTo>
                    <a:pt x="156" y="822"/>
                  </a:lnTo>
                  <a:lnTo>
                    <a:pt x="162" y="816"/>
                  </a:lnTo>
                  <a:lnTo>
                    <a:pt x="162" y="822"/>
                  </a:lnTo>
                  <a:lnTo>
                    <a:pt x="162" y="816"/>
                  </a:lnTo>
                  <a:lnTo>
                    <a:pt x="162" y="810"/>
                  </a:lnTo>
                  <a:lnTo>
                    <a:pt x="168" y="810"/>
                  </a:lnTo>
                  <a:lnTo>
                    <a:pt x="174" y="804"/>
                  </a:lnTo>
                  <a:lnTo>
                    <a:pt x="180" y="798"/>
                  </a:lnTo>
                  <a:lnTo>
                    <a:pt x="180" y="786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8" y="780"/>
                  </a:lnTo>
                  <a:lnTo>
                    <a:pt x="204" y="774"/>
                  </a:lnTo>
                  <a:lnTo>
                    <a:pt x="210" y="774"/>
                  </a:lnTo>
                  <a:lnTo>
                    <a:pt x="216" y="768"/>
                  </a:lnTo>
                  <a:lnTo>
                    <a:pt x="222" y="762"/>
                  </a:lnTo>
                  <a:lnTo>
                    <a:pt x="228" y="762"/>
                  </a:lnTo>
                  <a:lnTo>
                    <a:pt x="228" y="768"/>
                  </a:lnTo>
                  <a:lnTo>
                    <a:pt x="234" y="768"/>
                  </a:lnTo>
                  <a:lnTo>
                    <a:pt x="240" y="762"/>
                  </a:lnTo>
                  <a:lnTo>
                    <a:pt x="252" y="762"/>
                  </a:lnTo>
                  <a:lnTo>
                    <a:pt x="264" y="768"/>
                  </a:lnTo>
                  <a:lnTo>
                    <a:pt x="294" y="756"/>
                  </a:lnTo>
                  <a:lnTo>
                    <a:pt x="294" y="750"/>
                  </a:lnTo>
                  <a:lnTo>
                    <a:pt x="300" y="750"/>
                  </a:lnTo>
                  <a:lnTo>
                    <a:pt x="306" y="744"/>
                  </a:lnTo>
                  <a:lnTo>
                    <a:pt x="342" y="750"/>
                  </a:lnTo>
                  <a:lnTo>
                    <a:pt x="348" y="750"/>
                  </a:lnTo>
                  <a:lnTo>
                    <a:pt x="348" y="744"/>
                  </a:lnTo>
                  <a:lnTo>
                    <a:pt x="354" y="744"/>
                  </a:lnTo>
                  <a:lnTo>
                    <a:pt x="360" y="744"/>
                  </a:lnTo>
                  <a:lnTo>
                    <a:pt x="360" y="750"/>
                  </a:lnTo>
                  <a:lnTo>
                    <a:pt x="366" y="750"/>
                  </a:lnTo>
                  <a:lnTo>
                    <a:pt x="366" y="744"/>
                  </a:lnTo>
                  <a:lnTo>
                    <a:pt x="366" y="738"/>
                  </a:lnTo>
                  <a:lnTo>
                    <a:pt x="372" y="744"/>
                  </a:lnTo>
                  <a:lnTo>
                    <a:pt x="378" y="744"/>
                  </a:lnTo>
                  <a:lnTo>
                    <a:pt x="384" y="750"/>
                  </a:lnTo>
                  <a:lnTo>
                    <a:pt x="444" y="774"/>
                  </a:lnTo>
                  <a:lnTo>
                    <a:pt x="450" y="774"/>
                  </a:lnTo>
                  <a:lnTo>
                    <a:pt x="456" y="768"/>
                  </a:lnTo>
                  <a:lnTo>
                    <a:pt x="462" y="768"/>
                  </a:lnTo>
                  <a:lnTo>
                    <a:pt x="462" y="762"/>
                  </a:lnTo>
                  <a:lnTo>
                    <a:pt x="468" y="762"/>
                  </a:lnTo>
                  <a:lnTo>
                    <a:pt x="474" y="756"/>
                  </a:lnTo>
                  <a:lnTo>
                    <a:pt x="480" y="750"/>
                  </a:lnTo>
                  <a:lnTo>
                    <a:pt x="516" y="756"/>
                  </a:lnTo>
                  <a:lnTo>
                    <a:pt x="522" y="756"/>
                  </a:lnTo>
                  <a:lnTo>
                    <a:pt x="522" y="762"/>
                  </a:lnTo>
                  <a:lnTo>
                    <a:pt x="522" y="768"/>
                  </a:lnTo>
                  <a:lnTo>
                    <a:pt x="522" y="774"/>
                  </a:lnTo>
                  <a:lnTo>
                    <a:pt x="528" y="780"/>
                  </a:lnTo>
                  <a:lnTo>
                    <a:pt x="540" y="780"/>
                  </a:lnTo>
                  <a:lnTo>
                    <a:pt x="540" y="804"/>
                  </a:lnTo>
                  <a:lnTo>
                    <a:pt x="540" y="810"/>
                  </a:lnTo>
                  <a:lnTo>
                    <a:pt x="546" y="810"/>
                  </a:lnTo>
                  <a:lnTo>
                    <a:pt x="552" y="810"/>
                  </a:lnTo>
                  <a:lnTo>
                    <a:pt x="558" y="810"/>
                  </a:lnTo>
                  <a:lnTo>
                    <a:pt x="564" y="810"/>
                  </a:lnTo>
                  <a:lnTo>
                    <a:pt x="570" y="810"/>
                  </a:lnTo>
                  <a:lnTo>
                    <a:pt x="576" y="810"/>
                  </a:lnTo>
                  <a:lnTo>
                    <a:pt x="576" y="816"/>
                  </a:lnTo>
                  <a:lnTo>
                    <a:pt x="588" y="816"/>
                  </a:lnTo>
                  <a:lnTo>
                    <a:pt x="594" y="816"/>
                  </a:lnTo>
                  <a:lnTo>
                    <a:pt x="600" y="822"/>
                  </a:lnTo>
                  <a:lnTo>
                    <a:pt x="606" y="816"/>
                  </a:lnTo>
                  <a:lnTo>
                    <a:pt x="612" y="816"/>
                  </a:lnTo>
                  <a:lnTo>
                    <a:pt x="612" y="810"/>
                  </a:lnTo>
                  <a:lnTo>
                    <a:pt x="624" y="810"/>
                  </a:lnTo>
                  <a:lnTo>
                    <a:pt x="624" y="804"/>
                  </a:lnTo>
                  <a:lnTo>
                    <a:pt x="630" y="798"/>
                  </a:lnTo>
                  <a:lnTo>
                    <a:pt x="636" y="798"/>
                  </a:lnTo>
                  <a:lnTo>
                    <a:pt x="636" y="804"/>
                  </a:lnTo>
                  <a:lnTo>
                    <a:pt x="642" y="804"/>
                  </a:lnTo>
                  <a:lnTo>
                    <a:pt x="648" y="804"/>
                  </a:lnTo>
                  <a:lnTo>
                    <a:pt x="654" y="804"/>
                  </a:lnTo>
                  <a:lnTo>
                    <a:pt x="660" y="804"/>
                  </a:lnTo>
                  <a:lnTo>
                    <a:pt x="678" y="798"/>
                  </a:lnTo>
                  <a:lnTo>
                    <a:pt x="714" y="786"/>
                  </a:lnTo>
                  <a:lnTo>
                    <a:pt x="714" y="792"/>
                  </a:lnTo>
                  <a:lnTo>
                    <a:pt x="714" y="798"/>
                  </a:lnTo>
                  <a:lnTo>
                    <a:pt x="714" y="804"/>
                  </a:lnTo>
                  <a:lnTo>
                    <a:pt x="720" y="804"/>
                  </a:lnTo>
                  <a:lnTo>
                    <a:pt x="720" y="810"/>
                  </a:lnTo>
                  <a:lnTo>
                    <a:pt x="720" y="816"/>
                  </a:lnTo>
                  <a:lnTo>
                    <a:pt x="726" y="822"/>
                  </a:lnTo>
                  <a:lnTo>
                    <a:pt x="732" y="828"/>
                  </a:lnTo>
                  <a:lnTo>
                    <a:pt x="732" y="834"/>
                  </a:lnTo>
                  <a:lnTo>
                    <a:pt x="732" y="846"/>
                  </a:lnTo>
                  <a:lnTo>
                    <a:pt x="732" y="858"/>
                  </a:lnTo>
                  <a:lnTo>
                    <a:pt x="738" y="858"/>
                  </a:lnTo>
                  <a:lnTo>
                    <a:pt x="732" y="864"/>
                  </a:lnTo>
                  <a:lnTo>
                    <a:pt x="732" y="870"/>
                  </a:lnTo>
                  <a:lnTo>
                    <a:pt x="726" y="870"/>
                  </a:lnTo>
                  <a:lnTo>
                    <a:pt x="726" y="876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0" y="882"/>
                  </a:lnTo>
                  <a:lnTo>
                    <a:pt x="690" y="912"/>
                  </a:lnTo>
                  <a:lnTo>
                    <a:pt x="696" y="936"/>
                  </a:lnTo>
                  <a:lnTo>
                    <a:pt x="702" y="936"/>
                  </a:lnTo>
                  <a:lnTo>
                    <a:pt x="702" y="930"/>
                  </a:lnTo>
                  <a:lnTo>
                    <a:pt x="708" y="930"/>
                  </a:lnTo>
                  <a:lnTo>
                    <a:pt x="708" y="924"/>
                  </a:lnTo>
                  <a:lnTo>
                    <a:pt x="708" y="918"/>
                  </a:lnTo>
                  <a:lnTo>
                    <a:pt x="714" y="918"/>
                  </a:lnTo>
                  <a:lnTo>
                    <a:pt x="720" y="954"/>
                  </a:lnTo>
                  <a:lnTo>
                    <a:pt x="726" y="966"/>
                  </a:lnTo>
                  <a:lnTo>
                    <a:pt x="744" y="966"/>
                  </a:lnTo>
                  <a:lnTo>
                    <a:pt x="756" y="972"/>
                  </a:lnTo>
                  <a:lnTo>
                    <a:pt x="792" y="990"/>
                  </a:lnTo>
                  <a:lnTo>
                    <a:pt x="828" y="978"/>
                  </a:lnTo>
                  <a:lnTo>
                    <a:pt x="834" y="978"/>
                  </a:lnTo>
                  <a:lnTo>
                    <a:pt x="840" y="978"/>
                  </a:lnTo>
                  <a:lnTo>
                    <a:pt x="840" y="984"/>
                  </a:lnTo>
                  <a:lnTo>
                    <a:pt x="846" y="984"/>
                  </a:lnTo>
                  <a:lnTo>
                    <a:pt x="858" y="972"/>
                  </a:lnTo>
                  <a:lnTo>
                    <a:pt x="882" y="972"/>
                  </a:lnTo>
                  <a:lnTo>
                    <a:pt x="888" y="984"/>
                  </a:lnTo>
                  <a:lnTo>
                    <a:pt x="900" y="990"/>
                  </a:lnTo>
                  <a:lnTo>
                    <a:pt x="924" y="996"/>
                  </a:lnTo>
                  <a:lnTo>
                    <a:pt x="930" y="990"/>
                  </a:lnTo>
                  <a:lnTo>
                    <a:pt x="930" y="984"/>
                  </a:lnTo>
                  <a:lnTo>
                    <a:pt x="924" y="978"/>
                  </a:lnTo>
                  <a:lnTo>
                    <a:pt x="906" y="972"/>
                  </a:lnTo>
                  <a:lnTo>
                    <a:pt x="900" y="966"/>
                  </a:lnTo>
                  <a:lnTo>
                    <a:pt x="900" y="960"/>
                  </a:lnTo>
                  <a:lnTo>
                    <a:pt x="900" y="954"/>
                  </a:lnTo>
                  <a:lnTo>
                    <a:pt x="900" y="948"/>
                  </a:lnTo>
                  <a:lnTo>
                    <a:pt x="912" y="936"/>
                  </a:lnTo>
                  <a:lnTo>
                    <a:pt x="912" y="924"/>
                  </a:lnTo>
                  <a:lnTo>
                    <a:pt x="918" y="924"/>
                  </a:lnTo>
                  <a:lnTo>
                    <a:pt x="918" y="918"/>
                  </a:lnTo>
                  <a:lnTo>
                    <a:pt x="936" y="906"/>
                  </a:lnTo>
                  <a:lnTo>
                    <a:pt x="942" y="906"/>
                  </a:lnTo>
                  <a:lnTo>
                    <a:pt x="948" y="906"/>
                  </a:lnTo>
                  <a:lnTo>
                    <a:pt x="954" y="906"/>
                  </a:lnTo>
                  <a:lnTo>
                    <a:pt x="960" y="906"/>
                  </a:lnTo>
                  <a:lnTo>
                    <a:pt x="966" y="912"/>
                  </a:lnTo>
                  <a:lnTo>
                    <a:pt x="972" y="906"/>
                  </a:lnTo>
                  <a:lnTo>
                    <a:pt x="978" y="906"/>
                  </a:lnTo>
                  <a:lnTo>
                    <a:pt x="984" y="900"/>
                  </a:lnTo>
                  <a:lnTo>
                    <a:pt x="984" y="894"/>
                  </a:lnTo>
                  <a:lnTo>
                    <a:pt x="990" y="894"/>
                  </a:lnTo>
                  <a:lnTo>
                    <a:pt x="996" y="888"/>
                  </a:lnTo>
                  <a:lnTo>
                    <a:pt x="1002" y="888"/>
                  </a:lnTo>
                  <a:lnTo>
                    <a:pt x="1008" y="882"/>
                  </a:lnTo>
                  <a:lnTo>
                    <a:pt x="1014" y="882"/>
                  </a:lnTo>
                  <a:lnTo>
                    <a:pt x="1020" y="882"/>
                  </a:lnTo>
                  <a:lnTo>
                    <a:pt x="1020" y="888"/>
                  </a:lnTo>
                  <a:lnTo>
                    <a:pt x="1026" y="882"/>
                  </a:lnTo>
                  <a:lnTo>
                    <a:pt x="1026" y="876"/>
                  </a:lnTo>
                  <a:lnTo>
                    <a:pt x="1026" y="870"/>
                  </a:lnTo>
                  <a:lnTo>
                    <a:pt x="1032" y="864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44" y="852"/>
                  </a:lnTo>
                  <a:lnTo>
                    <a:pt x="1038" y="846"/>
                  </a:lnTo>
                  <a:lnTo>
                    <a:pt x="1038" y="840"/>
                  </a:lnTo>
                  <a:lnTo>
                    <a:pt x="1032" y="840"/>
                  </a:lnTo>
                  <a:lnTo>
                    <a:pt x="1026" y="840"/>
                  </a:lnTo>
                  <a:lnTo>
                    <a:pt x="1020" y="840"/>
                  </a:lnTo>
                  <a:lnTo>
                    <a:pt x="1014" y="846"/>
                  </a:lnTo>
                  <a:lnTo>
                    <a:pt x="1008" y="846"/>
                  </a:lnTo>
                  <a:lnTo>
                    <a:pt x="1002" y="840"/>
                  </a:lnTo>
                  <a:lnTo>
                    <a:pt x="996" y="840"/>
                  </a:lnTo>
                  <a:lnTo>
                    <a:pt x="990" y="834"/>
                  </a:lnTo>
                  <a:lnTo>
                    <a:pt x="984" y="834"/>
                  </a:lnTo>
                  <a:lnTo>
                    <a:pt x="978" y="834"/>
                  </a:lnTo>
                  <a:lnTo>
                    <a:pt x="972" y="834"/>
                  </a:lnTo>
                  <a:lnTo>
                    <a:pt x="966" y="834"/>
                  </a:lnTo>
                  <a:lnTo>
                    <a:pt x="966" y="828"/>
                  </a:lnTo>
                  <a:lnTo>
                    <a:pt x="960" y="828"/>
                  </a:lnTo>
                  <a:lnTo>
                    <a:pt x="954" y="828"/>
                  </a:lnTo>
                  <a:lnTo>
                    <a:pt x="942" y="828"/>
                  </a:lnTo>
                  <a:lnTo>
                    <a:pt x="936" y="828"/>
                  </a:lnTo>
                  <a:lnTo>
                    <a:pt x="930" y="828"/>
                  </a:lnTo>
                  <a:lnTo>
                    <a:pt x="918" y="828"/>
                  </a:lnTo>
                  <a:lnTo>
                    <a:pt x="918" y="822"/>
                  </a:lnTo>
                  <a:lnTo>
                    <a:pt x="912" y="828"/>
                  </a:lnTo>
                  <a:lnTo>
                    <a:pt x="912" y="822"/>
                  </a:lnTo>
                  <a:lnTo>
                    <a:pt x="906" y="816"/>
                  </a:lnTo>
                  <a:lnTo>
                    <a:pt x="900" y="816"/>
                  </a:lnTo>
                  <a:lnTo>
                    <a:pt x="894" y="816"/>
                  </a:lnTo>
                  <a:lnTo>
                    <a:pt x="888" y="816"/>
                  </a:lnTo>
                  <a:lnTo>
                    <a:pt x="882" y="816"/>
                  </a:lnTo>
                  <a:lnTo>
                    <a:pt x="882" y="810"/>
                  </a:lnTo>
                  <a:lnTo>
                    <a:pt x="876" y="804"/>
                  </a:lnTo>
                  <a:lnTo>
                    <a:pt x="870" y="804"/>
                  </a:lnTo>
                  <a:lnTo>
                    <a:pt x="864" y="798"/>
                  </a:lnTo>
                  <a:lnTo>
                    <a:pt x="858" y="798"/>
                  </a:lnTo>
                  <a:lnTo>
                    <a:pt x="858" y="804"/>
                  </a:lnTo>
                  <a:lnTo>
                    <a:pt x="852" y="804"/>
                  </a:lnTo>
                  <a:lnTo>
                    <a:pt x="846" y="804"/>
                  </a:lnTo>
                  <a:lnTo>
                    <a:pt x="846" y="798"/>
                  </a:lnTo>
                  <a:lnTo>
                    <a:pt x="840" y="804"/>
                  </a:lnTo>
                  <a:lnTo>
                    <a:pt x="834" y="804"/>
                  </a:lnTo>
                  <a:lnTo>
                    <a:pt x="828" y="804"/>
                  </a:lnTo>
                  <a:lnTo>
                    <a:pt x="828" y="810"/>
                  </a:lnTo>
                  <a:lnTo>
                    <a:pt x="822" y="810"/>
                  </a:lnTo>
                  <a:lnTo>
                    <a:pt x="810" y="804"/>
                  </a:lnTo>
                  <a:lnTo>
                    <a:pt x="810" y="798"/>
                  </a:lnTo>
                  <a:lnTo>
                    <a:pt x="780" y="798"/>
                  </a:lnTo>
                  <a:lnTo>
                    <a:pt x="756" y="774"/>
                  </a:lnTo>
                  <a:lnTo>
                    <a:pt x="750" y="768"/>
                  </a:lnTo>
                  <a:lnTo>
                    <a:pt x="750" y="744"/>
                  </a:lnTo>
                  <a:lnTo>
                    <a:pt x="732" y="738"/>
                  </a:lnTo>
                  <a:lnTo>
                    <a:pt x="732" y="720"/>
                  </a:lnTo>
                  <a:lnTo>
                    <a:pt x="714" y="690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6" y="666"/>
                  </a:lnTo>
                  <a:lnTo>
                    <a:pt x="690" y="666"/>
                  </a:lnTo>
                  <a:lnTo>
                    <a:pt x="678" y="672"/>
                  </a:lnTo>
                  <a:lnTo>
                    <a:pt x="678" y="654"/>
                  </a:lnTo>
                  <a:lnTo>
                    <a:pt x="684" y="630"/>
                  </a:lnTo>
                  <a:lnTo>
                    <a:pt x="690" y="618"/>
                  </a:lnTo>
                  <a:lnTo>
                    <a:pt x="696" y="612"/>
                  </a:lnTo>
                  <a:lnTo>
                    <a:pt x="696" y="588"/>
                  </a:lnTo>
                  <a:lnTo>
                    <a:pt x="690" y="576"/>
                  </a:lnTo>
                  <a:lnTo>
                    <a:pt x="696" y="552"/>
                  </a:lnTo>
                  <a:lnTo>
                    <a:pt x="684" y="522"/>
                  </a:lnTo>
                  <a:lnTo>
                    <a:pt x="672" y="504"/>
                  </a:lnTo>
                  <a:lnTo>
                    <a:pt x="654" y="504"/>
                  </a:lnTo>
                  <a:lnTo>
                    <a:pt x="642" y="504"/>
                  </a:lnTo>
                  <a:lnTo>
                    <a:pt x="624" y="510"/>
                  </a:lnTo>
                  <a:lnTo>
                    <a:pt x="612" y="516"/>
                  </a:lnTo>
                  <a:lnTo>
                    <a:pt x="594" y="516"/>
                  </a:lnTo>
                  <a:lnTo>
                    <a:pt x="588" y="516"/>
                  </a:lnTo>
                  <a:lnTo>
                    <a:pt x="588" y="522"/>
                  </a:lnTo>
                  <a:lnTo>
                    <a:pt x="582" y="516"/>
                  </a:lnTo>
                  <a:lnTo>
                    <a:pt x="588" y="510"/>
                  </a:lnTo>
                  <a:lnTo>
                    <a:pt x="582" y="510"/>
                  </a:lnTo>
                  <a:lnTo>
                    <a:pt x="582" y="504"/>
                  </a:lnTo>
                  <a:lnTo>
                    <a:pt x="576" y="498"/>
                  </a:lnTo>
                  <a:lnTo>
                    <a:pt x="570" y="498"/>
                  </a:lnTo>
                  <a:lnTo>
                    <a:pt x="570" y="492"/>
                  </a:lnTo>
                  <a:lnTo>
                    <a:pt x="564" y="492"/>
                  </a:lnTo>
                  <a:lnTo>
                    <a:pt x="570" y="486"/>
                  </a:lnTo>
                  <a:lnTo>
                    <a:pt x="564" y="486"/>
                  </a:lnTo>
                  <a:lnTo>
                    <a:pt x="564" y="480"/>
                  </a:lnTo>
                  <a:lnTo>
                    <a:pt x="564" y="474"/>
                  </a:lnTo>
                  <a:lnTo>
                    <a:pt x="558" y="468"/>
                  </a:lnTo>
                  <a:lnTo>
                    <a:pt x="564" y="468"/>
                  </a:lnTo>
                  <a:lnTo>
                    <a:pt x="564" y="462"/>
                  </a:lnTo>
                  <a:lnTo>
                    <a:pt x="570" y="462"/>
                  </a:lnTo>
                  <a:lnTo>
                    <a:pt x="570" y="456"/>
                  </a:lnTo>
                  <a:lnTo>
                    <a:pt x="570" y="450"/>
                  </a:lnTo>
                  <a:lnTo>
                    <a:pt x="576" y="450"/>
                  </a:lnTo>
                  <a:lnTo>
                    <a:pt x="576" y="444"/>
                  </a:lnTo>
                  <a:lnTo>
                    <a:pt x="582" y="438"/>
                  </a:lnTo>
                  <a:lnTo>
                    <a:pt x="588" y="438"/>
                  </a:lnTo>
                  <a:lnTo>
                    <a:pt x="588" y="444"/>
                  </a:lnTo>
                  <a:lnTo>
                    <a:pt x="594" y="438"/>
                  </a:lnTo>
                  <a:lnTo>
                    <a:pt x="594" y="432"/>
                  </a:lnTo>
                  <a:lnTo>
                    <a:pt x="600" y="432"/>
                  </a:lnTo>
                  <a:lnTo>
                    <a:pt x="600" y="426"/>
                  </a:lnTo>
                  <a:lnTo>
                    <a:pt x="600" y="420"/>
                  </a:lnTo>
                  <a:lnTo>
                    <a:pt x="606" y="420"/>
                  </a:lnTo>
                  <a:lnTo>
                    <a:pt x="600" y="420"/>
                  </a:lnTo>
                  <a:lnTo>
                    <a:pt x="600" y="414"/>
                  </a:lnTo>
                  <a:lnTo>
                    <a:pt x="606" y="408"/>
                  </a:lnTo>
                  <a:lnTo>
                    <a:pt x="612" y="408"/>
                  </a:lnTo>
                  <a:lnTo>
                    <a:pt x="612" y="414"/>
                  </a:lnTo>
                  <a:lnTo>
                    <a:pt x="618" y="414"/>
                  </a:lnTo>
                  <a:lnTo>
                    <a:pt x="624" y="414"/>
                  </a:lnTo>
                  <a:lnTo>
                    <a:pt x="630" y="414"/>
                  </a:lnTo>
                  <a:lnTo>
                    <a:pt x="636" y="414"/>
                  </a:lnTo>
                  <a:lnTo>
                    <a:pt x="642" y="408"/>
                  </a:lnTo>
                  <a:lnTo>
                    <a:pt x="648" y="408"/>
                  </a:lnTo>
                  <a:lnTo>
                    <a:pt x="660" y="408"/>
                  </a:lnTo>
                  <a:lnTo>
                    <a:pt x="666" y="402"/>
                  </a:lnTo>
                  <a:lnTo>
                    <a:pt x="672" y="402"/>
                  </a:lnTo>
                  <a:lnTo>
                    <a:pt x="684" y="396"/>
                  </a:lnTo>
                  <a:lnTo>
                    <a:pt x="690" y="396"/>
                  </a:lnTo>
                  <a:lnTo>
                    <a:pt x="696" y="396"/>
                  </a:lnTo>
                  <a:lnTo>
                    <a:pt x="702" y="396"/>
                  </a:lnTo>
                  <a:lnTo>
                    <a:pt x="708" y="396"/>
                  </a:lnTo>
                  <a:lnTo>
                    <a:pt x="714" y="390"/>
                  </a:lnTo>
                  <a:lnTo>
                    <a:pt x="714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32" y="384"/>
                  </a:lnTo>
                  <a:lnTo>
                    <a:pt x="738" y="378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56" y="372"/>
                  </a:lnTo>
                  <a:lnTo>
                    <a:pt x="762" y="366"/>
                  </a:lnTo>
                  <a:lnTo>
                    <a:pt x="768" y="366"/>
                  </a:lnTo>
                  <a:lnTo>
                    <a:pt x="774" y="366"/>
                  </a:lnTo>
                  <a:lnTo>
                    <a:pt x="774" y="360"/>
                  </a:lnTo>
                  <a:lnTo>
                    <a:pt x="780" y="366"/>
                  </a:lnTo>
                  <a:lnTo>
                    <a:pt x="786" y="366"/>
                  </a:lnTo>
                  <a:lnTo>
                    <a:pt x="786" y="360"/>
                  </a:lnTo>
                  <a:lnTo>
                    <a:pt x="792" y="354"/>
                  </a:lnTo>
                  <a:lnTo>
                    <a:pt x="786" y="354"/>
                  </a:lnTo>
                  <a:lnTo>
                    <a:pt x="792" y="348"/>
                  </a:lnTo>
                  <a:lnTo>
                    <a:pt x="798" y="348"/>
                  </a:lnTo>
                  <a:lnTo>
                    <a:pt x="804" y="348"/>
                  </a:lnTo>
                  <a:lnTo>
                    <a:pt x="810" y="342"/>
                  </a:lnTo>
                  <a:lnTo>
                    <a:pt x="816" y="342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28" y="336"/>
                  </a:lnTo>
                  <a:lnTo>
                    <a:pt x="834" y="336"/>
                  </a:lnTo>
                  <a:lnTo>
                    <a:pt x="840" y="336"/>
                  </a:lnTo>
                  <a:lnTo>
                    <a:pt x="846" y="330"/>
                  </a:lnTo>
                  <a:lnTo>
                    <a:pt x="852" y="330"/>
                  </a:lnTo>
                  <a:lnTo>
                    <a:pt x="858" y="330"/>
                  </a:lnTo>
                  <a:lnTo>
                    <a:pt x="864" y="324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0" y="312"/>
                  </a:lnTo>
                  <a:lnTo>
                    <a:pt x="876" y="312"/>
                  </a:lnTo>
                  <a:lnTo>
                    <a:pt x="882" y="312"/>
                  </a:lnTo>
                  <a:lnTo>
                    <a:pt x="882" y="318"/>
                  </a:lnTo>
                  <a:lnTo>
                    <a:pt x="888" y="312"/>
                  </a:lnTo>
                  <a:lnTo>
                    <a:pt x="894" y="306"/>
                  </a:lnTo>
                  <a:lnTo>
                    <a:pt x="900" y="306"/>
                  </a:lnTo>
                  <a:lnTo>
                    <a:pt x="906" y="306"/>
                  </a:lnTo>
                  <a:lnTo>
                    <a:pt x="912" y="300"/>
                  </a:lnTo>
                  <a:lnTo>
                    <a:pt x="906" y="294"/>
                  </a:lnTo>
                  <a:lnTo>
                    <a:pt x="912" y="276"/>
                  </a:lnTo>
                  <a:lnTo>
                    <a:pt x="912" y="252"/>
                  </a:lnTo>
                  <a:lnTo>
                    <a:pt x="906" y="234"/>
                  </a:lnTo>
                  <a:lnTo>
                    <a:pt x="912" y="228"/>
                  </a:lnTo>
                  <a:lnTo>
                    <a:pt x="912" y="216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24" y="192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36" y="186"/>
                  </a:lnTo>
                  <a:lnTo>
                    <a:pt x="930" y="180"/>
                  </a:lnTo>
                  <a:lnTo>
                    <a:pt x="930" y="174"/>
                  </a:lnTo>
                  <a:lnTo>
                    <a:pt x="936" y="156"/>
                  </a:lnTo>
                  <a:lnTo>
                    <a:pt x="930" y="156"/>
                  </a:lnTo>
                  <a:lnTo>
                    <a:pt x="924" y="150"/>
                  </a:lnTo>
                  <a:lnTo>
                    <a:pt x="942" y="78"/>
                  </a:lnTo>
                  <a:lnTo>
                    <a:pt x="948" y="78"/>
                  </a:lnTo>
                  <a:lnTo>
                    <a:pt x="954" y="66"/>
                  </a:lnTo>
                  <a:lnTo>
                    <a:pt x="954" y="72"/>
                  </a:lnTo>
                  <a:lnTo>
                    <a:pt x="954" y="66"/>
                  </a:lnTo>
                  <a:lnTo>
                    <a:pt x="960" y="66"/>
                  </a:lnTo>
                  <a:lnTo>
                    <a:pt x="966" y="66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54"/>
                  </a:lnTo>
                  <a:lnTo>
                    <a:pt x="990" y="54"/>
                  </a:lnTo>
                  <a:lnTo>
                    <a:pt x="996" y="48"/>
                  </a:lnTo>
                  <a:lnTo>
                    <a:pt x="1002" y="48"/>
                  </a:lnTo>
                  <a:lnTo>
                    <a:pt x="1032" y="48"/>
                  </a:lnTo>
                  <a:lnTo>
                    <a:pt x="1062" y="48"/>
                  </a:lnTo>
                  <a:lnTo>
                    <a:pt x="1068" y="78"/>
                  </a:lnTo>
                  <a:lnTo>
                    <a:pt x="1086" y="78"/>
                  </a:lnTo>
                  <a:lnTo>
                    <a:pt x="1092" y="66"/>
                  </a:lnTo>
                  <a:lnTo>
                    <a:pt x="1092" y="60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8" y="48"/>
                  </a:lnTo>
                  <a:lnTo>
                    <a:pt x="1104" y="48"/>
                  </a:lnTo>
                  <a:lnTo>
                    <a:pt x="1110" y="48"/>
                  </a:lnTo>
                  <a:lnTo>
                    <a:pt x="1110" y="42"/>
                  </a:lnTo>
                  <a:lnTo>
                    <a:pt x="1110" y="36"/>
                  </a:lnTo>
                  <a:lnTo>
                    <a:pt x="1116" y="36"/>
                  </a:lnTo>
                  <a:lnTo>
                    <a:pt x="1116" y="30"/>
                  </a:lnTo>
                  <a:lnTo>
                    <a:pt x="1122" y="30"/>
                  </a:lnTo>
                  <a:lnTo>
                    <a:pt x="1128" y="30"/>
                  </a:lnTo>
                  <a:lnTo>
                    <a:pt x="1134" y="30"/>
                  </a:lnTo>
                  <a:lnTo>
                    <a:pt x="1140" y="24"/>
                  </a:lnTo>
                  <a:lnTo>
                    <a:pt x="1152" y="18"/>
                  </a:lnTo>
                  <a:lnTo>
                    <a:pt x="1158" y="18"/>
                  </a:lnTo>
                  <a:lnTo>
                    <a:pt x="1152" y="12"/>
                  </a:lnTo>
                  <a:lnTo>
                    <a:pt x="1152" y="6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8"/>
                  </a:lnTo>
                  <a:lnTo>
                    <a:pt x="1170" y="12"/>
                  </a:lnTo>
                  <a:lnTo>
                    <a:pt x="1170" y="6"/>
                  </a:lnTo>
                  <a:lnTo>
                    <a:pt x="1176" y="6"/>
                  </a:lnTo>
                  <a:lnTo>
                    <a:pt x="1176" y="0"/>
                  </a:lnTo>
                  <a:lnTo>
                    <a:pt x="1182" y="6"/>
                  </a:lnTo>
                  <a:lnTo>
                    <a:pt x="1188" y="6"/>
                  </a:lnTo>
                  <a:lnTo>
                    <a:pt x="1188" y="0"/>
                  </a:lnTo>
                  <a:lnTo>
                    <a:pt x="1194" y="6"/>
                  </a:lnTo>
                  <a:lnTo>
                    <a:pt x="1200" y="12"/>
                  </a:lnTo>
                  <a:lnTo>
                    <a:pt x="1206" y="18"/>
                  </a:lnTo>
                  <a:lnTo>
                    <a:pt x="1212" y="18"/>
                  </a:lnTo>
                  <a:lnTo>
                    <a:pt x="1218" y="24"/>
                  </a:lnTo>
                  <a:lnTo>
                    <a:pt x="1236" y="36"/>
                  </a:lnTo>
                  <a:lnTo>
                    <a:pt x="1242" y="36"/>
                  </a:lnTo>
                  <a:lnTo>
                    <a:pt x="1248" y="42"/>
                  </a:lnTo>
                  <a:lnTo>
                    <a:pt x="1248" y="48"/>
                  </a:lnTo>
                  <a:lnTo>
                    <a:pt x="1260" y="48"/>
                  </a:lnTo>
                  <a:lnTo>
                    <a:pt x="1260" y="108"/>
                  </a:lnTo>
                  <a:lnTo>
                    <a:pt x="1266" y="168"/>
                  </a:lnTo>
                  <a:lnTo>
                    <a:pt x="1278" y="234"/>
                  </a:lnTo>
                  <a:lnTo>
                    <a:pt x="1284" y="240"/>
                  </a:lnTo>
                  <a:lnTo>
                    <a:pt x="1290" y="264"/>
                  </a:lnTo>
                  <a:lnTo>
                    <a:pt x="1296" y="288"/>
                  </a:lnTo>
                  <a:lnTo>
                    <a:pt x="1296" y="300"/>
                  </a:lnTo>
                  <a:lnTo>
                    <a:pt x="1296" y="312"/>
                  </a:lnTo>
                  <a:lnTo>
                    <a:pt x="1296" y="324"/>
                  </a:lnTo>
                  <a:lnTo>
                    <a:pt x="1296" y="354"/>
                  </a:lnTo>
                  <a:lnTo>
                    <a:pt x="1302" y="366"/>
                  </a:lnTo>
                  <a:lnTo>
                    <a:pt x="1308" y="372"/>
                  </a:lnTo>
                  <a:lnTo>
                    <a:pt x="1308" y="384"/>
                  </a:lnTo>
                  <a:lnTo>
                    <a:pt x="1314" y="390"/>
                  </a:lnTo>
                  <a:lnTo>
                    <a:pt x="1308" y="408"/>
                  </a:lnTo>
                  <a:lnTo>
                    <a:pt x="1314" y="408"/>
                  </a:lnTo>
                  <a:lnTo>
                    <a:pt x="1314" y="414"/>
                  </a:lnTo>
                  <a:lnTo>
                    <a:pt x="1308" y="420"/>
                  </a:lnTo>
                  <a:lnTo>
                    <a:pt x="1308" y="432"/>
                  </a:lnTo>
                  <a:lnTo>
                    <a:pt x="1320" y="432"/>
                  </a:lnTo>
                  <a:lnTo>
                    <a:pt x="1320" y="444"/>
                  </a:lnTo>
                  <a:lnTo>
                    <a:pt x="1332" y="444"/>
                  </a:lnTo>
                  <a:lnTo>
                    <a:pt x="1338" y="450"/>
                  </a:lnTo>
                  <a:lnTo>
                    <a:pt x="1344" y="456"/>
                  </a:lnTo>
                  <a:lnTo>
                    <a:pt x="1344" y="462"/>
                  </a:lnTo>
                  <a:lnTo>
                    <a:pt x="1344" y="474"/>
                  </a:lnTo>
                  <a:lnTo>
                    <a:pt x="1350" y="474"/>
                  </a:lnTo>
                  <a:lnTo>
                    <a:pt x="1368" y="504"/>
                  </a:lnTo>
                  <a:lnTo>
                    <a:pt x="1374" y="534"/>
                  </a:lnTo>
                  <a:lnTo>
                    <a:pt x="1380" y="558"/>
                  </a:lnTo>
                  <a:lnTo>
                    <a:pt x="1386" y="576"/>
                  </a:lnTo>
                  <a:lnTo>
                    <a:pt x="1386" y="600"/>
                  </a:lnTo>
                  <a:lnTo>
                    <a:pt x="1386" y="624"/>
                  </a:lnTo>
                  <a:lnTo>
                    <a:pt x="1386" y="648"/>
                  </a:lnTo>
                  <a:lnTo>
                    <a:pt x="1386" y="684"/>
                  </a:lnTo>
                  <a:lnTo>
                    <a:pt x="1380" y="684"/>
                  </a:lnTo>
                  <a:lnTo>
                    <a:pt x="1374" y="696"/>
                  </a:lnTo>
                  <a:lnTo>
                    <a:pt x="1368" y="702"/>
                  </a:lnTo>
                  <a:lnTo>
                    <a:pt x="1362" y="708"/>
                  </a:lnTo>
                  <a:lnTo>
                    <a:pt x="1356" y="714"/>
                  </a:lnTo>
                  <a:lnTo>
                    <a:pt x="1350" y="720"/>
                  </a:lnTo>
                  <a:lnTo>
                    <a:pt x="1338" y="720"/>
                  </a:lnTo>
                  <a:lnTo>
                    <a:pt x="1338" y="738"/>
                  </a:lnTo>
                  <a:lnTo>
                    <a:pt x="1362" y="750"/>
                  </a:lnTo>
                  <a:lnTo>
                    <a:pt x="1362" y="756"/>
                  </a:lnTo>
                  <a:lnTo>
                    <a:pt x="1374" y="756"/>
                  </a:lnTo>
                  <a:lnTo>
                    <a:pt x="1410" y="774"/>
                  </a:lnTo>
                  <a:lnTo>
                    <a:pt x="1446" y="774"/>
                  </a:lnTo>
                  <a:lnTo>
                    <a:pt x="1482" y="768"/>
                  </a:lnTo>
                  <a:lnTo>
                    <a:pt x="1500" y="774"/>
                  </a:lnTo>
                  <a:lnTo>
                    <a:pt x="1512" y="78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6" name="Freeform 11">
              <a:extLst>
                <a:ext uri="{FF2B5EF4-FFF2-40B4-BE49-F238E27FC236}">
                  <a16:creationId xmlns:a16="http://schemas.microsoft.com/office/drawing/2014/main" id="{1FF8E66F-B850-456A-B132-C45FEEDE95C6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2475" y="2345643"/>
              <a:ext cx="445003" cy="603855"/>
            </a:xfrm>
            <a:custGeom>
              <a:avLst/>
              <a:gdLst>
                <a:gd name="T0" fmla="*/ 47 w 840"/>
                <a:gd name="T1" fmla="*/ 98 h 1134"/>
                <a:gd name="T2" fmla="*/ 41 w 840"/>
                <a:gd name="T3" fmla="*/ 98 h 1134"/>
                <a:gd name="T4" fmla="*/ 37 w 840"/>
                <a:gd name="T5" fmla="*/ 98 h 1134"/>
                <a:gd name="T6" fmla="*/ 29 w 840"/>
                <a:gd name="T7" fmla="*/ 97 h 1134"/>
                <a:gd name="T8" fmla="*/ 27 w 840"/>
                <a:gd name="T9" fmla="*/ 94 h 1134"/>
                <a:gd name="T10" fmla="*/ 26 w 840"/>
                <a:gd name="T11" fmla="*/ 93 h 1134"/>
                <a:gd name="T12" fmla="*/ 26 w 840"/>
                <a:gd name="T13" fmla="*/ 83 h 1134"/>
                <a:gd name="T14" fmla="*/ 26 w 840"/>
                <a:gd name="T15" fmla="*/ 81 h 1134"/>
                <a:gd name="T16" fmla="*/ 23 w 840"/>
                <a:gd name="T17" fmla="*/ 77 h 1134"/>
                <a:gd name="T18" fmla="*/ 19 w 840"/>
                <a:gd name="T19" fmla="*/ 75 h 1134"/>
                <a:gd name="T20" fmla="*/ 16 w 840"/>
                <a:gd name="T21" fmla="*/ 72 h 1134"/>
                <a:gd name="T22" fmla="*/ 13 w 840"/>
                <a:gd name="T23" fmla="*/ 70 h 1134"/>
                <a:gd name="T24" fmla="*/ 17 w 840"/>
                <a:gd name="T25" fmla="*/ 67 h 1134"/>
                <a:gd name="T26" fmla="*/ 19 w 840"/>
                <a:gd name="T27" fmla="*/ 63 h 1134"/>
                <a:gd name="T28" fmla="*/ 20 w 840"/>
                <a:gd name="T29" fmla="*/ 59 h 1134"/>
                <a:gd name="T30" fmla="*/ 19 w 840"/>
                <a:gd name="T31" fmla="*/ 55 h 1134"/>
                <a:gd name="T32" fmla="*/ 17 w 840"/>
                <a:gd name="T33" fmla="*/ 47 h 1134"/>
                <a:gd name="T34" fmla="*/ 8 w 840"/>
                <a:gd name="T35" fmla="*/ 45 h 1134"/>
                <a:gd name="T36" fmla="*/ 4 w 840"/>
                <a:gd name="T37" fmla="*/ 39 h 1134"/>
                <a:gd name="T38" fmla="*/ 2 w 840"/>
                <a:gd name="T39" fmla="*/ 35 h 1134"/>
                <a:gd name="T40" fmla="*/ 0 w 840"/>
                <a:gd name="T41" fmla="*/ 31 h 1134"/>
                <a:gd name="T42" fmla="*/ 2 w 840"/>
                <a:gd name="T43" fmla="*/ 27 h 1134"/>
                <a:gd name="T44" fmla="*/ 5 w 840"/>
                <a:gd name="T45" fmla="*/ 24 h 1134"/>
                <a:gd name="T46" fmla="*/ 10 w 840"/>
                <a:gd name="T47" fmla="*/ 26 h 1134"/>
                <a:gd name="T48" fmla="*/ 7 w 840"/>
                <a:gd name="T49" fmla="*/ 20 h 1134"/>
                <a:gd name="T50" fmla="*/ 12 w 840"/>
                <a:gd name="T51" fmla="*/ 12 h 1134"/>
                <a:gd name="T52" fmla="*/ 19 w 840"/>
                <a:gd name="T53" fmla="*/ 10 h 1134"/>
                <a:gd name="T54" fmla="*/ 20 w 840"/>
                <a:gd name="T55" fmla="*/ 13 h 1134"/>
                <a:gd name="T56" fmla="*/ 22 w 840"/>
                <a:gd name="T57" fmla="*/ 11 h 1134"/>
                <a:gd name="T58" fmla="*/ 25 w 840"/>
                <a:gd name="T59" fmla="*/ 7 h 1134"/>
                <a:gd name="T60" fmla="*/ 29 w 840"/>
                <a:gd name="T61" fmla="*/ 2 h 1134"/>
                <a:gd name="T62" fmla="*/ 33 w 840"/>
                <a:gd name="T63" fmla="*/ 1 h 1134"/>
                <a:gd name="T64" fmla="*/ 37 w 840"/>
                <a:gd name="T65" fmla="*/ 2 h 1134"/>
                <a:gd name="T66" fmla="*/ 39 w 840"/>
                <a:gd name="T67" fmla="*/ 4 h 1134"/>
                <a:gd name="T68" fmla="*/ 43 w 840"/>
                <a:gd name="T69" fmla="*/ 5 h 1134"/>
                <a:gd name="T70" fmla="*/ 46 w 840"/>
                <a:gd name="T71" fmla="*/ 11 h 1134"/>
                <a:gd name="T72" fmla="*/ 49 w 840"/>
                <a:gd name="T73" fmla="*/ 12 h 1134"/>
                <a:gd name="T74" fmla="*/ 52 w 840"/>
                <a:gd name="T75" fmla="*/ 15 h 1134"/>
                <a:gd name="T76" fmla="*/ 54 w 840"/>
                <a:gd name="T77" fmla="*/ 18 h 1134"/>
                <a:gd name="T78" fmla="*/ 55 w 840"/>
                <a:gd name="T79" fmla="*/ 22 h 1134"/>
                <a:gd name="T80" fmla="*/ 56 w 840"/>
                <a:gd name="T81" fmla="*/ 26 h 1134"/>
                <a:gd name="T82" fmla="*/ 55 w 840"/>
                <a:gd name="T83" fmla="*/ 32 h 1134"/>
                <a:gd name="T84" fmla="*/ 55 w 840"/>
                <a:gd name="T85" fmla="*/ 36 h 1134"/>
                <a:gd name="T86" fmla="*/ 54 w 840"/>
                <a:gd name="T87" fmla="*/ 39 h 1134"/>
                <a:gd name="T88" fmla="*/ 56 w 840"/>
                <a:gd name="T89" fmla="*/ 39 h 1134"/>
                <a:gd name="T90" fmla="*/ 58 w 840"/>
                <a:gd name="T91" fmla="*/ 39 h 1134"/>
                <a:gd name="T92" fmla="*/ 61 w 840"/>
                <a:gd name="T93" fmla="*/ 39 h 1134"/>
                <a:gd name="T94" fmla="*/ 60 w 840"/>
                <a:gd name="T95" fmla="*/ 49 h 1134"/>
                <a:gd name="T96" fmla="*/ 59 w 840"/>
                <a:gd name="T97" fmla="*/ 53 h 1134"/>
                <a:gd name="T98" fmla="*/ 59 w 840"/>
                <a:gd name="T99" fmla="*/ 56 h 1134"/>
                <a:gd name="T100" fmla="*/ 60 w 840"/>
                <a:gd name="T101" fmla="*/ 59 h 1134"/>
                <a:gd name="T102" fmla="*/ 64 w 840"/>
                <a:gd name="T103" fmla="*/ 61 h 1134"/>
                <a:gd name="T104" fmla="*/ 69 w 840"/>
                <a:gd name="T105" fmla="*/ 63 h 1134"/>
                <a:gd name="T106" fmla="*/ 72 w 840"/>
                <a:gd name="T107" fmla="*/ 69 h 1134"/>
                <a:gd name="T108" fmla="*/ 72 w 840"/>
                <a:gd name="T109" fmla="*/ 73 h 1134"/>
                <a:gd name="T110" fmla="*/ 72 w 840"/>
                <a:gd name="T111" fmla="*/ 83 h 1134"/>
                <a:gd name="T112" fmla="*/ 63 w 840"/>
                <a:gd name="T113" fmla="*/ 88 h 1134"/>
                <a:gd name="T114" fmla="*/ 52 w 840"/>
                <a:gd name="T115" fmla="*/ 95 h 11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40"/>
                <a:gd name="T175" fmla="*/ 0 h 1134"/>
                <a:gd name="T176" fmla="*/ 840 w 840"/>
                <a:gd name="T177" fmla="*/ 1134 h 11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40" h="1134">
                  <a:moveTo>
                    <a:pt x="564" y="1110"/>
                  </a:moveTo>
                  <a:lnTo>
                    <a:pt x="564" y="1104"/>
                  </a:lnTo>
                  <a:lnTo>
                    <a:pt x="558" y="1104"/>
                  </a:lnTo>
                  <a:lnTo>
                    <a:pt x="552" y="1110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28" y="1128"/>
                  </a:lnTo>
                  <a:lnTo>
                    <a:pt x="498" y="1128"/>
                  </a:lnTo>
                  <a:lnTo>
                    <a:pt x="492" y="1128"/>
                  </a:lnTo>
                  <a:lnTo>
                    <a:pt x="486" y="1128"/>
                  </a:lnTo>
                  <a:lnTo>
                    <a:pt x="480" y="1128"/>
                  </a:lnTo>
                  <a:lnTo>
                    <a:pt x="474" y="1134"/>
                  </a:lnTo>
                  <a:lnTo>
                    <a:pt x="468" y="1134"/>
                  </a:lnTo>
                  <a:lnTo>
                    <a:pt x="462" y="1134"/>
                  </a:lnTo>
                  <a:lnTo>
                    <a:pt x="456" y="1134"/>
                  </a:lnTo>
                  <a:lnTo>
                    <a:pt x="456" y="1128"/>
                  </a:lnTo>
                  <a:lnTo>
                    <a:pt x="450" y="1122"/>
                  </a:lnTo>
                  <a:lnTo>
                    <a:pt x="426" y="1128"/>
                  </a:lnTo>
                  <a:lnTo>
                    <a:pt x="414" y="1128"/>
                  </a:lnTo>
                  <a:lnTo>
                    <a:pt x="348" y="1134"/>
                  </a:lnTo>
                  <a:lnTo>
                    <a:pt x="348" y="1128"/>
                  </a:lnTo>
                  <a:lnTo>
                    <a:pt x="342" y="1128"/>
                  </a:lnTo>
                  <a:lnTo>
                    <a:pt x="336" y="1122"/>
                  </a:lnTo>
                  <a:lnTo>
                    <a:pt x="330" y="1122"/>
                  </a:lnTo>
                  <a:lnTo>
                    <a:pt x="324" y="1116"/>
                  </a:lnTo>
                  <a:lnTo>
                    <a:pt x="324" y="1110"/>
                  </a:lnTo>
                  <a:lnTo>
                    <a:pt x="318" y="1110"/>
                  </a:lnTo>
                  <a:lnTo>
                    <a:pt x="318" y="1104"/>
                  </a:lnTo>
                  <a:lnTo>
                    <a:pt x="312" y="1092"/>
                  </a:lnTo>
                  <a:lnTo>
                    <a:pt x="306" y="1086"/>
                  </a:lnTo>
                  <a:lnTo>
                    <a:pt x="306" y="1080"/>
                  </a:lnTo>
                  <a:lnTo>
                    <a:pt x="312" y="1074"/>
                  </a:lnTo>
                  <a:lnTo>
                    <a:pt x="306" y="1068"/>
                  </a:lnTo>
                  <a:lnTo>
                    <a:pt x="300" y="1074"/>
                  </a:lnTo>
                  <a:lnTo>
                    <a:pt x="300" y="1068"/>
                  </a:lnTo>
                  <a:lnTo>
                    <a:pt x="294" y="1068"/>
                  </a:lnTo>
                  <a:lnTo>
                    <a:pt x="294" y="1056"/>
                  </a:lnTo>
                  <a:lnTo>
                    <a:pt x="294" y="1026"/>
                  </a:lnTo>
                  <a:lnTo>
                    <a:pt x="294" y="1020"/>
                  </a:lnTo>
                  <a:lnTo>
                    <a:pt x="294" y="1008"/>
                  </a:lnTo>
                  <a:lnTo>
                    <a:pt x="294" y="966"/>
                  </a:lnTo>
                  <a:lnTo>
                    <a:pt x="294" y="960"/>
                  </a:lnTo>
                  <a:lnTo>
                    <a:pt x="294" y="954"/>
                  </a:lnTo>
                  <a:lnTo>
                    <a:pt x="294" y="948"/>
                  </a:lnTo>
                  <a:lnTo>
                    <a:pt x="294" y="942"/>
                  </a:lnTo>
                  <a:lnTo>
                    <a:pt x="300" y="936"/>
                  </a:lnTo>
                  <a:lnTo>
                    <a:pt x="300" y="930"/>
                  </a:lnTo>
                  <a:lnTo>
                    <a:pt x="294" y="930"/>
                  </a:lnTo>
                  <a:lnTo>
                    <a:pt x="288" y="930"/>
                  </a:lnTo>
                  <a:lnTo>
                    <a:pt x="288" y="924"/>
                  </a:lnTo>
                  <a:lnTo>
                    <a:pt x="282" y="918"/>
                  </a:lnTo>
                  <a:lnTo>
                    <a:pt x="282" y="906"/>
                  </a:lnTo>
                  <a:lnTo>
                    <a:pt x="282" y="900"/>
                  </a:lnTo>
                  <a:lnTo>
                    <a:pt x="264" y="894"/>
                  </a:lnTo>
                  <a:lnTo>
                    <a:pt x="252" y="882"/>
                  </a:lnTo>
                  <a:lnTo>
                    <a:pt x="246" y="876"/>
                  </a:lnTo>
                  <a:lnTo>
                    <a:pt x="240" y="876"/>
                  </a:lnTo>
                  <a:lnTo>
                    <a:pt x="240" y="870"/>
                  </a:lnTo>
                  <a:lnTo>
                    <a:pt x="234" y="870"/>
                  </a:lnTo>
                  <a:lnTo>
                    <a:pt x="222" y="864"/>
                  </a:lnTo>
                  <a:lnTo>
                    <a:pt x="216" y="864"/>
                  </a:lnTo>
                  <a:lnTo>
                    <a:pt x="210" y="858"/>
                  </a:lnTo>
                  <a:lnTo>
                    <a:pt x="210" y="852"/>
                  </a:lnTo>
                  <a:lnTo>
                    <a:pt x="210" y="846"/>
                  </a:lnTo>
                  <a:lnTo>
                    <a:pt x="198" y="840"/>
                  </a:lnTo>
                  <a:lnTo>
                    <a:pt x="186" y="834"/>
                  </a:lnTo>
                  <a:lnTo>
                    <a:pt x="180" y="828"/>
                  </a:lnTo>
                  <a:lnTo>
                    <a:pt x="180" y="822"/>
                  </a:lnTo>
                  <a:lnTo>
                    <a:pt x="174" y="822"/>
                  </a:lnTo>
                  <a:lnTo>
                    <a:pt x="162" y="816"/>
                  </a:lnTo>
                  <a:lnTo>
                    <a:pt x="156" y="810"/>
                  </a:lnTo>
                  <a:lnTo>
                    <a:pt x="150" y="810"/>
                  </a:lnTo>
                  <a:lnTo>
                    <a:pt x="144" y="798"/>
                  </a:lnTo>
                  <a:lnTo>
                    <a:pt x="138" y="786"/>
                  </a:lnTo>
                  <a:lnTo>
                    <a:pt x="138" y="780"/>
                  </a:lnTo>
                  <a:lnTo>
                    <a:pt x="144" y="774"/>
                  </a:lnTo>
                  <a:lnTo>
                    <a:pt x="150" y="768"/>
                  </a:lnTo>
                  <a:lnTo>
                    <a:pt x="192" y="768"/>
                  </a:lnTo>
                  <a:lnTo>
                    <a:pt x="210" y="762"/>
                  </a:lnTo>
                  <a:lnTo>
                    <a:pt x="216" y="756"/>
                  </a:lnTo>
                  <a:lnTo>
                    <a:pt x="216" y="744"/>
                  </a:lnTo>
                  <a:lnTo>
                    <a:pt x="216" y="738"/>
                  </a:lnTo>
                  <a:lnTo>
                    <a:pt x="216" y="732"/>
                  </a:lnTo>
                  <a:lnTo>
                    <a:pt x="216" y="726"/>
                  </a:lnTo>
                  <a:lnTo>
                    <a:pt x="216" y="720"/>
                  </a:lnTo>
                  <a:lnTo>
                    <a:pt x="228" y="702"/>
                  </a:lnTo>
                  <a:lnTo>
                    <a:pt x="234" y="696"/>
                  </a:lnTo>
                  <a:lnTo>
                    <a:pt x="240" y="690"/>
                  </a:lnTo>
                  <a:lnTo>
                    <a:pt x="240" y="684"/>
                  </a:lnTo>
                  <a:lnTo>
                    <a:pt x="234" y="678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0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22" y="630"/>
                  </a:lnTo>
                  <a:lnTo>
                    <a:pt x="222" y="618"/>
                  </a:lnTo>
                  <a:lnTo>
                    <a:pt x="222" y="582"/>
                  </a:lnTo>
                  <a:lnTo>
                    <a:pt x="228" y="582"/>
                  </a:lnTo>
                  <a:lnTo>
                    <a:pt x="222" y="564"/>
                  </a:lnTo>
                  <a:lnTo>
                    <a:pt x="210" y="552"/>
                  </a:lnTo>
                  <a:lnTo>
                    <a:pt x="192" y="540"/>
                  </a:lnTo>
                  <a:lnTo>
                    <a:pt x="174" y="540"/>
                  </a:lnTo>
                  <a:lnTo>
                    <a:pt x="150" y="534"/>
                  </a:lnTo>
                  <a:lnTo>
                    <a:pt x="126" y="528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90" y="516"/>
                  </a:lnTo>
                  <a:lnTo>
                    <a:pt x="78" y="504"/>
                  </a:lnTo>
                  <a:lnTo>
                    <a:pt x="72" y="498"/>
                  </a:lnTo>
                  <a:lnTo>
                    <a:pt x="66" y="486"/>
                  </a:lnTo>
                  <a:lnTo>
                    <a:pt x="54" y="468"/>
                  </a:lnTo>
                  <a:lnTo>
                    <a:pt x="54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42" y="438"/>
                  </a:lnTo>
                  <a:lnTo>
                    <a:pt x="36" y="438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24" y="384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2" y="360"/>
                  </a:lnTo>
                  <a:lnTo>
                    <a:pt x="6" y="360"/>
                  </a:lnTo>
                  <a:lnTo>
                    <a:pt x="0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0"/>
                  </a:lnTo>
                  <a:lnTo>
                    <a:pt x="18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8" y="270"/>
                  </a:lnTo>
                  <a:lnTo>
                    <a:pt x="90" y="276"/>
                  </a:lnTo>
                  <a:lnTo>
                    <a:pt x="108" y="294"/>
                  </a:lnTo>
                  <a:lnTo>
                    <a:pt x="114" y="294"/>
                  </a:lnTo>
                  <a:lnTo>
                    <a:pt x="114" y="276"/>
                  </a:lnTo>
                  <a:lnTo>
                    <a:pt x="114" y="270"/>
                  </a:lnTo>
                  <a:lnTo>
                    <a:pt x="102" y="258"/>
                  </a:lnTo>
                  <a:lnTo>
                    <a:pt x="96" y="246"/>
                  </a:lnTo>
                  <a:lnTo>
                    <a:pt x="90" y="234"/>
                  </a:lnTo>
                  <a:lnTo>
                    <a:pt x="78" y="228"/>
                  </a:lnTo>
                  <a:lnTo>
                    <a:pt x="72" y="216"/>
                  </a:lnTo>
                  <a:lnTo>
                    <a:pt x="66" y="192"/>
                  </a:lnTo>
                  <a:lnTo>
                    <a:pt x="90" y="174"/>
                  </a:lnTo>
                  <a:lnTo>
                    <a:pt x="120" y="150"/>
                  </a:lnTo>
                  <a:lnTo>
                    <a:pt x="132" y="150"/>
                  </a:lnTo>
                  <a:lnTo>
                    <a:pt x="138" y="144"/>
                  </a:lnTo>
                  <a:lnTo>
                    <a:pt x="138" y="138"/>
                  </a:lnTo>
                  <a:lnTo>
                    <a:pt x="156" y="126"/>
                  </a:lnTo>
                  <a:lnTo>
                    <a:pt x="180" y="114"/>
                  </a:lnTo>
                  <a:lnTo>
                    <a:pt x="216" y="114"/>
                  </a:lnTo>
                  <a:lnTo>
                    <a:pt x="222" y="114"/>
                  </a:lnTo>
                  <a:lnTo>
                    <a:pt x="222" y="120"/>
                  </a:lnTo>
                  <a:lnTo>
                    <a:pt x="222" y="126"/>
                  </a:lnTo>
                  <a:lnTo>
                    <a:pt x="222" y="132"/>
                  </a:lnTo>
                  <a:lnTo>
                    <a:pt x="228" y="138"/>
                  </a:lnTo>
                  <a:lnTo>
                    <a:pt x="228" y="144"/>
                  </a:lnTo>
                  <a:lnTo>
                    <a:pt x="228" y="150"/>
                  </a:lnTo>
                  <a:lnTo>
                    <a:pt x="234" y="150"/>
                  </a:lnTo>
                  <a:lnTo>
                    <a:pt x="234" y="144"/>
                  </a:lnTo>
                  <a:lnTo>
                    <a:pt x="240" y="144"/>
                  </a:lnTo>
                  <a:lnTo>
                    <a:pt x="246" y="144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58" y="126"/>
                  </a:lnTo>
                  <a:lnTo>
                    <a:pt x="258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76" y="96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6" y="72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36"/>
                  </a:lnTo>
                  <a:lnTo>
                    <a:pt x="330" y="24"/>
                  </a:lnTo>
                  <a:lnTo>
                    <a:pt x="330" y="18"/>
                  </a:lnTo>
                  <a:lnTo>
                    <a:pt x="330" y="12"/>
                  </a:lnTo>
                  <a:lnTo>
                    <a:pt x="336" y="6"/>
                  </a:lnTo>
                  <a:lnTo>
                    <a:pt x="366" y="0"/>
                  </a:lnTo>
                  <a:lnTo>
                    <a:pt x="372" y="6"/>
                  </a:lnTo>
                  <a:lnTo>
                    <a:pt x="384" y="12"/>
                  </a:lnTo>
                  <a:lnTo>
                    <a:pt x="402" y="12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18"/>
                  </a:lnTo>
                  <a:lnTo>
                    <a:pt x="420" y="18"/>
                  </a:lnTo>
                  <a:lnTo>
                    <a:pt x="426" y="24"/>
                  </a:lnTo>
                  <a:lnTo>
                    <a:pt x="432" y="30"/>
                  </a:lnTo>
                  <a:lnTo>
                    <a:pt x="438" y="36"/>
                  </a:lnTo>
                  <a:lnTo>
                    <a:pt x="444" y="42"/>
                  </a:lnTo>
                  <a:lnTo>
                    <a:pt x="450" y="42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16" y="78"/>
                  </a:lnTo>
                  <a:lnTo>
                    <a:pt x="522" y="102"/>
                  </a:lnTo>
                  <a:lnTo>
                    <a:pt x="522" y="108"/>
                  </a:lnTo>
                  <a:lnTo>
                    <a:pt x="528" y="126"/>
                  </a:lnTo>
                  <a:lnTo>
                    <a:pt x="534" y="126"/>
                  </a:lnTo>
                  <a:lnTo>
                    <a:pt x="540" y="120"/>
                  </a:lnTo>
                  <a:lnTo>
                    <a:pt x="546" y="126"/>
                  </a:lnTo>
                  <a:lnTo>
                    <a:pt x="552" y="126"/>
                  </a:lnTo>
                  <a:lnTo>
                    <a:pt x="558" y="132"/>
                  </a:lnTo>
                  <a:lnTo>
                    <a:pt x="564" y="138"/>
                  </a:lnTo>
                  <a:lnTo>
                    <a:pt x="570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594" y="168"/>
                  </a:lnTo>
                  <a:lnTo>
                    <a:pt x="600" y="174"/>
                  </a:lnTo>
                  <a:lnTo>
                    <a:pt x="606" y="180"/>
                  </a:lnTo>
                  <a:lnTo>
                    <a:pt x="606" y="186"/>
                  </a:lnTo>
                  <a:lnTo>
                    <a:pt x="612" y="192"/>
                  </a:lnTo>
                  <a:lnTo>
                    <a:pt x="612" y="198"/>
                  </a:lnTo>
                  <a:lnTo>
                    <a:pt x="624" y="204"/>
                  </a:lnTo>
                  <a:lnTo>
                    <a:pt x="624" y="210"/>
                  </a:lnTo>
                  <a:lnTo>
                    <a:pt x="630" y="216"/>
                  </a:lnTo>
                  <a:lnTo>
                    <a:pt x="636" y="222"/>
                  </a:lnTo>
                  <a:lnTo>
                    <a:pt x="636" y="228"/>
                  </a:lnTo>
                  <a:lnTo>
                    <a:pt x="636" y="234"/>
                  </a:lnTo>
                  <a:lnTo>
                    <a:pt x="636" y="252"/>
                  </a:lnTo>
                  <a:lnTo>
                    <a:pt x="636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42" y="276"/>
                  </a:lnTo>
                  <a:lnTo>
                    <a:pt x="642" y="282"/>
                  </a:lnTo>
                  <a:lnTo>
                    <a:pt x="642" y="288"/>
                  </a:lnTo>
                  <a:lnTo>
                    <a:pt x="642" y="300"/>
                  </a:lnTo>
                  <a:lnTo>
                    <a:pt x="642" y="306"/>
                  </a:lnTo>
                  <a:lnTo>
                    <a:pt x="636" y="312"/>
                  </a:lnTo>
                  <a:lnTo>
                    <a:pt x="636" y="324"/>
                  </a:lnTo>
                  <a:lnTo>
                    <a:pt x="636" y="342"/>
                  </a:lnTo>
                  <a:lnTo>
                    <a:pt x="630" y="354"/>
                  </a:lnTo>
                  <a:lnTo>
                    <a:pt x="630" y="366"/>
                  </a:lnTo>
                  <a:lnTo>
                    <a:pt x="624" y="378"/>
                  </a:lnTo>
                  <a:lnTo>
                    <a:pt x="624" y="384"/>
                  </a:lnTo>
                  <a:lnTo>
                    <a:pt x="636" y="396"/>
                  </a:lnTo>
                  <a:lnTo>
                    <a:pt x="636" y="402"/>
                  </a:lnTo>
                  <a:lnTo>
                    <a:pt x="636" y="408"/>
                  </a:lnTo>
                  <a:lnTo>
                    <a:pt x="630" y="414"/>
                  </a:lnTo>
                  <a:lnTo>
                    <a:pt x="630" y="420"/>
                  </a:lnTo>
                  <a:lnTo>
                    <a:pt x="630" y="426"/>
                  </a:lnTo>
                  <a:lnTo>
                    <a:pt x="630" y="432"/>
                  </a:lnTo>
                  <a:lnTo>
                    <a:pt x="624" y="438"/>
                  </a:lnTo>
                  <a:lnTo>
                    <a:pt x="624" y="444"/>
                  </a:lnTo>
                  <a:lnTo>
                    <a:pt x="624" y="450"/>
                  </a:lnTo>
                  <a:lnTo>
                    <a:pt x="630" y="450"/>
                  </a:lnTo>
                  <a:lnTo>
                    <a:pt x="630" y="456"/>
                  </a:lnTo>
                  <a:lnTo>
                    <a:pt x="630" y="462"/>
                  </a:lnTo>
                  <a:lnTo>
                    <a:pt x="636" y="468"/>
                  </a:lnTo>
                  <a:lnTo>
                    <a:pt x="642" y="456"/>
                  </a:lnTo>
                  <a:lnTo>
                    <a:pt x="642" y="450"/>
                  </a:lnTo>
                  <a:lnTo>
                    <a:pt x="648" y="450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60" y="444"/>
                  </a:lnTo>
                  <a:lnTo>
                    <a:pt x="666" y="450"/>
                  </a:lnTo>
                  <a:lnTo>
                    <a:pt x="672" y="444"/>
                  </a:lnTo>
                  <a:lnTo>
                    <a:pt x="678" y="444"/>
                  </a:lnTo>
                  <a:lnTo>
                    <a:pt x="684" y="438"/>
                  </a:lnTo>
                  <a:lnTo>
                    <a:pt x="690" y="438"/>
                  </a:lnTo>
                  <a:lnTo>
                    <a:pt x="696" y="438"/>
                  </a:lnTo>
                  <a:lnTo>
                    <a:pt x="702" y="444"/>
                  </a:lnTo>
                  <a:lnTo>
                    <a:pt x="702" y="450"/>
                  </a:lnTo>
                  <a:lnTo>
                    <a:pt x="708" y="450"/>
                  </a:lnTo>
                  <a:lnTo>
                    <a:pt x="708" y="456"/>
                  </a:lnTo>
                  <a:lnTo>
                    <a:pt x="708" y="462"/>
                  </a:lnTo>
                  <a:lnTo>
                    <a:pt x="708" y="468"/>
                  </a:lnTo>
                  <a:lnTo>
                    <a:pt x="708" y="504"/>
                  </a:lnTo>
                  <a:lnTo>
                    <a:pt x="696" y="564"/>
                  </a:lnTo>
                  <a:lnTo>
                    <a:pt x="696" y="582"/>
                  </a:lnTo>
                  <a:lnTo>
                    <a:pt x="696" y="600"/>
                  </a:lnTo>
                  <a:lnTo>
                    <a:pt x="690" y="606"/>
                  </a:lnTo>
                  <a:lnTo>
                    <a:pt x="684" y="606"/>
                  </a:lnTo>
                  <a:lnTo>
                    <a:pt x="690" y="612"/>
                  </a:lnTo>
                  <a:lnTo>
                    <a:pt x="684" y="612"/>
                  </a:lnTo>
                  <a:lnTo>
                    <a:pt x="678" y="618"/>
                  </a:lnTo>
                  <a:lnTo>
                    <a:pt x="672" y="624"/>
                  </a:lnTo>
                  <a:lnTo>
                    <a:pt x="666" y="630"/>
                  </a:lnTo>
                  <a:lnTo>
                    <a:pt x="660" y="636"/>
                  </a:lnTo>
                  <a:lnTo>
                    <a:pt x="672" y="636"/>
                  </a:lnTo>
                  <a:lnTo>
                    <a:pt x="678" y="642"/>
                  </a:lnTo>
                  <a:lnTo>
                    <a:pt x="678" y="648"/>
                  </a:lnTo>
                  <a:lnTo>
                    <a:pt x="684" y="654"/>
                  </a:lnTo>
                  <a:lnTo>
                    <a:pt x="690" y="666"/>
                  </a:lnTo>
                  <a:lnTo>
                    <a:pt x="690" y="672"/>
                  </a:lnTo>
                  <a:lnTo>
                    <a:pt x="696" y="672"/>
                  </a:lnTo>
                  <a:lnTo>
                    <a:pt x="696" y="684"/>
                  </a:lnTo>
                  <a:lnTo>
                    <a:pt x="708" y="690"/>
                  </a:lnTo>
                  <a:lnTo>
                    <a:pt x="720" y="696"/>
                  </a:lnTo>
                  <a:lnTo>
                    <a:pt x="726" y="696"/>
                  </a:lnTo>
                  <a:lnTo>
                    <a:pt x="732" y="696"/>
                  </a:lnTo>
                  <a:lnTo>
                    <a:pt x="738" y="696"/>
                  </a:lnTo>
                  <a:lnTo>
                    <a:pt x="738" y="702"/>
                  </a:lnTo>
                  <a:lnTo>
                    <a:pt x="738" y="708"/>
                  </a:lnTo>
                  <a:lnTo>
                    <a:pt x="738" y="714"/>
                  </a:lnTo>
                  <a:lnTo>
                    <a:pt x="744" y="714"/>
                  </a:lnTo>
                  <a:lnTo>
                    <a:pt x="756" y="720"/>
                  </a:lnTo>
                  <a:lnTo>
                    <a:pt x="780" y="726"/>
                  </a:lnTo>
                  <a:lnTo>
                    <a:pt x="792" y="732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22" y="774"/>
                  </a:lnTo>
                  <a:lnTo>
                    <a:pt x="834" y="786"/>
                  </a:lnTo>
                  <a:lnTo>
                    <a:pt x="834" y="792"/>
                  </a:lnTo>
                  <a:lnTo>
                    <a:pt x="834" y="798"/>
                  </a:lnTo>
                  <a:lnTo>
                    <a:pt x="828" y="798"/>
                  </a:lnTo>
                  <a:lnTo>
                    <a:pt x="828" y="804"/>
                  </a:lnTo>
                  <a:lnTo>
                    <a:pt x="834" y="816"/>
                  </a:lnTo>
                  <a:lnTo>
                    <a:pt x="834" y="834"/>
                  </a:lnTo>
                  <a:lnTo>
                    <a:pt x="834" y="840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34" y="858"/>
                  </a:lnTo>
                  <a:lnTo>
                    <a:pt x="834" y="864"/>
                  </a:lnTo>
                  <a:lnTo>
                    <a:pt x="834" y="876"/>
                  </a:lnTo>
                  <a:lnTo>
                    <a:pt x="828" y="960"/>
                  </a:lnTo>
                  <a:lnTo>
                    <a:pt x="816" y="966"/>
                  </a:lnTo>
                  <a:lnTo>
                    <a:pt x="798" y="972"/>
                  </a:lnTo>
                  <a:lnTo>
                    <a:pt x="786" y="990"/>
                  </a:lnTo>
                  <a:lnTo>
                    <a:pt x="774" y="990"/>
                  </a:lnTo>
                  <a:lnTo>
                    <a:pt x="762" y="1008"/>
                  </a:lnTo>
                  <a:lnTo>
                    <a:pt x="732" y="1014"/>
                  </a:lnTo>
                  <a:lnTo>
                    <a:pt x="714" y="1026"/>
                  </a:lnTo>
                  <a:lnTo>
                    <a:pt x="690" y="1050"/>
                  </a:lnTo>
                  <a:lnTo>
                    <a:pt x="654" y="1056"/>
                  </a:lnTo>
                  <a:lnTo>
                    <a:pt x="630" y="1056"/>
                  </a:lnTo>
                  <a:lnTo>
                    <a:pt x="606" y="1068"/>
                  </a:lnTo>
                  <a:lnTo>
                    <a:pt x="600" y="1092"/>
                  </a:lnTo>
                  <a:lnTo>
                    <a:pt x="600" y="1098"/>
                  </a:lnTo>
                  <a:lnTo>
                    <a:pt x="588" y="1104"/>
                  </a:lnTo>
                  <a:lnTo>
                    <a:pt x="582" y="1104"/>
                  </a:lnTo>
                  <a:lnTo>
                    <a:pt x="570" y="1110"/>
                  </a:lnTo>
                  <a:lnTo>
                    <a:pt x="564" y="111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7" name="Freeform 12">
              <a:extLst>
                <a:ext uri="{FF2B5EF4-FFF2-40B4-BE49-F238E27FC236}">
                  <a16:creationId xmlns:a16="http://schemas.microsoft.com/office/drawing/2014/main" id="{6C93C114-E5D0-49BB-A44C-A127CE01CFE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810" y="2271838"/>
              <a:ext cx="923547" cy="845397"/>
            </a:xfrm>
            <a:custGeom>
              <a:avLst/>
              <a:gdLst>
                <a:gd name="T0" fmla="*/ 138 w 1740"/>
                <a:gd name="T1" fmla="*/ 134 h 1590"/>
                <a:gd name="T2" fmla="*/ 128 w 1740"/>
                <a:gd name="T3" fmla="*/ 131 h 1590"/>
                <a:gd name="T4" fmla="*/ 121 w 1740"/>
                <a:gd name="T5" fmla="*/ 130 h 1590"/>
                <a:gd name="T6" fmla="*/ 119 w 1740"/>
                <a:gd name="T7" fmla="*/ 134 h 1590"/>
                <a:gd name="T8" fmla="*/ 110 w 1740"/>
                <a:gd name="T9" fmla="*/ 132 h 1590"/>
                <a:gd name="T10" fmla="*/ 111 w 1740"/>
                <a:gd name="T11" fmla="*/ 127 h 1590"/>
                <a:gd name="T12" fmla="*/ 103 w 1740"/>
                <a:gd name="T13" fmla="*/ 117 h 1590"/>
                <a:gd name="T14" fmla="*/ 93 w 1740"/>
                <a:gd name="T15" fmla="*/ 123 h 1590"/>
                <a:gd name="T16" fmla="*/ 80 w 1740"/>
                <a:gd name="T17" fmla="*/ 118 h 1590"/>
                <a:gd name="T18" fmla="*/ 66 w 1740"/>
                <a:gd name="T19" fmla="*/ 117 h 1590"/>
                <a:gd name="T20" fmla="*/ 66 w 1740"/>
                <a:gd name="T21" fmla="*/ 110 h 1590"/>
                <a:gd name="T22" fmla="*/ 69 w 1740"/>
                <a:gd name="T23" fmla="*/ 107 h 1590"/>
                <a:gd name="T24" fmla="*/ 68 w 1740"/>
                <a:gd name="T25" fmla="*/ 102 h 1590"/>
                <a:gd name="T26" fmla="*/ 68 w 1740"/>
                <a:gd name="T27" fmla="*/ 96 h 1590"/>
                <a:gd name="T28" fmla="*/ 67 w 1740"/>
                <a:gd name="T29" fmla="*/ 82 h 1590"/>
                <a:gd name="T30" fmla="*/ 58 w 1740"/>
                <a:gd name="T31" fmla="*/ 82 h 1590"/>
                <a:gd name="T32" fmla="*/ 52 w 1740"/>
                <a:gd name="T33" fmla="*/ 82 h 1590"/>
                <a:gd name="T34" fmla="*/ 46 w 1740"/>
                <a:gd name="T35" fmla="*/ 80 h 1590"/>
                <a:gd name="T36" fmla="*/ 45 w 1740"/>
                <a:gd name="T37" fmla="*/ 74 h 1590"/>
                <a:gd name="T38" fmla="*/ 52 w 1740"/>
                <a:gd name="T39" fmla="*/ 70 h 1590"/>
                <a:gd name="T40" fmla="*/ 52 w 1740"/>
                <a:gd name="T41" fmla="*/ 64 h 1590"/>
                <a:gd name="T42" fmla="*/ 42 w 1740"/>
                <a:gd name="T43" fmla="*/ 53 h 1590"/>
                <a:gd name="T44" fmla="*/ 35 w 1740"/>
                <a:gd name="T45" fmla="*/ 52 h 1590"/>
                <a:gd name="T46" fmla="*/ 20 w 1740"/>
                <a:gd name="T47" fmla="*/ 51 h 1590"/>
                <a:gd name="T48" fmla="*/ 17 w 1740"/>
                <a:gd name="T49" fmla="*/ 56 h 1590"/>
                <a:gd name="T50" fmla="*/ 11 w 1740"/>
                <a:gd name="T51" fmla="*/ 61 h 1590"/>
                <a:gd name="T52" fmla="*/ 7 w 1740"/>
                <a:gd name="T53" fmla="*/ 63 h 1590"/>
                <a:gd name="T54" fmla="*/ 0 w 1740"/>
                <a:gd name="T55" fmla="*/ 55 h 1590"/>
                <a:gd name="T56" fmla="*/ 2 w 1740"/>
                <a:gd name="T57" fmla="*/ 50 h 1590"/>
                <a:gd name="T58" fmla="*/ 0 w 1740"/>
                <a:gd name="T59" fmla="*/ 44 h 1590"/>
                <a:gd name="T60" fmla="*/ 2 w 1740"/>
                <a:gd name="T61" fmla="*/ 38 h 1590"/>
                <a:gd name="T62" fmla="*/ 7 w 1740"/>
                <a:gd name="T63" fmla="*/ 35 h 1590"/>
                <a:gd name="T64" fmla="*/ 11 w 1740"/>
                <a:gd name="T65" fmla="*/ 30 h 1590"/>
                <a:gd name="T66" fmla="*/ 21 w 1740"/>
                <a:gd name="T67" fmla="*/ 26 h 1590"/>
                <a:gd name="T68" fmla="*/ 29 w 1740"/>
                <a:gd name="T69" fmla="*/ 25 h 1590"/>
                <a:gd name="T70" fmla="*/ 35 w 1740"/>
                <a:gd name="T71" fmla="*/ 21 h 1590"/>
                <a:gd name="T72" fmla="*/ 36 w 1740"/>
                <a:gd name="T73" fmla="*/ 16 h 1590"/>
                <a:gd name="T74" fmla="*/ 41 w 1740"/>
                <a:gd name="T75" fmla="*/ 11 h 1590"/>
                <a:gd name="T76" fmla="*/ 51 w 1740"/>
                <a:gd name="T77" fmla="*/ 9 h 1590"/>
                <a:gd name="T78" fmla="*/ 59 w 1740"/>
                <a:gd name="T79" fmla="*/ 21 h 1590"/>
                <a:gd name="T80" fmla="*/ 65 w 1740"/>
                <a:gd name="T81" fmla="*/ 13 h 1590"/>
                <a:gd name="T82" fmla="*/ 73 w 1740"/>
                <a:gd name="T83" fmla="*/ 8 h 1590"/>
                <a:gd name="T84" fmla="*/ 82 w 1740"/>
                <a:gd name="T85" fmla="*/ 12 h 1590"/>
                <a:gd name="T86" fmla="*/ 88 w 1740"/>
                <a:gd name="T87" fmla="*/ 12 h 1590"/>
                <a:gd name="T88" fmla="*/ 99 w 1740"/>
                <a:gd name="T89" fmla="*/ 7 h 1590"/>
                <a:gd name="T90" fmla="*/ 114 w 1740"/>
                <a:gd name="T91" fmla="*/ 0 h 1590"/>
                <a:gd name="T92" fmla="*/ 117 w 1740"/>
                <a:gd name="T93" fmla="*/ 10 h 1590"/>
                <a:gd name="T94" fmla="*/ 132 w 1740"/>
                <a:gd name="T95" fmla="*/ 17 h 1590"/>
                <a:gd name="T96" fmla="*/ 140 w 1740"/>
                <a:gd name="T97" fmla="*/ 25 h 1590"/>
                <a:gd name="T98" fmla="*/ 140 w 1740"/>
                <a:gd name="T99" fmla="*/ 33 h 1590"/>
                <a:gd name="T100" fmla="*/ 140 w 1740"/>
                <a:gd name="T101" fmla="*/ 44 h 1590"/>
                <a:gd name="T102" fmla="*/ 138 w 1740"/>
                <a:gd name="T103" fmla="*/ 48 h 1590"/>
                <a:gd name="T104" fmla="*/ 141 w 1740"/>
                <a:gd name="T105" fmla="*/ 49 h 1590"/>
                <a:gd name="T106" fmla="*/ 146 w 1740"/>
                <a:gd name="T107" fmla="*/ 50 h 1590"/>
                <a:gd name="T108" fmla="*/ 149 w 1740"/>
                <a:gd name="T109" fmla="*/ 59 h 1590"/>
                <a:gd name="T110" fmla="*/ 148 w 1740"/>
                <a:gd name="T111" fmla="*/ 67 h 1590"/>
                <a:gd name="T112" fmla="*/ 141 w 1740"/>
                <a:gd name="T113" fmla="*/ 78 h 1590"/>
                <a:gd name="T114" fmla="*/ 141 w 1740"/>
                <a:gd name="T115" fmla="*/ 91 h 1590"/>
                <a:gd name="T116" fmla="*/ 138 w 1740"/>
                <a:gd name="T117" fmla="*/ 102 h 1590"/>
                <a:gd name="T118" fmla="*/ 138 w 1740"/>
                <a:gd name="T119" fmla="*/ 110 h 1590"/>
                <a:gd name="T120" fmla="*/ 144 w 1740"/>
                <a:gd name="T121" fmla="*/ 118 h 1590"/>
                <a:gd name="T122" fmla="*/ 143 w 1740"/>
                <a:gd name="T123" fmla="*/ 125 h 159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740"/>
                <a:gd name="T187" fmla="*/ 0 h 1590"/>
                <a:gd name="T188" fmla="*/ 1740 w 1740"/>
                <a:gd name="T189" fmla="*/ 1590 h 159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740" h="1590">
                  <a:moveTo>
                    <a:pt x="1638" y="1458"/>
                  </a:moveTo>
                  <a:lnTo>
                    <a:pt x="1638" y="1482"/>
                  </a:lnTo>
                  <a:lnTo>
                    <a:pt x="1638" y="1500"/>
                  </a:lnTo>
                  <a:lnTo>
                    <a:pt x="1626" y="1500"/>
                  </a:lnTo>
                  <a:lnTo>
                    <a:pt x="1620" y="1500"/>
                  </a:lnTo>
                  <a:lnTo>
                    <a:pt x="1614" y="1500"/>
                  </a:lnTo>
                  <a:lnTo>
                    <a:pt x="1614" y="1506"/>
                  </a:lnTo>
                  <a:lnTo>
                    <a:pt x="1614" y="1512"/>
                  </a:lnTo>
                  <a:lnTo>
                    <a:pt x="1620" y="1518"/>
                  </a:lnTo>
                  <a:lnTo>
                    <a:pt x="1614" y="1524"/>
                  </a:lnTo>
                  <a:lnTo>
                    <a:pt x="1590" y="1536"/>
                  </a:lnTo>
                  <a:lnTo>
                    <a:pt x="1584" y="1566"/>
                  </a:lnTo>
                  <a:lnTo>
                    <a:pt x="1578" y="1590"/>
                  </a:lnTo>
                  <a:lnTo>
                    <a:pt x="1548" y="1590"/>
                  </a:lnTo>
                  <a:lnTo>
                    <a:pt x="1542" y="1584"/>
                  </a:lnTo>
                  <a:lnTo>
                    <a:pt x="1542" y="1572"/>
                  </a:lnTo>
                  <a:lnTo>
                    <a:pt x="1536" y="1566"/>
                  </a:lnTo>
                  <a:lnTo>
                    <a:pt x="1536" y="1554"/>
                  </a:lnTo>
                  <a:lnTo>
                    <a:pt x="1536" y="1548"/>
                  </a:lnTo>
                  <a:lnTo>
                    <a:pt x="1506" y="1530"/>
                  </a:lnTo>
                  <a:lnTo>
                    <a:pt x="1488" y="1506"/>
                  </a:lnTo>
                  <a:lnTo>
                    <a:pt x="1464" y="1500"/>
                  </a:lnTo>
                  <a:lnTo>
                    <a:pt x="1470" y="1494"/>
                  </a:lnTo>
                  <a:lnTo>
                    <a:pt x="1470" y="1488"/>
                  </a:lnTo>
                  <a:lnTo>
                    <a:pt x="1470" y="1482"/>
                  </a:lnTo>
                  <a:lnTo>
                    <a:pt x="1428" y="1464"/>
                  </a:lnTo>
                  <a:lnTo>
                    <a:pt x="1404" y="1470"/>
                  </a:lnTo>
                  <a:lnTo>
                    <a:pt x="1398" y="1470"/>
                  </a:lnTo>
                  <a:lnTo>
                    <a:pt x="1392" y="1476"/>
                  </a:lnTo>
                  <a:lnTo>
                    <a:pt x="1386" y="1476"/>
                  </a:lnTo>
                  <a:lnTo>
                    <a:pt x="1386" y="1482"/>
                  </a:lnTo>
                  <a:lnTo>
                    <a:pt x="1392" y="1482"/>
                  </a:lnTo>
                  <a:lnTo>
                    <a:pt x="1386" y="1488"/>
                  </a:lnTo>
                  <a:lnTo>
                    <a:pt x="1386" y="1494"/>
                  </a:lnTo>
                  <a:lnTo>
                    <a:pt x="1380" y="1494"/>
                  </a:lnTo>
                  <a:lnTo>
                    <a:pt x="1380" y="1500"/>
                  </a:lnTo>
                  <a:lnTo>
                    <a:pt x="1380" y="1512"/>
                  </a:lnTo>
                  <a:lnTo>
                    <a:pt x="1380" y="1518"/>
                  </a:lnTo>
                  <a:lnTo>
                    <a:pt x="1380" y="1524"/>
                  </a:lnTo>
                  <a:lnTo>
                    <a:pt x="1380" y="1530"/>
                  </a:lnTo>
                  <a:lnTo>
                    <a:pt x="1374" y="1536"/>
                  </a:lnTo>
                  <a:lnTo>
                    <a:pt x="1374" y="1542"/>
                  </a:lnTo>
                  <a:lnTo>
                    <a:pt x="1368" y="1542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44" y="1554"/>
                  </a:lnTo>
                  <a:lnTo>
                    <a:pt x="1332" y="1560"/>
                  </a:lnTo>
                  <a:lnTo>
                    <a:pt x="1302" y="1554"/>
                  </a:lnTo>
                  <a:lnTo>
                    <a:pt x="1290" y="1554"/>
                  </a:lnTo>
                  <a:lnTo>
                    <a:pt x="1278" y="1542"/>
                  </a:lnTo>
                  <a:lnTo>
                    <a:pt x="1272" y="1530"/>
                  </a:lnTo>
                  <a:lnTo>
                    <a:pt x="1272" y="1524"/>
                  </a:lnTo>
                  <a:lnTo>
                    <a:pt x="1272" y="1518"/>
                  </a:lnTo>
                  <a:lnTo>
                    <a:pt x="1266" y="1518"/>
                  </a:lnTo>
                  <a:lnTo>
                    <a:pt x="1266" y="1512"/>
                  </a:lnTo>
                  <a:lnTo>
                    <a:pt x="1266" y="1506"/>
                  </a:lnTo>
                  <a:lnTo>
                    <a:pt x="1272" y="1506"/>
                  </a:lnTo>
                  <a:lnTo>
                    <a:pt x="1272" y="1500"/>
                  </a:lnTo>
                  <a:lnTo>
                    <a:pt x="1278" y="1500"/>
                  </a:lnTo>
                  <a:lnTo>
                    <a:pt x="1278" y="1494"/>
                  </a:lnTo>
                  <a:lnTo>
                    <a:pt x="1278" y="1488"/>
                  </a:lnTo>
                  <a:lnTo>
                    <a:pt x="1284" y="1488"/>
                  </a:lnTo>
                  <a:lnTo>
                    <a:pt x="1284" y="1482"/>
                  </a:lnTo>
                  <a:lnTo>
                    <a:pt x="1290" y="1476"/>
                  </a:lnTo>
                  <a:lnTo>
                    <a:pt x="1284" y="1470"/>
                  </a:lnTo>
                  <a:lnTo>
                    <a:pt x="1278" y="1458"/>
                  </a:lnTo>
                  <a:lnTo>
                    <a:pt x="1278" y="1452"/>
                  </a:lnTo>
                  <a:lnTo>
                    <a:pt x="1260" y="1428"/>
                  </a:lnTo>
                  <a:lnTo>
                    <a:pt x="1254" y="1416"/>
                  </a:lnTo>
                  <a:lnTo>
                    <a:pt x="1254" y="1410"/>
                  </a:lnTo>
                  <a:lnTo>
                    <a:pt x="1248" y="1398"/>
                  </a:lnTo>
                  <a:lnTo>
                    <a:pt x="1242" y="1398"/>
                  </a:lnTo>
                  <a:lnTo>
                    <a:pt x="1236" y="1398"/>
                  </a:lnTo>
                  <a:lnTo>
                    <a:pt x="1218" y="1386"/>
                  </a:lnTo>
                  <a:lnTo>
                    <a:pt x="1212" y="1362"/>
                  </a:lnTo>
                  <a:lnTo>
                    <a:pt x="1200" y="1344"/>
                  </a:lnTo>
                  <a:lnTo>
                    <a:pt x="1188" y="1338"/>
                  </a:lnTo>
                  <a:lnTo>
                    <a:pt x="1164" y="1338"/>
                  </a:lnTo>
                  <a:lnTo>
                    <a:pt x="1158" y="1344"/>
                  </a:lnTo>
                  <a:lnTo>
                    <a:pt x="1152" y="1350"/>
                  </a:lnTo>
                  <a:lnTo>
                    <a:pt x="1152" y="1356"/>
                  </a:lnTo>
                  <a:lnTo>
                    <a:pt x="1140" y="1362"/>
                  </a:lnTo>
                  <a:lnTo>
                    <a:pt x="1134" y="1380"/>
                  </a:lnTo>
                  <a:lnTo>
                    <a:pt x="1116" y="1398"/>
                  </a:lnTo>
                  <a:lnTo>
                    <a:pt x="1110" y="1416"/>
                  </a:lnTo>
                  <a:lnTo>
                    <a:pt x="1086" y="1416"/>
                  </a:lnTo>
                  <a:lnTo>
                    <a:pt x="1080" y="1410"/>
                  </a:lnTo>
                  <a:lnTo>
                    <a:pt x="1074" y="1410"/>
                  </a:lnTo>
                  <a:lnTo>
                    <a:pt x="1074" y="1404"/>
                  </a:lnTo>
                  <a:lnTo>
                    <a:pt x="1062" y="1404"/>
                  </a:lnTo>
                  <a:lnTo>
                    <a:pt x="1062" y="1380"/>
                  </a:lnTo>
                  <a:lnTo>
                    <a:pt x="1038" y="1380"/>
                  </a:lnTo>
                  <a:lnTo>
                    <a:pt x="1026" y="1350"/>
                  </a:lnTo>
                  <a:lnTo>
                    <a:pt x="996" y="1326"/>
                  </a:lnTo>
                  <a:lnTo>
                    <a:pt x="966" y="1314"/>
                  </a:lnTo>
                  <a:lnTo>
                    <a:pt x="954" y="1320"/>
                  </a:lnTo>
                  <a:lnTo>
                    <a:pt x="942" y="1338"/>
                  </a:lnTo>
                  <a:lnTo>
                    <a:pt x="930" y="1338"/>
                  </a:lnTo>
                  <a:lnTo>
                    <a:pt x="924" y="1350"/>
                  </a:lnTo>
                  <a:lnTo>
                    <a:pt x="906" y="1356"/>
                  </a:lnTo>
                  <a:lnTo>
                    <a:pt x="846" y="1356"/>
                  </a:lnTo>
                  <a:lnTo>
                    <a:pt x="834" y="1368"/>
                  </a:lnTo>
                  <a:lnTo>
                    <a:pt x="810" y="1362"/>
                  </a:lnTo>
                  <a:lnTo>
                    <a:pt x="792" y="1362"/>
                  </a:lnTo>
                  <a:lnTo>
                    <a:pt x="780" y="1368"/>
                  </a:lnTo>
                  <a:lnTo>
                    <a:pt x="762" y="1368"/>
                  </a:lnTo>
                  <a:lnTo>
                    <a:pt x="762" y="1362"/>
                  </a:lnTo>
                  <a:lnTo>
                    <a:pt x="750" y="1362"/>
                  </a:lnTo>
                  <a:lnTo>
                    <a:pt x="750" y="1338"/>
                  </a:lnTo>
                  <a:lnTo>
                    <a:pt x="762" y="1338"/>
                  </a:lnTo>
                  <a:lnTo>
                    <a:pt x="762" y="1326"/>
                  </a:lnTo>
                  <a:lnTo>
                    <a:pt x="762" y="1314"/>
                  </a:lnTo>
                  <a:lnTo>
                    <a:pt x="732" y="1314"/>
                  </a:lnTo>
                  <a:lnTo>
                    <a:pt x="726" y="1308"/>
                  </a:lnTo>
                  <a:lnTo>
                    <a:pt x="732" y="1284"/>
                  </a:lnTo>
                  <a:lnTo>
                    <a:pt x="732" y="1278"/>
                  </a:lnTo>
                  <a:lnTo>
                    <a:pt x="738" y="1272"/>
                  </a:lnTo>
                  <a:lnTo>
                    <a:pt x="738" y="1266"/>
                  </a:lnTo>
                  <a:lnTo>
                    <a:pt x="744" y="1266"/>
                  </a:lnTo>
                  <a:lnTo>
                    <a:pt x="750" y="1272"/>
                  </a:lnTo>
                  <a:lnTo>
                    <a:pt x="756" y="1266"/>
                  </a:lnTo>
                  <a:lnTo>
                    <a:pt x="762" y="1266"/>
                  </a:lnTo>
                  <a:lnTo>
                    <a:pt x="768" y="1260"/>
                  </a:lnTo>
                  <a:lnTo>
                    <a:pt x="774" y="1260"/>
                  </a:lnTo>
                  <a:lnTo>
                    <a:pt x="780" y="1254"/>
                  </a:lnTo>
                  <a:lnTo>
                    <a:pt x="774" y="1254"/>
                  </a:lnTo>
                  <a:lnTo>
                    <a:pt x="768" y="1254"/>
                  </a:lnTo>
                  <a:lnTo>
                    <a:pt x="774" y="1248"/>
                  </a:lnTo>
                  <a:lnTo>
                    <a:pt x="774" y="1242"/>
                  </a:lnTo>
                  <a:lnTo>
                    <a:pt x="780" y="1236"/>
                  </a:lnTo>
                  <a:lnTo>
                    <a:pt x="786" y="1236"/>
                  </a:lnTo>
                  <a:lnTo>
                    <a:pt x="792" y="1230"/>
                  </a:lnTo>
                  <a:lnTo>
                    <a:pt x="792" y="1236"/>
                  </a:lnTo>
                  <a:lnTo>
                    <a:pt x="798" y="1236"/>
                  </a:lnTo>
                  <a:lnTo>
                    <a:pt x="798" y="1230"/>
                  </a:lnTo>
                  <a:lnTo>
                    <a:pt x="804" y="1230"/>
                  </a:lnTo>
                  <a:lnTo>
                    <a:pt x="804" y="1218"/>
                  </a:lnTo>
                  <a:lnTo>
                    <a:pt x="804" y="1206"/>
                  </a:lnTo>
                  <a:lnTo>
                    <a:pt x="792" y="1188"/>
                  </a:lnTo>
                  <a:lnTo>
                    <a:pt x="768" y="1182"/>
                  </a:lnTo>
                  <a:lnTo>
                    <a:pt x="768" y="1170"/>
                  </a:lnTo>
                  <a:lnTo>
                    <a:pt x="774" y="1170"/>
                  </a:lnTo>
                  <a:lnTo>
                    <a:pt x="780" y="1170"/>
                  </a:lnTo>
                  <a:lnTo>
                    <a:pt x="786" y="1170"/>
                  </a:lnTo>
                  <a:lnTo>
                    <a:pt x="780" y="1152"/>
                  </a:lnTo>
                  <a:lnTo>
                    <a:pt x="780" y="1146"/>
                  </a:lnTo>
                  <a:lnTo>
                    <a:pt x="744" y="1140"/>
                  </a:lnTo>
                  <a:lnTo>
                    <a:pt x="732" y="1128"/>
                  </a:lnTo>
                  <a:lnTo>
                    <a:pt x="720" y="1122"/>
                  </a:lnTo>
                  <a:lnTo>
                    <a:pt x="732" y="1116"/>
                  </a:lnTo>
                  <a:lnTo>
                    <a:pt x="750" y="1104"/>
                  </a:lnTo>
                  <a:lnTo>
                    <a:pt x="756" y="1116"/>
                  </a:lnTo>
                  <a:lnTo>
                    <a:pt x="774" y="1116"/>
                  </a:lnTo>
                  <a:lnTo>
                    <a:pt x="780" y="1104"/>
                  </a:lnTo>
                  <a:lnTo>
                    <a:pt x="780" y="1080"/>
                  </a:lnTo>
                  <a:lnTo>
                    <a:pt x="786" y="1080"/>
                  </a:lnTo>
                  <a:lnTo>
                    <a:pt x="786" y="1074"/>
                  </a:lnTo>
                  <a:lnTo>
                    <a:pt x="792" y="1074"/>
                  </a:lnTo>
                  <a:lnTo>
                    <a:pt x="786" y="1068"/>
                  </a:lnTo>
                  <a:lnTo>
                    <a:pt x="786" y="1062"/>
                  </a:lnTo>
                  <a:lnTo>
                    <a:pt x="786" y="1056"/>
                  </a:lnTo>
                  <a:lnTo>
                    <a:pt x="792" y="1050"/>
                  </a:lnTo>
                  <a:lnTo>
                    <a:pt x="786" y="1020"/>
                  </a:lnTo>
                  <a:lnTo>
                    <a:pt x="780" y="960"/>
                  </a:lnTo>
                  <a:lnTo>
                    <a:pt x="768" y="942"/>
                  </a:lnTo>
                  <a:lnTo>
                    <a:pt x="732" y="936"/>
                  </a:lnTo>
                  <a:lnTo>
                    <a:pt x="732" y="942"/>
                  </a:lnTo>
                  <a:lnTo>
                    <a:pt x="726" y="942"/>
                  </a:lnTo>
                  <a:lnTo>
                    <a:pt x="720" y="936"/>
                  </a:lnTo>
                  <a:lnTo>
                    <a:pt x="714" y="942"/>
                  </a:lnTo>
                  <a:lnTo>
                    <a:pt x="708" y="942"/>
                  </a:lnTo>
                  <a:lnTo>
                    <a:pt x="702" y="942"/>
                  </a:lnTo>
                  <a:lnTo>
                    <a:pt x="690" y="936"/>
                  </a:lnTo>
                  <a:lnTo>
                    <a:pt x="684" y="936"/>
                  </a:lnTo>
                  <a:lnTo>
                    <a:pt x="678" y="936"/>
                  </a:lnTo>
                  <a:lnTo>
                    <a:pt x="672" y="936"/>
                  </a:lnTo>
                  <a:lnTo>
                    <a:pt x="666" y="942"/>
                  </a:lnTo>
                  <a:lnTo>
                    <a:pt x="660" y="942"/>
                  </a:lnTo>
                  <a:lnTo>
                    <a:pt x="654" y="942"/>
                  </a:lnTo>
                  <a:lnTo>
                    <a:pt x="648" y="942"/>
                  </a:lnTo>
                  <a:lnTo>
                    <a:pt x="642" y="936"/>
                  </a:lnTo>
                  <a:lnTo>
                    <a:pt x="636" y="936"/>
                  </a:lnTo>
                  <a:lnTo>
                    <a:pt x="630" y="930"/>
                  </a:lnTo>
                  <a:lnTo>
                    <a:pt x="618" y="930"/>
                  </a:lnTo>
                  <a:lnTo>
                    <a:pt x="612" y="930"/>
                  </a:lnTo>
                  <a:lnTo>
                    <a:pt x="606" y="936"/>
                  </a:lnTo>
                  <a:lnTo>
                    <a:pt x="600" y="942"/>
                  </a:lnTo>
                  <a:lnTo>
                    <a:pt x="600" y="936"/>
                  </a:lnTo>
                  <a:lnTo>
                    <a:pt x="594" y="930"/>
                  </a:lnTo>
                  <a:lnTo>
                    <a:pt x="588" y="930"/>
                  </a:lnTo>
                  <a:lnTo>
                    <a:pt x="582" y="930"/>
                  </a:lnTo>
                  <a:lnTo>
                    <a:pt x="576" y="930"/>
                  </a:lnTo>
                  <a:lnTo>
                    <a:pt x="564" y="936"/>
                  </a:lnTo>
                  <a:lnTo>
                    <a:pt x="558" y="936"/>
                  </a:lnTo>
                  <a:lnTo>
                    <a:pt x="546" y="924"/>
                  </a:lnTo>
                  <a:lnTo>
                    <a:pt x="540" y="924"/>
                  </a:lnTo>
                  <a:lnTo>
                    <a:pt x="534" y="918"/>
                  </a:lnTo>
                  <a:lnTo>
                    <a:pt x="528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6" y="918"/>
                  </a:lnTo>
                  <a:lnTo>
                    <a:pt x="516" y="912"/>
                  </a:lnTo>
                  <a:lnTo>
                    <a:pt x="510" y="894"/>
                  </a:lnTo>
                  <a:lnTo>
                    <a:pt x="510" y="882"/>
                  </a:lnTo>
                  <a:lnTo>
                    <a:pt x="510" y="876"/>
                  </a:lnTo>
                  <a:lnTo>
                    <a:pt x="516" y="870"/>
                  </a:lnTo>
                  <a:lnTo>
                    <a:pt x="510" y="864"/>
                  </a:lnTo>
                  <a:lnTo>
                    <a:pt x="516" y="858"/>
                  </a:lnTo>
                  <a:lnTo>
                    <a:pt x="522" y="858"/>
                  </a:lnTo>
                  <a:lnTo>
                    <a:pt x="528" y="858"/>
                  </a:lnTo>
                  <a:lnTo>
                    <a:pt x="522" y="852"/>
                  </a:lnTo>
                  <a:lnTo>
                    <a:pt x="528" y="852"/>
                  </a:lnTo>
                  <a:lnTo>
                    <a:pt x="528" y="846"/>
                  </a:lnTo>
                  <a:lnTo>
                    <a:pt x="552" y="846"/>
                  </a:lnTo>
                  <a:lnTo>
                    <a:pt x="558" y="840"/>
                  </a:lnTo>
                  <a:lnTo>
                    <a:pt x="564" y="828"/>
                  </a:lnTo>
                  <a:lnTo>
                    <a:pt x="570" y="816"/>
                  </a:lnTo>
                  <a:lnTo>
                    <a:pt x="582" y="810"/>
                  </a:lnTo>
                  <a:lnTo>
                    <a:pt x="588" y="804"/>
                  </a:lnTo>
                  <a:lnTo>
                    <a:pt x="594" y="804"/>
                  </a:lnTo>
                  <a:lnTo>
                    <a:pt x="594" y="792"/>
                  </a:lnTo>
                  <a:lnTo>
                    <a:pt x="600" y="786"/>
                  </a:lnTo>
                  <a:lnTo>
                    <a:pt x="606" y="780"/>
                  </a:lnTo>
                  <a:lnTo>
                    <a:pt x="612" y="774"/>
                  </a:lnTo>
                  <a:lnTo>
                    <a:pt x="618" y="774"/>
                  </a:lnTo>
                  <a:lnTo>
                    <a:pt x="618" y="768"/>
                  </a:lnTo>
                  <a:lnTo>
                    <a:pt x="618" y="762"/>
                  </a:lnTo>
                  <a:lnTo>
                    <a:pt x="624" y="756"/>
                  </a:lnTo>
                  <a:lnTo>
                    <a:pt x="618" y="750"/>
                  </a:lnTo>
                  <a:lnTo>
                    <a:pt x="618" y="744"/>
                  </a:lnTo>
                  <a:lnTo>
                    <a:pt x="600" y="738"/>
                  </a:lnTo>
                  <a:lnTo>
                    <a:pt x="558" y="744"/>
                  </a:lnTo>
                  <a:lnTo>
                    <a:pt x="552" y="732"/>
                  </a:lnTo>
                  <a:lnTo>
                    <a:pt x="546" y="720"/>
                  </a:lnTo>
                  <a:lnTo>
                    <a:pt x="564" y="702"/>
                  </a:lnTo>
                  <a:lnTo>
                    <a:pt x="570" y="684"/>
                  </a:lnTo>
                  <a:lnTo>
                    <a:pt x="564" y="648"/>
                  </a:lnTo>
                  <a:lnTo>
                    <a:pt x="534" y="624"/>
                  </a:lnTo>
                  <a:lnTo>
                    <a:pt x="504" y="612"/>
                  </a:lnTo>
                  <a:lnTo>
                    <a:pt x="498" y="606"/>
                  </a:lnTo>
                  <a:lnTo>
                    <a:pt x="492" y="600"/>
                  </a:lnTo>
                  <a:lnTo>
                    <a:pt x="486" y="606"/>
                  </a:lnTo>
                  <a:lnTo>
                    <a:pt x="480" y="558"/>
                  </a:lnTo>
                  <a:lnTo>
                    <a:pt x="462" y="546"/>
                  </a:lnTo>
                  <a:lnTo>
                    <a:pt x="408" y="540"/>
                  </a:lnTo>
                  <a:lnTo>
                    <a:pt x="408" y="546"/>
                  </a:lnTo>
                  <a:lnTo>
                    <a:pt x="408" y="558"/>
                  </a:lnTo>
                  <a:lnTo>
                    <a:pt x="408" y="564"/>
                  </a:lnTo>
                  <a:lnTo>
                    <a:pt x="408" y="570"/>
                  </a:lnTo>
                  <a:lnTo>
                    <a:pt x="414" y="582"/>
                  </a:lnTo>
                  <a:lnTo>
                    <a:pt x="408" y="594"/>
                  </a:lnTo>
                  <a:lnTo>
                    <a:pt x="414" y="594"/>
                  </a:lnTo>
                  <a:lnTo>
                    <a:pt x="408" y="600"/>
                  </a:lnTo>
                  <a:lnTo>
                    <a:pt x="348" y="600"/>
                  </a:lnTo>
                  <a:lnTo>
                    <a:pt x="324" y="600"/>
                  </a:lnTo>
                  <a:lnTo>
                    <a:pt x="324" y="612"/>
                  </a:lnTo>
                  <a:lnTo>
                    <a:pt x="306" y="618"/>
                  </a:lnTo>
                  <a:lnTo>
                    <a:pt x="312" y="618"/>
                  </a:lnTo>
                  <a:lnTo>
                    <a:pt x="294" y="588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76"/>
                  </a:lnTo>
                  <a:lnTo>
                    <a:pt x="240" y="582"/>
                  </a:lnTo>
                  <a:lnTo>
                    <a:pt x="234" y="582"/>
                  </a:lnTo>
                  <a:lnTo>
                    <a:pt x="228" y="588"/>
                  </a:lnTo>
                  <a:lnTo>
                    <a:pt x="222" y="588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8" y="600"/>
                  </a:lnTo>
                  <a:lnTo>
                    <a:pt x="192" y="612"/>
                  </a:lnTo>
                  <a:lnTo>
                    <a:pt x="192" y="618"/>
                  </a:lnTo>
                  <a:lnTo>
                    <a:pt x="198" y="624"/>
                  </a:lnTo>
                  <a:lnTo>
                    <a:pt x="192" y="624"/>
                  </a:lnTo>
                  <a:lnTo>
                    <a:pt x="192" y="630"/>
                  </a:lnTo>
                  <a:lnTo>
                    <a:pt x="192" y="642"/>
                  </a:lnTo>
                  <a:lnTo>
                    <a:pt x="180" y="648"/>
                  </a:lnTo>
                  <a:lnTo>
                    <a:pt x="174" y="654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6"/>
                  </a:lnTo>
                  <a:lnTo>
                    <a:pt x="156" y="672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90"/>
                  </a:lnTo>
                  <a:lnTo>
                    <a:pt x="132" y="690"/>
                  </a:lnTo>
                  <a:lnTo>
                    <a:pt x="126" y="702"/>
                  </a:lnTo>
                  <a:lnTo>
                    <a:pt x="132" y="708"/>
                  </a:lnTo>
                  <a:lnTo>
                    <a:pt x="126" y="708"/>
                  </a:lnTo>
                  <a:lnTo>
                    <a:pt x="120" y="708"/>
                  </a:lnTo>
                  <a:lnTo>
                    <a:pt x="114" y="708"/>
                  </a:lnTo>
                  <a:lnTo>
                    <a:pt x="108" y="708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78" y="720"/>
                  </a:lnTo>
                  <a:lnTo>
                    <a:pt x="72" y="720"/>
                  </a:lnTo>
                  <a:lnTo>
                    <a:pt x="66" y="720"/>
                  </a:lnTo>
                  <a:lnTo>
                    <a:pt x="54" y="732"/>
                  </a:lnTo>
                  <a:lnTo>
                    <a:pt x="48" y="702"/>
                  </a:lnTo>
                  <a:lnTo>
                    <a:pt x="36" y="666"/>
                  </a:lnTo>
                  <a:lnTo>
                    <a:pt x="0" y="660"/>
                  </a:lnTo>
                  <a:lnTo>
                    <a:pt x="6" y="660"/>
                  </a:lnTo>
                  <a:lnTo>
                    <a:pt x="6" y="654"/>
                  </a:lnTo>
                  <a:lnTo>
                    <a:pt x="6" y="648"/>
                  </a:lnTo>
                  <a:lnTo>
                    <a:pt x="6" y="642"/>
                  </a:lnTo>
                  <a:lnTo>
                    <a:pt x="6" y="624"/>
                  </a:lnTo>
                  <a:lnTo>
                    <a:pt x="6" y="612"/>
                  </a:lnTo>
                  <a:lnTo>
                    <a:pt x="6" y="606"/>
                  </a:lnTo>
                  <a:lnTo>
                    <a:pt x="12" y="612"/>
                  </a:lnTo>
                  <a:lnTo>
                    <a:pt x="18" y="606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30" y="594"/>
                  </a:lnTo>
                  <a:lnTo>
                    <a:pt x="30" y="588"/>
                  </a:lnTo>
                  <a:lnTo>
                    <a:pt x="30" y="582"/>
                  </a:lnTo>
                  <a:lnTo>
                    <a:pt x="24" y="576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18" y="558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36" y="528"/>
                  </a:lnTo>
                  <a:lnTo>
                    <a:pt x="30" y="522"/>
                  </a:lnTo>
                  <a:lnTo>
                    <a:pt x="24" y="522"/>
                  </a:lnTo>
                  <a:lnTo>
                    <a:pt x="18" y="510"/>
                  </a:lnTo>
                  <a:lnTo>
                    <a:pt x="12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8" y="474"/>
                  </a:lnTo>
                  <a:lnTo>
                    <a:pt x="12" y="468"/>
                  </a:lnTo>
                  <a:lnTo>
                    <a:pt x="12" y="462"/>
                  </a:lnTo>
                  <a:lnTo>
                    <a:pt x="18" y="456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0" y="420"/>
                  </a:lnTo>
                  <a:lnTo>
                    <a:pt x="30" y="414"/>
                  </a:lnTo>
                  <a:lnTo>
                    <a:pt x="48" y="414"/>
                  </a:lnTo>
                  <a:lnTo>
                    <a:pt x="54" y="408"/>
                  </a:lnTo>
                  <a:lnTo>
                    <a:pt x="60" y="402"/>
                  </a:lnTo>
                  <a:lnTo>
                    <a:pt x="66" y="402"/>
                  </a:lnTo>
                  <a:lnTo>
                    <a:pt x="72" y="402"/>
                  </a:lnTo>
                  <a:lnTo>
                    <a:pt x="78" y="408"/>
                  </a:lnTo>
                  <a:lnTo>
                    <a:pt x="84" y="396"/>
                  </a:lnTo>
                  <a:lnTo>
                    <a:pt x="90" y="390"/>
                  </a:lnTo>
                  <a:lnTo>
                    <a:pt x="90" y="378"/>
                  </a:lnTo>
                  <a:lnTo>
                    <a:pt x="96" y="372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8" y="354"/>
                  </a:lnTo>
                  <a:lnTo>
                    <a:pt x="114" y="348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32" y="336"/>
                  </a:lnTo>
                  <a:lnTo>
                    <a:pt x="132" y="330"/>
                  </a:lnTo>
                  <a:lnTo>
                    <a:pt x="138" y="324"/>
                  </a:lnTo>
                  <a:lnTo>
                    <a:pt x="138" y="318"/>
                  </a:lnTo>
                  <a:lnTo>
                    <a:pt x="144" y="306"/>
                  </a:lnTo>
                  <a:lnTo>
                    <a:pt x="156" y="306"/>
                  </a:lnTo>
                  <a:lnTo>
                    <a:pt x="186" y="300"/>
                  </a:lnTo>
                  <a:lnTo>
                    <a:pt x="198" y="300"/>
                  </a:lnTo>
                  <a:lnTo>
                    <a:pt x="210" y="300"/>
                  </a:lnTo>
                  <a:lnTo>
                    <a:pt x="222" y="300"/>
                  </a:lnTo>
                  <a:lnTo>
                    <a:pt x="246" y="300"/>
                  </a:lnTo>
                  <a:lnTo>
                    <a:pt x="264" y="312"/>
                  </a:lnTo>
                  <a:lnTo>
                    <a:pt x="270" y="312"/>
                  </a:lnTo>
                  <a:lnTo>
                    <a:pt x="282" y="306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300" y="306"/>
                  </a:lnTo>
                  <a:lnTo>
                    <a:pt x="312" y="306"/>
                  </a:lnTo>
                  <a:lnTo>
                    <a:pt x="318" y="300"/>
                  </a:lnTo>
                  <a:lnTo>
                    <a:pt x="324" y="300"/>
                  </a:lnTo>
                  <a:lnTo>
                    <a:pt x="330" y="294"/>
                  </a:lnTo>
                  <a:lnTo>
                    <a:pt x="336" y="288"/>
                  </a:lnTo>
                  <a:lnTo>
                    <a:pt x="354" y="288"/>
                  </a:lnTo>
                  <a:lnTo>
                    <a:pt x="360" y="288"/>
                  </a:lnTo>
                  <a:lnTo>
                    <a:pt x="366" y="282"/>
                  </a:lnTo>
                  <a:lnTo>
                    <a:pt x="372" y="282"/>
                  </a:lnTo>
                  <a:lnTo>
                    <a:pt x="378" y="282"/>
                  </a:lnTo>
                  <a:lnTo>
                    <a:pt x="384" y="276"/>
                  </a:lnTo>
                  <a:lnTo>
                    <a:pt x="384" y="270"/>
                  </a:lnTo>
                  <a:lnTo>
                    <a:pt x="390" y="264"/>
                  </a:lnTo>
                  <a:lnTo>
                    <a:pt x="402" y="258"/>
                  </a:lnTo>
                  <a:lnTo>
                    <a:pt x="402" y="252"/>
                  </a:lnTo>
                  <a:lnTo>
                    <a:pt x="402" y="246"/>
                  </a:lnTo>
                  <a:lnTo>
                    <a:pt x="408" y="234"/>
                  </a:lnTo>
                  <a:lnTo>
                    <a:pt x="414" y="234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14" y="216"/>
                  </a:lnTo>
                  <a:lnTo>
                    <a:pt x="414" y="210"/>
                  </a:lnTo>
                  <a:lnTo>
                    <a:pt x="420" y="210"/>
                  </a:lnTo>
                  <a:lnTo>
                    <a:pt x="414" y="198"/>
                  </a:lnTo>
                  <a:lnTo>
                    <a:pt x="414" y="192"/>
                  </a:lnTo>
                  <a:lnTo>
                    <a:pt x="420" y="192"/>
                  </a:lnTo>
                  <a:lnTo>
                    <a:pt x="420" y="186"/>
                  </a:lnTo>
                  <a:lnTo>
                    <a:pt x="420" y="174"/>
                  </a:lnTo>
                  <a:lnTo>
                    <a:pt x="420" y="168"/>
                  </a:lnTo>
                  <a:lnTo>
                    <a:pt x="426" y="162"/>
                  </a:lnTo>
                  <a:lnTo>
                    <a:pt x="432" y="156"/>
                  </a:lnTo>
                  <a:lnTo>
                    <a:pt x="438" y="144"/>
                  </a:lnTo>
                  <a:lnTo>
                    <a:pt x="444" y="144"/>
                  </a:lnTo>
                  <a:lnTo>
                    <a:pt x="450" y="138"/>
                  </a:lnTo>
                  <a:lnTo>
                    <a:pt x="456" y="138"/>
                  </a:lnTo>
                  <a:lnTo>
                    <a:pt x="462" y="132"/>
                  </a:lnTo>
                  <a:lnTo>
                    <a:pt x="462" y="126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0"/>
                  </a:lnTo>
                  <a:lnTo>
                    <a:pt x="486" y="108"/>
                  </a:lnTo>
                  <a:lnTo>
                    <a:pt x="492" y="108"/>
                  </a:lnTo>
                  <a:lnTo>
                    <a:pt x="498" y="102"/>
                  </a:lnTo>
                  <a:lnTo>
                    <a:pt x="504" y="96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40" y="102"/>
                  </a:lnTo>
                  <a:lnTo>
                    <a:pt x="552" y="108"/>
                  </a:lnTo>
                  <a:lnTo>
                    <a:pt x="582" y="102"/>
                  </a:lnTo>
                  <a:lnTo>
                    <a:pt x="594" y="126"/>
                  </a:lnTo>
                  <a:lnTo>
                    <a:pt x="594" y="144"/>
                  </a:lnTo>
                  <a:lnTo>
                    <a:pt x="588" y="156"/>
                  </a:lnTo>
                  <a:lnTo>
                    <a:pt x="588" y="168"/>
                  </a:lnTo>
                  <a:lnTo>
                    <a:pt x="582" y="180"/>
                  </a:lnTo>
                  <a:lnTo>
                    <a:pt x="570" y="192"/>
                  </a:lnTo>
                  <a:lnTo>
                    <a:pt x="594" y="192"/>
                  </a:lnTo>
                  <a:lnTo>
                    <a:pt x="618" y="198"/>
                  </a:lnTo>
                  <a:lnTo>
                    <a:pt x="642" y="210"/>
                  </a:lnTo>
                  <a:lnTo>
                    <a:pt x="660" y="234"/>
                  </a:lnTo>
                  <a:lnTo>
                    <a:pt x="678" y="246"/>
                  </a:lnTo>
                  <a:lnTo>
                    <a:pt x="684" y="252"/>
                  </a:lnTo>
                  <a:lnTo>
                    <a:pt x="702" y="252"/>
                  </a:lnTo>
                  <a:lnTo>
                    <a:pt x="732" y="234"/>
                  </a:lnTo>
                  <a:lnTo>
                    <a:pt x="732" y="222"/>
                  </a:lnTo>
                  <a:lnTo>
                    <a:pt x="720" y="216"/>
                  </a:lnTo>
                  <a:lnTo>
                    <a:pt x="714" y="198"/>
                  </a:lnTo>
                  <a:lnTo>
                    <a:pt x="714" y="174"/>
                  </a:lnTo>
                  <a:lnTo>
                    <a:pt x="720" y="162"/>
                  </a:lnTo>
                  <a:lnTo>
                    <a:pt x="726" y="162"/>
                  </a:lnTo>
                  <a:lnTo>
                    <a:pt x="732" y="156"/>
                  </a:lnTo>
                  <a:lnTo>
                    <a:pt x="744" y="150"/>
                  </a:lnTo>
                  <a:lnTo>
                    <a:pt x="774" y="162"/>
                  </a:lnTo>
                  <a:lnTo>
                    <a:pt x="786" y="162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16" y="150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2" y="132"/>
                  </a:lnTo>
                  <a:lnTo>
                    <a:pt x="822" y="114"/>
                  </a:lnTo>
                  <a:lnTo>
                    <a:pt x="828" y="108"/>
                  </a:lnTo>
                  <a:lnTo>
                    <a:pt x="834" y="96"/>
                  </a:lnTo>
                  <a:lnTo>
                    <a:pt x="846" y="96"/>
                  </a:lnTo>
                  <a:lnTo>
                    <a:pt x="858" y="90"/>
                  </a:lnTo>
                  <a:lnTo>
                    <a:pt x="870" y="84"/>
                  </a:lnTo>
                  <a:lnTo>
                    <a:pt x="888" y="84"/>
                  </a:lnTo>
                  <a:lnTo>
                    <a:pt x="894" y="90"/>
                  </a:lnTo>
                  <a:lnTo>
                    <a:pt x="894" y="102"/>
                  </a:lnTo>
                  <a:lnTo>
                    <a:pt x="900" y="102"/>
                  </a:lnTo>
                  <a:lnTo>
                    <a:pt x="906" y="114"/>
                  </a:lnTo>
                  <a:lnTo>
                    <a:pt x="930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54" y="138"/>
                  </a:lnTo>
                  <a:lnTo>
                    <a:pt x="966" y="144"/>
                  </a:lnTo>
                  <a:lnTo>
                    <a:pt x="966" y="150"/>
                  </a:lnTo>
                  <a:lnTo>
                    <a:pt x="972" y="150"/>
                  </a:lnTo>
                  <a:lnTo>
                    <a:pt x="978" y="150"/>
                  </a:lnTo>
                  <a:lnTo>
                    <a:pt x="978" y="144"/>
                  </a:lnTo>
                  <a:lnTo>
                    <a:pt x="984" y="144"/>
                  </a:lnTo>
                  <a:lnTo>
                    <a:pt x="990" y="138"/>
                  </a:lnTo>
                  <a:lnTo>
                    <a:pt x="996" y="138"/>
                  </a:lnTo>
                  <a:lnTo>
                    <a:pt x="1002" y="138"/>
                  </a:lnTo>
                  <a:lnTo>
                    <a:pt x="1008" y="138"/>
                  </a:lnTo>
                  <a:lnTo>
                    <a:pt x="1026" y="132"/>
                  </a:lnTo>
                  <a:lnTo>
                    <a:pt x="1044" y="126"/>
                  </a:lnTo>
                  <a:lnTo>
                    <a:pt x="1056" y="120"/>
                  </a:lnTo>
                  <a:lnTo>
                    <a:pt x="1062" y="108"/>
                  </a:lnTo>
                  <a:lnTo>
                    <a:pt x="1056" y="102"/>
                  </a:lnTo>
                  <a:lnTo>
                    <a:pt x="1062" y="96"/>
                  </a:lnTo>
                  <a:lnTo>
                    <a:pt x="1074" y="90"/>
                  </a:lnTo>
                  <a:lnTo>
                    <a:pt x="1080" y="84"/>
                  </a:lnTo>
                  <a:lnTo>
                    <a:pt x="1128" y="84"/>
                  </a:lnTo>
                  <a:lnTo>
                    <a:pt x="1134" y="84"/>
                  </a:lnTo>
                  <a:lnTo>
                    <a:pt x="1140" y="78"/>
                  </a:lnTo>
                  <a:lnTo>
                    <a:pt x="1152" y="72"/>
                  </a:lnTo>
                  <a:lnTo>
                    <a:pt x="1164" y="66"/>
                  </a:lnTo>
                  <a:lnTo>
                    <a:pt x="1170" y="60"/>
                  </a:lnTo>
                  <a:lnTo>
                    <a:pt x="1188" y="48"/>
                  </a:lnTo>
                  <a:lnTo>
                    <a:pt x="1200" y="36"/>
                  </a:lnTo>
                  <a:lnTo>
                    <a:pt x="1218" y="24"/>
                  </a:lnTo>
                  <a:lnTo>
                    <a:pt x="1248" y="24"/>
                  </a:lnTo>
                  <a:lnTo>
                    <a:pt x="1272" y="24"/>
                  </a:lnTo>
                  <a:lnTo>
                    <a:pt x="1284" y="12"/>
                  </a:lnTo>
                  <a:lnTo>
                    <a:pt x="1302" y="0"/>
                  </a:lnTo>
                  <a:lnTo>
                    <a:pt x="1314" y="0"/>
                  </a:lnTo>
                  <a:lnTo>
                    <a:pt x="1326" y="18"/>
                  </a:lnTo>
                  <a:lnTo>
                    <a:pt x="1338" y="30"/>
                  </a:lnTo>
                  <a:lnTo>
                    <a:pt x="1338" y="54"/>
                  </a:lnTo>
                  <a:lnTo>
                    <a:pt x="1332" y="72"/>
                  </a:lnTo>
                  <a:lnTo>
                    <a:pt x="1326" y="72"/>
                  </a:lnTo>
                  <a:lnTo>
                    <a:pt x="1326" y="78"/>
                  </a:lnTo>
                  <a:lnTo>
                    <a:pt x="1326" y="102"/>
                  </a:lnTo>
                  <a:lnTo>
                    <a:pt x="1332" y="102"/>
                  </a:lnTo>
                  <a:lnTo>
                    <a:pt x="1332" y="108"/>
                  </a:lnTo>
                  <a:lnTo>
                    <a:pt x="1344" y="114"/>
                  </a:lnTo>
                  <a:lnTo>
                    <a:pt x="1350" y="114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404" y="132"/>
                  </a:lnTo>
                  <a:lnTo>
                    <a:pt x="1404" y="138"/>
                  </a:lnTo>
                  <a:lnTo>
                    <a:pt x="1410" y="150"/>
                  </a:lnTo>
                  <a:lnTo>
                    <a:pt x="1416" y="162"/>
                  </a:lnTo>
                  <a:lnTo>
                    <a:pt x="1428" y="168"/>
                  </a:lnTo>
                  <a:lnTo>
                    <a:pt x="1440" y="180"/>
                  </a:lnTo>
                  <a:lnTo>
                    <a:pt x="1476" y="174"/>
                  </a:lnTo>
                  <a:lnTo>
                    <a:pt x="1494" y="174"/>
                  </a:lnTo>
                  <a:lnTo>
                    <a:pt x="1512" y="192"/>
                  </a:lnTo>
                  <a:lnTo>
                    <a:pt x="1518" y="204"/>
                  </a:lnTo>
                  <a:lnTo>
                    <a:pt x="1530" y="216"/>
                  </a:lnTo>
                  <a:lnTo>
                    <a:pt x="1548" y="228"/>
                  </a:lnTo>
                  <a:lnTo>
                    <a:pt x="1548" y="234"/>
                  </a:lnTo>
                  <a:lnTo>
                    <a:pt x="1542" y="246"/>
                  </a:lnTo>
                  <a:lnTo>
                    <a:pt x="1560" y="246"/>
                  </a:lnTo>
                  <a:lnTo>
                    <a:pt x="1560" y="252"/>
                  </a:lnTo>
                  <a:lnTo>
                    <a:pt x="1566" y="258"/>
                  </a:lnTo>
                  <a:lnTo>
                    <a:pt x="1578" y="270"/>
                  </a:lnTo>
                  <a:lnTo>
                    <a:pt x="1596" y="270"/>
                  </a:lnTo>
                  <a:lnTo>
                    <a:pt x="1602" y="288"/>
                  </a:lnTo>
                  <a:lnTo>
                    <a:pt x="1608" y="306"/>
                  </a:lnTo>
                  <a:lnTo>
                    <a:pt x="1608" y="318"/>
                  </a:lnTo>
                  <a:lnTo>
                    <a:pt x="1608" y="324"/>
                  </a:lnTo>
                  <a:lnTo>
                    <a:pt x="1614" y="330"/>
                  </a:lnTo>
                  <a:lnTo>
                    <a:pt x="1614" y="336"/>
                  </a:lnTo>
                  <a:lnTo>
                    <a:pt x="1614" y="342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08" y="390"/>
                  </a:lnTo>
                  <a:lnTo>
                    <a:pt x="1602" y="390"/>
                  </a:lnTo>
                  <a:lnTo>
                    <a:pt x="1602" y="396"/>
                  </a:lnTo>
                  <a:lnTo>
                    <a:pt x="1584" y="420"/>
                  </a:lnTo>
                  <a:lnTo>
                    <a:pt x="1584" y="426"/>
                  </a:lnTo>
                  <a:lnTo>
                    <a:pt x="1602" y="474"/>
                  </a:lnTo>
                  <a:lnTo>
                    <a:pt x="1608" y="480"/>
                  </a:lnTo>
                  <a:lnTo>
                    <a:pt x="1608" y="486"/>
                  </a:lnTo>
                  <a:lnTo>
                    <a:pt x="1614" y="486"/>
                  </a:lnTo>
                  <a:lnTo>
                    <a:pt x="1608" y="504"/>
                  </a:lnTo>
                  <a:lnTo>
                    <a:pt x="1572" y="504"/>
                  </a:lnTo>
                  <a:lnTo>
                    <a:pt x="1560" y="510"/>
                  </a:lnTo>
                  <a:lnTo>
                    <a:pt x="1554" y="522"/>
                  </a:lnTo>
                  <a:lnTo>
                    <a:pt x="1560" y="552"/>
                  </a:lnTo>
                  <a:lnTo>
                    <a:pt x="1566" y="552"/>
                  </a:lnTo>
                  <a:lnTo>
                    <a:pt x="1566" y="558"/>
                  </a:lnTo>
                  <a:lnTo>
                    <a:pt x="1572" y="558"/>
                  </a:lnTo>
                  <a:lnTo>
                    <a:pt x="1578" y="558"/>
                  </a:lnTo>
                  <a:lnTo>
                    <a:pt x="1578" y="552"/>
                  </a:lnTo>
                  <a:lnTo>
                    <a:pt x="1584" y="552"/>
                  </a:lnTo>
                  <a:lnTo>
                    <a:pt x="1590" y="552"/>
                  </a:lnTo>
                  <a:lnTo>
                    <a:pt x="1590" y="546"/>
                  </a:lnTo>
                  <a:lnTo>
                    <a:pt x="1596" y="546"/>
                  </a:lnTo>
                  <a:lnTo>
                    <a:pt x="1602" y="552"/>
                  </a:lnTo>
                  <a:lnTo>
                    <a:pt x="1602" y="546"/>
                  </a:lnTo>
                  <a:lnTo>
                    <a:pt x="1608" y="546"/>
                  </a:lnTo>
                  <a:lnTo>
                    <a:pt x="1608" y="552"/>
                  </a:lnTo>
                  <a:lnTo>
                    <a:pt x="1614" y="552"/>
                  </a:lnTo>
                  <a:lnTo>
                    <a:pt x="1614" y="546"/>
                  </a:lnTo>
                  <a:lnTo>
                    <a:pt x="1620" y="552"/>
                  </a:lnTo>
                  <a:lnTo>
                    <a:pt x="1626" y="552"/>
                  </a:lnTo>
                  <a:lnTo>
                    <a:pt x="1626" y="558"/>
                  </a:lnTo>
                  <a:lnTo>
                    <a:pt x="1632" y="558"/>
                  </a:lnTo>
                  <a:lnTo>
                    <a:pt x="1638" y="558"/>
                  </a:lnTo>
                  <a:lnTo>
                    <a:pt x="1644" y="558"/>
                  </a:lnTo>
                  <a:lnTo>
                    <a:pt x="1650" y="558"/>
                  </a:lnTo>
                  <a:lnTo>
                    <a:pt x="1650" y="564"/>
                  </a:lnTo>
                  <a:lnTo>
                    <a:pt x="1656" y="564"/>
                  </a:lnTo>
                  <a:lnTo>
                    <a:pt x="1662" y="564"/>
                  </a:lnTo>
                  <a:lnTo>
                    <a:pt x="1668" y="564"/>
                  </a:lnTo>
                  <a:lnTo>
                    <a:pt x="1668" y="570"/>
                  </a:lnTo>
                  <a:lnTo>
                    <a:pt x="1674" y="570"/>
                  </a:lnTo>
                  <a:lnTo>
                    <a:pt x="1680" y="570"/>
                  </a:lnTo>
                  <a:lnTo>
                    <a:pt x="1686" y="576"/>
                  </a:lnTo>
                  <a:lnTo>
                    <a:pt x="1686" y="582"/>
                  </a:lnTo>
                  <a:lnTo>
                    <a:pt x="1710" y="588"/>
                  </a:lnTo>
                  <a:lnTo>
                    <a:pt x="1710" y="594"/>
                  </a:lnTo>
                  <a:lnTo>
                    <a:pt x="1704" y="600"/>
                  </a:lnTo>
                  <a:lnTo>
                    <a:pt x="1710" y="624"/>
                  </a:lnTo>
                  <a:lnTo>
                    <a:pt x="1698" y="672"/>
                  </a:lnTo>
                  <a:lnTo>
                    <a:pt x="1704" y="678"/>
                  </a:lnTo>
                  <a:lnTo>
                    <a:pt x="1716" y="684"/>
                  </a:lnTo>
                  <a:lnTo>
                    <a:pt x="1716" y="678"/>
                  </a:lnTo>
                  <a:lnTo>
                    <a:pt x="1716" y="684"/>
                  </a:lnTo>
                  <a:lnTo>
                    <a:pt x="1728" y="684"/>
                  </a:lnTo>
                  <a:lnTo>
                    <a:pt x="1728" y="690"/>
                  </a:lnTo>
                  <a:lnTo>
                    <a:pt x="1734" y="696"/>
                  </a:lnTo>
                  <a:lnTo>
                    <a:pt x="1734" y="702"/>
                  </a:lnTo>
                  <a:lnTo>
                    <a:pt x="1740" y="708"/>
                  </a:lnTo>
                  <a:lnTo>
                    <a:pt x="1740" y="714"/>
                  </a:lnTo>
                  <a:lnTo>
                    <a:pt x="1710" y="714"/>
                  </a:lnTo>
                  <a:lnTo>
                    <a:pt x="1710" y="756"/>
                  </a:lnTo>
                  <a:lnTo>
                    <a:pt x="1704" y="762"/>
                  </a:lnTo>
                  <a:lnTo>
                    <a:pt x="1698" y="762"/>
                  </a:lnTo>
                  <a:lnTo>
                    <a:pt x="1698" y="768"/>
                  </a:lnTo>
                  <a:lnTo>
                    <a:pt x="1698" y="774"/>
                  </a:lnTo>
                  <a:lnTo>
                    <a:pt x="1692" y="780"/>
                  </a:lnTo>
                  <a:lnTo>
                    <a:pt x="1692" y="786"/>
                  </a:lnTo>
                  <a:lnTo>
                    <a:pt x="1686" y="786"/>
                  </a:lnTo>
                  <a:lnTo>
                    <a:pt x="1668" y="798"/>
                  </a:lnTo>
                  <a:lnTo>
                    <a:pt x="1662" y="810"/>
                  </a:lnTo>
                  <a:lnTo>
                    <a:pt x="1650" y="810"/>
                  </a:lnTo>
                  <a:lnTo>
                    <a:pt x="1644" y="816"/>
                  </a:lnTo>
                  <a:lnTo>
                    <a:pt x="1638" y="816"/>
                  </a:lnTo>
                  <a:lnTo>
                    <a:pt x="1626" y="852"/>
                  </a:lnTo>
                  <a:lnTo>
                    <a:pt x="1620" y="888"/>
                  </a:lnTo>
                  <a:lnTo>
                    <a:pt x="1626" y="888"/>
                  </a:lnTo>
                  <a:lnTo>
                    <a:pt x="1638" y="912"/>
                  </a:lnTo>
                  <a:lnTo>
                    <a:pt x="1644" y="918"/>
                  </a:lnTo>
                  <a:lnTo>
                    <a:pt x="1650" y="966"/>
                  </a:lnTo>
                  <a:lnTo>
                    <a:pt x="1626" y="972"/>
                  </a:lnTo>
                  <a:lnTo>
                    <a:pt x="1608" y="978"/>
                  </a:lnTo>
                  <a:lnTo>
                    <a:pt x="1614" y="984"/>
                  </a:lnTo>
                  <a:lnTo>
                    <a:pt x="1620" y="984"/>
                  </a:lnTo>
                  <a:lnTo>
                    <a:pt x="1620" y="1020"/>
                  </a:lnTo>
                  <a:lnTo>
                    <a:pt x="1614" y="1038"/>
                  </a:lnTo>
                  <a:lnTo>
                    <a:pt x="1620" y="1044"/>
                  </a:lnTo>
                  <a:lnTo>
                    <a:pt x="1626" y="1056"/>
                  </a:lnTo>
                  <a:lnTo>
                    <a:pt x="1626" y="1074"/>
                  </a:lnTo>
                  <a:lnTo>
                    <a:pt x="1620" y="1080"/>
                  </a:lnTo>
                  <a:lnTo>
                    <a:pt x="1620" y="1104"/>
                  </a:lnTo>
                  <a:lnTo>
                    <a:pt x="1620" y="1110"/>
                  </a:lnTo>
                  <a:lnTo>
                    <a:pt x="1614" y="1116"/>
                  </a:lnTo>
                  <a:lnTo>
                    <a:pt x="1608" y="1140"/>
                  </a:lnTo>
                  <a:lnTo>
                    <a:pt x="1602" y="1146"/>
                  </a:lnTo>
                  <a:lnTo>
                    <a:pt x="1602" y="1164"/>
                  </a:lnTo>
                  <a:lnTo>
                    <a:pt x="1596" y="1170"/>
                  </a:lnTo>
                  <a:lnTo>
                    <a:pt x="1590" y="1164"/>
                  </a:lnTo>
                  <a:lnTo>
                    <a:pt x="1584" y="1164"/>
                  </a:lnTo>
                  <a:lnTo>
                    <a:pt x="1578" y="1164"/>
                  </a:lnTo>
                  <a:lnTo>
                    <a:pt x="1578" y="1188"/>
                  </a:lnTo>
                  <a:lnTo>
                    <a:pt x="1584" y="1194"/>
                  </a:lnTo>
                  <a:lnTo>
                    <a:pt x="1590" y="1194"/>
                  </a:lnTo>
                  <a:lnTo>
                    <a:pt x="1590" y="1212"/>
                  </a:lnTo>
                  <a:lnTo>
                    <a:pt x="1584" y="1212"/>
                  </a:lnTo>
                  <a:lnTo>
                    <a:pt x="1584" y="1224"/>
                  </a:lnTo>
                  <a:lnTo>
                    <a:pt x="1578" y="1224"/>
                  </a:lnTo>
                  <a:lnTo>
                    <a:pt x="1578" y="1236"/>
                  </a:lnTo>
                  <a:lnTo>
                    <a:pt x="1584" y="1254"/>
                  </a:lnTo>
                  <a:lnTo>
                    <a:pt x="1584" y="1260"/>
                  </a:lnTo>
                  <a:lnTo>
                    <a:pt x="1590" y="1260"/>
                  </a:lnTo>
                  <a:lnTo>
                    <a:pt x="1590" y="1266"/>
                  </a:lnTo>
                  <a:lnTo>
                    <a:pt x="1596" y="1284"/>
                  </a:lnTo>
                  <a:lnTo>
                    <a:pt x="1602" y="1278"/>
                  </a:lnTo>
                  <a:lnTo>
                    <a:pt x="1608" y="1284"/>
                  </a:lnTo>
                  <a:lnTo>
                    <a:pt x="1632" y="1350"/>
                  </a:lnTo>
                  <a:lnTo>
                    <a:pt x="1638" y="1356"/>
                  </a:lnTo>
                  <a:lnTo>
                    <a:pt x="1644" y="1356"/>
                  </a:lnTo>
                  <a:lnTo>
                    <a:pt x="1650" y="1356"/>
                  </a:lnTo>
                  <a:lnTo>
                    <a:pt x="1656" y="1356"/>
                  </a:lnTo>
                  <a:lnTo>
                    <a:pt x="1662" y="1362"/>
                  </a:lnTo>
                  <a:lnTo>
                    <a:pt x="1668" y="1356"/>
                  </a:lnTo>
                  <a:lnTo>
                    <a:pt x="1668" y="1380"/>
                  </a:lnTo>
                  <a:lnTo>
                    <a:pt x="1662" y="1392"/>
                  </a:lnTo>
                  <a:lnTo>
                    <a:pt x="1656" y="1404"/>
                  </a:lnTo>
                  <a:lnTo>
                    <a:pt x="1656" y="1410"/>
                  </a:lnTo>
                  <a:lnTo>
                    <a:pt x="1656" y="1416"/>
                  </a:lnTo>
                  <a:lnTo>
                    <a:pt x="1650" y="1422"/>
                  </a:lnTo>
                  <a:lnTo>
                    <a:pt x="1650" y="1428"/>
                  </a:lnTo>
                  <a:lnTo>
                    <a:pt x="1644" y="1428"/>
                  </a:lnTo>
                  <a:lnTo>
                    <a:pt x="1644" y="1434"/>
                  </a:lnTo>
                  <a:lnTo>
                    <a:pt x="1638" y="1434"/>
                  </a:lnTo>
                  <a:lnTo>
                    <a:pt x="1638" y="1440"/>
                  </a:lnTo>
                  <a:lnTo>
                    <a:pt x="1632" y="1440"/>
                  </a:lnTo>
                  <a:lnTo>
                    <a:pt x="1638" y="145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8" name="Freeform 13">
              <a:extLst>
                <a:ext uri="{FF2B5EF4-FFF2-40B4-BE49-F238E27FC236}">
                  <a16:creationId xmlns:a16="http://schemas.microsoft.com/office/drawing/2014/main" id="{66308D9B-1739-4227-AAC3-BB866CD1F5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63374" y="2969626"/>
              <a:ext cx="330956" cy="357840"/>
            </a:xfrm>
            <a:custGeom>
              <a:avLst/>
              <a:gdLst>
                <a:gd name="T0" fmla="*/ 11 w 624"/>
                <a:gd name="T1" fmla="*/ 59 h 672"/>
                <a:gd name="T2" fmla="*/ 4 w 624"/>
                <a:gd name="T3" fmla="*/ 58 h 672"/>
                <a:gd name="T4" fmla="*/ 3 w 624"/>
                <a:gd name="T5" fmla="*/ 58 h 672"/>
                <a:gd name="T6" fmla="*/ 2 w 624"/>
                <a:gd name="T7" fmla="*/ 11 h 672"/>
                <a:gd name="T8" fmla="*/ 13 w 624"/>
                <a:gd name="T9" fmla="*/ 11 h 672"/>
                <a:gd name="T10" fmla="*/ 14 w 624"/>
                <a:gd name="T11" fmla="*/ 11 h 672"/>
                <a:gd name="T12" fmla="*/ 15 w 624"/>
                <a:gd name="T13" fmla="*/ 12 h 672"/>
                <a:gd name="T14" fmla="*/ 18 w 624"/>
                <a:gd name="T15" fmla="*/ 14 h 672"/>
                <a:gd name="T16" fmla="*/ 21 w 624"/>
                <a:gd name="T17" fmla="*/ 16 h 672"/>
                <a:gd name="T18" fmla="*/ 22 w 624"/>
                <a:gd name="T19" fmla="*/ 18 h 672"/>
                <a:gd name="T20" fmla="*/ 23 w 624"/>
                <a:gd name="T21" fmla="*/ 19 h 672"/>
                <a:gd name="T22" fmla="*/ 24 w 624"/>
                <a:gd name="T23" fmla="*/ 19 h 672"/>
                <a:gd name="T24" fmla="*/ 26 w 624"/>
                <a:gd name="T25" fmla="*/ 19 h 672"/>
                <a:gd name="T26" fmla="*/ 27 w 624"/>
                <a:gd name="T27" fmla="*/ 18 h 672"/>
                <a:gd name="T28" fmla="*/ 29 w 624"/>
                <a:gd name="T29" fmla="*/ 15 h 672"/>
                <a:gd name="T30" fmla="*/ 30 w 624"/>
                <a:gd name="T31" fmla="*/ 14 h 672"/>
                <a:gd name="T32" fmla="*/ 31 w 624"/>
                <a:gd name="T33" fmla="*/ 12 h 672"/>
                <a:gd name="T34" fmla="*/ 32 w 624"/>
                <a:gd name="T35" fmla="*/ 12 h 672"/>
                <a:gd name="T36" fmla="*/ 33 w 624"/>
                <a:gd name="T37" fmla="*/ 10 h 672"/>
                <a:gd name="T38" fmla="*/ 34 w 624"/>
                <a:gd name="T39" fmla="*/ 8 h 672"/>
                <a:gd name="T40" fmla="*/ 34 w 624"/>
                <a:gd name="T41" fmla="*/ 6 h 672"/>
                <a:gd name="T42" fmla="*/ 35 w 624"/>
                <a:gd name="T43" fmla="*/ 4 h 672"/>
                <a:gd name="T44" fmla="*/ 42 w 624"/>
                <a:gd name="T45" fmla="*/ 3 h 672"/>
                <a:gd name="T46" fmla="*/ 44 w 624"/>
                <a:gd name="T47" fmla="*/ 2 h 672"/>
                <a:gd name="T48" fmla="*/ 46 w 624"/>
                <a:gd name="T49" fmla="*/ 0 h 672"/>
                <a:gd name="T50" fmla="*/ 51 w 624"/>
                <a:gd name="T51" fmla="*/ 3 h 672"/>
                <a:gd name="T52" fmla="*/ 54 w 624"/>
                <a:gd name="T53" fmla="*/ 6 h 672"/>
                <a:gd name="T54" fmla="*/ 54 w 624"/>
                <a:gd name="T55" fmla="*/ 8 h 672"/>
                <a:gd name="T56" fmla="*/ 52 w 624"/>
                <a:gd name="T57" fmla="*/ 9 h 672"/>
                <a:gd name="T58" fmla="*/ 49 w 624"/>
                <a:gd name="T59" fmla="*/ 11 h 672"/>
                <a:gd name="T60" fmla="*/ 48 w 624"/>
                <a:gd name="T61" fmla="*/ 14 h 672"/>
                <a:gd name="T62" fmla="*/ 46 w 624"/>
                <a:gd name="T63" fmla="*/ 22 h 672"/>
                <a:gd name="T64" fmla="*/ 45 w 624"/>
                <a:gd name="T65" fmla="*/ 39 h 672"/>
                <a:gd name="T66" fmla="*/ 43 w 624"/>
                <a:gd name="T67" fmla="*/ 43 h 672"/>
                <a:gd name="T68" fmla="*/ 39 w 624"/>
                <a:gd name="T69" fmla="*/ 50 h 672"/>
                <a:gd name="T70" fmla="*/ 36 w 624"/>
                <a:gd name="T71" fmla="*/ 53 h 672"/>
                <a:gd name="T72" fmla="*/ 32 w 624"/>
                <a:gd name="T73" fmla="*/ 56 h 672"/>
                <a:gd name="T74" fmla="*/ 30 w 624"/>
                <a:gd name="T75" fmla="*/ 58 h 672"/>
                <a:gd name="T76" fmla="*/ 20 w 624"/>
                <a:gd name="T77" fmla="*/ 59 h 672"/>
                <a:gd name="T78" fmla="*/ 15 w 624"/>
                <a:gd name="T79" fmla="*/ 59 h 67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24"/>
                <a:gd name="T121" fmla="*/ 0 h 672"/>
                <a:gd name="T122" fmla="*/ 624 w 624"/>
                <a:gd name="T123" fmla="*/ 672 h 67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24" h="672">
                  <a:moveTo>
                    <a:pt x="168" y="672"/>
                  </a:moveTo>
                  <a:lnTo>
                    <a:pt x="132" y="672"/>
                  </a:lnTo>
                  <a:lnTo>
                    <a:pt x="72" y="666"/>
                  </a:lnTo>
                  <a:lnTo>
                    <a:pt x="42" y="666"/>
                  </a:lnTo>
                  <a:lnTo>
                    <a:pt x="36" y="666"/>
                  </a:lnTo>
                  <a:lnTo>
                    <a:pt x="30" y="660"/>
                  </a:lnTo>
                  <a:lnTo>
                    <a:pt x="0" y="660"/>
                  </a:lnTo>
                  <a:lnTo>
                    <a:pt x="24" y="120"/>
                  </a:lnTo>
                  <a:lnTo>
                    <a:pt x="60" y="120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62" y="120"/>
                  </a:lnTo>
                  <a:lnTo>
                    <a:pt x="168" y="120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10" y="156"/>
                  </a:lnTo>
                  <a:lnTo>
                    <a:pt x="222" y="174"/>
                  </a:lnTo>
                  <a:lnTo>
                    <a:pt x="240" y="186"/>
                  </a:lnTo>
                  <a:lnTo>
                    <a:pt x="252" y="198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216"/>
                  </a:lnTo>
                  <a:lnTo>
                    <a:pt x="270" y="216"/>
                  </a:lnTo>
                  <a:lnTo>
                    <a:pt x="282" y="222"/>
                  </a:lnTo>
                  <a:lnTo>
                    <a:pt x="288" y="222"/>
                  </a:lnTo>
                  <a:lnTo>
                    <a:pt x="294" y="216"/>
                  </a:lnTo>
                  <a:lnTo>
                    <a:pt x="294" y="210"/>
                  </a:lnTo>
                  <a:lnTo>
                    <a:pt x="312" y="204"/>
                  </a:lnTo>
                  <a:lnTo>
                    <a:pt x="330" y="186"/>
                  </a:lnTo>
                  <a:lnTo>
                    <a:pt x="336" y="174"/>
                  </a:lnTo>
                  <a:lnTo>
                    <a:pt x="342" y="162"/>
                  </a:lnTo>
                  <a:lnTo>
                    <a:pt x="342" y="156"/>
                  </a:lnTo>
                  <a:lnTo>
                    <a:pt x="348" y="150"/>
                  </a:lnTo>
                  <a:lnTo>
                    <a:pt x="354" y="144"/>
                  </a:lnTo>
                  <a:lnTo>
                    <a:pt x="360" y="138"/>
                  </a:lnTo>
                  <a:lnTo>
                    <a:pt x="366" y="132"/>
                  </a:lnTo>
                  <a:lnTo>
                    <a:pt x="372" y="114"/>
                  </a:lnTo>
                  <a:lnTo>
                    <a:pt x="378" y="114"/>
                  </a:lnTo>
                  <a:lnTo>
                    <a:pt x="378" y="96"/>
                  </a:lnTo>
                  <a:lnTo>
                    <a:pt x="390" y="96"/>
                  </a:lnTo>
                  <a:lnTo>
                    <a:pt x="396" y="84"/>
                  </a:lnTo>
                  <a:lnTo>
                    <a:pt x="396" y="72"/>
                  </a:lnTo>
                  <a:lnTo>
                    <a:pt x="396" y="54"/>
                  </a:lnTo>
                  <a:lnTo>
                    <a:pt x="408" y="42"/>
                  </a:lnTo>
                  <a:lnTo>
                    <a:pt x="468" y="42"/>
                  </a:lnTo>
                  <a:lnTo>
                    <a:pt x="486" y="36"/>
                  </a:lnTo>
                  <a:lnTo>
                    <a:pt x="492" y="24"/>
                  </a:lnTo>
                  <a:lnTo>
                    <a:pt x="504" y="24"/>
                  </a:lnTo>
                  <a:lnTo>
                    <a:pt x="516" y="6"/>
                  </a:lnTo>
                  <a:lnTo>
                    <a:pt x="528" y="0"/>
                  </a:lnTo>
                  <a:lnTo>
                    <a:pt x="558" y="12"/>
                  </a:lnTo>
                  <a:lnTo>
                    <a:pt x="588" y="36"/>
                  </a:lnTo>
                  <a:lnTo>
                    <a:pt x="600" y="66"/>
                  </a:lnTo>
                  <a:lnTo>
                    <a:pt x="624" y="66"/>
                  </a:lnTo>
                  <a:lnTo>
                    <a:pt x="624" y="90"/>
                  </a:lnTo>
                  <a:lnTo>
                    <a:pt x="618" y="90"/>
                  </a:lnTo>
                  <a:lnTo>
                    <a:pt x="618" y="96"/>
                  </a:lnTo>
                  <a:lnTo>
                    <a:pt x="600" y="102"/>
                  </a:lnTo>
                  <a:lnTo>
                    <a:pt x="588" y="108"/>
                  </a:lnTo>
                  <a:lnTo>
                    <a:pt x="570" y="120"/>
                  </a:lnTo>
                  <a:lnTo>
                    <a:pt x="564" y="138"/>
                  </a:lnTo>
                  <a:lnTo>
                    <a:pt x="558" y="162"/>
                  </a:lnTo>
                  <a:lnTo>
                    <a:pt x="540" y="210"/>
                  </a:lnTo>
                  <a:lnTo>
                    <a:pt x="528" y="252"/>
                  </a:lnTo>
                  <a:lnTo>
                    <a:pt x="528" y="402"/>
                  </a:lnTo>
                  <a:lnTo>
                    <a:pt x="522" y="444"/>
                  </a:lnTo>
                  <a:lnTo>
                    <a:pt x="510" y="468"/>
                  </a:lnTo>
                  <a:lnTo>
                    <a:pt x="498" y="498"/>
                  </a:lnTo>
                  <a:lnTo>
                    <a:pt x="474" y="534"/>
                  </a:lnTo>
                  <a:lnTo>
                    <a:pt x="456" y="570"/>
                  </a:lnTo>
                  <a:lnTo>
                    <a:pt x="444" y="576"/>
                  </a:lnTo>
                  <a:lnTo>
                    <a:pt x="420" y="606"/>
                  </a:lnTo>
                  <a:lnTo>
                    <a:pt x="390" y="624"/>
                  </a:lnTo>
                  <a:lnTo>
                    <a:pt x="372" y="642"/>
                  </a:lnTo>
                  <a:lnTo>
                    <a:pt x="366" y="654"/>
                  </a:lnTo>
                  <a:lnTo>
                    <a:pt x="342" y="660"/>
                  </a:lnTo>
                  <a:lnTo>
                    <a:pt x="300" y="666"/>
                  </a:lnTo>
                  <a:lnTo>
                    <a:pt x="234" y="672"/>
                  </a:lnTo>
                  <a:lnTo>
                    <a:pt x="192" y="672"/>
                  </a:lnTo>
                  <a:lnTo>
                    <a:pt x="168" y="67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9" name="Freeform 14">
              <a:extLst>
                <a:ext uri="{FF2B5EF4-FFF2-40B4-BE49-F238E27FC236}">
                  <a16:creationId xmlns:a16="http://schemas.microsoft.com/office/drawing/2014/main" id="{2EA1E999-9CDF-4391-8BC9-7DE71AF9C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0460" y="2983045"/>
              <a:ext cx="905658" cy="561362"/>
            </a:xfrm>
            <a:custGeom>
              <a:avLst/>
              <a:gdLst>
                <a:gd name="T0" fmla="*/ 31 w 1704"/>
                <a:gd name="T1" fmla="*/ 78 h 1056"/>
                <a:gd name="T2" fmla="*/ 23 w 1704"/>
                <a:gd name="T3" fmla="*/ 78 h 1056"/>
                <a:gd name="T4" fmla="*/ 11 w 1704"/>
                <a:gd name="T5" fmla="*/ 79 h 1056"/>
                <a:gd name="T6" fmla="*/ 1 w 1704"/>
                <a:gd name="T7" fmla="*/ 81 h 1056"/>
                <a:gd name="T8" fmla="*/ 0 w 1704"/>
                <a:gd name="T9" fmla="*/ 62 h 1056"/>
                <a:gd name="T10" fmla="*/ 9 w 1704"/>
                <a:gd name="T11" fmla="*/ 56 h 1056"/>
                <a:gd name="T12" fmla="*/ 27 w 1704"/>
                <a:gd name="T13" fmla="*/ 48 h 1056"/>
                <a:gd name="T14" fmla="*/ 35 w 1704"/>
                <a:gd name="T15" fmla="*/ 20 h 1056"/>
                <a:gd name="T16" fmla="*/ 43 w 1704"/>
                <a:gd name="T17" fmla="*/ 6 h 1056"/>
                <a:gd name="T18" fmla="*/ 47 w 1704"/>
                <a:gd name="T19" fmla="*/ 7 h 1056"/>
                <a:gd name="T20" fmla="*/ 52 w 1704"/>
                <a:gd name="T21" fmla="*/ 0 h 1056"/>
                <a:gd name="T22" fmla="*/ 59 w 1704"/>
                <a:gd name="T23" fmla="*/ 5 h 1056"/>
                <a:gd name="T24" fmla="*/ 63 w 1704"/>
                <a:gd name="T25" fmla="*/ 12 h 1056"/>
                <a:gd name="T26" fmla="*/ 62 w 1704"/>
                <a:gd name="T27" fmla="*/ 15 h 1056"/>
                <a:gd name="T28" fmla="*/ 62 w 1704"/>
                <a:gd name="T29" fmla="*/ 18 h 1056"/>
                <a:gd name="T30" fmla="*/ 70 w 1704"/>
                <a:gd name="T31" fmla="*/ 18 h 1056"/>
                <a:gd name="T32" fmla="*/ 71 w 1704"/>
                <a:gd name="T33" fmla="*/ 14 h 1056"/>
                <a:gd name="T34" fmla="*/ 72 w 1704"/>
                <a:gd name="T35" fmla="*/ 12 h 1056"/>
                <a:gd name="T36" fmla="*/ 78 w 1704"/>
                <a:gd name="T37" fmla="*/ 14 h 1056"/>
                <a:gd name="T38" fmla="*/ 85 w 1704"/>
                <a:gd name="T39" fmla="*/ 21 h 1056"/>
                <a:gd name="T40" fmla="*/ 91 w 1704"/>
                <a:gd name="T41" fmla="*/ 15 h 1056"/>
                <a:gd name="T42" fmla="*/ 93 w 1704"/>
                <a:gd name="T43" fmla="*/ 10 h 1056"/>
                <a:gd name="T44" fmla="*/ 101 w 1704"/>
                <a:gd name="T45" fmla="*/ 14 h 1056"/>
                <a:gd name="T46" fmla="*/ 103 w 1704"/>
                <a:gd name="T47" fmla="*/ 19 h 1056"/>
                <a:gd name="T48" fmla="*/ 115 w 1704"/>
                <a:gd name="T49" fmla="*/ 20 h 1056"/>
                <a:gd name="T50" fmla="*/ 118 w 1704"/>
                <a:gd name="T51" fmla="*/ 23 h 1056"/>
                <a:gd name="T52" fmla="*/ 117 w 1704"/>
                <a:gd name="T53" fmla="*/ 27 h 1056"/>
                <a:gd name="T54" fmla="*/ 111 w 1704"/>
                <a:gd name="T55" fmla="*/ 33 h 1056"/>
                <a:gd name="T56" fmla="*/ 108 w 1704"/>
                <a:gd name="T57" fmla="*/ 36 h 1056"/>
                <a:gd name="T58" fmla="*/ 109 w 1704"/>
                <a:gd name="T59" fmla="*/ 40 h 1056"/>
                <a:gd name="T60" fmla="*/ 111 w 1704"/>
                <a:gd name="T61" fmla="*/ 43 h 1056"/>
                <a:gd name="T62" fmla="*/ 113 w 1704"/>
                <a:gd name="T63" fmla="*/ 50 h 1056"/>
                <a:gd name="T64" fmla="*/ 121 w 1704"/>
                <a:gd name="T65" fmla="*/ 55 h 1056"/>
                <a:gd name="T66" fmla="*/ 132 w 1704"/>
                <a:gd name="T67" fmla="*/ 52 h 1056"/>
                <a:gd name="T68" fmla="*/ 148 w 1704"/>
                <a:gd name="T69" fmla="*/ 58 h 1056"/>
                <a:gd name="T70" fmla="*/ 148 w 1704"/>
                <a:gd name="T71" fmla="*/ 61 h 1056"/>
                <a:gd name="T72" fmla="*/ 148 w 1704"/>
                <a:gd name="T73" fmla="*/ 64 h 1056"/>
                <a:gd name="T74" fmla="*/ 135 w 1704"/>
                <a:gd name="T75" fmla="*/ 61 h 1056"/>
                <a:gd name="T76" fmla="*/ 135 w 1704"/>
                <a:gd name="T77" fmla="*/ 66 h 1056"/>
                <a:gd name="T78" fmla="*/ 137 w 1704"/>
                <a:gd name="T79" fmla="*/ 71 h 1056"/>
                <a:gd name="T80" fmla="*/ 136 w 1704"/>
                <a:gd name="T81" fmla="*/ 79 h 1056"/>
                <a:gd name="T82" fmla="*/ 126 w 1704"/>
                <a:gd name="T83" fmla="*/ 84 h 1056"/>
                <a:gd name="T84" fmla="*/ 121 w 1704"/>
                <a:gd name="T85" fmla="*/ 79 h 1056"/>
                <a:gd name="T86" fmla="*/ 117 w 1704"/>
                <a:gd name="T87" fmla="*/ 75 h 1056"/>
                <a:gd name="T88" fmla="*/ 98 w 1704"/>
                <a:gd name="T89" fmla="*/ 74 h 1056"/>
                <a:gd name="T90" fmla="*/ 81 w 1704"/>
                <a:gd name="T91" fmla="*/ 75 h 1056"/>
                <a:gd name="T92" fmla="*/ 83 w 1704"/>
                <a:gd name="T93" fmla="*/ 88 h 1056"/>
                <a:gd name="T94" fmla="*/ 82 w 1704"/>
                <a:gd name="T95" fmla="*/ 91 h 1056"/>
                <a:gd name="T96" fmla="*/ 77 w 1704"/>
                <a:gd name="T97" fmla="*/ 90 h 1056"/>
                <a:gd name="T98" fmla="*/ 73 w 1704"/>
                <a:gd name="T99" fmla="*/ 86 h 1056"/>
                <a:gd name="T100" fmla="*/ 68 w 1704"/>
                <a:gd name="T101" fmla="*/ 85 h 1056"/>
                <a:gd name="T102" fmla="*/ 64 w 1704"/>
                <a:gd name="T103" fmla="*/ 83 h 1056"/>
                <a:gd name="T104" fmla="*/ 57 w 1704"/>
                <a:gd name="T105" fmla="*/ 81 h 1056"/>
                <a:gd name="T106" fmla="*/ 52 w 1704"/>
                <a:gd name="T107" fmla="*/ 80 h 1056"/>
                <a:gd name="T108" fmla="*/ 50 w 1704"/>
                <a:gd name="T109" fmla="*/ 80 h 1056"/>
                <a:gd name="T110" fmla="*/ 46 w 1704"/>
                <a:gd name="T111" fmla="*/ 79 h 1056"/>
                <a:gd name="T112" fmla="*/ 41 w 1704"/>
                <a:gd name="T113" fmla="*/ 78 h 10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04"/>
                <a:gd name="T172" fmla="*/ 0 h 1056"/>
                <a:gd name="T173" fmla="*/ 1704 w 1704"/>
                <a:gd name="T174" fmla="*/ 1056 h 10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04" h="1056">
                  <a:moveTo>
                    <a:pt x="450" y="888"/>
                  </a:moveTo>
                  <a:lnTo>
                    <a:pt x="420" y="888"/>
                  </a:lnTo>
                  <a:lnTo>
                    <a:pt x="414" y="888"/>
                  </a:lnTo>
                  <a:lnTo>
                    <a:pt x="396" y="888"/>
                  </a:lnTo>
                  <a:lnTo>
                    <a:pt x="372" y="888"/>
                  </a:lnTo>
                  <a:lnTo>
                    <a:pt x="366" y="888"/>
                  </a:lnTo>
                  <a:lnTo>
                    <a:pt x="360" y="888"/>
                  </a:lnTo>
                  <a:lnTo>
                    <a:pt x="348" y="888"/>
                  </a:lnTo>
                  <a:lnTo>
                    <a:pt x="330" y="894"/>
                  </a:lnTo>
                  <a:lnTo>
                    <a:pt x="324" y="894"/>
                  </a:lnTo>
                  <a:lnTo>
                    <a:pt x="312" y="888"/>
                  </a:lnTo>
                  <a:lnTo>
                    <a:pt x="300" y="888"/>
                  </a:lnTo>
                  <a:lnTo>
                    <a:pt x="282" y="888"/>
                  </a:lnTo>
                  <a:lnTo>
                    <a:pt x="270" y="888"/>
                  </a:lnTo>
                  <a:lnTo>
                    <a:pt x="240" y="882"/>
                  </a:lnTo>
                  <a:lnTo>
                    <a:pt x="222" y="882"/>
                  </a:lnTo>
                  <a:lnTo>
                    <a:pt x="198" y="882"/>
                  </a:lnTo>
                  <a:lnTo>
                    <a:pt x="174" y="894"/>
                  </a:lnTo>
                  <a:lnTo>
                    <a:pt x="162" y="900"/>
                  </a:lnTo>
                  <a:lnTo>
                    <a:pt x="144" y="906"/>
                  </a:lnTo>
                  <a:lnTo>
                    <a:pt x="126" y="912"/>
                  </a:lnTo>
                  <a:lnTo>
                    <a:pt x="102" y="924"/>
                  </a:lnTo>
                  <a:lnTo>
                    <a:pt x="78" y="930"/>
                  </a:lnTo>
                  <a:lnTo>
                    <a:pt x="72" y="936"/>
                  </a:lnTo>
                  <a:lnTo>
                    <a:pt x="30" y="954"/>
                  </a:lnTo>
                  <a:lnTo>
                    <a:pt x="12" y="966"/>
                  </a:lnTo>
                  <a:lnTo>
                    <a:pt x="12" y="954"/>
                  </a:lnTo>
                  <a:lnTo>
                    <a:pt x="12" y="930"/>
                  </a:lnTo>
                  <a:lnTo>
                    <a:pt x="12" y="894"/>
                  </a:lnTo>
                  <a:lnTo>
                    <a:pt x="30" y="828"/>
                  </a:lnTo>
                  <a:lnTo>
                    <a:pt x="36" y="798"/>
                  </a:lnTo>
                  <a:lnTo>
                    <a:pt x="18" y="774"/>
                  </a:lnTo>
                  <a:lnTo>
                    <a:pt x="18" y="756"/>
                  </a:lnTo>
                  <a:lnTo>
                    <a:pt x="6" y="738"/>
                  </a:lnTo>
                  <a:lnTo>
                    <a:pt x="0" y="714"/>
                  </a:lnTo>
                  <a:lnTo>
                    <a:pt x="12" y="678"/>
                  </a:lnTo>
                  <a:lnTo>
                    <a:pt x="18" y="678"/>
                  </a:lnTo>
                  <a:lnTo>
                    <a:pt x="24" y="672"/>
                  </a:lnTo>
                  <a:lnTo>
                    <a:pt x="30" y="666"/>
                  </a:lnTo>
                  <a:lnTo>
                    <a:pt x="42" y="648"/>
                  </a:lnTo>
                  <a:lnTo>
                    <a:pt x="66" y="648"/>
                  </a:lnTo>
                  <a:lnTo>
                    <a:pt x="108" y="648"/>
                  </a:lnTo>
                  <a:lnTo>
                    <a:pt x="174" y="642"/>
                  </a:lnTo>
                  <a:lnTo>
                    <a:pt x="216" y="636"/>
                  </a:lnTo>
                  <a:lnTo>
                    <a:pt x="240" y="630"/>
                  </a:lnTo>
                  <a:lnTo>
                    <a:pt x="246" y="618"/>
                  </a:lnTo>
                  <a:lnTo>
                    <a:pt x="264" y="600"/>
                  </a:lnTo>
                  <a:lnTo>
                    <a:pt x="294" y="582"/>
                  </a:lnTo>
                  <a:lnTo>
                    <a:pt x="318" y="552"/>
                  </a:lnTo>
                  <a:lnTo>
                    <a:pt x="330" y="546"/>
                  </a:lnTo>
                  <a:lnTo>
                    <a:pt x="348" y="510"/>
                  </a:lnTo>
                  <a:lnTo>
                    <a:pt x="372" y="474"/>
                  </a:lnTo>
                  <a:lnTo>
                    <a:pt x="384" y="444"/>
                  </a:lnTo>
                  <a:lnTo>
                    <a:pt x="396" y="420"/>
                  </a:lnTo>
                  <a:lnTo>
                    <a:pt x="402" y="378"/>
                  </a:lnTo>
                  <a:lnTo>
                    <a:pt x="402" y="228"/>
                  </a:lnTo>
                  <a:lnTo>
                    <a:pt x="414" y="186"/>
                  </a:lnTo>
                  <a:lnTo>
                    <a:pt x="432" y="138"/>
                  </a:lnTo>
                  <a:lnTo>
                    <a:pt x="438" y="114"/>
                  </a:lnTo>
                  <a:lnTo>
                    <a:pt x="444" y="96"/>
                  </a:lnTo>
                  <a:lnTo>
                    <a:pt x="462" y="84"/>
                  </a:lnTo>
                  <a:lnTo>
                    <a:pt x="474" y="78"/>
                  </a:lnTo>
                  <a:lnTo>
                    <a:pt x="492" y="72"/>
                  </a:lnTo>
                  <a:lnTo>
                    <a:pt x="492" y="66"/>
                  </a:lnTo>
                  <a:lnTo>
                    <a:pt x="498" y="66"/>
                  </a:lnTo>
                  <a:lnTo>
                    <a:pt x="510" y="66"/>
                  </a:lnTo>
                  <a:lnTo>
                    <a:pt x="510" y="72"/>
                  </a:lnTo>
                  <a:lnTo>
                    <a:pt x="516" y="72"/>
                  </a:lnTo>
                  <a:lnTo>
                    <a:pt x="522" y="78"/>
                  </a:lnTo>
                  <a:lnTo>
                    <a:pt x="546" y="78"/>
                  </a:lnTo>
                  <a:lnTo>
                    <a:pt x="552" y="60"/>
                  </a:lnTo>
                  <a:lnTo>
                    <a:pt x="570" y="42"/>
                  </a:lnTo>
                  <a:lnTo>
                    <a:pt x="576" y="24"/>
                  </a:lnTo>
                  <a:lnTo>
                    <a:pt x="588" y="18"/>
                  </a:lnTo>
                  <a:lnTo>
                    <a:pt x="588" y="12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624" y="0"/>
                  </a:lnTo>
                  <a:lnTo>
                    <a:pt x="636" y="6"/>
                  </a:lnTo>
                  <a:lnTo>
                    <a:pt x="648" y="24"/>
                  </a:lnTo>
                  <a:lnTo>
                    <a:pt x="654" y="48"/>
                  </a:lnTo>
                  <a:lnTo>
                    <a:pt x="672" y="60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0" y="72"/>
                  </a:lnTo>
                  <a:lnTo>
                    <a:pt x="690" y="78"/>
                  </a:lnTo>
                  <a:lnTo>
                    <a:pt x="696" y="90"/>
                  </a:lnTo>
                  <a:lnTo>
                    <a:pt x="714" y="114"/>
                  </a:lnTo>
                  <a:lnTo>
                    <a:pt x="714" y="120"/>
                  </a:lnTo>
                  <a:lnTo>
                    <a:pt x="720" y="132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20" y="150"/>
                  </a:lnTo>
                  <a:lnTo>
                    <a:pt x="714" y="150"/>
                  </a:lnTo>
                  <a:lnTo>
                    <a:pt x="714" y="156"/>
                  </a:lnTo>
                  <a:lnTo>
                    <a:pt x="714" y="162"/>
                  </a:lnTo>
                  <a:lnTo>
                    <a:pt x="708" y="162"/>
                  </a:lnTo>
                  <a:lnTo>
                    <a:pt x="708" y="168"/>
                  </a:lnTo>
                  <a:lnTo>
                    <a:pt x="702" y="168"/>
                  </a:lnTo>
                  <a:lnTo>
                    <a:pt x="702" y="174"/>
                  </a:lnTo>
                  <a:lnTo>
                    <a:pt x="702" y="180"/>
                  </a:lnTo>
                  <a:lnTo>
                    <a:pt x="708" y="180"/>
                  </a:lnTo>
                  <a:lnTo>
                    <a:pt x="708" y="186"/>
                  </a:lnTo>
                  <a:lnTo>
                    <a:pt x="708" y="192"/>
                  </a:lnTo>
                  <a:lnTo>
                    <a:pt x="714" y="204"/>
                  </a:lnTo>
                  <a:lnTo>
                    <a:pt x="726" y="216"/>
                  </a:lnTo>
                  <a:lnTo>
                    <a:pt x="738" y="216"/>
                  </a:lnTo>
                  <a:lnTo>
                    <a:pt x="768" y="222"/>
                  </a:lnTo>
                  <a:lnTo>
                    <a:pt x="780" y="216"/>
                  </a:lnTo>
                  <a:lnTo>
                    <a:pt x="792" y="204"/>
                  </a:lnTo>
                  <a:lnTo>
                    <a:pt x="798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6" y="192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6" y="174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22" y="156"/>
                  </a:lnTo>
                  <a:lnTo>
                    <a:pt x="822" y="150"/>
                  </a:lnTo>
                  <a:lnTo>
                    <a:pt x="828" y="144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8" y="138"/>
                  </a:lnTo>
                  <a:lnTo>
                    <a:pt x="834" y="132"/>
                  </a:lnTo>
                  <a:lnTo>
                    <a:pt x="840" y="132"/>
                  </a:lnTo>
                  <a:lnTo>
                    <a:pt x="864" y="126"/>
                  </a:lnTo>
                  <a:lnTo>
                    <a:pt x="906" y="144"/>
                  </a:lnTo>
                  <a:lnTo>
                    <a:pt x="906" y="150"/>
                  </a:lnTo>
                  <a:lnTo>
                    <a:pt x="906" y="156"/>
                  </a:lnTo>
                  <a:lnTo>
                    <a:pt x="900" y="162"/>
                  </a:lnTo>
                  <a:lnTo>
                    <a:pt x="924" y="168"/>
                  </a:lnTo>
                  <a:lnTo>
                    <a:pt x="942" y="192"/>
                  </a:lnTo>
                  <a:lnTo>
                    <a:pt x="972" y="210"/>
                  </a:lnTo>
                  <a:lnTo>
                    <a:pt x="972" y="216"/>
                  </a:lnTo>
                  <a:lnTo>
                    <a:pt x="972" y="228"/>
                  </a:lnTo>
                  <a:lnTo>
                    <a:pt x="978" y="234"/>
                  </a:lnTo>
                  <a:lnTo>
                    <a:pt x="978" y="246"/>
                  </a:lnTo>
                  <a:lnTo>
                    <a:pt x="984" y="252"/>
                  </a:lnTo>
                  <a:lnTo>
                    <a:pt x="1014" y="252"/>
                  </a:lnTo>
                  <a:lnTo>
                    <a:pt x="1020" y="228"/>
                  </a:lnTo>
                  <a:lnTo>
                    <a:pt x="1026" y="198"/>
                  </a:lnTo>
                  <a:lnTo>
                    <a:pt x="1050" y="186"/>
                  </a:lnTo>
                  <a:lnTo>
                    <a:pt x="1056" y="180"/>
                  </a:lnTo>
                  <a:lnTo>
                    <a:pt x="1050" y="174"/>
                  </a:lnTo>
                  <a:lnTo>
                    <a:pt x="1050" y="168"/>
                  </a:lnTo>
                  <a:lnTo>
                    <a:pt x="1050" y="162"/>
                  </a:lnTo>
                  <a:lnTo>
                    <a:pt x="1056" y="162"/>
                  </a:lnTo>
                  <a:lnTo>
                    <a:pt x="1062" y="162"/>
                  </a:lnTo>
                  <a:lnTo>
                    <a:pt x="1074" y="162"/>
                  </a:lnTo>
                  <a:lnTo>
                    <a:pt x="1074" y="144"/>
                  </a:lnTo>
                  <a:lnTo>
                    <a:pt x="1074" y="120"/>
                  </a:lnTo>
                  <a:lnTo>
                    <a:pt x="1092" y="120"/>
                  </a:lnTo>
                  <a:lnTo>
                    <a:pt x="1098" y="126"/>
                  </a:lnTo>
                  <a:lnTo>
                    <a:pt x="1134" y="132"/>
                  </a:lnTo>
                  <a:lnTo>
                    <a:pt x="1146" y="132"/>
                  </a:lnTo>
                  <a:lnTo>
                    <a:pt x="1158" y="150"/>
                  </a:lnTo>
                  <a:lnTo>
                    <a:pt x="1158" y="156"/>
                  </a:lnTo>
                  <a:lnTo>
                    <a:pt x="1158" y="162"/>
                  </a:lnTo>
                  <a:lnTo>
                    <a:pt x="1158" y="180"/>
                  </a:lnTo>
                  <a:lnTo>
                    <a:pt x="1158" y="186"/>
                  </a:lnTo>
                  <a:lnTo>
                    <a:pt x="1164" y="192"/>
                  </a:lnTo>
                  <a:lnTo>
                    <a:pt x="1176" y="198"/>
                  </a:lnTo>
                  <a:lnTo>
                    <a:pt x="1182" y="198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8"/>
                  </a:lnTo>
                  <a:lnTo>
                    <a:pt x="1188" y="234"/>
                  </a:lnTo>
                  <a:lnTo>
                    <a:pt x="1212" y="234"/>
                  </a:lnTo>
                  <a:lnTo>
                    <a:pt x="1242" y="234"/>
                  </a:lnTo>
                  <a:lnTo>
                    <a:pt x="1248" y="234"/>
                  </a:lnTo>
                  <a:lnTo>
                    <a:pt x="1278" y="240"/>
                  </a:lnTo>
                  <a:lnTo>
                    <a:pt x="1320" y="234"/>
                  </a:lnTo>
                  <a:lnTo>
                    <a:pt x="1332" y="228"/>
                  </a:lnTo>
                  <a:lnTo>
                    <a:pt x="1344" y="228"/>
                  </a:lnTo>
                  <a:lnTo>
                    <a:pt x="1350" y="234"/>
                  </a:lnTo>
                  <a:lnTo>
                    <a:pt x="1350" y="240"/>
                  </a:lnTo>
                  <a:lnTo>
                    <a:pt x="1356" y="246"/>
                  </a:lnTo>
                  <a:lnTo>
                    <a:pt x="1350" y="252"/>
                  </a:lnTo>
                  <a:lnTo>
                    <a:pt x="1356" y="264"/>
                  </a:lnTo>
                  <a:lnTo>
                    <a:pt x="1356" y="270"/>
                  </a:lnTo>
                  <a:lnTo>
                    <a:pt x="1356" y="276"/>
                  </a:lnTo>
                  <a:lnTo>
                    <a:pt x="1356" y="282"/>
                  </a:lnTo>
                  <a:lnTo>
                    <a:pt x="1356" y="288"/>
                  </a:lnTo>
                  <a:lnTo>
                    <a:pt x="1350" y="294"/>
                  </a:lnTo>
                  <a:lnTo>
                    <a:pt x="1344" y="300"/>
                  </a:lnTo>
                  <a:lnTo>
                    <a:pt x="1344" y="306"/>
                  </a:lnTo>
                  <a:lnTo>
                    <a:pt x="1338" y="312"/>
                  </a:lnTo>
                  <a:lnTo>
                    <a:pt x="1326" y="342"/>
                  </a:lnTo>
                  <a:lnTo>
                    <a:pt x="1320" y="348"/>
                  </a:lnTo>
                  <a:lnTo>
                    <a:pt x="1314" y="354"/>
                  </a:lnTo>
                  <a:lnTo>
                    <a:pt x="1290" y="354"/>
                  </a:lnTo>
                  <a:lnTo>
                    <a:pt x="1284" y="360"/>
                  </a:lnTo>
                  <a:lnTo>
                    <a:pt x="1278" y="378"/>
                  </a:lnTo>
                  <a:lnTo>
                    <a:pt x="1278" y="384"/>
                  </a:lnTo>
                  <a:lnTo>
                    <a:pt x="1272" y="390"/>
                  </a:lnTo>
                  <a:lnTo>
                    <a:pt x="1266" y="396"/>
                  </a:lnTo>
                  <a:lnTo>
                    <a:pt x="1260" y="396"/>
                  </a:lnTo>
                  <a:lnTo>
                    <a:pt x="1248" y="402"/>
                  </a:lnTo>
                  <a:lnTo>
                    <a:pt x="1242" y="408"/>
                  </a:lnTo>
                  <a:lnTo>
                    <a:pt x="1242" y="414"/>
                  </a:lnTo>
                  <a:lnTo>
                    <a:pt x="1242" y="420"/>
                  </a:lnTo>
                  <a:lnTo>
                    <a:pt x="1236" y="432"/>
                  </a:lnTo>
                  <a:lnTo>
                    <a:pt x="1242" y="432"/>
                  </a:lnTo>
                  <a:lnTo>
                    <a:pt x="1242" y="444"/>
                  </a:lnTo>
                  <a:lnTo>
                    <a:pt x="1242" y="456"/>
                  </a:lnTo>
                  <a:lnTo>
                    <a:pt x="1248" y="456"/>
                  </a:lnTo>
                  <a:lnTo>
                    <a:pt x="1254" y="462"/>
                  </a:lnTo>
                  <a:lnTo>
                    <a:pt x="1248" y="468"/>
                  </a:lnTo>
                  <a:lnTo>
                    <a:pt x="1254" y="468"/>
                  </a:lnTo>
                  <a:lnTo>
                    <a:pt x="1266" y="474"/>
                  </a:lnTo>
                  <a:lnTo>
                    <a:pt x="1266" y="480"/>
                  </a:lnTo>
                  <a:lnTo>
                    <a:pt x="1266" y="486"/>
                  </a:lnTo>
                  <a:lnTo>
                    <a:pt x="1272" y="486"/>
                  </a:lnTo>
                  <a:lnTo>
                    <a:pt x="1272" y="492"/>
                  </a:lnTo>
                  <a:lnTo>
                    <a:pt x="1290" y="510"/>
                  </a:lnTo>
                  <a:lnTo>
                    <a:pt x="1296" y="516"/>
                  </a:lnTo>
                  <a:lnTo>
                    <a:pt x="1302" y="540"/>
                  </a:lnTo>
                  <a:lnTo>
                    <a:pt x="1302" y="546"/>
                  </a:lnTo>
                  <a:lnTo>
                    <a:pt x="1302" y="558"/>
                  </a:lnTo>
                  <a:lnTo>
                    <a:pt x="1302" y="570"/>
                  </a:lnTo>
                  <a:lnTo>
                    <a:pt x="1302" y="576"/>
                  </a:lnTo>
                  <a:lnTo>
                    <a:pt x="1344" y="570"/>
                  </a:lnTo>
                  <a:lnTo>
                    <a:pt x="1350" y="582"/>
                  </a:lnTo>
                  <a:lnTo>
                    <a:pt x="1368" y="594"/>
                  </a:lnTo>
                  <a:lnTo>
                    <a:pt x="1374" y="600"/>
                  </a:lnTo>
                  <a:lnTo>
                    <a:pt x="1380" y="600"/>
                  </a:lnTo>
                  <a:lnTo>
                    <a:pt x="1380" y="618"/>
                  </a:lnTo>
                  <a:lnTo>
                    <a:pt x="1386" y="624"/>
                  </a:lnTo>
                  <a:lnTo>
                    <a:pt x="1404" y="624"/>
                  </a:lnTo>
                  <a:lnTo>
                    <a:pt x="1410" y="612"/>
                  </a:lnTo>
                  <a:lnTo>
                    <a:pt x="1428" y="606"/>
                  </a:lnTo>
                  <a:lnTo>
                    <a:pt x="1488" y="606"/>
                  </a:lnTo>
                  <a:lnTo>
                    <a:pt x="1506" y="606"/>
                  </a:lnTo>
                  <a:lnTo>
                    <a:pt x="1512" y="600"/>
                  </a:lnTo>
                  <a:lnTo>
                    <a:pt x="1524" y="594"/>
                  </a:lnTo>
                  <a:lnTo>
                    <a:pt x="1554" y="594"/>
                  </a:lnTo>
                  <a:lnTo>
                    <a:pt x="1578" y="606"/>
                  </a:lnTo>
                  <a:lnTo>
                    <a:pt x="1596" y="624"/>
                  </a:lnTo>
                  <a:lnTo>
                    <a:pt x="1650" y="642"/>
                  </a:lnTo>
                  <a:lnTo>
                    <a:pt x="1686" y="648"/>
                  </a:lnTo>
                  <a:lnTo>
                    <a:pt x="1698" y="654"/>
                  </a:lnTo>
                  <a:lnTo>
                    <a:pt x="1698" y="660"/>
                  </a:lnTo>
                  <a:lnTo>
                    <a:pt x="1692" y="666"/>
                  </a:lnTo>
                  <a:lnTo>
                    <a:pt x="1692" y="672"/>
                  </a:lnTo>
                  <a:lnTo>
                    <a:pt x="1698" y="678"/>
                  </a:lnTo>
                  <a:lnTo>
                    <a:pt x="1698" y="684"/>
                  </a:lnTo>
                  <a:lnTo>
                    <a:pt x="1692" y="684"/>
                  </a:lnTo>
                  <a:lnTo>
                    <a:pt x="1692" y="690"/>
                  </a:lnTo>
                  <a:lnTo>
                    <a:pt x="1698" y="696"/>
                  </a:lnTo>
                  <a:lnTo>
                    <a:pt x="1698" y="702"/>
                  </a:lnTo>
                  <a:lnTo>
                    <a:pt x="1698" y="708"/>
                  </a:lnTo>
                  <a:lnTo>
                    <a:pt x="1704" y="714"/>
                  </a:lnTo>
                  <a:lnTo>
                    <a:pt x="1704" y="720"/>
                  </a:lnTo>
                  <a:lnTo>
                    <a:pt x="1704" y="726"/>
                  </a:lnTo>
                  <a:lnTo>
                    <a:pt x="1704" y="732"/>
                  </a:lnTo>
                  <a:lnTo>
                    <a:pt x="1704" y="738"/>
                  </a:lnTo>
                  <a:lnTo>
                    <a:pt x="1698" y="726"/>
                  </a:lnTo>
                  <a:lnTo>
                    <a:pt x="1668" y="720"/>
                  </a:lnTo>
                  <a:lnTo>
                    <a:pt x="1626" y="714"/>
                  </a:lnTo>
                  <a:lnTo>
                    <a:pt x="1614" y="708"/>
                  </a:lnTo>
                  <a:lnTo>
                    <a:pt x="1578" y="696"/>
                  </a:lnTo>
                  <a:lnTo>
                    <a:pt x="1566" y="696"/>
                  </a:lnTo>
                  <a:lnTo>
                    <a:pt x="1548" y="702"/>
                  </a:lnTo>
                  <a:lnTo>
                    <a:pt x="1542" y="714"/>
                  </a:lnTo>
                  <a:lnTo>
                    <a:pt x="1536" y="732"/>
                  </a:lnTo>
                  <a:lnTo>
                    <a:pt x="1530" y="750"/>
                  </a:lnTo>
                  <a:lnTo>
                    <a:pt x="1536" y="750"/>
                  </a:lnTo>
                  <a:lnTo>
                    <a:pt x="1542" y="756"/>
                  </a:lnTo>
                  <a:lnTo>
                    <a:pt x="1542" y="762"/>
                  </a:lnTo>
                  <a:lnTo>
                    <a:pt x="1548" y="762"/>
                  </a:lnTo>
                  <a:lnTo>
                    <a:pt x="1554" y="762"/>
                  </a:lnTo>
                  <a:lnTo>
                    <a:pt x="1554" y="768"/>
                  </a:lnTo>
                  <a:lnTo>
                    <a:pt x="1560" y="774"/>
                  </a:lnTo>
                  <a:lnTo>
                    <a:pt x="1566" y="774"/>
                  </a:lnTo>
                  <a:lnTo>
                    <a:pt x="1584" y="792"/>
                  </a:lnTo>
                  <a:lnTo>
                    <a:pt x="1584" y="810"/>
                  </a:lnTo>
                  <a:lnTo>
                    <a:pt x="1572" y="816"/>
                  </a:lnTo>
                  <a:lnTo>
                    <a:pt x="1578" y="834"/>
                  </a:lnTo>
                  <a:lnTo>
                    <a:pt x="1578" y="846"/>
                  </a:lnTo>
                  <a:lnTo>
                    <a:pt x="1584" y="858"/>
                  </a:lnTo>
                  <a:lnTo>
                    <a:pt x="1590" y="864"/>
                  </a:lnTo>
                  <a:lnTo>
                    <a:pt x="1590" y="876"/>
                  </a:lnTo>
                  <a:lnTo>
                    <a:pt x="1578" y="888"/>
                  </a:lnTo>
                  <a:lnTo>
                    <a:pt x="1560" y="906"/>
                  </a:lnTo>
                  <a:lnTo>
                    <a:pt x="1536" y="930"/>
                  </a:lnTo>
                  <a:lnTo>
                    <a:pt x="1530" y="930"/>
                  </a:lnTo>
                  <a:lnTo>
                    <a:pt x="1506" y="942"/>
                  </a:lnTo>
                  <a:lnTo>
                    <a:pt x="1488" y="948"/>
                  </a:lnTo>
                  <a:lnTo>
                    <a:pt x="1476" y="954"/>
                  </a:lnTo>
                  <a:lnTo>
                    <a:pt x="1458" y="960"/>
                  </a:lnTo>
                  <a:lnTo>
                    <a:pt x="1452" y="966"/>
                  </a:lnTo>
                  <a:lnTo>
                    <a:pt x="1446" y="966"/>
                  </a:lnTo>
                  <a:lnTo>
                    <a:pt x="1434" y="972"/>
                  </a:lnTo>
                  <a:lnTo>
                    <a:pt x="1434" y="954"/>
                  </a:lnTo>
                  <a:lnTo>
                    <a:pt x="1422" y="942"/>
                  </a:lnTo>
                  <a:lnTo>
                    <a:pt x="1398" y="924"/>
                  </a:lnTo>
                  <a:lnTo>
                    <a:pt x="1398" y="912"/>
                  </a:lnTo>
                  <a:lnTo>
                    <a:pt x="1398" y="906"/>
                  </a:lnTo>
                  <a:lnTo>
                    <a:pt x="1398" y="900"/>
                  </a:lnTo>
                  <a:lnTo>
                    <a:pt x="1380" y="900"/>
                  </a:lnTo>
                  <a:lnTo>
                    <a:pt x="1380" y="894"/>
                  </a:lnTo>
                  <a:lnTo>
                    <a:pt x="1368" y="888"/>
                  </a:lnTo>
                  <a:lnTo>
                    <a:pt x="1362" y="882"/>
                  </a:lnTo>
                  <a:lnTo>
                    <a:pt x="1356" y="876"/>
                  </a:lnTo>
                  <a:lnTo>
                    <a:pt x="1350" y="864"/>
                  </a:lnTo>
                  <a:lnTo>
                    <a:pt x="1344" y="858"/>
                  </a:lnTo>
                  <a:lnTo>
                    <a:pt x="1314" y="870"/>
                  </a:lnTo>
                  <a:lnTo>
                    <a:pt x="1272" y="876"/>
                  </a:lnTo>
                  <a:lnTo>
                    <a:pt x="1218" y="870"/>
                  </a:lnTo>
                  <a:lnTo>
                    <a:pt x="1200" y="864"/>
                  </a:lnTo>
                  <a:lnTo>
                    <a:pt x="1182" y="864"/>
                  </a:lnTo>
                  <a:lnTo>
                    <a:pt x="1134" y="858"/>
                  </a:lnTo>
                  <a:lnTo>
                    <a:pt x="1110" y="840"/>
                  </a:lnTo>
                  <a:lnTo>
                    <a:pt x="1086" y="828"/>
                  </a:lnTo>
                  <a:lnTo>
                    <a:pt x="1044" y="816"/>
                  </a:lnTo>
                  <a:lnTo>
                    <a:pt x="1014" y="816"/>
                  </a:lnTo>
                  <a:lnTo>
                    <a:pt x="990" y="822"/>
                  </a:lnTo>
                  <a:lnTo>
                    <a:pt x="948" y="858"/>
                  </a:lnTo>
                  <a:lnTo>
                    <a:pt x="930" y="864"/>
                  </a:lnTo>
                  <a:lnTo>
                    <a:pt x="924" y="876"/>
                  </a:lnTo>
                  <a:lnTo>
                    <a:pt x="918" y="906"/>
                  </a:lnTo>
                  <a:lnTo>
                    <a:pt x="924" y="930"/>
                  </a:lnTo>
                  <a:lnTo>
                    <a:pt x="948" y="984"/>
                  </a:lnTo>
                  <a:lnTo>
                    <a:pt x="954" y="1008"/>
                  </a:lnTo>
                  <a:lnTo>
                    <a:pt x="948" y="1014"/>
                  </a:lnTo>
                  <a:lnTo>
                    <a:pt x="954" y="1014"/>
                  </a:lnTo>
                  <a:lnTo>
                    <a:pt x="954" y="1032"/>
                  </a:lnTo>
                  <a:lnTo>
                    <a:pt x="966" y="1044"/>
                  </a:lnTo>
                  <a:lnTo>
                    <a:pt x="960" y="1056"/>
                  </a:lnTo>
                  <a:lnTo>
                    <a:pt x="954" y="1056"/>
                  </a:lnTo>
                  <a:lnTo>
                    <a:pt x="948" y="1056"/>
                  </a:lnTo>
                  <a:lnTo>
                    <a:pt x="942" y="1056"/>
                  </a:lnTo>
                  <a:lnTo>
                    <a:pt x="936" y="1050"/>
                  </a:lnTo>
                  <a:lnTo>
                    <a:pt x="930" y="1044"/>
                  </a:lnTo>
                  <a:lnTo>
                    <a:pt x="924" y="1044"/>
                  </a:lnTo>
                  <a:lnTo>
                    <a:pt x="918" y="1038"/>
                  </a:lnTo>
                  <a:lnTo>
                    <a:pt x="912" y="1038"/>
                  </a:lnTo>
                  <a:lnTo>
                    <a:pt x="906" y="1032"/>
                  </a:lnTo>
                  <a:lnTo>
                    <a:pt x="900" y="1032"/>
                  </a:lnTo>
                  <a:lnTo>
                    <a:pt x="888" y="1026"/>
                  </a:lnTo>
                  <a:lnTo>
                    <a:pt x="882" y="1026"/>
                  </a:lnTo>
                  <a:lnTo>
                    <a:pt x="876" y="1026"/>
                  </a:lnTo>
                  <a:lnTo>
                    <a:pt x="864" y="1014"/>
                  </a:lnTo>
                  <a:lnTo>
                    <a:pt x="846" y="1008"/>
                  </a:lnTo>
                  <a:lnTo>
                    <a:pt x="840" y="996"/>
                  </a:lnTo>
                  <a:lnTo>
                    <a:pt x="840" y="990"/>
                  </a:lnTo>
                  <a:lnTo>
                    <a:pt x="834" y="990"/>
                  </a:lnTo>
                  <a:lnTo>
                    <a:pt x="828" y="990"/>
                  </a:lnTo>
                  <a:lnTo>
                    <a:pt x="816" y="990"/>
                  </a:lnTo>
                  <a:lnTo>
                    <a:pt x="810" y="990"/>
                  </a:lnTo>
                  <a:lnTo>
                    <a:pt x="804" y="984"/>
                  </a:lnTo>
                  <a:lnTo>
                    <a:pt x="792" y="978"/>
                  </a:lnTo>
                  <a:lnTo>
                    <a:pt x="786" y="972"/>
                  </a:lnTo>
                  <a:lnTo>
                    <a:pt x="780" y="972"/>
                  </a:lnTo>
                  <a:lnTo>
                    <a:pt x="768" y="966"/>
                  </a:lnTo>
                  <a:lnTo>
                    <a:pt x="762" y="966"/>
                  </a:lnTo>
                  <a:lnTo>
                    <a:pt x="756" y="966"/>
                  </a:lnTo>
                  <a:lnTo>
                    <a:pt x="750" y="966"/>
                  </a:lnTo>
                  <a:lnTo>
                    <a:pt x="744" y="966"/>
                  </a:lnTo>
                  <a:lnTo>
                    <a:pt x="738" y="960"/>
                  </a:lnTo>
                  <a:lnTo>
                    <a:pt x="732" y="954"/>
                  </a:lnTo>
                  <a:lnTo>
                    <a:pt x="720" y="954"/>
                  </a:lnTo>
                  <a:lnTo>
                    <a:pt x="714" y="948"/>
                  </a:lnTo>
                  <a:lnTo>
                    <a:pt x="708" y="948"/>
                  </a:lnTo>
                  <a:lnTo>
                    <a:pt x="696" y="948"/>
                  </a:lnTo>
                  <a:lnTo>
                    <a:pt x="684" y="942"/>
                  </a:lnTo>
                  <a:lnTo>
                    <a:pt x="678" y="936"/>
                  </a:lnTo>
                  <a:lnTo>
                    <a:pt x="660" y="930"/>
                  </a:lnTo>
                  <a:lnTo>
                    <a:pt x="642" y="924"/>
                  </a:lnTo>
                  <a:lnTo>
                    <a:pt x="636" y="924"/>
                  </a:lnTo>
                  <a:lnTo>
                    <a:pt x="630" y="924"/>
                  </a:lnTo>
                  <a:lnTo>
                    <a:pt x="618" y="924"/>
                  </a:lnTo>
                  <a:lnTo>
                    <a:pt x="618" y="918"/>
                  </a:lnTo>
                  <a:lnTo>
                    <a:pt x="606" y="918"/>
                  </a:lnTo>
                  <a:lnTo>
                    <a:pt x="600" y="918"/>
                  </a:lnTo>
                  <a:lnTo>
                    <a:pt x="594" y="918"/>
                  </a:lnTo>
                  <a:lnTo>
                    <a:pt x="594" y="912"/>
                  </a:lnTo>
                  <a:lnTo>
                    <a:pt x="588" y="912"/>
                  </a:lnTo>
                  <a:lnTo>
                    <a:pt x="582" y="912"/>
                  </a:lnTo>
                  <a:lnTo>
                    <a:pt x="582" y="918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58" y="918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12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00"/>
                  </a:lnTo>
                  <a:lnTo>
                    <a:pt x="516" y="900"/>
                  </a:lnTo>
                  <a:lnTo>
                    <a:pt x="510" y="900"/>
                  </a:lnTo>
                  <a:lnTo>
                    <a:pt x="486" y="894"/>
                  </a:lnTo>
                  <a:lnTo>
                    <a:pt x="474" y="888"/>
                  </a:lnTo>
                  <a:lnTo>
                    <a:pt x="468" y="888"/>
                  </a:lnTo>
                  <a:lnTo>
                    <a:pt x="450" y="88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0" name="Freeform 15">
              <a:extLst>
                <a:ext uri="{FF2B5EF4-FFF2-40B4-BE49-F238E27FC236}">
                  <a16:creationId xmlns:a16="http://schemas.microsoft.com/office/drawing/2014/main" id="{8B991D7A-45C6-40F6-A035-24DFC733305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382" y="2652043"/>
              <a:ext cx="724526" cy="695552"/>
            </a:xfrm>
            <a:custGeom>
              <a:avLst/>
              <a:gdLst>
                <a:gd name="T0" fmla="*/ 44 w 1362"/>
                <a:gd name="T1" fmla="*/ 106 h 1308"/>
                <a:gd name="T2" fmla="*/ 32 w 1362"/>
                <a:gd name="T3" fmla="*/ 109 h 1308"/>
                <a:gd name="T4" fmla="*/ 25 w 1362"/>
                <a:gd name="T5" fmla="*/ 105 h 1308"/>
                <a:gd name="T6" fmla="*/ 22 w 1362"/>
                <a:gd name="T7" fmla="*/ 97 h 1308"/>
                <a:gd name="T8" fmla="*/ 21 w 1362"/>
                <a:gd name="T9" fmla="*/ 95 h 1308"/>
                <a:gd name="T10" fmla="*/ 20 w 1362"/>
                <a:gd name="T11" fmla="*/ 90 h 1308"/>
                <a:gd name="T12" fmla="*/ 23 w 1362"/>
                <a:gd name="T13" fmla="*/ 87 h 1308"/>
                <a:gd name="T14" fmla="*/ 29 w 1362"/>
                <a:gd name="T15" fmla="*/ 81 h 1308"/>
                <a:gd name="T16" fmla="*/ 30 w 1362"/>
                <a:gd name="T17" fmla="*/ 78 h 1308"/>
                <a:gd name="T18" fmla="*/ 27 w 1362"/>
                <a:gd name="T19" fmla="*/ 75 h 1308"/>
                <a:gd name="T20" fmla="*/ 15 w 1362"/>
                <a:gd name="T21" fmla="*/ 73 h 1308"/>
                <a:gd name="T22" fmla="*/ 12 w 1362"/>
                <a:gd name="T23" fmla="*/ 69 h 1308"/>
                <a:gd name="T24" fmla="*/ 5 w 1362"/>
                <a:gd name="T25" fmla="*/ 65 h 1308"/>
                <a:gd name="T26" fmla="*/ 6 w 1362"/>
                <a:gd name="T27" fmla="*/ 62 h 1308"/>
                <a:gd name="T28" fmla="*/ 7 w 1362"/>
                <a:gd name="T29" fmla="*/ 56 h 1308"/>
                <a:gd name="T30" fmla="*/ 2 w 1362"/>
                <a:gd name="T31" fmla="*/ 49 h 1308"/>
                <a:gd name="T32" fmla="*/ 0 w 1362"/>
                <a:gd name="T33" fmla="*/ 44 h 1308"/>
                <a:gd name="T34" fmla="*/ 0 w 1362"/>
                <a:gd name="T35" fmla="*/ 39 h 1308"/>
                <a:gd name="T36" fmla="*/ 3 w 1362"/>
                <a:gd name="T37" fmla="*/ 35 h 1308"/>
                <a:gd name="T38" fmla="*/ 3 w 1362"/>
                <a:gd name="T39" fmla="*/ 28 h 1308"/>
                <a:gd name="T40" fmla="*/ 6 w 1362"/>
                <a:gd name="T41" fmla="*/ 18 h 1308"/>
                <a:gd name="T42" fmla="*/ 6 w 1362"/>
                <a:gd name="T43" fmla="*/ 8 h 1308"/>
                <a:gd name="T44" fmla="*/ 10 w 1362"/>
                <a:gd name="T45" fmla="*/ 5 h 1308"/>
                <a:gd name="T46" fmla="*/ 15 w 1362"/>
                <a:gd name="T47" fmla="*/ 0 h 1308"/>
                <a:gd name="T48" fmla="*/ 21 w 1362"/>
                <a:gd name="T49" fmla="*/ 7 h 1308"/>
                <a:gd name="T50" fmla="*/ 25 w 1362"/>
                <a:gd name="T51" fmla="*/ 15 h 1308"/>
                <a:gd name="T52" fmla="*/ 24 w 1362"/>
                <a:gd name="T53" fmla="*/ 19 h 1308"/>
                <a:gd name="T54" fmla="*/ 32 w 1362"/>
                <a:gd name="T55" fmla="*/ 19 h 1308"/>
                <a:gd name="T56" fmla="*/ 35 w 1362"/>
                <a:gd name="T57" fmla="*/ 20 h 1308"/>
                <a:gd name="T58" fmla="*/ 40 w 1362"/>
                <a:gd name="T59" fmla="*/ 23 h 1308"/>
                <a:gd name="T60" fmla="*/ 40 w 1362"/>
                <a:gd name="T61" fmla="*/ 26 h 1308"/>
                <a:gd name="T62" fmla="*/ 34 w 1362"/>
                <a:gd name="T63" fmla="*/ 35 h 1308"/>
                <a:gd name="T64" fmla="*/ 41 w 1362"/>
                <a:gd name="T65" fmla="*/ 37 h 1308"/>
                <a:gd name="T66" fmla="*/ 43 w 1362"/>
                <a:gd name="T67" fmla="*/ 44 h 1308"/>
                <a:gd name="T68" fmla="*/ 48 w 1362"/>
                <a:gd name="T69" fmla="*/ 47 h 1308"/>
                <a:gd name="T70" fmla="*/ 57 w 1362"/>
                <a:gd name="T71" fmla="*/ 48 h 1308"/>
                <a:gd name="T72" fmla="*/ 70 w 1362"/>
                <a:gd name="T73" fmla="*/ 44 h 1308"/>
                <a:gd name="T74" fmla="*/ 80 w 1362"/>
                <a:gd name="T75" fmla="*/ 34 h 1308"/>
                <a:gd name="T76" fmla="*/ 95 w 1362"/>
                <a:gd name="T77" fmla="*/ 41 h 1308"/>
                <a:gd name="T78" fmla="*/ 109 w 1362"/>
                <a:gd name="T79" fmla="*/ 47 h 1308"/>
                <a:gd name="T80" fmla="*/ 111 w 1362"/>
                <a:gd name="T81" fmla="*/ 50 h 1308"/>
                <a:gd name="T82" fmla="*/ 113 w 1362"/>
                <a:gd name="T83" fmla="*/ 53 h 1308"/>
                <a:gd name="T84" fmla="*/ 113 w 1362"/>
                <a:gd name="T85" fmla="*/ 55 h 1308"/>
                <a:gd name="T86" fmla="*/ 113 w 1362"/>
                <a:gd name="T87" fmla="*/ 59 h 1308"/>
                <a:gd name="T88" fmla="*/ 113 w 1362"/>
                <a:gd name="T89" fmla="*/ 62 h 1308"/>
                <a:gd name="T90" fmla="*/ 115 w 1362"/>
                <a:gd name="T91" fmla="*/ 65 h 1308"/>
                <a:gd name="T92" fmla="*/ 115 w 1362"/>
                <a:gd name="T93" fmla="*/ 67 h 1308"/>
                <a:gd name="T94" fmla="*/ 116 w 1362"/>
                <a:gd name="T95" fmla="*/ 69 h 1308"/>
                <a:gd name="T96" fmla="*/ 116 w 1362"/>
                <a:gd name="T97" fmla="*/ 71 h 1308"/>
                <a:gd name="T98" fmla="*/ 118 w 1362"/>
                <a:gd name="T99" fmla="*/ 75 h 1308"/>
                <a:gd name="T100" fmla="*/ 116 w 1362"/>
                <a:gd name="T101" fmla="*/ 77 h 1308"/>
                <a:gd name="T102" fmla="*/ 116 w 1362"/>
                <a:gd name="T103" fmla="*/ 79 h 1308"/>
                <a:gd name="T104" fmla="*/ 101 w 1362"/>
                <a:gd name="T105" fmla="*/ 87 h 1308"/>
                <a:gd name="T106" fmla="*/ 85 w 1362"/>
                <a:gd name="T107" fmla="*/ 103 h 1308"/>
                <a:gd name="T108" fmla="*/ 67 w 1362"/>
                <a:gd name="T109" fmla="*/ 114 h 130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62"/>
                <a:gd name="T166" fmla="*/ 0 h 1308"/>
                <a:gd name="T167" fmla="*/ 1362 w 1362"/>
                <a:gd name="T168" fmla="*/ 1308 h 130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62" h="1308">
                  <a:moveTo>
                    <a:pt x="684" y="1278"/>
                  </a:moveTo>
                  <a:lnTo>
                    <a:pt x="672" y="1272"/>
                  </a:lnTo>
                  <a:lnTo>
                    <a:pt x="636" y="1266"/>
                  </a:lnTo>
                  <a:lnTo>
                    <a:pt x="582" y="1248"/>
                  </a:lnTo>
                  <a:lnTo>
                    <a:pt x="564" y="1230"/>
                  </a:lnTo>
                  <a:lnTo>
                    <a:pt x="540" y="1218"/>
                  </a:lnTo>
                  <a:lnTo>
                    <a:pt x="510" y="1218"/>
                  </a:lnTo>
                  <a:lnTo>
                    <a:pt x="498" y="1224"/>
                  </a:lnTo>
                  <a:lnTo>
                    <a:pt x="492" y="1230"/>
                  </a:lnTo>
                  <a:lnTo>
                    <a:pt x="474" y="1230"/>
                  </a:lnTo>
                  <a:lnTo>
                    <a:pt x="414" y="1230"/>
                  </a:lnTo>
                  <a:lnTo>
                    <a:pt x="396" y="1236"/>
                  </a:lnTo>
                  <a:lnTo>
                    <a:pt x="390" y="1248"/>
                  </a:lnTo>
                  <a:lnTo>
                    <a:pt x="372" y="1248"/>
                  </a:lnTo>
                  <a:lnTo>
                    <a:pt x="366" y="1242"/>
                  </a:lnTo>
                  <a:lnTo>
                    <a:pt x="366" y="1224"/>
                  </a:lnTo>
                  <a:lnTo>
                    <a:pt x="360" y="1224"/>
                  </a:lnTo>
                  <a:lnTo>
                    <a:pt x="354" y="1218"/>
                  </a:lnTo>
                  <a:lnTo>
                    <a:pt x="336" y="1206"/>
                  </a:lnTo>
                  <a:lnTo>
                    <a:pt x="330" y="1194"/>
                  </a:lnTo>
                  <a:lnTo>
                    <a:pt x="288" y="1200"/>
                  </a:lnTo>
                  <a:lnTo>
                    <a:pt x="288" y="1194"/>
                  </a:lnTo>
                  <a:lnTo>
                    <a:pt x="288" y="1182"/>
                  </a:lnTo>
                  <a:lnTo>
                    <a:pt x="288" y="1170"/>
                  </a:lnTo>
                  <a:lnTo>
                    <a:pt x="288" y="1164"/>
                  </a:lnTo>
                  <a:lnTo>
                    <a:pt x="282" y="1140"/>
                  </a:lnTo>
                  <a:lnTo>
                    <a:pt x="276" y="1134"/>
                  </a:lnTo>
                  <a:lnTo>
                    <a:pt x="258" y="1116"/>
                  </a:lnTo>
                  <a:lnTo>
                    <a:pt x="258" y="1110"/>
                  </a:lnTo>
                  <a:lnTo>
                    <a:pt x="252" y="1110"/>
                  </a:lnTo>
                  <a:lnTo>
                    <a:pt x="252" y="1104"/>
                  </a:lnTo>
                  <a:lnTo>
                    <a:pt x="252" y="1098"/>
                  </a:lnTo>
                  <a:lnTo>
                    <a:pt x="240" y="1092"/>
                  </a:lnTo>
                  <a:lnTo>
                    <a:pt x="234" y="1092"/>
                  </a:lnTo>
                  <a:lnTo>
                    <a:pt x="240" y="1086"/>
                  </a:lnTo>
                  <a:lnTo>
                    <a:pt x="234" y="1080"/>
                  </a:lnTo>
                  <a:lnTo>
                    <a:pt x="228" y="1080"/>
                  </a:lnTo>
                  <a:lnTo>
                    <a:pt x="228" y="1068"/>
                  </a:lnTo>
                  <a:lnTo>
                    <a:pt x="228" y="1056"/>
                  </a:lnTo>
                  <a:lnTo>
                    <a:pt x="222" y="1056"/>
                  </a:lnTo>
                  <a:lnTo>
                    <a:pt x="228" y="1044"/>
                  </a:lnTo>
                  <a:lnTo>
                    <a:pt x="228" y="1038"/>
                  </a:lnTo>
                  <a:lnTo>
                    <a:pt x="228" y="1032"/>
                  </a:lnTo>
                  <a:lnTo>
                    <a:pt x="234" y="1026"/>
                  </a:lnTo>
                  <a:lnTo>
                    <a:pt x="246" y="1020"/>
                  </a:lnTo>
                  <a:lnTo>
                    <a:pt x="252" y="1020"/>
                  </a:lnTo>
                  <a:lnTo>
                    <a:pt x="258" y="1014"/>
                  </a:lnTo>
                  <a:lnTo>
                    <a:pt x="264" y="1008"/>
                  </a:lnTo>
                  <a:lnTo>
                    <a:pt x="264" y="1002"/>
                  </a:lnTo>
                  <a:lnTo>
                    <a:pt x="270" y="984"/>
                  </a:lnTo>
                  <a:lnTo>
                    <a:pt x="276" y="978"/>
                  </a:lnTo>
                  <a:lnTo>
                    <a:pt x="300" y="978"/>
                  </a:lnTo>
                  <a:lnTo>
                    <a:pt x="306" y="972"/>
                  </a:lnTo>
                  <a:lnTo>
                    <a:pt x="312" y="966"/>
                  </a:lnTo>
                  <a:lnTo>
                    <a:pt x="324" y="936"/>
                  </a:lnTo>
                  <a:lnTo>
                    <a:pt x="330" y="930"/>
                  </a:lnTo>
                  <a:lnTo>
                    <a:pt x="330" y="924"/>
                  </a:lnTo>
                  <a:lnTo>
                    <a:pt x="336" y="918"/>
                  </a:lnTo>
                  <a:lnTo>
                    <a:pt x="342" y="912"/>
                  </a:lnTo>
                  <a:lnTo>
                    <a:pt x="342" y="906"/>
                  </a:lnTo>
                  <a:lnTo>
                    <a:pt x="342" y="900"/>
                  </a:lnTo>
                  <a:lnTo>
                    <a:pt x="342" y="894"/>
                  </a:lnTo>
                  <a:lnTo>
                    <a:pt x="342" y="888"/>
                  </a:lnTo>
                  <a:lnTo>
                    <a:pt x="336" y="876"/>
                  </a:lnTo>
                  <a:lnTo>
                    <a:pt x="342" y="870"/>
                  </a:lnTo>
                  <a:lnTo>
                    <a:pt x="336" y="864"/>
                  </a:lnTo>
                  <a:lnTo>
                    <a:pt x="336" y="858"/>
                  </a:lnTo>
                  <a:lnTo>
                    <a:pt x="330" y="852"/>
                  </a:lnTo>
                  <a:lnTo>
                    <a:pt x="318" y="852"/>
                  </a:lnTo>
                  <a:lnTo>
                    <a:pt x="306" y="858"/>
                  </a:lnTo>
                  <a:lnTo>
                    <a:pt x="264" y="864"/>
                  </a:lnTo>
                  <a:lnTo>
                    <a:pt x="234" y="858"/>
                  </a:lnTo>
                  <a:lnTo>
                    <a:pt x="228" y="858"/>
                  </a:lnTo>
                  <a:lnTo>
                    <a:pt x="198" y="858"/>
                  </a:lnTo>
                  <a:lnTo>
                    <a:pt x="174" y="858"/>
                  </a:lnTo>
                  <a:lnTo>
                    <a:pt x="168" y="852"/>
                  </a:lnTo>
                  <a:lnTo>
                    <a:pt x="168" y="840"/>
                  </a:lnTo>
                  <a:lnTo>
                    <a:pt x="168" y="834"/>
                  </a:lnTo>
                  <a:lnTo>
                    <a:pt x="168" y="822"/>
                  </a:lnTo>
                  <a:lnTo>
                    <a:pt x="162" y="822"/>
                  </a:lnTo>
                  <a:lnTo>
                    <a:pt x="150" y="816"/>
                  </a:lnTo>
                  <a:lnTo>
                    <a:pt x="144" y="810"/>
                  </a:lnTo>
                  <a:lnTo>
                    <a:pt x="144" y="804"/>
                  </a:lnTo>
                  <a:lnTo>
                    <a:pt x="144" y="786"/>
                  </a:lnTo>
                  <a:lnTo>
                    <a:pt x="144" y="780"/>
                  </a:lnTo>
                  <a:lnTo>
                    <a:pt x="144" y="774"/>
                  </a:lnTo>
                  <a:lnTo>
                    <a:pt x="132" y="756"/>
                  </a:lnTo>
                  <a:lnTo>
                    <a:pt x="120" y="756"/>
                  </a:lnTo>
                  <a:lnTo>
                    <a:pt x="84" y="750"/>
                  </a:lnTo>
                  <a:lnTo>
                    <a:pt x="78" y="744"/>
                  </a:lnTo>
                  <a:lnTo>
                    <a:pt x="60" y="744"/>
                  </a:lnTo>
                  <a:lnTo>
                    <a:pt x="54" y="726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66" y="720"/>
                  </a:lnTo>
                  <a:lnTo>
                    <a:pt x="66" y="714"/>
                  </a:lnTo>
                  <a:lnTo>
                    <a:pt x="72" y="714"/>
                  </a:lnTo>
                  <a:lnTo>
                    <a:pt x="72" y="708"/>
                  </a:lnTo>
                  <a:lnTo>
                    <a:pt x="78" y="702"/>
                  </a:lnTo>
                  <a:lnTo>
                    <a:pt x="78" y="696"/>
                  </a:lnTo>
                  <a:lnTo>
                    <a:pt x="78" y="690"/>
                  </a:lnTo>
                  <a:lnTo>
                    <a:pt x="84" y="678"/>
                  </a:lnTo>
                  <a:lnTo>
                    <a:pt x="90" y="666"/>
                  </a:lnTo>
                  <a:lnTo>
                    <a:pt x="90" y="642"/>
                  </a:lnTo>
                  <a:lnTo>
                    <a:pt x="84" y="648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66" y="642"/>
                  </a:lnTo>
                  <a:lnTo>
                    <a:pt x="60" y="642"/>
                  </a:lnTo>
                  <a:lnTo>
                    <a:pt x="54" y="636"/>
                  </a:lnTo>
                  <a:lnTo>
                    <a:pt x="30" y="570"/>
                  </a:lnTo>
                  <a:lnTo>
                    <a:pt x="24" y="564"/>
                  </a:lnTo>
                  <a:lnTo>
                    <a:pt x="18" y="570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6"/>
                  </a:lnTo>
                  <a:lnTo>
                    <a:pt x="6" y="540"/>
                  </a:lnTo>
                  <a:lnTo>
                    <a:pt x="0" y="522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2" y="480"/>
                  </a:lnTo>
                  <a:lnTo>
                    <a:pt x="6" y="480"/>
                  </a:lnTo>
                  <a:lnTo>
                    <a:pt x="0" y="474"/>
                  </a:lnTo>
                  <a:lnTo>
                    <a:pt x="0" y="450"/>
                  </a:lnTo>
                  <a:lnTo>
                    <a:pt x="6" y="450"/>
                  </a:lnTo>
                  <a:lnTo>
                    <a:pt x="12" y="450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32"/>
                  </a:lnTo>
                  <a:lnTo>
                    <a:pt x="30" y="426"/>
                  </a:lnTo>
                  <a:lnTo>
                    <a:pt x="36" y="402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2" y="366"/>
                  </a:lnTo>
                  <a:lnTo>
                    <a:pt x="48" y="360"/>
                  </a:lnTo>
                  <a:lnTo>
                    <a:pt x="48" y="342"/>
                  </a:lnTo>
                  <a:lnTo>
                    <a:pt x="42" y="330"/>
                  </a:lnTo>
                  <a:lnTo>
                    <a:pt x="36" y="324"/>
                  </a:lnTo>
                  <a:lnTo>
                    <a:pt x="42" y="306"/>
                  </a:lnTo>
                  <a:lnTo>
                    <a:pt x="42" y="270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48" y="258"/>
                  </a:lnTo>
                  <a:lnTo>
                    <a:pt x="72" y="252"/>
                  </a:lnTo>
                  <a:lnTo>
                    <a:pt x="66" y="204"/>
                  </a:lnTo>
                  <a:lnTo>
                    <a:pt x="60" y="198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8" y="13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84" y="96"/>
                  </a:lnTo>
                  <a:lnTo>
                    <a:pt x="90" y="84"/>
                  </a:lnTo>
                  <a:lnTo>
                    <a:pt x="108" y="72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20" y="60"/>
                  </a:lnTo>
                  <a:lnTo>
                    <a:pt x="120" y="54"/>
                  </a:lnTo>
                  <a:lnTo>
                    <a:pt x="120" y="48"/>
                  </a:lnTo>
                  <a:lnTo>
                    <a:pt x="126" y="48"/>
                  </a:lnTo>
                  <a:lnTo>
                    <a:pt x="132" y="42"/>
                  </a:lnTo>
                  <a:lnTo>
                    <a:pt x="132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240" y="18"/>
                  </a:lnTo>
                  <a:lnTo>
                    <a:pt x="246" y="42"/>
                  </a:lnTo>
                  <a:lnTo>
                    <a:pt x="240" y="72"/>
                  </a:lnTo>
                  <a:lnTo>
                    <a:pt x="246" y="78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8" y="108"/>
                  </a:lnTo>
                  <a:lnTo>
                    <a:pt x="276" y="114"/>
                  </a:lnTo>
                  <a:lnTo>
                    <a:pt x="294" y="150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82" y="186"/>
                  </a:lnTo>
                  <a:lnTo>
                    <a:pt x="282" y="192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76" y="216"/>
                  </a:lnTo>
                  <a:lnTo>
                    <a:pt x="288" y="240"/>
                  </a:lnTo>
                  <a:lnTo>
                    <a:pt x="312" y="228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66" y="228"/>
                  </a:lnTo>
                  <a:lnTo>
                    <a:pt x="372" y="228"/>
                  </a:lnTo>
                  <a:lnTo>
                    <a:pt x="372" y="222"/>
                  </a:lnTo>
                  <a:lnTo>
                    <a:pt x="378" y="222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6" y="222"/>
                  </a:lnTo>
                  <a:lnTo>
                    <a:pt x="402" y="222"/>
                  </a:lnTo>
                  <a:lnTo>
                    <a:pt x="402" y="228"/>
                  </a:lnTo>
                  <a:lnTo>
                    <a:pt x="408" y="228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26" y="216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68" y="258"/>
                  </a:lnTo>
                  <a:lnTo>
                    <a:pt x="462" y="264"/>
                  </a:lnTo>
                  <a:lnTo>
                    <a:pt x="468" y="264"/>
                  </a:lnTo>
                  <a:lnTo>
                    <a:pt x="468" y="270"/>
                  </a:lnTo>
                  <a:lnTo>
                    <a:pt x="474" y="270"/>
                  </a:lnTo>
                  <a:lnTo>
                    <a:pt x="480" y="276"/>
                  </a:lnTo>
                  <a:lnTo>
                    <a:pt x="474" y="282"/>
                  </a:lnTo>
                  <a:lnTo>
                    <a:pt x="474" y="288"/>
                  </a:lnTo>
                  <a:lnTo>
                    <a:pt x="462" y="294"/>
                  </a:lnTo>
                  <a:lnTo>
                    <a:pt x="468" y="324"/>
                  </a:lnTo>
                  <a:lnTo>
                    <a:pt x="462" y="336"/>
                  </a:lnTo>
                  <a:lnTo>
                    <a:pt x="456" y="354"/>
                  </a:lnTo>
                  <a:lnTo>
                    <a:pt x="432" y="390"/>
                  </a:lnTo>
                  <a:lnTo>
                    <a:pt x="420" y="390"/>
                  </a:lnTo>
                  <a:lnTo>
                    <a:pt x="402" y="390"/>
                  </a:lnTo>
                  <a:lnTo>
                    <a:pt x="396" y="396"/>
                  </a:lnTo>
                  <a:lnTo>
                    <a:pt x="390" y="396"/>
                  </a:lnTo>
                  <a:lnTo>
                    <a:pt x="390" y="402"/>
                  </a:lnTo>
                  <a:lnTo>
                    <a:pt x="384" y="402"/>
                  </a:lnTo>
                  <a:lnTo>
                    <a:pt x="408" y="432"/>
                  </a:lnTo>
                  <a:lnTo>
                    <a:pt x="432" y="438"/>
                  </a:lnTo>
                  <a:lnTo>
                    <a:pt x="456" y="432"/>
                  </a:lnTo>
                  <a:lnTo>
                    <a:pt x="468" y="426"/>
                  </a:lnTo>
                  <a:lnTo>
                    <a:pt x="468" y="444"/>
                  </a:lnTo>
                  <a:lnTo>
                    <a:pt x="468" y="450"/>
                  </a:lnTo>
                  <a:lnTo>
                    <a:pt x="468" y="474"/>
                  </a:lnTo>
                  <a:lnTo>
                    <a:pt x="486" y="480"/>
                  </a:lnTo>
                  <a:lnTo>
                    <a:pt x="486" y="486"/>
                  </a:lnTo>
                  <a:lnTo>
                    <a:pt x="492" y="498"/>
                  </a:lnTo>
                  <a:lnTo>
                    <a:pt x="492" y="504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504" y="516"/>
                  </a:lnTo>
                  <a:lnTo>
                    <a:pt x="510" y="516"/>
                  </a:lnTo>
                  <a:lnTo>
                    <a:pt x="522" y="528"/>
                  </a:lnTo>
                  <a:lnTo>
                    <a:pt x="546" y="540"/>
                  </a:lnTo>
                  <a:lnTo>
                    <a:pt x="552" y="546"/>
                  </a:lnTo>
                  <a:lnTo>
                    <a:pt x="570" y="552"/>
                  </a:lnTo>
                  <a:lnTo>
                    <a:pt x="594" y="552"/>
                  </a:lnTo>
                  <a:lnTo>
                    <a:pt x="606" y="546"/>
                  </a:lnTo>
                  <a:lnTo>
                    <a:pt x="612" y="540"/>
                  </a:lnTo>
                  <a:lnTo>
                    <a:pt x="630" y="540"/>
                  </a:lnTo>
                  <a:lnTo>
                    <a:pt x="630" y="552"/>
                  </a:lnTo>
                  <a:lnTo>
                    <a:pt x="654" y="552"/>
                  </a:lnTo>
                  <a:lnTo>
                    <a:pt x="702" y="558"/>
                  </a:lnTo>
                  <a:lnTo>
                    <a:pt x="762" y="546"/>
                  </a:lnTo>
                  <a:lnTo>
                    <a:pt x="780" y="546"/>
                  </a:lnTo>
                  <a:lnTo>
                    <a:pt x="780" y="528"/>
                  </a:lnTo>
                  <a:lnTo>
                    <a:pt x="798" y="522"/>
                  </a:lnTo>
                  <a:lnTo>
                    <a:pt x="810" y="510"/>
                  </a:lnTo>
                  <a:lnTo>
                    <a:pt x="810" y="504"/>
                  </a:lnTo>
                  <a:lnTo>
                    <a:pt x="828" y="492"/>
                  </a:lnTo>
                  <a:lnTo>
                    <a:pt x="888" y="486"/>
                  </a:lnTo>
                  <a:lnTo>
                    <a:pt x="912" y="486"/>
                  </a:lnTo>
                  <a:lnTo>
                    <a:pt x="930" y="474"/>
                  </a:lnTo>
                  <a:lnTo>
                    <a:pt x="918" y="456"/>
                  </a:lnTo>
                  <a:lnTo>
                    <a:pt x="912" y="450"/>
                  </a:lnTo>
                  <a:lnTo>
                    <a:pt x="918" y="390"/>
                  </a:lnTo>
                  <a:lnTo>
                    <a:pt x="954" y="396"/>
                  </a:lnTo>
                  <a:lnTo>
                    <a:pt x="984" y="402"/>
                  </a:lnTo>
                  <a:lnTo>
                    <a:pt x="1014" y="420"/>
                  </a:lnTo>
                  <a:lnTo>
                    <a:pt x="1026" y="432"/>
                  </a:lnTo>
                  <a:lnTo>
                    <a:pt x="1044" y="450"/>
                  </a:lnTo>
                  <a:lnTo>
                    <a:pt x="1062" y="462"/>
                  </a:lnTo>
                  <a:lnTo>
                    <a:pt x="1098" y="468"/>
                  </a:lnTo>
                  <a:lnTo>
                    <a:pt x="1128" y="480"/>
                  </a:lnTo>
                  <a:lnTo>
                    <a:pt x="1152" y="486"/>
                  </a:lnTo>
                  <a:lnTo>
                    <a:pt x="1188" y="498"/>
                  </a:lnTo>
                  <a:lnTo>
                    <a:pt x="1212" y="504"/>
                  </a:lnTo>
                  <a:lnTo>
                    <a:pt x="1224" y="528"/>
                  </a:lnTo>
                  <a:lnTo>
                    <a:pt x="1236" y="540"/>
                  </a:lnTo>
                  <a:lnTo>
                    <a:pt x="1254" y="540"/>
                  </a:lnTo>
                  <a:lnTo>
                    <a:pt x="1254" y="546"/>
                  </a:lnTo>
                  <a:lnTo>
                    <a:pt x="1260" y="552"/>
                  </a:lnTo>
                  <a:lnTo>
                    <a:pt x="1266" y="552"/>
                  </a:lnTo>
                  <a:lnTo>
                    <a:pt x="1266" y="558"/>
                  </a:lnTo>
                  <a:lnTo>
                    <a:pt x="1272" y="564"/>
                  </a:lnTo>
                  <a:lnTo>
                    <a:pt x="1278" y="564"/>
                  </a:lnTo>
                  <a:lnTo>
                    <a:pt x="1278" y="570"/>
                  </a:lnTo>
                  <a:lnTo>
                    <a:pt x="1284" y="576"/>
                  </a:lnTo>
                  <a:lnTo>
                    <a:pt x="1290" y="582"/>
                  </a:lnTo>
                  <a:lnTo>
                    <a:pt x="1296" y="582"/>
                  </a:lnTo>
                  <a:lnTo>
                    <a:pt x="1296" y="588"/>
                  </a:lnTo>
                  <a:lnTo>
                    <a:pt x="1308" y="594"/>
                  </a:lnTo>
                  <a:lnTo>
                    <a:pt x="1308" y="600"/>
                  </a:lnTo>
                  <a:lnTo>
                    <a:pt x="1308" y="606"/>
                  </a:lnTo>
                  <a:lnTo>
                    <a:pt x="1314" y="612"/>
                  </a:lnTo>
                  <a:lnTo>
                    <a:pt x="1308" y="618"/>
                  </a:lnTo>
                  <a:lnTo>
                    <a:pt x="1314" y="618"/>
                  </a:lnTo>
                  <a:lnTo>
                    <a:pt x="1314" y="624"/>
                  </a:lnTo>
                  <a:lnTo>
                    <a:pt x="1308" y="624"/>
                  </a:lnTo>
                  <a:lnTo>
                    <a:pt x="1302" y="630"/>
                  </a:lnTo>
                  <a:lnTo>
                    <a:pt x="1302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296" y="654"/>
                  </a:lnTo>
                  <a:lnTo>
                    <a:pt x="1302" y="660"/>
                  </a:lnTo>
                  <a:lnTo>
                    <a:pt x="1302" y="666"/>
                  </a:lnTo>
                  <a:lnTo>
                    <a:pt x="1308" y="666"/>
                  </a:lnTo>
                  <a:lnTo>
                    <a:pt x="1308" y="672"/>
                  </a:lnTo>
                  <a:lnTo>
                    <a:pt x="1308" y="678"/>
                  </a:lnTo>
                  <a:lnTo>
                    <a:pt x="1308" y="684"/>
                  </a:lnTo>
                  <a:lnTo>
                    <a:pt x="1308" y="690"/>
                  </a:lnTo>
                  <a:lnTo>
                    <a:pt x="1302" y="696"/>
                  </a:lnTo>
                  <a:lnTo>
                    <a:pt x="1302" y="702"/>
                  </a:lnTo>
                  <a:lnTo>
                    <a:pt x="1308" y="702"/>
                  </a:lnTo>
                  <a:lnTo>
                    <a:pt x="1302" y="708"/>
                  </a:lnTo>
                  <a:lnTo>
                    <a:pt x="1308" y="714"/>
                  </a:lnTo>
                  <a:lnTo>
                    <a:pt x="1308" y="720"/>
                  </a:lnTo>
                  <a:lnTo>
                    <a:pt x="1308" y="726"/>
                  </a:lnTo>
                  <a:lnTo>
                    <a:pt x="1308" y="732"/>
                  </a:lnTo>
                  <a:lnTo>
                    <a:pt x="1314" y="732"/>
                  </a:lnTo>
                  <a:lnTo>
                    <a:pt x="1314" y="738"/>
                  </a:lnTo>
                  <a:lnTo>
                    <a:pt x="1320" y="744"/>
                  </a:lnTo>
                  <a:lnTo>
                    <a:pt x="1326" y="750"/>
                  </a:lnTo>
                  <a:lnTo>
                    <a:pt x="1320" y="750"/>
                  </a:lnTo>
                  <a:lnTo>
                    <a:pt x="1320" y="756"/>
                  </a:lnTo>
                  <a:lnTo>
                    <a:pt x="1314" y="756"/>
                  </a:lnTo>
                  <a:lnTo>
                    <a:pt x="1314" y="762"/>
                  </a:lnTo>
                  <a:lnTo>
                    <a:pt x="1314" y="768"/>
                  </a:lnTo>
                  <a:lnTo>
                    <a:pt x="1320" y="768"/>
                  </a:lnTo>
                  <a:lnTo>
                    <a:pt x="1320" y="762"/>
                  </a:lnTo>
                  <a:lnTo>
                    <a:pt x="1320" y="768"/>
                  </a:lnTo>
                  <a:lnTo>
                    <a:pt x="1326" y="774"/>
                  </a:lnTo>
                  <a:lnTo>
                    <a:pt x="1332" y="774"/>
                  </a:lnTo>
                  <a:lnTo>
                    <a:pt x="1332" y="780"/>
                  </a:lnTo>
                  <a:lnTo>
                    <a:pt x="1332" y="786"/>
                  </a:lnTo>
                  <a:lnTo>
                    <a:pt x="1332" y="792"/>
                  </a:lnTo>
                  <a:lnTo>
                    <a:pt x="1338" y="786"/>
                  </a:lnTo>
                  <a:lnTo>
                    <a:pt x="1338" y="792"/>
                  </a:lnTo>
                  <a:lnTo>
                    <a:pt x="1344" y="798"/>
                  </a:lnTo>
                  <a:lnTo>
                    <a:pt x="1344" y="804"/>
                  </a:lnTo>
                  <a:lnTo>
                    <a:pt x="1344" y="810"/>
                  </a:lnTo>
                  <a:lnTo>
                    <a:pt x="1344" y="816"/>
                  </a:lnTo>
                  <a:lnTo>
                    <a:pt x="1344" y="822"/>
                  </a:lnTo>
                  <a:lnTo>
                    <a:pt x="1338" y="828"/>
                  </a:lnTo>
                  <a:lnTo>
                    <a:pt x="1332" y="828"/>
                  </a:lnTo>
                  <a:lnTo>
                    <a:pt x="1338" y="840"/>
                  </a:lnTo>
                  <a:lnTo>
                    <a:pt x="1344" y="846"/>
                  </a:lnTo>
                  <a:lnTo>
                    <a:pt x="1344" y="852"/>
                  </a:lnTo>
                  <a:lnTo>
                    <a:pt x="1350" y="852"/>
                  </a:lnTo>
                  <a:lnTo>
                    <a:pt x="1356" y="858"/>
                  </a:lnTo>
                  <a:lnTo>
                    <a:pt x="1362" y="858"/>
                  </a:lnTo>
                  <a:lnTo>
                    <a:pt x="1362" y="870"/>
                  </a:lnTo>
                  <a:lnTo>
                    <a:pt x="1356" y="870"/>
                  </a:lnTo>
                  <a:lnTo>
                    <a:pt x="1356" y="876"/>
                  </a:lnTo>
                  <a:lnTo>
                    <a:pt x="1350" y="876"/>
                  </a:lnTo>
                  <a:lnTo>
                    <a:pt x="1344" y="876"/>
                  </a:lnTo>
                  <a:lnTo>
                    <a:pt x="1344" y="882"/>
                  </a:lnTo>
                  <a:lnTo>
                    <a:pt x="1338" y="882"/>
                  </a:lnTo>
                  <a:lnTo>
                    <a:pt x="1338" y="888"/>
                  </a:lnTo>
                  <a:lnTo>
                    <a:pt x="1338" y="894"/>
                  </a:lnTo>
                  <a:lnTo>
                    <a:pt x="1344" y="900"/>
                  </a:lnTo>
                  <a:lnTo>
                    <a:pt x="1344" y="906"/>
                  </a:lnTo>
                  <a:lnTo>
                    <a:pt x="1338" y="906"/>
                  </a:lnTo>
                  <a:lnTo>
                    <a:pt x="1332" y="912"/>
                  </a:lnTo>
                  <a:lnTo>
                    <a:pt x="1332" y="918"/>
                  </a:lnTo>
                  <a:lnTo>
                    <a:pt x="1326" y="918"/>
                  </a:lnTo>
                  <a:lnTo>
                    <a:pt x="1332" y="924"/>
                  </a:lnTo>
                  <a:lnTo>
                    <a:pt x="1284" y="942"/>
                  </a:lnTo>
                  <a:lnTo>
                    <a:pt x="1236" y="948"/>
                  </a:lnTo>
                  <a:lnTo>
                    <a:pt x="1194" y="966"/>
                  </a:lnTo>
                  <a:lnTo>
                    <a:pt x="1170" y="1002"/>
                  </a:lnTo>
                  <a:lnTo>
                    <a:pt x="1134" y="1020"/>
                  </a:lnTo>
                  <a:lnTo>
                    <a:pt x="1116" y="1032"/>
                  </a:lnTo>
                  <a:lnTo>
                    <a:pt x="1098" y="1050"/>
                  </a:lnTo>
                  <a:lnTo>
                    <a:pt x="1074" y="1074"/>
                  </a:lnTo>
                  <a:lnTo>
                    <a:pt x="1008" y="1134"/>
                  </a:lnTo>
                  <a:lnTo>
                    <a:pt x="990" y="1158"/>
                  </a:lnTo>
                  <a:lnTo>
                    <a:pt x="978" y="1182"/>
                  </a:lnTo>
                  <a:lnTo>
                    <a:pt x="960" y="1194"/>
                  </a:lnTo>
                  <a:lnTo>
                    <a:pt x="942" y="1212"/>
                  </a:lnTo>
                  <a:lnTo>
                    <a:pt x="912" y="1242"/>
                  </a:lnTo>
                  <a:lnTo>
                    <a:pt x="888" y="1254"/>
                  </a:lnTo>
                  <a:lnTo>
                    <a:pt x="864" y="1278"/>
                  </a:lnTo>
                  <a:lnTo>
                    <a:pt x="828" y="1296"/>
                  </a:lnTo>
                  <a:lnTo>
                    <a:pt x="774" y="1308"/>
                  </a:lnTo>
                  <a:lnTo>
                    <a:pt x="732" y="1302"/>
                  </a:lnTo>
                  <a:lnTo>
                    <a:pt x="702" y="1284"/>
                  </a:lnTo>
                  <a:lnTo>
                    <a:pt x="684" y="12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1" name="Freeform 16">
              <a:extLst>
                <a:ext uri="{FF2B5EF4-FFF2-40B4-BE49-F238E27FC236}">
                  <a16:creationId xmlns:a16="http://schemas.microsoft.com/office/drawing/2014/main" id="{D8D8591A-D9DB-4301-BEBD-D8F5A26DA9E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3001" y="2929369"/>
              <a:ext cx="914601" cy="1037736"/>
            </a:xfrm>
            <a:custGeom>
              <a:avLst/>
              <a:gdLst>
                <a:gd name="T0" fmla="*/ 144 w 1722"/>
                <a:gd name="T1" fmla="*/ 131 h 1956"/>
                <a:gd name="T2" fmla="*/ 142 w 1722"/>
                <a:gd name="T3" fmla="*/ 139 h 1956"/>
                <a:gd name="T4" fmla="*/ 137 w 1722"/>
                <a:gd name="T5" fmla="*/ 143 h 1956"/>
                <a:gd name="T6" fmla="*/ 133 w 1722"/>
                <a:gd name="T7" fmla="*/ 147 h 1956"/>
                <a:gd name="T8" fmla="*/ 132 w 1722"/>
                <a:gd name="T9" fmla="*/ 152 h 1956"/>
                <a:gd name="T10" fmla="*/ 130 w 1722"/>
                <a:gd name="T11" fmla="*/ 159 h 1956"/>
                <a:gd name="T12" fmla="*/ 127 w 1722"/>
                <a:gd name="T13" fmla="*/ 164 h 1956"/>
                <a:gd name="T14" fmla="*/ 123 w 1722"/>
                <a:gd name="T15" fmla="*/ 168 h 1956"/>
                <a:gd name="T16" fmla="*/ 117 w 1722"/>
                <a:gd name="T17" fmla="*/ 169 h 1956"/>
                <a:gd name="T18" fmla="*/ 110 w 1722"/>
                <a:gd name="T19" fmla="*/ 168 h 1956"/>
                <a:gd name="T20" fmla="*/ 104 w 1722"/>
                <a:gd name="T21" fmla="*/ 166 h 1956"/>
                <a:gd name="T22" fmla="*/ 101 w 1722"/>
                <a:gd name="T23" fmla="*/ 159 h 1956"/>
                <a:gd name="T24" fmla="*/ 95 w 1722"/>
                <a:gd name="T25" fmla="*/ 156 h 1956"/>
                <a:gd name="T26" fmla="*/ 89 w 1722"/>
                <a:gd name="T27" fmla="*/ 151 h 1956"/>
                <a:gd name="T28" fmla="*/ 87 w 1722"/>
                <a:gd name="T29" fmla="*/ 144 h 1956"/>
                <a:gd name="T30" fmla="*/ 82 w 1722"/>
                <a:gd name="T31" fmla="*/ 141 h 1956"/>
                <a:gd name="T32" fmla="*/ 76 w 1722"/>
                <a:gd name="T33" fmla="*/ 134 h 1956"/>
                <a:gd name="T34" fmla="*/ 74 w 1722"/>
                <a:gd name="T35" fmla="*/ 143 h 1956"/>
                <a:gd name="T36" fmla="*/ 68 w 1722"/>
                <a:gd name="T37" fmla="*/ 147 h 1956"/>
                <a:gd name="T38" fmla="*/ 54 w 1722"/>
                <a:gd name="T39" fmla="*/ 144 h 1956"/>
                <a:gd name="T40" fmla="*/ 51 w 1722"/>
                <a:gd name="T41" fmla="*/ 142 h 1956"/>
                <a:gd name="T42" fmla="*/ 42 w 1722"/>
                <a:gd name="T43" fmla="*/ 151 h 1956"/>
                <a:gd name="T44" fmla="*/ 33 w 1722"/>
                <a:gd name="T45" fmla="*/ 154 h 1956"/>
                <a:gd name="T46" fmla="*/ 31 w 1722"/>
                <a:gd name="T47" fmla="*/ 159 h 1956"/>
                <a:gd name="T48" fmla="*/ 29 w 1722"/>
                <a:gd name="T49" fmla="*/ 166 h 1956"/>
                <a:gd name="T50" fmla="*/ 25 w 1722"/>
                <a:gd name="T51" fmla="*/ 169 h 1956"/>
                <a:gd name="T52" fmla="*/ 27 w 1722"/>
                <a:gd name="T53" fmla="*/ 154 h 1956"/>
                <a:gd name="T54" fmla="*/ 37 w 1722"/>
                <a:gd name="T55" fmla="*/ 133 h 1956"/>
                <a:gd name="T56" fmla="*/ 36 w 1722"/>
                <a:gd name="T57" fmla="*/ 109 h 1956"/>
                <a:gd name="T58" fmla="*/ 27 w 1722"/>
                <a:gd name="T59" fmla="*/ 101 h 1956"/>
                <a:gd name="T60" fmla="*/ 5 w 1722"/>
                <a:gd name="T61" fmla="*/ 98 h 1956"/>
                <a:gd name="T62" fmla="*/ 2 w 1722"/>
                <a:gd name="T63" fmla="*/ 93 h 1956"/>
                <a:gd name="T64" fmla="*/ 12 w 1722"/>
                <a:gd name="T65" fmla="*/ 82 h 1956"/>
                <a:gd name="T66" fmla="*/ 9 w 1722"/>
                <a:gd name="T67" fmla="*/ 74 h 1956"/>
                <a:gd name="T68" fmla="*/ 23 w 1722"/>
                <a:gd name="T69" fmla="*/ 72 h 1956"/>
                <a:gd name="T70" fmla="*/ 22 w 1722"/>
                <a:gd name="T71" fmla="*/ 67 h 1956"/>
                <a:gd name="T72" fmla="*/ 48 w 1722"/>
                <a:gd name="T73" fmla="*/ 57 h 1956"/>
                <a:gd name="T74" fmla="*/ 78 w 1722"/>
                <a:gd name="T75" fmla="*/ 34 h 1956"/>
                <a:gd name="T76" fmla="*/ 81 w 1722"/>
                <a:gd name="T77" fmla="*/ 31 h 1956"/>
                <a:gd name="T78" fmla="*/ 80 w 1722"/>
                <a:gd name="T79" fmla="*/ 26 h 1956"/>
                <a:gd name="T80" fmla="*/ 78 w 1722"/>
                <a:gd name="T81" fmla="*/ 21 h 1956"/>
                <a:gd name="T82" fmla="*/ 77 w 1722"/>
                <a:gd name="T83" fmla="*/ 18 h 1956"/>
                <a:gd name="T84" fmla="*/ 77 w 1722"/>
                <a:gd name="T85" fmla="*/ 12 h 1956"/>
                <a:gd name="T86" fmla="*/ 77 w 1722"/>
                <a:gd name="T87" fmla="*/ 7 h 1956"/>
                <a:gd name="T88" fmla="*/ 102 w 1722"/>
                <a:gd name="T89" fmla="*/ 2 h 1956"/>
                <a:gd name="T90" fmla="*/ 115 w 1722"/>
                <a:gd name="T91" fmla="*/ 3 h 1956"/>
                <a:gd name="T92" fmla="*/ 123 w 1722"/>
                <a:gd name="T93" fmla="*/ 3 h 1956"/>
                <a:gd name="T94" fmla="*/ 125 w 1722"/>
                <a:gd name="T95" fmla="*/ 9 h 1956"/>
                <a:gd name="T96" fmla="*/ 133 w 1722"/>
                <a:gd name="T97" fmla="*/ 13 h 1956"/>
                <a:gd name="T98" fmla="*/ 149 w 1722"/>
                <a:gd name="T99" fmla="*/ 37 h 1956"/>
                <a:gd name="T100" fmla="*/ 141 w 1722"/>
                <a:gd name="T101" fmla="*/ 57 h 1956"/>
                <a:gd name="T102" fmla="*/ 135 w 1722"/>
                <a:gd name="T103" fmla="*/ 63 h 1956"/>
                <a:gd name="T104" fmla="*/ 124 w 1722"/>
                <a:gd name="T105" fmla="*/ 77 h 1956"/>
                <a:gd name="T106" fmla="*/ 123 w 1722"/>
                <a:gd name="T107" fmla="*/ 96 h 1956"/>
                <a:gd name="T108" fmla="*/ 127 w 1722"/>
                <a:gd name="T109" fmla="*/ 97 h 1956"/>
                <a:gd name="T110" fmla="*/ 129 w 1722"/>
                <a:gd name="T111" fmla="*/ 92 h 1956"/>
                <a:gd name="T112" fmla="*/ 134 w 1722"/>
                <a:gd name="T113" fmla="*/ 94 h 1956"/>
                <a:gd name="T114" fmla="*/ 138 w 1722"/>
                <a:gd name="T115" fmla="*/ 99 h 1956"/>
                <a:gd name="T116" fmla="*/ 142 w 1722"/>
                <a:gd name="T117" fmla="*/ 104 h 1956"/>
                <a:gd name="T118" fmla="*/ 141 w 1722"/>
                <a:gd name="T119" fmla="*/ 115 h 19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722"/>
                <a:gd name="T181" fmla="*/ 0 h 1956"/>
                <a:gd name="T182" fmla="*/ 1722 w 1722"/>
                <a:gd name="T183" fmla="*/ 1956 h 19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722" h="1956">
                  <a:moveTo>
                    <a:pt x="1686" y="1404"/>
                  </a:moveTo>
                  <a:lnTo>
                    <a:pt x="1680" y="1416"/>
                  </a:lnTo>
                  <a:lnTo>
                    <a:pt x="1674" y="1422"/>
                  </a:lnTo>
                  <a:lnTo>
                    <a:pt x="1674" y="1428"/>
                  </a:lnTo>
                  <a:lnTo>
                    <a:pt x="1668" y="1428"/>
                  </a:lnTo>
                  <a:lnTo>
                    <a:pt x="1668" y="1434"/>
                  </a:lnTo>
                  <a:lnTo>
                    <a:pt x="1662" y="1446"/>
                  </a:lnTo>
                  <a:lnTo>
                    <a:pt x="1656" y="1464"/>
                  </a:lnTo>
                  <a:lnTo>
                    <a:pt x="1656" y="1476"/>
                  </a:lnTo>
                  <a:lnTo>
                    <a:pt x="1656" y="1488"/>
                  </a:lnTo>
                  <a:lnTo>
                    <a:pt x="1662" y="1500"/>
                  </a:lnTo>
                  <a:lnTo>
                    <a:pt x="1662" y="1506"/>
                  </a:lnTo>
                  <a:lnTo>
                    <a:pt x="1662" y="1524"/>
                  </a:lnTo>
                  <a:lnTo>
                    <a:pt x="1668" y="1542"/>
                  </a:lnTo>
                  <a:lnTo>
                    <a:pt x="1674" y="1560"/>
                  </a:lnTo>
                  <a:lnTo>
                    <a:pt x="1680" y="1578"/>
                  </a:lnTo>
                  <a:lnTo>
                    <a:pt x="1686" y="1578"/>
                  </a:lnTo>
                  <a:lnTo>
                    <a:pt x="1686" y="1584"/>
                  </a:lnTo>
                  <a:lnTo>
                    <a:pt x="1686" y="1590"/>
                  </a:lnTo>
                  <a:lnTo>
                    <a:pt x="1686" y="1596"/>
                  </a:lnTo>
                  <a:lnTo>
                    <a:pt x="1680" y="1596"/>
                  </a:lnTo>
                  <a:lnTo>
                    <a:pt x="1674" y="1602"/>
                  </a:lnTo>
                  <a:lnTo>
                    <a:pt x="1662" y="1602"/>
                  </a:lnTo>
                  <a:lnTo>
                    <a:pt x="1638" y="1596"/>
                  </a:lnTo>
                  <a:lnTo>
                    <a:pt x="1632" y="1596"/>
                  </a:lnTo>
                  <a:lnTo>
                    <a:pt x="1626" y="1602"/>
                  </a:lnTo>
                  <a:lnTo>
                    <a:pt x="1620" y="1602"/>
                  </a:lnTo>
                  <a:lnTo>
                    <a:pt x="1614" y="1602"/>
                  </a:lnTo>
                  <a:lnTo>
                    <a:pt x="1602" y="1602"/>
                  </a:lnTo>
                  <a:lnTo>
                    <a:pt x="1602" y="1608"/>
                  </a:lnTo>
                  <a:lnTo>
                    <a:pt x="1602" y="1620"/>
                  </a:lnTo>
                  <a:lnTo>
                    <a:pt x="1596" y="1620"/>
                  </a:lnTo>
                  <a:lnTo>
                    <a:pt x="1590" y="1620"/>
                  </a:lnTo>
                  <a:lnTo>
                    <a:pt x="1584" y="1626"/>
                  </a:lnTo>
                  <a:lnTo>
                    <a:pt x="1584" y="1632"/>
                  </a:lnTo>
                  <a:lnTo>
                    <a:pt x="1578" y="1644"/>
                  </a:lnTo>
                  <a:lnTo>
                    <a:pt x="1572" y="1644"/>
                  </a:lnTo>
                  <a:lnTo>
                    <a:pt x="1566" y="1644"/>
                  </a:lnTo>
                  <a:lnTo>
                    <a:pt x="1566" y="1650"/>
                  </a:lnTo>
                  <a:lnTo>
                    <a:pt x="1560" y="1650"/>
                  </a:lnTo>
                  <a:lnTo>
                    <a:pt x="1554" y="1650"/>
                  </a:lnTo>
                  <a:lnTo>
                    <a:pt x="1548" y="1650"/>
                  </a:lnTo>
                  <a:lnTo>
                    <a:pt x="1548" y="1656"/>
                  </a:lnTo>
                  <a:lnTo>
                    <a:pt x="1542" y="1668"/>
                  </a:lnTo>
                  <a:lnTo>
                    <a:pt x="1542" y="1674"/>
                  </a:lnTo>
                  <a:lnTo>
                    <a:pt x="1542" y="1692"/>
                  </a:lnTo>
                  <a:lnTo>
                    <a:pt x="1536" y="1698"/>
                  </a:lnTo>
                  <a:lnTo>
                    <a:pt x="1530" y="1698"/>
                  </a:lnTo>
                  <a:lnTo>
                    <a:pt x="1524" y="1698"/>
                  </a:lnTo>
                  <a:lnTo>
                    <a:pt x="1518" y="1704"/>
                  </a:lnTo>
                  <a:lnTo>
                    <a:pt x="1512" y="1710"/>
                  </a:lnTo>
                  <a:lnTo>
                    <a:pt x="1506" y="1722"/>
                  </a:lnTo>
                  <a:lnTo>
                    <a:pt x="1500" y="1728"/>
                  </a:lnTo>
                  <a:lnTo>
                    <a:pt x="1500" y="1734"/>
                  </a:lnTo>
                  <a:lnTo>
                    <a:pt x="1512" y="1734"/>
                  </a:lnTo>
                  <a:lnTo>
                    <a:pt x="1518" y="1740"/>
                  </a:lnTo>
                  <a:lnTo>
                    <a:pt x="1518" y="1746"/>
                  </a:lnTo>
                  <a:lnTo>
                    <a:pt x="1518" y="1752"/>
                  </a:lnTo>
                  <a:lnTo>
                    <a:pt x="1518" y="1758"/>
                  </a:lnTo>
                  <a:lnTo>
                    <a:pt x="1524" y="1758"/>
                  </a:lnTo>
                  <a:lnTo>
                    <a:pt x="1524" y="1764"/>
                  </a:lnTo>
                  <a:lnTo>
                    <a:pt x="1530" y="1770"/>
                  </a:lnTo>
                  <a:lnTo>
                    <a:pt x="1518" y="1770"/>
                  </a:lnTo>
                  <a:lnTo>
                    <a:pt x="1512" y="1782"/>
                  </a:lnTo>
                  <a:lnTo>
                    <a:pt x="1512" y="1788"/>
                  </a:lnTo>
                  <a:lnTo>
                    <a:pt x="1518" y="1788"/>
                  </a:lnTo>
                  <a:lnTo>
                    <a:pt x="1524" y="1800"/>
                  </a:lnTo>
                  <a:lnTo>
                    <a:pt x="1524" y="1806"/>
                  </a:lnTo>
                  <a:lnTo>
                    <a:pt x="1518" y="1812"/>
                  </a:lnTo>
                  <a:lnTo>
                    <a:pt x="1512" y="1818"/>
                  </a:lnTo>
                  <a:lnTo>
                    <a:pt x="1506" y="1818"/>
                  </a:lnTo>
                  <a:lnTo>
                    <a:pt x="1500" y="1824"/>
                  </a:lnTo>
                  <a:lnTo>
                    <a:pt x="1500" y="1836"/>
                  </a:lnTo>
                  <a:lnTo>
                    <a:pt x="1500" y="1842"/>
                  </a:lnTo>
                  <a:lnTo>
                    <a:pt x="1500" y="1848"/>
                  </a:lnTo>
                  <a:lnTo>
                    <a:pt x="1500" y="1854"/>
                  </a:lnTo>
                  <a:lnTo>
                    <a:pt x="1494" y="1860"/>
                  </a:lnTo>
                  <a:lnTo>
                    <a:pt x="1488" y="1860"/>
                  </a:lnTo>
                  <a:lnTo>
                    <a:pt x="1488" y="1866"/>
                  </a:lnTo>
                  <a:lnTo>
                    <a:pt x="1482" y="1872"/>
                  </a:lnTo>
                  <a:lnTo>
                    <a:pt x="1482" y="1878"/>
                  </a:lnTo>
                  <a:lnTo>
                    <a:pt x="1482" y="1884"/>
                  </a:lnTo>
                  <a:lnTo>
                    <a:pt x="1476" y="1890"/>
                  </a:lnTo>
                  <a:lnTo>
                    <a:pt x="1470" y="1890"/>
                  </a:lnTo>
                  <a:lnTo>
                    <a:pt x="1470" y="1896"/>
                  </a:lnTo>
                  <a:lnTo>
                    <a:pt x="1464" y="1896"/>
                  </a:lnTo>
                  <a:lnTo>
                    <a:pt x="1458" y="1896"/>
                  </a:lnTo>
                  <a:lnTo>
                    <a:pt x="1452" y="1896"/>
                  </a:lnTo>
                  <a:lnTo>
                    <a:pt x="1440" y="1890"/>
                  </a:lnTo>
                  <a:lnTo>
                    <a:pt x="1434" y="1896"/>
                  </a:lnTo>
                  <a:lnTo>
                    <a:pt x="1428" y="1896"/>
                  </a:lnTo>
                  <a:lnTo>
                    <a:pt x="1422" y="1896"/>
                  </a:lnTo>
                  <a:lnTo>
                    <a:pt x="1422" y="1902"/>
                  </a:lnTo>
                  <a:lnTo>
                    <a:pt x="1416" y="1902"/>
                  </a:lnTo>
                  <a:lnTo>
                    <a:pt x="1422" y="1914"/>
                  </a:lnTo>
                  <a:lnTo>
                    <a:pt x="1422" y="1932"/>
                  </a:lnTo>
                  <a:lnTo>
                    <a:pt x="1416" y="1938"/>
                  </a:lnTo>
                  <a:lnTo>
                    <a:pt x="1422" y="1938"/>
                  </a:lnTo>
                  <a:lnTo>
                    <a:pt x="1404" y="1938"/>
                  </a:lnTo>
                  <a:lnTo>
                    <a:pt x="1392" y="1944"/>
                  </a:lnTo>
                  <a:lnTo>
                    <a:pt x="1386" y="1944"/>
                  </a:lnTo>
                  <a:lnTo>
                    <a:pt x="1374" y="1944"/>
                  </a:lnTo>
                  <a:lnTo>
                    <a:pt x="1368" y="1950"/>
                  </a:lnTo>
                  <a:lnTo>
                    <a:pt x="1374" y="1956"/>
                  </a:lnTo>
                  <a:lnTo>
                    <a:pt x="1368" y="1956"/>
                  </a:lnTo>
                  <a:lnTo>
                    <a:pt x="1356" y="1956"/>
                  </a:lnTo>
                  <a:lnTo>
                    <a:pt x="1350" y="1956"/>
                  </a:lnTo>
                  <a:lnTo>
                    <a:pt x="1350" y="1950"/>
                  </a:lnTo>
                  <a:lnTo>
                    <a:pt x="1344" y="1944"/>
                  </a:lnTo>
                  <a:lnTo>
                    <a:pt x="1332" y="1938"/>
                  </a:lnTo>
                  <a:lnTo>
                    <a:pt x="1326" y="1938"/>
                  </a:lnTo>
                  <a:lnTo>
                    <a:pt x="1320" y="1938"/>
                  </a:lnTo>
                  <a:lnTo>
                    <a:pt x="1314" y="1944"/>
                  </a:lnTo>
                  <a:lnTo>
                    <a:pt x="1308" y="1944"/>
                  </a:lnTo>
                  <a:lnTo>
                    <a:pt x="1302" y="1944"/>
                  </a:lnTo>
                  <a:lnTo>
                    <a:pt x="1296" y="1938"/>
                  </a:lnTo>
                  <a:lnTo>
                    <a:pt x="1284" y="1938"/>
                  </a:lnTo>
                  <a:lnTo>
                    <a:pt x="1278" y="1938"/>
                  </a:lnTo>
                  <a:lnTo>
                    <a:pt x="1272" y="1938"/>
                  </a:lnTo>
                  <a:lnTo>
                    <a:pt x="1266" y="1932"/>
                  </a:lnTo>
                  <a:lnTo>
                    <a:pt x="1260" y="1932"/>
                  </a:lnTo>
                  <a:lnTo>
                    <a:pt x="1254" y="1920"/>
                  </a:lnTo>
                  <a:lnTo>
                    <a:pt x="1248" y="1920"/>
                  </a:lnTo>
                  <a:lnTo>
                    <a:pt x="1242" y="1920"/>
                  </a:lnTo>
                  <a:lnTo>
                    <a:pt x="1236" y="1926"/>
                  </a:lnTo>
                  <a:lnTo>
                    <a:pt x="1236" y="1932"/>
                  </a:lnTo>
                  <a:lnTo>
                    <a:pt x="1230" y="1932"/>
                  </a:lnTo>
                  <a:lnTo>
                    <a:pt x="1224" y="1932"/>
                  </a:lnTo>
                  <a:lnTo>
                    <a:pt x="1218" y="1938"/>
                  </a:lnTo>
                  <a:lnTo>
                    <a:pt x="1212" y="1932"/>
                  </a:lnTo>
                  <a:lnTo>
                    <a:pt x="1206" y="1926"/>
                  </a:lnTo>
                  <a:lnTo>
                    <a:pt x="1206" y="1908"/>
                  </a:lnTo>
                  <a:lnTo>
                    <a:pt x="1206" y="1884"/>
                  </a:lnTo>
                  <a:lnTo>
                    <a:pt x="1206" y="1866"/>
                  </a:lnTo>
                  <a:lnTo>
                    <a:pt x="1212" y="1848"/>
                  </a:lnTo>
                  <a:lnTo>
                    <a:pt x="1212" y="1842"/>
                  </a:lnTo>
                  <a:lnTo>
                    <a:pt x="1206" y="1836"/>
                  </a:lnTo>
                  <a:lnTo>
                    <a:pt x="1200" y="1830"/>
                  </a:lnTo>
                  <a:lnTo>
                    <a:pt x="1194" y="1824"/>
                  </a:lnTo>
                  <a:lnTo>
                    <a:pt x="1188" y="1824"/>
                  </a:lnTo>
                  <a:lnTo>
                    <a:pt x="1182" y="1824"/>
                  </a:lnTo>
                  <a:lnTo>
                    <a:pt x="1176" y="1824"/>
                  </a:lnTo>
                  <a:lnTo>
                    <a:pt x="1170" y="1818"/>
                  </a:lnTo>
                  <a:lnTo>
                    <a:pt x="1164" y="1830"/>
                  </a:lnTo>
                  <a:lnTo>
                    <a:pt x="1152" y="1836"/>
                  </a:lnTo>
                  <a:lnTo>
                    <a:pt x="1146" y="1842"/>
                  </a:lnTo>
                  <a:lnTo>
                    <a:pt x="1140" y="1842"/>
                  </a:lnTo>
                  <a:lnTo>
                    <a:pt x="1134" y="1842"/>
                  </a:lnTo>
                  <a:lnTo>
                    <a:pt x="1128" y="1842"/>
                  </a:lnTo>
                  <a:lnTo>
                    <a:pt x="1116" y="1836"/>
                  </a:lnTo>
                  <a:lnTo>
                    <a:pt x="1110" y="1842"/>
                  </a:lnTo>
                  <a:lnTo>
                    <a:pt x="1092" y="1830"/>
                  </a:lnTo>
                  <a:lnTo>
                    <a:pt x="1092" y="1824"/>
                  </a:lnTo>
                  <a:lnTo>
                    <a:pt x="1092" y="1806"/>
                  </a:lnTo>
                  <a:lnTo>
                    <a:pt x="1092" y="1800"/>
                  </a:lnTo>
                  <a:lnTo>
                    <a:pt x="1092" y="1794"/>
                  </a:lnTo>
                  <a:lnTo>
                    <a:pt x="1086" y="1788"/>
                  </a:lnTo>
                  <a:lnTo>
                    <a:pt x="1080" y="1794"/>
                  </a:lnTo>
                  <a:lnTo>
                    <a:pt x="1074" y="1788"/>
                  </a:lnTo>
                  <a:lnTo>
                    <a:pt x="1068" y="1770"/>
                  </a:lnTo>
                  <a:lnTo>
                    <a:pt x="1056" y="1764"/>
                  </a:lnTo>
                  <a:lnTo>
                    <a:pt x="1050" y="1764"/>
                  </a:lnTo>
                  <a:lnTo>
                    <a:pt x="1044" y="1764"/>
                  </a:lnTo>
                  <a:lnTo>
                    <a:pt x="1038" y="1758"/>
                  </a:lnTo>
                  <a:lnTo>
                    <a:pt x="1032" y="1752"/>
                  </a:lnTo>
                  <a:lnTo>
                    <a:pt x="1032" y="1746"/>
                  </a:lnTo>
                  <a:lnTo>
                    <a:pt x="1032" y="1740"/>
                  </a:lnTo>
                  <a:lnTo>
                    <a:pt x="1032" y="1734"/>
                  </a:lnTo>
                  <a:lnTo>
                    <a:pt x="1026" y="1734"/>
                  </a:lnTo>
                  <a:lnTo>
                    <a:pt x="1032" y="1728"/>
                  </a:lnTo>
                  <a:lnTo>
                    <a:pt x="1032" y="1722"/>
                  </a:lnTo>
                  <a:lnTo>
                    <a:pt x="1044" y="1686"/>
                  </a:lnTo>
                  <a:lnTo>
                    <a:pt x="1044" y="1680"/>
                  </a:lnTo>
                  <a:lnTo>
                    <a:pt x="1032" y="1674"/>
                  </a:lnTo>
                  <a:lnTo>
                    <a:pt x="1026" y="1674"/>
                  </a:lnTo>
                  <a:lnTo>
                    <a:pt x="1026" y="1668"/>
                  </a:lnTo>
                  <a:lnTo>
                    <a:pt x="1020" y="1662"/>
                  </a:lnTo>
                  <a:lnTo>
                    <a:pt x="1014" y="1668"/>
                  </a:lnTo>
                  <a:lnTo>
                    <a:pt x="1008" y="1662"/>
                  </a:lnTo>
                  <a:lnTo>
                    <a:pt x="1002" y="1662"/>
                  </a:lnTo>
                  <a:lnTo>
                    <a:pt x="1002" y="1668"/>
                  </a:lnTo>
                  <a:lnTo>
                    <a:pt x="996" y="1668"/>
                  </a:lnTo>
                  <a:lnTo>
                    <a:pt x="996" y="1662"/>
                  </a:lnTo>
                  <a:lnTo>
                    <a:pt x="984" y="1662"/>
                  </a:lnTo>
                  <a:lnTo>
                    <a:pt x="984" y="1656"/>
                  </a:lnTo>
                  <a:lnTo>
                    <a:pt x="978" y="1650"/>
                  </a:lnTo>
                  <a:lnTo>
                    <a:pt x="978" y="1644"/>
                  </a:lnTo>
                  <a:lnTo>
                    <a:pt x="966" y="1650"/>
                  </a:lnTo>
                  <a:lnTo>
                    <a:pt x="960" y="1638"/>
                  </a:lnTo>
                  <a:lnTo>
                    <a:pt x="954" y="1632"/>
                  </a:lnTo>
                  <a:lnTo>
                    <a:pt x="948" y="1632"/>
                  </a:lnTo>
                  <a:lnTo>
                    <a:pt x="942" y="1626"/>
                  </a:lnTo>
                  <a:lnTo>
                    <a:pt x="942" y="1614"/>
                  </a:lnTo>
                  <a:lnTo>
                    <a:pt x="930" y="1608"/>
                  </a:lnTo>
                  <a:lnTo>
                    <a:pt x="924" y="1614"/>
                  </a:lnTo>
                  <a:lnTo>
                    <a:pt x="912" y="1608"/>
                  </a:lnTo>
                  <a:lnTo>
                    <a:pt x="888" y="1590"/>
                  </a:lnTo>
                  <a:lnTo>
                    <a:pt x="894" y="1578"/>
                  </a:lnTo>
                  <a:lnTo>
                    <a:pt x="894" y="1572"/>
                  </a:lnTo>
                  <a:lnTo>
                    <a:pt x="894" y="1566"/>
                  </a:lnTo>
                  <a:lnTo>
                    <a:pt x="894" y="1548"/>
                  </a:lnTo>
                  <a:lnTo>
                    <a:pt x="888" y="1548"/>
                  </a:lnTo>
                  <a:lnTo>
                    <a:pt x="882" y="1542"/>
                  </a:lnTo>
                  <a:lnTo>
                    <a:pt x="876" y="1542"/>
                  </a:lnTo>
                  <a:lnTo>
                    <a:pt x="876" y="1536"/>
                  </a:lnTo>
                  <a:lnTo>
                    <a:pt x="870" y="1542"/>
                  </a:lnTo>
                  <a:lnTo>
                    <a:pt x="870" y="1554"/>
                  </a:lnTo>
                  <a:lnTo>
                    <a:pt x="870" y="1566"/>
                  </a:lnTo>
                  <a:lnTo>
                    <a:pt x="870" y="1578"/>
                  </a:lnTo>
                  <a:lnTo>
                    <a:pt x="870" y="1584"/>
                  </a:lnTo>
                  <a:lnTo>
                    <a:pt x="864" y="1584"/>
                  </a:lnTo>
                  <a:lnTo>
                    <a:pt x="870" y="1602"/>
                  </a:lnTo>
                  <a:lnTo>
                    <a:pt x="864" y="1608"/>
                  </a:lnTo>
                  <a:lnTo>
                    <a:pt x="870" y="1614"/>
                  </a:lnTo>
                  <a:lnTo>
                    <a:pt x="864" y="1644"/>
                  </a:lnTo>
                  <a:lnTo>
                    <a:pt x="858" y="1650"/>
                  </a:lnTo>
                  <a:lnTo>
                    <a:pt x="858" y="1656"/>
                  </a:lnTo>
                  <a:lnTo>
                    <a:pt x="852" y="1662"/>
                  </a:lnTo>
                  <a:lnTo>
                    <a:pt x="852" y="1680"/>
                  </a:lnTo>
                  <a:lnTo>
                    <a:pt x="846" y="1686"/>
                  </a:lnTo>
                  <a:lnTo>
                    <a:pt x="834" y="1692"/>
                  </a:lnTo>
                  <a:lnTo>
                    <a:pt x="828" y="1692"/>
                  </a:lnTo>
                  <a:lnTo>
                    <a:pt x="822" y="1698"/>
                  </a:lnTo>
                  <a:lnTo>
                    <a:pt x="822" y="1704"/>
                  </a:lnTo>
                  <a:lnTo>
                    <a:pt x="816" y="1704"/>
                  </a:lnTo>
                  <a:lnTo>
                    <a:pt x="804" y="1692"/>
                  </a:lnTo>
                  <a:lnTo>
                    <a:pt x="786" y="1698"/>
                  </a:lnTo>
                  <a:lnTo>
                    <a:pt x="780" y="1698"/>
                  </a:lnTo>
                  <a:lnTo>
                    <a:pt x="756" y="1698"/>
                  </a:lnTo>
                  <a:lnTo>
                    <a:pt x="744" y="1698"/>
                  </a:lnTo>
                  <a:lnTo>
                    <a:pt x="738" y="1698"/>
                  </a:lnTo>
                  <a:lnTo>
                    <a:pt x="732" y="1704"/>
                  </a:lnTo>
                  <a:lnTo>
                    <a:pt x="726" y="1704"/>
                  </a:lnTo>
                  <a:lnTo>
                    <a:pt x="678" y="1710"/>
                  </a:lnTo>
                  <a:lnTo>
                    <a:pt x="642" y="1710"/>
                  </a:lnTo>
                  <a:lnTo>
                    <a:pt x="618" y="1680"/>
                  </a:lnTo>
                  <a:lnTo>
                    <a:pt x="618" y="1674"/>
                  </a:lnTo>
                  <a:lnTo>
                    <a:pt x="618" y="1668"/>
                  </a:lnTo>
                  <a:lnTo>
                    <a:pt x="624" y="1662"/>
                  </a:lnTo>
                  <a:lnTo>
                    <a:pt x="624" y="1656"/>
                  </a:lnTo>
                  <a:lnTo>
                    <a:pt x="624" y="1650"/>
                  </a:lnTo>
                  <a:lnTo>
                    <a:pt x="618" y="1650"/>
                  </a:lnTo>
                  <a:lnTo>
                    <a:pt x="618" y="1644"/>
                  </a:lnTo>
                  <a:lnTo>
                    <a:pt x="618" y="1638"/>
                  </a:lnTo>
                  <a:lnTo>
                    <a:pt x="618" y="1632"/>
                  </a:lnTo>
                  <a:lnTo>
                    <a:pt x="618" y="1626"/>
                  </a:lnTo>
                  <a:lnTo>
                    <a:pt x="612" y="1626"/>
                  </a:lnTo>
                  <a:lnTo>
                    <a:pt x="612" y="1620"/>
                  </a:lnTo>
                  <a:lnTo>
                    <a:pt x="606" y="1614"/>
                  </a:lnTo>
                  <a:lnTo>
                    <a:pt x="594" y="1626"/>
                  </a:lnTo>
                  <a:lnTo>
                    <a:pt x="594" y="1632"/>
                  </a:lnTo>
                  <a:lnTo>
                    <a:pt x="588" y="1638"/>
                  </a:lnTo>
                  <a:lnTo>
                    <a:pt x="582" y="1638"/>
                  </a:lnTo>
                  <a:lnTo>
                    <a:pt x="564" y="1656"/>
                  </a:lnTo>
                  <a:lnTo>
                    <a:pt x="558" y="1662"/>
                  </a:lnTo>
                  <a:lnTo>
                    <a:pt x="552" y="1662"/>
                  </a:lnTo>
                  <a:lnTo>
                    <a:pt x="540" y="1674"/>
                  </a:lnTo>
                  <a:lnTo>
                    <a:pt x="534" y="1680"/>
                  </a:lnTo>
                  <a:lnTo>
                    <a:pt x="522" y="1692"/>
                  </a:lnTo>
                  <a:lnTo>
                    <a:pt x="516" y="1704"/>
                  </a:lnTo>
                  <a:lnTo>
                    <a:pt x="510" y="1704"/>
                  </a:lnTo>
                  <a:lnTo>
                    <a:pt x="504" y="1704"/>
                  </a:lnTo>
                  <a:lnTo>
                    <a:pt x="486" y="1722"/>
                  </a:lnTo>
                  <a:lnTo>
                    <a:pt x="480" y="1740"/>
                  </a:lnTo>
                  <a:lnTo>
                    <a:pt x="474" y="1740"/>
                  </a:lnTo>
                  <a:lnTo>
                    <a:pt x="468" y="1746"/>
                  </a:lnTo>
                  <a:lnTo>
                    <a:pt x="456" y="1758"/>
                  </a:lnTo>
                  <a:lnTo>
                    <a:pt x="444" y="1770"/>
                  </a:lnTo>
                  <a:lnTo>
                    <a:pt x="438" y="1782"/>
                  </a:lnTo>
                  <a:lnTo>
                    <a:pt x="426" y="1788"/>
                  </a:lnTo>
                  <a:lnTo>
                    <a:pt x="420" y="1788"/>
                  </a:lnTo>
                  <a:lnTo>
                    <a:pt x="420" y="1782"/>
                  </a:lnTo>
                  <a:lnTo>
                    <a:pt x="414" y="1782"/>
                  </a:lnTo>
                  <a:lnTo>
                    <a:pt x="390" y="1782"/>
                  </a:lnTo>
                  <a:lnTo>
                    <a:pt x="390" y="1776"/>
                  </a:lnTo>
                  <a:lnTo>
                    <a:pt x="384" y="1776"/>
                  </a:lnTo>
                  <a:lnTo>
                    <a:pt x="378" y="1776"/>
                  </a:lnTo>
                  <a:lnTo>
                    <a:pt x="372" y="1776"/>
                  </a:lnTo>
                  <a:lnTo>
                    <a:pt x="366" y="1770"/>
                  </a:lnTo>
                  <a:lnTo>
                    <a:pt x="366" y="1776"/>
                  </a:lnTo>
                  <a:lnTo>
                    <a:pt x="360" y="1788"/>
                  </a:lnTo>
                  <a:lnTo>
                    <a:pt x="360" y="1794"/>
                  </a:lnTo>
                  <a:lnTo>
                    <a:pt x="360" y="1800"/>
                  </a:lnTo>
                  <a:lnTo>
                    <a:pt x="354" y="1806"/>
                  </a:lnTo>
                  <a:lnTo>
                    <a:pt x="354" y="1812"/>
                  </a:lnTo>
                  <a:lnTo>
                    <a:pt x="354" y="1824"/>
                  </a:lnTo>
                  <a:lnTo>
                    <a:pt x="348" y="1830"/>
                  </a:lnTo>
                  <a:lnTo>
                    <a:pt x="354" y="1836"/>
                  </a:lnTo>
                  <a:lnTo>
                    <a:pt x="348" y="1842"/>
                  </a:lnTo>
                  <a:lnTo>
                    <a:pt x="354" y="1848"/>
                  </a:lnTo>
                  <a:lnTo>
                    <a:pt x="348" y="1854"/>
                  </a:lnTo>
                  <a:lnTo>
                    <a:pt x="354" y="1854"/>
                  </a:lnTo>
                  <a:lnTo>
                    <a:pt x="348" y="1860"/>
                  </a:lnTo>
                  <a:lnTo>
                    <a:pt x="348" y="1866"/>
                  </a:lnTo>
                  <a:lnTo>
                    <a:pt x="342" y="1866"/>
                  </a:lnTo>
                  <a:lnTo>
                    <a:pt x="342" y="1872"/>
                  </a:lnTo>
                  <a:lnTo>
                    <a:pt x="342" y="1878"/>
                  </a:lnTo>
                  <a:lnTo>
                    <a:pt x="342" y="1884"/>
                  </a:lnTo>
                  <a:lnTo>
                    <a:pt x="336" y="1896"/>
                  </a:lnTo>
                  <a:lnTo>
                    <a:pt x="330" y="1914"/>
                  </a:lnTo>
                  <a:lnTo>
                    <a:pt x="324" y="1920"/>
                  </a:lnTo>
                  <a:lnTo>
                    <a:pt x="324" y="1926"/>
                  </a:lnTo>
                  <a:lnTo>
                    <a:pt x="318" y="1944"/>
                  </a:lnTo>
                  <a:lnTo>
                    <a:pt x="318" y="1950"/>
                  </a:lnTo>
                  <a:lnTo>
                    <a:pt x="312" y="1956"/>
                  </a:lnTo>
                  <a:lnTo>
                    <a:pt x="312" y="1950"/>
                  </a:lnTo>
                  <a:lnTo>
                    <a:pt x="306" y="1950"/>
                  </a:lnTo>
                  <a:lnTo>
                    <a:pt x="306" y="1956"/>
                  </a:lnTo>
                  <a:lnTo>
                    <a:pt x="300" y="1950"/>
                  </a:lnTo>
                  <a:lnTo>
                    <a:pt x="294" y="1956"/>
                  </a:lnTo>
                  <a:lnTo>
                    <a:pt x="288" y="1950"/>
                  </a:lnTo>
                  <a:lnTo>
                    <a:pt x="288" y="1944"/>
                  </a:lnTo>
                  <a:lnTo>
                    <a:pt x="282" y="1938"/>
                  </a:lnTo>
                  <a:lnTo>
                    <a:pt x="282" y="1932"/>
                  </a:lnTo>
                  <a:lnTo>
                    <a:pt x="282" y="1890"/>
                  </a:lnTo>
                  <a:lnTo>
                    <a:pt x="288" y="1860"/>
                  </a:lnTo>
                  <a:lnTo>
                    <a:pt x="294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300" y="1818"/>
                  </a:lnTo>
                  <a:lnTo>
                    <a:pt x="306" y="1794"/>
                  </a:lnTo>
                  <a:lnTo>
                    <a:pt x="306" y="1788"/>
                  </a:lnTo>
                  <a:lnTo>
                    <a:pt x="306" y="1782"/>
                  </a:lnTo>
                  <a:lnTo>
                    <a:pt x="312" y="1776"/>
                  </a:lnTo>
                  <a:lnTo>
                    <a:pt x="306" y="1776"/>
                  </a:lnTo>
                  <a:lnTo>
                    <a:pt x="312" y="1770"/>
                  </a:lnTo>
                  <a:lnTo>
                    <a:pt x="312" y="1740"/>
                  </a:lnTo>
                  <a:lnTo>
                    <a:pt x="318" y="1722"/>
                  </a:lnTo>
                  <a:lnTo>
                    <a:pt x="312" y="1722"/>
                  </a:lnTo>
                  <a:lnTo>
                    <a:pt x="300" y="1716"/>
                  </a:lnTo>
                  <a:lnTo>
                    <a:pt x="306" y="1716"/>
                  </a:lnTo>
                  <a:lnTo>
                    <a:pt x="312" y="1710"/>
                  </a:lnTo>
                  <a:lnTo>
                    <a:pt x="324" y="1674"/>
                  </a:lnTo>
                  <a:lnTo>
                    <a:pt x="366" y="1590"/>
                  </a:lnTo>
                  <a:lnTo>
                    <a:pt x="408" y="1548"/>
                  </a:lnTo>
                  <a:lnTo>
                    <a:pt x="426" y="1530"/>
                  </a:lnTo>
                  <a:lnTo>
                    <a:pt x="432" y="1500"/>
                  </a:lnTo>
                  <a:lnTo>
                    <a:pt x="426" y="1494"/>
                  </a:lnTo>
                  <a:lnTo>
                    <a:pt x="426" y="1482"/>
                  </a:lnTo>
                  <a:lnTo>
                    <a:pt x="432" y="1464"/>
                  </a:lnTo>
                  <a:lnTo>
                    <a:pt x="438" y="1428"/>
                  </a:lnTo>
                  <a:lnTo>
                    <a:pt x="462" y="1398"/>
                  </a:lnTo>
                  <a:lnTo>
                    <a:pt x="468" y="1362"/>
                  </a:lnTo>
                  <a:lnTo>
                    <a:pt x="462" y="1314"/>
                  </a:lnTo>
                  <a:lnTo>
                    <a:pt x="444" y="1284"/>
                  </a:lnTo>
                  <a:lnTo>
                    <a:pt x="432" y="1260"/>
                  </a:lnTo>
                  <a:lnTo>
                    <a:pt x="426" y="1260"/>
                  </a:lnTo>
                  <a:lnTo>
                    <a:pt x="420" y="1254"/>
                  </a:lnTo>
                  <a:lnTo>
                    <a:pt x="408" y="1260"/>
                  </a:lnTo>
                  <a:lnTo>
                    <a:pt x="402" y="1260"/>
                  </a:lnTo>
                  <a:lnTo>
                    <a:pt x="402" y="1254"/>
                  </a:lnTo>
                  <a:lnTo>
                    <a:pt x="396" y="1254"/>
                  </a:lnTo>
                  <a:lnTo>
                    <a:pt x="396" y="1248"/>
                  </a:lnTo>
                  <a:lnTo>
                    <a:pt x="384" y="1248"/>
                  </a:lnTo>
                  <a:lnTo>
                    <a:pt x="372" y="1230"/>
                  </a:lnTo>
                  <a:lnTo>
                    <a:pt x="360" y="1212"/>
                  </a:lnTo>
                  <a:lnTo>
                    <a:pt x="348" y="1188"/>
                  </a:lnTo>
                  <a:lnTo>
                    <a:pt x="324" y="1170"/>
                  </a:lnTo>
                  <a:lnTo>
                    <a:pt x="318" y="1170"/>
                  </a:lnTo>
                  <a:lnTo>
                    <a:pt x="312" y="1158"/>
                  </a:lnTo>
                  <a:lnTo>
                    <a:pt x="312" y="1152"/>
                  </a:lnTo>
                  <a:lnTo>
                    <a:pt x="306" y="1146"/>
                  </a:lnTo>
                  <a:lnTo>
                    <a:pt x="270" y="1122"/>
                  </a:lnTo>
                  <a:lnTo>
                    <a:pt x="240" y="1122"/>
                  </a:lnTo>
                  <a:lnTo>
                    <a:pt x="180" y="1116"/>
                  </a:lnTo>
                  <a:lnTo>
                    <a:pt x="174" y="1122"/>
                  </a:lnTo>
                  <a:lnTo>
                    <a:pt x="174" y="1128"/>
                  </a:lnTo>
                  <a:lnTo>
                    <a:pt x="168" y="1122"/>
                  </a:lnTo>
                  <a:lnTo>
                    <a:pt x="162" y="1116"/>
                  </a:lnTo>
                  <a:lnTo>
                    <a:pt x="144" y="1122"/>
                  </a:lnTo>
                  <a:lnTo>
                    <a:pt x="120" y="1122"/>
                  </a:lnTo>
                  <a:lnTo>
                    <a:pt x="54" y="1134"/>
                  </a:lnTo>
                  <a:lnTo>
                    <a:pt x="24" y="1152"/>
                  </a:lnTo>
                  <a:lnTo>
                    <a:pt x="6" y="1146"/>
                  </a:lnTo>
                  <a:lnTo>
                    <a:pt x="0" y="1134"/>
                  </a:lnTo>
                  <a:lnTo>
                    <a:pt x="0" y="1128"/>
                  </a:lnTo>
                  <a:lnTo>
                    <a:pt x="18" y="1110"/>
                  </a:lnTo>
                  <a:lnTo>
                    <a:pt x="24" y="1104"/>
                  </a:lnTo>
                  <a:lnTo>
                    <a:pt x="24" y="1098"/>
                  </a:lnTo>
                  <a:lnTo>
                    <a:pt x="30" y="1086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24" y="1074"/>
                  </a:lnTo>
                  <a:lnTo>
                    <a:pt x="18" y="1068"/>
                  </a:lnTo>
                  <a:lnTo>
                    <a:pt x="24" y="1062"/>
                  </a:lnTo>
                  <a:lnTo>
                    <a:pt x="42" y="1056"/>
                  </a:lnTo>
                  <a:lnTo>
                    <a:pt x="54" y="1050"/>
                  </a:lnTo>
                  <a:lnTo>
                    <a:pt x="72" y="1044"/>
                  </a:lnTo>
                  <a:lnTo>
                    <a:pt x="96" y="1032"/>
                  </a:lnTo>
                  <a:lnTo>
                    <a:pt x="102" y="1032"/>
                  </a:lnTo>
                  <a:lnTo>
                    <a:pt x="126" y="1008"/>
                  </a:lnTo>
                  <a:lnTo>
                    <a:pt x="144" y="990"/>
                  </a:lnTo>
                  <a:lnTo>
                    <a:pt x="156" y="978"/>
                  </a:lnTo>
                  <a:lnTo>
                    <a:pt x="156" y="966"/>
                  </a:lnTo>
                  <a:lnTo>
                    <a:pt x="150" y="960"/>
                  </a:lnTo>
                  <a:lnTo>
                    <a:pt x="144" y="948"/>
                  </a:lnTo>
                  <a:lnTo>
                    <a:pt x="144" y="936"/>
                  </a:lnTo>
                  <a:lnTo>
                    <a:pt x="138" y="918"/>
                  </a:lnTo>
                  <a:lnTo>
                    <a:pt x="150" y="912"/>
                  </a:lnTo>
                  <a:lnTo>
                    <a:pt x="150" y="894"/>
                  </a:lnTo>
                  <a:lnTo>
                    <a:pt x="132" y="876"/>
                  </a:lnTo>
                  <a:lnTo>
                    <a:pt x="126" y="876"/>
                  </a:lnTo>
                  <a:lnTo>
                    <a:pt x="120" y="870"/>
                  </a:lnTo>
                  <a:lnTo>
                    <a:pt x="120" y="864"/>
                  </a:lnTo>
                  <a:lnTo>
                    <a:pt x="114" y="864"/>
                  </a:lnTo>
                  <a:lnTo>
                    <a:pt x="108" y="864"/>
                  </a:lnTo>
                  <a:lnTo>
                    <a:pt x="108" y="858"/>
                  </a:lnTo>
                  <a:lnTo>
                    <a:pt x="102" y="852"/>
                  </a:lnTo>
                  <a:lnTo>
                    <a:pt x="96" y="852"/>
                  </a:lnTo>
                  <a:lnTo>
                    <a:pt x="102" y="834"/>
                  </a:lnTo>
                  <a:lnTo>
                    <a:pt x="108" y="816"/>
                  </a:lnTo>
                  <a:lnTo>
                    <a:pt x="114" y="804"/>
                  </a:lnTo>
                  <a:lnTo>
                    <a:pt x="132" y="798"/>
                  </a:lnTo>
                  <a:lnTo>
                    <a:pt x="144" y="798"/>
                  </a:lnTo>
                  <a:lnTo>
                    <a:pt x="180" y="810"/>
                  </a:lnTo>
                  <a:lnTo>
                    <a:pt x="192" y="816"/>
                  </a:lnTo>
                  <a:lnTo>
                    <a:pt x="234" y="822"/>
                  </a:lnTo>
                  <a:lnTo>
                    <a:pt x="264" y="828"/>
                  </a:lnTo>
                  <a:lnTo>
                    <a:pt x="270" y="840"/>
                  </a:lnTo>
                  <a:lnTo>
                    <a:pt x="270" y="834"/>
                  </a:lnTo>
                  <a:lnTo>
                    <a:pt x="270" y="828"/>
                  </a:lnTo>
                  <a:lnTo>
                    <a:pt x="270" y="822"/>
                  </a:lnTo>
                  <a:lnTo>
                    <a:pt x="270" y="816"/>
                  </a:lnTo>
                  <a:lnTo>
                    <a:pt x="264" y="810"/>
                  </a:lnTo>
                  <a:lnTo>
                    <a:pt x="264" y="804"/>
                  </a:lnTo>
                  <a:lnTo>
                    <a:pt x="264" y="798"/>
                  </a:lnTo>
                  <a:lnTo>
                    <a:pt x="258" y="792"/>
                  </a:lnTo>
                  <a:lnTo>
                    <a:pt x="258" y="786"/>
                  </a:lnTo>
                  <a:lnTo>
                    <a:pt x="264" y="786"/>
                  </a:lnTo>
                  <a:lnTo>
                    <a:pt x="264" y="780"/>
                  </a:lnTo>
                  <a:lnTo>
                    <a:pt x="258" y="774"/>
                  </a:lnTo>
                  <a:lnTo>
                    <a:pt x="258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82" y="762"/>
                  </a:lnTo>
                  <a:lnTo>
                    <a:pt x="312" y="780"/>
                  </a:lnTo>
                  <a:lnTo>
                    <a:pt x="354" y="786"/>
                  </a:lnTo>
                  <a:lnTo>
                    <a:pt x="408" y="774"/>
                  </a:lnTo>
                  <a:lnTo>
                    <a:pt x="444" y="756"/>
                  </a:lnTo>
                  <a:lnTo>
                    <a:pt x="468" y="732"/>
                  </a:lnTo>
                  <a:lnTo>
                    <a:pt x="492" y="720"/>
                  </a:lnTo>
                  <a:lnTo>
                    <a:pt x="522" y="690"/>
                  </a:lnTo>
                  <a:lnTo>
                    <a:pt x="540" y="672"/>
                  </a:lnTo>
                  <a:lnTo>
                    <a:pt x="558" y="660"/>
                  </a:lnTo>
                  <a:lnTo>
                    <a:pt x="570" y="636"/>
                  </a:lnTo>
                  <a:lnTo>
                    <a:pt x="588" y="612"/>
                  </a:lnTo>
                  <a:lnTo>
                    <a:pt x="654" y="552"/>
                  </a:lnTo>
                  <a:lnTo>
                    <a:pt x="678" y="528"/>
                  </a:lnTo>
                  <a:lnTo>
                    <a:pt x="696" y="510"/>
                  </a:lnTo>
                  <a:lnTo>
                    <a:pt x="714" y="498"/>
                  </a:lnTo>
                  <a:lnTo>
                    <a:pt x="750" y="480"/>
                  </a:lnTo>
                  <a:lnTo>
                    <a:pt x="774" y="444"/>
                  </a:lnTo>
                  <a:lnTo>
                    <a:pt x="816" y="426"/>
                  </a:lnTo>
                  <a:lnTo>
                    <a:pt x="864" y="420"/>
                  </a:lnTo>
                  <a:lnTo>
                    <a:pt x="912" y="402"/>
                  </a:lnTo>
                  <a:lnTo>
                    <a:pt x="906" y="396"/>
                  </a:lnTo>
                  <a:lnTo>
                    <a:pt x="912" y="396"/>
                  </a:lnTo>
                  <a:lnTo>
                    <a:pt x="912" y="390"/>
                  </a:lnTo>
                  <a:lnTo>
                    <a:pt x="918" y="384"/>
                  </a:lnTo>
                  <a:lnTo>
                    <a:pt x="924" y="384"/>
                  </a:lnTo>
                  <a:lnTo>
                    <a:pt x="924" y="378"/>
                  </a:lnTo>
                  <a:lnTo>
                    <a:pt x="918" y="372"/>
                  </a:lnTo>
                  <a:lnTo>
                    <a:pt x="918" y="366"/>
                  </a:lnTo>
                  <a:lnTo>
                    <a:pt x="918" y="360"/>
                  </a:lnTo>
                  <a:lnTo>
                    <a:pt x="924" y="360"/>
                  </a:lnTo>
                  <a:lnTo>
                    <a:pt x="924" y="354"/>
                  </a:lnTo>
                  <a:lnTo>
                    <a:pt x="930" y="354"/>
                  </a:lnTo>
                  <a:lnTo>
                    <a:pt x="936" y="354"/>
                  </a:lnTo>
                  <a:lnTo>
                    <a:pt x="936" y="348"/>
                  </a:lnTo>
                  <a:lnTo>
                    <a:pt x="942" y="348"/>
                  </a:lnTo>
                  <a:lnTo>
                    <a:pt x="942" y="336"/>
                  </a:lnTo>
                  <a:lnTo>
                    <a:pt x="936" y="336"/>
                  </a:lnTo>
                  <a:lnTo>
                    <a:pt x="930" y="330"/>
                  </a:lnTo>
                  <a:lnTo>
                    <a:pt x="924" y="330"/>
                  </a:lnTo>
                  <a:lnTo>
                    <a:pt x="924" y="324"/>
                  </a:lnTo>
                  <a:lnTo>
                    <a:pt x="918" y="318"/>
                  </a:lnTo>
                  <a:lnTo>
                    <a:pt x="912" y="306"/>
                  </a:lnTo>
                  <a:lnTo>
                    <a:pt x="918" y="306"/>
                  </a:lnTo>
                  <a:lnTo>
                    <a:pt x="924" y="300"/>
                  </a:lnTo>
                  <a:lnTo>
                    <a:pt x="924" y="294"/>
                  </a:lnTo>
                  <a:lnTo>
                    <a:pt x="924" y="288"/>
                  </a:lnTo>
                  <a:lnTo>
                    <a:pt x="924" y="282"/>
                  </a:lnTo>
                  <a:lnTo>
                    <a:pt x="924" y="276"/>
                  </a:lnTo>
                  <a:lnTo>
                    <a:pt x="918" y="270"/>
                  </a:lnTo>
                  <a:lnTo>
                    <a:pt x="918" y="264"/>
                  </a:lnTo>
                  <a:lnTo>
                    <a:pt x="912" y="270"/>
                  </a:lnTo>
                  <a:lnTo>
                    <a:pt x="912" y="264"/>
                  </a:lnTo>
                  <a:lnTo>
                    <a:pt x="912" y="258"/>
                  </a:lnTo>
                  <a:lnTo>
                    <a:pt x="912" y="252"/>
                  </a:lnTo>
                  <a:lnTo>
                    <a:pt x="906" y="252"/>
                  </a:lnTo>
                  <a:lnTo>
                    <a:pt x="900" y="246"/>
                  </a:lnTo>
                  <a:lnTo>
                    <a:pt x="900" y="240"/>
                  </a:lnTo>
                  <a:lnTo>
                    <a:pt x="900" y="246"/>
                  </a:lnTo>
                  <a:lnTo>
                    <a:pt x="894" y="246"/>
                  </a:lnTo>
                  <a:lnTo>
                    <a:pt x="894" y="240"/>
                  </a:lnTo>
                  <a:lnTo>
                    <a:pt x="894" y="234"/>
                  </a:lnTo>
                  <a:lnTo>
                    <a:pt x="900" y="234"/>
                  </a:lnTo>
                  <a:lnTo>
                    <a:pt x="900" y="228"/>
                  </a:lnTo>
                  <a:lnTo>
                    <a:pt x="906" y="228"/>
                  </a:lnTo>
                  <a:lnTo>
                    <a:pt x="900" y="222"/>
                  </a:lnTo>
                  <a:lnTo>
                    <a:pt x="894" y="216"/>
                  </a:lnTo>
                  <a:lnTo>
                    <a:pt x="894" y="210"/>
                  </a:lnTo>
                  <a:lnTo>
                    <a:pt x="888" y="210"/>
                  </a:lnTo>
                  <a:lnTo>
                    <a:pt x="888" y="204"/>
                  </a:lnTo>
                  <a:lnTo>
                    <a:pt x="888" y="198"/>
                  </a:lnTo>
                  <a:lnTo>
                    <a:pt x="888" y="192"/>
                  </a:lnTo>
                  <a:lnTo>
                    <a:pt x="882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82" y="174"/>
                  </a:lnTo>
                  <a:lnTo>
                    <a:pt x="888" y="168"/>
                  </a:lnTo>
                  <a:lnTo>
                    <a:pt x="888" y="162"/>
                  </a:lnTo>
                  <a:lnTo>
                    <a:pt x="888" y="156"/>
                  </a:lnTo>
                  <a:lnTo>
                    <a:pt x="888" y="150"/>
                  </a:lnTo>
                  <a:lnTo>
                    <a:pt x="888" y="144"/>
                  </a:lnTo>
                  <a:lnTo>
                    <a:pt x="882" y="144"/>
                  </a:lnTo>
                  <a:lnTo>
                    <a:pt x="882" y="138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76" y="120"/>
                  </a:lnTo>
                  <a:lnTo>
                    <a:pt x="882" y="114"/>
                  </a:lnTo>
                  <a:lnTo>
                    <a:pt x="882" y="108"/>
                  </a:lnTo>
                  <a:lnTo>
                    <a:pt x="888" y="102"/>
                  </a:lnTo>
                  <a:lnTo>
                    <a:pt x="894" y="102"/>
                  </a:lnTo>
                  <a:lnTo>
                    <a:pt x="894" y="96"/>
                  </a:lnTo>
                  <a:lnTo>
                    <a:pt x="888" y="96"/>
                  </a:lnTo>
                  <a:lnTo>
                    <a:pt x="894" y="90"/>
                  </a:lnTo>
                  <a:lnTo>
                    <a:pt x="888" y="84"/>
                  </a:lnTo>
                  <a:lnTo>
                    <a:pt x="888" y="78"/>
                  </a:lnTo>
                  <a:lnTo>
                    <a:pt x="924" y="66"/>
                  </a:lnTo>
                  <a:lnTo>
                    <a:pt x="966" y="66"/>
                  </a:lnTo>
                  <a:lnTo>
                    <a:pt x="996" y="48"/>
                  </a:lnTo>
                  <a:lnTo>
                    <a:pt x="1056" y="12"/>
                  </a:lnTo>
                  <a:lnTo>
                    <a:pt x="1128" y="0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0" y="18"/>
                  </a:lnTo>
                  <a:lnTo>
                    <a:pt x="1176" y="24"/>
                  </a:lnTo>
                  <a:lnTo>
                    <a:pt x="1182" y="24"/>
                  </a:lnTo>
                  <a:lnTo>
                    <a:pt x="1188" y="30"/>
                  </a:lnTo>
                  <a:lnTo>
                    <a:pt x="1194" y="30"/>
                  </a:lnTo>
                  <a:lnTo>
                    <a:pt x="1194" y="36"/>
                  </a:lnTo>
                  <a:lnTo>
                    <a:pt x="1260" y="30"/>
                  </a:lnTo>
                  <a:lnTo>
                    <a:pt x="1272" y="30"/>
                  </a:lnTo>
                  <a:lnTo>
                    <a:pt x="1296" y="24"/>
                  </a:lnTo>
                  <a:lnTo>
                    <a:pt x="1302" y="30"/>
                  </a:lnTo>
                  <a:lnTo>
                    <a:pt x="1302" y="36"/>
                  </a:lnTo>
                  <a:lnTo>
                    <a:pt x="1308" y="36"/>
                  </a:lnTo>
                  <a:lnTo>
                    <a:pt x="1314" y="36"/>
                  </a:lnTo>
                  <a:lnTo>
                    <a:pt x="1320" y="36"/>
                  </a:lnTo>
                  <a:lnTo>
                    <a:pt x="1326" y="30"/>
                  </a:lnTo>
                  <a:lnTo>
                    <a:pt x="1332" y="30"/>
                  </a:lnTo>
                  <a:lnTo>
                    <a:pt x="1338" y="30"/>
                  </a:lnTo>
                  <a:lnTo>
                    <a:pt x="1344" y="30"/>
                  </a:lnTo>
                  <a:lnTo>
                    <a:pt x="1374" y="30"/>
                  </a:lnTo>
                  <a:lnTo>
                    <a:pt x="1386" y="30"/>
                  </a:lnTo>
                  <a:lnTo>
                    <a:pt x="1392" y="24"/>
                  </a:lnTo>
                  <a:lnTo>
                    <a:pt x="1398" y="12"/>
                  </a:lnTo>
                  <a:lnTo>
                    <a:pt x="1404" y="6"/>
                  </a:lnTo>
                  <a:lnTo>
                    <a:pt x="1410" y="6"/>
                  </a:lnTo>
                  <a:lnTo>
                    <a:pt x="1410" y="12"/>
                  </a:lnTo>
                  <a:lnTo>
                    <a:pt x="1416" y="18"/>
                  </a:lnTo>
                  <a:lnTo>
                    <a:pt x="1416" y="36"/>
                  </a:lnTo>
                  <a:lnTo>
                    <a:pt x="1434" y="54"/>
                  </a:lnTo>
                  <a:lnTo>
                    <a:pt x="1434" y="60"/>
                  </a:lnTo>
                  <a:lnTo>
                    <a:pt x="1434" y="66"/>
                  </a:lnTo>
                  <a:lnTo>
                    <a:pt x="1434" y="72"/>
                  </a:lnTo>
                  <a:lnTo>
                    <a:pt x="1428" y="72"/>
                  </a:lnTo>
                  <a:lnTo>
                    <a:pt x="1428" y="78"/>
                  </a:lnTo>
                  <a:lnTo>
                    <a:pt x="1434" y="78"/>
                  </a:lnTo>
                  <a:lnTo>
                    <a:pt x="1440" y="84"/>
                  </a:lnTo>
                  <a:lnTo>
                    <a:pt x="1440" y="90"/>
                  </a:lnTo>
                  <a:lnTo>
                    <a:pt x="1440" y="96"/>
                  </a:lnTo>
                  <a:lnTo>
                    <a:pt x="1446" y="96"/>
                  </a:lnTo>
                  <a:lnTo>
                    <a:pt x="1446" y="108"/>
                  </a:lnTo>
                  <a:lnTo>
                    <a:pt x="1452" y="108"/>
                  </a:lnTo>
                  <a:lnTo>
                    <a:pt x="1452" y="114"/>
                  </a:lnTo>
                  <a:lnTo>
                    <a:pt x="1458" y="114"/>
                  </a:lnTo>
                  <a:lnTo>
                    <a:pt x="1470" y="120"/>
                  </a:lnTo>
                  <a:lnTo>
                    <a:pt x="1476" y="120"/>
                  </a:lnTo>
                  <a:lnTo>
                    <a:pt x="1476" y="114"/>
                  </a:lnTo>
                  <a:lnTo>
                    <a:pt x="1488" y="120"/>
                  </a:lnTo>
                  <a:lnTo>
                    <a:pt x="1506" y="120"/>
                  </a:lnTo>
                  <a:lnTo>
                    <a:pt x="1512" y="120"/>
                  </a:lnTo>
                  <a:lnTo>
                    <a:pt x="1518" y="120"/>
                  </a:lnTo>
                  <a:lnTo>
                    <a:pt x="1524" y="126"/>
                  </a:lnTo>
                  <a:lnTo>
                    <a:pt x="1536" y="150"/>
                  </a:lnTo>
                  <a:lnTo>
                    <a:pt x="1548" y="162"/>
                  </a:lnTo>
                  <a:lnTo>
                    <a:pt x="1554" y="168"/>
                  </a:lnTo>
                  <a:lnTo>
                    <a:pt x="1584" y="228"/>
                  </a:lnTo>
                  <a:lnTo>
                    <a:pt x="1584" y="234"/>
                  </a:lnTo>
                  <a:lnTo>
                    <a:pt x="1578" y="312"/>
                  </a:lnTo>
                  <a:lnTo>
                    <a:pt x="1590" y="318"/>
                  </a:lnTo>
                  <a:lnTo>
                    <a:pt x="1608" y="330"/>
                  </a:lnTo>
                  <a:lnTo>
                    <a:pt x="1620" y="342"/>
                  </a:lnTo>
                  <a:lnTo>
                    <a:pt x="1626" y="342"/>
                  </a:lnTo>
                  <a:lnTo>
                    <a:pt x="1692" y="360"/>
                  </a:lnTo>
                  <a:lnTo>
                    <a:pt x="1710" y="408"/>
                  </a:lnTo>
                  <a:lnTo>
                    <a:pt x="1722" y="426"/>
                  </a:lnTo>
                  <a:lnTo>
                    <a:pt x="1716" y="468"/>
                  </a:lnTo>
                  <a:lnTo>
                    <a:pt x="1686" y="486"/>
                  </a:lnTo>
                  <a:lnTo>
                    <a:pt x="1686" y="492"/>
                  </a:lnTo>
                  <a:lnTo>
                    <a:pt x="1680" y="498"/>
                  </a:lnTo>
                  <a:lnTo>
                    <a:pt x="1650" y="558"/>
                  </a:lnTo>
                  <a:lnTo>
                    <a:pt x="1650" y="570"/>
                  </a:lnTo>
                  <a:lnTo>
                    <a:pt x="1644" y="570"/>
                  </a:lnTo>
                  <a:lnTo>
                    <a:pt x="1638" y="582"/>
                  </a:lnTo>
                  <a:lnTo>
                    <a:pt x="1638" y="624"/>
                  </a:lnTo>
                  <a:lnTo>
                    <a:pt x="1638" y="636"/>
                  </a:lnTo>
                  <a:lnTo>
                    <a:pt x="1638" y="642"/>
                  </a:lnTo>
                  <a:lnTo>
                    <a:pt x="1632" y="660"/>
                  </a:lnTo>
                  <a:lnTo>
                    <a:pt x="1608" y="678"/>
                  </a:lnTo>
                  <a:lnTo>
                    <a:pt x="1584" y="690"/>
                  </a:lnTo>
                  <a:lnTo>
                    <a:pt x="1584" y="696"/>
                  </a:lnTo>
                  <a:lnTo>
                    <a:pt x="1578" y="702"/>
                  </a:lnTo>
                  <a:lnTo>
                    <a:pt x="1584" y="702"/>
                  </a:lnTo>
                  <a:lnTo>
                    <a:pt x="1578" y="714"/>
                  </a:lnTo>
                  <a:lnTo>
                    <a:pt x="1572" y="714"/>
                  </a:lnTo>
                  <a:lnTo>
                    <a:pt x="1572" y="720"/>
                  </a:lnTo>
                  <a:lnTo>
                    <a:pt x="1566" y="720"/>
                  </a:lnTo>
                  <a:lnTo>
                    <a:pt x="1560" y="726"/>
                  </a:lnTo>
                  <a:lnTo>
                    <a:pt x="1560" y="732"/>
                  </a:lnTo>
                  <a:lnTo>
                    <a:pt x="1554" y="732"/>
                  </a:lnTo>
                  <a:lnTo>
                    <a:pt x="1554" y="738"/>
                  </a:lnTo>
                  <a:lnTo>
                    <a:pt x="1554" y="744"/>
                  </a:lnTo>
                  <a:lnTo>
                    <a:pt x="1548" y="744"/>
                  </a:lnTo>
                  <a:lnTo>
                    <a:pt x="1548" y="738"/>
                  </a:lnTo>
                  <a:lnTo>
                    <a:pt x="1542" y="738"/>
                  </a:lnTo>
                  <a:lnTo>
                    <a:pt x="1542" y="744"/>
                  </a:lnTo>
                  <a:lnTo>
                    <a:pt x="1542" y="750"/>
                  </a:lnTo>
                  <a:lnTo>
                    <a:pt x="1494" y="804"/>
                  </a:lnTo>
                  <a:lnTo>
                    <a:pt x="1446" y="876"/>
                  </a:lnTo>
                  <a:lnTo>
                    <a:pt x="1440" y="876"/>
                  </a:lnTo>
                  <a:lnTo>
                    <a:pt x="1434" y="876"/>
                  </a:lnTo>
                  <a:lnTo>
                    <a:pt x="1428" y="882"/>
                  </a:lnTo>
                  <a:lnTo>
                    <a:pt x="1422" y="882"/>
                  </a:lnTo>
                  <a:lnTo>
                    <a:pt x="1386" y="924"/>
                  </a:lnTo>
                  <a:lnTo>
                    <a:pt x="1362" y="954"/>
                  </a:lnTo>
                  <a:lnTo>
                    <a:pt x="1356" y="984"/>
                  </a:lnTo>
                  <a:lnTo>
                    <a:pt x="1362" y="1002"/>
                  </a:lnTo>
                  <a:lnTo>
                    <a:pt x="1368" y="1020"/>
                  </a:lnTo>
                  <a:lnTo>
                    <a:pt x="1386" y="1056"/>
                  </a:lnTo>
                  <a:lnTo>
                    <a:pt x="1404" y="1074"/>
                  </a:lnTo>
                  <a:lnTo>
                    <a:pt x="1416" y="1080"/>
                  </a:lnTo>
                  <a:lnTo>
                    <a:pt x="1416" y="1086"/>
                  </a:lnTo>
                  <a:lnTo>
                    <a:pt x="1422" y="1098"/>
                  </a:lnTo>
                  <a:lnTo>
                    <a:pt x="1422" y="1110"/>
                  </a:lnTo>
                  <a:lnTo>
                    <a:pt x="1428" y="1116"/>
                  </a:lnTo>
                  <a:lnTo>
                    <a:pt x="1434" y="1116"/>
                  </a:lnTo>
                  <a:lnTo>
                    <a:pt x="1434" y="1122"/>
                  </a:lnTo>
                  <a:lnTo>
                    <a:pt x="1434" y="1128"/>
                  </a:lnTo>
                  <a:lnTo>
                    <a:pt x="1440" y="1134"/>
                  </a:lnTo>
                  <a:lnTo>
                    <a:pt x="1446" y="1134"/>
                  </a:lnTo>
                  <a:lnTo>
                    <a:pt x="1458" y="1134"/>
                  </a:lnTo>
                  <a:lnTo>
                    <a:pt x="1458" y="1140"/>
                  </a:lnTo>
                  <a:lnTo>
                    <a:pt x="1464" y="1134"/>
                  </a:lnTo>
                  <a:lnTo>
                    <a:pt x="1470" y="1134"/>
                  </a:lnTo>
                  <a:lnTo>
                    <a:pt x="1464" y="1128"/>
                  </a:lnTo>
                  <a:lnTo>
                    <a:pt x="1464" y="1122"/>
                  </a:lnTo>
                  <a:lnTo>
                    <a:pt x="1470" y="1116"/>
                  </a:lnTo>
                  <a:lnTo>
                    <a:pt x="1470" y="1122"/>
                  </a:lnTo>
                  <a:lnTo>
                    <a:pt x="1476" y="1122"/>
                  </a:lnTo>
                  <a:lnTo>
                    <a:pt x="1476" y="1116"/>
                  </a:lnTo>
                  <a:lnTo>
                    <a:pt x="1482" y="1110"/>
                  </a:lnTo>
                  <a:lnTo>
                    <a:pt x="1476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82" y="1086"/>
                  </a:lnTo>
                  <a:lnTo>
                    <a:pt x="1482" y="1074"/>
                  </a:lnTo>
                  <a:lnTo>
                    <a:pt x="1488" y="1068"/>
                  </a:lnTo>
                  <a:lnTo>
                    <a:pt x="1488" y="1062"/>
                  </a:lnTo>
                  <a:lnTo>
                    <a:pt x="1494" y="1062"/>
                  </a:lnTo>
                  <a:lnTo>
                    <a:pt x="1500" y="1062"/>
                  </a:lnTo>
                  <a:lnTo>
                    <a:pt x="1506" y="1062"/>
                  </a:lnTo>
                  <a:lnTo>
                    <a:pt x="1506" y="1056"/>
                  </a:lnTo>
                  <a:lnTo>
                    <a:pt x="1506" y="1062"/>
                  </a:lnTo>
                  <a:lnTo>
                    <a:pt x="1518" y="1062"/>
                  </a:lnTo>
                  <a:lnTo>
                    <a:pt x="1524" y="1062"/>
                  </a:lnTo>
                  <a:lnTo>
                    <a:pt x="1530" y="1062"/>
                  </a:lnTo>
                  <a:lnTo>
                    <a:pt x="1536" y="1068"/>
                  </a:lnTo>
                  <a:lnTo>
                    <a:pt x="1536" y="1074"/>
                  </a:lnTo>
                  <a:lnTo>
                    <a:pt x="1542" y="1086"/>
                  </a:lnTo>
                  <a:lnTo>
                    <a:pt x="1548" y="1086"/>
                  </a:lnTo>
                  <a:lnTo>
                    <a:pt x="1554" y="1086"/>
                  </a:lnTo>
                  <a:lnTo>
                    <a:pt x="1566" y="1098"/>
                  </a:lnTo>
                  <a:lnTo>
                    <a:pt x="1572" y="1104"/>
                  </a:lnTo>
                  <a:lnTo>
                    <a:pt x="1566" y="1110"/>
                  </a:lnTo>
                  <a:lnTo>
                    <a:pt x="1572" y="1116"/>
                  </a:lnTo>
                  <a:lnTo>
                    <a:pt x="1578" y="1116"/>
                  </a:lnTo>
                  <a:lnTo>
                    <a:pt x="1578" y="1122"/>
                  </a:lnTo>
                  <a:lnTo>
                    <a:pt x="1584" y="1122"/>
                  </a:lnTo>
                  <a:lnTo>
                    <a:pt x="1584" y="1128"/>
                  </a:lnTo>
                  <a:lnTo>
                    <a:pt x="1584" y="1134"/>
                  </a:lnTo>
                  <a:lnTo>
                    <a:pt x="1590" y="1134"/>
                  </a:lnTo>
                  <a:lnTo>
                    <a:pt x="1596" y="1140"/>
                  </a:lnTo>
                  <a:lnTo>
                    <a:pt x="1602" y="1146"/>
                  </a:lnTo>
                  <a:lnTo>
                    <a:pt x="1608" y="1146"/>
                  </a:lnTo>
                  <a:lnTo>
                    <a:pt x="1614" y="1146"/>
                  </a:lnTo>
                  <a:lnTo>
                    <a:pt x="1614" y="1152"/>
                  </a:lnTo>
                  <a:lnTo>
                    <a:pt x="1620" y="1152"/>
                  </a:lnTo>
                  <a:lnTo>
                    <a:pt x="1626" y="1164"/>
                  </a:lnTo>
                  <a:lnTo>
                    <a:pt x="1632" y="1170"/>
                  </a:lnTo>
                  <a:lnTo>
                    <a:pt x="1638" y="1176"/>
                  </a:lnTo>
                  <a:lnTo>
                    <a:pt x="1638" y="1182"/>
                  </a:lnTo>
                  <a:lnTo>
                    <a:pt x="1644" y="1194"/>
                  </a:lnTo>
                  <a:lnTo>
                    <a:pt x="1644" y="1200"/>
                  </a:lnTo>
                  <a:lnTo>
                    <a:pt x="1638" y="1200"/>
                  </a:lnTo>
                  <a:lnTo>
                    <a:pt x="1638" y="1206"/>
                  </a:lnTo>
                  <a:lnTo>
                    <a:pt x="1638" y="1212"/>
                  </a:lnTo>
                  <a:lnTo>
                    <a:pt x="1638" y="1218"/>
                  </a:lnTo>
                  <a:lnTo>
                    <a:pt x="1632" y="1242"/>
                  </a:lnTo>
                  <a:lnTo>
                    <a:pt x="1632" y="1266"/>
                  </a:lnTo>
                  <a:lnTo>
                    <a:pt x="1638" y="1284"/>
                  </a:lnTo>
                  <a:lnTo>
                    <a:pt x="1638" y="1296"/>
                  </a:lnTo>
                  <a:lnTo>
                    <a:pt x="1632" y="1296"/>
                  </a:lnTo>
                  <a:lnTo>
                    <a:pt x="1632" y="1302"/>
                  </a:lnTo>
                  <a:lnTo>
                    <a:pt x="1638" y="1314"/>
                  </a:lnTo>
                  <a:lnTo>
                    <a:pt x="1638" y="1320"/>
                  </a:lnTo>
                  <a:lnTo>
                    <a:pt x="1632" y="1320"/>
                  </a:lnTo>
                  <a:lnTo>
                    <a:pt x="1632" y="1326"/>
                  </a:lnTo>
                  <a:lnTo>
                    <a:pt x="1644" y="1332"/>
                  </a:lnTo>
                  <a:lnTo>
                    <a:pt x="1644" y="1338"/>
                  </a:lnTo>
                  <a:lnTo>
                    <a:pt x="1650" y="1344"/>
                  </a:lnTo>
                  <a:lnTo>
                    <a:pt x="1668" y="1362"/>
                  </a:lnTo>
                  <a:lnTo>
                    <a:pt x="1668" y="1368"/>
                  </a:lnTo>
                  <a:lnTo>
                    <a:pt x="1674" y="1392"/>
                  </a:lnTo>
                  <a:lnTo>
                    <a:pt x="1686" y="140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2" name="Freeform 17">
              <a:extLst>
                <a:ext uri="{FF2B5EF4-FFF2-40B4-BE49-F238E27FC236}">
                  <a16:creationId xmlns:a16="http://schemas.microsoft.com/office/drawing/2014/main" id="{9F9DF7AF-2203-4CCB-AF1B-32CDAF87CC5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416927"/>
              <a:ext cx="816209" cy="574781"/>
            </a:xfrm>
            <a:custGeom>
              <a:avLst/>
              <a:gdLst>
                <a:gd name="T0" fmla="*/ 115 w 1536"/>
                <a:gd name="T1" fmla="*/ 89 h 1080"/>
                <a:gd name="T2" fmla="*/ 113 w 1536"/>
                <a:gd name="T3" fmla="*/ 92 h 1080"/>
                <a:gd name="T4" fmla="*/ 107 w 1536"/>
                <a:gd name="T5" fmla="*/ 93 h 1080"/>
                <a:gd name="T6" fmla="*/ 108 w 1536"/>
                <a:gd name="T7" fmla="*/ 90 h 1080"/>
                <a:gd name="T8" fmla="*/ 105 w 1536"/>
                <a:gd name="T9" fmla="*/ 87 h 1080"/>
                <a:gd name="T10" fmla="*/ 102 w 1536"/>
                <a:gd name="T11" fmla="*/ 85 h 1080"/>
                <a:gd name="T12" fmla="*/ 89 w 1536"/>
                <a:gd name="T13" fmla="*/ 80 h 1080"/>
                <a:gd name="T14" fmla="*/ 85 w 1536"/>
                <a:gd name="T15" fmla="*/ 82 h 1080"/>
                <a:gd name="T16" fmla="*/ 82 w 1536"/>
                <a:gd name="T17" fmla="*/ 80 h 1080"/>
                <a:gd name="T18" fmla="*/ 80 w 1536"/>
                <a:gd name="T19" fmla="*/ 75 h 1080"/>
                <a:gd name="T20" fmla="*/ 75 w 1536"/>
                <a:gd name="T21" fmla="*/ 72 h 1080"/>
                <a:gd name="T22" fmla="*/ 61 w 1536"/>
                <a:gd name="T23" fmla="*/ 70 h 1080"/>
                <a:gd name="T24" fmla="*/ 62 w 1536"/>
                <a:gd name="T25" fmla="*/ 72 h 1080"/>
                <a:gd name="T26" fmla="*/ 58 w 1536"/>
                <a:gd name="T27" fmla="*/ 75 h 1080"/>
                <a:gd name="T28" fmla="*/ 49 w 1536"/>
                <a:gd name="T29" fmla="*/ 76 h 1080"/>
                <a:gd name="T30" fmla="*/ 41 w 1536"/>
                <a:gd name="T31" fmla="*/ 79 h 1080"/>
                <a:gd name="T32" fmla="*/ 41 w 1536"/>
                <a:gd name="T33" fmla="*/ 77 h 1080"/>
                <a:gd name="T34" fmla="*/ 39 w 1536"/>
                <a:gd name="T35" fmla="*/ 74 h 1080"/>
                <a:gd name="T36" fmla="*/ 28 w 1536"/>
                <a:gd name="T37" fmla="*/ 78 h 1080"/>
                <a:gd name="T38" fmla="*/ 18 w 1536"/>
                <a:gd name="T39" fmla="*/ 85 h 1080"/>
                <a:gd name="T40" fmla="*/ 18 w 1536"/>
                <a:gd name="T41" fmla="*/ 77 h 1080"/>
                <a:gd name="T42" fmla="*/ 19 w 1536"/>
                <a:gd name="T43" fmla="*/ 69 h 1080"/>
                <a:gd name="T44" fmla="*/ 16 w 1536"/>
                <a:gd name="T45" fmla="*/ 69 h 1080"/>
                <a:gd name="T46" fmla="*/ 11 w 1536"/>
                <a:gd name="T47" fmla="*/ 69 h 1080"/>
                <a:gd name="T48" fmla="*/ 5 w 1536"/>
                <a:gd name="T49" fmla="*/ 68 h 1080"/>
                <a:gd name="T50" fmla="*/ 1 w 1536"/>
                <a:gd name="T51" fmla="*/ 63 h 1080"/>
                <a:gd name="T52" fmla="*/ 3 w 1536"/>
                <a:gd name="T53" fmla="*/ 59 h 1080"/>
                <a:gd name="T54" fmla="*/ 9 w 1536"/>
                <a:gd name="T55" fmla="*/ 54 h 1080"/>
                <a:gd name="T56" fmla="*/ 15 w 1536"/>
                <a:gd name="T57" fmla="*/ 47 h 1080"/>
                <a:gd name="T58" fmla="*/ 17 w 1536"/>
                <a:gd name="T59" fmla="*/ 40 h 1080"/>
                <a:gd name="T60" fmla="*/ 12 w 1536"/>
                <a:gd name="T61" fmla="*/ 33 h 1080"/>
                <a:gd name="T62" fmla="*/ 10 w 1536"/>
                <a:gd name="T63" fmla="*/ 21 h 1080"/>
                <a:gd name="T64" fmla="*/ 6 w 1536"/>
                <a:gd name="T65" fmla="*/ 14 h 1080"/>
                <a:gd name="T66" fmla="*/ 7 w 1536"/>
                <a:gd name="T67" fmla="*/ 9 h 1080"/>
                <a:gd name="T68" fmla="*/ 12 w 1536"/>
                <a:gd name="T69" fmla="*/ 7 h 1080"/>
                <a:gd name="T70" fmla="*/ 16 w 1536"/>
                <a:gd name="T71" fmla="*/ 8 h 1080"/>
                <a:gd name="T72" fmla="*/ 19 w 1536"/>
                <a:gd name="T73" fmla="*/ 8 h 1080"/>
                <a:gd name="T74" fmla="*/ 22 w 1536"/>
                <a:gd name="T75" fmla="*/ 9 h 1080"/>
                <a:gd name="T76" fmla="*/ 29 w 1536"/>
                <a:gd name="T77" fmla="*/ 12 h 1080"/>
                <a:gd name="T78" fmla="*/ 33 w 1536"/>
                <a:gd name="T79" fmla="*/ 13 h 1080"/>
                <a:gd name="T80" fmla="*/ 38 w 1536"/>
                <a:gd name="T81" fmla="*/ 15 h 1080"/>
                <a:gd name="T82" fmla="*/ 42 w 1536"/>
                <a:gd name="T83" fmla="*/ 17 h 1080"/>
                <a:gd name="T84" fmla="*/ 47 w 1536"/>
                <a:gd name="T85" fmla="*/ 19 h 1080"/>
                <a:gd name="T86" fmla="*/ 51 w 1536"/>
                <a:gd name="T87" fmla="*/ 21 h 1080"/>
                <a:gd name="T88" fmla="*/ 50 w 1536"/>
                <a:gd name="T89" fmla="*/ 15 h 1080"/>
                <a:gd name="T90" fmla="*/ 56 w 1536"/>
                <a:gd name="T91" fmla="*/ 0 h 1080"/>
                <a:gd name="T92" fmla="*/ 74 w 1536"/>
                <a:gd name="T93" fmla="*/ 5 h 1080"/>
                <a:gd name="T94" fmla="*/ 87 w 1536"/>
                <a:gd name="T95" fmla="*/ 6 h 1080"/>
                <a:gd name="T96" fmla="*/ 92 w 1536"/>
                <a:gd name="T97" fmla="*/ 11 h 1080"/>
                <a:gd name="T98" fmla="*/ 95 w 1536"/>
                <a:gd name="T99" fmla="*/ 15 h 1080"/>
                <a:gd name="T100" fmla="*/ 93 w 1536"/>
                <a:gd name="T101" fmla="*/ 20 h 1080"/>
                <a:gd name="T102" fmla="*/ 108 w 1536"/>
                <a:gd name="T103" fmla="*/ 18 h 1080"/>
                <a:gd name="T104" fmla="*/ 120 w 1536"/>
                <a:gd name="T105" fmla="*/ 21 h 1080"/>
                <a:gd name="T106" fmla="*/ 127 w 1536"/>
                <a:gd name="T107" fmla="*/ 29 h 1080"/>
                <a:gd name="T108" fmla="*/ 130 w 1536"/>
                <a:gd name="T109" fmla="*/ 30 h 1080"/>
                <a:gd name="T110" fmla="*/ 130 w 1536"/>
                <a:gd name="T111" fmla="*/ 49 h 1080"/>
                <a:gd name="T112" fmla="*/ 120 w 1536"/>
                <a:gd name="T113" fmla="*/ 69 h 1080"/>
                <a:gd name="T114" fmla="*/ 119 w 1536"/>
                <a:gd name="T115" fmla="*/ 74 h 1080"/>
                <a:gd name="T116" fmla="*/ 118 w 1536"/>
                <a:gd name="T117" fmla="*/ 80 h 108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536"/>
                <a:gd name="T178" fmla="*/ 0 h 1080"/>
                <a:gd name="T179" fmla="*/ 1536 w 1536"/>
                <a:gd name="T180" fmla="*/ 1080 h 108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536" h="1080">
                  <a:moveTo>
                    <a:pt x="1350" y="1020"/>
                  </a:moveTo>
                  <a:lnTo>
                    <a:pt x="1350" y="1026"/>
                  </a:lnTo>
                  <a:lnTo>
                    <a:pt x="1344" y="1026"/>
                  </a:lnTo>
                  <a:lnTo>
                    <a:pt x="1338" y="1032"/>
                  </a:lnTo>
                  <a:lnTo>
                    <a:pt x="1332" y="1026"/>
                  </a:lnTo>
                  <a:lnTo>
                    <a:pt x="1326" y="1026"/>
                  </a:lnTo>
                  <a:lnTo>
                    <a:pt x="1320" y="1020"/>
                  </a:lnTo>
                  <a:lnTo>
                    <a:pt x="1314" y="1026"/>
                  </a:lnTo>
                  <a:lnTo>
                    <a:pt x="1314" y="1032"/>
                  </a:lnTo>
                  <a:lnTo>
                    <a:pt x="1308" y="1038"/>
                  </a:lnTo>
                  <a:lnTo>
                    <a:pt x="1308" y="1044"/>
                  </a:lnTo>
                  <a:lnTo>
                    <a:pt x="1308" y="1050"/>
                  </a:lnTo>
                  <a:lnTo>
                    <a:pt x="1308" y="1056"/>
                  </a:lnTo>
                  <a:lnTo>
                    <a:pt x="1308" y="1062"/>
                  </a:lnTo>
                  <a:lnTo>
                    <a:pt x="1296" y="1068"/>
                  </a:lnTo>
                  <a:lnTo>
                    <a:pt x="1284" y="1074"/>
                  </a:lnTo>
                  <a:lnTo>
                    <a:pt x="1272" y="1080"/>
                  </a:lnTo>
                  <a:lnTo>
                    <a:pt x="1260" y="1080"/>
                  </a:lnTo>
                  <a:lnTo>
                    <a:pt x="1254" y="1074"/>
                  </a:lnTo>
                  <a:lnTo>
                    <a:pt x="1236" y="1074"/>
                  </a:lnTo>
                  <a:lnTo>
                    <a:pt x="1230" y="1074"/>
                  </a:lnTo>
                  <a:lnTo>
                    <a:pt x="1236" y="1074"/>
                  </a:lnTo>
                  <a:lnTo>
                    <a:pt x="1236" y="1068"/>
                  </a:lnTo>
                  <a:lnTo>
                    <a:pt x="1236" y="1062"/>
                  </a:lnTo>
                  <a:lnTo>
                    <a:pt x="1236" y="1056"/>
                  </a:lnTo>
                  <a:lnTo>
                    <a:pt x="1242" y="1050"/>
                  </a:lnTo>
                  <a:lnTo>
                    <a:pt x="1242" y="1044"/>
                  </a:lnTo>
                  <a:lnTo>
                    <a:pt x="1242" y="1038"/>
                  </a:lnTo>
                  <a:lnTo>
                    <a:pt x="1248" y="1032"/>
                  </a:lnTo>
                  <a:lnTo>
                    <a:pt x="1236" y="1026"/>
                  </a:lnTo>
                  <a:lnTo>
                    <a:pt x="1218" y="1020"/>
                  </a:lnTo>
                  <a:lnTo>
                    <a:pt x="1224" y="1014"/>
                  </a:lnTo>
                  <a:lnTo>
                    <a:pt x="1218" y="1008"/>
                  </a:lnTo>
                  <a:lnTo>
                    <a:pt x="1218" y="1002"/>
                  </a:lnTo>
                  <a:lnTo>
                    <a:pt x="1212" y="1008"/>
                  </a:lnTo>
                  <a:lnTo>
                    <a:pt x="1206" y="1002"/>
                  </a:lnTo>
                  <a:lnTo>
                    <a:pt x="1212" y="1002"/>
                  </a:lnTo>
                  <a:lnTo>
                    <a:pt x="1212" y="996"/>
                  </a:lnTo>
                  <a:lnTo>
                    <a:pt x="1200" y="990"/>
                  </a:lnTo>
                  <a:lnTo>
                    <a:pt x="1200" y="984"/>
                  </a:lnTo>
                  <a:lnTo>
                    <a:pt x="1188" y="984"/>
                  </a:lnTo>
                  <a:lnTo>
                    <a:pt x="1176" y="978"/>
                  </a:lnTo>
                  <a:lnTo>
                    <a:pt x="1164" y="960"/>
                  </a:lnTo>
                  <a:lnTo>
                    <a:pt x="1152" y="936"/>
                  </a:lnTo>
                  <a:lnTo>
                    <a:pt x="1146" y="936"/>
                  </a:lnTo>
                  <a:lnTo>
                    <a:pt x="1128" y="900"/>
                  </a:lnTo>
                  <a:lnTo>
                    <a:pt x="1038" y="912"/>
                  </a:lnTo>
                  <a:lnTo>
                    <a:pt x="1038" y="918"/>
                  </a:lnTo>
                  <a:lnTo>
                    <a:pt x="1032" y="924"/>
                  </a:lnTo>
                  <a:lnTo>
                    <a:pt x="1026" y="918"/>
                  </a:lnTo>
                  <a:lnTo>
                    <a:pt x="1020" y="924"/>
                  </a:lnTo>
                  <a:lnTo>
                    <a:pt x="1008" y="936"/>
                  </a:lnTo>
                  <a:lnTo>
                    <a:pt x="990" y="936"/>
                  </a:lnTo>
                  <a:lnTo>
                    <a:pt x="990" y="942"/>
                  </a:lnTo>
                  <a:lnTo>
                    <a:pt x="996" y="942"/>
                  </a:lnTo>
                  <a:lnTo>
                    <a:pt x="984" y="948"/>
                  </a:lnTo>
                  <a:lnTo>
                    <a:pt x="972" y="948"/>
                  </a:lnTo>
                  <a:lnTo>
                    <a:pt x="960" y="948"/>
                  </a:lnTo>
                  <a:lnTo>
                    <a:pt x="948" y="942"/>
                  </a:lnTo>
                  <a:lnTo>
                    <a:pt x="948" y="936"/>
                  </a:lnTo>
                  <a:lnTo>
                    <a:pt x="942" y="936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30" y="924"/>
                  </a:lnTo>
                  <a:lnTo>
                    <a:pt x="936" y="918"/>
                  </a:lnTo>
                  <a:lnTo>
                    <a:pt x="918" y="918"/>
                  </a:lnTo>
                  <a:lnTo>
                    <a:pt x="918" y="900"/>
                  </a:lnTo>
                  <a:lnTo>
                    <a:pt x="924" y="900"/>
                  </a:lnTo>
                  <a:lnTo>
                    <a:pt x="924" y="894"/>
                  </a:lnTo>
                  <a:lnTo>
                    <a:pt x="924" y="870"/>
                  </a:lnTo>
                  <a:lnTo>
                    <a:pt x="924" y="864"/>
                  </a:lnTo>
                  <a:lnTo>
                    <a:pt x="918" y="858"/>
                  </a:lnTo>
                  <a:lnTo>
                    <a:pt x="918" y="852"/>
                  </a:lnTo>
                  <a:lnTo>
                    <a:pt x="906" y="840"/>
                  </a:lnTo>
                  <a:lnTo>
                    <a:pt x="894" y="834"/>
                  </a:lnTo>
                  <a:lnTo>
                    <a:pt x="876" y="822"/>
                  </a:lnTo>
                  <a:lnTo>
                    <a:pt x="870" y="828"/>
                  </a:lnTo>
                  <a:lnTo>
                    <a:pt x="858" y="816"/>
                  </a:lnTo>
                  <a:lnTo>
                    <a:pt x="810" y="798"/>
                  </a:lnTo>
                  <a:lnTo>
                    <a:pt x="774" y="792"/>
                  </a:lnTo>
                  <a:lnTo>
                    <a:pt x="732" y="798"/>
                  </a:lnTo>
                  <a:lnTo>
                    <a:pt x="726" y="804"/>
                  </a:lnTo>
                  <a:lnTo>
                    <a:pt x="714" y="810"/>
                  </a:lnTo>
                  <a:lnTo>
                    <a:pt x="702" y="810"/>
                  </a:lnTo>
                  <a:lnTo>
                    <a:pt x="690" y="810"/>
                  </a:lnTo>
                  <a:lnTo>
                    <a:pt x="696" y="816"/>
                  </a:lnTo>
                  <a:lnTo>
                    <a:pt x="696" y="822"/>
                  </a:lnTo>
                  <a:lnTo>
                    <a:pt x="702" y="822"/>
                  </a:lnTo>
                  <a:lnTo>
                    <a:pt x="708" y="822"/>
                  </a:lnTo>
                  <a:lnTo>
                    <a:pt x="708" y="828"/>
                  </a:lnTo>
                  <a:lnTo>
                    <a:pt x="708" y="834"/>
                  </a:lnTo>
                  <a:lnTo>
                    <a:pt x="714" y="834"/>
                  </a:lnTo>
                  <a:lnTo>
                    <a:pt x="708" y="846"/>
                  </a:lnTo>
                  <a:lnTo>
                    <a:pt x="708" y="852"/>
                  </a:lnTo>
                  <a:lnTo>
                    <a:pt x="702" y="852"/>
                  </a:lnTo>
                  <a:lnTo>
                    <a:pt x="696" y="858"/>
                  </a:lnTo>
                  <a:lnTo>
                    <a:pt x="690" y="864"/>
                  </a:lnTo>
                  <a:lnTo>
                    <a:pt x="666" y="870"/>
                  </a:lnTo>
                  <a:lnTo>
                    <a:pt x="660" y="876"/>
                  </a:lnTo>
                  <a:lnTo>
                    <a:pt x="642" y="876"/>
                  </a:lnTo>
                  <a:lnTo>
                    <a:pt x="606" y="882"/>
                  </a:lnTo>
                  <a:lnTo>
                    <a:pt x="588" y="882"/>
                  </a:lnTo>
                  <a:lnTo>
                    <a:pt x="582" y="876"/>
                  </a:lnTo>
                  <a:lnTo>
                    <a:pt x="576" y="876"/>
                  </a:lnTo>
                  <a:lnTo>
                    <a:pt x="564" y="876"/>
                  </a:lnTo>
                  <a:lnTo>
                    <a:pt x="552" y="882"/>
                  </a:lnTo>
                  <a:lnTo>
                    <a:pt x="540" y="894"/>
                  </a:lnTo>
                  <a:lnTo>
                    <a:pt x="534" y="906"/>
                  </a:lnTo>
                  <a:lnTo>
                    <a:pt x="528" y="912"/>
                  </a:lnTo>
                  <a:lnTo>
                    <a:pt x="516" y="924"/>
                  </a:lnTo>
                  <a:lnTo>
                    <a:pt x="486" y="930"/>
                  </a:lnTo>
                  <a:lnTo>
                    <a:pt x="474" y="912"/>
                  </a:lnTo>
                  <a:lnTo>
                    <a:pt x="474" y="906"/>
                  </a:lnTo>
                  <a:lnTo>
                    <a:pt x="468" y="906"/>
                  </a:lnTo>
                  <a:lnTo>
                    <a:pt x="468" y="900"/>
                  </a:lnTo>
                  <a:lnTo>
                    <a:pt x="462" y="894"/>
                  </a:lnTo>
                  <a:lnTo>
                    <a:pt x="456" y="894"/>
                  </a:lnTo>
                  <a:lnTo>
                    <a:pt x="462" y="888"/>
                  </a:lnTo>
                  <a:lnTo>
                    <a:pt x="468" y="888"/>
                  </a:lnTo>
                  <a:lnTo>
                    <a:pt x="462" y="882"/>
                  </a:lnTo>
                  <a:lnTo>
                    <a:pt x="462" y="876"/>
                  </a:lnTo>
                  <a:lnTo>
                    <a:pt x="456" y="870"/>
                  </a:lnTo>
                  <a:lnTo>
                    <a:pt x="456" y="864"/>
                  </a:lnTo>
                  <a:lnTo>
                    <a:pt x="450" y="858"/>
                  </a:lnTo>
                  <a:lnTo>
                    <a:pt x="444" y="858"/>
                  </a:lnTo>
                  <a:lnTo>
                    <a:pt x="444" y="852"/>
                  </a:lnTo>
                  <a:lnTo>
                    <a:pt x="438" y="852"/>
                  </a:lnTo>
                  <a:lnTo>
                    <a:pt x="438" y="858"/>
                  </a:lnTo>
                  <a:lnTo>
                    <a:pt x="402" y="870"/>
                  </a:lnTo>
                  <a:lnTo>
                    <a:pt x="390" y="882"/>
                  </a:lnTo>
                  <a:lnTo>
                    <a:pt x="384" y="900"/>
                  </a:lnTo>
                  <a:lnTo>
                    <a:pt x="342" y="900"/>
                  </a:lnTo>
                  <a:lnTo>
                    <a:pt x="324" y="900"/>
                  </a:lnTo>
                  <a:lnTo>
                    <a:pt x="294" y="906"/>
                  </a:lnTo>
                  <a:lnTo>
                    <a:pt x="282" y="948"/>
                  </a:lnTo>
                  <a:lnTo>
                    <a:pt x="282" y="978"/>
                  </a:lnTo>
                  <a:lnTo>
                    <a:pt x="270" y="1008"/>
                  </a:lnTo>
                  <a:lnTo>
                    <a:pt x="240" y="1014"/>
                  </a:lnTo>
                  <a:lnTo>
                    <a:pt x="216" y="996"/>
                  </a:lnTo>
                  <a:lnTo>
                    <a:pt x="204" y="984"/>
                  </a:lnTo>
                  <a:lnTo>
                    <a:pt x="192" y="966"/>
                  </a:lnTo>
                  <a:lnTo>
                    <a:pt x="186" y="948"/>
                  </a:lnTo>
                  <a:lnTo>
                    <a:pt x="174" y="948"/>
                  </a:lnTo>
                  <a:lnTo>
                    <a:pt x="174" y="936"/>
                  </a:lnTo>
                  <a:lnTo>
                    <a:pt x="186" y="924"/>
                  </a:lnTo>
                  <a:lnTo>
                    <a:pt x="198" y="906"/>
                  </a:lnTo>
                  <a:lnTo>
                    <a:pt x="204" y="888"/>
                  </a:lnTo>
                  <a:lnTo>
                    <a:pt x="222" y="870"/>
                  </a:lnTo>
                  <a:lnTo>
                    <a:pt x="234" y="858"/>
                  </a:lnTo>
                  <a:lnTo>
                    <a:pt x="234" y="852"/>
                  </a:lnTo>
                  <a:lnTo>
                    <a:pt x="222" y="852"/>
                  </a:lnTo>
                  <a:lnTo>
                    <a:pt x="228" y="810"/>
                  </a:lnTo>
                  <a:lnTo>
                    <a:pt x="222" y="798"/>
                  </a:lnTo>
                  <a:lnTo>
                    <a:pt x="216" y="798"/>
                  </a:lnTo>
                  <a:lnTo>
                    <a:pt x="216" y="792"/>
                  </a:lnTo>
                  <a:lnTo>
                    <a:pt x="210" y="792"/>
                  </a:lnTo>
                  <a:lnTo>
                    <a:pt x="204" y="798"/>
                  </a:lnTo>
                  <a:lnTo>
                    <a:pt x="204" y="792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0" y="786"/>
                  </a:lnTo>
                  <a:lnTo>
                    <a:pt x="174" y="792"/>
                  </a:lnTo>
                  <a:lnTo>
                    <a:pt x="162" y="792"/>
                  </a:lnTo>
                  <a:lnTo>
                    <a:pt x="156" y="792"/>
                  </a:lnTo>
                  <a:lnTo>
                    <a:pt x="156" y="798"/>
                  </a:lnTo>
                  <a:lnTo>
                    <a:pt x="138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6" y="804"/>
                  </a:lnTo>
                  <a:lnTo>
                    <a:pt x="102" y="810"/>
                  </a:lnTo>
                  <a:lnTo>
                    <a:pt x="90" y="810"/>
                  </a:lnTo>
                  <a:lnTo>
                    <a:pt x="72" y="798"/>
                  </a:lnTo>
                  <a:lnTo>
                    <a:pt x="66" y="780"/>
                  </a:lnTo>
                  <a:lnTo>
                    <a:pt x="60" y="780"/>
                  </a:lnTo>
                  <a:lnTo>
                    <a:pt x="60" y="768"/>
                  </a:lnTo>
                  <a:lnTo>
                    <a:pt x="54" y="768"/>
                  </a:lnTo>
                  <a:lnTo>
                    <a:pt x="24" y="756"/>
                  </a:lnTo>
                  <a:lnTo>
                    <a:pt x="18" y="744"/>
                  </a:lnTo>
                  <a:lnTo>
                    <a:pt x="12" y="738"/>
                  </a:lnTo>
                  <a:lnTo>
                    <a:pt x="18" y="732"/>
                  </a:lnTo>
                  <a:lnTo>
                    <a:pt x="12" y="726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8" y="696"/>
                  </a:lnTo>
                  <a:lnTo>
                    <a:pt x="24" y="708"/>
                  </a:lnTo>
                  <a:lnTo>
                    <a:pt x="36" y="702"/>
                  </a:lnTo>
                  <a:lnTo>
                    <a:pt x="36" y="678"/>
                  </a:lnTo>
                  <a:lnTo>
                    <a:pt x="36" y="660"/>
                  </a:lnTo>
                  <a:lnTo>
                    <a:pt x="42" y="654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72" y="624"/>
                  </a:lnTo>
                  <a:lnTo>
                    <a:pt x="90" y="618"/>
                  </a:lnTo>
                  <a:lnTo>
                    <a:pt x="102" y="618"/>
                  </a:lnTo>
                  <a:lnTo>
                    <a:pt x="114" y="612"/>
                  </a:lnTo>
                  <a:lnTo>
                    <a:pt x="138" y="606"/>
                  </a:lnTo>
                  <a:lnTo>
                    <a:pt x="144" y="606"/>
                  </a:lnTo>
                  <a:lnTo>
                    <a:pt x="150" y="594"/>
                  </a:lnTo>
                  <a:lnTo>
                    <a:pt x="156" y="576"/>
                  </a:lnTo>
                  <a:lnTo>
                    <a:pt x="168" y="552"/>
                  </a:lnTo>
                  <a:lnTo>
                    <a:pt x="168" y="540"/>
                  </a:lnTo>
                  <a:lnTo>
                    <a:pt x="180" y="522"/>
                  </a:lnTo>
                  <a:lnTo>
                    <a:pt x="186" y="498"/>
                  </a:lnTo>
                  <a:lnTo>
                    <a:pt x="198" y="480"/>
                  </a:lnTo>
                  <a:lnTo>
                    <a:pt x="204" y="486"/>
                  </a:lnTo>
                  <a:lnTo>
                    <a:pt x="210" y="480"/>
                  </a:lnTo>
                  <a:lnTo>
                    <a:pt x="204" y="474"/>
                  </a:lnTo>
                  <a:lnTo>
                    <a:pt x="198" y="462"/>
                  </a:lnTo>
                  <a:lnTo>
                    <a:pt x="192" y="456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50"/>
                  </a:lnTo>
                  <a:lnTo>
                    <a:pt x="132" y="426"/>
                  </a:lnTo>
                  <a:lnTo>
                    <a:pt x="132" y="396"/>
                  </a:lnTo>
                  <a:lnTo>
                    <a:pt x="132" y="378"/>
                  </a:lnTo>
                  <a:lnTo>
                    <a:pt x="126" y="348"/>
                  </a:lnTo>
                  <a:lnTo>
                    <a:pt x="132" y="312"/>
                  </a:lnTo>
                  <a:lnTo>
                    <a:pt x="126" y="288"/>
                  </a:lnTo>
                  <a:lnTo>
                    <a:pt x="138" y="282"/>
                  </a:lnTo>
                  <a:lnTo>
                    <a:pt x="126" y="264"/>
                  </a:lnTo>
                  <a:lnTo>
                    <a:pt x="126" y="258"/>
                  </a:lnTo>
                  <a:lnTo>
                    <a:pt x="120" y="246"/>
                  </a:lnTo>
                  <a:lnTo>
                    <a:pt x="126" y="234"/>
                  </a:lnTo>
                  <a:lnTo>
                    <a:pt x="114" y="228"/>
                  </a:lnTo>
                  <a:lnTo>
                    <a:pt x="114" y="222"/>
                  </a:lnTo>
                  <a:lnTo>
                    <a:pt x="96" y="204"/>
                  </a:lnTo>
                  <a:lnTo>
                    <a:pt x="84" y="180"/>
                  </a:lnTo>
                  <a:lnTo>
                    <a:pt x="78" y="168"/>
                  </a:lnTo>
                  <a:lnTo>
                    <a:pt x="72" y="162"/>
                  </a:lnTo>
                  <a:lnTo>
                    <a:pt x="66" y="144"/>
                  </a:lnTo>
                  <a:lnTo>
                    <a:pt x="60" y="138"/>
                  </a:lnTo>
                  <a:lnTo>
                    <a:pt x="66" y="126"/>
                  </a:lnTo>
                  <a:lnTo>
                    <a:pt x="66" y="114"/>
                  </a:lnTo>
                  <a:lnTo>
                    <a:pt x="72" y="114"/>
                  </a:lnTo>
                  <a:lnTo>
                    <a:pt x="72" y="108"/>
                  </a:lnTo>
                  <a:lnTo>
                    <a:pt x="78" y="102"/>
                  </a:lnTo>
                  <a:lnTo>
                    <a:pt x="78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120" y="78"/>
                  </a:lnTo>
                  <a:lnTo>
                    <a:pt x="144" y="84"/>
                  </a:lnTo>
                  <a:lnTo>
                    <a:pt x="150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74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92" y="102"/>
                  </a:lnTo>
                  <a:lnTo>
                    <a:pt x="198" y="96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16" y="96"/>
                  </a:lnTo>
                  <a:lnTo>
                    <a:pt x="222" y="96"/>
                  </a:lnTo>
                  <a:lnTo>
                    <a:pt x="228" y="96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94" y="114"/>
                  </a:lnTo>
                  <a:lnTo>
                    <a:pt x="312" y="120"/>
                  </a:lnTo>
                  <a:lnTo>
                    <a:pt x="318" y="126"/>
                  </a:lnTo>
                  <a:lnTo>
                    <a:pt x="330" y="132"/>
                  </a:lnTo>
                  <a:lnTo>
                    <a:pt x="342" y="132"/>
                  </a:lnTo>
                  <a:lnTo>
                    <a:pt x="348" y="132"/>
                  </a:lnTo>
                  <a:lnTo>
                    <a:pt x="354" y="138"/>
                  </a:lnTo>
                  <a:lnTo>
                    <a:pt x="366" y="138"/>
                  </a:lnTo>
                  <a:lnTo>
                    <a:pt x="372" y="144"/>
                  </a:lnTo>
                  <a:lnTo>
                    <a:pt x="378" y="150"/>
                  </a:lnTo>
                  <a:lnTo>
                    <a:pt x="384" y="150"/>
                  </a:lnTo>
                  <a:lnTo>
                    <a:pt x="390" y="150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14" y="156"/>
                  </a:lnTo>
                  <a:lnTo>
                    <a:pt x="420" y="156"/>
                  </a:lnTo>
                  <a:lnTo>
                    <a:pt x="426" y="162"/>
                  </a:lnTo>
                  <a:lnTo>
                    <a:pt x="438" y="168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62" y="174"/>
                  </a:lnTo>
                  <a:lnTo>
                    <a:pt x="468" y="174"/>
                  </a:lnTo>
                  <a:lnTo>
                    <a:pt x="474" y="174"/>
                  </a:lnTo>
                  <a:lnTo>
                    <a:pt x="474" y="180"/>
                  </a:lnTo>
                  <a:lnTo>
                    <a:pt x="480" y="192"/>
                  </a:lnTo>
                  <a:lnTo>
                    <a:pt x="498" y="198"/>
                  </a:lnTo>
                  <a:lnTo>
                    <a:pt x="510" y="210"/>
                  </a:lnTo>
                  <a:lnTo>
                    <a:pt x="516" y="210"/>
                  </a:lnTo>
                  <a:lnTo>
                    <a:pt x="522" y="210"/>
                  </a:lnTo>
                  <a:lnTo>
                    <a:pt x="534" y="216"/>
                  </a:lnTo>
                  <a:lnTo>
                    <a:pt x="540" y="216"/>
                  </a:lnTo>
                  <a:lnTo>
                    <a:pt x="546" y="222"/>
                  </a:lnTo>
                  <a:lnTo>
                    <a:pt x="552" y="222"/>
                  </a:lnTo>
                  <a:lnTo>
                    <a:pt x="558" y="228"/>
                  </a:lnTo>
                  <a:lnTo>
                    <a:pt x="564" y="228"/>
                  </a:lnTo>
                  <a:lnTo>
                    <a:pt x="570" y="234"/>
                  </a:lnTo>
                  <a:lnTo>
                    <a:pt x="576" y="240"/>
                  </a:lnTo>
                  <a:lnTo>
                    <a:pt x="582" y="240"/>
                  </a:lnTo>
                  <a:lnTo>
                    <a:pt x="588" y="240"/>
                  </a:lnTo>
                  <a:lnTo>
                    <a:pt x="594" y="240"/>
                  </a:lnTo>
                  <a:lnTo>
                    <a:pt x="600" y="228"/>
                  </a:lnTo>
                  <a:lnTo>
                    <a:pt x="588" y="216"/>
                  </a:lnTo>
                  <a:lnTo>
                    <a:pt x="588" y="198"/>
                  </a:lnTo>
                  <a:lnTo>
                    <a:pt x="582" y="198"/>
                  </a:lnTo>
                  <a:lnTo>
                    <a:pt x="588" y="192"/>
                  </a:lnTo>
                  <a:lnTo>
                    <a:pt x="582" y="168"/>
                  </a:lnTo>
                  <a:lnTo>
                    <a:pt x="558" y="114"/>
                  </a:lnTo>
                  <a:lnTo>
                    <a:pt x="552" y="90"/>
                  </a:lnTo>
                  <a:lnTo>
                    <a:pt x="558" y="60"/>
                  </a:lnTo>
                  <a:lnTo>
                    <a:pt x="564" y="48"/>
                  </a:lnTo>
                  <a:lnTo>
                    <a:pt x="582" y="42"/>
                  </a:lnTo>
                  <a:lnTo>
                    <a:pt x="624" y="6"/>
                  </a:lnTo>
                  <a:lnTo>
                    <a:pt x="648" y="0"/>
                  </a:lnTo>
                  <a:lnTo>
                    <a:pt x="678" y="0"/>
                  </a:lnTo>
                  <a:lnTo>
                    <a:pt x="720" y="12"/>
                  </a:lnTo>
                  <a:lnTo>
                    <a:pt x="744" y="24"/>
                  </a:lnTo>
                  <a:lnTo>
                    <a:pt x="768" y="42"/>
                  </a:lnTo>
                  <a:lnTo>
                    <a:pt x="816" y="48"/>
                  </a:lnTo>
                  <a:lnTo>
                    <a:pt x="834" y="48"/>
                  </a:lnTo>
                  <a:lnTo>
                    <a:pt x="852" y="54"/>
                  </a:lnTo>
                  <a:lnTo>
                    <a:pt x="906" y="60"/>
                  </a:lnTo>
                  <a:lnTo>
                    <a:pt x="948" y="54"/>
                  </a:lnTo>
                  <a:lnTo>
                    <a:pt x="978" y="42"/>
                  </a:lnTo>
                  <a:lnTo>
                    <a:pt x="984" y="48"/>
                  </a:lnTo>
                  <a:lnTo>
                    <a:pt x="990" y="60"/>
                  </a:lnTo>
                  <a:lnTo>
                    <a:pt x="996" y="66"/>
                  </a:lnTo>
                  <a:lnTo>
                    <a:pt x="1002" y="72"/>
                  </a:lnTo>
                  <a:lnTo>
                    <a:pt x="1014" y="78"/>
                  </a:lnTo>
                  <a:lnTo>
                    <a:pt x="1014" y="84"/>
                  </a:lnTo>
                  <a:lnTo>
                    <a:pt x="1032" y="84"/>
                  </a:lnTo>
                  <a:lnTo>
                    <a:pt x="1032" y="90"/>
                  </a:lnTo>
                  <a:lnTo>
                    <a:pt x="1032" y="96"/>
                  </a:lnTo>
                  <a:lnTo>
                    <a:pt x="1032" y="108"/>
                  </a:lnTo>
                  <a:lnTo>
                    <a:pt x="1056" y="126"/>
                  </a:lnTo>
                  <a:lnTo>
                    <a:pt x="1068" y="138"/>
                  </a:lnTo>
                  <a:lnTo>
                    <a:pt x="1068" y="156"/>
                  </a:lnTo>
                  <a:lnTo>
                    <a:pt x="1080" y="150"/>
                  </a:lnTo>
                  <a:lnTo>
                    <a:pt x="1086" y="150"/>
                  </a:lnTo>
                  <a:lnTo>
                    <a:pt x="1092" y="156"/>
                  </a:lnTo>
                  <a:lnTo>
                    <a:pt x="1092" y="162"/>
                  </a:lnTo>
                  <a:lnTo>
                    <a:pt x="1092" y="168"/>
                  </a:lnTo>
                  <a:lnTo>
                    <a:pt x="1098" y="168"/>
                  </a:lnTo>
                  <a:lnTo>
                    <a:pt x="1092" y="180"/>
                  </a:lnTo>
                  <a:lnTo>
                    <a:pt x="1092" y="186"/>
                  </a:lnTo>
                  <a:lnTo>
                    <a:pt x="1086" y="192"/>
                  </a:lnTo>
                  <a:lnTo>
                    <a:pt x="1068" y="210"/>
                  </a:lnTo>
                  <a:lnTo>
                    <a:pt x="1068" y="216"/>
                  </a:lnTo>
                  <a:lnTo>
                    <a:pt x="1074" y="228"/>
                  </a:lnTo>
                  <a:lnTo>
                    <a:pt x="1092" y="234"/>
                  </a:lnTo>
                  <a:lnTo>
                    <a:pt x="1122" y="216"/>
                  </a:lnTo>
                  <a:lnTo>
                    <a:pt x="1188" y="204"/>
                  </a:lnTo>
                  <a:lnTo>
                    <a:pt x="1212" y="204"/>
                  </a:lnTo>
                  <a:lnTo>
                    <a:pt x="1230" y="198"/>
                  </a:lnTo>
                  <a:lnTo>
                    <a:pt x="1236" y="204"/>
                  </a:lnTo>
                  <a:lnTo>
                    <a:pt x="1242" y="210"/>
                  </a:lnTo>
                  <a:lnTo>
                    <a:pt x="1242" y="204"/>
                  </a:lnTo>
                  <a:lnTo>
                    <a:pt x="1248" y="198"/>
                  </a:lnTo>
                  <a:lnTo>
                    <a:pt x="1308" y="204"/>
                  </a:lnTo>
                  <a:lnTo>
                    <a:pt x="1338" y="204"/>
                  </a:lnTo>
                  <a:lnTo>
                    <a:pt x="1374" y="228"/>
                  </a:lnTo>
                  <a:lnTo>
                    <a:pt x="1380" y="234"/>
                  </a:lnTo>
                  <a:lnTo>
                    <a:pt x="1380" y="240"/>
                  </a:lnTo>
                  <a:lnTo>
                    <a:pt x="1386" y="252"/>
                  </a:lnTo>
                  <a:lnTo>
                    <a:pt x="1392" y="252"/>
                  </a:lnTo>
                  <a:lnTo>
                    <a:pt x="1416" y="270"/>
                  </a:lnTo>
                  <a:lnTo>
                    <a:pt x="1428" y="294"/>
                  </a:lnTo>
                  <a:lnTo>
                    <a:pt x="1440" y="312"/>
                  </a:lnTo>
                  <a:lnTo>
                    <a:pt x="1452" y="330"/>
                  </a:lnTo>
                  <a:lnTo>
                    <a:pt x="1464" y="330"/>
                  </a:lnTo>
                  <a:lnTo>
                    <a:pt x="1464" y="336"/>
                  </a:lnTo>
                  <a:lnTo>
                    <a:pt x="1470" y="336"/>
                  </a:lnTo>
                  <a:lnTo>
                    <a:pt x="1470" y="342"/>
                  </a:lnTo>
                  <a:lnTo>
                    <a:pt x="1476" y="342"/>
                  </a:lnTo>
                  <a:lnTo>
                    <a:pt x="1488" y="336"/>
                  </a:lnTo>
                  <a:lnTo>
                    <a:pt x="1494" y="342"/>
                  </a:lnTo>
                  <a:lnTo>
                    <a:pt x="1500" y="342"/>
                  </a:lnTo>
                  <a:lnTo>
                    <a:pt x="1512" y="366"/>
                  </a:lnTo>
                  <a:lnTo>
                    <a:pt x="1530" y="396"/>
                  </a:lnTo>
                  <a:lnTo>
                    <a:pt x="1536" y="444"/>
                  </a:lnTo>
                  <a:lnTo>
                    <a:pt x="1530" y="480"/>
                  </a:lnTo>
                  <a:lnTo>
                    <a:pt x="1506" y="510"/>
                  </a:lnTo>
                  <a:lnTo>
                    <a:pt x="1500" y="546"/>
                  </a:lnTo>
                  <a:lnTo>
                    <a:pt x="1494" y="564"/>
                  </a:lnTo>
                  <a:lnTo>
                    <a:pt x="1494" y="576"/>
                  </a:lnTo>
                  <a:lnTo>
                    <a:pt x="1500" y="582"/>
                  </a:lnTo>
                  <a:lnTo>
                    <a:pt x="1494" y="612"/>
                  </a:lnTo>
                  <a:lnTo>
                    <a:pt x="1476" y="630"/>
                  </a:lnTo>
                  <a:lnTo>
                    <a:pt x="1434" y="672"/>
                  </a:lnTo>
                  <a:lnTo>
                    <a:pt x="1392" y="756"/>
                  </a:lnTo>
                  <a:lnTo>
                    <a:pt x="1380" y="792"/>
                  </a:lnTo>
                  <a:lnTo>
                    <a:pt x="1374" y="798"/>
                  </a:lnTo>
                  <a:lnTo>
                    <a:pt x="1368" y="798"/>
                  </a:lnTo>
                  <a:lnTo>
                    <a:pt x="1380" y="804"/>
                  </a:lnTo>
                  <a:lnTo>
                    <a:pt x="1386" y="804"/>
                  </a:lnTo>
                  <a:lnTo>
                    <a:pt x="1380" y="822"/>
                  </a:lnTo>
                  <a:lnTo>
                    <a:pt x="1380" y="852"/>
                  </a:lnTo>
                  <a:lnTo>
                    <a:pt x="1374" y="858"/>
                  </a:lnTo>
                  <a:lnTo>
                    <a:pt x="1380" y="858"/>
                  </a:lnTo>
                  <a:lnTo>
                    <a:pt x="1374" y="864"/>
                  </a:lnTo>
                  <a:lnTo>
                    <a:pt x="1374" y="870"/>
                  </a:lnTo>
                  <a:lnTo>
                    <a:pt x="1374" y="876"/>
                  </a:lnTo>
                  <a:lnTo>
                    <a:pt x="1368" y="900"/>
                  </a:lnTo>
                  <a:lnTo>
                    <a:pt x="1362" y="906"/>
                  </a:lnTo>
                  <a:lnTo>
                    <a:pt x="1362" y="918"/>
                  </a:lnTo>
                  <a:lnTo>
                    <a:pt x="1362" y="924"/>
                  </a:lnTo>
                  <a:lnTo>
                    <a:pt x="1356" y="942"/>
                  </a:lnTo>
                  <a:lnTo>
                    <a:pt x="1350" y="972"/>
                  </a:lnTo>
                  <a:lnTo>
                    <a:pt x="1350" y="1014"/>
                  </a:lnTo>
                  <a:lnTo>
                    <a:pt x="1350" y="10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3" name="Freeform 18">
              <a:extLst>
                <a:ext uri="{FF2B5EF4-FFF2-40B4-BE49-F238E27FC236}">
                  <a16:creationId xmlns:a16="http://schemas.microsoft.com/office/drawing/2014/main" id="{EC11F2E0-3C06-46E2-8AD2-66EBE00FFE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32346" y="3837389"/>
              <a:ext cx="556811" cy="818559"/>
            </a:xfrm>
            <a:custGeom>
              <a:avLst/>
              <a:gdLst>
                <a:gd name="T0" fmla="*/ 12 w 1044"/>
                <a:gd name="T1" fmla="*/ 95 h 1542"/>
                <a:gd name="T2" fmla="*/ 7 w 1044"/>
                <a:gd name="T3" fmla="*/ 93 h 1542"/>
                <a:gd name="T4" fmla="*/ 0 w 1044"/>
                <a:gd name="T5" fmla="*/ 88 h 1542"/>
                <a:gd name="T6" fmla="*/ 3 w 1044"/>
                <a:gd name="T7" fmla="*/ 74 h 1542"/>
                <a:gd name="T8" fmla="*/ 4 w 1044"/>
                <a:gd name="T9" fmla="*/ 59 h 1542"/>
                <a:gd name="T10" fmla="*/ 7 w 1044"/>
                <a:gd name="T11" fmla="*/ 52 h 1542"/>
                <a:gd name="T12" fmla="*/ 20 w 1044"/>
                <a:gd name="T13" fmla="*/ 50 h 1542"/>
                <a:gd name="T14" fmla="*/ 24 w 1044"/>
                <a:gd name="T15" fmla="*/ 46 h 1542"/>
                <a:gd name="T16" fmla="*/ 29 w 1044"/>
                <a:gd name="T17" fmla="*/ 33 h 1542"/>
                <a:gd name="T18" fmla="*/ 32 w 1044"/>
                <a:gd name="T19" fmla="*/ 26 h 1542"/>
                <a:gd name="T20" fmla="*/ 30 w 1044"/>
                <a:gd name="T21" fmla="*/ 20 h 1542"/>
                <a:gd name="T22" fmla="*/ 26 w 1044"/>
                <a:gd name="T23" fmla="*/ 17 h 1542"/>
                <a:gd name="T24" fmla="*/ 28 w 1044"/>
                <a:gd name="T25" fmla="*/ 12 h 1542"/>
                <a:gd name="T26" fmla="*/ 44 w 1044"/>
                <a:gd name="T27" fmla="*/ 5 h 1542"/>
                <a:gd name="T28" fmla="*/ 57 w 1044"/>
                <a:gd name="T29" fmla="*/ 2 h 1542"/>
                <a:gd name="T30" fmla="*/ 65 w 1044"/>
                <a:gd name="T31" fmla="*/ 12 h 1542"/>
                <a:gd name="T32" fmla="*/ 81 w 1044"/>
                <a:gd name="T33" fmla="*/ 9 h 1542"/>
                <a:gd name="T34" fmla="*/ 91 w 1044"/>
                <a:gd name="T35" fmla="*/ 20 h 1542"/>
                <a:gd name="T36" fmla="*/ 89 w 1044"/>
                <a:gd name="T37" fmla="*/ 28 h 1542"/>
                <a:gd name="T38" fmla="*/ 83 w 1044"/>
                <a:gd name="T39" fmla="*/ 33 h 1542"/>
                <a:gd name="T40" fmla="*/ 74 w 1044"/>
                <a:gd name="T41" fmla="*/ 42 h 1542"/>
                <a:gd name="T42" fmla="*/ 58 w 1044"/>
                <a:gd name="T43" fmla="*/ 57 h 1542"/>
                <a:gd name="T44" fmla="*/ 54 w 1044"/>
                <a:gd name="T45" fmla="*/ 65 h 1542"/>
                <a:gd name="T46" fmla="*/ 59 w 1044"/>
                <a:gd name="T47" fmla="*/ 74 h 1542"/>
                <a:gd name="T48" fmla="*/ 55 w 1044"/>
                <a:gd name="T49" fmla="*/ 84 h 1542"/>
                <a:gd name="T50" fmla="*/ 52 w 1044"/>
                <a:gd name="T51" fmla="*/ 98 h 1542"/>
                <a:gd name="T52" fmla="*/ 47 w 1044"/>
                <a:gd name="T53" fmla="*/ 105 h 1542"/>
                <a:gd name="T54" fmla="*/ 42 w 1044"/>
                <a:gd name="T55" fmla="*/ 111 h 1542"/>
                <a:gd name="T56" fmla="*/ 43 w 1044"/>
                <a:gd name="T57" fmla="*/ 120 h 1542"/>
                <a:gd name="T58" fmla="*/ 45 w 1044"/>
                <a:gd name="T59" fmla="*/ 125 h 1542"/>
                <a:gd name="T60" fmla="*/ 44 w 1044"/>
                <a:gd name="T61" fmla="*/ 130 h 1542"/>
                <a:gd name="T62" fmla="*/ 45 w 1044"/>
                <a:gd name="T63" fmla="*/ 131 h 1542"/>
                <a:gd name="T64" fmla="*/ 48 w 1044"/>
                <a:gd name="T65" fmla="*/ 133 h 1542"/>
                <a:gd name="T66" fmla="*/ 39 w 1044"/>
                <a:gd name="T67" fmla="*/ 133 h 1542"/>
                <a:gd name="T68" fmla="*/ 42 w 1044"/>
                <a:gd name="T69" fmla="*/ 132 h 1542"/>
                <a:gd name="T70" fmla="*/ 38 w 1044"/>
                <a:gd name="T71" fmla="*/ 133 h 1542"/>
                <a:gd name="T72" fmla="*/ 37 w 1044"/>
                <a:gd name="T73" fmla="*/ 129 h 1542"/>
                <a:gd name="T74" fmla="*/ 40 w 1044"/>
                <a:gd name="T75" fmla="*/ 125 h 1542"/>
                <a:gd name="T76" fmla="*/ 40 w 1044"/>
                <a:gd name="T77" fmla="*/ 120 h 1542"/>
                <a:gd name="T78" fmla="*/ 40 w 1044"/>
                <a:gd name="T79" fmla="*/ 117 h 1542"/>
                <a:gd name="T80" fmla="*/ 37 w 1044"/>
                <a:gd name="T81" fmla="*/ 120 h 1542"/>
                <a:gd name="T82" fmla="*/ 34 w 1044"/>
                <a:gd name="T83" fmla="*/ 122 h 1542"/>
                <a:gd name="T84" fmla="*/ 36 w 1044"/>
                <a:gd name="T85" fmla="*/ 120 h 1542"/>
                <a:gd name="T86" fmla="*/ 30 w 1044"/>
                <a:gd name="T87" fmla="*/ 120 h 1542"/>
                <a:gd name="T88" fmla="*/ 31 w 1044"/>
                <a:gd name="T89" fmla="*/ 113 h 1542"/>
                <a:gd name="T90" fmla="*/ 29 w 1044"/>
                <a:gd name="T91" fmla="*/ 112 h 1542"/>
                <a:gd name="T92" fmla="*/ 31 w 1044"/>
                <a:gd name="T93" fmla="*/ 117 h 1542"/>
                <a:gd name="T94" fmla="*/ 27 w 1044"/>
                <a:gd name="T95" fmla="*/ 116 h 1542"/>
                <a:gd name="T96" fmla="*/ 25 w 1044"/>
                <a:gd name="T97" fmla="*/ 112 h 1542"/>
                <a:gd name="T98" fmla="*/ 21 w 1044"/>
                <a:gd name="T99" fmla="*/ 109 h 1542"/>
                <a:gd name="T100" fmla="*/ 21 w 1044"/>
                <a:gd name="T101" fmla="*/ 113 h 1542"/>
                <a:gd name="T102" fmla="*/ 40 w 1044"/>
                <a:gd name="T103" fmla="*/ 120 h 1542"/>
                <a:gd name="T104" fmla="*/ 40 w 1044"/>
                <a:gd name="T105" fmla="*/ 121 h 1542"/>
                <a:gd name="T106" fmla="*/ 40 w 1044"/>
                <a:gd name="T107" fmla="*/ 116 h 1542"/>
                <a:gd name="T108" fmla="*/ 38 w 1044"/>
                <a:gd name="T109" fmla="*/ 120 h 1542"/>
                <a:gd name="T110" fmla="*/ 23 w 1044"/>
                <a:gd name="T111" fmla="*/ 110 h 1542"/>
                <a:gd name="T112" fmla="*/ 37 w 1044"/>
                <a:gd name="T113" fmla="*/ 124 h 1542"/>
                <a:gd name="T114" fmla="*/ 40 w 1044"/>
                <a:gd name="T115" fmla="*/ 125 h 1542"/>
                <a:gd name="T116" fmla="*/ 38 w 1044"/>
                <a:gd name="T117" fmla="*/ 128 h 1542"/>
                <a:gd name="T118" fmla="*/ 25 w 1044"/>
                <a:gd name="T119" fmla="*/ 117 h 1542"/>
                <a:gd name="T120" fmla="*/ 27 w 1044"/>
                <a:gd name="T121" fmla="*/ 127 h 1542"/>
                <a:gd name="T122" fmla="*/ 24 w 1044"/>
                <a:gd name="T123" fmla="*/ 113 h 15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4"/>
                <a:gd name="T187" fmla="*/ 0 h 1542"/>
                <a:gd name="T188" fmla="*/ 1044 w 1044"/>
                <a:gd name="T189" fmla="*/ 1542 h 154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4" h="1542">
                  <a:moveTo>
                    <a:pt x="234" y="1278"/>
                  </a:moveTo>
                  <a:lnTo>
                    <a:pt x="228" y="1272"/>
                  </a:lnTo>
                  <a:lnTo>
                    <a:pt x="222" y="1266"/>
                  </a:lnTo>
                  <a:lnTo>
                    <a:pt x="222" y="1260"/>
                  </a:lnTo>
                  <a:lnTo>
                    <a:pt x="204" y="1248"/>
                  </a:lnTo>
                  <a:lnTo>
                    <a:pt x="192" y="1248"/>
                  </a:lnTo>
                  <a:lnTo>
                    <a:pt x="186" y="1236"/>
                  </a:lnTo>
                  <a:lnTo>
                    <a:pt x="174" y="1218"/>
                  </a:lnTo>
                  <a:lnTo>
                    <a:pt x="162" y="1194"/>
                  </a:lnTo>
                  <a:lnTo>
                    <a:pt x="156" y="1182"/>
                  </a:lnTo>
                  <a:lnTo>
                    <a:pt x="162" y="1146"/>
                  </a:lnTo>
                  <a:lnTo>
                    <a:pt x="156" y="1134"/>
                  </a:lnTo>
                  <a:lnTo>
                    <a:pt x="138" y="1122"/>
                  </a:lnTo>
                  <a:lnTo>
                    <a:pt x="132" y="1116"/>
                  </a:lnTo>
                  <a:lnTo>
                    <a:pt x="138" y="1098"/>
                  </a:lnTo>
                  <a:lnTo>
                    <a:pt x="138" y="1092"/>
                  </a:lnTo>
                  <a:lnTo>
                    <a:pt x="138" y="1086"/>
                  </a:lnTo>
                  <a:lnTo>
                    <a:pt x="132" y="1074"/>
                  </a:lnTo>
                  <a:lnTo>
                    <a:pt x="126" y="1074"/>
                  </a:lnTo>
                  <a:lnTo>
                    <a:pt x="126" y="1068"/>
                  </a:lnTo>
                  <a:lnTo>
                    <a:pt x="120" y="1062"/>
                  </a:lnTo>
                  <a:lnTo>
                    <a:pt x="120" y="1056"/>
                  </a:lnTo>
                  <a:lnTo>
                    <a:pt x="114" y="1050"/>
                  </a:lnTo>
                  <a:lnTo>
                    <a:pt x="108" y="1050"/>
                  </a:lnTo>
                  <a:lnTo>
                    <a:pt x="102" y="1056"/>
                  </a:lnTo>
                  <a:lnTo>
                    <a:pt x="102" y="1062"/>
                  </a:lnTo>
                  <a:lnTo>
                    <a:pt x="96" y="1062"/>
                  </a:lnTo>
                  <a:lnTo>
                    <a:pt x="96" y="1068"/>
                  </a:lnTo>
                  <a:lnTo>
                    <a:pt x="96" y="1074"/>
                  </a:lnTo>
                  <a:lnTo>
                    <a:pt x="90" y="1074"/>
                  </a:lnTo>
                  <a:lnTo>
                    <a:pt x="84" y="1080"/>
                  </a:lnTo>
                  <a:lnTo>
                    <a:pt x="78" y="1074"/>
                  </a:lnTo>
                  <a:lnTo>
                    <a:pt x="72" y="1074"/>
                  </a:lnTo>
                  <a:lnTo>
                    <a:pt x="72" y="1068"/>
                  </a:lnTo>
                  <a:lnTo>
                    <a:pt x="72" y="1062"/>
                  </a:lnTo>
                  <a:lnTo>
                    <a:pt x="60" y="1056"/>
                  </a:lnTo>
                  <a:lnTo>
                    <a:pt x="60" y="1044"/>
                  </a:lnTo>
                  <a:lnTo>
                    <a:pt x="60" y="1032"/>
                  </a:lnTo>
                  <a:lnTo>
                    <a:pt x="60" y="1026"/>
                  </a:lnTo>
                  <a:lnTo>
                    <a:pt x="54" y="1026"/>
                  </a:lnTo>
                  <a:lnTo>
                    <a:pt x="48" y="1014"/>
                  </a:lnTo>
                  <a:lnTo>
                    <a:pt x="42" y="1008"/>
                  </a:lnTo>
                  <a:lnTo>
                    <a:pt x="30" y="1008"/>
                  </a:lnTo>
                  <a:lnTo>
                    <a:pt x="30" y="1002"/>
                  </a:lnTo>
                  <a:lnTo>
                    <a:pt x="24" y="1008"/>
                  </a:lnTo>
                  <a:lnTo>
                    <a:pt x="12" y="1008"/>
                  </a:lnTo>
                  <a:lnTo>
                    <a:pt x="6" y="1008"/>
                  </a:lnTo>
                  <a:lnTo>
                    <a:pt x="0" y="1008"/>
                  </a:lnTo>
                  <a:lnTo>
                    <a:pt x="0" y="1002"/>
                  </a:lnTo>
                  <a:lnTo>
                    <a:pt x="6" y="990"/>
                  </a:lnTo>
                  <a:lnTo>
                    <a:pt x="6" y="984"/>
                  </a:lnTo>
                  <a:lnTo>
                    <a:pt x="0" y="978"/>
                  </a:lnTo>
                  <a:lnTo>
                    <a:pt x="6" y="972"/>
                  </a:lnTo>
                  <a:lnTo>
                    <a:pt x="12" y="972"/>
                  </a:lnTo>
                  <a:lnTo>
                    <a:pt x="72" y="978"/>
                  </a:lnTo>
                  <a:lnTo>
                    <a:pt x="78" y="972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30"/>
                  </a:lnTo>
                  <a:lnTo>
                    <a:pt x="54" y="912"/>
                  </a:lnTo>
                  <a:lnTo>
                    <a:pt x="42" y="906"/>
                  </a:lnTo>
                  <a:lnTo>
                    <a:pt x="36" y="894"/>
                  </a:lnTo>
                  <a:lnTo>
                    <a:pt x="30" y="876"/>
                  </a:lnTo>
                  <a:lnTo>
                    <a:pt x="30" y="858"/>
                  </a:lnTo>
                  <a:lnTo>
                    <a:pt x="30" y="840"/>
                  </a:lnTo>
                  <a:lnTo>
                    <a:pt x="36" y="816"/>
                  </a:lnTo>
                  <a:lnTo>
                    <a:pt x="36" y="792"/>
                  </a:lnTo>
                  <a:lnTo>
                    <a:pt x="36" y="780"/>
                  </a:lnTo>
                  <a:lnTo>
                    <a:pt x="12" y="774"/>
                  </a:lnTo>
                  <a:lnTo>
                    <a:pt x="24" y="756"/>
                  </a:lnTo>
                  <a:lnTo>
                    <a:pt x="24" y="744"/>
                  </a:lnTo>
                  <a:lnTo>
                    <a:pt x="30" y="738"/>
                  </a:lnTo>
                  <a:lnTo>
                    <a:pt x="30" y="732"/>
                  </a:lnTo>
                  <a:lnTo>
                    <a:pt x="36" y="720"/>
                  </a:lnTo>
                  <a:lnTo>
                    <a:pt x="42" y="714"/>
                  </a:lnTo>
                  <a:lnTo>
                    <a:pt x="54" y="708"/>
                  </a:lnTo>
                  <a:lnTo>
                    <a:pt x="60" y="702"/>
                  </a:lnTo>
                  <a:lnTo>
                    <a:pt x="48" y="690"/>
                  </a:lnTo>
                  <a:lnTo>
                    <a:pt x="48" y="684"/>
                  </a:lnTo>
                  <a:lnTo>
                    <a:pt x="48" y="678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66"/>
                  </a:lnTo>
                  <a:lnTo>
                    <a:pt x="72" y="654"/>
                  </a:lnTo>
                  <a:lnTo>
                    <a:pt x="72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84" y="630"/>
                  </a:lnTo>
                  <a:lnTo>
                    <a:pt x="90" y="630"/>
                  </a:lnTo>
                  <a:lnTo>
                    <a:pt x="96" y="630"/>
                  </a:lnTo>
                  <a:lnTo>
                    <a:pt x="96" y="624"/>
                  </a:lnTo>
                  <a:lnTo>
                    <a:pt x="90" y="624"/>
                  </a:lnTo>
                  <a:lnTo>
                    <a:pt x="84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90" y="600"/>
                  </a:lnTo>
                  <a:lnTo>
                    <a:pt x="84" y="600"/>
                  </a:lnTo>
                  <a:lnTo>
                    <a:pt x="78" y="594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126" y="564"/>
                  </a:lnTo>
                  <a:lnTo>
                    <a:pt x="144" y="564"/>
                  </a:lnTo>
                  <a:lnTo>
                    <a:pt x="156" y="582"/>
                  </a:lnTo>
                  <a:lnTo>
                    <a:pt x="162" y="600"/>
                  </a:lnTo>
                  <a:lnTo>
                    <a:pt x="180" y="588"/>
                  </a:lnTo>
                  <a:lnTo>
                    <a:pt x="192" y="588"/>
                  </a:lnTo>
                  <a:lnTo>
                    <a:pt x="198" y="588"/>
                  </a:lnTo>
                  <a:lnTo>
                    <a:pt x="210" y="582"/>
                  </a:lnTo>
                  <a:lnTo>
                    <a:pt x="216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58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46" y="558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58" y="570"/>
                  </a:lnTo>
                  <a:lnTo>
                    <a:pt x="264" y="570"/>
                  </a:lnTo>
                  <a:lnTo>
                    <a:pt x="270" y="564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46"/>
                  </a:lnTo>
                  <a:lnTo>
                    <a:pt x="276" y="540"/>
                  </a:lnTo>
                  <a:lnTo>
                    <a:pt x="276" y="534"/>
                  </a:lnTo>
                  <a:lnTo>
                    <a:pt x="276" y="528"/>
                  </a:lnTo>
                  <a:lnTo>
                    <a:pt x="282" y="528"/>
                  </a:lnTo>
                  <a:lnTo>
                    <a:pt x="282" y="522"/>
                  </a:lnTo>
                  <a:lnTo>
                    <a:pt x="282" y="516"/>
                  </a:lnTo>
                  <a:lnTo>
                    <a:pt x="282" y="510"/>
                  </a:lnTo>
                  <a:lnTo>
                    <a:pt x="282" y="504"/>
                  </a:lnTo>
                  <a:lnTo>
                    <a:pt x="282" y="492"/>
                  </a:lnTo>
                  <a:lnTo>
                    <a:pt x="288" y="486"/>
                  </a:lnTo>
                  <a:lnTo>
                    <a:pt x="300" y="480"/>
                  </a:lnTo>
                  <a:lnTo>
                    <a:pt x="306" y="462"/>
                  </a:lnTo>
                  <a:lnTo>
                    <a:pt x="318" y="444"/>
                  </a:lnTo>
                  <a:lnTo>
                    <a:pt x="330" y="444"/>
                  </a:lnTo>
                  <a:lnTo>
                    <a:pt x="330" y="432"/>
                  </a:lnTo>
                  <a:lnTo>
                    <a:pt x="342" y="432"/>
                  </a:lnTo>
                  <a:lnTo>
                    <a:pt x="354" y="402"/>
                  </a:lnTo>
                  <a:lnTo>
                    <a:pt x="348" y="390"/>
                  </a:lnTo>
                  <a:lnTo>
                    <a:pt x="336" y="384"/>
                  </a:lnTo>
                  <a:lnTo>
                    <a:pt x="336" y="360"/>
                  </a:lnTo>
                  <a:lnTo>
                    <a:pt x="336" y="354"/>
                  </a:lnTo>
                  <a:lnTo>
                    <a:pt x="336" y="342"/>
                  </a:lnTo>
                  <a:lnTo>
                    <a:pt x="342" y="336"/>
                  </a:lnTo>
                  <a:lnTo>
                    <a:pt x="342" y="324"/>
                  </a:lnTo>
                  <a:lnTo>
                    <a:pt x="372" y="324"/>
                  </a:lnTo>
                  <a:lnTo>
                    <a:pt x="378" y="324"/>
                  </a:lnTo>
                  <a:lnTo>
                    <a:pt x="378" y="318"/>
                  </a:lnTo>
                  <a:lnTo>
                    <a:pt x="372" y="312"/>
                  </a:lnTo>
                  <a:lnTo>
                    <a:pt x="378" y="312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84" y="300"/>
                  </a:lnTo>
                  <a:lnTo>
                    <a:pt x="384" y="294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66" y="294"/>
                  </a:lnTo>
                  <a:lnTo>
                    <a:pt x="366" y="288"/>
                  </a:lnTo>
                  <a:lnTo>
                    <a:pt x="372" y="288"/>
                  </a:lnTo>
                  <a:lnTo>
                    <a:pt x="372" y="282"/>
                  </a:lnTo>
                  <a:lnTo>
                    <a:pt x="366" y="276"/>
                  </a:lnTo>
                  <a:lnTo>
                    <a:pt x="360" y="270"/>
                  </a:lnTo>
                  <a:lnTo>
                    <a:pt x="360" y="264"/>
                  </a:lnTo>
                  <a:lnTo>
                    <a:pt x="354" y="264"/>
                  </a:lnTo>
                  <a:lnTo>
                    <a:pt x="348" y="258"/>
                  </a:lnTo>
                  <a:lnTo>
                    <a:pt x="354" y="258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40"/>
                  </a:lnTo>
                  <a:lnTo>
                    <a:pt x="354" y="240"/>
                  </a:lnTo>
                  <a:lnTo>
                    <a:pt x="342" y="234"/>
                  </a:lnTo>
                  <a:lnTo>
                    <a:pt x="342" y="228"/>
                  </a:lnTo>
                  <a:lnTo>
                    <a:pt x="348" y="228"/>
                  </a:lnTo>
                  <a:lnTo>
                    <a:pt x="342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6" y="216"/>
                  </a:lnTo>
                  <a:lnTo>
                    <a:pt x="330" y="222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24" y="210"/>
                  </a:lnTo>
                  <a:lnTo>
                    <a:pt x="318" y="210"/>
                  </a:lnTo>
                  <a:lnTo>
                    <a:pt x="318" y="204"/>
                  </a:lnTo>
                  <a:lnTo>
                    <a:pt x="312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294" y="192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300" y="174"/>
                  </a:lnTo>
                  <a:lnTo>
                    <a:pt x="300" y="168"/>
                  </a:lnTo>
                  <a:lnTo>
                    <a:pt x="300" y="162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88" y="150"/>
                  </a:lnTo>
                  <a:lnTo>
                    <a:pt x="288" y="144"/>
                  </a:lnTo>
                  <a:lnTo>
                    <a:pt x="282" y="144"/>
                  </a:lnTo>
                  <a:lnTo>
                    <a:pt x="282" y="138"/>
                  </a:lnTo>
                  <a:lnTo>
                    <a:pt x="312" y="132"/>
                  </a:lnTo>
                  <a:lnTo>
                    <a:pt x="324" y="120"/>
                  </a:lnTo>
                  <a:lnTo>
                    <a:pt x="330" y="114"/>
                  </a:lnTo>
                  <a:lnTo>
                    <a:pt x="336" y="102"/>
                  </a:lnTo>
                  <a:lnTo>
                    <a:pt x="348" y="90"/>
                  </a:lnTo>
                  <a:lnTo>
                    <a:pt x="360" y="84"/>
                  </a:lnTo>
                  <a:lnTo>
                    <a:pt x="372" y="84"/>
                  </a:lnTo>
                  <a:lnTo>
                    <a:pt x="378" y="84"/>
                  </a:lnTo>
                  <a:lnTo>
                    <a:pt x="384" y="90"/>
                  </a:lnTo>
                  <a:lnTo>
                    <a:pt x="402" y="90"/>
                  </a:lnTo>
                  <a:lnTo>
                    <a:pt x="438" y="84"/>
                  </a:lnTo>
                  <a:lnTo>
                    <a:pt x="456" y="84"/>
                  </a:lnTo>
                  <a:lnTo>
                    <a:pt x="462" y="78"/>
                  </a:lnTo>
                  <a:lnTo>
                    <a:pt x="486" y="72"/>
                  </a:lnTo>
                  <a:lnTo>
                    <a:pt x="492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04" y="54"/>
                  </a:lnTo>
                  <a:lnTo>
                    <a:pt x="510" y="42"/>
                  </a:lnTo>
                  <a:lnTo>
                    <a:pt x="504" y="42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498" y="30"/>
                  </a:lnTo>
                  <a:lnTo>
                    <a:pt x="492" y="30"/>
                  </a:lnTo>
                  <a:lnTo>
                    <a:pt x="492" y="24"/>
                  </a:lnTo>
                  <a:lnTo>
                    <a:pt x="486" y="18"/>
                  </a:lnTo>
                  <a:lnTo>
                    <a:pt x="498" y="18"/>
                  </a:lnTo>
                  <a:lnTo>
                    <a:pt x="510" y="18"/>
                  </a:lnTo>
                  <a:lnTo>
                    <a:pt x="522" y="12"/>
                  </a:lnTo>
                  <a:lnTo>
                    <a:pt x="528" y="6"/>
                  </a:lnTo>
                  <a:lnTo>
                    <a:pt x="570" y="0"/>
                  </a:lnTo>
                  <a:lnTo>
                    <a:pt x="606" y="6"/>
                  </a:lnTo>
                  <a:lnTo>
                    <a:pt x="654" y="24"/>
                  </a:lnTo>
                  <a:lnTo>
                    <a:pt x="666" y="36"/>
                  </a:lnTo>
                  <a:lnTo>
                    <a:pt x="672" y="30"/>
                  </a:lnTo>
                  <a:lnTo>
                    <a:pt x="690" y="42"/>
                  </a:lnTo>
                  <a:lnTo>
                    <a:pt x="702" y="48"/>
                  </a:lnTo>
                  <a:lnTo>
                    <a:pt x="714" y="60"/>
                  </a:lnTo>
                  <a:lnTo>
                    <a:pt x="714" y="66"/>
                  </a:lnTo>
                  <a:lnTo>
                    <a:pt x="720" y="72"/>
                  </a:lnTo>
                  <a:lnTo>
                    <a:pt x="720" y="78"/>
                  </a:lnTo>
                  <a:lnTo>
                    <a:pt x="720" y="102"/>
                  </a:lnTo>
                  <a:lnTo>
                    <a:pt x="720" y="108"/>
                  </a:lnTo>
                  <a:lnTo>
                    <a:pt x="714" y="108"/>
                  </a:lnTo>
                  <a:lnTo>
                    <a:pt x="714" y="126"/>
                  </a:lnTo>
                  <a:lnTo>
                    <a:pt x="732" y="126"/>
                  </a:lnTo>
                  <a:lnTo>
                    <a:pt x="726" y="132"/>
                  </a:lnTo>
                  <a:lnTo>
                    <a:pt x="738" y="132"/>
                  </a:lnTo>
                  <a:lnTo>
                    <a:pt x="738" y="138"/>
                  </a:lnTo>
                  <a:lnTo>
                    <a:pt x="738" y="144"/>
                  </a:lnTo>
                  <a:lnTo>
                    <a:pt x="744" y="144"/>
                  </a:lnTo>
                  <a:lnTo>
                    <a:pt x="744" y="150"/>
                  </a:lnTo>
                  <a:lnTo>
                    <a:pt x="756" y="156"/>
                  </a:lnTo>
                  <a:lnTo>
                    <a:pt x="768" y="156"/>
                  </a:lnTo>
                  <a:lnTo>
                    <a:pt x="780" y="156"/>
                  </a:lnTo>
                  <a:lnTo>
                    <a:pt x="792" y="150"/>
                  </a:lnTo>
                  <a:lnTo>
                    <a:pt x="786" y="150"/>
                  </a:lnTo>
                  <a:lnTo>
                    <a:pt x="786" y="144"/>
                  </a:lnTo>
                  <a:lnTo>
                    <a:pt x="804" y="144"/>
                  </a:lnTo>
                  <a:lnTo>
                    <a:pt x="816" y="132"/>
                  </a:lnTo>
                  <a:lnTo>
                    <a:pt x="822" y="126"/>
                  </a:lnTo>
                  <a:lnTo>
                    <a:pt x="828" y="132"/>
                  </a:lnTo>
                  <a:lnTo>
                    <a:pt x="834" y="126"/>
                  </a:lnTo>
                  <a:lnTo>
                    <a:pt x="834" y="120"/>
                  </a:lnTo>
                  <a:lnTo>
                    <a:pt x="924" y="108"/>
                  </a:lnTo>
                  <a:lnTo>
                    <a:pt x="942" y="144"/>
                  </a:lnTo>
                  <a:lnTo>
                    <a:pt x="948" y="144"/>
                  </a:lnTo>
                  <a:lnTo>
                    <a:pt x="960" y="168"/>
                  </a:lnTo>
                  <a:lnTo>
                    <a:pt x="972" y="186"/>
                  </a:lnTo>
                  <a:lnTo>
                    <a:pt x="984" y="192"/>
                  </a:lnTo>
                  <a:lnTo>
                    <a:pt x="996" y="192"/>
                  </a:lnTo>
                  <a:lnTo>
                    <a:pt x="996" y="198"/>
                  </a:lnTo>
                  <a:lnTo>
                    <a:pt x="1008" y="204"/>
                  </a:lnTo>
                  <a:lnTo>
                    <a:pt x="1008" y="210"/>
                  </a:lnTo>
                  <a:lnTo>
                    <a:pt x="1002" y="210"/>
                  </a:lnTo>
                  <a:lnTo>
                    <a:pt x="1008" y="216"/>
                  </a:lnTo>
                  <a:lnTo>
                    <a:pt x="1014" y="210"/>
                  </a:lnTo>
                  <a:lnTo>
                    <a:pt x="1014" y="216"/>
                  </a:lnTo>
                  <a:lnTo>
                    <a:pt x="1020" y="222"/>
                  </a:lnTo>
                  <a:lnTo>
                    <a:pt x="1014" y="228"/>
                  </a:lnTo>
                  <a:lnTo>
                    <a:pt x="1032" y="234"/>
                  </a:lnTo>
                  <a:lnTo>
                    <a:pt x="1044" y="240"/>
                  </a:lnTo>
                  <a:lnTo>
                    <a:pt x="1038" y="246"/>
                  </a:lnTo>
                  <a:lnTo>
                    <a:pt x="1038" y="252"/>
                  </a:lnTo>
                  <a:lnTo>
                    <a:pt x="1038" y="258"/>
                  </a:lnTo>
                  <a:lnTo>
                    <a:pt x="1032" y="264"/>
                  </a:lnTo>
                  <a:lnTo>
                    <a:pt x="1032" y="270"/>
                  </a:lnTo>
                  <a:lnTo>
                    <a:pt x="1032" y="276"/>
                  </a:lnTo>
                  <a:lnTo>
                    <a:pt x="1032" y="282"/>
                  </a:lnTo>
                  <a:lnTo>
                    <a:pt x="1026" y="282"/>
                  </a:lnTo>
                  <a:lnTo>
                    <a:pt x="1026" y="288"/>
                  </a:lnTo>
                  <a:lnTo>
                    <a:pt x="1026" y="294"/>
                  </a:lnTo>
                  <a:lnTo>
                    <a:pt x="1026" y="300"/>
                  </a:lnTo>
                  <a:lnTo>
                    <a:pt x="1026" y="306"/>
                  </a:lnTo>
                  <a:lnTo>
                    <a:pt x="1020" y="318"/>
                  </a:lnTo>
                  <a:lnTo>
                    <a:pt x="1020" y="324"/>
                  </a:lnTo>
                  <a:lnTo>
                    <a:pt x="1014" y="324"/>
                  </a:lnTo>
                  <a:lnTo>
                    <a:pt x="1014" y="330"/>
                  </a:lnTo>
                  <a:lnTo>
                    <a:pt x="1014" y="336"/>
                  </a:lnTo>
                  <a:lnTo>
                    <a:pt x="1008" y="366"/>
                  </a:lnTo>
                  <a:lnTo>
                    <a:pt x="1002" y="366"/>
                  </a:lnTo>
                  <a:lnTo>
                    <a:pt x="984" y="354"/>
                  </a:lnTo>
                  <a:lnTo>
                    <a:pt x="978" y="354"/>
                  </a:lnTo>
                  <a:lnTo>
                    <a:pt x="972" y="354"/>
                  </a:lnTo>
                  <a:lnTo>
                    <a:pt x="966" y="348"/>
                  </a:lnTo>
                  <a:lnTo>
                    <a:pt x="954" y="348"/>
                  </a:lnTo>
                  <a:lnTo>
                    <a:pt x="948" y="348"/>
                  </a:lnTo>
                  <a:lnTo>
                    <a:pt x="948" y="360"/>
                  </a:lnTo>
                  <a:lnTo>
                    <a:pt x="948" y="366"/>
                  </a:lnTo>
                  <a:lnTo>
                    <a:pt x="948" y="372"/>
                  </a:lnTo>
                  <a:lnTo>
                    <a:pt x="948" y="378"/>
                  </a:lnTo>
                  <a:lnTo>
                    <a:pt x="948" y="384"/>
                  </a:lnTo>
                  <a:lnTo>
                    <a:pt x="942" y="384"/>
                  </a:lnTo>
                  <a:lnTo>
                    <a:pt x="942" y="390"/>
                  </a:lnTo>
                  <a:lnTo>
                    <a:pt x="936" y="390"/>
                  </a:lnTo>
                  <a:lnTo>
                    <a:pt x="942" y="390"/>
                  </a:lnTo>
                  <a:lnTo>
                    <a:pt x="936" y="396"/>
                  </a:lnTo>
                  <a:lnTo>
                    <a:pt x="930" y="402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2" y="432"/>
                  </a:lnTo>
                  <a:lnTo>
                    <a:pt x="900" y="450"/>
                  </a:lnTo>
                  <a:lnTo>
                    <a:pt x="894" y="456"/>
                  </a:lnTo>
                  <a:lnTo>
                    <a:pt x="888" y="456"/>
                  </a:lnTo>
                  <a:lnTo>
                    <a:pt x="882" y="456"/>
                  </a:lnTo>
                  <a:lnTo>
                    <a:pt x="876" y="456"/>
                  </a:lnTo>
                  <a:lnTo>
                    <a:pt x="864" y="462"/>
                  </a:lnTo>
                  <a:lnTo>
                    <a:pt x="852" y="474"/>
                  </a:lnTo>
                  <a:lnTo>
                    <a:pt x="846" y="480"/>
                  </a:lnTo>
                  <a:lnTo>
                    <a:pt x="840" y="486"/>
                  </a:lnTo>
                  <a:lnTo>
                    <a:pt x="834" y="498"/>
                  </a:lnTo>
                  <a:lnTo>
                    <a:pt x="828" y="510"/>
                  </a:lnTo>
                  <a:lnTo>
                    <a:pt x="816" y="522"/>
                  </a:lnTo>
                  <a:lnTo>
                    <a:pt x="798" y="540"/>
                  </a:lnTo>
                  <a:lnTo>
                    <a:pt x="780" y="558"/>
                  </a:lnTo>
                  <a:lnTo>
                    <a:pt x="774" y="558"/>
                  </a:lnTo>
                  <a:lnTo>
                    <a:pt x="756" y="576"/>
                  </a:lnTo>
                  <a:lnTo>
                    <a:pt x="732" y="600"/>
                  </a:lnTo>
                  <a:lnTo>
                    <a:pt x="726" y="600"/>
                  </a:lnTo>
                  <a:lnTo>
                    <a:pt x="720" y="606"/>
                  </a:lnTo>
                  <a:lnTo>
                    <a:pt x="714" y="612"/>
                  </a:lnTo>
                  <a:lnTo>
                    <a:pt x="690" y="630"/>
                  </a:lnTo>
                  <a:lnTo>
                    <a:pt x="678" y="636"/>
                  </a:lnTo>
                  <a:lnTo>
                    <a:pt x="672" y="642"/>
                  </a:lnTo>
                  <a:lnTo>
                    <a:pt x="660" y="660"/>
                  </a:lnTo>
                  <a:lnTo>
                    <a:pt x="642" y="666"/>
                  </a:lnTo>
                  <a:lnTo>
                    <a:pt x="636" y="678"/>
                  </a:lnTo>
                  <a:lnTo>
                    <a:pt x="630" y="678"/>
                  </a:lnTo>
                  <a:lnTo>
                    <a:pt x="630" y="684"/>
                  </a:lnTo>
                  <a:lnTo>
                    <a:pt x="630" y="690"/>
                  </a:lnTo>
                  <a:lnTo>
                    <a:pt x="636" y="696"/>
                  </a:lnTo>
                  <a:lnTo>
                    <a:pt x="642" y="696"/>
                  </a:lnTo>
                  <a:lnTo>
                    <a:pt x="648" y="702"/>
                  </a:lnTo>
                  <a:lnTo>
                    <a:pt x="648" y="708"/>
                  </a:lnTo>
                  <a:lnTo>
                    <a:pt x="642" y="708"/>
                  </a:lnTo>
                  <a:lnTo>
                    <a:pt x="636" y="714"/>
                  </a:lnTo>
                  <a:lnTo>
                    <a:pt x="636" y="720"/>
                  </a:lnTo>
                  <a:lnTo>
                    <a:pt x="642" y="726"/>
                  </a:lnTo>
                  <a:lnTo>
                    <a:pt x="636" y="738"/>
                  </a:lnTo>
                  <a:lnTo>
                    <a:pt x="618" y="756"/>
                  </a:lnTo>
                  <a:lnTo>
                    <a:pt x="612" y="750"/>
                  </a:lnTo>
                  <a:lnTo>
                    <a:pt x="612" y="756"/>
                  </a:lnTo>
                  <a:lnTo>
                    <a:pt x="618" y="762"/>
                  </a:lnTo>
                  <a:lnTo>
                    <a:pt x="618" y="768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36" y="786"/>
                  </a:lnTo>
                  <a:lnTo>
                    <a:pt x="642" y="792"/>
                  </a:lnTo>
                  <a:lnTo>
                    <a:pt x="642" y="798"/>
                  </a:lnTo>
                  <a:lnTo>
                    <a:pt x="648" y="804"/>
                  </a:lnTo>
                  <a:lnTo>
                    <a:pt x="654" y="810"/>
                  </a:lnTo>
                  <a:lnTo>
                    <a:pt x="660" y="816"/>
                  </a:lnTo>
                  <a:lnTo>
                    <a:pt x="666" y="816"/>
                  </a:lnTo>
                  <a:lnTo>
                    <a:pt x="666" y="822"/>
                  </a:lnTo>
                  <a:lnTo>
                    <a:pt x="672" y="828"/>
                  </a:lnTo>
                  <a:lnTo>
                    <a:pt x="672" y="840"/>
                  </a:lnTo>
                  <a:lnTo>
                    <a:pt x="672" y="846"/>
                  </a:lnTo>
                  <a:lnTo>
                    <a:pt x="666" y="852"/>
                  </a:lnTo>
                  <a:lnTo>
                    <a:pt x="660" y="864"/>
                  </a:lnTo>
                  <a:lnTo>
                    <a:pt x="654" y="876"/>
                  </a:lnTo>
                  <a:lnTo>
                    <a:pt x="648" y="882"/>
                  </a:lnTo>
                  <a:lnTo>
                    <a:pt x="642" y="888"/>
                  </a:lnTo>
                  <a:lnTo>
                    <a:pt x="642" y="894"/>
                  </a:lnTo>
                  <a:lnTo>
                    <a:pt x="642" y="906"/>
                  </a:lnTo>
                  <a:lnTo>
                    <a:pt x="630" y="918"/>
                  </a:lnTo>
                  <a:lnTo>
                    <a:pt x="630" y="924"/>
                  </a:lnTo>
                  <a:lnTo>
                    <a:pt x="624" y="930"/>
                  </a:lnTo>
                  <a:lnTo>
                    <a:pt x="630" y="936"/>
                  </a:lnTo>
                  <a:lnTo>
                    <a:pt x="630" y="942"/>
                  </a:lnTo>
                  <a:lnTo>
                    <a:pt x="630" y="948"/>
                  </a:lnTo>
                  <a:lnTo>
                    <a:pt x="630" y="954"/>
                  </a:lnTo>
                  <a:lnTo>
                    <a:pt x="630" y="960"/>
                  </a:lnTo>
                  <a:lnTo>
                    <a:pt x="624" y="966"/>
                  </a:lnTo>
                  <a:lnTo>
                    <a:pt x="618" y="990"/>
                  </a:lnTo>
                  <a:lnTo>
                    <a:pt x="618" y="1008"/>
                  </a:lnTo>
                  <a:lnTo>
                    <a:pt x="612" y="1026"/>
                  </a:lnTo>
                  <a:lnTo>
                    <a:pt x="612" y="1038"/>
                  </a:lnTo>
                  <a:lnTo>
                    <a:pt x="612" y="1050"/>
                  </a:lnTo>
                  <a:lnTo>
                    <a:pt x="612" y="1056"/>
                  </a:lnTo>
                  <a:lnTo>
                    <a:pt x="612" y="1062"/>
                  </a:lnTo>
                  <a:lnTo>
                    <a:pt x="612" y="1068"/>
                  </a:lnTo>
                  <a:lnTo>
                    <a:pt x="612" y="1086"/>
                  </a:lnTo>
                  <a:lnTo>
                    <a:pt x="612" y="1092"/>
                  </a:lnTo>
                  <a:lnTo>
                    <a:pt x="606" y="1098"/>
                  </a:lnTo>
                  <a:lnTo>
                    <a:pt x="600" y="1110"/>
                  </a:lnTo>
                  <a:lnTo>
                    <a:pt x="600" y="1116"/>
                  </a:lnTo>
                  <a:lnTo>
                    <a:pt x="594" y="1122"/>
                  </a:lnTo>
                  <a:lnTo>
                    <a:pt x="594" y="1128"/>
                  </a:lnTo>
                  <a:lnTo>
                    <a:pt x="588" y="1134"/>
                  </a:lnTo>
                  <a:lnTo>
                    <a:pt x="582" y="1140"/>
                  </a:lnTo>
                  <a:lnTo>
                    <a:pt x="570" y="1140"/>
                  </a:lnTo>
                  <a:lnTo>
                    <a:pt x="564" y="1146"/>
                  </a:lnTo>
                  <a:lnTo>
                    <a:pt x="570" y="1146"/>
                  </a:lnTo>
                  <a:lnTo>
                    <a:pt x="564" y="1152"/>
                  </a:lnTo>
                  <a:lnTo>
                    <a:pt x="558" y="1158"/>
                  </a:lnTo>
                  <a:lnTo>
                    <a:pt x="552" y="1164"/>
                  </a:lnTo>
                  <a:lnTo>
                    <a:pt x="552" y="1170"/>
                  </a:lnTo>
                  <a:lnTo>
                    <a:pt x="546" y="1176"/>
                  </a:lnTo>
                  <a:lnTo>
                    <a:pt x="546" y="1182"/>
                  </a:lnTo>
                  <a:lnTo>
                    <a:pt x="546" y="1188"/>
                  </a:lnTo>
                  <a:lnTo>
                    <a:pt x="540" y="1188"/>
                  </a:lnTo>
                  <a:lnTo>
                    <a:pt x="540" y="1194"/>
                  </a:lnTo>
                  <a:lnTo>
                    <a:pt x="528" y="1206"/>
                  </a:lnTo>
                  <a:lnTo>
                    <a:pt x="528" y="1212"/>
                  </a:lnTo>
                  <a:lnTo>
                    <a:pt x="534" y="1212"/>
                  </a:lnTo>
                  <a:lnTo>
                    <a:pt x="540" y="1218"/>
                  </a:lnTo>
                  <a:lnTo>
                    <a:pt x="534" y="1218"/>
                  </a:lnTo>
                  <a:lnTo>
                    <a:pt x="528" y="1218"/>
                  </a:lnTo>
                  <a:lnTo>
                    <a:pt x="528" y="1224"/>
                  </a:lnTo>
                  <a:lnTo>
                    <a:pt x="522" y="1230"/>
                  </a:lnTo>
                  <a:lnTo>
                    <a:pt x="516" y="1236"/>
                  </a:lnTo>
                  <a:lnTo>
                    <a:pt x="522" y="1236"/>
                  </a:lnTo>
                  <a:lnTo>
                    <a:pt x="516" y="1242"/>
                  </a:lnTo>
                  <a:lnTo>
                    <a:pt x="510" y="1242"/>
                  </a:lnTo>
                  <a:lnTo>
                    <a:pt x="504" y="1248"/>
                  </a:lnTo>
                  <a:lnTo>
                    <a:pt x="510" y="1260"/>
                  </a:lnTo>
                  <a:lnTo>
                    <a:pt x="504" y="1266"/>
                  </a:lnTo>
                  <a:lnTo>
                    <a:pt x="492" y="1266"/>
                  </a:lnTo>
                  <a:lnTo>
                    <a:pt x="486" y="1272"/>
                  </a:lnTo>
                  <a:lnTo>
                    <a:pt x="486" y="1278"/>
                  </a:lnTo>
                  <a:lnTo>
                    <a:pt x="480" y="1278"/>
                  </a:lnTo>
                  <a:lnTo>
                    <a:pt x="480" y="1284"/>
                  </a:lnTo>
                  <a:lnTo>
                    <a:pt x="480" y="1290"/>
                  </a:lnTo>
                  <a:lnTo>
                    <a:pt x="480" y="1296"/>
                  </a:lnTo>
                  <a:lnTo>
                    <a:pt x="492" y="1302"/>
                  </a:lnTo>
                  <a:lnTo>
                    <a:pt x="492" y="1308"/>
                  </a:lnTo>
                  <a:lnTo>
                    <a:pt x="492" y="1320"/>
                  </a:lnTo>
                  <a:lnTo>
                    <a:pt x="492" y="1332"/>
                  </a:lnTo>
                  <a:lnTo>
                    <a:pt x="498" y="1344"/>
                  </a:lnTo>
                  <a:lnTo>
                    <a:pt x="498" y="1350"/>
                  </a:lnTo>
                  <a:lnTo>
                    <a:pt x="498" y="1356"/>
                  </a:lnTo>
                  <a:lnTo>
                    <a:pt x="504" y="1362"/>
                  </a:lnTo>
                  <a:lnTo>
                    <a:pt x="498" y="1362"/>
                  </a:lnTo>
                  <a:lnTo>
                    <a:pt x="498" y="1368"/>
                  </a:lnTo>
                  <a:lnTo>
                    <a:pt x="492" y="1368"/>
                  </a:lnTo>
                  <a:lnTo>
                    <a:pt x="492" y="1374"/>
                  </a:lnTo>
                  <a:lnTo>
                    <a:pt x="492" y="1380"/>
                  </a:lnTo>
                  <a:lnTo>
                    <a:pt x="498" y="1380"/>
                  </a:lnTo>
                  <a:lnTo>
                    <a:pt x="504" y="1380"/>
                  </a:lnTo>
                  <a:lnTo>
                    <a:pt x="498" y="1386"/>
                  </a:lnTo>
                  <a:lnTo>
                    <a:pt x="498" y="1392"/>
                  </a:lnTo>
                  <a:lnTo>
                    <a:pt x="498" y="1398"/>
                  </a:lnTo>
                  <a:lnTo>
                    <a:pt x="498" y="1404"/>
                  </a:lnTo>
                  <a:lnTo>
                    <a:pt x="498" y="1410"/>
                  </a:lnTo>
                  <a:lnTo>
                    <a:pt x="498" y="1416"/>
                  </a:lnTo>
                  <a:lnTo>
                    <a:pt x="492" y="1416"/>
                  </a:lnTo>
                  <a:lnTo>
                    <a:pt x="498" y="1416"/>
                  </a:lnTo>
                  <a:lnTo>
                    <a:pt x="504" y="1416"/>
                  </a:lnTo>
                  <a:lnTo>
                    <a:pt x="504" y="1422"/>
                  </a:lnTo>
                  <a:lnTo>
                    <a:pt x="510" y="1428"/>
                  </a:lnTo>
                  <a:lnTo>
                    <a:pt x="510" y="1434"/>
                  </a:lnTo>
                  <a:lnTo>
                    <a:pt x="510" y="1440"/>
                  </a:lnTo>
                  <a:lnTo>
                    <a:pt x="516" y="1446"/>
                  </a:lnTo>
                  <a:lnTo>
                    <a:pt x="516" y="1452"/>
                  </a:lnTo>
                  <a:lnTo>
                    <a:pt x="516" y="1458"/>
                  </a:lnTo>
                  <a:lnTo>
                    <a:pt x="516" y="1464"/>
                  </a:lnTo>
                  <a:lnTo>
                    <a:pt x="516" y="1482"/>
                  </a:lnTo>
                  <a:lnTo>
                    <a:pt x="516" y="1488"/>
                  </a:lnTo>
                  <a:lnTo>
                    <a:pt x="522" y="1488"/>
                  </a:lnTo>
                  <a:lnTo>
                    <a:pt x="522" y="1494"/>
                  </a:lnTo>
                  <a:lnTo>
                    <a:pt x="522" y="1500"/>
                  </a:lnTo>
                  <a:lnTo>
                    <a:pt x="516" y="1506"/>
                  </a:lnTo>
                  <a:lnTo>
                    <a:pt x="510" y="1500"/>
                  </a:lnTo>
                  <a:lnTo>
                    <a:pt x="504" y="1500"/>
                  </a:lnTo>
                  <a:lnTo>
                    <a:pt x="504" y="1494"/>
                  </a:lnTo>
                  <a:lnTo>
                    <a:pt x="504" y="1488"/>
                  </a:lnTo>
                  <a:lnTo>
                    <a:pt x="504" y="1482"/>
                  </a:lnTo>
                  <a:lnTo>
                    <a:pt x="504" y="1488"/>
                  </a:lnTo>
                  <a:lnTo>
                    <a:pt x="504" y="1494"/>
                  </a:lnTo>
                  <a:lnTo>
                    <a:pt x="504" y="1500"/>
                  </a:lnTo>
                  <a:lnTo>
                    <a:pt x="498" y="1500"/>
                  </a:lnTo>
                  <a:lnTo>
                    <a:pt x="492" y="1500"/>
                  </a:lnTo>
                  <a:lnTo>
                    <a:pt x="492" y="1494"/>
                  </a:lnTo>
                  <a:lnTo>
                    <a:pt x="492" y="1488"/>
                  </a:lnTo>
                  <a:lnTo>
                    <a:pt x="492" y="1494"/>
                  </a:lnTo>
                  <a:lnTo>
                    <a:pt x="492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00"/>
                  </a:lnTo>
                  <a:lnTo>
                    <a:pt x="510" y="1500"/>
                  </a:lnTo>
                  <a:lnTo>
                    <a:pt x="510" y="1506"/>
                  </a:lnTo>
                  <a:lnTo>
                    <a:pt x="516" y="1506"/>
                  </a:lnTo>
                  <a:lnTo>
                    <a:pt x="510" y="1506"/>
                  </a:lnTo>
                  <a:lnTo>
                    <a:pt x="510" y="1512"/>
                  </a:lnTo>
                  <a:lnTo>
                    <a:pt x="516" y="1506"/>
                  </a:lnTo>
                  <a:lnTo>
                    <a:pt x="522" y="1506"/>
                  </a:lnTo>
                  <a:lnTo>
                    <a:pt x="528" y="1506"/>
                  </a:lnTo>
                  <a:lnTo>
                    <a:pt x="528" y="1500"/>
                  </a:lnTo>
                  <a:lnTo>
                    <a:pt x="534" y="1500"/>
                  </a:lnTo>
                  <a:lnTo>
                    <a:pt x="534" y="1506"/>
                  </a:lnTo>
                  <a:lnTo>
                    <a:pt x="540" y="1512"/>
                  </a:lnTo>
                  <a:lnTo>
                    <a:pt x="540" y="1518"/>
                  </a:lnTo>
                  <a:lnTo>
                    <a:pt x="546" y="1518"/>
                  </a:lnTo>
                  <a:lnTo>
                    <a:pt x="540" y="1518"/>
                  </a:lnTo>
                  <a:lnTo>
                    <a:pt x="540" y="1524"/>
                  </a:lnTo>
                  <a:lnTo>
                    <a:pt x="534" y="1524"/>
                  </a:lnTo>
                  <a:lnTo>
                    <a:pt x="540" y="1524"/>
                  </a:lnTo>
                  <a:lnTo>
                    <a:pt x="546" y="1524"/>
                  </a:lnTo>
                  <a:lnTo>
                    <a:pt x="546" y="1530"/>
                  </a:lnTo>
                  <a:lnTo>
                    <a:pt x="540" y="1530"/>
                  </a:lnTo>
                  <a:lnTo>
                    <a:pt x="540" y="1536"/>
                  </a:lnTo>
                  <a:lnTo>
                    <a:pt x="534" y="1542"/>
                  </a:lnTo>
                  <a:lnTo>
                    <a:pt x="528" y="1542"/>
                  </a:lnTo>
                  <a:lnTo>
                    <a:pt x="522" y="1542"/>
                  </a:lnTo>
                  <a:lnTo>
                    <a:pt x="516" y="1542"/>
                  </a:lnTo>
                  <a:lnTo>
                    <a:pt x="510" y="1542"/>
                  </a:lnTo>
                  <a:lnTo>
                    <a:pt x="504" y="1542"/>
                  </a:lnTo>
                  <a:lnTo>
                    <a:pt x="492" y="1542"/>
                  </a:lnTo>
                  <a:lnTo>
                    <a:pt x="486" y="1536"/>
                  </a:lnTo>
                  <a:lnTo>
                    <a:pt x="480" y="1536"/>
                  </a:lnTo>
                  <a:lnTo>
                    <a:pt x="468" y="1536"/>
                  </a:lnTo>
                  <a:lnTo>
                    <a:pt x="468" y="1542"/>
                  </a:lnTo>
                  <a:lnTo>
                    <a:pt x="462" y="1542"/>
                  </a:lnTo>
                  <a:lnTo>
                    <a:pt x="456" y="1542"/>
                  </a:lnTo>
                  <a:lnTo>
                    <a:pt x="450" y="1542"/>
                  </a:lnTo>
                  <a:lnTo>
                    <a:pt x="444" y="1542"/>
                  </a:lnTo>
                  <a:lnTo>
                    <a:pt x="444" y="1536"/>
                  </a:lnTo>
                  <a:lnTo>
                    <a:pt x="450" y="1536"/>
                  </a:lnTo>
                  <a:lnTo>
                    <a:pt x="456" y="1536"/>
                  </a:lnTo>
                  <a:lnTo>
                    <a:pt x="450" y="1536"/>
                  </a:lnTo>
                  <a:lnTo>
                    <a:pt x="444" y="1536"/>
                  </a:lnTo>
                  <a:lnTo>
                    <a:pt x="444" y="1530"/>
                  </a:lnTo>
                  <a:lnTo>
                    <a:pt x="450" y="1530"/>
                  </a:lnTo>
                  <a:lnTo>
                    <a:pt x="456" y="1524"/>
                  </a:lnTo>
                  <a:lnTo>
                    <a:pt x="456" y="1518"/>
                  </a:lnTo>
                  <a:lnTo>
                    <a:pt x="462" y="1518"/>
                  </a:lnTo>
                  <a:lnTo>
                    <a:pt x="462" y="1524"/>
                  </a:lnTo>
                  <a:lnTo>
                    <a:pt x="468" y="1524"/>
                  </a:lnTo>
                  <a:lnTo>
                    <a:pt x="474" y="1524"/>
                  </a:lnTo>
                  <a:lnTo>
                    <a:pt x="474" y="1518"/>
                  </a:lnTo>
                  <a:lnTo>
                    <a:pt x="480" y="1518"/>
                  </a:lnTo>
                  <a:lnTo>
                    <a:pt x="474" y="1518"/>
                  </a:lnTo>
                  <a:lnTo>
                    <a:pt x="474" y="1524"/>
                  </a:lnTo>
                  <a:lnTo>
                    <a:pt x="468" y="1524"/>
                  </a:lnTo>
                  <a:lnTo>
                    <a:pt x="462" y="1518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62" y="1512"/>
                  </a:lnTo>
                  <a:lnTo>
                    <a:pt x="462" y="1506"/>
                  </a:lnTo>
                  <a:lnTo>
                    <a:pt x="456" y="1506"/>
                  </a:lnTo>
                  <a:lnTo>
                    <a:pt x="456" y="1512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50" y="1518"/>
                  </a:lnTo>
                  <a:lnTo>
                    <a:pt x="444" y="1518"/>
                  </a:lnTo>
                  <a:lnTo>
                    <a:pt x="444" y="1524"/>
                  </a:lnTo>
                  <a:lnTo>
                    <a:pt x="438" y="1524"/>
                  </a:lnTo>
                  <a:lnTo>
                    <a:pt x="438" y="1530"/>
                  </a:lnTo>
                  <a:lnTo>
                    <a:pt x="432" y="1530"/>
                  </a:lnTo>
                  <a:lnTo>
                    <a:pt x="432" y="1536"/>
                  </a:lnTo>
                  <a:lnTo>
                    <a:pt x="426" y="1530"/>
                  </a:lnTo>
                  <a:lnTo>
                    <a:pt x="420" y="1530"/>
                  </a:lnTo>
                  <a:lnTo>
                    <a:pt x="414" y="1530"/>
                  </a:lnTo>
                  <a:lnTo>
                    <a:pt x="414" y="1524"/>
                  </a:lnTo>
                  <a:lnTo>
                    <a:pt x="408" y="1518"/>
                  </a:lnTo>
                  <a:lnTo>
                    <a:pt x="414" y="1512"/>
                  </a:lnTo>
                  <a:lnTo>
                    <a:pt x="408" y="1512"/>
                  </a:lnTo>
                  <a:lnTo>
                    <a:pt x="408" y="1506"/>
                  </a:lnTo>
                  <a:lnTo>
                    <a:pt x="408" y="1500"/>
                  </a:lnTo>
                  <a:lnTo>
                    <a:pt x="408" y="1494"/>
                  </a:lnTo>
                  <a:lnTo>
                    <a:pt x="408" y="1488"/>
                  </a:lnTo>
                  <a:lnTo>
                    <a:pt x="408" y="1494"/>
                  </a:lnTo>
                  <a:lnTo>
                    <a:pt x="414" y="1494"/>
                  </a:lnTo>
                  <a:lnTo>
                    <a:pt x="420" y="1494"/>
                  </a:lnTo>
                  <a:lnTo>
                    <a:pt x="420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82"/>
                  </a:lnTo>
                  <a:lnTo>
                    <a:pt x="426" y="1476"/>
                  </a:lnTo>
                  <a:lnTo>
                    <a:pt x="432" y="1476"/>
                  </a:lnTo>
                  <a:lnTo>
                    <a:pt x="432" y="1470"/>
                  </a:lnTo>
                  <a:lnTo>
                    <a:pt x="438" y="1470"/>
                  </a:lnTo>
                  <a:lnTo>
                    <a:pt x="444" y="1464"/>
                  </a:lnTo>
                  <a:lnTo>
                    <a:pt x="450" y="1458"/>
                  </a:lnTo>
                  <a:lnTo>
                    <a:pt x="456" y="1458"/>
                  </a:lnTo>
                  <a:lnTo>
                    <a:pt x="462" y="1452"/>
                  </a:lnTo>
                  <a:lnTo>
                    <a:pt x="468" y="1452"/>
                  </a:lnTo>
                  <a:lnTo>
                    <a:pt x="468" y="1446"/>
                  </a:lnTo>
                  <a:lnTo>
                    <a:pt x="462" y="1440"/>
                  </a:lnTo>
                  <a:lnTo>
                    <a:pt x="456" y="1434"/>
                  </a:lnTo>
                  <a:lnTo>
                    <a:pt x="456" y="1428"/>
                  </a:lnTo>
                  <a:lnTo>
                    <a:pt x="456" y="1422"/>
                  </a:lnTo>
                  <a:lnTo>
                    <a:pt x="456" y="1416"/>
                  </a:lnTo>
                  <a:lnTo>
                    <a:pt x="450" y="1410"/>
                  </a:lnTo>
                  <a:lnTo>
                    <a:pt x="444" y="1410"/>
                  </a:lnTo>
                  <a:lnTo>
                    <a:pt x="450" y="1410"/>
                  </a:lnTo>
                  <a:lnTo>
                    <a:pt x="450" y="1404"/>
                  </a:lnTo>
                  <a:lnTo>
                    <a:pt x="456" y="1404"/>
                  </a:lnTo>
                  <a:lnTo>
                    <a:pt x="462" y="1404"/>
                  </a:lnTo>
                  <a:lnTo>
                    <a:pt x="468" y="1398"/>
                  </a:lnTo>
                  <a:lnTo>
                    <a:pt x="462" y="1398"/>
                  </a:lnTo>
                  <a:lnTo>
                    <a:pt x="462" y="1392"/>
                  </a:lnTo>
                  <a:lnTo>
                    <a:pt x="456" y="1392"/>
                  </a:lnTo>
                  <a:lnTo>
                    <a:pt x="456" y="1386"/>
                  </a:lnTo>
                  <a:lnTo>
                    <a:pt x="462" y="1386"/>
                  </a:lnTo>
                  <a:lnTo>
                    <a:pt x="468" y="1386"/>
                  </a:lnTo>
                  <a:lnTo>
                    <a:pt x="474" y="1386"/>
                  </a:lnTo>
                  <a:lnTo>
                    <a:pt x="468" y="1386"/>
                  </a:lnTo>
                  <a:lnTo>
                    <a:pt x="462" y="1386"/>
                  </a:lnTo>
                  <a:lnTo>
                    <a:pt x="456" y="1380"/>
                  </a:lnTo>
                  <a:lnTo>
                    <a:pt x="456" y="1374"/>
                  </a:lnTo>
                  <a:lnTo>
                    <a:pt x="462" y="1374"/>
                  </a:lnTo>
                  <a:lnTo>
                    <a:pt x="462" y="1368"/>
                  </a:lnTo>
                  <a:lnTo>
                    <a:pt x="456" y="1374"/>
                  </a:lnTo>
                  <a:lnTo>
                    <a:pt x="456" y="1368"/>
                  </a:lnTo>
                  <a:lnTo>
                    <a:pt x="456" y="1362"/>
                  </a:lnTo>
                  <a:lnTo>
                    <a:pt x="450" y="1362"/>
                  </a:lnTo>
                  <a:lnTo>
                    <a:pt x="450" y="1356"/>
                  </a:lnTo>
                  <a:lnTo>
                    <a:pt x="450" y="1350"/>
                  </a:lnTo>
                  <a:lnTo>
                    <a:pt x="450" y="1344"/>
                  </a:lnTo>
                  <a:lnTo>
                    <a:pt x="456" y="1344"/>
                  </a:lnTo>
                  <a:lnTo>
                    <a:pt x="456" y="1338"/>
                  </a:lnTo>
                  <a:lnTo>
                    <a:pt x="462" y="1338"/>
                  </a:lnTo>
                  <a:lnTo>
                    <a:pt x="462" y="1332"/>
                  </a:lnTo>
                  <a:lnTo>
                    <a:pt x="456" y="1332"/>
                  </a:lnTo>
                  <a:lnTo>
                    <a:pt x="456" y="1326"/>
                  </a:lnTo>
                  <a:lnTo>
                    <a:pt x="450" y="1326"/>
                  </a:lnTo>
                  <a:lnTo>
                    <a:pt x="444" y="1326"/>
                  </a:lnTo>
                  <a:lnTo>
                    <a:pt x="444" y="1332"/>
                  </a:lnTo>
                  <a:lnTo>
                    <a:pt x="438" y="1332"/>
                  </a:lnTo>
                  <a:lnTo>
                    <a:pt x="438" y="1338"/>
                  </a:lnTo>
                  <a:lnTo>
                    <a:pt x="432" y="1338"/>
                  </a:lnTo>
                  <a:lnTo>
                    <a:pt x="432" y="1344"/>
                  </a:lnTo>
                  <a:lnTo>
                    <a:pt x="432" y="1350"/>
                  </a:lnTo>
                  <a:lnTo>
                    <a:pt x="426" y="1356"/>
                  </a:lnTo>
                  <a:lnTo>
                    <a:pt x="426" y="1368"/>
                  </a:lnTo>
                  <a:lnTo>
                    <a:pt x="426" y="1374"/>
                  </a:lnTo>
                  <a:lnTo>
                    <a:pt x="426" y="1380"/>
                  </a:lnTo>
                  <a:lnTo>
                    <a:pt x="432" y="1386"/>
                  </a:lnTo>
                  <a:lnTo>
                    <a:pt x="432" y="1392"/>
                  </a:lnTo>
                  <a:lnTo>
                    <a:pt x="432" y="1398"/>
                  </a:lnTo>
                  <a:lnTo>
                    <a:pt x="426" y="1398"/>
                  </a:lnTo>
                  <a:lnTo>
                    <a:pt x="420" y="1398"/>
                  </a:lnTo>
                  <a:lnTo>
                    <a:pt x="414" y="1398"/>
                  </a:lnTo>
                  <a:lnTo>
                    <a:pt x="420" y="1398"/>
                  </a:lnTo>
                  <a:lnTo>
                    <a:pt x="414" y="1404"/>
                  </a:lnTo>
                  <a:lnTo>
                    <a:pt x="420" y="1404"/>
                  </a:lnTo>
                  <a:lnTo>
                    <a:pt x="414" y="1404"/>
                  </a:lnTo>
                  <a:lnTo>
                    <a:pt x="408" y="1404"/>
                  </a:lnTo>
                  <a:lnTo>
                    <a:pt x="402" y="1410"/>
                  </a:lnTo>
                  <a:lnTo>
                    <a:pt x="402" y="1404"/>
                  </a:lnTo>
                  <a:lnTo>
                    <a:pt x="396" y="1404"/>
                  </a:lnTo>
                  <a:lnTo>
                    <a:pt x="390" y="1404"/>
                  </a:lnTo>
                  <a:lnTo>
                    <a:pt x="384" y="1404"/>
                  </a:lnTo>
                  <a:lnTo>
                    <a:pt x="384" y="1398"/>
                  </a:lnTo>
                  <a:lnTo>
                    <a:pt x="384" y="1392"/>
                  </a:lnTo>
                  <a:lnTo>
                    <a:pt x="390" y="1392"/>
                  </a:lnTo>
                  <a:lnTo>
                    <a:pt x="390" y="1386"/>
                  </a:lnTo>
                  <a:lnTo>
                    <a:pt x="390" y="1380"/>
                  </a:lnTo>
                  <a:lnTo>
                    <a:pt x="396" y="1380"/>
                  </a:lnTo>
                  <a:lnTo>
                    <a:pt x="402" y="1380"/>
                  </a:lnTo>
                  <a:lnTo>
                    <a:pt x="408" y="1380"/>
                  </a:lnTo>
                  <a:lnTo>
                    <a:pt x="408" y="1374"/>
                  </a:lnTo>
                  <a:lnTo>
                    <a:pt x="414" y="1374"/>
                  </a:lnTo>
                  <a:lnTo>
                    <a:pt x="414" y="1368"/>
                  </a:lnTo>
                  <a:lnTo>
                    <a:pt x="414" y="1362"/>
                  </a:lnTo>
                  <a:lnTo>
                    <a:pt x="414" y="1368"/>
                  </a:lnTo>
                  <a:lnTo>
                    <a:pt x="414" y="1374"/>
                  </a:lnTo>
                  <a:lnTo>
                    <a:pt x="408" y="1374"/>
                  </a:lnTo>
                  <a:lnTo>
                    <a:pt x="402" y="1380"/>
                  </a:lnTo>
                  <a:lnTo>
                    <a:pt x="396" y="1380"/>
                  </a:lnTo>
                  <a:lnTo>
                    <a:pt x="396" y="1374"/>
                  </a:lnTo>
                  <a:lnTo>
                    <a:pt x="390" y="1374"/>
                  </a:lnTo>
                  <a:lnTo>
                    <a:pt x="390" y="1368"/>
                  </a:lnTo>
                  <a:lnTo>
                    <a:pt x="384" y="1368"/>
                  </a:lnTo>
                  <a:lnTo>
                    <a:pt x="384" y="1374"/>
                  </a:lnTo>
                  <a:lnTo>
                    <a:pt x="378" y="1374"/>
                  </a:lnTo>
                  <a:lnTo>
                    <a:pt x="378" y="1380"/>
                  </a:lnTo>
                  <a:lnTo>
                    <a:pt x="372" y="1380"/>
                  </a:lnTo>
                  <a:lnTo>
                    <a:pt x="366" y="1386"/>
                  </a:lnTo>
                  <a:lnTo>
                    <a:pt x="360" y="1386"/>
                  </a:lnTo>
                  <a:lnTo>
                    <a:pt x="354" y="1386"/>
                  </a:lnTo>
                  <a:lnTo>
                    <a:pt x="354" y="1380"/>
                  </a:lnTo>
                  <a:lnTo>
                    <a:pt x="348" y="1380"/>
                  </a:lnTo>
                  <a:lnTo>
                    <a:pt x="342" y="1380"/>
                  </a:lnTo>
                  <a:lnTo>
                    <a:pt x="342" y="1374"/>
                  </a:lnTo>
                  <a:lnTo>
                    <a:pt x="336" y="1368"/>
                  </a:lnTo>
                  <a:lnTo>
                    <a:pt x="342" y="1368"/>
                  </a:lnTo>
                  <a:lnTo>
                    <a:pt x="342" y="1362"/>
                  </a:lnTo>
                  <a:lnTo>
                    <a:pt x="348" y="1362"/>
                  </a:lnTo>
                  <a:lnTo>
                    <a:pt x="354" y="1362"/>
                  </a:lnTo>
                  <a:lnTo>
                    <a:pt x="354" y="1356"/>
                  </a:lnTo>
                  <a:lnTo>
                    <a:pt x="348" y="1356"/>
                  </a:lnTo>
                  <a:lnTo>
                    <a:pt x="348" y="1350"/>
                  </a:lnTo>
                  <a:lnTo>
                    <a:pt x="348" y="1344"/>
                  </a:lnTo>
                  <a:lnTo>
                    <a:pt x="354" y="1338"/>
                  </a:lnTo>
                  <a:lnTo>
                    <a:pt x="354" y="1332"/>
                  </a:lnTo>
                  <a:lnTo>
                    <a:pt x="354" y="1326"/>
                  </a:lnTo>
                  <a:lnTo>
                    <a:pt x="354" y="1320"/>
                  </a:lnTo>
                  <a:lnTo>
                    <a:pt x="354" y="1314"/>
                  </a:lnTo>
                  <a:lnTo>
                    <a:pt x="354" y="1308"/>
                  </a:lnTo>
                  <a:lnTo>
                    <a:pt x="348" y="1308"/>
                  </a:lnTo>
                  <a:lnTo>
                    <a:pt x="348" y="1302"/>
                  </a:lnTo>
                  <a:lnTo>
                    <a:pt x="342" y="1296"/>
                  </a:lnTo>
                  <a:lnTo>
                    <a:pt x="336" y="1296"/>
                  </a:lnTo>
                  <a:lnTo>
                    <a:pt x="336" y="1290"/>
                  </a:lnTo>
                  <a:lnTo>
                    <a:pt x="330" y="1290"/>
                  </a:lnTo>
                  <a:lnTo>
                    <a:pt x="324" y="1290"/>
                  </a:lnTo>
                  <a:lnTo>
                    <a:pt x="324" y="1284"/>
                  </a:lnTo>
                  <a:lnTo>
                    <a:pt x="318" y="1284"/>
                  </a:lnTo>
                  <a:lnTo>
                    <a:pt x="318" y="1278"/>
                  </a:lnTo>
                  <a:lnTo>
                    <a:pt x="312" y="1278"/>
                  </a:lnTo>
                  <a:lnTo>
                    <a:pt x="312" y="1272"/>
                  </a:lnTo>
                  <a:lnTo>
                    <a:pt x="312" y="1278"/>
                  </a:lnTo>
                  <a:lnTo>
                    <a:pt x="318" y="1284"/>
                  </a:lnTo>
                  <a:lnTo>
                    <a:pt x="324" y="1290"/>
                  </a:lnTo>
                  <a:lnTo>
                    <a:pt x="330" y="1290"/>
                  </a:lnTo>
                  <a:lnTo>
                    <a:pt x="330" y="1296"/>
                  </a:lnTo>
                  <a:lnTo>
                    <a:pt x="336" y="1296"/>
                  </a:lnTo>
                  <a:lnTo>
                    <a:pt x="336" y="1302"/>
                  </a:lnTo>
                  <a:lnTo>
                    <a:pt x="342" y="1302"/>
                  </a:lnTo>
                  <a:lnTo>
                    <a:pt x="348" y="1302"/>
                  </a:lnTo>
                  <a:lnTo>
                    <a:pt x="348" y="1308"/>
                  </a:lnTo>
                  <a:lnTo>
                    <a:pt x="348" y="1314"/>
                  </a:lnTo>
                  <a:lnTo>
                    <a:pt x="354" y="1314"/>
                  </a:lnTo>
                  <a:lnTo>
                    <a:pt x="354" y="1320"/>
                  </a:lnTo>
                  <a:lnTo>
                    <a:pt x="354" y="1326"/>
                  </a:lnTo>
                  <a:lnTo>
                    <a:pt x="348" y="1326"/>
                  </a:lnTo>
                  <a:lnTo>
                    <a:pt x="348" y="1332"/>
                  </a:lnTo>
                  <a:lnTo>
                    <a:pt x="348" y="1338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2" y="1350"/>
                  </a:lnTo>
                  <a:lnTo>
                    <a:pt x="336" y="1350"/>
                  </a:lnTo>
                  <a:lnTo>
                    <a:pt x="330" y="1350"/>
                  </a:lnTo>
                  <a:lnTo>
                    <a:pt x="330" y="1356"/>
                  </a:lnTo>
                  <a:lnTo>
                    <a:pt x="330" y="1350"/>
                  </a:lnTo>
                  <a:lnTo>
                    <a:pt x="324" y="1350"/>
                  </a:lnTo>
                  <a:lnTo>
                    <a:pt x="318" y="1344"/>
                  </a:lnTo>
                  <a:lnTo>
                    <a:pt x="318" y="1350"/>
                  </a:lnTo>
                  <a:lnTo>
                    <a:pt x="312" y="1344"/>
                  </a:lnTo>
                  <a:lnTo>
                    <a:pt x="312" y="1338"/>
                  </a:lnTo>
                  <a:lnTo>
                    <a:pt x="306" y="1338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6" y="1326"/>
                  </a:lnTo>
                  <a:lnTo>
                    <a:pt x="306" y="1320"/>
                  </a:lnTo>
                  <a:lnTo>
                    <a:pt x="306" y="1326"/>
                  </a:lnTo>
                  <a:lnTo>
                    <a:pt x="312" y="1326"/>
                  </a:lnTo>
                  <a:lnTo>
                    <a:pt x="312" y="1320"/>
                  </a:lnTo>
                  <a:lnTo>
                    <a:pt x="306" y="1320"/>
                  </a:lnTo>
                  <a:lnTo>
                    <a:pt x="300" y="1320"/>
                  </a:lnTo>
                  <a:lnTo>
                    <a:pt x="294" y="1320"/>
                  </a:lnTo>
                  <a:lnTo>
                    <a:pt x="294" y="1314"/>
                  </a:lnTo>
                  <a:lnTo>
                    <a:pt x="288" y="1314"/>
                  </a:lnTo>
                  <a:lnTo>
                    <a:pt x="288" y="1308"/>
                  </a:lnTo>
                  <a:lnTo>
                    <a:pt x="288" y="1302"/>
                  </a:lnTo>
                  <a:lnTo>
                    <a:pt x="294" y="1302"/>
                  </a:lnTo>
                  <a:lnTo>
                    <a:pt x="294" y="1296"/>
                  </a:lnTo>
                  <a:lnTo>
                    <a:pt x="288" y="1296"/>
                  </a:lnTo>
                  <a:lnTo>
                    <a:pt x="288" y="1290"/>
                  </a:lnTo>
                  <a:lnTo>
                    <a:pt x="288" y="1296"/>
                  </a:lnTo>
                  <a:lnTo>
                    <a:pt x="294" y="1302"/>
                  </a:lnTo>
                  <a:lnTo>
                    <a:pt x="288" y="1302"/>
                  </a:lnTo>
                  <a:lnTo>
                    <a:pt x="282" y="1296"/>
                  </a:lnTo>
                  <a:lnTo>
                    <a:pt x="276" y="1296"/>
                  </a:lnTo>
                  <a:lnTo>
                    <a:pt x="276" y="1290"/>
                  </a:lnTo>
                  <a:lnTo>
                    <a:pt x="270" y="1290"/>
                  </a:lnTo>
                  <a:lnTo>
                    <a:pt x="264" y="1284"/>
                  </a:lnTo>
                  <a:lnTo>
                    <a:pt x="264" y="1278"/>
                  </a:lnTo>
                  <a:lnTo>
                    <a:pt x="264" y="1272"/>
                  </a:lnTo>
                  <a:lnTo>
                    <a:pt x="264" y="1266"/>
                  </a:lnTo>
                  <a:lnTo>
                    <a:pt x="258" y="1266"/>
                  </a:lnTo>
                  <a:lnTo>
                    <a:pt x="252" y="1266"/>
                  </a:lnTo>
                  <a:lnTo>
                    <a:pt x="246" y="1260"/>
                  </a:lnTo>
                  <a:lnTo>
                    <a:pt x="240" y="1254"/>
                  </a:lnTo>
                  <a:lnTo>
                    <a:pt x="240" y="1260"/>
                  </a:lnTo>
                  <a:lnTo>
                    <a:pt x="240" y="1266"/>
                  </a:lnTo>
                  <a:lnTo>
                    <a:pt x="240" y="1272"/>
                  </a:lnTo>
                  <a:lnTo>
                    <a:pt x="246" y="1272"/>
                  </a:lnTo>
                  <a:lnTo>
                    <a:pt x="246" y="1278"/>
                  </a:lnTo>
                  <a:lnTo>
                    <a:pt x="246" y="1284"/>
                  </a:lnTo>
                  <a:lnTo>
                    <a:pt x="252" y="1284"/>
                  </a:lnTo>
                  <a:lnTo>
                    <a:pt x="252" y="1290"/>
                  </a:lnTo>
                  <a:lnTo>
                    <a:pt x="258" y="1296"/>
                  </a:lnTo>
                  <a:lnTo>
                    <a:pt x="264" y="1302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58" y="1314"/>
                  </a:lnTo>
                  <a:lnTo>
                    <a:pt x="258" y="1308"/>
                  </a:lnTo>
                  <a:lnTo>
                    <a:pt x="252" y="1308"/>
                  </a:lnTo>
                  <a:lnTo>
                    <a:pt x="252" y="1302"/>
                  </a:lnTo>
                  <a:lnTo>
                    <a:pt x="246" y="1302"/>
                  </a:lnTo>
                  <a:lnTo>
                    <a:pt x="246" y="1296"/>
                  </a:lnTo>
                  <a:lnTo>
                    <a:pt x="240" y="1296"/>
                  </a:lnTo>
                  <a:lnTo>
                    <a:pt x="240" y="1290"/>
                  </a:lnTo>
                  <a:lnTo>
                    <a:pt x="234" y="1284"/>
                  </a:lnTo>
                  <a:lnTo>
                    <a:pt x="234" y="1278"/>
                  </a:lnTo>
                  <a:close/>
                  <a:moveTo>
                    <a:pt x="444" y="1332"/>
                  </a:moveTo>
                  <a:lnTo>
                    <a:pt x="450" y="1326"/>
                  </a:lnTo>
                  <a:lnTo>
                    <a:pt x="456" y="1326"/>
                  </a:lnTo>
                  <a:lnTo>
                    <a:pt x="456" y="1332"/>
                  </a:lnTo>
                  <a:lnTo>
                    <a:pt x="456" y="1338"/>
                  </a:lnTo>
                  <a:lnTo>
                    <a:pt x="450" y="1338"/>
                  </a:lnTo>
                  <a:lnTo>
                    <a:pt x="444" y="1338"/>
                  </a:lnTo>
                  <a:lnTo>
                    <a:pt x="444" y="1332"/>
                  </a:lnTo>
                  <a:close/>
                  <a:moveTo>
                    <a:pt x="444" y="1368"/>
                  </a:moveTo>
                  <a:lnTo>
                    <a:pt x="456" y="1368"/>
                  </a:lnTo>
                  <a:lnTo>
                    <a:pt x="456" y="1374"/>
                  </a:lnTo>
                  <a:lnTo>
                    <a:pt x="444" y="1374"/>
                  </a:lnTo>
                  <a:lnTo>
                    <a:pt x="444" y="1368"/>
                  </a:lnTo>
                  <a:close/>
                  <a:moveTo>
                    <a:pt x="444" y="1386"/>
                  </a:moveTo>
                  <a:lnTo>
                    <a:pt x="444" y="1380"/>
                  </a:lnTo>
                  <a:lnTo>
                    <a:pt x="444" y="1374"/>
                  </a:lnTo>
                  <a:lnTo>
                    <a:pt x="444" y="1380"/>
                  </a:lnTo>
                  <a:lnTo>
                    <a:pt x="450" y="1380"/>
                  </a:lnTo>
                  <a:lnTo>
                    <a:pt x="456" y="1380"/>
                  </a:lnTo>
                  <a:lnTo>
                    <a:pt x="456" y="1386"/>
                  </a:lnTo>
                  <a:lnTo>
                    <a:pt x="456" y="1392"/>
                  </a:lnTo>
                  <a:lnTo>
                    <a:pt x="462" y="1392"/>
                  </a:lnTo>
                  <a:lnTo>
                    <a:pt x="462" y="1398"/>
                  </a:lnTo>
                  <a:lnTo>
                    <a:pt x="462" y="1404"/>
                  </a:lnTo>
                  <a:lnTo>
                    <a:pt x="456" y="1404"/>
                  </a:lnTo>
                  <a:lnTo>
                    <a:pt x="450" y="1404"/>
                  </a:lnTo>
                  <a:lnTo>
                    <a:pt x="450" y="1398"/>
                  </a:lnTo>
                  <a:lnTo>
                    <a:pt x="444" y="1398"/>
                  </a:lnTo>
                  <a:lnTo>
                    <a:pt x="444" y="1392"/>
                  </a:lnTo>
                  <a:lnTo>
                    <a:pt x="444" y="1386"/>
                  </a:lnTo>
                  <a:close/>
                  <a:moveTo>
                    <a:pt x="438" y="1362"/>
                  </a:moveTo>
                  <a:lnTo>
                    <a:pt x="444" y="1356"/>
                  </a:lnTo>
                  <a:lnTo>
                    <a:pt x="450" y="1356"/>
                  </a:lnTo>
                  <a:lnTo>
                    <a:pt x="450" y="1362"/>
                  </a:lnTo>
                  <a:lnTo>
                    <a:pt x="450" y="1368"/>
                  </a:lnTo>
                  <a:lnTo>
                    <a:pt x="444" y="1368"/>
                  </a:lnTo>
                  <a:lnTo>
                    <a:pt x="444" y="1362"/>
                  </a:lnTo>
                  <a:lnTo>
                    <a:pt x="438" y="1362"/>
                  </a:lnTo>
                  <a:close/>
                  <a:moveTo>
                    <a:pt x="438" y="1350"/>
                  </a:moveTo>
                  <a:lnTo>
                    <a:pt x="438" y="1344"/>
                  </a:lnTo>
                  <a:lnTo>
                    <a:pt x="438" y="1338"/>
                  </a:lnTo>
                  <a:lnTo>
                    <a:pt x="444" y="1338"/>
                  </a:lnTo>
                  <a:lnTo>
                    <a:pt x="450" y="1338"/>
                  </a:lnTo>
                  <a:lnTo>
                    <a:pt x="456" y="1338"/>
                  </a:lnTo>
                  <a:lnTo>
                    <a:pt x="450" y="1344"/>
                  </a:lnTo>
                  <a:lnTo>
                    <a:pt x="444" y="1350"/>
                  </a:lnTo>
                  <a:lnTo>
                    <a:pt x="438" y="1350"/>
                  </a:lnTo>
                  <a:close/>
                  <a:moveTo>
                    <a:pt x="432" y="1380"/>
                  </a:moveTo>
                  <a:lnTo>
                    <a:pt x="432" y="1368"/>
                  </a:lnTo>
                  <a:lnTo>
                    <a:pt x="432" y="1362"/>
                  </a:lnTo>
                  <a:lnTo>
                    <a:pt x="432" y="1356"/>
                  </a:lnTo>
                  <a:lnTo>
                    <a:pt x="438" y="1356"/>
                  </a:lnTo>
                  <a:lnTo>
                    <a:pt x="438" y="1362"/>
                  </a:lnTo>
                  <a:lnTo>
                    <a:pt x="438" y="1368"/>
                  </a:lnTo>
                  <a:lnTo>
                    <a:pt x="438" y="1374"/>
                  </a:lnTo>
                  <a:lnTo>
                    <a:pt x="438" y="1380"/>
                  </a:lnTo>
                  <a:lnTo>
                    <a:pt x="438" y="1386"/>
                  </a:lnTo>
                  <a:lnTo>
                    <a:pt x="438" y="1380"/>
                  </a:lnTo>
                  <a:lnTo>
                    <a:pt x="432" y="1380"/>
                  </a:lnTo>
                  <a:close/>
                  <a:moveTo>
                    <a:pt x="246" y="1272"/>
                  </a:moveTo>
                  <a:lnTo>
                    <a:pt x="252" y="1272"/>
                  </a:lnTo>
                  <a:lnTo>
                    <a:pt x="252" y="1278"/>
                  </a:lnTo>
                  <a:lnTo>
                    <a:pt x="246" y="1278"/>
                  </a:lnTo>
                  <a:lnTo>
                    <a:pt x="246" y="1272"/>
                  </a:lnTo>
                  <a:close/>
                  <a:moveTo>
                    <a:pt x="426" y="1416"/>
                  </a:moveTo>
                  <a:lnTo>
                    <a:pt x="432" y="1410"/>
                  </a:lnTo>
                  <a:lnTo>
                    <a:pt x="438" y="1410"/>
                  </a:lnTo>
                  <a:lnTo>
                    <a:pt x="438" y="1416"/>
                  </a:lnTo>
                  <a:lnTo>
                    <a:pt x="438" y="1422"/>
                  </a:lnTo>
                  <a:lnTo>
                    <a:pt x="432" y="1422"/>
                  </a:lnTo>
                  <a:lnTo>
                    <a:pt x="426" y="1422"/>
                  </a:lnTo>
                  <a:lnTo>
                    <a:pt x="426" y="1416"/>
                  </a:lnTo>
                  <a:close/>
                  <a:moveTo>
                    <a:pt x="246" y="1266"/>
                  </a:moveTo>
                  <a:lnTo>
                    <a:pt x="252" y="1266"/>
                  </a:lnTo>
                  <a:lnTo>
                    <a:pt x="258" y="1272"/>
                  </a:lnTo>
                  <a:lnTo>
                    <a:pt x="258" y="1278"/>
                  </a:lnTo>
                  <a:lnTo>
                    <a:pt x="258" y="1284"/>
                  </a:lnTo>
                  <a:lnTo>
                    <a:pt x="252" y="1284"/>
                  </a:lnTo>
                  <a:lnTo>
                    <a:pt x="252" y="1278"/>
                  </a:lnTo>
                  <a:lnTo>
                    <a:pt x="252" y="1272"/>
                  </a:lnTo>
                  <a:lnTo>
                    <a:pt x="252" y="1266"/>
                  </a:lnTo>
                  <a:lnTo>
                    <a:pt x="246" y="1266"/>
                  </a:lnTo>
                  <a:close/>
                  <a:moveTo>
                    <a:pt x="408" y="1458"/>
                  </a:moveTo>
                  <a:lnTo>
                    <a:pt x="408" y="1452"/>
                  </a:lnTo>
                  <a:lnTo>
                    <a:pt x="414" y="1452"/>
                  </a:lnTo>
                  <a:lnTo>
                    <a:pt x="414" y="1446"/>
                  </a:lnTo>
                  <a:lnTo>
                    <a:pt x="414" y="1440"/>
                  </a:lnTo>
                  <a:lnTo>
                    <a:pt x="420" y="1440"/>
                  </a:lnTo>
                  <a:lnTo>
                    <a:pt x="420" y="1434"/>
                  </a:lnTo>
                  <a:lnTo>
                    <a:pt x="420" y="1428"/>
                  </a:lnTo>
                  <a:lnTo>
                    <a:pt x="420" y="1422"/>
                  </a:lnTo>
                  <a:lnTo>
                    <a:pt x="426" y="1422"/>
                  </a:lnTo>
                  <a:lnTo>
                    <a:pt x="432" y="1428"/>
                  </a:lnTo>
                  <a:lnTo>
                    <a:pt x="438" y="1428"/>
                  </a:lnTo>
                  <a:lnTo>
                    <a:pt x="438" y="1434"/>
                  </a:lnTo>
                  <a:lnTo>
                    <a:pt x="438" y="1428"/>
                  </a:lnTo>
                  <a:lnTo>
                    <a:pt x="438" y="1422"/>
                  </a:lnTo>
                  <a:lnTo>
                    <a:pt x="444" y="1416"/>
                  </a:lnTo>
                  <a:lnTo>
                    <a:pt x="444" y="1410"/>
                  </a:lnTo>
                  <a:lnTo>
                    <a:pt x="450" y="1416"/>
                  </a:lnTo>
                  <a:lnTo>
                    <a:pt x="456" y="1416"/>
                  </a:lnTo>
                  <a:lnTo>
                    <a:pt x="456" y="1422"/>
                  </a:lnTo>
                  <a:lnTo>
                    <a:pt x="456" y="1428"/>
                  </a:lnTo>
                  <a:lnTo>
                    <a:pt x="456" y="1434"/>
                  </a:lnTo>
                  <a:lnTo>
                    <a:pt x="456" y="1440"/>
                  </a:lnTo>
                  <a:lnTo>
                    <a:pt x="462" y="1440"/>
                  </a:lnTo>
                  <a:lnTo>
                    <a:pt x="462" y="1446"/>
                  </a:lnTo>
                  <a:lnTo>
                    <a:pt x="462" y="1452"/>
                  </a:lnTo>
                  <a:lnTo>
                    <a:pt x="456" y="1452"/>
                  </a:lnTo>
                  <a:lnTo>
                    <a:pt x="450" y="1452"/>
                  </a:lnTo>
                  <a:lnTo>
                    <a:pt x="444" y="1446"/>
                  </a:lnTo>
                  <a:lnTo>
                    <a:pt x="444" y="1452"/>
                  </a:lnTo>
                  <a:lnTo>
                    <a:pt x="450" y="1452"/>
                  </a:lnTo>
                  <a:lnTo>
                    <a:pt x="450" y="1458"/>
                  </a:lnTo>
                  <a:lnTo>
                    <a:pt x="444" y="1458"/>
                  </a:lnTo>
                  <a:lnTo>
                    <a:pt x="438" y="1464"/>
                  </a:lnTo>
                  <a:lnTo>
                    <a:pt x="438" y="1458"/>
                  </a:lnTo>
                  <a:lnTo>
                    <a:pt x="432" y="1458"/>
                  </a:lnTo>
                  <a:lnTo>
                    <a:pt x="426" y="1458"/>
                  </a:lnTo>
                  <a:lnTo>
                    <a:pt x="432" y="1458"/>
                  </a:lnTo>
                  <a:lnTo>
                    <a:pt x="438" y="1464"/>
                  </a:lnTo>
                  <a:lnTo>
                    <a:pt x="432" y="1464"/>
                  </a:lnTo>
                  <a:lnTo>
                    <a:pt x="432" y="1470"/>
                  </a:lnTo>
                  <a:lnTo>
                    <a:pt x="426" y="1470"/>
                  </a:lnTo>
                  <a:lnTo>
                    <a:pt x="420" y="1476"/>
                  </a:lnTo>
                  <a:lnTo>
                    <a:pt x="420" y="1470"/>
                  </a:lnTo>
                  <a:lnTo>
                    <a:pt x="414" y="1470"/>
                  </a:lnTo>
                  <a:lnTo>
                    <a:pt x="414" y="1464"/>
                  </a:lnTo>
                  <a:lnTo>
                    <a:pt x="414" y="1458"/>
                  </a:lnTo>
                  <a:lnTo>
                    <a:pt x="408" y="1458"/>
                  </a:lnTo>
                  <a:close/>
                  <a:moveTo>
                    <a:pt x="270" y="1326"/>
                  </a:moveTo>
                  <a:lnTo>
                    <a:pt x="270" y="1320"/>
                  </a:lnTo>
                  <a:lnTo>
                    <a:pt x="276" y="1320"/>
                  </a:lnTo>
                  <a:lnTo>
                    <a:pt x="282" y="1326"/>
                  </a:lnTo>
                  <a:lnTo>
                    <a:pt x="288" y="1326"/>
                  </a:lnTo>
                  <a:lnTo>
                    <a:pt x="288" y="1332"/>
                  </a:lnTo>
                  <a:lnTo>
                    <a:pt x="288" y="1338"/>
                  </a:lnTo>
                  <a:lnTo>
                    <a:pt x="288" y="1344"/>
                  </a:lnTo>
                  <a:lnTo>
                    <a:pt x="282" y="1344"/>
                  </a:lnTo>
                  <a:lnTo>
                    <a:pt x="282" y="1338"/>
                  </a:lnTo>
                  <a:lnTo>
                    <a:pt x="276" y="1338"/>
                  </a:lnTo>
                  <a:lnTo>
                    <a:pt x="276" y="1332"/>
                  </a:lnTo>
                  <a:lnTo>
                    <a:pt x="270" y="1332"/>
                  </a:lnTo>
                  <a:lnTo>
                    <a:pt x="270" y="1326"/>
                  </a:lnTo>
                  <a:close/>
                  <a:moveTo>
                    <a:pt x="288" y="1458"/>
                  </a:moveTo>
                  <a:lnTo>
                    <a:pt x="294" y="1458"/>
                  </a:lnTo>
                  <a:lnTo>
                    <a:pt x="294" y="1452"/>
                  </a:lnTo>
                  <a:lnTo>
                    <a:pt x="294" y="1446"/>
                  </a:lnTo>
                  <a:lnTo>
                    <a:pt x="300" y="1446"/>
                  </a:lnTo>
                  <a:lnTo>
                    <a:pt x="300" y="1440"/>
                  </a:lnTo>
                  <a:lnTo>
                    <a:pt x="306" y="1440"/>
                  </a:lnTo>
                  <a:lnTo>
                    <a:pt x="306" y="1446"/>
                  </a:lnTo>
                  <a:lnTo>
                    <a:pt x="312" y="1452"/>
                  </a:lnTo>
                  <a:lnTo>
                    <a:pt x="306" y="1452"/>
                  </a:lnTo>
                  <a:lnTo>
                    <a:pt x="306" y="1458"/>
                  </a:lnTo>
                  <a:lnTo>
                    <a:pt x="312" y="1464"/>
                  </a:lnTo>
                  <a:lnTo>
                    <a:pt x="306" y="1464"/>
                  </a:lnTo>
                  <a:lnTo>
                    <a:pt x="306" y="1470"/>
                  </a:lnTo>
                  <a:lnTo>
                    <a:pt x="300" y="1476"/>
                  </a:lnTo>
                  <a:lnTo>
                    <a:pt x="294" y="1476"/>
                  </a:lnTo>
                  <a:lnTo>
                    <a:pt x="294" y="1470"/>
                  </a:lnTo>
                  <a:lnTo>
                    <a:pt x="288" y="1470"/>
                  </a:lnTo>
                  <a:lnTo>
                    <a:pt x="288" y="1464"/>
                  </a:lnTo>
                  <a:lnTo>
                    <a:pt x="288" y="1458"/>
                  </a:lnTo>
                  <a:close/>
                  <a:moveTo>
                    <a:pt x="270" y="1296"/>
                  </a:moveTo>
                  <a:lnTo>
                    <a:pt x="276" y="1296"/>
                  </a:lnTo>
                  <a:lnTo>
                    <a:pt x="282" y="1296"/>
                  </a:lnTo>
                  <a:lnTo>
                    <a:pt x="288" y="1296"/>
                  </a:lnTo>
                  <a:lnTo>
                    <a:pt x="288" y="1302"/>
                  </a:lnTo>
                  <a:lnTo>
                    <a:pt x="282" y="1308"/>
                  </a:lnTo>
                  <a:lnTo>
                    <a:pt x="276" y="1308"/>
                  </a:lnTo>
                  <a:lnTo>
                    <a:pt x="276" y="1302"/>
                  </a:lnTo>
                  <a:lnTo>
                    <a:pt x="270" y="129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4" name="Freeform 19">
              <a:extLst>
                <a:ext uri="{FF2B5EF4-FFF2-40B4-BE49-F238E27FC236}">
                  <a16:creationId xmlns:a16="http://schemas.microsoft.com/office/drawing/2014/main" id="{5B9020B8-E1C1-4611-A248-9642BBD69C9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7043" y="3765821"/>
              <a:ext cx="333193" cy="398097"/>
            </a:xfrm>
            <a:custGeom>
              <a:avLst/>
              <a:gdLst>
                <a:gd name="T0" fmla="*/ 30 w 624"/>
                <a:gd name="T1" fmla="*/ 61 h 750"/>
                <a:gd name="T2" fmla="*/ 27 w 624"/>
                <a:gd name="T3" fmla="*/ 62 h 750"/>
                <a:gd name="T4" fmla="*/ 23 w 624"/>
                <a:gd name="T5" fmla="*/ 59 h 750"/>
                <a:gd name="T6" fmla="*/ 20 w 624"/>
                <a:gd name="T7" fmla="*/ 58 h 750"/>
                <a:gd name="T8" fmla="*/ 19 w 624"/>
                <a:gd name="T9" fmla="*/ 56 h 750"/>
                <a:gd name="T10" fmla="*/ 17 w 624"/>
                <a:gd name="T11" fmla="*/ 55 h 750"/>
                <a:gd name="T12" fmla="*/ 16 w 624"/>
                <a:gd name="T13" fmla="*/ 51 h 750"/>
                <a:gd name="T14" fmla="*/ 14 w 624"/>
                <a:gd name="T15" fmla="*/ 48 h 750"/>
                <a:gd name="T16" fmla="*/ 12 w 624"/>
                <a:gd name="T17" fmla="*/ 46 h 750"/>
                <a:gd name="T18" fmla="*/ 12 w 624"/>
                <a:gd name="T19" fmla="*/ 44 h 750"/>
                <a:gd name="T20" fmla="*/ 11 w 624"/>
                <a:gd name="T21" fmla="*/ 41 h 750"/>
                <a:gd name="T22" fmla="*/ 8 w 624"/>
                <a:gd name="T23" fmla="*/ 38 h 750"/>
                <a:gd name="T24" fmla="*/ 6 w 624"/>
                <a:gd name="T25" fmla="*/ 38 h 750"/>
                <a:gd name="T26" fmla="*/ 6 w 624"/>
                <a:gd name="T27" fmla="*/ 35 h 750"/>
                <a:gd name="T28" fmla="*/ 7 w 624"/>
                <a:gd name="T29" fmla="*/ 31 h 750"/>
                <a:gd name="T30" fmla="*/ 10 w 624"/>
                <a:gd name="T31" fmla="*/ 27 h 750"/>
                <a:gd name="T32" fmla="*/ 8 w 624"/>
                <a:gd name="T33" fmla="*/ 23 h 750"/>
                <a:gd name="T34" fmla="*/ 6 w 624"/>
                <a:gd name="T35" fmla="*/ 23 h 750"/>
                <a:gd name="T36" fmla="*/ 3 w 624"/>
                <a:gd name="T37" fmla="*/ 22 h 750"/>
                <a:gd name="T38" fmla="*/ 0 w 624"/>
                <a:gd name="T39" fmla="*/ 22 h 750"/>
                <a:gd name="T40" fmla="*/ 0 w 624"/>
                <a:gd name="T41" fmla="*/ 19 h 750"/>
                <a:gd name="T42" fmla="*/ 1 w 624"/>
                <a:gd name="T43" fmla="*/ 18 h 750"/>
                <a:gd name="T44" fmla="*/ 2 w 624"/>
                <a:gd name="T45" fmla="*/ 14 h 750"/>
                <a:gd name="T46" fmla="*/ 4 w 624"/>
                <a:gd name="T47" fmla="*/ 17 h 750"/>
                <a:gd name="T48" fmla="*/ 6 w 624"/>
                <a:gd name="T49" fmla="*/ 17 h 750"/>
                <a:gd name="T50" fmla="*/ 7 w 624"/>
                <a:gd name="T51" fmla="*/ 17 h 750"/>
                <a:gd name="T52" fmla="*/ 9 w 624"/>
                <a:gd name="T53" fmla="*/ 15 h 750"/>
                <a:gd name="T54" fmla="*/ 10 w 624"/>
                <a:gd name="T55" fmla="*/ 14 h 750"/>
                <a:gd name="T56" fmla="*/ 11 w 624"/>
                <a:gd name="T57" fmla="*/ 12 h 750"/>
                <a:gd name="T58" fmla="*/ 13 w 624"/>
                <a:gd name="T59" fmla="*/ 12 h 750"/>
                <a:gd name="T60" fmla="*/ 18 w 624"/>
                <a:gd name="T61" fmla="*/ 10 h 750"/>
                <a:gd name="T62" fmla="*/ 22 w 624"/>
                <a:gd name="T63" fmla="*/ 4 h 750"/>
                <a:gd name="T64" fmla="*/ 24 w 624"/>
                <a:gd name="T65" fmla="*/ 4 h 750"/>
                <a:gd name="T66" fmla="*/ 26 w 624"/>
                <a:gd name="T67" fmla="*/ 2 h 750"/>
                <a:gd name="T68" fmla="*/ 29 w 624"/>
                <a:gd name="T69" fmla="*/ 0 h 750"/>
                <a:gd name="T70" fmla="*/ 32 w 624"/>
                <a:gd name="T71" fmla="*/ 2 h 750"/>
                <a:gd name="T72" fmla="*/ 34 w 624"/>
                <a:gd name="T73" fmla="*/ 5 h 750"/>
                <a:gd name="T74" fmla="*/ 35 w 624"/>
                <a:gd name="T75" fmla="*/ 8 h 750"/>
                <a:gd name="T76" fmla="*/ 39 w 624"/>
                <a:gd name="T77" fmla="*/ 11 h 750"/>
                <a:gd name="T78" fmla="*/ 42 w 624"/>
                <a:gd name="T79" fmla="*/ 14 h 750"/>
                <a:gd name="T80" fmla="*/ 46 w 624"/>
                <a:gd name="T81" fmla="*/ 12 h 750"/>
                <a:gd name="T82" fmla="*/ 49 w 624"/>
                <a:gd name="T83" fmla="*/ 12 h 750"/>
                <a:gd name="T84" fmla="*/ 51 w 624"/>
                <a:gd name="T85" fmla="*/ 12 h 750"/>
                <a:gd name="T86" fmla="*/ 53 w 624"/>
                <a:gd name="T87" fmla="*/ 12 h 750"/>
                <a:gd name="T88" fmla="*/ 53 w 624"/>
                <a:gd name="T89" fmla="*/ 17 h 750"/>
                <a:gd name="T90" fmla="*/ 51 w 624"/>
                <a:gd name="T91" fmla="*/ 20 h 750"/>
                <a:gd name="T92" fmla="*/ 49 w 624"/>
                <a:gd name="T93" fmla="*/ 26 h 750"/>
                <a:gd name="T94" fmla="*/ 47 w 624"/>
                <a:gd name="T95" fmla="*/ 26 h 750"/>
                <a:gd name="T96" fmla="*/ 44 w 624"/>
                <a:gd name="T97" fmla="*/ 26 h 750"/>
                <a:gd name="T98" fmla="*/ 43 w 624"/>
                <a:gd name="T99" fmla="*/ 27 h 750"/>
                <a:gd name="T100" fmla="*/ 45 w 624"/>
                <a:gd name="T101" fmla="*/ 32 h 750"/>
                <a:gd name="T102" fmla="*/ 44 w 624"/>
                <a:gd name="T103" fmla="*/ 43 h 750"/>
                <a:gd name="T104" fmla="*/ 44 w 624"/>
                <a:gd name="T105" fmla="*/ 47 h 750"/>
                <a:gd name="T106" fmla="*/ 44 w 624"/>
                <a:gd name="T107" fmla="*/ 54 h 750"/>
                <a:gd name="T108" fmla="*/ 41 w 624"/>
                <a:gd name="T109" fmla="*/ 60 h 750"/>
                <a:gd name="T110" fmla="*/ 42 w 624"/>
                <a:gd name="T111" fmla="*/ 62 h 750"/>
                <a:gd name="T112" fmla="*/ 43 w 624"/>
                <a:gd name="T113" fmla="*/ 65 h 750"/>
                <a:gd name="T114" fmla="*/ 39 w 624"/>
                <a:gd name="T115" fmla="*/ 63 h 750"/>
                <a:gd name="T116" fmla="*/ 35 w 624"/>
                <a:gd name="T117" fmla="*/ 62 h 75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24"/>
                <a:gd name="T178" fmla="*/ 0 h 750"/>
                <a:gd name="T179" fmla="*/ 624 w 624"/>
                <a:gd name="T180" fmla="*/ 750 h 75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24" h="750">
                  <a:moveTo>
                    <a:pt x="390" y="702"/>
                  </a:moveTo>
                  <a:lnTo>
                    <a:pt x="372" y="696"/>
                  </a:lnTo>
                  <a:lnTo>
                    <a:pt x="360" y="702"/>
                  </a:lnTo>
                  <a:lnTo>
                    <a:pt x="348" y="702"/>
                  </a:lnTo>
                  <a:lnTo>
                    <a:pt x="336" y="702"/>
                  </a:lnTo>
                  <a:lnTo>
                    <a:pt x="330" y="702"/>
                  </a:lnTo>
                  <a:lnTo>
                    <a:pt x="318" y="708"/>
                  </a:lnTo>
                  <a:lnTo>
                    <a:pt x="306" y="708"/>
                  </a:lnTo>
                  <a:lnTo>
                    <a:pt x="294" y="690"/>
                  </a:lnTo>
                  <a:lnTo>
                    <a:pt x="294" y="684"/>
                  </a:lnTo>
                  <a:lnTo>
                    <a:pt x="276" y="684"/>
                  </a:lnTo>
                  <a:lnTo>
                    <a:pt x="270" y="678"/>
                  </a:lnTo>
                  <a:lnTo>
                    <a:pt x="240" y="672"/>
                  </a:lnTo>
                  <a:lnTo>
                    <a:pt x="234" y="672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6"/>
                  </a:lnTo>
                  <a:lnTo>
                    <a:pt x="216" y="660"/>
                  </a:lnTo>
                  <a:lnTo>
                    <a:pt x="216" y="654"/>
                  </a:lnTo>
                  <a:lnTo>
                    <a:pt x="216" y="642"/>
                  </a:lnTo>
                  <a:lnTo>
                    <a:pt x="210" y="642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36"/>
                  </a:lnTo>
                  <a:lnTo>
                    <a:pt x="192" y="624"/>
                  </a:lnTo>
                  <a:lnTo>
                    <a:pt x="186" y="612"/>
                  </a:lnTo>
                  <a:lnTo>
                    <a:pt x="186" y="600"/>
                  </a:lnTo>
                  <a:lnTo>
                    <a:pt x="186" y="588"/>
                  </a:lnTo>
                  <a:lnTo>
                    <a:pt x="180" y="582"/>
                  </a:lnTo>
                  <a:lnTo>
                    <a:pt x="180" y="570"/>
                  </a:lnTo>
                  <a:lnTo>
                    <a:pt x="174" y="558"/>
                  </a:lnTo>
                  <a:lnTo>
                    <a:pt x="162" y="558"/>
                  </a:lnTo>
                  <a:lnTo>
                    <a:pt x="144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38" y="534"/>
                  </a:lnTo>
                  <a:lnTo>
                    <a:pt x="138" y="528"/>
                  </a:lnTo>
                  <a:lnTo>
                    <a:pt x="132" y="522"/>
                  </a:lnTo>
                  <a:lnTo>
                    <a:pt x="144" y="522"/>
                  </a:lnTo>
                  <a:lnTo>
                    <a:pt x="144" y="510"/>
                  </a:lnTo>
                  <a:lnTo>
                    <a:pt x="144" y="504"/>
                  </a:lnTo>
                  <a:lnTo>
                    <a:pt x="138" y="492"/>
                  </a:lnTo>
                  <a:lnTo>
                    <a:pt x="138" y="474"/>
                  </a:lnTo>
                  <a:lnTo>
                    <a:pt x="126" y="468"/>
                  </a:lnTo>
                  <a:lnTo>
                    <a:pt x="120" y="456"/>
                  </a:lnTo>
                  <a:lnTo>
                    <a:pt x="114" y="450"/>
                  </a:lnTo>
                  <a:lnTo>
                    <a:pt x="108" y="438"/>
                  </a:lnTo>
                  <a:lnTo>
                    <a:pt x="96" y="432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60" y="426"/>
                  </a:lnTo>
                  <a:lnTo>
                    <a:pt x="66" y="420"/>
                  </a:lnTo>
                  <a:lnTo>
                    <a:pt x="66" y="408"/>
                  </a:lnTo>
                  <a:lnTo>
                    <a:pt x="72" y="408"/>
                  </a:lnTo>
                  <a:lnTo>
                    <a:pt x="72" y="384"/>
                  </a:lnTo>
                  <a:lnTo>
                    <a:pt x="72" y="366"/>
                  </a:lnTo>
                  <a:lnTo>
                    <a:pt x="78" y="354"/>
                  </a:lnTo>
                  <a:lnTo>
                    <a:pt x="84" y="354"/>
                  </a:lnTo>
                  <a:lnTo>
                    <a:pt x="90" y="348"/>
                  </a:lnTo>
                  <a:lnTo>
                    <a:pt x="102" y="336"/>
                  </a:lnTo>
                  <a:lnTo>
                    <a:pt x="114" y="324"/>
                  </a:lnTo>
                  <a:lnTo>
                    <a:pt x="120" y="312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20" y="276"/>
                  </a:lnTo>
                  <a:lnTo>
                    <a:pt x="96" y="270"/>
                  </a:lnTo>
                  <a:lnTo>
                    <a:pt x="84" y="270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72" y="264"/>
                  </a:lnTo>
                  <a:lnTo>
                    <a:pt x="60" y="252"/>
                  </a:lnTo>
                  <a:lnTo>
                    <a:pt x="42" y="252"/>
                  </a:lnTo>
                  <a:lnTo>
                    <a:pt x="42" y="258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18" y="252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42" y="156"/>
                  </a:lnTo>
                  <a:lnTo>
                    <a:pt x="48" y="198"/>
                  </a:lnTo>
                  <a:lnTo>
                    <a:pt x="48" y="204"/>
                  </a:lnTo>
                  <a:lnTo>
                    <a:pt x="54" y="198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204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192"/>
                  </a:lnTo>
                  <a:lnTo>
                    <a:pt x="96" y="186"/>
                  </a:lnTo>
                  <a:lnTo>
                    <a:pt x="102" y="180"/>
                  </a:lnTo>
                  <a:lnTo>
                    <a:pt x="102" y="174"/>
                  </a:lnTo>
                  <a:lnTo>
                    <a:pt x="108" y="168"/>
                  </a:lnTo>
                  <a:lnTo>
                    <a:pt x="108" y="162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0"/>
                  </a:lnTo>
                  <a:lnTo>
                    <a:pt x="132" y="144"/>
                  </a:lnTo>
                  <a:lnTo>
                    <a:pt x="138" y="138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0" y="132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74" y="126"/>
                  </a:lnTo>
                  <a:lnTo>
                    <a:pt x="204" y="120"/>
                  </a:lnTo>
                  <a:lnTo>
                    <a:pt x="210" y="78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54"/>
                  </a:lnTo>
                  <a:lnTo>
                    <a:pt x="276" y="54"/>
                  </a:lnTo>
                  <a:lnTo>
                    <a:pt x="276" y="48"/>
                  </a:lnTo>
                  <a:lnTo>
                    <a:pt x="282" y="48"/>
                  </a:lnTo>
                  <a:lnTo>
                    <a:pt x="288" y="42"/>
                  </a:lnTo>
                  <a:lnTo>
                    <a:pt x="294" y="42"/>
                  </a:lnTo>
                  <a:lnTo>
                    <a:pt x="294" y="18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0"/>
                  </a:lnTo>
                  <a:lnTo>
                    <a:pt x="336" y="0"/>
                  </a:lnTo>
                  <a:lnTo>
                    <a:pt x="342" y="0"/>
                  </a:lnTo>
                  <a:lnTo>
                    <a:pt x="354" y="6"/>
                  </a:lnTo>
                  <a:lnTo>
                    <a:pt x="366" y="18"/>
                  </a:lnTo>
                  <a:lnTo>
                    <a:pt x="378" y="36"/>
                  </a:lnTo>
                  <a:lnTo>
                    <a:pt x="390" y="42"/>
                  </a:lnTo>
                  <a:lnTo>
                    <a:pt x="390" y="48"/>
                  </a:lnTo>
                  <a:lnTo>
                    <a:pt x="396" y="60"/>
                  </a:lnTo>
                  <a:lnTo>
                    <a:pt x="402" y="72"/>
                  </a:lnTo>
                  <a:lnTo>
                    <a:pt x="408" y="78"/>
                  </a:lnTo>
                  <a:lnTo>
                    <a:pt x="402" y="84"/>
                  </a:lnTo>
                  <a:lnTo>
                    <a:pt x="408" y="90"/>
                  </a:lnTo>
                  <a:lnTo>
                    <a:pt x="414" y="102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50" y="126"/>
                  </a:lnTo>
                  <a:lnTo>
                    <a:pt x="456" y="126"/>
                  </a:lnTo>
                  <a:lnTo>
                    <a:pt x="462" y="144"/>
                  </a:lnTo>
                  <a:lnTo>
                    <a:pt x="480" y="156"/>
                  </a:lnTo>
                  <a:lnTo>
                    <a:pt x="492" y="156"/>
                  </a:lnTo>
                  <a:lnTo>
                    <a:pt x="516" y="150"/>
                  </a:lnTo>
                  <a:lnTo>
                    <a:pt x="516" y="144"/>
                  </a:lnTo>
                  <a:lnTo>
                    <a:pt x="516" y="138"/>
                  </a:lnTo>
                  <a:lnTo>
                    <a:pt x="528" y="138"/>
                  </a:lnTo>
                  <a:lnTo>
                    <a:pt x="546" y="144"/>
                  </a:lnTo>
                  <a:lnTo>
                    <a:pt x="546" y="138"/>
                  </a:lnTo>
                  <a:lnTo>
                    <a:pt x="552" y="138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76" y="138"/>
                  </a:lnTo>
                  <a:lnTo>
                    <a:pt x="582" y="138"/>
                  </a:lnTo>
                  <a:lnTo>
                    <a:pt x="588" y="138"/>
                  </a:lnTo>
                  <a:lnTo>
                    <a:pt x="594" y="138"/>
                  </a:lnTo>
                  <a:lnTo>
                    <a:pt x="594" y="144"/>
                  </a:lnTo>
                  <a:lnTo>
                    <a:pt x="600" y="138"/>
                  </a:lnTo>
                  <a:lnTo>
                    <a:pt x="606" y="138"/>
                  </a:lnTo>
                  <a:lnTo>
                    <a:pt x="606" y="144"/>
                  </a:lnTo>
                  <a:lnTo>
                    <a:pt x="612" y="144"/>
                  </a:lnTo>
                  <a:lnTo>
                    <a:pt x="618" y="156"/>
                  </a:lnTo>
                  <a:lnTo>
                    <a:pt x="612" y="198"/>
                  </a:lnTo>
                  <a:lnTo>
                    <a:pt x="624" y="198"/>
                  </a:lnTo>
                  <a:lnTo>
                    <a:pt x="624" y="204"/>
                  </a:lnTo>
                  <a:lnTo>
                    <a:pt x="612" y="216"/>
                  </a:lnTo>
                  <a:lnTo>
                    <a:pt x="594" y="234"/>
                  </a:lnTo>
                  <a:lnTo>
                    <a:pt x="588" y="252"/>
                  </a:lnTo>
                  <a:lnTo>
                    <a:pt x="576" y="270"/>
                  </a:lnTo>
                  <a:lnTo>
                    <a:pt x="564" y="282"/>
                  </a:lnTo>
                  <a:lnTo>
                    <a:pt x="564" y="294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8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34" y="294"/>
                  </a:lnTo>
                  <a:lnTo>
                    <a:pt x="522" y="300"/>
                  </a:lnTo>
                  <a:lnTo>
                    <a:pt x="510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498" y="324"/>
                  </a:lnTo>
                  <a:lnTo>
                    <a:pt x="504" y="336"/>
                  </a:lnTo>
                  <a:lnTo>
                    <a:pt x="510" y="348"/>
                  </a:lnTo>
                  <a:lnTo>
                    <a:pt x="516" y="366"/>
                  </a:lnTo>
                  <a:lnTo>
                    <a:pt x="522" y="432"/>
                  </a:lnTo>
                  <a:lnTo>
                    <a:pt x="522" y="456"/>
                  </a:lnTo>
                  <a:lnTo>
                    <a:pt x="504" y="492"/>
                  </a:lnTo>
                  <a:lnTo>
                    <a:pt x="504" y="498"/>
                  </a:lnTo>
                  <a:lnTo>
                    <a:pt x="498" y="504"/>
                  </a:lnTo>
                  <a:lnTo>
                    <a:pt x="498" y="522"/>
                  </a:lnTo>
                  <a:lnTo>
                    <a:pt x="504" y="534"/>
                  </a:lnTo>
                  <a:lnTo>
                    <a:pt x="510" y="546"/>
                  </a:lnTo>
                  <a:lnTo>
                    <a:pt x="516" y="558"/>
                  </a:lnTo>
                  <a:lnTo>
                    <a:pt x="516" y="588"/>
                  </a:lnTo>
                  <a:lnTo>
                    <a:pt x="516" y="600"/>
                  </a:lnTo>
                  <a:lnTo>
                    <a:pt x="510" y="618"/>
                  </a:lnTo>
                  <a:lnTo>
                    <a:pt x="504" y="636"/>
                  </a:lnTo>
                  <a:lnTo>
                    <a:pt x="504" y="642"/>
                  </a:lnTo>
                  <a:lnTo>
                    <a:pt x="474" y="654"/>
                  </a:lnTo>
                  <a:lnTo>
                    <a:pt x="474" y="690"/>
                  </a:lnTo>
                  <a:lnTo>
                    <a:pt x="474" y="696"/>
                  </a:lnTo>
                  <a:lnTo>
                    <a:pt x="480" y="702"/>
                  </a:lnTo>
                  <a:lnTo>
                    <a:pt x="486" y="708"/>
                  </a:lnTo>
                  <a:lnTo>
                    <a:pt x="492" y="708"/>
                  </a:lnTo>
                  <a:lnTo>
                    <a:pt x="498" y="726"/>
                  </a:lnTo>
                  <a:lnTo>
                    <a:pt x="504" y="726"/>
                  </a:lnTo>
                  <a:lnTo>
                    <a:pt x="504" y="738"/>
                  </a:lnTo>
                  <a:lnTo>
                    <a:pt x="498" y="744"/>
                  </a:lnTo>
                  <a:lnTo>
                    <a:pt x="486" y="750"/>
                  </a:lnTo>
                  <a:lnTo>
                    <a:pt x="474" y="744"/>
                  </a:lnTo>
                  <a:lnTo>
                    <a:pt x="462" y="744"/>
                  </a:lnTo>
                  <a:lnTo>
                    <a:pt x="456" y="732"/>
                  </a:lnTo>
                  <a:lnTo>
                    <a:pt x="444" y="732"/>
                  </a:lnTo>
                  <a:lnTo>
                    <a:pt x="432" y="726"/>
                  </a:lnTo>
                  <a:lnTo>
                    <a:pt x="420" y="720"/>
                  </a:lnTo>
                  <a:lnTo>
                    <a:pt x="408" y="708"/>
                  </a:lnTo>
                  <a:lnTo>
                    <a:pt x="402" y="708"/>
                  </a:lnTo>
                  <a:lnTo>
                    <a:pt x="390" y="70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5" name="Freeform 20">
              <a:extLst>
                <a:ext uri="{FF2B5EF4-FFF2-40B4-BE49-F238E27FC236}">
                  <a16:creationId xmlns:a16="http://schemas.microsoft.com/office/drawing/2014/main" id="{B8342C3B-ECEC-465F-AAFF-4815B8AC392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870937"/>
              <a:ext cx="313067" cy="377968"/>
            </a:xfrm>
            <a:custGeom>
              <a:avLst/>
              <a:gdLst>
                <a:gd name="T0" fmla="*/ 15 w 588"/>
                <a:gd name="T1" fmla="*/ 59 h 714"/>
                <a:gd name="T2" fmla="*/ 14 w 588"/>
                <a:gd name="T3" fmla="*/ 58 h 714"/>
                <a:gd name="T4" fmla="*/ 9 w 588"/>
                <a:gd name="T5" fmla="*/ 54 h 714"/>
                <a:gd name="T6" fmla="*/ 4 w 588"/>
                <a:gd name="T7" fmla="*/ 54 h 714"/>
                <a:gd name="T8" fmla="*/ 0 w 588"/>
                <a:gd name="T9" fmla="*/ 50 h 714"/>
                <a:gd name="T10" fmla="*/ 0 w 588"/>
                <a:gd name="T11" fmla="*/ 44 h 714"/>
                <a:gd name="T12" fmla="*/ 4 w 588"/>
                <a:gd name="T13" fmla="*/ 46 h 714"/>
                <a:gd name="T14" fmla="*/ 7 w 588"/>
                <a:gd name="T15" fmla="*/ 47 h 714"/>
                <a:gd name="T16" fmla="*/ 10 w 588"/>
                <a:gd name="T17" fmla="*/ 46 h 714"/>
                <a:gd name="T18" fmla="*/ 8 w 588"/>
                <a:gd name="T19" fmla="*/ 44 h 714"/>
                <a:gd name="T20" fmla="*/ 10 w 588"/>
                <a:gd name="T21" fmla="*/ 39 h 714"/>
                <a:gd name="T22" fmla="*/ 11 w 588"/>
                <a:gd name="T23" fmla="*/ 34 h 714"/>
                <a:gd name="T24" fmla="*/ 9 w 588"/>
                <a:gd name="T25" fmla="*/ 28 h 714"/>
                <a:gd name="T26" fmla="*/ 11 w 588"/>
                <a:gd name="T27" fmla="*/ 22 h 714"/>
                <a:gd name="T28" fmla="*/ 10 w 588"/>
                <a:gd name="T29" fmla="*/ 12 h 714"/>
                <a:gd name="T30" fmla="*/ 9 w 588"/>
                <a:gd name="T31" fmla="*/ 9 h 714"/>
                <a:gd name="T32" fmla="*/ 12 w 588"/>
                <a:gd name="T33" fmla="*/ 8 h 714"/>
                <a:gd name="T34" fmla="*/ 14 w 588"/>
                <a:gd name="T35" fmla="*/ 7 h 714"/>
                <a:gd name="T36" fmla="*/ 17 w 588"/>
                <a:gd name="T37" fmla="*/ 10 h 714"/>
                <a:gd name="T38" fmla="*/ 23 w 588"/>
                <a:gd name="T39" fmla="*/ 14 h 714"/>
                <a:gd name="T40" fmla="*/ 28 w 588"/>
                <a:gd name="T41" fmla="*/ 4 h 714"/>
                <a:gd name="T42" fmla="*/ 35 w 588"/>
                <a:gd name="T43" fmla="*/ 2 h 714"/>
                <a:gd name="T44" fmla="*/ 38 w 588"/>
                <a:gd name="T45" fmla="*/ 0 h 714"/>
                <a:gd name="T46" fmla="*/ 40 w 588"/>
                <a:gd name="T47" fmla="*/ 2 h 714"/>
                <a:gd name="T48" fmla="*/ 39 w 588"/>
                <a:gd name="T49" fmla="*/ 4 h 714"/>
                <a:gd name="T50" fmla="*/ 41 w 588"/>
                <a:gd name="T51" fmla="*/ 5 h 714"/>
                <a:gd name="T52" fmla="*/ 42 w 588"/>
                <a:gd name="T53" fmla="*/ 7 h 714"/>
                <a:gd name="T54" fmla="*/ 43 w 588"/>
                <a:gd name="T55" fmla="*/ 9 h 714"/>
                <a:gd name="T56" fmla="*/ 43 w 588"/>
                <a:gd name="T57" fmla="*/ 10 h 714"/>
                <a:gd name="T58" fmla="*/ 43 w 588"/>
                <a:gd name="T59" fmla="*/ 12 h 714"/>
                <a:gd name="T60" fmla="*/ 44 w 588"/>
                <a:gd name="T61" fmla="*/ 12 h 714"/>
                <a:gd name="T62" fmla="*/ 46 w 588"/>
                <a:gd name="T63" fmla="*/ 13 h 714"/>
                <a:gd name="T64" fmla="*/ 47 w 588"/>
                <a:gd name="T65" fmla="*/ 14 h 714"/>
                <a:gd name="T66" fmla="*/ 48 w 588"/>
                <a:gd name="T67" fmla="*/ 15 h 714"/>
                <a:gd name="T68" fmla="*/ 49 w 588"/>
                <a:gd name="T69" fmla="*/ 15 h 714"/>
                <a:gd name="T70" fmla="*/ 48 w 588"/>
                <a:gd name="T71" fmla="*/ 17 h 714"/>
                <a:gd name="T72" fmla="*/ 49 w 588"/>
                <a:gd name="T73" fmla="*/ 19 h 714"/>
                <a:gd name="T74" fmla="*/ 49 w 588"/>
                <a:gd name="T75" fmla="*/ 20 h 714"/>
                <a:gd name="T76" fmla="*/ 51 w 588"/>
                <a:gd name="T77" fmla="*/ 21 h 714"/>
                <a:gd name="T78" fmla="*/ 50 w 588"/>
                <a:gd name="T79" fmla="*/ 22 h 714"/>
                <a:gd name="T80" fmla="*/ 47 w 588"/>
                <a:gd name="T81" fmla="*/ 23 h 714"/>
                <a:gd name="T82" fmla="*/ 47 w 588"/>
                <a:gd name="T83" fmla="*/ 26 h 714"/>
                <a:gd name="T84" fmla="*/ 47 w 588"/>
                <a:gd name="T85" fmla="*/ 32 h 714"/>
                <a:gd name="T86" fmla="*/ 44 w 588"/>
                <a:gd name="T87" fmla="*/ 35 h 714"/>
                <a:gd name="T88" fmla="*/ 42 w 588"/>
                <a:gd name="T89" fmla="*/ 39 h 714"/>
                <a:gd name="T90" fmla="*/ 42 w 588"/>
                <a:gd name="T91" fmla="*/ 41 h 714"/>
                <a:gd name="T92" fmla="*/ 42 w 588"/>
                <a:gd name="T93" fmla="*/ 42 h 714"/>
                <a:gd name="T94" fmla="*/ 41 w 588"/>
                <a:gd name="T95" fmla="*/ 44 h 714"/>
                <a:gd name="T96" fmla="*/ 39 w 588"/>
                <a:gd name="T97" fmla="*/ 43 h 714"/>
                <a:gd name="T98" fmla="*/ 37 w 588"/>
                <a:gd name="T99" fmla="*/ 44 h 714"/>
                <a:gd name="T100" fmla="*/ 35 w 588"/>
                <a:gd name="T101" fmla="*/ 46 h 714"/>
                <a:gd name="T102" fmla="*/ 31 w 588"/>
                <a:gd name="T103" fmla="*/ 45 h 714"/>
                <a:gd name="T104" fmla="*/ 24 w 588"/>
                <a:gd name="T105" fmla="*/ 45 h 714"/>
                <a:gd name="T106" fmla="*/ 25 w 588"/>
                <a:gd name="T107" fmla="*/ 47 h 714"/>
                <a:gd name="T108" fmla="*/ 25 w 588"/>
                <a:gd name="T109" fmla="*/ 49 h 714"/>
                <a:gd name="T110" fmla="*/ 25 w 588"/>
                <a:gd name="T111" fmla="*/ 50 h 714"/>
                <a:gd name="T112" fmla="*/ 24 w 588"/>
                <a:gd name="T113" fmla="*/ 51 h 714"/>
                <a:gd name="T114" fmla="*/ 22 w 588"/>
                <a:gd name="T115" fmla="*/ 53 h 714"/>
                <a:gd name="T116" fmla="*/ 23 w 588"/>
                <a:gd name="T117" fmla="*/ 56 h 714"/>
                <a:gd name="T118" fmla="*/ 20 w 588"/>
                <a:gd name="T119" fmla="*/ 58 h 714"/>
                <a:gd name="T120" fmla="*/ 19 w 588"/>
                <a:gd name="T121" fmla="*/ 62 h 7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8"/>
                <a:gd name="T184" fmla="*/ 0 h 714"/>
                <a:gd name="T185" fmla="*/ 588 w 588"/>
                <a:gd name="T186" fmla="*/ 714 h 7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8" h="714">
                  <a:moveTo>
                    <a:pt x="216" y="714"/>
                  </a:moveTo>
                  <a:lnTo>
                    <a:pt x="198" y="702"/>
                  </a:lnTo>
                  <a:lnTo>
                    <a:pt x="186" y="696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74" y="678"/>
                  </a:lnTo>
                  <a:lnTo>
                    <a:pt x="168" y="672"/>
                  </a:lnTo>
                  <a:lnTo>
                    <a:pt x="162" y="666"/>
                  </a:lnTo>
                  <a:lnTo>
                    <a:pt x="156" y="636"/>
                  </a:lnTo>
                  <a:lnTo>
                    <a:pt x="144" y="630"/>
                  </a:lnTo>
                  <a:lnTo>
                    <a:pt x="108" y="630"/>
                  </a:lnTo>
                  <a:lnTo>
                    <a:pt x="102" y="624"/>
                  </a:lnTo>
                  <a:lnTo>
                    <a:pt x="96" y="624"/>
                  </a:lnTo>
                  <a:lnTo>
                    <a:pt x="72" y="624"/>
                  </a:lnTo>
                  <a:lnTo>
                    <a:pt x="54" y="624"/>
                  </a:lnTo>
                  <a:lnTo>
                    <a:pt x="42" y="618"/>
                  </a:lnTo>
                  <a:lnTo>
                    <a:pt x="30" y="612"/>
                  </a:lnTo>
                  <a:lnTo>
                    <a:pt x="6" y="606"/>
                  </a:lnTo>
                  <a:lnTo>
                    <a:pt x="0" y="606"/>
                  </a:lnTo>
                  <a:lnTo>
                    <a:pt x="0" y="570"/>
                  </a:lnTo>
                  <a:lnTo>
                    <a:pt x="6" y="552"/>
                  </a:lnTo>
                  <a:lnTo>
                    <a:pt x="6" y="522"/>
                  </a:lnTo>
                  <a:lnTo>
                    <a:pt x="0" y="510"/>
                  </a:lnTo>
                  <a:lnTo>
                    <a:pt x="0" y="504"/>
                  </a:lnTo>
                  <a:lnTo>
                    <a:pt x="12" y="510"/>
                  </a:lnTo>
                  <a:lnTo>
                    <a:pt x="18" y="510"/>
                  </a:lnTo>
                  <a:lnTo>
                    <a:pt x="30" y="522"/>
                  </a:lnTo>
                  <a:lnTo>
                    <a:pt x="42" y="528"/>
                  </a:lnTo>
                  <a:lnTo>
                    <a:pt x="54" y="534"/>
                  </a:lnTo>
                  <a:lnTo>
                    <a:pt x="66" y="534"/>
                  </a:lnTo>
                  <a:lnTo>
                    <a:pt x="72" y="546"/>
                  </a:lnTo>
                  <a:lnTo>
                    <a:pt x="84" y="546"/>
                  </a:lnTo>
                  <a:lnTo>
                    <a:pt x="96" y="552"/>
                  </a:lnTo>
                  <a:lnTo>
                    <a:pt x="108" y="546"/>
                  </a:lnTo>
                  <a:lnTo>
                    <a:pt x="114" y="540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90" y="504"/>
                  </a:lnTo>
                  <a:lnTo>
                    <a:pt x="84" y="498"/>
                  </a:lnTo>
                  <a:lnTo>
                    <a:pt x="84" y="492"/>
                  </a:lnTo>
                  <a:lnTo>
                    <a:pt x="84" y="456"/>
                  </a:lnTo>
                  <a:lnTo>
                    <a:pt x="114" y="444"/>
                  </a:lnTo>
                  <a:lnTo>
                    <a:pt x="114" y="438"/>
                  </a:lnTo>
                  <a:lnTo>
                    <a:pt x="120" y="420"/>
                  </a:lnTo>
                  <a:lnTo>
                    <a:pt x="126" y="402"/>
                  </a:lnTo>
                  <a:lnTo>
                    <a:pt x="126" y="390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14" y="336"/>
                  </a:lnTo>
                  <a:lnTo>
                    <a:pt x="108" y="324"/>
                  </a:lnTo>
                  <a:lnTo>
                    <a:pt x="108" y="306"/>
                  </a:lnTo>
                  <a:lnTo>
                    <a:pt x="114" y="300"/>
                  </a:lnTo>
                  <a:lnTo>
                    <a:pt x="114" y="294"/>
                  </a:lnTo>
                  <a:lnTo>
                    <a:pt x="132" y="258"/>
                  </a:lnTo>
                  <a:lnTo>
                    <a:pt x="132" y="234"/>
                  </a:lnTo>
                  <a:lnTo>
                    <a:pt x="126" y="168"/>
                  </a:lnTo>
                  <a:lnTo>
                    <a:pt x="120" y="150"/>
                  </a:lnTo>
                  <a:lnTo>
                    <a:pt x="114" y="138"/>
                  </a:lnTo>
                  <a:lnTo>
                    <a:pt x="108" y="126"/>
                  </a:lnTo>
                  <a:lnTo>
                    <a:pt x="108" y="120"/>
                  </a:lnTo>
                  <a:lnTo>
                    <a:pt x="108" y="114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20" y="96"/>
                  </a:lnTo>
                  <a:lnTo>
                    <a:pt x="132" y="102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56" y="90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96"/>
                  </a:lnTo>
                  <a:lnTo>
                    <a:pt x="186" y="96"/>
                  </a:lnTo>
                  <a:lnTo>
                    <a:pt x="192" y="114"/>
                  </a:lnTo>
                  <a:lnTo>
                    <a:pt x="204" y="132"/>
                  </a:lnTo>
                  <a:lnTo>
                    <a:pt x="216" y="144"/>
                  </a:lnTo>
                  <a:lnTo>
                    <a:pt x="240" y="162"/>
                  </a:lnTo>
                  <a:lnTo>
                    <a:pt x="270" y="156"/>
                  </a:lnTo>
                  <a:lnTo>
                    <a:pt x="282" y="126"/>
                  </a:lnTo>
                  <a:lnTo>
                    <a:pt x="282" y="96"/>
                  </a:lnTo>
                  <a:lnTo>
                    <a:pt x="294" y="54"/>
                  </a:lnTo>
                  <a:lnTo>
                    <a:pt x="324" y="48"/>
                  </a:lnTo>
                  <a:lnTo>
                    <a:pt x="342" y="48"/>
                  </a:lnTo>
                  <a:lnTo>
                    <a:pt x="384" y="48"/>
                  </a:lnTo>
                  <a:lnTo>
                    <a:pt x="390" y="30"/>
                  </a:lnTo>
                  <a:lnTo>
                    <a:pt x="402" y="18"/>
                  </a:lnTo>
                  <a:lnTo>
                    <a:pt x="438" y="6"/>
                  </a:lnTo>
                  <a:lnTo>
                    <a:pt x="438" y="0"/>
                  </a:lnTo>
                  <a:lnTo>
                    <a:pt x="444" y="0"/>
                  </a:lnTo>
                  <a:lnTo>
                    <a:pt x="444" y="6"/>
                  </a:lnTo>
                  <a:lnTo>
                    <a:pt x="450" y="6"/>
                  </a:lnTo>
                  <a:lnTo>
                    <a:pt x="456" y="12"/>
                  </a:lnTo>
                  <a:lnTo>
                    <a:pt x="456" y="18"/>
                  </a:lnTo>
                  <a:lnTo>
                    <a:pt x="462" y="24"/>
                  </a:lnTo>
                  <a:lnTo>
                    <a:pt x="462" y="30"/>
                  </a:lnTo>
                  <a:lnTo>
                    <a:pt x="468" y="36"/>
                  </a:lnTo>
                  <a:lnTo>
                    <a:pt x="462" y="36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74" y="60"/>
                  </a:lnTo>
                  <a:lnTo>
                    <a:pt x="486" y="78"/>
                  </a:lnTo>
                  <a:lnTo>
                    <a:pt x="486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8" y="102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498" y="114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504" y="126"/>
                  </a:lnTo>
                  <a:lnTo>
                    <a:pt x="498" y="132"/>
                  </a:lnTo>
                  <a:lnTo>
                    <a:pt x="504" y="138"/>
                  </a:lnTo>
                  <a:lnTo>
                    <a:pt x="504" y="132"/>
                  </a:lnTo>
                  <a:lnTo>
                    <a:pt x="510" y="132"/>
                  </a:lnTo>
                  <a:lnTo>
                    <a:pt x="510" y="138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56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6" y="168"/>
                  </a:lnTo>
                  <a:lnTo>
                    <a:pt x="552" y="168"/>
                  </a:lnTo>
                  <a:lnTo>
                    <a:pt x="546" y="168"/>
                  </a:lnTo>
                  <a:lnTo>
                    <a:pt x="546" y="174"/>
                  </a:lnTo>
                  <a:lnTo>
                    <a:pt x="558" y="180"/>
                  </a:lnTo>
                  <a:lnTo>
                    <a:pt x="564" y="180"/>
                  </a:lnTo>
                  <a:lnTo>
                    <a:pt x="564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52" y="198"/>
                  </a:lnTo>
                  <a:lnTo>
                    <a:pt x="558" y="204"/>
                  </a:lnTo>
                  <a:lnTo>
                    <a:pt x="564" y="204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22"/>
                  </a:lnTo>
                  <a:lnTo>
                    <a:pt x="576" y="228"/>
                  </a:lnTo>
                  <a:lnTo>
                    <a:pt x="570" y="228"/>
                  </a:lnTo>
                  <a:lnTo>
                    <a:pt x="570" y="234"/>
                  </a:lnTo>
                  <a:lnTo>
                    <a:pt x="576" y="234"/>
                  </a:lnTo>
                  <a:lnTo>
                    <a:pt x="582" y="234"/>
                  </a:lnTo>
                  <a:lnTo>
                    <a:pt x="588" y="234"/>
                  </a:lnTo>
                  <a:lnTo>
                    <a:pt x="588" y="240"/>
                  </a:lnTo>
                  <a:lnTo>
                    <a:pt x="588" y="246"/>
                  </a:lnTo>
                  <a:lnTo>
                    <a:pt x="588" y="252"/>
                  </a:lnTo>
                  <a:lnTo>
                    <a:pt x="582" y="252"/>
                  </a:lnTo>
                  <a:lnTo>
                    <a:pt x="576" y="252"/>
                  </a:lnTo>
                  <a:lnTo>
                    <a:pt x="582" y="258"/>
                  </a:lnTo>
                  <a:lnTo>
                    <a:pt x="582" y="264"/>
                  </a:lnTo>
                  <a:lnTo>
                    <a:pt x="576" y="264"/>
                  </a:lnTo>
                  <a:lnTo>
                    <a:pt x="546" y="264"/>
                  </a:lnTo>
                  <a:lnTo>
                    <a:pt x="546" y="276"/>
                  </a:lnTo>
                  <a:lnTo>
                    <a:pt x="540" y="282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40" y="324"/>
                  </a:lnTo>
                  <a:lnTo>
                    <a:pt x="552" y="330"/>
                  </a:lnTo>
                  <a:lnTo>
                    <a:pt x="558" y="342"/>
                  </a:lnTo>
                  <a:lnTo>
                    <a:pt x="546" y="372"/>
                  </a:lnTo>
                  <a:lnTo>
                    <a:pt x="534" y="372"/>
                  </a:lnTo>
                  <a:lnTo>
                    <a:pt x="534" y="384"/>
                  </a:lnTo>
                  <a:lnTo>
                    <a:pt x="522" y="384"/>
                  </a:lnTo>
                  <a:lnTo>
                    <a:pt x="510" y="402"/>
                  </a:lnTo>
                  <a:lnTo>
                    <a:pt x="504" y="420"/>
                  </a:lnTo>
                  <a:lnTo>
                    <a:pt x="492" y="426"/>
                  </a:lnTo>
                  <a:lnTo>
                    <a:pt x="486" y="432"/>
                  </a:lnTo>
                  <a:lnTo>
                    <a:pt x="486" y="444"/>
                  </a:lnTo>
                  <a:lnTo>
                    <a:pt x="486" y="450"/>
                  </a:lnTo>
                  <a:lnTo>
                    <a:pt x="486" y="456"/>
                  </a:lnTo>
                  <a:lnTo>
                    <a:pt x="486" y="462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80" y="474"/>
                  </a:lnTo>
                  <a:lnTo>
                    <a:pt x="480" y="480"/>
                  </a:lnTo>
                  <a:lnTo>
                    <a:pt x="480" y="486"/>
                  </a:lnTo>
                  <a:lnTo>
                    <a:pt x="480" y="492"/>
                  </a:lnTo>
                  <a:lnTo>
                    <a:pt x="480" y="498"/>
                  </a:lnTo>
                  <a:lnTo>
                    <a:pt x="474" y="504"/>
                  </a:lnTo>
                  <a:lnTo>
                    <a:pt x="468" y="510"/>
                  </a:lnTo>
                  <a:lnTo>
                    <a:pt x="462" y="510"/>
                  </a:lnTo>
                  <a:lnTo>
                    <a:pt x="456" y="504"/>
                  </a:lnTo>
                  <a:lnTo>
                    <a:pt x="456" y="498"/>
                  </a:lnTo>
                  <a:lnTo>
                    <a:pt x="450" y="498"/>
                  </a:lnTo>
                  <a:lnTo>
                    <a:pt x="444" y="498"/>
                  </a:lnTo>
                  <a:lnTo>
                    <a:pt x="438" y="498"/>
                  </a:lnTo>
                  <a:lnTo>
                    <a:pt x="432" y="498"/>
                  </a:lnTo>
                  <a:lnTo>
                    <a:pt x="426" y="504"/>
                  </a:lnTo>
                  <a:lnTo>
                    <a:pt x="426" y="510"/>
                  </a:lnTo>
                  <a:lnTo>
                    <a:pt x="420" y="516"/>
                  </a:lnTo>
                  <a:lnTo>
                    <a:pt x="414" y="522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84" y="528"/>
                  </a:lnTo>
                  <a:lnTo>
                    <a:pt x="366" y="540"/>
                  </a:lnTo>
                  <a:lnTo>
                    <a:pt x="360" y="522"/>
                  </a:lnTo>
                  <a:lnTo>
                    <a:pt x="348" y="504"/>
                  </a:lnTo>
                  <a:lnTo>
                    <a:pt x="330" y="504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34"/>
                  </a:lnTo>
                  <a:lnTo>
                    <a:pt x="288" y="540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2" y="540"/>
                  </a:lnTo>
                  <a:lnTo>
                    <a:pt x="282" y="546"/>
                  </a:lnTo>
                  <a:lnTo>
                    <a:pt x="288" y="552"/>
                  </a:lnTo>
                  <a:lnTo>
                    <a:pt x="294" y="564"/>
                  </a:lnTo>
                  <a:lnTo>
                    <a:pt x="300" y="564"/>
                  </a:lnTo>
                  <a:lnTo>
                    <a:pt x="300" y="570"/>
                  </a:lnTo>
                  <a:lnTo>
                    <a:pt x="294" y="570"/>
                  </a:lnTo>
                  <a:lnTo>
                    <a:pt x="288" y="570"/>
                  </a:lnTo>
                  <a:lnTo>
                    <a:pt x="288" y="576"/>
                  </a:lnTo>
                  <a:lnTo>
                    <a:pt x="288" y="582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606"/>
                  </a:lnTo>
                  <a:lnTo>
                    <a:pt x="264" y="612"/>
                  </a:lnTo>
                  <a:lnTo>
                    <a:pt x="258" y="612"/>
                  </a:lnTo>
                  <a:lnTo>
                    <a:pt x="252" y="612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52" y="630"/>
                  </a:lnTo>
                  <a:lnTo>
                    <a:pt x="264" y="642"/>
                  </a:lnTo>
                  <a:lnTo>
                    <a:pt x="258" y="648"/>
                  </a:lnTo>
                  <a:lnTo>
                    <a:pt x="246" y="654"/>
                  </a:lnTo>
                  <a:lnTo>
                    <a:pt x="240" y="660"/>
                  </a:lnTo>
                  <a:lnTo>
                    <a:pt x="234" y="672"/>
                  </a:lnTo>
                  <a:lnTo>
                    <a:pt x="234" y="678"/>
                  </a:lnTo>
                  <a:lnTo>
                    <a:pt x="228" y="684"/>
                  </a:lnTo>
                  <a:lnTo>
                    <a:pt x="228" y="696"/>
                  </a:lnTo>
                  <a:lnTo>
                    <a:pt x="216" y="71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6" name="Freeform 21">
              <a:extLst>
                <a:ext uri="{FF2B5EF4-FFF2-40B4-BE49-F238E27FC236}">
                  <a16:creationId xmlns:a16="http://schemas.microsoft.com/office/drawing/2014/main" id="{DCB1E808-522D-4C19-B741-CC5DD56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4178" y="3866464"/>
              <a:ext cx="250453" cy="371259"/>
            </a:xfrm>
            <a:custGeom>
              <a:avLst/>
              <a:gdLst>
                <a:gd name="T0" fmla="*/ 0 w 468"/>
                <a:gd name="T1" fmla="*/ 61 h 696"/>
                <a:gd name="T2" fmla="*/ 1 w 468"/>
                <a:gd name="T3" fmla="*/ 58 h 696"/>
                <a:gd name="T4" fmla="*/ 2 w 468"/>
                <a:gd name="T5" fmla="*/ 54 h 696"/>
                <a:gd name="T6" fmla="*/ 3 w 468"/>
                <a:gd name="T7" fmla="*/ 51 h 696"/>
                <a:gd name="T8" fmla="*/ 4 w 468"/>
                <a:gd name="T9" fmla="*/ 48 h 696"/>
                <a:gd name="T10" fmla="*/ 6 w 468"/>
                <a:gd name="T11" fmla="*/ 44 h 696"/>
                <a:gd name="T12" fmla="*/ 5 w 468"/>
                <a:gd name="T13" fmla="*/ 41 h 696"/>
                <a:gd name="T14" fmla="*/ 7 w 468"/>
                <a:gd name="T15" fmla="*/ 38 h 696"/>
                <a:gd name="T16" fmla="*/ 8 w 468"/>
                <a:gd name="T17" fmla="*/ 36 h 696"/>
                <a:gd name="T18" fmla="*/ 7 w 468"/>
                <a:gd name="T19" fmla="*/ 33 h 696"/>
                <a:gd name="T20" fmla="*/ 6 w 468"/>
                <a:gd name="T21" fmla="*/ 29 h 696"/>
                <a:gd name="T22" fmla="*/ 4 w 468"/>
                <a:gd name="T23" fmla="*/ 22 h 696"/>
                <a:gd name="T24" fmla="*/ 2 w 468"/>
                <a:gd name="T25" fmla="*/ 14 h 696"/>
                <a:gd name="T26" fmla="*/ 12 w 468"/>
                <a:gd name="T27" fmla="*/ 11 h 696"/>
                <a:gd name="T28" fmla="*/ 14 w 468"/>
                <a:gd name="T29" fmla="*/ 2 h 696"/>
                <a:gd name="T30" fmla="*/ 16 w 468"/>
                <a:gd name="T31" fmla="*/ 0 h 696"/>
                <a:gd name="T32" fmla="*/ 17 w 468"/>
                <a:gd name="T33" fmla="*/ 0 h 696"/>
                <a:gd name="T34" fmla="*/ 18 w 468"/>
                <a:gd name="T35" fmla="*/ 1 h 696"/>
                <a:gd name="T36" fmla="*/ 17 w 468"/>
                <a:gd name="T37" fmla="*/ 2 h 696"/>
                <a:gd name="T38" fmla="*/ 17 w 468"/>
                <a:gd name="T39" fmla="*/ 4 h 696"/>
                <a:gd name="T40" fmla="*/ 17 w 468"/>
                <a:gd name="T41" fmla="*/ 6 h 696"/>
                <a:gd name="T42" fmla="*/ 20 w 468"/>
                <a:gd name="T43" fmla="*/ 6 h 696"/>
                <a:gd name="T44" fmla="*/ 22 w 468"/>
                <a:gd name="T45" fmla="*/ 5 h 696"/>
                <a:gd name="T46" fmla="*/ 24 w 468"/>
                <a:gd name="T47" fmla="*/ 7 h 696"/>
                <a:gd name="T48" fmla="*/ 28 w 468"/>
                <a:gd name="T49" fmla="*/ 7 h 696"/>
                <a:gd name="T50" fmla="*/ 28 w 468"/>
                <a:gd name="T51" fmla="*/ 11 h 696"/>
                <a:gd name="T52" fmla="*/ 25 w 468"/>
                <a:gd name="T53" fmla="*/ 14 h 696"/>
                <a:gd name="T54" fmla="*/ 23 w 468"/>
                <a:gd name="T55" fmla="*/ 15 h 696"/>
                <a:gd name="T56" fmla="*/ 23 w 468"/>
                <a:gd name="T57" fmla="*/ 19 h 696"/>
                <a:gd name="T58" fmla="*/ 23 w 468"/>
                <a:gd name="T59" fmla="*/ 21 h 696"/>
                <a:gd name="T60" fmla="*/ 24 w 468"/>
                <a:gd name="T61" fmla="*/ 21 h 696"/>
                <a:gd name="T62" fmla="*/ 27 w 468"/>
                <a:gd name="T63" fmla="*/ 23 h 696"/>
                <a:gd name="T64" fmla="*/ 29 w 468"/>
                <a:gd name="T65" fmla="*/ 24 h 696"/>
                <a:gd name="T66" fmla="*/ 29 w 468"/>
                <a:gd name="T67" fmla="*/ 28 h 696"/>
                <a:gd name="T68" fmla="*/ 29 w 468"/>
                <a:gd name="T69" fmla="*/ 29 h 696"/>
                <a:gd name="T70" fmla="*/ 29 w 468"/>
                <a:gd name="T71" fmla="*/ 32 h 696"/>
                <a:gd name="T72" fmla="*/ 32 w 468"/>
                <a:gd name="T73" fmla="*/ 32 h 696"/>
                <a:gd name="T74" fmla="*/ 33 w 468"/>
                <a:gd name="T75" fmla="*/ 35 h 696"/>
                <a:gd name="T76" fmla="*/ 34 w 468"/>
                <a:gd name="T77" fmla="*/ 38 h 696"/>
                <a:gd name="T78" fmla="*/ 35 w 468"/>
                <a:gd name="T79" fmla="*/ 39 h 696"/>
                <a:gd name="T80" fmla="*/ 36 w 468"/>
                <a:gd name="T81" fmla="*/ 40 h 696"/>
                <a:gd name="T82" fmla="*/ 37 w 468"/>
                <a:gd name="T83" fmla="*/ 41 h 696"/>
                <a:gd name="T84" fmla="*/ 38 w 468"/>
                <a:gd name="T85" fmla="*/ 42 h 696"/>
                <a:gd name="T86" fmla="*/ 41 w 468"/>
                <a:gd name="T87" fmla="*/ 44 h 696"/>
                <a:gd name="T88" fmla="*/ 40 w 468"/>
                <a:gd name="T89" fmla="*/ 44 h 696"/>
                <a:gd name="T90" fmla="*/ 37 w 468"/>
                <a:gd name="T91" fmla="*/ 45 h 696"/>
                <a:gd name="T92" fmla="*/ 36 w 468"/>
                <a:gd name="T93" fmla="*/ 48 h 696"/>
                <a:gd name="T94" fmla="*/ 34 w 468"/>
                <a:gd name="T95" fmla="*/ 49 h 696"/>
                <a:gd name="T96" fmla="*/ 32 w 468"/>
                <a:gd name="T97" fmla="*/ 51 h 696"/>
                <a:gd name="T98" fmla="*/ 31 w 468"/>
                <a:gd name="T99" fmla="*/ 51 h 696"/>
                <a:gd name="T100" fmla="*/ 26 w 468"/>
                <a:gd name="T101" fmla="*/ 49 h 696"/>
                <a:gd name="T102" fmla="*/ 23 w 468"/>
                <a:gd name="T103" fmla="*/ 51 h 696"/>
                <a:gd name="T104" fmla="*/ 21 w 468"/>
                <a:gd name="T105" fmla="*/ 51 h 696"/>
                <a:gd name="T106" fmla="*/ 20 w 468"/>
                <a:gd name="T107" fmla="*/ 52 h 696"/>
                <a:gd name="T108" fmla="*/ 17 w 468"/>
                <a:gd name="T109" fmla="*/ 55 h 696"/>
                <a:gd name="T110" fmla="*/ 15 w 468"/>
                <a:gd name="T111" fmla="*/ 56 h 696"/>
                <a:gd name="T112" fmla="*/ 15 w 468"/>
                <a:gd name="T113" fmla="*/ 59 h 696"/>
                <a:gd name="T114" fmla="*/ 14 w 468"/>
                <a:gd name="T115" fmla="*/ 59 h 696"/>
                <a:gd name="T116" fmla="*/ 12 w 468"/>
                <a:gd name="T117" fmla="*/ 59 h 696"/>
                <a:gd name="T118" fmla="*/ 11 w 468"/>
                <a:gd name="T119" fmla="*/ 57 h 696"/>
                <a:gd name="T120" fmla="*/ 9 w 468"/>
                <a:gd name="T121" fmla="*/ 57 h 696"/>
                <a:gd name="T122" fmla="*/ 6 w 468"/>
                <a:gd name="T123" fmla="*/ 58 h 696"/>
                <a:gd name="T124" fmla="*/ 4 w 468"/>
                <a:gd name="T125" fmla="*/ 60 h 69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8"/>
                <a:gd name="T190" fmla="*/ 0 h 696"/>
                <a:gd name="T191" fmla="*/ 468 w 468"/>
                <a:gd name="T192" fmla="*/ 696 h 69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8" h="696">
                  <a:moveTo>
                    <a:pt x="30" y="696"/>
                  </a:moveTo>
                  <a:lnTo>
                    <a:pt x="18" y="696"/>
                  </a:lnTo>
                  <a:lnTo>
                    <a:pt x="6" y="696"/>
                  </a:lnTo>
                  <a:lnTo>
                    <a:pt x="0" y="690"/>
                  </a:lnTo>
                  <a:lnTo>
                    <a:pt x="6" y="678"/>
                  </a:lnTo>
                  <a:lnTo>
                    <a:pt x="12" y="666"/>
                  </a:lnTo>
                  <a:lnTo>
                    <a:pt x="18" y="654"/>
                  </a:lnTo>
                  <a:lnTo>
                    <a:pt x="18" y="642"/>
                  </a:lnTo>
                  <a:lnTo>
                    <a:pt x="18" y="618"/>
                  </a:lnTo>
                  <a:lnTo>
                    <a:pt x="24" y="606"/>
                  </a:lnTo>
                  <a:lnTo>
                    <a:pt x="30" y="594"/>
                  </a:lnTo>
                  <a:lnTo>
                    <a:pt x="30" y="582"/>
                  </a:lnTo>
                  <a:lnTo>
                    <a:pt x="36" y="576"/>
                  </a:lnTo>
                  <a:lnTo>
                    <a:pt x="42" y="564"/>
                  </a:lnTo>
                  <a:lnTo>
                    <a:pt x="48" y="546"/>
                  </a:lnTo>
                  <a:lnTo>
                    <a:pt x="48" y="528"/>
                  </a:lnTo>
                  <a:lnTo>
                    <a:pt x="60" y="516"/>
                  </a:lnTo>
                  <a:lnTo>
                    <a:pt x="66" y="504"/>
                  </a:lnTo>
                  <a:lnTo>
                    <a:pt x="66" y="492"/>
                  </a:lnTo>
                  <a:lnTo>
                    <a:pt x="60" y="480"/>
                  </a:lnTo>
                  <a:lnTo>
                    <a:pt x="54" y="468"/>
                  </a:lnTo>
                  <a:lnTo>
                    <a:pt x="60" y="456"/>
                  </a:lnTo>
                  <a:lnTo>
                    <a:pt x="72" y="450"/>
                  </a:lnTo>
                  <a:lnTo>
                    <a:pt x="84" y="438"/>
                  </a:lnTo>
                  <a:lnTo>
                    <a:pt x="90" y="426"/>
                  </a:lnTo>
                  <a:lnTo>
                    <a:pt x="90" y="420"/>
                  </a:lnTo>
                  <a:lnTo>
                    <a:pt x="90" y="408"/>
                  </a:lnTo>
                  <a:lnTo>
                    <a:pt x="90" y="402"/>
                  </a:lnTo>
                  <a:lnTo>
                    <a:pt x="84" y="396"/>
                  </a:lnTo>
                  <a:lnTo>
                    <a:pt x="78" y="378"/>
                  </a:lnTo>
                  <a:lnTo>
                    <a:pt x="72" y="360"/>
                  </a:lnTo>
                  <a:lnTo>
                    <a:pt x="66" y="348"/>
                  </a:lnTo>
                  <a:lnTo>
                    <a:pt x="72" y="336"/>
                  </a:lnTo>
                  <a:lnTo>
                    <a:pt x="66" y="306"/>
                  </a:lnTo>
                  <a:lnTo>
                    <a:pt x="54" y="276"/>
                  </a:lnTo>
                  <a:lnTo>
                    <a:pt x="42" y="252"/>
                  </a:lnTo>
                  <a:lnTo>
                    <a:pt x="36" y="222"/>
                  </a:lnTo>
                  <a:lnTo>
                    <a:pt x="30" y="192"/>
                  </a:lnTo>
                  <a:lnTo>
                    <a:pt x="24" y="162"/>
                  </a:lnTo>
                  <a:lnTo>
                    <a:pt x="42" y="174"/>
                  </a:lnTo>
                  <a:lnTo>
                    <a:pt x="120" y="138"/>
                  </a:lnTo>
                  <a:lnTo>
                    <a:pt x="132" y="126"/>
                  </a:lnTo>
                  <a:lnTo>
                    <a:pt x="120" y="54"/>
                  </a:lnTo>
                  <a:lnTo>
                    <a:pt x="156" y="30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0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8" y="18"/>
                  </a:lnTo>
                  <a:lnTo>
                    <a:pt x="198" y="24"/>
                  </a:lnTo>
                  <a:lnTo>
                    <a:pt x="198" y="30"/>
                  </a:lnTo>
                  <a:lnTo>
                    <a:pt x="198" y="42"/>
                  </a:lnTo>
                  <a:lnTo>
                    <a:pt x="198" y="48"/>
                  </a:lnTo>
                  <a:lnTo>
                    <a:pt x="192" y="60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28" y="60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34" y="60"/>
                  </a:lnTo>
                  <a:lnTo>
                    <a:pt x="252" y="60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312" y="84"/>
                  </a:lnTo>
                  <a:lnTo>
                    <a:pt x="318" y="96"/>
                  </a:lnTo>
                  <a:lnTo>
                    <a:pt x="318" y="102"/>
                  </a:lnTo>
                  <a:lnTo>
                    <a:pt x="312" y="120"/>
                  </a:lnTo>
                  <a:lnTo>
                    <a:pt x="306" y="132"/>
                  </a:lnTo>
                  <a:lnTo>
                    <a:pt x="294" y="144"/>
                  </a:lnTo>
                  <a:lnTo>
                    <a:pt x="282" y="156"/>
                  </a:lnTo>
                  <a:lnTo>
                    <a:pt x="276" y="162"/>
                  </a:lnTo>
                  <a:lnTo>
                    <a:pt x="270" y="162"/>
                  </a:lnTo>
                  <a:lnTo>
                    <a:pt x="264" y="174"/>
                  </a:lnTo>
                  <a:lnTo>
                    <a:pt x="264" y="192"/>
                  </a:lnTo>
                  <a:lnTo>
                    <a:pt x="264" y="216"/>
                  </a:lnTo>
                  <a:lnTo>
                    <a:pt x="258" y="216"/>
                  </a:lnTo>
                  <a:lnTo>
                    <a:pt x="258" y="228"/>
                  </a:lnTo>
                  <a:lnTo>
                    <a:pt x="252" y="234"/>
                  </a:lnTo>
                  <a:lnTo>
                    <a:pt x="258" y="240"/>
                  </a:lnTo>
                  <a:lnTo>
                    <a:pt x="264" y="240"/>
                  </a:lnTo>
                  <a:lnTo>
                    <a:pt x="270" y="240"/>
                  </a:lnTo>
                  <a:lnTo>
                    <a:pt x="276" y="240"/>
                  </a:lnTo>
                  <a:lnTo>
                    <a:pt x="288" y="240"/>
                  </a:lnTo>
                  <a:lnTo>
                    <a:pt x="300" y="246"/>
                  </a:lnTo>
                  <a:lnTo>
                    <a:pt x="306" y="258"/>
                  </a:lnTo>
                  <a:lnTo>
                    <a:pt x="312" y="264"/>
                  </a:lnTo>
                  <a:lnTo>
                    <a:pt x="318" y="276"/>
                  </a:lnTo>
                  <a:lnTo>
                    <a:pt x="330" y="282"/>
                  </a:lnTo>
                  <a:lnTo>
                    <a:pt x="330" y="300"/>
                  </a:lnTo>
                  <a:lnTo>
                    <a:pt x="336" y="312"/>
                  </a:lnTo>
                  <a:lnTo>
                    <a:pt x="336" y="318"/>
                  </a:lnTo>
                  <a:lnTo>
                    <a:pt x="336" y="330"/>
                  </a:lnTo>
                  <a:lnTo>
                    <a:pt x="324" y="330"/>
                  </a:lnTo>
                  <a:lnTo>
                    <a:pt x="330" y="336"/>
                  </a:lnTo>
                  <a:lnTo>
                    <a:pt x="330" y="342"/>
                  </a:lnTo>
                  <a:lnTo>
                    <a:pt x="336" y="348"/>
                  </a:lnTo>
                  <a:lnTo>
                    <a:pt x="330" y="360"/>
                  </a:lnTo>
                  <a:lnTo>
                    <a:pt x="336" y="372"/>
                  </a:lnTo>
                  <a:lnTo>
                    <a:pt x="354" y="366"/>
                  </a:lnTo>
                  <a:lnTo>
                    <a:pt x="366" y="366"/>
                  </a:lnTo>
                  <a:lnTo>
                    <a:pt x="372" y="378"/>
                  </a:lnTo>
                  <a:lnTo>
                    <a:pt x="372" y="390"/>
                  </a:lnTo>
                  <a:lnTo>
                    <a:pt x="378" y="396"/>
                  </a:lnTo>
                  <a:lnTo>
                    <a:pt x="378" y="408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44"/>
                  </a:lnTo>
                  <a:lnTo>
                    <a:pt x="390" y="444"/>
                  </a:lnTo>
                  <a:lnTo>
                    <a:pt x="396" y="444"/>
                  </a:lnTo>
                  <a:lnTo>
                    <a:pt x="402" y="450"/>
                  </a:lnTo>
                  <a:lnTo>
                    <a:pt x="408" y="450"/>
                  </a:lnTo>
                  <a:lnTo>
                    <a:pt x="408" y="462"/>
                  </a:lnTo>
                  <a:lnTo>
                    <a:pt x="408" y="468"/>
                  </a:lnTo>
                  <a:lnTo>
                    <a:pt x="414" y="474"/>
                  </a:lnTo>
                  <a:lnTo>
                    <a:pt x="420" y="474"/>
                  </a:lnTo>
                  <a:lnTo>
                    <a:pt x="420" y="480"/>
                  </a:lnTo>
                  <a:lnTo>
                    <a:pt x="426" y="480"/>
                  </a:lnTo>
                  <a:lnTo>
                    <a:pt x="432" y="480"/>
                  </a:lnTo>
                  <a:lnTo>
                    <a:pt x="462" y="486"/>
                  </a:lnTo>
                  <a:lnTo>
                    <a:pt x="468" y="492"/>
                  </a:lnTo>
                  <a:lnTo>
                    <a:pt x="468" y="498"/>
                  </a:lnTo>
                  <a:lnTo>
                    <a:pt x="462" y="498"/>
                  </a:lnTo>
                  <a:lnTo>
                    <a:pt x="456" y="498"/>
                  </a:lnTo>
                  <a:lnTo>
                    <a:pt x="456" y="504"/>
                  </a:lnTo>
                  <a:lnTo>
                    <a:pt x="456" y="510"/>
                  </a:lnTo>
                  <a:lnTo>
                    <a:pt x="450" y="516"/>
                  </a:lnTo>
                  <a:lnTo>
                    <a:pt x="426" y="516"/>
                  </a:lnTo>
                  <a:lnTo>
                    <a:pt x="408" y="528"/>
                  </a:lnTo>
                  <a:lnTo>
                    <a:pt x="408" y="546"/>
                  </a:lnTo>
                  <a:lnTo>
                    <a:pt x="414" y="552"/>
                  </a:lnTo>
                  <a:lnTo>
                    <a:pt x="408" y="558"/>
                  </a:lnTo>
                  <a:lnTo>
                    <a:pt x="402" y="564"/>
                  </a:lnTo>
                  <a:lnTo>
                    <a:pt x="384" y="564"/>
                  </a:lnTo>
                  <a:lnTo>
                    <a:pt x="372" y="564"/>
                  </a:lnTo>
                  <a:lnTo>
                    <a:pt x="372" y="576"/>
                  </a:lnTo>
                  <a:lnTo>
                    <a:pt x="366" y="576"/>
                  </a:lnTo>
                  <a:lnTo>
                    <a:pt x="366" y="582"/>
                  </a:lnTo>
                  <a:lnTo>
                    <a:pt x="360" y="582"/>
                  </a:lnTo>
                  <a:lnTo>
                    <a:pt x="348" y="576"/>
                  </a:lnTo>
                  <a:lnTo>
                    <a:pt x="336" y="570"/>
                  </a:lnTo>
                  <a:lnTo>
                    <a:pt x="324" y="570"/>
                  </a:lnTo>
                  <a:lnTo>
                    <a:pt x="300" y="564"/>
                  </a:lnTo>
                  <a:lnTo>
                    <a:pt x="282" y="564"/>
                  </a:lnTo>
                  <a:lnTo>
                    <a:pt x="270" y="570"/>
                  </a:lnTo>
                  <a:lnTo>
                    <a:pt x="264" y="576"/>
                  </a:lnTo>
                  <a:lnTo>
                    <a:pt x="258" y="576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34" y="594"/>
                  </a:lnTo>
                  <a:lnTo>
                    <a:pt x="228" y="600"/>
                  </a:lnTo>
                  <a:lnTo>
                    <a:pt x="210" y="618"/>
                  </a:lnTo>
                  <a:lnTo>
                    <a:pt x="210" y="624"/>
                  </a:lnTo>
                  <a:lnTo>
                    <a:pt x="192" y="630"/>
                  </a:lnTo>
                  <a:lnTo>
                    <a:pt x="186" y="630"/>
                  </a:lnTo>
                  <a:lnTo>
                    <a:pt x="180" y="636"/>
                  </a:lnTo>
                  <a:lnTo>
                    <a:pt x="174" y="642"/>
                  </a:lnTo>
                  <a:lnTo>
                    <a:pt x="168" y="642"/>
                  </a:lnTo>
                  <a:lnTo>
                    <a:pt x="168" y="654"/>
                  </a:lnTo>
                  <a:lnTo>
                    <a:pt x="168" y="678"/>
                  </a:lnTo>
                  <a:lnTo>
                    <a:pt x="162" y="684"/>
                  </a:lnTo>
                  <a:lnTo>
                    <a:pt x="156" y="684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72"/>
                  </a:lnTo>
                  <a:lnTo>
                    <a:pt x="138" y="672"/>
                  </a:lnTo>
                  <a:lnTo>
                    <a:pt x="138" y="666"/>
                  </a:lnTo>
                  <a:lnTo>
                    <a:pt x="132" y="660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48"/>
                  </a:lnTo>
                  <a:lnTo>
                    <a:pt x="102" y="654"/>
                  </a:lnTo>
                  <a:lnTo>
                    <a:pt x="90" y="654"/>
                  </a:lnTo>
                  <a:lnTo>
                    <a:pt x="84" y="654"/>
                  </a:lnTo>
                  <a:lnTo>
                    <a:pt x="72" y="660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36" y="684"/>
                  </a:lnTo>
                  <a:lnTo>
                    <a:pt x="30" y="6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7" name="Freeform 22">
              <a:extLst>
                <a:ext uri="{FF2B5EF4-FFF2-40B4-BE49-F238E27FC236}">
                  <a16:creationId xmlns:a16="http://schemas.microsoft.com/office/drawing/2014/main" id="{2F7A477D-6CF8-44B3-8B32-64EE03DC4D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2895" y="3967106"/>
              <a:ext cx="610479" cy="507686"/>
            </a:xfrm>
            <a:custGeom>
              <a:avLst/>
              <a:gdLst>
                <a:gd name="T0" fmla="*/ 87 w 1146"/>
                <a:gd name="T1" fmla="*/ 56 h 954"/>
                <a:gd name="T2" fmla="*/ 83 w 1146"/>
                <a:gd name="T3" fmla="*/ 66 h 954"/>
                <a:gd name="T4" fmla="*/ 74 w 1146"/>
                <a:gd name="T5" fmla="*/ 69 h 954"/>
                <a:gd name="T6" fmla="*/ 67 w 1146"/>
                <a:gd name="T7" fmla="*/ 75 h 954"/>
                <a:gd name="T8" fmla="*/ 59 w 1146"/>
                <a:gd name="T9" fmla="*/ 78 h 954"/>
                <a:gd name="T10" fmla="*/ 52 w 1146"/>
                <a:gd name="T11" fmla="*/ 77 h 954"/>
                <a:gd name="T12" fmla="*/ 48 w 1146"/>
                <a:gd name="T13" fmla="*/ 79 h 954"/>
                <a:gd name="T14" fmla="*/ 41 w 1146"/>
                <a:gd name="T15" fmla="*/ 82 h 954"/>
                <a:gd name="T16" fmla="*/ 29 w 1146"/>
                <a:gd name="T17" fmla="*/ 78 h 954"/>
                <a:gd name="T18" fmla="*/ 28 w 1146"/>
                <a:gd name="T19" fmla="*/ 76 h 954"/>
                <a:gd name="T20" fmla="*/ 28 w 1146"/>
                <a:gd name="T21" fmla="*/ 72 h 954"/>
                <a:gd name="T22" fmla="*/ 28 w 1146"/>
                <a:gd name="T23" fmla="*/ 74 h 954"/>
                <a:gd name="T24" fmla="*/ 21 w 1146"/>
                <a:gd name="T25" fmla="*/ 74 h 954"/>
                <a:gd name="T26" fmla="*/ 20 w 1146"/>
                <a:gd name="T27" fmla="*/ 67 h 954"/>
                <a:gd name="T28" fmla="*/ 23 w 1146"/>
                <a:gd name="T29" fmla="*/ 64 h 954"/>
                <a:gd name="T30" fmla="*/ 28 w 1146"/>
                <a:gd name="T31" fmla="*/ 65 h 954"/>
                <a:gd name="T32" fmla="*/ 32 w 1146"/>
                <a:gd name="T33" fmla="*/ 62 h 954"/>
                <a:gd name="T34" fmla="*/ 31 w 1146"/>
                <a:gd name="T35" fmla="*/ 56 h 954"/>
                <a:gd name="T36" fmla="*/ 36 w 1146"/>
                <a:gd name="T37" fmla="*/ 54 h 954"/>
                <a:gd name="T38" fmla="*/ 38 w 1146"/>
                <a:gd name="T39" fmla="*/ 54 h 954"/>
                <a:gd name="T40" fmla="*/ 32 w 1146"/>
                <a:gd name="T41" fmla="*/ 54 h 954"/>
                <a:gd name="T42" fmla="*/ 29 w 1146"/>
                <a:gd name="T43" fmla="*/ 59 h 954"/>
                <a:gd name="T44" fmla="*/ 26 w 1146"/>
                <a:gd name="T45" fmla="*/ 59 h 954"/>
                <a:gd name="T46" fmla="*/ 25 w 1146"/>
                <a:gd name="T47" fmla="*/ 61 h 954"/>
                <a:gd name="T48" fmla="*/ 20 w 1146"/>
                <a:gd name="T49" fmla="*/ 61 h 954"/>
                <a:gd name="T50" fmla="*/ 11 w 1146"/>
                <a:gd name="T51" fmla="*/ 54 h 954"/>
                <a:gd name="T52" fmla="*/ 14 w 1146"/>
                <a:gd name="T53" fmla="*/ 50 h 954"/>
                <a:gd name="T54" fmla="*/ 21 w 1146"/>
                <a:gd name="T55" fmla="*/ 51 h 954"/>
                <a:gd name="T56" fmla="*/ 24 w 1146"/>
                <a:gd name="T57" fmla="*/ 50 h 954"/>
                <a:gd name="T58" fmla="*/ 28 w 1146"/>
                <a:gd name="T59" fmla="*/ 48 h 954"/>
                <a:gd name="T60" fmla="*/ 30 w 1146"/>
                <a:gd name="T61" fmla="*/ 49 h 954"/>
                <a:gd name="T62" fmla="*/ 26 w 1146"/>
                <a:gd name="T63" fmla="*/ 47 h 954"/>
                <a:gd name="T64" fmla="*/ 20 w 1146"/>
                <a:gd name="T65" fmla="*/ 50 h 954"/>
                <a:gd name="T66" fmla="*/ 20 w 1146"/>
                <a:gd name="T67" fmla="*/ 44 h 954"/>
                <a:gd name="T68" fmla="*/ 19 w 1146"/>
                <a:gd name="T69" fmla="*/ 46 h 954"/>
                <a:gd name="T70" fmla="*/ 15 w 1146"/>
                <a:gd name="T71" fmla="*/ 49 h 954"/>
                <a:gd name="T72" fmla="*/ 8 w 1146"/>
                <a:gd name="T73" fmla="*/ 48 h 954"/>
                <a:gd name="T74" fmla="*/ 6 w 1146"/>
                <a:gd name="T75" fmla="*/ 41 h 954"/>
                <a:gd name="T76" fmla="*/ 10 w 1146"/>
                <a:gd name="T77" fmla="*/ 41 h 954"/>
                <a:gd name="T78" fmla="*/ 9 w 1146"/>
                <a:gd name="T79" fmla="*/ 39 h 954"/>
                <a:gd name="T80" fmla="*/ 14 w 1146"/>
                <a:gd name="T81" fmla="*/ 35 h 954"/>
                <a:gd name="T82" fmla="*/ 19 w 1146"/>
                <a:gd name="T83" fmla="*/ 32 h 954"/>
                <a:gd name="T84" fmla="*/ 20 w 1146"/>
                <a:gd name="T85" fmla="*/ 29 h 954"/>
                <a:gd name="T86" fmla="*/ 27 w 1146"/>
                <a:gd name="T87" fmla="*/ 27 h 954"/>
                <a:gd name="T88" fmla="*/ 33 w 1146"/>
                <a:gd name="T89" fmla="*/ 28 h 954"/>
                <a:gd name="T90" fmla="*/ 44 w 1146"/>
                <a:gd name="T91" fmla="*/ 27 h 954"/>
                <a:gd name="T92" fmla="*/ 52 w 1146"/>
                <a:gd name="T93" fmla="*/ 41 h 954"/>
                <a:gd name="T94" fmla="*/ 61 w 1146"/>
                <a:gd name="T95" fmla="*/ 40 h 954"/>
                <a:gd name="T96" fmla="*/ 69 w 1146"/>
                <a:gd name="T97" fmla="*/ 34 h 954"/>
                <a:gd name="T98" fmla="*/ 62 w 1146"/>
                <a:gd name="T99" fmla="*/ 12 h 954"/>
                <a:gd name="T100" fmla="*/ 74 w 1146"/>
                <a:gd name="T101" fmla="*/ 8 h 954"/>
                <a:gd name="T102" fmla="*/ 87 w 1146"/>
                <a:gd name="T103" fmla="*/ 1 h 954"/>
                <a:gd name="T104" fmla="*/ 99 w 1146"/>
                <a:gd name="T105" fmla="*/ 12 h 954"/>
                <a:gd name="T106" fmla="*/ 98 w 1146"/>
                <a:gd name="T107" fmla="*/ 27 h 954"/>
                <a:gd name="T108" fmla="*/ 16 w 1146"/>
                <a:gd name="T109" fmla="*/ 33 h 954"/>
                <a:gd name="T110" fmla="*/ 11 w 1146"/>
                <a:gd name="T111" fmla="*/ 36 h 954"/>
                <a:gd name="T112" fmla="*/ 5 w 1146"/>
                <a:gd name="T113" fmla="*/ 41 h 954"/>
                <a:gd name="T114" fmla="*/ 2 w 1146"/>
                <a:gd name="T115" fmla="*/ 36 h 954"/>
                <a:gd name="T116" fmla="*/ 5 w 1146"/>
                <a:gd name="T117" fmla="*/ 26 h 954"/>
                <a:gd name="T118" fmla="*/ 10 w 1146"/>
                <a:gd name="T119" fmla="*/ 20 h 954"/>
                <a:gd name="T120" fmla="*/ 13 w 1146"/>
                <a:gd name="T121" fmla="*/ 20 h 954"/>
                <a:gd name="T122" fmla="*/ 15 w 1146"/>
                <a:gd name="T123" fmla="*/ 27 h 95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46"/>
                <a:gd name="T187" fmla="*/ 0 h 954"/>
                <a:gd name="T188" fmla="*/ 1146 w 1146"/>
                <a:gd name="T189" fmla="*/ 954 h 95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46" h="954">
                  <a:moveTo>
                    <a:pt x="1056" y="498"/>
                  </a:moveTo>
                  <a:lnTo>
                    <a:pt x="1044" y="510"/>
                  </a:lnTo>
                  <a:lnTo>
                    <a:pt x="1032" y="516"/>
                  </a:lnTo>
                  <a:lnTo>
                    <a:pt x="1038" y="528"/>
                  </a:lnTo>
                  <a:lnTo>
                    <a:pt x="1050" y="540"/>
                  </a:lnTo>
                  <a:lnTo>
                    <a:pt x="1050" y="546"/>
                  </a:lnTo>
                  <a:lnTo>
                    <a:pt x="1050" y="564"/>
                  </a:lnTo>
                  <a:lnTo>
                    <a:pt x="1038" y="576"/>
                  </a:lnTo>
                  <a:lnTo>
                    <a:pt x="1032" y="588"/>
                  </a:lnTo>
                  <a:lnTo>
                    <a:pt x="1020" y="594"/>
                  </a:lnTo>
                  <a:lnTo>
                    <a:pt x="1008" y="594"/>
                  </a:lnTo>
                  <a:lnTo>
                    <a:pt x="1002" y="600"/>
                  </a:lnTo>
                  <a:lnTo>
                    <a:pt x="996" y="612"/>
                  </a:lnTo>
                  <a:lnTo>
                    <a:pt x="996" y="624"/>
                  </a:lnTo>
                  <a:lnTo>
                    <a:pt x="996" y="648"/>
                  </a:lnTo>
                  <a:lnTo>
                    <a:pt x="996" y="660"/>
                  </a:lnTo>
                  <a:lnTo>
                    <a:pt x="1002" y="672"/>
                  </a:lnTo>
                  <a:lnTo>
                    <a:pt x="1002" y="684"/>
                  </a:lnTo>
                  <a:lnTo>
                    <a:pt x="996" y="684"/>
                  </a:lnTo>
                  <a:lnTo>
                    <a:pt x="984" y="690"/>
                  </a:lnTo>
                  <a:lnTo>
                    <a:pt x="972" y="690"/>
                  </a:lnTo>
                  <a:lnTo>
                    <a:pt x="966" y="696"/>
                  </a:lnTo>
                  <a:lnTo>
                    <a:pt x="966" y="702"/>
                  </a:lnTo>
                  <a:lnTo>
                    <a:pt x="966" y="714"/>
                  </a:lnTo>
                  <a:lnTo>
                    <a:pt x="972" y="726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2" y="756"/>
                  </a:lnTo>
                  <a:lnTo>
                    <a:pt x="966" y="756"/>
                  </a:lnTo>
                  <a:lnTo>
                    <a:pt x="942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18" y="768"/>
                  </a:lnTo>
                  <a:lnTo>
                    <a:pt x="906" y="768"/>
                  </a:lnTo>
                  <a:lnTo>
                    <a:pt x="894" y="762"/>
                  </a:lnTo>
                  <a:lnTo>
                    <a:pt x="882" y="756"/>
                  </a:lnTo>
                  <a:lnTo>
                    <a:pt x="876" y="756"/>
                  </a:lnTo>
                  <a:lnTo>
                    <a:pt x="876" y="762"/>
                  </a:lnTo>
                  <a:lnTo>
                    <a:pt x="864" y="768"/>
                  </a:lnTo>
                  <a:lnTo>
                    <a:pt x="858" y="774"/>
                  </a:lnTo>
                  <a:lnTo>
                    <a:pt x="852" y="774"/>
                  </a:lnTo>
                  <a:lnTo>
                    <a:pt x="840" y="780"/>
                  </a:lnTo>
                  <a:lnTo>
                    <a:pt x="840" y="786"/>
                  </a:lnTo>
                  <a:lnTo>
                    <a:pt x="840" y="792"/>
                  </a:lnTo>
                  <a:lnTo>
                    <a:pt x="840" y="804"/>
                  </a:lnTo>
                  <a:lnTo>
                    <a:pt x="840" y="810"/>
                  </a:lnTo>
                  <a:lnTo>
                    <a:pt x="828" y="816"/>
                  </a:lnTo>
                  <a:lnTo>
                    <a:pt x="810" y="810"/>
                  </a:lnTo>
                  <a:lnTo>
                    <a:pt x="792" y="810"/>
                  </a:lnTo>
                  <a:lnTo>
                    <a:pt x="786" y="816"/>
                  </a:lnTo>
                  <a:lnTo>
                    <a:pt x="780" y="816"/>
                  </a:lnTo>
                  <a:lnTo>
                    <a:pt x="780" y="822"/>
                  </a:lnTo>
                  <a:lnTo>
                    <a:pt x="780" y="828"/>
                  </a:lnTo>
                  <a:lnTo>
                    <a:pt x="780" y="834"/>
                  </a:lnTo>
                  <a:lnTo>
                    <a:pt x="786" y="840"/>
                  </a:lnTo>
                  <a:lnTo>
                    <a:pt x="786" y="846"/>
                  </a:lnTo>
                  <a:lnTo>
                    <a:pt x="786" y="852"/>
                  </a:lnTo>
                  <a:lnTo>
                    <a:pt x="780" y="858"/>
                  </a:lnTo>
                  <a:lnTo>
                    <a:pt x="768" y="858"/>
                  </a:lnTo>
                  <a:lnTo>
                    <a:pt x="762" y="864"/>
                  </a:lnTo>
                  <a:lnTo>
                    <a:pt x="756" y="864"/>
                  </a:lnTo>
                  <a:lnTo>
                    <a:pt x="750" y="870"/>
                  </a:lnTo>
                  <a:lnTo>
                    <a:pt x="744" y="876"/>
                  </a:lnTo>
                  <a:lnTo>
                    <a:pt x="732" y="876"/>
                  </a:lnTo>
                  <a:lnTo>
                    <a:pt x="726" y="876"/>
                  </a:lnTo>
                  <a:lnTo>
                    <a:pt x="720" y="870"/>
                  </a:lnTo>
                  <a:lnTo>
                    <a:pt x="714" y="864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6" y="876"/>
                  </a:lnTo>
                  <a:lnTo>
                    <a:pt x="696" y="882"/>
                  </a:lnTo>
                  <a:lnTo>
                    <a:pt x="696" y="894"/>
                  </a:lnTo>
                  <a:lnTo>
                    <a:pt x="690" y="900"/>
                  </a:lnTo>
                  <a:lnTo>
                    <a:pt x="684" y="900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54" y="888"/>
                  </a:lnTo>
                  <a:lnTo>
                    <a:pt x="654" y="882"/>
                  </a:lnTo>
                  <a:lnTo>
                    <a:pt x="642" y="876"/>
                  </a:lnTo>
                  <a:lnTo>
                    <a:pt x="636" y="876"/>
                  </a:lnTo>
                  <a:lnTo>
                    <a:pt x="630" y="876"/>
                  </a:lnTo>
                  <a:lnTo>
                    <a:pt x="630" y="870"/>
                  </a:lnTo>
                  <a:lnTo>
                    <a:pt x="618" y="858"/>
                  </a:lnTo>
                  <a:lnTo>
                    <a:pt x="612" y="858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06" y="876"/>
                  </a:lnTo>
                  <a:lnTo>
                    <a:pt x="606" y="882"/>
                  </a:lnTo>
                  <a:lnTo>
                    <a:pt x="606" y="888"/>
                  </a:lnTo>
                  <a:lnTo>
                    <a:pt x="600" y="894"/>
                  </a:lnTo>
                  <a:lnTo>
                    <a:pt x="594" y="894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76" y="894"/>
                  </a:lnTo>
                  <a:lnTo>
                    <a:pt x="582" y="900"/>
                  </a:lnTo>
                  <a:lnTo>
                    <a:pt x="576" y="906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64" y="918"/>
                  </a:lnTo>
                  <a:lnTo>
                    <a:pt x="558" y="918"/>
                  </a:lnTo>
                  <a:lnTo>
                    <a:pt x="558" y="912"/>
                  </a:lnTo>
                  <a:lnTo>
                    <a:pt x="552" y="906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06"/>
                  </a:lnTo>
                  <a:lnTo>
                    <a:pt x="534" y="906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0" y="924"/>
                  </a:lnTo>
                  <a:lnTo>
                    <a:pt x="504" y="924"/>
                  </a:lnTo>
                  <a:lnTo>
                    <a:pt x="498" y="930"/>
                  </a:lnTo>
                  <a:lnTo>
                    <a:pt x="492" y="924"/>
                  </a:lnTo>
                  <a:lnTo>
                    <a:pt x="486" y="930"/>
                  </a:lnTo>
                  <a:lnTo>
                    <a:pt x="480" y="942"/>
                  </a:lnTo>
                  <a:lnTo>
                    <a:pt x="468" y="948"/>
                  </a:lnTo>
                  <a:lnTo>
                    <a:pt x="444" y="942"/>
                  </a:lnTo>
                  <a:lnTo>
                    <a:pt x="438" y="954"/>
                  </a:lnTo>
                  <a:lnTo>
                    <a:pt x="426" y="954"/>
                  </a:lnTo>
                  <a:lnTo>
                    <a:pt x="420" y="948"/>
                  </a:lnTo>
                  <a:lnTo>
                    <a:pt x="408" y="936"/>
                  </a:lnTo>
                  <a:lnTo>
                    <a:pt x="396" y="936"/>
                  </a:lnTo>
                  <a:lnTo>
                    <a:pt x="390" y="930"/>
                  </a:lnTo>
                  <a:lnTo>
                    <a:pt x="390" y="924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66" y="924"/>
                  </a:lnTo>
                  <a:lnTo>
                    <a:pt x="360" y="924"/>
                  </a:lnTo>
                  <a:lnTo>
                    <a:pt x="348" y="918"/>
                  </a:lnTo>
                  <a:lnTo>
                    <a:pt x="342" y="906"/>
                  </a:lnTo>
                  <a:lnTo>
                    <a:pt x="336" y="906"/>
                  </a:lnTo>
                  <a:lnTo>
                    <a:pt x="330" y="906"/>
                  </a:lnTo>
                  <a:lnTo>
                    <a:pt x="312" y="906"/>
                  </a:lnTo>
                  <a:lnTo>
                    <a:pt x="312" y="900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888"/>
                  </a:lnTo>
                  <a:lnTo>
                    <a:pt x="312" y="882"/>
                  </a:lnTo>
                  <a:lnTo>
                    <a:pt x="306" y="876"/>
                  </a:lnTo>
                  <a:lnTo>
                    <a:pt x="312" y="876"/>
                  </a:lnTo>
                  <a:lnTo>
                    <a:pt x="312" y="870"/>
                  </a:lnTo>
                  <a:lnTo>
                    <a:pt x="318" y="876"/>
                  </a:lnTo>
                  <a:lnTo>
                    <a:pt x="318" y="870"/>
                  </a:lnTo>
                  <a:lnTo>
                    <a:pt x="324" y="876"/>
                  </a:lnTo>
                  <a:lnTo>
                    <a:pt x="330" y="876"/>
                  </a:lnTo>
                  <a:lnTo>
                    <a:pt x="336" y="876"/>
                  </a:lnTo>
                  <a:lnTo>
                    <a:pt x="342" y="876"/>
                  </a:lnTo>
                  <a:lnTo>
                    <a:pt x="336" y="876"/>
                  </a:lnTo>
                  <a:lnTo>
                    <a:pt x="330" y="870"/>
                  </a:lnTo>
                  <a:lnTo>
                    <a:pt x="324" y="870"/>
                  </a:lnTo>
                  <a:lnTo>
                    <a:pt x="318" y="870"/>
                  </a:lnTo>
                  <a:lnTo>
                    <a:pt x="312" y="870"/>
                  </a:lnTo>
                  <a:lnTo>
                    <a:pt x="318" y="864"/>
                  </a:lnTo>
                  <a:lnTo>
                    <a:pt x="318" y="858"/>
                  </a:lnTo>
                  <a:lnTo>
                    <a:pt x="318" y="852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6" y="846"/>
                  </a:lnTo>
                  <a:lnTo>
                    <a:pt x="312" y="828"/>
                  </a:lnTo>
                  <a:lnTo>
                    <a:pt x="312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06" y="816"/>
                  </a:lnTo>
                  <a:lnTo>
                    <a:pt x="306" y="810"/>
                  </a:lnTo>
                  <a:lnTo>
                    <a:pt x="306" y="816"/>
                  </a:lnTo>
                  <a:lnTo>
                    <a:pt x="312" y="822"/>
                  </a:lnTo>
                  <a:lnTo>
                    <a:pt x="306" y="822"/>
                  </a:lnTo>
                  <a:lnTo>
                    <a:pt x="306" y="828"/>
                  </a:lnTo>
                  <a:lnTo>
                    <a:pt x="306" y="834"/>
                  </a:lnTo>
                  <a:lnTo>
                    <a:pt x="300" y="840"/>
                  </a:lnTo>
                  <a:lnTo>
                    <a:pt x="300" y="846"/>
                  </a:lnTo>
                  <a:lnTo>
                    <a:pt x="306" y="852"/>
                  </a:lnTo>
                  <a:lnTo>
                    <a:pt x="306" y="858"/>
                  </a:lnTo>
                  <a:lnTo>
                    <a:pt x="312" y="858"/>
                  </a:lnTo>
                  <a:lnTo>
                    <a:pt x="312" y="864"/>
                  </a:lnTo>
                  <a:lnTo>
                    <a:pt x="306" y="864"/>
                  </a:lnTo>
                  <a:lnTo>
                    <a:pt x="300" y="864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82" y="870"/>
                  </a:lnTo>
                  <a:lnTo>
                    <a:pt x="276" y="870"/>
                  </a:lnTo>
                  <a:lnTo>
                    <a:pt x="270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8" y="870"/>
                  </a:lnTo>
                  <a:lnTo>
                    <a:pt x="252" y="870"/>
                  </a:lnTo>
                  <a:lnTo>
                    <a:pt x="252" y="864"/>
                  </a:lnTo>
                  <a:lnTo>
                    <a:pt x="246" y="858"/>
                  </a:lnTo>
                  <a:lnTo>
                    <a:pt x="246" y="852"/>
                  </a:lnTo>
                  <a:lnTo>
                    <a:pt x="246" y="846"/>
                  </a:lnTo>
                  <a:lnTo>
                    <a:pt x="246" y="840"/>
                  </a:lnTo>
                  <a:lnTo>
                    <a:pt x="246" y="834"/>
                  </a:lnTo>
                  <a:lnTo>
                    <a:pt x="246" y="828"/>
                  </a:lnTo>
                  <a:lnTo>
                    <a:pt x="246" y="822"/>
                  </a:lnTo>
                  <a:lnTo>
                    <a:pt x="240" y="816"/>
                  </a:lnTo>
                  <a:lnTo>
                    <a:pt x="240" y="810"/>
                  </a:lnTo>
                  <a:lnTo>
                    <a:pt x="240" y="804"/>
                  </a:lnTo>
                  <a:lnTo>
                    <a:pt x="240" y="798"/>
                  </a:lnTo>
                  <a:lnTo>
                    <a:pt x="234" y="798"/>
                  </a:lnTo>
                  <a:lnTo>
                    <a:pt x="234" y="792"/>
                  </a:lnTo>
                  <a:lnTo>
                    <a:pt x="234" y="786"/>
                  </a:lnTo>
                  <a:lnTo>
                    <a:pt x="234" y="780"/>
                  </a:lnTo>
                  <a:lnTo>
                    <a:pt x="228" y="780"/>
                  </a:lnTo>
                  <a:lnTo>
                    <a:pt x="228" y="774"/>
                  </a:lnTo>
                  <a:lnTo>
                    <a:pt x="228" y="768"/>
                  </a:lnTo>
                  <a:lnTo>
                    <a:pt x="222" y="762"/>
                  </a:lnTo>
                  <a:lnTo>
                    <a:pt x="222" y="756"/>
                  </a:lnTo>
                  <a:lnTo>
                    <a:pt x="222" y="750"/>
                  </a:lnTo>
                  <a:lnTo>
                    <a:pt x="222" y="744"/>
                  </a:lnTo>
                  <a:lnTo>
                    <a:pt x="222" y="738"/>
                  </a:lnTo>
                  <a:lnTo>
                    <a:pt x="216" y="732"/>
                  </a:lnTo>
                  <a:lnTo>
                    <a:pt x="222" y="732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32"/>
                  </a:lnTo>
                  <a:lnTo>
                    <a:pt x="246" y="732"/>
                  </a:lnTo>
                  <a:lnTo>
                    <a:pt x="246" y="738"/>
                  </a:lnTo>
                  <a:lnTo>
                    <a:pt x="252" y="738"/>
                  </a:lnTo>
                  <a:lnTo>
                    <a:pt x="258" y="738"/>
                  </a:lnTo>
                  <a:lnTo>
                    <a:pt x="258" y="732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8" y="732"/>
                  </a:lnTo>
                  <a:lnTo>
                    <a:pt x="294" y="732"/>
                  </a:lnTo>
                  <a:lnTo>
                    <a:pt x="300" y="732"/>
                  </a:lnTo>
                  <a:lnTo>
                    <a:pt x="300" y="738"/>
                  </a:lnTo>
                  <a:lnTo>
                    <a:pt x="306" y="738"/>
                  </a:lnTo>
                  <a:lnTo>
                    <a:pt x="306" y="744"/>
                  </a:lnTo>
                  <a:lnTo>
                    <a:pt x="306" y="750"/>
                  </a:lnTo>
                  <a:lnTo>
                    <a:pt x="312" y="750"/>
                  </a:lnTo>
                  <a:lnTo>
                    <a:pt x="312" y="756"/>
                  </a:lnTo>
                  <a:lnTo>
                    <a:pt x="318" y="756"/>
                  </a:lnTo>
                  <a:lnTo>
                    <a:pt x="318" y="750"/>
                  </a:lnTo>
                  <a:lnTo>
                    <a:pt x="312" y="750"/>
                  </a:lnTo>
                  <a:lnTo>
                    <a:pt x="312" y="744"/>
                  </a:lnTo>
                  <a:lnTo>
                    <a:pt x="318" y="738"/>
                  </a:lnTo>
                  <a:lnTo>
                    <a:pt x="324" y="738"/>
                  </a:lnTo>
                  <a:lnTo>
                    <a:pt x="330" y="738"/>
                  </a:lnTo>
                  <a:lnTo>
                    <a:pt x="336" y="738"/>
                  </a:lnTo>
                  <a:lnTo>
                    <a:pt x="342" y="738"/>
                  </a:lnTo>
                  <a:lnTo>
                    <a:pt x="348" y="732"/>
                  </a:lnTo>
                  <a:lnTo>
                    <a:pt x="354" y="732"/>
                  </a:lnTo>
                  <a:lnTo>
                    <a:pt x="360" y="732"/>
                  </a:lnTo>
                  <a:lnTo>
                    <a:pt x="360" y="726"/>
                  </a:lnTo>
                  <a:lnTo>
                    <a:pt x="366" y="726"/>
                  </a:lnTo>
                  <a:lnTo>
                    <a:pt x="366" y="720"/>
                  </a:lnTo>
                  <a:lnTo>
                    <a:pt x="366" y="714"/>
                  </a:lnTo>
                  <a:lnTo>
                    <a:pt x="360" y="708"/>
                  </a:lnTo>
                  <a:lnTo>
                    <a:pt x="354" y="708"/>
                  </a:lnTo>
                  <a:lnTo>
                    <a:pt x="348" y="702"/>
                  </a:lnTo>
                  <a:lnTo>
                    <a:pt x="354" y="702"/>
                  </a:lnTo>
                  <a:lnTo>
                    <a:pt x="354" y="696"/>
                  </a:lnTo>
                  <a:lnTo>
                    <a:pt x="348" y="696"/>
                  </a:lnTo>
                  <a:lnTo>
                    <a:pt x="348" y="690"/>
                  </a:lnTo>
                  <a:lnTo>
                    <a:pt x="342" y="690"/>
                  </a:lnTo>
                  <a:lnTo>
                    <a:pt x="342" y="684"/>
                  </a:lnTo>
                  <a:lnTo>
                    <a:pt x="342" y="678"/>
                  </a:lnTo>
                  <a:lnTo>
                    <a:pt x="342" y="666"/>
                  </a:lnTo>
                  <a:lnTo>
                    <a:pt x="342" y="660"/>
                  </a:lnTo>
                  <a:lnTo>
                    <a:pt x="348" y="654"/>
                  </a:lnTo>
                  <a:lnTo>
                    <a:pt x="348" y="642"/>
                  </a:lnTo>
                  <a:lnTo>
                    <a:pt x="354" y="642"/>
                  </a:lnTo>
                  <a:lnTo>
                    <a:pt x="360" y="642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66" y="642"/>
                  </a:lnTo>
                  <a:lnTo>
                    <a:pt x="372" y="642"/>
                  </a:lnTo>
                  <a:lnTo>
                    <a:pt x="378" y="642"/>
                  </a:lnTo>
                  <a:lnTo>
                    <a:pt x="384" y="642"/>
                  </a:lnTo>
                  <a:lnTo>
                    <a:pt x="390" y="642"/>
                  </a:lnTo>
                  <a:lnTo>
                    <a:pt x="396" y="642"/>
                  </a:lnTo>
                  <a:lnTo>
                    <a:pt x="396" y="636"/>
                  </a:lnTo>
                  <a:lnTo>
                    <a:pt x="402" y="636"/>
                  </a:lnTo>
                  <a:lnTo>
                    <a:pt x="408" y="636"/>
                  </a:lnTo>
                  <a:lnTo>
                    <a:pt x="402" y="636"/>
                  </a:lnTo>
                  <a:lnTo>
                    <a:pt x="402" y="630"/>
                  </a:lnTo>
                  <a:lnTo>
                    <a:pt x="408" y="630"/>
                  </a:lnTo>
                  <a:lnTo>
                    <a:pt x="408" y="624"/>
                  </a:lnTo>
                  <a:lnTo>
                    <a:pt x="408" y="618"/>
                  </a:lnTo>
                  <a:lnTo>
                    <a:pt x="414" y="618"/>
                  </a:lnTo>
                  <a:lnTo>
                    <a:pt x="420" y="618"/>
                  </a:lnTo>
                  <a:lnTo>
                    <a:pt x="426" y="624"/>
                  </a:lnTo>
                  <a:lnTo>
                    <a:pt x="432" y="624"/>
                  </a:lnTo>
                  <a:lnTo>
                    <a:pt x="438" y="624"/>
                  </a:lnTo>
                  <a:lnTo>
                    <a:pt x="438" y="618"/>
                  </a:lnTo>
                  <a:lnTo>
                    <a:pt x="444" y="618"/>
                  </a:lnTo>
                  <a:lnTo>
                    <a:pt x="450" y="618"/>
                  </a:lnTo>
                  <a:lnTo>
                    <a:pt x="444" y="618"/>
                  </a:lnTo>
                  <a:lnTo>
                    <a:pt x="438" y="618"/>
                  </a:lnTo>
                  <a:lnTo>
                    <a:pt x="438" y="612"/>
                  </a:lnTo>
                  <a:lnTo>
                    <a:pt x="438" y="618"/>
                  </a:lnTo>
                  <a:lnTo>
                    <a:pt x="432" y="624"/>
                  </a:lnTo>
                  <a:lnTo>
                    <a:pt x="426" y="618"/>
                  </a:lnTo>
                  <a:lnTo>
                    <a:pt x="420" y="612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402" y="624"/>
                  </a:lnTo>
                  <a:lnTo>
                    <a:pt x="396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78" y="630"/>
                  </a:lnTo>
                  <a:lnTo>
                    <a:pt x="378" y="636"/>
                  </a:lnTo>
                  <a:lnTo>
                    <a:pt x="372" y="630"/>
                  </a:lnTo>
                  <a:lnTo>
                    <a:pt x="366" y="630"/>
                  </a:lnTo>
                  <a:lnTo>
                    <a:pt x="360" y="630"/>
                  </a:lnTo>
                  <a:lnTo>
                    <a:pt x="354" y="630"/>
                  </a:lnTo>
                  <a:lnTo>
                    <a:pt x="354" y="636"/>
                  </a:lnTo>
                  <a:lnTo>
                    <a:pt x="348" y="636"/>
                  </a:lnTo>
                  <a:lnTo>
                    <a:pt x="348" y="642"/>
                  </a:lnTo>
                  <a:lnTo>
                    <a:pt x="342" y="642"/>
                  </a:lnTo>
                  <a:lnTo>
                    <a:pt x="342" y="648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6" y="660"/>
                  </a:lnTo>
                  <a:lnTo>
                    <a:pt x="336" y="666"/>
                  </a:lnTo>
                  <a:lnTo>
                    <a:pt x="330" y="672"/>
                  </a:lnTo>
                  <a:lnTo>
                    <a:pt x="330" y="678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24" y="696"/>
                  </a:lnTo>
                  <a:lnTo>
                    <a:pt x="324" y="702"/>
                  </a:lnTo>
                  <a:lnTo>
                    <a:pt x="318" y="702"/>
                  </a:lnTo>
                  <a:lnTo>
                    <a:pt x="318" y="708"/>
                  </a:lnTo>
                  <a:lnTo>
                    <a:pt x="312" y="708"/>
                  </a:lnTo>
                  <a:lnTo>
                    <a:pt x="312" y="702"/>
                  </a:lnTo>
                  <a:lnTo>
                    <a:pt x="306" y="702"/>
                  </a:lnTo>
                  <a:lnTo>
                    <a:pt x="300" y="702"/>
                  </a:lnTo>
                  <a:lnTo>
                    <a:pt x="294" y="696"/>
                  </a:lnTo>
                  <a:lnTo>
                    <a:pt x="288" y="696"/>
                  </a:lnTo>
                  <a:lnTo>
                    <a:pt x="282" y="690"/>
                  </a:lnTo>
                  <a:lnTo>
                    <a:pt x="288" y="684"/>
                  </a:lnTo>
                  <a:lnTo>
                    <a:pt x="294" y="684"/>
                  </a:lnTo>
                  <a:lnTo>
                    <a:pt x="294" y="678"/>
                  </a:lnTo>
                  <a:lnTo>
                    <a:pt x="300" y="678"/>
                  </a:lnTo>
                  <a:lnTo>
                    <a:pt x="294" y="678"/>
                  </a:lnTo>
                  <a:lnTo>
                    <a:pt x="294" y="672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94" y="672"/>
                  </a:lnTo>
                  <a:lnTo>
                    <a:pt x="288" y="678"/>
                  </a:lnTo>
                  <a:lnTo>
                    <a:pt x="282" y="684"/>
                  </a:lnTo>
                  <a:lnTo>
                    <a:pt x="282" y="678"/>
                  </a:lnTo>
                  <a:lnTo>
                    <a:pt x="276" y="678"/>
                  </a:lnTo>
                  <a:lnTo>
                    <a:pt x="282" y="684"/>
                  </a:lnTo>
                  <a:lnTo>
                    <a:pt x="282" y="690"/>
                  </a:lnTo>
                  <a:lnTo>
                    <a:pt x="282" y="696"/>
                  </a:lnTo>
                  <a:lnTo>
                    <a:pt x="288" y="702"/>
                  </a:lnTo>
                  <a:lnTo>
                    <a:pt x="294" y="708"/>
                  </a:lnTo>
                  <a:lnTo>
                    <a:pt x="294" y="714"/>
                  </a:lnTo>
                  <a:lnTo>
                    <a:pt x="288" y="714"/>
                  </a:lnTo>
                  <a:lnTo>
                    <a:pt x="282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64" y="714"/>
                  </a:lnTo>
                  <a:lnTo>
                    <a:pt x="258" y="714"/>
                  </a:lnTo>
                  <a:lnTo>
                    <a:pt x="252" y="714"/>
                  </a:lnTo>
                  <a:lnTo>
                    <a:pt x="246" y="714"/>
                  </a:lnTo>
                  <a:lnTo>
                    <a:pt x="240" y="714"/>
                  </a:lnTo>
                  <a:lnTo>
                    <a:pt x="240" y="708"/>
                  </a:lnTo>
                  <a:lnTo>
                    <a:pt x="234" y="708"/>
                  </a:lnTo>
                  <a:lnTo>
                    <a:pt x="228" y="708"/>
                  </a:lnTo>
                  <a:lnTo>
                    <a:pt x="222" y="702"/>
                  </a:lnTo>
                  <a:lnTo>
                    <a:pt x="216" y="702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2" y="690"/>
                  </a:lnTo>
                  <a:lnTo>
                    <a:pt x="186" y="690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68" y="684"/>
                  </a:lnTo>
                  <a:lnTo>
                    <a:pt x="168" y="678"/>
                  </a:lnTo>
                  <a:lnTo>
                    <a:pt x="156" y="672"/>
                  </a:lnTo>
                  <a:lnTo>
                    <a:pt x="150" y="660"/>
                  </a:lnTo>
                  <a:lnTo>
                    <a:pt x="126" y="630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12"/>
                  </a:lnTo>
                  <a:lnTo>
                    <a:pt x="126" y="606"/>
                  </a:lnTo>
                  <a:lnTo>
                    <a:pt x="126" y="600"/>
                  </a:lnTo>
                  <a:lnTo>
                    <a:pt x="132" y="594"/>
                  </a:lnTo>
                  <a:lnTo>
                    <a:pt x="138" y="594"/>
                  </a:lnTo>
                  <a:lnTo>
                    <a:pt x="144" y="588"/>
                  </a:lnTo>
                  <a:lnTo>
                    <a:pt x="144" y="582"/>
                  </a:lnTo>
                  <a:lnTo>
                    <a:pt x="150" y="582"/>
                  </a:lnTo>
                  <a:lnTo>
                    <a:pt x="150" y="576"/>
                  </a:lnTo>
                  <a:lnTo>
                    <a:pt x="156" y="576"/>
                  </a:lnTo>
                  <a:lnTo>
                    <a:pt x="156" y="582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8" y="576"/>
                  </a:lnTo>
                  <a:lnTo>
                    <a:pt x="174" y="576"/>
                  </a:lnTo>
                  <a:lnTo>
                    <a:pt x="180" y="582"/>
                  </a:lnTo>
                  <a:lnTo>
                    <a:pt x="192" y="582"/>
                  </a:lnTo>
                  <a:lnTo>
                    <a:pt x="198" y="582"/>
                  </a:lnTo>
                  <a:lnTo>
                    <a:pt x="204" y="582"/>
                  </a:lnTo>
                  <a:lnTo>
                    <a:pt x="210" y="582"/>
                  </a:lnTo>
                  <a:lnTo>
                    <a:pt x="216" y="588"/>
                  </a:lnTo>
                  <a:lnTo>
                    <a:pt x="222" y="588"/>
                  </a:lnTo>
                  <a:lnTo>
                    <a:pt x="234" y="588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46" y="594"/>
                  </a:lnTo>
                  <a:lnTo>
                    <a:pt x="252" y="588"/>
                  </a:lnTo>
                  <a:lnTo>
                    <a:pt x="258" y="588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52" y="600"/>
                  </a:lnTo>
                  <a:lnTo>
                    <a:pt x="246" y="600"/>
                  </a:lnTo>
                  <a:lnTo>
                    <a:pt x="246" y="606"/>
                  </a:lnTo>
                  <a:lnTo>
                    <a:pt x="246" y="600"/>
                  </a:lnTo>
                  <a:lnTo>
                    <a:pt x="252" y="600"/>
                  </a:lnTo>
                  <a:lnTo>
                    <a:pt x="258" y="594"/>
                  </a:lnTo>
                  <a:lnTo>
                    <a:pt x="264" y="594"/>
                  </a:lnTo>
                  <a:lnTo>
                    <a:pt x="264" y="588"/>
                  </a:lnTo>
                  <a:lnTo>
                    <a:pt x="270" y="588"/>
                  </a:lnTo>
                  <a:lnTo>
                    <a:pt x="270" y="582"/>
                  </a:lnTo>
                  <a:lnTo>
                    <a:pt x="270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76" y="564"/>
                  </a:lnTo>
                  <a:lnTo>
                    <a:pt x="270" y="558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58"/>
                  </a:lnTo>
                  <a:lnTo>
                    <a:pt x="282" y="558"/>
                  </a:lnTo>
                  <a:lnTo>
                    <a:pt x="288" y="558"/>
                  </a:lnTo>
                  <a:lnTo>
                    <a:pt x="294" y="558"/>
                  </a:lnTo>
                  <a:lnTo>
                    <a:pt x="300" y="558"/>
                  </a:lnTo>
                  <a:lnTo>
                    <a:pt x="306" y="558"/>
                  </a:lnTo>
                  <a:lnTo>
                    <a:pt x="312" y="558"/>
                  </a:lnTo>
                  <a:lnTo>
                    <a:pt x="318" y="558"/>
                  </a:lnTo>
                  <a:lnTo>
                    <a:pt x="318" y="564"/>
                  </a:lnTo>
                  <a:lnTo>
                    <a:pt x="324" y="564"/>
                  </a:lnTo>
                  <a:lnTo>
                    <a:pt x="324" y="570"/>
                  </a:lnTo>
                  <a:lnTo>
                    <a:pt x="330" y="570"/>
                  </a:lnTo>
                  <a:lnTo>
                    <a:pt x="336" y="570"/>
                  </a:lnTo>
                  <a:lnTo>
                    <a:pt x="342" y="570"/>
                  </a:lnTo>
                  <a:lnTo>
                    <a:pt x="348" y="570"/>
                  </a:lnTo>
                  <a:lnTo>
                    <a:pt x="354" y="570"/>
                  </a:lnTo>
                  <a:lnTo>
                    <a:pt x="360" y="570"/>
                  </a:lnTo>
                  <a:lnTo>
                    <a:pt x="366" y="570"/>
                  </a:lnTo>
                  <a:lnTo>
                    <a:pt x="360" y="570"/>
                  </a:lnTo>
                  <a:lnTo>
                    <a:pt x="360" y="564"/>
                  </a:lnTo>
                  <a:lnTo>
                    <a:pt x="354" y="564"/>
                  </a:lnTo>
                  <a:lnTo>
                    <a:pt x="348" y="564"/>
                  </a:lnTo>
                  <a:lnTo>
                    <a:pt x="342" y="564"/>
                  </a:lnTo>
                  <a:lnTo>
                    <a:pt x="342" y="570"/>
                  </a:lnTo>
                  <a:lnTo>
                    <a:pt x="336" y="564"/>
                  </a:lnTo>
                  <a:lnTo>
                    <a:pt x="336" y="570"/>
                  </a:lnTo>
                  <a:lnTo>
                    <a:pt x="336" y="564"/>
                  </a:lnTo>
                  <a:lnTo>
                    <a:pt x="330" y="564"/>
                  </a:lnTo>
                  <a:lnTo>
                    <a:pt x="324" y="558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18" y="558"/>
                  </a:lnTo>
                  <a:lnTo>
                    <a:pt x="312" y="552"/>
                  </a:lnTo>
                  <a:lnTo>
                    <a:pt x="312" y="558"/>
                  </a:lnTo>
                  <a:lnTo>
                    <a:pt x="312" y="552"/>
                  </a:lnTo>
                  <a:lnTo>
                    <a:pt x="306" y="552"/>
                  </a:lnTo>
                  <a:lnTo>
                    <a:pt x="300" y="546"/>
                  </a:lnTo>
                  <a:lnTo>
                    <a:pt x="294" y="546"/>
                  </a:lnTo>
                  <a:lnTo>
                    <a:pt x="288" y="546"/>
                  </a:lnTo>
                  <a:lnTo>
                    <a:pt x="282" y="546"/>
                  </a:lnTo>
                  <a:lnTo>
                    <a:pt x="276" y="546"/>
                  </a:lnTo>
                  <a:lnTo>
                    <a:pt x="276" y="552"/>
                  </a:lnTo>
                  <a:lnTo>
                    <a:pt x="270" y="552"/>
                  </a:lnTo>
                  <a:lnTo>
                    <a:pt x="270" y="558"/>
                  </a:lnTo>
                  <a:lnTo>
                    <a:pt x="270" y="564"/>
                  </a:lnTo>
                  <a:lnTo>
                    <a:pt x="264" y="570"/>
                  </a:lnTo>
                  <a:lnTo>
                    <a:pt x="258" y="576"/>
                  </a:lnTo>
                  <a:lnTo>
                    <a:pt x="258" y="582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34" y="576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16" y="552"/>
                  </a:lnTo>
                  <a:lnTo>
                    <a:pt x="216" y="546"/>
                  </a:lnTo>
                  <a:lnTo>
                    <a:pt x="216" y="540"/>
                  </a:lnTo>
                  <a:lnTo>
                    <a:pt x="222" y="534"/>
                  </a:lnTo>
                  <a:lnTo>
                    <a:pt x="222" y="528"/>
                  </a:lnTo>
                  <a:lnTo>
                    <a:pt x="228" y="522"/>
                  </a:lnTo>
                  <a:lnTo>
                    <a:pt x="228" y="516"/>
                  </a:lnTo>
                  <a:lnTo>
                    <a:pt x="228" y="510"/>
                  </a:lnTo>
                  <a:lnTo>
                    <a:pt x="234" y="510"/>
                  </a:lnTo>
                  <a:lnTo>
                    <a:pt x="240" y="516"/>
                  </a:lnTo>
                  <a:lnTo>
                    <a:pt x="246" y="522"/>
                  </a:lnTo>
                  <a:lnTo>
                    <a:pt x="246" y="516"/>
                  </a:lnTo>
                  <a:lnTo>
                    <a:pt x="240" y="516"/>
                  </a:lnTo>
                  <a:lnTo>
                    <a:pt x="240" y="510"/>
                  </a:lnTo>
                  <a:lnTo>
                    <a:pt x="234" y="510"/>
                  </a:lnTo>
                  <a:lnTo>
                    <a:pt x="234" y="504"/>
                  </a:lnTo>
                  <a:lnTo>
                    <a:pt x="228" y="504"/>
                  </a:lnTo>
                  <a:lnTo>
                    <a:pt x="222" y="504"/>
                  </a:lnTo>
                  <a:lnTo>
                    <a:pt x="222" y="498"/>
                  </a:lnTo>
                  <a:lnTo>
                    <a:pt x="222" y="504"/>
                  </a:lnTo>
                  <a:lnTo>
                    <a:pt x="222" y="510"/>
                  </a:lnTo>
                  <a:lnTo>
                    <a:pt x="222" y="516"/>
                  </a:lnTo>
                  <a:lnTo>
                    <a:pt x="216" y="522"/>
                  </a:lnTo>
                  <a:lnTo>
                    <a:pt x="216" y="528"/>
                  </a:lnTo>
                  <a:lnTo>
                    <a:pt x="210" y="528"/>
                  </a:lnTo>
                  <a:lnTo>
                    <a:pt x="216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04" y="546"/>
                  </a:lnTo>
                  <a:lnTo>
                    <a:pt x="204" y="552"/>
                  </a:lnTo>
                  <a:lnTo>
                    <a:pt x="204" y="558"/>
                  </a:lnTo>
                  <a:lnTo>
                    <a:pt x="204" y="564"/>
                  </a:lnTo>
                  <a:lnTo>
                    <a:pt x="198" y="570"/>
                  </a:lnTo>
                  <a:lnTo>
                    <a:pt x="192" y="564"/>
                  </a:lnTo>
                  <a:lnTo>
                    <a:pt x="186" y="564"/>
                  </a:lnTo>
                  <a:lnTo>
                    <a:pt x="180" y="564"/>
                  </a:lnTo>
                  <a:lnTo>
                    <a:pt x="174" y="564"/>
                  </a:lnTo>
                  <a:lnTo>
                    <a:pt x="168" y="564"/>
                  </a:lnTo>
                  <a:lnTo>
                    <a:pt x="162" y="564"/>
                  </a:lnTo>
                  <a:lnTo>
                    <a:pt x="156" y="570"/>
                  </a:lnTo>
                  <a:lnTo>
                    <a:pt x="150" y="570"/>
                  </a:lnTo>
                  <a:lnTo>
                    <a:pt x="150" y="564"/>
                  </a:lnTo>
                  <a:lnTo>
                    <a:pt x="150" y="570"/>
                  </a:lnTo>
                  <a:lnTo>
                    <a:pt x="150" y="576"/>
                  </a:lnTo>
                  <a:lnTo>
                    <a:pt x="144" y="576"/>
                  </a:lnTo>
                  <a:lnTo>
                    <a:pt x="138" y="576"/>
                  </a:lnTo>
                  <a:lnTo>
                    <a:pt x="132" y="582"/>
                  </a:lnTo>
                  <a:lnTo>
                    <a:pt x="126" y="582"/>
                  </a:lnTo>
                  <a:lnTo>
                    <a:pt x="120" y="582"/>
                  </a:lnTo>
                  <a:lnTo>
                    <a:pt x="114" y="576"/>
                  </a:lnTo>
                  <a:lnTo>
                    <a:pt x="108" y="564"/>
                  </a:lnTo>
                  <a:lnTo>
                    <a:pt x="102" y="558"/>
                  </a:lnTo>
                  <a:lnTo>
                    <a:pt x="96" y="552"/>
                  </a:lnTo>
                  <a:lnTo>
                    <a:pt x="90" y="546"/>
                  </a:lnTo>
                  <a:lnTo>
                    <a:pt x="90" y="540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2"/>
                  </a:lnTo>
                  <a:lnTo>
                    <a:pt x="78" y="516"/>
                  </a:lnTo>
                  <a:lnTo>
                    <a:pt x="72" y="510"/>
                  </a:lnTo>
                  <a:lnTo>
                    <a:pt x="66" y="504"/>
                  </a:lnTo>
                  <a:lnTo>
                    <a:pt x="66" y="498"/>
                  </a:lnTo>
                  <a:lnTo>
                    <a:pt x="66" y="492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6" y="474"/>
                  </a:lnTo>
                  <a:lnTo>
                    <a:pt x="72" y="474"/>
                  </a:lnTo>
                  <a:lnTo>
                    <a:pt x="72" y="468"/>
                  </a:lnTo>
                  <a:lnTo>
                    <a:pt x="78" y="462"/>
                  </a:lnTo>
                  <a:lnTo>
                    <a:pt x="78" y="456"/>
                  </a:lnTo>
                  <a:lnTo>
                    <a:pt x="84" y="456"/>
                  </a:lnTo>
                  <a:lnTo>
                    <a:pt x="84" y="450"/>
                  </a:lnTo>
                  <a:lnTo>
                    <a:pt x="84" y="444"/>
                  </a:lnTo>
                  <a:lnTo>
                    <a:pt x="90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02" y="450"/>
                  </a:lnTo>
                  <a:lnTo>
                    <a:pt x="108" y="450"/>
                  </a:lnTo>
                  <a:lnTo>
                    <a:pt x="108" y="456"/>
                  </a:lnTo>
                  <a:lnTo>
                    <a:pt x="108" y="462"/>
                  </a:lnTo>
                  <a:lnTo>
                    <a:pt x="114" y="462"/>
                  </a:lnTo>
                  <a:lnTo>
                    <a:pt x="114" y="468"/>
                  </a:lnTo>
                  <a:lnTo>
                    <a:pt x="114" y="474"/>
                  </a:lnTo>
                  <a:lnTo>
                    <a:pt x="114" y="480"/>
                  </a:lnTo>
                  <a:lnTo>
                    <a:pt x="114" y="486"/>
                  </a:lnTo>
                  <a:lnTo>
                    <a:pt x="120" y="486"/>
                  </a:lnTo>
                  <a:lnTo>
                    <a:pt x="126" y="486"/>
                  </a:lnTo>
                  <a:lnTo>
                    <a:pt x="132" y="486"/>
                  </a:lnTo>
                  <a:lnTo>
                    <a:pt x="126" y="480"/>
                  </a:lnTo>
                  <a:lnTo>
                    <a:pt x="120" y="480"/>
                  </a:lnTo>
                  <a:lnTo>
                    <a:pt x="114" y="480"/>
                  </a:lnTo>
                  <a:lnTo>
                    <a:pt x="120" y="480"/>
                  </a:lnTo>
                  <a:lnTo>
                    <a:pt x="120" y="474"/>
                  </a:lnTo>
                  <a:lnTo>
                    <a:pt x="120" y="468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108" y="450"/>
                  </a:lnTo>
                  <a:lnTo>
                    <a:pt x="108" y="444"/>
                  </a:lnTo>
                  <a:lnTo>
                    <a:pt x="114" y="438"/>
                  </a:lnTo>
                  <a:lnTo>
                    <a:pt x="120" y="438"/>
                  </a:lnTo>
                  <a:lnTo>
                    <a:pt x="120" y="432"/>
                  </a:lnTo>
                  <a:lnTo>
                    <a:pt x="132" y="426"/>
                  </a:lnTo>
                  <a:lnTo>
                    <a:pt x="138" y="420"/>
                  </a:lnTo>
                  <a:lnTo>
                    <a:pt x="144" y="420"/>
                  </a:lnTo>
                  <a:lnTo>
                    <a:pt x="144" y="414"/>
                  </a:lnTo>
                  <a:lnTo>
                    <a:pt x="144" y="420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6" y="414"/>
                  </a:lnTo>
                  <a:lnTo>
                    <a:pt x="162" y="414"/>
                  </a:lnTo>
                  <a:lnTo>
                    <a:pt x="162" y="408"/>
                  </a:lnTo>
                  <a:lnTo>
                    <a:pt x="168" y="408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86" y="396"/>
                  </a:lnTo>
                  <a:lnTo>
                    <a:pt x="186" y="390"/>
                  </a:lnTo>
                  <a:lnTo>
                    <a:pt x="192" y="390"/>
                  </a:lnTo>
                  <a:lnTo>
                    <a:pt x="198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210" y="378"/>
                  </a:lnTo>
                  <a:lnTo>
                    <a:pt x="210" y="372"/>
                  </a:lnTo>
                  <a:lnTo>
                    <a:pt x="216" y="372"/>
                  </a:lnTo>
                  <a:lnTo>
                    <a:pt x="222" y="366"/>
                  </a:lnTo>
                  <a:lnTo>
                    <a:pt x="228" y="360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6" y="348"/>
                  </a:lnTo>
                  <a:lnTo>
                    <a:pt x="252" y="348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0" y="342"/>
                  </a:lnTo>
                  <a:lnTo>
                    <a:pt x="234" y="342"/>
                  </a:lnTo>
                  <a:lnTo>
                    <a:pt x="228" y="336"/>
                  </a:lnTo>
                  <a:lnTo>
                    <a:pt x="222" y="336"/>
                  </a:lnTo>
                  <a:lnTo>
                    <a:pt x="216" y="336"/>
                  </a:lnTo>
                  <a:lnTo>
                    <a:pt x="222" y="324"/>
                  </a:lnTo>
                  <a:lnTo>
                    <a:pt x="222" y="318"/>
                  </a:lnTo>
                  <a:lnTo>
                    <a:pt x="222" y="312"/>
                  </a:lnTo>
                  <a:lnTo>
                    <a:pt x="234" y="318"/>
                  </a:lnTo>
                  <a:lnTo>
                    <a:pt x="246" y="318"/>
                  </a:lnTo>
                  <a:lnTo>
                    <a:pt x="258" y="318"/>
                  </a:lnTo>
                  <a:lnTo>
                    <a:pt x="270" y="312"/>
                  </a:lnTo>
                  <a:lnTo>
                    <a:pt x="276" y="312"/>
                  </a:lnTo>
                  <a:lnTo>
                    <a:pt x="288" y="324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94" y="306"/>
                  </a:lnTo>
                  <a:lnTo>
                    <a:pt x="300" y="300"/>
                  </a:lnTo>
                  <a:lnTo>
                    <a:pt x="306" y="306"/>
                  </a:lnTo>
                  <a:lnTo>
                    <a:pt x="312" y="318"/>
                  </a:lnTo>
                  <a:lnTo>
                    <a:pt x="318" y="312"/>
                  </a:lnTo>
                  <a:lnTo>
                    <a:pt x="324" y="312"/>
                  </a:lnTo>
                  <a:lnTo>
                    <a:pt x="330" y="312"/>
                  </a:lnTo>
                  <a:lnTo>
                    <a:pt x="342" y="306"/>
                  </a:lnTo>
                  <a:lnTo>
                    <a:pt x="348" y="306"/>
                  </a:lnTo>
                  <a:lnTo>
                    <a:pt x="348" y="312"/>
                  </a:lnTo>
                  <a:lnTo>
                    <a:pt x="348" y="318"/>
                  </a:lnTo>
                  <a:lnTo>
                    <a:pt x="354" y="318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60" y="336"/>
                  </a:lnTo>
                  <a:lnTo>
                    <a:pt x="366" y="330"/>
                  </a:lnTo>
                  <a:lnTo>
                    <a:pt x="378" y="324"/>
                  </a:lnTo>
                  <a:lnTo>
                    <a:pt x="384" y="324"/>
                  </a:lnTo>
                  <a:lnTo>
                    <a:pt x="384" y="318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6"/>
                  </a:lnTo>
                  <a:lnTo>
                    <a:pt x="402" y="306"/>
                  </a:lnTo>
                  <a:lnTo>
                    <a:pt x="408" y="306"/>
                  </a:lnTo>
                  <a:lnTo>
                    <a:pt x="414" y="300"/>
                  </a:lnTo>
                  <a:lnTo>
                    <a:pt x="420" y="300"/>
                  </a:lnTo>
                  <a:lnTo>
                    <a:pt x="426" y="300"/>
                  </a:lnTo>
                  <a:lnTo>
                    <a:pt x="432" y="300"/>
                  </a:lnTo>
                  <a:lnTo>
                    <a:pt x="444" y="288"/>
                  </a:lnTo>
                  <a:lnTo>
                    <a:pt x="450" y="294"/>
                  </a:lnTo>
                  <a:lnTo>
                    <a:pt x="468" y="300"/>
                  </a:lnTo>
                  <a:lnTo>
                    <a:pt x="498" y="312"/>
                  </a:lnTo>
                  <a:lnTo>
                    <a:pt x="504" y="324"/>
                  </a:lnTo>
                  <a:lnTo>
                    <a:pt x="516" y="330"/>
                  </a:lnTo>
                  <a:lnTo>
                    <a:pt x="516" y="336"/>
                  </a:lnTo>
                  <a:lnTo>
                    <a:pt x="540" y="342"/>
                  </a:lnTo>
                  <a:lnTo>
                    <a:pt x="558" y="372"/>
                  </a:lnTo>
                  <a:lnTo>
                    <a:pt x="594" y="384"/>
                  </a:lnTo>
                  <a:lnTo>
                    <a:pt x="606" y="402"/>
                  </a:lnTo>
                  <a:lnTo>
                    <a:pt x="600" y="420"/>
                  </a:lnTo>
                  <a:lnTo>
                    <a:pt x="588" y="444"/>
                  </a:lnTo>
                  <a:lnTo>
                    <a:pt x="588" y="450"/>
                  </a:lnTo>
                  <a:lnTo>
                    <a:pt x="588" y="456"/>
                  </a:lnTo>
                  <a:lnTo>
                    <a:pt x="594" y="456"/>
                  </a:lnTo>
                  <a:lnTo>
                    <a:pt x="594" y="462"/>
                  </a:lnTo>
                  <a:lnTo>
                    <a:pt x="594" y="468"/>
                  </a:lnTo>
                  <a:lnTo>
                    <a:pt x="594" y="474"/>
                  </a:lnTo>
                  <a:lnTo>
                    <a:pt x="600" y="474"/>
                  </a:lnTo>
                  <a:lnTo>
                    <a:pt x="606" y="480"/>
                  </a:lnTo>
                  <a:lnTo>
                    <a:pt x="606" y="486"/>
                  </a:lnTo>
                  <a:lnTo>
                    <a:pt x="612" y="486"/>
                  </a:lnTo>
                  <a:lnTo>
                    <a:pt x="618" y="486"/>
                  </a:lnTo>
                  <a:lnTo>
                    <a:pt x="624" y="486"/>
                  </a:lnTo>
                  <a:lnTo>
                    <a:pt x="636" y="486"/>
                  </a:lnTo>
                  <a:lnTo>
                    <a:pt x="642" y="486"/>
                  </a:lnTo>
                  <a:lnTo>
                    <a:pt x="648" y="480"/>
                  </a:lnTo>
                  <a:lnTo>
                    <a:pt x="654" y="474"/>
                  </a:lnTo>
                  <a:lnTo>
                    <a:pt x="660" y="468"/>
                  </a:lnTo>
                  <a:lnTo>
                    <a:pt x="666" y="468"/>
                  </a:lnTo>
                  <a:lnTo>
                    <a:pt x="684" y="468"/>
                  </a:lnTo>
                  <a:lnTo>
                    <a:pt x="696" y="468"/>
                  </a:lnTo>
                  <a:lnTo>
                    <a:pt x="696" y="462"/>
                  </a:lnTo>
                  <a:lnTo>
                    <a:pt x="702" y="456"/>
                  </a:lnTo>
                  <a:lnTo>
                    <a:pt x="708" y="450"/>
                  </a:lnTo>
                  <a:lnTo>
                    <a:pt x="714" y="450"/>
                  </a:lnTo>
                  <a:lnTo>
                    <a:pt x="720" y="450"/>
                  </a:lnTo>
                  <a:lnTo>
                    <a:pt x="720" y="438"/>
                  </a:lnTo>
                  <a:lnTo>
                    <a:pt x="726" y="432"/>
                  </a:lnTo>
                  <a:lnTo>
                    <a:pt x="738" y="420"/>
                  </a:lnTo>
                  <a:lnTo>
                    <a:pt x="744" y="420"/>
                  </a:lnTo>
                  <a:lnTo>
                    <a:pt x="750" y="414"/>
                  </a:lnTo>
                  <a:lnTo>
                    <a:pt x="762" y="408"/>
                  </a:lnTo>
                  <a:lnTo>
                    <a:pt x="768" y="408"/>
                  </a:lnTo>
                  <a:lnTo>
                    <a:pt x="768" y="402"/>
                  </a:lnTo>
                  <a:lnTo>
                    <a:pt x="780" y="396"/>
                  </a:lnTo>
                  <a:lnTo>
                    <a:pt x="786" y="396"/>
                  </a:lnTo>
                  <a:lnTo>
                    <a:pt x="786" y="390"/>
                  </a:lnTo>
                  <a:lnTo>
                    <a:pt x="792" y="384"/>
                  </a:lnTo>
                  <a:lnTo>
                    <a:pt x="792" y="378"/>
                  </a:lnTo>
                  <a:lnTo>
                    <a:pt x="798" y="366"/>
                  </a:lnTo>
                  <a:lnTo>
                    <a:pt x="804" y="360"/>
                  </a:lnTo>
                  <a:lnTo>
                    <a:pt x="816" y="342"/>
                  </a:lnTo>
                  <a:lnTo>
                    <a:pt x="816" y="312"/>
                  </a:lnTo>
                  <a:lnTo>
                    <a:pt x="804" y="300"/>
                  </a:lnTo>
                  <a:lnTo>
                    <a:pt x="798" y="288"/>
                  </a:lnTo>
                  <a:lnTo>
                    <a:pt x="762" y="264"/>
                  </a:lnTo>
                  <a:lnTo>
                    <a:pt x="738" y="234"/>
                  </a:lnTo>
                  <a:lnTo>
                    <a:pt x="738" y="222"/>
                  </a:lnTo>
                  <a:lnTo>
                    <a:pt x="744" y="210"/>
                  </a:lnTo>
                  <a:lnTo>
                    <a:pt x="732" y="174"/>
                  </a:lnTo>
                  <a:lnTo>
                    <a:pt x="714" y="156"/>
                  </a:lnTo>
                  <a:lnTo>
                    <a:pt x="708" y="144"/>
                  </a:lnTo>
                  <a:lnTo>
                    <a:pt x="714" y="126"/>
                  </a:lnTo>
                  <a:lnTo>
                    <a:pt x="720" y="114"/>
                  </a:lnTo>
                  <a:lnTo>
                    <a:pt x="732" y="102"/>
                  </a:lnTo>
                  <a:lnTo>
                    <a:pt x="744" y="102"/>
                  </a:lnTo>
                  <a:lnTo>
                    <a:pt x="762" y="108"/>
                  </a:lnTo>
                  <a:lnTo>
                    <a:pt x="774" y="114"/>
                  </a:lnTo>
                  <a:lnTo>
                    <a:pt x="780" y="138"/>
                  </a:lnTo>
                  <a:lnTo>
                    <a:pt x="786" y="144"/>
                  </a:lnTo>
                  <a:lnTo>
                    <a:pt x="798" y="138"/>
                  </a:lnTo>
                  <a:lnTo>
                    <a:pt x="804" y="132"/>
                  </a:lnTo>
                  <a:lnTo>
                    <a:pt x="816" y="120"/>
                  </a:lnTo>
                  <a:lnTo>
                    <a:pt x="816" y="108"/>
                  </a:lnTo>
                  <a:lnTo>
                    <a:pt x="828" y="102"/>
                  </a:lnTo>
                  <a:lnTo>
                    <a:pt x="828" y="96"/>
                  </a:lnTo>
                  <a:lnTo>
                    <a:pt x="840" y="96"/>
                  </a:lnTo>
                  <a:lnTo>
                    <a:pt x="840" y="84"/>
                  </a:lnTo>
                  <a:lnTo>
                    <a:pt x="852" y="90"/>
                  </a:lnTo>
                  <a:lnTo>
                    <a:pt x="852" y="96"/>
                  </a:lnTo>
                  <a:lnTo>
                    <a:pt x="870" y="90"/>
                  </a:lnTo>
                  <a:lnTo>
                    <a:pt x="894" y="78"/>
                  </a:lnTo>
                  <a:lnTo>
                    <a:pt x="912" y="78"/>
                  </a:lnTo>
                  <a:lnTo>
                    <a:pt x="942" y="66"/>
                  </a:lnTo>
                  <a:lnTo>
                    <a:pt x="942" y="60"/>
                  </a:lnTo>
                  <a:lnTo>
                    <a:pt x="954" y="48"/>
                  </a:lnTo>
                  <a:lnTo>
                    <a:pt x="966" y="30"/>
                  </a:lnTo>
                  <a:lnTo>
                    <a:pt x="978" y="30"/>
                  </a:lnTo>
                  <a:lnTo>
                    <a:pt x="978" y="24"/>
                  </a:lnTo>
                  <a:lnTo>
                    <a:pt x="984" y="12"/>
                  </a:lnTo>
                  <a:lnTo>
                    <a:pt x="990" y="12"/>
                  </a:lnTo>
                  <a:lnTo>
                    <a:pt x="996" y="12"/>
                  </a:lnTo>
                  <a:lnTo>
                    <a:pt x="1014" y="6"/>
                  </a:lnTo>
                  <a:lnTo>
                    <a:pt x="1026" y="6"/>
                  </a:lnTo>
                  <a:lnTo>
                    <a:pt x="1044" y="6"/>
                  </a:lnTo>
                  <a:lnTo>
                    <a:pt x="1050" y="6"/>
                  </a:lnTo>
                  <a:lnTo>
                    <a:pt x="1056" y="6"/>
                  </a:lnTo>
                  <a:lnTo>
                    <a:pt x="1062" y="6"/>
                  </a:lnTo>
                  <a:lnTo>
                    <a:pt x="1068" y="6"/>
                  </a:lnTo>
                  <a:lnTo>
                    <a:pt x="1074" y="6"/>
                  </a:lnTo>
                  <a:lnTo>
                    <a:pt x="1080" y="6"/>
                  </a:lnTo>
                  <a:lnTo>
                    <a:pt x="1086" y="0"/>
                  </a:lnTo>
                  <a:lnTo>
                    <a:pt x="1092" y="30"/>
                  </a:lnTo>
                  <a:lnTo>
                    <a:pt x="1098" y="60"/>
                  </a:lnTo>
                  <a:lnTo>
                    <a:pt x="1110" y="84"/>
                  </a:lnTo>
                  <a:lnTo>
                    <a:pt x="1122" y="114"/>
                  </a:lnTo>
                  <a:lnTo>
                    <a:pt x="1128" y="144"/>
                  </a:lnTo>
                  <a:lnTo>
                    <a:pt x="1122" y="156"/>
                  </a:lnTo>
                  <a:lnTo>
                    <a:pt x="1128" y="168"/>
                  </a:lnTo>
                  <a:lnTo>
                    <a:pt x="1134" y="186"/>
                  </a:lnTo>
                  <a:lnTo>
                    <a:pt x="1140" y="204"/>
                  </a:lnTo>
                  <a:lnTo>
                    <a:pt x="1146" y="210"/>
                  </a:lnTo>
                  <a:lnTo>
                    <a:pt x="1146" y="216"/>
                  </a:lnTo>
                  <a:lnTo>
                    <a:pt x="1146" y="228"/>
                  </a:lnTo>
                  <a:lnTo>
                    <a:pt x="1146" y="234"/>
                  </a:lnTo>
                  <a:lnTo>
                    <a:pt x="1140" y="246"/>
                  </a:lnTo>
                  <a:lnTo>
                    <a:pt x="1128" y="258"/>
                  </a:lnTo>
                  <a:lnTo>
                    <a:pt x="1116" y="264"/>
                  </a:lnTo>
                  <a:lnTo>
                    <a:pt x="1110" y="276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2" y="312"/>
                  </a:lnTo>
                  <a:lnTo>
                    <a:pt x="1116" y="324"/>
                  </a:lnTo>
                  <a:lnTo>
                    <a:pt x="1104" y="336"/>
                  </a:lnTo>
                  <a:lnTo>
                    <a:pt x="1104" y="354"/>
                  </a:lnTo>
                  <a:lnTo>
                    <a:pt x="1098" y="372"/>
                  </a:lnTo>
                  <a:lnTo>
                    <a:pt x="1092" y="384"/>
                  </a:lnTo>
                  <a:lnTo>
                    <a:pt x="1086" y="390"/>
                  </a:lnTo>
                  <a:lnTo>
                    <a:pt x="1086" y="402"/>
                  </a:lnTo>
                  <a:lnTo>
                    <a:pt x="1080" y="414"/>
                  </a:lnTo>
                  <a:lnTo>
                    <a:pt x="1074" y="426"/>
                  </a:lnTo>
                  <a:lnTo>
                    <a:pt x="1074" y="450"/>
                  </a:lnTo>
                  <a:lnTo>
                    <a:pt x="1074" y="462"/>
                  </a:lnTo>
                  <a:lnTo>
                    <a:pt x="1068" y="474"/>
                  </a:lnTo>
                  <a:lnTo>
                    <a:pt x="1062" y="486"/>
                  </a:lnTo>
                  <a:lnTo>
                    <a:pt x="1056" y="498"/>
                  </a:lnTo>
                  <a:close/>
                  <a:moveTo>
                    <a:pt x="186" y="378"/>
                  </a:moveTo>
                  <a:lnTo>
                    <a:pt x="186" y="384"/>
                  </a:lnTo>
                  <a:lnTo>
                    <a:pt x="180" y="390"/>
                  </a:lnTo>
                  <a:lnTo>
                    <a:pt x="174" y="396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14"/>
                  </a:lnTo>
                  <a:lnTo>
                    <a:pt x="126" y="414"/>
                  </a:lnTo>
                  <a:lnTo>
                    <a:pt x="120" y="414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2" y="426"/>
                  </a:lnTo>
                  <a:lnTo>
                    <a:pt x="102" y="432"/>
                  </a:lnTo>
                  <a:lnTo>
                    <a:pt x="96" y="432"/>
                  </a:lnTo>
                  <a:lnTo>
                    <a:pt x="90" y="432"/>
                  </a:lnTo>
                  <a:lnTo>
                    <a:pt x="84" y="438"/>
                  </a:lnTo>
                  <a:lnTo>
                    <a:pt x="78" y="438"/>
                  </a:lnTo>
                  <a:lnTo>
                    <a:pt x="78" y="444"/>
                  </a:lnTo>
                  <a:lnTo>
                    <a:pt x="72" y="444"/>
                  </a:lnTo>
                  <a:lnTo>
                    <a:pt x="72" y="450"/>
                  </a:lnTo>
                  <a:lnTo>
                    <a:pt x="66" y="456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48" y="468"/>
                  </a:lnTo>
                  <a:lnTo>
                    <a:pt x="42" y="468"/>
                  </a:lnTo>
                  <a:lnTo>
                    <a:pt x="42" y="462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8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0" y="396"/>
                  </a:lnTo>
                  <a:lnTo>
                    <a:pt x="6" y="384"/>
                  </a:lnTo>
                  <a:lnTo>
                    <a:pt x="18" y="372"/>
                  </a:lnTo>
                  <a:lnTo>
                    <a:pt x="30" y="348"/>
                  </a:lnTo>
                  <a:lnTo>
                    <a:pt x="30" y="342"/>
                  </a:lnTo>
                  <a:lnTo>
                    <a:pt x="42" y="330"/>
                  </a:lnTo>
                  <a:lnTo>
                    <a:pt x="42" y="324"/>
                  </a:lnTo>
                  <a:lnTo>
                    <a:pt x="48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60" y="282"/>
                  </a:lnTo>
                  <a:lnTo>
                    <a:pt x="60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2" y="258"/>
                  </a:lnTo>
                  <a:lnTo>
                    <a:pt x="84" y="246"/>
                  </a:lnTo>
                  <a:lnTo>
                    <a:pt x="90" y="234"/>
                  </a:lnTo>
                  <a:lnTo>
                    <a:pt x="96" y="234"/>
                  </a:lnTo>
                  <a:lnTo>
                    <a:pt x="96" y="228"/>
                  </a:lnTo>
                  <a:lnTo>
                    <a:pt x="102" y="222"/>
                  </a:lnTo>
                  <a:lnTo>
                    <a:pt x="102" y="228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14" y="228"/>
                  </a:lnTo>
                  <a:lnTo>
                    <a:pt x="114" y="234"/>
                  </a:lnTo>
                  <a:lnTo>
                    <a:pt x="120" y="228"/>
                  </a:lnTo>
                  <a:lnTo>
                    <a:pt x="120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26" y="228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8" y="234"/>
                  </a:lnTo>
                  <a:lnTo>
                    <a:pt x="144" y="234"/>
                  </a:lnTo>
                  <a:lnTo>
                    <a:pt x="144" y="228"/>
                  </a:lnTo>
                  <a:lnTo>
                    <a:pt x="150" y="228"/>
                  </a:lnTo>
                  <a:lnTo>
                    <a:pt x="156" y="228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46"/>
                  </a:lnTo>
                  <a:lnTo>
                    <a:pt x="162" y="240"/>
                  </a:lnTo>
                  <a:lnTo>
                    <a:pt x="162" y="246"/>
                  </a:lnTo>
                  <a:lnTo>
                    <a:pt x="162" y="258"/>
                  </a:lnTo>
                  <a:lnTo>
                    <a:pt x="162" y="264"/>
                  </a:lnTo>
                  <a:lnTo>
                    <a:pt x="156" y="270"/>
                  </a:lnTo>
                  <a:lnTo>
                    <a:pt x="162" y="270"/>
                  </a:lnTo>
                  <a:lnTo>
                    <a:pt x="162" y="282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86" y="288"/>
                  </a:lnTo>
                  <a:lnTo>
                    <a:pt x="186" y="294"/>
                  </a:lnTo>
                  <a:lnTo>
                    <a:pt x="180" y="300"/>
                  </a:lnTo>
                  <a:lnTo>
                    <a:pt x="174" y="318"/>
                  </a:lnTo>
                  <a:lnTo>
                    <a:pt x="174" y="324"/>
                  </a:lnTo>
                  <a:lnTo>
                    <a:pt x="168" y="330"/>
                  </a:lnTo>
                  <a:lnTo>
                    <a:pt x="168" y="342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74" y="360"/>
                  </a:lnTo>
                  <a:lnTo>
                    <a:pt x="180" y="366"/>
                  </a:lnTo>
                  <a:lnTo>
                    <a:pt x="186" y="37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8" name="Freeform 23">
              <a:extLst>
                <a:ext uri="{FF2B5EF4-FFF2-40B4-BE49-F238E27FC236}">
                  <a16:creationId xmlns:a16="http://schemas.microsoft.com/office/drawing/2014/main" id="{A539A33E-3F6E-4AF7-BD88-1853165307F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6312" y="3604793"/>
              <a:ext cx="581410" cy="621747"/>
            </a:xfrm>
            <a:custGeom>
              <a:avLst/>
              <a:gdLst>
                <a:gd name="T0" fmla="*/ 90 w 1092"/>
                <a:gd name="T1" fmla="*/ 60 h 1170"/>
                <a:gd name="T2" fmla="*/ 83 w 1092"/>
                <a:gd name="T3" fmla="*/ 62 h 1170"/>
                <a:gd name="T4" fmla="*/ 72 w 1092"/>
                <a:gd name="T5" fmla="*/ 68 h 1170"/>
                <a:gd name="T6" fmla="*/ 68 w 1092"/>
                <a:gd name="T7" fmla="*/ 71 h 1170"/>
                <a:gd name="T8" fmla="*/ 61 w 1092"/>
                <a:gd name="T9" fmla="*/ 69 h 1170"/>
                <a:gd name="T10" fmla="*/ 64 w 1092"/>
                <a:gd name="T11" fmla="*/ 82 h 1170"/>
                <a:gd name="T12" fmla="*/ 67 w 1092"/>
                <a:gd name="T13" fmla="*/ 93 h 1170"/>
                <a:gd name="T14" fmla="*/ 62 w 1092"/>
                <a:gd name="T15" fmla="*/ 96 h 1170"/>
                <a:gd name="T16" fmla="*/ 59 w 1092"/>
                <a:gd name="T17" fmla="*/ 99 h 1170"/>
                <a:gd name="T18" fmla="*/ 53 w 1092"/>
                <a:gd name="T19" fmla="*/ 101 h 1170"/>
                <a:gd name="T20" fmla="*/ 50 w 1092"/>
                <a:gd name="T21" fmla="*/ 100 h 1170"/>
                <a:gd name="T22" fmla="*/ 50 w 1092"/>
                <a:gd name="T23" fmla="*/ 93 h 1170"/>
                <a:gd name="T24" fmla="*/ 37 w 1092"/>
                <a:gd name="T25" fmla="*/ 85 h 1170"/>
                <a:gd name="T26" fmla="*/ 32 w 1092"/>
                <a:gd name="T27" fmla="*/ 86 h 1170"/>
                <a:gd name="T28" fmla="*/ 29 w 1092"/>
                <a:gd name="T29" fmla="*/ 88 h 1170"/>
                <a:gd name="T30" fmla="*/ 27 w 1092"/>
                <a:gd name="T31" fmla="*/ 86 h 1170"/>
                <a:gd name="T32" fmla="*/ 23 w 1092"/>
                <a:gd name="T33" fmla="*/ 87 h 1170"/>
                <a:gd name="T34" fmla="*/ 17 w 1092"/>
                <a:gd name="T35" fmla="*/ 87 h 1170"/>
                <a:gd name="T36" fmla="*/ 18 w 1092"/>
                <a:gd name="T37" fmla="*/ 89 h 1170"/>
                <a:gd name="T38" fmla="*/ 16 w 1092"/>
                <a:gd name="T39" fmla="*/ 92 h 1170"/>
                <a:gd name="T40" fmla="*/ 12 w 1092"/>
                <a:gd name="T41" fmla="*/ 89 h 1170"/>
                <a:gd name="T42" fmla="*/ 13 w 1092"/>
                <a:gd name="T43" fmla="*/ 84 h 1170"/>
                <a:gd name="T44" fmla="*/ 12 w 1092"/>
                <a:gd name="T45" fmla="*/ 80 h 1170"/>
                <a:gd name="T46" fmla="*/ 10 w 1092"/>
                <a:gd name="T47" fmla="*/ 80 h 1170"/>
                <a:gd name="T48" fmla="*/ 8 w 1092"/>
                <a:gd name="T49" fmla="*/ 79 h 1170"/>
                <a:gd name="T50" fmla="*/ 6 w 1092"/>
                <a:gd name="T51" fmla="*/ 78 h 1170"/>
                <a:gd name="T52" fmla="*/ 6 w 1092"/>
                <a:gd name="T53" fmla="*/ 77 h 1170"/>
                <a:gd name="T54" fmla="*/ 4 w 1092"/>
                <a:gd name="T55" fmla="*/ 75 h 1170"/>
                <a:gd name="T56" fmla="*/ 0 w 1092"/>
                <a:gd name="T57" fmla="*/ 72 h 1170"/>
                <a:gd name="T58" fmla="*/ 0 w 1092"/>
                <a:gd name="T59" fmla="*/ 69 h 1170"/>
                <a:gd name="T60" fmla="*/ 3 w 1092"/>
                <a:gd name="T61" fmla="*/ 67 h 1170"/>
                <a:gd name="T62" fmla="*/ 6 w 1092"/>
                <a:gd name="T63" fmla="*/ 62 h 1170"/>
                <a:gd name="T64" fmla="*/ 8 w 1092"/>
                <a:gd name="T65" fmla="*/ 58 h 1170"/>
                <a:gd name="T66" fmla="*/ 5 w 1092"/>
                <a:gd name="T67" fmla="*/ 54 h 1170"/>
                <a:gd name="T68" fmla="*/ 6 w 1092"/>
                <a:gd name="T69" fmla="*/ 50 h 1170"/>
                <a:gd name="T70" fmla="*/ 8 w 1092"/>
                <a:gd name="T71" fmla="*/ 46 h 1170"/>
                <a:gd name="T72" fmla="*/ 10 w 1092"/>
                <a:gd name="T73" fmla="*/ 43 h 1170"/>
                <a:gd name="T74" fmla="*/ 14 w 1092"/>
                <a:gd name="T75" fmla="*/ 38 h 1170"/>
                <a:gd name="T76" fmla="*/ 31 w 1092"/>
                <a:gd name="T77" fmla="*/ 40 h 1170"/>
                <a:gd name="T78" fmla="*/ 30 w 1092"/>
                <a:gd name="T79" fmla="*/ 46 h 1170"/>
                <a:gd name="T80" fmla="*/ 36 w 1092"/>
                <a:gd name="T81" fmla="*/ 47 h 1170"/>
                <a:gd name="T82" fmla="*/ 41 w 1092"/>
                <a:gd name="T83" fmla="*/ 44 h 1170"/>
                <a:gd name="T84" fmla="*/ 43 w 1092"/>
                <a:gd name="T85" fmla="*/ 39 h 1170"/>
                <a:gd name="T86" fmla="*/ 44 w 1092"/>
                <a:gd name="T87" fmla="*/ 35 h 1170"/>
                <a:gd name="T88" fmla="*/ 44 w 1092"/>
                <a:gd name="T89" fmla="*/ 29 h 1170"/>
                <a:gd name="T90" fmla="*/ 48 w 1092"/>
                <a:gd name="T91" fmla="*/ 24 h 1170"/>
                <a:gd name="T92" fmla="*/ 49 w 1092"/>
                <a:gd name="T93" fmla="*/ 19 h 1170"/>
                <a:gd name="T94" fmla="*/ 51 w 1092"/>
                <a:gd name="T95" fmla="*/ 14 h 1170"/>
                <a:gd name="T96" fmla="*/ 54 w 1092"/>
                <a:gd name="T97" fmla="*/ 10 h 1170"/>
                <a:gd name="T98" fmla="*/ 53 w 1092"/>
                <a:gd name="T99" fmla="*/ 7 h 1170"/>
                <a:gd name="T100" fmla="*/ 55 w 1092"/>
                <a:gd name="T101" fmla="*/ 3 h 1170"/>
                <a:gd name="T102" fmla="*/ 58 w 1092"/>
                <a:gd name="T103" fmla="*/ 0 h 1170"/>
                <a:gd name="T104" fmla="*/ 65 w 1092"/>
                <a:gd name="T105" fmla="*/ 2 h 1170"/>
                <a:gd name="T106" fmla="*/ 61 w 1092"/>
                <a:gd name="T107" fmla="*/ 6 h 1170"/>
                <a:gd name="T108" fmla="*/ 67 w 1092"/>
                <a:gd name="T109" fmla="*/ 7 h 1170"/>
                <a:gd name="T110" fmla="*/ 71 w 1092"/>
                <a:gd name="T111" fmla="*/ 6 h 1170"/>
                <a:gd name="T112" fmla="*/ 75 w 1092"/>
                <a:gd name="T113" fmla="*/ 9 h 1170"/>
                <a:gd name="T114" fmla="*/ 82 w 1092"/>
                <a:gd name="T115" fmla="*/ 12 h 1170"/>
                <a:gd name="T116" fmla="*/ 84 w 1092"/>
                <a:gd name="T117" fmla="*/ 17 h 1170"/>
                <a:gd name="T118" fmla="*/ 94 w 1092"/>
                <a:gd name="T119" fmla="*/ 23 h 1170"/>
                <a:gd name="T120" fmla="*/ 94 w 1092"/>
                <a:gd name="T121" fmla="*/ 34 h 1170"/>
                <a:gd name="T122" fmla="*/ 90 w 1092"/>
                <a:gd name="T123" fmla="*/ 41 h 1170"/>
                <a:gd name="T124" fmla="*/ 91 w 1092"/>
                <a:gd name="T125" fmla="*/ 51 h 11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92"/>
                <a:gd name="T190" fmla="*/ 0 h 1170"/>
                <a:gd name="T191" fmla="*/ 1092 w 1092"/>
                <a:gd name="T192" fmla="*/ 1170 h 117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92" h="1170">
                  <a:moveTo>
                    <a:pt x="1056" y="654"/>
                  </a:moveTo>
                  <a:lnTo>
                    <a:pt x="1062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0"/>
                  </a:lnTo>
                  <a:lnTo>
                    <a:pt x="1038" y="690"/>
                  </a:lnTo>
                  <a:lnTo>
                    <a:pt x="1032" y="690"/>
                  </a:lnTo>
                  <a:lnTo>
                    <a:pt x="1026" y="690"/>
                  </a:lnTo>
                  <a:lnTo>
                    <a:pt x="1020" y="690"/>
                  </a:lnTo>
                  <a:lnTo>
                    <a:pt x="1002" y="690"/>
                  </a:lnTo>
                  <a:lnTo>
                    <a:pt x="990" y="690"/>
                  </a:lnTo>
                  <a:lnTo>
                    <a:pt x="972" y="696"/>
                  </a:lnTo>
                  <a:lnTo>
                    <a:pt x="966" y="696"/>
                  </a:lnTo>
                  <a:lnTo>
                    <a:pt x="960" y="696"/>
                  </a:lnTo>
                  <a:lnTo>
                    <a:pt x="954" y="708"/>
                  </a:lnTo>
                  <a:lnTo>
                    <a:pt x="954" y="714"/>
                  </a:lnTo>
                  <a:lnTo>
                    <a:pt x="942" y="714"/>
                  </a:lnTo>
                  <a:lnTo>
                    <a:pt x="930" y="732"/>
                  </a:lnTo>
                  <a:lnTo>
                    <a:pt x="918" y="744"/>
                  </a:lnTo>
                  <a:lnTo>
                    <a:pt x="918" y="750"/>
                  </a:lnTo>
                  <a:lnTo>
                    <a:pt x="888" y="762"/>
                  </a:lnTo>
                  <a:lnTo>
                    <a:pt x="870" y="762"/>
                  </a:lnTo>
                  <a:lnTo>
                    <a:pt x="846" y="774"/>
                  </a:lnTo>
                  <a:lnTo>
                    <a:pt x="828" y="780"/>
                  </a:lnTo>
                  <a:lnTo>
                    <a:pt x="828" y="774"/>
                  </a:lnTo>
                  <a:lnTo>
                    <a:pt x="816" y="768"/>
                  </a:lnTo>
                  <a:lnTo>
                    <a:pt x="816" y="780"/>
                  </a:lnTo>
                  <a:lnTo>
                    <a:pt x="804" y="780"/>
                  </a:lnTo>
                  <a:lnTo>
                    <a:pt x="804" y="786"/>
                  </a:lnTo>
                  <a:lnTo>
                    <a:pt x="792" y="792"/>
                  </a:lnTo>
                  <a:lnTo>
                    <a:pt x="792" y="804"/>
                  </a:lnTo>
                  <a:lnTo>
                    <a:pt x="780" y="816"/>
                  </a:lnTo>
                  <a:lnTo>
                    <a:pt x="774" y="822"/>
                  </a:lnTo>
                  <a:lnTo>
                    <a:pt x="762" y="828"/>
                  </a:lnTo>
                  <a:lnTo>
                    <a:pt x="756" y="822"/>
                  </a:lnTo>
                  <a:lnTo>
                    <a:pt x="750" y="798"/>
                  </a:lnTo>
                  <a:lnTo>
                    <a:pt x="738" y="792"/>
                  </a:lnTo>
                  <a:lnTo>
                    <a:pt x="720" y="786"/>
                  </a:lnTo>
                  <a:lnTo>
                    <a:pt x="708" y="786"/>
                  </a:lnTo>
                  <a:lnTo>
                    <a:pt x="696" y="798"/>
                  </a:lnTo>
                  <a:lnTo>
                    <a:pt x="690" y="810"/>
                  </a:lnTo>
                  <a:lnTo>
                    <a:pt x="684" y="828"/>
                  </a:lnTo>
                  <a:lnTo>
                    <a:pt x="690" y="840"/>
                  </a:lnTo>
                  <a:lnTo>
                    <a:pt x="708" y="858"/>
                  </a:lnTo>
                  <a:lnTo>
                    <a:pt x="720" y="894"/>
                  </a:lnTo>
                  <a:lnTo>
                    <a:pt x="714" y="906"/>
                  </a:lnTo>
                  <a:lnTo>
                    <a:pt x="714" y="918"/>
                  </a:lnTo>
                  <a:lnTo>
                    <a:pt x="738" y="948"/>
                  </a:lnTo>
                  <a:lnTo>
                    <a:pt x="774" y="972"/>
                  </a:lnTo>
                  <a:lnTo>
                    <a:pt x="780" y="984"/>
                  </a:lnTo>
                  <a:lnTo>
                    <a:pt x="792" y="996"/>
                  </a:lnTo>
                  <a:lnTo>
                    <a:pt x="792" y="1026"/>
                  </a:lnTo>
                  <a:lnTo>
                    <a:pt x="780" y="1044"/>
                  </a:lnTo>
                  <a:lnTo>
                    <a:pt x="774" y="1050"/>
                  </a:lnTo>
                  <a:lnTo>
                    <a:pt x="768" y="1062"/>
                  </a:lnTo>
                  <a:lnTo>
                    <a:pt x="768" y="1068"/>
                  </a:lnTo>
                  <a:lnTo>
                    <a:pt x="762" y="1074"/>
                  </a:lnTo>
                  <a:lnTo>
                    <a:pt x="762" y="1080"/>
                  </a:lnTo>
                  <a:lnTo>
                    <a:pt x="756" y="1080"/>
                  </a:lnTo>
                  <a:lnTo>
                    <a:pt x="744" y="1086"/>
                  </a:lnTo>
                  <a:lnTo>
                    <a:pt x="744" y="1092"/>
                  </a:lnTo>
                  <a:lnTo>
                    <a:pt x="738" y="1092"/>
                  </a:lnTo>
                  <a:lnTo>
                    <a:pt x="726" y="1098"/>
                  </a:lnTo>
                  <a:lnTo>
                    <a:pt x="720" y="1104"/>
                  </a:lnTo>
                  <a:lnTo>
                    <a:pt x="714" y="1104"/>
                  </a:lnTo>
                  <a:lnTo>
                    <a:pt x="702" y="1116"/>
                  </a:lnTo>
                  <a:lnTo>
                    <a:pt x="696" y="1122"/>
                  </a:lnTo>
                  <a:lnTo>
                    <a:pt x="696" y="1134"/>
                  </a:lnTo>
                  <a:lnTo>
                    <a:pt x="690" y="1134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72" y="1146"/>
                  </a:lnTo>
                  <a:lnTo>
                    <a:pt x="672" y="1152"/>
                  </a:lnTo>
                  <a:lnTo>
                    <a:pt x="660" y="1152"/>
                  </a:lnTo>
                  <a:lnTo>
                    <a:pt x="642" y="1152"/>
                  </a:lnTo>
                  <a:lnTo>
                    <a:pt x="636" y="1152"/>
                  </a:lnTo>
                  <a:lnTo>
                    <a:pt x="630" y="1158"/>
                  </a:lnTo>
                  <a:lnTo>
                    <a:pt x="624" y="1164"/>
                  </a:lnTo>
                  <a:lnTo>
                    <a:pt x="618" y="1170"/>
                  </a:lnTo>
                  <a:lnTo>
                    <a:pt x="612" y="1170"/>
                  </a:lnTo>
                  <a:lnTo>
                    <a:pt x="600" y="1170"/>
                  </a:lnTo>
                  <a:lnTo>
                    <a:pt x="594" y="1170"/>
                  </a:lnTo>
                  <a:lnTo>
                    <a:pt x="588" y="1170"/>
                  </a:lnTo>
                  <a:lnTo>
                    <a:pt x="582" y="1170"/>
                  </a:lnTo>
                  <a:lnTo>
                    <a:pt x="582" y="1164"/>
                  </a:lnTo>
                  <a:lnTo>
                    <a:pt x="576" y="1158"/>
                  </a:lnTo>
                  <a:lnTo>
                    <a:pt x="570" y="1158"/>
                  </a:lnTo>
                  <a:lnTo>
                    <a:pt x="570" y="1152"/>
                  </a:lnTo>
                  <a:lnTo>
                    <a:pt x="570" y="1146"/>
                  </a:lnTo>
                  <a:lnTo>
                    <a:pt x="570" y="1140"/>
                  </a:lnTo>
                  <a:lnTo>
                    <a:pt x="564" y="1140"/>
                  </a:lnTo>
                  <a:lnTo>
                    <a:pt x="564" y="1134"/>
                  </a:lnTo>
                  <a:lnTo>
                    <a:pt x="564" y="1128"/>
                  </a:lnTo>
                  <a:lnTo>
                    <a:pt x="576" y="1104"/>
                  </a:lnTo>
                  <a:lnTo>
                    <a:pt x="582" y="1086"/>
                  </a:lnTo>
                  <a:lnTo>
                    <a:pt x="570" y="1068"/>
                  </a:lnTo>
                  <a:lnTo>
                    <a:pt x="534" y="1056"/>
                  </a:lnTo>
                  <a:lnTo>
                    <a:pt x="516" y="1026"/>
                  </a:lnTo>
                  <a:lnTo>
                    <a:pt x="492" y="1020"/>
                  </a:lnTo>
                  <a:lnTo>
                    <a:pt x="492" y="1014"/>
                  </a:lnTo>
                  <a:lnTo>
                    <a:pt x="480" y="1008"/>
                  </a:lnTo>
                  <a:lnTo>
                    <a:pt x="474" y="996"/>
                  </a:lnTo>
                  <a:lnTo>
                    <a:pt x="444" y="984"/>
                  </a:lnTo>
                  <a:lnTo>
                    <a:pt x="426" y="978"/>
                  </a:lnTo>
                  <a:lnTo>
                    <a:pt x="420" y="972"/>
                  </a:lnTo>
                  <a:lnTo>
                    <a:pt x="408" y="984"/>
                  </a:lnTo>
                  <a:lnTo>
                    <a:pt x="402" y="984"/>
                  </a:lnTo>
                  <a:lnTo>
                    <a:pt x="396" y="984"/>
                  </a:lnTo>
                  <a:lnTo>
                    <a:pt x="390" y="984"/>
                  </a:lnTo>
                  <a:lnTo>
                    <a:pt x="384" y="990"/>
                  </a:lnTo>
                  <a:lnTo>
                    <a:pt x="378" y="990"/>
                  </a:lnTo>
                  <a:lnTo>
                    <a:pt x="372" y="990"/>
                  </a:lnTo>
                  <a:lnTo>
                    <a:pt x="372" y="996"/>
                  </a:lnTo>
                  <a:lnTo>
                    <a:pt x="366" y="996"/>
                  </a:lnTo>
                  <a:lnTo>
                    <a:pt x="360" y="1002"/>
                  </a:lnTo>
                  <a:lnTo>
                    <a:pt x="360" y="1008"/>
                  </a:lnTo>
                  <a:lnTo>
                    <a:pt x="354" y="1008"/>
                  </a:lnTo>
                  <a:lnTo>
                    <a:pt x="342" y="1014"/>
                  </a:lnTo>
                  <a:lnTo>
                    <a:pt x="336" y="1020"/>
                  </a:lnTo>
                  <a:lnTo>
                    <a:pt x="336" y="1014"/>
                  </a:lnTo>
                  <a:lnTo>
                    <a:pt x="330" y="1014"/>
                  </a:lnTo>
                  <a:lnTo>
                    <a:pt x="330" y="1008"/>
                  </a:lnTo>
                  <a:lnTo>
                    <a:pt x="330" y="1002"/>
                  </a:lnTo>
                  <a:lnTo>
                    <a:pt x="324" y="1002"/>
                  </a:lnTo>
                  <a:lnTo>
                    <a:pt x="324" y="996"/>
                  </a:lnTo>
                  <a:lnTo>
                    <a:pt x="324" y="990"/>
                  </a:lnTo>
                  <a:lnTo>
                    <a:pt x="318" y="990"/>
                  </a:lnTo>
                  <a:lnTo>
                    <a:pt x="306" y="996"/>
                  </a:lnTo>
                  <a:lnTo>
                    <a:pt x="300" y="996"/>
                  </a:lnTo>
                  <a:lnTo>
                    <a:pt x="294" y="996"/>
                  </a:lnTo>
                  <a:lnTo>
                    <a:pt x="288" y="1002"/>
                  </a:lnTo>
                  <a:lnTo>
                    <a:pt x="282" y="990"/>
                  </a:lnTo>
                  <a:lnTo>
                    <a:pt x="276" y="984"/>
                  </a:lnTo>
                  <a:lnTo>
                    <a:pt x="270" y="990"/>
                  </a:lnTo>
                  <a:lnTo>
                    <a:pt x="270" y="996"/>
                  </a:lnTo>
                  <a:lnTo>
                    <a:pt x="270" y="1002"/>
                  </a:lnTo>
                  <a:lnTo>
                    <a:pt x="264" y="1008"/>
                  </a:lnTo>
                  <a:lnTo>
                    <a:pt x="252" y="996"/>
                  </a:lnTo>
                  <a:lnTo>
                    <a:pt x="246" y="996"/>
                  </a:lnTo>
                  <a:lnTo>
                    <a:pt x="234" y="1002"/>
                  </a:lnTo>
                  <a:lnTo>
                    <a:pt x="222" y="1002"/>
                  </a:lnTo>
                  <a:lnTo>
                    <a:pt x="210" y="1002"/>
                  </a:lnTo>
                  <a:lnTo>
                    <a:pt x="198" y="996"/>
                  </a:lnTo>
                  <a:lnTo>
                    <a:pt x="198" y="1002"/>
                  </a:lnTo>
                  <a:lnTo>
                    <a:pt x="198" y="1008"/>
                  </a:lnTo>
                  <a:lnTo>
                    <a:pt x="192" y="1020"/>
                  </a:lnTo>
                  <a:lnTo>
                    <a:pt x="198" y="1020"/>
                  </a:lnTo>
                  <a:lnTo>
                    <a:pt x="204" y="1020"/>
                  </a:lnTo>
                  <a:lnTo>
                    <a:pt x="210" y="1026"/>
                  </a:lnTo>
                  <a:lnTo>
                    <a:pt x="216" y="1026"/>
                  </a:lnTo>
                  <a:lnTo>
                    <a:pt x="216" y="1032"/>
                  </a:lnTo>
                  <a:lnTo>
                    <a:pt x="210" y="1032"/>
                  </a:lnTo>
                  <a:lnTo>
                    <a:pt x="210" y="1038"/>
                  </a:lnTo>
                  <a:lnTo>
                    <a:pt x="204" y="1038"/>
                  </a:lnTo>
                  <a:lnTo>
                    <a:pt x="204" y="1044"/>
                  </a:lnTo>
                  <a:lnTo>
                    <a:pt x="198" y="1044"/>
                  </a:lnTo>
                  <a:lnTo>
                    <a:pt x="192" y="1044"/>
                  </a:lnTo>
                  <a:lnTo>
                    <a:pt x="186" y="1050"/>
                  </a:lnTo>
                  <a:lnTo>
                    <a:pt x="186" y="1056"/>
                  </a:lnTo>
                  <a:lnTo>
                    <a:pt x="180" y="1056"/>
                  </a:lnTo>
                  <a:lnTo>
                    <a:pt x="180" y="1062"/>
                  </a:lnTo>
                  <a:lnTo>
                    <a:pt x="174" y="1062"/>
                  </a:lnTo>
                  <a:lnTo>
                    <a:pt x="168" y="1062"/>
                  </a:lnTo>
                  <a:lnTo>
                    <a:pt x="162" y="1062"/>
                  </a:lnTo>
                  <a:lnTo>
                    <a:pt x="156" y="1050"/>
                  </a:lnTo>
                  <a:lnTo>
                    <a:pt x="150" y="1044"/>
                  </a:lnTo>
                  <a:lnTo>
                    <a:pt x="150" y="1038"/>
                  </a:lnTo>
                  <a:lnTo>
                    <a:pt x="144" y="1032"/>
                  </a:lnTo>
                  <a:lnTo>
                    <a:pt x="144" y="1026"/>
                  </a:lnTo>
                  <a:lnTo>
                    <a:pt x="144" y="1014"/>
                  </a:lnTo>
                  <a:lnTo>
                    <a:pt x="150" y="1008"/>
                  </a:lnTo>
                  <a:lnTo>
                    <a:pt x="150" y="1002"/>
                  </a:lnTo>
                  <a:lnTo>
                    <a:pt x="156" y="984"/>
                  </a:lnTo>
                  <a:lnTo>
                    <a:pt x="162" y="978"/>
                  </a:lnTo>
                  <a:lnTo>
                    <a:pt x="162" y="972"/>
                  </a:lnTo>
                  <a:lnTo>
                    <a:pt x="150" y="966"/>
                  </a:lnTo>
                  <a:lnTo>
                    <a:pt x="144" y="966"/>
                  </a:lnTo>
                  <a:lnTo>
                    <a:pt x="138" y="966"/>
                  </a:lnTo>
                  <a:lnTo>
                    <a:pt x="138" y="954"/>
                  </a:lnTo>
                  <a:lnTo>
                    <a:pt x="132" y="954"/>
                  </a:lnTo>
                  <a:lnTo>
                    <a:pt x="138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8" y="924"/>
                  </a:lnTo>
                  <a:lnTo>
                    <a:pt x="132" y="930"/>
                  </a:lnTo>
                  <a:lnTo>
                    <a:pt x="132" y="924"/>
                  </a:lnTo>
                  <a:lnTo>
                    <a:pt x="126" y="918"/>
                  </a:lnTo>
                  <a:lnTo>
                    <a:pt x="132" y="918"/>
                  </a:lnTo>
                  <a:lnTo>
                    <a:pt x="132" y="912"/>
                  </a:lnTo>
                  <a:lnTo>
                    <a:pt x="126" y="912"/>
                  </a:lnTo>
                  <a:lnTo>
                    <a:pt x="120" y="912"/>
                  </a:lnTo>
                  <a:lnTo>
                    <a:pt x="120" y="918"/>
                  </a:lnTo>
                  <a:lnTo>
                    <a:pt x="114" y="918"/>
                  </a:lnTo>
                  <a:lnTo>
                    <a:pt x="114" y="912"/>
                  </a:lnTo>
                  <a:lnTo>
                    <a:pt x="108" y="912"/>
                  </a:lnTo>
                  <a:lnTo>
                    <a:pt x="102" y="912"/>
                  </a:lnTo>
                  <a:lnTo>
                    <a:pt x="108" y="906"/>
                  </a:lnTo>
                  <a:lnTo>
                    <a:pt x="102" y="906"/>
                  </a:lnTo>
                  <a:lnTo>
                    <a:pt x="96" y="906"/>
                  </a:lnTo>
                  <a:lnTo>
                    <a:pt x="96" y="912"/>
                  </a:lnTo>
                  <a:lnTo>
                    <a:pt x="90" y="918"/>
                  </a:lnTo>
                  <a:lnTo>
                    <a:pt x="90" y="912"/>
                  </a:lnTo>
                  <a:lnTo>
                    <a:pt x="84" y="912"/>
                  </a:lnTo>
                  <a:lnTo>
                    <a:pt x="84" y="918"/>
                  </a:lnTo>
                  <a:lnTo>
                    <a:pt x="78" y="918"/>
                  </a:lnTo>
                  <a:lnTo>
                    <a:pt x="78" y="912"/>
                  </a:lnTo>
                  <a:lnTo>
                    <a:pt x="78" y="906"/>
                  </a:lnTo>
                  <a:lnTo>
                    <a:pt x="72" y="900"/>
                  </a:lnTo>
                  <a:lnTo>
                    <a:pt x="78" y="900"/>
                  </a:lnTo>
                  <a:lnTo>
                    <a:pt x="72" y="900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8" y="888"/>
                  </a:lnTo>
                  <a:lnTo>
                    <a:pt x="72" y="888"/>
                  </a:lnTo>
                  <a:lnTo>
                    <a:pt x="72" y="882"/>
                  </a:lnTo>
                  <a:lnTo>
                    <a:pt x="66" y="876"/>
                  </a:lnTo>
                  <a:lnTo>
                    <a:pt x="60" y="882"/>
                  </a:lnTo>
                  <a:lnTo>
                    <a:pt x="54" y="876"/>
                  </a:lnTo>
                  <a:lnTo>
                    <a:pt x="54" y="882"/>
                  </a:lnTo>
                  <a:lnTo>
                    <a:pt x="48" y="882"/>
                  </a:lnTo>
                  <a:lnTo>
                    <a:pt x="42" y="870"/>
                  </a:lnTo>
                  <a:lnTo>
                    <a:pt x="42" y="864"/>
                  </a:lnTo>
                  <a:lnTo>
                    <a:pt x="36" y="858"/>
                  </a:lnTo>
                  <a:lnTo>
                    <a:pt x="36" y="852"/>
                  </a:lnTo>
                  <a:lnTo>
                    <a:pt x="30" y="852"/>
                  </a:lnTo>
                  <a:lnTo>
                    <a:pt x="30" y="846"/>
                  </a:lnTo>
                  <a:lnTo>
                    <a:pt x="24" y="846"/>
                  </a:lnTo>
                  <a:lnTo>
                    <a:pt x="18" y="840"/>
                  </a:lnTo>
                  <a:lnTo>
                    <a:pt x="12" y="834"/>
                  </a:lnTo>
                  <a:lnTo>
                    <a:pt x="0" y="828"/>
                  </a:lnTo>
                  <a:lnTo>
                    <a:pt x="0" y="822"/>
                  </a:lnTo>
                  <a:lnTo>
                    <a:pt x="0" y="816"/>
                  </a:lnTo>
                  <a:lnTo>
                    <a:pt x="0" y="810"/>
                  </a:lnTo>
                  <a:lnTo>
                    <a:pt x="6" y="804"/>
                  </a:lnTo>
                  <a:lnTo>
                    <a:pt x="12" y="804"/>
                  </a:lnTo>
                  <a:lnTo>
                    <a:pt x="12" y="798"/>
                  </a:lnTo>
                  <a:lnTo>
                    <a:pt x="12" y="792"/>
                  </a:lnTo>
                  <a:lnTo>
                    <a:pt x="6" y="792"/>
                  </a:lnTo>
                  <a:lnTo>
                    <a:pt x="6" y="786"/>
                  </a:lnTo>
                  <a:lnTo>
                    <a:pt x="6" y="780"/>
                  </a:lnTo>
                  <a:lnTo>
                    <a:pt x="18" y="780"/>
                  </a:lnTo>
                  <a:lnTo>
                    <a:pt x="18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0" y="774"/>
                  </a:lnTo>
                  <a:lnTo>
                    <a:pt x="36" y="768"/>
                  </a:lnTo>
                  <a:lnTo>
                    <a:pt x="42" y="768"/>
                  </a:lnTo>
                  <a:lnTo>
                    <a:pt x="60" y="750"/>
                  </a:lnTo>
                  <a:lnTo>
                    <a:pt x="60" y="744"/>
                  </a:lnTo>
                  <a:lnTo>
                    <a:pt x="54" y="738"/>
                  </a:lnTo>
                  <a:lnTo>
                    <a:pt x="60" y="732"/>
                  </a:lnTo>
                  <a:lnTo>
                    <a:pt x="54" y="732"/>
                  </a:lnTo>
                  <a:lnTo>
                    <a:pt x="60" y="726"/>
                  </a:lnTo>
                  <a:lnTo>
                    <a:pt x="66" y="720"/>
                  </a:lnTo>
                  <a:lnTo>
                    <a:pt x="72" y="714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84" y="696"/>
                  </a:lnTo>
                  <a:lnTo>
                    <a:pt x="90" y="684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66"/>
                  </a:lnTo>
                  <a:lnTo>
                    <a:pt x="90" y="660"/>
                  </a:lnTo>
                  <a:lnTo>
                    <a:pt x="84" y="654"/>
                  </a:lnTo>
                  <a:lnTo>
                    <a:pt x="84" y="648"/>
                  </a:lnTo>
                  <a:lnTo>
                    <a:pt x="78" y="636"/>
                  </a:lnTo>
                  <a:lnTo>
                    <a:pt x="66" y="630"/>
                  </a:lnTo>
                  <a:lnTo>
                    <a:pt x="66" y="624"/>
                  </a:lnTo>
                  <a:lnTo>
                    <a:pt x="60" y="624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60" y="600"/>
                  </a:lnTo>
                  <a:lnTo>
                    <a:pt x="66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6" y="588"/>
                  </a:lnTo>
                  <a:lnTo>
                    <a:pt x="66" y="582"/>
                  </a:lnTo>
                  <a:lnTo>
                    <a:pt x="72" y="582"/>
                  </a:lnTo>
                  <a:lnTo>
                    <a:pt x="78" y="576"/>
                  </a:lnTo>
                  <a:lnTo>
                    <a:pt x="72" y="576"/>
                  </a:lnTo>
                  <a:lnTo>
                    <a:pt x="66" y="570"/>
                  </a:lnTo>
                  <a:lnTo>
                    <a:pt x="72" y="564"/>
                  </a:lnTo>
                  <a:lnTo>
                    <a:pt x="78" y="558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90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102" y="516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0" y="504"/>
                  </a:lnTo>
                  <a:lnTo>
                    <a:pt x="120" y="498"/>
                  </a:lnTo>
                  <a:lnTo>
                    <a:pt x="120" y="492"/>
                  </a:lnTo>
                  <a:lnTo>
                    <a:pt x="126" y="480"/>
                  </a:lnTo>
                  <a:lnTo>
                    <a:pt x="132" y="474"/>
                  </a:lnTo>
                  <a:lnTo>
                    <a:pt x="132" y="468"/>
                  </a:lnTo>
                  <a:lnTo>
                    <a:pt x="138" y="462"/>
                  </a:lnTo>
                  <a:lnTo>
                    <a:pt x="138" y="456"/>
                  </a:lnTo>
                  <a:lnTo>
                    <a:pt x="138" y="450"/>
                  </a:lnTo>
                  <a:lnTo>
                    <a:pt x="144" y="444"/>
                  </a:lnTo>
                  <a:lnTo>
                    <a:pt x="162" y="438"/>
                  </a:lnTo>
                  <a:lnTo>
                    <a:pt x="186" y="438"/>
                  </a:lnTo>
                  <a:lnTo>
                    <a:pt x="210" y="444"/>
                  </a:lnTo>
                  <a:lnTo>
                    <a:pt x="276" y="450"/>
                  </a:lnTo>
                  <a:lnTo>
                    <a:pt x="342" y="450"/>
                  </a:lnTo>
                  <a:lnTo>
                    <a:pt x="348" y="450"/>
                  </a:lnTo>
                  <a:lnTo>
                    <a:pt x="354" y="450"/>
                  </a:lnTo>
                  <a:lnTo>
                    <a:pt x="360" y="456"/>
                  </a:lnTo>
                  <a:lnTo>
                    <a:pt x="354" y="462"/>
                  </a:lnTo>
                  <a:lnTo>
                    <a:pt x="354" y="468"/>
                  </a:lnTo>
                  <a:lnTo>
                    <a:pt x="354" y="474"/>
                  </a:lnTo>
                  <a:lnTo>
                    <a:pt x="348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48" y="498"/>
                  </a:lnTo>
                  <a:lnTo>
                    <a:pt x="342" y="510"/>
                  </a:lnTo>
                  <a:lnTo>
                    <a:pt x="348" y="528"/>
                  </a:lnTo>
                  <a:lnTo>
                    <a:pt x="348" y="534"/>
                  </a:lnTo>
                  <a:lnTo>
                    <a:pt x="354" y="552"/>
                  </a:lnTo>
                  <a:lnTo>
                    <a:pt x="366" y="546"/>
                  </a:lnTo>
                  <a:lnTo>
                    <a:pt x="372" y="540"/>
                  </a:lnTo>
                  <a:lnTo>
                    <a:pt x="384" y="540"/>
                  </a:lnTo>
                  <a:lnTo>
                    <a:pt x="396" y="534"/>
                  </a:lnTo>
                  <a:lnTo>
                    <a:pt x="402" y="534"/>
                  </a:lnTo>
                  <a:lnTo>
                    <a:pt x="414" y="546"/>
                  </a:lnTo>
                  <a:lnTo>
                    <a:pt x="432" y="540"/>
                  </a:lnTo>
                  <a:lnTo>
                    <a:pt x="450" y="534"/>
                  </a:lnTo>
                  <a:lnTo>
                    <a:pt x="450" y="528"/>
                  </a:lnTo>
                  <a:lnTo>
                    <a:pt x="456" y="528"/>
                  </a:lnTo>
                  <a:lnTo>
                    <a:pt x="456" y="522"/>
                  </a:lnTo>
                  <a:lnTo>
                    <a:pt x="456" y="516"/>
                  </a:lnTo>
                  <a:lnTo>
                    <a:pt x="462" y="516"/>
                  </a:lnTo>
                  <a:lnTo>
                    <a:pt x="468" y="510"/>
                  </a:lnTo>
                  <a:lnTo>
                    <a:pt x="468" y="504"/>
                  </a:lnTo>
                  <a:lnTo>
                    <a:pt x="474" y="504"/>
                  </a:lnTo>
                  <a:lnTo>
                    <a:pt x="480" y="504"/>
                  </a:lnTo>
                  <a:lnTo>
                    <a:pt x="486" y="498"/>
                  </a:lnTo>
                  <a:lnTo>
                    <a:pt x="492" y="498"/>
                  </a:lnTo>
                  <a:lnTo>
                    <a:pt x="486" y="480"/>
                  </a:lnTo>
                  <a:lnTo>
                    <a:pt x="492" y="462"/>
                  </a:lnTo>
                  <a:lnTo>
                    <a:pt x="498" y="444"/>
                  </a:lnTo>
                  <a:lnTo>
                    <a:pt x="498" y="426"/>
                  </a:lnTo>
                  <a:lnTo>
                    <a:pt x="498" y="420"/>
                  </a:lnTo>
                  <a:lnTo>
                    <a:pt x="504" y="426"/>
                  </a:lnTo>
                  <a:lnTo>
                    <a:pt x="504" y="420"/>
                  </a:lnTo>
                  <a:lnTo>
                    <a:pt x="510" y="420"/>
                  </a:lnTo>
                  <a:lnTo>
                    <a:pt x="510" y="414"/>
                  </a:lnTo>
                  <a:lnTo>
                    <a:pt x="510" y="408"/>
                  </a:lnTo>
                  <a:lnTo>
                    <a:pt x="504" y="402"/>
                  </a:lnTo>
                  <a:lnTo>
                    <a:pt x="504" y="396"/>
                  </a:lnTo>
                  <a:lnTo>
                    <a:pt x="504" y="384"/>
                  </a:lnTo>
                  <a:lnTo>
                    <a:pt x="504" y="378"/>
                  </a:lnTo>
                  <a:lnTo>
                    <a:pt x="504" y="360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510" y="348"/>
                  </a:lnTo>
                  <a:lnTo>
                    <a:pt x="510" y="336"/>
                  </a:lnTo>
                  <a:lnTo>
                    <a:pt x="516" y="330"/>
                  </a:lnTo>
                  <a:lnTo>
                    <a:pt x="522" y="324"/>
                  </a:lnTo>
                  <a:lnTo>
                    <a:pt x="528" y="318"/>
                  </a:lnTo>
                  <a:lnTo>
                    <a:pt x="534" y="312"/>
                  </a:lnTo>
                  <a:lnTo>
                    <a:pt x="534" y="300"/>
                  </a:lnTo>
                  <a:lnTo>
                    <a:pt x="540" y="294"/>
                  </a:lnTo>
                  <a:lnTo>
                    <a:pt x="546" y="288"/>
                  </a:lnTo>
                  <a:lnTo>
                    <a:pt x="552" y="276"/>
                  </a:lnTo>
                  <a:lnTo>
                    <a:pt x="558" y="264"/>
                  </a:lnTo>
                  <a:lnTo>
                    <a:pt x="558" y="258"/>
                  </a:lnTo>
                  <a:lnTo>
                    <a:pt x="558" y="252"/>
                  </a:lnTo>
                  <a:lnTo>
                    <a:pt x="558" y="246"/>
                  </a:lnTo>
                  <a:lnTo>
                    <a:pt x="564" y="246"/>
                  </a:lnTo>
                  <a:lnTo>
                    <a:pt x="564" y="240"/>
                  </a:lnTo>
                  <a:lnTo>
                    <a:pt x="570" y="234"/>
                  </a:lnTo>
                  <a:lnTo>
                    <a:pt x="564" y="216"/>
                  </a:lnTo>
                  <a:lnTo>
                    <a:pt x="564" y="210"/>
                  </a:lnTo>
                  <a:lnTo>
                    <a:pt x="570" y="210"/>
                  </a:lnTo>
                  <a:lnTo>
                    <a:pt x="570" y="204"/>
                  </a:lnTo>
                  <a:lnTo>
                    <a:pt x="570" y="198"/>
                  </a:lnTo>
                  <a:lnTo>
                    <a:pt x="582" y="180"/>
                  </a:lnTo>
                  <a:lnTo>
                    <a:pt x="582" y="174"/>
                  </a:lnTo>
                  <a:lnTo>
                    <a:pt x="582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606" y="150"/>
                  </a:lnTo>
                  <a:lnTo>
                    <a:pt x="612" y="150"/>
                  </a:lnTo>
                  <a:lnTo>
                    <a:pt x="618" y="150"/>
                  </a:lnTo>
                  <a:lnTo>
                    <a:pt x="624" y="138"/>
                  </a:lnTo>
                  <a:lnTo>
                    <a:pt x="618" y="132"/>
                  </a:lnTo>
                  <a:lnTo>
                    <a:pt x="618" y="126"/>
                  </a:lnTo>
                  <a:lnTo>
                    <a:pt x="618" y="120"/>
                  </a:lnTo>
                  <a:lnTo>
                    <a:pt x="618" y="114"/>
                  </a:lnTo>
                  <a:lnTo>
                    <a:pt x="612" y="108"/>
                  </a:lnTo>
                  <a:lnTo>
                    <a:pt x="612" y="102"/>
                  </a:lnTo>
                  <a:lnTo>
                    <a:pt x="618" y="90"/>
                  </a:lnTo>
                  <a:lnTo>
                    <a:pt x="624" y="84"/>
                  </a:lnTo>
                  <a:lnTo>
                    <a:pt x="618" y="84"/>
                  </a:lnTo>
                  <a:lnTo>
                    <a:pt x="618" y="78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0" y="72"/>
                  </a:lnTo>
                  <a:lnTo>
                    <a:pt x="600" y="66"/>
                  </a:lnTo>
                  <a:lnTo>
                    <a:pt x="600" y="60"/>
                  </a:lnTo>
                  <a:lnTo>
                    <a:pt x="600" y="48"/>
                  </a:lnTo>
                  <a:lnTo>
                    <a:pt x="612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36"/>
                  </a:lnTo>
                  <a:lnTo>
                    <a:pt x="630" y="30"/>
                  </a:lnTo>
                  <a:lnTo>
                    <a:pt x="636" y="24"/>
                  </a:lnTo>
                  <a:lnTo>
                    <a:pt x="642" y="24"/>
                  </a:lnTo>
                  <a:lnTo>
                    <a:pt x="648" y="24"/>
                  </a:lnTo>
                  <a:lnTo>
                    <a:pt x="648" y="18"/>
                  </a:lnTo>
                  <a:lnTo>
                    <a:pt x="654" y="12"/>
                  </a:lnTo>
                  <a:lnTo>
                    <a:pt x="660" y="0"/>
                  </a:lnTo>
                  <a:lnTo>
                    <a:pt x="678" y="0"/>
                  </a:lnTo>
                  <a:lnTo>
                    <a:pt x="696" y="0"/>
                  </a:lnTo>
                  <a:lnTo>
                    <a:pt x="702" y="0"/>
                  </a:lnTo>
                  <a:lnTo>
                    <a:pt x="714" y="0"/>
                  </a:lnTo>
                  <a:lnTo>
                    <a:pt x="720" y="6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44" y="24"/>
                  </a:lnTo>
                  <a:lnTo>
                    <a:pt x="744" y="30"/>
                  </a:lnTo>
                  <a:lnTo>
                    <a:pt x="732" y="42"/>
                  </a:lnTo>
                  <a:lnTo>
                    <a:pt x="726" y="42"/>
                  </a:lnTo>
                  <a:lnTo>
                    <a:pt x="720" y="42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54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90"/>
                  </a:lnTo>
                  <a:lnTo>
                    <a:pt x="726" y="84"/>
                  </a:lnTo>
                  <a:lnTo>
                    <a:pt x="738" y="84"/>
                  </a:lnTo>
                  <a:lnTo>
                    <a:pt x="750" y="96"/>
                  </a:lnTo>
                  <a:lnTo>
                    <a:pt x="768" y="96"/>
                  </a:lnTo>
                  <a:lnTo>
                    <a:pt x="768" y="90"/>
                  </a:lnTo>
                  <a:lnTo>
                    <a:pt x="774" y="84"/>
                  </a:lnTo>
                  <a:lnTo>
                    <a:pt x="780" y="78"/>
                  </a:lnTo>
                  <a:lnTo>
                    <a:pt x="786" y="78"/>
                  </a:lnTo>
                  <a:lnTo>
                    <a:pt x="792" y="72"/>
                  </a:lnTo>
                  <a:lnTo>
                    <a:pt x="804" y="72"/>
                  </a:lnTo>
                  <a:lnTo>
                    <a:pt x="804" y="66"/>
                  </a:lnTo>
                  <a:lnTo>
                    <a:pt x="810" y="66"/>
                  </a:lnTo>
                  <a:lnTo>
                    <a:pt x="810" y="72"/>
                  </a:lnTo>
                  <a:lnTo>
                    <a:pt x="816" y="66"/>
                  </a:lnTo>
                  <a:lnTo>
                    <a:pt x="828" y="66"/>
                  </a:lnTo>
                  <a:lnTo>
                    <a:pt x="834" y="72"/>
                  </a:lnTo>
                  <a:lnTo>
                    <a:pt x="840" y="72"/>
                  </a:lnTo>
                  <a:lnTo>
                    <a:pt x="840" y="78"/>
                  </a:lnTo>
                  <a:lnTo>
                    <a:pt x="840" y="84"/>
                  </a:lnTo>
                  <a:lnTo>
                    <a:pt x="852" y="84"/>
                  </a:lnTo>
                  <a:lnTo>
                    <a:pt x="858" y="96"/>
                  </a:lnTo>
                  <a:lnTo>
                    <a:pt x="864" y="108"/>
                  </a:lnTo>
                  <a:lnTo>
                    <a:pt x="876" y="114"/>
                  </a:lnTo>
                  <a:lnTo>
                    <a:pt x="894" y="114"/>
                  </a:lnTo>
                  <a:lnTo>
                    <a:pt x="906" y="114"/>
                  </a:lnTo>
                  <a:lnTo>
                    <a:pt x="906" y="126"/>
                  </a:lnTo>
                  <a:lnTo>
                    <a:pt x="912" y="144"/>
                  </a:lnTo>
                  <a:lnTo>
                    <a:pt x="930" y="138"/>
                  </a:lnTo>
                  <a:lnTo>
                    <a:pt x="936" y="138"/>
                  </a:lnTo>
                  <a:lnTo>
                    <a:pt x="942" y="144"/>
                  </a:lnTo>
                  <a:lnTo>
                    <a:pt x="948" y="150"/>
                  </a:lnTo>
                  <a:lnTo>
                    <a:pt x="954" y="156"/>
                  </a:lnTo>
                  <a:lnTo>
                    <a:pt x="954" y="168"/>
                  </a:lnTo>
                  <a:lnTo>
                    <a:pt x="954" y="174"/>
                  </a:lnTo>
                  <a:lnTo>
                    <a:pt x="960" y="180"/>
                  </a:lnTo>
                  <a:lnTo>
                    <a:pt x="966" y="186"/>
                  </a:lnTo>
                  <a:lnTo>
                    <a:pt x="960" y="186"/>
                  </a:lnTo>
                  <a:lnTo>
                    <a:pt x="966" y="192"/>
                  </a:lnTo>
                  <a:lnTo>
                    <a:pt x="966" y="198"/>
                  </a:lnTo>
                  <a:lnTo>
                    <a:pt x="978" y="204"/>
                  </a:lnTo>
                  <a:lnTo>
                    <a:pt x="1050" y="186"/>
                  </a:lnTo>
                  <a:lnTo>
                    <a:pt x="1056" y="198"/>
                  </a:lnTo>
                  <a:lnTo>
                    <a:pt x="1068" y="210"/>
                  </a:lnTo>
                  <a:lnTo>
                    <a:pt x="1074" y="216"/>
                  </a:lnTo>
                  <a:lnTo>
                    <a:pt x="1080" y="252"/>
                  </a:lnTo>
                  <a:lnTo>
                    <a:pt x="1086" y="270"/>
                  </a:lnTo>
                  <a:lnTo>
                    <a:pt x="1092" y="282"/>
                  </a:lnTo>
                  <a:lnTo>
                    <a:pt x="1086" y="300"/>
                  </a:lnTo>
                  <a:lnTo>
                    <a:pt x="1074" y="330"/>
                  </a:lnTo>
                  <a:lnTo>
                    <a:pt x="1068" y="336"/>
                  </a:lnTo>
                  <a:lnTo>
                    <a:pt x="1062" y="348"/>
                  </a:lnTo>
                  <a:lnTo>
                    <a:pt x="1062" y="360"/>
                  </a:lnTo>
                  <a:lnTo>
                    <a:pt x="1068" y="378"/>
                  </a:lnTo>
                  <a:lnTo>
                    <a:pt x="1074" y="390"/>
                  </a:lnTo>
                  <a:lnTo>
                    <a:pt x="1068" y="396"/>
                  </a:lnTo>
                  <a:lnTo>
                    <a:pt x="1068" y="408"/>
                  </a:lnTo>
                  <a:lnTo>
                    <a:pt x="1062" y="414"/>
                  </a:lnTo>
                  <a:lnTo>
                    <a:pt x="1050" y="432"/>
                  </a:lnTo>
                  <a:lnTo>
                    <a:pt x="1044" y="450"/>
                  </a:lnTo>
                  <a:lnTo>
                    <a:pt x="1038" y="456"/>
                  </a:lnTo>
                  <a:lnTo>
                    <a:pt x="1026" y="468"/>
                  </a:lnTo>
                  <a:lnTo>
                    <a:pt x="1026" y="474"/>
                  </a:lnTo>
                  <a:lnTo>
                    <a:pt x="1026" y="480"/>
                  </a:lnTo>
                  <a:lnTo>
                    <a:pt x="1032" y="492"/>
                  </a:lnTo>
                  <a:lnTo>
                    <a:pt x="1044" y="504"/>
                  </a:lnTo>
                  <a:lnTo>
                    <a:pt x="1044" y="516"/>
                  </a:lnTo>
                  <a:lnTo>
                    <a:pt x="1038" y="528"/>
                  </a:lnTo>
                  <a:lnTo>
                    <a:pt x="1032" y="546"/>
                  </a:lnTo>
                  <a:lnTo>
                    <a:pt x="1032" y="570"/>
                  </a:lnTo>
                  <a:lnTo>
                    <a:pt x="1050" y="594"/>
                  </a:lnTo>
                  <a:lnTo>
                    <a:pt x="1056" y="624"/>
                  </a:lnTo>
                  <a:lnTo>
                    <a:pt x="1056" y="65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9" name="Freeform 24">
              <a:extLst>
                <a:ext uri="{FF2B5EF4-FFF2-40B4-BE49-F238E27FC236}">
                  <a16:creationId xmlns:a16="http://schemas.microsoft.com/office/drawing/2014/main" id="{CAE689DA-332A-4F73-BDE6-8865C9170AA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84829" y="3213406"/>
              <a:ext cx="851989" cy="744754"/>
            </a:xfrm>
            <a:custGeom>
              <a:avLst/>
              <a:gdLst>
                <a:gd name="T0" fmla="*/ 116 w 1602"/>
                <a:gd name="T1" fmla="*/ 91 h 1404"/>
                <a:gd name="T2" fmla="*/ 111 w 1602"/>
                <a:gd name="T3" fmla="*/ 95 h 1404"/>
                <a:gd name="T4" fmla="*/ 102 w 1602"/>
                <a:gd name="T5" fmla="*/ 101 h 1404"/>
                <a:gd name="T6" fmla="*/ 99 w 1602"/>
                <a:gd name="T7" fmla="*/ 103 h 1404"/>
                <a:gd name="T8" fmla="*/ 96 w 1602"/>
                <a:gd name="T9" fmla="*/ 106 h 1404"/>
                <a:gd name="T10" fmla="*/ 93 w 1602"/>
                <a:gd name="T11" fmla="*/ 108 h 1404"/>
                <a:gd name="T12" fmla="*/ 88 w 1602"/>
                <a:gd name="T13" fmla="*/ 106 h 1404"/>
                <a:gd name="T14" fmla="*/ 86 w 1602"/>
                <a:gd name="T15" fmla="*/ 108 h 1404"/>
                <a:gd name="T16" fmla="*/ 81 w 1602"/>
                <a:gd name="T17" fmla="*/ 119 h 1404"/>
                <a:gd name="T18" fmla="*/ 71 w 1602"/>
                <a:gd name="T19" fmla="*/ 109 h 1404"/>
                <a:gd name="T20" fmla="*/ 72 w 1602"/>
                <a:gd name="T21" fmla="*/ 101 h 1404"/>
                <a:gd name="T22" fmla="*/ 74 w 1602"/>
                <a:gd name="T23" fmla="*/ 93 h 1404"/>
                <a:gd name="T24" fmla="*/ 73 w 1602"/>
                <a:gd name="T25" fmla="*/ 82 h 1404"/>
                <a:gd name="T26" fmla="*/ 64 w 1602"/>
                <a:gd name="T27" fmla="*/ 79 h 1404"/>
                <a:gd name="T28" fmla="*/ 59 w 1602"/>
                <a:gd name="T29" fmla="*/ 75 h 1404"/>
                <a:gd name="T30" fmla="*/ 54 w 1602"/>
                <a:gd name="T31" fmla="*/ 71 h 1404"/>
                <a:gd name="T32" fmla="*/ 51 w 1602"/>
                <a:gd name="T33" fmla="*/ 70 h 1404"/>
                <a:gd name="T34" fmla="*/ 45 w 1602"/>
                <a:gd name="T35" fmla="*/ 71 h 1404"/>
                <a:gd name="T36" fmla="*/ 43 w 1602"/>
                <a:gd name="T37" fmla="*/ 68 h 1404"/>
                <a:gd name="T38" fmla="*/ 43 w 1602"/>
                <a:gd name="T39" fmla="*/ 64 h 1404"/>
                <a:gd name="T40" fmla="*/ 36 w 1602"/>
                <a:gd name="T41" fmla="*/ 66 h 1404"/>
                <a:gd name="T42" fmla="*/ 31 w 1602"/>
                <a:gd name="T43" fmla="*/ 55 h 1404"/>
                <a:gd name="T44" fmla="*/ 25 w 1602"/>
                <a:gd name="T45" fmla="*/ 53 h 1404"/>
                <a:gd name="T46" fmla="*/ 19 w 1602"/>
                <a:gd name="T47" fmla="*/ 51 h 1404"/>
                <a:gd name="T48" fmla="*/ 17 w 1602"/>
                <a:gd name="T49" fmla="*/ 43 h 1404"/>
                <a:gd name="T50" fmla="*/ 17 w 1602"/>
                <a:gd name="T51" fmla="*/ 39 h 1404"/>
                <a:gd name="T52" fmla="*/ 12 w 1602"/>
                <a:gd name="T53" fmla="*/ 39 h 1404"/>
                <a:gd name="T54" fmla="*/ 10 w 1602"/>
                <a:gd name="T55" fmla="*/ 35 h 1404"/>
                <a:gd name="T56" fmla="*/ 5 w 1602"/>
                <a:gd name="T57" fmla="*/ 30 h 1404"/>
                <a:gd name="T58" fmla="*/ 3 w 1602"/>
                <a:gd name="T59" fmla="*/ 27 h 1404"/>
                <a:gd name="T60" fmla="*/ 2 w 1602"/>
                <a:gd name="T61" fmla="*/ 25 h 1404"/>
                <a:gd name="T62" fmla="*/ 0 w 1602"/>
                <a:gd name="T63" fmla="*/ 22 h 1404"/>
                <a:gd name="T64" fmla="*/ 8 w 1602"/>
                <a:gd name="T65" fmla="*/ 14 h 1404"/>
                <a:gd name="T66" fmla="*/ 16 w 1602"/>
                <a:gd name="T67" fmla="*/ 16 h 1404"/>
                <a:gd name="T68" fmla="*/ 31 w 1602"/>
                <a:gd name="T69" fmla="*/ 18 h 1404"/>
                <a:gd name="T70" fmla="*/ 43 w 1602"/>
                <a:gd name="T71" fmla="*/ 17 h 1404"/>
                <a:gd name="T72" fmla="*/ 47 w 1602"/>
                <a:gd name="T73" fmla="*/ 6 h 1404"/>
                <a:gd name="T74" fmla="*/ 52 w 1602"/>
                <a:gd name="T75" fmla="*/ 0 h 1404"/>
                <a:gd name="T76" fmla="*/ 55 w 1602"/>
                <a:gd name="T77" fmla="*/ 3 h 1404"/>
                <a:gd name="T78" fmla="*/ 59 w 1602"/>
                <a:gd name="T79" fmla="*/ 9 h 1404"/>
                <a:gd name="T80" fmla="*/ 62 w 1602"/>
                <a:gd name="T81" fmla="*/ 16 h 1404"/>
                <a:gd name="T82" fmla="*/ 66 w 1602"/>
                <a:gd name="T83" fmla="*/ 20 h 1404"/>
                <a:gd name="T84" fmla="*/ 70 w 1602"/>
                <a:gd name="T85" fmla="*/ 25 h 1404"/>
                <a:gd name="T86" fmla="*/ 74 w 1602"/>
                <a:gd name="T87" fmla="*/ 30 h 1404"/>
                <a:gd name="T88" fmla="*/ 76 w 1602"/>
                <a:gd name="T89" fmla="*/ 27 h 1404"/>
                <a:gd name="T90" fmla="*/ 78 w 1602"/>
                <a:gd name="T91" fmla="*/ 27 h 1404"/>
                <a:gd name="T92" fmla="*/ 78 w 1602"/>
                <a:gd name="T93" fmla="*/ 23 h 1404"/>
                <a:gd name="T94" fmla="*/ 82 w 1602"/>
                <a:gd name="T95" fmla="*/ 20 h 1404"/>
                <a:gd name="T96" fmla="*/ 82 w 1602"/>
                <a:gd name="T97" fmla="*/ 18 h 1404"/>
                <a:gd name="T98" fmla="*/ 90 w 1602"/>
                <a:gd name="T99" fmla="*/ 24 h 1404"/>
                <a:gd name="T100" fmla="*/ 90 w 1602"/>
                <a:gd name="T101" fmla="*/ 45 h 1404"/>
                <a:gd name="T102" fmla="*/ 104 w 1602"/>
                <a:gd name="T103" fmla="*/ 41 h 1404"/>
                <a:gd name="T104" fmla="*/ 117 w 1602"/>
                <a:gd name="T105" fmla="*/ 39 h 1404"/>
                <a:gd name="T106" fmla="*/ 125 w 1602"/>
                <a:gd name="T107" fmla="*/ 39 h 1404"/>
                <a:gd name="T108" fmla="*/ 127 w 1602"/>
                <a:gd name="T109" fmla="*/ 43 h 1404"/>
                <a:gd name="T110" fmla="*/ 131 w 1602"/>
                <a:gd name="T111" fmla="*/ 53 h 1404"/>
                <a:gd name="T112" fmla="*/ 133 w 1602"/>
                <a:gd name="T113" fmla="*/ 60 h 1404"/>
                <a:gd name="T114" fmla="*/ 138 w 1602"/>
                <a:gd name="T115" fmla="*/ 73 h 1404"/>
                <a:gd name="T116" fmla="*/ 136 w 1602"/>
                <a:gd name="T117" fmla="*/ 80 h 1404"/>
                <a:gd name="T118" fmla="*/ 129 w 1602"/>
                <a:gd name="T119" fmla="*/ 87 h 1404"/>
                <a:gd name="T120" fmla="*/ 123 w 1602"/>
                <a:gd name="T121" fmla="*/ 95 h 14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02"/>
                <a:gd name="T184" fmla="*/ 0 h 1404"/>
                <a:gd name="T185" fmla="*/ 1602 w 1602"/>
                <a:gd name="T186" fmla="*/ 1404 h 14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02" h="1404">
                  <a:moveTo>
                    <a:pt x="1392" y="1080"/>
                  </a:moveTo>
                  <a:lnTo>
                    <a:pt x="1380" y="1074"/>
                  </a:lnTo>
                  <a:lnTo>
                    <a:pt x="1368" y="1056"/>
                  </a:lnTo>
                  <a:lnTo>
                    <a:pt x="1356" y="1044"/>
                  </a:lnTo>
                  <a:lnTo>
                    <a:pt x="1344" y="1038"/>
                  </a:lnTo>
                  <a:lnTo>
                    <a:pt x="1338" y="1038"/>
                  </a:lnTo>
                  <a:lnTo>
                    <a:pt x="1332" y="1038"/>
                  </a:lnTo>
                  <a:lnTo>
                    <a:pt x="1326" y="1044"/>
                  </a:lnTo>
                  <a:lnTo>
                    <a:pt x="1320" y="1044"/>
                  </a:lnTo>
                  <a:lnTo>
                    <a:pt x="1314" y="1044"/>
                  </a:lnTo>
                  <a:lnTo>
                    <a:pt x="1296" y="1056"/>
                  </a:lnTo>
                  <a:lnTo>
                    <a:pt x="1296" y="1080"/>
                  </a:lnTo>
                  <a:lnTo>
                    <a:pt x="1290" y="1080"/>
                  </a:lnTo>
                  <a:lnTo>
                    <a:pt x="1284" y="1086"/>
                  </a:lnTo>
                  <a:lnTo>
                    <a:pt x="1278" y="1086"/>
                  </a:lnTo>
                  <a:lnTo>
                    <a:pt x="1278" y="1092"/>
                  </a:lnTo>
                  <a:lnTo>
                    <a:pt x="1272" y="1092"/>
                  </a:lnTo>
                  <a:lnTo>
                    <a:pt x="1266" y="1086"/>
                  </a:lnTo>
                  <a:lnTo>
                    <a:pt x="1260" y="1086"/>
                  </a:lnTo>
                  <a:lnTo>
                    <a:pt x="1260" y="1098"/>
                  </a:lnTo>
                  <a:lnTo>
                    <a:pt x="1248" y="1098"/>
                  </a:lnTo>
                  <a:lnTo>
                    <a:pt x="1212" y="1116"/>
                  </a:lnTo>
                  <a:lnTo>
                    <a:pt x="1206" y="1158"/>
                  </a:lnTo>
                  <a:lnTo>
                    <a:pt x="1176" y="1164"/>
                  </a:lnTo>
                  <a:lnTo>
                    <a:pt x="1158" y="1164"/>
                  </a:lnTo>
                  <a:lnTo>
                    <a:pt x="1152" y="1164"/>
                  </a:lnTo>
                  <a:lnTo>
                    <a:pt x="1152" y="1170"/>
                  </a:lnTo>
                  <a:lnTo>
                    <a:pt x="1152" y="1176"/>
                  </a:lnTo>
                  <a:lnTo>
                    <a:pt x="1146" y="1176"/>
                  </a:lnTo>
                  <a:lnTo>
                    <a:pt x="1140" y="1176"/>
                  </a:lnTo>
                  <a:lnTo>
                    <a:pt x="1134" y="1182"/>
                  </a:lnTo>
                  <a:lnTo>
                    <a:pt x="1134" y="1188"/>
                  </a:lnTo>
                  <a:lnTo>
                    <a:pt x="1128" y="1194"/>
                  </a:lnTo>
                  <a:lnTo>
                    <a:pt x="1122" y="1194"/>
                  </a:lnTo>
                  <a:lnTo>
                    <a:pt x="1116" y="1194"/>
                  </a:lnTo>
                  <a:lnTo>
                    <a:pt x="1110" y="1200"/>
                  </a:lnTo>
                  <a:lnTo>
                    <a:pt x="1110" y="1206"/>
                  </a:lnTo>
                  <a:lnTo>
                    <a:pt x="1104" y="1212"/>
                  </a:lnTo>
                  <a:lnTo>
                    <a:pt x="1104" y="1218"/>
                  </a:lnTo>
                  <a:lnTo>
                    <a:pt x="1098" y="1224"/>
                  </a:lnTo>
                  <a:lnTo>
                    <a:pt x="1092" y="1230"/>
                  </a:lnTo>
                  <a:lnTo>
                    <a:pt x="1086" y="1230"/>
                  </a:lnTo>
                  <a:lnTo>
                    <a:pt x="1080" y="1230"/>
                  </a:lnTo>
                  <a:lnTo>
                    <a:pt x="1080" y="1242"/>
                  </a:lnTo>
                  <a:lnTo>
                    <a:pt x="1074" y="1242"/>
                  </a:lnTo>
                  <a:lnTo>
                    <a:pt x="1068" y="1242"/>
                  </a:lnTo>
                  <a:lnTo>
                    <a:pt x="1068" y="1236"/>
                  </a:lnTo>
                  <a:lnTo>
                    <a:pt x="1062" y="1242"/>
                  </a:lnTo>
                  <a:lnTo>
                    <a:pt x="1056" y="1236"/>
                  </a:lnTo>
                  <a:lnTo>
                    <a:pt x="1050" y="1242"/>
                  </a:lnTo>
                  <a:lnTo>
                    <a:pt x="1050" y="1236"/>
                  </a:lnTo>
                  <a:lnTo>
                    <a:pt x="1044" y="1194"/>
                  </a:lnTo>
                  <a:lnTo>
                    <a:pt x="1032" y="1194"/>
                  </a:lnTo>
                  <a:lnTo>
                    <a:pt x="1032" y="1200"/>
                  </a:lnTo>
                  <a:lnTo>
                    <a:pt x="1026" y="1200"/>
                  </a:lnTo>
                  <a:lnTo>
                    <a:pt x="1014" y="1218"/>
                  </a:lnTo>
                  <a:lnTo>
                    <a:pt x="1014" y="1224"/>
                  </a:lnTo>
                  <a:lnTo>
                    <a:pt x="1014" y="1236"/>
                  </a:lnTo>
                  <a:lnTo>
                    <a:pt x="1014" y="1242"/>
                  </a:lnTo>
                  <a:lnTo>
                    <a:pt x="1008" y="1242"/>
                  </a:lnTo>
                  <a:lnTo>
                    <a:pt x="1002" y="1236"/>
                  </a:lnTo>
                  <a:lnTo>
                    <a:pt x="1002" y="1230"/>
                  </a:lnTo>
                  <a:lnTo>
                    <a:pt x="996" y="1236"/>
                  </a:lnTo>
                  <a:lnTo>
                    <a:pt x="990" y="1236"/>
                  </a:lnTo>
                  <a:lnTo>
                    <a:pt x="990" y="1230"/>
                  </a:lnTo>
                  <a:lnTo>
                    <a:pt x="984" y="1236"/>
                  </a:lnTo>
                  <a:lnTo>
                    <a:pt x="978" y="1248"/>
                  </a:lnTo>
                  <a:lnTo>
                    <a:pt x="972" y="1254"/>
                  </a:lnTo>
                  <a:lnTo>
                    <a:pt x="966" y="1260"/>
                  </a:lnTo>
                  <a:lnTo>
                    <a:pt x="930" y="1284"/>
                  </a:lnTo>
                  <a:lnTo>
                    <a:pt x="942" y="1356"/>
                  </a:lnTo>
                  <a:lnTo>
                    <a:pt x="930" y="1368"/>
                  </a:lnTo>
                  <a:lnTo>
                    <a:pt x="852" y="1404"/>
                  </a:lnTo>
                  <a:lnTo>
                    <a:pt x="834" y="1392"/>
                  </a:lnTo>
                  <a:lnTo>
                    <a:pt x="834" y="1362"/>
                  </a:lnTo>
                  <a:lnTo>
                    <a:pt x="828" y="1332"/>
                  </a:lnTo>
                  <a:lnTo>
                    <a:pt x="810" y="1308"/>
                  </a:lnTo>
                  <a:lnTo>
                    <a:pt x="810" y="1284"/>
                  </a:lnTo>
                  <a:lnTo>
                    <a:pt x="816" y="1266"/>
                  </a:lnTo>
                  <a:lnTo>
                    <a:pt x="822" y="1254"/>
                  </a:lnTo>
                  <a:lnTo>
                    <a:pt x="822" y="1242"/>
                  </a:lnTo>
                  <a:lnTo>
                    <a:pt x="810" y="1230"/>
                  </a:lnTo>
                  <a:lnTo>
                    <a:pt x="804" y="1218"/>
                  </a:lnTo>
                  <a:lnTo>
                    <a:pt x="804" y="1212"/>
                  </a:lnTo>
                  <a:lnTo>
                    <a:pt x="804" y="1206"/>
                  </a:lnTo>
                  <a:lnTo>
                    <a:pt x="816" y="1194"/>
                  </a:lnTo>
                  <a:lnTo>
                    <a:pt x="822" y="1188"/>
                  </a:lnTo>
                  <a:lnTo>
                    <a:pt x="828" y="1170"/>
                  </a:lnTo>
                  <a:lnTo>
                    <a:pt x="840" y="1152"/>
                  </a:lnTo>
                  <a:lnTo>
                    <a:pt x="846" y="1146"/>
                  </a:lnTo>
                  <a:lnTo>
                    <a:pt x="846" y="1134"/>
                  </a:lnTo>
                  <a:lnTo>
                    <a:pt x="852" y="1128"/>
                  </a:lnTo>
                  <a:lnTo>
                    <a:pt x="846" y="1116"/>
                  </a:lnTo>
                  <a:lnTo>
                    <a:pt x="840" y="1098"/>
                  </a:lnTo>
                  <a:lnTo>
                    <a:pt x="840" y="1086"/>
                  </a:lnTo>
                  <a:lnTo>
                    <a:pt x="846" y="1074"/>
                  </a:lnTo>
                  <a:lnTo>
                    <a:pt x="852" y="1068"/>
                  </a:lnTo>
                  <a:lnTo>
                    <a:pt x="864" y="1038"/>
                  </a:lnTo>
                  <a:lnTo>
                    <a:pt x="870" y="1020"/>
                  </a:lnTo>
                  <a:lnTo>
                    <a:pt x="864" y="1008"/>
                  </a:lnTo>
                  <a:lnTo>
                    <a:pt x="858" y="990"/>
                  </a:lnTo>
                  <a:lnTo>
                    <a:pt x="852" y="954"/>
                  </a:lnTo>
                  <a:lnTo>
                    <a:pt x="846" y="948"/>
                  </a:lnTo>
                  <a:lnTo>
                    <a:pt x="834" y="936"/>
                  </a:lnTo>
                  <a:lnTo>
                    <a:pt x="828" y="924"/>
                  </a:lnTo>
                  <a:lnTo>
                    <a:pt x="756" y="942"/>
                  </a:lnTo>
                  <a:lnTo>
                    <a:pt x="744" y="936"/>
                  </a:lnTo>
                  <a:lnTo>
                    <a:pt x="744" y="930"/>
                  </a:lnTo>
                  <a:lnTo>
                    <a:pt x="738" y="924"/>
                  </a:lnTo>
                  <a:lnTo>
                    <a:pt x="744" y="924"/>
                  </a:lnTo>
                  <a:lnTo>
                    <a:pt x="738" y="918"/>
                  </a:lnTo>
                  <a:lnTo>
                    <a:pt x="732" y="912"/>
                  </a:lnTo>
                  <a:lnTo>
                    <a:pt x="732" y="906"/>
                  </a:lnTo>
                  <a:lnTo>
                    <a:pt x="732" y="894"/>
                  </a:lnTo>
                  <a:lnTo>
                    <a:pt x="726" y="888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6"/>
                  </a:lnTo>
                  <a:lnTo>
                    <a:pt x="690" y="882"/>
                  </a:lnTo>
                  <a:lnTo>
                    <a:pt x="684" y="864"/>
                  </a:lnTo>
                  <a:lnTo>
                    <a:pt x="684" y="852"/>
                  </a:lnTo>
                  <a:lnTo>
                    <a:pt x="672" y="852"/>
                  </a:lnTo>
                  <a:lnTo>
                    <a:pt x="654" y="852"/>
                  </a:lnTo>
                  <a:lnTo>
                    <a:pt x="642" y="846"/>
                  </a:lnTo>
                  <a:lnTo>
                    <a:pt x="636" y="834"/>
                  </a:lnTo>
                  <a:lnTo>
                    <a:pt x="630" y="822"/>
                  </a:lnTo>
                  <a:lnTo>
                    <a:pt x="618" y="822"/>
                  </a:lnTo>
                  <a:lnTo>
                    <a:pt x="618" y="816"/>
                  </a:lnTo>
                  <a:lnTo>
                    <a:pt x="618" y="810"/>
                  </a:lnTo>
                  <a:lnTo>
                    <a:pt x="612" y="810"/>
                  </a:lnTo>
                  <a:lnTo>
                    <a:pt x="606" y="804"/>
                  </a:lnTo>
                  <a:lnTo>
                    <a:pt x="594" y="804"/>
                  </a:lnTo>
                  <a:lnTo>
                    <a:pt x="588" y="810"/>
                  </a:lnTo>
                  <a:lnTo>
                    <a:pt x="588" y="804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70" y="810"/>
                  </a:lnTo>
                  <a:lnTo>
                    <a:pt x="564" y="816"/>
                  </a:lnTo>
                  <a:lnTo>
                    <a:pt x="558" y="816"/>
                  </a:lnTo>
                  <a:lnTo>
                    <a:pt x="552" y="822"/>
                  </a:lnTo>
                  <a:lnTo>
                    <a:pt x="546" y="828"/>
                  </a:lnTo>
                  <a:lnTo>
                    <a:pt x="546" y="834"/>
                  </a:lnTo>
                  <a:lnTo>
                    <a:pt x="528" y="834"/>
                  </a:lnTo>
                  <a:lnTo>
                    <a:pt x="516" y="822"/>
                  </a:lnTo>
                  <a:lnTo>
                    <a:pt x="504" y="822"/>
                  </a:lnTo>
                  <a:lnTo>
                    <a:pt x="492" y="82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6" y="792"/>
                  </a:lnTo>
                  <a:lnTo>
                    <a:pt x="492" y="786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504" y="780"/>
                  </a:lnTo>
                  <a:lnTo>
                    <a:pt x="510" y="780"/>
                  </a:lnTo>
                  <a:lnTo>
                    <a:pt x="522" y="768"/>
                  </a:lnTo>
                  <a:lnTo>
                    <a:pt x="522" y="762"/>
                  </a:lnTo>
                  <a:lnTo>
                    <a:pt x="504" y="756"/>
                  </a:lnTo>
                  <a:lnTo>
                    <a:pt x="498" y="756"/>
                  </a:lnTo>
                  <a:lnTo>
                    <a:pt x="498" y="744"/>
                  </a:lnTo>
                  <a:lnTo>
                    <a:pt x="492" y="738"/>
                  </a:lnTo>
                  <a:lnTo>
                    <a:pt x="480" y="738"/>
                  </a:lnTo>
                  <a:lnTo>
                    <a:pt x="474" y="738"/>
                  </a:lnTo>
                  <a:lnTo>
                    <a:pt x="456" y="738"/>
                  </a:lnTo>
                  <a:lnTo>
                    <a:pt x="438" y="738"/>
                  </a:lnTo>
                  <a:lnTo>
                    <a:pt x="432" y="750"/>
                  </a:lnTo>
                  <a:lnTo>
                    <a:pt x="426" y="756"/>
                  </a:lnTo>
                  <a:lnTo>
                    <a:pt x="426" y="762"/>
                  </a:lnTo>
                  <a:lnTo>
                    <a:pt x="420" y="762"/>
                  </a:lnTo>
                  <a:lnTo>
                    <a:pt x="408" y="744"/>
                  </a:lnTo>
                  <a:lnTo>
                    <a:pt x="408" y="732"/>
                  </a:lnTo>
                  <a:lnTo>
                    <a:pt x="390" y="714"/>
                  </a:lnTo>
                  <a:lnTo>
                    <a:pt x="384" y="702"/>
                  </a:lnTo>
                  <a:lnTo>
                    <a:pt x="384" y="690"/>
                  </a:lnTo>
                  <a:lnTo>
                    <a:pt x="372" y="690"/>
                  </a:lnTo>
                  <a:lnTo>
                    <a:pt x="366" y="660"/>
                  </a:lnTo>
                  <a:lnTo>
                    <a:pt x="354" y="630"/>
                  </a:lnTo>
                  <a:lnTo>
                    <a:pt x="348" y="630"/>
                  </a:lnTo>
                  <a:lnTo>
                    <a:pt x="336" y="630"/>
                  </a:lnTo>
                  <a:lnTo>
                    <a:pt x="330" y="630"/>
                  </a:lnTo>
                  <a:lnTo>
                    <a:pt x="318" y="630"/>
                  </a:lnTo>
                  <a:lnTo>
                    <a:pt x="312" y="624"/>
                  </a:lnTo>
                  <a:lnTo>
                    <a:pt x="306" y="624"/>
                  </a:lnTo>
                  <a:lnTo>
                    <a:pt x="294" y="618"/>
                  </a:lnTo>
                  <a:lnTo>
                    <a:pt x="288" y="612"/>
                  </a:lnTo>
                  <a:lnTo>
                    <a:pt x="276" y="600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58" y="588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8"/>
                  </a:lnTo>
                  <a:lnTo>
                    <a:pt x="216" y="582"/>
                  </a:lnTo>
                  <a:lnTo>
                    <a:pt x="210" y="588"/>
                  </a:lnTo>
                  <a:lnTo>
                    <a:pt x="198" y="582"/>
                  </a:lnTo>
                  <a:lnTo>
                    <a:pt x="180" y="582"/>
                  </a:lnTo>
                  <a:lnTo>
                    <a:pt x="174" y="552"/>
                  </a:lnTo>
                  <a:lnTo>
                    <a:pt x="168" y="504"/>
                  </a:lnTo>
                  <a:lnTo>
                    <a:pt x="186" y="504"/>
                  </a:lnTo>
                  <a:lnTo>
                    <a:pt x="192" y="504"/>
                  </a:lnTo>
                  <a:lnTo>
                    <a:pt x="192" y="498"/>
                  </a:lnTo>
                  <a:lnTo>
                    <a:pt x="192" y="492"/>
                  </a:lnTo>
                  <a:lnTo>
                    <a:pt x="192" y="486"/>
                  </a:lnTo>
                  <a:lnTo>
                    <a:pt x="198" y="486"/>
                  </a:lnTo>
                  <a:lnTo>
                    <a:pt x="198" y="480"/>
                  </a:lnTo>
                  <a:lnTo>
                    <a:pt x="204" y="474"/>
                  </a:lnTo>
                  <a:lnTo>
                    <a:pt x="210" y="468"/>
                  </a:lnTo>
                  <a:lnTo>
                    <a:pt x="198" y="462"/>
                  </a:lnTo>
                  <a:lnTo>
                    <a:pt x="192" y="444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32"/>
                  </a:lnTo>
                  <a:lnTo>
                    <a:pt x="168" y="438"/>
                  </a:lnTo>
                  <a:lnTo>
                    <a:pt x="150" y="450"/>
                  </a:lnTo>
                  <a:lnTo>
                    <a:pt x="144" y="456"/>
                  </a:lnTo>
                  <a:lnTo>
                    <a:pt x="132" y="456"/>
                  </a:lnTo>
                  <a:lnTo>
                    <a:pt x="126" y="468"/>
                  </a:lnTo>
                  <a:lnTo>
                    <a:pt x="114" y="468"/>
                  </a:lnTo>
                  <a:lnTo>
                    <a:pt x="108" y="468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14"/>
                  </a:lnTo>
                  <a:lnTo>
                    <a:pt x="108" y="396"/>
                  </a:lnTo>
                  <a:lnTo>
                    <a:pt x="120" y="396"/>
                  </a:lnTo>
                  <a:lnTo>
                    <a:pt x="126" y="384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84" y="354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0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60" y="318"/>
                  </a:lnTo>
                  <a:lnTo>
                    <a:pt x="42" y="324"/>
                  </a:lnTo>
                  <a:lnTo>
                    <a:pt x="36" y="318"/>
                  </a:lnTo>
                  <a:lnTo>
                    <a:pt x="36" y="312"/>
                  </a:lnTo>
                  <a:lnTo>
                    <a:pt x="36" y="306"/>
                  </a:lnTo>
                  <a:lnTo>
                    <a:pt x="36" y="300"/>
                  </a:lnTo>
                  <a:lnTo>
                    <a:pt x="30" y="300"/>
                  </a:lnTo>
                  <a:lnTo>
                    <a:pt x="30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24" y="276"/>
                  </a:lnTo>
                  <a:lnTo>
                    <a:pt x="18" y="276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18" y="234"/>
                  </a:lnTo>
                  <a:lnTo>
                    <a:pt x="30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42" y="192"/>
                  </a:lnTo>
                  <a:lnTo>
                    <a:pt x="66" y="186"/>
                  </a:lnTo>
                  <a:lnTo>
                    <a:pt x="90" y="156"/>
                  </a:lnTo>
                  <a:lnTo>
                    <a:pt x="102" y="144"/>
                  </a:lnTo>
                  <a:lnTo>
                    <a:pt x="138" y="150"/>
                  </a:lnTo>
                  <a:lnTo>
                    <a:pt x="162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0" y="180"/>
                  </a:lnTo>
                  <a:lnTo>
                    <a:pt x="174" y="180"/>
                  </a:lnTo>
                  <a:lnTo>
                    <a:pt x="180" y="186"/>
                  </a:lnTo>
                  <a:lnTo>
                    <a:pt x="186" y="186"/>
                  </a:lnTo>
                  <a:lnTo>
                    <a:pt x="198" y="192"/>
                  </a:lnTo>
                  <a:lnTo>
                    <a:pt x="216" y="198"/>
                  </a:lnTo>
                  <a:lnTo>
                    <a:pt x="252" y="204"/>
                  </a:lnTo>
                  <a:lnTo>
                    <a:pt x="258" y="210"/>
                  </a:lnTo>
                  <a:lnTo>
                    <a:pt x="306" y="216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84" y="210"/>
                  </a:lnTo>
                  <a:lnTo>
                    <a:pt x="408" y="222"/>
                  </a:lnTo>
                  <a:lnTo>
                    <a:pt x="438" y="228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86" y="222"/>
                  </a:lnTo>
                  <a:lnTo>
                    <a:pt x="492" y="210"/>
                  </a:lnTo>
                  <a:lnTo>
                    <a:pt x="492" y="198"/>
                  </a:lnTo>
                  <a:lnTo>
                    <a:pt x="486" y="180"/>
                  </a:lnTo>
                  <a:lnTo>
                    <a:pt x="492" y="162"/>
                  </a:lnTo>
                  <a:lnTo>
                    <a:pt x="510" y="96"/>
                  </a:lnTo>
                  <a:lnTo>
                    <a:pt x="516" y="84"/>
                  </a:lnTo>
                  <a:lnTo>
                    <a:pt x="522" y="84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34" y="72"/>
                  </a:lnTo>
                  <a:lnTo>
                    <a:pt x="534" y="60"/>
                  </a:lnTo>
                  <a:lnTo>
                    <a:pt x="540" y="36"/>
                  </a:lnTo>
                  <a:lnTo>
                    <a:pt x="546" y="6"/>
                  </a:lnTo>
                  <a:lnTo>
                    <a:pt x="558" y="6"/>
                  </a:lnTo>
                  <a:lnTo>
                    <a:pt x="564" y="0"/>
                  </a:lnTo>
                  <a:lnTo>
                    <a:pt x="582" y="0"/>
                  </a:lnTo>
                  <a:lnTo>
                    <a:pt x="588" y="0"/>
                  </a:lnTo>
                  <a:lnTo>
                    <a:pt x="594" y="6"/>
                  </a:lnTo>
                  <a:lnTo>
                    <a:pt x="600" y="12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24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36" y="36"/>
                  </a:lnTo>
                  <a:lnTo>
                    <a:pt x="642" y="36"/>
                  </a:lnTo>
                  <a:lnTo>
                    <a:pt x="642" y="42"/>
                  </a:lnTo>
                  <a:lnTo>
                    <a:pt x="648" y="54"/>
                  </a:lnTo>
                  <a:lnTo>
                    <a:pt x="660" y="72"/>
                  </a:lnTo>
                  <a:lnTo>
                    <a:pt x="666" y="78"/>
                  </a:lnTo>
                  <a:lnTo>
                    <a:pt x="672" y="90"/>
                  </a:lnTo>
                  <a:lnTo>
                    <a:pt x="678" y="102"/>
                  </a:lnTo>
                  <a:lnTo>
                    <a:pt x="678" y="114"/>
                  </a:lnTo>
                  <a:lnTo>
                    <a:pt x="684" y="132"/>
                  </a:lnTo>
                  <a:lnTo>
                    <a:pt x="684" y="144"/>
                  </a:lnTo>
                  <a:lnTo>
                    <a:pt x="690" y="162"/>
                  </a:lnTo>
                  <a:lnTo>
                    <a:pt x="696" y="168"/>
                  </a:lnTo>
                  <a:lnTo>
                    <a:pt x="696" y="180"/>
                  </a:lnTo>
                  <a:lnTo>
                    <a:pt x="702" y="186"/>
                  </a:lnTo>
                  <a:lnTo>
                    <a:pt x="708" y="186"/>
                  </a:lnTo>
                  <a:lnTo>
                    <a:pt x="714" y="198"/>
                  </a:lnTo>
                  <a:lnTo>
                    <a:pt x="720" y="198"/>
                  </a:lnTo>
                  <a:lnTo>
                    <a:pt x="732" y="204"/>
                  </a:lnTo>
                  <a:lnTo>
                    <a:pt x="738" y="210"/>
                  </a:lnTo>
                  <a:lnTo>
                    <a:pt x="738" y="216"/>
                  </a:lnTo>
                  <a:lnTo>
                    <a:pt x="744" y="222"/>
                  </a:lnTo>
                  <a:lnTo>
                    <a:pt x="750" y="228"/>
                  </a:lnTo>
                  <a:lnTo>
                    <a:pt x="756" y="228"/>
                  </a:lnTo>
                  <a:lnTo>
                    <a:pt x="768" y="240"/>
                  </a:lnTo>
                  <a:lnTo>
                    <a:pt x="774" y="252"/>
                  </a:lnTo>
                  <a:lnTo>
                    <a:pt x="780" y="258"/>
                  </a:lnTo>
                  <a:lnTo>
                    <a:pt x="786" y="258"/>
                  </a:lnTo>
                  <a:lnTo>
                    <a:pt x="798" y="264"/>
                  </a:lnTo>
                  <a:lnTo>
                    <a:pt x="798" y="270"/>
                  </a:lnTo>
                  <a:lnTo>
                    <a:pt x="798" y="276"/>
                  </a:lnTo>
                  <a:lnTo>
                    <a:pt x="810" y="288"/>
                  </a:lnTo>
                  <a:lnTo>
                    <a:pt x="816" y="288"/>
                  </a:lnTo>
                  <a:lnTo>
                    <a:pt x="816" y="300"/>
                  </a:lnTo>
                  <a:lnTo>
                    <a:pt x="816" y="306"/>
                  </a:lnTo>
                  <a:lnTo>
                    <a:pt x="822" y="318"/>
                  </a:lnTo>
                  <a:lnTo>
                    <a:pt x="828" y="324"/>
                  </a:lnTo>
                  <a:lnTo>
                    <a:pt x="834" y="330"/>
                  </a:lnTo>
                  <a:lnTo>
                    <a:pt x="846" y="336"/>
                  </a:lnTo>
                  <a:lnTo>
                    <a:pt x="846" y="342"/>
                  </a:lnTo>
                  <a:lnTo>
                    <a:pt x="852" y="348"/>
                  </a:lnTo>
                  <a:lnTo>
                    <a:pt x="852" y="354"/>
                  </a:lnTo>
                  <a:lnTo>
                    <a:pt x="858" y="354"/>
                  </a:lnTo>
                  <a:lnTo>
                    <a:pt x="858" y="348"/>
                  </a:lnTo>
                  <a:lnTo>
                    <a:pt x="864" y="342"/>
                  </a:lnTo>
                  <a:lnTo>
                    <a:pt x="864" y="336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76" y="306"/>
                  </a:lnTo>
                  <a:lnTo>
                    <a:pt x="870" y="300"/>
                  </a:lnTo>
                  <a:lnTo>
                    <a:pt x="870" y="294"/>
                  </a:lnTo>
                  <a:lnTo>
                    <a:pt x="876" y="294"/>
                  </a:lnTo>
                  <a:lnTo>
                    <a:pt x="882" y="300"/>
                  </a:lnTo>
                  <a:lnTo>
                    <a:pt x="888" y="300"/>
                  </a:lnTo>
                  <a:lnTo>
                    <a:pt x="888" y="306"/>
                  </a:lnTo>
                  <a:lnTo>
                    <a:pt x="894" y="300"/>
                  </a:lnTo>
                  <a:lnTo>
                    <a:pt x="900" y="294"/>
                  </a:lnTo>
                  <a:lnTo>
                    <a:pt x="894" y="288"/>
                  </a:lnTo>
                  <a:lnTo>
                    <a:pt x="888" y="282"/>
                  </a:lnTo>
                  <a:lnTo>
                    <a:pt x="888" y="276"/>
                  </a:lnTo>
                  <a:lnTo>
                    <a:pt x="894" y="276"/>
                  </a:lnTo>
                  <a:lnTo>
                    <a:pt x="900" y="276"/>
                  </a:lnTo>
                  <a:lnTo>
                    <a:pt x="900" y="270"/>
                  </a:lnTo>
                  <a:lnTo>
                    <a:pt x="906" y="264"/>
                  </a:lnTo>
                  <a:lnTo>
                    <a:pt x="906" y="258"/>
                  </a:lnTo>
                  <a:lnTo>
                    <a:pt x="918" y="264"/>
                  </a:lnTo>
                  <a:lnTo>
                    <a:pt x="918" y="258"/>
                  </a:lnTo>
                  <a:lnTo>
                    <a:pt x="924" y="252"/>
                  </a:lnTo>
                  <a:lnTo>
                    <a:pt x="930" y="252"/>
                  </a:lnTo>
                  <a:lnTo>
                    <a:pt x="930" y="246"/>
                  </a:lnTo>
                  <a:lnTo>
                    <a:pt x="936" y="234"/>
                  </a:lnTo>
                  <a:lnTo>
                    <a:pt x="942" y="228"/>
                  </a:lnTo>
                  <a:lnTo>
                    <a:pt x="942" y="222"/>
                  </a:lnTo>
                  <a:lnTo>
                    <a:pt x="948" y="222"/>
                  </a:lnTo>
                  <a:lnTo>
                    <a:pt x="948" y="216"/>
                  </a:lnTo>
                  <a:lnTo>
                    <a:pt x="942" y="216"/>
                  </a:lnTo>
                  <a:lnTo>
                    <a:pt x="936" y="216"/>
                  </a:lnTo>
                  <a:lnTo>
                    <a:pt x="936" y="210"/>
                  </a:lnTo>
                  <a:lnTo>
                    <a:pt x="942" y="210"/>
                  </a:lnTo>
                  <a:lnTo>
                    <a:pt x="972" y="210"/>
                  </a:lnTo>
                  <a:lnTo>
                    <a:pt x="1032" y="216"/>
                  </a:lnTo>
                  <a:lnTo>
                    <a:pt x="1068" y="216"/>
                  </a:lnTo>
                  <a:lnTo>
                    <a:pt x="1056" y="234"/>
                  </a:lnTo>
                  <a:lnTo>
                    <a:pt x="1050" y="240"/>
                  </a:lnTo>
                  <a:lnTo>
                    <a:pt x="1044" y="246"/>
                  </a:lnTo>
                  <a:lnTo>
                    <a:pt x="1038" y="246"/>
                  </a:lnTo>
                  <a:lnTo>
                    <a:pt x="1026" y="282"/>
                  </a:lnTo>
                  <a:lnTo>
                    <a:pt x="1032" y="306"/>
                  </a:lnTo>
                  <a:lnTo>
                    <a:pt x="1044" y="324"/>
                  </a:lnTo>
                  <a:lnTo>
                    <a:pt x="1044" y="342"/>
                  </a:lnTo>
                  <a:lnTo>
                    <a:pt x="1062" y="366"/>
                  </a:lnTo>
                  <a:lnTo>
                    <a:pt x="1056" y="396"/>
                  </a:lnTo>
                  <a:lnTo>
                    <a:pt x="1038" y="462"/>
                  </a:lnTo>
                  <a:lnTo>
                    <a:pt x="1038" y="498"/>
                  </a:lnTo>
                  <a:lnTo>
                    <a:pt x="1038" y="522"/>
                  </a:lnTo>
                  <a:lnTo>
                    <a:pt x="1038" y="534"/>
                  </a:lnTo>
                  <a:lnTo>
                    <a:pt x="1056" y="522"/>
                  </a:lnTo>
                  <a:lnTo>
                    <a:pt x="1098" y="504"/>
                  </a:lnTo>
                  <a:lnTo>
                    <a:pt x="1104" y="498"/>
                  </a:lnTo>
                  <a:lnTo>
                    <a:pt x="1128" y="492"/>
                  </a:lnTo>
                  <a:lnTo>
                    <a:pt x="1152" y="480"/>
                  </a:lnTo>
                  <a:lnTo>
                    <a:pt x="1170" y="474"/>
                  </a:lnTo>
                  <a:lnTo>
                    <a:pt x="1188" y="468"/>
                  </a:lnTo>
                  <a:lnTo>
                    <a:pt x="1200" y="462"/>
                  </a:lnTo>
                  <a:lnTo>
                    <a:pt x="1224" y="450"/>
                  </a:lnTo>
                  <a:lnTo>
                    <a:pt x="1248" y="450"/>
                  </a:lnTo>
                  <a:lnTo>
                    <a:pt x="1266" y="450"/>
                  </a:lnTo>
                  <a:lnTo>
                    <a:pt x="1296" y="456"/>
                  </a:lnTo>
                  <a:lnTo>
                    <a:pt x="1308" y="456"/>
                  </a:lnTo>
                  <a:lnTo>
                    <a:pt x="1326" y="456"/>
                  </a:lnTo>
                  <a:lnTo>
                    <a:pt x="1338" y="456"/>
                  </a:lnTo>
                  <a:lnTo>
                    <a:pt x="1350" y="462"/>
                  </a:lnTo>
                  <a:lnTo>
                    <a:pt x="1356" y="462"/>
                  </a:lnTo>
                  <a:lnTo>
                    <a:pt x="1374" y="456"/>
                  </a:lnTo>
                  <a:lnTo>
                    <a:pt x="1386" y="456"/>
                  </a:lnTo>
                  <a:lnTo>
                    <a:pt x="1392" y="456"/>
                  </a:lnTo>
                  <a:lnTo>
                    <a:pt x="1398" y="456"/>
                  </a:lnTo>
                  <a:lnTo>
                    <a:pt x="1422" y="456"/>
                  </a:lnTo>
                  <a:lnTo>
                    <a:pt x="1440" y="456"/>
                  </a:lnTo>
                  <a:lnTo>
                    <a:pt x="1446" y="456"/>
                  </a:lnTo>
                  <a:lnTo>
                    <a:pt x="1476" y="456"/>
                  </a:lnTo>
                  <a:lnTo>
                    <a:pt x="1470" y="468"/>
                  </a:lnTo>
                  <a:lnTo>
                    <a:pt x="1470" y="474"/>
                  </a:lnTo>
                  <a:lnTo>
                    <a:pt x="1470" y="486"/>
                  </a:lnTo>
                  <a:lnTo>
                    <a:pt x="1464" y="492"/>
                  </a:lnTo>
                  <a:lnTo>
                    <a:pt x="1464" y="498"/>
                  </a:lnTo>
                  <a:lnTo>
                    <a:pt x="1458" y="498"/>
                  </a:lnTo>
                  <a:lnTo>
                    <a:pt x="1458" y="510"/>
                  </a:lnTo>
                  <a:lnTo>
                    <a:pt x="1452" y="522"/>
                  </a:lnTo>
                  <a:lnTo>
                    <a:pt x="1458" y="528"/>
                  </a:lnTo>
                  <a:lnTo>
                    <a:pt x="1464" y="546"/>
                  </a:lnTo>
                  <a:lnTo>
                    <a:pt x="1470" y="552"/>
                  </a:lnTo>
                  <a:lnTo>
                    <a:pt x="1476" y="564"/>
                  </a:lnTo>
                  <a:lnTo>
                    <a:pt x="1488" y="588"/>
                  </a:lnTo>
                  <a:lnTo>
                    <a:pt x="1506" y="606"/>
                  </a:lnTo>
                  <a:lnTo>
                    <a:pt x="1506" y="612"/>
                  </a:lnTo>
                  <a:lnTo>
                    <a:pt x="1518" y="618"/>
                  </a:lnTo>
                  <a:lnTo>
                    <a:pt x="1512" y="630"/>
                  </a:lnTo>
                  <a:lnTo>
                    <a:pt x="1518" y="642"/>
                  </a:lnTo>
                  <a:lnTo>
                    <a:pt x="1518" y="648"/>
                  </a:lnTo>
                  <a:lnTo>
                    <a:pt x="1530" y="666"/>
                  </a:lnTo>
                  <a:lnTo>
                    <a:pt x="1518" y="672"/>
                  </a:lnTo>
                  <a:lnTo>
                    <a:pt x="1524" y="696"/>
                  </a:lnTo>
                  <a:lnTo>
                    <a:pt x="1518" y="732"/>
                  </a:lnTo>
                  <a:lnTo>
                    <a:pt x="1524" y="762"/>
                  </a:lnTo>
                  <a:lnTo>
                    <a:pt x="1524" y="780"/>
                  </a:lnTo>
                  <a:lnTo>
                    <a:pt x="1524" y="810"/>
                  </a:lnTo>
                  <a:lnTo>
                    <a:pt x="1530" y="834"/>
                  </a:lnTo>
                  <a:lnTo>
                    <a:pt x="1536" y="846"/>
                  </a:lnTo>
                  <a:lnTo>
                    <a:pt x="1542" y="846"/>
                  </a:lnTo>
                  <a:lnTo>
                    <a:pt x="1584" y="840"/>
                  </a:lnTo>
                  <a:lnTo>
                    <a:pt x="1590" y="846"/>
                  </a:lnTo>
                  <a:lnTo>
                    <a:pt x="1596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90" y="864"/>
                  </a:lnTo>
                  <a:lnTo>
                    <a:pt x="1578" y="882"/>
                  </a:lnTo>
                  <a:lnTo>
                    <a:pt x="1572" y="906"/>
                  </a:lnTo>
                  <a:lnTo>
                    <a:pt x="1560" y="924"/>
                  </a:lnTo>
                  <a:lnTo>
                    <a:pt x="1560" y="936"/>
                  </a:lnTo>
                  <a:lnTo>
                    <a:pt x="1548" y="960"/>
                  </a:lnTo>
                  <a:lnTo>
                    <a:pt x="1542" y="978"/>
                  </a:lnTo>
                  <a:lnTo>
                    <a:pt x="1536" y="990"/>
                  </a:lnTo>
                  <a:lnTo>
                    <a:pt x="1530" y="990"/>
                  </a:lnTo>
                  <a:lnTo>
                    <a:pt x="1506" y="996"/>
                  </a:lnTo>
                  <a:lnTo>
                    <a:pt x="1494" y="1002"/>
                  </a:lnTo>
                  <a:lnTo>
                    <a:pt x="1482" y="1002"/>
                  </a:lnTo>
                  <a:lnTo>
                    <a:pt x="1464" y="1008"/>
                  </a:lnTo>
                  <a:lnTo>
                    <a:pt x="1446" y="1026"/>
                  </a:lnTo>
                  <a:lnTo>
                    <a:pt x="1440" y="1026"/>
                  </a:lnTo>
                  <a:lnTo>
                    <a:pt x="1434" y="1038"/>
                  </a:lnTo>
                  <a:lnTo>
                    <a:pt x="1428" y="1044"/>
                  </a:lnTo>
                  <a:lnTo>
                    <a:pt x="1428" y="1062"/>
                  </a:lnTo>
                  <a:lnTo>
                    <a:pt x="1428" y="1086"/>
                  </a:lnTo>
                  <a:lnTo>
                    <a:pt x="1416" y="1092"/>
                  </a:lnTo>
                  <a:lnTo>
                    <a:pt x="1410" y="1080"/>
                  </a:lnTo>
                  <a:lnTo>
                    <a:pt x="1392" y="10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0" name="Freeform 25">
              <a:extLst>
                <a:ext uri="{FF2B5EF4-FFF2-40B4-BE49-F238E27FC236}">
                  <a16:creationId xmlns:a16="http://schemas.microsoft.com/office/drawing/2014/main" id="{39FDFF90-5ACF-4D65-81AD-C44D2CBE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70228" y="3063559"/>
              <a:ext cx="644023" cy="704498"/>
            </a:xfrm>
            <a:custGeom>
              <a:avLst/>
              <a:gdLst>
                <a:gd name="T0" fmla="*/ 74 w 1212"/>
                <a:gd name="T1" fmla="*/ 113 h 1326"/>
                <a:gd name="T2" fmla="*/ 60 w 1212"/>
                <a:gd name="T3" fmla="*/ 116 h 1326"/>
                <a:gd name="T4" fmla="*/ 62 w 1212"/>
                <a:gd name="T5" fmla="*/ 110 h 1326"/>
                <a:gd name="T6" fmla="*/ 60 w 1212"/>
                <a:gd name="T7" fmla="*/ 105 h 1326"/>
                <a:gd name="T8" fmla="*/ 52 w 1212"/>
                <a:gd name="T9" fmla="*/ 96 h 1326"/>
                <a:gd name="T10" fmla="*/ 47 w 1212"/>
                <a:gd name="T11" fmla="*/ 98 h 1326"/>
                <a:gd name="T12" fmla="*/ 44 w 1212"/>
                <a:gd name="T13" fmla="*/ 93 h 1326"/>
                <a:gd name="T14" fmla="*/ 40 w 1212"/>
                <a:gd name="T15" fmla="*/ 96 h 1326"/>
                <a:gd name="T16" fmla="*/ 35 w 1212"/>
                <a:gd name="T17" fmla="*/ 102 h 1326"/>
                <a:gd name="T18" fmla="*/ 27 w 1212"/>
                <a:gd name="T19" fmla="*/ 100 h 1326"/>
                <a:gd name="T20" fmla="*/ 23 w 1212"/>
                <a:gd name="T21" fmla="*/ 96 h 1326"/>
                <a:gd name="T22" fmla="*/ 20 w 1212"/>
                <a:gd name="T23" fmla="*/ 90 h 1326"/>
                <a:gd name="T24" fmla="*/ 18 w 1212"/>
                <a:gd name="T25" fmla="*/ 89 h 1326"/>
                <a:gd name="T26" fmla="*/ 18 w 1212"/>
                <a:gd name="T27" fmla="*/ 85 h 1326"/>
                <a:gd name="T28" fmla="*/ 19 w 1212"/>
                <a:gd name="T29" fmla="*/ 83 h 1326"/>
                <a:gd name="T30" fmla="*/ 19 w 1212"/>
                <a:gd name="T31" fmla="*/ 82 h 1326"/>
                <a:gd name="T32" fmla="*/ 20 w 1212"/>
                <a:gd name="T33" fmla="*/ 79 h 1326"/>
                <a:gd name="T34" fmla="*/ 19 w 1212"/>
                <a:gd name="T35" fmla="*/ 75 h 1326"/>
                <a:gd name="T36" fmla="*/ 17 w 1212"/>
                <a:gd name="T37" fmla="*/ 77 h 1326"/>
                <a:gd name="T38" fmla="*/ 14 w 1212"/>
                <a:gd name="T39" fmla="*/ 76 h 1326"/>
                <a:gd name="T40" fmla="*/ 12 w 1212"/>
                <a:gd name="T41" fmla="*/ 71 h 1326"/>
                <a:gd name="T42" fmla="*/ 8 w 1212"/>
                <a:gd name="T43" fmla="*/ 69 h 1326"/>
                <a:gd name="T44" fmla="*/ 0 w 1212"/>
                <a:gd name="T45" fmla="*/ 72 h 1326"/>
                <a:gd name="T46" fmla="*/ 2 w 1212"/>
                <a:gd name="T47" fmla="*/ 67 h 1326"/>
                <a:gd name="T48" fmla="*/ 3 w 1212"/>
                <a:gd name="T49" fmla="*/ 61 h 1326"/>
                <a:gd name="T50" fmla="*/ 4 w 1212"/>
                <a:gd name="T51" fmla="*/ 56 h 1326"/>
                <a:gd name="T52" fmla="*/ 4 w 1212"/>
                <a:gd name="T53" fmla="*/ 52 h 1326"/>
                <a:gd name="T54" fmla="*/ 2 w 1212"/>
                <a:gd name="T55" fmla="*/ 47 h 1326"/>
                <a:gd name="T56" fmla="*/ 2 w 1212"/>
                <a:gd name="T57" fmla="*/ 42 h 1326"/>
                <a:gd name="T58" fmla="*/ 5 w 1212"/>
                <a:gd name="T59" fmla="*/ 39 h 1326"/>
                <a:gd name="T60" fmla="*/ 5 w 1212"/>
                <a:gd name="T61" fmla="*/ 35 h 1326"/>
                <a:gd name="T62" fmla="*/ 7 w 1212"/>
                <a:gd name="T63" fmla="*/ 31 h 1326"/>
                <a:gd name="T64" fmla="*/ 14 w 1212"/>
                <a:gd name="T65" fmla="*/ 31 h 1326"/>
                <a:gd name="T66" fmla="*/ 18 w 1212"/>
                <a:gd name="T67" fmla="*/ 27 h 1326"/>
                <a:gd name="T68" fmla="*/ 22 w 1212"/>
                <a:gd name="T69" fmla="*/ 24 h 1326"/>
                <a:gd name="T70" fmla="*/ 27 w 1212"/>
                <a:gd name="T71" fmla="*/ 20 h 1326"/>
                <a:gd name="T72" fmla="*/ 35 w 1212"/>
                <a:gd name="T73" fmla="*/ 21 h 1326"/>
                <a:gd name="T74" fmla="*/ 61 w 1212"/>
                <a:gd name="T75" fmla="*/ 8 h 1326"/>
                <a:gd name="T76" fmla="*/ 73 w 1212"/>
                <a:gd name="T77" fmla="*/ 4 h 1326"/>
                <a:gd name="T78" fmla="*/ 86 w 1212"/>
                <a:gd name="T79" fmla="*/ 12 h 1326"/>
                <a:gd name="T80" fmla="*/ 92 w 1212"/>
                <a:gd name="T81" fmla="*/ 13 h 1326"/>
                <a:gd name="T82" fmla="*/ 86 w 1212"/>
                <a:gd name="T83" fmla="*/ 18 h 1326"/>
                <a:gd name="T84" fmla="*/ 88 w 1212"/>
                <a:gd name="T85" fmla="*/ 33 h 1326"/>
                <a:gd name="T86" fmla="*/ 97 w 1212"/>
                <a:gd name="T87" fmla="*/ 49 h 1326"/>
                <a:gd name="T88" fmla="*/ 102 w 1212"/>
                <a:gd name="T89" fmla="*/ 57 h 1326"/>
                <a:gd name="T90" fmla="*/ 104 w 1212"/>
                <a:gd name="T91" fmla="*/ 67 h 1326"/>
                <a:gd name="T92" fmla="*/ 101 w 1212"/>
                <a:gd name="T93" fmla="*/ 69 h 1326"/>
                <a:gd name="T94" fmla="*/ 97 w 1212"/>
                <a:gd name="T95" fmla="*/ 69 h 1326"/>
                <a:gd name="T96" fmla="*/ 96 w 1212"/>
                <a:gd name="T97" fmla="*/ 71 h 1326"/>
                <a:gd name="T98" fmla="*/ 93 w 1212"/>
                <a:gd name="T99" fmla="*/ 70 h 1326"/>
                <a:gd name="T100" fmla="*/ 86 w 1212"/>
                <a:gd name="T101" fmla="*/ 69 h 1326"/>
                <a:gd name="T102" fmla="*/ 82 w 1212"/>
                <a:gd name="T103" fmla="*/ 73 h 1326"/>
                <a:gd name="T104" fmla="*/ 79 w 1212"/>
                <a:gd name="T105" fmla="*/ 74 h 1326"/>
                <a:gd name="T106" fmla="*/ 78 w 1212"/>
                <a:gd name="T107" fmla="*/ 79 h 1326"/>
                <a:gd name="T108" fmla="*/ 78 w 1212"/>
                <a:gd name="T109" fmla="*/ 83 h 1326"/>
                <a:gd name="T110" fmla="*/ 82 w 1212"/>
                <a:gd name="T111" fmla="*/ 87 h 1326"/>
                <a:gd name="T112" fmla="*/ 83 w 1212"/>
                <a:gd name="T113" fmla="*/ 90 h 1326"/>
                <a:gd name="T114" fmla="*/ 82 w 1212"/>
                <a:gd name="T115" fmla="*/ 94 h 1326"/>
                <a:gd name="T116" fmla="*/ 82 w 1212"/>
                <a:gd name="T117" fmla="*/ 98 h 1326"/>
                <a:gd name="T118" fmla="*/ 82 w 1212"/>
                <a:gd name="T119" fmla="*/ 104 h 1326"/>
                <a:gd name="T120" fmla="*/ 78 w 1212"/>
                <a:gd name="T121" fmla="*/ 110 h 132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12"/>
                <a:gd name="T184" fmla="*/ 0 h 1326"/>
                <a:gd name="T185" fmla="*/ 1212 w 1212"/>
                <a:gd name="T186" fmla="*/ 1326 h 132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12" h="1326">
                  <a:moveTo>
                    <a:pt x="906" y="1290"/>
                  </a:moveTo>
                  <a:lnTo>
                    <a:pt x="906" y="1296"/>
                  </a:lnTo>
                  <a:lnTo>
                    <a:pt x="900" y="1296"/>
                  </a:lnTo>
                  <a:lnTo>
                    <a:pt x="876" y="1290"/>
                  </a:lnTo>
                  <a:lnTo>
                    <a:pt x="870" y="1290"/>
                  </a:lnTo>
                  <a:lnTo>
                    <a:pt x="864" y="1296"/>
                  </a:lnTo>
                  <a:lnTo>
                    <a:pt x="852" y="1296"/>
                  </a:lnTo>
                  <a:lnTo>
                    <a:pt x="840" y="1302"/>
                  </a:lnTo>
                  <a:lnTo>
                    <a:pt x="834" y="1308"/>
                  </a:lnTo>
                  <a:lnTo>
                    <a:pt x="822" y="1320"/>
                  </a:lnTo>
                  <a:lnTo>
                    <a:pt x="816" y="1320"/>
                  </a:lnTo>
                  <a:lnTo>
                    <a:pt x="732" y="1320"/>
                  </a:lnTo>
                  <a:lnTo>
                    <a:pt x="696" y="1320"/>
                  </a:lnTo>
                  <a:lnTo>
                    <a:pt x="690" y="1326"/>
                  </a:lnTo>
                  <a:lnTo>
                    <a:pt x="678" y="1326"/>
                  </a:lnTo>
                  <a:lnTo>
                    <a:pt x="672" y="1308"/>
                  </a:lnTo>
                  <a:lnTo>
                    <a:pt x="696" y="1302"/>
                  </a:lnTo>
                  <a:lnTo>
                    <a:pt x="708" y="1296"/>
                  </a:lnTo>
                  <a:lnTo>
                    <a:pt x="720" y="1284"/>
                  </a:lnTo>
                  <a:lnTo>
                    <a:pt x="714" y="1278"/>
                  </a:lnTo>
                  <a:lnTo>
                    <a:pt x="714" y="1266"/>
                  </a:lnTo>
                  <a:lnTo>
                    <a:pt x="708" y="1260"/>
                  </a:lnTo>
                  <a:lnTo>
                    <a:pt x="708" y="1254"/>
                  </a:lnTo>
                  <a:lnTo>
                    <a:pt x="708" y="1248"/>
                  </a:lnTo>
                  <a:lnTo>
                    <a:pt x="702" y="1236"/>
                  </a:lnTo>
                  <a:lnTo>
                    <a:pt x="702" y="1230"/>
                  </a:lnTo>
                  <a:lnTo>
                    <a:pt x="702" y="1218"/>
                  </a:lnTo>
                  <a:lnTo>
                    <a:pt x="696" y="1200"/>
                  </a:lnTo>
                  <a:lnTo>
                    <a:pt x="696" y="1182"/>
                  </a:lnTo>
                  <a:lnTo>
                    <a:pt x="666" y="1182"/>
                  </a:lnTo>
                  <a:lnTo>
                    <a:pt x="672" y="1134"/>
                  </a:lnTo>
                  <a:lnTo>
                    <a:pt x="666" y="1128"/>
                  </a:lnTo>
                  <a:lnTo>
                    <a:pt x="660" y="1092"/>
                  </a:lnTo>
                  <a:lnTo>
                    <a:pt x="654" y="1098"/>
                  </a:lnTo>
                  <a:lnTo>
                    <a:pt x="594" y="1098"/>
                  </a:lnTo>
                  <a:lnTo>
                    <a:pt x="576" y="1098"/>
                  </a:lnTo>
                  <a:lnTo>
                    <a:pt x="570" y="1104"/>
                  </a:lnTo>
                  <a:lnTo>
                    <a:pt x="564" y="1110"/>
                  </a:lnTo>
                  <a:lnTo>
                    <a:pt x="558" y="1110"/>
                  </a:lnTo>
                  <a:lnTo>
                    <a:pt x="552" y="1110"/>
                  </a:lnTo>
                  <a:lnTo>
                    <a:pt x="546" y="1110"/>
                  </a:lnTo>
                  <a:lnTo>
                    <a:pt x="546" y="1116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10" y="1128"/>
                  </a:lnTo>
                  <a:lnTo>
                    <a:pt x="522" y="1104"/>
                  </a:lnTo>
                  <a:lnTo>
                    <a:pt x="510" y="1098"/>
                  </a:lnTo>
                  <a:lnTo>
                    <a:pt x="510" y="1074"/>
                  </a:lnTo>
                  <a:lnTo>
                    <a:pt x="504" y="1068"/>
                  </a:lnTo>
                  <a:lnTo>
                    <a:pt x="498" y="1068"/>
                  </a:lnTo>
                  <a:lnTo>
                    <a:pt x="492" y="1068"/>
                  </a:lnTo>
                  <a:lnTo>
                    <a:pt x="474" y="1080"/>
                  </a:lnTo>
                  <a:lnTo>
                    <a:pt x="474" y="1086"/>
                  </a:lnTo>
                  <a:lnTo>
                    <a:pt x="474" y="1092"/>
                  </a:lnTo>
                  <a:lnTo>
                    <a:pt x="468" y="1098"/>
                  </a:lnTo>
                  <a:lnTo>
                    <a:pt x="462" y="1104"/>
                  </a:lnTo>
                  <a:lnTo>
                    <a:pt x="456" y="1110"/>
                  </a:lnTo>
                  <a:lnTo>
                    <a:pt x="456" y="1122"/>
                  </a:lnTo>
                  <a:lnTo>
                    <a:pt x="456" y="1128"/>
                  </a:lnTo>
                  <a:lnTo>
                    <a:pt x="450" y="1140"/>
                  </a:lnTo>
                  <a:lnTo>
                    <a:pt x="444" y="1146"/>
                  </a:lnTo>
                  <a:lnTo>
                    <a:pt x="426" y="1170"/>
                  </a:lnTo>
                  <a:lnTo>
                    <a:pt x="408" y="1176"/>
                  </a:lnTo>
                  <a:lnTo>
                    <a:pt x="402" y="1170"/>
                  </a:lnTo>
                  <a:lnTo>
                    <a:pt x="396" y="1170"/>
                  </a:lnTo>
                  <a:lnTo>
                    <a:pt x="396" y="1158"/>
                  </a:lnTo>
                  <a:lnTo>
                    <a:pt x="384" y="1152"/>
                  </a:lnTo>
                  <a:lnTo>
                    <a:pt x="372" y="1140"/>
                  </a:lnTo>
                  <a:lnTo>
                    <a:pt x="354" y="1140"/>
                  </a:lnTo>
                  <a:lnTo>
                    <a:pt x="306" y="1146"/>
                  </a:lnTo>
                  <a:lnTo>
                    <a:pt x="294" y="1134"/>
                  </a:lnTo>
                  <a:lnTo>
                    <a:pt x="294" y="1128"/>
                  </a:lnTo>
                  <a:lnTo>
                    <a:pt x="288" y="1122"/>
                  </a:lnTo>
                  <a:lnTo>
                    <a:pt x="276" y="1122"/>
                  </a:lnTo>
                  <a:lnTo>
                    <a:pt x="276" y="1110"/>
                  </a:lnTo>
                  <a:lnTo>
                    <a:pt x="276" y="1104"/>
                  </a:lnTo>
                  <a:lnTo>
                    <a:pt x="270" y="1098"/>
                  </a:lnTo>
                  <a:lnTo>
                    <a:pt x="264" y="1086"/>
                  </a:lnTo>
                  <a:lnTo>
                    <a:pt x="264" y="1074"/>
                  </a:lnTo>
                  <a:lnTo>
                    <a:pt x="258" y="1068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34" y="1038"/>
                  </a:lnTo>
                  <a:lnTo>
                    <a:pt x="228" y="1038"/>
                  </a:lnTo>
                  <a:lnTo>
                    <a:pt x="222" y="1038"/>
                  </a:lnTo>
                  <a:lnTo>
                    <a:pt x="216" y="1038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0"/>
                  </a:lnTo>
                  <a:lnTo>
                    <a:pt x="204" y="1014"/>
                  </a:lnTo>
                  <a:lnTo>
                    <a:pt x="204" y="1008"/>
                  </a:lnTo>
                  <a:lnTo>
                    <a:pt x="198" y="1002"/>
                  </a:lnTo>
                  <a:lnTo>
                    <a:pt x="198" y="996"/>
                  </a:lnTo>
                  <a:lnTo>
                    <a:pt x="198" y="990"/>
                  </a:lnTo>
                  <a:lnTo>
                    <a:pt x="204" y="990"/>
                  </a:lnTo>
                  <a:lnTo>
                    <a:pt x="204" y="984"/>
                  </a:lnTo>
                  <a:lnTo>
                    <a:pt x="210" y="978"/>
                  </a:lnTo>
                  <a:lnTo>
                    <a:pt x="210" y="972"/>
                  </a:lnTo>
                  <a:lnTo>
                    <a:pt x="210" y="966"/>
                  </a:lnTo>
                  <a:lnTo>
                    <a:pt x="216" y="960"/>
                  </a:lnTo>
                  <a:lnTo>
                    <a:pt x="216" y="954"/>
                  </a:lnTo>
                  <a:lnTo>
                    <a:pt x="210" y="954"/>
                  </a:lnTo>
                  <a:lnTo>
                    <a:pt x="204" y="954"/>
                  </a:lnTo>
                  <a:lnTo>
                    <a:pt x="216" y="954"/>
                  </a:lnTo>
                  <a:lnTo>
                    <a:pt x="216" y="948"/>
                  </a:lnTo>
                  <a:lnTo>
                    <a:pt x="210" y="948"/>
                  </a:lnTo>
                  <a:lnTo>
                    <a:pt x="210" y="942"/>
                  </a:lnTo>
                  <a:lnTo>
                    <a:pt x="216" y="942"/>
                  </a:lnTo>
                  <a:lnTo>
                    <a:pt x="222" y="942"/>
                  </a:lnTo>
                  <a:lnTo>
                    <a:pt x="222" y="936"/>
                  </a:lnTo>
                  <a:lnTo>
                    <a:pt x="216" y="936"/>
                  </a:lnTo>
                  <a:lnTo>
                    <a:pt x="210" y="936"/>
                  </a:lnTo>
                  <a:lnTo>
                    <a:pt x="210" y="930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22" y="918"/>
                  </a:lnTo>
                  <a:lnTo>
                    <a:pt x="228" y="912"/>
                  </a:lnTo>
                  <a:lnTo>
                    <a:pt x="228" y="906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2" y="888"/>
                  </a:lnTo>
                  <a:lnTo>
                    <a:pt x="222" y="882"/>
                  </a:lnTo>
                  <a:lnTo>
                    <a:pt x="222" y="876"/>
                  </a:lnTo>
                  <a:lnTo>
                    <a:pt x="222" y="858"/>
                  </a:lnTo>
                  <a:lnTo>
                    <a:pt x="216" y="858"/>
                  </a:lnTo>
                  <a:lnTo>
                    <a:pt x="216" y="852"/>
                  </a:lnTo>
                  <a:lnTo>
                    <a:pt x="210" y="852"/>
                  </a:lnTo>
                  <a:lnTo>
                    <a:pt x="210" y="840"/>
                  </a:lnTo>
                  <a:lnTo>
                    <a:pt x="198" y="840"/>
                  </a:lnTo>
                  <a:lnTo>
                    <a:pt x="198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0" y="894"/>
                  </a:lnTo>
                  <a:lnTo>
                    <a:pt x="180" y="906"/>
                  </a:lnTo>
                  <a:lnTo>
                    <a:pt x="156" y="912"/>
                  </a:lnTo>
                  <a:lnTo>
                    <a:pt x="156" y="894"/>
                  </a:lnTo>
                  <a:lnTo>
                    <a:pt x="156" y="882"/>
                  </a:lnTo>
                  <a:lnTo>
                    <a:pt x="156" y="876"/>
                  </a:lnTo>
                  <a:lnTo>
                    <a:pt x="150" y="876"/>
                  </a:lnTo>
                  <a:lnTo>
                    <a:pt x="144" y="876"/>
                  </a:lnTo>
                  <a:lnTo>
                    <a:pt x="138" y="870"/>
                  </a:lnTo>
                  <a:lnTo>
                    <a:pt x="132" y="864"/>
                  </a:lnTo>
                  <a:lnTo>
                    <a:pt x="138" y="840"/>
                  </a:lnTo>
                  <a:lnTo>
                    <a:pt x="132" y="840"/>
                  </a:lnTo>
                  <a:lnTo>
                    <a:pt x="138" y="810"/>
                  </a:lnTo>
                  <a:lnTo>
                    <a:pt x="144" y="804"/>
                  </a:lnTo>
                  <a:lnTo>
                    <a:pt x="144" y="798"/>
                  </a:lnTo>
                  <a:lnTo>
                    <a:pt x="156" y="798"/>
                  </a:lnTo>
                  <a:lnTo>
                    <a:pt x="156" y="792"/>
                  </a:lnTo>
                  <a:lnTo>
                    <a:pt x="120" y="792"/>
                  </a:lnTo>
                  <a:lnTo>
                    <a:pt x="108" y="786"/>
                  </a:lnTo>
                  <a:lnTo>
                    <a:pt x="96" y="786"/>
                  </a:lnTo>
                  <a:lnTo>
                    <a:pt x="96" y="780"/>
                  </a:lnTo>
                  <a:lnTo>
                    <a:pt x="78" y="780"/>
                  </a:lnTo>
                  <a:lnTo>
                    <a:pt x="72" y="804"/>
                  </a:lnTo>
                  <a:lnTo>
                    <a:pt x="60" y="816"/>
                  </a:lnTo>
                  <a:lnTo>
                    <a:pt x="36" y="828"/>
                  </a:lnTo>
                  <a:lnTo>
                    <a:pt x="18" y="840"/>
                  </a:lnTo>
                  <a:lnTo>
                    <a:pt x="0" y="822"/>
                  </a:lnTo>
                  <a:lnTo>
                    <a:pt x="6" y="816"/>
                  </a:lnTo>
                  <a:lnTo>
                    <a:pt x="12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18" y="786"/>
                  </a:lnTo>
                  <a:lnTo>
                    <a:pt x="24" y="780"/>
                  </a:lnTo>
                  <a:lnTo>
                    <a:pt x="24" y="768"/>
                  </a:lnTo>
                  <a:lnTo>
                    <a:pt x="24" y="762"/>
                  </a:lnTo>
                  <a:lnTo>
                    <a:pt x="24" y="750"/>
                  </a:lnTo>
                  <a:lnTo>
                    <a:pt x="36" y="714"/>
                  </a:lnTo>
                  <a:lnTo>
                    <a:pt x="36" y="708"/>
                  </a:lnTo>
                  <a:lnTo>
                    <a:pt x="42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6" y="690"/>
                  </a:lnTo>
                  <a:lnTo>
                    <a:pt x="42" y="684"/>
                  </a:lnTo>
                  <a:lnTo>
                    <a:pt x="42" y="672"/>
                  </a:lnTo>
                  <a:lnTo>
                    <a:pt x="42" y="666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48" y="648"/>
                  </a:lnTo>
                  <a:lnTo>
                    <a:pt x="54" y="642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54" y="612"/>
                  </a:lnTo>
                  <a:lnTo>
                    <a:pt x="48" y="606"/>
                  </a:lnTo>
                  <a:lnTo>
                    <a:pt x="48" y="600"/>
                  </a:lnTo>
                  <a:lnTo>
                    <a:pt x="42" y="600"/>
                  </a:lnTo>
                  <a:lnTo>
                    <a:pt x="36" y="594"/>
                  </a:lnTo>
                  <a:lnTo>
                    <a:pt x="36" y="588"/>
                  </a:lnTo>
                  <a:lnTo>
                    <a:pt x="30" y="582"/>
                  </a:lnTo>
                  <a:lnTo>
                    <a:pt x="30" y="570"/>
                  </a:lnTo>
                  <a:lnTo>
                    <a:pt x="18" y="552"/>
                  </a:lnTo>
                  <a:lnTo>
                    <a:pt x="18" y="546"/>
                  </a:lnTo>
                  <a:lnTo>
                    <a:pt x="18" y="540"/>
                  </a:lnTo>
                  <a:lnTo>
                    <a:pt x="18" y="528"/>
                  </a:lnTo>
                  <a:lnTo>
                    <a:pt x="18" y="522"/>
                  </a:lnTo>
                  <a:lnTo>
                    <a:pt x="24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30" y="474"/>
                  </a:lnTo>
                  <a:lnTo>
                    <a:pt x="36" y="474"/>
                  </a:lnTo>
                  <a:lnTo>
                    <a:pt x="42" y="468"/>
                  </a:lnTo>
                  <a:lnTo>
                    <a:pt x="48" y="468"/>
                  </a:lnTo>
                  <a:lnTo>
                    <a:pt x="48" y="462"/>
                  </a:lnTo>
                  <a:lnTo>
                    <a:pt x="48" y="456"/>
                  </a:lnTo>
                  <a:lnTo>
                    <a:pt x="54" y="450"/>
                  </a:lnTo>
                  <a:lnTo>
                    <a:pt x="60" y="438"/>
                  </a:lnTo>
                  <a:lnTo>
                    <a:pt x="54" y="438"/>
                  </a:lnTo>
                  <a:lnTo>
                    <a:pt x="54" y="432"/>
                  </a:ln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54" y="402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6" y="384"/>
                  </a:lnTo>
                  <a:lnTo>
                    <a:pt x="72" y="372"/>
                  </a:lnTo>
                  <a:lnTo>
                    <a:pt x="78" y="366"/>
                  </a:lnTo>
                  <a:lnTo>
                    <a:pt x="84" y="360"/>
                  </a:lnTo>
                  <a:lnTo>
                    <a:pt x="102" y="360"/>
                  </a:lnTo>
                  <a:lnTo>
                    <a:pt x="114" y="36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8" y="360"/>
                  </a:lnTo>
                  <a:lnTo>
                    <a:pt x="156" y="360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74" y="342"/>
                  </a:lnTo>
                  <a:lnTo>
                    <a:pt x="180" y="342"/>
                  </a:lnTo>
                  <a:lnTo>
                    <a:pt x="186" y="336"/>
                  </a:lnTo>
                  <a:lnTo>
                    <a:pt x="192" y="330"/>
                  </a:lnTo>
                  <a:lnTo>
                    <a:pt x="204" y="312"/>
                  </a:lnTo>
                  <a:lnTo>
                    <a:pt x="210" y="312"/>
                  </a:lnTo>
                  <a:lnTo>
                    <a:pt x="216" y="306"/>
                  </a:lnTo>
                  <a:lnTo>
                    <a:pt x="216" y="300"/>
                  </a:lnTo>
                  <a:lnTo>
                    <a:pt x="222" y="288"/>
                  </a:lnTo>
                  <a:lnTo>
                    <a:pt x="234" y="288"/>
                  </a:lnTo>
                  <a:lnTo>
                    <a:pt x="240" y="282"/>
                  </a:lnTo>
                  <a:lnTo>
                    <a:pt x="246" y="282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70" y="270"/>
                  </a:lnTo>
                  <a:lnTo>
                    <a:pt x="276" y="264"/>
                  </a:lnTo>
                  <a:lnTo>
                    <a:pt x="282" y="26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8" y="234"/>
                  </a:lnTo>
                  <a:lnTo>
                    <a:pt x="330" y="234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72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14" y="240"/>
                  </a:lnTo>
                  <a:lnTo>
                    <a:pt x="444" y="216"/>
                  </a:lnTo>
                  <a:lnTo>
                    <a:pt x="480" y="204"/>
                  </a:lnTo>
                  <a:lnTo>
                    <a:pt x="600" y="150"/>
                  </a:lnTo>
                  <a:lnTo>
                    <a:pt x="648" y="126"/>
                  </a:lnTo>
                  <a:lnTo>
                    <a:pt x="702" y="96"/>
                  </a:lnTo>
                  <a:lnTo>
                    <a:pt x="708" y="54"/>
                  </a:lnTo>
                  <a:lnTo>
                    <a:pt x="720" y="24"/>
                  </a:lnTo>
                  <a:lnTo>
                    <a:pt x="738" y="12"/>
                  </a:lnTo>
                  <a:lnTo>
                    <a:pt x="768" y="0"/>
                  </a:lnTo>
                  <a:lnTo>
                    <a:pt x="792" y="6"/>
                  </a:lnTo>
                  <a:lnTo>
                    <a:pt x="804" y="12"/>
                  </a:lnTo>
                  <a:lnTo>
                    <a:pt x="834" y="48"/>
                  </a:lnTo>
                  <a:lnTo>
                    <a:pt x="834" y="60"/>
                  </a:lnTo>
                  <a:lnTo>
                    <a:pt x="852" y="84"/>
                  </a:lnTo>
                  <a:lnTo>
                    <a:pt x="864" y="96"/>
                  </a:lnTo>
                  <a:lnTo>
                    <a:pt x="888" y="102"/>
                  </a:lnTo>
                  <a:lnTo>
                    <a:pt x="978" y="120"/>
                  </a:lnTo>
                  <a:lnTo>
                    <a:pt x="984" y="126"/>
                  </a:lnTo>
                  <a:lnTo>
                    <a:pt x="984" y="132"/>
                  </a:lnTo>
                  <a:lnTo>
                    <a:pt x="996" y="138"/>
                  </a:lnTo>
                  <a:lnTo>
                    <a:pt x="1038" y="126"/>
                  </a:lnTo>
                  <a:lnTo>
                    <a:pt x="1056" y="114"/>
                  </a:lnTo>
                  <a:lnTo>
                    <a:pt x="1068" y="126"/>
                  </a:lnTo>
                  <a:lnTo>
                    <a:pt x="1074" y="132"/>
                  </a:lnTo>
                  <a:lnTo>
                    <a:pt x="1068" y="138"/>
                  </a:lnTo>
                  <a:lnTo>
                    <a:pt x="1056" y="150"/>
                  </a:lnTo>
                  <a:lnTo>
                    <a:pt x="1038" y="162"/>
                  </a:lnTo>
                  <a:lnTo>
                    <a:pt x="1038" y="168"/>
                  </a:lnTo>
                  <a:lnTo>
                    <a:pt x="1020" y="174"/>
                  </a:lnTo>
                  <a:lnTo>
                    <a:pt x="1014" y="180"/>
                  </a:lnTo>
                  <a:lnTo>
                    <a:pt x="1008" y="186"/>
                  </a:lnTo>
                  <a:lnTo>
                    <a:pt x="1002" y="198"/>
                  </a:lnTo>
                  <a:lnTo>
                    <a:pt x="984" y="204"/>
                  </a:lnTo>
                  <a:lnTo>
                    <a:pt x="984" y="246"/>
                  </a:lnTo>
                  <a:lnTo>
                    <a:pt x="978" y="270"/>
                  </a:lnTo>
                  <a:lnTo>
                    <a:pt x="990" y="306"/>
                  </a:lnTo>
                  <a:lnTo>
                    <a:pt x="990" y="324"/>
                  </a:lnTo>
                  <a:lnTo>
                    <a:pt x="1002" y="336"/>
                  </a:lnTo>
                  <a:lnTo>
                    <a:pt x="1020" y="372"/>
                  </a:lnTo>
                  <a:lnTo>
                    <a:pt x="1014" y="378"/>
                  </a:lnTo>
                  <a:lnTo>
                    <a:pt x="1014" y="384"/>
                  </a:lnTo>
                  <a:lnTo>
                    <a:pt x="1020" y="384"/>
                  </a:lnTo>
                  <a:lnTo>
                    <a:pt x="1020" y="396"/>
                  </a:lnTo>
                  <a:lnTo>
                    <a:pt x="1062" y="468"/>
                  </a:lnTo>
                  <a:lnTo>
                    <a:pt x="1092" y="522"/>
                  </a:lnTo>
                  <a:lnTo>
                    <a:pt x="1110" y="546"/>
                  </a:lnTo>
                  <a:lnTo>
                    <a:pt x="1122" y="564"/>
                  </a:lnTo>
                  <a:lnTo>
                    <a:pt x="1134" y="576"/>
                  </a:lnTo>
                  <a:lnTo>
                    <a:pt x="1146" y="582"/>
                  </a:lnTo>
                  <a:lnTo>
                    <a:pt x="1146" y="588"/>
                  </a:lnTo>
                  <a:lnTo>
                    <a:pt x="1164" y="600"/>
                  </a:lnTo>
                  <a:lnTo>
                    <a:pt x="1170" y="612"/>
                  </a:lnTo>
                  <a:lnTo>
                    <a:pt x="1170" y="624"/>
                  </a:lnTo>
                  <a:lnTo>
                    <a:pt x="1176" y="654"/>
                  </a:lnTo>
                  <a:lnTo>
                    <a:pt x="1176" y="666"/>
                  </a:lnTo>
                  <a:lnTo>
                    <a:pt x="1182" y="684"/>
                  </a:lnTo>
                  <a:lnTo>
                    <a:pt x="1194" y="696"/>
                  </a:lnTo>
                  <a:lnTo>
                    <a:pt x="1212" y="696"/>
                  </a:lnTo>
                  <a:lnTo>
                    <a:pt x="1206" y="762"/>
                  </a:lnTo>
                  <a:lnTo>
                    <a:pt x="1200" y="768"/>
                  </a:lnTo>
                  <a:lnTo>
                    <a:pt x="1194" y="768"/>
                  </a:lnTo>
                  <a:lnTo>
                    <a:pt x="1194" y="774"/>
                  </a:lnTo>
                  <a:lnTo>
                    <a:pt x="1188" y="774"/>
                  </a:lnTo>
                  <a:lnTo>
                    <a:pt x="1182" y="780"/>
                  </a:lnTo>
                  <a:lnTo>
                    <a:pt x="1176" y="780"/>
                  </a:lnTo>
                  <a:lnTo>
                    <a:pt x="1170" y="780"/>
                  </a:lnTo>
                  <a:lnTo>
                    <a:pt x="1164" y="786"/>
                  </a:lnTo>
                  <a:lnTo>
                    <a:pt x="1158" y="786"/>
                  </a:lnTo>
                  <a:lnTo>
                    <a:pt x="1152" y="786"/>
                  </a:lnTo>
                  <a:lnTo>
                    <a:pt x="1140" y="786"/>
                  </a:lnTo>
                  <a:lnTo>
                    <a:pt x="1134" y="786"/>
                  </a:lnTo>
                  <a:lnTo>
                    <a:pt x="1134" y="780"/>
                  </a:lnTo>
                  <a:lnTo>
                    <a:pt x="1122" y="780"/>
                  </a:lnTo>
                  <a:lnTo>
                    <a:pt x="1116" y="786"/>
                  </a:lnTo>
                  <a:lnTo>
                    <a:pt x="1116" y="792"/>
                  </a:lnTo>
                  <a:lnTo>
                    <a:pt x="1122" y="804"/>
                  </a:lnTo>
                  <a:lnTo>
                    <a:pt x="1128" y="804"/>
                  </a:lnTo>
                  <a:lnTo>
                    <a:pt x="1128" y="816"/>
                  </a:lnTo>
                  <a:lnTo>
                    <a:pt x="1122" y="822"/>
                  </a:lnTo>
                  <a:lnTo>
                    <a:pt x="1116" y="816"/>
                  </a:lnTo>
                  <a:lnTo>
                    <a:pt x="1110" y="816"/>
                  </a:lnTo>
                  <a:lnTo>
                    <a:pt x="1104" y="816"/>
                  </a:lnTo>
                  <a:lnTo>
                    <a:pt x="1098" y="816"/>
                  </a:lnTo>
                  <a:lnTo>
                    <a:pt x="1098" y="822"/>
                  </a:lnTo>
                  <a:lnTo>
                    <a:pt x="1092" y="834"/>
                  </a:lnTo>
                  <a:lnTo>
                    <a:pt x="1092" y="840"/>
                  </a:lnTo>
                  <a:lnTo>
                    <a:pt x="1074" y="840"/>
                  </a:lnTo>
                  <a:lnTo>
                    <a:pt x="1074" y="828"/>
                  </a:lnTo>
                  <a:lnTo>
                    <a:pt x="1062" y="804"/>
                  </a:lnTo>
                  <a:lnTo>
                    <a:pt x="1056" y="792"/>
                  </a:lnTo>
                  <a:lnTo>
                    <a:pt x="1056" y="786"/>
                  </a:lnTo>
                  <a:lnTo>
                    <a:pt x="1026" y="780"/>
                  </a:lnTo>
                  <a:lnTo>
                    <a:pt x="1026" y="768"/>
                  </a:lnTo>
                  <a:lnTo>
                    <a:pt x="1008" y="768"/>
                  </a:lnTo>
                  <a:lnTo>
                    <a:pt x="1002" y="780"/>
                  </a:lnTo>
                  <a:lnTo>
                    <a:pt x="996" y="792"/>
                  </a:lnTo>
                  <a:lnTo>
                    <a:pt x="978" y="798"/>
                  </a:lnTo>
                  <a:lnTo>
                    <a:pt x="972" y="810"/>
                  </a:lnTo>
                  <a:lnTo>
                    <a:pt x="972" y="822"/>
                  </a:lnTo>
                  <a:lnTo>
                    <a:pt x="978" y="828"/>
                  </a:lnTo>
                  <a:lnTo>
                    <a:pt x="978" y="834"/>
                  </a:lnTo>
                  <a:lnTo>
                    <a:pt x="960" y="840"/>
                  </a:lnTo>
                  <a:lnTo>
                    <a:pt x="936" y="840"/>
                  </a:lnTo>
                  <a:lnTo>
                    <a:pt x="918" y="846"/>
                  </a:lnTo>
                  <a:lnTo>
                    <a:pt x="912" y="840"/>
                  </a:lnTo>
                  <a:lnTo>
                    <a:pt x="912" y="834"/>
                  </a:lnTo>
                  <a:lnTo>
                    <a:pt x="906" y="834"/>
                  </a:lnTo>
                  <a:lnTo>
                    <a:pt x="906" y="840"/>
                  </a:lnTo>
                  <a:lnTo>
                    <a:pt x="900" y="846"/>
                  </a:lnTo>
                  <a:lnTo>
                    <a:pt x="906" y="852"/>
                  </a:lnTo>
                  <a:lnTo>
                    <a:pt x="900" y="864"/>
                  </a:lnTo>
                  <a:lnTo>
                    <a:pt x="900" y="876"/>
                  </a:lnTo>
                  <a:lnTo>
                    <a:pt x="900" y="882"/>
                  </a:lnTo>
                  <a:lnTo>
                    <a:pt x="894" y="888"/>
                  </a:lnTo>
                  <a:lnTo>
                    <a:pt x="900" y="900"/>
                  </a:lnTo>
                  <a:lnTo>
                    <a:pt x="900" y="906"/>
                  </a:lnTo>
                  <a:lnTo>
                    <a:pt x="894" y="906"/>
                  </a:lnTo>
                  <a:lnTo>
                    <a:pt x="894" y="912"/>
                  </a:lnTo>
                  <a:lnTo>
                    <a:pt x="900" y="918"/>
                  </a:lnTo>
                  <a:lnTo>
                    <a:pt x="900" y="924"/>
                  </a:lnTo>
                  <a:lnTo>
                    <a:pt x="900" y="948"/>
                  </a:lnTo>
                  <a:lnTo>
                    <a:pt x="888" y="948"/>
                  </a:lnTo>
                  <a:lnTo>
                    <a:pt x="888" y="954"/>
                  </a:lnTo>
                  <a:lnTo>
                    <a:pt x="894" y="954"/>
                  </a:lnTo>
                  <a:lnTo>
                    <a:pt x="900" y="960"/>
                  </a:lnTo>
                  <a:lnTo>
                    <a:pt x="900" y="972"/>
                  </a:lnTo>
                  <a:lnTo>
                    <a:pt x="906" y="984"/>
                  </a:lnTo>
                  <a:lnTo>
                    <a:pt x="912" y="984"/>
                  </a:lnTo>
                  <a:lnTo>
                    <a:pt x="918" y="990"/>
                  </a:lnTo>
                  <a:lnTo>
                    <a:pt x="936" y="990"/>
                  </a:lnTo>
                  <a:lnTo>
                    <a:pt x="936" y="996"/>
                  </a:lnTo>
                  <a:lnTo>
                    <a:pt x="942" y="996"/>
                  </a:lnTo>
                  <a:lnTo>
                    <a:pt x="942" y="1002"/>
                  </a:lnTo>
                  <a:lnTo>
                    <a:pt x="942" y="1008"/>
                  </a:lnTo>
                  <a:lnTo>
                    <a:pt x="948" y="1008"/>
                  </a:lnTo>
                  <a:lnTo>
                    <a:pt x="948" y="1014"/>
                  </a:lnTo>
                  <a:lnTo>
                    <a:pt x="948" y="1020"/>
                  </a:lnTo>
                  <a:lnTo>
                    <a:pt x="954" y="1032"/>
                  </a:lnTo>
                  <a:lnTo>
                    <a:pt x="948" y="1038"/>
                  </a:lnTo>
                  <a:lnTo>
                    <a:pt x="954" y="1044"/>
                  </a:lnTo>
                  <a:lnTo>
                    <a:pt x="954" y="1056"/>
                  </a:lnTo>
                  <a:lnTo>
                    <a:pt x="960" y="1056"/>
                  </a:lnTo>
                  <a:lnTo>
                    <a:pt x="960" y="1062"/>
                  </a:lnTo>
                  <a:lnTo>
                    <a:pt x="954" y="1068"/>
                  </a:lnTo>
                  <a:lnTo>
                    <a:pt x="948" y="1074"/>
                  </a:lnTo>
                  <a:lnTo>
                    <a:pt x="948" y="1080"/>
                  </a:lnTo>
                  <a:lnTo>
                    <a:pt x="948" y="1086"/>
                  </a:lnTo>
                  <a:lnTo>
                    <a:pt x="942" y="1092"/>
                  </a:lnTo>
                  <a:lnTo>
                    <a:pt x="942" y="1098"/>
                  </a:lnTo>
                  <a:lnTo>
                    <a:pt x="942" y="1104"/>
                  </a:lnTo>
                  <a:lnTo>
                    <a:pt x="942" y="1110"/>
                  </a:lnTo>
                  <a:lnTo>
                    <a:pt x="936" y="1116"/>
                  </a:lnTo>
                  <a:lnTo>
                    <a:pt x="936" y="1122"/>
                  </a:lnTo>
                  <a:lnTo>
                    <a:pt x="936" y="1128"/>
                  </a:lnTo>
                  <a:lnTo>
                    <a:pt x="936" y="1134"/>
                  </a:lnTo>
                  <a:lnTo>
                    <a:pt x="942" y="1146"/>
                  </a:lnTo>
                  <a:lnTo>
                    <a:pt x="936" y="1158"/>
                  </a:lnTo>
                  <a:lnTo>
                    <a:pt x="936" y="1170"/>
                  </a:lnTo>
                  <a:lnTo>
                    <a:pt x="936" y="1194"/>
                  </a:lnTo>
                  <a:lnTo>
                    <a:pt x="930" y="1200"/>
                  </a:lnTo>
                  <a:lnTo>
                    <a:pt x="930" y="1212"/>
                  </a:lnTo>
                  <a:lnTo>
                    <a:pt x="918" y="1218"/>
                  </a:lnTo>
                  <a:lnTo>
                    <a:pt x="918" y="1230"/>
                  </a:lnTo>
                  <a:lnTo>
                    <a:pt x="906" y="1230"/>
                  </a:lnTo>
                  <a:lnTo>
                    <a:pt x="900" y="1254"/>
                  </a:lnTo>
                  <a:lnTo>
                    <a:pt x="900" y="1260"/>
                  </a:lnTo>
                  <a:lnTo>
                    <a:pt x="900" y="1266"/>
                  </a:lnTo>
                  <a:lnTo>
                    <a:pt x="900" y="1272"/>
                  </a:lnTo>
                  <a:lnTo>
                    <a:pt x="900" y="1278"/>
                  </a:lnTo>
                  <a:lnTo>
                    <a:pt x="900" y="1284"/>
                  </a:lnTo>
                  <a:lnTo>
                    <a:pt x="906" y="129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1" name="Freeform 26">
              <a:extLst>
                <a:ext uri="{FF2B5EF4-FFF2-40B4-BE49-F238E27FC236}">
                  <a16:creationId xmlns:a16="http://schemas.microsoft.com/office/drawing/2014/main" id="{25725EFE-FE00-49A8-A87A-6752B785C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79173" y="3477313"/>
              <a:ext cx="650731" cy="559125"/>
            </a:xfrm>
            <a:custGeom>
              <a:avLst/>
              <a:gdLst>
                <a:gd name="T0" fmla="*/ 95 w 1224"/>
                <a:gd name="T1" fmla="*/ 89 h 1050"/>
                <a:gd name="T2" fmla="*/ 90 w 1224"/>
                <a:gd name="T3" fmla="*/ 84 h 1050"/>
                <a:gd name="T4" fmla="*/ 84 w 1224"/>
                <a:gd name="T5" fmla="*/ 83 h 1050"/>
                <a:gd name="T6" fmla="*/ 82 w 1224"/>
                <a:gd name="T7" fmla="*/ 80 h 1050"/>
                <a:gd name="T8" fmla="*/ 85 w 1224"/>
                <a:gd name="T9" fmla="*/ 77 h 1050"/>
                <a:gd name="T10" fmla="*/ 81 w 1224"/>
                <a:gd name="T11" fmla="*/ 76 h 1050"/>
                <a:gd name="T12" fmla="*/ 77 w 1224"/>
                <a:gd name="T13" fmla="*/ 77 h 1050"/>
                <a:gd name="T14" fmla="*/ 78 w 1224"/>
                <a:gd name="T15" fmla="*/ 73 h 1050"/>
                <a:gd name="T16" fmla="*/ 59 w 1224"/>
                <a:gd name="T17" fmla="*/ 71 h 1050"/>
                <a:gd name="T18" fmla="*/ 41 w 1224"/>
                <a:gd name="T19" fmla="*/ 73 h 1050"/>
                <a:gd name="T20" fmla="*/ 33 w 1224"/>
                <a:gd name="T21" fmla="*/ 71 h 1050"/>
                <a:gd name="T22" fmla="*/ 30 w 1224"/>
                <a:gd name="T23" fmla="*/ 75 h 1050"/>
                <a:gd name="T24" fmla="*/ 27 w 1224"/>
                <a:gd name="T25" fmla="*/ 80 h 1050"/>
                <a:gd name="T26" fmla="*/ 12 w 1224"/>
                <a:gd name="T27" fmla="*/ 81 h 1050"/>
                <a:gd name="T28" fmla="*/ 9 w 1224"/>
                <a:gd name="T29" fmla="*/ 84 h 1050"/>
                <a:gd name="T30" fmla="*/ 6 w 1224"/>
                <a:gd name="T31" fmla="*/ 83 h 1050"/>
                <a:gd name="T32" fmla="*/ 1 w 1224"/>
                <a:gd name="T33" fmla="*/ 83 h 1050"/>
                <a:gd name="T34" fmla="*/ 3 w 1224"/>
                <a:gd name="T35" fmla="*/ 77 h 1050"/>
                <a:gd name="T36" fmla="*/ 5 w 1224"/>
                <a:gd name="T37" fmla="*/ 70 h 1050"/>
                <a:gd name="T38" fmla="*/ 2 w 1224"/>
                <a:gd name="T39" fmla="*/ 65 h 1050"/>
                <a:gd name="T40" fmla="*/ 3 w 1224"/>
                <a:gd name="T41" fmla="*/ 58 h 1050"/>
                <a:gd name="T42" fmla="*/ 4 w 1224"/>
                <a:gd name="T43" fmla="*/ 51 h 1050"/>
                <a:gd name="T44" fmla="*/ 3 w 1224"/>
                <a:gd name="T45" fmla="*/ 47 h 1050"/>
                <a:gd name="T46" fmla="*/ 4 w 1224"/>
                <a:gd name="T47" fmla="*/ 39 h 1050"/>
                <a:gd name="T48" fmla="*/ 6 w 1224"/>
                <a:gd name="T49" fmla="*/ 29 h 1050"/>
                <a:gd name="T50" fmla="*/ 3 w 1224"/>
                <a:gd name="T51" fmla="*/ 22 h 1050"/>
                <a:gd name="T52" fmla="*/ 2 w 1224"/>
                <a:gd name="T53" fmla="*/ 14 h 1050"/>
                <a:gd name="T54" fmla="*/ 0 w 1224"/>
                <a:gd name="T55" fmla="*/ 6 h 1050"/>
                <a:gd name="T56" fmla="*/ 9 w 1224"/>
                <a:gd name="T57" fmla="*/ 1 h 1050"/>
                <a:gd name="T58" fmla="*/ 11 w 1224"/>
                <a:gd name="T59" fmla="*/ 8 h 1050"/>
                <a:gd name="T60" fmla="*/ 15 w 1224"/>
                <a:gd name="T61" fmla="*/ 9 h 1050"/>
                <a:gd name="T62" fmla="*/ 18 w 1224"/>
                <a:gd name="T63" fmla="*/ 8 h 1050"/>
                <a:gd name="T64" fmla="*/ 18 w 1224"/>
                <a:gd name="T65" fmla="*/ 13 h 1050"/>
                <a:gd name="T66" fmla="*/ 17 w 1224"/>
                <a:gd name="T67" fmla="*/ 15 h 1050"/>
                <a:gd name="T68" fmla="*/ 17 w 1224"/>
                <a:gd name="T69" fmla="*/ 17 h 1050"/>
                <a:gd name="T70" fmla="*/ 17 w 1224"/>
                <a:gd name="T71" fmla="*/ 21 h 1050"/>
                <a:gd name="T72" fmla="*/ 21 w 1224"/>
                <a:gd name="T73" fmla="*/ 25 h 1050"/>
                <a:gd name="T74" fmla="*/ 24 w 1224"/>
                <a:gd name="T75" fmla="*/ 31 h 1050"/>
                <a:gd name="T76" fmla="*/ 35 w 1224"/>
                <a:gd name="T77" fmla="*/ 34 h 1050"/>
                <a:gd name="T78" fmla="*/ 40 w 1224"/>
                <a:gd name="T79" fmla="*/ 27 h 1050"/>
                <a:gd name="T80" fmla="*/ 46 w 1224"/>
                <a:gd name="T81" fmla="*/ 30 h 1050"/>
                <a:gd name="T82" fmla="*/ 51 w 1224"/>
                <a:gd name="T83" fmla="*/ 27 h 1050"/>
                <a:gd name="T84" fmla="*/ 59 w 1224"/>
                <a:gd name="T85" fmla="*/ 39 h 1050"/>
                <a:gd name="T86" fmla="*/ 59 w 1224"/>
                <a:gd name="T87" fmla="*/ 45 h 1050"/>
                <a:gd name="T88" fmla="*/ 72 w 1224"/>
                <a:gd name="T89" fmla="*/ 45 h 1050"/>
                <a:gd name="T90" fmla="*/ 79 w 1224"/>
                <a:gd name="T91" fmla="*/ 44 h 1050"/>
                <a:gd name="T92" fmla="*/ 87 w 1224"/>
                <a:gd name="T93" fmla="*/ 48 h 1050"/>
                <a:gd name="T94" fmla="*/ 93 w 1224"/>
                <a:gd name="T95" fmla="*/ 50 h 1050"/>
                <a:gd name="T96" fmla="*/ 98 w 1224"/>
                <a:gd name="T97" fmla="*/ 51 h 1050"/>
                <a:gd name="T98" fmla="*/ 106 w 1224"/>
                <a:gd name="T99" fmla="*/ 50 h 1050"/>
                <a:gd name="T100" fmla="*/ 104 w 1224"/>
                <a:gd name="T101" fmla="*/ 54 h 1050"/>
                <a:gd name="T102" fmla="*/ 104 w 1224"/>
                <a:gd name="T103" fmla="*/ 60 h 1050"/>
                <a:gd name="T104" fmla="*/ 101 w 1224"/>
                <a:gd name="T105" fmla="*/ 63 h 1050"/>
                <a:gd name="T106" fmla="*/ 98 w 1224"/>
                <a:gd name="T107" fmla="*/ 66 h 1050"/>
                <a:gd name="T108" fmla="*/ 95 w 1224"/>
                <a:gd name="T109" fmla="*/ 68 h 1050"/>
                <a:gd name="T110" fmla="*/ 93 w 1224"/>
                <a:gd name="T111" fmla="*/ 72 h 1050"/>
                <a:gd name="T112" fmla="*/ 98 w 1224"/>
                <a:gd name="T113" fmla="*/ 75 h 1050"/>
                <a:gd name="T114" fmla="*/ 102 w 1224"/>
                <a:gd name="T115" fmla="*/ 77 h 1050"/>
                <a:gd name="T116" fmla="*/ 107 w 1224"/>
                <a:gd name="T117" fmla="*/ 76 h 1050"/>
                <a:gd name="T118" fmla="*/ 104 w 1224"/>
                <a:gd name="T119" fmla="*/ 84 h 1050"/>
                <a:gd name="T120" fmla="*/ 103 w 1224"/>
                <a:gd name="T121" fmla="*/ 87 h 1050"/>
                <a:gd name="T122" fmla="*/ 104 w 1224"/>
                <a:gd name="T123" fmla="*/ 91 h 105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24"/>
                <a:gd name="T187" fmla="*/ 0 h 1050"/>
                <a:gd name="T188" fmla="*/ 1224 w 1224"/>
                <a:gd name="T189" fmla="*/ 1050 h 105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24" h="1050">
                  <a:moveTo>
                    <a:pt x="1128" y="1032"/>
                  </a:moveTo>
                  <a:lnTo>
                    <a:pt x="1122" y="1026"/>
                  </a:lnTo>
                  <a:lnTo>
                    <a:pt x="1116" y="1026"/>
                  </a:lnTo>
                  <a:lnTo>
                    <a:pt x="1110" y="1026"/>
                  </a:lnTo>
                  <a:lnTo>
                    <a:pt x="1104" y="1026"/>
                  </a:lnTo>
                  <a:lnTo>
                    <a:pt x="1104" y="1020"/>
                  </a:lnTo>
                  <a:lnTo>
                    <a:pt x="1098" y="1020"/>
                  </a:lnTo>
                  <a:lnTo>
                    <a:pt x="1092" y="1020"/>
                  </a:lnTo>
                  <a:lnTo>
                    <a:pt x="1086" y="1020"/>
                  </a:lnTo>
                  <a:lnTo>
                    <a:pt x="1080" y="1014"/>
                  </a:lnTo>
                  <a:lnTo>
                    <a:pt x="1068" y="1014"/>
                  </a:lnTo>
                  <a:lnTo>
                    <a:pt x="1062" y="1014"/>
                  </a:lnTo>
                  <a:lnTo>
                    <a:pt x="1062" y="1008"/>
                  </a:lnTo>
                  <a:lnTo>
                    <a:pt x="1062" y="990"/>
                  </a:lnTo>
                  <a:lnTo>
                    <a:pt x="1062" y="984"/>
                  </a:lnTo>
                  <a:lnTo>
                    <a:pt x="1062" y="972"/>
                  </a:lnTo>
                  <a:lnTo>
                    <a:pt x="1044" y="966"/>
                  </a:lnTo>
                  <a:lnTo>
                    <a:pt x="1026" y="966"/>
                  </a:lnTo>
                  <a:lnTo>
                    <a:pt x="1014" y="966"/>
                  </a:lnTo>
                  <a:lnTo>
                    <a:pt x="996" y="966"/>
                  </a:lnTo>
                  <a:lnTo>
                    <a:pt x="996" y="972"/>
                  </a:lnTo>
                  <a:lnTo>
                    <a:pt x="990" y="972"/>
                  </a:lnTo>
                  <a:lnTo>
                    <a:pt x="984" y="966"/>
                  </a:lnTo>
                  <a:lnTo>
                    <a:pt x="978" y="966"/>
                  </a:lnTo>
                  <a:lnTo>
                    <a:pt x="978" y="960"/>
                  </a:lnTo>
                  <a:lnTo>
                    <a:pt x="972" y="954"/>
                  </a:lnTo>
                  <a:lnTo>
                    <a:pt x="966" y="954"/>
                  </a:lnTo>
                  <a:lnTo>
                    <a:pt x="960" y="954"/>
                  </a:lnTo>
                  <a:lnTo>
                    <a:pt x="954" y="954"/>
                  </a:lnTo>
                  <a:lnTo>
                    <a:pt x="954" y="948"/>
                  </a:lnTo>
                  <a:lnTo>
                    <a:pt x="942" y="942"/>
                  </a:lnTo>
                  <a:lnTo>
                    <a:pt x="936" y="942"/>
                  </a:lnTo>
                  <a:lnTo>
                    <a:pt x="936" y="936"/>
                  </a:lnTo>
                  <a:lnTo>
                    <a:pt x="936" y="930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42" y="918"/>
                  </a:lnTo>
                  <a:lnTo>
                    <a:pt x="948" y="918"/>
                  </a:lnTo>
                  <a:lnTo>
                    <a:pt x="960" y="918"/>
                  </a:lnTo>
                  <a:lnTo>
                    <a:pt x="966" y="912"/>
                  </a:lnTo>
                  <a:lnTo>
                    <a:pt x="978" y="906"/>
                  </a:lnTo>
                  <a:lnTo>
                    <a:pt x="978" y="900"/>
                  </a:lnTo>
                  <a:lnTo>
                    <a:pt x="978" y="894"/>
                  </a:lnTo>
                  <a:lnTo>
                    <a:pt x="978" y="888"/>
                  </a:lnTo>
                  <a:lnTo>
                    <a:pt x="972" y="888"/>
                  </a:lnTo>
                  <a:lnTo>
                    <a:pt x="978" y="888"/>
                  </a:lnTo>
                  <a:lnTo>
                    <a:pt x="978" y="882"/>
                  </a:lnTo>
                  <a:lnTo>
                    <a:pt x="972" y="876"/>
                  </a:lnTo>
                  <a:lnTo>
                    <a:pt x="966" y="870"/>
                  </a:lnTo>
                  <a:lnTo>
                    <a:pt x="954" y="876"/>
                  </a:lnTo>
                  <a:lnTo>
                    <a:pt x="948" y="876"/>
                  </a:lnTo>
                  <a:lnTo>
                    <a:pt x="942" y="870"/>
                  </a:lnTo>
                  <a:lnTo>
                    <a:pt x="936" y="876"/>
                  </a:lnTo>
                  <a:lnTo>
                    <a:pt x="930" y="876"/>
                  </a:lnTo>
                  <a:lnTo>
                    <a:pt x="924" y="882"/>
                  </a:lnTo>
                  <a:lnTo>
                    <a:pt x="912" y="888"/>
                  </a:lnTo>
                  <a:lnTo>
                    <a:pt x="906" y="894"/>
                  </a:lnTo>
                  <a:lnTo>
                    <a:pt x="900" y="900"/>
                  </a:lnTo>
                  <a:lnTo>
                    <a:pt x="894" y="888"/>
                  </a:lnTo>
                  <a:lnTo>
                    <a:pt x="888" y="894"/>
                  </a:lnTo>
                  <a:lnTo>
                    <a:pt x="882" y="888"/>
                  </a:lnTo>
                  <a:lnTo>
                    <a:pt x="876" y="894"/>
                  </a:lnTo>
                  <a:lnTo>
                    <a:pt x="876" y="888"/>
                  </a:lnTo>
                  <a:lnTo>
                    <a:pt x="876" y="882"/>
                  </a:lnTo>
                  <a:lnTo>
                    <a:pt x="876" y="876"/>
                  </a:lnTo>
                  <a:lnTo>
                    <a:pt x="870" y="858"/>
                  </a:lnTo>
                  <a:lnTo>
                    <a:pt x="864" y="858"/>
                  </a:lnTo>
                  <a:lnTo>
                    <a:pt x="870" y="852"/>
                  </a:lnTo>
                  <a:lnTo>
                    <a:pt x="870" y="846"/>
                  </a:lnTo>
                  <a:lnTo>
                    <a:pt x="876" y="846"/>
                  </a:lnTo>
                  <a:lnTo>
                    <a:pt x="882" y="846"/>
                  </a:lnTo>
                  <a:lnTo>
                    <a:pt x="888" y="840"/>
                  </a:lnTo>
                  <a:lnTo>
                    <a:pt x="894" y="834"/>
                  </a:lnTo>
                  <a:lnTo>
                    <a:pt x="894" y="828"/>
                  </a:lnTo>
                  <a:lnTo>
                    <a:pt x="894" y="816"/>
                  </a:lnTo>
                  <a:lnTo>
                    <a:pt x="858" y="810"/>
                  </a:lnTo>
                  <a:lnTo>
                    <a:pt x="858" y="816"/>
                  </a:lnTo>
                  <a:lnTo>
                    <a:pt x="852" y="816"/>
                  </a:lnTo>
                  <a:lnTo>
                    <a:pt x="780" y="816"/>
                  </a:lnTo>
                  <a:lnTo>
                    <a:pt x="750" y="816"/>
                  </a:lnTo>
                  <a:lnTo>
                    <a:pt x="684" y="816"/>
                  </a:lnTo>
                  <a:lnTo>
                    <a:pt x="636" y="816"/>
                  </a:lnTo>
                  <a:lnTo>
                    <a:pt x="612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0" y="816"/>
                  </a:lnTo>
                  <a:lnTo>
                    <a:pt x="480" y="822"/>
                  </a:lnTo>
                  <a:lnTo>
                    <a:pt x="480" y="834"/>
                  </a:lnTo>
                  <a:lnTo>
                    <a:pt x="474" y="840"/>
                  </a:lnTo>
                  <a:lnTo>
                    <a:pt x="468" y="840"/>
                  </a:lnTo>
                  <a:lnTo>
                    <a:pt x="432" y="840"/>
                  </a:lnTo>
                  <a:lnTo>
                    <a:pt x="426" y="834"/>
                  </a:lnTo>
                  <a:lnTo>
                    <a:pt x="420" y="834"/>
                  </a:lnTo>
                  <a:lnTo>
                    <a:pt x="420" y="828"/>
                  </a:lnTo>
                  <a:lnTo>
                    <a:pt x="414" y="822"/>
                  </a:lnTo>
                  <a:lnTo>
                    <a:pt x="408" y="822"/>
                  </a:lnTo>
                  <a:lnTo>
                    <a:pt x="396" y="822"/>
                  </a:lnTo>
                  <a:lnTo>
                    <a:pt x="396" y="816"/>
                  </a:lnTo>
                  <a:lnTo>
                    <a:pt x="384" y="816"/>
                  </a:lnTo>
                  <a:lnTo>
                    <a:pt x="372" y="810"/>
                  </a:lnTo>
                  <a:lnTo>
                    <a:pt x="372" y="804"/>
                  </a:lnTo>
                  <a:lnTo>
                    <a:pt x="366" y="804"/>
                  </a:lnTo>
                  <a:lnTo>
                    <a:pt x="360" y="804"/>
                  </a:lnTo>
                  <a:lnTo>
                    <a:pt x="348" y="828"/>
                  </a:lnTo>
                  <a:lnTo>
                    <a:pt x="348" y="834"/>
                  </a:lnTo>
                  <a:lnTo>
                    <a:pt x="348" y="852"/>
                  </a:lnTo>
                  <a:lnTo>
                    <a:pt x="348" y="858"/>
                  </a:lnTo>
                  <a:lnTo>
                    <a:pt x="342" y="864"/>
                  </a:lnTo>
                  <a:lnTo>
                    <a:pt x="342" y="870"/>
                  </a:lnTo>
                  <a:lnTo>
                    <a:pt x="330" y="876"/>
                  </a:lnTo>
                  <a:lnTo>
                    <a:pt x="324" y="888"/>
                  </a:lnTo>
                  <a:lnTo>
                    <a:pt x="324" y="894"/>
                  </a:lnTo>
                  <a:lnTo>
                    <a:pt x="330" y="900"/>
                  </a:lnTo>
                  <a:lnTo>
                    <a:pt x="330" y="906"/>
                  </a:lnTo>
                  <a:lnTo>
                    <a:pt x="324" y="906"/>
                  </a:lnTo>
                  <a:lnTo>
                    <a:pt x="318" y="912"/>
                  </a:lnTo>
                  <a:lnTo>
                    <a:pt x="312" y="918"/>
                  </a:lnTo>
                  <a:lnTo>
                    <a:pt x="306" y="924"/>
                  </a:lnTo>
                  <a:lnTo>
                    <a:pt x="288" y="924"/>
                  </a:lnTo>
                  <a:lnTo>
                    <a:pt x="282" y="924"/>
                  </a:lnTo>
                  <a:lnTo>
                    <a:pt x="276" y="930"/>
                  </a:lnTo>
                  <a:lnTo>
                    <a:pt x="270" y="930"/>
                  </a:lnTo>
                  <a:lnTo>
                    <a:pt x="264" y="930"/>
                  </a:lnTo>
                  <a:lnTo>
                    <a:pt x="198" y="930"/>
                  </a:lnTo>
                  <a:lnTo>
                    <a:pt x="132" y="930"/>
                  </a:lnTo>
                  <a:lnTo>
                    <a:pt x="132" y="936"/>
                  </a:lnTo>
                  <a:lnTo>
                    <a:pt x="132" y="942"/>
                  </a:lnTo>
                  <a:lnTo>
                    <a:pt x="132" y="948"/>
                  </a:lnTo>
                  <a:lnTo>
                    <a:pt x="126" y="948"/>
                  </a:lnTo>
                  <a:lnTo>
                    <a:pt x="120" y="948"/>
                  </a:lnTo>
                  <a:lnTo>
                    <a:pt x="120" y="954"/>
                  </a:lnTo>
                  <a:lnTo>
                    <a:pt x="114" y="954"/>
                  </a:lnTo>
                  <a:lnTo>
                    <a:pt x="114" y="960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02" y="966"/>
                  </a:lnTo>
                  <a:lnTo>
                    <a:pt x="102" y="972"/>
                  </a:lnTo>
                  <a:lnTo>
                    <a:pt x="96" y="972"/>
                  </a:lnTo>
                  <a:lnTo>
                    <a:pt x="96" y="966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78" y="960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60"/>
                  </a:lnTo>
                  <a:lnTo>
                    <a:pt x="54" y="966"/>
                  </a:lnTo>
                  <a:lnTo>
                    <a:pt x="48" y="966"/>
                  </a:lnTo>
                  <a:lnTo>
                    <a:pt x="42" y="966"/>
                  </a:lnTo>
                  <a:lnTo>
                    <a:pt x="36" y="966"/>
                  </a:lnTo>
                  <a:lnTo>
                    <a:pt x="30" y="966"/>
                  </a:lnTo>
                  <a:lnTo>
                    <a:pt x="24" y="960"/>
                  </a:lnTo>
                  <a:lnTo>
                    <a:pt x="18" y="960"/>
                  </a:lnTo>
                  <a:lnTo>
                    <a:pt x="12" y="960"/>
                  </a:lnTo>
                  <a:lnTo>
                    <a:pt x="12" y="948"/>
                  </a:lnTo>
                  <a:lnTo>
                    <a:pt x="18" y="942"/>
                  </a:lnTo>
                  <a:lnTo>
                    <a:pt x="18" y="936"/>
                  </a:lnTo>
                  <a:lnTo>
                    <a:pt x="18" y="930"/>
                  </a:lnTo>
                  <a:lnTo>
                    <a:pt x="18" y="924"/>
                  </a:lnTo>
                  <a:lnTo>
                    <a:pt x="18" y="912"/>
                  </a:lnTo>
                  <a:lnTo>
                    <a:pt x="24" y="906"/>
                  </a:lnTo>
                  <a:lnTo>
                    <a:pt x="30" y="900"/>
                  </a:lnTo>
                  <a:lnTo>
                    <a:pt x="36" y="894"/>
                  </a:lnTo>
                  <a:lnTo>
                    <a:pt x="36" y="882"/>
                  </a:lnTo>
                  <a:lnTo>
                    <a:pt x="30" y="876"/>
                  </a:lnTo>
                  <a:lnTo>
                    <a:pt x="30" y="870"/>
                  </a:lnTo>
                  <a:lnTo>
                    <a:pt x="24" y="858"/>
                  </a:lnTo>
                  <a:lnTo>
                    <a:pt x="24" y="846"/>
                  </a:lnTo>
                  <a:lnTo>
                    <a:pt x="36" y="822"/>
                  </a:lnTo>
                  <a:lnTo>
                    <a:pt x="42" y="816"/>
                  </a:lnTo>
                  <a:lnTo>
                    <a:pt x="48" y="816"/>
                  </a:lnTo>
                  <a:lnTo>
                    <a:pt x="60" y="804"/>
                  </a:lnTo>
                  <a:lnTo>
                    <a:pt x="60" y="786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54" y="762"/>
                  </a:lnTo>
                  <a:lnTo>
                    <a:pt x="42" y="762"/>
                  </a:lnTo>
                  <a:lnTo>
                    <a:pt x="36" y="762"/>
                  </a:lnTo>
                  <a:lnTo>
                    <a:pt x="30" y="762"/>
                  </a:lnTo>
                  <a:lnTo>
                    <a:pt x="30" y="756"/>
                  </a:lnTo>
                  <a:lnTo>
                    <a:pt x="24" y="750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702"/>
                  </a:lnTo>
                  <a:lnTo>
                    <a:pt x="36" y="684"/>
                  </a:lnTo>
                  <a:lnTo>
                    <a:pt x="36" y="678"/>
                  </a:lnTo>
                  <a:lnTo>
                    <a:pt x="36" y="666"/>
                  </a:lnTo>
                  <a:lnTo>
                    <a:pt x="36" y="654"/>
                  </a:lnTo>
                  <a:lnTo>
                    <a:pt x="18" y="654"/>
                  </a:lnTo>
                  <a:lnTo>
                    <a:pt x="18" y="648"/>
                  </a:lnTo>
                  <a:lnTo>
                    <a:pt x="18" y="618"/>
                  </a:lnTo>
                  <a:lnTo>
                    <a:pt x="18" y="612"/>
                  </a:lnTo>
                  <a:lnTo>
                    <a:pt x="24" y="612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54" y="588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76"/>
                  </a:lnTo>
                  <a:lnTo>
                    <a:pt x="48" y="564"/>
                  </a:lnTo>
                  <a:lnTo>
                    <a:pt x="42" y="564"/>
                  </a:lnTo>
                  <a:lnTo>
                    <a:pt x="36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6" y="540"/>
                  </a:lnTo>
                  <a:lnTo>
                    <a:pt x="48" y="534"/>
                  </a:lnTo>
                  <a:lnTo>
                    <a:pt x="54" y="528"/>
                  </a:lnTo>
                  <a:lnTo>
                    <a:pt x="60" y="504"/>
                  </a:lnTo>
                  <a:lnTo>
                    <a:pt x="60" y="492"/>
                  </a:lnTo>
                  <a:lnTo>
                    <a:pt x="54" y="492"/>
                  </a:lnTo>
                  <a:lnTo>
                    <a:pt x="54" y="480"/>
                  </a:lnTo>
                  <a:lnTo>
                    <a:pt x="48" y="456"/>
                  </a:lnTo>
                  <a:lnTo>
                    <a:pt x="42" y="450"/>
                  </a:lnTo>
                  <a:lnTo>
                    <a:pt x="36" y="444"/>
                  </a:lnTo>
                  <a:lnTo>
                    <a:pt x="36" y="420"/>
                  </a:lnTo>
                  <a:lnTo>
                    <a:pt x="36" y="408"/>
                  </a:lnTo>
                  <a:lnTo>
                    <a:pt x="36" y="37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60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6" y="300"/>
                  </a:lnTo>
                  <a:lnTo>
                    <a:pt x="60" y="294"/>
                  </a:lnTo>
                  <a:lnTo>
                    <a:pt x="60" y="288"/>
                  </a:lnTo>
                  <a:lnTo>
                    <a:pt x="54" y="282"/>
                  </a:lnTo>
                  <a:lnTo>
                    <a:pt x="42" y="276"/>
                  </a:lnTo>
                  <a:lnTo>
                    <a:pt x="36" y="276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0" y="252"/>
                  </a:lnTo>
                  <a:lnTo>
                    <a:pt x="24" y="246"/>
                  </a:lnTo>
                  <a:lnTo>
                    <a:pt x="24" y="240"/>
                  </a:lnTo>
                  <a:lnTo>
                    <a:pt x="24" y="228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62"/>
                  </a:lnTo>
                  <a:lnTo>
                    <a:pt x="24" y="144"/>
                  </a:lnTo>
                  <a:lnTo>
                    <a:pt x="24" y="132"/>
                  </a:lnTo>
                  <a:lnTo>
                    <a:pt x="24" y="114"/>
                  </a:lnTo>
                  <a:lnTo>
                    <a:pt x="24" y="102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18" y="48"/>
                  </a:lnTo>
                  <a:lnTo>
                    <a:pt x="42" y="36"/>
                  </a:lnTo>
                  <a:lnTo>
                    <a:pt x="54" y="24"/>
                  </a:lnTo>
                  <a:lnTo>
                    <a:pt x="60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10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14" y="60"/>
                  </a:lnTo>
                  <a:lnTo>
                    <a:pt x="120" y="60"/>
                  </a:lnTo>
                  <a:lnTo>
                    <a:pt x="114" y="84"/>
                  </a:lnTo>
                  <a:lnTo>
                    <a:pt x="120" y="90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38" y="114"/>
                  </a:lnTo>
                  <a:lnTo>
                    <a:pt x="138" y="132"/>
                  </a:lnTo>
                  <a:lnTo>
                    <a:pt x="162" y="126"/>
                  </a:lnTo>
                  <a:lnTo>
                    <a:pt x="162" y="114"/>
                  </a:lnTo>
                  <a:lnTo>
                    <a:pt x="174" y="108"/>
                  </a:lnTo>
                  <a:lnTo>
                    <a:pt x="174" y="102"/>
                  </a:lnTo>
                  <a:lnTo>
                    <a:pt x="180" y="96"/>
                  </a:lnTo>
                  <a:lnTo>
                    <a:pt x="180" y="60"/>
                  </a:lnTo>
                  <a:lnTo>
                    <a:pt x="192" y="60"/>
                  </a:lnTo>
                  <a:lnTo>
                    <a:pt x="192" y="72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04" y="108"/>
                  </a:lnTo>
                  <a:lnTo>
                    <a:pt x="204" y="114"/>
                  </a:lnTo>
                  <a:lnTo>
                    <a:pt x="204" y="120"/>
                  </a:lnTo>
                  <a:lnTo>
                    <a:pt x="204" y="126"/>
                  </a:lnTo>
                  <a:lnTo>
                    <a:pt x="210" y="126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8" y="174"/>
                  </a:lnTo>
                  <a:lnTo>
                    <a:pt x="198" y="180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86" y="204"/>
                  </a:lnTo>
                  <a:lnTo>
                    <a:pt x="186" y="210"/>
                  </a:lnTo>
                  <a:lnTo>
                    <a:pt x="180" y="210"/>
                  </a:lnTo>
                  <a:lnTo>
                    <a:pt x="180" y="216"/>
                  </a:lnTo>
                  <a:lnTo>
                    <a:pt x="180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92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8" y="258"/>
                  </a:lnTo>
                  <a:lnTo>
                    <a:pt x="204" y="258"/>
                  </a:lnTo>
                  <a:lnTo>
                    <a:pt x="210" y="258"/>
                  </a:lnTo>
                  <a:lnTo>
                    <a:pt x="216" y="258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34" y="276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46" y="306"/>
                  </a:lnTo>
                  <a:lnTo>
                    <a:pt x="252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42"/>
                  </a:lnTo>
                  <a:lnTo>
                    <a:pt x="270" y="342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88" y="366"/>
                  </a:lnTo>
                  <a:lnTo>
                    <a:pt x="336" y="360"/>
                  </a:lnTo>
                  <a:lnTo>
                    <a:pt x="354" y="360"/>
                  </a:lnTo>
                  <a:lnTo>
                    <a:pt x="366" y="372"/>
                  </a:lnTo>
                  <a:lnTo>
                    <a:pt x="378" y="378"/>
                  </a:lnTo>
                  <a:lnTo>
                    <a:pt x="378" y="390"/>
                  </a:lnTo>
                  <a:lnTo>
                    <a:pt x="384" y="390"/>
                  </a:lnTo>
                  <a:lnTo>
                    <a:pt x="390" y="396"/>
                  </a:lnTo>
                  <a:lnTo>
                    <a:pt x="408" y="390"/>
                  </a:lnTo>
                  <a:lnTo>
                    <a:pt x="426" y="366"/>
                  </a:lnTo>
                  <a:lnTo>
                    <a:pt x="432" y="360"/>
                  </a:lnTo>
                  <a:lnTo>
                    <a:pt x="438" y="348"/>
                  </a:lnTo>
                  <a:lnTo>
                    <a:pt x="438" y="342"/>
                  </a:lnTo>
                  <a:lnTo>
                    <a:pt x="438" y="330"/>
                  </a:lnTo>
                  <a:lnTo>
                    <a:pt x="444" y="324"/>
                  </a:lnTo>
                  <a:lnTo>
                    <a:pt x="450" y="318"/>
                  </a:lnTo>
                  <a:lnTo>
                    <a:pt x="456" y="312"/>
                  </a:lnTo>
                  <a:lnTo>
                    <a:pt x="456" y="306"/>
                  </a:lnTo>
                  <a:lnTo>
                    <a:pt x="456" y="300"/>
                  </a:lnTo>
                  <a:lnTo>
                    <a:pt x="474" y="288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92" y="294"/>
                  </a:lnTo>
                  <a:lnTo>
                    <a:pt x="492" y="318"/>
                  </a:lnTo>
                  <a:lnTo>
                    <a:pt x="504" y="324"/>
                  </a:lnTo>
                  <a:lnTo>
                    <a:pt x="492" y="348"/>
                  </a:lnTo>
                  <a:lnTo>
                    <a:pt x="522" y="348"/>
                  </a:lnTo>
                  <a:lnTo>
                    <a:pt x="528" y="342"/>
                  </a:lnTo>
                  <a:lnTo>
                    <a:pt x="528" y="336"/>
                  </a:lnTo>
                  <a:lnTo>
                    <a:pt x="528" y="330"/>
                  </a:lnTo>
                  <a:lnTo>
                    <a:pt x="534" y="330"/>
                  </a:lnTo>
                  <a:lnTo>
                    <a:pt x="540" y="330"/>
                  </a:lnTo>
                  <a:lnTo>
                    <a:pt x="546" y="330"/>
                  </a:lnTo>
                  <a:lnTo>
                    <a:pt x="552" y="324"/>
                  </a:lnTo>
                  <a:lnTo>
                    <a:pt x="558" y="318"/>
                  </a:lnTo>
                  <a:lnTo>
                    <a:pt x="576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8" y="348"/>
                  </a:lnTo>
                  <a:lnTo>
                    <a:pt x="654" y="354"/>
                  </a:lnTo>
                  <a:lnTo>
                    <a:pt x="648" y="402"/>
                  </a:lnTo>
                  <a:lnTo>
                    <a:pt x="678" y="402"/>
                  </a:lnTo>
                  <a:lnTo>
                    <a:pt x="678" y="420"/>
                  </a:lnTo>
                  <a:lnTo>
                    <a:pt x="684" y="438"/>
                  </a:lnTo>
                  <a:lnTo>
                    <a:pt x="684" y="450"/>
                  </a:lnTo>
                  <a:lnTo>
                    <a:pt x="684" y="456"/>
                  </a:lnTo>
                  <a:lnTo>
                    <a:pt x="690" y="468"/>
                  </a:lnTo>
                  <a:lnTo>
                    <a:pt x="690" y="474"/>
                  </a:lnTo>
                  <a:lnTo>
                    <a:pt x="690" y="480"/>
                  </a:lnTo>
                  <a:lnTo>
                    <a:pt x="696" y="486"/>
                  </a:lnTo>
                  <a:lnTo>
                    <a:pt x="696" y="498"/>
                  </a:lnTo>
                  <a:lnTo>
                    <a:pt x="702" y="504"/>
                  </a:lnTo>
                  <a:lnTo>
                    <a:pt x="690" y="516"/>
                  </a:lnTo>
                  <a:lnTo>
                    <a:pt x="678" y="522"/>
                  </a:lnTo>
                  <a:lnTo>
                    <a:pt x="654" y="528"/>
                  </a:lnTo>
                  <a:lnTo>
                    <a:pt x="660" y="546"/>
                  </a:lnTo>
                  <a:lnTo>
                    <a:pt x="672" y="546"/>
                  </a:lnTo>
                  <a:lnTo>
                    <a:pt x="678" y="540"/>
                  </a:lnTo>
                  <a:lnTo>
                    <a:pt x="714" y="540"/>
                  </a:lnTo>
                  <a:lnTo>
                    <a:pt x="798" y="540"/>
                  </a:lnTo>
                  <a:lnTo>
                    <a:pt x="804" y="540"/>
                  </a:lnTo>
                  <a:lnTo>
                    <a:pt x="816" y="528"/>
                  </a:lnTo>
                  <a:lnTo>
                    <a:pt x="822" y="522"/>
                  </a:lnTo>
                  <a:lnTo>
                    <a:pt x="834" y="516"/>
                  </a:lnTo>
                  <a:lnTo>
                    <a:pt x="846" y="516"/>
                  </a:lnTo>
                  <a:lnTo>
                    <a:pt x="852" y="510"/>
                  </a:lnTo>
                  <a:lnTo>
                    <a:pt x="858" y="510"/>
                  </a:lnTo>
                  <a:lnTo>
                    <a:pt x="882" y="516"/>
                  </a:lnTo>
                  <a:lnTo>
                    <a:pt x="888" y="516"/>
                  </a:lnTo>
                  <a:lnTo>
                    <a:pt x="888" y="510"/>
                  </a:lnTo>
                  <a:lnTo>
                    <a:pt x="894" y="510"/>
                  </a:lnTo>
                  <a:lnTo>
                    <a:pt x="906" y="504"/>
                  </a:lnTo>
                  <a:lnTo>
                    <a:pt x="918" y="498"/>
                  </a:lnTo>
                  <a:lnTo>
                    <a:pt x="930" y="492"/>
                  </a:lnTo>
                  <a:lnTo>
                    <a:pt x="936" y="492"/>
                  </a:lnTo>
                  <a:lnTo>
                    <a:pt x="948" y="492"/>
                  </a:lnTo>
                  <a:lnTo>
                    <a:pt x="954" y="528"/>
                  </a:lnTo>
                  <a:lnTo>
                    <a:pt x="954" y="564"/>
                  </a:lnTo>
                  <a:lnTo>
                    <a:pt x="972" y="564"/>
                  </a:lnTo>
                  <a:lnTo>
                    <a:pt x="978" y="558"/>
                  </a:lnTo>
                  <a:lnTo>
                    <a:pt x="990" y="552"/>
                  </a:lnTo>
                  <a:lnTo>
                    <a:pt x="1002" y="540"/>
                  </a:lnTo>
                  <a:lnTo>
                    <a:pt x="1026" y="534"/>
                  </a:lnTo>
                  <a:lnTo>
                    <a:pt x="1032" y="540"/>
                  </a:lnTo>
                  <a:lnTo>
                    <a:pt x="1044" y="546"/>
                  </a:lnTo>
                  <a:lnTo>
                    <a:pt x="1062" y="552"/>
                  </a:lnTo>
                  <a:lnTo>
                    <a:pt x="1068" y="552"/>
                  </a:lnTo>
                  <a:lnTo>
                    <a:pt x="1068" y="570"/>
                  </a:lnTo>
                  <a:lnTo>
                    <a:pt x="1068" y="576"/>
                  </a:lnTo>
                  <a:lnTo>
                    <a:pt x="1068" y="582"/>
                  </a:lnTo>
                  <a:lnTo>
                    <a:pt x="1068" y="588"/>
                  </a:lnTo>
                  <a:lnTo>
                    <a:pt x="1068" y="594"/>
                  </a:lnTo>
                  <a:lnTo>
                    <a:pt x="1080" y="600"/>
                  </a:lnTo>
                  <a:lnTo>
                    <a:pt x="1086" y="606"/>
                  </a:lnTo>
                  <a:lnTo>
                    <a:pt x="1092" y="594"/>
                  </a:lnTo>
                  <a:lnTo>
                    <a:pt x="1104" y="588"/>
                  </a:lnTo>
                  <a:lnTo>
                    <a:pt x="1116" y="588"/>
                  </a:lnTo>
                  <a:lnTo>
                    <a:pt x="1122" y="588"/>
                  </a:lnTo>
                  <a:lnTo>
                    <a:pt x="1122" y="594"/>
                  </a:lnTo>
                  <a:lnTo>
                    <a:pt x="1128" y="594"/>
                  </a:lnTo>
                  <a:lnTo>
                    <a:pt x="1134" y="594"/>
                  </a:lnTo>
                  <a:lnTo>
                    <a:pt x="1140" y="594"/>
                  </a:lnTo>
                  <a:lnTo>
                    <a:pt x="1146" y="588"/>
                  </a:lnTo>
                  <a:lnTo>
                    <a:pt x="1158" y="582"/>
                  </a:lnTo>
                  <a:lnTo>
                    <a:pt x="1164" y="576"/>
                  </a:lnTo>
                  <a:lnTo>
                    <a:pt x="1176" y="576"/>
                  </a:lnTo>
                  <a:lnTo>
                    <a:pt x="1194" y="576"/>
                  </a:lnTo>
                  <a:lnTo>
                    <a:pt x="1218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24" y="594"/>
                  </a:lnTo>
                  <a:lnTo>
                    <a:pt x="1212" y="600"/>
                  </a:lnTo>
                  <a:lnTo>
                    <a:pt x="1206" y="606"/>
                  </a:lnTo>
                  <a:lnTo>
                    <a:pt x="1200" y="606"/>
                  </a:lnTo>
                  <a:lnTo>
                    <a:pt x="1200" y="612"/>
                  </a:lnTo>
                  <a:lnTo>
                    <a:pt x="1194" y="612"/>
                  </a:lnTo>
                  <a:lnTo>
                    <a:pt x="1194" y="618"/>
                  </a:lnTo>
                  <a:lnTo>
                    <a:pt x="1194" y="624"/>
                  </a:lnTo>
                  <a:lnTo>
                    <a:pt x="1194" y="630"/>
                  </a:lnTo>
                  <a:lnTo>
                    <a:pt x="1194" y="648"/>
                  </a:lnTo>
                  <a:lnTo>
                    <a:pt x="1194" y="660"/>
                  </a:lnTo>
                  <a:lnTo>
                    <a:pt x="1194" y="666"/>
                  </a:lnTo>
                  <a:lnTo>
                    <a:pt x="1194" y="672"/>
                  </a:lnTo>
                  <a:lnTo>
                    <a:pt x="1194" y="678"/>
                  </a:lnTo>
                  <a:lnTo>
                    <a:pt x="1188" y="684"/>
                  </a:lnTo>
                  <a:lnTo>
                    <a:pt x="1188" y="690"/>
                  </a:lnTo>
                  <a:lnTo>
                    <a:pt x="1188" y="696"/>
                  </a:lnTo>
                  <a:lnTo>
                    <a:pt x="1188" y="702"/>
                  </a:lnTo>
                  <a:lnTo>
                    <a:pt x="1188" y="708"/>
                  </a:lnTo>
                  <a:lnTo>
                    <a:pt x="1188" y="714"/>
                  </a:lnTo>
                  <a:lnTo>
                    <a:pt x="1182" y="720"/>
                  </a:lnTo>
                  <a:lnTo>
                    <a:pt x="1170" y="720"/>
                  </a:lnTo>
                  <a:lnTo>
                    <a:pt x="1158" y="726"/>
                  </a:lnTo>
                  <a:lnTo>
                    <a:pt x="1152" y="726"/>
                  </a:lnTo>
                  <a:lnTo>
                    <a:pt x="1152" y="732"/>
                  </a:lnTo>
                  <a:lnTo>
                    <a:pt x="1146" y="738"/>
                  </a:lnTo>
                  <a:lnTo>
                    <a:pt x="1140" y="738"/>
                  </a:lnTo>
                  <a:lnTo>
                    <a:pt x="1140" y="744"/>
                  </a:lnTo>
                  <a:lnTo>
                    <a:pt x="1134" y="744"/>
                  </a:lnTo>
                  <a:lnTo>
                    <a:pt x="1128" y="744"/>
                  </a:lnTo>
                  <a:lnTo>
                    <a:pt x="1122" y="750"/>
                  </a:lnTo>
                  <a:lnTo>
                    <a:pt x="1128" y="750"/>
                  </a:lnTo>
                  <a:lnTo>
                    <a:pt x="1122" y="756"/>
                  </a:lnTo>
                  <a:lnTo>
                    <a:pt x="1116" y="756"/>
                  </a:lnTo>
                  <a:lnTo>
                    <a:pt x="1110" y="762"/>
                  </a:lnTo>
                  <a:lnTo>
                    <a:pt x="1104" y="762"/>
                  </a:lnTo>
                  <a:lnTo>
                    <a:pt x="1104" y="768"/>
                  </a:lnTo>
                  <a:lnTo>
                    <a:pt x="1098" y="768"/>
                  </a:lnTo>
                  <a:lnTo>
                    <a:pt x="1098" y="774"/>
                  </a:lnTo>
                  <a:lnTo>
                    <a:pt x="1092" y="774"/>
                  </a:lnTo>
                  <a:lnTo>
                    <a:pt x="1092" y="780"/>
                  </a:lnTo>
                  <a:lnTo>
                    <a:pt x="1086" y="780"/>
                  </a:lnTo>
                  <a:lnTo>
                    <a:pt x="1086" y="786"/>
                  </a:lnTo>
                  <a:lnTo>
                    <a:pt x="1080" y="786"/>
                  </a:lnTo>
                  <a:lnTo>
                    <a:pt x="1080" y="792"/>
                  </a:lnTo>
                  <a:lnTo>
                    <a:pt x="1080" y="798"/>
                  </a:lnTo>
                  <a:lnTo>
                    <a:pt x="1080" y="804"/>
                  </a:lnTo>
                  <a:lnTo>
                    <a:pt x="1086" y="810"/>
                  </a:lnTo>
                  <a:lnTo>
                    <a:pt x="1080" y="816"/>
                  </a:lnTo>
                  <a:lnTo>
                    <a:pt x="1080" y="822"/>
                  </a:lnTo>
                  <a:lnTo>
                    <a:pt x="1074" y="822"/>
                  </a:lnTo>
                  <a:lnTo>
                    <a:pt x="1068" y="828"/>
                  </a:lnTo>
                  <a:lnTo>
                    <a:pt x="1074" y="828"/>
                  </a:lnTo>
                  <a:lnTo>
                    <a:pt x="1074" y="834"/>
                  </a:lnTo>
                  <a:lnTo>
                    <a:pt x="1080" y="846"/>
                  </a:lnTo>
                  <a:lnTo>
                    <a:pt x="1086" y="846"/>
                  </a:lnTo>
                  <a:lnTo>
                    <a:pt x="1092" y="852"/>
                  </a:lnTo>
                  <a:lnTo>
                    <a:pt x="1092" y="858"/>
                  </a:lnTo>
                  <a:lnTo>
                    <a:pt x="1098" y="858"/>
                  </a:lnTo>
                  <a:lnTo>
                    <a:pt x="1110" y="864"/>
                  </a:lnTo>
                  <a:lnTo>
                    <a:pt x="1116" y="864"/>
                  </a:lnTo>
                  <a:lnTo>
                    <a:pt x="1122" y="864"/>
                  </a:lnTo>
                  <a:lnTo>
                    <a:pt x="1128" y="864"/>
                  </a:lnTo>
                  <a:lnTo>
                    <a:pt x="1134" y="876"/>
                  </a:lnTo>
                  <a:lnTo>
                    <a:pt x="1140" y="882"/>
                  </a:lnTo>
                  <a:lnTo>
                    <a:pt x="1140" y="888"/>
                  </a:lnTo>
                  <a:lnTo>
                    <a:pt x="1152" y="918"/>
                  </a:lnTo>
                  <a:lnTo>
                    <a:pt x="1158" y="894"/>
                  </a:lnTo>
                  <a:lnTo>
                    <a:pt x="1164" y="888"/>
                  </a:lnTo>
                  <a:lnTo>
                    <a:pt x="1164" y="882"/>
                  </a:lnTo>
                  <a:lnTo>
                    <a:pt x="1176" y="864"/>
                  </a:lnTo>
                  <a:lnTo>
                    <a:pt x="1182" y="858"/>
                  </a:lnTo>
                  <a:lnTo>
                    <a:pt x="1188" y="846"/>
                  </a:lnTo>
                  <a:lnTo>
                    <a:pt x="1200" y="840"/>
                  </a:lnTo>
                  <a:lnTo>
                    <a:pt x="1212" y="840"/>
                  </a:lnTo>
                  <a:lnTo>
                    <a:pt x="1218" y="846"/>
                  </a:lnTo>
                  <a:lnTo>
                    <a:pt x="1224" y="858"/>
                  </a:lnTo>
                  <a:lnTo>
                    <a:pt x="1224" y="864"/>
                  </a:lnTo>
                  <a:lnTo>
                    <a:pt x="1224" y="876"/>
                  </a:lnTo>
                  <a:lnTo>
                    <a:pt x="1212" y="912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00" y="930"/>
                  </a:lnTo>
                  <a:lnTo>
                    <a:pt x="1200" y="942"/>
                  </a:lnTo>
                  <a:lnTo>
                    <a:pt x="1194" y="948"/>
                  </a:lnTo>
                  <a:lnTo>
                    <a:pt x="1194" y="960"/>
                  </a:lnTo>
                  <a:lnTo>
                    <a:pt x="1194" y="966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70" y="984"/>
                  </a:lnTo>
                  <a:lnTo>
                    <a:pt x="1164" y="984"/>
                  </a:lnTo>
                  <a:lnTo>
                    <a:pt x="1158" y="984"/>
                  </a:lnTo>
                  <a:lnTo>
                    <a:pt x="1146" y="984"/>
                  </a:lnTo>
                  <a:lnTo>
                    <a:pt x="1140" y="990"/>
                  </a:lnTo>
                  <a:lnTo>
                    <a:pt x="1140" y="996"/>
                  </a:lnTo>
                  <a:lnTo>
                    <a:pt x="1152" y="996"/>
                  </a:lnTo>
                  <a:lnTo>
                    <a:pt x="1176" y="1002"/>
                  </a:lnTo>
                  <a:lnTo>
                    <a:pt x="1194" y="1008"/>
                  </a:lnTo>
                  <a:lnTo>
                    <a:pt x="1206" y="1008"/>
                  </a:lnTo>
                  <a:lnTo>
                    <a:pt x="1218" y="1014"/>
                  </a:lnTo>
                  <a:lnTo>
                    <a:pt x="1212" y="1038"/>
                  </a:lnTo>
                  <a:lnTo>
                    <a:pt x="1212" y="1044"/>
                  </a:lnTo>
                  <a:lnTo>
                    <a:pt x="1206" y="1044"/>
                  </a:lnTo>
                  <a:lnTo>
                    <a:pt x="1206" y="1050"/>
                  </a:lnTo>
                  <a:lnTo>
                    <a:pt x="1194" y="1050"/>
                  </a:lnTo>
                  <a:lnTo>
                    <a:pt x="1188" y="1044"/>
                  </a:lnTo>
                  <a:lnTo>
                    <a:pt x="1158" y="1020"/>
                  </a:lnTo>
                  <a:lnTo>
                    <a:pt x="1152" y="1020"/>
                  </a:lnTo>
                  <a:lnTo>
                    <a:pt x="1140" y="1020"/>
                  </a:lnTo>
                  <a:lnTo>
                    <a:pt x="1134" y="1020"/>
                  </a:lnTo>
                  <a:lnTo>
                    <a:pt x="1134" y="1026"/>
                  </a:lnTo>
                  <a:lnTo>
                    <a:pt x="1134" y="1032"/>
                  </a:lnTo>
                  <a:lnTo>
                    <a:pt x="1128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2" name="Freeform 27">
              <a:extLst>
                <a:ext uri="{FF2B5EF4-FFF2-40B4-BE49-F238E27FC236}">
                  <a16:creationId xmlns:a16="http://schemas.microsoft.com/office/drawing/2014/main" id="{CE95C9DF-B651-4085-946F-65424BC51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2063" y="3421400"/>
              <a:ext cx="342138" cy="377969"/>
            </a:xfrm>
            <a:custGeom>
              <a:avLst/>
              <a:gdLst>
                <a:gd name="T0" fmla="*/ 43 w 642"/>
                <a:gd name="T1" fmla="*/ 41 h 708"/>
                <a:gd name="T2" fmla="*/ 39 w 642"/>
                <a:gd name="T3" fmla="*/ 41 h 708"/>
                <a:gd name="T4" fmla="*/ 38 w 642"/>
                <a:gd name="T5" fmla="*/ 47 h 708"/>
                <a:gd name="T6" fmla="*/ 38 w 642"/>
                <a:gd name="T7" fmla="*/ 49 h 708"/>
                <a:gd name="T8" fmla="*/ 38 w 642"/>
                <a:gd name="T9" fmla="*/ 50 h 708"/>
                <a:gd name="T10" fmla="*/ 36 w 642"/>
                <a:gd name="T11" fmla="*/ 52 h 708"/>
                <a:gd name="T12" fmla="*/ 35 w 642"/>
                <a:gd name="T13" fmla="*/ 53 h 708"/>
                <a:gd name="T14" fmla="*/ 33 w 642"/>
                <a:gd name="T15" fmla="*/ 55 h 708"/>
                <a:gd name="T16" fmla="*/ 32 w 642"/>
                <a:gd name="T17" fmla="*/ 56 h 708"/>
                <a:gd name="T18" fmla="*/ 31 w 642"/>
                <a:gd name="T19" fmla="*/ 59 h 708"/>
                <a:gd name="T20" fmla="*/ 26 w 642"/>
                <a:gd name="T21" fmla="*/ 59 h 708"/>
                <a:gd name="T22" fmla="*/ 23 w 642"/>
                <a:gd name="T23" fmla="*/ 61 h 708"/>
                <a:gd name="T24" fmla="*/ 20 w 642"/>
                <a:gd name="T25" fmla="*/ 61 h 708"/>
                <a:gd name="T26" fmla="*/ 17 w 642"/>
                <a:gd name="T27" fmla="*/ 59 h 708"/>
                <a:gd name="T28" fmla="*/ 15 w 642"/>
                <a:gd name="T29" fmla="*/ 56 h 708"/>
                <a:gd name="T30" fmla="*/ 9 w 642"/>
                <a:gd name="T31" fmla="*/ 58 h 708"/>
                <a:gd name="T32" fmla="*/ 6 w 642"/>
                <a:gd name="T33" fmla="*/ 52 h 708"/>
                <a:gd name="T34" fmla="*/ 2 w 642"/>
                <a:gd name="T35" fmla="*/ 53 h 708"/>
                <a:gd name="T36" fmla="*/ 1 w 642"/>
                <a:gd name="T37" fmla="*/ 51 h 708"/>
                <a:gd name="T38" fmla="*/ 4 w 642"/>
                <a:gd name="T39" fmla="*/ 47 h 708"/>
                <a:gd name="T40" fmla="*/ 5 w 642"/>
                <a:gd name="T41" fmla="*/ 41 h 708"/>
                <a:gd name="T42" fmla="*/ 5 w 642"/>
                <a:gd name="T43" fmla="*/ 38 h 708"/>
                <a:gd name="T44" fmla="*/ 5 w 642"/>
                <a:gd name="T45" fmla="*/ 35 h 708"/>
                <a:gd name="T46" fmla="*/ 6 w 642"/>
                <a:gd name="T47" fmla="*/ 33 h 708"/>
                <a:gd name="T48" fmla="*/ 5 w 642"/>
                <a:gd name="T49" fmla="*/ 29 h 708"/>
                <a:gd name="T50" fmla="*/ 4 w 642"/>
                <a:gd name="T51" fmla="*/ 28 h 708"/>
                <a:gd name="T52" fmla="*/ 1 w 642"/>
                <a:gd name="T53" fmla="*/ 26 h 708"/>
                <a:gd name="T54" fmla="*/ 1 w 642"/>
                <a:gd name="T55" fmla="*/ 24 h 708"/>
                <a:gd name="T56" fmla="*/ 1 w 642"/>
                <a:gd name="T57" fmla="*/ 20 h 708"/>
                <a:gd name="T58" fmla="*/ 1 w 642"/>
                <a:gd name="T59" fmla="*/ 16 h 708"/>
                <a:gd name="T60" fmla="*/ 2 w 642"/>
                <a:gd name="T61" fmla="*/ 14 h 708"/>
                <a:gd name="T62" fmla="*/ 8 w 642"/>
                <a:gd name="T63" fmla="*/ 14 h 708"/>
                <a:gd name="T64" fmla="*/ 9 w 642"/>
                <a:gd name="T65" fmla="*/ 10 h 708"/>
                <a:gd name="T66" fmla="*/ 15 w 642"/>
                <a:gd name="T67" fmla="*/ 9 h 708"/>
                <a:gd name="T68" fmla="*/ 18 w 642"/>
                <a:gd name="T69" fmla="*/ 14 h 708"/>
                <a:gd name="T70" fmla="*/ 20 w 642"/>
                <a:gd name="T71" fmla="*/ 12 h 708"/>
                <a:gd name="T72" fmla="*/ 20 w 642"/>
                <a:gd name="T73" fmla="*/ 11 h 708"/>
                <a:gd name="T74" fmla="*/ 21 w 642"/>
                <a:gd name="T75" fmla="*/ 9 h 708"/>
                <a:gd name="T76" fmla="*/ 24 w 642"/>
                <a:gd name="T77" fmla="*/ 9 h 708"/>
                <a:gd name="T78" fmla="*/ 27 w 642"/>
                <a:gd name="T79" fmla="*/ 8 h 708"/>
                <a:gd name="T80" fmla="*/ 33 w 642"/>
                <a:gd name="T81" fmla="*/ 2 h 708"/>
                <a:gd name="T82" fmla="*/ 42 w 642"/>
                <a:gd name="T83" fmla="*/ 2 h 708"/>
                <a:gd name="T84" fmla="*/ 49 w 642"/>
                <a:gd name="T85" fmla="*/ 1 h 708"/>
                <a:gd name="T86" fmla="*/ 53 w 642"/>
                <a:gd name="T87" fmla="*/ 4 h 708"/>
                <a:gd name="T88" fmla="*/ 55 w 642"/>
                <a:gd name="T89" fmla="*/ 4 h 708"/>
                <a:gd name="T90" fmla="*/ 55 w 642"/>
                <a:gd name="T91" fmla="*/ 7 h 708"/>
                <a:gd name="T92" fmla="*/ 52 w 642"/>
                <a:gd name="T93" fmla="*/ 9 h 708"/>
                <a:gd name="T94" fmla="*/ 49 w 642"/>
                <a:gd name="T95" fmla="*/ 12 h 708"/>
                <a:gd name="T96" fmla="*/ 47 w 642"/>
                <a:gd name="T97" fmla="*/ 14 h 708"/>
                <a:gd name="T98" fmla="*/ 47 w 642"/>
                <a:gd name="T99" fmla="*/ 17 h 708"/>
                <a:gd name="T100" fmla="*/ 45 w 642"/>
                <a:gd name="T101" fmla="*/ 26 h 708"/>
                <a:gd name="T102" fmla="*/ 50 w 642"/>
                <a:gd name="T103" fmla="*/ 37 h 70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42"/>
                <a:gd name="T157" fmla="*/ 0 h 708"/>
                <a:gd name="T158" fmla="*/ 642 w 642"/>
                <a:gd name="T159" fmla="*/ 708 h 70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42" h="708">
                  <a:moveTo>
                    <a:pt x="576" y="468"/>
                  </a:moveTo>
                  <a:lnTo>
                    <a:pt x="564" y="468"/>
                  </a:lnTo>
                  <a:lnTo>
                    <a:pt x="516" y="468"/>
                  </a:lnTo>
                  <a:lnTo>
                    <a:pt x="498" y="474"/>
                  </a:lnTo>
                  <a:lnTo>
                    <a:pt x="492" y="468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68" y="474"/>
                  </a:lnTo>
                  <a:lnTo>
                    <a:pt x="456" y="468"/>
                  </a:lnTo>
                  <a:lnTo>
                    <a:pt x="444" y="474"/>
                  </a:lnTo>
                  <a:lnTo>
                    <a:pt x="438" y="492"/>
                  </a:lnTo>
                  <a:lnTo>
                    <a:pt x="438" y="504"/>
                  </a:lnTo>
                  <a:lnTo>
                    <a:pt x="432" y="516"/>
                  </a:lnTo>
                  <a:lnTo>
                    <a:pt x="432" y="528"/>
                  </a:lnTo>
                  <a:lnTo>
                    <a:pt x="432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52"/>
                  </a:lnTo>
                  <a:lnTo>
                    <a:pt x="432" y="558"/>
                  </a:lnTo>
                  <a:lnTo>
                    <a:pt x="438" y="564"/>
                  </a:lnTo>
                  <a:lnTo>
                    <a:pt x="444" y="564"/>
                  </a:lnTo>
                  <a:lnTo>
                    <a:pt x="438" y="564"/>
                  </a:lnTo>
                  <a:lnTo>
                    <a:pt x="438" y="570"/>
                  </a:lnTo>
                  <a:lnTo>
                    <a:pt x="432" y="570"/>
                  </a:lnTo>
                  <a:lnTo>
                    <a:pt x="432" y="576"/>
                  </a:lnTo>
                  <a:lnTo>
                    <a:pt x="426" y="588"/>
                  </a:lnTo>
                  <a:lnTo>
                    <a:pt x="420" y="594"/>
                  </a:lnTo>
                  <a:lnTo>
                    <a:pt x="420" y="600"/>
                  </a:lnTo>
                  <a:lnTo>
                    <a:pt x="414" y="600"/>
                  </a:lnTo>
                  <a:lnTo>
                    <a:pt x="414" y="606"/>
                  </a:lnTo>
                  <a:lnTo>
                    <a:pt x="408" y="606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396" y="612"/>
                  </a:lnTo>
                  <a:lnTo>
                    <a:pt x="390" y="612"/>
                  </a:lnTo>
                  <a:lnTo>
                    <a:pt x="390" y="618"/>
                  </a:lnTo>
                  <a:lnTo>
                    <a:pt x="384" y="618"/>
                  </a:lnTo>
                  <a:lnTo>
                    <a:pt x="378" y="618"/>
                  </a:lnTo>
                  <a:lnTo>
                    <a:pt x="378" y="624"/>
                  </a:lnTo>
                  <a:lnTo>
                    <a:pt x="384" y="630"/>
                  </a:lnTo>
                  <a:lnTo>
                    <a:pt x="384" y="636"/>
                  </a:lnTo>
                  <a:lnTo>
                    <a:pt x="378" y="630"/>
                  </a:lnTo>
                  <a:lnTo>
                    <a:pt x="372" y="636"/>
                  </a:lnTo>
                  <a:lnTo>
                    <a:pt x="372" y="642"/>
                  </a:lnTo>
                  <a:lnTo>
                    <a:pt x="366" y="642"/>
                  </a:lnTo>
                  <a:lnTo>
                    <a:pt x="360" y="654"/>
                  </a:lnTo>
                  <a:lnTo>
                    <a:pt x="354" y="666"/>
                  </a:lnTo>
                  <a:lnTo>
                    <a:pt x="354" y="672"/>
                  </a:lnTo>
                  <a:lnTo>
                    <a:pt x="354" y="678"/>
                  </a:lnTo>
                  <a:lnTo>
                    <a:pt x="354" y="684"/>
                  </a:lnTo>
                  <a:lnTo>
                    <a:pt x="348" y="678"/>
                  </a:lnTo>
                  <a:lnTo>
                    <a:pt x="324" y="678"/>
                  </a:lnTo>
                  <a:lnTo>
                    <a:pt x="306" y="678"/>
                  </a:lnTo>
                  <a:lnTo>
                    <a:pt x="294" y="678"/>
                  </a:lnTo>
                  <a:lnTo>
                    <a:pt x="288" y="684"/>
                  </a:lnTo>
                  <a:lnTo>
                    <a:pt x="276" y="690"/>
                  </a:lnTo>
                  <a:lnTo>
                    <a:pt x="270" y="696"/>
                  </a:lnTo>
                  <a:lnTo>
                    <a:pt x="264" y="696"/>
                  </a:lnTo>
                  <a:lnTo>
                    <a:pt x="258" y="696"/>
                  </a:lnTo>
                  <a:lnTo>
                    <a:pt x="252" y="696"/>
                  </a:lnTo>
                  <a:lnTo>
                    <a:pt x="252" y="690"/>
                  </a:lnTo>
                  <a:lnTo>
                    <a:pt x="246" y="690"/>
                  </a:lnTo>
                  <a:lnTo>
                    <a:pt x="234" y="690"/>
                  </a:lnTo>
                  <a:lnTo>
                    <a:pt x="222" y="696"/>
                  </a:lnTo>
                  <a:lnTo>
                    <a:pt x="216" y="708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8" y="690"/>
                  </a:lnTo>
                  <a:lnTo>
                    <a:pt x="198" y="684"/>
                  </a:lnTo>
                  <a:lnTo>
                    <a:pt x="198" y="678"/>
                  </a:lnTo>
                  <a:lnTo>
                    <a:pt x="198" y="672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74" y="648"/>
                  </a:lnTo>
                  <a:lnTo>
                    <a:pt x="162" y="642"/>
                  </a:lnTo>
                  <a:lnTo>
                    <a:pt x="156" y="636"/>
                  </a:lnTo>
                  <a:lnTo>
                    <a:pt x="132" y="642"/>
                  </a:lnTo>
                  <a:lnTo>
                    <a:pt x="120" y="654"/>
                  </a:lnTo>
                  <a:lnTo>
                    <a:pt x="108" y="660"/>
                  </a:lnTo>
                  <a:lnTo>
                    <a:pt x="102" y="666"/>
                  </a:lnTo>
                  <a:lnTo>
                    <a:pt x="84" y="666"/>
                  </a:lnTo>
                  <a:lnTo>
                    <a:pt x="84" y="630"/>
                  </a:lnTo>
                  <a:lnTo>
                    <a:pt x="78" y="594"/>
                  </a:lnTo>
                  <a:lnTo>
                    <a:pt x="66" y="594"/>
                  </a:lnTo>
                  <a:lnTo>
                    <a:pt x="60" y="594"/>
                  </a:lnTo>
                  <a:lnTo>
                    <a:pt x="48" y="600"/>
                  </a:lnTo>
                  <a:lnTo>
                    <a:pt x="36" y="606"/>
                  </a:lnTo>
                  <a:lnTo>
                    <a:pt x="24" y="612"/>
                  </a:lnTo>
                  <a:lnTo>
                    <a:pt x="18" y="612"/>
                  </a:lnTo>
                  <a:lnTo>
                    <a:pt x="12" y="606"/>
                  </a:lnTo>
                  <a:lnTo>
                    <a:pt x="12" y="600"/>
                  </a:lnTo>
                  <a:lnTo>
                    <a:pt x="12" y="594"/>
                  </a:lnTo>
                  <a:lnTo>
                    <a:pt x="12" y="588"/>
                  </a:lnTo>
                  <a:lnTo>
                    <a:pt x="12" y="582"/>
                  </a:lnTo>
                  <a:lnTo>
                    <a:pt x="12" y="576"/>
                  </a:lnTo>
                  <a:lnTo>
                    <a:pt x="18" y="552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42" y="534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48" y="492"/>
                  </a:lnTo>
                  <a:lnTo>
                    <a:pt x="48" y="480"/>
                  </a:lnTo>
                  <a:lnTo>
                    <a:pt x="54" y="468"/>
                  </a:lnTo>
                  <a:lnTo>
                    <a:pt x="48" y="456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66" y="390"/>
                  </a:lnTo>
                  <a:lnTo>
                    <a:pt x="72" y="384"/>
                  </a:lnTo>
                  <a:lnTo>
                    <a:pt x="72" y="378"/>
                  </a:lnTo>
                  <a:lnTo>
                    <a:pt x="66" y="378"/>
                  </a:lnTo>
                  <a:lnTo>
                    <a:pt x="66" y="366"/>
                  </a:lnTo>
                  <a:lnTo>
                    <a:pt x="60" y="360"/>
                  </a:lnTo>
                  <a:lnTo>
                    <a:pt x="66" y="354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48" y="312"/>
                  </a:lnTo>
                  <a:lnTo>
                    <a:pt x="30" y="312"/>
                  </a:lnTo>
                  <a:lnTo>
                    <a:pt x="24" y="306"/>
                  </a:lnTo>
                  <a:lnTo>
                    <a:pt x="18" y="306"/>
                  </a:lnTo>
                  <a:lnTo>
                    <a:pt x="12" y="294"/>
                  </a:lnTo>
                  <a:lnTo>
                    <a:pt x="12" y="282"/>
                  </a:lnTo>
                  <a:lnTo>
                    <a:pt x="6" y="276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12" y="270"/>
                  </a:lnTo>
                  <a:lnTo>
                    <a:pt x="12" y="246"/>
                  </a:lnTo>
                  <a:lnTo>
                    <a:pt x="12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8" y="174"/>
                  </a:lnTo>
                  <a:lnTo>
                    <a:pt x="12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48" y="162"/>
                  </a:lnTo>
                  <a:lnTo>
                    <a:pt x="72" y="162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84" y="132"/>
                  </a:lnTo>
                  <a:lnTo>
                    <a:pt x="90" y="120"/>
                  </a:lnTo>
                  <a:lnTo>
                    <a:pt x="108" y="114"/>
                  </a:lnTo>
                  <a:lnTo>
                    <a:pt x="114" y="102"/>
                  </a:lnTo>
                  <a:lnTo>
                    <a:pt x="120" y="90"/>
                  </a:lnTo>
                  <a:lnTo>
                    <a:pt x="138" y="90"/>
                  </a:lnTo>
                  <a:lnTo>
                    <a:pt x="138" y="102"/>
                  </a:lnTo>
                  <a:lnTo>
                    <a:pt x="168" y="108"/>
                  </a:lnTo>
                  <a:lnTo>
                    <a:pt x="168" y="114"/>
                  </a:lnTo>
                  <a:lnTo>
                    <a:pt x="174" y="126"/>
                  </a:lnTo>
                  <a:lnTo>
                    <a:pt x="186" y="150"/>
                  </a:lnTo>
                  <a:lnTo>
                    <a:pt x="186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34" y="144"/>
                  </a:lnTo>
                  <a:lnTo>
                    <a:pt x="240" y="138"/>
                  </a:lnTo>
                  <a:lnTo>
                    <a:pt x="240" y="126"/>
                  </a:lnTo>
                  <a:lnTo>
                    <a:pt x="234" y="126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34" y="102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82" y="102"/>
                  </a:lnTo>
                  <a:lnTo>
                    <a:pt x="288" y="102"/>
                  </a:lnTo>
                  <a:lnTo>
                    <a:pt x="294" y="102"/>
                  </a:lnTo>
                  <a:lnTo>
                    <a:pt x="300" y="96"/>
                  </a:lnTo>
                  <a:lnTo>
                    <a:pt x="306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84"/>
                  </a:lnTo>
                  <a:lnTo>
                    <a:pt x="324" y="18"/>
                  </a:lnTo>
                  <a:lnTo>
                    <a:pt x="360" y="18"/>
                  </a:lnTo>
                  <a:lnTo>
                    <a:pt x="378" y="18"/>
                  </a:lnTo>
                  <a:lnTo>
                    <a:pt x="378" y="30"/>
                  </a:lnTo>
                  <a:lnTo>
                    <a:pt x="390" y="30"/>
                  </a:lnTo>
                  <a:lnTo>
                    <a:pt x="432" y="30"/>
                  </a:lnTo>
                  <a:lnTo>
                    <a:pt x="456" y="24"/>
                  </a:lnTo>
                  <a:lnTo>
                    <a:pt x="480" y="24"/>
                  </a:lnTo>
                  <a:lnTo>
                    <a:pt x="498" y="30"/>
                  </a:lnTo>
                  <a:lnTo>
                    <a:pt x="522" y="18"/>
                  </a:lnTo>
                  <a:lnTo>
                    <a:pt x="528" y="0"/>
                  </a:lnTo>
                  <a:lnTo>
                    <a:pt x="558" y="6"/>
                  </a:lnTo>
                  <a:lnTo>
                    <a:pt x="558" y="12"/>
                  </a:lnTo>
                  <a:lnTo>
                    <a:pt x="570" y="18"/>
                  </a:lnTo>
                  <a:lnTo>
                    <a:pt x="576" y="24"/>
                  </a:lnTo>
                  <a:lnTo>
                    <a:pt x="588" y="36"/>
                  </a:lnTo>
                  <a:lnTo>
                    <a:pt x="594" y="48"/>
                  </a:lnTo>
                  <a:lnTo>
                    <a:pt x="606" y="48"/>
                  </a:lnTo>
                  <a:lnTo>
                    <a:pt x="606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42"/>
                  </a:lnTo>
                  <a:lnTo>
                    <a:pt x="636" y="42"/>
                  </a:lnTo>
                  <a:lnTo>
                    <a:pt x="636" y="48"/>
                  </a:lnTo>
                  <a:lnTo>
                    <a:pt x="642" y="54"/>
                  </a:lnTo>
                  <a:lnTo>
                    <a:pt x="636" y="60"/>
                  </a:lnTo>
                  <a:lnTo>
                    <a:pt x="636" y="66"/>
                  </a:lnTo>
                  <a:lnTo>
                    <a:pt x="636" y="78"/>
                  </a:lnTo>
                  <a:lnTo>
                    <a:pt x="624" y="84"/>
                  </a:lnTo>
                  <a:lnTo>
                    <a:pt x="618" y="90"/>
                  </a:lnTo>
                  <a:lnTo>
                    <a:pt x="612" y="90"/>
                  </a:lnTo>
                  <a:lnTo>
                    <a:pt x="600" y="102"/>
                  </a:lnTo>
                  <a:lnTo>
                    <a:pt x="594" y="108"/>
                  </a:lnTo>
                  <a:lnTo>
                    <a:pt x="582" y="114"/>
                  </a:lnTo>
                  <a:lnTo>
                    <a:pt x="570" y="132"/>
                  </a:lnTo>
                  <a:lnTo>
                    <a:pt x="564" y="132"/>
                  </a:lnTo>
                  <a:lnTo>
                    <a:pt x="564" y="138"/>
                  </a:lnTo>
                  <a:lnTo>
                    <a:pt x="558" y="144"/>
                  </a:lnTo>
                  <a:lnTo>
                    <a:pt x="558" y="150"/>
                  </a:lnTo>
                  <a:lnTo>
                    <a:pt x="552" y="150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0" y="162"/>
                  </a:lnTo>
                  <a:lnTo>
                    <a:pt x="534" y="168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6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28" y="234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16" y="294"/>
                  </a:lnTo>
                  <a:lnTo>
                    <a:pt x="516" y="312"/>
                  </a:lnTo>
                  <a:lnTo>
                    <a:pt x="528" y="318"/>
                  </a:lnTo>
                  <a:lnTo>
                    <a:pt x="540" y="360"/>
                  </a:lnTo>
                  <a:lnTo>
                    <a:pt x="558" y="408"/>
                  </a:lnTo>
                  <a:lnTo>
                    <a:pt x="570" y="426"/>
                  </a:lnTo>
                  <a:lnTo>
                    <a:pt x="576" y="432"/>
                  </a:lnTo>
                  <a:lnTo>
                    <a:pt x="576" y="438"/>
                  </a:lnTo>
                  <a:lnTo>
                    <a:pt x="576" y="444"/>
                  </a:lnTo>
                  <a:lnTo>
                    <a:pt x="576" y="46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3" name="Freeform 28">
              <a:extLst>
                <a:ext uri="{FF2B5EF4-FFF2-40B4-BE49-F238E27FC236}">
                  <a16:creationId xmlns:a16="http://schemas.microsoft.com/office/drawing/2014/main" id="{CF9B4F31-BF73-448E-83AA-188F6CF1BDC5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4879" y="3432583"/>
              <a:ext cx="324248" cy="270616"/>
            </a:xfrm>
            <a:custGeom>
              <a:avLst/>
              <a:gdLst>
                <a:gd name="T0" fmla="*/ 5 w 606"/>
                <a:gd name="T1" fmla="*/ 36 h 510"/>
                <a:gd name="T2" fmla="*/ 4 w 606"/>
                <a:gd name="T3" fmla="*/ 34 h 510"/>
                <a:gd name="T4" fmla="*/ 0 w 606"/>
                <a:gd name="T5" fmla="*/ 25 h 510"/>
                <a:gd name="T6" fmla="*/ 1 w 606"/>
                <a:gd name="T7" fmla="*/ 20 h 510"/>
                <a:gd name="T8" fmla="*/ 2 w 606"/>
                <a:gd name="T9" fmla="*/ 15 h 510"/>
                <a:gd name="T10" fmla="*/ 2 w 606"/>
                <a:gd name="T11" fmla="*/ 13 h 510"/>
                <a:gd name="T12" fmla="*/ 3 w 606"/>
                <a:gd name="T13" fmla="*/ 12 h 510"/>
                <a:gd name="T14" fmla="*/ 4 w 606"/>
                <a:gd name="T15" fmla="*/ 11 h 510"/>
                <a:gd name="T16" fmla="*/ 4 w 606"/>
                <a:gd name="T17" fmla="*/ 10 h 510"/>
                <a:gd name="T18" fmla="*/ 7 w 606"/>
                <a:gd name="T19" fmla="*/ 8 h 510"/>
                <a:gd name="T20" fmla="*/ 9 w 606"/>
                <a:gd name="T21" fmla="*/ 6 h 510"/>
                <a:gd name="T22" fmla="*/ 11 w 606"/>
                <a:gd name="T23" fmla="*/ 4 h 510"/>
                <a:gd name="T24" fmla="*/ 12 w 606"/>
                <a:gd name="T25" fmla="*/ 3 h 510"/>
                <a:gd name="T26" fmla="*/ 13 w 606"/>
                <a:gd name="T27" fmla="*/ 4 h 510"/>
                <a:gd name="T28" fmla="*/ 15 w 606"/>
                <a:gd name="T29" fmla="*/ 2 h 510"/>
                <a:gd name="T30" fmla="*/ 17 w 606"/>
                <a:gd name="T31" fmla="*/ 2 h 510"/>
                <a:gd name="T32" fmla="*/ 19 w 606"/>
                <a:gd name="T33" fmla="*/ 5 h 510"/>
                <a:gd name="T34" fmla="*/ 22 w 606"/>
                <a:gd name="T35" fmla="*/ 5 h 510"/>
                <a:gd name="T36" fmla="*/ 25 w 606"/>
                <a:gd name="T37" fmla="*/ 6 h 510"/>
                <a:gd name="T38" fmla="*/ 29 w 606"/>
                <a:gd name="T39" fmla="*/ 1 h 510"/>
                <a:gd name="T40" fmla="*/ 38 w 606"/>
                <a:gd name="T41" fmla="*/ 0 h 510"/>
                <a:gd name="T42" fmla="*/ 38 w 606"/>
                <a:gd name="T43" fmla="*/ 5 h 510"/>
                <a:gd name="T44" fmla="*/ 41 w 606"/>
                <a:gd name="T45" fmla="*/ 4 h 510"/>
                <a:gd name="T46" fmla="*/ 45 w 606"/>
                <a:gd name="T47" fmla="*/ 2 h 510"/>
                <a:gd name="T48" fmla="*/ 46 w 606"/>
                <a:gd name="T49" fmla="*/ 2 h 510"/>
                <a:gd name="T50" fmla="*/ 47 w 606"/>
                <a:gd name="T51" fmla="*/ 5 h 510"/>
                <a:gd name="T52" fmla="*/ 45 w 606"/>
                <a:gd name="T53" fmla="*/ 6 h 510"/>
                <a:gd name="T54" fmla="*/ 45 w 606"/>
                <a:gd name="T55" fmla="*/ 7 h 510"/>
                <a:gd name="T56" fmla="*/ 43 w 606"/>
                <a:gd name="T57" fmla="*/ 8 h 510"/>
                <a:gd name="T58" fmla="*/ 45 w 606"/>
                <a:gd name="T59" fmla="*/ 15 h 510"/>
                <a:gd name="T60" fmla="*/ 49 w 606"/>
                <a:gd name="T61" fmla="*/ 15 h 510"/>
                <a:gd name="T62" fmla="*/ 51 w 606"/>
                <a:gd name="T63" fmla="*/ 15 h 510"/>
                <a:gd name="T64" fmla="*/ 53 w 606"/>
                <a:gd name="T65" fmla="*/ 16 h 510"/>
                <a:gd name="T66" fmla="*/ 52 w 606"/>
                <a:gd name="T67" fmla="*/ 20 h 510"/>
                <a:gd name="T68" fmla="*/ 48 w 606"/>
                <a:gd name="T69" fmla="*/ 23 h 510"/>
                <a:gd name="T70" fmla="*/ 45 w 606"/>
                <a:gd name="T71" fmla="*/ 25 h 510"/>
                <a:gd name="T72" fmla="*/ 44 w 606"/>
                <a:gd name="T73" fmla="*/ 28 h 510"/>
                <a:gd name="T74" fmla="*/ 43 w 606"/>
                <a:gd name="T75" fmla="*/ 33 h 510"/>
                <a:gd name="T76" fmla="*/ 39 w 606"/>
                <a:gd name="T77" fmla="*/ 38 h 510"/>
                <a:gd name="T78" fmla="*/ 37 w 606"/>
                <a:gd name="T79" fmla="*/ 41 h 510"/>
                <a:gd name="T80" fmla="*/ 31 w 606"/>
                <a:gd name="T81" fmla="*/ 44 h 510"/>
                <a:gd name="T82" fmla="*/ 28 w 606"/>
                <a:gd name="T83" fmla="*/ 43 h 510"/>
                <a:gd name="T84" fmla="*/ 28 w 606"/>
                <a:gd name="T85" fmla="*/ 41 h 510"/>
                <a:gd name="T86" fmla="*/ 28 w 606"/>
                <a:gd name="T87" fmla="*/ 40 h 510"/>
                <a:gd name="T88" fmla="*/ 27 w 606"/>
                <a:gd name="T89" fmla="*/ 38 h 510"/>
                <a:gd name="T90" fmla="*/ 27 w 606"/>
                <a:gd name="T91" fmla="*/ 36 h 510"/>
                <a:gd name="T92" fmla="*/ 24 w 606"/>
                <a:gd name="T93" fmla="*/ 35 h 510"/>
                <a:gd name="T94" fmla="*/ 16 w 606"/>
                <a:gd name="T95" fmla="*/ 34 h 510"/>
                <a:gd name="T96" fmla="*/ 13 w 606"/>
                <a:gd name="T97" fmla="*/ 34 h 510"/>
                <a:gd name="T98" fmla="*/ 9 w 606"/>
                <a:gd name="T99" fmla="*/ 36 h 510"/>
                <a:gd name="T100" fmla="*/ 8 w 606"/>
                <a:gd name="T101" fmla="*/ 38 h 510"/>
                <a:gd name="T102" fmla="*/ 7 w 606"/>
                <a:gd name="T103" fmla="*/ 39 h 51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06"/>
                <a:gd name="T157" fmla="*/ 0 h 510"/>
                <a:gd name="T158" fmla="*/ 606 w 606"/>
                <a:gd name="T159" fmla="*/ 510 h 51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06" h="510">
                  <a:moveTo>
                    <a:pt x="60" y="450"/>
                  </a:move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42" y="390"/>
                  </a:lnTo>
                  <a:lnTo>
                    <a:pt x="24" y="342"/>
                  </a:lnTo>
                  <a:lnTo>
                    <a:pt x="12" y="300"/>
                  </a:lnTo>
                  <a:lnTo>
                    <a:pt x="0" y="294"/>
                  </a:lnTo>
                  <a:lnTo>
                    <a:pt x="0" y="276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24" y="192"/>
                  </a:lnTo>
                  <a:lnTo>
                    <a:pt x="24" y="180"/>
                  </a:lnTo>
                  <a:lnTo>
                    <a:pt x="24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6" y="96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108" y="66"/>
                  </a:lnTo>
                  <a:lnTo>
                    <a:pt x="120" y="60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36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62" y="36"/>
                  </a:lnTo>
                  <a:lnTo>
                    <a:pt x="162" y="30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0" y="54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46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76" y="66"/>
                  </a:lnTo>
                  <a:lnTo>
                    <a:pt x="312" y="66"/>
                  </a:lnTo>
                  <a:lnTo>
                    <a:pt x="318" y="60"/>
                  </a:lnTo>
                  <a:lnTo>
                    <a:pt x="330" y="12"/>
                  </a:lnTo>
                  <a:lnTo>
                    <a:pt x="414" y="6"/>
                  </a:lnTo>
                  <a:lnTo>
                    <a:pt x="420" y="0"/>
                  </a:lnTo>
                  <a:lnTo>
                    <a:pt x="426" y="6"/>
                  </a:lnTo>
                  <a:lnTo>
                    <a:pt x="426" y="12"/>
                  </a:lnTo>
                  <a:lnTo>
                    <a:pt x="426" y="54"/>
                  </a:lnTo>
                  <a:lnTo>
                    <a:pt x="432" y="54"/>
                  </a:lnTo>
                  <a:lnTo>
                    <a:pt x="444" y="54"/>
                  </a:lnTo>
                  <a:lnTo>
                    <a:pt x="450" y="42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86" y="24"/>
                  </a:lnTo>
                  <a:lnTo>
                    <a:pt x="504" y="18"/>
                  </a:lnTo>
                  <a:lnTo>
                    <a:pt x="510" y="12"/>
                  </a:lnTo>
                  <a:lnTo>
                    <a:pt x="516" y="18"/>
                  </a:lnTo>
                  <a:lnTo>
                    <a:pt x="522" y="24"/>
                  </a:lnTo>
                  <a:lnTo>
                    <a:pt x="510" y="30"/>
                  </a:lnTo>
                  <a:lnTo>
                    <a:pt x="516" y="48"/>
                  </a:lnTo>
                  <a:lnTo>
                    <a:pt x="528" y="54"/>
                  </a:lnTo>
                  <a:lnTo>
                    <a:pt x="522" y="60"/>
                  </a:lnTo>
                  <a:lnTo>
                    <a:pt x="516" y="66"/>
                  </a:lnTo>
                  <a:lnTo>
                    <a:pt x="516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0" y="84"/>
                  </a:lnTo>
                  <a:lnTo>
                    <a:pt x="510" y="90"/>
                  </a:lnTo>
                  <a:lnTo>
                    <a:pt x="504" y="90"/>
                  </a:lnTo>
                  <a:lnTo>
                    <a:pt x="486" y="90"/>
                  </a:lnTo>
                  <a:lnTo>
                    <a:pt x="492" y="138"/>
                  </a:lnTo>
                  <a:lnTo>
                    <a:pt x="498" y="168"/>
                  </a:lnTo>
                  <a:lnTo>
                    <a:pt x="516" y="168"/>
                  </a:lnTo>
                  <a:lnTo>
                    <a:pt x="528" y="174"/>
                  </a:lnTo>
                  <a:lnTo>
                    <a:pt x="534" y="168"/>
                  </a:lnTo>
                  <a:lnTo>
                    <a:pt x="558" y="174"/>
                  </a:lnTo>
                  <a:lnTo>
                    <a:pt x="564" y="168"/>
                  </a:lnTo>
                  <a:lnTo>
                    <a:pt x="570" y="168"/>
                  </a:lnTo>
                  <a:lnTo>
                    <a:pt x="576" y="174"/>
                  </a:lnTo>
                  <a:lnTo>
                    <a:pt x="588" y="168"/>
                  </a:lnTo>
                  <a:lnTo>
                    <a:pt x="594" y="168"/>
                  </a:lnTo>
                  <a:lnTo>
                    <a:pt x="594" y="186"/>
                  </a:lnTo>
                  <a:lnTo>
                    <a:pt x="606" y="198"/>
                  </a:lnTo>
                  <a:lnTo>
                    <a:pt x="600" y="210"/>
                  </a:lnTo>
                  <a:lnTo>
                    <a:pt x="588" y="234"/>
                  </a:lnTo>
                  <a:lnTo>
                    <a:pt x="564" y="246"/>
                  </a:lnTo>
                  <a:lnTo>
                    <a:pt x="546" y="258"/>
                  </a:lnTo>
                  <a:lnTo>
                    <a:pt x="540" y="270"/>
                  </a:lnTo>
                  <a:lnTo>
                    <a:pt x="534" y="294"/>
                  </a:lnTo>
                  <a:lnTo>
                    <a:pt x="528" y="300"/>
                  </a:lnTo>
                  <a:lnTo>
                    <a:pt x="516" y="294"/>
                  </a:lnTo>
                  <a:lnTo>
                    <a:pt x="510" y="300"/>
                  </a:lnTo>
                  <a:lnTo>
                    <a:pt x="498" y="318"/>
                  </a:lnTo>
                  <a:lnTo>
                    <a:pt x="492" y="324"/>
                  </a:lnTo>
                  <a:lnTo>
                    <a:pt x="486" y="336"/>
                  </a:lnTo>
                  <a:lnTo>
                    <a:pt x="486" y="354"/>
                  </a:lnTo>
                  <a:lnTo>
                    <a:pt x="486" y="384"/>
                  </a:lnTo>
                  <a:lnTo>
                    <a:pt x="474" y="408"/>
                  </a:lnTo>
                  <a:lnTo>
                    <a:pt x="450" y="426"/>
                  </a:lnTo>
                  <a:lnTo>
                    <a:pt x="444" y="444"/>
                  </a:lnTo>
                  <a:lnTo>
                    <a:pt x="426" y="474"/>
                  </a:lnTo>
                  <a:lnTo>
                    <a:pt x="420" y="486"/>
                  </a:lnTo>
                  <a:lnTo>
                    <a:pt x="414" y="486"/>
                  </a:lnTo>
                  <a:lnTo>
                    <a:pt x="414" y="498"/>
                  </a:lnTo>
                  <a:lnTo>
                    <a:pt x="378" y="504"/>
                  </a:lnTo>
                  <a:lnTo>
                    <a:pt x="348" y="510"/>
                  </a:lnTo>
                  <a:lnTo>
                    <a:pt x="330" y="510"/>
                  </a:lnTo>
                  <a:lnTo>
                    <a:pt x="324" y="504"/>
                  </a:lnTo>
                  <a:lnTo>
                    <a:pt x="318" y="504"/>
                  </a:lnTo>
                  <a:lnTo>
                    <a:pt x="312" y="504"/>
                  </a:lnTo>
                  <a:lnTo>
                    <a:pt x="312" y="498"/>
                  </a:lnTo>
                  <a:lnTo>
                    <a:pt x="312" y="486"/>
                  </a:lnTo>
                  <a:lnTo>
                    <a:pt x="312" y="480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56"/>
                  </a:lnTo>
                  <a:lnTo>
                    <a:pt x="312" y="450"/>
                  </a:lnTo>
                  <a:lnTo>
                    <a:pt x="306" y="444"/>
                  </a:lnTo>
                  <a:lnTo>
                    <a:pt x="306" y="438"/>
                  </a:lnTo>
                  <a:lnTo>
                    <a:pt x="300" y="426"/>
                  </a:lnTo>
                  <a:lnTo>
                    <a:pt x="300" y="420"/>
                  </a:lnTo>
                  <a:lnTo>
                    <a:pt x="294" y="414"/>
                  </a:lnTo>
                  <a:lnTo>
                    <a:pt x="294" y="408"/>
                  </a:lnTo>
                  <a:lnTo>
                    <a:pt x="270" y="408"/>
                  </a:lnTo>
                  <a:lnTo>
                    <a:pt x="246" y="408"/>
                  </a:lnTo>
                  <a:lnTo>
                    <a:pt x="222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56" y="402"/>
                  </a:lnTo>
                  <a:lnTo>
                    <a:pt x="144" y="396"/>
                  </a:lnTo>
                  <a:lnTo>
                    <a:pt x="126" y="396"/>
                  </a:lnTo>
                  <a:lnTo>
                    <a:pt x="108" y="408"/>
                  </a:lnTo>
                  <a:lnTo>
                    <a:pt x="102" y="414"/>
                  </a:lnTo>
                  <a:lnTo>
                    <a:pt x="102" y="420"/>
                  </a:lnTo>
                  <a:lnTo>
                    <a:pt x="96" y="426"/>
                  </a:lnTo>
                  <a:lnTo>
                    <a:pt x="96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78" y="450"/>
                  </a:lnTo>
                  <a:lnTo>
                    <a:pt x="60" y="45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4" name="Freeform 29">
              <a:extLst>
                <a:ext uri="{FF2B5EF4-FFF2-40B4-BE49-F238E27FC236}">
                  <a16:creationId xmlns:a16="http://schemas.microsoft.com/office/drawing/2014/main" id="{B6AC2B96-1504-4082-8778-17130FDA021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401" y="3537698"/>
              <a:ext cx="559048" cy="641876"/>
            </a:xfrm>
            <a:custGeom>
              <a:avLst/>
              <a:gdLst>
                <a:gd name="T0" fmla="*/ 39 w 1056"/>
                <a:gd name="T1" fmla="*/ 94 h 1206"/>
                <a:gd name="T2" fmla="*/ 35 w 1056"/>
                <a:gd name="T3" fmla="*/ 103 h 1206"/>
                <a:gd name="T4" fmla="*/ 29 w 1056"/>
                <a:gd name="T5" fmla="*/ 99 h 1206"/>
                <a:gd name="T6" fmla="*/ 23 w 1056"/>
                <a:gd name="T7" fmla="*/ 94 h 1206"/>
                <a:gd name="T8" fmla="*/ 21 w 1056"/>
                <a:gd name="T9" fmla="*/ 91 h 1206"/>
                <a:gd name="T10" fmla="*/ 18 w 1056"/>
                <a:gd name="T11" fmla="*/ 89 h 1206"/>
                <a:gd name="T12" fmla="*/ 15 w 1056"/>
                <a:gd name="T13" fmla="*/ 86 h 1206"/>
                <a:gd name="T14" fmla="*/ 11 w 1056"/>
                <a:gd name="T15" fmla="*/ 83 h 1206"/>
                <a:gd name="T16" fmla="*/ 8 w 1056"/>
                <a:gd name="T17" fmla="*/ 81 h 1206"/>
                <a:gd name="T18" fmla="*/ 6 w 1056"/>
                <a:gd name="T19" fmla="*/ 79 h 1206"/>
                <a:gd name="T20" fmla="*/ 13 w 1056"/>
                <a:gd name="T21" fmla="*/ 78 h 1206"/>
                <a:gd name="T22" fmla="*/ 8 w 1056"/>
                <a:gd name="T23" fmla="*/ 75 h 1206"/>
                <a:gd name="T24" fmla="*/ 13 w 1056"/>
                <a:gd name="T25" fmla="*/ 71 h 1206"/>
                <a:gd name="T26" fmla="*/ 10 w 1056"/>
                <a:gd name="T27" fmla="*/ 63 h 1206"/>
                <a:gd name="T28" fmla="*/ 6 w 1056"/>
                <a:gd name="T29" fmla="*/ 66 h 1206"/>
                <a:gd name="T30" fmla="*/ 1 w 1056"/>
                <a:gd name="T31" fmla="*/ 63 h 1206"/>
                <a:gd name="T32" fmla="*/ 1 w 1056"/>
                <a:gd name="T33" fmla="*/ 59 h 1206"/>
                <a:gd name="T34" fmla="*/ 3 w 1056"/>
                <a:gd name="T35" fmla="*/ 57 h 1206"/>
                <a:gd name="T36" fmla="*/ 6 w 1056"/>
                <a:gd name="T37" fmla="*/ 55 h 1206"/>
                <a:gd name="T38" fmla="*/ 10 w 1056"/>
                <a:gd name="T39" fmla="*/ 51 h 1206"/>
                <a:gd name="T40" fmla="*/ 11 w 1056"/>
                <a:gd name="T41" fmla="*/ 46 h 1206"/>
                <a:gd name="T42" fmla="*/ 14 w 1056"/>
                <a:gd name="T43" fmla="*/ 42 h 1206"/>
                <a:gd name="T44" fmla="*/ 15 w 1056"/>
                <a:gd name="T45" fmla="*/ 36 h 1206"/>
                <a:gd name="T46" fmla="*/ 17 w 1056"/>
                <a:gd name="T47" fmla="*/ 34 h 1206"/>
                <a:gd name="T48" fmla="*/ 20 w 1056"/>
                <a:gd name="T49" fmla="*/ 31 h 1206"/>
                <a:gd name="T50" fmla="*/ 21 w 1056"/>
                <a:gd name="T51" fmla="*/ 29 h 1206"/>
                <a:gd name="T52" fmla="*/ 23 w 1056"/>
                <a:gd name="T53" fmla="*/ 22 h 1206"/>
                <a:gd name="T54" fmla="*/ 35 w 1056"/>
                <a:gd name="T55" fmla="*/ 22 h 1206"/>
                <a:gd name="T56" fmla="*/ 41 w 1056"/>
                <a:gd name="T57" fmla="*/ 18 h 1206"/>
                <a:gd name="T58" fmla="*/ 54 w 1056"/>
                <a:gd name="T59" fmla="*/ 20 h 1206"/>
                <a:gd name="T60" fmla="*/ 54 w 1056"/>
                <a:gd name="T61" fmla="*/ 26 h 1206"/>
                <a:gd name="T62" fmla="*/ 64 w 1056"/>
                <a:gd name="T63" fmla="*/ 25 h 1206"/>
                <a:gd name="T64" fmla="*/ 71 w 1056"/>
                <a:gd name="T65" fmla="*/ 10 h 1206"/>
                <a:gd name="T66" fmla="*/ 80 w 1056"/>
                <a:gd name="T67" fmla="*/ 1 h 1206"/>
                <a:gd name="T68" fmla="*/ 86 w 1056"/>
                <a:gd name="T69" fmla="*/ 2 h 1206"/>
                <a:gd name="T70" fmla="*/ 91 w 1056"/>
                <a:gd name="T71" fmla="*/ 13 h 1206"/>
                <a:gd name="T72" fmla="*/ 88 w 1056"/>
                <a:gd name="T73" fmla="*/ 17 h 1206"/>
                <a:gd name="T74" fmla="*/ 89 w 1056"/>
                <a:gd name="T75" fmla="*/ 21 h 1206"/>
                <a:gd name="T76" fmla="*/ 86 w 1056"/>
                <a:gd name="T77" fmla="*/ 25 h 1206"/>
                <a:gd name="T78" fmla="*/ 85 w 1056"/>
                <a:gd name="T79" fmla="*/ 31 h 1206"/>
                <a:gd name="T80" fmla="*/ 83 w 1056"/>
                <a:gd name="T81" fmla="*/ 36 h 1206"/>
                <a:gd name="T82" fmla="*/ 80 w 1056"/>
                <a:gd name="T83" fmla="*/ 42 h 1206"/>
                <a:gd name="T84" fmla="*/ 80 w 1056"/>
                <a:gd name="T85" fmla="*/ 47 h 1206"/>
                <a:gd name="T86" fmla="*/ 77 w 1056"/>
                <a:gd name="T87" fmla="*/ 55 h 1206"/>
                <a:gd name="T88" fmla="*/ 75 w 1056"/>
                <a:gd name="T89" fmla="*/ 57 h 1206"/>
                <a:gd name="T90" fmla="*/ 66 w 1056"/>
                <a:gd name="T91" fmla="*/ 57 h 1206"/>
                <a:gd name="T92" fmla="*/ 66 w 1056"/>
                <a:gd name="T93" fmla="*/ 51 h 1206"/>
                <a:gd name="T94" fmla="*/ 48 w 1056"/>
                <a:gd name="T95" fmla="*/ 50 h 1206"/>
                <a:gd name="T96" fmla="*/ 46 w 1056"/>
                <a:gd name="T97" fmla="*/ 55 h 1206"/>
                <a:gd name="T98" fmla="*/ 42 w 1056"/>
                <a:gd name="T99" fmla="*/ 59 h 1206"/>
                <a:gd name="T100" fmla="*/ 41 w 1056"/>
                <a:gd name="T101" fmla="*/ 62 h 1206"/>
                <a:gd name="T102" fmla="*/ 43 w 1056"/>
                <a:gd name="T103" fmla="*/ 67 h 1206"/>
                <a:gd name="T104" fmla="*/ 42 w 1056"/>
                <a:gd name="T105" fmla="*/ 72 h 1206"/>
                <a:gd name="T106" fmla="*/ 39 w 1056"/>
                <a:gd name="T107" fmla="*/ 77 h 1206"/>
                <a:gd name="T108" fmla="*/ 36 w 1056"/>
                <a:gd name="T109" fmla="*/ 80 h 1206"/>
                <a:gd name="T110" fmla="*/ 37 w 1056"/>
                <a:gd name="T111" fmla="*/ 83 h 1206"/>
                <a:gd name="T112" fmla="*/ 40 w 1056"/>
                <a:gd name="T113" fmla="*/ 87 h 1206"/>
                <a:gd name="T114" fmla="*/ 42 w 1056"/>
                <a:gd name="T115" fmla="*/ 89 h 12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56"/>
                <a:gd name="T175" fmla="*/ 0 h 1206"/>
                <a:gd name="T176" fmla="*/ 1056 w 1056"/>
                <a:gd name="T177" fmla="*/ 1206 h 12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56" h="1206">
                  <a:moveTo>
                    <a:pt x="492" y="1032"/>
                  </a:moveTo>
                  <a:lnTo>
                    <a:pt x="486" y="1038"/>
                  </a:lnTo>
                  <a:lnTo>
                    <a:pt x="486" y="1044"/>
                  </a:lnTo>
                  <a:lnTo>
                    <a:pt x="480" y="1044"/>
                  </a:lnTo>
                  <a:lnTo>
                    <a:pt x="474" y="1056"/>
                  </a:lnTo>
                  <a:lnTo>
                    <a:pt x="462" y="1068"/>
                  </a:lnTo>
                  <a:lnTo>
                    <a:pt x="456" y="1080"/>
                  </a:lnTo>
                  <a:lnTo>
                    <a:pt x="450" y="1080"/>
                  </a:lnTo>
                  <a:lnTo>
                    <a:pt x="450" y="1086"/>
                  </a:lnTo>
                  <a:lnTo>
                    <a:pt x="450" y="1092"/>
                  </a:lnTo>
                  <a:lnTo>
                    <a:pt x="444" y="1104"/>
                  </a:lnTo>
                  <a:lnTo>
                    <a:pt x="444" y="1116"/>
                  </a:lnTo>
                  <a:lnTo>
                    <a:pt x="438" y="1128"/>
                  </a:lnTo>
                  <a:lnTo>
                    <a:pt x="432" y="1134"/>
                  </a:lnTo>
                  <a:lnTo>
                    <a:pt x="432" y="1140"/>
                  </a:lnTo>
                  <a:lnTo>
                    <a:pt x="420" y="1152"/>
                  </a:lnTo>
                  <a:lnTo>
                    <a:pt x="420" y="1158"/>
                  </a:lnTo>
                  <a:lnTo>
                    <a:pt x="408" y="1182"/>
                  </a:lnTo>
                  <a:lnTo>
                    <a:pt x="396" y="1194"/>
                  </a:lnTo>
                  <a:lnTo>
                    <a:pt x="390" y="1206"/>
                  </a:lnTo>
                  <a:lnTo>
                    <a:pt x="390" y="1200"/>
                  </a:lnTo>
                  <a:lnTo>
                    <a:pt x="384" y="1194"/>
                  </a:lnTo>
                  <a:lnTo>
                    <a:pt x="378" y="1188"/>
                  </a:lnTo>
                  <a:lnTo>
                    <a:pt x="366" y="1176"/>
                  </a:lnTo>
                  <a:lnTo>
                    <a:pt x="366" y="1170"/>
                  </a:lnTo>
                  <a:lnTo>
                    <a:pt x="348" y="1152"/>
                  </a:lnTo>
                  <a:lnTo>
                    <a:pt x="336" y="1140"/>
                  </a:lnTo>
                  <a:lnTo>
                    <a:pt x="330" y="1134"/>
                  </a:lnTo>
                  <a:lnTo>
                    <a:pt x="324" y="1128"/>
                  </a:lnTo>
                  <a:lnTo>
                    <a:pt x="318" y="1122"/>
                  </a:lnTo>
                  <a:lnTo>
                    <a:pt x="312" y="1116"/>
                  </a:lnTo>
                  <a:lnTo>
                    <a:pt x="306" y="1110"/>
                  </a:lnTo>
                  <a:lnTo>
                    <a:pt x="300" y="1104"/>
                  </a:lnTo>
                  <a:lnTo>
                    <a:pt x="294" y="1098"/>
                  </a:lnTo>
                  <a:lnTo>
                    <a:pt x="276" y="1080"/>
                  </a:lnTo>
                  <a:lnTo>
                    <a:pt x="270" y="1080"/>
                  </a:lnTo>
                  <a:lnTo>
                    <a:pt x="270" y="1074"/>
                  </a:lnTo>
                  <a:lnTo>
                    <a:pt x="264" y="1068"/>
                  </a:lnTo>
                  <a:lnTo>
                    <a:pt x="258" y="1062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40" y="1050"/>
                  </a:lnTo>
                  <a:lnTo>
                    <a:pt x="234" y="1044"/>
                  </a:lnTo>
                  <a:lnTo>
                    <a:pt x="228" y="1044"/>
                  </a:lnTo>
                  <a:lnTo>
                    <a:pt x="222" y="1038"/>
                  </a:lnTo>
                  <a:lnTo>
                    <a:pt x="222" y="1032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6"/>
                  </a:lnTo>
                  <a:lnTo>
                    <a:pt x="204" y="1020"/>
                  </a:lnTo>
                  <a:lnTo>
                    <a:pt x="204" y="1014"/>
                  </a:lnTo>
                  <a:lnTo>
                    <a:pt x="198" y="1014"/>
                  </a:lnTo>
                  <a:lnTo>
                    <a:pt x="192" y="1014"/>
                  </a:lnTo>
                  <a:lnTo>
                    <a:pt x="192" y="1008"/>
                  </a:lnTo>
                  <a:lnTo>
                    <a:pt x="186" y="1008"/>
                  </a:lnTo>
                  <a:lnTo>
                    <a:pt x="186" y="1002"/>
                  </a:lnTo>
                  <a:lnTo>
                    <a:pt x="180" y="1002"/>
                  </a:lnTo>
                  <a:lnTo>
                    <a:pt x="174" y="996"/>
                  </a:lnTo>
                  <a:lnTo>
                    <a:pt x="168" y="996"/>
                  </a:lnTo>
                  <a:lnTo>
                    <a:pt x="168" y="990"/>
                  </a:lnTo>
                  <a:lnTo>
                    <a:pt x="162" y="990"/>
                  </a:lnTo>
                  <a:lnTo>
                    <a:pt x="162" y="984"/>
                  </a:lnTo>
                  <a:lnTo>
                    <a:pt x="150" y="978"/>
                  </a:lnTo>
                  <a:lnTo>
                    <a:pt x="144" y="972"/>
                  </a:lnTo>
                  <a:lnTo>
                    <a:pt x="138" y="972"/>
                  </a:lnTo>
                  <a:lnTo>
                    <a:pt x="138" y="966"/>
                  </a:lnTo>
                  <a:lnTo>
                    <a:pt x="132" y="966"/>
                  </a:lnTo>
                  <a:lnTo>
                    <a:pt x="126" y="960"/>
                  </a:lnTo>
                  <a:lnTo>
                    <a:pt x="126" y="954"/>
                  </a:lnTo>
                  <a:lnTo>
                    <a:pt x="120" y="954"/>
                  </a:lnTo>
                  <a:lnTo>
                    <a:pt x="114" y="948"/>
                  </a:lnTo>
                  <a:lnTo>
                    <a:pt x="108" y="948"/>
                  </a:lnTo>
                  <a:lnTo>
                    <a:pt x="108" y="942"/>
                  </a:lnTo>
                  <a:lnTo>
                    <a:pt x="102" y="942"/>
                  </a:lnTo>
                  <a:lnTo>
                    <a:pt x="96" y="942"/>
                  </a:lnTo>
                  <a:lnTo>
                    <a:pt x="96" y="936"/>
                  </a:lnTo>
                  <a:lnTo>
                    <a:pt x="90" y="936"/>
                  </a:lnTo>
                  <a:lnTo>
                    <a:pt x="90" y="930"/>
                  </a:lnTo>
                  <a:lnTo>
                    <a:pt x="84" y="930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18"/>
                  </a:lnTo>
                  <a:lnTo>
                    <a:pt x="66" y="918"/>
                  </a:lnTo>
                  <a:lnTo>
                    <a:pt x="66" y="912"/>
                  </a:lnTo>
                  <a:lnTo>
                    <a:pt x="66" y="906"/>
                  </a:lnTo>
                  <a:lnTo>
                    <a:pt x="72" y="906"/>
                  </a:lnTo>
                  <a:lnTo>
                    <a:pt x="84" y="906"/>
                  </a:lnTo>
                  <a:lnTo>
                    <a:pt x="90" y="906"/>
                  </a:lnTo>
                  <a:lnTo>
                    <a:pt x="120" y="930"/>
                  </a:lnTo>
                  <a:lnTo>
                    <a:pt x="126" y="936"/>
                  </a:lnTo>
                  <a:lnTo>
                    <a:pt x="138" y="936"/>
                  </a:lnTo>
                  <a:lnTo>
                    <a:pt x="138" y="930"/>
                  </a:lnTo>
                  <a:lnTo>
                    <a:pt x="144" y="930"/>
                  </a:lnTo>
                  <a:lnTo>
                    <a:pt x="144" y="924"/>
                  </a:lnTo>
                  <a:lnTo>
                    <a:pt x="150" y="900"/>
                  </a:lnTo>
                  <a:lnTo>
                    <a:pt x="138" y="894"/>
                  </a:lnTo>
                  <a:lnTo>
                    <a:pt x="126" y="894"/>
                  </a:lnTo>
                  <a:lnTo>
                    <a:pt x="108" y="888"/>
                  </a:lnTo>
                  <a:lnTo>
                    <a:pt x="84" y="882"/>
                  </a:lnTo>
                  <a:lnTo>
                    <a:pt x="72" y="882"/>
                  </a:lnTo>
                  <a:lnTo>
                    <a:pt x="72" y="876"/>
                  </a:lnTo>
                  <a:lnTo>
                    <a:pt x="78" y="870"/>
                  </a:lnTo>
                  <a:lnTo>
                    <a:pt x="90" y="870"/>
                  </a:lnTo>
                  <a:lnTo>
                    <a:pt x="96" y="870"/>
                  </a:lnTo>
                  <a:lnTo>
                    <a:pt x="102" y="870"/>
                  </a:lnTo>
                  <a:lnTo>
                    <a:pt x="114" y="870"/>
                  </a:lnTo>
                  <a:lnTo>
                    <a:pt x="120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34"/>
                  </a:lnTo>
                  <a:lnTo>
                    <a:pt x="132" y="828"/>
                  </a:lnTo>
                  <a:lnTo>
                    <a:pt x="132" y="816"/>
                  </a:lnTo>
                  <a:lnTo>
                    <a:pt x="150" y="816"/>
                  </a:lnTo>
                  <a:lnTo>
                    <a:pt x="150" y="804"/>
                  </a:lnTo>
                  <a:lnTo>
                    <a:pt x="144" y="798"/>
                  </a:lnTo>
                  <a:lnTo>
                    <a:pt x="156" y="762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32"/>
                  </a:lnTo>
                  <a:lnTo>
                    <a:pt x="144" y="726"/>
                  </a:lnTo>
                  <a:lnTo>
                    <a:pt x="132" y="726"/>
                  </a:lnTo>
                  <a:lnTo>
                    <a:pt x="120" y="732"/>
                  </a:lnTo>
                  <a:lnTo>
                    <a:pt x="114" y="744"/>
                  </a:lnTo>
                  <a:lnTo>
                    <a:pt x="108" y="750"/>
                  </a:lnTo>
                  <a:lnTo>
                    <a:pt x="96" y="768"/>
                  </a:lnTo>
                  <a:lnTo>
                    <a:pt x="96" y="774"/>
                  </a:lnTo>
                  <a:lnTo>
                    <a:pt x="90" y="780"/>
                  </a:lnTo>
                  <a:lnTo>
                    <a:pt x="84" y="804"/>
                  </a:lnTo>
                  <a:lnTo>
                    <a:pt x="72" y="774"/>
                  </a:lnTo>
                  <a:lnTo>
                    <a:pt x="72" y="768"/>
                  </a:lnTo>
                  <a:lnTo>
                    <a:pt x="66" y="762"/>
                  </a:lnTo>
                  <a:lnTo>
                    <a:pt x="60" y="750"/>
                  </a:lnTo>
                  <a:lnTo>
                    <a:pt x="54" y="750"/>
                  </a:lnTo>
                  <a:lnTo>
                    <a:pt x="48" y="750"/>
                  </a:lnTo>
                  <a:lnTo>
                    <a:pt x="42" y="750"/>
                  </a:lnTo>
                  <a:lnTo>
                    <a:pt x="30" y="744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12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2" y="702"/>
                  </a:lnTo>
                  <a:lnTo>
                    <a:pt x="18" y="696"/>
                  </a:lnTo>
                  <a:lnTo>
                    <a:pt x="12" y="690"/>
                  </a:lnTo>
                  <a:lnTo>
                    <a:pt x="12" y="684"/>
                  </a:lnTo>
                  <a:lnTo>
                    <a:pt x="12" y="678"/>
                  </a:lnTo>
                  <a:lnTo>
                    <a:pt x="12" y="672"/>
                  </a:lnTo>
                  <a:lnTo>
                    <a:pt x="18" y="672"/>
                  </a:lnTo>
                  <a:lnTo>
                    <a:pt x="18" y="666"/>
                  </a:lnTo>
                  <a:lnTo>
                    <a:pt x="24" y="666"/>
                  </a:lnTo>
                  <a:lnTo>
                    <a:pt x="24" y="660"/>
                  </a:lnTo>
                  <a:lnTo>
                    <a:pt x="30" y="660"/>
                  </a:lnTo>
                  <a:lnTo>
                    <a:pt x="30" y="654"/>
                  </a:lnTo>
                  <a:lnTo>
                    <a:pt x="36" y="654"/>
                  </a:lnTo>
                  <a:lnTo>
                    <a:pt x="36" y="648"/>
                  </a:lnTo>
                  <a:lnTo>
                    <a:pt x="42" y="648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60" y="630"/>
                  </a:lnTo>
                  <a:lnTo>
                    <a:pt x="66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78" y="624"/>
                  </a:lnTo>
                  <a:lnTo>
                    <a:pt x="84" y="618"/>
                  </a:lnTo>
                  <a:lnTo>
                    <a:pt x="84" y="612"/>
                  </a:lnTo>
                  <a:lnTo>
                    <a:pt x="90" y="612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20" y="588"/>
                  </a:lnTo>
                  <a:lnTo>
                    <a:pt x="120" y="582"/>
                  </a:lnTo>
                  <a:lnTo>
                    <a:pt x="120" y="576"/>
                  </a:lnTo>
                  <a:lnTo>
                    <a:pt x="120" y="570"/>
                  </a:lnTo>
                  <a:lnTo>
                    <a:pt x="126" y="564"/>
                  </a:lnTo>
                  <a:lnTo>
                    <a:pt x="126" y="558"/>
                  </a:lnTo>
                  <a:lnTo>
                    <a:pt x="126" y="552"/>
                  </a:lnTo>
                  <a:lnTo>
                    <a:pt x="126" y="546"/>
                  </a:lnTo>
                  <a:lnTo>
                    <a:pt x="126" y="534"/>
                  </a:lnTo>
                  <a:lnTo>
                    <a:pt x="126" y="516"/>
                  </a:lnTo>
                  <a:lnTo>
                    <a:pt x="126" y="510"/>
                  </a:lnTo>
                  <a:lnTo>
                    <a:pt x="126" y="504"/>
                  </a:lnTo>
                  <a:lnTo>
                    <a:pt x="126" y="498"/>
                  </a:lnTo>
                  <a:lnTo>
                    <a:pt x="132" y="498"/>
                  </a:lnTo>
                  <a:lnTo>
                    <a:pt x="132" y="492"/>
                  </a:lnTo>
                  <a:lnTo>
                    <a:pt x="138" y="492"/>
                  </a:lnTo>
                  <a:lnTo>
                    <a:pt x="144" y="486"/>
                  </a:lnTo>
                  <a:lnTo>
                    <a:pt x="156" y="480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6" y="462"/>
                  </a:lnTo>
                  <a:lnTo>
                    <a:pt x="156" y="456"/>
                  </a:lnTo>
                  <a:lnTo>
                    <a:pt x="156" y="450"/>
                  </a:lnTo>
                  <a:lnTo>
                    <a:pt x="162" y="438"/>
                  </a:lnTo>
                  <a:lnTo>
                    <a:pt x="168" y="426"/>
                  </a:lnTo>
                  <a:lnTo>
                    <a:pt x="174" y="426"/>
                  </a:lnTo>
                  <a:lnTo>
                    <a:pt x="174" y="420"/>
                  </a:lnTo>
                  <a:lnTo>
                    <a:pt x="180" y="414"/>
                  </a:lnTo>
                  <a:lnTo>
                    <a:pt x="186" y="420"/>
                  </a:lnTo>
                  <a:lnTo>
                    <a:pt x="186" y="414"/>
                  </a:lnTo>
                  <a:lnTo>
                    <a:pt x="180" y="408"/>
                  </a:lnTo>
                  <a:lnTo>
                    <a:pt x="180" y="402"/>
                  </a:lnTo>
                  <a:lnTo>
                    <a:pt x="186" y="402"/>
                  </a:lnTo>
                  <a:lnTo>
                    <a:pt x="192" y="402"/>
                  </a:lnTo>
                  <a:lnTo>
                    <a:pt x="192" y="396"/>
                  </a:lnTo>
                  <a:lnTo>
                    <a:pt x="198" y="396"/>
                  </a:lnTo>
                  <a:lnTo>
                    <a:pt x="204" y="396"/>
                  </a:lnTo>
                  <a:lnTo>
                    <a:pt x="210" y="396"/>
                  </a:lnTo>
                  <a:lnTo>
                    <a:pt x="210" y="390"/>
                  </a:lnTo>
                  <a:lnTo>
                    <a:pt x="216" y="390"/>
                  </a:lnTo>
                  <a:lnTo>
                    <a:pt x="216" y="384"/>
                  </a:lnTo>
                  <a:lnTo>
                    <a:pt x="222" y="384"/>
                  </a:lnTo>
                  <a:lnTo>
                    <a:pt x="222" y="378"/>
                  </a:lnTo>
                  <a:lnTo>
                    <a:pt x="228" y="372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0" y="348"/>
                  </a:lnTo>
                  <a:lnTo>
                    <a:pt x="234" y="342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46" y="330"/>
                  </a:lnTo>
                  <a:lnTo>
                    <a:pt x="246" y="324"/>
                  </a:lnTo>
                  <a:lnTo>
                    <a:pt x="234" y="318"/>
                  </a:lnTo>
                  <a:lnTo>
                    <a:pt x="234" y="312"/>
                  </a:lnTo>
                  <a:lnTo>
                    <a:pt x="234" y="300"/>
                  </a:lnTo>
                  <a:lnTo>
                    <a:pt x="240" y="288"/>
                  </a:lnTo>
                  <a:lnTo>
                    <a:pt x="240" y="276"/>
                  </a:lnTo>
                  <a:lnTo>
                    <a:pt x="246" y="258"/>
                  </a:lnTo>
                  <a:lnTo>
                    <a:pt x="258" y="252"/>
                  </a:lnTo>
                  <a:lnTo>
                    <a:pt x="270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294" y="252"/>
                  </a:lnTo>
                  <a:lnTo>
                    <a:pt x="300" y="258"/>
                  </a:lnTo>
                  <a:lnTo>
                    <a:pt x="318" y="252"/>
                  </a:lnTo>
                  <a:lnTo>
                    <a:pt x="366" y="252"/>
                  </a:lnTo>
                  <a:lnTo>
                    <a:pt x="378" y="252"/>
                  </a:lnTo>
                  <a:lnTo>
                    <a:pt x="396" y="252"/>
                  </a:lnTo>
                  <a:lnTo>
                    <a:pt x="408" y="252"/>
                  </a:lnTo>
                  <a:lnTo>
                    <a:pt x="408" y="246"/>
                  </a:lnTo>
                  <a:lnTo>
                    <a:pt x="414" y="240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20" y="216"/>
                  </a:lnTo>
                  <a:lnTo>
                    <a:pt x="426" y="210"/>
                  </a:lnTo>
                  <a:lnTo>
                    <a:pt x="444" y="198"/>
                  </a:lnTo>
                  <a:lnTo>
                    <a:pt x="462" y="198"/>
                  </a:lnTo>
                  <a:lnTo>
                    <a:pt x="474" y="204"/>
                  </a:lnTo>
                  <a:lnTo>
                    <a:pt x="498" y="198"/>
                  </a:lnTo>
                  <a:lnTo>
                    <a:pt x="498" y="204"/>
                  </a:lnTo>
                  <a:lnTo>
                    <a:pt x="540" y="210"/>
                  </a:lnTo>
                  <a:lnTo>
                    <a:pt x="564" y="210"/>
                  </a:lnTo>
                  <a:lnTo>
                    <a:pt x="588" y="210"/>
                  </a:lnTo>
                  <a:lnTo>
                    <a:pt x="612" y="210"/>
                  </a:lnTo>
                  <a:lnTo>
                    <a:pt x="612" y="216"/>
                  </a:lnTo>
                  <a:lnTo>
                    <a:pt x="618" y="222"/>
                  </a:lnTo>
                  <a:lnTo>
                    <a:pt x="618" y="228"/>
                  </a:lnTo>
                  <a:lnTo>
                    <a:pt x="624" y="240"/>
                  </a:lnTo>
                  <a:lnTo>
                    <a:pt x="624" y="246"/>
                  </a:lnTo>
                  <a:lnTo>
                    <a:pt x="630" y="252"/>
                  </a:lnTo>
                  <a:lnTo>
                    <a:pt x="630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0" y="282"/>
                  </a:lnTo>
                  <a:lnTo>
                    <a:pt x="630" y="288"/>
                  </a:lnTo>
                  <a:lnTo>
                    <a:pt x="630" y="300"/>
                  </a:lnTo>
                  <a:lnTo>
                    <a:pt x="630" y="306"/>
                  </a:lnTo>
                  <a:lnTo>
                    <a:pt x="636" y="306"/>
                  </a:lnTo>
                  <a:lnTo>
                    <a:pt x="642" y="306"/>
                  </a:lnTo>
                  <a:lnTo>
                    <a:pt x="648" y="312"/>
                  </a:lnTo>
                  <a:lnTo>
                    <a:pt x="666" y="312"/>
                  </a:lnTo>
                  <a:lnTo>
                    <a:pt x="696" y="306"/>
                  </a:lnTo>
                  <a:lnTo>
                    <a:pt x="732" y="300"/>
                  </a:lnTo>
                  <a:lnTo>
                    <a:pt x="732" y="288"/>
                  </a:lnTo>
                  <a:lnTo>
                    <a:pt x="738" y="288"/>
                  </a:lnTo>
                  <a:lnTo>
                    <a:pt x="744" y="276"/>
                  </a:lnTo>
                  <a:lnTo>
                    <a:pt x="762" y="246"/>
                  </a:lnTo>
                  <a:lnTo>
                    <a:pt x="768" y="228"/>
                  </a:lnTo>
                  <a:lnTo>
                    <a:pt x="792" y="210"/>
                  </a:lnTo>
                  <a:lnTo>
                    <a:pt x="804" y="186"/>
                  </a:lnTo>
                  <a:lnTo>
                    <a:pt x="804" y="156"/>
                  </a:lnTo>
                  <a:lnTo>
                    <a:pt x="804" y="138"/>
                  </a:lnTo>
                  <a:lnTo>
                    <a:pt x="810" y="126"/>
                  </a:lnTo>
                  <a:lnTo>
                    <a:pt x="816" y="120"/>
                  </a:lnTo>
                  <a:lnTo>
                    <a:pt x="828" y="102"/>
                  </a:lnTo>
                  <a:lnTo>
                    <a:pt x="834" y="96"/>
                  </a:lnTo>
                  <a:lnTo>
                    <a:pt x="846" y="102"/>
                  </a:lnTo>
                  <a:lnTo>
                    <a:pt x="852" y="96"/>
                  </a:lnTo>
                  <a:lnTo>
                    <a:pt x="858" y="72"/>
                  </a:lnTo>
                  <a:lnTo>
                    <a:pt x="864" y="60"/>
                  </a:lnTo>
                  <a:lnTo>
                    <a:pt x="882" y="48"/>
                  </a:lnTo>
                  <a:lnTo>
                    <a:pt x="906" y="36"/>
                  </a:lnTo>
                  <a:lnTo>
                    <a:pt x="918" y="12"/>
                  </a:lnTo>
                  <a:lnTo>
                    <a:pt x="924" y="0"/>
                  </a:lnTo>
                  <a:lnTo>
                    <a:pt x="930" y="6"/>
                  </a:lnTo>
                  <a:lnTo>
                    <a:pt x="942" y="12"/>
                  </a:lnTo>
                  <a:lnTo>
                    <a:pt x="948" y="12"/>
                  </a:lnTo>
                  <a:lnTo>
                    <a:pt x="954" y="18"/>
                  </a:lnTo>
                  <a:lnTo>
                    <a:pt x="966" y="18"/>
                  </a:lnTo>
                  <a:lnTo>
                    <a:pt x="972" y="18"/>
                  </a:lnTo>
                  <a:lnTo>
                    <a:pt x="984" y="18"/>
                  </a:lnTo>
                  <a:lnTo>
                    <a:pt x="990" y="18"/>
                  </a:lnTo>
                  <a:lnTo>
                    <a:pt x="1002" y="48"/>
                  </a:lnTo>
                  <a:lnTo>
                    <a:pt x="1008" y="78"/>
                  </a:lnTo>
                  <a:lnTo>
                    <a:pt x="1020" y="78"/>
                  </a:lnTo>
                  <a:lnTo>
                    <a:pt x="1020" y="90"/>
                  </a:lnTo>
                  <a:lnTo>
                    <a:pt x="1026" y="102"/>
                  </a:lnTo>
                  <a:lnTo>
                    <a:pt x="1044" y="120"/>
                  </a:lnTo>
                  <a:lnTo>
                    <a:pt x="1044" y="132"/>
                  </a:lnTo>
                  <a:lnTo>
                    <a:pt x="1056" y="150"/>
                  </a:lnTo>
                  <a:lnTo>
                    <a:pt x="1050" y="150"/>
                  </a:lnTo>
                  <a:lnTo>
                    <a:pt x="1044" y="156"/>
                  </a:lnTo>
                  <a:lnTo>
                    <a:pt x="1044" y="162"/>
                  </a:lnTo>
                  <a:lnTo>
                    <a:pt x="1038" y="162"/>
                  </a:lnTo>
                  <a:lnTo>
                    <a:pt x="1032" y="162"/>
                  </a:lnTo>
                  <a:lnTo>
                    <a:pt x="1026" y="168"/>
                  </a:lnTo>
                  <a:lnTo>
                    <a:pt x="1014" y="174"/>
                  </a:lnTo>
                  <a:lnTo>
                    <a:pt x="1014" y="186"/>
                  </a:lnTo>
                  <a:lnTo>
                    <a:pt x="1014" y="192"/>
                  </a:lnTo>
                  <a:lnTo>
                    <a:pt x="1014" y="198"/>
                  </a:lnTo>
                  <a:lnTo>
                    <a:pt x="1020" y="204"/>
                  </a:lnTo>
                  <a:lnTo>
                    <a:pt x="1026" y="204"/>
                  </a:lnTo>
                  <a:lnTo>
                    <a:pt x="1032" y="204"/>
                  </a:lnTo>
                  <a:lnTo>
                    <a:pt x="1032" y="210"/>
                  </a:lnTo>
                  <a:lnTo>
                    <a:pt x="1038" y="210"/>
                  </a:lnTo>
                  <a:lnTo>
                    <a:pt x="1032" y="216"/>
                  </a:lnTo>
                  <a:lnTo>
                    <a:pt x="1026" y="228"/>
                  </a:lnTo>
                  <a:lnTo>
                    <a:pt x="1026" y="234"/>
                  </a:lnTo>
                  <a:lnTo>
                    <a:pt x="1032" y="240"/>
                  </a:lnTo>
                  <a:lnTo>
                    <a:pt x="1032" y="246"/>
                  </a:lnTo>
                  <a:lnTo>
                    <a:pt x="1032" y="252"/>
                  </a:lnTo>
                  <a:lnTo>
                    <a:pt x="1032" y="258"/>
                  </a:lnTo>
                  <a:lnTo>
                    <a:pt x="1038" y="264"/>
                  </a:lnTo>
                  <a:lnTo>
                    <a:pt x="1032" y="276"/>
                  </a:lnTo>
                  <a:lnTo>
                    <a:pt x="1026" y="276"/>
                  </a:lnTo>
                  <a:lnTo>
                    <a:pt x="1020" y="276"/>
                  </a:lnTo>
                  <a:lnTo>
                    <a:pt x="996" y="282"/>
                  </a:lnTo>
                  <a:lnTo>
                    <a:pt x="996" y="288"/>
                  </a:lnTo>
                  <a:lnTo>
                    <a:pt x="996" y="294"/>
                  </a:lnTo>
                  <a:lnTo>
                    <a:pt x="996" y="300"/>
                  </a:lnTo>
                  <a:lnTo>
                    <a:pt x="996" y="306"/>
                  </a:lnTo>
                  <a:lnTo>
                    <a:pt x="984" y="324"/>
                  </a:lnTo>
                  <a:lnTo>
                    <a:pt x="984" y="330"/>
                  </a:lnTo>
                  <a:lnTo>
                    <a:pt x="984" y="336"/>
                  </a:lnTo>
                  <a:lnTo>
                    <a:pt x="978" y="336"/>
                  </a:lnTo>
                  <a:lnTo>
                    <a:pt x="978" y="342"/>
                  </a:lnTo>
                  <a:lnTo>
                    <a:pt x="984" y="360"/>
                  </a:lnTo>
                  <a:lnTo>
                    <a:pt x="978" y="366"/>
                  </a:lnTo>
                  <a:lnTo>
                    <a:pt x="978" y="372"/>
                  </a:lnTo>
                  <a:lnTo>
                    <a:pt x="972" y="372"/>
                  </a:lnTo>
                  <a:lnTo>
                    <a:pt x="972" y="378"/>
                  </a:lnTo>
                  <a:lnTo>
                    <a:pt x="972" y="384"/>
                  </a:lnTo>
                  <a:lnTo>
                    <a:pt x="972" y="390"/>
                  </a:lnTo>
                  <a:lnTo>
                    <a:pt x="966" y="402"/>
                  </a:lnTo>
                  <a:lnTo>
                    <a:pt x="960" y="414"/>
                  </a:lnTo>
                  <a:lnTo>
                    <a:pt x="954" y="420"/>
                  </a:lnTo>
                  <a:lnTo>
                    <a:pt x="948" y="426"/>
                  </a:lnTo>
                  <a:lnTo>
                    <a:pt x="948" y="438"/>
                  </a:lnTo>
                  <a:lnTo>
                    <a:pt x="942" y="444"/>
                  </a:lnTo>
                  <a:lnTo>
                    <a:pt x="936" y="450"/>
                  </a:lnTo>
                  <a:lnTo>
                    <a:pt x="930" y="456"/>
                  </a:lnTo>
                  <a:lnTo>
                    <a:pt x="924" y="462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18" y="522"/>
                  </a:lnTo>
                  <a:lnTo>
                    <a:pt x="918" y="528"/>
                  </a:lnTo>
                  <a:lnTo>
                    <a:pt x="924" y="534"/>
                  </a:lnTo>
                  <a:lnTo>
                    <a:pt x="924" y="540"/>
                  </a:lnTo>
                  <a:lnTo>
                    <a:pt x="924" y="546"/>
                  </a:lnTo>
                  <a:lnTo>
                    <a:pt x="918" y="546"/>
                  </a:lnTo>
                  <a:lnTo>
                    <a:pt x="918" y="552"/>
                  </a:lnTo>
                  <a:lnTo>
                    <a:pt x="912" y="546"/>
                  </a:lnTo>
                  <a:lnTo>
                    <a:pt x="912" y="552"/>
                  </a:lnTo>
                  <a:lnTo>
                    <a:pt x="912" y="570"/>
                  </a:lnTo>
                  <a:lnTo>
                    <a:pt x="906" y="588"/>
                  </a:lnTo>
                  <a:lnTo>
                    <a:pt x="900" y="606"/>
                  </a:lnTo>
                  <a:lnTo>
                    <a:pt x="906" y="624"/>
                  </a:lnTo>
                  <a:lnTo>
                    <a:pt x="900" y="624"/>
                  </a:lnTo>
                  <a:lnTo>
                    <a:pt x="894" y="630"/>
                  </a:lnTo>
                  <a:lnTo>
                    <a:pt x="888" y="630"/>
                  </a:lnTo>
                  <a:lnTo>
                    <a:pt x="882" y="630"/>
                  </a:lnTo>
                  <a:lnTo>
                    <a:pt x="882" y="636"/>
                  </a:lnTo>
                  <a:lnTo>
                    <a:pt x="876" y="642"/>
                  </a:lnTo>
                  <a:lnTo>
                    <a:pt x="870" y="642"/>
                  </a:lnTo>
                  <a:lnTo>
                    <a:pt x="870" y="648"/>
                  </a:lnTo>
                  <a:lnTo>
                    <a:pt x="870" y="654"/>
                  </a:lnTo>
                  <a:lnTo>
                    <a:pt x="864" y="654"/>
                  </a:lnTo>
                  <a:lnTo>
                    <a:pt x="864" y="660"/>
                  </a:lnTo>
                  <a:lnTo>
                    <a:pt x="846" y="666"/>
                  </a:lnTo>
                  <a:lnTo>
                    <a:pt x="828" y="672"/>
                  </a:lnTo>
                  <a:lnTo>
                    <a:pt x="816" y="660"/>
                  </a:lnTo>
                  <a:lnTo>
                    <a:pt x="810" y="660"/>
                  </a:lnTo>
                  <a:lnTo>
                    <a:pt x="798" y="666"/>
                  </a:lnTo>
                  <a:lnTo>
                    <a:pt x="786" y="666"/>
                  </a:lnTo>
                  <a:lnTo>
                    <a:pt x="780" y="672"/>
                  </a:lnTo>
                  <a:lnTo>
                    <a:pt x="768" y="678"/>
                  </a:lnTo>
                  <a:lnTo>
                    <a:pt x="762" y="660"/>
                  </a:lnTo>
                  <a:lnTo>
                    <a:pt x="762" y="654"/>
                  </a:lnTo>
                  <a:lnTo>
                    <a:pt x="756" y="636"/>
                  </a:lnTo>
                  <a:lnTo>
                    <a:pt x="762" y="624"/>
                  </a:lnTo>
                  <a:lnTo>
                    <a:pt x="756" y="606"/>
                  </a:lnTo>
                  <a:lnTo>
                    <a:pt x="756" y="600"/>
                  </a:lnTo>
                  <a:lnTo>
                    <a:pt x="762" y="594"/>
                  </a:lnTo>
                  <a:lnTo>
                    <a:pt x="768" y="600"/>
                  </a:lnTo>
                  <a:lnTo>
                    <a:pt x="768" y="594"/>
                  </a:lnTo>
                  <a:lnTo>
                    <a:pt x="768" y="588"/>
                  </a:lnTo>
                  <a:lnTo>
                    <a:pt x="774" y="582"/>
                  </a:lnTo>
                  <a:lnTo>
                    <a:pt x="768" y="576"/>
                  </a:lnTo>
                  <a:lnTo>
                    <a:pt x="762" y="576"/>
                  </a:lnTo>
                  <a:lnTo>
                    <a:pt x="756" y="576"/>
                  </a:lnTo>
                  <a:lnTo>
                    <a:pt x="690" y="576"/>
                  </a:lnTo>
                  <a:lnTo>
                    <a:pt x="624" y="570"/>
                  </a:lnTo>
                  <a:lnTo>
                    <a:pt x="600" y="564"/>
                  </a:lnTo>
                  <a:lnTo>
                    <a:pt x="576" y="564"/>
                  </a:lnTo>
                  <a:lnTo>
                    <a:pt x="558" y="570"/>
                  </a:lnTo>
                  <a:lnTo>
                    <a:pt x="552" y="576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46" y="594"/>
                  </a:lnTo>
                  <a:lnTo>
                    <a:pt x="546" y="600"/>
                  </a:lnTo>
                  <a:lnTo>
                    <a:pt x="540" y="606"/>
                  </a:lnTo>
                  <a:lnTo>
                    <a:pt x="534" y="618"/>
                  </a:lnTo>
                  <a:lnTo>
                    <a:pt x="534" y="624"/>
                  </a:lnTo>
                  <a:lnTo>
                    <a:pt x="534" y="630"/>
                  </a:lnTo>
                  <a:lnTo>
                    <a:pt x="534" y="636"/>
                  </a:lnTo>
                  <a:lnTo>
                    <a:pt x="528" y="636"/>
                  </a:lnTo>
                  <a:lnTo>
                    <a:pt x="516" y="642"/>
                  </a:lnTo>
                  <a:lnTo>
                    <a:pt x="516" y="648"/>
                  </a:lnTo>
                  <a:lnTo>
                    <a:pt x="510" y="648"/>
                  </a:lnTo>
                  <a:lnTo>
                    <a:pt x="504" y="654"/>
                  </a:lnTo>
                  <a:lnTo>
                    <a:pt x="492" y="666"/>
                  </a:lnTo>
                  <a:lnTo>
                    <a:pt x="492" y="672"/>
                  </a:lnTo>
                  <a:lnTo>
                    <a:pt x="492" y="684"/>
                  </a:lnTo>
                  <a:lnTo>
                    <a:pt x="486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92" y="702"/>
                  </a:lnTo>
                  <a:lnTo>
                    <a:pt x="486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74" y="720"/>
                  </a:lnTo>
                  <a:lnTo>
                    <a:pt x="480" y="726"/>
                  </a:lnTo>
                  <a:lnTo>
                    <a:pt x="474" y="726"/>
                  </a:lnTo>
                  <a:lnTo>
                    <a:pt x="474" y="738"/>
                  </a:lnTo>
                  <a:lnTo>
                    <a:pt x="474" y="744"/>
                  </a:lnTo>
                  <a:lnTo>
                    <a:pt x="474" y="750"/>
                  </a:lnTo>
                  <a:lnTo>
                    <a:pt x="480" y="750"/>
                  </a:lnTo>
                  <a:lnTo>
                    <a:pt x="480" y="756"/>
                  </a:lnTo>
                  <a:lnTo>
                    <a:pt x="492" y="762"/>
                  </a:lnTo>
                  <a:lnTo>
                    <a:pt x="498" y="774"/>
                  </a:lnTo>
                  <a:lnTo>
                    <a:pt x="498" y="780"/>
                  </a:lnTo>
                  <a:lnTo>
                    <a:pt x="504" y="786"/>
                  </a:lnTo>
                  <a:lnTo>
                    <a:pt x="510" y="792"/>
                  </a:lnTo>
                  <a:lnTo>
                    <a:pt x="504" y="798"/>
                  </a:lnTo>
                  <a:lnTo>
                    <a:pt x="504" y="804"/>
                  </a:lnTo>
                  <a:lnTo>
                    <a:pt x="504" y="810"/>
                  </a:lnTo>
                  <a:lnTo>
                    <a:pt x="498" y="822"/>
                  </a:lnTo>
                  <a:lnTo>
                    <a:pt x="492" y="828"/>
                  </a:lnTo>
                  <a:lnTo>
                    <a:pt x="492" y="834"/>
                  </a:lnTo>
                  <a:lnTo>
                    <a:pt x="486" y="840"/>
                  </a:lnTo>
                  <a:lnTo>
                    <a:pt x="480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74" y="858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876"/>
                  </a:lnTo>
                  <a:lnTo>
                    <a:pt x="456" y="894"/>
                  </a:lnTo>
                  <a:lnTo>
                    <a:pt x="450" y="894"/>
                  </a:lnTo>
                  <a:lnTo>
                    <a:pt x="444" y="900"/>
                  </a:lnTo>
                  <a:lnTo>
                    <a:pt x="444" y="894"/>
                  </a:lnTo>
                  <a:lnTo>
                    <a:pt x="438" y="894"/>
                  </a:lnTo>
                  <a:lnTo>
                    <a:pt x="432" y="900"/>
                  </a:lnTo>
                  <a:lnTo>
                    <a:pt x="432" y="906"/>
                  </a:lnTo>
                  <a:lnTo>
                    <a:pt x="420" y="906"/>
                  </a:lnTo>
                  <a:lnTo>
                    <a:pt x="420" y="912"/>
                  </a:lnTo>
                  <a:lnTo>
                    <a:pt x="420" y="918"/>
                  </a:lnTo>
                  <a:lnTo>
                    <a:pt x="426" y="918"/>
                  </a:lnTo>
                  <a:lnTo>
                    <a:pt x="426" y="924"/>
                  </a:lnTo>
                  <a:lnTo>
                    <a:pt x="426" y="930"/>
                  </a:lnTo>
                  <a:lnTo>
                    <a:pt x="420" y="930"/>
                  </a:lnTo>
                  <a:lnTo>
                    <a:pt x="414" y="936"/>
                  </a:lnTo>
                  <a:lnTo>
                    <a:pt x="414" y="942"/>
                  </a:lnTo>
                  <a:lnTo>
                    <a:pt x="414" y="948"/>
                  </a:lnTo>
                  <a:lnTo>
                    <a:pt x="414" y="954"/>
                  </a:lnTo>
                  <a:lnTo>
                    <a:pt x="426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44" y="972"/>
                  </a:lnTo>
                  <a:lnTo>
                    <a:pt x="444" y="978"/>
                  </a:lnTo>
                  <a:lnTo>
                    <a:pt x="450" y="978"/>
                  </a:lnTo>
                  <a:lnTo>
                    <a:pt x="450" y="984"/>
                  </a:lnTo>
                  <a:lnTo>
                    <a:pt x="456" y="990"/>
                  </a:lnTo>
                  <a:lnTo>
                    <a:pt x="456" y="996"/>
                  </a:lnTo>
                  <a:lnTo>
                    <a:pt x="462" y="1008"/>
                  </a:lnTo>
                  <a:lnTo>
                    <a:pt x="468" y="1008"/>
                  </a:lnTo>
                  <a:lnTo>
                    <a:pt x="468" y="1002"/>
                  </a:lnTo>
                  <a:lnTo>
                    <a:pt x="474" y="1008"/>
                  </a:lnTo>
                  <a:lnTo>
                    <a:pt x="480" y="1002"/>
                  </a:lnTo>
                  <a:lnTo>
                    <a:pt x="486" y="1008"/>
                  </a:lnTo>
                  <a:lnTo>
                    <a:pt x="486" y="1014"/>
                  </a:lnTo>
                  <a:lnTo>
                    <a:pt x="492" y="1014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86" y="1026"/>
                  </a:lnTo>
                  <a:lnTo>
                    <a:pt x="492" y="1026"/>
                  </a:lnTo>
                  <a:lnTo>
                    <a:pt x="486" y="1026"/>
                  </a:lnTo>
                  <a:lnTo>
                    <a:pt x="492" y="103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5" name="Freeform 30">
              <a:extLst>
                <a:ext uri="{FF2B5EF4-FFF2-40B4-BE49-F238E27FC236}">
                  <a16:creationId xmlns:a16="http://schemas.microsoft.com/office/drawing/2014/main" id="{85C7B827-0C1A-4D72-AEBD-F01CFE7EC12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3645" y="3904484"/>
              <a:ext cx="559048" cy="111825"/>
            </a:xfrm>
            <a:custGeom>
              <a:avLst/>
              <a:gdLst>
                <a:gd name="T0" fmla="*/ 69 w 1056"/>
                <a:gd name="T1" fmla="*/ 7 h 210"/>
                <a:gd name="T2" fmla="*/ 63 w 1056"/>
                <a:gd name="T3" fmla="*/ 5 h 210"/>
                <a:gd name="T4" fmla="*/ 57 w 1056"/>
                <a:gd name="T5" fmla="*/ 5 h 210"/>
                <a:gd name="T6" fmla="*/ 54 w 1056"/>
                <a:gd name="T7" fmla="*/ 6 h 210"/>
                <a:gd name="T8" fmla="*/ 51 w 1056"/>
                <a:gd name="T9" fmla="*/ 7 h 210"/>
                <a:gd name="T10" fmla="*/ 46 w 1056"/>
                <a:gd name="T11" fmla="*/ 9 h 210"/>
                <a:gd name="T12" fmla="*/ 42 w 1056"/>
                <a:gd name="T13" fmla="*/ 8 h 210"/>
                <a:gd name="T14" fmla="*/ 42 w 1056"/>
                <a:gd name="T15" fmla="*/ 5 h 210"/>
                <a:gd name="T16" fmla="*/ 41 w 1056"/>
                <a:gd name="T17" fmla="*/ 7 h 210"/>
                <a:gd name="T18" fmla="*/ 38 w 1056"/>
                <a:gd name="T19" fmla="*/ 10 h 210"/>
                <a:gd name="T20" fmla="*/ 37 w 1056"/>
                <a:gd name="T21" fmla="*/ 12 h 210"/>
                <a:gd name="T22" fmla="*/ 37 w 1056"/>
                <a:gd name="T23" fmla="*/ 15 h 210"/>
                <a:gd name="T24" fmla="*/ 37 w 1056"/>
                <a:gd name="T25" fmla="*/ 16 h 210"/>
                <a:gd name="T26" fmla="*/ 38 w 1056"/>
                <a:gd name="T27" fmla="*/ 16 h 210"/>
                <a:gd name="T28" fmla="*/ 34 w 1056"/>
                <a:gd name="T29" fmla="*/ 16 h 210"/>
                <a:gd name="T30" fmla="*/ 26 w 1056"/>
                <a:gd name="T31" fmla="*/ 16 h 210"/>
                <a:gd name="T32" fmla="*/ 20 w 1056"/>
                <a:gd name="T33" fmla="*/ 17 h 210"/>
                <a:gd name="T34" fmla="*/ 13 w 1056"/>
                <a:gd name="T35" fmla="*/ 17 h 210"/>
                <a:gd name="T36" fmla="*/ 6 w 1056"/>
                <a:gd name="T37" fmla="*/ 17 h 210"/>
                <a:gd name="T38" fmla="*/ 1 w 1056"/>
                <a:gd name="T39" fmla="*/ 18 h 210"/>
                <a:gd name="T40" fmla="*/ 3 w 1056"/>
                <a:gd name="T41" fmla="*/ 14 h 210"/>
                <a:gd name="T42" fmla="*/ 8 w 1056"/>
                <a:gd name="T43" fmla="*/ 15 h 210"/>
                <a:gd name="T44" fmla="*/ 11 w 1056"/>
                <a:gd name="T45" fmla="*/ 12 h 210"/>
                <a:gd name="T46" fmla="*/ 26 w 1056"/>
                <a:gd name="T47" fmla="*/ 10 h 210"/>
                <a:gd name="T48" fmla="*/ 29 w 1056"/>
                <a:gd name="T49" fmla="*/ 5 h 210"/>
                <a:gd name="T50" fmla="*/ 34 w 1056"/>
                <a:gd name="T51" fmla="*/ 1 h 210"/>
                <a:gd name="T52" fmla="*/ 41 w 1056"/>
                <a:gd name="T53" fmla="*/ 3 h 210"/>
                <a:gd name="T54" fmla="*/ 73 w 1056"/>
                <a:gd name="T55" fmla="*/ 1 h 210"/>
                <a:gd name="T56" fmla="*/ 75 w 1056"/>
                <a:gd name="T57" fmla="*/ 4 h 210"/>
                <a:gd name="T58" fmla="*/ 85 w 1056"/>
                <a:gd name="T59" fmla="*/ 15 h 210"/>
                <a:gd name="T60" fmla="*/ 91 w 1056"/>
                <a:gd name="T61" fmla="*/ 18 h 210"/>
                <a:gd name="T62" fmla="*/ 85 w 1056"/>
                <a:gd name="T63" fmla="*/ 18 h 210"/>
                <a:gd name="T64" fmla="*/ 79 w 1056"/>
                <a:gd name="T65" fmla="*/ 16 h 210"/>
                <a:gd name="T66" fmla="*/ 74 w 1056"/>
                <a:gd name="T67" fmla="*/ 16 h 210"/>
                <a:gd name="T68" fmla="*/ 69 w 1056"/>
                <a:gd name="T69" fmla="*/ 15 h 210"/>
                <a:gd name="T70" fmla="*/ 65 w 1056"/>
                <a:gd name="T71" fmla="*/ 14 h 210"/>
                <a:gd name="T72" fmla="*/ 59 w 1056"/>
                <a:gd name="T73" fmla="*/ 15 h 210"/>
                <a:gd name="T74" fmla="*/ 54 w 1056"/>
                <a:gd name="T75" fmla="*/ 15 h 210"/>
                <a:gd name="T76" fmla="*/ 49 w 1056"/>
                <a:gd name="T77" fmla="*/ 15 h 210"/>
                <a:gd name="T78" fmla="*/ 42 w 1056"/>
                <a:gd name="T79" fmla="*/ 15 h 210"/>
                <a:gd name="T80" fmla="*/ 38 w 1056"/>
                <a:gd name="T81" fmla="*/ 16 h 210"/>
                <a:gd name="T82" fmla="*/ 41 w 1056"/>
                <a:gd name="T83" fmla="*/ 14 h 210"/>
                <a:gd name="T84" fmla="*/ 42 w 1056"/>
                <a:gd name="T85" fmla="*/ 13 h 210"/>
                <a:gd name="T86" fmla="*/ 45 w 1056"/>
                <a:gd name="T87" fmla="*/ 13 h 210"/>
                <a:gd name="T88" fmla="*/ 48 w 1056"/>
                <a:gd name="T89" fmla="*/ 12 h 210"/>
                <a:gd name="T90" fmla="*/ 51 w 1056"/>
                <a:gd name="T91" fmla="*/ 11 h 210"/>
                <a:gd name="T92" fmla="*/ 54 w 1056"/>
                <a:gd name="T93" fmla="*/ 9 h 210"/>
                <a:gd name="T94" fmla="*/ 57 w 1056"/>
                <a:gd name="T95" fmla="*/ 8 h 210"/>
                <a:gd name="T96" fmla="*/ 60 w 1056"/>
                <a:gd name="T97" fmla="*/ 5 h 210"/>
                <a:gd name="T98" fmla="*/ 65 w 1056"/>
                <a:gd name="T99" fmla="*/ 5 h 210"/>
                <a:gd name="T100" fmla="*/ 72 w 1056"/>
                <a:gd name="T101" fmla="*/ 7 h 210"/>
                <a:gd name="T102" fmla="*/ 77 w 1056"/>
                <a:gd name="T103" fmla="*/ 11 h 210"/>
                <a:gd name="T104" fmla="*/ 69 w 1056"/>
                <a:gd name="T105" fmla="*/ 10 h 210"/>
                <a:gd name="T106" fmla="*/ 72 w 1056"/>
                <a:gd name="T107" fmla="*/ 12 h 210"/>
                <a:gd name="T108" fmla="*/ 78 w 1056"/>
                <a:gd name="T109" fmla="*/ 15 h 210"/>
                <a:gd name="T110" fmla="*/ 84 w 1056"/>
                <a:gd name="T111" fmla="*/ 14 h 210"/>
                <a:gd name="T112" fmla="*/ 84 w 1056"/>
                <a:gd name="T113" fmla="*/ 14 h 210"/>
                <a:gd name="T114" fmla="*/ 78 w 1056"/>
                <a:gd name="T115" fmla="*/ 13 h 210"/>
                <a:gd name="T116" fmla="*/ 76 w 1056"/>
                <a:gd name="T117" fmla="*/ 14 h 210"/>
                <a:gd name="T118" fmla="*/ 38 w 1056"/>
                <a:gd name="T119" fmla="*/ 12 h 210"/>
                <a:gd name="T120" fmla="*/ 41 w 1056"/>
                <a:gd name="T121" fmla="*/ 12 h 210"/>
                <a:gd name="T122" fmla="*/ 40 w 1056"/>
                <a:gd name="T123" fmla="*/ 14 h 2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6"/>
                <a:gd name="T187" fmla="*/ 0 h 210"/>
                <a:gd name="T188" fmla="*/ 1056 w 1056"/>
                <a:gd name="T189" fmla="*/ 210 h 21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6" h="210">
                  <a:moveTo>
                    <a:pt x="870" y="90"/>
                  </a:moveTo>
                  <a:lnTo>
                    <a:pt x="864" y="90"/>
                  </a:lnTo>
                  <a:lnTo>
                    <a:pt x="852" y="84"/>
                  </a:lnTo>
                  <a:lnTo>
                    <a:pt x="846" y="84"/>
                  </a:lnTo>
                  <a:lnTo>
                    <a:pt x="846" y="78"/>
                  </a:lnTo>
                  <a:lnTo>
                    <a:pt x="840" y="78"/>
                  </a:lnTo>
                  <a:lnTo>
                    <a:pt x="834" y="78"/>
                  </a:lnTo>
                  <a:lnTo>
                    <a:pt x="834" y="72"/>
                  </a:lnTo>
                  <a:lnTo>
                    <a:pt x="804" y="78"/>
                  </a:lnTo>
                  <a:lnTo>
                    <a:pt x="798" y="78"/>
                  </a:lnTo>
                  <a:lnTo>
                    <a:pt x="792" y="72"/>
                  </a:lnTo>
                  <a:lnTo>
                    <a:pt x="780" y="60"/>
                  </a:lnTo>
                  <a:lnTo>
                    <a:pt x="768" y="54"/>
                  </a:lnTo>
                  <a:lnTo>
                    <a:pt x="756" y="54"/>
                  </a:lnTo>
                  <a:lnTo>
                    <a:pt x="750" y="54"/>
                  </a:lnTo>
                  <a:lnTo>
                    <a:pt x="750" y="48"/>
                  </a:lnTo>
                  <a:lnTo>
                    <a:pt x="744" y="48"/>
                  </a:lnTo>
                  <a:lnTo>
                    <a:pt x="738" y="48"/>
                  </a:lnTo>
                  <a:lnTo>
                    <a:pt x="732" y="48"/>
                  </a:lnTo>
                  <a:lnTo>
                    <a:pt x="732" y="54"/>
                  </a:lnTo>
                  <a:lnTo>
                    <a:pt x="726" y="48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48"/>
                  </a:lnTo>
                  <a:lnTo>
                    <a:pt x="702" y="48"/>
                  </a:lnTo>
                  <a:lnTo>
                    <a:pt x="696" y="48"/>
                  </a:lnTo>
                  <a:lnTo>
                    <a:pt x="684" y="48"/>
                  </a:lnTo>
                  <a:lnTo>
                    <a:pt x="678" y="48"/>
                  </a:lnTo>
                  <a:lnTo>
                    <a:pt x="672" y="48"/>
                  </a:lnTo>
                  <a:lnTo>
                    <a:pt x="666" y="54"/>
                  </a:lnTo>
                  <a:lnTo>
                    <a:pt x="660" y="54"/>
                  </a:lnTo>
                  <a:lnTo>
                    <a:pt x="660" y="48"/>
                  </a:lnTo>
                  <a:lnTo>
                    <a:pt x="654" y="48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42" y="54"/>
                  </a:lnTo>
                  <a:lnTo>
                    <a:pt x="63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30" y="66"/>
                  </a:lnTo>
                  <a:lnTo>
                    <a:pt x="624" y="66"/>
                  </a:lnTo>
                  <a:lnTo>
                    <a:pt x="618" y="66"/>
                  </a:lnTo>
                  <a:lnTo>
                    <a:pt x="618" y="72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6" y="84"/>
                  </a:lnTo>
                  <a:lnTo>
                    <a:pt x="600" y="84"/>
                  </a:lnTo>
                  <a:lnTo>
                    <a:pt x="594" y="90"/>
                  </a:lnTo>
                  <a:lnTo>
                    <a:pt x="588" y="90"/>
                  </a:lnTo>
                  <a:lnTo>
                    <a:pt x="588" y="84"/>
                  </a:lnTo>
                  <a:lnTo>
                    <a:pt x="582" y="84"/>
                  </a:lnTo>
                  <a:lnTo>
                    <a:pt x="576" y="84"/>
                  </a:lnTo>
                  <a:lnTo>
                    <a:pt x="570" y="84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58" y="96"/>
                  </a:lnTo>
                  <a:lnTo>
                    <a:pt x="552" y="96"/>
                  </a:lnTo>
                  <a:lnTo>
                    <a:pt x="546" y="102"/>
                  </a:lnTo>
                  <a:lnTo>
                    <a:pt x="540" y="102"/>
                  </a:lnTo>
                  <a:lnTo>
                    <a:pt x="534" y="102"/>
                  </a:lnTo>
                  <a:lnTo>
                    <a:pt x="528" y="102"/>
                  </a:lnTo>
                  <a:lnTo>
                    <a:pt x="528" y="108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16" y="102"/>
                  </a:lnTo>
                  <a:lnTo>
                    <a:pt x="510" y="102"/>
                  </a:lnTo>
                  <a:lnTo>
                    <a:pt x="504" y="102"/>
                  </a:lnTo>
                  <a:lnTo>
                    <a:pt x="498" y="102"/>
                  </a:lnTo>
                  <a:lnTo>
                    <a:pt x="498" y="96"/>
                  </a:lnTo>
                  <a:lnTo>
                    <a:pt x="492" y="96"/>
                  </a:lnTo>
                  <a:lnTo>
                    <a:pt x="492" y="90"/>
                  </a:lnTo>
                  <a:lnTo>
                    <a:pt x="492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498" y="66"/>
                  </a:lnTo>
                  <a:lnTo>
                    <a:pt x="504" y="60"/>
                  </a:lnTo>
                  <a:lnTo>
                    <a:pt x="498" y="60"/>
                  </a:lnTo>
                  <a:lnTo>
                    <a:pt x="498" y="54"/>
                  </a:lnTo>
                  <a:lnTo>
                    <a:pt x="492" y="54"/>
                  </a:lnTo>
                  <a:lnTo>
                    <a:pt x="492" y="60"/>
                  </a:lnTo>
                  <a:lnTo>
                    <a:pt x="486" y="60"/>
                  </a:lnTo>
                  <a:lnTo>
                    <a:pt x="486" y="66"/>
                  </a:lnTo>
                  <a:lnTo>
                    <a:pt x="480" y="66"/>
                  </a:lnTo>
                  <a:lnTo>
                    <a:pt x="474" y="72"/>
                  </a:lnTo>
                  <a:lnTo>
                    <a:pt x="474" y="66"/>
                  </a:lnTo>
                  <a:lnTo>
                    <a:pt x="474" y="72"/>
                  </a:lnTo>
                  <a:lnTo>
                    <a:pt x="468" y="72"/>
                  </a:lnTo>
                  <a:lnTo>
                    <a:pt x="468" y="78"/>
                  </a:lnTo>
                  <a:lnTo>
                    <a:pt x="468" y="84"/>
                  </a:lnTo>
                  <a:lnTo>
                    <a:pt x="462" y="90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0" y="84"/>
                  </a:lnTo>
                  <a:lnTo>
                    <a:pt x="450" y="90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44" y="102"/>
                  </a:lnTo>
                  <a:lnTo>
                    <a:pt x="444" y="108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38" y="126"/>
                  </a:lnTo>
                  <a:lnTo>
                    <a:pt x="438" y="132"/>
                  </a:lnTo>
                  <a:lnTo>
                    <a:pt x="438" y="138"/>
                  </a:lnTo>
                  <a:lnTo>
                    <a:pt x="438" y="144"/>
                  </a:lnTo>
                  <a:lnTo>
                    <a:pt x="432" y="144"/>
                  </a:lnTo>
                  <a:lnTo>
                    <a:pt x="432" y="150"/>
                  </a:lnTo>
                  <a:lnTo>
                    <a:pt x="432" y="144"/>
                  </a:lnTo>
                  <a:lnTo>
                    <a:pt x="426" y="144"/>
                  </a:lnTo>
                  <a:lnTo>
                    <a:pt x="426" y="150"/>
                  </a:lnTo>
                  <a:lnTo>
                    <a:pt x="426" y="156"/>
                  </a:lnTo>
                  <a:lnTo>
                    <a:pt x="432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2"/>
                  </a:lnTo>
                  <a:lnTo>
                    <a:pt x="432" y="168"/>
                  </a:lnTo>
                  <a:lnTo>
                    <a:pt x="426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44" y="168"/>
                  </a:lnTo>
                  <a:lnTo>
                    <a:pt x="444" y="174"/>
                  </a:lnTo>
                  <a:lnTo>
                    <a:pt x="444" y="180"/>
                  </a:lnTo>
                  <a:lnTo>
                    <a:pt x="444" y="186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2" y="192"/>
                  </a:lnTo>
                  <a:lnTo>
                    <a:pt x="426" y="192"/>
                  </a:lnTo>
                  <a:lnTo>
                    <a:pt x="420" y="186"/>
                  </a:lnTo>
                  <a:lnTo>
                    <a:pt x="414" y="186"/>
                  </a:lnTo>
                  <a:lnTo>
                    <a:pt x="408" y="186"/>
                  </a:lnTo>
                  <a:lnTo>
                    <a:pt x="402" y="186"/>
                  </a:lnTo>
                  <a:lnTo>
                    <a:pt x="396" y="186"/>
                  </a:lnTo>
                  <a:lnTo>
                    <a:pt x="390" y="186"/>
                  </a:lnTo>
                  <a:lnTo>
                    <a:pt x="384" y="186"/>
                  </a:lnTo>
                  <a:lnTo>
                    <a:pt x="378" y="186"/>
                  </a:lnTo>
                  <a:lnTo>
                    <a:pt x="372" y="186"/>
                  </a:lnTo>
                  <a:lnTo>
                    <a:pt x="354" y="186"/>
                  </a:lnTo>
                  <a:lnTo>
                    <a:pt x="342" y="186"/>
                  </a:lnTo>
                  <a:lnTo>
                    <a:pt x="324" y="186"/>
                  </a:lnTo>
                  <a:lnTo>
                    <a:pt x="312" y="186"/>
                  </a:lnTo>
                  <a:lnTo>
                    <a:pt x="306" y="186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82" y="186"/>
                  </a:lnTo>
                  <a:lnTo>
                    <a:pt x="270" y="186"/>
                  </a:lnTo>
                  <a:lnTo>
                    <a:pt x="264" y="186"/>
                  </a:lnTo>
                  <a:lnTo>
                    <a:pt x="258" y="192"/>
                  </a:lnTo>
                  <a:lnTo>
                    <a:pt x="258" y="186"/>
                  </a:lnTo>
                  <a:lnTo>
                    <a:pt x="246" y="186"/>
                  </a:lnTo>
                  <a:lnTo>
                    <a:pt x="240" y="186"/>
                  </a:lnTo>
                  <a:lnTo>
                    <a:pt x="234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2"/>
                  </a:lnTo>
                  <a:lnTo>
                    <a:pt x="204" y="192"/>
                  </a:lnTo>
                  <a:lnTo>
                    <a:pt x="198" y="192"/>
                  </a:lnTo>
                  <a:lnTo>
                    <a:pt x="192" y="192"/>
                  </a:lnTo>
                  <a:lnTo>
                    <a:pt x="180" y="192"/>
                  </a:lnTo>
                  <a:lnTo>
                    <a:pt x="168" y="192"/>
                  </a:lnTo>
                  <a:lnTo>
                    <a:pt x="162" y="192"/>
                  </a:lnTo>
                  <a:lnTo>
                    <a:pt x="150" y="192"/>
                  </a:lnTo>
                  <a:lnTo>
                    <a:pt x="138" y="192"/>
                  </a:lnTo>
                  <a:lnTo>
                    <a:pt x="132" y="192"/>
                  </a:lnTo>
                  <a:lnTo>
                    <a:pt x="120" y="192"/>
                  </a:lnTo>
                  <a:lnTo>
                    <a:pt x="114" y="192"/>
                  </a:lnTo>
                  <a:lnTo>
                    <a:pt x="108" y="192"/>
                  </a:lnTo>
                  <a:lnTo>
                    <a:pt x="102" y="192"/>
                  </a:lnTo>
                  <a:lnTo>
                    <a:pt x="90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2" y="198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36" y="198"/>
                  </a:lnTo>
                  <a:lnTo>
                    <a:pt x="30" y="204"/>
                  </a:lnTo>
                  <a:lnTo>
                    <a:pt x="24" y="204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6" y="210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54" y="156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56"/>
                  </a:lnTo>
                  <a:lnTo>
                    <a:pt x="78" y="162"/>
                  </a:lnTo>
                  <a:lnTo>
                    <a:pt x="84" y="162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9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0" y="126"/>
                  </a:lnTo>
                  <a:lnTo>
                    <a:pt x="276" y="120"/>
                  </a:lnTo>
                  <a:lnTo>
                    <a:pt x="282" y="120"/>
                  </a:lnTo>
                  <a:lnTo>
                    <a:pt x="300" y="120"/>
                  </a:lnTo>
                  <a:lnTo>
                    <a:pt x="306" y="114"/>
                  </a:lnTo>
                  <a:lnTo>
                    <a:pt x="312" y="108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8"/>
                  </a:lnTo>
                  <a:lnTo>
                    <a:pt x="342" y="30"/>
                  </a:lnTo>
                  <a:lnTo>
                    <a:pt x="342" y="24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8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24"/>
                  </a:lnTo>
                  <a:lnTo>
                    <a:pt x="414" y="30"/>
                  </a:lnTo>
                  <a:lnTo>
                    <a:pt x="420" y="30"/>
                  </a:lnTo>
                  <a:lnTo>
                    <a:pt x="42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74" y="30"/>
                  </a:lnTo>
                  <a:lnTo>
                    <a:pt x="474" y="18"/>
                  </a:lnTo>
                  <a:lnTo>
                    <a:pt x="474" y="12"/>
                  </a:lnTo>
                  <a:lnTo>
                    <a:pt x="480" y="12"/>
                  </a:lnTo>
                  <a:lnTo>
                    <a:pt x="486" y="12"/>
                  </a:lnTo>
                  <a:lnTo>
                    <a:pt x="606" y="12"/>
                  </a:lnTo>
                  <a:lnTo>
                    <a:pt x="630" y="12"/>
                  </a:lnTo>
                  <a:lnTo>
                    <a:pt x="678" y="12"/>
                  </a:lnTo>
                  <a:lnTo>
                    <a:pt x="744" y="12"/>
                  </a:lnTo>
                  <a:lnTo>
                    <a:pt x="774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2" y="6"/>
                  </a:lnTo>
                  <a:lnTo>
                    <a:pt x="888" y="12"/>
                  </a:lnTo>
                  <a:lnTo>
                    <a:pt x="888" y="24"/>
                  </a:lnTo>
                  <a:lnTo>
                    <a:pt x="888" y="30"/>
                  </a:lnTo>
                  <a:lnTo>
                    <a:pt x="882" y="36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64" y="42"/>
                  </a:lnTo>
                  <a:lnTo>
                    <a:pt x="864" y="48"/>
                  </a:lnTo>
                  <a:lnTo>
                    <a:pt x="858" y="54"/>
                  </a:lnTo>
                  <a:lnTo>
                    <a:pt x="864" y="54"/>
                  </a:lnTo>
                  <a:lnTo>
                    <a:pt x="870" y="72"/>
                  </a:lnTo>
                  <a:lnTo>
                    <a:pt x="870" y="78"/>
                  </a:lnTo>
                  <a:lnTo>
                    <a:pt x="870" y="84"/>
                  </a:lnTo>
                  <a:lnTo>
                    <a:pt x="870" y="90"/>
                  </a:lnTo>
                  <a:close/>
                  <a:moveTo>
                    <a:pt x="972" y="156"/>
                  </a:moveTo>
                  <a:lnTo>
                    <a:pt x="972" y="162"/>
                  </a:lnTo>
                  <a:lnTo>
                    <a:pt x="978" y="162"/>
                  </a:lnTo>
                  <a:lnTo>
                    <a:pt x="984" y="168"/>
                  </a:lnTo>
                  <a:lnTo>
                    <a:pt x="990" y="168"/>
                  </a:lnTo>
                  <a:lnTo>
                    <a:pt x="990" y="162"/>
                  </a:lnTo>
                  <a:lnTo>
                    <a:pt x="1008" y="162"/>
                  </a:lnTo>
                  <a:lnTo>
                    <a:pt x="1020" y="162"/>
                  </a:lnTo>
                  <a:lnTo>
                    <a:pt x="1038" y="162"/>
                  </a:lnTo>
                  <a:lnTo>
                    <a:pt x="1056" y="168"/>
                  </a:lnTo>
                  <a:lnTo>
                    <a:pt x="1056" y="180"/>
                  </a:lnTo>
                  <a:lnTo>
                    <a:pt x="1056" y="186"/>
                  </a:lnTo>
                  <a:lnTo>
                    <a:pt x="1056" y="204"/>
                  </a:lnTo>
                  <a:lnTo>
                    <a:pt x="1050" y="204"/>
                  </a:lnTo>
                  <a:lnTo>
                    <a:pt x="1044" y="204"/>
                  </a:lnTo>
                  <a:lnTo>
                    <a:pt x="1038" y="204"/>
                  </a:lnTo>
                  <a:lnTo>
                    <a:pt x="1032" y="204"/>
                  </a:lnTo>
                  <a:lnTo>
                    <a:pt x="1026" y="204"/>
                  </a:lnTo>
                  <a:lnTo>
                    <a:pt x="1020" y="204"/>
                  </a:lnTo>
                  <a:lnTo>
                    <a:pt x="1014" y="204"/>
                  </a:lnTo>
                  <a:lnTo>
                    <a:pt x="1008" y="204"/>
                  </a:lnTo>
                  <a:lnTo>
                    <a:pt x="1002" y="204"/>
                  </a:lnTo>
                  <a:lnTo>
                    <a:pt x="996" y="204"/>
                  </a:lnTo>
                  <a:lnTo>
                    <a:pt x="984" y="204"/>
                  </a:lnTo>
                  <a:lnTo>
                    <a:pt x="984" y="198"/>
                  </a:lnTo>
                  <a:lnTo>
                    <a:pt x="978" y="198"/>
                  </a:lnTo>
                  <a:lnTo>
                    <a:pt x="966" y="198"/>
                  </a:lnTo>
                  <a:lnTo>
                    <a:pt x="948" y="192"/>
                  </a:lnTo>
                  <a:lnTo>
                    <a:pt x="942" y="192"/>
                  </a:lnTo>
                  <a:lnTo>
                    <a:pt x="936" y="192"/>
                  </a:lnTo>
                  <a:lnTo>
                    <a:pt x="924" y="192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12" y="186"/>
                  </a:lnTo>
                  <a:lnTo>
                    <a:pt x="906" y="186"/>
                  </a:lnTo>
                  <a:lnTo>
                    <a:pt x="900" y="186"/>
                  </a:lnTo>
                  <a:lnTo>
                    <a:pt x="894" y="186"/>
                  </a:lnTo>
                  <a:lnTo>
                    <a:pt x="888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76" y="180"/>
                  </a:lnTo>
                  <a:lnTo>
                    <a:pt x="870" y="180"/>
                  </a:lnTo>
                  <a:lnTo>
                    <a:pt x="864" y="180"/>
                  </a:lnTo>
                  <a:lnTo>
                    <a:pt x="858" y="180"/>
                  </a:lnTo>
                  <a:lnTo>
                    <a:pt x="852" y="180"/>
                  </a:lnTo>
                  <a:lnTo>
                    <a:pt x="852" y="174"/>
                  </a:lnTo>
                  <a:lnTo>
                    <a:pt x="846" y="174"/>
                  </a:lnTo>
                  <a:lnTo>
                    <a:pt x="840" y="174"/>
                  </a:lnTo>
                  <a:lnTo>
                    <a:pt x="834" y="174"/>
                  </a:lnTo>
                  <a:lnTo>
                    <a:pt x="828" y="174"/>
                  </a:lnTo>
                  <a:lnTo>
                    <a:pt x="822" y="174"/>
                  </a:lnTo>
                  <a:lnTo>
                    <a:pt x="816" y="174"/>
                  </a:lnTo>
                  <a:lnTo>
                    <a:pt x="810" y="168"/>
                  </a:lnTo>
                  <a:lnTo>
                    <a:pt x="804" y="168"/>
                  </a:lnTo>
                  <a:lnTo>
                    <a:pt x="798" y="168"/>
                  </a:lnTo>
                  <a:lnTo>
                    <a:pt x="792" y="168"/>
                  </a:lnTo>
                  <a:lnTo>
                    <a:pt x="786" y="168"/>
                  </a:lnTo>
                  <a:lnTo>
                    <a:pt x="780" y="168"/>
                  </a:lnTo>
                  <a:lnTo>
                    <a:pt x="774" y="168"/>
                  </a:lnTo>
                  <a:lnTo>
                    <a:pt x="768" y="168"/>
                  </a:lnTo>
                  <a:lnTo>
                    <a:pt x="762" y="168"/>
                  </a:lnTo>
                  <a:lnTo>
                    <a:pt x="756" y="168"/>
                  </a:lnTo>
                  <a:lnTo>
                    <a:pt x="750" y="168"/>
                  </a:lnTo>
                  <a:lnTo>
                    <a:pt x="750" y="162"/>
                  </a:lnTo>
                  <a:lnTo>
                    <a:pt x="744" y="168"/>
                  </a:lnTo>
                  <a:lnTo>
                    <a:pt x="738" y="162"/>
                  </a:lnTo>
                  <a:lnTo>
                    <a:pt x="732" y="162"/>
                  </a:lnTo>
                  <a:lnTo>
                    <a:pt x="726" y="162"/>
                  </a:lnTo>
                  <a:lnTo>
                    <a:pt x="714" y="162"/>
                  </a:lnTo>
                  <a:lnTo>
                    <a:pt x="702" y="162"/>
                  </a:lnTo>
                  <a:lnTo>
                    <a:pt x="696" y="168"/>
                  </a:lnTo>
                  <a:lnTo>
                    <a:pt x="690" y="168"/>
                  </a:lnTo>
                  <a:lnTo>
                    <a:pt x="684" y="168"/>
                  </a:lnTo>
                  <a:lnTo>
                    <a:pt x="678" y="168"/>
                  </a:lnTo>
                  <a:lnTo>
                    <a:pt x="672" y="168"/>
                  </a:lnTo>
                  <a:lnTo>
                    <a:pt x="666" y="168"/>
                  </a:lnTo>
                  <a:lnTo>
                    <a:pt x="660" y="168"/>
                  </a:lnTo>
                  <a:lnTo>
                    <a:pt x="654" y="168"/>
                  </a:lnTo>
                  <a:lnTo>
                    <a:pt x="648" y="174"/>
                  </a:lnTo>
                  <a:lnTo>
                    <a:pt x="648" y="168"/>
                  </a:lnTo>
                  <a:lnTo>
                    <a:pt x="642" y="174"/>
                  </a:lnTo>
                  <a:lnTo>
                    <a:pt x="636" y="174"/>
                  </a:lnTo>
                  <a:lnTo>
                    <a:pt x="630" y="174"/>
                  </a:lnTo>
                  <a:lnTo>
                    <a:pt x="624" y="174"/>
                  </a:lnTo>
                  <a:lnTo>
                    <a:pt x="618" y="174"/>
                  </a:lnTo>
                  <a:lnTo>
                    <a:pt x="612" y="174"/>
                  </a:lnTo>
                  <a:lnTo>
                    <a:pt x="606" y="174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74"/>
                  </a:lnTo>
                  <a:lnTo>
                    <a:pt x="582" y="174"/>
                  </a:lnTo>
                  <a:lnTo>
                    <a:pt x="576" y="174"/>
                  </a:lnTo>
                  <a:lnTo>
                    <a:pt x="570" y="174"/>
                  </a:lnTo>
                  <a:lnTo>
                    <a:pt x="564" y="174"/>
                  </a:lnTo>
                  <a:lnTo>
                    <a:pt x="558" y="174"/>
                  </a:lnTo>
                  <a:lnTo>
                    <a:pt x="552" y="174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0" y="174"/>
                  </a:lnTo>
                  <a:lnTo>
                    <a:pt x="504" y="174"/>
                  </a:lnTo>
                  <a:lnTo>
                    <a:pt x="498" y="174"/>
                  </a:lnTo>
                  <a:lnTo>
                    <a:pt x="492" y="174"/>
                  </a:lnTo>
                  <a:lnTo>
                    <a:pt x="486" y="174"/>
                  </a:lnTo>
                  <a:lnTo>
                    <a:pt x="480" y="174"/>
                  </a:lnTo>
                  <a:lnTo>
                    <a:pt x="474" y="174"/>
                  </a:lnTo>
                  <a:lnTo>
                    <a:pt x="468" y="174"/>
                  </a:lnTo>
                  <a:lnTo>
                    <a:pt x="462" y="174"/>
                  </a:lnTo>
                  <a:lnTo>
                    <a:pt x="456" y="174"/>
                  </a:lnTo>
                  <a:lnTo>
                    <a:pt x="450" y="180"/>
                  </a:lnTo>
                  <a:lnTo>
                    <a:pt x="450" y="186"/>
                  </a:lnTo>
                  <a:lnTo>
                    <a:pt x="450" y="192"/>
                  </a:lnTo>
                  <a:lnTo>
                    <a:pt x="444" y="192"/>
                  </a:lnTo>
                  <a:lnTo>
                    <a:pt x="444" y="186"/>
                  </a:lnTo>
                  <a:lnTo>
                    <a:pt x="444" y="180"/>
                  </a:lnTo>
                  <a:lnTo>
                    <a:pt x="450" y="180"/>
                  </a:lnTo>
                  <a:lnTo>
                    <a:pt x="450" y="174"/>
                  </a:lnTo>
                  <a:lnTo>
                    <a:pt x="450" y="168"/>
                  </a:lnTo>
                  <a:lnTo>
                    <a:pt x="450" y="162"/>
                  </a:lnTo>
                  <a:lnTo>
                    <a:pt x="456" y="162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62" y="162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74" y="168"/>
                  </a:lnTo>
                  <a:lnTo>
                    <a:pt x="480" y="168"/>
                  </a:lnTo>
                  <a:lnTo>
                    <a:pt x="480" y="162"/>
                  </a:lnTo>
                  <a:lnTo>
                    <a:pt x="480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56"/>
                  </a:lnTo>
                  <a:lnTo>
                    <a:pt x="492" y="156"/>
                  </a:lnTo>
                  <a:lnTo>
                    <a:pt x="486" y="150"/>
                  </a:lnTo>
                  <a:lnTo>
                    <a:pt x="492" y="150"/>
                  </a:lnTo>
                  <a:lnTo>
                    <a:pt x="498" y="150"/>
                  </a:lnTo>
                  <a:lnTo>
                    <a:pt x="498" y="156"/>
                  </a:lnTo>
                  <a:lnTo>
                    <a:pt x="504" y="156"/>
                  </a:lnTo>
                  <a:lnTo>
                    <a:pt x="504" y="162"/>
                  </a:lnTo>
                  <a:lnTo>
                    <a:pt x="504" y="156"/>
                  </a:lnTo>
                  <a:lnTo>
                    <a:pt x="510" y="156"/>
                  </a:lnTo>
                  <a:lnTo>
                    <a:pt x="510" y="150"/>
                  </a:lnTo>
                  <a:lnTo>
                    <a:pt x="516" y="150"/>
                  </a:lnTo>
                  <a:lnTo>
                    <a:pt x="522" y="150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28" y="150"/>
                  </a:lnTo>
                  <a:lnTo>
                    <a:pt x="528" y="144"/>
                  </a:lnTo>
                  <a:lnTo>
                    <a:pt x="540" y="144"/>
                  </a:lnTo>
                  <a:lnTo>
                    <a:pt x="546" y="144"/>
                  </a:lnTo>
                  <a:lnTo>
                    <a:pt x="552" y="138"/>
                  </a:lnTo>
                  <a:lnTo>
                    <a:pt x="552" y="132"/>
                  </a:lnTo>
                  <a:lnTo>
                    <a:pt x="558" y="132"/>
                  </a:lnTo>
                  <a:lnTo>
                    <a:pt x="558" y="126"/>
                  </a:lnTo>
                  <a:lnTo>
                    <a:pt x="558" y="120"/>
                  </a:lnTo>
                  <a:lnTo>
                    <a:pt x="558" y="114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6" y="114"/>
                  </a:lnTo>
                  <a:lnTo>
                    <a:pt x="582" y="120"/>
                  </a:lnTo>
                  <a:lnTo>
                    <a:pt x="588" y="120"/>
                  </a:lnTo>
                  <a:lnTo>
                    <a:pt x="588" y="126"/>
                  </a:lnTo>
                  <a:lnTo>
                    <a:pt x="588" y="120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600" y="114"/>
                  </a:lnTo>
                  <a:lnTo>
                    <a:pt x="606" y="114"/>
                  </a:lnTo>
                  <a:lnTo>
                    <a:pt x="618" y="114"/>
                  </a:lnTo>
                  <a:lnTo>
                    <a:pt x="618" y="108"/>
                  </a:lnTo>
                  <a:lnTo>
                    <a:pt x="624" y="108"/>
                  </a:lnTo>
                  <a:lnTo>
                    <a:pt x="624" y="102"/>
                  </a:lnTo>
                  <a:lnTo>
                    <a:pt x="630" y="102"/>
                  </a:lnTo>
                  <a:lnTo>
                    <a:pt x="636" y="102"/>
                  </a:lnTo>
                  <a:lnTo>
                    <a:pt x="636" y="108"/>
                  </a:lnTo>
                  <a:lnTo>
                    <a:pt x="642" y="108"/>
                  </a:lnTo>
                  <a:lnTo>
                    <a:pt x="648" y="108"/>
                  </a:lnTo>
                  <a:lnTo>
                    <a:pt x="648" y="102"/>
                  </a:lnTo>
                  <a:lnTo>
                    <a:pt x="654" y="102"/>
                  </a:lnTo>
                  <a:lnTo>
                    <a:pt x="660" y="102"/>
                  </a:lnTo>
                  <a:lnTo>
                    <a:pt x="660" y="96"/>
                  </a:lnTo>
                  <a:lnTo>
                    <a:pt x="660" y="90"/>
                  </a:lnTo>
                  <a:lnTo>
                    <a:pt x="666" y="90"/>
                  </a:lnTo>
                  <a:lnTo>
                    <a:pt x="666" y="84"/>
                  </a:lnTo>
                  <a:lnTo>
                    <a:pt x="672" y="78"/>
                  </a:lnTo>
                  <a:lnTo>
                    <a:pt x="672" y="72"/>
                  </a:lnTo>
                  <a:lnTo>
                    <a:pt x="678" y="66"/>
                  </a:lnTo>
                  <a:lnTo>
                    <a:pt x="684" y="66"/>
                  </a:lnTo>
                  <a:lnTo>
                    <a:pt x="684" y="60"/>
                  </a:lnTo>
                  <a:lnTo>
                    <a:pt x="690" y="60"/>
                  </a:lnTo>
                  <a:lnTo>
                    <a:pt x="696" y="60"/>
                  </a:lnTo>
                  <a:lnTo>
                    <a:pt x="702" y="60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66"/>
                  </a:lnTo>
                  <a:lnTo>
                    <a:pt x="720" y="66"/>
                  </a:lnTo>
                  <a:lnTo>
                    <a:pt x="720" y="60"/>
                  </a:lnTo>
                  <a:lnTo>
                    <a:pt x="726" y="60"/>
                  </a:lnTo>
                  <a:lnTo>
                    <a:pt x="732" y="60"/>
                  </a:lnTo>
                  <a:lnTo>
                    <a:pt x="744" y="60"/>
                  </a:lnTo>
                  <a:lnTo>
                    <a:pt x="750" y="54"/>
                  </a:lnTo>
                  <a:lnTo>
                    <a:pt x="762" y="60"/>
                  </a:lnTo>
                  <a:lnTo>
                    <a:pt x="774" y="60"/>
                  </a:lnTo>
                  <a:lnTo>
                    <a:pt x="774" y="66"/>
                  </a:lnTo>
                  <a:lnTo>
                    <a:pt x="780" y="72"/>
                  </a:lnTo>
                  <a:lnTo>
                    <a:pt x="786" y="78"/>
                  </a:lnTo>
                  <a:lnTo>
                    <a:pt x="792" y="78"/>
                  </a:lnTo>
                  <a:lnTo>
                    <a:pt x="810" y="84"/>
                  </a:lnTo>
                  <a:lnTo>
                    <a:pt x="822" y="84"/>
                  </a:lnTo>
                  <a:lnTo>
                    <a:pt x="828" y="84"/>
                  </a:lnTo>
                  <a:lnTo>
                    <a:pt x="834" y="84"/>
                  </a:lnTo>
                  <a:lnTo>
                    <a:pt x="840" y="96"/>
                  </a:lnTo>
                  <a:lnTo>
                    <a:pt x="846" y="102"/>
                  </a:lnTo>
                  <a:lnTo>
                    <a:pt x="858" y="102"/>
                  </a:lnTo>
                  <a:lnTo>
                    <a:pt x="864" y="102"/>
                  </a:lnTo>
                  <a:lnTo>
                    <a:pt x="876" y="96"/>
                  </a:lnTo>
                  <a:lnTo>
                    <a:pt x="882" y="102"/>
                  </a:lnTo>
                  <a:lnTo>
                    <a:pt x="888" y="108"/>
                  </a:lnTo>
                  <a:lnTo>
                    <a:pt x="888" y="114"/>
                  </a:lnTo>
                  <a:lnTo>
                    <a:pt x="888" y="120"/>
                  </a:lnTo>
                  <a:lnTo>
                    <a:pt x="888" y="126"/>
                  </a:lnTo>
                  <a:lnTo>
                    <a:pt x="888" y="132"/>
                  </a:lnTo>
                  <a:lnTo>
                    <a:pt x="882" y="132"/>
                  </a:lnTo>
                  <a:lnTo>
                    <a:pt x="864" y="126"/>
                  </a:lnTo>
                  <a:lnTo>
                    <a:pt x="852" y="120"/>
                  </a:lnTo>
                  <a:lnTo>
                    <a:pt x="840" y="126"/>
                  </a:lnTo>
                  <a:lnTo>
                    <a:pt x="834" y="120"/>
                  </a:lnTo>
                  <a:lnTo>
                    <a:pt x="828" y="120"/>
                  </a:lnTo>
                  <a:lnTo>
                    <a:pt x="822" y="120"/>
                  </a:lnTo>
                  <a:lnTo>
                    <a:pt x="810" y="114"/>
                  </a:lnTo>
                  <a:lnTo>
                    <a:pt x="804" y="114"/>
                  </a:lnTo>
                  <a:lnTo>
                    <a:pt x="798" y="114"/>
                  </a:lnTo>
                  <a:lnTo>
                    <a:pt x="792" y="114"/>
                  </a:lnTo>
                  <a:lnTo>
                    <a:pt x="786" y="114"/>
                  </a:lnTo>
                  <a:lnTo>
                    <a:pt x="780" y="114"/>
                  </a:lnTo>
                  <a:lnTo>
                    <a:pt x="780" y="126"/>
                  </a:lnTo>
                  <a:lnTo>
                    <a:pt x="786" y="126"/>
                  </a:lnTo>
                  <a:lnTo>
                    <a:pt x="798" y="126"/>
                  </a:lnTo>
                  <a:lnTo>
                    <a:pt x="804" y="126"/>
                  </a:lnTo>
                  <a:lnTo>
                    <a:pt x="822" y="132"/>
                  </a:lnTo>
                  <a:lnTo>
                    <a:pt x="828" y="132"/>
                  </a:lnTo>
                  <a:lnTo>
                    <a:pt x="834" y="132"/>
                  </a:lnTo>
                  <a:lnTo>
                    <a:pt x="840" y="144"/>
                  </a:lnTo>
                  <a:lnTo>
                    <a:pt x="846" y="150"/>
                  </a:lnTo>
                  <a:lnTo>
                    <a:pt x="858" y="150"/>
                  </a:lnTo>
                  <a:lnTo>
                    <a:pt x="864" y="162"/>
                  </a:lnTo>
                  <a:lnTo>
                    <a:pt x="870" y="162"/>
                  </a:lnTo>
                  <a:lnTo>
                    <a:pt x="876" y="168"/>
                  </a:lnTo>
                  <a:lnTo>
                    <a:pt x="888" y="168"/>
                  </a:lnTo>
                  <a:lnTo>
                    <a:pt x="894" y="174"/>
                  </a:lnTo>
                  <a:lnTo>
                    <a:pt x="900" y="174"/>
                  </a:lnTo>
                  <a:lnTo>
                    <a:pt x="918" y="174"/>
                  </a:lnTo>
                  <a:lnTo>
                    <a:pt x="924" y="174"/>
                  </a:lnTo>
                  <a:lnTo>
                    <a:pt x="930" y="174"/>
                  </a:lnTo>
                  <a:lnTo>
                    <a:pt x="942" y="174"/>
                  </a:lnTo>
                  <a:lnTo>
                    <a:pt x="954" y="174"/>
                  </a:lnTo>
                  <a:lnTo>
                    <a:pt x="960" y="174"/>
                  </a:lnTo>
                  <a:lnTo>
                    <a:pt x="966" y="174"/>
                  </a:lnTo>
                  <a:lnTo>
                    <a:pt x="966" y="168"/>
                  </a:lnTo>
                  <a:lnTo>
                    <a:pt x="972" y="162"/>
                  </a:lnTo>
                  <a:lnTo>
                    <a:pt x="972" y="156"/>
                  </a:lnTo>
                  <a:close/>
                  <a:moveTo>
                    <a:pt x="942" y="174"/>
                  </a:moveTo>
                  <a:lnTo>
                    <a:pt x="936" y="174"/>
                  </a:lnTo>
                  <a:lnTo>
                    <a:pt x="936" y="168"/>
                  </a:lnTo>
                  <a:lnTo>
                    <a:pt x="936" y="162"/>
                  </a:lnTo>
                  <a:lnTo>
                    <a:pt x="948" y="162"/>
                  </a:lnTo>
                  <a:lnTo>
                    <a:pt x="948" y="156"/>
                  </a:lnTo>
                  <a:lnTo>
                    <a:pt x="954" y="156"/>
                  </a:lnTo>
                  <a:lnTo>
                    <a:pt x="960" y="156"/>
                  </a:lnTo>
                  <a:lnTo>
                    <a:pt x="966" y="156"/>
                  </a:lnTo>
                  <a:lnTo>
                    <a:pt x="966" y="162"/>
                  </a:lnTo>
                  <a:lnTo>
                    <a:pt x="960" y="168"/>
                  </a:lnTo>
                  <a:lnTo>
                    <a:pt x="942" y="174"/>
                  </a:lnTo>
                  <a:close/>
                  <a:moveTo>
                    <a:pt x="900" y="168"/>
                  </a:moveTo>
                  <a:lnTo>
                    <a:pt x="894" y="168"/>
                  </a:lnTo>
                  <a:lnTo>
                    <a:pt x="882" y="156"/>
                  </a:lnTo>
                  <a:lnTo>
                    <a:pt x="882" y="150"/>
                  </a:lnTo>
                  <a:lnTo>
                    <a:pt x="888" y="156"/>
                  </a:lnTo>
                  <a:lnTo>
                    <a:pt x="894" y="150"/>
                  </a:lnTo>
                  <a:lnTo>
                    <a:pt x="900" y="150"/>
                  </a:lnTo>
                  <a:lnTo>
                    <a:pt x="906" y="150"/>
                  </a:lnTo>
                  <a:lnTo>
                    <a:pt x="912" y="150"/>
                  </a:lnTo>
                  <a:lnTo>
                    <a:pt x="924" y="150"/>
                  </a:lnTo>
                  <a:lnTo>
                    <a:pt x="924" y="156"/>
                  </a:lnTo>
                  <a:lnTo>
                    <a:pt x="924" y="162"/>
                  </a:lnTo>
                  <a:lnTo>
                    <a:pt x="924" y="168"/>
                  </a:lnTo>
                  <a:lnTo>
                    <a:pt x="918" y="168"/>
                  </a:lnTo>
                  <a:lnTo>
                    <a:pt x="906" y="168"/>
                  </a:lnTo>
                  <a:lnTo>
                    <a:pt x="900" y="168"/>
                  </a:lnTo>
                  <a:close/>
                  <a:moveTo>
                    <a:pt x="870" y="162"/>
                  </a:moveTo>
                  <a:lnTo>
                    <a:pt x="876" y="162"/>
                  </a:lnTo>
                  <a:lnTo>
                    <a:pt x="876" y="168"/>
                  </a:lnTo>
                  <a:lnTo>
                    <a:pt x="870" y="168"/>
                  </a:lnTo>
                  <a:lnTo>
                    <a:pt x="870" y="162"/>
                  </a:lnTo>
                  <a:close/>
                  <a:moveTo>
                    <a:pt x="450" y="162"/>
                  </a:moveTo>
                  <a:lnTo>
                    <a:pt x="444" y="162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2" y="150"/>
                  </a:lnTo>
                  <a:lnTo>
                    <a:pt x="438" y="150"/>
                  </a:lnTo>
                  <a:lnTo>
                    <a:pt x="438" y="144"/>
                  </a:lnTo>
                  <a:lnTo>
                    <a:pt x="438" y="150"/>
                  </a:lnTo>
                  <a:lnTo>
                    <a:pt x="444" y="150"/>
                  </a:lnTo>
                  <a:lnTo>
                    <a:pt x="450" y="150"/>
                  </a:lnTo>
                  <a:lnTo>
                    <a:pt x="450" y="156"/>
                  </a:lnTo>
                  <a:lnTo>
                    <a:pt x="456" y="156"/>
                  </a:lnTo>
                  <a:lnTo>
                    <a:pt x="456" y="150"/>
                  </a:lnTo>
                  <a:lnTo>
                    <a:pt x="456" y="156"/>
                  </a:lnTo>
                  <a:lnTo>
                    <a:pt x="462" y="150"/>
                  </a:lnTo>
                  <a:lnTo>
                    <a:pt x="462" y="144"/>
                  </a:lnTo>
                  <a:lnTo>
                    <a:pt x="468" y="144"/>
                  </a:lnTo>
                  <a:lnTo>
                    <a:pt x="468" y="150"/>
                  </a:lnTo>
                  <a:lnTo>
                    <a:pt x="474" y="150"/>
                  </a:lnTo>
                  <a:lnTo>
                    <a:pt x="480" y="150"/>
                  </a:lnTo>
                  <a:lnTo>
                    <a:pt x="480" y="156"/>
                  </a:lnTo>
                  <a:lnTo>
                    <a:pt x="480" y="162"/>
                  </a:lnTo>
                  <a:lnTo>
                    <a:pt x="474" y="162"/>
                  </a:lnTo>
                  <a:lnTo>
                    <a:pt x="474" y="168"/>
                  </a:lnTo>
                  <a:lnTo>
                    <a:pt x="474" y="162"/>
                  </a:lnTo>
                  <a:lnTo>
                    <a:pt x="468" y="162"/>
                  </a:lnTo>
                  <a:lnTo>
                    <a:pt x="462" y="162"/>
                  </a:lnTo>
                  <a:lnTo>
                    <a:pt x="456" y="162"/>
                  </a:lnTo>
                  <a:lnTo>
                    <a:pt x="450" y="16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6" name="Freeform 31">
              <a:extLst>
                <a:ext uri="{FF2B5EF4-FFF2-40B4-BE49-F238E27FC236}">
                  <a16:creationId xmlns:a16="http://schemas.microsoft.com/office/drawing/2014/main" id="{0989F057-38E8-4AA5-8B73-27F6355E235C}"/>
                </a:ext>
              </a:extLst>
            </p:cNvPr>
            <p:cNvSpPr>
              <a:spLocks/>
            </p:cNvSpPr>
            <p:nvPr/>
          </p:nvSpPr>
          <p:spPr bwMode="gray">
            <a:xfrm>
              <a:off x="792590" y="2728084"/>
              <a:ext cx="1182944" cy="740282"/>
            </a:xfrm>
            <a:custGeom>
              <a:avLst/>
              <a:gdLst>
                <a:gd name="T0" fmla="*/ 138 w 2226"/>
                <a:gd name="T1" fmla="*/ 121 h 1392"/>
                <a:gd name="T2" fmla="*/ 133 w 2226"/>
                <a:gd name="T3" fmla="*/ 119 h 1392"/>
                <a:gd name="T4" fmla="*/ 128 w 2226"/>
                <a:gd name="T5" fmla="*/ 117 h 1392"/>
                <a:gd name="T6" fmla="*/ 119 w 2226"/>
                <a:gd name="T7" fmla="*/ 116 h 1392"/>
                <a:gd name="T8" fmla="*/ 101 w 2226"/>
                <a:gd name="T9" fmla="*/ 116 h 1392"/>
                <a:gd name="T10" fmla="*/ 94 w 2226"/>
                <a:gd name="T11" fmla="*/ 104 h 1392"/>
                <a:gd name="T12" fmla="*/ 82 w 2226"/>
                <a:gd name="T13" fmla="*/ 83 h 1392"/>
                <a:gd name="T14" fmla="*/ 87 w 2226"/>
                <a:gd name="T15" fmla="*/ 69 h 1392"/>
                <a:gd name="T16" fmla="*/ 82 w 2226"/>
                <a:gd name="T17" fmla="*/ 65 h 1392"/>
                <a:gd name="T18" fmla="*/ 59 w 2226"/>
                <a:gd name="T19" fmla="*/ 57 h 1392"/>
                <a:gd name="T20" fmla="*/ 29 w 2226"/>
                <a:gd name="T21" fmla="*/ 77 h 1392"/>
                <a:gd name="T22" fmla="*/ 20 w 2226"/>
                <a:gd name="T23" fmla="*/ 78 h 1392"/>
                <a:gd name="T24" fmla="*/ 15 w 2226"/>
                <a:gd name="T25" fmla="*/ 82 h 1392"/>
                <a:gd name="T26" fmla="*/ 8 w 2226"/>
                <a:gd name="T27" fmla="*/ 86 h 1392"/>
                <a:gd name="T28" fmla="*/ 1 w 2226"/>
                <a:gd name="T29" fmla="*/ 88 h 1392"/>
                <a:gd name="T30" fmla="*/ 0 w 2226"/>
                <a:gd name="T31" fmla="*/ 82 h 1392"/>
                <a:gd name="T32" fmla="*/ 0 w 2226"/>
                <a:gd name="T33" fmla="*/ 76 h 1392"/>
                <a:gd name="T34" fmla="*/ 2 w 2226"/>
                <a:gd name="T35" fmla="*/ 70 h 1392"/>
                <a:gd name="T36" fmla="*/ 3 w 2226"/>
                <a:gd name="T37" fmla="*/ 65 h 1392"/>
                <a:gd name="T38" fmla="*/ 2 w 2226"/>
                <a:gd name="T39" fmla="*/ 63 h 1392"/>
                <a:gd name="T40" fmla="*/ 9 w 2226"/>
                <a:gd name="T41" fmla="*/ 60 h 1392"/>
                <a:gd name="T42" fmla="*/ 17 w 2226"/>
                <a:gd name="T43" fmla="*/ 59 h 1392"/>
                <a:gd name="T44" fmla="*/ 22 w 2226"/>
                <a:gd name="T45" fmla="*/ 51 h 1392"/>
                <a:gd name="T46" fmla="*/ 23 w 2226"/>
                <a:gd name="T47" fmla="*/ 43 h 1392"/>
                <a:gd name="T48" fmla="*/ 27 w 2226"/>
                <a:gd name="T49" fmla="*/ 34 h 1392"/>
                <a:gd name="T50" fmla="*/ 30 w 2226"/>
                <a:gd name="T51" fmla="*/ 27 h 1392"/>
                <a:gd name="T52" fmla="*/ 33 w 2226"/>
                <a:gd name="T53" fmla="*/ 22 h 1392"/>
                <a:gd name="T54" fmla="*/ 42 w 2226"/>
                <a:gd name="T55" fmla="*/ 17 h 1392"/>
                <a:gd name="T56" fmla="*/ 47 w 2226"/>
                <a:gd name="T57" fmla="*/ 14 h 1392"/>
                <a:gd name="T58" fmla="*/ 49 w 2226"/>
                <a:gd name="T59" fmla="*/ 5 h 1392"/>
                <a:gd name="T60" fmla="*/ 53 w 2226"/>
                <a:gd name="T61" fmla="*/ 0 h 1392"/>
                <a:gd name="T62" fmla="*/ 55 w 2226"/>
                <a:gd name="T63" fmla="*/ 4 h 1392"/>
                <a:gd name="T64" fmla="*/ 59 w 2226"/>
                <a:gd name="T65" fmla="*/ 7 h 1392"/>
                <a:gd name="T66" fmla="*/ 63 w 2226"/>
                <a:gd name="T67" fmla="*/ 7 h 1392"/>
                <a:gd name="T68" fmla="*/ 66 w 2226"/>
                <a:gd name="T69" fmla="*/ 9 h 1392"/>
                <a:gd name="T70" fmla="*/ 67 w 2226"/>
                <a:gd name="T71" fmla="*/ 12 h 1392"/>
                <a:gd name="T72" fmla="*/ 67 w 2226"/>
                <a:gd name="T73" fmla="*/ 13 h 1392"/>
                <a:gd name="T74" fmla="*/ 70 w 2226"/>
                <a:gd name="T75" fmla="*/ 15 h 1392"/>
                <a:gd name="T76" fmla="*/ 74 w 2226"/>
                <a:gd name="T77" fmla="*/ 17 h 1392"/>
                <a:gd name="T78" fmla="*/ 78 w 2226"/>
                <a:gd name="T79" fmla="*/ 18 h 1392"/>
                <a:gd name="T80" fmla="*/ 97 w 2226"/>
                <a:gd name="T81" fmla="*/ 40 h 1392"/>
                <a:gd name="T82" fmla="*/ 102 w 2226"/>
                <a:gd name="T83" fmla="*/ 44 h 1392"/>
                <a:gd name="T84" fmla="*/ 110 w 2226"/>
                <a:gd name="T85" fmla="*/ 49 h 1392"/>
                <a:gd name="T86" fmla="*/ 113 w 2226"/>
                <a:gd name="T87" fmla="*/ 53 h 1392"/>
                <a:gd name="T88" fmla="*/ 118 w 2226"/>
                <a:gd name="T89" fmla="*/ 57 h 1392"/>
                <a:gd name="T90" fmla="*/ 124 w 2226"/>
                <a:gd name="T91" fmla="*/ 54 h 1392"/>
                <a:gd name="T92" fmla="*/ 133 w 2226"/>
                <a:gd name="T93" fmla="*/ 58 h 1392"/>
                <a:gd name="T94" fmla="*/ 137 w 2226"/>
                <a:gd name="T95" fmla="*/ 64 h 1392"/>
                <a:gd name="T96" fmla="*/ 145 w 2226"/>
                <a:gd name="T97" fmla="*/ 65 h 1392"/>
                <a:gd name="T98" fmla="*/ 152 w 2226"/>
                <a:gd name="T99" fmla="*/ 67 h 1392"/>
                <a:gd name="T100" fmla="*/ 161 w 2226"/>
                <a:gd name="T101" fmla="*/ 72 h 1392"/>
                <a:gd name="T102" fmla="*/ 168 w 2226"/>
                <a:gd name="T103" fmla="*/ 76 h 1392"/>
                <a:gd name="T104" fmla="*/ 177 w 2226"/>
                <a:gd name="T105" fmla="*/ 78 h 1392"/>
                <a:gd name="T106" fmla="*/ 184 w 2226"/>
                <a:gd name="T107" fmla="*/ 78 h 1392"/>
                <a:gd name="T108" fmla="*/ 190 w 2226"/>
                <a:gd name="T109" fmla="*/ 81 h 1392"/>
                <a:gd name="T110" fmla="*/ 192 w 2226"/>
                <a:gd name="T111" fmla="*/ 86 h 1392"/>
                <a:gd name="T112" fmla="*/ 187 w 2226"/>
                <a:gd name="T113" fmla="*/ 99 h 1392"/>
                <a:gd name="T114" fmla="*/ 165 w 2226"/>
                <a:gd name="T115" fmla="*/ 97 h 1392"/>
                <a:gd name="T116" fmla="*/ 155 w 2226"/>
                <a:gd name="T117" fmla="*/ 92 h 1392"/>
                <a:gd name="T118" fmla="*/ 146 w 2226"/>
                <a:gd name="T119" fmla="*/ 102 h 1392"/>
                <a:gd name="T120" fmla="*/ 149 w 2226"/>
                <a:gd name="T121" fmla="*/ 106 h 1392"/>
                <a:gd name="T122" fmla="*/ 151 w 2226"/>
                <a:gd name="T123" fmla="*/ 108 h 1392"/>
                <a:gd name="T124" fmla="*/ 157 w 2226"/>
                <a:gd name="T125" fmla="*/ 113 h 13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1392"/>
                <a:gd name="T191" fmla="*/ 2226 w 2226"/>
                <a:gd name="T192" fmla="*/ 1392 h 13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1392">
                  <a:moveTo>
                    <a:pt x="1782" y="1326"/>
                  </a:moveTo>
                  <a:lnTo>
                    <a:pt x="1776" y="1332"/>
                  </a:lnTo>
                  <a:lnTo>
                    <a:pt x="1692" y="1338"/>
                  </a:lnTo>
                  <a:lnTo>
                    <a:pt x="1680" y="1386"/>
                  </a:lnTo>
                  <a:lnTo>
                    <a:pt x="1674" y="1392"/>
                  </a:lnTo>
                  <a:lnTo>
                    <a:pt x="1638" y="1392"/>
                  </a:lnTo>
                  <a:lnTo>
                    <a:pt x="1620" y="1392"/>
                  </a:lnTo>
                  <a:lnTo>
                    <a:pt x="1614" y="1392"/>
                  </a:lnTo>
                  <a:lnTo>
                    <a:pt x="1608" y="1386"/>
                  </a:lnTo>
                  <a:lnTo>
                    <a:pt x="1584" y="1386"/>
                  </a:lnTo>
                  <a:lnTo>
                    <a:pt x="1578" y="1386"/>
                  </a:lnTo>
                  <a:lnTo>
                    <a:pt x="1572" y="1380"/>
                  </a:lnTo>
                  <a:lnTo>
                    <a:pt x="1578" y="1356"/>
                  </a:lnTo>
                  <a:lnTo>
                    <a:pt x="1572" y="1356"/>
                  </a:lnTo>
                  <a:lnTo>
                    <a:pt x="1560" y="1350"/>
                  </a:lnTo>
                  <a:lnTo>
                    <a:pt x="1554" y="1350"/>
                  </a:lnTo>
                  <a:lnTo>
                    <a:pt x="1542" y="1350"/>
                  </a:lnTo>
                  <a:lnTo>
                    <a:pt x="1530" y="1350"/>
                  </a:lnTo>
                  <a:lnTo>
                    <a:pt x="1524" y="1356"/>
                  </a:lnTo>
                  <a:lnTo>
                    <a:pt x="1524" y="1362"/>
                  </a:lnTo>
                  <a:lnTo>
                    <a:pt x="1512" y="1374"/>
                  </a:lnTo>
                  <a:lnTo>
                    <a:pt x="1506" y="1374"/>
                  </a:lnTo>
                  <a:lnTo>
                    <a:pt x="1500" y="1368"/>
                  </a:lnTo>
                  <a:lnTo>
                    <a:pt x="1500" y="1362"/>
                  </a:lnTo>
                  <a:lnTo>
                    <a:pt x="1488" y="1362"/>
                  </a:lnTo>
                  <a:lnTo>
                    <a:pt x="1482" y="1356"/>
                  </a:lnTo>
                  <a:lnTo>
                    <a:pt x="1482" y="1350"/>
                  </a:lnTo>
                  <a:lnTo>
                    <a:pt x="1476" y="1350"/>
                  </a:lnTo>
                  <a:lnTo>
                    <a:pt x="1470" y="1344"/>
                  </a:lnTo>
                  <a:lnTo>
                    <a:pt x="1464" y="1344"/>
                  </a:lnTo>
                  <a:lnTo>
                    <a:pt x="1452" y="1350"/>
                  </a:lnTo>
                  <a:lnTo>
                    <a:pt x="1452" y="1356"/>
                  </a:lnTo>
                  <a:lnTo>
                    <a:pt x="1440" y="1356"/>
                  </a:lnTo>
                  <a:lnTo>
                    <a:pt x="1434" y="1344"/>
                  </a:lnTo>
                  <a:lnTo>
                    <a:pt x="1422" y="1332"/>
                  </a:lnTo>
                  <a:lnTo>
                    <a:pt x="1416" y="1326"/>
                  </a:lnTo>
                  <a:lnTo>
                    <a:pt x="1404" y="1320"/>
                  </a:lnTo>
                  <a:lnTo>
                    <a:pt x="1404" y="1314"/>
                  </a:lnTo>
                  <a:lnTo>
                    <a:pt x="1374" y="1308"/>
                  </a:lnTo>
                  <a:lnTo>
                    <a:pt x="1368" y="1326"/>
                  </a:lnTo>
                  <a:lnTo>
                    <a:pt x="1344" y="1338"/>
                  </a:lnTo>
                  <a:lnTo>
                    <a:pt x="1326" y="1332"/>
                  </a:lnTo>
                  <a:lnTo>
                    <a:pt x="1302" y="1332"/>
                  </a:lnTo>
                  <a:lnTo>
                    <a:pt x="1278" y="1338"/>
                  </a:lnTo>
                  <a:lnTo>
                    <a:pt x="1236" y="1338"/>
                  </a:lnTo>
                  <a:lnTo>
                    <a:pt x="1224" y="1338"/>
                  </a:lnTo>
                  <a:lnTo>
                    <a:pt x="1224" y="1326"/>
                  </a:lnTo>
                  <a:lnTo>
                    <a:pt x="1206" y="1326"/>
                  </a:lnTo>
                  <a:lnTo>
                    <a:pt x="1170" y="1326"/>
                  </a:lnTo>
                  <a:lnTo>
                    <a:pt x="1152" y="1326"/>
                  </a:lnTo>
                  <a:lnTo>
                    <a:pt x="1140" y="1314"/>
                  </a:lnTo>
                  <a:lnTo>
                    <a:pt x="1134" y="1296"/>
                  </a:lnTo>
                  <a:lnTo>
                    <a:pt x="1134" y="1284"/>
                  </a:lnTo>
                  <a:lnTo>
                    <a:pt x="1128" y="1254"/>
                  </a:lnTo>
                  <a:lnTo>
                    <a:pt x="1128" y="1242"/>
                  </a:lnTo>
                  <a:lnTo>
                    <a:pt x="1122" y="1230"/>
                  </a:lnTo>
                  <a:lnTo>
                    <a:pt x="1104" y="1218"/>
                  </a:lnTo>
                  <a:lnTo>
                    <a:pt x="1104" y="1212"/>
                  </a:lnTo>
                  <a:lnTo>
                    <a:pt x="1092" y="1206"/>
                  </a:lnTo>
                  <a:lnTo>
                    <a:pt x="1080" y="1194"/>
                  </a:lnTo>
                  <a:lnTo>
                    <a:pt x="1068" y="1176"/>
                  </a:lnTo>
                  <a:lnTo>
                    <a:pt x="1050" y="1152"/>
                  </a:lnTo>
                  <a:lnTo>
                    <a:pt x="1020" y="1098"/>
                  </a:lnTo>
                  <a:lnTo>
                    <a:pt x="978" y="1026"/>
                  </a:lnTo>
                  <a:lnTo>
                    <a:pt x="978" y="1014"/>
                  </a:lnTo>
                  <a:lnTo>
                    <a:pt x="972" y="1014"/>
                  </a:lnTo>
                  <a:lnTo>
                    <a:pt x="972" y="1008"/>
                  </a:lnTo>
                  <a:lnTo>
                    <a:pt x="978" y="1002"/>
                  </a:lnTo>
                  <a:lnTo>
                    <a:pt x="960" y="966"/>
                  </a:lnTo>
                  <a:lnTo>
                    <a:pt x="948" y="954"/>
                  </a:lnTo>
                  <a:lnTo>
                    <a:pt x="948" y="936"/>
                  </a:lnTo>
                  <a:lnTo>
                    <a:pt x="936" y="900"/>
                  </a:lnTo>
                  <a:lnTo>
                    <a:pt x="942" y="876"/>
                  </a:lnTo>
                  <a:lnTo>
                    <a:pt x="942" y="834"/>
                  </a:lnTo>
                  <a:lnTo>
                    <a:pt x="960" y="828"/>
                  </a:lnTo>
                  <a:lnTo>
                    <a:pt x="966" y="816"/>
                  </a:lnTo>
                  <a:lnTo>
                    <a:pt x="972" y="810"/>
                  </a:lnTo>
                  <a:lnTo>
                    <a:pt x="978" y="804"/>
                  </a:lnTo>
                  <a:lnTo>
                    <a:pt x="996" y="798"/>
                  </a:lnTo>
                  <a:lnTo>
                    <a:pt x="996" y="792"/>
                  </a:lnTo>
                  <a:lnTo>
                    <a:pt x="1014" y="780"/>
                  </a:lnTo>
                  <a:lnTo>
                    <a:pt x="1026" y="768"/>
                  </a:lnTo>
                  <a:lnTo>
                    <a:pt x="1032" y="762"/>
                  </a:lnTo>
                  <a:lnTo>
                    <a:pt x="1026" y="756"/>
                  </a:lnTo>
                  <a:lnTo>
                    <a:pt x="1014" y="744"/>
                  </a:lnTo>
                  <a:lnTo>
                    <a:pt x="996" y="756"/>
                  </a:lnTo>
                  <a:lnTo>
                    <a:pt x="954" y="768"/>
                  </a:lnTo>
                  <a:lnTo>
                    <a:pt x="942" y="762"/>
                  </a:lnTo>
                  <a:lnTo>
                    <a:pt x="942" y="756"/>
                  </a:lnTo>
                  <a:lnTo>
                    <a:pt x="936" y="750"/>
                  </a:lnTo>
                  <a:lnTo>
                    <a:pt x="846" y="732"/>
                  </a:lnTo>
                  <a:lnTo>
                    <a:pt x="822" y="726"/>
                  </a:lnTo>
                  <a:lnTo>
                    <a:pt x="810" y="714"/>
                  </a:lnTo>
                  <a:lnTo>
                    <a:pt x="792" y="690"/>
                  </a:lnTo>
                  <a:lnTo>
                    <a:pt x="792" y="678"/>
                  </a:lnTo>
                  <a:lnTo>
                    <a:pt x="762" y="642"/>
                  </a:lnTo>
                  <a:lnTo>
                    <a:pt x="750" y="636"/>
                  </a:lnTo>
                  <a:lnTo>
                    <a:pt x="726" y="630"/>
                  </a:lnTo>
                  <a:lnTo>
                    <a:pt x="696" y="642"/>
                  </a:lnTo>
                  <a:lnTo>
                    <a:pt x="678" y="654"/>
                  </a:lnTo>
                  <a:lnTo>
                    <a:pt x="666" y="684"/>
                  </a:lnTo>
                  <a:lnTo>
                    <a:pt x="660" y="726"/>
                  </a:lnTo>
                  <a:lnTo>
                    <a:pt x="606" y="756"/>
                  </a:lnTo>
                  <a:lnTo>
                    <a:pt x="558" y="780"/>
                  </a:lnTo>
                  <a:lnTo>
                    <a:pt x="438" y="834"/>
                  </a:lnTo>
                  <a:lnTo>
                    <a:pt x="402" y="846"/>
                  </a:lnTo>
                  <a:lnTo>
                    <a:pt x="372" y="870"/>
                  </a:lnTo>
                  <a:lnTo>
                    <a:pt x="360" y="876"/>
                  </a:lnTo>
                  <a:lnTo>
                    <a:pt x="354" y="876"/>
                  </a:lnTo>
                  <a:lnTo>
                    <a:pt x="330" y="882"/>
                  </a:lnTo>
                  <a:lnTo>
                    <a:pt x="306" y="882"/>
                  </a:lnTo>
                  <a:lnTo>
                    <a:pt x="300" y="876"/>
                  </a:lnTo>
                  <a:lnTo>
                    <a:pt x="294" y="876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76" y="864"/>
                  </a:lnTo>
                  <a:lnTo>
                    <a:pt x="270" y="870"/>
                  </a:lnTo>
                  <a:lnTo>
                    <a:pt x="264" y="870"/>
                  </a:lnTo>
                  <a:lnTo>
                    <a:pt x="240" y="894"/>
                  </a:lnTo>
                  <a:lnTo>
                    <a:pt x="234" y="894"/>
                  </a:lnTo>
                  <a:lnTo>
                    <a:pt x="228" y="900"/>
                  </a:lnTo>
                  <a:lnTo>
                    <a:pt x="222" y="906"/>
                  </a:lnTo>
                  <a:lnTo>
                    <a:pt x="210" y="912"/>
                  </a:lnTo>
                  <a:lnTo>
                    <a:pt x="204" y="912"/>
                  </a:lnTo>
                  <a:lnTo>
                    <a:pt x="198" y="912"/>
                  </a:lnTo>
                  <a:lnTo>
                    <a:pt x="192" y="918"/>
                  </a:lnTo>
                  <a:lnTo>
                    <a:pt x="180" y="918"/>
                  </a:lnTo>
                  <a:lnTo>
                    <a:pt x="174" y="930"/>
                  </a:lnTo>
                  <a:lnTo>
                    <a:pt x="174" y="936"/>
                  </a:lnTo>
                  <a:lnTo>
                    <a:pt x="168" y="942"/>
                  </a:lnTo>
                  <a:lnTo>
                    <a:pt x="162" y="942"/>
                  </a:lnTo>
                  <a:lnTo>
                    <a:pt x="150" y="960"/>
                  </a:lnTo>
                  <a:lnTo>
                    <a:pt x="144" y="966"/>
                  </a:lnTo>
                  <a:lnTo>
                    <a:pt x="138" y="972"/>
                  </a:lnTo>
                  <a:lnTo>
                    <a:pt x="132" y="972"/>
                  </a:lnTo>
                  <a:lnTo>
                    <a:pt x="126" y="984"/>
                  </a:lnTo>
                  <a:lnTo>
                    <a:pt x="120" y="984"/>
                  </a:lnTo>
                  <a:lnTo>
                    <a:pt x="114" y="990"/>
                  </a:lnTo>
                  <a:lnTo>
                    <a:pt x="96" y="990"/>
                  </a:lnTo>
                  <a:lnTo>
                    <a:pt x="90" y="990"/>
                  </a:lnTo>
                  <a:lnTo>
                    <a:pt x="78" y="990"/>
                  </a:lnTo>
                  <a:lnTo>
                    <a:pt x="72" y="990"/>
                  </a:lnTo>
                  <a:lnTo>
                    <a:pt x="60" y="990"/>
                  </a:lnTo>
                  <a:lnTo>
                    <a:pt x="42" y="990"/>
                  </a:lnTo>
                  <a:lnTo>
                    <a:pt x="36" y="996"/>
                  </a:lnTo>
                  <a:lnTo>
                    <a:pt x="30" y="1002"/>
                  </a:lnTo>
                  <a:lnTo>
                    <a:pt x="24" y="1014"/>
                  </a:lnTo>
                  <a:lnTo>
                    <a:pt x="24" y="1020"/>
                  </a:lnTo>
                  <a:lnTo>
                    <a:pt x="18" y="1020"/>
                  </a:lnTo>
                  <a:lnTo>
                    <a:pt x="12" y="1014"/>
                  </a:lnTo>
                  <a:lnTo>
                    <a:pt x="12" y="1008"/>
                  </a:lnTo>
                  <a:lnTo>
                    <a:pt x="12" y="990"/>
                  </a:lnTo>
                  <a:lnTo>
                    <a:pt x="12" y="984"/>
                  </a:lnTo>
                  <a:lnTo>
                    <a:pt x="12" y="972"/>
                  </a:lnTo>
                  <a:lnTo>
                    <a:pt x="12" y="966"/>
                  </a:lnTo>
                  <a:lnTo>
                    <a:pt x="6" y="966"/>
                  </a:lnTo>
                  <a:lnTo>
                    <a:pt x="6" y="960"/>
                  </a:lnTo>
                  <a:lnTo>
                    <a:pt x="6" y="954"/>
                  </a:lnTo>
                  <a:lnTo>
                    <a:pt x="6" y="948"/>
                  </a:lnTo>
                  <a:lnTo>
                    <a:pt x="6" y="942"/>
                  </a:lnTo>
                  <a:lnTo>
                    <a:pt x="12" y="930"/>
                  </a:lnTo>
                  <a:lnTo>
                    <a:pt x="6" y="924"/>
                  </a:lnTo>
                  <a:lnTo>
                    <a:pt x="6" y="918"/>
                  </a:lnTo>
                  <a:lnTo>
                    <a:pt x="6" y="912"/>
                  </a:lnTo>
                  <a:lnTo>
                    <a:pt x="6" y="906"/>
                  </a:lnTo>
                  <a:lnTo>
                    <a:pt x="6" y="900"/>
                  </a:lnTo>
                  <a:lnTo>
                    <a:pt x="0" y="894"/>
                  </a:lnTo>
                  <a:lnTo>
                    <a:pt x="0" y="888"/>
                  </a:lnTo>
                  <a:lnTo>
                    <a:pt x="0" y="882"/>
                  </a:lnTo>
                  <a:lnTo>
                    <a:pt x="6" y="876"/>
                  </a:lnTo>
                  <a:lnTo>
                    <a:pt x="6" y="870"/>
                  </a:lnTo>
                  <a:lnTo>
                    <a:pt x="18" y="864"/>
                  </a:lnTo>
                  <a:lnTo>
                    <a:pt x="18" y="858"/>
                  </a:lnTo>
                  <a:lnTo>
                    <a:pt x="18" y="846"/>
                  </a:lnTo>
                  <a:lnTo>
                    <a:pt x="18" y="834"/>
                  </a:lnTo>
                  <a:lnTo>
                    <a:pt x="18" y="828"/>
                  </a:lnTo>
                  <a:lnTo>
                    <a:pt x="24" y="828"/>
                  </a:lnTo>
                  <a:lnTo>
                    <a:pt x="24" y="810"/>
                  </a:lnTo>
                  <a:lnTo>
                    <a:pt x="24" y="804"/>
                  </a:lnTo>
                  <a:lnTo>
                    <a:pt x="18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24" y="792"/>
                  </a:lnTo>
                  <a:lnTo>
                    <a:pt x="30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6" y="762"/>
                  </a:lnTo>
                  <a:lnTo>
                    <a:pt x="36" y="756"/>
                  </a:lnTo>
                  <a:lnTo>
                    <a:pt x="30" y="756"/>
                  </a:lnTo>
                  <a:lnTo>
                    <a:pt x="30" y="750"/>
                  </a:lnTo>
                  <a:lnTo>
                    <a:pt x="36" y="750"/>
                  </a:lnTo>
                  <a:lnTo>
                    <a:pt x="36" y="744"/>
                  </a:lnTo>
                  <a:lnTo>
                    <a:pt x="30" y="744"/>
                  </a:lnTo>
                  <a:lnTo>
                    <a:pt x="30" y="738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0" y="732"/>
                  </a:lnTo>
                  <a:lnTo>
                    <a:pt x="36" y="726"/>
                  </a:lnTo>
                  <a:lnTo>
                    <a:pt x="30" y="726"/>
                  </a:lnTo>
                  <a:lnTo>
                    <a:pt x="24" y="726"/>
                  </a:lnTo>
                  <a:lnTo>
                    <a:pt x="30" y="720"/>
                  </a:lnTo>
                  <a:lnTo>
                    <a:pt x="30" y="714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696"/>
                  </a:lnTo>
                  <a:lnTo>
                    <a:pt x="66" y="702"/>
                  </a:lnTo>
                  <a:lnTo>
                    <a:pt x="78" y="702"/>
                  </a:lnTo>
                  <a:lnTo>
                    <a:pt x="84" y="702"/>
                  </a:lnTo>
                  <a:lnTo>
                    <a:pt x="96" y="696"/>
                  </a:lnTo>
                  <a:lnTo>
                    <a:pt x="102" y="690"/>
                  </a:lnTo>
                  <a:lnTo>
                    <a:pt x="102" y="684"/>
                  </a:lnTo>
                  <a:lnTo>
                    <a:pt x="114" y="684"/>
                  </a:lnTo>
                  <a:lnTo>
                    <a:pt x="144" y="684"/>
                  </a:lnTo>
                  <a:lnTo>
                    <a:pt x="150" y="690"/>
                  </a:lnTo>
                  <a:lnTo>
                    <a:pt x="162" y="696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6" y="690"/>
                  </a:lnTo>
                  <a:lnTo>
                    <a:pt x="192" y="690"/>
                  </a:lnTo>
                  <a:lnTo>
                    <a:pt x="198" y="684"/>
                  </a:lnTo>
                  <a:lnTo>
                    <a:pt x="204" y="684"/>
                  </a:lnTo>
                  <a:lnTo>
                    <a:pt x="210" y="684"/>
                  </a:lnTo>
                  <a:lnTo>
                    <a:pt x="222" y="678"/>
                  </a:lnTo>
                  <a:lnTo>
                    <a:pt x="228" y="678"/>
                  </a:lnTo>
                  <a:lnTo>
                    <a:pt x="228" y="660"/>
                  </a:lnTo>
                  <a:lnTo>
                    <a:pt x="234" y="642"/>
                  </a:lnTo>
                  <a:lnTo>
                    <a:pt x="246" y="618"/>
                  </a:lnTo>
                  <a:lnTo>
                    <a:pt x="252" y="618"/>
                  </a:lnTo>
                  <a:lnTo>
                    <a:pt x="252" y="600"/>
                  </a:lnTo>
                  <a:lnTo>
                    <a:pt x="252" y="588"/>
                  </a:lnTo>
                  <a:lnTo>
                    <a:pt x="252" y="582"/>
                  </a:lnTo>
                  <a:lnTo>
                    <a:pt x="258" y="576"/>
                  </a:lnTo>
                  <a:lnTo>
                    <a:pt x="270" y="564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70" y="522"/>
                  </a:lnTo>
                  <a:lnTo>
                    <a:pt x="270" y="510"/>
                  </a:lnTo>
                  <a:lnTo>
                    <a:pt x="270" y="498"/>
                  </a:lnTo>
                  <a:lnTo>
                    <a:pt x="258" y="468"/>
                  </a:lnTo>
                  <a:lnTo>
                    <a:pt x="252" y="456"/>
                  </a:lnTo>
                  <a:lnTo>
                    <a:pt x="258" y="444"/>
                  </a:lnTo>
                  <a:lnTo>
                    <a:pt x="264" y="432"/>
                  </a:lnTo>
                  <a:lnTo>
                    <a:pt x="270" y="426"/>
                  </a:lnTo>
                  <a:lnTo>
                    <a:pt x="276" y="420"/>
                  </a:lnTo>
                  <a:lnTo>
                    <a:pt x="288" y="420"/>
                  </a:lnTo>
                  <a:lnTo>
                    <a:pt x="288" y="414"/>
                  </a:lnTo>
                  <a:lnTo>
                    <a:pt x="294" y="414"/>
                  </a:lnTo>
                  <a:lnTo>
                    <a:pt x="306" y="390"/>
                  </a:lnTo>
                  <a:lnTo>
                    <a:pt x="312" y="384"/>
                  </a:lnTo>
                  <a:lnTo>
                    <a:pt x="318" y="378"/>
                  </a:lnTo>
                  <a:lnTo>
                    <a:pt x="318" y="372"/>
                  </a:lnTo>
                  <a:lnTo>
                    <a:pt x="324" y="366"/>
                  </a:lnTo>
                  <a:lnTo>
                    <a:pt x="330" y="354"/>
                  </a:lnTo>
                  <a:lnTo>
                    <a:pt x="336" y="348"/>
                  </a:lnTo>
                  <a:lnTo>
                    <a:pt x="336" y="330"/>
                  </a:lnTo>
                  <a:lnTo>
                    <a:pt x="342" y="324"/>
                  </a:lnTo>
                  <a:lnTo>
                    <a:pt x="342" y="318"/>
                  </a:lnTo>
                  <a:lnTo>
                    <a:pt x="348" y="318"/>
                  </a:lnTo>
                  <a:lnTo>
                    <a:pt x="360" y="318"/>
                  </a:lnTo>
                  <a:lnTo>
                    <a:pt x="372" y="318"/>
                  </a:lnTo>
                  <a:lnTo>
                    <a:pt x="384" y="306"/>
                  </a:lnTo>
                  <a:lnTo>
                    <a:pt x="396" y="300"/>
                  </a:lnTo>
                  <a:lnTo>
                    <a:pt x="396" y="294"/>
                  </a:lnTo>
                  <a:lnTo>
                    <a:pt x="396" y="288"/>
                  </a:lnTo>
                  <a:lnTo>
                    <a:pt x="390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2"/>
                  </a:lnTo>
                  <a:lnTo>
                    <a:pt x="378" y="246"/>
                  </a:lnTo>
                  <a:lnTo>
                    <a:pt x="384" y="228"/>
                  </a:lnTo>
                  <a:lnTo>
                    <a:pt x="390" y="216"/>
                  </a:lnTo>
                  <a:lnTo>
                    <a:pt x="402" y="210"/>
                  </a:lnTo>
                  <a:lnTo>
                    <a:pt x="408" y="210"/>
                  </a:lnTo>
                  <a:lnTo>
                    <a:pt x="420" y="204"/>
                  </a:lnTo>
                  <a:lnTo>
                    <a:pt x="444" y="198"/>
                  </a:lnTo>
                  <a:lnTo>
                    <a:pt x="462" y="192"/>
                  </a:lnTo>
                  <a:lnTo>
                    <a:pt x="474" y="186"/>
                  </a:lnTo>
                  <a:lnTo>
                    <a:pt x="480" y="192"/>
                  </a:lnTo>
                  <a:lnTo>
                    <a:pt x="492" y="192"/>
                  </a:lnTo>
                  <a:lnTo>
                    <a:pt x="498" y="192"/>
                  </a:lnTo>
                  <a:lnTo>
                    <a:pt x="504" y="192"/>
                  </a:lnTo>
                  <a:lnTo>
                    <a:pt x="510" y="192"/>
                  </a:lnTo>
                  <a:lnTo>
                    <a:pt x="516" y="186"/>
                  </a:lnTo>
                  <a:lnTo>
                    <a:pt x="522" y="180"/>
                  </a:lnTo>
                  <a:lnTo>
                    <a:pt x="522" y="174"/>
                  </a:lnTo>
                  <a:lnTo>
                    <a:pt x="528" y="168"/>
                  </a:lnTo>
                  <a:lnTo>
                    <a:pt x="534" y="168"/>
                  </a:lnTo>
                  <a:lnTo>
                    <a:pt x="534" y="156"/>
                  </a:lnTo>
                  <a:lnTo>
                    <a:pt x="534" y="150"/>
                  </a:lnTo>
                  <a:lnTo>
                    <a:pt x="552" y="138"/>
                  </a:lnTo>
                  <a:lnTo>
                    <a:pt x="558" y="126"/>
                  </a:lnTo>
                  <a:lnTo>
                    <a:pt x="558" y="114"/>
                  </a:lnTo>
                  <a:lnTo>
                    <a:pt x="564" y="102"/>
                  </a:lnTo>
                  <a:lnTo>
                    <a:pt x="564" y="96"/>
                  </a:lnTo>
                  <a:lnTo>
                    <a:pt x="564" y="90"/>
                  </a:lnTo>
                  <a:lnTo>
                    <a:pt x="564" y="72"/>
                  </a:lnTo>
                  <a:lnTo>
                    <a:pt x="564" y="60"/>
                  </a:lnTo>
                  <a:lnTo>
                    <a:pt x="564" y="54"/>
                  </a:lnTo>
                  <a:lnTo>
                    <a:pt x="570" y="42"/>
                  </a:lnTo>
                  <a:lnTo>
                    <a:pt x="576" y="42"/>
                  </a:lnTo>
                  <a:lnTo>
                    <a:pt x="582" y="36"/>
                  </a:lnTo>
                  <a:lnTo>
                    <a:pt x="594" y="36"/>
                  </a:lnTo>
                  <a:lnTo>
                    <a:pt x="594" y="30"/>
                  </a:lnTo>
                  <a:lnTo>
                    <a:pt x="600" y="24"/>
                  </a:lnTo>
                  <a:lnTo>
                    <a:pt x="600" y="12"/>
                  </a:lnTo>
                  <a:lnTo>
                    <a:pt x="606" y="6"/>
                  </a:lnTo>
                  <a:lnTo>
                    <a:pt x="606" y="0"/>
                  </a:lnTo>
                  <a:lnTo>
                    <a:pt x="612" y="0"/>
                  </a:lnTo>
                  <a:lnTo>
                    <a:pt x="618" y="0"/>
                  </a:lnTo>
                  <a:lnTo>
                    <a:pt x="624" y="6"/>
                  </a:lnTo>
                  <a:lnTo>
                    <a:pt x="624" y="12"/>
                  </a:lnTo>
                  <a:lnTo>
                    <a:pt x="624" y="18"/>
                  </a:lnTo>
                  <a:lnTo>
                    <a:pt x="624" y="24"/>
                  </a:lnTo>
                  <a:lnTo>
                    <a:pt x="624" y="30"/>
                  </a:lnTo>
                  <a:lnTo>
                    <a:pt x="630" y="30"/>
                  </a:lnTo>
                  <a:lnTo>
                    <a:pt x="630" y="36"/>
                  </a:lnTo>
                  <a:lnTo>
                    <a:pt x="630" y="42"/>
                  </a:lnTo>
                  <a:lnTo>
                    <a:pt x="630" y="48"/>
                  </a:lnTo>
                  <a:lnTo>
                    <a:pt x="636" y="54"/>
                  </a:lnTo>
                  <a:lnTo>
                    <a:pt x="642" y="48"/>
                  </a:lnTo>
                  <a:lnTo>
                    <a:pt x="648" y="48"/>
                  </a:lnTo>
                  <a:lnTo>
                    <a:pt x="648" y="60"/>
                  </a:lnTo>
                  <a:lnTo>
                    <a:pt x="654" y="66"/>
                  </a:lnTo>
                  <a:lnTo>
                    <a:pt x="660" y="72"/>
                  </a:lnTo>
                  <a:lnTo>
                    <a:pt x="666" y="72"/>
                  </a:lnTo>
                  <a:lnTo>
                    <a:pt x="666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72" y="66"/>
                  </a:lnTo>
                  <a:lnTo>
                    <a:pt x="678" y="66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6" y="66"/>
                  </a:lnTo>
                  <a:lnTo>
                    <a:pt x="696" y="72"/>
                  </a:lnTo>
                  <a:lnTo>
                    <a:pt x="702" y="72"/>
                  </a:lnTo>
                  <a:lnTo>
                    <a:pt x="708" y="72"/>
                  </a:lnTo>
                  <a:lnTo>
                    <a:pt x="720" y="66"/>
                  </a:lnTo>
                  <a:lnTo>
                    <a:pt x="726" y="78"/>
                  </a:lnTo>
                  <a:lnTo>
                    <a:pt x="744" y="84"/>
                  </a:lnTo>
                  <a:lnTo>
                    <a:pt x="744" y="90"/>
                  </a:lnTo>
                  <a:lnTo>
                    <a:pt x="744" y="96"/>
                  </a:lnTo>
                  <a:lnTo>
                    <a:pt x="738" y="96"/>
                  </a:lnTo>
                  <a:lnTo>
                    <a:pt x="738" y="102"/>
                  </a:lnTo>
                  <a:lnTo>
                    <a:pt x="732" y="102"/>
                  </a:lnTo>
                  <a:lnTo>
                    <a:pt x="732" y="108"/>
                  </a:lnTo>
                  <a:lnTo>
                    <a:pt x="738" y="108"/>
                  </a:lnTo>
                  <a:lnTo>
                    <a:pt x="744" y="114"/>
                  </a:lnTo>
                  <a:lnTo>
                    <a:pt x="750" y="108"/>
                  </a:lnTo>
                  <a:lnTo>
                    <a:pt x="756" y="108"/>
                  </a:lnTo>
                  <a:lnTo>
                    <a:pt x="762" y="108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80" y="120"/>
                  </a:lnTo>
                  <a:lnTo>
                    <a:pt x="774" y="120"/>
                  </a:lnTo>
                  <a:lnTo>
                    <a:pt x="768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74" y="138"/>
                  </a:lnTo>
                  <a:lnTo>
                    <a:pt x="774" y="132"/>
                  </a:lnTo>
                  <a:lnTo>
                    <a:pt x="780" y="132"/>
                  </a:lnTo>
                  <a:lnTo>
                    <a:pt x="786" y="132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44"/>
                  </a:lnTo>
                  <a:lnTo>
                    <a:pt x="786" y="150"/>
                  </a:lnTo>
                  <a:lnTo>
                    <a:pt x="780" y="150"/>
                  </a:lnTo>
                  <a:lnTo>
                    <a:pt x="774" y="150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74" y="162"/>
                  </a:lnTo>
                  <a:lnTo>
                    <a:pt x="780" y="162"/>
                  </a:lnTo>
                  <a:lnTo>
                    <a:pt x="786" y="168"/>
                  </a:lnTo>
                  <a:lnTo>
                    <a:pt x="792" y="162"/>
                  </a:lnTo>
                  <a:lnTo>
                    <a:pt x="798" y="168"/>
                  </a:lnTo>
                  <a:lnTo>
                    <a:pt x="798" y="174"/>
                  </a:lnTo>
                  <a:lnTo>
                    <a:pt x="804" y="168"/>
                  </a:lnTo>
                  <a:lnTo>
                    <a:pt x="810" y="168"/>
                  </a:lnTo>
                  <a:lnTo>
                    <a:pt x="810" y="174"/>
                  </a:lnTo>
                  <a:lnTo>
                    <a:pt x="816" y="168"/>
                  </a:lnTo>
                  <a:lnTo>
                    <a:pt x="822" y="162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74"/>
                  </a:lnTo>
                  <a:lnTo>
                    <a:pt x="834" y="192"/>
                  </a:lnTo>
                  <a:lnTo>
                    <a:pt x="834" y="198"/>
                  </a:lnTo>
                  <a:lnTo>
                    <a:pt x="840" y="192"/>
                  </a:lnTo>
                  <a:lnTo>
                    <a:pt x="846" y="192"/>
                  </a:lnTo>
                  <a:lnTo>
                    <a:pt x="852" y="186"/>
                  </a:lnTo>
                  <a:lnTo>
                    <a:pt x="858" y="192"/>
                  </a:lnTo>
                  <a:lnTo>
                    <a:pt x="864" y="192"/>
                  </a:lnTo>
                  <a:lnTo>
                    <a:pt x="870" y="198"/>
                  </a:lnTo>
                  <a:lnTo>
                    <a:pt x="876" y="180"/>
                  </a:lnTo>
                  <a:lnTo>
                    <a:pt x="882" y="180"/>
                  </a:lnTo>
                  <a:lnTo>
                    <a:pt x="888" y="180"/>
                  </a:lnTo>
                  <a:lnTo>
                    <a:pt x="894" y="186"/>
                  </a:lnTo>
                  <a:lnTo>
                    <a:pt x="888" y="198"/>
                  </a:lnTo>
                  <a:lnTo>
                    <a:pt x="894" y="204"/>
                  </a:lnTo>
                  <a:lnTo>
                    <a:pt x="906" y="210"/>
                  </a:lnTo>
                  <a:lnTo>
                    <a:pt x="918" y="246"/>
                  </a:lnTo>
                  <a:lnTo>
                    <a:pt x="930" y="258"/>
                  </a:lnTo>
                  <a:lnTo>
                    <a:pt x="942" y="282"/>
                  </a:lnTo>
                  <a:lnTo>
                    <a:pt x="966" y="288"/>
                  </a:lnTo>
                  <a:lnTo>
                    <a:pt x="972" y="300"/>
                  </a:lnTo>
                  <a:lnTo>
                    <a:pt x="972" y="318"/>
                  </a:lnTo>
                  <a:lnTo>
                    <a:pt x="996" y="336"/>
                  </a:lnTo>
                  <a:lnTo>
                    <a:pt x="1050" y="390"/>
                  </a:lnTo>
                  <a:lnTo>
                    <a:pt x="1116" y="462"/>
                  </a:lnTo>
                  <a:lnTo>
                    <a:pt x="1122" y="468"/>
                  </a:lnTo>
                  <a:lnTo>
                    <a:pt x="1128" y="474"/>
                  </a:lnTo>
                  <a:lnTo>
                    <a:pt x="1140" y="474"/>
                  </a:lnTo>
                  <a:lnTo>
                    <a:pt x="1152" y="486"/>
                  </a:lnTo>
                  <a:lnTo>
                    <a:pt x="1152" y="492"/>
                  </a:lnTo>
                  <a:lnTo>
                    <a:pt x="1158" y="492"/>
                  </a:lnTo>
                  <a:lnTo>
                    <a:pt x="1164" y="492"/>
                  </a:lnTo>
                  <a:lnTo>
                    <a:pt x="1170" y="504"/>
                  </a:lnTo>
                  <a:lnTo>
                    <a:pt x="1176" y="504"/>
                  </a:lnTo>
                  <a:lnTo>
                    <a:pt x="1176" y="510"/>
                  </a:lnTo>
                  <a:lnTo>
                    <a:pt x="1200" y="516"/>
                  </a:lnTo>
                  <a:lnTo>
                    <a:pt x="1200" y="522"/>
                  </a:lnTo>
                  <a:lnTo>
                    <a:pt x="1212" y="534"/>
                  </a:lnTo>
                  <a:lnTo>
                    <a:pt x="1218" y="540"/>
                  </a:lnTo>
                  <a:lnTo>
                    <a:pt x="1224" y="552"/>
                  </a:lnTo>
                  <a:lnTo>
                    <a:pt x="1230" y="552"/>
                  </a:lnTo>
                  <a:lnTo>
                    <a:pt x="1242" y="552"/>
                  </a:lnTo>
                  <a:lnTo>
                    <a:pt x="1248" y="558"/>
                  </a:lnTo>
                  <a:lnTo>
                    <a:pt x="1254" y="558"/>
                  </a:lnTo>
                  <a:lnTo>
                    <a:pt x="1260" y="564"/>
                  </a:lnTo>
                  <a:lnTo>
                    <a:pt x="1266" y="564"/>
                  </a:lnTo>
                  <a:lnTo>
                    <a:pt x="1272" y="564"/>
                  </a:lnTo>
                  <a:lnTo>
                    <a:pt x="1284" y="564"/>
                  </a:lnTo>
                  <a:lnTo>
                    <a:pt x="1290" y="570"/>
                  </a:lnTo>
                  <a:lnTo>
                    <a:pt x="1296" y="576"/>
                  </a:lnTo>
                  <a:lnTo>
                    <a:pt x="1302" y="588"/>
                  </a:lnTo>
                  <a:lnTo>
                    <a:pt x="1296" y="594"/>
                  </a:lnTo>
                  <a:lnTo>
                    <a:pt x="1296" y="600"/>
                  </a:lnTo>
                  <a:lnTo>
                    <a:pt x="1296" y="606"/>
                  </a:lnTo>
                  <a:lnTo>
                    <a:pt x="1290" y="612"/>
                  </a:lnTo>
                  <a:lnTo>
                    <a:pt x="1290" y="624"/>
                  </a:lnTo>
                  <a:lnTo>
                    <a:pt x="1290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308" y="654"/>
                  </a:lnTo>
                  <a:lnTo>
                    <a:pt x="1320" y="654"/>
                  </a:lnTo>
                  <a:lnTo>
                    <a:pt x="1326" y="660"/>
                  </a:lnTo>
                  <a:lnTo>
                    <a:pt x="1338" y="654"/>
                  </a:lnTo>
                  <a:lnTo>
                    <a:pt x="1344" y="654"/>
                  </a:lnTo>
                  <a:lnTo>
                    <a:pt x="1356" y="654"/>
                  </a:lnTo>
                  <a:lnTo>
                    <a:pt x="1362" y="648"/>
                  </a:lnTo>
                  <a:lnTo>
                    <a:pt x="1368" y="642"/>
                  </a:lnTo>
                  <a:lnTo>
                    <a:pt x="1374" y="636"/>
                  </a:lnTo>
                  <a:lnTo>
                    <a:pt x="1380" y="636"/>
                  </a:lnTo>
                  <a:lnTo>
                    <a:pt x="1392" y="636"/>
                  </a:lnTo>
                  <a:lnTo>
                    <a:pt x="1398" y="636"/>
                  </a:lnTo>
                  <a:lnTo>
                    <a:pt x="1404" y="636"/>
                  </a:lnTo>
                  <a:lnTo>
                    <a:pt x="1410" y="630"/>
                  </a:lnTo>
                  <a:lnTo>
                    <a:pt x="1410" y="624"/>
                  </a:lnTo>
                  <a:lnTo>
                    <a:pt x="1422" y="618"/>
                  </a:lnTo>
                  <a:lnTo>
                    <a:pt x="1428" y="618"/>
                  </a:lnTo>
                  <a:lnTo>
                    <a:pt x="1440" y="612"/>
                  </a:lnTo>
                  <a:lnTo>
                    <a:pt x="1446" y="612"/>
                  </a:lnTo>
                  <a:lnTo>
                    <a:pt x="1458" y="612"/>
                  </a:lnTo>
                  <a:lnTo>
                    <a:pt x="1470" y="624"/>
                  </a:lnTo>
                  <a:lnTo>
                    <a:pt x="1488" y="642"/>
                  </a:lnTo>
                  <a:lnTo>
                    <a:pt x="1500" y="648"/>
                  </a:lnTo>
                  <a:lnTo>
                    <a:pt x="1512" y="654"/>
                  </a:lnTo>
                  <a:lnTo>
                    <a:pt x="1518" y="660"/>
                  </a:lnTo>
                  <a:lnTo>
                    <a:pt x="1524" y="660"/>
                  </a:lnTo>
                  <a:lnTo>
                    <a:pt x="1530" y="660"/>
                  </a:lnTo>
                  <a:lnTo>
                    <a:pt x="1536" y="666"/>
                  </a:lnTo>
                  <a:lnTo>
                    <a:pt x="1542" y="672"/>
                  </a:lnTo>
                  <a:lnTo>
                    <a:pt x="1548" y="672"/>
                  </a:lnTo>
                  <a:lnTo>
                    <a:pt x="1554" y="684"/>
                  </a:lnTo>
                  <a:lnTo>
                    <a:pt x="1554" y="690"/>
                  </a:lnTo>
                  <a:lnTo>
                    <a:pt x="1566" y="702"/>
                  </a:lnTo>
                  <a:lnTo>
                    <a:pt x="1572" y="720"/>
                  </a:lnTo>
                  <a:lnTo>
                    <a:pt x="1572" y="726"/>
                  </a:lnTo>
                  <a:lnTo>
                    <a:pt x="1578" y="732"/>
                  </a:lnTo>
                  <a:lnTo>
                    <a:pt x="1584" y="738"/>
                  </a:lnTo>
                  <a:lnTo>
                    <a:pt x="1590" y="738"/>
                  </a:lnTo>
                  <a:lnTo>
                    <a:pt x="1596" y="738"/>
                  </a:lnTo>
                  <a:lnTo>
                    <a:pt x="1602" y="744"/>
                  </a:lnTo>
                  <a:lnTo>
                    <a:pt x="1608" y="744"/>
                  </a:lnTo>
                  <a:lnTo>
                    <a:pt x="1614" y="744"/>
                  </a:lnTo>
                  <a:lnTo>
                    <a:pt x="1626" y="744"/>
                  </a:lnTo>
                  <a:lnTo>
                    <a:pt x="1638" y="744"/>
                  </a:lnTo>
                  <a:lnTo>
                    <a:pt x="1650" y="744"/>
                  </a:lnTo>
                  <a:lnTo>
                    <a:pt x="1662" y="744"/>
                  </a:lnTo>
                  <a:lnTo>
                    <a:pt x="1668" y="744"/>
                  </a:lnTo>
                  <a:lnTo>
                    <a:pt x="1674" y="744"/>
                  </a:lnTo>
                  <a:lnTo>
                    <a:pt x="1686" y="744"/>
                  </a:lnTo>
                  <a:lnTo>
                    <a:pt x="1698" y="750"/>
                  </a:lnTo>
                  <a:lnTo>
                    <a:pt x="1704" y="750"/>
                  </a:lnTo>
                  <a:lnTo>
                    <a:pt x="1716" y="756"/>
                  </a:lnTo>
                  <a:lnTo>
                    <a:pt x="1722" y="756"/>
                  </a:lnTo>
                  <a:lnTo>
                    <a:pt x="1728" y="756"/>
                  </a:lnTo>
                  <a:lnTo>
                    <a:pt x="1734" y="762"/>
                  </a:lnTo>
                  <a:lnTo>
                    <a:pt x="1740" y="768"/>
                  </a:lnTo>
                  <a:lnTo>
                    <a:pt x="1758" y="780"/>
                  </a:lnTo>
                  <a:lnTo>
                    <a:pt x="1770" y="780"/>
                  </a:lnTo>
                  <a:lnTo>
                    <a:pt x="1776" y="780"/>
                  </a:lnTo>
                  <a:lnTo>
                    <a:pt x="1782" y="780"/>
                  </a:lnTo>
                  <a:lnTo>
                    <a:pt x="1800" y="798"/>
                  </a:lnTo>
                  <a:lnTo>
                    <a:pt x="1818" y="810"/>
                  </a:lnTo>
                  <a:lnTo>
                    <a:pt x="1830" y="816"/>
                  </a:lnTo>
                  <a:lnTo>
                    <a:pt x="1836" y="822"/>
                  </a:lnTo>
                  <a:lnTo>
                    <a:pt x="1836" y="828"/>
                  </a:lnTo>
                  <a:lnTo>
                    <a:pt x="1842" y="828"/>
                  </a:lnTo>
                  <a:lnTo>
                    <a:pt x="1848" y="834"/>
                  </a:lnTo>
                  <a:lnTo>
                    <a:pt x="1854" y="840"/>
                  </a:lnTo>
                  <a:lnTo>
                    <a:pt x="1860" y="846"/>
                  </a:lnTo>
                  <a:lnTo>
                    <a:pt x="1872" y="852"/>
                  </a:lnTo>
                  <a:lnTo>
                    <a:pt x="1884" y="852"/>
                  </a:lnTo>
                  <a:lnTo>
                    <a:pt x="1896" y="852"/>
                  </a:lnTo>
                  <a:lnTo>
                    <a:pt x="1902" y="846"/>
                  </a:lnTo>
                  <a:lnTo>
                    <a:pt x="1908" y="852"/>
                  </a:lnTo>
                  <a:lnTo>
                    <a:pt x="1920" y="858"/>
                  </a:lnTo>
                  <a:lnTo>
                    <a:pt x="1926" y="870"/>
                  </a:lnTo>
                  <a:lnTo>
                    <a:pt x="1938" y="888"/>
                  </a:lnTo>
                  <a:lnTo>
                    <a:pt x="1944" y="900"/>
                  </a:lnTo>
                  <a:lnTo>
                    <a:pt x="1950" y="900"/>
                  </a:lnTo>
                  <a:lnTo>
                    <a:pt x="1962" y="906"/>
                  </a:lnTo>
                  <a:lnTo>
                    <a:pt x="1968" y="906"/>
                  </a:lnTo>
                  <a:lnTo>
                    <a:pt x="1980" y="906"/>
                  </a:lnTo>
                  <a:lnTo>
                    <a:pt x="1998" y="906"/>
                  </a:lnTo>
                  <a:lnTo>
                    <a:pt x="2010" y="900"/>
                  </a:lnTo>
                  <a:lnTo>
                    <a:pt x="2022" y="900"/>
                  </a:lnTo>
                  <a:lnTo>
                    <a:pt x="2028" y="900"/>
                  </a:lnTo>
                  <a:lnTo>
                    <a:pt x="2034" y="906"/>
                  </a:lnTo>
                  <a:lnTo>
                    <a:pt x="2046" y="906"/>
                  </a:lnTo>
                  <a:lnTo>
                    <a:pt x="2052" y="900"/>
                  </a:lnTo>
                  <a:lnTo>
                    <a:pt x="2058" y="900"/>
                  </a:lnTo>
                  <a:lnTo>
                    <a:pt x="2064" y="900"/>
                  </a:lnTo>
                  <a:lnTo>
                    <a:pt x="2070" y="900"/>
                  </a:lnTo>
                  <a:lnTo>
                    <a:pt x="2076" y="900"/>
                  </a:lnTo>
                  <a:lnTo>
                    <a:pt x="2076" y="906"/>
                  </a:lnTo>
                  <a:lnTo>
                    <a:pt x="2088" y="906"/>
                  </a:lnTo>
                  <a:lnTo>
                    <a:pt x="2106" y="900"/>
                  </a:lnTo>
                  <a:lnTo>
                    <a:pt x="2118" y="900"/>
                  </a:lnTo>
                  <a:lnTo>
                    <a:pt x="2130" y="900"/>
                  </a:lnTo>
                  <a:lnTo>
                    <a:pt x="2142" y="900"/>
                  </a:lnTo>
                  <a:lnTo>
                    <a:pt x="2148" y="906"/>
                  </a:lnTo>
                  <a:lnTo>
                    <a:pt x="2154" y="906"/>
                  </a:lnTo>
                  <a:lnTo>
                    <a:pt x="2160" y="906"/>
                  </a:lnTo>
                  <a:lnTo>
                    <a:pt x="2166" y="906"/>
                  </a:lnTo>
                  <a:lnTo>
                    <a:pt x="2178" y="918"/>
                  </a:lnTo>
                  <a:lnTo>
                    <a:pt x="2178" y="924"/>
                  </a:lnTo>
                  <a:lnTo>
                    <a:pt x="2184" y="924"/>
                  </a:lnTo>
                  <a:lnTo>
                    <a:pt x="2190" y="924"/>
                  </a:lnTo>
                  <a:lnTo>
                    <a:pt x="2196" y="924"/>
                  </a:lnTo>
                  <a:lnTo>
                    <a:pt x="2202" y="918"/>
                  </a:lnTo>
                  <a:lnTo>
                    <a:pt x="2208" y="918"/>
                  </a:lnTo>
                  <a:lnTo>
                    <a:pt x="2214" y="918"/>
                  </a:lnTo>
                  <a:lnTo>
                    <a:pt x="2226" y="918"/>
                  </a:lnTo>
                  <a:lnTo>
                    <a:pt x="2220" y="948"/>
                  </a:lnTo>
                  <a:lnTo>
                    <a:pt x="2214" y="972"/>
                  </a:lnTo>
                  <a:lnTo>
                    <a:pt x="2214" y="984"/>
                  </a:lnTo>
                  <a:lnTo>
                    <a:pt x="2208" y="990"/>
                  </a:lnTo>
                  <a:lnTo>
                    <a:pt x="2208" y="996"/>
                  </a:lnTo>
                  <a:lnTo>
                    <a:pt x="2202" y="996"/>
                  </a:lnTo>
                  <a:lnTo>
                    <a:pt x="2196" y="996"/>
                  </a:lnTo>
                  <a:lnTo>
                    <a:pt x="2190" y="1008"/>
                  </a:lnTo>
                  <a:lnTo>
                    <a:pt x="2172" y="1074"/>
                  </a:lnTo>
                  <a:lnTo>
                    <a:pt x="2166" y="1092"/>
                  </a:lnTo>
                  <a:lnTo>
                    <a:pt x="2172" y="1110"/>
                  </a:lnTo>
                  <a:lnTo>
                    <a:pt x="2172" y="1122"/>
                  </a:lnTo>
                  <a:lnTo>
                    <a:pt x="2166" y="1134"/>
                  </a:lnTo>
                  <a:lnTo>
                    <a:pt x="2148" y="1140"/>
                  </a:lnTo>
                  <a:lnTo>
                    <a:pt x="2148" y="1134"/>
                  </a:lnTo>
                  <a:lnTo>
                    <a:pt x="2118" y="1140"/>
                  </a:lnTo>
                  <a:lnTo>
                    <a:pt x="2088" y="1134"/>
                  </a:lnTo>
                  <a:lnTo>
                    <a:pt x="2064" y="1122"/>
                  </a:lnTo>
                  <a:lnTo>
                    <a:pt x="2034" y="1122"/>
                  </a:lnTo>
                  <a:lnTo>
                    <a:pt x="2022" y="1128"/>
                  </a:lnTo>
                  <a:lnTo>
                    <a:pt x="1986" y="1128"/>
                  </a:lnTo>
                  <a:lnTo>
                    <a:pt x="1938" y="1122"/>
                  </a:lnTo>
                  <a:lnTo>
                    <a:pt x="1932" y="1116"/>
                  </a:lnTo>
                  <a:lnTo>
                    <a:pt x="1896" y="1110"/>
                  </a:lnTo>
                  <a:lnTo>
                    <a:pt x="1878" y="1104"/>
                  </a:lnTo>
                  <a:lnTo>
                    <a:pt x="1866" y="1098"/>
                  </a:lnTo>
                  <a:lnTo>
                    <a:pt x="1860" y="1098"/>
                  </a:lnTo>
                  <a:lnTo>
                    <a:pt x="1854" y="1092"/>
                  </a:lnTo>
                  <a:lnTo>
                    <a:pt x="1860" y="1092"/>
                  </a:lnTo>
                  <a:lnTo>
                    <a:pt x="1860" y="1086"/>
                  </a:lnTo>
                  <a:lnTo>
                    <a:pt x="1854" y="1086"/>
                  </a:lnTo>
                  <a:lnTo>
                    <a:pt x="1842" y="1080"/>
                  </a:lnTo>
                  <a:lnTo>
                    <a:pt x="1818" y="1062"/>
                  </a:lnTo>
                  <a:lnTo>
                    <a:pt x="1782" y="1056"/>
                  </a:lnTo>
                  <a:lnTo>
                    <a:pt x="1770" y="1068"/>
                  </a:lnTo>
                  <a:lnTo>
                    <a:pt x="1746" y="1098"/>
                  </a:lnTo>
                  <a:lnTo>
                    <a:pt x="1722" y="1104"/>
                  </a:lnTo>
                  <a:lnTo>
                    <a:pt x="1710" y="1122"/>
                  </a:lnTo>
                  <a:lnTo>
                    <a:pt x="1710" y="1128"/>
                  </a:lnTo>
                  <a:lnTo>
                    <a:pt x="1710" y="1140"/>
                  </a:lnTo>
                  <a:lnTo>
                    <a:pt x="1698" y="1146"/>
                  </a:lnTo>
                  <a:lnTo>
                    <a:pt x="1686" y="1152"/>
                  </a:lnTo>
                  <a:lnTo>
                    <a:pt x="1680" y="1164"/>
                  </a:lnTo>
                  <a:lnTo>
                    <a:pt x="1680" y="1170"/>
                  </a:lnTo>
                  <a:lnTo>
                    <a:pt x="1686" y="1170"/>
                  </a:lnTo>
                  <a:lnTo>
                    <a:pt x="1686" y="1176"/>
                  </a:lnTo>
                  <a:lnTo>
                    <a:pt x="1698" y="1188"/>
                  </a:lnTo>
                  <a:lnTo>
                    <a:pt x="1704" y="1188"/>
                  </a:lnTo>
                  <a:lnTo>
                    <a:pt x="1698" y="1194"/>
                  </a:lnTo>
                  <a:lnTo>
                    <a:pt x="1704" y="1194"/>
                  </a:lnTo>
                  <a:lnTo>
                    <a:pt x="1704" y="1200"/>
                  </a:lnTo>
                  <a:lnTo>
                    <a:pt x="1704" y="1206"/>
                  </a:lnTo>
                  <a:lnTo>
                    <a:pt x="1704" y="1212"/>
                  </a:lnTo>
                  <a:lnTo>
                    <a:pt x="1704" y="1218"/>
                  </a:lnTo>
                  <a:lnTo>
                    <a:pt x="1710" y="1218"/>
                  </a:lnTo>
                  <a:lnTo>
                    <a:pt x="1710" y="1212"/>
                  </a:lnTo>
                  <a:lnTo>
                    <a:pt x="1716" y="1212"/>
                  </a:lnTo>
                  <a:lnTo>
                    <a:pt x="1716" y="1218"/>
                  </a:lnTo>
                  <a:lnTo>
                    <a:pt x="1716" y="1224"/>
                  </a:lnTo>
                  <a:lnTo>
                    <a:pt x="1716" y="1230"/>
                  </a:lnTo>
                  <a:lnTo>
                    <a:pt x="1722" y="1236"/>
                  </a:lnTo>
                  <a:lnTo>
                    <a:pt x="1740" y="1230"/>
                  </a:lnTo>
                  <a:lnTo>
                    <a:pt x="1734" y="1236"/>
                  </a:lnTo>
                  <a:lnTo>
                    <a:pt x="1734" y="1242"/>
                  </a:lnTo>
                  <a:lnTo>
                    <a:pt x="1734" y="1248"/>
                  </a:lnTo>
                  <a:lnTo>
                    <a:pt x="1734" y="1254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52" y="1266"/>
                  </a:lnTo>
                  <a:lnTo>
                    <a:pt x="1764" y="1266"/>
                  </a:lnTo>
                  <a:lnTo>
                    <a:pt x="1788" y="1260"/>
                  </a:lnTo>
                  <a:lnTo>
                    <a:pt x="1800" y="1260"/>
                  </a:lnTo>
                  <a:lnTo>
                    <a:pt x="1806" y="1272"/>
                  </a:lnTo>
                  <a:lnTo>
                    <a:pt x="1806" y="1296"/>
                  </a:lnTo>
                  <a:lnTo>
                    <a:pt x="1800" y="1308"/>
                  </a:lnTo>
                  <a:lnTo>
                    <a:pt x="1788" y="1308"/>
                  </a:lnTo>
                  <a:lnTo>
                    <a:pt x="1782" y="13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7" name="Freeform 32">
              <a:extLst>
                <a:ext uri="{FF2B5EF4-FFF2-40B4-BE49-F238E27FC236}">
                  <a16:creationId xmlns:a16="http://schemas.microsoft.com/office/drawing/2014/main" id="{1EF84438-BF7A-47D2-9156-E231EA2A279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3295" y="2316568"/>
              <a:ext cx="1290281" cy="1084704"/>
            </a:xfrm>
            <a:custGeom>
              <a:avLst/>
              <a:gdLst>
                <a:gd name="T0" fmla="*/ 177 w 2430"/>
                <a:gd name="T1" fmla="*/ 169 h 2040"/>
                <a:gd name="T2" fmla="*/ 174 w 2430"/>
                <a:gd name="T3" fmla="*/ 173 h 2040"/>
                <a:gd name="T4" fmla="*/ 169 w 2430"/>
                <a:gd name="T5" fmla="*/ 171 h 2040"/>
                <a:gd name="T6" fmla="*/ 160 w 2430"/>
                <a:gd name="T7" fmla="*/ 163 h 2040"/>
                <a:gd name="T8" fmla="*/ 154 w 2430"/>
                <a:gd name="T9" fmla="*/ 149 h 2040"/>
                <a:gd name="T10" fmla="*/ 144 w 2430"/>
                <a:gd name="T11" fmla="*/ 147 h 2040"/>
                <a:gd name="T12" fmla="*/ 133 w 2430"/>
                <a:gd name="T13" fmla="*/ 146 h 2040"/>
                <a:gd name="T14" fmla="*/ 121 w 2430"/>
                <a:gd name="T15" fmla="*/ 145 h 2040"/>
                <a:gd name="T16" fmla="*/ 110 w 2430"/>
                <a:gd name="T17" fmla="*/ 137 h 2040"/>
                <a:gd name="T18" fmla="*/ 97 w 2430"/>
                <a:gd name="T19" fmla="*/ 131 h 2040"/>
                <a:gd name="T20" fmla="*/ 87 w 2430"/>
                <a:gd name="T21" fmla="*/ 125 h 2040"/>
                <a:gd name="T22" fmla="*/ 75 w 2430"/>
                <a:gd name="T23" fmla="*/ 122 h 2040"/>
                <a:gd name="T24" fmla="*/ 65 w 2430"/>
                <a:gd name="T25" fmla="*/ 122 h 2040"/>
                <a:gd name="T26" fmla="*/ 59 w 2430"/>
                <a:gd name="T27" fmla="*/ 115 h 2040"/>
                <a:gd name="T28" fmla="*/ 50 w 2430"/>
                <a:gd name="T29" fmla="*/ 107 h 2040"/>
                <a:gd name="T30" fmla="*/ 28 w 2430"/>
                <a:gd name="T31" fmla="*/ 84 h 2040"/>
                <a:gd name="T32" fmla="*/ 22 w 2430"/>
                <a:gd name="T33" fmla="*/ 82 h 2040"/>
                <a:gd name="T34" fmla="*/ 20 w 2430"/>
                <a:gd name="T35" fmla="*/ 79 h 2040"/>
                <a:gd name="T36" fmla="*/ 16 w 2430"/>
                <a:gd name="T37" fmla="*/ 76 h 2040"/>
                <a:gd name="T38" fmla="*/ 11 w 2430"/>
                <a:gd name="T39" fmla="*/ 74 h 2040"/>
                <a:gd name="T40" fmla="*/ 7 w 2430"/>
                <a:gd name="T41" fmla="*/ 69 h 2040"/>
                <a:gd name="T42" fmla="*/ 0 w 2430"/>
                <a:gd name="T43" fmla="*/ 60 h 2040"/>
                <a:gd name="T44" fmla="*/ 10 w 2430"/>
                <a:gd name="T45" fmla="*/ 53 h 2040"/>
                <a:gd name="T46" fmla="*/ 15 w 2430"/>
                <a:gd name="T47" fmla="*/ 40 h 2040"/>
                <a:gd name="T48" fmla="*/ 9 w 2430"/>
                <a:gd name="T49" fmla="*/ 29 h 2040"/>
                <a:gd name="T50" fmla="*/ 7 w 2430"/>
                <a:gd name="T51" fmla="*/ 16 h 2040"/>
                <a:gd name="T52" fmla="*/ 18 w 2430"/>
                <a:gd name="T53" fmla="*/ 21 h 2040"/>
                <a:gd name="T54" fmla="*/ 48 w 2430"/>
                <a:gd name="T55" fmla="*/ 27 h 2040"/>
                <a:gd name="T56" fmla="*/ 62 w 2430"/>
                <a:gd name="T57" fmla="*/ 25 h 2040"/>
                <a:gd name="T58" fmla="*/ 59 w 2430"/>
                <a:gd name="T59" fmla="*/ 42 h 2040"/>
                <a:gd name="T60" fmla="*/ 54 w 2430"/>
                <a:gd name="T61" fmla="*/ 65 h 2040"/>
                <a:gd name="T62" fmla="*/ 65 w 2430"/>
                <a:gd name="T63" fmla="*/ 60 h 2040"/>
                <a:gd name="T64" fmla="*/ 68 w 2430"/>
                <a:gd name="T65" fmla="*/ 40 h 2040"/>
                <a:gd name="T66" fmla="*/ 75 w 2430"/>
                <a:gd name="T67" fmla="*/ 36 h 2040"/>
                <a:gd name="T68" fmla="*/ 83 w 2430"/>
                <a:gd name="T69" fmla="*/ 29 h 2040"/>
                <a:gd name="T70" fmla="*/ 81 w 2430"/>
                <a:gd name="T71" fmla="*/ 17 h 2040"/>
                <a:gd name="T72" fmla="*/ 66 w 2430"/>
                <a:gd name="T73" fmla="*/ 7 h 2040"/>
                <a:gd name="T74" fmla="*/ 80 w 2430"/>
                <a:gd name="T75" fmla="*/ 5 h 2040"/>
                <a:gd name="T76" fmla="*/ 89 w 2430"/>
                <a:gd name="T77" fmla="*/ 1 h 2040"/>
                <a:gd name="T78" fmla="*/ 101 w 2430"/>
                <a:gd name="T79" fmla="*/ 10 h 2040"/>
                <a:gd name="T80" fmla="*/ 103 w 2430"/>
                <a:gd name="T81" fmla="*/ 18 h 2040"/>
                <a:gd name="T82" fmla="*/ 110 w 2430"/>
                <a:gd name="T83" fmla="*/ 23 h 2040"/>
                <a:gd name="T84" fmla="*/ 121 w 2430"/>
                <a:gd name="T85" fmla="*/ 20 h 2040"/>
                <a:gd name="T86" fmla="*/ 129 w 2430"/>
                <a:gd name="T87" fmla="*/ 15 h 2040"/>
                <a:gd name="T88" fmla="*/ 142 w 2430"/>
                <a:gd name="T89" fmla="*/ 23 h 2040"/>
                <a:gd name="T90" fmla="*/ 141 w 2430"/>
                <a:gd name="T91" fmla="*/ 30 h 2040"/>
                <a:gd name="T92" fmla="*/ 140 w 2430"/>
                <a:gd name="T93" fmla="*/ 38 h 2040"/>
                <a:gd name="T94" fmla="*/ 139 w 2430"/>
                <a:gd name="T95" fmla="*/ 46 h 2040"/>
                <a:gd name="T96" fmla="*/ 147 w 2430"/>
                <a:gd name="T97" fmla="*/ 54 h 2040"/>
                <a:gd name="T98" fmla="*/ 152 w 2430"/>
                <a:gd name="T99" fmla="*/ 50 h 2040"/>
                <a:gd name="T100" fmla="*/ 159 w 2430"/>
                <a:gd name="T101" fmla="*/ 43 h 2040"/>
                <a:gd name="T102" fmla="*/ 174 w 2430"/>
                <a:gd name="T103" fmla="*/ 41 h 2040"/>
                <a:gd name="T104" fmla="*/ 190 w 2430"/>
                <a:gd name="T105" fmla="*/ 57 h 2040"/>
                <a:gd name="T106" fmla="*/ 187 w 2430"/>
                <a:gd name="T107" fmla="*/ 66 h 2040"/>
                <a:gd name="T108" fmla="*/ 183 w 2430"/>
                <a:gd name="T109" fmla="*/ 72 h 2040"/>
                <a:gd name="T110" fmla="*/ 194 w 2430"/>
                <a:gd name="T111" fmla="*/ 73 h 2040"/>
                <a:gd name="T112" fmla="*/ 202 w 2430"/>
                <a:gd name="T113" fmla="*/ 74 h 2040"/>
                <a:gd name="T114" fmla="*/ 204 w 2430"/>
                <a:gd name="T115" fmla="*/ 89 h 2040"/>
                <a:gd name="T116" fmla="*/ 208 w 2430"/>
                <a:gd name="T117" fmla="*/ 99 h 2040"/>
                <a:gd name="T118" fmla="*/ 203 w 2430"/>
                <a:gd name="T119" fmla="*/ 103 h 2040"/>
                <a:gd name="T120" fmla="*/ 209 w 2430"/>
                <a:gd name="T121" fmla="*/ 111 h 2040"/>
                <a:gd name="T122" fmla="*/ 204 w 2430"/>
                <a:gd name="T123" fmla="*/ 124 h 2040"/>
                <a:gd name="T124" fmla="*/ 190 w 2430"/>
                <a:gd name="T125" fmla="*/ 117 h 20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30"/>
                <a:gd name="T190" fmla="*/ 0 h 2040"/>
                <a:gd name="T191" fmla="*/ 2430 w 2430"/>
                <a:gd name="T192" fmla="*/ 2040 h 20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30" h="2040">
                  <a:moveTo>
                    <a:pt x="2076" y="1896"/>
                  </a:moveTo>
                  <a:lnTo>
                    <a:pt x="2070" y="1896"/>
                  </a:lnTo>
                  <a:lnTo>
                    <a:pt x="2070" y="1902"/>
                  </a:lnTo>
                  <a:lnTo>
                    <a:pt x="2076" y="1902"/>
                  </a:lnTo>
                  <a:lnTo>
                    <a:pt x="2082" y="1902"/>
                  </a:lnTo>
                  <a:lnTo>
                    <a:pt x="2082" y="1908"/>
                  </a:lnTo>
                  <a:lnTo>
                    <a:pt x="2076" y="1908"/>
                  </a:lnTo>
                  <a:lnTo>
                    <a:pt x="2076" y="1914"/>
                  </a:lnTo>
                  <a:lnTo>
                    <a:pt x="2070" y="1920"/>
                  </a:lnTo>
                  <a:lnTo>
                    <a:pt x="2064" y="1932"/>
                  </a:lnTo>
                  <a:lnTo>
                    <a:pt x="2064" y="1938"/>
                  </a:lnTo>
                  <a:lnTo>
                    <a:pt x="2058" y="1938"/>
                  </a:lnTo>
                  <a:lnTo>
                    <a:pt x="2052" y="1944"/>
                  </a:lnTo>
                  <a:lnTo>
                    <a:pt x="2052" y="1950"/>
                  </a:lnTo>
                  <a:lnTo>
                    <a:pt x="2040" y="1944"/>
                  </a:lnTo>
                  <a:lnTo>
                    <a:pt x="2040" y="1950"/>
                  </a:lnTo>
                  <a:lnTo>
                    <a:pt x="2034" y="1956"/>
                  </a:lnTo>
                  <a:lnTo>
                    <a:pt x="2034" y="1962"/>
                  </a:lnTo>
                  <a:lnTo>
                    <a:pt x="2028" y="1962"/>
                  </a:lnTo>
                  <a:lnTo>
                    <a:pt x="2022" y="1962"/>
                  </a:lnTo>
                  <a:lnTo>
                    <a:pt x="2022" y="1968"/>
                  </a:lnTo>
                  <a:lnTo>
                    <a:pt x="2028" y="1974"/>
                  </a:lnTo>
                  <a:lnTo>
                    <a:pt x="2034" y="1980"/>
                  </a:lnTo>
                  <a:lnTo>
                    <a:pt x="2028" y="1986"/>
                  </a:lnTo>
                  <a:lnTo>
                    <a:pt x="2022" y="1992"/>
                  </a:lnTo>
                  <a:lnTo>
                    <a:pt x="2022" y="1986"/>
                  </a:lnTo>
                  <a:lnTo>
                    <a:pt x="2016" y="1986"/>
                  </a:lnTo>
                  <a:lnTo>
                    <a:pt x="2010" y="1980"/>
                  </a:lnTo>
                  <a:lnTo>
                    <a:pt x="2004" y="1980"/>
                  </a:lnTo>
                  <a:lnTo>
                    <a:pt x="2004" y="1986"/>
                  </a:lnTo>
                  <a:lnTo>
                    <a:pt x="2010" y="1992"/>
                  </a:lnTo>
                  <a:lnTo>
                    <a:pt x="2010" y="1998"/>
                  </a:lnTo>
                  <a:lnTo>
                    <a:pt x="2004" y="2004"/>
                  </a:lnTo>
                  <a:lnTo>
                    <a:pt x="1998" y="2004"/>
                  </a:lnTo>
                  <a:lnTo>
                    <a:pt x="1998" y="2022"/>
                  </a:lnTo>
                  <a:lnTo>
                    <a:pt x="1998" y="2028"/>
                  </a:lnTo>
                  <a:lnTo>
                    <a:pt x="1992" y="2034"/>
                  </a:lnTo>
                  <a:lnTo>
                    <a:pt x="1992" y="2040"/>
                  </a:lnTo>
                  <a:lnTo>
                    <a:pt x="1986" y="2040"/>
                  </a:lnTo>
                  <a:lnTo>
                    <a:pt x="1986" y="2034"/>
                  </a:lnTo>
                  <a:lnTo>
                    <a:pt x="1980" y="2028"/>
                  </a:lnTo>
                  <a:lnTo>
                    <a:pt x="1980" y="2022"/>
                  </a:lnTo>
                  <a:lnTo>
                    <a:pt x="1968" y="2016"/>
                  </a:lnTo>
                  <a:lnTo>
                    <a:pt x="1962" y="2010"/>
                  </a:lnTo>
                  <a:lnTo>
                    <a:pt x="1956" y="2004"/>
                  </a:lnTo>
                  <a:lnTo>
                    <a:pt x="1950" y="1992"/>
                  </a:lnTo>
                  <a:lnTo>
                    <a:pt x="1950" y="1986"/>
                  </a:lnTo>
                  <a:lnTo>
                    <a:pt x="1950" y="1974"/>
                  </a:lnTo>
                  <a:lnTo>
                    <a:pt x="1944" y="1974"/>
                  </a:lnTo>
                  <a:lnTo>
                    <a:pt x="1932" y="1962"/>
                  </a:lnTo>
                  <a:lnTo>
                    <a:pt x="1932" y="1956"/>
                  </a:lnTo>
                  <a:lnTo>
                    <a:pt x="1932" y="1950"/>
                  </a:lnTo>
                  <a:lnTo>
                    <a:pt x="1920" y="1944"/>
                  </a:lnTo>
                  <a:lnTo>
                    <a:pt x="1914" y="1944"/>
                  </a:lnTo>
                  <a:lnTo>
                    <a:pt x="1908" y="1938"/>
                  </a:lnTo>
                  <a:lnTo>
                    <a:pt x="1902" y="1926"/>
                  </a:lnTo>
                  <a:lnTo>
                    <a:pt x="1890" y="1914"/>
                  </a:lnTo>
                  <a:lnTo>
                    <a:pt x="1884" y="1914"/>
                  </a:lnTo>
                  <a:lnTo>
                    <a:pt x="1878" y="1908"/>
                  </a:lnTo>
                  <a:lnTo>
                    <a:pt x="1872" y="1902"/>
                  </a:lnTo>
                  <a:lnTo>
                    <a:pt x="1872" y="1896"/>
                  </a:lnTo>
                  <a:lnTo>
                    <a:pt x="1866" y="1890"/>
                  </a:lnTo>
                  <a:lnTo>
                    <a:pt x="1854" y="1884"/>
                  </a:lnTo>
                  <a:lnTo>
                    <a:pt x="1848" y="1884"/>
                  </a:lnTo>
                  <a:lnTo>
                    <a:pt x="1842" y="1872"/>
                  </a:lnTo>
                  <a:lnTo>
                    <a:pt x="1836" y="1872"/>
                  </a:lnTo>
                  <a:lnTo>
                    <a:pt x="1830" y="1866"/>
                  </a:lnTo>
                  <a:lnTo>
                    <a:pt x="1830" y="1854"/>
                  </a:lnTo>
                  <a:lnTo>
                    <a:pt x="1824" y="1848"/>
                  </a:lnTo>
                  <a:lnTo>
                    <a:pt x="1818" y="1830"/>
                  </a:lnTo>
                  <a:lnTo>
                    <a:pt x="1818" y="1818"/>
                  </a:lnTo>
                  <a:lnTo>
                    <a:pt x="1812" y="1800"/>
                  </a:lnTo>
                  <a:lnTo>
                    <a:pt x="1812" y="1788"/>
                  </a:lnTo>
                  <a:lnTo>
                    <a:pt x="1806" y="1776"/>
                  </a:lnTo>
                  <a:lnTo>
                    <a:pt x="1800" y="1764"/>
                  </a:lnTo>
                  <a:lnTo>
                    <a:pt x="1794" y="1758"/>
                  </a:lnTo>
                  <a:lnTo>
                    <a:pt x="1782" y="1740"/>
                  </a:lnTo>
                  <a:lnTo>
                    <a:pt x="1776" y="1728"/>
                  </a:lnTo>
                  <a:lnTo>
                    <a:pt x="1776" y="1722"/>
                  </a:lnTo>
                  <a:lnTo>
                    <a:pt x="1770" y="1722"/>
                  </a:lnTo>
                  <a:lnTo>
                    <a:pt x="1770" y="1716"/>
                  </a:lnTo>
                  <a:lnTo>
                    <a:pt x="1764" y="1716"/>
                  </a:lnTo>
                  <a:lnTo>
                    <a:pt x="1758" y="1710"/>
                  </a:lnTo>
                  <a:lnTo>
                    <a:pt x="1752" y="1704"/>
                  </a:lnTo>
                  <a:lnTo>
                    <a:pt x="1746" y="1704"/>
                  </a:lnTo>
                  <a:lnTo>
                    <a:pt x="1740" y="1704"/>
                  </a:lnTo>
                  <a:lnTo>
                    <a:pt x="1734" y="1704"/>
                  </a:lnTo>
                  <a:lnTo>
                    <a:pt x="1734" y="1698"/>
                  </a:lnTo>
                  <a:lnTo>
                    <a:pt x="1728" y="1692"/>
                  </a:lnTo>
                  <a:lnTo>
                    <a:pt x="1722" y="1686"/>
                  </a:lnTo>
                  <a:lnTo>
                    <a:pt x="1716" y="1686"/>
                  </a:lnTo>
                  <a:lnTo>
                    <a:pt x="1698" y="1686"/>
                  </a:lnTo>
                  <a:lnTo>
                    <a:pt x="1692" y="1692"/>
                  </a:lnTo>
                  <a:lnTo>
                    <a:pt x="1680" y="1692"/>
                  </a:lnTo>
                  <a:lnTo>
                    <a:pt x="1668" y="1692"/>
                  </a:lnTo>
                  <a:lnTo>
                    <a:pt x="1662" y="1692"/>
                  </a:lnTo>
                  <a:lnTo>
                    <a:pt x="1656" y="1692"/>
                  </a:lnTo>
                  <a:lnTo>
                    <a:pt x="1650" y="1698"/>
                  </a:lnTo>
                  <a:lnTo>
                    <a:pt x="1644" y="1698"/>
                  </a:lnTo>
                  <a:lnTo>
                    <a:pt x="1638" y="1698"/>
                  </a:lnTo>
                  <a:lnTo>
                    <a:pt x="1632" y="1698"/>
                  </a:lnTo>
                  <a:lnTo>
                    <a:pt x="1632" y="1692"/>
                  </a:lnTo>
                  <a:lnTo>
                    <a:pt x="1620" y="1680"/>
                  </a:lnTo>
                  <a:lnTo>
                    <a:pt x="1614" y="1680"/>
                  </a:lnTo>
                  <a:lnTo>
                    <a:pt x="1608" y="1680"/>
                  </a:lnTo>
                  <a:lnTo>
                    <a:pt x="1602" y="1680"/>
                  </a:lnTo>
                  <a:lnTo>
                    <a:pt x="1596" y="1674"/>
                  </a:lnTo>
                  <a:lnTo>
                    <a:pt x="1584" y="1674"/>
                  </a:lnTo>
                  <a:lnTo>
                    <a:pt x="1572" y="1674"/>
                  </a:lnTo>
                  <a:lnTo>
                    <a:pt x="1560" y="1674"/>
                  </a:lnTo>
                  <a:lnTo>
                    <a:pt x="1542" y="1680"/>
                  </a:lnTo>
                  <a:lnTo>
                    <a:pt x="1530" y="1680"/>
                  </a:lnTo>
                  <a:lnTo>
                    <a:pt x="1530" y="1674"/>
                  </a:lnTo>
                  <a:lnTo>
                    <a:pt x="1524" y="1674"/>
                  </a:lnTo>
                  <a:lnTo>
                    <a:pt x="1518" y="1674"/>
                  </a:lnTo>
                  <a:lnTo>
                    <a:pt x="1512" y="1674"/>
                  </a:lnTo>
                  <a:lnTo>
                    <a:pt x="1506" y="1674"/>
                  </a:lnTo>
                  <a:lnTo>
                    <a:pt x="1500" y="1680"/>
                  </a:lnTo>
                  <a:lnTo>
                    <a:pt x="1488" y="1680"/>
                  </a:lnTo>
                  <a:lnTo>
                    <a:pt x="1482" y="1674"/>
                  </a:lnTo>
                  <a:lnTo>
                    <a:pt x="1476" y="1674"/>
                  </a:lnTo>
                  <a:lnTo>
                    <a:pt x="1464" y="1674"/>
                  </a:lnTo>
                  <a:lnTo>
                    <a:pt x="1452" y="1680"/>
                  </a:lnTo>
                  <a:lnTo>
                    <a:pt x="1434" y="1680"/>
                  </a:lnTo>
                  <a:lnTo>
                    <a:pt x="1422" y="1680"/>
                  </a:lnTo>
                  <a:lnTo>
                    <a:pt x="1416" y="1680"/>
                  </a:lnTo>
                  <a:lnTo>
                    <a:pt x="1404" y="1674"/>
                  </a:lnTo>
                  <a:lnTo>
                    <a:pt x="1398" y="1674"/>
                  </a:lnTo>
                  <a:lnTo>
                    <a:pt x="1392" y="1662"/>
                  </a:lnTo>
                  <a:lnTo>
                    <a:pt x="1380" y="1644"/>
                  </a:lnTo>
                  <a:lnTo>
                    <a:pt x="1374" y="1632"/>
                  </a:lnTo>
                  <a:lnTo>
                    <a:pt x="1362" y="1626"/>
                  </a:lnTo>
                  <a:lnTo>
                    <a:pt x="1356" y="1620"/>
                  </a:lnTo>
                  <a:lnTo>
                    <a:pt x="1350" y="1626"/>
                  </a:lnTo>
                  <a:lnTo>
                    <a:pt x="1338" y="1626"/>
                  </a:lnTo>
                  <a:lnTo>
                    <a:pt x="1326" y="1626"/>
                  </a:lnTo>
                  <a:lnTo>
                    <a:pt x="1314" y="1620"/>
                  </a:lnTo>
                  <a:lnTo>
                    <a:pt x="1308" y="1614"/>
                  </a:lnTo>
                  <a:lnTo>
                    <a:pt x="1302" y="1608"/>
                  </a:lnTo>
                  <a:lnTo>
                    <a:pt x="1296" y="1602"/>
                  </a:lnTo>
                  <a:lnTo>
                    <a:pt x="1290" y="1602"/>
                  </a:lnTo>
                  <a:lnTo>
                    <a:pt x="1290" y="1596"/>
                  </a:lnTo>
                  <a:lnTo>
                    <a:pt x="1284" y="1590"/>
                  </a:lnTo>
                  <a:lnTo>
                    <a:pt x="1272" y="1584"/>
                  </a:lnTo>
                  <a:lnTo>
                    <a:pt x="1254" y="1572"/>
                  </a:lnTo>
                  <a:lnTo>
                    <a:pt x="1236" y="1554"/>
                  </a:lnTo>
                  <a:lnTo>
                    <a:pt x="1230" y="1554"/>
                  </a:lnTo>
                  <a:lnTo>
                    <a:pt x="1224" y="1554"/>
                  </a:lnTo>
                  <a:lnTo>
                    <a:pt x="1212" y="1554"/>
                  </a:lnTo>
                  <a:lnTo>
                    <a:pt x="1194" y="1542"/>
                  </a:lnTo>
                  <a:lnTo>
                    <a:pt x="1188" y="1536"/>
                  </a:lnTo>
                  <a:lnTo>
                    <a:pt x="1182" y="1530"/>
                  </a:lnTo>
                  <a:lnTo>
                    <a:pt x="1176" y="1530"/>
                  </a:lnTo>
                  <a:lnTo>
                    <a:pt x="1170" y="1530"/>
                  </a:lnTo>
                  <a:lnTo>
                    <a:pt x="1158" y="1524"/>
                  </a:lnTo>
                  <a:lnTo>
                    <a:pt x="1152" y="1524"/>
                  </a:lnTo>
                  <a:lnTo>
                    <a:pt x="1140" y="1518"/>
                  </a:lnTo>
                  <a:lnTo>
                    <a:pt x="1128" y="1518"/>
                  </a:lnTo>
                  <a:lnTo>
                    <a:pt x="1122" y="1518"/>
                  </a:lnTo>
                  <a:lnTo>
                    <a:pt x="1116" y="1518"/>
                  </a:lnTo>
                  <a:lnTo>
                    <a:pt x="1104" y="1518"/>
                  </a:lnTo>
                  <a:lnTo>
                    <a:pt x="1092" y="1518"/>
                  </a:lnTo>
                  <a:lnTo>
                    <a:pt x="1080" y="1518"/>
                  </a:lnTo>
                  <a:lnTo>
                    <a:pt x="1068" y="1518"/>
                  </a:lnTo>
                  <a:lnTo>
                    <a:pt x="1062" y="1518"/>
                  </a:lnTo>
                  <a:lnTo>
                    <a:pt x="1056" y="1518"/>
                  </a:lnTo>
                  <a:lnTo>
                    <a:pt x="1050" y="1512"/>
                  </a:lnTo>
                  <a:lnTo>
                    <a:pt x="1044" y="1512"/>
                  </a:lnTo>
                  <a:lnTo>
                    <a:pt x="1038" y="1512"/>
                  </a:lnTo>
                  <a:lnTo>
                    <a:pt x="1032" y="1506"/>
                  </a:lnTo>
                  <a:lnTo>
                    <a:pt x="1026" y="1500"/>
                  </a:lnTo>
                  <a:lnTo>
                    <a:pt x="1026" y="1494"/>
                  </a:lnTo>
                  <a:lnTo>
                    <a:pt x="1020" y="1476"/>
                  </a:lnTo>
                  <a:lnTo>
                    <a:pt x="1008" y="1464"/>
                  </a:lnTo>
                  <a:lnTo>
                    <a:pt x="1008" y="1458"/>
                  </a:lnTo>
                  <a:lnTo>
                    <a:pt x="1002" y="1446"/>
                  </a:lnTo>
                  <a:lnTo>
                    <a:pt x="996" y="1446"/>
                  </a:lnTo>
                  <a:lnTo>
                    <a:pt x="990" y="1440"/>
                  </a:lnTo>
                  <a:lnTo>
                    <a:pt x="984" y="1434"/>
                  </a:lnTo>
                  <a:lnTo>
                    <a:pt x="978" y="1434"/>
                  </a:lnTo>
                  <a:lnTo>
                    <a:pt x="972" y="1434"/>
                  </a:lnTo>
                  <a:lnTo>
                    <a:pt x="966" y="1428"/>
                  </a:lnTo>
                  <a:lnTo>
                    <a:pt x="954" y="1422"/>
                  </a:lnTo>
                  <a:lnTo>
                    <a:pt x="942" y="1416"/>
                  </a:lnTo>
                  <a:lnTo>
                    <a:pt x="924" y="1398"/>
                  </a:lnTo>
                  <a:lnTo>
                    <a:pt x="912" y="1386"/>
                  </a:lnTo>
                  <a:lnTo>
                    <a:pt x="900" y="1386"/>
                  </a:lnTo>
                  <a:lnTo>
                    <a:pt x="894" y="1386"/>
                  </a:lnTo>
                  <a:lnTo>
                    <a:pt x="882" y="1392"/>
                  </a:lnTo>
                  <a:lnTo>
                    <a:pt x="876" y="1392"/>
                  </a:lnTo>
                  <a:lnTo>
                    <a:pt x="864" y="1398"/>
                  </a:lnTo>
                  <a:lnTo>
                    <a:pt x="864" y="1404"/>
                  </a:lnTo>
                  <a:lnTo>
                    <a:pt x="858" y="1410"/>
                  </a:lnTo>
                  <a:lnTo>
                    <a:pt x="852" y="1410"/>
                  </a:lnTo>
                  <a:lnTo>
                    <a:pt x="846" y="1410"/>
                  </a:lnTo>
                  <a:lnTo>
                    <a:pt x="834" y="1410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10" y="1428"/>
                  </a:lnTo>
                  <a:lnTo>
                    <a:pt x="798" y="1428"/>
                  </a:lnTo>
                  <a:lnTo>
                    <a:pt x="792" y="1428"/>
                  </a:lnTo>
                  <a:lnTo>
                    <a:pt x="780" y="1434"/>
                  </a:lnTo>
                  <a:lnTo>
                    <a:pt x="774" y="1428"/>
                  </a:lnTo>
                  <a:lnTo>
                    <a:pt x="762" y="1428"/>
                  </a:lnTo>
                  <a:lnTo>
                    <a:pt x="756" y="1422"/>
                  </a:lnTo>
                  <a:lnTo>
                    <a:pt x="750" y="1416"/>
                  </a:lnTo>
                  <a:lnTo>
                    <a:pt x="744" y="1410"/>
                  </a:lnTo>
                  <a:lnTo>
                    <a:pt x="744" y="1398"/>
                  </a:lnTo>
                  <a:lnTo>
                    <a:pt x="744" y="1386"/>
                  </a:lnTo>
                  <a:lnTo>
                    <a:pt x="750" y="1380"/>
                  </a:lnTo>
                  <a:lnTo>
                    <a:pt x="750" y="1374"/>
                  </a:lnTo>
                  <a:lnTo>
                    <a:pt x="750" y="1368"/>
                  </a:lnTo>
                  <a:lnTo>
                    <a:pt x="756" y="1362"/>
                  </a:lnTo>
                  <a:lnTo>
                    <a:pt x="750" y="1350"/>
                  </a:lnTo>
                  <a:lnTo>
                    <a:pt x="744" y="1344"/>
                  </a:lnTo>
                  <a:lnTo>
                    <a:pt x="738" y="1338"/>
                  </a:lnTo>
                  <a:lnTo>
                    <a:pt x="726" y="1338"/>
                  </a:lnTo>
                  <a:lnTo>
                    <a:pt x="720" y="1338"/>
                  </a:lnTo>
                  <a:lnTo>
                    <a:pt x="714" y="1338"/>
                  </a:lnTo>
                  <a:lnTo>
                    <a:pt x="708" y="1332"/>
                  </a:lnTo>
                  <a:lnTo>
                    <a:pt x="702" y="1332"/>
                  </a:lnTo>
                  <a:lnTo>
                    <a:pt x="696" y="1326"/>
                  </a:lnTo>
                  <a:lnTo>
                    <a:pt x="684" y="1326"/>
                  </a:lnTo>
                  <a:lnTo>
                    <a:pt x="678" y="1326"/>
                  </a:lnTo>
                  <a:lnTo>
                    <a:pt x="672" y="1314"/>
                  </a:lnTo>
                  <a:lnTo>
                    <a:pt x="666" y="1308"/>
                  </a:lnTo>
                  <a:lnTo>
                    <a:pt x="654" y="1296"/>
                  </a:lnTo>
                  <a:lnTo>
                    <a:pt x="654" y="1290"/>
                  </a:lnTo>
                  <a:lnTo>
                    <a:pt x="630" y="1284"/>
                  </a:lnTo>
                  <a:lnTo>
                    <a:pt x="630" y="1278"/>
                  </a:lnTo>
                  <a:lnTo>
                    <a:pt x="624" y="1278"/>
                  </a:lnTo>
                  <a:lnTo>
                    <a:pt x="618" y="1266"/>
                  </a:lnTo>
                  <a:lnTo>
                    <a:pt x="612" y="1266"/>
                  </a:lnTo>
                  <a:lnTo>
                    <a:pt x="606" y="1266"/>
                  </a:lnTo>
                  <a:lnTo>
                    <a:pt x="606" y="1260"/>
                  </a:lnTo>
                  <a:lnTo>
                    <a:pt x="594" y="1248"/>
                  </a:lnTo>
                  <a:lnTo>
                    <a:pt x="582" y="1248"/>
                  </a:lnTo>
                  <a:lnTo>
                    <a:pt x="576" y="1242"/>
                  </a:lnTo>
                  <a:lnTo>
                    <a:pt x="570" y="1236"/>
                  </a:lnTo>
                  <a:lnTo>
                    <a:pt x="504" y="1164"/>
                  </a:lnTo>
                  <a:lnTo>
                    <a:pt x="450" y="1110"/>
                  </a:lnTo>
                  <a:lnTo>
                    <a:pt x="426" y="1092"/>
                  </a:lnTo>
                  <a:lnTo>
                    <a:pt x="426" y="1074"/>
                  </a:lnTo>
                  <a:lnTo>
                    <a:pt x="420" y="1062"/>
                  </a:lnTo>
                  <a:lnTo>
                    <a:pt x="396" y="1056"/>
                  </a:lnTo>
                  <a:lnTo>
                    <a:pt x="384" y="1032"/>
                  </a:lnTo>
                  <a:lnTo>
                    <a:pt x="372" y="1020"/>
                  </a:lnTo>
                  <a:lnTo>
                    <a:pt x="360" y="984"/>
                  </a:lnTo>
                  <a:lnTo>
                    <a:pt x="348" y="978"/>
                  </a:lnTo>
                  <a:lnTo>
                    <a:pt x="342" y="972"/>
                  </a:lnTo>
                  <a:lnTo>
                    <a:pt x="348" y="960"/>
                  </a:lnTo>
                  <a:lnTo>
                    <a:pt x="342" y="954"/>
                  </a:lnTo>
                  <a:lnTo>
                    <a:pt x="336" y="954"/>
                  </a:lnTo>
                  <a:lnTo>
                    <a:pt x="330" y="954"/>
                  </a:lnTo>
                  <a:lnTo>
                    <a:pt x="324" y="972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0" y="966"/>
                  </a:lnTo>
                  <a:lnTo>
                    <a:pt x="294" y="966"/>
                  </a:lnTo>
                  <a:lnTo>
                    <a:pt x="288" y="972"/>
                  </a:lnTo>
                  <a:lnTo>
                    <a:pt x="288" y="966"/>
                  </a:lnTo>
                  <a:lnTo>
                    <a:pt x="282" y="948"/>
                  </a:lnTo>
                  <a:lnTo>
                    <a:pt x="282" y="942"/>
                  </a:lnTo>
                  <a:lnTo>
                    <a:pt x="276" y="942"/>
                  </a:lnTo>
                  <a:lnTo>
                    <a:pt x="276" y="936"/>
                  </a:lnTo>
                  <a:lnTo>
                    <a:pt x="270" y="942"/>
                  </a:lnTo>
                  <a:lnTo>
                    <a:pt x="264" y="948"/>
                  </a:lnTo>
                  <a:lnTo>
                    <a:pt x="264" y="942"/>
                  </a:lnTo>
                  <a:lnTo>
                    <a:pt x="258" y="942"/>
                  </a:lnTo>
                  <a:lnTo>
                    <a:pt x="252" y="948"/>
                  </a:lnTo>
                  <a:lnTo>
                    <a:pt x="252" y="942"/>
                  </a:lnTo>
                  <a:lnTo>
                    <a:pt x="246" y="936"/>
                  </a:lnTo>
                  <a:lnTo>
                    <a:pt x="240" y="942"/>
                  </a:lnTo>
                  <a:lnTo>
                    <a:pt x="234" y="936"/>
                  </a:lnTo>
                  <a:lnTo>
                    <a:pt x="228" y="936"/>
                  </a:lnTo>
                  <a:lnTo>
                    <a:pt x="222" y="936"/>
                  </a:lnTo>
                  <a:lnTo>
                    <a:pt x="222" y="930"/>
                  </a:lnTo>
                  <a:lnTo>
                    <a:pt x="222" y="924"/>
                  </a:lnTo>
                  <a:lnTo>
                    <a:pt x="228" y="924"/>
                  </a:lnTo>
                  <a:lnTo>
                    <a:pt x="234" y="924"/>
                  </a:lnTo>
                  <a:lnTo>
                    <a:pt x="240" y="924"/>
                  </a:lnTo>
                  <a:lnTo>
                    <a:pt x="240" y="918"/>
                  </a:lnTo>
                  <a:lnTo>
                    <a:pt x="246" y="918"/>
                  </a:lnTo>
                  <a:lnTo>
                    <a:pt x="246" y="912"/>
                  </a:lnTo>
                  <a:lnTo>
                    <a:pt x="240" y="906"/>
                  </a:lnTo>
                  <a:lnTo>
                    <a:pt x="234" y="906"/>
                  </a:lnTo>
                  <a:lnTo>
                    <a:pt x="228" y="906"/>
                  </a:lnTo>
                  <a:lnTo>
                    <a:pt x="228" y="912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8" y="894"/>
                  </a:lnTo>
                  <a:lnTo>
                    <a:pt x="234" y="894"/>
                  </a:lnTo>
                  <a:lnTo>
                    <a:pt x="228" y="888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198" y="888"/>
                  </a:lnTo>
                  <a:lnTo>
                    <a:pt x="192" y="882"/>
                  </a:lnTo>
                  <a:lnTo>
                    <a:pt x="186" y="882"/>
                  </a:lnTo>
                  <a:lnTo>
                    <a:pt x="186" y="876"/>
                  </a:lnTo>
                  <a:lnTo>
                    <a:pt x="192" y="876"/>
                  </a:lnTo>
                  <a:lnTo>
                    <a:pt x="192" y="870"/>
                  </a:lnTo>
                  <a:lnTo>
                    <a:pt x="198" y="870"/>
                  </a:lnTo>
                  <a:lnTo>
                    <a:pt x="198" y="864"/>
                  </a:lnTo>
                  <a:lnTo>
                    <a:pt x="198" y="858"/>
                  </a:lnTo>
                  <a:lnTo>
                    <a:pt x="180" y="852"/>
                  </a:lnTo>
                  <a:lnTo>
                    <a:pt x="174" y="840"/>
                  </a:lnTo>
                  <a:lnTo>
                    <a:pt x="162" y="846"/>
                  </a:lnTo>
                  <a:lnTo>
                    <a:pt x="156" y="846"/>
                  </a:lnTo>
                  <a:lnTo>
                    <a:pt x="150" y="846"/>
                  </a:lnTo>
                  <a:lnTo>
                    <a:pt x="150" y="840"/>
                  </a:lnTo>
                  <a:lnTo>
                    <a:pt x="138" y="834"/>
                  </a:lnTo>
                  <a:lnTo>
                    <a:pt x="132" y="834"/>
                  </a:lnTo>
                  <a:lnTo>
                    <a:pt x="132" y="840"/>
                  </a:lnTo>
                  <a:lnTo>
                    <a:pt x="126" y="840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58"/>
                  </a:lnTo>
                  <a:lnTo>
                    <a:pt x="120" y="846"/>
                  </a:lnTo>
                  <a:lnTo>
                    <a:pt x="114" y="846"/>
                  </a:lnTo>
                  <a:lnTo>
                    <a:pt x="108" y="840"/>
                  </a:lnTo>
                  <a:lnTo>
                    <a:pt x="102" y="834"/>
                  </a:lnTo>
                  <a:lnTo>
                    <a:pt x="102" y="822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78" y="804"/>
                  </a:lnTo>
                  <a:lnTo>
                    <a:pt x="78" y="798"/>
                  </a:lnTo>
                  <a:lnTo>
                    <a:pt x="78" y="792"/>
                  </a:lnTo>
                  <a:lnTo>
                    <a:pt x="78" y="786"/>
                  </a:lnTo>
                  <a:lnTo>
                    <a:pt x="78" y="780"/>
                  </a:lnTo>
                  <a:lnTo>
                    <a:pt x="72" y="774"/>
                  </a:lnTo>
                  <a:lnTo>
                    <a:pt x="66" y="774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60" y="762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6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2" y="666"/>
                  </a:lnTo>
                  <a:lnTo>
                    <a:pt x="18" y="648"/>
                  </a:lnTo>
                  <a:lnTo>
                    <a:pt x="24" y="636"/>
                  </a:lnTo>
                  <a:lnTo>
                    <a:pt x="30" y="630"/>
                  </a:lnTo>
                  <a:lnTo>
                    <a:pt x="30" y="624"/>
                  </a:lnTo>
                  <a:lnTo>
                    <a:pt x="30" y="612"/>
                  </a:lnTo>
                  <a:lnTo>
                    <a:pt x="30" y="606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66" y="582"/>
                  </a:lnTo>
                  <a:lnTo>
                    <a:pt x="72" y="588"/>
                  </a:lnTo>
                  <a:lnTo>
                    <a:pt x="84" y="594"/>
                  </a:lnTo>
                  <a:lnTo>
                    <a:pt x="90" y="600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14" y="612"/>
                  </a:lnTo>
                  <a:lnTo>
                    <a:pt x="120" y="612"/>
                  </a:lnTo>
                  <a:lnTo>
                    <a:pt x="126" y="618"/>
                  </a:lnTo>
                  <a:lnTo>
                    <a:pt x="138" y="594"/>
                  </a:lnTo>
                  <a:lnTo>
                    <a:pt x="138" y="582"/>
                  </a:lnTo>
                  <a:lnTo>
                    <a:pt x="138" y="570"/>
                  </a:lnTo>
                  <a:lnTo>
                    <a:pt x="138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50" y="528"/>
                  </a:lnTo>
                  <a:lnTo>
                    <a:pt x="156" y="510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62"/>
                  </a:lnTo>
                  <a:lnTo>
                    <a:pt x="168" y="450"/>
                  </a:lnTo>
                  <a:lnTo>
                    <a:pt x="168" y="444"/>
                  </a:lnTo>
                  <a:lnTo>
                    <a:pt x="162" y="432"/>
                  </a:lnTo>
                  <a:lnTo>
                    <a:pt x="162" y="426"/>
                  </a:lnTo>
                  <a:lnTo>
                    <a:pt x="156" y="420"/>
                  </a:lnTo>
                  <a:lnTo>
                    <a:pt x="144" y="414"/>
                  </a:lnTo>
                  <a:lnTo>
                    <a:pt x="132" y="402"/>
                  </a:lnTo>
                  <a:lnTo>
                    <a:pt x="126" y="390"/>
                  </a:lnTo>
                  <a:lnTo>
                    <a:pt x="120" y="384"/>
                  </a:lnTo>
                  <a:lnTo>
                    <a:pt x="120" y="372"/>
                  </a:lnTo>
                  <a:lnTo>
                    <a:pt x="114" y="360"/>
                  </a:lnTo>
                  <a:lnTo>
                    <a:pt x="108" y="360"/>
                  </a:lnTo>
                  <a:lnTo>
                    <a:pt x="108" y="354"/>
                  </a:lnTo>
                  <a:lnTo>
                    <a:pt x="102" y="348"/>
                  </a:lnTo>
                  <a:lnTo>
                    <a:pt x="102" y="342"/>
                  </a:lnTo>
                  <a:lnTo>
                    <a:pt x="108" y="330"/>
                  </a:lnTo>
                  <a:lnTo>
                    <a:pt x="114" y="312"/>
                  </a:lnTo>
                  <a:lnTo>
                    <a:pt x="114" y="300"/>
                  </a:lnTo>
                  <a:lnTo>
                    <a:pt x="120" y="288"/>
                  </a:lnTo>
                  <a:lnTo>
                    <a:pt x="120" y="282"/>
                  </a:lnTo>
                  <a:lnTo>
                    <a:pt x="114" y="270"/>
                  </a:lnTo>
                  <a:lnTo>
                    <a:pt x="114" y="258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84" y="222"/>
                  </a:lnTo>
                  <a:lnTo>
                    <a:pt x="84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84" y="186"/>
                  </a:lnTo>
                  <a:lnTo>
                    <a:pt x="84" y="180"/>
                  </a:lnTo>
                  <a:lnTo>
                    <a:pt x="108" y="174"/>
                  </a:lnTo>
                  <a:lnTo>
                    <a:pt x="132" y="186"/>
                  </a:lnTo>
                  <a:lnTo>
                    <a:pt x="138" y="192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56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74" y="204"/>
                  </a:lnTo>
                  <a:lnTo>
                    <a:pt x="180" y="216"/>
                  </a:lnTo>
                  <a:lnTo>
                    <a:pt x="186" y="228"/>
                  </a:lnTo>
                  <a:lnTo>
                    <a:pt x="192" y="234"/>
                  </a:lnTo>
                  <a:lnTo>
                    <a:pt x="198" y="234"/>
                  </a:lnTo>
                  <a:lnTo>
                    <a:pt x="204" y="240"/>
                  </a:lnTo>
                  <a:lnTo>
                    <a:pt x="210" y="240"/>
                  </a:lnTo>
                  <a:lnTo>
                    <a:pt x="216" y="240"/>
                  </a:lnTo>
                  <a:lnTo>
                    <a:pt x="222" y="240"/>
                  </a:lnTo>
                  <a:lnTo>
                    <a:pt x="228" y="246"/>
                  </a:lnTo>
                  <a:lnTo>
                    <a:pt x="234" y="246"/>
                  </a:lnTo>
                  <a:lnTo>
                    <a:pt x="240" y="246"/>
                  </a:lnTo>
                  <a:lnTo>
                    <a:pt x="252" y="252"/>
                  </a:lnTo>
                  <a:lnTo>
                    <a:pt x="330" y="246"/>
                  </a:lnTo>
                  <a:lnTo>
                    <a:pt x="360" y="228"/>
                  </a:lnTo>
                  <a:lnTo>
                    <a:pt x="396" y="228"/>
                  </a:lnTo>
                  <a:lnTo>
                    <a:pt x="402" y="240"/>
                  </a:lnTo>
                  <a:lnTo>
                    <a:pt x="432" y="240"/>
                  </a:lnTo>
                  <a:lnTo>
                    <a:pt x="450" y="258"/>
                  </a:lnTo>
                  <a:lnTo>
                    <a:pt x="468" y="258"/>
                  </a:lnTo>
                  <a:lnTo>
                    <a:pt x="474" y="294"/>
                  </a:lnTo>
                  <a:lnTo>
                    <a:pt x="558" y="318"/>
                  </a:lnTo>
                  <a:lnTo>
                    <a:pt x="588" y="318"/>
                  </a:lnTo>
                  <a:lnTo>
                    <a:pt x="588" y="312"/>
                  </a:lnTo>
                  <a:lnTo>
                    <a:pt x="594" y="306"/>
                  </a:lnTo>
                  <a:lnTo>
                    <a:pt x="600" y="306"/>
                  </a:lnTo>
                  <a:lnTo>
                    <a:pt x="612" y="300"/>
                  </a:lnTo>
                  <a:lnTo>
                    <a:pt x="618" y="300"/>
                  </a:lnTo>
                  <a:lnTo>
                    <a:pt x="630" y="300"/>
                  </a:lnTo>
                  <a:lnTo>
                    <a:pt x="642" y="306"/>
                  </a:lnTo>
                  <a:lnTo>
                    <a:pt x="660" y="306"/>
                  </a:lnTo>
                  <a:lnTo>
                    <a:pt x="666" y="306"/>
                  </a:lnTo>
                  <a:lnTo>
                    <a:pt x="672" y="306"/>
                  </a:lnTo>
                  <a:lnTo>
                    <a:pt x="684" y="300"/>
                  </a:lnTo>
                  <a:lnTo>
                    <a:pt x="696" y="294"/>
                  </a:lnTo>
                  <a:lnTo>
                    <a:pt x="702" y="288"/>
                  </a:lnTo>
                  <a:lnTo>
                    <a:pt x="714" y="282"/>
                  </a:lnTo>
                  <a:lnTo>
                    <a:pt x="714" y="288"/>
                  </a:lnTo>
                  <a:lnTo>
                    <a:pt x="726" y="300"/>
                  </a:lnTo>
                  <a:lnTo>
                    <a:pt x="732" y="306"/>
                  </a:lnTo>
                  <a:lnTo>
                    <a:pt x="732" y="318"/>
                  </a:lnTo>
                  <a:lnTo>
                    <a:pt x="732" y="330"/>
                  </a:lnTo>
                  <a:lnTo>
                    <a:pt x="726" y="342"/>
                  </a:lnTo>
                  <a:lnTo>
                    <a:pt x="720" y="354"/>
                  </a:lnTo>
                  <a:lnTo>
                    <a:pt x="720" y="360"/>
                  </a:lnTo>
                  <a:lnTo>
                    <a:pt x="714" y="372"/>
                  </a:lnTo>
                  <a:lnTo>
                    <a:pt x="714" y="378"/>
                  </a:lnTo>
                  <a:lnTo>
                    <a:pt x="714" y="408"/>
                  </a:lnTo>
                  <a:lnTo>
                    <a:pt x="708" y="420"/>
                  </a:lnTo>
                  <a:lnTo>
                    <a:pt x="714" y="432"/>
                  </a:lnTo>
                  <a:lnTo>
                    <a:pt x="708" y="450"/>
                  </a:lnTo>
                  <a:lnTo>
                    <a:pt x="708" y="468"/>
                  </a:lnTo>
                  <a:lnTo>
                    <a:pt x="696" y="480"/>
                  </a:lnTo>
                  <a:lnTo>
                    <a:pt x="684" y="486"/>
                  </a:lnTo>
                  <a:lnTo>
                    <a:pt x="672" y="492"/>
                  </a:lnTo>
                  <a:lnTo>
                    <a:pt x="660" y="498"/>
                  </a:lnTo>
                  <a:lnTo>
                    <a:pt x="654" y="510"/>
                  </a:lnTo>
                  <a:lnTo>
                    <a:pt x="648" y="516"/>
                  </a:lnTo>
                  <a:lnTo>
                    <a:pt x="642" y="522"/>
                  </a:lnTo>
                  <a:lnTo>
                    <a:pt x="630" y="522"/>
                  </a:lnTo>
                  <a:lnTo>
                    <a:pt x="624" y="528"/>
                  </a:lnTo>
                  <a:lnTo>
                    <a:pt x="618" y="540"/>
                  </a:lnTo>
                  <a:lnTo>
                    <a:pt x="618" y="558"/>
                  </a:lnTo>
                  <a:lnTo>
                    <a:pt x="612" y="576"/>
                  </a:lnTo>
                  <a:lnTo>
                    <a:pt x="612" y="684"/>
                  </a:lnTo>
                  <a:lnTo>
                    <a:pt x="618" y="696"/>
                  </a:lnTo>
                  <a:lnTo>
                    <a:pt x="636" y="696"/>
                  </a:lnTo>
                  <a:lnTo>
                    <a:pt x="636" y="720"/>
                  </a:lnTo>
                  <a:lnTo>
                    <a:pt x="636" y="732"/>
                  </a:lnTo>
                  <a:lnTo>
                    <a:pt x="618" y="750"/>
                  </a:lnTo>
                  <a:lnTo>
                    <a:pt x="606" y="762"/>
                  </a:lnTo>
                  <a:lnTo>
                    <a:pt x="600" y="774"/>
                  </a:lnTo>
                  <a:lnTo>
                    <a:pt x="594" y="798"/>
                  </a:lnTo>
                  <a:lnTo>
                    <a:pt x="606" y="798"/>
                  </a:lnTo>
                  <a:lnTo>
                    <a:pt x="660" y="792"/>
                  </a:lnTo>
                  <a:lnTo>
                    <a:pt x="696" y="798"/>
                  </a:lnTo>
                  <a:lnTo>
                    <a:pt x="720" y="798"/>
                  </a:lnTo>
                  <a:lnTo>
                    <a:pt x="720" y="786"/>
                  </a:lnTo>
                  <a:lnTo>
                    <a:pt x="720" y="774"/>
                  </a:lnTo>
                  <a:lnTo>
                    <a:pt x="702" y="762"/>
                  </a:lnTo>
                  <a:lnTo>
                    <a:pt x="702" y="750"/>
                  </a:lnTo>
                  <a:lnTo>
                    <a:pt x="702" y="726"/>
                  </a:lnTo>
                  <a:lnTo>
                    <a:pt x="714" y="714"/>
                  </a:lnTo>
                  <a:lnTo>
                    <a:pt x="720" y="702"/>
                  </a:lnTo>
                  <a:lnTo>
                    <a:pt x="720" y="696"/>
                  </a:lnTo>
                  <a:lnTo>
                    <a:pt x="744" y="690"/>
                  </a:lnTo>
                  <a:lnTo>
                    <a:pt x="744" y="696"/>
                  </a:lnTo>
                  <a:lnTo>
                    <a:pt x="756" y="696"/>
                  </a:lnTo>
                  <a:lnTo>
                    <a:pt x="762" y="690"/>
                  </a:lnTo>
                  <a:lnTo>
                    <a:pt x="768" y="690"/>
                  </a:lnTo>
                  <a:lnTo>
                    <a:pt x="774" y="696"/>
                  </a:lnTo>
                  <a:lnTo>
                    <a:pt x="780" y="696"/>
                  </a:lnTo>
                  <a:lnTo>
                    <a:pt x="786" y="696"/>
                  </a:lnTo>
                  <a:lnTo>
                    <a:pt x="804" y="684"/>
                  </a:lnTo>
                  <a:lnTo>
                    <a:pt x="810" y="684"/>
                  </a:lnTo>
                  <a:lnTo>
                    <a:pt x="810" y="654"/>
                  </a:lnTo>
                  <a:lnTo>
                    <a:pt x="816" y="588"/>
                  </a:lnTo>
                  <a:lnTo>
                    <a:pt x="804" y="582"/>
                  </a:lnTo>
                  <a:lnTo>
                    <a:pt x="798" y="552"/>
                  </a:lnTo>
                  <a:lnTo>
                    <a:pt x="798" y="480"/>
                  </a:lnTo>
                  <a:lnTo>
                    <a:pt x="780" y="468"/>
                  </a:lnTo>
                  <a:lnTo>
                    <a:pt x="780" y="462"/>
                  </a:lnTo>
                  <a:lnTo>
                    <a:pt x="774" y="450"/>
                  </a:lnTo>
                  <a:lnTo>
                    <a:pt x="762" y="444"/>
                  </a:lnTo>
                  <a:lnTo>
                    <a:pt x="762" y="438"/>
                  </a:lnTo>
                  <a:lnTo>
                    <a:pt x="768" y="432"/>
                  </a:lnTo>
                  <a:lnTo>
                    <a:pt x="774" y="426"/>
                  </a:lnTo>
                  <a:lnTo>
                    <a:pt x="780" y="426"/>
                  </a:lnTo>
                  <a:lnTo>
                    <a:pt x="780" y="414"/>
                  </a:lnTo>
                  <a:lnTo>
                    <a:pt x="834" y="414"/>
                  </a:lnTo>
                  <a:lnTo>
                    <a:pt x="834" y="426"/>
                  </a:lnTo>
                  <a:lnTo>
                    <a:pt x="840" y="432"/>
                  </a:lnTo>
                  <a:lnTo>
                    <a:pt x="846" y="432"/>
                  </a:lnTo>
                  <a:lnTo>
                    <a:pt x="852" y="432"/>
                  </a:lnTo>
                  <a:lnTo>
                    <a:pt x="858" y="432"/>
                  </a:lnTo>
                  <a:lnTo>
                    <a:pt x="870" y="432"/>
                  </a:lnTo>
                  <a:lnTo>
                    <a:pt x="870" y="426"/>
                  </a:lnTo>
                  <a:lnTo>
                    <a:pt x="870" y="420"/>
                  </a:lnTo>
                  <a:lnTo>
                    <a:pt x="876" y="420"/>
                  </a:lnTo>
                  <a:lnTo>
                    <a:pt x="882" y="420"/>
                  </a:lnTo>
                  <a:lnTo>
                    <a:pt x="894" y="414"/>
                  </a:lnTo>
                  <a:lnTo>
                    <a:pt x="900" y="414"/>
                  </a:lnTo>
                  <a:lnTo>
                    <a:pt x="906" y="408"/>
                  </a:lnTo>
                  <a:lnTo>
                    <a:pt x="918" y="408"/>
                  </a:lnTo>
                  <a:lnTo>
                    <a:pt x="924" y="402"/>
                  </a:lnTo>
                  <a:lnTo>
                    <a:pt x="930" y="384"/>
                  </a:lnTo>
                  <a:lnTo>
                    <a:pt x="948" y="396"/>
                  </a:lnTo>
                  <a:lnTo>
                    <a:pt x="954" y="384"/>
                  </a:lnTo>
                  <a:lnTo>
                    <a:pt x="960" y="384"/>
                  </a:lnTo>
                  <a:lnTo>
                    <a:pt x="972" y="384"/>
                  </a:lnTo>
                  <a:lnTo>
                    <a:pt x="978" y="378"/>
                  </a:lnTo>
                  <a:lnTo>
                    <a:pt x="972" y="366"/>
                  </a:lnTo>
                  <a:lnTo>
                    <a:pt x="966" y="342"/>
                  </a:lnTo>
                  <a:lnTo>
                    <a:pt x="960" y="330"/>
                  </a:lnTo>
                  <a:lnTo>
                    <a:pt x="942" y="324"/>
                  </a:lnTo>
                  <a:lnTo>
                    <a:pt x="936" y="318"/>
                  </a:lnTo>
                  <a:lnTo>
                    <a:pt x="936" y="294"/>
                  </a:lnTo>
                  <a:lnTo>
                    <a:pt x="942" y="294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282"/>
                  </a:lnTo>
                  <a:lnTo>
                    <a:pt x="954" y="276"/>
                  </a:lnTo>
                  <a:lnTo>
                    <a:pt x="960" y="276"/>
                  </a:lnTo>
                  <a:lnTo>
                    <a:pt x="966" y="276"/>
                  </a:lnTo>
                  <a:lnTo>
                    <a:pt x="960" y="258"/>
                  </a:lnTo>
                  <a:lnTo>
                    <a:pt x="954" y="240"/>
                  </a:lnTo>
                  <a:lnTo>
                    <a:pt x="948" y="204"/>
                  </a:lnTo>
                  <a:lnTo>
                    <a:pt x="954" y="204"/>
                  </a:lnTo>
                  <a:lnTo>
                    <a:pt x="960" y="198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00" y="186"/>
                  </a:lnTo>
                  <a:lnTo>
                    <a:pt x="876" y="180"/>
                  </a:lnTo>
                  <a:lnTo>
                    <a:pt x="858" y="180"/>
                  </a:lnTo>
                  <a:lnTo>
                    <a:pt x="852" y="168"/>
                  </a:lnTo>
                  <a:lnTo>
                    <a:pt x="834" y="156"/>
                  </a:lnTo>
                  <a:lnTo>
                    <a:pt x="822" y="156"/>
                  </a:lnTo>
                  <a:lnTo>
                    <a:pt x="804" y="156"/>
                  </a:lnTo>
                  <a:lnTo>
                    <a:pt x="804" y="150"/>
                  </a:lnTo>
                  <a:lnTo>
                    <a:pt x="792" y="144"/>
                  </a:lnTo>
                  <a:lnTo>
                    <a:pt x="762" y="138"/>
                  </a:lnTo>
                  <a:lnTo>
                    <a:pt x="768" y="120"/>
                  </a:lnTo>
                  <a:lnTo>
                    <a:pt x="756" y="120"/>
                  </a:lnTo>
                  <a:lnTo>
                    <a:pt x="744" y="108"/>
                  </a:lnTo>
                  <a:lnTo>
                    <a:pt x="744" y="96"/>
                  </a:lnTo>
                  <a:lnTo>
                    <a:pt x="762" y="84"/>
                  </a:lnTo>
                  <a:lnTo>
                    <a:pt x="768" y="84"/>
                  </a:lnTo>
                  <a:lnTo>
                    <a:pt x="768" y="72"/>
                  </a:lnTo>
                  <a:lnTo>
                    <a:pt x="780" y="66"/>
                  </a:lnTo>
                  <a:lnTo>
                    <a:pt x="798" y="54"/>
                  </a:lnTo>
                  <a:lnTo>
                    <a:pt x="792" y="54"/>
                  </a:lnTo>
                  <a:lnTo>
                    <a:pt x="798" y="36"/>
                  </a:lnTo>
                  <a:lnTo>
                    <a:pt x="804" y="36"/>
                  </a:lnTo>
                  <a:lnTo>
                    <a:pt x="816" y="30"/>
                  </a:lnTo>
                  <a:lnTo>
                    <a:pt x="828" y="30"/>
                  </a:lnTo>
                  <a:lnTo>
                    <a:pt x="846" y="12"/>
                  </a:lnTo>
                  <a:lnTo>
                    <a:pt x="876" y="0"/>
                  </a:lnTo>
                  <a:lnTo>
                    <a:pt x="882" y="6"/>
                  </a:lnTo>
                  <a:lnTo>
                    <a:pt x="900" y="6"/>
                  </a:lnTo>
                  <a:lnTo>
                    <a:pt x="912" y="36"/>
                  </a:lnTo>
                  <a:lnTo>
                    <a:pt x="918" y="42"/>
                  </a:lnTo>
                  <a:lnTo>
                    <a:pt x="924" y="54"/>
                  </a:lnTo>
                  <a:lnTo>
                    <a:pt x="930" y="54"/>
                  </a:lnTo>
                  <a:lnTo>
                    <a:pt x="930" y="78"/>
                  </a:lnTo>
                  <a:lnTo>
                    <a:pt x="954" y="72"/>
                  </a:lnTo>
                  <a:lnTo>
                    <a:pt x="954" y="60"/>
                  </a:lnTo>
                  <a:lnTo>
                    <a:pt x="966" y="66"/>
                  </a:lnTo>
                  <a:lnTo>
                    <a:pt x="966" y="78"/>
                  </a:lnTo>
                  <a:lnTo>
                    <a:pt x="960" y="84"/>
                  </a:lnTo>
                  <a:lnTo>
                    <a:pt x="954" y="102"/>
                  </a:lnTo>
                  <a:lnTo>
                    <a:pt x="972" y="102"/>
                  </a:lnTo>
                  <a:lnTo>
                    <a:pt x="978" y="84"/>
                  </a:lnTo>
                  <a:lnTo>
                    <a:pt x="984" y="72"/>
                  </a:lnTo>
                  <a:lnTo>
                    <a:pt x="990" y="72"/>
                  </a:lnTo>
                  <a:lnTo>
                    <a:pt x="996" y="18"/>
                  </a:lnTo>
                  <a:lnTo>
                    <a:pt x="990" y="12"/>
                  </a:lnTo>
                  <a:lnTo>
                    <a:pt x="1014" y="12"/>
                  </a:lnTo>
                  <a:lnTo>
                    <a:pt x="1026" y="12"/>
                  </a:lnTo>
                  <a:lnTo>
                    <a:pt x="1026" y="24"/>
                  </a:lnTo>
                  <a:lnTo>
                    <a:pt x="1050" y="24"/>
                  </a:lnTo>
                  <a:lnTo>
                    <a:pt x="1050" y="36"/>
                  </a:lnTo>
                  <a:lnTo>
                    <a:pt x="1062" y="66"/>
                  </a:lnTo>
                  <a:lnTo>
                    <a:pt x="1074" y="66"/>
                  </a:lnTo>
                  <a:lnTo>
                    <a:pt x="1080" y="60"/>
                  </a:lnTo>
                  <a:lnTo>
                    <a:pt x="1074" y="24"/>
                  </a:lnTo>
                  <a:lnTo>
                    <a:pt x="1086" y="18"/>
                  </a:lnTo>
                  <a:lnTo>
                    <a:pt x="1086" y="12"/>
                  </a:lnTo>
                  <a:lnTo>
                    <a:pt x="1104" y="6"/>
                  </a:lnTo>
                  <a:lnTo>
                    <a:pt x="1122" y="0"/>
                  </a:lnTo>
                  <a:lnTo>
                    <a:pt x="1134" y="6"/>
                  </a:lnTo>
                  <a:lnTo>
                    <a:pt x="1134" y="42"/>
                  </a:lnTo>
                  <a:lnTo>
                    <a:pt x="1140" y="72"/>
                  </a:lnTo>
                  <a:lnTo>
                    <a:pt x="1158" y="114"/>
                  </a:lnTo>
                  <a:lnTo>
                    <a:pt x="1170" y="114"/>
                  </a:lnTo>
                  <a:lnTo>
                    <a:pt x="1170" y="126"/>
                  </a:lnTo>
                  <a:lnTo>
                    <a:pt x="1182" y="126"/>
                  </a:lnTo>
                  <a:lnTo>
                    <a:pt x="1182" y="138"/>
                  </a:lnTo>
                  <a:lnTo>
                    <a:pt x="1194" y="144"/>
                  </a:lnTo>
                  <a:lnTo>
                    <a:pt x="1194" y="156"/>
                  </a:lnTo>
                  <a:lnTo>
                    <a:pt x="1188" y="156"/>
                  </a:lnTo>
                  <a:lnTo>
                    <a:pt x="1194" y="162"/>
                  </a:lnTo>
                  <a:lnTo>
                    <a:pt x="1194" y="168"/>
                  </a:lnTo>
                  <a:lnTo>
                    <a:pt x="1188" y="168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82" y="180"/>
                  </a:lnTo>
                  <a:lnTo>
                    <a:pt x="1188" y="186"/>
                  </a:lnTo>
                  <a:lnTo>
                    <a:pt x="1188" y="192"/>
                  </a:lnTo>
                  <a:lnTo>
                    <a:pt x="1182" y="198"/>
                  </a:lnTo>
                  <a:lnTo>
                    <a:pt x="1182" y="204"/>
                  </a:lnTo>
                  <a:lnTo>
                    <a:pt x="1182" y="210"/>
                  </a:lnTo>
                  <a:lnTo>
                    <a:pt x="1188" y="210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2"/>
                  </a:lnTo>
                  <a:lnTo>
                    <a:pt x="1194" y="264"/>
                  </a:lnTo>
                  <a:lnTo>
                    <a:pt x="1200" y="264"/>
                  </a:lnTo>
                  <a:lnTo>
                    <a:pt x="1212" y="264"/>
                  </a:lnTo>
                  <a:lnTo>
                    <a:pt x="1212" y="258"/>
                  </a:lnTo>
                  <a:lnTo>
                    <a:pt x="1224" y="258"/>
                  </a:lnTo>
                  <a:lnTo>
                    <a:pt x="1248" y="252"/>
                  </a:lnTo>
                  <a:lnTo>
                    <a:pt x="1248" y="264"/>
                  </a:lnTo>
                  <a:lnTo>
                    <a:pt x="1254" y="264"/>
                  </a:lnTo>
                  <a:lnTo>
                    <a:pt x="1254" y="270"/>
                  </a:lnTo>
                  <a:lnTo>
                    <a:pt x="1260" y="270"/>
                  </a:lnTo>
                  <a:lnTo>
                    <a:pt x="1266" y="270"/>
                  </a:lnTo>
                  <a:lnTo>
                    <a:pt x="1272" y="270"/>
                  </a:lnTo>
                  <a:lnTo>
                    <a:pt x="1272" y="264"/>
                  </a:lnTo>
                  <a:lnTo>
                    <a:pt x="1272" y="258"/>
                  </a:lnTo>
                  <a:lnTo>
                    <a:pt x="1278" y="258"/>
                  </a:lnTo>
                  <a:lnTo>
                    <a:pt x="1278" y="252"/>
                  </a:lnTo>
                  <a:lnTo>
                    <a:pt x="1290" y="252"/>
                  </a:lnTo>
                  <a:lnTo>
                    <a:pt x="1296" y="246"/>
                  </a:lnTo>
                  <a:lnTo>
                    <a:pt x="1308" y="246"/>
                  </a:lnTo>
                  <a:lnTo>
                    <a:pt x="1308" y="240"/>
                  </a:lnTo>
                  <a:lnTo>
                    <a:pt x="1320" y="240"/>
                  </a:lnTo>
                  <a:lnTo>
                    <a:pt x="1326" y="246"/>
                  </a:lnTo>
                  <a:lnTo>
                    <a:pt x="1338" y="246"/>
                  </a:lnTo>
                  <a:lnTo>
                    <a:pt x="1338" y="240"/>
                  </a:lnTo>
                  <a:lnTo>
                    <a:pt x="1350" y="240"/>
                  </a:lnTo>
                  <a:lnTo>
                    <a:pt x="1386" y="234"/>
                  </a:lnTo>
                  <a:lnTo>
                    <a:pt x="1398" y="228"/>
                  </a:lnTo>
                  <a:lnTo>
                    <a:pt x="1404" y="216"/>
                  </a:lnTo>
                  <a:lnTo>
                    <a:pt x="1416" y="204"/>
                  </a:lnTo>
                  <a:lnTo>
                    <a:pt x="1434" y="192"/>
                  </a:lnTo>
                  <a:lnTo>
                    <a:pt x="1446" y="198"/>
                  </a:lnTo>
                  <a:lnTo>
                    <a:pt x="1446" y="204"/>
                  </a:lnTo>
                  <a:lnTo>
                    <a:pt x="1452" y="210"/>
                  </a:lnTo>
                  <a:lnTo>
                    <a:pt x="1464" y="222"/>
                  </a:lnTo>
                  <a:lnTo>
                    <a:pt x="1464" y="228"/>
                  </a:lnTo>
                  <a:lnTo>
                    <a:pt x="1464" y="234"/>
                  </a:lnTo>
                  <a:lnTo>
                    <a:pt x="1470" y="240"/>
                  </a:lnTo>
                  <a:lnTo>
                    <a:pt x="1476" y="228"/>
                  </a:lnTo>
                  <a:lnTo>
                    <a:pt x="1476" y="222"/>
                  </a:lnTo>
                  <a:lnTo>
                    <a:pt x="1482" y="210"/>
                  </a:lnTo>
                  <a:lnTo>
                    <a:pt x="1488" y="192"/>
                  </a:lnTo>
                  <a:lnTo>
                    <a:pt x="1488" y="186"/>
                  </a:lnTo>
                  <a:lnTo>
                    <a:pt x="1488" y="180"/>
                  </a:lnTo>
                  <a:lnTo>
                    <a:pt x="1500" y="180"/>
                  </a:lnTo>
                  <a:lnTo>
                    <a:pt x="1500" y="174"/>
                  </a:lnTo>
                  <a:lnTo>
                    <a:pt x="1518" y="162"/>
                  </a:lnTo>
                  <a:lnTo>
                    <a:pt x="1536" y="150"/>
                  </a:lnTo>
                  <a:lnTo>
                    <a:pt x="1554" y="168"/>
                  </a:lnTo>
                  <a:lnTo>
                    <a:pt x="1572" y="180"/>
                  </a:lnTo>
                  <a:lnTo>
                    <a:pt x="1596" y="216"/>
                  </a:lnTo>
                  <a:lnTo>
                    <a:pt x="1602" y="216"/>
                  </a:lnTo>
                  <a:lnTo>
                    <a:pt x="1614" y="228"/>
                  </a:lnTo>
                  <a:lnTo>
                    <a:pt x="1614" y="234"/>
                  </a:lnTo>
                  <a:lnTo>
                    <a:pt x="1620" y="240"/>
                  </a:lnTo>
                  <a:lnTo>
                    <a:pt x="1620" y="246"/>
                  </a:lnTo>
                  <a:lnTo>
                    <a:pt x="1626" y="252"/>
                  </a:lnTo>
                  <a:lnTo>
                    <a:pt x="1632" y="258"/>
                  </a:lnTo>
                  <a:lnTo>
                    <a:pt x="1632" y="264"/>
                  </a:lnTo>
                  <a:lnTo>
                    <a:pt x="1638" y="264"/>
                  </a:lnTo>
                  <a:lnTo>
                    <a:pt x="1638" y="270"/>
                  </a:lnTo>
                  <a:lnTo>
                    <a:pt x="1638" y="276"/>
                  </a:lnTo>
                  <a:lnTo>
                    <a:pt x="1638" y="282"/>
                  </a:lnTo>
                  <a:lnTo>
                    <a:pt x="1644" y="288"/>
                  </a:lnTo>
                  <a:lnTo>
                    <a:pt x="1644" y="294"/>
                  </a:lnTo>
                  <a:lnTo>
                    <a:pt x="1644" y="300"/>
                  </a:lnTo>
                  <a:lnTo>
                    <a:pt x="1644" y="306"/>
                  </a:lnTo>
                  <a:lnTo>
                    <a:pt x="1650" y="306"/>
                  </a:lnTo>
                  <a:lnTo>
                    <a:pt x="1650" y="312"/>
                  </a:lnTo>
                  <a:lnTo>
                    <a:pt x="1650" y="318"/>
                  </a:lnTo>
                  <a:lnTo>
                    <a:pt x="1650" y="324"/>
                  </a:lnTo>
                  <a:lnTo>
                    <a:pt x="1644" y="330"/>
                  </a:lnTo>
                  <a:lnTo>
                    <a:pt x="1626" y="330"/>
                  </a:lnTo>
                  <a:lnTo>
                    <a:pt x="1626" y="336"/>
                  </a:lnTo>
                  <a:lnTo>
                    <a:pt x="1626" y="342"/>
                  </a:lnTo>
                  <a:lnTo>
                    <a:pt x="1626" y="348"/>
                  </a:lnTo>
                  <a:lnTo>
                    <a:pt x="1620" y="354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14" y="390"/>
                  </a:lnTo>
                  <a:lnTo>
                    <a:pt x="1614" y="396"/>
                  </a:lnTo>
                  <a:lnTo>
                    <a:pt x="1614" y="402"/>
                  </a:lnTo>
                  <a:lnTo>
                    <a:pt x="1614" y="408"/>
                  </a:lnTo>
                  <a:lnTo>
                    <a:pt x="1614" y="414"/>
                  </a:lnTo>
                  <a:lnTo>
                    <a:pt x="1602" y="420"/>
                  </a:lnTo>
                  <a:lnTo>
                    <a:pt x="1602" y="426"/>
                  </a:lnTo>
                  <a:lnTo>
                    <a:pt x="1608" y="432"/>
                  </a:lnTo>
                  <a:lnTo>
                    <a:pt x="1614" y="426"/>
                  </a:lnTo>
                  <a:lnTo>
                    <a:pt x="1620" y="438"/>
                  </a:lnTo>
                  <a:lnTo>
                    <a:pt x="1626" y="438"/>
                  </a:lnTo>
                  <a:lnTo>
                    <a:pt x="1632" y="444"/>
                  </a:lnTo>
                  <a:lnTo>
                    <a:pt x="1626" y="456"/>
                  </a:lnTo>
                  <a:lnTo>
                    <a:pt x="1626" y="468"/>
                  </a:lnTo>
                  <a:lnTo>
                    <a:pt x="1620" y="474"/>
                  </a:lnTo>
                  <a:lnTo>
                    <a:pt x="1614" y="474"/>
                  </a:lnTo>
                  <a:lnTo>
                    <a:pt x="1614" y="486"/>
                  </a:lnTo>
                  <a:lnTo>
                    <a:pt x="1614" y="492"/>
                  </a:lnTo>
                  <a:lnTo>
                    <a:pt x="1620" y="492"/>
                  </a:lnTo>
                  <a:lnTo>
                    <a:pt x="1626" y="498"/>
                  </a:lnTo>
                  <a:lnTo>
                    <a:pt x="1626" y="504"/>
                  </a:lnTo>
                  <a:lnTo>
                    <a:pt x="1626" y="510"/>
                  </a:lnTo>
                  <a:lnTo>
                    <a:pt x="1620" y="516"/>
                  </a:lnTo>
                  <a:lnTo>
                    <a:pt x="1620" y="522"/>
                  </a:lnTo>
                  <a:lnTo>
                    <a:pt x="1614" y="522"/>
                  </a:lnTo>
                  <a:lnTo>
                    <a:pt x="1608" y="528"/>
                  </a:lnTo>
                  <a:lnTo>
                    <a:pt x="1602" y="522"/>
                  </a:lnTo>
                  <a:lnTo>
                    <a:pt x="1602" y="528"/>
                  </a:lnTo>
                  <a:lnTo>
                    <a:pt x="1602" y="540"/>
                  </a:lnTo>
                  <a:lnTo>
                    <a:pt x="1602" y="558"/>
                  </a:lnTo>
                  <a:lnTo>
                    <a:pt x="1602" y="564"/>
                  </a:lnTo>
                  <a:lnTo>
                    <a:pt x="1602" y="570"/>
                  </a:lnTo>
                  <a:lnTo>
                    <a:pt x="1602" y="576"/>
                  </a:lnTo>
                  <a:lnTo>
                    <a:pt x="1596" y="576"/>
                  </a:lnTo>
                  <a:lnTo>
                    <a:pt x="1632" y="582"/>
                  </a:lnTo>
                  <a:lnTo>
                    <a:pt x="1644" y="618"/>
                  </a:lnTo>
                  <a:lnTo>
                    <a:pt x="1650" y="648"/>
                  </a:lnTo>
                  <a:lnTo>
                    <a:pt x="1662" y="636"/>
                  </a:lnTo>
                  <a:lnTo>
                    <a:pt x="1668" y="636"/>
                  </a:lnTo>
                  <a:lnTo>
                    <a:pt x="1674" y="636"/>
                  </a:lnTo>
                  <a:lnTo>
                    <a:pt x="1680" y="630"/>
                  </a:lnTo>
                  <a:lnTo>
                    <a:pt x="1686" y="630"/>
                  </a:lnTo>
                  <a:lnTo>
                    <a:pt x="1692" y="630"/>
                  </a:lnTo>
                  <a:lnTo>
                    <a:pt x="1698" y="630"/>
                  </a:lnTo>
                  <a:lnTo>
                    <a:pt x="1704" y="630"/>
                  </a:lnTo>
                  <a:lnTo>
                    <a:pt x="1704" y="624"/>
                  </a:lnTo>
                  <a:lnTo>
                    <a:pt x="1710" y="624"/>
                  </a:lnTo>
                  <a:lnTo>
                    <a:pt x="1716" y="624"/>
                  </a:lnTo>
                  <a:lnTo>
                    <a:pt x="1722" y="624"/>
                  </a:lnTo>
                  <a:lnTo>
                    <a:pt x="1728" y="624"/>
                  </a:lnTo>
                  <a:lnTo>
                    <a:pt x="1722" y="618"/>
                  </a:lnTo>
                  <a:lnTo>
                    <a:pt x="1728" y="606"/>
                  </a:lnTo>
                  <a:lnTo>
                    <a:pt x="1734" y="606"/>
                  </a:lnTo>
                  <a:lnTo>
                    <a:pt x="1740" y="600"/>
                  </a:lnTo>
                  <a:lnTo>
                    <a:pt x="1746" y="594"/>
                  </a:lnTo>
                  <a:lnTo>
                    <a:pt x="1752" y="588"/>
                  </a:lnTo>
                  <a:lnTo>
                    <a:pt x="1752" y="582"/>
                  </a:lnTo>
                  <a:lnTo>
                    <a:pt x="1758" y="576"/>
                  </a:lnTo>
                  <a:lnTo>
                    <a:pt x="1764" y="576"/>
                  </a:lnTo>
                  <a:lnTo>
                    <a:pt x="1770" y="570"/>
                  </a:lnTo>
                  <a:lnTo>
                    <a:pt x="1776" y="564"/>
                  </a:lnTo>
                  <a:lnTo>
                    <a:pt x="1788" y="558"/>
                  </a:lnTo>
                  <a:lnTo>
                    <a:pt x="1788" y="546"/>
                  </a:lnTo>
                  <a:lnTo>
                    <a:pt x="1788" y="540"/>
                  </a:lnTo>
                  <a:lnTo>
                    <a:pt x="1794" y="540"/>
                  </a:lnTo>
                  <a:lnTo>
                    <a:pt x="1788" y="534"/>
                  </a:lnTo>
                  <a:lnTo>
                    <a:pt x="1788" y="528"/>
                  </a:lnTo>
                  <a:lnTo>
                    <a:pt x="1794" y="516"/>
                  </a:lnTo>
                  <a:lnTo>
                    <a:pt x="1800" y="510"/>
                  </a:lnTo>
                  <a:lnTo>
                    <a:pt x="1812" y="510"/>
                  </a:lnTo>
                  <a:lnTo>
                    <a:pt x="1818" y="504"/>
                  </a:lnTo>
                  <a:lnTo>
                    <a:pt x="1824" y="504"/>
                  </a:lnTo>
                  <a:lnTo>
                    <a:pt x="1830" y="498"/>
                  </a:lnTo>
                  <a:lnTo>
                    <a:pt x="1836" y="498"/>
                  </a:lnTo>
                  <a:lnTo>
                    <a:pt x="1848" y="492"/>
                  </a:lnTo>
                  <a:lnTo>
                    <a:pt x="1848" y="480"/>
                  </a:lnTo>
                  <a:lnTo>
                    <a:pt x="1854" y="480"/>
                  </a:lnTo>
                  <a:lnTo>
                    <a:pt x="1890" y="504"/>
                  </a:lnTo>
                  <a:lnTo>
                    <a:pt x="1908" y="534"/>
                  </a:lnTo>
                  <a:lnTo>
                    <a:pt x="1902" y="534"/>
                  </a:lnTo>
                  <a:lnTo>
                    <a:pt x="1920" y="528"/>
                  </a:lnTo>
                  <a:lnTo>
                    <a:pt x="1920" y="516"/>
                  </a:lnTo>
                  <a:lnTo>
                    <a:pt x="1944" y="516"/>
                  </a:lnTo>
                  <a:lnTo>
                    <a:pt x="2004" y="516"/>
                  </a:lnTo>
                  <a:lnTo>
                    <a:pt x="2010" y="510"/>
                  </a:lnTo>
                  <a:lnTo>
                    <a:pt x="2004" y="510"/>
                  </a:lnTo>
                  <a:lnTo>
                    <a:pt x="2010" y="498"/>
                  </a:lnTo>
                  <a:lnTo>
                    <a:pt x="2004" y="486"/>
                  </a:lnTo>
                  <a:lnTo>
                    <a:pt x="2004" y="480"/>
                  </a:lnTo>
                  <a:lnTo>
                    <a:pt x="2004" y="474"/>
                  </a:lnTo>
                  <a:lnTo>
                    <a:pt x="2004" y="462"/>
                  </a:lnTo>
                  <a:lnTo>
                    <a:pt x="2004" y="456"/>
                  </a:lnTo>
                  <a:lnTo>
                    <a:pt x="2058" y="462"/>
                  </a:lnTo>
                  <a:lnTo>
                    <a:pt x="2076" y="474"/>
                  </a:lnTo>
                  <a:lnTo>
                    <a:pt x="2082" y="522"/>
                  </a:lnTo>
                  <a:lnTo>
                    <a:pt x="2088" y="516"/>
                  </a:lnTo>
                  <a:lnTo>
                    <a:pt x="2094" y="522"/>
                  </a:lnTo>
                  <a:lnTo>
                    <a:pt x="2100" y="528"/>
                  </a:lnTo>
                  <a:lnTo>
                    <a:pt x="2130" y="540"/>
                  </a:lnTo>
                  <a:lnTo>
                    <a:pt x="2160" y="564"/>
                  </a:lnTo>
                  <a:lnTo>
                    <a:pt x="2166" y="600"/>
                  </a:lnTo>
                  <a:lnTo>
                    <a:pt x="2160" y="618"/>
                  </a:lnTo>
                  <a:lnTo>
                    <a:pt x="2142" y="636"/>
                  </a:lnTo>
                  <a:lnTo>
                    <a:pt x="2148" y="648"/>
                  </a:lnTo>
                  <a:lnTo>
                    <a:pt x="2154" y="660"/>
                  </a:lnTo>
                  <a:lnTo>
                    <a:pt x="2196" y="654"/>
                  </a:lnTo>
                  <a:lnTo>
                    <a:pt x="2214" y="660"/>
                  </a:lnTo>
                  <a:lnTo>
                    <a:pt x="2214" y="666"/>
                  </a:lnTo>
                  <a:lnTo>
                    <a:pt x="2220" y="672"/>
                  </a:lnTo>
                  <a:lnTo>
                    <a:pt x="2214" y="678"/>
                  </a:lnTo>
                  <a:lnTo>
                    <a:pt x="2214" y="684"/>
                  </a:lnTo>
                  <a:lnTo>
                    <a:pt x="2214" y="690"/>
                  </a:lnTo>
                  <a:lnTo>
                    <a:pt x="2208" y="690"/>
                  </a:lnTo>
                  <a:lnTo>
                    <a:pt x="2202" y="696"/>
                  </a:lnTo>
                  <a:lnTo>
                    <a:pt x="2196" y="702"/>
                  </a:lnTo>
                  <a:lnTo>
                    <a:pt x="2190" y="708"/>
                  </a:lnTo>
                  <a:lnTo>
                    <a:pt x="2190" y="720"/>
                  </a:lnTo>
                  <a:lnTo>
                    <a:pt x="2184" y="720"/>
                  </a:lnTo>
                  <a:lnTo>
                    <a:pt x="2178" y="726"/>
                  </a:lnTo>
                  <a:lnTo>
                    <a:pt x="2166" y="732"/>
                  </a:lnTo>
                  <a:lnTo>
                    <a:pt x="2160" y="744"/>
                  </a:lnTo>
                  <a:lnTo>
                    <a:pt x="2154" y="756"/>
                  </a:lnTo>
                  <a:lnTo>
                    <a:pt x="2148" y="762"/>
                  </a:lnTo>
                  <a:lnTo>
                    <a:pt x="2124" y="762"/>
                  </a:lnTo>
                  <a:lnTo>
                    <a:pt x="2124" y="768"/>
                  </a:lnTo>
                  <a:lnTo>
                    <a:pt x="2118" y="768"/>
                  </a:lnTo>
                  <a:lnTo>
                    <a:pt x="2124" y="774"/>
                  </a:lnTo>
                  <a:lnTo>
                    <a:pt x="2118" y="774"/>
                  </a:lnTo>
                  <a:lnTo>
                    <a:pt x="2112" y="774"/>
                  </a:lnTo>
                  <a:lnTo>
                    <a:pt x="2106" y="780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06" y="798"/>
                  </a:lnTo>
                  <a:lnTo>
                    <a:pt x="2106" y="810"/>
                  </a:lnTo>
                  <a:lnTo>
                    <a:pt x="2112" y="828"/>
                  </a:lnTo>
                  <a:lnTo>
                    <a:pt x="2112" y="834"/>
                  </a:lnTo>
                  <a:lnTo>
                    <a:pt x="2112" y="840"/>
                  </a:lnTo>
                  <a:lnTo>
                    <a:pt x="2112" y="834"/>
                  </a:lnTo>
                  <a:lnTo>
                    <a:pt x="2124" y="834"/>
                  </a:lnTo>
                  <a:lnTo>
                    <a:pt x="2130" y="834"/>
                  </a:lnTo>
                  <a:lnTo>
                    <a:pt x="2136" y="840"/>
                  </a:lnTo>
                  <a:lnTo>
                    <a:pt x="2142" y="840"/>
                  </a:lnTo>
                  <a:lnTo>
                    <a:pt x="2154" y="852"/>
                  </a:lnTo>
                  <a:lnTo>
                    <a:pt x="2160" y="852"/>
                  </a:lnTo>
                  <a:lnTo>
                    <a:pt x="2172" y="846"/>
                  </a:lnTo>
                  <a:lnTo>
                    <a:pt x="2178" y="846"/>
                  </a:lnTo>
                  <a:lnTo>
                    <a:pt x="2184" y="846"/>
                  </a:lnTo>
                  <a:lnTo>
                    <a:pt x="2190" y="846"/>
                  </a:lnTo>
                  <a:lnTo>
                    <a:pt x="2196" y="852"/>
                  </a:lnTo>
                  <a:lnTo>
                    <a:pt x="2196" y="858"/>
                  </a:lnTo>
                  <a:lnTo>
                    <a:pt x="2202" y="852"/>
                  </a:lnTo>
                  <a:lnTo>
                    <a:pt x="2208" y="846"/>
                  </a:lnTo>
                  <a:lnTo>
                    <a:pt x="2214" y="846"/>
                  </a:lnTo>
                  <a:lnTo>
                    <a:pt x="2226" y="846"/>
                  </a:lnTo>
                  <a:lnTo>
                    <a:pt x="2232" y="852"/>
                  </a:lnTo>
                  <a:lnTo>
                    <a:pt x="2238" y="852"/>
                  </a:lnTo>
                  <a:lnTo>
                    <a:pt x="2244" y="858"/>
                  </a:lnTo>
                  <a:lnTo>
                    <a:pt x="2250" y="858"/>
                  </a:lnTo>
                  <a:lnTo>
                    <a:pt x="2256" y="858"/>
                  </a:lnTo>
                  <a:lnTo>
                    <a:pt x="2262" y="858"/>
                  </a:lnTo>
                  <a:lnTo>
                    <a:pt x="2268" y="852"/>
                  </a:lnTo>
                  <a:lnTo>
                    <a:pt x="2274" y="852"/>
                  </a:lnTo>
                  <a:lnTo>
                    <a:pt x="2280" y="852"/>
                  </a:lnTo>
                  <a:lnTo>
                    <a:pt x="2286" y="852"/>
                  </a:lnTo>
                  <a:lnTo>
                    <a:pt x="2298" y="858"/>
                  </a:lnTo>
                  <a:lnTo>
                    <a:pt x="2304" y="858"/>
                  </a:lnTo>
                  <a:lnTo>
                    <a:pt x="2310" y="858"/>
                  </a:lnTo>
                  <a:lnTo>
                    <a:pt x="2316" y="852"/>
                  </a:lnTo>
                  <a:lnTo>
                    <a:pt x="2322" y="858"/>
                  </a:lnTo>
                  <a:lnTo>
                    <a:pt x="2328" y="858"/>
                  </a:lnTo>
                  <a:lnTo>
                    <a:pt x="2328" y="852"/>
                  </a:lnTo>
                  <a:lnTo>
                    <a:pt x="2364" y="858"/>
                  </a:lnTo>
                  <a:lnTo>
                    <a:pt x="2376" y="876"/>
                  </a:lnTo>
                  <a:lnTo>
                    <a:pt x="2382" y="936"/>
                  </a:lnTo>
                  <a:lnTo>
                    <a:pt x="2388" y="966"/>
                  </a:lnTo>
                  <a:lnTo>
                    <a:pt x="2382" y="972"/>
                  </a:lnTo>
                  <a:lnTo>
                    <a:pt x="2382" y="978"/>
                  </a:lnTo>
                  <a:lnTo>
                    <a:pt x="2382" y="984"/>
                  </a:lnTo>
                  <a:lnTo>
                    <a:pt x="2388" y="990"/>
                  </a:lnTo>
                  <a:lnTo>
                    <a:pt x="2382" y="990"/>
                  </a:lnTo>
                  <a:lnTo>
                    <a:pt x="2382" y="996"/>
                  </a:lnTo>
                  <a:lnTo>
                    <a:pt x="2376" y="996"/>
                  </a:lnTo>
                  <a:lnTo>
                    <a:pt x="2376" y="1020"/>
                  </a:lnTo>
                  <a:lnTo>
                    <a:pt x="2370" y="1032"/>
                  </a:lnTo>
                  <a:lnTo>
                    <a:pt x="2352" y="1032"/>
                  </a:lnTo>
                  <a:lnTo>
                    <a:pt x="2346" y="1020"/>
                  </a:lnTo>
                  <a:lnTo>
                    <a:pt x="2328" y="1032"/>
                  </a:lnTo>
                  <a:lnTo>
                    <a:pt x="2316" y="1038"/>
                  </a:lnTo>
                  <a:lnTo>
                    <a:pt x="2328" y="1044"/>
                  </a:lnTo>
                  <a:lnTo>
                    <a:pt x="2340" y="1056"/>
                  </a:lnTo>
                  <a:lnTo>
                    <a:pt x="2376" y="1062"/>
                  </a:lnTo>
                  <a:lnTo>
                    <a:pt x="2376" y="1068"/>
                  </a:lnTo>
                  <a:lnTo>
                    <a:pt x="2382" y="1086"/>
                  </a:lnTo>
                  <a:lnTo>
                    <a:pt x="2376" y="1086"/>
                  </a:lnTo>
                  <a:lnTo>
                    <a:pt x="2370" y="1086"/>
                  </a:lnTo>
                  <a:lnTo>
                    <a:pt x="2364" y="1086"/>
                  </a:lnTo>
                  <a:lnTo>
                    <a:pt x="2364" y="1098"/>
                  </a:lnTo>
                  <a:lnTo>
                    <a:pt x="2388" y="1104"/>
                  </a:lnTo>
                  <a:lnTo>
                    <a:pt x="2400" y="1122"/>
                  </a:lnTo>
                  <a:lnTo>
                    <a:pt x="2400" y="1134"/>
                  </a:lnTo>
                  <a:lnTo>
                    <a:pt x="2400" y="1146"/>
                  </a:lnTo>
                  <a:lnTo>
                    <a:pt x="2394" y="1146"/>
                  </a:lnTo>
                  <a:lnTo>
                    <a:pt x="2394" y="1152"/>
                  </a:lnTo>
                  <a:lnTo>
                    <a:pt x="2388" y="1152"/>
                  </a:lnTo>
                  <a:lnTo>
                    <a:pt x="2388" y="1146"/>
                  </a:lnTo>
                  <a:lnTo>
                    <a:pt x="2382" y="1152"/>
                  </a:lnTo>
                  <a:lnTo>
                    <a:pt x="2376" y="1152"/>
                  </a:lnTo>
                  <a:lnTo>
                    <a:pt x="2370" y="1158"/>
                  </a:lnTo>
                  <a:lnTo>
                    <a:pt x="2370" y="1164"/>
                  </a:lnTo>
                  <a:lnTo>
                    <a:pt x="2364" y="1170"/>
                  </a:lnTo>
                  <a:lnTo>
                    <a:pt x="2370" y="1170"/>
                  </a:lnTo>
                  <a:lnTo>
                    <a:pt x="2376" y="1170"/>
                  </a:lnTo>
                  <a:lnTo>
                    <a:pt x="2370" y="1176"/>
                  </a:lnTo>
                  <a:lnTo>
                    <a:pt x="2364" y="1176"/>
                  </a:lnTo>
                  <a:lnTo>
                    <a:pt x="2358" y="1182"/>
                  </a:lnTo>
                  <a:lnTo>
                    <a:pt x="2352" y="1182"/>
                  </a:lnTo>
                  <a:lnTo>
                    <a:pt x="2346" y="1188"/>
                  </a:lnTo>
                  <a:lnTo>
                    <a:pt x="2340" y="1182"/>
                  </a:lnTo>
                  <a:lnTo>
                    <a:pt x="2334" y="1182"/>
                  </a:lnTo>
                  <a:lnTo>
                    <a:pt x="2334" y="1188"/>
                  </a:lnTo>
                  <a:lnTo>
                    <a:pt x="2328" y="1194"/>
                  </a:lnTo>
                  <a:lnTo>
                    <a:pt x="2328" y="1200"/>
                  </a:lnTo>
                  <a:lnTo>
                    <a:pt x="2322" y="1224"/>
                  </a:lnTo>
                  <a:lnTo>
                    <a:pt x="2328" y="1230"/>
                  </a:lnTo>
                  <a:lnTo>
                    <a:pt x="2358" y="1230"/>
                  </a:lnTo>
                  <a:lnTo>
                    <a:pt x="2358" y="1242"/>
                  </a:lnTo>
                  <a:lnTo>
                    <a:pt x="2358" y="1254"/>
                  </a:lnTo>
                  <a:lnTo>
                    <a:pt x="2346" y="1254"/>
                  </a:lnTo>
                  <a:lnTo>
                    <a:pt x="2346" y="1278"/>
                  </a:lnTo>
                  <a:lnTo>
                    <a:pt x="2358" y="1278"/>
                  </a:lnTo>
                  <a:lnTo>
                    <a:pt x="2358" y="1284"/>
                  </a:lnTo>
                  <a:lnTo>
                    <a:pt x="2376" y="1284"/>
                  </a:lnTo>
                  <a:lnTo>
                    <a:pt x="2388" y="1278"/>
                  </a:lnTo>
                  <a:lnTo>
                    <a:pt x="2406" y="1278"/>
                  </a:lnTo>
                  <a:lnTo>
                    <a:pt x="2430" y="1284"/>
                  </a:lnTo>
                  <a:lnTo>
                    <a:pt x="2430" y="1302"/>
                  </a:lnTo>
                  <a:lnTo>
                    <a:pt x="2430" y="1314"/>
                  </a:lnTo>
                  <a:lnTo>
                    <a:pt x="2424" y="1326"/>
                  </a:lnTo>
                  <a:lnTo>
                    <a:pt x="2412" y="1326"/>
                  </a:lnTo>
                  <a:lnTo>
                    <a:pt x="2412" y="1344"/>
                  </a:lnTo>
                  <a:lnTo>
                    <a:pt x="2406" y="1344"/>
                  </a:lnTo>
                  <a:lnTo>
                    <a:pt x="2400" y="1362"/>
                  </a:lnTo>
                  <a:lnTo>
                    <a:pt x="2394" y="1368"/>
                  </a:lnTo>
                  <a:lnTo>
                    <a:pt x="2388" y="1374"/>
                  </a:lnTo>
                  <a:lnTo>
                    <a:pt x="2382" y="1380"/>
                  </a:lnTo>
                  <a:lnTo>
                    <a:pt x="2376" y="1386"/>
                  </a:lnTo>
                  <a:lnTo>
                    <a:pt x="2376" y="1392"/>
                  </a:lnTo>
                  <a:lnTo>
                    <a:pt x="2370" y="1404"/>
                  </a:lnTo>
                  <a:lnTo>
                    <a:pt x="2364" y="1416"/>
                  </a:lnTo>
                  <a:lnTo>
                    <a:pt x="2346" y="1434"/>
                  </a:lnTo>
                  <a:lnTo>
                    <a:pt x="2328" y="1440"/>
                  </a:lnTo>
                  <a:lnTo>
                    <a:pt x="2328" y="1446"/>
                  </a:lnTo>
                  <a:lnTo>
                    <a:pt x="2322" y="1452"/>
                  </a:lnTo>
                  <a:lnTo>
                    <a:pt x="2316" y="1452"/>
                  </a:lnTo>
                  <a:lnTo>
                    <a:pt x="2304" y="1446"/>
                  </a:lnTo>
                  <a:lnTo>
                    <a:pt x="2298" y="1446"/>
                  </a:lnTo>
                  <a:lnTo>
                    <a:pt x="2298" y="1434"/>
                  </a:lnTo>
                  <a:lnTo>
                    <a:pt x="2292" y="1434"/>
                  </a:lnTo>
                  <a:lnTo>
                    <a:pt x="2286" y="1428"/>
                  </a:lnTo>
                  <a:lnTo>
                    <a:pt x="2274" y="1416"/>
                  </a:lnTo>
                  <a:lnTo>
                    <a:pt x="2256" y="1404"/>
                  </a:lnTo>
                  <a:lnTo>
                    <a:pt x="2244" y="1386"/>
                  </a:lnTo>
                  <a:lnTo>
                    <a:pt x="2220" y="1368"/>
                  </a:lnTo>
                  <a:lnTo>
                    <a:pt x="2208" y="1362"/>
                  </a:lnTo>
                  <a:lnTo>
                    <a:pt x="2202" y="1350"/>
                  </a:lnTo>
                  <a:lnTo>
                    <a:pt x="2196" y="1350"/>
                  </a:lnTo>
                  <a:lnTo>
                    <a:pt x="2190" y="1356"/>
                  </a:lnTo>
                  <a:lnTo>
                    <a:pt x="2184" y="1356"/>
                  </a:lnTo>
                  <a:lnTo>
                    <a:pt x="2094" y="1350"/>
                  </a:lnTo>
                  <a:lnTo>
                    <a:pt x="2058" y="1350"/>
                  </a:lnTo>
                  <a:lnTo>
                    <a:pt x="2034" y="1890"/>
                  </a:lnTo>
                  <a:lnTo>
                    <a:pt x="2064" y="1890"/>
                  </a:lnTo>
                  <a:lnTo>
                    <a:pt x="2070" y="1896"/>
                  </a:lnTo>
                  <a:lnTo>
                    <a:pt x="2076" y="18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8" name="Freeform 33">
              <a:extLst>
                <a:ext uri="{FF2B5EF4-FFF2-40B4-BE49-F238E27FC236}">
                  <a16:creationId xmlns:a16="http://schemas.microsoft.com/office/drawing/2014/main" id="{0E96F118-1F4D-4E52-AF27-149259451CD6}"/>
                </a:ext>
              </a:extLst>
            </p:cNvPr>
            <p:cNvSpPr>
              <a:spLocks/>
            </p:cNvSpPr>
            <p:nvPr/>
          </p:nvSpPr>
          <p:spPr bwMode="gray">
            <a:xfrm>
              <a:off x="1266662" y="1459989"/>
              <a:ext cx="903421" cy="778302"/>
            </a:xfrm>
            <a:custGeom>
              <a:avLst/>
              <a:gdLst>
                <a:gd name="T0" fmla="*/ 143 w 1698"/>
                <a:gd name="T1" fmla="*/ 43 h 1464"/>
                <a:gd name="T2" fmla="*/ 131 w 1698"/>
                <a:gd name="T3" fmla="*/ 44 h 1464"/>
                <a:gd name="T4" fmla="*/ 126 w 1698"/>
                <a:gd name="T5" fmla="*/ 41 h 1464"/>
                <a:gd name="T6" fmla="*/ 119 w 1698"/>
                <a:gd name="T7" fmla="*/ 45 h 1464"/>
                <a:gd name="T8" fmla="*/ 111 w 1698"/>
                <a:gd name="T9" fmla="*/ 46 h 1464"/>
                <a:gd name="T10" fmla="*/ 107 w 1698"/>
                <a:gd name="T11" fmla="*/ 50 h 1464"/>
                <a:gd name="T12" fmla="*/ 107 w 1698"/>
                <a:gd name="T13" fmla="*/ 60 h 1464"/>
                <a:gd name="T14" fmla="*/ 104 w 1698"/>
                <a:gd name="T15" fmla="*/ 62 h 1464"/>
                <a:gd name="T16" fmla="*/ 97 w 1698"/>
                <a:gd name="T17" fmla="*/ 59 h 1464"/>
                <a:gd name="T18" fmla="*/ 92 w 1698"/>
                <a:gd name="T19" fmla="*/ 59 h 1464"/>
                <a:gd name="T20" fmla="*/ 90 w 1698"/>
                <a:gd name="T21" fmla="*/ 62 h 1464"/>
                <a:gd name="T22" fmla="*/ 93 w 1698"/>
                <a:gd name="T23" fmla="*/ 77 h 1464"/>
                <a:gd name="T24" fmla="*/ 85 w 1698"/>
                <a:gd name="T25" fmla="*/ 88 h 1464"/>
                <a:gd name="T26" fmla="*/ 70 w 1698"/>
                <a:gd name="T27" fmla="*/ 89 h 1464"/>
                <a:gd name="T28" fmla="*/ 65 w 1698"/>
                <a:gd name="T29" fmla="*/ 88 h 1464"/>
                <a:gd name="T30" fmla="*/ 50 w 1698"/>
                <a:gd name="T31" fmla="*/ 88 h 1464"/>
                <a:gd name="T32" fmla="*/ 48 w 1698"/>
                <a:gd name="T33" fmla="*/ 107 h 1464"/>
                <a:gd name="T34" fmla="*/ 47 w 1698"/>
                <a:gd name="T35" fmla="*/ 120 h 1464"/>
                <a:gd name="T36" fmla="*/ 43 w 1698"/>
                <a:gd name="T37" fmla="*/ 121 h 1464"/>
                <a:gd name="T38" fmla="*/ 40 w 1698"/>
                <a:gd name="T39" fmla="*/ 120 h 1464"/>
                <a:gd name="T40" fmla="*/ 35 w 1698"/>
                <a:gd name="T41" fmla="*/ 122 h 1464"/>
                <a:gd name="T42" fmla="*/ 29 w 1698"/>
                <a:gd name="T43" fmla="*/ 123 h 1464"/>
                <a:gd name="T44" fmla="*/ 24 w 1698"/>
                <a:gd name="T45" fmla="*/ 125 h 1464"/>
                <a:gd name="T46" fmla="*/ 20 w 1698"/>
                <a:gd name="T47" fmla="*/ 125 h 1464"/>
                <a:gd name="T48" fmla="*/ 18 w 1698"/>
                <a:gd name="T49" fmla="*/ 122 h 1464"/>
                <a:gd name="T50" fmla="*/ 26 w 1698"/>
                <a:gd name="T51" fmla="*/ 108 h 1464"/>
                <a:gd name="T52" fmla="*/ 24 w 1698"/>
                <a:gd name="T53" fmla="*/ 89 h 1464"/>
                <a:gd name="T54" fmla="*/ 28 w 1698"/>
                <a:gd name="T55" fmla="*/ 85 h 1464"/>
                <a:gd name="T56" fmla="*/ 32 w 1698"/>
                <a:gd name="T57" fmla="*/ 80 h 1464"/>
                <a:gd name="T58" fmla="*/ 36 w 1698"/>
                <a:gd name="T59" fmla="*/ 86 h 1464"/>
                <a:gd name="T60" fmla="*/ 39 w 1698"/>
                <a:gd name="T61" fmla="*/ 80 h 1464"/>
                <a:gd name="T62" fmla="*/ 41 w 1698"/>
                <a:gd name="T63" fmla="*/ 73 h 1464"/>
                <a:gd name="T64" fmla="*/ 38 w 1698"/>
                <a:gd name="T65" fmla="*/ 64 h 1464"/>
                <a:gd name="T66" fmla="*/ 39 w 1698"/>
                <a:gd name="T67" fmla="*/ 59 h 1464"/>
                <a:gd name="T68" fmla="*/ 32 w 1698"/>
                <a:gd name="T69" fmla="*/ 54 h 1464"/>
                <a:gd name="T70" fmla="*/ 32 w 1698"/>
                <a:gd name="T71" fmla="*/ 45 h 1464"/>
                <a:gd name="T72" fmla="*/ 31 w 1698"/>
                <a:gd name="T73" fmla="*/ 41 h 1464"/>
                <a:gd name="T74" fmla="*/ 24 w 1698"/>
                <a:gd name="T75" fmla="*/ 43 h 1464"/>
                <a:gd name="T76" fmla="*/ 17 w 1698"/>
                <a:gd name="T77" fmla="*/ 40 h 1464"/>
                <a:gd name="T78" fmla="*/ 11 w 1698"/>
                <a:gd name="T79" fmla="*/ 38 h 1464"/>
                <a:gd name="T80" fmla="*/ 2 w 1698"/>
                <a:gd name="T81" fmla="*/ 36 h 1464"/>
                <a:gd name="T82" fmla="*/ 0 w 1698"/>
                <a:gd name="T83" fmla="*/ 24 h 1464"/>
                <a:gd name="T84" fmla="*/ 11 w 1698"/>
                <a:gd name="T85" fmla="*/ 18 h 1464"/>
                <a:gd name="T86" fmla="*/ 19 w 1698"/>
                <a:gd name="T87" fmla="*/ 10 h 1464"/>
                <a:gd name="T88" fmla="*/ 28 w 1698"/>
                <a:gd name="T89" fmla="*/ 9 h 1464"/>
                <a:gd name="T90" fmla="*/ 40 w 1698"/>
                <a:gd name="T91" fmla="*/ 6 h 1464"/>
                <a:gd name="T92" fmla="*/ 49 w 1698"/>
                <a:gd name="T93" fmla="*/ 8 h 1464"/>
                <a:gd name="T94" fmla="*/ 56 w 1698"/>
                <a:gd name="T95" fmla="*/ 8 h 1464"/>
                <a:gd name="T96" fmla="*/ 64 w 1698"/>
                <a:gd name="T97" fmla="*/ 7 h 1464"/>
                <a:gd name="T98" fmla="*/ 74 w 1698"/>
                <a:gd name="T99" fmla="*/ 1 h 1464"/>
                <a:gd name="T100" fmla="*/ 83 w 1698"/>
                <a:gd name="T101" fmla="*/ 3 h 1464"/>
                <a:gd name="T102" fmla="*/ 99 w 1698"/>
                <a:gd name="T103" fmla="*/ 9 h 1464"/>
                <a:gd name="T104" fmla="*/ 112 w 1698"/>
                <a:gd name="T105" fmla="*/ 14 h 1464"/>
                <a:gd name="T106" fmla="*/ 119 w 1698"/>
                <a:gd name="T107" fmla="*/ 12 h 1464"/>
                <a:gd name="T108" fmla="*/ 128 w 1698"/>
                <a:gd name="T109" fmla="*/ 17 h 1464"/>
                <a:gd name="T110" fmla="*/ 141 w 1698"/>
                <a:gd name="T111" fmla="*/ 29 h 1464"/>
                <a:gd name="T112" fmla="*/ 145 w 1698"/>
                <a:gd name="T113" fmla="*/ 35 h 14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98"/>
                <a:gd name="T172" fmla="*/ 0 h 1464"/>
                <a:gd name="T173" fmla="*/ 1698 w 1698"/>
                <a:gd name="T174" fmla="*/ 1464 h 14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98" h="1464">
                  <a:moveTo>
                    <a:pt x="1698" y="462"/>
                  </a:moveTo>
                  <a:lnTo>
                    <a:pt x="1686" y="468"/>
                  </a:lnTo>
                  <a:lnTo>
                    <a:pt x="1680" y="474"/>
                  </a:lnTo>
                  <a:lnTo>
                    <a:pt x="1674" y="480"/>
                  </a:lnTo>
                  <a:lnTo>
                    <a:pt x="1668" y="480"/>
                  </a:lnTo>
                  <a:lnTo>
                    <a:pt x="1662" y="486"/>
                  </a:lnTo>
                  <a:lnTo>
                    <a:pt x="1656" y="492"/>
                  </a:lnTo>
                  <a:lnTo>
                    <a:pt x="1644" y="498"/>
                  </a:lnTo>
                  <a:lnTo>
                    <a:pt x="1626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0" y="516"/>
                  </a:lnTo>
                  <a:lnTo>
                    <a:pt x="1590" y="522"/>
                  </a:lnTo>
                  <a:lnTo>
                    <a:pt x="1566" y="522"/>
                  </a:lnTo>
                  <a:lnTo>
                    <a:pt x="1506" y="510"/>
                  </a:lnTo>
                  <a:lnTo>
                    <a:pt x="1500" y="510"/>
                  </a:lnTo>
                  <a:lnTo>
                    <a:pt x="1488" y="504"/>
                  </a:lnTo>
                  <a:lnTo>
                    <a:pt x="1482" y="498"/>
                  </a:lnTo>
                  <a:lnTo>
                    <a:pt x="1476" y="498"/>
                  </a:lnTo>
                  <a:lnTo>
                    <a:pt x="1476" y="492"/>
                  </a:lnTo>
                  <a:lnTo>
                    <a:pt x="1470" y="492"/>
                  </a:lnTo>
                  <a:lnTo>
                    <a:pt x="1464" y="486"/>
                  </a:lnTo>
                  <a:lnTo>
                    <a:pt x="1452" y="486"/>
                  </a:lnTo>
                  <a:lnTo>
                    <a:pt x="1446" y="474"/>
                  </a:lnTo>
                  <a:lnTo>
                    <a:pt x="1434" y="468"/>
                  </a:lnTo>
                  <a:lnTo>
                    <a:pt x="1416" y="468"/>
                  </a:lnTo>
                  <a:lnTo>
                    <a:pt x="1392" y="468"/>
                  </a:lnTo>
                  <a:lnTo>
                    <a:pt x="1374" y="474"/>
                  </a:lnTo>
                  <a:lnTo>
                    <a:pt x="1368" y="474"/>
                  </a:lnTo>
                  <a:lnTo>
                    <a:pt x="1368" y="486"/>
                  </a:lnTo>
                  <a:lnTo>
                    <a:pt x="1368" y="498"/>
                  </a:lnTo>
                  <a:lnTo>
                    <a:pt x="1368" y="522"/>
                  </a:lnTo>
                  <a:lnTo>
                    <a:pt x="1368" y="534"/>
                  </a:lnTo>
                  <a:lnTo>
                    <a:pt x="1362" y="546"/>
                  </a:lnTo>
                  <a:lnTo>
                    <a:pt x="1356" y="546"/>
                  </a:lnTo>
                  <a:lnTo>
                    <a:pt x="1344" y="540"/>
                  </a:lnTo>
                  <a:lnTo>
                    <a:pt x="1338" y="534"/>
                  </a:lnTo>
                  <a:lnTo>
                    <a:pt x="1308" y="522"/>
                  </a:lnTo>
                  <a:lnTo>
                    <a:pt x="1296" y="522"/>
                  </a:lnTo>
                  <a:lnTo>
                    <a:pt x="1278" y="528"/>
                  </a:lnTo>
                  <a:lnTo>
                    <a:pt x="1260" y="534"/>
                  </a:lnTo>
                  <a:lnTo>
                    <a:pt x="1242" y="546"/>
                  </a:lnTo>
                  <a:lnTo>
                    <a:pt x="1236" y="552"/>
                  </a:lnTo>
                  <a:lnTo>
                    <a:pt x="1224" y="558"/>
                  </a:lnTo>
                  <a:lnTo>
                    <a:pt x="1218" y="558"/>
                  </a:lnTo>
                  <a:lnTo>
                    <a:pt x="1218" y="564"/>
                  </a:lnTo>
                  <a:lnTo>
                    <a:pt x="1224" y="570"/>
                  </a:lnTo>
                  <a:lnTo>
                    <a:pt x="1224" y="582"/>
                  </a:lnTo>
                  <a:lnTo>
                    <a:pt x="1224" y="594"/>
                  </a:lnTo>
                  <a:lnTo>
                    <a:pt x="1212" y="618"/>
                  </a:lnTo>
                  <a:lnTo>
                    <a:pt x="1212" y="624"/>
                  </a:lnTo>
                  <a:lnTo>
                    <a:pt x="1212" y="630"/>
                  </a:lnTo>
                  <a:lnTo>
                    <a:pt x="1212" y="636"/>
                  </a:lnTo>
                  <a:lnTo>
                    <a:pt x="1218" y="654"/>
                  </a:lnTo>
                  <a:lnTo>
                    <a:pt x="1224" y="672"/>
                  </a:lnTo>
                  <a:lnTo>
                    <a:pt x="1230" y="696"/>
                  </a:lnTo>
                  <a:lnTo>
                    <a:pt x="1236" y="708"/>
                  </a:lnTo>
                  <a:lnTo>
                    <a:pt x="1236" y="714"/>
                  </a:lnTo>
                  <a:lnTo>
                    <a:pt x="1236" y="720"/>
                  </a:lnTo>
                  <a:lnTo>
                    <a:pt x="1218" y="726"/>
                  </a:lnTo>
                  <a:lnTo>
                    <a:pt x="1212" y="726"/>
                  </a:lnTo>
                  <a:lnTo>
                    <a:pt x="1206" y="726"/>
                  </a:lnTo>
                  <a:lnTo>
                    <a:pt x="1194" y="720"/>
                  </a:lnTo>
                  <a:lnTo>
                    <a:pt x="1194" y="714"/>
                  </a:lnTo>
                  <a:lnTo>
                    <a:pt x="1176" y="714"/>
                  </a:lnTo>
                  <a:lnTo>
                    <a:pt x="1164" y="708"/>
                  </a:lnTo>
                  <a:lnTo>
                    <a:pt x="1158" y="708"/>
                  </a:lnTo>
                  <a:lnTo>
                    <a:pt x="1140" y="702"/>
                  </a:lnTo>
                  <a:lnTo>
                    <a:pt x="1134" y="696"/>
                  </a:lnTo>
                  <a:lnTo>
                    <a:pt x="1128" y="690"/>
                  </a:lnTo>
                  <a:lnTo>
                    <a:pt x="1116" y="678"/>
                  </a:lnTo>
                  <a:lnTo>
                    <a:pt x="1110" y="678"/>
                  </a:lnTo>
                  <a:lnTo>
                    <a:pt x="1104" y="672"/>
                  </a:lnTo>
                  <a:lnTo>
                    <a:pt x="1092" y="672"/>
                  </a:lnTo>
                  <a:lnTo>
                    <a:pt x="1086" y="672"/>
                  </a:lnTo>
                  <a:lnTo>
                    <a:pt x="1080" y="672"/>
                  </a:lnTo>
                  <a:lnTo>
                    <a:pt x="1074" y="672"/>
                  </a:lnTo>
                  <a:lnTo>
                    <a:pt x="1068" y="672"/>
                  </a:lnTo>
                  <a:lnTo>
                    <a:pt x="1062" y="678"/>
                  </a:lnTo>
                  <a:lnTo>
                    <a:pt x="1056" y="678"/>
                  </a:lnTo>
                  <a:lnTo>
                    <a:pt x="1056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6"/>
                  </a:lnTo>
                  <a:lnTo>
                    <a:pt x="1032" y="708"/>
                  </a:lnTo>
                  <a:lnTo>
                    <a:pt x="1026" y="708"/>
                  </a:lnTo>
                  <a:lnTo>
                    <a:pt x="1032" y="714"/>
                  </a:lnTo>
                  <a:lnTo>
                    <a:pt x="1026" y="720"/>
                  </a:lnTo>
                  <a:lnTo>
                    <a:pt x="1020" y="720"/>
                  </a:lnTo>
                  <a:lnTo>
                    <a:pt x="1014" y="732"/>
                  </a:lnTo>
                  <a:lnTo>
                    <a:pt x="1014" y="744"/>
                  </a:lnTo>
                  <a:lnTo>
                    <a:pt x="1038" y="810"/>
                  </a:lnTo>
                  <a:lnTo>
                    <a:pt x="1050" y="834"/>
                  </a:lnTo>
                  <a:lnTo>
                    <a:pt x="1056" y="858"/>
                  </a:lnTo>
                  <a:lnTo>
                    <a:pt x="1062" y="876"/>
                  </a:lnTo>
                  <a:lnTo>
                    <a:pt x="1068" y="882"/>
                  </a:lnTo>
                  <a:lnTo>
                    <a:pt x="1062" y="972"/>
                  </a:lnTo>
                  <a:lnTo>
                    <a:pt x="1056" y="972"/>
                  </a:lnTo>
                  <a:lnTo>
                    <a:pt x="1050" y="996"/>
                  </a:lnTo>
                  <a:lnTo>
                    <a:pt x="1044" y="1014"/>
                  </a:lnTo>
                  <a:lnTo>
                    <a:pt x="1008" y="1014"/>
                  </a:lnTo>
                  <a:lnTo>
                    <a:pt x="1008" y="1008"/>
                  </a:lnTo>
                  <a:lnTo>
                    <a:pt x="990" y="1008"/>
                  </a:lnTo>
                  <a:lnTo>
                    <a:pt x="972" y="1014"/>
                  </a:lnTo>
                  <a:lnTo>
                    <a:pt x="948" y="1020"/>
                  </a:lnTo>
                  <a:lnTo>
                    <a:pt x="918" y="1026"/>
                  </a:lnTo>
                  <a:lnTo>
                    <a:pt x="840" y="1032"/>
                  </a:lnTo>
                  <a:lnTo>
                    <a:pt x="834" y="1032"/>
                  </a:lnTo>
                  <a:lnTo>
                    <a:pt x="834" y="1026"/>
                  </a:lnTo>
                  <a:lnTo>
                    <a:pt x="822" y="1026"/>
                  </a:lnTo>
                  <a:lnTo>
                    <a:pt x="816" y="1032"/>
                  </a:lnTo>
                  <a:lnTo>
                    <a:pt x="804" y="1032"/>
                  </a:lnTo>
                  <a:lnTo>
                    <a:pt x="798" y="1026"/>
                  </a:lnTo>
                  <a:lnTo>
                    <a:pt x="780" y="1026"/>
                  </a:lnTo>
                  <a:lnTo>
                    <a:pt x="762" y="1026"/>
                  </a:lnTo>
                  <a:lnTo>
                    <a:pt x="756" y="1026"/>
                  </a:lnTo>
                  <a:lnTo>
                    <a:pt x="750" y="1026"/>
                  </a:lnTo>
                  <a:lnTo>
                    <a:pt x="756" y="1020"/>
                  </a:lnTo>
                  <a:lnTo>
                    <a:pt x="750" y="1020"/>
                  </a:lnTo>
                  <a:lnTo>
                    <a:pt x="744" y="1014"/>
                  </a:lnTo>
                  <a:lnTo>
                    <a:pt x="684" y="1020"/>
                  </a:lnTo>
                  <a:lnTo>
                    <a:pt x="648" y="1020"/>
                  </a:lnTo>
                  <a:lnTo>
                    <a:pt x="630" y="1020"/>
                  </a:lnTo>
                  <a:lnTo>
                    <a:pt x="618" y="1020"/>
                  </a:lnTo>
                  <a:lnTo>
                    <a:pt x="606" y="1014"/>
                  </a:lnTo>
                  <a:lnTo>
                    <a:pt x="582" y="1014"/>
                  </a:lnTo>
                  <a:lnTo>
                    <a:pt x="576" y="1014"/>
                  </a:lnTo>
                  <a:lnTo>
                    <a:pt x="570" y="1014"/>
                  </a:lnTo>
                  <a:lnTo>
                    <a:pt x="564" y="1020"/>
                  </a:lnTo>
                  <a:lnTo>
                    <a:pt x="558" y="1026"/>
                  </a:lnTo>
                  <a:lnTo>
                    <a:pt x="552" y="1032"/>
                  </a:lnTo>
                  <a:lnTo>
                    <a:pt x="552" y="1038"/>
                  </a:lnTo>
                  <a:lnTo>
                    <a:pt x="558" y="1194"/>
                  </a:lnTo>
                  <a:lnTo>
                    <a:pt x="558" y="1206"/>
                  </a:lnTo>
                  <a:lnTo>
                    <a:pt x="552" y="1218"/>
                  </a:lnTo>
                  <a:lnTo>
                    <a:pt x="552" y="1236"/>
                  </a:lnTo>
                  <a:lnTo>
                    <a:pt x="546" y="1272"/>
                  </a:lnTo>
                  <a:lnTo>
                    <a:pt x="546" y="1308"/>
                  </a:lnTo>
                  <a:lnTo>
                    <a:pt x="540" y="1332"/>
                  </a:lnTo>
                  <a:lnTo>
                    <a:pt x="546" y="1356"/>
                  </a:lnTo>
                  <a:lnTo>
                    <a:pt x="546" y="1362"/>
                  </a:lnTo>
                  <a:lnTo>
                    <a:pt x="546" y="1374"/>
                  </a:lnTo>
                  <a:lnTo>
                    <a:pt x="546" y="1380"/>
                  </a:lnTo>
                  <a:lnTo>
                    <a:pt x="540" y="1380"/>
                  </a:lnTo>
                  <a:lnTo>
                    <a:pt x="522" y="1380"/>
                  </a:lnTo>
                  <a:lnTo>
                    <a:pt x="516" y="1380"/>
                  </a:lnTo>
                  <a:lnTo>
                    <a:pt x="516" y="1386"/>
                  </a:lnTo>
                  <a:lnTo>
                    <a:pt x="516" y="1392"/>
                  </a:lnTo>
                  <a:lnTo>
                    <a:pt x="510" y="1392"/>
                  </a:lnTo>
                  <a:lnTo>
                    <a:pt x="504" y="1386"/>
                  </a:lnTo>
                  <a:lnTo>
                    <a:pt x="498" y="1392"/>
                  </a:lnTo>
                  <a:lnTo>
                    <a:pt x="492" y="1398"/>
                  </a:lnTo>
                  <a:lnTo>
                    <a:pt x="486" y="1398"/>
                  </a:lnTo>
                  <a:lnTo>
                    <a:pt x="486" y="1392"/>
                  </a:lnTo>
                  <a:lnTo>
                    <a:pt x="486" y="1380"/>
                  </a:lnTo>
                  <a:lnTo>
                    <a:pt x="486" y="1374"/>
                  </a:lnTo>
                  <a:lnTo>
                    <a:pt x="480" y="1374"/>
                  </a:lnTo>
                  <a:lnTo>
                    <a:pt x="474" y="1374"/>
                  </a:lnTo>
                  <a:lnTo>
                    <a:pt x="468" y="1380"/>
                  </a:lnTo>
                  <a:lnTo>
                    <a:pt x="462" y="1380"/>
                  </a:lnTo>
                  <a:lnTo>
                    <a:pt x="456" y="1380"/>
                  </a:lnTo>
                  <a:lnTo>
                    <a:pt x="450" y="1386"/>
                  </a:lnTo>
                  <a:lnTo>
                    <a:pt x="444" y="1386"/>
                  </a:lnTo>
                  <a:lnTo>
                    <a:pt x="444" y="1392"/>
                  </a:lnTo>
                  <a:lnTo>
                    <a:pt x="432" y="1398"/>
                  </a:lnTo>
                  <a:lnTo>
                    <a:pt x="426" y="1404"/>
                  </a:lnTo>
                  <a:lnTo>
                    <a:pt x="420" y="1404"/>
                  </a:lnTo>
                  <a:lnTo>
                    <a:pt x="408" y="1404"/>
                  </a:lnTo>
                  <a:lnTo>
                    <a:pt x="378" y="1410"/>
                  </a:lnTo>
                  <a:lnTo>
                    <a:pt x="372" y="1410"/>
                  </a:lnTo>
                  <a:lnTo>
                    <a:pt x="360" y="1410"/>
                  </a:lnTo>
                  <a:lnTo>
                    <a:pt x="354" y="1416"/>
                  </a:lnTo>
                  <a:lnTo>
                    <a:pt x="348" y="1416"/>
                  </a:lnTo>
                  <a:lnTo>
                    <a:pt x="342" y="1410"/>
                  </a:lnTo>
                  <a:lnTo>
                    <a:pt x="336" y="1410"/>
                  </a:lnTo>
                  <a:lnTo>
                    <a:pt x="336" y="1416"/>
                  </a:lnTo>
                  <a:lnTo>
                    <a:pt x="330" y="1422"/>
                  </a:lnTo>
                  <a:lnTo>
                    <a:pt x="324" y="1422"/>
                  </a:lnTo>
                  <a:lnTo>
                    <a:pt x="318" y="1422"/>
                  </a:lnTo>
                  <a:lnTo>
                    <a:pt x="312" y="1428"/>
                  </a:lnTo>
                  <a:lnTo>
                    <a:pt x="312" y="1434"/>
                  </a:lnTo>
                  <a:lnTo>
                    <a:pt x="300" y="1428"/>
                  </a:lnTo>
                  <a:lnTo>
                    <a:pt x="288" y="1434"/>
                  </a:lnTo>
                  <a:lnTo>
                    <a:pt x="282" y="1440"/>
                  </a:lnTo>
                  <a:lnTo>
                    <a:pt x="282" y="1446"/>
                  </a:lnTo>
                  <a:lnTo>
                    <a:pt x="276" y="1446"/>
                  </a:lnTo>
                  <a:lnTo>
                    <a:pt x="276" y="1452"/>
                  </a:lnTo>
                  <a:lnTo>
                    <a:pt x="270" y="1452"/>
                  </a:lnTo>
                  <a:lnTo>
                    <a:pt x="258" y="1464"/>
                  </a:lnTo>
                  <a:lnTo>
                    <a:pt x="240" y="1458"/>
                  </a:lnTo>
                  <a:lnTo>
                    <a:pt x="234" y="1452"/>
                  </a:lnTo>
                  <a:lnTo>
                    <a:pt x="234" y="1446"/>
                  </a:lnTo>
                  <a:lnTo>
                    <a:pt x="228" y="1446"/>
                  </a:lnTo>
                  <a:lnTo>
                    <a:pt x="222" y="1440"/>
                  </a:lnTo>
                  <a:lnTo>
                    <a:pt x="216" y="1440"/>
                  </a:lnTo>
                  <a:lnTo>
                    <a:pt x="210" y="1428"/>
                  </a:lnTo>
                  <a:lnTo>
                    <a:pt x="210" y="1422"/>
                  </a:lnTo>
                  <a:lnTo>
                    <a:pt x="198" y="1416"/>
                  </a:lnTo>
                  <a:lnTo>
                    <a:pt x="204" y="1410"/>
                  </a:lnTo>
                  <a:lnTo>
                    <a:pt x="210" y="1404"/>
                  </a:lnTo>
                  <a:lnTo>
                    <a:pt x="210" y="1398"/>
                  </a:lnTo>
                  <a:lnTo>
                    <a:pt x="252" y="1368"/>
                  </a:lnTo>
                  <a:lnTo>
                    <a:pt x="276" y="1350"/>
                  </a:lnTo>
                  <a:lnTo>
                    <a:pt x="300" y="1338"/>
                  </a:lnTo>
                  <a:lnTo>
                    <a:pt x="294" y="1314"/>
                  </a:lnTo>
                  <a:lnTo>
                    <a:pt x="288" y="1308"/>
                  </a:lnTo>
                  <a:lnTo>
                    <a:pt x="300" y="1266"/>
                  </a:lnTo>
                  <a:lnTo>
                    <a:pt x="300" y="1242"/>
                  </a:lnTo>
                  <a:lnTo>
                    <a:pt x="300" y="1206"/>
                  </a:lnTo>
                  <a:lnTo>
                    <a:pt x="300" y="1164"/>
                  </a:lnTo>
                  <a:lnTo>
                    <a:pt x="294" y="1134"/>
                  </a:lnTo>
                  <a:lnTo>
                    <a:pt x="282" y="1086"/>
                  </a:lnTo>
                  <a:lnTo>
                    <a:pt x="276" y="1074"/>
                  </a:lnTo>
                  <a:lnTo>
                    <a:pt x="276" y="1056"/>
                  </a:lnTo>
                  <a:lnTo>
                    <a:pt x="270" y="1038"/>
                  </a:lnTo>
                  <a:lnTo>
                    <a:pt x="270" y="1020"/>
                  </a:lnTo>
                  <a:lnTo>
                    <a:pt x="282" y="1020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94" y="1002"/>
                  </a:lnTo>
                  <a:lnTo>
                    <a:pt x="306" y="996"/>
                  </a:lnTo>
                  <a:lnTo>
                    <a:pt x="312" y="990"/>
                  </a:lnTo>
                  <a:lnTo>
                    <a:pt x="318" y="990"/>
                  </a:lnTo>
                  <a:lnTo>
                    <a:pt x="324" y="984"/>
                  </a:lnTo>
                  <a:lnTo>
                    <a:pt x="324" y="978"/>
                  </a:lnTo>
                  <a:lnTo>
                    <a:pt x="324" y="972"/>
                  </a:lnTo>
                  <a:lnTo>
                    <a:pt x="324" y="954"/>
                  </a:lnTo>
                  <a:lnTo>
                    <a:pt x="336" y="948"/>
                  </a:lnTo>
                  <a:lnTo>
                    <a:pt x="342" y="936"/>
                  </a:lnTo>
                  <a:lnTo>
                    <a:pt x="348" y="924"/>
                  </a:lnTo>
                  <a:lnTo>
                    <a:pt x="354" y="924"/>
                  </a:lnTo>
                  <a:lnTo>
                    <a:pt x="372" y="924"/>
                  </a:lnTo>
                  <a:lnTo>
                    <a:pt x="372" y="930"/>
                  </a:lnTo>
                  <a:lnTo>
                    <a:pt x="378" y="930"/>
                  </a:lnTo>
                  <a:lnTo>
                    <a:pt x="378" y="936"/>
                  </a:lnTo>
                  <a:lnTo>
                    <a:pt x="384" y="936"/>
                  </a:lnTo>
                  <a:lnTo>
                    <a:pt x="384" y="942"/>
                  </a:lnTo>
                  <a:lnTo>
                    <a:pt x="402" y="942"/>
                  </a:lnTo>
                  <a:lnTo>
                    <a:pt x="402" y="996"/>
                  </a:lnTo>
                  <a:lnTo>
                    <a:pt x="414" y="996"/>
                  </a:lnTo>
                  <a:lnTo>
                    <a:pt x="420" y="996"/>
                  </a:lnTo>
                  <a:lnTo>
                    <a:pt x="426" y="996"/>
                  </a:lnTo>
                  <a:lnTo>
                    <a:pt x="432" y="996"/>
                  </a:lnTo>
                  <a:lnTo>
                    <a:pt x="438" y="996"/>
                  </a:lnTo>
                  <a:lnTo>
                    <a:pt x="438" y="942"/>
                  </a:lnTo>
                  <a:lnTo>
                    <a:pt x="444" y="930"/>
                  </a:lnTo>
                  <a:lnTo>
                    <a:pt x="444" y="924"/>
                  </a:lnTo>
                  <a:lnTo>
                    <a:pt x="444" y="918"/>
                  </a:lnTo>
                  <a:lnTo>
                    <a:pt x="462" y="918"/>
                  </a:lnTo>
                  <a:lnTo>
                    <a:pt x="474" y="906"/>
                  </a:lnTo>
                  <a:lnTo>
                    <a:pt x="480" y="900"/>
                  </a:lnTo>
                  <a:lnTo>
                    <a:pt x="486" y="888"/>
                  </a:lnTo>
                  <a:lnTo>
                    <a:pt x="492" y="876"/>
                  </a:lnTo>
                  <a:lnTo>
                    <a:pt x="492" y="858"/>
                  </a:lnTo>
                  <a:lnTo>
                    <a:pt x="480" y="858"/>
                  </a:lnTo>
                  <a:lnTo>
                    <a:pt x="474" y="840"/>
                  </a:lnTo>
                  <a:lnTo>
                    <a:pt x="450" y="834"/>
                  </a:lnTo>
                  <a:lnTo>
                    <a:pt x="438" y="816"/>
                  </a:lnTo>
                  <a:lnTo>
                    <a:pt x="432" y="792"/>
                  </a:lnTo>
                  <a:lnTo>
                    <a:pt x="432" y="786"/>
                  </a:lnTo>
                  <a:lnTo>
                    <a:pt x="432" y="774"/>
                  </a:lnTo>
                  <a:lnTo>
                    <a:pt x="432" y="762"/>
                  </a:lnTo>
                  <a:lnTo>
                    <a:pt x="438" y="750"/>
                  </a:lnTo>
                  <a:lnTo>
                    <a:pt x="438" y="738"/>
                  </a:lnTo>
                  <a:lnTo>
                    <a:pt x="444" y="732"/>
                  </a:lnTo>
                  <a:lnTo>
                    <a:pt x="450" y="732"/>
                  </a:lnTo>
                  <a:lnTo>
                    <a:pt x="456" y="732"/>
                  </a:lnTo>
                  <a:lnTo>
                    <a:pt x="456" y="726"/>
                  </a:lnTo>
                  <a:lnTo>
                    <a:pt x="456" y="714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44" y="684"/>
                  </a:lnTo>
                  <a:lnTo>
                    <a:pt x="438" y="666"/>
                  </a:lnTo>
                  <a:lnTo>
                    <a:pt x="426" y="666"/>
                  </a:lnTo>
                  <a:lnTo>
                    <a:pt x="432" y="666"/>
                  </a:lnTo>
                  <a:lnTo>
                    <a:pt x="420" y="666"/>
                  </a:lnTo>
                  <a:lnTo>
                    <a:pt x="414" y="660"/>
                  </a:lnTo>
                  <a:lnTo>
                    <a:pt x="396" y="654"/>
                  </a:lnTo>
                  <a:lnTo>
                    <a:pt x="384" y="642"/>
                  </a:lnTo>
                  <a:lnTo>
                    <a:pt x="366" y="624"/>
                  </a:lnTo>
                  <a:lnTo>
                    <a:pt x="354" y="606"/>
                  </a:lnTo>
                  <a:lnTo>
                    <a:pt x="342" y="588"/>
                  </a:lnTo>
                  <a:lnTo>
                    <a:pt x="342" y="582"/>
                  </a:lnTo>
                  <a:lnTo>
                    <a:pt x="360" y="564"/>
                  </a:lnTo>
                  <a:lnTo>
                    <a:pt x="372" y="540"/>
                  </a:lnTo>
                  <a:lnTo>
                    <a:pt x="366" y="528"/>
                  </a:lnTo>
                  <a:lnTo>
                    <a:pt x="366" y="522"/>
                  </a:lnTo>
                  <a:lnTo>
                    <a:pt x="372" y="516"/>
                  </a:lnTo>
                  <a:lnTo>
                    <a:pt x="384" y="504"/>
                  </a:lnTo>
                  <a:lnTo>
                    <a:pt x="378" y="492"/>
                  </a:lnTo>
                  <a:lnTo>
                    <a:pt x="378" y="486"/>
                  </a:lnTo>
                  <a:lnTo>
                    <a:pt x="378" y="480"/>
                  </a:lnTo>
                  <a:lnTo>
                    <a:pt x="378" y="474"/>
                  </a:lnTo>
                  <a:lnTo>
                    <a:pt x="378" y="468"/>
                  </a:lnTo>
                  <a:lnTo>
                    <a:pt x="366" y="468"/>
                  </a:lnTo>
                  <a:lnTo>
                    <a:pt x="360" y="474"/>
                  </a:lnTo>
                  <a:lnTo>
                    <a:pt x="354" y="480"/>
                  </a:lnTo>
                  <a:lnTo>
                    <a:pt x="348" y="486"/>
                  </a:lnTo>
                  <a:lnTo>
                    <a:pt x="348" y="492"/>
                  </a:lnTo>
                  <a:lnTo>
                    <a:pt x="336" y="510"/>
                  </a:lnTo>
                  <a:lnTo>
                    <a:pt x="300" y="516"/>
                  </a:lnTo>
                  <a:lnTo>
                    <a:pt x="300" y="510"/>
                  </a:lnTo>
                  <a:lnTo>
                    <a:pt x="282" y="504"/>
                  </a:lnTo>
                  <a:lnTo>
                    <a:pt x="282" y="498"/>
                  </a:lnTo>
                  <a:lnTo>
                    <a:pt x="264" y="486"/>
                  </a:lnTo>
                  <a:lnTo>
                    <a:pt x="258" y="492"/>
                  </a:lnTo>
                  <a:lnTo>
                    <a:pt x="234" y="492"/>
                  </a:lnTo>
                  <a:lnTo>
                    <a:pt x="222" y="486"/>
                  </a:lnTo>
                  <a:lnTo>
                    <a:pt x="204" y="480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92" y="462"/>
                  </a:lnTo>
                  <a:lnTo>
                    <a:pt x="186" y="462"/>
                  </a:lnTo>
                  <a:lnTo>
                    <a:pt x="180" y="468"/>
                  </a:lnTo>
                  <a:lnTo>
                    <a:pt x="150" y="450"/>
                  </a:lnTo>
                  <a:lnTo>
                    <a:pt x="144" y="438"/>
                  </a:lnTo>
                  <a:lnTo>
                    <a:pt x="138" y="438"/>
                  </a:lnTo>
                  <a:lnTo>
                    <a:pt x="132" y="432"/>
                  </a:lnTo>
                  <a:lnTo>
                    <a:pt x="126" y="432"/>
                  </a:lnTo>
                  <a:lnTo>
                    <a:pt x="120" y="432"/>
                  </a:lnTo>
                  <a:lnTo>
                    <a:pt x="102" y="426"/>
                  </a:lnTo>
                  <a:lnTo>
                    <a:pt x="96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2" y="414"/>
                  </a:lnTo>
                  <a:lnTo>
                    <a:pt x="60" y="414"/>
                  </a:lnTo>
                  <a:lnTo>
                    <a:pt x="30" y="414"/>
                  </a:lnTo>
                  <a:lnTo>
                    <a:pt x="24" y="414"/>
                  </a:lnTo>
                  <a:lnTo>
                    <a:pt x="12" y="414"/>
                  </a:lnTo>
                  <a:lnTo>
                    <a:pt x="0" y="420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0" y="336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30" y="270"/>
                  </a:lnTo>
                  <a:lnTo>
                    <a:pt x="42" y="270"/>
                  </a:lnTo>
                  <a:lnTo>
                    <a:pt x="54" y="264"/>
                  </a:lnTo>
                  <a:lnTo>
                    <a:pt x="78" y="240"/>
                  </a:lnTo>
                  <a:lnTo>
                    <a:pt x="102" y="216"/>
                  </a:lnTo>
                  <a:lnTo>
                    <a:pt x="114" y="210"/>
                  </a:lnTo>
                  <a:lnTo>
                    <a:pt x="120" y="204"/>
                  </a:lnTo>
                  <a:lnTo>
                    <a:pt x="126" y="198"/>
                  </a:lnTo>
                  <a:lnTo>
                    <a:pt x="138" y="18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38"/>
                  </a:lnTo>
                  <a:lnTo>
                    <a:pt x="210" y="126"/>
                  </a:lnTo>
                  <a:lnTo>
                    <a:pt x="216" y="120"/>
                  </a:lnTo>
                  <a:lnTo>
                    <a:pt x="222" y="120"/>
                  </a:lnTo>
                  <a:lnTo>
                    <a:pt x="258" y="114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300" y="102"/>
                  </a:lnTo>
                  <a:lnTo>
                    <a:pt x="312" y="102"/>
                  </a:lnTo>
                  <a:lnTo>
                    <a:pt x="318" y="102"/>
                  </a:lnTo>
                  <a:lnTo>
                    <a:pt x="348" y="96"/>
                  </a:lnTo>
                  <a:lnTo>
                    <a:pt x="366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408" y="84"/>
                  </a:lnTo>
                  <a:lnTo>
                    <a:pt x="420" y="84"/>
                  </a:lnTo>
                  <a:lnTo>
                    <a:pt x="462" y="72"/>
                  </a:lnTo>
                  <a:lnTo>
                    <a:pt x="474" y="72"/>
                  </a:lnTo>
                  <a:lnTo>
                    <a:pt x="474" y="78"/>
                  </a:lnTo>
                  <a:lnTo>
                    <a:pt x="492" y="90"/>
                  </a:lnTo>
                  <a:lnTo>
                    <a:pt x="498" y="90"/>
                  </a:lnTo>
                  <a:lnTo>
                    <a:pt x="522" y="96"/>
                  </a:lnTo>
                  <a:lnTo>
                    <a:pt x="540" y="96"/>
                  </a:lnTo>
                  <a:lnTo>
                    <a:pt x="546" y="96"/>
                  </a:lnTo>
                  <a:lnTo>
                    <a:pt x="558" y="96"/>
                  </a:lnTo>
                  <a:lnTo>
                    <a:pt x="564" y="96"/>
                  </a:lnTo>
                  <a:lnTo>
                    <a:pt x="576" y="96"/>
                  </a:lnTo>
                  <a:lnTo>
                    <a:pt x="588" y="96"/>
                  </a:lnTo>
                  <a:lnTo>
                    <a:pt x="612" y="90"/>
                  </a:lnTo>
                  <a:lnTo>
                    <a:pt x="624" y="90"/>
                  </a:lnTo>
                  <a:lnTo>
                    <a:pt x="636" y="90"/>
                  </a:lnTo>
                  <a:lnTo>
                    <a:pt x="642" y="90"/>
                  </a:lnTo>
                  <a:lnTo>
                    <a:pt x="648" y="96"/>
                  </a:lnTo>
                  <a:lnTo>
                    <a:pt x="660" y="96"/>
                  </a:lnTo>
                  <a:lnTo>
                    <a:pt x="666" y="96"/>
                  </a:lnTo>
                  <a:lnTo>
                    <a:pt x="672" y="96"/>
                  </a:lnTo>
                  <a:lnTo>
                    <a:pt x="684" y="96"/>
                  </a:lnTo>
                  <a:lnTo>
                    <a:pt x="708" y="96"/>
                  </a:lnTo>
                  <a:lnTo>
                    <a:pt x="714" y="96"/>
                  </a:lnTo>
                  <a:lnTo>
                    <a:pt x="726" y="96"/>
                  </a:lnTo>
                  <a:lnTo>
                    <a:pt x="738" y="84"/>
                  </a:lnTo>
                  <a:lnTo>
                    <a:pt x="744" y="78"/>
                  </a:lnTo>
                  <a:lnTo>
                    <a:pt x="756" y="66"/>
                  </a:lnTo>
                  <a:lnTo>
                    <a:pt x="774" y="42"/>
                  </a:lnTo>
                  <a:lnTo>
                    <a:pt x="780" y="30"/>
                  </a:lnTo>
                  <a:lnTo>
                    <a:pt x="816" y="24"/>
                  </a:lnTo>
                  <a:lnTo>
                    <a:pt x="840" y="18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64" y="6"/>
                  </a:lnTo>
                  <a:lnTo>
                    <a:pt x="870" y="6"/>
                  </a:lnTo>
                  <a:lnTo>
                    <a:pt x="894" y="0"/>
                  </a:lnTo>
                  <a:lnTo>
                    <a:pt x="900" y="6"/>
                  </a:lnTo>
                  <a:lnTo>
                    <a:pt x="930" y="18"/>
                  </a:lnTo>
                  <a:lnTo>
                    <a:pt x="942" y="24"/>
                  </a:lnTo>
                  <a:lnTo>
                    <a:pt x="954" y="30"/>
                  </a:lnTo>
                  <a:lnTo>
                    <a:pt x="1026" y="60"/>
                  </a:lnTo>
                  <a:lnTo>
                    <a:pt x="1032" y="60"/>
                  </a:lnTo>
                  <a:lnTo>
                    <a:pt x="1038" y="66"/>
                  </a:lnTo>
                  <a:lnTo>
                    <a:pt x="1068" y="72"/>
                  </a:lnTo>
                  <a:lnTo>
                    <a:pt x="1098" y="84"/>
                  </a:lnTo>
                  <a:lnTo>
                    <a:pt x="1122" y="90"/>
                  </a:lnTo>
                  <a:lnTo>
                    <a:pt x="1122" y="96"/>
                  </a:lnTo>
                  <a:lnTo>
                    <a:pt x="1140" y="102"/>
                  </a:lnTo>
                  <a:lnTo>
                    <a:pt x="1182" y="114"/>
                  </a:lnTo>
                  <a:lnTo>
                    <a:pt x="1188" y="114"/>
                  </a:lnTo>
                  <a:lnTo>
                    <a:pt x="1200" y="120"/>
                  </a:lnTo>
                  <a:lnTo>
                    <a:pt x="1212" y="126"/>
                  </a:lnTo>
                  <a:lnTo>
                    <a:pt x="1224" y="126"/>
                  </a:lnTo>
                  <a:lnTo>
                    <a:pt x="1248" y="138"/>
                  </a:lnTo>
                  <a:lnTo>
                    <a:pt x="1272" y="150"/>
                  </a:lnTo>
                  <a:lnTo>
                    <a:pt x="1284" y="156"/>
                  </a:lnTo>
                  <a:lnTo>
                    <a:pt x="1290" y="162"/>
                  </a:lnTo>
                  <a:lnTo>
                    <a:pt x="1296" y="162"/>
                  </a:lnTo>
                  <a:lnTo>
                    <a:pt x="1308" y="156"/>
                  </a:lnTo>
                  <a:lnTo>
                    <a:pt x="1320" y="150"/>
                  </a:lnTo>
                  <a:lnTo>
                    <a:pt x="1326" y="150"/>
                  </a:lnTo>
                  <a:lnTo>
                    <a:pt x="1338" y="144"/>
                  </a:lnTo>
                  <a:lnTo>
                    <a:pt x="1362" y="144"/>
                  </a:lnTo>
                  <a:lnTo>
                    <a:pt x="1368" y="144"/>
                  </a:lnTo>
                  <a:lnTo>
                    <a:pt x="1374" y="144"/>
                  </a:lnTo>
                  <a:lnTo>
                    <a:pt x="1386" y="150"/>
                  </a:lnTo>
                  <a:lnTo>
                    <a:pt x="1392" y="150"/>
                  </a:lnTo>
                  <a:lnTo>
                    <a:pt x="1398" y="150"/>
                  </a:lnTo>
                  <a:lnTo>
                    <a:pt x="1416" y="162"/>
                  </a:lnTo>
                  <a:lnTo>
                    <a:pt x="1458" y="186"/>
                  </a:lnTo>
                  <a:lnTo>
                    <a:pt x="1464" y="186"/>
                  </a:lnTo>
                  <a:lnTo>
                    <a:pt x="1470" y="192"/>
                  </a:lnTo>
                  <a:lnTo>
                    <a:pt x="1482" y="204"/>
                  </a:lnTo>
                  <a:lnTo>
                    <a:pt x="1512" y="234"/>
                  </a:lnTo>
                  <a:lnTo>
                    <a:pt x="1554" y="276"/>
                  </a:lnTo>
                  <a:lnTo>
                    <a:pt x="1560" y="276"/>
                  </a:lnTo>
                  <a:lnTo>
                    <a:pt x="1566" y="282"/>
                  </a:lnTo>
                  <a:lnTo>
                    <a:pt x="1578" y="294"/>
                  </a:lnTo>
                  <a:lnTo>
                    <a:pt x="1602" y="318"/>
                  </a:lnTo>
                  <a:lnTo>
                    <a:pt x="1614" y="330"/>
                  </a:lnTo>
                  <a:lnTo>
                    <a:pt x="1620" y="336"/>
                  </a:lnTo>
                  <a:lnTo>
                    <a:pt x="1626" y="342"/>
                  </a:lnTo>
                  <a:lnTo>
                    <a:pt x="1632" y="354"/>
                  </a:lnTo>
                  <a:lnTo>
                    <a:pt x="1644" y="366"/>
                  </a:lnTo>
                  <a:lnTo>
                    <a:pt x="1650" y="378"/>
                  </a:lnTo>
                  <a:lnTo>
                    <a:pt x="1650" y="384"/>
                  </a:lnTo>
                  <a:lnTo>
                    <a:pt x="1656" y="384"/>
                  </a:lnTo>
                  <a:lnTo>
                    <a:pt x="1662" y="402"/>
                  </a:lnTo>
                  <a:lnTo>
                    <a:pt x="1668" y="408"/>
                  </a:lnTo>
                  <a:lnTo>
                    <a:pt x="1674" y="426"/>
                  </a:lnTo>
                  <a:lnTo>
                    <a:pt x="1686" y="438"/>
                  </a:lnTo>
                  <a:lnTo>
                    <a:pt x="1698" y="46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9" name="Freeform 34">
              <a:extLst>
                <a:ext uri="{FF2B5EF4-FFF2-40B4-BE49-F238E27FC236}">
                  <a16:creationId xmlns:a16="http://schemas.microsoft.com/office/drawing/2014/main" id="{94603F24-8CF7-4226-A433-00D18CA7D9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1988" y="1681402"/>
              <a:ext cx="869877" cy="1060101"/>
            </a:xfrm>
            <a:custGeom>
              <a:avLst/>
              <a:gdLst>
                <a:gd name="T0" fmla="*/ 4 w 1638"/>
                <a:gd name="T1" fmla="*/ 111 h 1998"/>
                <a:gd name="T2" fmla="*/ 6 w 1638"/>
                <a:gd name="T3" fmla="*/ 87 h 1998"/>
                <a:gd name="T4" fmla="*/ 10 w 1638"/>
                <a:gd name="T5" fmla="*/ 80 h 1998"/>
                <a:gd name="T6" fmla="*/ 10 w 1638"/>
                <a:gd name="T7" fmla="*/ 71 h 1998"/>
                <a:gd name="T8" fmla="*/ 9 w 1638"/>
                <a:gd name="T9" fmla="*/ 56 h 1998"/>
                <a:gd name="T10" fmla="*/ 8 w 1638"/>
                <a:gd name="T11" fmla="*/ 40 h 1998"/>
                <a:gd name="T12" fmla="*/ 20 w 1638"/>
                <a:gd name="T13" fmla="*/ 30 h 1998"/>
                <a:gd name="T14" fmla="*/ 30 w 1638"/>
                <a:gd name="T15" fmla="*/ 19 h 1998"/>
                <a:gd name="T16" fmla="*/ 35 w 1638"/>
                <a:gd name="T17" fmla="*/ 2 h 1998"/>
                <a:gd name="T18" fmla="*/ 47 w 1638"/>
                <a:gd name="T19" fmla="*/ 2 h 1998"/>
                <a:gd name="T20" fmla="*/ 56 w 1638"/>
                <a:gd name="T21" fmla="*/ 7 h 1998"/>
                <a:gd name="T22" fmla="*/ 67 w 1638"/>
                <a:gd name="T23" fmla="*/ 5 h 1998"/>
                <a:gd name="T24" fmla="*/ 65 w 1638"/>
                <a:gd name="T25" fmla="*/ 15 h 1998"/>
                <a:gd name="T26" fmla="*/ 74 w 1638"/>
                <a:gd name="T27" fmla="*/ 24 h 1998"/>
                <a:gd name="T28" fmla="*/ 73 w 1638"/>
                <a:gd name="T29" fmla="*/ 33 h 1998"/>
                <a:gd name="T30" fmla="*/ 74 w 1638"/>
                <a:gd name="T31" fmla="*/ 44 h 1998"/>
                <a:gd name="T32" fmla="*/ 68 w 1638"/>
                <a:gd name="T33" fmla="*/ 45 h 1998"/>
                <a:gd name="T34" fmla="*/ 63 w 1638"/>
                <a:gd name="T35" fmla="*/ 50 h 1998"/>
                <a:gd name="T36" fmla="*/ 61 w 1638"/>
                <a:gd name="T37" fmla="*/ 62 h 1998"/>
                <a:gd name="T38" fmla="*/ 53 w 1638"/>
                <a:gd name="T39" fmla="*/ 86 h 1998"/>
                <a:gd name="T40" fmla="*/ 59 w 1638"/>
                <a:gd name="T41" fmla="*/ 90 h 1998"/>
                <a:gd name="T42" fmla="*/ 65 w 1638"/>
                <a:gd name="T43" fmla="*/ 86 h 1998"/>
                <a:gd name="T44" fmla="*/ 74 w 1638"/>
                <a:gd name="T45" fmla="*/ 84 h 1998"/>
                <a:gd name="T46" fmla="*/ 79 w 1638"/>
                <a:gd name="T47" fmla="*/ 85 h 1998"/>
                <a:gd name="T48" fmla="*/ 84 w 1638"/>
                <a:gd name="T49" fmla="*/ 84 h 1998"/>
                <a:gd name="T50" fmla="*/ 91 w 1638"/>
                <a:gd name="T51" fmla="*/ 84 h 1998"/>
                <a:gd name="T52" fmla="*/ 94 w 1638"/>
                <a:gd name="T53" fmla="*/ 81 h 1998"/>
                <a:gd name="T54" fmla="*/ 100 w 1638"/>
                <a:gd name="T55" fmla="*/ 81 h 1998"/>
                <a:gd name="T56" fmla="*/ 102 w 1638"/>
                <a:gd name="T57" fmla="*/ 84 h 1998"/>
                <a:gd name="T58" fmla="*/ 108 w 1638"/>
                <a:gd name="T59" fmla="*/ 85 h 1998"/>
                <a:gd name="T60" fmla="*/ 113 w 1638"/>
                <a:gd name="T61" fmla="*/ 88 h 1998"/>
                <a:gd name="T62" fmla="*/ 116 w 1638"/>
                <a:gd name="T63" fmla="*/ 88 h 1998"/>
                <a:gd name="T64" fmla="*/ 123 w 1638"/>
                <a:gd name="T65" fmla="*/ 87 h 1998"/>
                <a:gd name="T66" fmla="*/ 128 w 1638"/>
                <a:gd name="T67" fmla="*/ 86 h 1998"/>
                <a:gd name="T68" fmla="*/ 132 w 1638"/>
                <a:gd name="T69" fmla="*/ 90 h 1998"/>
                <a:gd name="T70" fmla="*/ 138 w 1638"/>
                <a:gd name="T71" fmla="*/ 96 h 1998"/>
                <a:gd name="T72" fmla="*/ 138 w 1638"/>
                <a:gd name="T73" fmla="*/ 110 h 1998"/>
                <a:gd name="T74" fmla="*/ 137 w 1638"/>
                <a:gd name="T75" fmla="*/ 118 h 1998"/>
                <a:gd name="T76" fmla="*/ 133 w 1638"/>
                <a:gd name="T77" fmla="*/ 124 h 1998"/>
                <a:gd name="T78" fmla="*/ 122 w 1638"/>
                <a:gd name="T79" fmla="*/ 125 h 1998"/>
                <a:gd name="T80" fmla="*/ 116 w 1638"/>
                <a:gd name="T81" fmla="*/ 127 h 1998"/>
                <a:gd name="T82" fmla="*/ 108 w 1638"/>
                <a:gd name="T83" fmla="*/ 123 h 1998"/>
                <a:gd name="T84" fmla="*/ 109 w 1638"/>
                <a:gd name="T85" fmla="*/ 119 h 1998"/>
                <a:gd name="T86" fmla="*/ 104 w 1638"/>
                <a:gd name="T87" fmla="*/ 104 h 1998"/>
                <a:gd name="T88" fmla="*/ 94 w 1638"/>
                <a:gd name="T89" fmla="*/ 105 h 1998"/>
                <a:gd name="T90" fmla="*/ 88 w 1638"/>
                <a:gd name="T91" fmla="*/ 109 h 1998"/>
                <a:gd name="T92" fmla="*/ 76 w 1638"/>
                <a:gd name="T93" fmla="*/ 107 h 1998"/>
                <a:gd name="T94" fmla="*/ 72 w 1638"/>
                <a:gd name="T95" fmla="*/ 114 h 1998"/>
                <a:gd name="T96" fmla="*/ 86 w 1638"/>
                <a:gd name="T97" fmla="*/ 121 h 1998"/>
                <a:gd name="T98" fmla="*/ 87 w 1638"/>
                <a:gd name="T99" fmla="*/ 129 h 1998"/>
                <a:gd name="T100" fmla="*/ 86 w 1638"/>
                <a:gd name="T101" fmla="*/ 137 h 1998"/>
                <a:gd name="T102" fmla="*/ 79 w 1638"/>
                <a:gd name="T103" fmla="*/ 141 h 1998"/>
                <a:gd name="T104" fmla="*/ 73 w 1638"/>
                <a:gd name="T105" fmla="*/ 144 h 1998"/>
                <a:gd name="T106" fmla="*/ 72 w 1638"/>
                <a:gd name="T107" fmla="*/ 164 h 1998"/>
                <a:gd name="T108" fmla="*/ 68 w 1638"/>
                <a:gd name="T109" fmla="*/ 172 h 1998"/>
                <a:gd name="T110" fmla="*/ 59 w 1638"/>
                <a:gd name="T111" fmla="*/ 164 h 1998"/>
                <a:gd name="T112" fmla="*/ 65 w 1638"/>
                <a:gd name="T113" fmla="*/ 146 h 1998"/>
                <a:gd name="T114" fmla="*/ 69 w 1638"/>
                <a:gd name="T115" fmla="*/ 133 h 1998"/>
                <a:gd name="T116" fmla="*/ 61 w 1638"/>
                <a:gd name="T117" fmla="*/ 131 h 1998"/>
                <a:gd name="T118" fmla="*/ 43 w 1638"/>
                <a:gd name="T119" fmla="*/ 125 h 1998"/>
                <a:gd name="T120" fmla="*/ 23 w 1638"/>
                <a:gd name="T121" fmla="*/ 125 h 1998"/>
                <a:gd name="T122" fmla="*/ 17 w 1638"/>
                <a:gd name="T123" fmla="*/ 121 h 19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638"/>
                <a:gd name="T187" fmla="*/ 0 h 1998"/>
                <a:gd name="T188" fmla="*/ 1638 w 1638"/>
                <a:gd name="T189" fmla="*/ 1998 h 19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638" h="1998">
                  <a:moveTo>
                    <a:pt x="144" y="1380"/>
                  </a:moveTo>
                  <a:lnTo>
                    <a:pt x="150" y="1368"/>
                  </a:lnTo>
                  <a:lnTo>
                    <a:pt x="150" y="1362"/>
                  </a:lnTo>
                  <a:lnTo>
                    <a:pt x="150" y="1356"/>
                  </a:lnTo>
                  <a:lnTo>
                    <a:pt x="144" y="1356"/>
                  </a:lnTo>
                  <a:lnTo>
                    <a:pt x="138" y="1356"/>
                  </a:lnTo>
                  <a:lnTo>
                    <a:pt x="126" y="1356"/>
                  </a:lnTo>
                  <a:lnTo>
                    <a:pt x="114" y="1344"/>
                  </a:lnTo>
                  <a:lnTo>
                    <a:pt x="84" y="1320"/>
                  </a:lnTo>
                  <a:lnTo>
                    <a:pt x="54" y="1296"/>
                  </a:lnTo>
                  <a:lnTo>
                    <a:pt x="48" y="1290"/>
                  </a:lnTo>
                  <a:lnTo>
                    <a:pt x="42" y="1278"/>
                  </a:lnTo>
                  <a:lnTo>
                    <a:pt x="30" y="1272"/>
                  </a:lnTo>
                  <a:lnTo>
                    <a:pt x="0" y="1248"/>
                  </a:lnTo>
                  <a:lnTo>
                    <a:pt x="6" y="1230"/>
                  </a:lnTo>
                  <a:lnTo>
                    <a:pt x="12" y="1194"/>
                  </a:lnTo>
                  <a:lnTo>
                    <a:pt x="18" y="1170"/>
                  </a:lnTo>
                  <a:lnTo>
                    <a:pt x="30" y="1134"/>
                  </a:lnTo>
                  <a:lnTo>
                    <a:pt x="36" y="1086"/>
                  </a:lnTo>
                  <a:lnTo>
                    <a:pt x="42" y="1050"/>
                  </a:lnTo>
                  <a:lnTo>
                    <a:pt x="48" y="1044"/>
                  </a:lnTo>
                  <a:lnTo>
                    <a:pt x="54" y="1026"/>
                  </a:lnTo>
                  <a:lnTo>
                    <a:pt x="60" y="1014"/>
                  </a:lnTo>
                  <a:lnTo>
                    <a:pt x="66" y="1002"/>
                  </a:lnTo>
                  <a:lnTo>
                    <a:pt x="66" y="996"/>
                  </a:lnTo>
                  <a:lnTo>
                    <a:pt x="72" y="996"/>
                  </a:lnTo>
                  <a:lnTo>
                    <a:pt x="72" y="990"/>
                  </a:lnTo>
                  <a:lnTo>
                    <a:pt x="78" y="990"/>
                  </a:lnTo>
                  <a:lnTo>
                    <a:pt x="90" y="978"/>
                  </a:lnTo>
                  <a:lnTo>
                    <a:pt x="96" y="966"/>
                  </a:lnTo>
                  <a:lnTo>
                    <a:pt x="102" y="966"/>
                  </a:lnTo>
                  <a:lnTo>
                    <a:pt x="114" y="954"/>
                  </a:lnTo>
                  <a:lnTo>
                    <a:pt x="120" y="954"/>
                  </a:lnTo>
                  <a:lnTo>
                    <a:pt x="120" y="948"/>
                  </a:lnTo>
                  <a:lnTo>
                    <a:pt x="114" y="930"/>
                  </a:lnTo>
                  <a:lnTo>
                    <a:pt x="114" y="924"/>
                  </a:lnTo>
                  <a:lnTo>
                    <a:pt x="108" y="918"/>
                  </a:lnTo>
                  <a:lnTo>
                    <a:pt x="102" y="912"/>
                  </a:lnTo>
                  <a:lnTo>
                    <a:pt x="90" y="906"/>
                  </a:lnTo>
                  <a:lnTo>
                    <a:pt x="84" y="900"/>
                  </a:lnTo>
                  <a:lnTo>
                    <a:pt x="84" y="888"/>
                  </a:lnTo>
                  <a:lnTo>
                    <a:pt x="84" y="882"/>
                  </a:lnTo>
                  <a:lnTo>
                    <a:pt x="78" y="858"/>
                  </a:lnTo>
                  <a:lnTo>
                    <a:pt x="78" y="852"/>
                  </a:lnTo>
                  <a:lnTo>
                    <a:pt x="84" y="846"/>
                  </a:lnTo>
                  <a:lnTo>
                    <a:pt x="84" y="840"/>
                  </a:lnTo>
                  <a:lnTo>
                    <a:pt x="96" y="828"/>
                  </a:lnTo>
                  <a:lnTo>
                    <a:pt x="114" y="816"/>
                  </a:lnTo>
                  <a:lnTo>
                    <a:pt x="114" y="810"/>
                  </a:lnTo>
                  <a:lnTo>
                    <a:pt x="114" y="804"/>
                  </a:lnTo>
                  <a:lnTo>
                    <a:pt x="108" y="780"/>
                  </a:lnTo>
                  <a:lnTo>
                    <a:pt x="96" y="756"/>
                  </a:lnTo>
                  <a:lnTo>
                    <a:pt x="96" y="750"/>
                  </a:lnTo>
                  <a:lnTo>
                    <a:pt x="90" y="720"/>
                  </a:lnTo>
                  <a:lnTo>
                    <a:pt x="90" y="708"/>
                  </a:lnTo>
                  <a:lnTo>
                    <a:pt x="90" y="690"/>
                  </a:lnTo>
                  <a:lnTo>
                    <a:pt x="96" y="672"/>
                  </a:lnTo>
                  <a:lnTo>
                    <a:pt x="90" y="666"/>
                  </a:lnTo>
                  <a:lnTo>
                    <a:pt x="96" y="666"/>
                  </a:lnTo>
                  <a:lnTo>
                    <a:pt x="102" y="642"/>
                  </a:lnTo>
                  <a:lnTo>
                    <a:pt x="108" y="624"/>
                  </a:lnTo>
                  <a:lnTo>
                    <a:pt x="102" y="618"/>
                  </a:lnTo>
                  <a:lnTo>
                    <a:pt x="102" y="588"/>
                  </a:lnTo>
                  <a:lnTo>
                    <a:pt x="102" y="564"/>
                  </a:lnTo>
                  <a:lnTo>
                    <a:pt x="102" y="546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0"/>
                  </a:lnTo>
                  <a:lnTo>
                    <a:pt x="96" y="498"/>
                  </a:lnTo>
                  <a:lnTo>
                    <a:pt x="96" y="486"/>
                  </a:lnTo>
                  <a:lnTo>
                    <a:pt x="96" y="474"/>
                  </a:lnTo>
                  <a:lnTo>
                    <a:pt x="96" y="462"/>
                  </a:lnTo>
                  <a:lnTo>
                    <a:pt x="114" y="450"/>
                  </a:lnTo>
                  <a:lnTo>
                    <a:pt x="126" y="438"/>
                  </a:lnTo>
                  <a:lnTo>
                    <a:pt x="132" y="432"/>
                  </a:lnTo>
                  <a:lnTo>
                    <a:pt x="144" y="426"/>
                  </a:lnTo>
                  <a:lnTo>
                    <a:pt x="144" y="420"/>
                  </a:lnTo>
                  <a:lnTo>
                    <a:pt x="156" y="414"/>
                  </a:lnTo>
                  <a:lnTo>
                    <a:pt x="162" y="408"/>
                  </a:lnTo>
                  <a:lnTo>
                    <a:pt x="180" y="396"/>
                  </a:lnTo>
                  <a:lnTo>
                    <a:pt x="210" y="372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34" y="348"/>
                  </a:lnTo>
                  <a:lnTo>
                    <a:pt x="240" y="348"/>
                  </a:lnTo>
                  <a:lnTo>
                    <a:pt x="246" y="342"/>
                  </a:lnTo>
                  <a:lnTo>
                    <a:pt x="276" y="318"/>
                  </a:lnTo>
                  <a:lnTo>
                    <a:pt x="282" y="312"/>
                  </a:lnTo>
                  <a:lnTo>
                    <a:pt x="288" y="306"/>
                  </a:lnTo>
                  <a:lnTo>
                    <a:pt x="300" y="288"/>
                  </a:lnTo>
                  <a:lnTo>
                    <a:pt x="306" y="276"/>
                  </a:lnTo>
                  <a:lnTo>
                    <a:pt x="324" y="246"/>
                  </a:lnTo>
                  <a:lnTo>
                    <a:pt x="330" y="240"/>
                  </a:lnTo>
                  <a:lnTo>
                    <a:pt x="336" y="234"/>
                  </a:lnTo>
                  <a:lnTo>
                    <a:pt x="342" y="228"/>
                  </a:lnTo>
                  <a:lnTo>
                    <a:pt x="342" y="216"/>
                  </a:lnTo>
                  <a:lnTo>
                    <a:pt x="354" y="204"/>
                  </a:lnTo>
                  <a:lnTo>
                    <a:pt x="360" y="204"/>
                  </a:lnTo>
                  <a:lnTo>
                    <a:pt x="366" y="186"/>
                  </a:lnTo>
                  <a:lnTo>
                    <a:pt x="384" y="162"/>
                  </a:lnTo>
                  <a:lnTo>
                    <a:pt x="390" y="144"/>
                  </a:lnTo>
                  <a:lnTo>
                    <a:pt x="396" y="114"/>
                  </a:lnTo>
                  <a:lnTo>
                    <a:pt x="396" y="102"/>
                  </a:lnTo>
                  <a:lnTo>
                    <a:pt x="402" y="90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08" y="36"/>
                  </a:lnTo>
                  <a:lnTo>
                    <a:pt x="408" y="24"/>
                  </a:lnTo>
                  <a:lnTo>
                    <a:pt x="408" y="6"/>
                  </a:lnTo>
                  <a:lnTo>
                    <a:pt x="420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68" y="0"/>
                  </a:lnTo>
                  <a:lnTo>
                    <a:pt x="480" y="0"/>
                  </a:lnTo>
                  <a:lnTo>
                    <a:pt x="492" y="0"/>
                  </a:lnTo>
                  <a:lnTo>
                    <a:pt x="498" y="0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8" y="18"/>
                  </a:lnTo>
                  <a:lnTo>
                    <a:pt x="534" y="18"/>
                  </a:lnTo>
                  <a:lnTo>
                    <a:pt x="540" y="18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8" y="36"/>
                  </a:lnTo>
                  <a:lnTo>
                    <a:pt x="588" y="54"/>
                  </a:lnTo>
                  <a:lnTo>
                    <a:pt x="594" y="48"/>
                  </a:lnTo>
                  <a:lnTo>
                    <a:pt x="600" y="48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12" y="66"/>
                  </a:lnTo>
                  <a:lnTo>
                    <a:pt x="630" y="72"/>
                  </a:lnTo>
                  <a:lnTo>
                    <a:pt x="642" y="78"/>
                  </a:lnTo>
                  <a:lnTo>
                    <a:pt x="666" y="78"/>
                  </a:lnTo>
                  <a:lnTo>
                    <a:pt x="672" y="72"/>
                  </a:lnTo>
                  <a:lnTo>
                    <a:pt x="690" y="84"/>
                  </a:lnTo>
                  <a:lnTo>
                    <a:pt x="690" y="90"/>
                  </a:lnTo>
                  <a:lnTo>
                    <a:pt x="708" y="96"/>
                  </a:lnTo>
                  <a:lnTo>
                    <a:pt x="708" y="102"/>
                  </a:lnTo>
                  <a:lnTo>
                    <a:pt x="744" y="96"/>
                  </a:lnTo>
                  <a:lnTo>
                    <a:pt x="756" y="78"/>
                  </a:lnTo>
                  <a:lnTo>
                    <a:pt x="756" y="72"/>
                  </a:lnTo>
                  <a:lnTo>
                    <a:pt x="762" y="66"/>
                  </a:lnTo>
                  <a:lnTo>
                    <a:pt x="768" y="60"/>
                  </a:lnTo>
                  <a:lnTo>
                    <a:pt x="774" y="54"/>
                  </a:lnTo>
                  <a:lnTo>
                    <a:pt x="786" y="54"/>
                  </a:lnTo>
                  <a:lnTo>
                    <a:pt x="786" y="60"/>
                  </a:lnTo>
                  <a:lnTo>
                    <a:pt x="786" y="66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92" y="90"/>
                  </a:lnTo>
                  <a:lnTo>
                    <a:pt x="780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26"/>
                  </a:lnTo>
                  <a:lnTo>
                    <a:pt x="768" y="150"/>
                  </a:lnTo>
                  <a:lnTo>
                    <a:pt x="750" y="168"/>
                  </a:lnTo>
                  <a:lnTo>
                    <a:pt x="750" y="174"/>
                  </a:lnTo>
                  <a:lnTo>
                    <a:pt x="762" y="192"/>
                  </a:lnTo>
                  <a:lnTo>
                    <a:pt x="774" y="210"/>
                  </a:lnTo>
                  <a:lnTo>
                    <a:pt x="792" y="228"/>
                  </a:lnTo>
                  <a:lnTo>
                    <a:pt x="804" y="240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40" y="252"/>
                  </a:lnTo>
                  <a:lnTo>
                    <a:pt x="834" y="252"/>
                  </a:lnTo>
                  <a:lnTo>
                    <a:pt x="846" y="252"/>
                  </a:lnTo>
                  <a:lnTo>
                    <a:pt x="852" y="270"/>
                  </a:lnTo>
                  <a:lnTo>
                    <a:pt x="858" y="282"/>
                  </a:lnTo>
                  <a:lnTo>
                    <a:pt x="858" y="288"/>
                  </a:lnTo>
                  <a:lnTo>
                    <a:pt x="864" y="300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58" y="318"/>
                  </a:lnTo>
                  <a:lnTo>
                    <a:pt x="852" y="318"/>
                  </a:lnTo>
                  <a:lnTo>
                    <a:pt x="846" y="324"/>
                  </a:lnTo>
                  <a:lnTo>
                    <a:pt x="846" y="336"/>
                  </a:lnTo>
                  <a:lnTo>
                    <a:pt x="840" y="348"/>
                  </a:lnTo>
                  <a:lnTo>
                    <a:pt x="840" y="360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46" y="402"/>
                  </a:lnTo>
                  <a:lnTo>
                    <a:pt x="858" y="420"/>
                  </a:lnTo>
                  <a:lnTo>
                    <a:pt x="882" y="426"/>
                  </a:lnTo>
                  <a:lnTo>
                    <a:pt x="888" y="444"/>
                  </a:lnTo>
                  <a:lnTo>
                    <a:pt x="900" y="444"/>
                  </a:lnTo>
                  <a:lnTo>
                    <a:pt x="900" y="462"/>
                  </a:lnTo>
                  <a:lnTo>
                    <a:pt x="894" y="474"/>
                  </a:lnTo>
                  <a:lnTo>
                    <a:pt x="888" y="486"/>
                  </a:lnTo>
                  <a:lnTo>
                    <a:pt x="882" y="492"/>
                  </a:lnTo>
                  <a:lnTo>
                    <a:pt x="870" y="504"/>
                  </a:lnTo>
                  <a:lnTo>
                    <a:pt x="852" y="504"/>
                  </a:lnTo>
                  <a:lnTo>
                    <a:pt x="852" y="510"/>
                  </a:lnTo>
                  <a:lnTo>
                    <a:pt x="852" y="516"/>
                  </a:lnTo>
                  <a:lnTo>
                    <a:pt x="846" y="528"/>
                  </a:lnTo>
                  <a:lnTo>
                    <a:pt x="846" y="582"/>
                  </a:lnTo>
                  <a:lnTo>
                    <a:pt x="840" y="582"/>
                  </a:lnTo>
                  <a:lnTo>
                    <a:pt x="834" y="582"/>
                  </a:lnTo>
                  <a:lnTo>
                    <a:pt x="828" y="582"/>
                  </a:lnTo>
                  <a:lnTo>
                    <a:pt x="822" y="582"/>
                  </a:lnTo>
                  <a:lnTo>
                    <a:pt x="810" y="582"/>
                  </a:lnTo>
                  <a:lnTo>
                    <a:pt x="810" y="528"/>
                  </a:lnTo>
                  <a:lnTo>
                    <a:pt x="792" y="528"/>
                  </a:lnTo>
                  <a:lnTo>
                    <a:pt x="792" y="522"/>
                  </a:lnTo>
                  <a:lnTo>
                    <a:pt x="786" y="522"/>
                  </a:lnTo>
                  <a:lnTo>
                    <a:pt x="786" y="516"/>
                  </a:lnTo>
                  <a:lnTo>
                    <a:pt x="780" y="516"/>
                  </a:lnTo>
                  <a:lnTo>
                    <a:pt x="780" y="510"/>
                  </a:lnTo>
                  <a:lnTo>
                    <a:pt x="762" y="510"/>
                  </a:lnTo>
                  <a:lnTo>
                    <a:pt x="756" y="510"/>
                  </a:lnTo>
                  <a:lnTo>
                    <a:pt x="750" y="522"/>
                  </a:lnTo>
                  <a:lnTo>
                    <a:pt x="744" y="534"/>
                  </a:lnTo>
                  <a:lnTo>
                    <a:pt x="732" y="540"/>
                  </a:lnTo>
                  <a:lnTo>
                    <a:pt x="732" y="558"/>
                  </a:lnTo>
                  <a:lnTo>
                    <a:pt x="732" y="564"/>
                  </a:lnTo>
                  <a:lnTo>
                    <a:pt x="732" y="570"/>
                  </a:lnTo>
                  <a:lnTo>
                    <a:pt x="726" y="576"/>
                  </a:lnTo>
                  <a:lnTo>
                    <a:pt x="720" y="576"/>
                  </a:lnTo>
                  <a:lnTo>
                    <a:pt x="714" y="582"/>
                  </a:lnTo>
                  <a:lnTo>
                    <a:pt x="702" y="588"/>
                  </a:lnTo>
                  <a:lnTo>
                    <a:pt x="696" y="594"/>
                  </a:lnTo>
                  <a:lnTo>
                    <a:pt x="690" y="600"/>
                  </a:lnTo>
                  <a:lnTo>
                    <a:pt x="690" y="606"/>
                  </a:lnTo>
                  <a:lnTo>
                    <a:pt x="678" y="606"/>
                  </a:lnTo>
                  <a:lnTo>
                    <a:pt x="678" y="624"/>
                  </a:lnTo>
                  <a:lnTo>
                    <a:pt x="684" y="642"/>
                  </a:lnTo>
                  <a:lnTo>
                    <a:pt x="684" y="660"/>
                  </a:lnTo>
                  <a:lnTo>
                    <a:pt x="690" y="672"/>
                  </a:lnTo>
                  <a:lnTo>
                    <a:pt x="702" y="720"/>
                  </a:lnTo>
                  <a:lnTo>
                    <a:pt x="708" y="750"/>
                  </a:lnTo>
                  <a:lnTo>
                    <a:pt x="708" y="792"/>
                  </a:lnTo>
                  <a:lnTo>
                    <a:pt x="708" y="828"/>
                  </a:lnTo>
                  <a:lnTo>
                    <a:pt x="708" y="852"/>
                  </a:lnTo>
                  <a:lnTo>
                    <a:pt x="696" y="894"/>
                  </a:lnTo>
                  <a:lnTo>
                    <a:pt x="702" y="900"/>
                  </a:lnTo>
                  <a:lnTo>
                    <a:pt x="708" y="924"/>
                  </a:lnTo>
                  <a:lnTo>
                    <a:pt x="684" y="936"/>
                  </a:lnTo>
                  <a:lnTo>
                    <a:pt x="660" y="954"/>
                  </a:lnTo>
                  <a:lnTo>
                    <a:pt x="618" y="984"/>
                  </a:lnTo>
                  <a:lnTo>
                    <a:pt x="618" y="990"/>
                  </a:lnTo>
                  <a:lnTo>
                    <a:pt x="612" y="996"/>
                  </a:lnTo>
                  <a:lnTo>
                    <a:pt x="606" y="1002"/>
                  </a:lnTo>
                  <a:lnTo>
                    <a:pt x="618" y="1008"/>
                  </a:lnTo>
                  <a:lnTo>
                    <a:pt x="618" y="1014"/>
                  </a:lnTo>
                  <a:lnTo>
                    <a:pt x="624" y="1026"/>
                  </a:lnTo>
                  <a:lnTo>
                    <a:pt x="630" y="1026"/>
                  </a:lnTo>
                  <a:lnTo>
                    <a:pt x="636" y="1032"/>
                  </a:lnTo>
                  <a:lnTo>
                    <a:pt x="642" y="1032"/>
                  </a:lnTo>
                  <a:lnTo>
                    <a:pt x="642" y="1038"/>
                  </a:lnTo>
                  <a:lnTo>
                    <a:pt x="648" y="1044"/>
                  </a:lnTo>
                  <a:lnTo>
                    <a:pt x="666" y="1050"/>
                  </a:lnTo>
                  <a:lnTo>
                    <a:pt x="678" y="1038"/>
                  </a:lnTo>
                  <a:lnTo>
                    <a:pt x="684" y="1038"/>
                  </a:lnTo>
                  <a:lnTo>
                    <a:pt x="684" y="1032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20"/>
                  </a:lnTo>
                  <a:lnTo>
                    <a:pt x="708" y="1014"/>
                  </a:lnTo>
                  <a:lnTo>
                    <a:pt x="720" y="1020"/>
                  </a:lnTo>
                  <a:lnTo>
                    <a:pt x="720" y="1014"/>
                  </a:lnTo>
                  <a:lnTo>
                    <a:pt x="726" y="1008"/>
                  </a:lnTo>
                  <a:lnTo>
                    <a:pt x="732" y="1008"/>
                  </a:lnTo>
                  <a:lnTo>
                    <a:pt x="738" y="1008"/>
                  </a:lnTo>
                  <a:lnTo>
                    <a:pt x="744" y="1002"/>
                  </a:lnTo>
                  <a:lnTo>
                    <a:pt x="744" y="996"/>
                  </a:lnTo>
                  <a:lnTo>
                    <a:pt x="750" y="996"/>
                  </a:lnTo>
                  <a:lnTo>
                    <a:pt x="756" y="1002"/>
                  </a:lnTo>
                  <a:lnTo>
                    <a:pt x="762" y="1002"/>
                  </a:lnTo>
                  <a:lnTo>
                    <a:pt x="768" y="996"/>
                  </a:lnTo>
                  <a:lnTo>
                    <a:pt x="780" y="996"/>
                  </a:lnTo>
                  <a:lnTo>
                    <a:pt x="786" y="996"/>
                  </a:lnTo>
                  <a:lnTo>
                    <a:pt x="816" y="990"/>
                  </a:lnTo>
                  <a:lnTo>
                    <a:pt x="828" y="990"/>
                  </a:lnTo>
                  <a:lnTo>
                    <a:pt x="834" y="990"/>
                  </a:lnTo>
                  <a:lnTo>
                    <a:pt x="840" y="984"/>
                  </a:lnTo>
                  <a:lnTo>
                    <a:pt x="852" y="978"/>
                  </a:lnTo>
                  <a:lnTo>
                    <a:pt x="852" y="972"/>
                  </a:lnTo>
                  <a:lnTo>
                    <a:pt x="858" y="972"/>
                  </a:lnTo>
                  <a:lnTo>
                    <a:pt x="864" y="966"/>
                  </a:lnTo>
                  <a:lnTo>
                    <a:pt x="870" y="966"/>
                  </a:lnTo>
                  <a:lnTo>
                    <a:pt x="876" y="966"/>
                  </a:lnTo>
                  <a:lnTo>
                    <a:pt x="882" y="960"/>
                  </a:lnTo>
                  <a:lnTo>
                    <a:pt x="888" y="960"/>
                  </a:lnTo>
                  <a:lnTo>
                    <a:pt x="894" y="960"/>
                  </a:lnTo>
                  <a:lnTo>
                    <a:pt x="894" y="966"/>
                  </a:lnTo>
                  <a:lnTo>
                    <a:pt x="894" y="978"/>
                  </a:lnTo>
                  <a:lnTo>
                    <a:pt x="894" y="984"/>
                  </a:lnTo>
                  <a:lnTo>
                    <a:pt x="900" y="984"/>
                  </a:lnTo>
                  <a:lnTo>
                    <a:pt x="906" y="978"/>
                  </a:lnTo>
                  <a:lnTo>
                    <a:pt x="912" y="972"/>
                  </a:lnTo>
                  <a:lnTo>
                    <a:pt x="918" y="978"/>
                  </a:lnTo>
                  <a:lnTo>
                    <a:pt x="924" y="978"/>
                  </a:lnTo>
                  <a:lnTo>
                    <a:pt x="924" y="972"/>
                  </a:lnTo>
                  <a:lnTo>
                    <a:pt x="924" y="966"/>
                  </a:lnTo>
                  <a:lnTo>
                    <a:pt x="930" y="966"/>
                  </a:lnTo>
                  <a:lnTo>
                    <a:pt x="948" y="966"/>
                  </a:lnTo>
                  <a:lnTo>
                    <a:pt x="954" y="966"/>
                  </a:lnTo>
                  <a:lnTo>
                    <a:pt x="954" y="960"/>
                  </a:lnTo>
                  <a:lnTo>
                    <a:pt x="960" y="960"/>
                  </a:lnTo>
                  <a:lnTo>
                    <a:pt x="966" y="960"/>
                  </a:lnTo>
                  <a:lnTo>
                    <a:pt x="966" y="966"/>
                  </a:lnTo>
                  <a:lnTo>
                    <a:pt x="978" y="972"/>
                  </a:lnTo>
                  <a:lnTo>
                    <a:pt x="978" y="978"/>
                  </a:lnTo>
                  <a:lnTo>
                    <a:pt x="978" y="984"/>
                  </a:lnTo>
                  <a:lnTo>
                    <a:pt x="984" y="978"/>
                  </a:lnTo>
                  <a:lnTo>
                    <a:pt x="990" y="978"/>
                  </a:lnTo>
                  <a:lnTo>
                    <a:pt x="996" y="984"/>
                  </a:lnTo>
                  <a:lnTo>
                    <a:pt x="1002" y="990"/>
                  </a:lnTo>
                  <a:lnTo>
                    <a:pt x="1008" y="972"/>
                  </a:lnTo>
                  <a:lnTo>
                    <a:pt x="1026" y="972"/>
                  </a:lnTo>
                  <a:lnTo>
                    <a:pt x="1032" y="972"/>
                  </a:lnTo>
                  <a:lnTo>
                    <a:pt x="1038" y="972"/>
                  </a:lnTo>
                  <a:lnTo>
                    <a:pt x="1050" y="972"/>
                  </a:lnTo>
                  <a:lnTo>
                    <a:pt x="1056" y="972"/>
                  </a:lnTo>
                  <a:lnTo>
                    <a:pt x="1062" y="966"/>
                  </a:lnTo>
                  <a:lnTo>
                    <a:pt x="1074" y="966"/>
                  </a:lnTo>
                  <a:lnTo>
                    <a:pt x="1074" y="960"/>
                  </a:lnTo>
                  <a:lnTo>
                    <a:pt x="1080" y="954"/>
                  </a:lnTo>
                  <a:lnTo>
                    <a:pt x="1080" y="948"/>
                  </a:lnTo>
                  <a:lnTo>
                    <a:pt x="1074" y="948"/>
                  </a:lnTo>
                  <a:lnTo>
                    <a:pt x="1068" y="948"/>
                  </a:lnTo>
                  <a:lnTo>
                    <a:pt x="1062" y="942"/>
                  </a:lnTo>
                  <a:lnTo>
                    <a:pt x="1068" y="936"/>
                  </a:lnTo>
                  <a:lnTo>
                    <a:pt x="1074" y="936"/>
                  </a:lnTo>
                  <a:lnTo>
                    <a:pt x="1080" y="936"/>
                  </a:lnTo>
                  <a:lnTo>
                    <a:pt x="1086" y="942"/>
                  </a:lnTo>
                  <a:lnTo>
                    <a:pt x="1092" y="942"/>
                  </a:lnTo>
                  <a:lnTo>
                    <a:pt x="1098" y="948"/>
                  </a:lnTo>
                  <a:lnTo>
                    <a:pt x="1104" y="954"/>
                  </a:lnTo>
                  <a:lnTo>
                    <a:pt x="1110" y="954"/>
                  </a:lnTo>
                  <a:lnTo>
                    <a:pt x="1116" y="948"/>
                  </a:lnTo>
                  <a:lnTo>
                    <a:pt x="1122" y="942"/>
                  </a:lnTo>
                  <a:lnTo>
                    <a:pt x="1128" y="942"/>
                  </a:lnTo>
                  <a:lnTo>
                    <a:pt x="1134" y="942"/>
                  </a:lnTo>
                  <a:lnTo>
                    <a:pt x="1140" y="948"/>
                  </a:lnTo>
                  <a:lnTo>
                    <a:pt x="1146" y="942"/>
                  </a:lnTo>
                  <a:lnTo>
                    <a:pt x="1152" y="942"/>
                  </a:lnTo>
                  <a:lnTo>
                    <a:pt x="1152" y="930"/>
                  </a:lnTo>
                  <a:lnTo>
                    <a:pt x="1164" y="936"/>
                  </a:lnTo>
                  <a:lnTo>
                    <a:pt x="1158" y="942"/>
                  </a:lnTo>
                  <a:lnTo>
                    <a:pt x="1158" y="948"/>
                  </a:lnTo>
                  <a:lnTo>
                    <a:pt x="1146" y="954"/>
                  </a:lnTo>
                  <a:lnTo>
                    <a:pt x="1152" y="954"/>
                  </a:lnTo>
                  <a:lnTo>
                    <a:pt x="1158" y="954"/>
                  </a:lnTo>
                  <a:lnTo>
                    <a:pt x="1158" y="948"/>
                  </a:lnTo>
                  <a:lnTo>
                    <a:pt x="1164" y="948"/>
                  </a:lnTo>
                  <a:lnTo>
                    <a:pt x="1170" y="948"/>
                  </a:lnTo>
                  <a:lnTo>
                    <a:pt x="1176" y="954"/>
                  </a:lnTo>
                  <a:lnTo>
                    <a:pt x="1176" y="966"/>
                  </a:lnTo>
                  <a:lnTo>
                    <a:pt x="1182" y="972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88" y="984"/>
                  </a:lnTo>
                  <a:lnTo>
                    <a:pt x="1194" y="984"/>
                  </a:lnTo>
                  <a:lnTo>
                    <a:pt x="1200" y="984"/>
                  </a:lnTo>
                  <a:lnTo>
                    <a:pt x="1212" y="984"/>
                  </a:lnTo>
                  <a:lnTo>
                    <a:pt x="1218" y="990"/>
                  </a:lnTo>
                  <a:lnTo>
                    <a:pt x="1224" y="990"/>
                  </a:lnTo>
                  <a:lnTo>
                    <a:pt x="1224" y="984"/>
                  </a:lnTo>
                  <a:lnTo>
                    <a:pt x="1230" y="990"/>
                  </a:lnTo>
                  <a:lnTo>
                    <a:pt x="1236" y="984"/>
                  </a:lnTo>
                  <a:lnTo>
                    <a:pt x="1242" y="984"/>
                  </a:lnTo>
                  <a:lnTo>
                    <a:pt x="1248" y="990"/>
                  </a:lnTo>
                  <a:lnTo>
                    <a:pt x="1254" y="990"/>
                  </a:lnTo>
                  <a:lnTo>
                    <a:pt x="1254" y="996"/>
                  </a:lnTo>
                  <a:lnTo>
                    <a:pt x="1254" y="1002"/>
                  </a:lnTo>
                  <a:lnTo>
                    <a:pt x="1254" y="1008"/>
                  </a:lnTo>
                  <a:lnTo>
                    <a:pt x="1260" y="1014"/>
                  </a:lnTo>
                  <a:lnTo>
                    <a:pt x="1266" y="1014"/>
                  </a:lnTo>
                  <a:lnTo>
                    <a:pt x="1272" y="1014"/>
                  </a:lnTo>
                  <a:lnTo>
                    <a:pt x="1278" y="1020"/>
                  </a:lnTo>
                  <a:lnTo>
                    <a:pt x="1284" y="1020"/>
                  </a:lnTo>
                  <a:lnTo>
                    <a:pt x="1290" y="1014"/>
                  </a:lnTo>
                  <a:lnTo>
                    <a:pt x="1290" y="1008"/>
                  </a:lnTo>
                  <a:lnTo>
                    <a:pt x="1296" y="1008"/>
                  </a:lnTo>
                  <a:lnTo>
                    <a:pt x="1302" y="1014"/>
                  </a:lnTo>
                  <a:lnTo>
                    <a:pt x="1308" y="1014"/>
                  </a:lnTo>
                  <a:lnTo>
                    <a:pt x="1314" y="1008"/>
                  </a:lnTo>
                  <a:lnTo>
                    <a:pt x="1320" y="1008"/>
                  </a:lnTo>
                  <a:lnTo>
                    <a:pt x="1320" y="1002"/>
                  </a:lnTo>
                  <a:lnTo>
                    <a:pt x="1320" y="996"/>
                  </a:lnTo>
                  <a:lnTo>
                    <a:pt x="1332" y="1002"/>
                  </a:lnTo>
                  <a:lnTo>
                    <a:pt x="1332" y="1008"/>
                  </a:lnTo>
                  <a:lnTo>
                    <a:pt x="1326" y="1014"/>
                  </a:lnTo>
                  <a:lnTo>
                    <a:pt x="1332" y="1014"/>
                  </a:lnTo>
                  <a:lnTo>
                    <a:pt x="1338" y="1014"/>
                  </a:lnTo>
                  <a:lnTo>
                    <a:pt x="1338" y="1008"/>
                  </a:lnTo>
                  <a:lnTo>
                    <a:pt x="1344" y="1008"/>
                  </a:lnTo>
                  <a:lnTo>
                    <a:pt x="1350" y="1008"/>
                  </a:lnTo>
                  <a:lnTo>
                    <a:pt x="1356" y="1014"/>
                  </a:lnTo>
                  <a:lnTo>
                    <a:pt x="1356" y="1008"/>
                  </a:lnTo>
                  <a:lnTo>
                    <a:pt x="1362" y="1014"/>
                  </a:lnTo>
                  <a:lnTo>
                    <a:pt x="1392" y="1014"/>
                  </a:lnTo>
                  <a:lnTo>
                    <a:pt x="1398" y="1014"/>
                  </a:lnTo>
                  <a:lnTo>
                    <a:pt x="1404" y="1008"/>
                  </a:lnTo>
                  <a:lnTo>
                    <a:pt x="1404" y="1014"/>
                  </a:lnTo>
                  <a:lnTo>
                    <a:pt x="1410" y="1008"/>
                  </a:lnTo>
                  <a:lnTo>
                    <a:pt x="1416" y="1008"/>
                  </a:lnTo>
                  <a:lnTo>
                    <a:pt x="1422" y="1002"/>
                  </a:lnTo>
                  <a:lnTo>
                    <a:pt x="1428" y="1002"/>
                  </a:lnTo>
                  <a:lnTo>
                    <a:pt x="1428" y="996"/>
                  </a:lnTo>
                  <a:lnTo>
                    <a:pt x="1428" y="990"/>
                  </a:lnTo>
                  <a:lnTo>
                    <a:pt x="1440" y="1002"/>
                  </a:lnTo>
                  <a:lnTo>
                    <a:pt x="1446" y="1002"/>
                  </a:lnTo>
                  <a:lnTo>
                    <a:pt x="1452" y="1002"/>
                  </a:lnTo>
                  <a:lnTo>
                    <a:pt x="1446" y="996"/>
                  </a:lnTo>
                  <a:lnTo>
                    <a:pt x="1452" y="996"/>
                  </a:lnTo>
                  <a:lnTo>
                    <a:pt x="1458" y="996"/>
                  </a:lnTo>
                  <a:lnTo>
                    <a:pt x="1464" y="996"/>
                  </a:lnTo>
                  <a:lnTo>
                    <a:pt x="1464" y="1002"/>
                  </a:lnTo>
                  <a:lnTo>
                    <a:pt x="1476" y="1014"/>
                  </a:lnTo>
                  <a:lnTo>
                    <a:pt x="1476" y="1008"/>
                  </a:lnTo>
                  <a:lnTo>
                    <a:pt x="1482" y="1008"/>
                  </a:lnTo>
                  <a:lnTo>
                    <a:pt x="1488" y="1020"/>
                  </a:lnTo>
                  <a:lnTo>
                    <a:pt x="1494" y="1020"/>
                  </a:lnTo>
                  <a:lnTo>
                    <a:pt x="1500" y="1014"/>
                  </a:lnTo>
                  <a:lnTo>
                    <a:pt x="1500" y="1020"/>
                  </a:lnTo>
                  <a:lnTo>
                    <a:pt x="1506" y="1026"/>
                  </a:lnTo>
                  <a:lnTo>
                    <a:pt x="1512" y="1032"/>
                  </a:lnTo>
                  <a:lnTo>
                    <a:pt x="1518" y="1032"/>
                  </a:lnTo>
                  <a:lnTo>
                    <a:pt x="1518" y="1038"/>
                  </a:lnTo>
                  <a:lnTo>
                    <a:pt x="1518" y="1044"/>
                  </a:lnTo>
                  <a:lnTo>
                    <a:pt x="1524" y="1044"/>
                  </a:lnTo>
                  <a:lnTo>
                    <a:pt x="1524" y="1050"/>
                  </a:lnTo>
                  <a:lnTo>
                    <a:pt x="1530" y="1056"/>
                  </a:lnTo>
                  <a:lnTo>
                    <a:pt x="1548" y="1062"/>
                  </a:lnTo>
                  <a:lnTo>
                    <a:pt x="1560" y="1074"/>
                  </a:lnTo>
                  <a:lnTo>
                    <a:pt x="1560" y="1080"/>
                  </a:lnTo>
                  <a:lnTo>
                    <a:pt x="1560" y="1086"/>
                  </a:lnTo>
                  <a:lnTo>
                    <a:pt x="1566" y="1086"/>
                  </a:lnTo>
                  <a:lnTo>
                    <a:pt x="1572" y="1098"/>
                  </a:lnTo>
                  <a:lnTo>
                    <a:pt x="1572" y="1104"/>
                  </a:lnTo>
                  <a:lnTo>
                    <a:pt x="1584" y="1110"/>
                  </a:lnTo>
                  <a:lnTo>
                    <a:pt x="1590" y="1116"/>
                  </a:lnTo>
                  <a:lnTo>
                    <a:pt x="1596" y="1116"/>
                  </a:lnTo>
                  <a:lnTo>
                    <a:pt x="1608" y="1122"/>
                  </a:lnTo>
                  <a:lnTo>
                    <a:pt x="1620" y="1140"/>
                  </a:lnTo>
                  <a:lnTo>
                    <a:pt x="1626" y="1158"/>
                  </a:lnTo>
                  <a:lnTo>
                    <a:pt x="1638" y="1200"/>
                  </a:lnTo>
                  <a:lnTo>
                    <a:pt x="1638" y="1218"/>
                  </a:lnTo>
                  <a:lnTo>
                    <a:pt x="1620" y="1230"/>
                  </a:lnTo>
                  <a:lnTo>
                    <a:pt x="1554" y="1230"/>
                  </a:lnTo>
                  <a:lnTo>
                    <a:pt x="1560" y="1248"/>
                  </a:lnTo>
                  <a:lnTo>
                    <a:pt x="1584" y="1260"/>
                  </a:lnTo>
                  <a:lnTo>
                    <a:pt x="1584" y="1266"/>
                  </a:lnTo>
                  <a:lnTo>
                    <a:pt x="1578" y="1272"/>
                  </a:lnTo>
                  <a:lnTo>
                    <a:pt x="1572" y="1272"/>
                  </a:lnTo>
                  <a:lnTo>
                    <a:pt x="1566" y="1278"/>
                  </a:lnTo>
                  <a:lnTo>
                    <a:pt x="1566" y="1284"/>
                  </a:lnTo>
                  <a:lnTo>
                    <a:pt x="1560" y="1290"/>
                  </a:lnTo>
                  <a:lnTo>
                    <a:pt x="1554" y="1290"/>
                  </a:lnTo>
                  <a:lnTo>
                    <a:pt x="1554" y="1296"/>
                  </a:lnTo>
                  <a:lnTo>
                    <a:pt x="1554" y="1302"/>
                  </a:lnTo>
                  <a:lnTo>
                    <a:pt x="1560" y="1332"/>
                  </a:lnTo>
                  <a:lnTo>
                    <a:pt x="1566" y="1356"/>
                  </a:lnTo>
                  <a:lnTo>
                    <a:pt x="1572" y="1356"/>
                  </a:lnTo>
                  <a:lnTo>
                    <a:pt x="1572" y="1362"/>
                  </a:lnTo>
                  <a:lnTo>
                    <a:pt x="1578" y="1362"/>
                  </a:lnTo>
                  <a:lnTo>
                    <a:pt x="1560" y="1374"/>
                  </a:lnTo>
                  <a:lnTo>
                    <a:pt x="1560" y="1380"/>
                  </a:lnTo>
                  <a:lnTo>
                    <a:pt x="1548" y="1380"/>
                  </a:lnTo>
                  <a:lnTo>
                    <a:pt x="1548" y="1386"/>
                  </a:lnTo>
                  <a:lnTo>
                    <a:pt x="1548" y="1392"/>
                  </a:lnTo>
                  <a:lnTo>
                    <a:pt x="1542" y="1410"/>
                  </a:lnTo>
                  <a:lnTo>
                    <a:pt x="1536" y="1422"/>
                  </a:lnTo>
                  <a:lnTo>
                    <a:pt x="1536" y="1428"/>
                  </a:lnTo>
                  <a:lnTo>
                    <a:pt x="1530" y="1440"/>
                  </a:lnTo>
                  <a:lnTo>
                    <a:pt x="1524" y="1434"/>
                  </a:lnTo>
                  <a:lnTo>
                    <a:pt x="1524" y="1428"/>
                  </a:lnTo>
                  <a:lnTo>
                    <a:pt x="1524" y="1422"/>
                  </a:lnTo>
                  <a:lnTo>
                    <a:pt x="1512" y="1410"/>
                  </a:lnTo>
                  <a:lnTo>
                    <a:pt x="1506" y="1404"/>
                  </a:lnTo>
                  <a:lnTo>
                    <a:pt x="1506" y="1398"/>
                  </a:lnTo>
                  <a:lnTo>
                    <a:pt x="1494" y="1392"/>
                  </a:lnTo>
                  <a:lnTo>
                    <a:pt x="1476" y="1404"/>
                  </a:lnTo>
                  <a:lnTo>
                    <a:pt x="1464" y="1416"/>
                  </a:lnTo>
                  <a:lnTo>
                    <a:pt x="1458" y="1428"/>
                  </a:lnTo>
                  <a:lnTo>
                    <a:pt x="1446" y="1434"/>
                  </a:lnTo>
                  <a:lnTo>
                    <a:pt x="1410" y="1440"/>
                  </a:lnTo>
                  <a:lnTo>
                    <a:pt x="1398" y="1440"/>
                  </a:lnTo>
                  <a:lnTo>
                    <a:pt x="1398" y="1446"/>
                  </a:lnTo>
                  <a:lnTo>
                    <a:pt x="1386" y="1446"/>
                  </a:lnTo>
                  <a:lnTo>
                    <a:pt x="1380" y="1440"/>
                  </a:lnTo>
                  <a:lnTo>
                    <a:pt x="1368" y="1440"/>
                  </a:lnTo>
                  <a:lnTo>
                    <a:pt x="1368" y="1446"/>
                  </a:lnTo>
                  <a:lnTo>
                    <a:pt x="1356" y="1446"/>
                  </a:lnTo>
                  <a:lnTo>
                    <a:pt x="1350" y="1452"/>
                  </a:lnTo>
                  <a:lnTo>
                    <a:pt x="1338" y="1452"/>
                  </a:lnTo>
                  <a:lnTo>
                    <a:pt x="1338" y="1458"/>
                  </a:lnTo>
                  <a:lnTo>
                    <a:pt x="1332" y="1458"/>
                  </a:lnTo>
                  <a:lnTo>
                    <a:pt x="1332" y="1464"/>
                  </a:lnTo>
                  <a:lnTo>
                    <a:pt x="1332" y="1470"/>
                  </a:lnTo>
                  <a:lnTo>
                    <a:pt x="1326" y="1470"/>
                  </a:lnTo>
                  <a:lnTo>
                    <a:pt x="1320" y="1470"/>
                  </a:lnTo>
                  <a:lnTo>
                    <a:pt x="1314" y="1470"/>
                  </a:lnTo>
                  <a:lnTo>
                    <a:pt x="1314" y="1464"/>
                  </a:lnTo>
                  <a:lnTo>
                    <a:pt x="1308" y="1464"/>
                  </a:lnTo>
                  <a:lnTo>
                    <a:pt x="1308" y="1452"/>
                  </a:lnTo>
                  <a:lnTo>
                    <a:pt x="1284" y="1458"/>
                  </a:lnTo>
                  <a:lnTo>
                    <a:pt x="1272" y="1458"/>
                  </a:lnTo>
                  <a:lnTo>
                    <a:pt x="1272" y="1464"/>
                  </a:lnTo>
                  <a:lnTo>
                    <a:pt x="1260" y="1464"/>
                  </a:lnTo>
                  <a:lnTo>
                    <a:pt x="1254" y="1464"/>
                  </a:lnTo>
                  <a:lnTo>
                    <a:pt x="1242" y="1422"/>
                  </a:lnTo>
                  <a:lnTo>
                    <a:pt x="1242" y="1416"/>
                  </a:lnTo>
                  <a:lnTo>
                    <a:pt x="1242" y="1410"/>
                  </a:lnTo>
                  <a:lnTo>
                    <a:pt x="1248" y="1410"/>
                  </a:lnTo>
                  <a:lnTo>
                    <a:pt x="1242" y="1410"/>
                  </a:lnTo>
                  <a:lnTo>
                    <a:pt x="1242" y="1404"/>
                  </a:lnTo>
                  <a:lnTo>
                    <a:pt x="1242" y="1398"/>
                  </a:lnTo>
                  <a:lnTo>
                    <a:pt x="1248" y="1392"/>
                  </a:lnTo>
                  <a:lnTo>
                    <a:pt x="1248" y="1386"/>
                  </a:lnTo>
                  <a:lnTo>
                    <a:pt x="1242" y="1380"/>
                  </a:lnTo>
                  <a:lnTo>
                    <a:pt x="1248" y="1380"/>
                  </a:lnTo>
                  <a:lnTo>
                    <a:pt x="1248" y="1374"/>
                  </a:lnTo>
                  <a:lnTo>
                    <a:pt x="1248" y="1368"/>
                  </a:lnTo>
                  <a:lnTo>
                    <a:pt x="1254" y="1368"/>
                  </a:lnTo>
                  <a:lnTo>
                    <a:pt x="1254" y="1362"/>
                  </a:lnTo>
                  <a:lnTo>
                    <a:pt x="1248" y="1356"/>
                  </a:lnTo>
                  <a:lnTo>
                    <a:pt x="1254" y="1356"/>
                  </a:lnTo>
                  <a:lnTo>
                    <a:pt x="1254" y="1344"/>
                  </a:lnTo>
                  <a:lnTo>
                    <a:pt x="1242" y="1338"/>
                  </a:lnTo>
                  <a:lnTo>
                    <a:pt x="1242" y="1326"/>
                  </a:lnTo>
                  <a:lnTo>
                    <a:pt x="1230" y="1326"/>
                  </a:lnTo>
                  <a:lnTo>
                    <a:pt x="1230" y="1314"/>
                  </a:lnTo>
                  <a:lnTo>
                    <a:pt x="1218" y="1314"/>
                  </a:lnTo>
                  <a:lnTo>
                    <a:pt x="1200" y="1272"/>
                  </a:lnTo>
                  <a:lnTo>
                    <a:pt x="1194" y="1242"/>
                  </a:lnTo>
                  <a:lnTo>
                    <a:pt x="1194" y="1206"/>
                  </a:lnTo>
                  <a:lnTo>
                    <a:pt x="1182" y="1200"/>
                  </a:lnTo>
                  <a:lnTo>
                    <a:pt x="1164" y="1206"/>
                  </a:lnTo>
                  <a:lnTo>
                    <a:pt x="1146" y="1212"/>
                  </a:lnTo>
                  <a:lnTo>
                    <a:pt x="1146" y="1218"/>
                  </a:lnTo>
                  <a:lnTo>
                    <a:pt x="1134" y="1224"/>
                  </a:lnTo>
                  <a:lnTo>
                    <a:pt x="1140" y="1260"/>
                  </a:lnTo>
                  <a:lnTo>
                    <a:pt x="1134" y="1266"/>
                  </a:lnTo>
                  <a:lnTo>
                    <a:pt x="1122" y="1266"/>
                  </a:lnTo>
                  <a:lnTo>
                    <a:pt x="1110" y="1236"/>
                  </a:lnTo>
                  <a:lnTo>
                    <a:pt x="1110" y="1224"/>
                  </a:lnTo>
                  <a:lnTo>
                    <a:pt x="1086" y="1224"/>
                  </a:lnTo>
                  <a:lnTo>
                    <a:pt x="1086" y="1212"/>
                  </a:lnTo>
                  <a:lnTo>
                    <a:pt x="1074" y="1212"/>
                  </a:lnTo>
                  <a:lnTo>
                    <a:pt x="1050" y="1212"/>
                  </a:lnTo>
                  <a:lnTo>
                    <a:pt x="1056" y="1218"/>
                  </a:lnTo>
                  <a:lnTo>
                    <a:pt x="1050" y="1272"/>
                  </a:lnTo>
                  <a:lnTo>
                    <a:pt x="1044" y="1272"/>
                  </a:lnTo>
                  <a:lnTo>
                    <a:pt x="1038" y="1284"/>
                  </a:lnTo>
                  <a:lnTo>
                    <a:pt x="1032" y="1302"/>
                  </a:lnTo>
                  <a:lnTo>
                    <a:pt x="1014" y="1302"/>
                  </a:lnTo>
                  <a:lnTo>
                    <a:pt x="1020" y="1284"/>
                  </a:lnTo>
                  <a:lnTo>
                    <a:pt x="1026" y="1278"/>
                  </a:lnTo>
                  <a:lnTo>
                    <a:pt x="1026" y="1266"/>
                  </a:lnTo>
                  <a:lnTo>
                    <a:pt x="1014" y="1260"/>
                  </a:lnTo>
                  <a:lnTo>
                    <a:pt x="1014" y="1272"/>
                  </a:lnTo>
                  <a:lnTo>
                    <a:pt x="990" y="1278"/>
                  </a:lnTo>
                  <a:lnTo>
                    <a:pt x="990" y="1254"/>
                  </a:lnTo>
                  <a:lnTo>
                    <a:pt x="984" y="1254"/>
                  </a:lnTo>
                  <a:lnTo>
                    <a:pt x="978" y="1242"/>
                  </a:lnTo>
                  <a:lnTo>
                    <a:pt x="972" y="1236"/>
                  </a:lnTo>
                  <a:lnTo>
                    <a:pt x="960" y="1206"/>
                  </a:lnTo>
                  <a:lnTo>
                    <a:pt x="942" y="1206"/>
                  </a:lnTo>
                  <a:lnTo>
                    <a:pt x="936" y="1200"/>
                  </a:lnTo>
                  <a:lnTo>
                    <a:pt x="906" y="1212"/>
                  </a:lnTo>
                  <a:lnTo>
                    <a:pt x="888" y="1230"/>
                  </a:lnTo>
                  <a:lnTo>
                    <a:pt x="876" y="1230"/>
                  </a:lnTo>
                  <a:lnTo>
                    <a:pt x="864" y="1236"/>
                  </a:lnTo>
                  <a:lnTo>
                    <a:pt x="858" y="1236"/>
                  </a:lnTo>
                  <a:lnTo>
                    <a:pt x="852" y="1254"/>
                  </a:lnTo>
                  <a:lnTo>
                    <a:pt x="858" y="1254"/>
                  </a:lnTo>
                  <a:lnTo>
                    <a:pt x="840" y="1266"/>
                  </a:lnTo>
                  <a:lnTo>
                    <a:pt x="828" y="1272"/>
                  </a:lnTo>
                  <a:lnTo>
                    <a:pt x="828" y="1284"/>
                  </a:lnTo>
                  <a:lnTo>
                    <a:pt x="822" y="1284"/>
                  </a:lnTo>
                  <a:lnTo>
                    <a:pt x="804" y="1296"/>
                  </a:lnTo>
                  <a:lnTo>
                    <a:pt x="804" y="1308"/>
                  </a:lnTo>
                  <a:lnTo>
                    <a:pt x="816" y="1320"/>
                  </a:lnTo>
                  <a:lnTo>
                    <a:pt x="828" y="1320"/>
                  </a:lnTo>
                  <a:lnTo>
                    <a:pt x="822" y="1338"/>
                  </a:lnTo>
                  <a:lnTo>
                    <a:pt x="852" y="1344"/>
                  </a:lnTo>
                  <a:lnTo>
                    <a:pt x="864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94" y="1356"/>
                  </a:lnTo>
                  <a:lnTo>
                    <a:pt x="912" y="1368"/>
                  </a:lnTo>
                  <a:lnTo>
                    <a:pt x="918" y="1380"/>
                  </a:lnTo>
                  <a:lnTo>
                    <a:pt x="936" y="1380"/>
                  </a:lnTo>
                  <a:lnTo>
                    <a:pt x="960" y="1386"/>
                  </a:lnTo>
                  <a:lnTo>
                    <a:pt x="990" y="1386"/>
                  </a:lnTo>
                  <a:lnTo>
                    <a:pt x="990" y="1392"/>
                  </a:lnTo>
                  <a:lnTo>
                    <a:pt x="1020" y="1398"/>
                  </a:lnTo>
                  <a:lnTo>
                    <a:pt x="1014" y="1404"/>
                  </a:lnTo>
                  <a:lnTo>
                    <a:pt x="1008" y="1404"/>
                  </a:lnTo>
                  <a:lnTo>
                    <a:pt x="1014" y="1440"/>
                  </a:lnTo>
                  <a:lnTo>
                    <a:pt x="1020" y="1458"/>
                  </a:lnTo>
                  <a:lnTo>
                    <a:pt x="1026" y="1476"/>
                  </a:lnTo>
                  <a:lnTo>
                    <a:pt x="1020" y="1476"/>
                  </a:lnTo>
                  <a:lnTo>
                    <a:pt x="1014" y="1476"/>
                  </a:lnTo>
                  <a:lnTo>
                    <a:pt x="1014" y="1482"/>
                  </a:lnTo>
                  <a:lnTo>
                    <a:pt x="1014" y="1488"/>
                  </a:lnTo>
                  <a:lnTo>
                    <a:pt x="1002" y="1488"/>
                  </a:lnTo>
                  <a:lnTo>
                    <a:pt x="1002" y="1494"/>
                  </a:lnTo>
                  <a:lnTo>
                    <a:pt x="996" y="1494"/>
                  </a:lnTo>
                  <a:lnTo>
                    <a:pt x="996" y="1518"/>
                  </a:lnTo>
                  <a:lnTo>
                    <a:pt x="1002" y="1524"/>
                  </a:lnTo>
                  <a:lnTo>
                    <a:pt x="1020" y="1530"/>
                  </a:lnTo>
                  <a:lnTo>
                    <a:pt x="1026" y="1542"/>
                  </a:lnTo>
                  <a:lnTo>
                    <a:pt x="1032" y="1566"/>
                  </a:lnTo>
                  <a:lnTo>
                    <a:pt x="1038" y="1578"/>
                  </a:lnTo>
                  <a:lnTo>
                    <a:pt x="1032" y="1584"/>
                  </a:lnTo>
                  <a:lnTo>
                    <a:pt x="1020" y="1584"/>
                  </a:lnTo>
                  <a:lnTo>
                    <a:pt x="1014" y="1584"/>
                  </a:lnTo>
                  <a:lnTo>
                    <a:pt x="1008" y="1596"/>
                  </a:lnTo>
                  <a:lnTo>
                    <a:pt x="990" y="1584"/>
                  </a:lnTo>
                  <a:lnTo>
                    <a:pt x="984" y="1602"/>
                  </a:lnTo>
                  <a:lnTo>
                    <a:pt x="978" y="1608"/>
                  </a:lnTo>
                  <a:lnTo>
                    <a:pt x="966" y="1608"/>
                  </a:lnTo>
                  <a:lnTo>
                    <a:pt x="960" y="1614"/>
                  </a:lnTo>
                  <a:lnTo>
                    <a:pt x="954" y="1614"/>
                  </a:lnTo>
                  <a:lnTo>
                    <a:pt x="942" y="1620"/>
                  </a:lnTo>
                  <a:lnTo>
                    <a:pt x="936" y="1620"/>
                  </a:lnTo>
                  <a:lnTo>
                    <a:pt x="930" y="1620"/>
                  </a:lnTo>
                  <a:lnTo>
                    <a:pt x="930" y="1626"/>
                  </a:lnTo>
                  <a:lnTo>
                    <a:pt x="930" y="1632"/>
                  </a:lnTo>
                  <a:lnTo>
                    <a:pt x="918" y="1632"/>
                  </a:lnTo>
                  <a:lnTo>
                    <a:pt x="912" y="1632"/>
                  </a:lnTo>
                  <a:lnTo>
                    <a:pt x="906" y="1632"/>
                  </a:lnTo>
                  <a:lnTo>
                    <a:pt x="900" y="1632"/>
                  </a:lnTo>
                  <a:lnTo>
                    <a:pt x="894" y="1626"/>
                  </a:lnTo>
                  <a:lnTo>
                    <a:pt x="894" y="1614"/>
                  </a:lnTo>
                  <a:lnTo>
                    <a:pt x="840" y="1614"/>
                  </a:lnTo>
                  <a:lnTo>
                    <a:pt x="840" y="1626"/>
                  </a:lnTo>
                  <a:lnTo>
                    <a:pt x="834" y="1626"/>
                  </a:lnTo>
                  <a:lnTo>
                    <a:pt x="828" y="1632"/>
                  </a:lnTo>
                  <a:lnTo>
                    <a:pt x="822" y="1638"/>
                  </a:lnTo>
                  <a:lnTo>
                    <a:pt x="822" y="1644"/>
                  </a:lnTo>
                  <a:lnTo>
                    <a:pt x="834" y="1650"/>
                  </a:lnTo>
                  <a:lnTo>
                    <a:pt x="840" y="1662"/>
                  </a:lnTo>
                  <a:lnTo>
                    <a:pt x="840" y="1668"/>
                  </a:lnTo>
                  <a:lnTo>
                    <a:pt x="858" y="1680"/>
                  </a:lnTo>
                  <a:lnTo>
                    <a:pt x="858" y="1752"/>
                  </a:lnTo>
                  <a:lnTo>
                    <a:pt x="864" y="1782"/>
                  </a:lnTo>
                  <a:lnTo>
                    <a:pt x="876" y="1788"/>
                  </a:lnTo>
                  <a:lnTo>
                    <a:pt x="870" y="1854"/>
                  </a:lnTo>
                  <a:lnTo>
                    <a:pt x="870" y="1884"/>
                  </a:lnTo>
                  <a:lnTo>
                    <a:pt x="864" y="1884"/>
                  </a:lnTo>
                  <a:lnTo>
                    <a:pt x="846" y="1896"/>
                  </a:lnTo>
                  <a:lnTo>
                    <a:pt x="840" y="1896"/>
                  </a:lnTo>
                  <a:lnTo>
                    <a:pt x="834" y="1896"/>
                  </a:lnTo>
                  <a:lnTo>
                    <a:pt x="828" y="1890"/>
                  </a:lnTo>
                  <a:lnTo>
                    <a:pt x="822" y="1890"/>
                  </a:lnTo>
                  <a:lnTo>
                    <a:pt x="816" y="1896"/>
                  </a:lnTo>
                  <a:lnTo>
                    <a:pt x="804" y="1896"/>
                  </a:lnTo>
                  <a:lnTo>
                    <a:pt x="804" y="1890"/>
                  </a:lnTo>
                  <a:lnTo>
                    <a:pt x="780" y="1896"/>
                  </a:lnTo>
                  <a:lnTo>
                    <a:pt x="780" y="1902"/>
                  </a:lnTo>
                  <a:lnTo>
                    <a:pt x="774" y="1914"/>
                  </a:lnTo>
                  <a:lnTo>
                    <a:pt x="762" y="1926"/>
                  </a:lnTo>
                  <a:lnTo>
                    <a:pt x="762" y="1950"/>
                  </a:lnTo>
                  <a:lnTo>
                    <a:pt x="762" y="1962"/>
                  </a:lnTo>
                  <a:lnTo>
                    <a:pt x="780" y="1974"/>
                  </a:lnTo>
                  <a:lnTo>
                    <a:pt x="780" y="1986"/>
                  </a:lnTo>
                  <a:lnTo>
                    <a:pt x="780" y="1998"/>
                  </a:lnTo>
                  <a:lnTo>
                    <a:pt x="756" y="1998"/>
                  </a:lnTo>
                  <a:lnTo>
                    <a:pt x="720" y="1992"/>
                  </a:lnTo>
                  <a:lnTo>
                    <a:pt x="666" y="1998"/>
                  </a:lnTo>
                  <a:lnTo>
                    <a:pt x="654" y="1998"/>
                  </a:lnTo>
                  <a:lnTo>
                    <a:pt x="660" y="1974"/>
                  </a:lnTo>
                  <a:lnTo>
                    <a:pt x="666" y="1962"/>
                  </a:lnTo>
                  <a:lnTo>
                    <a:pt x="678" y="1950"/>
                  </a:lnTo>
                  <a:lnTo>
                    <a:pt x="696" y="1932"/>
                  </a:lnTo>
                  <a:lnTo>
                    <a:pt x="696" y="1920"/>
                  </a:lnTo>
                  <a:lnTo>
                    <a:pt x="696" y="1896"/>
                  </a:lnTo>
                  <a:lnTo>
                    <a:pt x="678" y="1896"/>
                  </a:lnTo>
                  <a:lnTo>
                    <a:pt x="672" y="1884"/>
                  </a:lnTo>
                  <a:lnTo>
                    <a:pt x="672" y="1776"/>
                  </a:lnTo>
                  <a:lnTo>
                    <a:pt x="678" y="1758"/>
                  </a:lnTo>
                  <a:lnTo>
                    <a:pt x="678" y="1740"/>
                  </a:lnTo>
                  <a:lnTo>
                    <a:pt x="684" y="1728"/>
                  </a:lnTo>
                  <a:lnTo>
                    <a:pt x="690" y="1722"/>
                  </a:lnTo>
                  <a:lnTo>
                    <a:pt x="702" y="1722"/>
                  </a:lnTo>
                  <a:lnTo>
                    <a:pt x="708" y="1716"/>
                  </a:lnTo>
                  <a:lnTo>
                    <a:pt x="714" y="1710"/>
                  </a:lnTo>
                  <a:lnTo>
                    <a:pt x="720" y="1698"/>
                  </a:lnTo>
                  <a:lnTo>
                    <a:pt x="732" y="1692"/>
                  </a:lnTo>
                  <a:lnTo>
                    <a:pt x="744" y="1686"/>
                  </a:lnTo>
                  <a:lnTo>
                    <a:pt x="756" y="1680"/>
                  </a:lnTo>
                  <a:lnTo>
                    <a:pt x="768" y="1668"/>
                  </a:lnTo>
                  <a:lnTo>
                    <a:pt x="768" y="1650"/>
                  </a:lnTo>
                  <a:lnTo>
                    <a:pt x="774" y="1632"/>
                  </a:lnTo>
                  <a:lnTo>
                    <a:pt x="768" y="1620"/>
                  </a:lnTo>
                  <a:lnTo>
                    <a:pt x="774" y="1608"/>
                  </a:lnTo>
                  <a:lnTo>
                    <a:pt x="774" y="1578"/>
                  </a:lnTo>
                  <a:lnTo>
                    <a:pt x="774" y="1572"/>
                  </a:lnTo>
                  <a:lnTo>
                    <a:pt x="780" y="1560"/>
                  </a:lnTo>
                  <a:lnTo>
                    <a:pt x="780" y="1554"/>
                  </a:lnTo>
                  <a:lnTo>
                    <a:pt x="786" y="1542"/>
                  </a:lnTo>
                  <a:lnTo>
                    <a:pt x="792" y="1530"/>
                  </a:lnTo>
                  <a:lnTo>
                    <a:pt x="792" y="1518"/>
                  </a:lnTo>
                  <a:lnTo>
                    <a:pt x="792" y="1506"/>
                  </a:lnTo>
                  <a:lnTo>
                    <a:pt x="786" y="1500"/>
                  </a:lnTo>
                  <a:lnTo>
                    <a:pt x="774" y="1488"/>
                  </a:lnTo>
                  <a:lnTo>
                    <a:pt x="774" y="1482"/>
                  </a:lnTo>
                  <a:lnTo>
                    <a:pt x="762" y="1488"/>
                  </a:lnTo>
                  <a:lnTo>
                    <a:pt x="756" y="1494"/>
                  </a:lnTo>
                  <a:lnTo>
                    <a:pt x="744" y="1500"/>
                  </a:lnTo>
                  <a:lnTo>
                    <a:pt x="732" y="1506"/>
                  </a:lnTo>
                  <a:lnTo>
                    <a:pt x="726" y="1506"/>
                  </a:lnTo>
                  <a:lnTo>
                    <a:pt x="720" y="1506"/>
                  </a:lnTo>
                  <a:lnTo>
                    <a:pt x="702" y="1506"/>
                  </a:lnTo>
                  <a:lnTo>
                    <a:pt x="690" y="1500"/>
                  </a:lnTo>
                  <a:lnTo>
                    <a:pt x="678" y="1500"/>
                  </a:lnTo>
                  <a:lnTo>
                    <a:pt x="672" y="1500"/>
                  </a:lnTo>
                  <a:lnTo>
                    <a:pt x="660" y="1506"/>
                  </a:lnTo>
                  <a:lnTo>
                    <a:pt x="654" y="1506"/>
                  </a:lnTo>
                  <a:lnTo>
                    <a:pt x="648" y="1512"/>
                  </a:lnTo>
                  <a:lnTo>
                    <a:pt x="648" y="1518"/>
                  </a:lnTo>
                  <a:lnTo>
                    <a:pt x="618" y="1518"/>
                  </a:lnTo>
                  <a:lnTo>
                    <a:pt x="534" y="1494"/>
                  </a:lnTo>
                  <a:lnTo>
                    <a:pt x="528" y="1458"/>
                  </a:lnTo>
                  <a:lnTo>
                    <a:pt x="510" y="1458"/>
                  </a:lnTo>
                  <a:lnTo>
                    <a:pt x="492" y="1440"/>
                  </a:lnTo>
                  <a:lnTo>
                    <a:pt x="462" y="1440"/>
                  </a:lnTo>
                  <a:lnTo>
                    <a:pt x="456" y="1428"/>
                  </a:lnTo>
                  <a:lnTo>
                    <a:pt x="420" y="1428"/>
                  </a:lnTo>
                  <a:lnTo>
                    <a:pt x="390" y="1446"/>
                  </a:lnTo>
                  <a:lnTo>
                    <a:pt x="312" y="1452"/>
                  </a:lnTo>
                  <a:lnTo>
                    <a:pt x="300" y="1446"/>
                  </a:lnTo>
                  <a:lnTo>
                    <a:pt x="294" y="1446"/>
                  </a:lnTo>
                  <a:lnTo>
                    <a:pt x="288" y="1446"/>
                  </a:lnTo>
                  <a:lnTo>
                    <a:pt x="282" y="1440"/>
                  </a:lnTo>
                  <a:lnTo>
                    <a:pt x="276" y="1440"/>
                  </a:lnTo>
                  <a:lnTo>
                    <a:pt x="270" y="1440"/>
                  </a:lnTo>
                  <a:lnTo>
                    <a:pt x="264" y="1440"/>
                  </a:lnTo>
                  <a:lnTo>
                    <a:pt x="258" y="1434"/>
                  </a:lnTo>
                  <a:lnTo>
                    <a:pt x="252" y="1434"/>
                  </a:lnTo>
                  <a:lnTo>
                    <a:pt x="246" y="1428"/>
                  </a:lnTo>
                  <a:lnTo>
                    <a:pt x="240" y="1416"/>
                  </a:lnTo>
                  <a:lnTo>
                    <a:pt x="234" y="1404"/>
                  </a:lnTo>
                  <a:lnTo>
                    <a:pt x="228" y="1398"/>
                  </a:lnTo>
                  <a:lnTo>
                    <a:pt x="222" y="1398"/>
                  </a:lnTo>
                  <a:lnTo>
                    <a:pt x="216" y="1404"/>
                  </a:lnTo>
                  <a:lnTo>
                    <a:pt x="210" y="1404"/>
                  </a:lnTo>
                  <a:lnTo>
                    <a:pt x="204" y="1404"/>
                  </a:lnTo>
                  <a:lnTo>
                    <a:pt x="204" y="1398"/>
                  </a:lnTo>
                  <a:lnTo>
                    <a:pt x="198" y="1392"/>
                  </a:lnTo>
                  <a:lnTo>
                    <a:pt x="192" y="1386"/>
                  </a:lnTo>
                  <a:lnTo>
                    <a:pt x="168" y="1374"/>
                  </a:lnTo>
                  <a:lnTo>
                    <a:pt x="144" y="13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0" name="Freeform 35">
              <a:extLst>
                <a:ext uri="{FF2B5EF4-FFF2-40B4-BE49-F238E27FC236}">
                  <a16:creationId xmlns:a16="http://schemas.microsoft.com/office/drawing/2014/main" id="{F64BF16E-9D62-438E-A1CC-CD4088AC7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2895" y="1706004"/>
              <a:ext cx="767013" cy="785011"/>
            </a:xfrm>
            <a:custGeom>
              <a:avLst/>
              <a:gdLst>
                <a:gd name="T0" fmla="*/ 102 w 1440"/>
                <a:gd name="T1" fmla="*/ 104 h 1476"/>
                <a:gd name="T2" fmla="*/ 99 w 1440"/>
                <a:gd name="T3" fmla="*/ 108 h 1476"/>
                <a:gd name="T4" fmla="*/ 98 w 1440"/>
                <a:gd name="T5" fmla="*/ 112 h 1476"/>
                <a:gd name="T6" fmla="*/ 96 w 1440"/>
                <a:gd name="T7" fmla="*/ 116 h 1476"/>
                <a:gd name="T8" fmla="*/ 91 w 1440"/>
                <a:gd name="T9" fmla="*/ 118 h 1476"/>
                <a:gd name="T10" fmla="*/ 87 w 1440"/>
                <a:gd name="T11" fmla="*/ 120 h 1476"/>
                <a:gd name="T12" fmla="*/ 75 w 1440"/>
                <a:gd name="T13" fmla="*/ 120 h 1476"/>
                <a:gd name="T14" fmla="*/ 72 w 1440"/>
                <a:gd name="T15" fmla="*/ 123 h 1476"/>
                <a:gd name="T16" fmla="*/ 69 w 1440"/>
                <a:gd name="T17" fmla="*/ 128 h 1476"/>
                <a:gd name="T18" fmla="*/ 67 w 1440"/>
                <a:gd name="T19" fmla="*/ 127 h 1476"/>
                <a:gd name="T20" fmla="*/ 66 w 1440"/>
                <a:gd name="T21" fmla="*/ 123 h 1476"/>
                <a:gd name="T22" fmla="*/ 63 w 1440"/>
                <a:gd name="T23" fmla="*/ 119 h 1476"/>
                <a:gd name="T24" fmla="*/ 54 w 1440"/>
                <a:gd name="T25" fmla="*/ 114 h 1476"/>
                <a:gd name="T26" fmla="*/ 55 w 1440"/>
                <a:gd name="T27" fmla="*/ 106 h 1476"/>
                <a:gd name="T28" fmla="*/ 60 w 1440"/>
                <a:gd name="T29" fmla="*/ 100 h 1476"/>
                <a:gd name="T30" fmla="*/ 55 w 1440"/>
                <a:gd name="T31" fmla="*/ 91 h 1476"/>
                <a:gd name="T32" fmla="*/ 51 w 1440"/>
                <a:gd name="T33" fmla="*/ 86 h 1476"/>
                <a:gd name="T34" fmla="*/ 47 w 1440"/>
                <a:gd name="T35" fmla="*/ 85 h 1476"/>
                <a:gd name="T36" fmla="*/ 44 w 1440"/>
                <a:gd name="T37" fmla="*/ 82 h 1476"/>
                <a:gd name="T38" fmla="*/ 41 w 1440"/>
                <a:gd name="T39" fmla="*/ 83 h 1476"/>
                <a:gd name="T40" fmla="*/ 36 w 1440"/>
                <a:gd name="T41" fmla="*/ 83 h 1476"/>
                <a:gd name="T42" fmla="*/ 33 w 1440"/>
                <a:gd name="T43" fmla="*/ 83 h 1476"/>
                <a:gd name="T44" fmla="*/ 30 w 1440"/>
                <a:gd name="T45" fmla="*/ 83 h 1476"/>
                <a:gd name="T46" fmla="*/ 27 w 1440"/>
                <a:gd name="T47" fmla="*/ 83 h 1476"/>
                <a:gd name="T48" fmla="*/ 24 w 1440"/>
                <a:gd name="T49" fmla="*/ 82 h 1476"/>
                <a:gd name="T50" fmla="*/ 21 w 1440"/>
                <a:gd name="T51" fmla="*/ 80 h 1476"/>
                <a:gd name="T52" fmla="*/ 18 w 1440"/>
                <a:gd name="T53" fmla="*/ 79 h 1476"/>
                <a:gd name="T54" fmla="*/ 17 w 1440"/>
                <a:gd name="T55" fmla="*/ 78 h 1476"/>
                <a:gd name="T56" fmla="*/ 12 w 1440"/>
                <a:gd name="T57" fmla="*/ 78 h 1476"/>
                <a:gd name="T58" fmla="*/ 12 w 1440"/>
                <a:gd name="T59" fmla="*/ 78 h 1476"/>
                <a:gd name="T60" fmla="*/ 7 w 1440"/>
                <a:gd name="T61" fmla="*/ 80 h 1476"/>
                <a:gd name="T62" fmla="*/ 3 w 1440"/>
                <a:gd name="T63" fmla="*/ 81 h 1476"/>
                <a:gd name="T64" fmla="*/ 0 w 1440"/>
                <a:gd name="T65" fmla="*/ 76 h 1476"/>
                <a:gd name="T66" fmla="*/ 1 w 1440"/>
                <a:gd name="T67" fmla="*/ 50 h 1476"/>
                <a:gd name="T68" fmla="*/ 8 w 1440"/>
                <a:gd name="T69" fmla="*/ 48 h 1476"/>
                <a:gd name="T70" fmla="*/ 20 w 1440"/>
                <a:gd name="T71" fmla="*/ 49 h 1476"/>
                <a:gd name="T72" fmla="*/ 26 w 1440"/>
                <a:gd name="T73" fmla="*/ 50 h 1476"/>
                <a:gd name="T74" fmla="*/ 44 w 1440"/>
                <a:gd name="T75" fmla="*/ 47 h 1476"/>
                <a:gd name="T76" fmla="*/ 41 w 1440"/>
                <a:gd name="T77" fmla="*/ 24 h 1476"/>
                <a:gd name="T78" fmla="*/ 44 w 1440"/>
                <a:gd name="T79" fmla="*/ 20 h 1476"/>
                <a:gd name="T80" fmla="*/ 47 w 1440"/>
                <a:gd name="T81" fmla="*/ 18 h 1476"/>
                <a:gd name="T82" fmla="*/ 54 w 1440"/>
                <a:gd name="T83" fmla="*/ 21 h 1476"/>
                <a:gd name="T84" fmla="*/ 61 w 1440"/>
                <a:gd name="T85" fmla="*/ 23 h 1476"/>
                <a:gd name="T86" fmla="*/ 59 w 1440"/>
                <a:gd name="T87" fmla="*/ 14 h 1476"/>
                <a:gd name="T88" fmla="*/ 61 w 1440"/>
                <a:gd name="T89" fmla="*/ 8 h 1476"/>
                <a:gd name="T90" fmla="*/ 71 w 1440"/>
                <a:gd name="T91" fmla="*/ 7 h 1476"/>
                <a:gd name="T92" fmla="*/ 75 w 1440"/>
                <a:gd name="T93" fmla="*/ 0 h 1476"/>
                <a:gd name="T94" fmla="*/ 82 w 1440"/>
                <a:gd name="T95" fmla="*/ 3 h 1476"/>
                <a:gd name="T96" fmla="*/ 93 w 1440"/>
                <a:gd name="T97" fmla="*/ 5 h 1476"/>
                <a:gd name="T98" fmla="*/ 100 w 1440"/>
                <a:gd name="T99" fmla="*/ 1 h 1476"/>
                <a:gd name="T100" fmla="*/ 104 w 1440"/>
                <a:gd name="T101" fmla="*/ 4 h 1476"/>
                <a:gd name="T102" fmla="*/ 110 w 1440"/>
                <a:gd name="T103" fmla="*/ 10 h 1476"/>
                <a:gd name="T104" fmla="*/ 115 w 1440"/>
                <a:gd name="T105" fmla="*/ 23 h 1476"/>
                <a:gd name="T106" fmla="*/ 117 w 1440"/>
                <a:gd name="T107" fmla="*/ 42 h 1476"/>
                <a:gd name="T108" fmla="*/ 121 w 1440"/>
                <a:gd name="T109" fmla="*/ 52 h 1476"/>
                <a:gd name="T110" fmla="*/ 118 w 1440"/>
                <a:gd name="T111" fmla="*/ 62 h 1476"/>
                <a:gd name="T112" fmla="*/ 124 w 1440"/>
                <a:gd name="T113" fmla="*/ 66 h 1476"/>
                <a:gd name="T114" fmla="*/ 121 w 1440"/>
                <a:gd name="T115" fmla="*/ 71 h 1476"/>
                <a:gd name="T116" fmla="*/ 115 w 1440"/>
                <a:gd name="T117" fmla="*/ 76 h 1476"/>
                <a:gd name="T118" fmla="*/ 109 w 1440"/>
                <a:gd name="T119" fmla="*/ 76 h 1476"/>
                <a:gd name="T120" fmla="*/ 105 w 1440"/>
                <a:gd name="T121" fmla="*/ 86 h 1476"/>
                <a:gd name="T122" fmla="*/ 107 w 1440"/>
                <a:gd name="T123" fmla="*/ 97 h 147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40"/>
                <a:gd name="T187" fmla="*/ 0 h 1476"/>
                <a:gd name="T188" fmla="*/ 1440 w 1440"/>
                <a:gd name="T189" fmla="*/ 1476 h 147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40" h="1476">
                  <a:moveTo>
                    <a:pt x="1212" y="1164"/>
                  </a:moveTo>
                  <a:lnTo>
                    <a:pt x="1206" y="1170"/>
                  </a:lnTo>
                  <a:lnTo>
                    <a:pt x="1200" y="1176"/>
                  </a:lnTo>
                  <a:lnTo>
                    <a:pt x="1194" y="1176"/>
                  </a:lnTo>
                  <a:lnTo>
                    <a:pt x="1188" y="1188"/>
                  </a:lnTo>
                  <a:lnTo>
                    <a:pt x="1182" y="1194"/>
                  </a:lnTo>
                  <a:lnTo>
                    <a:pt x="1176" y="1194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64" y="1206"/>
                  </a:lnTo>
                  <a:lnTo>
                    <a:pt x="1158" y="1206"/>
                  </a:lnTo>
                  <a:lnTo>
                    <a:pt x="1152" y="1212"/>
                  </a:lnTo>
                  <a:lnTo>
                    <a:pt x="1146" y="1212"/>
                  </a:lnTo>
                  <a:lnTo>
                    <a:pt x="1140" y="1224"/>
                  </a:lnTo>
                  <a:lnTo>
                    <a:pt x="1134" y="1230"/>
                  </a:lnTo>
                  <a:lnTo>
                    <a:pt x="1128" y="1236"/>
                  </a:lnTo>
                  <a:lnTo>
                    <a:pt x="1128" y="1242"/>
                  </a:lnTo>
                  <a:lnTo>
                    <a:pt x="1128" y="1254"/>
                  </a:lnTo>
                  <a:lnTo>
                    <a:pt x="1128" y="1260"/>
                  </a:lnTo>
                  <a:lnTo>
                    <a:pt x="1122" y="1260"/>
                  </a:lnTo>
                  <a:lnTo>
                    <a:pt x="1122" y="1266"/>
                  </a:lnTo>
                  <a:lnTo>
                    <a:pt x="1128" y="1278"/>
                  </a:lnTo>
                  <a:lnTo>
                    <a:pt x="1122" y="1278"/>
                  </a:lnTo>
                  <a:lnTo>
                    <a:pt x="1122" y="1284"/>
                  </a:lnTo>
                  <a:lnTo>
                    <a:pt x="1128" y="1290"/>
                  </a:lnTo>
                  <a:lnTo>
                    <a:pt x="1122" y="1296"/>
                  </a:lnTo>
                  <a:lnTo>
                    <a:pt x="1122" y="1302"/>
                  </a:lnTo>
                  <a:lnTo>
                    <a:pt x="1116" y="1302"/>
                  </a:lnTo>
                  <a:lnTo>
                    <a:pt x="1110" y="1314"/>
                  </a:lnTo>
                  <a:lnTo>
                    <a:pt x="1110" y="1320"/>
                  </a:lnTo>
                  <a:lnTo>
                    <a:pt x="1110" y="1326"/>
                  </a:lnTo>
                  <a:lnTo>
                    <a:pt x="1098" y="1332"/>
                  </a:lnTo>
                  <a:lnTo>
                    <a:pt x="1092" y="1338"/>
                  </a:lnTo>
                  <a:lnTo>
                    <a:pt x="1092" y="1344"/>
                  </a:lnTo>
                  <a:lnTo>
                    <a:pt x="1086" y="1350"/>
                  </a:lnTo>
                  <a:lnTo>
                    <a:pt x="1080" y="1350"/>
                  </a:lnTo>
                  <a:lnTo>
                    <a:pt x="1074" y="1350"/>
                  </a:lnTo>
                  <a:lnTo>
                    <a:pt x="1068" y="1356"/>
                  </a:lnTo>
                  <a:lnTo>
                    <a:pt x="1062" y="1356"/>
                  </a:lnTo>
                  <a:lnTo>
                    <a:pt x="1044" y="1356"/>
                  </a:lnTo>
                  <a:lnTo>
                    <a:pt x="1038" y="1362"/>
                  </a:lnTo>
                  <a:lnTo>
                    <a:pt x="1032" y="1368"/>
                  </a:lnTo>
                  <a:lnTo>
                    <a:pt x="1026" y="1368"/>
                  </a:lnTo>
                  <a:lnTo>
                    <a:pt x="1020" y="1374"/>
                  </a:lnTo>
                  <a:lnTo>
                    <a:pt x="1008" y="1374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74"/>
                  </a:lnTo>
                  <a:lnTo>
                    <a:pt x="978" y="1380"/>
                  </a:lnTo>
                  <a:lnTo>
                    <a:pt x="972" y="1380"/>
                  </a:lnTo>
                  <a:lnTo>
                    <a:pt x="954" y="1368"/>
                  </a:lnTo>
                  <a:lnTo>
                    <a:pt x="930" y="1368"/>
                  </a:lnTo>
                  <a:lnTo>
                    <a:pt x="918" y="1368"/>
                  </a:lnTo>
                  <a:lnTo>
                    <a:pt x="906" y="1368"/>
                  </a:lnTo>
                  <a:lnTo>
                    <a:pt x="894" y="1368"/>
                  </a:lnTo>
                  <a:lnTo>
                    <a:pt x="864" y="1374"/>
                  </a:lnTo>
                  <a:lnTo>
                    <a:pt x="852" y="1374"/>
                  </a:lnTo>
                  <a:lnTo>
                    <a:pt x="846" y="1386"/>
                  </a:lnTo>
                  <a:lnTo>
                    <a:pt x="846" y="1392"/>
                  </a:lnTo>
                  <a:lnTo>
                    <a:pt x="840" y="1398"/>
                  </a:lnTo>
                  <a:lnTo>
                    <a:pt x="840" y="1404"/>
                  </a:lnTo>
                  <a:lnTo>
                    <a:pt x="834" y="1416"/>
                  </a:lnTo>
                  <a:lnTo>
                    <a:pt x="828" y="1416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04" y="1428"/>
                  </a:lnTo>
                  <a:lnTo>
                    <a:pt x="804" y="1434"/>
                  </a:lnTo>
                  <a:lnTo>
                    <a:pt x="804" y="1440"/>
                  </a:lnTo>
                  <a:lnTo>
                    <a:pt x="798" y="1446"/>
                  </a:lnTo>
                  <a:lnTo>
                    <a:pt x="798" y="1458"/>
                  </a:lnTo>
                  <a:lnTo>
                    <a:pt x="792" y="1464"/>
                  </a:lnTo>
                  <a:lnTo>
                    <a:pt x="786" y="1476"/>
                  </a:lnTo>
                  <a:lnTo>
                    <a:pt x="780" y="1470"/>
                  </a:lnTo>
                  <a:lnTo>
                    <a:pt x="774" y="1470"/>
                  </a:lnTo>
                  <a:lnTo>
                    <a:pt x="768" y="1470"/>
                  </a:lnTo>
                  <a:lnTo>
                    <a:pt x="762" y="1476"/>
                  </a:lnTo>
                  <a:lnTo>
                    <a:pt x="762" y="1470"/>
                  </a:lnTo>
                  <a:lnTo>
                    <a:pt x="762" y="1464"/>
                  </a:lnTo>
                  <a:lnTo>
                    <a:pt x="762" y="1458"/>
                  </a:lnTo>
                  <a:lnTo>
                    <a:pt x="756" y="1458"/>
                  </a:lnTo>
                  <a:lnTo>
                    <a:pt x="756" y="1452"/>
                  </a:lnTo>
                  <a:lnTo>
                    <a:pt x="756" y="1446"/>
                  </a:lnTo>
                  <a:lnTo>
                    <a:pt x="756" y="1440"/>
                  </a:lnTo>
                  <a:lnTo>
                    <a:pt x="750" y="1434"/>
                  </a:lnTo>
                  <a:lnTo>
                    <a:pt x="750" y="1428"/>
                  </a:lnTo>
                  <a:lnTo>
                    <a:pt x="750" y="1422"/>
                  </a:lnTo>
                  <a:lnTo>
                    <a:pt x="750" y="1416"/>
                  </a:lnTo>
                  <a:lnTo>
                    <a:pt x="744" y="1416"/>
                  </a:lnTo>
                  <a:lnTo>
                    <a:pt x="744" y="1410"/>
                  </a:lnTo>
                  <a:lnTo>
                    <a:pt x="738" y="1404"/>
                  </a:lnTo>
                  <a:lnTo>
                    <a:pt x="732" y="1398"/>
                  </a:lnTo>
                  <a:lnTo>
                    <a:pt x="732" y="1392"/>
                  </a:lnTo>
                  <a:lnTo>
                    <a:pt x="726" y="1386"/>
                  </a:lnTo>
                  <a:lnTo>
                    <a:pt x="726" y="1380"/>
                  </a:lnTo>
                  <a:lnTo>
                    <a:pt x="714" y="1368"/>
                  </a:lnTo>
                  <a:lnTo>
                    <a:pt x="708" y="1368"/>
                  </a:lnTo>
                  <a:lnTo>
                    <a:pt x="684" y="1332"/>
                  </a:lnTo>
                  <a:lnTo>
                    <a:pt x="666" y="1320"/>
                  </a:lnTo>
                  <a:lnTo>
                    <a:pt x="648" y="1302"/>
                  </a:lnTo>
                  <a:lnTo>
                    <a:pt x="630" y="1314"/>
                  </a:lnTo>
                  <a:lnTo>
                    <a:pt x="624" y="1314"/>
                  </a:lnTo>
                  <a:lnTo>
                    <a:pt x="624" y="1308"/>
                  </a:lnTo>
                  <a:lnTo>
                    <a:pt x="618" y="1308"/>
                  </a:lnTo>
                  <a:lnTo>
                    <a:pt x="612" y="1284"/>
                  </a:lnTo>
                  <a:lnTo>
                    <a:pt x="606" y="1254"/>
                  </a:lnTo>
                  <a:lnTo>
                    <a:pt x="606" y="1248"/>
                  </a:lnTo>
                  <a:lnTo>
                    <a:pt x="606" y="1242"/>
                  </a:lnTo>
                  <a:lnTo>
                    <a:pt x="612" y="1242"/>
                  </a:lnTo>
                  <a:lnTo>
                    <a:pt x="618" y="1236"/>
                  </a:lnTo>
                  <a:lnTo>
                    <a:pt x="618" y="1230"/>
                  </a:lnTo>
                  <a:lnTo>
                    <a:pt x="624" y="1224"/>
                  </a:lnTo>
                  <a:lnTo>
                    <a:pt x="630" y="1224"/>
                  </a:lnTo>
                  <a:lnTo>
                    <a:pt x="636" y="1218"/>
                  </a:lnTo>
                  <a:lnTo>
                    <a:pt x="636" y="1212"/>
                  </a:lnTo>
                  <a:lnTo>
                    <a:pt x="612" y="1200"/>
                  </a:lnTo>
                  <a:lnTo>
                    <a:pt x="606" y="1182"/>
                  </a:lnTo>
                  <a:lnTo>
                    <a:pt x="672" y="1182"/>
                  </a:lnTo>
                  <a:lnTo>
                    <a:pt x="690" y="1170"/>
                  </a:lnTo>
                  <a:lnTo>
                    <a:pt x="690" y="1152"/>
                  </a:lnTo>
                  <a:lnTo>
                    <a:pt x="678" y="1110"/>
                  </a:lnTo>
                  <a:lnTo>
                    <a:pt x="672" y="1092"/>
                  </a:lnTo>
                  <a:lnTo>
                    <a:pt x="660" y="1074"/>
                  </a:lnTo>
                  <a:lnTo>
                    <a:pt x="648" y="1068"/>
                  </a:lnTo>
                  <a:lnTo>
                    <a:pt x="642" y="1068"/>
                  </a:lnTo>
                  <a:lnTo>
                    <a:pt x="636" y="1062"/>
                  </a:lnTo>
                  <a:lnTo>
                    <a:pt x="624" y="1056"/>
                  </a:lnTo>
                  <a:lnTo>
                    <a:pt x="624" y="1050"/>
                  </a:lnTo>
                  <a:lnTo>
                    <a:pt x="618" y="1038"/>
                  </a:lnTo>
                  <a:lnTo>
                    <a:pt x="612" y="1038"/>
                  </a:lnTo>
                  <a:lnTo>
                    <a:pt x="612" y="1032"/>
                  </a:lnTo>
                  <a:lnTo>
                    <a:pt x="612" y="1026"/>
                  </a:lnTo>
                  <a:lnTo>
                    <a:pt x="600" y="1014"/>
                  </a:lnTo>
                  <a:lnTo>
                    <a:pt x="582" y="1008"/>
                  </a:lnTo>
                  <a:lnTo>
                    <a:pt x="576" y="1002"/>
                  </a:lnTo>
                  <a:lnTo>
                    <a:pt x="576" y="996"/>
                  </a:lnTo>
                  <a:lnTo>
                    <a:pt x="570" y="996"/>
                  </a:lnTo>
                  <a:lnTo>
                    <a:pt x="570" y="990"/>
                  </a:lnTo>
                  <a:lnTo>
                    <a:pt x="570" y="984"/>
                  </a:lnTo>
                  <a:lnTo>
                    <a:pt x="564" y="984"/>
                  </a:lnTo>
                  <a:lnTo>
                    <a:pt x="558" y="978"/>
                  </a:lnTo>
                  <a:lnTo>
                    <a:pt x="552" y="972"/>
                  </a:lnTo>
                  <a:lnTo>
                    <a:pt x="552" y="966"/>
                  </a:lnTo>
                  <a:lnTo>
                    <a:pt x="546" y="972"/>
                  </a:lnTo>
                  <a:lnTo>
                    <a:pt x="540" y="972"/>
                  </a:lnTo>
                  <a:lnTo>
                    <a:pt x="534" y="960"/>
                  </a:lnTo>
                  <a:lnTo>
                    <a:pt x="528" y="960"/>
                  </a:lnTo>
                  <a:lnTo>
                    <a:pt x="528" y="966"/>
                  </a:lnTo>
                  <a:lnTo>
                    <a:pt x="516" y="954"/>
                  </a:lnTo>
                  <a:lnTo>
                    <a:pt x="516" y="948"/>
                  </a:lnTo>
                  <a:lnTo>
                    <a:pt x="510" y="948"/>
                  </a:lnTo>
                  <a:lnTo>
                    <a:pt x="504" y="948"/>
                  </a:lnTo>
                  <a:lnTo>
                    <a:pt x="498" y="948"/>
                  </a:lnTo>
                  <a:lnTo>
                    <a:pt x="504" y="954"/>
                  </a:lnTo>
                  <a:lnTo>
                    <a:pt x="498" y="954"/>
                  </a:lnTo>
                  <a:lnTo>
                    <a:pt x="492" y="954"/>
                  </a:lnTo>
                  <a:lnTo>
                    <a:pt x="480" y="942"/>
                  </a:lnTo>
                  <a:lnTo>
                    <a:pt x="480" y="948"/>
                  </a:lnTo>
                  <a:lnTo>
                    <a:pt x="480" y="954"/>
                  </a:lnTo>
                  <a:lnTo>
                    <a:pt x="474" y="954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56" y="966"/>
                  </a:lnTo>
                  <a:lnTo>
                    <a:pt x="456" y="960"/>
                  </a:lnTo>
                  <a:lnTo>
                    <a:pt x="450" y="966"/>
                  </a:lnTo>
                  <a:lnTo>
                    <a:pt x="444" y="966"/>
                  </a:lnTo>
                  <a:lnTo>
                    <a:pt x="414" y="966"/>
                  </a:lnTo>
                  <a:lnTo>
                    <a:pt x="408" y="960"/>
                  </a:lnTo>
                  <a:lnTo>
                    <a:pt x="408" y="966"/>
                  </a:lnTo>
                  <a:lnTo>
                    <a:pt x="402" y="960"/>
                  </a:lnTo>
                  <a:lnTo>
                    <a:pt x="396" y="960"/>
                  </a:lnTo>
                  <a:lnTo>
                    <a:pt x="390" y="960"/>
                  </a:lnTo>
                  <a:lnTo>
                    <a:pt x="390" y="966"/>
                  </a:lnTo>
                  <a:lnTo>
                    <a:pt x="384" y="966"/>
                  </a:lnTo>
                  <a:lnTo>
                    <a:pt x="378" y="966"/>
                  </a:lnTo>
                  <a:lnTo>
                    <a:pt x="384" y="960"/>
                  </a:lnTo>
                  <a:lnTo>
                    <a:pt x="384" y="954"/>
                  </a:lnTo>
                  <a:lnTo>
                    <a:pt x="372" y="948"/>
                  </a:lnTo>
                  <a:lnTo>
                    <a:pt x="372" y="954"/>
                  </a:lnTo>
                  <a:lnTo>
                    <a:pt x="372" y="960"/>
                  </a:lnTo>
                  <a:lnTo>
                    <a:pt x="366" y="960"/>
                  </a:lnTo>
                  <a:lnTo>
                    <a:pt x="360" y="966"/>
                  </a:lnTo>
                  <a:lnTo>
                    <a:pt x="354" y="966"/>
                  </a:lnTo>
                  <a:lnTo>
                    <a:pt x="348" y="960"/>
                  </a:lnTo>
                  <a:lnTo>
                    <a:pt x="342" y="960"/>
                  </a:lnTo>
                  <a:lnTo>
                    <a:pt x="342" y="966"/>
                  </a:lnTo>
                  <a:lnTo>
                    <a:pt x="336" y="972"/>
                  </a:lnTo>
                  <a:lnTo>
                    <a:pt x="330" y="972"/>
                  </a:lnTo>
                  <a:lnTo>
                    <a:pt x="324" y="966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6" y="954"/>
                  </a:lnTo>
                  <a:lnTo>
                    <a:pt x="306" y="948"/>
                  </a:lnTo>
                  <a:lnTo>
                    <a:pt x="306" y="942"/>
                  </a:lnTo>
                  <a:lnTo>
                    <a:pt x="300" y="942"/>
                  </a:lnTo>
                  <a:lnTo>
                    <a:pt x="294" y="936"/>
                  </a:lnTo>
                  <a:lnTo>
                    <a:pt x="288" y="936"/>
                  </a:lnTo>
                  <a:lnTo>
                    <a:pt x="282" y="942"/>
                  </a:lnTo>
                  <a:lnTo>
                    <a:pt x="276" y="936"/>
                  </a:lnTo>
                  <a:lnTo>
                    <a:pt x="276" y="942"/>
                  </a:lnTo>
                  <a:lnTo>
                    <a:pt x="270" y="942"/>
                  </a:lnTo>
                  <a:lnTo>
                    <a:pt x="264" y="936"/>
                  </a:lnTo>
                  <a:lnTo>
                    <a:pt x="252" y="936"/>
                  </a:lnTo>
                  <a:lnTo>
                    <a:pt x="246" y="936"/>
                  </a:lnTo>
                  <a:lnTo>
                    <a:pt x="240" y="936"/>
                  </a:lnTo>
                  <a:lnTo>
                    <a:pt x="234" y="936"/>
                  </a:lnTo>
                  <a:lnTo>
                    <a:pt x="240" y="924"/>
                  </a:lnTo>
                  <a:lnTo>
                    <a:pt x="234" y="924"/>
                  </a:lnTo>
                  <a:lnTo>
                    <a:pt x="228" y="918"/>
                  </a:lnTo>
                  <a:lnTo>
                    <a:pt x="228" y="906"/>
                  </a:lnTo>
                  <a:lnTo>
                    <a:pt x="222" y="900"/>
                  </a:lnTo>
                  <a:lnTo>
                    <a:pt x="216" y="900"/>
                  </a:lnTo>
                  <a:lnTo>
                    <a:pt x="210" y="900"/>
                  </a:lnTo>
                  <a:lnTo>
                    <a:pt x="210" y="906"/>
                  </a:lnTo>
                  <a:lnTo>
                    <a:pt x="204" y="906"/>
                  </a:lnTo>
                  <a:lnTo>
                    <a:pt x="198" y="906"/>
                  </a:lnTo>
                  <a:lnTo>
                    <a:pt x="210" y="900"/>
                  </a:lnTo>
                  <a:lnTo>
                    <a:pt x="210" y="894"/>
                  </a:lnTo>
                  <a:lnTo>
                    <a:pt x="216" y="888"/>
                  </a:lnTo>
                  <a:lnTo>
                    <a:pt x="204" y="882"/>
                  </a:lnTo>
                  <a:lnTo>
                    <a:pt x="204" y="894"/>
                  </a:lnTo>
                  <a:lnTo>
                    <a:pt x="198" y="894"/>
                  </a:lnTo>
                  <a:lnTo>
                    <a:pt x="192" y="900"/>
                  </a:lnTo>
                  <a:lnTo>
                    <a:pt x="186" y="894"/>
                  </a:lnTo>
                  <a:lnTo>
                    <a:pt x="180" y="894"/>
                  </a:lnTo>
                  <a:lnTo>
                    <a:pt x="174" y="894"/>
                  </a:lnTo>
                  <a:lnTo>
                    <a:pt x="168" y="900"/>
                  </a:lnTo>
                  <a:lnTo>
                    <a:pt x="162" y="906"/>
                  </a:lnTo>
                  <a:lnTo>
                    <a:pt x="156" y="906"/>
                  </a:lnTo>
                  <a:lnTo>
                    <a:pt x="150" y="900"/>
                  </a:lnTo>
                  <a:lnTo>
                    <a:pt x="144" y="894"/>
                  </a:lnTo>
                  <a:lnTo>
                    <a:pt x="138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0" y="888"/>
                  </a:lnTo>
                  <a:lnTo>
                    <a:pt x="114" y="894"/>
                  </a:lnTo>
                  <a:lnTo>
                    <a:pt x="120" y="900"/>
                  </a:lnTo>
                  <a:lnTo>
                    <a:pt x="126" y="900"/>
                  </a:lnTo>
                  <a:lnTo>
                    <a:pt x="132" y="900"/>
                  </a:lnTo>
                  <a:lnTo>
                    <a:pt x="132" y="906"/>
                  </a:lnTo>
                  <a:lnTo>
                    <a:pt x="126" y="912"/>
                  </a:lnTo>
                  <a:lnTo>
                    <a:pt x="126" y="918"/>
                  </a:lnTo>
                  <a:lnTo>
                    <a:pt x="114" y="918"/>
                  </a:lnTo>
                  <a:lnTo>
                    <a:pt x="108" y="924"/>
                  </a:lnTo>
                  <a:lnTo>
                    <a:pt x="102" y="924"/>
                  </a:lnTo>
                  <a:lnTo>
                    <a:pt x="90" y="924"/>
                  </a:lnTo>
                  <a:lnTo>
                    <a:pt x="84" y="924"/>
                  </a:lnTo>
                  <a:lnTo>
                    <a:pt x="78" y="924"/>
                  </a:lnTo>
                  <a:lnTo>
                    <a:pt x="60" y="924"/>
                  </a:lnTo>
                  <a:lnTo>
                    <a:pt x="54" y="942"/>
                  </a:lnTo>
                  <a:lnTo>
                    <a:pt x="48" y="936"/>
                  </a:lnTo>
                  <a:lnTo>
                    <a:pt x="42" y="930"/>
                  </a:lnTo>
                  <a:lnTo>
                    <a:pt x="36" y="930"/>
                  </a:lnTo>
                  <a:lnTo>
                    <a:pt x="30" y="936"/>
                  </a:lnTo>
                  <a:lnTo>
                    <a:pt x="30" y="930"/>
                  </a:lnTo>
                  <a:lnTo>
                    <a:pt x="30" y="924"/>
                  </a:lnTo>
                  <a:lnTo>
                    <a:pt x="18" y="918"/>
                  </a:lnTo>
                  <a:lnTo>
                    <a:pt x="18" y="912"/>
                  </a:lnTo>
                  <a:lnTo>
                    <a:pt x="12" y="912"/>
                  </a:lnTo>
                  <a:lnTo>
                    <a:pt x="6" y="912"/>
                  </a:lnTo>
                  <a:lnTo>
                    <a:pt x="6" y="900"/>
                  </a:lnTo>
                  <a:lnTo>
                    <a:pt x="6" y="894"/>
                  </a:lnTo>
                  <a:lnTo>
                    <a:pt x="0" y="870"/>
                  </a:lnTo>
                  <a:lnTo>
                    <a:pt x="6" y="846"/>
                  </a:lnTo>
                  <a:lnTo>
                    <a:pt x="6" y="810"/>
                  </a:lnTo>
                  <a:lnTo>
                    <a:pt x="12" y="774"/>
                  </a:lnTo>
                  <a:lnTo>
                    <a:pt x="12" y="756"/>
                  </a:lnTo>
                  <a:lnTo>
                    <a:pt x="18" y="744"/>
                  </a:lnTo>
                  <a:lnTo>
                    <a:pt x="18" y="732"/>
                  </a:lnTo>
                  <a:lnTo>
                    <a:pt x="12" y="576"/>
                  </a:lnTo>
                  <a:lnTo>
                    <a:pt x="12" y="570"/>
                  </a:lnTo>
                  <a:lnTo>
                    <a:pt x="18" y="564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42" y="552"/>
                  </a:lnTo>
                  <a:lnTo>
                    <a:pt x="66" y="552"/>
                  </a:lnTo>
                  <a:lnTo>
                    <a:pt x="78" y="558"/>
                  </a:lnTo>
                  <a:lnTo>
                    <a:pt x="90" y="558"/>
                  </a:lnTo>
                  <a:lnTo>
                    <a:pt x="108" y="558"/>
                  </a:lnTo>
                  <a:lnTo>
                    <a:pt x="144" y="558"/>
                  </a:lnTo>
                  <a:lnTo>
                    <a:pt x="204" y="552"/>
                  </a:lnTo>
                  <a:lnTo>
                    <a:pt x="210" y="558"/>
                  </a:lnTo>
                  <a:lnTo>
                    <a:pt x="216" y="558"/>
                  </a:lnTo>
                  <a:lnTo>
                    <a:pt x="210" y="564"/>
                  </a:lnTo>
                  <a:lnTo>
                    <a:pt x="216" y="564"/>
                  </a:lnTo>
                  <a:lnTo>
                    <a:pt x="222" y="564"/>
                  </a:lnTo>
                  <a:lnTo>
                    <a:pt x="240" y="564"/>
                  </a:lnTo>
                  <a:lnTo>
                    <a:pt x="258" y="564"/>
                  </a:lnTo>
                  <a:lnTo>
                    <a:pt x="264" y="570"/>
                  </a:lnTo>
                  <a:lnTo>
                    <a:pt x="276" y="570"/>
                  </a:lnTo>
                  <a:lnTo>
                    <a:pt x="282" y="564"/>
                  </a:lnTo>
                  <a:lnTo>
                    <a:pt x="294" y="564"/>
                  </a:lnTo>
                  <a:lnTo>
                    <a:pt x="294" y="570"/>
                  </a:lnTo>
                  <a:lnTo>
                    <a:pt x="300" y="570"/>
                  </a:lnTo>
                  <a:lnTo>
                    <a:pt x="378" y="564"/>
                  </a:lnTo>
                  <a:lnTo>
                    <a:pt x="408" y="558"/>
                  </a:lnTo>
                  <a:lnTo>
                    <a:pt x="432" y="552"/>
                  </a:lnTo>
                  <a:lnTo>
                    <a:pt x="450" y="546"/>
                  </a:lnTo>
                  <a:lnTo>
                    <a:pt x="468" y="546"/>
                  </a:lnTo>
                  <a:lnTo>
                    <a:pt x="468" y="552"/>
                  </a:lnTo>
                  <a:lnTo>
                    <a:pt x="504" y="552"/>
                  </a:lnTo>
                  <a:lnTo>
                    <a:pt x="510" y="534"/>
                  </a:lnTo>
                  <a:lnTo>
                    <a:pt x="516" y="510"/>
                  </a:lnTo>
                  <a:lnTo>
                    <a:pt x="522" y="510"/>
                  </a:lnTo>
                  <a:lnTo>
                    <a:pt x="528" y="420"/>
                  </a:lnTo>
                  <a:lnTo>
                    <a:pt x="522" y="414"/>
                  </a:lnTo>
                  <a:lnTo>
                    <a:pt x="516" y="396"/>
                  </a:lnTo>
                  <a:lnTo>
                    <a:pt x="510" y="372"/>
                  </a:lnTo>
                  <a:lnTo>
                    <a:pt x="498" y="348"/>
                  </a:lnTo>
                  <a:lnTo>
                    <a:pt x="474" y="282"/>
                  </a:lnTo>
                  <a:lnTo>
                    <a:pt x="474" y="270"/>
                  </a:lnTo>
                  <a:lnTo>
                    <a:pt x="480" y="258"/>
                  </a:lnTo>
                  <a:lnTo>
                    <a:pt x="486" y="258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92" y="246"/>
                  </a:lnTo>
                  <a:lnTo>
                    <a:pt x="504" y="234"/>
                  </a:lnTo>
                  <a:lnTo>
                    <a:pt x="510" y="228"/>
                  </a:lnTo>
                  <a:lnTo>
                    <a:pt x="516" y="228"/>
                  </a:lnTo>
                  <a:lnTo>
                    <a:pt x="516" y="222"/>
                  </a:lnTo>
                  <a:lnTo>
                    <a:pt x="516" y="216"/>
                  </a:lnTo>
                  <a:lnTo>
                    <a:pt x="522" y="216"/>
                  </a:lnTo>
                  <a:lnTo>
                    <a:pt x="528" y="210"/>
                  </a:lnTo>
                  <a:lnTo>
                    <a:pt x="534" y="210"/>
                  </a:lnTo>
                  <a:lnTo>
                    <a:pt x="540" y="210"/>
                  </a:lnTo>
                  <a:lnTo>
                    <a:pt x="546" y="210"/>
                  </a:lnTo>
                  <a:lnTo>
                    <a:pt x="552" y="210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16"/>
                  </a:lnTo>
                  <a:lnTo>
                    <a:pt x="588" y="228"/>
                  </a:lnTo>
                  <a:lnTo>
                    <a:pt x="594" y="234"/>
                  </a:lnTo>
                  <a:lnTo>
                    <a:pt x="600" y="240"/>
                  </a:lnTo>
                  <a:lnTo>
                    <a:pt x="618" y="246"/>
                  </a:lnTo>
                  <a:lnTo>
                    <a:pt x="624" y="246"/>
                  </a:lnTo>
                  <a:lnTo>
                    <a:pt x="636" y="252"/>
                  </a:lnTo>
                  <a:lnTo>
                    <a:pt x="654" y="252"/>
                  </a:lnTo>
                  <a:lnTo>
                    <a:pt x="654" y="258"/>
                  </a:lnTo>
                  <a:lnTo>
                    <a:pt x="666" y="264"/>
                  </a:lnTo>
                  <a:lnTo>
                    <a:pt x="672" y="264"/>
                  </a:lnTo>
                  <a:lnTo>
                    <a:pt x="678" y="264"/>
                  </a:lnTo>
                  <a:lnTo>
                    <a:pt x="696" y="258"/>
                  </a:lnTo>
                  <a:lnTo>
                    <a:pt x="696" y="252"/>
                  </a:lnTo>
                  <a:lnTo>
                    <a:pt x="696" y="246"/>
                  </a:lnTo>
                  <a:lnTo>
                    <a:pt x="690" y="234"/>
                  </a:lnTo>
                  <a:lnTo>
                    <a:pt x="684" y="210"/>
                  </a:lnTo>
                  <a:lnTo>
                    <a:pt x="678" y="192"/>
                  </a:lnTo>
                  <a:lnTo>
                    <a:pt x="672" y="174"/>
                  </a:lnTo>
                  <a:lnTo>
                    <a:pt x="672" y="168"/>
                  </a:lnTo>
                  <a:lnTo>
                    <a:pt x="672" y="162"/>
                  </a:lnTo>
                  <a:lnTo>
                    <a:pt x="672" y="156"/>
                  </a:lnTo>
                  <a:lnTo>
                    <a:pt x="684" y="132"/>
                  </a:lnTo>
                  <a:lnTo>
                    <a:pt x="684" y="120"/>
                  </a:lnTo>
                  <a:lnTo>
                    <a:pt x="684" y="108"/>
                  </a:lnTo>
                  <a:lnTo>
                    <a:pt x="678" y="102"/>
                  </a:lnTo>
                  <a:lnTo>
                    <a:pt x="678" y="96"/>
                  </a:lnTo>
                  <a:lnTo>
                    <a:pt x="684" y="96"/>
                  </a:lnTo>
                  <a:lnTo>
                    <a:pt x="696" y="90"/>
                  </a:lnTo>
                  <a:lnTo>
                    <a:pt x="702" y="84"/>
                  </a:lnTo>
                  <a:lnTo>
                    <a:pt x="720" y="72"/>
                  </a:lnTo>
                  <a:lnTo>
                    <a:pt x="738" y="66"/>
                  </a:lnTo>
                  <a:lnTo>
                    <a:pt x="756" y="60"/>
                  </a:lnTo>
                  <a:lnTo>
                    <a:pt x="768" y="60"/>
                  </a:lnTo>
                  <a:lnTo>
                    <a:pt x="798" y="72"/>
                  </a:lnTo>
                  <a:lnTo>
                    <a:pt x="804" y="78"/>
                  </a:lnTo>
                  <a:lnTo>
                    <a:pt x="816" y="84"/>
                  </a:lnTo>
                  <a:lnTo>
                    <a:pt x="822" y="84"/>
                  </a:lnTo>
                  <a:lnTo>
                    <a:pt x="828" y="72"/>
                  </a:lnTo>
                  <a:lnTo>
                    <a:pt x="828" y="60"/>
                  </a:lnTo>
                  <a:lnTo>
                    <a:pt x="828" y="36"/>
                  </a:lnTo>
                  <a:lnTo>
                    <a:pt x="828" y="24"/>
                  </a:lnTo>
                  <a:lnTo>
                    <a:pt x="828" y="12"/>
                  </a:lnTo>
                  <a:lnTo>
                    <a:pt x="834" y="12"/>
                  </a:lnTo>
                  <a:lnTo>
                    <a:pt x="852" y="6"/>
                  </a:lnTo>
                  <a:lnTo>
                    <a:pt x="876" y="6"/>
                  </a:lnTo>
                  <a:lnTo>
                    <a:pt x="894" y="6"/>
                  </a:lnTo>
                  <a:lnTo>
                    <a:pt x="906" y="12"/>
                  </a:lnTo>
                  <a:lnTo>
                    <a:pt x="912" y="24"/>
                  </a:lnTo>
                  <a:lnTo>
                    <a:pt x="924" y="24"/>
                  </a:lnTo>
                  <a:lnTo>
                    <a:pt x="930" y="30"/>
                  </a:lnTo>
                  <a:lnTo>
                    <a:pt x="936" y="30"/>
                  </a:lnTo>
                  <a:lnTo>
                    <a:pt x="936" y="36"/>
                  </a:lnTo>
                  <a:lnTo>
                    <a:pt x="942" y="36"/>
                  </a:lnTo>
                  <a:lnTo>
                    <a:pt x="948" y="42"/>
                  </a:lnTo>
                  <a:lnTo>
                    <a:pt x="960" y="48"/>
                  </a:lnTo>
                  <a:lnTo>
                    <a:pt x="966" y="48"/>
                  </a:lnTo>
                  <a:lnTo>
                    <a:pt x="1026" y="60"/>
                  </a:lnTo>
                  <a:lnTo>
                    <a:pt x="1050" y="60"/>
                  </a:lnTo>
                  <a:lnTo>
                    <a:pt x="1050" y="54"/>
                  </a:lnTo>
                  <a:lnTo>
                    <a:pt x="1062" y="54"/>
                  </a:lnTo>
                  <a:lnTo>
                    <a:pt x="1074" y="48"/>
                  </a:lnTo>
                  <a:lnTo>
                    <a:pt x="1086" y="42"/>
                  </a:lnTo>
                  <a:lnTo>
                    <a:pt x="1104" y="36"/>
                  </a:lnTo>
                  <a:lnTo>
                    <a:pt x="1116" y="30"/>
                  </a:lnTo>
                  <a:lnTo>
                    <a:pt x="1122" y="24"/>
                  </a:lnTo>
                  <a:lnTo>
                    <a:pt x="1128" y="18"/>
                  </a:lnTo>
                  <a:lnTo>
                    <a:pt x="1134" y="18"/>
                  </a:lnTo>
                  <a:lnTo>
                    <a:pt x="1140" y="12"/>
                  </a:lnTo>
                  <a:lnTo>
                    <a:pt x="1146" y="6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24"/>
                  </a:lnTo>
                  <a:lnTo>
                    <a:pt x="1176" y="36"/>
                  </a:lnTo>
                  <a:lnTo>
                    <a:pt x="1188" y="42"/>
                  </a:lnTo>
                  <a:lnTo>
                    <a:pt x="1200" y="54"/>
                  </a:lnTo>
                  <a:lnTo>
                    <a:pt x="1224" y="84"/>
                  </a:lnTo>
                  <a:lnTo>
                    <a:pt x="1224" y="90"/>
                  </a:lnTo>
                  <a:lnTo>
                    <a:pt x="1236" y="96"/>
                  </a:lnTo>
                  <a:lnTo>
                    <a:pt x="1236" y="108"/>
                  </a:lnTo>
                  <a:lnTo>
                    <a:pt x="1248" y="114"/>
                  </a:lnTo>
                  <a:lnTo>
                    <a:pt x="1254" y="114"/>
                  </a:lnTo>
                  <a:lnTo>
                    <a:pt x="1260" y="114"/>
                  </a:lnTo>
                  <a:lnTo>
                    <a:pt x="1296" y="114"/>
                  </a:lnTo>
                  <a:lnTo>
                    <a:pt x="1302" y="114"/>
                  </a:lnTo>
                  <a:lnTo>
                    <a:pt x="1320" y="108"/>
                  </a:lnTo>
                  <a:lnTo>
                    <a:pt x="1326" y="108"/>
                  </a:lnTo>
                  <a:lnTo>
                    <a:pt x="1326" y="138"/>
                  </a:lnTo>
                  <a:lnTo>
                    <a:pt x="1326" y="210"/>
                  </a:lnTo>
                  <a:lnTo>
                    <a:pt x="1320" y="252"/>
                  </a:lnTo>
                  <a:lnTo>
                    <a:pt x="1320" y="270"/>
                  </a:lnTo>
                  <a:lnTo>
                    <a:pt x="1320" y="288"/>
                  </a:lnTo>
                  <a:lnTo>
                    <a:pt x="1320" y="318"/>
                  </a:lnTo>
                  <a:lnTo>
                    <a:pt x="1326" y="354"/>
                  </a:lnTo>
                  <a:lnTo>
                    <a:pt x="1326" y="372"/>
                  </a:lnTo>
                  <a:lnTo>
                    <a:pt x="1332" y="420"/>
                  </a:lnTo>
                  <a:lnTo>
                    <a:pt x="1332" y="450"/>
                  </a:lnTo>
                  <a:lnTo>
                    <a:pt x="1338" y="480"/>
                  </a:lnTo>
                  <a:lnTo>
                    <a:pt x="1344" y="486"/>
                  </a:lnTo>
                  <a:lnTo>
                    <a:pt x="1338" y="492"/>
                  </a:lnTo>
                  <a:lnTo>
                    <a:pt x="1344" y="492"/>
                  </a:lnTo>
                  <a:lnTo>
                    <a:pt x="1344" y="498"/>
                  </a:lnTo>
                  <a:lnTo>
                    <a:pt x="1350" y="498"/>
                  </a:lnTo>
                  <a:lnTo>
                    <a:pt x="1350" y="522"/>
                  </a:lnTo>
                  <a:lnTo>
                    <a:pt x="1362" y="564"/>
                  </a:lnTo>
                  <a:lnTo>
                    <a:pt x="1368" y="582"/>
                  </a:lnTo>
                  <a:lnTo>
                    <a:pt x="1380" y="600"/>
                  </a:lnTo>
                  <a:lnTo>
                    <a:pt x="1386" y="636"/>
                  </a:lnTo>
                  <a:lnTo>
                    <a:pt x="1380" y="660"/>
                  </a:lnTo>
                  <a:lnTo>
                    <a:pt x="1380" y="678"/>
                  </a:lnTo>
                  <a:lnTo>
                    <a:pt x="1380" y="684"/>
                  </a:lnTo>
                  <a:lnTo>
                    <a:pt x="1374" y="684"/>
                  </a:lnTo>
                  <a:lnTo>
                    <a:pt x="1368" y="690"/>
                  </a:lnTo>
                  <a:lnTo>
                    <a:pt x="1356" y="702"/>
                  </a:lnTo>
                  <a:lnTo>
                    <a:pt x="1350" y="708"/>
                  </a:lnTo>
                  <a:lnTo>
                    <a:pt x="1356" y="714"/>
                  </a:lnTo>
                  <a:lnTo>
                    <a:pt x="1368" y="726"/>
                  </a:lnTo>
                  <a:lnTo>
                    <a:pt x="1380" y="738"/>
                  </a:lnTo>
                  <a:lnTo>
                    <a:pt x="1386" y="744"/>
                  </a:lnTo>
                  <a:lnTo>
                    <a:pt x="1392" y="744"/>
                  </a:lnTo>
                  <a:lnTo>
                    <a:pt x="1410" y="750"/>
                  </a:lnTo>
                  <a:lnTo>
                    <a:pt x="1416" y="756"/>
                  </a:lnTo>
                  <a:lnTo>
                    <a:pt x="1422" y="756"/>
                  </a:lnTo>
                  <a:lnTo>
                    <a:pt x="1422" y="762"/>
                  </a:lnTo>
                  <a:lnTo>
                    <a:pt x="1428" y="774"/>
                  </a:lnTo>
                  <a:lnTo>
                    <a:pt x="1428" y="780"/>
                  </a:lnTo>
                  <a:lnTo>
                    <a:pt x="1434" y="780"/>
                  </a:lnTo>
                  <a:lnTo>
                    <a:pt x="1440" y="798"/>
                  </a:lnTo>
                  <a:lnTo>
                    <a:pt x="1422" y="816"/>
                  </a:lnTo>
                  <a:lnTo>
                    <a:pt x="1386" y="810"/>
                  </a:lnTo>
                  <a:lnTo>
                    <a:pt x="1380" y="816"/>
                  </a:lnTo>
                  <a:lnTo>
                    <a:pt x="1374" y="840"/>
                  </a:lnTo>
                  <a:lnTo>
                    <a:pt x="1350" y="852"/>
                  </a:lnTo>
                  <a:lnTo>
                    <a:pt x="1350" y="858"/>
                  </a:lnTo>
                  <a:lnTo>
                    <a:pt x="1350" y="864"/>
                  </a:lnTo>
                  <a:lnTo>
                    <a:pt x="1344" y="864"/>
                  </a:lnTo>
                  <a:lnTo>
                    <a:pt x="1338" y="870"/>
                  </a:lnTo>
                  <a:lnTo>
                    <a:pt x="1332" y="876"/>
                  </a:lnTo>
                  <a:lnTo>
                    <a:pt x="1314" y="876"/>
                  </a:lnTo>
                  <a:lnTo>
                    <a:pt x="1314" y="870"/>
                  </a:lnTo>
                  <a:lnTo>
                    <a:pt x="1308" y="870"/>
                  </a:lnTo>
                  <a:lnTo>
                    <a:pt x="1302" y="864"/>
                  </a:lnTo>
                  <a:lnTo>
                    <a:pt x="1296" y="864"/>
                  </a:lnTo>
                  <a:lnTo>
                    <a:pt x="1284" y="870"/>
                  </a:lnTo>
                  <a:lnTo>
                    <a:pt x="1266" y="870"/>
                  </a:lnTo>
                  <a:lnTo>
                    <a:pt x="1260" y="870"/>
                  </a:lnTo>
                  <a:lnTo>
                    <a:pt x="1248" y="876"/>
                  </a:lnTo>
                  <a:lnTo>
                    <a:pt x="1236" y="876"/>
                  </a:lnTo>
                  <a:lnTo>
                    <a:pt x="1230" y="882"/>
                  </a:lnTo>
                  <a:lnTo>
                    <a:pt x="1224" y="894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18" y="942"/>
                  </a:lnTo>
                  <a:lnTo>
                    <a:pt x="1212" y="948"/>
                  </a:lnTo>
                  <a:lnTo>
                    <a:pt x="1200" y="984"/>
                  </a:lnTo>
                  <a:lnTo>
                    <a:pt x="1194" y="1008"/>
                  </a:lnTo>
                  <a:lnTo>
                    <a:pt x="1218" y="1038"/>
                  </a:lnTo>
                  <a:lnTo>
                    <a:pt x="1224" y="1044"/>
                  </a:lnTo>
                  <a:lnTo>
                    <a:pt x="1224" y="1062"/>
                  </a:lnTo>
                  <a:lnTo>
                    <a:pt x="1236" y="1080"/>
                  </a:lnTo>
                  <a:lnTo>
                    <a:pt x="1236" y="1086"/>
                  </a:lnTo>
                  <a:lnTo>
                    <a:pt x="1230" y="1092"/>
                  </a:lnTo>
                  <a:lnTo>
                    <a:pt x="1224" y="1110"/>
                  </a:lnTo>
                  <a:lnTo>
                    <a:pt x="1218" y="1122"/>
                  </a:lnTo>
                  <a:lnTo>
                    <a:pt x="1224" y="1140"/>
                  </a:lnTo>
                  <a:lnTo>
                    <a:pt x="1218" y="1146"/>
                  </a:lnTo>
                  <a:lnTo>
                    <a:pt x="1218" y="1152"/>
                  </a:lnTo>
                  <a:lnTo>
                    <a:pt x="1212" y="116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1" name="Freeform 36">
              <a:extLst>
                <a:ext uri="{FF2B5EF4-FFF2-40B4-BE49-F238E27FC236}">
                  <a16:creationId xmlns:a16="http://schemas.microsoft.com/office/drawing/2014/main" id="{B9C0D6BE-CB1C-4E69-B224-1ABF097AA8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90208" y="1647855"/>
              <a:ext cx="742415" cy="758173"/>
            </a:xfrm>
            <a:custGeom>
              <a:avLst/>
              <a:gdLst>
                <a:gd name="T0" fmla="*/ 75 w 1398"/>
                <a:gd name="T1" fmla="*/ 48 h 1428"/>
                <a:gd name="T2" fmla="*/ 68 w 1398"/>
                <a:gd name="T3" fmla="*/ 54 h 1428"/>
                <a:gd name="T4" fmla="*/ 57 w 1398"/>
                <a:gd name="T5" fmla="*/ 59 h 1428"/>
                <a:gd name="T6" fmla="*/ 55 w 1398"/>
                <a:gd name="T7" fmla="*/ 68 h 1428"/>
                <a:gd name="T8" fmla="*/ 55 w 1398"/>
                <a:gd name="T9" fmla="*/ 77 h 1428"/>
                <a:gd name="T10" fmla="*/ 57 w 1398"/>
                <a:gd name="T11" fmla="*/ 81 h 1428"/>
                <a:gd name="T12" fmla="*/ 56 w 1398"/>
                <a:gd name="T13" fmla="*/ 86 h 1428"/>
                <a:gd name="T14" fmla="*/ 57 w 1398"/>
                <a:gd name="T15" fmla="*/ 89 h 1428"/>
                <a:gd name="T16" fmla="*/ 58 w 1398"/>
                <a:gd name="T17" fmla="*/ 92 h 1428"/>
                <a:gd name="T18" fmla="*/ 58 w 1398"/>
                <a:gd name="T19" fmla="*/ 96 h 1428"/>
                <a:gd name="T20" fmla="*/ 49 w 1398"/>
                <a:gd name="T21" fmla="*/ 100 h 1428"/>
                <a:gd name="T22" fmla="*/ 47 w 1398"/>
                <a:gd name="T23" fmla="*/ 108 h 1428"/>
                <a:gd name="T24" fmla="*/ 48 w 1398"/>
                <a:gd name="T25" fmla="*/ 113 h 1428"/>
                <a:gd name="T26" fmla="*/ 43 w 1398"/>
                <a:gd name="T27" fmla="*/ 114 h 1428"/>
                <a:gd name="T28" fmla="*/ 39 w 1398"/>
                <a:gd name="T29" fmla="*/ 113 h 1428"/>
                <a:gd name="T30" fmla="*/ 33 w 1398"/>
                <a:gd name="T31" fmla="*/ 109 h 1428"/>
                <a:gd name="T32" fmla="*/ 29 w 1398"/>
                <a:gd name="T33" fmla="*/ 114 h 1428"/>
                <a:gd name="T34" fmla="*/ 22 w 1398"/>
                <a:gd name="T35" fmla="*/ 115 h 1428"/>
                <a:gd name="T36" fmla="*/ 21 w 1398"/>
                <a:gd name="T37" fmla="*/ 121 h 1428"/>
                <a:gd name="T38" fmla="*/ 12 w 1398"/>
                <a:gd name="T39" fmla="*/ 119 h 1428"/>
                <a:gd name="T40" fmla="*/ 9 w 1398"/>
                <a:gd name="T41" fmla="*/ 113 h 1428"/>
                <a:gd name="T42" fmla="*/ 2 w 1398"/>
                <a:gd name="T43" fmla="*/ 109 h 1428"/>
                <a:gd name="T44" fmla="*/ 4 w 1398"/>
                <a:gd name="T45" fmla="*/ 103 h 1428"/>
                <a:gd name="T46" fmla="*/ 2 w 1398"/>
                <a:gd name="T47" fmla="*/ 91 h 1428"/>
                <a:gd name="T48" fmla="*/ 6 w 1398"/>
                <a:gd name="T49" fmla="*/ 85 h 1428"/>
                <a:gd name="T50" fmla="*/ 10 w 1398"/>
                <a:gd name="T51" fmla="*/ 85 h 1428"/>
                <a:gd name="T52" fmla="*/ 15 w 1398"/>
                <a:gd name="T53" fmla="*/ 82 h 1428"/>
                <a:gd name="T54" fmla="*/ 20 w 1398"/>
                <a:gd name="T55" fmla="*/ 77 h 1428"/>
                <a:gd name="T56" fmla="*/ 16 w 1398"/>
                <a:gd name="T57" fmla="*/ 73 h 1428"/>
                <a:gd name="T58" fmla="*/ 16 w 1398"/>
                <a:gd name="T59" fmla="*/ 69 h 1428"/>
                <a:gd name="T60" fmla="*/ 14 w 1398"/>
                <a:gd name="T61" fmla="*/ 54 h 1428"/>
                <a:gd name="T62" fmla="*/ 12 w 1398"/>
                <a:gd name="T63" fmla="*/ 48 h 1428"/>
                <a:gd name="T64" fmla="*/ 11 w 1398"/>
                <a:gd name="T65" fmla="*/ 31 h 1428"/>
                <a:gd name="T66" fmla="*/ 14 w 1398"/>
                <a:gd name="T67" fmla="*/ 18 h 1428"/>
                <a:gd name="T68" fmla="*/ 19 w 1398"/>
                <a:gd name="T69" fmla="*/ 15 h 1428"/>
                <a:gd name="T70" fmla="*/ 26 w 1398"/>
                <a:gd name="T71" fmla="*/ 13 h 1428"/>
                <a:gd name="T72" fmla="*/ 34 w 1398"/>
                <a:gd name="T73" fmla="*/ 12 h 1428"/>
                <a:gd name="T74" fmla="*/ 39 w 1398"/>
                <a:gd name="T75" fmla="*/ 9 h 1428"/>
                <a:gd name="T76" fmla="*/ 43 w 1398"/>
                <a:gd name="T77" fmla="*/ 7 h 1428"/>
                <a:gd name="T78" fmla="*/ 48 w 1398"/>
                <a:gd name="T79" fmla="*/ 3 h 1428"/>
                <a:gd name="T80" fmla="*/ 54 w 1398"/>
                <a:gd name="T81" fmla="*/ 0 h 1428"/>
                <a:gd name="T82" fmla="*/ 58 w 1398"/>
                <a:gd name="T83" fmla="*/ 0 h 1428"/>
                <a:gd name="T84" fmla="*/ 66 w 1398"/>
                <a:gd name="T85" fmla="*/ 2 h 1428"/>
                <a:gd name="T86" fmla="*/ 70 w 1398"/>
                <a:gd name="T87" fmla="*/ 3 h 1428"/>
                <a:gd name="T88" fmla="*/ 75 w 1398"/>
                <a:gd name="T89" fmla="*/ 6 h 1428"/>
                <a:gd name="T90" fmla="*/ 80 w 1398"/>
                <a:gd name="T91" fmla="*/ 9 h 1428"/>
                <a:gd name="T92" fmla="*/ 83 w 1398"/>
                <a:gd name="T93" fmla="*/ 12 h 1428"/>
                <a:gd name="T94" fmla="*/ 87 w 1398"/>
                <a:gd name="T95" fmla="*/ 15 h 1428"/>
                <a:gd name="T96" fmla="*/ 94 w 1398"/>
                <a:gd name="T97" fmla="*/ 15 h 1428"/>
                <a:gd name="T98" fmla="*/ 99 w 1398"/>
                <a:gd name="T99" fmla="*/ 21 h 1428"/>
                <a:gd name="T100" fmla="*/ 103 w 1398"/>
                <a:gd name="T101" fmla="*/ 23 h 1428"/>
                <a:gd name="T102" fmla="*/ 110 w 1398"/>
                <a:gd name="T103" fmla="*/ 26 h 1428"/>
                <a:gd name="T104" fmla="*/ 116 w 1398"/>
                <a:gd name="T105" fmla="*/ 27 h 1428"/>
                <a:gd name="T106" fmla="*/ 120 w 1398"/>
                <a:gd name="T107" fmla="*/ 27 h 1428"/>
                <a:gd name="T108" fmla="*/ 116 w 1398"/>
                <a:gd name="T109" fmla="*/ 35 h 1428"/>
                <a:gd name="T110" fmla="*/ 104 w 1398"/>
                <a:gd name="T111" fmla="*/ 37 h 1428"/>
                <a:gd name="T112" fmla="*/ 97 w 1398"/>
                <a:gd name="T113" fmla="*/ 34 h 1428"/>
                <a:gd name="T114" fmla="*/ 91 w 1398"/>
                <a:gd name="T115" fmla="*/ 29 h 1428"/>
                <a:gd name="T116" fmla="*/ 75 w 1398"/>
                <a:gd name="T117" fmla="*/ 29 h 1428"/>
                <a:gd name="T118" fmla="*/ 72 w 1398"/>
                <a:gd name="T119" fmla="*/ 39 h 1428"/>
                <a:gd name="T120" fmla="*/ 80 w 1398"/>
                <a:gd name="T121" fmla="*/ 41 h 142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98"/>
                <a:gd name="T184" fmla="*/ 0 h 1428"/>
                <a:gd name="T185" fmla="*/ 1398 w 1398"/>
                <a:gd name="T186" fmla="*/ 1428 h 142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98" h="1428">
                  <a:moveTo>
                    <a:pt x="924" y="474"/>
                  </a:moveTo>
                  <a:lnTo>
                    <a:pt x="900" y="480"/>
                  </a:lnTo>
                  <a:lnTo>
                    <a:pt x="864" y="486"/>
                  </a:lnTo>
                  <a:lnTo>
                    <a:pt x="864" y="504"/>
                  </a:lnTo>
                  <a:lnTo>
                    <a:pt x="858" y="522"/>
                  </a:lnTo>
                  <a:lnTo>
                    <a:pt x="864" y="528"/>
                  </a:lnTo>
                  <a:lnTo>
                    <a:pt x="864" y="552"/>
                  </a:lnTo>
                  <a:lnTo>
                    <a:pt x="852" y="552"/>
                  </a:lnTo>
                  <a:lnTo>
                    <a:pt x="846" y="564"/>
                  </a:lnTo>
                  <a:lnTo>
                    <a:pt x="840" y="582"/>
                  </a:lnTo>
                  <a:lnTo>
                    <a:pt x="834" y="594"/>
                  </a:lnTo>
                  <a:lnTo>
                    <a:pt x="828" y="606"/>
                  </a:lnTo>
                  <a:lnTo>
                    <a:pt x="828" y="618"/>
                  </a:lnTo>
                  <a:lnTo>
                    <a:pt x="786" y="630"/>
                  </a:lnTo>
                  <a:lnTo>
                    <a:pt x="774" y="636"/>
                  </a:lnTo>
                  <a:lnTo>
                    <a:pt x="762" y="642"/>
                  </a:lnTo>
                  <a:lnTo>
                    <a:pt x="744" y="648"/>
                  </a:lnTo>
                  <a:lnTo>
                    <a:pt x="714" y="660"/>
                  </a:lnTo>
                  <a:lnTo>
                    <a:pt x="696" y="666"/>
                  </a:lnTo>
                  <a:lnTo>
                    <a:pt x="666" y="672"/>
                  </a:lnTo>
                  <a:lnTo>
                    <a:pt x="654" y="684"/>
                  </a:lnTo>
                  <a:lnTo>
                    <a:pt x="648" y="684"/>
                  </a:lnTo>
                  <a:lnTo>
                    <a:pt x="642" y="696"/>
                  </a:lnTo>
                  <a:lnTo>
                    <a:pt x="636" y="696"/>
                  </a:lnTo>
                  <a:lnTo>
                    <a:pt x="630" y="714"/>
                  </a:lnTo>
                  <a:lnTo>
                    <a:pt x="624" y="738"/>
                  </a:lnTo>
                  <a:lnTo>
                    <a:pt x="624" y="762"/>
                  </a:lnTo>
                  <a:lnTo>
                    <a:pt x="630" y="780"/>
                  </a:lnTo>
                  <a:lnTo>
                    <a:pt x="636" y="804"/>
                  </a:lnTo>
                  <a:lnTo>
                    <a:pt x="642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6" y="834"/>
                  </a:lnTo>
                  <a:lnTo>
                    <a:pt x="636" y="870"/>
                  </a:lnTo>
                  <a:lnTo>
                    <a:pt x="636" y="882"/>
                  </a:lnTo>
                  <a:lnTo>
                    <a:pt x="636" y="906"/>
                  </a:lnTo>
                  <a:lnTo>
                    <a:pt x="630" y="906"/>
                  </a:lnTo>
                  <a:lnTo>
                    <a:pt x="636" y="918"/>
                  </a:lnTo>
                  <a:lnTo>
                    <a:pt x="642" y="918"/>
                  </a:lnTo>
                  <a:lnTo>
                    <a:pt x="642" y="930"/>
                  </a:lnTo>
                  <a:lnTo>
                    <a:pt x="648" y="936"/>
                  </a:lnTo>
                  <a:lnTo>
                    <a:pt x="654" y="936"/>
                  </a:lnTo>
                  <a:lnTo>
                    <a:pt x="654" y="942"/>
                  </a:lnTo>
                  <a:lnTo>
                    <a:pt x="654" y="948"/>
                  </a:lnTo>
                  <a:lnTo>
                    <a:pt x="648" y="954"/>
                  </a:lnTo>
                  <a:lnTo>
                    <a:pt x="648" y="960"/>
                  </a:lnTo>
                  <a:lnTo>
                    <a:pt x="648" y="966"/>
                  </a:lnTo>
                  <a:lnTo>
                    <a:pt x="648" y="972"/>
                  </a:lnTo>
                  <a:lnTo>
                    <a:pt x="648" y="990"/>
                  </a:lnTo>
                  <a:lnTo>
                    <a:pt x="654" y="996"/>
                  </a:lnTo>
                  <a:lnTo>
                    <a:pt x="648" y="1002"/>
                  </a:lnTo>
                  <a:lnTo>
                    <a:pt x="648" y="1008"/>
                  </a:lnTo>
                  <a:lnTo>
                    <a:pt x="654" y="1014"/>
                  </a:lnTo>
                  <a:lnTo>
                    <a:pt x="654" y="1020"/>
                  </a:lnTo>
                  <a:lnTo>
                    <a:pt x="654" y="1026"/>
                  </a:lnTo>
                  <a:lnTo>
                    <a:pt x="660" y="1026"/>
                  </a:lnTo>
                  <a:lnTo>
                    <a:pt x="660" y="1032"/>
                  </a:lnTo>
                  <a:lnTo>
                    <a:pt x="660" y="1038"/>
                  </a:lnTo>
                  <a:lnTo>
                    <a:pt x="666" y="1044"/>
                  </a:lnTo>
                  <a:lnTo>
                    <a:pt x="672" y="1050"/>
                  </a:lnTo>
                  <a:lnTo>
                    <a:pt x="672" y="1056"/>
                  </a:lnTo>
                  <a:lnTo>
                    <a:pt x="672" y="1062"/>
                  </a:lnTo>
                  <a:lnTo>
                    <a:pt x="672" y="1068"/>
                  </a:lnTo>
                  <a:lnTo>
                    <a:pt x="672" y="1074"/>
                  </a:lnTo>
                  <a:lnTo>
                    <a:pt x="678" y="1074"/>
                  </a:lnTo>
                  <a:lnTo>
                    <a:pt x="678" y="1080"/>
                  </a:lnTo>
                  <a:lnTo>
                    <a:pt x="678" y="1086"/>
                  </a:lnTo>
                  <a:lnTo>
                    <a:pt x="672" y="1092"/>
                  </a:lnTo>
                  <a:lnTo>
                    <a:pt x="672" y="1098"/>
                  </a:lnTo>
                  <a:lnTo>
                    <a:pt x="672" y="1104"/>
                  </a:lnTo>
                  <a:lnTo>
                    <a:pt x="666" y="1116"/>
                  </a:lnTo>
                  <a:lnTo>
                    <a:pt x="624" y="1122"/>
                  </a:lnTo>
                  <a:lnTo>
                    <a:pt x="576" y="1134"/>
                  </a:lnTo>
                  <a:lnTo>
                    <a:pt x="570" y="1140"/>
                  </a:lnTo>
                  <a:lnTo>
                    <a:pt x="570" y="1146"/>
                  </a:lnTo>
                  <a:lnTo>
                    <a:pt x="564" y="1146"/>
                  </a:lnTo>
                  <a:lnTo>
                    <a:pt x="564" y="1152"/>
                  </a:lnTo>
                  <a:lnTo>
                    <a:pt x="564" y="1164"/>
                  </a:lnTo>
                  <a:lnTo>
                    <a:pt x="564" y="1170"/>
                  </a:lnTo>
                  <a:lnTo>
                    <a:pt x="564" y="1176"/>
                  </a:lnTo>
                  <a:lnTo>
                    <a:pt x="546" y="1176"/>
                  </a:lnTo>
                  <a:lnTo>
                    <a:pt x="540" y="1212"/>
                  </a:lnTo>
                  <a:lnTo>
                    <a:pt x="540" y="1230"/>
                  </a:lnTo>
                  <a:lnTo>
                    <a:pt x="546" y="1242"/>
                  </a:lnTo>
                  <a:lnTo>
                    <a:pt x="546" y="1254"/>
                  </a:lnTo>
                  <a:lnTo>
                    <a:pt x="558" y="1266"/>
                  </a:lnTo>
                  <a:lnTo>
                    <a:pt x="576" y="1272"/>
                  </a:lnTo>
                  <a:lnTo>
                    <a:pt x="570" y="1278"/>
                  </a:lnTo>
                  <a:lnTo>
                    <a:pt x="576" y="1284"/>
                  </a:lnTo>
                  <a:lnTo>
                    <a:pt x="570" y="1296"/>
                  </a:lnTo>
                  <a:lnTo>
                    <a:pt x="558" y="1302"/>
                  </a:lnTo>
                  <a:lnTo>
                    <a:pt x="540" y="1308"/>
                  </a:lnTo>
                  <a:lnTo>
                    <a:pt x="522" y="1314"/>
                  </a:lnTo>
                  <a:lnTo>
                    <a:pt x="516" y="1314"/>
                  </a:lnTo>
                  <a:lnTo>
                    <a:pt x="510" y="1314"/>
                  </a:lnTo>
                  <a:lnTo>
                    <a:pt x="504" y="1314"/>
                  </a:lnTo>
                  <a:lnTo>
                    <a:pt x="498" y="1320"/>
                  </a:lnTo>
                  <a:lnTo>
                    <a:pt x="492" y="1320"/>
                  </a:lnTo>
                  <a:lnTo>
                    <a:pt x="492" y="1326"/>
                  </a:lnTo>
                  <a:lnTo>
                    <a:pt x="486" y="1326"/>
                  </a:lnTo>
                  <a:lnTo>
                    <a:pt x="480" y="1326"/>
                  </a:lnTo>
                  <a:lnTo>
                    <a:pt x="480" y="1320"/>
                  </a:lnTo>
                  <a:lnTo>
                    <a:pt x="468" y="1314"/>
                  </a:lnTo>
                  <a:lnTo>
                    <a:pt x="462" y="1308"/>
                  </a:lnTo>
                  <a:lnTo>
                    <a:pt x="456" y="1302"/>
                  </a:lnTo>
                  <a:lnTo>
                    <a:pt x="444" y="1296"/>
                  </a:lnTo>
                  <a:lnTo>
                    <a:pt x="420" y="1290"/>
                  </a:lnTo>
                  <a:lnTo>
                    <a:pt x="414" y="1278"/>
                  </a:lnTo>
                  <a:lnTo>
                    <a:pt x="408" y="1278"/>
                  </a:lnTo>
                  <a:lnTo>
                    <a:pt x="408" y="1266"/>
                  </a:lnTo>
                  <a:lnTo>
                    <a:pt x="402" y="1260"/>
                  </a:lnTo>
                  <a:lnTo>
                    <a:pt x="384" y="1260"/>
                  </a:lnTo>
                  <a:lnTo>
                    <a:pt x="372" y="1266"/>
                  </a:lnTo>
                  <a:lnTo>
                    <a:pt x="360" y="1272"/>
                  </a:lnTo>
                  <a:lnTo>
                    <a:pt x="348" y="1272"/>
                  </a:lnTo>
                  <a:lnTo>
                    <a:pt x="342" y="1284"/>
                  </a:lnTo>
                  <a:lnTo>
                    <a:pt x="336" y="1290"/>
                  </a:lnTo>
                  <a:lnTo>
                    <a:pt x="336" y="1308"/>
                  </a:lnTo>
                  <a:lnTo>
                    <a:pt x="336" y="1314"/>
                  </a:lnTo>
                  <a:lnTo>
                    <a:pt x="336" y="1320"/>
                  </a:lnTo>
                  <a:lnTo>
                    <a:pt x="330" y="1326"/>
                  </a:lnTo>
                  <a:lnTo>
                    <a:pt x="330" y="1332"/>
                  </a:lnTo>
                  <a:lnTo>
                    <a:pt x="330" y="1338"/>
                  </a:lnTo>
                  <a:lnTo>
                    <a:pt x="300" y="1338"/>
                  </a:lnTo>
                  <a:lnTo>
                    <a:pt x="288" y="1338"/>
                  </a:lnTo>
                  <a:lnTo>
                    <a:pt x="258" y="1326"/>
                  </a:lnTo>
                  <a:lnTo>
                    <a:pt x="246" y="1332"/>
                  </a:lnTo>
                  <a:lnTo>
                    <a:pt x="240" y="1338"/>
                  </a:lnTo>
                  <a:lnTo>
                    <a:pt x="234" y="1338"/>
                  </a:lnTo>
                  <a:lnTo>
                    <a:pt x="228" y="1350"/>
                  </a:lnTo>
                  <a:lnTo>
                    <a:pt x="228" y="1374"/>
                  </a:lnTo>
                  <a:lnTo>
                    <a:pt x="234" y="1392"/>
                  </a:lnTo>
                  <a:lnTo>
                    <a:pt x="246" y="1398"/>
                  </a:lnTo>
                  <a:lnTo>
                    <a:pt x="246" y="1410"/>
                  </a:lnTo>
                  <a:lnTo>
                    <a:pt x="216" y="1428"/>
                  </a:lnTo>
                  <a:lnTo>
                    <a:pt x="198" y="1428"/>
                  </a:lnTo>
                  <a:lnTo>
                    <a:pt x="192" y="1422"/>
                  </a:lnTo>
                  <a:lnTo>
                    <a:pt x="174" y="1410"/>
                  </a:lnTo>
                  <a:lnTo>
                    <a:pt x="156" y="1386"/>
                  </a:lnTo>
                  <a:lnTo>
                    <a:pt x="132" y="1374"/>
                  </a:lnTo>
                  <a:lnTo>
                    <a:pt x="108" y="1368"/>
                  </a:lnTo>
                  <a:lnTo>
                    <a:pt x="84" y="1368"/>
                  </a:lnTo>
                  <a:lnTo>
                    <a:pt x="96" y="1356"/>
                  </a:lnTo>
                  <a:lnTo>
                    <a:pt x="102" y="1344"/>
                  </a:lnTo>
                  <a:lnTo>
                    <a:pt x="102" y="1332"/>
                  </a:lnTo>
                  <a:lnTo>
                    <a:pt x="108" y="1320"/>
                  </a:lnTo>
                  <a:lnTo>
                    <a:pt x="108" y="1302"/>
                  </a:lnTo>
                  <a:lnTo>
                    <a:pt x="96" y="1278"/>
                  </a:lnTo>
                  <a:lnTo>
                    <a:pt x="66" y="1284"/>
                  </a:lnTo>
                  <a:lnTo>
                    <a:pt x="54" y="1278"/>
                  </a:lnTo>
                  <a:lnTo>
                    <a:pt x="36" y="1278"/>
                  </a:lnTo>
                  <a:lnTo>
                    <a:pt x="18" y="1284"/>
                  </a:lnTo>
                  <a:lnTo>
                    <a:pt x="18" y="1272"/>
                  </a:lnTo>
                  <a:lnTo>
                    <a:pt x="24" y="1260"/>
                  </a:lnTo>
                  <a:lnTo>
                    <a:pt x="24" y="1254"/>
                  </a:lnTo>
                  <a:lnTo>
                    <a:pt x="30" y="1248"/>
                  </a:lnTo>
                  <a:lnTo>
                    <a:pt x="24" y="1230"/>
                  </a:lnTo>
                  <a:lnTo>
                    <a:pt x="30" y="1218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30" y="1170"/>
                  </a:lnTo>
                  <a:lnTo>
                    <a:pt x="30" y="1152"/>
                  </a:lnTo>
                  <a:lnTo>
                    <a:pt x="24" y="1146"/>
                  </a:lnTo>
                  <a:lnTo>
                    <a:pt x="0" y="1116"/>
                  </a:lnTo>
                  <a:lnTo>
                    <a:pt x="6" y="1092"/>
                  </a:lnTo>
                  <a:lnTo>
                    <a:pt x="18" y="1056"/>
                  </a:lnTo>
                  <a:lnTo>
                    <a:pt x="24" y="1050"/>
                  </a:lnTo>
                  <a:lnTo>
                    <a:pt x="24" y="1038"/>
                  </a:lnTo>
                  <a:lnTo>
                    <a:pt x="24" y="1026"/>
                  </a:lnTo>
                  <a:lnTo>
                    <a:pt x="30" y="1002"/>
                  </a:lnTo>
                  <a:lnTo>
                    <a:pt x="36" y="990"/>
                  </a:lnTo>
                  <a:lnTo>
                    <a:pt x="42" y="984"/>
                  </a:lnTo>
                  <a:lnTo>
                    <a:pt x="54" y="984"/>
                  </a:lnTo>
                  <a:lnTo>
                    <a:pt x="66" y="978"/>
                  </a:lnTo>
                  <a:lnTo>
                    <a:pt x="72" y="978"/>
                  </a:lnTo>
                  <a:lnTo>
                    <a:pt x="90" y="978"/>
                  </a:lnTo>
                  <a:lnTo>
                    <a:pt x="102" y="972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78"/>
                  </a:lnTo>
                  <a:lnTo>
                    <a:pt x="120" y="984"/>
                  </a:lnTo>
                  <a:lnTo>
                    <a:pt x="138" y="984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6" y="972"/>
                  </a:lnTo>
                  <a:lnTo>
                    <a:pt x="156" y="966"/>
                  </a:lnTo>
                  <a:lnTo>
                    <a:pt x="156" y="960"/>
                  </a:lnTo>
                  <a:lnTo>
                    <a:pt x="180" y="948"/>
                  </a:lnTo>
                  <a:lnTo>
                    <a:pt x="186" y="924"/>
                  </a:lnTo>
                  <a:lnTo>
                    <a:pt x="192" y="918"/>
                  </a:lnTo>
                  <a:lnTo>
                    <a:pt x="228" y="924"/>
                  </a:lnTo>
                  <a:lnTo>
                    <a:pt x="246" y="906"/>
                  </a:lnTo>
                  <a:lnTo>
                    <a:pt x="240" y="888"/>
                  </a:lnTo>
                  <a:lnTo>
                    <a:pt x="234" y="888"/>
                  </a:lnTo>
                  <a:lnTo>
                    <a:pt x="234" y="882"/>
                  </a:lnTo>
                  <a:lnTo>
                    <a:pt x="228" y="870"/>
                  </a:lnTo>
                  <a:lnTo>
                    <a:pt x="228" y="864"/>
                  </a:lnTo>
                  <a:lnTo>
                    <a:pt x="222" y="864"/>
                  </a:lnTo>
                  <a:lnTo>
                    <a:pt x="216" y="858"/>
                  </a:lnTo>
                  <a:lnTo>
                    <a:pt x="198" y="852"/>
                  </a:lnTo>
                  <a:lnTo>
                    <a:pt x="192" y="852"/>
                  </a:lnTo>
                  <a:lnTo>
                    <a:pt x="186" y="846"/>
                  </a:lnTo>
                  <a:lnTo>
                    <a:pt x="174" y="834"/>
                  </a:lnTo>
                  <a:lnTo>
                    <a:pt x="162" y="822"/>
                  </a:lnTo>
                  <a:lnTo>
                    <a:pt x="156" y="816"/>
                  </a:lnTo>
                  <a:lnTo>
                    <a:pt x="162" y="810"/>
                  </a:lnTo>
                  <a:lnTo>
                    <a:pt x="174" y="798"/>
                  </a:lnTo>
                  <a:lnTo>
                    <a:pt x="180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68"/>
                  </a:lnTo>
                  <a:lnTo>
                    <a:pt x="192" y="744"/>
                  </a:lnTo>
                  <a:lnTo>
                    <a:pt x="186" y="708"/>
                  </a:lnTo>
                  <a:lnTo>
                    <a:pt x="174" y="690"/>
                  </a:lnTo>
                  <a:lnTo>
                    <a:pt x="168" y="672"/>
                  </a:lnTo>
                  <a:lnTo>
                    <a:pt x="156" y="630"/>
                  </a:lnTo>
                  <a:lnTo>
                    <a:pt x="156" y="606"/>
                  </a:lnTo>
                  <a:lnTo>
                    <a:pt x="150" y="606"/>
                  </a:lnTo>
                  <a:lnTo>
                    <a:pt x="150" y="600"/>
                  </a:lnTo>
                  <a:lnTo>
                    <a:pt x="144" y="600"/>
                  </a:lnTo>
                  <a:lnTo>
                    <a:pt x="150" y="594"/>
                  </a:lnTo>
                  <a:lnTo>
                    <a:pt x="144" y="588"/>
                  </a:lnTo>
                  <a:lnTo>
                    <a:pt x="138" y="558"/>
                  </a:lnTo>
                  <a:lnTo>
                    <a:pt x="138" y="528"/>
                  </a:lnTo>
                  <a:lnTo>
                    <a:pt x="132" y="480"/>
                  </a:lnTo>
                  <a:lnTo>
                    <a:pt x="132" y="462"/>
                  </a:lnTo>
                  <a:lnTo>
                    <a:pt x="126" y="426"/>
                  </a:lnTo>
                  <a:lnTo>
                    <a:pt x="126" y="396"/>
                  </a:lnTo>
                  <a:lnTo>
                    <a:pt x="126" y="378"/>
                  </a:lnTo>
                  <a:lnTo>
                    <a:pt x="126" y="360"/>
                  </a:lnTo>
                  <a:lnTo>
                    <a:pt x="132" y="318"/>
                  </a:lnTo>
                  <a:lnTo>
                    <a:pt x="132" y="24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2" y="210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92" y="198"/>
                  </a:lnTo>
                  <a:lnTo>
                    <a:pt x="198" y="198"/>
                  </a:lnTo>
                  <a:lnTo>
                    <a:pt x="216" y="180"/>
                  </a:lnTo>
                  <a:lnTo>
                    <a:pt x="222" y="174"/>
                  </a:lnTo>
                  <a:lnTo>
                    <a:pt x="222" y="168"/>
                  </a:lnTo>
                  <a:lnTo>
                    <a:pt x="228" y="168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44"/>
                  </a:lnTo>
                  <a:lnTo>
                    <a:pt x="258" y="144"/>
                  </a:lnTo>
                  <a:lnTo>
                    <a:pt x="276" y="150"/>
                  </a:lnTo>
                  <a:lnTo>
                    <a:pt x="300" y="150"/>
                  </a:lnTo>
                  <a:lnTo>
                    <a:pt x="312" y="150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8" y="156"/>
                  </a:lnTo>
                  <a:lnTo>
                    <a:pt x="354" y="150"/>
                  </a:lnTo>
                  <a:lnTo>
                    <a:pt x="372" y="144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08" y="126"/>
                  </a:lnTo>
                  <a:lnTo>
                    <a:pt x="414" y="120"/>
                  </a:lnTo>
                  <a:lnTo>
                    <a:pt x="420" y="120"/>
                  </a:lnTo>
                  <a:lnTo>
                    <a:pt x="426" y="120"/>
                  </a:lnTo>
                  <a:lnTo>
                    <a:pt x="432" y="114"/>
                  </a:lnTo>
                  <a:lnTo>
                    <a:pt x="450" y="102"/>
                  </a:lnTo>
                  <a:lnTo>
                    <a:pt x="456" y="96"/>
                  </a:lnTo>
                  <a:lnTo>
                    <a:pt x="468" y="90"/>
                  </a:lnTo>
                  <a:lnTo>
                    <a:pt x="474" y="90"/>
                  </a:lnTo>
                  <a:lnTo>
                    <a:pt x="480" y="84"/>
                  </a:lnTo>
                  <a:lnTo>
                    <a:pt x="486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504" y="72"/>
                  </a:lnTo>
                  <a:lnTo>
                    <a:pt x="510" y="66"/>
                  </a:lnTo>
                  <a:lnTo>
                    <a:pt x="516" y="66"/>
                  </a:lnTo>
                  <a:lnTo>
                    <a:pt x="522" y="60"/>
                  </a:lnTo>
                  <a:lnTo>
                    <a:pt x="552" y="42"/>
                  </a:lnTo>
                  <a:lnTo>
                    <a:pt x="558" y="36"/>
                  </a:lnTo>
                  <a:lnTo>
                    <a:pt x="576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94" y="18"/>
                  </a:lnTo>
                  <a:lnTo>
                    <a:pt x="600" y="12"/>
                  </a:lnTo>
                  <a:lnTo>
                    <a:pt x="612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6"/>
                  </a:lnTo>
                  <a:lnTo>
                    <a:pt x="648" y="6"/>
                  </a:lnTo>
                  <a:lnTo>
                    <a:pt x="660" y="6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38" y="18"/>
                  </a:lnTo>
                  <a:lnTo>
                    <a:pt x="744" y="18"/>
                  </a:lnTo>
                  <a:lnTo>
                    <a:pt x="756" y="18"/>
                  </a:lnTo>
                  <a:lnTo>
                    <a:pt x="762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80" y="24"/>
                  </a:lnTo>
                  <a:lnTo>
                    <a:pt x="792" y="24"/>
                  </a:lnTo>
                  <a:lnTo>
                    <a:pt x="792" y="30"/>
                  </a:lnTo>
                  <a:lnTo>
                    <a:pt x="810" y="30"/>
                  </a:lnTo>
                  <a:lnTo>
                    <a:pt x="822" y="36"/>
                  </a:lnTo>
                  <a:lnTo>
                    <a:pt x="834" y="42"/>
                  </a:lnTo>
                  <a:lnTo>
                    <a:pt x="840" y="48"/>
                  </a:lnTo>
                  <a:lnTo>
                    <a:pt x="846" y="54"/>
                  </a:lnTo>
                  <a:lnTo>
                    <a:pt x="852" y="60"/>
                  </a:lnTo>
                  <a:lnTo>
                    <a:pt x="858" y="66"/>
                  </a:lnTo>
                  <a:lnTo>
                    <a:pt x="864" y="66"/>
                  </a:lnTo>
                  <a:lnTo>
                    <a:pt x="864" y="72"/>
                  </a:lnTo>
                  <a:lnTo>
                    <a:pt x="876" y="78"/>
                  </a:lnTo>
                  <a:lnTo>
                    <a:pt x="900" y="84"/>
                  </a:lnTo>
                  <a:lnTo>
                    <a:pt x="906" y="90"/>
                  </a:lnTo>
                  <a:lnTo>
                    <a:pt x="912" y="90"/>
                  </a:lnTo>
                  <a:lnTo>
                    <a:pt x="912" y="96"/>
                  </a:lnTo>
                  <a:lnTo>
                    <a:pt x="924" y="108"/>
                  </a:lnTo>
                  <a:lnTo>
                    <a:pt x="930" y="108"/>
                  </a:lnTo>
                  <a:lnTo>
                    <a:pt x="936" y="114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60" y="138"/>
                  </a:lnTo>
                  <a:lnTo>
                    <a:pt x="966" y="144"/>
                  </a:lnTo>
                  <a:lnTo>
                    <a:pt x="972" y="156"/>
                  </a:lnTo>
                  <a:lnTo>
                    <a:pt x="978" y="162"/>
                  </a:lnTo>
                  <a:lnTo>
                    <a:pt x="984" y="162"/>
                  </a:lnTo>
                  <a:lnTo>
                    <a:pt x="990" y="168"/>
                  </a:lnTo>
                  <a:lnTo>
                    <a:pt x="996" y="174"/>
                  </a:lnTo>
                  <a:lnTo>
                    <a:pt x="1002" y="180"/>
                  </a:lnTo>
                  <a:lnTo>
                    <a:pt x="1008" y="180"/>
                  </a:lnTo>
                  <a:lnTo>
                    <a:pt x="1020" y="180"/>
                  </a:lnTo>
                  <a:lnTo>
                    <a:pt x="1038" y="174"/>
                  </a:lnTo>
                  <a:lnTo>
                    <a:pt x="1050" y="174"/>
                  </a:lnTo>
                  <a:lnTo>
                    <a:pt x="1056" y="174"/>
                  </a:lnTo>
                  <a:lnTo>
                    <a:pt x="1068" y="180"/>
                  </a:lnTo>
                  <a:lnTo>
                    <a:pt x="1080" y="180"/>
                  </a:lnTo>
                  <a:lnTo>
                    <a:pt x="1086" y="186"/>
                  </a:lnTo>
                  <a:lnTo>
                    <a:pt x="1098" y="192"/>
                  </a:lnTo>
                  <a:lnTo>
                    <a:pt x="1116" y="204"/>
                  </a:lnTo>
                  <a:lnTo>
                    <a:pt x="1122" y="210"/>
                  </a:lnTo>
                  <a:lnTo>
                    <a:pt x="1134" y="222"/>
                  </a:lnTo>
                  <a:lnTo>
                    <a:pt x="1146" y="234"/>
                  </a:lnTo>
                  <a:lnTo>
                    <a:pt x="1146" y="240"/>
                  </a:lnTo>
                  <a:lnTo>
                    <a:pt x="1152" y="246"/>
                  </a:lnTo>
                  <a:lnTo>
                    <a:pt x="1152" y="252"/>
                  </a:lnTo>
                  <a:lnTo>
                    <a:pt x="1152" y="258"/>
                  </a:lnTo>
                  <a:lnTo>
                    <a:pt x="1164" y="258"/>
                  </a:lnTo>
                  <a:lnTo>
                    <a:pt x="1170" y="264"/>
                  </a:lnTo>
                  <a:lnTo>
                    <a:pt x="1182" y="270"/>
                  </a:lnTo>
                  <a:lnTo>
                    <a:pt x="1188" y="270"/>
                  </a:lnTo>
                  <a:lnTo>
                    <a:pt x="1194" y="270"/>
                  </a:lnTo>
                  <a:lnTo>
                    <a:pt x="1206" y="276"/>
                  </a:lnTo>
                  <a:lnTo>
                    <a:pt x="1224" y="282"/>
                  </a:lnTo>
                  <a:lnTo>
                    <a:pt x="1236" y="282"/>
                  </a:lnTo>
                  <a:lnTo>
                    <a:pt x="1242" y="288"/>
                  </a:lnTo>
                  <a:lnTo>
                    <a:pt x="1254" y="288"/>
                  </a:lnTo>
                  <a:lnTo>
                    <a:pt x="1266" y="294"/>
                  </a:lnTo>
                  <a:lnTo>
                    <a:pt x="1272" y="294"/>
                  </a:lnTo>
                  <a:lnTo>
                    <a:pt x="1284" y="300"/>
                  </a:lnTo>
                  <a:lnTo>
                    <a:pt x="1290" y="300"/>
                  </a:lnTo>
                  <a:lnTo>
                    <a:pt x="1296" y="300"/>
                  </a:lnTo>
                  <a:lnTo>
                    <a:pt x="1302" y="306"/>
                  </a:lnTo>
                  <a:lnTo>
                    <a:pt x="1326" y="312"/>
                  </a:lnTo>
                  <a:lnTo>
                    <a:pt x="1338" y="312"/>
                  </a:lnTo>
                  <a:lnTo>
                    <a:pt x="1338" y="318"/>
                  </a:lnTo>
                  <a:lnTo>
                    <a:pt x="1344" y="318"/>
                  </a:lnTo>
                  <a:lnTo>
                    <a:pt x="1350" y="318"/>
                  </a:lnTo>
                  <a:lnTo>
                    <a:pt x="1362" y="324"/>
                  </a:lnTo>
                  <a:lnTo>
                    <a:pt x="1368" y="318"/>
                  </a:lnTo>
                  <a:lnTo>
                    <a:pt x="1374" y="318"/>
                  </a:lnTo>
                  <a:lnTo>
                    <a:pt x="1386" y="318"/>
                  </a:lnTo>
                  <a:lnTo>
                    <a:pt x="1398" y="324"/>
                  </a:lnTo>
                  <a:lnTo>
                    <a:pt x="1398" y="342"/>
                  </a:lnTo>
                  <a:lnTo>
                    <a:pt x="1356" y="342"/>
                  </a:lnTo>
                  <a:lnTo>
                    <a:pt x="1350" y="348"/>
                  </a:lnTo>
                  <a:lnTo>
                    <a:pt x="1350" y="372"/>
                  </a:lnTo>
                  <a:lnTo>
                    <a:pt x="1338" y="384"/>
                  </a:lnTo>
                  <a:lnTo>
                    <a:pt x="1332" y="408"/>
                  </a:lnTo>
                  <a:lnTo>
                    <a:pt x="1320" y="420"/>
                  </a:lnTo>
                  <a:lnTo>
                    <a:pt x="1254" y="426"/>
                  </a:lnTo>
                  <a:lnTo>
                    <a:pt x="1248" y="432"/>
                  </a:lnTo>
                  <a:lnTo>
                    <a:pt x="1230" y="432"/>
                  </a:lnTo>
                  <a:lnTo>
                    <a:pt x="1212" y="432"/>
                  </a:lnTo>
                  <a:lnTo>
                    <a:pt x="1212" y="426"/>
                  </a:lnTo>
                  <a:lnTo>
                    <a:pt x="1200" y="426"/>
                  </a:lnTo>
                  <a:lnTo>
                    <a:pt x="1182" y="414"/>
                  </a:lnTo>
                  <a:lnTo>
                    <a:pt x="1182" y="420"/>
                  </a:lnTo>
                  <a:lnTo>
                    <a:pt x="1164" y="420"/>
                  </a:lnTo>
                  <a:lnTo>
                    <a:pt x="1158" y="414"/>
                  </a:lnTo>
                  <a:lnTo>
                    <a:pt x="1152" y="408"/>
                  </a:lnTo>
                  <a:lnTo>
                    <a:pt x="1146" y="402"/>
                  </a:lnTo>
                  <a:lnTo>
                    <a:pt x="1122" y="396"/>
                  </a:lnTo>
                  <a:lnTo>
                    <a:pt x="1116" y="366"/>
                  </a:lnTo>
                  <a:lnTo>
                    <a:pt x="1116" y="348"/>
                  </a:lnTo>
                  <a:lnTo>
                    <a:pt x="1110" y="342"/>
                  </a:lnTo>
                  <a:lnTo>
                    <a:pt x="1104" y="336"/>
                  </a:lnTo>
                  <a:lnTo>
                    <a:pt x="1092" y="330"/>
                  </a:lnTo>
                  <a:lnTo>
                    <a:pt x="1074" y="330"/>
                  </a:lnTo>
                  <a:lnTo>
                    <a:pt x="1044" y="330"/>
                  </a:lnTo>
                  <a:lnTo>
                    <a:pt x="1014" y="336"/>
                  </a:lnTo>
                  <a:lnTo>
                    <a:pt x="984" y="342"/>
                  </a:lnTo>
                  <a:lnTo>
                    <a:pt x="978" y="330"/>
                  </a:lnTo>
                  <a:lnTo>
                    <a:pt x="966" y="324"/>
                  </a:lnTo>
                  <a:lnTo>
                    <a:pt x="888" y="336"/>
                  </a:lnTo>
                  <a:lnTo>
                    <a:pt x="888" y="330"/>
                  </a:lnTo>
                  <a:lnTo>
                    <a:pt x="870" y="336"/>
                  </a:lnTo>
                  <a:lnTo>
                    <a:pt x="858" y="336"/>
                  </a:lnTo>
                  <a:lnTo>
                    <a:pt x="852" y="354"/>
                  </a:lnTo>
                  <a:lnTo>
                    <a:pt x="852" y="402"/>
                  </a:lnTo>
                  <a:lnTo>
                    <a:pt x="840" y="414"/>
                  </a:lnTo>
                  <a:lnTo>
                    <a:pt x="834" y="420"/>
                  </a:lnTo>
                  <a:lnTo>
                    <a:pt x="834" y="444"/>
                  </a:lnTo>
                  <a:lnTo>
                    <a:pt x="834" y="450"/>
                  </a:lnTo>
                  <a:lnTo>
                    <a:pt x="852" y="456"/>
                  </a:lnTo>
                  <a:lnTo>
                    <a:pt x="864" y="462"/>
                  </a:lnTo>
                  <a:lnTo>
                    <a:pt x="894" y="456"/>
                  </a:lnTo>
                  <a:lnTo>
                    <a:pt x="900" y="468"/>
                  </a:lnTo>
                  <a:lnTo>
                    <a:pt x="918" y="462"/>
                  </a:lnTo>
                  <a:lnTo>
                    <a:pt x="924" y="468"/>
                  </a:lnTo>
                  <a:lnTo>
                    <a:pt x="924" y="47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2" name="Freeform 37">
              <a:extLst>
                <a:ext uri="{FF2B5EF4-FFF2-40B4-BE49-F238E27FC236}">
                  <a16:creationId xmlns:a16="http://schemas.microsoft.com/office/drawing/2014/main" id="{DED8A1FF-B656-4D37-BD26-5B0A7B1A4A6D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441" y="1898343"/>
              <a:ext cx="567992" cy="686605"/>
            </a:xfrm>
            <a:custGeom>
              <a:avLst/>
              <a:gdLst>
                <a:gd name="T0" fmla="*/ 79 w 1068"/>
                <a:gd name="T1" fmla="*/ 72 h 1290"/>
                <a:gd name="T2" fmla="*/ 75 w 1068"/>
                <a:gd name="T3" fmla="*/ 73 h 1290"/>
                <a:gd name="T4" fmla="*/ 72 w 1068"/>
                <a:gd name="T5" fmla="*/ 76 h 1290"/>
                <a:gd name="T6" fmla="*/ 70 w 1068"/>
                <a:gd name="T7" fmla="*/ 78 h 1290"/>
                <a:gd name="T8" fmla="*/ 67 w 1068"/>
                <a:gd name="T9" fmla="*/ 82 h 1290"/>
                <a:gd name="T10" fmla="*/ 61 w 1068"/>
                <a:gd name="T11" fmla="*/ 86 h 1290"/>
                <a:gd name="T12" fmla="*/ 60 w 1068"/>
                <a:gd name="T13" fmla="*/ 93 h 1290"/>
                <a:gd name="T14" fmla="*/ 59 w 1068"/>
                <a:gd name="T15" fmla="*/ 97 h 1290"/>
                <a:gd name="T16" fmla="*/ 61 w 1068"/>
                <a:gd name="T17" fmla="*/ 101 h 1290"/>
                <a:gd name="T18" fmla="*/ 63 w 1068"/>
                <a:gd name="T19" fmla="*/ 104 h 1290"/>
                <a:gd name="T20" fmla="*/ 62 w 1068"/>
                <a:gd name="T21" fmla="*/ 108 h 1290"/>
                <a:gd name="T22" fmla="*/ 60 w 1068"/>
                <a:gd name="T23" fmla="*/ 111 h 1290"/>
                <a:gd name="T24" fmla="*/ 56 w 1068"/>
                <a:gd name="T25" fmla="*/ 111 h 1290"/>
                <a:gd name="T26" fmla="*/ 53 w 1068"/>
                <a:gd name="T27" fmla="*/ 110 h 1290"/>
                <a:gd name="T28" fmla="*/ 50 w 1068"/>
                <a:gd name="T29" fmla="*/ 109 h 1290"/>
                <a:gd name="T30" fmla="*/ 47 w 1068"/>
                <a:gd name="T31" fmla="*/ 110 h 1290"/>
                <a:gd name="T32" fmla="*/ 51 w 1068"/>
                <a:gd name="T33" fmla="*/ 104 h 1290"/>
                <a:gd name="T34" fmla="*/ 50 w 1068"/>
                <a:gd name="T35" fmla="*/ 95 h 1290"/>
                <a:gd name="T36" fmla="*/ 51 w 1068"/>
                <a:gd name="T37" fmla="*/ 90 h 1290"/>
                <a:gd name="T38" fmla="*/ 47 w 1068"/>
                <a:gd name="T39" fmla="*/ 84 h 1290"/>
                <a:gd name="T40" fmla="*/ 42 w 1068"/>
                <a:gd name="T41" fmla="*/ 78 h 1290"/>
                <a:gd name="T42" fmla="*/ 33 w 1068"/>
                <a:gd name="T43" fmla="*/ 73 h 1290"/>
                <a:gd name="T44" fmla="*/ 26 w 1068"/>
                <a:gd name="T45" fmla="*/ 68 h 1290"/>
                <a:gd name="T46" fmla="*/ 22 w 1068"/>
                <a:gd name="T47" fmla="*/ 63 h 1290"/>
                <a:gd name="T48" fmla="*/ 11 w 1068"/>
                <a:gd name="T49" fmla="*/ 67 h 1290"/>
                <a:gd name="T50" fmla="*/ 0 w 1068"/>
                <a:gd name="T51" fmla="*/ 68 h 1290"/>
                <a:gd name="T52" fmla="*/ 2 w 1068"/>
                <a:gd name="T53" fmla="*/ 59 h 1290"/>
                <a:gd name="T54" fmla="*/ 12 w 1068"/>
                <a:gd name="T55" fmla="*/ 55 h 1290"/>
                <a:gd name="T56" fmla="*/ 12 w 1068"/>
                <a:gd name="T57" fmla="*/ 51 h 1290"/>
                <a:gd name="T58" fmla="*/ 10 w 1068"/>
                <a:gd name="T59" fmla="*/ 47 h 1290"/>
                <a:gd name="T60" fmla="*/ 9 w 1068"/>
                <a:gd name="T61" fmla="*/ 42 h 1290"/>
                <a:gd name="T62" fmla="*/ 8 w 1068"/>
                <a:gd name="T63" fmla="*/ 38 h 1290"/>
                <a:gd name="T64" fmla="*/ 8 w 1068"/>
                <a:gd name="T65" fmla="*/ 29 h 1290"/>
                <a:gd name="T66" fmla="*/ 10 w 1068"/>
                <a:gd name="T67" fmla="*/ 18 h 1290"/>
                <a:gd name="T68" fmla="*/ 25 w 1068"/>
                <a:gd name="T69" fmla="*/ 12 h 1290"/>
                <a:gd name="T70" fmla="*/ 27 w 1068"/>
                <a:gd name="T71" fmla="*/ 4 h 1290"/>
                <a:gd name="T72" fmla="*/ 35 w 1068"/>
                <a:gd name="T73" fmla="*/ 6 h 1290"/>
                <a:gd name="T74" fmla="*/ 39 w 1068"/>
                <a:gd name="T75" fmla="*/ 8 h 1290"/>
                <a:gd name="T76" fmla="*/ 41 w 1068"/>
                <a:gd name="T77" fmla="*/ 3 h 1290"/>
                <a:gd name="T78" fmla="*/ 45 w 1068"/>
                <a:gd name="T79" fmla="*/ 0 h 1290"/>
                <a:gd name="T80" fmla="*/ 51 w 1068"/>
                <a:gd name="T81" fmla="*/ 0 h 1290"/>
                <a:gd name="T82" fmla="*/ 56 w 1068"/>
                <a:gd name="T83" fmla="*/ 4 h 1290"/>
                <a:gd name="T84" fmla="*/ 62 w 1068"/>
                <a:gd name="T85" fmla="*/ 12 h 1290"/>
                <a:gd name="T86" fmla="*/ 58 w 1068"/>
                <a:gd name="T87" fmla="*/ 17 h 1290"/>
                <a:gd name="T88" fmla="*/ 60 w 1068"/>
                <a:gd name="T89" fmla="*/ 18 h 1290"/>
                <a:gd name="T90" fmla="*/ 64 w 1068"/>
                <a:gd name="T91" fmla="*/ 16 h 1290"/>
                <a:gd name="T92" fmla="*/ 68 w 1068"/>
                <a:gd name="T93" fmla="*/ 18 h 1290"/>
                <a:gd name="T94" fmla="*/ 71 w 1068"/>
                <a:gd name="T95" fmla="*/ 27 h 1290"/>
                <a:gd name="T96" fmla="*/ 74 w 1068"/>
                <a:gd name="T97" fmla="*/ 30 h 1290"/>
                <a:gd name="T98" fmla="*/ 82 w 1068"/>
                <a:gd name="T99" fmla="*/ 30 h 1290"/>
                <a:gd name="T100" fmla="*/ 87 w 1068"/>
                <a:gd name="T101" fmla="*/ 35 h 1290"/>
                <a:gd name="T102" fmla="*/ 85 w 1068"/>
                <a:gd name="T103" fmla="*/ 42 h 1290"/>
                <a:gd name="T104" fmla="*/ 81 w 1068"/>
                <a:gd name="T105" fmla="*/ 46 h 1290"/>
                <a:gd name="T106" fmla="*/ 86 w 1068"/>
                <a:gd name="T107" fmla="*/ 50 h 1290"/>
                <a:gd name="T108" fmla="*/ 89 w 1068"/>
                <a:gd name="T109" fmla="*/ 58 h 1290"/>
                <a:gd name="T110" fmla="*/ 92 w 1068"/>
                <a:gd name="T111" fmla="*/ 61 h 1290"/>
                <a:gd name="T112" fmla="*/ 86 w 1068"/>
                <a:gd name="T113" fmla="*/ 66 h 1290"/>
                <a:gd name="T114" fmla="*/ 85 w 1068"/>
                <a:gd name="T115" fmla="*/ 70 h 129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68"/>
                <a:gd name="T175" fmla="*/ 0 h 1290"/>
                <a:gd name="T176" fmla="*/ 1068 w 1068"/>
                <a:gd name="T177" fmla="*/ 1290 h 129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68" h="1290">
                  <a:moveTo>
                    <a:pt x="978" y="804"/>
                  </a:moveTo>
                  <a:lnTo>
                    <a:pt x="972" y="810"/>
                  </a:lnTo>
                  <a:lnTo>
                    <a:pt x="966" y="810"/>
                  </a:lnTo>
                  <a:lnTo>
                    <a:pt x="966" y="816"/>
                  </a:lnTo>
                  <a:lnTo>
                    <a:pt x="936" y="828"/>
                  </a:lnTo>
                  <a:lnTo>
                    <a:pt x="924" y="822"/>
                  </a:lnTo>
                  <a:lnTo>
                    <a:pt x="912" y="822"/>
                  </a:lnTo>
                  <a:lnTo>
                    <a:pt x="906" y="828"/>
                  </a:lnTo>
                  <a:lnTo>
                    <a:pt x="900" y="828"/>
                  </a:lnTo>
                  <a:lnTo>
                    <a:pt x="900" y="822"/>
                  </a:lnTo>
                  <a:lnTo>
                    <a:pt x="894" y="822"/>
                  </a:lnTo>
                  <a:lnTo>
                    <a:pt x="888" y="828"/>
                  </a:lnTo>
                  <a:lnTo>
                    <a:pt x="882" y="834"/>
                  </a:lnTo>
                  <a:lnTo>
                    <a:pt x="876" y="834"/>
                  </a:lnTo>
                  <a:lnTo>
                    <a:pt x="870" y="840"/>
                  </a:lnTo>
                  <a:lnTo>
                    <a:pt x="864" y="840"/>
                  </a:lnTo>
                  <a:lnTo>
                    <a:pt x="864" y="846"/>
                  </a:lnTo>
                  <a:lnTo>
                    <a:pt x="858" y="846"/>
                  </a:lnTo>
                  <a:lnTo>
                    <a:pt x="852" y="846"/>
                  </a:lnTo>
                  <a:lnTo>
                    <a:pt x="852" y="858"/>
                  </a:lnTo>
                  <a:lnTo>
                    <a:pt x="846" y="864"/>
                  </a:lnTo>
                  <a:lnTo>
                    <a:pt x="840" y="870"/>
                  </a:lnTo>
                  <a:lnTo>
                    <a:pt x="834" y="870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34" y="876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10" y="894"/>
                  </a:lnTo>
                  <a:lnTo>
                    <a:pt x="810" y="900"/>
                  </a:lnTo>
                  <a:lnTo>
                    <a:pt x="804" y="900"/>
                  </a:lnTo>
                  <a:lnTo>
                    <a:pt x="798" y="900"/>
                  </a:lnTo>
                  <a:lnTo>
                    <a:pt x="798" y="906"/>
                  </a:lnTo>
                  <a:lnTo>
                    <a:pt x="792" y="906"/>
                  </a:lnTo>
                  <a:lnTo>
                    <a:pt x="792" y="912"/>
                  </a:lnTo>
                  <a:lnTo>
                    <a:pt x="792" y="924"/>
                  </a:lnTo>
                  <a:lnTo>
                    <a:pt x="786" y="930"/>
                  </a:lnTo>
                  <a:lnTo>
                    <a:pt x="774" y="942"/>
                  </a:lnTo>
                  <a:lnTo>
                    <a:pt x="774" y="948"/>
                  </a:lnTo>
                  <a:lnTo>
                    <a:pt x="768" y="954"/>
                  </a:lnTo>
                  <a:lnTo>
                    <a:pt x="762" y="954"/>
                  </a:lnTo>
                  <a:lnTo>
                    <a:pt x="750" y="972"/>
                  </a:lnTo>
                  <a:lnTo>
                    <a:pt x="720" y="978"/>
                  </a:lnTo>
                  <a:lnTo>
                    <a:pt x="714" y="978"/>
                  </a:lnTo>
                  <a:lnTo>
                    <a:pt x="708" y="978"/>
                  </a:lnTo>
                  <a:lnTo>
                    <a:pt x="702" y="990"/>
                  </a:lnTo>
                  <a:lnTo>
                    <a:pt x="696" y="990"/>
                  </a:lnTo>
                  <a:lnTo>
                    <a:pt x="696" y="1008"/>
                  </a:lnTo>
                  <a:lnTo>
                    <a:pt x="690" y="1008"/>
                  </a:lnTo>
                  <a:lnTo>
                    <a:pt x="690" y="1014"/>
                  </a:lnTo>
                  <a:lnTo>
                    <a:pt x="684" y="1032"/>
                  </a:lnTo>
                  <a:lnTo>
                    <a:pt x="690" y="1050"/>
                  </a:lnTo>
                  <a:lnTo>
                    <a:pt x="690" y="1062"/>
                  </a:lnTo>
                  <a:lnTo>
                    <a:pt x="690" y="1068"/>
                  </a:lnTo>
                  <a:lnTo>
                    <a:pt x="690" y="1074"/>
                  </a:lnTo>
                  <a:lnTo>
                    <a:pt x="684" y="1074"/>
                  </a:lnTo>
                  <a:lnTo>
                    <a:pt x="684" y="1080"/>
                  </a:lnTo>
                  <a:lnTo>
                    <a:pt x="678" y="1086"/>
                  </a:lnTo>
                  <a:lnTo>
                    <a:pt x="678" y="1104"/>
                  </a:lnTo>
                  <a:lnTo>
                    <a:pt x="678" y="1110"/>
                  </a:lnTo>
                  <a:lnTo>
                    <a:pt x="678" y="1116"/>
                  </a:lnTo>
                  <a:lnTo>
                    <a:pt x="684" y="1116"/>
                  </a:lnTo>
                  <a:lnTo>
                    <a:pt x="678" y="1128"/>
                  </a:lnTo>
                  <a:lnTo>
                    <a:pt x="684" y="1128"/>
                  </a:lnTo>
                  <a:lnTo>
                    <a:pt x="690" y="1134"/>
                  </a:lnTo>
                  <a:lnTo>
                    <a:pt x="690" y="1140"/>
                  </a:lnTo>
                  <a:lnTo>
                    <a:pt x="696" y="1140"/>
                  </a:lnTo>
                  <a:lnTo>
                    <a:pt x="696" y="1146"/>
                  </a:lnTo>
                  <a:lnTo>
                    <a:pt x="696" y="1152"/>
                  </a:lnTo>
                  <a:lnTo>
                    <a:pt x="702" y="1152"/>
                  </a:lnTo>
                  <a:lnTo>
                    <a:pt x="708" y="1152"/>
                  </a:lnTo>
                  <a:lnTo>
                    <a:pt x="714" y="1158"/>
                  </a:lnTo>
                  <a:lnTo>
                    <a:pt x="714" y="1164"/>
                  </a:lnTo>
                  <a:lnTo>
                    <a:pt x="720" y="1170"/>
                  </a:lnTo>
                  <a:lnTo>
                    <a:pt x="720" y="1176"/>
                  </a:lnTo>
                  <a:lnTo>
                    <a:pt x="720" y="1182"/>
                  </a:lnTo>
                  <a:lnTo>
                    <a:pt x="726" y="1188"/>
                  </a:lnTo>
                  <a:lnTo>
                    <a:pt x="726" y="1194"/>
                  </a:lnTo>
                  <a:lnTo>
                    <a:pt x="732" y="1194"/>
                  </a:lnTo>
                  <a:lnTo>
                    <a:pt x="732" y="1200"/>
                  </a:lnTo>
                  <a:lnTo>
                    <a:pt x="738" y="1212"/>
                  </a:lnTo>
                  <a:lnTo>
                    <a:pt x="732" y="1218"/>
                  </a:lnTo>
                  <a:lnTo>
                    <a:pt x="732" y="1224"/>
                  </a:lnTo>
                  <a:lnTo>
                    <a:pt x="726" y="1230"/>
                  </a:lnTo>
                  <a:lnTo>
                    <a:pt x="720" y="1230"/>
                  </a:lnTo>
                  <a:lnTo>
                    <a:pt x="720" y="1236"/>
                  </a:lnTo>
                  <a:lnTo>
                    <a:pt x="720" y="1242"/>
                  </a:lnTo>
                  <a:lnTo>
                    <a:pt x="720" y="1248"/>
                  </a:lnTo>
                  <a:lnTo>
                    <a:pt x="714" y="1248"/>
                  </a:lnTo>
                  <a:lnTo>
                    <a:pt x="714" y="1254"/>
                  </a:lnTo>
                  <a:lnTo>
                    <a:pt x="708" y="1260"/>
                  </a:lnTo>
                  <a:lnTo>
                    <a:pt x="702" y="1272"/>
                  </a:lnTo>
                  <a:lnTo>
                    <a:pt x="696" y="1272"/>
                  </a:lnTo>
                  <a:lnTo>
                    <a:pt x="696" y="1278"/>
                  </a:lnTo>
                  <a:lnTo>
                    <a:pt x="690" y="1284"/>
                  </a:lnTo>
                  <a:lnTo>
                    <a:pt x="690" y="1290"/>
                  </a:lnTo>
                  <a:lnTo>
                    <a:pt x="684" y="1290"/>
                  </a:lnTo>
                  <a:lnTo>
                    <a:pt x="660" y="1284"/>
                  </a:lnTo>
                  <a:lnTo>
                    <a:pt x="660" y="1278"/>
                  </a:lnTo>
                  <a:lnTo>
                    <a:pt x="654" y="1272"/>
                  </a:lnTo>
                  <a:lnTo>
                    <a:pt x="648" y="1272"/>
                  </a:lnTo>
                  <a:lnTo>
                    <a:pt x="642" y="1272"/>
                  </a:lnTo>
                  <a:lnTo>
                    <a:pt x="642" y="1266"/>
                  </a:lnTo>
                  <a:lnTo>
                    <a:pt x="636" y="1266"/>
                  </a:lnTo>
                  <a:lnTo>
                    <a:pt x="630" y="1266"/>
                  </a:lnTo>
                  <a:lnTo>
                    <a:pt x="624" y="1266"/>
                  </a:lnTo>
                  <a:lnTo>
                    <a:pt x="624" y="1260"/>
                  </a:lnTo>
                  <a:lnTo>
                    <a:pt x="618" y="1260"/>
                  </a:lnTo>
                  <a:lnTo>
                    <a:pt x="612" y="1260"/>
                  </a:lnTo>
                  <a:lnTo>
                    <a:pt x="606" y="1260"/>
                  </a:lnTo>
                  <a:lnTo>
                    <a:pt x="600" y="1260"/>
                  </a:lnTo>
                  <a:lnTo>
                    <a:pt x="600" y="1254"/>
                  </a:lnTo>
                  <a:lnTo>
                    <a:pt x="594" y="1254"/>
                  </a:lnTo>
                  <a:lnTo>
                    <a:pt x="588" y="1248"/>
                  </a:lnTo>
                  <a:lnTo>
                    <a:pt x="588" y="1254"/>
                  </a:lnTo>
                  <a:lnTo>
                    <a:pt x="582" y="1254"/>
                  </a:lnTo>
                  <a:lnTo>
                    <a:pt x="582" y="1248"/>
                  </a:lnTo>
                  <a:lnTo>
                    <a:pt x="576" y="1248"/>
                  </a:lnTo>
                  <a:lnTo>
                    <a:pt x="576" y="1254"/>
                  </a:lnTo>
                  <a:lnTo>
                    <a:pt x="570" y="1248"/>
                  </a:lnTo>
                  <a:lnTo>
                    <a:pt x="564" y="1248"/>
                  </a:lnTo>
                  <a:lnTo>
                    <a:pt x="564" y="1254"/>
                  </a:lnTo>
                  <a:lnTo>
                    <a:pt x="558" y="1254"/>
                  </a:lnTo>
                  <a:lnTo>
                    <a:pt x="552" y="1254"/>
                  </a:lnTo>
                  <a:lnTo>
                    <a:pt x="552" y="1260"/>
                  </a:lnTo>
                  <a:lnTo>
                    <a:pt x="546" y="1260"/>
                  </a:lnTo>
                  <a:lnTo>
                    <a:pt x="540" y="1260"/>
                  </a:lnTo>
                  <a:lnTo>
                    <a:pt x="540" y="1254"/>
                  </a:lnTo>
                  <a:lnTo>
                    <a:pt x="534" y="1254"/>
                  </a:lnTo>
                  <a:lnTo>
                    <a:pt x="528" y="1224"/>
                  </a:lnTo>
                  <a:lnTo>
                    <a:pt x="534" y="1212"/>
                  </a:lnTo>
                  <a:lnTo>
                    <a:pt x="546" y="1206"/>
                  </a:lnTo>
                  <a:lnTo>
                    <a:pt x="582" y="1206"/>
                  </a:lnTo>
                  <a:lnTo>
                    <a:pt x="588" y="1188"/>
                  </a:lnTo>
                  <a:lnTo>
                    <a:pt x="582" y="1188"/>
                  </a:lnTo>
                  <a:lnTo>
                    <a:pt x="582" y="1182"/>
                  </a:lnTo>
                  <a:lnTo>
                    <a:pt x="576" y="1176"/>
                  </a:lnTo>
                  <a:lnTo>
                    <a:pt x="558" y="1128"/>
                  </a:lnTo>
                  <a:lnTo>
                    <a:pt x="558" y="1122"/>
                  </a:lnTo>
                  <a:lnTo>
                    <a:pt x="576" y="1098"/>
                  </a:lnTo>
                  <a:lnTo>
                    <a:pt x="576" y="1092"/>
                  </a:lnTo>
                  <a:lnTo>
                    <a:pt x="582" y="1092"/>
                  </a:lnTo>
                  <a:lnTo>
                    <a:pt x="582" y="1086"/>
                  </a:lnTo>
                  <a:lnTo>
                    <a:pt x="582" y="1080"/>
                  </a:lnTo>
                  <a:lnTo>
                    <a:pt x="582" y="1074"/>
                  </a:lnTo>
                  <a:lnTo>
                    <a:pt x="588" y="1074"/>
                  </a:lnTo>
                  <a:lnTo>
                    <a:pt x="588" y="1062"/>
                  </a:lnTo>
                  <a:lnTo>
                    <a:pt x="588" y="1056"/>
                  </a:lnTo>
                  <a:lnTo>
                    <a:pt x="588" y="1044"/>
                  </a:lnTo>
                  <a:lnTo>
                    <a:pt x="588" y="1038"/>
                  </a:lnTo>
                  <a:lnTo>
                    <a:pt x="588" y="1032"/>
                  </a:lnTo>
                  <a:lnTo>
                    <a:pt x="582" y="1026"/>
                  </a:lnTo>
                  <a:lnTo>
                    <a:pt x="582" y="1020"/>
                  </a:lnTo>
                  <a:lnTo>
                    <a:pt x="582" y="1008"/>
                  </a:lnTo>
                  <a:lnTo>
                    <a:pt x="576" y="990"/>
                  </a:lnTo>
                  <a:lnTo>
                    <a:pt x="570" y="972"/>
                  </a:lnTo>
                  <a:lnTo>
                    <a:pt x="552" y="972"/>
                  </a:lnTo>
                  <a:lnTo>
                    <a:pt x="540" y="960"/>
                  </a:lnTo>
                  <a:lnTo>
                    <a:pt x="534" y="954"/>
                  </a:lnTo>
                  <a:lnTo>
                    <a:pt x="534" y="948"/>
                  </a:lnTo>
                  <a:lnTo>
                    <a:pt x="516" y="948"/>
                  </a:lnTo>
                  <a:lnTo>
                    <a:pt x="522" y="936"/>
                  </a:lnTo>
                  <a:lnTo>
                    <a:pt x="522" y="930"/>
                  </a:lnTo>
                  <a:lnTo>
                    <a:pt x="504" y="918"/>
                  </a:lnTo>
                  <a:lnTo>
                    <a:pt x="492" y="906"/>
                  </a:lnTo>
                  <a:lnTo>
                    <a:pt x="486" y="894"/>
                  </a:lnTo>
                  <a:lnTo>
                    <a:pt x="468" y="876"/>
                  </a:lnTo>
                  <a:lnTo>
                    <a:pt x="450" y="876"/>
                  </a:lnTo>
                  <a:lnTo>
                    <a:pt x="414" y="882"/>
                  </a:lnTo>
                  <a:lnTo>
                    <a:pt x="402" y="870"/>
                  </a:lnTo>
                  <a:lnTo>
                    <a:pt x="390" y="864"/>
                  </a:lnTo>
                  <a:lnTo>
                    <a:pt x="384" y="852"/>
                  </a:lnTo>
                  <a:lnTo>
                    <a:pt x="378" y="840"/>
                  </a:lnTo>
                  <a:lnTo>
                    <a:pt x="378" y="834"/>
                  </a:lnTo>
                  <a:lnTo>
                    <a:pt x="360" y="822"/>
                  </a:lnTo>
                  <a:lnTo>
                    <a:pt x="342" y="828"/>
                  </a:lnTo>
                  <a:lnTo>
                    <a:pt x="324" y="816"/>
                  </a:lnTo>
                  <a:lnTo>
                    <a:pt x="318" y="816"/>
                  </a:lnTo>
                  <a:lnTo>
                    <a:pt x="306" y="810"/>
                  </a:lnTo>
                  <a:lnTo>
                    <a:pt x="306" y="804"/>
                  </a:lnTo>
                  <a:lnTo>
                    <a:pt x="300" y="804"/>
                  </a:lnTo>
                  <a:lnTo>
                    <a:pt x="300" y="780"/>
                  </a:lnTo>
                  <a:lnTo>
                    <a:pt x="300" y="774"/>
                  </a:lnTo>
                  <a:lnTo>
                    <a:pt x="306" y="774"/>
                  </a:lnTo>
                  <a:lnTo>
                    <a:pt x="312" y="756"/>
                  </a:lnTo>
                  <a:lnTo>
                    <a:pt x="312" y="732"/>
                  </a:lnTo>
                  <a:lnTo>
                    <a:pt x="300" y="720"/>
                  </a:lnTo>
                  <a:lnTo>
                    <a:pt x="288" y="702"/>
                  </a:lnTo>
                  <a:lnTo>
                    <a:pt x="276" y="702"/>
                  </a:lnTo>
                  <a:lnTo>
                    <a:pt x="258" y="714"/>
                  </a:lnTo>
                  <a:lnTo>
                    <a:pt x="246" y="726"/>
                  </a:lnTo>
                  <a:lnTo>
                    <a:pt x="222" y="726"/>
                  </a:lnTo>
                  <a:lnTo>
                    <a:pt x="192" y="726"/>
                  </a:lnTo>
                  <a:lnTo>
                    <a:pt x="174" y="738"/>
                  </a:lnTo>
                  <a:lnTo>
                    <a:pt x="162" y="750"/>
                  </a:lnTo>
                  <a:lnTo>
                    <a:pt x="144" y="762"/>
                  </a:lnTo>
                  <a:lnTo>
                    <a:pt x="138" y="768"/>
                  </a:lnTo>
                  <a:lnTo>
                    <a:pt x="126" y="774"/>
                  </a:lnTo>
                  <a:lnTo>
                    <a:pt x="114" y="780"/>
                  </a:lnTo>
                  <a:lnTo>
                    <a:pt x="108" y="786"/>
                  </a:lnTo>
                  <a:lnTo>
                    <a:pt x="102" y="786"/>
                  </a:lnTo>
                  <a:lnTo>
                    <a:pt x="54" y="786"/>
                  </a:lnTo>
                  <a:lnTo>
                    <a:pt x="48" y="792"/>
                  </a:lnTo>
                  <a:lnTo>
                    <a:pt x="36" y="798"/>
                  </a:lnTo>
                  <a:lnTo>
                    <a:pt x="18" y="792"/>
                  </a:lnTo>
                  <a:lnTo>
                    <a:pt x="6" y="780"/>
                  </a:lnTo>
                  <a:lnTo>
                    <a:pt x="6" y="768"/>
                  </a:lnTo>
                  <a:lnTo>
                    <a:pt x="0" y="756"/>
                  </a:lnTo>
                  <a:lnTo>
                    <a:pt x="0" y="738"/>
                  </a:lnTo>
                  <a:lnTo>
                    <a:pt x="6" y="702"/>
                  </a:lnTo>
                  <a:lnTo>
                    <a:pt x="24" y="702"/>
                  </a:lnTo>
                  <a:lnTo>
                    <a:pt x="24" y="696"/>
                  </a:lnTo>
                  <a:lnTo>
                    <a:pt x="24" y="690"/>
                  </a:lnTo>
                  <a:lnTo>
                    <a:pt x="24" y="678"/>
                  </a:lnTo>
                  <a:lnTo>
                    <a:pt x="24" y="672"/>
                  </a:lnTo>
                  <a:lnTo>
                    <a:pt x="30" y="672"/>
                  </a:lnTo>
                  <a:lnTo>
                    <a:pt x="30" y="666"/>
                  </a:lnTo>
                  <a:lnTo>
                    <a:pt x="36" y="660"/>
                  </a:lnTo>
                  <a:lnTo>
                    <a:pt x="84" y="648"/>
                  </a:lnTo>
                  <a:lnTo>
                    <a:pt x="126" y="642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32" y="618"/>
                  </a:lnTo>
                  <a:lnTo>
                    <a:pt x="138" y="612"/>
                  </a:lnTo>
                  <a:lnTo>
                    <a:pt x="138" y="606"/>
                  </a:lnTo>
                  <a:lnTo>
                    <a:pt x="138" y="600"/>
                  </a:lnTo>
                  <a:lnTo>
                    <a:pt x="132" y="600"/>
                  </a:lnTo>
                  <a:lnTo>
                    <a:pt x="132" y="594"/>
                  </a:lnTo>
                  <a:lnTo>
                    <a:pt x="132" y="588"/>
                  </a:lnTo>
                  <a:lnTo>
                    <a:pt x="132" y="582"/>
                  </a:lnTo>
                  <a:lnTo>
                    <a:pt x="132" y="576"/>
                  </a:lnTo>
                  <a:lnTo>
                    <a:pt x="126" y="570"/>
                  </a:lnTo>
                  <a:lnTo>
                    <a:pt x="120" y="564"/>
                  </a:lnTo>
                  <a:lnTo>
                    <a:pt x="120" y="558"/>
                  </a:lnTo>
                  <a:lnTo>
                    <a:pt x="120" y="552"/>
                  </a:lnTo>
                  <a:lnTo>
                    <a:pt x="114" y="552"/>
                  </a:lnTo>
                  <a:lnTo>
                    <a:pt x="114" y="546"/>
                  </a:lnTo>
                  <a:lnTo>
                    <a:pt x="114" y="540"/>
                  </a:lnTo>
                  <a:lnTo>
                    <a:pt x="108" y="534"/>
                  </a:lnTo>
                  <a:lnTo>
                    <a:pt x="108" y="528"/>
                  </a:lnTo>
                  <a:lnTo>
                    <a:pt x="114" y="522"/>
                  </a:lnTo>
                  <a:lnTo>
                    <a:pt x="108" y="516"/>
                  </a:lnTo>
                  <a:lnTo>
                    <a:pt x="108" y="498"/>
                  </a:lnTo>
                  <a:lnTo>
                    <a:pt x="108" y="492"/>
                  </a:lnTo>
                  <a:lnTo>
                    <a:pt x="108" y="486"/>
                  </a:lnTo>
                  <a:lnTo>
                    <a:pt x="108" y="480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08" y="462"/>
                  </a:lnTo>
                  <a:lnTo>
                    <a:pt x="102" y="456"/>
                  </a:lnTo>
                  <a:lnTo>
                    <a:pt x="102" y="444"/>
                  </a:lnTo>
                  <a:lnTo>
                    <a:pt x="96" y="444"/>
                  </a:lnTo>
                  <a:lnTo>
                    <a:pt x="90" y="432"/>
                  </a:lnTo>
                  <a:lnTo>
                    <a:pt x="96" y="432"/>
                  </a:lnTo>
                  <a:lnTo>
                    <a:pt x="96" y="408"/>
                  </a:lnTo>
                  <a:lnTo>
                    <a:pt x="96" y="396"/>
                  </a:lnTo>
                  <a:lnTo>
                    <a:pt x="96" y="360"/>
                  </a:lnTo>
                  <a:lnTo>
                    <a:pt x="96" y="354"/>
                  </a:lnTo>
                  <a:lnTo>
                    <a:pt x="102" y="354"/>
                  </a:lnTo>
                  <a:lnTo>
                    <a:pt x="102" y="348"/>
                  </a:lnTo>
                  <a:lnTo>
                    <a:pt x="96" y="330"/>
                  </a:lnTo>
                  <a:lnTo>
                    <a:pt x="90" y="306"/>
                  </a:lnTo>
                  <a:lnTo>
                    <a:pt x="84" y="288"/>
                  </a:lnTo>
                  <a:lnTo>
                    <a:pt x="84" y="264"/>
                  </a:lnTo>
                  <a:lnTo>
                    <a:pt x="90" y="240"/>
                  </a:lnTo>
                  <a:lnTo>
                    <a:pt x="96" y="222"/>
                  </a:lnTo>
                  <a:lnTo>
                    <a:pt x="102" y="222"/>
                  </a:lnTo>
                  <a:lnTo>
                    <a:pt x="108" y="210"/>
                  </a:lnTo>
                  <a:lnTo>
                    <a:pt x="114" y="210"/>
                  </a:lnTo>
                  <a:lnTo>
                    <a:pt x="126" y="198"/>
                  </a:lnTo>
                  <a:lnTo>
                    <a:pt x="156" y="192"/>
                  </a:lnTo>
                  <a:lnTo>
                    <a:pt x="174" y="186"/>
                  </a:lnTo>
                  <a:lnTo>
                    <a:pt x="204" y="174"/>
                  </a:lnTo>
                  <a:lnTo>
                    <a:pt x="222" y="168"/>
                  </a:lnTo>
                  <a:lnTo>
                    <a:pt x="234" y="162"/>
                  </a:lnTo>
                  <a:lnTo>
                    <a:pt x="246" y="156"/>
                  </a:lnTo>
                  <a:lnTo>
                    <a:pt x="288" y="144"/>
                  </a:lnTo>
                  <a:lnTo>
                    <a:pt x="288" y="132"/>
                  </a:lnTo>
                  <a:lnTo>
                    <a:pt x="294" y="120"/>
                  </a:lnTo>
                  <a:lnTo>
                    <a:pt x="300" y="108"/>
                  </a:lnTo>
                  <a:lnTo>
                    <a:pt x="306" y="90"/>
                  </a:lnTo>
                  <a:lnTo>
                    <a:pt x="312" y="78"/>
                  </a:lnTo>
                  <a:lnTo>
                    <a:pt x="324" y="78"/>
                  </a:lnTo>
                  <a:lnTo>
                    <a:pt x="324" y="54"/>
                  </a:lnTo>
                  <a:lnTo>
                    <a:pt x="318" y="48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60" y="6"/>
                  </a:lnTo>
                  <a:lnTo>
                    <a:pt x="384" y="0"/>
                  </a:lnTo>
                  <a:lnTo>
                    <a:pt x="390" y="6"/>
                  </a:lnTo>
                  <a:lnTo>
                    <a:pt x="390" y="18"/>
                  </a:lnTo>
                  <a:lnTo>
                    <a:pt x="390" y="54"/>
                  </a:lnTo>
                  <a:lnTo>
                    <a:pt x="396" y="66"/>
                  </a:lnTo>
                  <a:lnTo>
                    <a:pt x="414" y="84"/>
                  </a:lnTo>
                  <a:lnTo>
                    <a:pt x="426" y="90"/>
                  </a:lnTo>
                  <a:lnTo>
                    <a:pt x="432" y="96"/>
                  </a:lnTo>
                  <a:lnTo>
                    <a:pt x="426" y="102"/>
                  </a:lnTo>
                  <a:lnTo>
                    <a:pt x="438" y="102"/>
                  </a:lnTo>
                  <a:lnTo>
                    <a:pt x="444" y="108"/>
                  </a:lnTo>
                  <a:lnTo>
                    <a:pt x="444" y="102"/>
                  </a:lnTo>
                  <a:lnTo>
                    <a:pt x="450" y="90"/>
                  </a:lnTo>
                  <a:lnTo>
                    <a:pt x="450" y="84"/>
                  </a:lnTo>
                  <a:lnTo>
                    <a:pt x="450" y="78"/>
                  </a:lnTo>
                  <a:lnTo>
                    <a:pt x="456" y="72"/>
                  </a:lnTo>
                  <a:lnTo>
                    <a:pt x="462" y="66"/>
                  </a:lnTo>
                  <a:lnTo>
                    <a:pt x="462" y="60"/>
                  </a:lnTo>
                  <a:lnTo>
                    <a:pt x="462" y="54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74" y="24"/>
                  </a:lnTo>
                  <a:lnTo>
                    <a:pt x="480" y="18"/>
                  </a:lnTo>
                  <a:lnTo>
                    <a:pt x="486" y="12"/>
                  </a:lnTo>
                  <a:lnTo>
                    <a:pt x="492" y="12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2" y="6"/>
                  </a:lnTo>
                  <a:lnTo>
                    <a:pt x="534" y="6"/>
                  </a:lnTo>
                  <a:lnTo>
                    <a:pt x="540" y="6"/>
                  </a:lnTo>
                  <a:lnTo>
                    <a:pt x="546" y="6"/>
                  </a:lnTo>
                  <a:lnTo>
                    <a:pt x="564" y="0"/>
                  </a:lnTo>
                  <a:lnTo>
                    <a:pt x="570" y="0"/>
                  </a:lnTo>
                  <a:lnTo>
                    <a:pt x="576" y="6"/>
                  </a:lnTo>
                  <a:lnTo>
                    <a:pt x="582" y="6"/>
                  </a:lnTo>
                  <a:lnTo>
                    <a:pt x="594" y="6"/>
                  </a:lnTo>
                  <a:lnTo>
                    <a:pt x="600" y="6"/>
                  </a:lnTo>
                  <a:lnTo>
                    <a:pt x="606" y="6"/>
                  </a:lnTo>
                  <a:lnTo>
                    <a:pt x="624" y="0"/>
                  </a:lnTo>
                  <a:lnTo>
                    <a:pt x="636" y="0"/>
                  </a:lnTo>
                  <a:lnTo>
                    <a:pt x="636" y="6"/>
                  </a:lnTo>
                  <a:lnTo>
                    <a:pt x="654" y="18"/>
                  </a:lnTo>
                  <a:lnTo>
                    <a:pt x="654" y="30"/>
                  </a:lnTo>
                  <a:lnTo>
                    <a:pt x="642" y="42"/>
                  </a:lnTo>
                  <a:lnTo>
                    <a:pt x="630" y="66"/>
                  </a:lnTo>
                  <a:lnTo>
                    <a:pt x="636" y="84"/>
                  </a:lnTo>
                  <a:lnTo>
                    <a:pt x="636" y="96"/>
                  </a:lnTo>
                  <a:lnTo>
                    <a:pt x="648" y="102"/>
                  </a:lnTo>
                  <a:lnTo>
                    <a:pt x="672" y="114"/>
                  </a:lnTo>
                  <a:lnTo>
                    <a:pt x="702" y="120"/>
                  </a:lnTo>
                  <a:lnTo>
                    <a:pt x="714" y="126"/>
                  </a:lnTo>
                  <a:lnTo>
                    <a:pt x="720" y="144"/>
                  </a:lnTo>
                  <a:lnTo>
                    <a:pt x="720" y="156"/>
                  </a:lnTo>
                  <a:lnTo>
                    <a:pt x="708" y="156"/>
                  </a:lnTo>
                  <a:lnTo>
                    <a:pt x="702" y="162"/>
                  </a:lnTo>
                  <a:lnTo>
                    <a:pt x="702" y="174"/>
                  </a:lnTo>
                  <a:lnTo>
                    <a:pt x="696" y="174"/>
                  </a:lnTo>
                  <a:lnTo>
                    <a:pt x="690" y="180"/>
                  </a:lnTo>
                  <a:lnTo>
                    <a:pt x="678" y="186"/>
                  </a:lnTo>
                  <a:lnTo>
                    <a:pt x="672" y="192"/>
                  </a:lnTo>
                  <a:lnTo>
                    <a:pt x="654" y="210"/>
                  </a:lnTo>
                  <a:lnTo>
                    <a:pt x="654" y="216"/>
                  </a:lnTo>
                  <a:lnTo>
                    <a:pt x="648" y="246"/>
                  </a:lnTo>
                  <a:lnTo>
                    <a:pt x="660" y="246"/>
                  </a:lnTo>
                  <a:lnTo>
                    <a:pt x="666" y="234"/>
                  </a:lnTo>
                  <a:lnTo>
                    <a:pt x="678" y="240"/>
                  </a:lnTo>
                  <a:lnTo>
                    <a:pt x="684" y="228"/>
                  </a:lnTo>
                  <a:lnTo>
                    <a:pt x="690" y="210"/>
                  </a:lnTo>
                  <a:lnTo>
                    <a:pt x="696" y="204"/>
                  </a:lnTo>
                  <a:lnTo>
                    <a:pt x="702" y="204"/>
                  </a:lnTo>
                  <a:lnTo>
                    <a:pt x="708" y="192"/>
                  </a:lnTo>
                  <a:lnTo>
                    <a:pt x="714" y="192"/>
                  </a:lnTo>
                  <a:lnTo>
                    <a:pt x="714" y="186"/>
                  </a:lnTo>
                  <a:lnTo>
                    <a:pt x="726" y="186"/>
                  </a:lnTo>
                  <a:lnTo>
                    <a:pt x="732" y="186"/>
                  </a:lnTo>
                  <a:lnTo>
                    <a:pt x="738" y="186"/>
                  </a:lnTo>
                  <a:lnTo>
                    <a:pt x="744" y="216"/>
                  </a:lnTo>
                  <a:lnTo>
                    <a:pt x="750" y="210"/>
                  </a:lnTo>
                  <a:lnTo>
                    <a:pt x="750" y="204"/>
                  </a:lnTo>
                  <a:lnTo>
                    <a:pt x="756" y="192"/>
                  </a:lnTo>
                  <a:lnTo>
                    <a:pt x="762" y="192"/>
                  </a:lnTo>
                  <a:lnTo>
                    <a:pt x="768" y="192"/>
                  </a:lnTo>
                  <a:lnTo>
                    <a:pt x="780" y="186"/>
                  </a:lnTo>
                  <a:lnTo>
                    <a:pt x="786" y="204"/>
                  </a:lnTo>
                  <a:lnTo>
                    <a:pt x="774" y="210"/>
                  </a:lnTo>
                  <a:lnTo>
                    <a:pt x="774" y="234"/>
                  </a:lnTo>
                  <a:lnTo>
                    <a:pt x="780" y="246"/>
                  </a:lnTo>
                  <a:lnTo>
                    <a:pt x="804" y="264"/>
                  </a:lnTo>
                  <a:lnTo>
                    <a:pt x="816" y="276"/>
                  </a:lnTo>
                  <a:lnTo>
                    <a:pt x="822" y="288"/>
                  </a:lnTo>
                  <a:lnTo>
                    <a:pt x="822" y="312"/>
                  </a:lnTo>
                  <a:lnTo>
                    <a:pt x="816" y="312"/>
                  </a:lnTo>
                  <a:lnTo>
                    <a:pt x="810" y="318"/>
                  </a:lnTo>
                  <a:lnTo>
                    <a:pt x="810" y="348"/>
                  </a:lnTo>
                  <a:lnTo>
                    <a:pt x="816" y="348"/>
                  </a:lnTo>
                  <a:lnTo>
                    <a:pt x="816" y="342"/>
                  </a:lnTo>
                  <a:lnTo>
                    <a:pt x="834" y="342"/>
                  </a:lnTo>
                  <a:lnTo>
                    <a:pt x="834" y="348"/>
                  </a:lnTo>
                  <a:lnTo>
                    <a:pt x="846" y="348"/>
                  </a:lnTo>
                  <a:lnTo>
                    <a:pt x="846" y="342"/>
                  </a:lnTo>
                  <a:lnTo>
                    <a:pt x="882" y="342"/>
                  </a:lnTo>
                  <a:lnTo>
                    <a:pt x="894" y="366"/>
                  </a:lnTo>
                  <a:lnTo>
                    <a:pt x="900" y="372"/>
                  </a:lnTo>
                  <a:lnTo>
                    <a:pt x="906" y="384"/>
                  </a:lnTo>
                  <a:lnTo>
                    <a:pt x="924" y="384"/>
                  </a:lnTo>
                  <a:lnTo>
                    <a:pt x="930" y="372"/>
                  </a:lnTo>
                  <a:lnTo>
                    <a:pt x="936" y="372"/>
                  </a:lnTo>
                  <a:lnTo>
                    <a:pt x="942" y="348"/>
                  </a:lnTo>
                  <a:lnTo>
                    <a:pt x="954" y="348"/>
                  </a:lnTo>
                  <a:lnTo>
                    <a:pt x="954" y="342"/>
                  </a:lnTo>
                  <a:lnTo>
                    <a:pt x="984" y="342"/>
                  </a:lnTo>
                  <a:lnTo>
                    <a:pt x="978" y="390"/>
                  </a:lnTo>
                  <a:lnTo>
                    <a:pt x="984" y="390"/>
                  </a:lnTo>
                  <a:lnTo>
                    <a:pt x="990" y="396"/>
                  </a:lnTo>
                  <a:lnTo>
                    <a:pt x="996" y="396"/>
                  </a:lnTo>
                  <a:lnTo>
                    <a:pt x="1002" y="396"/>
                  </a:lnTo>
                  <a:lnTo>
                    <a:pt x="1002" y="408"/>
                  </a:lnTo>
                  <a:lnTo>
                    <a:pt x="990" y="414"/>
                  </a:lnTo>
                  <a:lnTo>
                    <a:pt x="984" y="426"/>
                  </a:lnTo>
                  <a:lnTo>
                    <a:pt x="990" y="444"/>
                  </a:lnTo>
                  <a:lnTo>
                    <a:pt x="996" y="450"/>
                  </a:lnTo>
                  <a:lnTo>
                    <a:pt x="990" y="462"/>
                  </a:lnTo>
                  <a:lnTo>
                    <a:pt x="990" y="468"/>
                  </a:lnTo>
                  <a:lnTo>
                    <a:pt x="984" y="480"/>
                  </a:lnTo>
                  <a:lnTo>
                    <a:pt x="978" y="486"/>
                  </a:lnTo>
                  <a:lnTo>
                    <a:pt x="972" y="486"/>
                  </a:lnTo>
                  <a:lnTo>
                    <a:pt x="966" y="492"/>
                  </a:lnTo>
                  <a:lnTo>
                    <a:pt x="966" y="498"/>
                  </a:lnTo>
                  <a:lnTo>
                    <a:pt x="954" y="510"/>
                  </a:lnTo>
                  <a:lnTo>
                    <a:pt x="948" y="510"/>
                  </a:lnTo>
                  <a:lnTo>
                    <a:pt x="942" y="516"/>
                  </a:lnTo>
                  <a:lnTo>
                    <a:pt x="936" y="528"/>
                  </a:lnTo>
                  <a:lnTo>
                    <a:pt x="936" y="534"/>
                  </a:lnTo>
                  <a:lnTo>
                    <a:pt x="936" y="546"/>
                  </a:lnTo>
                  <a:lnTo>
                    <a:pt x="936" y="558"/>
                  </a:lnTo>
                  <a:lnTo>
                    <a:pt x="948" y="558"/>
                  </a:lnTo>
                  <a:lnTo>
                    <a:pt x="954" y="558"/>
                  </a:lnTo>
                  <a:lnTo>
                    <a:pt x="996" y="558"/>
                  </a:lnTo>
                  <a:lnTo>
                    <a:pt x="1002" y="570"/>
                  </a:lnTo>
                  <a:lnTo>
                    <a:pt x="996" y="576"/>
                  </a:lnTo>
                  <a:lnTo>
                    <a:pt x="996" y="588"/>
                  </a:lnTo>
                  <a:lnTo>
                    <a:pt x="984" y="588"/>
                  </a:lnTo>
                  <a:lnTo>
                    <a:pt x="990" y="612"/>
                  </a:lnTo>
                  <a:lnTo>
                    <a:pt x="1014" y="606"/>
                  </a:lnTo>
                  <a:lnTo>
                    <a:pt x="1014" y="636"/>
                  </a:lnTo>
                  <a:lnTo>
                    <a:pt x="1014" y="648"/>
                  </a:lnTo>
                  <a:lnTo>
                    <a:pt x="1020" y="648"/>
                  </a:lnTo>
                  <a:lnTo>
                    <a:pt x="1026" y="660"/>
                  </a:lnTo>
                  <a:lnTo>
                    <a:pt x="1038" y="654"/>
                  </a:lnTo>
                  <a:lnTo>
                    <a:pt x="1050" y="654"/>
                  </a:lnTo>
                  <a:lnTo>
                    <a:pt x="1062" y="654"/>
                  </a:lnTo>
                  <a:lnTo>
                    <a:pt x="1068" y="660"/>
                  </a:lnTo>
                  <a:lnTo>
                    <a:pt x="1068" y="678"/>
                  </a:lnTo>
                  <a:lnTo>
                    <a:pt x="1068" y="684"/>
                  </a:lnTo>
                  <a:lnTo>
                    <a:pt x="1062" y="690"/>
                  </a:lnTo>
                  <a:lnTo>
                    <a:pt x="1056" y="696"/>
                  </a:lnTo>
                  <a:lnTo>
                    <a:pt x="1056" y="702"/>
                  </a:lnTo>
                  <a:lnTo>
                    <a:pt x="1038" y="714"/>
                  </a:lnTo>
                  <a:lnTo>
                    <a:pt x="1026" y="720"/>
                  </a:lnTo>
                  <a:lnTo>
                    <a:pt x="1008" y="726"/>
                  </a:lnTo>
                  <a:lnTo>
                    <a:pt x="1008" y="732"/>
                  </a:lnTo>
                  <a:lnTo>
                    <a:pt x="990" y="732"/>
                  </a:lnTo>
                  <a:lnTo>
                    <a:pt x="984" y="744"/>
                  </a:lnTo>
                  <a:lnTo>
                    <a:pt x="990" y="750"/>
                  </a:lnTo>
                  <a:lnTo>
                    <a:pt x="984" y="762"/>
                  </a:lnTo>
                  <a:lnTo>
                    <a:pt x="984" y="768"/>
                  </a:lnTo>
                  <a:lnTo>
                    <a:pt x="984" y="774"/>
                  </a:lnTo>
                  <a:lnTo>
                    <a:pt x="984" y="780"/>
                  </a:lnTo>
                  <a:lnTo>
                    <a:pt x="984" y="786"/>
                  </a:lnTo>
                  <a:lnTo>
                    <a:pt x="984" y="792"/>
                  </a:lnTo>
                  <a:lnTo>
                    <a:pt x="978" y="798"/>
                  </a:lnTo>
                  <a:lnTo>
                    <a:pt x="978" y="80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3" name="Freeform 38">
              <a:extLst>
                <a:ext uri="{FF2B5EF4-FFF2-40B4-BE49-F238E27FC236}">
                  <a16:creationId xmlns:a16="http://schemas.microsoft.com/office/drawing/2014/main" id="{819B99CE-D972-4530-8964-A992C1EC87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2825" y="1634436"/>
              <a:ext cx="959326" cy="959458"/>
            </a:xfrm>
            <a:custGeom>
              <a:avLst/>
              <a:gdLst>
                <a:gd name="T0" fmla="*/ 105 w 1806"/>
                <a:gd name="T1" fmla="*/ 155 h 1806"/>
                <a:gd name="T2" fmla="*/ 103 w 1806"/>
                <a:gd name="T3" fmla="*/ 155 h 1806"/>
                <a:gd name="T4" fmla="*/ 103 w 1806"/>
                <a:gd name="T5" fmla="*/ 150 h 1806"/>
                <a:gd name="T6" fmla="*/ 104 w 1806"/>
                <a:gd name="T7" fmla="*/ 141 h 1806"/>
                <a:gd name="T8" fmla="*/ 104 w 1806"/>
                <a:gd name="T9" fmla="*/ 136 h 1806"/>
                <a:gd name="T10" fmla="*/ 100 w 1806"/>
                <a:gd name="T11" fmla="*/ 131 h 1806"/>
                <a:gd name="T12" fmla="*/ 96 w 1806"/>
                <a:gd name="T13" fmla="*/ 127 h 1806"/>
                <a:gd name="T14" fmla="*/ 91 w 1806"/>
                <a:gd name="T15" fmla="*/ 121 h 1806"/>
                <a:gd name="T16" fmla="*/ 87 w 1806"/>
                <a:gd name="T17" fmla="*/ 120 h 1806"/>
                <a:gd name="T18" fmla="*/ 81 w 1806"/>
                <a:gd name="T19" fmla="*/ 117 h 1806"/>
                <a:gd name="T20" fmla="*/ 65 w 1806"/>
                <a:gd name="T21" fmla="*/ 113 h 1806"/>
                <a:gd name="T22" fmla="*/ 69 w 1806"/>
                <a:gd name="T23" fmla="*/ 105 h 1806"/>
                <a:gd name="T24" fmla="*/ 66 w 1806"/>
                <a:gd name="T25" fmla="*/ 89 h 1806"/>
                <a:gd name="T26" fmla="*/ 63 w 1806"/>
                <a:gd name="T27" fmla="*/ 84 h 1806"/>
                <a:gd name="T28" fmla="*/ 62 w 1806"/>
                <a:gd name="T29" fmla="*/ 74 h 1806"/>
                <a:gd name="T30" fmla="*/ 58 w 1806"/>
                <a:gd name="T31" fmla="*/ 52 h 1806"/>
                <a:gd name="T32" fmla="*/ 53 w 1806"/>
                <a:gd name="T33" fmla="*/ 49 h 1806"/>
                <a:gd name="T34" fmla="*/ 51 w 1806"/>
                <a:gd name="T35" fmla="*/ 36 h 1806"/>
                <a:gd name="T36" fmla="*/ 43 w 1806"/>
                <a:gd name="T37" fmla="*/ 32 h 1806"/>
                <a:gd name="T38" fmla="*/ 33 w 1806"/>
                <a:gd name="T39" fmla="*/ 30 h 1806"/>
                <a:gd name="T40" fmla="*/ 30 w 1806"/>
                <a:gd name="T41" fmla="*/ 21 h 1806"/>
                <a:gd name="T42" fmla="*/ 17 w 1806"/>
                <a:gd name="T43" fmla="*/ 25 h 1806"/>
                <a:gd name="T44" fmla="*/ 4 w 1806"/>
                <a:gd name="T45" fmla="*/ 33 h 1806"/>
                <a:gd name="T46" fmla="*/ 7 w 1806"/>
                <a:gd name="T47" fmla="*/ 26 h 1806"/>
                <a:gd name="T48" fmla="*/ 11 w 1806"/>
                <a:gd name="T49" fmla="*/ 20 h 1806"/>
                <a:gd name="T50" fmla="*/ 18 w 1806"/>
                <a:gd name="T51" fmla="*/ 12 h 1806"/>
                <a:gd name="T52" fmla="*/ 26 w 1806"/>
                <a:gd name="T53" fmla="*/ 8 h 1806"/>
                <a:gd name="T54" fmla="*/ 35 w 1806"/>
                <a:gd name="T55" fmla="*/ 6 h 1806"/>
                <a:gd name="T56" fmla="*/ 44 w 1806"/>
                <a:gd name="T57" fmla="*/ 5 h 1806"/>
                <a:gd name="T58" fmla="*/ 54 w 1806"/>
                <a:gd name="T59" fmla="*/ 2 h 1806"/>
                <a:gd name="T60" fmla="*/ 65 w 1806"/>
                <a:gd name="T61" fmla="*/ 0 h 1806"/>
                <a:gd name="T62" fmla="*/ 76 w 1806"/>
                <a:gd name="T63" fmla="*/ 0 h 1806"/>
                <a:gd name="T64" fmla="*/ 85 w 1806"/>
                <a:gd name="T65" fmla="*/ 0 h 1806"/>
                <a:gd name="T66" fmla="*/ 97 w 1806"/>
                <a:gd name="T67" fmla="*/ 0 h 1806"/>
                <a:gd name="T68" fmla="*/ 108 w 1806"/>
                <a:gd name="T69" fmla="*/ 3 h 1806"/>
                <a:gd name="T70" fmla="*/ 115 w 1806"/>
                <a:gd name="T71" fmla="*/ 5 h 1806"/>
                <a:gd name="T72" fmla="*/ 123 w 1806"/>
                <a:gd name="T73" fmla="*/ 7 h 1806"/>
                <a:gd name="T74" fmla="*/ 133 w 1806"/>
                <a:gd name="T75" fmla="*/ 14 h 1806"/>
                <a:gd name="T76" fmla="*/ 138 w 1806"/>
                <a:gd name="T77" fmla="*/ 16 h 1806"/>
                <a:gd name="T78" fmla="*/ 140 w 1806"/>
                <a:gd name="T79" fmla="*/ 14 h 1806"/>
                <a:gd name="T80" fmla="*/ 145 w 1806"/>
                <a:gd name="T81" fmla="*/ 16 h 1806"/>
                <a:gd name="T82" fmla="*/ 147 w 1806"/>
                <a:gd name="T83" fmla="*/ 16 h 1806"/>
                <a:gd name="T84" fmla="*/ 150 w 1806"/>
                <a:gd name="T85" fmla="*/ 17 h 1806"/>
                <a:gd name="T86" fmla="*/ 152 w 1806"/>
                <a:gd name="T87" fmla="*/ 18 h 1806"/>
                <a:gd name="T88" fmla="*/ 155 w 1806"/>
                <a:gd name="T89" fmla="*/ 37 h 1806"/>
                <a:gd name="T90" fmla="*/ 146 w 1806"/>
                <a:gd name="T91" fmla="*/ 66 h 1806"/>
                <a:gd name="T92" fmla="*/ 143 w 1806"/>
                <a:gd name="T93" fmla="*/ 88 h 1806"/>
                <a:gd name="T94" fmla="*/ 144 w 1806"/>
                <a:gd name="T95" fmla="*/ 98 h 1806"/>
                <a:gd name="T96" fmla="*/ 137 w 1806"/>
                <a:gd name="T97" fmla="*/ 118 h 1806"/>
                <a:gd name="T98" fmla="*/ 132 w 1806"/>
                <a:gd name="T99" fmla="*/ 129 h 1806"/>
                <a:gd name="T100" fmla="*/ 124 w 1806"/>
                <a:gd name="T101" fmla="*/ 135 h 1806"/>
                <a:gd name="T102" fmla="*/ 119 w 1806"/>
                <a:gd name="T103" fmla="*/ 136 h 1806"/>
                <a:gd name="T104" fmla="*/ 116 w 1806"/>
                <a:gd name="T105" fmla="*/ 137 h 1806"/>
                <a:gd name="T106" fmla="*/ 112 w 1806"/>
                <a:gd name="T107" fmla="*/ 139 h 1806"/>
                <a:gd name="T108" fmla="*/ 112 w 1806"/>
                <a:gd name="T109" fmla="*/ 141 h 1806"/>
                <a:gd name="T110" fmla="*/ 116 w 1806"/>
                <a:gd name="T111" fmla="*/ 146 h 1806"/>
                <a:gd name="T112" fmla="*/ 116 w 1806"/>
                <a:gd name="T113" fmla="*/ 151 h 1806"/>
                <a:gd name="T114" fmla="*/ 113 w 1806"/>
                <a:gd name="T115" fmla="*/ 153 h 18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6"/>
                <a:gd name="T175" fmla="*/ 0 h 1806"/>
                <a:gd name="T176" fmla="*/ 1806 w 1806"/>
                <a:gd name="T177" fmla="*/ 1806 h 18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6" h="1806">
                  <a:moveTo>
                    <a:pt x="1260" y="1776"/>
                  </a:moveTo>
                  <a:lnTo>
                    <a:pt x="1254" y="1776"/>
                  </a:lnTo>
                  <a:lnTo>
                    <a:pt x="1248" y="1776"/>
                  </a:lnTo>
                  <a:lnTo>
                    <a:pt x="1242" y="1782"/>
                  </a:lnTo>
                  <a:lnTo>
                    <a:pt x="1236" y="1782"/>
                  </a:lnTo>
                  <a:lnTo>
                    <a:pt x="1230" y="1788"/>
                  </a:lnTo>
                  <a:lnTo>
                    <a:pt x="1224" y="1782"/>
                  </a:lnTo>
                  <a:lnTo>
                    <a:pt x="1218" y="1782"/>
                  </a:lnTo>
                  <a:lnTo>
                    <a:pt x="1218" y="1788"/>
                  </a:lnTo>
                  <a:lnTo>
                    <a:pt x="1212" y="1788"/>
                  </a:lnTo>
                  <a:lnTo>
                    <a:pt x="1206" y="1788"/>
                  </a:lnTo>
                  <a:lnTo>
                    <a:pt x="1206" y="1794"/>
                  </a:lnTo>
                  <a:lnTo>
                    <a:pt x="1200" y="1806"/>
                  </a:lnTo>
                  <a:lnTo>
                    <a:pt x="1194" y="1800"/>
                  </a:lnTo>
                  <a:lnTo>
                    <a:pt x="1194" y="1794"/>
                  </a:lnTo>
                  <a:lnTo>
                    <a:pt x="1194" y="1788"/>
                  </a:lnTo>
                  <a:lnTo>
                    <a:pt x="1188" y="1788"/>
                  </a:lnTo>
                  <a:lnTo>
                    <a:pt x="1188" y="1782"/>
                  </a:lnTo>
                  <a:lnTo>
                    <a:pt x="1188" y="1776"/>
                  </a:lnTo>
                  <a:lnTo>
                    <a:pt x="1194" y="1770"/>
                  </a:lnTo>
                  <a:lnTo>
                    <a:pt x="1194" y="1764"/>
                  </a:lnTo>
                  <a:lnTo>
                    <a:pt x="1194" y="1758"/>
                  </a:lnTo>
                  <a:lnTo>
                    <a:pt x="1194" y="1752"/>
                  </a:lnTo>
                  <a:lnTo>
                    <a:pt x="1200" y="1746"/>
                  </a:lnTo>
                  <a:lnTo>
                    <a:pt x="1200" y="1740"/>
                  </a:lnTo>
                  <a:lnTo>
                    <a:pt x="1200" y="1734"/>
                  </a:lnTo>
                  <a:lnTo>
                    <a:pt x="1188" y="1722"/>
                  </a:lnTo>
                  <a:lnTo>
                    <a:pt x="1188" y="1716"/>
                  </a:lnTo>
                  <a:lnTo>
                    <a:pt x="1194" y="1704"/>
                  </a:lnTo>
                  <a:lnTo>
                    <a:pt x="1194" y="1692"/>
                  </a:lnTo>
                  <a:lnTo>
                    <a:pt x="1200" y="1680"/>
                  </a:lnTo>
                  <a:lnTo>
                    <a:pt x="1200" y="1662"/>
                  </a:lnTo>
                  <a:lnTo>
                    <a:pt x="1200" y="1650"/>
                  </a:lnTo>
                  <a:lnTo>
                    <a:pt x="1206" y="1644"/>
                  </a:lnTo>
                  <a:lnTo>
                    <a:pt x="1206" y="1638"/>
                  </a:lnTo>
                  <a:lnTo>
                    <a:pt x="1206" y="1626"/>
                  </a:lnTo>
                  <a:lnTo>
                    <a:pt x="1206" y="1620"/>
                  </a:lnTo>
                  <a:lnTo>
                    <a:pt x="1206" y="1614"/>
                  </a:lnTo>
                  <a:lnTo>
                    <a:pt x="1200" y="1608"/>
                  </a:lnTo>
                  <a:lnTo>
                    <a:pt x="1200" y="1602"/>
                  </a:lnTo>
                  <a:lnTo>
                    <a:pt x="1200" y="1596"/>
                  </a:lnTo>
                  <a:lnTo>
                    <a:pt x="1200" y="1590"/>
                  </a:lnTo>
                  <a:lnTo>
                    <a:pt x="1200" y="1572"/>
                  </a:lnTo>
                  <a:lnTo>
                    <a:pt x="1200" y="1566"/>
                  </a:lnTo>
                  <a:lnTo>
                    <a:pt x="1200" y="1560"/>
                  </a:lnTo>
                  <a:lnTo>
                    <a:pt x="1194" y="1554"/>
                  </a:lnTo>
                  <a:lnTo>
                    <a:pt x="1188" y="1548"/>
                  </a:lnTo>
                  <a:lnTo>
                    <a:pt x="1188" y="1542"/>
                  </a:lnTo>
                  <a:lnTo>
                    <a:pt x="1176" y="1536"/>
                  </a:lnTo>
                  <a:lnTo>
                    <a:pt x="1176" y="1530"/>
                  </a:lnTo>
                  <a:lnTo>
                    <a:pt x="1170" y="1524"/>
                  </a:lnTo>
                  <a:lnTo>
                    <a:pt x="1170" y="1518"/>
                  </a:lnTo>
                  <a:lnTo>
                    <a:pt x="1164" y="1512"/>
                  </a:lnTo>
                  <a:lnTo>
                    <a:pt x="1158" y="1506"/>
                  </a:lnTo>
                  <a:lnTo>
                    <a:pt x="1152" y="1500"/>
                  </a:lnTo>
                  <a:lnTo>
                    <a:pt x="1146" y="1494"/>
                  </a:lnTo>
                  <a:lnTo>
                    <a:pt x="1140" y="1488"/>
                  </a:lnTo>
                  <a:lnTo>
                    <a:pt x="1134" y="1482"/>
                  </a:lnTo>
                  <a:lnTo>
                    <a:pt x="1128" y="1476"/>
                  </a:lnTo>
                  <a:lnTo>
                    <a:pt x="1122" y="1470"/>
                  </a:lnTo>
                  <a:lnTo>
                    <a:pt x="1116" y="1464"/>
                  </a:lnTo>
                  <a:lnTo>
                    <a:pt x="1110" y="1464"/>
                  </a:lnTo>
                  <a:lnTo>
                    <a:pt x="1104" y="1458"/>
                  </a:lnTo>
                  <a:lnTo>
                    <a:pt x="1098" y="1464"/>
                  </a:lnTo>
                  <a:lnTo>
                    <a:pt x="1092" y="1464"/>
                  </a:lnTo>
                  <a:lnTo>
                    <a:pt x="1086" y="1446"/>
                  </a:lnTo>
                  <a:lnTo>
                    <a:pt x="1086" y="1440"/>
                  </a:lnTo>
                  <a:lnTo>
                    <a:pt x="1080" y="1416"/>
                  </a:lnTo>
                  <a:lnTo>
                    <a:pt x="1068" y="1404"/>
                  </a:lnTo>
                  <a:lnTo>
                    <a:pt x="1062" y="1398"/>
                  </a:lnTo>
                  <a:lnTo>
                    <a:pt x="1056" y="1398"/>
                  </a:lnTo>
                  <a:lnTo>
                    <a:pt x="1050" y="1398"/>
                  </a:lnTo>
                  <a:lnTo>
                    <a:pt x="1044" y="1398"/>
                  </a:lnTo>
                  <a:lnTo>
                    <a:pt x="1044" y="1392"/>
                  </a:lnTo>
                  <a:lnTo>
                    <a:pt x="1038" y="1392"/>
                  </a:lnTo>
                  <a:lnTo>
                    <a:pt x="1032" y="1392"/>
                  </a:lnTo>
                  <a:lnTo>
                    <a:pt x="1020" y="1386"/>
                  </a:lnTo>
                  <a:lnTo>
                    <a:pt x="1014" y="1386"/>
                  </a:lnTo>
                  <a:lnTo>
                    <a:pt x="1014" y="1380"/>
                  </a:lnTo>
                  <a:lnTo>
                    <a:pt x="1008" y="1380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62"/>
                  </a:lnTo>
                  <a:lnTo>
                    <a:pt x="984" y="1356"/>
                  </a:lnTo>
                  <a:lnTo>
                    <a:pt x="978" y="1356"/>
                  </a:lnTo>
                  <a:lnTo>
                    <a:pt x="972" y="1356"/>
                  </a:lnTo>
                  <a:lnTo>
                    <a:pt x="966" y="1356"/>
                  </a:lnTo>
                  <a:lnTo>
                    <a:pt x="966" y="1350"/>
                  </a:lnTo>
                  <a:lnTo>
                    <a:pt x="948" y="1350"/>
                  </a:lnTo>
                  <a:lnTo>
                    <a:pt x="936" y="1344"/>
                  </a:lnTo>
                  <a:lnTo>
                    <a:pt x="930" y="1338"/>
                  </a:lnTo>
                  <a:lnTo>
                    <a:pt x="918" y="1332"/>
                  </a:lnTo>
                  <a:lnTo>
                    <a:pt x="900" y="1326"/>
                  </a:lnTo>
                  <a:lnTo>
                    <a:pt x="864" y="1332"/>
                  </a:lnTo>
                  <a:lnTo>
                    <a:pt x="828" y="1332"/>
                  </a:lnTo>
                  <a:lnTo>
                    <a:pt x="792" y="1314"/>
                  </a:lnTo>
                  <a:lnTo>
                    <a:pt x="780" y="1314"/>
                  </a:lnTo>
                  <a:lnTo>
                    <a:pt x="780" y="1308"/>
                  </a:lnTo>
                  <a:lnTo>
                    <a:pt x="756" y="1296"/>
                  </a:lnTo>
                  <a:lnTo>
                    <a:pt x="756" y="1278"/>
                  </a:lnTo>
                  <a:lnTo>
                    <a:pt x="768" y="1278"/>
                  </a:lnTo>
                  <a:lnTo>
                    <a:pt x="774" y="1272"/>
                  </a:lnTo>
                  <a:lnTo>
                    <a:pt x="780" y="1266"/>
                  </a:lnTo>
                  <a:lnTo>
                    <a:pt x="786" y="1260"/>
                  </a:lnTo>
                  <a:lnTo>
                    <a:pt x="792" y="1254"/>
                  </a:lnTo>
                  <a:lnTo>
                    <a:pt x="798" y="1242"/>
                  </a:lnTo>
                  <a:lnTo>
                    <a:pt x="804" y="1242"/>
                  </a:lnTo>
                  <a:lnTo>
                    <a:pt x="804" y="1206"/>
                  </a:lnTo>
                  <a:lnTo>
                    <a:pt x="804" y="1182"/>
                  </a:lnTo>
                  <a:lnTo>
                    <a:pt x="804" y="1158"/>
                  </a:lnTo>
                  <a:lnTo>
                    <a:pt x="804" y="1134"/>
                  </a:lnTo>
                  <a:lnTo>
                    <a:pt x="798" y="1116"/>
                  </a:lnTo>
                  <a:lnTo>
                    <a:pt x="792" y="1092"/>
                  </a:lnTo>
                  <a:lnTo>
                    <a:pt x="786" y="1062"/>
                  </a:lnTo>
                  <a:lnTo>
                    <a:pt x="768" y="1032"/>
                  </a:lnTo>
                  <a:lnTo>
                    <a:pt x="762" y="1032"/>
                  </a:lnTo>
                  <a:lnTo>
                    <a:pt x="762" y="1020"/>
                  </a:lnTo>
                  <a:lnTo>
                    <a:pt x="762" y="1014"/>
                  </a:lnTo>
                  <a:lnTo>
                    <a:pt x="756" y="1008"/>
                  </a:lnTo>
                  <a:lnTo>
                    <a:pt x="750" y="1002"/>
                  </a:lnTo>
                  <a:lnTo>
                    <a:pt x="738" y="1002"/>
                  </a:lnTo>
                  <a:lnTo>
                    <a:pt x="738" y="990"/>
                  </a:lnTo>
                  <a:lnTo>
                    <a:pt x="726" y="990"/>
                  </a:lnTo>
                  <a:lnTo>
                    <a:pt x="726" y="978"/>
                  </a:lnTo>
                  <a:lnTo>
                    <a:pt x="732" y="972"/>
                  </a:lnTo>
                  <a:lnTo>
                    <a:pt x="732" y="966"/>
                  </a:lnTo>
                  <a:lnTo>
                    <a:pt x="726" y="966"/>
                  </a:lnTo>
                  <a:lnTo>
                    <a:pt x="732" y="948"/>
                  </a:lnTo>
                  <a:lnTo>
                    <a:pt x="726" y="942"/>
                  </a:lnTo>
                  <a:lnTo>
                    <a:pt x="726" y="930"/>
                  </a:lnTo>
                  <a:lnTo>
                    <a:pt x="720" y="924"/>
                  </a:lnTo>
                  <a:lnTo>
                    <a:pt x="714" y="912"/>
                  </a:lnTo>
                  <a:lnTo>
                    <a:pt x="714" y="882"/>
                  </a:lnTo>
                  <a:lnTo>
                    <a:pt x="714" y="870"/>
                  </a:lnTo>
                  <a:lnTo>
                    <a:pt x="714" y="858"/>
                  </a:lnTo>
                  <a:lnTo>
                    <a:pt x="714" y="846"/>
                  </a:lnTo>
                  <a:lnTo>
                    <a:pt x="708" y="822"/>
                  </a:lnTo>
                  <a:lnTo>
                    <a:pt x="702" y="798"/>
                  </a:lnTo>
                  <a:lnTo>
                    <a:pt x="696" y="792"/>
                  </a:lnTo>
                  <a:lnTo>
                    <a:pt x="684" y="726"/>
                  </a:lnTo>
                  <a:lnTo>
                    <a:pt x="678" y="666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66" y="600"/>
                  </a:lnTo>
                  <a:lnTo>
                    <a:pt x="660" y="594"/>
                  </a:lnTo>
                  <a:lnTo>
                    <a:pt x="654" y="594"/>
                  </a:lnTo>
                  <a:lnTo>
                    <a:pt x="636" y="582"/>
                  </a:lnTo>
                  <a:lnTo>
                    <a:pt x="630" y="576"/>
                  </a:lnTo>
                  <a:lnTo>
                    <a:pt x="624" y="576"/>
                  </a:lnTo>
                  <a:lnTo>
                    <a:pt x="618" y="570"/>
                  </a:lnTo>
                  <a:lnTo>
                    <a:pt x="612" y="564"/>
                  </a:lnTo>
                  <a:lnTo>
                    <a:pt x="606" y="558"/>
                  </a:lnTo>
                  <a:lnTo>
                    <a:pt x="606" y="564"/>
                  </a:lnTo>
                  <a:lnTo>
                    <a:pt x="600" y="564"/>
                  </a:lnTo>
                  <a:lnTo>
                    <a:pt x="594" y="558"/>
                  </a:lnTo>
                  <a:lnTo>
                    <a:pt x="594" y="540"/>
                  </a:lnTo>
                  <a:lnTo>
                    <a:pt x="594" y="528"/>
                  </a:lnTo>
                  <a:lnTo>
                    <a:pt x="594" y="516"/>
                  </a:lnTo>
                  <a:lnTo>
                    <a:pt x="594" y="510"/>
                  </a:lnTo>
                  <a:lnTo>
                    <a:pt x="594" y="492"/>
                  </a:lnTo>
                  <a:lnTo>
                    <a:pt x="594" y="456"/>
                  </a:lnTo>
                  <a:lnTo>
                    <a:pt x="588" y="414"/>
                  </a:lnTo>
                  <a:lnTo>
                    <a:pt x="588" y="408"/>
                  </a:lnTo>
                  <a:lnTo>
                    <a:pt x="582" y="396"/>
                  </a:lnTo>
                  <a:lnTo>
                    <a:pt x="582" y="384"/>
                  </a:lnTo>
                  <a:lnTo>
                    <a:pt x="582" y="372"/>
                  </a:lnTo>
                  <a:lnTo>
                    <a:pt x="564" y="372"/>
                  </a:lnTo>
                  <a:lnTo>
                    <a:pt x="552" y="366"/>
                  </a:lnTo>
                  <a:lnTo>
                    <a:pt x="552" y="372"/>
                  </a:lnTo>
                  <a:lnTo>
                    <a:pt x="498" y="372"/>
                  </a:lnTo>
                  <a:lnTo>
                    <a:pt x="498" y="366"/>
                  </a:lnTo>
                  <a:lnTo>
                    <a:pt x="474" y="360"/>
                  </a:lnTo>
                  <a:lnTo>
                    <a:pt x="456" y="354"/>
                  </a:lnTo>
                  <a:lnTo>
                    <a:pt x="438" y="348"/>
                  </a:lnTo>
                  <a:lnTo>
                    <a:pt x="426" y="354"/>
                  </a:lnTo>
                  <a:lnTo>
                    <a:pt x="408" y="360"/>
                  </a:lnTo>
                  <a:lnTo>
                    <a:pt x="378" y="360"/>
                  </a:lnTo>
                  <a:lnTo>
                    <a:pt x="378" y="354"/>
                  </a:lnTo>
                  <a:lnTo>
                    <a:pt x="378" y="348"/>
                  </a:lnTo>
                  <a:lnTo>
                    <a:pt x="378" y="342"/>
                  </a:lnTo>
                  <a:lnTo>
                    <a:pt x="390" y="330"/>
                  </a:lnTo>
                  <a:lnTo>
                    <a:pt x="396" y="312"/>
                  </a:lnTo>
                  <a:lnTo>
                    <a:pt x="396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8"/>
                  </a:lnTo>
                  <a:lnTo>
                    <a:pt x="372" y="234"/>
                  </a:lnTo>
                  <a:lnTo>
                    <a:pt x="354" y="234"/>
                  </a:lnTo>
                  <a:lnTo>
                    <a:pt x="342" y="246"/>
                  </a:lnTo>
                  <a:lnTo>
                    <a:pt x="330" y="252"/>
                  </a:lnTo>
                  <a:lnTo>
                    <a:pt x="318" y="252"/>
                  </a:lnTo>
                  <a:lnTo>
                    <a:pt x="276" y="258"/>
                  </a:lnTo>
                  <a:lnTo>
                    <a:pt x="276" y="264"/>
                  </a:lnTo>
                  <a:lnTo>
                    <a:pt x="252" y="270"/>
                  </a:lnTo>
                  <a:lnTo>
                    <a:pt x="240" y="270"/>
                  </a:lnTo>
                  <a:lnTo>
                    <a:pt x="228" y="276"/>
                  </a:lnTo>
                  <a:lnTo>
                    <a:pt x="210" y="282"/>
                  </a:lnTo>
                  <a:lnTo>
                    <a:pt x="198" y="288"/>
                  </a:lnTo>
                  <a:lnTo>
                    <a:pt x="186" y="294"/>
                  </a:lnTo>
                  <a:lnTo>
                    <a:pt x="174" y="330"/>
                  </a:lnTo>
                  <a:lnTo>
                    <a:pt x="162" y="342"/>
                  </a:lnTo>
                  <a:lnTo>
                    <a:pt x="156" y="354"/>
                  </a:lnTo>
                  <a:lnTo>
                    <a:pt x="150" y="360"/>
                  </a:lnTo>
                  <a:lnTo>
                    <a:pt x="150" y="366"/>
                  </a:lnTo>
                  <a:lnTo>
                    <a:pt x="108" y="372"/>
                  </a:lnTo>
                  <a:lnTo>
                    <a:pt x="60" y="378"/>
                  </a:lnTo>
                  <a:lnTo>
                    <a:pt x="42" y="378"/>
                  </a:lnTo>
                  <a:lnTo>
                    <a:pt x="12" y="378"/>
                  </a:lnTo>
                  <a:lnTo>
                    <a:pt x="6" y="378"/>
                  </a:lnTo>
                  <a:lnTo>
                    <a:pt x="0" y="366"/>
                  </a:lnTo>
                  <a:lnTo>
                    <a:pt x="12" y="360"/>
                  </a:lnTo>
                  <a:lnTo>
                    <a:pt x="24" y="348"/>
                  </a:lnTo>
                  <a:lnTo>
                    <a:pt x="30" y="342"/>
                  </a:lnTo>
                  <a:lnTo>
                    <a:pt x="36" y="330"/>
                  </a:lnTo>
                  <a:lnTo>
                    <a:pt x="72" y="300"/>
                  </a:lnTo>
                  <a:lnTo>
                    <a:pt x="78" y="294"/>
                  </a:lnTo>
                  <a:lnTo>
                    <a:pt x="78" y="288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96" y="270"/>
                  </a:lnTo>
                  <a:lnTo>
                    <a:pt x="102" y="264"/>
                  </a:lnTo>
                  <a:lnTo>
                    <a:pt x="108" y="258"/>
                  </a:lnTo>
                  <a:lnTo>
                    <a:pt x="114" y="246"/>
                  </a:lnTo>
                  <a:lnTo>
                    <a:pt x="120" y="240"/>
                  </a:lnTo>
                  <a:lnTo>
                    <a:pt x="126" y="234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0" y="210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86" y="174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22" y="138"/>
                  </a:lnTo>
                  <a:lnTo>
                    <a:pt x="234" y="132"/>
                  </a:lnTo>
                  <a:lnTo>
                    <a:pt x="246" y="126"/>
                  </a:lnTo>
                  <a:lnTo>
                    <a:pt x="246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88" y="102"/>
                  </a:lnTo>
                  <a:lnTo>
                    <a:pt x="300" y="96"/>
                  </a:lnTo>
                  <a:lnTo>
                    <a:pt x="306" y="90"/>
                  </a:lnTo>
                  <a:lnTo>
                    <a:pt x="318" y="90"/>
                  </a:lnTo>
                  <a:lnTo>
                    <a:pt x="324" y="84"/>
                  </a:lnTo>
                  <a:lnTo>
                    <a:pt x="348" y="72"/>
                  </a:lnTo>
                  <a:lnTo>
                    <a:pt x="354" y="72"/>
                  </a:lnTo>
                  <a:lnTo>
                    <a:pt x="384" y="66"/>
                  </a:lnTo>
                  <a:lnTo>
                    <a:pt x="390" y="66"/>
                  </a:lnTo>
                  <a:lnTo>
                    <a:pt x="396" y="66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66"/>
                  </a:lnTo>
                  <a:lnTo>
                    <a:pt x="438" y="66"/>
                  </a:lnTo>
                  <a:lnTo>
                    <a:pt x="468" y="66"/>
                  </a:lnTo>
                  <a:lnTo>
                    <a:pt x="480" y="66"/>
                  </a:lnTo>
                  <a:lnTo>
                    <a:pt x="486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22" y="60"/>
                  </a:lnTo>
                  <a:lnTo>
                    <a:pt x="534" y="54"/>
                  </a:lnTo>
                  <a:lnTo>
                    <a:pt x="564" y="42"/>
                  </a:lnTo>
                  <a:lnTo>
                    <a:pt x="570" y="42"/>
                  </a:lnTo>
                  <a:lnTo>
                    <a:pt x="582" y="36"/>
                  </a:lnTo>
                  <a:lnTo>
                    <a:pt x="588" y="36"/>
                  </a:lnTo>
                  <a:lnTo>
                    <a:pt x="600" y="30"/>
                  </a:lnTo>
                  <a:lnTo>
                    <a:pt x="606" y="30"/>
                  </a:lnTo>
                  <a:lnTo>
                    <a:pt x="618" y="24"/>
                  </a:lnTo>
                  <a:lnTo>
                    <a:pt x="642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72" y="12"/>
                  </a:lnTo>
                  <a:lnTo>
                    <a:pt x="696" y="12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50" y="6"/>
                  </a:lnTo>
                  <a:lnTo>
                    <a:pt x="768" y="6"/>
                  </a:lnTo>
                  <a:lnTo>
                    <a:pt x="774" y="6"/>
                  </a:lnTo>
                  <a:lnTo>
                    <a:pt x="786" y="6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6" y="6"/>
                  </a:lnTo>
                  <a:lnTo>
                    <a:pt x="846" y="6"/>
                  </a:lnTo>
                  <a:lnTo>
                    <a:pt x="852" y="0"/>
                  </a:lnTo>
                  <a:lnTo>
                    <a:pt x="876" y="0"/>
                  </a:lnTo>
                  <a:lnTo>
                    <a:pt x="876" y="6"/>
                  </a:lnTo>
                  <a:lnTo>
                    <a:pt x="888" y="0"/>
                  </a:lnTo>
                  <a:lnTo>
                    <a:pt x="900" y="0"/>
                  </a:lnTo>
                  <a:lnTo>
                    <a:pt x="906" y="0"/>
                  </a:lnTo>
                  <a:lnTo>
                    <a:pt x="912" y="0"/>
                  </a:lnTo>
                  <a:lnTo>
                    <a:pt x="948" y="0"/>
                  </a:lnTo>
                  <a:lnTo>
                    <a:pt x="954" y="0"/>
                  </a:lnTo>
                  <a:lnTo>
                    <a:pt x="972" y="0"/>
                  </a:lnTo>
                  <a:lnTo>
                    <a:pt x="978" y="0"/>
                  </a:lnTo>
                  <a:lnTo>
                    <a:pt x="996" y="0"/>
                  </a:lnTo>
                  <a:lnTo>
                    <a:pt x="1032" y="0"/>
                  </a:lnTo>
                  <a:lnTo>
                    <a:pt x="1044" y="0"/>
                  </a:lnTo>
                  <a:lnTo>
                    <a:pt x="1050" y="0"/>
                  </a:lnTo>
                  <a:lnTo>
                    <a:pt x="1056" y="6"/>
                  </a:lnTo>
                  <a:lnTo>
                    <a:pt x="1056" y="0"/>
                  </a:lnTo>
                  <a:lnTo>
                    <a:pt x="1074" y="0"/>
                  </a:lnTo>
                  <a:lnTo>
                    <a:pt x="1098" y="6"/>
                  </a:lnTo>
                  <a:lnTo>
                    <a:pt x="1116" y="6"/>
                  </a:lnTo>
                  <a:lnTo>
                    <a:pt x="1140" y="12"/>
                  </a:lnTo>
                  <a:lnTo>
                    <a:pt x="1152" y="12"/>
                  </a:lnTo>
                  <a:lnTo>
                    <a:pt x="1158" y="12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6" y="12"/>
                  </a:lnTo>
                  <a:lnTo>
                    <a:pt x="1194" y="18"/>
                  </a:lnTo>
                  <a:lnTo>
                    <a:pt x="1206" y="18"/>
                  </a:lnTo>
                  <a:lnTo>
                    <a:pt x="1242" y="36"/>
                  </a:lnTo>
                  <a:lnTo>
                    <a:pt x="1248" y="36"/>
                  </a:lnTo>
                  <a:lnTo>
                    <a:pt x="1254" y="36"/>
                  </a:lnTo>
                  <a:lnTo>
                    <a:pt x="1260" y="42"/>
                  </a:lnTo>
                  <a:lnTo>
                    <a:pt x="1272" y="48"/>
                  </a:lnTo>
                  <a:lnTo>
                    <a:pt x="1278" y="48"/>
                  </a:lnTo>
                  <a:lnTo>
                    <a:pt x="1284" y="48"/>
                  </a:lnTo>
                  <a:lnTo>
                    <a:pt x="1290" y="54"/>
                  </a:lnTo>
                  <a:lnTo>
                    <a:pt x="1308" y="60"/>
                  </a:lnTo>
                  <a:lnTo>
                    <a:pt x="1326" y="60"/>
                  </a:lnTo>
                  <a:lnTo>
                    <a:pt x="1338" y="66"/>
                  </a:lnTo>
                  <a:lnTo>
                    <a:pt x="1344" y="66"/>
                  </a:lnTo>
                  <a:lnTo>
                    <a:pt x="1350" y="66"/>
                  </a:lnTo>
                  <a:lnTo>
                    <a:pt x="1356" y="66"/>
                  </a:lnTo>
                  <a:lnTo>
                    <a:pt x="1362" y="72"/>
                  </a:lnTo>
                  <a:lnTo>
                    <a:pt x="1368" y="72"/>
                  </a:lnTo>
                  <a:lnTo>
                    <a:pt x="1380" y="72"/>
                  </a:lnTo>
                  <a:lnTo>
                    <a:pt x="1386" y="72"/>
                  </a:lnTo>
                  <a:lnTo>
                    <a:pt x="1422" y="84"/>
                  </a:lnTo>
                  <a:lnTo>
                    <a:pt x="1428" y="84"/>
                  </a:lnTo>
                  <a:lnTo>
                    <a:pt x="1446" y="90"/>
                  </a:lnTo>
                  <a:lnTo>
                    <a:pt x="1458" y="102"/>
                  </a:lnTo>
                  <a:lnTo>
                    <a:pt x="1494" y="126"/>
                  </a:lnTo>
                  <a:lnTo>
                    <a:pt x="1500" y="132"/>
                  </a:lnTo>
                  <a:lnTo>
                    <a:pt x="1512" y="138"/>
                  </a:lnTo>
                  <a:lnTo>
                    <a:pt x="1512" y="144"/>
                  </a:lnTo>
                  <a:lnTo>
                    <a:pt x="1518" y="150"/>
                  </a:lnTo>
                  <a:lnTo>
                    <a:pt x="1530" y="156"/>
                  </a:lnTo>
                  <a:lnTo>
                    <a:pt x="1530" y="162"/>
                  </a:lnTo>
                  <a:lnTo>
                    <a:pt x="1548" y="168"/>
                  </a:lnTo>
                  <a:lnTo>
                    <a:pt x="1566" y="180"/>
                  </a:lnTo>
                  <a:lnTo>
                    <a:pt x="1578" y="186"/>
                  </a:lnTo>
                  <a:lnTo>
                    <a:pt x="1578" y="180"/>
                  </a:lnTo>
                  <a:lnTo>
                    <a:pt x="1584" y="186"/>
                  </a:lnTo>
                  <a:lnTo>
                    <a:pt x="1584" y="174"/>
                  </a:lnTo>
                  <a:lnTo>
                    <a:pt x="1590" y="174"/>
                  </a:lnTo>
                  <a:lnTo>
                    <a:pt x="1590" y="180"/>
                  </a:lnTo>
                  <a:lnTo>
                    <a:pt x="1596" y="180"/>
                  </a:lnTo>
                  <a:lnTo>
                    <a:pt x="1596" y="174"/>
                  </a:lnTo>
                  <a:lnTo>
                    <a:pt x="1602" y="174"/>
                  </a:lnTo>
                  <a:lnTo>
                    <a:pt x="1608" y="174"/>
                  </a:lnTo>
                  <a:lnTo>
                    <a:pt x="1614" y="180"/>
                  </a:lnTo>
                  <a:lnTo>
                    <a:pt x="1620" y="174"/>
                  </a:lnTo>
                  <a:lnTo>
                    <a:pt x="1614" y="168"/>
                  </a:lnTo>
                  <a:lnTo>
                    <a:pt x="1614" y="162"/>
                  </a:lnTo>
                  <a:lnTo>
                    <a:pt x="1620" y="162"/>
                  </a:lnTo>
                  <a:lnTo>
                    <a:pt x="1626" y="162"/>
                  </a:lnTo>
                  <a:lnTo>
                    <a:pt x="1632" y="162"/>
                  </a:lnTo>
                  <a:lnTo>
                    <a:pt x="1638" y="168"/>
                  </a:lnTo>
                  <a:lnTo>
                    <a:pt x="1644" y="168"/>
                  </a:lnTo>
                  <a:lnTo>
                    <a:pt x="1650" y="174"/>
                  </a:lnTo>
                  <a:lnTo>
                    <a:pt x="1656" y="168"/>
                  </a:lnTo>
                  <a:lnTo>
                    <a:pt x="1668" y="168"/>
                  </a:lnTo>
                  <a:lnTo>
                    <a:pt x="1674" y="174"/>
                  </a:lnTo>
                  <a:lnTo>
                    <a:pt x="1674" y="180"/>
                  </a:lnTo>
                  <a:lnTo>
                    <a:pt x="1674" y="186"/>
                  </a:lnTo>
                  <a:lnTo>
                    <a:pt x="1680" y="186"/>
                  </a:lnTo>
                  <a:lnTo>
                    <a:pt x="1680" y="192"/>
                  </a:lnTo>
                  <a:lnTo>
                    <a:pt x="1686" y="192"/>
                  </a:lnTo>
                  <a:lnTo>
                    <a:pt x="1686" y="186"/>
                  </a:lnTo>
                  <a:lnTo>
                    <a:pt x="1680" y="186"/>
                  </a:lnTo>
                  <a:lnTo>
                    <a:pt x="1686" y="180"/>
                  </a:lnTo>
                  <a:lnTo>
                    <a:pt x="1692" y="180"/>
                  </a:lnTo>
                  <a:lnTo>
                    <a:pt x="1698" y="180"/>
                  </a:lnTo>
                  <a:lnTo>
                    <a:pt x="1704" y="180"/>
                  </a:lnTo>
                  <a:lnTo>
                    <a:pt x="1704" y="186"/>
                  </a:lnTo>
                  <a:lnTo>
                    <a:pt x="1710" y="186"/>
                  </a:lnTo>
                  <a:lnTo>
                    <a:pt x="1716" y="186"/>
                  </a:lnTo>
                  <a:lnTo>
                    <a:pt x="1716" y="192"/>
                  </a:lnTo>
                  <a:lnTo>
                    <a:pt x="1716" y="198"/>
                  </a:lnTo>
                  <a:lnTo>
                    <a:pt x="1722" y="192"/>
                  </a:lnTo>
                  <a:lnTo>
                    <a:pt x="1722" y="186"/>
                  </a:lnTo>
                  <a:lnTo>
                    <a:pt x="1728" y="192"/>
                  </a:lnTo>
                  <a:lnTo>
                    <a:pt x="1734" y="192"/>
                  </a:lnTo>
                  <a:lnTo>
                    <a:pt x="1734" y="186"/>
                  </a:lnTo>
                  <a:lnTo>
                    <a:pt x="1740" y="186"/>
                  </a:lnTo>
                  <a:lnTo>
                    <a:pt x="1740" y="192"/>
                  </a:lnTo>
                  <a:lnTo>
                    <a:pt x="1746" y="192"/>
                  </a:lnTo>
                  <a:lnTo>
                    <a:pt x="1758" y="192"/>
                  </a:lnTo>
                  <a:lnTo>
                    <a:pt x="1764" y="192"/>
                  </a:lnTo>
                  <a:lnTo>
                    <a:pt x="1764" y="198"/>
                  </a:lnTo>
                  <a:lnTo>
                    <a:pt x="1758" y="204"/>
                  </a:lnTo>
                  <a:lnTo>
                    <a:pt x="1752" y="210"/>
                  </a:lnTo>
                  <a:lnTo>
                    <a:pt x="1746" y="216"/>
                  </a:lnTo>
                  <a:lnTo>
                    <a:pt x="1746" y="222"/>
                  </a:lnTo>
                  <a:lnTo>
                    <a:pt x="1734" y="228"/>
                  </a:lnTo>
                  <a:lnTo>
                    <a:pt x="1734" y="234"/>
                  </a:lnTo>
                  <a:lnTo>
                    <a:pt x="1734" y="258"/>
                  </a:lnTo>
                  <a:lnTo>
                    <a:pt x="1740" y="330"/>
                  </a:lnTo>
                  <a:lnTo>
                    <a:pt x="1746" y="372"/>
                  </a:lnTo>
                  <a:lnTo>
                    <a:pt x="1788" y="426"/>
                  </a:lnTo>
                  <a:lnTo>
                    <a:pt x="1806" y="438"/>
                  </a:lnTo>
                  <a:lnTo>
                    <a:pt x="1794" y="480"/>
                  </a:lnTo>
                  <a:lnTo>
                    <a:pt x="1770" y="516"/>
                  </a:lnTo>
                  <a:lnTo>
                    <a:pt x="1746" y="546"/>
                  </a:lnTo>
                  <a:lnTo>
                    <a:pt x="1716" y="570"/>
                  </a:lnTo>
                  <a:lnTo>
                    <a:pt x="1680" y="594"/>
                  </a:lnTo>
                  <a:lnTo>
                    <a:pt x="1668" y="630"/>
                  </a:lnTo>
                  <a:lnTo>
                    <a:pt x="1680" y="684"/>
                  </a:lnTo>
                  <a:lnTo>
                    <a:pt x="1686" y="756"/>
                  </a:lnTo>
                  <a:lnTo>
                    <a:pt x="1662" y="870"/>
                  </a:lnTo>
                  <a:lnTo>
                    <a:pt x="1656" y="888"/>
                  </a:lnTo>
                  <a:lnTo>
                    <a:pt x="1650" y="972"/>
                  </a:lnTo>
                  <a:lnTo>
                    <a:pt x="1656" y="978"/>
                  </a:lnTo>
                  <a:lnTo>
                    <a:pt x="1650" y="984"/>
                  </a:lnTo>
                  <a:lnTo>
                    <a:pt x="1650" y="990"/>
                  </a:lnTo>
                  <a:lnTo>
                    <a:pt x="1650" y="1002"/>
                  </a:lnTo>
                  <a:lnTo>
                    <a:pt x="1656" y="1008"/>
                  </a:lnTo>
                  <a:lnTo>
                    <a:pt x="1656" y="1014"/>
                  </a:lnTo>
                  <a:lnTo>
                    <a:pt x="1662" y="1026"/>
                  </a:lnTo>
                  <a:lnTo>
                    <a:pt x="1650" y="1032"/>
                  </a:lnTo>
                  <a:lnTo>
                    <a:pt x="1638" y="1044"/>
                  </a:lnTo>
                  <a:lnTo>
                    <a:pt x="1626" y="1080"/>
                  </a:lnTo>
                  <a:lnTo>
                    <a:pt x="1614" y="1116"/>
                  </a:lnTo>
                  <a:lnTo>
                    <a:pt x="1614" y="1128"/>
                  </a:lnTo>
                  <a:lnTo>
                    <a:pt x="1626" y="1134"/>
                  </a:lnTo>
                  <a:lnTo>
                    <a:pt x="1644" y="1134"/>
                  </a:lnTo>
                  <a:lnTo>
                    <a:pt x="1662" y="1134"/>
                  </a:lnTo>
                  <a:lnTo>
                    <a:pt x="1680" y="1140"/>
                  </a:lnTo>
                  <a:lnTo>
                    <a:pt x="1698" y="1170"/>
                  </a:lnTo>
                  <a:lnTo>
                    <a:pt x="1704" y="1194"/>
                  </a:lnTo>
                  <a:lnTo>
                    <a:pt x="1692" y="1206"/>
                  </a:lnTo>
                  <a:lnTo>
                    <a:pt x="1662" y="1242"/>
                  </a:lnTo>
                  <a:lnTo>
                    <a:pt x="1632" y="1266"/>
                  </a:lnTo>
                  <a:lnTo>
                    <a:pt x="1620" y="1314"/>
                  </a:lnTo>
                  <a:lnTo>
                    <a:pt x="1584" y="1356"/>
                  </a:lnTo>
                  <a:lnTo>
                    <a:pt x="1578" y="1356"/>
                  </a:lnTo>
                  <a:lnTo>
                    <a:pt x="1578" y="1362"/>
                  </a:lnTo>
                  <a:lnTo>
                    <a:pt x="1572" y="1410"/>
                  </a:lnTo>
                  <a:lnTo>
                    <a:pt x="1584" y="1452"/>
                  </a:lnTo>
                  <a:lnTo>
                    <a:pt x="1608" y="1476"/>
                  </a:lnTo>
                  <a:lnTo>
                    <a:pt x="1596" y="1476"/>
                  </a:lnTo>
                  <a:lnTo>
                    <a:pt x="1584" y="1482"/>
                  </a:lnTo>
                  <a:lnTo>
                    <a:pt x="1560" y="1482"/>
                  </a:lnTo>
                  <a:lnTo>
                    <a:pt x="1536" y="1482"/>
                  </a:lnTo>
                  <a:lnTo>
                    <a:pt x="1524" y="1482"/>
                  </a:lnTo>
                  <a:lnTo>
                    <a:pt x="1506" y="1500"/>
                  </a:lnTo>
                  <a:lnTo>
                    <a:pt x="1482" y="1530"/>
                  </a:lnTo>
                  <a:lnTo>
                    <a:pt x="1452" y="1542"/>
                  </a:lnTo>
                  <a:lnTo>
                    <a:pt x="1446" y="1542"/>
                  </a:lnTo>
                  <a:lnTo>
                    <a:pt x="1440" y="1542"/>
                  </a:lnTo>
                  <a:lnTo>
                    <a:pt x="1440" y="1548"/>
                  </a:lnTo>
                  <a:lnTo>
                    <a:pt x="1434" y="1548"/>
                  </a:lnTo>
                  <a:lnTo>
                    <a:pt x="1428" y="1548"/>
                  </a:lnTo>
                  <a:lnTo>
                    <a:pt x="1428" y="1554"/>
                  </a:lnTo>
                  <a:lnTo>
                    <a:pt x="1422" y="1560"/>
                  </a:lnTo>
                  <a:lnTo>
                    <a:pt x="1416" y="1560"/>
                  </a:lnTo>
                  <a:lnTo>
                    <a:pt x="1410" y="1566"/>
                  </a:lnTo>
                  <a:lnTo>
                    <a:pt x="1410" y="1560"/>
                  </a:lnTo>
                  <a:lnTo>
                    <a:pt x="1404" y="1560"/>
                  </a:lnTo>
                  <a:lnTo>
                    <a:pt x="1392" y="1560"/>
                  </a:lnTo>
                  <a:lnTo>
                    <a:pt x="1386" y="1560"/>
                  </a:lnTo>
                  <a:lnTo>
                    <a:pt x="1380" y="1566"/>
                  </a:lnTo>
                  <a:lnTo>
                    <a:pt x="1374" y="1560"/>
                  </a:lnTo>
                  <a:lnTo>
                    <a:pt x="1368" y="1566"/>
                  </a:lnTo>
                  <a:lnTo>
                    <a:pt x="1362" y="1566"/>
                  </a:lnTo>
                  <a:lnTo>
                    <a:pt x="1362" y="1572"/>
                  </a:lnTo>
                  <a:lnTo>
                    <a:pt x="1356" y="1572"/>
                  </a:lnTo>
                  <a:lnTo>
                    <a:pt x="1356" y="1578"/>
                  </a:lnTo>
                  <a:lnTo>
                    <a:pt x="1350" y="1578"/>
                  </a:lnTo>
                  <a:lnTo>
                    <a:pt x="1350" y="1572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32" y="1584"/>
                  </a:lnTo>
                  <a:lnTo>
                    <a:pt x="1326" y="1590"/>
                  </a:lnTo>
                  <a:lnTo>
                    <a:pt x="1320" y="1584"/>
                  </a:lnTo>
                  <a:lnTo>
                    <a:pt x="1314" y="1590"/>
                  </a:lnTo>
                  <a:lnTo>
                    <a:pt x="1308" y="1596"/>
                  </a:lnTo>
                  <a:lnTo>
                    <a:pt x="1302" y="1596"/>
                  </a:lnTo>
                  <a:lnTo>
                    <a:pt x="1296" y="1596"/>
                  </a:lnTo>
                  <a:lnTo>
                    <a:pt x="1290" y="1596"/>
                  </a:lnTo>
                  <a:lnTo>
                    <a:pt x="1284" y="1596"/>
                  </a:lnTo>
                  <a:lnTo>
                    <a:pt x="1278" y="1602"/>
                  </a:lnTo>
                  <a:lnTo>
                    <a:pt x="1266" y="1602"/>
                  </a:lnTo>
                  <a:lnTo>
                    <a:pt x="1272" y="1608"/>
                  </a:lnTo>
                  <a:lnTo>
                    <a:pt x="1278" y="1608"/>
                  </a:lnTo>
                  <a:lnTo>
                    <a:pt x="1284" y="1608"/>
                  </a:lnTo>
                  <a:lnTo>
                    <a:pt x="1290" y="1614"/>
                  </a:lnTo>
                  <a:lnTo>
                    <a:pt x="1296" y="1620"/>
                  </a:lnTo>
                  <a:lnTo>
                    <a:pt x="1302" y="1626"/>
                  </a:lnTo>
                  <a:lnTo>
                    <a:pt x="1308" y="1632"/>
                  </a:lnTo>
                  <a:lnTo>
                    <a:pt x="1314" y="1638"/>
                  </a:lnTo>
                  <a:lnTo>
                    <a:pt x="1314" y="1644"/>
                  </a:lnTo>
                  <a:lnTo>
                    <a:pt x="1320" y="1644"/>
                  </a:lnTo>
                  <a:lnTo>
                    <a:pt x="1320" y="1650"/>
                  </a:lnTo>
                  <a:lnTo>
                    <a:pt x="1326" y="1656"/>
                  </a:lnTo>
                  <a:lnTo>
                    <a:pt x="1332" y="1668"/>
                  </a:lnTo>
                  <a:lnTo>
                    <a:pt x="1338" y="1680"/>
                  </a:lnTo>
                  <a:lnTo>
                    <a:pt x="1338" y="1698"/>
                  </a:lnTo>
                  <a:lnTo>
                    <a:pt x="1350" y="1710"/>
                  </a:lnTo>
                  <a:lnTo>
                    <a:pt x="1350" y="1716"/>
                  </a:lnTo>
                  <a:lnTo>
                    <a:pt x="1350" y="1722"/>
                  </a:lnTo>
                  <a:lnTo>
                    <a:pt x="1350" y="1728"/>
                  </a:lnTo>
                  <a:lnTo>
                    <a:pt x="1356" y="1728"/>
                  </a:lnTo>
                  <a:lnTo>
                    <a:pt x="1356" y="1734"/>
                  </a:lnTo>
                  <a:lnTo>
                    <a:pt x="1350" y="1734"/>
                  </a:lnTo>
                  <a:lnTo>
                    <a:pt x="1344" y="1740"/>
                  </a:lnTo>
                  <a:lnTo>
                    <a:pt x="1338" y="1740"/>
                  </a:lnTo>
                  <a:lnTo>
                    <a:pt x="1332" y="1746"/>
                  </a:lnTo>
                  <a:lnTo>
                    <a:pt x="1326" y="1746"/>
                  </a:lnTo>
                  <a:lnTo>
                    <a:pt x="1326" y="1752"/>
                  </a:lnTo>
                  <a:lnTo>
                    <a:pt x="1320" y="1752"/>
                  </a:lnTo>
                  <a:lnTo>
                    <a:pt x="1320" y="1758"/>
                  </a:lnTo>
                  <a:lnTo>
                    <a:pt x="1314" y="1758"/>
                  </a:lnTo>
                  <a:lnTo>
                    <a:pt x="1308" y="1758"/>
                  </a:lnTo>
                  <a:lnTo>
                    <a:pt x="1302" y="1758"/>
                  </a:lnTo>
                  <a:lnTo>
                    <a:pt x="1296" y="1758"/>
                  </a:lnTo>
                  <a:lnTo>
                    <a:pt x="1290" y="1764"/>
                  </a:lnTo>
                  <a:lnTo>
                    <a:pt x="1284" y="1770"/>
                  </a:lnTo>
                  <a:lnTo>
                    <a:pt x="1278" y="1770"/>
                  </a:lnTo>
                  <a:lnTo>
                    <a:pt x="1272" y="1770"/>
                  </a:lnTo>
                  <a:lnTo>
                    <a:pt x="1266" y="1770"/>
                  </a:lnTo>
                  <a:lnTo>
                    <a:pt x="1266" y="1776"/>
                  </a:lnTo>
                  <a:lnTo>
                    <a:pt x="1260" y="1776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4" name="Freeform 39">
              <a:extLst>
                <a:ext uri="{FF2B5EF4-FFF2-40B4-BE49-F238E27FC236}">
                  <a16:creationId xmlns:a16="http://schemas.microsoft.com/office/drawing/2014/main" id="{E01CDA8B-32C7-421A-B23E-968CAC7F78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2974" y="1759680"/>
              <a:ext cx="825155" cy="700024"/>
            </a:xfrm>
            <a:custGeom>
              <a:avLst/>
              <a:gdLst>
                <a:gd name="T0" fmla="*/ 60 w 1554"/>
                <a:gd name="T1" fmla="*/ 86 h 1320"/>
                <a:gd name="T2" fmla="*/ 66 w 1554"/>
                <a:gd name="T3" fmla="*/ 80 h 1320"/>
                <a:gd name="T4" fmla="*/ 61 w 1554"/>
                <a:gd name="T5" fmla="*/ 73 h 1320"/>
                <a:gd name="T6" fmla="*/ 57 w 1554"/>
                <a:gd name="T7" fmla="*/ 67 h 1320"/>
                <a:gd name="T8" fmla="*/ 60 w 1554"/>
                <a:gd name="T9" fmla="*/ 59 h 1320"/>
                <a:gd name="T10" fmla="*/ 56 w 1554"/>
                <a:gd name="T11" fmla="*/ 55 h 1320"/>
                <a:gd name="T12" fmla="*/ 45 w 1554"/>
                <a:gd name="T13" fmla="*/ 53 h 1320"/>
                <a:gd name="T14" fmla="*/ 42 w 1554"/>
                <a:gd name="T15" fmla="*/ 41 h 1320"/>
                <a:gd name="T16" fmla="*/ 37 w 1554"/>
                <a:gd name="T17" fmla="*/ 39 h 1320"/>
                <a:gd name="T18" fmla="*/ 31 w 1554"/>
                <a:gd name="T19" fmla="*/ 44 h 1320"/>
                <a:gd name="T20" fmla="*/ 37 w 1554"/>
                <a:gd name="T21" fmla="*/ 35 h 1320"/>
                <a:gd name="T22" fmla="*/ 30 w 1554"/>
                <a:gd name="T23" fmla="*/ 23 h 1320"/>
                <a:gd name="T24" fmla="*/ 21 w 1554"/>
                <a:gd name="T25" fmla="*/ 23 h 1320"/>
                <a:gd name="T26" fmla="*/ 15 w 1554"/>
                <a:gd name="T27" fmla="*/ 27 h 1320"/>
                <a:gd name="T28" fmla="*/ 11 w 1554"/>
                <a:gd name="T29" fmla="*/ 32 h 1320"/>
                <a:gd name="T30" fmla="*/ 6 w 1554"/>
                <a:gd name="T31" fmla="*/ 22 h 1320"/>
                <a:gd name="T32" fmla="*/ 3 w 1554"/>
                <a:gd name="T33" fmla="*/ 11 h 1320"/>
                <a:gd name="T34" fmla="*/ 24 w 1554"/>
                <a:gd name="T35" fmla="*/ 12 h 1320"/>
                <a:gd name="T36" fmla="*/ 33 w 1554"/>
                <a:gd name="T37" fmla="*/ 19 h 1320"/>
                <a:gd name="T38" fmla="*/ 49 w 1554"/>
                <a:gd name="T39" fmla="*/ 12 h 1320"/>
                <a:gd name="T40" fmla="*/ 58 w 1554"/>
                <a:gd name="T41" fmla="*/ 10 h 1320"/>
                <a:gd name="T42" fmla="*/ 68 w 1554"/>
                <a:gd name="T43" fmla="*/ 11 h 1320"/>
                <a:gd name="T44" fmla="*/ 79 w 1554"/>
                <a:gd name="T45" fmla="*/ 12 h 1320"/>
                <a:gd name="T46" fmla="*/ 96 w 1554"/>
                <a:gd name="T47" fmla="*/ 11 h 1320"/>
                <a:gd name="T48" fmla="*/ 107 w 1554"/>
                <a:gd name="T49" fmla="*/ 2 h 1320"/>
                <a:gd name="T50" fmla="*/ 117 w 1554"/>
                <a:gd name="T51" fmla="*/ 8 h 1320"/>
                <a:gd name="T52" fmla="*/ 126 w 1554"/>
                <a:gd name="T53" fmla="*/ 12 h 1320"/>
                <a:gd name="T54" fmla="*/ 134 w 1554"/>
                <a:gd name="T55" fmla="*/ 24 h 1320"/>
                <a:gd name="T56" fmla="*/ 133 w 1554"/>
                <a:gd name="T57" fmla="*/ 29 h 1320"/>
                <a:gd name="T58" fmla="*/ 129 w 1554"/>
                <a:gd name="T59" fmla="*/ 31 h 1320"/>
                <a:gd name="T60" fmla="*/ 125 w 1554"/>
                <a:gd name="T61" fmla="*/ 32 h 1320"/>
                <a:gd name="T62" fmla="*/ 115 w 1554"/>
                <a:gd name="T63" fmla="*/ 34 h 1320"/>
                <a:gd name="T64" fmla="*/ 113 w 1554"/>
                <a:gd name="T65" fmla="*/ 44 h 1320"/>
                <a:gd name="T66" fmla="*/ 111 w 1554"/>
                <a:gd name="T67" fmla="*/ 54 h 1320"/>
                <a:gd name="T68" fmla="*/ 107 w 1554"/>
                <a:gd name="T69" fmla="*/ 56 h 1320"/>
                <a:gd name="T70" fmla="*/ 102 w 1554"/>
                <a:gd name="T71" fmla="*/ 58 h 1320"/>
                <a:gd name="T72" fmla="*/ 99 w 1554"/>
                <a:gd name="T73" fmla="*/ 60 h 1320"/>
                <a:gd name="T74" fmla="*/ 93 w 1554"/>
                <a:gd name="T75" fmla="*/ 62 h 1320"/>
                <a:gd name="T76" fmla="*/ 87 w 1554"/>
                <a:gd name="T77" fmla="*/ 64 h 1320"/>
                <a:gd name="T78" fmla="*/ 84 w 1554"/>
                <a:gd name="T79" fmla="*/ 65 h 1320"/>
                <a:gd name="T80" fmla="*/ 81 w 1554"/>
                <a:gd name="T81" fmla="*/ 69 h 1320"/>
                <a:gd name="T82" fmla="*/ 83 w 1554"/>
                <a:gd name="T83" fmla="*/ 72 h 1320"/>
                <a:gd name="T84" fmla="*/ 92 w 1554"/>
                <a:gd name="T85" fmla="*/ 73 h 1320"/>
                <a:gd name="T86" fmla="*/ 93 w 1554"/>
                <a:gd name="T87" fmla="*/ 87 h 1320"/>
                <a:gd name="T88" fmla="*/ 104 w 1554"/>
                <a:gd name="T89" fmla="*/ 98 h 1320"/>
                <a:gd name="T90" fmla="*/ 108 w 1554"/>
                <a:gd name="T91" fmla="*/ 98 h 1320"/>
                <a:gd name="T92" fmla="*/ 112 w 1554"/>
                <a:gd name="T93" fmla="*/ 100 h 1320"/>
                <a:gd name="T94" fmla="*/ 118 w 1554"/>
                <a:gd name="T95" fmla="*/ 100 h 1320"/>
                <a:gd name="T96" fmla="*/ 122 w 1554"/>
                <a:gd name="T97" fmla="*/ 102 h 1320"/>
                <a:gd name="T98" fmla="*/ 118 w 1554"/>
                <a:gd name="T99" fmla="*/ 105 h 1320"/>
                <a:gd name="T100" fmla="*/ 114 w 1554"/>
                <a:gd name="T101" fmla="*/ 107 h 1320"/>
                <a:gd name="T102" fmla="*/ 113 w 1554"/>
                <a:gd name="T103" fmla="*/ 113 h 1320"/>
                <a:gd name="T104" fmla="*/ 104 w 1554"/>
                <a:gd name="T105" fmla="*/ 113 h 1320"/>
                <a:gd name="T106" fmla="*/ 93 w 1554"/>
                <a:gd name="T107" fmla="*/ 109 h 1320"/>
                <a:gd name="T108" fmla="*/ 96 w 1554"/>
                <a:gd name="T109" fmla="*/ 103 h 1320"/>
                <a:gd name="T110" fmla="*/ 95 w 1554"/>
                <a:gd name="T111" fmla="*/ 97 h 1320"/>
                <a:gd name="T112" fmla="*/ 87 w 1554"/>
                <a:gd name="T113" fmla="*/ 98 h 1320"/>
                <a:gd name="T114" fmla="*/ 81 w 1554"/>
                <a:gd name="T115" fmla="*/ 98 h 1320"/>
                <a:gd name="T116" fmla="*/ 78 w 1554"/>
                <a:gd name="T117" fmla="*/ 93 h 1320"/>
                <a:gd name="T118" fmla="*/ 65 w 1554"/>
                <a:gd name="T119" fmla="*/ 92 h 1320"/>
                <a:gd name="T120" fmla="*/ 59 w 1554"/>
                <a:gd name="T121" fmla="*/ 92 h 13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54"/>
                <a:gd name="T184" fmla="*/ 0 h 1320"/>
                <a:gd name="T185" fmla="*/ 1554 w 1554"/>
                <a:gd name="T186" fmla="*/ 1320 h 132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54" h="1320">
                  <a:moveTo>
                    <a:pt x="684" y="1068"/>
                  </a:moveTo>
                  <a:lnTo>
                    <a:pt x="684" y="1062"/>
                  </a:lnTo>
                  <a:lnTo>
                    <a:pt x="690" y="1056"/>
                  </a:lnTo>
                  <a:lnTo>
                    <a:pt x="690" y="1050"/>
                  </a:lnTo>
                  <a:lnTo>
                    <a:pt x="690" y="1044"/>
                  </a:lnTo>
                  <a:lnTo>
                    <a:pt x="690" y="1038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14"/>
                  </a:lnTo>
                  <a:lnTo>
                    <a:pt x="690" y="1008"/>
                  </a:lnTo>
                  <a:lnTo>
                    <a:pt x="696" y="996"/>
                  </a:lnTo>
                  <a:lnTo>
                    <a:pt x="714" y="996"/>
                  </a:lnTo>
                  <a:lnTo>
                    <a:pt x="714" y="990"/>
                  </a:lnTo>
                  <a:lnTo>
                    <a:pt x="732" y="984"/>
                  </a:lnTo>
                  <a:lnTo>
                    <a:pt x="744" y="978"/>
                  </a:lnTo>
                  <a:lnTo>
                    <a:pt x="762" y="966"/>
                  </a:lnTo>
                  <a:lnTo>
                    <a:pt x="762" y="960"/>
                  </a:lnTo>
                  <a:lnTo>
                    <a:pt x="768" y="954"/>
                  </a:lnTo>
                  <a:lnTo>
                    <a:pt x="774" y="948"/>
                  </a:lnTo>
                  <a:lnTo>
                    <a:pt x="774" y="942"/>
                  </a:lnTo>
                  <a:lnTo>
                    <a:pt x="774" y="924"/>
                  </a:lnTo>
                  <a:lnTo>
                    <a:pt x="768" y="918"/>
                  </a:lnTo>
                  <a:lnTo>
                    <a:pt x="756" y="918"/>
                  </a:lnTo>
                  <a:lnTo>
                    <a:pt x="744" y="918"/>
                  </a:lnTo>
                  <a:lnTo>
                    <a:pt x="732" y="924"/>
                  </a:lnTo>
                  <a:lnTo>
                    <a:pt x="726" y="912"/>
                  </a:lnTo>
                  <a:lnTo>
                    <a:pt x="720" y="912"/>
                  </a:lnTo>
                  <a:lnTo>
                    <a:pt x="720" y="900"/>
                  </a:lnTo>
                  <a:lnTo>
                    <a:pt x="720" y="870"/>
                  </a:lnTo>
                  <a:lnTo>
                    <a:pt x="696" y="876"/>
                  </a:lnTo>
                  <a:lnTo>
                    <a:pt x="690" y="852"/>
                  </a:lnTo>
                  <a:lnTo>
                    <a:pt x="702" y="852"/>
                  </a:lnTo>
                  <a:lnTo>
                    <a:pt x="702" y="840"/>
                  </a:lnTo>
                  <a:lnTo>
                    <a:pt x="708" y="834"/>
                  </a:lnTo>
                  <a:lnTo>
                    <a:pt x="702" y="822"/>
                  </a:lnTo>
                  <a:lnTo>
                    <a:pt x="660" y="822"/>
                  </a:lnTo>
                  <a:lnTo>
                    <a:pt x="654" y="822"/>
                  </a:lnTo>
                  <a:lnTo>
                    <a:pt x="642" y="822"/>
                  </a:lnTo>
                  <a:lnTo>
                    <a:pt x="642" y="810"/>
                  </a:lnTo>
                  <a:lnTo>
                    <a:pt x="642" y="798"/>
                  </a:lnTo>
                  <a:lnTo>
                    <a:pt x="642" y="792"/>
                  </a:lnTo>
                  <a:lnTo>
                    <a:pt x="648" y="780"/>
                  </a:lnTo>
                  <a:lnTo>
                    <a:pt x="654" y="774"/>
                  </a:lnTo>
                  <a:lnTo>
                    <a:pt x="660" y="774"/>
                  </a:lnTo>
                  <a:lnTo>
                    <a:pt x="672" y="762"/>
                  </a:lnTo>
                  <a:lnTo>
                    <a:pt x="672" y="756"/>
                  </a:lnTo>
                  <a:lnTo>
                    <a:pt x="678" y="750"/>
                  </a:lnTo>
                  <a:lnTo>
                    <a:pt x="684" y="750"/>
                  </a:lnTo>
                  <a:lnTo>
                    <a:pt x="690" y="744"/>
                  </a:lnTo>
                  <a:lnTo>
                    <a:pt x="696" y="732"/>
                  </a:lnTo>
                  <a:lnTo>
                    <a:pt x="696" y="726"/>
                  </a:lnTo>
                  <a:lnTo>
                    <a:pt x="702" y="714"/>
                  </a:lnTo>
                  <a:lnTo>
                    <a:pt x="696" y="708"/>
                  </a:lnTo>
                  <a:lnTo>
                    <a:pt x="690" y="690"/>
                  </a:lnTo>
                  <a:lnTo>
                    <a:pt x="696" y="678"/>
                  </a:lnTo>
                  <a:lnTo>
                    <a:pt x="708" y="672"/>
                  </a:lnTo>
                  <a:lnTo>
                    <a:pt x="708" y="660"/>
                  </a:lnTo>
                  <a:lnTo>
                    <a:pt x="702" y="660"/>
                  </a:lnTo>
                  <a:lnTo>
                    <a:pt x="696" y="660"/>
                  </a:lnTo>
                  <a:lnTo>
                    <a:pt x="690" y="654"/>
                  </a:lnTo>
                  <a:lnTo>
                    <a:pt x="684" y="654"/>
                  </a:lnTo>
                  <a:lnTo>
                    <a:pt x="690" y="606"/>
                  </a:lnTo>
                  <a:lnTo>
                    <a:pt x="660" y="606"/>
                  </a:lnTo>
                  <a:lnTo>
                    <a:pt x="660" y="612"/>
                  </a:lnTo>
                  <a:lnTo>
                    <a:pt x="648" y="612"/>
                  </a:lnTo>
                  <a:lnTo>
                    <a:pt x="642" y="636"/>
                  </a:lnTo>
                  <a:lnTo>
                    <a:pt x="636" y="636"/>
                  </a:lnTo>
                  <a:lnTo>
                    <a:pt x="630" y="648"/>
                  </a:lnTo>
                  <a:lnTo>
                    <a:pt x="612" y="648"/>
                  </a:lnTo>
                  <a:lnTo>
                    <a:pt x="606" y="636"/>
                  </a:lnTo>
                  <a:lnTo>
                    <a:pt x="600" y="630"/>
                  </a:lnTo>
                  <a:lnTo>
                    <a:pt x="588" y="606"/>
                  </a:lnTo>
                  <a:lnTo>
                    <a:pt x="552" y="606"/>
                  </a:lnTo>
                  <a:lnTo>
                    <a:pt x="552" y="612"/>
                  </a:lnTo>
                  <a:lnTo>
                    <a:pt x="540" y="612"/>
                  </a:lnTo>
                  <a:lnTo>
                    <a:pt x="540" y="606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16" y="612"/>
                  </a:lnTo>
                  <a:lnTo>
                    <a:pt x="516" y="582"/>
                  </a:lnTo>
                  <a:lnTo>
                    <a:pt x="522" y="576"/>
                  </a:lnTo>
                  <a:lnTo>
                    <a:pt x="528" y="576"/>
                  </a:lnTo>
                  <a:lnTo>
                    <a:pt x="528" y="552"/>
                  </a:lnTo>
                  <a:lnTo>
                    <a:pt x="522" y="540"/>
                  </a:lnTo>
                  <a:lnTo>
                    <a:pt x="510" y="528"/>
                  </a:lnTo>
                  <a:lnTo>
                    <a:pt x="486" y="510"/>
                  </a:lnTo>
                  <a:lnTo>
                    <a:pt x="480" y="498"/>
                  </a:lnTo>
                  <a:lnTo>
                    <a:pt x="480" y="474"/>
                  </a:lnTo>
                  <a:lnTo>
                    <a:pt x="492" y="468"/>
                  </a:lnTo>
                  <a:lnTo>
                    <a:pt x="486" y="450"/>
                  </a:lnTo>
                  <a:lnTo>
                    <a:pt x="474" y="456"/>
                  </a:lnTo>
                  <a:lnTo>
                    <a:pt x="468" y="456"/>
                  </a:lnTo>
                  <a:lnTo>
                    <a:pt x="462" y="456"/>
                  </a:lnTo>
                  <a:lnTo>
                    <a:pt x="456" y="468"/>
                  </a:lnTo>
                  <a:lnTo>
                    <a:pt x="456" y="474"/>
                  </a:lnTo>
                  <a:lnTo>
                    <a:pt x="450" y="480"/>
                  </a:lnTo>
                  <a:lnTo>
                    <a:pt x="444" y="450"/>
                  </a:lnTo>
                  <a:lnTo>
                    <a:pt x="438" y="450"/>
                  </a:lnTo>
                  <a:lnTo>
                    <a:pt x="432" y="450"/>
                  </a:lnTo>
                  <a:lnTo>
                    <a:pt x="420" y="450"/>
                  </a:lnTo>
                  <a:lnTo>
                    <a:pt x="420" y="456"/>
                  </a:lnTo>
                  <a:lnTo>
                    <a:pt x="414" y="456"/>
                  </a:lnTo>
                  <a:lnTo>
                    <a:pt x="408" y="468"/>
                  </a:lnTo>
                  <a:lnTo>
                    <a:pt x="402" y="468"/>
                  </a:lnTo>
                  <a:lnTo>
                    <a:pt x="396" y="474"/>
                  </a:lnTo>
                  <a:lnTo>
                    <a:pt x="390" y="492"/>
                  </a:lnTo>
                  <a:lnTo>
                    <a:pt x="384" y="504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54" y="510"/>
                  </a:lnTo>
                  <a:lnTo>
                    <a:pt x="360" y="480"/>
                  </a:lnTo>
                  <a:lnTo>
                    <a:pt x="360" y="474"/>
                  </a:lnTo>
                  <a:lnTo>
                    <a:pt x="378" y="456"/>
                  </a:lnTo>
                  <a:lnTo>
                    <a:pt x="384" y="450"/>
                  </a:lnTo>
                  <a:lnTo>
                    <a:pt x="396" y="444"/>
                  </a:lnTo>
                  <a:lnTo>
                    <a:pt x="402" y="438"/>
                  </a:lnTo>
                  <a:lnTo>
                    <a:pt x="408" y="438"/>
                  </a:lnTo>
                  <a:lnTo>
                    <a:pt x="408" y="426"/>
                  </a:lnTo>
                  <a:lnTo>
                    <a:pt x="414" y="420"/>
                  </a:lnTo>
                  <a:lnTo>
                    <a:pt x="426" y="420"/>
                  </a:lnTo>
                  <a:lnTo>
                    <a:pt x="426" y="408"/>
                  </a:lnTo>
                  <a:lnTo>
                    <a:pt x="420" y="390"/>
                  </a:lnTo>
                  <a:lnTo>
                    <a:pt x="408" y="384"/>
                  </a:lnTo>
                  <a:lnTo>
                    <a:pt x="378" y="378"/>
                  </a:lnTo>
                  <a:lnTo>
                    <a:pt x="354" y="366"/>
                  </a:lnTo>
                  <a:lnTo>
                    <a:pt x="342" y="360"/>
                  </a:lnTo>
                  <a:lnTo>
                    <a:pt x="342" y="348"/>
                  </a:lnTo>
                  <a:lnTo>
                    <a:pt x="336" y="330"/>
                  </a:lnTo>
                  <a:lnTo>
                    <a:pt x="348" y="306"/>
                  </a:lnTo>
                  <a:lnTo>
                    <a:pt x="360" y="294"/>
                  </a:lnTo>
                  <a:lnTo>
                    <a:pt x="360" y="282"/>
                  </a:lnTo>
                  <a:lnTo>
                    <a:pt x="342" y="270"/>
                  </a:lnTo>
                  <a:lnTo>
                    <a:pt x="342" y="264"/>
                  </a:lnTo>
                  <a:lnTo>
                    <a:pt x="330" y="264"/>
                  </a:lnTo>
                  <a:lnTo>
                    <a:pt x="312" y="270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88" y="270"/>
                  </a:lnTo>
                  <a:lnTo>
                    <a:pt x="282" y="270"/>
                  </a:lnTo>
                  <a:lnTo>
                    <a:pt x="276" y="264"/>
                  </a:lnTo>
                  <a:lnTo>
                    <a:pt x="270" y="264"/>
                  </a:lnTo>
                  <a:lnTo>
                    <a:pt x="252" y="270"/>
                  </a:lnTo>
                  <a:lnTo>
                    <a:pt x="246" y="270"/>
                  </a:lnTo>
                  <a:lnTo>
                    <a:pt x="240" y="270"/>
                  </a:lnTo>
                  <a:lnTo>
                    <a:pt x="228" y="270"/>
                  </a:lnTo>
                  <a:lnTo>
                    <a:pt x="216" y="276"/>
                  </a:lnTo>
                  <a:lnTo>
                    <a:pt x="210" y="270"/>
                  </a:lnTo>
                  <a:lnTo>
                    <a:pt x="204" y="270"/>
                  </a:lnTo>
                  <a:lnTo>
                    <a:pt x="198" y="276"/>
                  </a:lnTo>
                  <a:lnTo>
                    <a:pt x="192" y="276"/>
                  </a:lnTo>
                  <a:lnTo>
                    <a:pt x="186" y="282"/>
                  </a:lnTo>
                  <a:lnTo>
                    <a:pt x="180" y="288"/>
                  </a:lnTo>
                  <a:lnTo>
                    <a:pt x="174" y="300"/>
                  </a:lnTo>
                  <a:lnTo>
                    <a:pt x="168" y="306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8" y="330"/>
                  </a:lnTo>
                  <a:lnTo>
                    <a:pt x="162" y="336"/>
                  </a:lnTo>
                  <a:lnTo>
                    <a:pt x="156" y="342"/>
                  </a:lnTo>
                  <a:lnTo>
                    <a:pt x="156" y="348"/>
                  </a:lnTo>
                  <a:lnTo>
                    <a:pt x="156" y="354"/>
                  </a:lnTo>
                  <a:lnTo>
                    <a:pt x="150" y="366"/>
                  </a:lnTo>
                  <a:lnTo>
                    <a:pt x="150" y="372"/>
                  </a:lnTo>
                  <a:lnTo>
                    <a:pt x="144" y="366"/>
                  </a:lnTo>
                  <a:lnTo>
                    <a:pt x="132" y="366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20" y="348"/>
                  </a:lnTo>
                  <a:lnTo>
                    <a:pt x="102" y="330"/>
                  </a:lnTo>
                  <a:lnTo>
                    <a:pt x="96" y="318"/>
                  </a:lnTo>
                  <a:lnTo>
                    <a:pt x="96" y="282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0" y="258"/>
                  </a:lnTo>
                  <a:lnTo>
                    <a:pt x="84" y="252"/>
                  </a:lnTo>
                  <a:lnTo>
                    <a:pt x="66" y="258"/>
                  </a:lnTo>
                  <a:lnTo>
                    <a:pt x="60" y="246"/>
                  </a:lnTo>
                  <a:lnTo>
                    <a:pt x="30" y="252"/>
                  </a:lnTo>
                  <a:lnTo>
                    <a:pt x="18" y="246"/>
                  </a:lnTo>
                  <a:lnTo>
                    <a:pt x="0" y="240"/>
                  </a:lnTo>
                  <a:lnTo>
                    <a:pt x="0" y="234"/>
                  </a:lnTo>
                  <a:lnTo>
                    <a:pt x="0" y="210"/>
                  </a:lnTo>
                  <a:lnTo>
                    <a:pt x="6" y="204"/>
                  </a:lnTo>
                  <a:lnTo>
                    <a:pt x="18" y="192"/>
                  </a:lnTo>
                  <a:lnTo>
                    <a:pt x="18" y="144"/>
                  </a:lnTo>
                  <a:lnTo>
                    <a:pt x="24" y="126"/>
                  </a:lnTo>
                  <a:lnTo>
                    <a:pt x="36" y="126"/>
                  </a:lnTo>
                  <a:lnTo>
                    <a:pt x="54" y="120"/>
                  </a:lnTo>
                  <a:lnTo>
                    <a:pt x="54" y="126"/>
                  </a:lnTo>
                  <a:lnTo>
                    <a:pt x="132" y="114"/>
                  </a:lnTo>
                  <a:lnTo>
                    <a:pt x="144" y="120"/>
                  </a:lnTo>
                  <a:lnTo>
                    <a:pt x="150" y="132"/>
                  </a:lnTo>
                  <a:lnTo>
                    <a:pt x="180" y="126"/>
                  </a:lnTo>
                  <a:lnTo>
                    <a:pt x="210" y="120"/>
                  </a:lnTo>
                  <a:lnTo>
                    <a:pt x="240" y="120"/>
                  </a:lnTo>
                  <a:lnTo>
                    <a:pt x="258" y="120"/>
                  </a:lnTo>
                  <a:lnTo>
                    <a:pt x="270" y="126"/>
                  </a:lnTo>
                  <a:lnTo>
                    <a:pt x="276" y="132"/>
                  </a:lnTo>
                  <a:lnTo>
                    <a:pt x="282" y="138"/>
                  </a:lnTo>
                  <a:lnTo>
                    <a:pt x="282" y="156"/>
                  </a:lnTo>
                  <a:lnTo>
                    <a:pt x="288" y="186"/>
                  </a:lnTo>
                  <a:lnTo>
                    <a:pt x="312" y="192"/>
                  </a:lnTo>
                  <a:lnTo>
                    <a:pt x="318" y="198"/>
                  </a:lnTo>
                  <a:lnTo>
                    <a:pt x="324" y="204"/>
                  </a:lnTo>
                  <a:lnTo>
                    <a:pt x="330" y="210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66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86" y="210"/>
                  </a:lnTo>
                  <a:lnTo>
                    <a:pt x="498" y="198"/>
                  </a:lnTo>
                  <a:lnTo>
                    <a:pt x="504" y="174"/>
                  </a:lnTo>
                  <a:lnTo>
                    <a:pt x="516" y="162"/>
                  </a:lnTo>
                  <a:lnTo>
                    <a:pt x="516" y="138"/>
                  </a:lnTo>
                  <a:lnTo>
                    <a:pt x="522" y="132"/>
                  </a:lnTo>
                  <a:lnTo>
                    <a:pt x="564" y="132"/>
                  </a:lnTo>
                  <a:lnTo>
                    <a:pt x="564" y="114"/>
                  </a:lnTo>
                  <a:lnTo>
                    <a:pt x="582" y="114"/>
                  </a:lnTo>
                  <a:lnTo>
                    <a:pt x="594" y="114"/>
                  </a:lnTo>
                  <a:lnTo>
                    <a:pt x="606" y="114"/>
                  </a:lnTo>
                  <a:lnTo>
                    <a:pt x="612" y="114"/>
                  </a:lnTo>
                  <a:lnTo>
                    <a:pt x="630" y="114"/>
                  </a:lnTo>
                  <a:lnTo>
                    <a:pt x="636" y="114"/>
                  </a:lnTo>
                  <a:lnTo>
                    <a:pt x="648" y="114"/>
                  </a:lnTo>
                  <a:lnTo>
                    <a:pt x="654" y="114"/>
                  </a:lnTo>
                  <a:lnTo>
                    <a:pt x="660" y="120"/>
                  </a:lnTo>
                  <a:lnTo>
                    <a:pt x="672" y="120"/>
                  </a:lnTo>
                  <a:lnTo>
                    <a:pt x="684" y="120"/>
                  </a:lnTo>
                  <a:lnTo>
                    <a:pt x="690" y="120"/>
                  </a:lnTo>
                  <a:lnTo>
                    <a:pt x="702" y="120"/>
                  </a:lnTo>
                  <a:lnTo>
                    <a:pt x="708" y="120"/>
                  </a:lnTo>
                  <a:lnTo>
                    <a:pt x="726" y="126"/>
                  </a:lnTo>
                  <a:lnTo>
                    <a:pt x="732" y="126"/>
                  </a:lnTo>
                  <a:lnTo>
                    <a:pt x="738" y="126"/>
                  </a:lnTo>
                  <a:lnTo>
                    <a:pt x="750" y="126"/>
                  </a:lnTo>
                  <a:lnTo>
                    <a:pt x="756" y="126"/>
                  </a:lnTo>
                  <a:lnTo>
                    <a:pt x="768" y="126"/>
                  </a:lnTo>
                  <a:lnTo>
                    <a:pt x="780" y="126"/>
                  </a:lnTo>
                  <a:lnTo>
                    <a:pt x="786" y="120"/>
                  </a:lnTo>
                  <a:lnTo>
                    <a:pt x="792" y="120"/>
                  </a:lnTo>
                  <a:lnTo>
                    <a:pt x="810" y="120"/>
                  </a:lnTo>
                  <a:lnTo>
                    <a:pt x="822" y="120"/>
                  </a:lnTo>
                  <a:lnTo>
                    <a:pt x="846" y="126"/>
                  </a:lnTo>
                  <a:lnTo>
                    <a:pt x="858" y="126"/>
                  </a:lnTo>
                  <a:lnTo>
                    <a:pt x="870" y="132"/>
                  </a:lnTo>
                  <a:lnTo>
                    <a:pt x="882" y="132"/>
                  </a:lnTo>
                  <a:lnTo>
                    <a:pt x="894" y="132"/>
                  </a:lnTo>
                  <a:lnTo>
                    <a:pt x="900" y="132"/>
                  </a:lnTo>
                  <a:lnTo>
                    <a:pt x="912" y="132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36" y="132"/>
                  </a:lnTo>
                  <a:lnTo>
                    <a:pt x="960" y="132"/>
                  </a:lnTo>
                  <a:lnTo>
                    <a:pt x="966" y="144"/>
                  </a:lnTo>
                  <a:lnTo>
                    <a:pt x="972" y="144"/>
                  </a:lnTo>
                  <a:lnTo>
                    <a:pt x="1002" y="144"/>
                  </a:lnTo>
                  <a:lnTo>
                    <a:pt x="1020" y="144"/>
                  </a:lnTo>
                  <a:lnTo>
                    <a:pt x="1068" y="138"/>
                  </a:lnTo>
                  <a:lnTo>
                    <a:pt x="1110" y="132"/>
                  </a:lnTo>
                  <a:lnTo>
                    <a:pt x="1110" y="126"/>
                  </a:lnTo>
                  <a:lnTo>
                    <a:pt x="1116" y="120"/>
                  </a:lnTo>
                  <a:lnTo>
                    <a:pt x="1122" y="108"/>
                  </a:lnTo>
                  <a:lnTo>
                    <a:pt x="1134" y="96"/>
                  </a:lnTo>
                  <a:lnTo>
                    <a:pt x="1146" y="60"/>
                  </a:lnTo>
                  <a:lnTo>
                    <a:pt x="1158" y="54"/>
                  </a:lnTo>
                  <a:lnTo>
                    <a:pt x="1170" y="48"/>
                  </a:lnTo>
                  <a:lnTo>
                    <a:pt x="1188" y="42"/>
                  </a:lnTo>
                  <a:lnTo>
                    <a:pt x="1200" y="36"/>
                  </a:lnTo>
                  <a:lnTo>
                    <a:pt x="1212" y="36"/>
                  </a:lnTo>
                  <a:lnTo>
                    <a:pt x="1236" y="30"/>
                  </a:lnTo>
                  <a:lnTo>
                    <a:pt x="1236" y="24"/>
                  </a:lnTo>
                  <a:lnTo>
                    <a:pt x="1278" y="18"/>
                  </a:lnTo>
                  <a:lnTo>
                    <a:pt x="1290" y="18"/>
                  </a:lnTo>
                  <a:lnTo>
                    <a:pt x="1302" y="12"/>
                  </a:lnTo>
                  <a:lnTo>
                    <a:pt x="1314" y="0"/>
                  </a:lnTo>
                  <a:lnTo>
                    <a:pt x="1332" y="0"/>
                  </a:lnTo>
                  <a:lnTo>
                    <a:pt x="1338" y="24"/>
                  </a:lnTo>
                  <a:lnTo>
                    <a:pt x="1344" y="30"/>
                  </a:lnTo>
                  <a:lnTo>
                    <a:pt x="1350" y="42"/>
                  </a:lnTo>
                  <a:lnTo>
                    <a:pt x="1356" y="48"/>
                  </a:lnTo>
                  <a:lnTo>
                    <a:pt x="1356" y="78"/>
                  </a:lnTo>
                  <a:lnTo>
                    <a:pt x="1350" y="96"/>
                  </a:lnTo>
                  <a:lnTo>
                    <a:pt x="1338" y="108"/>
                  </a:lnTo>
                  <a:lnTo>
                    <a:pt x="1338" y="114"/>
                  </a:lnTo>
                  <a:lnTo>
                    <a:pt x="1338" y="120"/>
                  </a:lnTo>
                  <a:lnTo>
                    <a:pt x="1338" y="126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398" y="114"/>
                  </a:lnTo>
                  <a:lnTo>
                    <a:pt x="1416" y="120"/>
                  </a:lnTo>
                  <a:lnTo>
                    <a:pt x="1434" y="126"/>
                  </a:lnTo>
                  <a:lnTo>
                    <a:pt x="1458" y="132"/>
                  </a:lnTo>
                  <a:lnTo>
                    <a:pt x="1458" y="138"/>
                  </a:lnTo>
                  <a:lnTo>
                    <a:pt x="1512" y="138"/>
                  </a:lnTo>
                  <a:lnTo>
                    <a:pt x="1512" y="132"/>
                  </a:lnTo>
                  <a:lnTo>
                    <a:pt x="1524" y="138"/>
                  </a:lnTo>
                  <a:lnTo>
                    <a:pt x="1542" y="138"/>
                  </a:lnTo>
                  <a:lnTo>
                    <a:pt x="1542" y="150"/>
                  </a:lnTo>
                  <a:lnTo>
                    <a:pt x="1542" y="162"/>
                  </a:lnTo>
                  <a:lnTo>
                    <a:pt x="1548" y="174"/>
                  </a:lnTo>
                  <a:lnTo>
                    <a:pt x="1548" y="180"/>
                  </a:lnTo>
                  <a:lnTo>
                    <a:pt x="1554" y="222"/>
                  </a:lnTo>
                  <a:lnTo>
                    <a:pt x="1554" y="258"/>
                  </a:lnTo>
                  <a:lnTo>
                    <a:pt x="1554" y="276"/>
                  </a:lnTo>
                  <a:lnTo>
                    <a:pt x="1554" y="282"/>
                  </a:lnTo>
                  <a:lnTo>
                    <a:pt x="1554" y="294"/>
                  </a:lnTo>
                  <a:lnTo>
                    <a:pt x="1554" y="306"/>
                  </a:lnTo>
                  <a:lnTo>
                    <a:pt x="1554" y="324"/>
                  </a:lnTo>
                  <a:lnTo>
                    <a:pt x="1554" y="330"/>
                  </a:lnTo>
                  <a:lnTo>
                    <a:pt x="1548" y="330"/>
                  </a:lnTo>
                  <a:lnTo>
                    <a:pt x="1548" y="336"/>
                  </a:lnTo>
                  <a:lnTo>
                    <a:pt x="1548" y="342"/>
                  </a:lnTo>
                  <a:lnTo>
                    <a:pt x="1542" y="336"/>
                  </a:lnTo>
                  <a:lnTo>
                    <a:pt x="1542" y="330"/>
                  </a:lnTo>
                  <a:lnTo>
                    <a:pt x="1536" y="330"/>
                  </a:lnTo>
                  <a:lnTo>
                    <a:pt x="1530" y="330"/>
                  </a:lnTo>
                  <a:lnTo>
                    <a:pt x="1530" y="336"/>
                  </a:lnTo>
                  <a:lnTo>
                    <a:pt x="1536" y="342"/>
                  </a:lnTo>
                  <a:lnTo>
                    <a:pt x="1530" y="342"/>
                  </a:lnTo>
                  <a:lnTo>
                    <a:pt x="1518" y="348"/>
                  </a:lnTo>
                  <a:lnTo>
                    <a:pt x="1512" y="354"/>
                  </a:lnTo>
                  <a:lnTo>
                    <a:pt x="1506" y="354"/>
                  </a:lnTo>
                  <a:lnTo>
                    <a:pt x="1500" y="354"/>
                  </a:lnTo>
                  <a:lnTo>
                    <a:pt x="1494" y="354"/>
                  </a:lnTo>
                  <a:lnTo>
                    <a:pt x="1494" y="360"/>
                  </a:lnTo>
                  <a:lnTo>
                    <a:pt x="1488" y="360"/>
                  </a:lnTo>
                  <a:lnTo>
                    <a:pt x="1488" y="366"/>
                  </a:lnTo>
                  <a:lnTo>
                    <a:pt x="1488" y="372"/>
                  </a:lnTo>
                  <a:lnTo>
                    <a:pt x="1482" y="372"/>
                  </a:lnTo>
                  <a:lnTo>
                    <a:pt x="1476" y="372"/>
                  </a:lnTo>
                  <a:lnTo>
                    <a:pt x="1470" y="372"/>
                  </a:lnTo>
                  <a:lnTo>
                    <a:pt x="1470" y="378"/>
                  </a:lnTo>
                  <a:lnTo>
                    <a:pt x="1470" y="384"/>
                  </a:lnTo>
                  <a:lnTo>
                    <a:pt x="1470" y="390"/>
                  </a:lnTo>
                  <a:lnTo>
                    <a:pt x="1464" y="402"/>
                  </a:lnTo>
                  <a:lnTo>
                    <a:pt x="1446" y="402"/>
                  </a:lnTo>
                  <a:lnTo>
                    <a:pt x="1440" y="372"/>
                  </a:lnTo>
                  <a:lnTo>
                    <a:pt x="1410" y="372"/>
                  </a:lnTo>
                  <a:lnTo>
                    <a:pt x="1380" y="372"/>
                  </a:lnTo>
                  <a:lnTo>
                    <a:pt x="1374" y="372"/>
                  </a:lnTo>
                  <a:lnTo>
                    <a:pt x="1368" y="378"/>
                  </a:lnTo>
                  <a:lnTo>
                    <a:pt x="1362" y="378"/>
                  </a:lnTo>
                  <a:lnTo>
                    <a:pt x="1356" y="378"/>
                  </a:lnTo>
                  <a:lnTo>
                    <a:pt x="1350" y="384"/>
                  </a:lnTo>
                  <a:lnTo>
                    <a:pt x="1350" y="390"/>
                  </a:lnTo>
                  <a:lnTo>
                    <a:pt x="1344" y="390"/>
                  </a:lnTo>
                  <a:lnTo>
                    <a:pt x="1338" y="390"/>
                  </a:lnTo>
                  <a:lnTo>
                    <a:pt x="1332" y="390"/>
                  </a:lnTo>
                  <a:lnTo>
                    <a:pt x="1332" y="396"/>
                  </a:lnTo>
                  <a:lnTo>
                    <a:pt x="1332" y="390"/>
                  </a:lnTo>
                  <a:lnTo>
                    <a:pt x="1326" y="402"/>
                  </a:lnTo>
                  <a:lnTo>
                    <a:pt x="1320" y="402"/>
                  </a:lnTo>
                  <a:lnTo>
                    <a:pt x="1302" y="474"/>
                  </a:lnTo>
                  <a:lnTo>
                    <a:pt x="1308" y="480"/>
                  </a:lnTo>
                  <a:lnTo>
                    <a:pt x="1314" y="480"/>
                  </a:lnTo>
                  <a:lnTo>
                    <a:pt x="1308" y="498"/>
                  </a:lnTo>
                  <a:lnTo>
                    <a:pt x="1308" y="504"/>
                  </a:lnTo>
                  <a:lnTo>
                    <a:pt x="1314" y="510"/>
                  </a:lnTo>
                  <a:lnTo>
                    <a:pt x="1308" y="510"/>
                  </a:lnTo>
                  <a:lnTo>
                    <a:pt x="1308" y="516"/>
                  </a:lnTo>
                  <a:lnTo>
                    <a:pt x="1302" y="516"/>
                  </a:lnTo>
                  <a:lnTo>
                    <a:pt x="1296" y="510"/>
                  </a:lnTo>
                  <a:lnTo>
                    <a:pt x="1296" y="516"/>
                  </a:lnTo>
                  <a:lnTo>
                    <a:pt x="1290" y="540"/>
                  </a:lnTo>
                  <a:lnTo>
                    <a:pt x="1290" y="552"/>
                  </a:lnTo>
                  <a:lnTo>
                    <a:pt x="1284" y="558"/>
                  </a:lnTo>
                  <a:lnTo>
                    <a:pt x="1290" y="576"/>
                  </a:lnTo>
                  <a:lnTo>
                    <a:pt x="1290" y="600"/>
                  </a:lnTo>
                  <a:lnTo>
                    <a:pt x="1284" y="618"/>
                  </a:lnTo>
                  <a:lnTo>
                    <a:pt x="1290" y="624"/>
                  </a:lnTo>
                  <a:lnTo>
                    <a:pt x="1284" y="630"/>
                  </a:lnTo>
                  <a:lnTo>
                    <a:pt x="1278" y="630"/>
                  </a:lnTo>
                  <a:lnTo>
                    <a:pt x="1272" y="630"/>
                  </a:lnTo>
                  <a:lnTo>
                    <a:pt x="1266" y="636"/>
                  </a:lnTo>
                  <a:lnTo>
                    <a:pt x="1260" y="642"/>
                  </a:lnTo>
                  <a:lnTo>
                    <a:pt x="1260" y="636"/>
                  </a:lnTo>
                  <a:lnTo>
                    <a:pt x="1254" y="636"/>
                  </a:lnTo>
                  <a:lnTo>
                    <a:pt x="1248" y="636"/>
                  </a:lnTo>
                  <a:lnTo>
                    <a:pt x="1248" y="642"/>
                  </a:lnTo>
                  <a:lnTo>
                    <a:pt x="1242" y="642"/>
                  </a:lnTo>
                  <a:lnTo>
                    <a:pt x="1242" y="648"/>
                  </a:lnTo>
                  <a:lnTo>
                    <a:pt x="1236" y="654"/>
                  </a:lnTo>
                  <a:lnTo>
                    <a:pt x="1230" y="654"/>
                  </a:lnTo>
                  <a:lnTo>
                    <a:pt x="1224" y="654"/>
                  </a:lnTo>
                  <a:lnTo>
                    <a:pt x="1218" y="660"/>
                  </a:lnTo>
                  <a:lnTo>
                    <a:pt x="1212" y="660"/>
                  </a:lnTo>
                  <a:lnTo>
                    <a:pt x="1206" y="660"/>
                  </a:lnTo>
                  <a:lnTo>
                    <a:pt x="1200" y="660"/>
                  </a:lnTo>
                  <a:lnTo>
                    <a:pt x="1200" y="666"/>
                  </a:lnTo>
                  <a:lnTo>
                    <a:pt x="1194" y="666"/>
                  </a:lnTo>
                  <a:lnTo>
                    <a:pt x="1188" y="666"/>
                  </a:lnTo>
                  <a:lnTo>
                    <a:pt x="1182" y="672"/>
                  </a:lnTo>
                  <a:lnTo>
                    <a:pt x="1176" y="672"/>
                  </a:lnTo>
                  <a:lnTo>
                    <a:pt x="1170" y="672"/>
                  </a:lnTo>
                  <a:lnTo>
                    <a:pt x="1164" y="678"/>
                  </a:lnTo>
                  <a:lnTo>
                    <a:pt x="1170" y="678"/>
                  </a:lnTo>
                  <a:lnTo>
                    <a:pt x="1164" y="684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52" y="684"/>
                  </a:lnTo>
                  <a:lnTo>
                    <a:pt x="1152" y="690"/>
                  </a:lnTo>
                  <a:lnTo>
                    <a:pt x="1146" y="690"/>
                  </a:lnTo>
                  <a:lnTo>
                    <a:pt x="1140" y="690"/>
                  </a:lnTo>
                  <a:lnTo>
                    <a:pt x="1134" y="696"/>
                  </a:lnTo>
                  <a:lnTo>
                    <a:pt x="1128" y="696"/>
                  </a:lnTo>
                  <a:lnTo>
                    <a:pt x="1122" y="702"/>
                  </a:lnTo>
                  <a:lnTo>
                    <a:pt x="1116" y="702"/>
                  </a:lnTo>
                  <a:lnTo>
                    <a:pt x="1110" y="708"/>
                  </a:lnTo>
                  <a:lnTo>
                    <a:pt x="1104" y="708"/>
                  </a:lnTo>
                  <a:lnTo>
                    <a:pt x="1098" y="708"/>
                  </a:lnTo>
                  <a:lnTo>
                    <a:pt x="1092" y="708"/>
                  </a:lnTo>
                  <a:lnTo>
                    <a:pt x="1092" y="714"/>
                  </a:lnTo>
                  <a:lnTo>
                    <a:pt x="1086" y="720"/>
                  </a:lnTo>
                  <a:lnTo>
                    <a:pt x="1080" y="720"/>
                  </a:lnTo>
                  <a:lnTo>
                    <a:pt x="1074" y="720"/>
                  </a:lnTo>
                  <a:lnTo>
                    <a:pt x="1068" y="720"/>
                  </a:lnTo>
                  <a:lnTo>
                    <a:pt x="1062" y="720"/>
                  </a:lnTo>
                  <a:lnTo>
                    <a:pt x="1050" y="726"/>
                  </a:lnTo>
                  <a:lnTo>
                    <a:pt x="1044" y="726"/>
                  </a:lnTo>
                  <a:lnTo>
                    <a:pt x="1038" y="732"/>
                  </a:lnTo>
                  <a:lnTo>
                    <a:pt x="1026" y="732"/>
                  </a:lnTo>
                  <a:lnTo>
                    <a:pt x="1020" y="732"/>
                  </a:lnTo>
                  <a:lnTo>
                    <a:pt x="1014" y="738"/>
                  </a:lnTo>
                  <a:lnTo>
                    <a:pt x="1008" y="738"/>
                  </a:lnTo>
                  <a:lnTo>
                    <a:pt x="1002" y="738"/>
                  </a:lnTo>
                  <a:lnTo>
                    <a:pt x="996" y="738"/>
                  </a:lnTo>
                  <a:lnTo>
                    <a:pt x="990" y="738"/>
                  </a:lnTo>
                  <a:lnTo>
                    <a:pt x="990" y="732"/>
                  </a:lnTo>
                  <a:lnTo>
                    <a:pt x="984" y="732"/>
                  </a:lnTo>
                  <a:lnTo>
                    <a:pt x="978" y="738"/>
                  </a:lnTo>
                  <a:lnTo>
                    <a:pt x="978" y="744"/>
                  </a:lnTo>
                  <a:lnTo>
                    <a:pt x="984" y="744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8" y="756"/>
                  </a:lnTo>
                  <a:lnTo>
                    <a:pt x="972" y="756"/>
                  </a:lnTo>
                  <a:lnTo>
                    <a:pt x="972" y="762"/>
                  </a:lnTo>
                  <a:lnTo>
                    <a:pt x="966" y="768"/>
                  </a:lnTo>
                  <a:lnTo>
                    <a:pt x="966" y="762"/>
                  </a:lnTo>
                  <a:lnTo>
                    <a:pt x="960" y="762"/>
                  </a:lnTo>
                  <a:lnTo>
                    <a:pt x="954" y="768"/>
                  </a:lnTo>
                  <a:lnTo>
                    <a:pt x="954" y="774"/>
                  </a:lnTo>
                  <a:lnTo>
                    <a:pt x="948" y="774"/>
                  </a:lnTo>
                  <a:lnTo>
                    <a:pt x="948" y="780"/>
                  </a:lnTo>
                  <a:lnTo>
                    <a:pt x="948" y="786"/>
                  </a:lnTo>
                  <a:lnTo>
                    <a:pt x="942" y="786"/>
                  </a:lnTo>
                  <a:lnTo>
                    <a:pt x="942" y="792"/>
                  </a:lnTo>
                  <a:lnTo>
                    <a:pt x="936" y="792"/>
                  </a:lnTo>
                  <a:lnTo>
                    <a:pt x="942" y="798"/>
                  </a:lnTo>
                  <a:lnTo>
                    <a:pt x="942" y="804"/>
                  </a:lnTo>
                  <a:lnTo>
                    <a:pt x="942" y="810"/>
                  </a:lnTo>
                  <a:lnTo>
                    <a:pt x="948" y="810"/>
                  </a:lnTo>
                  <a:lnTo>
                    <a:pt x="942" y="816"/>
                  </a:lnTo>
                  <a:lnTo>
                    <a:pt x="948" y="816"/>
                  </a:lnTo>
                  <a:lnTo>
                    <a:pt x="948" y="822"/>
                  </a:lnTo>
                  <a:lnTo>
                    <a:pt x="954" y="822"/>
                  </a:lnTo>
                  <a:lnTo>
                    <a:pt x="960" y="828"/>
                  </a:lnTo>
                  <a:lnTo>
                    <a:pt x="960" y="834"/>
                  </a:lnTo>
                  <a:lnTo>
                    <a:pt x="966" y="834"/>
                  </a:lnTo>
                  <a:lnTo>
                    <a:pt x="960" y="840"/>
                  </a:lnTo>
                  <a:lnTo>
                    <a:pt x="966" y="846"/>
                  </a:lnTo>
                  <a:lnTo>
                    <a:pt x="966" y="840"/>
                  </a:lnTo>
                  <a:lnTo>
                    <a:pt x="972" y="840"/>
                  </a:lnTo>
                  <a:lnTo>
                    <a:pt x="990" y="840"/>
                  </a:lnTo>
                  <a:lnTo>
                    <a:pt x="1002" y="834"/>
                  </a:lnTo>
                  <a:lnTo>
                    <a:pt x="1020" y="828"/>
                  </a:lnTo>
                  <a:lnTo>
                    <a:pt x="1032" y="828"/>
                  </a:lnTo>
                  <a:lnTo>
                    <a:pt x="1050" y="828"/>
                  </a:lnTo>
                  <a:lnTo>
                    <a:pt x="1062" y="846"/>
                  </a:lnTo>
                  <a:lnTo>
                    <a:pt x="1074" y="876"/>
                  </a:lnTo>
                  <a:lnTo>
                    <a:pt x="1068" y="900"/>
                  </a:lnTo>
                  <a:lnTo>
                    <a:pt x="1074" y="912"/>
                  </a:lnTo>
                  <a:lnTo>
                    <a:pt x="1074" y="936"/>
                  </a:lnTo>
                  <a:lnTo>
                    <a:pt x="1068" y="942"/>
                  </a:lnTo>
                  <a:lnTo>
                    <a:pt x="1062" y="954"/>
                  </a:lnTo>
                  <a:lnTo>
                    <a:pt x="1056" y="978"/>
                  </a:lnTo>
                  <a:lnTo>
                    <a:pt x="1056" y="996"/>
                  </a:lnTo>
                  <a:lnTo>
                    <a:pt x="1068" y="990"/>
                  </a:lnTo>
                  <a:lnTo>
                    <a:pt x="1074" y="990"/>
                  </a:lnTo>
                  <a:lnTo>
                    <a:pt x="1074" y="1008"/>
                  </a:lnTo>
                  <a:lnTo>
                    <a:pt x="1080" y="1008"/>
                  </a:lnTo>
                  <a:lnTo>
                    <a:pt x="1092" y="1014"/>
                  </a:lnTo>
                  <a:lnTo>
                    <a:pt x="1110" y="1044"/>
                  </a:lnTo>
                  <a:lnTo>
                    <a:pt x="1110" y="1062"/>
                  </a:lnTo>
                  <a:lnTo>
                    <a:pt x="1128" y="1068"/>
                  </a:lnTo>
                  <a:lnTo>
                    <a:pt x="1128" y="1092"/>
                  </a:lnTo>
                  <a:lnTo>
                    <a:pt x="1134" y="1098"/>
                  </a:lnTo>
                  <a:lnTo>
                    <a:pt x="1158" y="1122"/>
                  </a:lnTo>
                  <a:lnTo>
                    <a:pt x="1188" y="1122"/>
                  </a:lnTo>
                  <a:lnTo>
                    <a:pt x="1188" y="1128"/>
                  </a:lnTo>
                  <a:lnTo>
                    <a:pt x="1200" y="1134"/>
                  </a:lnTo>
                  <a:lnTo>
                    <a:pt x="1206" y="1134"/>
                  </a:lnTo>
                  <a:lnTo>
                    <a:pt x="1206" y="1128"/>
                  </a:lnTo>
                  <a:lnTo>
                    <a:pt x="1212" y="1128"/>
                  </a:lnTo>
                  <a:lnTo>
                    <a:pt x="1218" y="1128"/>
                  </a:lnTo>
                  <a:lnTo>
                    <a:pt x="1224" y="1122"/>
                  </a:lnTo>
                  <a:lnTo>
                    <a:pt x="1224" y="1128"/>
                  </a:lnTo>
                  <a:lnTo>
                    <a:pt x="1230" y="1128"/>
                  </a:lnTo>
                  <a:lnTo>
                    <a:pt x="1236" y="1128"/>
                  </a:lnTo>
                  <a:lnTo>
                    <a:pt x="1236" y="1122"/>
                  </a:lnTo>
                  <a:lnTo>
                    <a:pt x="1242" y="1122"/>
                  </a:lnTo>
                  <a:lnTo>
                    <a:pt x="1248" y="1128"/>
                  </a:lnTo>
                  <a:lnTo>
                    <a:pt x="1254" y="1128"/>
                  </a:lnTo>
                  <a:lnTo>
                    <a:pt x="1260" y="1134"/>
                  </a:lnTo>
                  <a:lnTo>
                    <a:pt x="1260" y="1140"/>
                  </a:lnTo>
                  <a:lnTo>
                    <a:pt x="1266" y="1140"/>
                  </a:lnTo>
                  <a:lnTo>
                    <a:pt x="1272" y="1140"/>
                  </a:lnTo>
                  <a:lnTo>
                    <a:pt x="1278" y="1140"/>
                  </a:lnTo>
                  <a:lnTo>
                    <a:pt x="1284" y="1140"/>
                  </a:lnTo>
                  <a:lnTo>
                    <a:pt x="1290" y="1146"/>
                  </a:lnTo>
                  <a:lnTo>
                    <a:pt x="1290" y="1152"/>
                  </a:lnTo>
                  <a:lnTo>
                    <a:pt x="1296" y="1146"/>
                  </a:lnTo>
                  <a:lnTo>
                    <a:pt x="1296" y="1152"/>
                  </a:lnTo>
                  <a:lnTo>
                    <a:pt x="1308" y="1152"/>
                  </a:lnTo>
                  <a:lnTo>
                    <a:pt x="1314" y="1152"/>
                  </a:lnTo>
                  <a:lnTo>
                    <a:pt x="1320" y="1152"/>
                  </a:lnTo>
                  <a:lnTo>
                    <a:pt x="1332" y="1152"/>
                  </a:lnTo>
                  <a:lnTo>
                    <a:pt x="1338" y="1152"/>
                  </a:lnTo>
                  <a:lnTo>
                    <a:pt x="1344" y="1152"/>
                  </a:lnTo>
                  <a:lnTo>
                    <a:pt x="1344" y="1158"/>
                  </a:lnTo>
                  <a:lnTo>
                    <a:pt x="1350" y="1158"/>
                  </a:lnTo>
                  <a:lnTo>
                    <a:pt x="1356" y="1158"/>
                  </a:lnTo>
                  <a:lnTo>
                    <a:pt x="1362" y="1158"/>
                  </a:lnTo>
                  <a:lnTo>
                    <a:pt x="1368" y="1158"/>
                  </a:lnTo>
                  <a:lnTo>
                    <a:pt x="1374" y="1164"/>
                  </a:lnTo>
                  <a:lnTo>
                    <a:pt x="1380" y="1164"/>
                  </a:lnTo>
                  <a:lnTo>
                    <a:pt x="1386" y="1170"/>
                  </a:lnTo>
                  <a:lnTo>
                    <a:pt x="1392" y="1170"/>
                  </a:lnTo>
                  <a:lnTo>
                    <a:pt x="1398" y="1164"/>
                  </a:lnTo>
                  <a:lnTo>
                    <a:pt x="1404" y="1164"/>
                  </a:lnTo>
                  <a:lnTo>
                    <a:pt x="1410" y="1164"/>
                  </a:lnTo>
                  <a:lnTo>
                    <a:pt x="1416" y="1164"/>
                  </a:lnTo>
                  <a:lnTo>
                    <a:pt x="1416" y="1170"/>
                  </a:lnTo>
                  <a:lnTo>
                    <a:pt x="1422" y="1176"/>
                  </a:lnTo>
                  <a:lnTo>
                    <a:pt x="1416" y="1176"/>
                  </a:lnTo>
                  <a:lnTo>
                    <a:pt x="1416" y="1182"/>
                  </a:lnTo>
                  <a:lnTo>
                    <a:pt x="1410" y="1188"/>
                  </a:lnTo>
                  <a:lnTo>
                    <a:pt x="1404" y="1194"/>
                  </a:lnTo>
                  <a:lnTo>
                    <a:pt x="1404" y="1200"/>
                  </a:lnTo>
                  <a:lnTo>
                    <a:pt x="1404" y="1206"/>
                  </a:lnTo>
                  <a:lnTo>
                    <a:pt x="1398" y="1212"/>
                  </a:lnTo>
                  <a:lnTo>
                    <a:pt x="1398" y="1206"/>
                  </a:lnTo>
                  <a:lnTo>
                    <a:pt x="1392" y="1206"/>
                  </a:lnTo>
                  <a:lnTo>
                    <a:pt x="1386" y="1206"/>
                  </a:lnTo>
                  <a:lnTo>
                    <a:pt x="1380" y="1212"/>
                  </a:lnTo>
                  <a:lnTo>
                    <a:pt x="1374" y="1212"/>
                  </a:lnTo>
                  <a:lnTo>
                    <a:pt x="1368" y="1218"/>
                  </a:lnTo>
                  <a:lnTo>
                    <a:pt x="1362" y="1218"/>
                  </a:lnTo>
                  <a:lnTo>
                    <a:pt x="1362" y="1224"/>
                  </a:lnTo>
                  <a:lnTo>
                    <a:pt x="1356" y="1230"/>
                  </a:lnTo>
                  <a:lnTo>
                    <a:pt x="1350" y="1230"/>
                  </a:lnTo>
                  <a:lnTo>
                    <a:pt x="1344" y="1236"/>
                  </a:lnTo>
                  <a:lnTo>
                    <a:pt x="1338" y="1230"/>
                  </a:lnTo>
                  <a:lnTo>
                    <a:pt x="1332" y="1230"/>
                  </a:lnTo>
                  <a:lnTo>
                    <a:pt x="1326" y="1230"/>
                  </a:lnTo>
                  <a:lnTo>
                    <a:pt x="1320" y="1230"/>
                  </a:lnTo>
                  <a:lnTo>
                    <a:pt x="1314" y="1230"/>
                  </a:lnTo>
                  <a:lnTo>
                    <a:pt x="1296" y="1242"/>
                  </a:lnTo>
                  <a:lnTo>
                    <a:pt x="1296" y="1248"/>
                  </a:lnTo>
                  <a:lnTo>
                    <a:pt x="1290" y="1248"/>
                  </a:lnTo>
                  <a:lnTo>
                    <a:pt x="1290" y="1260"/>
                  </a:lnTo>
                  <a:lnTo>
                    <a:pt x="1278" y="1272"/>
                  </a:lnTo>
                  <a:lnTo>
                    <a:pt x="1278" y="1278"/>
                  </a:lnTo>
                  <a:lnTo>
                    <a:pt x="1278" y="1284"/>
                  </a:lnTo>
                  <a:lnTo>
                    <a:pt x="1278" y="1290"/>
                  </a:lnTo>
                  <a:lnTo>
                    <a:pt x="1284" y="1296"/>
                  </a:lnTo>
                  <a:lnTo>
                    <a:pt x="1302" y="1302"/>
                  </a:lnTo>
                  <a:lnTo>
                    <a:pt x="1308" y="1308"/>
                  </a:lnTo>
                  <a:lnTo>
                    <a:pt x="1308" y="1314"/>
                  </a:lnTo>
                  <a:lnTo>
                    <a:pt x="1302" y="1320"/>
                  </a:lnTo>
                  <a:lnTo>
                    <a:pt x="1278" y="1314"/>
                  </a:lnTo>
                  <a:lnTo>
                    <a:pt x="1266" y="1308"/>
                  </a:lnTo>
                  <a:lnTo>
                    <a:pt x="1260" y="1296"/>
                  </a:lnTo>
                  <a:lnTo>
                    <a:pt x="1236" y="1296"/>
                  </a:lnTo>
                  <a:lnTo>
                    <a:pt x="1224" y="1308"/>
                  </a:lnTo>
                  <a:lnTo>
                    <a:pt x="1218" y="1308"/>
                  </a:lnTo>
                  <a:lnTo>
                    <a:pt x="1218" y="1302"/>
                  </a:lnTo>
                  <a:lnTo>
                    <a:pt x="1212" y="1302"/>
                  </a:lnTo>
                  <a:lnTo>
                    <a:pt x="1206" y="1302"/>
                  </a:lnTo>
                  <a:lnTo>
                    <a:pt x="1170" y="1314"/>
                  </a:lnTo>
                  <a:lnTo>
                    <a:pt x="1134" y="1296"/>
                  </a:lnTo>
                  <a:lnTo>
                    <a:pt x="1122" y="1290"/>
                  </a:lnTo>
                  <a:lnTo>
                    <a:pt x="1104" y="1290"/>
                  </a:lnTo>
                  <a:lnTo>
                    <a:pt x="1098" y="1278"/>
                  </a:lnTo>
                  <a:lnTo>
                    <a:pt x="1092" y="1242"/>
                  </a:lnTo>
                  <a:lnTo>
                    <a:pt x="1086" y="1242"/>
                  </a:lnTo>
                  <a:lnTo>
                    <a:pt x="1086" y="1248"/>
                  </a:lnTo>
                  <a:lnTo>
                    <a:pt x="1086" y="1254"/>
                  </a:lnTo>
                  <a:lnTo>
                    <a:pt x="1080" y="1254"/>
                  </a:lnTo>
                  <a:lnTo>
                    <a:pt x="1080" y="1260"/>
                  </a:lnTo>
                  <a:lnTo>
                    <a:pt x="1074" y="1260"/>
                  </a:lnTo>
                  <a:lnTo>
                    <a:pt x="1068" y="1236"/>
                  </a:lnTo>
                  <a:lnTo>
                    <a:pt x="1068" y="1206"/>
                  </a:lnTo>
                  <a:lnTo>
                    <a:pt x="1080" y="1194"/>
                  </a:lnTo>
                  <a:lnTo>
                    <a:pt x="1086" y="1194"/>
                  </a:lnTo>
                  <a:lnTo>
                    <a:pt x="1092" y="1200"/>
                  </a:lnTo>
                  <a:lnTo>
                    <a:pt x="1098" y="1206"/>
                  </a:lnTo>
                  <a:lnTo>
                    <a:pt x="1104" y="1200"/>
                  </a:lnTo>
                  <a:lnTo>
                    <a:pt x="1104" y="1194"/>
                  </a:lnTo>
                  <a:lnTo>
                    <a:pt x="1110" y="1194"/>
                  </a:lnTo>
                  <a:lnTo>
                    <a:pt x="1110" y="1188"/>
                  </a:lnTo>
                  <a:lnTo>
                    <a:pt x="1116" y="1182"/>
                  </a:lnTo>
                  <a:lnTo>
                    <a:pt x="1110" y="1182"/>
                  </a:lnTo>
                  <a:lnTo>
                    <a:pt x="1110" y="1170"/>
                  </a:lnTo>
                  <a:lnTo>
                    <a:pt x="1110" y="1158"/>
                  </a:lnTo>
                  <a:lnTo>
                    <a:pt x="1110" y="1152"/>
                  </a:lnTo>
                  <a:lnTo>
                    <a:pt x="1104" y="1146"/>
                  </a:lnTo>
                  <a:lnTo>
                    <a:pt x="1098" y="1140"/>
                  </a:lnTo>
                  <a:lnTo>
                    <a:pt x="1098" y="1134"/>
                  </a:lnTo>
                  <a:lnTo>
                    <a:pt x="1098" y="1128"/>
                  </a:lnTo>
                  <a:lnTo>
                    <a:pt x="1092" y="1128"/>
                  </a:lnTo>
                  <a:lnTo>
                    <a:pt x="1092" y="1122"/>
                  </a:lnTo>
                  <a:lnTo>
                    <a:pt x="1092" y="1116"/>
                  </a:lnTo>
                  <a:lnTo>
                    <a:pt x="1092" y="1110"/>
                  </a:lnTo>
                  <a:lnTo>
                    <a:pt x="1056" y="1122"/>
                  </a:lnTo>
                  <a:lnTo>
                    <a:pt x="1038" y="1128"/>
                  </a:lnTo>
                  <a:lnTo>
                    <a:pt x="1032" y="1128"/>
                  </a:lnTo>
                  <a:lnTo>
                    <a:pt x="1026" y="1128"/>
                  </a:lnTo>
                  <a:lnTo>
                    <a:pt x="1020" y="1128"/>
                  </a:lnTo>
                  <a:lnTo>
                    <a:pt x="1014" y="1128"/>
                  </a:lnTo>
                  <a:lnTo>
                    <a:pt x="1014" y="1122"/>
                  </a:lnTo>
                  <a:lnTo>
                    <a:pt x="1008" y="1122"/>
                  </a:lnTo>
                  <a:lnTo>
                    <a:pt x="1002" y="1128"/>
                  </a:lnTo>
                  <a:lnTo>
                    <a:pt x="1002" y="1134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84" y="1140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66" y="1140"/>
                  </a:lnTo>
                  <a:lnTo>
                    <a:pt x="954" y="1140"/>
                  </a:lnTo>
                  <a:lnTo>
                    <a:pt x="954" y="1134"/>
                  </a:lnTo>
                  <a:lnTo>
                    <a:pt x="948" y="1134"/>
                  </a:lnTo>
                  <a:lnTo>
                    <a:pt x="942" y="1134"/>
                  </a:lnTo>
                  <a:lnTo>
                    <a:pt x="936" y="1134"/>
                  </a:lnTo>
                  <a:lnTo>
                    <a:pt x="930" y="1134"/>
                  </a:lnTo>
                  <a:lnTo>
                    <a:pt x="924" y="1134"/>
                  </a:lnTo>
                  <a:lnTo>
                    <a:pt x="918" y="1134"/>
                  </a:lnTo>
                  <a:lnTo>
                    <a:pt x="918" y="1128"/>
                  </a:lnTo>
                  <a:lnTo>
                    <a:pt x="918" y="1104"/>
                  </a:lnTo>
                  <a:lnTo>
                    <a:pt x="906" y="1104"/>
                  </a:lnTo>
                  <a:lnTo>
                    <a:pt x="900" y="1098"/>
                  </a:lnTo>
                  <a:lnTo>
                    <a:pt x="900" y="1092"/>
                  </a:lnTo>
                  <a:lnTo>
                    <a:pt x="900" y="1086"/>
                  </a:lnTo>
                  <a:lnTo>
                    <a:pt x="900" y="1080"/>
                  </a:lnTo>
                  <a:lnTo>
                    <a:pt x="894" y="1080"/>
                  </a:lnTo>
                  <a:lnTo>
                    <a:pt x="858" y="1074"/>
                  </a:lnTo>
                  <a:lnTo>
                    <a:pt x="852" y="1080"/>
                  </a:lnTo>
                  <a:lnTo>
                    <a:pt x="846" y="1086"/>
                  </a:lnTo>
                  <a:lnTo>
                    <a:pt x="840" y="1086"/>
                  </a:lnTo>
                  <a:lnTo>
                    <a:pt x="840" y="1092"/>
                  </a:lnTo>
                  <a:lnTo>
                    <a:pt x="834" y="1092"/>
                  </a:lnTo>
                  <a:lnTo>
                    <a:pt x="828" y="1098"/>
                  </a:lnTo>
                  <a:lnTo>
                    <a:pt x="822" y="1098"/>
                  </a:lnTo>
                  <a:lnTo>
                    <a:pt x="762" y="1074"/>
                  </a:lnTo>
                  <a:lnTo>
                    <a:pt x="756" y="1068"/>
                  </a:lnTo>
                  <a:lnTo>
                    <a:pt x="750" y="1068"/>
                  </a:lnTo>
                  <a:lnTo>
                    <a:pt x="744" y="1062"/>
                  </a:lnTo>
                  <a:lnTo>
                    <a:pt x="744" y="1068"/>
                  </a:lnTo>
                  <a:lnTo>
                    <a:pt x="744" y="1074"/>
                  </a:lnTo>
                  <a:lnTo>
                    <a:pt x="738" y="1074"/>
                  </a:lnTo>
                  <a:lnTo>
                    <a:pt x="738" y="1068"/>
                  </a:lnTo>
                  <a:lnTo>
                    <a:pt x="732" y="1068"/>
                  </a:lnTo>
                  <a:lnTo>
                    <a:pt x="726" y="1068"/>
                  </a:lnTo>
                  <a:lnTo>
                    <a:pt x="726" y="1074"/>
                  </a:lnTo>
                  <a:lnTo>
                    <a:pt x="720" y="1074"/>
                  </a:lnTo>
                  <a:lnTo>
                    <a:pt x="684" y="106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5" name="Freeform 40">
              <a:extLst>
                <a:ext uri="{FF2B5EF4-FFF2-40B4-BE49-F238E27FC236}">
                  <a16:creationId xmlns:a16="http://schemas.microsoft.com/office/drawing/2014/main" id="{37EC2F22-BDB9-4162-8FA4-08493F6898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3558" y="1520374"/>
              <a:ext cx="1057717" cy="1252440"/>
            </a:xfrm>
            <a:custGeom>
              <a:avLst/>
              <a:gdLst>
                <a:gd name="T0" fmla="*/ 98 w 1992"/>
                <a:gd name="T1" fmla="*/ 162 h 2358"/>
                <a:gd name="T2" fmla="*/ 93 w 1992"/>
                <a:gd name="T3" fmla="*/ 172 h 2358"/>
                <a:gd name="T4" fmla="*/ 82 w 1992"/>
                <a:gd name="T5" fmla="*/ 179 h 2358"/>
                <a:gd name="T6" fmla="*/ 70 w 1992"/>
                <a:gd name="T7" fmla="*/ 174 h 2358"/>
                <a:gd name="T8" fmla="*/ 62 w 1992"/>
                <a:gd name="T9" fmla="*/ 182 h 2358"/>
                <a:gd name="T10" fmla="*/ 45 w 1992"/>
                <a:gd name="T11" fmla="*/ 189 h 2358"/>
                <a:gd name="T12" fmla="*/ 24 w 1992"/>
                <a:gd name="T13" fmla="*/ 205 h 2358"/>
                <a:gd name="T14" fmla="*/ 17 w 1992"/>
                <a:gd name="T15" fmla="*/ 204 h 2358"/>
                <a:gd name="T16" fmla="*/ 7 w 1992"/>
                <a:gd name="T17" fmla="*/ 197 h 2358"/>
                <a:gd name="T18" fmla="*/ 1 w 1992"/>
                <a:gd name="T19" fmla="*/ 191 h 2358"/>
                <a:gd name="T20" fmla="*/ 4 w 1992"/>
                <a:gd name="T21" fmla="*/ 175 h 2358"/>
                <a:gd name="T22" fmla="*/ 7 w 1992"/>
                <a:gd name="T23" fmla="*/ 172 h 2358"/>
                <a:gd name="T24" fmla="*/ 11 w 1992"/>
                <a:gd name="T25" fmla="*/ 168 h 2358"/>
                <a:gd name="T26" fmla="*/ 5 w 1992"/>
                <a:gd name="T27" fmla="*/ 159 h 2358"/>
                <a:gd name="T28" fmla="*/ 10 w 1992"/>
                <a:gd name="T29" fmla="*/ 156 h 2358"/>
                <a:gd name="T30" fmla="*/ 15 w 1992"/>
                <a:gd name="T31" fmla="*/ 155 h 2358"/>
                <a:gd name="T32" fmla="*/ 24 w 1992"/>
                <a:gd name="T33" fmla="*/ 149 h 2358"/>
                <a:gd name="T34" fmla="*/ 38 w 1992"/>
                <a:gd name="T35" fmla="*/ 127 h 2358"/>
                <a:gd name="T36" fmla="*/ 38 w 1992"/>
                <a:gd name="T37" fmla="*/ 107 h 2358"/>
                <a:gd name="T38" fmla="*/ 45 w 1992"/>
                <a:gd name="T39" fmla="*/ 66 h 2358"/>
                <a:gd name="T40" fmla="*/ 47 w 1992"/>
                <a:gd name="T41" fmla="*/ 36 h 2358"/>
                <a:gd name="T42" fmla="*/ 51 w 1992"/>
                <a:gd name="T43" fmla="*/ 35 h 2358"/>
                <a:gd name="T44" fmla="*/ 55 w 1992"/>
                <a:gd name="T45" fmla="*/ 30 h 2358"/>
                <a:gd name="T46" fmla="*/ 56 w 1992"/>
                <a:gd name="T47" fmla="*/ 27 h 2358"/>
                <a:gd name="T48" fmla="*/ 60 w 1992"/>
                <a:gd name="T49" fmla="*/ 23 h 2358"/>
                <a:gd name="T50" fmla="*/ 63 w 1992"/>
                <a:gd name="T51" fmla="*/ 23 h 2358"/>
                <a:gd name="T52" fmla="*/ 70 w 1992"/>
                <a:gd name="T53" fmla="*/ 18 h 2358"/>
                <a:gd name="T54" fmla="*/ 71 w 1992"/>
                <a:gd name="T55" fmla="*/ 15 h 2358"/>
                <a:gd name="T56" fmla="*/ 72 w 1992"/>
                <a:gd name="T57" fmla="*/ 13 h 2358"/>
                <a:gd name="T58" fmla="*/ 77 w 1992"/>
                <a:gd name="T59" fmla="*/ 12 h 2358"/>
                <a:gd name="T60" fmla="*/ 83 w 1992"/>
                <a:gd name="T61" fmla="*/ 10 h 2358"/>
                <a:gd name="T62" fmla="*/ 87 w 1992"/>
                <a:gd name="T63" fmla="*/ 10 h 2358"/>
                <a:gd name="T64" fmla="*/ 89 w 1992"/>
                <a:gd name="T65" fmla="*/ 10 h 2358"/>
                <a:gd name="T66" fmla="*/ 93 w 1992"/>
                <a:gd name="T67" fmla="*/ 8 h 2358"/>
                <a:gd name="T68" fmla="*/ 95 w 1992"/>
                <a:gd name="T69" fmla="*/ 4 h 2358"/>
                <a:gd name="T70" fmla="*/ 99 w 1992"/>
                <a:gd name="T71" fmla="*/ 0 h 2358"/>
                <a:gd name="T72" fmla="*/ 111 w 1992"/>
                <a:gd name="T73" fmla="*/ 0 h 2358"/>
                <a:gd name="T74" fmla="*/ 121 w 1992"/>
                <a:gd name="T75" fmla="*/ 9 h 2358"/>
                <a:gd name="T76" fmla="*/ 128 w 1992"/>
                <a:gd name="T77" fmla="*/ 19 h 2358"/>
                <a:gd name="T78" fmla="*/ 138 w 1992"/>
                <a:gd name="T79" fmla="*/ 33 h 2358"/>
                <a:gd name="T80" fmla="*/ 142 w 1992"/>
                <a:gd name="T81" fmla="*/ 47 h 2358"/>
                <a:gd name="T82" fmla="*/ 145 w 1992"/>
                <a:gd name="T83" fmla="*/ 62 h 2358"/>
                <a:gd name="T84" fmla="*/ 145 w 1992"/>
                <a:gd name="T85" fmla="*/ 70 h 2358"/>
                <a:gd name="T86" fmla="*/ 147 w 1992"/>
                <a:gd name="T87" fmla="*/ 75 h 2358"/>
                <a:gd name="T88" fmla="*/ 153 w 1992"/>
                <a:gd name="T89" fmla="*/ 75 h 2358"/>
                <a:gd name="T90" fmla="*/ 160 w 1992"/>
                <a:gd name="T91" fmla="*/ 76 h 2358"/>
                <a:gd name="T92" fmla="*/ 164 w 1992"/>
                <a:gd name="T93" fmla="*/ 79 h 2358"/>
                <a:gd name="T94" fmla="*/ 168 w 1992"/>
                <a:gd name="T95" fmla="*/ 83 h 2358"/>
                <a:gd name="T96" fmla="*/ 172 w 1992"/>
                <a:gd name="T97" fmla="*/ 86 h 2358"/>
                <a:gd name="T98" fmla="*/ 170 w 1992"/>
                <a:gd name="T99" fmla="*/ 93 h 2358"/>
                <a:gd name="T100" fmla="*/ 170 w 1992"/>
                <a:gd name="T101" fmla="*/ 99 h 2358"/>
                <a:gd name="T102" fmla="*/ 169 w 1992"/>
                <a:gd name="T103" fmla="*/ 106 h 2358"/>
                <a:gd name="T104" fmla="*/ 166 w 1992"/>
                <a:gd name="T105" fmla="*/ 113 h 2358"/>
                <a:gd name="T106" fmla="*/ 170 w 1992"/>
                <a:gd name="T107" fmla="*/ 122 h 2358"/>
                <a:gd name="T108" fmla="*/ 159 w 1992"/>
                <a:gd name="T109" fmla="*/ 128 h 2358"/>
                <a:gd name="T110" fmla="*/ 148 w 1992"/>
                <a:gd name="T111" fmla="*/ 134 h 2358"/>
                <a:gd name="T112" fmla="*/ 139 w 1992"/>
                <a:gd name="T113" fmla="*/ 136 h 2358"/>
                <a:gd name="T114" fmla="*/ 132 w 1992"/>
                <a:gd name="T115" fmla="*/ 138 h 2358"/>
                <a:gd name="T116" fmla="*/ 128 w 1992"/>
                <a:gd name="T117" fmla="*/ 145 h 2358"/>
                <a:gd name="T118" fmla="*/ 124 w 1992"/>
                <a:gd name="T119" fmla="*/ 150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92"/>
                <a:gd name="T181" fmla="*/ 0 h 2358"/>
                <a:gd name="T182" fmla="*/ 1992 w 1992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92" h="2358">
                  <a:moveTo>
                    <a:pt x="1356" y="1782"/>
                  </a:moveTo>
                  <a:lnTo>
                    <a:pt x="1350" y="1788"/>
                  </a:lnTo>
                  <a:lnTo>
                    <a:pt x="1266" y="1788"/>
                  </a:lnTo>
                  <a:lnTo>
                    <a:pt x="1260" y="1800"/>
                  </a:lnTo>
                  <a:lnTo>
                    <a:pt x="1242" y="1806"/>
                  </a:lnTo>
                  <a:lnTo>
                    <a:pt x="1218" y="1812"/>
                  </a:lnTo>
                  <a:lnTo>
                    <a:pt x="1182" y="1812"/>
                  </a:lnTo>
                  <a:lnTo>
                    <a:pt x="1158" y="1806"/>
                  </a:lnTo>
                  <a:lnTo>
                    <a:pt x="1134" y="1800"/>
                  </a:lnTo>
                  <a:lnTo>
                    <a:pt x="1134" y="1806"/>
                  </a:lnTo>
                  <a:lnTo>
                    <a:pt x="1134" y="1830"/>
                  </a:lnTo>
                  <a:lnTo>
                    <a:pt x="1128" y="1842"/>
                  </a:lnTo>
                  <a:lnTo>
                    <a:pt x="1128" y="1854"/>
                  </a:lnTo>
                  <a:lnTo>
                    <a:pt x="1128" y="1860"/>
                  </a:lnTo>
                  <a:lnTo>
                    <a:pt x="1128" y="1866"/>
                  </a:lnTo>
                  <a:lnTo>
                    <a:pt x="1128" y="1872"/>
                  </a:lnTo>
                  <a:lnTo>
                    <a:pt x="1128" y="1884"/>
                  </a:lnTo>
                  <a:lnTo>
                    <a:pt x="1128" y="1890"/>
                  </a:lnTo>
                  <a:lnTo>
                    <a:pt x="1128" y="1896"/>
                  </a:lnTo>
                  <a:lnTo>
                    <a:pt x="1122" y="1902"/>
                  </a:lnTo>
                  <a:lnTo>
                    <a:pt x="1122" y="1920"/>
                  </a:lnTo>
                  <a:lnTo>
                    <a:pt x="1116" y="1920"/>
                  </a:lnTo>
                  <a:lnTo>
                    <a:pt x="1110" y="1926"/>
                  </a:lnTo>
                  <a:lnTo>
                    <a:pt x="1110" y="1932"/>
                  </a:lnTo>
                  <a:lnTo>
                    <a:pt x="1104" y="1938"/>
                  </a:lnTo>
                  <a:lnTo>
                    <a:pt x="1086" y="1962"/>
                  </a:lnTo>
                  <a:lnTo>
                    <a:pt x="1074" y="1974"/>
                  </a:lnTo>
                  <a:lnTo>
                    <a:pt x="1074" y="1980"/>
                  </a:lnTo>
                  <a:lnTo>
                    <a:pt x="1068" y="1986"/>
                  </a:lnTo>
                  <a:lnTo>
                    <a:pt x="1062" y="1998"/>
                  </a:lnTo>
                  <a:lnTo>
                    <a:pt x="1062" y="2004"/>
                  </a:lnTo>
                  <a:lnTo>
                    <a:pt x="1068" y="2004"/>
                  </a:lnTo>
                  <a:lnTo>
                    <a:pt x="1056" y="2034"/>
                  </a:lnTo>
                  <a:lnTo>
                    <a:pt x="1050" y="2076"/>
                  </a:lnTo>
                  <a:lnTo>
                    <a:pt x="1056" y="2100"/>
                  </a:lnTo>
                  <a:lnTo>
                    <a:pt x="1038" y="2106"/>
                  </a:lnTo>
                  <a:lnTo>
                    <a:pt x="1002" y="2106"/>
                  </a:lnTo>
                  <a:lnTo>
                    <a:pt x="978" y="2094"/>
                  </a:lnTo>
                  <a:lnTo>
                    <a:pt x="972" y="2082"/>
                  </a:lnTo>
                  <a:lnTo>
                    <a:pt x="966" y="2070"/>
                  </a:lnTo>
                  <a:lnTo>
                    <a:pt x="954" y="2064"/>
                  </a:lnTo>
                  <a:lnTo>
                    <a:pt x="942" y="2058"/>
                  </a:lnTo>
                  <a:lnTo>
                    <a:pt x="936" y="2058"/>
                  </a:lnTo>
                  <a:lnTo>
                    <a:pt x="918" y="2046"/>
                  </a:lnTo>
                  <a:lnTo>
                    <a:pt x="906" y="2028"/>
                  </a:lnTo>
                  <a:lnTo>
                    <a:pt x="900" y="2022"/>
                  </a:lnTo>
                  <a:lnTo>
                    <a:pt x="894" y="2022"/>
                  </a:lnTo>
                  <a:lnTo>
                    <a:pt x="882" y="2022"/>
                  </a:lnTo>
                  <a:lnTo>
                    <a:pt x="870" y="2016"/>
                  </a:lnTo>
                  <a:lnTo>
                    <a:pt x="864" y="2016"/>
                  </a:lnTo>
                  <a:lnTo>
                    <a:pt x="852" y="2010"/>
                  </a:lnTo>
                  <a:lnTo>
                    <a:pt x="846" y="2004"/>
                  </a:lnTo>
                  <a:lnTo>
                    <a:pt x="840" y="2004"/>
                  </a:lnTo>
                  <a:lnTo>
                    <a:pt x="828" y="1998"/>
                  </a:lnTo>
                  <a:lnTo>
                    <a:pt x="816" y="1998"/>
                  </a:lnTo>
                  <a:lnTo>
                    <a:pt x="810" y="1998"/>
                  </a:lnTo>
                  <a:lnTo>
                    <a:pt x="804" y="1998"/>
                  </a:lnTo>
                  <a:lnTo>
                    <a:pt x="798" y="1998"/>
                  </a:lnTo>
                  <a:lnTo>
                    <a:pt x="792" y="2004"/>
                  </a:lnTo>
                  <a:lnTo>
                    <a:pt x="786" y="2010"/>
                  </a:lnTo>
                  <a:lnTo>
                    <a:pt x="762" y="2010"/>
                  </a:lnTo>
                  <a:lnTo>
                    <a:pt x="756" y="2010"/>
                  </a:lnTo>
                  <a:lnTo>
                    <a:pt x="744" y="2022"/>
                  </a:lnTo>
                  <a:lnTo>
                    <a:pt x="738" y="2034"/>
                  </a:lnTo>
                  <a:lnTo>
                    <a:pt x="732" y="2040"/>
                  </a:lnTo>
                  <a:lnTo>
                    <a:pt x="732" y="2046"/>
                  </a:lnTo>
                  <a:lnTo>
                    <a:pt x="726" y="2058"/>
                  </a:lnTo>
                  <a:lnTo>
                    <a:pt x="720" y="2064"/>
                  </a:lnTo>
                  <a:lnTo>
                    <a:pt x="714" y="2070"/>
                  </a:lnTo>
                  <a:lnTo>
                    <a:pt x="708" y="2088"/>
                  </a:lnTo>
                  <a:lnTo>
                    <a:pt x="702" y="2100"/>
                  </a:lnTo>
                  <a:lnTo>
                    <a:pt x="690" y="2100"/>
                  </a:lnTo>
                  <a:lnTo>
                    <a:pt x="684" y="2094"/>
                  </a:lnTo>
                  <a:lnTo>
                    <a:pt x="666" y="2100"/>
                  </a:lnTo>
                  <a:lnTo>
                    <a:pt x="636" y="2106"/>
                  </a:lnTo>
                  <a:lnTo>
                    <a:pt x="636" y="2112"/>
                  </a:lnTo>
                  <a:lnTo>
                    <a:pt x="636" y="2118"/>
                  </a:lnTo>
                  <a:lnTo>
                    <a:pt x="636" y="2124"/>
                  </a:lnTo>
                  <a:lnTo>
                    <a:pt x="630" y="2124"/>
                  </a:lnTo>
                  <a:lnTo>
                    <a:pt x="630" y="2148"/>
                  </a:lnTo>
                  <a:lnTo>
                    <a:pt x="612" y="2160"/>
                  </a:lnTo>
                  <a:lnTo>
                    <a:pt x="576" y="2172"/>
                  </a:lnTo>
                  <a:lnTo>
                    <a:pt x="546" y="2172"/>
                  </a:lnTo>
                  <a:lnTo>
                    <a:pt x="516" y="2172"/>
                  </a:lnTo>
                  <a:lnTo>
                    <a:pt x="486" y="2172"/>
                  </a:lnTo>
                  <a:lnTo>
                    <a:pt x="462" y="2172"/>
                  </a:lnTo>
                  <a:lnTo>
                    <a:pt x="444" y="2196"/>
                  </a:lnTo>
                  <a:lnTo>
                    <a:pt x="432" y="2232"/>
                  </a:lnTo>
                  <a:lnTo>
                    <a:pt x="408" y="2238"/>
                  </a:lnTo>
                  <a:lnTo>
                    <a:pt x="390" y="2256"/>
                  </a:lnTo>
                  <a:lnTo>
                    <a:pt x="372" y="2274"/>
                  </a:lnTo>
                  <a:lnTo>
                    <a:pt x="360" y="2274"/>
                  </a:lnTo>
                  <a:lnTo>
                    <a:pt x="336" y="2328"/>
                  </a:lnTo>
                  <a:lnTo>
                    <a:pt x="324" y="2340"/>
                  </a:lnTo>
                  <a:lnTo>
                    <a:pt x="300" y="2346"/>
                  </a:lnTo>
                  <a:lnTo>
                    <a:pt x="294" y="2352"/>
                  </a:lnTo>
                  <a:lnTo>
                    <a:pt x="288" y="2352"/>
                  </a:lnTo>
                  <a:lnTo>
                    <a:pt x="282" y="2352"/>
                  </a:lnTo>
                  <a:lnTo>
                    <a:pt x="276" y="2352"/>
                  </a:lnTo>
                  <a:lnTo>
                    <a:pt x="270" y="2352"/>
                  </a:lnTo>
                  <a:lnTo>
                    <a:pt x="270" y="2346"/>
                  </a:lnTo>
                  <a:lnTo>
                    <a:pt x="264" y="2346"/>
                  </a:lnTo>
                  <a:lnTo>
                    <a:pt x="258" y="2352"/>
                  </a:lnTo>
                  <a:lnTo>
                    <a:pt x="252" y="2352"/>
                  </a:lnTo>
                  <a:lnTo>
                    <a:pt x="240" y="2352"/>
                  </a:lnTo>
                  <a:lnTo>
                    <a:pt x="228" y="2352"/>
                  </a:lnTo>
                  <a:lnTo>
                    <a:pt x="222" y="2352"/>
                  </a:lnTo>
                  <a:lnTo>
                    <a:pt x="216" y="2358"/>
                  </a:lnTo>
                  <a:lnTo>
                    <a:pt x="216" y="2352"/>
                  </a:lnTo>
                  <a:lnTo>
                    <a:pt x="210" y="2346"/>
                  </a:lnTo>
                  <a:lnTo>
                    <a:pt x="204" y="2346"/>
                  </a:lnTo>
                  <a:lnTo>
                    <a:pt x="198" y="2340"/>
                  </a:lnTo>
                  <a:lnTo>
                    <a:pt x="192" y="2340"/>
                  </a:lnTo>
                  <a:lnTo>
                    <a:pt x="186" y="2340"/>
                  </a:lnTo>
                  <a:lnTo>
                    <a:pt x="180" y="2340"/>
                  </a:lnTo>
                  <a:lnTo>
                    <a:pt x="174" y="2340"/>
                  </a:lnTo>
                  <a:lnTo>
                    <a:pt x="162" y="2328"/>
                  </a:lnTo>
                  <a:lnTo>
                    <a:pt x="156" y="2322"/>
                  </a:lnTo>
                  <a:lnTo>
                    <a:pt x="156" y="2316"/>
                  </a:lnTo>
                  <a:lnTo>
                    <a:pt x="156" y="2310"/>
                  </a:lnTo>
                  <a:lnTo>
                    <a:pt x="132" y="2286"/>
                  </a:lnTo>
                  <a:lnTo>
                    <a:pt x="120" y="2280"/>
                  </a:lnTo>
                  <a:lnTo>
                    <a:pt x="96" y="2274"/>
                  </a:lnTo>
                  <a:lnTo>
                    <a:pt x="84" y="2268"/>
                  </a:lnTo>
                  <a:lnTo>
                    <a:pt x="78" y="2268"/>
                  </a:lnTo>
                  <a:lnTo>
                    <a:pt x="78" y="2262"/>
                  </a:lnTo>
                  <a:lnTo>
                    <a:pt x="78" y="2256"/>
                  </a:lnTo>
                  <a:lnTo>
                    <a:pt x="78" y="2250"/>
                  </a:lnTo>
                  <a:lnTo>
                    <a:pt x="72" y="2250"/>
                  </a:lnTo>
                  <a:lnTo>
                    <a:pt x="66" y="2250"/>
                  </a:lnTo>
                  <a:lnTo>
                    <a:pt x="60" y="2250"/>
                  </a:lnTo>
                  <a:lnTo>
                    <a:pt x="48" y="2244"/>
                  </a:lnTo>
                  <a:lnTo>
                    <a:pt x="36" y="2238"/>
                  </a:lnTo>
                  <a:lnTo>
                    <a:pt x="36" y="2226"/>
                  </a:lnTo>
                  <a:lnTo>
                    <a:pt x="30" y="2226"/>
                  </a:lnTo>
                  <a:lnTo>
                    <a:pt x="30" y="2220"/>
                  </a:lnTo>
                  <a:lnTo>
                    <a:pt x="24" y="2208"/>
                  </a:lnTo>
                  <a:lnTo>
                    <a:pt x="18" y="2202"/>
                  </a:lnTo>
                  <a:lnTo>
                    <a:pt x="18" y="2196"/>
                  </a:lnTo>
                  <a:lnTo>
                    <a:pt x="12" y="2190"/>
                  </a:lnTo>
                  <a:lnTo>
                    <a:pt x="0" y="2190"/>
                  </a:lnTo>
                  <a:lnTo>
                    <a:pt x="6" y="2184"/>
                  </a:lnTo>
                  <a:lnTo>
                    <a:pt x="12" y="2178"/>
                  </a:lnTo>
                  <a:lnTo>
                    <a:pt x="18" y="2172"/>
                  </a:lnTo>
                  <a:lnTo>
                    <a:pt x="24" y="2166"/>
                  </a:lnTo>
                  <a:lnTo>
                    <a:pt x="30" y="2166"/>
                  </a:lnTo>
                  <a:lnTo>
                    <a:pt x="24" y="2160"/>
                  </a:lnTo>
                  <a:lnTo>
                    <a:pt x="30" y="2160"/>
                  </a:lnTo>
                  <a:lnTo>
                    <a:pt x="36" y="2154"/>
                  </a:lnTo>
                  <a:lnTo>
                    <a:pt x="36" y="2136"/>
                  </a:lnTo>
                  <a:lnTo>
                    <a:pt x="36" y="2118"/>
                  </a:lnTo>
                  <a:lnTo>
                    <a:pt x="48" y="2058"/>
                  </a:lnTo>
                  <a:lnTo>
                    <a:pt x="48" y="2022"/>
                  </a:lnTo>
                  <a:lnTo>
                    <a:pt x="48" y="2016"/>
                  </a:lnTo>
                  <a:lnTo>
                    <a:pt x="48" y="2010"/>
                  </a:lnTo>
                  <a:lnTo>
                    <a:pt x="48" y="2004"/>
                  </a:lnTo>
                  <a:lnTo>
                    <a:pt x="42" y="2004"/>
                  </a:lnTo>
                  <a:lnTo>
                    <a:pt x="42" y="1998"/>
                  </a:lnTo>
                  <a:lnTo>
                    <a:pt x="36" y="1992"/>
                  </a:lnTo>
                  <a:lnTo>
                    <a:pt x="42" y="1992"/>
                  </a:lnTo>
                  <a:lnTo>
                    <a:pt x="42" y="1986"/>
                  </a:lnTo>
                  <a:lnTo>
                    <a:pt x="48" y="1986"/>
                  </a:lnTo>
                  <a:lnTo>
                    <a:pt x="54" y="1986"/>
                  </a:lnTo>
                  <a:lnTo>
                    <a:pt x="60" y="1986"/>
                  </a:lnTo>
                  <a:lnTo>
                    <a:pt x="66" y="1980"/>
                  </a:lnTo>
                  <a:lnTo>
                    <a:pt x="72" y="1974"/>
                  </a:lnTo>
                  <a:lnTo>
                    <a:pt x="78" y="1974"/>
                  </a:lnTo>
                  <a:lnTo>
                    <a:pt x="84" y="1974"/>
                  </a:lnTo>
                  <a:lnTo>
                    <a:pt x="90" y="1974"/>
                  </a:lnTo>
                  <a:lnTo>
                    <a:pt x="96" y="1974"/>
                  </a:lnTo>
                  <a:lnTo>
                    <a:pt x="96" y="1968"/>
                  </a:lnTo>
                  <a:lnTo>
                    <a:pt x="102" y="1968"/>
                  </a:lnTo>
                  <a:lnTo>
                    <a:pt x="102" y="1962"/>
                  </a:lnTo>
                  <a:lnTo>
                    <a:pt x="108" y="1962"/>
                  </a:lnTo>
                  <a:lnTo>
                    <a:pt x="114" y="1956"/>
                  </a:lnTo>
                  <a:lnTo>
                    <a:pt x="120" y="1956"/>
                  </a:lnTo>
                  <a:lnTo>
                    <a:pt x="126" y="1950"/>
                  </a:lnTo>
                  <a:lnTo>
                    <a:pt x="132" y="1950"/>
                  </a:lnTo>
                  <a:lnTo>
                    <a:pt x="132" y="1944"/>
                  </a:lnTo>
                  <a:lnTo>
                    <a:pt x="126" y="1944"/>
                  </a:lnTo>
                  <a:lnTo>
                    <a:pt x="126" y="1938"/>
                  </a:lnTo>
                  <a:lnTo>
                    <a:pt x="126" y="1932"/>
                  </a:lnTo>
                  <a:lnTo>
                    <a:pt x="126" y="1926"/>
                  </a:lnTo>
                  <a:lnTo>
                    <a:pt x="114" y="1914"/>
                  </a:lnTo>
                  <a:lnTo>
                    <a:pt x="114" y="1896"/>
                  </a:lnTo>
                  <a:lnTo>
                    <a:pt x="108" y="1884"/>
                  </a:lnTo>
                  <a:lnTo>
                    <a:pt x="102" y="1872"/>
                  </a:lnTo>
                  <a:lnTo>
                    <a:pt x="96" y="1866"/>
                  </a:lnTo>
                  <a:lnTo>
                    <a:pt x="96" y="1860"/>
                  </a:lnTo>
                  <a:lnTo>
                    <a:pt x="90" y="1860"/>
                  </a:lnTo>
                  <a:lnTo>
                    <a:pt x="90" y="1854"/>
                  </a:lnTo>
                  <a:lnTo>
                    <a:pt x="84" y="1848"/>
                  </a:lnTo>
                  <a:lnTo>
                    <a:pt x="78" y="1842"/>
                  </a:lnTo>
                  <a:lnTo>
                    <a:pt x="72" y="1836"/>
                  </a:lnTo>
                  <a:lnTo>
                    <a:pt x="66" y="1830"/>
                  </a:lnTo>
                  <a:lnTo>
                    <a:pt x="60" y="1824"/>
                  </a:lnTo>
                  <a:lnTo>
                    <a:pt x="54" y="1824"/>
                  </a:lnTo>
                  <a:lnTo>
                    <a:pt x="48" y="1824"/>
                  </a:lnTo>
                  <a:lnTo>
                    <a:pt x="42" y="1818"/>
                  </a:lnTo>
                  <a:lnTo>
                    <a:pt x="54" y="1818"/>
                  </a:lnTo>
                  <a:lnTo>
                    <a:pt x="60" y="1812"/>
                  </a:lnTo>
                  <a:lnTo>
                    <a:pt x="66" y="1812"/>
                  </a:lnTo>
                  <a:lnTo>
                    <a:pt x="72" y="1812"/>
                  </a:lnTo>
                  <a:lnTo>
                    <a:pt x="78" y="1812"/>
                  </a:lnTo>
                  <a:lnTo>
                    <a:pt x="84" y="1812"/>
                  </a:lnTo>
                  <a:lnTo>
                    <a:pt x="90" y="1806"/>
                  </a:lnTo>
                  <a:lnTo>
                    <a:pt x="96" y="1800"/>
                  </a:lnTo>
                  <a:lnTo>
                    <a:pt x="102" y="1806"/>
                  </a:lnTo>
                  <a:lnTo>
                    <a:pt x="108" y="1800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26" y="1788"/>
                  </a:lnTo>
                  <a:lnTo>
                    <a:pt x="126" y="1794"/>
                  </a:lnTo>
                  <a:lnTo>
                    <a:pt x="132" y="1794"/>
                  </a:lnTo>
                  <a:lnTo>
                    <a:pt x="132" y="1788"/>
                  </a:lnTo>
                  <a:lnTo>
                    <a:pt x="138" y="1788"/>
                  </a:lnTo>
                  <a:lnTo>
                    <a:pt x="138" y="1782"/>
                  </a:lnTo>
                  <a:lnTo>
                    <a:pt x="144" y="1782"/>
                  </a:lnTo>
                  <a:lnTo>
                    <a:pt x="150" y="1776"/>
                  </a:lnTo>
                  <a:lnTo>
                    <a:pt x="156" y="1782"/>
                  </a:lnTo>
                  <a:lnTo>
                    <a:pt x="162" y="1776"/>
                  </a:lnTo>
                  <a:lnTo>
                    <a:pt x="168" y="1776"/>
                  </a:lnTo>
                  <a:lnTo>
                    <a:pt x="180" y="1776"/>
                  </a:lnTo>
                  <a:lnTo>
                    <a:pt x="186" y="1776"/>
                  </a:lnTo>
                  <a:lnTo>
                    <a:pt x="186" y="1782"/>
                  </a:lnTo>
                  <a:lnTo>
                    <a:pt x="192" y="1776"/>
                  </a:lnTo>
                  <a:lnTo>
                    <a:pt x="198" y="1776"/>
                  </a:lnTo>
                  <a:lnTo>
                    <a:pt x="204" y="1770"/>
                  </a:lnTo>
                  <a:lnTo>
                    <a:pt x="204" y="1764"/>
                  </a:lnTo>
                  <a:lnTo>
                    <a:pt x="210" y="1764"/>
                  </a:lnTo>
                  <a:lnTo>
                    <a:pt x="216" y="1764"/>
                  </a:lnTo>
                  <a:lnTo>
                    <a:pt x="216" y="1758"/>
                  </a:lnTo>
                  <a:lnTo>
                    <a:pt x="222" y="1758"/>
                  </a:lnTo>
                  <a:lnTo>
                    <a:pt x="228" y="1758"/>
                  </a:lnTo>
                  <a:lnTo>
                    <a:pt x="258" y="1746"/>
                  </a:lnTo>
                  <a:lnTo>
                    <a:pt x="282" y="1716"/>
                  </a:lnTo>
                  <a:lnTo>
                    <a:pt x="300" y="1698"/>
                  </a:lnTo>
                  <a:lnTo>
                    <a:pt x="312" y="1698"/>
                  </a:lnTo>
                  <a:lnTo>
                    <a:pt x="336" y="1698"/>
                  </a:lnTo>
                  <a:lnTo>
                    <a:pt x="360" y="1698"/>
                  </a:lnTo>
                  <a:lnTo>
                    <a:pt x="372" y="1692"/>
                  </a:lnTo>
                  <a:lnTo>
                    <a:pt x="384" y="1692"/>
                  </a:lnTo>
                  <a:lnTo>
                    <a:pt x="360" y="1668"/>
                  </a:lnTo>
                  <a:lnTo>
                    <a:pt x="348" y="1626"/>
                  </a:lnTo>
                  <a:lnTo>
                    <a:pt x="354" y="1578"/>
                  </a:lnTo>
                  <a:lnTo>
                    <a:pt x="354" y="1572"/>
                  </a:lnTo>
                  <a:lnTo>
                    <a:pt x="360" y="1572"/>
                  </a:lnTo>
                  <a:lnTo>
                    <a:pt x="396" y="1530"/>
                  </a:lnTo>
                  <a:lnTo>
                    <a:pt x="408" y="1482"/>
                  </a:lnTo>
                  <a:lnTo>
                    <a:pt x="438" y="1458"/>
                  </a:lnTo>
                  <a:lnTo>
                    <a:pt x="468" y="1422"/>
                  </a:lnTo>
                  <a:lnTo>
                    <a:pt x="480" y="1410"/>
                  </a:lnTo>
                  <a:lnTo>
                    <a:pt x="474" y="1386"/>
                  </a:lnTo>
                  <a:lnTo>
                    <a:pt x="456" y="1356"/>
                  </a:lnTo>
                  <a:lnTo>
                    <a:pt x="438" y="1350"/>
                  </a:lnTo>
                  <a:lnTo>
                    <a:pt x="420" y="1350"/>
                  </a:lnTo>
                  <a:lnTo>
                    <a:pt x="402" y="1350"/>
                  </a:lnTo>
                  <a:lnTo>
                    <a:pt x="390" y="1344"/>
                  </a:lnTo>
                  <a:lnTo>
                    <a:pt x="390" y="1332"/>
                  </a:lnTo>
                  <a:lnTo>
                    <a:pt x="402" y="1296"/>
                  </a:lnTo>
                  <a:lnTo>
                    <a:pt x="414" y="1260"/>
                  </a:lnTo>
                  <a:lnTo>
                    <a:pt x="426" y="1248"/>
                  </a:lnTo>
                  <a:lnTo>
                    <a:pt x="438" y="1242"/>
                  </a:lnTo>
                  <a:lnTo>
                    <a:pt x="432" y="1230"/>
                  </a:lnTo>
                  <a:lnTo>
                    <a:pt x="432" y="1224"/>
                  </a:lnTo>
                  <a:lnTo>
                    <a:pt x="426" y="1218"/>
                  </a:lnTo>
                  <a:lnTo>
                    <a:pt x="426" y="1206"/>
                  </a:lnTo>
                  <a:lnTo>
                    <a:pt x="426" y="1200"/>
                  </a:lnTo>
                  <a:lnTo>
                    <a:pt x="432" y="1194"/>
                  </a:lnTo>
                  <a:lnTo>
                    <a:pt x="426" y="1188"/>
                  </a:lnTo>
                  <a:lnTo>
                    <a:pt x="432" y="1104"/>
                  </a:lnTo>
                  <a:lnTo>
                    <a:pt x="438" y="1086"/>
                  </a:lnTo>
                  <a:lnTo>
                    <a:pt x="462" y="972"/>
                  </a:lnTo>
                  <a:lnTo>
                    <a:pt x="456" y="900"/>
                  </a:lnTo>
                  <a:lnTo>
                    <a:pt x="444" y="846"/>
                  </a:lnTo>
                  <a:lnTo>
                    <a:pt x="456" y="810"/>
                  </a:lnTo>
                  <a:lnTo>
                    <a:pt x="492" y="786"/>
                  </a:lnTo>
                  <a:lnTo>
                    <a:pt x="522" y="762"/>
                  </a:lnTo>
                  <a:lnTo>
                    <a:pt x="546" y="732"/>
                  </a:lnTo>
                  <a:lnTo>
                    <a:pt x="570" y="696"/>
                  </a:lnTo>
                  <a:lnTo>
                    <a:pt x="582" y="654"/>
                  </a:lnTo>
                  <a:lnTo>
                    <a:pt x="564" y="642"/>
                  </a:lnTo>
                  <a:lnTo>
                    <a:pt x="522" y="588"/>
                  </a:lnTo>
                  <a:lnTo>
                    <a:pt x="516" y="546"/>
                  </a:lnTo>
                  <a:lnTo>
                    <a:pt x="510" y="474"/>
                  </a:lnTo>
                  <a:lnTo>
                    <a:pt x="510" y="450"/>
                  </a:lnTo>
                  <a:lnTo>
                    <a:pt x="510" y="444"/>
                  </a:lnTo>
                  <a:lnTo>
                    <a:pt x="522" y="438"/>
                  </a:lnTo>
                  <a:lnTo>
                    <a:pt x="522" y="432"/>
                  </a:lnTo>
                  <a:lnTo>
                    <a:pt x="528" y="426"/>
                  </a:lnTo>
                  <a:lnTo>
                    <a:pt x="534" y="420"/>
                  </a:lnTo>
                  <a:lnTo>
                    <a:pt x="540" y="414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08"/>
                  </a:lnTo>
                  <a:lnTo>
                    <a:pt x="546" y="408"/>
                  </a:lnTo>
                  <a:lnTo>
                    <a:pt x="558" y="414"/>
                  </a:lnTo>
                  <a:lnTo>
                    <a:pt x="564" y="414"/>
                  </a:lnTo>
                  <a:lnTo>
                    <a:pt x="570" y="414"/>
                  </a:lnTo>
                  <a:lnTo>
                    <a:pt x="582" y="414"/>
                  </a:lnTo>
                  <a:lnTo>
                    <a:pt x="582" y="420"/>
                  </a:lnTo>
                  <a:lnTo>
                    <a:pt x="588" y="414"/>
                  </a:lnTo>
                  <a:lnTo>
                    <a:pt x="582" y="408"/>
                  </a:lnTo>
                  <a:lnTo>
                    <a:pt x="588" y="402"/>
                  </a:lnTo>
                  <a:lnTo>
                    <a:pt x="594" y="402"/>
                  </a:lnTo>
                  <a:lnTo>
                    <a:pt x="594" y="396"/>
                  </a:lnTo>
                  <a:lnTo>
                    <a:pt x="594" y="390"/>
                  </a:lnTo>
                  <a:lnTo>
                    <a:pt x="594" y="384"/>
                  </a:lnTo>
                  <a:lnTo>
                    <a:pt x="594" y="378"/>
                  </a:lnTo>
                  <a:lnTo>
                    <a:pt x="600" y="366"/>
                  </a:lnTo>
                  <a:lnTo>
                    <a:pt x="606" y="366"/>
                  </a:lnTo>
                  <a:lnTo>
                    <a:pt x="612" y="360"/>
                  </a:lnTo>
                  <a:lnTo>
                    <a:pt x="612" y="366"/>
                  </a:lnTo>
                  <a:lnTo>
                    <a:pt x="618" y="366"/>
                  </a:lnTo>
                  <a:lnTo>
                    <a:pt x="624" y="366"/>
                  </a:lnTo>
                  <a:lnTo>
                    <a:pt x="630" y="360"/>
                  </a:lnTo>
                  <a:lnTo>
                    <a:pt x="636" y="354"/>
                  </a:lnTo>
                  <a:lnTo>
                    <a:pt x="630" y="354"/>
                  </a:lnTo>
                  <a:lnTo>
                    <a:pt x="630" y="348"/>
                  </a:lnTo>
                  <a:lnTo>
                    <a:pt x="630" y="342"/>
                  </a:lnTo>
                  <a:lnTo>
                    <a:pt x="636" y="342"/>
                  </a:lnTo>
                  <a:lnTo>
                    <a:pt x="642" y="336"/>
                  </a:lnTo>
                  <a:lnTo>
                    <a:pt x="636" y="330"/>
                  </a:lnTo>
                  <a:lnTo>
                    <a:pt x="630" y="336"/>
                  </a:lnTo>
                  <a:lnTo>
                    <a:pt x="624" y="336"/>
                  </a:lnTo>
                  <a:lnTo>
                    <a:pt x="624" y="330"/>
                  </a:lnTo>
                  <a:lnTo>
                    <a:pt x="624" y="324"/>
                  </a:lnTo>
                  <a:lnTo>
                    <a:pt x="618" y="324"/>
                  </a:lnTo>
                  <a:lnTo>
                    <a:pt x="624" y="324"/>
                  </a:lnTo>
                  <a:lnTo>
                    <a:pt x="630" y="330"/>
                  </a:lnTo>
                  <a:lnTo>
                    <a:pt x="630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2" y="306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8" y="288"/>
                  </a:lnTo>
                  <a:lnTo>
                    <a:pt x="648" y="282"/>
                  </a:lnTo>
                  <a:lnTo>
                    <a:pt x="654" y="288"/>
                  </a:lnTo>
                  <a:lnTo>
                    <a:pt x="654" y="282"/>
                  </a:lnTo>
                  <a:lnTo>
                    <a:pt x="660" y="282"/>
                  </a:lnTo>
                  <a:lnTo>
                    <a:pt x="666" y="282"/>
                  </a:lnTo>
                  <a:lnTo>
                    <a:pt x="672" y="282"/>
                  </a:lnTo>
                  <a:lnTo>
                    <a:pt x="678" y="282"/>
                  </a:lnTo>
                  <a:lnTo>
                    <a:pt x="684" y="276"/>
                  </a:lnTo>
                  <a:lnTo>
                    <a:pt x="690" y="270"/>
                  </a:lnTo>
                  <a:lnTo>
                    <a:pt x="690" y="264"/>
                  </a:lnTo>
                  <a:lnTo>
                    <a:pt x="690" y="270"/>
                  </a:lnTo>
                  <a:lnTo>
                    <a:pt x="690" y="276"/>
                  </a:lnTo>
                  <a:lnTo>
                    <a:pt x="696" y="276"/>
                  </a:lnTo>
                  <a:lnTo>
                    <a:pt x="702" y="276"/>
                  </a:lnTo>
                  <a:lnTo>
                    <a:pt x="702" y="282"/>
                  </a:lnTo>
                  <a:lnTo>
                    <a:pt x="708" y="282"/>
                  </a:lnTo>
                  <a:lnTo>
                    <a:pt x="720" y="270"/>
                  </a:lnTo>
                  <a:lnTo>
                    <a:pt x="720" y="264"/>
                  </a:lnTo>
                  <a:lnTo>
                    <a:pt x="720" y="258"/>
                  </a:lnTo>
                  <a:lnTo>
                    <a:pt x="726" y="258"/>
                  </a:lnTo>
                  <a:lnTo>
                    <a:pt x="732" y="258"/>
                  </a:lnTo>
                  <a:lnTo>
                    <a:pt x="732" y="264"/>
                  </a:lnTo>
                  <a:lnTo>
                    <a:pt x="738" y="264"/>
                  </a:lnTo>
                  <a:lnTo>
                    <a:pt x="738" y="258"/>
                  </a:lnTo>
                  <a:lnTo>
                    <a:pt x="732" y="258"/>
                  </a:lnTo>
                  <a:lnTo>
                    <a:pt x="732" y="252"/>
                  </a:lnTo>
                  <a:lnTo>
                    <a:pt x="744" y="252"/>
                  </a:lnTo>
                  <a:lnTo>
                    <a:pt x="750" y="252"/>
                  </a:lnTo>
                  <a:lnTo>
                    <a:pt x="750" y="246"/>
                  </a:lnTo>
                  <a:lnTo>
                    <a:pt x="750" y="240"/>
                  </a:lnTo>
                  <a:lnTo>
                    <a:pt x="762" y="234"/>
                  </a:lnTo>
                  <a:lnTo>
                    <a:pt x="768" y="234"/>
                  </a:lnTo>
                  <a:lnTo>
                    <a:pt x="774" y="234"/>
                  </a:lnTo>
                  <a:lnTo>
                    <a:pt x="780" y="228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16"/>
                  </a:lnTo>
                  <a:lnTo>
                    <a:pt x="792" y="210"/>
                  </a:lnTo>
                  <a:lnTo>
                    <a:pt x="804" y="204"/>
                  </a:lnTo>
                  <a:lnTo>
                    <a:pt x="804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0" y="192"/>
                  </a:lnTo>
                  <a:lnTo>
                    <a:pt x="798" y="186"/>
                  </a:lnTo>
                  <a:lnTo>
                    <a:pt x="810" y="186"/>
                  </a:lnTo>
                  <a:lnTo>
                    <a:pt x="810" y="180"/>
                  </a:lnTo>
                  <a:lnTo>
                    <a:pt x="810" y="186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0" y="180"/>
                  </a:lnTo>
                  <a:lnTo>
                    <a:pt x="816" y="174"/>
                  </a:lnTo>
                  <a:lnTo>
                    <a:pt x="822" y="174"/>
                  </a:lnTo>
                  <a:lnTo>
                    <a:pt x="822" y="180"/>
                  </a:lnTo>
                  <a:lnTo>
                    <a:pt x="828" y="180"/>
                  </a:lnTo>
                  <a:lnTo>
                    <a:pt x="828" y="174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62"/>
                  </a:lnTo>
                  <a:lnTo>
                    <a:pt x="828" y="156"/>
                  </a:lnTo>
                  <a:lnTo>
                    <a:pt x="822" y="156"/>
                  </a:lnTo>
                  <a:lnTo>
                    <a:pt x="828" y="156"/>
                  </a:lnTo>
                  <a:lnTo>
                    <a:pt x="828" y="150"/>
                  </a:lnTo>
                  <a:lnTo>
                    <a:pt x="834" y="150"/>
                  </a:lnTo>
                  <a:lnTo>
                    <a:pt x="840" y="156"/>
                  </a:lnTo>
                  <a:lnTo>
                    <a:pt x="840" y="150"/>
                  </a:lnTo>
                  <a:lnTo>
                    <a:pt x="834" y="150"/>
                  </a:lnTo>
                  <a:lnTo>
                    <a:pt x="834" y="144"/>
                  </a:lnTo>
                  <a:lnTo>
                    <a:pt x="840" y="138"/>
                  </a:lnTo>
                  <a:lnTo>
                    <a:pt x="846" y="144"/>
                  </a:lnTo>
                  <a:lnTo>
                    <a:pt x="846" y="150"/>
                  </a:lnTo>
                  <a:lnTo>
                    <a:pt x="852" y="150"/>
                  </a:lnTo>
                  <a:lnTo>
                    <a:pt x="858" y="150"/>
                  </a:lnTo>
                  <a:lnTo>
                    <a:pt x="870" y="150"/>
                  </a:lnTo>
                  <a:lnTo>
                    <a:pt x="870" y="144"/>
                  </a:lnTo>
                  <a:lnTo>
                    <a:pt x="876" y="138"/>
                  </a:lnTo>
                  <a:lnTo>
                    <a:pt x="882" y="138"/>
                  </a:lnTo>
                  <a:lnTo>
                    <a:pt x="888" y="132"/>
                  </a:lnTo>
                  <a:lnTo>
                    <a:pt x="888" y="138"/>
                  </a:lnTo>
                  <a:lnTo>
                    <a:pt x="894" y="138"/>
                  </a:lnTo>
                  <a:lnTo>
                    <a:pt x="894" y="132"/>
                  </a:lnTo>
                  <a:lnTo>
                    <a:pt x="900" y="126"/>
                  </a:lnTo>
                  <a:lnTo>
                    <a:pt x="900" y="132"/>
                  </a:lnTo>
                  <a:lnTo>
                    <a:pt x="906" y="132"/>
                  </a:lnTo>
                  <a:lnTo>
                    <a:pt x="912" y="132"/>
                  </a:lnTo>
                  <a:lnTo>
                    <a:pt x="918" y="126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24" y="126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8" y="120"/>
                  </a:lnTo>
                  <a:lnTo>
                    <a:pt x="948" y="114"/>
                  </a:lnTo>
                  <a:lnTo>
                    <a:pt x="948" y="108"/>
                  </a:lnTo>
                  <a:lnTo>
                    <a:pt x="954" y="114"/>
                  </a:lnTo>
                  <a:lnTo>
                    <a:pt x="960" y="108"/>
                  </a:lnTo>
                  <a:lnTo>
                    <a:pt x="966" y="108"/>
                  </a:lnTo>
                  <a:lnTo>
                    <a:pt x="972" y="108"/>
                  </a:lnTo>
                  <a:lnTo>
                    <a:pt x="966" y="114"/>
                  </a:lnTo>
                  <a:lnTo>
                    <a:pt x="960" y="114"/>
                  </a:lnTo>
                  <a:lnTo>
                    <a:pt x="960" y="120"/>
                  </a:lnTo>
                  <a:lnTo>
                    <a:pt x="966" y="126"/>
                  </a:lnTo>
                  <a:lnTo>
                    <a:pt x="972" y="126"/>
                  </a:lnTo>
                  <a:lnTo>
                    <a:pt x="978" y="126"/>
                  </a:lnTo>
                  <a:lnTo>
                    <a:pt x="984" y="120"/>
                  </a:lnTo>
                  <a:lnTo>
                    <a:pt x="984" y="114"/>
                  </a:lnTo>
                  <a:lnTo>
                    <a:pt x="996" y="126"/>
                  </a:lnTo>
                  <a:lnTo>
                    <a:pt x="996" y="120"/>
                  </a:lnTo>
                  <a:lnTo>
                    <a:pt x="1002" y="120"/>
                  </a:lnTo>
                  <a:lnTo>
                    <a:pt x="996" y="114"/>
                  </a:lnTo>
                  <a:lnTo>
                    <a:pt x="1002" y="114"/>
                  </a:lnTo>
                  <a:lnTo>
                    <a:pt x="1008" y="114"/>
                  </a:lnTo>
                  <a:lnTo>
                    <a:pt x="1008" y="108"/>
                  </a:lnTo>
                  <a:lnTo>
                    <a:pt x="1014" y="108"/>
                  </a:lnTo>
                  <a:lnTo>
                    <a:pt x="1008" y="114"/>
                  </a:lnTo>
                  <a:lnTo>
                    <a:pt x="1008" y="120"/>
                  </a:lnTo>
                  <a:lnTo>
                    <a:pt x="1008" y="126"/>
                  </a:lnTo>
                  <a:lnTo>
                    <a:pt x="1014" y="126"/>
                  </a:lnTo>
                  <a:lnTo>
                    <a:pt x="1014" y="132"/>
                  </a:lnTo>
                  <a:lnTo>
                    <a:pt x="1020" y="132"/>
                  </a:lnTo>
                  <a:lnTo>
                    <a:pt x="1020" y="126"/>
                  </a:lnTo>
                  <a:lnTo>
                    <a:pt x="1020" y="120"/>
                  </a:lnTo>
                  <a:lnTo>
                    <a:pt x="1032" y="120"/>
                  </a:lnTo>
                  <a:lnTo>
                    <a:pt x="1038" y="120"/>
                  </a:lnTo>
                  <a:lnTo>
                    <a:pt x="1038" y="126"/>
                  </a:lnTo>
                  <a:lnTo>
                    <a:pt x="1044" y="132"/>
                  </a:lnTo>
                  <a:lnTo>
                    <a:pt x="1044" y="126"/>
                  </a:lnTo>
                  <a:lnTo>
                    <a:pt x="1050" y="120"/>
                  </a:lnTo>
                  <a:lnTo>
                    <a:pt x="1050" y="114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68" y="102"/>
                  </a:lnTo>
                  <a:lnTo>
                    <a:pt x="1074" y="96"/>
                  </a:lnTo>
                  <a:lnTo>
                    <a:pt x="1074" y="90"/>
                  </a:lnTo>
                  <a:lnTo>
                    <a:pt x="1068" y="90"/>
                  </a:lnTo>
                  <a:lnTo>
                    <a:pt x="1068" y="84"/>
                  </a:lnTo>
                  <a:lnTo>
                    <a:pt x="1080" y="84"/>
                  </a:lnTo>
                  <a:lnTo>
                    <a:pt x="1086" y="78"/>
                  </a:lnTo>
                  <a:lnTo>
                    <a:pt x="1086" y="72"/>
                  </a:lnTo>
                  <a:lnTo>
                    <a:pt x="1080" y="78"/>
                  </a:lnTo>
                  <a:lnTo>
                    <a:pt x="1080" y="72"/>
                  </a:lnTo>
                  <a:lnTo>
                    <a:pt x="1080" y="66"/>
                  </a:lnTo>
                  <a:lnTo>
                    <a:pt x="1074" y="66"/>
                  </a:lnTo>
                  <a:lnTo>
                    <a:pt x="1080" y="66"/>
                  </a:lnTo>
                  <a:lnTo>
                    <a:pt x="1080" y="60"/>
                  </a:lnTo>
                  <a:lnTo>
                    <a:pt x="1086" y="60"/>
                  </a:lnTo>
                  <a:lnTo>
                    <a:pt x="1086" y="54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2" y="42"/>
                  </a:lnTo>
                  <a:lnTo>
                    <a:pt x="1098" y="42"/>
                  </a:lnTo>
                  <a:lnTo>
                    <a:pt x="1104" y="36"/>
                  </a:lnTo>
                  <a:lnTo>
                    <a:pt x="1110" y="36"/>
                  </a:lnTo>
                  <a:lnTo>
                    <a:pt x="1110" y="30"/>
                  </a:lnTo>
                  <a:lnTo>
                    <a:pt x="1110" y="24"/>
                  </a:lnTo>
                  <a:lnTo>
                    <a:pt x="1116" y="24"/>
                  </a:lnTo>
                  <a:lnTo>
                    <a:pt x="1116" y="18"/>
                  </a:lnTo>
                  <a:lnTo>
                    <a:pt x="1122" y="18"/>
                  </a:lnTo>
                  <a:lnTo>
                    <a:pt x="1128" y="18"/>
                  </a:lnTo>
                  <a:lnTo>
                    <a:pt x="1134" y="12"/>
                  </a:lnTo>
                  <a:lnTo>
                    <a:pt x="1134" y="6"/>
                  </a:lnTo>
                  <a:lnTo>
                    <a:pt x="1140" y="6"/>
                  </a:lnTo>
                  <a:lnTo>
                    <a:pt x="1146" y="0"/>
                  </a:lnTo>
                  <a:lnTo>
                    <a:pt x="1152" y="0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70" y="0"/>
                  </a:lnTo>
                  <a:lnTo>
                    <a:pt x="1176" y="6"/>
                  </a:lnTo>
                  <a:lnTo>
                    <a:pt x="1182" y="6"/>
                  </a:lnTo>
                  <a:lnTo>
                    <a:pt x="1194" y="6"/>
                  </a:lnTo>
                  <a:lnTo>
                    <a:pt x="1200" y="6"/>
                  </a:lnTo>
                  <a:lnTo>
                    <a:pt x="1212" y="0"/>
                  </a:lnTo>
                  <a:lnTo>
                    <a:pt x="1212" y="6"/>
                  </a:lnTo>
                  <a:lnTo>
                    <a:pt x="1218" y="6"/>
                  </a:lnTo>
                  <a:lnTo>
                    <a:pt x="1266" y="6"/>
                  </a:lnTo>
                  <a:lnTo>
                    <a:pt x="1272" y="0"/>
                  </a:lnTo>
                  <a:lnTo>
                    <a:pt x="1278" y="6"/>
                  </a:lnTo>
                  <a:lnTo>
                    <a:pt x="1290" y="6"/>
                  </a:lnTo>
                  <a:lnTo>
                    <a:pt x="1296" y="6"/>
                  </a:lnTo>
                  <a:lnTo>
                    <a:pt x="1308" y="6"/>
                  </a:lnTo>
                  <a:lnTo>
                    <a:pt x="1314" y="6"/>
                  </a:lnTo>
                  <a:lnTo>
                    <a:pt x="1320" y="6"/>
                  </a:lnTo>
                  <a:lnTo>
                    <a:pt x="1326" y="12"/>
                  </a:lnTo>
                  <a:lnTo>
                    <a:pt x="1338" y="30"/>
                  </a:lnTo>
                  <a:lnTo>
                    <a:pt x="1344" y="36"/>
                  </a:lnTo>
                  <a:lnTo>
                    <a:pt x="1356" y="48"/>
                  </a:lnTo>
                  <a:lnTo>
                    <a:pt x="1362" y="60"/>
                  </a:lnTo>
                  <a:lnTo>
                    <a:pt x="1368" y="66"/>
                  </a:lnTo>
                  <a:lnTo>
                    <a:pt x="1374" y="72"/>
                  </a:lnTo>
                  <a:lnTo>
                    <a:pt x="1374" y="78"/>
                  </a:lnTo>
                  <a:lnTo>
                    <a:pt x="1398" y="108"/>
                  </a:lnTo>
                  <a:lnTo>
                    <a:pt x="1398" y="114"/>
                  </a:lnTo>
                  <a:lnTo>
                    <a:pt x="1404" y="114"/>
                  </a:lnTo>
                  <a:lnTo>
                    <a:pt x="1404" y="120"/>
                  </a:lnTo>
                  <a:lnTo>
                    <a:pt x="1410" y="132"/>
                  </a:lnTo>
                  <a:lnTo>
                    <a:pt x="1416" y="132"/>
                  </a:lnTo>
                  <a:lnTo>
                    <a:pt x="1416" y="138"/>
                  </a:lnTo>
                  <a:lnTo>
                    <a:pt x="1422" y="144"/>
                  </a:lnTo>
                  <a:lnTo>
                    <a:pt x="1428" y="150"/>
                  </a:lnTo>
                  <a:lnTo>
                    <a:pt x="1428" y="156"/>
                  </a:lnTo>
                  <a:lnTo>
                    <a:pt x="1458" y="192"/>
                  </a:lnTo>
                  <a:lnTo>
                    <a:pt x="1458" y="198"/>
                  </a:lnTo>
                  <a:lnTo>
                    <a:pt x="1464" y="204"/>
                  </a:lnTo>
                  <a:lnTo>
                    <a:pt x="1470" y="210"/>
                  </a:lnTo>
                  <a:lnTo>
                    <a:pt x="1476" y="216"/>
                  </a:lnTo>
                  <a:lnTo>
                    <a:pt x="1482" y="228"/>
                  </a:lnTo>
                  <a:lnTo>
                    <a:pt x="1488" y="234"/>
                  </a:lnTo>
                  <a:lnTo>
                    <a:pt x="1512" y="270"/>
                  </a:lnTo>
                  <a:lnTo>
                    <a:pt x="1512" y="276"/>
                  </a:lnTo>
                  <a:lnTo>
                    <a:pt x="1530" y="300"/>
                  </a:lnTo>
                  <a:lnTo>
                    <a:pt x="1536" y="306"/>
                  </a:lnTo>
                  <a:lnTo>
                    <a:pt x="1542" y="312"/>
                  </a:lnTo>
                  <a:lnTo>
                    <a:pt x="1542" y="318"/>
                  </a:lnTo>
                  <a:lnTo>
                    <a:pt x="1560" y="336"/>
                  </a:lnTo>
                  <a:lnTo>
                    <a:pt x="1566" y="348"/>
                  </a:lnTo>
                  <a:lnTo>
                    <a:pt x="1572" y="354"/>
                  </a:lnTo>
                  <a:lnTo>
                    <a:pt x="1578" y="360"/>
                  </a:lnTo>
                  <a:lnTo>
                    <a:pt x="1584" y="378"/>
                  </a:lnTo>
                  <a:lnTo>
                    <a:pt x="1590" y="378"/>
                  </a:lnTo>
                  <a:lnTo>
                    <a:pt x="1596" y="390"/>
                  </a:lnTo>
                  <a:lnTo>
                    <a:pt x="1602" y="396"/>
                  </a:lnTo>
                  <a:lnTo>
                    <a:pt x="1608" y="408"/>
                  </a:lnTo>
                  <a:lnTo>
                    <a:pt x="1614" y="408"/>
                  </a:lnTo>
                  <a:lnTo>
                    <a:pt x="1614" y="432"/>
                  </a:lnTo>
                  <a:lnTo>
                    <a:pt x="1620" y="438"/>
                  </a:lnTo>
                  <a:lnTo>
                    <a:pt x="1620" y="450"/>
                  </a:lnTo>
                  <a:lnTo>
                    <a:pt x="1620" y="462"/>
                  </a:lnTo>
                  <a:lnTo>
                    <a:pt x="1626" y="474"/>
                  </a:lnTo>
                  <a:lnTo>
                    <a:pt x="1626" y="480"/>
                  </a:lnTo>
                  <a:lnTo>
                    <a:pt x="1626" y="486"/>
                  </a:lnTo>
                  <a:lnTo>
                    <a:pt x="1632" y="522"/>
                  </a:lnTo>
                  <a:lnTo>
                    <a:pt x="1632" y="528"/>
                  </a:lnTo>
                  <a:lnTo>
                    <a:pt x="1632" y="534"/>
                  </a:lnTo>
                  <a:lnTo>
                    <a:pt x="1638" y="540"/>
                  </a:lnTo>
                  <a:lnTo>
                    <a:pt x="1638" y="558"/>
                  </a:lnTo>
                  <a:lnTo>
                    <a:pt x="1638" y="570"/>
                  </a:lnTo>
                  <a:lnTo>
                    <a:pt x="1644" y="582"/>
                  </a:lnTo>
                  <a:lnTo>
                    <a:pt x="1650" y="618"/>
                  </a:lnTo>
                  <a:lnTo>
                    <a:pt x="1650" y="624"/>
                  </a:lnTo>
                  <a:lnTo>
                    <a:pt x="1650" y="636"/>
                  </a:lnTo>
                  <a:lnTo>
                    <a:pt x="1656" y="642"/>
                  </a:lnTo>
                  <a:lnTo>
                    <a:pt x="1656" y="648"/>
                  </a:lnTo>
                  <a:lnTo>
                    <a:pt x="1656" y="654"/>
                  </a:lnTo>
                  <a:lnTo>
                    <a:pt x="1656" y="660"/>
                  </a:lnTo>
                  <a:lnTo>
                    <a:pt x="1662" y="696"/>
                  </a:lnTo>
                  <a:lnTo>
                    <a:pt x="1668" y="708"/>
                  </a:lnTo>
                  <a:lnTo>
                    <a:pt x="1668" y="714"/>
                  </a:lnTo>
                  <a:lnTo>
                    <a:pt x="1668" y="732"/>
                  </a:lnTo>
                  <a:lnTo>
                    <a:pt x="1668" y="744"/>
                  </a:lnTo>
                  <a:lnTo>
                    <a:pt x="1674" y="756"/>
                  </a:lnTo>
                  <a:lnTo>
                    <a:pt x="1680" y="762"/>
                  </a:lnTo>
                  <a:lnTo>
                    <a:pt x="1680" y="768"/>
                  </a:lnTo>
                  <a:lnTo>
                    <a:pt x="1680" y="774"/>
                  </a:lnTo>
                  <a:lnTo>
                    <a:pt x="1680" y="780"/>
                  </a:lnTo>
                  <a:lnTo>
                    <a:pt x="1674" y="786"/>
                  </a:lnTo>
                  <a:lnTo>
                    <a:pt x="1668" y="792"/>
                  </a:lnTo>
                  <a:lnTo>
                    <a:pt x="1668" y="798"/>
                  </a:lnTo>
                  <a:lnTo>
                    <a:pt x="1668" y="804"/>
                  </a:lnTo>
                  <a:lnTo>
                    <a:pt x="1674" y="804"/>
                  </a:lnTo>
                  <a:lnTo>
                    <a:pt x="1668" y="810"/>
                  </a:lnTo>
                  <a:lnTo>
                    <a:pt x="1674" y="810"/>
                  </a:lnTo>
                  <a:lnTo>
                    <a:pt x="1680" y="810"/>
                  </a:lnTo>
                  <a:lnTo>
                    <a:pt x="1680" y="816"/>
                  </a:lnTo>
                  <a:lnTo>
                    <a:pt x="1680" y="822"/>
                  </a:lnTo>
                  <a:lnTo>
                    <a:pt x="1674" y="822"/>
                  </a:lnTo>
                  <a:lnTo>
                    <a:pt x="1674" y="828"/>
                  </a:lnTo>
                  <a:lnTo>
                    <a:pt x="1668" y="828"/>
                  </a:lnTo>
                  <a:lnTo>
                    <a:pt x="1674" y="834"/>
                  </a:lnTo>
                  <a:lnTo>
                    <a:pt x="1668" y="834"/>
                  </a:lnTo>
                  <a:lnTo>
                    <a:pt x="1668" y="840"/>
                  </a:lnTo>
                  <a:lnTo>
                    <a:pt x="1674" y="840"/>
                  </a:lnTo>
                  <a:lnTo>
                    <a:pt x="1686" y="852"/>
                  </a:lnTo>
                  <a:lnTo>
                    <a:pt x="1692" y="858"/>
                  </a:lnTo>
                  <a:lnTo>
                    <a:pt x="1698" y="858"/>
                  </a:lnTo>
                  <a:lnTo>
                    <a:pt x="1698" y="864"/>
                  </a:lnTo>
                  <a:lnTo>
                    <a:pt x="1698" y="870"/>
                  </a:lnTo>
                  <a:lnTo>
                    <a:pt x="1704" y="864"/>
                  </a:lnTo>
                  <a:lnTo>
                    <a:pt x="1716" y="864"/>
                  </a:lnTo>
                  <a:lnTo>
                    <a:pt x="1722" y="864"/>
                  </a:lnTo>
                  <a:lnTo>
                    <a:pt x="1728" y="864"/>
                  </a:lnTo>
                  <a:lnTo>
                    <a:pt x="1734" y="864"/>
                  </a:lnTo>
                  <a:lnTo>
                    <a:pt x="1740" y="864"/>
                  </a:lnTo>
                  <a:lnTo>
                    <a:pt x="1746" y="876"/>
                  </a:lnTo>
                  <a:lnTo>
                    <a:pt x="1746" y="870"/>
                  </a:lnTo>
                  <a:lnTo>
                    <a:pt x="1740" y="864"/>
                  </a:lnTo>
                  <a:lnTo>
                    <a:pt x="1746" y="864"/>
                  </a:lnTo>
                  <a:lnTo>
                    <a:pt x="1752" y="870"/>
                  </a:lnTo>
                  <a:lnTo>
                    <a:pt x="1758" y="864"/>
                  </a:lnTo>
                  <a:lnTo>
                    <a:pt x="1764" y="864"/>
                  </a:lnTo>
                  <a:lnTo>
                    <a:pt x="1770" y="858"/>
                  </a:lnTo>
                  <a:lnTo>
                    <a:pt x="1782" y="864"/>
                  </a:lnTo>
                  <a:lnTo>
                    <a:pt x="1782" y="870"/>
                  </a:lnTo>
                  <a:lnTo>
                    <a:pt x="1788" y="864"/>
                  </a:lnTo>
                  <a:lnTo>
                    <a:pt x="1794" y="864"/>
                  </a:lnTo>
                  <a:lnTo>
                    <a:pt x="1800" y="870"/>
                  </a:lnTo>
                  <a:lnTo>
                    <a:pt x="1818" y="864"/>
                  </a:lnTo>
                  <a:lnTo>
                    <a:pt x="1824" y="870"/>
                  </a:lnTo>
                  <a:lnTo>
                    <a:pt x="1830" y="864"/>
                  </a:lnTo>
                  <a:lnTo>
                    <a:pt x="1836" y="864"/>
                  </a:lnTo>
                  <a:lnTo>
                    <a:pt x="1842" y="870"/>
                  </a:lnTo>
                  <a:lnTo>
                    <a:pt x="1842" y="876"/>
                  </a:lnTo>
                  <a:lnTo>
                    <a:pt x="1848" y="876"/>
                  </a:lnTo>
                  <a:lnTo>
                    <a:pt x="1848" y="870"/>
                  </a:lnTo>
                  <a:lnTo>
                    <a:pt x="1854" y="870"/>
                  </a:lnTo>
                  <a:lnTo>
                    <a:pt x="1860" y="870"/>
                  </a:lnTo>
                  <a:lnTo>
                    <a:pt x="1860" y="876"/>
                  </a:lnTo>
                  <a:lnTo>
                    <a:pt x="1866" y="876"/>
                  </a:lnTo>
                  <a:lnTo>
                    <a:pt x="1866" y="882"/>
                  </a:lnTo>
                  <a:lnTo>
                    <a:pt x="1872" y="882"/>
                  </a:lnTo>
                  <a:lnTo>
                    <a:pt x="1878" y="888"/>
                  </a:lnTo>
                  <a:lnTo>
                    <a:pt x="1890" y="888"/>
                  </a:lnTo>
                  <a:lnTo>
                    <a:pt x="1890" y="894"/>
                  </a:lnTo>
                  <a:lnTo>
                    <a:pt x="1890" y="900"/>
                  </a:lnTo>
                  <a:lnTo>
                    <a:pt x="1884" y="900"/>
                  </a:lnTo>
                  <a:lnTo>
                    <a:pt x="1884" y="906"/>
                  </a:lnTo>
                  <a:lnTo>
                    <a:pt x="1884" y="912"/>
                  </a:lnTo>
                  <a:lnTo>
                    <a:pt x="1890" y="912"/>
                  </a:lnTo>
                  <a:lnTo>
                    <a:pt x="1896" y="912"/>
                  </a:lnTo>
                  <a:lnTo>
                    <a:pt x="1902" y="912"/>
                  </a:lnTo>
                  <a:lnTo>
                    <a:pt x="1908" y="918"/>
                  </a:lnTo>
                  <a:lnTo>
                    <a:pt x="1908" y="924"/>
                  </a:lnTo>
                  <a:lnTo>
                    <a:pt x="1908" y="930"/>
                  </a:lnTo>
                  <a:lnTo>
                    <a:pt x="1908" y="936"/>
                  </a:lnTo>
                  <a:lnTo>
                    <a:pt x="1914" y="936"/>
                  </a:lnTo>
                  <a:lnTo>
                    <a:pt x="1914" y="942"/>
                  </a:lnTo>
                  <a:lnTo>
                    <a:pt x="1908" y="948"/>
                  </a:lnTo>
                  <a:lnTo>
                    <a:pt x="1914" y="948"/>
                  </a:lnTo>
                  <a:lnTo>
                    <a:pt x="1920" y="954"/>
                  </a:lnTo>
                  <a:lnTo>
                    <a:pt x="1926" y="954"/>
                  </a:lnTo>
                  <a:lnTo>
                    <a:pt x="1932" y="954"/>
                  </a:lnTo>
                  <a:lnTo>
                    <a:pt x="1938" y="954"/>
                  </a:lnTo>
                  <a:lnTo>
                    <a:pt x="1938" y="960"/>
                  </a:lnTo>
                  <a:lnTo>
                    <a:pt x="1944" y="966"/>
                  </a:lnTo>
                  <a:lnTo>
                    <a:pt x="1944" y="972"/>
                  </a:lnTo>
                  <a:lnTo>
                    <a:pt x="1944" y="978"/>
                  </a:lnTo>
                  <a:lnTo>
                    <a:pt x="1950" y="978"/>
                  </a:lnTo>
                  <a:lnTo>
                    <a:pt x="1950" y="984"/>
                  </a:lnTo>
                  <a:lnTo>
                    <a:pt x="1956" y="984"/>
                  </a:lnTo>
                  <a:lnTo>
                    <a:pt x="1962" y="984"/>
                  </a:lnTo>
                  <a:lnTo>
                    <a:pt x="1962" y="978"/>
                  </a:lnTo>
                  <a:lnTo>
                    <a:pt x="1968" y="978"/>
                  </a:lnTo>
                  <a:lnTo>
                    <a:pt x="1974" y="978"/>
                  </a:lnTo>
                  <a:lnTo>
                    <a:pt x="1980" y="972"/>
                  </a:lnTo>
                  <a:lnTo>
                    <a:pt x="1980" y="978"/>
                  </a:lnTo>
                  <a:lnTo>
                    <a:pt x="1980" y="984"/>
                  </a:lnTo>
                  <a:lnTo>
                    <a:pt x="1986" y="984"/>
                  </a:lnTo>
                  <a:lnTo>
                    <a:pt x="1992" y="990"/>
                  </a:lnTo>
                  <a:lnTo>
                    <a:pt x="1992" y="996"/>
                  </a:lnTo>
                  <a:lnTo>
                    <a:pt x="1992" y="1002"/>
                  </a:lnTo>
                  <a:lnTo>
                    <a:pt x="1974" y="1008"/>
                  </a:lnTo>
                  <a:lnTo>
                    <a:pt x="1974" y="1014"/>
                  </a:lnTo>
                  <a:lnTo>
                    <a:pt x="1974" y="1020"/>
                  </a:lnTo>
                  <a:lnTo>
                    <a:pt x="1974" y="1026"/>
                  </a:lnTo>
                  <a:lnTo>
                    <a:pt x="1968" y="1038"/>
                  </a:lnTo>
                  <a:lnTo>
                    <a:pt x="1968" y="1044"/>
                  </a:lnTo>
                  <a:lnTo>
                    <a:pt x="1974" y="1056"/>
                  </a:lnTo>
                  <a:lnTo>
                    <a:pt x="1968" y="1062"/>
                  </a:lnTo>
                  <a:lnTo>
                    <a:pt x="1962" y="1062"/>
                  </a:lnTo>
                  <a:lnTo>
                    <a:pt x="1956" y="1068"/>
                  </a:lnTo>
                  <a:lnTo>
                    <a:pt x="1956" y="1074"/>
                  </a:lnTo>
                  <a:lnTo>
                    <a:pt x="1956" y="1080"/>
                  </a:lnTo>
                  <a:lnTo>
                    <a:pt x="1956" y="1086"/>
                  </a:lnTo>
                  <a:lnTo>
                    <a:pt x="1956" y="1092"/>
                  </a:lnTo>
                  <a:lnTo>
                    <a:pt x="1962" y="1092"/>
                  </a:lnTo>
                  <a:lnTo>
                    <a:pt x="1962" y="1104"/>
                  </a:lnTo>
                  <a:lnTo>
                    <a:pt x="1968" y="1110"/>
                  </a:lnTo>
                  <a:lnTo>
                    <a:pt x="1968" y="1116"/>
                  </a:lnTo>
                  <a:lnTo>
                    <a:pt x="1974" y="1116"/>
                  </a:lnTo>
                  <a:lnTo>
                    <a:pt x="1974" y="1122"/>
                  </a:lnTo>
                  <a:lnTo>
                    <a:pt x="1980" y="1122"/>
                  </a:lnTo>
                  <a:lnTo>
                    <a:pt x="1974" y="1128"/>
                  </a:lnTo>
                  <a:lnTo>
                    <a:pt x="1968" y="1134"/>
                  </a:lnTo>
                  <a:lnTo>
                    <a:pt x="1962" y="1140"/>
                  </a:lnTo>
                  <a:lnTo>
                    <a:pt x="1962" y="1146"/>
                  </a:lnTo>
                  <a:lnTo>
                    <a:pt x="1968" y="1152"/>
                  </a:lnTo>
                  <a:lnTo>
                    <a:pt x="1968" y="1158"/>
                  </a:lnTo>
                  <a:lnTo>
                    <a:pt x="1962" y="1158"/>
                  </a:lnTo>
                  <a:lnTo>
                    <a:pt x="1962" y="1164"/>
                  </a:lnTo>
                  <a:lnTo>
                    <a:pt x="1956" y="1164"/>
                  </a:lnTo>
                  <a:lnTo>
                    <a:pt x="1956" y="1170"/>
                  </a:lnTo>
                  <a:lnTo>
                    <a:pt x="1944" y="1182"/>
                  </a:lnTo>
                  <a:lnTo>
                    <a:pt x="1944" y="1188"/>
                  </a:lnTo>
                  <a:lnTo>
                    <a:pt x="1950" y="1188"/>
                  </a:lnTo>
                  <a:lnTo>
                    <a:pt x="1944" y="1200"/>
                  </a:lnTo>
                  <a:lnTo>
                    <a:pt x="1944" y="1206"/>
                  </a:lnTo>
                  <a:lnTo>
                    <a:pt x="1944" y="1212"/>
                  </a:lnTo>
                  <a:lnTo>
                    <a:pt x="1944" y="1218"/>
                  </a:lnTo>
                  <a:lnTo>
                    <a:pt x="1944" y="1230"/>
                  </a:lnTo>
                  <a:lnTo>
                    <a:pt x="1944" y="1236"/>
                  </a:lnTo>
                  <a:lnTo>
                    <a:pt x="1944" y="1242"/>
                  </a:lnTo>
                  <a:lnTo>
                    <a:pt x="1938" y="1248"/>
                  </a:lnTo>
                  <a:lnTo>
                    <a:pt x="1938" y="1254"/>
                  </a:lnTo>
                  <a:lnTo>
                    <a:pt x="1932" y="1254"/>
                  </a:lnTo>
                  <a:lnTo>
                    <a:pt x="1926" y="1260"/>
                  </a:lnTo>
                  <a:lnTo>
                    <a:pt x="1920" y="1266"/>
                  </a:lnTo>
                  <a:lnTo>
                    <a:pt x="1914" y="1272"/>
                  </a:lnTo>
                  <a:lnTo>
                    <a:pt x="1908" y="1272"/>
                  </a:lnTo>
                  <a:lnTo>
                    <a:pt x="1908" y="1278"/>
                  </a:lnTo>
                  <a:lnTo>
                    <a:pt x="1914" y="1278"/>
                  </a:lnTo>
                  <a:lnTo>
                    <a:pt x="1914" y="1290"/>
                  </a:lnTo>
                  <a:lnTo>
                    <a:pt x="1920" y="1296"/>
                  </a:lnTo>
                  <a:lnTo>
                    <a:pt x="1938" y="1302"/>
                  </a:lnTo>
                  <a:lnTo>
                    <a:pt x="1944" y="1308"/>
                  </a:lnTo>
                  <a:lnTo>
                    <a:pt x="1950" y="1314"/>
                  </a:lnTo>
                  <a:lnTo>
                    <a:pt x="1956" y="1314"/>
                  </a:lnTo>
                  <a:lnTo>
                    <a:pt x="1962" y="1320"/>
                  </a:lnTo>
                  <a:lnTo>
                    <a:pt x="1962" y="1326"/>
                  </a:lnTo>
                  <a:lnTo>
                    <a:pt x="1968" y="1326"/>
                  </a:lnTo>
                  <a:lnTo>
                    <a:pt x="1968" y="1332"/>
                  </a:lnTo>
                  <a:lnTo>
                    <a:pt x="1968" y="1344"/>
                  </a:lnTo>
                  <a:lnTo>
                    <a:pt x="1968" y="1350"/>
                  </a:lnTo>
                  <a:lnTo>
                    <a:pt x="1968" y="1368"/>
                  </a:lnTo>
                  <a:lnTo>
                    <a:pt x="1962" y="1380"/>
                  </a:lnTo>
                  <a:lnTo>
                    <a:pt x="1968" y="1392"/>
                  </a:lnTo>
                  <a:lnTo>
                    <a:pt x="1962" y="1398"/>
                  </a:lnTo>
                  <a:lnTo>
                    <a:pt x="1956" y="1404"/>
                  </a:lnTo>
                  <a:lnTo>
                    <a:pt x="1950" y="1410"/>
                  </a:lnTo>
                  <a:lnTo>
                    <a:pt x="1944" y="1410"/>
                  </a:lnTo>
                  <a:lnTo>
                    <a:pt x="1932" y="1416"/>
                  </a:lnTo>
                  <a:lnTo>
                    <a:pt x="1926" y="1416"/>
                  </a:lnTo>
                  <a:lnTo>
                    <a:pt x="1896" y="1428"/>
                  </a:lnTo>
                  <a:lnTo>
                    <a:pt x="1884" y="1434"/>
                  </a:lnTo>
                  <a:lnTo>
                    <a:pt x="1878" y="1434"/>
                  </a:lnTo>
                  <a:lnTo>
                    <a:pt x="1866" y="1434"/>
                  </a:lnTo>
                  <a:lnTo>
                    <a:pt x="1854" y="1440"/>
                  </a:lnTo>
                  <a:lnTo>
                    <a:pt x="1848" y="1440"/>
                  </a:lnTo>
                  <a:lnTo>
                    <a:pt x="1842" y="1446"/>
                  </a:lnTo>
                  <a:lnTo>
                    <a:pt x="1842" y="1458"/>
                  </a:lnTo>
                  <a:lnTo>
                    <a:pt x="1836" y="1470"/>
                  </a:lnTo>
                  <a:lnTo>
                    <a:pt x="1830" y="1476"/>
                  </a:lnTo>
                  <a:lnTo>
                    <a:pt x="1824" y="1476"/>
                  </a:lnTo>
                  <a:lnTo>
                    <a:pt x="1806" y="1482"/>
                  </a:lnTo>
                  <a:lnTo>
                    <a:pt x="1800" y="1488"/>
                  </a:lnTo>
                  <a:lnTo>
                    <a:pt x="1794" y="1488"/>
                  </a:lnTo>
                  <a:lnTo>
                    <a:pt x="1788" y="1488"/>
                  </a:lnTo>
                  <a:lnTo>
                    <a:pt x="1776" y="1494"/>
                  </a:lnTo>
                  <a:lnTo>
                    <a:pt x="1764" y="1494"/>
                  </a:lnTo>
                  <a:lnTo>
                    <a:pt x="1758" y="1500"/>
                  </a:lnTo>
                  <a:lnTo>
                    <a:pt x="1746" y="1506"/>
                  </a:lnTo>
                  <a:lnTo>
                    <a:pt x="1728" y="1518"/>
                  </a:lnTo>
                  <a:lnTo>
                    <a:pt x="1716" y="1524"/>
                  </a:lnTo>
                  <a:lnTo>
                    <a:pt x="1710" y="1530"/>
                  </a:lnTo>
                  <a:lnTo>
                    <a:pt x="1704" y="1536"/>
                  </a:lnTo>
                  <a:lnTo>
                    <a:pt x="1698" y="1542"/>
                  </a:lnTo>
                  <a:lnTo>
                    <a:pt x="1692" y="1554"/>
                  </a:lnTo>
                  <a:lnTo>
                    <a:pt x="1686" y="1560"/>
                  </a:lnTo>
                  <a:lnTo>
                    <a:pt x="1680" y="1560"/>
                  </a:lnTo>
                  <a:lnTo>
                    <a:pt x="1674" y="1560"/>
                  </a:lnTo>
                  <a:lnTo>
                    <a:pt x="1656" y="1572"/>
                  </a:lnTo>
                  <a:lnTo>
                    <a:pt x="1650" y="1572"/>
                  </a:lnTo>
                  <a:lnTo>
                    <a:pt x="1644" y="1572"/>
                  </a:lnTo>
                  <a:lnTo>
                    <a:pt x="1638" y="1578"/>
                  </a:lnTo>
                  <a:lnTo>
                    <a:pt x="1632" y="1578"/>
                  </a:lnTo>
                  <a:lnTo>
                    <a:pt x="1626" y="1578"/>
                  </a:lnTo>
                  <a:lnTo>
                    <a:pt x="1620" y="1572"/>
                  </a:lnTo>
                  <a:lnTo>
                    <a:pt x="1614" y="1572"/>
                  </a:lnTo>
                  <a:lnTo>
                    <a:pt x="1608" y="1566"/>
                  </a:lnTo>
                  <a:lnTo>
                    <a:pt x="1602" y="1560"/>
                  </a:lnTo>
                  <a:lnTo>
                    <a:pt x="1596" y="1554"/>
                  </a:lnTo>
                  <a:lnTo>
                    <a:pt x="1590" y="1548"/>
                  </a:lnTo>
                  <a:lnTo>
                    <a:pt x="1578" y="1548"/>
                  </a:lnTo>
                  <a:lnTo>
                    <a:pt x="1572" y="1548"/>
                  </a:lnTo>
                  <a:lnTo>
                    <a:pt x="1566" y="1548"/>
                  </a:lnTo>
                  <a:lnTo>
                    <a:pt x="1554" y="1536"/>
                  </a:lnTo>
                  <a:lnTo>
                    <a:pt x="1548" y="1536"/>
                  </a:lnTo>
                  <a:lnTo>
                    <a:pt x="1542" y="1542"/>
                  </a:lnTo>
                  <a:lnTo>
                    <a:pt x="1536" y="1548"/>
                  </a:lnTo>
                  <a:lnTo>
                    <a:pt x="1536" y="1566"/>
                  </a:lnTo>
                  <a:lnTo>
                    <a:pt x="1530" y="1572"/>
                  </a:lnTo>
                  <a:lnTo>
                    <a:pt x="1524" y="1578"/>
                  </a:lnTo>
                  <a:lnTo>
                    <a:pt x="1518" y="1584"/>
                  </a:lnTo>
                  <a:lnTo>
                    <a:pt x="1512" y="1596"/>
                  </a:lnTo>
                  <a:lnTo>
                    <a:pt x="1506" y="1602"/>
                  </a:lnTo>
                  <a:lnTo>
                    <a:pt x="1506" y="1608"/>
                  </a:lnTo>
                  <a:lnTo>
                    <a:pt x="1506" y="1614"/>
                  </a:lnTo>
                  <a:lnTo>
                    <a:pt x="1500" y="1614"/>
                  </a:lnTo>
                  <a:lnTo>
                    <a:pt x="1500" y="1620"/>
                  </a:lnTo>
                  <a:lnTo>
                    <a:pt x="1500" y="1626"/>
                  </a:lnTo>
                  <a:lnTo>
                    <a:pt x="1494" y="1632"/>
                  </a:lnTo>
                  <a:lnTo>
                    <a:pt x="1488" y="1638"/>
                  </a:lnTo>
                  <a:lnTo>
                    <a:pt x="1482" y="1638"/>
                  </a:lnTo>
                  <a:lnTo>
                    <a:pt x="1482" y="1644"/>
                  </a:lnTo>
                  <a:lnTo>
                    <a:pt x="1482" y="1650"/>
                  </a:lnTo>
                  <a:lnTo>
                    <a:pt x="1482" y="1656"/>
                  </a:lnTo>
                  <a:lnTo>
                    <a:pt x="1476" y="1662"/>
                  </a:lnTo>
                  <a:lnTo>
                    <a:pt x="1470" y="1668"/>
                  </a:lnTo>
                  <a:lnTo>
                    <a:pt x="1464" y="1674"/>
                  </a:lnTo>
                  <a:lnTo>
                    <a:pt x="1464" y="1680"/>
                  </a:lnTo>
                  <a:lnTo>
                    <a:pt x="1458" y="1680"/>
                  </a:lnTo>
                  <a:lnTo>
                    <a:pt x="1452" y="1686"/>
                  </a:lnTo>
                  <a:lnTo>
                    <a:pt x="1446" y="1686"/>
                  </a:lnTo>
                  <a:lnTo>
                    <a:pt x="1440" y="1698"/>
                  </a:lnTo>
                  <a:lnTo>
                    <a:pt x="1440" y="1704"/>
                  </a:lnTo>
                  <a:lnTo>
                    <a:pt x="1434" y="1710"/>
                  </a:lnTo>
                  <a:lnTo>
                    <a:pt x="1434" y="1716"/>
                  </a:lnTo>
                  <a:lnTo>
                    <a:pt x="1428" y="1716"/>
                  </a:lnTo>
                  <a:lnTo>
                    <a:pt x="1428" y="1722"/>
                  </a:lnTo>
                  <a:lnTo>
                    <a:pt x="1428" y="1728"/>
                  </a:lnTo>
                  <a:lnTo>
                    <a:pt x="1422" y="1728"/>
                  </a:lnTo>
                  <a:lnTo>
                    <a:pt x="1422" y="1734"/>
                  </a:lnTo>
                  <a:lnTo>
                    <a:pt x="1416" y="1734"/>
                  </a:lnTo>
                  <a:lnTo>
                    <a:pt x="1410" y="1734"/>
                  </a:lnTo>
                  <a:lnTo>
                    <a:pt x="1392" y="1746"/>
                  </a:lnTo>
                  <a:lnTo>
                    <a:pt x="1386" y="1746"/>
                  </a:lnTo>
                  <a:lnTo>
                    <a:pt x="1368" y="1752"/>
                  </a:lnTo>
                  <a:lnTo>
                    <a:pt x="1362" y="1758"/>
                  </a:lnTo>
                  <a:lnTo>
                    <a:pt x="1362" y="1770"/>
                  </a:lnTo>
                  <a:lnTo>
                    <a:pt x="1356" y="178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</p:grpSp>
      <p:graphicFrame>
        <p:nvGraphicFramePr>
          <p:cNvPr id="357" name="Group 76">
            <a:extLst>
              <a:ext uri="{FF2B5EF4-FFF2-40B4-BE49-F238E27FC236}">
                <a16:creationId xmlns:a16="http://schemas.microsoft.com/office/drawing/2014/main" id="{57830D68-CF73-4A3E-9D36-141B03AADBF7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41338" y="3402013"/>
          <a:ext cx="3735387" cy="1827306"/>
        </p:xfrm>
        <a:graphic>
          <a:graphicData uri="http://schemas.openxmlformats.org/drawingml/2006/table">
            <a:tbl>
              <a:tblPr/>
              <a:tblGrid>
                <a:gridCol w="1316931">
                  <a:extLst>
                    <a:ext uri="{9D8B030D-6E8A-4147-A177-3AD203B41FA5}">
                      <a16:colId xmlns:a16="http://schemas.microsoft.com/office/drawing/2014/main" val="2027704273"/>
                    </a:ext>
                  </a:extLst>
                </a:gridCol>
                <a:gridCol w="603796">
                  <a:extLst>
                    <a:ext uri="{9D8B030D-6E8A-4147-A177-3AD203B41FA5}">
                      <a16:colId xmlns:a16="http://schemas.microsoft.com/office/drawing/2014/main" val="3432768286"/>
                    </a:ext>
                  </a:extLst>
                </a:gridCol>
                <a:gridCol w="744015">
                  <a:extLst>
                    <a:ext uri="{9D8B030D-6E8A-4147-A177-3AD203B41FA5}">
                      <a16:colId xmlns:a16="http://schemas.microsoft.com/office/drawing/2014/main" val="3730294207"/>
                    </a:ext>
                  </a:extLst>
                </a:gridCol>
                <a:gridCol w="1070645">
                  <a:extLst>
                    <a:ext uri="{9D8B030D-6E8A-4147-A177-3AD203B41FA5}">
                      <a16:colId xmlns:a16="http://schemas.microsoft.com/office/drawing/2014/main" val="2258321117"/>
                    </a:ext>
                  </a:extLst>
                </a:gridCol>
              </a:tblGrid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apital</a:t>
                      </a:r>
                      <a:endParaRPr kumimoji="0" lang="en-SG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292929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SG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Port Harcourt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703009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nd Are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0,575 km</a:t>
                      </a:r>
                      <a:r>
                        <a:rPr kumimoji="0" lang="en-US" altLang="en-US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26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603614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Population (2017E)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7,262,756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5 of 37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505851"/>
                  </a:ext>
                </a:extLst>
              </a:tr>
              <a:tr h="203024">
                <a:tc row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Dem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0-14: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,615,213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8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130093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5-64: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4,416,003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58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387564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65+: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   231,541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[4%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38801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bour force 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4,301,988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2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797882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limate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ropical monsoon and  tropical rainforest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3942226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op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Swamp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32899"/>
                  </a:ext>
                </a:extLst>
              </a:tr>
            </a:tbl>
          </a:graphicData>
        </a:graphic>
      </p:graphicFrame>
      <p:pic>
        <p:nvPicPr>
          <p:cNvPr id="23609" name="Picture 13">
            <a:extLst>
              <a:ext uri="{FF2B5EF4-FFF2-40B4-BE49-F238E27FC236}">
                <a16:creationId xmlns:a16="http://schemas.microsoft.com/office/drawing/2014/main" id="{952964D5-F0ED-4CAE-B71C-DB4A723FA5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0" y="3006725"/>
            <a:ext cx="1116013" cy="155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9" name="TextBox 378">
            <a:extLst>
              <a:ext uri="{FF2B5EF4-FFF2-40B4-BE49-F238E27FC236}">
                <a16:creationId xmlns:a16="http://schemas.microsoft.com/office/drawing/2014/main" id="{1B3FD4BF-4685-4C74-821F-10048D6246BF}"/>
              </a:ext>
            </a:extLst>
          </p:cNvPr>
          <p:cNvSpPr txBox="1"/>
          <p:nvPr/>
        </p:nvSpPr>
        <p:spPr>
          <a:xfrm>
            <a:off x="6124575" y="957263"/>
            <a:ext cx="3475038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mpetitive Advantages</a:t>
            </a: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455FE7A1-ADE5-4F7B-A489-00196671A53E}"/>
              </a:ext>
            </a:extLst>
          </p:cNvPr>
          <p:cNvSpPr/>
          <p:nvPr/>
        </p:nvSpPr>
        <p:spPr>
          <a:xfrm>
            <a:off x="4267248" y="1187511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89.5bn/$293.3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EBB25788-D073-4A78-9D6C-DF3836CFFFBB}"/>
              </a:ext>
            </a:extLst>
          </p:cNvPr>
          <p:cNvSpPr txBox="1"/>
          <p:nvPr/>
        </p:nvSpPr>
        <p:spPr>
          <a:xfrm>
            <a:off x="4267200" y="955675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GR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6F07DF39-553B-44F0-8864-1F897C2BD79A}"/>
              </a:ext>
            </a:extLst>
          </p:cNvPr>
          <p:cNvSpPr/>
          <p:nvPr/>
        </p:nvSpPr>
        <p:spPr>
          <a:xfrm>
            <a:off x="4267252" y="1809750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510bn/$1.7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2508695A-2D2C-45A3-80FE-9C2CB18200C2}"/>
              </a:ext>
            </a:extLst>
          </p:cNvPr>
          <p:cNvSpPr txBox="1"/>
          <p:nvPr/>
        </p:nvSpPr>
        <p:spPr>
          <a:xfrm>
            <a:off x="4267200" y="1576388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Budget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8)</a:t>
            </a: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86A33ABE-3AE3-40A7-A6A6-1B757A6A9B0F}"/>
              </a:ext>
            </a:extLst>
          </p:cNvPr>
          <p:cNvSpPr/>
          <p:nvPr/>
        </p:nvSpPr>
        <p:spPr>
          <a:xfrm>
            <a:off x="4256076" y="2667155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2..9trn /$9.6bn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1E919764-A18B-4532-A533-A84A31D7FEFE}"/>
              </a:ext>
            </a:extLst>
          </p:cNvPr>
          <p:cNvSpPr txBox="1"/>
          <p:nvPr/>
        </p:nvSpPr>
        <p:spPr>
          <a:xfrm>
            <a:off x="4256088" y="2185988"/>
            <a:ext cx="1811337" cy="50641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Household </a:t>
            </a:r>
          </a:p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nsumption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96" name="Plaque 95">
            <a:extLst>
              <a:ext uri="{FF2B5EF4-FFF2-40B4-BE49-F238E27FC236}">
                <a16:creationId xmlns:a16="http://schemas.microsoft.com/office/drawing/2014/main" id="{E3BE1182-17B4-4194-8641-F1EA2CCBB757}"/>
              </a:ext>
            </a:extLst>
          </p:cNvPr>
          <p:cNvSpPr/>
          <p:nvPr/>
        </p:nvSpPr>
        <p:spPr>
          <a:xfrm>
            <a:off x="5656263" y="2805113"/>
            <a:ext cx="411162" cy="153987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4 of 36</a:t>
            </a:r>
          </a:p>
        </p:txBody>
      </p:sp>
      <p:sp>
        <p:nvSpPr>
          <p:cNvPr id="99" name="Plaque 98">
            <a:extLst>
              <a:ext uri="{FF2B5EF4-FFF2-40B4-BE49-F238E27FC236}">
                <a16:creationId xmlns:a16="http://schemas.microsoft.com/office/drawing/2014/main" id="{8620E393-1C52-4CE1-9888-20922FA6DFEA}"/>
              </a:ext>
            </a:extLst>
          </p:cNvPr>
          <p:cNvSpPr/>
          <p:nvPr/>
        </p:nvSpPr>
        <p:spPr>
          <a:xfrm>
            <a:off x="5689600" y="1951038"/>
            <a:ext cx="377825" cy="153987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4 of 36</a:t>
            </a:r>
          </a:p>
        </p:txBody>
      </p:sp>
      <p:sp>
        <p:nvSpPr>
          <p:cNvPr id="100" name="Plaque 99">
            <a:extLst>
              <a:ext uri="{FF2B5EF4-FFF2-40B4-BE49-F238E27FC236}">
                <a16:creationId xmlns:a16="http://schemas.microsoft.com/office/drawing/2014/main" id="{3BFA6D28-9A42-4459-8BF1-090CE1B45216}"/>
              </a:ext>
            </a:extLst>
          </p:cNvPr>
          <p:cNvSpPr/>
          <p:nvPr/>
        </p:nvSpPr>
        <p:spPr>
          <a:xfrm>
            <a:off x="5638800" y="1333500"/>
            <a:ext cx="430213" cy="1539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latin typeface="Calibri" panose="020F0502020204030204" pitchFamily="34" charset="0"/>
                <a:cs typeface="Calibri" panose="020F0502020204030204" pitchFamily="34" charset="0"/>
              </a:rPr>
              <a:t>2 of 36</a:t>
            </a:r>
          </a:p>
        </p:txBody>
      </p:sp>
      <p:sp>
        <p:nvSpPr>
          <p:cNvPr id="101" name="Pentagon 19">
            <a:extLst>
              <a:ext uri="{FF2B5EF4-FFF2-40B4-BE49-F238E27FC236}">
                <a16:creationId xmlns:a16="http://schemas.microsoft.com/office/drawing/2014/main" id="{CCD74FA4-19D0-4356-90C9-B3B49BCC3F54}"/>
              </a:ext>
            </a:extLst>
          </p:cNvPr>
          <p:cNvSpPr>
            <a:spLocks/>
          </p:cNvSpPr>
          <p:nvPr/>
        </p:nvSpPr>
        <p:spPr bwMode="auto">
          <a:xfrm>
            <a:off x="688340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8 of 37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12EE735-1E43-4799-A46A-5D0787F375CE}"/>
              </a:ext>
            </a:extLst>
          </p:cNvPr>
          <p:cNvSpPr/>
          <p:nvPr/>
        </p:nvSpPr>
        <p:spPr>
          <a:xfrm>
            <a:off x="6880225" y="5726113"/>
            <a:ext cx="642938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Starting a Business</a:t>
            </a:r>
          </a:p>
        </p:txBody>
      </p:sp>
      <p:pic>
        <p:nvPicPr>
          <p:cNvPr id="23622" name="Picture 3">
            <a:extLst>
              <a:ext uri="{FF2B5EF4-FFF2-40B4-BE49-F238E27FC236}">
                <a16:creationId xmlns:a16="http://schemas.microsoft.com/office/drawing/2014/main" id="{53FAD0C6-8FFE-437B-B7E4-F2A938D3BE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350" y="5249863"/>
            <a:ext cx="41910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23" name="Freeform 15">
            <a:extLst>
              <a:ext uri="{FF2B5EF4-FFF2-40B4-BE49-F238E27FC236}">
                <a16:creationId xmlns:a16="http://schemas.microsoft.com/office/drawing/2014/main" id="{183A3C8B-011E-4D99-9165-3FF03A2D3207}"/>
              </a:ext>
            </a:extLst>
          </p:cNvPr>
          <p:cNvSpPr>
            <a:spLocks noEditPoints="1"/>
          </p:cNvSpPr>
          <p:nvPr/>
        </p:nvSpPr>
        <p:spPr bwMode="auto">
          <a:xfrm>
            <a:off x="9093200" y="5257800"/>
            <a:ext cx="276225" cy="347663"/>
          </a:xfrm>
          <a:custGeom>
            <a:avLst/>
            <a:gdLst>
              <a:gd name="T0" fmla="*/ 2147483646 w 3556"/>
              <a:gd name="T1" fmla="*/ 2147483646 h 3950"/>
              <a:gd name="T2" fmla="*/ 2147483646 w 3556"/>
              <a:gd name="T3" fmla="*/ 2147483646 h 3950"/>
              <a:gd name="T4" fmla="*/ 2147483646 w 3556"/>
              <a:gd name="T5" fmla="*/ 2147483646 h 3950"/>
              <a:gd name="T6" fmla="*/ 2147483646 w 3556"/>
              <a:gd name="T7" fmla="*/ 2147483646 h 3950"/>
              <a:gd name="T8" fmla="*/ 2147483646 w 3556"/>
              <a:gd name="T9" fmla="*/ 2147483646 h 3950"/>
              <a:gd name="T10" fmla="*/ 2147483646 w 3556"/>
              <a:gd name="T11" fmla="*/ 2147483646 h 3950"/>
              <a:gd name="T12" fmla="*/ 2147483646 w 3556"/>
              <a:gd name="T13" fmla="*/ 2147483646 h 3950"/>
              <a:gd name="T14" fmla="*/ 2147483646 w 3556"/>
              <a:gd name="T15" fmla="*/ 2147483646 h 3950"/>
              <a:gd name="T16" fmla="*/ 2147483646 w 3556"/>
              <a:gd name="T17" fmla="*/ 2147483646 h 3950"/>
              <a:gd name="T18" fmla="*/ 2147483646 w 3556"/>
              <a:gd name="T19" fmla="*/ 2147483646 h 3950"/>
              <a:gd name="T20" fmla="*/ 2147483646 w 3556"/>
              <a:gd name="T21" fmla="*/ 2147483646 h 3950"/>
              <a:gd name="T22" fmla="*/ 0 w 3556"/>
              <a:gd name="T23" fmla="*/ 2147483646 h 3950"/>
              <a:gd name="T24" fmla="*/ 2147483646 w 3556"/>
              <a:gd name="T25" fmla="*/ 2147483646 h 3950"/>
              <a:gd name="T26" fmla="*/ 2147483646 w 3556"/>
              <a:gd name="T27" fmla="*/ 2147483646 h 3950"/>
              <a:gd name="T28" fmla="*/ 2147483646 w 3556"/>
              <a:gd name="T29" fmla="*/ 2147483646 h 3950"/>
              <a:gd name="T30" fmla="*/ 2147483646 w 3556"/>
              <a:gd name="T31" fmla="*/ 2147483646 h 3950"/>
              <a:gd name="T32" fmla="*/ 2147483646 w 3556"/>
              <a:gd name="T33" fmla="*/ 2147483646 h 3950"/>
              <a:gd name="T34" fmla="*/ 2147483646 w 3556"/>
              <a:gd name="T35" fmla="*/ 2147483646 h 3950"/>
              <a:gd name="T36" fmla="*/ 2147483646 w 3556"/>
              <a:gd name="T37" fmla="*/ 2147483646 h 3950"/>
              <a:gd name="T38" fmla="*/ 2147483646 w 3556"/>
              <a:gd name="T39" fmla="*/ 2147483646 h 3950"/>
              <a:gd name="T40" fmla="*/ 2147483646 w 3556"/>
              <a:gd name="T41" fmla="*/ 2147483646 h 3950"/>
              <a:gd name="T42" fmla="*/ 2147483646 w 3556"/>
              <a:gd name="T43" fmla="*/ 2147483646 h 3950"/>
              <a:gd name="T44" fmla="*/ 2147483646 w 3556"/>
              <a:gd name="T45" fmla="*/ 2147483646 h 3950"/>
              <a:gd name="T46" fmla="*/ 2147483646 w 3556"/>
              <a:gd name="T47" fmla="*/ 2147483646 h 3950"/>
              <a:gd name="T48" fmla="*/ 2147483646 w 3556"/>
              <a:gd name="T49" fmla="*/ 2147483646 h 3950"/>
              <a:gd name="T50" fmla="*/ 2147483646 w 3556"/>
              <a:gd name="T51" fmla="*/ 2147483646 h 3950"/>
              <a:gd name="T52" fmla="*/ 2147483646 w 3556"/>
              <a:gd name="T53" fmla="*/ 2147483646 h 3950"/>
              <a:gd name="T54" fmla="*/ 2147483646 w 3556"/>
              <a:gd name="T55" fmla="*/ 2147483646 h 3950"/>
              <a:gd name="T56" fmla="*/ 2147483646 w 3556"/>
              <a:gd name="T57" fmla="*/ 2147483646 h 3950"/>
              <a:gd name="T58" fmla="*/ 2147483646 w 3556"/>
              <a:gd name="T59" fmla="*/ 2147483646 h 3950"/>
              <a:gd name="T60" fmla="*/ 2147483646 w 3556"/>
              <a:gd name="T61" fmla="*/ 2147483646 h 3950"/>
              <a:gd name="T62" fmla="*/ 2147483646 w 3556"/>
              <a:gd name="T63" fmla="*/ 2147483646 h 3950"/>
              <a:gd name="T64" fmla="*/ 2147483646 w 3556"/>
              <a:gd name="T65" fmla="*/ 2147483646 h 3950"/>
              <a:gd name="T66" fmla="*/ 2147483646 w 3556"/>
              <a:gd name="T67" fmla="*/ 2147483646 h 3950"/>
              <a:gd name="T68" fmla="*/ 2147483646 w 3556"/>
              <a:gd name="T69" fmla="*/ 2147483646 h 3950"/>
              <a:gd name="T70" fmla="*/ 2147483646 w 3556"/>
              <a:gd name="T71" fmla="*/ 2147483646 h 3950"/>
              <a:gd name="T72" fmla="*/ 2147483646 w 3556"/>
              <a:gd name="T73" fmla="*/ 2147483646 h 3950"/>
              <a:gd name="T74" fmla="*/ 2147483646 w 3556"/>
              <a:gd name="T75" fmla="*/ 2147483646 h 3950"/>
              <a:gd name="T76" fmla="*/ 2147483646 w 3556"/>
              <a:gd name="T77" fmla="*/ 2147483646 h 3950"/>
              <a:gd name="T78" fmla="*/ 2147483646 w 3556"/>
              <a:gd name="T79" fmla="*/ 2147483646 h 3950"/>
              <a:gd name="T80" fmla="*/ 2147483646 w 3556"/>
              <a:gd name="T81" fmla="*/ 0 h 3950"/>
              <a:gd name="T82" fmla="*/ 2147483646 w 3556"/>
              <a:gd name="T83" fmla="*/ 2147483646 h 3950"/>
              <a:gd name="T84" fmla="*/ 2147483646 w 3556"/>
              <a:gd name="T85" fmla="*/ 2147483646 h 3950"/>
              <a:gd name="T86" fmla="*/ 2147483646 w 3556"/>
              <a:gd name="T87" fmla="*/ 2147483646 h 395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556"/>
              <a:gd name="T133" fmla="*/ 0 h 3950"/>
              <a:gd name="T134" fmla="*/ 3556 w 3556"/>
              <a:gd name="T135" fmla="*/ 3950 h 395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556" h="3950">
                <a:moveTo>
                  <a:pt x="909" y="3917"/>
                </a:moveTo>
                <a:cubicBezTo>
                  <a:pt x="824" y="3832"/>
                  <a:pt x="894" y="3725"/>
                  <a:pt x="1036" y="3725"/>
                </a:cubicBezTo>
                <a:cubicBezTo>
                  <a:pt x="1119" y="3725"/>
                  <a:pt x="1129" y="3717"/>
                  <a:pt x="1129" y="3645"/>
                </a:cubicBezTo>
                <a:cubicBezTo>
                  <a:pt x="1129" y="3472"/>
                  <a:pt x="1135" y="3471"/>
                  <a:pt x="2192" y="3471"/>
                </a:cubicBezTo>
                <a:cubicBezTo>
                  <a:pt x="3086" y="3471"/>
                  <a:pt x="3155" y="3475"/>
                  <a:pt x="3199" y="3523"/>
                </a:cubicBezTo>
                <a:cubicBezTo>
                  <a:pt x="3225" y="3551"/>
                  <a:pt x="3246" y="3608"/>
                  <a:pt x="3246" y="3648"/>
                </a:cubicBezTo>
                <a:cubicBezTo>
                  <a:pt x="3246" y="3712"/>
                  <a:pt x="3259" y="3723"/>
                  <a:pt x="3349" y="3730"/>
                </a:cubicBezTo>
                <a:cubicBezTo>
                  <a:pt x="3470" y="3741"/>
                  <a:pt x="3530" y="3811"/>
                  <a:pt x="3482" y="3887"/>
                </a:cubicBezTo>
                <a:cubicBezTo>
                  <a:pt x="3453" y="3933"/>
                  <a:pt x="3356" y="3937"/>
                  <a:pt x="2197" y="3944"/>
                </a:cubicBezTo>
                <a:cubicBezTo>
                  <a:pt x="1245" y="3950"/>
                  <a:pt x="935" y="3943"/>
                  <a:pt x="909" y="3917"/>
                </a:cubicBezTo>
                <a:close/>
                <a:moveTo>
                  <a:pt x="87" y="3370"/>
                </a:moveTo>
                <a:cubicBezTo>
                  <a:pt x="24" y="3317"/>
                  <a:pt x="0" y="3272"/>
                  <a:pt x="0" y="3209"/>
                </a:cubicBezTo>
                <a:cubicBezTo>
                  <a:pt x="0" y="3132"/>
                  <a:pt x="86" y="3035"/>
                  <a:pt x="705" y="2414"/>
                </a:cubicBezTo>
                <a:lnTo>
                  <a:pt x="1411" y="1706"/>
                </a:lnTo>
                <a:lnTo>
                  <a:pt x="1235" y="1530"/>
                </a:lnTo>
                <a:lnTo>
                  <a:pt x="1059" y="1355"/>
                </a:lnTo>
                <a:lnTo>
                  <a:pt x="1510" y="903"/>
                </a:lnTo>
                <a:lnTo>
                  <a:pt x="1960" y="452"/>
                </a:lnTo>
                <a:lnTo>
                  <a:pt x="2135" y="624"/>
                </a:lnTo>
                <a:cubicBezTo>
                  <a:pt x="2305" y="793"/>
                  <a:pt x="2310" y="796"/>
                  <a:pt x="2374" y="751"/>
                </a:cubicBezTo>
                <a:cubicBezTo>
                  <a:pt x="2469" y="685"/>
                  <a:pt x="2547" y="695"/>
                  <a:pt x="2633" y="785"/>
                </a:cubicBezTo>
                <a:cubicBezTo>
                  <a:pt x="2720" y="875"/>
                  <a:pt x="2731" y="974"/>
                  <a:pt x="2662" y="1050"/>
                </a:cubicBezTo>
                <a:cubicBezTo>
                  <a:pt x="2616" y="1100"/>
                  <a:pt x="2624" y="1112"/>
                  <a:pt x="2823" y="1313"/>
                </a:cubicBezTo>
                <a:lnTo>
                  <a:pt x="3033" y="1524"/>
                </a:lnTo>
                <a:lnTo>
                  <a:pt x="2582" y="1975"/>
                </a:lnTo>
                <a:lnTo>
                  <a:pt x="2132" y="2427"/>
                </a:lnTo>
                <a:lnTo>
                  <a:pt x="1933" y="2229"/>
                </a:lnTo>
                <a:cubicBezTo>
                  <a:pt x="1824" y="2121"/>
                  <a:pt x="1722" y="2032"/>
                  <a:pt x="1707" y="2032"/>
                </a:cubicBezTo>
                <a:cubicBezTo>
                  <a:pt x="1693" y="2032"/>
                  <a:pt x="1362" y="2349"/>
                  <a:pt x="973" y="2737"/>
                </a:cubicBezTo>
                <a:cubicBezTo>
                  <a:pt x="584" y="3125"/>
                  <a:pt x="245" y="3443"/>
                  <a:pt x="220" y="3443"/>
                </a:cubicBezTo>
                <a:cubicBezTo>
                  <a:pt x="194" y="3443"/>
                  <a:pt x="135" y="3410"/>
                  <a:pt x="87" y="3370"/>
                </a:cubicBezTo>
                <a:close/>
                <a:moveTo>
                  <a:pt x="2258" y="2887"/>
                </a:moveTo>
                <a:cubicBezTo>
                  <a:pt x="2196" y="2865"/>
                  <a:pt x="2145" y="2792"/>
                  <a:pt x="2145" y="2725"/>
                </a:cubicBezTo>
                <a:cubicBezTo>
                  <a:pt x="2145" y="2686"/>
                  <a:pt x="2337" y="2474"/>
                  <a:pt x="2703" y="2109"/>
                </a:cubicBezTo>
                <a:cubicBezTo>
                  <a:pt x="3289" y="1523"/>
                  <a:pt x="3346" y="1485"/>
                  <a:pt x="3453" y="1604"/>
                </a:cubicBezTo>
                <a:cubicBezTo>
                  <a:pt x="3556" y="1717"/>
                  <a:pt x="3522" y="1766"/>
                  <a:pt x="2956" y="2331"/>
                </a:cubicBezTo>
                <a:cubicBezTo>
                  <a:pt x="2657" y="2630"/>
                  <a:pt x="2388" y="2880"/>
                  <a:pt x="2357" y="2888"/>
                </a:cubicBezTo>
                <a:cubicBezTo>
                  <a:pt x="2326" y="2895"/>
                  <a:pt x="2281" y="2895"/>
                  <a:pt x="2258" y="2887"/>
                </a:cubicBezTo>
                <a:close/>
                <a:moveTo>
                  <a:pt x="637" y="1282"/>
                </a:moveTo>
                <a:cubicBezTo>
                  <a:pt x="528" y="1172"/>
                  <a:pt x="568" y="1113"/>
                  <a:pt x="1137" y="544"/>
                </a:cubicBezTo>
                <a:cubicBezTo>
                  <a:pt x="1607" y="74"/>
                  <a:pt x="1693" y="0"/>
                  <a:pt x="1767" y="0"/>
                </a:cubicBezTo>
                <a:cubicBezTo>
                  <a:pt x="1862" y="0"/>
                  <a:pt x="1947" y="73"/>
                  <a:pt x="1947" y="156"/>
                </a:cubicBezTo>
                <a:cubicBezTo>
                  <a:pt x="1947" y="186"/>
                  <a:pt x="1715" y="442"/>
                  <a:pt x="1391" y="767"/>
                </a:cubicBezTo>
                <a:cubicBezTo>
                  <a:pt x="808" y="1353"/>
                  <a:pt x="749" y="1393"/>
                  <a:pt x="637" y="12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4" name="Group 118">
            <a:extLst>
              <a:ext uri="{FF2B5EF4-FFF2-40B4-BE49-F238E27FC236}">
                <a16:creationId xmlns:a16="http://schemas.microsoft.com/office/drawing/2014/main" id="{FB3D6A90-C4FD-433A-A1C1-A4B3864804A5}"/>
              </a:ext>
            </a:extLst>
          </p:cNvPr>
          <p:cNvGrpSpPr/>
          <p:nvPr/>
        </p:nvGrpSpPr>
        <p:grpSpPr>
          <a:xfrm>
            <a:off x="8409631" y="5248358"/>
            <a:ext cx="346498" cy="347472"/>
            <a:chOff x="1468138" y="5997240"/>
            <a:chExt cx="283642" cy="307072"/>
          </a:xfrm>
          <a:solidFill>
            <a:schemeClr val="bg1"/>
          </a:solidFill>
        </p:grpSpPr>
        <p:sp>
          <p:nvSpPr>
            <p:cNvPr id="120" name="Freeform 16">
              <a:extLst>
                <a:ext uri="{FF2B5EF4-FFF2-40B4-BE49-F238E27FC236}">
                  <a16:creationId xmlns:a16="http://schemas.microsoft.com/office/drawing/2014/main" id="{D6134FC8-4249-4088-8AE8-003C8AAC7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6136" y="6255221"/>
              <a:ext cx="26428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1 w 349"/>
                <a:gd name="T25" fmla="*/ 226 h 350"/>
                <a:gd name="T26" fmla="*/ 225 w 349"/>
                <a:gd name="T27" fmla="*/ 213 h 350"/>
                <a:gd name="T28" fmla="*/ 234 w 349"/>
                <a:gd name="T29" fmla="*/ 194 h 350"/>
                <a:gd name="T30" fmla="*/ 237 w 349"/>
                <a:gd name="T31" fmla="*/ 175 h 350"/>
                <a:gd name="T32" fmla="*/ 235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5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4 w 349"/>
                <a:gd name="T47" fmla="*/ 3 h 350"/>
                <a:gd name="T48" fmla="*/ 234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8 w 349"/>
                <a:gd name="T55" fmla="*/ 63 h 350"/>
                <a:gd name="T56" fmla="*/ 325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5 w 349"/>
                <a:gd name="T65" fmla="*/ 210 h 350"/>
                <a:gd name="T66" fmla="*/ 335 w 349"/>
                <a:gd name="T67" fmla="*/ 243 h 350"/>
                <a:gd name="T68" fmla="*/ 319 w 349"/>
                <a:gd name="T69" fmla="*/ 273 h 350"/>
                <a:gd name="T70" fmla="*/ 297 w 349"/>
                <a:gd name="T71" fmla="*/ 299 h 350"/>
                <a:gd name="T72" fmla="*/ 272 w 349"/>
                <a:gd name="T73" fmla="*/ 319 h 350"/>
                <a:gd name="T74" fmla="*/ 242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39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29 w 349"/>
                <a:gd name="T89" fmla="*/ 273 h 350"/>
                <a:gd name="T90" fmla="*/ 14 w 349"/>
                <a:gd name="T91" fmla="*/ 243 h 350"/>
                <a:gd name="T92" fmla="*/ 3 w 349"/>
                <a:gd name="T93" fmla="*/ 210 h 350"/>
                <a:gd name="T94" fmla="*/ 0 w 349"/>
                <a:gd name="T95" fmla="*/ 175 h 350"/>
                <a:gd name="T96" fmla="*/ 3 w 349"/>
                <a:gd name="T97" fmla="*/ 140 h 350"/>
                <a:gd name="T98" fmla="*/ 14 w 349"/>
                <a:gd name="T99" fmla="*/ 107 h 350"/>
                <a:gd name="T100" fmla="*/ 29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39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1" y="226"/>
                  </a:lnTo>
                  <a:lnTo>
                    <a:pt x="225" y="213"/>
                  </a:lnTo>
                  <a:lnTo>
                    <a:pt x="234" y="194"/>
                  </a:lnTo>
                  <a:lnTo>
                    <a:pt x="237" y="175"/>
                  </a:lnTo>
                  <a:lnTo>
                    <a:pt x="235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5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4" y="3"/>
                  </a:lnTo>
                  <a:lnTo>
                    <a:pt x="234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8" y="63"/>
                  </a:lnTo>
                  <a:lnTo>
                    <a:pt x="325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5" y="210"/>
                  </a:lnTo>
                  <a:lnTo>
                    <a:pt x="335" y="243"/>
                  </a:lnTo>
                  <a:lnTo>
                    <a:pt x="319" y="273"/>
                  </a:lnTo>
                  <a:lnTo>
                    <a:pt x="297" y="299"/>
                  </a:lnTo>
                  <a:lnTo>
                    <a:pt x="272" y="319"/>
                  </a:lnTo>
                  <a:lnTo>
                    <a:pt x="242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39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29" y="273"/>
                  </a:lnTo>
                  <a:lnTo>
                    <a:pt x="14" y="243"/>
                  </a:lnTo>
                  <a:lnTo>
                    <a:pt x="3" y="210"/>
                  </a:lnTo>
                  <a:lnTo>
                    <a:pt x="0" y="175"/>
                  </a:lnTo>
                  <a:lnTo>
                    <a:pt x="3" y="140"/>
                  </a:lnTo>
                  <a:lnTo>
                    <a:pt x="14" y="107"/>
                  </a:lnTo>
                  <a:lnTo>
                    <a:pt x="29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39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1" name="Freeform 17">
              <a:extLst>
                <a:ext uri="{FF2B5EF4-FFF2-40B4-BE49-F238E27FC236}">
                  <a16:creationId xmlns:a16="http://schemas.microsoft.com/office/drawing/2014/main" id="{67A5F0B0-C078-4A85-9E32-409FF0B3D5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2133" y="6255221"/>
              <a:ext cx="26656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2 w 349"/>
                <a:gd name="T25" fmla="*/ 226 h 350"/>
                <a:gd name="T26" fmla="*/ 226 w 349"/>
                <a:gd name="T27" fmla="*/ 213 h 350"/>
                <a:gd name="T28" fmla="*/ 235 w 349"/>
                <a:gd name="T29" fmla="*/ 194 h 350"/>
                <a:gd name="T30" fmla="*/ 237 w 349"/>
                <a:gd name="T31" fmla="*/ 175 h 350"/>
                <a:gd name="T32" fmla="*/ 236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7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5 w 349"/>
                <a:gd name="T47" fmla="*/ 3 h 350"/>
                <a:gd name="T48" fmla="*/ 235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9 w 349"/>
                <a:gd name="T55" fmla="*/ 63 h 350"/>
                <a:gd name="T56" fmla="*/ 326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6 w 349"/>
                <a:gd name="T65" fmla="*/ 210 h 350"/>
                <a:gd name="T66" fmla="*/ 336 w 349"/>
                <a:gd name="T67" fmla="*/ 243 h 350"/>
                <a:gd name="T68" fmla="*/ 319 w 349"/>
                <a:gd name="T69" fmla="*/ 273 h 350"/>
                <a:gd name="T70" fmla="*/ 298 w 349"/>
                <a:gd name="T71" fmla="*/ 299 h 350"/>
                <a:gd name="T72" fmla="*/ 272 w 349"/>
                <a:gd name="T73" fmla="*/ 319 h 350"/>
                <a:gd name="T74" fmla="*/ 243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40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30 w 349"/>
                <a:gd name="T89" fmla="*/ 273 h 350"/>
                <a:gd name="T90" fmla="*/ 14 w 349"/>
                <a:gd name="T91" fmla="*/ 243 h 350"/>
                <a:gd name="T92" fmla="*/ 4 w 349"/>
                <a:gd name="T93" fmla="*/ 210 h 350"/>
                <a:gd name="T94" fmla="*/ 0 w 349"/>
                <a:gd name="T95" fmla="*/ 175 h 350"/>
                <a:gd name="T96" fmla="*/ 4 w 349"/>
                <a:gd name="T97" fmla="*/ 140 h 350"/>
                <a:gd name="T98" fmla="*/ 14 w 349"/>
                <a:gd name="T99" fmla="*/ 107 h 350"/>
                <a:gd name="T100" fmla="*/ 30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40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7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7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5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19" y="273"/>
                  </a:lnTo>
                  <a:lnTo>
                    <a:pt x="298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2" name="Freeform 18">
              <a:extLst>
                <a:ext uri="{FF2B5EF4-FFF2-40B4-BE49-F238E27FC236}">
                  <a16:creationId xmlns:a16="http://schemas.microsoft.com/office/drawing/2014/main" id="{BF1784DA-3E40-44FD-998D-DB1DD379C0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8357" y="6255221"/>
              <a:ext cx="26428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7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1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7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8 w 350"/>
                <a:gd name="T31" fmla="*/ 175 h 350"/>
                <a:gd name="T32" fmla="*/ 236 w 350"/>
                <a:gd name="T33" fmla="*/ 158 h 350"/>
                <a:gd name="T34" fmla="*/ 229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7 w 350"/>
                <a:gd name="T53" fmla="*/ 41 h 350"/>
                <a:gd name="T54" fmla="*/ 309 w 350"/>
                <a:gd name="T55" fmla="*/ 63 h 350"/>
                <a:gd name="T56" fmla="*/ 326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2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7 w 350"/>
                <a:gd name="T85" fmla="*/ 319 h 350"/>
                <a:gd name="T86" fmla="*/ 51 w 350"/>
                <a:gd name="T87" fmla="*/ 299 h 350"/>
                <a:gd name="T88" fmla="*/ 30 w 350"/>
                <a:gd name="T89" fmla="*/ 273 h 350"/>
                <a:gd name="T90" fmla="*/ 14 w 350"/>
                <a:gd name="T91" fmla="*/ 243 h 350"/>
                <a:gd name="T92" fmla="*/ 4 w 350"/>
                <a:gd name="T93" fmla="*/ 210 h 350"/>
                <a:gd name="T94" fmla="*/ 0 w 350"/>
                <a:gd name="T95" fmla="*/ 175 h 350"/>
                <a:gd name="T96" fmla="*/ 4 w 350"/>
                <a:gd name="T97" fmla="*/ 140 h 350"/>
                <a:gd name="T98" fmla="*/ 14 w 350"/>
                <a:gd name="T99" fmla="*/ 107 h 350"/>
                <a:gd name="T100" fmla="*/ 30 w 350"/>
                <a:gd name="T101" fmla="*/ 78 h 350"/>
                <a:gd name="T102" fmla="*/ 51 w 350"/>
                <a:gd name="T103" fmla="*/ 52 h 350"/>
                <a:gd name="T104" fmla="*/ 77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8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3" name="Freeform 19">
              <a:extLst>
                <a:ext uri="{FF2B5EF4-FFF2-40B4-BE49-F238E27FC236}">
                  <a16:creationId xmlns:a16="http://schemas.microsoft.com/office/drawing/2014/main" id="{FF26547B-24B3-4108-8095-A2794E966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4353" y="6255221"/>
              <a:ext cx="26656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8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3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8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9 w 350"/>
                <a:gd name="T31" fmla="*/ 175 h 350"/>
                <a:gd name="T32" fmla="*/ 236 w 350"/>
                <a:gd name="T33" fmla="*/ 158 h 350"/>
                <a:gd name="T34" fmla="*/ 231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8 w 350"/>
                <a:gd name="T53" fmla="*/ 41 h 350"/>
                <a:gd name="T54" fmla="*/ 309 w 350"/>
                <a:gd name="T55" fmla="*/ 63 h 350"/>
                <a:gd name="T56" fmla="*/ 327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3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8 w 350"/>
                <a:gd name="T85" fmla="*/ 319 h 350"/>
                <a:gd name="T86" fmla="*/ 53 w 350"/>
                <a:gd name="T87" fmla="*/ 299 h 350"/>
                <a:gd name="T88" fmla="*/ 31 w 350"/>
                <a:gd name="T89" fmla="*/ 273 h 350"/>
                <a:gd name="T90" fmla="*/ 15 w 350"/>
                <a:gd name="T91" fmla="*/ 243 h 350"/>
                <a:gd name="T92" fmla="*/ 5 w 350"/>
                <a:gd name="T93" fmla="*/ 210 h 350"/>
                <a:gd name="T94" fmla="*/ 0 w 350"/>
                <a:gd name="T95" fmla="*/ 175 h 350"/>
                <a:gd name="T96" fmla="*/ 5 w 350"/>
                <a:gd name="T97" fmla="*/ 140 h 350"/>
                <a:gd name="T98" fmla="*/ 15 w 350"/>
                <a:gd name="T99" fmla="*/ 107 h 350"/>
                <a:gd name="T100" fmla="*/ 31 w 350"/>
                <a:gd name="T101" fmla="*/ 78 h 350"/>
                <a:gd name="T102" fmla="*/ 53 w 350"/>
                <a:gd name="T103" fmla="*/ 52 h 350"/>
                <a:gd name="T104" fmla="*/ 78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8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3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8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9" y="175"/>
                  </a:lnTo>
                  <a:lnTo>
                    <a:pt x="236" y="158"/>
                  </a:lnTo>
                  <a:lnTo>
                    <a:pt x="231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8" y="41"/>
                  </a:lnTo>
                  <a:lnTo>
                    <a:pt x="309" y="63"/>
                  </a:lnTo>
                  <a:lnTo>
                    <a:pt x="327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3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8" y="319"/>
                  </a:lnTo>
                  <a:lnTo>
                    <a:pt x="53" y="299"/>
                  </a:lnTo>
                  <a:lnTo>
                    <a:pt x="31" y="273"/>
                  </a:lnTo>
                  <a:lnTo>
                    <a:pt x="15" y="243"/>
                  </a:lnTo>
                  <a:lnTo>
                    <a:pt x="5" y="210"/>
                  </a:lnTo>
                  <a:lnTo>
                    <a:pt x="0" y="175"/>
                  </a:lnTo>
                  <a:lnTo>
                    <a:pt x="5" y="140"/>
                  </a:lnTo>
                  <a:lnTo>
                    <a:pt x="15" y="107"/>
                  </a:lnTo>
                  <a:lnTo>
                    <a:pt x="31" y="78"/>
                  </a:lnTo>
                  <a:lnTo>
                    <a:pt x="53" y="52"/>
                  </a:lnTo>
                  <a:lnTo>
                    <a:pt x="78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4" name="Freeform 20">
              <a:extLst>
                <a:ext uri="{FF2B5EF4-FFF2-40B4-BE49-F238E27FC236}">
                  <a16:creationId xmlns:a16="http://schemas.microsoft.com/office/drawing/2014/main" id="{6F553FA1-4728-401A-8C20-F18E165CA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80832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2 h 111"/>
                <a:gd name="T10" fmla="*/ 168 w 171"/>
                <a:gd name="T11" fmla="*/ 37 h 111"/>
                <a:gd name="T12" fmla="*/ 171 w 171"/>
                <a:gd name="T13" fmla="*/ 55 h 111"/>
                <a:gd name="T14" fmla="*/ 168 w 171"/>
                <a:gd name="T15" fmla="*/ 72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8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8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2 h 111"/>
                <a:gd name="T34" fmla="*/ 0 w 171"/>
                <a:gd name="T35" fmla="*/ 55 h 111"/>
                <a:gd name="T36" fmla="*/ 2 w 171"/>
                <a:gd name="T37" fmla="*/ 37 h 111"/>
                <a:gd name="T38" fmla="*/ 10 w 171"/>
                <a:gd name="T39" fmla="*/ 22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2"/>
                  </a:lnTo>
                  <a:lnTo>
                    <a:pt x="168" y="37"/>
                  </a:lnTo>
                  <a:lnTo>
                    <a:pt x="171" y="55"/>
                  </a:lnTo>
                  <a:lnTo>
                    <a:pt x="168" y="72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8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8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2"/>
                  </a:lnTo>
                  <a:lnTo>
                    <a:pt x="0" y="55"/>
                  </a:lnTo>
                  <a:lnTo>
                    <a:pt x="2" y="37"/>
                  </a:lnTo>
                  <a:lnTo>
                    <a:pt x="10" y="22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5" name="Freeform 21">
              <a:extLst>
                <a:ext uri="{FF2B5EF4-FFF2-40B4-BE49-F238E27FC236}">
                  <a16:creationId xmlns:a16="http://schemas.microsoft.com/office/drawing/2014/main" id="{2A783787-5E9B-43C9-9BF4-073950C97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95860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3 h 111"/>
                <a:gd name="T10" fmla="*/ 168 w 171"/>
                <a:gd name="T11" fmla="*/ 38 h 111"/>
                <a:gd name="T12" fmla="*/ 171 w 171"/>
                <a:gd name="T13" fmla="*/ 55 h 111"/>
                <a:gd name="T14" fmla="*/ 168 w 171"/>
                <a:gd name="T15" fmla="*/ 74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9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9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4 h 111"/>
                <a:gd name="T34" fmla="*/ 0 w 171"/>
                <a:gd name="T35" fmla="*/ 55 h 111"/>
                <a:gd name="T36" fmla="*/ 2 w 171"/>
                <a:gd name="T37" fmla="*/ 38 h 111"/>
                <a:gd name="T38" fmla="*/ 10 w 171"/>
                <a:gd name="T39" fmla="*/ 23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3"/>
                  </a:lnTo>
                  <a:lnTo>
                    <a:pt x="168" y="38"/>
                  </a:lnTo>
                  <a:lnTo>
                    <a:pt x="171" y="55"/>
                  </a:lnTo>
                  <a:lnTo>
                    <a:pt x="168" y="74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9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9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4"/>
                  </a:lnTo>
                  <a:lnTo>
                    <a:pt x="0" y="55"/>
                  </a:lnTo>
                  <a:lnTo>
                    <a:pt x="2" y="38"/>
                  </a:lnTo>
                  <a:lnTo>
                    <a:pt x="10" y="23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6" name="Freeform 22">
              <a:extLst>
                <a:ext uri="{FF2B5EF4-FFF2-40B4-BE49-F238E27FC236}">
                  <a16:creationId xmlns:a16="http://schemas.microsoft.com/office/drawing/2014/main" id="{6465D05A-ED22-49B3-924E-6DFC4C8C8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8138" y="5997240"/>
              <a:ext cx="283642" cy="307072"/>
            </a:xfrm>
            <a:custGeom>
              <a:avLst/>
              <a:gdLst>
                <a:gd name="T0" fmla="*/ 185 w 3736"/>
                <a:gd name="T1" fmla="*/ 3069 h 3678"/>
                <a:gd name="T2" fmla="*/ 125 w 3736"/>
                <a:gd name="T3" fmla="*/ 3352 h 3678"/>
                <a:gd name="T4" fmla="*/ 325 w 3736"/>
                <a:gd name="T5" fmla="*/ 3554 h 3678"/>
                <a:gd name="T6" fmla="*/ 2002 w 3736"/>
                <a:gd name="T7" fmla="*/ 3518 h 3678"/>
                <a:gd name="T8" fmla="*/ 2140 w 3736"/>
                <a:gd name="T9" fmla="*/ 3266 h 3678"/>
                <a:gd name="T10" fmla="*/ 2002 w 3736"/>
                <a:gd name="T11" fmla="*/ 3013 h 3678"/>
                <a:gd name="T12" fmla="*/ 943 w 3736"/>
                <a:gd name="T13" fmla="*/ 2853 h 3678"/>
                <a:gd name="T14" fmla="*/ 2970 w 3736"/>
                <a:gd name="T15" fmla="*/ 2765 h 3678"/>
                <a:gd name="T16" fmla="*/ 3240 w 3736"/>
                <a:gd name="T17" fmla="*/ 2787 h 3678"/>
                <a:gd name="T18" fmla="*/ 3506 w 3736"/>
                <a:gd name="T19" fmla="*/ 2599 h 3678"/>
                <a:gd name="T20" fmla="*/ 302 w 3736"/>
                <a:gd name="T21" fmla="*/ 2099 h 3678"/>
                <a:gd name="T22" fmla="*/ 333 w 3736"/>
                <a:gd name="T23" fmla="*/ 2613 h 3678"/>
                <a:gd name="T24" fmla="*/ 3524 w 3736"/>
                <a:gd name="T25" fmla="*/ 1966 h 3678"/>
                <a:gd name="T26" fmla="*/ 3542 w 3736"/>
                <a:gd name="T27" fmla="*/ 2077 h 3678"/>
                <a:gd name="T28" fmla="*/ 3622 w 3736"/>
                <a:gd name="T29" fmla="*/ 1998 h 3678"/>
                <a:gd name="T30" fmla="*/ 893 w 3736"/>
                <a:gd name="T31" fmla="*/ 1458 h 3678"/>
                <a:gd name="T32" fmla="*/ 1843 w 3736"/>
                <a:gd name="T33" fmla="*/ 2616 h 3678"/>
                <a:gd name="T34" fmla="*/ 1132 w 3736"/>
                <a:gd name="T35" fmla="*/ 2414 h 3678"/>
                <a:gd name="T36" fmla="*/ 954 w 3736"/>
                <a:gd name="T37" fmla="*/ 2256 h 3678"/>
                <a:gd name="T38" fmla="*/ 1082 w 3736"/>
                <a:gd name="T39" fmla="*/ 2271 h 3678"/>
                <a:gd name="T40" fmla="*/ 1271 w 3736"/>
                <a:gd name="T41" fmla="*/ 1557 h 3678"/>
                <a:gd name="T42" fmla="*/ 1360 w 3736"/>
                <a:gd name="T43" fmla="*/ 1601 h 3678"/>
                <a:gd name="T44" fmla="*/ 1958 w 3736"/>
                <a:gd name="T45" fmla="*/ 2171 h 3678"/>
                <a:gd name="T46" fmla="*/ 1525 w 3736"/>
                <a:gd name="T47" fmla="*/ 1457 h 3678"/>
                <a:gd name="T48" fmla="*/ 2749 w 3736"/>
                <a:gd name="T49" fmla="*/ 361 h 3678"/>
                <a:gd name="T50" fmla="*/ 3541 w 3736"/>
                <a:gd name="T51" fmla="*/ 1844 h 3678"/>
                <a:gd name="T52" fmla="*/ 1658 w 3736"/>
                <a:gd name="T53" fmla="*/ 1439 h 3678"/>
                <a:gd name="T54" fmla="*/ 2419 w 3736"/>
                <a:gd name="T55" fmla="*/ 427 h 3678"/>
                <a:gd name="T56" fmla="*/ 2498 w 3736"/>
                <a:gd name="T57" fmla="*/ 124 h 3678"/>
                <a:gd name="T58" fmla="*/ 2441 w 3736"/>
                <a:gd name="T59" fmla="*/ 287 h 3678"/>
                <a:gd name="T60" fmla="*/ 2599 w 3736"/>
                <a:gd name="T61" fmla="*/ 347 h 3678"/>
                <a:gd name="T62" fmla="*/ 2672 w 3736"/>
                <a:gd name="T63" fmla="*/ 256 h 3678"/>
                <a:gd name="T64" fmla="*/ 2625 w 3736"/>
                <a:gd name="T65" fmla="*/ 136 h 3678"/>
                <a:gd name="T66" fmla="*/ 2665 w 3736"/>
                <a:gd name="T67" fmla="*/ 28 h 3678"/>
                <a:gd name="T68" fmla="*/ 3734 w 3736"/>
                <a:gd name="T69" fmla="*/ 1986 h 3678"/>
                <a:gd name="T70" fmla="*/ 3646 w 3736"/>
                <a:gd name="T71" fmla="*/ 2170 h 3678"/>
                <a:gd name="T72" fmla="*/ 3580 w 3736"/>
                <a:gd name="T73" fmla="*/ 2724 h 3678"/>
                <a:gd name="T74" fmla="*/ 3180 w 3736"/>
                <a:gd name="T75" fmla="*/ 2918 h 3678"/>
                <a:gd name="T76" fmla="*/ 2865 w 3736"/>
                <a:gd name="T77" fmla="*/ 2826 h 3678"/>
                <a:gd name="T78" fmla="*/ 2459 w 3736"/>
                <a:gd name="T79" fmla="*/ 2397 h 3678"/>
                <a:gd name="T80" fmla="*/ 3431 w 3736"/>
                <a:gd name="T81" fmla="*/ 2200 h 3678"/>
                <a:gd name="T82" fmla="*/ 3506 w 3736"/>
                <a:gd name="T83" fmla="*/ 2183 h 3678"/>
                <a:gd name="T84" fmla="*/ 1983 w 3736"/>
                <a:gd name="T85" fmla="*/ 1926 h 3678"/>
                <a:gd name="T86" fmla="*/ 2073 w 3736"/>
                <a:gd name="T87" fmla="*/ 2433 h 3678"/>
                <a:gd name="T88" fmla="*/ 2059 w 3736"/>
                <a:gd name="T89" fmla="*/ 2469 h 3678"/>
                <a:gd name="T90" fmla="*/ 2043 w 3736"/>
                <a:gd name="T91" fmla="*/ 2482 h 3678"/>
                <a:gd name="T92" fmla="*/ 2024 w 3736"/>
                <a:gd name="T93" fmla="*/ 2489 h 3678"/>
                <a:gd name="T94" fmla="*/ 1942 w 3736"/>
                <a:gd name="T95" fmla="*/ 2705 h 3678"/>
                <a:gd name="T96" fmla="*/ 1890 w 3736"/>
                <a:gd name="T97" fmla="*/ 2857 h 3678"/>
                <a:gd name="T98" fmla="*/ 2177 w 3736"/>
                <a:gd name="T99" fmla="*/ 3030 h 3678"/>
                <a:gd name="T100" fmla="*/ 2238 w 3736"/>
                <a:gd name="T101" fmla="*/ 3367 h 3678"/>
                <a:gd name="T102" fmla="*/ 2032 w 3736"/>
                <a:gd name="T103" fmla="*/ 3630 h 3678"/>
                <a:gd name="T104" fmla="*/ 311 w 3736"/>
                <a:gd name="T105" fmla="*/ 3666 h 3678"/>
                <a:gd name="T106" fmla="*/ 49 w 3736"/>
                <a:gd name="T107" fmla="*/ 3460 h 3678"/>
                <a:gd name="T108" fmla="*/ 28 w 3736"/>
                <a:gd name="T109" fmla="*/ 3116 h 3678"/>
                <a:gd name="T110" fmla="*/ 263 w 3736"/>
                <a:gd name="T111" fmla="*/ 2882 h 3678"/>
                <a:gd name="T112" fmla="*/ 317 w 3736"/>
                <a:gd name="T113" fmla="*/ 2724 h 3678"/>
                <a:gd name="T114" fmla="*/ 178 w 3736"/>
                <a:gd name="T115" fmla="*/ 2553 h 3678"/>
                <a:gd name="T116" fmla="*/ 284 w 3736"/>
                <a:gd name="T117" fmla="*/ 1975 h 3678"/>
                <a:gd name="T118" fmla="*/ 740 w 3736"/>
                <a:gd name="T119" fmla="*/ 1477 h 3678"/>
                <a:gd name="T120" fmla="*/ 963 w 3736"/>
                <a:gd name="T121" fmla="*/ 1310 h 3678"/>
                <a:gd name="T122" fmla="*/ 2410 w 3736"/>
                <a:gd name="T123" fmla="*/ 48 h 3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6" h="3678">
                  <a:moveTo>
                    <a:pt x="413" y="2964"/>
                  </a:moveTo>
                  <a:lnTo>
                    <a:pt x="367" y="2968"/>
                  </a:lnTo>
                  <a:lnTo>
                    <a:pt x="325" y="2978"/>
                  </a:lnTo>
                  <a:lnTo>
                    <a:pt x="286" y="2993"/>
                  </a:lnTo>
                  <a:lnTo>
                    <a:pt x="248" y="3013"/>
                  </a:lnTo>
                  <a:lnTo>
                    <a:pt x="215" y="3039"/>
                  </a:lnTo>
                  <a:lnTo>
                    <a:pt x="185" y="3069"/>
                  </a:lnTo>
                  <a:lnTo>
                    <a:pt x="160" y="3102"/>
                  </a:lnTo>
                  <a:lnTo>
                    <a:pt x="139" y="3139"/>
                  </a:lnTo>
                  <a:lnTo>
                    <a:pt x="125" y="3179"/>
                  </a:lnTo>
                  <a:lnTo>
                    <a:pt x="114" y="3222"/>
                  </a:lnTo>
                  <a:lnTo>
                    <a:pt x="111" y="3266"/>
                  </a:lnTo>
                  <a:lnTo>
                    <a:pt x="114" y="3310"/>
                  </a:lnTo>
                  <a:lnTo>
                    <a:pt x="125" y="3352"/>
                  </a:lnTo>
                  <a:lnTo>
                    <a:pt x="139" y="3393"/>
                  </a:lnTo>
                  <a:lnTo>
                    <a:pt x="160" y="3430"/>
                  </a:lnTo>
                  <a:lnTo>
                    <a:pt x="185" y="3464"/>
                  </a:lnTo>
                  <a:lnTo>
                    <a:pt x="215" y="3493"/>
                  </a:lnTo>
                  <a:lnTo>
                    <a:pt x="248" y="3518"/>
                  </a:lnTo>
                  <a:lnTo>
                    <a:pt x="286" y="3538"/>
                  </a:lnTo>
                  <a:lnTo>
                    <a:pt x="325" y="3554"/>
                  </a:lnTo>
                  <a:lnTo>
                    <a:pt x="367" y="3563"/>
                  </a:lnTo>
                  <a:lnTo>
                    <a:pt x="413" y="3567"/>
                  </a:lnTo>
                  <a:lnTo>
                    <a:pt x="1838" y="3567"/>
                  </a:lnTo>
                  <a:lnTo>
                    <a:pt x="1882" y="3563"/>
                  </a:lnTo>
                  <a:lnTo>
                    <a:pt x="1925" y="3554"/>
                  </a:lnTo>
                  <a:lnTo>
                    <a:pt x="1965" y="3538"/>
                  </a:lnTo>
                  <a:lnTo>
                    <a:pt x="2002" y="3518"/>
                  </a:lnTo>
                  <a:lnTo>
                    <a:pt x="2035" y="3493"/>
                  </a:lnTo>
                  <a:lnTo>
                    <a:pt x="2065" y="3464"/>
                  </a:lnTo>
                  <a:lnTo>
                    <a:pt x="2091" y="3430"/>
                  </a:lnTo>
                  <a:lnTo>
                    <a:pt x="2111" y="3393"/>
                  </a:lnTo>
                  <a:lnTo>
                    <a:pt x="2126" y="3352"/>
                  </a:lnTo>
                  <a:lnTo>
                    <a:pt x="2136" y="3310"/>
                  </a:lnTo>
                  <a:lnTo>
                    <a:pt x="2140" y="3266"/>
                  </a:lnTo>
                  <a:lnTo>
                    <a:pt x="2136" y="3222"/>
                  </a:lnTo>
                  <a:lnTo>
                    <a:pt x="2126" y="3179"/>
                  </a:lnTo>
                  <a:lnTo>
                    <a:pt x="2111" y="3139"/>
                  </a:lnTo>
                  <a:lnTo>
                    <a:pt x="2091" y="3102"/>
                  </a:lnTo>
                  <a:lnTo>
                    <a:pt x="2065" y="3069"/>
                  </a:lnTo>
                  <a:lnTo>
                    <a:pt x="2035" y="3039"/>
                  </a:lnTo>
                  <a:lnTo>
                    <a:pt x="2002" y="3013"/>
                  </a:lnTo>
                  <a:lnTo>
                    <a:pt x="1965" y="2993"/>
                  </a:lnTo>
                  <a:lnTo>
                    <a:pt x="1925" y="2978"/>
                  </a:lnTo>
                  <a:lnTo>
                    <a:pt x="1882" y="2968"/>
                  </a:lnTo>
                  <a:lnTo>
                    <a:pt x="1838" y="2964"/>
                  </a:lnTo>
                  <a:lnTo>
                    <a:pt x="413" y="2964"/>
                  </a:lnTo>
                  <a:close/>
                  <a:moveTo>
                    <a:pt x="943" y="2727"/>
                  </a:moveTo>
                  <a:lnTo>
                    <a:pt x="943" y="2853"/>
                  </a:lnTo>
                  <a:lnTo>
                    <a:pt x="1307" y="2853"/>
                  </a:lnTo>
                  <a:lnTo>
                    <a:pt x="1307" y="2727"/>
                  </a:lnTo>
                  <a:lnTo>
                    <a:pt x="943" y="2727"/>
                  </a:lnTo>
                  <a:close/>
                  <a:moveTo>
                    <a:pt x="3407" y="2328"/>
                  </a:moveTo>
                  <a:lnTo>
                    <a:pt x="2754" y="2590"/>
                  </a:lnTo>
                  <a:lnTo>
                    <a:pt x="2936" y="2741"/>
                  </a:lnTo>
                  <a:lnTo>
                    <a:pt x="2970" y="2765"/>
                  </a:lnTo>
                  <a:lnTo>
                    <a:pt x="3005" y="2783"/>
                  </a:lnTo>
                  <a:lnTo>
                    <a:pt x="3042" y="2797"/>
                  </a:lnTo>
                  <a:lnTo>
                    <a:pt x="3081" y="2806"/>
                  </a:lnTo>
                  <a:lnTo>
                    <a:pt x="3121" y="2809"/>
                  </a:lnTo>
                  <a:lnTo>
                    <a:pt x="3161" y="2808"/>
                  </a:lnTo>
                  <a:lnTo>
                    <a:pt x="3201" y="2800"/>
                  </a:lnTo>
                  <a:lnTo>
                    <a:pt x="3240" y="2787"/>
                  </a:lnTo>
                  <a:lnTo>
                    <a:pt x="3429" y="2711"/>
                  </a:lnTo>
                  <a:lnTo>
                    <a:pt x="3452" y="2700"/>
                  </a:lnTo>
                  <a:lnTo>
                    <a:pt x="3470" y="2684"/>
                  </a:lnTo>
                  <a:lnTo>
                    <a:pt x="3485" y="2666"/>
                  </a:lnTo>
                  <a:lnTo>
                    <a:pt x="3496" y="2646"/>
                  </a:lnTo>
                  <a:lnTo>
                    <a:pt x="3504" y="2623"/>
                  </a:lnTo>
                  <a:lnTo>
                    <a:pt x="3506" y="2599"/>
                  </a:lnTo>
                  <a:lnTo>
                    <a:pt x="3504" y="2575"/>
                  </a:lnTo>
                  <a:lnTo>
                    <a:pt x="3497" y="2551"/>
                  </a:lnTo>
                  <a:lnTo>
                    <a:pt x="3407" y="2328"/>
                  </a:lnTo>
                  <a:close/>
                  <a:moveTo>
                    <a:pt x="353" y="2073"/>
                  </a:moveTo>
                  <a:lnTo>
                    <a:pt x="333" y="2076"/>
                  </a:lnTo>
                  <a:lnTo>
                    <a:pt x="315" y="2085"/>
                  </a:lnTo>
                  <a:lnTo>
                    <a:pt x="302" y="2099"/>
                  </a:lnTo>
                  <a:lnTo>
                    <a:pt x="292" y="2116"/>
                  </a:lnTo>
                  <a:lnTo>
                    <a:pt x="289" y="2136"/>
                  </a:lnTo>
                  <a:lnTo>
                    <a:pt x="289" y="2553"/>
                  </a:lnTo>
                  <a:lnTo>
                    <a:pt x="292" y="2572"/>
                  </a:lnTo>
                  <a:lnTo>
                    <a:pt x="302" y="2590"/>
                  </a:lnTo>
                  <a:lnTo>
                    <a:pt x="315" y="2604"/>
                  </a:lnTo>
                  <a:lnTo>
                    <a:pt x="333" y="2613"/>
                  </a:lnTo>
                  <a:lnTo>
                    <a:pt x="353" y="2616"/>
                  </a:lnTo>
                  <a:lnTo>
                    <a:pt x="713" y="2616"/>
                  </a:lnTo>
                  <a:lnTo>
                    <a:pt x="713" y="2073"/>
                  </a:lnTo>
                  <a:lnTo>
                    <a:pt x="353" y="2073"/>
                  </a:lnTo>
                  <a:close/>
                  <a:moveTo>
                    <a:pt x="3562" y="1955"/>
                  </a:moveTo>
                  <a:lnTo>
                    <a:pt x="3542" y="1957"/>
                  </a:lnTo>
                  <a:lnTo>
                    <a:pt x="3524" y="1966"/>
                  </a:lnTo>
                  <a:lnTo>
                    <a:pt x="3511" y="1980"/>
                  </a:lnTo>
                  <a:lnTo>
                    <a:pt x="3502" y="1998"/>
                  </a:lnTo>
                  <a:lnTo>
                    <a:pt x="3498" y="2017"/>
                  </a:lnTo>
                  <a:lnTo>
                    <a:pt x="3502" y="2038"/>
                  </a:lnTo>
                  <a:lnTo>
                    <a:pt x="3511" y="2055"/>
                  </a:lnTo>
                  <a:lnTo>
                    <a:pt x="3524" y="2068"/>
                  </a:lnTo>
                  <a:lnTo>
                    <a:pt x="3542" y="2077"/>
                  </a:lnTo>
                  <a:lnTo>
                    <a:pt x="3562" y="2081"/>
                  </a:lnTo>
                  <a:lnTo>
                    <a:pt x="3582" y="2077"/>
                  </a:lnTo>
                  <a:lnTo>
                    <a:pt x="3599" y="2068"/>
                  </a:lnTo>
                  <a:lnTo>
                    <a:pt x="3613" y="2055"/>
                  </a:lnTo>
                  <a:lnTo>
                    <a:pt x="3622" y="2038"/>
                  </a:lnTo>
                  <a:lnTo>
                    <a:pt x="3625" y="2017"/>
                  </a:lnTo>
                  <a:lnTo>
                    <a:pt x="3622" y="1998"/>
                  </a:lnTo>
                  <a:lnTo>
                    <a:pt x="3613" y="1980"/>
                  </a:lnTo>
                  <a:lnTo>
                    <a:pt x="3599" y="1966"/>
                  </a:lnTo>
                  <a:lnTo>
                    <a:pt x="3582" y="1957"/>
                  </a:lnTo>
                  <a:lnTo>
                    <a:pt x="3562" y="1955"/>
                  </a:lnTo>
                  <a:close/>
                  <a:moveTo>
                    <a:pt x="950" y="1428"/>
                  </a:moveTo>
                  <a:lnTo>
                    <a:pt x="921" y="1441"/>
                  </a:lnTo>
                  <a:lnTo>
                    <a:pt x="893" y="1458"/>
                  </a:lnTo>
                  <a:lnTo>
                    <a:pt x="871" y="1481"/>
                  </a:lnTo>
                  <a:lnTo>
                    <a:pt x="851" y="1507"/>
                  </a:lnTo>
                  <a:lnTo>
                    <a:pt x="837" y="1536"/>
                  </a:lnTo>
                  <a:lnTo>
                    <a:pt x="828" y="1568"/>
                  </a:lnTo>
                  <a:lnTo>
                    <a:pt x="824" y="1601"/>
                  </a:lnTo>
                  <a:lnTo>
                    <a:pt x="824" y="2616"/>
                  </a:lnTo>
                  <a:lnTo>
                    <a:pt x="1843" y="2616"/>
                  </a:lnTo>
                  <a:lnTo>
                    <a:pt x="1843" y="2489"/>
                  </a:lnTo>
                  <a:lnTo>
                    <a:pt x="1556" y="2489"/>
                  </a:lnTo>
                  <a:lnTo>
                    <a:pt x="1468" y="2487"/>
                  </a:lnTo>
                  <a:lnTo>
                    <a:pt x="1382" y="2478"/>
                  </a:lnTo>
                  <a:lnTo>
                    <a:pt x="1297" y="2462"/>
                  </a:lnTo>
                  <a:lnTo>
                    <a:pt x="1213" y="2441"/>
                  </a:lnTo>
                  <a:lnTo>
                    <a:pt x="1132" y="2414"/>
                  </a:lnTo>
                  <a:lnTo>
                    <a:pt x="1050" y="2382"/>
                  </a:lnTo>
                  <a:lnTo>
                    <a:pt x="1026" y="2369"/>
                  </a:lnTo>
                  <a:lnTo>
                    <a:pt x="1005" y="2352"/>
                  </a:lnTo>
                  <a:lnTo>
                    <a:pt x="985" y="2331"/>
                  </a:lnTo>
                  <a:lnTo>
                    <a:pt x="971" y="2309"/>
                  </a:lnTo>
                  <a:lnTo>
                    <a:pt x="960" y="2284"/>
                  </a:lnTo>
                  <a:lnTo>
                    <a:pt x="954" y="2256"/>
                  </a:lnTo>
                  <a:lnTo>
                    <a:pt x="950" y="2228"/>
                  </a:lnTo>
                  <a:lnTo>
                    <a:pt x="950" y="1428"/>
                  </a:lnTo>
                  <a:close/>
                  <a:moveTo>
                    <a:pt x="1062" y="1419"/>
                  </a:moveTo>
                  <a:lnTo>
                    <a:pt x="1062" y="2228"/>
                  </a:lnTo>
                  <a:lnTo>
                    <a:pt x="1065" y="2245"/>
                  </a:lnTo>
                  <a:lnTo>
                    <a:pt x="1071" y="2259"/>
                  </a:lnTo>
                  <a:lnTo>
                    <a:pt x="1082" y="2271"/>
                  </a:lnTo>
                  <a:lnTo>
                    <a:pt x="1095" y="2280"/>
                  </a:lnTo>
                  <a:lnTo>
                    <a:pt x="1171" y="2311"/>
                  </a:lnTo>
                  <a:lnTo>
                    <a:pt x="1248" y="2335"/>
                  </a:lnTo>
                  <a:lnTo>
                    <a:pt x="1248" y="1601"/>
                  </a:lnTo>
                  <a:lnTo>
                    <a:pt x="1251" y="1584"/>
                  </a:lnTo>
                  <a:lnTo>
                    <a:pt x="1259" y="1568"/>
                  </a:lnTo>
                  <a:lnTo>
                    <a:pt x="1271" y="1557"/>
                  </a:lnTo>
                  <a:lnTo>
                    <a:pt x="1286" y="1549"/>
                  </a:lnTo>
                  <a:lnTo>
                    <a:pt x="1304" y="1545"/>
                  </a:lnTo>
                  <a:lnTo>
                    <a:pt x="1321" y="1549"/>
                  </a:lnTo>
                  <a:lnTo>
                    <a:pt x="1337" y="1557"/>
                  </a:lnTo>
                  <a:lnTo>
                    <a:pt x="1348" y="1568"/>
                  </a:lnTo>
                  <a:lnTo>
                    <a:pt x="1356" y="1584"/>
                  </a:lnTo>
                  <a:lnTo>
                    <a:pt x="1360" y="1601"/>
                  </a:lnTo>
                  <a:lnTo>
                    <a:pt x="1360" y="2361"/>
                  </a:lnTo>
                  <a:lnTo>
                    <a:pt x="1424" y="2370"/>
                  </a:lnTo>
                  <a:lnTo>
                    <a:pt x="1490" y="2376"/>
                  </a:lnTo>
                  <a:lnTo>
                    <a:pt x="1556" y="2378"/>
                  </a:lnTo>
                  <a:lnTo>
                    <a:pt x="1961" y="2378"/>
                  </a:lnTo>
                  <a:lnTo>
                    <a:pt x="1961" y="2221"/>
                  </a:lnTo>
                  <a:lnTo>
                    <a:pt x="1958" y="2171"/>
                  </a:lnTo>
                  <a:lnTo>
                    <a:pt x="1949" y="2123"/>
                  </a:lnTo>
                  <a:lnTo>
                    <a:pt x="1936" y="2076"/>
                  </a:lnTo>
                  <a:lnTo>
                    <a:pt x="1915" y="2031"/>
                  </a:lnTo>
                  <a:lnTo>
                    <a:pt x="1890" y="1988"/>
                  </a:lnTo>
                  <a:lnTo>
                    <a:pt x="1566" y="1500"/>
                  </a:lnTo>
                  <a:lnTo>
                    <a:pt x="1547" y="1477"/>
                  </a:lnTo>
                  <a:lnTo>
                    <a:pt x="1525" y="1457"/>
                  </a:lnTo>
                  <a:lnTo>
                    <a:pt x="1500" y="1441"/>
                  </a:lnTo>
                  <a:lnTo>
                    <a:pt x="1473" y="1428"/>
                  </a:lnTo>
                  <a:lnTo>
                    <a:pt x="1445" y="1422"/>
                  </a:lnTo>
                  <a:lnTo>
                    <a:pt x="1414" y="1419"/>
                  </a:lnTo>
                  <a:lnTo>
                    <a:pt x="1062" y="1419"/>
                  </a:lnTo>
                  <a:close/>
                  <a:moveTo>
                    <a:pt x="2753" y="353"/>
                  </a:moveTo>
                  <a:lnTo>
                    <a:pt x="2749" y="361"/>
                  </a:lnTo>
                  <a:lnTo>
                    <a:pt x="2571" y="659"/>
                  </a:lnTo>
                  <a:lnTo>
                    <a:pt x="3419" y="1917"/>
                  </a:lnTo>
                  <a:lnTo>
                    <a:pt x="3437" y="1895"/>
                  </a:lnTo>
                  <a:lnTo>
                    <a:pt x="3460" y="1876"/>
                  </a:lnTo>
                  <a:lnTo>
                    <a:pt x="3485" y="1861"/>
                  </a:lnTo>
                  <a:lnTo>
                    <a:pt x="3512" y="1850"/>
                  </a:lnTo>
                  <a:lnTo>
                    <a:pt x="3541" y="1844"/>
                  </a:lnTo>
                  <a:lnTo>
                    <a:pt x="2753" y="353"/>
                  </a:lnTo>
                  <a:close/>
                  <a:moveTo>
                    <a:pt x="2334" y="320"/>
                  </a:moveTo>
                  <a:lnTo>
                    <a:pt x="1562" y="1348"/>
                  </a:lnTo>
                  <a:lnTo>
                    <a:pt x="1590" y="1366"/>
                  </a:lnTo>
                  <a:lnTo>
                    <a:pt x="1616" y="1387"/>
                  </a:lnTo>
                  <a:lnTo>
                    <a:pt x="1638" y="1411"/>
                  </a:lnTo>
                  <a:lnTo>
                    <a:pt x="1658" y="1439"/>
                  </a:lnTo>
                  <a:lnTo>
                    <a:pt x="1827" y="1690"/>
                  </a:lnTo>
                  <a:lnTo>
                    <a:pt x="2555" y="467"/>
                  </a:lnTo>
                  <a:lnTo>
                    <a:pt x="2551" y="467"/>
                  </a:lnTo>
                  <a:lnTo>
                    <a:pt x="2515" y="465"/>
                  </a:lnTo>
                  <a:lnTo>
                    <a:pt x="2481" y="457"/>
                  </a:lnTo>
                  <a:lnTo>
                    <a:pt x="2448" y="444"/>
                  </a:lnTo>
                  <a:lnTo>
                    <a:pt x="2419" y="427"/>
                  </a:lnTo>
                  <a:lnTo>
                    <a:pt x="2391" y="405"/>
                  </a:lnTo>
                  <a:lnTo>
                    <a:pt x="2369" y="380"/>
                  </a:lnTo>
                  <a:lnTo>
                    <a:pt x="2349" y="351"/>
                  </a:lnTo>
                  <a:lnTo>
                    <a:pt x="2334" y="320"/>
                  </a:lnTo>
                  <a:close/>
                  <a:moveTo>
                    <a:pt x="2551" y="111"/>
                  </a:moveTo>
                  <a:lnTo>
                    <a:pt x="2523" y="115"/>
                  </a:lnTo>
                  <a:lnTo>
                    <a:pt x="2498" y="124"/>
                  </a:lnTo>
                  <a:lnTo>
                    <a:pt x="2475" y="138"/>
                  </a:lnTo>
                  <a:lnTo>
                    <a:pt x="2456" y="157"/>
                  </a:lnTo>
                  <a:lnTo>
                    <a:pt x="2441" y="180"/>
                  </a:lnTo>
                  <a:lnTo>
                    <a:pt x="2432" y="205"/>
                  </a:lnTo>
                  <a:lnTo>
                    <a:pt x="2429" y="234"/>
                  </a:lnTo>
                  <a:lnTo>
                    <a:pt x="2432" y="262"/>
                  </a:lnTo>
                  <a:lnTo>
                    <a:pt x="2441" y="287"/>
                  </a:lnTo>
                  <a:lnTo>
                    <a:pt x="2456" y="311"/>
                  </a:lnTo>
                  <a:lnTo>
                    <a:pt x="2475" y="329"/>
                  </a:lnTo>
                  <a:lnTo>
                    <a:pt x="2498" y="344"/>
                  </a:lnTo>
                  <a:lnTo>
                    <a:pt x="2523" y="353"/>
                  </a:lnTo>
                  <a:lnTo>
                    <a:pt x="2551" y="356"/>
                  </a:lnTo>
                  <a:lnTo>
                    <a:pt x="2576" y="354"/>
                  </a:lnTo>
                  <a:lnTo>
                    <a:pt x="2599" y="347"/>
                  </a:lnTo>
                  <a:lnTo>
                    <a:pt x="2619" y="336"/>
                  </a:lnTo>
                  <a:lnTo>
                    <a:pt x="2638" y="321"/>
                  </a:lnTo>
                  <a:lnTo>
                    <a:pt x="2653" y="303"/>
                  </a:lnTo>
                  <a:lnTo>
                    <a:pt x="2656" y="298"/>
                  </a:lnTo>
                  <a:lnTo>
                    <a:pt x="2657" y="297"/>
                  </a:lnTo>
                  <a:lnTo>
                    <a:pt x="2666" y="278"/>
                  </a:lnTo>
                  <a:lnTo>
                    <a:pt x="2672" y="256"/>
                  </a:lnTo>
                  <a:lnTo>
                    <a:pt x="2674" y="234"/>
                  </a:lnTo>
                  <a:lnTo>
                    <a:pt x="2672" y="210"/>
                  </a:lnTo>
                  <a:lnTo>
                    <a:pt x="2665" y="187"/>
                  </a:lnTo>
                  <a:lnTo>
                    <a:pt x="2661" y="180"/>
                  </a:lnTo>
                  <a:lnTo>
                    <a:pt x="2658" y="174"/>
                  </a:lnTo>
                  <a:lnTo>
                    <a:pt x="2643" y="153"/>
                  </a:lnTo>
                  <a:lnTo>
                    <a:pt x="2625" y="136"/>
                  </a:lnTo>
                  <a:lnTo>
                    <a:pt x="2603" y="123"/>
                  </a:lnTo>
                  <a:lnTo>
                    <a:pt x="2579" y="115"/>
                  </a:lnTo>
                  <a:lnTo>
                    <a:pt x="2551" y="111"/>
                  </a:lnTo>
                  <a:close/>
                  <a:moveTo>
                    <a:pt x="2551" y="0"/>
                  </a:moveTo>
                  <a:lnTo>
                    <a:pt x="2591" y="3"/>
                  </a:lnTo>
                  <a:lnTo>
                    <a:pt x="2630" y="12"/>
                  </a:lnTo>
                  <a:lnTo>
                    <a:pt x="2665" y="28"/>
                  </a:lnTo>
                  <a:lnTo>
                    <a:pt x="2696" y="50"/>
                  </a:lnTo>
                  <a:lnTo>
                    <a:pt x="2724" y="75"/>
                  </a:lnTo>
                  <a:lnTo>
                    <a:pt x="2747" y="106"/>
                  </a:lnTo>
                  <a:lnTo>
                    <a:pt x="2766" y="138"/>
                  </a:lnTo>
                  <a:lnTo>
                    <a:pt x="3713" y="1930"/>
                  </a:lnTo>
                  <a:lnTo>
                    <a:pt x="3726" y="1957"/>
                  </a:lnTo>
                  <a:lnTo>
                    <a:pt x="3734" y="1986"/>
                  </a:lnTo>
                  <a:lnTo>
                    <a:pt x="3736" y="2017"/>
                  </a:lnTo>
                  <a:lnTo>
                    <a:pt x="3733" y="2050"/>
                  </a:lnTo>
                  <a:lnTo>
                    <a:pt x="3725" y="2080"/>
                  </a:lnTo>
                  <a:lnTo>
                    <a:pt x="3711" y="2108"/>
                  </a:lnTo>
                  <a:lnTo>
                    <a:pt x="3693" y="2132"/>
                  </a:lnTo>
                  <a:lnTo>
                    <a:pt x="3672" y="2153"/>
                  </a:lnTo>
                  <a:lnTo>
                    <a:pt x="3646" y="2170"/>
                  </a:lnTo>
                  <a:lnTo>
                    <a:pt x="3617" y="2183"/>
                  </a:lnTo>
                  <a:lnTo>
                    <a:pt x="3617" y="2612"/>
                  </a:lnTo>
                  <a:lnTo>
                    <a:pt x="3617" y="2620"/>
                  </a:lnTo>
                  <a:lnTo>
                    <a:pt x="3616" y="2626"/>
                  </a:lnTo>
                  <a:lnTo>
                    <a:pt x="3609" y="2660"/>
                  </a:lnTo>
                  <a:lnTo>
                    <a:pt x="3597" y="2693"/>
                  </a:lnTo>
                  <a:lnTo>
                    <a:pt x="3580" y="2724"/>
                  </a:lnTo>
                  <a:lnTo>
                    <a:pt x="3559" y="2752"/>
                  </a:lnTo>
                  <a:lnTo>
                    <a:pt x="3533" y="2777"/>
                  </a:lnTo>
                  <a:lnTo>
                    <a:pt x="3504" y="2799"/>
                  </a:lnTo>
                  <a:lnTo>
                    <a:pt x="3471" y="2815"/>
                  </a:lnTo>
                  <a:lnTo>
                    <a:pt x="3282" y="2891"/>
                  </a:lnTo>
                  <a:lnTo>
                    <a:pt x="3231" y="2908"/>
                  </a:lnTo>
                  <a:lnTo>
                    <a:pt x="3180" y="2918"/>
                  </a:lnTo>
                  <a:lnTo>
                    <a:pt x="3127" y="2920"/>
                  </a:lnTo>
                  <a:lnTo>
                    <a:pt x="3081" y="2918"/>
                  </a:lnTo>
                  <a:lnTo>
                    <a:pt x="3034" y="2910"/>
                  </a:lnTo>
                  <a:lnTo>
                    <a:pt x="2989" y="2896"/>
                  </a:lnTo>
                  <a:lnTo>
                    <a:pt x="2946" y="2878"/>
                  </a:lnTo>
                  <a:lnTo>
                    <a:pt x="2904" y="2855"/>
                  </a:lnTo>
                  <a:lnTo>
                    <a:pt x="2865" y="2826"/>
                  </a:lnTo>
                  <a:lnTo>
                    <a:pt x="2454" y="2487"/>
                  </a:lnTo>
                  <a:lnTo>
                    <a:pt x="2442" y="2474"/>
                  </a:lnTo>
                  <a:lnTo>
                    <a:pt x="2436" y="2458"/>
                  </a:lnTo>
                  <a:lnTo>
                    <a:pt x="2433" y="2441"/>
                  </a:lnTo>
                  <a:lnTo>
                    <a:pt x="2438" y="2424"/>
                  </a:lnTo>
                  <a:lnTo>
                    <a:pt x="2447" y="2409"/>
                  </a:lnTo>
                  <a:lnTo>
                    <a:pt x="2459" y="2397"/>
                  </a:lnTo>
                  <a:lnTo>
                    <a:pt x="2475" y="2390"/>
                  </a:lnTo>
                  <a:lnTo>
                    <a:pt x="2492" y="2388"/>
                  </a:lnTo>
                  <a:lnTo>
                    <a:pt x="2509" y="2393"/>
                  </a:lnTo>
                  <a:lnTo>
                    <a:pt x="2525" y="2402"/>
                  </a:lnTo>
                  <a:lnTo>
                    <a:pt x="2656" y="2509"/>
                  </a:lnTo>
                  <a:lnTo>
                    <a:pt x="3418" y="2203"/>
                  </a:lnTo>
                  <a:lnTo>
                    <a:pt x="3431" y="2200"/>
                  </a:lnTo>
                  <a:lnTo>
                    <a:pt x="3446" y="2200"/>
                  </a:lnTo>
                  <a:lnTo>
                    <a:pt x="3460" y="2204"/>
                  </a:lnTo>
                  <a:lnTo>
                    <a:pt x="3472" y="2211"/>
                  </a:lnTo>
                  <a:lnTo>
                    <a:pt x="3482" y="2221"/>
                  </a:lnTo>
                  <a:lnTo>
                    <a:pt x="3490" y="2235"/>
                  </a:lnTo>
                  <a:lnTo>
                    <a:pt x="3506" y="2275"/>
                  </a:lnTo>
                  <a:lnTo>
                    <a:pt x="3506" y="2183"/>
                  </a:lnTo>
                  <a:lnTo>
                    <a:pt x="3478" y="2170"/>
                  </a:lnTo>
                  <a:lnTo>
                    <a:pt x="3452" y="2152"/>
                  </a:lnTo>
                  <a:lnTo>
                    <a:pt x="3429" y="2131"/>
                  </a:lnTo>
                  <a:lnTo>
                    <a:pt x="3411" y="2106"/>
                  </a:lnTo>
                  <a:lnTo>
                    <a:pt x="2507" y="766"/>
                  </a:lnTo>
                  <a:lnTo>
                    <a:pt x="1895" y="1794"/>
                  </a:lnTo>
                  <a:lnTo>
                    <a:pt x="1983" y="1926"/>
                  </a:lnTo>
                  <a:lnTo>
                    <a:pt x="2010" y="1971"/>
                  </a:lnTo>
                  <a:lnTo>
                    <a:pt x="2032" y="2018"/>
                  </a:lnTo>
                  <a:lnTo>
                    <a:pt x="2050" y="2067"/>
                  </a:lnTo>
                  <a:lnTo>
                    <a:pt x="2063" y="2117"/>
                  </a:lnTo>
                  <a:lnTo>
                    <a:pt x="2069" y="2168"/>
                  </a:lnTo>
                  <a:lnTo>
                    <a:pt x="2073" y="2221"/>
                  </a:lnTo>
                  <a:lnTo>
                    <a:pt x="2073" y="2433"/>
                  </a:lnTo>
                  <a:lnTo>
                    <a:pt x="2072" y="2441"/>
                  </a:lnTo>
                  <a:lnTo>
                    <a:pt x="2069" y="2452"/>
                  </a:lnTo>
                  <a:lnTo>
                    <a:pt x="2066" y="2460"/>
                  </a:lnTo>
                  <a:lnTo>
                    <a:pt x="2064" y="2463"/>
                  </a:lnTo>
                  <a:lnTo>
                    <a:pt x="2063" y="2465"/>
                  </a:lnTo>
                  <a:lnTo>
                    <a:pt x="2060" y="2469"/>
                  </a:lnTo>
                  <a:lnTo>
                    <a:pt x="2059" y="2469"/>
                  </a:lnTo>
                  <a:lnTo>
                    <a:pt x="2058" y="2471"/>
                  </a:lnTo>
                  <a:lnTo>
                    <a:pt x="2056" y="2473"/>
                  </a:lnTo>
                  <a:lnTo>
                    <a:pt x="2055" y="2474"/>
                  </a:lnTo>
                  <a:lnTo>
                    <a:pt x="2052" y="2477"/>
                  </a:lnTo>
                  <a:lnTo>
                    <a:pt x="2050" y="2478"/>
                  </a:lnTo>
                  <a:lnTo>
                    <a:pt x="2048" y="2480"/>
                  </a:lnTo>
                  <a:lnTo>
                    <a:pt x="2043" y="2482"/>
                  </a:lnTo>
                  <a:lnTo>
                    <a:pt x="2039" y="2485"/>
                  </a:lnTo>
                  <a:lnTo>
                    <a:pt x="2039" y="2485"/>
                  </a:lnTo>
                  <a:lnTo>
                    <a:pt x="2035" y="2486"/>
                  </a:lnTo>
                  <a:lnTo>
                    <a:pt x="2033" y="2487"/>
                  </a:lnTo>
                  <a:lnTo>
                    <a:pt x="2031" y="2488"/>
                  </a:lnTo>
                  <a:lnTo>
                    <a:pt x="2027" y="2488"/>
                  </a:lnTo>
                  <a:lnTo>
                    <a:pt x="2024" y="2489"/>
                  </a:lnTo>
                  <a:lnTo>
                    <a:pt x="2023" y="2489"/>
                  </a:lnTo>
                  <a:lnTo>
                    <a:pt x="2019" y="2489"/>
                  </a:lnTo>
                  <a:lnTo>
                    <a:pt x="2017" y="2489"/>
                  </a:lnTo>
                  <a:lnTo>
                    <a:pt x="1954" y="2489"/>
                  </a:lnTo>
                  <a:lnTo>
                    <a:pt x="1954" y="2672"/>
                  </a:lnTo>
                  <a:lnTo>
                    <a:pt x="1950" y="2689"/>
                  </a:lnTo>
                  <a:lnTo>
                    <a:pt x="1942" y="2705"/>
                  </a:lnTo>
                  <a:lnTo>
                    <a:pt x="1931" y="2716"/>
                  </a:lnTo>
                  <a:lnTo>
                    <a:pt x="1915" y="2724"/>
                  </a:lnTo>
                  <a:lnTo>
                    <a:pt x="1898" y="2727"/>
                  </a:lnTo>
                  <a:lnTo>
                    <a:pt x="1418" y="2727"/>
                  </a:lnTo>
                  <a:lnTo>
                    <a:pt x="1418" y="2853"/>
                  </a:lnTo>
                  <a:lnTo>
                    <a:pt x="1838" y="2853"/>
                  </a:lnTo>
                  <a:lnTo>
                    <a:pt x="1890" y="2857"/>
                  </a:lnTo>
                  <a:lnTo>
                    <a:pt x="1940" y="2866"/>
                  </a:lnTo>
                  <a:lnTo>
                    <a:pt x="1988" y="2882"/>
                  </a:lnTo>
                  <a:lnTo>
                    <a:pt x="2032" y="2902"/>
                  </a:lnTo>
                  <a:lnTo>
                    <a:pt x="2074" y="2927"/>
                  </a:lnTo>
                  <a:lnTo>
                    <a:pt x="2112" y="2958"/>
                  </a:lnTo>
                  <a:lnTo>
                    <a:pt x="2146" y="2992"/>
                  </a:lnTo>
                  <a:lnTo>
                    <a:pt x="2177" y="3030"/>
                  </a:lnTo>
                  <a:lnTo>
                    <a:pt x="2202" y="3072"/>
                  </a:lnTo>
                  <a:lnTo>
                    <a:pt x="2222" y="3116"/>
                  </a:lnTo>
                  <a:lnTo>
                    <a:pt x="2238" y="3164"/>
                  </a:lnTo>
                  <a:lnTo>
                    <a:pt x="2247" y="3214"/>
                  </a:lnTo>
                  <a:lnTo>
                    <a:pt x="2251" y="3266"/>
                  </a:lnTo>
                  <a:lnTo>
                    <a:pt x="2247" y="3317"/>
                  </a:lnTo>
                  <a:lnTo>
                    <a:pt x="2238" y="3367"/>
                  </a:lnTo>
                  <a:lnTo>
                    <a:pt x="2222" y="3415"/>
                  </a:lnTo>
                  <a:lnTo>
                    <a:pt x="2202" y="3460"/>
                  </a:lnTo>
                  <a:lnTo>
                    <a:pt x="2177" y="3501"/>
                  </a:lnTo>
                  <a:lnTo>
                    <a:pt x="2146" y="3540"/>
                  </a:lnTo>
                  <a:lnTo>
                    <a:pt x="2112" y="3574"/>
                  </a:lnTo>
                  <a:lnTo>
                    <a:pt x="2074" y="3604"/>
                  </a:lnTo>
                  <a:lnTo>
                    <a:pt x="2032" y="3630"/>
                  </a:lnTo>
                  <a:lnTo>
                    <a:pt x="1988" y="3651"/>
                  </a:lnTo>
                  <a:lnTo>
                    <a:pt x="1940" y="3666"/>
                  </a:lnTo>
                  <a:lnTo>
                    <a:pt x="1890" y="3676"/>
                  </a:lnTo>
                  <a:lnTo>
                    <a:pt x="1838" y="3678"/>
                  </a:lnTo>
                  <a:lnTo>
                    <a:pt x="413" y="3678"/>
                  </a:lnTo>
                  <a:lnTo>
                    <a:pt x="360" y="3676"/>
                  </a:lnTo>
                  <a:lnTo>
                    <a:pt x="311" y="3666"/>
                  </a:lnTo>
                  <a:lnTo>
                    <a:pt x="263" y="3651"/>
                  </a:lnTo>
                  <a:lnTo>
                    <a:pt x="219" y="3630"/>
                  </a:lnTo>
                  <a:lnTo>
                    <a:pt x="177" y="3604"/>
                  </a:lnTo>
                  <a:lnTo>
                    <a:pt x="138" y="3574"/>
                  </a:lnTo>
                  <a:lnTo>
                    <a:pt x="104" y="3540"/>
                  </a:lnTo>
                  <a:lnTo>
                    <a:pt x="74" y="3501"/>
                  </a:lnTo>
                  <a:lnTo>
                    <a:pt x="49" y="3460"/>
                  </a:lnTo>
                  <a:lnTo>
                    <a:pt x="28" y="3415"/>
                  </a:lnTo>
                  <a:lnTo>
                    <a:pt x="12" y="3367"/>
                  </a:lnTo>
                  <a:lnTo>
                    <a:pt x="3" y="3317"/>
                  </a:lnTo>
                  <a:lnTo>
                    <a:pt x="0" y="3266"/>
                  </a:lnTo>
                  <a:lnTo>
                    <a:pt x="3" y="3214"/>
                  </a:lnTo>
                  <a:lnTo>
                    <a:pt x="12" y="3164"/>
                  </a:lnTo>
                  <a:lnTo>
                    <a:pt x="28" y="3116"/>
                  </a:lnTo>
                  <a:lnTo>
                    <a:pt x="49" y="3072"/>
                  </a:lnTo>
                  <a:lnTo>
                    <a:pt x="74" y="3030"/>
                  </a:lnTo>
                  <a:lnTo>
                    <a:pt x="104" y="2992"/>
                  </a:lnTo>
                  <a:lnTo>
                    <a:pt x="138" y="2958"/>
                  </a:lnTo>
                  <a:lnTo>
                    <a:pt x="177" y="2927"/>
                  </a:lnTo>
                  <a:lnTo>
                    <a:pt x="219" y="2902"/>
                  </a:lnTo>
                  <a:lnTo>
                    <a:pt x="263" y="2882"/>
                  </a:lnTo>
                  <a:lnTo>
                    <a:pt x="311" y="2866"/>
                  </a:lnTo>
                  <a:lnTo>
                    <a:pt x="360" y="2857"/>
                  </a:lnTo>
                  <a:lnTo>
                    <a:pt x="413" y="2853"/>
                  </a:lnTo>
                  <a:lnTo>
                    <a:pt x="832" y="2853"/>
                  </a:lnTo>
                  <a:lnTo>
                    <a:pt x="832" y="2727"/>
                  </a:lnTo>
                  <a:lnTo>
                    <a:pt x="353" y="2727"/>
                  </a:lnTo>
                  <a:lnTo>
                    <a:pt x="317" y="2724"/>
                  </a:lnTo>
                  <a:lnTo>
                    <a:pt x="284" y="2714"/>
                  </a:lnTo>
                  <a:lnTo>
                    <a:pt x="255" y="2698"/>
                  </a:lnTo>
                  <a:lnTo>
                    <a:pt x="229" y="2676"/>
                  </a:lnTo>
                  <a:lnTo>
                    <a:pt x="209" y="2650"/>
                  </a:lnTo>
                  <a:lnTo>
                    <a:pt x="192" y="2621"/>
                  </a:lnTo>
                  <a:lnTo>
                    <a:pt x="181" y="2588"/>
                  </a:lnTo>
                  <a:lnTo>
                    <a:pt x="178" y="2553"/>
                  </a:lnTo>
                  <a:lnTo>
                    <a:pt x="178" y="2136"/>
                  </a:lnTo>
                  <a:lnTo>
                    <a:pt x="181" y="2101"/>
                  </a:lnTo>
                  <a:lnTo>
                    <a:pt x="192" y="2068"/>
                  </a:lnTo>
                  <a:lnTo>
                    <a:pt x="209" y="2039"/>
                  </a:lnTo>
                  <a:lnTo>
                    <a:pt x="229" y="2013"/>
                  </a:lnTo>
                  <a:lnTo>
                    <a:pt x="255" y="1991"/>
                  </a:lnTo>
                  <a:lnTo>
                    <a:pt x="284" y="1975"/>
                  </a:lnTo>
                  <a:lnTo>
                    <a:pt x="317" y="1965"/>
                  </a:lnTo>
                  <a:lnTo>
                    <a:pt x="353" y="1962"/>
                  </a:lnTo>
                  <a:lnTo>
                    <a:pt x="713" y="1962"/>
                  </a:lnTo>
                  <a:lnTo>
                    <a:pt x="713" y="1601"/>
                  </a:lnTo>
                  <a:lnTo>
                    <a:pt x="717" y="1558"/>
                  </a:lnTo>
                  <a:lnTo>
                    <a:pt x="726" y="1517"/>
                  </a:lnTo>
                  <a:lnTo>
                    <a:pt x="740" y="1477"/>
                  </a:lnTo>
                  <a:lnTo>
                    <a:pt x="761" y="1442"/>
                  </a:lnTo>
                  <a:lnTo>
                    <a:pt x="785" y="1409"/>
                  </a:lnTo>
                  <a:lnTo>
                    <a:pt x="814" y="1380"/>
                  </a:lnTo>
                  <a:lnTo>
                    <a:pt x="847" y="1355"/>
                  </a:lnTo>
                  <a:lnTo>
                    <a:pt x="883" y="1335"/>
                  </a:lnTo>
                  <a:lnTo>
                    <a:pt x="922" y="1321"/>
                  </a:lnTo>
                  <a:lnTo>
                    <a:pt x="963" y="1310"/>
                  </a:lnTo>
                  <a:lnTo>
                    <a:pt x="1007" y="1308"/>
                  </a:lnTo>
                  <a:lnTo>
                    <a:pt x="1414" y="1308"/>
                  </a:lnTo>
                  <a:lnTo>
                    <a:pt x="1452" y="1310"/>
                  </a:lnTo>
                  <a:lnTo>
                    <a:pt x="2359" y="101"/>
                  </a:lnTo>
                  <a:lnTo>
                    <a:pt x="2359" y="101"/>
                  </a:lnTo>
                  <a:lnTo>
                    <a:pt x="2382" y="73"/>
                  </a:lnTo>
                  <a:lnTo>
                    <a:pt x="2410" y="48"/>
                  </a:lnTo>
                  <a:lnTo>
                    <a:pt x="2441" y="27"/>
                  </a:lnTo>
                  <a:lnTo>
                    <a:pt x="2475" y="12"/>
                  </a:lnTo>
                  <a:lnTo>
                    <a:pt x="2513" y="3"/>
                  </a:lnTo>
                  <a:lnTo>
                    <a:pt x="2551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</p:grpSp>
      <p:sp>
        <p:nvSpPr>
          <p:cNvPr id="23625" name="TextBox 158">
            <a:extLst>
              <a:ext uri="{FF2B5EF4-FFF2-40B4-BE49-F238E27FC236}">
                <a16:creationId xmlns:a16="http://schemas.microsoft.com/office/drawing/2014/main" id="{E039C87F-72AD-4054-B63A-554ACFFB9E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4663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7" name="TextBox 127">
            <a:extLst>
              <a:ext uri="{FF2B5EF4-FFF2-40B4-BE49-F238E27FC236}">
                <a16:creationId xmlns:a16="http://schemas.microsoft.com/office/drawing/2014/main" id="{D2C4F5E9-E854-4896-8355-45DEC69063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7813" y="6378575"/>
            <a:ext cx="426243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Sources: National Bureau of Statistics, World Bank Report on Doing Business in Nigeria 2018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climate-data.org, State Government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Exchange rate= $1/N305 (Central Bank of Nigeria)</a:t>
            </a:r>
          </a:p>
        </p:txBody>
      </p:sp>
      <p:sp>
        <p:nvSpPr>
          <p:cNvPr id="23628" name="TextBox 128">
            <a:extLst>
              <a:ext uri="{FF2B5EF4-FFF2-40B4-BE49-F238E27FC236}">
                <a16:creationId xmlns:a16="http://schemas.microsoft.com/office/drawing/2014/main" id="{409BCC6F-A5F0-4C79-BB4A-38A1ABC14F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18122" y="3649889"/>
            <a:ext cx="38023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Rice</a:t>
            </a:r>
          </a:p>
        </p:txBody>
      </p:sp>
      <p:sp>
        <p:nvSpPr>
          <p:cNvPr id="23629" name="TextBox 129">
            <a:extLst>
              <a:ext uri="{FF2B5EF4-FFF2-40B4-BE49-F238E27FC236}">
                <a16:creationId xmlns:a16="http://schemas.microsoft.com/office/drawing/2014/main" id="{489E7B41-20C9-4493-8E7D-07238EB8FA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56217" y="3654980"/>
            <a:ext cx="88036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dirty="0">
                <a:latin typeface="Calibri" panose="020F0502020204030204" pitchFamily="34" charset="0"/>
              </a:rPr>
              <a:t>Manufacturing</a:t>
            </a:r>
            <a:endParaRPr lang="en-GB" altLang="en-US" sz="900" dirty="0">
              <a:latin typeface="Calibri" panose="020F0502020204030204" pitchFamily="34" charset="0"/>
            </a:endParaRPr>
          </a:p>
        </p:txBody>
      </p:sp>
      <p:sp>
        <p:nvSpPr>
          <p:cNvPr id="23630" name="TextBox 130">
            <a:extLst>
              <a:ext uri="{FF2B5EF4-FFF2-40B4-BE49-F238E27FC236}">
                <a16:creationId xmlns:a16="http://schemas.microsoft.com/office/drawing/2014/main" id="{048DE5D8-5309-42DA-9D97-2935A10CB7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31" name="TextBox 131">
            <a:extLst>
              <a:ext uri="{FF2B5EF4-FFF2-40B4-BE49-F238E27FC236}">
                <a16:creationId xmlns:a16="http://schemas.microsoft.com/office/drawing/2014/main" id="{FF8B6C80-43E2-43AF-A364-A31845F05C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5388" y="3656613"/>
            <a:ext cx="55175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dirty="0">
                <a:latin typeface="Calibri" panose="020F0502020204030204" pitchFamily="34" charset="0"/>
              </a:rPr>
              <a:t>Cassava</a:t>
            </a:r>
            <a:endParaRPr lang="en-GB" altLang="en-US" sz="900" dirty="0">
              <a:latin typeface="Calibri" panose="020F0502020204030204" pitchFamily="34" charset="0"/>
            </a:endParaRPr>
          </a:p>
        </p:txBody>
      </p:sp>
      <p:sp>
        <p:nvSpPr>
          <p:cNvPr id="23632" name="TextBox 132">
            <a:extLst>
              <a:ext uri="{FF2B5EF4-FFF2-40B4-BE49-F238E27FC236}">
                <a16:creationId xmlns:a16="http://schemas.microsoft.com/office/drawing/2014/main" id="{A1C640C1-61D1-4BA5-8A76-E684397E8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46689" y="3650683"/>
            <a:ext cx="57579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Palm Oil</a:t>
            </a:r>
          </a:p>
        </p:txBody>
      </p:sp>
      <p:sp>
        <p:nvSpPr>
          <p:cNvPr id="23638" name="TextBox 141">
            <a:extLst>
              <a:ext uri="{FF2B5EF4-FFF2-40B4-BE49-F238E27FC236}">
                <a16:creationId xmlns:a16="http://schemas.microsoft.com/office/drawing/2014/main" id="{EE481231-8673-4FD7-B5CC-900AEE7A9F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61083" y="3652271"/>
            <a:ext cx="61747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dirty="0">
                <a:latin typeface="Calibri" panose="020F0502020204030204" pitchFamily="34" charset="0"/>
              </a:rPr>
              <a:t>Oil &amp; Gas</a:t>
            </a:r>
            <a:endParaRPr lang="en-GB" altLang="en-US" sz="900" dirty="0">
              <a:latin typeface="Calibri" panose="020F0502020204030204" pitchFamily="34" charset="0"/>
            </a:endParaRPr>
          </a:p>
        </p:txBody>
      </p:sp>
      <p:sp>
        <p:nvSpPr>
          <p:cNvPr id="23649" name="TextBox 165">
            <a:extLst>
              <a:ext uri="{FF2B5EF4-FFF2-40B4-BE49-F238E27FC236}">
                <a16:creationId xmlns:a16="http://schemas.microsoft.com/office/drawing/2014/main" id="{1242633E-9CB1-48ED-83F4-2223DFC7ED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57411" y="4459560"/>
            <a:ext cx="77777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Watermelon</a:t>
            </a:r>
          </a:p>
        </p:txBody>
      </p:sp>
      <p:sp>
        <p:nvSpPr>
          <p:cNvPr id="23650" name="TextBox 166">
            <a:extLst>
              <a:ext uri="{FF2B5EF4-FFF2-40B4-BE49-F238E27FC236}">
                <a16:creationId xmlns:a16="http://schemas.microsoft.com/office/drawing/2014/main" id="{6B51369B-8FA6-464A-B908-12B0FFE6B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51841" y="4458812"/>
            <a:ext cx="51328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Fishing</a:t>
            </a:r>
          </a:p>
        </p:txBody>
      </p:sp>
      <p:sp>
        <p:nvSpPr>
          <p:cNvPr id="23651" name="TextBox 167">
            <a:extLst>
              <a:ext uri="{FF2B5EF4-FFF2-40B4-BE49-F238E27FC236}">
                <a16:creationId xmlns:a16="http://schemas.microsoft.com/office/drawing/2014/main" id="{4F9404E1-8339-401B-8B10-4C7D1A8CEC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96936" y="4457881"/>
            <a:ext cx="468398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Maize</a:t>
            </a:r>
          </a:p>
        </p:txBody>
      </p:sp>
      <p:sp>
        <p:nvSpPr>
          <p:cNvPr id="23652" name="TextBox 168">
            <a:extLst>
              <a:ext uri="{FF2B5EF4-FFF2-40B4-BE49-F238E27FC236}">
                <a16:creationId xmlns:a16="http://schemas.microsoft.com/office/drawing/2014/main" id="{1C04917D-B2C3-4C21-8CC2-A45C349B4B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60681" y="4457133"/>
            <a:ext cx="70403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Vegetables</a:t>
            </a:r>
          </a:p>
        </p:txBody>
      </p:sp>
      <p:sp>
        <p:nvSpPr>
          <p:cNvPr id="23653" name="TextBox 169">
            <a:extLst>
              <a:ext uri="{FF2B5EF4-FFF2-40B4-BE49-F238E27FC236}">
                <a16:creationId xmlns:a16="http://schemas.microsoft.com/office/drawing/2014/main" id="{4BADA327-4F2D-4897-B7C0-4647A1484B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3926" y="4457973"/>
            <a:ext cx="388248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dirty="0">
                <a:latin typeface="Calibri" panose="020F0502020204030204" pitchFamily="34" charset="0"/>
              </a:rPr>
              <a:t>Yam</a:t>
            </a:r>
            <a:endParaRPr lang="en-GB" altLang="en-US" sz="900" dirty="0">
              <a:latin typeface="Calibri" panose="020F0502020204030204" pitchFamily="34" charset="0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8A28B48-1841-45BB-BFBC-EADE77B37C6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779712" y="2589213"/>
          <a:ext cx="1482725" cy="812800"/>
        </p:xfrm>
        <a:graphic>
          <a:graphicData uri="http://schemas.openxmlformats.org/drawingml/2006/table">
            <a:tbl>
              <a:tblPr/>
              <a:tblGrid>
                <a:gridCol w="11367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9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32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GB" sz="1000" b="1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Domestic</a:t>
                      </a:r>
                      <a:r>
                        <a:rPr lang="en-GB" sz="10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US" sz="1000" b="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International 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Yes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Railway</a:t>
                      </a:r>
                      <a:r>
                        <a:rPr lang="en-GB" sz="1000" b="1" kern="1200" baseline="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 Station</a:t>
                      </a:r>
                      <a:endParaRPr lang="en-GB" sz="1000" b="1" kern="1200" dirty="0">
                        <a:solidFill>
                          <a:srgbClr val="292929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Yes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32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Sea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Yes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7" name="TextBox 136">
            <a:extLst>
              <a:ext uri="{FF2B5EF4-FFF2-40B4-BE49-F238E27FC236}">
                <a16:creationId xmlns:a16="http://schemas.microsoft.com/office/drawing/2014/main" id="{2F4C4876-7073-4C13-A183-127A8909BDC0}"/>
              </a:ext>
            </a:extLst>
          </p:cNvPr>
          <p:cNvSpPr txBox="1"/>
          <p:nvPr/>
        </p:nvSpPr>
        <p:spPr>
          <a:xfrm>
            <a:off x="538163" y="5268913"/>
            <a:ext cx="373856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For further details</a:t>
            </a:r>
          </a:p>
        </p:txBody>
      </p:sp>
      <p:sp>
        <p:nvSpPr>
          <p:cNvPr id="23676" name="TextBox 156">
            <a:extLst>
              <a:ext uri="{FF2B5EF4-FFF2-40B4-BE49-F238E27FC236}">
                <a16:creationId xmlns:a16="http://schemas.microsoft.com/office/drawing/2014/main" id="{95D66AAF-6B48-4B9E-9E5B-F1BB063A89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6300" y="6342063"/>
            <a:ext cx="37306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Abbreviations: </a:t>
            </a:r>
            <a:r>
              <a:rPr lang="en-GB" altLang="en-US" sz="800" b="1" dirty="0">
                <a:latin typeface="Calibri" panose="020F0502020204030204" pitchFamily="34" charset="0"/>
              </a:rPr>
              <a:t>	NICPS</a:t>
            </a:r>
            <a:r>
              <a:rPr lang="en-GB" altLang="en-US" sz="800" dirty="0">
                <a:latin typeface="Calibri" panose="020F0502020204030204" pitchFamily="34" charset="0"/>
              </a:rPr>
              <a:t>: Nigerian Investment Certification Programme for States                  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	</a:t>
            </a:r>
            <a:r>
              <a:rPr lang="en-GB" altLang="en-US" sz="800" b="1" dirty="0">
                <a:latin typeface="Calibri" panose="020F0502020204030204" pitchFamily="34" charset="0"/>
              </a:rPr>
              <a:t>IGR</a:t>
            </a:r>
            <a:r>
              <a:rPr lang="en-GB" altLang="en-US" sz="800" dirty="0">
                <a:latin typeface="Calibri" panose="020F0502020204030204" pitchFamily="34" charset="0"/>
              </a:rPr>
              <a:t>:     Internal Generated Revenue</a:t>
            </a:r>
          </a:p>
        </p:txBody>
      </p:sp>
      <p:sp>
        <p:nvSpPr>
          <p:cNvPr id="23678" name="TextBox 152">
            <a:extLst>
              <a:ext uri="{FF2B5EF4-FFF2-40B4-BE49-F238E27FC236}">
                <a16:creationId xmlns:a16="http://schemas.microsoft.com/office/drawing/2014/main" id="{BFAF6896-F732-45FC-AC47-950DF99D9E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4575" y="1140935"/>
            <a:ext cx="3446463" cy="16927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15888" indent="-11588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MY" sz="1300" dirty="0">
                <a:latin typeface="Calibri" panose="020F0502020204030204" pitchFamily="34" charset="0"/>
                <a:cs typeface="Calibri" panose="020F0502020204030204" pitchFamily="34" charset="0"/>
              </a:rPr>
              <a:t>Richest crude oil deposi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Second largest sea port in Nigeri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r>
              <a:rPr lang="en-US" sz="1300" baseline="30000" dirty="0">
                <a:latin typeface="Calibri" panose="020F0502020204030204" pitchFamily="34" charset="0"/>
                <a:cs typeface="Calibri" panose="020F0502020204030204" pitchFamily="34" charset="0"/>
              </a:rPr>
              <a:t>rd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 largest oil producing state in Nigeria (334,000bpd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Centre of Nigeria’s oil industry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Tourism and wild life (</a:t>
            </a:r>
            <a:r>
              <a:rPr lang="en-US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Finima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 nature park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Biggest oil refinery in Nigeria (34,000 barrels per day)</a:t>
            </a:r>
            <a:endParaRPr lang="en-MY" sz="13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D4E23C6-26A0-4545-B8F7-7007C8EEBFE4}"/>
              </a:ext>
            </a:extLst>
          </p:cNvPr>
          <p:cNvSpPr txBox="1"/>
          <p:nvPr/>
        </p:nvSpPr>
        <p:spPr>
          <a:xfrm>
            <a:off x="4338638" y="5265738"/>
            <a:ext cx="247491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id you know?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132" name="Text Placeholder 42">
            <a:extLst>
              <a:ext uri="{FF2B5EF4-FFF2-40B4-BE49-F238E27FC236}">
                <a16:creationId xmlns:a16="http://schemas.microsoft.com/office/drawing/2014/main" id="{D510D0DC-1548-4249-8DB1-9A1055126D07}"/>
              </a:ext>
            </a:extLst>
          </p:cNvPr>
          <p:cNvSpPr txBox="1">
            <a:spLocks/>
          </p:cNvSpPr>
          <p:nvPr/>
        </p:nvSpPr>
        <p:spPr>
          <a:xfrm>
            <a:off x="522288" y="5511800"/>
            <a:ext cx="3733800" cy="701675"/>
          </a:xfrm>
          <a:prstGeom prst="rect">
            <a:avLst/>
          </a:prstGeom>
        </p:spPr>
        <p:txBody>
          <a:bodyPr lIns="36576" tIns="0" rIns="36576" bIns="0"/>
          <a:lstStyle>
            <a:lvl1pPr marL="0" indent="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/>
              <a:buNone/>
              <a:defRPr sz="800" b="1" baseline="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6575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93763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 charset="0"/>
              <a:buChar char="►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50950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619250" indent="-188913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0764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25336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29908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34480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NIGERIAN INVESTMENT PROMOTION COMMISSION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>
                <a:solidFill>
                  <a:schemeClr val="tx1"/>
                </a:solidFill>
                <a:hlinkClick r:id="rId7"/>
              </a:rPr>
              <a:t>statesco@nipc.gov.ng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endParaRPr lang="en-US" sz="5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MINISTRY COMMERCE, TRADE AND INDUSTRIES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>
                <a:solidFill>
                  <a:schemeClr val="tx1"/>
                </a:solidFill>
                <a:hlinkClick r:id="rId8"/>
              </a:rPr>
              <a:t>nancynwankwo18@gmail.com</a:t>
            </a:r>
            <a:r>
              <a:rPr lang="en-US" sz="1000" b="0" kern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44" name="Oval 143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238751" y="3833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8" name="Oval 147">
            <a:extLst>
              <a:ext uri="{FF2B5EF4-FFF2-40B4-BE49-F238E27FC236}">
                <a16:creationId xmlns:a16="http://schemas.microsoft.com/office/drawing/2014/main" id="{FF015425-7997-4612-9D0E-1F6C433DFCC7}"/>
              </a:ext>
            </a:extLst>
          </p:cNvPr>
          <p:cNvSpPr/>
          <p:nvPr/>
        </p:nvSpPr>
        <p:spPr>
          <a:xfrm>
            <a:off x="6080877" y="3040856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2" name="Oval 151">
            <a:extLst>
              <a:ext uri="{FF2B5EF4-FFF2-40B4-BE49-F238E27FC236}">
                <a16:creationId xmlns:a16="http://schemas.microsoft.com/office/drawing/2014/main" id="{4C0B7457-CABD-4AC8-8A1A-1FD468581E4D}"/>
              </a:ext>
            </a:extLst>
          </p:cNvPr>
          <p:cNvSpPr/>
          <p:nvPr/>
        </p:nvSpPr>
        <p:spPr>
          <a:xfrm>
            <a:off x="6784796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3" name="Oval 152">
            <a:extLst>
              <a:ext uri="{FF2B5EF4-FFF2-40B4-BE49-F238E27FC236}">
                <a16:creationId xmlns:a16="http://schemas.microsoft.com/office/drawing/2014/main" id="{2D626A89-F50C-45A3-9271-5D3F2EEA9C83}"/>
              </a:ext>
            </a:extLst>
          </p:cNvPr>
          <p:cNvSpPr/>
          <p:nvPr/>
        </p:nvSpPr>
        <p:spPr>
          <a:xfrm>
            <a:off x="7518399" y="3024188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4" name="Oval 153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240713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5" name="Oval 154">
            <a:extLst>
              <a:ext uri="{FF2B5EF4-FFF2-40B4-BE49-F238E27FC236}">
                <a16:creationId xmlns:a16="http://schemas.microsoft.com/office/drawing/2014/main" id="{4D1FAA17-3EFF-404B-B4C4-B468BCE2E9A5}"/>
              </a:ext>
            </a:extLst>
          </p:cNvPr>
          <p:cNvSpPr/>
          <p:nvPr/>
        </p:nvSpPr>
        <p:spPr>
          <a:xfrm>
            <a:off x="6078265" y="3836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6" name="Oval 155">
            <a:extLst>
              <a:ext uri="{FF2B5EF4-FFF2-40B4-BE49-F238E27FC236}">
                <a16:creationId xmlns:a16="http://schemas.microsoft.com/office/drawing/2014/main" id="{E861211D-5D09-4577-8A09-FD96D972A5D4}"/>
              </a:ext>
            </a:extLst>
          </p:cNvPr>
          <p:cNvSpPr/>
          <p:nvPr/>
        </p:nvSpPr>
        <p:spPr>
          <a:xfrm>
            <a:off x="6780509" y="3833831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7" name="Oval 156">
            <a:extLst>
              <a:ext uri="{FF2B5EF4-FFF2-40B4-BE49-F238E27FC236}">
                <a16:creationId xmlns:a16="http://schemas.microsoft.com/office/drawing/2014/main" id="{3CBEFD1C-6360-47CD-AEDD-DFB49FC0E0C7}"/>
              </a:ext>
            </a:extLst>
          </p:cNvPr>
          <p:cNvSpPr/>
          <p:nvPr/>
        </p:nvSpPr>
        <p:spPr>
          <a:xfrm>
            <a:off x="7518603" y="3830834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8" name="Oval 157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953126" y="3843338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9" name="Oval 158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955088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27" name="Picture 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0161" y="2974250"/>
            <a:ext cx="579896" cy="659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8" name="Picture 3"/>
          <p:cNvPicPr>
            <a:picLocks noChangeAspect="1" noChangeArrowheads="1"/>
          </p:cNvPicPr>
          <p:nvPr/>
        </p:nvPicPr>
        <p:blipFill rotWithShape="1"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48" t="-274" r="47541" b="77474"/>
          <a:stretch/>
        </p:blipFill>
        <p:spPr bwMode="auto">
          <a:xfrm>
            <a:off x="6915407" y="3111303"/>
            <a:ext cx="457928" cy="4305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9" name="Picture 128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5366" y="3101360"/>
            <a:ext cx="324489" cy="392886"/>
          </a:xfrm>
          <a:prstGeom prst="rect">
            <a:avLst/>
          </a:prstGeom>
        </p:spPr>
      </p:pic>
      <p:pic>
        <p:nvPicPr>
          <p:cNvPr id="131" name="Picture 130">
            <a:extLst>
              <a:ext uri="{FF2B5EF4-FFF2-40B4-BE49-F238E27FC236}">
                <a16:creationId xmlns:a16="http://schemas.microsoft.com/office/drawing/2014/main" id="{4B46F167-F671-4481-8707-DCA507B058A7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16" t="17956" b="25500"/>
          <a:stretch/>
        </p:blipFill>
        <p:spPr>
          <a:xfrm>
            <a:off x="6856317" y="3910457"/>
            <a:ext cx="466102" cy="415939"/>
          </a:xfrm>
          <a:prstGeom prst="rect">
            <a:avLst/>
          </a:prstGeom>
        </p:spPr>
      </p:pic>
      <p:pic>
        <p:nvPicPr>
          <p:cNvPr id="133" name="Picture 6"/>
          <p:cNvPicPr>
            <a:picLocks noChangeAspect="1" noChangeArrowheads="1"/>
          </p:cNvPicPr>
          <p:nvPr/>
        </p:nvPicPr>
        <p:blipFill>
          <a:blip r:embed="rId13" cstate="print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5207" y="3943175"/>
            <a:ext cx="360436" cy="3924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8" name="Picture 6"/>
          <p:cNvPicPr>
            <a:picLocks noChangeAspect="1" noChangeArrowheads="1"/>
          </p:cNvPicPr>
          <p:nvPr/>
        </p:nvPicPr>
        <p:blipFill rotWithShape="1"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814" r="8128"/>
          <a:stretch/>
        </p:blipFill>
        <p:spPr bwMode="auto">
          <a:xfrm>
            <a:off x="7498851" y="3124366"/>
            <a:ext cx="635393" cy="4631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0" name="Picture 139" descr="Maize.jpg"/>
          <p:cNvPicPr>
            <a:picLocks noChangeAspect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574099" y="3921047"/>
            <a:ext cx="499926" cy="488915"/>
          </a:xfrm>
          <a:prstGeom prst="rect">
            <a:avLst/>
          </a:prstGeom>
        </p:spPr>
      </p:pic>
      <p:pic>
        <p:nvPicPr>
          <p:cNvPr id="143" name="Picture 142" descr="rice.png"/>
          <p:cNvPicPr>
            <a:picLocks noChangeAspect="1"/>
          </p:cNvPicPr>
          <p:nvPr/>
        </p:nvPicPr>
        <p:blipFill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15867" r="20664"/>
          <a:stretch>
            <a:fillRect/>
          </a:stretch>
        </p:blipFill>
        <p:spPr>
          <a:xfrm>
            <a:off x="9037644" y="3085124"/>
            <a:ext cx="476674" cy="465587"/>
          </a:xfrm>
          <a:prstGeom prst="rect">
            <a:avLst/>
          </a:prstGeom>
        </p:spPr>
      </p:pic>
      <p:pic>
        <p:nvPicPr>
          <p:cNvPr id="145" name="Picture 144">
            <a:extLst>
              <a:ext uri="{FF2B5EF4-FFF2-40B4-BE49-F238E27FC236}">
                <a16:creationId xmlns:a16="http://schemas.microsoft.com/office/drawing/2014/main" id="{5AB650D7-89DA-477A-88BC-FFA8C4088B02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05" t="22995" r="9464" b="16994"/>
          <a:stretch/>
        </p:blipFill>
        <p:spPr>
          <a:xfrm>
            <a:off x="8288445" y="3939466"/>
            <a:ext cx="516785" cy="377597"/>
          </a:xfrm>
          <a:prstGeom prst="rect">
            <a:avLst/>
          </a:prstGeom>
        </p:spPr>
      </p:pic>
      <p:pic>
        <p:nvPicPr>
          <p:cNvPr id="146" name="Picture 145"/>
          <p:cNvPicPr>
            <a:picLocks noChangeAspect="1"/>
          </p:cNvPicPr>
          <p:nvPr/>
        </p:nvPicPr>
        <p:blipFill>
          <a:blip r:embed="rId1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3862" y="3920094"/>
            <a:ext cx="362785" cy="362785"/>
          </a:xfrm>
          <a:prstGeom prst="rect">
            <a:avLst/>
          </a:prstGeom>
        </p:spPr>
      </p:pic>
      <p:sp>
        <p:nvSpPr>
          <p:cNvPr id="147" name="TextBox 146">
            <a:extLst>
              <a:ext uri="{FF2B5EF4-FFF2-40B4-BE49-F238E27FC236}">
                <a16:creationId xmlns:a16="http://schemas.microsoft.com/office/drawing/2014/main" id="{D0A41506-8873-4C2F-B45B-4459F0229CA3}"/>
              </a:ext>
            </a:extLst>
          </p:cNvPr>
          <p:cNvSpPr txBox="1"/>
          <p:nvPr/>
        </p:nvSpPr>
        <p:spPr>
          <a:xfrm>
            <a:off x="4374578" y="4541674"/>
            <a:ext cx="17988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te Investment Certification Process Not Started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262436" y="5427102"/>
            <a:ext cx="2638425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Sir Frederick </a:t>
            </a:r>
            <a:r>
              <a:rPr lang="en-US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Lugard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, named "Port Harcourt" in honor of Lewis Vernon Harcourt, then the Secretary of State for the Colonies.</a:t>
            </a:r>
          </a:p>
        </p:txBody>
      </p:sp>
    </p:spTree>
    <p:extLst>
      <p:ext uri="{BB962C8B-B14F-4D97-AF65-F5344CB8AC3E}">
        <p14:creationId xmlns:p14="http://schemas.microsoft.com/office/powerpoint/2010/main" val="87924559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Pentagon 19">
            <a:extLst>
              <a:ext uri="{FF2B5EF4-FFF2-40B4-BE49-F238E27FC236}">
                <a16:creationId xmlns:a16="http://schemas.microsoft.com/office/drawing/2014/main" id="{CAD93C59-72A9-4F6D-A654-02B9F8A5EFF9}"/>
              </a:ext>
            </a:extLst>
          </p:cNvPr>
          <p:cNvSpPr>
            <a:spLocks/>
          </p:cNvSpPr>
          <p:nvPr/>
        </p:nvSpPr>
        <p:spPr bwMode="auto">
          <a:xfrm>
            <a:off x="756602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30 of 37</a:t>
            </a:r>
          </a:p>
        </p:txBody>
      </p:sp>
      <p:sp>
        <p:nvSpPr>
          <p:cNvPr id="376" name="Pentagon 19">
            <a:extLst>
              <a:ext uri="{FF2B5EF4-FFF2-40B4-BE49-F238E27FC236}">
                <a16:creationId xmlns:a16="http://schemas.microsoft.com/office/drawing/2014/main" id="{1BDC5465-6022-4404-B4D8-ED55CF961B8A}"/>
              </a:ext>
            </a:extLst>
          </p:cNvPr>
          <p:cNvSpPr>
            <a:spLocks/>
          </p:cNvSpPr>
          <p:nvPr/>
        </p:nvSpPr>
        <p:spPr bwMode="auto">
          <a:xfrm>
            <a:off x="824865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7 of 3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57F1EBC-D01A-4083-B657-63AFB1490839}"/>
              </a:ext>
            </a:extLst>
          </p:cNvPr>
          <p:cNvSpPr txBox="1"/>
          <p:nvPr/>
        </p:nvSpPr>
        <p:spPr>
          <a:xfrm>
            <a:off x="6122988" y="2749550"/>
            <a:ext cx="3475037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nvestment Opportunit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D251BD-538A-4F4F-847E-620EEDA298A0}"/>
              </a:ext>
            </a:extLst>
          </p:cNvPr>
          <p:cNvSpPr txBox="1"/>
          <p:nvPr/>
        </p:nvSpPr>
        <p:spPr>
          <a:xfrm>
            <a:off x="6881813" y="4632911"/>
            <a:ext cx="2697162" cy="33855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oing Business Ranking(2018)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1B8F13C-F732-4DA1-9250-DB02936E7688}"/>
              </a:ext>
            </a:extLst>
          </p:cNvPr>
          <p:cNvSpPr/>
          <p:nvPr/>
        </p:nvSpPr>
        <p:spPr>
          <a:xfrm>
            <a:off x="756602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Registering Propert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6BA1818-32ED-44D1-975C-958200BDD124}"/>
              </a:ext>
            </a:extLst>
          </p:cNvPr>
          <p:cNvSpPr/>
          <p:nvPr/>
        </p:nvSpPr>
        <p:spPr>
          <a:xfrm>
            <a:off x="8248650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Dealing with Construction Permits</a:t>
            </a:r>
          </a:p>
        </p:txBody>
      </p:sp>
      <p:sp>
        <p:nvSpPr>
          <p:cNvPr id="23560" name="TextBox 174">
            <a:extLst>
              <a:ext uri="{FF2B5EF4-FFF2-40B4-BE49-F238E27FC236}">
                <a16:creationId xmlns:a16="http://schemas.microsoft.com/office/drawing/2014/main" id="{1573FD4E-62B9-45E8-8F28-CED990ED2D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0B63A6C-2A5E-4CA3-BC66-4CBC6008BC9A}"/>
              </a:ext>
            </a:extLst>
          </p:cNvPr>
          <p:cNvSpPr/>
          <p:nvPr/>
        </p:nvSpPr>
        <p:spPr>
          <a:xfrm>
            <a:off x="893127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Enforcing Contracts</a:t>
            </a:r>
          </a:p>
        </p:txBody>
      </p:sp>
      <p:pic>
        <p:nvPicPr>
          <p:cNvPr id="23562" name="Picture 4">
            <a:extLst>
              <a:ext uri="{FF2B5EF4-FFF2-40B4-BE49-F238E27FC236}">
                <a16:creationId xmlns:a16="http://schemas.microsoft.com/office/drawing/2014/main" id="{7C8EEAB2-0239-4BB5-94B3-23E319AF1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513" y="5249863"/>
            <a:ext cx="439737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6" name="Pentagon 19">
            <a:extLst>
              <a:ext uri="{FF2B5EF4-FFF2-40B4-BE49-F238E27FC236}">
                <a16:creationId xmlns:a16="http://schemas.microsoft.com/office/drawing/2014/main" id="{5F8E9670-D71A-4765-B6B5-D711BC9AD6E1}"/>
              </a:ext>
            </a:extLst>
          </p:cNvPr>
          <p:cNvSpPr>
            <a:spLocks/>
          </p:cNvSpPr>
          <p:nvPr/>
        </p:nvSpPr>
        <p:spPr bwMode="auto">
          <a:xfrm>
            <a:off x="893127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5</a:t>
            </a:r>
            <a:r>
              <a:rPr lang="en-GB" sz="1000" baseline="3000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of 37</a:t>
            </a:r>
          </a:p>
        </p:txBody>
      </p:sp>
      <p:sp>
        <p:nvSpPr>
          <p:cNvPr id="23564" name="Title 3">
            <a:extLst>
              <a:ext uri="{FF2B5EF4-FFF2-40B4-BE49-F238E27FC236}">
                <a16:creationId xmlns:a16="http://schemas.microsoft.com/office/drawing/2014/main" id="{C62A749B-CFC7-4224-A789-D20A772AC33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77813" y="222250"/>
            <a:ext cx="8543925" cy="5619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en-GB" altLang="en-US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okoto</a:t>
            </a:r>
            <a:r>
              <a:rPr lang="en-GB" alt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State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6882DF2C-9120-4A66-8487-575D9494F4D6}"/>
              </a:ext>
            </a:extLst>
          </p:cNvPr>
          <p:cNvSpPr txBox="1"/>
          <p:nvPr/>
        </p:nvSpPr>
        <p:spPr>
          <a:xfrm rot="16200000">
            <a:off x="-2290084" y="3478372"/>
            <a:ext cx="5303837" cy="2743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Seat of the Caliphate</a:t>
            </a:r>
          </a:p>
        </p:txBody>
      </p:sp>
      <p:grpSp>
        <p:nvGrpSpPr>
          <p:cNvPr id="23566" name="Group 9">
            <a:extLst>
              <a:ext uri="{FF2B5EF4-FFF2-40B4-BE49-F238E27FC236}">
                <a16:creationId xmlns:a16="http://schemas.microsoft.com/office/drawing/2014/main" id="{5B6131BD-3CE3-4FC4-B13A-FA9B797C1EF5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41338" y="963613"/>
            <a:ext cx="2897187" cy="2319337"/>
            <a:chOff x="770228" y="1459989"/>
            <a:chExt cx="4081047" cy="3267527"/>
          </a:xfrm>
        </p:grpSpPr>
        <p:sp>
          <p:nvSpPr>
            <p:cNvPr id="299" name="Freeform 4">
              <a:extLst>
                <a:ext uri="{FF2B5EF4-FFF2-40B4-BE49-F238E27FC236}">
                  <a16:creationId xmlns:a16="http://schemas.microsoft.com/office/drawing/2014/main" id="{B6150C82-CBE5-48B4-B60C-C210BB7B26A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91538" y="4349548"/>
              <a:ext cx="418167" cy="377968"/>
            </a:xfrm>
            <a:custGeom>
              <a:avLst/>
              <a:gdLst>
                <a:gd name="T0" fmla="*/ 12 w 786"/>
                <a:gd name="T1" fmla="*/ 19 h 714"/>
                <a:gd name="T2" fmla="*/ 22 w 786"/>
                <a:gd name="T3" fmla="*/ 18 h 714"/>
                <a:gd name="T4" fmla="*/ 27 w 786"/>
                <a:gd name="T5" fmla="*/ 17 h 714"/>
                <a:gd name="T6" fmla="*/ 30 w 786"/>
                <a:gd name="T7" fmla="*/ 14 h 714"/>
                <a:gd name="T8" fmla="*/ 37 w 786"/>
                <a:gd name="T9" fmla="*/ 16 h 714"/>
                <a:gd name="T10" fmla="*/ 43 w 786"/>
                <a:gd name="T11" fmla="*/ 13 h 714"/>
                <a:gd name="T12" fmla="*/ 48 w 786"/>
                <a:gd name="T13" fmla="*/ 8 h 714"/>
                <a:gd name="T14" fmla="*/ 55 w 786"/>
                <a:gd name="T15" fmla="*/ 4 h 714"/>
                <a:gd name="T16" fmla="*/ 66 w 786"/>
                <a:gd name="T17" fmla="*/ 0 h 714"/>
                <a:gd name="T18" fmla="*/ 63 w 786"/>
                <a:gd name="T19" fmla="*/ 12 h 714"/>
                <a:gd name="T20" fmla="*/ 59 w 786"/>
                <a:gd name="T21" fmla="*/ 19 h 714"/>
                <a:gd name="T22" fmla="*/ 57 w 786"/>
                <a:gd name="T23" fmla="*/ 29 h 714"/>
                <a:gd name="T24" fmla="*/ 59 w 786"/>
                <a:gd name="T25" fmla="*/ 36 h 714"/>
                <a:gd name="T26" fmla="*/ 66 w 786"/>
                <a:gd name="T27" fmla="*/ 35 h 714"/>
                <a:gd name="T28" fmla="*/ 64 w 786"/>
                <a:gd name="T29" fmla="*/ 41 h 714"/>
                <a:gd name="T30" fmla="*/ 64 w 786"/>
                <a:gd name="T31" fmla="*/ 48 h 714"/>
                <a:gd name="T32" fmla="*/ 63 w 786"/>
                <a:gd name="T33" fmla="*/ 56 h 714"/>
                <a:gd name="T34" fmla="*/ 60 w 786"/>
                <a:gd name="T35" fmla="*/ 60 h 714"/>
                <a:gd name="T36" fmla="*/ 57 w 786"/>
                <a:gd name="T37" fmla="*/ 58 h 714"/>
                <a:gd name="T38" fmla="*/ 54 w 786"/>
                <a:gd name="T39" fmla="*/ 54 h 714"/>
                <a:gd name="T40" fmla="*/ 53 w 786"/>
                <a:gd name="T41" fmla="*/ 51 h 714"/>
                <a:gd name="T42" fmla="*/ 51 w 786"/>
                <a:gd name="T43" fmla="*/ 53 h 714"/>
                <a:gd name="T44" fmla="*/ 49 w 786"/>
                <a:gd name="T45" fmla="*/ 54 h 714"/>
                <a:gd name="T46" fmla="*/ 47 w 786"/>
                <a:gd name="T47" fmla="*/ 50 h 714"/>
                <a:gd name="T48" fmla="*/ 48 w 786"/>
                <a:gd name="T49" fmla="*/ 54 h 714"/>
                <a:gd name="T50" fmla="*/ 47 w 786"/>
                <a:gd name="T51" fmla="*/ 54 h 714"/>
                <a:gd name="T52" fmla="*/ 46 w 786"/>
                <a:gd name="T53" fmla="*/ 59 h 714"/>
                <a:gd name="T54" fmla="*/ 47 w 786"/>
                <a:gd name="T55" fmla="*/ 62 h 714"/>
                <a:gd name="T56" fmla="*/ 42 w 786"/>
                <a:gd name="T57" fmla="*/ 62 h 714"/>
                <a:gd name="T58" fmla="*/ 39 w 786"/>
                <a:gd name="T59" fmla="*/ 57 h 714"/>
                <a:gd name="T60" fmla="*/ 40 w 786"/>
                <a:gd name="T61" fmla="*/ 54 h 714"/>
                <a:gd name="T62" fmla="*/ 43 w 786"/>
                <a:gd name="T63" fmla="*/ 55 h 714"/>
                <a:gd name="T64" fmla="*/ 40 w 786"/>
                <a:gd name="T65" fmla="*/ 53 h 714"/>
                <a:gd name="T66" fmla="*/ 38 w 786"/>
                <a:gd name="T67" fmla="*/ 57 h 714"/>
                <a:gd name="T68" fmla="*/ 37 w 786"/>
                <a:gd name="T69" fmla="*/ 57 h 714"/>
                <a:gd name="T70" fmla="*/ 37 w 786"/>
                <a:gd name="T71" fmla="*/ 60 h 714"/>
                <a:gd name="T72" fmla="*/ 33 w 786"/>
                <a:gd name="T73" fmla="*/ 56 h 714"/>
                <a:gd name="T74" fmla="*/ 32 w 786"/>
                <a:gd name="T75" fmla="*/ 58 h 714"/>
                <a:gd name="T76" fmla="*/ 26 w 786"/>
                <a:gd name="T77" fmla="*/ 54 h 714"/>
                <a:gd name="T78" fmla="*/ 26 w 786"/>
                <a:gd name="T79" fmla="*/ 54 h 714"/>
                <a:gd name="T80" fmla="*/ 24 w 786"/>
                <a:gd name="T81" fmla="*/ 51 h 714"/>
                <a:gd name="T82" fmla="*/ 22 w 786"/>
                <a:gd name="T83" fmla="*/ 51 h 714"/>
                <a:gd name="T84" fmla="*/ 20 w 786"/>
                <a:gd name="T85" fmla="*/ 50 h 714"/>
                <a:gd name="T86" fmla="*/ 20 w 786"/>
                <a:gd name="T87" fmla="*/ 48 h 714"/>
                <a:gd name="T88" fmla="*/ 18 w 786"/>
                <a:gd name="T89" fmla="*/ 47 h 714"/>
                <a:gd name="T90" fmla="*/ 15 w 786"/>
                <a:gd name="T91" fmla="*/ 45 h 714"/>
                <a:gd name="T92" fmla="*/ 11 w 786"/>
                <a:gd name="T93" fmla="*/ 39 h 714"/>
                <a:gd name="T94" fmla="*/ 12 w 786"/>
                <a:gd name="T95" fmla="*/ 36 h 714"/>
                <a:gd name="T96" fmla="*/ 7 w 786"/>
                <a:gd name="T97" fmla="*/ 33 h 714"/>
                <a:gd name="T98" fmla="*/ 5 w 786"/>
                <a:gd name="T99" fmla="*/ 28 h 714"/>
                <a:gd name="T100" fmla="*/ 7 w 786"/>
                <a:gd name="T101" fmla="*/ 30 h 714"/>
                <a:gd name="T102" fmla="*/ 4 w 786"/>
                <a:gd name="T103" fmla="*/ 24 h 714"/>
                <a:gd name="T104" fmla="*/ 2 w 786"/>
                <a:gd name="T105" fmla="*/ 20 h 714"/>
                <a:gd name="T106" fmla="*/ 0 w 786"/>
                <a:gd name="T107" fmla="*/ 15 h 714"/>
                <a:gd name="T108" fmla="*/ 4 w 786"/>
                <a:gd name="T109" fmla="*/ 16 h 714"/>
                <a:gd name="T110" fmla="*/ 55 w 786"/>
                <a:gd name="T111" fmla="*/ 60 h 714"/>
                <a:gd name="T112" fmla="*/ 47 w 786"/>
                <a:gd name="T113" fmla="*/ 60 h 714"/>
                <a:gd name="T114" fmla="*/ 51 w 786"/>
                <a:gd name="T115" fmla="*/ 54 h 714"/>
                <a:gd name="T116" fmla="*/ 54 w 786"/>
                <a:gd name="T117" fmla="*/ 56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86"/>
                <a:gd name="T178" fmla="*/ 0 h 714"/>
                <a:gd name="T179" fmla="*/ 786 w 786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86" h="714">
                  <a:moveTo>
                    <a:pt x="54" y="186"/>
                  </a:moveTo>
                  <a:lnTo>
                    <a:pt x="54" y="192"/>
                  </a:lnTo>
                  <a:lnTo>
                    <a:pt x="72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204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20" y="210"/>
                  </a:lnTo>
                  <a:lnTo>
                    <a:pt x="126" y="210"/>
                  </a:lnTo>
                  <a:lnTo>
                    <a:pt x="132" y="210"/>
                  </a:lnTo>
                  <a:lnTo>
                    <a:pt x="132" y="216"/>
                  </a:lnTo>
                  <a:lnTo>
                    <a:pt x="138" y="222"/>
                  </a:lnTo>
                  <a:lnTo>
                    <a:pt x="150" y="222"/>
                  </a:lnTo>
                  <a:lnTo>
                    <a:pt x="162" y="234"/>
                  </a:lnTo>
                  <a:lnTo>
                    <a:pt x="168" y="240"/>
                  </a:lnTo>
                  <a:lnTo>
                    <a:pt x="180" y="240"/>
                  </a:lnTo>
                  <a:lnTo>
                    <a:pt x="186" y="228"/>
                  </a:lnTo>
                  <a:lnTo>
                    <a:pt x="210" y="234"/>
                  </a:lnTo>
                  <a:lnTo>
                    <a:pt x="222" y="228"/>
                  </a:lnTo>
                  <a:lnTo>
                    <a:pt x="228" y="216"/>
                  </a:lnTo>
                  <a:lnTo>
                    <a:pt x="234" y="210"/>
                  </a:lnTo>
                  <a:lnTo>
                    <a:pt x="240" y="216"/>
                  </a:lnTo>
                  <a:lnTo>
                    <a:pt x="246" y="210"/>
                  </a:lnTo>
                  <a:lnTo>
                    <a:pt x="252" y="210"/>
                  </a:lnTo>
                  <a:lnTo>
                    <a:pt x="258" y="210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192"/>
                  </a:lnTo>
                  <a:lnTo>
                    <a:pt x="270" y="192"/>
                  </a:lnTo>
                  <a:lnTo>
                    <a:pt x="276" y="192"/>
                  </a:lnTo>
                  <a:lnTo>
                    <a:pt x="282" y="192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192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198"/>
                  </a:lnTo>
                  <a:lnTo>
                    <a:pt x="312" y="198"/>
                  </a:lnTo>
                  <a:lnTo>
                    <a:pt x="312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24" y="186"/>
                  </a:lnTo>
                  <a:lnTo>
                    <a:pt x="318" y="180"/>
                  </a:lnTo>
                  <a:lnTo>
                    <a:pt x="324" y="180"/>
                  </a:lnTo>
                  <a:lnTo>
                    <a:pt x="330" y="186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74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54" y="144"/>
                  </a:lnTo>
                  <a:lnTo>
                    <a:pt x="360" y="144"/>
                  </a:lnTo>
                  <a:lnTo>
                    <a:pt x="372" y="156"/>
                  </a:lnTo>
                  <a:lnTo>
                    <a:pt x="372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96" y="168"/>
                  </a:lnTo>
                  <a:lnTo>
                    <a:pt x="396" y="174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26" y="186"/>
                  </a:lnTo>
                  <a:lnTo>
                    <a:pt x="432" y="186"/>
                  </a:lnTo>
                  <a:lnTo>
                    <a:pt x="438" y="180"/>
                  </a:lnTo>
                  <a:lnTo>
                    <a:pt x="438" y="168"/>
                  </a:lnTo>
                  <a:lnTo>
                    <a:pt x="438" y="162"/>
                  </a:lnTo>
                  <a:lnTo>
                    <a:pt x="444" y="156"/>
                  </a:lnTo>
                  <a:lnTo>
                    <a:pt x="450" y="156"/>
                  </a:lnTo>
                  <a:lnTo>
                    <a:pt x="456" y="150"/>
                  </a:lnTo>
                  <a:lnTo>
                    <a:pt x="462" y="156"/>
                  </a:lnTo>
                  <a:lnTo>
                    <a:pt x="468" y="162"/>
                  </a:lnTo>
                  <a:lnTo>
                    <a:pt x="474" y="162"/>
                  </a:lnTo>
                  <a:lnTo>
                    <a:pt x="486" y="162"/>
                  </a:lnTo>
                  <a:lnTo>
                    <a:pt x="492" y="156"/>
                  </a:lnTo>
                  <a:lnTo>
                    <a:pt x="498" y="150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28" y="126"/>
                  </a:lnTo>
                  <a:lnTo>
                    <a:pt x="522" y="120"/>
                  </a:lnTo>
                  <a:lnTo>
                    <a:pt x="522" y="114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28" y="102"/>
                  </a:lnTo>
                  <a:lnTo>
                    <a:pt x="534" y="96"/>
                  </a:lnTo>
                  <a:lnTo>
                    <a:pt x="552" y="96"/>
                  </a:lnTo>
                  <a:lnTo>
                    <a:pt x="570" y="102"/>
                  </a:lnTo>
                  <a:lnTo>
                    <a:pt x="582" y="96"/>
                  </a:lnTo>
                  <a:lnTo>
                    <a:pt x="582" y="90"/>
                  </a:lnTo>
                  <a:lnTo>
                    <a:pt x="582" y="78"/>
                  </a:lnTo>
                  <a:lnTo>
                    <a:pt x="582" y="72"/>
                  </a:lnTo>
                  <a:lnTo>
                    <a:pt x="582" y="66"/>
                  </a:lnTo>
                  <a:lnTo>
                    <a:pt x="594" y="60"/>
                  </a:lnTo>
                  <a:lnTo>
                    <a:pt x="600" y="60"/>
                  </a:lnTo>
                  <a:lnTo>
                    <a:pt x="606" y="54"/>
                  </a:lnTo>
                  <a:lnTo>
                    <a:pt x="618" y="48"/>
                  </a:lnTo>
                  <a:lnTo>
                    <a:pt x="618" y="42"/>
                  </a:lnTo>
                  <a:lnTo>
                    <a:pt x="624" y="42"/>
                  </a:lnTo>
                  <a:lnTo>
                    <a:pt x="636" y="48"/>
                  </a:lnTo>
                  <a:lnTo>
                    <a:pt x="648" y="54"/>
                  </a:lnTo>
                  <a:lnTo>
                    <a:pt x="660" y="54"/>
                  </a:lnTo>
                  <a:lnTo>
                    <a:pt x="666" y="60"/>
                  </a:lnTo>
                  <a:lnTo>
                    <a:pt x="672" y="54"/>
                  </a:lnTo>
                  <a:lnTo>
                    <a:pt x="684" y="48"/>
                  </a:lnTo>
                  <a:lnTo>
                    <a:pt x="708" y="42"/>
                  </a:lnTo>
                  <a:lnTo>
                    <a:pt x="714" y="42"/>
                  </a:lnTo>
                  <a:lnTo>
                    <a:pt x="720" y="36"/>
                  </a:lnTo>
                  <a:lnTo>
                    <a:pt x="720" y="30"/>
                  </a:lnTo>
                  <a:lnTo>
                    <a:pt x="714" y="12"/>
                  </a:lnTo>
                  <a:lnTo>
                    <a:pt x="708" y="0"/>
                  </a:lnTo>
                  <a:lnTo>
                    <a:pt x="738" y="6"/>
                  </a:lnTo>
                  <a:lnTo>
                    <a:pt x="756" y="6"/>
                  </a:lnTo>
                  <a:lnTo>
                    <a:pt x="762" y="42"/>
                  </a:lnTo>
                  <a:lnTo>
                    <a:pt x="738" y="72"/>
                  </a:lnTo>
                  <a:lnTo>
                    <a:pt x="750" y="90"/>
                  </a:lnTo>
                  <a:lnTo>
                    <a:pt x="762" y="96"/>
                  </a:lnTo>
                  <a:lnTo>
                    <a:pt x="756" y="102"/>
                  </a:lnTo>
                  <a:lnTo>
                    <a:pt x="750" y="108"/>
                  </a:lnTo>
                  <a:lnTo>
                    <a:pt x="750" y="114"/>
                  </a:lnTo>
                  <a:lnTo>
                    <a:pt x="750" y="120"/>
                  </a:lnTo>
                  <a:lnTo>
                    <a:pt x="750" y="126"/>
                  </a:lnTo>
                  <a:lnTo>
                    <a:pt x="750" y="132"/>
                  </a:lnTo>
                  <a:lnTo>
                    <a:pt x="738" y="132"/>
                  </a:lnTo>
                  <a:lnTo>
                    <a:pt x="732" y="138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14" y="144"/>
                  </a:lnTo>
                  <a:lnTo>
                    <a:pt x="714" y="150"/>
                  </a:lnTo>
                  <a:lnTo>
                    <a:pt x="720" y="156"/>
                  </a:lnTo>
                  <a:lnTo>
                    <a:pt x="720" y="162"/>
                  </a:lnTo>
                  <a:lnTo>
                    <a:pt x="714" y="162"/>
                  </a:lnTo>
                  <a:lnTo>
                    <a:pt x="708" y="168"/>
                  </a:lnTo>
                  <a:lnTo>
                    <a:pt x="708" y="180"/>
                  </a:lnTo>
                  <a:lnTo>
                    <a:pt x="708" y="192"/>
                  </a:lnTo>
                  <a:lnTo>
                    <a:pt x="696" y="198"/>
                  </a:lnTo>
                  <a:lnTo>
                    <a:pt x="696" y="204"/>
                  </a:lnTo>
                  <a:lnTo>
                    <a:pt x="684" y="210"/>
                  </a:lnTo>
                  <a:lnTo>
                    <a:pt x="684" y="216"/>
                  </a:lnTo>
                  <a:lnTo>
                    <a:pt x="684" y="222"/>
                  </a:lnTo>
                  <a:lnTo>
                    <a:pt x="678" y="228"/>
                  </a:lnTo>
                  <a:lnTo>
                    <a:pt x="678" y="234"/>
                  </a:lnTo>
                  <a:lnTo>
                    <a:pt x="672" y="240"/>
                  </a:lnTo>
                  <a:lnTo>
                    <a:pt x="672" y="252"/>
                  </a:lnTo>
                  <a:lnTo>
                    <a:pt x="672" y="258"/>
                  </a:lnTo>
                  <a:lnTo>
                    <a:pt x="666" y="264"/>
                  </a:lnTo>
                  <a:lnTo>
                    <a:pt x="678" y="264"/>
                  </a:lnTo>
                  <a:lnTo>
                    <a:pt x="684" y="276"/>
                  </a:lnTo>
                  <a:lnTo>
                    <a:pt x="684" y="288"/>
                  </a:lnTo>
                  <a:lnTo>
                    <a:pt x="672" y="300"/>
                  </a:lnTo>
                  <a:lnTo>
                    <a:pt x="660" y="318"/>
                  </a:lnTo>
                  <a:lnTo>
                    <a:pt x="660" y="336"/>
                  </a:lnTo>
                  <a:lnTo>
                    <a:pt x="654" y="342"/>
                  </a:lnTo>
                  <a:lnTo>
                    <a:pt x="660" y="354"/>
                  </a:lnTo>
                  <a:lnTo>
                    <a:pt x="660" y="366"/>
                  </a:lnTo>
                  <a:lnTo>
                    <a:pt x="666" y="378"/>
                  </a:lnTo>
                  <a:lnTo>
                    <a:pt x="672" y="390"/>
                  </a:lnTo>
                  <a:lnTo>
                    <a:pt x="678" y="396"/>
                  </a:lnTo>
                  <a:lnTo>
                    <a:pt x="684" y="390"/>
                  </a:lnTo>
                  <a:lnTo>
                    <a:pt x="690" y="390"/>
                  </a:lnTo>
                  <a:lnTo>
                    <a:pt x="690" y="396"/>
                  </a:lnTo>
                  <a:lnTo>
                    <a:pt x="684" y="396"/>
                  </a:lnTo>
                  <a:lnTo>
                    <a:pt x="684" y="402"/>
                  </a:lnTo>
                  <a:lnTo>
                    <a:pt x="684" y="408"/>
                  </a:lnTo>
                  <a:lnTo>
                    <a:pt x="678" y="414"/>
                  </a:lnTo>
                  <a:lnTo>
                    <a:pt x="684" y="414"/>
                  </a:lnTo>
                  <a:lnTo>
                    <a:pt x="684" y="420"/>
                  </a:lnTo>
                  <a:lnTo>
                    <a:pt x="684" y="426"/>
                  </a:lnTo>
                  <a:lnTo>
                    <a:pt x="690" y="420"/>
                  </a:lnTo>
                  <a:lnTo>
                    <a:pt x="696" y="420"/>
                  </a:lnTo>
                  <a:lnTo>
                    <a:pt x="696" y="426"/>
                  </a:lnTo>
                  <a:lnTo>
                    <a:pt x="690" y="426"/>
                  </a:lnTo>
                  <a:lnTo>
                    <a:pt x="696" y="426"/>
                  </a:lnTo>
                  <a:lnTo>
                    <a:pt x="708" y="426"/>
                  </a:lnTo>
                  <a:lnTo>
                    <a:pt x="726" y="414"/>
                  </a:lnTo>
                  <a:lnTo>
                    <a:pt x="732" y="408"/>
                  </a:lnTo>
                  <a:lnTo>
                    <a:pt x="744" y="402"/>
                  </a:lnTo>
                  <a:lnTo>
                    <a:pt x="756" y="402"/>
                  </a:lnTo>
                  <a:lnTo>
                    <a:pt x="768" y="402"/>
                  </a:lnTo>
                  <a:lnTo>
                    <a:pt x="786" y="408"/>
                  </a:lnTo>
                  <a:lnTo>
                    <a:pt x="786" y="414"/>
                  </a:lnTo>
                  <a:lnTo>
                    <a:pt x="774" y="420"/>
                  </a:lnTo>
                  <a:lnTo>
                    <a:pt x="774" y="426"/>
                  </a:lnTo>
                  <a:lnTo>
                    <a:pt x="768" y="432"/>
                  </a:lnTo>
                  <a:lnTo>
                    <a:pt x="762" y="438"/>
                  </a:lnTo>
                  <a:lnTo>
                    <a:pt x="756" y="438"/>
                  </a:lnTo>
                  <a:lnTo>
                    <a:pt x="756" y="444"/>
                  </a:lnTo>
                  <a:lnTo>
                    <a:pt x="756" y="450"/>
                  </a:lnTo>
                  <a:lnTo>
                    <a:pt x="762" y="450"/>
                  </a:lnTo>
                  <a:lnTo>
                    <a:pt x="750" y="456"/>
                  </a:lnTo>
                  <a:lnTo>
                    <a:pt x="738" y="468"/>
                  </a:lnTo>
                  <a:lnTo>
                    <a:pt x="726" y="480"/>
                  </a:lnTo>
                  <a:lnTo>
                    <a:pt x="726" y="486"/>
                  </a:lnTo>
                  <a:lnTo>
                    <a:pt x="732" y="486"/>
                  </a:lnTo>
                  <a:lnTo>
                    <a:pt x="732" y="492"/>
                  </a:lnTo>
                  <a:lnTo>
                    <a:pt x="732" y="504"/>
                  </a:lnTo>
                  <a:lnTo>
                    <a:pt x="738" y="504"/>
                  </a:lnTo>
                  <a:lnTo>
                    <a:pt x="744" y="510"/>
                  </a:lnTo>
                  <a:lnTo>
                    <a:pt x="738" y="522"/>
                  </a:lnTo>
                  <a:lnTo>
                    <a:pt x="744" y="528"/>
                  </a:lnTo>
                  <a:lnTo>
                    <a:pt x="756" y="534"/>
                  </a:lnTo>
                  <a:lnTo>
                    <a:pt x="756" y="540"/>
                  </a:lnTo>
                  <a:lnTo>
                    <a:pt x="744" y="552"/>
                  </a:lnTo>
                  <a:lnTo>
                    <a:pt x="738" y="552"/>
                  </a:lnTo>
                  <a:lnTo>
                    <a:pt x="738" y="558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64"/>
                  </a:lnTo>
                  <a:lnTo>
                    <a:pt x="744" y="576"/>
                  </a:lnTo>
                  <a:lnTo>
                    <a:pt x="738" y="588"/>
                  </a:lnTo>
                  <a:lnTo>
                    <a:pt x="738" y="594"/>
                  </a:lnTo>
                  <a:lnTo>
                    <a:pt x="738" y="600"/>
                  </a:lnTo>
                  <a:lnTo>
                    <a:pt x="738" y="606"/>
                  </a:lnTo>
                  <a:lnTo>
                    <a:pt x="732" y="612"/>
                  </a:lnTo>
                  <a:lnTo>
                    <a:pt x="726" y="624"/>
                  </a:lnTo>
                  <a:lnTo>
                    <a:pt x="726" y="636"/>
                  </a:lnTo>
                  <a:lnTo>
                    <a:pt x="726" y="648"/>
                  </a:lnTo>
                  <a:lnTo>
                    <a:pt x="738" y="654"/>
                  </a:lnTo>
                  <a:lnTo>
                    <a:pt x="750" y="660"/>
                  </a:lnTo>
                  <a:lnTo>
                    <a:pt x="750" y="666"/>
                  </a:lnTo>
                  <a:lnTo>
                    <a:pt x="750" y="678"/>
                  </a:lnTo>
                  <a:lnTo>
                    <a:pt x="744" y="678"/>
                  </a:lnTo>
                  <a:lnTo>
                    <a:pt x="738" y="684"/>
                  </a:lnTo>
                  <a:lnTo>
                    <a:pt x="732" y="684"/>
                  </a:lnTo>
                  <a:lnTo>
                    <a:pt x="720" y="678"/>
                  </a:lnTo>
                  <a:lnTo>
                    <a:pt x="714" y="684"/>
                  </a:lnTo>
                  <a:lnTo>
                    <a:pt x="708" y="684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0" y="690"/>
                  </a:lnTo>
                  <a:lnTo>
                    <a:pt x="690" y="684"/>
                  </a:lnTo>
                  <a:lnTo>
                    <a:pt x="690" y="690"/>
                  </a:lnTo>
                  <a:lnTo>
                    <a:pt x="684" y="690"/>
                  </a:lnTo>
                  <a:lnTo>
                    <a:pt x="684" y="684"/>
                  </a:lnTo>
                  <a:lnTo>
                    <a:pt x="678" y="684"/>
                  </a:lnTo>
                  <a:lnTo>
                    <a:pt x="672" y="678"/>
                  </a:lnTo>
                  <a:lnTo>
                    <a:pt x="672" y="672"/>
                  </a:lnTo>
                  <a:lnTo>
                    <a:pt x="678" y="672"/>
                  </a:lnTo>
                  <a:lnTo>
                    <a:pt x="672" y="672"/>
                  </a:lnTo>
                  <a:lnTo>
                    <a:pt x="666" y="672"/>
                  </a:lnTo>
                  <a:lnTo>
                    <a:pt x="660" y="672"/>
                  </a:lnTo>
                  <a:lnTo>
                    <a:pt x="654" y="672"/>
                  </a:lnTo>
                  <a:lnTo>
                    <a:pt x="654" y="666"/>
                  </a:lnTo>
                  <a:lnTo>
                    <a:pt x="648" y="666"/>
                  </a:lnTo>
                  <a:lnTo>
                    <a:pt x="642" y="660"/>
                  </a:lnTo>
                  <a:lnTo>
                    <a:pt x="642" y="654"/>
                  </a:lnTo>
                  <a:lnTo>
                    <a:pt x="642" y="648"/>
                  </a:lnTo>
                  <a:lnTo>
                    <a:pt x="636" y="648"/>
                  </a:lnTo>
                  <a:lnTo>
                    <a:pt x="630" y="648"/>
                  </a:lnTo>
                  <a:lnTo>
                    <a:pt x="624" y="648"/>
                  </a:lnTo>
                  <a:lnTo>
                    <a:pt x="624" y="642"/>
                  </a:lnTo>
                  <a:lnTo>
                    <a:pt x="618" y="636"/>
                  </a:lnTo>
                  <a:lnTo>
                    <a:pt x="624" y="636"/>
                  </a:lnTo>
                  <a:lnTo>
                    <a:pt x="624" y="630"/>
                  </a:lnTo>
                  <a:lnTo>
                    <a:pt x="618" y="630"/>
                  </a:lnTo>
                  <a:lnTo>
                    <a:pt x="618" y="624"/>
                  </a:lnTo>
                  <a:lnTo>
                    <a:pt x="618" y="618"/>
                  </a:lnTo>
                  <a:lnTo>
                    <a:pt x="618" y="612"/>
                  </a:lnTo>
                  <a:lnTo>
                    <a:pt x="618" y="606"/>
                  </a:lnTo>
                  <a:lnTo>
                    <a:pt x="624" y="606"/>
                  </a:lnTo>
                  <a:lnTo>
                    <a:pt x="624" y="600"/>
                  </a:lnTo>
                  <a:lnTo>
                    <a:pt x="618" y="600"/>
                  </a:lnTo>
                  <a:lnTo>
                    <a:pt x="618" y="594"/>
                  </a:lnTo>
                  <a:lnTo>
                    <a:pt x="618" y="588"/>
                  </a:lnTo>
                  <a:lnTo>
                    <a:pt x="618" y="582"/>
                  </a:lnTo>
                  <a:lnTo>
                    <a:pt x="612" y="582"/>
                  </a:lnTo>
                  <a:lnTo>
                    <a:pt x="606" y="582"/>
                  </a:lnTo>
                  <a:lnTo>
                    <a:pt x="612" y="582"/>
                  </a:lnTo>
                  <a:lnTo>
                    <a:pt x="612" y="588"/>
                  </a:lnTo>
                  <a:lnTo>
                    <a:pt x="612" y="594"/>
                  </a:lnTo>
                  <a:lnTo>
                    <a:pt x="618" y="594"/>
                  </a:lnTo>
                  <a:lnTo>
                    <a:pt x="618" y="600"/>
                  </a:lnTo>
                  <a:lnTo>
                    <a:pt x="618" y="606"/>
                  </a:lnTo>
                  <a:lnTo>
                    <a:pt x="618" y="612"/>
                  </a:lnTo>
                  <a:lnTo>
                    <a:pt x="612" y="612"/>
                  </a:lnTo>
                  <a:lnTo>
                    <a:pt x="612" y="618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94" y="612"/>
                  </a:lnTo>
                  <a:lnTo>
                    <a:pt x="588" y="606"/>
                  </a:lnTo>
                  <a:lnTo>
                    <a:pt x="588" y="612"/>
                  </a:lnTo>
                  <a:lnTo>
                    <a:pt x="594" y="612"/>
                  </a:lnTo>
                  <a:lnTo>
                    <a:pt x="594" y="618"/>
                  </a:lnTo>
                  <a:lnTo>
                    <a:pt x="588" y="618"/>
                  </a:lnTo>
                  <a:lnTo>
                    <a:pt x="588" y="624"/>
                  </a:lnTo>
                  <a:lnTo>
                    <a:pt x="582" y="624"/>
                  </a:lnTo>
                  <a:lnTo>
                    <a:pt x="582" y="630"/>
                  </a:lnTo>
                  <a:lnTo>
                    <a:pt x="576" y="630"/>
                  </a:lnTo>
                  <a:lnTo>
                    <a:pt x="576" y="636"/>
                  </a:lnTo>
                  <a:lnTo>
                    <a:pt x="570" y="636"/>
                  </a:lnTo>
                  <a:lnTo>
                    <a:pt x="570" y="642"/>
                  </a:lnTo>
                  <a:lnTo>
                    <a:pt x="564" y="642"/>
                  </a:lnTo>
                  <a:lnTo>
                    <a:pt x="564" y="636"/>
                  </a:lnTo>
                  <a:lnTo>
                    <a:pt x="564" y="630"/>
                  </a:lnTo>
                  <a:lnTo>
                    <a:pt x="564" y="624"/>
                  </a:lnTo>
                  <a:lnTo>
                    <a:pt x="564" y="618"/>
                  </a:lnTo>
                  <a:lnTo>
                    <a:pt x="570" y="612"/>
                  </a:lnTo>
                  <a:lnTo>
                    <a:pt x="564" y="606"/>
                  </a:lnTo>
                  <a:lnTo>
                    <a:pt x="564" y="600"/>
                  </a:lnTo>
                  <a:lnTo>
                    <a:pt x="564" y="594"/>
                  </a:lnTo>
                  <a:lnTo>
                    <a:pt x="558" y="594"/>
                  </a:lnTo>
                  <a:lnTo>
                    <a:pt x="558" y="588"/>
                  </a:lnTo>
                  <a:lnTo>
                    <a:pt x="552" y="582"/>
                  </a:lnTo>
                  <a:lnTo>
                    <a:pt x="552" y="576"/>
                  </a:lnTo>
                  <a:lnTo>
                    <a:pt x="552" y="570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6" y="582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58" y="588"/>
                  </a:lnTo>
                  <a:lnTo>
                    <a:pt x="558" y="594"/>
                  </a:lnTo>
                  <a:lnTo>
                    <a:pt x="558" y="600"/>
                  </a:lnTo>
                  <a:lnTo>
                    <a:pt x="558" y="606"/>
                  </a:lnTo>
                  <a:lnTo>
                    <a:pt x="552" y="612"/>
                  </a:lnTo>
                  <a:lnTo>
                    <a:pt x="558" y="612"/>
                  </a:lnTo>
                  <a:lnTo>
                    <a:pt x="558" y="618"/>
                  </a:lnTo>
                  <a:lnTo>
                    <a:pt x="558" y="624"/>
                  </a:lnTo>
                  <a:lnTo>
                    <a:pt x="558" y="630"/>
                  </a:lnTo>
                  <a:lnTo>
                    <a:pt x="552" y="630"/>
                  </a:lnTo>
                  <a:lnTo>
                    <a:pt x="552" y="624"/>
                  </a:lnTo>
                  <a:lnTo>
                    <a:pt x="546" y="624"/>
                  </a:lnTo>
                  <a:lnTo>
                    <a:pt x="546" y="618"/>
                  </a:lnTo>
                  <a:lnTo>
                    <a:pt x="546" y="612"/>
                  </a:lnTo>
                  <a:lnTo>
                    <a:pt x="540" y="612"/>
                  </a:lnTo>
                  <a:lnTo>
                    <a:pt x="534" y="612"/>
                  </a:lnTo>
                  <a:lnTo>
                    <a:pt x="528" y="612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28" y="618"/>
                  </a:lnTo>
                  <a:lnTo>
                    <a:pt x="534" y="618"/>
                  </a:lnTo>
                  <a:lnTo>
                    <a:pt x="540" y="618"/>
                  </a:lnTo>
                  <a:lnTo>
                    <a:pt x="540" y="624"/>
                  </a:lnTo>
                  <a:lnTo>
                    <a:pt x="546" y="624"/>
                  </a:lnTo>
                  <a:lnTo>
                    <a:pt x="546" y="630"/>
                  </a:lnTo>
                  <a:lnTo>
                    <a:pt x="552" y="630"/>
                  </a:lnTo>
                  <a:lnTo>
                    <a:pt x="552" y="636"/>
                  </a:lnTo>
                  <a:lnTo>
                    <a:pt x="546" y="642"/>
                  </a:lnTo>
                  <a:lnTo>
                    <a:pt x="546" y="648"/>
                  </a:lnTo>
                  <a:lnTo>
                    <a:pt x="540" y="648"/>
                  </a:lnTo>
                  <a:lnTo>
                    <a:pt x="540" y="654"/>
                  </a:lnTo>
                  <a:lnTo>
                    <a:pt x="540" y="660"/>
                  </a:lnTo>
                  <a:lnTo>
                    <a:pt x="534" y="666"/>
                  </a:lnTo>
                  <a:lnTo>
                    <a:pt x="534" y="672"/>
                  </a:lnTo>
                  <a:lnTo>
                    <a:pt x="534" y="678"/>
                  </a:lnTo>
                  <a:lnTo>
                    <a:pt x="534" y="684"/>
                  </a:lnTo>
                  <a:lnTo>
                    <a:pt x="534" y="678"/>
                  </a:lnTo>
                  <a:lnTo>
                    <a:pt x="528" y="678"/>
                  </a:lnTo>
                  <a:lnTo>
                    <a:pt x="528" y="684"/>
                  </a:lnTo>
                  <a:lnTo>
                    <a:pt x="522" y="690"/>
                  </a:lnTo>
                  <a:lnTo>
                    <a:pt x="528" y="690"/>
                  </a:lnTo>
                  <a:lnTo>
                    <a:pt x="528" y="684"/>
                  </a:lnTo>
                  <a:lnTo>
                    <a:pt x="534" y="684"/>
                  </a:lnTo>
                  <a:lnTo>
                    <a:pt x="534" y="690"/>
                  </a:lnTo>
                  <a:lnTo>
                    <a:pt x="534" y="696"/>
                  </a:lnTo>
                  <a:lnTo>
                    <a:pt x="540" y="696"/>
                  </a:lnTo>
                  <a:lnTo>
                    <a:pt x="540" y="702"/>
                  </a:lnTo>
                  <a:lnTo>
                    <a:pt x="540" y="708"/>
                  </a:lnTo>
                  <a:lnTo>
                    <a:pt x="534" y="708"/>
                  </a:lnTo>
                  <a:lnTo>
                    <a:pt x="528" y="708"/>
                  </a:lnTo>
                  <a:lnTo>
                    <a:pt x="522" y="708"/>
                  </a:lnTo>
                  <a:lnTo>
                    <a:pt x="516" y="708"/>
                  </a:lnTo>
                  <a:lnTo>
                    <a:pt x="510" y="708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2" y="708"/>
                  </a:lnTo>
                  <a:lnTo>
                    <a:pt x="486" y="714"/>
                  </a:lnTo>
                  <a:lnTo>
                    <a:pt x="480" y="708"/>
                  </a:lnTo>
                  <a:lnTo>
                    <a:pt x="474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68" y="714"/>
                  </a:lnTo>
                  <a:lnTo>
                    <a:pt x="456" y="714"/>
                  </a:lnTo>
                  <a:lnTo>
                    <a:pt x="450" y="714"/>
                  </a:lnTo>
                  <a:lnTo>
                    <a:pt x="450" y="708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50" y="690"/>
                  </a:lnTo>
                  <a:lnTo>
                    <a:pt x="450" y="684"/>
                  </a:lnTo>
                  <a:lnTo>
                    <a:pt x="450" y="678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56" y="660"/>
                  </a:lnTo>
                  <a:lnTo>
                    <a:pt x="462" y="660"/>
                  </a:lnTo>
                  <a:lnTo>
                    <a:pt x="462" y="654"/>
                  </a:lnTo>
                  <a:lnTo>
                    <a:pt x="456" y="654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48"/>
                  </a:lnTo>
                  <a:lnTo>
                    <a:pt x="444" y="648"/>
                  </a:lnTo>
                  <a:lnTo>
                    <a:pt x="444" y="642"/>
                  </a:lnTo>
                  <a:lnTo>
                    <a:pt x="444" y="636"/>
                  </a:lnTo>
                  <a:lnTo>
                    <a:pt x="450" y="636"/>
                  </a:lnTo>
                  <a:lnTo>
                    <a:pt x="450" y="630"/>
                  </a:lnTo>
                  <a:lnTo>
                    <a:pt x="456" y="630"/>
                  </a:lnTo>
                  <a:lnTo>
                    <a:pt x="462" y="630"/>
                  </a:lnTo>
                  <a:lnTo>
                    <a:pt x="462" y="624"/>
                  </a:lnTo>
                  <a:lnTo>
                    <a:pt x="468" y="624"/>
                  </a:lnTo>
                  <a:lnTo>
                    <a:pt x="474" y="624"/>
                  </a:lnTo>
                  <a:lnTo>
                    <a:pt x="474" y="618"/>
                  </a:lnTo>
                  <a:lnTo>
                    <a:pt x="480" y="618"/>
                  </a:lnTo>
                  <a:lnTo>
                    <a:pt x="486" y="618"/>
                  </a:lnTo>
                  <a:lnTo>
                    <a:pt x="486" y="624"/>
                  </a:lnTo>
                  <a:lnTo>
                    <a:pt x="486" y="636"/>
                  </a:lnTo>
                  <a:lnTo>
                    <a:pt x="486" y="642"/>
                  </a:lnTo>
                  <a:lnTo>
                    <a:pt x="486" y="648"/>
                  </a:lnTo>
                  <a:lnTo>
                    <a:pt x="492" y="648"/>
                  </a:lnTo>
                  <a:lnTo>
                    <a:pt x="492" y="642"/>
                  </a:lnTo>
                  <a:lnTo>
                    <a:pt x="498" y="636"/>
                  </a:lnTo>
                  <a:lnTo>
                    <a:pt x="492" y="636"/>
                  </a:lnTo>
                  <a:lnTo>
                    <a:pt x="492" y="630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6" y="618"/>
                  </a:lnTo>
                  <a:lnTo>
                    <a:pt x="486" y="612"/>
                  </a:lnTo>
                  <a:lnTo>
                    <a:pt x="486" y="606"/>
                  </a:lnTo>
                  <a:lnTo>
                    <a:pt x="480" y="606"/>
                  </a:lnTo>
                  <a:lnTo>
                    <a:pt x="480" y="612"/>
                  </a:lnTo>
                  <a:lnTo>
                    <a:pt x="474" y="618"/>
                  </a:lnTo>
                  <a:lnTo>
                    <a:pt x="468" y="618"/>
                  </a:lnTo>
                  <a:lnTo>
                    <a:pt x="462" y="618"/>
                  </a:lnTo>
                  <a:lnTo>
                    <a:pt x="462" y="612"/>
                  </a:lnTo>
                  <a:lnTo>
                    <a:pt x="456" y="612"/>
                  </a:lnTo>
                  <a:lnTo>
                    <a:pt x="456" y="618"/>
                  </a:lnTo>
                  <a:lnTo>
                    <a:pt x="462" y="618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30"/>
                  </a:lnTo>
                  <a:lnTo>
                    <a:pt x="444" y="630"/>
                  </a:lnTo>
                  <a:lnTo>
                    <a:pt x="444" y="636"/>
                  </a:lnTo>
                  <a:lnTo>
                    <a:pt x="444" y="642"/>
                  </a:lnTo>
                  <a:lnTo>
                    <a:pt x="444" y="654"/>
                  </a:lnTo>
                  <a:lnTo>
                    <a:pt x="444" y="660"/>
                  </a:lnTo>
                  <a:lnTo>
                    <a:pt x="438" y="660"/>
                  </a:lnTo>
                  <a:lnTo>
                    <a:pt x="432" y="660"/>
                  </a:lnTo>
                  <a:lnTo>
                    <a:pt x="432" y="654"/>
                  </a:lnTo>
                  <a:lnTo>
                    <a:pt x="438" y="654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48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26" y="660"/>
                  </a:lnTo>
                  <a:lnTo>
                    <a:pt x="432" y="666"/>
                  </a:lnTo>
                  <a:lnTo>
                    <a:pt x="432" y="672"/>
                  </a:lnTo>
                  <a:lnTo>
                    <a:pt x="438" y="672"/>
                  </a:lnTo>
                  <a:lnTo>
                    <a:pt x="438" y="678"/>
                  </a:lnTo>
                  <a:lnTo>
                    <a:pt x="444" y="678"/>
                  </a:lnTo>
                  <a:lnTo>
                    <a:pt x="444" y="684"/>
                  </a:lnTo>
                  <a:lnTo>
                    <a:pt x="438" y="690"/>
                  </a:lnTo>
                  <a:lnTo>
                    <a:pt x="438" y="696"/>
                  </a:lnTo>
                  <a:lnTo>
                    <a:pt x="438" y="702"/>
                  </a:lnTo>
                  <a:lnTo>
                    <a:pt x="432" y="702"/>
                  </a:lnTo>
                  <a:lnTo>
                    <a:pt x="426" y="702"/>
                  </a:lnTo>
                  <a:lnTo>
                    <a:pt x="426" y="696"/>
                  </a:lnTo>
                  <a:lnTo>
                    <a:pt x="414" y="696"/>
                  </a:lnTo>
                  <a:lnTo>
                    <a:pt x="402" y="696"/>
                  </a:lnTo>
                  <a:lnTo>
                    <a:pt x="402" y="690"/>
                  </a:lnTo>
                  <a:lnTo>
                    <a:pt x="396" y="690"/>
                  </a:lnTo>
                  <a:lnTo>
                    <a:pt x="390" y="690"/>
                  </a:lnTo>
                  <a:lnTo>
                    <a:pt x="384" y="690"/>
                  </a:lnTo>
                  <a:lnTo>
                    <a:pt x="384" y="684"/>
                  </a:lnTo>
                  <a:lnTo>
                    <a:pt x="384" y="678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390" y="660"/>
                  </a:lnTo>
                  <a:lnTo>
                    <a:pt x="390" y="654"/>
                  </a:lnTo>
                  <a:lnTo>
                    <a:pt x="384" y="648"/>
                  </a:lnTo>
                  <a:lnTo>
                    <a:pt x="384" y="642"/>
                  </a:lnTo>
                  <a:lnTo>
                    <a:pt x="378" y="636"/>
                  </a:lnTo>
                  <a:lnTo>
                    <a:pt x="378" y="642"/>
                  </a:lnTo>
                  <a:lnTo>
                    <a:pt x="378" y="648"/>
                  </a:lnTo>
                  <a:lnTo>
                    <a:pt x="372" y="648"/>
                  </a:lnTo>
                  <a:lnTo>
                    <a:pt x="378" y="654"/>
                  </a:lnTo>
                  <a:lnTo>
                    <a:pt x="378" y="660"/>
                  </a:lnTo>
                  <a:lnTo>
                    <a:pt x="378" y="666"/>
                  </a:lnTo>
                  <a:lnTo>
                    <a:pt x="372" y="672"/>
                  </a:lnTo>
                  <a:lnTo>
                    <a:pt x="378" y="672"/>
                  </a:lnTo>
                  <a:lnTo>
                    <a:pt x="378" y="678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54" y="666"/>
                  </a:lnTo>
                  <a:lnTo>
                    <a:pt x="354" y="660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0" y="654"/>
                  </a:lnTo>
                  <a:lnTo>
                    <a:pt x="324" y="648"/>
                  </a:lnTo>
                  <a:lnTo>
                    <a:pt x="318" y="648"/>
                  </a:lnTo>
                  <a:lnTo>
                    <a:pt x="318" y="642"/>
                  </a:lnTo>
                  <a:lnTo>
                    <a:pt x="312" y="642"/>
                  </a:lnTo>
                  <a:lnTo>
                    <a:pt x="306" y="636"/>
                  </a:lnTo>
                  <a:lnTo>
                    <a:pt x="300" y="636"/>
                  </a:lnTo>
                  <a:lnTo>
                    <a:pt x="300" y="630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0" y="618"/>
                  </a:lnTo>
                  <a:lnTo>
                    <a:pt x="306" y="612"/>
                  </a:lnTo>
                  <a:lnTo>
                    <a:pt x="300" y="612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294" y="612"/>
                  </a:lnTo>
                  <a:lnTo>
                    <a:pt x="288" y="618"/>
                  </a:lnTo>
                  <a:lnTo>
                    <a:pt x="288" y="612"/>
                  </a:lnTo>
                  <a:lnTo>
                    <a:pt x="288" y="618"/>
                  </a:lnTo>
                  <a:lnTo>
                    <a:pt x="294" y="618"/>
                  </a:lnTo>
                  <a:lnTo>
                    <a:pt x="300" y="624"/>
                  </a:lnTo>
                  <a:lnTo>
                    <a:pt x="294" y="624"/>
                  </a:lnTo>
                  <a:lnTo>
                    <a:pt x="288" y="624"/>
                  </a:lnTo>
                  <a:lnTo>
                    <a:pt x="282" y="61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70" y="600"/>
                  </a:lnTo>
                  <a:lnTo>
                    <a:pt x="270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82" y="588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594"/>
                  </a:lnTo>
                  <a:lnTo>
                    <a:pt x="264" y="600"/>
                  </a:lnTo>
                  <a:lnTo>
                    <a:pt x="264" y="594"/>
                  </a:lnTo>
                  <a:lnTo>
                    <a:pt x="270" y="594"/>
                  </a:lnTo>
                  <a:lnTo>
                    <a:pt x="270" y="588"/>
                  </a:lnTo>
                  <a:lnTo>
                    <a:pt x="264" y="594"/>
                  </a:lnTo>
                  <a:lnTo>
                    <a:pt x="258" y="594"/>
                  </a:lnTo>
                  <a:lnTo>
                    <a:pt x="258" y="588"/>
                  </a:lnTo>
                  <a:lnTo>
                    <a:pt x="252" y="588"/>
                  </a:lnTo>
                  <a:lnTo>
                    <a:pt x="246" y="588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52" y="588"/>
                  </a:lnTo>
                  <a:lnTo>
                    <a:pt x="252" y="594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46" y="594"/>
                  </a:lnTo>
                  <a:lnTo>
                    <a:pt x="246" y="588"/>
                  </a:lnTo>
                  <a:lnTo>
                    <a:pt x="240" y="588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2" y="570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64"/>
                  </a:lnTo>
                  <a:lnTo>
                    <a:pt x="234" y="564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34" y="558"/>
                  </a:lnTo>
                  <a:lnTo>
                    <a:pt x="228" y="558"/>
                  </a:lnTo>
                  <a:lnTo>
                    <a:pt x="222" y="558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2" y="564"/>
                  </a:lnTo>
                  <a:lnTo>
                    <a:pt x="222" y="558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04" y="546"/>
                  </a:lnTo>
                  <a:lnTo>
                    <a:pt x="204" y="540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10" y="540"/>
                  </a:lnTo>
                  <a:lnTo>
                    <a:pt x="210" y="534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8"/>
                  </a:lnTo>
                  <a:lnTo>
                    <a:pt x="174" y="516"/>
                  </a:lnTo>
                  <a:lnTo>
                    <a:pt x="168" y="510"/>
                  </a:lnTo>
                  <a:lnTo>
                    <a:pt x="162" y="504"/>
                  </a:lnTo>
                  <a:lnTo>
                    <a:pt x="156" y="498"/>
                  </a:lnTo>
                  <a:lnTo>
                    <a:pt x="156" y="492"/>
                  </a:lnTo>
                  <a:lnTo>
                    <a:pt x="150" y="486"/>
                  </a:lnTo>
                  <a:lnTo>
                    <a:pt x="144" y="480"/>
                  </a:lnTo>
                  <a:lnTo>
                    <a:pt x="144" y="474"/>
                  </a:lnTo>
                  <a:lnTo>
                    <a:pt x="138" y="474"/>
                  </a:lnTo>
                  <a:lnTo>
                    <a:pt x="138" y="468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26" y="450"/>
                  </a:lnTo>
                  <a:lnTo>
                    <a:pt x="126" y="444"/>
                  </a:lnTo>
                  <a:lnTo>
                    <a:pt x="114" y="438"/>
                  </a:lnTo>
                  <a:lnTo>
                    <a:pt x="114" y="432"/>
                  </a:lnTo>
                  <a:lnTo>
                    <a:pt x="114" y="426"/>
                  </a:lnTo>
                  <a:lnTo>
                    <a:pt x="114" y="432"/>
                  </a:lnTo>
                  <a:lnTo>
                    <a:pt x="120" y="432"/>
                  </a:lnTo>
                  <a:lnTo>
                    <a:pt x="120" y="438"/>
                  </a:lnTo>
                  <a:lnTo>
                    <a:pt x="120" y="444"/>
                  </a:lnTo>
                  <a:lnTo>
                    <a:pt x="126" y="444"/>
                  </a:lnTo>
                  <a:lnTo>
                    <a:pt x="126" y="438"/>
                  </a:lnTo>
                  <a:lnTo>
                    <a:pt x="120" y="438"/>
                  </a:lnTo>
                  <a:lnTo>
                    <a:pt x="126" y="432"/>
                  </a:lnTo>
                  <a:lnTo>
                    <a:pt x="126" y="426"/>
                  </a:lnTo>
                  <a:lnTo>
                    <a:pt x="132" y="420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08" y="414"/>
                  </a:lnTo>
                  <a:lnTo>
                    <a:pt x="102" y="414"/>
                  </a:lnTo>
                  <a:lnTo>
                    <a:pt x="102" y="408"/>
                  </a:lnTo>
                  <a:lnTo>
                    <a:pt x="96" y="402"/>
                  </a:lnTo>
                  <a:lnTo>
                    <a:pt x="96" y="396"/>
                  </a:lnTo>
                  <a:lnTo>
                    <a:pt x="96" y="390"/>
                  </a:lnTo>
                  <a:lnTo>
                    <a:pt x="90" y="390"/>
                  </a:lnTo>
                  <a:lnTo>
                    <a:pt x="90" y="384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78" y="372"/>
                  </a:lnTo>
                  <a:lnTo>
                    <a:pt x="78" y="366"/>
                  </a:lnTo>
                  <a:lnTo>
                    <a:pt x="78" y="360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6" y="348"/>
                  </a:lnTo>
                  <a:lnTo>
                    <a:pt x="66" y="342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6" y="336"/>
                  </a:lnTo>
                  <a:lnTo>
                    <a:pt x="66" y="342"/>
                  </a:lnTo>
                  <a:lnTo>
                    <a:pt x="72" y="348"/>
                  </a:lnTo>
                  <a:lnTo>
                    <a:pt x="78" y="354"/>
                  </a:lnTo>
                  <a:lnTo>
                    <a:pt x="84" y="360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0" y="360"/>
                  </a:lnTo>
                  <a:lnTo>
                    <a:pt x="84" y="360"/>
                  </a:lnTo>
                  <a:lnTo>
                    <a:pt x="84" y="354"/>
                  </a:lnTo>
                  <a:lnTo>
                    <a:pt x="78" y="348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66" y="330"/>
                  </a:lnTo>
                  <a:lnTo>
                    <a:pt x="66" y="324"/>
                  </a:lnTo>
                  <a:lnTo>
                    <a:pt x="60" y="318"/>
                  </a:lnTo>
                  <a:lnTo>
                    <a:pt x="60" y="312"/>
                  </a:lnTo>
                  <a:lnTo>
                    <a:pt x="54" y="306"/>
                  </a:lnTo>
                  <a:lnTo>
                    <a:pt x="54" y="300"/>
                  </a:lnTo>
                  <a:lnTo>
                    <a:pt x="54" y="294"/>
                  </a:lnTo>
                  <a:lnTo>
                    <a:pt x="48" y="288"/>
                  </a:lnTo>
                  <a:lnTo>
                    <a:pt x="48" y="294"/>
                  </a:lnTo>
                  <a:lnTo>
                    <a:pt x="48" y="288"/>
                  </a:lnTo>
                  <a:lnTo>
                    <a:pt x="48" y="282"/>
                  </a:lnTo>
                  <a:lnTo>
                    <a:pt x="48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18" y="216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62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68"/>
                  </a:lnTo>
                  <a:lnTo>
                    <a:pt x="42" y="168"/>
                  </a:lnTo>
                  <a:lnTo>
                    <a:pt x="42" y="174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86"/>
                  </a:lnTo>
                  <a:close/>
                  <a:moveTo>
                    <a:pt x="642" y="660"/>
                  </a:moveTo>
                  <a:lnTo>
                    <a:pt x="642" y="666"/>
                  </a:lnTo>
                  <a:lnTo>
                    <a:pt x="648" y="666"/>
                  </a:lnTo>
                  <a:lnTo>
                    <a:pt x="648" y="672"/>
                  </a:lnTo>
                  <a:lnTo>
                    <a:pt x="648" y="678"/>
                  </a:lnTo>
                  <a:lnTo>
                    <a:pt x="654" y="678"/>
                  </a:lnTo>
                  <a:lnTo>
                    <a:pt x="654" y="684"/>
                  </a:lnTo>
                  <a:lnTo>
                    <a:pt x="660" y="684"/>
                  </a:lnTo>
                  <a:lnTo>
                    <a:pt x="660" y="690"/>
                  </a:lnTo>
                  <a:lnTo>
                    <a:pt x="654" y="690"/>
                  </a:lnTo>
                  <a:lnTo>
                    <a:pt x="648" y="690"/>
                  </a:lnTo>
                  <a:lnTo>
                    <a:pt x="636" y="696"/>
                  </a:lnTo>
                  <a:lnTo>
                    <a:pt x="630" y="696"/>
                  </a:lnTo>
                  <a:lnTo>
                    <a:pt x="624" y="696"/>
                  </a:lnTo>
                  <a:lnTo>
                    <a:pt x="618" y="696"/>
                  </a:lnTo>
                  <a:lnTo>
                    <a:pt x="612" y="696"/>
                  </a:lnTo>
                  <a:lnTo>
                    <a:pt x="594" y="696"/>
                  </a:lnTo>
                  <a:lnTo>
                    <a:pt x="588" y="696"/>
                  </a:lnTo>
                  <a:lnTo>
                    <a:pt x="582" y="696"/>
                  </a:lnTo>
                  <a:lnTo>
                    <a:pt x="570" y="702"/>
                  </a:lnTo>
                  <a:lnTo>
                    <a:pt x="564" y="702"/>
                  </a:lnTo>
                  <a:lnTo>
                    <a:pt x="558" y="702"/>
                  </a:lnTo>
                  <a:lnTo>
                    <a:pt x="552" y="702"/>
                  </a:lnTo>
                  <a:lnTo>
                    <a:pt x="552" y="696"/>
                  </a:lnTo>
                  <a:lnTo>
                    <a:pt x="546" y="696"/>
                  </a:lnTo>
                  <a:lnTo>
                    <a:pt x="546" y="690"/>
                  </a:lnTo>
                  <a:lnTo>
                    <a:pt x="552" y="684"/>
                  </a:lnTo>
                  <a:lnTo>
                    <a:pt x="552" y="678"/>
                  </a:lnTo>
                  <a:lnTo>
                    <a:pt x="558" y="672"/>
                  </a:lnTo>
                  <a:lnTo>
                    <a:pt x="558" y="666"/>
                  </a:lnTo>
                  <a:lnTo>
                    <a:pt x="564" y="666"/>
                  </a:lnTo>
                  <a:lnTo>
                    <a:pt x="570" y="666"/>
                  </a:lnTo>
                  <a:lnTo>
                    <a:pt x="570" y="654"/>
                  </a:lnTo>
                  <a:lnTo>
                    <a:pt x="570" y="648"/>
                  </a:lnTo>
                  <a:lnTo>
                    <a:pt x="582" y="642"/>
                  </a:lnTo>
                  <a:lnTo>
                    <a:pt x="582" y="636"/>
                  </a:lnTo>
                  <a:lnTo>
                    <a:pt x="588" y="636"/>
                  </a:lnTo>
                  <a:lnTo>
                    <a:pt x="588" y="630"/>
                  </a:lnTo>
                  <a:lnTo>
                    <a:pt x="594" y="624"/>
                  </a:lnTo>
                  <a:lnTo>
                    <a:pt x="594" y="618"/>
                  </a:lnTo>
                  <a:lnTo>
                    <a:pt x="600" y="618"/>
                  </a:lnTo>
                  <a:lnTo>
                    <a:pt x="600" y="612"/>
                  </a:lnTo>
                  <a:lnTo>
                    <a:pt x="606" y="612"/>
                  </a:lnTo>
                  <a:lnTo>
                    <a:pt x="606" y="618"/>
                  </a:lnTo>
                  <a:lnTo>
                    <a:pt x="612" y="618"/>
                  </a:lnTo>
                  <a:lnTo>
                    <a:pt x="618" y="618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18" y="636"/>
                  </a:lnTo>
                  <a:lnTo>
                    <a:pt x="618" y="642"/>
                  </a:lnTo>
                  <a:lnTo>
                    <a:pt x="618" y="648"/>
                  </a:lnTo>
                  <a:lnTo>
                    <a:pt x="624" y="648"/>
                  </a:lnTo>
                  <a:lnTo>
                    <a:pt x="630" y="648"/>
                  </a:lnTo>
                  <a:lnTo>
                    <a:pt x="636" y="654"/>
                  </a:lnTo>
                  <a:lnTo>
                    <a:pt x="642" y="654"/>
                  </a:lnTo>
                  <a:lnTo>
                    <a:pt x="642" y="66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0" name="Freeform 5">
              <a:extLst>
                <a:ext uri="{FF2B5EF4-FFF2-40B4-BE49-F238E27FC236}">
                  <a16:creationId xmlns:a16="http://schemas.microsoft.com/office/drawing/2014/main" id="{5577BDCA-F2C7-42E0-A391-018D79AA29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0384" y="4231013"/>
              <a:ext cx="404750" cy="480848"/>
            </a:xfrm>
            <a:custGeom>
              <a:avLst/>
              <a:gdLst>
                <a:gd name="T0" fmla="*/ 9 w 762"/>
                <a:gd name="T1" fmla="*/ 58 h 900"/>
                <a:gd name="T2" fmla="*/ 4 w 762"/>
                <a:gd name="T3" fmla="*/ 56 h 900"/>
                <a:gd name="T4" fmla="*/ 0 w 762"/>
                <a:gd name="T5" fmla="*/ 49 h 900"/>
                <a:gd name="T6" fmla="*/ 4 w 762"/>
                <a:gd name="T7" fmla="*/ 36 h 900"/>
                <a:gd name="T8" fmla="*/ 8 w 762"/>
                <a:gd name="T9" fmla="*/ 28 h 900"/>
                <a:gd name="T10" fmla="*/ 7 w 762"/>
                <a:gd name="T11" fmla="*/ 13 h 900"/>
                <a:gd name="T12" fmla="*/ 15 w 762"/>
                <a:gd name="T13" fmla="*/ 0 h 900"/>
                <a:gd name="T14" fmla="*/ 16 w 762"/>
                <a:gd name="T15" fmla="*/ 13 h 900"/>
                <a:gd name="T16" fmla="*/ 31 w 762"/>
                <a:gd name="T17" fmla="*/ 28 h 900"/>
                <a:gd name="T18" fmla="*/ 49 w 762"/>
                <a:gd name="T19" fmla="*/ 33 h 900"/>
                <a:gd name="T20" fmla="*/ 42 w 762"/>
                <a:gd name="T21" fmla="*/ 48 h 900"/>
                <a:gd name="T22" fmla="*/ 51 w 762"/>
                <a:gd name="T23" fmla="*/ 48 h 900"/>
                <a:gd name="T24" fmla="*/ 61 w 762"/>
                <a:gd name="T25" fmla="*/ 51 h 900"/>
                <a:gd name="T26" fmla="*/ 63 w 762"/>
                <a:gd name="T27" fmla="*/ 60 h 900"/>
                <a:gd name="T28" fmla="*/ 63 w 762"/>
                <a:gd name="T29" fmla="*/ 66 h 900"/>
                <a:gd name="T30" fmla="*/ 65 w 762"/>
                <a:gd name="T31" fmla="*/ 69 h 900"/>
                <a:gd name="T32" fmla="*/ 66 w 762"/>
                <a:gd name="T33" fmla="*/ 72 h 900"/>
                <a:gd name="T34" fmla="*/ 56 w 762"/>
                <a:gd name="T35" fmla="*/ 73 h 900"/>
                <a:gd name="T36" fmla="*/ 55 w 762"/>
                <a:gd name="T37" fmla="*/ 69 h 900"/>
                <a:gd name="T38" fmla="*/ 57 w 762"/>
                <a:gd name="T39" fmla="*/ 67 h 900"/>
                <a:gd name="T40" fmla="*/ 55 w 762"/>
                <a:gd name="T41" fmla="*/ 65 h 900"/>
                <a:gd name="T42" fmla="*/ 53 w 762"/>
                <a:gd name="T43" fmla="*/ 68 h 900"/>
                <a:gd name="T44" fmla="*/ 49 w 762"/>
                <a:gd name="T45" fmla="*/ 68 h 900"/>
                <a:gd name="T46" fmla="*/ 44 w 762"/>
                <a:gd name="T47" fmla="*/ 63 h 900"/>
                <a:gd name="T48" fmla="*/ 40 w 762"/>
                <a:gd name="T49" fmla="*/ 59 h 900"/>
                <a:gd name="T50" fmla="*/ 38 w 762"/>
                <a:gd name="T51" fmla="*/ 57 h 900"/>
                <a:gd name="T52" fmla="*/ 43 w 762"/>
                <a:gd name="T53" fmla="*/ 62 h 900"/>
                <a:gd name="T54" fmla="*/ 43 w 762"/>
                <a:gd name="T55" fmla="*/ 66 h 900"/>
                <a:gd name="T56" fmla="*/ 41 w 762"/>
                <a:gd name="T57" fmla="*/ 71 h 900"/>
                <a:gd name="T58" fmla="*/ 37 w 762"/>
                <a:gd name="T59" fmla="*/ 69 h 900"/>
                <a:gd name="T60" fmla="*/ 35 w 762"/>
                <a:gd name="T61" fmla="*/ 64 h 900"/>
                <a:gd name="T62" fmla="*/ 31 w 762"/>
                <a:gd name="T63" fmla="*/ 57 h 900"/>
                <a:gd name="T64" fmla="*/ 30 w 762"/>
                <a:gd name="T65" fmla="*/ 62 h 900"/>
                <a:gd name="T66" fmla="*/ 29 w 762"/>
                <a:gd name="T67" fmla="*/ 61 h 900"/>
                <a:gd name="T68" fmla="*/ 31 w 762"/>
                <a:gd name="T69" fmla="*/ 66 h 900"/>
                <a:gd name="T70" fmla="*/ 33 w 762"/>
                <a:gd name="T71" fmla="*/ 72 h 900"/>
                <a:gd name="T72" fmla="*/ 32 w 762"/>
                <a:gd name="T73" fmla="*/ 76 h 900"/>
                <a:gd name="T74" fmla="*/ 28 w 762"/>
                <a:gd name="T75" fmla="*/ 75 h 900"/>
                <a:gd name="T76" fmla="*/ 24 w 762"/>
                <a:gd name="T77" fmla="*/ 69 h 900"/>
                <a:gd name="T78" fmla="*/ 24 w 762"/>
                <a:gd name="T79" fmla="*/ 62 h 900"/>
                <a:gd name="T80" fmla="*/ 23 w 762"/>
                <a:gd name="T81" fmla="*/ 62 h 900"/>
                <a:gd name="T82" fmla="*/ 23 w 762"/>
                <a:gd name="T83" fmla="*/ 68 h 900"/>
                <a:gd name="T84" fmla="*/ 25 w 762"/>
                <a:gd name="T85" fmla="*/ 77 h 900"/>
                <a:gd name="T86" fmla="*/ 17 w 762"/>
                <a:gd name="T87" fmla="*/ 74 h 900"/>
                <a:gd name="T88" fmla="*/ 17 w 762"/>
                <a:gd name="T89" fmla="*/ 67 h 900"/>
                <a:gd name="T90" fmla="*/ 16 w 762"/>
                <a:gd name="T91" fmla="*/ 67 h 900"/>
                <a:gd name="T92" fmla="*/ 15 w 762"/>
                <a:gd name="T93" fmla="*/ 71 h 900"/>
                <a:gd name="T94" fmla="*/ 12 w 762"/>
                <a:gd name="T95" fmla="*/ 68 h 900"/>
                <a:gd name="T96" fmla="*/ 15 w 762"/>
                <a:gd name="T97" fmla="*/ 72 h 900"/>
                <a:gd name="T98" fmla="*/ 17 w 762"/>
                <a:gd name="T99" fmla="*/ 77 h 900"/>
                <a:gd name="T100" fmla="*/ 11 w 762"/>
                <a:gd name="T101" fmla="*/ 77 h 900"/>
                <a:gd name="T102" fmla="*/ 10 w 762"/>
                <a:gd name="T103" fmla="*/ 69 h 900"/>
                <a:gd name="T104" fmla="*/ 11 w 762"/>
                <a:gd name="T105" fmla="*/ 72 h 900"/>
                <a:gd name="T106" fmla="*/ 9 w 762"/>
                <a:gd name="T107" fmla="*/ 78 h 900"/>
                <a:gd name="T108" fmla="*/ 43 w 762"/>
                <a:gd name="T109" fmla="*/ 71 h 900"/>
                <a:gd name="T110" fmla="*/ 51 w 762"/>
                <a:gd name="T111" fmla="*/ 69 h 900"/>
                <a:gd name="T112" fmla="*/ 43 w 762"/>
                <a:gd name="T113" fmla="*/ 76 h 900"/>
                <a:gd name="T114" fmla="*/ 36 w 762"/>
                <a:gd name="T115" fmla="*/ 65 h 900"/>
                <a:gd name="T116" fmla="*/ 38 w 762"/>
                <a:gd name="T117" fmla="*/ 72 h 900"/>
                <a:gd name="T118" fmla="*/ 34 w 762"/>
                <a:gd name="T119" fmla="*/ 69 h 900"/>
                <a:gd name="T120" fmla="*/ 29 w 762"/>
                <a:gd name="T121" fmla="*/ 64 h 900"/>
                <a:gd name="T122" fmla="*/ 32 w 762"/>
                <a:gd name="T123" fmla="*/ 66 h 9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900"/>
                <a:gd name="T188" fmla="*/ 762 w 762"/>
                <a:gd name="T189" fmla="*/ 900 h 90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900">
                  <a:moveTo>
                    <a:pt x="90" y="768"/>
                  </a:moveTo>
                  <a:lnTo>
                    <a:pt x="102" y="756"/>
                  </a:lnTo>
                  <a:lnTo>
                    <a:pt x="102" y="750"/>
                  </a:lnTo>
                  <a:lnTo>
                    <a:pt x="90" y="744"/>
                  </a:lnTo>
                  <a:lnTo>
                    <a:pt x="84" y="738"/>
                  </a:lnTo>
                  <a:lnTo>
                    <a:pt x="90" y="726"/>
                  </a:lnTo>
                  <a:lnTo>
                    <a:pt x="84" y="720"/>
                  </a:lnTo>
                  <a:lnTo>
                    <a:pt x="78" y="720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72" y="702"/>
                  </a:lnTo>
                  <a:lnTo>
                    <a:pt x="72" y="696"/>
                  </a:lnTo>
                  <a:lnTo>
                    <a:pt x="84" y="684"/>
                  </a:lnTo>
                  <a:lnTo>
                    <a:pt x="96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102" y="654"/>
                  </a:lnTo>
                  <a:lnTo>
                    <a:pt x="108" y="654"/>
                  </a:lnTo>
                  <a:lnTo>
                    <a:pt x="114" y="648"/>
                  </a:lnTo>
                  <a:lnTo>
                    <a:pt x="120" y="642"/>
                  </a:lnTo>
                  <a:lnTo>
                    <a:pt x="120" y="636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14" y="618"/>
                  </a:lnTo>
                  <a:lnTo>
                    <a:pt x="102" y="618"/>
                  </a:lnTo>
                  <a:lnTo>
                    <a:pt x="90" y="618"/>
                  </a:lnTo>
                  <a:lnTo>
                    <a:pt x="78" y="624"/>
                  </a:lnTo>
                  <a:lnTo>
                    <a:pt x="72" y="630"/>
                  </a:lnTo>
                  <a:lnTo>
                    <a:pt x="54" y="642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42" y="642"/>
                  </a:lnTo>
                  <a:lnTo>
                    <a:pt x="42" y="636"/>
                  </a:lnTo>
                  <a:lnTo>
                    <a:pt x="36" y="636"/>
                  </a:lnTo>
                  <a:lnTo>
                    <a:pt x="30" y="642"/>
                  </a:lnTo>
                  <a:lnTo>
                    <a:pt x="30" y="636"/>
                  </a:lnTo>
                  <a:lnTo>
                    <a:pt x="30" y="630"/>
                  </a:lnTo>
                  <a:lnTo>
                    <a:pt x="24" y="630"/>
                  </a:lnTo>
                  <a:lnTo>
                    <a:pt x="30" y="624"/>
                  </a:lnTo>
                  <a:lnTo>
                    <a:pt x="30" y="618"/>
                  </a:lnTo>
                  <a:lnTo>
                    <a:pt x="30" y="612"/>
                  </a:lnTo>
                  <a:lnTo>
                    <a:pt x="36" y="612"/>
                  </a:lnTo>
                  <a:lnTo>
                    <a:pt x="36" y="606"/>
                  </a:lnTo>
                  <a:lnTo>
                    <a:pt x="30" y="606"/>
                  </a:lnTo>
                  <a:lnTo>
                    <a:pt x="24" y="612"/>
                  </a:lnTo>
                  <a:lnTo>
                    <a:pt x="18" y="606"/>
                  </a:lnTo>
                  <a:lnTo>
                    <a:pt x="12" y="594"/>
                  </a:lnTo>
                  <a:lnTo>
                    <a:pt x="6" y="582"/>
                  </a:lnTo>
                  <a:lnTo>
                    <a:pt x="6" y="570"/>
                  </a:lnTo>
                  <a:lnTo>
                    <a:pt x="0" y="558"/>
                  </a:lnTo>
                  <a:lnTo>
                    <a:pt x="6" y="552"/>
                  </a:lnTo>
                  <a:lnTo>
                    <a:pt x="6" y="534"/>
                  </a:lnTo>
                  <a:lnTo>
                    <a:pt x="18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12" y="480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54" y="408"/>
                  </a:lnTo>
                  <a:lnTo>
                    <a:pt x="54" y="396"/>
                  </a:lnTo>
                  <a:lnTo>
                    <a:pt x="54" y="384"/>
                  </a:lnTo>
                  <a:lnTo>
                    <a:pt x="60" y="378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66"/>
                  </a:lnTo>
                  <a:lnTo>
                    <a:pt x="60" y="360"/>
                  </a:lnTo>
                  <a:lnTo>
                    <a:pt x="66" y="360"/>
                  </a:lnTo>
                  <a:lnTo>
                    <a:pt x="72" y="354"/>
                  </a:lnTo>
                  <a:lnTo>
                    <a:pt x="78" y="354"/>
                  </a:lnTo>
                  <a:lnTo>
                    <a:pt x="84" y="348"/>
                  </a:lnTo>
                  <a:lnTo>
                    <a:pt x="96" y="348"/>
                  </a:lnTo>
                  <a:lnTo>
                    <a:pt x="96" y="342"/>
                  </a:lnTo>
                  <a:lnTo>
                    <a:pt x="96" y="336"/>
                  </a:lnTo>
                  <a:lnTo>
                    <a:pt x="96" y="330"/>
                  </a:lnTo>
                  <a:lnTo>
                    <a:pt x="96" y="324"/>
                  </a:lnTo>
                  <a:lnTo>
                    <a:pt x="102" y="318"/>
                  </a:lnTo>
                  <a:lnTo>
                    <a:pt x="108" y="312"/>
                  </a:lnTo>
                  <a:lnTo>
                    <a:pt x="96" y="306"/>
                  </a:lnTo>
                  <a:lnTo>
                    <a:pt x="84" y="288"/>
                  </a:lnTo>
                  <a:lnTo>
                    <a:pt x="108" y="258"/>
                  </a:lnTo>
                  <a:lnTo>
                    <a:pt x="102" y="222"/>
                  </a:lnTo>
                  <a:lnTo>
                    <a:pt x="84" y="222"/>
                  </a:lnTo>
                  <a:lnTo>
                    <a:pt x="54" y="216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2"/>
                  </a:lnTo>
                  <a:lnTo>
                    <a:pt x="72" y="192"/>
                  </a:lnTo>
                  <a:lnTo>
                    <a:pt x="84" y="186"/>
                  </a:lnTo>
                  <a:lnTo>
                    <a:pt x="90" y="186"/>
                  </a:lnTo>
                  <a:lnTo>
                    <a:pt x="90" y="174"/>
                  </a:lnTo>
                  <a:lnTo>
                    <a:pt x="84" y="162"/>
                  </a:lnTo>
                  <a:lnTo>
                    <a:pt x="84" y="150"/>
                  </a:lnTo>
                  <a:lnTo>
                    <a:pt x="84" y="126"/>
                  </a:lnTo>
                  <a:lnTo>
                    <a:pt x="84" y="114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8" y="96"/>
                  </a:lnTo>
                  <a:lnTo>
                    <a:pt x="120" y="90"/>
                  </a:lnTo>
                  <a:lnTo>
                    <a:pt x="126" y="78"/>
                  </a:lnTo>
                  <a:lnTo>
                    <a:pt x="138" y="66"/>
                  </a:lnTo>
                  <a:lnTo>
                    <a:pt x="138" y="48"/>
                  </a:lnTo>
                  <a:lnTo>
                    <a:pt x="138" y="42"/>
                  </a:lnTo>
                  <a:lnTo>
                    <a:pt x="126" y="30"/>
                  </a:lnTo>
                  <a:lnTo>
                    <a:pt x="120" y="18"/>
                  </a:lnTo>
                  <a:lnTo>
                    <a:pt x="132" y="12"/>
                  </a:lnTo>
                  <a:lnTo>
                    <a:pt x="144" y="0"/>
                  </a:lnTo>
                  <a:lnTo>
                    <a:pt x="150" y="6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6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74" y="66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68" y="72"/>
                  </a:lnTo>
                  <a:lnTo>
                    <a:pt x="156" y="150"/>
                  </a:lnTo>
                  <a:lnTo>
                    <a:pt x="168" y="144"/>
                  </a:lnTo>
                  <a:lnTo>
                    <a:pt x="180" y="150"/>
                  </a:lnTo>
                  <a:lnTo>
                    <a:pt x="186" y="150"/>
                  </a:lnTo>
                  <a:lnTo>
                    <a:pt x="186" y="144"/>
                  </a:lnTo>
                  <a:lnTo>
                    <a:pt x="192" y="150"/>
                  </a:lnTo>
                  <a:lnTo>
                    <a:pt x="222" y="150"/>
                  </a:lnTo>
                  <a:lnTo>
                    <a:pt x="222" y="168"/>
                  </a:lnTo>
                  <a:lnTo>
                    <a:pt x="222" y="186"/>
                  </a:lnTo>
                  <a:lnTo>
                    <a:pt x="234" y="198"/>
                  </a:lnTo>
                  <a:lnTo>
                    <a:pt x="234" y="234"/>
                  </a:lnTo>
                  <a:lnTo>
                    <a:pt x="228" y="270"/>
                  </a:lnTo>
                  <a:lnTo>
                    <a:pt x="246" y="282"/>
                  </a:lnTo>
                  <a:lnTo>
                    <a:pt x="258" y="294"/>
                  </a:lnTo>
                  <a:lnTo>
                    <a:pt x="270" y="300"/>
                  </a:lnTo>
                  <a:lnTo>
                    <a:pt x="294" y="300"/>
                  </a:lnTo>
                  <a:lnTo>
                    <a:pt x="288" y="306"/>
                  </a:lnTo>
                  <a:lnTo>
                    <a:pt x="300" y="312"/>
                  </a:lnTo>
                  <a:lnTo>
                    <a:pt x="306" y="318"/>
                  </a:lnTo>
                  <a:lnTo>
                    <a:pt x="324" y="324"/>
                  </a:lnTo>
                  <a:lnTo>
                    <a:pt x="354" y="318"/>
                  </a:lnTo>
                  <a:lnTo>
                    <a:pt x="354" y="312"/>
                  </a:lnTo>
                  <a:lnTo>
                    <a:pt x="366" y="312"/>
                  </a:lnTo>
                  <a:lnTo>
                    <a:pt x="384" y="312"/>
                  </a:lnTo>
                  <a:lnTo>
                    <a:pt x="390" y="306"/>
                  </a:lnTo>
                  <a:lnTo>
                    <a:pt x="396" y="306"/>
                  </a:lnTo>
                  <a:lnTo>
                    <a:pt x="408" y="306"/>
                  </a:lnTo>
                  <a:lnTo>
                    <a:pt x="426" y="312"/>
                  </a:lnTo>
                  <a:lnTo>
                    <a:pt x="456" y="324"/>
                  </a:lnTo>
                  <a:lnTo>
                    <a:pt x="504" y="330"/>
                  </a:lnTo>
                  <a:lnTo>
                    <a:pt x="510" y="336"/>
                  </a:lnTo>
                  <a:lnTo>
                    <a:pt x="534" y="336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58" y="330"/>
                  </a:lnTo>
                  <a:lnTo>
                    <a:pt x="564" y="330"/>
                  </a:lnTo>
                  <a:lnTo>
                    <a:pt x="570" y="354"/>
                  </a:lnTo>
                  <a:lnTo>
                    <a:pt x="564" y="378"/>
                  </a:lnTo>
                  <a:lnTo>
                    <a:pt x="558" y="396"/>
                  </a:lnTo>
                  <a:lnTo>
                    <a:pt x="546" y="414"/>
                  </a:lnTo>
                  <a:lnTo>
                    <a:pt x="546" y="438"/>
                  </a:lnTo>
                  <a:lnTo>
                    <a:pt x="540" y="456"/>
                  </a:lnTo>
                  <a:lnTo>
                    <a:pt x="540" y="474"/>
                  </a:lnTo>
                  <a:lnTo>
                    <a:pt x="528" y="480"/>
                  </a:lnTo>
                  <a:lnTo>
                    <a:pt x="522" y="492"/>
                  </a:lnTo>
                  <a:lnTo>
                    <a:pt x="504" y="498"/>
                  </a:lnTo>
                  <a:lnTo>
                    <a:pt x="498" y="498"/>
                  </a:lnTo>
                  <a:lnTo>
                    <a:pt x="492" y="504"/>
                  </a:lnTo>
                  <a:lnTo>
                    <a:pt x="486" y="510"/>
                  </a:lnTo>
                  <a:lnTo>
                    <a:pt x="480" y="510"/>
                  </a:lnTo>
                  <a:lnTo>
                    <a:pt x="480" y="516"/>
                  </a:lnTo>
                  <a:lnTo>
                    <a:pt x="474" y="522"/>
                  </a:lnTo>
                  <a:lnTo>
                    <a:pt x="474" y="528"/>
                  </a:lnTo>
                  <a:lnTo>
                    <a:pt x="474" y="534"/>
                  </a:lnTo>
                  <a:lnTo>
                    <a:pt x="480" y="540"/>
                  </a:lnTo>
                  <a:lnTo>
                    <a:pt x="492" y="540"/>
                  </a:lnTo>
                  <a:lnTo>
                    <a:pt x="498" y="546"/>
                  </a:lnTo>
                  <a:lnTo>
                    <a:pt x="504" y="552"/>
                  </a:lnTo>
                  <a:lnTo>
                    <a:pt x="510" y="552"/>
                  </a:lnTo>
                  <a:lnTo>
                    <a:pt x="516" y="558"/>
                  </a:lnTo>
                  <a:lnTo>
                    <a:pt x="528" y="558"/>
                  </a:lnTo>
                  <a:lnTo>
                    <a:pt x="534" y="552"/>
                  </a:lnTo>
                  <a:lnTo>
                    <a:pt x="540" y="552"/>
                  </a:lnTo>
                  <a:lnTo>
                    <a:pt x="546" y="552"/>
                  </a:lnTo>
                  <a:lnTo>
                    <a:pt x="558" y="546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70" y="546"/>
                  </a:lnTo>
                  <a:lnTo>
                    <a:pt x="570" y="540"/>
                  </a:lnTo>
                  <a:lnTo>
                    <a:pt x="570" y="546"/>
                  </a:lnTo>
                  <a:lnTo>
                    <a:pt x="576" y="546"/>
                  </a:lnTo>
                  <a:lnTo>
                    <a:pt x="582" y="546"/>
                  </a:lnTo>
                  <a:lnTo>
                    <a:pt x="588" y="540"/>
                  </a:lnTo>
                  <a:lnTo>
                    <a:pt x="594" y="546"/>
                  </a:lnTo>
                  <a:lnTo>
                    <a:pt x="606" y="546"/>
                  </a:lnTo>
                  <a:lnTo>
                    <a:pt x="612" y="546"/>
                  </a:lnTo>
                  <a:lnTo>
                    <a:pt x="612" y="552"/>
                  </a:lnTo>
                  <a:lnTo>
                    <a:pt x="618" y="552"/>
                  </a:lnTo>
                  <a:lnTo>
                    <a:pt x="624" y="552"/>
                  </a:lnTo>
                  <a:lnTo>
                    <a:pt x="630" y="552"/>
                  </a:lnTo>
                  <a:lnTo>
                    <a:pt x="648" y="546"/>
                  </a:lnTo>
                  <a:lnTo>
                    <a:pt x="654" y="546"/>
                  </a:lnTo>
                  <a:lnTo>
                    <a:pt x="654" y="552"/>
                  </a:lnTo>
                  <a:lnTo>
                    <a:pt x="660" y="558"/>
                  </a:lnTo>
                  <a:lnTo>
                    <a:pt x="666" y="564"/>
                  </a:lnTo>
                  <a:lnTo>
                    <a:pt x="672" y="564"/>
                  </a:lnTo>
                  <a:lnTo>
                    <a:pt x="678" y="564"/>
                  </a:lnTo>
                  <a:lnTo>
                    <a:pt x="696" y="576"/>
                  </a:lnTo>
                  <a:lnTo>
                    <a:pt x="696" y="582"/>
                  </a:lnTo>
                  <a:lnTo>
                    <a:pt x="708" y="588"/>
                  </a:lnTo>
                  <a:lnTo>
                    <a:pt x="708" y="594"/>
                  </a:lnTo>
                  <a:lnTo>
                    <a:pt x="720" y="606"/>
                  </a:lnTo>
                  <a:lnTo>
                    <a:pt x="720" y="618"/>
                  </a:lnTo>
                  <a:lnTo>
                    <a:pt x="720" y="624"/>
                  </a:lnTo>
                  <a:lnTo>
                    <a:pt x="726" y="630"/>
                  </a:lnTo>
                  <a:lnTo>
                    <a:pt x="732" y="636"/>
                  </a:lnTo>
                  <a:lnTo>
                    <a:pt x="732" y="642"/>
                  </a:lnTo>
                  <a:lnTo>
                    <a:pt x="732" y="648"/>
                  </a:lnTo>
                  <a:lnTo>
                    <a:pt x="726" y="654"/>
                  </a:lnTo>
                  <a:lnTo>
                    <a:pt x="720" y="660"/>
                  </a:lnTo>
                  <a:lnTo>
                    <a:pt x="714" y="666"/>
                  </a:lnTo>
                  <a:lnTo>
                    <a:pt x="714" y="672"/>
                  </a:lnTo>
                  <a:lnTo>
                    <a:pt x="714" y="678"/>
                  </a:lnTo>
                  <a:lnTo>
                    <a:pt x="720" y="678"/>
                  </a:lnTo>
                  <a:lnTo>
                    <a:pt x="720" y="684"/>
                  </a:lnTo>
                  <a:lnTo>
                    <a:pt x="714" y="690"/>
                  </a:lnTo>
                  <a:lnTo>
                    <a:pt x="714" y="696"/>
                  </a:lnTo>
                  <a:lnTo>
                    <a:pt x="714" y="702"/>
                  </a:lnTo>
                  <a:lnTo>
                    <a:pt x="714" y="708"/>
                  </a:lnTo>
                  <a:lnTo>
                    <a:pt x="720" y="708"/>
                  </a:lnTo>
                  <a:lnTo>
                    <a:pt x="720" y="720"/>
                  </a:lnTo>
                  <a:lnTo>
                    <a:pt x="720" y="726"/>
                  </a:lnTo>
                  <a:lnTo>
                    <a:pt x="726" y="726"/>
                  </a:lnTo>
                  <a:lnTo>
                    <a:pt x="726" y="732"/>
                  </a:lnTo>
                  <a:lnTo>
                    <a:pt x="732" y="732"/>
                  </a:lnTo>
                  <a:lnTo>
                    <a:pt x="732" y="738"/>
                  </a:lnTo>
                  <a:lnTo>
                    <a:pt x="726" y="738"/>
                  </a:lnTo>
                  <a:lnTo>
                    <a:pt x="720" y="738"/>
                  </a:lnTo>
                  <a:lnTo>
                    <a:pt x="720" y="744"/>
                  </a:lnTo>
                  <a:lnTo>
                    <a:pt x="720" y="750"/>
                  </a:lnTo>
                  <a:lnTo>
                    <a:pt x="714" y="750"/>
                  </a:lnTo>
                  <a:lnTo>
                    <a:pt x="714" y="756"/>
                  </a:lnTo>
                  <a:lnTo>
                    <a:pt x="720" y="756"/>
                  </a:lnTo>
                  <a:lnTo>
                    <a:pt x="714" y="762"/>
                  </a:lnTo>
                  <a:lnTo>
                    <a:pt x="720" y="762"/>
                  </a:lnTo>
                  <a:lnTo>
                    <a:pt x="726" y="768"/>
                  </a:lnTo>
                  <a:lnTo>
                    <a:pt x="726" y="774"/>
                  </a:lnTo>
                  <a:lnTo>
                    <a:pt x="732" y="774"/>
                  </a:lnTo>
                  <a:lnTo>
                    <a:pt x="732" y="780"/>
                  </a:lnTo>
                  <a:lnTo>
                    <a:pt x="726" y="780"/>
                  </a:lnTo>
                  <a:lnTo>
                    <a:pt x="726" y="786"/>
                  </a:lnTo>
                  <a:lnTo>
                    <a:pt x="720" y="786"/>
                  </a:lnTo>
                  <a:lnTo>
                    <a:pt x="726" y="786"/>
                  </a:lnTo>
                  <a:lnTo>
                    <a:pt x="732" y="780"/>
                  </a:lnTo>
                  <a:lnTo>
                    <a:pt x="738" y="780"/>
                  </a:lnTo>
                  <a:lnTo>
                    <a:pt x="744" y="780"/>
                  </a:lnTo>
                  <a:lnTo>
                    <a:pt x="744" y="786"/>
                  </a:lnTo>
                  <a:lnTo>
                    <a:pt x="750" y="786"/>
                  </a:lnTo>
                  <a:lnTo>
                    <a:pt x="744" y="786"/>
                  </a:lnTo>
                  <a:lnTo>
                    <a:pt x="744" y="792"/>
                  </a:lnTo>
                  <a:lnTo>
                    <a:pt x="744" y="786"/>
                  </a:lnTo>
                  <a:lnTo>
                    <a:pt x="738" y="792"/>
                  </a:lnTo>
                  <a:lnTo>
                    <a:pt x="744" y="792"/>
                  </a:lnTo>
                  <a:lnTo>
                    <a:pt x="750" y="792"/>
                  </a:lnTo>
                  <a:lnTo>
                    <a:pt x="750" y="786"/>
                  </a:lnTo>
                  <a:lnTo>
                    <a:pt x="756" y="786"/>
                  </a:lnTo>
                  <a:lnTo>
                    <a:pt x="756" y="792"/>
                  </a:lnTo>
                  <a:lnTo>
                    <a:pt x="762" y="792"/>
                  </a:lnTo>
                  <a:lnTo>
                    <a:pt x="756" y="798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0" y="810"/>
                  </a:lnTo>
                  <a:lnTo>
                    <a:pt x="756" y="810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6" y="816"/>
                  </a:lnTo>
                  <a:lnTo>
                    <a:pt x="750" y="816"/>
                  </a:lnTo>
                  <a:lnTo>
                    <a:pt x="738" y="810"/>
                  </a:lnTo>
                  <a:lnTo>
                    <a:pt x="732" y="810"/>
                  </a:lnTo>
                  <a:lnTo>
                    <a:pt x="732" y="816"/>
                  </a:lnTo>
                  <a:lnTo>
                    <a:pt x="726" y="810"/>
                  </a:lnTo>
                  <a:lnTo>
                    <a:pt x="714" y="816"/>
                  </a:lnTo>
                  <a:lnTo>
                    <a:pt x="708" y="816"/>
                  </a:lnTo>
                  <a:lnTo>
                    <a:pt x="702" y="816"/>
                  </a:lnTo>
                  <a:lnTo>
                    <a:pt x="696" y="816"/>
                  </a:lnTo>
                  <a:lnTo>
                    <a:pt x="690" y="822"/>
                  </a:lnTo>
                  <a:lnTo>
                    <a:pt x="684" y="822"/>
                  </a:lnTo>
                  <a:lnTo>
                    <a:pt x="678" y="822"/>
                  </a:lnTo>
                  <a:lnTo>
                    <a:pt x="672" y="822"/>
                  </a:lnTo>
                  <a:lnTo>
                    <a:pt x="666" y="822"/>
                  </a:lnTo>
                  <a:lnTo>
                    <a:pt x="666" y="828"/>
                  </a:lnTo>
                  <a:lnTo>
                    <a:pt x="654" y="828"/>
                  </a:lnTo>
                  <a:lnTo>
                    <a:pt x="648" y="828"/>
                  </a:lnTo>
                  <a:lnTo>
                    <a:pt x="642" y="828"/>
                  </a:lnTo>
                  <a:lnTo>
                    <a:pt x="630" y="828"/>
                  </a:lnTo>
                  <a:lnTo>
                    <a:pt x="624" y="822"/>
                  </a:lnTo>
                  <a:lnTo>
                    <a:pt x="618" y="822"/>
                  </a:lnTo>
                  <a:lnTo>
                    <a:pt x="612" y="822"/>
                  </a:lnTo>
                  <a:lnTo>
                    <a:pt x="606" y="822"/>
                  </a:lnTo>
                  <a:lnTo>
                    <a:pt x="600" y="822"/>
                  </a:lnTo>
                  <a:lnTo>
                    <a:pt x="594" y="822"/>
                  </a:lnTo>
                  <a:lnTo>
                    <a:pt x="594" y="816"/>
                  </a:lnTo>
                  <a:lnTo>
                    <a:pt x="594" y="810"/>
                  </a:lnTo>
                  <a:lnTo>
                    <a:pt x="600" y="804"/>
                  </a:lnTo>
                  <a:lnTo>
                    <a:pt x="600" y="798"/>
                  </a:lnTo>
                  <a:lnTo>
                    <a:pt x="600" y="792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2" y="786"/>
                  </a:lnTo>
                  <a:lnTo>
                    <a:pt x="618" y="786"/>
                  </a:lnTo>
                  <a:lnTo>
                    <a:pt x="624" y="786"/>
                  </a:lnTo>
                  <a:lnTo>
                    <a:pt x="624" y="780"/>
                  </a:lnTo>
                  <a:lnTo>
                    <a:pt x="630" y="780"/>
                  </a:lnTo>
                  <a:lnTo>
                    <a:pt x="630" y="774"/>
                  </a:lnTo>
                  <a:lnTo>
                    <a:pt x="636" y="774"/>
                  </a:lnTo>
                  <a:lnTo>
                    <a:pt x="642" y="780"/>
                  </a:lnTo>
                  <a:lnTo>
                    <a:pt x="642" y="786"/>
                  </a:lnTo>
                  <a:lnTo>
                    <a:pt x="642" y="792"/>
                  </a:lnTo>
                  <a:lnTo>
                    <a:pt x="648" y="792"/>
                  </a:lnTo>
                  <a:lnTo>
                    <a:pt x="648" y="786"/>
                  </a:lnTo>
                  <a:lnTo>
                    <a:pt x="642" y="786"/>
                  </a:lnTo>
                  <a:lnTo>
                    <a:pt x="642" y="780"/>
                  </a:lnTo>
                  <a:lnTo>
                    <a:pt x="642" y="774"/>
                  </a:lnTo>
                  <a:lnTo>
                    <a:pt x="648" y="768"/>
                  </a:lnTo>
                  <a:lnTo>
                    <a:pt x="642" y="768"/>
                  </a:lnTo>
                  <a:lnTo>
                    <a:pt x="648" y="768"/>
                  </a:lnTo>
                  <a:lnTo>
                    <a:pt x="648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66" y="762"/>
                  </a:lnTo>
                  <a:lnTo>
                    <a:pt x="672" y="756"/>
                  </a:lnTo>
                  <a:lnTo>
                    <a:pt x="666" y="756"/>
                  </a:lnTo>
                  <a:lnTo>
                    <a:pt x="660" y="756"/>
                  </a:lnTo>
                  <a:lnTo>
                    <a:pt x="660" y="750"/>
                  </a:lnTo>
                  <a:lnTo>
                    <a:pt x="654" y="750"/>
                  </a:lnTo>
                  <a:lnTo>
                    <a:pt x="648" y="750"/>
                  </a:lnTo>
                  <a:lnTo>
                    <a:pt x="648" y="756"/>
                  </a:lnTo>
                  <a:lnTo>
                    <a:pt x="642" y="756"/>
                  </a:lnTo>
                  <a:lnTo>
                    <a:pt x="642" y="750"/>
                  </a:lnTo>
                  <a:lnTo>
                    <a:pt x="642" y="744"/>
                  </a:lnTo>
                  <a:lnTo>
                    <a:pt x="642" y="750"/>
                  </a:lnTo>
                  <a:lnTo>
                    <a:pt x="636" y="750"/>
                  </a:lnTo>
                  <a:lnTo>
                    <a:pt x="636" y="744"/>
                  </a:lnTo>
                  <a:lnTo>
                    <a:pt x="630" y="744"/>
                  </a:lnTo>
                  <a:lnTo>
                    <a:pt x="630" y="738"/>
                  </a:lnTo>
                  <a:lnTo>
                    <a:pt x="630" y="744"/>
                  </a:lnTo>
                  <a:lnTo>
                    <a:pt x="630" y="750"/>
                  </a:lnTo>
                  <a:lnTo>
                    <a:pt x="636" y="750"/>
                  </a:lnTo>
                  <a:lnTo>
                    <a:pt x="636" y="756"/>
                  </a:lnTo>
                  <a:lnTo>
                    <a:pt x="630" y="756"/>
                  </a:lnTo>
                  <a:lnTo>
                    <a:pt x="636" y="762"/>
                  </a:lnTo>
                  <a:lnTo>
                    <a:pt x="630" y="762"/>
                  </a:lnTo>
                  <a:lnTo>
                    <a:pt x="624" y="762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24" y="786"/>
                  </a:lnTo>
                  <a:lnTo>
                    <a:pt x="618" y="786"/>
                  </a:lnTo>
                  <a:lnTo>
                    <a:pt x="618" y="78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12" y="774"/>
                  </a:lnTo>
                  <a:lnTo>
                    <a:pt x="612" y="780"/>
                  </a:lnTo>
                  <a:lnTo>
                    <a:pt x="606" y="780"/>
                  </a:lnTo>
                  <a:lnTo>
                    <a:pt x="600" y="780"/>
                  </a:lnTo>
                  <a:lnTo>
                    <a:pt x="600" y="774"/>
                  </a:lnTo>
                  <a:lnTo>
                    <a:pt x="594" y="768"/>
                  </a:lnTo>
                  <a:lnTo>
                    <a:pt x="594" y="762"/>
                  </a:lnTo>
                  <a:lnTo>
                    <a:pt x="594" y="756"/>
                  </a:lnTo>
                  <a:lnTo>
                    <a:pt x="594" y="762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594" y="780"/>
                  </a:lnTo>
                  <a:lnTo>
                    <a:pt x="588" y="780"/>
                  </a:lnTo>
                  <a:lnTo>
                    <a:pt x="582" y="780"/>
                  </a:lnTo>
                  <a:lnTo>
                    <a:pt x="576" y="780"/>
                  </a:lnTo>
                  <a:lnTo>
                    <a:pt x="570" y="780"/>
                  </a:lnTo>
                  <a:lnTo>
                    <a:pt x="564" y="780"/>
                  </a:lnTo>
                  <a:lnTo>
                    <a:pt x="564" y="786"/>
                  </a:lnTo>
                  <a:lnTo>
                    <a:pt x="558" y="786"/>
                  </a:lnTo>
                  <a:lnTo>
                    <a:pt x="552" y="786"/>
                  </a:lnTo>
                  <a:lnTo>
                    <a:pt x="552" y="780"/>
                  </a:lnTo>
                  <a:lnTo>
                    <a:pt x="552" y="774"/>
                  </a:lnTo>
                  <a:lnTo>
                    <a:pt x="552" y="768"/>
                  </a:lnTo>
                  <a:lnTo>
                    <a:pt x="546" y="768"/>
                  </a:lnTo>
                  <a:lnTo>
                    <a:pt x="540" y="762"/>
                  </a:lnTo>
                  <a:lnTo>
                    <a:pt x="540" y="756"/>
                  </a:lnTo>
                  <a:lnTo>
                    <a:pt x="534" y="756"/>
                  </a:lnTo>
                  <a:lnTo>
                    <a:pt x="534" y="750"/>
                  </a:lnTo>
                  <a:lnTo>
                    <a:pt x="534" y="744"/>
                  </a:lnTo>
                  <a:lnTo>
                    <a:pt x="528" y="738"/>
                  </a:lnTo>
                  <a:lnTo>
                    <a:pt x="522" y="738"/>
                  </a:lnTo>
                  <a:lnTo>
                    <a:pt x="522" y="732"/>
                  </a:lnTo>
                  <a:lnTo>
                    <a:pt x="510" y="726"/>
                  </a:lnTo>
                  <a:lnTo>
                    <a:pt x="510" y="720"/>
                  </a:lnTo>
                  <a:lnTo>
                    <a:pt x="504" y="720"/>
                  </a:lnTo>
                  <a:lnTo>
                    <a:pt x="504" y="714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8" y="702"/>
                  </a:lnTo>
                  <a:lnTo>
                    <a:pt x="498" y="696"/>
                  </a:lnTo>
                  <a:lnTo>
                    <a:pt x="492" y="690"/>
                  </a:lnTo>
                  <a:lnTo>
                    <a:pt x="492" y="684"/>
                  </a:lnTo>
                  <a:lnTo>
                    <a:pt x="486" y="684"/>
                  </a:lnTo>
                  <a:lnTo>
                    <a:pt x="486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74" y="678"/>
                  </a:lnTo>
                  <a:lnTo>
                    <a:pt x="468" y="678"/>
                  </a:lnTo>
                  <a:lnTo>
                    <a:pt x="462" y="678"/>
                  </a:lnTo>
                  <a:lnTo>
                    <a:pt x="462" y="672"/>
                  </a:lnTo>
                  <a:lnTo>
                    <a:pt x="456" y="672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44" y="666"/>
                  </a:lnTo>
                  <a:lnTo>
                    <a:pt x="438" y="660"/>
                  </a:lnTo>
                  <a:lnTo>
                    <a:pt x="438" y="648"/>
                  </a:lnTo>
                  <a:lnTo>
                    <a:pt x="438" y="642"/>
                  </a:lnTo>
                  <a:lnTo>
                    <a:pt x="438" y="636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36"/>
                  </a:lnTo>
                  <a:lnTo>
                    <a:pt x="420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60"/>
                  </a:lnTo>
                  <a:lnTo>
                    <a:pt x="432" y="666"/>
                  </a:lnTo>
                  <a:lnTo>
                    <a:pt x="438" y="666"/>
                  </a:lnTo>
                  <a:lnTo>
                    <a:pt x="438" y="672"/>
                  </a:lnTo>
                  <a:lnTo>
                    <a:pt x="444" y="672"/>
                  </a:lnTo>
                  <a:lnTo>
                    <a:pt x="444" y="678"/>
                  </a:lnTo>
                  <a:lnTo>
                    <a:pt x="450" y="678"/>
                  </a:lnTo>
                  <a:lnTo>
                    <a:pt x="456" y="678"/>
                  </a:lnTo>
                  <a:lnTo>
                    <a:pt x="456" y="684"/>
                  </a:lnTo>
                  <a:lnTo>
                    <a:pt x="462" y="684"/>
                  </a:lnTo>
                  <a:lnTo>
                    <a:pt x="468" y="684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80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86" y="708"/>
                  </a:lnTo>
                  <a:lnTo>
                    <a:pt x="492" y="714"/>
                  </a:lnTo>
                  <a:lnTo>
                    <a:pt x="492" y="720"/>
                  </a:lnTo>
                  <a:lnTo>
                    <a:pt x="492" y="726"/>
                  </a:lnTo>
                  <a:lnTo>
                    <a:pt x="498" y="732"/>
                  </a:lnTo>
                  <a:lnTo>
                    <a:pt x="492" y="738"/>
                  </a:lnTo>
                  <a:lnTo>
                    <a:pt x="492" y="744"/>
                  </a:lnTo>
                  <a:lnTo>
                    <a:pt x="492" y="750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68" y="738"/>
                  </a:lnTo>
                  <a:lnTo>
                    <a:pt x="468" y="744"/>
                  </a:lnTo>
                  <a:lnTo>
                    <a:pt x="474" y="750"/>
                  </a:lnTo>
                  <a:lnTo>
                    <a:pt x="480" y="756"/>
                  </a:lnTo>
                  <a:lnTo>
                    <a:pt x="486" y="756"/>
                  </a:lnTo>
                  <a:lnTo>
                    <a:pt x="492" y="762"/>
                  </a:lnTo>
                  <a:lnTo>
                    <a:pt x="498" y="768"/>
                  </a:lnTo>
                  <a:lnTo>
                    <a:pt x="492" y="774"/>
                  </a:lnTo>
                  <a:lnTo>
                    <a:pt x="492" y="780"/>
                  </a:lnTo>
                  <a:lnTo>
                    <a:pt x="498" y="780"/>
                  </a:lnTo>
                  <a:lnTo>
                    <a:pt x="492" y="786"/>
                  </a:lnTo>
                  <a:lnTo>
                    <a:pt x="492" y="792"/>
                  </a:lnTo>
                  <a:lnTo>
                    <a:pt x="492" y="79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0" y="810"/>
                  </a:lnTo>
                  <a:lnTo>
                    <a:pt x="480" y="804"/>
                  </a:lnTo>
                  <a:lnTo>
                    <a:pt x="474" y="804"/>
                  </a:lnTo>
                  <a:lnTo>
                    <a:pt x="474" y="798"/>
                  </a:lnTo>
                  <a:lnTo>
                    <a:pt x="474" y="804"/>
                  </a:lnTo>
                  <a:lnTo>
                    <a:pt x="468" y="804"/>
                  </a:lnTo>
                  <a:lnTo>
                    <a:pt x="468" y="810"/>
                  </a:lnTo>
                  <a:lnTo>
                    <a:pt x="462" y="810"/>
                  </a:lnTo>
                  <a:lnTo>
                    <a:pt x="456" y="810"/>
                  </a:lnTo>
                  <a:lnTo>
                    <a:pt x="450" y="810"/>
                  </a:lnTo>
                  <a:lnTo>
                    <a:pt x="450" y="816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50" y="822"/>
                  </a:lnTo>
                  <a:lnTo>
                    <a:pt x="450" y="816"/>
                  </a:lnTo>
                  <a:lnTo>
                    <a:pt x="444" y="816"/>
                  </a:lnTo>
                  <a:lnTo>
                    <a:pt x="438" y="810"/>
                  </a:lnTo>
                  <a:lnTo>
                    <a:pt x="432" y="810"/>
                  </a:lnTo>
                  <a:lnTo>
                    <a:pt x="426" y="804"/>
                  </a:lnTo>
                  <a:lnTo>
                    <a:pt x="426" y="798"/>
                  </a:lnTo>
                  <a:lnTo>
                    <a:pt x="420" y="798"/>
                  </a:lnTo>
                  <a:lnTo>
                    <a:pt x="426" y="798"/>
                  </a:lnTo>
                  <a:lnTo>
                    <a:pt x="426" y="792"/>
                  </a:lnTo>
                  <a:lnTo>
                    <a:pt x="426" y="786"/>
                  </a:lnTo>
                  <a:lnTo>
                    <a:pt x="432" y="786"/>
                  </a:lnTo>
                  <a:lnTo>
                    <a:pt x="432" y="780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0" y="756"/>
                  </a:lnTo>
                  <a:lnTo>
                    <a:pt x="420" y="750"/>
                  </a:lnTo>
                  <a:lnTo>
                    <a:pt x="414" y="750"/>
                  </a:lnTo>
                  <a:lnTo>
                    <a:pt x="420" y="750"/>
                  </a:lnTo>
                  <a:lnTo>
                    <a:pt x="420" y="744"/>
                  </a:lnTo>
                  <a:lnTo>
                    <a:pt x="414" y="744"/>
                  </a:lnTo>
                  <a:lnTo>
                    <a:pt x="414" y="738"/>
                  </a:lnTo>
                  <a:lnTo>
                    <a:pt x="414" y="732"/>
                  </a:lnTo>
                  <a:lnTo>
                    <a:pt x="408" y="732"/>
                  </a:lnTo>
                  <a:lnTo>
                    <a:pt x="408" y="726"/>
                  </a:lnTo>
                  <a:lnTo>
                    <a:pt x="402" y="726"/>
                  </a:lnTo>
                  <a:lnTo>
                    <a:pt x="396" y="726"/>
                  </a:lnTo>
                  <a:lnTo>
                    <a:pt x="390" y="726"/>
                  </a:lnTo>
                  <a:lnTo>
                    <a:pt x="390" y="720"/>
                  </a:lnTo>
                  <a:lnTo>
                    <a:pt x="390" y="714"/>
                  </a:lnTo>
                  <a:lnTo>
                    <a:pt x="384" y="708"/>
                  </a:lnTo>
                  <a:lnTo>
                    <a:pt x="384" y="702"/>
                  </a:lnTo>
                  <a:lnTo>
                    <a:pt x="378" y="702"/>
                  </a:lnTo>
                  <a:lnTo>
                    <a:pt x="378" y="696"/>
                  </a:lnTo>
                  <a:lnTo>
                    <a:pt x="378" y="690"/>
                  </a:lnTo>
                  <a:lnTo>
                    <a:pt x="372" y="684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66" y="666"/>
                  </a:lnTo>
                  <a:lnTo>
                    <a:pt x="366" y="660"/>
                  </a:lnTo>
                  <a:lnTo>
                    <a:pt x="366" y="654"/>
                  </a:lnTo>
                  <a:lnTo>
                    <a:pt x="360" y="648"/>
                  </a:lnTo>
                  <a:lnTo>
                    <a:pt x="360" y="654"/>
                  </a:lnTo>
                  <a:lnTo>
                    <a:pt x="360" y="660"/>
                  </a:lnTo>
                  <a:lnTo>
                    <a:pt x="360" y="666"/>
                  </a:lnTo>
                  <a:lnTo>
                    <a:pt x="360" y="672"/>
                  </a:lnTo>
                  <a:lnTo>
                    <a:pt x="360" y="678"/>
                  </a:lnTo>
                  <a:lnTo>
                    <a:pt x="366" y="678"/>
                  </a:lnTo>
                  <a:lnTo>
                    <a:pt x="366" y="684"/>
                  </a:lnTo>
                  <a:lnTo>
                    <a:pt x="366" y="690"/>
                  </a:lnTo>
                  <a:lnTo>
                    <a:pt x="372" y="696"/>
                  </a:lnTo>
                  <a:lnTo>
                    <a:pt x="372" y="702"/>
                  </a:lnTo>
                  <a:lnTo>
                    <a:pt x="372" y="708"/>
                  </a:lnTo>
                  <a:lnTo>
                    <a:pt x="372" y="714"/>
                  </a:lnTo>
                  <a:lnTo>
                    <a:pt x="366" y="714"/>
                  </a:lnTo>
                  <a:lnTo>
                    <a:pt x="360" y="714"/>
                  </a:lnTo>
                  <a:lnTo>
                    <a:pt x="354" y="714"/>
                  </a:lnTo>
                  <a:lnTo>
                    <a:pt x="348" y="714"/>
                  </a:lnTo>
                  <a:lnTo>
                    <a:pt x="348" y="708"/>
                  </a:lnTo>
                  <a:lnTo>
                    <a:pt x="342" y="708"/>
                  </a:lnTo>
                  <a:lnTo>
                    <a:pt x="342" y="702"/>
                  </a:lnTo>
                  <a:lnTo>
                    <a:pt x="342" y="696"/>
                  </a:lnTo>
                  <a:lnTo>
                    <a:pt x="336" y="696"/>
                  </a:lnTo>
                  <a:lnTo>
                    <a:pt x="336" y="690"/>
                  </a:lnTo>
                  <a:lnTo>
                    <a:pt x="336" y="684"/>
                  </a:lnTo>
                  <a:lnTo>
                    <a:pt x="330" y="684"/>
                  </a:lnTo>
                  <a:lnTo>
                    <a:pt x="330" y="678"/>
                  </a:lnTo>
                  <a:lnTo>
                    <a:pt x="324" y="672"/>
                  </a:lnTo>
                  <a:lnTo>
                    <a:pt x="324" y="666"/>
                  </a:lnTo>
                  <a:lnTo>
                    <a:pt x="318" y="666"/>
                  </a:lnTo>
                  <a:lnTo>
                    <a:pt x="318" y="672"/>
                  </a:lnTo>
                  <a:lnTo>
                    <a:pt x="324" y="672"/>
                  </a:lnTo>
                  <a:lnTo>
                    <a:pt x="324" y="678"/>
                  </a:lnTo>
                  <a:lnTo>
                    <a:pt x="324" y="684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30" y="696"/>
                  </a:lnTo>
                  <a:lnTo>
                    <a:pt x="336" y="702"/>
                  </a:lnTo>
                  <a:lnTo>
                    <a:pt x="342" y="708"/>
                  </a:lnTo>
                  <a:lnTo>
                    <a:pt x="342" y="714"/>
                  </a:lnTo>
                  <a:lnTo>
                    <a:pt x="348" y="720"/>
                  </a:lnTo>
                  <a:lnTo>
                    <a:pt x="342" y="720"/>
                  </a:lnTo>
                  <a:lnTo>
                    <a:pt x="336" y="720"/>
                  </a:lnTo>
                  <a:lnTo>
                    <a:pt x="330" y="720"/>
                  </a:lnTo>
                  <a:lnTo>
                    <a:pt x="330" y="726"/>
                  </a:lnTo>
                  <a:lnTo>
                    <a:pt x="336" y="726"/>
                  </a:lnTo>
                  <a:lnTo>
                    <a:pt x="330" y="732"/>
                  </a:lnTo>
                  <a:lnTo>
                    <a:pt x="330" y="738"/>
                  </a:lnTo>
                  <a:lnTo>
                    <a:pt x="330" y="744"/>
                  </a:lnTo>
                  <a:lnTo>
                    <a:pt x="336" y="744"/>
                  </a:lnTo>
                  <a:lnTo>
                    <a:pt x="342" y="744"/>
                  </a:lnTo>
                  <a:lnTo>
                    <a:pt x="348" y="744"/>
                  </a:lnTo>
                  <a:lnTo>
                    <a:pt x="348" y="750"/>
                  </a:lnTo>
                  <a:lnTo>
                    <a:pt x="354" y="750"/>
                  </a:lnTo>
                  <a:lnTo>
                    <a:pt x="360" y="756"/>
                  </a:lnTo>
                  <a:lnTo>
                    <a:pt x="360" y="762"/>
                  </a:lnTo>
                  <a:lnTo>
                    <a:pt x="366" y="762"/>
                  </a:lnTo>
                  <a:lnTo>
                    <a:pt x="366" y="768"/>
                  </a:lnTo>
                  <a:lnTo>
                    <a:pt x="366" y="774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72" y="792"/>
                  </a:lnTo>
                  <a:lnTo>
                    <a:pt x="372" y="798"/>
                  </a:lnTo>
                  <a:lnTo>
                    <a:pt x="372" y="804"/>
                  </a:lnTo>
                  <a:lnTo>
                    <a:pt x="378" y="804"/>
                  </a:lnTo>
                  <a:lnTo>
                    <a:pt x="378" y="810"/>
                  </a:lnTo>
                  <a:lnTo>
                    <a:pt x="378" y="816"/>
                  </a:lnTo>
                  <a:lnTo>
                    <a:pt x="372" y="816"/>
                  </a:lnTo>
                  <a:lnTo>
                    <a:pt x="378" y="816"/>
                  </a:lnTo>
                  <a:lnTo>
                    <a:pt x="378" y="822"/>
                  </a:lnTo>
                  <a:lnTo>
                    <a:pt x="378" y="828"/>
                  </a:lnTo>
                  <a:lnTo>
                    <a:pt x="378" y="834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0" y="864"/>
                  </a:lnTo>
                  <a:lnTo>
                    <a:pt x="384" y="864"/>
                  </a:lnTo>
                  <a:lnTo>
                    <a:pt x="384" y="870"/>
                  </a:lnTo>
                  <a:lnTo>
                    <a:pt x="378" y="864"/>
                  </a:lnTo>
                  <a:lnTo>
                    <a:pt x="372" y="864"/>
                  </a:lnTo>
                  <a:lnTo>
                    <a:pt x="366" y="858"/>
                  </a:lnTo>
                  <a:lnTo>
                    <a:pt x="366" y="852"/>
                  </a:lnTo>
                  <a:lnTo>
                    <a:pt x="360" y="852"/>
                  </a:lnTo>
                  <a:lnTo>
                    <a:pt x="360" y="858"/>
                  </a:lnTo>
                  <a:lnTo>
                    <a:pt x="366" y="858"/>
                  </a:lnTo>
                  <a:lnTo>
                    <a:pt x="366" y="864"/>
                  </a:lnTo>
                  <a:lnTo>
                    <a:pt x="360" y="864"/>
                  </a:lnTo>
                  <a:lnTo>
                    <a:pt x="354" y="864"/>
                  </a:lnTo>
                  <a:lnTo>
                    <a:pt x="354" y="870"/>
                  </a:lnTo>
                  <a:lnTo>
                    <a:pt x="354" y="864"/>
                  </a:lnTo>
                  <a:lnTo>
                    <a:pt x="348" y="864"/>
                  </a:lnTo>
                  <a:lnTo>
                    <a:pt x="342" y="864"/>
                  </a:lnTo>
                  <a:lnTo>
                    <a:pt x="342" y="858"/>
                  </a:lnTo>
                  <a:lnTo>
                    <a:pt x="336" y="858"/>
                  </a:lnTo>
                  <a:lnTo>
                    <a:pt x="330" y="858"/>
                  </a:lnTo>
                  <a:lnTo>
                    <a:pt x="324" y="858"/>
                  </a:lnTo>
                  <a:lnTo>
                    <a:pt x="318" y="858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0" y="852"/>
                  </a:lnTo>
                  <a:lnTo>
                    <a:pt x="294" y="852"/>
                  </a:lnTo>
                  <a:lnTo>
                    <a:pt x="294" y="846"/>
                  </a:lnTo>
                  <a:lnTo>
                    <a:pt x="288" y="840"/>
                  </a:lnTo>
                  <a:lnTo>
                    <a:pt x="288" y="828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2" y="816"/>
                  </a:lnTo>
                  <a:lnTo>
                    <a:pt x="282" y="810"/>
                  </a:lnTo>
                  <a:lnTo>
                    <a:pt x="276" y="810"/>
                  </a:lnTo>
                  <a:lnTo>
                    <a:pt x="276" y="804"/>
                  </a:lnTo>
                  <a:lnTo>
                    <a:pt x="276" y="798"/>
                  </a:lnTo>
                  <a:lnTo>
                    <a:pt x="276" y="792"/>
                  </a:lnTo>
                  <a:lnTo>
                    <a:pt x="270" y="786"/>
                  </a:lnTo>
                  <a:lnTo>
                    <a:pt x="270" y="780"/>
                  </a:lnTo>
                  <a:lnTo>
                    <a:pt x="270" y="774"/>
                  </a:lnTo>
                  <a:lnTo>
                    <a:pt x="264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64" y="750"/>
                  </a:lnTo>
                  <a:lnTo>
                    <a:pt x="264" y="744"/>
                  </a:lnTo>
                  <a:lnTo>
                    <a:pt x="264" y="738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26"/>
                  </a:lnTo>
                  <a:lnTo>
                    <a:pt x="276" y="720"/>
                  </a:lnTo>
                  <a:lnTo>
                    <a:pt x="282" y="720"/>
                  </a:lnTo>
                  <a:lnTo>
                    <a:pt x="282" y="714"/>
                  </a:lnTo>
                  <a:lnTo>
                    <a:pt x="282" y="708"/>
                  </a:lnTo>
                  <a:lnTo>
                    <a:pt x="276" y="708"/>
                  </a:lnTo>
                  <a:lnTo>
                    <a:pt x="276" y="702"/>
                  </a:lnTo>
                  <a:lnTo>
                    <a:pt x="270" y="702"/>
                  </a:lnTo>
                  <a:lnTo>
                    <a:pt x="270" y="696"/>
                  </a:lnTo>
                  <a:lnTo>
                    <a:pt x="264" y="690"/>
                  </a:lnTo>
                  <a:lnTo>
                    <a:pt x="258" y="690"/>
                  </a:lnTo>
                  <a:lnTo>
                    <a:pt x="258" y="684"/>
                  </a:lnTo>
                  <a:lnTo>
                    <a:pt x="252" y="684"/>
                  </a:lnTo>
                  <a:lnTo>
                    <a:pt x="252" y="678"/>
                  </a:lnTo>
                  <a:lnTo>
                    <a:pt x="246" y="678"/>
                  </a:lnTo>
                  <a:lnTo>
                    <a:pt x="240" y="678"/>
                  </a:lnTo>
                  <a:lnTo>
                    <a:pt x="240" y="684"/>
                  </a:lnTo>
                  <a:lnTo>
                    <a:pt x="246" y="684"/>
                  </a:lnTo>
                  <a:lnTo>
                    <a:pt x="252" y="690"/>
                  </a:lnTo>
                  <a:lnTo>
                    <a:pt x="258" y="690"/>
                  </a:lnTo>
                  <a:lnTo>
                    <a:pt x="258" y="696"/>
                  </a:lnTo>
                  <a:lnTo>
                    <a:pt x="258" y="702"/>
                  </a:lnTo>
                  <a:lnTo>
                    <a:pt x="264" y="702"/>
                  </a:lnTo>
                  <a:lnTo>
                    <a:pt x="270" y="708"/>
                  </a:lnTo>
                  <a:lnTo>
                    <a:pt x="270" y="714"/>
                  </a:lnTo>
                  <a:lnTo>
                    <a:pt x="270" y="720"/>
                  </a:lnTo>
                  <a:lnTo>
                    <a:pt x="276" y="720"/>
                  </a:lnTo>
                  <a:lnTo>
                    <a:pt x="270" y="720"/>
                  </a:lnTo>
                  <a:lnTo>
                    <a:pt x="270" y="726"/>
                  </a:lnTo>
                  <a:lnTo>
                    <a:pt x="264" y="726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52" y="738"/>
                  </a:lnTo>
                  <a:lnTo>
                    <a:pt x="252" y="744"/>
                  </a:lnTo>
                  <a:lnTo>
                    <a:pt x="252" y="750"/>
                  </a:lnTo>
                  <a:lnTo>
                    <a:pt x="252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58" y="774"/>
                  </a:lnTo>
                  <a:lnTo>
                    <a:pt x="258" y="780"/>
                  </a:lnTo>
                  <a:lnTo>
                    <a:pt x="264" y="786"/>
                  </a:lnTo>
                  <a:lnTo>
                    <a:pt x="264" y="792"/>
                  </a:lnTo>
                  <a:lnTo>
                    <a:pt x="264" y="798"/>
                  </a:lnTo>
                  <a:lnTo>
                    <a:pt x="270" y="810"/>
                  </a:lnTo>
                  <a:lnTo>
                    <a:pt x="270" y="816"/>
                  </a:lnTo>
                  <a:lnTo>
                    <a:pt x="270" y="822"/>
                  </a:lnTo>
                  <a:lnTo>
                    <a:pt x="276" y="822"/>
                  </a:lnTo>
                  <a:lnTo>
                    <a:pt x="276" y="828"/>
                  </a:lnTo>
                  <a:lnTo>
                    <a:pt x="276" y="834"/>
                  </a:lnTo>
                  <a:lnTo>
                    <a:pt x="276" y="840"/>
                  </a:lnTo>
                  <a:lnTo>
                    <a:pt x="276" y="846"/>
                  </a:lnTo>
                  <a:lnTo>
                    <a:pt x="282" y="852"/>
                  </a:lnTo>
                  <a:lnTo>
                    <a:pt x="282" y="858"/>
                  </a:lnTo>
                  <a:lnTo>
                    <a:pt x="294" y="864"/>
                  </a:lnTo>
                  <a:lnTo>
                    <a:pt x="300" y="870"/>
                  </a:lnTo>
                  <a:lnTo>
                    <a:pt x="300" y="876"/>
                  </a:lnTo>
                  <a:lnTo>
                    <a:pt x="288" y="876"/>
                  </a:lnTo>
                  <a:lnTo>
                    <a:pt x="282" y="876"/>
                  </a:lnTo>
                  <a:lnTo>
                    <a:pt x="276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2" y="882"/>
                  </a:lnTo>
                  <a:lnTo>
                    <a:pt x="246" y="882"/>
                  </a:lnTo>
                  <a:lnTo>
                    <a:pt x="240" y="882"/>
                  </a:lnTo>
                  <a:lnTo>
                    <a:pt x="234" y="882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204" y="876"/>
                  </a:lnTo>
                  <a:lnTo>
                    <a:pt x="198" y="876"/>
                  </a:lnTo>
                  <a:lnTo>
                    <a:pt x="198" y="870"/>
                  </a:lnTo>
                  <a:lnTo>
                    <a:pt x="198" y="852"/>
                  </a:lnTo>
                  <a:lnTo>
                    <a:pt x="198" y="846"/>
                  </a:lnTo>
                  <a:lnTo>
                    <a:pt x="204" y="846"/>
                  </a:lnTo>
                  <a:lnTo>
                    <a:pt x="198" y="840"/>
                  </a:lnTo>
                  <a:lnTo>
                    <a:pt x="198" y="834"/>
                  </a:lnTo>
                  <a:lnTo>
                    <a:pt x="198" y="828"/>
                  </a:lnTo>
                  <a:lnTo>
                    <a:pt x="198" y="822"/>
                  </a:lnTo>
                  <a:lnTo>
                    <a:pt x="198" y="816"/>
                  </a:lnTo>
                  <a:lnTo>
                    <a:pt x="198" y="810"/>
                  </a:lnTo>
                  <a:lnTo>
                    <a:pt x="192" y="810"/>
                  </a:lnTo>
                  <a:lnTo>
                    <a:pt x="192" y="804"/>
                  </a:lnTo>
                  <a:lnTo>
                    <a:pt x="192" y="798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2" y="774"/>
                  </a:lnTo>
                  <a:lnTo>
                    <a:pt x="192" y="768"/>
                  </a:lnTo>
                  <a:lnTo>
                    <a:pt x="198" y="768"/>
                  </a:lnTo>
                  <a:lnTo>
                    <a:pt x="198" y="762"/>
                  </a:lnTo>
                  <a:lnTo>
                    <a:pt x="198" y="756"/>
                  </a:lnTo>
                  <a:lnTo>
                    <a:pt x="204" y="756"/>
                  </a:lnTo>
                  <a:lnTo>
                    <a:pt x="204" y="750"/>
                  </a:lnTo>
                  <a:lnTo>
                    <a:pt x="210" y="744"/>
                  </a:lnTo>
                  <a:lnTo>
                    <a:pt x="210" y="738"/>
                  </a:lnTo>
                  <a:lnTo>
                    <a:pt x="210" y="732"/>
                  </a:lnTo>
                  <a:lnTo>
                    <a:pt x="210" y="726"/>
                  </a:lnTo>
                  <a:lnTo>
                    <a:pt x="210" y="720"/>
                  </a:lnTo>
                  <a:lnTo>
                    <a:pt x="204" y="714"/>
                  </a:lnTo>
                  <a:lnTo>
                    <a:pt x="204" y="720"/>
                  </a:lnTo>
                  <a:lnTo>
                    <a:pt x="204" y="732"/>
                  </a:lnTo>
                  <a:lnTo>
                    <a:pt x="204" y="738"/>
                  </a:lnTo>
                  <a:lnTo>
                    <a:pt x="198" y="738"/>
                  </a:lnTo>
                  <a:lnTo>
                    <a:pt x="198" y="744"/>
                  </a:lnTo>
                  <a:lnTo>
                    <a:pt x="198" y="750"/>
                  </a:lnTo>
                  <a:lnTo>
                    <a:pt x="192" y="756"/>
                  </a:lnTo>
                  <a:lnTo>
                    <a:pt x="186" y="762"/>
                  </a:lnTo>
                  <a:lnTo>
                    <a:pt x="186" y="768"/>
                  </a:lnTo>
                  <a:lnTo>
                    <a:pt x="186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98"/>
                  </a:lnTo>
                  <a:lnTo>
                    <a:pt x="186" y="804"/>
                  </a:lnTo>
                  <a:lnTo>
                    <a:pt x="186" y="810"/>
                  </a:lnTo>
                  <a:lnTo>
                    <a:pt x="192" y="816"/>
                  </a:lnTo>
                  <a:lnTo>
                    <a:pt x="192" y="828"/>
                  </a:lnTo>
                  <a:lnTo>
                    <a:pt x="192" y="834"/>
                  </a:lnTo>
                  <a:lnTo>
                    <a:pt x="186" y="834"/>
                  </a:lnTo>
                  <a:lnTo>
                    <a:pt x="186" y="828"/>
                  </a:lnTo>
                  <a:lnTo>
                    <a:pt x="180" y="822"/>
                  </a:lnTo>
                  <a:lnTo>
                    <a:pt x="180" y="816"/>
                  </a:lnTo>
                  <a:lnTo>
                    <a:pt x="180" y="810"/>
                  </a:lnTo>
                  <a:lnTo>
                    <a:pt x="174" y="810"/>
                  </a:lnTo>
                  <a:lnTo>
                    <a:pt x="174" y="804"/>
                  </a:lnTo>
                  <a:lnTo>
                    <a:pt x="174" y="798"/>
                  </a:lnTo>
                  <a:lnTo>
                    <a:pt x="174" y="792"/>
                  </a:lnTo>
                  <a:lnTo>
                    <a:pt x="168" y="786"/>
                  </a:lnTo>
                  <a:lnTo>
                    <a:pt x="168" y="780"/>
                  </a:lnTo>
                  <a:lnTo>
                    <a:pt x="162" y="780"/>
                  </a:lnTo>
                  <a:lnTo>
                    <a:pt x="168" y="774"/>
                  </a:lnTo>
                  <a:lnTo>
                    <a:pt x="168" y="768"/>
                  </a:lnTo>
                  <a:lnTo>
                    <a:pt x="174" y="768"/>
                  </a:lnTo>
                  <a:lnTo>
                    <a:pt x="168" y="768"/>
                  </a:lnTo>
                  <a:lnTo>
                    <a:pt x="162" y="774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50" y="774"/>
                  </a:lnTo>
                  <a:lnTo>
                    <a:pt x="144" y="774"/>
                  </a:lnTo>
                  <a:lnTo>
                    <a:pt x="144" y="768"/>
                  </a:lnTo>
                  <a:lnTo>
                    <a:pt x="144" y="762"/>
                  </a:lnTo>
                  <a:lnTo>
                    <a:pt x="138" y="756"/>
                  </a:lnTo>
                  <a:lnTo>
                    <a:pt x="132" y="756"/>
                  </a:lnTo>
                  <a:lnTo>
                    <a:pt x="138" y="756"/>
                  </a:lnTo>
                  <a:lnTo>
                    <a:pt x="138" y="762"/>
                  </a:lnTo>
                  <a:lnTo>
                    <a:pt x="138" y="768"/>
                  </a:lnTo>
                  <a:lnTo>
                    <a:pt x="144" y="768"/>
                  </a:lnTo>
                  <a:lnTo>
                    <a:pt x="144" y="774"/>
                  </a:lnTo>
                  <a:lnTo>
                    <a:pt x="150" y="780"/>
                  </a:lnTo>
                  <a:lnTo>
                    <a:pt x="156" y="780"/>
                  </a:lnTo>
                  <a:lnTo>
                    <a:pt x="156" y="786"/>
                  </a:lnTo>
                  <a:lnTo>
                    <a:pt x="162" y="786"/>
                  </a:lnTo>
                  <a:lnTo>
                    <a:pt x="168" y="792"/>
                  </a:lnTo>
                  <a:lnTo>
                    <a:pt x="168" y="798"/>
                  </a:lnTo>
                  <a:lnTo>
                    <a:pt x="168" y="804"/>
                  </a:lnTo>
                  <a:lnTo>
                    <a:pt x="174" y="810"/>
                  </a:lnTo>
                  <a:lnTo>
                    <a:pt x="174" y="816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68" y="828"/>
                  </a:lnTo>
                  <a:lnTo>
                    <a:pt x="168" y="834"/>
                  </a:lnTo>
                  <a:lnTo>
                    <a:pt x="174" y="840"/>
                  </a:lnTo>
                  <a:lnTo>
                    <a:pt x="180" y="840"/>
                  </a:lnTo>
                  <a:lnTo>
                    <a:pt x="180" y="846"/>
                  </a:lnTo>
                  <a:lnTo>
                    <a:pt x="186" y="846"/>
                  </a:lnTo>
                  <a:lnTo>
                    <a:pt x="186" y="852"/>
                  </a:lnTo>
                  <a:lnTo>
                    <a:pt x="186" y="858"/>
                  </a:lnTo>
                  <a:lnTo>
                    <a:pt x="186" y="864"/>
                  </a:lnTo>
                  <a:lnTo>
                    <a:pt x="192" y="864"/>
                  </a:lnTo>
                  <a:lnTo>
                    <a:pt x="192" y="870"/>
                  </a:lnTo>
                  <a:lnTo>
                    <a:pt x="192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6" y="888"/>
                  </a:lnTo>
                  <a:lnTo>
                    <a:pt x="180" y="888"/>
                  </a:lnTo>
                  <a:lnTo>
                    <a:pt x="174" y="888"/>
                  </a:lnTo>
                  <a:lnTo>
                    <a:pt x="168" y="894"/>
                  </a:lnTo>
                  <a:lnTo>
                    <a:pt x="162" y="894"/>
                  </a:lnTo>
                  <a:lnTo>
                    <a:pt x="156" y="894"/>
                  </a:lnTo>
                  <a:lnTo>
                    <a:pt x="150" y="894"/>
                  </a:lnTo>
                  <a:lnTo>
                    <a:pt x="144" y="894"/>
                  </a:lnTo>
                  <a:lnTo>
                    <a:pt x="144" y="900"/>
                  </a:lnTo>
                  <a:lnTo>
                    <a:pt x="138" y="894"/>
                  </a:lnTo>
                  <a:lnTo>
                    <a:pt x="138" y="900"/>
                  </a:lnTo>
                  <a:lnTo>
                    <a:pt x="132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6" y="882"/>
                  </a:lnTo>
                  <a:lnTo>
                    <a:pt x="126" y="876"/>
                  </a:lnTo>
                  <a:lnTo>
                    <a:pt x="120" y="876"/>
                  </a:lnTo>
                  <a:lnTo>
                    <a:pt x="126" y="870"/>
                  </a:lnTo>
                  <a:lnTo>
                    <a:pt x="126" y="864"/>
                  </a:lnTo>
                  <a:lnTo>
                    <a:pt x="126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26" y="828"/>
                  </a:lnTo>
                  <a:lnTo>
                    <a:pt x="126" y="822"/>
                  </a:lnTo>
                  <a:lnTo>
                    <a:pt x="126" y="816"/>
                  </a:lnTo>
                  <a:lnTo>
                    <a:pt x="126" y="810"/>
                  </a:lnTo>
                  <a:lnTo>
                    <a:pt x="126" y="804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20" y="792"/>
                  </a:lnTo>
                  <a:lnTo>
                    <a:pt x="114" y="792"/>
                  </a:lnTo>
                  <a:lnTo>
                    <a:pt x="114" y="786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96" y="780"/>
                  </a:lnTo>
                  <a:lnTo>
                    <a:pt x="96" y="774"/>
                  </a:lnTo>
                  <a:lnTo>
                    <a:pt x="90" y="774"/>
                  </a:lnTo>
                  <a:lnTo>
                    <a:pt x="90" y="768"/>
                  </a:lnTo>
                  <a:close/>
                  <a:moveTo>
                    <a:pt x="96" y="780"/>
                  </a:moveTo>
                  <a:lnTo>
                    <a:pt x="102" y="780"/>
                  </a:lnTo>
                  <a:lnTo>
                    <a:pt x="102" y="786"/>
                  </a:lnTo>
                  <a:lnTo>
                    <a:pt x="108" y="786"/>
                  </a:lnTo>
                  <a:lnTo>
                    <a:pt x="114" y="792"/>
                  </a:lnTo>
                  <a:lnTo>
                    <a:pt x="120" y="798"/>
                  </a:lnTo>
                  <a:lnTo>
                    <a:pt x="120" y="804"/>
                  </a:lnTo>
                  <a:lnTo>
                    <a:pt x="126" y="810"/>
                  </a:lnTo>
                  <a:lnTo>
                    <a:pt x="126" y="816"/>
                  </a:lnTo>
                  <a:lnTo>
                    <a:pt x="126" y="822"/>
                  </a:lnTo>
                  <a:lnTo>
                    <a:pt x="120" y="828"/>
                  </a:lnTo>
                  <a:lnTo>
                    <a:pt x="120" y="840"/>
                  </a:lnTo>
                  <a:lnTo>
                    <a:pt x="120" y="852"/>
                  </a:lnTo>
                  <a:lnTo>
                    <a:pt x="120" y="858"/>
                  </a:lnTo>
                  <a:lnTo>
                    <a:pt x="120" y="864"/>
                  </a:lnTo>
                  <a:lnTo>
                    <a:pt x="120" y="870"/>
                  </a:lnTo>
                  <a:lnTo>
                    <a:pt x="114" y="870"/>
                  </a:lnTo>
                  <a:lnTo>
                    <a:pt x="108" y="870"/>
                  </a:lnTo>
                  <a:lnTo>
                    <a:pt x="108" y="876"/>
                  </a:lnTo>
                  <a:lnTo>
                    <a:pt x="114" y="876"/>
                  </a:lnTo>
                  <a:lnTo>
                    <a:pt x="120" y="876"/>
                  </a:lnTo>
                  <a:lnTo>
                    <a:pt x="120" y="882"/>
                  </a:lnTo>
                  <a:lnTo>
                    <a:pt x="114" y="888"/>
                  </a:lnTo>
                  <a:lnTo>
                    <a:pt x="120" y="888"/>
                  </a:lnTo>
                  <a:lnTo>
                    <a:pt x="120" y="894"/>
                  </a:lnTo>
                  <a:lnTo>
                    <a:pt x="114" y="894"/>
                  </a:lnTo>
                  <a:lnTo>
                    <a:pt x="108" y="894"/>
                  </a:lnTo>
                  <a:lnTo>
                    <a:pt x="96" y="894"/>
                  </a:lnTo>
                  <a:lnTo>
                    <a:pt x="96" y="882"/>
                  </a:lnTo>
                  <a:lnTo>
                    <a:pt x="96" y="876"/>
                  </a:lnTo>
                  <a:lnTo>
                    <a:pt x="84" y="870"/>
                  </a:lnTo>
                  <a:lnTo>
                    <a:pt x="72" y="864"/>
                  </a:lnTo>
                  <a:lnTo>
                    <a:pt x="72" y="852"/>
                  </a:lnTo>
                  <a:lnTo>
                    <a:pt x="72" y="840"/>
                  </a:lnTo>
                  <a:lnTo>
                    <a:pt x="78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90" y="792"/>
                  </a:lnTo>
                  <a:lnTo>
                    <a:pt x="96" y="780"/>
                  </a:lnTo>
                  <a:close/>
                  <a:moveTo>
                    <a:pt x="492" y="810"/>
                  </a:moveTo>
                  <a:lnTo>
                    <a:pt x="498" y="810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510" y="792"/>
                  </a:lnTo>
                  <a:lnTo>
                    <a:pt x="516" y="786"/>
                  </a:lnTo>
                  <a:lnTo>
                    <a:pt x="522" y="780"/>
                  </a:lnTo>
                  <a:lnTo>
                    <a:pt x="522" y="774"/>
                  </a:lnTo>
                  <a:lnTo>
                    <a:pt x="528" y="768"/>
                  </a:lnTo>
                  <a:lnTo>
                    <a:pt x="528" y="762"/>
                  </a:lnTo>
                  <a:lnTo>
                    <a:pt x="534" y="762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46" y="780"/>
                  </a:lnTo>
                  <a:lnTo>
                    <a:pt x="552" y="786"/>
                  </a:lnTo>
                  <a:lnTo>
                    <a:pt x="558" y="786"/>
                  </a:lnTo>
                  <a:lnTo>
                    <a:pt x="564" y="786"/>
                  </a:lnTo>
                  <a:lnTo>
                    <a:pt x="576" y="786"/>
                  </a:lnTo>
                  <a:lnTo>
                    <a:pt x="582" y="786"/>
                  </a:lnTo>
                  <a:lnTo>
                    <a:pt x="588" y="786"/>
                  </a:lnTo>
                  <a:lnTo>
                    <a:pt x="594" y="786"/>
                  </a:lnTo>
                  <a:lnTo>
                    <a:pt x="588" y="792"/>
                  </a:lnTo>
                  <a:lnTo>
                    <a:pt x="588" y="798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82" y="822"/>
                  </a:lnTo>
                  <a:lnTo>
                    <a:pt x="588" y="828"/>
                  </a:lnTo>
                  <a:lnTo>
                    <a:pt x="588" y="834"/>
                  </a:lnTo>
                  <a:lnTo>
                    <a:pt x="582" y="840"/>
                  </a:lnTo>
                  <a:lnTo>
                    <a:pt x="570" y="840"/>
                  </a:lnTo>
                  <a:lnTo>
                    <a:pt x="558" y="846"/>
                  </a:lnTo>
                  <a:lnTo>
                    <a:pt x="552" y="846"/>
                  </a:lnTo>
                  <a:lnTo>
                    <a:pt x="534" y="852"/>
                  </a:lnTo>
                  <a:lnTo>
                    <a:pt x="522" y="858"/>
                  </a:lnTo>
                  <a:lnTo>
                    <a:pt x="510" y="858"/>
                  </a:lnTo>
                  <a:lnTo>
                    <a:pt x="498" y="864"/>
                  </a:lnTo>
                  <a:lnTo>
                    <a:pt x="474" y="864"/>
                  </a:lnTo>
                  <a:lnTo>
                    <a:pt x="468" y="858"/>
                  </a:lnTo>
                  <a:lnTo>
                    <a:pt x="468" y="852"/>
                  </a:lnTo>
                  <a:lnTo>
                    <a:pt x="468" y="846"/>
                  </a:lnTo>
                  <a:lnTo>
                    <a:pt x="474" y="840"/>
                  </a:lnTo>
                  <a:lnTo>
                    <a:pt x="474" y="834"/>
                  </a:lnTo>
                  <a:lnTo>
                    <a:pt x="480" y="828"/>
                  </a:lnTo>
                  <a:lnTo>
                    <a:pt x="492" y="822"/>
                  </a:lnTo>
                  <a:lnTo>
                    <a:pt x="492" y="810"/>
                  </a:lnTo>
                  <a:close/>
                  <a:moveTo>
                    <a:pt x="384" y="720"/>
                  </a:moveTo>
                  <a:lnTo>
                    <a:pt x="384" y="726"/>
                  </a:lnTo>
                  <a:lnTo>
                    <a:pt x="390" y="726"/>
                  </a:lnTo>
                  <a:lnTo>
                    <a:pt x="396" y="726"/>
                  </a:lnTo>
                  <a:lnTo>
                    <a:pt x="402" y="732"/>
                  </a:lnTo>
                  <a:lnTo>
                    <a:pt x="408" y="732"/>
                  </a:lnTo>
                  <a:lnTo>
                    <a:pt x="414" y="732"/>
                  </a:lnTo>
                  <a:lnTo>
                    <a:pt x="414" y="738"/>
                  </a:lnTo>
                  <a:lnTo>
                    <a:pt x="414" y="744"/>
                  </a:lnTo>
                  <a:lnTo>
                    <a:pt x="414" y="750"/>
                  </a:lnTo>
                  <a:lnTo>
                    <a:pt x="414" y="756"/>
                  </a:lnTo>
                  <a:lnTo>
                    <a:pt x="414" y="762"/>
                  </a:lnTo>
                  <a:lnTo>
                    <a:pt x="420" y="768"/>
                  </a:lnTo>
                  <a:lnTo>
                    <a:pt x="420" y="774"/>
                  </a:lnTo>
                  <a:lnTo>
                    <a:pt x="426" y="780"/>
                  </a:lnTo>
                  <a:lnTo>
                    <a:pt x="426" y="786"/>
                  </a:lnTo>
                  <a:lnTo>
                    <a:pt x="420" y="786"/>
                  </a:lnTo>
                  <a:lnTo>
                    <a:pt x="420" y="792"/>
                  </a:lnTo>
                  <a:lnTo>
                    <a:pt x="420" y="798"/>
                  </a:lnTo>
                  <a:lnTo>
                    <a:pt x="420" y="804"/>
                  </a:lnTo>
                  <a:lnTo>
                    <a:pt x="426" y="804"/>
                  </a:lnTo>
                  <a:lnTo>
                    <a:pt x="426" y="810"/>
                  </a:lnTo>
                  <a:lnTo>
                    <a:pt x="426" y="816"/>
                  </a:lnTo>
                  <a:lnTo>
                    <a:pt x="432" y="816"/>
                  </a:lnTo>
                  <a:lnTo>
                    <a:pt x="438" y="816"/>
                  </a:lnTo>
                  <a:lnTo>
                    <a:pt x="438" y="822"/>
                  </a:lnTo>
                  <a:lnTo>
                    <a:pt x="432" y="822"/>
                  </a:lnTo>
                  <a:lnTo>
                    <a:pt x="426" y="828"/>
                  </a:lnTo>
                  <a:lnTo>
                    <a:pt x="420" y="828"/>
                  </a:lnTo>
                  <a:lnTo>
                    <a:pt x="414" y="828"/>
                  </a:lnTo>
                  <a:lnTo>
                    <a:pt x="408" y="828"/>
                  </a:lnTo>
                  <a:lnTo>
                    <a:pt x="402" y="828"/>
                  </a:lnTo>
                  <a:lnTo>
                    <a:pt x="402" y="822"/>
                  </a:lnTo>
                  <a:lnTo>
                    <a:pt x="396" y="822"/>
                  </a:lnTo>
                  <a:lnTo>
                    <a:pt x="402" y="822"/>
                  </a:lnTo>
                  <a:lnTo>
                    <a:pt x="402" y="816"/>
                  </a:lnTo>
                  <a:lnTo>
                    <a:pt x="396" y="816"/>
                  </a:lnTo>
                  <a:lnTo>
                    <a:pt x="396" y="810"/>
                  </a:lnTo>
                  <a:lnTo>
                    <a:pt x="396" y="804"/>
                  </a:lnTo>
                  <a:lnTo>
                    <a:pt x="390" y="798"/>
                  </a:lnTo>
                  <a:lnTo>
                    <a:pt x="390" y="792"/>
                  </a:lnTo>
                  <a:lnTo>
                    <a:pt x="390" y="786"/>
                  </a:lnTo>
                  <a:lnTo>
                    <a:pt x="390" y="780"/>
                  </a:lnTo>
                  <a:lnTo>
                    <a:pt x="390" y="774"/>
                  </a:lnTo>
                  <a:lnTo>
                    <a:pt x="390" y="768"/>
                  </a:lnTo>
                  <a:lnTo>
                    <a:pt x="390" y="762"/>
                  </a:lnTo>
                  <a:lnTo>
                    <a:pt x="384" y="756"/>
                  </a:lnTo>
                  <a:lnTo>
                    <a:pt x="384" y="750"/>
                  </a:lnTo>
                  <a:lnTo>
                    <a:pt x="384" y="744"/>
                  </a:lnTo>
                  <a:lnTo>
                    <a:pt x="378" y="744"/>
                  </a:lnTo>
                  <a:lnTo>
                    <a:pt x="384" y="744"/>
                  </a:lnTo>
                  <a:lnTo>
                    <a:pt x="384" y="738"/>
                  </a:lnTo>
                  <a:lnTo>
                    <a:pt x="378" y="738"/>
                  </a:lnTo>
                  <a:lnTo>
                    <a:pt x="378" y="732"/>
                  </a:lnTo>
                  <a:lnTo>
                    <a:pt x="378" y="726"/>
                  </a:lnTo>
                  <a:lnTo>
                    <a:pt x="378" y="720"/>
                  </a:lnTo>
                  <a:lnTo>
                    <a:pt x="384" y="720"/>
                  </a:lnTo>
                  <a:close/>
                  <a:moveTo>
                    <a:pt x="330" y="738"/>
                  </a:moveTo>
                  <a:lnTo>
                    <a:pt x="336" y="732"/>
                  </a:lnTo>
                  <a:lnTo>
                    <a:pt x="336" y="726"/>
                  </a:lnTo>
                  <a:lnTo>
                    <a:pt x="342" y="720"/>
                  </a:lnTo>
                  <a:lnTo>
                    <a:pt x="348" y="720"/>
                  </a:lnTo>
                  <a:lnTo>
                    <a:pt x="360" y="720"/>
                  </a:lnTo>
                  <a:lnTo>
                    <a:pt x="366" y="726"/>
                  </a:lnTo>
                  <a:lnTo>
                    <a:pt x="372" y="732"/>
                  </a:lnTo>
                  <a:lnTo>
                    <a:pt x="372" y="738"/>
                  </a:lnTo>
                  <a:lnTo>
                    <a:pt x="366" y="750"/>
                  </a:lnTo>
                  <a:lnTo>
                    <a:pt x="372" y="756"/>
                  </a:lnTo>
                  <a:lnTo>
                    <a:pt x="372" y="762"/>
                  </a:lnTo>
                  <a:lnTo>
                    <a:pt x="372" y="768"/>
                  </a:lnTo>
                  <a:lnTo>
                    <a:pt x="372" y="774"/>
                  </a:lnTo>
                  <a:lnTo>
                    <a:pt x="372" y="780"/>
                  </a:lnTo>
                  <a:lnTo>
                    <a:pt x="372" y="774"/>
                  </a:lnTo>
                  <a:lnTo>
                    <a:pt x="366" y="768"/>
                  </a:lnTo>
                  <a:lnTo>
                    <a:pt x="366" y="762"/>
                  </a:lnTo>
                  <a:lnTo>
                    <a:pt x="366" y="756"/>
                  </a:lnTo>
                  <a:lnTo>
                    <a:pt x="360" y="756"/>
                  </a:lnTo>
                  <a:lnTo>
                    <a:pt x="360" y="750"/>
                  </a:lnTo>
                  <a:lnTo>
                    <a:pt x="354" y="750"/>
                  </a:lnTo>
                  <a:lnTo>
                    <a:pt x="348" y="744"/>
                  </a:lnTo>
                  <a:lnTo>
                    <a:pt x="342" y="744"/>
                  </a:lnTo>
                  <a:lnTo>
                    <a:pt x="336" y="744"/>
                  </a:lnTo>
                  <a:lnTo>
                    <a:pt x="330" y="73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1" name="Freeform 6">
              <a:extLst>
                <a:ext uri="{FF2B5EF4-FFF2-40B4-BE49-F238E27FC236}">
                  <a16:creationId xmlns:a16="http://schemas.microsoft.com/office/drawing/2014/main" id="{0656C385-F30A-4AC8-AE9F-B1F66208B38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3123" y="4163918"/>
              <a:ext cx="266107" cy="248252"/>
            </a:xfrm>
            <a:custGeom>
              <a:avLst/>
              <a:gdLst>
                <a:gd name="T0" fmla="*/ 33 w 504"/>
                <a:gd name="T1" fmla="*/ 41 h 468"/>
                <a:gd name="T2" fmla="*/ 26 w 504"/>
                <a:gd name="T3" fmla="*/ 39 h 468"/>
                <a:gd name="T4" fmla="*/ 21 w 504"/>
                <a:gd name="T5" fmla="*/ 38 h 468"/>
                <a:gd name="T6" fmla="*/ 18 w 504"/>
                <a:gd name="T7" fmla="*/ 38 h 468"/>
                <a:gd name="T8" fmla="*/ 15 w 504"/>
                <a:gd name="T9" fmla="*/ 39 h 468"/>
                <a:gd name="T10" fmla="*/ 12 w 504"/>
                <a:gd name="T11" fmla="*/ 38 h 468"/>
                <a:gd name="T12" fmla="*/ 9 w 504"/>
                <a:gd name="T13" fmla="*/ 37 h 468"/>
                <a:gd name="T14" fmla="*/ 7 w 504"/>
                <a:gd name="T15" fmla="*/ 32 h 468"/>
                <a:gd name="T16" fmla="*/ 6 w 504"/>
                <a:gd name="T17" fmla="*/ 26 h 468"/>
                <a:gd name="T18" fmla="*/ 3 w 504"/>
                <a:gd name="T19" fmla="*/ 24 h 468"/>
                <a:gd name="T20" fmla="*/ 1 w 504"/>
                <a:gd name="T21" fmla="*/ 24 h 468"/>
                <a:gd name="T22" fmla="*/ 2 w 504"/>
                <a:gd name="T23" fmla="*/ 18 h 468"/>
                <a:gd name="T24" fmla="*/ 1 w 504"/>
                <a:gd name="T25" fmla="*/ 17 h 468"/>
                <a:gd name="T26" fmla="*/ 0 w 504"/>
                <a:gd name="T27" fmla="*/ 17 h 468"/>
                <a:gd name="T28" fmla="*/ 0 w 504"/>
                <a:gd name="T29" fmla="*/ 15 h 468"/>
                <a:gd name="T30" fmla="*/ 2 w 504"/>
                <a:gd name="T31" fmla="*/ 12 h 468"/>
                <a:gd name="T32" fmla="*/ 4 w 504"/>
                <a:gd name="T33" fmla="*/ 10 h 468"/>
                <a:gd name="T34" fmla="*/ 6 w 504"/>
                <a:gd name="T35" fmla="*/ 8 h 468"/>
                <a:gd name="T36" fmla="*/ 8 w 504"/>
                <a:gd name="T37" fmla="*/ 8 h 468"/>
                <a:gd name="T38" fmla="*/ 10 w 504"/>
                <a:gd name="T39" fmla="*/ 9 h 468"/>
                <a:gd name="T40" fmla="*/ 12 w 504"/>
                <a:gd name="T41" fmla="*/ 10 h 468"/>
                <a:gd name="T42" fmla="*/ 12 w 504"/>
                <a:gd name="T43" fmla="*/ 11 h 468"/>
                <a:gd name="T44" fmla="*/ 14 w 504"/>
                <a:gd name="T45" fmla="*/ 8 h 468"/>
                <a:gd name="T46" fmla="*/ 15 w 504"/>
                <a:gd name="T47" fmla="*/ 7 h 468"/>
                <a:gd name="T48" fmla="*/ 17 w 504"/>
                <a:gd name="T49" fmla="*/ 6 h 468"/>
                <a:gd name="T50" fmla="*/ 19 w 504"/>
                <a:gd name="T51" fmla="*/ 3 h 468"/>
                <a:gd name="T52" fmla="*/ 20 w 504"/>
                <a:gd name="T53" fmla="*/ 2 h 468"/>
                <a:gd name="T54" fmla="*/ 22 w 504"/>
                <a:gd name="T55" fmla="*/ 1 h 468"/>
                <a:gd name="T56" fmla="*/ 27 w 504"/>
                <a:gd name="T57" fmla="*/ 1 h 468"/>
                <a:gd name="T58" fmla="*/ 30 w 504"/>
                <a:gd name="T59" fmla="*/ 2 h 468"/>
                <a:gd name="T60" fmla="*/ 31 w 504"/>
                <a:gd name="T61" fmla="*/ 2 h 468"/>
                <a:gd name="T62" fmla="*/ 34 w 504"/>
                <a:gd name="T63" fmla="*/ 0 h 468"/>
                <a:gd name="T64" fmla="*/ 37 w 504"/>
                <a:gd name="T65" fmla="*/ 1 h 468"/>
                <a:gd name="T66" fmla="*/ 41 w 504"/>
                <a:gd name="T67" fmla="*/ 2 h 468"/>
                <a:gd name="T68" fmla="*/ 42 w 504"/>
                <a:gd name="T69" fmla="*/ 4 h 468"/>
                <a:gd name="T70" fmla="*/ 42 w 504"/>
                <a:gd name="T71" fmla="*/ 10 h 468"/>
                <a:gd name="T72" fmla="*/ 41 w 504"/>
                <a:gd name="T73" fmla="*/ 14 h 468"/>
                <a:gd name="T74" fmla="*/ 42 w 504"/>
                <a:gd name="T75" fmla="*/ 15 h 468"/>
                <a:gd name="T76" fmla="*/ 44 w 504"/>
                <a:gd name="T77" fmla="*/ 18 h 468"/>
                <a:gd name="T78" fmla="*/ 43 w 504"/>
                <a:gd name="T79" fmla="*/ 19 h 468"/>
                <a:gd name="T80" fmla="*/ 42 w 504"/>
                <a:gd name="T81" fmla="*/ 21 h 468"/>
                <a:gd name="T82" fmla="*/ 42 w 504"/>
                <a:gd name="T83" fmla="*/ 23 h 468"/>
                <a:gd name="T84" fmla="*/ 39 w 504"/>
                <a:gd name="T85" fmla="*/ 27 h 468"/>
                <a:gd name="T86" fmla="*/ 38 w 504"/>
                <a:gd name="T87" fmla="*/ 29 h 468"/>
                <a:gd name="T88" fmla="*/ 38 w 504"/>
                <a:gd name="T89" fmla="*/ 31 h 468"/>
                <a:gd name="T90" fmla="*/ 36 w 504"/>
                <a:gd name="T91" fmla="*/ 32 h 468"/>
                <a:gd name="T92" fmla="*/ 35 w 504"/>
                <a:gd name="T93" fmla="*/ 34 h 468"/>
                <a:gd name="T94" fmla="*/ 34 w 504"/>
                <a:gd name="T95" fmla="*/ 38 h 46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04"/>
                <a:gd name="T145" fmla="*/ 0 h 468"/>
                <a:gd name="T146" fmla="*/ 504 w 504"/>
                <a:gd name="T147" fmla="*/ 468 h 46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04" h="468">
                  <a:moveTo>
                    <a:pt x="390" y="456"/>
                  </a:moveTo>
                  <a:lnTo>
                    <a:pt x="384" y="468"/>
                  </a:lnTo>
                  <a:lnTo>
                    <a:pt x="378" y="468"/>
                  </a:lnTo>
                  <a:lnTo>
                    <a:pt x="354" y="468"/>
                  </a:lnTo>
                  <a:lnTo>
                    <a:pt x="348" y="462"/>
                  </a:lnTo>
                  <a:lnTo>
                    <a:pt x="300" y="456"/>
                  </a:lnTo>
                  <a:lnTo>
                    <a:pt x="270" y="444"/>
                  </a:lnTo>
                  <a:lnTo>
                    <a:pt x="252" y="438"/>
                  </a:lnTo>
                  <a:lnTo>
                    <a:pt x="240" y="438"/>
                  </a:lnTo>
                  <a:lnTo>
                    <a:pt x="234" y="438"/>
                  </a:lnTo>
                  <a:lnTo>
                    <a:pt x="228" y="444"/>
                  </a:lnTo>
                  <a:lnTo>
                    <a:pt x="210" y="444"/>
                  </a:lnTo>
                  <a:lnTo>
                    <a:pt x="198" y="444"/>
                  </a:lnTo>
                  <a:lnTo>
                    <a:pt x="198" y="450"/>
                  </a:lnTo>
                  <a:lnTo>
                    <a:pt x="168" y="456"/>
                  </a:lnTo>
                  <a:lnTo>
                    <a:pt x="150" y="450"/>
                  </a:lnTo>
                  <a:lnTo>
                    <a:pt x="144" y="444"/>
                  </a:lnTo>
                  <a:lnTo>
                    <a:pt x="132" y="438"/>
                  </a:lnTo>
                  <a:lnTo>
                    <a:pt x="138" y="432"/>
                  </a:lnTo>
                  <a:lnTo>
                    <a:pt x="114" y="432"/>
                  </a:lnTo>
                  <a:lnTo>
                    <a:pt x="102" y="426"/>
                  </a:lnTo>
                  <a:lnTo>
                    <a:pt x="90" y="414"/>
                  </a:lnTo>
                  <a:lnTo>
                    <a:pt x="72" y="402"/>
                  </a:lnTo>
                  <a:lnTo>
                    <a:pt x="78" y="366"/>
                  </a:lnTo>
                  <a:lnTo>
                    <a:pt x="78" y="330"/>
                  </a:lnTo>
                  <a:lnTo>
                    <a:pt x="66" y="318"/>
                  </a:lnTo>
                  <a:lnTo>
                    <a:pt x="66" y="300"/>
                  </a:lnTo>
                  <a:lnTo>
                    <a:pt x="66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30" y="282"/>
                  </a:lnTo>
                  <a:lnTo>
                    <a:pt x="24" y="282"/>
                  </a:lnTo>
                  <a:lnTo>
                    <a:pt x="12" y="276"/>
                  </a:lnTo>
                  <a:lnTo>
                    <a:pt x="0" y="282"/>
                  </a:lnTo>
                  <a:lnTo>
                    <a:pt x="12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2" y="198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6" y="180"/>
                  </a:lnTo>
                  <a:lnTo>
                    <a:pt x="12" y="186"/>
                  </a:lnTo>
                  <a:lnTo>
                    <a:pt x="18" y="138"/>
                  </a:lnTo>
                  <a:lnTo>
                    <a:pt x="24" y="126"/>
                  </a:lnTo>
                  <a:lnTo>
                    <a:pt x="30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20" y="102"/>
                  </a:lnTo>
                  <a:lnTo>
                    <a:pt x="126" y="108"/>
                  </a:lnTo>
                  <a:lnTo>
                    <a:pt x="126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0"/>
                  </a:lnTo>
                  <a:lnTo>
                    <a:pt x="156" y="96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16" y="42"/>
                  </a:lnTo>
                  <a:lnTo>
                    <a:pt x="222" y="36"/>
                  </a:lnTo>
                  <a:lnTo>
                    <a:pt x="228" y="36"/>
                  </a:lnTo>
                  <a:lnTo>
                    <a:pt x="228" y="30"/>
                  </a:lnTo>
                  <a:lnTo>
                    <a:pt x="228" y="24"/>
                  </a:lnTo>
                  <a:lnTo>
                    <a:pt x="246" y="18"/>
                  </a:lnTo>
                  <a:lnTo>
                    <a:pt x="252" y="18"/>
                  </a:lnTo>
                  <a:lnTo>
                    <a:pt x="258" y="12"/>
                  </a:lnTo>
                  <a:lnTo>
                    <a:pt x="270" y="6"/>
                  </a:lnTo>
                  <a:lnTo>
                    <a:pt x="288" y="6"/>
                  </a:lnTo>
                  <a:lnTo>
                    <a:pt x="312" y="12"/>
                  </a:lnTo>
                  <a:lnTo>
                    <a:pt x="324" y="12"/>
                  </a:lnTo>
                  <a:lnTo>
                    <a:pt x="336" y="18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14" y="12"/>
                  </a:lnTo>
                  <a:lnTo>
                    <a:pt x="426" y="12"/>
                  </a:lnTo>
                  <a:lnTo>
                    <a:pt x="444" y="18"/>
                  </a:lnTo>
                  <a:lnTo>
                    <a:pt x="462" y="18"/>
                  </a:lnTo>
                  <a:lnTo>
                    <a:pt x="474" y="18"/>
                  </a:lnTo>
                  <a:lnTo>
                    <a:pt x="480" y="18"/>
                  </a:lnTo>
                  <a:lnTo>
                    <a:pt x="486" y="36"/>
                  </a:lnTo>
                  <a:lnTo>
                    <a:pt x="480" y="42"/>
                  </a:lnTo>
                  <a:lnTo>
                    <a:pt x="480" y="54"/>
                  </a:lnTo>
                  <a:lnTo>
                    <a:pt x="486" y="78"/>
                  </a:lnTo>
                  <a:lnTo>
                    <a:pt x="486" y="114"/>
                  </a:lnTo>
                  <a:lnTo>
                    <a:pt x="486" y="150"/>
                  </a:lnTo>
                  <a:lnTo>
                    <a:pt x="468" y="150"/>
                  </a:lnTo>
                  <a:lnTo>
                    <a:pt x="474" y="162"/>
                  </a:lnTo>
                  <a:lnTo>
                    <a:pt x="480" y="162"/>
                  </a:lnTo>
                  <a:lnTo>
                    <a:pt x="486" y="174"/>
                  </a:lnTo>
                  <a:lnTo>
                    <a:pt x="492" y="174"/>
                  </a:lnTo>
                  <a:lnTo>
                    <a:pt x="492" y="192"/>
                  </a:lnTo>
                  <a:lnTo>
                    <a:pt x="498" y="198"/>
                  </a:lnTo>
                  <a:lnTo>
                    <a:pt x="504" y="204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8" y="222"/>
                  </a:lnTo>
                  <a:lnTo>
                    <a:pt x="492" y="228"/>
                  </a:lnTo>
                  <a:lnTo>
                    <a:pt x="492" y="234"/>
                  </a:lnTo>
                  <a:lnTo>
                    <a:pt x="492" y="240"/>
                  </a:lnTo>
                  <a:lnTo>
                    <a:pt x="486" y="246"/>
                  </a:lnTo>
                  <a:lnTo>
                    <a:pt x="486" y="258"/>
                  </a:lnTo>
                  <a:lnTo>
                    <a:pt x="480" y="264"/>
                  </a:lnTo>
                  <a:lnTo>
                    <a:pt x="474" y="276"/>
                  </a:lnTo>
                  <a:lnTo>
                    <a:pt x="468" y="288"/>
                  </a:lnTo>
                  <a:lnTo>
                    <a:pt x="456" y="306"/>
                  </a:lnTo>
                  <a:lnTo>
                    <a:pt x="456" y="312"/>
                  </a:lnTo>
                  <a:lnTo>
                    <a:pt x="444" y="318"/>
                  </a:lnTo>
                  <a:lnTo>
                    <a:pt x="432" y="336"/>
                  </a:lnTo>
                  <a:lnTo>
                    <a:pt x="432" y="342"/>
                  </a:lnTo>
                  <a:lnTo>
                    <a:pt x="432" y="348"/>
                  </a:lnTo>
                  <a:lnTo>
                    <a:pt x="432" y="354"/>
                  </a:lnTo>
                  <a:lnTo>
                    <a:pt x="426" y="366"/>
                  </a:lnTo>
                  <a:lnTo>
                    <a:pt x="420" y="366"/>
                  </a:lnTo>
                  <a:lnTo>
                    <a:pt x="420" y="372"/>
                  </a:lnTo>
                  <a:lnTo>
                    <a:pt x="414" y="378"/>
                  </a:lnTo>
                  <a:lnTo>
                    <a:pt x="414" y="390"/>
                  </a:lnTo>
                  <a:lnTo>
                    <a:pt x="408" y="390"/>
                  </a:lnTo>
                  <a:lnTo>
                    <a:pt x="408" y="402"/>
                  </a:lnTo>
                  <a:lnTo>
                    <a:pt x="402" y="414"/>
                  </a:lnTo>
                  <a:lnTo>
                    <a:pt x="396" y="438"/>
                  </a:lnTo>
                  <a:lnTo>
                    <a:pt x="396" y="444"/>
                  </a:lnTo>
                  <a:lnTo>
                    <a:pt x="390" y="45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11" name="Freeform 7">
              <a:extLst>
                <a:ext uri="{FF2B5EF4-FFF2-40B4-BE49-F238E27FC236}">
                  <a16:creationId xmlns:a16="http://schemas.microsoft.com/office/drawing/2014/main" id="{0D8DE62D-4554-4314-9F3A-7208D89B4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90838" y="4128134"/>
              <a:ext cx="283995" cy="411516"/>
            </a:xfrm>
            <a:custGeom>
              <a:avLst/>
              <a:gdLst>
                <a:gd name="T0" fmla="*/ 39 w 534"/>
                <a:gd name="T1" fmla="*/ 35 h 774"/>
                <a:gd name="T2" fmla="*/ 35 w 534"/>
                <a:gd name="T3" fmla="*/ 31 h 774"/>
                <a:gd name="T4" fmla="*/ 32 w 534"/>
                <a:gd name="T5" fmla="*/ 29 h 774"/>
                <a:gd name="T6" fmla="*/ 32 w 534"/>
                <a:gd name="T7" fmla="*/ 31 h 774"/>
                <a:gd name="T8" fmla="*/ 29 w 534"/>
                <a:gd name="T9" fmla="*/ 33 h 774"/>
                <a:gd name="T10" fmla="*/ 27 w 534"/>
                <a:gd name="T11" fmla="*/ 36 h 774"/>
                <a:gd name="T12" fmla="*/ 30 w 534"/>
                <a:gd name="T13" fmla="*/ 38 h 774"/>
                <a:gd name="T14" fmla="*/ 29 w 534"/>
                <a:gd name="T15" fmla="*/ 40 h 774"/>
                <a:gd name="T16" fmla="*/ 25 w 534"/>
                <a:gd name="T17" fmla="*/ 40 h 774"/>
                <a:gd name="T18" fmla="*/ 23 w 534"/>
                <a:gd name="T19" fmla="*/ 42 h 774"/>
                <a:gd name="T20" fmla="*/ 22 w 534"/>
                <a:gd name="T21" fmla="*/ 47 h 774"/>
                <a:gd name="T22" fmla="*/ 22 w 534"/>
                <a:gd name="T23" fmla="*/ 51 h 774"/>
                <a:gd name="T24" fmla="*/ 22 w 534"/>
                <a:gd name="T25" fmla="*/ 54 h 774"/>
                <a:gd name="T26" fmla="*/ 21 w 534"/>
                <a:gd name="T27" fmla="*/ 56 h 774"/>
                <a:gd name="T28" fmla="*/ 19 w 534"/>
                <a:gd name="T29" fmla="*/ 58 h 774"/>
                <a:gd name="T30" fmla="*/ 20 w 534"/>
                <a:gd name="T31" fmla="*/ 59 h 774"/>
                <a:gd name="T32" fmla="*/ 19 w 534"/>
                <a:gd name="T33" fmla="*/ 62 h 774"/>
                <a:gd name="T34" fmla="*/ 19 w 534"/>
                <a:gd name="T35" fmla="*/ 64 h 774"/>
                <a:gd name="T36" fmla="*/ 20 w 534"/>
                <a:gd name="T37" fmla="*/ 66 h 774"/>
                <a:gd name="T38" fmla="*/ 17 w 534"/>
                <a:gd name="T39" fmla="*/ 66 h 774"/>
                <a:gd name="T40" fmla="*/ 16 w 534"/>
                <a:gd name="T41" fmla="*/ 65 h 774"/>
                <a:gd name="T42" fmla="*/ 13 w 534"/>
                <a:gd name="T43" fmla="*/ 65 h 774"/>
                <a:gd name="T44" fmla="*/ 11 w 534"/>
                <a:gd name="T45" fmla="*/ 65 h 774"/>
                <a:gd name="T46" fmla="*/ 8 w 534"/>
                <a:gd name="T47" fmla="*/ 65 h 774"/>
                <a:gd name="T48" fmla="*/ 8 w 534"/>
                <a:gd name="T49" fmla="*/ 64 h 774"/>
                <a:gd name="T50" fmla="*/ 5 w 534"/>
                <a:gd name="T51" fmla="*/ 65 h 774"/>
                <a:gd name="T52" fmla="*/ 3 w 534"/>
                <a:gd name="T53" fmla="*/ 65 h 774"/>
                <a:gd name="T54" fmla="*/ 0 w 534"/>
                <a:gd name="T55" fmla="*/ 64 h 774"/>
                <a:gd name="T56" fmla="*/ 0 w 534"/>
                <a:gd name="T57" fmla="*/ 62 h 774"/>
                <a:gd name="T58" fmla="*/ 3 w 534"/>
                <a:gd name="T59" fmla="*/ 60 h 774"/>
                <a:gd name="T60" fmla="*/ 6 w 534"/>
                <a:gd name="T61" fmla="*/ 57 h 774"/>
                <a:gd name="T62" fmla="*/ 8 w 534"/>
                <a:gd name="T63" fmla="*/ 50 h 774"/>
                <a:gd name="T64" fmla="*/ 6 w 534"/>
                <a:gd name="T65" fmla="*/ 45 h 774"/>
                <a:gd name="T66" fmla="*/ 8 w 534"/>
                <a:gd name="T67" fmla="*/ 41 h 774"/>
                <a:gd name="T68" fmla="*/ 9 w 534"/>
                <a:gd name="T69" fmla="*/ 38 h 774"/>
                <a:gd name="T70" fmla="*/ 10 w 534"/>
                <a:gd name="T71" fmla="*/ 36 h 774"/>
                <a:gd name="T72" fmla="*/ 12 w 534"/>
                <a:gd name="T73" fmla="*/ 33 h 774"/>
                <a:gd name="T74" fmla="*/ 14 w 534"/>
                <a:gd name="T75" fmla="*/ 29 h 774"/>
                <a:gd name="T76" fmla="*/ 16 w 534"/>
                <a:gd name="T77" fmla="*/ 26 h 774"/>
                <a:gd name="T78" fmla="*/ 16 w 534"/>
                <a:gd name="T79" fmla="*/ 24 h 774"/>
                <a:gd name="T80" fmla="*/ 16 w 534"/>
                <a:gd name="T81" fmla="*/ 21 h 774"/>
                <a:gd name="T82" fmla="*/ 13 w 534"/>
                <a:gd name="T83" fmla="*/ 19 h 774"/>
                <a:gd name="T84" fmla="*/ 14 w 534"/>
                <a:gd name="T85" fmla="*/ 10 h 774"/>
                <a:gd name="T86" fmla="*/ 14 w 534"/>
                <a:gd name="T87" fmla="*/ 7 h 774"/>
                <a:gd name="T88" fmla="*/ 8 w 534"/>
                <a:gd name="T89" fmla="*/ 7 h 774"/>
                <a:gd name="T90" fmla="*/ 7 w 534"/>
                <a:gd name="T91" fmla="*/ 3 h 774"/>
                <a:gd name="T92" fmla="*/ 11 w 534"/>
                <a:gd name="T93" fmla="*/ 1 h 774"/>
                <a:gd name="T94" fmla="*/ 12 w 534"/>
                <a:gd name="T95" fmla="*/ 0 h 774"/>
                <a:gd name="T96" fmla="*/ 16 w 534"/>
                <a:gd name="T97" fmla="*/ 2 h 774"/>
                <a:gd name="T98" fmla="*/ 20 w 534"/>
                <a:gd name="T99" fmla="*/ 2 h 774"/>
                <a:gd name="T100" fmla="*/ 23 w 534"/>
                <a:gd name="T101" fmla="*/ 3 h 774"/>
                <a:gd name="T102" fmla="*/ 23 w 534"/>
                <a:gd name="T103" fmla="*/ 10 h 774"/>
                <a:gd name="T104" fmla="*/ 29 w 534"/>
                <a:gd name="T105" fmla="*/ 12 h 774"/>
                <a:gd name="T106" fmla="*/ 35 w 534"/>
                <a:gd name="T107" fmla="*/ 12 h 774"/>
                <a:gd name="T108" fmla="*/ 38 w 534"/>
                <a:gd name="T109" fmla="*/ 17 h 774"/>
                <a:gd name="T110" fmla="*/ 40 w 534"/>
                <a:gd name="T111" fmla="*/ 19 h 774"/>
                <a:gd name="T112" fmla="*/ 44 w 534"/>
                <a:gd name="T113" fmla="*/ 23 h 774"/>
                <a:gd name="T114" fmla="*/ 44 w 534"/>
                <a:gd name="T115" fmla="*/ 30 h 774"/>
                <a:gd name="T116" fmla="*/ 46 w 534"/>
                <a:gd name="T117" fmla="*/ 36 h 774"/>
                <a:gd name="T118" fmla="*/ 41 w 534"/>
                <a:gd name="T119" fmla="*/ 37 h 77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34"/>
                <a:gd name="T181" fmla="*/ 0 h 774"/>
                <a:gd name="T182" fmla="*/ 534 w 534"/>
                <a:gd name="T183" fmla="*/ 774 h 77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34" h="774">
                  <a:moveTo>
                    <a:pt x="462" y="426"/>
                  </a:moveTo>
                  <a:lnTo>
                    <a:pt x="462" y="414"/>
                  </a:lnTo>
                  <a:lnTo>
                    <a:pt x="450" y="402"/>
                  </a:lnTo>
                  <a:lnTo>
                    <a:pt x="444" y="396"/>
                  </a:lnTo>
                  <a:lnTo>
                    <a:pt x="420" y="396"/>
                  </a:lnTo>
                  <a:lnTo>
                    <a:pt x="408" y="390"/>
                  </a:lnTo>
                  <a:lnTo>
                    <a:pt x="402" y="366"/>
                  </a:lnTo>
                  <a:lnTo>
                    <a:pt x="390" y="354"/>
                  </a:lnTo>
                  <a:lnTo>
                    <a:pt x="384" y="336"/>
                  </a:lnTo>
                  <a:lnTo>
                    <a:pt x="378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8" y="348"/>
                  </a:lnTo>
                  <a:lnTo>
                    <a:pt x="360" y="354"/>
                  </a:lnTo>
                  <a:lnTo>
                    <a:pt x="360" y="390"/>
                  </a:lnTo>
                  <a:lnTo>
                    <a:pt x="348" y="390"/>
                  </a:lnTo>
                  <a:lnTo>
                    <a:pt x="342" y="384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90"/>
                  </a:lnTo>
                  <a:lnTo>
                    <a:pt x="312" y="402"/>
                  </a:lnTo>
                  <a:lnTo>
                    <a:pt x="306" y="420"/>
                  </a:lnTo>
                  <a:lnTo>
                    <a:pt x="324" y="414"/>
                  </a:lnTo>
                  <a:lnTo>
                    <a:pt x="330" y="414"/>
                  </a:lnTo>
                  <a:lnTo>
                    <a:pt x="336" y="420"/>
                  </a:lnTo>
                  <a:lnTo>
                    <a:pt x="336" y="432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6"/>
                  </a:lnTo>
                  <a:lnTo>
                    <a:pt x="318" y="456"/>
                  </a:lnTo>
                  <a:lnTo>
                    <a:pt x="300" y="456"/>
                  </a:lnTo>
                  <a:lnTo>
                    <a:pt x="288" y="462"/>
                  </a:lnTo>
                  <a:lnTo>
                    <a:pt x="276" y="462"/>
                  </a:lnTo>
                  <a:lnTo>
                    <a:pt x="270" y="462"/>
                  </a:lnTo>
                  <a:lnTo>
                    <a:pt x="270" y="468"/>
                  </a:lnTo>
                  <a:lnTo>
                    <a:pt x="252" y="468"/>
                  </a:lnTo>
                  <a:lnTo>
                    <a:pt x="258" y="480"/>
                  </a:lnTo>
                  <a:lnTo>
                    <a:pt x="258" y="492"/>
                  </a:lnTo>
                  <a:lnTo>
                    <a:pt x="258" y="498"/>
                  </a:lnTo>
                  <a:lnTo>
                    <a:pt x="258" y="510"/>
                  </a:lnTo>
                  <a:lnTo>
                    <a:pt x="252" y="540"/>
                  </a:lnTo>
                  <a:lnTo>
                    <a:pt x="246" y="564"/>
                  </a:lnTo>
                  <a:lnTo>
                    <a:pt x="246" y="570"/>
                  </a:lnTo>
                  <a:lnTo>
                    <a:pt x="252" y="576"/>
                  </a:lnTo>
                  <a:lnTo>
                    <a:pt x="246" y="582"/>
                  </a:lnTo>
                  <a:lnTo>
                    <a:pt x="252" y="600"/>
                  </a:lnTo>
                  <a:lnTo>
                    <a:pt x="258" y="606"/>
                  </a:lnTo>
                  <a:lnTo>
                    <a:pt x="258" y="612"/>
                  </a:lnTo>
                  <a:lnTo>
                    <a:pt x="252" y="618"/>
                  </a:lnTo>
                  <a:lnTo>
                    <a:pt x="246" y="624"/>
                  </a:lnTo>
                  <a:lnTo>
                    <a:pt x="246" y="630"/>
                  </a:lnTo>
                  <a:lnTo>
                    <a:pt x="246" y="636"/>
                  </a:lnTo>
                  <a:lnTo>
                    <a:pt x="240" y="642"/>
                  </a:lnTo>
                  <a:lnTo>
                    <a:pt x="234" y="654"/>
                  </a:lnTo>
                  <a:lnTo>
                    <a:pt x="228" y="654"/>
                  </a:lnTo>
                  <a:lnTo>
                    <a:pt x="222" y="660"/>
                  </a:lnTo>
                  <a:lnTo>
                    <a:pt x="216" y="666"/>
                  </a:lnTo>
                  <a:lnTo>
                    <a:pt x="210" y="666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22" y="684"/>
                  </a:lnTo>
                  <a:lnTo>
                    <a:pt x="222" y="690"/>
                  </a:lnTo>
                  <a:lnTo>
                    <a:pt x="222" y="696"/>
                  </a:lnTo>
                  <a:lnTo>
                    <a:pt x="222" y="702"/>
                  </a:lnTo>
                  <a:lnTo>
                    <a:pt x="216" y="708"/>
                  </a:lnTo>
                  <a:lnTo>
                    <a:pt x="210" y="720"/>
                  </a:lnTo>
                  <a:lnTo>
                    <a:pt x="216" y="732"/>
                  </a:lnTo>
                  <a:lnTo>
                    <a:pt x="210" y="732"/>
                  </a:lnTo>
                  <a:lnTo>
                    <a:pt x="216" y="738"/>
                  </a:lnTo>
                  <a:lnTo>
                    <a:pt x="216" y="744"/>
                  </a:lnTo>
                  <a:lnTo>
                    <a:pt x="222" y="750"/>
                  </a:lnTo>
                  <a:lnTo>
                    <a:pt x="228" y="756"/>
                  </a:lnTo>
                  <a:lnTo>
                    <a:pt x="222" y="762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04" y="762"/>
                  </a:lnTo>
                  <a:lnTo>
                    <a:pt x="198" y="762"/>
                  </a:lnTo>
                  <a:lnTo>
                    <a:pt x="192" y="762"/>
                  </a:lnTo>
                  <a:lnTo>
                    <a:pt x="186" y="756"/>
                  </a:lnTo>
                  <a:lnTo>
                    <a:pt x="180" y="750"/>
                  </a:lnTo>
                  <a:lnTo>
                    <a:pt x="180" y="744"/>
                  </a:lnTo>
                  <a:lnTo>
                    <a:pt x="174" y="744"/>
                  </a:lnTo>
                  <a:lnTo>
                    <a:pt x="156" y="750"/>
                  </a:lnTo>
                  <a:lnTo>
                    <a:pt x="150" y="750"/>
                  </a:lnTo>
                  <a:lnTo>
                    <a:pt x="144" y="750"/>
                  </a:lnTo>
                  <a:lnTo>
                    <a:pt x="138" y="750"/>
                  </a:lnTo>
                  <a:lnTo>
                    <a:pt x="138" y="744"/>
                  </a:lnTo>
                  <a:lnTo>
                    <a:pt x="132" y="744"/>
                  </a:lnTo>
                  <a:lnTo>
                    <a:pt x="120" y="744"/>
                  </a:lnTo>
                  <a:lnTo>
                    <a:pt x="114" y="738"/>
                  </a:lnTo>
                  <a:lnTo>
                    <a:pt x="108" y="744"/>
                  </a:lnTo>
                  <a:lnTo>
                    <a:pt x="102" y="744"/>
                  </a:lnTo>
                  <a:lnTo>
                    <a:pt x="96" y="744"/>
                  </a:lnTo>
                  <a:lnTo>
                    <a:pt x="96" y="738"/>
                  </a:lnTo>
                  <a:lnTo>
                    <a:pt x="96" y="744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44"/>
                  </a:lnTo>
                  <a:lnTo>
                    <a:pt x="72" y="750"/>
                  </a:lnTo>
                  <a:lnTo>
                    <a:pt x="66" y="750"/>
                  </a:lnTo>
                  <a:lnTo>
                    <a:pt x="60" y="750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0"/>
                  </a:lnTo>
                  <a:lnTo>
                    <a:pt x="30" y="750"/>
                  </a:lnTo>
                  <a:lnTo>
                    <a:pt x="24" y="744"/>
                  </a:lnTo>
                  <a:lnTo>
                    <a:pt x="18" y="738"/>
                  </a:lnTo>
                  <a:lnTo>
                    <a:pt x="6" y="738"/>
                  </a:lnTo>
                  <a:lnTo>
                    <a:pt x="0" y="732"/>
                  </a:lnTo>
                  <a:lnTo>
                    <a:pt x="0" y="726"/>
                  </a:lnTo>
                  <a:lnTo>
                    <a:pt x="0" y="720"/>
                  </a:lnTo>
                  <a:lnTo>
                    <a:pt x="6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8" y="702"/>
                  </a:lnTo>
                  <a:lnTo>
                    <a:pt x="24" y="696"/>
                  </a:lnTo>
                  <a:lnTo>
                    <a:pt x="30" y="696"/>
                  </a:lnTo>
                  <a:lnTo>
                    <a:pt x="48" y="690"/>
                  </a:lnTo>
                  <a:lnTo>
                    <a:pt x="54" y="678"/>
                  </a:lnTo>
                  <a:lnTo>
                    <a:pt x="66" y="672"/>
                  </a:lnTo>
                  <a:lnTo>
                    <a:pt x="66" y="654"/>
                  </a:lnTo>
                  <a:lnTo>
                    <a:pt x="72" y="636"/>
                  </a:lnTo>
                  <a:lnTo>
                    <a:pt x="72" y="612"/>
                  </a:lnTo>
                  <a:lnTo>
                    <a:pt x="84" y="594"/>
                  </a:lnTo>
                  <a:lnTo>
                    <a:pt x="90" y="576"/>
                  </a:lnTo>
                  <a:lnTo>
                    <a:pt x="96" y="552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72" y="522"/>
                  </a:lnTo>
                  <a:lnTo>
                    <a:pt x="78" y="510"/>
                  </a:lnTo>
                  <a:lnTo>
                    <a:pt x="78" y="504"/>
                  </a:lnTo>
                  <a:lnTo>
                    <a:pt x="84" y="480"/>
                  </a:lnTo>
                  <a:lnTo>
                    <a:pt x="90" y="468"/>
                  </a:lnTo>
                  <a:lnTo>
                    <a:pt x="90" y="456"/>
                  </a:lnTo>
                  <a:lnTo>
                    <a:pt x="96" y="456"/>
                  </a:lnTo>
                  <a:lnTo>
                    <a:pt x="96" y="444"/>
                  </a:lnTo>
                  <a:lnTo>
                    <a:pt x="102" y="438"/>
                  </a:lnTo>
                  <a:lnTo>
                    <a:pt x="102" y="432"/>
                  </a:lnTo>
                  <a:lnTo>
                    <a:pt x="108" y="432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14" y="408"/>
                  </a:lnTo>
                  <a:lnTo>
                    <a:pt x="114" y="402"/>
                  </a:lnTo>
                  <a:lnTo>
                    <a:pt x="126" y="384"/>
                  </a:lnTo>
                  <a:lnTo>
                    <a:pt x="138" y="378"/>
                  </a:lnTo>
                  <a:lnTo>
                    <a:pt x="138" y="372"/>
                  </a:lnTo>
                  <a:lnTo>
                    <a:pt x="150" y="354"/>
                  </a:lnTo>
                  <a:lnTo>
                    <a:pt x="156" y="342"/>
                  </a:lnTo>
                  <a:lnTo>
                    <a:pt x="162" y="330"/>
                  </a:lnTo>
                  <a:lnTo>
                    <a:pt x="168" y="324"/>
                  </a:lnTo>
                  <a:lnTo>
                    <a:pt x="168" y="312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74" y="294"/>
                  </a:lnTo>
                  <a:lnTo>
                    <a:pt x="180" y="288"/>
                  </a:lnTo>
                  <a:lnTo>
                    <a:pt x="180" y="276"/>
                  </a:lnTo>
                  <a:lnTo>
                    <a:pt x="186" y="276"/>
                  </a:lnTo>
                  <a:lnTo>
                    <a:pt x="186" y="270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40"/>
                  </a:lnTo>
                  <a:lnTo>
                    <a:pt x="168" y="240"/>
                  </a:lnTo>
                  <a:lnTo>
                    <a:pt x="162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68" y="216"/>
                  </a:lnTo>
                  <a:lnTo>
                    <a:pt x="168" y="180"/>
                  </a:lnTo>
                  <a:lnTo>
                    <a:pt x="168" y="144"/>
                  </a:lnTo>
                  <a:lnTo>
                    <a:pt x="162" y="120"/>
                  </a:lnTo>
                  <a:lnTo>
                    <a:pt x="162" y="108"/>
                  </a:lnTo>
                  <a:lnTo>
                    <a:pt x="168" y="102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44" y="84"/>
                  </a:lnTo>
                  <a:lnTo>
                    <a:pt x="126" y="84"/>
                  </a:lnTo>
                  <a:lnTo>
                    <a:pt x="108" y="78"/>
                  </a:lnTo>
                  <a:lnTo>
                    <a:pt x="96" y="78"/>
                  </a:lnTo>
                  <a:lnTo>
                    <a:pt x="78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8" y="36"/>
                  </a:lnTo>
                  <a:lnTo>
                    <a:pt x="96" y="24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56" y="0"/>
                  </a:lnTo>
                  <a:lnTo>
                    <a:pt x="156" y="6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18"/>
                  </a:lnTo>
                  <a:lnTo>
                    <a:pt x="198" y="18"/>
                  </a:lnTo>
                  <a:lnTo>
                    <a:pt x="210" y="18"/>
                  </a:lnTo>
                  <a:lnTo>
                    <a:pt x="222" y="18"/>
                  </a:lnTo>
                  <a:lnTo>
                    <a:pt x="234" y="12"/>
                  </a:lnTo>
                  <a:lnTo>
                    <a:pt x="252" y="18"/>
                  </a:lnTo>
                  <a:lnTo>
                    <a:pt x="252" y="24"/>
                  </a:lnTo>
                  <a:lnTo>
                    <a:pt x="258" y="36"/>
                  </a:lnTo>
                  <a:lnTo>
                    <a:pt x="258" y="66"/>
                  </a:lnTo>
                  <a:lnTo>
                    <a:pt x="252" y="84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82" y="126"/>
                  </a:lnTo>
                  <a:lnTo>
                    <a:pt x="294" y="132"/>
                  </a:lnTo>
                  <a:lnTo>
                    <a:pt x="306" y="138"/>
                  </a:lnTo>
                  <a:lnTo>
                    <a:pt x="324" y="138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60" y="144"/>
                  </a:lnTo>
                  <a:lnTo>
                    <a:pt x="396" y="144"/>
                  </a:lnTo>
                  <a:lnTo>
                    <a:pt x="408" y="150"/>
                  </a:lnTo>
                  <a:lnTo>
                    <a:pt x="414" y="180"/>
                  </a:lnTo>
                  <a:lnTo>
                    <a:pt x="420" y="186"/>
                  </a:lnTo>
                  <a:lnTo>
                    <a:pt x="426" y="192"/>
                  </a:lnTo>
                  <a:lnTo>
                    <a:pt x="426" y="198"/>
                  </a:lnTo>
                  <a:lnTo>
                    <a:pt x="432" y="198"/>
                  </a:lnTo>
                  <a:lnTo>
                    <a:pt x="438" y="210"/>
                  </a:lnTo>
                  <a:lnTo>
                    <a:pt x="450" y="216"/>
                  </a:lnTo>
                  <a:lnTo>
                    <a:pt x="468" y="228"/>
                  </a:lnTo>
                  <a:lnTo>
                    <a:pt x="492" y="234"/>
                  </a:lnTo>
                  <a:lnTo>
                    <a:pt x="492" y="246"/>
                  </a:lnTo>
                  <a:lnTo>
                    <a:pt x="492" y="270"/>
                  </a:lnTo>
                  <a:lnTo>
                    <a:pt x="486" y="294"/>
                  </a:lnTo>
                  <a:lnTo>
                    <a:pt x="486" y="312"/>
                  </a:lnTo>
                  <a:lnTo>
                    <a:pt x="486" y="330"/>
                  </a:lnTo>
                  <a:lnTo>
                    <a:pt x="492" y="348"/>
                  </a:lnTo>
                  <a:lnTo>
                    <a:pt x="498" y="360"/>
                  </a:lnTo>
                  <a:lnTo>
                    <a:pt x="510" y="366"/>
                  </a:lnTo>
                  <a:lnTo>
                    <a:pt x="516" y="384"/>
                  </a:lnTo>
                  <a:lnTo>
                    <a:pt x="522" y="414"/>
                  </a:lnTo>
                  <a:lnTo>
                    <a:pt x="528" y="414"/>
                  </a:lnTo>
                  <a:lnTo>
                    <a:pt x="534" y="426"/>
                  </a:lnTo>
                  <a:lnTo>
                    <a:pt x="528" y="432"/>
                  </a:lnTo>
                  <a:lnTo>
                    <a:pt x="468" y="426"/>
                  </a:lnTo>
                  <a:lnTo>
                    <a:pt x="462" y="4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3" name="Freeform 8">
              <a:extLst>
                <a:ext uri="{FF2B5EF4-FFF2-40B4-BE49-F238E27FC236}">
                  <a16:creationId xmlns:a16="http://schemas.microsoft.com/office/drawing/2014/main" id="{D473457C-872E-4E31-888A-D60FD52063A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98175" y="4307054"/>
              <a:ext cx="295177" cy="348894"/>
            </a:xfrm>
            <a:custGeom>
              <a:avLst/>
              <a:gdLst>
                <a:gd name="T0" fmla="*/ 3 w 552"/>
                <a:gd name="T1" fmla="*/ 46 h 660"/>
                <a:gd name="T2" fmla="*/ 4 w 552"/>
                <a:gd name="T3" fmla="*/ 42 h 660"/>
                <a:gd name="T4" fmla="*/ 2 w 552"/>
                <a:gd name="T5" fmla="*/ 38 h 660"/>
                <a:gd name="T6" fmla="*/ 0 w 552"/>
                <a:gd name="T7" fmla="*/ 34 h 660"/>
                <a:gd name="T8" fmla="*/ 2 w 552"/>
                <a:gd name="T9" fmla="*/ 30 h 660"/>
                <a:gd name="T10" fmla="*/ 3 w 552"/>
                <a:gd name="T11" fmla="*/ 27 h 660"/>
                <a:gd name="T12" fmla="*/ 5 w 552"/>
                <a:gd name="T13" fmla="*/ 23 h 660"/>
                <a:gd name="T14" fmla="*/ 5 w 552"/>
                <a:gd name="T15" fmla="*/ 15 h 660"/>
                <a:gd name="T16" fmla="*/ 6 w 552"/>
                <a:gd name="T17" fmla="*/ 11 h 660"/>
                <a:gd name="T18" fmla="*/ 11 w 552"/>
                <a:gd name="T19" fmla="*/ 9 h 660"/>
                <a:gd name="T20" fmla="*/ 10 w 552"/>
                <a:gd name="T21" fmla="*/ 5 h 660"/>
                <a:gd name="T22" fmla="*/ 12 w 552"/>
                <a:gd name="T23" fmla="*/ 1 h 660"/>
                <a:gd name="T24" fmla="*/ 16 w 552"/>
                <a:gd name="T25" fmla="*/ 2 h 660"/>
                <a:gd name="T26" fmla="*/ 23 w 552"/>
                <a:gd name="T27" fmla="*/ 8 h 660"/>
                <a:gd name="T28" fmla="*/ 23 w 552"/>
                <a:gd name="T29" fmla="*/ 11 h 660"/>
                <a:gd name="T30" fmla="*/ 27 w 552"/>
                <a:gd name="T31" fmla="*/ 12 h 660"/>
                <a:gd name="T32" fmla="*/ 29 w 552"/>
                <a:gd name="T33" fmla="*/ 17 h 660"/>
                <a:gd name="T34" fmla="*/ 31 w 552"/>
                <a:gd name="T35" fmla="*/ 15 h 660"/>
                <a:gd name="T36" fmla="*/ 33 w 552"/>
                <a:gd name="T37" fmla="*/ 17 h 660"/>
                <a:gd name="T38" fmla="*/ 36 w 552"/>
                <a:gd name="T39" fmla="*/ 23 h 660"/>
                <a:gd name="T40" fmla="*/ 41 w 552"/>
                <a:gd name="T41" fmla="*/ 33 h 660"/>
                <a:gd name="T42" fmla="*/ 43 w 552"/>
                <a:gd name="T43" fmla="*/ 36 h 660"/>
                <a:gd name="T44" fmla="*/ 43 w 552"/>
                <a:gd name="T45" fmla="*/ 37 h 660"/>
                <a:gd name="T46" fmla="*/ 41 w 552"/>
                <a:gd name="T47" fmla="*/ 35 h 660"/>
                <a:gd name="T48" fmla="*/ 43 w 552"/>
                <a:gd name="T49" fmla="*/ 37 h 660"/>
                <a:gd name="T50" fmla="*/ 44 w 552"/>
                <a:gd name="T51" fmla="*/ 39 h 660"/>
                <a:gd name="T52" fmla="*/ 47 w 552"/>
                <a:gd name="T53" fmla="*/ 41 h 660"/>
                <a:gd name="T54" fmla="*/ 47 w 552"/>
                <a:gd name="T55" fmla="*/ 44 h 660"/>
                <a:gd name="T56" fmla="*/ 48 w 552"/>
                <a:gd name="T57" fmla="*/ 46 h 660"/>
                <a:gd name="T58" fmla="*/ 47 w 552"/>
                <a:gd name="T59" fmla="*/ 46 h 660"/>
                <a:gd name="T60" fmla="*/ 44 w 552"/>
                <a:gd name="T61" fmla="*/ 46 h 660"/>
                <a:gd name="T62" fmla="*/ 47 w 552"/>
                <a:gd name="T63" fmla="*/ 47 h 660"/>
                <a:gd name="T64" fmla="*/ 47 w 552"/>
                <a:gd name="T65" fmla="*/ 49 h 660"/>
                <a:gd name="T66" fmla="*/ 47 w 552"/>
                <a:gd name="T67" fmla="*/ 52 h 660"/>
                <a:gd name="T68" fmla="*/ 46 w 552"/>
                <a:gd name="T69" fmla="*/ 53 h 660"/>
                <a:gd name="T70" fmla="*/ 43 w 552"/>
                <a:gd name="T71" fmla="*/ 54 h 660"/>
                <a:gd name="T72" fmla="*/ 37 w 552"/>
                <a:gd name="T73" fmla="*/ 54 h 660"/>
                <a:gd name="T74" fmla="*/ 30 w 552"/>
                <a:gd name="T75" fmla="*/ 54 h 660"/>
                <a:gd name="T76" fmla="*/ 29 w 552"/>
                <a:gd name="T77" fmla="*/ 53 h 660"/>
                <a:gd name="T78" fmla="*/ 27 w 552"/>
                <a:gd name="T79" fmla="*/ 53 h 660"/>
                <a:gd name="T80" fmla="*/ 29 w 552"/>
                <a:gd name="T81" fmla="*/ 53 h 660"/>
                <a:gd name="T82" fmla="*/ 28 w 552"/>
                <a:gd name="T83" fmla="*/ 54 h 660"/>
                <a:gd name="T84" fmla="*/ 24 w 552"/>
                <a:gd name="T85" fmla="*/ 54 h 660"/>
                <a:gd name="T86" fmla="*/ 20 w 552"/>
                <a:gd name="T87" fmla="*/ 55 h 660"/>
                <a:gd name="T88" fmla="*/ 15 w 552"/>
                <a:gd name="T89" fmla="*/ 56 h 660"/>
                <a:gd name="T90" fmla="*/ 12 w 552"/>
                <a:gd name="T91" fmla="*/ 56 h 660"/>
                <a:gd name="T92" fmla="*/ 11 w 552"/>
                <a:gd name="T93" fmla="*/ 57 h 660"/>
                <a:gd name="T94" fmla="*/ 9 w 552"/>
                <a:gd name="T95" fmla="*/ 57 h 660"/>
                <a:gd name="T96" fmla="*/ 7 w 552"/>
                <a:gd name="T97" fmla="*/ 56 h 660"/>
                <a:gd name="T98" fmla="*/ 5 w 552"/>
                <a:gd name="T99" fmla="*/ 55 h 660"/>
                <a:gd name="T100" fmla="*/ 7 w 552"/>
                <a:gd name="T101" fmla="*/ 54 h 660"/>
                <a:gd name="T102" fmla="*/ 5 w 552"/>
                <a:gd name="T103" fmla="*/ 54 h 660"/>
                <a:gd name="T104" fmla="*/ 5 w 552"/>
                <a:gd name="T105" fmla="*/ 53 h 660"/>
                <a:gd name="T106" fmla="*/ 4 w 552"/>
                <a:gd name="T107" fmla="*/ 49 h 660"/>
                <a:gd name="T108" fmla="*/ 45 w 552"/>
                <a:gd name="T109" fmla="*/ 38 h 66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52"/>
                <a:gd name="T166" fmla="*/ 0 h 660"/>
                <a:gd name="T167" fmla="*/ 552 w 552"/>
                <a:gd name="T168" fmla="*/ 660 h 66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52" h="660">
                  <a:moveTo>
                    <a:pt x="36" y="564"/>
                  </a:moveTo>
                  <a:lnTo>
                    <a:pt x="36" y="558"/>
                  </a:lnTo>
                  <a:lnTo>
                    <a:pt x="36" y="552"/>
                  </a:lnTo>
                  <a:lnTo>
                    <a:pt x="42" y="546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34"/>
                  </a:lnTo>
                  <a:lnTo>
                    <a:pt x="36" y="528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54" y="510"/>
                  </a:lnTo>
                  <a:lnTo>
                    <a:pt x="54" y="504"/>
                  </a:lnTo>
                  <a:lnTo>
                    <a:pt x="54" y="498"/>
                  </a:lnTo>
                  <a:lnTo>
                    <a:pt x="48" y="492"/>
                  </a:lnTo>
                  <a:lnTo>
                    <a:pt x="42" y="486"/>
                  </a:lnTo>
                  <a:lnTo>
                    <a:pt x="42" y="480"/>
                  </a:lnTo>
                  <a:lnTo>
                    <a:pt x="42" y="468"/>
                  </a:lnTo>
                  <a:lnTo>
                    <a:pt x="30" y="456"/>
                  </a:lnTo>
                  <a:lnTo>
                    <a:pt x="30" y="450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2"/>
                  </a:lnTo>
                  <a:lnTo>
                    <a:pt x="18" y="426"/>
                  </a:lnTo>
                  <a:lnTo>
                    <a:pt x="24" y="420"/>
                  </a:lnTo>
                  <a:lnTo>
                    <a:pt x="18" y="414"/>
                  </a:lnTo>
                  <a:lnTo>
                    <a:pt x="12" y="408"/>
                  </a:lnTo>
                  <a:lnTo>
                    <a:pt x="12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6" y="384"/>
                  </a:lnTo>
                  <a:lnTo>
                    <a:pt x="12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8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36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54" y="270"/>
                  </a:lnTo>
                  <a:lnTo>
                    <a:pt x="48" y="264"/>
                  </a:lnTo>
                  <a:lnTo>
                    <a:pt x="42" y="246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8" y="204"/>
                  </a:lnTo>
                  <a:lnTo>
                    <a:pt x="54" y="174"/>
                  </a:lnTo>
                  <a:lnTo>
                    <a:pt x="54" y="162"/>
                  </a:lnTo>
                  <a:lnTo>
                    <a:pt x="54" y="156"/>
                  </a:lnTo>
                  <a:lnTo>
                    <a:pt x="54" y="144"/>
                  </a:lnTo>
                  <a:lnTo>
                    <a:pt x="48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72" y="126"/>
                  </a:lnTo>
                  <a:lnTo>
                    <a:pt x="84" y="126"/>
                  </a:lnTo>
                  <a:lnTo>
                    <a:pt x="96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2" y="84"/>
                  </a:lnTo>
                  <a:lnTo>
                    <a:pt x="126" y="78"/>
                  </a:lnTo>
                  <a:lnTo>
                    <a:pt x="120" y="78"/>
                  </a:lnTo>
                  <a:lnTo>
                    <a:pt x="102" y="84"/>
                  </a:lnTo>
                  <a:lnTo>
                    <a:pt x="108" y="66"/>
                  </a:lnTo>
                  <a:lnTo>
                    <a:pt x="114" y="54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8" y="4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6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74" y="0"/>
                  </a:lnTo>
                  <a:lnTo>
                    <a:pt x="180" y="0"/>
                  </a:lnTo>
                  <a:lnTo>
                    <a:pt x="186" y="18"/>
                  </a:lnTo>
                  <a:lnTo>
                    <a:pt x="198" y="30"/>
                  </a:lnTo>
                  <a:lnTo>
                    <a:pt x="204" y="54"/>
                  </a:lnTo>
                  <a:lnTo>
                    <a:pt x="216" y="60"/>
                  </a:lnTo>
                  <a:lnTo>
                    <a:pt x="240" y="60"/>
                  </a:lnTo>
                  <a:lnTo>
                    <a:pt x="246" y="66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2" y="120"/>
                  </a:lnTo>
                  <a:lnTo>
                    <a:pt x="25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6" y="126"/>
                  </a:lnTo>
                  <a:lnTo>
                    <a:pt x="282" y="120"/>
                  </a:lnTo>
                  <a:lnTo>
                    <a:pt x="282" y="126"/>
                  </a:lnTo>
                  <a:lnTo>
                    <a:pt x="294" y="126"/>
                  </a:lnTo>
                  <a:lnTo>
                    <a:pt x="300" y="132"/>
                  </a:lnTo>
                  <a:lnTo>
                    <a:pt x="306" y="144"/>
                  </a:lnTo>
                  <a:lnTo>
                    <a:pt x="312" y="144"/>
                  </a:lnTo>
                  <a:lnTo>
                    <a:pt x="312" y="150"/>
                  </a:lnTo>
                  <a:lnTo>
                    <a:pt x="312" y="162"/>
                  </a:lnTo>
                  <a:lnTo>
                    <a:pt x="312" y="174"/>
                  </a:lnTo>
                  <a:lnTo>
                    <a:pt x="324" y="180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30" y="192"/>
                  </a:lnTo>
                  <a:lnTo>
                    <a:pt x="336" y="198"/>
                  </a:lnTo>
                  <a:lnTo>
                    <a:pt x="342" y="192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54" y="180"/>
                  </a:lnTo>
                  <a:lnTo>
                    <a:pt x="354" y="174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84" y="192"/>
                  </a:lnTo>
                  <a:lnTo>
                    <a:pt x="390" y="204"/>
                  </a:lnTo>
                  <a:lnTo>
                    <a:pt x="390" y="210"/>
                  </a:lnTo>
                  <a:lnTo>
                    <a:pt x="390" y="216"/>
                  </a:lnTo>
                  <a:lnTo>
                    <a:pt x="384" y="234"/>
                  </a:lnTo>
                  <a:lnTo>
                    <a:pt x="390" y="240"/>
                  </a:lnTo>
                  <a:lnTo>
                    <a:pt x="408" y="252"/>
                  </a:lnTo>
                  <a:lnTo>
                    <a:pt x="414" y="264"/>
                  </a:lnTo>
                  <a:lnTo>
                    <a:pt x="408" y="300"/>
                  </a:lnTo>
                  <a:lnTo>
                    <a:pt x="414" y="312"/>
                  </a:lnTo>
                  <a:lnTo>
                    <a:pt x="426" y="336"/>
                  </a:lnTo>
                  <a:lnTo>
                    <a:pt x="438" y="354"/>
                  </a:lnTo>
                  <a:lnTo>
                    <a:pt x="444" y="366"/>
                  </a:lnTo>
                  <a:lnTo>
                    <a:pt x="456" y="366"/>
                  </a:lnTo>
                  <a:lnTo>
                    <a:pt x="474" y="378"/>
                  </a:lnTo>
                  <a:lnTo>
                    <a:pt x="474" y="384"/>
                  </a:lnTo>
                  <a:lnTo>
                    <a:pt x="480" y="390"/>
                  </a:lnTo>
                  <a:lnTo>
                    <a:pt x="486" y="396"/>
                  </a:lnTo>
                  <a:lnTo>
                    <a:pt x="486" y="402"/>
                  </a:lnTo>
                  <a:lnTo>
                    <a:pt x="480" y="408"/>
                  </a:lnTo>
                  <a:lnTo>
                    <a:pt x="486" y="408"/>
                  </a:lnTo>
                  <a:lnTo>
                    <a:pt x="486" y="414"/>
                  </a:lnTo>
                  <a:lnTo>
                    <a:pt x="492" y="414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32"/>
                  </a:lnTo>
                  <a:lnTo>
                    <a:pt x="498" y="438"/>
                  </a:lnTo>
                  <a:lnTo>
                    <a:pt x="492" y="432"/>
                  </a:lnTo>
                  <a:lnTo>
                    <a:pt x="486" y="426"/>
                  </a:lnTo>
                  <a:lnTo>
                    <a:pt x="486" y="420"/>
                  </a:lnTo>
                  <a:lnTo>
                    <a:pt x="486" y="414"/>
                  </a:lnTo>
                  <a:lnTo>
                    <a:pt x="480" y="414"/>
                  </a:lnTo>
                  <a:lnTo>
                    <a:pt x="480" y="408"/>
                  </a:lnTo>
                  <a:lnTo>
                    <a:pt x="474" y="408"/>
                  </a:lnTo>
                  <a:lnTo>
                    <a:pt x="468" y="408"/>
                  </a:lnTo>
                  <a:lnTo>
                    <a:pt x="468" y="402"/>
                  </a:lnTo>
                  <a:lnTo>
                    <a:pt x="462" y="402"/>
                  </a:lnTo>
                  <a:lnTo>
                    <a:pt x="462" y="408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80" y="426"/>
                  </a:lnTo>
                  <a:lnTo>
                    <a:pt x="486" y="426"/>
                  </a:lnTo>
                  <a:lnTo>
                    <a:pt x="486" y="432"/>
                  </a:lnTo>
                  <a:lnTo>
                    <a:pt x="492" y="438"/>
                  </a:lnTo>
                  <a:lnTo>
                    <a:pt x="498" y="438"/>
                  </a:lnTo>
                  <a:lnTo>
                    <a:pt x="504" y="444"/>
                  </a:lnTo>
                  <a:lnTo>
                    <a:pt x="510" y="444"/>
                  </a:lnTo>
                  <a:lnTo>
                    <a:pt x="510" y="450"/>
                  </a:lnTo>
                  <a:lnTo>
                    <a:pt x="510" y="456"/>
                  </a:lnTo>
                  <a:lnTo>
                    <a:pt x="516" y="456"/>
                  </a:lnTo>
                  <a:lnTo>
                    <a:pt x="516" y="462"/>
                  </a:lnTo>
                  <a:lnTo>
                    <a:pt x="522" y="462"/>
                  </a:lnTo>
                  <a:lnTo>
                    <a:pt x="522" y="468"/>
                  </a:lnTo>
                  <a:lnTo>
                    <a:pt x="528" y="468"/>
                  </a:lnTo>
                  <a:lnTo>
                    <a:pt x="534" y="468"/>
                  </a:lnTo>
                  <a:lnTo>
                    <a:pt x="534" y="474"/>
                  </a:lnTo>
                  <a:lnTo>
                    <a:pt x="540" y="474"/>
                  </a:lnTo>
                  <a:lnTo>
                    <a:pt x="540" y="480"/>
                  </a:lnTo>
                  <a:lnTo>
                    <a:pt x="546" y="486"/>
                  </a:lnTo>
                  <a:lnTo>
                    <a:pt x="546" y="492"/>
                  </a:lnTo>
                  <a:lnTo>
                    <a:pt x="546" y="498"/>
                  </a:lnTo>
                  <a:lnTo>
                    <a:pt x="546" y="504"/>
                  </a:lnTo>
                  <a:lnTo>
                    <a:pt x="540" y="504"/>
                  </a:lnTo>
                  <a:lnTo>
                    <a:pt x="546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10"/>
                  </a:lnTo>
                  <a:lnTo>
                    <a:pt x="552" y="516"/>
                  </a:lnTo>
                  <a:lnTo>
                    <a:pt x="552" y="522"/>
                  </a:lnTo>
                  <a:lnTo>
                    <a:pt x="552" y="528"/>
                  </a:lnTo>
                  <a:lnTo>
                    <a:pt x="552" y="534"/>
                  </a:lnTo>
                  <a:lnTo>
                    <a:pt x="552" y="540"/>
                  </a:lnTo>
                  <a:lnTo>
                    <a:pt x="546" y="540"/>
                  </a:lnTo>
                  <a:lnTo>
                    <a:pt x="546" y="546"/>
                  </a:lnTo>
                  <a:lnTo>
                    <a:pt x="546" y="540"/>
                  </a:lnTo>
                  <a:lnTo>
                    <a:pt x="546" y="534"/>
                  </a:lnTo>
                  <a:lnTo>
                    <a:pt x="540" y="534"/>
                  </a:lnTo>
                  <a:lnTo>
                    <a:pt x="540" y="528"/>
                  </a:lnTo>
                  <a:lnTo>
                    <a:pt x="534" y="528"/>
                  </a:lnTo>
                  <a:lnTo>
                    <a:pt x="528" y="528"/>
                  </a:lnTo>
                  <a:lnTo>
                    <a:pt x="522" y="528"/>
                  </a:lnTo>
                  <a:lnTo>
                    <a:pt x="516" y="528"/>
                  </a:lnTo>
                  <a:lnTo>
                    <a:pt x="510" y="528"/>
                  </a:lnTo>
                  <a:lnTo>
                    <a:pt x="510" y="534"/>
                  </a:lnTo>
                  <a:lnTo>
                    <a:pt x="510" y="528"/>
                  </a:lnTo>
                  <a:lnTo>
                    <a:pt x="516" y="528"/>
                  </a:lnTo>
                  <a:lnTo>
                    <a:pt x="522" y="528"/>
                  </a:lnTo>
                  <a:lnTo>
                    <a:pt x="528" y="528"/>
                  </a:lnTo>
                  <a:lnTo>
                    <a:pt x="534" y="534"/>
                  </a:lnTo>
                  <a:lnTo>
                    <a:pt x="540" y="534"/>
                  </a:lnTo>
                  <a:lnTo>
                    <a:pt x="540" y="540"/>
                  </a:lnTo>
                  <a:lnTo>
                    <a:pt x="540" y="546"/>
                  </a:lnTo>
                  <a:lnTo>
                    <a:pt x="546" y="546"/>
                  </a:lnTo>
                  <a:lnTo>
                    <a:pt x="546" y="552"/>
                  </a:lnTo>
                  <a:lnTo>
                    <a:pt x="552" y="552"/>
                  </a:lnTo>
                  <a:lnTo>
                    <a:pt x="552" y="558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0" y="576"/>
                  </a:lnTo>
                  <a:lnTo>
                    <a:pt x="540" y="582"/>
                  </a:lnTo>
                  <a:lnTo>
                    <a:pt x="540" y="588"/>
                  </a:lnTo>
                  <a:lnTo>
                    <a:pt x="534" y="594"/>
                  </a:lnTo>
                  <a:lnTo>
                    <a:pt x="534" y="600"/>
                  </a:lnTo>
                  <a:lnTo>
                    <a:pt x="528" y="600"/>
                  </a:lnTo>
                  <a:lnTo>
                    <a:pt x="522" y="594"/>
                  </a:lnTo>
                  <a:lnTo>
                    <a:pt x="528" y="600"/>
                  </a:lnTo>
                  <a:lnTo>
                    <a:pt x="534" y="600"/>
                  </a:lnTo>
                  <a:lnTo>
                    <a:pt x="534" y="606"/>
                  </a:lnTo>
                  <a:lnTo>
                    <a:pt x="528" y="606"/>
                  </a:lnTo>
                  <a:lnTo>
                    <a:pt x="528" y="612"/>
                  </a:lnTo>
                  <a:lnTo>
                    <a:pt x="522" y="612"/>
                  </a:lnTo>
                  <a:lnTo>
                    <a:pt x="522" y="618"/>
                  </a:lnTo>
                  <a:lnTo>
                    <a:pt x="522" y="624"/>
                  </a:lnTo>
                  <a:lnTo>
                    <a:pt x="510" y="624"/>
                  </a:lnTo>
                  <a:lnTo>
                    <a:pt x="498" y="624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0" y="624"/>
                  </a:lnTo>
                  <a:lnTo>
                    <a:pt x="474" y="624"/>
                  </a:lnTo>
                  <a:lnTo>
                    <a:pt x="468" y="618"/>
                  </a:lnTo>
                  <a:lnTo>
                    <a:pt x="456" y="618"/>
                  </a:lnTo>
                  <a:lnTo>
                    <a:pt x="450" y="618"/>
                  </a:lnTo>
                  <a:lnTo>
                    <a:pt x="426" y="618"/>
                  </a:lnTo>
                  <a:lnTo>
                    <a:pt x="420" y="618"/>
                  </a:lnTo>
                  <a:lnTo>
                    <a:pt x="414" y="618"/>
                  </a:lnTo>
                  <a:lnTo>
                    <a:pt x="408" y="618"/>
                  </a:lnTo>
                  <a:lnTo>
                    <a:pt x="396" y="618"/>
                  </a:lnTo>
                  <a:lnTo>
                    <a:pt x="366" y="618"/>
                  </a:lnTo>
                  <a:lnTo>
                    <a:pt x="348" y="624"/>
                  </a:lnTo>
                  <a:lnTo>
                    <a:pt x="342" y="624"/>
                  </a:lnTo>
                  <a:lnTo>
                    <a:pt x="342" y="618"/>
                  </a:lnTo>
                  <a:lnTo>
                    <a:pt x="336" y="618"/>
                  </a:lnTo>
                  <a:lnTo>
                    <a:pt x="336" y="612"/>
                  </a:lnTo>
                  <a:lnTo>
                    <a:pt x="342" y="612"/>
                  </a:lnTo>
                  <a:lnTo>
                    <a:pt x="348" y="612"/>
                  </a:lnTo>
                  <a:lnTo>
                    <a:pt x="342" y="612"/>
                  </a:lnTo>
                  <a:lnTo>
                    <a:pt x="336" y="612"/>
                  </a:lnTo>
                  <a:lnTo>
                    <a:pt x="336" y="606"/>
                  </a:lnTo>
                  <a:lnTo>
                    <a:pt x="330" y="606"/>
                  </a:lnTo>
                  <a:lnTo>
                    <a:pt x="330" y="600"/>
                  </a:lnTo>
                  <a:lnTo>
                    <a:pt x="324" y="600"/>
                  </a:lnTo>
                  <a:lnTo>
                    <a:pt x="324" y="606"/>
                  </a:lnTo>
                  <a:lnTo>
                    <a:pt x="318" y="606"/>
                  </a:lnTo>
                  <a:lnTo>
                    <a:pt x="318" y="612"/>
                  </a:lnTo>
                  <a:lnTo>
                    <a:pt x="312" y="612"/>
                  </a:lnTo>
                  <a:lnTo>
                    <a:pt x="306" y="606"/>
                  </a:lnTo>
                  <a:lnTo>
                    <a:pt x="306" y="612"/>
                  </a:lnTo>
                  <a:lnTo>
                    <a:pt x="312" y="612"/>
                  </a:lnTo>
                  <a:lnTo>
                    <a:pt x="318" y="612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30" y="606"/>
                  </a:lnTo>
                  <a:lnTo>
                    <a:pt x="336" y="612"/>
                  </a:lnTo>
                  <a:lnTo>
                    <a:pt x="336" y="618"/>
                  </a:lnTo>
                  <a:lnTo>
                    <a:pt x="330" y="618"/>
                  </a:lnTo>
                  <a:lnTo>
                    <a:pt x="336" y="618"/>
                  </a:lnTo>
                  <a:lnTo>
                    <a:pt x="336" y="624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288" y="624"/>
                  </a:lnTo>
                  <a:lnTo>
                    <a:pt x="282" y="624"/>
                  </a:lnTo>
                  <a:lnTo>
                    <a:pt x="270" y="630"/>
                  </a:lnTo>
                  <a:lnTo>
                    <a:pt x="264" y="630"/>
                  </a:lnTo>
                  <a:lnTo>
                    <a:pt x="258" y="630"/>
                  </a:lnTo>
                  <a:lnTo>
                    <a:pt x="252" y="630"/>
                  </a:lnTo>
                  <a:lnTo>
                    <a:pt x="246" y="630"/>
                  </a:lnTo>
                  <a:lnTo>
                    <a:pt x="240" y="630"/>
                  </a:lnTo>
                  <a:lnTo>
                    <a:pt x="228" y="636"/>
                  </a:lnTo>
                  <a:lnTo>
                    <a:pt x="222" y="636"/>
                  </a:lnTo>
                  <a:lnTo>
                    <a:pt x="210" y="636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42"/>
                  </a:lnTo>
                  <a:lnTo>
                    <a:pt x="186" y="642"/>
                  </a:lnTo>
                  <a:lnTo>
                    <a:pt x="180" y="642"/>
                  </a:lnTo>
                  <a:lnTo>
                    <a:pt x="168" y="642"/>
                  </a:lnTo>
                  <a:lnTo>
                    <a:pt x="162" y="642"/>
                  </a:lnTo>
                  <a:lnTo>
                    <a:pt x="162" y="648"/>
                  </a:lnTo>
                  <a:lnTo>
                    <a:pt x="156" y="648"/>
                  </a:lnTo>
                  <a:lnTo>
                    <a:pt x="150" y="648"/>
                  </a:lnTo>
                  <a:lnTo>
                    <a:pt x="144" y="648"/>
                  </a:lnTo>
                  <a:lnTo>
                    <a:pt x="138" y="648"/>
                  </a:lnTo>
                  <a:lnTo>
                    <a:pt x="132" y="648"/>
                  </a:lnTo>
                  <a:lnTo>
                    <a:pt x="126" y="642"/>
                  </a:lnTo>
                  <a:lnTo>
                    <a:pt x="126" y="636"/>
                  </a:lnTo>
                  <a:lnTo>
                    <a:pt x="120" y="636"/>
                  </a:lnTo>
                  <a:lnTo>
                    <a:pt x="126" y="642"/>
                  </a:lnTo>
                  <a:lnTo>
                    <a:pt x="126" y="648"/>
                  </a:lnTo>
                  <a:lnTo>
                    <a:pt x="132" y="648"/>
                  </a:lnTo>
                  <a:lnTo>
                    <a:pt x="126" y="654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54"/>
                  </a:lnTo>
                  <a:lnTo>
                    <a:pt x="108" y="660"/>
                  </a:lnTo>
                  <a:lnTo>
                    <a:pt x="108" y="654"/>
                  </a:lnTo>
                  <a:lnTo>
                    <a:pt x="102" y="654"/>
                  </a:lnTo>
                  <a:lnTo>
                    <a:pt x="102" y="660"/>
                  </a:lnTo>
                  <a:lnTo>
                    <a:pt x="108" y="660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0" y="660"/>
                  </a:lnTo>
                  <a:lnTo>
                    <a:pt x="90" y="654"/>
                  </a:lnTo>
                  <a:lnTo>
                    <a:pt x="84" y="648"/>
                  </a:lnTo>
                  <a:lnTo>
                    <a:pt x="84" y="642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72" y="636"/>
                  </a:lnTo>
                  <a:lnTo>
                    <a:pt x="78" y="636"/>
                  </a:lnTo>
                  <a:lnTo>
                    <a:pt x="72" y="636"/>
                  </a:lnTo>
                  <a:lnTo>
                    <a:pt x="66" y="636"/>
                  </a:lnTo>
                  <a:lnTo>
                    <a:pt x="60" y="636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60" y="618"/>
                  </a:lnTo>
                  <a:lnTo>
                    <a:pt x="66" y="618"/>
                  </a:lnTo>
                  <a:lnTo>
                    <a:pt x="72" y="618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2" y="612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12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54" y="618"/>
                  </a:lnTo>
                  <a:lnTo>
                    <a:pt x="54" y="624"/>
                  </a:lnTo>
                  <a:lnTo>
                    <a:pt x="48" y="618"/>
                  </a:lnTo>
                  <a:lnTo>
                    <a:pt x="42" y="618"/>
                  </a:lnTo>
                  <a:lnTo>
                    <a:pt x="42" y="612"/>
                  </a:lnTo>
                  <a:lnTo>
                    <a:pt x="48" y="606"/>
                  </a:lnTo>
                  <a:lnTo>
                    <a:pt x="54" y="606"/>
                  </a:lnTo>
                  <a:lnTo>
                    <a:pt x="54" y="600"/>
                  </a:lnTo>
                  <a:lnTo>
                    <a:pt x="54" y="594"/>
                  </a:lnTo>
                  <a:lnTo>
                    <a:pt x="54" y="588"/>
                  </a:lnTo>
                  <a:lnTo>
                    <a:pt x="48" y="588"/>
                  </a:lnTo>
                  <a:lnTo>
                    <a:pt x="48" y="582"/>
                  </a:lnTo>
                  <a:lnTo>
                    <a:pt x="42" y="582"/>
                  </a:lnTo>
                  <a:lnTo>
                    <a:pt x="42" y="570"/>
                  </a:lnTo>
                  <a:lnTo>
                    <a:pt x="42" y="564"/>
                  </a:lnTo>
                  <a:lnTo>
                    <a:pt x="36" y="564"/>
                  </a:lnTo>
                  <a:close/>
                  <a:moveTo>
                    <a:pt x="498" y="420"/>
                  </a:moveTo>
                  <a:lnTo>
                    <a:pt x="504" y="426"/>
                  </a:lnTo>
                  <a:lnTo>
                    <a:pt x="510" y="432"/>
                  </a:lnTo>
                  <a:lnTo>
                    <a:pt x="516" y="432"/>
                  </a:lnTo>
                  <a:lnTo>
                    <a:pt x="516" y="438"/>
                  </a:lnTo>
                  <a:lnTo>
                    <a:pt x="510" y="438"/>
                  </a:lnTo>
                  <a:lnTo>
                    <a:pt x="504" y="438"/>
                  </a:lnTo>
                  <a:lnTo>
                    <a:pt x="504" y="432"/>
                  </a:lnTo>
                  <a:lnTo>
                    <a:pt x="498" y="432"/>
                  </a:lnTo>
                  <a:lnTo>
                    <a:pt x="498" y="426"/>
                  </a:lnTo>
                  <a:lnTo>
                    <a:pt x="498" y="4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4" name="Freeform 9">
              <a:extLst>
                <a:ext uri="{FF2B5EF4-FFF2-40B4-BE49-F238E27FC236}">
                  <a16:creationId xmlns:a16="http://schemas.microsoft.com/office/drawing/2014/main" id="{E0116D32-BD2E-45EA-B818-A3082585D5F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3055" y="2468650"/>
              <a:ext cx="800556" cy="1207710"/>
            </a:xfrm>
            <a:custGeom>
              <a:avLst/>
              <a:gdLst>
                <a:gd name="T0" fmla="*/ 24 w 1506"/>
                <a:gd name="T1" fmla="*/ 190 h 2274"/>
                <a:gd name="T2" fmla="*/ 25 w 1506"/>
                <a:gd name="T3" fmla="*/ 180 h 2274"/>
                <a:gd name="T4" fmla="*/ 21 w 1506"/>
                <a:gd name="T5" fmla="*/ 174 h 2274"/>
                <a:gd name="T6" fmla="*/ 17 w 1506"/>
                <a:gd name="T7" fmla="*/ 170 h 2274"/>
                <a:gd name="T8" fmla="*/ 12 w 1506"/>
                <a:gd name="T9" fmla="*/ 168 h 2274"/>
                <a:gd name="T10" fmla="*/ 10 w 1506"/>
                <a:gd name="T11" fmla="*/ 173 h 2274"/>
                <a:gd name="T12" fmla="*/ 7 w 1506"/>
                <a:gd name="T13" fmla="*/ 174 h 2274"/>
                <a:gd name="T14" fmla="*/ 0 w 1506"/>
                <a:gd name="T15" fmla="*/ 163 h 2274"/>
                <a:gd name="T16" fmla="*/ 16 w 1506"/>
                <a:gd name="T17" fmla="*/ 140 h 2274"/>
                <a:gd name="T18" fmla="*/ 19 w 1506"/>
                <a:gd name="T19" fmla="*/ 137 h 2274"/>
                <a:gd name="T20" fmla="*/ 24 w 1506"/>
                <a:gd name="T21" fmla="*/ 126 h 2274"/>
                <a:gd name="T22" fmla="*/ 23 w 1506"/>
                <a:gd name="T23" fmla="*/ 105 h 2274"/>
                <a:gd name="T24" fmla="*/ 14 w 1506"/>
                <a:gd name="T25" fmla="*/ 86 h 2274"/>
                <a:gd name="T26" fmla="*/ 8 w 1506"/>
                <a:gd name="T27" fmla="*/ 84 h 2274"/>
                <a:gd name="T28" fmla="*/ 5 w 1506"/>
                <a:gd name="T29" fmla="*/ 79 h 2274"/>
                <a:gd name="T30" fmla="*/ 16 w 1506"/>
                <a:gd name="T31" fmla="*/ 71 h 2274"/>
                <a:gd name="T32" fmla="*/ 28 w 1506"/>
                <a:gd name="T33" fmla="*/ 55 h 2274"/>
                <a:gd name="T34" fmla="*/ 29 w 1506"/>
                <a:gd name="T35" fmla="*/ 48 h 2274"/>
                <a:gd name="T36" fmla="*/ 35 w 1506"/>
                <a:gd name="T37" fmla="*/ 50 h 2274"/>
                <a:gd name="T38" fmla="*/ 42 w 1506"/>
                <a:gd name="T39" fmla="*/ 47 h 2274"/>
                <a:gd name="T40" fmla="*/ 63 w 1506"/>
                <a:gd name="T41" fmla="*/ 34 h 2274"/>
                <a:gd name="T42" fmla="*/ 74 w 1506"/>
                <a:gd name="T43" fmla="*/ 27 h 2274"/>
                <a:gd name="T44" fmla="*/ 81 w 1506"/>
                <a:gd name="T45" fmla="*/ 20 h 2274"/>
                <a:gd name="T46" fmla="*/ 89 w 1506"/>
                <a:gd name="T47" fmla="*/ 20 h 2274"/>
                <a:gd name="T48" fmla="*/ 98 w 1506"/>
                <a:gd name="T49" fmla="*/ 27 h 2274"/>
                <a:gd name="T50" fmla="*/ 106 w 1506"/>
                <a:gd name="T51" fmla="*/ 17 h 2274"/>
                <a:gd name="T52" fmla="*/ 111 w 1506"/>
                <a:gd name="T53" fmla="*/ 8 h 2274"/>
                <a:gd name="T54" fmla="*/ 121 w 1506"/>
                <a:gd name="T55" fmla="*/ 2 h 2274"/>
                <a:gd name="T56" fmla="*/ 129 w 1506"/>
                <a:gd name="T57" fmla="*/ 5 h 2274"/>
                <a:gd name="T58" fmla="*/ 125 w 1506"/>
                <a:gd name="T59" fmla="*/ 12 h 2274"/>
                <a:gd name="T60" fmla="*/ 122 w 1506"/>
                <a:gd name="T61" fmla="*/ 20 h 2274"/>
                <a:gd name="T62" fmla="*/ 122 w 1506"/>
                <a:gd name="T63" fmla="*/ 27 h 2274"/>
                <a:gd name="T64" fmla="*/ 120 w 1506"/>
                <a:gd name="T65" fmla="*/ 36 h 2274"/>
                <a:gd name="T66" fmla="*/ 116 w 1506"/>
                <a:gd name="T67" fmla="*/ 43 h 2274"/>
                <a:gd name="T68" fmla="*/ 109 w 1506"/>
                <a:gd name="T69" fmla="*/ 47 h 2274"/>
                <a:gd name="T70" fmla="*/ 108 w 1506"/>
                <a:gd name="T71" fmla="*/ 54 h 2274"/>
                <a:gd name="T72" fmla="*/ 106 w 1506"/>
                <a:gd name="T73" fmla="*/ 59 h 2274"/>
                <a:gd name="T74" fmla="*/ 109 w 1506"/>
                <a:gd name="T75" fmla="*/ 64 h 2274"/>
                <a:gd name="T76" fmla="*/ 106 w 1506"/>
                <a:gd name="T77" fmla="*/ 70 h 2274"/>
                <a:gd name="T78" fmla="*/ 105 w 1506"/>
                <a:gd name="T79" fmla="*/ 75 h 2274"/>
                <a:gd name="T80" fmla="*/ 101 w 1506"/>
                <a:gd name="T81" fmla="*/ 78 h 2274"/>
                <a:gd name="T82" fmla="*/ 92 w 1506"/>
                <a:gd name="T83" fmla="*/ 81 h 2274"/>
                <a:gd name="T84" fmla="*/ 85 w 1506"/>
                <a:gd name="T85" fmla="*/ 85 h 2274"/>
                <a:gd name="T86" fmla="*/ 87 w 1506"/>
                <a:gd name="T87" fmla="*/ 91 h 2274"/>
                <a:gd name="T88" fmla="*/ 86 w 1506"/>
                <a:gd name="T89" fmla="*/ 98 h 2274"/>
                <a:gd name="T90" fmla="*/ 86 w 1506"/>
                <a:gd name="T91" fmla="*/ 103 h 2274"/>
                <a:gd name="T92" fmla="*/ 82 w 1506"/>
                <a:gd name="T93" fmla="*/ 111 h 2274"/>
                <a:gd name="T94" fmla="*/ 81 w 1506"/>
                <a:gd name="T95" fmla="*/ 116 h 2274"/>
                <a:gd name="T96" fmla="*/ 78 w 1506"/>
                <a:gd name="T97" fmla="*/ 120 h 2274"/>
                <a:gd name="T98" fmla="*/ 76 w 1506"/>
                <a:gd name="T99" fmla="*/ 126 h 2274"/>
                <a:gd name="T100" fmla="*/ 68 w 1506"/>
                <a:gd name="T101" fmla="*/ 129 h 2274"/>
                <a:gd name="T102" fmla="*/ 62 w 1506"/>
                <a:gd name="T103" fmla="*/ 131 h 2274"/>
                <a:gd name="T104" fmla="*/ 58 w 1506"/>
                <a:gd name="T105" fmla="*/ 136 h 2274"/>
                <a:gd name="T106" fmla="*/ 51 w 1506"/>
                <a:gd name="T107" fmla="*/ 138 h 2274"/>
                <a:gd name="T108" fmla="*/ 51 w 1506"/>
                <a:gd name="T109" fmla="*/ 147 h 2274"/>
                <a:gd name="T110" fmla="*/ 49 w 1506"/>
                <a:gd name="T111" fmla="*/ 159 h 2274"/>
                <a:gd name="T112" fmla="*/ 48 w 1506"/>
                <a:gd name="T113" fmla="*/ 166 h 2274"/>
                <a:gd name="T114" fmla="*/ 41 w 1506"/>
                <a:gd name="T115" fmla="*/ 174 h 2274"/>
                <a:gd name="T116" fmla="*/ 39 w 1506"/>
                <a:gd name="T117" fmla="*/ 181 h 2274"/>
                <a:gd name="T118" fmla="*/ 37 w 1506"/>
                <a:gd name="T119" fmla="*/ 190 h 2274"/>
                <a:gd name="T120" fmla="*/ 29 w 1506"/>
                <a:gd name="T121" fmla="*/ 198 h 22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06"/>
                <a:gd name="T184" fmla="*/ 0 h 2274"/>
                <a:gd name="T185" fmla="*/ 1506 w 1506"/>
                <a:gd name="T186" fmla="*/ 2274 h 227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06" h="2274">
                  <a:moveTo>
                    <a:pt x="330" y="2274"/>
                  </a:moveTo>
                  <a:lnTo>
                    <a:pt x="318" y="2262"/>
                  </a:lnTo>
                  <a:lnTo>
                    <a:pt x="312" y="2238"/>
                  </a:lnTo>
                  <a:lnTo>
                    <a:pt x="312" y="2232"/>
                  </a:lnTo>
                  <a:lnTo>
                    <a:pt x="294" y="2214"/>
                  </a:lnTo>
                  <a:lnTo>
                    <a:pt x="288" y="2208"/>
                  </a:lnTo>
                  <a:lnTo>
                    <a:pt x="288" y="2202"/>
                  </a:lnTo>
                  <a:lnTo>
                    <a:pt x="276" y="2196"/>
                  </a:lnTo>
                  <a:lnTo>
                    <a:pt x="276" y="2190"/>
                  </a:lnTo>
                  <a:lnTo>
                    <a:pt x="282" y="2190"/>
                  </a:lnTo>
                  <a:lnTo>
                    <a:pt x="282" y="2184"/>
                  </a:lnTo>
                  <a:lnTo>
                    <a:pt x="276" y="2172"/>
                  </a:lnTo>
                  <a:lnTo>
                    <a:pt x="276" y="2166"/>
                  </a:lnTo>
                  <a:lnTo>
                    <a:pt x="282" y="2166"/>
                  </a:lnTo>
                  <a:lnTo>
                    <a:pt x="282" y="2154"/>
                  </a:lnTo>
                  <a:lnTo>
                    <a:pt x="276" y="2136"/>
                  </a:lnTo>
                  <a:lnTo>
                    <a:pt x="276" y="2112"/>
                  </a:lnTo>
                  <a:lnTo>
                    <a:pt x="282" y="2088"/>
                  </a:lnTo>
                  <a:lnTo>
                    <a:pt x="282" y="2082"/>
                  </a:lnTo>
                  <a:lnTo>
                    <a:pt x="282" y="2076"/>
                  </a:lnTo>
                  <a:lnTo>
                    <a:pt x="282" y="2070"/>
                  </a:lnTo>
                  <a:lnTo>
                    <a:pt x="288" y="2070"/>
                  </a:lnTo>
                  <a:lnTo>
                    <a:pt x="288" y="2064"/>
                  </a:lnTo>
                  <a:lnTo>
                    <a:pt x="282" y="2052"/>
                  </a:lnTo>
                  <a:lnTo>
                    <a:pt x="282" y="2046"/>
                  </a:lnTo>
                  <a:lnTo>
                    <a:pt x="276" y="2040"/>
                  </a:lnTo>
                  <a:lnTo>
                    <a:pt x="270" y="2034"/>
                  </a:lnTo>
                  <a:lnTo>
                    <a:pt x="264" y="2022"/>
                  </a:lnTo>
                  <a:lnTo>
                    <a:pt x="258" y="2022"/>
                  </a:lnTo>
                  <a:lnTo>
                    <a:pt x="258" y="2016"/>
                  </a:lnTo>
                  <a:lnTo>
                    <a:pt x="252" y="2016"/>
                  </a:lnTo>
                  <a:lnTo>
                    <a:pt x="246" y="2016"/>
                  </a:lnTo>
                  <a:lnTo>
                    <a:pt x="240" y="2010"/>
                  </a:lnTo>
                  <a:lnTo>
                    <a:pt x="234" y="2004"/>
                  </a:lnTo>
                  <a:lnTo>
                    <a:pt x="228" y="2004"/>
                  </a:lnTo>
                  <a:lnTo>
                    <a:pt x="228" y="1998"/>
                  </a:lnTo>
                  <a:lnTo>
                    <a:pt x="228" y="1992"/>
                  </a:lnTo>
                  <a:lnTo>
                    <a:pt x="222" y="1992"/>
                  </a:lnTo>
                  <a:lnTo>
                    <a:pt x="222" y="1986"/>
                  </a:lnTo>
                  <a:lnTo>
                    <a:pt x="216" y="1986"/>
                  </a:lnTo>
                  <a:lnTo>
                    <a:pt x="210" y="1980"/>
                  </a:lnTo>
                  <a:lnTo>
                    <a:pt x="216" y="1974"/>
                  </a:lnTo>
                  <a:lnTo>
                    <a:pt x="210" y="1968"/>
                  </a:lnTo>
                  <a:lnTo>
                    <a:pt x="198" y="1956"/>
                  </a:lnTo>
                  <a:lnTo>
                    <a:pt x="192" y="1956"/>
                  </a:lnTo>
                  <a:lnTo>
                    <a:pt x="186" y="1956"/>
                  </a:lnTo>
                  <a:lnTo>
                    <a:pt x="180" y="1944"/>
                  </a:lnTo>
                  <a:lnTo>
                    <a:pt x="180" y="1938"/>
                  </a:lnTo>
                  <a:lnTo>
                    <a:pt x="174" y="1932"/>
                  </a:lnTo>
                  <a:lnTo>
                    <a:pt x="168" y="1932"/>
                  </a:lnTo>
                  <a:lnTo>
                    <a:pt x="162" y="1932"/>
                  </a:lnTo>
                  <a:lnTo>
                    <a:pt x="150" y="1932"/>
                  </a:lnTo>
                  <a:lnTo>
                    <a:pt x="150" y="1926"/>
                  </a:lnTo>
                  <a:lnTo>
                    <a:pt x="150" y="1932"/>
                  </a:lnTo>
                  <a:lnTo>
                    <a:pt x="144" y="1932"/>
                  </a:lnTo>
                  <a:lnTo>
                    <a:pt x="138" y="1932"/>
                  </a:lnTo>
                  <a:lnTo>
                    <a:pt x="132" y="1932"/>
                  </a:lnTo>
                  <a:lnTo>
                    <a:pt x="132" y="1938"/>
                  </a:lnTo>
                  <a:lnTo>
                    <a:pt x="126" y="1944"/>
                  </a:lnTo>
                  <a:lnTo>
                    <a:pt x="126" y="1956"/>
                  </a:lnTo>
                  <a:lnTo>
                    <a:pt x="120" y="1968"/>
                  </a:lnTo>
                  <a:lnTo>
                    <a:pt x="120" y="1974"/>
                  </a:lnTo>
                  <a:lnTo>
                    <a:pt x="120" y="1980"/>
                  </a:lnTo>
                  <a:lnTo>
                    <a:pt x="126" y="1980"/>
                  </a:lnTo>
                  <a:lnTo>
                    <a:pt x="120" y="1986"/>
                  </a:lnTo>
                  <a:lnTo>
                    <a:pt x="120" y="1992"/>
                  </a:lnTo>
                  <a:lnTo>
                    <a:pt x="114" y="1992"/>
                  </a:lnTo>
                  <a:lnTo>
                    <a:pt x="114" y="1986"/>
                  </a:lnTo>
                  <a:lnTo>
                    <a:pt x="108" y="1992"/>
                  </a:lnTo>
                  <a:lnTo>
                    <a:pt x="108" y="1998"/>
                  </a:lnTo>
                  <a:lnTo>
                    <a:pt x="114" y="2004"/>
                  </a:lnTo>
                  <a:lnTo>
                    <a:pt x="108" y="2004"/>
                  </a:lnTo>
                  <a:lnTo>
                    <a:pt x="102" y="2010"/>
                  </a:lnTo>
                  <a:lnTo>
                    <a:pt x="102" y="2004"/>
                  </a:lnTo>
                  <a:lnTo>
                    <a:pt x="90" y="2004"/>
                  </a:lnTo>
                  <a:lnTo>
                    <a:pt x="84" y="2004"/>
                  </a:lnTo>
                  <a:lnTo>
                    <a:pt x="78" y="1998"/>
                  </a:lnTo>
                  <a:lnTo>
                    <a:pt x="78" y="1992"/>
                  </a:lnTo>
                  <a:lnTo>
                    <a:pt x="78" y="1986"/>
                  </a:lnTo>
                  <a:lnTo>
                    <a:pt x="72" y="1986"/>
                  </a:lnTo>
                  <a:lnTo>
                    <a:pt x="66" y="1980"/>
                  </a:lnTo>
                  <a:lnTo>
                    <a:pt x="66" y="1968"/>
                  </a:lnTo>
                  <a:lnTo>
                    <a:pt x="60" y="1956"/>
                  </a:lnTo>
                  <a:lnTo>
                    <a:pt x="60" y="1950"/>
                  </a:lnTo>
                  <a:lnTo>
                    <a:pt x="48" y="1944"/>
                  </a:lnTo>
                  <a:lnTo>
                    <a:pt x="30" y="1926"/>
                  </a:lnTo>
                  <a:lnTo>
                    <a:pt x="12" y="1890"/>
                  </a:lnTo>
                  <a:lnTo>
                    <a:pt x="6" y="1872"/>
                  </a:lnTo>
                  <a:lnTo>
                    <a:pt x="0" y="1854"/>
                  </a:lnTo>
                  <a:lnTo>
                    <a:pt x="6" y="1824"/>
                  </a:lnTo>
                  <a:lnTo>
                    <a:pt x="30" y="1794"/>
                  </a:lnTo>
                  <a:lnTo>
                    <a:pt x="66" y="1752"/>
                  </a:lnTo>
                  <a:lnTo>
                    <a:pt x="72" y="1752"/>
                  </a:lnTo>
                  <a:lnTo>
                    <a:pt x="78" y="1746"/>
                  </a:lnTo>
                  <a:lnTo>
                    <a:pt x="84" y="1746"/>
                  </a:lnTo>
                  <a:lnTo>
                    <a:pt x="90" y="1746"/>
                  </a:lnTo>
                  <a:lnTo>
                    <a:pt x="138" y="1674"/>
                  </a:lnTo>
                  <a:lnTo>
                    <a:pt x="186" y="1620"/>
                  </a:lnTo>
                  <a:lnTo>
                    <a:pt x="186" y="1614"/>
                  </a:lnTo>
                  <a:lnTo>
                    <a:pt x="186" y="1608"/>
                  </a:lnTo>
                  <a:lnTo>
                    <a:pt x="192" y="1608"/>
                  </a:lnTo>
                  <a:lnTo>
                    <a:pt x="192" y="1614"/>
                  </a:lnTo>
                  <a:lnTo>
                    <a:pt x="198" y="1614"/>
                  </a:lnTo>
                  <a:lnTo>
                    <a:pt x="198" y="1608"/>
                  </a:lnTo>
                  <a:lnTo>
                    <a:pt x="198" y="1602"/>
                  </a:lnTo>
                  <a:lnTo>
                    <a:pt x="204" y="1602"/>
                  </a:lnTo>
                  <a:lnTo>
                    <a:pt x="204" y="1596"/>
                  </a:lnTo>
                  <a:lnTo>
                    <a:pt x="210" y="1590"/>
                  </a:lnTo>
                  <a:lnTo>
                    <a:pt x="216" y="1590"/>
                  </a:lnTo>
                  <a:lnTo>
                    <a:pt x="216" y="1584"/>
                  </a:lnTo>
                  <a:lnTo>
                    <a:pt x="222" y="1584"/>
                  </a:lnTo>
                  <a:lnTo>
                    <a:pt x="228" y="1572"/>
                  </a:lnTo>
                  <a:lnTo>
                    <a:pt x="222" y="1572"/>
                  </a:lnTo>
                  <a:lnTo>
                    <a:pt x="228" y="1566"/>
                  </a:lnTo>
                  <a:lnTo>
                    <a:pt x="228" y="1560"/>
                  </a:lnTo>
                  <a:lnTo>
                    <a:pt x="252" y="1548"/>
                  </a:lnTo>
                  <a:lnTo>
                    <a:pt x="276" y="1530"/>
                  </a:lnTo>
                  <a:lnTo>
                    <a:pt x="282" y="1512"/>
                  </a:lnTo>
                  <a:lnTo>
                    <a:pt x="282" y="1506"/>
                  </a:lnTo>
                  <a:lnTo>
                    <a:pt x="282" y="1494"/>
                  </a:lnTo>
                  <a:lnTo>
                    <a:pt x="282" y="1452"/>
                  </a:lnTo>
                  <a:lnTo>
                    <a:pt x="288" y="1440"/>
                  </a:lnTo>
                  <a:lnTo>
                    <a:pt x="294" y="1440"/>
                  </a:lnTo>
                  <a:lnTo>
                    <a:pt x="294" y="1428"/>
                  </a:lnTo>
                  <a:lnTo>
                    <a:pt x="324" y="1368"/>
                  </a:lnTo>
                  <a:lnTo>
                    <a:pt x="330" y="1362"/>
                  </a:lnTo>
                  <a:lnTo>
                    <a:pt x="330" y="1356"/>
                  </a:lnTo>
                  <a:lnTo>
                    <a:pt x="360" y="1338"/>
                  </a:lnTo>
                  <a:lnTo>
                    <a:pt x="366" y="1296"/>
                  </a:lnTo>
                  <a:lnTo>
                    <a:pt x="354" y="1278"/>
                  </a:lnTo>
                  <a:lnTo>
                    <a:pt x="336" y="1230"/>
                  </a:lnTo>
                  <a:lnTo>
                    <a:pt x="270" y="1212"/>
                  </a:lnTo>
                  <a:lnTo>
                    <a:pt x="264" y="1212"/>
                  </a:lnTo>
                  <a:lnTo>
                    <a:pt x="252" y="1200"/>
                  </a:lnTo>
                  <a:lnTo>
                    <a:pt x="234" y="1188"/>
                  </a:lnTo>
                  <a:lnTo>
                    <a:pt x="222" y="1182"/>
                  </a:lnTo>
                  <a:lnTo>
                    <a:pt x="228" y="1104"/>
                  </a:lnTo>
                  <a:lnTo>
                    <a:pt x="228" y="1098"/>
                  </a:lnTo>
                  <a:lnTo>
                    <a:pt x="198" y="1038"/>
                  </a:lnTo>
                  <a:lnTo>
                    <a:pt x="192" y="1032"/>
                  </a:lnTo>
                  <a:lnTo>
                    <a:pt x="180" y="1020"/>
                  </a:lnTo>
                  <a:lnTo>
                    <a:pt x="168" y="996"/>
                  </a:lnTo>
                  <a:lnTo>
                    <a:pt x="162" y="990"/>
                  </a:lnTo>
                  <a:lnTo>
                    <a:pt x="156" y="990"/>
                  </a:lnTo>
                  <a:lnTo>
                    <a:pt x="150" y="990"/>
                  </a:lnTo>
                  <a:lnTo>
                    <a:pt x="132" y="990"/>
                  </a:lnTo>
                  <a:lnTo>
                    <a:pt x="120" y="984"/>
                  </a:lnTo>
                  <a:lnTo>
                    <a:pt x="120" y="990"/>
                  </a:lnTo>
                  <a:lnTo>
                    <a:pt x="114" y="990"/>
                  </a:lnTo>
                  <a:lnTo>
                    <a:pt x="102" y="984"/>
                  </a:lnTo>
                  <a:lnTo>
                    <a:pt x="96" y="984"/>
                  </a:lnTo>
                  <a:lnTo>
                    <a:pt x="96" y="978"/>
                  </a:lnTo>
                  <a:lnTo>
                    <a:pt x="90" y="978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84" y="960"/>
                  </a:lnTo>
                  <a:lnTo>
                    <a:pt x="84" y="954"/>
                  </a:lnTo>
                  <a:lnTo>
                    <a:pt x="78" y="948"/>
                  </a:lnTo>
                  <a:lnTo>
                    <a:pt x="72" y="948"/>
                  </a:lnTo>
                  <a:lnTo>
                    <a:pt x="72" y="942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06"/>
                  </a:lnTo>
                  <a:lnTo>
                    <a:pt x="60" y="888"/>
                  </a:lnTo>
                  <a:lnTo>
                    <a:pt x="54" y="882"/>
                  </a:lnTo>
                  <a:lnTo>
                    <a:pt x="60" y="882"/>
                  </a:lnTo>
                  <a:lnTo>
                    <a:pt x="72" y="876"/>
                  </a:lnTo>
                  <a:lnTo>
                    <a:pt x="78" y="876"/>
                  </a:lnTo>
                  <a:lnTo>
                    <a:pt x="90" y="870"/>
                  </a:lnTo>
                  <a:lnTo>
                    <a:pt x="90" y="864"/>
                  </a:lnTo>
                  <a:lnTo>
                    <a:pt x="96" y="840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80" y="822"/>
                  </a:lnTo>
                  <a:lnTo>
                    <a:pt x="204" y="798"/>
                  </a:lnTo>
                  <a:lnTo>
                    <a:pt x="222" y="786"/>
                  </a:lnTo>
                  <a:lnTo>
                    <a:pt x="252" y="780"/>
                  </a:lnTo>
                  <a:lnTo>
                    <a:pt x="264" y="762"/>
                  </a:lnTo>
                  <a:lnTo>
                    <a:pt x="276" y="762"/>
                  </a:lnTo>
                  <a:lnTo>
                    <a:pt x="288" y="744"/>
                  </a:lnTo>
                  <a:lnTo>
                    <a:pt x="306" y="738"/>
                  </a:lnTo>
                  <a:lnTo>
                    <a:pt x="318" y="732"/>
                  </a:lnTo>
                  <a:lnTo>
                    <a:pt x="324" y="648"/>
                  </a:lnTo>
                  <a:lnTo>
                    <a:pt x="324" y="636"/>
                  </a:lnTo>
                  <a:lnTo>
                    <a:pt x="324" y="630"/>
                  </a:lnTo>
                  <a:lnTo>
                    <a:pt x="330" y="624"/>
                  </a:lnTo>
                  <a:lnTo>
                    <a:pt x="324" y="618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24" y="588"/>
                  </a:lnTo>
                  <a:lnTo>
                    <a:pt x="318" y="576"/>
                  </a:lnTo>
                  <a:lnTo>
                    <a:pt x="318" y="570"/>
                  </a:lnTo>
                  <a:lnTo>
                    <a:pt x="324" y="570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30" y="558"/>
                  </a:lnTo>
                  <a:lnTo>
                    <a:pt x="336" y="558"/>
                  </a:lnTo>
                  <a:lnTo>
                    <a:pt x="342" y="558"/>
                  </a:lnTo>
                  <a:lnTo>
                    <a:pt x="348" y="558"/>
                  </a:lnTo>
                  <a:lnTo>
                    <a:pt x="354" y="564"/>
                  </a:lnTo>
                  <a:lnTo>
                    <a:pt x="360" y="564"/>
                  </a:lnTo>
                  <a:lnTo>
                    <a:pt x="366" y="570"/>
                  </a:lnTo>
                  <a:lnTo>
                    <a:pt x="366" y="576"/>
                  </a:lnTo>
                  <a:lnTo>
                    <a:pt x="372" y="570"/>
                  </a:lnTo>
                  <a:lnTo>
                    <a:pt x="378" y="570"/>
                  </a:lnTo>
                  <a:lnTo>
                    <a:pt x="390" y="570"/>
                  </a:lnTo>
                  <a:lnTo>
                    <a:pt x="402" y="570"/>
                  </a:lnTo>
                  <a:lnTo>
                    <a:pt x="408" y="570"/>
                  </a:lnTo>
                  <a:lnTo>
                    <a:pt x="414" y="564"/>
                  </a:lnTo>
                  <a:lnTo>
                    <a:pt x="420" y="564"/>
                  </a:lnTo>
                  <a:lnTo>
                    <a:pt x="420" y="570"/>
                  </a:lnTo>
                  <a:lnTo>
                    <a:pt x="426" y="570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44" y="570"/>
                  </a:lnTo>
                  <a:lnTo>
                    <a:pt x="450" y="564"/>
                  </a:lnTo>
                  <a:lnTo>
                    <a:pt x="474" y="558"/>
                  </a:lnTo>
                  <a:lnTo>
                    <a:pt x="486" y="54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40" y="474"/>
                  </a:lnTo>
                  <a:lnTo>
                    <a:pt x="558" y="456"/>
                  </a:lnTo>
                  <a:lnTo>
                    <a:pt x="582" y="450"/>
                  </a:lnTo>
                  <a:lnTo>
                    <a:pt x="594" y="414"/>
                  </a:lnTo>
                  <a:lnTo>
                    <a:pt x="612" y="390"/>
                  </a:lnTo>
                  <a:lnTo>
                    <a:pt x="636" y="390"/>
                  </a:lnTo>
                  <a:lnTo>
                    <a:pt x="666" y="390"/>
                  </a:lnTo>
                  <a:lnTo>
                    <a:pt x="696" y="390"/>
                  </a:lnTo>
                  <a:lnTo>
                    <a:pt x="726" y="390"/>
                  </a:lnTo>
                  <a:lnTo>
                    <a:pt x="762" y="378"/>
                  </a:lnTo>
                  <a:lnTo>
                    <a:pt x="780" y="366"/>
                  </a:lnTo>
                  <a:lnTo>
                    <a:pt x="780" y="342"/>
                  </a:lnTo>
                  <a:lnTo>
                    <a:pt x="786" y="342"/>
                  </a:lnTo>
                  <a:lnTo>
                    <a:pt x="786" y="336"/>
                  </a:lnTo>
                  <a:lnTo>
                    <a:pt x="786" y="330"/>
                  </a:lnTo>
                  <a:lnTo>
                    <a:pt x="786" y="324"/>
                  </a:lnTo>
                  <a:lnTo>
                    <a:pt x="816" y="318"/>
                  </a:lnTo>
                  <a:lnTo>
                    <a:pt x="834" y="312"/>
                  </a:lnTo>
                  <a:lnTo>
                    <a:pt x="840" y="318"/>
                  </a:lnTo>
                  <a:lnTo>
                    <a:pt x="852" y="318"/>
                  </a:lnTo>
                  <a:lnTo>
                    <a:pt x="858" y="306"/>
                  </a:lnTo>
                  <a:lnTo>
                    <a:pt x="864" y="288"/>
                  </a:lnTo>
                  <a:lnTo>
                    <a:pt x="870" y="282"/>
                  </a:lnTo>
                  <a:lnTo>
                    <a:pt x="876" y="276"/>
                  </a:lnTo>
                  <a:lnTo>
                    <a:pt x="882" y="264"/>
                  </a:lnTo>
                  <a:lnTo>
                    <a:pt x="882" y="258"/>
                  </a:lnTo>
                  <a:lnTo>
                    <a:pt x="888" y="252"/>
                  </a:lnTo>
                  <a:lnTo>
                    <a:pt x="894" y="240"/>
                  </a:lnTo>
                  <a:lnTo>
                    <a:pt x="906" y="228"/>
                  </a:lnTo>
                  <a:lnTo>
                    <a:pt x="912" y="228"/>
                  </a:lnTo>
                  <a:lnTo>
                    <a:pt x="936" y="228"/>
                  </a:lnTo>
                  <a:lnTo>
                    <a:pt x="942" y="222"/>
                  </a:lnTo>
                  <a:lnTo>
                    <a:pt x="948" y="216"/>
                  </a:lnTo>
                  <a:lnTo>
                    <a:pt x="954" y="216"/>
                  </a:lnTo>
                  <a:lnTo>
                    <a:pt x="960" y="216"/>
                  </a:lnTo>
                  <a:lnTo>
                    <a:pt x="966" y="216"/>
                  </a:lnTo>
                  <a:lnTo>
                    <a:pt x="978" y="216"/>
                  </a:lnTo>
                  <a:lnTo>
                    <a:pt x="990" y="222"/>
                  </a:lnTo>
                  <a:lnTo>
                    <a:pt x="996" y="222"/>
                  </a:lnTo>
                  <a:lnTo>
                    <a:pt x="1002" y="228"/>
                  </a:lnTo>
                  <a:lnTo>
                    <a:pt x="1014" y="234"/>
                  </a:lnTo>
                  <a:lnTo>
                    <a:pt x="1020" y="234"/>
                  </a:lnTo>
                  <a:lnTo>
                    <a:pt x="1032" y="240"/>
                  </a:lnTo>
                  <a:lnTo>
                    <a:pt x="1044" y="240"/>
                  </a:lnTo>
                  <a:lnTo>
                    <a:pt x="1050" y="240"/>
                  </a:lnTo>
                  <a:lnTo>
                    <a:pt x="1056" y="246"/>
                  </a:lnTo>
                  <a:lnTo>
                    <a:pt x="1068" y="264"/>
                  </a:lnTo>
                  <a:lnTo>
                    <a:pt x="1086" y="276"/>
                  </a:lnTo>
                  <a:lnTo>
                    <a:pt x="1092" y="276"/>
                  </a:lnTo>
                  <a:lnTo>
                    <a:pt x="1104" y="282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8" y="312"/>
                  </a:lnTo>
                  <a:lnTo>
                    <a:pt x="1152" y="324"/>
                  </a:lnTo>
                  <a:lnTo>
                    <a:pt x="1188" y="324"/>
                  </a:lnTo>
                  <a:lnTo>
                    <a:pt x="1206" y="318"/>
                  </a:lnTo>
                  <a:lnTo>
                    <a:pt x="1200" y="294"/>
                  </a:lnTo>
                  <a:lnTo>
                    <a:pt x="1206" y="252"/>
                  </a:lnTo>
                  <a:lnTo>
                    <a:pt x="1218" y="222"/>
                  </a:lnTo>
                  <a:lnTo>
                    <a:pt x="1212" y="222"/>
                  </a:lnTo>
                  <a:lnTo>
                    <a:pt x="1212" y="216"/>
                  </a:lnTo>
                  <a:lnTo>
                    <a:pt x="1218" y="204"/>
                  </a:lnTo>
                  <a:lnTo>
                    <a:pt x="1224" y="198"/>
                  </a:lnTo>
                  <a:lnTo>
                    <a:pt x="1224" y="192"/>
                  </a:lnTo>
                  <a:lnTo>
                    <a:pt x="1236" y="180"/>
                  </a:lnTo>
                  <a:lnTo>
                    <a:pt x="1254" y="156"/>
                  </a:lnTo>
                  <a:lnTo>
                    <a:pt x="1260" y="150"/>
                  </a:lnTo>
                  <a:lnTo>
                    <a:pt x="1260" y="144"/>
                  </a:lnTo>
                  <a:lnTo>
                    <a:pt x="1266" y="138"/>
                  </a:lnTo>
                  <a:lnTo>
                    <a:pt x="1272" y="138"/>
                  </a:lnTo>
                  <a:lnTo>
                    <a:pt x="1272" y="120"/>
                  </a:lnTo>
                  <a:lnTo>
                    <a:pt x="1278" y="114"/>
                  </a:lnTo>
                  <a:lnTo>
                    <a:pt x="1278" y="108"/>
                  </a:lnTo>
                  <a:lnTo>
                    <a:pt x="1278" y="102"/>
                  </a:lnTo>
                  <a:lnTo>
                    <a:pt x="1278" y="90"/>
                  </a:lnTo>
                  <a:lnTo>
                    <a:pt x="1278" y="84"/>
                  </a:lnTo>
                  <a:lnTo>
                    <a:pt x="1278" y="78"/>
                  </a:lnTo>
                  <a:lnTo>
                    <a:pt x="1278" y="72"/>
                  </a:lnTo>
                  <a:lnTo>
                    <a:pt x="1278" y="60"/>
                  </a:lnTo>
                  <a:lnTo>
                    <a:pt x="1284" y="48"/>
                  </a:lnTo>
                  <a:lnTo>
                    <a:pt x="1284" y="24"/>
                  </a:lnTo>
                  <a:lnTo>
                    <a:pt x="1284" y="18"/>
                  </a:lnTo>
                  <a:lnTo>
                    <a:pt x="1308" y="24"/>
                  </a:lnTo>
                  <a:lnTo>
                    <a:pt x="1332" y="30"/>
                  </a:lnTo>
                  <a:lnTo>
                    <a:pt x="1368" y="30"/>
                  </a:lnTo>
                  <a:lnTo>
                    <a:pt x="1392" y="24"/>
                  </a:lnTo>
                  <a:lnTo>
                    <a:pt x="1410" y="18"/>
                  </a:lnTo>
                  <a:lnTo>
                    <a:pt x="1416" y="6"/>
                  </a:lnTo>
                  <a:lnTo>
                    <a:pt x="1500" y="6"/>
                  </a:lnTo>
                  <a:lnTo>
                    <a:pt x="1506" y="0"/>
                  </a:lnTo>
                  <a:lnTo>
                    <a:pt x="1506" y="6"/>
                  </a:lnTo>
                  <a:lnTo>
                    <a:pt x="1506" y="18"/>
                  </a:lnTo>
                  <a:lnTo>
                    <a:pt x="1506" y="24"/>
                  </a:lnTo>
                  <a:lnTo>
                    <a:pt x="1500" y="30"/>
                  </a:lnTo>
                  <a:lnTo>
                    <a:pt x="1500" y="42"/>
                  </a:lnTo>
                  <a:lnTo>
                    <a:pt x="1494" y="54"/>
                  </a:lnTo>
                  <a:lnTo>
                    <a:pt x="1488" y="60"/>
                  </a:lnTo>
                  <a:lnTo>
                    <a:pt x="1482" y="60"/>
                  </a:lnTo>
                  <a:lnTo>
                    <a:pt x="1476" y="66"/>
                  </a:lnTo>
                  <a:lnTo>
                    <a:pt x="1476" y="72"/>
                  </a:lnTo>
                  <a:lnTo>
                    <a:pt x="1476" y="78"/>
                  </a:lnTo>
                  <a:lnTo>
                    <a:pt x="1470" y="78"/>
                  </a:lnTo>
                  <a:lnTo>
                    <a:pt x="1464" y="90"/>
                  </a:lnTo>
                  <a:lnTo>
                    <a:pt x="1458" y="96"/>
                  </a:lnTo>
                  <a:lnTo>
                    <a:pt x="1458" y="102"/>
                  </a:lnTo>
                  <a:lnTo>
                    <a:pt x="1452" y="120"/>
                  </a:lnTo>
                  <a:lnTo>
                    <a:pt x="1452" y="132"/>
                  </a:lnTo>
                  <a:lnTo>
                    <a:pt x="1446" y="144"/>
                  </a:lnTo>
                  <a:lnTo>
                    <a:pt x="1446" y="150"/>
                  </a:lnTo>
                  <a:lnTo>
                    <a:pt x="1440" y="150"/>
                  </a:lnTo>
                  <a:lnTo>
                    <a:pt x="1434" y="156"/>
                  </a:lnTo>
                  <a:lnTo>
                    <a:pt x="1428" y="168"/>
                  </a:lnTo>
                  <a:lnTo>
                    <a:pt x="1422" y="168"/>
                  </a:lnTo>
                  <a:lnTo>
                    <a:pt x="1416" y="174"/>
                  </a:lnTo>
                  <a:lnTo>
                    <a:pt x="1410" y="186"/>
                  </a:lnTo>
                  <a:lnTo>
                    <a:pt x="1410" y="204"/>
                  </a:lnTo>
                  <a:lnTo>
                    <a:pt x="1404" y="210"/>
                  </a:lnTo>
                  <a:lnTo>
                    <a:pt x="1404" y="216"/>
                  </a:lnTo>
                  <a:lnTo>
                    <a:pt x="1410" y="228"/>
                  </a:lnTo>
                  <a:lnTo>
                    <a:pt x="1410" y="234"/>
                  </a:lnTo>
                  <a:lnTo>
                    <a:pt x="1410" y="240"/>
                  </a:lnTo>
                  <a:lnTo>
                    <a:pt x="1416" y="252"/>
                  </a:lnTo>
                  <a:lnTo>
                    <a:pt x="1416" y="258"/>
                  </a:lnTo>
                  <a:lnTo>
                    <a:pt x="1422" y="264"/>
                  </a:lnTo>
                  <a:lnTo>
                    <a:pt x="1422" y="270"/>
                  </a:lnTo>
                  <a:lnTo>
                    <a:pt x="1422" y="282"/>
                  </a:lnTo>
                  <a:lnTo>
                    <a:pt x="1416" y="288"/>
                  </a:lnTo>
                  <a:lnTo>
                    <a:pt x="1410" y="294"/>
                  </a:lnTo>
                  <a:lnTo>
                    <a:pt x="1404" y="300"/>
                  </a:lnTo>
                  <a:lnTo>
                    <a:pt x="1404" y="306"/>
                  </a:lnTo>
                  <a:lnTo>
                    <a:pt x="1398" y="324"/>
                  </a:lnTo>
                  <a:lnTo>
                    <a:pt x="1404" y="330"/>
                  </a:lnTo>
                  <a:lnTo>
                    <a:pt x="1404" y="342"/>
                  </a:lnTo>
                  <a:lnTo>
                    <a:pt x="1392" y="354"/>
                  </a:lnTo>
                  <a:lnTo>
                    <a:pt x="1392" y="360"/>
                  </a:lnTo>
                  <a:lnTo>
                    <a:pt x="1392" y="372"/>
                  </a:lnTo>
                  <a:lnTo>
                    <a:pt x="1392" y="384"/>
                  </a:lnTo>
                  <a:lnTo>
                    <a:pt x="1392" y="396"/>
                  </a:lnTo>
                  <a:lnTo>
                    <a:pt x="1392" y="408"/>
                  </a:lnTo>
                  <a:lnTo>
                    <a:pt x="1386" y="414"/>
                  </a:lnTo>
                  <a:lnTo>
                    <a:pt x="1380" y="420"/>
                  </a:lnTo>
                  <a:lnTo>
                    <a:pt x="1380" y="426"/>
                  </a:lnTo>
                  <a:lnTo>
                    <a:pt x="1368" y="432"/>
                  </a:lnTo>
                  <a:lnTo>
                    <a:pt x="1362" y="444"/>
                  </a:lnTo>
                  <a:lnTo>
                    <a:pt x="1362" y="450"/>
                  </a:lnTo>
                  <a:lnTo>
                    <a:pt x="1362" y="462"/>
                  </a:lnTo>
                  <a:lnTo>
                    <a:pt x="1362" y="468"/>
                  </a:lnTo>
                  <a:lnTo>
                    <a:pt x="1362" y="474"/>
                  </a:lnTo>
                  <a:lnTo>
                    <a:pt x="1356" y="474"/>
                  </a:lnTo>
                  <a:lnTo>
                    <a:pt x="1350" y="480"/>
                  </a:lnTo>
                  <a:lnTo>
                    <a:pt x="1344" y="486"/>
                  </a:lnTo>
                  <a:lnTo>
                    <a:pt x="1338" y="498"/>
                  </a:lnTo>
                  <a:lnTo>
                    <a:pt x="1332" y="510"/>
                  </a:lnTo>
                  <a:lnTo>
                    <a:pt x="1320" y="510"/>
                  </a:lnTo>
                  <a:lnTo>
                    <a:pt x="1314" y="516"/>
                  </a:lnTo>
                  <a:lnTo>
                    <a:pt x="1302" y="522"/>
                  </a:lnTo>
                  <a:lnTo>
                    <a:pt x="1296" y="522"/>
                  </a:lnTo>
                  <a:lnTo>
                    <a:pt x="1284" y="516"/>
                  </a:lnTo>
                  <a:lnTo>
                    <a:pt x="1278" y="516"/>
                  </a:lnTo>
                  <a:lnTo>
                    <a:pt x="1272" y="522"/>
                  </a:lnTo>
                  <a:lnTo>
                    <a:pt x="1266" y="522"/>
                  </a:lnTo>
                  <a:lnTo>
                    <a:pt x="1266" y="528"/>
                  </a:lnTo>
                  <a:lnTo>
                    <a:pt x="1254" y="540"/>
                  </a:lnTo>
                  <a:lnTo>
                    <a:pt x="1248" y="546"/>
                  </a:lnTo>
                  <a:lnTo>
                    <a:pt x="1242" y="558"/>
                  </a:lnTo>
                  <a:lnTo>
                    <a:pt x="1230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30" y="594"/>
                  </a:lnTo>
                  <a:lnTo>
                    <a:pt x="1230" y="600"/>
                  </a:lnTo>
                  <a:lnTo>
                    <a:pt x="1236" y="606"/>
                  </a:lnTo>
                  <a:lnTo>
                    <a:pt x="1242" y="606"/>
                  </a:lnTo>
                  <a:lnTo>
                    <a:pt x="1242" y="612"/>
                  </a:lnTo>
                  <a:lnTo>
                    <a:pt x="1242" y="618"/>
                  </a:lnTo>
                  <a:lnTo>
                    <a:pt x="1242" y="624"/>
                  </a:lnTo>
                  <a:lnTo>
                    <a:pt x="1236" y="630"/>
                  </a:lnTo>
                  <a:lnTo>
                    <a:pt x="1230" y="642"/>
                  </a:lnTo>
                  <a:lnTo>
                    <a:pt x="1230" y="648"/>
                  </a:lnTo>
                  <a:lnTo>
                    <a:pt x="1218" y="654"/>
                  </a:lnTo>
                  <a:lnTo>
                    <a:pt x="1212" y="654"/>
                  </a:lnTo>
                  <a:lnTo>
                    <a:pt x="1212" y="660"/>
                  </a:lnTo>
                  <a:lnTo>
                    <a:pt x="1212" y="666"/>
                  </a:lnTo>
                  <a:lnTo>
                    <a:pt x="1212" y="672"/>
                  </a:lnTo>
                  <a:lnTo>
                    <a:pt x="1212" y="678"/>
                  </a:lnTo>
                  <a:lnTo>
                    <a:pt x="1218" y="684"/>
                  </a:lnTo>
                  <a:lnTo>
                    <a:pt x="1218" y="690"/>
                  </a:lnTo>
                  <a:lnTo>
                    <a:pt x="1224" y="696"/>
                  </a:lnTo>
                  <a:lnTo>
                    <a:pt x="1230" y="702"/>
                  </a:lnTo>
                  <a:lnTo>
                    <a:pt x="1236" y="696"/>
                  </a:lnTo>
                  <a:lnTo>
                    <a:pt x="1242" y="702"/>
                  </a:lnTo>
                  <a:lnTo>
                    <a:pt x="1248" y="708"/>
                  </a:lnTo>
                  <a:lnTo>
                    <a:pt x="1254" y="714"/>
                  </a:lnTo>
                  <a:lnTo>
                    <a:pt x="1254" y="720"/>
                  </a:lnTo>
                  <a:lnTo>
                    <a:pt x="1260" y="720"/>
                  </a:lnTo>
                  <a:lnTo>
                    <a:pt x="1254" y="732"/>
                  </a:lnTo>
                  <a:lnTo>
                    <a:pt x="1248" y="738"/>
                  </a:lnTo>
                  <a:lnTo>
                    <a:pt x="1242" y="744"/>
                  </a:lnTo>
                  <a:lnTo>
                    <a:pt x="1236" y="750"/>
                  </a:lnTo>
                  <a:lnTo>
                    <a:pt x="1236" y="756"/>
                  </a:lnTo>
                  <a:lnTo>
                    <a:pt x="1236" y="762"/>
                  </a:lnTo>
                  <a:lnTo>
                    <a:pt x="1236" y="768"/>
                  </a:lnTo>
                  <a:lnTo>
                    <a:pt x="1236" y="780"/>
                  </a:lnTo>
                  <a:lnTo>
                    <a:pt x="1230" y="780"/>
                  </a:lnTo>
                  <a:lnTo>
                    <a:pt x="1230" y="786"/>
                  </a:lnTo>
                  <a:lnTo>
                    <a:pt x="1230" y="792"/>
                  </a:lnTo>
                  <a:lnTo>
                    <a:pt x="1230" y="804"/>
                  </a:lnTo>
                  <a:lnTo>
                    <a:pt x="1224" y="810"/>
                  </a:lnTo>
                  <a:lnTo>
                    <a:pt x="1218" y="816"/>
                  </a:lnTo>
                  <a:lnTo>
                    <a:pt x="1224" y="822"/>
                  </a:lnTo>
                  <a:lnTo>
                    <a:pt x="1224" y="828"/>
                  </a:lnTo>
                  <a:lnTo>
                    <a:pt x="1218" y="834"/>
                  </a:lnTo>
                  <a:lnTo>
                    <a:pt x="1224" y="834"/>
                  </a:lnTo>
                  <a:lnTo>
                    <a:pt x="1224" y="840"/>
                  </a:lnTo>
                  <a:lnTo>
                    <a:pt x="1224" y="846"/>
                  </a:lnTo>
                  <a:lnTo>
                    <a:pt x="1224" y="852"/>
                  </a:lnTo>
                  <a:lnTo>
                    <a:pt x="1218" y="858"/>
                  </a:lnTo>
                  <a:lnTo>
                    <a:pt x="1218" y="870"/>
                  </a:lnTo>
                  <a:lnTo>
                    <a:pt x="1212" y="870"/>
                  </a:lnTo>
                  <a:lnTo>
                    <a:pt x="1212" y="876"/>
                  </a:lnTo>
                  <a:lnTo>
                    <a:pt x="1206" y="888"/>
                  </a:lnTo>
                  <a:lnTo>
                    <a:pt x="1200" y="882"/>
                  </a:lnTo>
                  <a:lnTo>
                    <a:pt x="1194" y="888"/>
                  </a:lnTo>
                  <a:lnTo>
                    <a:pt x="1188" y="894"/>
                  </a:lnTo>
                  <a:lnTo>
                    <a:pt x="1182" y="894"/>
                  </a:lnTo>
                  <a:lnTo>
                    <a:pt x="1182" y="900"/>
                  </a:lnTo>
                  <a:lnTo>
                    <a:pt x="1176" y="900"/>
                  </a:lnTo>
                  <a:lnTo>
                    <a:pt x="1170" y="894"/>
                  </a:lnTo>
                  <a:lnTo>
                    <a:pt x="1164" y="900"/>
                  </a:lnTo>
                  <a:lnTo>
                    <a:pt x="1158" y="900"/>
                  </a:lnTo>
                  <a:lnTo>
                    <a:pt x="1152" y="900"/>
                  </a:lnTo>
                  <a:lnTo>
                    <a:pt x="1140" y="900"/>
                  </a:lnTo>
                  <a:lnTo>
                    <a:pt x="1134" y="900"/>
                  </a:lnTo>
                  <a:lnTo>
                    <a:pt x="1128" y="906"/>
                  </a:lnTo>
                  <a:lnTo>
                    <a:pt x="1110" y="906"/>
                  </a:lnTo>
                  <a:lnTo>
                    <a:pt x="1104" y="906"/>
                  </a:lnTo>
                  <a:lnTo>
                    <a:pt x="1098" y="906"/>
                  </a:lnTo>
                  <a:lnTo>
                    <a:pt x="1092" y="912"/>
                  </a:lnTo>
                  <a:lnTo>
                    <a:pt x="1080" y="918"/>
                  </a:lnTo>
                  <a:lnTo>
                    <a:pt x="1068" y="930"/>
                  </a:lnTo>
                  <a:lnTo>
                    <a:pt x="1062" y="930"/>
                  </a:lnTo>
                  <a:lnTo>
                    <a:pt x="1056" y="930"/>
                  </a:lnTo>
                  <a:lnTo>
                    <a:pt x="1050" y="930"/>
                  </a:lnTo>
                  <a:lnTo>
                    <a:pt x="1050" y="936"/>
                  </a:lnTo>
                  <a:lnTo>
                    <a:pt x="1038" y="942"/>
                  </a:lnTo>
                  <a:lnTo>
                    <a:pt x="1032" y="948"/>
                  </a:lnTo>
                  <a:lnTo>
                    <a:pt x="1026" y="954"/>
                  </a:lnTo>
                  <a:lnTo>
                    <a:pt x="1020" y="960"/>
                  </a:lnTo>
                  <a:lnTo>
                    <a:pt x="1014" y="966"/>
                  </a:lnTo>
                  <a:lnTo>
                    <a:pt x="1002" y="966"/>
                  </a:lnTo>
                  <a:lnTo>
                    <a:pt x="990" y="978"/>
                  </a:lnTo>
                  <a:lnTo>
                    <a:pt x="984" y="978"/>
                  </a:lnTo>
                  <a:lnTo>
                    <a:pt x="978" y="984"/>
                  </a:lnTo>
                  <a:lnTo>
                    <a:pt x="972" y="984"/>
                  </a:lnTo>
                  <a:lnTo>
                    <a:pt x="978" y="990"/>
                  </a:lnTo>
                  <a:lnTo>
                    <a:pt x="972" y="996"/>
                  </a:lnTo>
                  <a:lnTo>
                    <a:pt x="978" y="1002"/>
                  </a:lnTo>
                  <a:lnTo>
                    <a:pt x="1002" y="1002"/>
                  </a:lnTo>
                  <a:lnTo>
                    <a:pt x="1002" y="1008"/>
                  </a:lnTo>
                  <a:lnTo>
                    <a:pt x="1008" y="1020"/>
                  </a:lnTo>
                  <a:lnTo>
                    <a:pt x="1002" y="1026"/>
                  </a:lnTo>
                  <a:lnTo>
                    <a:pt x="1002" y="1032"/>
                  </a:lnTo>
                  <a:lnTo>
                    <a:pt x="1002" y="1050"/>
                  </a:lnTo>
                  <a:lnTo>
                    <a:pt x="1002" y="1056"/>
                  </a:lnTo>
                  <a:lnTo>
                    <a:pt x="1008" y="1062"/>
                  </a:lnTo>
                  <a:lnTo>
                    <a:pt x="1008" y="1074"/>
                  </a:lnTo>
                  <a:lnTo>
                    <a:pt x="1008" y="1086"/>
                  </a:lnTo>
                  <a:lnTo>
                    <a:pt x="996" y="1092"/>
                  </a:lnTo>
                  <a:lnTo>
                    <a:pt x="996" y="1098"/>
                  </a:lnTo>
                  <a:lnTo>
                    <a:pt x="996" y="1104"/>
                  </a:lnTo>
                  <a:lnTo>
                    <a:pt x="990" y="1110"/>
                  </a:lnTo>
                  <a:lnTo>
                    <a:pt x="990" y="1116"/>
                  </a:lnTo>
                  <a:lnTo>
                    <a:pt x="996" y="1122"/>
                  </a:lnTo>
                  <a:lnTo>
                    <a:pt x="990" y="1128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96" y="1140"/>
                  </a:lnTo>
                  <a:lnTo>
                    <a:pt x="996" y="1146"/>
                  </a:lnTo>
                  <a:lnTo>
                    <a:pt x="996" y="1152"/>
                  </a:lnTo>
                  <a:lnTo>
                    <a:pt x="996" y="1158"/>
                  </a:lnTo>
                  <a:lnTo>
                    <a:pt x="996" y="1164"/>
                  </a:lnTo>
                  <a:lnTo>
                    <a:pt x="996" y="1170"/>
                  </a:lnTo>
                  <a:lnTo>
                    <a:pt x="996" y="1176"/>
                  </a:lnTo>
                  <a:lnTo>
                    <a:pt x="990" y="1182"/>
                  </a:lnTo>
                  <a:lnTo>
                    <a:pt x="990" y="1188"/>
                  </a:lnTo>
                  <a:lnTo>
                    <a:pt x="984" y="1200"/>
                  </a:lnTo>
                  <a:lnTo>
                    <a:pt x="990" y="1206"/>
                  </a:lnTo>
                  <a:lnTo>
                    <a:pt x="990" y="1212"/>
                  </a:lnTo>
                  <a:lnTo>
                    <a:pt x="990" y="1218"/>
                  </a:lnTo>
                  <a:lnTo>
                    <a:pt x="978" y="1230"/>
                  </a:lnTo>
                  <a:lnTo>
                    <a:pt x="972" y="1236"/>
                  </a:lnTo>
                  <a:lnTo>
                    <a:pt x="972" y="1242"/>
                  </a:lnTo>
                  <a:lnTo>
                    <a:pt x="966" y="1248"/>
                  </a:lnTo>
                  <a:lnTo>
                    <a:pt x="960" y="1260"/>
                  </a:lnTo>
                  <a:lnTo>
                    <a:pt x="954" y="1266"/>
                  </a:lnTo>
                  <a:lnTo>
                    <a:pt x="942" y="1278"/>
                  </a:lnTo>
                  <a:lnTo>
                    <a:pt x="936" y="1278"/>
                  </a:lnTo>
                  <a:lnTo>
                    <a:pt x="936" y="1284"/>
                  </a:lnTo>
                  <a:lnTo>
                    <a:pt x="936" y="1296"/>
                  </a:lnTo>
                  <a:lnTo>
                    <a:pt x="936" y="1302"/>
                  </a:lnTo>
                  <a:lnTo>
                    <a:pt x="942" y="1302"/>
                  </a:lnTo>
                  <a:lnTo>
                    <a:pt x="942" y="1308"/>
                  </a:lnTo>
                  <a:lnTo>
                    <a:pt x="936" y="1314"/>
                  </a:lnTo>
                  <a:lnTo>
                    <a:pt x="930" y="1320"/>
                  </a:lnTo>
                  <a:lnTo>
                    <a:pt x="930" y="1326"/>
                  </a:lnTo>
                  <a:lnTo>
                    <a:pt x="930" y="1332"/>
                  </a:lnTo>
                  <a:lnTo>
                    <a:pt x="936" y="1338"/>
                  </a:lnTo>
                  <a:lnTo>
                    <a:pt x="936" y="1344"/>
                  </a:lnTo>
                  <a:lnTo>
                    <a:pt x="942" y="1356"/>
                  </a:lnTo>
                  <a:lnTo>
                    <a:pt x="948" y="1368"/>
                  </a:lnTo>
                  <a:lnTo>
                    <a:pt x="942" y="1380"/>
                  </a:lnTo>
                  <a:lnTo>
                    <a:pt x="936" y="1386"/>
                  </a:lnTo>
                  <a:lnTo>
                    <a:pt x="930" y="1392"/>
                  </a:lnTo>
                  <a:lnTo>
                    <a:pt x="924" y="1392"/>
                  </a:lnTo>
                  <a:lnTo>
                    <a:pt x="918" y="1386"/>
                  </a:lnTo>
                  <a:lnTo>
                    <a:pt x="912" y="1386"/>
                  </a:lnTo>
                  <a:lnTo>
                    <a:pt x="906" y="1386"/>
                  </a:lnTo>
                  <a:lnTo>
                    <a:pt x="900" y="1386"/>
                  </a:lnTo>
                  <a:lnTo>
                    <a:pt x="900" y="1392"/>
                  </a:lnTo>
                  <a:lnTo>
                    <a:pt x="894" y="1392"/>
                  </a:lnTo>
                  <a:lnTo>
                    <a:pt x="888" y="1392"/>
                  </a:lnTo>
                  <a:lnTo>
                    <a:pt x="888" y="1398"/>
                  </a:lnTo>
                  <a:lnTo>
                    <a:pt x="882" y="1404"/>
                  </a:lnTo>
                  <a:lnTo>
                    <a:pt x="882" y="1416"/>
                  </a:lnTo>
                  <a:lnTo>
                    <a:pt x="882" y="1428"/>
                  </a:lnTo>
                  <a:lnTo>
                    <a:pt x="882" y="1434"/>
                  </a:lnTo>
                  <a:lnTo>
                    <a:pt x="870" y="1440"/>
                  </a:lnTo>
                  <a:lnTo>
                    <a:pt x="864" y="1452"/>
                  </a:lnTo>
                  <a:lnTo>
                    <a:pt x="870" y="1452"/>
                  </a:lnTo>
                  <a:lnTo>
                    <a:pt x="864" y="1458"/>
                  </a:lnTo>
                  <a:lnTo>
                    <a:pt x="858" y="1464"/>
                  </a:lnTo>
                  <a:lnTo>
                    <a:pt x="852" y="1464"/>
                  </a:lnTo>
                  <a:lnTo>
                    <a:pt x="846" y="1458"/>
                  </a:lnTo>
                  <a:lnTo>
                    <a:pt x="840" y="1458"/>
                  </a:lnTo>
                  <a:lnTo>
                    <a:pt x="828" y="1470"/>
                  </a:lnTo>
                  <a:lnTo>
                    <a:pt x="810" y="1482"/>
                  </a:lnTo>
                  <a:lnTo>
                    <a:pt x="804" y="1488"/>
                  </a:lnTo>
                  <a:lnTo>
                    <a:pt x="798" y="1488"/>
                  </a:lnTo>
                  <a:lnTo>
                    <a:pt x="792" y="1488"/>
                  </a:lnTo>
                  <a:lnTo>
                    <a:pt x="786" y="1488"/>
                  </a:lnTo>
                  <a:lnTo>
                    <a:pt x="768" y="1482"/>
                  </a:lnTo>
                  <a:lnTo>
                    <a:pt x="762" y="1476"/>
                  </a:lnTo>
                  <a:lnTo>
                    <a:pt x="744" y="1476"/>
                  </a:lnTo>
                  <a:lnTo>
                    <a:pt x="738" y="1476"/>
                  </a:lnTo>
                  <a:lnTo>
                    <a:pt x="732" y="1476"/>
                  </a:lnTo>
                  <a:lnTo>
                    <a:pt x="726" y="1482"/>
                  </a:lnTo>
                  <a:lnTo>
                    <a:pt x="726" y="1488"/>
                  </a:lnTo>
                  <a:lnTo>
                    <a:pt x="726" y="1494"/>
                  </a:lnTo>
                  <a:lnTo>
                    <a:pt x="726" y="1500"/>
                  </a:lnTo>
                  <a:lnTo>
                    <a:pt x="720" y="1500"/>
                  </a:lnTo>
                  <a:lnTo>
                    <a:pt x="720" y="1506"/>
                  </a:lnTo>
                  <a:lnTo>
                    <a:pt x="714" y="1512"/>
                  </a:lnTo>
                  <a:lnTo>
                    <a:pt x="714" y="1518"/>
                  </a:lnTo>
                  <a:lnTo>
                    <a:pt x="708" y="1518"/>
                  </a:lnTo>
                  <a:lnTo>
                    <a:pt x="708" y="1530"/>
                  </a:lnTo>
                  <a:lnTo>
                    <a:pt x="708" y="1536"/>
                  </a:lnTo>
                  <a:lnTo>
                    <a:pt x="708" y="1542"/>
                  </a:lnTo>
                  <a:lnTo>
                    <a:pt x="696" y="1554"/>
                  </a:lnTo>
                  <a:lnTo>
                    <a:pt x="690" y="1560"/>
                  </a:lnTo>
                  <a:lnTo>
                    <a:pt x="684" y="1566"/>
                  </a:lnTo>
                  <a:lnTo>
                    <a:pt x="672" y="1566"/>
                  </a:lnTo>
                  <a:lnTo>
                    <a:pt x="666" y="1566"/>
                  </a:lnTo>
                  <a:lnTo>
                    <a:pt x="660" y="1566"/>
                  </a:lnTo>
                  <a:lnTo>
                    <a:pt x="654" y="1572"/>
                  </a:lnTo>
                  <a:lnTo>
                    <a:pt x="654" y="1578"/>
                  </a:lnTo>
                  <a:lnTo>
                    <a:pt x="642" y="1578"/>
                  </a:lnTo>
                  <a:lnTo>
                    <a:pt x="630" y="1572"/>
                  </a:lnTo>
                  <a:lnTo>
                    <a:pt x="624" y="1572"/>
                  </a:lnTo>
                  <a:lnTo>
                    <a:pt x="618" y="1578"/>
                  </a:lnTo>
                  <a:lnTo>
                    <a:pt x="612" y="1584"/>
                  </a:lnTo>
                  <a:lnTo>
                    <a:pt x="606" y="1584"/>
                  </a:lnTo>
                  <a:lnTo>
                    <a:pt x="600" y="1590"/>
                  </a:lnTo>
                  <a:lnTo>
                    <a:pt x="594" y="1590"/>
                  </a:lnTo>
                  <a:lnTo>
                    <a:pt x="588" y="1590"/>
                  </a:lnTo>
                  <a:lnTo>
                    <a:pt x="582" y="1590"/>
                  </a:lnTo>
                  <a:lnTo>
                    <a:pt x="582" y="1596"/>
                  </a:lnTo>
                  <a:lnTo>
                    <a:pt x="576" y="1614"/>
                  </a:lnTo>
                  <a:lnTo>
                    <a:pt x="570" y="1632"/>
                  </a:lnTo>
                  <a:lnTo>
                    <a:pt x="570" y="1638"/>
                  </a:lnTo>
                  <a:lnTo>
                    <a:pt x="576" y="1644"/>
                  </a:lnTo>
                  <a:lnTo>
                    <a:pt x="576" y="1650"/>
                  </a:lnTo>
                  <a:lnTo>
                    <a:pt x="582" y="1662"/>
                  </a:lnTo>
                  <a:lnTo>
                    <a:pt x="582" y="1668"/>
                  </a:lnTo>
                  <a:lnTo>
                    <a:pt x="588" y="1692"/>
                  </a:lnTo>
                  <a:lnTo>
                    <a:pt x="594" y="1728"/>
                  </a:lnTo>
                  <a:lnTo>
                    <a:pt x="594" y="1752"/>
                  </a:lnTo>
                  <a:lnTo>
                    <a:pt x="594" y="1764"/>
                  </a:lnTo>
                  <a:lnTo>
                    <a:pt x="582" y="1770"/>
                  </a:lnTo>
                  <a:lnTo>
                    <a:pt x="582" y="1782"/>
                  </a:lnTo>
                  <a:lnTo>
                    <a:pt x="576" y="1788"/>
                  </a:lnTo>
                  <a:lnTo>
                    <a:pt x="570" y="1794"/>
                  </a:lnTo>
                  <a:lnTo>
                    <a:pt x="564" y="1806"/>
                  </a:lnTo>
                  <a:lnTo>
                    <a:pt x="564" y="1812"/>
                  </a:lnTo>
                  <a:lnTo>
                    <a:pt x="558" y="1812"/>
                  </a:lnTo>
                  <a:lnTo>
                    <a:pt x="564" y="1824"/>
                  </a:lnTo>
                  <a:lnTo>
                    <a:pt x="564" y="1830"/>
                  </a:lnTo>
                  <a:lnTo>
                    <a:pt x="564" y="1842"/>
                  </a:lnTo>
                  <a:lnTo>
                    <a:pt x="564" y="1848"/>
                  </a:lnTo>
                  <a:lnTo>
                    <a:pt x="564" y="1854"/>
                  </a:lnTo>
                  <a:lnTo>
                    <a:pt x="570" y="1860"/>
                  </a:lnTo>
                  <a:lnTo>
                    <a:pt x="570" y="1866"/>
                  </a:lnTo>
                  <a:lnTo>
                    <a:pt x="570" y="1872"/>
                  </a:lnTo>
                  <a:lnTo>
                    <a:pt x="570" y="1878"/>
                  </a:lnTo>
                  <a:lnTo>
                    <a:pt x="564" y="1890"/>
                  </a:lnTo>
                  <a:lnTo>
                    <a:pt x="558" y="1896"/>
                  </a:lnTo>
                  <a:lnTo>
                    <a:pt x="552" y="1908"/>
                  </a:lnTo>
                  <a:lnTo>
                    <a:pt x="546" y="1914"/>
                  </a:lnTo>
                  <a:lnTo>
                    <a:pt x="540" y="1920"/>
                  </a:lnTo>
                  <a:lnTo>
                    <a:pt x="534" y="1932"/>
                  </a:lnTo>
                  <a:lnTo>
                    <a:pt x="528" y="1944"/>
                  </a:lnTo>
                  <a:lnTo>
                    <a:pt x="516" y="1950"/>
                  </a:lnTo>
                  <a:lnTo>
                    <a:pt x="510" y="1956"/>
                  </a:lnTo>
                  <a:lnTo>
                    <a:pt x="498" y="1962"/>
                  </a:lnTo>
                  <a:lnTo>
                    <a:pt x="492" y="1974"/>
                  </a:lnTo>
                  <a:lnTo>
                    <a:pt x="486" y="1980"/>
                  </a:lnTo>
                  <a:lnTo>
                    <a:pt x="480" y="1998"/>
                  </a:lnTo>
                  <a:lnTo>
                    <a:pt x="474" y="2004"/>
                  </a:lnTo>
                  <a:lnTo>
                    <a:pt x="474" y="2010"/>
                  </a:lnTo>
                  <a:lnTo>
                    <a:pt x="474" y="2016"/>
                  </a:lnTo>
                  <a:lnTo>
                    <a:pt x="468" y="2016"/>
                  </a:lnTo>
                  <a:lnTo>
                    <a:pt x="468" y="2028"/>
                  </a:lnTo>
                  <a:lnTo>
                    <a:pt x="462" y="2034"/>
                  </a:lnTo>
                  <a:lnTo>
                    <a:pt x="456" y="2040"/>
                  </a:lnTo>
                  <a:lnTo>
                    <a:pt x="456" y="2052"/>
                  </a:lnTo>
                  <a:lnTo>
                    <a:pt x="450" y="2058"/>
                  </a:lnTo>
                  <a:lnTo>
                    <a:pt x="450" y="2070"/>
                  </a:lnTo>
                  <a:lnTo>
                    <a:pt x="450" y="2076"/>
                  </a:lnTo>
                  <a:lnTo>
                    <a:pt x="450" y="2082"/>
                  </a:lnTo>
                  <a:lnTo>
                    <a:pt x="444" y="2088"/>
                  </a:lnTo>
                  <a:lnTo>
                    <a:pt x="438" y="2094"/>
                  </a:lnTo>
                  <a:lnTo>
                    <a:pt x="444" y="2100"/>
                  </a:lnTo>
                  <a:lnTo>
                    <a:pt x="444" y="2124"/>
                  </a:lnTo>
                  <a:lnTo>
                    <a:pt x="444" y="2142"/>
                  </a:lnTo>
                  <a:lnTo>
                    <a:pt x="444" y="2160"/>
                  </a:lnTo>
                  <a:lnTo>
                    <a:pt x="450" y="2166"/>
                  </a:lnTo>
                  <a:lnTo>
                    <a:pt x="456" y="2178"/>
                  </a:lnTo>
                  <a:lnTo>
                    <a:pt x="438" y="2184"/>
                  </a:lnTo>
                  <a:lnTo>
                    <a:pt x="432" y="2184"/>
                  </a:lnTo>
                  <a:lnTo>
                    <a:pt x="426" y="2190"/>
                  </a:lnTo>
                  <a:lnTo>
                    <a:pt x="408" y="2190"/>
                  </a:lnTo>
                  <a:lnTo>
                    <a:pt x="402" y="2196"/>
                  </a:lnTo>
                  <a:lnTo>
                    <a:pt x="396" y="2196"/>
                  </a:lnTo>
                  <a:lnTo>
                    <a:pt x="384" y="2208"/>
                  </a:lnTo>
                  <a:lnTo>
                    <a:pt x="378" y="2220"/>
                  </a:lnTo>
                  <a:lnTo>
                    <a:pt x="366" y="2232"/>
                  </a:lnTo>
                  <a:lnTo>
                    <a:pt x="366" y="2238"/>
                  </a:lnTo>
                  <a:lnTo>
                    <a:pt x="360" y="2238"/>
                  </a:lnTo>
                  <a:lnTo>
                    <a:pt x="360" y="2244"/>
                  </a:lnTo>
                  <a:lnTo>
                    <a:pt x="354" y="2244"/>
                  </a:lnTo>
                  <a:lnTo>
                    <a:pt x="330" y="227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5" name="Freeform 10">
              <a:extLst>
                <a:ext uri="{FF2B5EF4-FFF2-40B4-BE49-F238E27FC236}">
                  <a16:creationId xmlns:a16="http://schemas.microsoft.com/office/drawing/2014/main" id="{3AD2FC58-3490-4B7F-A8BE-621F3CDD69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1996" y="1931890"/>
              <a:ext cx="805029" cy="1037736"/>
            </a:xfrm>
            <a:custGeom>
              <a:avLst/>
              <a:gdLst>
                <a:gd name="T0" fmla="*/ 124 w 1512"/>
                <a:gd name="T1" fmla="*/ 76 h 1956"/>
                <a:gd name="T2" fmla="*/ 120 w 1512"/>
                <a:gd name="T3" fmla="*/ 80 h 1956"/>
                <a:gd name="T4" fmla="*/ 106 w 1512"/>
                <a:gd name="T5" fmla="*/ 84 h 1956"/>
                <a:gd name="T6" fmla="*/ 105 w 1512"/>
                <a:gd name="T7" fmla="*/ 91 h 1956"/>
                <a:gd name="T8" fmla="*/ 101 w 1512"/>
                <a:gd name="T9" fmla="*/ 99 h 1956"/>
                <a:gd name="T10" fmla="*/ 105 w 1512"/>
                <a:gd name="T11" fmla="*/ 107 h 1956"/>
                <a:gd name="T12" fmla="*/ 119 w 1512"/>
                <a:gd name="T13" fmla="*/ 116 h 1956"/>
                <a:gd name="T14" fmla="*/ 121 w 1512"/>
                <a:gd name="T15" fmla="*/ 128 h 1956"/>
                <a:gd name="T16" fmla="*/ 112 w 1512"/>
                <a:gd name="T17" fmla="*/ 136 h 1956"/>
                <a:gd name="T18" fmla="*/ 119 w 1512"/>
                <a:gd name="T19" fmla="*/ 143 h 1956"/>
                <a:gd name="T20" fmla="*/ 126 w 1512"/>
                <a:gd name="T21" fmla="*/ 148 h 1956"/>
                <a:gd name="T22" fmla="*/ 126 w 1512"/>
                <a:gd name="T23" fmla="*/ 160 h 1956"/>
                <a:gd name="T24" fmla="*/ 104 w 1512"/>
                <a:gd name="T25" fmla="*/ 170 h 1956"/>
                <a:gd name="T26" fmla="*/ 99 w 1512"/>
                <a:gd name="T27" fmla="*/ 164 h 1956"/>
                <a:gd name="T28" fmla="*/ 73 w 1512"/>
                <a:gd name="T29" fmla="*/ 152 h 1956"/>
                <a:gd name="T30" fmla="*/ 56 w 1512"/>
                <a:gd name="T31" fmla="*/ 165 h 1956"/>
                <a:gd name="T32" fmla="*/ 33 w 1512"/>
                <a:gd name="T33" fmla="*/ 162 h 1956"/>
                <a:gd name="T34" fmla="*/ 25 w 1512"/>
                <a:gd name="T35" fmla="*/ 155 h 1956"/>
                <a:gd name="T36" fmla="*/ 31 w 1512"/>
                <a:gd name="T37" fmla="*/ 142 h 1956"/>
                <a:gd name="T38" fmla="*/ 24 w 1512"/>
                <a:gd name="T39" fmla="*/ 137 h 1956"/>
                <a:gd name="T40" fmla="*/ 14 w 1512"/>
                <a:gd name="T41" fmla="*/ 136 h 1956"/>
                <a:gd name="T42" fmla="*/ 11 w 1512"/>
                <a:gd name="T43" fmla="*/ 125 h 1956"/>
                <a:gd name="T44" fmla="*/ 3 w 1512"/>
                <a:gd name="T45" fmla="*/ 116 h 1956"/>
                <a:gd name="T46" fmla="*/ 2 w 1512"/>
                <a:gd name="T47" fmla="*/ 106 h 1956"/>
                <a:gd name="T48" fmla="*/ 5 w 1512"/>
                <a:gd name="T49" fmla="*/ 101 h 1956"/>
                <a:gd name="T50" fmla="*/ 2 w 1512"/>
                <a:gd name="T51" fmla="*/ 95 h 1956"/>
                <a:gd name="T52" fmla="*/ 1 w 1512"/>
                <a:gd name="T53" fmla="*/ 88 h 1956"/>
                <a:gd name="T54" fmla="*/ 4 w 1512"/>
                <a:gd name="T55" fmla="*/ 80 h 1956"/>
                <a:gd name="T56" fmla="*/ 12 w 1512"/>
                <a:gd name="T57" fmla="*/ 73 h 1956"/>
                <a:gd name="T58" fmla="*/ 16 w 1512"/>
                <a:gd name="T59" fmla="*/ 68 h 1956"/>
                <a:gd name="T60" fmla="*/ 22 w 1512"/>
                <a:gd name="T61" fmla="*/ 66 h 1956"/>
                <a:gd name="T62" fmla="*/ 32 w 1512"/>
                <a:gd name="T63" fmla="*/ 65 h 1956"/>
                <a:gd name="T64" fmla="*/ 45 w 1512"/>
                <a:gd name="T65" fmla="*/ 66 h 1956"/>
                <a:gd name="T66" fmla="*/ 50 w 1512"/>
                <a:gd name="T67" fmla="*/ 70 h 1956"/>
                <a:gd name="T68" fmla="*/ 55 w 1512"/>
                <a:gd name="T69" fmla="*/ 70 h 1956"/>
                <a:gd name="T70" fmla="*/ 63 w 1512"/>
                <a:gd name="T71" fmla="*/ 71 h 1956"/>
                <a:gd name="T72" fmla="*/ 61 w 1512"/>
                <a:gd name="T73" fmla="*/ 75 h 1956"/>
                <a:gd name="T74" fmla="*/ 66 w 1512"/>
                <a:gd name="T75" fmla="*/ 84 h 1956"/>
                <a:gd name="T76" fmla="*/ 81 w 1512"/>
                <a:gd name="T77" fmla="*/ 85 h 1956"/>
                <a:gd name="T78" fmla="*/ 83 w 1512"/>
                <a:gd name="T79" fmla="*/ 79 h 1956"/>
                <a:gd name="T80" fmla="*/ 89 w 1512"/>
                <a:gd name="T81" fmla="*/ 77 h 1956"/>
                <a:gd name="T82" fmla="*/ 89 w 1512"/>
                <a:gd name="T83" fmla="*/ 73 h 1956"/>
                <a:gd name="T84" fmla="*/ 83 w 1512"/>
                <a:gd name="T85" fmla="*/ 72 h 1956"/>
                <a:gd name="T86" fmla="*/ 77 w 1512"/>
                <a:gd name="T87" fmla="*/ 70 h 1956"/>
                <a:gd name="T88" fmla="*/ 71 w 1512"/>
                <a:gd name="T89" fmla="*/ 70 h 1956"/>
                <a:gd name="T90" fmla="*/ 59 w 1512"/>
                <a:gd name="T91" fmla="*/ 58 h 1956"/>
                <a:gd name="T92" fmla="*/ 54 w 1512"/>
                <a:gd name="T93" fmla="*/ 45 h 1956"/>
                <a:gd name="T94" fmla="*/ 49 w 1512"/>
                <a:gd name="T95" fmla="*/ 42 h 1956"/>
                <a:gd name="T96" fmla="*/ 51 w 1512"/>
                <a:gd name="T97" fmla="*/ 39 h 1956"/>
                <a:gd name="T98" fmla="*/ 55 w 1512"/>
                <a:gd name="T99" fmla="*/ 36 h 1956"/>
                <a:gd name="T100" fmla="*/ 63 w 1512"/>
                <a:gd name="T101" fmla="*/ 34 h 1956"/>
                <a:gd name="T102" fmla="*/ 68 w 1512"/>
                <a:gd name="T103" fmla="*/ 32 h 1956"/>
                <a:gd name="T104" fmla="*/ 73 w 1512"/>
                <a:gd name="T105" fmla="*/ 29 h 1956"/>
                <a:gd name="T106" fmla="*/ 78 w 1512"/>
                <a:gd name="T107" fmla="*/ 27 h 1956"/>
                <a:gd name="T108" fmla="*/ 81 w 1512"/>
                <a:gd name="T109" fmla="*/ 17 h 1956"/>
                <a:gd name="T110" fmla="*/ 84 w 1512"/>
                <a:gd name="T111" fmla="*/ 6 h 1956"/>
                <a:gd name="T112" fmla="*/ 95 w 1512"/>
                <a:gd name="T113" fmla="*/ 6 h 1956"/>
                <a:gd name="T114" fmla="*/ 99 w 1512"/>
                <a:gd name="T115" fmla="*/ 3 h 1956"/>
                <a:gd name="T116" fmla="*/ 103 w 1512"/>
                <a:gd name="T117" fmla="*/ 0 h 1956"/>
                <a:gd name="T118" fmla="*/ 110 w 1512"/>
                <a:gd name="T119" fmla="*/ 4 h 1956"/>
                <a:gd name="T120" fmla="*/ 114 w 1512"/>
                <a:gd name="T121" fmla="*/ 33 h 1956"/>
                <a:gd name="T122" fmla="*/ 117 w 1512"/>
                <a:gd name="T123" fmla="*/ 41 h 1956"/>
                <a:gd name="T124" fmla="*/ 119 w 1512"/>
                <a:gd name="T125" fmla="*/ 62 h 195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12"/>
                <a:gd name="T190" fmla="*/ 0 h 1956"/>
                <a:gd name="T191" fmla="*/ 1512 w 1512"/>
                <a:gd name="T192" fmla="*/ 1956 h 195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12" h="1956">
                  <a:moveTo>
                    <a:pt x="1512" y="780"/>
                  </a:moveTo>
                  <a:lnTo>
                    <a:pt x="1482" y="786"/>
                  </a:lnTo>
                  <a:lnTo>
                    <a:pt x="1476" y="792"/>
                  </a:lnTo>
                  <a:lnTo>
                    <a:pt x="1476" y="798"/>
                  </a:lnTo>
                  <a:lnTo>
                    <a:pt x="1476" y="804"/>
                  </a:lnTo>
                  <a:lnTo>
                    <a:pt x="1476" y="816"/>
                  </a:lnTo>
                  <a:lnTo>
                    <a:pt x="1470" y="834"/>
                  </a:lnTo>
                  <a:lnTo>
                    <a:pt x="1464" y="840"/>
                  </a:lnTo>
                  <a:lnTo>
                    <a:pt x="1452" y="852"/>
                  </a:lnTo>
                  <a:lnTo>
                    <a:pt x="1440" y="864"/>
                  </a:lnTo>
                  <a:lnTo>
                    <a:pt x="1434" y="864"/>
                  </a:lnTo>
                  <a:lnTo>
                    <a:pt x="1434" y="870"/>
                  </a:lnTo>
                  <a:lnTo>
                    <a:pt x="1422" y="876"/>
                  </a:lnTo>
                  <a:lnTo>
                    <a:pt x="1410" y="894"/>
                  </a:lnTo>
                  <a:lnTo>
                    <a:pt x="1404" y="894"/>
                  </a:lnTo>
                  <a:lnTo>
                    <a:pt x="1404" y="900"/>
                  </a:lnTo>
                  <a:lnTo>
                    <a:pt x="1404" y="906"/>
                  </a:lnTo>
                  <a:lnTo>
                    <a:pt x="1410" y="918"/>
                  </a:lnTo>
                  <a:lnTo>
                    <a:pt x="1404" y="918"/>
                  </a:lnTo>
                  <a:lnTo>
                    <a:pt x="1392" y="924"/>
                  </a:lnTo>
                  <a:lnTo>
                    <a:pt x="1386" y="924"/>
                  </a:lnTo>
                  <a:lnTo>
                    <a:pt x="1380" y="924"/>
                  </a:lnTo>
                  <a:lnTo>
                    <a:pt x="1380" y="930"/>
                  </a:lnTo>
                  <a:lnTo>
                    <a:pt x="1374" y="930"/>
                  </a:lnTo>
                  <a:lnTo>
                    <a:pt x="1374" y="924"/>
                  </a:lnTo>
                  <a:lnTo>
                    <a:pt x="1374" y="918"/>
                  </a:lnTo>
                  <a:lnTo>
                    <a:pt x="1368" y="912"/>
                  </a:lnTo>
                  <a:lnTo>
                    <a:pt x="1368" y="906"/>
                  </a:lnTo>
                  <a:lnTo>
                    <a:pt x="1368" y="900"/>
                  </a:lnTo>
                  <a:lnTo>
                    <a:pt x="1368" y="894"/>
                  </a:lnTo>
                  <a:lnTo>
                    <a:pt x="1362" y="894"/>
                  </a:lnTo>
                  <a:lnTo>
                    <a:pt x="1326" y="894"/>
                  </a:lnTo>
                  <a:lnTo>
                    <a:pt x="1302" y="906"/>
                  </a:lnTo>
                  <a:lnTo>
                    <a:pt x="1284" y="918"/>
                  </a:lnTo>
                  <a:lnTo>
                    <a:pt x="1284" y="924"/>
                  </a:lnTo>
                  <a:lnTo>
                    <a:pt x="1278" y="930"/>
                  </a:lnTo>
                  <a:lnTo>
                    <a:pt x="1266" y="930"/>
                  </a:lnTo>
                  <a:lnTo>
                    <a:pt x="1236" y="954"/>
                  </a:lnTo>
                  <a:lnTo>
                    <a:pt x="1212" y="972"/>
                  </a:lnTo>
                  <a:lnTo>
                    <a:pt x="1218" y="996"/>
                  </a:lnTo>
                  <a:lnTo>
                    <a:pt x="1224" y="1008"/>
                  </a:lnTo>
                  <a:lnTo>
                    <a:pt x="1236" y="1014"/>
                  </a:lnTo>
                  <a:lnTo>
                    <a:pt x="1242" y="1026"/>
                  </a:lnTo>
                  <a:lnTo>
                    <a:pt x="1248" y="1038"/>
                  </a:lnTo>
                  <a:lnTo>
                    <a:pt x="1260" y="1050"/>
                  </a:lnTo>
                  <a:lnTo>
                    <a:pt x="1260" y="1056"/>
                  </a:lnTo>
                  <a:lnTo>
                    <a:pt x="1260" y="1074"/>
                  </a:lnTo>
                  <a:lnTo>
                    <a:pt x="1254" y="1074"/>
                  </a:lnTo>
                  <a:lnTo>
                    <a:pt x="1236" y="1056"/>
                  </a:lnTo>
                  <a:lnTo>
                    <a:pt x="1224" y="1050"/>
                  </a:lnTo>
                  <a:lnTo>
                    <a:pt x="1212" y="1050"/>
                  </a:lnTo>
                  <a:lnTo>
                    <a:pt x="1206" y="1050"/>
                  </a:lnTo>
                  <a:lnTo>
                    <a:pt x="1200" y="1056"/>
                  </a:lnTo>
                  <a:lnTo>
                    <a:pt x="1194" y="1062"/>
                  </a:lnTo>
                  <a:lnTo>
                    <a:pt x="1188" y="1068"/>
                  </a:lnTo>
                  <a:lnTo>
                    <a:pt x="1188" y="1074"/>
                  </a:lnTo>
                  <a:lnTo>
                    <a:pt x="1176" y="1086"/>
                  </a:lnTo>
                  <a:lnTo>
                    <a:pt x="1170" y="1086"/>
                  </a:lnTo>
                  <a:lnTo>
                    <a:pt x="1170" y="1092"/>
                  </a:lnTo>
                  <a:lnTo>
                    <a:pt x="1164" y="1098"/>
                  </a:lnTo>
                  <a:lnTo>
                    <a:pt x="1158" y="1110"/>
                  </a:lnTo>
                  <a:lnTo>
                    <a:pt x="1152" y="1116"/>
                  </a:lnTo>
                  <a:lnTo>
                    <a:pt x="1152" y="1122"/>
                  </a:lnTo>
                  <a:lnTo>
                    <a:pt x="1146" y="1128"/>
                  </a:lnTo>
                  <a:lnTo>
                    <a:pt x="1152" y="1140"/>
                  </a:lnTo>
                  <a:lnTo>
                    <a:pt x="1158" y="1140"/>
                  </a:lnTo>
                  <a:lnTo>
                    <a:pt x="1164" y="1146"/>
                  </a:lnTo>
                  <a:lnTo>
                    <a:pt x="1164" y="1152"/>
                  </a:lnTo>
                  <a:lnTo>
                    <a:pt x="1170" y="1164"/>
                  </a:lnTo>
                  <a:lnTo>
                    <a:pt x="1164" y="1176"/>
                  </a:lnTo>
                  <a:lnTo>
                    <a:pt x="1170" y="1182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82" y="1218"/>
                  </a:lnTo>
                  <a:lnTo>
                    <a:pt x="1188" y="1218"/>
                  </a:lnTo>
                  <a:lnTo>
                    <a:pt x="1194" y="1218"/>
                  </a:lnTo>
                  <a:lnTo>
                    <a:pt x="1194" y="1224"/>
                  </a:lnTo>
                  <a:lnTo>
                    <a:pt x="1200" y="1230"/>
                  </a:lnTo>
                  <a:lnTo>
                    <a:pt x="1200" y="1248"/>
                  </a:lnTo>
                  <a:lnTo>
                    <a:pt x="1212" y="1266"/>
                  </a:lnTo>
                  <a:lnTo>
                    <a:pt x="1218" y="1278"/>
                  </a:lnTo>
                  <a:lnTo>
                    <a:pt x="1224" y="1284"/>
                  </a:lnTo>
                  <a:lnTo>
                    <a:pt x="1236" y="1296"/>
                  </a:lnTo>
                  <a:lnTo>
                    <a:pt x="1242" y="1302"/>
                  </a:lnTo>
                  <a:lnTo>
                    <a:pt x="1242" y="1308"/>
                  </a:lnTo>
                  <a:lnTo>
                    <a:pt x="1272" y="1308"/>
                  </a:lnTo>
                  <a:lnTo>
                    <a:pt x="1296" y="1314"/>
                  </a:lnTo>
                  <a:lnTo>
                    <a:pt x="1320" y="1320"/>
                  </a:lnTo>
                  <a:lnTo>
                    <a:pt x="1338" y="1320"/>
                  </a:lnTo>
                  <a:lnTo>
                    <a:pt x="1356" y="1332"/>
                  </a:lnTo>
                  <a:lnTo>
                    <a:pt x="1368" y="1344"/>
                  </a:lnTo>
                  <a:lnTo>
                    <a:pt x="1374" y="1362"/>
                  </a:lnTo>
                  <a:lnTo>
                    <a:pt x="1368" y="1362"/>
                  </a:lnTo>
                  <a:lnTo>
                    <a:pt x="1368" y="1398"/>
                  </a:lnTo>
                  <a:lnTo>
                    <a:pt x="1368" y="1410"/>
                  </a:lnTo>
                  <a:lnTo>
                    <a:pt x="1368" y="1428"/>
                  </a:lnTo>
                  <a:lnTo>
                    <a:pt x="1368" y="1434"/>
                  </a:lnTo>
                  <a:lnTo>
                    <a:pt x="1368" y="1440"/>
                  </a:lnTo>
                  <a:lnTo>
                    <a:pt x="1374" y="1446"/>
                  </a:lnTo>
                  <a:lnTo>
                    <a:pt x="1374" y="1452"/>
                  </a:lnTo>
                  <a:lnTo>
                    <a:pt x="1380" y="1458"/>
                  </a:lnTo>
                  <a:lnTo>
                    <a:pt x="1386" y="1464"/>
                  </a:lnTo>
                  <a:lnTo>
                    <a:pt x="1386" y="1470"/>
                  </a:lnTo>
                  <a:lnTo>
                    <a:pt x="1380" y="1476"/>
                  </a:lnTo>
                  <a:lnTo>
                    <a:pt x="1374" y="1482"/>
                  </a:lnTo>
                  <a:lnTo>
                    <a:pt x="1362" y="1500"/>
                  </a:lnTo>
                  <a:lnTo>
                    <a:pt x="1362" y="1506"/>
                  </a:lnTo>
                  <a:lnTo>
                    <a:pt x="1362" y="1512"/>
                  </a:lnTo>
                  <a:lnTo>
                    <a:pt x="1362" y="1518"/>
                  </a:lnTo>
                  <a:lnTo>
                    <a:pt x="1362" y="1524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38" y="1548"/>
                  </a:lnTo>
                  <a:lnTo>
                    <a:pt x="1296" y="1548"/>
                  </a:lnTo>
                  <a:lnTo>
                    <a:pt x="1290" y="1554"/>
                  </a:lnTo>
                  <a:lnTo>
                    <a:pt x="1284" y="1560"/>
                  </a:lnTo>
                  <a:lnTo>
                    <a:pt x="1284" y="1566"/>
                  </a:lnTo>
                  <a:lnTo>
                    <a:pt x="1290" y="1578"/>
                  </a:lnTo>
                  <a:lnTo>
                    <a:pt x="1296" y="1590"/>
                  </a:lnTo>
                  <a:lnTo>
                    <a:pt x="1302" y="1590"/>
                  </a:lnTo>
                  <a:lnTo>
                    <a:pt x="1308" y="1596"/>
                  </a:lnTo>
                  <a:lnTo>
                    <a:pt x="1320" y="1602"/>
                  </a:lnTo>
                  <a:lnTo>
                    <a:pt x="1326" y="1602"/>
                  </a:lnTo>
                  <a:lnTo>
                    <a:pt x="1326" y="1608"/>
                  </a:lnTo>
                  <a:lnTo>
                    <a:pt x="1332" y="1614"/>
                  </a:lnTo>
                  <a:lnTo>
                    <a:pt x="1344" y="1620"/>
                  </a:lnTo>
                  <a:lnTo>
                    <a:pt x="1356" y="1626"/>
                  </a:lnTo>
                  <a:lnTo>
                    <a:pt x="1356" y="1632"/>
                  </a:lnTo>
                  <a:lnTo>
                    <a:pt x="1356" y="1638"/>
                  </a:lnTo>
                  <a:lnTo>
                    <a:pt x="1362" y="1644"/>
                  </a:lnTo>
                  <a:lnTo>
                    <a:pt x="1368" y="1644"/>
                  </a:lnTo>
                  <a:lnTo>
                    <a:pt x="1380" y="1650"/>
                  </a:lnTo>
                  <a:lnTo>
                    <a:pt x="1386" y="1650"/>
                  </a:lnTo>
                  <a:lnTo>
                    <a:pt x="1386" y="1656"/>
                  </a:lnTo>
                  <a:lnTo>
                    <a:pt x="1392" y="1656"/>
                  </a:lnTo>
                  <a:lnTo>
                    <a:pt x="1398" y="1662"/>
                  </a:lnTo>
                  <a:lnTo>
                    <a:pt x="1410" y="1674"/>
                  </a:lnTo>
                  <a:lnTo>
                    <a:pt x="1428" y="1680"/>
                  </a:lnTo>
                  <a:lnTo>
                    <a:pt x="1428" y="1686"/>
                  </a:lnTo>
                  <a:lnTo>
                    <a:pt x="1428" y="1698"/>
                  </a:lnTo>
                  <a:lnTo>
                    <a:pt x="1434" y="1704"/>
                  </a:lnTo>
                  <a:lnTo>
                    <a:pt x="1434" y="1710"/>
                  </a:lnTo>
                  <a:lnTo>
                    <a:pt x="1440" y="1710"/>
                  </a:lnTo>
                  <a:lnTo>
                    <a:pt x="1446" y="1710"/>
                  </a:lnTo>
                  <a:lnTo>
                    <a:pt x="1446" y="1716"/>
                  </a:lnTo>
                  <a:lnTo>
                    <a:pt x="1440" y="1722"/>
                  </a:lnTo>
                  <a:lnTo>
                    <a:pt x="1440" y="1728"/>
                  </a:lnTo>
                  <a:lnTo>
                    <a:pt x="1440" y="1734"/>
                  </a:lnTo>
                  <a:lnTo>
                    <a:pt x="1440" y="1740"/>
                  </a:lnTo>
                  <a:lnTo>
                    <a:pt x="1440" y="1746"/>
                  </a:lnTo>
                  <a:lnTo>
                    <a:pt x="1440" y="1788"/>
                  </a:lnTo>
                  <a:lnTo>
                    <a:pt x="1440" y="1800"/>
                  </a:lnTo>
                  <a:lnTo>
                    <a:pt x="1440" y="1806"/>
                  </a:lnTo>
                  <a:lnTo>
                    <a:pt x="1440" y="1836"/>
                  </a:lnTo>
                  <a:lnTo>
                    <a:pt x="1440" y="1848"/>
                  </a:lnTo>
                  <a:lnTo>
                    <a:pt x="1446" y="1848"/>
                  </a:lnTo>
                  <a:lnTo>
                    <a:pt x="1446" y="1854"/>
                  </a:lnTo>
                  <a:lnTo>
                    <a:pt x="1452" y="1848"/>
                  </a:lnTo>
                  <a:lnTo>
                    <a:pt x="1458" y="1854"/>
                  </a:lnTo>
                  <a:lnTo>
                    <a:pt x="1452" y="1860"/>
                  </a:lnTo>
                  <a:lnTo>
                    <a:pt x="1452" y="1866"/>
                  </a:lnTo>
                  <a:lnTo>
                    <a:pt x="1458" y="1872"/>
                  </a:lnTo>
                  <a:lnTo>
                    <a:pt x="1464" y="1884"/>
                  </a:lnTo>
                  <a:lnTo>
                    <a:pt x="1428" y="1878"/>
                  </a:lnTo>
                  <a:lnTo>
                    <a:pt x="1356" y="1890"/>
                  </a:lnTo>
                  <a:lnTo>
                    <a:pt x="1296" y="1926"/>
                  </a:lnTo>
                  <a:lnTo>
                    <a:pt x="1266" y="1944"/>
                  </a:lnTo>
                  <a:lnTo>
                    <a:pt x="1224" y="1944"/>
                  </a:lnTo>
                  <a:lnTo>
                    <a:pt x="1188" y="1956"/>
                  </a:lnTo>
                  <a:lnTo>
                    <a:pt x="1188" y="1950"/>
                  </a:lnTo>
                  <a:lnTo>
                    <a:pt x="1176" y="1944"/>
                  </a:lnTo>
                  <a:lnTo>
                    <a:pt x="1176" y="1938"/>
                  </a:lnTo>
                  <a:lnTo>
                    <a:pt x="1170" y="1938"/>
                  </a:lnTo>
                  <a:lnTo>
                    <a:pt x="1164" y="1932"/>
                  </a:lnTo>
                  <a:lnTo>
                    <a:pt x="1158" y="1926"/>
                  </a:lnTo>
                  <a:lnTo>
                    <a:pt x="1158" y="1920"/>
                  </a:lnTo>
                  <a:lnTo>
                    <a:pt x="1152" y="1920"/>
                  </a:lnTo>
                  <a:lnTo>
                    <a:pt x="1146" y="1914"/>
                  </a:lnTo>
                  <a:lnTo>
                    <a:pt x="1146" y="1908"/>
                  </a:lnTo>
                  <a:lnTo>
                    <a:pt x="1140" y="1908"/>
                  </a:lnTo>
                  <a:lnTo>
                    <a:pt x="1134" y="1902"/>
                  </a:lnTo>
                  <a:lnTo>
                    <a:pt x="1134" y="1896"/>
                  </a:lnTo>
                  <a:lnTo>
                    <a:pt x="1116" y="1896"/>
                  </a:lnTo>
                  <a:lnTo>
                    <a:pt x="1104" y="1884"/>
                  </a:lnTo>
                  <a:lnTo>
                    <a:pt x="1092" y="1860"/>
                  </a:lnTo>
                  <a:lnTo>
                    <a:pt x="1068" y="1854"/>
                  </a:lnTo>
                  <a:lnTo>
                    <a:pt x="1032" y="1842"/>
                  </a:lnTo>
                  <a:lnTo>
                    <a:pt x="1008" y="1836"/>
                  </a:lnTo>
                  <a:lnTo>
                    <a:pt x="978" y="1824"/>
                  </a:lnTo>
                  <a:lnTo>
                    <a:pt x="942" y="1818"/>
                  </a:lnTo>
                  <a:lnTo>
                    <a:pt x="924" y="1806"/>
                  </a:lnTo>
                  <a:lnTo>
                    <a:pt x="906" y="1788"/>
                  </a:lnTo>
                  <a:lnTo>
                    <a:pt x="894" y="1776"/>
                  </a:lnTo>
                  <a:lnTo>
                    <a:pt x="864" y="1758"/>
                  </a:lnTo>
                  <a:lnTo>
                    <a:pt x="834" y="1752"/>
                  </a:lnTo>
                  <a:lnTo>
                    <a:pt x="798" y="1746"/>
                  </a:lnTo>
                  <a:lnTo>
                    <a:pt x="792" y="1806"/>
                  </a:lnTo>
                  <a:lnTo>
                    <a:pt x="798" y="1812"/>
                  </a:lnTo>
                  <a:lnTo>
                    <a:pt x="810" y="1830"/>
                  </a:lnTo>
                  <a:lnTo>
                    <a:pt x="792" y="1842"/>
                  </a:lnTo>
                  <a:lnTo>
                    <a:pt x="768" y="1842"/>
                  </a:lnTo>
                  <a:lnTo>
                    <a:pt x="708" y="1848"/>
                  </a:lnTo>
                  <a:lnTo>
                    <a:pt x="690" y="1860"/>
                  </a:lnTo>
                  <a:lnTo>
                    <a:pt x="690" y="1866"/>
                  </a:lnTo>
                  <a:lnTo>
                    <a:pt x="678" y="1878"/>
                  </a:lnTo>
                  <a:lnTo>
                    <a:pt x="660" y="1884"/>
                  </a:lnTo>
                  <a:lnTo>
                    <a:pt x="660" y="1902"/>
                  </a:lnTo>
                  <a:lnTo>
                    <a:pt x="642" y="1902"/>
                  </a:lnTo>
                  <a:lnTo>
                    <a:pt x="582" y="1914"/>
                  </a:lnTo>
                  <a:lnTo>
                    <a:pt x="534" y="1908"/>
                  </a:lnTo>
                  <a:lnTo>
                    <a:pt x="510" y="1908"/>
                  </a:lnTo>
                  <a:lnTo>
                    <a:pt x="510" y="1896"/>
                  </a:lnTo>
                  <a:lnTo>
                    <a:pt x="492" y="1896"/>
                  </a:lnTo>
                  <a:lnTo>
                    <a:pt x="486" y="1902"/>
                  </a:lnTo>
                  <a:lnTo>
                    <a:pt x="474" y="1908"/>
                  </a:lnTo>
                  <a:lnTo>
                    <a:pt x="450" y="1908"/>
                  </a:lnTo>
                  <a:lnTo>
                    <a:pt x="432" y="1902"/>
                  </a:lnTo>
                  <a:lnTo>
                    <a:pt x="426" y="1896"/>
                  </a:lnTo>
                  <a:lnTo>
                    <a:pt x="402" y="1884"/>
                  </a:lnTo>
                  <a:lnTo>
                    <a:pt x="390" y="1872"/>
                  </a:lnTo>
                  <a:lnTo>
                    <a:pt x="384" y="1872"/>
                  </a:lnTo>
                  <a:lnTo>
                    <a:pt x="378" y="1872"/>
                  </a:lnTo>
                  <a:lnTo>
                    <a:pt x="378" y="1866"/>
                  </a:lnTo>
                  <a:lnTo>
                    <a:pt x="372" y="1860"/>
                  </a:lnTo>
                  <a:lnTo>
                    <a:pt x="372" y="1854"/>
                  </a:lnTo>
                  <a:lnTo>
                    <a:pt x="366" y="1842"/>
                  </a:lnTo>
                  <a:lnTo>
                    <a:pt x="366" y="1836"/>
                  </a:lnTo>
                  <a:lnTo>
                    <a:pt x="348" y="1830"/>
                  </a:lnTo>
                  <a:lnTo>
                    <a:pt x="348" y="1806"/>
                  </a:lnTo>
                  <a:lnTo>
                    <a:pt x="348" y="1800"/>
                  </a:lnTo>
                  <a:lnTo>
                    <a:pt x="348" y="1782"/>
                  </a:lnTo>
                  <a:lnTo>
                    <a:pt x="336" y="1788"/>
                  </a:lnTo>
                  <a:lnTo>
                    <a:pt x="312" y="1794"/>
                  </a:lnTo>
                  <a:lnTo>
                    <a:pt x="288" y="1788"/>
                  </a:lnTo>
                  <a:lnTo>
                    <a:pt x="264" y="1758"/>
                  </a:lnTo>
                  <a:lnTo>
                    <a:pt x="270" y="1758"/>
                  </a:lnTo>
                  <a:lnTo>
                    <a:pt x="270" y="1752"/>
                  </a:lnTo>
                  <a:lnTo>
                    <a:pt x="276" y="1752"/>
                  </a:lnTo>
                  <a:lnTo>
                    <a:pt x="282" y="1746"/>
                  </a:lnTo>
                  <a:lnTo>
                    <a:pt x="300" y="1746"/>
                  </a:lnTo>
                  <a:lnTo>
                    <a:pt x="312" y="1746"/>
                  </a:lnTo>
                  <a:lnTo>
                    <a:pt x="336" y="1710"/>
                  </a:lnTo>
                  <a:lnTo>
                    <a:pt x="342" y="1692"/>
                  </a:lnTo>
                  <a:lnTo>
                    <a:pt x="348" y="1680"/>
                  </a:lnTo>
                  <a:lnTo>
                    <a:pt x="342" y="1650"/>
                  </a:lnTo>
                  <a:lnTo>
                    <a:pt x="354" y="1644"/>
                  </a:lnTo>
                  <a:lnTo>
                    <a:pt x="354" y="1638"/>
                  </a:lnTo>
                  <a:lnTo>
                    <a:pt x="360" y="1632"/>
                  </a:lnTo>
                  <a:lnTo>
                    <a:pt x="354" y="1626"/>
                  </a:lnTo>
                  <a:lnTo>
                    <a:pt x="348" y="1626"/>
                  </a:lnTo>
                  <a:lnTo>
                    <a:pt x="348" y="1620"/>
                  </a:lnTo>
                  <a:lnTo>
                    <a:pt x="342" y="1620"/>
                  </a:lnTo>
                  <a:lnTo>
                    <a:pt x="348" y="1614"/>
                  </a:lnTo>
                  <a:lnTo>
                    <a:pt x="324" y="1566"/>
                  </a:lnTo>
                  <a:lnTo>
                    <a:pt x="318" y="1566"/>
                  </a:lnTo>
                  <a:lnTo>
                    <a:pt x="306" y="1572"/>
                  </a:lnTo>
                  <a:lnTo>
                    <a:pt x="300" y="1572"/>
                  </a:lnTo>
                  <a:lnTo>
                    <a:pt x="294" y="1578"/>
                  </a:lnTo>
                  <a:lnTo>
                    <a:pt x="288" y="1584"/>
                  </a:lnTo>
                  <a:lnTo>
                    <a:pt x="282" y="1584"/>
                  </a:lnTo>
                  <a:lnTo>
                    <a:pt x="282" y="1578"/>
                  </a:lnTo>
                  <a:lnTo>
                    <a:pt x="276" y="1578"/>
                  </a:lnTo>
                  <a:lnTo>
                    <a:pt x="270" y="1578"/>
                  </a:lnTo>
                  <a:lnTo>
                    <a:pt x="264" y="1578"/>
                  </a:lnTo>
                  <a:lnTo>
                    <a:pt x="258" y="1578"/>
                  </a:lnTo>
                  <a:lnTo>
                    <a:pt x="252" y="1578"/>
                  </a:lnTo>
                  <a:lnTo>
                    <a:pt x="252" y="1584"/>
                  </a:lnTo>
                  <a:lnTo>
                    <a:pt x="246" y="1584"/>
                  </a:lnTo>
                  <a:lnTo>
                    <a:pt x="210" y="1584"/>
                  </a:lnTo>
                  <a:lnTo>
                    <a:pt x="204" y="1584"/>
                  </a:lnTo>
                  <a:lnTo>
                    <a:pt x="192" y="1584"/>
                  </a:lnTo>
                  <a:lnTo>
                    <a:pt x="168" y="1596"/>
                  </a:lnTo>
                  <a:lnTo>
                    <a:pt x="156" y="1572"/>
                  </a:lnTo>
                  <a:lnTo>
                    <a:pt x="156" y="1566"/>
                  </a:lnTo>
                  <a:lnTo>
                    <a:pt x="156" y="1560"/>
                  </a:lnTo>
                  <a:lnTo>
                    <a:pt x="162" y="1548"/>
                  </a:lnTo>
                  <a:lnTo>
                    <a:pt x="162" y="1542"/>
                  </a:lnTo>
                  <a:lnTo>
                    <a:pt x="162" y="1536"/>
                  </a:lnTo>
                  <a:lnTo>
                    <a:pt x="168" y="1530"/>
                  </a:lnTo>
                  <a:lnTo>
                    <a:pt x="168" y="1524"/>
                  </a:lnTo>
                  <a:lnTo>
                    <a:pt x="168" y="1518"/>
                  </a:lnTo>
                  <a:lnTo>
                    <a:pt x="174" y="1518"/>
                  </a:lnTo>
                  <a:lnTo>
                    <a:pt x="174" y="1506"/>
                  </a:lnTo>
                  <a:lnTo>
                    <a:pt x="156" y="1470"/>
                  </a:lnTo>
                  <a:lnTo>
                    <a:pt x="138" y="1464"/>
                  </a:lnTo>
                  <a:lnTo>
                    <a:pt x="126" y="1446"/>
                  </a:lnTo>
                  <a:lnTo>
                    <a:pt x="126" y="1440"/>
                  </a:lnTo>
                  <a:lnTo>
                    <a:pt x="126" y="1434"/>
                  </a:lnTo>
                  <a:lnTo>
                    <a:pt x="120" y="1428"/>
                  </a:lnTo>
                  <a:lnTo>
                    <a:pt x="126" y="1398"/>
                  </a:lnTo>
                  <a:lnTo>
                    <a:pt x="120" y="1374"/>
                  </a:lnTo>
                  <a:lnTo>
                    <a:pt x="60" y="1374"/>
                  </a:lnTo>
                  <a:lnTo>
                    <a:pt x="60" y="1368"/>
                  </a:lnTo>
                  <a:lnTo>
                    <a:pt x="54" y="1362"/>
                  </a:lnTo>
                  <a:lnTo>
                    <a:pt x="48" y="1356"/>
                  </a:lnTo>
                  <a:lnTo>
                    <a:pt x="42" y="1356"/>
                  </a:lnTo>
                  <a:lnTo>
                    <a:pt x="42" y="1350"/>
                  </a:lnTo>
                  <a:lnTo>
                    <a:pt x="36" y="1344"/>
                  </a:lnTo>
                  <a:lnTo>
                    <a:pt x="36" y="1338"/>
                  </a:lnTo>
                  <a:lnTo>
                    <a:pt x="30" y="1332"/>
                  </a:lnTo>
                  <a:lnTo>
                    <a:pt x="30" y="1326"/>
                  </a:lnTo>
                  <a:lnTo>
                    <a:pt x="18" y="1326"/>
                  </a:lnTo>
                  <a:lnTo>
                    <a:pt x="18" y="1320"/>
                  </a:lnTo>
                  <a:lnTo>
                    <a:pt x="18" y="1326"/>
                  </a:lnTo>
                  <a:lnTo>
                    <a:pt x="6" y="1320"/>
                  </a:lnTo>
                  <a:lnTo>
                    <a:pt x="0" y="1314"/>
                  </a:lnTo>
                  <a:lnTo>
                    <a:pt x="12" y="1266"/>
                  </a:lnTo>
                  <a:lnTo>
                    <a:pt x="6" y="1242"/>
                  </a:lnTo>
                  <a:lnTo>
                    <a:pt x="12" y="1236"/>
                  </a:lnTo>
                  <a:lnTo>
                    <a:pt x="12" y="1230"/>
                  </a:lnTo>
                  <a:lnTo>
                    <a:pt x="18" y="1230"/>
                  </a:lnTo>
                  <a:lnTo>
                    <a:pt x="18" y="1224"/>
                  </a:lnTo>
                  <a:lnTo>
                    <a:pt x="24" y="1218"/>
                  </a:lnTo>
                  <a:lnTo>
                    <a:pt x="24" y="1212"/>
                  </a:lnTo>
                  <a:lnTo>
                    <a:pt x="30" y="1212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48" y="1188"/>
                  </a:lnTo>
                  <a:lnTo>
                    <a:pt x="48" y="1182"/>
                  </a:lnTo>
                  <a:lnTo>
                    <a:pt x="48" y="1176"/>
                  </a:lnTo>
                  <a:lnTo>
                    <a:pt x="48" y="1170"/>
                  </a:lnTo>
                  <a:lnTo>
                    <a:pt x="54" y="1170"/>
                  </a:lnTo>
                  <a:lnTo>
                    <a:pt x="60" y="1164"/>
                  </a:lnTo>
                  <a:lnTo>
                    <a:pt x="60" y="1158"/>
                  </a:lnTo>
                  <a:lnTo>
                    <a:pt x="66" y="1152"/>
                  </a:lnTo>
                  <a:lnTo>
                    <a:pt x="60" y="1140"/>
                  </a:lnTo>
                  <a:lnTo>
                    <a:pt x="60" y="1134"/>
                  </a:lnTo>
                  <a:lnTo>
                    <a:pt x="54" y="1134"/>
                  </a:lnTo>
                  <a:lnTo>
                    <a:pt x="54" y="1128"/>
                  </a:lnTo>
                  <a:lnTo>
                    <a:pt x="48" y="1122"/>
                  </a:lnTo>
                  <a:lnTo>
                    <a:pt x="48" y="1116"/>
                  </a:lnTo>
                  <a:lnTo>
                    <a:pt x="48" y="1110"/>
                  </a:lnTo>
                  <a:lnTo>
                    <a:pt x="42" y="1104"/>
                  </a:lnTo>
                  <a:lnTo>
                    <a:pt x="42" y="1098"/>
                  </a:lnTo>
                  <a:lnTo>
                    <a:pt x="36" y="1092"/>
                  </a:lnTo>
                  <a:lnTo>
                    <a:pt x="30" y="1092"/>
                  </a:lnTo>
                  <a:lnTo>
                    <a:pt x="24" y="1092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18" y="1080"/>
                  </a:lnTo>
                  <a:lnTo>
                    <a:pt x="18" y="1074"/>
                  </a:lnTo>
                  <a:lnTo>
                    <a:pt x="12" y="1068"/>
                  </a:lnTo>
                  <a:lnTo>
                    <a:pt x="6" y="1068"/>
                  </a:lnTo>
                  <a:lnTo>
                    <a:pt x="12" y="1056"/>
                  </a:lnTo>
                  <a:lnTo>
                    <a:pt x="6" y="1056"/>
                  </a:lnTo>
                  <a:lnTo>
                    <a:pt x="6" y="1050"/>
                  </a:lnTo>
                  <a:lnTo>
                    <a:pt x="6" y="1044"/>
                  </a:lnTo>
                  <a:lnTo>
                    <a:pt x="6" y="1026"/>
                  </a:lnTo>
                  <a:lnTo>
                    <a:pt x="12" y="1020"/>
                  </a:lnTo>
                  <a:lnTo>
                    <a:pt x="12" y="1014"/>
                  </a:lnTo>
                  <a:lnTo>
                    <a:pt x="18" y="1014"/>
                  </a:lnTo>
                  <a:lnTo>
                    <a:pt x="18" y="1008"/>
                  </a:lnTo>
                  <a:lnTo>
                    <a:pt x="18" y="1002"/>
                  </a:lnTo>
                  <a:lnTo>
                    <a:pt x="18" y="990"/>
                  </a:lnTo>
                  <a:lnTo>
                    <a:pt x="12" y="972"/>
                  </a:lnTo>
                  <a:lnTo>
                    <a:pt x="18" y="954"/>
                  </a:lnTo>
                  <a:lnTo>
                    <a:pt x="18" y="948"/>
                  </a:lnTo>
                  <a:lnTo>
                    <a:pt x="24" y="948"/>
                  </a:lnTo>
                  <a:lnTo>
                    <a:pt x="24" y="930"/>
                  </a:lnTo>
                  <a:lnTo>
                    <a:pt x="30" y="930"/>
                  </a:lnTo>
                  <a:lnTo>
                    <a:pt x="36" y="918"/>
                  </a:lnTo>
                  <a:lnTo>
                    <a:pt x="42" y="918"/>
                  </a:lnTo>
                  <a:lnTo>
                    <a:pt x="48" y="918"/>
                  </a:lnTo>
                  <a:lnTo>
                    <a:pt x="78" y="912"/>
                  </a:lnTo>
                  <a:lnTo>
                    <a:pt x="90" y="894"/>
                  </a:lnTo>
                  <a:lnTo>
                    <a:pt x="96" y="894"/>
                  </a:lnTo>
                  <a:lnTo>
                    <a:pt x="102" y="888"/>
                  </a:lnTo>
                  <a:lnTo>
                    <a:pt x="102" y="882"/>
                  </a:lnTo>
                  <a:lnTo>
                    <a:pt x="114" y="870"/>
                  </a:lnTo>
                  <a:lnTo>
                    <a:pt x="120" y="864"/>
                  </a:lnTo>
                  <a:lnTo>
                    <a:pt x="120" y="852"/>
                  </a:lnTo>
                  <a:lnTo>
                    <a:pt x="120" y="846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32" y="840"/>
                  </a:lnTo>
                  <a:lnTo>
                    <a:pt x="138" y="840"/>
                  </a:lnTo>
                  <a:lnTo>
                    <a:pt x="138" y="834"/>
                  </a:lnTo>
                  <a:lnTo>
                    <a:pt x="144" y="834"/>
                  </a:lnTo>
                  <a:lnTo>
                    <a:pt x="144" y="828"/>
                  </a:lnTo>
                  <a:lnTo>
                    <a:pt x="150" y="828"/>
                  </a:lnTo>
                  <a:lnTo>
                    <a:pt x="156" y="822"/>
                  </a:lnTo>
                  <a:lnTo>
                    <a:pt x="162" y="816"/>
                  </a:lnTo>
                  <a:lnTo>
                    <a:pt x="162" y="822"/>
                  </a:lnTo>
                  <a:lnTo>
                    <a:pt x="162" y="816"/>
                  </a:lnTo>
                  <a:lnTo>
                    <a:pt x="162" y="810"/>
                  </a:lnTo>
                  <a:lnTo>
                    <a:pt x="168" y="810"/>
                  </a:lnTo>
                  <a:lnTo>
                    <a:pt x="174" y="804"/>
                  </a:lnTo>
                  <a:lnTo>
                    <a:pt x="180" y="798"/>
                  </a:lnTo>
                  <a:lnTo>
                    <a:pt x="180" y="786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8" y="780"/>
                  </a:lnTo>
                  <a:lnTo>
                    <a:pt x="204" y="774"/>
                  </a:lnTo>
                  <a:lnTo>
                    <a:pt x="210" y="774"/>
                  </a:lnTo>
                  <a:lnTo>
                    <a:pt x="216" y="768"/>
                  </a:lnTo>
                  <a:lnTo>
                    <a:pt x="222" y="762"/>
                  </a:lnTo>
                  <a:lnTo>
                    <a:pt x="228" y="762"/>
                  </a:lnTo>
                  <a:lnTo>
                    <a:pt x="228" y="768"/>
                  </a:lnTo>
                  <a:lnTo>
                    <a:pt x="234" y="768"/>
                  </a:lnTo>
                  <a:lnTo>
                    <a:pt x="240" y="762"/>
                  </a:lnTo>
                  <a:lnTo>
                    <a:pt x="252" y="762"/>
                  </a:lnTo>
                  <a:lnTo>
                    <a:pt x="264" y="768"/>
                  </a:lnTo>
                  <a:lnTo>
                    <a:pt x="294" y="756"/>
                  </a:lnTo>
                  <a:lnTo>
                    <a:pt x="294" y="750"/>
                  </a:lnTo>
                  <a:lnTo>
                    <a:pt x="300" y="750"/>
                  </a:lnTo>
                  <a:lnTo>
                    <a:pt x="306" y="744"/>
                  </a:lnTo>
                  <a:lnTo>
                    <a:pt x="342" y="750"/>
                  </a:lnTo>
                  <a:lnTo>
                    <a:pt x="348" y="750"/>
                  </a:lnTo>
                  <a:lnTo>
                    <a:pt x="348" y="744"/>
                  </a:lnTo>
                  <a:lnTo>
                    <a:pt x="354" y="744"/>
                  </a:lnTo>
                  <a:lnTo>
                    <a:pt x="360" y="744"/>
                  </a:lnTo>
                  <a:lnTo>
                    <a:pt x="360" y="750"/>
                  </a:lnTo>
                  <a:lnTo>
                    <a:pt x="366" y="750"/>
                  </a:lnTo>
                  <a:lnTo>
                    <a:pt x="366" y="744"/>
                  </a:lnTo>
                  <a:lnTo>
                    <a:pt x="366" y="738"/>
                  </a:lnTo>
                  <a:lnTo>
                    <a:pt x="372" y="744"/>
                  </a:lnTo>
                  <a:lnTo>
                    <a:pt x="378" y="744"/>
                  </a:lnTo>
                  <a:lnTo>
                    <a:pt x="384" y="750"/>
                  </a:lnTo>
                  <a:lnTo>
                    <a:pt x="444" y="774"/>
                  </a:lnTo>
                  <a:lnTo>
                    <a:pt x="450" y="774"/>
                  </a:lnTo>
                  <a:lnTo>
                    <a:pt x="456" y="768"/>
                  </a:lnTo>
                  <a:lnTo>
                    <a:pt x="462" y="768"/>
                  </a:lnTo>
                  <a:lnTo>
                    <a:pt x="462" y="762"/>
                  </a:lnTo>
                  <a:lnTo>
                    <a:pt x="468" y="762"/>
                  </a:lnTo>
                  <a:lnTo>
                    <a:pt x="474" y="756"/>
                  </a:lnTo>
                  <a:lnTo>
                    <a:pt x="480" y="750"/>
                  </a:lnTo>
                  <a:lnTo>
                    <a:pt x="516" y="756"/>
                  </a:lnTo>
                  <a:lnTo>
                    <a:pt x="522" y="756"/>
                  </a:lnTo>
                  <a:lnTo>
                    <a:pt x="522" y="762"/>
                  </a:lnTo>
                  <a:lnTo>
                    <a:pt x="522" y="768"/>
                  </a:lnTo>
                  <a:lnTo>
                    <a:pt x="522" y="774"/>
                  </a:lnTo>
                  <a:lnTo>
                    <a:pt x="528" y="780"/>
                  </a:lnTo>
                  <a:lnTo>
                    <a:pt x="540" y="780"/>
                  </a:lnTo>
                  <a:lnTo>
                    <a:pt x="540" y="804"/>
                  </a:lnTo>
                  <a:lnTo>
                    <a:pt x="540" y="810"/>
                  </a:lnTo>
                  <a:lnTo>
                    <a:pt x="546" y="810"/>
                  </a:lnTo>
                  <a:lnTo>
                    <a:pt x="552" y="810"/>
                  </a:lnTo>
                  <a:lnTo>
                    <a:pt x="558" y="810"/>
                  </a:lnTo>
                  <a:lnTo>
                    <a:pt x="564" y="810"/>
                  </a:lnTo>
                  <a:lnTo>
                    <a:pt x="570" y="810"/>
                  </a:lnTo>
                  <a:lnTo>
                    <a:pt x="576" y="810"/>
                  </a:lnTo>
                  <a:lnTo>
                    <a:pt x="576" y="816"/>
                  </a:lnTo>
                  <a:lnTo>
                    <a:pt x="588" y="816"/>
                  </a:lnTo>
                  <a:lnTo>
                    <a:pt x="594" y="816"/>
                  </a:lnTo>
                  <a:lnTo>
                    <a:pt x="600" y="822"/>
                  </a:lnTo>
                  <a:lnTo>
                    <a:pt x="606" y="816"/>
                  </a:lnTo>
                  <a:lnTo>
                    <a:pt x="612" y="816"/>
                  </a:lnTo>
                  <a:lnTo>
                    <a:pt x="612" y="810"/>
                  </a:lnTo>
                  <a:lnTo>
                    <a:pt x="624" y="810"/>
                  </a:lnTo>
                  <a:lnTo>
                    <a:pt x="624" y="804"/>
                  </a:lnTo>
                  <a:lnTo>
                    <a:pt x="630" y="798"/>
                  </a:lnTo>
                  <a:lnTo>
                    <a:pt x="636" y="798"/>
                  </a:lnTo>
                  <a:lnTo>
                    <a:pt x="636" y="804"/>
                  </a:lnTo>
                  <a:lnTo>
                    <a:pt x="642" y="804"/>
                  </a:lnTo>
                  <a:lnTo>
                    <a:pt x="648" y="804"/>
                  </a:lnTo>
                  <a:lnTo>
                    <a:pt x="654" y="804"/>
                  </a:lnTo>
                  <a:lnTo>
                    <a:pt x="660" y="804"/>
                  </a:lnTo>
                  <a:lnTo>
                    <a:pt x="678" y="798"/>
                  </a:lnTo>
                  <a:lnTo>
                    <a:pt x="714" y="786"/>
                  </a:lnTo>
                  <a:lnTo>
                    <a:pt x="714" y="792"/>
                  </a:lnTo>
                  <a:lnTo>
                    <a:pt x="714" y="798"/>
                  </a:lnTo>
                  <a:lnTo>
                    <a:pt x="714" y="804"/>
                  </a:lnTo>
                  <a:lnTo>
                    <a:pt x="720" y="804"/>
                  </a:lnTo>
                  <a:lnTo>
                    <a:pt x="720" y="810"/>
                  </a:lnTo>
                  <a:lnTo>
                    <a:pt x="720" y="816"/>
                  </a:lnTo>
                  <a:lnTo>
                    <a:pt x="726" y="822"/>
                  </a:lnTo>
                  <a:lnTo>
                    <a:pt x="732" y="828"/>
                  </a:lnTo>
                  <a:lnTo>
                    <a:pt x="732" y="834"/>
                  </a:lnTo>
                  <a:lnTo>
                    <a:pt x="732" y="846"/>
                  </a:lnTo>
                  <a:lnTo>
                    <a:pt x="732" y="858"/>
                  </a:lnTo>
                  <a:lnTo>
                    <a:pt x="738" y="858"/>
                  </a:lnTo>
                  <a:lnTo>
                    <a:pt x="732" y="864"/>
                  </a:lnTo>
                  <a:lnTo>
                    <a:pt x="732" y="870"/>
                  </a:lnTo>
                  <a:lnTo>
                    <a:pt x="726" y="870"/>
                  </a:lnTo>
                  <a:lnTo>
                    <a:pt x="726" y="876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0" y="882"/>
                  </a:lnTo>
                  <a:lnTo>
                    <a:pt x="690" y="912"/>
                  </a:lnTo>
                  <a:lnTo>
                    <a:pt x="696" y="936"/>
                  </a:lnTo>
                  <a:lnTo>
                    <a:pt x="702" y="936"/>
                  </a:lnTo>
                  <a:lnTo>
                    <a:pt x="702" y="930"/>
                  </a:lnTo>
                  <a:lnTo>
                    <a:pt x="708" y="930"/>
                  </a:lnTo>
                  <a:lnTo>
                    <a:pt x="708" y="924"/>
                  </a:lnTo>
                  <a:lnTo>
                    <a:pt x="708" y="918"/>
                  </a:lnTo>
                  <a:lnTo>
                    <a:pt x="714" y="918"/>
                  </a:lnTo>
                  <a:lnTo>
                    <a:pt x="720" y="954"/>
                  </a:lnTo>
                  <a:lnTo>
                    <a:pt x="726" y="966"/>
                  </a:lnTo>
                  <a:lnTo>
                    <a:pt x="744" y="966"/>
                  </a:lnTo>
                  <a:lnTo>
                    <a:pt x="756" y="972"/>
                  </a:lnTo>
                  <a:lnTo>
                    <a:pt x="792" y="990"/>
                  </a:lnTo>
                  <a:lnTo>
                    <a:pt x="828" y="978"/>
                  </a:lnTo>
                  <a:lnTo>
                    <a:pt x="834" y="978"/>
                  </a:lnTo>
                  <a:lnTo>
                    <a:pt x="840" y="978"/>
                  </a:lnTo>
                  <a:lnTo>
                    <a:pt x="840" y="984"/>
                  </a:lnTo>
                  <a:lnTo>
                    <a:pt x="846" y="984"/>
                  </a:lnTo>
                  <a:lnTo>
                    <a:pt x="858" y="972"/>
                  </a:lnTo>
                  <a:lnTo>
                    <a:pt x="882" y="972"/>
                  </a:lnTo>
                  <a:lnTo>
                    <a:pt x="888" y="984"/>
                  </a:lnTo>
                  <a:lnTo>
                    <a:pt x="900" y="990"/>
                  </a:lnTo>
                  <a:lnTo>
                    <a:pt x="924" y="996"/>
                  </a:lnTo>
                  <a:lnTo>
                    <a:pt x="930" y="990"/>
                  </a:lnTo>
                  <a:lnTo>
                    <a:pt x="930" y="984"/>
                  </a:lnTo>
                  <a:lnTo>
                    <a:pt x="924" y="978"/>
                  </a:lnTo>
                  <a:lnTo>
                    <a:pt x="906" y="972"/>
                  </a:lnTo>
                  <a:lnTo>
                    <a:pt x="900" y="966"/>
                  </a:lnTo>
                  <a:lnTo>
                    <a:pt x="900" y="960"/>
                  </a:lnTo>
                  <a:lnTo>
                    <a:pt x="900" y="954"/>
                  </a:lnTo>
                  <a:lnTo>
                    <a:pt x="900" y="948"/>
                  </a:lnTo>
                  <a:lnTo>
                    <a:pt x="912" y="936"/>
                  </a:lnTo>
                  <a:lnTo>
                    <a:pt x="912" y="924"/>
                  </a:lnTo>
                  <a:lnTo>
                    <a:pt x="918" y="924"/>
                  </a:lnTo>
                  <a:lnTo>
                    <a:pt x="918" y="918"/>
                  </a:lnTo>
                  <a:lnTo>
                    <a:pt x="936" y="906"/>
                  </a:lnTo>
                  <a:lnTo>
                    <a:pt x="942" y="906"/>
                  </a:lnTo>
                  <a:lnTo>
                    <a:pt x="948" y="906"/>
                  </a:lnTo>
                  <a:lnTo>
                    <a:pt x="954" y="906"/>
                  </a:lnTo>
                  <a:lnTo>
                    <a:pt x="960" y="906"/>
                  </a:lnTo>
                  <a:lnTo>
                    <a:pt x="966" y="912"/>
                  </a:lnTo>
                  <a:lnTo>
                    <a:pt x="972" y="906"/>
                  </a:lnTo>
                  <a:lnTo>
                    <a:pt x="978" y="906"/>
                  </a:lnTo>
                  <a:lnTo>
                    <a:pt x="984" y="900"/>
                  </a:lnTo>
                  <a:lnTo>
                    <a:pt x="984" y="894"/>
                  </a:lnTo>
                  <a:lnTo>
                    <a:pt x="990" y="894"/>
                  </a:lnTo>
                  <a:lnTo>
                    <a:pt x="996" y="888"/>
                  </a:lnTo>
                  <a:lnTo>
                    <a:pt x="1002" y="888"/>
                  </a:lnTo>
                  <a:lnTo>
                    <a:pt x="1008" y="882"/>
                  </a:lnTo>
                  <a:lnTo>
                    <a:pt x="1014" y="882"/>
                  </a:lnTo>
                  <a:lnTo>
                    <a:pt x="1020" y="882"/>
                  </a:lnTo>
                  <a:lnTo>
                    <a:pt x="1020" y="888"/>
                  </a:lnTo>
                  <a:lnTo>
                    <a:pt x="1026" y="882"/>
                  </a:lnTo>
                  <a:lnTo>
                    <a:pt x="1026" y="876"/>
                  </a:lnTo>
                  <a:lnTo>
                    <a:pt x="1026" y="870"/>
                  </a:lnTo>
                  <a:lnTo>
                    <a:pt x="1032" y="864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44" y="852"/>
                  </a:lnTo>
                  <a:lnTo>
                    <a:pt x="1038" y="846"/>
                  </a:lnTo>
                  <a:lnTo>
                    <a:pt x="1038" y="840"/>
                  </a:lnTo>
                  <a:lnTo>
                    <a:pt x="1032" y="840"/>
                  </a:lnTo>
                  <a:lnTo>
                    <a:pt x="1026" y="840"/>
                  </a:lnTo>
                  <a:lnTo>
                    <a:pt x="1020" y="840"/>
                  </a:lnTo>
                  <a:lnTo>
                    <a:pt x="1014" y="846"/>
                  </a:lnTo>
                  <a:lnTo>
                    <a:pt x="1008" y="846"/>
                  </a:lnTo>
                  <a:lnTo>
                    <a:pt x="1002" y="840"/>
                  </a:lnTo>
                  <a:lnTo>
                    <a:pt x="996" y="840"/>
                  </a:lnTo>
                  <a:lnTo>
                    <a:pt x="990" y="834"/>
                  </a:lnTo>
                  <a:lnTo>
                    <a:pt x="984" y="834"/>
                  </a:lnTo>
                  <a:lnTo>
                    <a:pt x="978" y="834"/>
                  </a:lnTo>
                  <a:lnTo>
                    <a:pt x="972" y="834"/>
                  </a:lnTo>
                  <a:lnTo>
                    <a:pt x="966" y="834"/>
                  </a:lnTo>
                  <a:lnTo>
                    <a:pt x="966" y="828"/>
                  </a:lnTo>
                  <a:lnTo>
                    <a:pt x="960" y="828"/>
                  </a:lnTo>
                  <a:lnTo>
                    <a:pt x="954" y="828"/>
                  </a:lnTo>
                  <a:lnTo>
                    <a:pt x="942" y="828"/>
                  </a:lnTo>
                  <a:lnTo>
                    <a:pt x="936" y="828"/>
                  </a:lnTo>
                  <a:lnTo>
                    <a:pt x="930" y="828"/>
                  </a:lnTo>
                  <a:lnTo>
                    <a:pt x="918" y="828"/>
                  </a:lnTo>
                  <a:lnTo>
                    <a:pt x="918" y="822"/>
                  </a:lnTo>
                  <a:lnTo>
                    <a:pt x="912" y="828"/>
                  </a:lnTo>
                  <a:lnTo>
                    <a:pt x="912" y="822"/>
                  </a:lnTo>
                  <a:lnTo>
                    <a:pt x="906" y="816"/>
                  </a:lnTo>
                  <a:lnTo>
                    <a:pt x="900" y="816"/>
                  </a:lnTo>
                  <a:lnTo>
                    <a:pt x="894" y="816"/>
                  </a:lnTo>
                  <a:lnTo>
                    <a:pt x="888" y="816"/>
                  </a:lnTo>
                  <a:lnTo>
                    <a:pt x="882" y="816"/>
                  </a:lnTo>
                  <a:lnTo>
                    <a:pt x="882" y="810"/>
                  </a:lnTo>
                  <a:lnTo>
                    <a:pt x="876" y="804"/>
                  </a:lnTo>
                  <a:lnTo>
                    <a:pt x="870" y="804"/>
                  </a:lnTo>
                  <a:lnTo>
                    <a:pt x="864" y="798"/>
                  </a:lnTo>
                  <a:lnTo>
                    <a:pt x="858" y="798"/>
                  </a:lnTo>
                  <a:lnTo>
                    <a:pt x="858" y="804"/>
                  </a:lnTo>
                  <a:lnTo>
                    <a:pt x="852" y="804"/>
                  </a:lnTo>
                  <a:lnTo>
                    <a:pt x="846" y="804"/>
                  </a:lnTo>
                  <a:lnTo>
                    <a:pt x="846" y="798"/>
                  </a:lnTo>
                  <a:lnTo>
                    <a:pt x="840" y="804"/>
                  </a:lnTo>
                  <a:lnTo>
                    <a:pt x="834" y="804"/>
                  </a:lnTo>
                  <a:lnTo>
                    <a:pt x="828" y="804"/>
                  </a:lnTo>
                  <a:lnTo>
                    <a:pt x="828" y="810"/>
                  </a:lnTo>
                  <a:lnTo>
                    <a:pt x="822" y="810"/>
                  </a:lnTo>
                  <a:lnTo>
                    <a:pt x="810" y="804"/>
                  </a:lnTo>
                  <a:lnTo>
                    <a:pt x="810" y="798"/>
                  </a:lnTo>
                  <a:lnTo>
                    <a:pt x="780" y="798"/>
                  </a:lnTo>
                  <a:lnTo>
                    <a:pt x="756" y="774"/>
                  </a:lnTo>
                  <a:lnTo>
                    <a:pt x="750" y="768"/>
                  </a:lnTo>
                  <a:lnTo>
                    <a:pt x="750" y="744"/>
                  </a:lnTo>
                  <a:lnTo>
                    <a:pt x="732" y="738"/>
                  </a:lnTo>
                  <a:lnTo>
                    <a:pt x="732" y="720"/>
                  </a:lnTo>
                  <a:lnTo>
                    <a:pt x="714" y="690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6" y="666"/>
                  </a:lnTo>
                  <a:lnTo>
                    <a:pt x="690" y="666"/>
                  </a:lnTo>
                  <a:lnTo>
                    <a:pt x="678" y="672"/>
                  </a:lnTo>
                  <a:lnTo>
                    <a:pt x="678" y="654"/>
                  </a:lnTo>
                  <a:lnTo>
                    <a:pt x="684" y="630"/>
                  </a:lnTo>
                  <a:lnTo>
                    <a:pt x="690" y="618"/>
                  </a:lnTo>
                  <a:lnTo>
                    <a:pt x="696" y="612"/>
                  </a:lnTo>
                  <a:lnTo>
                    <a:pt x="696" y="588"/>
                  </a:lnTo>
                  <a:lnTo>
                    <a:pt x="690" y="576"/>
                  </a:lnTo>
                  <a:lnTo>
                    <a:pt x="696" y="552"/>
                  </a:lnTo>
                  <a:lnTo>
                    <a:pt x="684" y="522"/>
                  </a:lnTo>
                  <a:lnTo>
                    <a:pt x="672" y="504"/>
                  </a:lnTo>
                  <a:lnTo>
                    <a:pt x="654" y="504"/>
                  </a:lnTo>
                  <a:lnTo>
                    <a:pt x="642" y="504"/>
                  </a:lnTo>
                  <a:lnTo>
                    <a:pt x="624" y="510"/>
                  </a:lnTo>
                  <a:lnTo>
                    <a:pt x="612" y="516"/>
                  </a:lnTo>
                  <a:lnTo>
                    <a:pt x="594" y="516"/>
                  </a:lnTo>
                  <a:lnTo>
                    <a:pt x="588" y="516"/>
                  </a:lnTo>
                  <a:lnTo>
                    <a:pt x="588" y="522"/>
                  </a:lnTo>
                  <a:lnTo>
                    <a:pt x="582" y="516"/>
                  </a:lnTo>
                  <a:lnTo>
                    <a:pt x="588" y="510"/>
                  </a:lnTo>
                  <a:lnTo>
                    <a:pt x="582" y="510"/>
                  </a:lnTo>
                  <a:lnTo>
                    <a:pt x="582" y="504"/>
                  </a:lnTo>
                  <a:lnTo>
                    <a:pt x="576" y="498"/>
                  </a:lnTo>
                  <a:lnTo>
                    <a:pt x="570" y="498"/>
                  </a:lnTo>
                  <a:lnTo>
                    <a:pt x="570" y="492"/>
                  </a:lnTo>
                  <a:lnTo>
                    <a:pt x="564" y="492"/>
                  </a:lnTo>
                  <a:lnTo>
                    <a:pt x="570" y="486"/>
                  </a:lnTo>
                  <a:lnTo>
                    <a:pt x="564" y="486"/>
                  </a:lnTo>
                  <a:lnTo>
                    <a:pt x="564" y="480"/>
                  </a:lnTo>
                  <a:lnTo>
                    <a:pt x="564" y="474"/>
                  </a:lnTo>
                  <a:lnTo>
                    <a:pt x="558" y="468"/>
                  </a:lnTo>
                  <a:lnTo>
                    <a:pt x="564" y="468"/>
                  </a:lnTo>
                  <a:lnTo>
                    <a:pt x="564" y="462"/>
                  </a:lnTo>
                  <a:lnTo>
                    <a:pt x="570" y="462"/>
                  </a:lnTo>
                  <a:lnTo>
                    <a:pt x="570" y="456"/>
                  </a:lnTo>
                  <a:lnTo>
                    <a:pt x="570" y="450"/>
                  </a:lnTo>
                  <a:lnTo>
                    <a:pt x="576" y="450"/>
                  </a:lnTo>
                  <a:lnTo>
                    <a:pt x="576" y="444"/>
                  </a:lnTo>
                  <a:lnTo>
                    <a:pt x="582" y="438"/>
                  </a:lnTo>
                  <a:lnTo>
                    <a:pt x="588" y="438"/>
                  </a:lnTo>
                  <a:lnTo>
                    <a:pt x="588" y="444"/>
                  </a:lnTo>
                  <a:lnTo>
                    <a:pt x="594" y="438"/>
                  </a:lnTo>
                  <a:lnTo>
                    <a:pt x="594" y="432"/>
                  </a:lnTo>
                  <a:lnTo>
                    <a:pt x="600" y="432"/>
                  </a:lnTo>
                  <a:lnTo>
                    <a:pt x="600" y="426"/>
                  </a:lnTo>
                  <a:lnTo>
                    <a:pt x="600" y="420"/>
                  </a:lnTo>
                  <a:lnTo>
                    <a:pt x="606" y="420"/>
                  </a:lnTo>
                  <a:lnTo>
                    <a:pt x="600" y="420"/>
                  </a:lnTo>
                  <a:lnTo>
                    <a:pt x="600" y="414"/>
                  </a:lnTo>
                  <a:lnTo>
                    <a:pt x="606" y="408"/>
                  </a:lnTo>
                  <a:lnTo>
                    <a:pt x="612" y="408"/>
                  </a:lnTo>
                  <a:lnTo>
                    <a:pt x="612" y="414"/>
                  </a:lnTo>
                  <a:lnTo>
                    <a:pt x="618" y="414"/>
                  </a:lnTo>
                  <a:lnTo>
                    <a:pt x="624" y="414"/>
                  </a:lnTo>
                  <a:lnTo>
                    <a:pt x="630" y="414"/>
                  </a:lnTo>
                  <a:lnTo>
                    <a:pt x="636" y="414"/>
                  </a:lnTo>
                  <a:lnTo>
                    <a:pt x="642" y="408"/>
                  </a:lnTo>
                  <a:lnTo>
                    <a:pt x="648" y="408"/>
                  </a:lnTo>
                  <a:lnTo>
                    <a:pt x="660" y="408"/>
                  </a:lnTo>
                  <a:lnTo>
                    <a:pt x="666" y="402"/>
                  </a:lnTo>
                  <a:lnTo>
                    <a:pt x="672" y="402"/>
                  </a:lnTo>
                  <a:lnTo>
                    <a:pt x="684" y="396"/>
                  </a:lnTo>
                  <a:lnTo>
                    <a:pt x="690" y="396"/>
                  </a:lnTo>
                  <a:lnTo>
                    <a:pt x="696" y="396"/>
                  </a:lnTo>
                  <a:lnTo>
                    <a:pt x="702" y="396"/>
                  </a:lnTo>
                  <a:lnTo>
                    <a:pt x="708" y="396"/>
                  </a:lnTo>
                  <a:lnTo>
                    <a:pt x="714" y="390"/>
                  </a:lnTo>
                  <a:lnTo>
                    <a:pt x="714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32" y="384"/>
                  </a:lnTo>
                  <a:lnTo>
                    <a:pt x="738" y="378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56" y="372"/>
                  </a:lnTo>
                  <a:lnTo>
                    <a:pt x="762" y="366"/>
                  </a:lnTo>
                  <a:lnTo>
                    <a:pt x="768" y="366"/>
                  </a:lnTo>
                  <a:lnTo>
                    <a:pt x="774" y="366"/>
                  </a:lnTo>
                  <a:lnTo>
                    <a:pt x="774" y="360"/>
                  </a:lnTo>
                  <a:lnTo>
                    <a:pt x="780" y="366"/>
                  </a:lnTo>
                  <a:lnTo>
                    <a:pt x="786" y="366"/>
                  </a:lnTo>
                  <a:lnTo>
                    <a:pt x="786" y="360"/>
                  </a:lnTo>
                  <a:lnTo>
                    <a:pt x="792" y="354"/>
                  </a:lnTo>
                  <a:lnTo>
                    <a:pt x="786" y="354"/>
                  </a:lnTo>
                  <a:lnTo>
                    <a:pt x="792" y="348"/>
                  </a:lnTo>
                  <a:lnTo>
                    <a:pt x="798" y="348"/>
                  </a:lnTo>
                  <a:lnTo>
                    <a:pt x="804" y="348"/>
                  </a:lnTo>
                  <a:lnTo>
                    <a:pt x="810" y="342"/>
                  </a:lnTo>
                  <a:lnTo>
                    <a:pt x="816" y="342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28" y="336"/>
                  </a:lnTo>
                  <a:lnTo>
                    <a:pt x="834" y="336"/>
                  </a:lnTo>
                  <a:lnTo>
                    <a:pt x="840" y="336"/>
                  </a:lnTo>
                  <a:lnTo>
                    <a:pt x="846" y="330"/>
                  </a:lnTo>
                  <a:lnTo>
                    <a:pt x="852" y="330"/>
                  </a:lnTo>
                  <a:lnTo>
                    <a:pt x="858" y="330"/>
                  </a:lnTo>
                  <a:lnTo>
                    <a:pt x="864" y="324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0" y="312"/>
                  </a:lnTo>
                  <a:lnTo>
                    <a:pt x="876" y="312"/>
                  </a:lnTo>
                  <a:lnTo>
                    <a:pt x="882" y="312"/>
                  </a:lnTo>
                  <a:lnTo>
                    <a:pt x="882" y="318"/>
                  </a:lnTo>
                  <a:lnTo>
                    <a:pt x="888" y="312"/>
                  </a:lnTo>
                  <a:lnTo>
                    <a:pt x="894" y="306"/>
                  </a:lnTo>
                  <a:lnTo>
                    <a:pt x="900" y="306"/>
                  </a:lnTo>
                  <a:lnTo>
                    <a:pt x="906" y="306"/>
                  </a:lnTo>
                  <a:lnTo>
                    <a:pt x="912" y="300"/>
                  </a:lnTo>
                  <a:lnTo>
                    <a:pt x="906" y="294"/>
                  </a:lnTo>
                  <a:lnTo>
                    <a:pt x="912" y="276"/>
                  </a:lnTo>
                  <a:lnTo>
                    <a:pt x="912" y="252"/>
                  </a:lnTo>
                  <a:lnTo>
                    <a:pt x="906" y="234"/>
                  </a:lnTo>
                  <a:lnTo>
                    <a:pt x="912" y="228"/>
                  </a:lnTo>
                  <a:lnTo>
                    <a:pt x="912" y="216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24" y="192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36" y="186"/>
                  </a:lnTo>
                  <a:lnTo>
                    <a:pt x="930" y="180"/>
                  </a:lnTo>
                  <a:lnTo>
                    <a:pt x="930" y="174"/>
                  </a:lnTo>
                  <a:lnTo>
                    <a:pt x="936" y="156"/>
                  </a:lnTo>
                  <a:lnTo>
                    <a:pt x="930" y="156"/>
                  </a:lnTo>
                  <a:lnTo>
                    <a:pt x="924" y="150"/>
                  </a:lnTo>
                  <a:lnTo>
                    <a:pt x="942" y="78"/>
                  </a:lnTo>
                  <a:lnTo>
                    <a:pt x="948" y="78"/>
                  </a:lnTo>
                  <a:lnTo>
                    <a:pt x="954" y="66"/>
                  </a:lnTo>
                  <a:lnTo>
                    <a:pt x="954" y="72"/>
                  </a:lnTo>
                  <a:lnTo>
                    <a:pt x="954" y="66"/>
                  </a:lnTo>
                  <a:lnTo>
                    <a:pt x="960" y="66"/>
                  </a:lnTo>
                  <a:lnTo>
                    <a:pt x="966" y="66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54"/>
                  </a:lnTo>
                  <a:lnTo>
                    <a:pt x="990" y="54"/>
                  </a:lnTo>
                  <a:lnTo>
                    <a:pt x="996" y="48"/>
                  </a:lnTo>
                  <a:lnTo>
                    <a:pt x="1002" y="48"/>
                  </a:lnTo>
                  <a:lnTo>
                    <a:pt x="1032" y="48"/>
                  </a:lnTo>
                  <a:lnTo>
                    <a:pt x="1062" y="48"/>
                  </a:lnTo>
                  <a:lnTo>
                    <a:pt x="1068" y="78"/>
                  </a:lnTo>
                  <a:lnTo>
                    <a:pt x="1086" y="78"/>
                  </a:lnTo>
                  <a:lnTo>
                    <a:pt x="1092" y="66"/>
                  </a:lnTo>
                  <a:lnTo>
                    <a:pt x="1092" y="60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8" y="48"/>
                  </a:lnTo>
                  <a:lnTo>
                    <a:pt x="1104" y="48"/>
                  </a:lnTo>
                  <a:lnTo>
                    <a:pt x="1110" y="48"/>
                  </a:lnTo>
                  <a:lnTo>
                    <a:pt x="1110" y="42"/>
                  </a:lnTo>
                  <a:lnTo>
                    <a:pt x="1110" y="36"/>
                  </a:lnTo>
                  <a:lnTo>
                    <a:pt x="1116" y="36"/>
                  </a:lnTo>
                  <a:lnTo>
                    <a:pt x="1116" y="30"/>
                  </a:lnTo>
                  <a:lnTo>
                    <a:pt x="1122" y="30"/>
                  </a:lnTo>
                  <a:lnTo>
                    <a:pt x="1128" y="30"/>
                  </a:lnTo>
                  <a:lnTo>
                    <a:pt x="1134" y="30"/>
                  </a:lnTo>
                  <a:lnTo>
                    <a:pt x="1140" y="24"/>
                  </a:lnTo>
                  <a:lnTo>
                    <a:pt x="1152" y="18"/>
                  </a:lnTo>
                  <a:lnTo>
                    <a:pt x="1158" y="18"/>
                  </a:lnTo>
                  <a:lnTo>
                    <a:pt x="1152" y="12"/>
                  </a:lnTo>
                  <a:lnTo>
                    <a:pt x="1152" y="6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8"/>
                  </a:lnTo>
                  <a:lnTo>
                    <a:pt x="1170" y="12"/>
                  </a:lnTo>
                  <a:lnTo>
                    <a:pt x="1170" y="6"/>
                  </a:lnTo>
                  <a:lnTo>
                    <a:pt x="1176" y="6"/>
                  </a:lnTo>
                  <a:lnTo>
                    <a:pt x="1176" y="0"/>
                  </a:lnTo>
                  <a:lnTo>
                    <a:pt x="1182" y="6"/>
                  </a:lnTo>
                  <a:lnTo>
                    <a:pt x="1188" y="6"/>
                  </a:lnTo>
                  <a:lnTo>
                    <a:pt x="1188" y="0"/>
                  </a:lnTo>
                  <a:lnTo>
                    <a:pt x="1194" y="6"/>
                  </a:lnTo>
                  <a:lnTo>
                    <a:pt x="1200" y="12"/>
                  </a:lnTo>
                  <a:lnTo>
                    <a:pt x="1206" y="18"/>
                  </a:lnTo>
                  <a:lnTo>
                    <a:pt x="1212" y="18"/>
                  </a:lnTo>
                  <a:lnTo>
                    <a:pt x="1218" y="24"/>
                  </a:lnTo>
                  <a:lnTo>
                    <a:pt x="1236" y="36"/>
                  </a:lnTo>
                  <a:lnTo>
                    <a:pt x="1242" y="36"/>
                  </a:lnTo>
                  <a:lnTo>
                    <a:pt x="1248" y="42"/>
                  </a:lnTo>
                  <a:lnTo>
                    <a:pt x="1248" y="48"/>
                  </a:lnTo>
                  <a:lnTo>
                    <a:pt x="1260" y="48"/>
                  </a:lnTo>
                  <a:lnTo>
                    <a:pt x="1260" y="108"/>
                  </a:lnTo>
                  <a:lnTo>
                    <a:pt x="1266" y="168"/>
                  </a:lnTo>
                  <a:lnTo>
                    <a:pt x="1278" y="234"/>
                  </a:lnTo>
                  <a:lnTo>
                    <a:pt x="1284" y="240"/>
                  </a:lnTo>
                  <a:lnTo>
                    <a:pt x="1290" y="264"/>
                  </a:lnTo>
                  <a:lnTo>
                    <a:pt x="1296" y="288"/>
                  </a:lnTo>
                  <a:lnTo>
                    <a:pt x="1296" y="300"/>
                  </a:lnTo>
                  <a:lnTo>
                    <a:pt x="1296" y="312"/>
                  </a:lnTo>
                  <a:lnTo>
                    <a:pt x="1296" y="324"/>
                  </a:lnTo>
                  <a:lnTo>
                    <a:pt x="1296" y="354"/>
                  </a:lnTo>
                  <a:lnTo>
                    <a:pt x="1302" y="366"/>
                  </a:lnTo>
                  <a:lnTo>
                    <a:pt x="1308" y="372"/>
                  </a:lnTo>
                  <a:lnTo>
                    <a:pt x="1308" y="384"/>
                  </a:lnTo>
                  <a:lnTo>
                    <a:pt x="1314" y="390"/>
                  </a:lnTo>
                  <a:lnTo>
                    <a:pt x="1308" y="408"/>
                  </a:lnTo>
                  <a:lnTo>
                    <a:pt x="1314" y="408"/>
                  </a:lnTo>
                  <a:lnTo>
                    <a:pt x="1314" y="414"/>
                  </a:lnTo>
                  <a:lnTo>
                    <a:pt x="1308" y="420"/>
                  </a:lnTo>
                  <a:lnTo>
                    <a:pt x="1308" y="432"/>
                  </a:lnTo>
                  <a:lnTo>
                    <a:pt x="1320" y="432"/>
                  </a:lnTo>
                  <a:lnTo>
                    <a:pt x="1320" y="444"/>
                  </a:lnTo>
                  <a:lnTo>
                    <a:pt x="1332" y="444"/>
                  </a:lnTo>
                  <a:lnTo>
                    <a:pt x="1338" y="450"/>
                  </a:lnTo>
                  <a:lnTo>
                    <a:pt x="1344" y="456"/>
                  </a:lnTo>
                  <a:lnTo>
                    <a:pt x="1344" y="462"/>
                  </a:lnTo>
                  <a:lnTo>
                    <a:pt x="1344" y="474"/>
                  </a:lnTo>
                  <a:lnTo>
                    <a:pt x="1350" y="474"/>
                  </a:lnTo>
                  <a:lnTo>
                    <a:pt x="1368" y="504"/>
                  </a:lnTo>
                  <a:lnTo>
                    <a:pt x="1374" y="534"/>
                  </a:lnTo>
                  <a:lnTo>
                    <a:pt x="1380" y="558"/>
                  </a:lnTo>
                  <a:lnTo>
                    <a:pt x="1386" y="576"/>
                  </a:lnTo>
                  <a:lnTo>
                    <a:pt x="1386" y="600"/>
                  </a:lnTo>
                  <a:lnTo>
                    <a:pt x="1386" y="624"/>
                  </a:lnTo>
                  <a:lnTo>
                    <a:pt x="1386" y="648"/>
                  </a:lnTo>
                  <a:lnTo>
                    <a:pt x="1386" y="684"/>
                  </a:lnTo>
                  <a:lnTo>
                    <a:pt x="1380" y="684"/>
                  </a:lnTo>
                  <a:lnTo>
                    <a:pt x="1374" y="696"/>
                  </a:lnTo>
                  <a:lnTo>
                    <a:pt x="1368" y="702"/>
                  </a:lnTo>
                  <a:lnTo>
                    <a:pt x="1362" y="708"/>
                  </a:lnTo>
                  <a:lnTo>
                    <a:pt x="1356" y="714"/>
                  </a:lnTo>
                  <a:lnTo>
                    <a:pt x="1350" y="720"/>
                  </a:lnTo>
                  <a:lnTo>
                    <a:pt x="1338" y="720"/>
                  </a:lnTo>
                  <a:lnTo>
                    <a:pt x="1338" y="738"/>
                  </a:lnTo>
                  <a:lnTo>
                    <a:pt x="1362" y="750"/>
                  </a:lnTo>
                  <a:lnTo>
                    <a:pt x="1362" y="756"/>
                  </a:lnTo>
                  <a:lnTo>
                    <a:pt x="1374" y="756"/>
                  </a:lnTo>
                  <a:lnTo>
                    <a:pt x="1410" y="774"/>
                  </a:lnTo>
                  <a:lnTo>
                    <a:pt x="1446" y="774"/>
                  </a:lnTo>
                  <a:lnTo>
                    <a:pt x="1482" y="768"/>
                  </a:lnTo>
                  <a:lnTo>
                    <a:pt x="1500" y="774"/>
                  </a:lnTo>
                  <a:lnTo>
                    <a:pt x="1512" y="78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6" name="Freeform 11">
              <a:extLst>
                <a:ext uri="{FF2B5EF4-FFF2-40B4-BE49-F238E27FC236}">
                  <a16:creationId xmlns:a16="http://schemas.microsoft.com/office/drawing/2014/main" id="{1FF8E66F-B850-456A-B132-C45FEEDE95C6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2475" y="2345643"/>
              <a:ext cx="445003" cy="603855"/>
            </a:xfrm>
            <a:custGeom>
              <a:avLst/>
              <a:gdLst>
                <a:gd name="T0" fmla="*/ 47 w 840"/>
                <a:gd name="T1" fmla="*/ 98 h 1134"/>
                <a:gd name="T2" fmla="*/ 41 w 840"/>
                <a:gd name="T3" fmla="*/ 98 h 1134"/>
                <a:gd name="T4" fmla="*/ 37 w 840"/>
                <a:gd name="T5" fmla="*/ 98 h 1134"/>
                <a:gd name="T6" fmla="*/ 29 w 840"/>
                <a:gd name="T7" fmla="*/ 97 h 1134"/>
                <a:gd name="T8" fmla="*/ 27 w 840"/>
                <a:gd name="T9" fmla="*/ 94 h 1134"/>
                <a:gd name="T10" fmla="*/ 26 w 840"/>
                <a:gd name="T11" fmla="*/ 93 h 1134"/>
                <a:gd name="T12" fmla="*/ 26 w 840"/>
                <a:gd name="T13" fmla="*/ 83 h 1134"/>
                <a:gd name="T14" fmla="*/ 26 w 840"/>
                <a:gd name="T15" fmla="*/ 81 h 1134"/>
                <a:gd name="T16" fmla="*/ 23 w 840"/>
                <a:gd name="T17" fmla="*/ 77 h 1134"/>
                <a:gd name="T18" fmla="*/ 19 w 840"/>
                <a:gd name="T19" fmla="*/ 75 h 1134"/>
                <a:gd name="T20" fmla="*/ 16 w 840"/>
                <a:gd name="T21" fmla="*/ 72 h 1134"/>
                <a:gd name="T22" fmla="*/ 13 w 840"/>
                <a:gd name="T23" fmla="*/ 70 h 1134"/>
                <a:gd name="T24" fmla="*/ 17 w 840"/>
                <a:gd name="T25" fmla="*/ 67 h 1134"/>
                <a:gd name="T26" fmla="*/ 19 w 840"/>
                <a:gd name="T27" fmla="*/ 63 h 1134"/>
                <a:gd name="T28" fmla="*/ 20 w 840"/>
                <a:gd name="T29" fmla="*/ 59 h 1134"/>
                <a:gd name="T30" fmla="*/ 19 w 840"/>
                <a:gd name="T31" fmla="*/ 55 h 1134"/>
                <a:gd name="T32" fmla="*/ 17 w 840"/>
                <a:gd name="T33" fmla="*/ 47 h 1134"/>
                <a:gd name="T34" fmla="*/ 8 w 840"/>
                <a:gd name="T35" fmla="*/ 45 h 1134"/>
                <a:gd name="T36" fmla="*/ 4 w 840"/>
                <a:gd name="T37" fmla="*/ 39 h 1134"/>
                <a:gd name="T38" fmla="*/ 2 w 840"/>
                <a:gd name="T39" fmla="*/ 35 h 1134"/>
                <a:gd name="T40" fmla="*/ 0 w 840"/>
                <a:gd name="T41" fmla="*/ 31 h 1134"/>
                <a:gd name="T42" fmla="*/ 2 w 840"/>
                <a:gd name="T43" fmla="*/ 27 h 1134"/>
                <a:gd name="T44" fmla="*/ 5 w 840"/>
                <a:gd name="T45" fmla="*/ 24 h 1134"/>
                <a:gd name="T46" fmla="*/ 10 w 840"/>
                <a:gd name="T47" fmla="*/ 26 h 1134"/>
                <a:gd name="T48" fmla="*/ 7 w 840"/>
                <a:gd name="T49" fmla="*/ 20 h 1134"/>
                <a:gd name="T50" fmla="*/ 12 w 840"/>
                <a:gd name="T51" fmla="*/ 12 h 1134"/>
                <a:gd name="T52" fmla="*/ 19 w 840"/>
                <a:gd name="T53" fmla="*/ 10 h 1134"/>
                <a:gd name="T54" fmla="*/ 20 w 840"/>
                <a:gd name="T55" fmla="*/ 13 h 1134"/>
                <a:gd name="T56" fmla="*/ 22 w 840"/>
                <a:gd name="T57" fmla="*/ 11 h 1134"/>
                <a:gd name="T58" fmla="*/ 25 w 840"/>
                <a:gd name="T59" fmla="*/ 7 h 1134"/>
                <a:gd name="T60" fmla="*/ 29 w 840"/>
                <a:gd name="T61" fmla="*/ 2 h 1134"/>
                <a:gd name="T62" fmla="*/ 33 w 840"/>
                <a:gd name="T63" fmla="*/ 1 h 1134"/>
                <a:gd name="T64" fmla="*/ 37 w 840"/>
                <a:gd name="T65" fmla="*/ 2 h 1134"/>
                <a:gd name="T66" fmla="*/ 39 w 840"/>
                <a:gd name="T67" fmla="*/ 4 h 1134"/>
                <a:gd name="T68" fmla="*/ 43 w 840"/>
                <a:gd name="T69" fmla="*/ 5 h 1134"/>
                <a:gd name="T70" fmla="*/ 46 w 840"/>
                <a:gd name="T71" fmla="*/ 11 h 1134"/>
                <a:gd name="T72" fmla="*/ 49 w 840"/>
                <a:gd name="T73" fmla="*/ 12 h 1134"/>
                <a:gd name="T74" fmla="*/ 52 w 840"/>
                <a:gd name="T75" fmla="*/ 15 h 1134"/>
                <a:gd name="T76" fmla="*/ 54 w 840"/>
                <a:gd name="T77" fmla="*/ 18 h 1134"/>
                <a:gd name="T78" fmla="*/ 55 w 840"/>
                <a:gd name="T79" fmla="*/ 22 h 1134"/>
                <a:gd name="T80" fmla="*/ 56 w 840"/>
                <a:gd name="T81" fmla="*/ 26 h 1134"/>
                <a:gd name="T82" fmla="*/ 55 w 840"/>
                <a:gd name="T83" fmla="*/ 32 h 1134"/>
                <a:gd name="T84" fmla="*/ 55 w 840"/>
                <a:gd name="T85" fmla="*/ 36 h 1134"/>
                <a:gd name="T86" fmla="*/ 54 w 840"/>
                <a:gd name="T87" fmla="*/ 39 h 1134"/>
                <a:gd name="T88" fmla="*/ 56 w 840"/>
                <a:gd name="T89" fmla="*/ 39 h 1134"/>
                <a:gd name="T90" fmla="*/ 58 w 840"/>
                <a:gd name="T91" fmla="*/ 39 h 1134"/>
                <a:gd name="T92" fmla="*/ 61 w 840"/>
                <a:gd name="T93" fmla="*/ 39 h 1134"/>
                <a:gd name="T94" fmla="*/ 60 w 840"/>
                <a:gd name="T95" fmla="*/ 49 h 1134"/>
                <a:gd name="T96" fmla="*/ 59 w 840"/>
                <a:gd name="T97" fmla="*/ 53 h 1134"/>
                <a:gd name="T98" fmla="*/ 59 w 840"/>
                <a:gd name="T99" fmla="*/ 56 h 1134"/>
                <a:gd name="T100" fmla="*/ 60 w 840"/>
                <a:gd name="T101" fmla="*/ 59 h 1134"/>
                <a:gd name="T102" fmla="*/ 64 w 840"/>
                <a:gd name="T103" fmla="*/ 61 h 1134"/>
                <a:gd name="T104" fmla="*/ 69 w 840"/>
                <a:gd name="T105" fmla="*/ 63 h 1134"/>
                <a:gd name="T106" fmla="*/ 72 w 840"/>
                <a:gd name="T107" fmla="*/ 69 h 1134"/>
                <a:gd name="T108" fmla="*/ 72 w 840"/>
                <a:gd name="T109" fmla="*/ 73 h 1134"/>
                <a:gd name="T110" fmla="*/ 72 w 840"/>
                <a:gd name="T111" fmla="*/ 83 h 1134"/>
                <a:gd name="T112" fmla="*/ 63 w 840"/>
                <a:gd name="T113" fmla="*/ 88 h 1134"/>
                <a:gd name="T114" fmla="*/ 52 w 840"/>
                <a:gd name="T115" fmla="*/ 95 h 11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40"/>
                <a:gd name="T175" fmla="*/ 0 h 1134"/>
                <a:gd name="T176" fmla="*/ 840 w 840"/>
                <a:gd name="T177" fmla="*/ 1134 h 11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40" h="1134">
                  <a:moveTo>
                    <a:pt x="564" y="1110"/>
                  </a:moveTo>
                  <a:lnTo>
                    <a:pt x="564" y="1104"/>
                  </a:lnTo>
                  <a:lnTo>
                    <a:pt x="558" y="1104"/>
                  </a:lnTo>
                  <a:lnTo>
                    <a:pt x="552" y="1110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28" y="1128"/>
                  </a:lnTo>
                  <a:lnTo>
                    <a:pt x="498" y="1128"/>
                  </a:lnTo>
                  <a:lnTo>
                    <a:pt x="492" y="1128"/>
                  </a:lnTo>
                  <a:lnTo>
                    <a:pt x="486" y="1128"/>
                  </a:lnTo>
                  <a:lnTo>
                    <a:pt x="480" y="1128"/>
                  </a:lnTo>
                  <a:lnTo>
                    <a:pt x="474" y="1134"/>
                  </a:lnTo>
                  <a:lnTo>
                    <a:pt x="468" y="1134"/>
                  </a:lnTo>
                  <a:lnTo>
                    <a:pt x="462" y="1134"/>
                  </a:lnTo>
                  <a:lnTo>
                    <a:pt x="456" y="1134"/>
                  </a:lnTo>
                  <a:lnTo>
                    <a:pt x="456" y="1128"/>
                  </a:lnTo>
                  <a:lnTo>
                    <a:pt x="450" y="1122"/>
                  </a:lnTo>
                  <a:lnTo>
                    <a:pt x="426" y="1128"/>
                  </a:lnTo>
                  <a:lnTo>
                    <a:pt x="414" y="1128"/>
                  </a:lnTo>
                  <a:lnTo>
                    <a:pt x="348" y="1134"/>
                  </a:lnTo>
                  <a:lnTo>
                    <a:pt x="348" y="1128"/>
                  </a:lnTo>
                  <a:lnTo>
                    <a:pt x="342" y="1128"/>
                  </a:lnTo>
                  <a:lnTo>
                    <a:pt x="336" y="1122"/>
                  </a:lnTo>
                  <a:lnTo>
                    <a:pt x="330" y="1122"/>
                  </a:lnTo>
                  <a:lnTo>
                    <a:pt x="324" y="1116"/>
                  </a:lnTo>
                  <a:lnTo>
                    <a:pt x="324" y="1110"/>
                  </a:lnTo>
                  <a:lnTo>
                    <a:pt x="318" y="1110"/>
                  </a:lnTo>
                  <a:lnTo>
                    <a:pt x="318" y="1104"/>
                  </a:lnTo>
                  <a:lnTo>
                    <a:pt x="312" y="1092"/>
                  </a:lnTo>
                  <a:lnTo>
                    <a:pt x="306" y="1086"/>
                  </a:lnTo>
                  <a:lnTo>
                    <a:pt x="306" y="1080"/>
                  </a:lnTo>
                  <a:lnTo>
                    <a:pt x="312" y="1074"/>
                  </a:lnTo>
                  <a:lnTo>
                    <a:pt x="306" y="1068"/>
                  </a:lnTo>
                  <a:lnTo>
                    <a:pt x="300" y="1074"/>
                  </a:lnTo>
                  <a:lnTo>
                    <a:pt x="300" y="1068"/>
                  </a:lnTo>
                  <a:lnTo>
                    <a:pt x="294" y="1068"/>
                  </a:lnTo>
                  <a:lnTo>
                    <a:pt x="294" y="1056"/>
                  </a:lnTo>
                  <a:lnTo>
                    <a:pt x="294" y="1026"/>
                  </a:lnTo>
                  <a:lnTo>
                    <a:pt x="294" y="1020"/>
                  </a:lnTo>
                  <a:lnTo>
                    <a:pt x="294" y="1008"/>
                  </a:lnTo>
                  <a:lnTo>
                    <a:pt x="294" y="966"/>
                  </a:lnTo>
                  <a:lnTo>
                    <a:pt x="294" y="960"/>
                  </a:lnTo>
                  <a:lnTo>
                    <a:pt x="294" y="954"/>
                  </a:lnTo>
                  <a:lnTo>
                    <a:pt x="294" y="948"/>
                  </a:lnTo>
                  <a:lnTo>
                    <a:pt x="294" y="942"/>
                  </a:lnTo>
                  <a:lnTo>
                    <a:pt x="300" y="936"/>
                  </a:lnTo>
                  <a:lnTo>
                    <a:pt x="300" y="930"/>
                  </a:lnTo>
                  <a:lnTo>
                    <a:pt x="294" y="930"/>
                  </a:lnTo>
                  <a:lnTo>
                    <a:pt x="288" y="930"/>
                  </a:lnTo>
                  <a:lnTo>
                    <a:pt x="288" y="924"/>
                  </a:lnTo>
                  <a:lnTo>
                    <a:pt x="282" y="918"/>
                  </a:lnTo>
                  <a:lnTo>
                    <a:pt x="282" y="906"/>
                  </a:lnTo>
                  <a:lnTo>
                    <a:pt x="282" y="900"/>
                  </a:lnTo>
                  <a:lnTo>
                    <a:pt x="264" y="894"/>
                  </a:lnTo>
                  <a:lnTo>
                    <a:pt x="252" y="882"/>
                  </a:lnTo>
                  <a:lnTo>
                    <a:pt x="246" y="876"/>
                  </a:lnTo>
                  <a:lnTo>
                    <a:pt x="240" y="876"/>
                  </a:lnTo>
                  <a:lnTo>
                    <a:pt x="240" y="870"/>
                  </a:lnTo>
                  <a:lnTo>
                    <a:pt x="234" y="870"/>
                  </a:lnTo>
                  <a:lnTo>
                    <a:pt x="222" y="864"/>
                  </a:lnTo>
                  <a:lnTo>
                    <a:pt x="216" y="864"/>
                  </a:lnTo>
                  <a:lnTo>
                    <a:pt x="210" y="858"/>
                  </a:lnTo>
                  <a:lnTo>
                    <a:pt x="210" y="852"/>
                  </a:lnTo>
                  <a:lnTo>
                    <a:pt x="210" y="846"/>
                  </a:lnTo>
                  <a:lnTo>
                    <a:pt x="198" y="840"/>
                  </a:lnTo>
                  <a:lnTo>
                    <a:pt x="186" y="834"/>
                  </a:lnTo>
                  <a:lnTo>
                    <a:pt x="180" y="828"/>
                  </a:lnTo>
                  <a:lnTo>
                    <a:pt x="180" y="822"/>
                  </a:lnTo>
                  <a:lnTo>
                    <a:pt x="174" y="822"/>
                  </a:lnTo>
                  <a:lnTo>
                    <a:pt x="162" y="816"/>
                  </a:lnTo>
                  <a:lnTo>
                    <a:pt x="156" y="810"/>
                  </a:lnTo>
                  <a:lnTo>
                    <a:pt x="150" y="810"/>
                  </a:lnTo>
                  <a:lnTo>
                    <a:pt x="144" y="798"/>
                  </a:lnTo>
                  <a:lnTo>
                    <a:pt x="138" y="786"/>
                  </a:lnTo>
                  <a:lnTo>
                    <a:pt x="138" y="780"/>
                  </a:lnTo>
                  <a:lnTo>
                    <a:pt x="144" y="774"/>
                  </a:lnTo>
                  <a:lnTo>
                    <a:pt x="150" y="768"/>
                  </a:lnTo>
                  <a:lnTo>
                    <a:pt x="192" y="768"/>
                  </a:lnTo>
                  <a:lnTo>
                    <a:pt x="210" y="762"/>
                  </a:lnTo>
                  <a:lnTo>
                    <a:pt x="216" y="756"/>
                  </a:lnTo>
                  <a:lnTo>
                    <a:pt x="216" y="744"/>
                  </a:lnTo>
                  <a:lnTo>
                    <a:pt x="216" y="738"/>
                  </a:lnTo>
                  <a:lnTo>
                    <a:pt x="216" y="732"/>
                  </a:lnTo>
                  <a:lnTo>
                    <a:pt x="216" y="726"/>
                  </a:lnTo>
                  <a:lnTo>
                    <a:pt x="216" y="720"/>
                  </a:lnTo>
                  <a:lnTo>
                    <a:pt x="228" y="702"/>
                  </a:lnTo>
                  <a:lnTo>
                    <a:pt x="234" y="696"/>
                  </a:lnTo>
                  <a:lnTo>
                    <a:pt x="240" y="690"/>
                  </a:lnTo>
                  <a:lnTo>
                    <a:pt x="240" y="684"/>
                  </a:lnTo>
                  <a:lnTo>
                    <a:pt x="234" y="678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0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22" y="630"/>
                  </a:lnTo>
                  <a:lnTo>
                    <a:pt x="222" y="618"/>
                  </a:lnTo>
                  <a:lnTo>
                    <a:pt x="222" y="582"/>
                  </a:lnTo>
                  <a:lnTo>
                    <a:pt x="228" y="582"/>
                  </a:lnTo>
                  <a:lnTo>
                    <a:pt x="222" y="564"/>
                  </a:lnTo>
                  <a:lnTo>
                    <a:pt x="210" y="552"/>
                  </a:lnTo>
                  <a:lnTo>
                    <a:pt x="192" y="540"/>
                  </a:lnTo>
                  <a:lnTo>
                    <a:pt x="174" y="540"/>
                  </a:lnTo>
                  <a:lnTo>
                    <a:pt x="150" y="534"/>
                  </a:lnTo>
                  <a:lnTo>
                    <a:pt x="126" y="528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90" y="516"/>
                  </a:lnTo>
                  <a:lnTo>
                    <a:pt x="78" y="504"/>
                  </a:lnTo>
                  <a:lnTo>
                    <a:pt x="72" y="498"/>
                  </a:lnTo>
                  <a:lnTo>
                    <a:pt x="66" y="486"/>
                  </a:lnTo>
                  <a:lnTo>
                    <a:pt x="54" y="468"/>
                  </a:lnTo>
                  <a:lnTo>
                    <a:pt x="54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42" y="438"/>
                  </a:lnTo>
                  <a:lnTo>
                    <a:pt x="36" y="438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24" y="384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2" y="360"/>
                  </a:lnTo>
                  <a:lnTo>
                    <a:pt x="6" y="360"/>
                  </a:lnTo>
                  <a:lnTo>
                    <a:pt x="0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0"/>
                  </a:lnTo>
                  <a:lnTo>
                    <a:pt x="18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8" y="270"/>
                  </a:lnTo>
                  <a:lnTo>
                    <a:pt x="90" y="276"/>
                  </a:lnTo>
                  <a:lnTo>
                    <a:pt x="108" y="294"/>
                  </a:lnTo>
                  <a:lnTo>
                    <a:pt x="114" y="294"/>
                  </a:lnTo>
                  <a:lnTo>
                    <a:pt x="114" y="276"/>
                  </a:lnTo>
                  <a:lnTo>
                    <a:pt x="114" y="270"/>
                  </a:lnTo>
                  <a:lnTo>
                    <a:pt x="102" y="258"/>
                  </a:lnTo>
                  <a:lnTo>
                    <a:pt x="96" y="246"/>
                  </a:lnTo>
                  <a:lnTo>
                    <a:pt x="90" y="234"/>
                  </a:lnTo>
                  <a:lnTo>
                    <a:pt x="78" y="228"/>
                  </a:lnTo>
                  <a:lnTo>
                    <a:pt x="72" y="216"/>
                  </a:lnTo>
                  <a:lnTo>
                    <a:pt x="66" y="192"/>
                  </a:lnTo>
                  <a:lnTo>
                    <a:pt x="90" y="174"/>
                  </a:lnTo>
                  <a:lnTo>
                    <a:pt x="120" y="150"/>
                  </a:lnTo>
                  <a:lnTo>
                    <a:pt x="132" y="150"/>
                  </a:lnTo>
                  <a:lnTo>
                    <a:pt x="138" y="144"/>
                  </a:lnTo>
                  <a:lnTo>
                    <a:pt x="138" y="138"/>
                  </a:lnTo>
                  <a:lnTo>
                    <a:pt x="156" y="126"/>
                  </a:lnTo>
                  <a:lnTo>
                    <a:pt x="180" y="114"/>
                  </a:lnTo>
                  <a:lnTo>
                    <a:pt x="216" y="114"/>
                  </a:lnTo>
                  <a:lnTo>
                    <a:pt x="222" y="114"/>
                  </a:lnTo>
                  <a:lnTo>
                    <a:pt x="222" y="120"/>
                  </a:lnTo>
                  <a:lnTo>
                    <a:pt x="222" y="126"/>
                  </a:lnTo>
                  <a:lnTo>
                    <a:pt x="222" y="132"/>
                  </a:lnTo>
                  <a:lnTo>
                    <a:pt x="228" y="138"/>
                  </a:lnTo>
                  <a:lnTo>
                    <a:pt x="228" y="144"/>
                  </a:lnTo>
                  <a:lnTo>
                    <a:pt x="228" y="150"/>
                  </a:lnTo>
                  <a:lnTo>
                    <a:pt x="234" y="150"/>
                  </a:lnTo>
                  <a:lnTo>
                    <a:pt x="234" y="144"/>
                  </a:lnTo>
                  <a:lnTo>
                    <a:pt x="240" y="144"/>
                  </a:lnTo>
                  <a:lnTo>
                    <a:pt x="246" y="144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58" y="126"/>
                  </a:lnTo>
                  <a:lnTo>
                    <a:pt x="258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76" y="96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6" y="72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36"/>
                  </a:lnTo>
                  <a:lnTo>
                    <a:pt x="330" y="24"/>
                  </a:lnTo>
                  <a:lnTo>
                    <a:pt x="330" y="18"/>
                  </a:lnTo>
                  <a:lnTo>
                    <a:pt x="330" y="12"/>
                  </a:lnTo>
                  <a:lnTo>
                    <a:pt x="336" y="6"/>
                  </a:lnTo>
                  <a:lnTo>
                    <a:pt x="366" y="0"/>
                  </a:lnTo>
                  <a:lnTo>
                    <a:pt x="372" y="6"/>
                  </a:lnTo>
                  <a:lnTo>
                    <a:pt x="384" y="12"/>
                  </a:lnTo>
                  <a:lnTo>
                    <a:pt x="402" y="12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18"/>
                  </a:lnTo>
                  <a:lnTo>
                    <a:pt x="420" y="18"/>
                  </a:lnTo>
                  <a:lnTo>
                    <a:pt x="426" y="24"/>
                  </a:lnTo>
                  <a:lnTo>
                    <a:pt x="432" y="30"/>
                  </a:lnTo>
                  <a:lnTo>
                    <a:pt x="438" y="36"/>
                  </a:lnTo>
                  <a:lnTo>
                    <a:pt x="444" y="42"/>
                  </a:lnTo>
                  <a:lnTo>
                    <a:pt x="450" y="42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16" y="78"/>
                  </a:lnTo>
                  <a:lnTo>
                    <a:pt x="522" y="102"/>
                  </a:lnTo>
                  <a:lnTo>
                    <a:pt x="522" y="108"/>
                  </a:lnTo>
                  <a:lnTo>
                    <a:pt x="528" y="126"/>
                  </a:lnTo>
                  <a:lnTo>
                    <a:pt x="534" y="126"/>
                  </a:lnTo>
                  <a:lnTo>
                    <a:pt x="540" y="120"/>
                  </a:lnTo>
                  <a:lnTo>
                    <a:pt x="546" y="126"/>
                  </a:lnTo>
                  <a:lnTo>
                    <a:pt x="552" y="126"/>
                  </a:lnTo>
                  <a:lnTo>
                    <a:pt x="558" y="132"/>
                  </a:lnTo>
                  <a:lnTo>
                    <a:pt x="564" y="138"/>
                  </a:lnTo>
                  <a:lnTo>
                    <a:pt x="570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594" y="168"/>
                  </a:lnTo>
                  <a:lnTo>
                    <a:pt x="600" y="174"/>
                  </a:lnTo>
                  <a:lnTo>
                    <a:pt x="606" y="180"/>
                  </a:lnTo>
                  <a:lnTo>
                    <a:pt x="606" y="186"/>
                  </a:lnTo>
                  <a:lnTo>
                    <a:pt x="612" y="192"/>
                  </a:lnTo>
                  <a:lnTo>
                    <a:pt x="612" y="198"/>
                  </a:lnTo>
                  <a:lnTo>
                    <a:pt x="624" y="204"/>
                  </a:lnTo>
                  <a:lnTo>
                    <a:pt x="624" y="210"/>
                  </a:lnTo>
                  <a:lnTo>
                    <a:pt x="630" y="216"/>
                  </a:lnTo>
                  <a:lnTo>
                    <a:pt x="636" y="222"/>
                  </a:lnTo>
                  <a:lnTo>
                    <a:pt x="636" y="228"/>
                  </a:lnTo>
                  <a:lnTo>
                    <a:pt x="636" y="234"/>
                  </a:lnTo>
                  <a:lnTo>
                    <a:pt x="636" y="252"/>
                  </a:lnTo>
                  <a:lnTo>
                    <a:pt x="636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42" y="276"/>
                  </a:lnTo>
                  <a:lnTo>
                    <a:pt x="642" y="282"/>
                  </a:lnTo>
                  <a:lnTo>
                    <a:pt x="642" y="288"/>
                  </a:lnTo>
                  <a:lnTo>
                    <a:pt x="642" y="300"/>
                  </a:lnTo>
                  <a:lnTo>
                    <a:pt x="642" y="306"/>
                  </a:lnTo>
                  <a:lnTo>
                    <a:pt x="636" y="312"/>
                  </a:lnTo>
                  <a:lnTo>
                    <a:pt x="636" y="324"/>
                  </a:lnTo>
                  <a:lnTo>
                    <a:pt x="636" y="342"/>
                  </a:lnTo>
                  <a:lnTo>
                    <a:pt x="630" y="354"/>
                  </a:lnTo>
                  <a:lnTo>
                    <a:pt x="630" y="366"/>
                  </a:lnTo>
                  <a:lnTo>
                    <a:pt x="624" y="378"/>
                  </a:lnTo>
                  <a:lnTo>
                    <a:pt x="624" y="384"/>
                  </a:lnTo>
                  <a:lnTo>
                    <a:pt x="636" y="396"/>
                  </a:lnTo>
                  <a:lnTo>
                    <a:pt x="636" y="402"/>
                  </a:lnTo>
                  <a:lnTo>
                    <a:pt x="636" y="408"/>
                  </a:lnTo>
                  <a:lnTo>
                    <a:pt x="630" y="414"/>
                  </a:lnTo>
                  <a:lnTo>
                    <a:pt x="630" y="420"/>
                  </a:lnTo>
                  <a:lnTo>
                    <a:pt x="630" y="426"/>
                  </a:lnTo>
                  <a:lnTo>
                    <a:pt x="630" y="432"/>
                  </a:lnTo>
                  <a:lnTo>
                    <a:pt x="624" y="438"/>
                  </a:lnTo>
                  <a:lnTo>
                    <a:pt x="624" y="444"/>
                  </a:lnTo>
                  <a:lnTo>
                    <a:pt x="624" y="450"/>
                  </a:lnTo>
                  <a:lnTo>
                    <a:pt x="630" y="450"/>
                  </a:lnTo>
                  <a:lnTo>
                    <a:pt x="630" y="456"/>
                  </a:lnTo>
                  <a:lnTo>
                    <a:pt x="630" y="462"/>
                  </a:lnTo>
                  <a:lnTo>
                    <a:pt x="636" y="468"/>
                  </a:lnTo>
                  <a:lnTo>
                    <a:pt x="642" y="456"/>
                  </a:lnTo>
                  <a:lnTo>
                    <a:pt x="642" y="450"/>
                  </a:lnTo>
                  <a:lnTo>
                    <a:pt x="648" y="450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60" y="444"/>
                  </a:lnTo>
                  <a:lnTo>
                    <a:pt x="666" y="450"/>
                  </a:lnTo>
                  <a:lnTo>
                    <a:pt x="672" y="444"/>
                  </a:lnTo>
                  <a:lnTo>
                    <a:pt x="678" y="444"/>
                  </a:lnTo>
                  <a:lnTo>
                    <a:pt x="684" y="438"/>
                  </a:lnTo>
                  <a:lnTo>
                    <a:pt x="690" y="438"/>
                  </a:lnTo>
                  <a:lnTo>
                    <a:pt x="696" y="438"/>
                  </a:lnTo>
                  <a:lnTo>
                    <a:pt x="702" y="444"/>
                  </a:lnTo>
                  <a:lnTo>
                    <a:pt x="702" y="450"/>
                  </a:lnTo>
                  <a:lnTo>
                    <a:pt x="708" y="450"/>
                  </a:lnTo>
                  <a:lnTo>
                    <a:pt x="708" y="456"/>
                  </a:lnTo>
                  <a:lnTo>
                    <a:pt x="708" y="462"/>
                  </a:lnTo>
                  <a:lnTo>
                    <a:pt x="708" y="468"/>
                  </a:lnTo>
                  <a:lnTo>
                    <a:pt x="708" y="504"/>
                  </a:lnTo>
                  <a:lnTo>
                    <a:pt x="696" y="564"/>
                  </a:lnTo>
                  <a:lnTo>
                    <a:pt x="696" y="582"/>
                  </a:lnTo>
                  <a:lnTo>
                    <a:pt x="696" y="600"/>
                  </a:lnTo>
                  <a:lnTo>
                    <a:pt x="690" y="606"/>
                  </a:lnTo>
                  <a:lnTo>
                    <a:pt x="684" y="606"/>
                  </a:lnTo>
                  <a:lnTo>
                    <a:pt x="690" y="612"/>
                  </a:lnTo>
                  <a:lnTo>
                    <a:pt x="684" y="612"/>
                  </a:lnTo>
                  <a:lnTo>
                    <a:pt x="678" y="618"/>
                  </a:lnTo>
                  <a:lnTo>
                    <a:pt x="672" y="624"/>
                  </a:lnTo>
                  <a:lnTo>
                    <a:pt x="666" y="630"/>
                  </a:lnTo>
                  <a:lnTo>
                    <a:pt x="660" y="636"/>
                  </a:lnTo>
                  <a:lnTo>
                    <a:pt x="672" y="636"/>
                  </a:lnTo>
                  <a:lnTo>
                    <a:pt x="678" y="642"/>
                  </a:lnTo>
                  <a:lnTo>
                    <a:pt x="678" y="648"/>
                  </a:lnTo>
                  <a:lnTo>
                    <a:pt x="684" y="654"/>
                  </a:lnTo>
                  <a:lnTo>
                    <a:pt x="690" y="666"/>
                  </a:lnTo>
                  <a:lnTo>
                    <a:pt x="690" y="672"/>
                  </a:lnTo>
                  <a:lnTo>
                    <a:pt x="696" y="672"/>
                  </a:lnTo>
                  <a:lnTo>
                    <a:pt x="696" y="684"/>
                  </a:lnTo>
                  <a:lnTo>
                    <a:pt x="708" y="690"/>
                  </a:lnTo>
                  <a:lnTo>
                    <a:pt x="720" y="696"/>
                  </a:lnTo>
                  <a:lnTo>
                    <a:pt x="726" y="696"/>
                  </a:lnTo>
                  <a:lnTo>
                    <a:pt x="732" y="696"/>
                  </a:lnTo>
                  <a:lnTo>
                    <a:pt x="738" y="696"/>
                  </a:lnTo>
                  <a:lnTo>
                    <a:pt x="738" y="702"/>
                  </a:lnTo>
                  <a:lnTo>
                    <a:pt x="738" y="708"/>
                  </a:lnTo>
                  <a:lnTo>
                    <a:pt x="738" y="714"/>
                  </a:lnTo>
                  <a:lnTo>
                    <a:pt x="744" y="714"/>
                  </a:lnTo>
                  <a:lnTo>
                    <a:pt x="756" y="720"/>
                  </a:lnTo>
                  <a:lnTo>
                    <a:pt x="780" y="726"/>
                  </a:lnTo>
                  <a:lnTo>
                    <a:pt x="792" y="732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22" y="774"/>
                  </a:lnTo>
                  <a:lnTo>
                    <a:pt x="834" y="786"/>
                  </a:lnTo>
                  <a:lnTo>
                    <a:pt x="834" y="792"/>
                  </a:lnTo>
                  <a:lnTo>
                    <a:pt x="834" y="798"/>
                  </a:lnTo>
                  <a:lnTo>
                    <a:pt x="828" y="798"/>
                  </a:lnTo>
                  <a:lnTo>
                    <a:pt x="828" y="804"/>
                  </a:lnTo>
                  <a:lnTo>
                    <a:pt x="834" y="816"/>
                  </a:lnTo>
                  <a:lnTo>
                    <a:pt x="834" y="834"/>
                  </a:lnTo>
                  <a:lnTo>
                    <a:pt x="834" y="840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34" y="858"/>
                  </a:lnTo>
                  <a:lnTo>
                    <a:pt x="834" y="864"/>
                  </a:lnTo>
                  <a:lnTo>
                    <a:pt x="834" y="876"/>
                  </a:lnTo>
                  <a:lnTo>
                    <a:pt x="828" y="960"/>
                  </a:lnTo>
                  <a:lnTo>
                    <a:pt x="816" y="966"/>
                  </a:lnTo>
                  <a:lnTo>
                    <a:pt x="798" y="972"/>
                  </a:lnTo>
                  <a:lnTo>
                    <a:pt x="786" y="990"/>
                  </a:lnTo>
                  <a:lnTo>
                    <a:pt x="774" y="990"/>
                  </a:lnTo>
                  <a:lnTo>
                    <a:pt x="762" y="1008"/>
                  </a:lnTo>
                  <a:lnTo>
                    <a:pt x="732" y="1014"/>
                  </a:lnTo>
                  <a:lnTo>
                    <a:pt x="714" y="1026"/>
                  </a:lnTo>
                  <a:lnTo>
                    <a:pt x="690" y="1050"/>
                  </a:lnTo>
                  <a:lnTo>
                    <a:pt x="654" y="1056"/>
                  </a:lnTo>
                  <a:lnTo>
                    <a:pt x="630" y="1056"/>
                  </a:lnTo>
                  <a:lnTo>
                    <a:pt x="606" y="1068"/>
                  </a:lnTo>
                  <a:lnTo>
                    <a:pt x="600" y="1092"/>
                  </a:lnTo>
                  <a:lnTo>
                    <a:pt x="600" y="1098"/>
                  </a:lnTo>
                  <a:lnTo>
                    <a:pt x="588" y="1104"/>
                  </a:lnTo>
                  <a:lnTo>
                    <a:pt x="582" y="1104"/>
                  </a:lnTo>
                  <a:lnTo>
                    <a:pt x="570" y="1110"/>
                  </a:lnTo>
                  <a:lnTo>
                    <a:pt x="564" y="111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7" name="Freeform 12">
              <a:extLst>
                <a:ext uri="{FF2B5EF4-FFF2-40B4-BE49-F238E27FC236}">
                  <a16:creationId xmlns:a16="http://schemas.microsoft.com/office/drawing/2014/main" id="{6C93C114-E5D0-49BB-A44C-A127CE01CFE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810" y="2271838"/>
              <a:ext cx="923547" cy="845397"/>
            </a:xfrm>
            <a:custGeom>
              <a:avLst/>
              <a:gdLst>
                <a:gd name="T0" fmla="*/ 138 w 1740"/>
                <a:gd name="T1" fmla="*/ 134 h 1590"/>
                <a:gd name="T2" fmla="*/ 128 w 1740"/>
                <a:gd name="T3" fmla="*/ 131 h 1590"/>
                <a:gd name="T4" fmla="*/ 121 w 1740"/>
                <a:gd name="T5" fmla="*/ 130 h 1590"/>
                <a:gd name="T6" fmla="*/ 119 w 1740"/>
                <a:gd name="T7" fmla="*/ 134 h 1590"/>
                <a:gd name="T8" fmla="*/ 110 w 1740"/>
                <a:gd name="T9" fmla="*/ 132 h 1590"/>
                <a:gd name="T10" fmla="*/ 111 w 1740"/>
                <a:gd name="T11" fmla="*/ 127 h 1590"/>
                <a:gd name="T12" fmla="*/ 103 w 1740"/>
                <a:gd name="T13" fmla="*/ 117 h 1590"/>
                <a:gd name="T14" fmla="*/ 93 w 1740"/>
                <a:gd name="T15" fmla="*/ 123 h 1590"/>
                <a:gd name="T16" fmla="*/ 80 w 1740"/>
                <a:gd name="T17" fmla="*/ 118 h 1590"/>
                <a:gd name="T18" fmla="*/ 66 w 1740"/>
                <a:gd name="T19" fmla="*/ 117 h 1590"/>
                <a:gd name="T20" fmla="*/ 66 w 1740"/>
                <a:gd name="T21" fmla="*/ 110 h 1590"/>
                <a:gd name="T22" fmla="*/ 69 w 1740"/>
                <a:gd name="T23" fmla="*/ 107 h 1590"/>
                <a:gd name="T24" fmla="*/ 68 w 1740"/>
                <a:gd name="T25" fmla="*/ 102 h 1590"/>
                <a:gd name="T26" fmla="*/ 68 w 1740"/>
                <a:gd name="T27" fmla="*/ 96 h 1590"/>
                <a:gd name="T28" fmla="*/ 67 w 1740"/>
                <a:gd name="T29" fmla="*/ 82 h 1590"/>
                <a:gd name="T30" fmla="*/ 58 w 1740"/>
                <a:gd name="T31" fmla="*/ 82 h 1590"/>
                <a:gd name="T32" fmla="*/ 52 w 1740"/>
                <a:gd name="T33" fmla="*/ 82 h 1590"/>
                <a:gd name="T34" fmla="*/ 46 w 1740"/>
                <a:gd name="T35" fmla="*/ 80 h 1590"/>
                <a:gd name="T36" fmla="*/ 45 w 1740"/>
                <a:gd name="T37" fmla="*/ 74 h 1590"/>
                <a:gd name="T38" fmla="*/ 52 w 1740"/>
                <a:gd name="T39" fmla="*/ 70 h 1590"/>
                <a:gd name="T40" fmla="*/ 52 w 1740"/>
                <a:gd name="T41" fmla="*/ 64 h 1590"/>
                <a:gd name="T42" fmla="*/ 42 w 1740"/>
                <a:gd name="T43" fmla="*/ 53 h 1590"/>
                <a:gd name="T44" fmla="*/ 35 w 1740"/>
                <a:gd name="T45" fmla="*/ 52 h 1590"/>
                <a:gd name="T46" fmla="*/ 20 w 1740"/>
                <a:gd name="T47" fmla="*/ 51 h 1590"/>
                <a:gd name="T48" fmla="*/ 17 w 1740"/>
                <a:gd name="T49" fmla="*/ 56 h 1590"/>
                <a:gd name="T50" fmla="*/ 11 w 1740"/>
                <a:gd name="T51" fmla="*/ 61 h 1590"/>
                <a:gd name="T52" fmla="*/ 7 w 1740"/>
                <a:gd name="T53" fmla="*/ 63 h 1590"/>
                <a:gd name="T54" fmla="*/ 0 w 1740"/>
                <a:gd name="T55" fmla="*/ 55 h 1590"/>
                <a:gd name="T56" fmla="*/ 2 w 1740"/>
                <a:gd name="T57" fmla="*/ 50 h 1590"/>
                <a:gd name="T58" fmla="*/ 0 w 1740"/>
                <a:gd name="T59" fmla="*/ 44 h 1590"/>
                <a:gd name="T60" fmla="*/ 2 w 1740"/>
                <a:gd name="T61" fmla="*/ 38 h 1590"/>
                <a:gd name="T62" fmla="*/ 7 w 1740"/>
                <a:gd name="T63" fmla="*/ 35 h 1590"/>
                <a:gd name="T64" fmla="*/ 11 w 1740"/>
                <a:gd name="T65" fmla="*/ 30 h 1590"/>
                <a:gd name="T66" fmla="*/ 21 w 1740"/>
                <a:gd name="T67" fmla="*/ 26 h 1590"/>
                <a:gd name="T68" fmla="*/ 29 w 1740"/>
                <a:gd name="T69" fmla="*/ 25 h 1590"/>
                <a:gd name="T70" fmla="*/ 35 w 1740"/>
                <a:gd name="T71" fmla="*/ 21 h 1590"/>
                <a:gd name="T72" fmla="*/ 36 w 1740"/>
                <a:gd name="T73" fmla="*/ 16 h 1590"/>
                <a:gd name="T74" fmla="*/ 41 w 1740"/>
                <a:gd name="T75" fmla="*/ 11 h 1590"/>
                <a:gd name="T76" fmla="*/ 51 w 1740"/>
                <a:gd name="T77" fmla="*/ 9 h 1590"/>
                <a:gd name="T78" fmla="*/ 59 w 1740"/>
                <a:gd name="T79" fmla="*/ 21 h 1590"/>
                <a:gd name="T80" fmla="*/ 65 w 1740"/>
                <a:gd name="T81" fmla="*/ 13 h 1590"/>
                <a:gd name="T82" fmla="*/ 73 w 1740"/>
                <a:gd name="T83" fmla="*/ 8 h 1590"/>
                <a:gd name="T84" fmla="*/ 82 w 1740"/>
                <a:gd name="T85" fmla="*/ 12 h 1590"/>
                <a:gd name="T86" fmla="*/ 88 w 1740"/>
                <a:gd name="T87" fmla="*/ 12 h 1590"/>
                <a:gd name="T88" fmla="*/ 99 w 1740"/>
                <a:gd name="T89" fmla="*/ 7 h 1590"/>
                <a:gd name="T90" fmla="*/ 114 w 1740"/>
                <a:gd name="T91" fmla="*/ 0 h 1590"/>
                <a:gd name="T92" fmla="*/ 117 w 1740"/>
                <a:gd name="T93" fmla="*/ 10 h 1590"/>
                <a:gd name="T94" fmla="*/ 132 w 1740"/>
                <a:gd name="T95" fmla="*/ 17 h 1590"/>
                <a:gd name="T96" fmla="*/ 140 w 1740"/>
                <a:gd name="T97" fmla="*/ 25 h 1590"/>
                <a:gd name="T98" fmla="*/ 140 w 1740"/>
                <a:gd name="T99" fmla="*/ 33 h 1590"/>
                <a:gd name="T100" fmla="*/ 140 w 1740"/>
                <a:gd name="T101" fmla="*/ 44 h 1590"/>
                <a:gd name="T102" fmla="*/ 138 w 1740"/>
                <a:gd name="T103" fmla="*/ 48 h 1590"/>
                <a:gd name="T104" fmla="*/ 141 w 1740"/>
                <a:gd name="T105" fmla="*/ 49 h 1590"/>
                <a:gd name="T106" fmla="*/ 146 w 1740"/>
                <a:gd name="T107" fmla="*/ 50 h 1590"/>
                <a:gd name="T108" fmla="*/ 149 w 1740"/>
                <a:gd name="T109" fmla="*/ 59 h 1590"/>
                <a:gd name="T110" fmla="*/ 148 w 1740"/>
                <a:gd name="T111" fmla="*/ 67 h 1590"/>
                <a:gd name="T112" fmla="*/ 141 w 1740"/>
                <a:gd name="T113" fmla="*/ 78 h 1590"/>
                <a:gd name="T114" fmla="*/ 141 w 1740"/>
                <a:gd name="T115" fmla="*/ 91 h 1590"/>
                <a:gd name="T116" fmla="*/ 138 w 1740"/>
                <a:gd name="T117" fmla="*/ 102 h 1590"/>
                <a:gd name="T118" fmla="*/ 138 w 1740"/>
                <a:gd name="T119" fmla="*/ 110 h 1590"/>
                <a:gd name="T120" fmla="*/ 144 w 1740"/>
                <a:gd name="T121" fmla="*/ 118 h 1590"/>
                <a:gd name="T122" fmla="*/ 143 w 1740"/>
                <a:gd name="T123" fmla="*/ 125 h 159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740"/>
                <a:gd name="T187" fmla="*/ 0 h 1590"/>
                <a:gd name="T188" fmla="*/ 1740 w 1740"/>
                <a:gd name="T189" fmla="*/ 1590 h 159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740" h="1590">
                  <a:moveTo>
                    <a:pt x="1638" y="1458"/>
                  </a:moveTo>
                  <a:lnTo>
                    <a:pt x="1638" y="1482"/>
                  </a:lnTo>
                  <a:lnTo>
                    <a:pt x="1638" y="1500"/>
                  </a:lnTo>
                  <a:lnTo>
                    <a:pt x="1626" y="1500"/>
                  </a:lnTo>
                  <a:lnTo>
                    <a:pt x="1620" y="1500"/>
                  </a:lnTo>
                  <a:lnTo>
                    <a:pt x="1614" y="1500"/>
                  </a:lnTo>
                  <a:lnTo>
                    <a:pt x="1614" y="1506"/>
                  </a:lnTo>
                  <a:lnTo>
                    <a:pt x="1614" y="1512"/>
                  </a:lnTo>
                  <a:lnTo>
                    <a:pt x="1620" y="1518"/>
                  </a:lnTo>
                  <a:lnTo>
                    <a:pt x="1614" y="1524"/>
                  </a:lnTo>
                  <a:lnTo>
                    <a:pt x="1590" y="1536"/>
                  </a:lnTo>
                  <a:lnTo>
                    <a:pt x="1584" y="1566"/>
                  </a:lnTo>
                  <a:lnTo>
                    <a:pt x="1578" y="1590"/>
                  </a:lnTo>
                  <a:lnTo>
                    <a:pt x="1548" y="1590"/>
                  </a:lnTo>
                  <a:lnTo>
                    <a:pt x="1542" y="1584"/>
                  </a:lnTo>
                  <a:lnTo>
                    <a:pt x="1542" y="1572"/>
                  </a:lnTo>
                  <a:lnTo>
                    <a:pt x="1536" y="1566"/>
                  </a:lnTo>
                  <a:lnTo>
                    <a:pt x="1536" y="1554"/>
                  </a:lnTo>
                  <a:lnTo>
                    <a:pt x="1536" y="1548"/>
                  </a:lnTo>
                  <a:lnTo>
                    <a:pt x="1506" y="1530"/>
                  </a:lnTo>
                  <a:lnTo>
                    <a:pt x="1488" y="1506"/>
                  </a:lnTo>
                  <a:lnTo>
                    <a:pt x="1464" y="1500"/>
                  </a:lnTo>
                  <a:lnTo>
                    <a:pt x="1470" y="1494"/>
                  </a:lnTo>
                  <a:lnTo>
                    <a:pt x="1470" y="1488"/>
                  </a:lnTo>
                  <a:lnTo>
                    <a:pt x="1470" y="1482"/>
                  </a:lnTo>
                  <a:lnTo>
                    <a:pt x="1428" y="1464"/>
                  </a:lnTo>
                  <a:lnTo>
                    <a:pt x="1404" y="1470"/>
                  </a:lnTo>
                  <a:lnTo>
                    <a:pt x="1398" y="1470"/>
                  </a:lnTo>
                  <a:lnTo>
                    <a:pt x="1392" y="1476"/>
                  </a:lnTo>
                  <a:lnTo>
                    <a:pt x="1386" y="1476"/>
                  </a:lnTo>
                  <a:lnTo>
                    <a:pt x="1386" y="1482"/>
                  </a:lnTo>
                  <a:lnTo>
                    <a:pt x="1392" y="1482"/>
                  </a:lnTo>
                  <a:lnTo>
                    <a:pt x="1386" y="1488"/>
                  </a:lnTo>
                  <a:lnTo>
                    <a:pt x="1386" y="1494"/>
                  </a:lnTo>
                  <a:lnTo>
                    <a:pt x="1380" y="1494"/>
                  </a:lnTo>
                  <a:lnTo>
                    <a:pt x="1380" y="1500"/>
                  </a:lnTo>
                  <a:lnTo>
                    <a:pt x="1380" y="1512"/>
                  </a:lnTo>
                  <a:lnTo>
                    <a:pt x="1380" y="1518"/>
                  </a:lnTo>
                  <a:lnTo>
                    <a:pt x="1380" y="1524"/>
                  </a:lnTo>
                  <a:lnTo>
                    <a:pt x="1380" y="1530"/>
                  </a:lnTo>
                  <a:lnTo>
                    <a:pt x="1374" y="1536"/>
                  </a:lnTo>
                  <a:lnTo>
                    <a:pt x="1374" y="1542"/>
                  </a:lnTo>
                  <a:lnTo>
                    <a:pt x="1368" y="1542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44" y="1554"/>
                  </a:lnTo>
                  <a:lnTo>
                    <a:pt x="1332" y="1560"/>
                  </a:lnTo>
                  <a:lnTo>
                    <a:pt x="1302" y="1554"/>
                  </a:lnTo>
                  <a:lnTo>
                    <a:pt x="1290" y="1554"/>
                  </a:lnTo>
                  <a:lnTo>
                    <a:pt x="1278" y="1542"/>
                  </a:lnTo>
                  <a:lnTo>
                    <a:pt x="1272" y="1530"/>
                  </a:lnTo>
                  <a:lnTo>
                    <a:pt x="1272" y="1524"/>
                  </a:lnTo>
                  <a:lnTo>
                    <a:pt x="1272" y="1518"/>
                  </a:lnTo>
                  <a:lnTo>
                    <a:pt x="1266" y="1518"/>
                  </a:lnTo>
                  <a:lnTo>
                    <a:pt x="1266" y="1512"/>
                  </a:lnTo>
                  <a:lnTo>
                    <a:pt x="1266" y="1506"/>
                  </a:lnTo>
                  <a:lnTo>
                    <a:pt x="1272" y="1506"/>
                  </a:lnTo>
                  <a:lnTo>
                    <a:pt x="1272" y="1500"/>
                  </a:lnTo>
                  <a:lnTo>
                    <a:pt x="1278" y="1500"/>
                  </a:lnTo>
                  <a:lnTo>
                    <a:pt x="1278" y="1494"/>
                  </a:lnTo>
                  <a:lnTo>
                    <a:pt x="1278" y="1488"/>
                  </a:lnTo>
                  <a:lnTo>
                    <a:pt x="1284" y="1488"/>
                  </a:lnTo>
                  <a:lnTo>
                    <a:pt x="1284" y="1482"/>
                  </a:lnTo>
                  <a:lnTo>
                    <a:pt x="1290" y="1476"/>
                  </a:lnTo>
                  <a:lnTo>
                    <a:pt x="1284" y="1470"/>
                  </a:lnTo>
                  <a:lnTo>
                    <a:pt x="1278" y="1458"/>
                  </a:lnTo>
                  <a:lnTo>
                    <a:pt x="1278" y="1452"/>
                  </a:lnTo>
                  <a:lnTo>
                    <a:pt x="1260" y="1428"/>
                  </a:lnTo>
                  <a:lnTo>
                    <a:pt x="1254" y="1416"/>
                  </a:lnTo>
                  <a:lnTo>
                    <a:pt x="1254" y="1410"/>
                  </a:lnTo>
                  <a:lnTo>
                    <a:pt x="1248" y="1398"/>
                  </a:lnTo>
                  <a:lnTo>
                    <a:pt x="1242" y="1398"/>
                  </a:lnTo>
                  <a:lnTo>
                    <a:pt x="1236" y="1398"/>
                  </a:lnTo>
                  <a:lnTo>
                    <a:pt x="1218" y="1386"/>
                  </a:lnTo>
                  <a:lnTo>
                    <a:pt x="1212" y="1362"/>
                  </a:lnTo>
                  <a:lnTo>
                    <a:pt x="1200" y="1344"/>
                  </a:lnTo>
                  <a:lnTo>
                    <a:pt x="1188" y="1338"/>
                  </a:lnTo>
                  <a:lnTo>
                    <a:pt x="1164" y="1338"/>
                  </a:lnTo>
                  <a:lnTo>
                    <a:pt x="1158" y="1344"/>
                  </a:lnTo>
                  <a:lnTo>
                    <a:pt x="1152" y="1350"/>
                  </a:lnTo>
                  <a:lnTo>
                    <a:pt x="1152" y="1356"/>
                  </a:lnTo>
                  <a:lnTo>
                    <a:pt x="1140" y="1362"/>
                  </a:lnTo>
                  <a:lnTo>
                    <a:pt x="1134" y="1380"/>
                  </a:lnTo>
                  <a:lnTo>
                    <a:pt x="1116" y="1398"/>
                  </a:lnTo>
                  <a:lnTo>
                    <a:pt x="1110" y="1416"/>
                  </a:lnTo>
                  <a:lnTo>
                    <a:pt x="1086" y="1416"/>
                  </a:lnTo>
                  <a:lnTo>
                    <a:pt x="1080" y="1410"/>
                  </a:lnTo>
                  <a:lnTo>
                    <a:pt x="1074" y="1410"/>
                  </a:lnTo>
                  <a:lnTo>
                    <a:pt x="1074" y="1404"/>
                  </a:lnTo>
                  <a:lnTo>
                    <a:pt x="1062" y="1404"/>
                  </a:lnTo>
                  <a:lnTo>
                    <a:pt x="1062" y="1380"/>
                  </a:lnTo>
                  <a:lnTo>
                    <a:pt x="1038" y="1380"/>
                  </a:lnTo>
                  <a:lnTo>
                    <a:pt x="1026" y="1350"/>
                  </a:lnTo>
                  <a:lnTo>
                    <a:pt x="996" y="1326"/>
                  </a:lnTo>
                  <a:lnTo>
                    <a:pt x="966" y="1314"/>
                  </a:lnTo>
                  <a:lnTo>
                    <a:pt x="954" y="1320"/>
                  </a:lnTo>
                  <a:lnTo>
                    <a:pt x="942" y="1338"/>
                  </a:lnTo>
                  <a:lnTo>
                    <a:pt x="930" y="1338"/>
                  </a:lnTo>
                  <a:lnTo>
                    <a:pt x="924" y="1350"/>
                  </a:lnTo>
                  <a:lnTo>
                    <a:pt x="906" y="1356"/>
                  </a:lnTo>
                  <a:lnTo>
                    <a:pt x="846" y="1356"/>
                  </a:lnTo>
                  <a:lnTo>
                    <a:pt x="834" y="1368"/>
                  </a:lnTo>
                  <a:lnTo>
                    <a:pt x="810" y="1362"/>
                  </a:lnTo>
                  <a:lnTo>
                    <a:pt x="792" y="1362"/>
                  </a:lnTo>
                  <a:lnTo>
                    <a:pt x="780" y="1368"/>
                  </a:lnTo>
                  <a:lnTo>
                    <a:pt x="762" y="1368"/>
                  </a:lnTo>
                  <a:lnTo>
                    <a:pt x="762" y="1362"/>
                  </a:lnTo>
                  <a:lnTo>
                    <a:pt x="750" y="1362"/>
                  </a:lnTo>
                  <a:lnTo>
                    <a:pt x="750" y="1338"/>
                  </a:lnTo>
                  <a:lnTo>
                    <a:pt x="762" y="1338"/>
                  </a:lnTo>
                  <a:lnTo>
                    <a:pt x="762" y="1326"/>
                  </a:lnTo>
                  <a:lnTo>
                    <a:pt x="762" y="1314"/>
                  </a:lnTo>
                  <a:lnTo>
                    <a:pt x="732" y="1314"/>
                  </a:lnTo>
                  <a:lnTo>
                    <a:pt x="726" y="1308"/>
                  </a:lnTo>
                  <a:lnTo>
                    <a:pt x="732" y="1284"/>
                  </a:lnTo>
                  <a:lnTo>
                    <a:pt x="732" y="1278"/>
                  </a:lnTo>
                  <a:lnTo>
                    <a:pt x="738" y="1272"/>
                  </a:lnTo>
                  <a:lnTo>
                    <a:pt x="738" y="1266"/>
                  </a:lnTo>
                  <a:lnTo>
                    <a:pt x="744" y="1266"/>
                  </a:lnTo>
                  <a:lnTo>
                    <a:pt x="750" y="1272"/>
                  </a:lnTo>
                  <a:lnTo>
                    <a:pt x="756" y="1266"/>
                  </a:lnTo>
                  <a:lnTo>
                    <a:pt x="762" y="1266"/>
                  </a:lnTo>
                  <a:lnTo>
                    <a:pt x="768" y="1260"/>
                  </a:lnTo>
                  <a:lnTo>
                    <a:pt x="774" y="1260"/>
                  </a:lnTo>
                  <a:lnTo>
                    <a:pt x="780" y="1254"/>
                  </a:lnTo>
                  <a:lnTo>
                    <a:pt x="774" y="1254"/>
                  </a:lnTo>
                  <a:lnTo>
                    <a:pt x="768" y="1254"/>
                  </a:lnTo>
                  <a:lnTo>
                    <a:pt x="774" y="1248"/>
                  </a:lnTo>
                  <a:lnTo>
                    <a:pt x="774" y="1242"/>
                  </a:lnTo>
                  <a:lnTo>
                    <a:pt x="780" y="1236"/>
                  </a:lnTo>
                  <a:lnTo>
                    <a:pt x="786" y="1236"/>
                  </a:lnTo>
                  <a:lnTo>
                    <a:pt x="792" y="1230"/>
                  </a:lnTo>
                  <a:lnTo>
                    <a:pt x="792" y="1236"/>
                  </a:lnTo>
                  <a:lnTo>
                    <a:pt x="798" y="1236"/>
                  </a:lnTo>
                  <a:lnTo>
                    <a:pt x="798" y="1230"/>
                  </a:lnTo>
                  <a:lnTo>
                    <a:pt x="804" y="1230"/>
                  </a:lnTo>
                  <a:lnTo>
                    <a:pt x="804" y="1218"/>
                  </a:lnTo>
                  <a:lnTo>
                    <a:pt x="804" y="1206"/>
                  </a:lnTo>
                  <a:lnTo>
                    <a:pt x="792" y="1188"/>
                  </a:lnTo>
                  <a:lnTo>
                    <a:pt x="768" y="1182"/>
                  </a:lnTo>
                  <a:lnTo>
                    <a:pt x="768" y="1170"/>
                  </a:lnTo>
                  <a:lnTo>
                    <a:pt x="774" y="1170"/>
                  </a:lnTo>
                  <a:lnTo>
                    <a:pt x="780" y="1170"/>
                  </a:lnTo>
                  <a:lnTo>
                    <a:pt x="786" y="1170"/>
                  </a:lnTo>
                  <a:lnTo>
                    <a:pt x="780" y="1152"/>
                  </a:lnTo>
                  <a:lnTo>
                    <a:pt x="780" y="1146"/>
                  </a:lnTo>
                  <a:lnTo>
                    <a:pt x="744" y="1140"/>
                  </a:lnTo>
                  <a:lnTo>
                    <a:pt x="732" y="1128"/>
                  </a:lnTo>
                  <a:lnTo>
                    <a:pt x="720" y="1122"/>
                  </a:lnTo>
                  <a:lnTo>
                    <a:pt x="732" y="1116"/>
                  </a:lnTo>
                  <a:lnTo>
                    <a:pt x="750" y="1104"/>
                  </a:lnTo>
                  <a:lnTo>
                    <a:pt x="756" y="1116"/>
                  </a:lnTo>
                  <a:lnTo>
                    <a:pt x="774" y="1116"/>
                  </a:lnTo>
                  <a:lnTo>
                    <a:pt x="780" y="1104"/>
                  </a:lnTo>
                  <a:lnTo>
                    <a:pt x="780" y="1080"/>
                  </a:lnTo>
                  <a:lnTo>
                    <a:pt x="786" y="1080"/>
                  </a:lnTo>
                  <a:lnTo>
                    <a:pt x="786" y="1074"/>
                  </a:lnTo>
                  <a:lnTo>
                    <a:pt x="792" y="1074"/>
                  </a:lnTo>
                  <a:lnTo>
                    <a:pt x="786" y="1068"/>
                  </a:lnTo>
                  <a:lnTo>
                    <a:pt x="786" y="1062"/>
                  </a:lnTo>
                  <a:lnTo>
                    <a:pt x="786" y="1056"/>
                  </a:lnTo>
                  <a:lnTo>
                    <a:pt x="792" y="1050"/>
                  </a:lnTo>
                  <a:lnTo>
                    <a:pt x="786" y="1020"/>
                  </a:lnTo>
                  <a:lnTo>
                    <a:pt x="780" y="960"/>
                  </a:lnTo>
                  <a:lnTo>
                    <a:pt x="768" y="942"/>
                  </a:lnTo>
                  <a:lnTo>
                    <a:pt x="732" y="936"/>
                  </a:lnTo>
                  <a:lnTo>
                    <a:pt x="732" y="942"/>
                  </a:lnTo>
                  <a:lnTo>
                    <a:pt x="726" y="942"/>
                  </a:lnTo>
                  <a:lnTo>
                    <a:pt x="720" y="936"/>
                  </a:lnTo>
                  <a:lnTo>
                    <a:pt x="714" y="942"/>
                  </a:lnTo>
                  <a:lnTo>
                    <a:pt x="708" y="942"/>
                  </a:lnTo>
                  <a:lnTo>
                    <a:pt x="702" y="942"/>
                  </a:lnTo>
                  <a:lnTo>
                    <a:pt x="690" y="936"/>
                  </a:lnTo>
                  <a:lnTo>
                    <a:pt x="684" y="936"/>
                  </a:lnTo>
                  <a:lnTo>
                    <a:pt x="678" y="936"/>
                  </a:lnTo>
                  <a:lnTo>
                    <a:pt x="672" y="936"/>
                  </a:lnTo>
                  <a:lnTo>
                    <a:pt x="666" y="942"/>
                  </a:lnTo>
                  <a:lnTo>
                    <a:pt x="660" y="942"/>
                  </a:lnTo>
                  <a:lnTo>
                    <a:pt x="654" y="942"/>
                  </a:lnTo>
                  <a:lnTo>
                    <a:pt x="648" y="942"/>
                  </a:lnTo>
                  <a:lnTo>
                    <a:pt x="642" y="936"/>
                  </a:lnTo>
                  <a:lnTo>
                    <a:pt x="636" y="936"/>
                  </a:lnTo>
                  <a:lnTo>
                    <a:pt x="630" y="930"/>
                  </a:lnTo>
                  <a:lnTo>
                    <a:pt x="618" y="930"/>
                  </a:lnTo>
                  <a:lnTo>
                    <a:pt x="612" y="930"/>
                  </a:lnTo>
                  <a:lnTo>
                    <a:pt x="606" y="936"/>
                  </a:lnTo>
                  <a:lnTo>
                    <a:pt x="600" y="942"/>
                  </a:lnTo>
                  <a:lnTo>
                    <a:pt x="600" y="936"/>
                  </a:lnTo>
                  <a:lnTo>
                    <a:pt x="594" y="930"/>
                  </a:lnTo>
                  <a:lnTo>
                    <a:pt x="588" y="930"/>
                  </a:lnTo>
                  <a:lnTo>
                    <a:pt x="582" y="930"/>
                  </a:lnTo>
                  <a:lnTo>
                    <a:pt x="576" y="930"/>
                  </a:lnTo>
                  <a:lnTo>
                    <a:pt x="564" y="936"/>
                  </a:lnTo>
                  <a:lnTo>
                    <a:pt x="558" y="936"/>
                  </a:lnTo>
                  <a:lnTo>
                    <a:pt x="546" y="924"/>
                  </a:lnTo>
                  <a:lnTo>
                    <a:pt x="540" y="924"/>
                  </a:lnTo>
                  <a:lnTo>
                    <a:pt x="534" y="918"/>
                  </a:lnTo>
                  <a:lnTo>
                    <a:pt x="528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6" y="918"/>
                  </a:lnTo>
                  <a:lnTo>
                    <a:pt x="516" y="912"/>
                  </a:lnTo>
                  <a:lnTo>
                    <a:pt x="510" y="894"/>
                  </a:lnTo>
                  <a:lnTo>
                    <a:pt x="510" y="882"/>
                  </a:lnTo>
                  <a:lnTo>
                    <a:pt x="510" y="876"/>
                  </a:lnTo>
                  <a:lnTo>
                    <a:pt x="516" y="870"/>
                  </a:lnTo>
                  <a:lnTo>
                    <a:pt x="510" y="864"/>
                  </a:lnTo>
                  <a:lnTo>
                    <a:pt x="516" y="858"/>
                  </a:lnTo>
                  <a:lnTo>
                    <a:pt x="522" y="858"/>
                  </a:lnTo>
                  <a:lnTo>
                    <a:pt x="528" y="858"/>
                  </a:lnTo>
                  <a:lnTo>
                    <a:pt x="522" y="852"/>
                  </a:lnTo>
                  <a:lnTo>
                    <a:pt x="528" y="852"/>
                  </a:lnTo>
                  <a:lnTo>
                    <a:pt x="528" y="846"/>
                  </a:lnTo>
                  <a:lnTo>
                    <a:pt x="552" y="846"/>
                  </a:lnTo>
                  <a:lnTo>
                    <a:pt x="558" y="840"/>
                  </a:lnTo>
                  <a:lnTo>
                    <a:pt x="564" y="828"/>
                  </a:lnTo>
                  <a:lnTo>
                    <a:pt x="570" y="816"/>
                  </a:lnTo>
                  <a:lnTo>
                    <a:pt x="582" y="810"/>
                  </a:lnTo>
                  <a:lnTo>
                    <a:pt x="588" y="804"/>
                  </a:lnTo>
                  <a:lnTo>
                    <a:pt x="594" y="804"/>
                  </a:lnTo>
                  <a:lnTo>
                    <a:pt x="594" y="792"/>
                  </a:lnTo>
                  <a:lnTo>
                    <a:pt x="600" y="786"/>
                  </a:lnTo>
                  <a:lnTo>
                    <a:pt x="606" y="780"/>
                  </a:lnTo>
                  <a:lnTo>
                    <a:pt x="612" y="774"/>
                  </a:lnTo>
                  <a:lnTo>
                    <a:pt x="618" y="774"/>
                  </a:lnTo>
                  <a:lnTo>
                    <a:pt x="618" y="768"/>
                  </a:lnTo>
                  <a:lnTo>
                    <a:pt x="618" y="762"/>
                  </a:lnTo>
                  <a:lnTo>
                    <a:pt x="624" y="756"/>
                  </a:lnTo>
                  <a:lnTo>
                    <a:pt x="618" y="750"/>
                  </a:lnTo>
                  <a:lnTo>
                    <a:pt x="618" y="744"/>
                  </a:lnTo>
                  <a:lnTo>
                    <a:pt x="600" y="738"/>
                  </a:lnTo>
                  <a:lnTo>
                    <a:pt x="558" y="744"/>
                  </a:lnTo>
                  <a:lnTo>
                    <a:pt x="552" y="732"/>
                  </a:lnTo>
                  <a:lnTo>
                    <a:pt x="546" y="720"/>
                  </a:lnTo>
                  <a:lnTo>
                    <a:pt x="564" y="702"/>
                  </a:lnTo>
                  <a:lnTo>
                    <a:pt x="570" y="684"/>
                  </a:lnTo>
                  <a:lnTo>
                    <a:pt x="564" y="648"/>
                  </a:lnTo>
                  <a:lnTo>
                    <a:pt x="534" y="624"/>
                  </a:lnTo>
                  <a:lnTo>
                    <a:pt x="504" y="612"/>
                  </a:lnTo>
                  <a:lnTo>
                    <a:pt x="498" y="606"/>
                  </a:lnTo>
                  <a:lnTo>
                    <a:pt x="492" y="600"/>
                  </a:lnTo>
                  <a:lnTo>
                    <a:pt x="486" y="606"/>
                  </a:lnTo>
                  <a:lnTo>
                    <a:pt x="480" y="558"/>
                  </a:lnTo>
                  <a:lnTo>
                    <a:pt x="462" y="546"/>
                  </a:lnTo>
                  <a:lnTo>
                    <a:pt x="408" y="540"/>
                  </a:lnTo>
                  <a:lnTo>
                    <a:pt x="408" y="546"/>
                  </a:lnTo>
                  <a:lnTo>
                    <a:pt x="408" y="558"/>
                  </a:lnTo>
                  <a:lnTo>
                    <a:pt x="408" y="564"/>
                  </a:lnTo>
                  <a:lnTo>
                    <a:pt x="408" y="570"/>
                  </a:lnTo>
                  <a:lnTo>
                    <a:pt x="414" y="582"/>
                  </a:lnTo>
                  <a:lnTo>
                    <a:pt x="408" y="594"/>
                  </a:lnTo>
                  <a:lnTo>
                    <a:pt x="414" y="594"/>
                  </a:lnTo>
                  <a:lnTo>
                    <a:pt x="408" y="600"/>
                  </a:lnTo>
                  <a:lnTo>
                    <a:pt x="348" y="600"/>
                  </a:lnTo>
                  <a:lnTo>
                    <a:pt x="324" y="600"/>
                  </a:lnTo>
                  <a:lnTo>
                    <a:pt x="324" y="612"/>
                  </a:lnTo>
                  <a:lnTo>
                    <a:pt x="306" y="618"/>
                  </a:lnTo>
                  <a:lnTo>
                    <a:pt x="312" y="618"/>
                  </a:lnTo>
                  <a:lnTo>
                    <a:pt x="294" y="588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76"/>
                  </a:lnTo>
                  <a:lnTo>
                    <a:pt x="240" y="582"/>
                  </a:lnTo>
                  <a:lnTo>
                    <a:pt x="234" y="582"/>
                  </a:lnTo>
                  <a:lnTo>
                    <a:pt x="228" y="588"/>
                  </a:lnTo>
                  <a:lnTo>
                    <a:pt x="222" y="588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8" y="600"/>
                  </a:lnTo>
                  <a:lnTo>
                    <a:pt x="192" y="612"/>
                  </a:lnTo>
                  <a:lnTo>
                    <a:pt x="192" y="618"/>
                  </a:lnTo>
                  <a:lnTo>
                    <a:pt x="198" y="624"/>
                  </a:lnTo>
                  <a:lnTo>
                    <a:pt x="192" y="624"/>
                  </a:lnTo>
                  <a:lnTo>
                    <a:pt x="192" y="630"/>
                  </a:lnTo>
                  <a:lnTo>
                    <a:pt x="192" y="642"/>
                  </a:lnTo>
                  <a:lnTo>
                    <a:pt x="180" y="648"/>
                  </a:lnTo>
                  <a:lnTo>
                    <a:pt x="174" y="654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6"/>
                  </a:lnTo>
                  <a:lnTo>
                    <a:pt x="156" y="672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90"/>
                  </a:lnTo>
                  <a:lnTo>
                    <a:pt x="132" y="690"/>
                  </a:lnTo>
                  <a:lnTo>
                    <a:pt x="126" y="702"/>
                  </a:lnTo>
                  <a:lnTo>
                    <a:pt x="132" y="708"/>
                  </a:lnTo>
                  <a:lnTo>
                    <a:pt x="126" y="708"/>
                  </a:lnTo>
                  <a:lnTo>
                    <a:pt x="120" y="708"/>
                  </a:lnTo>
                  <a:lnTo>
                    <a:pt x="114" y="708"/>
                  </a:lnTo>
                  <a:lnTo>
                    <a:pt x="108" y="708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78" y="720"/>
                  </a:lnTo>
                  <a:lnTo>
                    <a:pt x="72" y="720"/>
                  </a:lnTo>
                  <a:lnTo>
                    <a:pt x="66" y="720"/>
                  </a:lnTo>
                  <a:lnTo>
                    <a:pt x="54" y="732"/>
                  </a:lnTo>
                  <a:lnTo>
                    <a:pt x="48" y="702"/>
                  </a:lnTo>
                  <a:lnTo>
                    <a:pt x="36" y="666"/>
                  </a:lnTo>
                  <a:lnTo>
                    <a:pt x="0" y="660"/>
                  </a:lnTo>
                  <a:lnTo>
                    <a:pt x="6" y="660"/>
                  </a:lnTo>
                  <a:lnTo>
                    <a:pt x="6" y="654"/>
                  </a:lnTo>
                  <a:lnTo>
                    <a:pt x="6" y="648"/>
                  </a:lnTo>
                  <a:lnTo>
                    <a:pt x="6" y="642"/>
                  </a:lnTo>
                  <a:lnTo>
                    <a:pt x="6" y="624"/>
                  </a:lnTo>
                  <a:lnTo>
                    <a:pt x="6" y="612"/>
                  </a:lnTo>
                  <a:lnTo>
                    <a:pt x="6" y="606"/>
                  </a:lnTo>
                  <a:lnTo>
                    <a:pt x="12" y="612"/>
                  </a:lnTo>
                  <a:lnTo>
                    <a:pt x="18" y="606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30" y="594"/>
                  </a:lnTo>
                  <a:lnTo>
                    <a:pt x="30" y="588"/>
                  </a:lnTo>
                  <a:lnTo>
                    <a:pt x="30" y="582"/>
                  </a:lnTo>
                  <a:lnTo>
                    <a:pt x="24" y="576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18" y="558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36" y="528"/>
                  </a:lnTo>
                  <a:lnTo>
                    <a:pt x="30" y="522"/>
                  </a:lnTo>
                  <a:lnTo>
                    <a:pt x="24" y="522"/>
                  </a:lnTo>
                  <a:lnTo>
                    <a:pt x="18" y="510"/>
                  </a:lnTo>
                  <a:lnTo>
                    <a:pt x="12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8" y="474"/>
                  </a:lnTo>
                  <a:lnTo>
                    <a:pt x="12" y="468"/>
                  </a:lnTo>
                  <a:lnTo>
                    <a:pt x="12" y="462"/>
                  </a:lnTo>
                  <a:lnTo>
                    <a:pt x="18" y="456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0" y="420"/>
                  </a:lnTo>
                  <a:lnTo>
                    <a:pt x="30" y="414"/>
                  </a:lnTo>
                  <a:lnTo>
                    <a:pt x="48" y="414"/>
                  </a:lnTo>
                  <a:lnTo>
                    <a:pt x="54" y="408"/>
                  </a:lnTo>
                  <a:lnTo>
                    <a:pt x="60" y="402"/>
                  </a:lnTo>
                  <a:lnTo>
                    <a:pt x="66" y="402"/>
                  </a:lnTo>
                  <a:lnTo>
                    <a:pt x="72" y="402"/>
                  </a:lnTo>
                  <a:lnTo>
                    <a:pt x="78" y="408"/>
                  </a:lnTo>
                  <a:lnTo>
                    <a:pt x="84" y="396"/>
                  </a:lnTo>
                  <a:lnTo>
                    <a:pt x="90" y="390"/>
                  </a:lnTo>
                  <a:lnTo>
                    <a:pt x="90" y="378"/>
                  </a:lnTo>
                  <a:lnTo>
                    <a:pt x="96" y="372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8" y="354"/>
                  </a:lnTo>
                  <a:lnTo>
                    <a:pt x="114" y="348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32" y="336"/>
                  </a:lnTo>
                  <a:lnTo>
                    <a:pt x="132" y="330"/>
                  </a:lnTo>
                  <a:lnTo>
                    <a:pt x="138" y="324"/>
                  </a:lnTo>
                  <a:lnTo>
                    <a:pt x="138" y="318"/>
                  </a:lnTo>
                  <a:lnTo>
                    <a:pt x="144" y="306"/>
                  </a:lnTo>
                  <a:lnTo>
                    <a:pt x="156" y="306"/>
                  </a:lnTo>
                  <a:lnTo>
                    <a:pt x="186" y="300"/>
                  </a:lnTo>
                  <a:lnTo>
                    <a:pt x="198" y="300"/>
                  </a:lnTo>
                  <a:lnTo>
                    <a:pt x="210" y="300"/>
                  </a:lnTo>
                  <a:lnTo>
                    <a:pt x="222" y="300"/>
                  </a:lnTo>
                  <a:lnTo>
                    <a:pt x="246" y="300"/>
                  </a:lnTo>
                  <a:lnTo>
                    <a:pt x="264" y="312"/>
                  </a:lnTo>
                  <a:lnTo>
                    <a:pt x="270" y="312"/>
                  </a:lnTo>
                  <a:lnTo>
                    <a:pt x="282" y="306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300" y="306"/>
                  </a:lnTo>
                  <a:lnTo>
                    <a:pt x="312" y="306"/>
                  </a:lnTo>
                  <a:lnTo>
                    <a:pt x="318" y="300"/>
                  </a:lnTo>
                  <a:lnTo>
                    <a:pt x="324" y="300"/>
                  </a:lnTo>
                  <a:lnTo>
                    <a:pt x="330" y="294"/>
                  </a:lnTo>
                  <a:lnTo>
                    <a:pt x="336" y="288"/>
                  </a:lnTo>
                  <a:lnTo>
                    <a:pt x="354" y="288"/>
                  </a:lnTo>
                  <a:lnTo>
                    <a:pt x="360" y="288"/>
                  </a:lnTo>
                  <a:lnTo>
                    <a:pt x="366" y="282"/>
                  </a:lnTo>
                  <a:lnTo>
                    <a:pt x="372" y="282"/>
                  </a:lnTo>
                  <a:lnTo>
                    <a:pt x="378" y="282"/>
                  </a:lnTo>
                  <a:lnTo>
                    <a:pt x="384" y="276"/>
                  </a:lnTo>
                  <a:lnTo>
                    <a:pt x="384" y="270"/>
                  </a:lnTo>
                  <a:lnTo>
                    <a:pt x="390" y="264"/>
                  </a:lnTo>
                  <a:lnTo>
                    <a:pt x="402" y="258"/>
                  </a:lnTo>
                  <a:lnTo>
                    <a:pt x="402" y="252"/>
                  </a:lnTo>
                  <a:lnTo>
                    <a:pt x="402" y="246"/>
                  </a:lnTo>
                  <a:lnTo>
                    <a:pt x="408" y="234"/>
                  </a:lnTo>
                  <a:lnTo>
                    <a:pt x="414" y="234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14" y="216"/>
                  </a:lnTo>
                  <a:lnTo>
                    <a:pt x="414" y="210"/>
                  </a:lnTo>
                  <a:lnTo>
                    <a:pt x="420" y="210"/>
                  </a:lnTo>
                  <a:lnTo>
                    <a:pt x="414" y="198"/>
                  </a:lnTo>
                  <a:lnTo>
                    <a:pt x="414" y="192"/>
                  </a:lnTo>
                  <a:lnTo>
                    <a:pt x="420" y="192"/>
                  </a:lnTo>
                  <a:lnTo>
                    <a:pt x="420" y="186"/>
                  </a:lnTo>
                  <a:lnTo>
                    <a:pt x="420" y="174"/>
                  </a:lnTo>
                  <a:lnTo>
                    <a:pt x="420" y="168"/>
                  </a:lnTo>
                  <a:lnTo>
                    <a:pt x="426" y="162"/>
                  </a:lnTo>
                  <a:lnTo>
                    <a:pt x="432" y="156"/>
                  </a:lnTo>
                  <a:lnTo>
                    <a:pt x="438" y="144"/>
                  </a:lnTo>
                  <a:lnTo>
                    <a:pt x="444" y="144"/>
                  </a:lnTo>
                  <a:lnTo>
                    <a:pt x="450" y="138"/>
                  </a:lnTo>
                  <a:lnTo>
                    <a:pt x="456" y="138"/>
                  </a:lnTo>
                  <a:lnTo>
                    <a:pt x="462" y="132"/>
                  </a:lnTo>
                  <a:lnTo>
                    <a:pt x="462" y="126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0"/>
                  </a:lnTo>
                  <a:lnTo>
                    <a:pt x="486" y="108"/>
                  </a:lnTo>
                  <a:lnTo>
                    <a:pt x="492" y="108"/>
                  </a:lnTo>
                  <a:lnTo>
                    <a:pt x="498" y="102"/>
                  </a:lnTo>
                  <a:lnTo>
                    <a:pt x="504" y="96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40" y="102"/>
                  </a:lnTo>
                  <a:lnTo>
                    <a:pt x="552" y="108"/>
                  </a:lnTo>
                  <a:lnTo>
                    <a:pt x="582" y="102"/>
                  </a:lnTo>
                  <a:lnTo>
                    <a:pt x="594" y="126"/>
                  </a:lnTo>
                  <a:lnTo>
                    <a:pt x="594" y="144"/>
                  </a:lnTo>
                  <a:lnTo>
                    <a:pt x="588" y="156"/>
                  </a:lnTo>
                  <a:lnTo>
                    <a:pt x="588" y="168"/>
                  </a:lnTo>
                  <a:lnTo>
                    <a:pt x="582" y="180"/>
                  </a:lnTo>
                  <a:lnTo>
                    <a:pt x="570" y="192"/>
                  </a:lnTo>
                  <a:lnTo>
                    <a:pt x="594" y="192"/>
                  </a:lnTo>
                  <a:lnTo>
                    <a:pt x="618" y="198"/>
                  </a:lnTo>
                  <a:lnTo>
                    <a:pt x="642" y="210"/>
                  </a:lnTo>
                  <a:lnTo>
                    <a:pt x="660" y="234"/>
                  </a:lnTo>
                  <a:lnTo>
                    <a:pt x="678" y="246"/>
                  </a:lnTo>
                  <a:lnTo>
                    <a:pt x="684" y="252"/>
                  </a:lnTo>
                  <a:lnTo>
                    <a:pt x="702" y="252"/>
                  </a:lnTo>
                  <a:lnTo>
                    <a:pt x="732" y="234"/>
                  </a:lnTo>
                  <a:lnTo>
                    <a:pt x="732" y="222"/>
                  </a:lnTo>
                  <a:lnTo>
                    <a:pt x="720" y="216"/>
                  </a:lnTo>
                  <a:lnTo>
                    <a:pt x="714" y="198"/>
                  </a:lnTo>
                  <a:lnTo>
                    <a:pt x="714" y="174"/>
                  </a:lnTo>
                  <a:lnTo>
                    <a:pt x="720" y="162"/>
                  </a:lnTo>
                  <a:lnTo>
                    <a:pt x="726" y="162"/>
                  </a:lnTo>
                  <a:lnTo>
                    <a:pt x="732" y="156"/>
                  </a:lnTo>
                  <a:lnTo>
                    <a:pt x="744" y="150"/>
                  </a:lnTo>
                  <a:lnTo>
                    <a:pt x="774" y="162"/>
                  </a:lnTo>
                  <a:lnTo>
                    <a:pt x="786" y="162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16" y="150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2" y="132"/>
                  </a:lnTo>
                  <a:lnTo>
                    <a:pt x="822" y="114"/>
                  </a:lnTo>
                  <a:lnTo>
                    <a:pt x="828" y="108"/>
                  </a:lnTo>
                  <a:lnTo>
                    <a:pt x="834" y="96"/>
                  </a:lnTo>
                  <a:lnTo>
                    <a:pt x="846" y="96"/>
                  </a:lnTo>
                  <a:lnTo>
                    <a:pt x="858" y="90"/>
                  </a:lnTo>
                  <a:lnTo>
                    <a:pt x="870" y="84"/>
                  </a:lnTo>
                  <a:lnTo>
                    <a:pt x="888" y="84"/>
                  </a:lnTo>
                  <a:lnTo>
                    <a:pt x="894" y="90"/>
                  </a:lnTo>
                  <a:lnTo>
                    <a:pt x="894" y="102"/>
                  </a:lnTo>
                  <a:lnTo>
                    <a:pt x="900" y="102"/>
                  </a:lnTo>
                  <a:lnTo>
                    <a:pt x="906" y="114"/>
                  </a:lnTo>
                  <a:lnTo>
                    <a:pt x="930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54" y="138"/>
                  </a:lnTo>
                  <a:lnTo>
                    <a:pt x="966" y="144"/>
                  </a:lnTo>
                  <a:lnTo>
                    <a:pt x="966" y="150"/>
                  </a:lnTo>
                  <a:lnTo>
                    <a:pt x="972" y="150"/>
                  </a:lnTo>
                  <a:lnTo>
                    <a:pt x="978" y="150"/>
                  </a:lnTo>
                  <a:lnTo>
                    <a:pt x="978" y="144"/>
                  </a:lnTo>
                  <a:lnTo>
                    <a:pt x="984" y="144"/>
                  </a:lnTo>
                  <a:lnTo>
                    <a:pt x="990" y="138"/>
                  </a:lnTo>
                  <a:lnTo>
                    <a:pt x="996" y="138"/>
                  </a:lnTo>
                  <a:lnTo>
                    <a:pt x="1002" y="138"/>
                  </a:lnTo>
                  <a:lnTo>
                    <a:pt x="1008" y="138"/>
                  </a:lnTo>
                  <a:lnTo>
                    <a:pt x="1026" y="132"/>
                  </a:lnTo>
                  <a:lnTo>
                    <a:pt x="1044" y="126"/>
                  </a:lnTo>
                  <a:lnTo>
                    <a:pt x="1056" y="120"/>
                  </a:lnTo>
                  <a:lnTo>
                    <a:pt x="1062" y="108"/>
                  </a:lnTo>
                  <a:lnTo>
                    <a:pt x="1056" y="102"/>
                  </a:lnTo>
                  <a:lnTo>
                    <a:pt x="1062" y="96"/>
                  </a:lnTo>
                  <a:lnTo>
                    <a:pt x="1074" y="90"/>
                  </a:lnTo>
                  <a:lnTo>
                    <a:pt x="1080" y="84"/>
                  </a:lnTo>
                  <a:lnTo>
                    <a:pt x="1128" y="84"/>
                  </a:lnTo>
                  <a:lnTo>
                    <a:pt x="1134" y="84"/>
                  </a:lnTo>
                  <a:lnTo>
                    <a:pt x="1140" y="78"/>
                  </a:lnTo>
                  <a:lnTo>
                    <a:pt x="1152" y="72"/>
                  </a:lnTo>
                  <a:lnTo>
                    <a:pt x="1164" y="66"/>
                  </a:lnTo>
                  <a:lnTo>
                    <a:pt x="1170" y="60"/>
                  </a:lnTo>
                  <a:lnTo>
                    <a:pt x="1188" y="48"/>
                  </a:lnTo>
                  <a:lnTo>
                    <a:pt x="1200" y="36"/>
                  </a:lnTo>
                  <a:lnTo>
                    <a:pt x="1218" y="24"/>
                  </a:lnTo>
                  <a:lnTo>
                    <a:pt x="1248" y="24"/>
                  </a:lnTo>
                  <a:lnTo>
                    <a:pt x="1272" y="24"/>
                  </a:lnTo>
                  <a:lnTo>
                    <a:pt x="1284" y="12"/>
                  </a:lnTo>
                  <a:lnTo>
                    <a:pt x="1302" y="0"/>
                  </a:lnTo>
                  <a:lnTo>
                    <a:pt x="1314" y="0"/>
                  </a:lnTo>
                  <a:lnTo>
                    <a:pt x="1326" y="18"/>
                  </a:lnTo>
                  <a:lnTo>
                    <a:pt x="1338" y="30"/>
                  </a:lnTo>
                  <a:lnTo>
                    <a:pt x="1338" y="54"/>
                  </a:lnTo>
                  <a:lnTo>
                    <a:pt x="1332" y="72"/>
                  </a:lnTo>
                  <a:lnTo>
                    <a:pt x="1326" y="72"/>
                  </a:lnTo>
                  <a:lnTo>
                    <a:pt x="1326" y="78"/>
                  </a:lnTo>
                  <a:lnTo>
                    <a:pt x="1326" y="102"/>
                  </a:lnTo>
                  <a:lnTo>
                    <a:pt x="1332" y="102"/>
                  </a:lnTo>
                  <a:lnTo>
                    <a:pt x="1332" y="108"/>
                  </a:lnTo>
                  <a:lnTo>
                    <a:pt x="1344" y="114"/>
                  </a:lnTo>
                  <a:lnTo>
                    <a:pt x="1350" y="114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404" y="132"/>
                  </a:lnTo>
                  <a:lnTo>
                    <a:pt x="1404" y="138"/>
                  </a:lnTo>
                  <a:lnTo>
                    <a:pt x="1410" y="150"/>
                  </a:lnTo>
                  <a:lnTo>
                    <a:pt x="1416" y="162"/>
                  </a:lnTo>
                  <a:lnTo>
                    <a:pt x="1428" y="168"/>
                  </a:lnTo>
                  <a:lnTo>
                    <a:pt x="1440" y="180"/>
                  </a:lnTo>
                  <a:lnTo>
                    <a:pt x="1476" y="174"/>
                  </a:lnTo>
                  <a:lnTo>
                    <a:pt x="1494" y="174"/>
                  </a:lnTo>
                  <a:lnTo>
                    <a:pt x="1512" y="192"/>
                  </a:lnTo>
                  <a:lnTo>
                    <a:pt x="1518" y="204"/>
                  </a:lnTo>
                  <a:lnTo>
                    <a:pt x="1530" y="216"/>
                  </a:lnTo>
                  <a:lnTo>
                    <a:pt x="1548" y="228"/>
                  </a:lnTo>
                  <a:lnTo>
                    <a:pt x="1548" y="234"/>
                  </a:lnTo>
                  <a:lnTo>
                    <a:pt x="1542" y="246"/>
                  </a:lnTo>
                  <a:lnTo>
                    <a:pt x="1560" y="246"/>
                  </a:lnTo>
                  <a:lnTo>
                    <a:pt x="1560" y="252"/>
                  </a:lnTo>
                  <a:lnTo>
                    <a:pt x="1566" y="258"/>
                  </a:lnTo>
                  <a:lnTo>
                    <a:pt x="1578" y="270"/>
                  </a:lnTo>
                  <a:lnTo>
                    <a:pt x="1596" y="270"/>
                  </a:lnTo>
                  <a:lnTo>
                    <a:pt x="1602" y="288"/>
                  </a:lnTo>
                  <a:lnTo>
                    <a:pt x="1608" y="306"/>
                  </a:lnTo>
                  <a:lnTo>
                    <a:pt x="1608" y="318"/>
                  </a:lnTo>
                  <a:lnTo>
                    <a:pt x="1608" y="324"/>
                  </a:lnTo>
                  <a:lnTo>
                    <a:pt x="1614" y="330"/>
                  </a:lnTo>
                  <a:lnTo>
                    <a:pt x="1614" y="336"/>
                  </a:lnTo>
                  <a:lnTo>
                    <a:pt x="1614" y="342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08" y="390"/>
                  </a:lnTo>
                  <a:lnTo>
                    <a:pt x="1602" y="390"/>
                  </a:lnTo>
                  <a:lnTo>
                    <a:pt x="1602" y="396"/>
                  </a:lnTo>
                  <a:lnTo>
                    <a:pt x="1584" y="420"/>
                  </a:lnTo>
                  <a:lnTo>
                    <a:pt x="1584" y="426"/>
                  </a:lnTo>
                  <a:lnTo>
                    <a:pt x="1602" y="474"/>
                  </a:lnTo>
                  <a:lnTo>
                    <a:pt x="1608" y="480"/>
                  </a:lnTo>
                  <a:lnTo>
                    <a:pt x="1608" y="486"/>
                  </a:lnTo>
                  <a:lnTo>
                    <a:pt x="1614" y="486"/>
                  </a:lnTo>
                  <a:lnTo>
                    <a:pt x="1608" y="504"/>
                  </a:lnTo>
                  <a:lnTo>
                    <a:pt x="1572" y="504"/>
                  </a:lnTo>
                  <a:lnTo>
                    <a:pt x="1560" y="510"/>
                  </a:lnTo>
                  <a:lnTo>
                    <a:pt x="1554" y="522"/>
                  </a:lnTo>
                  <a:lnTo>
                    <a:pt x="1560" y="552"/>
                  </a:lnTo>
                  <a:lnTo>
                    <a:pt x="1566" y="552"/>
                  </a:lnTo>
                  <a:lnTo>
                    <a:pt x="1566" y="558"/>
                  </a:lnTo>
                  <a:lnTo>
                    <a:pt x="1572" y="558"/>
                  </a:lnTo>
                  <a:lnTo>
                    <a:pt x="1578" y="558"/>
                  </a:lnTo>
                  <a:lnTo>
                    <a:pt x="1578" y="552"/>
                  </a:lnTo>
                  <a:lnTo>
                    <a:pt x="1584" y="552"/>
                  </a:lnTo>
                  <a:lnTo>
                    <a:pt x="1590" y="552"/>
                  </a:lnTo>
                  <a:lnTo>
                    <a:pt x="1590" y="546"/>
                  </a:lnTo>
                  <a:lnTo>
                    <a:pt x="1596" y="546"/>
                  </a:lnTo>
                  <a:lnTo>
                    <a:pt x="1602" y="552"/>
                  </a:lnTo>
                  <a:lnTo>
                    <a:pt x="1602" y="546"/>
                  </a:lnTo>
                  <a:lnTo>
                    <a:pt x="1608" y="546"/>
                  </a:lnTo>
                  <a:lnTo>
                    <a:pt x="1608" y="552"/>
                  </a:lnTo>
                  <a:lnTo>
                    <a:pt x="1614" y="552"/>
                  </a:lnTo>
                  <a:lnTo>
                    <a:pt x="1614" y="546"/>
                  </a:lnTo>
                  <a:lnTo>
                    <a:pt x="1620" y="552"/>
                  </a:lnTo>
                  <a:lnTo>
                    <a:pt x="1626" y="552"/>
                  </a:lnTo>
                  <a:lnTo>
                    <a:pt x="1626" y="558"/>
                  </a:lnTo>
                  <a:lnTo>
                    <a:pt x="1632" y="558"/>
                  </a:lnTo>
                  <a:lnTo>
                    <a:pt x="1638" y="558"/>
                  </a:lnTo>
                  <a:lnTo>
                    <a:pt x="1644" y="558"/>
                  </a:lnTo>
                  <a:lnTo>
                    <a:pt x="1650" y="558"/>
                  </a:lnTo>
                  <a:lnTo>
                    <a:pt x="1650" y="564"/>
                  </a:lnTo>
                  <a:lnTo>
                    <a:pt x="1656" y="564"/>
                  </a:lnTo>
                  <a:lnTo>
                    <a:pt x="1662" y="564"/>
                  </a:lnTo>
                  <a:lnTo>
                    <a:pt x="1668" y="564"/>
                  </a:lnTo>
                  <a:lnTo>
                    <a:pt x="1668" y="570"/>
                  </a:lnTo>
                  <a:lnTo>
                    <a:pt x="1674" y="570"/>
                  </a:lnTo>
                  <a:lnTo>
                    <a:pt x="1680" y="570"/>
                  </a:lnTo>
                  <a:lnTo>
                    <a:pt x="1686" y="576"/>
                  </a:lnTo>
                  <a:lnTo>
                    <a:pt x="1686" y="582"/>
                  </a:lnTo>
                  <a:lnTo>
                    <a:pt x="1710" y="588"/>
                  </a:lnTo>
                  <a:lnTo>
                    <a:pt x="1710" y="594"/>
                  </a:lnTo>
                  <a:lnTo>
                    <a:pt x="1704" y="600"/>
                  </a:lnTo>
                  <a:lnTo>
                    <a:pt x="1710" y="624"/>
                  </a:lnTo>
                  <a:lnTo>
                    <a:pt x="1698" y="672"/>
                  </a:lnTo>
                  <a:lnTo>
                    <a:pt x="1704" y="678"/>
                  </a:lnTo>
                  <a:lnTo>
                    <a:pt x="1716" y="684"/>
                  </a:lnTo>
                  <a:lnTo>
                    <a:pt x="1716" y="678"/>
                  </a:lnTo>
                  <a:lnTo>
                    <a:pt x="1716" y="684"/>
                  </a:lnTo>
                  <a:lnTo>
                    <a:pt x="1728" y="684"/>
                  </a:lnTo>
                  <a:lnTo>
                    <a:pt x="1728" y="690"/>
                  </a:lnTo>
                  <a:lnTo>
                    <a:pt x="1734" y="696"/>
                  </a:lnTo>
                  <a:lnTo>
                    <a:pt x="1734" y="702"/>
                  </a:lnTo>
                  <a:lnTo>
                    <a:pt x="1740" y="708"/>
                  </a:lnTo>
                  <a:lnTo>
                    <a:pt x="1740" y="714"/>
                  </a:lnTo>
                  <a:lnTo>
                    <a:pt x="1710" y="714"/>
                  </a:lnTo>
                  <a:lnTo>
                    <a:pt x="1710" y="756"/>
                  </a:lnTo>
                  <a:lnTo>
                    <a:pt x="1704" y="762"/>
                  </a:lnTo>
                  <a:lnTo>
                    <a:pt x="1698" y="762"/>
                  </a:lnTo>
                  <a:lnTo>
                    <a:pt x="1698" y="768"/>
                  </a:lnTo>
                  <a:lnTo>
                    <a:pt x="1698" y="774"/>
                  </a:lnTo>
                  <a:lnTo>
                    <a:pt x="1692" y="780"/>
                  </a:lnTo>
                  <a:lnTo>
                    <a:pt x="1692" y="786"/>
                  </a:lnTo>
                  <a:lnTo>
                    <a:pt x="1686" y="786"/>
                  </a:lnTo>
                  <a:lnTo>
                    <a:pt x="1668" y="798"/>
                  </a:lnTo>
                  <a:lnTo>
                    <a:pt x="1662" y="810"/>
                  </a:lnTo>
                  <a:lnTo>
                    <a:pt x="1650" y="810"/>
                  </a:lnTo>
                  <a:lnTo>
                    <a:pt x="1644" y="816"/>
                  </a:lnTo>
                  <a:lnTo>
                    <a:pt x="1638" y="816"/>
                  </a:lnTo>
                  <a:lnTo>
                    <a:pt x="1626" y="852"/>
                  </a:lnTo>
                  <a:lnTo>
                    <a:pt x="1620" y="888"/>
                  </a:lnTo>
                  <a:lnTo>
                    <a:pt x="1626" y="888"/>
                  </a:lnTo>
                  <a:lnTo>
                    <a:pt x="1638" y="912"/>
                  </a:lnTo>
                  <a:lnTo>
                    <a:pt x="1644" y="918"/>
                  </a:lnTo>
                  <a:lnTo>
                    <a:pt x="1650" y="966"/>
                  </a:lnTo>
                  <a:lnTo>
                    <a:pt x="1626" y="972"/>
                  </a:lnTo>
                  <a:lnTo>
                    <a:pt x="1608" y="978"/>
                  </a:lnTo>
                  <a:lnTo>
                    <a:pt x="1614" y="984"/>
                  </a:lnTo>
                  <a:lnTo>
                    <a:pt x="1620" y="984"/>
                  </a:lnTo>
                  <a:lnTo>
                    <a:pt x="1620" y="1020"/>
                  </a:lnTo>
                  <a:lnTo>
                    <a:pt x="1614" y="1038"/>
                  </a:lnTo>
                  <a:lnTo>
                    <a:pt x="1620" y="1044"/>
                  </a:lnTo>
                  <a:lnTo>
                    <a:pt x="1626" y="1056"/>
                  </a:lnTo>
                  <a:lnTo>
                    <a:pt x="1626" y="1074"/>
                  </a:lnTo>
                  <a:lnTo>
                    <a:pt x="1620" y="1080"/>
                  </a:lnTo>
                  <a:lnTo>
                    <a:pt x="1620" y="1104"/>
                  </a:lnTo>
                  <a:lnTo>
                    <a:pt x="1620" y="1110"/>
                  </a:lnTo>
                  <a:lnTo>
                    <a:pt x="1614" y="1116"/>
                  </a:lnTo>
                  <a:lnTo>
                    <a:pt x="1608" y="1140"/>
                  </a:lnTo>
                  <a:lnTo>
                    <a:pt x="1602" y="1146"/>
                  </a:lnTo>
                  <a:lnTo>
                    <a:pt x="1602" y="1164"/>
                  </a:lnTo>
                  <a:lnTo>
                    <a:pt x="1596" y="1170"/>
                  </a:lnTo>
                  <a:lnTo>
                    <a:pt x="1590" y="1164"/>
                  </a:lnTo>
                  <a:lnTo>
                    <a:pt x="1584" y="1164"/>
                  </a:lnTo>
                  <a:lnTo>
                    <a:pt x="1578" y="1164"/>
                  </a:lnTo>
                  <a:lnTo>
                    <a:pt x="1578" y="1188"/>
                  </a:lnTo>
                  <a:lnTo>
                    <a:pt x="1584" y="1194"/>
                  </a:lnTo>
                  <a:lnTo>
                    <a:pt x="1590" y="1194"/>
                  </a:lnTo>
                  <a:lnTo>
                    <a:pt x="1590" y="1212"/>
                  </a:lnTo>
                  <a:lnTo>
                    <a:pt x="1584" y="1212"/>
                  </a:lnTo>
                  <a:lnTo>
                    <a:pt x="1584" y="1224"/>
                  </a:lnTo>
                  <a:lnTo>
                    <a:pt x="1578" y="1224"/>
                  </a:lnTo>
                  <a:lnTo>
                    <a:pt x="1578" y="1236"/>
                  </a:lnTo>
                  <a:lnTo>
                    <a:pt x="1584" y="1254"/>
                  </a:lnTo>
                  <a:lnTo>
                    <a:pt x="1584" y="1260"/>
                  </a:lnTo>
                  <a:lnTo>
                    <a:pt x="1590" y="1260"/>
                  </a:lnTo>
                  <a:lnTo>
                    <a:pt x="1590" y="1266"/>
                  </a:lnTo>
                  <a:lnTo>
                    <a:pt x="1596" y="1284"/>
                  </a:lnTo>
                  <a:lnTo>
                    <a:pt x="1602" y="1278"/>
                  </a:lnTo>
                  <a:lnTo>
                    <a:pt x="1608" y="1284"/>
                  </a:lnTo>
                  <a:lnTo>
                    <a:pt x="1632" y="1350"/>
                  </a:lnTo>
                  <a:lnTo>
                    <a:pt x="1638" y="1356"/>
                  </a:lnTo>
                  <a:lnTo>
                    <a:pt x="1644" y="1356"/>
                  </a:lnTo>
                  <a:lnTo>
                    <a:pt x="1650" y="1356"/>
                  </a:lnTo>
                  <a:lnTo>
                    <a:pt x="1656" y="1356"/>
                  </a:lnTo>
                  <a:lnTo>
                    <a:pt x="1662" y="1362"/>
                  </a:lnTo>
                  <a:lnTo>
                    <a:pt x="1668" y="1356"/>
                  </a:lnTo>
                  <a:lnTo>
                    <a:pt x="1668" y="1380"/>
                  </a:lnTo>
                  <a:lnTo>
                    <a:pt x="1662" y="1392"/>
                  </a:lnTo>
                  <a:lnTo>
                    <a:pt x="1656" y="1404"/>
                  </a:lnTo>
                  <a:lnTo>
                    <a:pt x="1656" y="1410"/>
                  </a:lnTo>
                  <a:lnTo>
                    <a:pt x="1656" y="1416"/>
                  </a:lnTo>
                  <a:lnTo>
                    <a:pt x="1650" y="1422"/>
                  </a:lnTo>
                  <a:lnTo>
                    <a:pt x="1650" y="1428"/>
                  </a:lnTo>
                  <a:lnTo>
                    <a:pt x="1644" y="1428"/>
                  </a:lnTo>
                  <a:lnTo>
                    <a:pt x="1644" y="1434"/>
                  </a:lnTo>
                  <a:lnTo>
                    <a:pt x="1638" y="1434"/>
                  </a:lnTo>
                  <a:lnTo>
                    <a:pt x="1638" y="1440"/>
                  </a:lnTo>
                  <a:lnTo>
                    <a:pt x="1632" y="1440"/>
                  </a:lnTo>
                  <a:lnTo>
                    <a:pt x="1638" y="145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8" name="Freeform 13">
              <a:extLst>
                <a:ext uri="{FF2B5EF4-FFF2-40B4-BE49-F238E27FC236}">
                  <a16:creationId xmlns:a16="http://schemas.microsoft.com/office/drawing/2014/main" id="{66308D9B-1739-4227-AAC3-BB866CD1F5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63374" y="2969626"/>
              <a:ext cx="330956" cy="357840"/>
            </a:xfrm>
            <a:custGeom>
              <a:avLst/>
              <a:gdLst>
                <a:gd name="T0" fmla="*/ 11 w 624"/>
                <a:gd name="T1" fmla="*/ 59 h 672"/>
                <a:gd name="T2" fmla="*/ 4 w 624"/>
                <a:gd name="T3" fmla="*/ 58 h 672"/>
                <a:gd name="T4" fmla="*/ 3 w 624"/>
                <a:gd name="T5" fmla="*/ 58 h 672"/>
                <a:gd name="T6" fmla="*/ 2 w 624"/>
                <a:gd name="T7" fmla="*/ 11 h 672"/>
                <a:gd name="T8" fmla="*/ 13 w 624"/>
                <a:gd name="T9" fmla="*/ 11 h 672"/>
                <a:gd name="T10" fmla="*/ 14 w 624"/>
                <a:gd name="T11" fmla="*/ 11 h 672"/>
                <a:gd name="T12" fmla="*/ 15 w 624"/>
                <a:gd name="T13" fmla="*/ 12 h 672"/>
                <a:gd name="T14" fmla="*/ 18 w 624"/>
                <a:gd name="T15" fmla="*/ 14 h 672"/>
                <a:gd name="T16" fmla="*/ 21 w 624"/>
                <a:gd name="T17" fmla="*/ 16 h 672"/>
                <a:gd name="T18" fmla="*/ 22 w 624"/>
                <a:gd name="T19" fmla="*/ 18 h 672"/>
                <a:gd name="T20" fmla="*/ 23 w 624"/>
                <a:gd name="T21" fmla="*/ 19 h 672"/>
                <a:gd name="T22" fmla="*/ 24 w 624"/>
                <a:gd name="T23" fmla="*/ 19 h 672"/>
                <a:gd name="T24" fmla="*/ 26 w 624"/>
                <a:gd name="T25" fmla="*/ 19 h 672"/>
                <a:gd name="T26" fmla="*/ 27 w 624"/>
                <a:gd name="T27" fmla="*/ 18 h 672"/>
                <a:gd name="T28" fmla="*/ 29 w 624"/>
                <a:gd name="T29" fmla="*/ 15 h 672"/>
                <a:gd name="T30" fmla="*/ 30 w 624"/>
                <a:gd name="T31" fmla="*/ 14 h 672"/>
                <a:gd name="T32" fmla="*/ 31 w 624"/>
                <a:gd name="T33" fmla="*/ 12 h 672"/>
                <a:gd name="T34" fmla="*/ 32 w 624"/>
                <a:gd name="T35" fmla="*/ 12 h 672"/>
                <a:gd name="T36" fmla="*/ 33 w 624"/>
                <a:gd name="T37" fmla="*/ 10 h 672"/>
                <a:gd name="T38" fmla="*/ 34 w 624"/>
                <a:gd name="T39" fmla="*/ 8 h 672"/>
                <a:gd name="T40" fmla="*/ 34 w 624"/>
                <a:gd name="T41" fmla="*/ 6 h 672"/>
                <a:gd name="T42" fmla="*/ 35 w 624"/>
                <a:gd name="T43" fmla="*/ 4 h 672"/>
                <a:gd name="T44" fmla="*/ 42 w 624"/>
                <a:gd name="T45" fmla="*/ 3 h 672"/>
                <a:gd name="T46" fmla="*/ 44 w 624"/>
                <a:gd name="T47" fmla="*/ 2 h 672"/>
                <a:gd name="T48" fmla="*/ 46 w 624"/>
                <a:gd name="T49" fmla="*/ 0 h 672"/>
                <a:gd name="T50" fmla="*/ 51 w 624"/>
                <a:gd name="T51" fmla="*/ 3 h 672"/>
                <a:gd name="T52" fmla="*/ 54 w 624"/>
                <a:gd name="T53" fmla="*/ 6 h 672"/>
                <a:gd name="T54" fmla="*/ 54 w 624"/>
                <a:gd name="T55" fmla="*/ 8 h 672"/>
                <a:gd name="T56" fmla="*/ 52 w 624"/>
                <a:gd name="T57" fmla="*/ 9 h 672"/>
                <a:gd name="T58" fmla="*/ 49 w 624"/>
                <a:gd name="T59" fmla="*/ 11 h 672"/>
                <a:gd name="T60" fmla="*/ 48 w 624"/>
                <a:gd name="T61" fmla="*/ 14 h 672"/>
                <a:gd name="T62" fmla="*/ 46 w 624"/>
                <a:gd name="T63" fmla="*/ 22 h 672"/>
                <a:gd name="T64" fmla="*/ 45 w 624"/>
                <a:gd name="T65" fmla="*/ 39 h 672"/>
                <a:gd name="T66" fmla="*/ 43 w 624"/>
                <a:gd name="T67" fmla="*/ 43 h 672"/>
                <a:gd name="T68" fmla="*/ 39 w 624"/>
                <a:gd name="T69" fmla="*/ 50 h 672"/>
                <a:gd name="T70" fmla="*/ 36 w 624"/>
                <a:gd name="T71" fmla="*/ 53 h 672"/>
                <a:gd name="T72" fmla="*/ 32 w 624"/>
                <a:gd name="T73" fmla="*/ 56 h 672"/>
                <a:gd name="T74" fmla="*/ 30 w 624"/>
                <a:gd name="T75" fmla="*/ 58 h 672"/>
                <a:gd name="T76" fmla="*/ 20 w 624"/>
                <a:gd name="T77" fmla="*/ 59 h 672"/>
                <a:gd name="T78" fmla="*/ 15 w 624"/>
                <a:gd name="T79" fmla="*/ 59 h 67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24"/>
                <a:gd name="T121" fmla="*/ 0 h 672"/>
                <a:gd name="T122" fmla="*/ 624 w 624"/>
                <a:gd name="T123" fmla="*/ 672 h 67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24" h="672">
                  <a:moveTo>
                    <a:pt x="168" y="672"/>
                  </a:moveTo>
                  <a:lnTo>
                    <a:pt x="132" y="672"/>
                  </a:lnTo>
                  <a:lnTo>
                    <a:pt x="72" y="666"/>
                  </a:lnTo>
                  <a:lnTo>
                    <a:pt x="42" y="666"/>
                  </a:lnTo>
                  <a:lnTo>
                    <a:pt x="36" y="666"/>
                  </a:lnTo>
                  <a:lnTo>
                    <a:pt x="30" y="660"/>
                  </a:lnTo>
                  <a:lnTo>
                    <a:pt x="0" y="660"/>
                  </a:lnTo>
                  <a:lnTo>
                    <a:pt x="24" y="120"/>
                  </a:lnTo>
                  <a:lnTo>
                    <a:pt x="60" y="120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62" y="120"/>
                  </a:lnTo>
                  <a:lnTo>
                    <a:pt x="168" y="120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10" y="156"/>
                  </a:lnTo>
                  <a:lnTo>
                    <a:pt x="222" y="174"/>
                  </a:lnTo>
                  <a:lnTo>
                    <a:pt x="240" y="186"/>
                  </a:lnTo>
                  <a:lnTo>
                    <a:pt x="252" y="198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216"/>
                  </a:lnTo>
                  <a:lnTo>
                    <a:pt x="270" y="216"/>
                  </a:lnTo>
                  <a:lnTo>
                    <a:pt x="282" y="222"/>
                  </a:lnTo>
                  <a:lnTo>
                    <a:pt x="288" y="222"/>
                  </a:lnTo>
                  <a:lnTo>
                    <a:pt x="294" y="216"/>
                  </a:lnTo>
                  <a:lnTo>
                    <a:pt x="294" y="210"/>
                  </a:lnTo>
                  <a:lnTo>
                    <a:pt x="312" y="204"/>
                  </a:lnTo>
                  <a:lnTo>
                    <a:pt x="330" y="186"/>
                  </a:lnTo>
                  <a:lnTo>
                    <a:pt x="336" y="174"/>
                  </a:lnTo>
                  <a:lnTo>
                    <a:pt x="342" y="162"/>
                  </a:lnTo>
                  <a:lnTo>
                    <a:pt x="342" y="156"/>
                  </a:lnTo>
                  <a:lnTo>
                    <a:pt x="348" y="150"/>
                  </a:lnTo>
                  <a:lnTo>
                    <a:pt x="354" y="144"/>
                  </a:lnTo>
                  <a:lnTo>
                    <a:pt x="360" y="138"/>
                  </a:lnTo>
                  <a:lnTo>
                    <a:pt x="366" y="132"/>
                  </a:lnTo>
                  <a:lnTo>
                    <a:pt x="372" y="114"/>
                  </a:lnTo>
                  <a:lnTo>
                    <a:pt x="378" y="114"/>
                  </a:lnTo>
                  <a:lnTo>
                    <a:pt x="378" y="96"/>
                  </a:lnTo>
                  <a:lnTo>
                    <a:pt x="390" y="96"/>
                  </a:lnTo>
                  <a:lnTo>
                    <a:pt x="396" y="84"/>
                  </a:lnTo>
                  <a:lnTo>
                    <a:pt x="396" y="72"/>
                  </a:lnTo>
                  <a:lnTo>
                    <a:pt x="396" y="54"/>
                  </a:lnTo>
                  <a:lnTo>
                    <a:pt x="408" y="42"/>
                  </a:lnTo>
                  <a:lnTo>
                    <a:pt x="468" y="42"/>
                  </a:lnTo>
                  <a:lnTo>
                    <a:pt x="486" y="36"/>
                  </a:lnTo>
                  <a:lnTo>
                    <a:pt x="492" y="24"/>
                  </a:lnTo>
                  <a:lnTo>
                    <a:pt x="504" y="24"/>
                  </a:lnTo>
                  <a:lnTo>
                    <a:pt x="516" y="6"/>
                  </a:lnTo>
                  <a:lnTo>
                    <a:pt x="528" y="0"/>
                  </a:lnTo>
                  <a:lnTo>
                    <a:pt x="558" y="12"/>
                  </a:lnTo>
                  <a:lnTo>
                    <a:pt x="588" y="36"/>
                  </a:lnTo>
                  <a:lnTo>
                    <a:pt x="600" y="66"/>
                  </a:lnTo>
                  <a:lnTo>
                    <a:pt x="624" y="66"/>
                  </a:lnTo>
                  <a:lnTo>
                    <a:pt x="624" y="90"/>
                  </a:lnTo>
                  <a:lnTo>
                    <a:pt x="618" y="90"/>
                  </a:lnTo>
                  <a:lnTo>
                    <a:pt x="618" y="96"/>
                  </a:lnTo>
                  <a:lnTo>
                    <a:pt x="600" y="102"/>
                  </a:lnTo>
                  <a:lnTo>
                    <a:pt x="588" y="108"/>
                  </a:lnTo>
                  <a:lnTo>
                    <a:pt x="570" y="120"/>
                  </a:lnTo>
                  <a:lnTo>
                    <a:pt x="564" y="138"/>
                  </a:lnTo>
                  <a:lnTo>
                    <a:pt x="558" y="162"/>
                  </a:lnTo>
                  <a:lnTo>
                    <a:pt x="540" y="210"/>
                  </a:lnTo>
                  <a:lnTo>
                    <a:pt x="528" y="252"/>
                  </a:lnTo>
                  <a:lnTo>
                    <a:pt x="528" y="402"/>
                  </a:lnTo>
                  <a:lnTo>
                    <a:pt x="522" y="444"/>
                  </a:lnTo>
                  <a:lnTo>
                    <a:pt x="510" y="468"/>
                  </a:lnTo>
                  <a:lnTo>
                    <a:pt x="498" y="498"/>
                  </a:lnTo>
                  <a:lnTo>
                    <a:pt x="474" y="534"/>
                  </a:lnTo>
                  <a:lnTo>
                    <a:pt x="456" y="570"/>
                  </a:lnTo>
                  <a:lnTo>
                    <a:pt x="444" y="576"/>
                  </a:lnTo>
                  <a:lnTo>
                    <a:pt x="420" y="606"/>
                  </a:lnTo>
                  <a:lnTo>
                    <a:pt x="390" y="624"/>
                  </a:lnTo>
                  <a:lnTo>
                    <a:pt x="372" y="642"/>
                  </a:lnTo>
                  <a:lnTo>
                    <a:pt x="366" y="654"/>
                  </a:lnTo>
                  <a:lnTo>
                    <a:pt x="342" y="660"/>
                  </a:lnTo>
                  <a:lnTo>
                    <a:pt x="300" y="666"/>
                  </a:lnTo>
                  <a:lnTo>
                    <a:pt x="234" y="672"/>
                  </a:lnTo>
                  <a:lnTo>
                    <a:pt x="192" y="672"/>
                  </a:lnTo>
                  <a:lnTo>
                    <a:pt x="168" y="67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9" name="Freeform 14">
              <a:extLst>
                <a:ext uri="{FF2B5EF4-FFF2-40B4-BE49-F238E27FC236}">
                  <a16:creationId xmlns:a16="http://schemas.microsoft.com/office/drawing/2014/main" id="{2EA1E999-9CDF-4391-8BC9-7DE71AF9C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0460" y="2983045"/>
              <a:ext cx="905658" cy="561362"/>
            </a:xfrm>
            <a:custGeom>
              <a:avLst/>
              <a:gdLst>
                <a:gd name="T0" fmla="*/ 31 w 1704"/>
                <a:gd name="T1" fmla="*/ 78 h 1056"/>
                <a:gd name="T2" fmla="*/ 23 w 1704"/>
                <a:gd name="T3" fmla="*/ 78 h 1056"/>
                <a:gd name="T4" fmla="*/ 11 w 1704"/>
                <a:gd name="T5" fmla="*/ 79 h 1056"/>
                <a:gd name="T6" fmla="*/ 1 w 1704"/>
                <a:gd name="T7" fmla="*/ 81 h 1056"/>
                <a:gd name="T8" fmla="*/ 0 w 1704"/>
                <a:gd name="T9" fmla="*/ 62 h 1056"/>
                <a:gd name="T10" fmla="*/ 9 w 1704"/>
                <a:gd name="T11" fmla="*/ 56 h 1056"/>
                <a:gd name="T12" fmla="*/ 27 w 1704"/>
                <a:gd name="T13" fmla="*/ 48 h 1056"/>
                <a:gd name="T14" fmla="*/ 35 w 1704"/>
                <a:gd name="T15" fmla="*/ 20 h 1056"/>
                <a:gd name="T16" fmla="*/ 43 w 1704"/>
                <a:gd name="T17" fmla="*/ 6 h 1056"/>
                <a:gd name="T18" fmla="*/ 47 w 1704"/>
                <a:gd name="T19" fmla="*/ 7 h 1056"/>
                <a:gd name="T20" fmla="*/ 52 w 1704"/>
                <a:gd name="T21" fmla="*/ 0 h 1056"/>
                <a:gd name="T22" fmla="*/ 59 w 1704"/>
                <a:gd name="T23" fmla="*/ 5 h 1056"/>
                <a:gd name="T24" fmla="*/ 63 w 1704"/>
                <a:gd name="T25" fmla="*/ 12 h 1056"/>
                <a:gd name="T26" fmla="*/ 62 w 1704"/>
                <a:gd name="T27" fmla="*/ 15 h 1056"/>
                <a:gd name="T28" fmla="*/ 62 w 1704"/>
                <a:gd name="T29" fmla="*/ 18 h 1056"/>
                <a:gd name="T30" fmla="*/ 70 w 1704"/>
                <a:gd name="T31" fmla="*/ 18 h 1056"/>
                <a:gd name="T32" fmla="*/ 71 w 1704"/>
                <a:gd name="T33" fmla="*/ 14 h 1056"/>
                <a:gd name="T34" fmla="*/ 72 w 1704"/>
                <a:gd name="T35" fmla="*/ 12 h 1056"/>
                <a:gd name="T36" fmla="*/ 78 w 1704"/>
                <a:gd name="T37" fmla="*/ 14 h 1056"/>
                <a:gd name="T38" fmla="*/ 85 w 1704"/>
                <a:gd name="T39" fmla="*/ 21 h 1056"/>
                <a:gd name="T40" fmla="*/ 91 w 1704"/>
                <a:gd name="T41" fmla="*/ 15 h 1056"/>
                <a:gd name="T42" fmla="*/ 93 w 1704"/>
                <a:gd name="T43" fmla="*/ 10 h 1056"/>
                <a:gd name="T44" fmla="*/ 101 w 1704"/>
                <a:gd name="T45" fmla="*/ 14 h 1056"/>
                <a:gd name="T46" fmla="*/ 103 w 1704"/>
                <a:gd name="T47" fmla="*/ 19 h 1056"/>
                <a:gd name="T48" fmla="*/ 115 w 1704"/>
                <a:gd name="T49" fmla="*/ 20 h 1056"/>
                <a:gd name="T50" fmla="*/ 118 w 1704"/>
                <a:gd name="T51" fmla="*/ 23 h 1056"/>
                <a:gd name="T52" fmla="*/ 117 w 1704"/>
                <a:gd name="T53" fmla="*/ 27 h 1056"/>
                <a:gd name="T54" fmla="*/ 111 w 1704"/>
                <a:gd name="T55" fmla="*/ 33 h 1056"/>
                <a:gd name="T56" fmla="*/ 108 w 1704"/>
                <a:gd name="T57" fmla="*/ 36 h 1056"/>
                <a:gd name="T58" fmla="*/ 109 w 1704"/>
                <a:gd name="T59" fmla="*/ 40 h 1056"/>
                <a:gd name="T60" fmla="*/ 111 w 1704"/>
                <a:gd name="T61" fmla="*/ 43 h 1056"/>
                <a:gd name="T62" fmla="*/ 113 w 1704"/>
                <a:gd name="T63" fmla="*/ 50 h 1056"/>
                <a:gd name="T64" fmla="*/ 121 w 1704"/>
                <a:gd name="T65" fmla="*/ 55 h 1056"/>
                <a:gd name="T66" fmla="*/ 132 w 1704"/>
                <a:gd name="T67" fmla="*/ 52 h 1056"/>
                <a:gd name="T68" fmla="*/ 148 w 1704"/>
                <a:gd name="T69" fmla="*/ 58 h 1056"/>
                <a:gd name="T70" fmla="*/ 148 w 1704"/>
                <a:gd name="T71" fmla="*/ 61 h 1056"/>
                <a:gd name="T72" fmla="*/ 148 w 1704"/>
                <a:gd name="T73" fmla="*/ 64 h 1056"/>
                <a:gd name="T74" fmla="*/ 135 w 1704"/>
                <a:gd name="T75" fmla="*/ 61 h 1056"/>
                <a:gd name="T76" fmla="*/ 135 w 1704"/>
                <a:gd name="T77" fmla="*/ 66 h 1056"/>
                <a:gd name="T78" fmla="*/ 137 w 1704"/>
                <a:gd name="T79" fmla="*/ 71 h 1056"/>
                <a:gd name="T80" fmla="*/ 136 w 1704"/>
                <a:gd name="T81" fmla="*/ 79 h 1056"/>
                <a:gd name="T82" fmla="*/ 126 w 1704"/>
                <a:gd name="T83" fmla="*/ 84 h 1056"/>
                <a:gd name="T84" fmla="*/ 121 w 1704"/>
                <a:gd name="T85" fmla="*/ 79 h 1056"/>
                <a:gd name="T86" fmla="*/ 117 w 1704"/>
                <a:gd name="T87" fmla="*/ 75 h 1056"/>
                <a:gd name="T88" fmla="*/ 98 w 1704"/>
                <a:gd name="T89" fmla="*/ 74 h 1056"/>
                <a:gd name="T90" fmla="*/ 81 w 1704"/>
                <a:gd name="T91" fmla="*/ 75 h 1056"/>
                <a:gd name="T92" fmla="*/ 83 w 1704"/>
                <a:gd name="T93" fmla="*/ 88 h 1056"/>
                <a:gd name="T94" fmla="*/ 82 w 1704"/>
                <a:gd name="T95" fmla="*/ 91 h 1056"/>
                <a:gd name="T96" fmla="*/ 77 w 1704"/>
                <a:gd name="T97" fmla="*/ 90 h 1056"/>
                <a:gd name="T98" fmla="*/ 73 w 1704"/>
                <a:gd name="T99" fmla="*/ 86 h 1056"/>
                <a:gd name="T100" fmla="*/ 68 w 1704"/>
                <a:gd name="T101" fmla="*/ 85 h 1056"/>
                <a:gd name="T102" fmla="*/ 64 w 1704"/>
                <a:gd name="T103" fmla="*/ 83 h 1056"/>
                <a:gd name="T104" fmla="*/ 57 w 1704"/>
                <a:gd name="T105" fmla="*/ 81 h 1056"/>
                <a:gd name="T106" fmla="*/ 52 w 1704"/>
                <a:gd name="T107" fmla="*/ 80 h 1056"/>
                <a:gd name="T108" fmla="*/ 50 w 1704"/>
                <a:gd name="T109" fmla="*/ 80 h 1056"/>
                <a:gd name="T110" fmla="*/ 46 w 1704"/>
                <a:gd name="T111" fmla="*/ 79 h 1056"/>
                <a:gd name="T112" fmla="*/ 41 w 1704"/>
                <a:gd name="T113" fmla="*/ 78 h 10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04"/>
                <a:gd name="T172" fmla="*/ 0 h 1056"/>
                <a:gd name="T173" fmla="*/ 1704 w 1704"/>
                <a:gd name="T174" fmla="*/ 1056 h 10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04" h="1056">
                  <a:moveTo>
                    <a:pt x="450" y="888"/>
                  </a:moveTo>
                  <a:lnTo>
                    <a:pt x="420" y="888"/>
                  </a:lnTo>
                  <a:lnTo>
                    <a:pt x="414" y="888"/>
                  </a:lnTo>
                  <a:lnTo>
                    <a:pt x="396" y="888"/>
                  </a:lnTo>
                  <a:lnTo>
                    <a:pt x="372" y="888"/>
                  </a:lnTo>
                  <a:lnTo>
                    <a:pt x="366" y="888"/>
                  </a:lnTo>
                  <a:lnTo>
                    <a:pt x="360" y="888"/>
                  </a:lnTo>
                  <a:lnTo>
                    <a:pt x="348" y="888"/>
                  </a:lnTo>
                  <a:lnTo>
                    <a:pt x="330" y="894"/>
                  </a:lnTo>
                  <a:lnTo>
                    <a:pt x="324" y="894"/>
                  </a:lnTo>
                  <a:lnTo>
                    <a:pt x="312" y="888"/>
                  </a:lnTo>
                  <a:lnTo>
                    <a:pt x="300" y="888"/>
                  </a:lnTo>
                  <a:lnTo>
                    <a:pt x="282" y="888"/>
                  </a:lnTo>
                  <a:lnTo>
                    <a:pt x="270" y="888"/>
                  </a:lnTo>
                  <a:lnTo>
                    <a:pt x="240" y="882"/>
                  </a:lnTo>
                  <a:lnTo>
                    <a:pt x="222" y="882"/>
                  </a:lnTo>
                  <a:lnTo>
                    <a:pt x="198" y="882"/>
                  </a:lnTo>
                  <a:lnTo>
                    <a:pt x="174" y="894"/>
                  </a:lnTo>
                  <a:lnTo>
                    <a:pt x="162" y="900"/>
                  </a:lnTo>
                  <a:lnTo>
                    <a:pt x="144" y="906"/>
                  </a:lnTo>
                  <a:lnTo>
                    <a:pt x="126" y="912"/>
                  </a:lnTo>
                  <a:lnTo>
                    <a:pt x="102" y="924"/>
                  </a:lnTo>
                  <a:lnTo>
                    <a:pt x="78" y="930"/>
                  </a:lnTo>
                  <a:lnTo>
                    <a:pt x="72" y="936"/>
                  </a:lnTo>
                  <a:lnTo>
                    <a:pt x="30" y="954"/>
                  </a:lnTo>
                  <a:lnTo>
                    <a:pt x="12" y="966"/>
                  </a:lnTo>
                  <a:lnTo>
                    <a:pt x="12" y="954"/>
                  </a:lnTo>
                  <a:lnTo>
                    <a:pt x="12" y="930"/>
                  </a:lnTo>
                  <a:lnTo>
                    <a:pt x="12" y="894"/>
                  </a:lnTo>
                  <a:lnTo>
                    <a:pt x="30" y="828"/>
                  </a:lnTo>
                  <a:lnTo>
                    <a:pt x="36" y="798"/>
                  </a:lnTo>
                  <a:lnTo>
                    <a:pt x="18" y="774"/>
                  </a:lnTo>
                  <a:lnTo>
                    <a:pt x="18" y="756"/>
                  </a:lnTo>
                  <a:lnTo>
                    <a:pt x="6" y="738"/>
                  </a:lnTo>
                  <a:lnTo>
                    <a:pt x="0" y="714"/>
                  </a:lnTo>
                  <a:lnTo>
                    <a:pt x="12" y="678"/>
                  </a:lnTo>
                  <a:lnTo>
                    <a:pt x="18" y="678"/>
                  </a:lnTo>
                  <a:lnTo>
                    <a:pt x="24" y="672"/>
                  </a:lnTo>
                  <a:lnTo>
                    <a:pt x="30" y="666"/>
                  </a:lnTo>
                  <a:lnTo>
                    <a:pt x="42" y="648"/>
                  </a:lnTo>
                  <a:lnTo>
                    <a:pt x="66" y="648"/>
                  </a:lnTo>
                  <a:lnTo>
                    <a:pt x="108" y="648"/>
                  </a:lnTo>
                  <a:lnTo>
                    <a:pt x="174" y="642"/>
                  </a:lnTo>
                  <a:lnTo>
                    <a:pt x="216" y="636"/>
                  </a:lnTo>
                  <a:lnTo>
                    <a:pt x="240" y="630"/>
                  </a:lnTo>
                  <a:lnTo>
                    <a:pt x="246" y="618"/>
                  </a:lnTo>
                  <a:lnTo>
                    <a:pt x="264" y="600"/>
                  </a:lnTo>
                  <a:lnTo>
                    <a:pt x="294" y="582"/>
                  </a:lnTo>
                  <a:lnTo>
                    <a:pt x="318" y="552"/>
                  </a:lnTo>
                  <a:lnTo>
                    <a:pt x="330" y="546"/>
                  </a:lnTo>
                  <a:lnTo>
                    <a:pt x="348" y="510"/>
                  </a:lnTo>
                  <a:lnTo>
                    <a:pt x="372" y="474"/>
                  </a:lnTo>
                  <a:lnTo>
                    <a:pt x="384" y="444"/>
                  </a:lnTo>
                  <a:lnTo>
                    <a:pt x="396" y="420"/>
                  </a:lnTo>
                  <a:lnTo>
                    <a:pt x="402" y="378"/>
                  </a:lnTo>
                  <a:lnTo>
                    <a:pt x="402" y="228"/>
                  </a:lnTo>
                  <a:lnTo>
                    <a:pt x="414" y="186"/>
                  </a:lnTo>
                  <a:lnTo>
                    <a:pt x="432" y="138"/>
                  </a:lnTo>
                  <a:lnTo>
                    <a:pt x="438" y="114"/>
                  </a:lnTo>
                  <a:lnTo>
                    <a:pt x="444" y="96"/>
                  </a:lnTo>
                  <a:lnTo>
                    <a:pt x="462" y="84"/>
                  </a:lnTo>
                  <a:lnTo>
                    <a:pt x="474" y="78"/>
                  </a:lnTo>
                  <a:lnTo>
                    <a:pt x="492" y="72"/>
                  </a:lnTo>
                  <a:lnTo>
                    <a:pt x="492" y="66"/>
                  </a:lnTo>
                  <a:lnTo>
                    <a:pt x="498" y="66"/>
                  </a:lnTo>
                  <a:lnTo>
                    <a:pt x="510" y="66"/>
                  </a:lnTo>
                  <a:lnTo>
                    <a:pt x="510" y="72"/>
                  </a:lnTo>
                  <a:lnTo>
                    <a:pt x="516" y="72"/>
                  </a:lnTo>
                  <a:lnTo>
                    <a:pt x="522" y="78"/>
                  </a:lnTo>
                  <a:lnTo>
                    <a:pt x="546" y="78"/>
                  </a:lnTo>
                  <a:lnTo>
                    <a:pt x="552" y="60"/>
                  </a:lnTo>
                  <a:lnTo>
                    <a:pt x="570" y="42"/>
                  </a:lnTo>
                  <a:lnTo>
                    <a:pt x="576" y="24"/>
                  </a:lnTo>
                  <a:lnTo>
                    <a:pt x="588" y="18"/>
                  </a:lnTo>
                  <a:lnTo>
                    <a:pt x="588" y="12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624" y="0"/>
                  </a:lnTo>
                  <a:lnTo>
                    <a:pt x="636" y="6"/>
                  </a:lnTo>
                  <a:lnTo>
                    <a:pt x="648" y="24"/>
                  </a:lnTo>
                  <a:lnTo>
                    <a:pt x="654" y="48"/>
                  </a:lnTo>
                  <a:lnTo>
                    <a:pt x="672" y="60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0" y="72"/>
                  </a:lnTo>
                  <a:lnTo>
                    <a:pt x="690" y="78"/>
                  </a:lnTo>
                  <a:lnTo>
                    <a:pt x="696" y="90"/>
                  </a:lnTo>
                  <a:lnTo>
                    <a:pt x="714" y="114"/>
                  </a:lnTo>
                  <a:lnTo>
                    <a:pt x="714" y="120"/>
                  </a:lnTo>
                  <a:lnTo>
                    <a:pt x="720" y="132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20" y="150"/>
                  </a:lnTo>
                  <a:lnTo>
                    <a:pt x="714" y="150"/>
                  </a:lnTo>
                  <a:lnTo>
                    <a:pt x="714" y="156"/>
                  </a:lnTo>
                  <a:lnTo>
                    <a:pt x="714" y="162"/>
                  </a:lnTo>
                  <a:lnTo>
                    <a:pt x="708" y="162"/>
                  </a:lnTo>
                  <a:lnTo>
                    <a:pt x="708" y="168"/>
                  </a:lnTo>
                  <a:lnTo>
                    <a:pt x="702" y="168"/>
                  </a:lnTo>
                  <a:lnTo>
                    <a:pt x="702" y="174"/>
                  </a:lnTo>
                  <a:lnTo>
                    <a:pt x="702" y="180"/>
                  </a:lnTo>
                  <a:lnTo>
                    <a:pt x="708" y="180"/>
                  </a:lnTo>
                  <a:lnTo>
                    <a:pt x="708" y="186"/>
                  </a:lnTo>
                  <a:lnTo>
                    <a:pt x="708" y="192"/>
                  </a:lnTo>
                  <a:lnTo>
                    <a:pt x="714" y="204"/>
                  </a:lnTo>
                  <a:lnTo>
                    <a:pt x="726" y="216"/>
                  </a:lnTo>
                  <a:lnTo>
                    <a:pt x="738" y="216"/>
                  </a:lnTo>
                  <a:lnTo>
                    <a:pt x="768" y="222"/>
                  </a:lnTo>
                  <a:lnTo>
                    <a:pt x="780" y="216"/>
                  </a:lnTo>
                  <a:lnTo>
                    <a:pt x="792" y="204"/>
                  </a:lnTo>
                  <a:lnTo>
                    <a:pt x="798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6" y="192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6" y="174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22" y="156"/>
                  </a:lnTo>
                  <a:lnTo>
                    <a:pt x="822" y="150"/>
                  </a:lnTo>
                  <a:lnTo>
                    <a:pt x="828" y="144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8" y="138"/>
                  </a:lnTo>
                  <a:lnTo>
                    <a:pt x="834" y="132"/>
                  </a:lnTo>
                  <a:lnTo>
                    <a:pt x="840" y="132"/>
                  </a:lnTo>
                  <a:lnTo>
                    <a:pt x="864" y="126"/>
                  </a:lnTo>
                  <a:lnTo>
                    <a:pt x="906" y="144"/>
                  </a:lnTo>
                  <a:lnTo>
                    <a:pt x="906" y="150"/>
                  </a:lnTo>
                  <a:lnTo>
                    <a:pt x="906" y="156"/>
                  </a:lnTo>
                  <a:lnTo>
                    <a:pt x="900" y="162"/>
                  </a:lnTo>
                  <a:lnTo>
                    <a:pt x="924" y="168"/>
                  </a:lnTo>
                  <a:lnTo>
                    <a:pt x="942" y="192"/>
                  </a:lnTo>
                  <a:lnTo>
                    <a:pt x="972" y="210"/>
                  </a:lnTo>
                  <a:lnTo>
                    <a:pt x="972" y="216"/>
                  </a:lnTo>
                  <a:lnTo>
                    <a:pt x="972" y="228"/>
                  </a:lnTo>
                  <a:lnTo>
                    <a:pt x="978" y="234"/>
                  </a:lnTo>
                  <a:lnTo>
                    <a:pt x="978" y="246"/>
                  </a:lnTo>
                  <a:lnTo>
                    <a:pt x="984" y="252"/>
                  </a:lnTo>
                  <a:lnTo>
                    <a:pt x="1014" y="252"/>
                  </a:lnTo>
                  <a:lnTo>
                    <a:pt x="1020" y="228"/>
                  </a:lnTo>
                  <a:lnTo>
                    <a:pt x="1026" y="198"/>
                  </a:lnTo>
                  <a:lnTo>
                    <a:pt x="1050" y="186"/>
                  </a:lnTo>
                  <a:lnTo>
                    <a:pt x="1056" y="180"/>
                  </a:lnTo>
                  <a:lnTo>
                    <a:pt x="1050" y="174"/>
                  </a:lnTo>
                  <a:lnTo>
                    <a:pt x="1050" y="168"/>
                  </a:lnTo>
                  <a:lnTo>
                    <a:pt x="1050" y="162"/>
                  </a:lnTo>
                  <a:lnTo>
                    <a:pt x="1056" y="162"/>
                  </a:lnTo>
                  <a:lnTo>
                    <a:pt x="1062" y="162"/>
                  </a:lnTo>
                  <a:lnTo>
                    <a:pt x="1074" y="162"/>
                  </a:lnTo>
                  <a:lnTo>
                    <a:pt x="1074" y="144"/>
                  </a:lnTo>
                  <a:lnTo>
                    <a:pt x="1074" y="120"/>
                  </a:lnTo>
                  <a:lnTo>
                    <a:pt x="1092" y="120"/>
                  </a:lnTo>
                  <a:lnTo>
                    <a:pt x="1098" y="126"/>
                  </a:lnTo>
                  <a:lnTo>
                    <a:pt x="1134" y="132"/>
                  </a:lnTo>
                  <a:lnTo>
                    <a:pt x="1146" y="132"/>
                  </a:lnTo>
                  <a:lnTo>
                    <a:pt x="1158" y="150"/>
                  </a:lnTo>
                  <a:lnTo>
                    <a:pt x="1158" y="156"/>
                  </a:lnTo>
                  <a:lnTo>
                    <a:pt x="1158" y="162"/>
                  </a:lnTo>
                  <a:lnTo>
                    <a:pt x="1158" y="180"/>
                  </a:lnTo>
                  <a:lnTo>
                    <a:pt x="1158" y="186"/>
                  </a:lnTo>
                  <a:lnTo>
                    <a:pt x="1164" y="192"/>
                  </a:lnTo>
                  <a:lnTo>
                    <a:pt x="1176" y="198"/>
                  </a:lnTo>
                  <a:lnTo>
                    <a:pt x="1182" y="198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8"/>
                  </a:lnTo>
                  <a:lnTo>
                    <a:pt x="1188" y="234"/>
                  </a:lnTo>
                  <a:lnTo>
                    <a:pt x="1212" y="234"/>
                  </a:lnTo>
                  <a:lnTo>
                    <a:pt x="1242" y="234"/>
                  </a:lnTo>
                  <a:lnTo>
                    <a:pt x="1248" y="234"/>
                  </a:lnTo>
                  <a:lnTo>
                    <a:pt x="1278" y="240"/>
                  </a:lnTo>
                  <a:lnTo>
                    <a:pt x="1320" y="234"/>
                  </a:lnTo>
                  <a:lnTo>
                    <a:pt x="1332" y="228"/>
                  </a:lnTo>
                  <a:lnTo>
                    <a:pt x="1344" y="228"/>
                  </a:lnTo>
                  <a:lnTo>
                    <a:pt x="1350" y="234"/>
                  </a:lnTo>
                  <a:lnTo>
                    <a:pt x="1350" y="240"/>
                  </a:lnTo>
                  <a:lnTo>
                    <a:pt x="1356" y="246"/>
                  </a:lnTo>
                  <a:lnTo>
                    <a:pt x="1350" y="252"/>
                  </a:lnTo>
                  <a:lnTo>
                    <a:pt x="1356" y="264"/>
                  </a:lnTo>
                  <a:lnTo>
                    <a:pt x="1356" y="270"/>
                  </a:lnTo>
                  <a:lnTo>
                    <a:pt x="1356" y="276"/>
                  </a:lnTo>
                  <a:lnTo>
                    <a:pt x="1356" y="282"/>
                  </a:lnTo>
                  <a:lnTo>
                    <a:pt x="1356" y="288"/>
                  </a:lnTo>
                  <a:lnTo>
                    <a:pt x="1350" y="294"/>
                  </a:lnTo>
                  <a:lnTo>
                    <a:pt x="1344" y="300"/>
                  </a:lnTo>
                  <a:lnTo>
                    <a:pt x="1344" y="306"/>
                  </a:lnTo>
                  <a:lnTo>
                    <a:pt x="1338" y="312"/>
                  </a:lnTo>
                  <a:lnTo>
                    <a:pt x="1326" y="342"/>
                  </a:lnTo>
                  <a:lnTo>
                    <a:pt x="1320" y="348"/>
                  </a:lnTo>
                  <a:lnTo>
                    <a:pt x="1314" y="354"/>
                  </a:lnTo>
                  <a:lnTo>
                    <a:pt x="1290" y="354"/>
                  </a:lnTo>
                  <a:lnTo>
                    <a:pt x="1284" y="360"/>
                  </a:lnTo>
                  <a:lnTo>
                    <a:pt x="1278" y="378"/>
                  </a:lnTo>
                  <a:lnTo>
                    <a:pt x="1278" y="384"/>
                  </a:lnTo>
                  <a:lnTo>
                    <a:pt x="1272" y="390"/>
                  </a:lnTo>
                  <a:lnTo>
                    <a:pt x="1266" y="396"/>
                  </a:lnTo>
                  <a:lnTo>
                    <a:pt x="1260" y="396"/>
                  </a:lnTo>
                  <a:lnTo>
                    <a:pt x="1248" y="402"/>
                  </a:lnTo>
                  <a:lnTo>
                    <a:pt x="1242" y="408"/>
                  </a:lnTo>
                  <a:lnTo>
                    <a:pt x="1242" y="414"/>
                  </a:lnTo>
                  <a:lnTo>
                    <a:pt x="1242" y="420"/>
                  </a:lnTo>
                  <a:lnTo>
                    <a:pt x="1236" y="432"/>
                  </a:lnTo>
                  <a:lnTo>
                    <a:pt x="1242" y="432"/>
                  </a:lnTo>
                  <a:lnTo>
                    <a:pt x="1242" y="444"/>
                  </a:lnTo>
                  <a:lnTo>
                    <a:pt x="1242" y="456"/>
                  </a:lnTo>
                  <a:lnTo>
                    <a:pt x="1248" y="456"/>
                  </a:lnTo>
                  <a:lnTo>
                    <a:pt x="1254" y="462"/>
                  </a:lnTo>
                  <a:lnTo>
                    <a:pt x="1248" y="468"/>
                  </a:lnTo>
                  <a:lnTo>
                    <a:pt x="1254" y="468"/>
                  </a:lnTo>
                  <a:lnTo>
                    <a:pt x="1266" y="474"/>
                  </a:lnTo>
                  <a:lnTo>
                    <a:pt x="1266" y="480"/>
                  </a:lnTo>
                  <a:lnTo>
                    <a:pt x="1266" y="486"/>
                  </a:lnTo>
                  <a:lnTo>
                    <a:pt x="1272" y="486"/>
                  </a:lnTo>
                  <a:lnTo>
                    <a:pt x="1272" y="492"/>
                  </a:lnTo>
                  <a:lnTo>
                    <a:pt x="1290" y="510"/>
                  </a:lnTo>
                  <a:lnTo>
                    <a:pt x="1296" y="516"/>
                  </a:lnTo>
                  <a:lnTo>
                    <a:pt x="1302" y="540"/>
                  </a:lnTo>
                  <a:lnTo>
                    <a:pt x="1302" y="546"/>
                  </a:lnTo>
                  <a:lnTo>
                    <a:pt x="1302" y="558"/>
                  </a:lnTo>
                  <a:lnTo>
                    <a:pt x="1302" y="570"/>
                  </a:lnTo>
                  <a:lnTo>
                    <a:pt x="1302" y="576"/>
                  </a:lnTo>
                  <a:lnTo>
                    <a:pt x="1344" y="570"/>
                  </a:lnTo>
                  <a:lnTo>
                    <a:pt x="1350" y="582"/>
                  </a:lnTo>
                  <a:lnTo>
                    <a:pt x="1368" y="594"/>
                  </a:lnTo>
                  <a:lnTo>
                    <a:pt x="1374" y="600"/>
                  </a:lnTo>
                  <a:lnTo>
                    <a:pt x="1380" y="600"/>
                  </a:lnTo>
                  <a:lnTo>
                    <a:pt x="1380" y="618"/>
                  </a:lnTo>
                  <a:lnTo>
                    <a:pt x="1386" y="624"/>
                  </a:lnTo>
                  <a:lnTo>
                    <a:pt x="1404" y="624"/>
                  </a:lnTo>
                  <a:lnTo>
                    <a:pt x="1410" y="612"/>
                  </a:lnTo>
                  <a:lnTo>
                    <a:pt x="1428" y="606"/>
                  </a:lnTo>
                  <a:lnTo>
                    <a:pt x="1488" y="606"/>
                  </a:lnTo>
                  <a:lnTo>
                    <a:pt x="1506" y="606"/>
                  </a:lnTo>
                  <a:lnTo>
                    <a:pt x="1512" y="600"/>
                  </a:lnTo>
                  <a:lnTo>
                    <a:pt x="1524" y="594"/>
                  </a:lnTo>
                  <a:lnTo>
                    <a:pt x="1554" y="594"/>
                  </a:lnTo>
                  <a:lnTo>
                    <a:pt x="1578" y="606"/>
                  </a:lnTo>
                  <a:lnTo>
                    <a:pt x="1596" y="624"/>
                  </a:lnTo>
                  <a:lnTo>
                    <a:pt x="1650" y="642"/>
                  </a:lnTo>
                  <a:lnTo>
                    <a:pt x="1686" y="648"/>
                  </a:lnTo>
                  <a:lnTo>
                    <a:pt x="1698" y="654"/>
                  </a:lnTo>
                  <a:lnTo>
                    <a:pt x="1698" y="660"/>
                  </a:lnTo>
                  <a:lnTo>
                    <a:pt x="1692" y="666"/>
                  </a:lnTo>
                  <a:lnTo>
                    <a:pt x="1692" y="672"/>
                  </a:lnTo>
                  <a:lnTo>
                    <a:pt x="1698" y="678"/>
                  </a:lnTo>
                  <a:lnTo>
                    <a:pt x="1698" y="684"/>
                  </a:lnTo>
                  <a:lnTo>
                    <a:pt x="1692" y="684"/>
                  </a:lnTo>
                  <a:lnTo>
                    <a:pt x="1692" y="690"/>
                  </a:lnTo>
                  <a:lnTo>
                    <a:pt x="1698" y="696"/>
                  </a:lnTo>
                  <a:lnTo>
                    <a:pt x="1698" y="702"/>
                  </a:lnTo>
                  <a:lnTo>
                    <a:pt x="1698" y="708"/>
                  </a:lnTo>
                  <a:lnTo>
                    <a:pt x="1704" y="714"/>
                  </a:lnTo>
                  <a:lnTo>
                    <a:pt x="1704" y="720"/>
                  </a:lnTo>
                  <a:lnTo>
                    <a:pt x="1704" y="726"/>
                  </a:lnTo>
                  <a:lnTo>
                    <a:pt x="1704" y="732"/>
                  </a:lnTo>
                  <a:lnTo>
                    <a:pt x="1704" y="738"/>
                  </a:lnTo>
                  <a:lnTo>
                    <a:pt x="1698" y="726"/>
                  </a:lnTo>
                  <a:lnTo>
                    <a:pt x="1668" y="720"/>
                  </a:lnTo>
                  <a:lnTo>
                    <a:pt x="1626" y="714"/>
                  </a:lnTo>
                  <a:lnTo>
                    <a:pt x="1614" y="708"/>
                  </a:lnTo>
                  <a:lnTo>
                    <a:pt x="1578" y="696"/>
                  </a:lnTo>
                  <a:lnTo>
                    <a:pt x="1566" y="696"/>
                  </a:lnTo>
                  <a:lnTo>
                    <a:pt x="1548" y="702"/>
                  </a:lnTo>
                  <a:lnTo>
                    <a:pt x="1542" y="714"/>
                  </a:lnTo>
                  <a:lnTo>
                    <a:pt x="1536" y="732"/>
                  </a:lnTo>
                  <a:lnTo>
                    <a:pt x="1530" y="750"/>
                  </a:lnTo>
                  <a:lnTo>
                    <a:pt x="1536" y="750"/>
                  </a:lnTo>
                  <a:lnTo>
                    <a:pt x="1542" y="756"/>
                  </a:lnTo>
                  <a:lnTo>
                    <a:pt x="1542" y="762"/>
                  </a:lnTo>
                  <a:lnTo>
                    <a:pt x="1548" y="762"/>
                  </a:lnTo>
                  <a:lnTo>
                    <a:pt x="1554" y="762"/>
                  </a:lnTo>
                  <a:lnTo>
                    <a:pt x="1554" y="768"/>
                  </a:lnTo>
                  <a:lnTo>
                    <a:pt x="1560" y="774"/>
                  </a:lnTo>
                  <a:lnTo>
                    <a:pt x="1566" y="774"/>
                  </a:lnTo>
                  <a:lnTo>
                    <a:pt x="1584" y="792"/>
                  </a:lnTo>
                  <a:lnTo>
                    <a:pt x="1584" y="810"/>
                  </a:lnTo>
                  <a:lnTo>
                    <a:pt x="1572" y="816"/>
                  </a:lnTo>
                  <a:lnTo>
                    <a:pt x="1578" y="834"/>
                  </a:lnTo>
                  <a:lnTo>
                    <a:pt x="1578" y="846"/>
                  </a:lnTo>
                  <a:lnTo>
                    <a:pt x="1584" y="858"/>
                  </a:lnTo>
                  <a:lnTo>
                    <a:pt x="1590" y="864"/>
                  </a:lnTo>
                  <a:lnTo>
                    <a:pt x="1590" y="876"/>
                  </a:lnTo>
                  <a:lnTo>
                    <a:pt x="1578" y="888"/>
                  </a:lnTo>
                  <a:lnTo>
                    <a:pt x="1560" y="906"/>
                  </a:lnTo>
                  <a:lnTo>
                    <a:pt x="1536" y="930"/>
                  </a:lnTo>
                  <a:lnTo>
                    <a:pt x="1530" y="930"/>
                  </a:lnTo>
                  <a:lnTo>
                    <a:pt x="1506" y="942"/>
                  </a:lnTo>
                  <a:lnTo>
                    <a:pt x="1488" y="948"/>
                  </a:lnTo>
                  <a:lnTo>
                    <a:pt x="1476" y="954"/>
                  </a:lnTo>
                  <a:lnTo>
                    <a:pt x="1458" y="960"/>
                  </a:lnTo>
                  <a:lnTo>
                    <a:pt x="1452" y="966"/>
                  </a:lnTo>
                  <a:lnTo>
                    <a:pt x="1446" y="966"/>
                  </a:lnTo>
                  <a:lnTo>
                    <a:pt x="1434" y="972"/>
                  </a:lnTo>
                  <a:lnTo>
                    <a:pt x="1434" y="954"/>
                  </a:lnTo>
                  <a:lnTo>
                    <a:pt x="1422" y="942"/>
                  </a:lnTo>
                  <a:lnTo>
                    <a:pt x="1398" y="924"/>
                  </a:lnTo>
                  <a:lnTo>
                    <a:pt x="1398" y="912"/>
                  </a:lnTo>
                  <a:lnTo>
                    <a:pt x="1398" y="906"/>
                  </a:lnTo>
                  <a:lnTo>
                    <a:pt x="1398" y="900"/>
                  </a:lnTo>
                  <a:lnTo>
                    <a:pt x="1380" y="900"/>
                  </a:lnTo>
                  <a:lnTo>
                    <a:pt x="1380" y="894"/>
                  </a:lnTo>
                  <a:lnTo>
                    <a:pt x="1368" y="888"/>
                  </a:lnTo>
                  <a:lnTo>
                    <a:pt x="1362" y="882"/>
                  </a:lnTo>
                  <a:lnTo>
                    <a:pt x="1356" y="876"/>
                  </a:lnTo>
                  <a:lnTo>
                    <a:pt x="1350" y="864"/>
                  </a:lnTo>
                  <a:lnTo>
                    <a:pt x="1344" y="858"/>
                  </a:lnTo>
                  <a:lnTo>
                    <a:pt x="1314" y="870"/>
                  </a:lnTo>
                  <a:lnTo>
                    <a:pt x="1272" y="876"/>
                  </a:lnTo>
                  <a:lnTo>
                    <a:pt x="1218" y="870"/>
                  </a:lnTo>
                  <a:lnTo>
                    <a:pt x="1200" y="864"/>
                  </a:lnTo>
                  <a:lnTo>
                    <a:pt x="1182" y="864"/>
                  </a:lnTo>
                  <a:lnTo>
                    <a:pt x="1134" y="858"/>
                  </a:lnTo>
                  <a:lnTo>
                    <a:pt x="1110" y="840"/>
                  </a:lnTo>
                  <a:lnTo>
                    <a:pt x="1086" y="828"/>
                  </a:lnTo>
                  <a:lnTo>
                    <a:pt x="1044" y="816"/>
                  </a:lnTo>
                  <a:lnTo>
                    <a:pt x="1014" y="816"/>
                  </a:lnTo>
                  <a:lnTo>
                    <a:pt x="990" y="822"/>
                  </a:lnTo>
                  <a:lnTo>
                    <a:pt x="948" y="858"/>
                  </a:lnTo>
                  <a:lnTo>
                    <a:pt x="930" y="864"/>
                  </a:lnTo>
                  <a:lnTo>
                    <a:pt x="924" y="876"/>
                  </a:lnTo>
                  <a:lnTo>
                    <a:pt x="918" y="906"/>
                  </a:lnTo>
                  <a:lnTo>
                    <a:pt x="924" y="930"/>
                  </a:lnTo>
                  <a:lnTo>
                    <a:pt x="948" y="984"/>
                  </a:lnTo>
                  <a:lnTo>
                    <a:pt x="954" y="1008"/>
                  </a:lnTo>
                  <a:lnTo>
                    <a:pt x="948" y="1014"/>
                  </a:lnTo>
                  <a:lnTo>
                    <a:pt x="954" y="1014"/>
                  </a:lnTo>
                  <a:lnTo>
                    <a:pt x="954" y="1032"/>
                  </a:lnTo>
                  <a:lnTo>
                    <a:pt x="966" y="1044"/>
                  </a:lnTo>
                  <a:lnTo>
                    <a:pt x="960" y="1056"/>
                  </a:lnTo>
                  <a:lnTo>
                    <a:pt x="954" y="1056"/>
                  </a:lnTo>
                  <a:lnTo>
                    <a:pt x="948" y="1056"/>
                  </a:lnTo>
                  <a:lnTo>
                    <a:pt x="942" y="1056"/>
                  </a:lnTo>
                  <a:lnTo>
                    <a:pt x="936" y="1050"/>
                  </a:lnTo>
                  <a:lnTo>
                    <a:pt x="930" y="1044"/>
                  </a:lnTo>
                  <a:lnTo>
                    <a:pt x="924" y="1044"/>
                  </a:lnTo>
                  <a:lnTo>
                    <a:pt x="918" y="1038"/>
                  </a:lnTo>
                  <a:lnTo>
                    <a:pt x="912" y="1038"/>
                  </a:lnTo>
                  <a:lnTo>
                    <a:pt x="906" y="1032"/>
                  </a:lnTo>
                  <a:lnTo>
                    <a:pt x="900" y="1032"/>
                  </a:lnTo>
                  <a:lnTo>
                    <a:pt x="888" y="1026"/>
                  </a:lnTo>
                  <a:lnTo>
                    <a:pt x="882" y="1026"/>
                  </a:lnTo>
                  <a:lnTo>
                    <a:pt x="876" y="1026"/>
                  </a:lnTo>
                  <a:lnTo>
                    <a:pt x="864" y="1014"/>
                  </a:lnTo>
                  <a:lnTo>
                    <a:pt x="846" y="1008"/>
                  </a:lnTo>
                  <a:lnTo>
                    <a:pt x="840" y="996"/>
                  </a:lnTo>
                  <a:lnTo>
                    <a:pt x="840" y="990"/>
                  </a:lnTo>
                  <a:lnTo>
                    <a:pt x="834" y="990"/>
                  </a:lnTo>
                  <a:lnTo>
                    <a:pt x="828" y="990"/>
                  </a:lnTo>
                  <a:lnTo>
                    <a:pt x="816" y="990"/>
                  </a:lnTo>
                  <a:lnTo>
                    <a:pt x="810" y="990"/>
                  </a:lnTo>
                  <a:lnTo>
                    <a:pt x="804" y="984"/>
                  </a:lnTo>
                  <a:lnTo>
                    <a:pt x="792" y="978"/>
                  </a:lnTo>
                  <a:lnTo>
                    <a:pt x="786" y="972"/>
                  </a:lnTo>
                  <a:lnTo>
                    <a:pt x="780" y="972"/>
                  </a:lnTo>
                  <a:lnTo>
                    <a:pt x="768" y="966"/>
                  </a:lnTo>
                  <a:lnTo>
                    <a:pt x="762" y="966"/>
                  </a:lnTo>
                  <a:lnTo>
                    <a:pt x="756" y="966"/>
                  </a:lnTo>
                  <a:lnTo>
                    <a:pt x="750" y="966"/>
                  </a:lnTo>
                  <a:lnTo>
                    <a:pt x="744" y="966"/>
                  </a:lnTo>
                  <a:lnTo>
                    <a:pt x="738" y="960"/>
                  </a:lnTo>
                  <a:lnTo>
                    <a:pt x="732" y="954"/>
                  </a:lnTo>
                  <a:lnTo>
                    <a:pt x="720" y="954"/>
                  </a:lnTo>
                  <a:lnTo>
                    <a:pt x="714" y="948"/>
                  </a:lnTo>
                  <a:lnTo>
                    <a:pt x="708" y="948"/>
                  </a:lnTo>
                  <a:lnTo>
                    <a:pt x="696" y="948"/>
                  </a:lnTo>
                  <a:lnTo>
                    <a:pt x="684" y="942"/>
                  </a:lnTo>
                  <a:lnTo>
                    <a:pt x="678" y="936"/>
                  </a:lnTo>
                  <a:lnTo>
                    <a:pt x="660" y="930"/>
                  </a:lnTo>
                  <a:lnTo>
                    <a:pt x="642" y="924"/>
                  </a:lnTo>
                  <a:lnTo>
                    <a:pt x="636" y="924"/>
                  </a:lnTo>
                  <a:lnTo>
                    <a:pt x="630" y="924"/>
                  </a:lnTo>
                  <a:lnTo>
                    <a:pt x="618" y="924"/>
                  </a:lnTo>
                  <a:lnTo>
                    <a:pt x="618" y="918"/>
                  </a:lnTo>
                  <a:lnTo>
                    <a:pt x="606" y="918"/>
                  </a:lnTo>
                  <a:lnTo>
                    <a:pt x="600" y="918"/>
                  </a:lnTo>
                  <a:lnTo>
                    <a:pt x="594" y="918"/>
                  </a:lnTo>
                  <a:lnTo>
                    <a:pt x="594" y="912"/>
                  </a:lnTo>
                  <a:lnTo>
                    <a:pt x="588" y="912"/>
                  </a:lnTo>
                  <a:lnTo>
                    <a:pt x="582" y="912"/>
                  </a:lnTo>
                  <a:lnTo>
                    <a:pt x="582" y="918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58" y="918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12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00"/>
                  </a:lnTo>
                  <a:lnTo>
                    <a:pt x="516" y="900"/>
                  </a:lnTo>
                  <a:lnTo>
                    <a:pt x="510" y="900"/>
                  </a:lnTo>
                  <a:lnTo>
                    <a:pt x="486" y="894"/>
                  </a:lnTo>
                  <a:lnTo>
                    <a:pt x="474" y="888"/>
                  </a:lnTo>
                  <a:lnTo>
                    <a:pt x="468" y="888"/>
                  </a:lnTo>
                  <a:lnTo>
                    <a:pt x="450" y="88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0" name="Freeform 15">
              <a:extLst>
                <a:ext uri="{FF2B5EF4-FFF2-40B4-BE49-F238E27FC236}">
                  <a16:creationId xmlns:a16="http://schemas.microsoft.com/office/drawing/2014/main" id="{8B991D7A-45C6-40F6-A035-24DFC733305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382" y="2652043"/>
              <a:ext cx="724526" cy="695552"/>
            </a:xfrm>
            <a:custGeom>
              <a:avLst/>
              <a:gdLst>
                <a:gd name="T0" fmla="*/ 44 w 1362"/>
                <a:gd name="T1" fmla="*/ 106 h 1308"/>
                <a:gd name="T2" fmla="*/ 32 w 1362"/>
                <a:gd name="T3" fmla="*/ 109 h 1308"/>
                <a:gd name="T4" fmla="*/ 25 w 1362"/>
                <a:gd name="T5" fmla="*/ 105 h 1308"/>
                <a:gd name="T6" fmla="*/ 22 w 1362"/>
                <a:gd name="T7" fmla="*/ 97 h 1308"/>
                <a:gd name="T8" fmla="*/ 21 w 1362"/>
                <a:gd name="T9" fmla="*/ 95 h 1308"/>
                <a:gd name="T10" fmla="*/ 20 w 1362"/>
                <a:gd name="T11" fmla="*/ 90 h 1308"/>
                <a:gd name="T12" fmla="*/ 23 w 1362"/>
                <a:gd name="T13" fmla="*/ 87 h 1308"/>
                <a:gd name="T14" fmla="*/ 29 w 1362"/>
                <a:gd name="T15" fmla="*/ 81 h 1308"/>
                <a:gd name="T16" fmla="*/ 30 w 1362"/>
                <a:gd name="T17" fmla="*/ 78 h 1308"/>
                <a:gd name="T18" fmla="*/ 27 w 1362"/>
                <a:gd name="T19" fmla="*/ 75 h 1308"/>
                <a:gd name="T20" fmla="*/ 15 w 1362"/>
                <a:gd name="T21" fmla="*/ 73 h 1308"/>
                <a:gd name="T22" fmla="*/ 12 w 1362"/>
                <a:gd name="T23" fmla="*/ 69 h 1308"/>
                <a:gd name="T24" fmla="*/ 5 w 1362"/>
                <a:gd name="T25" fmla="*/ 65 h 1308"/>
                <a:gd name="T26" fmla="*/ 6 w 1362"/>
                <a:gd name="T27" fmla="*/ 62 h 1308"/>
                <a:gd name="T28" fmla="*/ 7 w 1362"/>
                <a:gd name="T29" fmla="*/ 56 h 1308"/>
                <a:gd name="T30" fmla="*/ 2 w 1362"/>
                <a:gd name="T31" fmla="*/ 49 h 1308"/>
                <a:gd name="T32" fmla="*/ 0 w 1362"/>
                <a:gd name="T33" fmla="*/ 44 h 1308"/>
                <a:gd name="T34" fmla="*/ 0 w 1362"/>
                <a:gd name="T35" fmla="*/ 39 h 1308"/>
                <a:gd name="T36" fmla="*/ 3 w 1362"/>
                <a:gd name="T37" fmla="*/ 35 h 1308"/>
                <a:gd name="T38" fmla="*/ 3 w 1362"/>
                <a:gd name="T39" fmla="*/ 28 h 1308"/>
                <a:gd name="T40" fmla="*/ 6 w 1362"/>
                <a:gd name="T41" fmla="*/ 18 h 1308"/>
                <a:gd name="T42" fmla="*/ 6 w 1362"/>
                <a:gd name="T43" fmla="*/ 8 h 1308"/>
                <a:gd name="T44" fmla="*/ 10 w 1362"/>
                <a:gd name="T45" fmla="*/ 5 h 1308"/>
                <a:gd name="T46" fmla="*/ 15 w 1362"/>
                <a:gd name="T47" fmla="*/ 0 h 1308"/>
                <a:gd name="T48" fmla="*/ 21 w 1362"/>
                <a:gd name="T49" fmla="*/ 7 h 1308"/>
                <a:gd name="T50" fmla="*/ 25 w 1362"/>
                <a:gd name="T51" fmla="*/ 15 h 1308"/>
                <a:gd name="T52" fmla="*/ 24 w 1362"/>
                <a:gd name="T53" fmla="*/ 19 h 1308"/>
                <a:gd name="T54" fmla="*/ 32 w 1362"/>
                <a:gd name="T55" fmla="*/ 19 h 1308"/>
                <a:gd name="T56" fmla="*/ 35 w 1362"/>
                <a:gd name="T57" fmla="*/ 20 h 1308"/>
                <a:gd name="T58" fmla="*/ 40 w 1362"/>
                <a:gd name="T59" fmla="*/ 23 h 1308"/>
                <a:gd name="T60" fmla="*/ 40 w 1362"/>
                <a:gd name="T61" fmla="*/ 26 h 1308"/>
                <a:gd name="T62" fmla="*/ 34 w 1362"/>
                <a:gd name="T63" fmla="*/ 35 h 1308"/>
                <a:gd name="T64" fmla="*/ 41 w 1362"/>
                <a:gd name="T65" fmla="*/ 37 h 1308"/>
                <a:gd name="T66" fmla="*/ 43 w 1362"/>
                <a:gd name="T67" fmla="*/ 44 h 1308"/>
                <a:gd name="T68" fmla="*/ 48 w 1362"/>
                <a:gd name="T69" fmla="*/ 47 h 1308"/>
                <a:gd name="T70" fmla="*/ 57 w 1362"/>
                <a:gd name="T71" fmla="*/ 48 h 1308"/>
                <a:gd name="T72" fmla="*/ 70 w 1362"/>
                <a:gd name="T73" fmla="*/ 44 h 1308"/>
                <a:gd name="T74" fmla="*/ 80 w 1362"/>
                <a:gd name="T75" fmla="*/ 34 h 1308"/>
                <a:gd name="T76" fmla="*/ 95 w 1362"/>
                <a:gd name="T77" fmla="*/ 41 h 1308"/>
                <a:gd name="T78" fmla="*/ 109 w 1362"/>
                <a:gd name="T79" fmla="*/ 47 h 1308"/>
                <a:gd name="T80" fmla="*/ 111 w 1362"/>
                <a:gd name="T81" fmla="*/ 50 h 1308"/>
                <a:gd name="T82" fmla="*/ 113 w 1362"/>
                <a:gd name="T83" fmla="*/ 53 h 1308"/>
                <a:gd name="T84" fmla="*/ 113 w 1362"/>
                <a:gd name="T85" fmla="*/ 55 h 1308"/>
                <a:gd name="T86" fmla="*/ 113 w 1362"/>
                <a:gd name="T87" fmla="*/ 59 h 1308"/>
                <a:gd name="T88" fmla="*/ 113 w 1362"/>
                <a:gd name="T89" fmla="*/ 62 h 1308"/>
                <a:gd name="T90" fmla="*/ 115 w 1362"/>
                <a:gd name="T91" fmla="*/ 65 h 1308"/>
                <a:gd name="T92" fmla="*/ 115 w 1362"/>
                <a:gd name="T93" fmla="*/ 67 h 1308"/>
                <a:gd name="T94" fmla="*/ 116 w 1362"/>
                <a:gd name="T95" fmla="*/ 69 h 1308"/>
                <a:gd name="T96" fmla="*/ 116 w 1362"/>
                <a:gd name="T97" fmla="*/ 71 h 1308"/>
                <a:gd name="T98" fmla="*/ 118 w 1362"/>
                <a:gd name="T99" fmla="*/ 75 h 1308"/>
                <a:gd name="T100" fmla="*/ 116 w 1362"/>
                <a:gd name="T101" fmla="*/ 77 h 1308"/>
                <a:gd name="T102" fmla="*/ 116 w 1362"/>
                <a:gd name="T103" fmla="*/ 79 h 1308"/>
                <a:gd name="T104" fmla="*/ 101 w 1362"/>
                <a:gd name="T105" fmla="*/ 87 h 1308"/>
                <a:gd name="T106" fmla="*/ 85 w 1362"/>
                <a:gd name="T107" fmla="*/ 103 h 1308"/>
                <a:gd name="T108" fmla="*/ 67 w 1362"/>
                <a:gd name="T109" fmla="*/ 114 h 130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62"/>
                <a:gd name="T166" fmla="*/ 0 h 1308"/>
                <a:gd name="T167" fmla="*/ 1362 w 1362"/>
                <a:gd name="T168" fmla="*/ 1308 h 130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62" h="1308">
                  <a:moveTo>
                    <a:pt x="684" y="1278"/>
                  </a:moveTo>
                  <a:lnTo>
                    <a:pt x="672" y="1272"/>
                  </a:lnTo>
                  <a:lnTo>
                    <a:pt x="636" y="1266"/>
                  </a:lnTo>
                  <a:lnTo>
                    <a:pt x="582" y="1248"/>
                  </a:lnTo>
                  <a:lnTo>
                    <a:pt x="564" y="1230"/>
                  </a:lnTo>
                  <a:lnTo>
                    <a:pt x="540" y="1218"/>
                  </a:lnTo>
                  <a:lnTo>
                    <a:pt x="510" y="1218"/>
                  </a:lnTo>
                  <a:lnTo>
                    <a:pt x="498" y="1224"/>
                  </a:lnTo>
                  <a:lnTo>
                    <a:pt x="492" y="1230"/>
                  </a:lnTo>
                  <a:lnTo>
                    <a:pt x="474" y="1230"/>
                  </a:lnTo>
                  <a:lnTo>
                    <a:pt x="414" y="1230"/>
                  </a:lnTo>
                  <a:lnTo>
                    <a:pt x="396" y="1236"/>
                  </a:lnTo>
                  <a:lnTo>
                    <a:pt x="390" y="1248"/>
                  </a:lnTo>
                  <a:lnTo>
                    <a:pt x="372" y="1248"/>
                  </a:lnTo>
                  <a:lnTo>
                    <a:pt x="366" y="1242"/>
                  </a:lnTo>
                  <a:lnTo>
                    <a:pt x="366" y="1224"/>
                  </a:lnTo>
                  <a:lnTo>
                    <a:pt x="360" y="1224"/>
                  </a:lnTo>
                  <a:lnTo>
                    <a:pt x="354" y="1218"/>
                  </a:lnTo>
                  <a:lnTo>
                    <a:pt x="336" y="1206"/>
                  </a:lnTo>
                  <a:lnTo>
                    <a:pt x="330" y="1194"/>
                  </a:lnTo>
                  <a:lnTo>
                    <a:pt x="288" y="1200"/>
                  </a:lnTo>
                  <a:lnTo>
                    <a:pt x="288" y="1194"/>
                  </a:lnTo>
                  <a:lnTo>
                    <a:pt x="288" y="1182"/>
                  </a:lnTo>
                  <a:lnTo>
                    <a:pt x="288" y="1170"/>
                  </a:lnTo>
                  <a:lnTo>
                    <a:pt x="288" y="1164"/>
                  </a:lnTo>
                  <a:lnTo>
                    <a:pt x="282" y="1140"/>
                  </a:lnTo>
                  <a:lnTo>
                    <a:pt x="276" y="1134"/>
                  </a:lnTo>
                  <a:lnTo>
                    <a:pt x="258" y="1116"/>
                  </a:lnTo>
                  <a:lnTo>
                    <a:pt x="258" y="1110"/>
                  </a:lnTo>
                  <a:lnTo>
                    <a:pt x="252" y="1110"/>
                  </a:lnTo>
                  <a:lnTo>
                    <a:pt x="252" y="1104"/>
                  </a:lnTo>
                  <a:lnTo>
                    <a:pt x="252" y="1098"/>
                  </a:lnTo>
                  <a:lnTo>
                    <a:pt x="240" y="1092"/>
                  </a:lnTo>
                  <a:lnTo>
                    <a:pt x="234" y="1092"/>
                  </a:lnTo>
                  <a:lnTo>
                    <a:pt x="240" y="1086"/>
                  </a:lnTo>
                  <a:lnTo>
                    <a:pt x="234" y="1080"/>
                  </a:lnTo>
                  <a:lnTo>
                    <a:pt x="228" y="1080"/>
                  </a:lnTo>
                  <a:lnTo>
                    <a:pt x="228" y="1068"/>
                  </a:lnTo>
                  <a:lnTo>
                    <a:pt x="228" y="1056"/>
                  </a:lnTo>
                  <a:lnTo>
                    <a:pt x="222" y="1056"/>
                  </a:lnTo>
                  <a:lnTo>
                    <a:pt x="228" y="1044"/>
                  </a:lnTo>
                  <a:lnTo>
                    <a:pt x="228" y="1038"/>
                  </a:lnTo>
                  <a:lnTo>
                    <a:pt x="228" y="1032"/>
                  </a:lnTo>
                  <a:lnTo>
                    <a:pt x="234" y="1026"/>
                  </a:lnTo>
                  <a:lnTo>
                    <a:pt x="246" y="1020"/>
                  </a:lnTo>
                  <a:lnTo>
                    <a:pt x="252" y="1020"/>
                  </a:lnTo>
                  <a:lnTo>
                    <a:pt x="258" y="1014"/>
                  </a:lnTo>
                  <a:lnTo>
                    <a:pt x="264" y="1008"/>
                  </a:lnTo>
                  <a:lnTo>
                    <a:pt x="264" y="1002"/>
                  </a:lnTo>
                  <a:lnTo>
                    <a:pt x="270" y="984"/>
                  </a:lnTo>
                  <a:lnTo>
                    <a:pt x="276" y="978"/>
                  </a:lnTo>
                  <a:lnTo>
                    <a:pt x="300" y="978"/>
                  </a:lnTo>
                  <a:lnTo>
                    <a:pt x="306" y="972"/>
                  </a:lnTo>
                  <a:lnTo>
                    <a:pt x="312" y="966"/>
                  </a:lnTo>
                  <a:lnTo>
                    <a:pt x="324" y="936"/>
                  </a:lnTo>
                  <a:lnTo>
                    <a:pt x="330" y="930"/>
                  </a:lnTo>
                  <a:lnTo>
                    <a:pt x="330" y="924"/>
                  </a:lnTo>
                  <a:lnTo>
                    <a:pt x="336" y="918"/>
                  </a:lnTo>
                  <a:lnTo>
                    <a:pt x="342" y="912"/>
                  </a:lnTo>
                  <a:lnTo>
                    <a:pt x="342" y="906"/>
                  </a:lnTo>
                  <a:lnTo>
                    <a:pt x="342" y="900"/>
                  </a:lnTo>
                  <a:lnTo>
                    <a:pt x="342" y="894"/>
                  </a:lnTo>
                  <a:lnTo>
                    <a:pt x="342" y="888"/>
                  </a:lnTo>
                  <a:lnTo>
                    <a:pt x="336" y="876"/>
                  </a:lnTo>
                  <a:lnTo>
                    <a:pt x="342" y="870"/>
                  </a:lnTo>
                  <a:lnTo>
                    <a:pt x="336" y="864"/>
                  </a:lnTo>
                  <a:lnTo>
                    <a:pt x="336" y="858"/>
                  </a:lnTo>
                  <a:lnTo>
                    <a:pt x="330" y="852"/>
                  </a:lnTo>
                  <a:lnTo>
                    <a:pt x="318" y="852"/>
                  </a:lnTo>
                  <a:lnTo>
                    <a:pt x="306" y="858"/>
                  </a:lnTo>
                  <a:lnTo>
                    <a:pt x="264" y="864"/>
                  </a:lnTo>
                  <a:lnTo>
                    <a:pt x="234" y="858"/>
                  </a:lnTo>
                  <a:lnTo>
                    <a:pt x="228" y="858"/>
                  </a:lnTo>
                  <a:lnTo>
                    <a:pt x="198" y="858"/>
                  </a:lnTo>
                  <a:lnTo>
                    <a:pt x="174" y="858"/>
                  </a:lnTo>
                  <a:lnTo>
                    <a:pt x="168" y="852"/>
                  </a:lnTo>
                  <a:lnTo>
                    <a:pt x="168" y="840"/>
                  </a:lnTo>
                  <a:lnTo>
                    <a:pt x="168" y="834"/>
                  </a:lnTo>
                  <a:lnTo>
                    <a:pt x="168" y="822"/>
                  </a:lnTo>
                  <a:lnTo>
                    <a:pt x="162" y="822"/>
                  </a:lnTo>
                  <a:lnTo>
                    <a:pt x="150" y="816"/>
                  </a:lnTo>
                  <a:lnTo>
                    <a:pt x="144" y="810"/>
                  </a:lnTo>
                  <a:lnTo>
                    <a:pt x="144" y="804"/>
                  </a:lnTo>
                  <a:lnTo>
                    <a:pt x="144" y="786"/>
                  </a:lnTo>
                  <a:lnTo>
                    <a:pt x="144" y="780"/>
                  </a:lnTo>
                  <a:lnTo>
                    <a:pt x="144" y="774"/>
                  </a:lnTo>
                  <a:lnTo>
                    <a:pt x="132" y="756"/>
                  </a:lnTo>
                  <a:lnTo>
                    <a:pt x="120" y="756"/>
                  </a:lnTo>
                  <a:lnTo>
                    <a:pt x="84" y="750"/>
                  </a:lnTo>
                  <a:lnTo>
                    <a:pt x="78" y="744"/>
                  </a:lnTo>
                  <a:lnTo>
                    <a:pt x="60" y="744"/>
                  </a:lnTo>
                  <a:lnTo>
                    <a:pt x="54" y="726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66" y="720"/>
                  </a:lnTo>
                  <a:lnTo>
                    <a:pt x="66" y="714"/>
                  </a:lnTo>
                  <a:lnTo>
                    <a:pt x="72" y="714"/>
                  </a:lnTo>
                  <a:lnTo>
                    <a:pt x="72" y="708"/>
                  </a:lnTo>
                  <a:lnTo>
                    <a:pt x="78" y="702"/>
                  </a:lnTo>
                  <a:lnTo>
                    <a:pt x="78" y="696"/>
                  </a:lnTo>
                  <a:lnTo>
                    <a:pt x="78" y="690"/>
                  </a:lnTo>
                  <a:lnTo>
                    <a:pt x="84" y="678"/>
                  </a:lnTo>
                  <a:lnTo>
                    <a:pt x="90" y="666"/>
                  </a:lnTo>
                  <a:lnTo>
                    <a:pt x="90" y="642"/>
                  </a:lnTo>
                  <a:lnTo>
                    <a:pt x="84" y="648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66" y="642"/>
                  </a:lnTo>
                  <a:lnTo>
                    <a:pt x="60" y="642"/>
                  </a:lnTo>
                  <a:lnTo>
                    <a:pt x="54" y="636"/>
                  </a:lnTo>
                  <a:lnTo>
                    <a:pt x="30" y="570"/>
                  </a:lnTo>
                  <a:lnTo>
                    <a:pt x="24" y="564"/>
                  </a:lnTo>
                  <a:lnTo>
                    <a:pt x="18" y="570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6"/>
                  </a:lnTo>
                  <a:lnTo>
                    <a:pt x="6" y="540"/>
                  </a:lnTo>
                  <a:lnTo>
                    <a:pt x="0" y="522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2" y="480"/>
                  </a:lnTo>
                  <a:lnTo>
                    <a:pt x="6" y="480"/>
                  </a:lnTo>
                  <a:lnTo>
                    <a:pt x="0" y="474"/>
                  </a:lnTo>
                  <a:lnTo>
                    <a:pt x="0" y="450"/>
                  </a:lnTo>
                  <a:lnTo>
                    <a:pt x="6" y="450"/>
                  </a:lnTo>
                  <a:lnTo>
                    <a:pt x="12" y="450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32"/>
                  </a:lnTo>
                  <a:lnTo>
                    <a:pt x="30" y="426"/>
                  </a:lnTo>
                  <a:lnTo>
                    <a:pt x="36" y="402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2" y="366"/>
                  </a:lnTo>
                  <a:lnTo>
                    <a:pt x="48" y="360"/>
                  </a:lnTo>
                  <a:lnTo>
                    <a:pt x="48" y="342"/>
                  </a:lnTo>
                  <a:lnTo>
                    <a:pt x="42" y="330"/>
                  </a:lnTo>
                  <a:lnTo>
                    <a:pt x="36" y="324"/>
                  </a:lnTo>
                  <a:lnTo>
                    <a:pt x="42" y="306"/>
                  </a:lnTo>
                  <a:lnTo>
                    <a:pt x="42" y="270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48" y="258"/>
                  </a:lnTo>
                  <a:lnTo>
                    <a:pt x="72" y="252"/>
                  </a:lnTo>
                  <a:lnTo>
                    <a:pt x="66" y="204"/>
                  </a:lnTo>
                  <a:lnTo>
                    <a:pt x="60" y="198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8" y="13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84" y="96"/>
                  </a:lnTo>
                  <a:lnTo>
                    <a:pt x="90" y="84"/>
                  </a:lnTo>
                  <a:lnTo>
                    <a:pt x="108" y="72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20" y="60"/>
                  </a:lnTo>
                  <a:lnTo>
                    <a:pt x="120" y="54"/>
                  </a:lnTo>
                  <a:lnTo>
                    <a:pt x="120" y="48"/>
                  </a:lnTo>
                  <a:lnTo>
                    <a:pt x="126" y="48"/>
                  </a:lnTo>
                  <a:lnTo>
                    <a:pt x="132" y="42"/>
                  </a:lnTo>
                  <a:lnTo>
                    <a:pt x="132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240" y="18"/>
                  </a:lnTo>
                  <a:lnTo>
                    <a:pt x="246" y="42"/>
                  </a:lnTo>
                  <a:lnTo>
                    <a:pt x="240" y="72"/>
                  </a:lnTo>
                  <a:lnTo>
                    <a:pt x="246" y="78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8" y="108"/>
                  </a:lnTo>
                  <a:lnTo>
                    <a:pt x="276" y="114"/>
                  </a:lnTo>
                  <a:lnTo>
                    <a:pt x="294" y="150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82" y="186"/>
                  </a:lnTo>
                  <a:lnTo>
                    <a:pt x="282" y="192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76" y="216"/>
                  </a:lnTo>
                  <a:lnTo>
                    <a:pt x="288" y="240"/>
                  </a:lnTo>
                  <a:lnTo>
                    <a:pt x="312" y="228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66" y="228"/>
                  </a:lnTo>
                  <a:lnTo>
                    <a:pt x="372" y="228"/>
                  </a:lnTo>
                  <a:lnTo>
                    <a:pt x="372" y="222"/>
                  </a:lnTo>
                  <a:lnTo>
                    <a:pt x="378" y="222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6" y="222"/>
                  </a:lnTo>
                  <a:lnTo>
                    <a:pt x="402" y="222"/>
                  </a:lnTo>
                  <a:lnTo>
                    <a:pt x="402" y="228"/>
                  </a:lnTo>
                  <a:lnTo>
                    <a:pt x="408" y="228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26" y="216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68" y="258"/>
                  </a:lnTo>
                  <a:lnTo>
                    <a:pt x="462" y="264"/>
                  </a:lnTo>
                  <a:lnTo>
                    <a:pt x="468" y="264"/>
                  </a:lnTo>
                  <a:lnTo>
                    <a:pt x="468" y="270"/>
                  </a:lnTo>
                  <a:lnTo>
                    <a:pt x="474" y="270"/>
                  </a:lnTo>
                  <a:lnTo>
                    <a:pt x="480" y="276"/>
                  </a:lnTo>
                  <a:lnTo>
                    <a:pt x="474" y="282"/>
                  </a:lnTo>
                  <a:lnTo>
                    <a:pt x="474" y="288"/>
                  </a:lnTo>
                  <a:lnTo>
                    <a:pt x="462" y="294"/>
                  </a:lnTo>
                  <a:lnTo>
                    <a:pt x="468" y="324"/>
                  </a:lnTo>
                  <a:lnTo>
                    <a:pt x="462" y="336"/>
                  </a:lnTo>
                  <a:lnTo>
                    <a:pt x="456" y="354"/>
                  </a:lnTo>
                  <a:lnTo>
                    <a:pt x="432" y="390"/>
                  </a:lnTo>
                  <a:lnTo>
                    <a:pt x="420" y="390"/>
                  </a:lnTo>
                  <a:lnTo>
                    <a:pt x="402" y="390"/>
                  </a:lnTo>
                  <a:lnTo>
                    <a:pt x="396" y="396"/>
                  </a:lnTo>
                  <a:lnTo>
                    <a:pt x="390" y="396"/>
                  </a:lnTo>
                  <a:lnTo>
                    <a:pt x="390" y="402"/>
                  </a:lnTo>
                  <a:lnTo>
                    <a:pt x="384" y="402"/>
                  </a:lnTo>
                  <a:lnTo>
                    <a:pt x="408" y="432"/>
                  </a:lnTo>
                  <a:lnTo>
                    <a:pt x="432" y="438"/>
                  </a:lnTo>
                  <a:lnTo>
                    <a:pt x="456" y="432"/>
                  </a:lnTo>
                  <a:lnTo>
                    <a:pt x="468" y="426"/>
                  </a:lnTo>
                  <a:lnTo>
                    <a:pt x="468" y="444"/>
                  </a:lnTo>
                  <a:lnTo>
                    <a:pt x="468" y="450"/>
                  </a:lnTo>
                  <a:lnTo>
                    <a:pt x="468" y="474"/>
                  </a:lnTo>
                  <a:lnTo>
                    <a:pt x="486" y="480"/>
                  </a:lnTo>
                  <a:lnTo>
                    <a:pt x="486" y="486"/>
                  </a:lnTo>
                  <a:lnTo>
                    <a:pt x="492" y="498"/>
                  </a:lnTo>
                  <a:lnTo>
                    <a:pt x="492" y="504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504" y="516"/>
                  </a:lnTo>
                  <a:lnTo>
                    <a:pt x="510" y="516"/>
                  </a:lnTo>
                  <a:lnTo>
                    <a:pt x="522" y="528"/>
                  </a:lnTo>
                  <a:lnTo>
                    <a:pt x="546" y="540"/>
                  </a:lnTo>
                  <a:lnTo>
                    <a:pt x="552" y="546"/>
                  </a:lnTo>
                  <a:lnTo>
                    <a:pt x="570" y="552"/>
                  </a:lnTo>
                  <a:lnTo>
                    <a:pt x="594" y="552"/>
                  </a:lnTo>
                  <a:lnTo>
                    <a:pt x="606" y="546"/>
                  </a:lnTo>
                  <a:lnTo>
                    <a:pt x="612" y="540"/>
                  </a:lnTo>
                  <a:lnTo>
                    <a:pt x="630" y="540"/>
                  </a:lnTo>
                  <a:lnTo>
                    <a:pt x="630" y="552"/>
                  </a:lnTo>
                  <a:lnTo>
                    <a:pt x="654" y="552"/>
                  </a:lnTo>
                  <a:lnTo>
                    <a:pt x="702" y="558"/>
                  </a:lnTo>
                  <a:lnTo>
                    <a:pt x="762" y="546"/>
                  </a:lnTo>
                  <a:lnTo>
                    <a:pt x="780" y="546"/>
                  </a:lnTo>
                  <a:lnTo>
                    <a:pt x="780" y="528"/>
                  </a:lnTo>
                  <a:lnTo>
                    <a:pt x="798" y="522"/>
                  </a:lnTo>
                  <a:lnTo>
                    <a:pt x="810" y="510"/>
                  </a:lnTo>
                  <a:lnTo>
                    <a:pt x="810" y="504"/>
                  </a:lnTo>
                  <a:lnTo>
                    <a:pt x="828" y="492"/>
                  </a:lnTo>
                  <a:lnTo>
                    <a:pt x="888" y="486"/>
                  </a:lnTo>
                  <a:lnTo>
                    <a:pt x="912" y="486"/>
                  </a:lnTo>
                  <a:lnTo>
                    <a:pt x="930" y="474"/>
                  </a:lnTo>
                  <a:lnTo>
                    <a:pt x="918" y="456"/>
                  </a:lnTo>
                  <a:lnTo>
                    <a:pt x="912" y="450"/>
                  </a:lnTo>
                  <a:lnTo>
                    <a:pt x="918" y="390"/>
                  </a:lnTo>
                  <a:lnTo>
                    <a:pt x="954" y="396"/>
                  </a:lnTo>
                  <a:lnTo>
                    <a:pt x="984" y="402"/>
                  </a:lnTo>
                  <a:lnTo>
                    <a:pt x="1014" y="420"/>
                  </a:lnTo>
                  <a:lnTo>
                    <a:pt x="1026" y="432"/>
                  </a:lnTo>
                  <a:lnTo>
                    <a:pt x="1044" y="450"/>
                  </a:lnTo>
                  <a:lnTo>
                    <a:pt x="1062" y="462"/>
                  </a:lnTo>
                  <a:lnTo>
                    <a:pt x="1098" y="468"/>
                  </a:lnTo>
                  <a:lnTo>
                    <a:pt x="1128" y="480"/>
                  </a:lnTo>
                  <a:lnTo>
                    <a:pt x="1152" y="486"/>
                  </a:lnTo>
                  <a:lnTo>
                    <a:pt x="1188" y="498"/>
                  </a:lnTo>
                  <a:lnTo>
                    <a:pt x="1212" y="504"/>
                  </a:lnTo>
                  <a:lnTo>
                    <a:pt x="1224" y="528"/>
                  </a:lnTo>
                  <a:lnTo>
                    <a:pt x="1236" y="540"/>
                  </a:lnTo>
                  <a:lnTo>
                    <a:pt x="1254" y="540"/>
                  </a:lnTo>
                  <a:lnTo>
                    <a:pt x="1254" y="546"/>
                  </a:lnTo>
                  <a:lnTo>
                    <a:pt x="1260" y="552"/>
                  </a:lnTo>
                  <a:lnTo>
                    <a:pt x="1266" y="552"/>
                  </a:lnTo>
                  <a:lnTo>
                    <a:pt x="1266" y="558"/>
                  </a:lnTo>
                  <a:lnTo>
                    <a:pt x="1272" y="564"/>
                  </a:lnTo>
                  <a:lnTo>
                    <a:pt x="1278" y="564"/>
                  </a:lnTo>
                  <a:lnTo>
                    <a:pt x="1278" y="570"/>
                  </a:lnTo>
                  <a:lnTo>
                    <a:pt x="1284" y="576"/>
                  </a:lnTo>
                  <a:lnTo>
                    <a:pt x="1290" y="582"/>
                  </a:lnTo>
                  <a:lnTo>
                    <a:pt x="1296" y="582"/>
                  </a:lnTo>
                  <a:lnTo>
                    <a:pt x="1296" y="588"/>
                  </a:lnTo>
                  <a:lnTo>
                    <a:pt x="1308" y="594"/>
                  </a:lnTo>
                  <a:lnTo>
                    <a:pt x="1308" y="600"/>
                  </a:lnTo>
                  <a:lnTo>
                    <a:pt x="1308" y="606"/>
                  </a:lnTo>
                  <a:lnTo>
                    <a:pt x="1314" y="612"/>
                  </a:lnTo>
                  <a:lnTo>
                    <a:pt x="1308" y="618"/>
                  </a:lnTo>
                  <a:lnTo>
                    <a:pt x="1314" y="618"/>
                  </a:lnTo>
                  <a:lnTo>
                    <a:pt x="1314" y="624"/>
                  </a:lnTo>
                  <a:lnTo>
                    <a:pt x="1308" y="624"/>
                  </a:lnTo>
                  <a:lnTo>
                    <a:pt x="1302" y="630"/>
                  </a:lnTo>
                  <a:lnTo>
                    <a:pt x="1302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296" y="654"/>
                  </a:lnTo>
                  <a:lnTo>
                    <a:pt x="1302" y="660"/>
                  </a:lnTo>
                  <a:lnTo>
                    <a:pt x="1302" y="666"/>
                  </a:lnTo>
                  <a:lnTo>
                    <a:pt x="1308" y="666"/>
                  </a:lnTo>
                  <a:lnTo>
                    <a:pt x="1308" y="672"/>
                  </a:lnTo>
                  <a:lnTo>
                    <a:pt x="1308" y="678"/>
                  </a:lnTo>
                  <a:lnTo>
                    <a:pt x="1308" y="684"/>
                  </a:lnTo>
                  <a:lnTo>
                    <a:pt x="1308" y="690"/>
                  </a:lnTo>
                  <a:lnTo>
                    <a:pt x="1302" y="696"/>
                  </a:lnTo>
                  <a:lnTo>
                    <a:pt x="1302" y="702"/>
                  </a:lnTo>
                  <a:lnTo>
                    <a:pt x="1308" y="702"/>
                  </a:lnTo>
                  <a:lnTo>
                    <a:pt x="1302" y="708"/>
                  </a:lnTo>
                  <a:lnTo>
                    <a:pt x="1308" y="714"/>
                  </a:lnTo>
                  <a:lnTo>
                    <a:pt x="1308" y="720"/>
                  </a:lnTo>
                  <a:lnTo>
                    <a:pt x="1308" y="726"/>
                  </a:lnTo>
                  <a:lnTo>
                    <a:pt x="1308" y="732"/>
                  </a:lnTo>
                  <a:lnTo>
                    <a:pt x="1314" y="732"/>
                  </a:lnTo>
                  <a:lnTo>
                    <a:pt x="1314" y="738"/>
                  </a:lnTo>
                  <a:lnTo>
                    <a:pt x="1320" y="744"/>
                  </a:lnTo>
                  <a:lnTo>
                    <a:pt x="1326" y="750"/>
                  </a:lnTo>
                  <a:lnTo>
                    <a:pt x="1320" y="750"/>
                  </a:lnTo>
                  <a:lnTo>
                    <a:pt x="1320" y="756"/>
                  </a:lnTo>
                  <a:lnTo>
                    <a:pt x="1314" y="756"/>
                  </a:lnTo>
                  <a:lnTo>
                    <a:pt x="1314" y="762"/>
                  </a:lnTo>
                  <a:lnTo>
                    <a:pt x="1314" y="768"/>
                  </a:lnTo>
                  <a:lnTo>
                    <a:pt x="1320" y="768"/>
                  </a:lnTo>
                  <a:lnTo>
                    <a:pt x="1320" y="762"/>
                  </a:lnTo>
                  <a:lnTo>
                    <a:pt x="1320" y="768"/>
                  </a:lnTo>
                  <a:lnTo>
                    <a:pt x="1326" y="774"/>
                  </a:lnTo>
                  <a:lnTo>
                    <a:pt x="1332" y="774"/>
                  </a:lnTo>
                  <a:lnTo>
                    <a:pt x="1332" y="780"/>
                  </a:lnTo>
                  <a:lnTo>
                    <a:pt x="1332" y="786"/>
                  </a:lnTo>
                  <a:lnTo>
                    <a:pt x="1332" y="792"/>
                  </a:lnTo>
                  <a:lnTo>
                    <a:pt x="1338" y="786"/>
                  </a:lnTo>
                  <a:lnTo>
                    <a:pt x="1338" y="792"/>
                  </a:lnTo>
                  <a:lnTo>
                    <a:pt x="1344" y="798"/>
                  </a:lnTo>
                  <a:lnTo>
                    <a:pt x="1344" y="804"/>
                  </a:lnTo>
                  <a:lnTo>
                    <a:pt x="1344" y="810"/>
                  </a:lnTo>
                  <a:lnTo>
                    <a:pt x="1344" y="816"/>
                  </a:lnTo>
                  <a:lnTo>
                    <a:pt x="1344" y="822"/>
                  </a:lnTo>
                  <a:lnTo>
                    <a:pt x="1338" y="828"/>
                  </a:lnTo>
                  <a:lnTo>
                    <a:pt x="1332" y="828"/>
                  </a:lnTo>
                  <a:lnTo>
                    <a:pt x="1338" y="840"/>
                  </a:lnTo>
                  <a:lnTo>
                    <a:pt x="1344" y="846"/>
                  </a:lnTo>
                  <a:lnTo>
                    <a:pt x="1344" y="852"/>
                  </a:lnTo>
                  <a:lnTo>
                    <a:pt x="1350" y="852"/>
                  </a:lnTo>
                  <a:lnTo>
                    <a:pt x="1356" y="858"/>
                  </a:lnTo>
                  <a:lnTo>
                    <a:pt x="1362" y="858"/>
                  </a:lnTo>
                  <a:lnTo>
                    <a:pt x="1362" y="870"/>
                  </a:lnTo>
                  <a:lnTo>
                    <a:pt x="1356" y="870"/>
                  </a:lnTo>
                  <a:lnTo>
                    <a:pt x="1356" y="876"/>
                  </a:lnTo>
                  <a:lnTo>
                    <a:pt x="1350" y="876"/>
                  </a:lnTo>
                  <a:lnTo>
                    <a:pt x="1344" y="876"/>
                  </a:lnTo>
                  <a:lnTo>
                    <a:pt x="1344" y="882"/>
                  </a:lnTo>
                  <a:lnTo>
                    <a:pt x="1338" y="882"/>
                  </a:lnTo>
                  <a:lnTo>
                    <a:pt x="1338" y="888"/>
                  </a:lnTo>
                  <a:lnTo>
                    <a:pt x="1338" y="894"/>
                  </a:lnTo>
                  <a:lnTo>
                    <a:pt x="1344" y="900"/>
                  </a:lnTo>
                  <a:lnTo>
                    <a:pt x="1344" y="906"/>
                  </a:lnTo>
                  <a:lnTo>
                    <a:pt x="1338" y="906"/>
                  </a:lnTo>
                  <a:lnTo>
                    <a:pt x="1332" y="912"/>
                  </a:lnTo>
                  <a:lnTo>
                    <a:pt x="1332" y="918"/>
                  </a:lnTo>
                  <a:lnTo>
                    <a:pt x="1326" y="918"/>
                  </a:lnTo>
                  <a:lnTo>
                    <a:pt x="1332" y="924"/>
                  </a:lnTo>
                  <a:lnTo>
                    <a:pt x="1284" y="942"/>
                  </a:lnTo>
                  <a:lnTo>
                    <a:pt x="1236" y="948"/>
                  </a:lnTo>
                  <a:lnTo>
                    <a:pt x="1194" y="966"/>
                  </a:lnTo>
                  <a:lnTo>
                    <a:pt x="1170" y="1002"/>
                  </a:lnTo>
                  <a:lnTo>
                    <a:pt x="1134" y="1020"/>
                  </a:lnTo>
                  <a:lnTo>
                    <a:pt x="1116" y="1032"/>
                  </a:lnTo>
                  <a:lnTo>
                    <a:pt x="1098" y="1050"/>
                  </a:lnTo>
                  <a:lnTo>
                    <a:pt x="1074" y="1074"/>
                  </a:lnTo>
                  <a:lnTo>
                    <a:pt x="1008" y="1134"/>
                  </a:lnTo>
                  <a:lnTo>
                    <a:pt x="990" y="1158"/>
                  </a:lnTo>
                  <a:lnTo>
                    <a:pt x="978" y="1182"/>
                  </a:lnTo>
                  <a:lnTo>
                    <a:pt x="960" y="1194"/>
                  </a:lnTo>
                  <a:lnTo>
                    <a:pt x="942" y="1212"/>
                  </a:lnTo>
                  <a:lnTo>
                    <a:pt x="912" y="1242"/>
                  </a:lnTo>
                  <a:lnTo>
                    <a:pt x="888" y="1254"/>
                  </a:lnTo>
                  <a:lnTo>
                    <a:pt x="864" y="1278"/>
                  </a:lnTo>
                  <a:lnTo>
                    <a:pt x="828" y="1296"/>
                  </a:lnTo>
                  <a:lnTo>
                    <a:pt x="774" y="1308"/>
                  </a:lnTo>
                  <a:lnTo>
                    <a:pt x="732" y="1302"/>
                  </a:lnTo>
                  <a:lnTo>
                    <a:pt x="702" y="1284"/>
                  </a:lnTo>
                  <a:lnTo>
                    <a:pt x="684" y="12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1" name="Freeform 16">
              <a:extLst>
                <a:ext uri="{FF2B5EF4-FFF2-40B4-BE49-F238E27FC236}">
                  <a16:creationId xmlns:a16="http://schemas.microsoft.com/office/drawing/2014/main" id="{D8D8591A-D9DB-4301-BEBD-D8F5A26DA9E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3001" y="2929369"/>
              <a:ext cx="914601" cy="1037736"/>
            </a:xfrm>
            <a:custGeom>
              <a:avLst/>
              <a:gdLst>
                <a:gd name="T0" fmla="*/ 144 w 1722"/>
                <a:gd name="T1" fmla="*/ 131 h 1956"/>
                <a:gd name="T2" fmla="*/ 142 w 1722"/>
                <a:gd name="T3" fmla="*/ 139 h 1956"/>
                <a:gd name="T4" fmla="*/ 137 w 1722"/>
                <a:gd name="T5" fmla="*/ 143 h 1956"/>
                <a:gd name="T6" fmla="*/ 133 w 1722"/>
                <a:gd name="T7" fmla="*/ 147 h 1956"/>
                <a:gd name="T8" fmla="*/ 132 w 1722"/>
                <a:gd name="T9" fmla="*/ 152 h 1956"/>
                <a:gd name="T10" fmla="*/ 130 w 1722"/>
                <a:gd name="T11" fmla="*/ 159 h 1956"/>
                <a:gd name="T12" fmla="*/ 127 w 1722"/>
                <a:gd name="T13" fmla="*/ 164 h 1956"/>
                <a:gd name="T14" fmla="*/ 123 w 1722"/>
                <a:gd name="T15" fmla="*/ 168 h 1956"/>
                <a:gd name="T16" fmla="*/ 117 w 1722"/>
                <a:gd name="T17" fmla="*/ 169 h 1956"/>
                <a:gd name="T18" fmla="*/ 110 w 1722"/>
                <a:gd name="T19" fmla="*/ 168 h 1956"/>
                <a:gd name="T20" fmla="*/ 104 w 1722"/>
                <a:gd name="T21" fmla="*/ 166 h 1956"/>
                <a:gd name="T22" fmla="*/ 101 w 1722"/>
                <a:gd name="T23" fmla="*/ 159 h 1956"/>
                <a:gd name="T24" fmla="*/ 95 w 1722"/>
                <a:gd name="T25" fmla="*/ 156 h 1956"/>
                <a:gd name="T26" fmla="*/ 89 w 1722"/>
                <a:gd name="T27" fmla="*/ 151 h 1956"/>
                <a:gd name="T28" fmla="*/ 87 w 1722"/>
                <a:gd name="T29" fmla="*/ 144 h 1956"/>
                <a:gd name="T30" fmla="*/ 82 w 1722"/>
                <a:gd name="T31" fmla="*/ 141 h 1956"/>
                <a:gd name="T32" fmla="*/ 76 w 1722"/>
                <a:gd name="T33" fmla="*/ 134 h 1956"/>
                <a:gd name="T34" fmla="*/ 74 w 1722"/>
                <a:gd name="T35" fmla="*/ 143 h 1956"/>
                <a:gd name="T36" fmla="*/ 68 w 1722"/>
                <a:gd name="T37" fmla="*/ 147 h 1956"/>
                <a:gd name="T38" fmla="*/ 54 w 1722"/>
                <a:gd name="T39" fmla="*/ 144 h 1956"/>
                <a:gd name="T40" fmla="*/ 51 w 1722"/>
                <a:gd name="T41" fmla="*/ 142 h 1956"/>
                <a:gd name="T42" fmla="*/ 42 w 1722"/>
                <a:gd name="T43" fmla="*/ 151 h 1956"/>
                <a:gd name="T44" fmla="*/ 33 w 1722"/>
                <a:gd name="T45" fmla="*/ 154 h 1956"/>
                <a:gd name="T46" fmla="*/ 31 w 1722"/>
                <a:gd name="T47" fmla="*/ 159 h 1956"/>
                <a:gd name="T48" fmla="*/ 29 w 1722"/>
                <a:gd name="T49" fmla="*/ 166 h 1956"/>
                <a:gd name="T50" fmla="*/ 25 w 1722"/>
                <a:gd name="T51" fmla="*/ 169 h 1956"/>
                <a:gd name="T52" fmla="*/ 27 w 1722"/>
                <a:gd name="T53" fmla="*/ 154 h 1956"/>
                <a:gd name="T54" fmla="*/ 37 w 1722"/>
                <a:gd name="T55" fmla="*/ 133 h 1956"/>
                <a:gd name="T56" fmla="*/ 36 w 1722"/>
                <a:gd name="T57" fmla="*/ 109 h 1956"/>
                <a:gd name="T58" fmla="*/ 27 w 1722"/>
                <a:gd name="T59" fmla="*/ 101 h 1956"/>
                <a:gd name="T60" fmla="*/ 5 w 1722"/>
                <a:gd name="T61" fmla="*/ 98 h 1956"/>
                <a:gd name="T62" fmla="*/ 2 w 1722"/>
                <a:gd name="T63" fmla="*/ 93 h 1956"/>
                <a:gd name="T64" fmla="*/ 12 w 1722"/>
                <a:gd name="T65" fmla="*/ 82 h 1956"/>
                <a:gd name="T66" fmla="*/ 9 w 1722"/>
                <a:gd name="T67" fmla="*/ 74 h 1956"/>
                <a:gd name="T68" fmla="*/ 23 w 1722"/>
                <a:gd name="T69" fmla="*/ 72 h 1956"/>
                <a:gd name="T70" fmla="*/ 22 w 1722"/>
                <a:gd name="T71" fmla="*/ 67 h 1956"/>
                <a:gd name="T72" fmla="*/ 48 w 1722"/>
                <a:gd name="T73" fmla="*/ 57 h 1956"/>
                <a:gd name="T74" fmla="*/ 78 w 1722"/>
                <a:gd name="T75" fmla="*/ 34 h 1956"/>
                <a:gd name="T76" fmla="*/ 81 w 1722"/>
                <a:gd name="T77" fmla="*/ 31 h 1956"/>
                <a:gd name="T78" fmla="*/ 80 w 1722"/>
                <a:gd name="T79" fmla="*/ 26 h 1956"/>
                <a:gd name="T80" fmla="*/ 78 w 1722"/>
                <a:gd name="T81" fmla="*/ 21 h 1956"/>
                <a:gd name="T82" fmla="*/ 77 w 1722"/>
                <a:gd name="T83" fmla="*/ 18 h 1956"/>
                <a:gd name="T84" fmla="*/ 77 w 1722"/>
                <a:gd name="T85" fmla="*/ 12 h 1956"/>
                <a:gd name="T86" fmla="*/ 77 w 1722"/>
                <a:gd name="T87" fmla="*/ 7 h 1956"/>
                <a:gd name="T88" fmla="*/ 102 w 1722"/>
                <a:gd name="T89" fmla="*/ 2 h 1956"/>
                <a:gd name="T90" fmla="*/ 115 w 1722"/>
                <a:gd name="T91" fmla="*/ 3 h 1956"/>
                <a:gd name="T92" fmla="*/ 123 w 1722"/>
                <a:gd name="T93" fmla="*/ 3 h 1956"/>
                <a:gd name="T94" fmla="*/ 125 w 1722"/>
                <a:gd name="T95" fmla="*/ 9 h 1956"/>
                <a:gd name="T96" fmla="*/ 133 w 1722"/>
                <a:gd name="T97" fmla="*/ 13 h 1956"/>
                <a:gd name="T98" fmla="*/ 149 w 1722"/>
                <a:gd name="T99" fmla="*/ 37 h 1956"/>
                <a:gd name="T100" fmla="*/ 141 w 1722"/>
                <a:gd name="T101" fmla="*/ 57 h 1956"/>
                <a:gd name="T102" fmla="*/ 135 w 1722"/>
                <a:gd name="T103" fmla="*/ 63 h 1956"/>
                <a:gd name="T104" fmla="*/ 124 w 1722"/>
                <a:gd name="T105" fmla="*/ 77 h 1956"/>
                <a:gd name="T106" fmla="*/ 123 w 1722"/>
                <a:gd name="T107" fmla="*/ 96 h 1956"/>
                <a:gd name="T108" fmla="*/ 127 w 1722"/>
                <a:gd name="T109" fmla="*/ 97 h 1956"/>
                <a:gd name="T110" fmla="*/ 129 w 1722"/>
                <a:gd name="T111" fmla="*/ 92 h 1956"/>
                <a:gd name="T112" fmla="*/ 134 w 1722"/>
                <a:gd name="T113" fmla="*/ 94 h 1956"/>
                <a:gd name="T114" fmla="*/ 138 w 1722"/>
                <a:gd name="T115" fmla="*/ 99 h 1956"/>
                <a:gd name="T116" fmla="*/ 142 w 1722"/>
                <a:gd name="T117" fmla="*/ 104 h 1956"/>
                <a:gd name="T118" fmla="*/ 141 w 1722"/>
                <a:gd name="T119" fmla="*/ 115 h 19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722"/>
                <a:gd name="T181" fmla="*/ 0 h 1956"/>
                <a:gd name="T182" fmla="*/ 1722 w 1722"/>
                <a:gd name="T183" fmla="*/ 1956 h 19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722" h="1956">
                  <a:moveTo>
                    <a:pt x="1686" y="1404"/>
                  </a:moveTo>
                  <a:lnTo>
                    <a:pt x="1680" y="1416"/>
                  </a:lnTo>
                  <a:lnTo>
                    <a:pt x="1674" y="1422"/>
                  </a:lnTo>
                  <a:lnTo>
                    <a:pt x="1674" y="1428"/>
                  </a:lnTo>
                  <a:lnTo>
                    <a:pt x="1668" y="1428"/>
                  </a:lnTo>
                  <a:lnTo>
                    <a:pt x="1668" y="1434"/>
                  </a:lnTo>
                  <a:lnTo>
                    <a:pt x="1662" y="1446"/>
                  </a:lnTo>
                  <a:lnTo>
                    <a:pt x="1656" y="1464"/>
                  </a:lnTo>
                  <a:lnTo>
                    <a:pt x="1656" y="1476"/>
                  </a:lnTo>
                  <a:lnTo>
                    <a:pt x="1656" y="1488"/>
                  </a:lnTo>
                  <a:lnTo>
                    <a:pt x="1662" y="1500"/>
                  </a:lnTo>
                  <a:lnTo>
                    <a:pt x="1662" y="1506"/>
                  </a:lnTo>
                  <a:lnTo>
                    <a:pt x="1662" y="1524"/>
                  </a:lnTo>
                  <a:lnTo>
                    <a:pt x="1668" y="1542"/>
                  </a:lnTo>
                  <a:lnTo>
                    <a:pt x="1674" y="1560"/>
                  </a:lnTo>
                  <a:lnTo>
                    <a:pt x="1680" y="1578"/>
                  </a:lnTo>
                  <a:lnTo>
                    <a:pt x="1686" y="1578"/>
                  </a:lnTo>
                  <a:lnTo>
                    <a:pt x="1686" y="1584"/>
                  </a:lnTo>
                  <a:lnTo>
                    <a:pt x="1686" y="1590"/>
                  </a:lnTo>
                  <a:lnTo>
                    <a:pt x="1686" y="1596"/>
                  </a:lnTo>
                  <a:lnTo>
                    <a:pt x="1680" y="1596"/>
                  </a:lnTo>
                  <a:lnTo>
                    <a:pt x="1674" y="1602"/>
                  </a:lnTo>
                  <a:lnTo>
                    <a:pt x="1662" y="1602"/>
                  </a:lnTo>
                  <a:lnTo>
                    <a:pt x="1638" y="1596"/>
                  </a:lnTo>
                  <a:lnTo>
                    <a:pt x="1632" y="1596"/>
                  </a:lnTo>
                  <a:lnTo>
                    <a:pt x="1626" y="1602"/>
                  </a:lnTo>
                  <a:lnTo>
                    <a:pt x="1620" y="1602"/>
                  </a:lnTo>
                  <a:lnTo>
                    <a:pt x="1614" y="1602"/>
                  </a:lnTo>
                  <a:lnTo>
                    <a:pt x="1602" y="1602"/>
                  </a:lnTo>
                  <a:lnTo>
                    <a:pt x="1602" y="1608"/>
                  </a:lnTo>
                  <a:lnTo>
                    <a:pt x="1602" y="1620"/>
                  </a:lnTo>
                  <a:lnTo>
                    <a:pt x="1596" y="1620"/>
                  </a:lnTo>
                  <a:lnTo>
                    <a:pt x="1590" y="1620"/>
                  </a:lnTo>
                  <a:lnTo>
                    <a:pt x="1584" y="1626"/>
                  </a:lnTo>
                  <a:lnTo>
                    <a:pt x="1584" y="1632"/>
                  </a:lnTo>
                  <a:lnTo>
                    <a:pt x="1578" y="1644"/>
                  </a:lnTo>
                  <a:lnTo>
                    <a:pt x="1572" y="1644"/>
                  </a:lnTo>
                  <a:lnTo>
                    <a:pt x="1566" y="1644"/>
                  </a:lnTo>
                  <a:lnTo>
                    <a:pt x="1566" y="1650"/>
                  </a:lnTo>
                  <a:lnTo>
                    <a:pt x="1560" y="1650"/>
                  </a:lnTo>
                  <a:lnTo>
                    <a:pt x="1554" y="1650"/>
                  </a:lnTo>
                  <a:lnTo>
                    <a:pt x="1548" y="1650"/>
                  </a:lnTo>
                  <a:lnTo>
                    <a:pt x="1548" y="1656"/>
                  </a:lnTo>
                  <a:lnTo>
                    <a:pt x="1542" y="1668"/>
                  </a:lnTo>
                  <a:lnTo>
                    <a:pt x="1542" y="1674"/>
                  </a:lnTo>
                  <a:lnTo>
                    <a:pt x="1542" y="1692"/>
                  </a:lnTo>
                  <a:lnTo>
                    <a:pt x="1536" y="1698"/>
                  </a:lnTo>
                  <a:lnTo>
                    <a:pt x="1530" y="1698"/>
                  </a:lnTo>
                  <a:lnTo>
                    <a:pt x="1524" y="1698"/>
                  </a:lnTo>
                  <a:lnTo>
                    <a:pt x="1518" y="1704"/>
                  </a:lnTo>
                  <a:lnTo>
                    <a:pt x="1512" y="1710"/>
                  </a:lnTo>
                  <a:lnTo>
                    <a:pt x="1506" y="1722"/>
                  </a:lnTo>
                  <a:lnTo>
                    <a:pt x="1500" y="1728"/>
                  </a:lnTo>
                  <a:lnTo>
                    <a:pt x="1500" y="1734"/>
                  </a:lnTo>
                  <a:lnTo>
                    <a:pt x="1512" y="1734"/>
                  </a:lnTo>
                  <a:lnTo>
                    <a:pt x="1518" y="1740"/>
                  </a:lnTo>
                  <a:lnTo>
                    <a:pt x="1518" y="1746"/>
                  </a:lnTo>
                  <a:lnTo>
                    <a:pt x="1518" y="1752"/>
                  </a:lnTo>
                  <a:lnTo>
                    <a:pt x="1518" y="1758"/>
                  </a:lnTo>
                  <a:lnTo>
                    <a:pt x="1524" y="1758"/>
                  </a:lnTo>
                  <a:lnTo>
                    <a:pt x="1524" y="1764"/>
                  </a:lnTo>
                  <a:lnTo>
                    <a:pt x="1530" y="1770"/>
                  </a:lnTo>
                  <a:lnTo>
                    <a:pt x="1518" y="1770"/>
                  </a:lnTo>
                  <a:lnTo>
                    <a:pt x="1512" y="1782"/>
                  </a:lnTo>
                  <a:lnTo>
                    <a:pt x="1512" y="1788"/>
                  </a:lnTo>
                  <a:lnTo>
                    <a:pt x="1518" y="1788"/>
                  </a:lnTo>
                  <a:lnTo>
                    <a:pt x="1524" y="1800"/>
                  </a:lnTo>
                  <a:lnTo>
                    <a:pt x="1524" y="1806"/>
                  </a:lnTo>
                  <a:lnTo>
                    <a:pt x="1518" y="1812"/>
                  </a:lnTo>
                  <a:lnTo>
                    <a:pt x="1512" y="1818"/>
                  </a:lnTo>
                  <a:lnTo>
                    <a:pt x="1506" y="1818"/>
                  </a:lnTo>
                  <a:lnTo>
                    <a:pt x="1500" y="1824"/>
                  </a:lnTo>
                  <a:lnTo>
                    <a:pt x="1500" y="1836"/>
                  </a:lnTo>
                  <a:lnTo>
                    <a:pt x="1500" y="1842"/>
                  </a:lnTo>
                  <a:lnTo>
                    <a:pt x="1500" y="1848"/>
                  </a:lnTo>
                  <a:lnTo>
                    <a:pt x="1500" y="1854"/>
                  </a:lnTo>
                  <a:lnTo>
                    <a:pt x="1494" y="1860"/>
                  </a:lnTo>
                  <a:lnTo>
                    <a:pt x="1488" y="1860"/>
                  </a:lnTo>
                  <a:lnTo>
                    <a:pt x="1488" y="1866"/>
                  </a:lnTo>
                  <a:lnTo>
                    <a:pt x="1482" y="1872"/>
                  </a:lnTo>
                  <a:lnTo>
                    <a:pt x="1482" y="1878"/>
                  </a:lnTo>
                  <a:lnTo>
                    <a:pt x="1482" y="1884"/>
                  </a:lnTo>
                  <a:lnTo>
                    <a:pt x="1476" y="1890"/>
                  </a:lnTo>
                  <a:lnTo>
                    <a:pt x="1470" y="1890"/>
                  </a:lnTo>
                  <a:lnTo>
                    <a:pt x="1470" y="1896"/>
                  </a:lnTo>
                  <a:lnTo>
                    <a:pt x="1464" y="1896"/>
                  </a:lnTo>
                  <a:lnTo>
                    <a:pt x="1458" y="1896"/>
                  </a:lnTo>
                  <a:lnTo>
                    <a:pt x="1452" y="1896"/>
                  </a:lnTo>
                  <a:lnTo>
                    <a:pt x="1440" y="1890"/>
                  </a:lnTo>
                  <a:lnTo>
                    <a:pt x="1434" y="1896"/>
                  </a:lnTo>
                  <a:lnTo>
                    <a:pt x="1428" y="1896"/>
                  </a:lnTo>
                  <a:lnTo>
                    <a:pt x="1422" y="1896"/>
                  </a:lnTo>
                  <a:lnTo>
                    <a:pt x="1422" y="1902"/>
                  </a:lnTo>
                  <a:lnTo>
                    <a:pt x="1416" y="1902"/>
                  </a:lnTo>
                  <a:lnTo>
                    <a:pt x="1422" y="1914"/>
                  </a:lnTo>
                  <a:lnTo>
                    <a:pt x="1422" y="1932"/>
                  </a:lnTo>
                  <a:lnTo>
                    <a:pt x="1416" y="1938"/>
                  </a:lnTo>
                  <a:lnTo>
                    <a:pt x="1422" y="1938"/>
                  </a:lnTo>
                  <a:lnTo>
                    <a:pt x="1404" y="1938"/>
                  </a:lnTo>
                  <a:lnTo>
                    <a:pt x="1392" y="1944"/>
                  </a:lnTo>
                  <a:lnTo>
                    <a:pt x="1386" y="1944"/>
                  </a:lnTo>
                  <a:lnTo>
                    <a:pt x="1374" y="1944"/>
                  </a:lnTo>
                  <a:lnTo>
                    <a:pt x="1368" y="1950"/>
                  </a:lnTo>
                  <a:lnTo>
                    <a:pt x="1374" y="1956"/>
                  </a:lnTo>
                  <a:lnTo>
                    <a:pt x="1368" y="1956"/>
                  </a:lnTo>
                  <a:lnTo>
                    <a:pt x="1356" y="1956"/>
                  </a:lnTo>
                  <a:lnTo>
                    <a:pt x="1350" y="1956"/>
                  </a:lnTo>
                  <a:lnTo>
                    <a:pt x="1350" y="1950"/>
                  </a:lnTo>
                  <a:lnTo>
                    <a:pt x="1344" y="1944"/>
                  </a:lnTo>
                  <a:lnTo>
                    <a:pt x="1332" y="1938"/>
                  </a:lnTo>
                  <a:lnTo>
                    <a:pt x="1326" y="1938"/>
                  </a:lnTo>
                  <a:lnTo>
                    <a:pt x="1320" y="1938"/>
                  </a:lnTo>
                  <a:lnTo>
                    <a:pt x="1314" y="1944"/>
                  </a:lnTo>
                  <a:lnTo>
                    <a:pt x="1308" y="1944"/>
                  </a:lnTo>
                  <a:lnTo>
                    <a:pt x="1302" y="1944"/>
                  </a:lnTo>
                  <a:lnTo>
                    <a:pt x="1296" y="1938"/>
                  </a:lnTo>
                  <a:lnTo>
                    <a:pt x="1284" y="1938"/>
                  </a:lnTo>
                  <a:lnTo>
                    <a:pt x="1278" y="1938"/>
                  </a:lnTo>
                  <a:lnTo>
                    <a:pt x="1272" y="1938"/>
                  </a:lnTo>
                  <a:lnTo>
                    <a:pt x="1266" y="1932"/>
                  </a:lnTo>
                  <a:lnTo>
                    <a:pt x="1260" y="1932"/>
                  </a:lnTo>
                  <a:lnTo>
                    <a:pt x="1254" y="1920"/>
                  </a:lnTo>
                  <a:lnTo>
                    <a:pt x="1248" y="1920"/>
                  </a:lnTo>
                  <a:lnTo>
                    <a:pt x="1242" y="1920"/>
                  </a:lnTo>
                  <a:lnTo>
                    <a:pt x="1236" y="1926"/>
                  </a:lnTo>
                  <a:lnTo>
                    <a:pt x="1236" y="1932"/>
                  </a:lnTo>
                  <a:lnTo>
                    <a:pt x="1230" y="1932"/>
                  </a:lnTo>
                  <a:lnTo>
                    <a:pt x="1224" y="1932"/>
                  </a:lnTo>
                  <a:lnTo>
                    <a:pt x="1218" y="1938"/>
                  </a:lnTo>
                  <a:lnTo>
                    <a:pt x="1212" y="1932"/>
                  </a:lnTo>
                  <a:lnTo>
                    <a:pt x="1206" y="1926"/>
                  </a:lnTo>
                  <a:lnTo>
                    <a:pt x="1206" y="1908"/>
                  </a:lnTo>
                  <a:lnTo>
                    <a:pt x="1206" y="1884"/>
                  </a:lnTo>
                  <a:lnTo>
                    <a:pt x="1206" y="1866"/>
                  </a:lnTo>
                  <a:lnTo>
                    <a:pt x="1212" y="1848"/>
                  </a:lnTo>
                  <a:lnTo>
                    <a:pt x="1212" y="1842"/>
                  </a:lnTo>
                  <a:lnTo>
                    <a:pt x="1206" y="1836"/>
                  </a:lnTo>
                  <a:lnTo>
                    <a:pt x="1200" y="1830"/>
                  </a:lnTo>
                  <a:lnTo>
                    <a:pt x="1194" y="1824"/>
                  </a:lnTo>
                  <a:lnTo>
                    <a:pt x="1188" y="1824"/>
                  </a:lnTo>
                  <a:lnTo>
                    <a:pt x="1182" y="1824"/>
                  </a:lnTo>
                  <a:lnTo>
                    <a:pt x="1176" y="1824"/>
                  </a:lnTo>
                  <a:lnTo>
                    <a:pt x="1170" y="1818"/>
                  </a:lnTo>
                  <a:lnTo>
                    <a:pt x="1164" y="1830"/>
                  </a:lnTo>
                  <a:lnTo>
                    <a:pt x="1152" y="1836"/>
                  </a:lnTo>
                  <a:lnTo>
                    <a:pt x="1146" y="1842"/>
                  </a:lnTo>
                  <a:lnTo>
                    <a:pt x="1140" y="1842"/>
                  </a:lnTo>
                  <a:lnTo>
                    <a:pt x="1134" y="1842"/>
                  </a:lnTo>
                  <a:lnTo>
                    <a:pt x="1128" y="1842"/>
                  </a:lnTo>
                  <a:lnTo>
                    <a:pt x="1116" y="1836"/>
                  </a:lnTo>
                  <a:lnTo>
                    <a:pt x="1110" y="1842"/>
                  </a:lnTo>
                  <a:lnTo>
                    <a:pt x="1092" y="1830"/>
                  </a:lnTo>
                  <a:lnTo>
                    <a:pt x="1092" y="1824"/>
                  </a:lnTo>
                  <a:lnTo>
                    <a:pt x="1092" y="1806"/>
                  </a:lnTo>
                  <a:lnTo>
                    <a:pt x="1092" y="1800"/>
                  </a:lnTo>
                  <a:lnTo>
                    <a:pt x="1092" y="1794"/>
                  </a:lnTo>
                  <a:lnTo>
                    <a:pt x="1086" y="1788"/>
                  </a:lnTo>
                  <a:lnTo>
                    <a:pt x="1080" y="1794"/>
                  </a:lnTo>
                  <a:lnTo>
                    <a:pt x="1074" y="1788"/>
                  </a:lnTo>
                  <a:lnTo>
                    <a:pt x="1068" y="1770"/>
                  </a:lnTo>
                  <a:lnTo>
                    <a:pt x="1056" y="1764"/>
                  </a:lnTo>
                  <a:lnTo>
                    <a:pt x="1050" y="1764"/>
                  </a:lnTo>
                  <a:lnTo>
                    <a:pt x="1044" y="1764"/>
                  </a:lnTo>
                  <a:lnTo>
                    <a:pt x="1038" y="1758"/>
                  </a:lnTo>
                  <a:lnTo>
                    <a:pt x="1032" y="1752"/>
                  </a:lnTo>
                  <a:lnTo>
                    <a:pt x="1032" y="1746"/>
                  </a:lnTo>
                  <a:lnTo>
                    <a:pt x="1032" y="1740"/>
                  </a:lnTo>
                  <a:lnTo>
                    <a:pt x="1032" y="1734"/>
                  </a:lnTo>
                  <a:lnTo>
                    <a:pt x="1026" y="1734"/>
                  </a:lnTo>
                  <a:lnTo>
                    <a:pt x="1032" y="1728"/>
                  </a:lnTo>
                  <a:lnTo>
                    <a:pt x="1032" y="1722"/>
                  </a:lnTo>
                  <a:lnTo>
                    <a:pt x="1044" y="1686"/>
                  </a:lnTo>
                  <a:lnTo>
                    <a:pt x="1044" y="1680"/>
                  </a:lnTo>
                  <a:lnTo>
                    <a:pt x="1032" y="1674"/>
                  </a:lnTo>
                  <a:lnTo>
                    <a:pt x="1026" y="1674"/>
                  </a:lnTo>
                  <a:lnTo>
                    <a:pt x="1026" y="1668"/>
                  </a:lnTo>
                  <a:lnTo>
                    <a:pt x="1020" y="1662"/>
                  </a:lnTo>
                  <a:lnTo>
                    <a:pt x="1014" y="1668"/>
                  </a:lnTo>
                  <a:lnTo>
                    <a:pt x="1008" y="1662"/>
                  </a:lnTo>
                  <a:lnTo>
                    <a:pt x="1002" y="1662"/>
                  </a:lnTo>
                  <a:lnTo>
                    <a:pt x="1002" y="1668"/>
                  </a:lnTo>
                  <a:lnTo>
                    <a:pt x="996" y="1668"/>
                  </a:lnTo>
                  <a:lnTo>
                    <a:pt x="996" y="1662"/>
                  </a:lnTo>
                  <a:lnTo>
                    <a:pt x="984" y="1662"/>
                  </a:lnTo>
                  <a:lnTo>
                    <a:pt x="984" y="1656"/>
                  </a:lnTo>
                  <a:lnTo>
                    <a:pt x="978" y="1650"/>
                  </a:lnTo>
                  <a:lnTo>
                    <a:pt x="978" y="1644"/>
                  </a:lnTo>
                  <a:lnTo>
                    <a:pt x="966" y="1650"/>
                  </a:lnTo>
                  <a:lnTo>
                    <a:pt x="960" y="1638"/>
                  </a:lnTo>
                  <a:lnTo>
                    <a:pt x="954" y="1632"/>
                  </a:lnTo>
                  <a:lnTo>
                    <a:pt x="948" y="1632"/>
                  </a:lnTo>
                  <a:lnTo>
                    <a:pt x="942" y="1626"/>
                  </a:lnTo>
                  <a:lnTo>
                    <a:pt x="942" y="1614"/>
                  </a:lnTo>
                  <a:lnTo>
                    <a:pt x="930" y="1608"/>
                  </a:lnTo>
                  <a:lnTo>
                    <a:pt x="924" y="1614"/>
                  </a:lnTo>
                  <a:lnTo>
                    <a:pt x="912" y="1608"/>
                  </a:lnTo>
                  <a:lnTo>
                    <a:pt x="888" y="1590"/>
                  </a:lnTo>
                  <a:lnTo>
                    <a:pt x="894" y="1578"/>
                  </a:lnTo>
                  <a:lnTo>
                    <a:pt x="894" y="1572"/>
                  </a:lnTo>
                  <a:lnTo>
                    <a:pt x="894" y="1566"/>
                  </a:lnTo>
                  <a:lnTo>
                    <a:pt x="894" y="1548"/>
                  </a:lnTo>
                  <a:lnTo>
                    <a:pt x="888" y="1548"/>
                  </a:lnTo>
                  <a:lnTo>
                    <a:pt x="882" y="1542"/>
                  </a:lnTo>
                  <a:lnTo>
                    <a:pt x="876" y="1542"/>
                  </a:lnTo>
                  <a:lnTo>
                    <a:pt x="876" y="1536"/>
                  </a:lnTo>
                  <a:lnTo>
                    <a:pt x="870" y="1542"/>
                  </a:lnTo>
                  <a:lnTo>
                    <a:pt x="870" y="1554"/>
                  </a:lnTo>
                  <a:lnTo>
                    <a:pt x="870" y="1566"/>
                  </a:lnTo>
                  <a:lnTo>
                    <a:pt x="870" y="1578"/>
                  </a:lnTo>
                  <a:lnTo>
                    <a:pt x="870" y="1584"/>
                  </a:lnTo>
                  <a:lnTo>
                    <a:pt x="864" y="1584"/>
                  </a:lnTo>
                  <a:lnTo>
                    <a:pt x="870" y="1602"/>
                  </a:lnTo>
                  <a:lnTo>
                    <a:pt x="864" y="1608"/>
                  </a:lnTo>
                  <a:lnTo>
                    <a:pt x="870" y="1614"/>
                  </a:lnTo>
                  <a:lnTo>
                    <a:pt x="864" y="1644"/>
                  </a:lnTo>
                  <a:lnTo>
                    <a:pt x="858" y="1650"/>
                  </a:lnTo>
                  <a:lnTo>
                    <a:pt x="858" y="1656"/>
                  </a:lnTo>
                  <a:lnTo>
                    <a:pt x="852" y="1662"/>
                  </a:lnTo>
                  <a:lnTo>
                    <a:pt x="852" y="1680"/>
                  </a:lnTo>
                  <a:lnTo>
                    <a:pt x="846" y="1686"/>
                  </a:lnTo>
                  <a:lnTo>
                    <a:pt x="834" y="1692"/>
                  </a:lnTo>
                  <a:lnTo>
                    <a:pt x="828" y="1692"/>
                  </a:lnTo>
                  <a:lnTo>
                    <a:pt x="822" y="1698"/>
                  </a:lnTo>
                  <a:lnTo>
                    <a:pt x="822" y="1704"/>
                  </a:lnTo>
                  <a:lnTo>
                    <a:pt x="816" y="1704"/>
                  </a:lnTo>
                  <a:lnTo>
                    <a:pt x="804" y="1692"/>
                  </a:lnTo>
                  <a:lnTo>
                    <a:pt x="786" y="1698"/>
                  </a:lnTo>
                  <a:lnTo>
                    <a:pt x="780" y="1698"/>
                  </a:lnTo>
                  <a:lnTo>
                    <a:pt x="756" y="1698"/>
                  </a:lnTo>
                  <a:lnTo>
                    <a:pt x="744" y="1698"/>
                  </a:lnTo>
                  <a:lnTo>
                    <a:pt x="738" y="1698"/>
                  </a:lnTo>
                  <a:lnTo>
                    <a:pt x="732" y="1704"/>
                  </a:lnTo>
                  <a:lnTo>
                    <a:pt x="726" y="1704"/>
                  </a:lnTo>
                  <a:lnTo>
                    <a:pt x="678" y="1710"/>
                  </a:lnTo>
                  <a:lnTo>
                    <a:pt x="642" y="1710"/>
                  </a:lnTo>
                  <a:lnTo>
                    <a:pt x="618" y="1680"/>
                  </a:lnTo>
                  <a:lnTo>
                    <a:pt x="618" y="1674"/>
                  </a:lnTo>
                  <a:lnTo>
                    <a:pt x="618" y="1668"/>
                  </a:lnTo>
                  <a:lnTo>
                    <a:pt x="624" y="1662"/>
                  </a:lnTo>
                  <a:lnTo>
                    <a:pt x="624" y="1656"/>
                  </a:lnTo>
                  <a:lnTo>
                    <a:pt x="624" y="1650"/>
                  </a:lnTo>
                  <a:lnTo>
                    <a:pt x="618" y="1650"/>
                  </a:lnTo>
                  <a:lnTo>
                    <a:pt x="618" y="1644"/>
                  </a:lnTo>
                  <a:lnTo>
                    <a:pt x="618" y="1638"/>
                  </a:lnTo>
                  <a:lnTo>
                    <a:pt x="618" y="1632"/>
                  </a:lnTo>
                  <a:lnTo>
                    <a:pt x="618" y="1626"/>
                  </a:lnTo>
                  <a:lnTo>
                    <a:pt x="612" y="1626"/>
                  </a:lnTo>
                  <a:lnTo>
                    <a:pt x="612" y="1620"/>
                  </a:lnTo>
                  <a:lnTo>
                    <a:pt x="606" y="1614"/>
                  </a:lnTo>
                  <a:lnTo>
                    <a:pt x="594" y="1626"/>
                  </a:lnTo>
                  <a:lnTo>
                    <a:pt x="594" y="1632"/>
                  </a:lnTo>
                  <a:lnTo>
                    <a:pt x="588" y="1638"/>
                  </a:lnTo>
                  <a:lnTo>
                    <a:pt x="582" y="1638"/>
                  </a:lnTo>
                  <a:lnTo>
                    <a:pt x="564" y="1656"/>
                  </a:lnTo>
                  <a:lnTo>
                    <a:pt x="558" y="1662"/>
                  </a:lnTo>
                  <a:lnTo>
                    <a:pt x="552" y="1662"/>
                  </a:lnTo>
                  <a:lnTo>
                    <a:pt x="540" y="1674"/>
                  </a:lnTo>
                  <a:lnTo>
                    <a:pt x="534" y="1680"/>
                  </a:lnTo>
                  <a:lnTo>
                    <a:pt x="522" y="1692"/>
                  </a:lnTo>
                  <a:lnTo>
                    <a:pt x="516" y="1704"/>
                  </a:lnTo>
                  <a:lnTo>
                    <a:pt x="510" y="1704"/>
                  </a:lnTo>
                  <a:lnTo>
                    <a:pt x="504" y="1704"/>
                  </a:lnTo>
                  <a:lnTo>
                    <a:pt x="486" y="1722"/>
                  </a:lnTo>
                  <a:lnTo>
                    <a:pt x="480" y="1740"/>
                  </a:lnTo>
                  <a:lnTo>
                    <a:pt x="474" y="1740"/>
                  </a:lnTo>
                  <a:lnTo>
                    <a:pt x="468" y="1746"/>
                  </a:lnTo>
                  <a:lnTo>
                    <a:pt x="456" y="1758"/>
                  </a:lnTo>
                  <a:lnTo>
                    <a:pt x="444" y="1770"/>
                  </a:lnTo>
                  <a:lnTo>
                    <a:pt x="438" y="1782"/>
                  </a:lnTo>
                  <a:lnTo>
                    <a:pt x="426" y="1788"/>
                  </a:lnTo>
                  <a:lnTo>
                    <a:pt x="420" y="1788"/>
                  </a:lnTo>
                  <a:lnTo>
                    <a:pt x="420" y="1782"/>
                  </a:lnTo>
                  <a:lnTo>
                    <a:pt x="414" y="1782"/>
                  </a:lnTo>
                  <a:lnTo>
                    <a:pt x="390" y="1782"/>
                  </a:lnTo>
                  <a:lnTo>
                    <a:pt x="390" y="1776"/>
                  </a:lnTo>
                  <a:lnTo>
                    <a:pt x="384" y="1776"/>
                  </a:lnTo>
                  <a:lnTo>
                    <a:pt x="378" y="1776"/>
                  </a:lnTo>
                  <a:lnTo>
                    <a:pt x="372" y="1776"/>
                  </a:lnTo>
                  <a:lnTo>
                    <a:pt x="366" y="1770"/>
                  </a:lnTo>
                  <a:lnTo>
                    <a:pt x="366" y="1776"/>
                  </a:lnTo>
                  <a:lnTo>
                    <a:pt x="360" y="1788"/>
                  </a:lnTo>
                  <a:lnTo>
                    <a:pt x="360" y="1794"/>
                  </a:lnTo>
                  <a:lnTo>
                    <a:pt x="360" y="1800"/>
                  </a:lnTo>
                  <a:lnTo>
                    <a:pt x="354" y="1806"/>
                  </a:lnTo>
                  <a:lnTo>
                    <a:pt x="354" y="1812"/>
                  </a:lnTo>
                  <a:lnTo>
                    <a:pt x="354" y="1824"/>
                  </a:lnTo>
                  <a:lnTo>
                    <a:pt x="348" y="1830"/>
                  </a:lnTo>
                  <a:lnTo>
                    <a:pt x="354" y="1836"/>
                  </a:lnTo>
                  <a:lnTo>
                    <a:pt x="348" y="1842"/>
                  </a:lnTo>
                  <a:lnTo>
                    <a:pt x="354" y="1848"/>
                  </a:lnTo>
                  <a:lnTo>
                    <a:pt x="348" y="1854"/>
                  </a:lnTo>
                  <a:lnTo>
                    <a:pt x="354" y="1854"/>
                  </a:lnTo>
                  <a:lnTo>
                    <a:pt x="348" y="1860"/>
                  </a:lnTo>
                  <a:lnTo>
                    <a:pt x="348" y="1866"/>
                  </a:lnTo>
                  <a:lnTo>
                    <a:pt x="342" y="1866"/>
                  </a:lnTo>
                  <a:lnTo>
                    <a:pt x="342" y="1872"/>
                  </a:lnTo>
                  <a:lnTo>
                    <a:pt x="342" y="1878"/>
                  </a:lnTo>
                  <a:lnTo>
                    <a:pt x="342" y="1884"/>
                  </a:lnTo>
                  <a:lnTo>
                    <a:pt x="336" y="1896"/>
                  </a:lnTo>
                  <a:lnTo>
                    <a:pt x="330" y="1914"/>
                  </a:lnTo>
                  <a:lnTo>
                    <a:pt x="324" y="1920"/>
                  </a:lnTo>
                  <a:lnTo>
                    <a:pt x="324" y="1926"/>
                  </a:lnTo>
                  <a:lnTo>
                    <a:pt x="318" y="1944"/>
                  </a:lnTo>
                  <a:lnTo>
                    <a:pt x="318" y="1950"/>
                  </a:lnTo>
                  <a:lnTo>
                    <a:pt x="312" y="1956"/>
                  </a:lnTo>
                  <a:lnTo>
                    <a:pt x="312" y="1950"/>
                  </a:lnTo>
                  <a:lnTo>
                    <a:pt x="306" y="1950"/>
                  </a:lnTo>
                  <a:lnTo>
                    <a:pt x="306" y="1956"/>
                  </a:lnTo>
                  <a:lnTo>
                    <a:pt x="300" y="1950"/>
                  </a:lnTo>
                  <a:lnTo>
                    <a:pt x="294" y="1956"/>
                  </a:lnTo>
                  <a:lnTo>
                    <a:pt x="288" y="1950"/>
                  </a:lnTo>
                  <a:lnTo>
                    <a:pt x="288" y="1944"/>
                  </a:lnTo>
                  <a:lnTo>
                    <a:pt x="282" y="1938"/>
                  </a:lnTo>
                  <a:lnTo>
                    <a:pt x="282" y="1932"/>
                  </a:lnTo>
                  <a:lnTo>
                    <a:pt x="282" y="1890"/>
                  </a:lnTo>
                  <a:lnTo>
                    <a:pt x="288" y="1860"/>
                  </a:lnTo>
                  <a:lnTo>
                    <a:pt x="294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300" y="1818"/>
                  </a:lnTo>
                  <a:lnTo>
                    <a:pt x="306" y="1794"/>
                  </a:lnTo>
                  <a:lnTo>
                    <a:pt x="306" y="1788"/>
                  </a:lnTo>
                  <a:lnTo>
                    <a:pt x="306" y="1782"/>
                  </a:lnTo>
                  <a:lnTo>
                    <a:pt x="312" y="1776"/>
                  </a:lnTo>
                  <a:lnTo>
                    <a:pt x="306" y="1776"/>
                  </a:lnTo>
                  <a:lnTo>
                    <a:pt x="312" y="1770"/>
                  </a:lnTo>
                  <a:lnTo>
                    <a:pt x="312" y="1740"/>
                  </a:lnTo>
                  <a:lnTo>
                    <a:pt x="318" y="1722"/>
                  </a:lnTo>
                  <a:lnTo>
                    <a:pt x="312" y="1722"/>
                  </a:lnTo>
                  <a:lnTo>
                    <a:pt x="300" y="1716"/>
                  </a:lnTo>
                  <a:lnTo>
                    <a:pt x="306" y="1716"/>
                  </a:lnTo>
                  <a:lnTo>
                    <a:pt x="312" y="1710"/>
                  </a:lnTo>
                  <a:lnTo>
                    <a:pt x="324" y="1674"/>
                  </a:lnTo>
                  <a:lnTo>
                    <a:pt x="366" y="1590"/>
                  </a:lnTo>
                  <a:lnTo>
                    <a:pt x="408" y="1548"/>
                  </a:lnTo>
                  <a:lnTo>
                    <a:pt x="426" y="1530"/>
                  </a:lnTo>
                  <a:lnTo>
                    <a:pt x="432" y="1500"/>
                  </a:lnTo>
                  <a:lnTo>
                    <a:pt x="426" y="1494"/>
                  </a:lnTo>
                  <a:lnTo>
                    <a:pt x="426" y="1482"/>
                  </a:lnTo>
                  <a:lnTo>
                    <a:pt x="432" y="1464"/>
                  </a:lnTo>
                  <a:lnTo>
                    <a:pt x="438" y="1428"/>
                  </a:lnTo>
                  <a:lnTo>
                    <a:pt x="462" y="1398"/>
                  </a:lnTo>
                  <a:lnTo>
                    <a:pt x="468" y="1362"/>
                  </a:lnTo>
                  <a:lnTo>
                    <a:pt x="462" y="1314"/>
                  </a:lnTo>
                  <a:lnTo>
                    <a:pt x="444" y="1284"/>
                  </a:lnTo>
                  <a:lnTo>
                    <a:pt x="432" y="1260"/>
                  </a:lnTo>
                  <a:lnTo>
                    <a:pt x="426" y="1260"/>
                  </a:lnTo>
                  <a:lnTo>
                    <a:pt x="420" y="1254"/>
                  </a:lnTo>
                  <a:lnTo>
                    <a:pt x="408" y="1260"/>
                  </a:lnTo>
                  <a:lnTo>
                    <a:pt x="402" y="1260"/>
                  </a:lnTo>
                  <a:lnTo>
                    <a:pt x="402" y="1254"/>
                  </a:lnTo>
                  <a:lnTo>
                    <a:pt x="396" y="1254"/>
                  </a:lnTo>
                  <a:lnTo>
                    <a:pt x="396" y="1248"/>
                  </a:lnTo>
                  <a:lnTo>
                    <a:pt x="384" y="1248"/>
                  </a:lnTo>
                  <a:lnTo>
                    <a:pt x="372" y="1230"/>
                  </a:lnTo>
                  <a:lnTo>
                    <a:pt x="360" y="1212"/>
                  </a:lnTo>
                  <a:lnTo>
                    <a:pt x="348" y="1188"/>
                  </a:lnTo>
                  <a:lnTo>
                    <a:pt x="324" y="1170"/>
                  </a:lnTo>
                  <a:lnTo>
                    <a:pt x="318" y="1170"/>
                  </a:lnTo>
                  <a:lnTo>
                    <a:pt x="312" y="1158"/>
                  </a:lnTo>
                  <a:lnTo>
                    <a:pt x="312" y="1152"/>
                  </a:lnTo>
                  <a:lnTo>
                    <a:pt x="306" y="1146"/>
                  </a:lnTo>
                  <a:lnTo>
                    <a:pt x="270" y="1122"/>
                  </a:lnTo>
                  <a:lnTo>
                    <a:pt x="240" y="1122"/>
                  </a:lnTo>
                  <a:lnTo>
                    <a:pt x="180" y="1116"/>
                  </a:lnTo>
                  <a:lnTo>
                    <a:pt x="174" y="1122"/>
                  </a:lnTo>
                  <a:lnTo>
                    <a:pt x="174" y="1128"/>
                  </a:lnTo>
                  <a:lnTo>
                    <a:pt x="168" y="1122"/>
                  </a:lnTo>
                  <a:lnTo>
                    <a:pt x="162" y="1116"/>
                  </a:lnTo>
                  <a:lnTo>
                    <a:pt x="144" y="1122"/>
                  </a:lnTo>
                  <a:lnTo>
                    <a:pt x="120" y="1122"/>
                  </a:lnTo>
                  <a:lnTo>
                    <a:pt x="54" y="1134"/>
                  </a:lnTo>
                  <a:lnTo>
                    <a:pt x="24" y="1152"/>
                  </a:lnTo>
                  <a:lnTo>
                    <a:pt x="6" y="1146"/>
                  </a:lnTo>
                  <a:lnTo>
                    <a:pt x="0" y="1134"/>
                  </a:lnTo>
                  <a:lnTo>
                    <a:pt x="0" y="1128"/>
                  </a:lnTo>
                  <a:lnTo>
                    <a:pt x="18" y="1110"/>
                  </a:lnTo>
                  <a:lnTo>
                    <a:pt x="24" y="1104"/>
                  </a:lnTo>
                  <a:lnTo>
                    <a:pt x="24" y="1098"/>
                  </a:lnTo>
                  <a:lnTo>
                    <a:pt x="30" y="1086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24" y="1074"/>
                  </a:lnTo>
                  <a:lnTo>
                    <a:pt x="18" y="1068"/>
                  </a:lnTo>
                  <a:lnTo>
                    <a:pt x="24" y="1062"/>
                  </a:lnTo>
                  <a:lnTo>
                    <a:pt x="42" y="1056"/>
                  </a:lnTo>
                  <a:lnTo>
                    <a:pt x="54" y="1050"/>
                  </a:lnTo>
                  <a:lnTo>
                    <a:pt x="72" y="1044"/>
                  </a:lnTo>
                  <a:lnTo>
                    <a:pt x="96" y="1032"/>
                  </a:lnTo>
                  <a:lnTo>
                    <a:pt x="102" y="1032"/>
                  </a:lnTo>
                  <a:lnTo>
                    <a:pt x="126" y="1008"/>
                  </a:lnTo>
                  <a:lnTo>
                    <a:pt x="144" y="990"/>
                  </a:lnTo>
                  <a:lnTo>
                    <a:pt x="156" y="978"/>
                  </a:lnTo>
                  <a:lnTo>
                    <a:pt x="156" y="966"/>
                  </a:lnTo>
                  <a:lnTo>
                    <a:pt x="150" y="960"/>
                  </a:lnTo>
                  <a:lnTo>
                    <a:pt x="144" y="948"/>
                  </a:lnTo>
                  <a:lnTo>
                    <a:pt x="144" y="936"/>
                  </a:lnTo>
                  <a:lnTo>
                    <a:pt x="138" y="918"/>
                  </a:lnTo>
                  <a:lnTo>
                    <a:pt x="150" y="912"/>
                  </a:lnTo>
                  <a:lnTo>
                    <a:pt x="150" y="894"/>
                  </a:lnTo>
                  <a:lnTo>
                    <a:pt x="132" y="876"/>
                  </a:lnTo>
                  <a:lnTo>
                    <a:pt x="126" y="876"/>
                  </a:lnTo>
                  <a:lnTo>
                    <a:pt x="120" y="870"/>
                  </a:lnTo>
                  <a:lnTo>
                    <a:pt x="120" y="864"/>
                  </a:lnTo>
                  <a:lnTo>
                    <a:pt x="114" y="864"/>
                  </a:lnTo>
                  <a:lnTo>
                    <a:pt x="108" y="864"/>
                  </a:lnTo>
                  <a:lnTo>
                    <a:pt x="108" y="858"/>
                  </a:lnTo>
                  <a:lnTo>
                    <a:pt x="102" y="852"/>
                  </a:lnTo>
                  <a:lnTo>
                    <a:pt x="96" y="852"/>
                  </a:lnTo>
                  <a:lnTo>
                    <a:pt x="102" y="834"/>
                  </a:lnTo>
                  <a:lnTo>
                    <a:pt x="108" y="816"/>
                  </a:lnTo>
                  <a:lnTo>
                    <a:pt x="114" y="804"/>
                  </a:lnTo>
                  <a:lnTo>
                    <a:pt x="132" y="798"/>
                  </a:lnTo>
                  <a:lnTo>
                    <a:pt x="144" y="798"/>
                  </a:lnTo>
                  <a:lnTo>
                    <a:pt x="180" y="810"/>
                  </a:lnTo>
                  <a:lnTo>
                    <a:pt x="192" y="816"/>
                  </a:lnTo>
                  <a:lnTo>
                    <a:pt x="234" y="822"/>
                  </a:lnTo>
                  <a:lnTo>
                    <a:pt x="264" y="828"/>
                  </a:lnTo>
                  <a:lnTo>
                    <a:pt x="270" y="840"/>
                  </a:lnTo>
                  <a:lnTo>
                    <a:pt x="270" y="834"/>
                  </a:lnTo>
                  <a:lnTo>
                    <a:pt x="270" y="828"/>
                  </a:lnTo>
                  <a:lnTo>
                    <a:pt x="270" y="822"/>
                  </a:lnTo>
                  <a:lnTo>
                    <a:pt x="270" y="816"/>
                  </a:lnTo>
                  <a:lnTo>
                    <a:pt x="264" y="810"/>
                  </a:lnTo>
                  <a:lnTo>
                    <a:pt x="264" y="804"/>
                  </a:lnTo>
                  <a:lnTo>
                    <a:pt x="264" y="798"/>
                  </a:lnTo>
                  <a:lnTo>
                    <a:pt x="258" y="792"/>
                  </a:lnTo>
                  <a:lnTo>
                    <a:pt x="258" y="786"/>
                  </a:lnTo>
                  <a:lnTo>
                    <a:pt x="264" y="786"/>
                  </a:lnTo>
                  <a:lnTo>
                    <a:pt x="264" y="780"/>
                  </a:lnTo>
                  <a:lnTo>
                    <a:pt x="258" y="774"/>
                  </a:lnTo>
                  <a:lnTo>
                    <a:pt x="258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82" y="762"/>
                  </a:lnTo>
                  <a:lnTo>
                    <a:pt x="312" y="780"/>
                  </a:lnTo>
                  <a:lnTo>
                    <a:pt x="354" y="786"/>
                  </a:lnTo>
                  <a:lnTo>
                    <a:pt x="408" y="774"/>
                  </a:lnTo>
                  <a:lnTo>
                    <a:pt x="444" y="756"/>
                  </a:lnTo>
                  <a:lnTo>
                    <a:pt x="468" y="732"/>
                  </a:lnTo>
                  <a:lnTo>
                    <a:pt x="492" y="720"/>
                  </a:lnTo>
                  <a:lnTo>
                    <a:pt x="522" y="690"/>
                  </a:lnTo>
                  <a:lnTo>
                    <a:pt x="540" y="672"/>
                  </a:lnTo>
                  <a:lnTo>
                    <a:pt x="558" y="660"/>
                  </a:lnTo>
                  <a:lnTo>
                    <a:pt x="570" y="636"/>
                  </a:lnTo>
                  <a:lnTo>
                    <a:pt x="588" y="612"/>
                  </a:lnTo>
                  <a:lnTo>
                    <a:pt x="654" y="552"/>
                  </a:lnTo>
                  <a:lnTo>
                    <a:pt x="678" y="528"/>
                  </a:lnTo>
                  <a:lnTo>
                    <a:pt x="696" y="510"/>
                  </a:lnTo>
                  <a:lnTo>
                    <a:pt x="714" y="498"/>
                  </a:lnTo>
                  <a:lnTo>
                    <a:pt x="750" y="480"/>
                  </a:lnTo>
                  <a:lnTo>
                    <a:pt x="774" y="444"/>
                  </a:lnTo>
                  <a:lnTo>
                    <a:pt x="816" y="426"/>
                  </a:lnTo>
                  <a:lnTo>
                    <a:pt x="864" y="420"/>
                  </a:lnTo>
                  <a:lnTo>
                    <a:pt x="912" y="402"/>
                  </a:lnTo>
                  <a:lnTo>
                    <a:pt x="906" y="396"/>
                  </a:lnTo>
                  <a:lnTo>
                    <a:pt x="912" y="396"/>
                  </a:lnTo>
                  <a:lnTo>
                    <a:pt x="912" y="390"/>
                  </a:lnTo>
                  <a:lnTo>
                    <a:pt x="918" y="384"/>
                  </a:lnTo>
                  <a:lnTo>
                    <a:pt x="924" y="384"/>
                  </a:lnTo>
                  <a:lnTo>
                    <a:pt x="924" y="378"/>
                  </a:lnTo>
                  <a:lnTo>
                    <a:pt x="918" y="372"/>
                  </a:lnTo>
                  <a:lnTo>
                    <a:pt x="918" y="366"/>
                  </a:lnTo>
                  <a:lnTo>
                    <a:pt x="918" y="360"/>
                  </a:lnTo>
                  <a:lnTo>
                    <a:pt x="924" y="360"/>
                  </a:lnTo>
                  <a:lnTo>
                    <a:pt x="924" y="354"/>
                  </a:lnTo>
                  <a:lnTo>
                    <a:pt x="930" y="354"/>
                  </a:lnTo>
                  <a:lnTo>
                    <a:pt x="936" y="354"/>
                  </a:lnTo>
                  <a:lnTo>
                    <a:pt x="936" y="348"/>
                  </a:lnTo>
                  <a:lnTo>
                    <a:pt x="942" y="348"/>
                  </a:lnTo>
                  <a:lnTo>
                    <a:pt x="942" y="336"/>
                  </a:lnTo>
                  <a:lnTo>
                    <a:pt x="936" y="336"/>
                  </a:lnTo>
                  <a:lnTo>
                    <a:pt x="930" y="330"/>
                  </a:lnTo>
                  <a:lnTo>
                    <a:pt x="924" y="330"/>
                  </a:lnTo>
                  <a:lnTo>
                    <a:pt x="924" y="324"/>
                  </a:lnTo>
                  <a:lnTo>
                    <a:pt x="918" y="318"/>
                  </a:lnTo>
                  <a:lnTo>
                    <a:pt x="912" y="306"/>
                  </a:lnTo>
                  <a:lnTo>
                    <a:pt x="918" y="306"/>
                  </a:lnTo>
                  <a:lnTo>
                    <a:pt x="924" y="300"/>
                  </a:lnTo>
                  <a:lnTo>
                    <a:pt x="924" y="294"/>
                  </a:lnTo>
                  <a:lnTo>
                    <a:pt x="924" y="288"/>
                  </a:lnTo>
                  <a:lnTo>
                    <a:pt x="924" y="282"/>
                  </a:lnTo>
                  <a:lnTo>
                    <a:pt x="924" y="276"/>
                  </a:lnTo>
                  <a:lnTo>
                    <a:pt x="918" y="270"/>
                  </a:lnTo>
                  <a:lnTo>
                    <a:pt x="918" y="264"/>
                  </a:lnTo>
                  <a:lnTo>
                    <a:pt x="912" y="270"/>
                  </a:lnTo>
                  <a:lnTo>
                    <a:pt x="912" y="264"/>
                  </a:lnTo>
                  <a:lnTo>
                    <a:pt x="912" y="258"/>
                  </a:lnTo>
                  <a:lnTo>
                    <a:pt x="912" y="252"/>
                  </a:lnTo>
                  <a:lnTo>
                    <a:pt x="906" y="252"/>
                  </a:lnTo>
                  <a:lnTo>
                    <a:pt x="900" y="246"/>
                  </a:lnTo>
                  <a:lnTo>
                    <a:pt x="900" y="240"/>
                  </a:lnTo>
                  <a:lnTo>
                    <a:pt x="900" y="246"/>
                  </a:lnTo>
                  <a:lnTo>
                    <a:pt x="894" y="246"/>
                  </a:lnTo>
                  <a:lnTo>
                    <a:pt x="894" y="240"/>
                  </a:lnTo>
                  <a:lnTo>
                    <a:pt x="894" y="234"/>
                  </a:lnTo>
                  <a:lnTo>
                    <a:pt x="900" y="234"/>
                  </a:lnTo>
                  <a:lnTo>
                    <a:pt x="900" y="228"/>
                  </a:lnTo>
                  <a:lnTo>
                    <a:pt x="906" y="228"/>
                  </a:lnTo>
                  <a:lnTo>
                    <a:pt x="900" y="222"/>
                  </a:lnTo>
                  <a:lnTo>
                    <a:pt x="894" y="216"/>
                  </a:lnTo>
                  <a:lnTo>
                    <a:pt x="894" y="210"/>
                  </a:lnTo>
                  <a:lnTo>
                    <a:pt x="888" y="210"/>
                  </a:lnTo>
                  <a:lnTo>
                    <a:pt x="888" y="204"/>
                  </a:lnTo>
                  <a:lnTo>
                    <a:pt x="888" y="198"/>
                  </a:lnTo>
                  <a:lnTo>
                    <a:pt x="888" y="192"/>
                  </a:lnTo>
                  <a:lnTo>
                    <a:pt x="882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82" y="174"/>
                  </a:lnTo>
                  <a:lnTo>
                    <a:pt x="888" y="168"/>
                  </a:lnTo>
                  <a:lnTo>
                    <a:pt x="888" y="162"/>
                  </a:lnTo>
                  <a:lnTo>
                    <a:pt x="888" y="156"/>
                  </a:lnTo>
                  <a:lnTo>
                    <a:pt x="888" y="150"/>
                  </a:lnTo>
                  <a:lnTo>
                    <a:pt x="888" y="144"/>
                  </a:lnTo>
                  <a:lnTo>
                    <a:pt x="882" y="144"/>
                  </a:lnTo>
                  <a:lnTo>
                    <a:pt x="882" y="138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76" y="120"/>
                  </a:lnTo>
                  <a:lnTo>
                    <a:pt x="882" y="114"/>
                  </a:lnTo>
                  <a:lnTo>
                    <a:pt x="882" y="108"/>
                  </a:lnTo>
                  <a:lnTo>
                    <a:pt x="888" y="102"/>
                  </a:lnTo>
                  <a:lnTo>
                    <a:pt x="894" y="102"/>
                  </a:lnTo>
                  <a:lnTo>
                    <a:pt x="894" y="96"/>
                  </a:lnTo>
                  <a:lnTo>
                    <a:pt x="888" y="96"/>
                  </a:lnTo>
                  <a:lnTo>
                    <a:pt x="894" y="90"/>
                  </a:lnTo>
                  <a:lnTo>
                    <a:pt x="888" y="84"/>
                  </a:lnTo>
                  <a:lnTo>
                    <a:pt x="888" y="78"/>
                  </a:lnTo>
                  <a:lnTo>
                    <a:pt x="924" y="66"/>
                  </a:lnTo>
                  <a:lnTo>
                    <a:pt x="966" y="66"/>
                  </a:lnTo>
                  <a:lnTo>
                    <a:pt x="996" y="48"/>
                  </a:lnTo>
                  <a:lnTo>
                    <a:pt x="1056" y="12"/>
                  </a:lnTo>
                  <a:lnTo>
                    <a:pt x="1128" y="0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0" y="18"/>
                  </a:lnTo>
                  <a:lnTo>
                    <a:pt x="1176" y="24"/>
                  </a:lnTo>
                  <a:lnTo>
                    <a:pt x="1182" y="24"/>
                  </a:lnTo>
                  <a:lnTo>
                    <a:pt x="1188" y="30"/>
                  </a:lnTo>
                  <a:lnTo>
                    <a:pt x="1194" y="30"/>
                  </a:lnTo>
                  <a:lnTo>
                    <a:pt x="1194" y="36"/>
                  </a:lnTo>
                  <a:lnTo>
                    <a:pt x="1260" y="30"/>
                  </a:lnTo>
                  <a:lnTo>
                    <a:pt x="1272" y="30"/>
                  </a:lnTo>
                  <a:lnTo>
                    <a:pt x="1296" y="24"/>
                  </a:lnTo>
                  <a:lnTo>
                    <a:pt x="1302" y="30"/>
                  </a:lnTo>
                  <a:lnTo>
                    <a:pt x="1302" y="36"/>
                  </a:lnTo>
                  <a:lnTo>
                    <a:pt x="1308" y="36"/>
                  </a:lnTo>
                  <a:lnTo>
                    <a:pt x="1314" y="36"/>
                  </a:lnTo>
                  <a:lnTo>
                    <a:pt x="1320" y="36"/>
                  </a:lnTo>
                  <a:lnTo>
                    <a:pt x="1326" y="30"/>
                  </a:lnTo>
                  <a:lnTo>
                    <a:pt x="1332" y="30"/>
                  </a:lnTo>
                  <a:lnTo>
                    <a:pt x="1338" y="30"/>
                  </a:lnTo>
                  <a:lnTo>
                    <a:pt x="1344" y="30"/>
                  </a:lnTo>
                  <a:lnTo>
                    <a:pt x="1374" y="30"/>
                  </a:lnTo>
                  <a:lnTo>
                    <a:pt x="1386" y="30"/>
                  </a:lnTo>
                  <a:lnTo>
                    <a:pt x="1392" y="24"/>
                  </a:lnTo>
                  <a:lnTo>
                    <a:pt x="1398" y="12"/>
                  </a:lnTo>
                  <a:lnTo>
                    <a:pt x="1404" y="6"/>
                  </a:lnTo>
                  <a:lnTo>
                    <a:pt x="1410" y="6"/>
                  </a:lnTo>
                  <a:lnTo>
                    <a:pt x="1410" y="12"/>
                  </a:lnTo>
                  <a:lnTo>
                    <a:pt x="1416" y="18"/>
                  </a:lnTo>
                  <a:lnTo>
                    <a:pt x="1416" y="36"/>
                  </a:lnTo>
                  <a:lnTo>
                    <a:pt x="1434" y="54"/>
                  </a:lnTo>
                  <a:lnTo>
                    <a:pt x="1434" y="60"/>
                  </a:lnTo>
                  <a:lnTo>
                    <a:pt x="1434" y="66"/>
                  </a:lnTo>
                  <a:lnTo>
                    <a:pt x="1434" y="72"/>
                  </a:lnTo>
                  <a:lnTo>
                    <a:pt x="1428" y="72"/>
                  </a:lnTo>
                  <a:lnTo>
                    <a:pt x="1428" y="78"/>
                  </a:lnTo>
                  <a:lnTo>
                    <a:pt x="1434" y="78"/>
                  </a:lnTo>
                  <a:lnTo>
                    <a:pt x="1440" y="84"/>
                  </a:lnTo>
                  <a:lnTo>
                    <a:pt x="1440" y="90"/>
                  </a:lnTo>
                  <a:lnTo>
                    <a:pt x="1440" y="96"/>
                  </a:lnTo>
                  <a:lnTo>
                    <a:pt x="1446" y="96"/>
                  </a:lnTo>
                  <a:lnTo>
                    <a:pt x="1446" y="108"/>
                  </a:lnTo>
                  <a:lnTo>
                    <a:pt x="1452" y="108"/>
                  </a:lnTo>
                  <a:lnTo>
                    <a:pt x="1452" y="114"/>
                  </a:lnTo>
                  <a:lnTo>
                    <a:pt x="1458" y="114"/>
                  </a:lnTo>
                  <a:lnTo>
                    <a:pt x="1470" y="120"/>
                  </a:lnTo>
                  <a:lnTo>
                    <a:pt x="1476" y="120"/>
                  </a:lnTo>
                  <a:lnTo>
                    <a:pt x="1476" y="114"/>
                  </a:lnTo>
                  <a:lnTo>
                    <a:pt x="1488" y="120"/>
                  </a:lnTo>
                  <a:lnTo>
                    <a:pt x="1506" y="120"/>
                  </a:lnTo>
                  <a:lnTo>
                    <a:pt x="1512" y="120"/>
                  </a:lnTo>
                  <a:lnTo>
                    <a:pt x="1518" y="120"/>
                  </a:lnTo>
                  <a:lnTo>
                    <a:pt x="1524" y="126"/>
                  </a:lnTo>
                  <a:lnTo>
                    <a:pt x="1536" y="150"/>
                  </a:lnTo>
                  <a:lnTo>
                    <a:pt x="1548" y="162"/>
                  </a:lnTo>
                  <a:lnTo>
                    <a:pt x="1554" y="168"/>
                  </a:lnTo>
                  <a:lnTo>
                    <a:pt x="1584" y="228"/>
                  </a:lnTo>
                  <a:lnTo>
                    <a:pt x="1584" y="234"/>
                  </a:lnTo>
                  <a:lnTo>
                    <a:pt x="1578" y="312"/>
                  </a:lnTo>
                  <a:lnTo>
                    <a:pt x="1590" y="318"/>
                  </a:lnTo>
                  <a:lnTo>
                    <a:pt x="1608" y="330"/>
                  </a:lnTo>
                  <a:lnTo>
                    <a:pt x="1620" y="342"/>
                  </a:lnTo>
                  <a:lnTo>
                    <a:pt x="1626" y="342"/>
                  </a:lnTo>
                  <a:lnTo>
                    <a:pt x="1692" y="360"/>
                  </a:lnTo>
                  <a:lnTo>
                    <a:pt x="1710" y="408"/>
                  </a:lnTo>
                  <a:lnTo>
                    <a:pt x="1722" y="426"/>
                  </a:lnTo>
                  <a:lnTo>
                    <a:pt x="1716" y="468"/>
                  </a:lnTo>
                  <a:lnTo>
                    <a:pt x="1686" y="486"/>
                  </a:lnTo>
                  <a:lnTo>
                    <a:pt x="1686" y="492"/>
                  </a:lnTo>
                  <a:lnTo>
                    <a:pt x="1680" y="498"/>
                  </a:lnTo>
                  <a:lnTo>
                    <a:pt x="1650" y="558"/>
                  </a:lnTo>
                  <a:lnTo>
                    <a:pt x="1650" y="570"/>
                  </a:lnTo>
                  <a:lnTo>
                    <a:pt x="1644" y="570"/>
                  </a:lnTo>
                  <a:lnTo>
                    <a:pt x="1638" y="582"/>
                  </a:lnTo>
                  <a:lnTo>
                    <a:pt x="1638" y="624"/>
                  </a:lnTo>
                  <a:lnTo>
                    <a:pt x="1638" y="636"/>
                  </a:lnTo>
                  <a:lnTo>
                    <a:pt x="1638" y="642"/>
                  </a:lnTo>
                  <a:lnTo>
                    <a:pt x="1632" y="660"/>
                  </a:lnTo>
                  <a:lnTo>
                    <a:pt x="1608" y="678"/>
                  </a:lnTo>
                  <a:lnTo>
                    <a:pt x="1584" y="690"/>
                  </a:lnTo>
                  <a:lnTo>
                    <a:pt x="1584" y="696"/>
                  </a:lnTo>
                  <a:lnTo>
                    <a:pt x="1578" y="702"/>
                  </a:lnTo>
                  <a:lnTo>
                    <a:pt x="1584" y="702"/>
                  </a:lnTo>
                  <a:lnTo>
                    <a:pt x="1578" y="714"/>
                  </a:lnTo>
                  <a:lnTo>
                    <a:pt x="1572" y="714"/>
                  </a:lnTo>
                  <a:lnTo>
                    <a:pt x="1572" y="720"/>
                  </a:lnTo>
                  <a:lnTo>
                    <a:pt x="1566" y="720"/>
                  </a:lnTo>
                  <a:lnTo>
                    <a:pt x="1560" y="726"/>
                  </a:lnTo>
                  <a:lnTo>
                    <a:pt x="1560" y="732"/>
                  </a:lnTo>
                  <a:lnTo>
                    <a:pt x="1554" y="732"/>
                  </a:lnTo>
                  <a:lnTo>
                    <a:pt x="1554" y="738"/>
                  </a:lnTo>
                  <a:lnTo>
                    <a:pt x="1554" y="744"/>
                  </a:lnTo>
                  <a:lnTo>
                    <a:pt x="1548" y="744"/>
                  </a:lnTo>
                  <a:lnTo>
                    <a:pt x="1548" y="738"/>
                  </a:lnTo>
                  <a:lnTo>
                    <a:pt x="1542" y="738"/>
                  </a:lnTo>
                  <a:lnTo>
                    <a:pt x="1542" y="744"/>
                  </a:lnTo>
                  <a:lnTo>
                    <a:pt x="1542" y="750"/>
                  </a:lnTo>
                  <a:lnTo>
                    <a:pt x="1494" y="804"/>
                  </a:lnTo>
                  <a:lnTo>
                    <a:pt x="1446" y="876"/>
                  </a:lnTo>
                  <a:lnTo>
                    <a:pt x="1440" y="876"/>
                  </a:lnTo>
                  <a:lnTo>
                    <a:pt x="1434" y="876"/>
                  </a:lnTo>
                  <a:lnTo>
                    <a:pt x="1428" y="882"/>
                  </a:lnTo>
                  <a:lnTo>
                    <a:pt x="1422" y="882"/>
                  </a:lnTo>
                  <a:lnTo>
                    <a:pt x="1386" y="924"/>
                  </a:lnTo>
                  <a:lnTo>
                    <a:pt x="1362" y="954"/>
                  </a:lnTo>
                  <a:lnTo>
                    <a:pt x="1356" y="984"/>
                  </a:lnTo>
                  <a:lnTo>
                    <a:pt x="1362" y="1002"/>
                  </a:lnTo>
                  <a:lnTo>
                    <a:pt x="1368" y="1020"/>
                  </a:lnTo>
                  <a:lnTo>
                    <a:pt x="1386" y="1056"/>
                  </a:lnTo>
                  <a:lnTo>
                    <a:pt x="1404" y="1074"/>
                  </a:lnTo>
                  <a:lnTo>
                    <a:pt x="1416" y="1080"/>
                  </a:lnTo>
                  <a:lnTo>
                    <a:pt x="1416" y="1086"/>
                  </a:lnTo>
                  <a:lnTo>
                    <a:pt x="1422" y="1098"/>
                  </a:lnTo>
                  <a:lnTo>
                    <a:pt x="1422" y="1110"/>
                  </a:lnTo>
                  <a:lnTo>
                    <a:pt x="1428" y="1116"/>
                  </a:lnTo>
                  <a:lnTo>
                    <a:pt x="1434" y="1116"/>
                  </a:lnTo>
                  <a:lnTo>
                    <a:pt x="1434" y="1122"/>
                  </a:lnTo>
                  <a:lnTo>
                    <a:pt x="1434" y="1128"/>
                  </a:lnTo>
                  <a:lnTo>
                    <a:pt x="1440" y="1134"/>
                  </a:lnTo>
                  <a:lnTo>
                    <a:pt x="1446" y="1134"/>
                  </a:lnTo>
                  <a:lnTo>
                    <a:pt x="1458" y="1134"/>
                  </a:lnTo>
                  <a:lnTo>
                    <a:pt x="1458" y="1140"/>
                  </a:lnTo>
                  <a:lnTo>
                    <a:pt x="1464" y="1134"/>
                  </a:lnTo>
                  <a:lnTo>
                    <a:pt x="1470" y="1134"/>
                  </a:lnTo>
                  <a:lnTo>
                    <a:pt x="1464" y="1128"/>
                  </a:lnTo>
                  <a:lnTo>
                    <a:pt x="1464" y="1122"/>
                  </a:lnTo>
                  <a:lnTo>
                    <a:pt x="1470" y="1116"/>
                  </a:lnTo>
                  <a:lnTo>
                    <a:pt x="1470" y="1122"/>
                  </a:lnTo>
                  <a:lnTo>
                    <a:pt x="1476" y="1122"/>
                  </a:lnTo>
                  <a:lnTo>
                    <a:pt x="1476" y="1116"/>
                  </a:lnTo>
                  <a:lnTo>
                    <a:pt x="1482" y="1110"/>
                  </a:lnTo>
                  <a:lnTo>
                    <a:pt x="1476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82" y="1086"/>
                  </a:lnTo>
                  <a:lnTo>
                    <a:pt x="1482" y="1074"/>
                  </a:lnTo>
                  <a:lnTo>
                    <a:pt x="1488" y="1068"/>
                  </a:lnTo>
                  <a:lnTo>
                    <a:pt x="1488" y="1062"/>
                  </a:lnTo>
                  <a:lnTo>
                    <a:pt x="1494" y="1062"/>
                  </a:lnTo>
                  <a:lnTo>
                    <a:pt x="1500" y="1062"/>
                  </a:lnTo>
                  <a:lnTo>
                    <a:pt x="1506" y="1062"/>
                  </a:lnTo>
                  <a:lnTo>
                    <a:pt x="1506" y="1056"/>
                  </a:lnTo>
                  <a:lnTo>
                    <a:pt x="1506" y="1062"/>
                  </a:lnTo>
                  <a:lnTo>
                    <a:pt x="1518" y="1062"/>
                  </a:lnTo>
                  <a:lnTo>
                    <a:pt x="1524" y="1062"/>
                  </a:lnTo>
                  <a:lnTo>
                    <a:pt x="1530" y="1062"/>
                  </a:lnTo>
                  <a:lnTo>
                    <a:pt x="1536" y="1068"/>
                  </a:lnTo>
                  <a:lnTo>
                    <a:pt x="1536" y="1074"/>
                  </a:lnTo>
                  <a:lnTo>
                    <a:pt x="1542" y="1086"/>
                  </a:lnTo>
                  <a:lnTo>
                    <a:pt x="1548" y="1086"/>
                  </a:lnTo>
                  <a:lnTo>
                    <a:pt x="1554" y="1086"/>
                  </a:lnTo>
                  <a:lnTo>
                    <a:pt x="1566" y="1098"/>
                  </a:lnTo>
                  <a:lnTo>
                    <a:pt x="1572" y="1104"/>
                  </a:lnTo>
                  <a:lnTo>
                    <a:pt x="1566" y="1110"/>
                  </a:lnTo>
                  <a:lnTo>
                    <a:pt x="1572" y="1116"/>
                  </a:lnTo>
                  <a:lnTo>
                    <a:pt x="1578" y="1116"/>
                  </a:lnTo>
                  <a:lnTo>
                    <a:pt x="1578" y="1122"/>
                  </a:lnTo>
                  <a:lnTo>
                    <a:pt x="1584" y="1122"/>
                  </a:lnTo>
                  <a:lnTo>
                    <a:pt x="1584" y="1128"/>
                  </a:lnTo>
                  <a:lnTo>
                    <a:pt x="1584" y="1134"/>
                  </a:lnTo>
                  <a:lnTo>
                    <a:pt x="1590" y="1134"/>
                  </a:lnTo>
                  <a:lnTo>
                    <a:pt x="1596" y="1140"/>
                  </a:lnTo>
                  <a:lnTo>
                    <a:pt x="1602" y="1146"/>
                  </a:lnTo>
                  <a:lnTo>
                    <a:pt x="1608" y="1146"/>
                  </a:lnTo>
                  <a:lnTo>
                    <a:pt x="1614" y="1146"/>
                  </a:lnTo>
                  <a:lnTo>
                    <a:pt x="1614" y="1152"/>
                  </a:lnTo>
                  <a:lnTo>
                    <a:pt x="1620" y="1152"/>
                  </a:lnTo>
                  <a:lnTo>
                    <a:pt x="1626" y="1164"/>
                  </a:lnTo>
                  <a:lnTo>
                    <a:pt x="1632" y="1170"/>
                  </a:lnTo>
                  <a:lnTo>
                    <a:pt x="1638" y="1176"/>
                  </a:lnTo>
                  <a:lnTo>
                    <a:pt x="1638" y="1182"/>
                  </a:lnTo>
                  <a:lnTo>
                    <a:pt x="1644" y="1194"/>
                  </a:lnTo>
                  <a:lnTo>
                    <a:pt x="1644" y="1200"/>
                  </a:lnTo>
                  <a:lnTo>
                    <a:pt x="1638" y="1200"/>
                  </a:lnTo>
                  <a:lnTo>
                    <a:pt x="1638" y="1206"/>
                  </a:lnTo>
                  <a:lnTo>
                    <a:pt x="1638" y="1212"/>
                  </a:lnTo>
                  <a:lnTo>
                    <a:pt x="1638" y="1218"/>
                  </a:lnTo>
                  <a:lnTo>
                    <a:pt x="1632" y="1242"/>
                  </a:lnTo>
                  <a:lnTo>
                    <a:pt x="1632" y="1266"/>
                  </a:lnTo>
                  <a:lnTo>
                    <a:pt x="1638" y="1284"/>
                  </a:lnTo>
                  <a:lnTo>
                    <a:pt x="1638" y="1296"/>
                  </a:lnTo>
                  <a:lnTo>
                    <a:pt x="1632" y="1296"/>
                  </a:lnTo>
                  <a:lnTo>
                    <a:pt x="1632" y="1302"/>
                  </a:lnTo>
                  <a:lnTo>
                    <a:pt x="1638" y="1314"/>
                  </a:lnTo>
                  <a:lnTo>
                    <a:pt x="1638" y="1320"/>
                  </a:lnTo>
                  <a:lnTo>
                    <a:pt x="1632" y="1320"/>
                  </a:lnTo>
                  <a:lnTo>
                    <a:pt x="1632" y="1326"/>
                  </a:lnTo>
                  <a:lnTo>
                    <a:pt x="1644" y="1332"/>
                  </a:lnTo>
                  <a:lnTo>
                    <a:pt x="1644" y="1338"/>
                  </a:lnTo>
                  <a:lnTo>
                    <a:pt x="1650" y="1344"/>
                  </a:lnTo>
                  <a:lnTo>
                    <a:pt x="1668" y="1362"/>
                  </a:lnTo>
                  <a:lnTo>
                    <a:pt x="1668" y="1368"/>
                  </a:lnTo>
                  <a:lnTo>
                    <a:pt x="1674" y="1392"/>
                  </a:lnTo>
                  <a:lnTo>
                    <a:pt x="1686" y="140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2" name="Freeform 17">
              <a:extLst>
                <a:ext uri="{FF2B5EF4-FFF2-40B4-BE49-F238E27FC236}">
                  <a16:creationId xmlns:a16="http://schemas.microsoft.com/office/drawing/2014/main" id="{9F9DF7AF-2203-4CCB-AF1B-32CDAF87CC5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416927"/>
              <a:ext cx="816209" cy="574781"/>
            </a:xfrm>
            <a:custGeom>
              <a:avLst/>
              <a:gdLst>
                <a:gd name="T0" fmla="*/ 115 w 1536"/>
                <a:gd name="T1" fmla="*/ 89 h 1080"/>
                <a:gd name="T2" fmla="*/ 113 w 1536"/>
                <a:gd name="T3" fmla="*/ 92 h 1080"/>
                <a:gd name="T4" fmla="*/ 107 w 1536"/>
                <a:gd name="T5" fmla="*/ 93 h 1080"/>
                <a:gd name="T6" fmla="*/ 108 w 1536"/>
                <a:gd name="T7" fmla="*/ 90 h 1080"/>
                <a:gd name="T8" fmla="*/ 105 w 1536"/>
                <a:gd name="T9" fmla="*/ 87 h 1080"/>
                <a:gd name="T10" fmla="*/ 102 w 1536"/>
                <a:gd name="T11" fmla="*/ 85 h 1080"/>
                <a:gd name="T12" fmla="*/ 89 w 1536"/>
                <a:gd name="T13" fmla="*/ 80 h 1080"/>
                <a:gd name="T14" fmla="*/ 85 w 1536"/>
                <a:gd name="T15" fmla="*/ 82 h 1080"/>
                <a:gd name="T16" fmla="*/ 82 w 1536"/>
                <a:gd name="T17" fmla="*/ 80 h 1080"/>
                <a:gd name="T18" fmla="*/ 80 w 1536"/>
                <a:gd name="T19" fmla="*/ 75 h 1080"/>
                <a:gd name="T20" fmla="*/ 75 w 1536"/>
                <a:gd name="T21" fmla="*/ 72 h 1080"/>
                <a:gd name="T22" fmla="*/ 61 w 1536"/>
                <a:gd name="T23" fmla="*/ 70 h 1080"/>
                <a:gd name="T24" fmla="*/ 62 w 1536"/>
                <a:gd name="T25" fmla="*/ 72 h 1080"/>
                <a:gd name="T26" fmla="*/ 58 w 1536"/>
                <a:gd name="T27" fmla="*/ 75 h 1080"/>
                <a:gd name="T28" fmla="*/ 49 w 1536"/>
                <a:gd name="T29" fmla="*/ 76 h 1080"/>
                <a:gd name="T30" fmla="*/ 41 w 1536"/>
                <a:gd name="T31" fmla="*/ 79 h 1080"/>
                <a:gd name="T32" fmla="*/ 41 w 1536"/>
                <a:gd name="T33" fmla="*/ 77 h 1080"/>
                <a:gd name="T34" fmla="*/ 39 w 1536"/>
                <a:gd name="T35" fmla="*/ 74 h 1080"/>
                <a:gd name="T36" fmla="*/ 28 w 1536"/>
                <a:gd name="T37" fmla="*/ 78 h 1080"/>
                <a:gd name="T38" fmla="*/ 18 w 1536"/>
                <a:gd name="T39" fmla="*/ 85 h 1080"/>
                <a:gd name="T40" fmla="*/ 18 w 1536"/>
                <a:gd name="T41" fmla="*/ 77 h 1080"/>
                <a:gd name="T42" fmla="*/ 19 w 1536"/>
                <a:gd name="T43" fmla="*/ 69 h 1080"/>
                <a:gd name="T44" fmla="*/ 16 w 1536"/>
                <a:gd name="T45" fmla="*/ 69 h 1080"/>
                <a:gd name="T46" fmla="*/ 11 w 1536"/>
                <a:gd name="T47" fmla="*/ 69 h 1080"/>
                <a:gd name="T48" fmla="*/ 5 w 1536"/>
                <a:gd name="T49" fmla="*/ 68 h 1080"/>
                <a:gd name="T50" fmla="*/ 1 w 1536"/>
                <a:gd name="T51" fmla="*/ 63 h 1080"/>
                <a:gd name="T52" fmla="*/ 3 w 1536"/>
                <a:gd name="T53" fmla="*/ 59 h 1080"/>
                <a:gd name="T54" fmla="*/ 9 w 1536"/>
                <a:gd name="T55" fmla="*/ 54 h 1080"/>
                <a:gd name="T56" fmla="*/ 15 w 1536"/>
                <a:gd name="T57" fmla="*/ 47 h 1080"/>
                <a:gd name="T58" fmla="*/ 17 w 1536"/>
                <a:gd name="T59" fmla="*/ 40 h 1080"/>
                <a:gd name="T60" fmla="*/ 12 w 1536"/>
                <a:gd name="T61" fmla="*/ 33 h 1080"/>
                <a:gd name="T62" fmla="*/ 10 w 1536"/>
                <a:gd name="T63" fmla="*/ 21 h 1080"/>
                <a:gd name="T64" fmla="*/ 6 w 1536"/>
                <a:gd name="T65" fmla="*/ 14 h 1080"/>
                <a:gd name="T66" fmla="*/ 7 w 1536"/>
                <a:gd name="T67" fmla="*/ 9 h 1080"/>
                <a:gd name="T68" fmla="*/ 12 w 1536"/>
                <a:gd name="T69" fmla="*/ 7 h 1080"/>
                <a:gd name="T70" fmla="*/ 16 w 1536"/>
                <a:gd name="T71" fmla="*/ 8 h 1080"/>
                <a:gd name="T72" fmla="*/ 19 w 1536"/>
                <a:gd name="T73" fmla="*/ 8 h 1080"/>
                <a:gd name="T74" fmla="*/ 22 w 1536"/>
                <a:gd name="T75" fmla="*/ 9 h 1080"/>
                <a:gd name="T76" fmla="*/ 29 w 1536"/>
                <a:gd name="T77" fmla="*/ 12 h 1080"/>
                <a:gd name="T78" fmla="*/ 33 w 1536"/>
                <a:gd name="T79" fmla="*/ 13 h 1080"/>
                <a:gd name="T80" fmla="*/ 38 w 1536"/>
                <a:gd name="T81" fmla="*/ 15 h 1080"/>
                <a:gd name="T82" fmla="*/ 42 w 1536"/>
                <a:gd name="T83" fmla="*/ 17 h 1080"/>
                <a:gd name="T84" fmla="*/ 47 w 1536"/>
                <a:gd name="T85" fmla="*/ 19 h 1080"/>
                <a:gd name="T86" fmla="*/ 51 w 1536"/>
                <a:gd name="T87" fmla="*/ 21 h 1080"/>
                <a:gd name="T88" fmla="*/ 50 w 1536"/>
                <a:gd name="T89" fmla="*/ 15 h 1080"/>
                <a:gd name="T90" fmla="*/ 56 w 1536"/>
                <a:gd name="T91" fmla="*/ 0 h 1080"/>
                <a:gd name="T92" fmla="*/ 74 w 1536"/>
                <a:gd name="T93" fmla="*/ 5 h 1080"/>
                <a:gd name="T94" fmla="*/ 87 w 1536"/>
                <a:gd name="T95" fmla="*/ 6 h 1080"/>
                <a:gd name="T96" fmla="*/ 92 w 1536"/>
                <a:gd name="T97" fmla="*/ 11 h 1080"/>
                <a:gd name="T98" fmla="*/ 95 w 1536"/>
                <a:gd name="T99" fmla="*/ 15 h 1080"/>
                <a:gd name="T100" fmla="*/ 93 w 1536"/>
                <a:gd name="T101" fmla="*/ 20 h 1080"/>
                <a:gd name="T102" fmla="*/ 108 w 1536"/>
                <a:gd name="T103" fmla="*/ 18 h 1080"/>
                <a:gd name="T104" fmla="*/ 120 w 1536"/>
                <a:gd name="T105" fmla="*/ 21 h 1080"/>
                <a:gd name="T106" fmla="*/ 127 w 1536"/>
                <a:gd name="T107" fmla="*/ 29 h 1080"/>
                <a:gd name="T108" fmla="*/ 130 w 1536"/>
                <a:gd name="T109" fmla="*/ 30 h 1080"/>
                <a:gd name="T110" fmla="*/ 130 w 1536"/>
                <a:gd name="T111" fmla="*/ 49 h 1080"/>
                <a:gd name="T112" fmla="*/ 120 w 1536"/>
                <a:gd name="T113" fmla="*/ 69 h 1080"/>
                <a:gd name="T114" fmla="*/ 119 w 1536"/>
                <a:gd name="T115" fmla="*/ 74 h 1080"/>
                <a:gd name="T116" fmla="*/ 118 w 1536"/>
                <a:gd name="T117" fmla="*/ 80 h 108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536"/>
                <a:gd name="T178" fmla="*/ 0 h 1080"/>
                <a:gd name="T179" fmla="*/ 1536 w 1536"/>
                <a:gd name="T180" fmla="*/ 1080 h 108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536" h="1080">
                  <a:moveTo>
                    <a:pt x="1350" y="1020"/>
                  </a:moveTo>
                  <a:lnTo>
                    <a:pt x="1350" y="1026"/>
                  </a:lnTo>
                  <a:lnTo>
                    <a:pt x="1344" y="1026"/>
                  </a:lnTo>
                  <a:lnTo>
                    <a:pt x="1338" y="1032"/>
                  </a:lnTo>
                  <a:lnTo>
                    <a:pt x="1332" y="1026"/>
                  </a:lnTo>
                  <a:lnTo>
                    <a:pt x="1326" y="1026"/>
                  </a:lnTo>
                  <a:lnTo>
                    <a:pt x="1320" y="1020"/>
                  </a:lnTo>
                  <a:lnTo>
                    <a:pt x="1314" y="1026"/>
                  </a:lnTo>
                  <a:lnTo>
                    <a:pt x="1314" y="1032"/>
                  </a:lnTo>
                  <a:lnTo>
                    <a:pt x="1308" y="1038"/>
                  </a:lnTo>
                  <a:lnTo>
                    <a:pt x="1308" y="1044"/>
                  </a:lnTo>
                  <a:lnTo>
                    <a:pt x="1308" y="1050"/>
                  </a:lnTo>
                  <a:lnTo>
                    <a:pt x="1308" y="1056"/>
                  </a:lnTo>
                  <a:lnTo>
                    <a:pt x="1308" y="1062"/>
                  </a:lnTo>
                  <a:lnTo>
                    <a:pt x="1296" y="1068"/>
                  </a:lnTo>
                  <a:lnTo>
                    <a:pt x="1284" y="1074"/>
                  </a:lnTo>
                  <a:lnTo>
                    <a:pt x="1272" y="1080"/>
                  </a:lnTo>
                  <a:lnTo>
                    <a:pt x="1260" y="1080"/>
                  </a:lnTo>
                  <a:lnTo>
                    <a:pt x="1254" y="1074"/>
                  </a:lnTo>
                  <a:lnTo>
                    <a:pt x="1236" y="1074"/>
                  </a:lnTo>
                  <a:lnTo>
                    <a:pt x="1230" y="1074"/>
                  </a:lnTo>
                  <a:lnTo>
                    <a:pt x="1236" y="1074"/>
                  </a:lnTo>
                  <a:lnTo>
                    <a:pt x="1236" y="1068"/>
                  </a:lnTo>
                  <a:lnTo>
                    <a:pt x="1236" y="1062"/>
                  </a:lnTo>
                  <a:lnTo>
                    <a:pt x="1236" y="1056"/>
                  </a:lnTo>
                  <a:lnTo>
                    <a:pt x="1242" y="1050"/>
                  </a:lnTo>
                  <a:lnTo>
                    <a:pt x="1242" y="1044"/>
                  </a:lnTo>
                  <a:lnTo>
                    <a:pt x="1242" y="1038"/>
                  </a:lnTo>
                  <a:lnTo>
                    <a:pt x="1248" y="1032"/>
                  </a:lnTo>
                  <a:lnTo>
                    <a:pt x="1236" y="1026"/>
                  </a:lnTo>
                  <a:lnTo>
                    <a:pt x="1218" y="1020"/>
                  </a:lnTo>
                  <a:lnTo>
                    <a:pt x="1224" y="1014"/>
                  </a:lnTo>
                  <a:lnTo>
                    <a:pt x="1218" y="1008"/>
                  </a:lnTo>
                  <a:lnTo>
                    <a:pt x="1218" y="1002"/>
                  </a:lnTo>
                  <a:lnTo>
                    <a:pt x="1212" y="1008"/>
                  </a:lnTo>
                  <a:lnTo>
                    <a:pt x="1206" y="1002"/>
                  </a:lnTo>
                  <a:lnTo>
                    <a:pt x="1212" y="1002"/>
                  </a:lnTo>
                  <a:lnTo>
                    <a:pt x="1212" y="996"/>
                  </a:lnTo>
                  <a:lnTo>
                    <a:pt x="1200" y="990"/>
                  </a:lnTo>
                  <a:lnTo>
                    <a:pt x="1200" y="984"/>
                  </a:lnTo>
                  <a:lnTo>
                    <a:pt x="1188" y="984"/>
                  </a:lnTo>
                  <a:lnTo>
                    <a:pt x="1176" y="978"/>
                  </a:lnTo>
                  <a:lnTo>
                    <a:pt x="1164" y="960"/>
                  </a:lnTo>
                  <a:lnTo>
                    <a:pt x="1152" y="936"/>
                  </a:lnTo>
                  <a:lnTo>
                    <a:pt x="1146" y="936"/>
                  </a:lnTo>
                  <a:lnTo>
                    <a:pt x="1128" y="900"/>
                  </a:lnTo>
                  <a:lnTo>
                    <a:pt x="1038" y="912"/>
                  </a:lnTo>
                  <a:lnTo>
                    <a:pt x="1038" y="918"/>
                  </a:lnTo>
                  <a:lnTo>
                    <a:pt x="1032" y="924"/>
                  </a:lnTo>
                  <a:lnTo>
                    <a:pt x="1026" y="918"/>
                  </a:lnTo>
                  <a:lnTo>
                    <a:pt x="1020" y="924"/>
                  </a:lnTo>
                  <a:lnTo>
                    <a:pt x="1008" y="936"/>
                  </a:lnTo>
                  <a:lnTo>
                    <a:pt x="990" y="936"/>
                  </a:lnTo>
                  <a:lnTo>
                    <a:pt x="990" y="942"/>
                  </a:lnTo>
                  <a:lnTo>
                    <a:pt x="996" y="942"/>
                  </a:lnTo>
                  <a:lnTo>
                    <a:pt x="984" y="948"/>
                  </a:lnTo>
                  <a:lnTo>
                    <a:pt x="972" y="948"/>
                  </a:lnTo>
                  <a:lnTo>
                    <a:pt x="960" y="948"/>
                  </a:lnTo>
                  <a:lnTo>
                    <a:pt x="948" y="942"/>
                  </a:lnTo>
                  <a:lnTo>
                    <a:pt x="948" y="936"/>
                  </a:lnTo>
                  <a:lnTo>
                    <a:pt x="942" y="936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30" y="924"/>
                  </a:lnTo>
                  <a:lnTo>
                    <a:pt x="936" y="918"/>
                  </a:lnTo>
                  <a:lnTo>
                    <a:pt x="918" y="918"/>
                  </a:lnTo>
                  <a:lnTo>
                    <a:pt x="918" y="900"/>
                  </a:lnTo>
                  <a:lnTo>
                    <a:pt x="924" y="900"/>
                  </a:lnTo>
                  <a:lnTo>
                    <a:pt x="924" y="894"/>
                  </a:lnTo>
                  <a:lnTo>
                    <a:pt x="924" y="870"/>
                  </a:lnTo>
                  <a:lnTo>
                    <a:pt x="924" y="864"/>
                  </a:lnTo>
                  <a:lnTo>
                    <a:pt x="918" y="858"/>
                  </a:lnTo>
                  <a:lnTo>
                    <a:pt x="918" y="852"/>
                  </a:lnTo>
                  <a:lnTo>
                    <a:pt x="906" y="840"/>
                  </a:lnTo>
                  <a:lnTo>
                    <a:pt x="894" y="834"/>
                  </a:lnTo>
                  <a:lnTo>
                    <a:pt x="876" y="822"/>
                  </a:lnTo>
                  <a:lnTo>
                    <a:pt x="870" y="828"/>
                  </a:lnTo>
                  <a:lnTo>
                    <a:pt x="858" y="816"/>
                  </a:lnTo>
                  <a:lnTo>
                    <a:pt x="810" y="798"/>
                  </a:lnTo>
                  <a:lnTo>
                    <a:pt x="774" y="792"/>
                  </a:lnTo>
                  <a:lnTo>
                    <a:pt x="732" y="798"/>
                  </a:lnTo>
                  <a:lnTo>
                    <a:pt x="726" y="804"/>
                  </a:lnTo>
                  <a:lnTo>
                    <a:pt x="714" y="810"/>
                  </a:lnTo>
                  <a:lnTo>
                    <a:pt x="702" y="810"/>
                  </a:lnTo>
                  <a:lnTo>
                    <a:pt x="690" y="810"/>
                  </a:lnTo>
                  <a:lnTo>
                    <a:pt x="696" y="816"/>
                  </a:lnTo>
                  <a:lnTo>
                    <a:pt x="696" y="822"/>
                  </a:lnTo>
                  <a:lnTo>
                    <a:pt x="702" y="822"/>
                  </a:lnTo>
                  <a:lnTo>
                    <a:pt x="708" y="822"/>
                  </a:lnTo>
                  <a:lnTo>
                    <a:pt x="708" y="828"/>
                  </a:lnTo>
                  <a:lnTo>
                    <a:pt x="708" y="834"/>
                  </a:lnTo>
                  <a:lnTo>
                    <a:pt x="714" y="834"/>
                  </a:lnTo>
                  <a:lnTo>
                    <a:pt x="708" y="846"/>
                  </a:lnTo>
                  <a:lnTo>
                    <a:pt x="708" y="852"/>
                  </a:lnTo>
                  <a:lnTo>
                    <a:pt x="702" y="852"/>
                  </a:lnTo>
                  <a:lnTo>
                    <a:pt x="696" y="858"/>
                  </a:lnTo>
                  <a:lnTo>
                    <a:pt x="690" y="864"/>
                  </a:lnTo>
                  <a:lnTo>
                    <a:pt x="666" y="870"/>
                  </a:lnTo>
                  <a:lnTo>
                    <a:pt x="660" y="876"/>
                  </a:lnTo>
                  <a:lnTo>
                    <a:pt x="642" y="876"/>
                  </a:lnTo>
                  <a:lnTo>
                    <a:pt x="606" y="882"/>
                  </a:lnTo>
                  <a:lnTo>
                    <a:pt x="588" y="882"/>
                  </a:lnTo>
                  <a:lnTo>
                    <a:pt x="582" y="876"/>
                  </a:lnTo>
                  <a:lnTo>
                    <a:pt x="576" y="876"/>
                  </a:lnTo>
                  <a:lnTo>
                    <a:pt x="564" y="876"/>
                  </a:lnTo>
                  <a:lnTo>
                    <a:pt x="552" y="882"/>
                  </a:lnTo>
                  <a:lnTo>
                    <a:pt x="540" y="894"/>
                  </a:lnTo>
                  <a:lnTo>
                    <a:pt x="534" y="906"/>
                  </a:lnTo>
                  <a:lnTo>
                    <a:pt x="528" y="912"/>
                  </a:lnTo>
                  <a:lnTo>
                    <a:pt x="516" y="924"/>
                  </a:lnTo>
                  <a:lnTo>
                    <a:pt x="486" y="930"/>
                  </a:lnTo>
                  <a:lnTo>
                    <a:pt x="474" y="912"/>
                  </a:lnTo>
                  <a:lnTo>
                    <a:pt x="474" y="906"/>
                  </a:lnTo>
                  <a:lnTo>
                    <a:pt x="468" y="906"/>
                  </a:lnTo>
                  <a:lnTo>
                    <a:pt x="468" y="900"/>
                  </a:lnTo>
                  <a:lnTo>
                    <a:pt x="462" y="894"/>
                  </a:lnTo>
                  <a:lnTo>
                    <a:pt x="456" y="894"/>
                  </a:lnTo>
                  <a:lnTo>
                    <a:pt x="462" y="888"/>
                  </a:lnTo>
                  <a:lnTo>
                    <a:pt x="468" y="888"/>
                  </a:lnTo>
                  <a:lnTo>
                    <a:pt x="462" y="882"/>
                  </a:lnTo>
                  <a:lnTo>
                    <a:pt x="462" y="876"/>
                  </a:lnTo>
                  <a:lnTo>
                    <a:pt x="456" y="870"/>
                  </a:lnTo>
                  <a:lnTo>
                    <a:pt x="456" y="864"/>
                  </a:lnTo>
                  <a:lnTo>
                    <a:pt x="450" y="858"/>
                  </a:lnTo>
                  <a:lnTo>
                    <a:pt x="444" y="858"/>
                  </a:lnTo>
                  <a:lnTo>
                    <a:pt x="444" y="852"/>
                  </a:lnTo>
                  <a:lnTo>
                    <a:pt x="438" y="852"/>
                  </a:lnTo>
                  <a:lnTo>
                    <a:pt x="438" y="858"/>
                  </a:lnTo>
                  <a:lnTo>
                    <a:pt x="402" y="870"/>
                  </a:lnTo>
                  <a:lnTo>
                    <a:pt x="390" y="882"/>
                  </a:lnTo>
                  <a:lnTo>
                    <a:pt x="384" y="900"/>
                  </a:lnTo>
                  <a:lnTo>
                    <a:pt x="342" y="900"/>
                  </a:lnTo>
                  <a:lnTo>
                    <a:pt x="324" y="900"/>
                  </a:lnTo>
                  <a:lnTo>
                    <a:pt x="294" y="906"/>
                  </a:lnTo>
                  <a:lnTo>
                    <a:pt x="282" y="948"/>
                  </a:lnTo>
                  <a:lnTo>
                    <a:pt x="282" y="978"/>
                  </a:lnTo>
                  <a:lnTo>
                    <a:pt x="270" y="1008"/>
                  </a:lnTo>
                  <a:lnTo>
                    <a:pt x="240" y="1014"/>
                  </a:lnTo>
                  <a:lnTo>
                    <a:pt x="216" y="996"/>
                  </a:lnTo>
                  <a:lnTo>
                    <a:pt x="204" y="984"/>
                  </a:lnTo>
                  <a:lnTo>
                    <a:pt x="192" y="966"/>
                  </a:lnTo>
                  <a:lnTo>
                    <a:pt x="186" y="948"/>
                  </a:lnTo>
                  <a:lnTo>
                    <a:pt x="174" y="948"/>
                  </a:lnTo>
                  <a:lnTo>
                    <a:pt x="174" y="936"/>
                  </a:lnTo>
                  <a:lnTo>
                    <a:pt x="186" y="924"/>
                  </a:lnTo>
                  <a:lnTo>
                    <a:pt x="198" y="906"/>
                  </a:lnTo>
                  <a:lnTo>
                    <a:pt x="204" y="888"/>
                  </a:lnTo>
                  <a:lnTo>
                    <a:pt x="222" y="870"/>
                  </a:lnTo>
                  <a:lnTo>
                    <a:pt x="234" y="858"/>
                  </a:lnTo>
                  <a:lnTo>
                    <a:pt x="234" y="852"/>
                  </a:lnTo>
                  <a:lnTo>
                    <a:pt x="222" y="852"/>
                  </a:lnTo>
                  <a:lnTo>
                    <a:pt x="228" y="810"/>
                  </a:lnTo>
                  <a:lnTo>
                    <a:pt x="222" y="798"/>
                  </a:lnTo>
                  <a:lnTo>
                    <a:pt x="216" y="798"/>
                  </a:lnTo>
                  <a:lnTo>
                    <a:pt x="216" y="792"/>
                  </a:lnTo>
                  <a:lnTo>
                    <a:pt x="210" y="792"/>
                  </a:lnTo>
                  <a:lnTo>
                    <a:pt x="204" y="798"/>
                  </a:lnTo>
                  <a:lnTo>
                    <a:pt x="204" y="792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0" y="786"/>
                  </a:lnTo>
                  <a:lnTo>
                    <a:pt x="174" y="792"/>
                  </a:lnTo>
                  <a:lnTo>
                    <a:pt x="162" y="792"/>
                  </a:lnTo>
                  <a:lnTo>
                    <a:pt x="156" y="792"/>
                  </a:lnTo>
                  <a:lnTo>
                    <a:pt x="156" y="798"/>
                  </a:lnTo>
                  <a:lnTo>
                    <a:pt x="138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6" y="804"/>
                  </a:lnTo>
                  <a:lnTo>
                    <a:pt x="102" y="810"/>
                  </a:lnTo>
                  <a:lnTo>
                    <a:pt x="90" y="810"/>
                  </a:lnTo>
                  <a:lnTo>
                    <a:pt x="72" y="798"/>
                  </a:lnTo>
                  <a:lnTo>
                    <a:pt x="66" y="780"/>
                  </a:lnTo>
                  <a:lnTo>
                    <a:pt x="60" y="780"/>
                  </a:lnTo>
                  <a:lnTo>
                    <a:pt x="60" y="768"/>
                  </a:lnTo>
                  <a:lnTo>
                    <a:pt x="54" y="768"/>
                  </a:lnTo>
                  <a:lnTo>
                    <a:pt x="24" y="756"/>
                  </a:lnTo>
                  <a:lnTo>
                    <a:pt x="18" y="744"/>
                  </a:lnTo>
                  <a:lnTo>
                    <a:pt x="12" y="738"/>
                  </a:lnTo>
                  <a:lnTo>
                    <a:pt x="18" y="732"/>
                  </a:lnTo>
                  <a:lnTo>
                    <a:pt x="12" y="726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8" y="696"/>
                  </a:lnTo>
                  <a:lnTo>
                    <a:pt x="24" y="708"/>
                  </a:lnTo>
                  <a:lnTo>
                    <a:pt x="36" y="702"/>
                  </a:lnTo>
                  <a:lnTo>
                    <a:pt x="36" y="678"/>
                  </a:lnTo>
                  <a:lnTo>
                    <a:pt x="36" y="660"/>
                  </a:lnTo>
                  <a:lnTo>
                    <a:pt x="42" y="654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72" y="624"/>
                  </a:lnTo>
                  <a:lnTo>
                    <a:pt x="90" y="618"/>
                  </a:lnTo>
                  <a:lnTo>
                    <a:pt x="102" y="618"/>
                  </a:lnTo>
                  <a:lnTo>
                    <a:pt x="114" y="612"/>
                  </a:lnTo>
                  <a:lnTo>
                    <a:pt x="138" y="606"/>
                  </a:lnTo>
                  <a:lnTo>
                    <a:pt x="144" y="606"/>
                  </a:lnTo>
                  <a:lnTo>
                    <a:pt x="150" y="594"/>
                  </a:lnTo>
                  <a:lnTo>
                    <a:pt x="156" y="576"/>
                  </a:lnTo>
                  <a:lnTo>
                    <a:pt x="168" y="552"/>
                  </a:lnTo>
                  <a:lnTo>
                    <a:pt x="168" y="540"/>
                  </a:lnTo>
                  <a:lnTo>
                    <a:pt x="180" y="522"/>
                  </a:lnTo>
                  <a:lnTo>
                    <a:pt x="186" y="498"/>
                  </a:lnTo>
                  <a:lnTo>
                    <a:pt x="198" y="480"/>
                  </a:lnTo>
                  <a:lnTo>
                    <a:pt x="204" y="486"/>
                  </a:lnTo>
                  <a:lnTo>
                    <a:pt x="210" y="480"/>
                  </a:lnTo>
                  <a:lnTo>
                    <a:pt x="204" y="474"/>
                  </a:lnTo>
                  <a:lnTo>
                    <a:pt x="198" y="462"/>
                  </a:lnTo>
                  <a:lnTo>
                    <a:pt x="192" y="456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50"/>
                  </a:lnTo>
                  <a:lnTo>
                    <a:pt x="132" y="426"/>
                  </a:lnTo>
                  <a:lnTo>
                    <a:pt x="132" y="396"/>
                  </a:lnTo>
                  <a:lnTo>
                    <a:pt x="132" y="378"/>
                  </a:lnTo>
                  <a:lnTo>
                    <a:pt x="126" y="348"/>
                  </a:lnTo>
                  <a:lnTo>
                    <a:pt x="132" y="312"/>
                  </a:lnTo>
                  <a:lnTo>
                    <a:pt x="126" y="288"/>
                  </a:lnTo>
                  <a:lnTo>
                    <a:pt x="138" y="282"/>
                  </a:lnTo>
                  <a:lnTo>
                    <a:pt x="126" y="264"/>
                  </a:lnTo>
                  <a:lnTo>
                    <a:pt x="126" y="258"/>
                  </a:lnTo>
                  <a:lnTo>
                    <a:pt x="120" y="246"/>
                  </a:lnTo>
                  <a:lnTo>
                    <a:pt x="126" y="234"/>
                  </a:lnTo>
                  <a:lnTo>
                    <a:pt x="114" y="228"/>
                  </a:lnTo>
                  <a:lnTo>
                    <a:pt x="114" y="222"/>
                  </a:lnTo>
                  <a:lnTo>
                    <a:pt x="96" y="204"/>
                  </a:lnTo>
                  <a:lnTo>
                    <a:pt x="84" y="180"/>
                  </a:lnTo>
                  <a:lnTo>
                    <a:pt x="78" y="168"/>
                  </a:lnTo>
                  <a:lnTo>
                    <a:pt x="72" y="162"/>
                  </a:lnTo>
                  <a:lnTo>
                    <a:pt x="66" y="144"/>
                  </a:lnTo>
                  <a:lnTo>
                    <a:pt x="60" y="138"/>
                  </a:lnTo>
                  <a:lnTo>
                    <a:pt x="66" y="126"/>
                  </a:lnTo>
                  <a:lnTo>
                    <a:pt x="66" y="114"/>
                  </a:lnTo>
                  <a:lnTo>
                    <a:pt x="72" y="114"/>
                  </a:lnTo>
                  <a:lnTo>
                    <a:pt x="72" y="108"/>
                  </a:lnTo>
                  <a:lnTo>
                    <a:pt x="78" y="102"/>
                  </a:lnTo>
                  <a:lnTo>
                    <a:pt x="78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120" y="78"/>
                  </a:lnTo>
                  <a:lnTo>
                    <a:pt x="144" y="84"/>
                  </a:lnTo>
                  <a:lnTo>
                    <a:pt x="150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74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92" y="102"/>
                  </a:lnTo>
                  <a:lnTo>
                    <a:pt x="198" y="96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16" y="96"/>
                  </a:lnTo>
                  <a:lnTo>
                    <a:pt x="222" y="96"/>
                  </a:lnTo>
                  <a:lnTo>
                    <a:pt x="228" y="96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94" y="114"/>
                  </a:lnTo>
                  <a:lnTo>
                    <a:pt x="312" y="120"/>
                  </a:lnTo>
                  <a:lnTo>
                    <a:pt x="318" y="126"/>
                  </a:lnTo>
                  <a:lnTo>
                    <a:pt x="330" y="132"/>
                  </a:lnTo>
                  <a:lnTo>
                    <a:pt x="342" y="132"/>
                  </a:lnTo>
                  <a:lnTo>
                    <a:pt x="348" y="132"/>
                  </a:lnTo>
                  <a:lnTo>
                    <a:pt x="354" y="138"/>
                  </a:lnTo>
                  <a:lnTo>
                    <a:pt x="366" y="138"/>
                  </a:lnTo>
                  <a:lnTo>
                    <a:pt x="372" y="144"/>
                  </a:lnTo>
                  <a:lnTo>
                    <a:pt x="378" y="150"/>
                  </a:lnTo>
                  <a:lnTo>
                    <a:pt x="384" y="150"/>
                  </a:lnTo>
                  <a:lnTo>
                    <a:pt x="390" y="150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14" y="156"/>
                  </a:lnTo>
                  <a:lnTo>
                    <a:pt x="420" y="156"/>
                  </a:lnTo>
                  <a:lnTo>
                    <a:pt x="426" y="162"/>
                  </a:lnTo>
                  <a:lnTo>
                    <a:pt x="438" y="168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62" y="174"/>
                  </a:lnTo>
                  <a:lnTo>
                    <a:pt x="468" y="174"/>
                  </a:lnTo>
                  <a:lnTo>
                    <a:pt x="474" y="174"/>
                  </a:lnTo>
                  <a:lnTo>
                    <a:pt x="474" y="180"/>
                  </a:lnTo>
                  <a:lnTo>
                    <a:pt x="480" y="192"/>
                  </a:lnTo>
                  <a:lnTo>
                    <a:pt x="498" y="198"/>
                  </a:lnTo>
                  <a:lnTo>
                    <a:pt x="510" y="210"/>
                  </a:lnTo>
                  <a:lnTo>
                    <a:pt x="516" y="210"/>
                  </a:lnTo>
                  <a:lnTo>
                    <a:pt x="522" y="210"/>
                  </a:lnTo>
                  <a:lnTo>
                    <a:pt x="534" y="216"/>
                  </a:lnTo>
                  <a:lnTo>
                    <a:pt x="540" y="216"/>
                  </a:lnTo>
                  <a:lnTo>
                    <a:pt x="546" y="222"/>
                  </a:lnTo>
                  <a:lnTo>
                    <a:pt x="552" y="222"/>
                  </a:lnTo>
                  <a:lnTo>
                    <a:pt x="558" y="228"/>
                  </a:lnTo>
                  <a:lnTo>
                    <a:pt x="564" y="228"/>
                  </a:lnTo>
                  <a:lnTo>
                    <a:pt x="570" y="234"/>
                  </a:lnTo>
                  <a:lnTo>
                    <a:pt x="576" y="240"/>
                  </a:lnTo>
                  <a:lnTo>
                    <a:pt x="582" y="240"/>
                  </a:lnTo>
                  <a:lnTo>
                    <a:pt x="588" y="240"/>
                  </a:lnTo>
                  <a:lnTo>
                    <a:pt x="594" y="240"/>
                  </a:lnTo>
                  <a:lnTo>
                    <a:pt x="600" y="228"/>
                  </a:lnTo>
                  <a:lnTo>
                    <a:pt x="588" y="216"/>
                  </a:lnTo>
                  <a:lnTo>
                    <a:pt x="588" y="198"/>
                  </a:lnTo>
                  <a:lnTo>
                    <a:pt x="582" y="198"/>
                  </a:lnTo>
                  <a:lnTo>
                    <a:pt x="588" y="192"/>
                  </a:lnTo>
                  <a:lnTo>
                    <a:pt x="582" y="168"/>
                  </a:lnTo>
                  <a:lnTo>
                    <a:pt x="558" y="114"/>
                  </a:lnTo>
                  <a:lnTo>
                    <a:pt x="552" y="90"/>
                  </a:lnTo>
                  <a:lnTo>
                    <a:pt x="558" y="60"/>
                  </a:lnTo>
                  <a:lnTo>
                    <a:pt x="564" y="48"/>
                  </a:lnTo>
                  <a:lnTo>
                    <a:pt x="582" y="42"/>
                  </a:lnTo>
                  <a:lnTo>
                    <a:pt x="624" y="6"/>
                  </a:lnTo>
                  <a:lnTo>
                    <a:pt x="648" y="0"/>
                  </a:lnTo>
                  <a:lnTo>
                    <a:pt x="678" y="0"/>
                  </a:lnTo>
                  <a:lnTo>
                    <a:pt x="720" y="12"/>
                  </a:lnTo>
                  <a:lnTo>
                    <a:pt x="744" y="24"/>
                  </a:lnTo>
                  <a:lnTo>
                    <a:pt x="768" y="42"/>
                  </a:lnTo>
                  <a:lnTo>
                    <a:pt x="816" y="48"/>
                  </a:lnTo>
                  <a:lnTo>
                    <a:pt x="834" y="48"/>
                  </a:lnTo>
                  <a:lnTo>
                    <a:pt x="852" y="54"/>
                  </a:lnTo>
                  <a:lnTo>
                    <a:pt x="906" y="60"/>
                  </a:lnTo>
                  <a:lnTo>
                    <a:pt x="948" y="54"/>
                  </a:lnTo>
                  <a:lnTo>
                    <a:pt x="978" y="42"/>
                  </a:lnTo>
                  <a:lnTo>
                    <a:pt x="984" y="48"/>
                  </a:lnTo>
                  <a:lnTo>
                    <a:pt x="990" y="60"/>
                  </a:lnTo>
                  <a:lnTo>
                    <a:pt x="996" y="66"/>
                  </a:lnTo>
                  <a:lnTo>
                    <a:pt x="1002" y="72"/>
                  </a:lnTo>
                  <a:lnTo>
                    <a:pt x="1014" y="78"/>
                  </a:lnTo>
                  <a:lnTo>
                    <a:pt x="1014" y="84"/>
                  </a:lnTo>
                  <a:lnTo>
                    <a:pt x="1032" y="84"/>
                  </a:lnTo>
                  <a:lnTo>
                    <a:pt x="1032" y="90"/>
                  </a:lnTo>
                  <a:lnTo>
                    <a:pt x="1032" y="96"/>
                  </a:lnTo>
                  <a:lnTo>
                    <a:pt x="1032" y="108"/>
                  </a:lnTo>
                  <a:lnTo>
                    <a:pt x="1056" y="126"/>
                  </a:lnTo>
                  <a:lnTo>
                    <a:pt x="1068" y="138"/>
                  </a:lnTo>
                  <a:lnTo>
                    <a:pt x="1068" y="156"/>
                  </a:lnTo>
                  <a:lnTo>
                    <a:pt x="1080" y="150"/>
                  </a:lnTo>
                  <a:lnTo>
                    <a:pt x="1086" y="150"/>
                  </a:lnTo>
                  <a:lnTo>
                    <a:pt x="1092" y="156"/>
                  </a:lnTo>
                  <a:lnTo>
                    <a:pt x="1092" y="162"/>
                  </a:lnTo>
                  <a:lnTo>
                    <a:pt x="1092" y="168"/>
                  </a:lnTo>
                  <a:lnTo>
                    <a:pt x="1098" y="168"/>
                  </a:lnTo>
                  <a:lnTo>
                    <a:pt x="1092" y="180"/>
                  </a:lnTo>
                  <a:lnTo>
                    <a:pt x="1092" y="186"/>
                  </a:lnTo>
                  <a:lnTo>
                    <a:pt x="1086" y="192"/>
                  </a:lnTo>
                  <a:lnTo>
                    <a:pt x="1068" y="210"/>
                  </a:lnTo>
                  <a:lnTo>
                    <a:pt x="1068" y="216"/>
                  </a:lnTo>
                  <a:lnTo>
                    <a:pt x="1074" y="228"/>
                  </a:lnTo>
                  <a:lnTo>
                    <a:pt x="1092" y="234"/>
                  </a:lnTo>
                  <a:lnTo>
                    <a:pt x="1122" y="216"/>
                  </a:lnTo>
                  <a:lnTo>
                    <a:pt x="1188" y="204"/>
                  </a:lnTo>
                  <a:lnTo>
                    <a:pt x="1212" y="204"/>
                  </a:lnTo>
                  <a:lnTo>
                    <a:pt x="1230" y="198"/>
                  </a:lnTo>
                  <a:lnTo>
                    <a:pt x="1236" y="204"/>
                  </a:lnTo>
                  <a:lnTo>
                    <a:pt x="1242" y="210"/>
                  </a:lnTo>
                  <a:lnTo>
                    <a:pt x="1242" y="204"/>
                  </a:lnTo>
                  <a:lnTo>
                    <a:pt x="1248" y="198"/>
                  </a:lnTo>
                  <a:lnTo>
                    <a:pt x="1308" y="204"/>
                  </a:lnTo>
                  <a:lnTo>
                    <a:pt x="1338" y="204"/>
                  </a:lnTo>
                  <a:lnTo>
                    <a:pt x="1374" y="228"/>
                  </a:lnTo>
                  <a:lnTo>
                    <a:pt x="1380" y="234"/>
                  </a:lnTo>
                  <a:lnTo>
                    <a:pt x="1380" y="240"/>
                  </a:lnTo>
                  <a:lnTo>
                    <a:pt x="1386" y="252"/>
                  </a:lnTo>
                  <a:lnTo>
                    <a:pt x="1392" y="252"/>
                  </a:lnTo>
                  <a:lnTo>
                    <a:pt x="1416" y="270"/>
                  </a:lnTo>
                  <a:lnTo>
                    <a:pt x="1428" y="294"/>
                  </a:lnTo>
                  <a:lnTo>
                    <a:pt x="1440" y="312"/>
                  </a:lnTo>
                  <a:lnTo>
                    <a:pt x="1452" y="330"/>
                  </a:lnTo>
                  <a:lnTo>
                    <a:pt x="1464" y="330"/>
                  </a:lnTo>
                  <a:lnTo>
                    <a:pt x="1464" y="336"/>
                  </a:lnTo>
                  <a:lnTo>
                    <a:pt x="1470" y="336"/>
                  </a:lnTo>
                  <a:lnTo>
                    <a:pt x="1470" y="342"/>
                  </a:lnTo>
                  <a:lnTo>
                    <a:pt x="1476" y="342"/>
                  </a:lnTo>
                  <a:lnTo>
                    <a:pt x="1488" y="336"/>
                  </a:lnTo>
                  <a:lnTo>
                    <a:pt x="1494" y="342"/>
                  </a:lnTo>
                  <a:lnTo>
                    <a:pt x="1500" y="342"/>
                  </a:lnTo>
                  <a:lnTo>
                    <a:pt x="1512" y="366"/>
                  </a:lnTo>
                  <a:lnTo>
                    <a:pt x="1530" y="396"/>
                  </a:lnTo>
                  <a:lnTo>
                    <a:pt x="1536" y="444"/>
                  </a:lnTo>
                  <a:lnTo>
                    <a:pt x="1530" y="480"/>
                  </a:lnTo>
                  <a:lnTo>
                    <a:pt x="1506" y="510"/>
                  </a:lnTo>
                  <a:lnTo>
                    <a:pt x="1500" y="546"/>
                  </a:lnTo>
                  <a:lnTo>
                    <a:pt x="1494" y="564"/>
                  </a:lnTo>
                  <a:lnTo>
                    <a:pt x="1494" y="576"/>
                  </a:lnTo>
                  <a:lnTo>
                    <a:pt x="1500" y="582"/>
                  </a:lnTo>
                  <a:lnTo>
                    <a:pt x="1494" y="612"/>
                  </a:lnTo>
                  <a:lnTo>
                    <a:pt x="1476" y="630"/>
                  </a:lnTo>
                  <a:lnTo>
                    <a:pt x="1434" y="672"/>
                  </a:lnTo>
                  <a:lnTo>
                    <a:pt x="1392" y="756"/>
                  </a:lnTo>
                  <a:lnTo>
                    <a:pt x="1380" y="792"/>
                  </a:lnTo>
                  <a:lnTo>
                    <a:pt x="1374" y="798"/>
                  </a:lnTo>
                  <a:lnTo>
                    <a:pt x="1368" y="798"/>
                  </a:lnTo>
                  <a:lnTo>
                    <a:pt x="1380" y="804"/>
                  </a:lnTo>
                  <a:lnTo>
                    <a:pt x="1386" y="804"/>
                  </a:lnTo>
                  <a:lnTo>
                    <a:pt x="1380" y="822"/>
                  </a:lnTo>
                  <a:lnTo>
                    <a:pt x="1380" y="852"/>
                  </a:lnTo>
                  <a:lnTo>
                    <a:pt x="1374" y="858"/>
                  </a:lnTo>
                  <a:lnTo>
                    <a:pt x="1380" y="858"/>
                  </a:lnTo>
                  <a:lnTo>
                    <a:pt x="1374" y="864"/>
                  </a:lnTo>
                  <a:lnTo>
                    <a:pt x="1374" y="870"/>
                  </a:lnTo>
                  <a:lnTo>
                    <a:pt x="1374" y="876"/>
                  </a:lnTo>
                  <a:lnTo>
                    <a:pt x="1368" y="900"/>
                  </a:lnTo>
                  <a:lnTo>
                    <a:pt x="1362" y="906"/>
                  </a:lnTo>
                  <a:lnTo>
                    <a:pt x="1362" y="918"/>
                  </a:lnTo>
                  <a:lnTo>
                    <a:pt x="1362" y="924"/>
                  </a:lnTo>
                  <a:lnTo>
                    <a:pt x="1356" y="942"/>
                  </a:lnTo>
                  <a:lnTo>
                    <a:pt x="1350" y="972"/>
                  </a:lnTo>
                  <a:lnTo>
                    <a:pt x="1350" y="1014"/>
                  </a:lnTo>
                  <a:lnTo>
                    <a:pt x="1350" y="10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3" name="Freeform 18">
              <a:extLst>
                <a:ext uri="{FF2B5EF4-FFF2-40B4-BE49-F238E27FC236}">
                  <a16:creationId xmlns:a16="http://schemas.microsoft.com/office/drawing/2014/main" id="{EC11F2E0-3C06-46E2-8AD2-66EBE00FFE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32346" y="3837389"/>
              <a:ext cx="556811" cy="818559"/>
            </a:xfrm>
            <a:custGeom>
              <a:avLst/>
              <a:gdLst>
                <a:gd name="T0" fmla="*/ 12 w 1044"/>
                <a:gd name="T1" fmla="*/ 95 h 1542"/>
                <a:gd name="T2" fmla="*/ 7 w 1044"/>
                <a:gd name="T3" fmla="*/ 93 h 1542"/>
                <a:gd name="T4" fmla="*/ 0 w 1044"/>
                <a:gd name="T5" fmla="*/ 88 h 1542"/>
                <a:gd name="T6" fmla="*/ 3 w 1044"/>
                <a:gd name="T7" fmla="*/ 74 h 1542"/>
                <a:gd name="T8" fmla="*/ 4 w 1044"/>
                <a:gd name="T9" fmla="*/ 59 h 1542"/>
                <a:gd name="T10" fmla="*/ 7 w 1044"/>
                <a:gd name="T11" fmla="*/ 52 h 1542"/>
                <a:gd name="T12" fmla="*/ 20 w 1044"/>
                <a:gd name="T13" fmla="*/ 50 h 1542"/>
                <a:gd name="T14" fmla="*/ 24 w 1044"/>
                <a:gd name="T15" fmla="*/ 46 h 1542"/>
                <a:gd name="T16" fmla="*/ 29 w 1044"/>
                <a:gd name="T17" fmla="*/ 33 h 1542"/>
                <a:gd name="T18" fmla="*/ 32 w 1044"/>
                <a:gd name="T19" fmla="*/ 26 h 1542"/>
                <a:gd name="T20" fmla="*/ 30 w 1044"/>
                <a:gd name="T21" fmla="*/ 20 h 1542"/>
                <a:gd name="T22" fmla="*/ 26 w 1044"/>
                <a:gd name="T23" fmla="*/ 17 h 1542"/>
                <a:gd name="T24" fmla="*/ 28 w 1044"/>
                <a:gd name="T25" fmla="*/ 12 h 1542"/>
                <a:gd name="T26" fmla="*/ 44 w 1044"/>
                <a:gd name="T27" fmla="*/ 5 h 1542"/>
                <a:gd name="T28" fmla="*/ 57 w 1044"/>
                <a:gd name="T29" fmla="*/ 2 h 1542"/>
                <a:gd name="T30" fmla="*/ 65 w 1044"/>
                <a:gd name="T31" fmla="*/ 12 h 1542"/>
                <a:gd name="T32" fmla="*/ 81 w 1044"/>
                <a:gd name="T33" fmla="*/ 9 h 1542"/>
                <a:gd name="T34" fmla="*/ 91 w 1044"/>
                <a:gd name="T35" fmla="*/ 20 h 1542"/>
                <a:gd name="T36" fmla="*/ 89 w 1044"/>
                <a:gd name="T37" fmla="*/ 28 h 1542"/>
                <a:gd name="T38" fmla="*/ 83 w 1044"/>
                <a:gd name="T39" fmla="*/ 33 h 1542"/>
                <a:gd name="T40" fmla="*/ 74 w 1044"/>
                <a:gd name="T41" fmla="*/ 42 h 1542"/>
                <a:gd name="T42" fmla="*/ 58 w 1044"/>
                <a:gd name="T43" fmla="*/ 57 h 1542"/>
                <a:gd name="T44" fmla="*/ 54 w 1044"/>
                <a:gd name="T45" fmla="*/ 65 h 1542"/>
                <a:gd name="T46" fmla="*/ 59 w 1044"/>
                <a:gd name="T47" fmla="*/ 74 h 1542"/>
                <a:gd name="T48" fmla="*/ 55 w 1044"/>
                <a:gd name="T49" fmla="*/ 84 h 1542"/>
                <a:gd name="T50" fmla="*/ 52 w 1044"/>
                <a:gd name="T51" fmla="*/ 98 h 1542"/>
                <a:gd name="T52" fmla="*/ 47 w 1044"/>
                <a:gd name="T53" fmla="*/ 105 h 1542"/>
                <a:gd name="T54" fmla="*/ 42 w 1044"/>
                <a:gd name="T55" fmla="*/ 111 h 1542"/>
                <a:gd name="T56" fmla="*/ 43 w 1044"/>
                <a:gd name="T57" fmla="*/ 120 h 1542"/>
                <a:gd name="T58" fmla="*/ 45 w 1044"/>
                <a:gd name="T59" fmla="*/ 125 h 1542"/>
                <a:gd name="T60" fmla="*/ 44 w 1044"/>
                <a:gd name="T61" fmla="*/ 130 h 1542"/>
                <a:gd name="T62" fmla="*/ 45 w 1044"/>
                <a:gd name="T63" fmla="*/ 131 h 1542"/>
                <a:gd name="T64" fmla="*/ 48 w 1044"/>
                <a:gd name="T65" fmla="*/ 133 h 1542"/>
                <a:gd name="T66" fmla="*/ 39 w 1044"/>
                <a:gd name="T67" fmla="*/ 133 h 1542"/>
                <a:gd name="T68" fmla="*/ 42 w 1044"/>
                <a:gd name="T69" fmla="*/ 132 h 1542"/>
                <a:gd name="T70" fmla="*/ 38 w 1044"/>
                <a:gd name="T71" fmla="*/ 133 h 1542"/>
                <a:gd name="T72" fmla="*/ 37 w 1044"/>
                <a:gd name="T73" fmla="*/ 129 h 1542"/>
                <a:gd name="T74" fmla="*/ 40 w 1044"/>
                <a:gd name="T75" fmla="*/ 125 h 1542"/>
                <a:gd name="T76" fmla="*/ 40 w 1044"/>
                <a:gd name="T77" fmla="*/ 120 h 1542"/>
                <a:gd name="T78" fmla="*/ 40 w 1044"/>
                <a:gd name="T79" fmla="*/ 117 h 1542"/>
                <a:gd name="T80" fmla="*/ 37 w 1044"/>
                <a:gd name="T81" fmla="*/ 120 h 1542"/>
                <a:gd name="T82" fmla="*/ 34 w 1044"/>
                <a:gd name="T83" fmla="*/ 122 h 1542"/>
                <a:gd name="T84" fmla="*/ 36 w 1044"/>
                <a:gd name="T85" fmla="*/ 120 h 1542"/>
                <a:gd name="T86" fmla="*/ 30 w 1044"/>
                <a:gd name="T87" fmla="*/ 120 h 1542"/>
                <a:gd name="T88" fmla="*/ 31 w 1044"/>
                <a:gd name="T89" fmla="*/ 113 h 1542"/>
                <a:gd name="T90" fmla="*/ 29 w 1044"/>
                <a:gd name="T91" fmla="*/ 112 h 1542"/>
                <a:gd name="T92" fmla="*/ 31 w 1044"/>
                <a:gd name="T93" fmla="*/ 117 h 1542"/>
                <a:gd name="T94" fmla="*/ 27 w 1044"/>
                <a:gd name="T95" fmla="*/ 116 h 1542"/>
                <a:gd name="T96" fmla="*/ 25 w 1044"/>
                <a:gd name="T97" fmla="*/ 112 h 1542"/>
                <a:gd name="T98" fmla="*/ 21 w 1044"/>
                <a:gd name="T99" fmla="*/ 109 h 1542"/>
                <a:gd name="T100" fmla="*/ 21 w 1044"/>
                <a:gd name="T101" fmla="*/ 113 h 1542"/>
                <a:gd name="T102" fmla="*/ 40 w 1044"/>
                <a:gd name="T103" fmla="*/ 120 h 1542"/>
                <a:gd name="T104" fmla="*/ 40 w 1044"/>
                <a:gd name="T105" fmla="*/ 121 h 1542"/>
                <a:gd name="T106" fmla="*/ 40 w 1044"/>
                <a:gd name="T107" fmla="*/ 116 h 1542"/>
                <a:gd name="T108" fmla="*/ 38 w 1044"/>
                <a:gd name="T109" fmla="*/ 120 h 1542"/>
                <a:gd name="T110" fmla="*/ 23 w 1044"/>
                <a:gd name="T111" fmla="*/ 110 h 1542"/>
                <a:gd name="T112" fmla="*/ 37 w 1044"/>
                <a:gd name="T113" fmla="*/ 124 h 1542"/>
                <a:gd name="T114" fmla="*/ 40 w 1044"/>
                <a:gd name="T115" fmla="*/ 125 h 1542"/>
                <a:gd name="T116" fmla="*/ 38 w 1044"/>
                <a:gd name="T117" fmla="*/ 128 h 1542"/>
                <a:gd name="T118" fmla="*/ 25 w 1044"/>
                <a:gd name="T119" fmla="*/ 117 h 1542"/>
                <a:gd name="T120" fmla="*/ 27 w 1044"/>
                <a:gd name="T121" fmla="*/ 127 h 1542"/>
                <a:gd name="T122" fmla="*/ 24 w 1044"/>
                <a:gd name="T123" fmla="*/ 113 h 15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4"/>
                <a:gd name="T187" fmla="*/ 0 h 1542"/>
                <a:gd name="T188" fmla="*/ 1044 w 1044"/>
                <a:gd name="T189" fmla="*/ 1542 h 154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4" h="1542">
                  <a:moveTo>
                    <a:pt x="234" y="1278"/>
                  </a:moveTo>
                  <a:lnTo>
                    <a:pt x="228" y="1272"/>
                  </a:lnTo>
                  <a:lnTo>
                    <a:pt x="222" y="1266"/>
                  </a:lnTo>
                  <a:lnTo>
                    <a:pt x="222" y="1260"/>
                  </a:lnTo>
                  <a:lnTo>
                    <a:pt x="204" y="1248"/>
                  </a:lnTo>
                  <a:lnTo>
                    <a:pt x="192" y="1248"/>
                  </a:lnTo>
                  <a:lnTo>
                    <a:pt x="186" y="1236"/>
                  </a:lnTo>
                  <a:lnTo>
                    <a:pt x="174" y="1218"/>
                  </a:lnTo>
                  <a:lnTo>
                    <a:pt x="162" y="1194"/>
                  </a:lnTo>
                  <a:lnTo>
                    <a:pt x="156" y="1182"/>
                  </a:lnTo>
                  <a:lnTo>
                    <a:pt x="162" y="1146"/>
                  </a:lnTo>
                  <a:lnTo>
                    <a:pt x="156" y="1134"/>
                  </a:lnTo>
                  <a:lnTo>
                    <a:pt x="138" y="1122"/>
                  </a:lnTo>
                  <a:lnTo>
                    <a:pt x="132" y="1116"/>
                  </a:lnTo>
                  <a:lnTo>
                    <a:pt x="138" y="1098"/>
                  </a:lnTo>
                  <a:lnTo>
                    <a:pt x="138" y="1092"/>
                  </a:lnTo>
                  <a:lnTo>
                    <a:pt x="138" y="1086"/>
                  </a:lnTo>
                  <a:lnTo>
                    <a:pt x="132" y="1074"/>
                  </a:lnTo>
                  <a:lnTo>
                    <a:pt x="126" y="1074"/>
                  </a:lnTo>
                  <a:lnTo>
                    <a:pt x="126" y="1068"/>
                  </a:lnTo>
                  <a:lnTo>
                    <a:pt x="120" y="1062"/>
                  </a:lnTo>
                  <a:lnTo>
                    <a:pt x="120" y="1056"/>
                  </a:lnTo>
                  <a:lnTo>
                    <a:pt x="114" y="1050"/>
                  </a:lnTo>
                  <a:lnTo>
                    <a:pt x="108" y="1050"/>
                  </a:lnTo>
                  <a:lnTo>
                    <a:pt x="102" y="1056"/>
                  </a:lnTo>
                  <a:lnTo>
                    <a:pt x="102" y="1062"/>
                  </a:lnTo>
                  <a:lnTo>
                    <a:pt x="96" y="1062"/>
                  </a:lnTo>
                  <a:lnTo>
                    <a:pt x="96" y="1068"/>
                  </a:lnTo>
                  <a:lnTo>
                    <a:pt x="96" y="1074"/>
                  </a:lnTo>
                  <a:lnTo>
                    <a:pt x="90" y="1074"/>
                  </a:lnTo>
                  <a:lnTo>
                    <a:pt x="84" y="1080"/>
                  </a:lnTo>
                  <a:lnTo>
                    <a:pt x="78" y="1074"/>
                  </a:lnTo>
                  <a:lnTo>
                    <a:pt x="72" y="1074"/>
                  </a:lnTo>
                  <a:lnTo>
                    <a:pt x="72" y="1068"/>
                  </a:lnTo>
                  <a:lnTo>
                    <a:pt x="72" y="1062"/>
                  </a:lnTo>
                  <a:lnTo>
                    <a:pt x="60" y="1056"/>
                  </a:lnTo>
                  <a:lnTo>
                    <a:pt x="60" y="1044"/>
                  </a:lnTo>
                  <a:lnTo>
                    <a:pt x="60" y="1032"/>
                  </a:lnTo>
                  <a:lnTo>
                    <a:pt x="60" y="1026"/>
                  </a:lnTo>
                  <a:lnTo>
                    <a:pt x="54" y="1026"/>
                  </a:lnTo>
                  <a:lnTo>
                    <a:pt x="48" y="1014"/>
                  </a:lnTo>
                  <a:lnTo>
                    <a:pt x="42" y="1008"/>
                  </a:lnTo>
                  <a:lnTo>
                    <a:pt x="30" y="1008"/>
                  </a:lnTo>
                  <a:lnTo>
                    <a:pt x="30" y="1002"/>
                  </a:lnTo>
                  <a:lnTo>
                    <a:pt x="24" y="1008"/>
                  </a:lnTo>
                  <a:lnTo>
                    <a:pt x="12" y="1008"/>
                  </a:lnTo>
                  <a:lnTo>
                    <a:pt x="6" y="1008"/>
                  </a:lnTo>
                  <a:lnTo>
                    <a:pt x="0" y="1008"/>
                  </a:lnTo>
                  <a:lnTo>
                    <a:pt x="0" y="1002"/>
                  </a:lnTo>
                  <a:lnTo>
                    <a:pt x="6" y="990"/>
                  </a:lnTo>
                  <a:lnTo>
                    <a:pt x="6" y="984"/>
                  </a:lnTo>
                  <a:lnTo>
                    <a:pt x="0" y="978"/>
                  </a:lnTo>
                  <a:lnTo>
                    <a:pt x="6" y="972"/>
                  </a:lnTo>
                  <a:lnTo>
                    <a:pt x="12" y="972"/>
                  </a:lnTo>
                  <a:lnTo>
                    <a:pt x="72" y="978"/>
                  </a:lnTo>
                  <a:lnTo>
                    <a:pt x="78" y="972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30"/>
                  </a:lnTo>
                  <a:lnTo>
                    <a:pt x="54" y="912"/>
                  </a:lnTo>
                  <a:lnTo>
                    <a:pt x="42" y="906"/>
                  </a:lnTo>
                  <a:lnTo>
                    <a:pt x="36" y="894"/>
                  </a:lnTo>
                  <a:lnTo>
                    <a:pt x="30" y="876"/>
                  </a:lnTo>
                  <a:lnTo>
                    <a:pt x="30" y="858"/>
                  </a:lnTo>
                  <a:lnTo>
                    <a:pt x="30" y="840"/>
                  </a:lnTo>
                  <a:lnTo>
                    <a:pt x="36" y="816"/>
                  </a:lnTo>
                  <a:lnTo>
                    <a:pt x="36" y="792"/>
                  </a:lnTo>
                  <a:lnTo>
                    <a:pt x="36" y="780"/>
                  </a:lnTo>
                  <a:lnTo>
                    <a:pt x="12" y="774"/>
                  </a:lnTo>
                  <a:lnTo>
                    <a:pt x="24" y="756"/>
                  </a:lnTo>
                  <a:lnTo>
                    <a:pt x="24" y="744"/>
                  </a:lnTo>
                  <a:lnTo>
                    <a:pt x="30" y="738"/>
                  </a:lnTo>
                  <a:lnTo>
                    <a:pt x="30" y="732"/>
                  </a:lnTo>
                  <a:lnTo>
                    <a:pt x="36" y="720"/>
                  </a:lnTo>
                  <a:lnTo>
                    <a:pt x="42" y="714"/>
                  </a:lnTo>
                  <a:lnTo>
                    <a:pt x="54" y="708"/>
                  </a:lnTo>
                  <a:lnTo>
                    <a:pt x="60" y="702"/>
                  </a:lnTo>
                  <a:lnTo>
                    <a:pt x="48" y="690"/>
                  </a:lnTo>
                  <a:lnTo>
                    <a:pt x="48" y="684"/>
                  </a:lnTo>
                  <a:lnTo>
                    <a:pt x="48" y="678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66"/>
                  </a:lnTo>
                  <a:lnTo>
                    <a:pt x="72" y="654"/>
                  </a:lnTo>
                  <a:lnTo>
                    <a:pt x="72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84" y="630"/>
                  </a:lnTo>
                  <a:lnTo>
                    <a:pt x="90" y="630"/>
                  </a:lnTo>
                  <a:lnTo>
                    <a:pt x="96" y="630"/>
                  </a:lnTo>
                  <a:lnTo>
                    <a:pt x="96" y="624"/>
                  </a:lnTo>
                  <a:lnTo>
                    <a:pt x="90" y="624"/>
                  </a:lnTo>
                  <a:lnTo>
                    <a:pt x="84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90" y="600"/>
                  </a:lnTo>
                  <a:lnTo>
                    <a:pt x="84" y="600"/>
                  </a:lnTo>
                  <a:lnTo>
                    <a:pt x="78" y="594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126" y="564"/>
                  </a:lnTo>
                  <a:lnTo>
                    <a:pt x="144" y="564"/>
                  </a:lnTo>
                  <a:lnTo>
                    <a:pt x="156" y="582"/>
                  </a:lnTo>
                  <a:lnTo>
                    <a:pt x="162" y="600"/>
                  </a:lnTo>
                  <a:lnTo>
                    <a:pt x="180" y="588"/>
                  </a:lnTo>
                  <a:lnTo>
                    <a:pt x="192" y="588"/>
                  </a:lnTo>
                  <a:lnTo>
                    <a:pt x="198" y="588"/>
                  </a:lnTo>
                  <a:lnTo>
                    <a:pt x="210" y="582"/>
                  </a:lnTo>
                  <a:lnTo>
                    <a:pt x="216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58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46" y="558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58" y="570"/>
                  </a:lnTo>
                  <a:lnTo>
                    <a:pt x="264" y="570"/>
                  </a:lnTo>
                  <a:lnTo>
                    <a:pt x="270" y="564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46"/>
                  </a:lnTo>
                  <a:lnTo>
                    <a:pt x="276" y="540"/>
                  </a:lnTo>
                  <a:lnTo>
                    <a:pt x="276" y="534"/>
                  </a:lnTo>
                  <a:lnTo>
                    <a:pt x="276" y="528"/>
                  </a:lnTo>
                  <a:lnTo>
                    <a:pt x="282" y="528"/>
                  </a:lnTo>
                  <a:lnTo>
                    <a:pt x="282" y="522"/>
                  </a:lnTo>
                  <a:lnTo>
                    <a:pt x="282" y="516"/>
                  </a:lnTo>
                  <a:lnTo>
                    <a:pt x="282" y="510"/>
                  </a:lnTo>
                  <a:lnTo>
                    <a:pt x="282" y="504"/>
                  </a:lnTo>
                  <a:lnTo>
                    <a:pt x="282" y="492"/>
                  </a:lnTo>
                  <a:lnTo>
                    <a:pt x="288" y="486"/>
                  </a:lnTo>
                  <a:lnTo>
                    <a:pt x="300" y="480"/>
                  </a:lnTo>
                  <a:lnTo>
                    <a:pt x="306" y="462"/>
                  </a:lnTo>
                  <a:lnTo>
                    <a:pt x="318" y="444"/>
                  </a:lnTo>
                  <a:lnTo>
                    <a:pt x="330" y="444"/>
                  </a:lnTo>
                  <a:lnTo>
                    <a:pt x="330" y="432"/>
                  </a:lnTo>
                  <a:lnTo>
                    <a:pt x="342" y="432"/>
                  </a:lnTo>
                  <a:lnTo>
                    <a:pt x="354" y="402"/>
                  </a:lnTo>
                  <a:lnTo>
                    <a:pt x="348" y="390"/>
                  </a:lnTo>
                  <a:lnTo>
                    <a:pt x="336" y="384"/>
                  </a:lnTo>
                  <a:lnTo>
                    <a:pt x="336" y="360"/>
                  </a:lnTo>
                  <a:lnTo>
                    <a:pt x="336" y="354"/>
                  </a:lnTo>
                  <a:lnTo>
                    <a:pt x="336" y="342"/>
                  </a:lnTo>
                  <a:lnTo>
                    <a:pt x="342" y="336"/>
                  </a:lnTo>
                  <a:lnTo>
                    <a:pt x="342" y="324"/>
                  </a:lnTo>
                  <a:lnTo>
                    <a:pt x="372" y="324"/>
                  </a:lnTo>
                  <a:lnTo>
                    <a:pt x="378" y="324"/>
                  </a:lnTo>
                  <a:lnTo>
                    <a:pt x="378" y="318"/>
                  </a:lnTo>
                  <a:lnTo>
                    <a:pt x="372" y="312"/>
                  </a:lnTo>
                  <a:lnTo>
                    <a:pt x="378" y="312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84" y="300"/>
                  </a:lnTo>
                  <a:lnTo>
                    <a:pt x="384" y="294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66" y="294"/>
                  </a:lnTo>
                  <a:lnTo>
                    <a:pt x="366" y="288"/>
                  </a:lnTo>
                  <a:lnTo>
                    <a:pt x="372" y="288"/>
                  </a:lnTo>
                  <a:lnTo>
                    <a:pt x="372" y="282"/>
                  </a:lnTo>
                  <a:lnTo>
                    <a:pt x="366" y="276"/>
                  </a:lnTo>
                  <a:lnTo>
                    <a:pt x="360" y="270"/>
                  </a:lnTo>
                  <a:lnTo>
                    <a:pt x="360" y="264"/>
                  </a:lnTo>
                  <a:lnTo>
                    <a:pt x="354" y="264"/>
                  </a:lnTo>
                  <a:lnTo>
                    <a:pt x="348" y="258"/>
                  </a:lnTo>
                  <a:lnTo>
                    <a:pt x="354" y="258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40"/>
                  </a:lnTo>
                  <a:lnTo>
                    <a:pt x="354" y="240"/>
                  </a:lnTo>
                  <a:lnTo>
                    <a:pt x="342" y="234"/>
                  </a:lnTo>
                  <a:lnTo>
                    <a:pt x="342" y="228"/>
                  </a:lnTo>
                  <a:lnTo>
                    <a:pt x="348" y="228"/>
                  </a:lnTo>
                  <a:lnTo>
                    <a:pt x="342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6" y="216"/>
                  </a:lnTo>
                  <a:lnTo>
                    <a:pt x="330" y="222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24" y="210"/>
                  </a:lnTo>
                  <a:lnTo>
                    <a:pt x="318" y="210"/>
                  </a:lnTo>
                  <a:lnTo>
                    <a:pt x="318" y="204"/>
                  </a:lnTo>
                  <a:lnTo>
                    <a:pt x="312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294" y="192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300" y="174"/>
                  </a:lnTo>
                  <a:lnTo>
                    <a:pt x="300" y="168"/>
                  </a:lnTo>
                  <a:lnTo>
                    <a:pt x="300" y="162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88" y="150"/>
                  </a:lnTo>
                  <a:lnTo>
                    <a:pt x="288" y="144"/>
                  </a:lnTo>
                  <a:lnTo>
                    <a:pt x="282" y="144"/>
                  </a:lnTo>
                  <a:lnTo>
                    <a:pt x="282" y="138"/>
                  </a:lnTo>
                  <a:lnTo>
                    <a:pt x="312" y="132"/>
                  </a:lnTo>
                  <a:lnTo>
                    <a:pt x="324" y="120"/>
                  </a:lnTo>
                  <a:lnTo>
                    <a:pt x="330" y="114"/>
                  </a:lnTo>
                  <a:lnTo>
                    <a:pt x="336" y="102"/>
                  </a:lnTo>
                  <a:lnTo>
                    <a:pt x="348" y="90"/>
                  </a:lnTo>
                  <a:lnTo>
                    <a:pt x="360" y="84"/>
                  </a:lnTo>
                  <a:lnTo>
                    <a:pt x="372" y="84"/>
                  </a:lnTo>
                  <a:lnTo>
                    <a:pt x="378" y="84"/>
                  </a:lnTo>
                  <a:lnTo>
                    <a:pt x="384" y="90"/>
                  </a:lnTo>
                  <a:lnTo>
                    <a:pt x="402" y="90"/>
                  </a:lnTo>
                  <a:lnTo>
                    <a:pt x="438" y="84"/>
                  </a:lnTo>
                  <a:lnTo>
                    <a:pt x="456" y="84"/>
                  </a:lnTo>
                  <a:lnTo>
                    <a:pt x="462" y="78"/>
                  </a:lnTo>
                  <a:lnTo>
                    <a:pt x="486" y="72"/>
                  </a:lnTo>
                  <a:lnTo>
                    <a:pt x="492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04" y="54"/>
                  </a:lnTo>
                  <a:lnTo>
                    <a:pt x="510" y="42"/>
                  </a:lnTo>
                  <a:lnTo>
                    <a:pt x="504" y="42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498" y="30"/>
                  </a:lnTo>
                  <a:lnTo>
                    <a:pt x="492" y="30"/>
                  </a:lnTo>
                  <a:lnTo>
                    <a:pt x="492" y="24"/>
                  </a:lnTo>
                  <a:lnTo>
                    <a:pt x="486" y="18"/>
                  </a:lnTo>
                  <a:lnTo>
                    <a:pt x="498" y="18"/>
                  </a:lnTo>
                  <a:lnTo>
                    <a:pt x="510" y="18"/>
                  </a:lnTo>
                  <a:lnTo>
                    <a:pt x="522" y="12"/>
                  </a:lnTo>
                  <a:lnTo>
                    <a:pt x="528" y="6"/>
                  </a:lnTo>
                  <a:lnTo>
                    <a:pt x="570" y="0"/>
                  </a:lnTo>
                  <a:lnTo>
                    <a:pt x="606" y="6"/>
                  </a:lnTo>
                  <a:lnTo>
                    <a:pt x="654" y="24"/>
                  </a:lnTo>
                  <a:lnTo>
                    <a:pt x="666" y="36"/>
                  </a:lnTo>
                  <a:lnTo>
                    <a:pt x="672" y="30"/>
                  </a:lnTo>
                  <a:lnTo>
                    <a:pt x="690" y="42"/>
                  </a:lnTo>
                  <a:lnTo>
                    <a:pt x="702" y="48"/>
                  </a:lnTo>
                  <a:lnTo>
                    <a:pt x="714" y="60"/>
                  </a:lnTo>
                  <a:lnTo>
                    <a:pt x="714" y="66"/>
                  </a:lnTo>
                  <a:lnTo>
                    <a:pt x="720" y="72"/>
                  </a:lnTo>
                  <a:lnTo>
                    <a:pt x="720" y="78"/>
                  </a:lnTo>
                  <a:lnTo>
                    <a:pt x="720" y="102"/>
                  </a:lnTo>
                  <a:lnTo>
                    <a:pt x="720" y="108"/>
                  </a:lnTo>
                  <a:lnTo>
                    <a:pt x="714" y="108"/>
                  </a:lnTo>
                  <a:lnTo>
                    <a:pt x="714" y="126"/>
                  </a:lnTo>
                  <a:lnTo>
                    <a:pt x="732" y="126"/>
                  </a:lnTo>
                  <a:lnTo>
                    <a:pt x="726" y="132"/>
                  </a:lnTo>
                  <a:lnTo>
                    <a:pt x="738" y="132"/>
                  </a:lnTo>
                  <a:lnTo>
                    <a:pt x="738" y="138"/>
                  </a:lnTo>
                  <a:lnTo>
                    <a:pt x="738" y="144"/>
                  </a:lnTo>
                  <a:lnTo>
                    <a:pt x="744" y="144"/>
                  </a:lnTo>
                  <a:lnTo>
                    <a:pt x="744" y="150"/>
                  </a:lnTo>
                  <a:lnTo>
                    <a:pt x="756" y="156"/>
                  </a:lnTo>
                  <a:lnTo>
                    <a:pt x="768" y="156"/>
                  </a:lnTo>
                  <a:lnTo>
                    <a:pt x="780" y="156"/>
                  </a:lnTo>
                  <a:lnTo>
                    <a:pt x="792" y="150"/>
                  </a:lnTo>
                  <a:lnTo>
                    <a:pt x="786" y="150"/>
                  </a:lnTo>
                  <a:lnTo>
                    <a:pt x="786" y="144"/>
                  </a:lnTo>
                  <a:lnTo>
                    <a:pt x="804" y="144"/>
                  </a:lnTo>
                  <a:lnTo>
                    <a:pt x="816" y="132"/>
                  </a:lnTo>
                  <a:lnTo>
                    <a:pt x="822" y="126"/>
                  </a:lnTo>
                  <a:lnTo>
                    <a:pt x="828" y="132"/>
                  </a:lnTo>
                  <a:lnTo>
                    <a:pt x="834" y="126"/>
                  </a:lnTo>
                  <a:lnTo>
                    <a:pt x="834" y="120"/>
                  </a:lnTo>
                  <a:lnTo>
                    <a:pt x="924" y="108"/>
                  </a:lnTo>
                  <a:lnTo>
                    <a:pt x="942" y="144"/>
                  </a:lnTo>
                  <a:lnTo>
                    <a:pt x="948" y="144"/>
                  </a:lnTo>
                  <a:lnTo>
                    <a:pt x="960" y="168"/>
                  </a:lnTo>
                  <a:lnTo>
                    <a:pt x="972" y="186"/>
                  </a:lnTo>
                  <a:lnTo>
                    <a:pt x="984" y="192"/>
                  </a:lnTo>
                  <a:lnTo>
                    <a:pt x="996" y="192"/>
                  </a:lnTo>
                  <a:lnTo>
                    <a:pt x="996" y="198"/>
                  </a:lnTo>
                  <a:lnTo>
                    <a:pt x="1008" y="204"/>
                  </a:lnTo>
                  <a:lnTo>
                    <a:pt x="1008" y="210"/>
                  </a:lnTo>
                  <a:lnTo>
                    <a:pt x="1002" y="210"/>
                  </a:lnTo>
                  <a:lnTo>
                    <a:pt x="1008" y="216"/>
                  </a:lnTo>
                  <a:lnTo>
                    <a:pt x="1014" y="210"/>
                  </a:lnTo>
                  <a:lnTo>
                    <a:pt x="1014" y="216"/>
                  </a:lnTo>
                  <a:lnTo>
                    <a:pt x="1020" y="222"/>
                  </a:lnTo>
                  <a:lnTo>
                    <a:pt x="1014" y="228"/>
                  </a:lnTo>
                  <a:lnTo>
                    <a:pt x="1032" y="234"/>
                  </a:lnTo>
                  <a:lnTo>
                    <a:pt x="1044" y="240"/>
                  </a:lnTo>
                  <a:lnTo>
                    <a:pt x="1038" y="246"/>
                  </a:lnTo>
                  <a:lnTo>
                    <a:pt x="1038" y="252"/>
                  </a:lnTo>
                  <a:lnTo>
                    <a:pt x="1038" y="258"/>
                  </a:lnTo>
                  <a:lnTo>
                    <a:pt x="1032" y="264"/>
                  </a:lnTo>
                  <a:lnTo>
                    <a:pt x="1032" y="270"/>
                  </a:lnTo>
                  <a:lnTo>
                    <a:pt x="1032" y="276"/>
                  </a:lnTo>
                  <a:lnTo>
                    <a:pt x="1032" y="282"/>
                  </a:lnTo>
                  <a:lnTo>
                    <a:pt x="1026" y="282"/>
                  </a:lnTo>
                  <a:lnTo>
                    <a:pt x="1026" y="288"/>
                  </a:lnTo>
                  <a:lnTo>
                    <a:pt x="1026" y="294"/>
                  </a:lnTo>
                  <a:lnTo>
                    <a:pt x="1026" y="300"/>
                  </a:lnTo>
                  <a:lnTo>
                    <a:pt x="1026" y="306"/>
                  </a:lnTo>
                  <a:lnTo>
                    <a:pt x="1020" y="318"/>
                  </a:lnTo>
                  <a:lnTo>
                    <a:pt x="1020" y="324"/>
                  </a:lnTo>
                  <a:lnTo>
                    <a:pt x="1014" y="324"/>
                  </a:lnTo>
                  <a:lnTo>
                    <a:pt x="1014" y="330"/>
                  </a:lnTo>
                  <a:lnTo>
                    <a:pt x="1014" y="336"/>
                  </a:lnTo>
                  <a:lnTo>
                    <a:pt x="1008" y="366"/>
                  </a:lnTo>
                  <a:lnTo>
                    <a:pt x="1002" y="366"/>
                  </a:lnTo>
                  <a:lnTo>
                    <a:pt x="984" y="354"/>
                  </a:lnTo>
                  <a:lnTo>
                    <a:pt x="978" y="354"/>
                  </a:lnTo>
                  <a:lnTo>
                    <a:pt x="972" y="354"/>
                  </a:lnTo>
                  <a:lnTo>
                    <a:pt x="966" y="348"/>
                  </a:lnTo>
                  <a:lnTo>
                    <a:pt x="954" y="348"/>
                  </a:lnTo>
                  <a:lnTo>
                    <a:pt x="948" y="348"/>
                  </a:lnTo>
                  <a:lnTo>
                    <a:pt x="948" y="360"/>
                  </a:lnTo>
                  <a:lnTo>
                    <a:pt x="948" y="366"/>
                  </a:lnTo>
                  <a:lnTo>
                    <a:pt x="948" y="372"/>
                  </a:lnTo>
                  <a:lnTo>
                    <a:pt x="948" y="378"/>
                  </a:lnTo>
                  <a:lnTo>
                    <a:pt x="948" y="384"/>
                  </a:lnTo>
                  <a:lnTo>
                    <a:pt x="942" y="384"/>
                  </a:lnTo>
                  <a:lnTo>
                    <a:pt x="942" y="390"/>
                  </a:lnTo>
                  <a:lnTo>
                    <a:pt x="936" y="390"/>
                  </a:lnTo>
                  <a:lnTo>
                    <a:pt x="942" y="390"/>
                  </a:lnTo>
                  <a:lnTo>
                    <a:pt x="936" y="396"/>
                  </a:lnTo>
                  <a:lnTo>
                    <a:pt x="930" y="402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2" y="432"/>
                  </a:lnTo>
                  <a:lnTo>
                    <a:pt x="900" y="450"/>
                  </a:lnTo>
                  <a:lnTo>
                    <a:pt x="894" y="456"/>
                  </a:lnTo>
                  <a:lnTo>
                    <a:pt x="888" y="456"/>
                  </a:lnTo>
                  <a:lnTo>
                    <a:pt x="882" y="456"/>
                  </a:lnTo>
                  <a:lnTo>
                    <a:pt x="876" y="456"/>
                  </a:lnTo>
                  <a:lnTo>
                    <a:pt x="864" y="462"/>
                  </a:lnTo>
                  <a:lnTo>
                    <a:pt x="852" y="474"/>
                  </a:lnTo>
                  <a:lnTo>
                    <a:pt x="846" y="480"/>
                  </a:lnTo>
                  <a:lnTo>
                    <a:pt x="840" y="486"/>
                  </a:lnTo>
                  <a:lnTo>
                    <a:pt x="834" y="498"/>
                  </a:lnTo>
                  <a:lnTo>
                    <a:pt x="828" y="510"/>
                  </a:lnTo>
                  <a:lnTo>
                    <a:pt x="816" y="522"/>
                  </a:lnTo>
                  <a:lnTo>
                    <a:pt x="798" y="540"/>
                  </a:lnTo>
                  <a:lnTo>
                    <a:pt x="780" y="558"/>
                  </a:lnTo>
                  <a:lnTo>
                    <a:pt x="774" y="558"/>
                  </a:lnTo>
                  <a:lnTo>
                    <a:pt x="756" y="576"/>
                  </a:lnTo>
                  <a:lnTo>
                    <a:pt x="732" y="600"/>
                  </a:lnTo>
                  <a:lnTo>
                    <a:pt x="726" y="600"/>
                  </a:lnTo>
                  <a:lnTo>
                    <a:pt x="720" y="606"/>
                  </a:lnTo>
                  <a:lnTo>
                    <a:pt x="714" y="612"/>
                  </a:lnTo>
                  <a:lnTo>
                    <a:pt x="690" y="630"/>
                  </a:lnTo>
                  <a:lnTo>
                    <a:pt x="678" y="636"/>
                  </a:lnTo>
                  <a:lnTo>
                    <a:pt x="672" y="642"/>
                  </a:lnTo>
                  <a:lnTo>
                    <a:pt x="660" y="660"/>
                  </a:lnTo>
                  <a:lnTo>
                    <a:pt x="642" y="666"/>
                  </a:lnTo>
                  <a:lnTo>
                    <a:pt x="636" y="678"/>
                  </a:lnTo>
                  <a:lnTo>
                    <a:pt x="630" y="678"/>
                  </a:lnTo>
                  <a:lnTo>
                    <a:pt x="630" y="684"/>
                  </a:lnTo>
                  <a:lnTo>
                    <a:pt x="630" y="690"/>
                  </a:lnTo>
                  <a:lnTo>
                    <a:pt x="636" y="696"/>
                  </a:lnTo>
                  <a:lnTo>
                    <a:pt x="642" y="696"/>
                  </a:lnTo>
                  <a:lnTo>
                    <a:pt x="648" y="702"/>
                  </a:lnTo>
                  <a:lnTo>
                    <a:pt x="648" y="708"/>
                  </a:lnTo>
                  <a:lnTo>
                    <a:pt x="642" y="708"/>
                  </a:lnTo>
                  <a:lnTo>
                    <a:pt x="636" y="714"/>
                  </a:lnTo>
                  <a:lnTo>
                    <a:pt x="636" y="720"/>
                  </a:lnTo>
                  <a:lnTo>
                    <a:pt x="642" y="726"/>
                  </a:lnTo>
                  <a:lnTo>
                    <a:pt x="636" y="738"/>
                  </a:lnTo>
                  <a:lnTo>
                    <a:pt x="618" y="756"/>
                  </a:lnTo>
                  <a:lnTo>
                    <a:pt x="612" y="750"/>
                  </a:lnTo>
                  <a:lnTo>
                    <a:pt x="612" y="756"/>
                  </a:lnTo>
                  <a:lnTo>
                    <a:pt x="618" y="762"/>
                  </a:lnTo>
                  <a:lnTo>
                    <a:pt x="618" y="768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36" y="786"/>
                  </a:lnTo>
                  <a:lnTo>
                    <a:pt x="642" y="792"/>
                  </a:lnTo>
                  <a:lnTo>
                    <a:pt x="642" y="798"/>
                  </a:lnTo>
                  <a:lnTo>
                    <a:pt x="648" y="804"/>
                  </a:lnTo>
                  <a:lnTo>
                    <a:pt x="654" y="810"/>
                  </a:lnTo>
                  <a:lnTo>
                    <a:pt x="660" y="816"/>
                  </a:lnTo>
                  <a:lnTo>
                    <a:pt x="666" y="816"/>
                  </a:lnTo>
                  <a:lnTo>
                    <a:pt x="666" y="822"/>
                  </a:lnTo>
                  <a:lnTo>
                    <a:pt x="672" y="828"/>
                  </a:lnTo>
                  <a:lnTo>
                    <a:pt x="672" y="840"/>
                  </a:lnTo>
                  <a:lnTo>
                    <a:pt x="672" y="846"/>
                  </a:lnTo>
                  <a:lnTo>
                    <a:pt x="666" y="852"/>
                  </a:lnTo>
                  <a:lnTo>
                    <a:pt x="660" y="864"/>
                  </a:lnTo>
                  <a:lnTo>
                    <a:pt x="654" y="876"/>
                  </a:lnTo>
                  <a:lnTo>
                    <a:pt x="648" y="882"/>
                  </a:lnTo>
                  <a:lnTo>
                    <a:pt x="642" y="888"/>
                  </a:lnTo>
                  <a:lnTo>
                    <a:pt x="642" y="894"/>
                  </a:lnTo>
                  <a:lnTo>
                    <a:pt x="642" y="906"/>
                  </a:lnTo>
                  <a:lnTo>
                    <a:pt x="630" y="918"/>
                  </a:lnTo>
                  <a:lnTo>
                    <a:pt x="630" y="924"/>
                  </a:lnTo>
                  <a:lnTo>
                    <a:pt x="624" y="930"/>
                  </a:lnTo>
                  <a:lnTo>
                    <a:pt x="630" y="936"/>
                  </a:lnTo>
                  <a:lnTo>
                    <a:pt x="630" y="942"/>
                  </a:lnTo>
                  <a:lnTo>
                    <a:pt x="630" y="948"/>
                  </a:lnTo>
                  <a:lnTo>
                    <a:pt x="630" y="954"/>
                  </a:lnTo>
                  <a:lnTo>
                    <a:pt x="630" y="960"/>
                  </a:lnTo>
                  <a:lnTo>
                    <a:pt x="624" y="966"/>
                  </a:lnTo>
                  <a:lnTo>
                    <a:pt x="618" y="990"/>
                  </a:lnTo>
                  <a:lnTo>
                    <a:pt x="618" y="1008"/>
                  </a:lnTo>
                  <a:lnTo>
                    <a:pt x="612" y="1026"/>
                  </a:lnTo>
                  <a:lnTo>
                    <a:pt x="612" y="1038"/>
                  </a:lnTo>
                  <a:lnTo>
                    <a:pt x="612" y="1050"/>
                  </a:lnTo>
                  <a:lnTo>
                    <a:pt x="612" y="1056"/>
                  </a:lnTo>
                  <a:lnTo>
                    <a:pt x="612" y="1062"/>
                  </a:lnTo>
                  <a:lnTo>
                    <a:pt x="612" y="1068"/>
                  </a:lnTo>
                  <a:lnTo>
                    <a:pt x="612" y="1086"/>
                  </a:lnTo>
                  <a:lnTo>
                    <a:pt x="612" y="1092"/>
                  </a:lnTo>
                  <a:lnTo>
                    <a:pt x="606" y="1098"/>
                  </a:lnTo>
                  <a:lnTo>
                    <a:pt x="600" y="1110"/>
                  </a:lnTo>
                  <a:lnTo>
                    <a:pt x="600" y="1116"/>
                  </a:lnTo>
                  <a:lnTo>
                    <a:pt x="594" y="1122"/>
                  </a:lnTo>
                  <a:lnTo>
                    <a:pt x="594" y="1128"/>
                  </a:lnTo>
                  <a:lnTo>
                    <a:pt x="588" y="1134"/>
                  </a:lnTo>
                  <a:lnTo>
                    <a:pt x="582" y="1140"/>
                  </a:lnTo>
                  <a:lnTo>
                    <a:pt x="570" y="1140"/>
                  </a:lnTo>
                  <a:lnTo>
                    <a:pt x="564" y="1146"/>
                  </a:lnTo>
                  <a:lnTo>
                    <a:pt x="570" y="1146"/>
                  </a:lnTo>
                  <a:lnTo>
                    <a:pt x="564" y="1152"/>
                  </a:lnTo>
                  <a:lnTo>
                    <a:pt x="558" y="1158"/>
                  </a:lnTo>
                  <a:lnTo>
                    <a:pt x="552" y="1164"/>
                  </a:lnTo>
                  <a:lnTo>
                    <a:pt x="552" y="1170"/>
                  </a:lnTo>
                  <a:lnTo>
                    <a:pt x="546" y="1176"/>
                  </a:lnTo>
                  <a:lnTo>
                    <a:pt x="546" y="1182"/>
                  </a:lnTo>
                  <a:lnTo>
                    <a:pt x="546" y="1188"/>
                  </a:lnTo>
                  <a:lnTo>
                    <a:pt x="540" y="1188"/>
                  </a:lnTo>
                  <a:lnTo>
                    <a:pt x="540" y="1194"/>
                  </a:lnTo>
                  <a:lnTo>
                    <a:pt x="528" y="1206"/>
                  </a:lnTo>
                  <a:lnTo>
                    <a:pt x="528" y="1212"/>
                  </a:lnTo>
                  <a:lnTo>
                    <a:pt x="534" y="1212"/>
                  </a:lnTo>
                  <a:lnTo>
                    <a:pt x="540" y="1218"/>
                  </a:lnTo>
                  <a:lnTo>
                    <a:pt x="534" y="1218"/>
                  </a:lnTo>
                  <a:lnTo>
                    <a:pt x="528" y="1218"/>
                  </a:lnTo>
                  <a:lnTo>
                    <a:pt x="528" y="1224"/>
                  </a:lnTo>
                  <a:lnTo>
                    <a:pt x="522" y="1230"/>
                  </a:lnTo>
                  <a:lnTo>
                    <a:pt x="516" y="1236"/>
                  </a:lnTo>
                  <a:lnTo>
                    <a:pt x="522" y="1236"/>
                  </a:lnTo>
                  <a:lnTo>
                    <a:pt x="516" y="1242"/>
                  </a:lnTo>
                  <a:lnTo>
                    <a:pt x="510" y="1242"/>
                  </a:lnTo>
                  <a:lnTo>
                    <a:pt x="504" y="1248"/>
                  </a:lnTo>
                  <a:lnTo>
                    <a:pt x="510" y="1260"/>
                  </a:lnTo>
                  <a:lnTo>
                    <a:pt x="504" y="1266"/>
                  </a:lnTo>
                  <a:lnTo>
                    <a:pt x="492" y="1266"/>
                  </a:lnTo>
                  <a:lnTo>
                    <a:pt x="486" y="1272"/>
                  </a:lnTo>
                  <a:lnTo>
                    <a:pt x="486" y="1278"/>
                  </a:lnTo>
                  <a:lnTo>
                    <a:pt x="480" y="1278"/>
                  </a:lnTo>
                  <a:lnTo>
                    <a:pt x="480" y="1284"/>
                  </a:lnTo>
                  <a:lnTo>
                    <a:pt x="480" y="1290"/>
                  </a:lnTo>
                  <a:lnTo>
                    <a:pt x="480" y="1296"/>
                  </a:lnTo>
                  <a:lnTo>
                    <a:pt x="492" y="1302"/>
                  </a:lnTo>
                  <a:lnTo>
                    <a:pt x="492" y="1308"/>
                  </a:lnTo>
                  <a:lnTo>
                    <a:pt x="492" y="1320"/>
                  </a:lnTo>
                  <a:lnTo>
                    <a:pt x="492" y="1332"/>
                  </a:lnTo>
                  <a:lnTo>
                    <a:pt x="498" y="1344"/>
                  </a:lnTo>
                  <a:lnTo>
                    <a:pt x="498" y="1350"/>
                  </a:lnTo>
                  <a:lnTo>
                    <a:pt x="498" y="1356"/>
                  </a:lnTo>
                  <a:lnTo>
                    <a:pt x="504" y="1362"/>
                  </a:lnTo>
                  <a:lnTo>
                    <a:pt x="498" y="1362"/>
                  </a:lnTo>
                  <a:lnTo>
                    <a:pt x="498" y="1368"/>
                  </a:lnTo>
                  <a:lnTo>
                    <a:pt x="492" y="1368"/>
                  </a:lnTo>
                  <a:lnTo>
                    <a:pt x="492" y="1374"/>
                  </a:lnTo>
                  <a:lnTo>
                    <a:pt x="492" y="1380"/>
                  </a:lnTo>
                  <a:lnTo>
                    <a:pt x="498" y="1380"/>
                  </a:lnTo>
                  <a:lnTo>
                    <a:pt x="504" y="1380"/>
                  </a:lnTo>
                  <a:lnTo>
                    <a:pt x="498" y="1386"/>
                  </a:lnTo>
                  <a:lnTo>
                    <a:pt x="498" y="1392"/>
                  </a:lnTo>
                  <a:lnTo>
                    <a:pt x="498" y="1398"/>
                  </a:lnTo>
                  <a:lnTo>
                    <a:pt x="498" y="1404"/>
                  </a:lnTo>
                  <a:lnTo>
                    <a:pt x="498" y="1410"/>
                  </a:lnTo>
                  <a:lnTo>
                    <a:pt x="498" y="1416"/>
                  </a:lnTo>
                  <a:lnTo>
                    <a:pt x="492" y="1416"/>
                  </a:lnTo>
                  <a:lnTo>
                    <a:pt x="498" y="1416"/>
                  </a:lnTo>
                  <a:lnTo>
                    <a:pt x="504" y="1416"/>
                  </a:lnTo>
                  <a:lnTo>
                    <a:pt x="504" y="1422"/>
                  </a:lnTo>
                  <a:lnTo>
                    <a:pt x="510" y="1428"/>
                  </a:lnTo>
                  <a:lnTo>
                    <a:pt x="510" y="1434"/>
                  </a:lnTo>
                  <a:lnTo>
                    <a:pt x="510" y="1440"/>
                  </a:lnTo>
                  <a:lnTo>
                    <a:pt x="516" y="1446"/>
                  </a:lnTo>
                  <a:lnTo>
                    <a:pt x="516" y="1452"/>
                  </a:lnTo>
                  <a:lnTo>
                    <a:pt x="516" y="1458"/>
                  </a:lnTo>
                  <a:lnTo>
                    <a:pt x="516" y="1464"/>
                  </a:lnTo>
                  <a:lnTo>
                    <a:pt x="516" y="1482"/>
                  </a:lnTo>
                  <a:lnTo>
                    <a:pt x="516" y="1488"/>
                  </a:lnTo>
                  <a:lnTo>
                    <a:pt x="522" y="1488"/>
                  </a:lnTo>
                  <a:lnTo>
                    <a:pt x="522" y="1494"/>
                  </a:lnTo>
                  <a:lnTo>
                    <a:pt x="522" y="1500"/>
                  </a:lnTo>
                  <a:lnTo>
                    <a:pt x="516" y="1506"/>
                  </a:lnTo>
                  <a:lnTo>
                    <a:pt x="510" y="1500"/>
                  </a:lnTo>
                  <a:lnTo>
                    <a:pt x="504" y="1500"/>
                  </a:lnTo>
                  <a:lnTo>
                    <a:pt x="504" y="1494"/>
                  </a:lnTo>
                  <a:lnTo>
                    <a:pt x="504" y="1488"/>
                  </a:lnTo>
                  <a:lnTo>
                    <a:pt x="504" y="1482"/>
                  </a:lnTo>
                  <a:lnTo>
                    <a:pt x="504" y="1488"/>
                  </a:lnTo>
                  <a:lnTo>
                    <a:pt x="504" y="1494"/>
                  </a:lnTo>
                  <a:lnTo>
                    <a:pt x="504" y="1500"/>
                  </a:lnTo>
                  <a:lnTo>
                    <a:pt x="498" y="1500"/>
                  </a:lnTo>
                  <a:lnTo>
                    <a:pt x="492" y="1500"/>
                  </a:lnTo>
                  <a:lnTo>
                    <a:pt x="492" y="1494"/>
                  </a:lnTo>
                  <a:lnTo>
                    <a:pt x="492" y="1488"/>
                  </a:lnTo>
                  <a:lnTo>
                    <a:pt x="492" y="1494"/>
                  </a:lnTo>
                  <a:lnTo>
                    <a:pt x="492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00"/>
                  </a:lnTo>
                  <a:lnTo>
                    <a:pt x="510" y="1500"/>
                  </a:lnTo>
                  <a:lnTo>
                    <a:pt x="510" y="1506"/>
                  </a:lnTo>
                  <a:lnTo>
                    <a:pt x="516" y="1506"/>
                  </a:lnTo>
                  <a:lnTo>
                    <a:pt x="510" y="1506"/>
                  </a:lnTo>
                  <a:lnTo>
                    <a:pt x="510" y="1512"/>
                  </a:lnTo>
                  <a:lnTo>
                    <a:pt x="516" y="1506"/>
                  </a:lnTo>
                  <a:lnTo>
                    <a:pt x="522" y="1506"/>
                  </a:lnTo>
                  <a:lnTo>
                    <a:pt x="528" y="1506"/>
                  </a:lnTo>
                  <a:lnTo>
                    <a:pt x="528" y="1500"/>
                  </a:lnTo>
                  <a:lnTo>
                    <a:pt x="534" y="1500"/>
                  </a:lnTo>
                  <a:lnTo>
                    <a:pt x="534" y="1506"/>
                  </a:lnTo>
                  <a:lnTo>
                    <a:pt x="540" y="1512"/>
                  </a:lnTo>
                  <a:lnTo>
                    <a:pt x="540" y="1518"/>
                  </a:lnTo>
                  <a:lnTo>
                    <a:pt x="546" y="1518"/>
                  </a:lnTo>
                  <a:lnTo>
                    <a:pt x="540" y="1518"/>
                  </a:lnTo>
                  <a:lnTo>
                    <a:pt x="540" y="1524"/>
                  </a:lnTo>
                  <a:lnTo>
                    <a:pt x="534" y="1524"/>
                  </a:lnTo>
                  <a:lnTo>
                    <a:pt x="540" y="1524"/>
                  </a:lnTo>
                  <a:lnTo>
                    <a:pt x="546" y="1524"/>
                  </a:lnTo>
                  <a:lnTo>
                    <a:pt x="546" y="1530"/>
                  </a:lnTo>
                  <a:lnTo>
                    <a:pt x="540" y="1530"/>
                  </a:lnTo>
                  <a:lnTo>
                    <a:pt x="540" y="1536"/>
                  </a:lnTo>
                  <a:lnTo>
                    <a:pt x="534" y="1542"/>
                  </a:lnTo>
                  <a:lnTo>
                    <a:pt x="528" y="1542"/>
                  </a:lnTo>
                  <a:lnTo>
                    <a:pt x="522" y="1542"/>
                  </a:lnTo>
                  <a:lnTo>
                    <a:pt x="516" y="1542"/>
                  </a:lnTo>
                  <a:lnTo>
                    <a:pt x="510" y="1542"/>
                  </a:lnTo>
                  <a:lnTo>
                    <a:pt x="504" y="1542"/>
                  </a:lnTo>
                  <a:lnTo>
                    <a:pt x="492" y="1542"/>
                  </a:lnTo>
                  <a:lnTo>
                    <a:pt x="486" y="1536"/>
                  </a:lnTo>
                  <a:lnTo>
                    <a:pt x="480" y="1536"/>
                  </a:lnTo>
                  <a:lnTo>
                    <a:pt x="468" y="1536"/>
                  </a:lnTo>
                  <a:lnTo>
                    <a:pt x="468" y="1542"/>
                  </a:lnTo>
                  <a:lnTo>
                    <a:pt x="462" y="1542"/>
                  </a:lnTo>
                  <a:lnTo>
                    <a:pt x="456" y="1542"/>
                  </a:lnTo>
                  <a:lnTo>
                    <a:pt x="450" y="1542"/>
                  </a:lnTo>
                  <a:lnTo>
                    <a:pt x="444" y="1542"/>
                  </a:lnTo>
                  <a:lnTo>
                    <a:pt x="444" y="1536"/>
                  </a:lnTo>
                  <a:lnTo>
                    <a:pt x="450" y="1536"/>
                  </a:lnTo>
                  <a:lnTo>
                    <a:pt x="456" y="1536"/>
                  </a:lnTo>
                  <a:lnTo>
                    <a:pt x="450" y="1536"/>
                  </a:lnTo>
                  <a:lnTo>
                    <a:pt x="444" y="1536"/>
                  </a:lnTo>
                  <a:lnTo>
                    <a:pt x="444" y="1530"/>
                  </a:lnTo>
                  <a:lnTo>
                    <a:pt x="450" y="1530"/>
                  </a:lnTo>
                  <a:lnTo>
                    <a:pt x="456" y="1524"/>
                  </a:lnTo>
                  <a:lnTo>
                    <a:pt x="456" y="1518"/>
                  </a:lnTo>
                  <a:lnTo>
                    <a:pt x="462" y="1518"/>
                  </a:lnTo>
                  <a:lnTo>
                    <a:pt x="462" y="1524"/>
                  </a:lnTo>
                  <a:lnTo>
                    <a:pt x="468" y="1524"/>
                  </a:lnTo>
                  <a:lnTo>
                    <a:pt x="474" y="1524"/>
                  </a:lnTo>
                  <a:lnTo>
                    <a:pt x="474" y="1518"/>
                  </a:lnTo>
                  <a:lnTo>
                    <a:pt x="480" y="1518"/>
                  </a:lnTo>
                  <a:lnTo>
                    <a:pt x="474" y="1518"/>
                  </a:lnTo>
                  <a:lnTo>
                    <a:pt x="474" y="1524"/>
                  </a:lnTo>
                  <a:lnTo>
                    <a:pt x="468" y="1524"/>
                  </a:lnTo>
                  <a:lnTo>
                    <a:pt x="462" y="1518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62" y="1512"/>
                  </a:lnTo>
                  <a:lnTo>
                    <a:pt x="462" y="1506"/>
                  </a:lnTo>
                  <a:lnTo>
                    <a:pt x="456" y="1506"/>
                  </a:lnTo>
                  <a:lnTo>
                    <a:pt x="456" y="1512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50" y="1518"/>
                  </a:lnTo>
                  <a:lnTo>
                    <a:pt x="444" y="1518"/>
                  </a:lnTo>
                  <a:lnTo>
                    <a:pt x="444" y="1524"/>
                  </a:lnTo>
                  <a:lnTo>
                    <a:pt x="438" y="1524"/>
                  </a:lnTo>
                  <a:lnTo>
                    <a:pt x="438" y="1530"/>
                  </a:lnTo>
                  <a:lnTo>
                    <a:pt x="432" y="1530"/>
                  </a:lnTo>
                  <a:lnTo>
                    <a:pt x="432" y="1536"/>
                  </a:lnTo>
                  <a:lnTo>
                    <a:pt x="426" y="1530"/>
                  </a:lnTo>
                  <a:lnTo>
                    <a:pt x="420" y="1530"/>
                  </a:lnTo>
                  <a:lnTo>
                    <a:pt x="414" y="1530"/>
                  </a:lnTo>
                  <a:lnTo>
                    <a:pt x="414" y="1524"/>
                  </a:lnTo>
                  <a:lnTo>
                    <a:pt x="408" y="1518"/>
                  </a:lnTo>
                  <a:lnTo>
                    <a:pt x="414" y="1512"/>
                  </a:lnTo>
                  <a:lnTo>
                    <a:pt x="408" y="1512"/>
                  </a:lnTo>
                  <a:lnTo>
                    <a:pt x="408" y="1506"/>
                  </a:lnTo>
                  <a:lnTo>
                    <a:pt x="408" y="1500"/>
                  </a:lnTo>
                  <a:lnTo>
                    <a:pt x="408" y="1494"/>
                  </a:lnTo>
                  <a:lnTo>
                    <a:pt x="408" y="1488"/>
                  </a:lnTo>
                  <a:lnTo>
                    <a:pt x="408" y="1494"/>
                  </a:lnTo>
                  <a:lnTo>
                    <a:pt x="414" y="1494"/>
                  </a:lnTo>
                  <a:lnTo>
                    <a:pt x="420" y="1494"/>
                  </a:lnTo>
                  <a:lnTo>
                    <a:pt x="420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82"/>
                  </a:lnTo>
                  <a:lnTo>
                    <a:pt x="426" y="1476"/>
                  </a:lnTo>
                  <a:lnTo>
                    <a:pt x="432" y="1476"/>
                  </a:lnTo>
                  <a:lnTo>
                    <a:pt x="432" y="1470"/>
                  </a:lnTo>
                  <a:lnTo>
                    <a:pt x="438" y="1470"/>
                  </a:lnTo>
                  <a:lnTo>
                    <a:pt x="444" y="1464"/>
                  </a:lnTo>
                  <a:lnTo>
                    <a:pt x="450" y="1458"/>
                  </a:lnTo>
                  <a:lnTo>
                    <a:pt x="456" y="1458"/>
                  </a:lnTo>
                  <a:lnTo>
                    <a:pt x="462" y="1452"/>
                  </a:lnTo>
                  <a:lnTo>
                    <a:pt x="468" y="1452"/>
                  </a:lnTo>
                  <a:lnTo>
                    <a:pt x="468" y="1446"/>
                  </a:lnTo>
                  <a:lnTo>
                    <a:pt x="462" y="1440"/>
                  </a:lnTo>
                  <a:lnTo>
                    <a:pt x="456" y="1434"/>
                  </a:lnTo>
                  <a:lnTo>
                    <a:pt x="456" y="1428"/>
                  </a:lnTo>
                  <a:lnTo>
                    <a:pt x="456" y="1422"/>
                  </a:lnTo>
                  <a:lnTo>
                    <a:pt x="456" y="1416"/>
                  </a:lnTo>
                  <a:lnTo>
                    <a:pt x="450" y="1410"/>
                  </a:lnTo>
                  <a:lnTo>
                    <a:pt x="444" y="1410"/>
                  </a:lnTo>
                  <a:lnTo>
                    <a:pt x="450" y="1410"/>
                  </a:lnTo>
                  <a:lnTo>
                    <a:pt x="450" y="1404"/>
                  </a:lnTo>
                  <a:lnTo>
                    <a:pt x="456" y="1404"/>
                  </a:lnTo>
                  <a:lnTo>
                    <a:pt x="462" y="1404"/>
                  </a:lnTo>
                  <a:lnTo>
                    <a:pt x="468" y="1398"/>
                  </a:lnTo>
                  <a:lnTo>
                    <a:pt x="462" y="1398"/>
                  </a:lnTo>
                  <a:lnTo>
                    <a:pt x="462" y="1392"/>
                  </a:lnTo>
                  <a:lnTo>
                    <a:pt x="456" y="1392"/>
                  </a:lnTo>
                  <a:lnTo>
                    <a:pt x="456" y="1386"/>
                  </a:lnTo>
                  <a:lnTo>
                    <a:pt x="462" y="1386"/>
                  </a:lnTo>
                  <a:lnTo>
                    <a:pt x="468" y="1386"/>
                  </a:lnTo>
                  <a:lnTo>
                    <a:pt x="474" y="1386"/>
                  </a:lnTo>
                  <a:lnTo>
                    <a:pt x="468" y="1386"/>
                  </a:lnTo>
                  <a:lnTo>
                    <a:pt x="462" y="1386"/>
                  </a:lnTo>
                  <a:lnTo>
                    <a:pt x="456" y="1380"/>
                  </a:lnTo>
                  <a:lnTo>
                    <a:pt x="456" y="1374"/>
                  </a:lnTo>
                  <a:lnTo>
                    <a:pt x="462" y="1374"/>
                  </a:lnTo>
                  <a:lnTo>
                    <a:pt x="462" y="1368"/>
                  </a:lnTo>
                  <a:lnTo>
                    <a:pt x="456" y="1374"/>
                  </a:lnTo>
                  <a:lnTo>
                    <a:pt x="456" y="1368"/>
                  </a:lnTo>
                  <a:lnTo>
                    <a:pt x="456" y="1362"/>
                  </a:lnTo>
                  <a:lnTo>
                    <a:pt x="450" y="1362"/>
                  </a:lnTo>
                  <a:lnTo>
                    <a:pt x="450" y="1356"/>
                  </a:lnTo>
                  <a:lnTo>
                    <a:pt x="450" y="1350"/>
                  </a:lnTo>
                  <a:lnTo>
                    <a:pt x="450" y="1344"/>
                  </a:lnTo>
                  <a:lnTo>
                    <a:pt x="456" y="1344"/>
                  </a:lnTo>
                  <a:lnTo>
                    <a:pt x="456" y="1338"/>
                  </a:lnTo>
                  <a:lnTo>
                    <a:pt x="462" y="1338"/>
                  </a:lnTo>
                  <a:lnTo>
                    <a:pt x="462" y="1332"/>
                  </a:lnTo>
                  <a:lnTo>
                    <a:pt x="456" y="1332"/>
                  </a:lnTo>
                  <a:lnTo>
                    <a:pt x="456" y="1326"/>
                  </a:lnTo>
                  <a:lnTo>
                    <a:pt x="450" y="1326"/>
                  </a:lnTo>
                  <a:lnTo>
                    <a:pt x="444" y="1326"/>
                  </a:lnTo>
                  <a:lnTo>
                    <a:pt x="444" y="1332"/>
                  </a:lnTo>
                  <a:lnTo>
                    <a:pt x="438" y="1332"/>
                  </a:lnTo>
                  <a:lnTo>
                    <a:pt x="438" y="1338"/>
                  </a:lnTo>
                  <a:lnTo>
                    <a:pt x="432" y="1338"/>
                  </a:lnTo>
                  <a:lnTo>
                    <a:pt x="432" y="1344"/>
                  </a:lnTo>
                  <a:lnTo>
                    <a:pt x="432" y="1350"/>
                  </a:lnTo>
                  <a:lnTo>
                    <a:pt x="426" y="1356"/>
                  </a:lnTo>
                  <a:lnTo>
                    <a:pt x="426" y="1368"/>
                  </a:lnTo>
                  <a:lnTo>
                    <a:pt x="426" y="1374"/>
                  </a:lnTo>
                  <a:lnTo>
                    <a:pt x="426" y="1380"/>
                  </a:lnTo>
                  <a:lnTo>
                    <a:pt x="432" y="1386"/>
                  </a:lnTo>
                  <a:lnTo>
                    <a:pt x="432" y="1392"/>
                  </a:lnTo>
                  <a:lnTo>
                    <a:pt x="432" y="1398"/>
                  </a:lnTo>
                  <a:lnTo>
                    <a:pt x="426" y="1398"/>
                  </a:lnTo>
                  <a:lnTo>
                    <a:pt x="420" y="1398"/>
                  </a:lnTo>
                  <a:lnTo>
                    <a:pt x="414" y="1398"/>
                  </a:lnTo>
                  <a:lnTo>
                    <a:pt x="420" y="1398"/>
                  </a:lnTo>
                  <a:lnTo>
                    <a:pt x="414" y="1404"/>
                  </a:lnTo>
                  <a:lnTo>
                    <a:pt x="420" y="1404"/>
                  </a:lnTo>
                  <a:lnTo>
                    <a:pt x="414" y="1404"/>
                  </a:lnTo>
                  <a:lnTo>
                    <a:pt x="408" y="1404"/>
                  </a:lnTo>
                  <a:lnTo>
                    <a:pt x="402" y="1410"/>
                  </a:lnTo>
                  <a:lnTo>
                    <a:pt x="402" y="1404"/>
                  </a:lnTo>
                  <a:lnTo>
                    <a:pt x="396" y="1404"/>
                  </a:lnTo>
                  <a:lnTo>
                    <a:pt x="390" y="1404"/>
                  </a:lnTo>
                  <a:lnTo>
                    <a:pt x="384" y="1404"/>
                  </a:lnTo>
                  <a:lnTo>
                    <a:pt x="384" y="1398"/>
                  </a:lnTo>
                  <a:lnTo>
                    <a:pt x="384" y="1392"/>
                  </a:lnTo>
                  <a:lnTo>
                    <a:pt x="390" y="1392"/>
                  </a:lnTo>
                  <a:lnTo>
                    <a:pt x="390" y="1386"/>
                  </a:lnTo>
                  <a:lnTo>
                    <a:pt x="390" y="1380"/>
                  </a:lnTo>
                  <a:lnTo>
                    <a:pt x="396" y="1380"/>
                  </a:lnTo>
                  <a:lnTo>
                    <a:pt x="402" y="1380"/>
                  </a:lnTo>
                  <a:lnTo>
                    <a:pt x="408" y="1380"/>
                  </a:lnTo>
                  <a:lnTo>
                    <a:pt x="408" y="1374"/>
                  </a:lnTo>
                  <a:lnTo>
                    <a:pt x="414" y="1374"/>
                  </a:lnTo>
                  <a:lnTo>
                    <a:pt x="414" y="1368"/>
                  </a:lnTo>
                  <a:lnTo>
                    <a:pt x="414" y="1362"/>
                  </a:lnTo>
                  <a:lnTo>
                    <a:pt x="414" y="1368"/>
                  </a:lnTo>
                  <a:lnTo>
                    <a:pt x="414" y="1374"/>
                  </a:lnTo>
                  <a:lnTo>
                    <a:pt x="408" y="1374"/>
                  </a:lnTo>
                  <a:lnTo>
                    <a:pt x="402" y="1380"/>
                  </a:lnTo>
                  <a:lnTo>
                    <a:pt x="396" y="1380"/>
                  </a:lnTo>
                  <a:lnTo>
                    <a:pt x="396" y="1374"/>
                  </a:lnTo>
                  <a:lnTo>
                    <a:pt x="390" y="1374"/>
                  </a:lnTo>
                  <a:lnTo>
                    <a:pt x="390" y="1368"/>
                  </a:lnTo>
                  <a:lnTo>
                    <a:pt x="384" y="1368"/>
                  </a:lnTo>
                  <a:lnTo>
                    <a:pt x="384" y="1374"/>
                  </a:lnTo>
                  <a:lnTo>
                    <a:pt x="378" y="1374"/>
                  </a:lnTo>
                  <a:lnTo>
                    <a:pt x="378" y="1380"/>
                  </a:lnTo>
                  <a:lnTo>
                    <a:pt x="372" y="1380"/>
                  </a:lnTo>
                  <a:lnTo>
                    <a:pt x="366" y="1386"/>
                  </a:lnTo>
                  <a:lnTo>
                    <a:pt x="360" y="1386"/>
                  </a:lnTo>
                  <a:lnTo>
                    <a:pt x="354" y="1386"/>
                  </a:lnTo>
                  <a:lnTo>
                    <a:pt x="354" y="1380"/>
                  </a:lnTo>
                  <a:lnTo>
                    <a:pt x="348" y="1380"/>
                  </a:lnTo>
                  <a:lnTo>
                    <a:pt x="342" y="1380"/>
                  </a:lnTo>
                  <a:lnTo>
                    <a:pt x="342" y="1374"/>
                  </a:lnTo>
                  <a:lnTo>
                    <a:pt x="336" y="1368"/>
                  </a:lnTo>
                  <a:lnTo>
                    <a:pt x="342" y="1368"/>
                  </a:lnTo>
                  <a:lnTo>
                    <a:pt x="342" y="1362"/>
                  </a:lnTo>
                  <a:lnTo>
                    <a:pt x="348" y="1362"/>
                  </a:lnTo>
                  <a:lnTo>
                    <a:pt x="354" y="1362"/>
                  </a:lnTo>
                  <a:lnTo>
                    <a:pt x="354" y="1356"/>
                  </a:lnTo>
                  <a:lnTo>
                    <a:pt x="348" y="1356"/>
                  </a:lnTo>
                  <a:lnTo>
                    <a:pt x="348" y="1350"/>
                  </a:lnTo>
                  <a:lnTo>
                    <a:pt x="348" y="1344"/>
                  </a:lnTo>
                  <a:lnTo>
                    <a:pt x="354" y="1338"/>
                  </a:lnTo>
                  <a:lnTo>
                    <a:pt x="354" y="1332"/>
                  </a:lnTo>
                  <a:lnTo>
                    <a:pt x="354" y="1326"/>
                  </a:lnTo>
                  <a:lnTo>
                    <a:pt x="354" y="1320"/>
                  </a:lnTo>
                  <a:lnTo>
                    <a:pt x="354" y="1314"/>
                  </a:lnTo>
                  <a:lnTo>
                    <a:pt x="354" y="1308"/>
                  </a:lnTo>
                  <a:lnTo>
                    <a:pt x="348" y="1308"/>
                  </a:lnTo>
                  <a:lnTo>
                    <a:pt x="348" y="1302"/>
                  </a:lnTo>
                  <a:lnTo>
                    <a:pt x="342" y="1296"/>
                  </a:lnTo>
                  <a:lnTo>
                    <a:pt x="336" y="1296"/>
                  </a:lnTo>
                  <a:lnTo>
                    <a:pt x="336" y="1290"/>
                  </a:lnTo>
                  <a:lnTo>
                    <a:pt x="330" y="1290"/>
                  </a:lnTo>
                  <a:lnTo>
                    <a:pt x="324" y="1290"/>
                  </a:lnTo>
                  <a:lnTo>
                    <a:pt x="324" y="1284"/>
                  </a:lnTo>
                  <a:lnTo>
                    <a:pt x="318" y="1284"/>
                  </a:lnTo>
                  <a:lnTo>
                    <a:pt x="318" y="1278"/>
                  </a:lnTo>
                  <a:lnTo>
                    <a:pt x="312" y="1278"/>
                  </a:lnTo>
                  <a:lnTo>
                    <a:pt x="312" y="1272"/>
                  </a:lnTo>
                  <a:lnTo>
                    <a:pt x="312" y="1278"/>
                  </a:lnTo>
                  <a:lnTo>
                    <a:pt x="318" y="1284"/>
                  </a:lnTo>
                  <a:lnTo>
                    <a:pt x="324" y="1290"/>
                  </a:lnTo>
                  <a:lnTo>
                    <a:pt x="330" y="1290"/>
                  </a:lnTo>
                  <a:lnTo>
                    <a:pt x="330" y="1296"/>
                  </a:lnTo>
                  <a:lnTo>
                    <a:pt x="336" y="1296"/>
                  </a:lnTo>
                  <a:lnTo>
                    <a:pt x="336" y="1302"/>
                  </a:lnTo>
                  <a:lnTo>
                    <a:pt x="342" y="1302"/>
                  </a:lnTo>
                  <a:lnTo>
                    <a:pt x="348" y="1302"/>
                  </a:lnTo>
                  <a:lnTo>
                    <a:pt x="348" y="1308"/>
                  </a:lnTo>
                  <a:lnTo>
                    <a:pt x="348" y="1314"/>
                  </a:lnTo>
                  <a:lnTo>
                    <a:pt x="354" y="1314"/>
                  </a:lnTo>
                  <a:lnTo>
                    <a:pt x="354" y="1320"/>
                  </a:lnTo>
                  <a:lnTo>
                    <a:pt x="354" y="1326"/>
                  </a:lnTo>
                  <a:lnTo>
                    <a:pt x="348" y="1326"/>
                  </a:lnTo>
                  <a:lnTo>
                    <a:pt x="348" y="1332"/>
                  </a:lnTo>
                  <a:lnTo>
                    <a:pt x="348" y="1338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2" y="1350"/>
                  </a:lnTo>
                  <a:lnTo>
                    <a:pt x="336" y="1350"/>
                  </a:lnTo>
                  <a:lnTo>
                    <a:pt x="330" y="1350"/>
                  </a:lnTo>
                  <a:lnTo>
                    <a:pt x="330" y="1356"/>
                  </a:lnTo>
                  <a:lnTo>
                    <a:pt x="330" y="1350"/>
                  </a:lnTo>
                  <a:lnTo>
                    <a:pt x="324" y="1350"/>
                  </a:lnTo>
                  <a:lnTo>
                    <a:pt x="318" y="1344"/>
                  </a:lnTo>
                  <a:lnTo>
                    <a:pt x="318" y="1350"/>
                  </a:lnTo>
                  <a:lnTo>
                    <a:pt x="312" y="1344"/>
                  </a:lnTo>
                  <a:lnTo>
                    <a:pt x="312" y="1338"/>
                  </a:lnTo>
                  <a:lnTo>
                    <a:pt x="306" y="1338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6" y="1326"/>
                  </a:lnTo>
                  <a:lnTo>
                    <a:pt x="306" y="1320"/>
                  </a:lnTo>
                  <a:lnTo>
                    <a:pt x="306" y="1326"/>
                  </a:lnTo>
                  <a:lnTo>
                    <a:pt x="312" y="1326"/>
                  </a:lnTo>
                  <a:lnTo>
                    <a:pt x="312" y="1320"/>
                  </a:lnTo>
                  <a:lnTo>
                    <a:pt x="306" y="1320"/>
                  </a:lnTo>
                  <a:lnTo>
                    <a:pt x="300" y="1320"/>
                  </a:lnTo>
                  <a:lnTo>
                    <a:pt x="294" y="1320"/>
                  </a:lnTo>
                  <a:lnTo>
                    <a:pt x="294" y="1314"/>
                  </a:lnTo>
                  <a:lnTo>
                    <a:pt x="288" y="1314"/>
                  </a:lnTo>
                  <a:lnTo>
                    <a:pt x="288" y="1308"/>
                  </a:lnTo>
                  <a:lnTo>
                    <a:pt x="288" y="1302"/>
                  </a:lnTo>
                  <a:lnTo>
                    <a:pt x="294" y="1302"/>
                  </a:lnTo>
                  <a:lnTo>
                    <a:pt x="294" y="1296"/>
                  </a:lnTo>
                  <a:lnTo>
                    <a:pt x="288" y="1296"/>
                  </a:lnTo>
                  <a:lnTo>
                    <a:pt x="288" y="1290"/>
                  </a:lnTo>
                  <a:lnTo>
                    <a:pt x="288" y="1296"/>
                  </a:lnTo>
                  <a:lnTo>
                    <a:pt x="294" y="1302"/>
                  </a:lnTo>
                  <a:lnTo>
                    <a:pt x="288" y="1302"/>
                  </a:lnTo>
                  <a:lnTo>
                    <a:pt x="282" y="1296"/>
                  </a:lnTo>
                  <a:lnTo>
                    <a:pt x="276" y="1296"/>
                  </a:lnTo>
                  <a:lnTo>
                    <a:pt x="276" y="1290"/>
                  </a:lnTo>
                  <a:lnTo>
                    <a:pt x="270" y="1290"/>
                  </a:lnTo>
                  <a:lnTo>
                    <a:pt x="264" y="1284"/>
                  </a:lnTo>
                  <a:lnTo>
                    <a:pt x="264" y="1278"/>
                  </a:lnTo>
                  <a:lnTo>
                    <a:pt x="264" y="1272"/>
                  </a:lnTo>
                  <a:lnTo>
                    <a:pt x="264" y="1266"/>
                  </a:lnTo>
                  <a:lnTo>
                    <a:pt x="258" y="1266"/>
                  </a:lnTo>
                  <a:lnTo>
                    <a:pt x="252" y="1266"/>
                  </a:lnTo>
                  <a:lnTo>
                    <a:pt x="246" y="1260"/>
                  </a:lnTo>
                  <a:lnTo>
                    <a:pt x="240" y="1254"/>
                  </a:lnTo>
                  <a:lnTo>
                    <a:pt x="240" y="1260"/>
                  </a:lnTo>
                  <a:lnTo>
                    <a:pt x="240" y="1266"/>
                  </a:lnTo>
                  <a:lnTo>
                    <a:pt x="240" y="1272"/>
                  </a:lnTo>
                  <a:lnTo>
                    <a:pt x="246" y="1272"/>
                  </a:lnTo>
                  <a:lnTo>
                    <a:pt x="246" y="1278"/>
                  </a:lnTo>
                  <a:lnTo>
                    <a:pt x="246" y="1284"/>
                  </a:lnTo>
                  <a:lnTo>
                    <a:pt x="252" y="1284"/>
                  </a:lnTo>
                  <a:lnTo>
                    <a:pt x="252" y="1290"/>
                  </a:lnTo>
                  <a:lnTo>
                    <a:pt x="258" y="1296"/>
                  </a:lnTo>
                  <a:lnTo>
                    <a:pt x="264" y="1302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58" y="1314"/>
                  </a:lnTo>
                  <a:lnTo>
                    <a:pt x="258" y="1308"/>
                  </a:lnTo>
                  <a:lnTo>
                    <a:pt x="252" y="1308"/>
                  </a:lnTo>
                  <a:lnTo>
                    <a:pt x="252" y="1302"/>
                  </a:lnTo>
                  <a:lnTo>
                    <a:pt x="246" y="1302"/>
                  </a:lnTo>
                  <a:lnTo>
                    <a:pt x="246" y="1296"/>
                  </a:lnTo>
                  <a:lnTo>
                    <a:pt x="240" y="1296"/>
                  </a:lnTo>
                  <a:lnTo>
                    <a:pt x="240" y="1290"/>
                  </a:lnTo>
                  <a:lnTo>
                    <a:pt x="234" y="1284"/>
                  </a:lnTo>
                  <a:lnTo>
                    <a:pt x="234" y="1278"/>
                  </a:lnTo>
                  <a:close/>
                  <a:moveTo>
                    <a:pt x="444" y="1332"/>
                  </a:moveTo>
                  <a:lnTo>
                    <a:pt x="450" y="1326"/>
                  </a:lnTo>
                  <a:lnTo>
                    <a:pt x="456" y="1326"/>
                  </a:lnTo>
                  <a:lnTo>
                    <a:pt x="456" y="1332"/>
                  </a:lnTo>
                  <a:lnTo>
                    <a:pt x="456" y="1338"/>
                  </a:lnTo>
                  <a:lnTo>
                    <a:pt x="450" y="1338"/>
                  </a:lnTo>
                  <a:lnTo>
                    <a:pt x="444" y="1338"/>
                  </a:lnTo>
                  <a:lnTo>
                    <a:pt x="444" y="1332"/>
                  </a:lnTo>
                  <a:close/>
                  <a:moveTo>
                    <a:pt x="444" y="1368"/>
                  </a:moveTo>
                  <a:lnTo>
                    <a:pt x="456" y="1368"/>
                  </a:lnTo>
                  <a:lnTo>
                    <a:pt x="456" y="1374"/>
                  </a:lnTo>
                  <a:lnTo>
                    <a:pt x="444" y="1374"/>
                  </a:lnTo>
                  <a:lnTo>
                    <a:pt x="444" y="1368"/>
                  </a:lnTo>
                  <a:close/>
                  <a:moveTo>
                    <a:pt x="444" y="1386"/>
                  </a:moveTo>
                  <a:lnTo>
                    <a:pt x="444" y="1380"/>
                  </a:lnTo>
                  <a:lnTo>
                    <a:pt x="444" y="1374"/>
                  </a:lnTo>
                  <a:lnTo>
                    <a:pt x="444" y="1380"/>
                  </a:lnTo>
                  <a:lnTo>
                    <a:pt x="450" y="1380"/>
                  </a:lnTo>
                  <a:lnTo>
                    <a:pt x="456" y="1380"/>
                  </a:lnTo>
                  <a:lnTo>
                    <a:pt x="456" y="1386"/>
                  </a:lnTo>
                  <a:lnTo>
                    <a:pt x="456" y="1392"/>
                  </a:lnTo>
                  <a:lnTo>
                    <a:pt x="462" y="1392"/>
                  </a:lnTo>
                  <a:lnTo>
                    <a:pt x="462" y="1398"/>
                  </a:lnTo>
                  <a:lnTo>
                    <a:pt x="462" y="1404"/>
                  </a:lnTo>
                  <a:lnTo>
                    <a:pt x="456" y="1404"/>
                  </a:lnTo>
                  <a:lnTo>
                    <a:pt x="450" y="1404"/>
                  </a:lnTo>
                  <a:lnTo>
                    <a:pt x="450" y="1398"/>
                  </a:lnTo>
                  <a:lnTo>
                    <a:pt x="444" y="1398"/>
                  </a:lnTo>
                  <a:lnTo>
                    <a:pt x="444" y="1392"/>
                  </a:lnTo>
                  <a:lnTo>
                    <a:pt x="444" y="1386"/>
                  </a:lnTo>
                  <a:close/>
                  <a:moveTo>
                    <a:pt x="438" y="1362"/>
                  </a:moveTo>
                  <a:lnTo>
                    <a:pt x="444" y="1356"/>
                  </a:lnTo>
                  <a:lnTo>
                    <a:pt x="450" y="1356"/>
                  </a:lnTo>
                  <a:lnTo>
                    <a:pt x="450" y="1362"/>
                  </a:lnTo>
                  <a:lnTo>
                    <a:pt x="450" y="1368"/>
                  </a:lnTo>
                  <a:lnTo>
                    <a:pt x="444" y="1368"/>
                  </a:lnTo>
                  <a:lnTo>
                    <a:pt x="444" y="1362"/>
                  </a:lnTo>
                  <a:lnTo>
                    <a:pt x="438" y="1362"/>
                  </a:lnTo>
                  <a:close/>
                  <a:moveTo>
                    <a:pt x="438" y="1350"/>
                  </a:moveTo>
                  <a:lnTo>
                    <a:pt x="438" y="1344"/>
                  </a:lnTo>
                  <a:lnTo>
                    <a:pt x="438" y="1338"/>
                  </a:lnTo>
                  <a:lnTo>
                    <a:pt x="444" y="1338"/>
                  </a:lnTo>
                  <a:lnTo>
                    <a:pt x="450" y="1338"/>
                  </a:lnTo>
                  <a:lnTo>
                    <a:pt x="456" y="1338"/>
                  </a:lnTo>
                  <a:lnTo>
                    <a:pt x="450" y="1344"/>
                  </a:lnTo>
                  <a:lnTo>
                    <a:pt x="444" y="1350"/>
                  </a:lnTo>
                  <a:lnTo>
                    <a:pt x="438" y="1350"/>
                  </a:lnTo>
                  <a:close/>
                  <a:moveTo>
                    <a:pt x="432" y="1380"/>
                  </a:moveTo>
                  <a:lnTo>
                    <a:pt x="432" y="1368"/>
                  </a:lnTo>
                  <a:lnTo>
                    <a:pt x="432" y="1362"/>
                  </a:lnTo>
                  <a:lnTo>
                    <a:pt x="432" y="1356"/>
                  </a:lnTo>
                  <a:lnTo>
                    <a:pt x="438" y="1356"/>
                  </a:lnTo>
                  <a:lnTo>
                    <a:pt x="438" y="1362"/>
                  </a:lnTo>
                  <a:lnTo>
                    <a:pt x="438" y="1368"/>
                  </a:lnTo>
                  <a:lnTo>
                    <a:pt x="438" y="1374"/>
                  </a:lnTo>
                  <a:lnTo>
                    <a:pt x="438" y="1380"/>
                  </a:lnTo>
                  <a:lnTo>
                    <a:pt x="438" y="1386"/>
                  </a:lnTo>
                  <a:lnTo>
                    <a:pt x="438" y="1380"/>
                  </a:lnTo>
                  <a:lnTo>
                    <a:pt x="432" y="1380"/>
                  </a:lnTo>
                  <a:close/>
                  <a:moveTo>
                    <a:pt x="246" y="1272"/>
                  </a:moveTo>
                  <a:lnTo>
                    <a:pt x="252" y="1272"/>
                  </a:lnTo>
                  <a:lnTo>
                    <a:pt x="252" y="1278"/>
                  </a:lnTo>
                  <a:lnTo>
                    <a:pt x="246" y="1278"/>
                  </a:lnTo>
                  <a:lnTo>
                    <a:pt x="246" y="1272"/>
                  </a:lnTo>
                  <a:close/>
                  <a:moveTo>
                    <a:pt x="426" y="1416"/>
                  </a:moveTo>
                  <a:lnTo>
                    <a:pt x="432" y="1410"/>
                  </a:lnTo>
                  <a:lnTo>
                    <a:pt x="438" y="1410"/>
                  </a:lnTo>
                  <a:lnTo>
                    <a:pt x="438" y="1416"/>
                  </a:lnTo>
                  <a:lnTo>
                    <a:pt x="438" y="1422"/>
                  </a:lnTo>
                  <a:lnTo>
                    <a:pt x="432" y="1422"/>
                  </a:lnTo>
                  <a:lnTo>
                    <a:pt x="426" y="1422"/>
                  </a:lnTo>
                  <a:lnTo>
                    <a:pt x="426" y="1416"/>
                  </a:lnTo>
                  <a:close/>
                  <a:moveTo>
                    <a:pt x="246" y="1266"/>
                  </a:moveTo>
                  <a:lnTo>
                    <a:pt x="252" y="1266"/>
                  </a:lnTo>
                  <a:lnTo>
                    <a:pt x="258" y="1272"/>
                  </a:lnTo>
                  <a:lnTo>
                    <a:pt x="258" y="1278"/>
                  </a:lnTo>
                  <a:lnTo>
                    <a:pt x="258" y="1284"/>
                  </a:lnTo>
                  <a:lnTo>
                    <a:pt x="252" y="1284"/>
                  </a:lnTo>
                  <a:lnTo>
                    <a:pt x="252" y="1278"/>
                  </a:lnTo>
                  <a:lnTo>
                    <a:pt x="252" y="1272"/>
                  </a:lnTo>
                  <a:lnTo>
                    <a:pt x="252" y="1266"/>
                  </a:lnTo>
                  <a:lnTo>
                    <a:pt x="246" y="1266"/>
                  </a:lnTo>
                  <a:close/>
                  <a:moveTo>
                    <a:pt x="408" y="1458"/>
                  </a:moveTo>
                  <a:lnTo>
                    <a:pt x="408" y="1452"/>
                  </a:lnTo>
                  <a:lnTo>
                    <a:pt x="414" y="1452"/>
                  </a:lnTo>
                  <a:lnTo>
                    <a:pt x="414" y="1446"/>
                  </a:lnTo>
                  <a:lnTo>
                    <a:pt x="414" y="1440"/>
                  </a:lnTo>
                  <a:lnTo>
                    <a:pt x="420" y="1440"/>
                  </a:lnTo>
                  <a:lnTo>
                    <a:pt x="420" y="1434"/>
                  </a:lnTo>
                  <a:lnTo>
                    <a:pt x="420" y="1428"/>
                  </a:lnTo>
                  <a:lnTo>
                    <a:pt x="420" y="1422"/>
                  </a:lnTo>
                  <a:lnTo>
                    <a:pt x="426" y="1422"/>
                  </a:lnTo>
                  <a:lnTo>
                    <a:pt x="432" y="1428"/>
                  </a:lnTo>
                  <a:lnTo>
                    <a:pt x="438" y="1428"/>
                  </a:lnTo>
                  <a:lnTo>
                    <a:pt x="438" y="1434"/>
                  </a:lnTo>
                  <a:lnTo>
                    <a:pt x="438" y="1428"/>
                  </a:lnTo>
                  <a:lnTo>
                    <a:pt x="438" y="1422"/>
                  </a:lnTo>
                  <a:lnTo>
                    <a:pt x="444" y="1416"/>
                  </a:lnTo>
                  <a:lnTo>
                    <a:pt x="444" y="1410"/>
                  </a:lnTo>
                  <a:lnTo>
                    <a:pt x="450" y="1416"/>
                  </a:lnTo>
                  <a:lnTo>
                    <a:pt x="456" y="1416"/>
                  </a:lnTo>
                  <a:lnTo>
                    <a:pt x="456" y="1422"/>
                  </a:lnTo>
                  <a:lnTo>
                    <a:pt x="456" y="1428"/>
                  </a:lnTo>
                  <a:lnTo>
                    <a:pt x="456" y="1434"/>
                  </a:lnTo>
                  <a:lnTo>
                    <a:pt x="456" y="1440"/>
                  </a:lnTo>
                  <a:lnTo>
                    <a:pt x="462" y="1440"/>
                  </a:lnTo>
                  <a:lnTo>
                    <a:pt x="462" y="1446"/>
                  </a:lnTo>
                  <a:lnTo>
                    <a:pt x="462" y="1452"/>
                  </a:lnTo>
                  <a:lnTo>
                    <a:pt x="456" y="1452"/>
                  </a:lnTo>
                  <a:lnTo>
                    <a:pt x="450" y="1452"/>
                  </a:lnTo>
                  <a:lnTo>
                    <a:pt x="444" y="1446"/>
                  </a:lnTo>
                  <a:lnTo>
                    <a:pt x="444" y="1452"/>
                  </a:lnTo>
                  <a:lnTo>
                    <a:pt x="450" y="1452"/>
                  </a:lnTo>
                  <a:lnTo>
                    <a:pt x="450" y="1458"/>
                  </a:lnTo>
                  <a:lnTo>
                    <a:pt x="444" y="1458"/>
                  </a:lnTo>
                  <a:lnTo>
                    <a:pt x="438" y="1464"/>
                  </a:lnTo>
                  <a:lnTo>
                    <a:pt x="438" y="1458"/>
                  </a:lnTo>
                  <a:lnTo>
                    <a:pt x="432" y="1458"/>
                  </a:lnTo>
                  <a:lnTo>
                    <a:pt x="426" y="1458"/>
                  </a:lnTo>
                  <a:lnTo>
                    <a:pt x="432" y="1458"/>
                  </a:lnTo>
                  <a:lnTo>
                    <a:pt x="438" y="1464"/>
                  </a:lnTo>
                  <a:lnTo>
                    <a:pt x="432" y="1464"/>
                  </a:lnTo>
                  <a:lnTo>
                    <a:pt x="432" y="1470"/>
                  </a:lnTo>
                  <a:lnTo>
                    <a:pt x="426" y="1470"/>
                  </a:lnTo>
                  <a:lnTo>
                    <a:pt x="420" y="1476"/>
                  </a:lnTo>
                  <a:lnTo>
                    <a:pt x="420" y="1470"/>
                  </a:lnTo>
                  <a:lnTo>
                    <a:pt x="414" y="1470"/>
                  </a:lnTo>
                  <a:lnTo>
                    <a:pt x="414" y="1464"/>
                  </a:lnTo>
                  <a:lnTo>
                    <a:pt x="414" y="1458"/>
                  </a:lnTo>
                  <a:lnTo>
                    <a:pt x="408" y="1458"/>
                  </a:lnTo>
                  <a:close/>
                  <a:moveTo>
                    <a:pt x="270" y="1326"/>
                  </a:moveTo>
                  <a:lnTo>
                    <a:pt x="270" y="1320"/>
                  </a:lnTo>
                  <a:lnTo>
                    <a:pt x="276" y="1320"/>
                  </a:lnTo>
                  <a:lnTo>
                    <a:pt x="282" y="1326"/>
                  </a:lnTo>
                  <a:lnTo>
                    <a:pt x="288" y="1326"/>
                  </a:lnTo>
                  <a:lnTo>
                    <a:pt x="288" y="1332"/>
                  </a:lnTo>
                  <a:lnTo>
                    <a:pt x="288" y="1338"/>
                  </a:lnTo>
                  <a:lnTo>
                    <a:pt x="288" y="1344"/>
                  </a:lnTo>
                  <a:lnTo>
                    <a:pt x="282" y="1344"/>
                  </a:lnTo>
                  <a:lnTo>
                    <a:pt x="282" y="1338"/>
                  </a:lnTo>
                  <a:lnTo>
                    <a:pt x="276" y="1338"/>
                  </a:lnTo>
                  <a:lnTo>
                    <a:pt x="276" y="1332"/>
                  </a:lnTo>
                  <a:lnTo>
                    <a:pt x="270" y="1332"/>
                  </a:lnTo>
                  <a:lnTo>
                    <a:pt x="270" y="1326"/>
                  </a:lnTo>
                  <a:close/>
                  <a:moveTo>
                    <a:pt x="288" y="1458"/>
                  </a:moveTo>
                  <a:lnTo>
                    <a:pt x="294" y="1458"/>
                  </a:lnTo>
                  <a:lnTo>
                    <a:pt x="294" y="1452"/>
                  </a:lnTo>
                  <a:lnTo>
                    <a:pt x="294" y="1446"/>
                  </a:lnTo>
                  <a:lnTo>
                    <a:pt x="300" y="1446"/>
                  </a:lnTo>
                  <a:lnTo>
                    <a:pt x="300" y="1440"/>
                  </a:lnTo>
                  <a:lnTo>
                    <a:pt x="306" y="1440"/>
                  </a:lnTo>
                  <a:lnTo>
                    <a:pt x="306" y="1446"/>
                  </a:lnTo>
                  <a:lnTo>
                    <a:pt x="312" y="1452"/>
                  </a:lnTo>
                  <a:lnTo>
                    <a:pt x="306" y="1452"/>
                  </a:lnTo>
                  <a:lnTo>
                    <a:pt x="306" y="1458"/>
                  </a:lnTo>
                  <a:lnTo>
                    <a:pt x="312" y="1464"/>
                  </a:lnTo>
                  <a:lnTo>
                    <a:pt x="306" y="1464"/>
                  </a:lnTo>
                  <a:lnTo>
                    <a:pt x="306" y="1470"/>
                  </a:lnTo>
                  <a:lnTo>
                    <a:pt x="300" y="1476"/>
                  </a:lnTo>
                  <a:lnTo>
                    <a:pt x="294" y="1476"/>
                  </a:lnTo>
                  <a:lnTo>
                    <a:pt x="294" y="1470"/>
                  </a:lnTo>
                  <a:lnTo>
                    <a:pt x="288" y="1470"/>
                  </a:lnTo>
                  <a:lnTo>
                    <a:pt x="288" y="1464"/>
                  </a:lnTo>
                  <a:lnTo>
                    <a:pt x="288" y="1458"/>
                  </a:lnTo>
                  <a:close/>
                  <a:moveTo>
                    <a:pt x="270" y="1296"/>
                  </a:moveTo>
                  <a:lnTo>
                    <a:pt x="276" y="1296"/>
                  </a:lnTo>
                  <a:lnTo>
                    <a:pt x="282" y="1296"/>
                  </a:lnTo>
                  <a:lnTo>
                    <a:pt x="288" y="1296"/>
                  </a:lnTo>
                  <a:lnTo>
                    <a:pt x="288" y="1302"/>
                  </a:lnTo>
                  <a:lnTo>
                    <a:pt x="282" y="1308"/>
                  </a:lnTo>
                  <a:lnTo>
                    <a:pt x="276" y="1308"/>
                  </a:lnTo>
                  <a:lnTo>
                    <a:pt x="276" y="1302"/>
                  </a:lnTo>
                  <a:lnTo>
                    <a:pt x="270" y="12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4" name="Freeform 19">
              <a:extLst>
                <a:ext uri="{FF2B5EF4-FFF2-40B4-BE49-F238E27FC236}">
                  <a16:creationId xmlns:a16="http://schemas.microsoft.com/office/drawing/2014/main" id="{5B9020B8-E1C1-4611-A248-9642BBD69C9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7043" y="3765821"/>
              <a:ext cx="333193" cy="398097"/>
            </a:xfrm>
            <a:custGeom>
              <a:avLst/>
              <a:gdLst>
                <a:gd name="T0" fmla="*/ 30 w 624"/>
                <a:gd name="T1" fmla="*/ 61 h 750"/>
                <a:gd name="T2" fmla="*/ 27 w 624"/>
                <a:gd name="T3" fmla="*/ 62 h 750"/>
                <a:gd name="T4" fmla="*/ 23 w 624"/>
                <a:gd name="T5" fmla="*/ 59 h 750"/>
                <a:gd name="T6" fmla="*/ 20 w 624"/>
                <a:gd name="T7" fmla="*/ 58 h 750"/>
                <a:gd name="T8" fmla="*/ 19 w 624"/>
                <a:gd name="T9" fmla="*/ 56 h 750"/>
                <a:gd name="T10" fmla="*/ 17 w 624"/>
                <a:gd name="T11" fmla="*/ 55 h 750"/>
                <a:gd name="T12" fmla="*/ 16 w 624"/>
                <a:gd name="T13" fmla="*/ 51 h 750"/>
                <a:gd name="T14" fmla="*/ 14 w 624"/>
                <a:gd name="T15" fmla="*/ 48 h 750"/>
                <a:gd name="T16" fmla="*/ 12 w 624"/>
                <a:gd name="T17" fmla="*/ 46 h 750"/>
                <a:gd name="T18" fmla="*/ 12 w 624"/>
                <a:gd name="T19" fmla="*/ 44 h 750"/>
                <a:gd name="T20" fmla="*/ 11 w 624"/>
                <a:gd name="T21" fmla="*/ 41 h 750"/>
                <a:gd name="T22" fmla="*/ 8 w 624"/>
                <a:gd name="T23" fmla="*/ 38 h 750"/>
                <a:gd name="T24" fmla="*/ 6 w 624"/>
                <a:gd name="T25" fmla="*/ 38 h 750"/>
                <a:gd name="T26" fmla="*/ 6 w 624"/>
                <a:gd name="T27" fmla="*/ 35 h 750"/>
                <a:gd name="T28" fmla="*/ 7 w 624"/>
                <a:gd name="T29" fmla="*/ 31 h 750"/>
                <a:gd name="T30" fmla="*/ 10 w 624"/>
                <a:gd name="T31" fmla="*/ 27 h 750"/>
                <a:gd name="T32" fmla="*/ 8 w 624"/>
                <a:gd name="T33" fmla="*/ 23 h 750"/>
                <a:gd name="T34" fmla="*/ 6 w 624"/>
                <a:gd name="T35" fmla="*/ 23 h 750"/>
                <a:gd name="T36" fmla="*/ 3 w 624"/>
                <a:gd name="T37" fmla="*/ 22 h 750"/>
                <a:gd name="T38" fmla="*/ 0 w 624"/>
                <a:gd name="T39" fmla="*/ 22 h 750"/>
                <a:gd name="T40" fmla="*/ 0 w 624"/>
                <a:gd name="T41" fmla="*/ 19 h 750"/>
                <a:gd name="T42" fmla="*/ 1 w 624"/>
                <a:gd name="T43" fmla="*/ 18 h 750"/>
                <a:gd name="T44" fmla="*/ 2 w 624"/>
                <a:gd name="T45" fmla="*/ 14 h 750"/>
                <a:gd name="T46" fmla="*/ 4 w 624"/>
                <a:gd name="T47" fmla="*/ 17 h 750"/>
                <a:gd name="T48" fmla="*/ 6 w 624"/>
                <a:gd name="T49" fmla="*/ 17 h 750"/>
                <a:gd name="T50" fmla="*/ 7 w 624"/>
                <a:gd name="T51" fmla="*/ 17 h 750"/>
                <a:gd name="T52" fmla="*/ 9 w 624"/>
                <a:gd name="T53" fmla="*/ 15 h 750"/>
                <a:gd name="T54" fmla="*/ 10 w 624"/>
                <a:gd name="T55" fmla="*/ 14 h 750"/>
                <a:gd name="T56" fmla="*/ 11 w 624"/>
                <a:gd name="T57" fmla="*/ 12 h 750"/>
                <a:gd name="T58" fmla="*/ 13 w 624"/>
                <a:gd name="T59" fmla="*/ 12 h 750"/>
                <a:gd name="T60" fmla="*/ 18 w 624"/>
                <a:gd name="T61" fmla="*/ 10 h 750"/>
                <a:gd name="T62" fmla="*/ 22 w 624"/>
                <a:gd name="T63" fmla="*/ 4 h 750"/>
                <a:gd name="T64" fmla="*/ 24 w 624"/>
                <a:gd name="T65" fmla="*/ 4 h 750"/>
                <a:gd name="T66" fmla="*/ 26 w 624"/>
                <a:gd name="T67" fmla="*/ 2 h 750"/>
                <a:gd name="T68" fmla="*/ 29 w 624"/>
                <a:gd name="T69" fmla="*/ 0 h 750"/>
                <a:gd name="T70" fmla="*/ 32 w 624"/>
                <a:gd name="T71" fmla="*/ 2 h 750"/>
                <a:gd name="T72" fmla="*/ 34 w 624"/>
                <a:gd name="T73" fmla="*/ 5 h 750"/>
                <a:gd name="T74" fmla="*/ 35 w 624"/>
                <a:gd name="T75" fmla="*/ 8 h 750"/>
                <a:gd name="T76" fmla="*/ 39 w 624"/>
                <a:gd name="T77" fmla="*/ 11 h 750"/>
                <a:gd name="T78" fmla="*/ 42 w 624"/>
                <a:gd name="T79" fmla="*/ 14 h 750"/>
                <a:gd name="T80" fmla="*/ 46 w 624"/>
                <a:gd name="T81" fmla="*/ 12 h 750"/>
                <a:gd name="T82" fmla="*/ 49 w 624"/>
                <a:gd name="T83" fmla="*/ 12 h 750"/>
                <a:gd name="T84" fmla="*/ 51 w 624"/>
                <a:gd name="T85" fmla="*/ 12 h 750"/>
                <a:gd name="T86" fmla="*/ 53 w 624"/>
                <a:gd name="T87" fmla="*/ 12 h 750"/>
                <a:gd name="T88" fmla="*/ 53 w 624"/>
                <a:gd name="T89" fmla="*/ 17 h 750"/>
                <a:gd name="T90" fmla="*/ 51 w 624"/>
                <a:gd name="T91" fmla="*/ 20 h 750"/>
                <a:gd name="T92" fmla="*/ 49 w 624"/>
                <a:gd name="T93" fmla="*/ 26 h 750"/>
                <a:gd name="T94" fmla="*/ 47 w 624"/>
                <a:gd name="T95" fmla="*/ 26 h 750"/>
                <a:gd name="T96" fmla="*/ 44 w 624"/>
                <a:gd name="T97" fmla="*/ 26 h 750"/>
                <a:gd name="T98" fmla="*/ 43 w 624"/>
                <a:gd name="T99" fmla="*/ 27 h 750"/>
                <a:gd name="T100" fmla="*/ 45 w 624"/>
                <a:gd name="T101" fmla="*/ 32 h 750"/>
                <a:gd name="T102" fmla="*/ 44 w 624"/>
                <a:gd name="T103" fmla="*/ 43 h 750"/>
                <a:gd name="T104" fmla="*/ 44 w 624"/>
                <a:gd name="T105" fmla="*/ 47 h 750"/>
                <a:gd name="T106" fmla="*/ 44 w 624"/>
                <a:gd name="T107" fmla="*/ 54 h 750"/>
                <a:gd name="T108" fmla="*/ 41 w 624"/>
                <a:gd name="T109" fmla="*/ 60 h 750"/>
                <a:gd name="T110" fmla="*/ 42 w 624"/>
                <a:gd name="T111" fmla="*/ 62 h 750"/>
                <a:gd name="T112" fmla="*/ 43 w 624"/>
                <a:gd name="T113" fmla="*/ 65 h 750"/>
                <a:gd name="T114" fmla="*/ 39 w 624"/>
                <a:gd name="T115" fmla="*/ 63 h 750"/>
                <a:gd name="T116" fmla="*/ 35 w 624"/>
                <a:gd name="T117" fmla="*/ 62 h 75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24"/>
                <a:gd name="T178" fmla="*/ 0 h 750"/>
                <a:gd name="T179" fmla="*/ 624 w 624"/>
                <a:gd name="T180" fmla="*/ 750 h 75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24" h="750">
                  <a:moveTo>
                    <a:pt x="390" y="702"/>
                  </a:moveTo>
                  <a:lnTo>
                    <a:pt x="372" y="696"/>
                  </a:lnTo>
                  <a:lnTo>
                    <a:pt x="360" y="702"/>
                  </a:lnTo>
                  <a:lnTo>
                    <a:pt x="348" y="702"/>
                  </a:lnTo>
                  <a:lnTo>
                    <a:pt x="336" y="702"/>
                  </a:lnTo>
                  <a:lnTo>
                    <a:pt x="330" y="702"/>
                  </a:lnTo>
                  <a:lnTo>
                    <a:pt x="318" y="708"/>
                  </a:lnTo>
                  <a:lnTo>
                    <a:pt x="306" y="708"/>
                  </a:lnTo>
                  <a:lnTo>
                    <a:pt x="294" y="690"/>
                  </a:lnTo>
                  <a:lnTo>
                    <a:pt x="294" y="684"/>
                  </a:lnTo>
                  <a:lnTo>
                    <a:pt x="276" y="684"/>
                  </a:lnTo>
                  <a:lnTo>
                    <a:pt x="270" y="678"/>
                  </a:lnTo>
                  <a:lnTo>
                    <a:pt x="240" y="672"/>
                  </a:lnTo>
                  <a:lnTo>
                    <a:pt x="234" y="672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6"/>
                  </a:lnTo>
                  <a:lnTo>
                    <a:pt x="216" y="660"/>
                  </a:lnTo>
                  <a:lnTo>
                    <a:pt x="216" y="654"/>
                  </a:lnTo>
                  <a:lnTo>
                    <a:pt x="216" y="642"/>
                  </a:lnTo>
                  <a:lnTo>
                    <a:pt x="210" y="642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36"/>
                  </a:lnTo>
                  <a:lnTo>
                    <a:pt x="192" y="624"/>
                  </a:lnTo>
                  <a:lnTo>
                    <a:pt x="186" y="612"/>
                  </a:lnTo>
                  <a:lnTo>
                    <a:pt x="186" y="600"/>
                  </a:lnTo>
                  <a:lnTo>
                    <a:pt x="186" y="588"/>
                  </a:lnTo>
                  <a:lnTo>
                    <a:pt x="180" y="582"/>
                  </a:lnTo>
                  <a:lnTo>
                    <a:pt x="180" y="570"/>
                  </a:lnTo>
                  <a:lnTo>
                    <a:pt x="174" y="558"/>
                  </a:lnTo>
                  <a:lnTo>
                    <a:pt x="162" y="558"/>
                  </a:lnTo>
                  <a:lnTo>
                    <a:pt x="144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38" y="534"/>
                  </a:lnTo>
                  <a:lnTo>
                    <a:pt x="138" y="528"/>
                  </a:lnTo>
                  <a:lnTo>
                    <a:pt x="132" y="522"/>
                  </a:lnTo>
                  <a:lnTo>
                    <a:pt x="144" y="522"/>
                  </a:lnTo>
                  <a:lnTo>
                    <a:pt x="144" y="510"/>
                  </a:lnTo>
                  <a:lnTo>
                    <a:pt x="144" y="504"/>
                  </a:lnTo>
                  <a:lnTo>
                    <a:pt x="138" y="492"/>
                  </a:lnTo>
                  <a:lnTo>
                    <a:pt x="138" y="474"/>
                  </a:lnTo>
                  <a:lnTo>
                    <a:pt x="126" y="468"/>
                  </a:lnTo>
                  <a:lnTo>
                    <a:pt x="120" y="456"/>
                  </a:lnTo>
                  <a:lnTo>
                    <a:pt x="114" y="450"/>
                  </a:lnTo>
                  <a:lnTo>
                    <a:pt x="108" y="438"/>
                  </a:lnTo>
                  <a:lnTo>
                    <a:pt x="96" y="432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60" y="426"/>
                  </a:lnTo>
                  <a:lnTo>
                    <a:pt x="66" y="420"/>
                  </a:lnTo>
                  <a:lnTo>
                    <a:pt x="66" y="408"/>
                  </a:lnTo>
                  <a:lnTo>
                    <a:pt x="72" y="408"/>
                  </a:lnTo>
                  <a:lnTo>
                    <a:pt x="72" y="384"/>
                  </a:lnTo>
                  <a:lnTo>
                    <a:pt x="72" y="366"/>
                  </a:lnTo>
                  <a:lnTo>
                    <a:pt x="78" y="354"/>
                  </a:lnTo>
                  <a:lnTo>
                    <a:pt x="84" y="354"/>
                  </a:lnTo>
                  <a:lnTo>
                    <a:pt x="90" y="348"/>
                  </a:lnTo>
                  <a:lnTo>
                    <a:pt x="102" y="336"/>
                  </a:lnTo>
                  <a:lnTo>
                    <a:pt x="114" y="324"/>
                  </a:lnTo>
                  <a:lnTo>
                    <a:pt x="120" y="312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20" y="276"/>
                  </a:lnTo>
                  <a:lnTo>
                    <a:pt x="96" y="270"/>
                  </a:lnTo>
                  <a:lnTo>
                    <a:pt x="84" y="270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72" y="264"/>
                  </a:lnTo>
                  <a:lnTo>
                    <a:pt x="60" y="252"/>
                  </a:lnTo>
                  <a:lnTo>
                    <a:pt x="42" y="252"/>
                  </a:lnTo>
                  <a:lnTo>
                    <a:pt x="42" y="258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18" y="252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42" y="156"/>
                  </a:lnTo>
                  <a:lnTo>
                    <a:pt x="48" y="198"/>
                  </a:lnTo>
                  <a:lnTo>
                    <a:pt x="48" y="204"/>
                  </a:lnTo>
                  <a:lnTo>
                    <a:pt x="54" y="198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204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192"/>
                  </a:lnTo>
                  <a:lnTo>
                    <a:pt x="96" y="186"/>
                  </a:lnTo>
                  <a:lnTo>
                    <a:pt x="102" y="180"/>
                  </a:lnTo>
                  <a:lnTo>
                    <a:pt x="102" y="174"/>
                  </a:lnTo>
                  <a:lnTo>
                    <a:pt x="108" y="168"/>
                  </a:lnTo>
                  <a:lnTo>
                    <a:pt x="108" y="162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0"/>
                  </a:lnTo>
                  <a:lnTo>
                    <a:pt x="132" y="144"/>
                  </a:lnTo>
                  <a:lnTo>
                    <a:pt x="138" y="138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0" y="132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74" y="126"/>
                  </a:lnTo>
                  <a:lnTo>
                    <a:pt x="204" y="120"/>
                  </a:lnTo>
                  <a:lnTo>
                    <a:pt x="210" y="78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54"/>
                  </a:lnTo>
                  <a:lnTo>
                    <a:pt x="276" y="54"/>
                  </a:lnTo>
                  <a:lnTo>
                    <a:pt x="276" y="48"/>
                  </a:lnTo>
                  <a:lnTo>
                    <a:pt x="282" y="48"/>
                  </a:lnTo>
                  <a:lnTo>
                    <a:pt x="288" y="42"/>
                  </a:lnTo>
                  <a:lnTo>
                    <a:pt x="294" y="42"/>
                  </a:lnTo>
                  <a:lnTo>
                    <a:pt x="294" y="18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0"/>
                  </a:lnTo>
                  <a:lnTo>
                    <a:pt x="336" y="0"/>
                  </a:lnTo>
                  <a:lnTo>
                    <a:pt x="342" y="0"/>
                  </a:lnTo>
                  <a:lnTo>
                    <a:pt x="354" y="6"/>
                  </a:lnTo>
                  <a:lnTo>
                    <a:pt x="366" y="18"/>
                  </a:lnTo>
                  <a:lnTo>
                    <a:pt x="378" y="36"/>
                  </a:lnTo>
                  <a:lnTo>
                    <a:pt x="390" y="42"/>
                  </a:lnTo>
                  <a:lnTo>
                    <a:pt x="390" y="48"/>
                  </a:lnTo>
                  <a:lnTo>
                    <a:pt x="396" y="60"/>
                  </a:lnTo>
                  <a:lnTo>
                    <a:pt x="402" y="72"/>
                  </a:lnTo>
                  <a:lnTo>
                    <a:pt x="408" y="78"/>
                  </a:lnTo>
                  <a:lnTo>
                    <a:pt x="402" y="84"/>
                  </a:lnTo>
                  <a:lnTo>
                    <a:pt x="408" y="90"/>
                  </a:lnTo>
                  <a:lnTo>
                    <a:pt x="414" y="102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50" y="126"/>
                  </a:lnTo>
                  <a:lnTo>
                    <a:pt x="456" y="126"/>
                  </a:lnTo>
                  <a:lnTo>
                    <a:pt x="462" y="144"/>
                  </a:lnTo>
                  <a:lnTo>
                    <a:pt x="480" y="156"/>
                  </a:lnTo>
                  <a:lnTo>
                    <a:pt x="492" y="156"/>
                  </a:lnTo>
                  <a:lnTo>
                    <a:pt x="516" y="150"/>
                  </a:lnTo>
                  <a:lnTo>
                    <a:pt x="516" y="144"/>
                  </a:lnTo>
                  <a:lnTo>
                    <a:pt x="516" y="138"/>
                  </a:lnTo>
                  <a:lnTo>
                    <a:pt x="528" y="138"/>
                  </a:lnTo>
                  <a:lnTo>
                    <a:pt x="546" y="144"/>
                  </a:lnTo>
                  <a:lnTo>
                    <a:pt x="546" y="138"/>
                  </a:lnTo>
                  <a:lnTo>
                    <a:pt x="552" y="138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76" y="138"/>
                  </a:lnTo>
                  <a:lnTo>
                    <a:pt x="582" y="138"/>
                  </a:lnTo>
                  <a:lnTo>
                    <a:pt x="588" y="138"/>
                  </a:lnTo>
                  <a:lnTo>
                    <a:pt x="594" y="138"/>
                  </a:lnTo>
                  <a:lnTo>
                    <a:pt x="594" y="144"/>
                  </a:lnTo>
                  <a:lnTo>
                    <a:pt x="600" y="138"/>
                  </a:lnTo>
                  <a:lnTo>
                    <a:pt x="606" y="138"/>
                  </a:lnTo>
                  <a:lnTo>
                    <a:pt x="606" y="144"/>
                  </a:lnTo>
                  <a:lnTo>
                    <a:pt x="612" y="144"/>
                  </a:lnTo>
                  <a:lnTo>
                    <a:pt x="618" y="156"/>
                  </a:lnTo>
                  <a:lnTo>
                    <a:pt x="612" y="198"/>
                  </a:lnTo>
                  <a:lnTo>
                    <a:pt x="624" y="198"/>
                  </a:lnTo>
                  <a:lnTo>
                    <a:pt x="624" y="204"/>
                  </a:lnTo>
                  <a:lnTo>
                    <a:pt x="612" y="216"/>
                  </a:lnTo>
                  <a:lnTo>
                    <a:pt x="594" y="234"/>
                  </a:lnTo>
                  <a:lnTo>
                    <a:pt x="588" y="252"/>
                  </a:lnTo>
                  <a:lnTo>
                    <a:pt x="576" y="270"/>
                  </a:lnTo>
                  <a:lnTo>
                    <a:pt x="564" y="282"/>
                  </a:lnTo>
                  <a:lnTo>
                    <a:pt x="564" y="294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8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34" y="294"/>
                  </a:lnTo>
                  <a:lnTo>
                    <a:pt x="522" y="300"/>
                  </a:lnTo>
                  <a:lnTo>
                    <a:pt x="510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498" y="324"/>
                  </a:lnTo>
                  <a:lnTo>
                    <a:pt x="504" y="336"/>
                  </a:lnTo>
                  <a:lnTo>
                    <a:pt x="510" y="348"/>
                  </a:lnTo>
                  <a:lnTo>
                    <a:pt x="516" y="366"/>
                  </a:lnTo>
                  <a:lnTo>
                    <a:pt x="522" y="432"/>
                  </a:lnTo>
                  <a:lnTo>
                    <a:pt x="522" y="456"/>
                  </a:lnTo>
                  <a:lnTo>
                    <a:pt x="504" y="492"/>
                  </a:lnTo>
                  <a:lnTo>
                    <a:pt x="504" y="498"/>
                  </a:lnTo>
                  <a:lnTo>
                    <a:pt x="498" y="504"/>
                  </a:lnTo>
                  <a:lnTo>
                    <a:pt x="498" y="522"/>
                  </a:lnTo>
                  <a:lnTo>
                    <a:pt x="504" y="534"/>
                  </a:lnTo>
                  <a:lnTo>
                    <a:pt x="510" y="546"/>
                  </a:lnTo>
                  <a:lnTo>
                    <a:pt x="516" y="558"/>
                  </a:lnTo>
                  <a:lnTo>
                    <a:pt x="516" y="588"/>
                  </a:lnTo>
                  <a:lnTo>
                    <a:pt x="516" y="600"/>
                  </a:lnTo>
                  <a:lnTo>
                    <a:pt x="510" y="618"/>
                  </a:lnTo>
                  <a:lnTo>
                    <a:pt x="504" y="636"/>
                  </a:lnTo>
                  <a:lnTo>
                    <a:pt x="504" y="642"/>
                  </a:lnTo>
                  <a:lnTo>
                    <a:pt x="474" y="654"/>
                  </a:lnTo>
                  <a:lnTo>
                    <a:pt x="474" y="690"/>
                  </a:lnTo>
                  <a:lnTo>
                    <a:pt x="474" y="696"/>
                  </a:lnTo>
                  <a:lnTo>
                    <a:pt x="480" y="702"/>
                  </a:lnTo>
                  <a:lnTo>
                    <a:pt x="486" y="708"/>
                  </a:lnTo>
                  <a:lnTo>
                    <a:pt x="492" y="708"/>
                  </a:lnTo>
                  <a:lnTo>
                    <a:pt x="498" y="726"/>
                  </a:lnTo>
                  <a:lnTo>
                    <a:pt x="504" y="726"/>
                  </a:lnTo>
                  <a:lnTo>
                    <a:pt x="504" y="738"/>
                  </a:lnTo>
                  <a:lnTo>
                    <a:pt x="498" y="744"/>
                  </a:lnTo>
                  <a:lnTo>
                    <a:pt x="486" y="750"/>
                  </a:lnTo>
                  <a:lnTo>
                    <a:pt x="474" y="744"/>
                  </a:lnTo>
                  <a:lnTo>
                    <a:pt x="462" y="744"/>
                  </a:lnTo>
                  <a:lnTo>
                    <a:pt x="456" y="732"/>
                  </a:lnTo>
                  <a:lnTo>
                    <a:pt x="444" y="732"/>
                  </a:lnTo>
                  <a:lnTo>
                    <a:pt x="432" y="726"/>
                  </a:lnTo>
                  <a:lnTo>
                    <a:pt x="420" y="720"/>
                  </a:lnTo>
                  <a:lnTo>
                    <a:pt x="408" y="708"/>
                  </a:lnTo>
                  <a:lnTo>
                    <a:pt x="402" y="708"/>
                  </a:lnTo>
                  <a:lnTo>
                    <a:pt x="390" y="70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5" name="Freeform 20">
              <a:extLst>
                <a:ext uri="{FF2B5EF4-FFF2-40B4-BE49-F238E27FC236}">
                  <a16:creationId xmlns:a16="http://schemas.microsoft.com/office/drawing/2014/main" id="{B8342C3B-ECEC-465F-AAFF-4815B8AC392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870937"/>
              <a:ext cx="313067" cy="377968"/>
            </a:xfrm>
            <a:custGeom>
              <a:avLst/>
              <a:gdLst>
                <a:gd name="T0" fmla="*/ 15 w 588"/>
                <a:gd name="T1" fmla="*/ 59 h 714"/>
                <a:gd name="T2" fmla="*/ 14 w 588"/>
                <a:gd name="T3" fmla="*/ 58 h 714"/>
                <a:gd name="T4" fmla="*/ 9 w 588"/>
                <a:gd name="T5" fmla="*/ 54 h 714"/>
                <a:gd name="T6" fmla="*/ 4 w 588"/>
                <a:gd name="T7" fmla="*/ 54 h 714"/>
                <a:gd name="T8" fmla="*/ 0 w 588"/>
                <a:gd name="T9" fmla="*/ 50 h 714"/>
                <a:gd name="T10" fmla="*/ 0 w 588"/>
                <a:gd name="T11" fmla="*/ 44 h 714"/>
                <a:gd name="T12" fmla="*/ 4 w 588"/>
                <a:gd name="T13" fmla="*/ 46 h 714"/>
                <a:gd name="T14" fmla="*/ 7 w 588"/>
                <a:gd name="T15" fmla="*/ 47 h 714"/>
                <a:gd name="T16" fmla="*/ 10 w 588"/>
                <a:gd name="T17" fmla="*/ 46 h 714"/>
                <a:gd name="T18" fmla="*/ 8 w 588"/>
                <a:gd name="T19" fmla="*/ 44 h 714"/>
                <a:gd name="T20" fmla="*/ 10 w 588"/>
                <a:gd name="T21" fmla="*/ 39 h 714"/>
                <a:gd name="T22" fmla="*/ 11 w 588"/>
                <a:gd name="T23" fmla="*/ 34 h 714"/>
                <a:gd name="T24" fmla="*/ 9 w 588"/>
                <a:gd name="T25" fmla="*/ 28 h 714"/>
                <a:gd name="T26" fmla="*/ 11 w 588"/>
                <a:gd name="T27" fmla="*/ 22 h 714"/>
                <a:gd name="T28" fmla="*/ 10 w 588"/>
                <a:gd name="T29" fmla="*/ 12 h 714"/>
                <a:gd name="T30" fmla="*/ 9 w 588"/>
                <a:gd name="T31" fmla="*/ 9 h 714"/>
                <a:gd name="T32" fmla="*/ 12 w 588"/>
                <a:gd name="T33" fmla="*/ 8 h 714"/>
                <a:gd name="T34" fmla="*/ 14 w 588"/>
                <a:gd name="T35" fmla="*/ 7 h 714"/>
                <a:gd name="T36" fmla="*/ 17 w 588"/>
                <a:gd name="T37" fmla="*/ 10 h 714"/>
                <a:gd name="T38" fmla="*/ 23 w 588"/>
                <a:gd name="T39" fmla="*/ 14 h 714"/>
                <a:gd name="T40" fmla="*/ 28 w 588"/>
                <a:gd name="T41" fmla="*/ 4 h 714"/>
                <a:gd name="T42" fmla="*/ 35 w 588"/>
                <a:gd name="T43" fmla="*/ 2 h 714"/>
                <a:gd name="T44" fmla="*/ 38 w 588"/>
                <a:gd name="T45" fmla="*/ 0 h 714"/>
                <a:gd name="T46" fmla="*/ 40 w 588"/>
                <a:gd name="T47" fmla="*/ 2 h 714"/>
                <a:gd name="T48" fmla="*/ 39 w 588"/>
                <a:gd name="T49" fmla="*/ 4 h 714"/>
                <a:gd name="T50" fmla="*/ 41 w 588"/>
                <a:gd name="T51" fmla="*/ 5 h 714"/>
                <a:gd name="T52" fmla="*/ 42 w 588"/>
                <a:gd name="T53" fmla="*/ 7 h 714"/>
                <a:gd name="T54" fmla="*/ 43 w 588"/>
                <a:gd name="T55" fmla="*/ 9 h 714"/>
                <a:gd name="T56" fmla="*/ 43 w 588"/>
                <a:gd name="T57" fmla="*/ 10 h 714"/>
                <a:gd name="T58" fmla="*/ 43 w 588"/>
                <a:gd name="T59" fmla="*/ 12 h 714"/>
                <a:gd name="T60" fmla="*/ 44 w 588"/>
                <a:gd name="T61" fmla="*/ 12 h 714"/>
                <a:gd name="T62" fmla="*/ 46 w 588"/>
                <a:gd name="T63" fmla="*/ 13 h 714"/>
                <a:gd name="T64" fmla="*/ 47 w 588"/>
                <a:gd name="T65" fmla="*/ 14 h 714"/>
                <a:gd name="T66" fmla="*/ 48 w 588"/>
                <a:gd name="T67" fmla="*/ 15 h 714"/>
                <a:gd name="T68" fmla="*/ 49 w 588"/>
                <a:gd name="T69" fmla="*/ 15 h 714"/>
                <a:gd name="T70" fmla="*/ 48 w 588"/>
                <a:gd name="T71" fmla="*/ 17 h 714"/>
                <a:gd name="T72" fmla="*/ 49 w 588"/>
                <a:gd name="T73" fmla="*/ 19 h 714"/>
                <a:gd name="T74" fmla="*/ 49 w 588"/>
                <a:gd name="T75" fmla="*/ 20 h 714"/>
                <a:gd name="T76" fmla="*/ 51 w 588"/>
                <a:gd name="T77" fmla="*/ 21 h 714"/>
                <a:gd name="T78" fmla="*/ 50 w 588"/>
                <a:gd name="T79" fmla="*/ 22 h 714"/>
                <a:gd name="T80" fmla="*/ 47 w 588"/>
                <a:gd name="T81" fmla="*/ 23 h 714"/>
                <a:gd name="T82" fmla="*/ 47 w 588"/>
                <a:gd name="T83" fmla="*/ 26 h 714"/>
                <a:gd name="T84" fmla="*/ 47 w 588"/>
                <a:gd name="T85" fmla="*/ 32 h 714"/>
                <a:gd name="T86" fmla="*/ 44 w 588"/>
                <a:gd name="T87" fmla="*/ 35 h 714"/>
                <a:gd name="T88" fmla="*/ 42 w 588"/>
                <a:gd name="T89" fmla="*/ 39 h 714"/>
                <a:gd name="T90" fmla="*/ 42 w 588"/>
                <a:gd name="T91" fmla="*/ 41 h 714"/>
                <a:gd name="T92" fmla="*/ 42 w 588"/>
                <a:gd name="T93" fmla="*/ 42 h 714"/>
                <a:gd name="T94" fmla="*/ 41 w 588"/>
                <a:gd name="T95" fmla="*/ 44 h 714"/>
                <a:gd name="T96" fmla="*/ 39 w 588"/>
                <a:gd name="T97" fmla="*/ 43 h 714"/>
                <a:gd name="T98" fmla="*/ 37 w 588"/>
                <a:gd name="T99" fmla="*/ 44 h 714"/>
                <a:gd name="T100" fmla="*/ 35 w 588"/>
                <a:gd name="T101" fmla="*/ 46 h 714"/>
                <a:gd name="T102" fmla="*/ 31 w 588"/>
                <a:gd name="T103" fmla="*/ 45 h 714"/>
                <a:gd name="T104" fmla="*/ 24 w 588"/>
                <a:gd name="T105" fmla="*/ 45 h 714"/>
                <a:gd name="T106" fmla="*/ 25 w 588"/>
                <a:gd name="T107" fmla="*/ 47 h 714"/>
                <a:gd name="T108" fmla="*/ 25 w 588"/>
                <a:gd name="T109" fmla="*/ 49 h 714"/>
                <a:gd name="T110" fmla="*/ 25 w 588"/>
                <a:gd name="T111" fmla="*/ 50 h 714"/>
                <a:gd name="T112" fmla="*/ 24 w 588"/>
                <a:gd name="T113" fmla="*/ 51 h 714"/>
                <a:gd name="T114" fmla="*/ 22 w 588"/>
                <a:gd name="T115" fmla="*/ 53 h 714"/>
                <a:gd name="T116" fmla="*/ 23 w 588"/>
                <a:gd name="T117" fmla="*/ 56 h 714"/>
                <a:gd name="T118" fmla="*/ 20 w 588"/>
                <a:gd name="T119" fmla="*/ 58 h 714"/>
                <a:gd name="T120" fmla="*/ 19 w 588"/>
                <a:gd name="T121" fmla="*/ 62 h 7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8"/>
                <a:gd name="T184" fmla="*/ 0 h 714"/>
                <a:gd name="T185" fmla="*/ 588 w 588"/>
                <a:gd name="T186" fmla="*/ 714 h 7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8" h="714">
                  <a:moveTo>
                    <a:pt x="216" y="714"/>
                  </a:moveTo>
                  <a:lnTo>
                    <a:pt x="198" y="702"/>
                  </a:lnTo>
                  <a:lnTo>
                    <a:pt x="186" y="696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74" y="678"/>
                  </a:lnTo>
                  <a:lnTo>
                    <a:pt x="168" y="672"/>
                  </a:lnTo>
                  <a:lnTo>
                    <a:pt x="162" y="666"/>
                  </a:lnTo>
                  <a:lnTo>
                    <a:pt x="156" y="636"/>
                  </a:lnTo>
                  <a:lnTo>
                    <a:pt x="144" y="630"/>
                  </a:lnTo>
                  <a:lnTo>
                    <a:pt x="108" y="630"/>
                  </a:lnTo>
                  <a:lnTo>
                    <a:pt x="102" y="624"/>
                  </a:lnTo>
                  <a:lnTo>
                    <a:pt x="96" y="624"/>
                  </a:lnTo>
                  <a:lnTo>
                    <a:pt x="72" y="624"/>
                  </a:lnTo>
                  <a:lnTo>
                    <a:pt x="54" y="624"/>
                  </a:lnTo>
                  <a:lnTo>
                    <a:pt x="42" y="618"/>
                  </a:lnTo>
                  <a:lnTo>
                    <a:pt x="30" y="612"/>
                  </a:lnTo>
                  <a:lnTo>
                    <a:pt x="6" y="606"/>
                  </a:lnTo>
                  <a:lnTo>
                    <a:pt x="0" y="606"/>
                  </a:lnTo>
                  <a:lnTo>
                    <a:pt x="0" y="570"/>
                  </a:lnTo>
                  <a:lnTo>
                    <a:pt x="6" y="552"/>
                  </a:lnTo>
                  <a:lnTo>
                    <a:pt x="6" y="522"/>
                  </a:lnTo>
                  <a:lnTo>
                    <a:pt x="0" y="510"/>
                  </a:lnTo>
                  <a:lnTo>
                    <a:pt x="0" y="504"/>
                  </a:lnTo>
                  <a:lnTo>
                    <a:pt x="12" y="510"/>
                  </a:lnTo>
                  <a:lnTo>
                    <a:pt x="18" y="510"/>
                  </a:lnTo>
                  <a:lnTo>
                    <a:pt x="30" y="522"/>
                  </a:lnTo>
                  <a:lnTo>
                    <a:pt x="42" y="528"/>
                  </a:lnTo>
                  <a:lnTo>
                    <a:pt x="54" y="534"/>
                  </a:lnTo>
                  <a:lnTo>
                    <a:pt x="66" y="534"/>
                  </a:lnTo>
                  <a:lnTo>
                    <a:pt x="72" y="546"/>
                  </a:lnTo>
                  <a:lnTo>
                    <a:pt x="84" y="546"/>
                  </a:lnTo>
                  <a:lnTo>
                    <a:pt x="96" y="552"/>
                  </a:lnTo>
                  <a:lnTo>
                    <a:pt x="108" y="546"/>
                  </a:lnTo>
                  <a:lnTo>
                    <a:pt x="114" y="540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90" y="504"/>
                  </a:lnTo>
                  <a:lnTo>
                    <a:pt x="84" y="498"/>
                  </a:lnTo>
                  <a:lnTo>
                    <a:pt x="84" y="492"/>
                  </a:lnTo>
                  <a:lnTo>
                    <a:pt x="84" y="456"/>
                  </a:lnTo>
                  <a:lnTo>
                    <a:pt x="114" y="444"/>
                  </a:lnTo>
                  <a:lnTo>
                    <a:pt x="114" y="438"/>
                  </a:lnTo>
                  <a:lnTo>
                    <a:pt x="120" y="420"/>
                  </a:lnTo>
                  <a:lnTo>
                    <a:pt x="126" y="402"/>
                  </a:lnTo>
                  <a:lnTo>
                    <a:pt x="126" y="390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14" y="336"/>
                  </a:lnTo>
                  <a:lnTo>
                    <a:pt x="108" y="324"/>
                  </a:lnTo>
                  <a:lnTo>
                    <a:pt x="108" y="306"/>
                  </a:lnTo>
                  <a:lnTo>
                    <a:pt x="114" y="300"/>
                  </a:lnTo>
                  <a:lnTo>
                    <a:pt x="114" y="294"/>
                  </a:lnTo>
                  <a:lnTo>
                    <a:pt x="132" y="258"/>
                  </a:lnTo>
                  <a:lnTo>
                    <a:pt x="132" y="234"/>
                  </a:lnTo>
                  <a:lnTo>
                    <a:pt x="126" y="168"/>
                  </a:lnTo>
                  <a:lnTo>
                    <a:pt x="120" y="150"/>
                  </a:lnTo>
                  <a:lnTo>
                    <a:pt x="114" y="138"/>
                  </a:lnTo>
                  <a:lnTo>
                    <a:pt x="108" y="126"/>
                  </a:lnTo>
                  <a:lnTo>
                    <a:pt x="108" y="120"/>
                  </a:lnTo>
                  <a:lnTo>
                    <a:pt x="108" y="114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20" y="96"/>
                  </a:lnTo>
                  <a:lnTo>
                    <a:pt x="132" y="102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56" y="90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96"/>
                  </a:lnTo>
                  <a:lnTo>
                    <a:pt x="186" y="96"/>
                  </a:lnTo>
                  <a:lnTo>
                    <a:pt x="192" y="114"/>
                  </a:lnTo>
                  <a:lnTo>
                    <a:pt x="204" y="132"/>
                  </a:lnTo>
                  <a:lnTo>
                    <a:pt x="216" y="144"/>
                  </a:lnTo>
                  <a:lnTo>
                    <a:pt x="240" y="162"/>
                  </a:lnTo>
                  <a:lnTo>
                    <a:pt x="270" y="156"/>
                  </a:lnTo>
                  <a:lnTo>
                    <a:pt x="282" y="126"/>
                  </a:lnTo>
                  <a:lnTo>
                    <a:pt x="282" y="96"/>
                  </a:lnTo>
                  <a:lnTo>
                    <a:pt x="294" y="54"/>
                  </a:lnTo>
                  <a:lnTo>
                    <a:pt x="324" y="48"/>
                  </a:lnTo>
                  <a:lnTo>
                    <a:pt x="342" y="48"/>
                  </a:lnTo>
                  <a:lnTo>
                    <a:pt x="384" y="48"/>
                  </a:lnTo>
                  <a:lnTo>
                    <a:pt x="390" y="30"/>
                  </a:lnTo>
                  <a:lnTo>
                    <a:pt x="402" y="18"/>
                  </a:lnTo>
                  <a:lnTo>
                    <a:pt x="438" y="6"/>
                  </a:lnTo>
                  <a:lnTo>
                    <a:pt x="438" y="0"/>
                  </a:lnTo>
                  <a:lnTo>
                    <a:pt x="444" y="0"/>
                  </a:lnTo>
                  <a:lnTo>
                    <a:pt x="444" y="6"/>
                  </a:lnTo>
                  <a:lnTo>
                    <a:pt x="450" y="6"/>
                  </a:lnTo>
                  <a:lnTo>
                    <a:pt x="456" y="12"/>
                  </a:lnTo>
                  <a:lnTo>
                    <a:pt x="456" y="18"/>
                  </a:lnTo>
                  <a:lnTo>
                    <a:pt x="462" y="24"/>
                  </a:lnTo>
                  <a:lnTo>
                    <a:pt x="462" y="30"/>
                  </a:lnTo>
                  <a:lnTo>
                    <a:pt x="468" y="36"/>
                  </a:lnTo>
                  <a:lnTo>
                    <a:pt x="462" y="36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74" y="60"/>
                  </a:lnTo>
                  <a:lnTo>
                    <a:pt x="486" y="78"/>
                  </a:lnTo>
                  <a:lnTo>
                    <a:pt x="486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8" y="102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498" y="114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504" y="126"/>
                  </a:lnTo>
                  <a:lnTo>
                    <a:pt x="498" y="132"/>
                  </a:lnTo>
                  <a:lnTo>
                    <a:pt x="504" y="138"/>
                  </a:lnTo>
                  <a:lnTo>
                    <a:pt x="504" y="132"/>
                  </a:lnTo>
                  <a:lnTo>
                    <a:pt x="510" y="132"/>
                  </a:lnTo>
                  <a:lnTo>
                    <a:pt x="510" y="138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56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6" y="168"/>
                  </a:lnTo>
                  <a:lnTo>
                    <a:pt x="552" y="168"/>
                  </a:lnTo>
                  <a:lnTo>
                    <a:pt x="546" y="168"/>
                  </a:lnTo>
                  <a:lnTo>
                    <a:pt x="546" y="174"/>
                  </a:lnTo>
                  <a:lnTo>
                    <a:pt x="558" y="180"/>
                  </a:lnTo>
                  <a:lnTo>
                    <a:pt x="564" y="180"/>
                  </a:lnTo>
                  <a:lnTo>
                    <a:pt x="564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52" y="198"/>
                  </a:lnTo>
                  <a:lnTo>
                    <a:pt x="558" y="204"/>
                  </a:lnTo>
                  <a:lnTo>
                    <a:pt x="564" y="204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22"/>
                  </a:lnTo>
                  <a:lnTo>
                    <a:pt x="576" y="228"/>
                  </a:lnTo>
                  <a:lnTo>
                    <a:pt x="570" y="228"/>
                  </a:lnTo>
                  <a:lnTo>
                    <a:pt x="570" y="234"/>
                  </a:lnTo>
                  <a:lnTo>
                    <a:pt x="576" y="234"/>
                  </a:lnTo>
                  <a:lnTo>
                    <a:pt x="582" y="234"/>
                  </a:lnTo>
                  <a:lnTo>
                    <a:pt x="588" y="234"/>
                  </a:lnTo>
                  <a:lnTo>
                    <a:pt x="588" y="240"/>
                  </a:lnTo>
                  <a:lnTo>
                    <a:pt x="588" y="246"/>
                  </a:lnTo>
                  <a:lnTo>
                    <a:pt x="588" y="252"/>
                  </a:lnTo>
                  <a:lnTo>
                    <a:pt x="582" y="252"/>
                  </a:lnTo>
                  <a:lnTo>
                    <a:pt x="576" y="252"/>
                  </a:lnTo>
                  <a:lnTo>
                    <a:pt x="582" y="258"/>
                  </a:lnTo>
                  <a:lnTo>
                    <a:pt x="582" y="264"/>
                  </a:lnTo>
                  <a:lnTo>
                    <a:pt x="576" y="264"/>
                  </a:lnTo>
                  <a:lnTo>
                    <a:pt x="546" y="264"/>
                  </a:lnTo>
                  <a:lnTo>
                    <a:pt x="546" y="276"/>
                  </a:lnTo>
                  <a:lnTo>
                    <a:pt x="540" y="282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40" y="324"/>
                  </a:lnTo>
                  <a:lnTo>
                    <a:pt x="552" y="330"/>
                  </a:lnTo>
                  <a:lnTo>
                    <a:pt x="558" y="342"/>
                  </a:lnTo>
                  <a:lnTo>
                    <a:pt x="546" y="372"/>
                  </a:lnTo>
                  <a:lnTo>
                    <a:pt x="534" y="372"/>
                  </a:lnTo>
                  <a:lnTo>
                    <a:pt x="534" y="384"/>
                  </a:lnTo>
                  <a:lnTo>
                    <a:pt x="522" y="384"/>
                  </a:lnTo>
                  <a:lnTo>
                    <a:pt x="510" y="402"/>
                  </a:lnTo>
                  <a:lnTo>
                    <a:pt x="504" y="420"/>
                  </a:lnTo>
                  <a:lnTo>
                    <a:pt x="492" y="426"/>
                  </a:lnTo>
                  <a:lnTo>
                    <a:pt x="486" y="432"/>
                  </a:lnTo>
                  <a:lnTo>
                    <a:pt x="486" y="444"/>
                  </a:lnTo>
                  <a:lnTo>
                    <a:pt x="486" y="450"/>
                  </a:lnTo>
                  <a:lnTo>
                    <a:pt x="486" y="456"/>
                  </a:lnTo>
                  <a:lnTo>
                    <a:pt x="486" y="462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80" y="474"/>
                  </a:lnTo>
                  <a:lnTo>
                    <a:pt x="480" y="480"/>
                  </a:lnTo>
                  <a:lnTo>
                    <a:pt x="480" y="486"/>
                  </a:lnTo>
                  <a:lnTo>
                    <a:pt x="480" y="492"/>
                  </a:lnTo>
                  <a:lnTo>
                    <a:pt x="480" y="498"/>
                  </a:lnTo>
                  <a:lnTo>
                    <a:pt x="474" y="504"/>
                  </a:lnTo>
                  <a:lnTo>
                    <a:pt x="468" y="510"/>
                  </a:lnTo>
                  <a:lnTo>
                    <a:pt x="462" y="510"/>
                  </a:lnTo>
                  <a:lnTo>
                    <a:pt x="456" y="504"/>
                  </a:lnTo>
                  <a:lnTo>
                    <a:pt x="456" y="498"/>
                  </a:lnTo>
                  <a:lnTo>
                    <a:pt x="450" y="498"/>
                  </a:lnTo>
                  <a:lnTo>
                    <a:pt x="444" y="498"/>
                  </a:lnTo>
                  <a:lnTo>
                    <a:pt x="438" y="498"/>
                  </a:lnTo>
                  <a:lnTo>
                    <a:pt x="432" y="498"/>
                  </a:lnTo>
                  <a:lnTo>
                    <a:pt x="426" y="504"/>
                  </a:lnTo>
                  <a:lnTo>
                    <a:pt x="426" y="510"/>
                  </a:lnTo>
                  <a:lnTo>
                    <a:pt x="420" y="516"/>
                  </a:lnTo>
                  <a:lnTo>
                    <a:pt x="414" y="522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84" y="528"/>
                  </a:lnTo>
                  <a:lnTo>
                    <a:pt x="366" y="540"/>
                  </a:lnTo>
                  <a:lnTo>
                    <a:pt x="360" y="522"/>
                  </a:lnTo>
                  <a:lnTo>
                    <a:pt x="348" y="504"/>
                  </a:lnTo>
                  <a:lnTo>
                    <a:pt x="330" y="504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34"/>
                  </a:lnTo>
                  <a:lnTo>
                    <a:pt x="288" y="540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2" y="540"/>
                  </a:lnTo>
                  <a:lnTo>
                    <a:pt x="282" y="546"/>
                  </a:lnTo>
                  <a:lnTo>
                    <a:pt x="288" y="552"/>
                  </a:lnTo>
                  <a:lnTo>
                    <a:pt x="294" y="564"/>
                  </a:lnTo>
                  <a:lnTo>
                    <a:pt x="300" y="564"/>
                  </a:lnTo>
                  <a:lnTo>
                    <a:pt x="300" y="570"/>
                  </a:lnTo>
                  <a:lnTo>
                    <a:pt x="294" y="570"/>
                  </a:lnTo>
                  <a:lnTo>
                    <a:pt x="288" y="570"/>
                  </a:lnTo>
                  <a:lnTo>
                    <a:pt x="288" y="576"/>
                  </a:lnTo>
                  <a:lnTo>
                    <a:pt x="288" y="582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606"/>
                  </a:lnTo>
                  <a:lnTo>
                    <a:pt x="264" y="612"/>
                  </a:lnTo>
                  <a:lnTo>
                    <a:pt x="258" y="612"/>
                  </a:lnTo>
                  <a:lnTo>
                    <a:pt x="252" y="612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52" y="630"/>
                  </a:lnTo>
                  <a:lnTo>
                    <a:pt x="264" y="642"/>
                  </a:lnTo>
                  <a:lnTo>
                    <a:pt x="258" y="648"/>
                  </a:lnTo>
                  <a:lnTo>
                    <a:pt x="246" y="654"/>
                  </a:lnTo>
                  <a:lnTo>
                    <a:pt x="240" y="660"/>
                  </a:lnTo>
                  <a:lnTo>
                    <a:pt x="234" y="672"/>
                  </a:lnTo>
                  <a:lnTo>
                    <a:pt x="234" y="678"/>
                  </a:lnTo>
                  <a:lnTo>
                    <a:pt x="228" y="684"/>
                  </a:lnTo>
                  <a:lnTo>
                    <a:pt x="228" y="696"/>
                  </a:lnTo>
                  <a:lnTo>
                    <a:pt x="216" y="71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6" name="Freeform 21">
              <a:extLst>
                <a:ext uri="{FF2B5EF4-FFF2-40B4-BE49-F238E27FC236}">
                  <a16:creationId xmlns:a16="http://schemas.microsoft.com/office/drawing/2014/main" id="{DCB1E808-522D-4C19-B741-CC5DD56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4178" y="3866464"/>
              <a:ext cx="250453" cy="371259"/>
            </a:xfrm>
            <a:custGeom>
              <a:avLst/>
              <a:gdLst>
                <a:gd name="T0" fmla="*/ 0 w 468"/>
                <a:gd name="T1" fmla="*/ 61 h 696"/>
                <a:gd name="T2" fmla="*/ 1 w 468"/>
                <a:gd name="T3" fmla="*/ 58 h 696"/>
                <a:gd name="T4" fmla="*/ 2 w 468"/>
                <a:gd name="T5" fmla="*/ 54 h 696"/>
                <a:gd name="T6" fmla="*/ 3 w 468"/>
                <a:gd name="T7" fmla="*/ 51 h 696"/>
                <a:gd name="T8" fmla="*/ 4 w 468"/>
                <a:gd name="T9" fmla="*/ 48 h 696"/>
                <a:gd name="T10" fmla="*/ 6 w 468"/>
                <a:gd name="T11" fmla="*/ 44 h 696"/>
                <a:gd name="T12" fmla="*/ 5 w 468"/>
                <a:gd name="T13" fmla="*/ 41 h 696"/>
                <a:gd name="T14" fmla="*/ 7 w 468"/>
                <a:gd name="T15" fmla="*/ 38 h 696"/>
                <a:gd name="T16" fmla="*/ 8 w 468"/>
                <a:gd name="T17" fmla="*/ 36 h 696"/>
                <a:gd name="T18" fmla="*/ 7 w 468"/>
                <a:gd name="T19" fmla="*/ 33 h 696"/>
                <a:gd name="T20" fmla="*/ 6 w 468"/>
                <a:gd name="T21" fmla="*/ 29 h 696"/>
                <a:gd name="T22" fmla="*/ 4 w 468"/>
                <a:gd name="T23" fmla="*/ 22 h 696"/>
                <a:gd name="T24" fmla="*/ 2 w 468"/>
                <a:gd name="T25" fmla="*/ 14 h 696"/>
                <a:gd name="T26" fmla="*/ 12 w 468"/>
                <a:gd name="T27" fmla="*/ 11 h 696"/>
                <a:gd name="T28" fmla="*/ 14 w 468"/>
                <a:gd name="T29" fmla="*/ 2 h 696"/>
                <a:gd name="T30" fmla="*/ 16 w 468"/>
                <a:gd name="T31" fmla="*/ 0 h 696"/>
                <a:gd name="T32" fmla="*/ 17 w 468"/>
                <a:gd name="T33" fmla="*/ 0 h 696"/>
                <a:gd name="T34" fmla="*/ 18 w 468"/>
                <a:gd name="T35" fmla="*/ 1 h 696"/>
                <a:gd name="T36" fmla="*/ 17 w 468"/>
                <a:gd name="T37" fmla="*/ 2 h 696"/>
                <a:gd name="T38" fmla="*/ 17 w 468"/>
                <a:gd name="T39" fmla="*/ 4 h 696"/>
                <a:gd name="T40" fmla="*/ 17 w 468"/>
                <a:gd name="T41" fmla="*/ 6 h 696"/>
                <a:gd name="T42" fmla="*/ 20 w 468"/>
                <a:gd name="T43" fmla="*/ 6 h 696"/>
                <a:gd name="T44" fmla="*/ 22 w 468"/>
                <a:gd name="T45" fmla="*/ 5 h 696"/>
                <a:gd name="T46" fmla="*/ 24 w 468"/>
                <a:gd name="T47" fmla="*/ 7 h 696"/>
                <a:gd name="T48" fmla="*/ 28 w 468"/>
                <a:gd name="T49" fmla="*/ 7 h 696"/>
                <a:gd name="T50" fmla="*/ 28 w 468"/>
                <a:gd name="T51" fmla="*/ 11 h 696"/>
                <a:gd name="T52" fmla="*/ 25 w 468"/>
                <a:gd name="T53" fmla="*/ 14 h 696"/>
                <a:gd name="T54" fmla="*/ 23 w 468"/>
                <a:gd name="T55" fmla="*/ 15 h 696"/>
                <a:gd name="T56" fmla="*/ 23 w 468"/>
                <a:gd name="T57" fmla="*/ 19 h 696"/>
                <a:gd name="T58" fmla="*/ 23 w 468"/>
                <a:gd name="T59" fmla="*/ 21 h 696"/>
                <a:gd name="T60" fmla="*/ 24 w 468"/>
                <a:gd name="T61" fmla="*/ 21 h 696"/>
                <a:gd name="T62" fmla="*/ 27 w 468"/>
                <a:gd name="T63" fmla="*/ 23 h 696"/>
                <a:gd name="T64" fmla="*/ 29 w 468"/>
                <a:gd name="T65" fmla="*/ 24 h 696"/>
                <a:gd name="T66" fmla="*/ 29 w 468"/>
                <a:gd name="T67" fmla="*/ 28 h 696"/>
                <a:gd name="T68" fmla="*/ 29 w 468"/>
                <a:gd name="T69" fmla="*/ 29 h 696"/>
                <a:gd name="T70" fmla="*/ 29 w 468"/>
                <a:gd name="T71" fmla="*/ 32 h 696"/>
                <a:gd name="T72" fmla="*/ 32 w 468"/>
                <a:gd name="T73" fmla="*/ 32 h 696"/>
                <a:gd name="T74" fmla="*/ 33 w 468"/>
                <a:gd name="T75" fmla="*/ 35 h 696"/>
                <a:gd name="T76" fmla="*/ 34 w 468"/>
                <a:gd name="T77" fmla="*/ 38 h 696"/>
                <a:gd name="T78" fmla="*/ 35 w 468"/>
                <a:gd name="T79" fmla="*/ 39 h 696"/>
                <a:gd name="T80" fmla="*/ 36 w 468"/>
                <a:gd name="T81" fmla="*/ 40 h 696"/>
                <a:gd name="T82" fmla="*/ 37 w 468"/>
                <a:gd name="T83" fmla="*/ 41 h 696"/>
                <a:gd name="T84" fmla="*/ 38 w 468"/>
                <a:gd name="T85" fmla="*/ 42 h 696"/>
                <a:gd name="T86" fmla="*/ 41 w 468"/>
                <a:gd name="T87" fmla="*/ 44 h 696"/>
                <a:gd name="T88" fmla="*/ 40 w 468"/>
                <a:gd name="T89" fmla="*/ 44 h 696"/>
                <a:gd name="T90" fmla="*/ 37 w 468"/>
                <a:gd name="T91" fmla="*/ 45 h 696"/>
                <a:gd name="T92" fmla="*/ 36 w 468"/>
                <a:gd name="T93" fmla="*/ 48 h 696"/>
                <a:gd name="T94" fmla="*/ 34 w 468"/>
                <a:gd name="T95" fmla="*/ 49 h 696"/>
                <a:gd name="T96" fmla="*/ 32 w 468"/>
                <a:gd name="T97" fmla="*/ 51 h 696"/>
                <a:gd name="T98" fmla="*/ 31 w 468"/>
                <a:gd name="T99" fmla="*/ 51 h 696"/>
                <a:gd name="T100" fmla="*/ 26 w 468"/>
                <a:gd name="T101" fmla="*/ 49 h 696"/>
                <a:gd name="T102" fmla="*/ 23 w 468"/>
                <a:gd name="T103" fmla="*/ 51 h 696"/>
                <a:gd name="T104" fmla="*/ 21 w 468"/>
                <a:gd name="T105" fmla="*/ 51 h 696"/>
                <a:gd name="T106" fmla="*/ 20 w 468"/>
                <a:gd name="T107" fmla="*/ 52 h 696"/>
                <a:gd name="T108" fmla="*/ 17 w 468"/>
                <a:gd name="T109" fmla="*/ 55 h 696"/>
                <a:gd name="T110" fmla="*/ 15 w 468"/>
                <a:gd name="T111" fmla="*/ 56 h 696"/>
                <a:gd name="T112" fmla="*/ 15 w 468"/>
                <a:gd name="T113" fmla="*/ 59 h 696"/>
                <a:gd name="T114" fmla="*/ 14 w 468"/>
                <a:gd name="T115" fmla="*/ 59 h 696"/>
                <a:gd name="T116" fmla="*/ 12 w 468"/>
                <a:gd name="T117" fmla="*/ 59 h 696"/>
                <a:gd name="T118" fmla="*/ 11 w 468"/>
                <a:gd name="T119" fmla="*/ 57 h 696"/>
                <a:gd name="T120" fmla="*/ 9 w 468"/>
                <a:gd name="T121" fmla="*/ 57 h 696"/>
                <a:gd name="T122" fmla="*/ 6 w 468"/>
                <a:gd name="T123" fmla="*/ 58 h 696"/>
                <a:gd name="T124" fmla="*/ 4 w 468"/>
                <a:gd name="T125" fmla="*/ 60 h 69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8"/>
                <a:gd name="T190" fmla="*/ 0 h 696"/>
                <a:gd name="T191" fmla="*/ 468 w 468"/>
                <a:gd name="T192" fmla="*/ 696 h 69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8" h="696">
                  <a:moveTo>
                    <a:pt x="30" y="696"/>
                  </a:moveTo>
                  <a:lnTo>
                    <a:pt x="18" y="696"/>
                  </a:lnTo>
                  <a:lnTo>
                    <a:pt x="6" y="696"/>
                  </a:lnTo>
                  <a:lnTo>
                    <a:pt x="0" y="690"/>
                  </a:lnTo>
                  <a:lnTo>
                    <a:pt x="6" y="678"/>
                  </a:lnTo>
                  <a:lnTo>
                    <a:pt x="12" y="666"/>
                  </a:lnTo>
                  <a:lnTo>
                    <a:pt x="18" y="654"/>
                  </a:lnTo>
                  <a:lnTo>
                    <a:pt x="18" y="642"/>
                  </a:lnTo>
                  <a:lnTo>
                    <a:pt x="18" y="618"/>
                  </a:lnTo>
                  <a:lnTo>
                    <a:pt x="24" y="606"/>
                  </a:lnTo>
                  <a:lnTo>
                    <a:pt x="30" y="594"/>
                  </a:lnTo>
                  <a:lnTo>
                    <a:pt x="30" y="582"/>
                  </a:lnTo>
                  <a:lnTo>
                    <a:pt x="36" y="576"/>
                  </a:lnTo>
                  <a:lnTo>
                    <a:pt x="42" y="564"/>
                  </a:lnTo>
                  <a:lnTo>
                    <a:pt x="48" y="546"/>
                  </a:lnTo>
                  <a:lnTo>
                    <a:pt x="48" y="528"/>
                  </a:lnTo>
                  <a:lnTo>
                    <a:pt x="60" y="516"/>
                  </a:lnTo>
                  <a:lnTo>
                    <a:pt x="66" y="504"/>
                  </a:lnTo>
                  <a:lnTo>
                    <a:pt x="66" y="492"/>
                  </a:lnTo>
                  <a:lnTo>
                    <a:pt x="60" y="480"/>
                  </a:lnTo>
                  <a:lnTo>
                    <a:pt x="54" y="468"/>
                  </a:lnTo>
                  <a:lnTo>
                    <a:pt x="60" y="456"/>
                  </a:lnTo>
                  <a:lnTo>
                    <a:pt x="72" y="450"/>
                  </a:lnTo>
                  <a:lnTo>
                    <a:pt x="84" y="438"/>
                  </a:lnTo>
                  <a:lnTo>
                    <a:pt x="90" y="426"/>
                  </a:lnTo>
                  <a:lnTo>
                    <a:pt x="90" y="420"/>
                  </a:lnTo>
                  <a:lnTo>
                    <a:pt x="90" y="408"/>
                  </a:lnTo>
                  <a:lnTo>
                    <a:pt x="90" y="402"/>
                  </a:lnTo>
                  <a:lnTo>
                    <a:pt x="84" y="396"/>
                  </a:lnTo>
                  <a:lnTo>
                    <a:pt x="78" y="378"/>
                  </a:lnTo>
                  <a:lnTo>
                    <a:pt x="72" y="360"/>
                  </a:lnTo>
                  <a:lnTo>
                    <a:pt x="66" y="348"/>
                  </a:lnTo>
                  <a:lnTo>
                    <a:pt x="72" y="336"/>
                  </a:lnTo>
                  <a:lnTo>
                    <a:pt x="66" y="306"/>
                  </a:lnTo>
                  <a:lnTo>
                    <a:pt x="54" y="276"/>
                  </a:lnTo>
                  <a:lnTo>
                    <a:pt x="42" y="252"/>
                  </a:lnTo>
                  <a:lnTo>
                    <a:pt x="36" y="222"/>
                  </a:lnTo>
                  <a:lnTo>
                    <a:pt x="30" y="192"/>
                  </a:lnTo>
                  <a:lnTo>
                    <a:pt x="24" y="162"/>
                  </a:lnTo>
                  <a:lnTo>
                    <a:pt x="42" y="174"/>
                  </a:lnTo>
                  <a:lnTo>
                    <a:pt x="120" y="138"/>
                  </a:lnTo>
                  <a:lnTo>
                    <a:pt x="132" y="126"/>
                  </a:lnTo>
                  <a:lnTo>
                    <a:pt x="120" y="54"/>
                  </a:lnTo>
                  <a:lnTo>
                    <a:pt x="156" y="30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0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8" y="18"/>
                  </a:lnTo>
                  <a:lnTo>
                    <a:pt x="198" y="24"/>
                  </a:lnTo>
                  <a:lnTo>
                    <a:pt x="198" y="30"/>
                  </a:lnTo>
                  <a:lnTo>
                    <a:pt x="198" y="42"/>
                  </a:lnTo>
                  <a:lnTo>
                    <a:pt x="198" y="48"/>
                  </a:lnTo>
                  <a:lnTo>
                    <a:pt x="192" y="60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28" y="60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34" y="60"/>
                  </a:lnTo>
                  <a:lnTo>
                    <a:pt x="252" y="60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312" y="84"/>
                  </a:lnTo>
                  <a:lnTo>
                    <a:pt x="318" y="96"/>
                  </a:lnTo>
                  <a:lnTo>
                    <a:pt x="318" y="102"/>
                  </a:lnTo>
                  <a:lnTo>
                    <a:pt x="312" y="120"/>
                  </a:lnTo>
                  <a:lnTo>
                    <a:pt x="306" y="132"/>
                  </a:lnTo>
                  <a:lnTo>
                    <a:pt x="294" y="144"/>
                  </a:lnTo>
                  <a:lnTo>
                    <a:pt x="282" y="156"/>
                  </a:lnTo>
                  <a:lnTo>
                    <a:pt x="276" y="162"/>
                  </a:lnTo>
                  <a:lnTo>
                    <a:pt x="270" y="162"/>
                  </a:lnTo>
                  <a:lnTo>
                    <a:pt x="264" y="174"/>
                  </a:lnTo>
                  <a:lnTo>
                    <a:pt x="264" y="192"/>
                  </a:lnTo>
                  <a:lnTo>
                    <a:pt x="264" y="216"/>
                  </a:lnTo>
                  <a:lnTo>
                    <a:pt x="258" y="216"/>
                  </a:lnTo>
                  <a:lnTo>
                    <a:pt x="258" y="228"/>
                  </a:lnTo>
                  <a:lnTo>
                    <a:pt x="252" y="234"/>
                  </a:lnTo>
                  <a:lnTo>
                    <a:pt x="258" y="240"/>
                  </a:lnTo>
                  <a:lnTo>
                    <a:pt x="264" y="240"/>
                  </a:lnTo>
                  <a:lnTo>
                    <a:pt x="270" y="240"/>
                  </a:lnTo>
                  <a:lnTo>
                    <a:pt x="276" y="240"/>
                  </a:lnTo>
                  <a:lnTo>
                    <a:pt x="288" y="240"/>
                  </a:lnTo>
                  <a:lnTo>
                    <a:pt x="300" y="246"/>
                  </a:lnTo>
                  <a:lnTo>
                    <a:pt x="306" y="258"/>
                  </a:lnTo>
                  <a:lnTo>
                    <a:pt x="312" y="264"/>
                  </a:lnTo>
                  <a:lnTo>
                    <a:pt x="318" y="276"/>
                  </a:lnTo>
                  <a:lnTo>
                    <a:pt x="330" y="282"/>
                  </a:lnTo>
                  <a:lnTo>
                    <a:pt x="330" y="300"/>
                  </a:lnTo>
                  <a:lnTo>
                    <a:pt x="336" y="312"/>
                  </a:lnTo>
                  <a:lnTo>
                    <a:pt x="336" y="318"/>
                  </a:lnTo>
                  <a:lnTo>
                    <a:pt x="336" y="330"/>
                  </a:lnTo>
                  <a:lnTo>
                    <a:pt x="324" y="330"/>
                  </a:lnTo>
                  <a:lnTo>
                    <a:pt x="330" y="336"/>
                  </a:lnTo>
                  <a:lnTo>
                    <a:pt x="330" y="342"/>
                  </a:lnTo>
                  <a:lnTo>
                    <a:pt x="336" y="348"/>
                  </a:lnTo>
                  <a:lnTo>
                    <a:pt x="330" y="360"/>
                  </a:lnTo>
                  <a:lnTo>
                    <a:pt x="336" y="372"/>
                  </a:lnTo>
                  <a:lnTo>
                    <a:pt x="354" y="366"/>
                  </a:lnTo>
                  <a:lnTo>
                    <a:pt x="366" y="366"/>
                  </a:lnTo>
                  <a:lnTo>
                    <a:pt x="372" y="378"/>
                  </a:lnTo>
                  <a:lnTo>
                    <a:pt x="372" y="390"/>
                  </a:lnTo>
                  <a:lnTo>
                    <a:pt x="378" y="396"/>
                  </a:lnTo>
                  <a:lnTo>
                    <a:pt x="378" y="408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44"/>
                  </a:lnTo>
                  <a:lnTo>
                    <a:pt x="390" y="444"/>
                  </a:lnTo>
                  <a:lnTo>
                    <a:pt x="396" y="444"/>
                  </a:lnTo>
                  <a:lnTo>
                    <a:pt x="402" y="450"/>
                  </a:lnTo>
                  <a:lnTo>
                    <a:pt x="408" y="450"/>
                  </a:lnTo>
                  <a:lnTo>
                    <a:pt x="408" y="462"/>
                  </a:lnTo>
                  <a:lnTo>
                    <a:pt x="408" y="468"/>
                  </a:lnTo>
                  <a:lnTo>
                    <a:pt x="414" y="474"/>
                  </a:lnTo>
                  <a:lnTo>
                    <a:pt x="420" y="474"/>
                  </a:lnTo>
                  <a:lnTo>
                    <a:pt x="420" y="480"/>
                  </a:lnTo>
                  <a:lnTo>
                    <a:pt x="426" y="480"/>
                  </a:lnTo>
                  <a:lnTo>
                    <a:pt x="432" y="480"/>
                  </a:lnTo>
                  <a:lnTo>
                    <a:pt x="462" y="486"/>
                  </a:lnTo>
                  <a:lnTo>
                    <a:pt x="468" y="492"/>
                  </a:lnTo>
                  <a:lnTo>
                    <a:pt x="468" y="498"/>
                  </a:lnTo>
                  <a:lnTo>
                    <a:pt x="462" y="498"/>
                  </a:lnTo>
                  <a:lnTo>
                    <a:pt x="456" y="498"/>
                  </a:lnTo>
                  <a:lnTo>
                    <a:pt x="456" y="504"/>
                  </a:lnTo>
                  <a:lnTo>
                    <a:pt x="456" y="510"/>
                  </a:lnTo>
                  <a:lnTo>
                    <a:pt x="450" y="516"/>
                  </a:lnTo>
                  <a:lnTo>
                    <a:pt x="426" y="516"/>
                  </a:lnTo>
                  <a:lnTo>
                    <a:pt x="408" y="528"/>
                  </a:lnTo>
                  <a:lnTo>
                    <a:pt x="408" y="546"/>
                  </a:lnTo>
                  <a:lnTo>
                    <a:pt x="414" y="552"/>
                  </a:lnTo>
                  <a:lnTo>
                    <a:pt x="408" y="558"/>
                  </a:lnTo>
                  <a:lnTo>
                    <a:pt x="402" y="564"/>
                  </a:lnTo>
                  <a:lnTo>
                    <a:pt x="384" y="564"/>
                  </a:lnTo>
                  <a:lnTo>
                    <a:pt x="372" y="564"/>
                  </a:lnTo>
                  <a:lnTo>
                    <a:pt x="372" y="576"/>
                  </a:lnTo>
                  <a:lnTo>
                    <a:pt x="366" y="576"/>
                  </a:lnTo>
                  <a:lnTo>
                    <a:pt x="366" y="582"/>
                  </a:lnTo>
                  <a:lnTo>
                    <a:pt x="360" y="582"/>
                  </a:lnTo>
                  <a:lnTo>
                    <a:pt x="348" y="576"/>
                  </a:lnTo>
                  <a:lnTo>
                    <a:pt x="336" y="570"/>
                  </a:lnTo>
                  <a:lnTo>
                    <a:pt x="324" y="570"/>
                  </a:lnTo>
                  <a:lnTo>
                    <a:pt x="300" y="564"/>
                  </a:lnTo>
                  <a:lnTo>
                    <a:pt x="282" y="564"/>
                  </a:lnTo>
                  <a:lnTo>
                    <a:pt x="270" y="570"/>
                  </a:lnTo>
                  <a:lnTo>
                    <a:pt x="264" y="576"/>
                  </a:lnTo>
                  <a:lnTo>
                    <a:pt x="258" y="576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34" y="594"/>
                  </a:lnTo>
                  <a:lnTo>
                    <a:pt x="228" y="600"/>
                  </a:lnTo>
                  <a:lnTo>
                    <a:pt x="210" y="618"/>
                  </a:lnTo>
                  <a:lnTo>
                    <a:pt x="210" y="624"/>
                  </a:lnTo>
                  <a:lnTo>
                    <a:pt x="192" y="630"/>
                  </a:lnTo>
                  <a:lnTo>
                    <a:pt x="186" y="630"/>
                  </a:lnTo>
                  <a:lnTo>
                    <a:pt x="180" y="636"/>
                  </a:lnTo>
                  <a:lnTo>
                    <a:pt x="174" y="642"/>
                  </a:lnTo>
                  <a:lnTo>
                    <a:pt x="168" y="642"/>
                  </a:lnTo>
                  <a:lnTo>
                    <a:pt x="168" y="654"/>
                  </a:lnTo>
                  <a:lnTo>
                    <a:pt x="168" y="678"/>
                  </a:lnTo>
                  <a:lnTo>
                    <a:pt x="162" y="684"/>
                  </a:lnTo>
                  <a:lnTo>
                    <a:pt x="156" y="684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72"/>
                  </a:lnTo>
                  <a:lnTo>
                    <a:pt x="138" y="672"/>
                  </a:lnTo>
                  <a:lnTo>
                    <a:pt x="138" y="666"/>
                  </a:lnTo>
                  <a:lnTo>
                    <a:pt x="132" y="660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48"/>
                  </a:lnTo>
                  <a:lnTo>
                    <a:pt x="102" y="654"/>
                  </a:lnTo>
                  <a:lnTo>
                    <a:pt x="90" y="654"/>
                  </a:lnTo>
                  <a:lnTo>
                    <a:pt x="84" y="654"/>
                  </a:lnTo>
                  <a:lnTo>
                    <a:pt x="72" y="660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36" y="684"/>
                  </a:lnTo>
                  <a:lnTo>
                    <a:pt x="30" y="6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7" name="Freeform 22">
              <a:extLst>
                <a:ext uri="{FF2B5EF4-FFF2-40B4-BE49-F238E27FC236}">
                  <a16:creationId xmlns:a16="http://schemas.microsoft.com/office/drawing/2014/main" id="{2F7A477D-6CF8-44B3-8B32-64EE03DC4D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2895" y="3967106"/>
              <a:ext cx="610479" cy="507686"/>
            </a:xfrm>
            <a:custGeom>
              <a:avLst/>
              <a:gdLst>
                <a:gd name="T0" fmla="*/ 87 w 1146"/>
                <a:gd name="T1" fmla="*/ 56 h 954"/>
                <a:gd name="T2" fmla="*/ 83 w 1146"/>
                <a:gd name="T3" fmla="*/ 66 h 954"/>
                <a:gd name="T4" fmla="*/ 74 w 1146"/>
                <a:gd name="T5" fmla="*/ 69 h 954"/>
                <a:gd name="T6" fmla="*/ 67 w 1146"/>
                <a:gd name="T7" fmla="*/ 75 h 954"/>
                <a:gd name="T8" fmla="*/ 59 w 1146"/>
                <a:gd name="T9" fmla="*/ 78 h 954"/>
                <a:gd name="T10" fmla="*/ 52 w 1146"/>
                <a:gd name="T11" fmla="*/ 77 h 954"/>
                <a:gd name="T12" fmla="*/ 48 w 1146"/>
                <a:gd name="T13" fmla="*/ 79 h 954"/>
                <a:gd name="T14" fmla="*/ 41 w 1146"/>
                <a:gd name="T15" fmla="*/ 82 h 954"/>
                <a:gd name="T16" fmla="*/ 29 w 1146"/>
                <a:gd name="T17" fmla="*/ 78 h 954"/>
                <a:gd name="T18" fmla="*/ 28 w 1146"/>
                <a:gd name="T19" fmla="*/ 76 h 954"/>
                <a:gd name="T20" fmla="*/ 28 w 1146"/>
                <a:gd name="T21" fmla="*/ 72 h 954"/>
                <a:gd name="T22" fmla="*/ 28 w 1146"/>
                <a:gd name="T23" fmla="*/ 74 h 954"/>
                <a:gd name="T24" fmla="*/ 21 w 1146"/>
                <a:gd name="T25" fmla="*/ 74 h 954"/>
                <a:gd name="T26" fmla="*/ 20 w 1146"/>
                <a:gd name="T27" fmla="*/ 67 h 954"/>
                <a:gd name="T28" fmla="*/ 23 w 1146"/>
                <a:gd name="T29" fmla="*/ 64 h 954"/>
                <a:gd name="T30" fmla="*/ 28 w 1146"/>
                <a:gd name="T31" fmla="*/ 65 h 954"/>
                <a:gd name="T32" fmla="*/ 32 w 1146"/>
                <a:gd name="T33" fmla="*/ 62 h 954"/>
                <a:gd name="T34" fmla="*/ 31 w 1146"/>
                <a:gd name="T35" fmla="*/ 56 h 954"/>
                <a:gd name="T36" fmla="*/ 36 w 1146"/>
                <a:gd name="T37" fmla="*/ 54 h 954"/>
                <a:gd name="T38" fmla="*/ 38 w 1146"/>
                <a:gd name="T39" fmla="*/ 54 h 954"/>
                <a:gd name="T40" fmla="*/ 32 w 1146"/>
                <a:gd name="T41" fmla="*/ 54 h 954"/>
                <a:gd name="T42" fmla="*/ 29 w 1146"/>
                <a:gd name="T43" fmla="*/ 59 h 954"/>
                <a:gd name="T44" fmla="*/ 26 w 1146"/>
                <a:gd name="T45" fmla="*/ 59 h 954"/>
                <a:gd name="T46" fmla="*/ 25 w 1146"/>
                <a:gd name="T47" fmla="*/ 61 h 954"/>
                <a:gd name="T48" fmla="*/ 20 w 1146"/>
                <a:gd name="T49" fmla="*/ 61 h 954"/>
                <a:gd name="T50" fmla="*/ 11 w 1146"/>
                <a:gd name="T51" fmla="*/ 54 h 954"/>
                <a:gd name="T52" fmla="*/ 14 w 1146"/>
                <a:gd name="T53" fmla="*/ 50 h 954"/>
                <a:gd name="T54" fmla="*/ 21 w 1146"/>
                <a:gd name="T55" fmla="*/ 51 h 954"/>
                <a:gd name="T56" fmla="*/ 24 w 1146"/>
                <a:gd name="T57" fmla="*/ 50 h 954"/>
                <a:gd name="T58" fmla="*/ 28 w 1146"/>
                <a:gd name="T59" fmla="*/ 48 h 954"/>
                <a:gd name="T60" fmla="*/ 30 w 1146"/>
                <a:gd name="T61" fmla="*/ 49 h 954"/>
                <a:gd name="T62" fmla="*/ 26 w 1146"/>
                <a:gd name="T63" fmla="*/ 47 h 954"/>
                <a:gd name="T64" fmla="*/ 20 w 1146"/>
                <a:gd name="T65" fmla="*/ 50 h 954"/>
                <a:gd name="T66" fmla="*/ 20 w 1146"/>
                <a:gd name="T67" fmla="*/ 44 h 954"/>
                <a:gd name="T68" fmla="*/ 19 w 1146"/>
                <a:gd name="T69" fmla="*/ 46 h 954"/>
                <a:gd name="T70" fmla="*/ 15 w 1146"/>
                <a:gd name="T71" fmla="*/ 49 h 954"/>
                <a:gd name="T72" fmla="*/ 8 w 1146"/>
                <a:gd name="T73" fmla="*/ 48 h 954"/>
                <a:gd name="T74" fmla="*/ 6 w 1146"/>
                <a:gd name="T75" fmla="*/ 41 h 954"/>
                <a:gd name="T76" fmla="*/ 10 w 1146"/>
                <a:gd name="T77" fmla="*/ 41 h 954"/>
                <a:gd name="T78" fmla="*/ 9 w 1146"/>
                <a:gd name="T79" fmla="*/ 39 h 954"/>
                <a:gd name="T80" fmla="*/ 14 w 1146"/>
                <a:gd name="T81" fmla="*/ 35 h 954"/>
                <a:gd name="T82" fmla="*/ 19 w 1146"/>
                <a:gd name="T83" fmla="*/ 32 h 954"/>
                <a:gd name="T84" fmla="*/ 20 w 1146"/>
                <a:gd name="T85" fmla="*/ 29 h 954"/>
                <a:gd name="T86" fmla="*/ 27 w 1146"/>
                <a:gd name="T87" fmla="*/ 27 h 954"/>
                <a:gd name="T88" fmla="*/ 33 w 1146"/>
                <a:gd name="T89" fmla="*/ 28 h 954"/>
                <a:gd name="T90" fmla="*/ 44 w 1146"/>
                <a:gd name="T91" fmla="*/ 27 h 954"/>
                <a:gd name="T92" fmla="*/ 52 w 1146"/>
                <a:gd name="T93" fmla="*/ 41 h 954"/>
                <a:gd name="T94" fmla="*/ 61 w 1146"/>
                <a:gd name="T95" fmla="*/ 40 h 954"/>
                <a:gd name="T96" fmla="*/ 69 w 1146"/>
                <a:gd name="T97" fmla="*/ 34 h 954"/>
                <a:gd name="T98" fmla="*/ 62 w 1146"/>
                <a:gd name="T99" fmla="*/ 12 h 954"/>
                <a:gd name="T100" fmla="*/ 74 w 1146"/>
                <a:gd name="T101" fmla="*/ 8 h 954"/>
                <a:gd name="T102" fmla="*/ 87 w 1146"/>
                <a:gd name="T103" fmla="*/ 1 h 954"/>
                <a:gd name="T104" fmla="*/ 99 w 1146"/>
                <a:gd name="T105" fmla="*/ 12 h 954"/>
                <a:gd name="T106" fmla="*/ 98 w 1146"/>
                <a:gd name="T107" fmla="*/ 27 h 954"/>
                <a:gd name="T108" fmla="*/ 16 w 1146"/>
                <a:gd name="T109" fmla="*/ 33 h 954"/>
                <a:gd name="T110" fmla="*/ 11 w 1146"/>
                <a:gd name="T111" fmla="*/ 36 h 954"/>
                <a:gd name="T112" fmla="*/ 5 w 1146"/>
                <a:gd name="T113" fmla="*/ 41 h 954"/>
                <a:gd name="T114" fmla="*/ 2 w 1146"/>
                <a:gd name="T115" fmla="*/ 36 h 954"/>
                <a:gd name="T116" fmla="*/ 5 w 1146"/>
                <a:gd name="T117" fmla="*/ 26 h 954"/>
                <a:gd name="T118" fmla="*/ 10 w 1146"/>
                <a:gd name="T119" fmla="*/ 20 h 954"/>
                <a:gd name="T120" fmla="*/ 13 w 1146"/>
                <a:gd name="T121" fmla="*/ 20 h 954"/>
                <a:gd name="T122" fmla="*/ 15 w 1146"/>
                <a:gd name="T123" fmla="*/ 27 h 95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46"/>
                <a:gd name="T187" fmla="*/ 0 h 954"/>
                <a:gd name="T188" fmla="*/ 1146 w 1146"/>
                <a:gd name="T189" fmla="*/ 954 h 95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46" h="954">
                  <a:moveTo>
                    <a:pt x="1056" y="498"/>
                  </a:moveTo>
                  <a:lnTo>
                    <a:pt x="1044" y="510"/>
                  </a:lnTo>
                  <a:lnTo>
                    <a:pt x="1032" y="516"/>
                  </a:lnTo>
                  <a:lnTo>
                    <a:pt x="1038" y="528"/>
                  </a:lnTo>
                  <a:lnTo>
                    <a:pt x="1050" y="540"/>
                  </a:lnTo>
                  <a:lnTo>
                    <a:pt x="1050" y="546"/>
                  </a:lnTo>
                  <a:lnTo>
                    <a:pt x="1050" y="564"/>
                  </a:lnTo>
                  <a:lnTo>
                    <a:pt x="1038" y="576"/>
                  </a:lnTo>
                  <a:lnTo>
                    <a:pt x="1032" y="588"/>
                  </a:lnTo>
                  <a:lnTo>
                    <a:pt x="1020" y="594"/>
                  </a:lnTo>
                  <a:lnTo>
                    <a:pt x="1008" y="594"/>
                  </a:lnTo>
                  <a:lnTo>
                    <a:pt x="1002" y="600"/>
                  </a:lnTo>
                  <a:lnTo>
                    <a:pt x="996" y="612"/>
                  </a:lnTo>
                  <a:lnTo>
                    <a:pt x="996" y="624"/>
                  </a:lnTo>
                  <a:lnTo>
                    <a:pt x="996" y="648"/>
                  </a:lnTo>
                  <a:lnTo>
                    <a:pt x="996" y="660"/>
                  </a:lnTo>
                  <a:lnTo>
                    <a:pt x="1002" y="672"/>
                  </a:lnTo>
                  <a:lnTo>
                    <a:pt x="1002" y="684"/>
                  </a:lnTo>
                  <a:lnTo>
                    <a:pt x="996" y="684"/>
                  </a:lnTo>
                  <a:lnTo>
                    <a:pt x="984" y="690"/>
                  </a:lnTo>
                  <a:lnTo>
                    <a:pt x="972" y="690"/>
                  </a:lnTo>
                  <a:lnTo>
                    <a:pt x="966" y="696"/>
                  </a:lnTo>
                  <a:lnTo>
                    <a:pt x="966" y="702"/>
                  </a:lnTo>
                  <a:lnTo>
                    <a:pt x="966" y="714"/>
                  </a:lnTo>
                  <a:lnTo>
                    <a:pt x="972" y="726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2" y="756"/>
                  </a:lnTo>
                  <a:lnTo>
                    <a:pt x="966" y="756"/>
                  </a:lnTo>
                  <a:lnTo>
                    <a:pt x="942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18" y="768"/>
                  </a:lnTo>
                  <a:lnTo>
                    <a:pt x="906" y="768"/>
                  </a:lnTo>
                  <a:lnTo>
                    <a:pt x="894" y="762"/>
                  </a:lnTo>
                  <a:lnTo>
                    <a:pt x="882" y="756"/>
                  </a:lnTo>
                  <a:lnTo>
                    <a:pt x="876" y="756"/>
                  </a:lnTo>
                  <a:lnTo>
                    <a:pt x="876" y="762"/>
                  </a:lnTo>
                  <a:lnTo>
                    <a:pt x="864" y="768"/>
                  </a:lnTo>
                  <a:lnTo>
                    <a:pt x="858" y="774"/>
                  </a:lnTo>
                  <a:lnTo>
                    <a:pt x="852" y="774"/>
                  </a:lnTo>
                  <a:lnTo>
                    <a:pt x="840" y="780"/>
                  </a:lnTo>
                  <a:lnTo>
                    <a:pt x="840" y="786"/>
                  </a:lnTo>
                  <a:lnTo>
                    <a:pt x="840" y="792"/>
                  </a:lnTo>
                  <a:lnTo>
                    <a:pt x="840" y="804"/>
                  </a:lnTo>
                  <a:lnTo>
                    <a:pt x="840" y="810"/>
                  </a:lnTo>
                  <a:lnTo>
                    <a:pt x="828" y="816"/>
                  </a:lnTo>
                  <a:lnTo>
                    <a:pt x="810" y="810"/>
                  </a:lnTo>
                  <a:lnTo>
                    <a:pt x="792" y="810"/>
                  </a:lnTo>
                  <a:lnTo>
                    <a:pt x="786" y="816"/>
                  </a:lnTo>
                  <a:lnTo>
                    <a:pt x="780" y="816"/>
                  </a:lnTo>
                  <a:lnTo>
                    <a:pt x="780" y="822"/>
                  </a:lnTo>
                  <a:lnTo>
                    <a:pt x="780" y="828"/>
                  </a:lnTo>
                  <a:lnTo>
                    <a:pt x="780" y="834"/>
                  </a:lnTo>
                  <a:lnTo>
                    <a:pt x="786" y="840"/>
                  </a:lnTo>
                  <a:lnTo>
                    <a:pt x="786" y="846"/>
                  </a:lnTo>
                  <a:lnTo>
                    <a:pt x="786" y="852"/>
                  </a:lnTo>
                  <a:lnTo>
                    <a:pt x="780" y="858"/>
                  </a:lnTo>
                  <a:lnTo>
                    <a:pt x="768" y="858"/>
                  </a:lnTo>
                  <a:lnTo>
                    <a:pt x="762" y="864"/>
                  </a:lnTo>
                  <a:lnTo>
                    <a:pt x="756" y="864"/>
                  </a:lnTo>
                  <a:lnTo>
                    <a:pt x="750" y="870"/>
                  </a:lnTo>
                  <a:lnTo>
                    <a:pt x="744" y="876"/>
                  </a:lnTo>
                  <a:lnTo>
                    <a:pt x="732" y="876"/>
                  </a:lnTo>
                  <a:lnTo>
                    <a:pt x="726" y="876"/>
                  </a:lnTo>
                  <a:lnTo>
                    <a:pt x="720" y="870"/>
                  </a:lnTo>
                  <a:lnTo>
                    <a:pt x="714" y="864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6" y="876"/>
                  </a:lnTo>
                  <a:lnTo>
                    <a:pt x="696" y="882"/>
                  </a:lnTo>
                  <a:lnTo>
                    <a:pt x="696" y="894"/>
                  </a:lnTo>
                  <a:lnTo>
                    <a:pt x="690" y="900"/>
                  </a:lnTo>
                  <a:lnTo>
                    <a:pt x="684" y="900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54" y="888"/>
                  </a:lnTo>
                  <a:lnTo>
                    <a:pt x="654" y="882"/>
                  </a:lnTo>
                  <a:lnTo>
                    <a:pt x="642" y="876"/>
                  </a:lnTo>
                  <a:lnTo>
                    <a:pt x="636" y="876"/>
                  </a:lnTo>
                  <a:lnTo>
                    <a:pt x="630" y="876"/>
                  </a:lnTo>
                  <a:lnTo>
                    <a:pt x="630" y="870"/>
                  </a:lnTo>
                  <a:lnTo>
                    <a:pt x="618" y="858"/>
                  </a:lnTo>
                  <a:lnTo>
                    <a:pt x="612" y="858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06" y="876"/>
                  </a:lnTo>
                  <a:lnTo>
                    <a:pt x="606" y="882"/>
                  </a:lnTo>
                  <a:lnTo>
                    <a:pt x="606" y="888"/>
                  </a:lnTo>
                  <a:lnTo>
                    <a:pt x="600" y="894"/>
                  </a:lnTo>
                  <a:lnTo>
                    <a:pt x="594" y="894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76" y="894"/>
                  </a:lnTo>
                  <a:lnTo>
                    <a:pt x="582" y="900"/>
                  </a:lnTo>
                  <a:lnTo>
                    <a:pt x="576" y="906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64" y="918"/>
                  </a:lnTo>
                  <a:lnTo>
                    <a:pt x="558" y="918"/>
                  </a:lnTo>
                  <a:lnTo>
                    <a:pt x="558" y="912"/>
                  </a:lnTo>
                  <a:lnTo>
                    <a:pt x="552" y="906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06"/>
                  </a:lnTo>
                  <a:lnTo>
                    <a:pt x="534" y="906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0" y="924"/>
                  </a:lnTo>
                  <a:lnTo>
                    <a:pt x="504" y="924"/>
                  </a:lnTo>
                  <a:lnTo>
                    <a:pt x="498" y="930"/>
                  </a:lnTo>
                  <a:lnTo>
                    <a:pt x="492" y="924"/>
                  </a:lnTo>
                  <a:lnTo>
                    <a:pt x="486" y="930"/>
                  </a:lnTo>
                  <a:lnTo>
                    <a:pt x="480" y="942"/>
                  </a:lnTo>
                  <a:lnTo>
                    <a:pt x="468" y="948"/>
                  </a:lnTo>
                  <a:lnTo>
                    <a:pt x="444" y="942"/>
                  </a:lnTo>
                  <a:lnTo>
                    <a:pt x="438" y="954"/>
                  </a:lnTo>
                  <a:lnTo>
                    <a:pt x="426" y="954"/>
                  </a:lnTo>
                  <a:lnTo>
                    <a:pt x="420" y="948"/>
                  </a:lnTo>
                  <a:lnTo>
                    <a:pt x="408" y="936"/>
                  </a:lnTo>
                  <a:lnTo>
                    <a:pt x="396" y="936"/>
                  </a:lnTo>
                  <a:lnTo>
                    <a:pt x="390" y="930"/>
                  </a:lnTo>
                  <a:lnTo>
                    <a:pt x="390" y="924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66" y="924"/>
                  </a:lnTo>
                  <a:lnTo>
                    <a:pt x="360" y="924"/>
                  </a:lnTo>
                  <a:lnTo>
                    <a:pt x="348" y="918"/>
                  </a:lnTo>
                  <a:lnTo>
                    <a:pt x="342" y="906"/>
                  </a:lnTo>
                  <a:lnTo>
                    <a:pt x="336" y="906"/>
                  </a:lnTo>
                  <a:lnTo>
                    <a:pt x="330" y="906"/>
                  </a:lnTo>
                  <a:lnTo>
                    <a:pt x="312" y="906"/>
                  </a:lnTo>
                  <a:lnTo>
                    <a:pt x="312" y="900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888"/>
                  </a:lnTo>
                  <a:lnTo>
                    <a:pt x="312" y="882"/>
                  </a:lnTo>
                  <a:lnTo>
                    <a:pt x="306" y="876"/>
                  </a:lnTo>
                  <a:lnTo>
                    <a:pt x="312" y="876"/>
                  </a:lnTo>
                  <a:lnTo>
                    <a:pt x="312" y="870"/>
                  </a:lnTo>
                  <a:lnTo>
                    <a:pt x="318" y="876"/>
                  </a:lnTo>
                  <a:lnTo>
                    <a:pt x="318" y="870"/>
                  </a:lnTo>
                  <a:lnTo>
                    <a:pt x="324" y="876"/>
                  </a:lnTo>
                  <a:lnTo>
                    <a:pt x="330" y="876"/>
                  </a:lnTo>
                  <a:lnTo>
                    <a:pt x="336" y="876"/>
                  </a:lnTo>
                  <a:lnTo>
                    <a:pt x="342" y="876"/>
                  </a:lnTo>
                  <a:lnTo>
                    <a:pt x="336" y="876"/>
                  </a:lnTo>
                  <a:lnTo>
                    <a:pt x="330" y="870"/>
                  </a:lnTo>
                  <a:lnTo>
                    <a:pt x="324" y="870"/>
                  </a:lnTo>
                  <a:lnTo>
                    <a:pt x="318" y="870"/>
                  </a:lnTo>
                  <a:lnTo>
                    <a:pt x="312" y="870"/>
                  </a:lnTo>
                  <a:lnTo>
                    <a:pt x="318" y="864"/>
                  </a:lnTo>
                  <a:lnTo>
                    <a:pt x="318" y="858"/>
                  </a:lnTo>
                  <a:lnTo>
                    <a:pt x="318" y="852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6" y="846"/>
                  </a:lnTo>
                  <a:lnTo>
                    <a:pt x="312" y="828"/>
                  </a:lnTo>
                  <a:lnTo>
                    <a:pt x="312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06" y="816"/>
                  </a:lnTo>
                  <a:lnTo>
                    <a:pt x="306" y="810"/>
                  </a:lnTo>
                  <a:lnTo>
                    <a:pt x="306" y="816"/>
                  </a:lnTo>
                  <a:lnTo>
                    <a:pt x="312" y="822"/>
                  </a:lnTo>
                  <a:lnTo>
                    <a:pt x="306" y="822"/>
                  </a:lnTo>
                  <a:lnTo>
                    <a:pt x="306" y="828"/>
                  </a:lnTo>
                  <a:lnTo>
                    <a:pt x="306" y="834"/>
                  </a:lnTo>
                  <a:lnTo>
                    <a:pt x="300" y="840"/>
                  </a:lnTo>
                  <a:lnTo>
                    <a:pt x="300" y="846"/>
                  </a:lnTo>
                  <a:lnTo>
                    <a:pt x="306" y="852"/>
                  </a:lnTo>
                  <a:lnTo>
                    <a:pt x="306" y="858"/>
                  </a:lnTo>
                  <a:lnTo>
                    <a:pt x="312" y="858"/>
                  </a:lnTo>
                  <a:lnTo>
                    <a:pt x="312" y="864"/>
                  </a:lnTo>
                  <a:lnTo>
                    <a:pt x="306" y="864"/>
                  </a:lnTo>
                  <a:lnTo>
                    <a:pt x="300" y="864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82" y="870"/>
                  </a:lnTo>
                  <a:lnTo>
                    <a:pt x="276" y="870"/>
                  </a:lnTo>
                  <a:lnTo>
                    <a:pt x="270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8" y="870"/>
                  </a:lnTo>
                  <a:lnTo>
                    <a:pt x="252" y="870"/>
                  </a:lnTo>
                  <a:lnTo>
                    <a:pt x="252" y="864"/>
                  </a:lnTo>
                  <a:lnTo>
                    <a:pt x="246" y="858"/>
                  </a:lnTo>
                  <a:lnTo>
                    <a:pt x="246" y="852"/>
                  </a:lnTo>
                  <a:lnTo>
                    <a:pt x="246" y="846"/>
                  </a:lnTo>
                  <a:lnTo>
                    <a:pt x="246" y="840"/>
                  </a:lnTo>
                  <a:lnTo>
                    <a:pt x="246" y="834"/>
                  </a:lnTo>
                  <a:lnTo>
                    <a:pt x="246" y="828"/>
                  </a:lnTo>
                  <a:lnTo>
                    <a:pt x="246" y="822"/>
                  </a:lnTo>
                  <a:lnTo>
                    <a:pt x="240" y="816"/>
                  </a:lnTo>
                  <a:lnTo>
                    <a:pt x="240" y="810"/>
                  </a:lnTo>
                  <a:lnTo>
                    <a:pt x="240" y="804"/>
                  </a:lnTo>
                  <a:lnTo>
                    <a:pt x="240" y="798"/>
                  </a:lnTo>
                  <a:lnTo>
                    <a:pt x="234" y="798"/>
                  </a:lnTo>
                  <a:lnTo>
                    <a:pt x="234" y="792"/>
                  </a:lnTo>
                  <a:lnTo>
                    <a:pt x="234" y="786"/>
                  </a:lnTo>
                  <a:lnTo>
                    <a:pt x="234" y="780"/>
                  </a:lnTo>
                  <a:lnTo>
                    <a:pt x="228" y="780"/>
                  </a:lnTo>
                  <a:lnTo>
                    <a:pt x="228" y="774"/>
                  </a:lnTo>
                  <a:lnTo>
                    <a:pt x="228" y="768"/>
                  </a:lnTo>
                  <a:lnTo>
                    <a:pt x="222" y="762"/>
                  </a:lnTo>
                  <a:lnTo>
                    <a:pt x="222" y="756"/>
                  </a:lnTo>
                  <a:lnTo>
                    <a:pt x="222" y="750"/>
                  </a:lnTo>
                  <a:lnTo>
                    <a:pt x="222" y="744"/>
                  </a:lnTo>
                  <a:lnTo>
                    <a:pt x="222" y="738"/>
                  </a:lnTo>
                  <a:lnTo>
                    <a:pt x="216" y="732"/>
                  </a:lnTo>
                  <a:lnTo>
                    <a:pt x="222" y="732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32"/>
                  </a:lnTo>
                  <a:lnTo>
                    <a:pt x="246" y="732"/>
                  </a:lnTo>
                  <a:lnTo>
                    <a:pt x="246" y="738"/>
                  </a:lnTo>
                  <a:lnTo>
                    <a:pt x="252" y="738"/>
                  </a:lnTo>
                  <a:lnTo>
                    <a:pt x="258" y="738"/>
                  </a:lnTo>
                  <a:lnTo>
                    <a:pt x="258" y="732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8" y="732"/>
                  </a:lnTo>
                  <a:lnTo>
                    <a:pt x="294" y="732"/>
                  </a:lnTo>
                  <a:lnTo>
                    <a:pt x="300" y="732"/>
                  </a:lnTo>
                  <a:lnTo>
                    <a:pt x="300" y="738"/>
                  </a:lnTo>
                  <a:lnTo>
                    <a:pt x="306" y="738"/>
                  </a:lnTo>
                  <a:lnTo>
                    <a:pt x="306" y="744"/>
                  </a:lnTo>
                  <a:lnTo>
                    <a:pt x="306" y="750"/>
                  </a:lnTo>
                  <a:lnTo>
                    <a:pt x="312" y="750"/>
                  </a:lnTo>
                  <a:lnTo>
                    <a:pt x="312" y="756"/>
                  </a:lnTo>
                  <a:lnTo>
                    <a:pt x="318" y="756"/>
                  </a:lnTo>
                  <a:lnTo>
                    <a:pt x="318" y="750"/>
                  </a:lnTo>
                  <a:lnTo>
                    <a:pt x="312" y="750"/>
                  </a:lnTo>
                  <a:lnTo>
                    <a:pt x="312" y="744"/>
                  </a:lnTo>
                  <a:lnTo>
                    <a:pt x="318" y="738"/>
                  </a:lnTo>
                  <a:lnTo>
                    <a:pt x="324" y="738"/>
                  </a:lnTo>
                  <a:lnTo>
                    <a:pt x="330" y="738"/>
                  </a:lnTo>
                  <a:lnTo>
                    <a:pt x="336" y="738"/>
                  </a:lnTo>
                  <a:lnTo>
                    <a:pt x="342" y="738"/>
                  </a:lnTo>
                  <a:lnTo>
                    <a:pt x="348" y="732"/>
                  </a:lnTo>
                  <a:lnTo>
                    <a:pt x="354" y="732"/>
                  </a:lnTo>
                  <a:lnTo>
                    <a:pt x="360" y="732"/>
                  </a:lnTo>
                  <a:lnTo>
                    <a:pt x="360" y="726"/>
                  </a:lnTo>
                  <a:lnTo>
                    <a:pt x="366" y="726"/>
                  </a:lnTo>
                  <a:lnTo>
                    <a:pt x="366" y="720"/>
                  </a:lnTo>
                  <a:lnTo>
                    <a:pt x="366" y="714"/>
                  </a:lnTo>
                  <a:lnTo>
                    <a:pt x="360" y="708"/>
                  </a:lnTo>
                  <a:lnTo>
                    <a:pt x="354" y="708"/>
                  </a:lnTo>
                  <a:lnTo>
                    <a:pt x="348" y="702"/>
                  </a:lnTo>
                  <a:lnTo>
                    <a:pt x="354" y="702"/>
                  </a:lnTo>
                  <a:lnTo>
                    <a:pt x="354" y="696"/>
                  </a:lnTo>
                  <a:lnTo>
                    <a:pt x="348" y="696"/>
                  </a:lnTo>
                  <a:lnTo>
                    <a:pt x="348" y="690"/>
                  </a:lnTo>
                  <a:lnTo>
                    <a:pt x="342" y="690"/>
                  </a:lnTo>
                  <a:lnTo>
                    <a:pt x="342" y="684"/>
                  </a:lnTo>
                  <a:lnTo>
                    <a:pt x="342" y="678"/>
                  </a:lnTo>
                  <a:lnTo>
                    <a:pt x="342" y="666"/>
                  </a:lnTo>
                  <a:lnTo>
                    <a:pt x="342" y="660"/>
                  </a:lnTo>
                  <a:lnTo>
                    <a:pt x="348" y="654"/>
                  </a:lnTo>
                  <a:lnTo>
                    <a:pt x="348" y="642"/>
                  </a:lnTo>
                  <a:lnTo>
                    <a:pt x="354" y="642"/>
                  </a:lnTo>
                  <a:lnTo>
                    <a:pt x="360" y="642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66" y="642"/>
                  </a:lnTo>
                  <a:lnTo>
                    <a:pt x="372" y="642"/>
                  </a:lnTo>
                  <a:lnTo>
                    <a:pt x="378" y="642"/>
                  </a:lnTo>
                  <a:lnTo>
                    <a:pt x="384" y="642"/>
                  </a:lnTo>
                  <a:lnTo>
                    <a:pt x="390" y="642"/>
                  </a:lnTo>
                  <a:lnTo>
                    <a:pt x="396" y="642"/>
                  </a:lnTo>
                  <a:lnTo>
                    <a:pt x="396" y="636"/>
                  </a:lnTo>
                  <a:lnTo>
                    <a:pt x="402" y="636"/>
                  </a:lnTo>
                  <a:lnTo>
                    <a:pt x="408" y="636"/>
                  </a:lnTo>
                  <a:lnTo>
                    <a:pt x="402" y="636"/>
                  </a:lnTo>
                  <a:lnTo>
                    <a:pt x="402" y="630"/>
                  </a:lnTo>
                  <a:lnTo>
                    <a:pt x="408" y="630"/>
                  </a:lnTo>
                  <a:lnTo>
                    <a:pt x="408" y="624"/>
                  </a:lnTo>
                  <a:lnTo>
                    <a:pt x="408" y="618"/>
                  </a:lnTo>
                  <a:lnTo>
                    <a:pt x="414" y="618"/>
                  </a:lnTo>
                  <a:lnTo>
                    <a:pt x="420" y="618"/>
                  </a:lnTo>
                  <a:lnTo>
                    <a:pt x="426" y="624"/>
                  </a:lnTo>
                  <a:lnTo>
                    <a:pt x="432" y="624"/>
                  </a:lnTo>
                  <a:lnTo>
                    <a:pt x="438" y="624"/>
                  </a:lnTo>
                  <a:lnTo>
                    <a:pt x="438" y="618"/>
                  </a:lnTo>
                  <a:lnTo>
                    <a:pt x="444" y="618"/>
                  </a:lnTo>
                  <a:lnTo>
                    <a:pt x="450" y="618"/>
                  </a:lnTo>
                  <a:lnTo>
                    <a:pt x="444" y="618"/>
                  </a:lnTo>
                  <a:lnTo>
                    <a:pt x="438" y="618"/>
                  </a:lnTo>
                  <a:lnTo>
                    <a:pt x="438" y="612"/>
                  </a:lnTo>
                  <a:lnTo>
                    <a:pt x="438" y="618"/>
                  </a:lnTo>
                  <a:lnTo>
                    <a:pt x="432" y="624"/>
                  </a:lnTo>
                  <a:lnTo>
                    <a:pt x="426" y="618"/>
                  </a:lnTo>
                  <a:lnTo>
                    <a:pt x="420" y="612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402" y="624"/>
                  </a:lnTo>
                  <a:lnTo>
                    <a:pt x="396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78" y="630"/>
                  </a:lnTo>
                  <a:lnTo>
                    <a:pt x="378" y="636"/>
                  </a:lnTo>
                  <a:lnTo>
                    <a:pt x="372" y="630"/>
                  </a:lnTo>
                  <a:lnTo>
                    <a:pt x="366" y="630"/>
                  </a:lnTo>
                  <a:lnTo>
                    <a:pt x="360" y="630"/>
                  </a:lnTo>
                  <a:lnTo>
                    <a:pt x="354" y="630"/>
                  </a:lnTo>
                  <a:lnTo>
                    <a:pt x="354" y="636"/>
                  </a:lnTo>
                  <a:lnTo>
                    <a:pt x="348" y="636"/>
                  </a:lnTo>
                  <a:lnTo>
                    <a:pt x="348" y="642"/>
                  </a:lnTo>
                  <a:lnTo>
                    <a:pt x="342" y="642"/>
                  </a:lnTo>
                  <a:lnTo>
                    <a:pt x="342" y="648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6" y="660"/>
                  </a:lnTo>
                  <a:lnTo>
                    <a:pt x="336" y="666"/>
                  </a:lnTo>
                  <a:lnTo>
                    <a:pt x="330" y="672"/>
                  </a:lnTo>
                  <a:lnTo>
                    <a:pt x="330" y="678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24" y="696"/>
                  </a:lnTo>
                  <a:lnTo>
                    <a:pt x="324" y="702"/>
                  </a:lnTo>
                  <a:lnTo>
                    <a:pt x="318" y="702"/>
                  </a:lnTo>
                  <a:lnTo>
                    <a:pt x="318" y="708"/>
                  </a:lnTo>
                  <a:lnTo>
                    <a:pt x="312" y="708"/>
                  </a:lnTo>
                  <a:lnTo>
                    <a:pt x="312" y="702"/>
                  </a:lnTo>
                  <a:lnTo>
                    <a:pt x="306" y="702"/>
                  </a:lnTo>
                  <a:lnTo>
                    <a:pt x="300" y="702"/>
                  </a:lnTo>
                  <a:lnTo>
                    <a:pt x="294" y="696"/>
                  </a:lnTo>
                  <a:lnTo>
                    <a:pt x="288" y="696"/>
                  </a:lnTo>
                  <a:lnTo>
                    <a:pt x="282" y="690"/>
                  </a:lnTo>
                  <a:lnTo>
                    <a:pt x="288" y="684"/>
                  </a:lnTo>
                  <a:lnTo>
                    <a:pt x="294" y="684"/>
                  </a:lnTo>
                  <a:lnTo>
                    <a:pt x="294" y="678"/>
                  </a:lnTo>
                  <a:lnTo>
                    <a:pt x="300" y="678"/>
                  </a:lnTo>
                  <a:lnTo>
                    <a:pt x="294" y="678"/>
                  </a:lnTo>
                  <a:lnTo>
                    <a:pt x="294" y="672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94" y="672"/>
                  </a:lnTo>
                  <a:lnTo>
                    <a:pt x="288" y="678"/>
                  </a:lnTo>
                  <a:lnTo>
                    <a:pt x="282" y="684"/>
                  </a:lnTo>
                  <a:lnTo>
                    <a:pt x="282" y="678"/>
                  </a:lnTo>
                  <a:lnTo>
                    <a:pt x="276" y="678"/>
                  </a:lnTo>
                  <a:lnTo>
                    <a:pt x="282" y="684"/>
                  </a:lnTo>
                  <a:lnTo>
                    <a:pt x="282" y="690"/>
                  </a:lnTo>
                  <a:lnTo>
                    <a:pt x="282" y="696"/>
                  </a:lnTo>
                  <a:lnTo>
                    <a:pt x="288" y="702"/>
                  </a:lnTo>
                  <a:lnTo>
                    <a:pt x="294" y="708"/>
                  </a:lnTo>
                  <a:lnTo>
                    <a:pt x="294" y="714"/>
                  </a:lnTo>
                  <a:lnTo>
                    <a:pt x="288" y="714"/>
                  </a:lnTo>
                  <a:lnTo>
                    <a:pt x="282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64" y="714"/>
                  </a:lnTo>
                  <a:lnTo>
                    <a:pt x="258" y="714"/>
                  </a:lnTo>
                  <a:lnTo>
                    <a:pt x="252" y="714"/>
                  </a:lnTo>
                  <a:lnTo>
                    <a:pt x="246" y="714"/>
                  </a:lnTo>
                  <a:lnTo>
                    <a:pt x="240" y="714"/>
                  </a:lnTo>
                  <a:lnTo>
                    <a:pt x="240" y="708"/>
                  </a:lnTo>
                  <a:lnTo>
                    <a:pt x="234" y="708"/>
                  </a:lnTo>
                  <a:lnTo>
                    <a:pt x="228" y="708"/>
                  </a:lnTo>
                  <a:lnTo>
                    <a:pt x="222" y="702"/>
                  </a:lnTo>
                  <a:lnTo>
                    <a:pt x="216" y="702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2" y="690"/>
                  </a:lnTo>
                  <a:lnTo>
                    <a:pt x="186" y="690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68" y="684"/>
                  </a:lnTo>
                  <a:lnTo>
                    <a:pt x="168" y="678"/>
                  </a:lnTo>
                  <a:lnTo>
                    <a:pt x="156" y="672"/>
                  </a:lnTo>
                  <a:lnTo>
                    <a:pt x="150" y="660"/>
                  </a:lnTo>
                  <a:lnTo>
                    <a:pt x="126" y="630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12"/>
                  </a:lnTo>
                  <a:lnTo>
                    <a:pt x="126" y="606"/>
                  </a:lnTo>
                  <a:lnTo>
                    <a:pt x="126" y="600"/>
                  </a:lnTo>
                  <a:lnTo>
                    <a:pt x="132" y="594"/>
                  </a:lnTo>
                  <a:lnTo>
                    <a:pt x="138" y="594"/>
                  </a:lnTo>
                  <a:lnTo>
                    <a:pt x="144" y="588"/>
                  </a:lnTo>
                  <a:lnTo>
                    <a:pt x="144" y="582"/>
                  </a:lnTo>
                  <a:lnTo>
                    <a:pt x="150" y="582"/>
                  </a:lnTo>
                  <a:lnTo>
                    <a:pt x="150" y="576"/>
                  </a:lnTo>
                  <a:lnTo>
                    <a:pt x="156" y="576"/>
                  </a:lnTo>
                  <a:lnTo>
                    <a:pt x="156" y="582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8" y="576"/>
                  </a:lnTo>
                  <a:lnTo>
                    <a:pt x="174" y="576"/>
                  </a:lnTo>
                  <a:lnTo>
                    <a:pt x="180" y="582"/>
                  </a:lnTo>
                  <a:lnTo>
                    <a:pt x="192" y="582"/>
                  </a:lnTo>
                  <a:lnTo>
                    <a:pt x="198" y="582"/>
                  </a:lnTo>
                  <a:lnTo>
                    <a:pt x="204" y="582"/>
                  </a:lnTo>
                  <a:lnTo>
                    <a:pt x="210" y="582"/>
                  </a:lnTo>
                  <a:lnTo>
                    <a:pt x="216" y="588"/>
                  </a:lnTo>
                  <a:lnTo>
                    <a:pt x="222" y="588"/>
                  </a:lnTo>
                  <a:lnTo>
                    <a:pt x="234" y="588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46" y="594"/>
                  </a:lnTo>
                  <a:lnTo>
                    <a:pt x="252" y="588"/>
                  </a:lnTo>
                  <a:lnTo>
                    <a:pt x="258" y="588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52" y="600"/>
                  </a:lnTo>
                  <a:lnTo>
                    <a:pt x="246" y="600"/>
                  </a:lnTo>
                  <a:lnTo>
                    <a:pt x="246" y="606"/>
                  </a:lnTo>
                  <a:lnTo>
                    <a:pt x="246" y="600"/>
                  </a:lnTo>
                  <a:lnTo>
                    <a:pt x="252" y="600"/>
                  </a:lnTo>
                  <a:lnTo>
                    <a:pt x="258" y="594"/>
                  </a:lnTo>
                  <a:lnTo>
                    <a:pt x="264" y="594"/>
                  </a:lnTo>
                  <a:lnTo>
                    <a:pt x="264" y="588"/>
                  </a:lnTo>
                  <a:lnTo>
                    <a:pt x="270" y="588"/>
                  </a:lnTo>
                  <a:lnTo>
                    <a:pt x="270" y="582"/>
                  </a:lnTo>
                  <a:lnTo>
                    <a:pt x="270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76" y="564"/>
                  </a:lnTo>
                  <a:lnTo>
                    <a:pt x="270" y="558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58"/>
                  </a:lnTo>
                  <a:lnTo>
                    <a:pt x="282" y="558"/>
                  </a:lnTo>
                  <a:lnTo>
                    <a:pt x="288" y="558"/>
                  </a:lnTo>
                  <a:lnTo>
                    <a:pt x="294" y="558"/>
                  </a:lnTo>
                  <a:lnTo>
                    <a:pt x="300" y="558"/>
                  </a:lnTo>
                  <a:lnTo>
                    <a:pt x="306" y="558"/>
                  </a:lnTo>
                  <a:lnTo>
                    <a:pt x="312" y="558"/>
                  </a:lnTo>
                  <a:lnTo>
                    <a:pt x="318" y="558"/>
                  </a:lnTo>
                  <a:lnTo>
                    <a:pt x="318" y="564"/>
                  </a:lnTo>
                  <a:lnTo>
                    <a:pt x="324" y="564"/>
                  </a:lnTo>
                  <a:lnTo>
                    <a:pt x="324" y="570"/>
                  </a:lnTo>
                  <a:lnTo>
                    <a:pt x="330" y="570"/>
                  </a:lnTo>
                  <a:lnTo>
                    <a:pt x="336" y="570"/>
                  </a:lnTo>
                  <a:lnTo>
                    <a:pt x="342" y="570"/>
                  </a:lnTo>
                  <a:lnTo>
                    <a:pt x="348" y="570"/>
                  </a:lnTo>
                  <a:lnTo>
                    <a:pt x="354" y="570"/>
                  </a:lnTo>
                  <a:lnTo>
                    <a:pt x="360" y="570"/>
                  </a:lnTo>
                  <a:lnTo>
                    <a:pt x="366" y="570"/>
                  </a:lnTo>
                  <a:lnTo>
                    <a:pt x="360" y="570"/>
                  </a:lnTo>
                  <a:lnTo>
                    <a:pt x="360" y="564"/>
                  </a:lnTo>
                  <a:lnTo>
                    <a:pt x="354" y="564"/>
                  </a:lnTo>
                  <a:lnTo>
                    <a:pt x="348" y="564"/>
                  </a:lnTo>
                  <a:lnTo>
                    <a:pt x="342" y="564"/>
                  </a:lnTo>
                  <a:lnTo>
                    <a:pt x="342" y="570"/>
                  </a:lnTo>
                  <a:lnTo>
                    <a:pt x="336" y="564"/>
                  </a:lnTo>
                  <a:lnTo>
                    <a:pt x="336" y="570"/>
                  </a:lnTo>
                  <a:lnTo>
                    <a:pt x="336" y="564"/>
                  </a:lnTo>
                  <a:lnTo>
                    <a:pt x="330" y="564"/>
                  </a:lnTo>
                  <a:lnTo>
                    <a:pt x="324" y="558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18" y="558"/>
                  </a:lnTo>
                  <a:lnTo>
                    <a:pt x="312" y="552"/>
                  </a:lnTo>
                  <a:lnTo>
                    <a:pt x="312" y="558"/>
                  </a:lnTo>
                  <a:lnTo>
                    <a:pt x="312" y="552"/>
                  </a:lnTo>
                  <a:lnTo>
                    <a:pt x="306" y="552"/>
                  </a:lnTo>
                  <a:lnTo>
                    <a:pt x="300" y="546"/>
                  </a:lnTo>
                  <a:lnTo>
                    <a:pt x="294" y="546"/>
                  </a:lnTo>
                  <a:lnTo>
                    <a:pt x="288" y="546"/>
                  </a:lnTo>
                  <a:lnTo>
                    <a:pt x="282" y="546"/>
                  </a:lnTo>
                  <a:lnTo>
                    <a:pt x="276" y="546"/>
                  </a:lnTo>
                  <a:lnTo>
                    <a:pt x="276" y="552"/>
                  </a:lnTo>
                  <a:lnTo>
                    <a:pt x="270" y="552"/>
                  </a:lnTo>
                  <a:lnTo>
                    <a:pt x="270" y="558"/>
                  </a:lnTo>
                  <a:lnTo>
                    <a:pt x="270" y="564"/>
                  </a:lnTo>
                  <a:lnTo>
                    <a:pt x="264" y="570"/>
                  </a:lnTo>
                  <a:lnTo>
                    <a:pt x="258" y="576"/>
                  </a:lnTo>
                  <a:lnTo>
                    <a:pt x="258" y="582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34" y="576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16" y="552"/>
                  </a:lnTo>
                  <a:lnTo>
                    <a:pt x="216" y="546"/>
                  </a:lnTo>
                  <a:lnTo>
                    <a:pt x="216" y="540"/>
                  </a:lnTo>
                  <a:lnTo>
                    <a:pt x="222" y="534"/>
                  </a:lnTo>
                  <a:lnTo>
                    <a:pt x="222" y="528"/>
                  </a:lnTo>
                  <a:lnTo>
                    <a:pt x="228" y="522"/>
                  </a:lnTo>
                  <a:lnTo>
                    <a:pt x="228" y="516"/>
                  </a:lnTo>
                  <a:lnTo>
                    <a:pt x="228" y="510"/>
                  </a:lnTo>
                  <a:lnTo>
                    <a:pt x="234" y="510"/>
                  </a:lnTo>
                  <a:lnTo>
                    <a:pt x="240" y="516"/>
                  </a:lnTo>
                  <a:lnTo>
                    <a:pt x="246" y="522"/>
                  </a:lnTo>
                  <a:lnTo>
                    <a:pt x="246" y="516"/>
                  </a:lnTo>
                  <a:lnTo>
                    <a:pt x="240" y="516"/>
                  </a:lnTo>
                  <a:lnTo>
                    <a:pt x="240" y="510"/>
                  </a:lnTo>
                  <a:lnTo>
                    <a:pt x="234" y="510"/>
                  </a:lnTo>
                  <a:lnTo>
                    <a:pt x="234" y="504"/>
                  </a:lnTo>
                  <a:lnTo>
                    <a:pt x="228" y="504"/>
                  </a:lnTo>
                  <a:lnTo>
                    <a:pt x="222" y="504"/>
                  </a:lnTo>
                  <a:lnTo>
                    <a:pt x="222" y="498"/>
                  </a:lnTo>
                  <a:lnTo>
                    <a:pt x="222" y="504"/>
                  </a:lnTo>
                  <a:lnTo>
                    <a:pt x="222" y="510"/>
                  </a:lnTo>
                  <a:lnTo>
                    <a:pt x="222" y="516"/>
                  </a:lnTo>
                  <a:lnTo>
                    <a:pt x="216" y="522"/>
                  </a:lnTo>
                  <a:lnTo>
                    <a:pt x="216" y="528"/>
                  </a:lnTo>
                  <a:lnTo>
                    <a:pt x="210" y="528"/>
                  </a:lnTo>
                  <a:lnTo>
                    <a:pt x="216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04" y="546"/>
                  </a:lnTo>
                  <a:lnTo>
                    <a:pt x="204" y="552"/>
                  </a:lnTo>
                  <a:lnTo>
                    <a:pt x="204" y="558"/>
                  </a:lnTo>
                  <a:lnTo>
                    <a:pt x="204" y="564"/>
                  </a:lnTo>
                  <a:lnTo>
                    <a:pt x="198" y="570"/>
                  </a:lnTo>
                  <a:lnTo>
                    <a:pt x="192" y="564"/>
                  </a:lnTo>
                  <a:lnTo>
                    <a:pt x="186" y="564"/>
                  </a:lnTo>
                  <a:lnTo>
                    <a:pt x="180" y="564"/>
                  </a:lnTo>
                  <a:lnTo>
                    <a:pt x="174" y="564"/>
                  </a:lnTo>
                  <a:lnTo>
                    <a:pt x="168" y="564"/>
                  </a:lnTo>
                  <a:lnTo>
                    <a:pt x="162" y="564"/>
                  </a:lnTo>
                  <a:lnTo>
                    <a:pt x="156" y="570"/>
                  </a:lnTo>
                  <a:lnTo>
                    <a:pt x="150" y="570"/>
                  </a:lnTo>
                  <a:lnTo>
                    <a:pt x="150" y="564"/>
                  </a:lnTo>
                  <a:lnTo>
                    <a:pt x="150" y="570"/>
                  </a:lnTo>
                  <a:lnTo>
                    <a:pt x="150" y="576"/>
                  </a:lnTo>
                  <a:lnTo>
                    <a:pt x="144" y="576"/>
                  </a:lnTo>
                  <a:lnTo>
                    <a:pt x="138" y="576"/>
                  </a:lnTo>
                  <a:lnTo>
                    <a:pt x="132" y="582"/>
                  </a:lnTo>
                  <a:lnTo>
                    <a:pt x="126" y="582"/>
                  </a:lnTo>
                  <a:lnTo>
                    <a:pt x="120" y="582"/>
                  </a:lnTo>
                  <a:lnTo>
                    <a:pt x="114" y="576"/>
                  </a:lnTo>
                  <a:lnTo>
                    <a:pt x="108" y="564"/>
                  </a:lnTo>
                  <a:lnTo>
                    <a:pt x="102" y="558"/>
                  </a:lnTo>
                  <a:lnTo>
                    <a:pt x="96" y="552"/>
                  </a:lnTo>
                  <a:lnTo>
                    <a:pt x="90" y="546"/>
                  </a:lnTo>
                  <a:lnTo>
                    <a:pt x="90" y="540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2"/>
                  </a:lnTo>
                  <a:lnTo>
                    <a:pt x="78" y="516"/>
                  </a:lnTo>
                  <a:lnTo>
                    <a:pt x="72" y="510"/>
                  </a:lnTo>
                  <a:lnTo>
                    <a:pt x="66" y="504"/>
                  </a:lnTo>
                  <a:lnTo>
                    <a:pt x="66" y="498"/>
                  </a:lnTo>
                  <a:lnTo>
                    <a:pt x="66" y="492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6" y="474"/>
                  </a:lnTo>
                  <a:lnTo>
                    <a:pt x="72" y="474"/>
                  </a:lnTo>
                  <a:lnTo>
                    <a:pt x="72" y="468"/>
                  </a:lnTo>
                  <a:lnTo>
                    <a:pt x="78" y="462"/>
                  </a:lnTo>
                  <a:lnTo>
                    <a:pt x="78" y="456"/>
                  </a:lnTo>
                  <a:lnTo>
                    <a:pt x="84" y="456"/>
                  </a:lnTo>
                  <a:lnTo>
                    <a:pt x="84" y="450"/>
                  </a:lnTo>
                  <a:lnTo>
                    <a:pt x="84" y="444"/>
                  </a:lnTo>
                  <a:lnTo>
                    <a:pt x="90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02" y="450"/>
                  </a:lnTo>
                  <a:lnTo>
                    <a:pt x="108" y="450"/>
                  </a:lnTo>
                  <a:lnTo>
                    <a:pt x="108" y="456"/>
                  </a:lnTo>
                  <a:lnTo>
                    <a:pt x="108" y="462"/>
                  </a:lnTo>
                  <a:lnTo>
                    <a:pt x="114" y="462"/>
                  </a:lnTo>
                  <a:lnTo>
                    <a:pt x="114" y="468"/>
                  </a:lnTo>
                  <a:lnTo>
                    <a:pt x="114" y="474"/>
                  </a:lnTo>
                  <a:lnTo>
                    <a:pt x="114" y="480"/>
                  </a:lnTo>
                  <a:lnTo>
                    <a:pt x="114" y="486"/>
                  </a:lnTo>
                  <a:lnTo>
                    <a:pt x="120" y="486"/>
                  </a:lnTo>
                  <a:lnTo>
                    <a:pt x="126" y="486"/>
                  </a:lnTo>
                  <a:lnTo>
                    <a:pt x="132" y="486"/>
                  </a:lnTo>
                  <a:lnTo>
                    <a:pt x="126" y="480"/>
                  </a:lnTo>
                  <a:lnTo>
                    <a:pt x="120" y="480"/>
                  </a:lnTo>
                  <a:lnTo>
                    <a:pt x="114" y="480"/>
                  </a:lnTo>
                  <a:lnTo>
                    <a:pt x="120" y="480"/>
                  </a:lnTo>
                  <a:lnTo>
                    <a:pt x="120" y="474"/>
                  </a:lnTo>
                  <a:lnTo>
                    <a:pt x="120" y="468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108" y="450"/>
                  </a:lnTo>
                  <a:lnTo>
                    <a:pt x="108" y="444"/>
                  </a:lnTo>
                  <a:lnTo>
                    <a:pt x="114" y="438"/>
                  </a:lnTo>
                  <a:lnTo>
                    <a:pt x="120" y="438"/>
                  </a:lnTo>
                  <a:lnTo>
                    <a:pt x="120" y="432"/>
                  </a:lnTo>
                  <a:lnTo>
                    <a:pt x="132" y="426"/>
                  </a:lnTo>
                  <a:lnTo>
                    <a:pt x="138" y="420"/>
                  </a:lnTo>
                  <a:lnTo>
                    <a:pt x="144" y="420"/>
                  </a:lnTo>
                  <a:lnTo>
                    <a:pt x="144" y="414"/>
                  </a:lnTo>
                  <a:lnTo>
                    <a:pt x="144" y="420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6" y="414"/>
                  </a:lnTo>
                  <a:lnTo>
                    <a:pt x="162" y="414"/>
                  </a:lnTo>
                  <a:lnTo>
                    <a:pt x="162" y="408"/>
                  </a:lnTo>
                  <a:lnTo>
                    <a:pt x="168" y="408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86" y="396"/>
                  </a:lnTo>
                  <a:lnTo>
                    <a:pt x="186" y="390"/>
                  </a:lnTo>
                  <a:lnTo>
                    <a:pt x="192" y="390"/>
                  </a:lnTo>
                  <a:lnTo>
                    <a:pt x="198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210" y="378"/>
                  </a:lnTo>
                  <a:lnTo>
                    <a:pt x="210" y="372"/>
                  </a:lnTo>
                  <a:lnTo>
                    <a:pt x="216" y="372"/>
                  </a:lnTo>
                  <a:lnTo>
                    <a:pt x="222" y="366"/>
                  </a:lnTo>
                  <a:lnTo>
                    <a:pt x="228" y="360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6" y="348"/>
                  </a:lnTo>
                  <a:lnTo>
                    <a:pt x="252" y="348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0" y="342"/>
                  </a:lnTo>
                  <a:lnTo>
                    <a:pt x="234" y="342"/>
                  </a:lnTo>
                  <a:lnTo>
                    <a:pt x="228" y="336"/>
                  </a:lnTo>
                  <a:lnTo>
                    <a:pt x="222" y="336"/>
                  </a:lnTo>
                  <a:lnTo>
                    <a:pt x="216" y="336"/>
                  </a:lnTo>
                  <a:lnTo>
                    <a:pt x="222" y="324"/>
                  </a:lnTo>
                  <a:lnTo>
                    <a:pt x="222" y="318"/>
                  </a:lnTo>
                  <a:lnTo>
                    <a:pt x="222" y="312"/>
                  </a:lnTo>
                  <a:lnTo>
                    <a:pt x="234" y="318"/>
                  </a:lnTo>
                  <a:lnTo>
                    <a:pt x="246" y="318"/>
                  </a:lnTo>
                  <a:lnTo>
                    <a:pt x="258" y="318"/>
                  </a:lnTo>
                  <a:lnTo>
                    <a:pt x="270" y="312"/>
                  </a:lnTo>
                  <a:lnTo>
                    <a:pt x="276" y="312"/>
                  </a:lnTo>
                  <a:lnTo>
                    <a:pt x="288" y="324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94" y="306"/>
                  </a:lnTo>
                  <a:lnTo>
                    <a:pt x="300" y="300"/>
                  </a:lnTo>
                  <a:lnTo>
                    <a:pt x="306" y="306"/>
                  </a:lnTo>
                  <a:lnTo>
                    <a:pt x="312" y="318"/>
                  </a:lnTo>
                  <a:lnTo>
                    <a:pt x="318" y="312"/>
                  </a:lnTo>
                  <a:lnTo>
                    <a:pt x="324" y="312"/>
                  </a:lnTo>
                  <a:lnTo>
                    <a:pt x="330" y="312"/>
                  </a:lnTo>
                  <a:lnTo>
                    <a:pt x="342" y="306"/>
                  </a:lnTo>
                  <a:lnTo>
                    <a:pt x="348" y="306"/>
                  </a:lnTo>
                  <a:lnTo>
                    <a:pt x="348" y="312"/>
                  </a:lnTo>
                  <a:lnTo>
                    <a:pt x="348" y="318"/>
                  </a:lnTo>
                  <a:lnTo>
                    <a:pt x="354" y="318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60" y="336"/>
                  </a:lnTo>
                  <a:lnTo>
                    <a:pt x="366" y="330"/>
                  </a:lnTo>
                  <a:lnTo>
                    <a:pt x="378" y="324"/>
                  </a:lnTo>
                  <a:lnTo>
                    <a:pt x="384" y="324"/>
                  </a:lnTo>
                  <a:lnTo>
                    <a:pt x="384" y="318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6"/>
                  </a:lnTo>
                  <a:lnTo>
                    <a:pt x="402" y="306"/>
                  </a:lnTo>
                  <a:lnTo>
                    <a:pt x="408" y="306"/>
                  </a:lnTo>
                  <a:lnTo>
                    <a:pt x="414" y="300"/>
                  </a:lnTo>
                  <a:lnTo>
                    <a:pt x="420" y="300"/>
                  </a:lnTo>
                  <a:lnTo>
                    <a:pt x="426" y="300"/>
                  </a:lnTo>
                  <a:lnTo>
                    <a:pt x="432" y="300"/>
                  </a:lnTo>
                  <a:lnTo>
                    <a:pt x="444" y="288"/>
                  </a:lnTo>
                  <a:lnTo>
                    <a:pt x="450" y="294"/>
                  </a:lnTo>
                  <a:lnTo>
                    <a:pt x="468" y="300"/>
                  </a:lnTo>
                  <a:lnTo>
                    <a:pt x="498" y="312"/>
                  </a:lnTo>
                  <a:lnTo>
                    <a:pt x="504" y="324"/>
                  </a:lnTo>
                  <a:lnTo>
                    <a:pt x="516" y="330"/>
                  </a:lnTo>
                  <a:lnTo>
                    <a:pt x="516" y="336"/>
                  </a:lnTo>
                  <a:lnTo>
                    <a:pt x="540" y="342"/>
                  </a:lnTo>
                  <a:lnTo>
                    <a:pt x="558" y="372"/>
                  </a:lnTo>
                  <a:lnTo>
                    <a:pt x="594" y="384"/>
                  </a:lnTo>
                  <a:lnTo>
                    <a:pt x="606" y="402"/>
                  </a:lnTo>
                  <a:lnTo>
                    <a:pt x="600" y="420"/>
                  </a:lnTo>
                  <a:lnTo>
                    <a:pt x="588" y="444"/>
                  </a:lnTo>
                  <a:lnTo>
                    <a:pt x="588" y="450"/>
                  </a:lnTo>
                  <a:lnTo>
                    <a:pt x="588" y="456"/>
                  </a:lnTo>
                  <a:lnTo>
                    <a:pt x="594" y="456"/>
                  </a:lnTo>
                  <a:lnTo>
                    <a:pt x="594" y="462"/>
                  </a:lnTo>
                  <a:lnTo>
                    <a:pt x="594" y="468"/>
                  </a:lnTo>
                  <a:lnTo>
                    <a:pt x="594" y="474"/>
                  </a:lnTo>
                  <a:lnTo>
                    <a:pt x="600" y="474"/>
                  </a:lnTo>
                  <a:lnTo>
                    <a:pt x="606" y="480"/>
                  </a:lnTo>
                  <a:lnTo>
                    <a:pt x="606" y="486"/>
                  </a:lnTo>
                  <a:lnTo>
                    <a:pt x="612" y="486"/>
                  </a:lnTo>
                  <a:lnTo>
                    <a:pt x="618" y="486"/>
                  </a:lnTo>
                  <a:lnTo>
                    <a:pt x="624" y="486"/>
                  </a:lnTo>
                  <a:lnTo>
                    <a:pt x="636" y="486"/>
                  </a:lnTo>
                  <a:lnTo>
                    <a:pt x="642" y="486"/>
                  </a:lnTo>
                  <a:lnTo>
                    <a:pt x="648" y="480"/>
                  </a:lnTo>
                  <a:lnTo>
                    <a:pt x="654" y="474"/>
                  </a:lnTo>
                  <a:lnTo>
                    <a:pt x="660" y="468"/>
                  </a:lnTo>
                  <a:lnTo>
                    <a:pt x="666" y="468"/>
                  </a:lnTo>
                  <a:lnTo>
                    <a:pt x="684" y="468"/>
                  </a:lnTo>
                  <a:lnTo>
                    <a:pt x="696" y="468"/>
                  </a:lnTo>
                  <a:lnTo>
                    <a:pt x="696" y="462"/>
                  </a:lnTo>
                  <a:lnTo>
                    <a:pt x="702" y="456"/>
                  </a:lnTo>
                  <a:lnTo>
                    <a:pt x="708" y="450"/>
                  </a:lnTo>
                  <a:lnTo>
                    <a:pt x="714" y="450"/>
                  </a:lnTo>
                  <a:lnTo>
                    <a:pt x="720" y="450"/>
                  </a:lnTo>
                  <a:lnTo>
                    <a:pt x="720" y="438"/>
                  </a:lnTo>
                  <a:lnTo>
                    <a:pt x="726" y="432"/>
                  </a:lnTo>
                  <a:lnTo>
                    <a:pt x="738" y="420"/>
                  </a:lnTo>
                  <a:lnTo>
                    <a:pt x="744" y="420"/>
                  </a:lnTo>
                  <a:lnTo>
                    <a:pt x="750" y="414"/>
                  </a:lnTo>
                  <a:lnTo>
                    <a:pt x="762" y="408"/>
                  </a:lnTo>
                  <a:lnTo>
                    <a:pt x="768" y="408"/>
                  </a:lnTo>
                  <a:lnTo>
                    <a:pt x="768" y="402"/>
                  </a:lnTo>
                  <a:lnTo>
                    <a:pt x="780" y="396"/>
                  </a:lnTo>
                  <a:lnTo>
                    <a:pt x="786" y="396"/>
                  </a:lnTo>
                  <a:lnTo>
                    <a:pt x="786" y="390"/>
                  </a:lnTo>
                  <a:lnTo>
                    <a:pt x="792" y="384"/>
                  </a:lnTo>
                  <a:lnTo>
                    <a:pt x="792" y="378"/>
                  </a:lnTo>
                  <a:lnTo>
                    <a:pt x="798" y="366"/>
                  </a:lnTo>
                  <a:lnTo>
                    <a:pt x="804" y="360"/>
                  </a:lnTo>
                  <a:lnTo>
                    <a:pt x="816" y="342"/>
                  </a:lnTo>
                  <a:lnTo>
                    <a:pt x="816" y="312"/>
                  </a:lnTo>
                  <a:lnTo>
                    <a:pt x="804" y="300"/>
                  </a:lnTo>
                  <a:lnTo>
                    <a:pt x="798" y="288"/>
                  </a:lnTo>
                  <a:lnTo>
                    <a:pt x="762" y="264"/>
                  </a:lnTo>
                  <a:lnTo>
                    <a:pt x="738" y="234"/>
                  </a:lnTo>
                  <a:lnTo>
                    <a:pt x="738" y="222"/>
                  </a:lnTo>
                  <a:lnTo>
                    <a:pt x="744" y="210"/>
                  </a:lnTo>
                  <a:lnTo>
                    <a:pt x="732" y="174"/>
                  </a:lnTo>
                  <a:lnTo>
                    <a:pt x="714" y="156"/>
                  </a:lnTo>
                  <a:lnTo>
                    <a:pt x="708" y="144"/>
                  </a:lnTo>
                  <a:lnTo>
                    <a:pt x="714" y="126"/>
                  </a:lnTo>
                  <a:lnTo>
                    <a:pt x="720" y="114"/>
                  </a:lnTo>
                  <a:lnTo>
                    <a:pt x="732" y="102"/>
                  </a:lnTo>
                  <a:lnTo>
                    <a:pt x="744" y="102"/>
                  </a:lnTo>
                  <a:lnTo>
                    <a:pt x="762" y="108"/>
                  </a:lnTo>
                  <a:lnTo>
                    <a:pt x="774" y="114"/>
                  </a:lnTo>
                  <a:lnTo>
                    <a:pt x="780" y="138"/>
                  </a:lnTo>
                  <a:lnTo>
                    <a:pt x="786" y="144"/>
                  </a:lnTo>
                  <a:lnTo>
                    <a:pt x="798" y="138"/>
                  </a:lnTo>
                  <a:lnTo>
                    <a:pt x="804" y="132"/>
                  </a:lnTo>
                  <a:lnTo>
                    <a:pt x="816" y="120"/>
                  </a:lnTo>
                  <a:lnTo>
                    <a:pt x="816" y="108"/>
                  </a:lnTo>
                  <a:lnTo>
                    <a:pt x="828" y="102"/>
                  </a:lnTo>
                  <a:lnTo>
                    <a:pt x="828" y="96"/>
                  </a:lnTo>
                  <a:lnTo>
                    <a:pt x="840" y="96"/>
                  </a:lnTo>
                  <a:lnTo>
                    <a:pt x="840" y="84"/>
                  </a:lnTo>
                  <a:lnTo>
                    <a:pt x="852" y="90"/>
                  </a:lnTo>
                  <a:lnTo>
                    <a:pt x="852" y="96"/>
                  </a:lnTo>
                  <a:lnTo>
                    <a:pt x="870" y="90"/>
                  </a:lnTo>
                  <a:lnTo>
                    <a:pt x="894" y="78"/>
                  </a:lnTo>
                  <a:lnTo>
                    <a:pt x="912" y="78"/>
                  </a:lnTo>
                  <a:lnTo>
                    <a:pt x="942" y="66"/>
                  </a:lnTo>
                  <a:lnTo>
                    <a:pt x="942" y="60"/>
                  </a:lnTo>
                  <a:lnTo>
                    <a:pt x="954" y="48"/>
                  </a:lnTo>
                  <a:lnTo>
                    <a:pt x="966" y="30"/>
                  </a:lnTo>
                  <a:lnTo>
                    <a:pt x="978" y="30"/>
                  </a:lnTo>
                  <a:lnTo>
                    <a:pt x="978" y="24"/>
                  </a:lnTo>
                  <a:lnTo>
                    <a:pt x="984" y="12"/>
                  </a:lnTo>
                  <a:lnTo>
                    <a:pt x="990" y="12"/>
                  </a:lnTo>
                  <a:lnTo>
                    <a:pt x="996" y="12"/>
                  </a:lnTo>
                  <a:lnTo>
                    <a:pt x="1014" y="6"/>
                  </a:lnTo>
                  <a:lnTo>
                    <a:pt x="1026" y="6"/>
                  </a:lnTo>
                  <a:lnTo>
                    <a:pt x="1044" y="6"/>
                  </a:lnTo>
                  <a:lnTo>
                    <a:pt x="1050" y="6"/>
                  </a:lnTo>
                  <a:lnTo>
                    <a:pt x="1056" y="6"/>
                  </a:lnTo>
                  <a:lnTo>
                    <a:pt x="1062" y="6"/>
                  </a:lnTo>
                  <a:lnTo>
                    <a:pt x="1068" y="6"/>
                  </a:lnTo>
                  <a:lnTo>
                    <a:pt x="1074" y="6"/>
                  </a:lnTo>
                  <a:lnTo>
                    <a:pt x="1080" y="6"/>
                  </a:lnTo>
                  <a:lnTo>
                    <a:pt x="1086" y="0"/>
                  </a:lnTo>
                  <a:lnTo>
                    <a:pt x="1092" y="30"/>
                  </a:lnTo>
                  <a:lnTo>
                    <a:pt x="1098" y="60"/>
                  </a:lnTo>
                  <a:lnTo>
                    <a:pt x="1110" y="84"/>
                  </a:lnTo>
                  <a:lnTo>
                    <a:pt x="1122" y="114"/>
                  </a:lnTo>
                  <a:lnTo>
                    <a:pt x="1128" y="144"/>
                  </a:lnTo>
                  <a:lnTo>
                    <a:pt x="1122" y="156"/>
                  </a:lnTo>
                  <a:lnTo>
                    <a:pt x="1128" y="168"/>
                  </a:lnTo>
                  <a:lnTo>
                    <a:pt x="1134" y="186"/>
                  </a:lnTo>
                  <a:lnTo>
                    <a:pt x="1140" y="204"/>
                  </a:lnTo>
                  <a:lnTo>
                    <a:pt x="1146" y="210"/>
                  </a:lnTo>
                  <a:lnTo>
                    <a:pt x="1146" y="216"/>
                  </a:lnTo>
                  <a:lnTo>
                    <a:pt x="1146" y="228"/>
                  </a:lnTo>
                  <a:lnTo>
                    <a:pt x="1146" y="234"/>
                  </a:lnTo>
                  <a:lnTo>
                    <a:pt x="1140" y="246"/>
                  </a:lnTo>
                  <a:lnTo>
                    <a:pt x="1128" y="258"/>
                  </a:lnTo>
                  <a:lnTo>
                    <a:pt x="1116" y="264"/>
                  </a:lnTo>
                  <a:lnTo>
                    <a:pt x="1110" y="276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2" y="312"/>
                  </a:lnTo>
                  <a:lnTo>
                    <a:pt x="1116" y="324"/>
                  </a:lnTo>
                  <a:lnTo>
                    <a:pt x="1104" y="336"/>
                  </a:lnTo>
                  <a:lnTo>
                    <a:pt x="1104" y="354"/>
                  </a:lnTo>
                  <a:lnTo>
                    <a:pt x="1098" y="372"/>
                  </a:lnTo>
                  <a:lnTo>
                    <a:pt x="1092" y="384"/>
                  </a:lnTo>
                  <a:lnTo>
                    <a:pt x="1086" y="390"/>
                  </a:lnTo>
                  <a:lnTo>
                    <a:pt x="1086" y="402"/>
                  </a:lnTo>
                  <a:lnTo>
                    <a:pt x="1080" y="414"/>
                  </a:lnTo>
                  <a:lnTo>
                    <a:pt x="1074" y="426"/>
                  </a:lnTo>
                  <a:lnTo>
                    <a:pt x="1074" y="450"/>
                  </a:lnTo>
                  <a:lnTo>
                    <a:pt x="1074" y="462"/>
                  </a:lnTo>
                  <a:lnTo>
                    <a:pt x="1068" y="474"/>
                  </a:lnTo>
                  <a:lnTo>
                    <a:pt x="1062" y="486"/>
                  </a:lnTo>
                  <a:lnTo>
                    <a:pt x="1056" y="498"/>
                  </a:lnTo>
                  <a:close/>
                  <a:moveTo>
                    <a:pt x="186" y="378"/>
                  </a:moveTo>
                  <a:lnTo>
                    <a:pt x="186" y="384"/>
                  </a:lnTo>
                  <a:lnTo>
                    <a:pt x="180" y="390"/>
                  </a:lnTo>
                  <a:lnTo>
                    <a:pt x="174" y="396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14"/>
                  </a:lnTo>
                  <a:lnTo>
                    <a:pt x="126" y="414"/>
                  </a:lnTo>
                  <a:lnTo>
                    <a:pt x="120" y="414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2" y="426"/>
                  </a:lnTo>
                  <a:lnTo>
                    <a:pt x="102" y="432"/>
                  </a:lnTo>
                  <a:lnTo>
                    <a:pt x="96" y="432"/>
                  </a:lnTo>
                  <a:lnTo>
                    <a:pt x="90" y="432"/>
                  </a:lnTo>
                  <a:lnTo>
                    <a:pt x="84" y="438"/>
                  </a:lnTo>
                  <a:lnTo>
                    <a:pt x="78" y="438"/>
                  </a:lnTo>
                  <a:lnTo>
                    <a:pt x="78" y="444"/>
                  </a:lnTo>
                  <a:lnTo>
                    <a:pt x="72" y="444"/>
                  </a:lnTo>
                  <a:lnTo>
                    <a:pt x="72" y="450"/>
                  </a:lnTo>
                  <a:lnTo>
                    <a:pt x="66" y="456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48" y="468"/>
                  </a:lnTo>
                  <a:lnTo>
                    <a:pt x="42" y="468"/>
                  </a:lnTo>
                  <a:lnTo>
                    <a:pt x="42" y="462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8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0" y="396"/>
                  </a:lnTo>
                  <a:lnTo>
                    <a:pt x="6" y="384"/>
                  </a:lnTo>
                  <a:lnTo>
                    <a:pt x="18" y="372"/>
                  </a:lnTo>
                  <a:lnTo>
                    <a:pt x="30" y="348"/>
                  </a:lnTo>
                  <a:lnTo>
                    <a:pt x="30" y="342"/>
                  </a:lnTo>
                  <a:lnTo>
                    <a:pt x="42" y="330"/>
                  </a:lnTo>
                  <a:lnTo>
                    <a:pt x="42" y="324"/>
                  </a:lnTo>
                  <a:lnTo>
                    <a:pt x="48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60" y="282"/>
                  </a:lnTo>
                  <a:lnTo>
                    <a:pt x="60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2" y="258"/>
                  </a:lnTo>
                  <a:lnTo>
                    <a:pt x="84" y="246"/>
                  </a:lnTo>
                  <a:lnTo>
                    <a:pt x="90" y="234"/>
                  </a:lnTo>
                  <a:lnTo>
                    <a:pt x="96" y="234"/>
                  </a:lnTo>
                  <a:lnTo>
                    <a:pt x="96" y="228"/>
                  </a:lnTo>
                  <a:lnTo>
                    <a:pt x="102" y="222"/>
                  </a:lnTo>
                  <a:lnTo>
                    <a:pt x="102" y="228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14" y="228"/>
                  </a:lnTo>
                  <a:lnTo>
                    <a:pt x="114" y="234"/>
                  </a:lnTo>
                  <a:lnTo>
                    <a:pt x="120" y="228"/>
                  </a:lnTo>
                  <a:lnTo>
                    <a:pt x="120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26" y="228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8" y="234"/>
                  </a:lnTo>
                  <a:lnTo>
                    <a:pt x="144" y="234"/>
                  </a:lnTo>
                  <a:lnTo>
                    <a:pt x="144" y="228"/>
                  </a:lnTo>
                  <a:lnTo>
                    <a:pt x="150" y="228"/>
                  </a:lnTo>
                  <a:lnTo>
                    <a:pt x="156" y="228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46"/>
                  </a:lnTo>
                  <a:lnTo>
                    <a:pt x="162" y="240"/>
                  </a:lnTo>
                  <a:lnTo>
                    <a:pt x="162" y="246"/>
                  </a:lnTo>
                  <a:lnTo>
                    <a:pt x="162" y="258"/>
                  </a:lnTo>
                  <a:lnTo>
                    <a:pt x="162" y="264"/>
                  </a:lnTo>
                  <a:lnTo>
                    <a:pt x="156" y="270"/>
                  </a:lnTo>
                  <a:lnTo>
                    <a:pt x="162" y="270"/>
                  </a:lnTo>
                  <a:lnTo>
                    <a:pt x="162" y="282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86" y="288"/>
                  </a:lnTo>
                  <a:lnTo>
                    <a:pt x="186" y="294"/>
                  </a:lnTo>
                  <a:lnTo>
                    <a:pt x="180" y="300"/>
                  </a:lnTo>
                  <a:lnTo>
                    <a:pt x="174" y="318"/>
                  </a:lnTo>
                  <a:lnTo>
                    <a:pt x="174" y="324"/>
                  </a:lnTo>
                  <a:lnTo>
                    <a:pt x="168" y="330"/>
                  </a:lnTo>
                  <a:lnTo>
                    <a:pt x="168" y="342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74" y="360"/>
                  </a:lnTo>
                  <a:lnTo>
                    <a:pt x="180" y="366"/>
                  </a:lnTo>
                  <a:lnTo>
                    <a:pt x="186" y="3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8" name="Freeform 23">
              <a:extLst>
                <a:ext uri="{FF2B5EF4-FFF2-40B4-BE49-F238E27FC236}">
                  <a16:creationId xmlns:a16="http://schemas.microsoft.com/office/drawing/2014/main" id="{A539A33E-3F6E-4AF7-BD88-1853165307F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6312" y="3604793"/>
              <a:ext cx="581410" cy="621747"/>
            </a:xfrm>
            <a:custGeom>
              <a:avLst/>
              <a:gdLst>
                <a:gd name="T0" fmla="*/ 90 w 1092"/>
                <a:gd name="T1" fmla="*/ 60 h 1170"/>
                <a:gd name="T2" fmla="*/ 83 w 1092"/>
                <a:gd name="T3" fmla="*/ 62 h 1170"/>
                <a:gd name="T4" fmla="*/ 72 w 1092"/>
                <a:gd name="T5" fmla="*/ 68 h 1170"/>
                <a:gd name="T6" fmla="*/ 68 w 1092"/>
                <a:gd name="T7" fmla="*/ 71 h 1170"/>
                <a:gd name="T8" fmla="*/ 61 w 1092"/>
                <a:gd name="T9" fmla="*/ 69 h 1170"/>
                <a:gd name="T10" fmla="*/ 64 w 1092"/>
                <a:gd name="T11" fmla="*/ 82 h 1170"/>
                <a:gd name="T12" fmla="*/ 67 w 1092"/>
                <a:gd name="T13" fmla="*/ 93 h 1170"/>
                <a:gd name="T14" fmla="*/ 62 w 1092"/>
                <a:gd name="T15" fmla="*/ 96 h 1170"/>
                <a:gd name="T16" fmla="*/ 59 w 1092"/>
                <a:gd name="T17" fmla="*/ 99 h 1170"/>
                <a:gd name="T18" fmla="*/ 53 w 1092"/>
                <a:gd name="T19" fmla="*/ 101 h 1170"/>
                <a:gd name="T20" fmla="*/ 50 w 1092"/>
                <a:gd name="T21" fmla="*/ 100 h 1170"/>
                <a:gd name="T22" fmla="*/ 50 w 1092"/>
                <a:gd name="T23" fmla="*/ 93 h 1170"/>
                <a:gd name="T24" fmla="*/ 37 w 1092"/>
                <a:gd name="T25" fmla="*/ 85 h 1170"/>
                <a:gd name="T26" fmla="*/ 32 w 1092"/>
                <a:gd name="T27" fmla="*/ 86 h 1170"/>
                <a:gd name="T28" fmla="*/ 29 w 1092"/>
                <a:gd name="T29" fmla="*/ 88 h 1170"/>
                <a:gd name="T30" fmla="*/ 27 w 1092"/>
                <a:gd name="T31" fmla="*/ 86 h 1170"/>
                <a:gd name="T32" fmla="*/ 23 w 1092"/>
                <a:gd name="T33" fmla="*/ 87 h 1170"/>
                <a:gd name="T34" fmla="*/ 17 w 1092"/>
                <a:gd name="T35" fmla="*/ 87 h 1170"/>
                <a:gd name="T36" fmla="*/ 18 w 1092"/>
                <a:gd name="T37" fmla="*/ 89 h 1170"/>
                <a:gd name="T38" fmla="*/ 16 w 1092"/>
                <a:gd name="T39" fmla="*/ 92 h 1170"/>
                <a:gd name="T40" fmla="*/ 12 w 1092"/>
                <a:gd name="T41" fmla="*/ 89 h 1170"/>
                <a:gd name="T42" fmla="*/ 13 w 1092"/>
                <a:gd name="T43" fmla="*/ 84 h 1170"/>
                <a:gd name="T44" fmla="*/ 12 w 1092"/>
                <a:gd name="T45" fmla="*/ 80 h 1170"/>
                <a:gd name="T46" fmla="*/ 10 w 1092"/>
                <a:gd name="T47" fmla="*/ 80 h 1170"/>
                <a:gd name="T48" fmla="*/ 8 w 1092"/>
                <a:gd name="T49" fmla="*/ 79 h 1170"/>
                <a:gd name="T50" fmla="*/ 6 w 1092"/>
                <a:gd name="T51" fmla="*/ 78 h 1170"/>
                <a:gd name="T52" fmla="*/ 6 w 1092"/>
                <a:gd name="T53" fmla="*/ 77 h 1170"/>
                <a:gd name="T54" fmla="*/ 4 w 1092"/>
                <a:gd name="T55" fmla="*/ 75 h 1170"/>
                <a:gd name="T56" fmla="*/ 0 w 1092"/>
                <a:gd name="T57" fmla="*/ 72 h 1170"/>
                <a:gd name="T58" fmla="*/ 0 w 1092"/>
                <a:gd name="T59" fmla="*/ 69 h 1170"/>
                <a:gd name="T60" fmla="*/ 3 w 1092"/>
                <a:gd name="T61" fmla="*/ 67 h 1170"/>
                <a:gd name="T62" fmla="*/ 6 w 1092"/>
                <a:gd name="T63" fmla="*/ 62 h 1170"/>
                <a:gd name="T64" fmla="*/ 8 w 1092"/>
                <a:gd name="T65" fmla="*/ 58 h 1170"/>
                <a:gd name="T66" fmla="*/ 5 w 1092"/>
                <a:gd name="T67" fmla="*/ 54 h 1170"/>
                <a:gd name="T68" fmla="*/ 6 w 1092"/>
                <a:gd name="T69" fmla="*/ 50 h 1170"/>
                <a:gd name="T70" fmla="*/ 8 w 1092"/>
                <a:gd name="T71" fmla="*/ 46 h 1170"/>
                <a:gd name="T72" fmla="*/ 10 w 1092"/>
                <a:gd name="T73" fmla="*/ 43 h 1170"/>
                <a:gd name="T74" fmla="*/ 14 w 1092"/>
                <a:gd name="T75" fmla="*/ 38 h 1170"/>
                <a:gd name="T76" fmla="*/ 31 w 1092"/>
                <a:gd name="T77" fmla="*/ 40 h 1170"/>
                <a:gd name="T78" fmla="*/ 30 w 1092"/>
                <a:gd name="T79" fmla="*/ 46 h 1170"/>
                <a:gd name="T80" fmla="*/ 36 w 1092"/>
                <a:gd name="T81" fmla="*/ 47 h 1170"/>
                <a:gd name="T82" fmla="*/ 41 w 1092"/>
                <a:gd name="T83" fmla="*/ 44 h 1170"/>
                <a:gd name="T84" fmla="*/ 43 w 1092"/>
                <a:gd name="T85" fmla="*/ 39 h 1170"/>
                <a:gd name="T86" fmla="*/ 44 w 1092"/>
                <a:gd name="T87" fmla="*/ 35 h 1170"/>
                <a:gd name="T88" fmla="*/ 44 w 1092"/>
                <a:gd name="T89" fmla="*/ 29 h 1170"/>
                <a:gd name="T90" fmla="*/ 48 w 1092"/>
                <a:gd name="T91" fmla="*/ 24 h 1170"/>
                <a:gd name="T92" fmla="*/ 49 w 1092"/>
                <a:gd name="T93" fmla="*/ 19 h 1170"/>
                <a:gd name="T94" fmla="*/ 51 w 1092"/>
                <a:gd name="T95" fmla="*/ 14 h 1170"/>
                <a:gd name="T96" fmla="*/ 54 w 1092"/>
                <a:gd name="T97" fmla="*/ 10 h 1170"/>
                <a:gd name="T98" fmla="*/ 53 w 1092"/>
                <a:gd name="T99" fmla="*/ 7 h 1170"/>
                <a:gd name="T100" fmla="*/ 55 w 1092"/>
                <a:gd name="T101" fmla="*/ 3 h 1170"/>
                <a:gd name="T102" fmla="*/ 58 w 1092"/>
                <a:gd name="T103" fmla="*/ 0 h 1170"/>
                <a:gd name="T104" fmla="*/ 65 w 1092"/>
                <a:gd name="T105" fmla="*/ 2 h 1170"/>
                <a:gd name="T106" fmla="*/ 61 w 1092"/>
                <a:gd name="T107" fmla="*/ 6 h 1170"/>
                <a:gd name="T108" fmla="*/ 67 w 1092"/>
                <a:gd name="T109" fmla="*/ 7 h 1170"/>
                <a:gd name="T110" fmla="*/ 71 w 1092"/>
                <a:gd name="T111" fmla="*/ 6 h 1170"/>
                <a:gd name="T112" fmla="*/ 75 w 1092"/>
                <a:gd name="T113" fmla="*/ 9 h 1170"/>
                <a:gd name="T114" fmla="*/ 82 w 1092"/>
                <a:gd name="T115" fmla="*/ 12 h 1170"/>
                <a:gd name="T116" fmla="*/ 84 w 1092"/>
                <a:gd name="T117" fmla="*/ 17 h 1170"/>
                <a:gd name="T118" fmla="*/ 94 w 1092"/>
                <a:gd name="T119" fmla="*/ 23 h 1170"/>
                <a:gd name="T120" fmla="*/ 94 w 1092"/>
                <a:gd name="T121" fmla="*/ 34 h 1170"/>
                <a:gd name="T122" fmla="*/ 90 w 1092"/>
                <a:gd name="T123" fmla="*/ 41 h 1170"/>
                <a:gd name="T124" fmla="*/ 91 w 1092"/>
                <a:gd name="T125" fmla="*/ 51 h 11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92"/>
                <a:gd name="T190" fmla="*/ 0 h 1170"/>
                <a:gd name="T191" fmla="*/ 1092 w 1092"/>
                <a:gd name="T192" fmla="*/ 1170 h 117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92" h="1170">
                  <a:moveTo>
                    <a:pt x="1056" y="654"/>
                  </a:moveTo>
                  <a:lnTo>
                    <a:pt x="1062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0"/>
                  </a:lnTo>
                  <a:lnTo>
                    <a:pt x="1038" y="690"/>
                  </a:lnTo>
                  <a:lnTo>
                    <a:pt x="1032" y="690"/>
                  </a:lnTo>
                  <a:lnTo>
                    <a:pt x="1026" y="690"/>
                  </a:lnTo>
                  <a:lnTo>
                    <a:pt x="1020" y="690"/>
                  </a:lnTo>
                  <a:lnTo>
                    <a:pt x="1002" y="690"/>
                  </a:lnTo>
                  <a:lnTo>
                    <a:pt x="990" y="690"/>
                  </a:lnTo>
                  <a:lnTo>
                    <a:pt x="972" y="696"/>
                  </a:lnTo>
                  <a:lnTo>
                    <a:pt x="966" y="696"/>
                  </a:lnTo>
                  <a:lnTo>
                    <a:pt x="960" y="696"/>
                  </a:lnTo>
                  <a:lnTo>
                    <a:pt x="954" y="708"/>
                  </a:lnTo>
                  <a:lnTo>
                    <a:pt x="954" y="714"/>
                  </a:lnTo>
                  <a:lnTo>
                    <a:pt x="942" y="714"/>
                  </a:lnTo>
                  <a:lnTo>
                    <a:pt x="930" y="732"/>
                  </a:lnTo>
                  <a:lnTo>
                    <a:pt x="918" y="744"/>
                  </a:lnTo>
                  <a:lnTo>
                    <a:pt x="918" y="750"/>
                  </a:lnTo>
                  <a:lnTo>
                    <a:pt x="888" y="762"/>
                  </a:lnTo>
                  <a:lnTo>
                    <a:pt x="870" y="762"/>
                  </a:lnTo>
                  <a:lnTo>
                    <a:pt x="846" y="774"/>
                  </a:lnTo>
                  <a:lnTo>
                    <a:pt x="828" y="780"/>
                  </a:lnTo>
                  <a:lnTo>
                    <a:pt x="828" y="774"/>
                  </a:lnTo>
                  <a:lnTo>
                    <a:pt x="816" y="768"/>
                  </a:lnTo>
                  <a:lnTo>
                    <a:pt x="816" y="780"/>
                  </a:lnTo>
                  <a:lnTo>
                    <a:pt x="804" y="780"/>
                  </a:lnTo>
                  <a:lnTo>
                    <a:pt x="804" y="786"/>
                  </a:lnTo>
                  <a:lnTo>
                    <a:pt x="792" y="792"/>
                  </a:lnTo>
                  <a:lnTo>
                    <a:pt x="792" y="804"/>
                  </a:lnTo>
                  <a:lnTo>
                    <a:pt x="780" y="816"/>
                  </a:lnTo>
                  <a:lnTo>
                    <a:pt x="774" y="822"/>
                  </a:lnTo>
                  <a:lnTo>
                    <a:pt x="762" y="828"/>
                  </a:lnTo>
                  <a:lnTo>
                    <a:pt x="756" y="822"/>
                  </a:lnTo>
                  <a:lnTo>
                    <a:pt x="750" y="798"/>
                  </a:lnTo>
                  <a:lnTo>
                    <a:pt x="738" y="792"/>
                  </a:lnTo>
                  <a:lnTo>
                    <a:pt x="720" y="786"/>
                  </a:lnTo>
                  <a:lnTo>
                    <a:pt x="708" y="786"/>
                  </a:lnTo>
                  <a:lnTo>
                    <a:pt x="696" y="798"/>
                  </a:lnTo>
                  <a:lnTo>
                    <a:pt x="690" y="810"/>
                  </a:lnTo>
                  <a:lnTo>
                    <a:pt x="684" y="828"/>
                  </a:lnTo>
                  <a:lnTo>
                    <a:pt x="690" y="840"/>
                  </a:lnTo>
                  <a:lnTo>
                    <a:pt x="708" y="858"/>
                  </a:lnTo>
                  <a:lnTo>
                    <a:pt x="720" y="894"/>
                  </a:lnTo>
                  <a:lnTo>
                    <a:pt x="714" y="906"/>
                  </a:lnTo>
                  <a:lnTo>
                    <a:pt x="714" y="918"/>
                  </a:lnTo>
                  <a:lnTo>
                    <a:pt x="738" y="948"/>
                  </a:lnTo>
                  <a:lnTo>
                    <a:pt x="774" y="972"/>
                  </a:lnTo>
                  <a:lnTo>
                    <a:pt x="780" y="984"/>
                  </a:lnTo>
                  <a:lnTo>
                    <a:pt x="792" y="996"/>
                  </a:lnTo>
                  <a:lnTo>
                    <a:pt x="792" y="1026"/>
                  </a:lnTo>
                  <a:lnTo>
                    <a:pt x="780" y="1044"/>
                  </a:lnTo>
                  <a:lnTo>
                    <a:pt x="774" y="1050"/>
                  </a:lnTo>
                  <a:lnTo>
                    <a:pt x="768" y="1062"/>
                  </a:lnTo>
                  <a:lnTo>
                    <a:pt x="768" y="1068"/>
                  </a:lnTo>
                  <a:lnTo>
                    <a:pt x="762" y="1074"/>
                  </a:lnTo>
                  <a:lnTo>
                    <a:pt x="762" y="1080"/>
                  </a:lnTo>
                  <a:lnTo>
                    <a:pt x="756" y="1080"/>
                  </a:lnTo>
                  <a:lnTo>
                    <a:pt x="744" y="1086"/>
                  </a:lnTo>
                  <a:lnTo>
                    <a:pt x="744" y="1092"/>
                  </a:lnTo>
                  <a:lnTo>
                    <a:pt x="738" y="1092"/>
                  </a:lnTo>
                  <a:lnTo>
                    <a:pt x="726" y="1098"/>
                  </a:lnTo>
                  <a:lnTo>
                    <a:pt x="720" y="1104"/>
                  </a:lnTo>
                  <a:lnTo>
                    <a:pt x="714" y="1104"/>
                  </a:lnTo>
                  <a:lnTo>
                    <a:pt x="702" y="1116"/>
                  </a:lnTo>
                  <a:lnTo>
                    <a:pt x="696" y="1122"/>
                  </a:lnTo>
                  <a:lnTo>
                    <a:pt x="696" y="1134"/>
                  </a:lnTo>
                  <a:lnTo>
                    <a:pt x="690" y="1134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72" y="1146"/>
                  </a:lnTo>
                  <a:lnTo>
                    <a:pt x="672" y="1152"/>
                  </a:lnTo>
                  <a:lnTo>
                    <a:pt x="660" y="1152"/>
                  </a:lnTo>
                  <a:lnTo>
                    <a:pt x="642" y="1152"/>
                  </a:lnTo>
                  <a:lnTo>
                    <a:pt x="636" y="1152"/>
                  </a:lnTo>
                  <a:lnTo>
                    <a:pt x="630" y="1158"/>
                  </a:lnTo>
                  <a:lnTo>
                    <a:pt x="624" y="1164"/>
                  </a:lnTo>
                  <a:lnTo>
                    <a:pt x="618" y="1170"/>
                  </a:lnTo>
                  <a:lnTo>
                    <a:pt x="612" y="1170"/>
                  </a:lnTo>
                  <a:lnTo>
                    <a:pt x="600" y="1170"/>
                  </a:lnTo>
                  <a:lnTo>
                    <a:pt x="594" y="1170"/>
                  </a:lnTo>
                  <a:lnTo>
                    <a:pt x="588" y="1170"/>
                  </a:lnTo>
                  <a:lnTo>
                    <a:pt x="582" y="1170"/>
                  </a:lnTo>
                  <a:lnTo>
                    <a:pt x="582" y="1164"/>
                  </a:lnTo>
                  <a:lnTo>
                    <a:pt x="576" y="1158"/>
                  </a:lnTo>
                  <a:lnTo>
                    <a:pt x="570" y="1158"/>
                  </a:lnTo>
                  <a:lnTo>
                    <a:pt x="570" y="1152"/>
                  </a:lnTo>
                  <a:lnTo>
                    <a:pt x="570" y="1146"/>
                  </a:lnTo>
                  <a:lnTo>
                    <a:pt x="570" y="1140"/>
                  </a:lnTo>
                  <a:lnTo>
                    <a:pt x="564" y="1140"/>
                  </a:lnTo>
                  <a:lnTo>
                    <a:pt x="564" y="1134"/>
                  </a:lnTo>
                  <a:lnTo>
                    <a:pt x="564" y="1128"/>
                  </a:lnTo>
                  <a:lnTo>
                    <a:pt x="576" y="1104"/>
                  </a:lnTo>
                  <a:lnTo>
                    <a:pt x="582" y="1086"/>
                  </a:lnTo>
                  <a:lnTo>
                    <a:pt x="570" y="1068"/>
                  </a:lnTo>
                  <a:lnTo>
                    <a:pt x="534" y="1056"/>
                  </a:lnTo>
                  <a:lnTo>
                    <a:pt x="516" y="1026"/>
                  </a:lnTo>
                  <a:lnTo>
                    <a:pt x="492" y="1020"/>
                  </a:lnTo>
                  <a:lnTo>
                    <a:pt x="492" y="1014"/>
                  </a:lnTo>
                  <a:lnTo>
                    <a:pt x="480" y="1008"/>
                  </a:lnTo>
                  <a:lnTo>
                    <a:pt x="474" y="996"/>
                  </a:lnTo>
                  <a:lnTo>
                    <a:pt x="444" y="984"/>
                  </a:lnTo>
                  <a:lnTo>
                    <a:pt x="426" y="978"/>
                  </a:lnTo>
                  <a:lnTo>
                    <a:pt x="420" y="972"/>
                  </a:lnTo>
                  <a:lnTo>
                    <a:pt x="408" y="984"/>
                  </a:lnTo>
                  <a:lnTo>
                    <a:pt x="402" y="984"/>
                  </a:lnTo>
                  <a:lnTo>
                    <a:pt x="396" y="984"/>
                  </a:lnTo>
                  <a:lnTo>
                    <a:pt x="390" y="984"/>
                  </a:lnTo>
                  <a:lnTo>
                    <a:pt x="384" y="990"/>
                  </a:lnTo>
                  <a:lnTo>
                    <a:pt x="378" y="990"/>
                  </a:lnTo>
                  <a:lnTo>
                    <a:pt x="372" y="990"/>
                  </a:lnTo>
                  <a:lnTo>
                    <a:pt x="372" y="996"/>
                  </a:lnTo>
                  <a:lnTo>
                    <a:pt x="366" y="996"/>
                  </a:lnTo>
                  <a:lnTo>
                    <a:pt x="360" y="1002"/>
                  </a:lnTo>
                  <a:lnTo>
                    <a:pt x="360" y="1008"/>
                  </a:lnTo>
                  <a:lnTo>
                    <a:pt x="354" y="1008"/>
                  </a:lnTo>
                  <a:lnTo>
                    <a:pt x="342" y="1014"/>
                  </a:lnTo>
                  <a:lnTo>
                    <a:pt x="336" y="1020"/>
                  </a:lnTo>
                  <a:lnTo>
                    <a:pt x="336" y="1014"/>
                  </a:lnTo>
                  <a:lnTo>
                    <a:pt x="330" y="1014"/>
                  </a:lnTo>
                  <a:lnTo>
                    <a:pt x="330" y="1008"/>
                  </a:lnTo>
                  <a:lnTo>
                    <a:pt x="330" y="1002"/>
                  </a:lnTo>
                  <a:lnTo>
                    <a:pt x="324" y="1002"/>
                  </a:lnTo>
                  <a:lnTo>
                    <a:pt x="324" y="996"/>
                  </a:lnTo>
                  <a:lnTo>
                    <a:pt x="324" y="990"/>
                  </a:lnTo>
                  <a:lnTo>
                    <a:pt x="318" y="990"/>
                  </a:lnTo>
                  <a:lnTo>
                    <a:pt x="306" y="996"/>
                  </a:lnTo>
                  <a:lnTo>
                    <a:pt x="300" y="996"/>
                  </a:lnTo>
                  <a:lnTo>
                    <a:pt x="294" y="996"/>
                  </a:lnTo>
                  <a:lnTo>
                    <a:pt x="288" y="1002"/>
                  </a:lnTo>
                  <a:lnTo>
                    <a:pt x="282" y="990"/>
                  </a:lnTo>
                  <a:lnTo>
                    <a:pt x="276" y="984"/>
                  </a:lnTo>
                  <a:lnTo>
                    <a:pt x="270" y="990"/>
                  </a:lnTo>
                  <a:lnTo>
                    <a:pt x="270" y="996"/>
                  </a:lnTo>
                  <a:lnTo>
                    <a:pt x="270" y="1002"/>
                  </a:lnTo>
                  <a:lnTo>
                    <a:pt x="264" y="1008"/>
                  </a:lnTo>
                  <a:lnTo>
                    <a:pt x="252" y="996"/>
                  </a:lnTo>
                  <a:lnTo>
                    <a:pt x="246" y="996"/>
                  </a:lnTo>
                  <a:lnTo>
                    <a:pt x="234" y="1002"/>
                  </a:lnTo>
                  <a:lnTo>
                    <a:pt x="222" y="1002"/>
                  </a:lnTo>
                  <a:lnTo>
                    <a:pt x="210" y="1002"/>
                  </a:lnTo>
                  <a:lnTo>
                    <a:pt x="198" y="996"/>
                  </a:lnTo>
                  <a:lnTo>
                    <a:pt x="198" y="1002"/>
                  </a:lnTo>
                  <a:lnTo>
                    <a:pt x="198" y="1008"/>
                  </a:lnTo>
                  <a:lnTo>
                    <a:pt x="192" y="1020"/>
                  </a:lnTo>
                  <a:lnTo>
                    <a:pt x="198" y="1020"/>
                  </a:lnTo>
                  <a:lnTo>
                    <a:pt x="204" y="1020"/>
                  </a:lnTo>
                  <a:lnTo>
                    <a:pt x="210" y="1026"/>
                  </a:lnTo>
                  <a:lnTo>
                    <a:pt x="216" y="1026"/>
                  </a:lnTo>
                  <a:lnTo>
                    <a:pt x="216" y="1032"/>
                  </a:lnTo>
                  <a:lnTo>
                    <a:pt x="210" y="1032"/>
                  </a:lnTo>
                  <a:lnTo>
                    <a:pt x="210" y="1038"/>
                  </a:lnTo>
                  <a:lnTo>
                    <a:pt x="204" y="1038"/>
                  </a:lnTo>
                  <a:lnTo>
                    <a:pt x="204" y="1044"/>
                  </a:lnTo>
                  <a:lnTo>
                    <a:pt x="198" y="1044"/>
                  </a:lnTo>
                  <a:lnTo>
                    <a:pt x="192" y="1044"/>
                  </a:lnTo>
                  <a:lnTo>
                    <a:pt x="186" y="1050"/>
                  </a:lnTo>
                  <a:lnTo>
                    <a:pt x="186" y="1056"/>
                  </a:lnTo>
                  <a:lnTo>
                    <a:pt x="180" y="1056"/>
                  </a:lnTo>
                  <a:lnTo>
                    <a:pt x="180" y="1062"/>
                  </a:lnTo>
                  <a:lnTo>
                    <a:pt x="174" y="1062"/>
                  </a:lnTo>
                  <a:lnTo>
                    <a:pt x="168" y="1062"/>
                  </a:lnTo>
                  <a:lnTo>
                    <a:pt x="162" y="1062"/>
                  </a:lnTo>
                  <a:lnTo>
                    <a:pt x="156" y="1050"/>
                  </a:lnTo>
                  <a:lnTo>
                    <a:pt x="150" y="1044"/>
                  </a:lnTo>
                  <a:lnTo>
                    <a:pt x="150" y="1038"/>
                  </a:lnTo>
                  <a:lnTo>
                    <a:pt x="144" y="1032"/>
                  </a:lnTo>
                  <a:lnTo>
                    <a:pt x="144" y="1026"/>
                  </a:lnTo>
                  <a:lnTo>
                    <a:pt x="144" y="1014"/>
                  </a:lnTo>
                  <a:lnTo>
                    <a:pt x="150" y="1008"/>
                  </a:lnTo>
                  <a:lnTo>
                    <a:pt x="150" y="1002"/>
                  </a:lnTo>
                  <a:lnTo>
                    <a:pt x="156" y="984"/>
                  </a:lnTo>
                  <a:lnTo>
                    <a:pt x="162" y="978"/>
                  </a:lnTo>
                  <a:lnTo>
                    <a:pt x="162" y="972"/>
                  </a:lnTo>
                  <a:lnTo>
                    <a:pt x="150" y="966"/>
                  </a:lnTo>
                  <a:lnTo>
                    <a:pt x="144" y="966"/>
                  </a:lnTo>
                  <a:lnTo>
                    <a:pt x="138" y="966"/>
                  </a:lnTo>
                  <a:lnTo>
                    <a:pt x="138" y="954"/>
                  </a:lnTo>
                  <a:lnTo>
                    <a:pt x="132" y="954"/>
                  </a:lnTo>
                  <a:lnTo>
                    <a:pt x="138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8" y="924"/>
                  </a:lnTo>
                  <a:lnTo>
                    <a:pt x="132" y="930"/>
                  </a:lnTo>
                  <a:lnTo>
                    <a:pt x="132" y="924"/>
                  </a:lnTo>
                  <a:lnTo>
                    <a:pt x="126" y="918"/>
                  </a:lnTo>
                  <a:lnTo>
                    <a:pt x="132" y="918"/>
                  </a:lnTo>
                  <a:lnTo>
                    <a:pt x="132" y="912"/>
                  </a:lnTo>
                  <a:lnTo>
                    <a:pt x="126" y="912"/>
                  </a:lnTo>
                  <a:lnTo>
                    <a:pt x="120" y="912"/>
                  </a:lnTo>
                  <a:lnTo>
                    <a:pt x="120" y="918"/>
                  </a:lnTo>
                  <a:lnTo>
                    <a:pt x="114" y="918"/>
                  </a:lnTo>
                  <a:lnTo>
                    <a:pt x="114" y="912"/>
                  </a:lnTo>
                  <a:lnTo>
                    <a:pt x="108" y="912"/>
                  </a:lnTo>
                  <a:lnTo>
                    <a:pt x="102" y="912"/>
                  </a:lnTo>
                  <a:lnTo>
                    <a:pt x="108" y="906"/>
                  </a:lnTo>
                  <a:lnTo>
                    <a:pt x="102" y="906"/>
                  </a:lnTo>
                  <a:lnTo>
                    <a:pt x="96" y="906"/>
                  </a:lnTo>
                  <a:lnTo>
                    <a:pt x="96" y="912"/>
                  </a:lnTo>
                  <a:lnTo>
                    <a:pt x="90" y="918"/>
                  </a:lnTo>
                  <a:lnTo>
                    <a:pt x="90" y="912"/>
                  </a:lnTo>
                  <a:lnTo>
                    <a:pt x="84" y="912"/>
                  </a:lnTo>
                  <a:lnTo>
                    <a:pt x="84" y="918"/>
                  </a:lnTo>
                  <a:lnTo>
                    <a:pt x="78" y="918"/>
                  </a:lnTo>
                  <a:lnTo>
                    <a:pt x="78" y="912"/>
                  </a:lnTo>
                  <a:lnTo>
                    <a:pt x="78" y="906"/>
                  </a:lnTo>
                  <a:lnTo>
                    <a:pt x="72" y="900"/>
                  </a:lnTo>
                  <a:lnTo>
                    <a:pt x="78" y="900"/>
                  </a:lnTo>
                  <a:lnTo>
                    <a:pt x="72" y="900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8" y="888"/>
                  </a:lnTo>
                  <a:lnTo>
                    <a:pt x="72" y="888"/>
                  </a:lnTo>
                  <a:lnTo>
                    <a:pt x="72" y="882"/>
                  </a:lnTo>
                  <a:lnTo>
                    <a:pt x="66" y="876"/>
                  </a:lnTo>
                  <a:lnTo>
                    <a:pt x="60" y="882"/>
                  </a:lnTo>
                  <a:lnTo>
                    <a:pt x="54" y="876"/>
                  </a:lnTo>
                  <a:lnTo>
                    <a:pt x="54" y="882"/>
                  </a:lnTo>
                  <a:lnTo>
                    <a:pt x="48" y="882"/>
                  </a:lnTo>
                  <a:lnTo>
                    <a:pt x="42" y="870"/>
                  </a:lnTo>
                  <a:lnTo>
                    <a:pt x="42" y="864"/>
                  </a:lnTo>
                  <a:lnTo>
                    <a:pt x="36" y="858"/>
                  </a:lnTo>
                  <a:lnTo>
                    <a:pt x="36" y="852"/>
                  </a:lnTo>
                  <a:lnTo>
                    <a:pt x="30" y="852"/>
                  </a:lnTo>
                  <a:lnTo>
                    <a:pt x="30" y="846"/>
                  </a:lnTo>
                  <a:lnTo>
                    <a:pt x="24" y="846"/>
                  </a:lnTo>
                  <a:lnTo>
                    <a:pt x="18" y="840"/>
                  </a:lnTo>
                  <a:lnTo>
                    <a:pt x="12" y="834"/>
                  </a:lnTo>
                  <a:lnTo>
                    <a:pt x="0" y="828"/>
                  </a:lnTo>
                  <a:lnTo>
                    <a:pt x="0" y="822"/>
                  </a:lnTo>
                  <a:lnTo>
                    <a:pt x="0" y="816"/>
                  </a:lnTo>
                  <a:lnTo>
                    <a:pt x="0" y="810"/>
                  </a:lnTo>
                  <a:lnTo>
                    <a:pt x="6" y="804"/>
                  </a:lnTo>
                  <a:lnTo>
                    <a:pt x="12" y="804"/>
                  </a:lnTo>
                  <a:lnTo>
                    <a:pt x="12" y="798"/>
                  </a:lnTo>
                  <a:lnTo>
                    <a:pt x="12" y="792"/>
                  </a:lnTo>
                  <a:lnTo>
                    <a:pt x="6" y="792"/>
                  </a:lnTo>
                  <a:lnTo>
                    <a:pt x="6" y="786"/>
                  </a:lnTo>
                  <a:lnTo>
                    <a:pt x="6" y="780"/>
                  </a:lnTo>
                  <a:lnTo>
                    <a:pt x="18" y="780"/>
                  </a:lnTo>
                  <a:lnTo>
                    <a:pt x="18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0" y="774"/>
                  </a:lnTo>
                  <a:lnTo>
                    <a:pt x="36" y="768"/>
                  </a:lnTo>
                  <a:lnTo>
                    <a:pt x="42" y="768"/>
                  </a:lnTo>
                  <a:lnTo>
                    <a:pt x="60" y="750"/>
                  </a:lnTo>
                  <a:lnTo>
                    <a:pt x="60" y="744"/>
                  </a:lnTo>
                  <a:lnTo>
                    <a:pt x="54" y="738"/>
                  </a:lnTo>
                  <a:lnTo>
                    <a:pt x="60" y="732"/>
                  </a:lnTo>
                  <a:lnTo>
                    <a:pt x="54" y="732"/>
                  </a:lnTo>
                  <a:lnTo>
                    <a:pt x="60" y="726"/>
                  </a:lnTo>
                  <a:lnTo>
                    <a:pt x="66" y="720"/>
                  </a:lnTo>
                  <a:lnTo>
                    <a:pt x="72" y="714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84" y="696"/>
                  </a:lnTo>
                  <a:lnTo>
                    <a:pt x="90" y="684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66"/>
                  </a:lnTo>
                  <a:lnTo>
                    <a:pt x="90" y="660"/>
                  </a:lnTo>
                  <a:lnTo>
                    <a:pt x="84" y="654"/>
                  </a:lnTo>
                  <a:lnTo>
                    <a:pt x="84" y="648"/>
                  </a:lnTo>
                  <a:lnTo>
                    <a:pt x="78" y="636"/>
                  </a:lnTo>
                  <a:lnTo>
                    <a:pt x="66" y="630"/>
                  </a:lnTo>
                  <a:lnTo>
                    <a:pt x="66" y="624"/>
                  </a:lnTo>
                  <a:lnTo>
                    <a:pt x="60" y="624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60" y="600"/>
                  </a:lnTo>
                  <a:lnTo>
                    <a:pt x="66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6" y="588"/>
                  </a:lnTo>
                  <a:lnTo>
                    <a:pt x="66" y="582"/>
                  </a:lnTo>
                  <a:lnTo>
                    <a:pt x="72" y="582"/>
                  </a:lnTo>
                  <a:lnTo>
                    <a:pt x="78" y="576"/>
                  </a:lnTo>
                  <a:lnTo>
                    <a:pt x="72" y="576"/>
                  </a:lnTo>
                  <a:lnTo>
                    <a:pt x="66" y="570"/>
                  </a:lnTo>
                  <a:lnTo>
                    <a:pt x="72" y="564"/>
                  </a:lnTo>
                  <a:lnTo>
                    <a:pt x="78" y="558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90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102" y="516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0" y="504"/>
                  </a:lnTo>
                  <a:lnTo>
                    <a:pt x="120" y="498"/>
                  </a:lnTo>
                  <a:lnTo>
                    <a:pt x="120" y="492"/>
                  </a:lnTo>
                  <a:lnTo>
                    <a:pt x="126" y="480"/>
                  </a:lnTo>
                  <a:lnTo>
                    <a:pt x="132" y="474"/>
                  </a:lnTo>
                  <a:lnTo>
                    <a:pt x="132" y="468"/>
                  </a:lnTo>
                  <a:lnTo>
                    <a:pt x="138" y="462"/>
                  </a:lnTo>
                  <a:lnTo>
                    <a:pt x="138" y="456"/>
                  </a:lnTo>
                  <a:lnTo>
                    <a:pt x="138" y="450"/>
                  </a:lnTo>
                  <a:lnTo>
                    <a:pt x="144" y="444"/>
                  </a:lnTo>
                  <a:lnTo>
                    <a:pt x="162" y="438"/>
                  </a:lnTo>
                  <a:lnTo>
                    <a:pt x="186" y="438"/>
                  </a:lnTo>
                  <a:lnTo>
                    <a:pt x="210" y="444"/>
                  </a:lnTo>
                  <a:lnTo>
                    <a:pt x="276" y="450"/>
                  </a:lnTo>
                  <a:lnTo>
                    <a:pt x="342" y="450"/>
                  </a:lnTo>
                  <a:lnTo>
                    <a:pt x="348" y="450"/>
                  </a:lnTo>
                  <a:lnTo>
                    <a:pt x="354" y="450"/>
                  </a:lnTo>
                  <a:lnTo>
                    <a:pt x="360" y="456"/>
                  </a:lnTo>
                  <a:lnTo>
                    <a:pt x="354" y="462"/>
                  </a:lnTo>
                  <a:lnTo>
                    <a:pt x="354" y="468"/>
                  </a:lnTo>
                  <a:lnTo>
                    <a:pt x="354" y="474"/>
                  </a:lnTo>
                  <a:lnTo>
                    <a:pt x="348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48" y="498"/>
                  </a:lnTo>
                  <a:lnTo>
                    <a:pt x="342" y="510"/>
                  </a:lnTo>
                  <a:lnTo>
                    <a:pt x="348" y="528"/>
                  </a:lnTo>
                  <a:lnTo>
                    <a:pt x="348" y="534"/>
                  </a:lnTo>
                  <a:lnTo>
                    <a:pt x="354" y="552"/>
                  </a:lnTo>
                  <a:lnTo>
                    <a:pt x="366" y="546"/>
                  </a:lnTo>
                  <a:lnTo>
                    <a:pt x="372" y="540"/>
                  </a:lnTo>
                  <a:lnTo>
                    <a:pt x="384" y="540"/>
                  </a:lnTo>
                  <a:lnTo>
                    <a:pt x="396" y="534"/>
                  </a:lnTo>
                  <a:lnTo>
                    <a:pt x="402" y="534"/>
                  </a:lnTo>
                  <a:lnTo>
                    <a:pt x="414" y="546"/>
                  </a:lnTo>
                  <a:lnTo>
                    <a:pt x="432" y="540"/>
                  </a:lnTo>
                  <a:lnTo>
                    <a:pt x="450" y="534"/>
                  </a:lnTo>
                  <a:lnTo>
                    <a:pt x="450" y="528"/>
                  </a:lnTo>
                  <a:lnTo>
                    <a:pt x="456" y="528"/>
                  </a:lnTo>
                  <a:lnTo>
                    <a:pt x="456" y="522"/>
                  </a:lnTo>
                  <a:lnTo>
                    <a:pt x="456" y="516"/>
                  </a:lnTo>
                  <a:lnTo>
                    <a:pt x="462" y="516"/>
                  </a:lnTo>
                  <a:lnTo>
                    <a:pt x="468" y="510"/>
                  </a:lnTo>
                  <a:lnTo>
                    <a:pt x="468" y="504"/>
                  </a:lnTo>
                  <a:lnTo>
                    <a:pt x="474" y="504"/>
                  </a:lnTo>
                  <a:lnTo>
                    <a:pt x="480" y="504"/>
                  </a:lnTo>
                  <a:lnTo>
                    <a:pt x="486" y="498"/>
                  </a:lnTo>
                  <a:lnTo>
                    <a:pt x="492" y="498"/>
                  </a:lnTo>
                  <a:lnTo>
                    <a:pt x="486" y="480"/>
                  </a:lnTo>
                  <a:lnTo>
                    <a:pt x="492" y="462"/>
                  </a:lnTo>
                  <a:lnTo>
                    <a:pt x="498" y="444"/>
                  </a:lnTo>
                  <a:lnTo>
                    <a:pt x="498" y="426"/>
                  </a:lnTo>
                  <a:lnTo>
                    <a:pt x="498" y="420"/>
                  </a:lnTo>
                  <a:lnTo>
                    <a:pt x="504" y="426"/>
                  </a:lnTo>
                  <a:lnTo>
                    <a:pt x="504" y="420"/>
                  </a:lnTo>
                  <a:lnTo>
                    <a:pt x="510" y="420"/>
                  </a:lnTo>
                  <a:lnTo>
                    <a:pt x="510" y="414"/>
                  </a:lnTo>
                  <a:lnTo>
                    <a:pt x="510" y="408"/>
                  </a:lnTo>
                  <a:lnTo>
                    <a:pt x="504" y="402"/>
                  </a:lnTo>
                  <a:lnTo>
                    <a:pt x="504" y="396"/>
                  </a:lnTo>
                  <a:lnTo>
                    <a:pt x="504" y="384"/>
                  </a:lnTo>
                  <a:lnTo>
                    <a:pt x="504" y="378"/>
                  </a:lnTo>
                  <a:lnTo>
                    <a:pt x="504" y="360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510" y="348"/>
                  </a:lnTo>
                  <a:lnTo>
                    <a:pt x="510" y="336"/>
                  </a:lnTo>
                  <a:lnTo>
                    <a:pt x="516" y="330"/>
                  </a:lnTo>
                  <a:lnTo>
                    <a:pt x="522" y="324"/>
                  </a:lnTo>
                  <a:lnTo>
                    <a:pt x="528" y="318"/>
                  </a:lnTo>
                  <a:lnTo>
                    <a:pt x="534" y="312"/>
                  </a:lnTo>
                  <a:lnTo>
                    <a:pt x="534" y="300"/>
                  </a:lnTo>
                  <a:lnTo>
                    <a:pt x="540" y="294"/>
                  </a:lnTo>
                  <a:lnTo>
                    <a:pt x="546" y="288"/>
                  </a:lnTo>
                  <a:lnTo>
                    <a:pt x="552" y="276"/>
                  </a:lnTo>
                  <a:lnTo>
                    <a:pt x="558" y="264"/>
                  </a:lnTo>
                  <a:lnTo>
                    <a:pt x="558" y="258"/>
                  </a:lnTo>
                  <a:lnTo>
                    <a:pt x="558" y="252"/>
                  </a:lnTo>
                  <a:lnTo>
                    <a:pt x="558" y="246"/>
                  </a:lnTo>
                  <a:lnTo>
                    <a:pt x="564" y="246"/>
                  </a:lnTo>
                  <a:lnTo>
                    <a:pt x="564" y="240"/>
                  </a:lnTo>
                  <a:lnTo>
                    <a:pt x="570" y="234"/>
                  </a:lnTo>
                  <a:lnTo>
                    <a:pt x="564" y="216"/>
                  </a:lnTo>
                  <a:lnTo>
                    <a:pt x="564" y="210"/>
                  </a:lnTo>
                  <a:lnTo>
                    <a:pt x="570" y="210"/>
                  </a:lnTo>
                  <a:lnTo>
                    <a:pt x="570" y="204"/>
                  </a:lnTo>
                  <a:lnTo>
                    <a:pt x="570" y="198"/>
                  </a:lnTo>
                  <a:lnTo>
                    <a:pt x="582" y="180"/>
                  </a:lnTo>
                  <a:lnTo>
                    <a:pt x="582" y="174"/>
                  </a:lnTo>
                  <a:lnTo>
                    <a:pt x="582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606" y="150"/>
                  </a:lnTo>
                  <a:lnTo>
                    <a:pt x="612" y="150"/>
                  </a:lnTo>
                  <a:lnTo>
                    <a:pt x="618" y="150"/>
                  </a:lnTo>
                  <a:lnTo>
                    <a:pt x="624" y="138"/>
                  </a:lnTo>
                  <a:lnTo>
                    <a:pt x="618" y="132"/>
                  </a:lnTo>
                  <a:lnTo>
                    <a:pt x="618" y="126"/>
                  </a:lnTo>
                  <a:lnTo>
                    <a:pt x="618" y="120"/>
                  </a:lnTo>
                  <a:lnTo>
                    <a:pt x="618" y="114"/>
                  </a:lnTo>
                  <a:lnTo>
                    <a:pt x="612" y="108"/>
                  </a:lnTo>
                  <a:lnTo>
                    <a:pt x="612" y="102"/>
                  </a:lnTo>
                  <a:lnTo>
                    <a:pt x="618" y="90"/>
                  </a:lnTo>
                  <a:lnTo>
                    <a:pt x="624" y="84"/>
                  </a:lnTo>
                  <a:lnTo>
                    <a:pt x="618" y="84"/>
                  </a:lnTo>
                  <a:lnTo>
                    <a:pt x="618" y="78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0" y="72"/>
                  </a:lnTo>
                  <a:lnTo>
                    <a:pt x="600" y="66"/>
                  </a:lnTo>
                  <a:lnTo>
                    <a:pt x="600" y="60"/>
                  </a:lnTo>
                  <a:lnTo>
                    <a:pt x="600" y="48"/>
                  </a:lnTo>
                  <a:lnTo>
                    <a:pt x="612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36"/>
                  </a:lnTo>
                  <a:lnTo>
                    <a:pt x="630" y="30"/>
                  </a:lnTo>
                  <a:lnTo>
                    <a:pt x="636" y="24"/>
                  </a:lnTo>
                  <a:lnTo>
                    <a:pt x="642" y="24"/>
                  </a:lnTo>
                  <a:lnTo>
                    <a:pt x="648" y="24"/>
                  </a:lnTo>
                  <a:lnTo>
                    <a:pt x="648" y="18"/>
                  </a:lnTo>
                  <a:lnTo>
                    <a:pt x="654" y="12"/>
                  </a:lnTo>
                  <a:lnTo>
                    <a:pt x="660" y="0"/>
                  </a:lnTo>
                  <a:lnTo>
                    <a:pt x="678" y="0"/>
                  </a:lnTo>
                  <a:lnTo>
                    <a:pt x="696" y="0"/>
                  </a:lnTo>
                  <a:lnTo>
                    <a:pt x="702" y="0"/>
                  </a:lnTo>
                  <a:lnTo>
                    <a:pt x="714" y="0"/>
                  </a:lnTo>
                  <a:lnTo>
                    <a:pt x="720" y="6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44" y="24"/>
                  </a:lnTo>
                  <a:lnTo>
                    <a:pt x="744" y="30"/>
                  </a:lnTo>
                  <a:lnTo>
                    <a:pt x="732" y="42"/>
                  </a:lnTo>
                  <a:lnTo>
                    <a:pt x="726" y="42"/>
                  </a:lnTo>
                  <a:lnTo>
                    <a:pt x="720" y="42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54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90"/>
                  </a:lnTo>
                  <a:lnTo>
                    <a:pt x="726" y="84"/>
                  </a:lnTo>
                  <a:lnTo>
                    <a:pt x="738" y="84"/>
                  </a:lnTo>
                  <a:lnTo>
                    <a:pt x="750" y="96"/>
                  </a:lnTo>
                  <a:lnTo>
                    <a:pt x="768" y="96"/>
                  </a:lnTo>
                  <a:lnTo>
                    <a:pt x="768" y="90"/>
                  </a:lnTo>
                  <a:lnTo>
                    <a:pt x="774" y="84"/>
                  </a:lnTo>
                  <a:lnTo>
                    <a:pt x="780" y="78"/>
                  </a:lnTo>
                  <a:lnTo>
                    <a:pt x="786" y="78"/>
                  </a:lnTo>
                  <a:lnTo>
                    <a:pt x="792" y="72"/>
                  </a:lnTo>
                  <a:lnTo>
                    <a:pt x="804" y="72"/>
                  </a:lnTo>
                  <a:lnTo>
                    <a:pt x="804" y="66"/>
                  </a:lnTo>
                  <a:lnTo>
                    <a:pt x="810" y="66"/>
                  </a:lnTo>
                  <a:lnTo>
                    <a:pt x="810" y="72"/>
                  </a:lnTo>
                  <a:lnTo>
                    <a:pt x="816" y="66"/>
                  </a:lnTo>
                  <a:lnTo>
                    <a:pt x="828" y="66"/>
                  </a:lnTo>
                  <a:lnTo>
                    <a:pt x="834" y="72"/>
                  </a:lnTo>
                  <a:lnTo>
                    <a:pt x="840" y="72"/>
                  </a:lnTo>
                  <a:lnTo>
                    <a:pt x="840" y="78"/>
                  </a:lnTo>
                  <a:lnTo>
                    <a:pt x="840" y="84"/>
                  </a:lnTo>
                  <a:lnTo>
                    <a:pt x="852" y="84"/>
                  </a:lnTo>
                  <a:lnTo>
                    <a:pt x="858" y="96"/>
                  </a:lnTo>
                  <a:lnTo>
                    <a:pt x="864" y="108"/>
                  </a:lnTo>
                  <a:lnTo>
                    <a:pt x="876" y="114"/>
                  </a:lnTo>
                  <a:lnTo>
                    <a:pt x="894" y="114"/>
                  </a:lnTo>
                  <a:lnTo>
                    <a:pt x="906" y="114"/>
                  </a:lnTo>
                  <a:lnTo>
                    <a:pt x="906" y="126"/>
                  </a:lnTo>
                  <a:lnTo>
                    <a:pt x="912" y="144"/>
                  </a:lnTo>
                  <a:lnTo>
                    <a:pt x="930" y="138"/>
                  </a:lnTo>
                  <a:lnTo>
                    <a:pt x="936" y="138"/>
                  </a:lnTo>
                  <a:lnTo>
                    <a:pt x="942" y="144"/>
                  </a:lnTo>
                  <a:lnTo>
                    <a:pt x="948" y="150"/>
                  </a:lnTo>
                  <a:lnTo>
                    <a:pt x="954" y="156"/>
                  </a:lnTo>
                  <a:lnTo>
                    <a:pt x="954" y="168"/>
                  </a:lnTo>
                  <a:lnTo>
                    <a:pt x="954" y="174"/>
                  </a:lnTo>
                  <a:lnTo>
                    <a:pt x="960" y="180"/>
                  </a:lnTo>
                  <a:lnTo>
                    <a:pt x="966" y="186"/>
                  </a:lnTo>
                  <a:lnTo>
                    <a:pt x="960" y="186"/>
                  </a:lnTo>
                  <a:lnTo>
                    <a:pt x="966" y="192"/>
                  </a:lnTo>
                  <a:lnTo>
                    <a:pt x="966" y="198"/>
                  </a:lnTo>
                  <a:lnTo>
                    <a:pt x="978" y="204"/>
                  </a:lnTo>
                  <a:lnTo>
                    <a:pt x="1050" y="186"/>
                  </a:lnTo>
                  <a:lnTo>
                    <a:pt x="1056" y="198"/>
                  </a:lnTo>
                  <a:lnTo>
                    <a:pt x="1068" y="210"/>
                  </a:lnTo>
                  <a:lnTo>
                    <a:pt x="1074" y="216"/>
                  </a:lnTo>
                  <a:lnTo>
                    <a:pt x="1080" y="252"/>
                  </a:lnTo>
                  <a:lnTo>
                    <a:pt x="1086" y="270"/>
                  </a:lnTo>
                  <a:lnTo>
                    <a:pt x="1092" y="282"/>
                  </a:lnTo>
                  <a:lnTo>
                    <a:pt x="1086" y="300"/>
                  </a:lnTo>
                  <a:lnTo>
                    <a:pt x="1074" y="330"/>
                  </a:lnTo>
                  <a:lnTo>
                    <a:pt x="1068" y="336"/>
                  </a:lnTo>
                  <a:lnTo>
                    <a:pt x="1062" y="348"/>
                  </a:lnTo>
                  <a:lnTo>
                    <a:pt x="1062" y="360"/>
                  </a:lnTo>
                  <a:lnTo>
                    <a:pt x="1068" y="378"/>
                  </a:lnTo>
                  <a:lnTo>
                    <a:pt x="1074" y="390"/>
                  </a:lnTo>
                  <a:lnTo>
                    <a:pt x="1068" y="396"/>
                  </a:lnTo>
                  <a:lnTo>
                    <a:pt x="1068" y="408"/>
                  </a:lnTo>
                  <a:lnTo>
                    <a:pt x="1062" y="414"/>
                  </a:lnTo>
                  <a:lnTo>
                    <a:pt x="1050" y="432"/>
                  </a:lnTo>
                  <a:lnTo>
                    <a:pt x="1044" y="450"/>
                  </a:lnTo>
                  <a:lnTo>
                    <a:pt x="1038" y="456"/>
                  </a:lnTo>
                  <a:lnTo>
                    <a:pt x="1026" y="468"/>
                  </a:lnTo>
                  <a:lnTo>
                    <a:pt x="1026" y="474"/>
                  </a:lnTo>
                  <a:lnTo>
                    <a:pt x="1026" y="480"/>
                  </a:lnTo>
                  <a:lnTo>
                    <a:pt x="1032" y="492"/>
                  </a:lnTo>
                  <a:lnTo>
                    <a:pt x="1044" y="504"/>
                  </a:lnTo>
                  <a:lnTo>
                    <a:pt x="1044" y="516"/>
                  </a:lnTo>
                  <a:lnTo>
                    <a:pt x="1038" y="528"/>
                  </a:lnTo>
                  <a:lnTo>
                    <a:pt x="1032" y="546"/>
                  </a:lnTo>
                  <a:lnTo>
                    <a:pt x="1032" y="570"/>
                  </a:lnTo>
                  <a:lnTo>
                    <a:pt x="1050" y="594"/>
                  </a:lnTo>
                  <a:lnTo>
                    <a:pt x="1056" y="624"/>
                  </a:lnTo>
                  <a:lnTo>
                    <a:pt x="1056" y="65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9" name="Freeform 24">
              <a:extLst>
                <a:ext uri="{FF2B5EF4-FFF2-40B4-BE49-F238E27FC236}">
                  <a16:creationId xmlns:a16="http://schemas.microsoft.com/office/drawing/2014/main" id="{CAE689DA-332A-4F73-BDE6-8865C9170AA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84829" y="3213406"/>
              <a:ext cx="851989" cy="744754"/>
            </a:xfrm>
            <a:custGeom>
              <a:avLst/>
              <a:gdLst>
                <a:gd name="T0" fmla="*/ 116 w 1602"/>
                <a:gd name="T1" fmla="*/ 91 h 1404"/>
                <a:gd name="T2" fmla="*/ 111 w 1602"/>
                <a:gd name="T3" fmla="*/ 95 h 1404"/>
                <a:gd name="T4" fmla="*/ 102 w 1602"/>
                <a:gd name="T5" fmla="*/ 101 h 1404"/>
                <a:gd name="T6" fmla="*/ 99 w 1602"/>
                <a:gd name="T7" fmla="*/ 103 h 1404"/>
                <a:gd name="T8" fmla="*/ 96 w 1602"/>
                <a:gd name="T9" fmla="*/ 106 h 1404"/>
                <a:gd name="T10" fmla="*/ 93 w 1602"/>
                <a:gd name="T11" fmla="*/ 108 h 1404"/>
                <a:gd name="T12" fmla="*/ 88 w 1602"/>
                <a:gd name="T13" fmla="*/ 106 h 1404"/>
                <a:gd name="T14" fmla="*/ 86 w 1602"/>
                <a:gd name="T15" fmla="*/ 108 h 1404"/>
                <a:gd name="T16" fmla="*/ 81 w 1602"/>
                <a:gd name="T17" fmla="*/ 119 h 1404"/>
                <a:gd name="T18" fmla="*/ 71 w 1602"/>
                <a:gd name="T19" fmla="*/ 109 h 1404"/>
                <a:gd name="T20" fmla="*/ 72 w 1602"/>
                <a:gd name="T21" fmla="*/ 101 h 1404"/>
                <a:gd name="T22" fmla="*/ 74 w 1602"/>
                <a:gd name="T23" fmla="*/ 93 h 1404"/>
                <a:gd name="T24" fmla="*/ 73 w 1602"/>
                <a:gd name="T25" fmla="*/ 82 h 1404"/>
                <a:gd name="T26" fmla="*/ 64 w 1602"/>
                <a:gd name="T27" fmla="*/ 79 h 1404"/>
                <a:gd name="T28" fmla="*/ 59 w 1602"/>
                <a:gd name="T29" fmla="*/ 75 h 1404"/>
                <a:gd name="T30" fmla="*/ 54 w 1602"/>
                <a:gd name="T31" fmla="*/ 71 h 1404"/>
                <a:gd name="T32" fmla="*/ 51 w 1602"/>
                <a:gd name="T33" fmla="*/ 70 h 1404"/>
                <a:gd name="T34" fmla="*/ 45 w 1602"/>
                <a:gd name="T35" fmla="*/ 71 h 1404"/>
                <a:gd name="T36" fmla="*/ 43 w 1602"/>
                <a:gd name="T37" fmla="*/ 68 h 1404"/>
                <a:gd name="T38" fmla="*/ 43 w 1602"/>
                <a:gd name="T39" fmla="*/ 64 h 1404"/>
                <a:gd name="T40" fmla="*/ 36 w 1602"/>
                <a:gd name="T41" fmla="*/ 66 h 1404"/>
                <a:gd name="T42" fmla="*/ 31 w 1602"/>
                <a:gd name="T43" fmla="*/ 55 h 1404"/>
                <a:gd name="T44" fmla="*/ 25 w 1602"/>
                <a:gd name="T45" fmla="*/ 53 h 1404"/>
                <a:gd name="T46" fmla="*/ 19 w 1602"/>
                <a:gd name="T47" fmla="*/ 51 h 1404"/>
                <a:gd name="T48" fmla="*/ 17 w 1602"/>
                <a:gd name="T49" fmla="*/ 43 h 1404"/>
                <a:gd name="T50" fmla="*/ 17 w 1602"/>
                <a:gd name="T51" fmla="*/ 39 h 1404"/>
                <a:gd name="T52" fmla="*/ 12 w 1602"/>
                <a:gd name="T53" fmla="*/ 39 h 1404"/>
                <a:gd name="T54" fmla="*/ 10 w 1602"/>
                <a:gd name="T55" fmla="*/ 35 h 1404"/>
                <a:gd name="T56" fmla="*/ 5 w 1602"/>
                <a:gd name="T57" fmla="*/ 30 h 1404"/>
                <a:gd name="T58" fmla="*/ 3 w 1602"/>
                <a:gd name="T59" fmla="*/ 27 h 1404"/>
                <a:gd name="T60" fmla="*/ 2 w 1602"/>
                <a:gd name="T61" fmla="*/ 25 h 1404"/>
                <a:gd name="T62" fmla="*/ 0 w 1602"/>
                <a:gd name="T63" fmla="*/ 22 h 1404"/>
                <a:gd name="T64" fmla="*/ 8 w 1602"/>
                <a:gd name="T65" fmla="*/ 14 h 1404"/>
                <a:gd name="T66" fmla="*/ 16 w 1602"/>
                <a:gd name="T67" fmla="*/ 16 h 1404"/>
                <a:gd name="T68" fmla="*/ 31 w 1602"/>
                <a:gd name="T69" fmla="*/ 18 h 1404"/>
                <a:gd name="T70" fmla="*/ 43 w 1602"/>
                <a:gd name="T71" fmla="*/ 17 h 1404"/>
                <a:gd name="T72" fmla="*/ 47 w 1602"/>
                <a:gd name="T73" fmla="*/ 6 h 1404"/>
                <a:gd name="T74" fmla="*/ 52 w 1602"/>
                <a:gd name="T75" fmla="*/ 0 h 1404"/>
                <a:gd name="T76" fmla="*/ 55 w 1602"/>
                <a:gd name="T77" fmla="*/ 3 h 1404"/>
                <a:gd name="T78" fmla="*/ 59 w 1602"/>
                <a:gd name="T79" fmla="*/ 9 h 1404"/>
                <a:gd name="T80" fmla="*/ 62 w 1602"/>
                <a:gd name="T81" fmla="*/ 16 h 1404"/>
                <a:gd name="T82" fmla="*/ 66 w 1602"/>
                <a:gd name="T83" fmla="*/ 20 h 1404"/>
                <a:gd name="T84" fmla="*/ 70 w 1602"/>
                <a:gd name="T85" fmla="*/ 25 h 1404"/>
                <a:gd name="T86" fmla="*/ 74 w 1602"/>
                <a:gd name="T87" fmla="*/ 30 h 1404"/>
                <a:gd name="T88" fmla="*/ 76 w 1602"/>
                <a:gd name="T89" fmla="*/ 27 h 1404"/>
                <a:gd name="T90" fmla="*/ 78 w 1602"/>
                <a:gd name="T91" fmla="*/ 27 h 1404"/>
                <a:gd name="T92" fmla="*/ 78 w 1602"/>
                <a:gd name="T93" fmla="*/ 23 h 1404"/>
                <a:gd name="T94" fmla="*/ 82 w 1602"/>
                <a:gd name="T95" fmla="*/ 20 h 1404"/>
                <a:gd name="T96" fmla="*/ 82 w 1602"/>
                <a:gd name="T97" fmla="*/ 18 h 1404"/>
                <a:gd name="T98" fmla="*/ 90 w 1602"/>
                <a:gd name="T99" fmla="*/ 24 h 1404"/>
                <a:gd name="T100" fmla="*/ 90 w 1602"/>
                <a:gd name="T101" fmla="*/ 45 h 1404"/>
                <a:gd name="T102" fmla="*/ 104 w 1602"/>
                <a:gd name="T103" fmla="*/ 41 h 1404"/>
                <a:gd name="T104" fmla="*/ 117 w 1602"/>
                <a:gd name="T105" fmla="*/ 39 h 1404"/>
                <a:gd name="T106" fmla="*/ 125 w 1602"/>
                <a:gd name="T107" fmla="*/ 39 h 1404"/>
                <a:gd name="T108" fmla="*/ 127 w 1602"/>
                <a:gd name="T109" fmla="*/ 43 h 1404"/>
                <a:gd name="T110" fmla="*/ 131 w 1602"/>
                <a:gd name="T111" fmla="*/ 53 h 1404"/>
                <a:gd name="T112" fmla="*/ 133 w 1602"/>
                <a:gd name="T113" fmla="*/ 60 h 1404"/>
                <a:gd name="T114" fmla="*/ 138 w 1602"/>
                <a:gd name="T115" fmla="*/ 73 h 1404"/>
                <a:gd name="T116" fmla="*/ 136 w 1602"/>
                <a:gd name="T117" fmla="*/ 80 h 1404"/>
                <a:gd name="T118" fmla="*/ 129 w 1602"/>
                <a:gd name="T119" fmla="*/ 87 h 1404"/>
                <a:gd name="T120" fmla="*/ 123 w 1602"/>
                <a:gd name="T121" fmla="*/ 95 h 14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02"/>
                <a:gd name="T184" fmla="*/ 0 h 1404"/>
                <a:gd name="T185" fmla="*/ 1602 w 1602"/>
                <a:gd name="T186" fmla="*/ 1404 h 14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02" h="1404">
                  <a:moveTo>
                    <a:pt x="1392" y="1080"/>
                  </a:moveTo>
                  <a:lnTo>
                    <a:pt x="1380" y="1074"/>
                  </a:lnTo>
                  <a:lnTo>
                    <a:pt x="1368" y="1056"/>
                  </a:lnTo>
                  <a:lnTo>
                    <a:pt x="1356" y="1044"/>
                  </a:lnTo>
                  <a:lnTo>
                    <a:pt x="1344" y="1038"/>
                  </a:lnTo>
                  <a:lnTo>
                    <a:pt x="1338" y="1038"/>
                  </a:lnTo>
                  <a:lnTo>
                    <a:pt x="1332" y="1038"/>
                  </a:lnTo>
                  <a:lnTo>
                    <a:pt x="1326" y="1044"/>
                  </a:lnTo>
                  <a:lnTo>
                    <a:pt x="1320" y="1044"/>
                  </a:lnTo>
                  <a:lnTo>
                    <a:pt x="1314" y="1044"/>
                  </a:lnTo>
                  <a:lnTo>
                    <a:pt x="1296" y="1056"/>
                  </a:lnTo>
                  <a:lnTo>
                    <a:pt x="1296" y="1080"/>
                  </a:lnTo>
                  <a:lnTo>
                    <a:pt x="1290" y="1080"/>
                  </a:lnTo>
                  <a:lnTo>
                    <a:pt x="1284" y="1086"/>
                  </a:lnTo>
                  <a:lnTo>
                    <a:pt x="1278" y="1086"/>
                  </a:lnTo>
                  <a:lnTo>
                    <a:pt x="1278" y="1092"/>
                  </a:lnTo>
                  <a:lnTo>
                    <a:pt x="1272" y="1092"/>
                  </a:lnTo>
                  <a:lnTo>
                    <a:pt x="1266" y="1086"/>
                  </a:lnTo>
                  <a:lnTo>
                    <a:pt x="1260" y="1086"/>
                  </a:lnTo>
                  <a:lnTo>
                    <a:pt x="1260" y="1098"/>
                  </a:lnTo>
                  <a:lnTo>
                    <a:pt x="1248" y="1098"/>
                  </a:lnTo>
                  <a:lnTo>
                    <a:pt x="1212" y="1116"/>
                  </a:lnTo>
                  <a:lnTo>
                    <a:pt x="1206" y="1158"/>
                  </a:lnTo>
                  <a:lnTo>
                    <a:pt x="1176" y="1164"/>
                  </a:lnTo>
                  <a:lnTo>
                    <a:pt x="1158" y="1164"/>
                  </a:lnTo>
                  <a:lnTo>
                    <a:pt x="1152" y="1164"/>
                  </a:lnTo>
                  <a:lnTo>
                    <a:pt x="1152" y="1170"/>
                  </a:lnTo>
                  <a:lnTo>
                    <a:pt x="1152" y="1176"/>
                  </a:lnTo>
                  <a:lnTo>
                    <a:pt x="1146" y="1176"/>
                  </a:lnTo>
                  <a:lnTo>
                    <a:pt x="1140" y="1176"/>
                  </a:lnTo>
                  <a:lnTo>
                    <a:pt x="1134" y="1182"/>
                  </a:lnTo>
                  <a:lnTo>
                    <a:pt x="1134" y="1188"/>
                  </a:lnTo>
                  <a:lnTo>
                    <a:pt x="1128" y="1194"/>
                  </a:lnTo>
                  <a:lnTo>
                    <a:pt x="1122" y="1194"/>
                  </a:lnTo>
                  <a:lnTo>
                    <a:pt x="1116" y="1194"/>
                  </a:lnTo>
                  <a:lnTo>
                    <a:pt x="1110" y="1200"/>
                  </a:lnTo>
                  <a:lnTo>
                    <a:pt x="1110" y="1206"/>
                  </a:lnTo>
                  <a:lnTo>
                    <a:pt x="1104" y="1212"/>
                  </a:lnTo>
                  <a:lnTo>
                    <a:pt x="1104" y="1218"/>
                  </a:lnTo>
                  <a:lnTo>
                    <a:pt x="1098" y="1224"/>
                  </a:lnTo>
                  <a:lnTo>
                    <a:pt x="1092" y="1230"/>
                  </a:lnTo>
                  <a:lnTo>
                    <a:pt x="1086" y="1230"/>
                  </a:lnTo>
                  <a:lnTo>
                    <a:pt x="1080" y="1230"/>
                  </a:lnTo>
                  <a:lnTo>
                    <a:pt x="1080" y="1242"/>
                  </a:lnTo>
                  <a:lnTo>
                    <a:pt x="1074" y="1242"/>
                  </a:lnTo>
                  <a:lnTo>
                    <a:pt x="1068" y="1242"/>
                  </a:lnTo>
                  <a:lnTo>
                    <a:pt x="1068" y="1236"/>
                  </a:lnTo>
                  <a:lnTo>
                    <a:pt x="1062" y="1242"/>
                  </a:lnTo>
                  <a:lnTo>
                    <a:pt x="1056" y="1236"/>
                  </a:lnTo>
                  <a:lnTo>
                    <a:pt x="1050" y="1242"/>
                  </a:lnTo>
                  <a:lnTo>
                    <a:pt x="1050" y="1236"/>
                  </a:lnTo>
                  <a:lnTo>
                    <a:pt x="1044" y="1194"/>
                  </a:lnTo>
                  <a:lnTo>
                    <a:pt x="1032" y="1194"/>
                  </a:lnTo>
                  <a:lnTo>
                    <a:pt x="1032" y="1200"/>
                  </a:lnTo>
                  <a:lnTo>
                    <a:pt x="1026" y="1200"/>
                  </a:lnTo>
                  <a:lnTo>
                    <a:pt x="1014" y="1218"/>
                  </a:lnTo>
                  <a:lnTo>
                    <a:pt x="1014" y="1224"/>
                  </a:lnTo>
                  <a:lnTo>
                    <a:pt x="1014" y="1236"/>
                  </a:lnTo>
                  <a:lnTo>
                    <a:pt x="1014" y="1242"/>
                  </a:lnTo>
                  <a:lnTo>
                    <a:pt x="1008" y="1242"/>
                  </a:lnTo>
                  <a:lnTo>
                    <a:pt x="1002" y="1236"/>
                  </a:lnTo>
                  <a:lnTo>
                    <a:pt x="1002" y="1230"/>
                  </a:lnTo>
                  <a:lnTo>
                    <a:pt x="996" y="1236"/>
                  </a:lnTo>
                  <a:lnTo>
                    <a:pt x="990" y="1236"/>
                  </a:lnTo>
                  <a:lnTo>
                    <a:pt x="990" y="1230"/>
                  </a:lnTo>
                  <a:lnTo>
                    <a:pt x="984" y="1236"/>
                  </a:lnTo>
                  <a:lnTo>
                    <a:pt x="978" y="1248"/>
                  </a:lnTo>
                  <a:lnTo>
                    <a:pt x="972" y="1254"/>
                  </a:lnTo>
                  <a:lnTo>
                    <a:pt x="966" y="1260"/>
                  </a:lnTo>
                  <a:lnTo>
                    <a:pt x="930" y="1284"/>
                  </a:lnTo>
                  <a:lnTo>
                    <a:pt x="942" y="1356"/>
                  </a:lnTo>
                  <a:lnTo>
                    <a:pt x="930" y="1368"/>
                  </a:lnTo>
                  <a:lnTo>
                    <a:pt x="852" y="1404"/>
                  </a:lnTo>
                  <a:lnTo>
                    <a:pt x="834" y="1392"/>
                  </a:lnTo>
                  <a:lnTo>
                    <a:pt x="834" y="1362"/>
                  </a:lnTo>
                  <a:lnTo>
                    <a:pt x="828" y="1332"/>
                  </a:lnTo>
                  <a:lnTo>
                    <a:pt x="810" y="1308"/>
                  </a:lnTo>
                  <a:lnTo>
                    <a:pt x="810" y="1284"/>
                  </a:lnTo>
                  <a:lnTo>
                    <a:pt x="816" y="1266"/>
                  </a:lnTo>
                  <a:lnTo>
                    <a:pt x="822" y="1254"/>
                  </a:lnTo>
                  <a:lnTo>
                    <a:pt x="822" y="1242"/>
                  </a:lnTo>
                  <a:lnTo>
                    <a:pt x="810" y="1230"/>
                  </a:lnTo>
                  <a:lnTo>
                    <a:pt x="804" y="1218"/>
                  </a:lnTo>
                  <a:lnTo>
                    <a:pt x="804" y="1212"/>
                  </a:lnTo>
                  <a:lnTo>
                    <a:pt x="804" y="1206"/>
                  </a:lnTo>
                  <a:lnTo>
                    <a:pt x="816" y="1194"/>
                  </a:lnTo>
                  <a:lnTo>
                    <a:pt x="822" y="1188"/>
                  </a:lnTo>
                  <a:lnTo>
                    <a:pt x="828" y="1170"/>
                  </a:lnTo>
                  <a:lnTo>
                    <a:pt x="840" y="1152"/>
                  </a:lnTo>
                  <a:lnTo>
                    <a:pt x="846" y="1146"/>
                  </a:lnTo>
                  <a:lnTo>
                    <a:pt x="846" y="1134"/>
                  </a:lnTo>
                  <a:lnTo>
                    <a:pt x="852" y="1128"/>
                  </a:lnTo>
                  <a:lnTo>
                    <a:pt x="846" y="1116"/>
                  </a:lnTo>
                  <a:lnTo>
                    <a:pt x="840" y="1098"/>
                  </a:lnTo>
                  <a:lnTo>
                    <a:pt x="840" y="1086"/>
                  </a:lnTo>
                  <a:lnTo>
                    <a:pt x="846" y="1074"/>
                  </a:lnTo>
                  <a:lnTo>
                    <a:pt x="852" y="1068"/>
                  </a:lnTo>
                  <a:lnTo>
                    <a:pt x="864" y="1038"/>
                  </a:lnTo>
                  <a:lnTo>
                    <a:pt x="870" y="1020"/>
                  </a:lnTo>
                  <a:lnTo>
                    <a:pt x="864" y="1008"/>
                  </a:lnTo>
                  <a:lnTo>
                    <a:pt x="858" y="990"/>
                  </a:lnTo>
                  <a:lnTo>
                    <a:pt x="852" y="954"/>
                  </a:lnTo>
                  <a:lnTo>
                    <a:pt x="846" y="948"/>
                  </a:lnTo>
                  <a:lnTo>
                    <a:pt x="834" y="936"/>
                  </a:lnTo>
                  <a:lnTo>
                    <a:pt x="828" y="924"/>
                  </a:lnTo>
                  <a:lnTo>
                    <a:pt x="756" y="942"/>
                  </a:lnTo>
                  <a:lnTo>
                    <a:pt x="744" y="936"/>
                  </a:lnTo>
                  <a:lnTo>
                    <a:pt x="744" y="930"/>
                  </a:lnTo>
                  <a:lnTo>
                    <a:pt x="738" y="924"/>
                  </a:lnTo>
                  <a:lnTo>
                    <a:pt x="744" y="924"/>
                  </a:lnTo>
                  <a:lnTo>
                    <a:pt x="738" y="918"/>
                  </a:lnTo>
                  <a:lnTo>
                    <a:pt x="732" y="912"/>
                  </a:lnTo>
                  <a:lnTo>
                    <a:pt x="732" y="906"/>
                  </a:lnTo>
                  <a:lnTo>
                    <a:pt x="732" y="894"/>
                  </a:lnTo>
                  <a:lnTo>
                    <a:pt x="726" y="888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6"/>
                  </a:lnTo>
                  <a:lnTo>
                    <a:pt x="690" y="882"/>
                  </a:lnTo>
                  <a:lnTo>
                    <a:pt x="684" y="864"/>
                  </a:lnTo>
                  <a:lnTo>
                    <a:pt x="684" y="852"/>
                  </a:lnTo>
                  <a:lnTo>
                    <a:pt x="672" y="852"/>
                  </a:lnTo>
                  <a:lnTo>
                    <a:pt x="654" y="852"/>
                  </a:lnTo>
                  <a:lnTo>
                    <a:pt x="642" y="846"/>
                  </a:lnTo>
                  <a:lnTo>
                    <a:pt x="636" y="834"/>
                  </a:lnTo>
                  <a:lnTo>
                    <a:pt x="630" y="822"/>
                  </a:lnTo>
                  <a:lnTo>
                    <a:pt x="618" y="822"/>
                  </a:lnTo>
                  <a:lnTo>
                    <a:pt x="618" y="816"/>
                  </a:lnTo>
                  <a:lnTo>
                    <a:pt x="618" y="810"/>
                  </a:lnTo>
                  <a:lnTo>
                    <a:pt x="612" y="810"/>
                  </a:lnTo>
                  <a:lnTo>
                    <a:pt x="606" y="804"/>
                  </a:lnTo>
                  <a:lnTo>
                    <a:pt x="594" y="804"/>
                  </a:lnTo>
                  <a:lnTo>
                    <a:pt x="588" y="810"/>
                  </a:lnTo>
                  <a:lnTo>
                    <a:pt x="588" y="804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70" y="810"/>
                  </a:lnTo>
                  <a:lnTo>
                    <a:pt x="564" y="816"/>
                  </a:lnTo>
                  <a:lnTo>
                    <a:pt x="558" y="816"/>
                  </a:lnTo>
                  <a:lnTo>
                    <a:pt x="552" y="822"/>
                  </a:lnTo>
                  <a:lnTo>
                    <a:pt x="546" y="828"/>
                  </a:lnTo>
                  <a:lnTo>
                    <a:pt x="546" y="834"/>
                  </a:lnTo>
                  <a:lnTo>
                    <a:pt x="528" y="834"/>
                  </a:lnTo>
                  <a:lnTo>
                    <a:pt x="516" y="822"/>
                  </a:lnTo>
                  <a:lnTo>
                    <a:pt x="504" y="822"/>
                  </a:lnTo>
                  <a:lnTo>
                    <a:pt x="492" y="82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6" y="792"/>
                  </a:lnTo>
                  <a:lnTo>
                    <a:pt x="492" y="786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504" y="780"/>
                  </a:lnTo>
                  <a:lnTo>
                    <a:pt x="510" y="780"/>
                  </a:lnTo>
                  <a:lnTo>
                    <a:pt x="522" y="768"/>
                  </a:lnTo>
                  <a:lnTo>
                    <a:pt x="522" y="762"/>
                  </a:lnTo>
                  <a:lnTo>
                    <a:pt x="504" y="756"/>
                  </a:lnTo>
                  <a:lnTo>
                    <a:pt x="498" y="756"/>
                  </a:lnTo>
                  <a:lnTo>
                    <a:pt x="498" y="744"/>
                  </a:lnTo>
                  <a:lnTo>
                    <a:pt x="492" y="738"/>
                  </a:lnTo>
                  <a:lnTo>
                    <a:pt x="480" y="738"/>
                  </a:lnTo>
                  <a:lnTo>
                    <a:pt x="474" y="738"/>
                  </a:lnTo>
                  <a:lnTo>
                    <a:pt x="456" y="738"/>
                  </a:lnTo>
                  <a:lnTo>
                    <a:pt x="438" y="738"/>
                  </a:lnTo>
                  <a:lnTo>
                    <a:pt x="432" y="750"/>
                  </a:lnTo>
                  <a:lnTo>
                    <a:pt x="426" y="756"/>
                  </a:lnTo>
                  <a:lnTo>
                    <a:pt x="426" y="762"/>
                  </a:lnTo>
                  <a:lnTo>
                    <a:pt x="420" y="762"/>
                  </a:lnTo>
                  <a:lnTo>
                    <a:pt x="408" y="744"/>
                  </a:lnTo>
                  <a:lnTo>
                    <a:pt x="408" y="732"/>
                  </a:lnTo>
                  <a:lnTo>
                    <a:pt x="390" y="714"/>
                  </a:lnTo>
                  <a:lnTo>
                    <a:pt x="384" y="702"/>
                  </a:lnTo>
                  <a:lnTo>
                    <a:pt x="384" y="690"/>
                  </a:lnTo>
                  <a:lnTo>
                    <a:pt x="372" y="690"/>
                  </a:lnTo>
                  <a:lnTo>
                    <a:pt x="366" y="660"/>
                  </a:lnTo>
                  <a:lnTo>
                    <a:pt x="354" y="630"/>
                  </a:lnTo>
                  <a:lnTo>
                    <a:pt x="348" y="630"/>
                  </a:lnTo>
                  <a:lnTo>
                    <a:pt x="336" y="630"/>
                  </a:lnTo>
                  <a:lnTo>
                    <a:pt x="330" y="630"/>
                  </a:lnTo>
                  <a:lnTo>
                    <a:pt x="318" y="630"/>
                  </a:lnTo>
                  <a:lnTo>
                    <a:pt x="312" y="624"/>
                  </a:lnTo>
                  <a:lnTo>
                    <a:pt x="306" y="624"/>
                  </a:lnTo>
                  <a:lnTo>
                    <a:pt x="294" y="618"/>
                  </a:lnTo>
                  <a:lnTo>
                    <a:pt x="288" y="612"/>
                  </a:lnTo>
                  <a:lnTo>
                    <a:pt x="276" y="600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58" y="588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8"/>
                  </a:lnTo>
                  <a:lnTo>
                    <a:pt x="216" y="582"/>
                  </a:lnTo>
                  <a:lnTo>
                    <a:pt x="210" y="588"/>
                  </a:lnTo>
                  <a:lnTo>
                    <a:pt x="198" y="582"/>
                  </a:lnTo>
                  <a:lnTo>
                    <a:pt x="180" y="582"/>
                  </a:lnTo>
                  <a:lnTo>
                    <a:pt x="174" y="552"/>
                  </a:lnTo>
                  <a:lnTo>
                    <a:pt x="168" y="504"/>
                  </a:lnTo>
                  <a:lnTo>
                    <a:pt x="186" y="504"/>
                  </a:lnTo>
                  <a:lnTo>
                    <a:pt x="192" y="504"/>
                  </a:lnTo>
                  <a:lnTo>
                    <a:pt x="192" y="498"/>
                  </a:lnTo>
                  <a:lnTo>
                    <a:pt x="192" y="492"/>
                  </a:lnTo>
                  <a:lnTo>
                    <a:pt x="192" y="486"/>
                  </a:lnTo>
                  <a:lnTo>
                    <a:pt x="198" y="486"/>
                  </a:lnTo>
                  <a:lnTo>
                    <a:pt x="198" y="480"/>
                  </a:lnTo>
                  <a:lnTo>
                    <a:pt x="204" y="474"/>
                  </a:lnTo>
                  <a:lnTo>
                    <a:pt x="210" y="468"/>
                  </a:lnTo>
                  <a:lnTo>
                    <a:pt x="198" y="462"/>
                  </a:lnTo>
                  <a:lnTo>
                    <a:pt x="192" y="444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32"/>
                  </a:lnTo>
                  <a:lnTo>
                    <a:pt x="168" y="438"/>
                  </a:lnTo>
                  <a:lnTo>
                    <a:pt x="150" y="450"/>
                  </a:lnTo>
                  <a:lnTo>
                    <a:pt x="144" y="456"/>
                  </a:lnTo>
                  <a:lnTo>
                    <a:pt x="132" y="456"/>
                  </a:lnTo>
                  <a:lnTo>
                    <a:pt x="126" y="468"/>
                  </a:lnTo>
                  <a:lnTo>
                    <a:pt x="114" y="468"/>
                  </a:lnTo>
                  <a:lnTo>
                    <a:pt x="108" y="468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14"/>
                  </a:lnTo>
                  <a:lnTo>
                    <a:pt x="108" y="396"/>
                  </a:lnTo>
                  <a:lnTo>
                    <a:pt x="120" y="396"/>
                  </a:lnTo>
                  <a:lnTo>
                    <a:pt x="126" y="384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84" y="354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0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60" y="318"/>
                  </a:lnTo>
                  <a:lnTo>
                    <a:pt x="42" y="324"/>
                  </a:lnTo>
                  <a:lnTo>
                    <a:pt x="36" y="318"/>
                  </a:lnTo>
                  <a:lnTo>
                    <a:pt x="36" y="312"/>
                  </a:lnTo>
                  <a:lnTo>
                    <a:pt x="36" y="306"/>
                  </a:lnTo>
                  <a:lnTo>
                    <a:pt x="36" y="300"/>
                  </a:lnTo>
                  <a:lnTo>
                    <a:pt x="30" y="300"/>
                  </a:lnTo>
                  <a:lnTo>
                    <a:pt x="30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24" y="276"/>
                  </a:lnTo>
                  <a:lnTo>
                    <a:pt x="18" y="276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18" y="234"/>
                  </a:lnTo>
                  <a:lnTo>
                    <a:pt x="30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42" y="192"/>
                  </a:lnTo>
                  <a:lnTo>
                    <a:pt x="66" y="186"/>
                  </a:lnTo>
                  <a:lnTo>
                    <a:pt x="90" y="156"/>
                  </a:lnTo>
                  <a:lnTo>
                    <a:pt x="102" y="144"/>
                  </a:lnTo>
                  <a:lnTo>
                    <a:pt x="138" y="150"/>
                  </a:lnTo>
                  <a:lnTo>
                    <a:pt x="162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0" y="180"/>
                  </a:lnTo>
                  <a:lnTo>
                    <a:pt x="174" y="180"/>
                  </a:lnTo>
                  <a:lnTo>
                    <a:pt x="180" y="186"/>
                  </a:lnTo>
                  <a:lnTo>
                    <a:pt x="186" y="186"/>
                  </a:lnTo>
                  <a:lnTo>
                    <a:pt x="198" y="192"/>
                  </a:lnTo>
                  <a:lnTo>
                    <a:pt x="216" y="198"/>
                  </a:lnTo>
                  <a:lnTo>
                    <a:pt x="252" y="204"/>
                  </a:lnTo>
                  <a:lnTo>
                    <a:pt x="258" y="210"/>
                  </a:lnTo>
                  <a:lnTo>
                    <a:pt x="306" y="216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84" y="210"/>
                  </a:lnTo>
                  <a:lnTo>
                    <a:pt x="408" y="222"/>
                  </a:lnTo>
                  <a:lnTo>
                    <a:pt x="438" y="228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86" y="222"/>
                  </a:lnTo>
                  <a:lnTo>
                    <a:pt x="492" y="210"/>
                  </a:lnTo>
                  <a:lnTo>
                    <a:pt x="492" y="198"/>
                  </a:lnTo>
                  <a:lnTo>
                    <a:pt x="486" y="180"/>
                  </a:lnTo>
                  <a:lnTo>
                    <a:pt x="492" y="162"/>
                  </a:lnTo>
                  <a:lnTo>
                    <a:pt x="510" y="96"/>
                  </a:lnTo>
                  <a:lnTo>
                    <a:pt x="516" y="84"/>
                  </a:lnTo>
                  <a:lnTo>
                    <a:pt x="522" y="84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34" y="72"/>
                  </a:lnTo>
                  <a:lnTo>
                    <a:pt x="534" y="60"/>
                  </a:lnTo>
                  <a:lnTo>
                    <a:pt x="540" y="36"/>
                  </a:lnTo>
                  <a:lnTo>
                    <a:pt x="546" y="6"/>
                  </a:lnTo>
                  <a:lnTo>
                    <a:pt x="558" y="6"/>
                  </a:lnTo>
                  <a:lnTo>
                    <a:pt x="564" y="0"/>
                  </a:lnTo>
                  <a:lnTo>
                    <a:pt x="582" y="0"/>
                  </a:lnTo>
                  <a:lnTo>
                    <a:pt x="588" y="0"/>
                  </a:lnTo>
                  <a:lnTo>
                    <a:pt x="594" y="6"/>
                  </a:lnTo>
                  <a:lnTo>
                    <a:pt x="600" y="12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24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36" y="36"/>
                  </a:lnTo>
                  <a:lnTo>
                    <a:pt x="642" y="36"/>
                  </a:lnTo>
                  <a:lnTo>
                    <a:pt x="642" y="42"/>
                  </a:lnTo>
                  <a:lnTo>
                    <a:pt x="648" y="54"/>
                  </a:lnTo>
                  <a:lnTo>
                    <a:pt x="660" y="72"/>
                  </a:lnTo>
                  <a:lnTo>
                    <a:pt x="666" y="78"/>
                  </a:lnTo>
                  <a:lnTo>
                    <a:pt x="672" y="90"/>
                  </a:lnTo>
                  <a:lnTo>
                    <a:pt x="678" y="102"/>
                  </a:lnTo>
                  <a:lnTo>
                    <a:pt x="678" y="114"/>
                  </a:lnTo>
                  <a:lnTo>
                    <a:pt x="684" y="132"/>
                  </a:lnTo>
                  <a:lnTo>
                    <a:pt x="684" y="144"/>
                  </a:lnTo>
                  <a:lnTo>
                    <a:pt x="690" y="162"/>
                  </a:lnTo>
                  <a:lnTo>
                    <a:pt x="696" y="168"/>
                  </a:lnTo>
                  <a:lnTo>
                    <a:pt x="696" y="180"/>
                  </a:lnTo>
                  <a:lnTo>
                    <a:pt x="702" y="186"/>
                  </a:lnTo>
                  <a:lnTo>
                    <a:pt x="708" y="186"/>
                  </a:lnTo>
                  <a:lnTo>
                    <a:pt x="714" y="198"/>
                  </a:lnTo>
                  <a:lnTo>
                    <a:pt x="720" y="198"/>
                  </a:lnTo>
                  <a:lnTo>
                    <a:pt x="732" y="204"/>
                  </a:lnTo>
                  <a:lnTo>
                    <a:pt x="738" y="210"/>
                  </a:lnTo>
                  <a:lnTo>
                    <a:pt x="738" y="216"/>
                  </a:lnTo>
                  <a:lnTo>
                    <a:pt x="744" y="222"/>
                  </a:lnTo>
                  <a:lnTo>
                    <a:pt x="750" y="228"/>
                  </a:lnTo>
                  <a:lnTo>
                    <a:pt x="756" y="228"/>
                  </a:lnTo>
                  <a:lnTo>
                    <a:pt x="768" y="240"/>
                  </a:lnTo>
                  <a:lnTo>
                    <a:pt x="774" y="252"/>
                  </a:lnTo>
                  <a:lnTo>
                    <a:pt x="780" y="258"/>
                  </a:lnTo>
                  <a:lnTo>
                    <a:pt x="786" y="258"/>
                  </a:lnTo>
                  <a:lnTo>
                    <a:pt x="798" y="264"/>
                  </a:lnTo>
                  <a:lnTo>
                    <a:pt x="798" y="270"/>
                  </a:lnTo>
                  <a:lnTo>
                    <a:pt x="798" y="276"/>
                  </a:lnTo>
                  <a:lnTo>
                    <a:pt x="810" y="288"/>
                  </a:lnTo>
                  <a:lnTo>
                    <a:pt x="816" y="288"/>
                  </a:lnTo>
                  <a:lnTo>
                    <a:pt x="816" y="300"/>
                  </a:lnTo>
                  <a:lnTo>
                    <a:pt x="816" y="306"/>
                  </a:lnTo>
                  <a:lnTo>
                    <a:pt x="822" y="318"/>
                  </a:lnTo>
                  <a:lnTo>
                    <a:pt x="828" y="324"/>
                  </a:lnTo>
                  <a:lnTo>
                    <a:pt x="834" y="330"/>
                  </a:lnTo>
                  <a:lnTo>
                    <a:pt x="846" y="336"/>
                  </a:lnTo>
                  <a:lnTo>
                    <a:pt x="846" y="342"/>
                  </a:lnTo>
                  <a:lnTo>
                    <a:pt x="852" y="348"/>
                  </a:lnTo>
                  <a:lnTo>
                    <a:pt x="852" y="354"/>
                  </a:lnTo>
                  <a:lnTo>
                    <a:pt x="858" y="354"/>
                  </a:lnTo>
                  <a:lnTo>
                    <a:pt x="858" y="348"/>
                  </a:lnTo>
                  <a:lnTo>
                    <a:pt x="864" y="342"/>
                  </a:lnTo>
                  <a:lnTo>
                    <a:pt x="864" y="336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76" y="306"/>
                  </a:lnTo>
                  <a:lnTo>
                    <a:pt x="870" y="300"/>
                  </a:lnTo>
                  <a:lnTo>
                    <a:pt x="870" y="294"/>
                  </a:lnTo>
                  <a:lnTo>
                    <a:pt x="876" y="294"/>
                  </a:lnTo>
                  <a:lnTo>
                    <a:pt x="882" y="300"/>
                  </a:lnTo>
                  <a:lnTo>
                    <a:pt x="888" y="300"/>
                  </a:lnTo>
                  <a:lnTo>
                    <a:pt x="888" y="306"/>
                  </a:lnTo>
                  <a:lnTo>
                    <a:pt x="894" y="300"/>
                  </a:lnTo>
                  <a:lnTo>
                    <a:pt x="900" y="294"/>
                  </a:lnTo>
                  <a:lnTo>
                    <a:pt x="894" y="288"/>
                  </a:lnTo>
                  <a:lnTo>
                    <a:pt x="888" y="282"/>
                  </a:lnTo>
                  <a:lnTo>
                    <a:pt x="888" y="276"/>
                  </a:lnTo>
                  <a:lnTo>
                    <a:pt x="894" y="276"/>
                  </a:lnTo>
                  <a:lnTo>
                    <a:pt x="900" y="276"/>
                  </a:lnTo>
                  <a:lnTo>
                    <a:pt x="900" y="270"/>
                  </a:lnTo>
                  <a:lnTo>
                    <a:pt x="906" y="264"/>
                  </a:lnTo>
                  <a:lnTo>
                    <a:pt x="906" y="258"/>
                  </a:lnTo>
                  <a:lnTo>
                    <a:pt x="918" y="264"/>
                  </a:lnTo>
                  <a:lnTo>
                    <a:pt x="918" y="258"/>
                  </a:lnTo>
                  <a:lnTo>
                    <a:pt x="924" y="252"/>
                  </a:lnTo>
                  <a:lnTo>
                    <a:pt x="930" y="252"/>
                  </a:lnTo>
                  <a:lnTo>
                    <a:pt x="930" y="246"/>
                  </a:lnTo>
                  <a:lnTo>
                    <a:pt x="936" y="234"/>
                  </a:lnTo>
                  <a:lnTo>
                    <a:pt x="942" y="228"/>
                  </a:lnTo>
                  <a:lnTo>
                    <a:pt x="942" y="222"/>
                  </a:lnTo>
                  <a:lnTo>
                    <a:pt x="948" y="222"/>
                  </a:lnTo>
                  <a:lnTo>
                    <a:pt x="948" y="216"/>
                  </a:lnTo>
                  <a:lnTo>
                    <a:pt x="942" y="216"/>
                  </a:lnTo>
                  <a:lnTo>
                    <a:pt x="936" y="216"/>
                  </a:lnTo>
                  <a:lnTo>
                    <a:pt x="936" y="210"/>
                  </a:lnTo>
                  <a:lnTo>
                    <a:pt x="942" y="210"/>
                  </a:lnTo>
                  <a:lnTo>
                    <a:pt x="972" y="210"/>
                  </a:lnTo>
                  <a:lnTo>
                    <a:pt x="1032" y="216"/>
                  </a:lnTo>
                  <a:lnTo>
                    <a:pt x="1068" y="216"/>
                  </a:lnTo>
                  <a:lnTo>
                    <a:pt x="1056" y="234"/>
                  </a:lnTo>
                  <a:lnTo>
                    <a:pt x="1050" y="240"/>
                  </a:lnTo>
                  <a:lnTo>
                    <a:pt x="1044" y="246"/>
                  </a:lnTo>
                  <a:lnTo>
                    <a:pt x="1038" y="246"/>
                  </a:lnTo>
                  <a:lnTo>
                    <a:pt x="1026" y="282"/>
                  </a:lnTo>
                  <a:lnTo>
                    <a:pt x="1032" y="306"/>
                  </a:lnTo>
                  <a:lnTo>
                    <a:pt x="1044" y="324"/>
                  </a:lnTo>
                  <a:lnTo>
                    <a:pt x="1044" y="342"/>
                  </a:lnTo>
                  <a:lnTo>
                    <a:pt x="1062" y="366"/>
                  </a:lnTo>
                  <a:lnTo>
                    <a:pt x="1056" y="396"/>
                  </a:lnTo>
                  <a:lnTo>
                    <a:pt x="1038" y="462"/>
                  </a:lnTo>
                  <a:lnTo>
                    <a:pt x="1038" y="498"/>
                  </a:lnTo>
                  <a:lnTo>
                    <a:pt x="1038" y="522"/>
                  </a:lnTo>
                  <a:lnTo>
                    <a:pt x="1038" y="534"/>
                  </a:lnTo>
                  <a:lnTo>
                    <a:pt x="1056" y="522"/>
                  </a:lnTo>
                  <a:lnTo>
                    <a:pt x="1098" y="504"/>
                  </a:lnTo>
                  <a:lnTo>
                    <a:pt x="1104" y="498"/>
                  </a:lnTo>
                  <a:lnTo>
                    <a:pt x="1128" y="492"/>
                  </a:lnTo>
                  <a:lnTo>
                    <a:pt x="1152" y="480"/>
                  </a:lnTo>
                  <a:lnTo>
                    <a:pt x="1170" y="474"/>
                  </a:lnTo>
                  <a:lnTo>
                    <a:pt x="1188" y="468"/>
                  </a:lnTo>
                  <a:lnTo>
                    <a:pt x="1200" y="462"/>
                  </a:lnTo>
                  <a:lnTo>
                    <a:pt x="1224" y="450"/>
                  </a:lnTo>
                  <a:lnTo>
                    <a:pt x="1248" y="450"/>
                  </a:lnTo>
                  <a:lnTo>
                    <a:pt x="1266" y="450"/>
                  </a:lnTo>
                  <a:lnTo>
                    <a:pt x="1296" y="456"/>
                  </a:lnTo>
                  <a:lnTo>
                    <a:pt x="1308" y="456"/>
                  </a:lnTo>
                  <a:lnTo>
                    <a:pt x="1326" y="456"/>
                  </a:lnTo>
                  <a:lnTo>
                    <a:pt x="1338" y="456"/>
                  </a:lnTo>
                  <a:lnTo>
                    <a:pt x="1350" y="462"/>
                  </a:lnTo>
                  <a:lnTo>
                    <a:pt x="1356" y="462"/>
                  </a:lnTo>
                  <a:lnTo>
                    <a:pt x="1374" y="456"/>
                  </a:lnTo>
                  <a:lnTo>
                    <a:pt x="1386" y="456"/>
                  </a:lnTo>
                  <a:lnTo>
                    <a:pt x="1392" y="456"/>
                  </a:lnTo>
                  <a:lnTo>
                    <a:pt x="1398" y="456"/>
                  </a:lnTo>
                  <a:lnTo>
                    <a:pt x="1422" y="456"/>
                  </a:lnTo>
                  <a:lnTo>
                    <a:pt x="1440" y="456"/>
                  </a:lnTo>
                  <a:lnTo>
                    <a:pt x="1446" y="456"/>
                  </a:lnTo>
                  <a:lnTo>
                    <a:pt x="1476" y="456"/>
                  </a:lnTo>
                  <a:lnTo>
                    <a:pt x="1470" y="468"/>
                  </a:lnTo>
                  <a:lnTo>
                    <a:pt x="1470" y="474"/>
                  </a:lnTo>
                  <a:lnTo>
                    <a:pt x="1470" y="486"/>
                  </a:lnTo>
                  <a:lnTo>
                    <a:pt x="1464" y="492"/>
                  </a:lnTo>
                  <a:lnTo>
                    <a:pt x="1464" y="498"/>
                  </a:lnTo>
                  <a:lnTo>
                    <a:pt x="1458" y="498"/>
                  </a:lnTo>
                  <a:lnTo>
                    <a:pt x="1458" y="510"/>
                  </a:lnTo>
                  <a:lnTo>
                    <a:pt x="1452" y="522"/>
                  </a:lnTo>
                  <a:lnTo>
                    <a:pt x="1458" y="528"/>
                  </a:lnTo>
                  <a:lnTo>
                    <a:pt x="1464" y="546"/>
                  </a:lnTo>
                  <a:lnTo>
                    <a:pt x="1470" y="552"/>
                  </a:lnTo>
                  <a:lnTo>
                    <a:pt x="1476" y="564"/>
                  </a:lnTo>
                  <a:lnTo>
                    <a:pt x="1488" y="588"/>
                  </a:lnTo>
                  <a:lnTo>
                    <a:pt x="1506" y="606"/>
                  </a:lnTo>
                  <a:lnTo>
                    <a:pt x="1506" y="612"/>
                  </a:lnTo>
                  <a:lnTo>
                    <a:pt x="1518" y="618"/>
                  </a:lnTo>
                  <a:lnTo>
                    <a:pt x="1512" y="630"/>
                  </a:lnTo>
                  <a:lnTo>
                    <a:pt x="1518" y="642"/>
                  </a:lnTo>
                  <a:lnTo>
                    <a:pt x="1518" y="648"/>
                  </a:lnTo>
                  <a:lnTo>
                    <a:pt x="1530" y="666"/>
                  </a:lnTo>
                  <a:lnTo>
                    <a:pt x="1518" y="672"/>
                  </a:lnTo>
                  <a:lnTo>
                    <a:pt x="1524" y="696"/>
                  </a:lnTo>
                  <a:lnTo>
                    <a:pt x="1518" y="732"/>
                  </a:lnTo>
                  <a:lnTo>
                    <a:pt x="1524" y="762"/>
                  </a:lnTo>
                  <a:lnTo>
                    <a:pt x="1524" y="780"/>
                  </a:lnTo>
                  <a:lnTo>
                    <a:pt x="1524" y="810"/>
                  </a:lnTo>
                  <a:lnTo>
                    <a:pt x="1530" y="834"/>
                  </a:lnTo>
                  <a:lnTo>
                    <a:pt x="1536" y="846"/>
                  </a:lnTo>
                  <a:lnTo>
                    <a:pt x="1542" y="846"/>
                  </a:lnTo>
                  <a:lnTo>
                    <a:pt x="1584" y="840"/>
                  </a:lnTo>
                  <a:lnTo>
                    <a:pt x="1590" y="846"/>
                  </a:lnTo>
                  <a:lnTo>
                    <a:pt x="1596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90" y="864"/>
                  </a:lnTo>
                  <a:lnTo>
                    <a:pt x="1578" y="882"/>
                  </a:lnTo>
                  <a:lnTo>
                    <a:pt x="1572" y="906"/>
                  </a:lnTo>
                  <a:lnTo>
                    <a:pt x="1560" y="924"/>
                  </a:lnTo>
                  <a:lnTo>
                    <a:pt x="1560" y="936"/>
                  </a:lnTo>
                  <a:lnTo>
                    <a:pt x="1548" y="960"/>
                  </a:lnTo>
                  <a:lnTo>
                    <a:pt x="1542" y="978"/>
                  </a:lnTo>
                  <a:lnTo>
                    <a:pt x="1536" y="990"/>
                  </a:lnTo>
                  <a:lnTo>
                    <a:pt x="1530" y="990"/>
                  </a:lnTo>
                  <a:lnTo>
                    <a:pt x="1506" y="996"/>
                  </a:lnTo>
                  <a:lnTo>
                    <a:pt x="1494" y="1002"/>
                  </a:lnTo>
                  <a:lnTo>
                    <a:pt x="1482" y="1002"/>
                  </a:lnTo>
                  <a:lnTo>
                    <a:pt x="1464" y="1008"/>
                  </a:lnTo>
                  <a:lnTo>
                    <a:pt x="1446" y="1026"/>
                  </a:lnTo>
                  <a:lnTo>
                    <a:pt x="1440" y="1026"/>
                  </a:lnTo>
                  <a:lnTo>
                    <a:pt x="1434" y="1038"/>
                  </a:lnTo>
                  <a:lnTo>
                    <a:pt x="1428" y="1044"/>
                  </a:lnTo>
                  <a:lnTo>
                    <a:pt x="1428" y="1062"/>
                  </a:lnTo>
                  <a:lnTo>
                    <a:pt x="1428" y="1086"/>
                  </a:lnTo>
                  <a:lnTo>
                    <a:pt x="1416" y="1092"/>
                  </a:lnTo>
                  <a:lnTo>
                    <a:pt x="1410" y="1080"/>
                  </a:lnTo>
                  <a:lnTo>
                    <a:pt x="1392" y="10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0" name="Freeform 25">
              <a:extLst>
                <a:ext uri="{FF2B5EF4-FFF2-40B4-BE49-F238E27FC236}">
                  <a16:creationId xmlns:a16="http://schemas.microsoft.com/office/drawing/2014/main" id="{39FDFF90-5ACF-4D65-81AD-C44D2CBE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70228" y="3063559"/>
              <a:ext cx="644023" cy="704498"/>
            </a:xfrm>
            <a:custGeom>
              <a:avLst/>
              <a:gdLst>
                <a:gd name="T0" fmla="*/ 74 w 1212"/>
                <a:gd name="T1" fmla="*/ 113 h 1326"/>
                <a:gd name="T2" fmla="*/ 60 w 1212"/>
                <a:gd name="T3" fmla="*/ 116 h 1326"/>
                <a:gd name="T4" fmla="*/ 62 w 1212"/>
                <a:gd name="T5" fmla="*/ 110 h 1326"/>
                <a:gd name="T6" fmla="*/ 60 w 1212"/>
                <a:gd name="T7" fmla="*/ 105 h 1326"/>
                <a:gd name="T8" fmla="*/ 52 w 1212"/>
                <a:gd name="T9" fmla="*/ 96 h 1326"/>
                <a:gd name="T10" fmla="*/ 47 w 1212"/>
                <a:gd name="T11" fmla="*/ 98 h 1326"/>
                <a:gd name="T12" fmla="*/ 44 w 1212"/>
                <a:gd name="T13" fmla="*/ 93 h 1326"/>
                <a:gd name="T14" fmla="*/ 40 w 1212"/>
                <a:gd name="T15" fmla="*/ 96 h 1326"/>
                <a:gd name="T16" fmla="*/ 35 w 1212"/>
                <a:gd name="T17" fmla="*/ 102 h 1326"/>
                <a:gd name="T18" fmla="*/ 27 w 1212"/>
                <a:gd name="T19" fmla="*/ 100 h 1326"/>
                <a:gd name="T20" fmla="*/ 23 w 1212"/>
                <a:gd name="T21" fmla="*/ 96 h 1326"/>
                <a:gd name="T22" fmla="*/ 20 w 1212"/>
                <a:gd name="T23" fmla="*/ 90 h 1326"/>
                <a:gd name="T24" fmla="*/ 18 w 1212"/>
                <a:gd name="T25" fmla="*/ 89 h 1326"/>
                <a:gd name="T26" fmla="*/ 18 w 1212"/>
                <a:gd name="T27" fmla="*/ 85 h 1326"/>
                <a:gd name="T28" fmla="*/ 19 w 1212"/>
                <a:gd name="T29" fmla="*/ 83 h 1326"/>
                <a:gd name="T30" fmla="*/ 19 w 1212"/>
                <a:gd name="T31" fmla="*/ 82 h 1326"/>
                <a:gd name="T32" fmla="*/ 20 w 1212"/>
                <a:gd name="T33" fmla="*/ 79 h 1326"/>
                <a:gd name="T34" fmla="*/ 19 w 1212"/>
                <a:gd name="T35" fmla="*/ 75 h 1326"/>
                <a:gd name="T36" fmla="*/ 17 w 1212"/>
                <a:gd name="T37" fmla="*/ 77 h 1326"/>
                <a:gd name="T38" fmla="*/ 14 w 1212"/>
                <a:gd name="T39" fmla="*/ 76 h 1326"/>
                <a:gd name="T40" fmla="*/ 12 w 1212"/>
                <a:gd name="T41" fmla="*/ 71 h 1326"/>
                <a:gd name="T42" fmla="*/ 8 w 1212"/>
                <a:gd name="T43" fmla="*/ 69 h 1326"/>
                <a:gd name="T44" fmla="*/ 0 w 1212"/>
                <a:gd name="T45" fmla="*/ 72 h 1326"/>
                <a:gd name="T46" fmla="*/ 2 w 1212"/>
                <a:gd name="T47" fmla="*/ 67 h 1326"/>
                <a:gd name="T48" fmla="*/ 3 w 1212"/>
                <a:gd name="T49" fmla="*/ 61 h 1326"/>
                <a:gd name="T50" fmla="*/ 4 w 1212"/>
                <a:gd name="T51" fmla="*/ 56 h 1326"/>
                <a:gd name="T52" fmla="*/ 4 w 1212"/>
                <a:gd name="T53" fmla="*/ 52 h 1326"/>
                <a:gd name="T54" fmla="*/ 2 w 1212"/>
                <a:gd name="T55" fmla="*/ 47 h 1326"/>
                <a:gd name="T56" fmla="*/ 2 w 1212"/>
                <a:gd name="T57" fmla="*/ 42 h 1326"/>
                <a:gd name="T58" fmla="*/ 5 w 1212"/>
                <a:gd name="T59" fmla="*/ 39 h 1326"/>
                <a:gd name="T60" fmla="*/ 5 w 1212"/>
                <a:gd name="T61" fmla="*/ 35 h 1326"/>
                <a:gd name="T62" fmla="*/ 7 w 1212"/>
                <a:gd name="T63" fmla="*/ 31 h 1326"/>
                <a:gd name="T64" fmla="*/ 14 w 1212"/>
                <a:gd name="T65" fmla="*/ 31 h 1326"/>
                <a:gd name="T66" fmla="*/ 18 w 1212"/>
                <a:gd name="T67" fmla="*/ 27 h 1326"/>
                <a:gd name="T68" fmla="*/ 22 w 1212"/>
                <a:gd name="T69" fmla="*/ 24 h 1326"/>
                <a:gd name="T70" fmla="*/ 27 w 1212"/>
                <a:gd name="T71" fmla="*/ 20 h 1326"/>
                <a:gd name="T72" fmla="*/ 35 w 1212"/>
                <a:gd name="T73" fmla="*/ 21 h 1326"/>
                <a:gd name="T74" fmla="*/ 61 w 1212"/>
                <a:gd name="T75" fmla="*/ 8 h 1326"/>
                <a:gd name="T76" fmla="*/ 73 w 1212"/>
                <a:gd name="T77" fmla="*/ 4 h 1326"/>
                <a:gd name="T78" fmla="*/ 86 w 1212"/>
                <a:gd name="T79" fmla="*/ 12 h 1326"/>
                <a:gd name="T80" fmla="*/ 92 w 1212"/>
                <a:gd name="T81" fmla="*/ 13 h 1326"/>
                <a:gd name="T82" fmla="*/ 86 w 1212"/>
                <a:gd name="T83" fmla="*/ 18 h 1326"/>
                <a:gd name="T84" fmla="*/ 88 w 1212"/>
                <a:gd name="T85" fmla="*/ 33 h 1326"/>
                <a:gd name="T86" fmla="*/ 97 w 1212"/>
                <a:gd name="T87" fmla="*/ 49 h 1326"/>
                <a:gd name="T88" fmla="*/ 102 w 1212"/>
                <a:gd name="T89" fmla="*/ 57 h 1326"/>
                <a:gd name="T90" fmla="*/ 104 w 1212"/>
                <a:gd name="T91" fmla="*/ 67 h 1326"/>
                <a:gd name="T92" fmla="*/ 101 w 1212"/>
                <a:gd name="T93" fmla="*/ 69 h 1326"/>
                <a:gd name="T94" fmla="*/ 97 w 1212"/>
                <a:gd name="T95" fmla="*/ 69 h 1326"/>
                <a:gd name="T96" fmla="*/ 96 w 1212"/>
                <a:gd name="T97" fmla="*/ 71 h 1326"/>
                <a:gd name="T98" fmla="*/ 93 w 1212"/>
                <a:gd name="T99" fmla="*/ 70 h 1326"/>
                <a:gd name="T100" fmla="*/ 86 w 1212"/>
                <a:gd name="T101" fmla="*/ 69 h 1326"/>
                <a:gd name="T102" fmla="*/ 82 w 1212"/>
                <a:gd name="T103" fmla="*/ 73 h 1326"/>
                <a:gd name="T104" fmla="*/ 79 w 1212"/>
                <a:gd name="T105" fmla="*/ 74 h 1326"/>
                <a:gd name="T106" fmla="*/ 78 w 1212"/>
                <a:gd name="T107" fmla="*/ 79 h 1326"/>
                <a:gd name="T108" fmla="*/ 78 w 1212"/>
                <a:gd name="T109" fmla="*/ 83 h 1326"/>
                <a:gd name="T110" fmla="*/ 82 w 1212"/>
                <a:gd name="T111" fmla="*/ 87 h 1326"/>
                <a:gd name="T112" fmla="*/ 83 w 1212"/>
                <a:gd name="T113" fmla="*/ 90 h 1326"/>
                <a:gd name="T114" fmla="*/ 82 w 1212"/>
                <a:gd name="T115" fmla="*/ 94 h 1326"/>
                <a:gd name="T116" fmla="*/ 82 w 1212"/>
                <a:gd name="T117" fmla="*/ 98 h 1326"/>
                <a:gd name="T118" fmla="*/ 82 w 1212"/>
                <a:gd name="T119" fmla="*/ 104 h 1326"/>
                <a:gd name="T120" fmla="*/ 78 w 1212"/>
                <a:gd name="T121" fmla="*/ 110 h 132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12"/>
                <a:gd name="T184" fmla="*/ 0 h 1326"/>
                <a:gd name="T185" fmla="*/ 1212 w 1212"/>
                <a:gd name="T186" fmla="*/ 1326 h 132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12" h="1326">
                  <a:moveTo>
                    <a:pt x="906" y="1290"/>
                  </a:moveTo>
                  <a:lnTo>
                    <a:pt x="906" y="1296"/>
                  </a:lnTo>
                  <a:lnTo>
                    <a:pt x="900" y="1296"/>
                  </a:lnTo>
                  <a:lnTo>
                    <a:pt x="876" y="1290"/>
                  </a:lnTo>
                  <a:lnTo>
                    <a:pt x="870" y="1290"/>
                  </a:lnTo>
                  <a:lnTo>
                    <a:pt x="864" y="1296"/>
                  </a:lnTo>
                  <a:lnTo>
                    <a:pt x="852" y="1296"/>
                  </a:lnTo>
                  <a:lnTo>
                    <a:pt x="840" y="1302"/>
                  </a:lnTo>
                  <a:lnTo>
                    <a:pt x="834" y="1308"/>
                  </a:lnTo>
                  <a:lnTo>
                    <a:pt x="822" y="1320"/>
                  </a:lnTo>
                  <a:lnTo>
                    <a:pt x="816" y="1320"/>
                  </a:lnTo>
                  <a:lnTo>
                    <a:pt x="732" y="1320"/>
                  </a:lnTo>
                  <a:lnTo>
                    <a:pt x="696" y="1320"/>
                  </a:lnTo>
                  <a:lnTo>
                    <a:pt x="690" y="1326"/>
                  </a:lnTo>
                  <a:lnTo>
                    <a:pt x="678" y="1326"/>
                  </a:lnTo>
                  <a:lnTo>
                    <a:pt x="672" y="1308"/>
                  </a:lnTo>
                  <a:lnTo>
                    <a:pt x="696" y="1302"/>
                  </a:lnTo>
                  <a:lnTo>
                    <a:pt x="708" y="1296"/>
                  </a:lnTo>
                  <a:lnTo>
                    <a:pt x="720" y="1284"/>
                  </a:lnTo>
                  <a:lnTo>
                    <a:pt x="714" y="1278"/>
                  </a:lnTo>
                  <a:lnTo>
                    <a:pt x="714" y="1266"/>
                  </a:lnTo>
                  <a:lnTo>
                    <a:pt x="708" y="1260"/>
                  </a:lnTo>
                  <a:lnTo>
                    <a:pt x="708" y="1254"/>
                  </a:lnTo>
                  <a:lnTo>
                    <a:pt x="708" y="1248"/>
                  </a:lnTo>
                  <a:lnTo>
                    <a:pt x="702" y="1236"/>
                  </a:lnTo>
                  <a:lnTo>
                    <a:pt x="702" y="1230"/>
                  </a:lnTo>
                  <a:lnTo>
                    <a:pt x="702" y="1218"/>
                  </a:lnTo>
                  <a:lnTo>
                    <a:pt x="696" y="1200"/>
                  </a:lnTo>
                  <a:lnTo>
                    <a:pt x="696" y="1182"/>
                  </a:lnTo>
                  <a:lnTo>
                    <a:pt x="666" y="1182"/>
                  </a:lnTo>
                  <a:lnTo>
                    <a:pt x="672" y="1134"/>
                  </a:lnTo>
                  <a:lnTo>
                    <a:pt x="666" y="1128"/>
                  </a:lnTo>
                  <a:lnTo>
                    <a:pt x="660" y="1092"/>
                  </a:lnTo>
                  <a:lnTo>
                    <a:pt x="654" y="1098"/>
                  </a:lnTo>
                  <a:lnTo>
                    <a:pt x="594" y="1098"/>
                  </a:lnTo>
                  <a:lnTo>
                    <a:pt x="576" y="1098"/>
                  </a:lnTo>
                  <a:lnTo>
                    <a:pt x="570" y="1104"/>
                  </a:lnTo>
                  <a:lnTo>
                    <a:pt x="564" y="1110"/>
                  </a:lnTo>
                  <a:lnTo>
                    <a:pt x="558" y="1110"/>
                  </a:lnTo>
                  <a:lnTo>
                    <a:pt x="552" y="1110"/>
                  </a:lnTo>
                  <a:lnTo>
                    <a:pt x="546" y="1110"/>
                  </a:lnTo>
                  <a:lnTo>
                    <a:pt x="546" y="1116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10" y="1128"/>
                  </a:lnTo>
                  <a:lnTo>
                    <a:pt x="522" y="1104"/>
                  </a:lnTo>
                  <a:lnTo>
                    <a:pt x="510" y="1098"/>
                  </a:lnTo>
                  <a:lnTo>
                    <a:pt x="510" y="1074"/>
                  </a:lnTo>
                  <a:lnTo>
                    <a:pt x="504" y="1068"/>
                  </a:lnTo>
                  <a:lnTo>
                    <a:pt x="498" y="1068"/>
                  </a:lnTo>
                  <a:lnTo>
                    <a:pt x="492" y="1068"/>
                  </a:lnTo>
                  <a:lnTo>
                    <a:pt x="474" y="1080"/>
                  </a:lnTo>
                  <a:lnTo>
                    <a:pt x="474" y="1086"/>
                  </a:lnTo>
                  <a:lnTo>
                    <a:pt x="474" y="1092"/>
                  </a:lnTo>
                  <a:lnTo>
                    <a:pt x="468" y="1098"/>
                  </a:lnTo>
                  <a:lnTo>
                    <a:pt x="462" y="1104"/>
                  </a:lnTo>
                  <a:lnTo>
                    <a:pt x="456" y="1110"/>
                  </a:lnTo>
                  <a:lnTo>
                    <a:pt x="456" y="1122"/>
                  </a:lnTo>
                  <a:lnTo>
                    <a:pt x="456" y="1128"/>
                  </a:lnTo>
                  <a:lnTo>
                    <a:pt x="450" y="1140"/>
                  </a:lnTo>
                  <a:lnTo>
                    <a:pt x="444" y="1146"/>
                  </a:lnTo>
                  <a:lnTo>
                    <a:pt x="426" y="1170"/>
                  </a:lnTo>
                  <a:lnTo>
                    <a:pt x="408" y="1176"/>
                  </a:lnTo>
                  <a:lnTo>
                    <a:pt x="402" y="1170"/>
                  </a:lnTo>
                  <a:lnTo>
                    <a:pt x="396" y="1170"/>
                  </a:lnTo>
                  <a:lnTo>
                    <a:pt x="396" y="1158"/>
                  </a:lnTo>
                  <a:lnTo>
                    <a:pt x="384" y="1152"/>
                  </a:lnTo>
                  <a:lnTo>
                    <a:pt x="372" y="1140"/>
                  </a:lnTo>
                  <a:lnTo>
                    <a:pt x="354" y="1140"/>
                  </a:lnTo>
                  <a:lnTo>
                    <a:pt x="306" y="1146"/>
                  </a:lnTo>
                  <a:lnTo>
                    <a:pt x="294" y="1134"/>
                  </a:lnTo>
                  <a:lnTo>
                    <a:pt x="294" y="1128"/>
                  </a:lnTo>
                  <a:lnTo>
                    <a:pt x="288" y="1122"/>
                  </a:lnTo>
                  <a:lnTo>
                    <a:pt x="276" y="1122"/>
                  </a:lnTo>
                  <a:lnTo>
                    <a:pt x="276" y="1110"/>
                  </a:lnTo>
                  <a:lnTo>
                    <a:pt x="276" y="1104"/>
                  </a:lnTo>
                  <a:lnTo>
                    <a:pt x="270" y="1098"/>
                  </a:lnTo>
                  <a:lnTo>
                    <a:pt x="264" y="1086"/>
                  </a:lnTo>
                  <a:lnTo>
                    <a:pt x="264" y="1074"/>
                  </a:lnTo>
                  <a:lnTo>
                    <a:pt x="258" y="1068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34" y="1038"/>
                  </a:lnTo>
                  <a:lnTo>
                    <a:pt x="228" y="1038"/>
                  </a:lnTo>
                  <a:lnTo>
                    <a:pt x="222" y="1038"/>
                  </a:lnTo>
                  <a:lnTo>
                    <a:pt x="216" y="1038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0"/>
                  </a:lnTo>
                  <a:lnTo>
                    <a:pt x="204" y="1014"/>
                  </a:lnTo>
                  <a:lnTo>
                    <a:pt x="204" y="1008"/>
                  </a:lnTo>
                  <a:lnTo>
                    <a:pt x="198" y="1002"/>
                  </a:lnTo>
                  <a:lnTo>
                    <a:pt x="198" y="996"/>
                  </a:lnTo>
                  <a:lnTo>
                    <a:pt x="198" y="990"/>
                  </a:lnTo>
                  <a:lnTo>
                    <a:pt x="204" y="990"/>
                  </a:lnTo>
                  <a:lnTo>
                    <a:pt x="204" y="984"/>
                  </a:lnTo>
                  <a:lnTo>
                    <a:pt x="210" y="978"/>
                  </a:lnTo>
                  <a:lnTo>
                    <a:pt x="210" y="972"/>
                  </a:lnTo>
                  <a:lnTo>
                    <a:pt x="210" y="966"/>
                  </a:lnTo>
                  <a:lnTo>
                    <a:pt x="216" y="960"/>
                  </a:lnTo>
                  <a:lnTo>
                    <a:pt x="216" y="954"/>
                  </a:lnTo>
                  <a:lnTo>
                    <a:pt x="210" y="954"/>
                  </a:lnTo>
                  <a:lnTo>
                    <a:pt x="204" y="954"/>
                  </a:lnTo>
                  <a:lnTo>
                    <a:pt x="216" y="954"/>
                  </a:lnTo>
                  <a:lnTo>
                    <a:pt x="216" y="948"/>
                  </a:lnTo>
                  <a:lnTo>
                    <a:pt x="210" y="948"/>
                  </a:lnTo>
                  <a:lnTo>
                    <a:pt x="210" y="942"/>
                  </a:lnTo>
                  <a:lnTo>
                    <a:pt x="216" y="942"/>
                  </a:lnTo>
                  <a:lnTo>
                    <a:pt x="222" y="942"/>
                  </a:lnTo>
                  <a:lnTo>
                    <a:pt x="222" y="936"/>
                  </a:lnTo>
                  <a:lnTo>
                    <a:pt x="216" y="936"/>
                  </a:lnTo>
                  <a:lnTo>
                    <a:pt x="210" y="936"/>
                  </a:lnTo>
                  <a:lnTo>
                    <a:pt x="210" y="930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22" y="918"/>
                  </a:lnTo>
                  <a:lnTo>
                    <a:pt x="228" y="912"/>
                  </a:lnTo>
                  <a:lnTo>
                    <a:pt x="228" y="906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2" y="888"/>
                  </a:lnTo>
                  <a:lnTo>
                    <a:pt x="222" y="882"/>
                  </a:lnTo>
                  <a:lnTo>
                    <a:pt x="222" y="876"/>
                  </a:lnTo>
                  <a:lnTo>
                    <a:pt x="222" y="858"/>
                  </a:lnTo>
                  <a:lnTo>
                    <a:pt x="216" y="858"/>
                  </a:lnTo>
                  <a:lnTo>
                    <a:pt x="216" y="852"/>
                  </a:lnTo>
                  <a:lnTo>
                    <a:pt x="210" y="852"/>
                  </a:lnTo>
                  <a:lnTo>
                    <a:pt x="210" y="840"/>
                  </a:lnTo>
                  <a:lnTo>
                    <a:pt x="198" y="840"/>
                  </a:lnTo>
                  <a:lnTo>
                    <a:pt x="198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0" y="894"/>
                  </a:lnTo>
                  <a:lnTo>
                    <a:pt x="180" y="906"/>
                  </a:lnTo>
                  <a:lnTo>
                    <a:pt x="156" y="912"/>
                  </a:lnTo>
                  <a:lnTo>
                    <a:pt x="156" y="894"/>
                  </a:lnTo>
                  <a:lnTo>
                    <a:pt x="156" y="882"/>
                  </a:lnTo>
                  <a:lnTo>
                    <a:pt x="156" y="876"/>
                  </a:lnTo>
                  <a:lnTo>
                    <a:pt x="150" y="876"/>
                  </a:lnTo>
                  <a:lnTo>
                    <a:pt x="144" y="876"/>
                  </a:lnTo>
                  <a:lnTo>
                    <a:pt x="138" y="870"/>
                  </a:lnTo>
                  <a:lnTo>
                    <a:pt x="132" y="864"/>
                  </a:lnTo>
                  <a:lnTo>
                    <a:pt x="138" y="840"/>
                  </a:lnTo>
                  <a:lnTo>
                    <a:pt x="132" y="840"/>
                  </a:lnTo>
                  <a:lnTo>
                    <a:pt x="138" y="810"/>
                  </a:lnTo>
                  <a:lnTo>
                    <a:pt x="144" y="804"/>
                  </a:lnTo>
                  <a:lnTo>
                    <a:pt x="144" y="798"/>
                  </a:lnTo>
                  <a:lnTo>
                    <a:pt x="156" y="798"/>
                  </a:lnTo>
                  <a:lnTo>
                    <a:pt x="156" y="792"/>
                  </a:lnTo>
                  <a:lnTo>
                    <a:pt x="120" y="792"/>
                  </a:lnTo>
                  <a:lnTo>
                    <a:pt x="108" y="786"/>
                  </a:lnTo>
                  <a:lnTo>
                    <a:pt x="96" y="786"/>
                  </a:lnTo>
                  <a:lnTo>
                    <a:pt x="96" y="780"/>
                  </a:lnTo>
                  <a:lnTo>
                    <a:pt x="78" y="780"/>
                  </a:lnTo>
                  <a:lnTo>
                    <a:pt x="72" y="804"/>
                  </a:lnTo>
                  <a:lnTo>
                    <a:pt x="60" y="816"/>
                  </a:lnTo>
                  <a:lnTo>
                    <a:pt x="36" y="828"/>
                  </a:lnTo>
                  <a:lnTo>
                    <a:pt x="18" y="840"/>
                  </a:lnTo>
                  <a:lnTo>
                    <a:pt x="0" y="822"/>
                  </a:lnTo>
                  <a:lnTo>
                    <a:pt x="6" y="816"/>
                  </a:lnTo>
                  <a:lnTo>
                    <a:pt x="12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18" y="786"/>
                  </a:lnTo>
                  <a:lnTo>
                    <a:pt x="24" y="780"/>
                  </a:lnTo>
                  <a:lnTo>
                    <a:pt x="24" y="768"/>
                  </a:lnTo>
                  <a:lnTo>
                    <a:pt x="24" y="762"/>
                  </a:lnTo>
                  <a:lnTo>
                    <a:pt x="24" y="750"/>
                  </a:lnTo>
                  <a:lnTo>
                    <a:pt x="36" y="714"/>
                  </a:lnTo>
                  <a:lnTo>
                    <a:pt x="36" y="708"/>
                  </a:lnTo>
                  <a:lnTo>
                    <a:pt x="42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6" y="690"/>
                  </a:lnTo>
                  <a:lnTo>
                    <a:pt x="42" y="684"/>
                  </a:lnTo>
                  <a:lnTo>
                    <a:pt x="42" y="672"/>
                  </a:lnTo>
                  <a:lnTo>
                    <a:pt x="42" y="666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48" y="648"/>
                  </a:lnTo>
                  <a:lnTo>
                    <a:pt x="54" y="642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54" y="612"/>
                  </a:lnTo>
                  <a:lnTo>
                    <a:pt x="48" y="606"/>
                  </a:lnTo>
                  <a:lnTo>
                    <a:pt x="48" y="600"/>
                  </a:lnTo>
                  <a:lnTo>
                    <a:pt x="42" y="600"/>
                  </a:lnTo>
                  <a:lnTo>
                    <a:pt x="36" y="594"/>
                  </a:lnTo>
                  <a:lnTo>
                    <a:pt x="36" y="588"/>
                  </a:lnTo>
                  <a:lnTo>
                    <a:pt x="30" y="582"/>
                  </a:lnTo>
                  <a:lnTo>
                    <a:pt x="30" y="570"/>
                  </a:lnTo>
                  <a:lnTo>
                    <a:pt x="18" y="552"/>
                  </a:lnTo>
                  <a:lnTo>
                    <a:pt x="18" y="546"/>
                  </a:lnTo>
                  <a:lnTo>
                    <a:pt x="18" y="540"/>
                  </a:lnTo>
                  <a:lnTo>
                    <a:pt x="18" y="528"/>
                  </a:lnTo>
                  <a:lnTo>
                    <a:pt x="18" y="522"/>
                  </a:lnTo>
                  <a:lnTo>
                    <a:pt x="24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30" y="474"/>
                  </a:lnTo>
                  <a:lnTo>
                    <a:pt x="36" y="474"/>
                  </a:lnTo>
                  <a:lnTo>
                    <a:pt x="42" y="468"/>
                  </a:lnTo>
                  <a:lnTo>
                    <a:pt x="48" y="468"/>
                  </a:lnTo>
                  <a:lnTo>
                    <a:pt x="48" y="462"/>
                  </a:lnTo>
                  <a:lnTo>
                    <a:pt x="48" y="456"/>
                  </a:lnTo>
                  <a:lnTo>
                    <a:pt x="54" y="450"/>
                  </a:lnTo>
                  <a:lnTo>
                    <a:pt x="60" y="438"/>
                  </a:lnTo>
                  <a:lnTo>
                    <a:pt x="54" y="438"/>
                  </a:lnTo>
                  <a:lnTo>
                    <a:pt x="54" y="432"/>
                  </a:ln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54" y="402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6" y="384"/>
                  </a:lnTo>
                  <a:lnTo>
                    <a:pt x="72" y="372"/>
                  </a:lnTo>
                  <a:lnTo>
                    <a:pt x="78" y="366"/>
                  </a:lnTo>
                  <a:lnTo>
                    <a:pt x="84" y="360"/>
                  </a:lnTo>
                  <a:lnTo>
                    <a:pt x="102" y="360"/>
                  </a:lnTo>
                  <a:lnTo>
                    <a:pt x="114" y="36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8" y="360"/>
                  </a:lnTo>
                  <a:lnTo>
                    <a:pt x="156" y="360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74" y="342"/>
                  </a:lnTo>
                  <a:lnTo>
                    <a:pt x="180" y="342"/>
                  </a:lnTo>
                  <a:lnTo>
                    <a:pt x="186" y="336"/>
                  </a:lnTo>
                  <a:lnTo>
                    <a:pt x="192" y="330"/>
                  </a:lnTo>
                  <a:lnTo>
                    <a:pt x="204" y="312"/>
                  </a:lnTo>
                  <a:lnTo>
                    <a:pt x="210" y="312"/>
                  </a:lnTo>
                  <a:lnTo>
                    <a:pt x="216" y="306"/>
                  </a:lnTo>
                  <a:lnTo>
                    <a:pt x="216" y="300"/>
                  </a:lnTo>
                  <a:lnTo>
                    <a:pt x="222" y="288"/>
                  </a:lnTo>
                  <a:lnTo>
                    <a:pt x="234" y="288"/>
                  </a:lnTo>
                  <a:lnTo>
                    <a:pt x="240" y="282"/>
                  </a:lnTo>
                  <a:lnTo>
                    <a:pt x="246" y="282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70" y="270"/>
                  </a:lnTo>
                  <a:lnTo>
                    <a:pt x="276" y="264"/>
                  </a:lnTo>
                  <a:lnTo>
                    <a:pt x="282" y="26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8" y="234"/>
                  </a:lnTo>
                  <a:lnTo>
                    <a:pt x="330" y="234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72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14" y="240"/>
                  </a:lnTo>
                  <a:lnTo>
                    <a:pt x="444" y="216"/>
                  </a:lnTo>
                  <a:lnTo>
                    <a:pt x="480" y="204"/>
                  </a:lnTo>
                  <a:lnTo>
                    <a:pt x="600" y="150"/>
                  </a:lnTo>
                  <a:lnTo>
                    <a:pt x="648" y="126"/>
                  </a:lnTo>
                  <a:lnTo>
                    <a:pt x="702" y="96"/>
                  </a:lnTo>
                  <a:lnTo>
                    <a:pt x="708" y="54"/>
                  </a:lnTo>
                  <a:lnTo>
                    <a:pt x="720" y="24"/>
                  </a:lnTo>
                  <a:lnTo>
                    <a:pt x="738" y="12"/>
                  </a:lnTo>
                  <a:lnTo>
                    <a:pt x="768" y="0"/>
                  </a:lnTo>
                  <a:lnTo>
                    <a:pt x="792" y="6"/>
                  </a:lnTo>
                  <a:lnTo>
                    <a:pt x="804" y="12"/>
                  </a:lnTo>
                  <a:lnTo>
                    <a:pt x="834" y="48"/>
                  </a:lnTo>
                  <a:lnTo>
                    <a:pt x="834" y="60"/>
                  </a:lnTo>
                  <a:lnTo>
                    <a:pt x="852" y="84"/>
                  </a:lnTo>
                  <a:lnTo>
                    <a:pt x="864" y="96"/>
                  </a:lnTo>
                  <a:lnTo>
                    <a:pt x="888" y="102"/>
                  </a:lnTo>
                  <a:lnTo>
                    <a:pt x="978" y="120"/>
                  </a:lnTo>
                  <a:lnTo>
                    <a:pt x="984" y="126"/>
                  </a:lnTo>
                  <a:lnTo>
                    <a:pt x="984" y="132"/>
                  </a:lnTo>
                  <a:lnTo>
                    <a:pt x="996" y="138"/>
                  </a:lnTo>
                  <a:lnTo>
                    <a:pt x="1038" y="126"/>
                  </a:lnTo>
                  <a:lnTo>
                    <a:pt x="1056" y="114"/>
                  </a:lnTo>
                  <a:lnTo>
                    <a:pt x="1068" y="126"/>
                  </a:lnTo>
                  <a:lnTo>
                    <a:pt x="1074" y="132"/>
                  </a:lnTo>
                  <a:lnTo>
                    <a:pt x="1068" y="138"/>
                  </a:lnTo>
                  <a:lnTo>
                    <a:pt x="1056" y="150"/>
                  </a:lnTo>
                  <a:lnTo>
                    <a:pt x="1038" y="162"/>
                  </a:lnTo>
                  <a:lnTo>
                    <a:pt x="1038" y="168"/>
                  </a:lnTo>
                  <a:lnTo>
                    <a:pt x="1020" y="174"/>
                  </a:lnTo>
                  <a:lnTo>
                    <a:pt x="1014" y="180"/>
                  </a:lnTo>
                  <a:lnTo>
                    <a:pt x="1008" y="186"/>
                  </a:lnTo>
                  <a:lnTo>
                    <a:pt x="1002" y="198"/>
                  </a:lnTo>
                  <a:lnTo>
                    <a:pt x="984" y="204"/>
                  </a:lnTo>
                  <a:lnTo>
                    <a:pt x="984" y="246"/>
                  </a:lnTo>
                  <a:lnTo>
                    <a:pt x="978" y="270"/>
                  </a:lnTo>
                  <a:lnTo>
                    <a:pt x="990" y="306"/>
                  </a:lnTo>
                  <a:lnTo>
                    <a:pt x="990" y="324"/>
                  </a:lnTo>
                  <a:lnTo>
                    <a:pt x="1002" y="336"/>
                  </a:lnTo>
                  <a:lnTo>
                    <a:pt x="1020" y="372"/>
                  </a:lnTo>
                  <a:lnTo>
                    <a:pt x="1014" y="378"/>
                  </a:lnTo>
                  <a:lnTo>
                    <a:pt x="1014" y="384"/>
                  </a:lnTo>
                  <a:lnTo>
                    <a:pt x="1020" y="384"/>
                  </a:lnTo>
                  <a:lnTo>
                    <a:pt x="1020" y="396"/>
                  </a:lnTo>
                  <a:lnTo>
                    <a:pt x="1062" y="468"/>
                  </a:lnTo>
                  <a:lnTo>
                    <a:pt x="1092" y="522"/>
                  </a:lnTo>
                  <a:lnTo>
                    <a:pt x="1110" y="546"/>
                  </a:lnTo>
                  <a:lnTo>
                    <a:pt x="1122" y="564"/>
                  </a:lnTo>
                  <a:lnTo>
                    <a:pt x="1134" y="576"/>
                  </a:lnTo>
                  <a:lnTo>
                    <a:pt x="1146" y="582"/>
                  </a:lnTo>
                  <a:lnTo>
                    <a:pt x="1146" y="588"/>
                  </a:lnTo>
                  <a:lnTo>
                    <a:pt x="1164" y="600"/>
                  </a:lnTo>
                  <a:lnTo>
                    <a:pt x="1170" y="612"/>
                  </a:lnTo>
                  <a:lnTo>
                    <a:pt x="1170" y="624"/>
                  </a:lnTo>
                  <a:lnTo>
                    <a:pt x="1176" y="654"/>
                  </a:lnTo>
                  <a:lnTo>
                    <a:pt x="1176" y="666"/>
                  </a:lnTo>
                  <a:lnTo>
                    <a:pt x="1182" y="684"/>
                  </a:lnTo>
                  <a:lnTo>
                    <a:pt x="1194" y="696"/>
                  </a:lnTo>
                  <a:lnTo>
                    <a:pt x="1212" y="696"/>
                  </a:lnTo>
                  <a:lnTo>
                    <a:pt x="1206" y="762"/>
                  </a:lnTo>
                  <a:lnTo>
                    <a:pt x="1200" y="768"/>
                  </a:lnTo>
                  <a:lnTo>
                    <a:pt x="1194" y="768"/>
                  </a:lnTo>
                  <a:lnTo>
                    <a:pt x="1194" y="774"/>
                  </a:lnTo>
                  <a:lnTo>
                    <a:pt x="1188" y="774"/>
                  </a:lnTo>
                  <a:lnTo>
                    <a:pt x="1182" y="780"/>
                  </a:lnTo>
                  <a:lnTo>
                    <a:pt x="1176" y="780"/>
                  </a:lnTo>
                  <a:lnTo>
                    <a:pt x="1170" y="780"/>
                  </a:lnTo>
                  <a:lnTo>
                    <a:pt x="1164" y="786"/>
                  </a:lnTo>
                  <a:lnTo>
                    <a:pt x="1158" y="786"/>
                  </a:lnTo>
                  <a:lnTo>
                    <a:pt x="1152" y="786"/>
                  </a:lnTo>
                  <a:lnTo>
                    <a:pt x="1140" y="786"/>
                  </a:lnTo>
                  <a:lnTo>
                    <a:pt x="1134" y="786"/>
                  </a:lnTo>
                  <a:lnTo>
                    <a:pt x="1134" y="780"/>
                  </a:lnTo>
                  <a:lnTo>
                    <a:pt x="1122" y="780"/>
                  </a:lnTo>
                  <a:lnTo>
                    <a:pt x="1116" y="786"/>
                  </a:lnTo>
                  <a:lnTo>
                    <a:pt x="1116" y="792"/>
                  </a:lnTo>
                  <a:lnTo>
                    <a:pt x="1122" y="804"/>
                  </a:lnTo>
                  <a:lnTo>
                    <a:pt x="1128" y="804"/>
                  </a:lnTo>
                  <a:lnTo>
                    <a:pt x="1128" y="816"/>
                  </a:lnTo>
                  <a:lnTo>
                    <a:pt x="1122" y="822"/>
                  </a:lnTo>
                  <a:lnTo>
                    <a:pt x="1116" y="816"/>
                  </a:lnTo>
                  <a:lnTo>
                    <a:pt x="1110" y="816"/>
                  </a:lnTo>
                  <a:lnTo>
                    <a:pt x="1104" y="816"/>
                  </a:lnTo>
                  <a:lnTo>
                    <a:pt x="1098" y="816"/>
                  </a:lnTo>
                  <a:lnTo>
                    <a:pt x="1098" y="822"/>
                  </a:lnTo>
                  <a:lnTo>
                    <a:pt x="1092" y="834"/>
                  </a:lnTo>
                  <a:lnTo>
                    <a:pt x="1092" y="840"/>
                  </a:lnTo>
                  <a:lnTo>
                    <a:pt x="1074" y="840"/>
                  </a:lnTo>
                  <a:lnTo>
                    <a:pt x="1074" y="828"/>
                  </a:lnTo>
                  <a:lnTo>
                    <a:pt x="1062" y="804"/>
                  </a:lnTo>
                  <a:lnTo>
                    <a:pt x="1056" y="792"/>
                  </a:lnTo>
                  <a:lnTo>
                    <a:pt x="1056" y="786"/>
                  </a:lnTo>
                  <a:lnTo>
                    <a:pt x="1026" y="780"/>
                  </a:lnTo>
                  <a:lnTo>
                    <a:pt x="1026" y="768"/>
                  </a:lnTo>
                  <a:lnTo>
                    <a:pt x="1008" y="768"/>
                  </a:lnTo>
                  <a:lnTo>
                    <a:pt x="1002" y="780"/>
                  </a:lnTo>
                  <a:lnTo>
                    <a:pt x="996" y="792"/>
                  </a:lnTo>
                  <a:lnTo>
                    <a:pt x="978" y="798"/>
                  </a:lnTo>
                  <a:lnTo>
                    <a:pt x="972" y="810"/>
                  </a:lnTo>
                  <a:lnTo>
                    <a:pt x="972" y="822"/>
                  </a:lnTo>
                  <a:lnTo>
                    <a:pt x="978" y="828"/>
                  </a:lnTo>
                  <a:lnTo>
                    <a:pt x="978" y="834"/>
                  </a:lnTo>
                  <a:lnTo>
                    <a:pt x="960" y="840"/>
                  </a:lnTo>
                  <a:lnTo>
                    <a:pt x="936" y="840"/>
                  </a:lnTo>
                  <a:lnTo>
                    <a:pt x="918" y="846"/>
                  </a:lnTo>
                  <a:lnTo>
                    <a:pt x="912" y="840"/>
                  </a:lnTo>
                  <a:lnTo>
                    <a:pt x="912" y="834"/>
                  </a:lnTo>
                  <a:lnTo>
                    <a:pt x="906" y="834"/>
                  </a:lnTo>
                  <a:lnTo>
                    <a:pt x="906" y="840"/>
                  </a:lnTo>
                  <a:lnTo>
                    <a:pt x="900" y="846"/>
                  </a:lnTo>
                  <a:lnTo>
                    <a:pt x="906" y="852"/>
                  </a:lnTo>
                  <a:lnTo>
                    <a:pt x="900" y="864"/>
                  </a:lnTo>
                  <a:lnTo>
                    <a:pt x="900" y="876"/>
                  </a:lnTo>
                  <a:lnTo>
                    <a:pt x="900" y="882"/>
                  </a:lnTo>
                  <a:lnTo>
                    <a:pt x="894" y="888"/>
                  </a:lnTo>
                  <a:lnTo>
                    <a:pt x="900" y="900"/>
                  </a:lnTo>
                  <a:lnTo>
                    <a:pt x="900" y="906"/>
                  </a:lnTo>
                  <a:lnTo>
                    <a:pt x="894" y="906"/>
                  </a:lnTo>
                  <a:lnTo>
                    <a:pt x="894" y="912"/>
                  </a:lnTo>
                  <a:lnTo>
                    <a:pt x="900" y="918"/>
                  </a:lnTo>
                  <a:lnTo>
                    <a:pt x="900" y="924"/>
                  </a:lnTo>
                  <a:lnTo>
                    <a:pt x="900" y="948"/>
                  </a:lnTo>
                  <a:lnTo>
                    <a:pt x="888" y="948"/>
                  </a:lnTo>
                  <a:lnTo>
                    <a:pt x="888" y="954"/>
                  </a:lnTo>
                  <a:lnTo>
                    <a:pt x="894" y="954"/>
                  </a:lnTo>
                  <a:lnTo>
                    <a:pt x="900" y="960"/>
                  </a:lnTo>
                  <a:lnTo>
                    <a:pt x="900" y="972"/>
                  </a:lnTo>
                  <a:lnTo>
                    <a:pt x="906" y="984"/>
                  </a:lnTo>
                  <a:lnTo>
                    <a:pt x="912" y="984"/>
                  </a:lnTo>
                  <a:lnTo>
                    <a:pt x="918" y="990"/>
                  </a:lnTo>
                  <a:lnTo>
                    <a:pt x="936" y="990"/>
                  </a:lnTo>
                  <a:lnTo>
                    <a:pt x="936" y="996"/>
                  </a:lnTo>
                  <a:lnTo>
                    <a:pt x="942" y="996"/>
                  </a:lnTo>
                  <a:lnTo>
                    <a:pt x="942" y="1002"/>
                  </a:lnTo>
                  <a:lnTo>
                    <a:pt x="942" y="1008"/>
                  </a:lnTo>
                  <a:lnTo>
                    <a:pt x="948" y="1008"/>
                  </a:lnTo>
                  <a:lnTo>
                    <a:pt x="948" y="1014"/>
                  </a:lnTo>
                  <a:lnTo>
                    <a:pt x="948" y="1020"/>
                  </a:lnTo>
                  <a:lnTo>
                    <a:pt x="954" y="1032"/>
                  </a:lnTo>
                  <a:lnTo>
                    <a:pt x="948" y="1038"/>
                  </a:lnTo>
                  <a:lnTo>
                    <a:pt x="954" y="1044"/>
                  </a:lnTo>
                  <a:lnTo>
                    <a:pt x="954" y="1056"/>
                  </a:lnTo>
                  <a:lnTo>
                    <a:pt x="960" y="1056"/>
                  </a:lnTo>
                  <a:lnTo>
                    <a:pt x="960" y="1062"/>
                  </a:lnTo>
                  <a:lnTo>
                    <a:pt x="954" y="1068"/>
                  </a:lnTo>
                  <a:lnTo>
                    <a:pt x="948" y="1074"/>
                  </a:lnTo>
                  <a:lnTo>
                    <a:pt x="948" y="1080"/>
                  </a:lnTo>
                  <a:lnTo>
                    <a:pt x="948" y="1086"/>
                  </a:lnTo>
                  <a:lnTo>
                    <a:pt x="942" y="1092"/>
                  </a:lnTo>
                  <a:lnTo>
                    <a:pt x="942" y="1098"/>
                  </a:lnTo>
                  <a:lnTo>
                    <a:pt x="942" y="1104"/>
                  </a:lnTo>
                  <a:lnTo>
                    <a:pt x="942" y="1110"/>
                  </a:lnTo>
                  <a:lnTo>
                    <a:pt x="936" y="1116"/>
                  </a:lnTo>
                  <a:lnTo>
                    <a:pt x="936" y="1122"/>
                  </a:lnTo>
                  <a:lnTo>
                    <a:pt x="936" y="1128"/>
                  </a:lnTo>
                  <a:lnTo>
                    <a:pt x="936" y="1134"/>
                  </a:lnTo>
                  <a:lnTo>
                    <a:pt x="942" y="1146"/>
                  </a:lnTo>
                  <a:lnTo>
                    <a:pt x="936" y="1158"/>
                  </a:lnTo>
                  <a:lnTo>
                    <a:pt x="936" y="1170"/>
                  </a:lnTo>
                  <a:lnTo>
                    <a:pt x="936" y="1194"/>
                  </a:lnTo>
                  <a:lnTo>
                    <a:pt x="930" y="1200"/>
                  </a:lnTo>
                  <a:lnTo>
                    <a:pt x="930" y="1212"/>
                  </a:lnTo>
                  <a:lnTo>
                    <a:pt x="918" y="1218"/>
                  </a:lnTo>
                  <a:lnTo>
                    <a:pt x="918" y="1230"/>
                  </a:lnTo>
                  <a:lnTo>
                    <a:pt x="906" y="1230"/>
                  </a:lnTo>
                  <a:lnTo>
                    <a:pt x="900" y="1254"/>
                  </a:lnTo>
                  <a:lnTo>
                    <a:pt x="900" y="1260"/>
                  </a:lnTo>
                  <a:lnTo>
                    <a:pt x="900" y="1266"/>
                  </a:lnTo>
                  <a:lnTo>
                    <a:pt x="900" y="1272"/>
                  </a:lnTo>
                  <a:lnTo>
                    <a:pt x="900" y="1278"/>
                  </a:lnTo>
                  <a:lnTo>
                    <a:pt x="900" y="1284"/>
                  </a:lnTo>
                  <a:lnTo>
                    <a:pt x="906" y="129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1" name="Freeform 26">
              <a:extLst>
                <a:ext uri="{FF2B5EF4-FFF2-40B4-BE49-F238E27FC236}">
                  <a16:creationId xmlns:a16="http://schemas.microsoft.com/office/drawing/2014/main" id="{25725EFE-FE00-49A8-A87A-6752B785C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79173" y="3477313"/>
              <a:ext cx="650731" cy="559125"/>
            </a:xfrm>
            <a:custGeom>
              <a:avLst/>
              <a:gdLst>
                <a:gd name="T0" fmla="*/ 95 w 1224"/>
                <a:gd name="T1" fmla="*/ 89 h 1050"/>
                <a:gd name="T2" fmla="*/ 90 w 1224"/>
                <a:gd name="T3" fmla="*/ 84 h 1050"/>
                <a:gd name="T4" fmla="*/ 84 w 1224"/>
                <a:gd name="T5" fmla="*/ 83 h 1050"/>
                <a:gd name="T6" fmla="*/ 82 w 1224"/>
                <a:gd name="T7" fmla="*/ 80 h 1050"/>
                <a:gd name="T8" fmla="*/ 85 w 1224"/>
                <a:gd name="T9" fmla="*/ 77 h 1050"/>
                <a:gd name="T10" fmla="*/ 81 w 1224"/>
                <a:gd name="T11" fmla="*/ 76 h 1050"/>
                <a:gd name="T12" fmla="*/ 77 w 1224"/>
                <a:gd name="T13" fmla="*/ 77 h 1050"/>
                <a:gd name="T14" fmla="*/ 78 w 1224"/>
                <a:gd name="T15" fmla="*/ 73 h 1050"/>
                <a:gd name="T16" fmla="*/ 59 w 1224"/>
                <a:gd name="T17" fmla="*/ 71 h 1050"/>
                <a:gd name="T18" fmla="*/ 41 w 1224"/>
                <a:gd name="T19" fmla="*/ 73 h 1050"/>
                <a:gd name="T20" fmla="*/ 33 w 1224"/>
                <a:gd name="T21" fmla="*/ 71 h 1050"/>
                <a:gd name="T22" fmla="*/ 30 w 1224"/>
                <a:gd name="T23" fmla="*/ 75 h 1050"/>
                <a:gd name="T24" fmla="*/ 27 w 1224"/>
                <a:gd name="T25" fmla="*/ 80 h 1050"/>
                <a:gd name="T26" fmla="*/ 12 w 1224"/>
                <a:gd name="T27" fmla="*/ 81 h 1050"/>
                <a:gd name="T28" fmla="*/ 9 w 1224"/>
                <a:gd name="T29" fmla="*/ 84 h 1050"/>
                <a:gd name="T30" fmla="*/ 6 w 1224"/>
                <a:gd name="T31" fmla="*/ 83 h 1050"/>
                <a:gd name="T32" fmla="*/ 1 w 1224"/>
                <a:gd name="T33" fmla="*/ 83 h 1050"/>
                <a:gd name="T34" fmla="*/ 3 w 1224"/>
                <a:gd name="T35" fmla="*/ 77 h 1050"/>
                <a:gd name="T36" fmla="*/ 5 w 1224"/>
                <a:gd name="T37" fmla="*/ 70 h 1050"/>
                <a:gd name="T38" fmla="*/ 2 w 1224"/>
                <a:gd name="T39" fmla="*/ 65 h 1050"/>
                <a:gd name="T40" fmla="*/ 3 w 1224"/>
                <a:gd name="T41" fmla="*/ 58 h 1050"/>
                <a:gd name="T42" fmla="*/ 4 w 1224"/>
                <a:gd name="T43" fmla="*/ 51 h 1050"/>
                <a:gd name="T44" fmla="*/ 3 w 1224"/>
                <a:gd name="T45" fmla="*/ 47 h 1050"/>
                <a:gd name="T46" fmla="*/ 4 w 1224"/>
                <a:gd name="T47" fmla="*/ 39 h 1050"/>
                <a:gd name="T48" fmla="*/ 6 w 1224"/>
                <a:gd name="T49" fmla="*/ 29 h 1050"/>
                <a:gd name="T50" fmla="*/ 3 w 1224"/>
                <a:gd name="T51" fmla="*/ 22 h 1050"/>
                <a:gd name="T52" fmla="*/ 2 w 1224"/>
                <a:gd name="T53" fmla="*/ 14 h 1050"/>
                <a:gd name="T54" fmla="*/ 0 w 1224"/>
                <a:gd name="T55" fmla="*/ 6 h 1050"/>
                <a:gd name="T56" fmla="*/ 9 w 1224"/>
                <a:gd name="T57" fmla="*/ 1 h 1050"/>
                <a:gd name="T58" fmla="*/ 11 w 1224"/>
                <a:gd name="T59" fmla="*/ 8 h 1050"/>
                <a:gd name="T60" fmla="*/ 15 w 1224"/>
                <a:gd name="T61" fmla="*/ 9 h 1050"/>
                <a:gd name="T62" fmla="*/ 18 w 1224"/>
                <a:gd name="T63" fmla="*/ 8 h 1050"/>
                <a:gd name="T64" fmla="*/ 18 w 1224"/>
                <a:gd name="T65" fmla="*/ 13 h 1050"/>
                <a:gd name="T66" fmla="*/ 17 w 1224"/>
                <a:gd name="T67" fmla="*/ 15 h 1050"/>
                <a:gd name="T68" fmla="*/ 17 w 1224"/>
                <a:gd name="T69" fmla="*/ 17 h 1050"/>
                <a:gd name="T70" fmla="*/ 17 w 1224"/>
                <a:gd name="T71" fmla="*/ 21 h 1050"/>
                <a:gd name="T72" fmla="*/ 21 w 1224"/>
                <a:gd name="T73" fmla="*/ 25 h 1050"/>
                <a:gd name="T74" fmla="*/ 24 w 1224"/>
                <a:gd name="T75" fmla="*/ 31 h 1050"/>
                <a:gd name="T76" fmla="*/ 35 w 1224"/>
                <a:gd name="T77" fmla="*/ 34 h 1050"/>
                <a:gd name="T78" fmla="*/ 40 w 1224"/>
                <a:gd name="T79" fmla="*/ 27 h 1050"/>
                <a:gd name="T80" fmla="*/ 46 w 1224"/>
                <a:gd name="T81" fmla="*/ 30 h 1050"/>
                <a:gd name="T82" fmla="*/ 51 w 1224"/>
                <a:gd name="T83" fmla="*/ 27 h 1050"/>
                <a:gd name="T84" fmla="*/ 59 w 1224"/>
                <a:gd name="T85" fmla="*/ 39 h 1050"/>
                <a:gd name="T86" fmla="*/ 59 w 1224"/>
                <a:gd name="T87" fmla="*/ 45 h 1050"/>
                <a:gd name="T88" fmla="*/ 72 w 1224"/>
                <a:gd name="T89" fmla="*/ 45 h 1050"/>
                <a:gd name="T90" fmla="*/ 79 w 1224"/>
                <a:gd name="T91" fmla="*/ 44 h 1050"/>
                <a:gd name="T92" fmla="*/ 87 w 1224"/>
                <a:gd name="T93" fmla="*/ 48 h 1050"/>
                <a:gd name="T94" fmla="*/ 93 w 1224"/>
                <a:gd name="T95" fmla="*/ 50 h 1050"/>
                <a:gd name="T96" fmla="*/ 98 w 1224"/>
                <a:gd name="T97" fmla="*/ 51 h 1050"/>
                <a:gd name="T98" fmla="*/ 106 w 1224"/>
                <a:gd name="T99" fmla="*/ 50 h 1050"/>
                <a:gd name="T100" fmla="*/ 104 w 1224"/>
                <a:gd name="T101" fmla="*/ 54 h 1050"/>
                <a:gd name="T102" fmla="*/ 104 w 1224"/>
                <a:gd name="T103" fmla="*/ 60 h 1050"/>
                <a:gd name="T104" fmla="*/ 101 w 1224"/>
                <a:gd name="T105" fmla="*/ 63 h 1050"/>
                <a:gd name="T106" fmla="*/ 98 w 1224"/>
                <a:gd name="T107" fmla="*/ 66 h 1050"/>
                <a:gd name="T108" fmla="*/ 95 w 1224"/>
                <a:gd name="T109" fmla="*/ 68 h 1050"/>
                <a:gd name="T110" fmla="*/ 93 w 1224"/>
                <a:gd name="T111" fmla="*/ 72 h 1050"/>
                <a:gd name="T112" fmla="*/ 98 w 1224"/>
                <a:gd name="T113" fmla="*/ 75 h 1050"/>
                <a:gd name="T114" fmla="*/ 102 w 1224"/>
                <a:gd name="T115" fmla="*/ 77 h 1050"/>
                <a:gd name="T116" fmla="*/ 107 w 1224"/>
                <a:gd name="T117" fmla="*/ 76 h 1050"/>
                <a:gd name="T118" fmla="*/ 104 w 1224"/>
                <a:gd name="T119" fmla="*/ 84 h 1050"/>
                <a:gd name="T120" fmla="*/ 103 w 1224"/>
                <a:gd name="T121" fmla="*/ 87 h 1050"/>
                <a:gd name="T122" fmla="*/ 104 w 1224"/>
                <a:gd name="T123" fmla="*/ 91 h 105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24"/>
                <a:gd name="T187" fmla="*/ 0 h 1050"/>
                <a:gd name="T188" fmla="*/ 1224 w 1224"/>
                <a:gd name="T189" fmla="*/ 1050 h 105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24" h="1050">
                  <a:moveTo>
                    <a:pt x="1128" y="1032"/>
                  </a:moveTo>
                  <a:lnTo>
                    <a:pt x="1122" y="1026"/>
                  </a:lnTo>
                  <a:lnTo>
                    <a:pt x="1116" y="1026"/>
                  </a:lnTo>
                  <a:lnTo>
                    <a:pt x="1110" y="1026"/>
                  </a:lnTo>
                  <a:lnTo>
                    <a:pt x="1104" y="1026"/>
                  </a:lnTo>
                  <a:lnTo>
                    <a:pt x="1104" y="1020"/>
                  </a:lnTo>
                  <a:lnTo>
                    <a:pt x="1098" y="1020"/>
                  </a:lnTo>
                  <a:lnTo>
                    <a:pt x="1092" y="1020"/>
                  </a:lnTo>
                  <a:lnTo>
                    <a:pt x="1086" y="1020"/>
                  </a:lnTo>
                  <a:lnTo>
                    <a:pt x="1080" y="1014"/>
                  </a:lnTo>
                  <a:lnTo>
                    <a:pt x="1068" y="1014"/>
                  </a:lnTo>
                  <a:lnTo>
                    <a:pt x="1062" y="1014"/>
                  </a:lnTo>
                  <a:lnTo>
                    <a:pt x="1062" y="1008"/>
                  </a:lnTo>
                  <a:lnTo>
                    <a:pt x="1062" y="990"/>
                  </a:lnTo>
                  <a:lnTo>
                    <a:pt x="1062" y="984"/>
                  </a:lnTo>
                  <a:lnTo>
                    <a:pt x="1062" y="972"/>
                  </a:lnTo>
                  <a:lnTo>
                    <a:pt x="1044" y="966"/>
                  </a:lnTo>
                  <a:lnTo>
                    <a:pt x="1026" y="966"/>
                  </a:lnTo>
                  <a:lnTo>
                    <a:pt x="1014" y="966"/>
                  </a:lnTo>
                  <a:lnTo>
                    <a:pt x="996" y="966"/>
                  </a:lnTo>
                  <a:lnTo>
                    <a:pt x="996" y="972"/>
                  </a:lnTo>
                  <a:lnTo>
                    <a:pt x="990" y="972"/>
                  </a:lnTo>
                  <a:lnTo>
                    <a:pt x="984" y="966"/>
                  </a:lnTo>
                  <a:lnTo>
                    <a:pt x="978" y="966"/>
                  </a:lnTo>
                  <a:lnTo>
                    <a:pt x="978" y="960"/>
                  </a:lnTo>
                  <a:lnTo>
                    <a:pt x="972" y="954"/>
                  </a:lnTo>
                  <a:lnTo>
                    <a:pt x="966" y="954"/>
                  </a:lnTo>
                  <a:lnTo>
                    <a:pt x="960" y="954"/>
                  </a:lnTo>
                  <a:lnTo>
                    <a:pt x="954" y="954"/>
                  </a:lnTo>
                  <a:lnTo>
                    <a:pt x="954" y="948"/>
                  </a:lnTo>
                  <a:lnTo>
                    <a:pt x="942" y="942"/>
                  </a:lnTo>
                  <a:lnTo>
                    <a:pt x="936" y="942"/>
                  </a:lnTo>
                  <a:lnTo>
                    <a:pt x="936" y="936"/>
                  </a:lnTo>
                  <a:lnTo>
                    <a:pt x="936" y="930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42" y="918"/>
                  </a:lnTo>
                  <a:lnTo>
                    <a:pt x="948" y="918"/>
                  </a:lnTo>
                  <a:lnTo>
                    <a:pt x="960" y="918"/>
                  </a:lnTo>
                  <a:lnTo>
                    <a:pt x="966" y="912"/>
                  </a:lnTo>
                  <a:lnTo>
                    <a:pt x="978" y="906"/>
                  </a:lnTo>
                  <a:lnTo>
                    <a:pt x="978" y="900"/>
                  </a:lnTo>
                  <a:lnTo>
                    <a:pt x="978" y="894"/>
                  </a:lnTo>
                  <a:lnTo>
                    <a:pt x="978" y="888"/>
                  </a:lnTo>
                  <a:lnTo>
                    <a:pt x="972" y="888"/>
                  </a:lnTo>
                  <a:lnTo>
                    <a:pt x="978" y="888"/>
                  </a:lnTo>
                  <a:lnTo>
                    <a:pt x="978" y="882"/>
                  </a:lnTo>
                  <a:lnTo>
                    <a:pt x="972" y="876"/>
                  </a:lnTo>
                  <a:lnTo>
                    <a:pt x="966" y="870"/>
                  </a:lnTo>
                  <a:lnTo>
                    <a:pt x="954" y="876"/>
                  </a:lnTo>
                  <a:lnTo>
                    <a:pt x="948" y="876"/>
                  </a:lnTo>
                  <a:lnTo>
                    <a:pt x="942" y="870"/>
                  </a:lnTo>
                  <a:lnTo>
                    <a:pt x="936" y="876"/>
                  </a:lnTo>
                  <a:lnTo>
                    <a:pt x="930" y="876"/>
                  </a:lnTo>
                  <a:lnTo>
                    <a:pt x="924" y="882"/>
                  </a:lnTo>
                  <a:lnTo>
                    <a:pt x="912" y="888"/>
                  </a:lnTo>
                  <a:lnTo>
                    <a:pt x="906" y="894"/>
                  </a:lnTo>
                  <a:lnTo>
                    <a:pt x="900" y="900"/>
                  </a:lnTo>
                  <a:lnTo>
                    <a:pt x="894" y="888"/>
                  </a:lnTo>
                  <a:lnTo>
                    <a:pt x="888" y="894"/>
                  </a:lnTo>
                  <a:lnTo>
                    <a:pt x="882" y="888"/>
                  </a:lnTo>
                  <a:lnTo>
                    <a:pt x="876" y="894"/>
                  </a:lnTo>
                  <a:lnTo>
                    <a:pt x="876" y="888"/>
                  </a:lnTo>
                  <a:lnTo>
                    <a:pt x="876" y="882"/>
                  </a:lnTo>
                  <a:lnTo>
                    <a:pt x="876" y="876"/>
                  </a:lnTo>
                  <a:lnTo>
                    <a:pt x="870" y="858"/>
                  </a:lnTo>
                  <a:lnTo>
                    <a:pt x="864" y="858"/>
                  </a:lnTo>
                  <a:lnTo>
                    <a:pt x="870" y="852"/>
                  </a:lnTo>
                  <a:lnTo>
                    <a:pt x="870" y="846"/>
                  </a:lnTo>
                  <a:lnTo>
                    <a:pt x="876" y="846"/>
                  </a:lnTo>
                  <a:lnTo>
                    <a:pt x="882" y="846"/>
                  </a:lnTo>
                  <a:lnTo>
                    <a:pt x="888" y="840"/>
                  </a:lnTo>
                  <a:lnTo>
                    <a:pt x="894" y="834"/>
                  </a:lnTo>
                  <a:lnTo>
                    <a:pt x="894" y="828"/>
                  </a:lnTo>
                  <a:lnTo>
                    <a:pt x="894" y="816"/>
                  </a:lnTo>
                  <a:lnTo>
                    <a:pt x="858" y="810"/>
                  </a:lnTo>
                  <a:lnTo>
                    <a:pt x="858" y="816"/>
                  </a:lnTo>
                  <a:lnTo>
                    <a:pt x="852" y="816"/>
                  </a:lnTo>
                  <a:lnTo>
                    <a:pt x="780" y="816"/>
                  </a:lnTo>
                  <a:lnTo>
                    <a:pt x="750" y="816"/>
                  </a:lnTo>
                  <a:lnTo>
                    <a:pt x="684" y="816"/>
                  </a:lnTo>
                  <a:lnTo>
                    <a:pt x="636" y="816"/>
                  </a:lnTo>
                  <a:lnTo>
                    <a:pt x="612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0" y="816"/>
                  </a:lnTo>
                  <a:lnTo>
                    <a:pt x="480" y="822"/>
                  </a:lnTo>
                  <a:lnTo>
                    <a:pt x="480" y="834"/>
                  </a:lnTo>
                  <a:lnTo>
                    <a:pt x="474" y="840"/>
                  </a:lnTo>
                  <a:lnTo>
                    <a:pt x="468" y="840"/>
                  </a:lnTo>
                  <a:lnTo>
                    <a:pt x="432" y="840"/>
                  </a:lnTo>
                  <a:lnTo>
                    <a:pt x="426" y="834"/>
                  </a:lnTo>
                  <a:lnTo>
                    <a:pt x="420" y="834"/>
                  </a:lnTo>
                  <a:lnTo>
                    <a:pt x="420" y="828"/>
                  </a:lnTo>
                  <a:lnTo>
                    <a:pt x="414" y="822"/>
                  </a:lnTo>
                  <a:lnTo>
                    <a:pt x="408" y="822"/>
                  </a:lnTo>
                  <a:lnTo>
                    <a:pt x="396" y="822"/>
                  </a:lnTo>
                  <a:lnTo>
                    <a:pt x="396" y="816"/>
                  </a:lnTo>
                  <a:lnTo>
                    <a:pt x="384" y="816"/>
                  </a:lnTo>
                  <a:lnTo>
                    <a:pt x="372" y="810"/>
                  </a:lnTo>
                  <a:lnTo>
                    <a:pt x="372" y="804"/>
                  </a:lnTo>
                  <a:lnTo>
                    <a:pt x="366" y="804"/>
                  </a:lnTo>
                  <a:lnTo>
                    <a:pt x="360" y="804"/>
                  </a:lnTo>
                  <a:lnTo>
                    <a:pt x="348" y="828"/>
                  </a:lnTo>
                  <a:lnTo>
                    <a:pt x="348" y="834"/>
                  </a:lnTo>
                  <a:lnTo>
                    <a:pt x="348" y="852"/>
                  </a:lnTo>
                  <a:lnTo>
                    <a:pt x="348" y="858"/>
                  </a:lnTo>
                  <a:lnTo>
                    <a:pt x="342" y="864"/>
                  </a:lnTo>
                  <a:lnTo>
                    <a:pt x="342" y="870"/>
                  </a:lnTo>
                  <a:lnTo>
                    <a:pt x="330" y="876"/>
                  </a:lnTo>
                  <a:lnTo>
                    <a:pt x="324" y="888"/>
                  </a:lnTo>
                  <a:lnTo>
                    <a:pt x="324" y="894"/>
                  </a:lnTo>
                  <a:lnTo>
                    <a:pt x="330" y="900"/>
                  </a:lnTo>
                  <a:lnTo>
                    <a:pt x="330" y="906"/>
                  </a:lnTo>
                  <a:lnTo>
                    <a:pt x="324" y="906"/>
                  </a:lnTo>
                  <a:lnTo>
                    <a:pt x="318" y="912"/>
                  </a:lnTo>
                  <a:lnTo>
                    <a:pt x="312" y="918"/>
                  </a:lnTo>
                  <a:lnTo>
                    <a:pt x="306" y="924"/>
                  </a:lnTo>
                  <a:lnTo>
                    <a:pt x="288" y="924"/>
                  </a:lnTo>
                  <a:lnTo>
                    <a:pt x="282" y="924"/>
                  </a:lnTo>
                  <a:lnTo>
                    <a:pt x="276" y="930"/>
                  </a:lnTo>
                  <a:lnTo>
                    <a:pt x="270" y="930"/>
                  </a:lnTo>
                  <a:lnTo>
                    <a:pt x="264" y="930"/>
                  </a:lnTo>
                  <a:lnTo>
                    <a:pt x="198" y="930"/>
                  </a:lnTo>
                  <a:lnTo>
                    <a:pt x="132" y="930"/>
                  </a:lnTo>
                  <a:lnTo>
                    <a:pt x="132" y="936"/>
                  </a:lnTo>
                  <a:lnTo>
                    <a:pt x="132" y="942"/>
                  </a:lnTo>
                  <a:lnTo>
                    <a:pt x="132" y="948"/>
                  </a:lnTo>
                  <a:lnTo>
                    <a:pt x="126" y="948"/>
                  </a:lnTo>
                  <a:lnTo>
                    <a:pt x="120" y="948"/>
                  </a:lnTo>
                  <a:lnTo>
                    <a:pt x="120" y="954"/>
                  </a:lnTo>
                  <a:lnTo>
                    <a:pt x="114" y="954"/>
                  </a:lnTo>
                  <a:lnTo>
                    <a:pt x="114" y="960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02" y="966"/>
                  </a:lnTo>
                  <a:lnTo>
                    <a:pt x="102" y="972"/>
                  </a:lnTo>
                  <a:lnTo>
                    <a:pt x="96" y="972"/>
                  </a:lnTo>
                  <a:lnTo>
                    <a:pt x="96" y="966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78" y="960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60"/>
                  </a:lnTo>
                  <a:lnTo>
                    <a:pt x="54" y="966"/>
                  </a:lnTo>
                  <a:lnTo>
                    <a:pt x="48" y="966"/>
                  </a:lnTo>
                  <a:lnTo>
                    <a:pt x="42" y="966"/>
                  </a:lnTo>
                  <a:lnTo>
                    <a:pt x="36" y="966"/>
                  </a:lnTo>
                  <a:lnTo>
                    <a:pt x="30" y="966"/>
                  </a:lnTo>
                  <a:lnTo>
                    <a:pt x="24" y="960"/>
                  </a:lnTo>
                  <a:lnTo>
                    <a:pt x="18" y="960"/>
                  </a:lnTo>
                  <a:lnTo>
                    <a:pt x="12" y="960"/>
                  </a:lnTo>
                  <a:lnTo>
                    <a:pt x="12" y="948"/>
                  </a:lnTo>
                  <a:lnTo>
                    <a:pt x="18" y="942"/>
                  </a:lnTo>
                  <a:lnTo>
                    <a:pt x="18" y="936"/>
                  </a:lnTo>
                  <a:lnTo>
                    <a:pt x="18" y="930"/>
                  </a:lnTo>
                  <a:lnTo>
                    <a:pt x="18" y="924"/>
                  </a:lnTo>
                  <a:lnTo>
                    <a:pt x="18" y="912"/>
                  </a:lnTo>
                  <a:lnTo>
                    <a:pt x="24" y="906"/>
                  </a:lnTo>
                  <a:lnTo>
                    <a:pt x="30" y="900"/>
                  </a:lnTo>
                  <a:lnTo>
                    <a:pt x="36" y="894"/>
                  </a:lnTo>
                  <a:lnTo>
                    <a:pt x="36" y="882"/>
                  </a:lnTo>
                  <a:lnTo>
                    <a:pt x="30" y="876"/>
                  </a:lnTo>
                  <a:lnTo>
                    <a:pt x="30" y="870"/>
                  </a:lnTo>
                  <a:lnTo>
                    <a:pt x="24" y="858"/>
                  </a:lnTo>
                  <a:lnTo>
                    <a:pt x="24" y="846"/>
                  </a:lnTo>
                  <a:lnTo>
                    <a:pt x="36" y="822"/>
                  </a:lnTo>
                  <a:lnTo>
                    <a:pt x="42" y="816"/>
                  </a:lnTo>
                  <a:lnTo>
                    <a:pt x="48" y="816"/>
                  </a:lnTo>
                  <a:lnTo>
                    <a:pt x="60" y="804"/>
                  </a:lnTo>
                  <a:lnTo>
                    <a:pt x="60" y="786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54" y="762"/>
                  </a:lnTo>
                  <a:lnTo>
                    <a:pt x="42" y="762"/>
                  </a:lnTo>
                  <a:lnTo>
                    <a:pt x="36" y="762"/>
                  </a:lnTo>
                  <a:lnTo>
                    <a:pt x="30" y="762"/>
                  </a:lnTo>
                  <a:lnTo>
                    <a:pt x="30" y="756"/>
                  </a:lnTo>
                  <a:lnTo>
                    <a:pt x="24" y="750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702"/>
                  </a:lnTo>
                  <a:lnTo>
                    <a:pt x="36" y="684"/>
                  </a:lnTo>
                  <a:lnTo>
                    <a:pt x="36" y="678"/>
                  </a:lnTo>
                  <a:lnTo>
                    <a:pt x="36" y="666"/>
                  </a:lnTo>
                  <a:lnTo>
                    <a:pt x="36" y="654"/>
                  </a:lnTo>
                  <a:lnTo>
                    <a:pt x="18" y="654"/>
                  </a:lnTo>
                  <a:lnTo>
                    <a:pt x="18" y="648"/>
                  </a:lnTo>
                  <a:lnTo>
                    <a:pt x="18" y="618"/>
                  </a:lnTo>
                  <a:lnTo>
                    <a:pt x="18" y="612"/>
                  </a:lnTo>
                  <a:lnTo>
                    <a:pt x="24" y="612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54" y="588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76"/>
                  </a:lnTo>
                  <a:lnTo>
                    <a:pt x="48" y="564"/>
                  </a:lnTo>
                  <a:lnTo>
                    <a:pt x="42" y="564"/>
                  </a:lnTo>
                  <a:lnTo>
                    <a:pt x="36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6" y="540"/>
                  </a:lnTo>
                  <a:lnTo>
                    <a:pt x="48" y="534"/>
                  </a:lnTo>
                  <a:lnTo>
                    <a:pt x="54" y="528"/>
                  </a:lnTo>
                  <a:lnTo>
                    <a:pt x="60" y="504"/>
                  </a:lnTo>
                  <a:lnTo>
                    <a:pt x="60" y="492"/>
                  </a:lnTo>
                  <a:lnTo>
                    <a:pt x="54" y="492"/>
                  </a:lnTo>
                  <a:lnTo>
                    <a:pt x="54" y="480"/>
                  </a:lnTo>
                  <a:lnTo>
                    <a:pt x="48" y="456"/>
                  </a:lnTo>
                  <a:lnTo>
                    <a:pt x="42" y="450"/>
                  </a:lnTo>
                  <a:lnTo>
                    <a:pt x="36" y="444"/>
                  </a:lnTo>
                  <a:lnTo>
                    <a:pt x="36" y="420"/>
                  </a:lnTo>
                  <a:lnTo>
                    <a:pt x="36" y="408"/>
                  </a:lnTo>
                  <a:lnTo>
                    <a:pt x="36" y="37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60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6" y="300"/>
                  </a:lnTo>
                  <a:lnTo>
                    <a:pt x="60" y="294"/>
                  </a:lnTo>
                  <a:lnTo>
                    <a:pt x="60" y="288"/>
                  </a:lnTo>
                  <a:lnTo>
                    <a:pt x="54" y="282"/>
                  </a:lnTo>
                  <a:lnTo>
                    <a:pt x="42" y="276"/>
                  </a:lnTo>
                  <a:lnTo>
                    <a:pt x="36" y="276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0" y="252"/>
                  </a:lnTo>
                  <a:lnTo>
                    <a:pt x="24" y="246"/>
                  </a:lnTo>
                  <a:lnTo>
                    <a:pt x="24" y="240"/>
                  </a:lnTo>
                  <a:lnTo>
                    <a:pt x="24" y="228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62"/>
                  </a:lnTo>
                  <a:lnTo>
                    <a:pt x="24" y="144"/>
                  </a:lnTo>
                  <a:lnTo>
                    <a:pt x="24" y="132"/>
                  </a:lnTo>
                  <a:lnTo>
                    <a:pt x="24" y="114"/>
                  </a:lnTo>
                  <a:lnTo>
                    <a:pt x="24" y="102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18" y="48"/>
                  </a:lnTo>
                  <a:lnTo>
                    <a:pt x="42" y="36"/>
                  </a:lnTo>
                  <a:lnTo>
                    <a:pt x="54" y="24"/>
                  </a:lnTo>
                  <a:lnTo>
                    <a:pt x="60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10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14" y="60"/>
                  </a:lnTo>
                  <a:lnTo>
                    <a:pt x="120" y="60"/>
                  </a:lnTo>
                  <a:lnTo>
                    <a:pt x="114" y="84"/>
                  </a:lnTo>
                  <a:lnTo>
                    <a:pt x="120" y="90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38" y="114"/>
                  </a:lnTo>
                  <a:lnTo>
                    <a:pt x="138" y="132"/>
                  </a:lnTo>
                  <a:lnTo>
                    <a:pt x="162" y="126"/>
                  </a:lnTo>
                  <a:lnTo>
                    <a:pt x="162" y="114"/>
                  </a:lnTo>
                  <a:lnTo>
                    <a:pt x="174" y="108"/>
                  </a:lnTo>
                  <a:lnTo>
                    <a:pt x="174" y="102"/>
                  </a:lnTo>
                  <a:lnTo>
                    <a:pt x="180" y="96"/>
                  </a:lnTo>
                  <a:lnTo>
                    <a:pt x="180" y="60"/>
                  </a:lnTo>
                  <a:lnTo>
                    <a:pt x="192" y="60"/>
                  </a:lnTo>
                  <a:lnTo>
                    <a:pt x="192" y="72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04" y="108"/>
                  </a:lnTo>
                  <a:lnTo>
                    <a:pt x="204" y="114"/>
                  </a:lnTo>
                  <a:lnTo>
                    <a:pt x="204" y="120"/>
                  </a:lnTo>
                  <a:lnTo>
                    <a:pt x="204" y="126"/>
                  </a:lnTo>
                  <a:lnTo>
                    <a:pt x="210" y="126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8" y="174"/>
                  </a:lnTo>
                  <a:lnTo>
                    <a:pt x="198" y="180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86" y="204"/>
                  </a:lnTo>
                  <a:lnTo>
                    <a:pt x="186" y="210"/>
                  </a:lnTo>
                  <a:lnTo>
                    <a:pt x="180" y="210"/>
                  </a:lnTo>
                  <a:lnTo>
                    <a:pt x="180" y="216"/>
                  </a:lnTo>
                  <a:lnTo>
                    <a:pt x="180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92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8" y="258"/>
                  </a:lnTo>
                  <a:lnTo>
                    <a:pt x="204" y="258"/>
                  </a:lnTo>
                  <a:lnTo>
                    <a:pt x="210" y="258"/>
                  </a:lnTo>
                  <a:lnTo>
                    <a:pt x="216" y="258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34" y="276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46" y="306"/>
                  </a:lnTo>
                  <a:lnTo>
                    <a:pt x="252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42"/>
                  </a:lnTo>
                  <a:lnTo>
                    <a:pt x="270" y="342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88" y="366"/>
                  </a:lnTo>
                  <a:lnTo>
                    <a:pt x="336" y="360"/>
                  </a:lnTo>
                  <a:lnTo>
                    <a:pt x="354" y="360"/>
                  </a:lnTo>
                  <a:lnTo>
                    <a:pt x="366" y="372"/>
                  </a:lnTo>
                  <a:lnTo>
                    <a:pt x="378" y="378"/>
                  </a:lnTo>
                  <a:lnTo>
                    <a:pt x="378" y="390"/>
                  </a:lnTo>
                  <a:lnTo>
                    <a:pt x="384" y="390"/>
                  </a:lnTo>
                  <a:lnTo>
                    <a:pt x="390" y="396"/>
                  </a:lnTo>
                  <a:lnTo>
                    <a:pt x="408" y="390"/>
                  </a:lnTo>
                  <a:lnTo>
                    <a:pt x="426" y="366"/>
                  </a:lnTo>
                  <a:lnTo>
                    <a:pt x="432" y="360"/>
                  </a:lnTo>
                  <a:lnTo>
                    <a:pt x="438" y="348"/>
                  </a:lnTo>
                  <a:lnTo>
                    <a:pt x="438" y="342"/>
                  </a:lnTo>
                  <a:lnTo>
                    <a:pt x="438" y="330"/>
                  </a:lnTo>
                  <a:lnTo>
                    <a:pt x="444" y="324"/>
                  </a:lnTo>
                  <a:lnTo>
                    <a:pt x="450" y="318"/>
                  </a:lnTo>
                  <a:lnTo>
                    <a:pt x="456" y="312"/>
                  </a:lnTo>
                  <a:lnTo>
                    <a:pt x="456" y="306"/>
                  </a:lnTo>
                  <a:lnTo>
                    <a:pt x="456" y="300"/>
                  </a:lnTo>
                  <a:lnTo>
                    <a:pt x="474" y="288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92" y="294"/>
                  </a:lnTo>
                  <a:lnTo>
                    <a:pt x="492" y="318"/>
                  </a:lnTo>
                  <a:lnTo>
                    <a:pt x="504" y="324"/>
                  </a:lnTo>
                  <a:lnTo>
                    <a:pt x="492" y="348"/>
                  </a:lnTo>
                  <a:lnTo>
                    <a:pt x="522" y="348"/>
                  </a:lnTo>
                  <a:lnTo>
                    <a:pt x="528" y="342"/>
                  </a:lnTo>
                  <a:lnTo>
                    <a:pt x="528" y="336"/>
                  </a:lnTo>
                  <a:lnTo>
                    <a:pt x="528" y="330"/>
                  </a:lnTo>
                  <a:lnTo>
                    <a:pt x="534" y="330"/>
                  </a:lnTo>
                  <a:lnTo>
                    <a:pt x="540" y="330"/>
                  </a:lnTo>
                  <a:lnTo>
                    <a:pt x="546" y="330"/>
                  </a:lnTo>
                  <a:lnTo>
                    <a:pt x="552" y="324"/>
                  </a:lnTo>
                  <a:lnTo>
                    <a:pt x="558" y="318"/>
                  </a:lnTo>
                  <a:lnTo>
                    <a:pt x="576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8" y="348"/>
                  </a:lnTo>
                  <a:lnTo>
                    <a:pt x="654" y="354"/>
                  </a:lnTo>
                  <a:lnTo>
                    <a:pt x="648" y="402"/>
                  </a:lnTo>
                  <a:lnTo>
                    <a:pt x="678" y="402"/>
                  </a:lnTo>
                  <a:lnTo>
                    <a:pt x="678" y="420"/>
                  </a:lnTo>
                  <a:lnTo>
                    <a:pt x="684" y="438"/>
                  </a:lnTo>
                  <a:lnTo>
                    <a:pt x="684" y="450"/>
                  </a:lnTo>
                  <a:lnTo>
                    <a:pt x="684" y="456"/>
                  </a:lnTo>
                  <a:lnTo>
                    <a:pt x="690" y="468"/>
                  </a:lnTo>
                  <a:lnTo>
                    <a:pt x="690" y="474"/>
                  </a:lnTo>
                  <a:lnTo>
                    <a:pt x="690" y="480"/>
                  </a:lnTo>
                  <a:lnTo>
                    <a:pt x="696" y="486"/>
                  </a:lnTo>
                  <a:lnTo>
                    <a:pt x="696" y="498"/>
                  </a:lnTo>
                  <a:lnTo>
                    <a:pt x="702" y="504"/>
                  </a:lnTo>
                  <a:lnTo>
                    <a:pt x="690" y="516"/>
                  </a:lnTo>
                  <a:lnTo>
                    <a:pt x="678" y="522"/>
                  </a:lnTo>
                  <a:lnTo>
                    <a:pt x="654" y="528"/>
                  </a:lnTo>
                  <a:lnTo>
                    <a:pt x="660" y="546"/>
                  </a:lnTo>
                  <a:lnTo>
                    <a:pt x="672" y="546"/>
                  </a:lnTo>
                  <a:lnTo>
                    <a:pt x="678" y="540"/>
                  </a:lnTo>
                  <a:lnTo>
                    <a:pt x="714" y="540"/>
                  </a:lnTo>
                  <a:lnTo>
                    <a:pt x="798" y="540"/>
                  </a:lnTo>
                  <a:lnTo>
                    <a:pt x="804" y="540"/>
                  </a:lnTo>
                  <a:lnTo>
                    <a:pt x="816" y="528"/>
                  </a:lnTo>
                  <a:lnTo>
                    <a:pt x="822" y="522"/>
                  </a:lnTo>
                  <a:lnTo>
                    <a:pt x="834" y="516"/>
                  </a:lnTo>
                  <a:lnTo>
                    <a:pt x="846" y="516"/>
                  </a:lnTo>
                  <a:lnTo>
                    <a:pt x="852" y="510"/>
                  </a:lnTo>
                  <a:lnTo>
                    <a:pt x="858" y="510"/>
                  </a:lnTo>
                  <a:lnTo>
                    <a:pt x="882" y="516"/>
                  </a:lnTo>
                  <a:lnTo>
                    <a:pt x="888" y="516"/>
                  </a:lnTo>
                  <a:lnTo>
                    <a:pt x="888" y="510"/>
                  </a:lnTo>
                  <a:lnTo>
                    <a:pt x="894" y="510"/>
                  </a:lnTo>
                  <a:lnTo>
                    <a:pt x="906" y="504"/>
                  </a:lnTo>
                  <a:lnTo>
                    <a:pt x="918" y="498"/>
                  </a:lnTo>
                  <a:lnTo>
                    <a:pt x="930" y="492"/>
                  </a:lnTo>
                  <a:lnTo>
                    <a:pt x="936" y="492"/>
                  </a:lnTo>
                  <a:lnTo>
                    <a:pt x="948" y="492"/>
                  </a:lnTo>
                  <a:lnTo>
                    <a:pt x="954" y="528"/>
                  </a:lnTo>
                  <a:lnTo>
                    <a:pt x="954" y="564"/>
                  </a:lnTo>
                  <a:lnTo>
                    <a:pt x="972" y="564"/>
                  </a:lnTo>
                  <a:lnTo>
                    <a:pt x="978" y="558"/>
                  </a:lnTo>
                  <a:lnTo>
                    <a:pt x="990" y="552"/>
                  </a:lnTo>
                  <a:lnTo>
                    <a:pt x="1002" y="540"/>
                  </a:lnTo>
                  <a:lnTo>
                    <a:pt x="1026" y="534"/>
                  </a:lnTo>
                  <a:lnTo>
                    <a:pt x="1032" y="540"/>
                  </a:lnTo>
                  <a:lnTo>
                    <a:pt x="1044" y="546"/>
                  </a:lnTo>
                  <a:lnTo>
                    <a:pt x="1062" y="552"/>
                  </a:lnTo>
                  <a:lnTo>
                    <a:pt x="1068" y="552"/>
                  </a:lnTo>
                  <a:lnTo>
                    <a:pt x="1068" y="570"/>
                  </a:lnTo>
                  <a:lnTo>
                    <a:pt x="1068" y="576"/>
                  </a:lnTo>
                  <a:lnTo>
                    <a:pt x="1068" y="582"/>
                  </a:lnTo>
                  <a:lnTo>
                    <a:pt x="1068" y="588"/>
                  </a:lnTo>
                  <a:lnTo>
                    <a:pt x="1068" y="594"/>
                  </a:lnTo>
                  <a:lnTo>
                    <a:pt x="1080" y="600"/>
                  </a:lnTo>
                  <a:lnTo>
                    <a:pt x="1086" y="606"/>
                  </a:lnTo>
                  <a:lnTo>
                    <a:pt x="1092" y="594"/>
                  </a:lnTo>
                  <a:lnTo>
                    <a:pt x="1104" y="588"/>
                  </a:lnTo>
                  <a:lnTo>
                    <a:pt x="1116" y="588"/>
                  </a:lnTo>
                  <a:lnTo>
                    <a:pt x="1122" y="588"/>
                  </a:lnTo>
                  <a:lnTo>
                    <a:pt x="1122" y="594"/>
                  </a:lnTo>
                  <a:lnTo>
                    <a:pt x="1128" y="594"/>
                  </a:lnTo>
                  <a:lnTo>
                    <a:pt x="1134" y="594"/>
                  </a:lnTo>
                  <a:lnTo>
                    <a:pt x="1140" y="594"/>
                  </a:lnTo>
                  <a:lnTo>
                    <a:pt x="1146" y="588"/>
                  </a:lnTo>
                  <a:lnTo>
                    <a:pt x="1158" y="582"/>
                  </a:lnTo>
                  <a:lnTo>
                    <a:pt x="1164" y="576"/>
                  </a:lnTo>
                  <a:lnTo>
                    <a:pt x="1176" y="576"/>
                  </a:lnTo>
                  <a:lnTo>
                    <a:pt x="1194" y="576"/>
                  </a:lnTo>
                  <a:lnTo>
                    <a:pt x="1218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24" y="594"/>
                  </a:lnTo>
                  <a:lnTo>
                    <a:pt x="1212" y="600"/>
                  </a:lnTo>
                  <a:lnTo>
                    <a:pt x="1206" y="606"/>
                  </a:lnTo>
                  <a:lnTo>
                    <a:pt x="1200" y="606"/>
                  </a:lnTo>
                  <a:lnTo>
                    <a:pt x="1200" y="612"/>
                  </a:lnTo>
                  <a:lnTo>
                    <a:pt x="1194" y="612"/>
                  </a:lnTo>
                  <a:lnTo>
                    <a:pt x="1194" y="618"/>
                  </a:lnTo>
                  <a:lnTo>
                    <a:pt x="1194" y="624"/>
                  </a:lnTo>
                  <a:lnTo>
                    <a:pt x="1194" y="630"/>
                  </a:lnTo>
                  <a:lnTo>
                    <a:pt x="1194" y="648"/>
                  </a:lnTo>
                  <a:lnTo>
                    <a:pt x="1194" y="660"/>
                  </a:lnTo>
                  <a:lnTo>
                    <a:pt x="1194" y="666"/>
                  </a:lnTo>
                  <a:lnTo>
                    <a:pt x="1194" y="672"/>
                  </a:lnTo>
                  <a:lnTo>
                    <a:pt x="1194" y="678"/>
                  </a:lnTo>
                  <a:lnTo>
                    <a:pt x="1188" y="684"/>
                  </a:lnTo>
                  <a:lnTo>
                    <a:pt x="1188" y="690"/>
                  </a:lnTo>
                  <a:lnTo>
                    <a:pt x="1188" y="696"/>
                  </a:lnTo>
                  <a:lnTo>
                    <a:pt x="1188" y="702"/>
                  </a:lnTo>
                  <a:lnTo>
                    <a:pt x="1188" y="708"/>
                  </a:lnTo>
                  <a:lnTo>
                    <a:pt x="1188" y="714"/>
                  </a:lnTo>
                  <a:lnTo>
                    <a:pt x="1182" y="720"/>
                  </a:lnTo>
                  <a:lnTo>
                    <a:pt x="1170" y="720"/>
                  </a:lnTo>
                  <a:lnTo>
                    <a:pt x="1158" y="726"/>
                  </a:lnTo>
                  <a:lnTo>
                    <a:pt x="1152" y="726"/>
                  </a:lnTo>
                  <a:lnTo>
                    <a:pt x="1152" y="732"/>
                  </a:lnTo>
                  <a:lnTo>
                    <a:pt x="1146" y="738"/>
                  </a:lnTo>
                  <a:lnTo>
                    <a:pt x="1140" y="738"/>
                  </a:lnTo>
                  <a:lnTo>
                    <a:pt x="1140" y="744"/>
                  </a:lnTo>
                  <a:lnTo>
                    <a:pt x="1134" y="744"/>
                  </a:lnTo>
                  <a:lnTo>
                    <a:pt x="1128" y="744"/>
                  </a:lnTo>
                  <a:lnTo>
                    <a:pt x="1122" y="750"/>
                  </a:lnTo>
                  <a:lnTo>
                    <a:pt x="1128" y="750"/>
                  </a:lnTo>
                  <a:lnTo>
                    <a:pt x="1122" y="756"/>
                  </a:lnTo>
                  <a:lnTo>
                    <a:pt x="1116" y="756"/>
                  </a:lnTo>
                  <a:lnTo>
                    <a:pt x="1110" y="762"/>
                  </a:lnTo>
                  <a:lnTo>
                    <a:pt x="1104" y="762"/>
                  </a:lnTo>
                  <a:lnTo>
                    <a:pt x="1104" y="768"/>
                  </a:lnTo>
                  <a:lnTo>
                    <a:pt x="1098" y="768"/>
                  </a:lnTo>
                  <a:lnTo>
                    <a:pt x="1098" y="774"/>
                  </a:lnTo>
                  <a:lnTo>
                    <a:pt x="1092" y="774"/>
                  </a:lnTo>
                  <a:lnTo>
                    <a:pt x="1092" y="780"/>
                  </a:lnTo>
                  <a:lnTo>
                    <a:pt x="1086" y="780"/>
                  </a:lnTo>
                  <a:lnTo>
                    <a:pt x="1086" y="786"/>
                  </a:lnTo>
                  <a:lnTo>
                    <a:pt x="1080" y="786"/>
                  </a:lnTo>
                  <a:lnTo>
                    <a:pt x="1080" y="792"/>
                  </a:lnTo>
                  <a:lnTo>
                    <a:pt x="1080" y="798"/>
                  </a:lnTo>
                  <a:lnTo>
                    <a:pt x="1080" y="804"/>
                  </a:lnTo>
                  <a:lnTo>
                    <a:pt x="1086" y="810"/>
                  </a:lnTo>
                  <a:lnTo>
                    <a:pt x="1080" y="816"/>
                  </a:lnTo>
                  <a:lnTo>
                    <a:pt x="1080" y="822"/>
                  </a:lnTo>
                  <a:lnTo>
                    <a:pt x="1074" y="822"/>
                  </a:lnTo>
                  <a:lnTo>
                    <a:pt x="1068" y="828"/>
                  </a:lnTo>
                  <a:lnTo>
                    <a:pt x="1074" y="828"/>
                  </a:lnTo>
                  <a:lnTo>
                    <a:pt x="1074" y="834"/>
                  </a:lnTo>
                  <a:lnTo>
                    <a:pt x="1080" y="846"/>
                  </a:lnTo>
                  <a:lnTo>
                    <a:pt x="1086" y="846"/>
                  </a:lnTo>
                  <a:lnTo>
                    <a:pt x="1092" y="852"/>
                  </a:lnTo>
                  <a:lnTo>
                    <a:pt x="1092" y="858"/>
                  </a:lnTo>
                  <a:lnTo>
                    <a:pt x="1098" y="858"/>
                  </a:lnTo>
                  <a:lnTo>
                    <a:pt x="1110" y="864"/>
                  </a:lnTo>
                  <a:lnTo>
                    <a:pt x="1116" y="864"/>
                  </a:lnTo>
                  <a:lnTo>
                    <a:pt x="1122" y="864"/>
                  </a:lnTo>
                  <a:lnTo>
                    <a:pt x="1128" y="864"/>
                  </a:lnTo>
                  <a:lnTo>
                    <a:pt x="1134" y="876"/>
                  </a:lnTo>
                  <a:lnTo>
                    <a:pt x="1140" y="882"/>
                  </a:lnTo>
                  <a:lnTo>
                    <a:pt x="1140" y="888"/>
                  </a:lnTo>
                  <a:lnTo>
                    <a:pt x="1152" y="918"/>
                  </a:lnTo>
                  <a:lnTo>
                    <a:pt x="1158" y="894"/>
                  </a:lnTo>
                  <a:lnTo>
                    <a:pt x="1164" y="888"/>
                  </a:lnTo>
                  <a:lnTo>
                    <a:pt x="1164" y="882"/>
                  </a:lnTo>
                  <a:lnTo>
                    <a:pt x="1176" y="864"/>
                  </a:lnTo>
                  <a:lnTo>
                    <a:pt x="1182" y="858"/>
                  </a:lnTo>
                  <a:lnTo>
                    <a:pt x="1188" y="846"/>
                  </a:lnTo>
                  <a:lnTo>
                    <a:pt x="1200" y="840"/>
                  </a:lnTo>
                  <a:lnTo>
                    <a:pt x="1212" y="840"/>
                  </a:lnTo>
                  <a:lnTo>
                    <a:pt x="1218" y="846"/>
                  </a:lnTo>
                  <a:lnTo>
                    <a:pt x="1224" y="858"/>
                  </a:lnTo>
                  <a:lnTo>
                    <a:pt x="1224" y="864"/>
                  </a:lnTo>
                  <a:lnTo>
                    <a:pt x="1224" y="876"/>
                  </a:lnTo>
                  <a:lnTo>
                    <a:pt x="1212" y="912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00" y="930"/>
                  </a:lnTo>
                  <a:lnTo>
                    <a:pt x="1200" y="942"/>
                  </a:lnTo>
                  <a:lnTo>
                    <a:pt x="1194" y="948"/>
                  </a:lnTo>
                  <a:lnTo>
                    <a:pt x="1194" y="960"/>
                  </a:lnTo>
                  <a:lnTo>
                    <a:pt x="1194" y="966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70" y="984"/>
                  </a:lnTo>
                  <a:lnTo>
                    <a:pt x="1164" y="984"/>
                  </a:lnTo>
                  <a:lnTo>
                    <a:pt x="1158" y="984"/>
                  </a:lnTo>
                  <a:lnTo>
                    <a:pt x="1146" y="984"/>
                  </a:lnTo>
                  <a:lnTo>
                    <a:pt x="1140" y="990"/>
                  </a:lnTo>
                  <a:lnTo>
                    <a:pt x="1140" y="996"/>
                  </a:lnTo>
                  <a:lnTo>
                    <a:pt x="1152" y="996"/>
                  </a:lnTo>
                  <a:lnTo>
                    <a:pt x="1176" y="1002"/>
                  </a:lnTo>
                  <a:lnTo>
                    <a:pt x="1194" y="1008"/>
                  </a:lnTo>
                  <a:lnTo>
                    <a:pt x="1206" y="1008"/>
                  </a:lnTo>
                  <a:lnTo>
                    <a:pt x="1218" y="1014"/>
                  </a:lnTo>
                  <a:lnTo>
                    <a:pt x="1212" y="1038"/>
                  </a:lnTo>
                  <a:lnTo>
                    <a:pt x="1212" y="1044"/>
                  </a:lnTo>
                  <a:lnTo>
                    <a:pt x="1206" y="1044"/>
                  </a:lnTo>
                  <a:lnTo>
                    <a:pt x="1206" y="1050"/>
                  </a:lnTo>
                  <a:lnTo>
                    <a:pt x="1194" y="1050"/>
                  </a:lnTo>
                  <a:lnTo>
                    <a:pt x="1188" y="1044"/>
                  </a:lnTo>
                  <a:lnTo>
                    <a:pt x="1158" y="1020"/>
                  </a:lnTo>
                  <a:lnTo>
                    <a:pt x="1152" y="1020"/>
                  </a:lnTo>
                  <a:lnTo>
                    <a:pt x="1140" y="1020"/>
                  </a:lnTo>
                  <a:lnTo>
                    <a:pt x="1134" y="1020"/>
                  </a:lnTo>
                  <a:lnTo>
                    <a:pt x="1134" y="1026"/>
                  </a:lnTo>
                  <a:lnTo>
                    <a:pt x="1134" y="1032"/>
                  </a:lnTo>
                  <a:lnTo>
                    <a:pt x="1128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2" name="Freeform 27">
              <a:extLst>
                <a:ext uri="{FF2B5EF4-FFF2-40B4-BE49-F238E27FC236}">
                  <a16:creationId xmlns:a16="http://schemas.microsoft.com/office/drawing/2014/main" id="{CE95C9DF-B651-4085-946F-65424BC51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2063" y="3421400"/>
              <a:ext cx="342138" cy="377969"/>
            </a:xfrm>
            <a:custGeom>
              <a:avLst/>
              <a:gdLst>
                <a:gd name="T0" fmla="*/ 43 w 642"/>
                <a:gd name="T1" fmla="*/ 41 h 708"/>
                <a:gd name="T2" fmla="*/ 39 w 642"/>
                <a:gd name="T3" fmla="*/ 41 h 708"/>
                <a:gd name="T4" fmla="*/ 38 w 642"/>
                <a:gd name="T5" fmla="*/ 47 h 708"/>
                <a:gd name="T6" fmla="*/ 38 w 642"/>
                <a:gd name="T7" fmla="*/ 49 h 708"/>
                <a:gd name="T8" fmla="*/ 38 w 642"/>
                <a:gd name="T9" fmla="*/ 50 h 708"/>
                <a:gd name="T10" fmla="*/ 36 w 642"/>
                <a:gd name="T11" fmla="*/ 52 h 708"/>
                <a:gd name="T12" fmla="*/ 35 w 642"/>
                <a:gd name="T13" fmla="*/ 53 h 708"/>
                <a:gd name="T14" fmla="*/ 33 w 642"/>
                <a:gd name="T15" fmla="*/ 55 h 708"/>
                <a:gd name="T16" fmla="*/ 32 w 642"/>
                <a:gd name="T17" fmla="*/ 56 h 708"/>
                <a:gd name="T18" fmla="*/ 31 w 642"/>
                <a:gd name="T19" fmla="*/ 59 h 708"/>
                <a:gd name="T20" fmla="*/ 26 w 642"/>
                <a:gd name="T21" fmla="*/ 59 h 708"/>
                <a:gd name="T22" fmla="*/ 23 w 642"/>
                <a:gd name="T23" fmla="*/ 61 h 708"/>
                <a:gd name="T24" fmla="*/ 20 w 642"/>
                <a:gd name="T25" fmla="*/ 61 h 708"/>
                <a:gd name="T26" fmla="*/ 17 w 642"/>
                <a:gd name="T27" fmla="*/ 59 h 708"/>
                <a:gd name="T28" fmla="*/ 15 w 642"/>
                <a:gd name="T29" fmla="*/ 56 h 708"/>
                <a:gd name="T30" fmla="*/ 9 w 642"/>
                <a:gd name="T31" fmla="*/ 58 h 708"/>
                <a:gd name="T32" fmla="*/ 6 w 642"/>
                <a:gd name="T33" fmla="*/ 52 h 708"/>
                <a:gd name="T34" fmla="*/ 2 w 642"/>
                <a:gd name="T35" fmla="*/ 53 h 708"/>
                <a:gd name="T36" fmla="*/ 1 w 642"/>
                <a:gd name="T37" fmla="*/ 51 h 708"/>
                <a:gd name="T38" fmla="*/ 4 w 642"/>
                <a:gd name="T39" fmla="*/ 47 h 708"/>
                <a:gd name="T40" fmla="*/ 5 w 642"/>
                <a:gd name="T41" fmla="*/ 41 h 708"/>
                <a:gd name="T42" fmla="*/ 5 w 642"/>
                <a:gd name="T43" fmla="*/ 38 h 708"/>
                <a:gd name="T44" fmla="*/ 5 w 642"/>
                <a:gd name="T45" fmla="*/ 35 h 708"/>
                <a:gd name="T46" fmla="*/ 6 w 642"/>
                <a:gd name="T47" fmla="*/ 33 h 708"/>
                <a:gd name="T48" fmla="*/ 5 w 642"/>
                <a:gd name="T49" fmla="*/ 29 h 708"/>
                <a:gd name="T50" fmla="*/ 4 w 642"/>
                <a:gd name="T51" fmla="*/ 28 h 708"/>
                <a:gd name="T52" fmla="*/ 1 w 642"/>
                <a:gd name="T53" fmla="*/ 26 h 708"/>
                <a:gd name="T54" fmla="*/ 1 w 642"/>
                <a:gd name="T55" fmla="*/ 24 h 708"/>
                <a:gd name="T56" fmla="*/ 1 w 642"/>
                <a:gd name="T57" fmla="*/ 20 h 708"/>
                <a:gd name="T58" fmla="*/ 1 w 642"/>
                <a:gd name="T59" fmla="*/ 16 h 708"/>
                <a:gd name="T60" fmla="*/ 2 w 642"/>
                <a:gd name="T61" fmla="*/ 14 h 708"/>
                <a:gd name="T62" fmla="*/ 8 w 642"/>
                <a:gd name="T63" fmla="*/ 14 h 708"/>
                <a:gd name="T64" fmla="*/ 9 w 642"/>
                <a:gd name="T65" fmla="*/ 10 h 708"/>
                <a:gd name="T66" fmla="*/ 15 w 642"/>
                <a:gd name="T67" fmla="*/ 9 h 708"/>
                <a:gd name="T68" fmla="*/ 18 w 642"/>
                <a:gd name="T69" fmla="*/ 14 h 708"/>
                <a:gd name="T70" fmla="*/ 20 w 642"/>
                <a:gd name="T71" fmla="*/ 12 h 708"/>
                <a:gd name="T72" fmla="*/ 20 w 642"/>
                <a:gd name="T73" fmla="*/ 11 h 708"/>
                <a:gd name="T74" fmla="*/ 21 w 642"/>
                <a:gd name="T75" fmla="*/ 9 h 708"/>
                <a:gd name="T76" fmla="*/ 24 w 642"/>
                <a:gd name="T77" fmla="*/ 9 h 708"/>
                <a:gd name="T78" fmla="*/ 27 w 642"/>
                <a:gd name="T79" fmla="*/ 8 h 708"/>
                <a:gd name="T80" fmla="*/ 33 w 642"/>
                <a:gd name="T81" fmla="*/ 2 h 708"/>
                <a:gd name="T82" fmla="*/ 42 w 642"/>
                <a:gd name="T83" fmla="*/ 2 h 708"/>
                <a:gd name="T84" fmla="*/ 49 w 642"/>
                <a:gd name="T85" fmla="*/ 1 h 708"/>
                <a:gd name="T86" fmla="*/ 53 w 642"/>
                <a:gd name="T87" fmla="*/ 4 h 708"/>
                <a:gd name="T88" fmla="*/ 55 w 642"/>
                <a:gd name="T89" fmla="*/ 4 h 708"/>
                <a:gd name="T90" fmla="*/ 55 w 642"/>
                <a:gd name="T91" fmla="*/ 7 h 708"/>
                <a:gd name="T92" fmla="*/ 52 w 642"/>
                <a:gd name="T93" fmla="*/ 9 h 708"/>
                <a:gd name="T94" fmla="*/ 49 w 642"/>
                <a:gd name="T95" fmla="*/ 12 h 708"/>
                <a:gd name="T96" fmla="*/ 47 w 642"/>
                <a:gd name="T97" fmla="*/ 14 h 708"/>
                <a:gd name="T98" fmla="*/ 47 w 642"/>
                <a:gd name="T99" fmla="*/ 17 h 708"/>
                <a:gd name="T100" fmla="*/ 45 w 642"/>
                <a:gd name="T101" fmla="*/ 26 h 708"/>
                <a:gd name="T102" fmla="*/ 50 w 642"/>
                <a:gd name="T103" fmla="*/ 37 h 70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42"/>
                <a:gd name="T157" fmla="*/ 0 h 708"/>
                <a:gd name="T158" fmla="*/ 642 w 642"/>
                <a:gd name="T159" fmla="*/ 708 h 70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42" h="708">
                  <a:moveTo>
                    <a:pt x="576" y="468"/>
                  </a:moveTo>
                  <a:lnTo>
                    <a:pt x="564" y="468"/>
                  </a:lnTo>
                  <a:lnTo>
                    <a:pt x="516" y="468"/>
                  </a:lnTo>
                  <a:lnTo>
                    <a:pt x="498" y="474"/>
                  </a:lnTo>
                  <a:lnTo>
                    <a:pt x="492" y="468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68" y="474"/>
                  </a:lnTo>
                  <a:lnTo>
                    <a:pt x="456" y="468"/>
                  </a:lnTo>
                  <a:lnTo>
                    <a:pt x="444" y="474"/>
                  </a:lnTo>
                  <a:lnTo>
                    <a:pt x="438" y="492"/>
                  </a:lnTo>
                  <a:lnTo>
                    <a:pt x="438" y="504"/>
                  </a:lnTo>
                  <a:lnTo>
                    <a:pt x="432" y="516"/>
                  </a:lnTo>
                  <a:lnTo>
                    <a:pt x="432" y="528"/>
                  </a:lnTo>
                  <a:lnTo>
                    <a:pt x="432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52"/>
                  </a:lnTo>
                  <a:lnTo>
                    <a:pt x="432" y="558"/>
                  </a:lnTo>
                  <a:lnTo>
                    <a:pt x="438" y="564"/>
                  </a:lnTo>
                  <a:lnTo>
                    <a:pt x="444" y="564"/>
                  </a:lnTo>
                  <a:lnTo>
                    <a:pt x="438" y="564"/>
                  </a:lnTo>
                  <a:lnTo>
                    <a:pt x="438" y="570"/>
                  </a:lnTo>
                  <a:lnTo>
                    <a:pt x="432" y="570"/>
                  </a:lnTo>
                  <a:lnTo>
                    <a:pt x="432" y="576"/>
                  </a:lnTo>
                  <a:lnTo>
                    <a:pt x="426" y="588"/>
                  </a:lnTo>
                  <a:lnTo>
                    <a:pt x="420" y="594"/>
                  </a:lnTo>
                  <a:lnTo>
                    <a:pt x="420" y="600"/>
                  </a:lnTo>
                  <a:lnTo>
                    <a:pt x="414" y="600"/>
                  </a:lnTo>
                  <a:lnTo>
                    <a:pt x="414" y="606"/>
                  </a:lnTo>
                  <a:lnTo>
                    <a:pt x="408" y="606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396" y="612"/>
                  </a:lnTo>
                  <a:lnTo>
                    <a:pt x="390" y="612"/>
                  </a:lnTo>
                  <a:lnTo>
                    <a:pt x="390" y="618"/>
                  </a:lnTo>
                  <a:lnTo>
                    <a:pt x="384" y="618"/>
                  </a:lnTo>
                  <a:lnTo>
                    <a:pt x="378" y="618"/>
                  </a:lnTo>
                  <a:lnTo>
                    <a:pt x="378" y="624"/>
                  </a:lnTo>
                  <a:lnTo>
                    <a:pt x="384" y="630"/>
                  </a:lnTo>
                  <a:lnTo>
                    <a:pt x="384" y="636"/>
                  </a:lnTo>
                  <a:lnTo>
                    <a:pt x="378" y="630"/>
                  </a:lnTo>
                  <a:lnTo>
                    <a:pt x="372" y="636"/>
                  </a:lnTo>
                  <a:lnTo>
                    <a:pt x="372" y="642"/>
                  </a:lnTo>
                  <a:lnTo>
                    <a:pt x="366" y="642"/>
                  </a:lnTo>
                  <a:lnTo>
                    <a:pt x="360" y="654"/>
                  </a:lnTo>
                  <a:lnTo>
                    <a:pt x="354" y="666"/>
                  </a:lnTo>
                  <a:lnTo>
                    <a:pt x="354" y="672"/>
                  </a:lnTo>
                  <a:lnTo>
                    <a:pt x="354" y="678"/>
                  </a:lnTo>
                  <a:lnTo>
                    <a:pt x="354" y="684"/>
                  </a:lnTo>
                  <a:lnTo>
                    <a:pt x="348" y="678"/>
                  </a:lnTo>
                  <a:lnTo>
                    <a:pt x="324" y="678"/>
                  </a:lnTo>
                  <a:lnTo>
                    <a:pt x="306" y="678"/>
                  </a:lnTo>
                  <a:lnTo>
                    <a:pt x="294" y="678"/>
                  </a:lnTo>
                  <a:lnTo>
                    <a:pt x="288" y="684"/>
                  </a:lnTo>
                  <a:lnTo>
                    <a:pt x="276" y="690"/>
                  </a:lnTo>
                  <a:lnTo>
                    <a:pt x="270" y="696"/>
                  </a:lnTo>
                  <a:lnTo>
                    <a:pt x="264" y="696"/>
                  </a:lnTo>
                  <a:lnTo>
                    <a:pt x="258" y="696"/>
                  </a:lnTo>
                  <a:lnTo>
                    <a:pt x="252" y="696"/>
                  </a:lnTo>
                  <a:lnTo>
                    <a:pt x="252" y="690"/>
                  </a:lnTo>
                  <a:lnTo>
                    <a:pt x="246" y="690"/>
                  </a:lnTo>
                  <a:lnTo>
                    <a:pt x="234" y="690"/>
                  </a:lnTo>
                  <a:lnTo>
                    <a:pt x="222" y="696"/>
                  </a:lnTo>
                  <a:lnTo>
                    <a:pt x="216" y="708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8" y="690"/>
                  </a:lnTo>
                  <a:lnTo>
                    <a:pt x="198" y="684"/>
                  </a:lnTo>
                  <a:lnTo>
                    <a:pt x="198" y="678"/>
                  </a:lnTo>
                  <a:lnTo>
                    <a:pt x="198" y="672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74" y="648"/>
                  </a:lnTo>
                  <a:lnTo>
                    <a:pt x="162" y="642"/>
                  </a:lnTo>
                  <a:lnTo>
                    <a:pt x="156" y="636"/>
                  </a:lnTo>
                  <a:lnTo>
                    <a:pt x="132" y="642"/>
                  </a:lnTo>
                  <a:lnTo>
                    <a:pt x="120" y="654"/>
                  </a:lnTo>
                  <a:lnTo>
                    <a:pt x="108" y="660"/>
                  </a:lnTo>
                  <a:lnTo>
                    <a:pt x="102" y="666"/>
                  </a:lnTo>
                  <a:lnTo>
                    <a:pt x="84" y="666"/>
                  </a:lnTo>
                  <a:lnTo>
                    <a:pt x="84" y="630"/>
                  </a:lnTo>
                  <a:lnTo>
                    <a:pt x="78" y="594"/>
                  </a:lnTo>
                  <a:lnTo>
                    <a:pt x="66" y="594"/>
                  </a:lnTo>
                  <a:lnTo>
                    <a:pt x="60" y="594"/>
                  </a:lnTo>
                  <a:lnTo>
                    <a:pt x="48" y="600"/>
                  </a:lnTo>
                  <a:lnTo>
                    <a:pt x="36" y="606"/>
                  </a:lnTo>
                  <a:lnTo>
                    <a:pt x="24" y="612"/>
                  </a:lnTo>
                  <a:lnTo>
                    <a:pt x="18" y="612"/>
                  </a:lnTo>
                  <a:lnTo>
                    <a:pt x="12" y="606"/>
                  </a:lnTo>
                  <a:lnTo>
                    <a:pt x="12" y="600"/>
                  </a:lnTo>
                  <a:lnTo>
                    <a:pt x="12" y="594"/>
                  </a:lnTo>
                  <a:lnTo>
                    <a:pt x="12" y="588"/>
                  </a:lnTo>
                  <a:lnTo>
                    <a:pt x="12" y="582"/>
                  </a:lnTo>
                  <a:lnTo>
                    <a:pt x="12" y="576"/>
                  </a:lnTo>
                  <a:lnTo>
                    <a:pt x="18" y="552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42" y="534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48" y="492"/>
                  </a:lnTo>
                  <a:lnTo>
                    <a:pt x="48" y="480"/>
                  </a:lnTo>
                  <a:lnTo>
                    <a:pt x="54" y="468"/>
                  </a:lnTo>
                  <a:lnTo>
                    <a:pt x="48" y="456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66" y="390"/>
                  </a:lnTo>
                  <a:lnTo>
                    <a:pt x="72" y="384"/>
                  </a:lnTo>
                  <a:lnTo>
                    <a:pt x="72" y="378"/>
                  </a:lnTo>
                  <a:lnTo>
                    <a:pt x="66" y="378"/>
                  </a:lnTo>
                  <a:lnTo>
                    <a:pt x="66" y="366"/>
                  </a:lnTo>
                  <a:lnTo>
                    <a:pt x="60" y="360"/>
                  </a:lnTo>
                  <a:lnTo>
                    <a:pt x="66" y="354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48" y="312"/>
                  </a:lnTo>
                  <a:lnTo>
                    <a:pt x="30" y="312"/>
                  </a:lnTo>
                  <a:lnTo>
                    <a:pt x="24" y="306"/>
                  </a:lnTo>
                  <a:lnTo>
                    <a:pt x="18" y="306"/>
                  </a:lnTo>
                  <a:lnTo>
                    <a:pt x="12" y="294"/>
                  </a:lnTo>
                  <a:lnTo>
                    <a:pt x="12" y="282"/>
                  </a:lnTo>
                  <a:lnTo>
                    <a:pt x="6" y="276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12" y="270"/>
                  </a:lnTo>
                  <a:lnTo>
                    <a:pt x="12" y="246"/>
                  </a:lnTo>
                  <a:lnTo>
                    <a:pt x="12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8" y="174"/>
                  </a:lnTo>
                  <a:lnTo>
                    <a:pt x="12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48" y="162"/>
                  </a:lnTo>
                  <a:lnTo>
                    <a:pt x="72" y="162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84" y="132"/>
                  </a:lnTo>
                  <a:lnTo>
                    <a:pt x="90" y="120"/>
                  </a:lnTo>
                  <a:lnTo>
                    <a:pt x="108" y="114"/>
                  </a:lnTo>
                  <a:lnTo>
                    <a:pt x="114" y="102"/>
                  </a:lnTo>
                  <a:lnTo>
                    <a:pt x="120" y="90"/>
                  </a:lnTo>
                  <a:lnTo>
                    <a:pt x="138" y="90"/>
                  </a:lnTo>
                  <a:lnTo>
                    <a:pt x="138" y="102"/>
                  </a:lnTo>
                  <a:lnTo>
                    <a:pt x="168" y="108"/>
                  </a:lnTo>
                  <a:lnTo>
                    <a:pt x="168" y="114"/>
                  </a:lnTo>
                  <a:lnTo>
                    <a:pt x="174" y="126"/>
                  </a:lnTo>
                  <a:lnTo>
                    <a:pt x="186" y="150"/>
                  </a:lnTo>
                  <a:lnTo>
                    <a:pt x="186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34" y="144"/>
                  </a:lnTo>
                  <a:lnTo>
                    <a:pt x="240" y="138"/>
                  </a:lnTo>
                  <a:lnTo>
                    <a:pt x="240" y="126"/>
                  </a:lnTo>
                  <a:lnTo>
                    <a:pt x="234" y="126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34" y="102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82" y="102"/>
                  </a:lnTo>
                  <a:lnTo>
                    <a:pt x="288" y="102"/>
                  </a:lnTo>
                  <a:lnTo>
                    <a:pt x="294" y="102"/>
                  </a:lnTo>
                  <a:lnTo>
                    <a:pt x="300" y="96"/>
                  </a:lnTo>
                  <a:lnTo>
                    <a:pt x="306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84"/>
                  </a:lnTo>
                  <a:lnTo>
                    <a:pt x="324" y="18"/>
                  </a:lnTo>
                  <a:lnTo>
                    <a:pt x="360" y="18"/>
                  </a:lnTo>
                  <a:lnTo>
                    <a:pt x="378" y="18"/>
                  </a:lnTo>
                  <a:lnTo>
                    <a:pt x="378" y="30"/>
                  </a:lnTo>
                  <a:lnTo>
                    <a:pt x="390" y="30"/>
                  </a:lnTo>
                  <a:lnTo>
                    <a:pt x="432" y="30"/>
                  </a:lnTo>
                  <a:lnTo>
                    <a:pt x="456" y="24"/>
                  </a:lnTo>
                  <a:lnTo>
                    <a:pt x="480" y="24"/>
                  </a:lnTo>
                  <a:lnTo>
                    <a:pt x="498" y="30"/>
                  </a:lnTo>
                  <a:lnTo>
                    <a:pt x="522" y="18"/>
                  </a:lnTo>
                  <a:lnTo>
                    <a:pt x="528" y="0"/>
                  </a:lnTo>
                  <a:lnTo>
                    <a:pt x="558" y="6"/>
                  </a:lnTo>
                  <a:lnTo>
                    <a:pt x="558" y="12"/>
                  </a:lnTo>
                  <a:lnTo>
                    <a:pt x="570" y="18"/>
                  </a:lnTo>
                  <a:lnTo>
                    <a:pt x="576" y="24"/>
                  </a:lnTo>
                  <a:lnTo>
                    <a:pt x="588" y="36"/>
                  </a:lnTo>
                  <a:lnTo>
                    <a:pt x="594" y="48"/>
                  </a:lnTo>
                  <a:lnTo>
                    <a:pt x="606" y="48"/>
                  </a:lnTo>
                  <a:lnTo>
                    <a:pt x="606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42"/>
                  </a:lnTo>
                  <a:lnTo>
                    <a:pt x="636" y="42"/>
                  </a:lnTo>
                  <a:lnTo>
                    <a:pt x="636" y="48"/>
                  </a:lnTo>
                  <a:lnTo>
                    <a:pt x="642" y="54"/>
                  </a:lnTo>
                  <a:lnTo>
                    <a:pt x="636" y="60"/>
                  </a:lnTo>
                  <a:lnTo>
                    <a:pt x="636" y="66"/>
                  </a:lnTo>
                  <a:lnTo>
                    <a:pt x="636" y="78"/>
                  </a:lnTo>
                  <a:lnTo>
                    <a:pt x="624" y="84"/>
                  </a:lnTo>
                  <a:lnTo>
                    <a:pt x="618" y="90"/>
                  </a:lnTo>
                  <a:lnTo>
                    <a:pt x="612" y="90"/>
                  </a:lnTo>
                  <a:lnTo>
                    <a:pt x="600" y="102"/>
                  </a:lnTo>
                  <a:lnTo>
                    <a:pt x="594" y="108"/>
                  </a:lnTo>
                  <a:lnTo>
                    <a:pt x="582" y="114"/>
                  </a:lnTo>
                  <a:lnTo>
                    <a:pt x="570" y="132"/>
                  </a:lnTo>
                  <a:lnTo>
                    <a:pt x="564" y="132"/>
                  </a:lnTo>
                  <a:lnTo>
                    <a:pt x="564" y="138"/>
                  </a:lnTo>
                  <a:lnTo>
                    <a:pt x="558" y="144"/>
                  </a:lnTo>
                  <a:lnTo>
                    <a:pt x="558" y="150"/>
                  </a:lnTo>
                  <a:lnTo>
                    <a:pt x="552" y="150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0" y="162"/>
                  </a:lnTo>
                  <a:lnTo>
                    <a:pt x="534" y="168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6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28" y="234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16" y="294"/>
                  </a:lnTo>
                  <a:lnTo>
                    <a:pt x="516" y="312"/>
                  </a:lnTo>
                  <a:lnTo>
                    <a:pt x="528" y="318"/>
                  </a:lnTo>
                  <a:lnTo>
                    <a:pt x="540" y="360"/>
                  </a:lnTo>
                  <a:lnTo>
                    <a:pt x="558" y="408"/>
                  </a:lnTo>
                  <a:lnTo>
                    <a:pt x="570" y="426"/>
                  </a:lnTo>
                  <a:lnTo>
                    <a:pt x="576" y="432"/>
                  </a:lnTo>
                  <a:lnTo>
                    <a:pt x="576" y="438"/>
                  </a:lnTo>
                  <a:lnTo>
                    <a:pt x="576" y="444"/>
                  </a:lnTo>
                  <a:lnTo>
                    <a:pt x="576" y="46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3" name="Freeform 28">
              <a:extLst>
                <a:ext uri="{FF2B5EF4-FFF2-40B4-BE49-F238E27FC236}">
                  <a16:creationId xmlns:a16="http://schemas.microsoft.com/office/drawing/2014/main" id="{CF9B4F31-BF73-448E-83AA-188F6CF1BDC5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4879" y="3432583"/>
              <a:ext cx="324248" cy="270616"/>
            </a:xfrm>
            <a:custGeom>
              <a:avLst/>
              <a:gdLst>
                <a:gd name="T0" fmla="*/ 5 w 606"/>
                <a:gd name="T1" fmla="*/ 36 h 510"/>
                <a:gd name="T2" fmla="*/ 4 w 606"/>
                <a:gd name="T3" fmla="*/ 34 h 510"/>
                <a:gd name="T4" fmla="*/ 0 w 606"/>
                <a:gd name="T5" fmla="*/ 25 h 510"/>
                <a:gd name="T6" fmla="*/ 1 w 606"/>
                <a:gd name="T7" fmla="*/ 20 h 510"/>
                <a:gd name="T8" fmla="*/ 2 w 606"/>
                <a:gd name="T9" fmla="*/ 15 h 510"/>
                <a:gd name="T10" fmla="*/ 2 w 606"/>
                <a:gd name="T11" fmla="*/ 13 h 510"/>
                <a:gd name="T12" fmla="*/ 3 w 606"/>
                <a:gd name="T13" fmla="*/ 12 h 510"/>
                <a:gd name="T14" fmla="*/ 4 w 606"/>
                <a:gd name="T15" fmla="*/ 11 h 510"/>
                <a:gd name="T16" fmla="*/ 4 w 606"/>
                <a:gd name="T17" fmla="*/ 10 h 510"/>
                <a:gd name="T18" fmla="*/ 7 w 606"/>
                <a:gd name="T19" fmla="*/ 8 h 510"/>
                <a:gd name="T20" fmla="*/ 9 w 606"/>
                <a:gd name="T21" fmla="*/ 6 h 510"/>
                <a:gd name="T22" fmla="*/ 11 w 606"/>
                <a:gd name="T23" fmla="*/ 4 h 510"/>
                <a:gd name="T24" fmla="*/ 12 w 606"/>
                <a:gd name="T25" fmla="*/ 3 h 510"/>
                <a:gd name="T26" fmla="*/ 13 w 606"/>
                <a:gd name="T27" fmla="*/ 4 h 510"/>
                <a:gd name="T28" fmla="*/ 15 w 606"/>
                <a:gd name="T29" fmla="*/ 2 h 510"/>
                <a:gd name="T30" fmla="*/ 17 w 606"/>
                <a:gd name="T31" fmla="*/ 2 h 510"/>
                <a:gd name="T32" fmla="*/ 19 w 606"/>
                <a:gd name="T33" fmla="*/ 5 h 510"/>
                <a:gd name="T34" fmla="*/ 22 w 606"/>
                <a:gd name="T35" fmla="*/ 5 h 510"/>
                <a:gd name="T36" fmla="*/ 25 w 606"/>
                <a:gd name="T37" fmla="*/ 6 h 510"/>
                <a:gd name="T38" fmla="*/ 29 w 606"/>
                <a:gd name="T39" fmla="*/ 1 h 510"/>
                <a:gd name="T40" fmla="*/ 38 w 606"/>
                <a:gd name="T41" fmla="*/ 0 h 510"/>
                <a:gd name="T42" fmla="*/ 38 w 606"/>
                <a:gd name="T43" fmla="*/ 5 h 510"/>
                <a:gd name="T44" fmla="*/ 41 w 606"/>
                <a:gd name="T45" fmla="*/ 4 h 510"/>
                <a:gd name="T46" fmla="*/ 45 w 606"/>
                <a:gd name="T47" fmla="*/ 2 h 510"/>
                <a:gd name="T48" fmla="*/ 46 w 606"/>
                <a:gd name="T49" fmla="*/ 2 h 510"/>
                <a:gd name="T50" fmla="*/ 47 w 606"/>
                <a:gd name="T51" fmla="*/ 5 h 510"/>
                <a:gd name="T52" fmla="*/ 45 w 606"/>
                <a:gd name="T53" fmla="*/ 6 h 510"/>
                <a:gd name="T54" fmla="*/ 45 w 606"/>
                <a:gd name="T55" fmla="*/ 7 h 510"/>
                <a:gd name="T56" fmla="*/ 43 w 606"/>
                <a:gd name="T57" fmla="*/ 8 h 510"/>
                <a:gd name="T58" fmla="*/ 45 w 606"/>
                <a:gd name="T59" fmla="*/ 15 h 510"/>
                <a:gd name="T60" fmla="*/ 49 w 606"/>
                <a:gd name="T61" fmla="*/ 15 h 510"/>
                <a:gd name="T62" fmla="*/ 51 w 606"/>
                <a:gd name="T63" fmla="*/ 15 h 510"/>
                <a:gd name="T64" fmla="*/ 53 w 606"/>
                <a:gd name="T65" fmla="*/ 16 h 510"/>
                <a:gd name="T66" fmla="*/ 52 w 606"/>
                <a:gd name="T67" fmla="*/ 20 h 510"/>
                <a:gd name="T68" fmla="*/ 48 w 606"/>
                <a:gd name="T69" fmla="*/ 23 h 510"/>
                <a:gd name="T70" fmla="*/ 45 w 606"/>
                <a:gd name="T71" fmla="*/ 25 h 510"/>
                <a:gd name="T72" fmla="*/ 44 w 606"/>
                <a:gd name="T73" fmla="*/ 28 h 510"/>
                <a:gd name="T74" fmla="*/ 43 w 606"/>
                <a:gd name="T75" fmla="*/ 33 h 510"/>
                <a:gd name="T76" fmla="*/ 39 w 606"/>
                <a:gd name="T77" fmla="*/ 38 h 510"/>
                <a:gd name="T78" fmla="*/ 37 w 606"/>
                <a:gd name="T79" fmla="*/ 41 h 510"/>
                <a:gd name="T80" fmla="*/ 31 w 606"/>
                <a:gd name="T81" fmla="*/ 44 h 510"/>
                <a:gd name="T82" fmla="*/ 28 w 606"/>
                <a:gd name="T83" fmla="*/ 43 h 510"/>
                <a:gd name="T84" fmla="*/ 28 w 606"/>
                <a:gd name="T85" fmla="*/ 41 h 510"/>
                <a:gd name="T86" fmla="*/ 28 w 606"/>
                <a:gd name="T87" fmla="*/ 40 h 510"/>
                <a:gd name="T88" fmla="*/ 27 w 606"/>
                <a:gd name="T89" fmla="*/ 38 h 510"/>
                <a:gd name="T90" fmla="*/ 27 w 606"/>
                <a:gd name="T91" fmla="*/ 36 h 510"/>
                <a:gd name="T92" fmla="*/ 24 w 606"/>
                <a:gd name="T93" fmla="*/ 35 h 510"/>
                <a:gd name="T94" fmla="*/ 16 w 606"/>
                <a:gd name="T95" fmla="*/ 34 h 510"/>
                <a:gd name="T96" fmla="*/ 13 w 606"/>
                <a:gd name="T97" fmla="*/ 34 h 510"/>
                <a:gd name="T98" fmla="*/ 9 w 606"/>
                <a:gd name="T99" fmla="*/ 36 h 510"/>
                <a:gd name="T100" fmla="*/ 8 w 606"/>
                <a:gd name="T101" fmla="*/ 38 h 510"/>
                <a:gd name="T102" fmla="*/ 7 w 606"/>
                <a:gd name="T103" fmla="*/ 39 h 51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06"/>
                <a:gd name="T157" fmla="*/ 0 h 510"/>
                <a:gd name="T158" fmla="*/ 606 w 606"/>
                <a:gd name="T159" fmla="*/ 510 h 51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06" h="510">
                  <a:moveTo>
                    <a:pt x="60" y="450"/>
                  </a:move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42" y="390"/>
                  </a:lnTo>
                  <a:lnTo>
                    <a:pt x="24" y="342"/>
                  </a:lnTo>
                  <a:lnTo>
                    <a:pt x="12" y="300"/>
                  </a:lnTo>
                  <a:lnTo>
                    <a:pt x="0" y="294"/>
                  </a:lnTo>
                  <a:lnTo>
                    <a:pt x="0" y="276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24" y="192"/>
                  </a:lnTo>
                  <a:lnTo>
                    <a:pt x="24" y="180"/>
                  </a:lnTo>
                  <a:lnTo>
                    <a:pt x="24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6" y="96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108" y="66"/>
                  </a:lnTo>
                  <a:lnTo>
                    <a:pt x="120" y="60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36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62" y="36"/>
                  </a:lnTo>
                  <a:lnTo>
                    <a:pt x="162" y="30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0" y="54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46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76" y="66"/>
                  </a:lnTo>
                  <a:lnTo>
                    <a:pt x="312" y="66"/>
                  </a:lnTo>
                  <a:lnTo>
                    <a:pt x="318" y="60"/>
                  </a:lnTo>
                  <a:lnTo>
                    <a:pt x="330" y="12"/>
                  </a:lnTo>
                  <a:lnTo>
                    <a:pt x="414" y="6"/>
                  </a:lnTo>
                  <a:lnTo>
                    <a:pt x="420" y="0"/>
                  </a:lnTo>
                  <a:lnTo>
                    <a:pt x="426" y="6"/>
                  </a:lnTo>
                  <a:lnTo>
                    <a:pt x="426" y="12"/>
                  </a:lnTo>
                  <a:lnTo>
                    <a:pt x="426" y="54"/>
                  </a:lnTo>
                  <a:lnTo>
                    <a:pt x="432" y="54"/>
                  </a:lnTo>
                  <a:lnTo>
                    <a:pt x="444" y="54"/>
                  </a:lnTo>
                  <a:lnTo>
                    <a:pt x="450" y="42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86" y="24"/>
                  </a:lnTo>
                  <a:lnTo>
                    <a:pt x="504" y="18"/>
                  </a:lnTo>
                  <a:lnTo>
                    <a:pt x="510" y="12"/>
                  </a:lnTo>
                  <a:lnTo>
                    <a:pt x="516" y="18"/>
                  </a:lnTo>
                  <a:lnTo>
                    <a:pt x="522" y="24"/>
                  </a:lnTo>
                  <a:lnTo>
                    <a:pt x="510" y="30"/>
                  </a:lnTo>
                  <a:lnTo>
                    <a:pt x="516" y="48"/>
                  </a:lnTo>
                  <a:lnTo>
                    <a:pt x="528" y="54"/>
                  </a:lnTo>
                  <a:lnTo>
                    <a:pt x="522" y="60"/>
                  </a:lnTo>
                  <a:lnTo>
                    <a:pt x="516" y="66"/>
                  </a:lnTo>
                  <a:lnTo>
                    <a:pt x="516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0" y="84"/>
                  </a:lnTo>
                  <a:lnTo>
                    <a:pt x="510" y="90"/>
                  </a:lnTo>
                  <a:lnTo>
                    <a:pt x="504" y="90"/>
                  </a:lnTo>
                  <a:lnTo>
                    <a:pt x="486" y="90"/>
                  </a:lnTo>
                  <a:lnTo>
                    <a:pt x="492" y="138"/>
                  </a:lnTo>
                  <a:lnTo>
                    <a:pt x="498" y="168"/>
                  </a:lnTo>
                  <a:lnTo>
                    <a:pt x="516" y="168"/>
                  </a:lnTo>
                  <a:lnTo>
                    <a:pt x="528" y="174"/>
                  </a:lnTo>
                  <a:lnTo>
                    <a:pt x="534" y="168"/>
                  </a:lnTo>
                  <a:lnTo>
                    <a:pt x="558" y="174"/>
                  </a:lnTo>
                  <a:lnTo>
                    <a:pt x="564" y="168"/>
                  </a:lnTo>
                  <a:lnTo>
                    <a:pt x="570" y="168"/>
                  </a:lnTo>
                  <a:lnTo>
                    <a:pt x="576" y="174"/>
                  </a:lnTo>
                  <a:lnTo>
                    <a:pt x="588" y="168"/>
                  </a:lnTo>
                  <a:lnTo>
                    <a:pt x="594" y="168"/>
                  </a:lnTo>
                  <a:lnTo>
                    <a:pt x="594" y="186"/>
                  </a:lnTo>
                  <a:lnTo>
                    <a:pt x="606" y="198"/>
                  </a:lnTo>
                  <a:lnTo>
                    <a:pt x="600" y="210"/>
                  </a:lnTo>
                  <a:lnTo>
                    <a:pt x="588" y="234"/>
                  </a:lnTo>
                  <a:lnTo>
                    <a:pt x="564" y="246"/>
                  </a:lnTo>
                  <a:lnTo>
                    <a:pt x="546" y="258"/>
                  </a:lnTo>
                  <a:lnTo>
                    <a:pt x="540" y="270"/>
                  </a:lnTo>
                  <a:lnTo>
                    <a:pt x="534" y="294"/>
                  </a:lnTo>
                  <a:lnTo>
                    <a:pt x="528" y="300"/>
                  </a:lnTo>
                  <a:lnTo>
                    <a:pt x="516" y="294"/>
                  </a:lnTo>
                  <a:lnTo>
                    <a:pt x="510" y="300"/>
                  </a:lnTo>
                  <a:lnTo>
                    <a:pt x="498" y="318"/>
                  </a:lnTo>
                  <a:lnTo>
                    <a:pt x="492" y="324"/>
                  </a:lnTo>
                  <a:lnTo>
                    <a:pt x="486" y="336"/>
                  </a:lnTo>
                  <a:lnTo>
                    <a:pt x="486" y="354"/>
                  </a:lnTo>
                  <a:lnTo>
                    <a:pt x="486" y="384"/>
                  </a:lnTo>
                  <a:lnTo>
                    <a:pt x="474" y="408"/>
                  </a:lnTo>
                  <a:lnTo>
                    <a:pt x="450" y="426"/>
                  </a:lnTo>
                  <a:lnTo>
                    <a:pt x="444" y="444"/>
                  </a:lnTo>
                  <a:lnTo>
                    <a:pt x="426" y="474"/>
                  </a:lnTo>
                  <a:lnTo>
                    <a:pt x="420" y="486"/>
                  </a:lnTo>
                  <a:lnTo>
                    <a:pt x="414" y="486"/>
                  </a:lnTo>
                  <a:lnTo>
                    <a:pt x="414" y="498"/>
                  </a:lnTo>
                  <a:lnTo>
                    <a:pt x="378" y="504"/>
                  </a:lnTo>
                  <a:lnTo>
                    <a:pt x="348" y="510"/>
                  </a:lnTo>
                  <a:lnTo>
                    <a:pt x="330" y="510"/>
                  </a:lnTo>
                  <a:lnTo>
                    <a:pt x="324" y="504"/>
                  </a:lnTo>
                  <a:lnTo>
                    <a:pt x="318" y="504"/>
                  </a:lnTo>
                  <a:lnTo>
                    <a:pt x="312" y="504"/>
                  </a:lnTo>
                  <a:lnTo>
                    <a:pt x="312" y="498"/>
                  </a:lnTo>
                  <a:lnTo>
                    <a:pt x="312" y="486"/>
                  </a:lnTo>
                  <a:lnTo>
                    <a:pt x="312" y="480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56"/>
                  </a:lnTo>
                  <a:lnTo>
                    <a:pt x="312" y="450"/>
                  </a:lnTo>
                  <a:lnTo>
                    <a:pt x="306" y="444"/>
                  </a:lnTo>
                  <a:lnTo>
                    <a:pt x="306" y="438"/>
                  </a:lnTo>
                  <a:lnTo>
                    <a:pt x="300" y="426"/>
                  </a:lnTo>
                  <a:lnTo>
                    <a:pt x="300" y="420"/>
                  </a:lnTo>
                  <a:lnTo>
                    <a:pt x="294" y="414"/>
                  </a:lnTo>
                  <a:lnTo>
                    <a:pt x="294" y="408"/>
                  </a:lnTo>
                  <a:lnTo>
                    <a:pt x="270" y="408"/>
                  </a:lnTo>
                  <a:lnTo>
                    <a:pt x="246" y="408"/>
                  </a:lnTo>
                  <a:lnTo>
                    <a:pt x="222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56" y="402"/>
                  </a:lnTo>
                  <a:lnTo>
                    <a:pt x="144" y="396"/>
                  </a:lnTo>
                  <a:lnTo>
                    <a:pt x="126" y="396"/>
                  </a:lnTo>
                  <a:lnTo>
                    <a:pt x="108" y="408"/>
                  </a:lnTo>
                  <a:lnTo>
                    <a:pt x="102" y="414"/>
                  </a:lnTo>
                  <a:lnTo>
                    <a:pt x="102" y="420"/>
                  </a:lnTo>
                  <a:lnTo>
                    <a:pt x="96" y="426"/>
                  </a:lnTo>
                  <a:lnTo>
                    <a:pt x="96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78" y="450"/>
                  </a:lnTo>
                  <a:lnTo>
                    <a:pt x="60" y="45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4" name="Freeform 29">
              <a:extLst>
                <a:ext uri="{FF2B5EF4-FFF2-40B4-BE49-F238E27FC236}">
                  <a16:creationId xmlns:a16="http://schemas.microsoft.com/office/drawing/2014/main" id="{B6AC2B96-1504-4082-8778-17130FDA021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401" y="3537698"/>
              <a:ext cx="559048" cy="641876"/>
            </a:xfrm>
            <a:custGeom>
              <a:avLst/>
              <a:gdLst>
                <a:gd name="T0" fmla="*/ 39 w 1056"/>
                <a:gd name="T1" fmla="*/ 94 h 1206"/>
                <a:gd name="T2" fmla="*/ 35 w 1056"/>
                <a:gd name="T3" fmla="*/ 103 h 1206"/>
                <a:gd name="T4" fmla="*/ 29 w 1056"/>
                <a:gd name="T5" fmla="*/ 99 h 1206"/>
                <a:gd name="T6" fmla="*/ 23 w 1056"/>
                <a:gd name="T7" fmla="*/ 94 h 1206"/>
                <a:gd name="T8" fmla="*/ 21 w 1056"/>
                <a:gd name="T9" fmla="*/ 91 h 1206"/>
                <a:gd name="T10" fmla="*/ 18 w 1056"/>
                <a:gd name="T11" fmla="*/ 89 h 1206"/>
                <a:gd name="T12" fmla="*/ 15 w 1056"/>
                <a:gd name="T13" fmla="*/ 86 h 1206"/>
                <a:gd name="T14" fmla="*/ 11 w 1056"/>
                <a:gd name="T15" fmla="*/ 83 h 1206"/>
                <a:gd name="T16" fmla="*/ 8 w 1056"/>
                <a:gd name="T17" fmla="*/ 81 h 1206"/>
                <a:gd name="T18" fmla="*/ 6 w 1056"/>
                <a:gd name="T19" fmla="*/ 79 h 1206"/>
                <a:gd name="T20" fmla="*/ 13 w 1056"/>
                <a:gd name="T21" fmla="*/ 78 h 1206"/>
                <a:gd name="T22" fmla="*/ 8 w 1056"/>
                <a:gd name="T23" fmla="*/ 75 h 1206"/>
                <a:gd name="T24" fmla="*/ 13 w 1056"/>
                <a:gd name="T25" fmla="*/ 71 h 1206"/>
                <a:gd name="T26" fmla="*/ 10 w 1056"/>
                <a:gd name="T27" fmla="*/ 63 h 1206"/>
                <a:gd name="T28" fmla="*/ 6 w 1056"/>
                <a:gd name="T29" fmla="*/ 66 h 1206"/>
                <a:gd name="T30" fmla="*/ 1 w 1056"/>
                <a:gd name="T31" fmla="*/ 63 h 1206"/>
                <a:gd name="T32" fmla="*/ 1 w 1056"/>
                <a:gd name="T33" fmla="*/ 59 h 1206"/>
                <a:gd name="T34" fmla="*/ 3 w 1056"/>
                <a:gd name="T35" fmla="*/ 57 h 1206"/>
                <a:gd name="T36" fmla="*/ 6 w 1056"/>
                <a:gd name="T37" fmla="*/ 55 h 1206"/>
                <a:gd name="T38" fmla="*/ 10 w 1056"/>
                <a:gd name="T39" fmla="*/ 51 h 1206"/>
                <a:gd name="T40" fmla="*/ 11 w 1056"/>
                <a:gd name="T41" fmla="*/ 46 h 1206"/>
                <a:gd name="T42" fmla="*/ 14 w 1056"/>
                <a:gd name="T43" fmla="*/ 42 h 1206"/>
                <a:gd name="T44" fmla="*/ 15 w 1056"/>
                <a:gd name="T45" fmla="*/ 36 h 1206"/>
                <a:gd name="T46" fmla="*/ 17 w 1056"/>
                <a:gd name="T47" fmla="*/ 34 h 1206"/>
                <a:gd name="T48" fmla="*/ 20 w 1056"/>
                <a:gd name="T49" fmla="*/ 31 h 1206"/>
                <a:gd name="T50" fmla="*/ 21 w 1056"/>
                <a:gd name="T51" fmla="*/ 29 h 1206"/>
                <a:gd name="T52" fmla="*/ 23 w 1056"/>
                <a:gd name="T53" fmla="*/ 22 h 1206"/>
                <a:gd name="T54" fmla="*/ 35 w 1056"/>
                <a:gd name="T55" fmla="*/ 22 h 1206"/>
                <a:gd name="T56" fmla="*/ 41 w 1056"/>
                <a:gd name="T57" fmla="*/ 18 h 1206"/>
                <a:gd name="T58" fmla="*/ 54 w 1056"/>
                <a:gd name="T59" fmla="*/ 20 h 1206"/>
                <a:gd name="T60" fmla="*/ 54 w 1056"/>
                <a:gd name="T61" fmla="*/ 26 h 1206"/>
                <a:gd name="T62" fmla="*/ 64 w 1056"/>
                <a:gd name="T63" fmla="*/ 25 h 1206"/>
                <a:gd name="T64" fmla="*/ 71 w 1056"/>
                <a:gd name="T65" fmla="*/ 10 h 1206"/>
                <a:gd name="T66" fmla="*/ 80 w 1056"/>
                <a:gd name="T67" fmla="*/ 1 h 1206"/>
                <a:gd name="T68" fmla="*/ 86 w 1056"/>
                <a:gd name="T69" fmla="*/ 2 h 1206"/>
                <a:gd name="T70" fmla="*/ 91 w 1056"/>
                <a:gd name="T71" fmla="*/ 13 h 1206"/>
                <a:gd name="T72" fmla="*/ 88 w 1056"/>
                <a:gd name="T73" fmla="*/ 17 h 1206"/>
                <a:gd name="T74" fmla="*/ 89 w 1056"/>
                <a:gd name="T75" fmla="*/ 21 h 1206"/>
                <a:gd name="T76" fmla="*/ 86 w 1056"/>
                <a:gd name="T77" fmla="*/ 25 h 1206"/>
                <a:gd name="T78" fmla="*/ 85 w 1056"/>
                <a:gd name="T79" fmla="*/ 31 h 1206"/>
                <a:gd name="T80" fmla="*/ 83 w 1056"/>
                <a:gd name="T81" fmla="*/ 36 h 1206"/>
                <a:gd name="T82" fmla="*/ 80 w 1056"/>
                <a:gd name="T83" fmla="*/ 42 h 1206"/>
                <a:gd name="T84" fmla="*/ 80 w 1056"/>
                <a:gd name="T85" fmla="*/ 47 h 1206"/>
                <a:gd name="T86" fmla="*/ 77 w 1056"/>
                <a:gd name="T87" fmla="*/ 55 h 1206"/>
                <a:gd name="T88" fmla="*/ 75 w 1056"/>
                <a:gd name="T89" fmla="*/ 57 h 1206"/>
                <a:gd name="T90" fmla="*/ 66 w 1056"/>
                <a:gd name="T91" fmla="*/ 57 h 1206"/>
                <a:gd name="T92" fmla="*/ 66 w 1056"/>
                <a:gd name="T93" fmla="*/ 51 h 1206"/>
                <a:gd name="T94" fmla="*/ 48 w 1056"/>
                <a:gd name="T95" fmla="*/ 50 h 1206"/>
                <a:gd name="T96" fmla="*/ 46 w 1056"/>
                <a:gd name="T97" fmla="*/ 55 h 1206"/>
                <a:gd name="T98" fmla="*/ 42 w 1056"/>
                <a:gd name="T99" fmla="*/ 59 h 1206"/>
                <a:gd name="T100" fmla="*/ 41 w 1056"/>
                <a:gd name="T101" fmla="*/ 62 h 1206"/>
                <a:gd name="T102" fmla="*/ 43 w 1056"/>
                <a:gd name="T103" fmla="*/ 67 h 1206"/>
                <a:gd name="T104" fmla="*/ 42 w 1056"/>
                <a:gd name="T105" fmla="*/ 72 h 1206"/>
                <a:gd name="T106" fmla="*/ 39 w 1056"/>
                <a:gd name="T107" fmla="*/ 77 h 1206"/>
                <a:gd name="T108" fmla="*/ 36 w 1056"/>
                <a:gd name="T109" fmla="*/ 80 h 1206"/>
                <a:gd name="T110" fmla="*/ 37 w 1056"/>
                <a:gd name="T111" fmla="*/ 83 h 1206"/>
                <a:gd name="T112" fmla="*/ 40 w 1056"/>
                <a:gd name="T113" fmla="*/ 87 h 1206"/>
                <a:gd name="T114" fmla="*/ 42 w 1056"/>
                <a:gd name="T115" fmla="*/ 89 h 12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56"/>
                <a:gd name="T175" fmla="*/ 0 h 1206"/>
                <a:gd name="T176" fmla="*/ 1056 w 1056"/>
                <a:gd name="T177" fmla="*/ 1206 h 12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56" h="1206">
                  <a:moveTo>
                    <a:pt x="492" y="1032"/>
                  </a:moveTo>
                  <a:lnTo>
                    <a:pt x="486" y="1038"/>
                  </a:lnTo>
                  <a:lnTo>
                    <a:pt x="486" y="1044"/>
                  </a:lnTo>
                  <a:lnTo>
                    <a:pt x="480" y="1044"/>
                  </a:lnTo>
                  <a:lnTo>
                    <a:pt x="474" y="1056"/>
                  </a:lnTo>
                  <a:lnTo>
                    <a:pt x="462" y="1068"/>
                  </a:lnTo>
                  <a:lnTo>
                    <a:pt x="456" y="1080"/>
                  </a:lnTo>
                  <a:lnTo>
                    <a:pt x="450" y="1080"/>
                  </a:lnTo>
                  <a:lnTo>
                    <a:pt x="450" y="1086"/>
                  </a:lnTo>
                  <a:lnTo>
                    <a:pt x="450" y="1092"/>
                  </a:lnTo>
                  <a:lnTo>
                    <a:pt x="444" y="1104"/>
                  </a:lnTo>
                  <a:lnTo>
                    <a:pt x="444" y="1116"/>
                  </a:lnTo>
                  <a:lnTo>
                    <a:pt x="438" y="1128"/>
                  </a:lnTo>
                  <a:lnTo>
                    <a:pt x="432" y="1134"/>
                  </a:lnTo>
                  <a:lnTo>
                    <a:pt x="432" y="1140"/>
                  </a:lnTo>
                  <a:lnTo>
                    <a:pt x="420" y="1152"/>
                  </a:lnTo>
                  <a:lnTo>
                    <a:pt x="420" y="1158"/>
                  </a:lnTo>
                  <a:lnTo>
                    <a:pt x="408" y="1182"/>
                  </a:lnTo>
                  <a:lnTo>
                    <a:pt x="396" y="1194"/>
                  </a:lnTo>
                  <a:lnTo>
                    <a:pt x="390" y="1206"/>
                  </a:lnTo>
                  <a:lnTo>
                    <a:pt x="390" y="1200"/>
                  </a:lnTo>
                  <a:lnTo>
                    <a:pt x="384" y="1194"/>
                  </a:lnTo>
                  <a:lnTo>
                    <a:pt x="378" y="1188"/>
                  </a:lnTo>
                  <a:lnTo>
                    <a:pt x="366" y="1176"/>
                  </a:lnTo>
                  <a:lnTo>
                    <a:pt x="366" y="1170"/>
                  </a:lnTo>
                  <a:lnTo>
                    <a:pt x="348" y="1152"/>
                  </a:lnTo>
                  <a:lnTo>
                    <a:pt x="336" y="1140"/>
                  </a:lnTo>
                  <a:lnTo>
                    <a:pt x="330" y="1134"/>
                  </a:lnTo>
                  <a:lnTo>
                    <a:pt x="324" y="1128"/>
                  </a:lnTo>
                  <a:lnTo>
                    <a:pt x="318" y="1122"/>
                  </a:lnTo>
                  <a:lnTo>
                    <a:pt x="312" y="1116"/>
                  </a:lnTo>
                  <a:lnTo>
                    <a:pt x="306" y="1110"/>
                  </a:lnTo>
                  <a:lnTo>
                    <a:pt x="300" y="1104"/>
                  </a:lnTo>
                  <a:lnTo>
                    <a:pt x="294" y="1098"/>
                  </a:lnTo>
                  <a:lnTo>
                    <a:pt x="276" y="1080"/>
                  </a:lnTo>
                  <a:lnTo>
                    <a:pt x="270" y="1080"/>
                  </a:lnTo>
                  <a:lnTo>
                    <a:pt x="270" y="1074"/>
                  </a:lnTo>
                  <a:lnTo>
                    <a:pt x="264" y="1068"/>
                  </a:lnTo>
                  <a:lnTo>
                    <a:pt x="258" y="1062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40" y="1050"/>
                  </a:lnTo>
                  <a:lnTo>
                    <a:pt x="234" y="1044"/>
                  </a:lnTo>
                  <a:lnTo>
                    <a:pt x="228" y="1044"/>
                  </a:lnTo>
                  <a:lnTo>
                    <a:pt x="222" y="1038"/>
                  </a:lnTo>
                  <a:lnTo>
                    <a:pt x="222" y="1032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6"/>
                  </a:lnTo>
                  <a:lnTo>
                    <a:pt x="204" y="1020"/>
                  </a:lnTo>
                  <a:lnTo>
                    <a:pt x="204" y="1014"/>
                  </a:lnTo>
                  <a:lnTo>
                    <a:pt x="198" y="1014"/>
                  </a:lnTo>
                  <a:lnTo>
                    <a:pt x="192" y="1014"/>
                  </a:lnTo>
                  <a:lnTo>
                    <a:pt x="192" y="1008"/>
                  </a:lnTo>
                  <a:lnTo>
                    <a:pt x="186" y="1008"/>
                  </a:lnTo>
                  <a:lnTo>
                    <a:pt x="186" y="1002"/>
                  </a:lnTo>
                  <a:lnTo>
                    <a:pt x="180" y="1002"/>
                  </a:lnTo>
                  <a:lnTo>
                    <a:pt x="174" y="996"/>
                  </a:lnTo>
                  <a:lnTo>
                    <a:pt x="168" y="996"/>
                  </a:lnTo>
                  <a:lnTo>
                    <a:pt x="168" y="990"/>
                  </a:lnTo>
                  <a:lnTo>
                    <a:pt x="162" y="990"/>
                  </a:lnTo>
                  <a:lnTo>
                    <a:pt x="162" y="984"/>
                  </a:lnTo>
                  <a:lnTo>
                    <a:pt x="150" y="978"/>
                  </a:lnTo>
                  <a:lnTo>
                    <a:pt x="144" y="972"/>
                  </a:lnTo>
                  <a:lnTo>
                    <a:pt x="138" y="972"/>
                  </a:lnTo>
                  <a:lnTo>
                    <a:pt x="138" y="966"/>
                  </a:lnTo>
                  <a:lnTo>
                    <a:pt x="132" y="966"/>
                  </a:lnTo>
                  <a:lnTo>
                    <a:pt x="126" y="960"/>
                  </a:lnTo>
                  <a:lnTo>
                    <a:pt x="126" y="954"/>
                  </a:lnTo>
                  <a:lnTo>
                    <a:pt x="120" y="954"/>
                  </a:lnTo>
                  <a:lnTo>
                    <a:pt x="114" y="948"/>
                  </a:lnTo>
                  <a:lnTo>
                    <a:pt x="108" y="948"/>
                  </a:lnTo>
                  <a:lnTo>
                    <a:pt x="108" y="942"/>
                  </a:lnTo>
                  <a:lnTo>
                    <a:pt x="102" y="942"/>
                  </a:lnTo>
                  <a:lnTo>
                    <a:pt x="96" y="942"/>
                  </a:lnTo>
                  <a:lnTo>
                    <a:pt x="96" y="936"/>
                  </a:lnTo>
                  <a:lnTo>
                    <a:pt x="90" y="936"/>
                  </a:lnTo>
                  <a:lnTo>
                    <a:pt x="90" y="930"/>
                  </a:lnTo>
                  <a:lnTo>
                    <a:pt x="84" y="930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18"/>
                  </a:lnTo>
                  <a:lnTo>
                    <a:pt x="66" y="918"/>
                  </a:lnTo>
                  <a:lnTo>
                    <a:pt x="66" y="912"/>
                  </a:lnTo>
                  <a:lnTo>
                    <a:pt x="66" y="906"/>
                  </a:lnTo>
                  <a:lnTo>
                    <a:pt x="72" y="906"/>
                  </a:lnTo>
                  <a:lnTo>
                    <a:pt x="84" y="906"/>
                  </a:lnTo>
                  <a:lnTo>
                    <a:pt x="90" y="906"/>
                  </a:lnTo>
                  <a:lnTo>
                    <a:pt x="120" y="930"/>
                  </a:lnTo>
                  <a:lnTo>
                    <a:pt x="126" y="936"/>
                  </a:lnTo>
                  <a:lnTo>
                    <a:pt x="138" y="936"/>
                  </a:lnTo>
                  <a:lnTo>
                    <a:pt x="138" y="930"/>
                  </a:lnTo>
                  <a:lnTo>
                    <a:pt x="144" y="930"/>
                  </a:lnTo>
                  <a:lnTo>
                    <a:pt x="144" y="924"/>
                  </a:lnTo>
                  <a:lnTo>
                    <a:pt x="150" y="900"/>
                  </a:lnTo>
                  <a:lnTo>
                    <a:pt x="138" y="894"/>
                  </a:lnTo>
                  <a:lnTo>
                    <a:pt x="126" y="894"/>
                  </a:lnTo>
                  <a:lnTo>
                    <a:pt x="108" y="888"/>
                  </a:lnTo>
                  <a:lnTo>
                    <a:pt x="84" y="882"/>
                  </a:lnTo>
                  <a:lnTo>
                    <a:pt x="72" y="882"/>
                  </a:lnTo>
                  <a:lnTo>
                    <a:pt x="72" y="876"/>
                  </a:lnTo>
                  <a:lnTo>
                    <a:pt x="78" y="870"/>
                  </a:lnTo>
                  <a:lnTo>
                    <a:pt x="90" y="870"/>
                  </a:lnTo>
                  <a:lnTo>
                    <a:pt x="96" y="870"/>
                  </a:lnTo>
                  <a:lnTo>
                    <a:pt x="102" y="870"/>
                  </a:lnTo>
                  <a:lnTo>
                    <a:pt x="114" y="870"/>
                  </a:lnTo>
                  <a:lnTo>
                    <a:pt x="120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34"/>
                  </a:lnTo>
                  <a:lnTo>
                    <a:pt x="132" y="828"/>
                  </a:lnTo>
                  <a:lnTo>
                    <a:pt x="132" y="816"/>
                  </a:lnTo>
                  <a:lnTo>
                    <a:pt x="150" y="816"/>
                  </a:lnTo>
                  <a:lnTo>
                    <a:pt x="150" y="804"/>
                  </a:lnTo>
                  <a:lnTo>
                    <a:pt x="144" y="798"/>
                  </a:lnTo>
                  <a:lnTo>
                    <a:pt x="156" y="762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32"/>
                  </a:lnTo>
                  <a:lnTo>
                    <a:pt x="144" y="726"/>
                  </a:lnTo>
                  <a:lnTo>
                    <a:pt x="132" y="726"/>
                  </a:lnTo>
                  <a:lnTo>
                    <a:pt x="120" y="732"/>
                  </a:lnTo>
                  <a:lnTo>
                    <a:pt x="114" y="744"/>
                  </a:lnTo>
                  <a:lnTo>
                    <a:pt x="108" y="750"/>
                  </a:lnTo>
                  <a:lnTo>
                    <a:pt x="96" y="768"/>
                  </a:lnTo>
                  <a:lnTo>
                    <a:pt x="96" y="774"/>
                  </a:lnTo>
                  <a:lnTo>
                    <a:pt x="90" y="780"/>
                  </a:lnTo>
                  <a:lnTo>
                    <a:pt x="84" y="804"/>
                  </a:lnTo>
                  <a:lnTo>
                    <a:pt x="72" y="774"/>
                  </a:lnTo>
                  <a:lnTo>
                    <a:pt x="72" y="768"/>
                  </a:lnTo>
                  <a:lnTo>
                    <a:pt x="66" y="762"/>
                  </a:lnTo>
                  <a:lnTo>
                    <a:pt x="60" y="750"/>
                  </a:lnTo>
                  <a:lnTo>
                    <a:pt x="54" y="750"/>
                  </a:lnTo>
                  <a:lnTo>
                    <a:pt x="48" y="750"/>
                  </a:lnTo>
                  <a:lnTo>
                    <a:pt x="42" y="750"/>
                  </a:lnTo>
                  <a:lnTo>
                    <a:pt x="30" y="744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12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2" y="702"/>
                  </a:lnTo>
                  <a:lnTo>
                    <a:pt x="18" y="696"/>
                  </a:lnTo>
                  <a:lnTo>
                    <a:pt x="12" y="690"/>
                  </a:lnTo>
                  <a:lnTo>
                    <a:pt x="12" y="684"/>
                  </a:lnTo>
                  <a:lnTo>
                    <a:pt x="12" y="678"/>
                  </a:lnTo>
                  <a:lnTo>
                    <a:pt x="12" y="672"/>
                  </a:lnTo>
                  <a:lnTo>
                    <a:pt x="18" y="672"/>
                  </a:lnTo>
                  <a:lnTo>
                    <a:pt x="18" y="666"/>
                  </a:lnTo>
                  <a:lnTo>
                    <a:pt x="24" y="666"/>
                  </a:lnTo>
                  <a:lnTo>
                    <a:pt x="24" y="660"/>
                  </a:lnTo>
                  <a:lnTo>
                    <a:pt x="30" y="660"/>
                  </a:lnTo>
                  <a:lnTo>
                    <a:pt x="30" y="654"/>
                  </a:lnTo>
                  <a:lnTo>
                    <a:pt x="36" y="654"/>
                  </a:lnTo>
                  <a:lnTo>
                    <a:pt x="36" y="648"/>
                  </a:lnTo>
                  <a:lnTo>
                    <a:pt x="42" y="648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60" y="630"/>
                  </a:lnTo>
                  <a:lnTo>
                    <a:pt x="66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78" y="624"/>
                  </a:lnTo>
                  <a:lnTo>
                    <a:pt x="84" y="618"/>
                  </a:lnTo>
                  <a:lnTo>
                    <a:pt x="84" y="612"/>
                  </a:lnTo>
                  <a:lnTo>
                    <a:pt x="90" y="612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20" y="588"/>
                  </a:lnTo>
                  <a:lnTo>
                    <a:pt x="120" y="582"/>
                  </a:lnTo>
                  <a:lnTo>
                    <a:pt x="120" y="576"/>
                  </a:lnTo>
                  <a:lnTo>
                    <a:pt x="120" y="570"/>
                  </a:lnTo>
                  <a:lnTo>
                    <a:pt x="126" y="564"/>
                  </a:lnTo>
                  <a:lnTo>
                    <a:pt x="126" y="558"/>
                  </a:lnTo>
                  <a:lnTo>
                    <a:pt x="126" y="552"/>
                  </a:lnTo>
                  <a:lnTo>
                    <a:pt x="126" y="546"/>
                  </a:lnTo>
                  <a:lnTo>
                    <a:pt x="126" y="534"/>
                  </a:lnTo>
                  <a:lnTo>
                    <a:pt x="126" y="516"/>
                  </a:lnTo>
                  <a:lnTo>
                    <a:pt x="126" y="510"/>
                  </a:lnTo>
                  <a:lnTo>
                    <a:pt x="126" y="504"/>
                  </a:lnTo>
                  <a:lnTo>
                    <a:pt x="126" y="498"/>
                  </a:lnTo>
                  <a:lnTo>
                    <a:pt x="132" y="498"/>
                  </a:lnTo>
                  <a:lnTo>
                    <a:pt x="132" y="492"/>
                  </a:lnTo>
                  <a:lnTo>
                    <a:pt x="138" y="492"/>
                  </a:lnTo>
                  <a:lnTo>
                    <a:pt x="144" y="486"/>
                  </a:lnTo>
                  <a:lnTo>
                    <a:pt x="156" y="480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6" y="462"/>
                  </a:lnTo>
                  <a:lnTo>
                    <a:pt x="156" y="456"/>
                  </a:lnTo>
                  <a:lnTo>
                    <a:pt x="156" y="450"/>
                  </a:lnTo>
                  <a:lnTo>
                    <a:pt x="162" y="438"/>
                  </a:lnTo>
                  <a:lnTo>
                    <a:pt x="168" y="426"/>
                  </a:lnTo>
                  <a:lnTo>
                    <a:pt x="174" y="426"/>
                  </a:lnTo>
                  <a:lnTo>
                    <a:pt x="174" y="420"/>
                  </a:lnTo>
                  <a:lnTo>
                    <a:pt x="180" y="414"/>
                  </a:lnTo>
                  <a:lnTo>
                    <a:pt x="186" y="420"/>
                  </a:lnTo>
                  <a:lnTo>
                    <a:pt x="186" y="414"/>
                  </a:lnTo>
                  <a:lnTo>
                    <a:pt x="180" y="408"/>
                  </a:lnTo>
                  <a:lnTo>
                    <a:pt x="180" y="402"/>
                  </a:lnTo>
                  <a:lnTo>
                    <a:pt x="186" y="402"/>
                  </a:lnTo>
                  <a:lnTo>
                    <a:pt x="192" y="402"/>
                  </a:lnTo>
                  <a:lnTo>
                    <a:pt x="192" y="396"/>
                  </a:lnTo>
                  <a:lnTo>
                    <a:pt x="198" y="396"/>
                  </a:lnTo>
                  <a:lnTo>
                    <a:pt x="204" y="396"/>
                  </a:lnTo>
                  <a:lnTo>
                    <a:pt x="210" y="396"/>
                  </a:lnTo>
                  <a:lnTo>
                    <a:pt x="210" y="390"/>
                  </a:lnTo>
                  <a:lnTo>
                    <a:pt x="216" y="390"/>
                  </a:lnTo>
                  <a:lnTo>
                    <a:pt x="216" y="384"/>
                  </a:lnTo>
                  <a:lnTo>
                    <a:pt x="222" y="384"/>
                  </a:lnTo>
                  <a:lnTo>
                    <a:pt x="222" y="378"/>
                  </a:lnTo>
                  <a:lnTo>
                    <a:pt x="228" y="372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0" y="348"/>
                  </a:lnTo>
                  <a:lnTo>
                    <a:pt x="234" y="342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46" y="330"/>
                  </a:lnTo>
                  <a:lnTo>
                    <a:pt x="246" y="324"/>
                  </a:lnTo>
                  <a:lnTo>
                    <a:pt x="234" y="318"/>
                  </a:lnTo>
                  <a:lnTo>
                    <a:pt x="234" y="312"/>
                  </a:lnTo>
                  <a:lnTo>
                    <a:pt x="234" y="300"/>
                  </a:lnTo>
                  <a:lnTo>
                    <a:pt x="240" y="288"/>
                  </a:lnTo>
                  <a:lnTo>
                    <a:pt x="240" y="276"/>
                  </a:lnTo>
                  <a:lnTo>
                    <a:pt x="246" y="258"/>
                  </a:lnTo>
                  <a:lnTo>
                    <a:pt x="258" y="252"/>
                  </a:lnTo>
                  <a:lnTo>
                    <a:pt x="270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294" y="252"/>
                  </a:lnTo>
                  <a:lnTo>
                    <a:pt x="300" y="258"/>
                  </a:lnTo>
                  <a:lnTo>
                    <a:pt x="318" y="252"/>
                  </a:lnTo>
                  <a:lnTo>
                    <a:pt x="366" y="252"/>
                  </a:lnTo>
                  <a:lnTo>
                    <a:pt x="378" y="252"/>
                  </a:lnTo>
                  <a:lnTo>
                    <a:pt x="396" y="252"/>
                  </a:lnTo>
                  <a:lnTo>
                    <a:pt x="408" y="252"/>
                  </a:lnTo>
                  <a:lnTo>
                    <a:pt x="408" y="246"/>
                  </a:lnTo>
                  <a:lnTo>
                    <a:pt x="414" y="240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20" y="216"/>
                  </a:lnTo>
                  <a:lnTo>
                    <a:pt x="426" y="210"/>
                  </a:lnTo>
                  <a:lnTo>
                    <a:pt x="444" y="198"/>
                  </a:lnTo>
                  <a:lnTo>
                    <a:pt x="462" y="198"/>
                  </a:lnTo>
                  <a:lnTo>
                    <a:pt x="474" y="204"/>
                  </a:lnTo>
                  <a:lnTo>
                    <a:pt x="498" y="198"/>
                  </a:lnTo>
                  <a:lnTo>
                    <a:pt x="498" y="204"/>
                  </a:lnTo>
                  <a:lnTo>
                    <a:pt x="540" y="210"/>
                  </a:lnTo>
                  <a:lnTo>
                    <a:pt x="564" y="210"/>
                  </a:lnTo>
                  <a:lnTo>
                    <a:pt x="588" y="210"/>
                  </a:lnTo>
                  <a:lnTo>
                    <a:pt x="612" y="210"/>
                  </a:lnTo>
                  <a:lnTo>
                    <a:pt x="612" y="216"/>
                  </a:lnTo>
                  <a:lnTo>
                    <a:pt x="618" y="222"/>
                  </a:lnTo>
                  <a:lnTo>
                    <a:pt x="618" y="228"/>
                  </a:lnTo>
                  <a:lnTo>
                    <a:pt x="624" y="240"/>
                  </a:lnTo>
                  <a:lnTo>
                    <a:pt x="624" y="246"/>
                  </a:lnTo>
                  <a:lnTo>
                    <a:pt x="630" y="252"/>
                  </a:lnTo>
                  <a:lnTo>
                    <a:pt x="630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0" y="282"/>
                  </a:lnTo>
                  <a:lnTo>
                    <a:pt x="630" y="288"/>
                  </a:lnTo>
                  <a:lnTo>
                    <a:pt x="630" y="300"/>
                  </a:lnTo>
                  <a:lnTo>
                    <a:pt x="630" y="306"/>
                  </a:lnTo>
                  <a:lnTo>
                    <a:pt x="636" y="306"/>
                  </a:lnTo>
                  <a:lnTo>
                    <a:pt x="642" y="306"/>
                  </a:lnTo>
                  <a:lnTo>
                    <a:pt x="648" y="312"/>
                  </a:lnTo>
                  <a:lnTo>
                    <a:pt x="666" y="312"/>
                  </a:lnTo>
                  <a:lnTo>
                    <a:pt x="696" y="306"/>
                  </a:lnTo>
                  <a:lnTo>
                    <a:pt x="732" y="300"/>
                  </a:lnTo>
                  <a:lnTo>
                    <a:pt x="732" y="288"/>
                  </a:lnTo>
                  <a:lnTo>
                    <a:pt x="738" y="288"/>
                  </a:lnTo>
                  <a:lnTo>
                    <a:pt x="744" y="276"/>
                  </a:lnTo>
                  <a:lnTo>
                    <a:pt x="762" y="246"/>
                  </a:lnTo>
                  <a:lnTo>
                    <a:pt x="768" y="228"/>
                  </a:lnTo>
                  <a:lnTo>
                    <a:pt x="792" y="210"/>
                  </a:lnTo>
                  <a:lnTo>
                    <a:pt x="804" y="186"/>
                  </a:lnTo>
                  <a:lnTo>
                    <a:pt x="804" y="156"/>
                  </a:lnTo>
                  <a:lnTo>
                    <a:pt x="804" y="138"/>
                  </a:lnTo>
                  <a:lnTo>
                    <a:pt x="810" y="126"/>
                  </a:lnTo>
                  <a:lnTo>
                    <a:pt x="816" y="120"/>
                  </a:lnTo>
                  <a:lnTo>
                    <a:pt x="828" y="102"/>
                  </a:lnTo>
                  <a:lnTo>
                    <a:pt x="834" y="96"/>
                  </a:lnTo>
                  <a:lnTo>
                    <a:pt x="846" y="102"/>
                  </a:lnTo>
                  <a:lnTo>
                    <a:pt x="852" y="96"/>
                  </a:lnTo>
                  <a:lnTo>
                    <a:pt x="858" y="72"/>
                  </a:lnTo>
                  <a:lnTo>
                    <a:pt x="864" y="60"/>
                  </a:lnTo>
                  <a:lnTo>
                    <a:pt x="882" y="48"/>
                  </a:lnTo>
                  <a:lnTo>
                    <a:pt x="906" y="36"/>
                  </a:lnTo>
                  <a:lnTo>
                    <a:pt x="918" y="12"/>
                  </a:lnTo>
                  <a:lnTo>
                    <a:pt x="924" y="0"/>
                  </a:lnTo>
                  <a:lnTo>
                    <a:pt x="930" y="6"/>
                  </a:lnTo>
                  <a:lnTo>
                    <a:pt x="942" y="12"/>
                  </a:lnTo>
                  <a:lnTo>
                    <a:pt x="948" y="12"/>
                  </a:lnTo>
                  <a:lnTo>
                    <a:pt x="954" y="18"/>
                  </a:lnTo>
                  <a:lnTo>
                    <a:pt x="966" y="18"/>
                  </a:lnTo>
                  <a:lnTo>
                    <a:pt x="972" y="18"/>
                  </a:lnTo>
                  <a:lnTo>
                    <a:pt x="984" y="18"/>
                  </a:lnTo>
                  <a:lnTo>
                    <a:pt x="990" y="18"/>
                  </a:lnTo>
                  <a:lnTo>
                    <a:pt x="1002" y="48"/>
                  </a:lnTo>
                  <a:lnTo>
                    <a:pt x="1008" y="78"/>
                  </a:lnTo>
                  <a:lnTo>
                    <a:pt x="1020" y="78"/>
                  </a:lnTo>
                  <a:lnTo>
                    <a:pt x="1020" y="90"/>
                  </a:lnTo>
                  <a:lnTo>
                    <a:pt x="1026" y="102"/>
                  </a:lnTo>
                  <a:lnTo>
                    <a:pt x="1044" y="120"/>
                  </a:lnTo>
                  <a:lnTo>
                    <a:pt x="1044" y="132"/>
                  </a:lnTo>
                  <a:lnTo>
                    <a:pt x="1056" y="150"/>
                  </a:lnTo>
                  <a:lnTo>
                    <a:pt x="1050" y="150"/>
                  </a:lnTo>
                  <a:lnTo>
                    <a:pt x="1044" y="156"/>
                  </a:lnTo>
                  <a:lnTo>
                    <a:pt x="1044" y="162"/>
                  </a:lnTo>
                  <a:lnTo>
                    <a:pt x="1038" y="162"/>
                  </a:lnTo>
                  <a:lnTo>
                    <a:pt x="1032" y="162"/>
                  </a:lnTo>
                  <a:lnTo>
                    <a:pt x="1026" y="168"/>
                  </a:lnTo>
                  <a:lnTo>
                    <a:pt x="1014" y="174"/>
                  </a:lnTo>
                  <a:lnTo>
                    <a:pt x="1014" y="186"/>
                  </a:lnTo>
                  <a:lnTo>
                    <a:pt x="1014" y="192"/>
                  </a:lnTo>
                  <a:lnTo>
                    <a:pt x="1014" y="198"/>
                  </a:lnTo>
                  <a:lnTo>
                    <a:pt x="1020" y="204"/>
                  </a:lnTo>
                  <a:lnTo>
                    <a:pt x="1026" y="204"/>
                  </a:lnTo>
                  <a:lnTo>
                    <a:pt x="1032" y="204"/>
                  </a:lnTo>
                  <a:lnTo>
                    <a:pt x="1032" y="210"/>
                  </a:lnTo>
                  <a:lnTo>
                    <a:pt x="1038" y="210"/>
                  </a:lnTo>
                  <a:lnTo>
                    <a:pt x="1032" y="216"/>
                  </a:lnTo>
                  <a:lnTo>
                    <a:pt x="1026" y="228"/>
                  </a:lnTo>
                  <a:lnTo>
                    <a:pt x="1026" y="234"/>
                  </a:lnTo>
                  <a:lnTo>
                    <a:pt x="1032" y="240"/>
                  </a:lnTo>
                  <a:lnTo>
                    <a:pt x="1032" y="246"/>
                  </a:lnTo>
                  <a:lnTo>
                    <a:pt x="1032" y="252"/>
                  </a:lnTo>
                  <a:lnTo>
                    <a:pt x="1032" y="258"/>
                  </a:lnTo>
                  <a:lnTo>
                    <a:pt x="1038" y="264"/>
                  </a:lnTo>
                  <a:lnTo>
                    <a:pt x="1032" y="276"/>
                  </a:lnTo>
                  <a:lnTo>
                    <a:pt x="1026" y="276"/>
                  </a:lnTo>
                  <a:lnTo>
                    <a:pt x="1020" y="276"/>
                  </a:lnTo>
                  <a:lnTo>
                    <a:pt x="996" y="282"/>
                  </a:lnTo>
                  <a:lnTo>
                    <a:pt x="996" y="288"/>
                  </a:lnTo>
                  <a:lnTo>
                    <a:pt x="996" y="294"/>
                  </a:lnTo>
                  <a:lnTo>
                    <a:pt x="996" y="300"/>
                  </a:lnTo>
                  <a:lnTo>
                    <a:pt x="996" y="306"/>
                  </a:lnTo>
                  <a:lnTo>
                    <a:pt x="984" y="324"/>
                  </a:lnTo>
                  <a:lnTo>
                    <a:pt x="984" y="330"/>
                  </a:lnTo>
                  <a:lnTo>
                    <a:pt x="984" y="336"/>
                  </a:lnTo>
                  <a:lnTo>
                    <a:pt x="978" y="336"/>
                  </a:lnTo>
                  <a:lnTo>
                    <a:pt x="978" y="342"/>
                  </a:lnTo>
                  <a:lnTo>
                    <a:pt x="984" y="360"/>
                  </a:lnTo>
                  <a:lnTo>
                    <a:pt x="978" y="366"/>
                  </a:lnTo>
                  <a:lnTo>
                    <a:pt x="978" y="372"/>
                  </a:lnTo>
                  <a:lnTo>
                    <a:pt x="972" y="372"/>
                  </a:lnTo>
                  <a:lnTo>
                    <a:pt x="972" y="378"/>
                  </a:lnTo>
                  <a:lnTo>
                    <a:pt x="972" y="384"/>
                  </a:lnTo>
                  <a:lnTo>
                    <a:pt x="972" y="390"/>
                  </a:lnTo>
                  <a:lnTo>
                    <a:pt x="966" y="402"/>
                  </a:lnTo>
                  <a:lnTo>
                    <a:pt x="960" y="414"/>
                  </a:lnTo>
                  <a:lnTo>
                    <a:pt x="954" y="420"/>
                  </a:lnTo>
                  <a:lnTo>
                    <a:pt x="948" y="426"/>
                  </a:lnTo>
                  <a:lnTo>
                    <a:pt x="948" y="438"/>
                  </a:lnTo>
                  <a:lnTo>
                    <a:pt x="942" y="444"/>
                  </a:lnTo>
                  <a:lnTo>
                    <a:pt x="936" y="450"/>
                  </a:lnTo>
                  <a:lnTo>
                    <a:pt x="930" y="456"/>
                  </a:lnTo>
                  <a:lnTo>
                    <a:pt x="924" y="462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18" y="522"/>
                  </a:lnTo>
                  <a:lnTo>
                    <a:pt x="918" y="528"/>
                  </a:lnTo>
                  <a:lnTo>
                    <a:pt x="924" y="534"/>
                  </a:lnTo>
                  <a:lnTo>
                    <a:pt x="924" y="540"/>
                  </a:lnTo>
                  <a:lnTo>
                    <a:pt x="924" y="546"/>
                  </a:lnTo>
                  <a:lnTo>
                    <a:pt x="918" y="546"/>
                  </a:lnTo>
                  <a:lnTo>
                    <a:pt x="918" y="552"/>
                  </a:lnTo>
                  <a:lnTo>
                    <a:pt x="912" y="546"/>
                  </a:lnTo>
                  <a:lnTo>
                    <a:pt x="912" y="552"/>
                  </a:lnTo>
                  <a:lnTo>
                    <a:pt x="912" y="570"/>
                  </a:lnTo>
                  <a:lnTo>
                    <a:pt x="906" y="588"/>
                  </a:lnTo>
                  <a:lnTo>
                    <a:pt x="900" y="606"/>
                  </a:lnTo>
                  <a:lnTo>
                    <a:pt x="906" y="624"/>
                  </a:lnTo>
                  <a:lnTo>
                    <a:pt x="900" y="624"/>
                  </a:lnTo>
                  <a:lnTo>
                    <a:pt x="894" y="630"/>
                  </a:lnTo>
                  <a:lnTo>
                    <a:pt x="888" y="630"/>
                  </a:lnTo>
                  <a:lnTo>
                    <a:pt x="882" y="630"/>
                  </a:lnTo>
                  <a:lnTo>
                    <a:pt x="882" y="636"/>
                  </a:lnTo>
                  <a:lnTo>
                    <a:pt x="876" y="642"/>
                  </a:lnTo>
                  <a:lnTo>
                    <a:pt x="870" y="642"/>
                  </a:lnTo>
                  <a:lnTo>
                    <a:pt x="870" y="648"/>
                  </a:lnTo>
                  <a:lnTo>
                    <a:pt x="870" y="654"/>
                  </a:lnTo>
                  <a:lnTo>
                    <a:pt x="864" y="654"/>
                  </a:lnTo>
                  <a:lnTo>
                    <a:pt x="864" y="660"/>
                  </a:lnTo>
                  <a:lnTo>
                    <a:pt x="846" y="666"/>
                  </a:lnTo>
                  <a:lnTo>
                    <a:pt x="828" y="672"/>
                  </a:lnTo>
                  <a:lnTo>
                    <a:pt x="816" y="660"/>
                  </a:lnTo>
                  <a:lnTo>
                    <a:pt x="810" y="660"/>
                  </a:lnTo>
                  <a:lnTo>
                    <a:pt x="798" y="666"/>
                  </a:lnTo>
                  <a:lnTo>
                    <a:pt x="786" y="666"/>
                  </a:lnTo>
                  <a:lnTo>
                    <a:pt x="780" y="672"/>
                  </a:lnTo>
                  <a:lnTo>
                    <a:pt x="768" y="678"/>
                  </a:lnTo>
                  <a:lnTo>
                    <a:pt x="762" y="660"/>
                  </a:lnTo>
                  <a:lnTo>
                    <a:pt x="762" y="654"/>
                  </a:lnTo>
                  <a:lnTo>
                    <a:pt x="756" y="636"/>
                  </a:lnTo>
                  <a:lnTo>
                    <a:pt x="762" y="624"/>
                  </a:lnTo>
                  <a:lnTo>
                    <a:pt x="756" y="606"/>
                  </a:lnTo>
                  <a:lnTo>
                    <a:pt x="756" y="600"/>
                  </a:lnTo>
                  <a:lnTo>
                    <a:pt x="762" y="594"/>
                  </a:lnTo>
                  <a:lnTo>
                    <a:pt x="768" y="600"/>
                  </a:lnTo>
                  <a:lnTo>
                    <a:pt x="768" y="594"/>
                  </a:lnTo>
                  <a:lnTo>
                    <a:pt x="768" y="588"/>
                  </a:lnTo>
                  <a:lnTo>
                    <a:pt x="774" y="582"/>
                  </a:lnTo>
                  <a:lnTo>
                    <a:pt x="768" y="576"/>
                  </a:lnTo>
                  <a:lnTo>
                    <a:pt x="762" y="576"/>
                  </a:lnTo>
                  <a:lnTo>
                    <a:pt x="756" y="576"/>
                  </a:lnTo>
                  <a:lnTo>
                    <a:pt x="690" y="576"/>
                  </a:lnTo>
                  <a:lnTo>
                    <a:pt x="624" y="570"/>
                  </a:lnTo>
                  <a:lnTo>
                    <a:pt x="600" y="564"/>
                  </a:lnTo>
                  <a:lnTo>
                    <a:pt x="576" y="564"/>
                  </a:lnTo>
                  <a:lnTo>
                    <a:pt x="558" y="570"/>
                  </a:lnTo>
                  <a:lnTo>
                    <a:pt x="552" y="576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46" y="594"/>
                  </a:lnTo>
                  <a:lnTo>
                    <a:pt x="546" y="600"/>
                  </a:lnTo>
                  <a:lnTo>
                    <a:pt x="540" y="606"/>
                  </a:lnTo>
                  <a:lnTo>
                    <a:pt x="534" y="618"/>
                  </a:lnTo>
                  <a:lnTo>
                    <a:pt x="534" y="624"/>
                  </a:lnTo>
                  <a:lnTo>
                    <a:pt x="534" y="630"/>
                  </a:lnTo>
                  <a:lnTo>
                    <a:pt x="534" y="636"/>
                  </a:lnTo>
                  <a:lnTo>
                    <a:pt x="528" y="636"/>
                  </a:lnTo>
                  <a:lnTo>
                    <a:pt x="516" y="642"/>
                  </a:lnTo>
                  <a:lnTo>
                    <a:pt x="516" y="648"/>
                  </a:lnTo>
                  <a:lnTo>
                    <a:pt x="510" y="648"/>
                  </a:lnTo>
                  <a:lnTo>
                    <a:pt x="504" y="654"/>
                  </a:lnTo>
                  <a:lnTo>
                    <a:pt x="492" y="666"/>
                  </a:lnTo>
                  <a:lnTo>
                    <a:pt x="492" y="672"/>
                  </a:lnTo>
                  <a:lnTo>
                    <a:pt x="492" y="684"/>
                  </a:lnTo>
                  <a:lnTo>
                    <a:pt x="486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92" y="702"/>
                  </a:lnTo>
                  <a:lnTo>
                    <a:pt x="486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74" y="720"/>
                  </a:lnTo>
                  <a:lnTo>
                    <a:pt x="480" y="726"/>
                  </a:lnTo>
                  <a:lnTo>
                    <a:pt x="474" y="726"/>
                  </a:lnTo>
                  <a:lnTo>
                    <a:pt x="474" y="738"/>
                  </a:lnTo>
                  <a:lnTo>
                    <a:pt x="474" y="744"/>
                  </a:lnTo>
                  <a:lnTo>
                    <a:pt x="474" y="750"/>
                  </a:lnTo>
                  <a:lnTo>
                    <a:pt x="480" y="750"/>
                  </a:lnTo>
                  <a:lnTo>
                    <a:pt x="480" y="756"/>
                  </a:lnTo>
                  <a:lnTo>
                    <a:pt x="492" y="762"/>
                  </a:lnTo>
                  <a:lnTo>
                    <a:pt x="498" y="774"/>
                  </a:lnTo>
                  <a:lnTo>
                    <a:pt x="498" y="780"/>
                  </a:lnTo>
                  <a:lnTo>
                    <a:pt x="504" y="786"/>
                  </a:lnTo>
                  <a:lnTo>
                    <a:pt x="510" y="792"/>
                  </a:lnTo>
                  <a:lnTo>
                    <a:pt x="504" y="798"/>
                  </a:lnTo>
                  <a:lnTo>
                    <a:pt x="504" y="804"/>
                  </a:lnTo>
                  <a:lnTo>
                    <a:pt x="504" y="810"/>
                  </a:lnTo>
                  <a:lnTo>
                    <a:pt x="498" y="822"/>
                  </a:lnTo>
                  <a:lnTo>
                    <a:pt x="492" y="828"/>
                  </a:lnTo>
                  <a:lnTo>
                    <a:pt x="492" y="834"/>
                  </a:lnTo>
                  <a:lnTo>
                    <a:pt x="486" y="840"/>
                  </a:lnTo>
                  <a:lnTo>
                    <a:pt x="480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74" y="858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876"/>
                  </a:lnTo>
                  <a:lnTo>
                    <a:pt x="456" y="894"/>
                  </a:lnTo>
                  <a:lnTo>
                    <a:pt x="450" y="894"/>
                  </a:lnTo>
                  <a:lnTo>
                    <a:pt x="444" y="900"/>
                  </a:lnTo>
                  <a:lnTo>
                    <a:pt x="444" y="894"/>
                  </a:lnTo>
                  <a:lnTo>
                    <a:pt x="438" y="894"/>
                  </a:lnTo>
                  <a:lnTo>
                    <a:pt x="432" y="900"/>
                  </a:lnTo>
                  <a:lnTo>
                    <a:pt x="432" y="906"/>
                  </a:lnTo>
                  <a:lnTo>
                    <a:pt x="420" y="906"/>
                  </a:lnTo>
                  <a:lnTo>
                    <a:pt x="420" y="912"/>
                  </a:lnTo>
                  <a:lnTo>
                    <a:pt x="420" y="918"/>
                  </a:lnTo>
                  <a:lnTo>
                    <a:pt x="426" y="918"/>
                  </a:lnTo>
                  <a:lnTo>
                    <a:pt x="426" y="924"/>
                  </a:lnTo>
                  <a:lnTo>
                    <a:pt x="426" y="930"/>
                  </a:lnTo>
                  <a:lnTo>
                    <a:pt x="420" y="930"/>
                  </a:lnTo>
                  <a:lnTo>
                    <a:pt x="414" y="936"/>
                  </a:lnTo>
                  <a:lnTo>
                    <a:pt x="414" y="942"/>
                  </a:lnTo>
                  <a:lnTo>
                    <a:pt x="414" y="948"/>
                  </a:lnTo>
                  <a:lnTo>
                    <a:pt x="414" y="954"/>
                  </a:lnTo>
                  <a:lnTo>
                    <a:pt x="426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44" y="972"/>
                  </a:lnTo>
                  <a:lnTo>
                    <a:pt x="444" y="978"/>
                  </a:lnTo>
                  <a:lnTo>
                    <a:pt x="450" y="978"/>
                  </a:lnTo>
                  <a:lnTo>
                    <a:pt x="450" y="984"/>
                  </a:lnTo>
                  <a:lnTo>
                    <a:pt x="456" y="990"/>
                  </a:lnTo>
                  <a:lnTo>
                    <a:pt x="456" y="996"/>
                  </a:lnTo>
                  <a:lnTo>
                    <a:pt x="462" y="1008"/>
                  </a:lnTo>
                  <a:lnTo>
                    <a:pt x="468" y="1008"/>
                  </a:lnTo>
                  <a:lnTo>
                    <a:pt x="468" y="1002"/>
                  </a:lnTo>
                  <a:lnTo>
                    <a:pt x="474" y="1008"/>
                  </a:lnTo>
                  <a:lnTo>
                    <a:pt x="480" y="1002"/>
                  </a:lnTo>
                  <a:lnTo>
                    <a:pt x="486" y="1008"/>
                  </a:lnTo>
                  <a:lnTo>
                    <a:pt x="486" y="1014"/>
                  </a:lnTo>
                  <a:lnTo>
                    <a:pt x="492" y="1014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86" y="1026"/>
                  </a:lnTo>
                  <a:lnTo>
                    <a:pt x="492" y="1026"/>
                  </a:lnTo>
                  <a:lnTo>
                    <a:pt x="486" y="1026"/>
                  </a:lnTo>
                  <a:lnTo>
                    <a:pt x="492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5" name="Freeform 30">
              <a:extLst>
                <a:ext uri="{FF2B5EF4-FFF2-40B4-BE49-F238E27FC236}">
                  <a16:creationId xmlns:a16="http://schemas.microsoft.com/office/drawing/2014/main" id="{85C7B827-0C1A-4D72-AEBD-F01CFE7EC12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3645" y="3904484"/>
              <a:ext cx="559048" cy="111825"/>
            </a:xfrm>
            <a:custGeom>
              <a:avLst/>
              <a:gdLst>
                <a:gd name="T0" fmla="*/ 69 w 1056"/>
                <a:gd name="T1" fmla="*/ 7 h 210"/>
                <a:gd name="T2" fmla="*/ 63 w 1056"/>
                <a:gd name="T3" fmla="*/ 5 h 210"/>
                <a:gd name="T4" fmla="*/ 57 w 1056"/>
                <a:gd name="T5" fmla="*/ 5 h 210"/>
                <a:gd name="T6" fmla="*/ 54 w 1056"/>
                <a:gd name="T7" fmla="*/ 6 h 210"/>
                <a:gd name="T8" fmla="*/ 51 w 1056"/>
                <a:gd name="T9" fmla="*/ 7 h 210"/>
                <a:gd name="T10" fmla="*/ 46 w 1056"/>
                <a:gd name="T11" fmla="*/ 9 h 210"/>
                <a:gd name="T12" fmla="*/ 42 w 1056"/>
                <a:gd name="T13" fmla="*/ 8 h 210"/>
                <a:gd name="T14" fmla="*/ 42 w 1056"/>
                <a:gd name="T15" fmla="*/ 5 h 210"/>
                <a:gd name="T16" fmla="*/ 41 w 1056"/>
                <a:gd name="T17" fmla="*/ 7 h 210"/>
                <a:gd name="T18" fmla="*/ 38 w 1056"/>
                <a:gd name="T19" fmla="*/ 10 h 210"/>
                <a:gd name="T20" fmla="*/ 37 w 1056"/>
                <a:gd name="T21" fmla="*/ 12 h 210"/>
                <a:gd name="T22" fmla="*/ 37 w 1056"/>
                <a:gd name="T23" fmla="*/ 15 h 210"/>
                <a:gd name="T24" fmla="*/ 37 w 1056"/>
                <a:gd name="T25" fmla="*/ 16 h 210"/>
                <a:gd name="T26" fmla="*/ 38 w 1056"/>
                <a:gd name="T27" fmla="*/ 16 h 210"/>
                <a:gd name="T28" fmla="*/ 34 w 1056"/>
                <a:gd name="T29" fmla="*/ 16 h 210"/>
                <a:gd name="T30" fmla="*/ 26 w 1056"/>
                <a:gd name="T31" fmla="*/ 16 h 210"/>
                <a:gd name="T32" fmla="*/ 20 w 1056"/>
                <a:gd name="T33" fmla="*/ 17 h 210"/>
                <a:gd name="T34" fmla="*/ 13 w 1056"/>
                <a:gd name="T35" fmla="*/ 17 h 210"/>
                <a:gd name="T36" fmla="*/ 6 w 1056"/>
                <a:gd name="T37" fmla="*/ 17 h 210"/>
                <a:gd name="T38" fmla="*/ 1 w 1056"/>
                <a:gd name="T39" fmla="*/ 18 h 210"/>
                <a:gd name="T40" fmla="*/ 3 w 1056"/>
                <a:gd name="T41" fmla="*/ 14 h 210"/>
                <a:gd name="T42" fmla="*/ 8 w 1056"/>
                <a:gd name="T43" fmla="*/ 15 h 210"/>
                <a:gd name="T44" fmla="*/ 11 w 1056"/>
                <a:gd name="T45" fmla="*/ 12 h 210"/>
                <a:gd name="T46" fmla="*/ 26 w 1056"/>
                <a:gd name="T47" fmla="*/ 10 h 210"/>
                <a:gd name="T48" fmla="*/ 29 w 1056"/>
                <a:gd name="T49" fmla="*/ 5 h 210"/>
                <a:gd name="T50" fmla="*/ 34 w 1056"/>
                <a:gd name="T51" fmla="*/ 1 h 210"/>
                <a:gd name="T52" fmla="*/ 41 w 1056"/>
                <a:gd name="T53" fmla="*/ 3 h 210"/>
                <a:gd name="T54" fmla="*/ 73 w 1056"/>
                <a:gd name="T55" fmla="*/ 1 h 210"/>
                <a:gd name="T56" fmla="*/ 75 w 1056"/>
                <a:gd name="T57" fmla="*/ 4 h 210"/>
                <a:gd name="T58" fmla="*/ 85 w 1056"/>
                <a:gd name="T59" fmla="*/ 15 h 210"/>
                <a:gd name="T60" fmla="*/ 91 w 1056"/>
                <a:gd name="T61" fmla="*/ 18 h 210"/>
                <a:gd name="T62" fmla="*/ 85 w 1056"/>
                <a:gd name="T63" fmla="*/ 18 h 210"/>
                <a:gd name="T64" fmla="*/ 79 w 1056"/>
                <a:gd name="T65" fmla="*/ 16 h 210"/>
                <a:gd name="T66" fmla="*/ 74 w 1056"/>
                <a:gd name="T67" fmla="*/ 16 h 210"/>
                <a:gd name="T68" fmla="*/ 69 w 1056"/>
                <a:gd name="T69" fmla="*/ 15 h 210"/>
                <a:gd name="T70" fmla="*/ 65 w 1056"/>
                <a:gd name="T71" fmla="*/ 14 h 210"/>
                <a:gd name="T72" fmla="*/ 59 w 1056"/>
                <a:gd name="T73" fmla="*/ 15 h 210"/>
                <a:gd name="T74" fmla="*/ 54 w 1056"/>
                <a:gd name="T75" fmla="*/ 15 h 210"/>
                <a:gd name="T76" fmla="*/ 49 w 1056"/>
                <a:gd name="T77" fmla="*/ 15 h 210"/>
                <a:gd name="T78" fmla="*/ 42 w 1056"/>
                <a:gd name="T79" fmla="*/ 15 h 210"/>
                <a:gd name="T80" fmla="*/ 38 w 1056"/>
                <a:gd name="T81" fmla="*/ 16 h 210"/>
                <a:gd name="T82" fmla="*/ 41 w 1056"/>
                <a:gd name="T83" fmla="*/ 14 h 210"/>
                <a:gd name="T84" fmla="*/ 42 w 1056"/>
                <a:gd name="T85" fmla="*/ 13 h 210"/>
                <a:gd name="T86" fmla="*/ 45 w 1056"/>
                <a:gd name="T87" fmla="*/ 13 h 210"/>
                <a:gd name="T88" fmla="*/ 48 w 1056"/>
                <a:gd name="T89" fmla="*/ 12 h 210"/>
                <a:gd name="T90" fmla="*/ 51 w 1056"/>
                <a:gd name="T91" fmla="*/ 11 h 210"/>
                <a:gd name="T92" fmla="*/ 54 w 1056"/>
                <a:gd name="T93" fmla="*/ 9 h 210"/>
                <a:gd name="T94" fmla="*/ 57 w 1056"/>
                <a:gd name="T95" fmla="*/ 8 h 210"/>
                <a:gd name="T96" fmla="*/ 60 w 1056"/>
                <a:gd name="T97" fmla="*/ 5 h 210"/>
                <a:gd name="T98" fmla="*/ 65 w 1056"/>
                <a:gd name="T99" fmla="*/ 5 h 210"/>
                <a:gd name="T100" fmla="*/ 72 w 1056"/>
                <a:gd name="T101" fmla="*/ 7 h 210"/>
                <a:gd name="T102" fmla="*/ 77 w 1056"/>
                <a:gd name="T103" fmla="*/ 11 h 210"/>
                <a:gd name="T104" fmla="*/ 69 w 1056"/>
                <a:gd name="T105" fmla="*/ 10 h 210"/>
                <a:gd name="T106" fmla="*/ 72 w 1056"/>
                <a:gd name="T107" fmla="*/ 12 h 210"/>
                <a:gd name="T108" fmla="*/ 78 w 1056"/>
                <a:gd name="T109" fmla="*/ 15 h 210"/>
                <a:gd name="T110" fmla="*/ 84 w 1056"/>
                <a:gd name="T111" fmla="*/ 14 h 210"/>
                <a:gd name="T112" fmla="*/ 84 w 1056"/>
                <a:gd name="T113" fmla="*/ 14 h 210"/>
                <a:gd name="T114" fmla="*/ 78 w 1056"/>
                <a:gd name="T115" fmla="*/ 13 h 210"/>
                <a:gd name="T116" fmla="*/ 76 w 1056"/>
                <a:gd name="T117" fmla="*/ 14 h 210"/>
                <a:gd name="T118" fmla="*/ 38 w 1056"/>
                <a:gd name="T119" fmla="*/ 12 h 210"/>
                <a:gd name="T120" fmla="*/ 41 w 1056"/>
                <a:gd name="T121" fmla="*/ 12 h 210"/>
                <a:gd name="T122" fmla="*/ 40 w 1056"/>
                <a:gd name="T123" fmla="*/ 14 h 2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6"/>
                <a:gd name="T187" fmla="*/ 0 h 210"/>
                <a:gd name="T188" fmla="*/ 1056 w 1056"/>
                <a:gd name="T189" fmla="*/ 210 h 21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6" h="210">
                  <a:moveTo>
                    <a:pt x="870" y="90"/>
                  </a:moveTo>
                  <a:lnTo>
                    <a:pt x="864" y="90"/>
                  </a:lnTo>
                  <a:lnTo>
                    <a:pt x="852" y="84"/>
                  </a:lnTo>
                  <a:lnTo>
                    <a:pt x="846" y="84"/>
                  </a:lnTo>
                  <a:lnTo>
                    <a:pt x="846" y="78"/>
                  </a:lnTo>
                  <a:lnTo>
                    <a:pt x="840" y="78"/>
                  </a:lnTo>
                  <a:lnTo>
                    <a:pt x="834" y="78"/>
                  </a:lnTo>
                  <a:lnTo>
                    <a:pt x="834" y="72"/>
                  </a:lnTo>
                  <a:lnTo>
                    <a:pt x="804" y="78"/>
                  </a:lnTo>
                  <a:lnTo>
                    <a:pt x="798" y="78"/>
                  </a:lnTo>
                  <a:lnTo>
                    <a:pt x="792" y="72"/>
                  </a:lnTo>
                  <a:lnTo>
                    <a:pt x="780" y="60"/>
                  </a:lnTo>
                  <a:lnTo>
                    <a:pt x="768" y="54"/>
                  </a:lnTo>
                  <a:lnTo>
                    <a:pt x="756" y="54"/>
                  </a:lnTo>
                  <a:lnTo>
                    <a:pt x="750" y="54"/>
                  </a:lnTo>
                  <a:lnTo>
                    <a:pt x="750" y="48"/>
                  </a:lnTo>
                  <a:lnTo>
                    <a:pt x="744" y="48"/>
                  </a:lnTo>
                  <a:lnTo>
                    <a:pt x="738" y="48"/>
                  </a:lnTo>
                  <a:lnTo>
                    <a:pt x="732" y="48"/>
                  </a:lnTo>
                  <a:lnTo>
                    <a:pt x="732" y="54"/>
                  </a:lnTo>
                  <a:lnTo>
                    <a:pt x="726" y="48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48"/>
                  </a:lnTo>
                  <a:lnTo>
                    <a:pt x="702" y="48"/>
                  </a:lnTo>
                  <a:lnTo>
                    <a:pt x="696" y="48"/>
                  </a:lnTo>
                  <a:lnTo>
                    <a:pt x="684" y="48"/>
                  </a:lnTo>
                  <a:lnTo>
                    <a:pt x="678" y="48"/>
                  </a:lnTo>
                  <a:lnTo>
                    <a:pt x="672" y="48"/>
                  </a:lnTo>
                  <a:lnTo>
                    <a:pt x="666" y="54"/>
                  </a:lnTo>
                  <a:lnTo>
                    <a:pt x="660" y="54"/>
                  </a:lnTo>
                  <a:lnTo>
                    <a:pt x="660" y="48"/>
                  </a:lnTo>
                  <a:lnTo>
                    <a:pt x="654" y="48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42" y="54"/>
                  </a:lnTo>
                  <a:lnTo>
                    <a:pt x="63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30" y="66"/>
                  </a:lnTo>
                  <a:lnTo>
                    <a:pt x="624" y="66"/>
                  </a:lnTo>
                  <a:lnTo>
                    <a:pt x="618" y="66"/>
                  </a:lnTo>
                  <a:lnTo>
                    <a:pt x="618" y="72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6" y="84"/>
                  </a:lnTo>
                  <a:lnTo>
                    <a:pt x="600" y="84"/>
                  </a:lnTo>
                  <a:lnTo>
                    <a:pt x="594" y="90"/>
                  </a:lnTo>
                  <a:lnTo>
                    <a:pt x="588" y="90"/>
                  </a:lnTo>
                  <a:lnTo>
                    <a:pt x="588" y="84"/>
                  </a:lnTo>
                  <a:lnTo>
                    <a:pt x="582" y="84"/>
                  </a:lnTo>
                  <a:lnTo>
                    <a:pt x="576" y="84"/>
                  </a:lnTo>
                  <a:lnTo>
                    <a:pt x="570" y="84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58" y="96"/>
                  </a:lnTo>
                  <a:lnTo>
                    <a:pt x="552" y="96"/>
                  </a:lnTo>
                  <a:lnTo>
                    <a:pt x="546" y="102"/>
                  </a:lnTo>
                  <a:lnTo>
                    <a:pt x="540" y="102"/>
                  </a:lnTo>
                  <a:lnTo>
                    <a:pt x="534" y="102"/>
                  </a:lnTo>
                  <a:lnTo>
                    <a:pt x="528" y="102"/>
                  </a:lnTo>
                  <a:lnTo>
                    <a:pt x="528" y="108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16" y="102"/>
                  </a:lnTo>
                  <a:lnTo>
                    <a:pt x="510" y="102"/>
                  </a:lnTo>
                  <a:lnTo>
                    <a:pt x="504" y="102"/>
                  </a:lnTo>
                  <a:lnTo>
                    <a:pt x="498" y="102"/>
                  </a:lnTo>
                  <a:lnTo>
                    <a:pt x="498" y="96"/>
                  </a:lnTo>
                  <a:lnTo>
                    <a:pt x="492" y="96"/>
                  </a:lnTo>
                  <a:lnTo>
                    <a:pt x="492" y="90"/>
                  </a:lnTo>
                  <a:lnTo>
                    <a:pt x="492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498" y="66"/>
                  </a:lnTo>
                  <a:lnTo>
                    <a:pt x="504" y="60"/>
                  </a:lnTo>
                  <a:lnTo>
                    <a:pt x="498" y="60"/>
                  </a:lnTo>
                  <a:lnTo>
                    <a:pt x="498" y="54"/>
                  </a:lnTo>
                  <a:lnTo>
                    <a:pt x="492" y="54"/>
                  </a:lnTo>
                  <a:lnTo>
                    <a:pt x="492" y="60"/>
                  </a:lnTo>
                  <a:lnTo>
                    <a:pt x="486" y="60"/>
                  </a:lnTo>
                  <a:lnTo>
                    <a:pt x="486" y="66"/>
                  </a:lnTo>
                  <a:lnTo>
                    <a:pt x="480" y="66"/>
                  </a:lnTo>
                  <a:lnTo>
                    <a:pt x="474" y="72"/>
                  </a:lnTo>
                  <a:lnTo>
                    <a:pt x="474" y="66"/>
                  </a:lnTo>
                  <a:lnTo>
                    <a:pt x="474" y="72"/>
                  </a:lnTo>
                  <a:lnTo>
                    <a:pt x="468" y="72"/>
                  </a:lnTo>
                  <a:lnTo>
                    <a:pt x="468" y="78"/>
                  </a:lnTo>
                  <a:lnTo>
                    <a:pt x="468" y="84"/>
                  </a:lnTo>
                  <a:lnTo>
                    <a:pt x="462" y="90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0" y="84"/>
                  </a:lnTo>
                  <a:lnTo>
                    <a:pt x="450" y="90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44" y="102"/>
                  </a:lnTo>
                  <a:lnTo>
                    <a:pt x="444" y="108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38" y="126"/>
                  </a:lnTo>
                  <a:lnTo>
                    <a:pt x="438" y="132"/>
                  </a:lnTo>
                  <a:lnTo>
                    <a:pt x="438" y="138"/>
                  </a:lnTo>
                  <a:lnTo>
                    <a:pt x="438" y="144"/>
                  </a:lnTo>
                  <a:lnTo>
                    <a:pt x="432" y="144"/>
                  </a:lnTo>
                  <a:lnTo>
                    <a:pt x="432" y="150"/>
                  </a:lnTo>
                  <a:lnTo>
                    <a:pt x="432" y="144"/>
                  </a:lnTo>
                  <a:lnTo>
                    <a:pt x="426" y="144"/>
                  </a:lnTo>
                  <a:lnTo>
                    <a:pt x="426" y="150"/>
                  </a:lnTo>
                  <a:lnTo>
                    <a:pt x="426" y="156"/>
                  </a:lnTo>
                  <a:lnTo>
                    <a:pt x="432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2"/>
                  </a:lnTo>
                  <a:lnTo>
                    <a:pt x="432" y="168"/>
                  </a:lnTo>
                  <a:lnTo>
                    <a:pt x="426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44" y="168"/>
                  </a:lnTo>
                  <a:lnTo>
                    <a:pt x="444" y="174"/>
                  </a:lnTo>
                  <a:lnTo>
                    <a:pt x="444" y="180"/>
                  </a:lnTo>
                  <a:lnTo>
                    <a:pt x="444" y="186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2" y="192"/>
                  </a:lnTo>
                  <a:lnTo>
                    <a:pt x="426" y="192"/>
                  </a:lnTo>
                  <a:lnTo>
                    <a:pt x="420" y="186"/>
                  </a:lnTo>
                  <a:lnTo>
                    <a:pt x="414" y="186"/>
                  </a:lnTo>
                  <a:lnTo>
                    <a:pt x="408" y="186"/>
                  </a:lnTo>
                  <a:lnTo>
                    <a:pt x="402" y="186"/>
                  </a:lnTo>
                  <a:lnTo>
                    <a:pt x="396" y="186"/>
                  </a:lnTo>
                  <a:lnTo>
                    <a:pt x="390" y="186"/>
                  </a:lnTo>
                  <a:lnTo>
                    <a:pt x="384" y="186"/>
                  </a:lnTo>
                  <a:lnTo>
                    <a:pt x="378" y="186"/>
                  </a:lnTo>
                  <a:lnTo>
                    <a:pt x="372" y="186"/>
                  </a:lnTo>
                  <a:lnTo>
                    <a:pt x="354" y="186"/>
                  </a:lnTo>
                  <a:lnTo>
                    <a:pt x="342" y="186"/>
                  </a:lnTo>
                  <a:lnTo>
                    <a:pt x="324" y="186"/>
                  </a:lnTo>
                  <a:lnTo>
                    <a:pt x="312" y="186"/>
                  </a:lnTo>
                  <a:lnTo>
                    <a:pt x="306" y="186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82" y="186"/>
                  </a:lnTo>
                  <a:lnTo>
                    <a:pt x="270" y="186"/>
                  </a:lnTo>
                  <a:lnTo>
                    <a:pt x="264" y="186"/>
                  </a:lnTo>
                  <a:lnTo>
                    <a:pt x="258" y="192"/>
                  </a:lnTo>
                  <a:lnTo>
                    <a:pt x="258" y="186"/>
                  </a:lnTo>
                  <a:lnTo>
                    <a:pt x="246" y="186"/>
                  </a:lnTo>
                  <a:lnTo>
                    <a:pt x="240" y="186"/>
                  </a:lnTo>
                  <a:lnTo>
                    <a:pt x="234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2"/>
                  </a:lnTo>
                  <a:lnTo>
                    <a:pt x="204" y="192"/>
                  </a:lnTo>
                  <a:lnTo>
                    <a:pt x="198" y="192"/>
                  </a:lnTo>
                  <a:lnTo>
                    <a:pt x="192" y="192"/>
                  </a:lnTo>
                  <a:lnTo>
                    <a:pt x="180" y="192"/>
                  </a:lnTo>
                  <a:lnTo>
                    <a:pt x="168" y="192"/>
                  </a:lnTo>
                  <a:lnTo>
                    <a:pt x="162" y="192"/>
                  </a:lnTo>
                  <a:lnTo>
                    <a:pt x="150" y="192"/>
                  </a:lnTo>
                  <a:lnTo>
                    <a:pt x="138" y="192"/>
                  </a:lnTo>
                  <a:lnTo>
                    <a:pt x="132" y="192"/>
                  </a:lnTo>
                  <a:lnTo>
                    <a:pt x="120" y="192"/>
                  </a:lnTo>
                  <a:lnTo>
                    <a:pt x="114" y="192"/>
                  </a:lnTo>
                  <a:lnTo>
                    <a:pt x="108" y="192"/>
                  </a:lnTo>
                  <a:lnTo>
                    <a:pt x="102" y="192"/>
                  </a:lnTo>
                  <a:lnTo>
                    <a:pt x="90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2" y="198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36" y="198"/>
                  </a:lnTo>
                  <a:lnTo>
                    <a:pt x="30" y="204"/>
                  </a:lnTo>
                  <a:lnTo>
                    <a:pt x="24" y="204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6" y="210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54" y="156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56"/>
                  </a:lnTo>
                  <a:lnTo>
                    <a:pt x="78" y="162"/>
                  </a:lnTo>
                  <a:lnTo>
                    <a:pt x="84" y="162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9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0" y="126"/>
                  </a:lnTo>
                  <a:lnTo>
                    <a:pt x="276" y="120"/>
                  </a:lnTo>
                  <a:lnTo>
                    <a:pt x="282" y="120"/>
                  </a:lnTo>
                  <a:lnTo>
                    <a:pt x="300" y="120"/>
                  </a:lnTo>
                  <a:lnTo>
                    <a:pt x="306" y="114"/>
                  </a:lnTo>
                  <a:lnTo>
                    <a:pt x="312" y="108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8"/>
                  </a:lnTo>
                  <a:lnTo>
                    <a:pt x="342" y="30"/>
                  </a:lnTo>
                  <a:lnTo>
                    <a:pt x="342" y="24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8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24"/>
                  </a:lnTo>
                  <a:lnTo>
                    <a:pt x="414" y="30"/>
                  </a:lnTo>
                  <a:lnTo>
                    <a:pt x="420" y="30"/>
                  </a:lnTo>
                  <a:lnTo>
                    <a:pt x="42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74" y="30"/>
                  </a:lnTo>
                  <a:lnTo>
                    <a:pt x="474" y="18"/>
                  </a:lnTo>
                  <a:lnTo>
                    <a:pt x="474" y="12"/>
                  </a:lnTo>
                  <a:lnTo>
                    <a:pt x="480" y="12"/>
                  </a:lnTo>
                  <a:lnTo>
                    <a:pt x="486" y="12"/>
                  </a:lnTo>
                  <a:lnTo>
                    <a:pt x="606" y="12"/>
                  </a:lnTo>
                  <a:lnTo>
                    <a:pt x="630" y="12"/>
                  </a:lnTo>
                  <a:lnTo>
                    <a:pt x="678" y="12"/>
                  </a:lnTo>
                  <a:lnTo>
                    <a:pt x="744" y="12"/>
                  </a:lnTo>
                  <a:lnTo>
                    <a:pt x="774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2" y="6"/>
                  </a:lnTo>
                  <a:lnTo>
                    <a:pt x="888" y="12"/>
                  </a:lnTo>
                  <a:lnTo>
                    <a:pt x="888" y="24"/>
                  </a:lnTo>
                  <a:lnTo>
                    <a:pt x="888" y="30"/>
                  </a:lnTo>
                  <a:lnTo>
                    <a:pt x="882" y="36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64" y="42"/>
                  </a:lnTo>
                  <a:lnTo>
                    <a:pt x="864" y="48"/>
                  </a:lnTo>
                  <a:lnTo>
                    <a:pt x="858" y="54"/>
                  </a:lnTo>
                  <a:lnTo>
                    <a:pt x="864" y="54"/>
                  </a:lnTo>
                  <a:lnTo>
                    <a:pt x="870" y="72"/>
                  </a:lnTo>
                  <a:lnTo>
                    <a:pt x="870" y="78"/>
                  </a:lnTo>
                  <a:lnTo>
                    <a:pt x="870" y="84"/>
                  </a:lnTo>
                  <a:lnTo>
                    <a:pt x="870" y="90"/>
                  </a:lnTo>
                  <a:close/>
                  <a:moveTo>
                    <a:pt x="972" y="156"/>
                  </a:moveTo>
                  <a:lnTo>
                    <a:pt x="972" y="162"/>
                  </a:lnTo>
                  <a:lnTo>
                    <a:pt x="978" y="162"/>
                  </a:lnTo>
                  <a:lnTo>
                    <a:pt x="984" y="168"/>
                  </a:lnTo>
                  <a:lnTo>
                    <a:pt x="990" y="168"/>
                  </a:lnTo>
                  <a:lnTo>
                    <a:pt x="990" y="162"/>
                  </a:lnTo>
                  <a:lnTo>
                    <a:pt x="1008" y="162"/>
                  </a:lnTo>
                  <a:lnTo>
                    <a:pt x="1020" y="162"/>
                  </a:lnTo>
                  <a:lnTo>
                    <a:pt x="1038" y="162"/>
                  </a:lnTo>
                  <a:lnTo>
                    <a:pt x="1056" y="168"/>
                  </a:lnTo>
                  <a:lnTo>
                    <a:pt x="1056" y="180"/>
                  </a:lnTo>
                  <a:lnTo>
                    <a:pt x="1056" y="186"/>
                  </a:lnTo>
                  <a:lnTo>
                    <a:pt x="1056" y="204"/>
                  </a:lnTo>
                  <a:lnTo>
                    <a:pt x="1050" y="204"/>
                  </a:lnTo>
                  <a:lnTo>
                    <a:pt x="1044" y="204"/>
                  </a:lnTo>
                  <a:lnTo>
                    <a:pt x="1038" y="204"/>
                  </a:lnTo>
                  <a:lnTo>
                    <a:pt x="1032" y="204"/>
                  </a:lnTo>
                  <a:lnTo>
                    <a:pt x="1026" y="204"/>
                  </a:lnTo>
                  <a:lnTo>
                    <a:pt x="1020" y="204"/>
                  </a:lnTo>
                  <a:lnTo>
                    <a:pt x="1014" y="204"/>
                  </a:lnTo>
                  <a:lnTo>
                    <a:pt x="1008" y="204"/>
                  </a:lnTo>
                  <a:lnTo>
                    <a:pt x="1002" y="204"/>
                  </a:lnTo>
                  <a:lnTo>
                    <a:pt x="996" y="204"/>
                  </a:lnTo>
                  <a:lnTo>
                    <a:pt x="984" y="204"/>
                  </a:lnTo>
                  <a:lnTo>
                    <a:pt x="984" y="198"/>
                  </a:lnTo>
                  <a:lnTo>
                    <a:pt x="978" y="198"/>
                  </a:lnTo>
                  <a:lnTo>
                    <a:pt x="966" y="198"/>
                  </a:lnTo>
                  <a:lnTo>
                    <a:pt x="948" y="192"/>
                  </a:lnTo>
                  <a:lnTo>
                    <a:pt x="942" y="192"/>
                  </a:lnTo>
                  <a:lnTo>
                    <a:pt x="936" y="192"/>
                  </a:lnTo>
                  <a:lnTo>
                    <a:pt x="924" y="192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12" y="186"/>
                  </a:lnTo>
                  <a:lnTo>
                    <a:pt x="906" y="186"/>
                  </a:lnTo>
                  <a:lnTo>
                    <a:pt x="900" y="186"/>
                  </a:lnTo>
                  <a:lnTo>
                    <a:pt x="894" y="186"/>
                  </a:lnTo>
                  <a:lnTo>
                    <a:pt x="888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76" y="180"/>
                  </a:lnTo>
                  <a:lnTo>
                    <a:pt x="870" y="180"/>
                  </a:lnTo>
                  <a:lnTo>
                    <a:pt x="864" y="180"/>
                  </a:lnTo>
                  <a:lnTo>
                    <a:pt x="858" y="180"/>
                  </a:lnTo>
                  <a:lnTo>
                    <a:pt x="852" y="180"/>
                  </a:lnTo>
                  <a:lnTo>
                    <a:pt x="852" y="174"/>
                  </a:lnTo>
                  <a:lnTo>
                    <a:pt x="846" y="174"/>
                  </a:lnTo>
                  <a:lnTo>
                    <a:pt x="840" y="174"/>
                  </a:lnTo>
                  <a:lnTo>
                    <a:pt x="834" y="174"/>
                  </a:lnTo>
                  <a:lnTo>
                    <a:pt x="828" y="174"/>
                  </a:lnTo>
                  <a:lnTo>
                    <a:pt x="822" y="174"/>
                  </a:lnTo>
                  <a:lnTo>
                    <a:pt x="816" y="174"/>
                  </a:lnTo>
                  <a:lnTo>
                    <a:pt x="810" y="168"/>
                  </a:lnTo>
                  <a:lnTo>
                    <a:pt x="804" y="168"/>
                  </a:lnTo>
                  <a:lnTo>
                    <a:pt x="798" y="168"/>
                  </a:lnTo>
                  <a:lnTo>
                    <a:pt x="792" y="168"/>
                  </a:lnTo>
                  <a:lnTo>
                    <a:pt x="786" y="168"/>
                  </a:lnTo>
                  <a:lnTo>
                    <a:pt x="780" y="168"/>
                  </a:lnTo>
                  <a:lnTo>
                    <a:pt x="774" y="168"/>
                  </a:lnTo>
                  <a:lnTo>
                    <a:pt x="768" y="168"/>
                  </a:lnTo>
                  <a:lnTo>
                    <a:pt x="762" y="168"/>
                  </a:lnTo>
                  <a:lnTo>
                    <a:pt x="756" y="168"/>
                  </a:lnTo>
                  <a:lnTo>
                    <a:pt x="750" y="168"/>
                  </a:lnTo>
                  <a:lnTo>
                    <a:pt x="750" y="162"/>
                  </a:lnTo>
                  <a:lnTo>
                    <a:pt x="744" y="168"/>
                  </a:lnTo>
                  <a:lnTo>
                    <a:pt x="738" y="162"/>
                  </a:lnTo>
                  <a:lnTo>
                    <a:pt x="732" y="162"/>
                  </a:lnTo>
                  <a:lnTo>
                    <a:pt x="726" y="162"/>
                  </a:lnTo>
                  <a:lnTo>
                    <a:pt x="714" y="162"/>
                  </a:lnTo>
                  <a:lnTo>
                    <a:pt x="702" y="162"/>
                  </a:lnTo>
                  <a:lnTo>
                    <a:pt x="696" y="168"/>
                  </a:lnTo>
                  <a:lnTo>
                    <a:pt x="690" y="168"/>
                  </a:lnTo>
                  <a:lnTo>
                    <a:pt x="684" y="168"/>
                  </a:lnTo>
                  <a:lnTo>
                    <a:pt x="678" y="168"/>
                  </a:lnTo>
                  <a:lnTo>
                    <a:pt x="672" y="168"/>
                  </a:lnTo>
                  <a:lnTo>
                    <a:pt x="666" y="168"/>
                  </a:lnTo>
                  <a:lnTo>
                    <a:pt x="660" y="168"/>
                  </a:lnTo>
                  <a:lnTo>
                    <a:pt x="654" y="168"/>
                  </a:lnTo>
                  <a:lnTo>
                    <a:pt x="648" y="174"/>
                  </a:lnTo>
                  <a:lnTo>
                    <a:pt x="648" y="168"/>
                  </a:lnTo>
                  <a:lnTo>
                    <a:pt x="642" y="174"/>
                  </a:lnTo>
                  <a:lnTo>
                    <a:pt x="636" y="174"/>
                  </a:lnTo>
                  <a:lnTo>
                    <a:pt x="630" y="174"/>
                  </a:lnTo>
                  <a:lnTo>
                    <a:pt x="624" y="174"/>
                  </a:lnTo>
                  <a:lnTo>
                    <a:pt x="618" y="174"/>
                  </a:lnTo>
                  <a:lnTo>
                    <a:pt x="612" y="174"/>
                  </a:lnTo>
                  <a:lnTo>
                    <a:pt x="606" y="174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74"/>
                  </a:lnTo>
                  <a:lnTo>
                    <a:pt x="582" y="174"/>
                  </a:lnTo>
                  <a:lnTo>
                    <a:pt x="576" y="174"/>
                  </a:lnTo>
                  <a:lnTo>
                    <a:pt x="570" y="174"/>
                  </a:lnTo>
                  <a:lnTo>
                    <a:pt x="564" y="174"/>
                  </a:lnTo>
                  <a:lnTo>
                    <a:pt x="558" y="174"/>
                  </a:lnTo>
                  <a:lnTo>
                    <a:pt x="552" y="174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0" y="174"/>
                  </a:lnTo>
                  <a:lnTo>
                    <a:pt x="504" y="174"/>
                  </a:lnTo>
                  <a:lnTo>
                    <a:pt x="498" y="174"/>
                  </a:lnTo>
                  <a:lnTo>
                    <a:pt x="492" y="174"/>
                  </a:lnTo>
                  <a:lnTo>
                    <a:pt x="486" y="174"/>
                  </a:lnTo>
                  <a:lnTo>
                    <a:pt x="480" y="174"/>
                  </a:lnTo>
                  <a:lnTo>
                    <a:pt x="474" y="174"/>
                  </a:lnTo>
                  <a:lnTo>
                    <a:pt x="468" y="174"/>
                  </a:lnTo>
                  <a:lnTo>
                    <a:pt x="462" y="174"/>
                  </a:lnTo>
                  <a:lnTo>
                    <a:pt x="456" y="174"/>
                  </a:lnTo>
                  <a:lnTo>
                    <a:pt x="450" y="180"/>
                  </a:lnTo>
                  <a:lnTo>
                    <a:pt x="450" y="186"/>
                  </a:lnTo>
                  <a:lnTo>
                    <a:pt x="450" y="192"/>
                  </a:lnTo>
                  <a:lnTo>
                    <a:pt x="444" y="192"/>
                  </a:lnTo>
                  <a:lnTo>
                    <a:pt x="444" y="186"/>
                  </a:lnTo>
                  <a:lnTo>
                    <a:pt x="444" y="180"/>
                  </a:lnTo>
                  <a:lnTo>
                    <a:pt x="450" y="180"/>
                  </a:lnTo>
                  <a:lnTo>
                    <a:pt x="450" y="174"/>
                  </a:lnTo>
                  <a:lnTo>
                    <a:pt x="450" y="168"/>
                  </a:lnTo>
                  <a:lnTo>
                    <a:pt x="450" y="162"/>
                  </a:lnTo>
                  <a:lnTo>
                    <a:pt x="456" y="162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62" y="162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74" y="168"/>
                  </a:lnTo>
                  <a:lnTo>
                    <a:pt x="480" y="168"/>
                  </a:lnTo>
                  <a:lnTo>
                    <a:pt x="480" y="162"/>
                  </a:lnTo>
                  <a:lnTo>
                    <a:pt x="480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56"/>
                  </a:lnTo>
                  <a:lnTo>
                    <a:pt x="492" y="156"/>
                  </a:lnTo>
                  <a:lnTo>
                    <a:pt x="486" y="150"/>
                  </a:lnTo>
                  <a:lnTo>
                    <a:pt x="492" y="150"/>
                  </a:lnTo>
                  <a:lnTo>
                    <a:pt x="498" y="150"/>
                  </a:lnTo>
                  <a:lnTo>
                    <a:pt x="498" y="156"/>
                  </a:lnTo>
                  <a:lnTo>
                    <a:pt x="504" y="156"/>
                  </a:lnTo>
                  <a:lnTo>
                    <a:pt x="504" y="162"/>
                  </a:lnTo>
                  <a:lnTo>
                    <a:pt x="504" y="156"/>
                  </a:lnTo>
                  <a:lnTo>
                    <a:pt x="510" y="156"/>
                  </a:lnTo>
                  <a:lnTo>
                    <a:pt x="510" y="150"/>
                  </a:lnTo>
                  <a:lnTo>
                    <a:pt x="516" y="150"/>
                  </a:lnTo>
                  <a:lnTo>
                    <a:pt x="522" y="150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28" y="150"/>
                  </a:lnTo>
                  <a:lnTo>
                    <a:pt x="528" y="144"/>
                  </a:lnTo>
                  <a:lnTo>
                    <a:pt x="540" y="144"/>
                  </a:lnTo>
                  <a:lnTo>
                    <a:pt x="546" y="144"/>
                  </a:lnTo>
                  <a:lnTo>
                    <a:pt x="552" y="138"/>
                  </a:lnTo>
                  <a:lnTo>
                    <a:pt x="552" y="132"/>
                  </a:lnTo>
                  <a:lnTo>
                    <a:pt x="558" y="132"/>
                  </a:lnTo>
                  <a:lnTo>
                    <a:pt x="558" y="126"/>
                  </a:lnTo>
                  <a:lnTo>
                    <a:pt x="558" y="120"/>
                  </a:lnTo>
                  <a:lnTo>
                    <a:pt x="558" y="114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6" y="114"/>
                  </a:lnTo>
                  <a:lnTo>
                    <a:pt x="582" y="120"/>
                  </a:lnTo>
                  <a:lnTo>
                    <a:pt x="588" y="120"/>
                  </a:lnTo>
                  <a:lnTo>
                    <a:pt x="588" y="126"/>
                  </a:lnTo>
                  <a:lnTo>
                    <a:pt x="588" y="120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600" y="114"/>
                  </a:lnTo>
                  <a:lnTo>
                    <a:pt x="606" y="114"/>
                  </a:lnTo>
                  <a:lnTo>
                    <a:pt x="618" y="114"/>
                  </a:lnTo>
                  <a:lnTo>
                    <a:pt x="618" y="108"/>
                  </a:lnTo>
                  <a:lnTo>
                    <a:pt x="624" y="108"/>
                  </a:lnTo>
                  <a:lnTo>
                    <a:pt x="624" y="102"/>
                  </a:lnTo>
                  <a:lnTo>
                    <a:pt x="630" y="102"/>
                  </a:lnTo>
                  <a:lnTo>
                    <a:pt x="636" y="102"/>
                  </a:lnTo>
                  <a:lnTo>
                    <a:pt x="636" y="108"/>
                  </a:lnTo>
                  <a:lnTo>
                    <a:pt x="642" y="108"/>
                  </a:lnTo>
                  <a:lnTo>
                    <a:pt x="648" y="108"/>
                  </a:lnTo>
                  <a:lnTo>
                    <a:pt x="648" y="102"/>
                  </a:lnTo>
                  <a:lnTo>
                    <a:pt x="654" y="102"/>
                  </a:lnTo>
                  <a:lnTo>
                    <a:pt x="660" y="102"/>
                  </a:lnTo>
                  <a:lnTo>
                    <a:pt x="660" y="96"/>
                  </a:lnTo>
                  <a:lnTo>
                    <a:pt x="660" y="90"/>
                  </a:lnTo>
                  <a:lnTo>
                    <a:pt x="666" y="90"/>
                  </a:lnTo>
                  <a:lnTo>
                    <a:pt x="666" y="84"/>
                  </a:lnTo>
                  <a:lnTo>
                    <a:pt x="672" y="78"/>
                  </a:lnTo>
                  <a:lnTo>
                    <a:pt x="672" y="72"/>
                  </a:lnTo>
                  <a:lnTo>
                    <a:pt x="678" y="66"/>
                  </a:lnTo>
                  <a:lnTo>
                    <a:pt x="684" y="66"/>
                  </a:lnTo>
                  <a:lnTo>
                    <a:pt x="684" y="60"/>
                  </a:lnTo>
                  <a:lnTo>
                    <a:pt x="690" y="60"/>
                  </a:lnTo>
                  <a:lnTo>
                    <a:pt x="696" y="60"/>
                  </a:lnTo>
                  <a:lnTo>
                    <a:pt x="702" y="60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66"/>
                  </a:lnTo>
                  <a:lnTo>
                    <a:pt x="720" y="66"/>
                  </a:lnTo>
                  <a:lnTo>
                    <a:pt x="720" y="60"/>
                  </a:lnTo>
                  <a:lnTo>
                    <a:pt x="726" y="60"/>
                  </a:lnTo>
                  <a:lnTo>
                    <a:pt x="732" y="60"/>
                  </a:lnTo>
                  <a:lnTo>
                    <a:pt x="744" y="60"/>
                  </a:lnTo>
                  <a:lnTo>
                    <a:pt x="750" y="54"/>
                  </a:lnTo>
                  <a:lnTo>
                    <a:pt x="762" y="60"/>
                  </a:lnTo>
                  <a:lnTo>
                    <a:pt x="774" y="60"/>
                  </a:lnTo>
                  <a:lnTo>
                    <a:pt x="774" y="66"/>
                  </a:lnTo>
                  <a:lnTo>
                    <a:pt x="780" y="72"/>
                  </a:lnTo>
                  <a:lnTo>
                    <a:pt x="786" y="78"/>
                  </a:lnTo>
                  <a:lnTo>
                    <a:pt x="792" y="78"/>
                  </a:lnTo>
                  <a:lnTo>
                    <a:pt x="810" y="84"/>
                  </a:lnTo>
                  <a:lnTo>
                    <a:pt x="822" y="84"/>
                  </a:lnTo>
                  <a:lnTo>
                    <a:pt x="828" y="84"/>
                  </a:lnTo>
                  <a:lnTo>
                    <a:pt x="834" y="84"/>
                  </a:lnTo>
                  <a:lnTo>
                    <a:pt x="840" y="96"/>
                  </a:lnTo>
                  <a:lnTo>
                    <a:pt x="846" y="102"/>
                  </a:lnTo>
                  <a:lnTo>
                    <a:pt x="858" y="102"/>
                  </a:lnTo>
                  <a:lnTo>
                    <a:pt x="864" y="102"/>
                  </a:lnTo>
                  <a:lnTo>
                    <a:pt x="876" y="96"/>
                  </a:lnTo>
                  <a:lnTo>
                    <a:pt x="882" y="102"/>
                  </a:lnTo>
                  <a:lnTo>
                    <a:pt x="888" y="108"/>
                  </a:lnTo>
                  <a:lnTo>
                    <a:pt x="888" y="114"/>
                  </a:lnTo>
                  <a:lnTo>
                    <a:pt x="888" y="120"/>
                  </a:lnTo>
                  <a:lnTo>
                    <a:pt x="888" y="126"/>
                  </a:lnTo>
                  <a:lnTo>
                    <a:pt x="888" y="132"/>
                  </a:lnTo>
                  <a:lnTo>
                    <a:pt x="882" y="132"/>
                  </a:lnTo>
                  <a:lnTo>
                    <a:pt x="864" y="126"/>
                  </a:lnTo>
                  <a:lnTo>
                    <a:pt x="852" y="120"/>
                  </a:lnTo>
                  <a:lnTo>
                    <a:pt x="840" y="126"/>
                  </a:lnTo>
                  <a:lnTo>
                    <a:pt x="834" y="120"/>
                  </a:lnTo>
                  <a:lnTo>
                    <a:pt x="828" y="120"/>
                  </a:lnTo>
                  <a:lnTo>
                    <a:pt x="822" y="120"/>
                  </a:lnTo>
                  <a:lnTo>
                    <a:pt x="810" y="114"/>
                  </a:lnTo>
                  <a:lnTo>
                    <a:pt x="804" y="114"/>
                  </a:lnTo>
                  <a:lnTo>
                    <a:pt x="798" y="114"/>
                  </a:lnTo>
                  <a:lnTo>
                    <a:pt x="792" y="114"/>
                  </a:lnTo>
                  <a:lnTo>
                    <a:pt x="786" y="114"/>
                  </a:lnTo>
                  <a:lnTo>
                    <a:pt x="780" y="114"/>
                  </a:lnTo>
                  <a:lnTo>
                    <a:pt x="780" y="126"/>
                  </a:lnTo>
                  <a:lnTo>
                    <a:pt x="786" y="126"/>
                  </a:lnTo>
                  <a:lnTo>
                    <a:pt x="798" y="126"/>
                  </a:lnTo>
                  <a:lnTo>
                    <a:pt x="804" y="126"/>
                  </a:lnTo>
                  <a:lnTo>
                    <a:pt x="822" y="132"/>
                  </a:lnTo>
                  <a:lnTo>
                    <a:pt x="828" y="132"/>
                  </a:lnTo>
                  <a:lnTo>
                    <a:pt x="834" y="132"/>
                  </a:lnTo>
                  <a:lnTo>
                    <a:pt x="840" y="144"/>
                  </a:lnTo>
                  <a:lnTo>
                    <a:pt x="846" y="150"/>
                  </a:lnTo>
                  <a:lnTo>
                    <a:pt x="858" y="150"/>
                  </a:lnTo>
                  <a:lnTo>
                    <a:pt x="864" y="162"/>
                  </a:lnTo>
                  <a:lnTo>
                    <a:pt x="870" y="162"/>
                  </a:lnTo>
                  <a:lnTo>
                    <a:pt x="876" y="168"/>
                  </a:lnTo>
                  <a:lnTo>
                    <a:pt x="888" y="168"/>
                  </a:lnTo>
                  <a:lnTo>
                    <a:pt x="894" y="174"/>
                  </a:lnTo>
                  <a:lnTo>
                    <a:pt x="900" y="174"/>
                  </a:lnTo>
                  <a:lnTo>
                    <a:pt x="918" y="174"/>
                  </a:lnTo>
                  <a:lnTo>
                    <a:pt x="924" y="174"/>
                  </a:lnTo>
                  <a:lnTo>
                    <a:pt x="930" y="174"/>
                  </a:lnTo>
                  <a:lnTo>
                    <a:pt x="942" y="174"/>
                  </a:lnTo>
                  <a:lnTo>
                    <a:pt x="954" y="174"/>
                  </a:lnTo>
                  <a:lnTo>
                    <a:pt x="960" y="174"/>
                  </a:lnTo>
                  <a:lnTo>
                    <a:pt x="966" y="174"/>
                  </a:lnTo>
                  <a:lnTo>
                    <a:pt x="966" y="168"/>
                  </a:lnTo>
                  <a:lnTo>
                    <a:pt x="972" y="162"/>
                  </a:lnTo>
                  <a:lnTo>
                    <a:pt x="972" y="156"/>
                  </a:lnTo>
                  <a:close/>
                  <a:moveTo>
                    <a:pt x="942" y="174"/>
                  </a:moveTo>
                  <a:lnTo>
                    <a:pt x="936" y="174"/>
                  </a:lnTo>
                  <a:lnTo>
                    <a:pt x="936" y="168"/>
                  </a:lnTo>
                  <a:lnTo>
                    <a:pt x="936" y="162"/>
                  </a:lnTo>
                  <a:lnTo>
                    <a:pt x="948" y="162"/>
                  </a:lnTo>
                  <a:lnTo>
                    <a:pt x="948" y="156"/>
                  </a:lnTo>
                  <a:lnTo>
                    <a:pt x="954" y="156"/>
                  </a:lnTo>
                  <a:lnTo>
                    <a:pt x="960" y="156"/>
                  </a:lnTo>
                  <a:lnTo>
                    <a:pt x="966" y="156"/>
                  </a:lnTo>
                  <a:lnTo>
                    <a:pt x="966" y="162"/>
                  </a:lnTo>
                  <a:lnTo>
                    <a:pt x="960" y="168"/>
                  </a:lnTo>
                  <a:lnTo>
                    <a:pt x="942" y="174"/>
                  </a:lnTo>
                  <a:close/>
                  <a:moveTo>
                    <a:pt x="900" y="168"/>
                  </a:moveTo>
                  <a:lnTo>
                    <a:pt x="894" y="168"/>
                  </a:lnTo>
                  <a:lnTo>
                    <a:pt x="882" y="156"/>
                  </a:lnTo>
                  <a:lnTo>
                    <a:pt x="882" y="150"/>
                  </a:lnTo>
                  <a:lnTo>
                    <a:pt x="888" y="156"/>
                  </a:lnTo>
                  <a:lnTo>
                    <a:pt x="894" y="150"/>
                  </a:lnTo>
                  <a:lnTo>
                    <a:pt x="900" y="150"/>
                  </a:lnTo>
                  <a:lnTo>
                    <a:pt x="906" y="150"/>
                  </a:lnTo>
                  <a:lnTo>
                    <a:pt x="912" y="150"/>
                  </a:lnTo>
                  <a:lnTo>
                    <a:pt x="924" y="150"/>
                  </a:lnTo>
                  <a:lnTo>
                    <a:pt x="924" y="156"/>
                  </a:lnTo>
                  <a:lnTo>
                    <a:pt x="924" y="162"/>
                  </a:lnTo>
                  <a:lnTo>
                    <a:pt x="924" y="168"/>
                  </a:lnTo>
                  <a:lnTo>
                    <a:pt x="918" y="168"/>
                  </a:lnTo>
                  <a:lnTo>
                    <a:pt x="906" y="168"/>
                  </a:lnTo>
                  <a:lnTo>
                    <a:pt x="900" y="168"/>
                  </a:lnTo>
                  <a:close/>
                  <a:moveTo>
                    <a:pt x="870" y="162"/>
                  </a:moveTo>
                  <a:lnTo>
                    <a:pt x="876" y="162"/>
                  </a:lnTo>
                  <a:lnTo>
                    <a:pt x="876" y="168"/>
                  </a:lnTo>
                  <a:lnTo>
                    <a:pt x="870" y="168"/>
                  </a:lnTo>
                  <a:lnTo>
                    <a:pt x="870" y="162"/>
                  </a:lnTo>
                  <a:close/>
                  <a:moveTo>
                    <a:pt x="450" y="162"/>
                  </a:moveTo>
                  <a:lnTo>
                    <a:pt x="444" y="162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2" y="150"/>
                  </a:lnTo>
                  <a:lnTo>
                    <a:pt x="438" y="150"/>
                  </a:lnTo>
                  <a:lnTo>
                    <a:pt x="438" y="144"/>
                  </a:lnTo>
                  <a:lnTo>
                    <a:pt x="438" y="150"/>
                  </a:lnTo>
                  <a:lnTo>
                    <a:pt x="444" y="150"/>
                  </a:lnTo>
                  <a:lnTo>
                    <a:pt x="450" y="150"/>
                  </a:lnTo>
                  <a:lnTo>
                    <a:pt x="450" y="156"/>
                  </a:lnTo>
                  <a:lnTo>
                    <a:pt x="456" y="156"/>
                  </a:lnTo>
                  <a:lnTo>
                    <a:pt x="456" y="150"/>
                  </a:lnTo>
                  <a:lnTo>
                    <a:pt x="456" y="156"/>
                  </a:lnTo>
                  <a:lnTo>
                    <a:pt x="462" y="150"/>
                  </a:lnTo>
                  <a:lnTo>
                    <a:pt x="462" y="144"/>
                  </a:lnTo>
                  <a:lnTo>
                    <a:pt x="468" y="144"/>
                  </a:lnTo>
                  <a:lnTo>
                    <a:pt x="468" y="150"/>
                  </a:lnTo>
                  <a:lnTo>
                    <a:pt x="474" y="150"/>
                  </a:lnTo>
                  <a:lnTo>
                    <a:pt x="480" y="150"/>
                  </a:lnTo>
                  <a:lnTo>
                    <a:pt x="480" y="156"/>
                  </a:lnTo>
                  <a:lnTo>
                    <a:pt x="480" y="162"/>
                  </a:lnTo>
                  <a:lnTo>
                    <a:pt x="474" y="162"/>
                  </a:lnTo>
                  <a:lnTo>
                    <a:pt x="474" y="168"/>
                  </a:lnTo>
                  <a:lnTo>
                    <a:pt x="474" y="162"/>
                  </a:lnTo>
                  <a:lnTo>
                    <a:pt x="468" y="162"/>
                  </a:lnTo>
                  <a:lnTo>
                    <a:pt x="462" y="162"/>
                  </a:lnTo>
                  <a:lnTo>
                    <a:pt x="456" y="162"/>
                  </a:lnTo>
                  <a:lnTo>
                    <a:pt x="450" y="16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6" name="Freeform 31">
              <a:extLst>
                <a:ext uri="{FF2B5EF4-FFF2-40B4-BE49-F238E27FC236}">
                  <a16:creationId xmlns:a16="http://schemas.microsoft.com/office/drawing/2014/main" id="{0989F057-38E8-4AA5-8B73-27F6355E235C}"/>
                </a:ext>
              </a:extLst>
            </p:cNvPr>
            <p:cNvSpPr>
              <a:spLocks/>
            </p:cNvSpPr>
            <p:nvPr/>
          </p:nvSpPr>
          <p:spPr bwMode="gray">
            <a:xfrm>
              <a:off x="792590" y="2728084"/>
              <a:ext cx="1182944" cy="740282"/>
            </a:xfrm>
            <a:custGeom>
              <a:avLst/>
              <a:gdLst>
                <a:gd name="T0" fmla="*/ 138 w 2226"/>
                <a:gd name="T1" fmla="*/ 121 h 1392"/>
                <a:gd name="T2" fmla="*/ 133 w 2226"/>
                <a:gd name="T3" fmla="*/ 119 h 1392"/>
                <a:gd name="T4" fmla="*/ 128 w 2226"/>
                <a:gd name="T5" fmla="*/ 117 h 1392"/>
                <a:gd name="T6" fmla="*/ 119 w 2226"/>
                <a:gd name="T7" fmla="*/ 116 h 1392"/>
                <a:gd name="T8" fmla="*/ 101 w 2226"/>
                <a:gd name="T9" fmla="*/ 116 h 1392"/>
                <a:gd name="T10" fmla="*/ 94 w 2226"/>
                <a:gd name="T11" fmla="*/ 104 h 1392"/>
                <a:gd name="T12" fmla="*/ 82 w 2226"/>
                <a:gd name="T13" fmla="*/ 83 h 1392"/>
                <a:gd name="T14" fmla="*/ 87 w 2226"/>
                <a:gd name="T15" fmla="*/ 69 h 1392"/>
                <a:gd name="T16" fmla="*/ 82 w 2226"/>
                <a:gd name="T17" fmla="*/ 65 h 1392"/>
                <a:gd name="T18" fmla="*/ 59 w 2226"/>
                <a:gd name="T19" fmla="*/ 57 h 1392"/>
                <a:gd name="T20" fmla="*/ 29 w 2226"/>
                <a:gd name="T21" fmla="*/ 77 h 1392"/>
                <a:gd name="T22" fmla="*/ 20 w 2226"/>
                <a:gd name="T23" fmla="*/ 78 h 1392"/>
                <a:gd name="T24" fmla="*/ 15 w 2226"/>
                <a:gd name="T25" fmla="*/ 82 h 1392"/>
                <a:gd name="T26" fmla="*/ 8 w 2226"/>
                <a:gd name="T27" fmla="*/ 86 h 1392"/>
                <a:gd name="T28" fmla="*/ 1 w 2226"/>
                <a:gd name="T29" fmla="*/ 88 h 1392"/>
                <a:gd name="T30" fmla="*/ 0 w 2226"/>
                <a:gd name="T31" fmla="*/ 82 h 1392"/>
                <a:gd name="T32" fmla="*/ 0 w 2226"/>
                <a:gd name="T33" fmla="*/ 76 h 1392"/>
                <a:gd name="T34" fmla="*/ 2 w 2226"/>
                <a:gd name="T35" fmla="*/ 70 h 1392"/>
                <a:gd name="T36" fmla="*/ 3 w 2226"/>
                <a:gd name="T37" fmla="*/ 65 h 1392"/>
                <a:gd name="T38" fmla="*/ 2 w 2226"/>
                <a:gd name="T39" fmla="*/ 63 h 1392"/>
                <a:gd name="T40" fmla="*/ 9 w 2226"/>
                <a:gd name="T41" fmla="*/ 60 h 1392"/>
                <a:gd name="T42" fmla="*/ 17 w 2226"/>
                <a:gd name="T43" fmla="*/ 59 h 1392"/>
                <a:gd name="T44" fmla="*/ 22 w 2226"/>
                <a:gd name="T45" fmla="*/ 51 h 1392"/>
                <a:gd name="T46" fmla="*/ 23 w 2226"/>
                <a:gd name="T47" fmla="*/ 43 h 1392"/>
                <a:gd name="T48" fmla="*/ 27 w 2226"/>
                <a:gd name="T49" fmla="*/ 34 h 1392"/>
                <a:gd name="T50" fmla="*/ 30 w 2226"/>
                <a:gd name="T51" fmla="*/ 27 h 1392"/>
                <a:gd name="T52" fmla="*/ 33 w 2226"/>
                <a:gd name="T53" fmla="*/ 22 h 1392"/>
                <a:gd name="T54" fmla="*/ 42 w 2226"/>
                <a:gd name="T55" fmla="*/ 17 h 1392"/>
                <a:gd name="T56" fmla="*/ 47 w 2226"/>
                <a:gd name="T57" fmla="*/ 14 h 1392"/>
                <a:gd name="T58" fmla="*/ 49 w 2226"/>
                <a:gd name="T59" fmla="*/ 5 h 1392"/>
                <a:gd name="T60" fmla="*/ 53 w 2226"/>
                <a:gd name="T61" fmla="*/ 0 h 1392"/>
                <a:gd name="T62" fmla="*/ 55 w 2226"/>
                <a:gd name="T63" fmla="*/ 4 h 1392"/>
                <a:gd name="T64" fmla="*/ 59 w 2226"/>
                <a:gd name="T65" fmla="*/ 7 h 1392"/>
                <a:gd name="T66" fmla="*/ 63 w 2226"/>
                <a:gd name="T67" fmla="*/ 7 h 1392"/>
                <a:gd name="T68" fmla="*/ 66 w 2226"/>
                <a:gd name="T69" fmla="*/ 9 h 1392"/>
                <a:gd name="T70" fmla="*/ 67 w 2226"/>
                <a:gd name="T71" fmla="*/ 12 h 1392"/>
                <a:gd name="T72" fmla="*/ 67 w 2226"/>
                <a:gd name="T73" fmla="*/ 13 h 1392"/>
                <a:gd name="T74" fmla="*/ 70 w 2226"/>
                <a:gd name="T75" fmla="*/ 15 h 1392"/>
                <a:gd name="T76" fmla="*/ 74 w 2226"/>
                <a:gd name="T77" fmla="*/ 17 h 1392"/>
                <a:gd name="T78" fmla="*/ 78 w 2226"/>
                <a:gd name="T79" fmla="*/ 18 h 1392"/>
                <a:gd name="T80" fmla="*/ 97 w 2226"/>
                <a:gd name="T81" fmla="*/ 40 h 1392"/>
                <a:gd name="T82" fmla="*/ 102 w 2226"/>
                <a:gd name="T83" fmla="*/ 44 h 1392"/>
                <a:gd name="T84" fmla="*/ 110 w 2226"/>
                <a:gd name="T85" fmla="*/ 49 h 1392"/>
                <a:gd name="T86" fmla="*/ 113 w 2226"/>
                <a:gd name="T87" fmla="*/ 53 h 1392"/>
                <a:gd name="T88" fmla="*/ 118 w 2226"/>
                <a:gd name="T89" fmla="*/ 57 h 1392"/>
                <a:gd name="T90" fmla="*/ 124 w 2226"/>
                <a:gd name="T91" fmla="*/ 54 h 1392"/>
                <a:gd name="T92" fmla="*/ 133 w 2226"/>
                <a:gd name="T93" fmla="*/ 58 h 1392"/>
                <a:gd name="T94" fmla="*/ 137 w 2226"/>
                <a:gd name="T95" fmla="*/ 64 h 1392"/>
                <a:gd name="T96" fmla="*/ 145 w 2226"/>
                <a:gd name="T97" fmla="*/ 65 h 1392"/>
                <a:gd name="T98" fmla="*/ 152 w 2226"/>
                <a:gd name="T99" fmla="*/ 67 h 1392"/>
                <a:gd name="T100" fmla="*/ 161 w 2226"/>
                <a:gd name="T101" fmla="*/ 72 h 1392"/>
                <a:gd name="T102" fmla="*/ 168 w 2226"/>
                <a:gd name="T103" fmla="*/ 76 h 1392"/>
                <a:gd name="T104" fmla="*/ 177 w 2226"/>
                <a:gd name="T105" fmla="*/ 78 h 1392"/>
                <a:gd name="T106" fmla="*/ 184 w 2226"/>
                <a:gd name="T107" fmla="*/ 78 h 1392"/>
                <a:gd name="T108" fmla="*/ 190 w 2226"/>
                <a:gd name="T109" fmla="*/ 81 h 1392"/>
                <a:gd name="T110" fmla="*/ 192 w 2226"/>
                <a:gd name="T111" fmla="*/ 86 h 1392"/>
                <a:gd name="T112" fmla="*/ 187 w 2226"/>
                <a:gd name="T113" fmla="*/ 99 h 1392"/>
                <a:gd name="T114" fmla="*/ 165 w 2226"/>
                <a:gd name="T115" fmla="*/ 97 h 1392"/>
                <a:gd name="T116" fmla="*/ 155 w 2226"/>
                <a:gd name="T117" fmla="*/ 92 h 1392"/>
                <a:gd name="T118" fmla="*/ 146 w 2226"/>
                <a:gd name="T119" fmla="*/ 102 h 1392"/>
                <a:gd name="T120" fmla="*/ 149 w 2226"/>
                <a:gd name="T121" fmla="*/ 106 h 1392"/>
                <a:gd name="T122" fmla="*/ 151 w 2226"/>
                <a:gd name="T123" fmla="*/ 108 h 1392"/>
                <a:gd name="T124" fmla="*/ 157 w 2226"/>
                <a:gd name="T125" fmla="*/ 113 h 13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1392"/>
                <a:gd name="T191" fmla="*/ 2226 w 2226"/>
                <a:gd name="T192" fmla="*/ 1392 h 13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1392">
                  <a:moveTo>
                    <a:pt x="1782" y="1326"/>
                  </a:moveTo>
                  <a:lnTo>
                    <a:pt x="1776" y="1332"/>
                  </a:lnTo>
                  <a:lnTo>
                    <a:pt x="1692" y="1338"/>
                  </a:lnTo>
                  <a:lnTo>
                    <a:pt x="1680" y="1386"/>
                  </a:lnTo>
                  <a:lnTo>
                    <a:pt x="1674" y="1392"/>
                  </a:lnTo>
                  <a:lnTo>
                    <a:pt x="1638" y="1392"/>
                  </a:lnTo>
                  <a:lnTo>
                    <a:pt x="1620" y="1392"/>
                  </a:lnTo>
                  <a:lnTo>
                    <a:pt x="1614" y="1392"/>
                  </a:lnTo>
                  <a:lnTo>
                    <a:pt x="1608" y="1386"/>
                  </a:lnTo>
                  <a:lnTo>
                    <a:pt x="1584" y="1386"/>
                  </a:lnTo>
                  <a:lnTo>
                    <a:pt x="1578" y="1386"/>
                  </a:lnTo>
                  <a:lnTo>
                    <a:pt x="1572" y="1380"/>
                  </a:lnTo>
                  <a:lnTo>
                    <a:pt x="1578" y="1356"/>
                  </a:lnTo>
                  <a:lnTo>
                    <a:pt x="1572" y="1356"/>
                  </a:lnTo>
                  <a:lnTo>
                    <a:pt x="1560" y="1350"/>
                  </a:lnTo>
                  <a:lnTo>
                    <a:pt x="1554" y="1350"/>
                  </a:lnTo>
                  <a:lnTo>
                    <a:pt x="1542" y="1350"/>
                  </a:lnTo>
                  <a:lnTo>
                    <a:pt x="1530" y="1350"/>
                  </a:lnTo>
                  <a:lnTo>
                    <a:pt x="1524" y="1356"/>
                  </a:lnTo>
                  <a:lnTo>
                    <a:pt x="1524" y="1362"/>
                  </a:lnTo>
                  <a:lnTo>
                    <a:pt x="1512" y="1374"/>
                  </a:lnTo>
                  <a:lnTo>
                    <a:pt x="1506" y="1374"/>
                  </a:lnTo>
                  <a:lnTo>
                    <a:pt x="1500" y="1368"/>
                  </a:lnTo>
                  <a:lnTo>
                    <a:pt x="1500" y="1362"/>
                  </a:lnTo>
                  <a:lnTo>
                    <a:pt x="1488" y="1362"/>
                  </a:lnTo>
                  <a:lnTo>
                    <a:pt x="1482" y="1356"/>
                  </a:lnTo>
                  <a:lnTo>
                    <a:pt x="1482" y="1350"/>
                  </a:lnTo>
                  <a:lnTo>
                    <a:pt x="1476" y="1350"/>
                  </a:lnTo>
                  <a:lnTo>
                    <a:pt x="1470" y="1344"/>
                  </a:lnTo>
                  <a:lnTo>
                    <a:pt x="1464" y="1344"/>
                  </a:lnTo>
                  <a:lnTo>
                    <a:pt x="1452" y="1350"/>
                  </a:lnTo>
                  <a:lnTo>
                    <a:pt x="1452" y="1356"/>
                  </a:lnTo>
                  <a:lnTo>
                    <a:pt x="1440" y="1356"/>
                  </a:lnTo>
                  <a:lnTo>
                    <a:pt x="1434" y="1344"/>
                  </a:lnTo>
                  <a:lnTo>
                    <a:pt x="1422" y="1332"/>
                  </a:lnTo>
                  <a:lnTo>
                    <a:pt x="1416" y="1326"/>
                  </a:lnTo>
                  <a:lnTo>
                    <a:pt x="1404" y="1320"/>
                  </a:lnTo>
                  <a:lnTo>
                    <a:pt x="1404" y="1314"/>
                  </a:lnTo>
                  <a:lnTo>
                    <a:pt x="1374" y="1308"/>
                  </a:lnTo>
                  <a:lnTo>
                    <a:pt x="1368" y="1326"/>
                  </a:lnTo>
                  <a:lnTo>
                    <a:pt x="1344" y="1338"/>
                  </a:lnTo>
                  <a:lnTo>
                    <a:pt x="1326" y="1332"/>
                  </a:lnTo>
                  <a:lnTo>
                    <a:pt x="1302" y="1332"/>
                  </a:lnTo>
                  <a:lnTo>
                    <a:pt x="1278" y="1338"/>
                  </a:lnTo>
                  <a:lnTo>
                    <a:pt x="1236" y="1338"/>
                  </a:lnTo>
                  <a:lnTo>
                    <a:pt x="1224" y="1338"/>
                  </a:lnTo>
                  <a:lnTo>
                    <a:pt x="1224" y="1326"/>
                  </a:lnTo>
                  <a:lnTo>
                    <a:pt x="1206" y="1326"/>
                  </a:lnTo>
                  <a:lnTo>
                    <a:pt x="1170" y="1326"/>
                  </a:lnTo>
                  <a:lnTo>
                    <a:pt x="1152" y="1326"/>
                  </a:lnTo>
                  <a:lnTo>
                    <a:pt x="1140" y="1314"/>
                  </a:lnTo>
                  <a:lnTo>
                    <a:pt x="1134" y="1296"/>
                  </a:lnTo>
                  <a:lnTo>
                    <a:pt x="1134" y="1284"/>
                  </a:lnTo>
                  <a:lnTo>
                    <a:pt x="1128" y="1254"/>
                  </a:lnTo>
                  <a:lnTo>
                    <a:pt x="1128" y="1242"/>
                  </a:lnTo>
                  <a:lnTo>
                    <a:pt x="1122" y="1230"/>
                  </a:lnTo>
                  <a:lnTo>
                    <a:pt x="1104" y="1218"/>
                  </a:lnTo>
                  <a:lnTo>
                    <a:pt x="1104" y="1212"/>
                  </a:lnTo>
                  <a:lnTo>
                    <a:pt x="1092" y="1206"/>
                  </a:lnTo>
                  <a:lnTo>
                    <a:pt x="1080" y="1194"/>
                  </a:lnTo>
                  <a:lnTo>
                    <a:pt x="1068" y="1176"/>
                  </a:lnTo>
                  <a:lnTo>
                    <a:pt x="1050" y="1152"/>
                  </a:lnTo>
                  <a:lnTo>
                    <a:pt x="1020" y="1098"/>
                  </a:lnTo>
                  <a:lnTo>
                    <a:pt x="978" y="1026"/>
                  </a:lnTo>
                  <a:lnTo>
                    <a:pt x="978" y="1014"/>
                  </a:lnTo>
                  <a:lnTo>
                    <a:pt x="972" y="1014"/>
                  </a:lnTo>
                  <a:lnTo>
                    <a:pt x="972" y="1008"/>
                  </a:lnTo>
                  <a:lnTo>
                    <a:pt x="978" y="1002"/>
                  </a:lnTo>
                  <a:lnTo>
                    <a:pt x="960" y="966"/>
                  </a:lnTo>
                  <a:lnTo>
                    <a:pt x="948" y="954"/>
                  </a:lnTo>
                  <a:lnTo>
                    <a:pt x="948" y="936"/>
                  </a:lnTo>
                  <a:lnTo>
                    <a:pt x="936" y="900"/>
                  </a:lnTo>
                  <a:lnTo>
                    <a:pt x="942" y="876"/>
                  </a:lnTo>
                  <a:lnTo>
                    <a:pt x="942" y="834"/>
                  </a:lnTo>
                  <a:lnTo>
                    <a:pt x="960" y="828"/>
                  </a:lnTo>
                  <a:lnTo>
                    <a:pt x="966" y="816"/>
                  </a:lnTo>
                  <a:lnTo>
                    <a:pt x="972" y="810"/>
                  </a:lnTo>
                  <a:lnTo>
                    <a:pt x="978" y="804"/>
                  </a:lnTo>
                  <a:lnTo>
                    <a:pt x="996" y="798"/>
                  </a:lnTo>
                  <a:lnTo>
                    <a:pt x="996" y="792"/>
                  </a:lnTo>
                  <a:lnTo>
                    <a:pt x="1014" y="780"/>
                  </a:lnTo>
                  <a:lnTo>
                    <a:pt x="1026" y="768"/>
                  </a:lnTo>
                  <a:lnTo>
                    <a:pt x="1032" y="762"/>
                  </a:lnTo>
                  <a:lnTo>
                    <a:pt x="1026" y="756"/>
                  </a:lnTo>
                  <a:lnTo>
                    <a:pt x="1014" y="744"/>
                  </a:lnTo>
                  <a:lnTo>
                    <a:pt x="996" y="756"/>
                  </a:lnTo>
                  <a:lnTo>
                    <a:pt x="954" y="768"/>
                  </a:lnTo>
                  <a:lnTo>
                    <a:pt x="942" y="762"/>
                  </a:lnTo>
                  <a:lnTo>
                    <a:pt x="942" y="756"/>
                  </a:lnTo>
                  <a:lnTo>
                    <a:pt x="936" y="750"/>
                  </a:lnTo>
                  <a:lnTo>
                    <a:pt x="846" y="732"/>
                  </a:lnTo>
                  <a:lnTo>
                    <a:pt x="822" y="726"/>
                  </a:lnTo>
                  <a:lnTo>
                    <a:pt x="810" y="714"/>
                  </a:lnTo>
                  <a:lnTo>
                    <a:pt x="792" y="690"/>
                  </a:lnTo>
                  <a:lnTo>
                    <a:pt x="792" y="678"/>
                  </a:lnTo>
                  <a:lnTo>
                    <a:pt x="762" y="642"/>
                  </a:lnTo>
                  <a:lnTo>
                    <a:pt x="750" y="636"/>
                  </a:lnTo>
                  <a:lnTo>
                    <a:pt x="726" y="630"/>
                  </a:lnTo>
                  <a:lnTo>
                    <a:pt x="696" y="642"/>
                  </a:lnTo>
                  <a:lnTo>
                    <a:pt x="678" y="654"/>
                  </a:lnTo>
                  <a:lnTo>
                    <a:pt x="666" y="684"/>
                  </a:lnTo>
                  <a:lnTo>
                    <a:pt x="660" y="726"/>
                  </a:lnTo>
                  <a:lnTo>
                    <a:pt x="606" y="756"/>
                  </a:lnTo>
                  <a:lnTo>
                    <a:pt x="558" y="780"/>
                  </a:lnTo>
                  <a:lnTo>
                    <a:pt x="438" y="834"/>
                  </a:lnTo>
                  <a:lnTo>
                    <a:pt x="402" y="846"/>
                  </a:lnTo>
                  <a:lnTo>
                    <a:pt x="372" y="870"/>
                  </a:lnTo>
                  <a:lnTo>
                    <a:pt x="360" y="876"/>
                  </a:lnTo>
                  <a:lnTo>
                    <a:pt x="354" y="876"/>
                  </a:lnTo>
                  <a:lnTo>
                    <a:pt x="330" y="882"/>
                  </a:lnTo>
                  <a:lnTo>
                    <a:pt x="306" y="882"/>
                  </a:lnTo>
                  <a:lnTo>
                    <a:pt x="300" y="876"/>
                  </a:lnTo>
                  <a:lnTo>
                    <a:pt x="294" y="876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76" y="864"/>
                  </a:lnTo>
                  <a:lnTo>
                    <a:pt x="270" y="870"/>
                  </a:lnTo>
                  <a:lnTo>
                    <a:pt x="264" y="870"/>
                  </a:lnTo>
                  <a:lnTo>
                    <a:pt x="240" y="894"/>
                  </a:lnTo>
                  <a:lnTo>
                    <a:pt x="234" y="894"/>
                  </a:lnTo>
                  <a:lnTo>
                    <a:pt x="228" y="900"/>
                  </a:lnTo>
                  <a:lnTo>
                    <a:pt x="222" y="906"/>
                  </a:lnTo>
                  <a:lnTo>
                    <a:pt x="210" y="912"/>
                  </a:lnTo>
                  <a:lnTo>
                    <a:pt x="204" y="912"/>
                  </a:lnTo>
                  <a:lnTo>
                    <a:pt x="198" y="912"/>
                  </a:lnTo>
                  <a:lnTo>
                    <a:pt x="192" y="918"/>
                  </a:lnTo>
                  <a:lnTo>
                    <a:pt x="180" y="918"/>
                  </a:lnTo>
                  <a:lnTo>
                    <a:pt x="174" y="930"/>
                  </a:lnTo>
                  <a:lnTo>
                    <a:pt x="174" y="936"/>
                  </a:lnTo>
                  <a:lnTo>
                    <a:pt x="168" y="942"/>
                  </a:lnTo>
                  <a:lnTo>
                    <a:pt x="162" y="942"/>
                  </a:lnTo>
                  <a:lnTo>
                    <a:pt x="150" y="960"/>
                  </a:lnTo>
                  <a:lnTo>
                    <a:pt x="144" y="966"/>
                  </a:lnTo>
                  <a:lnTo>
                    <a:pt x="138" y="972"/>
                  </a:lnTo>
                  <a:lnTo>
                    <a:pt x="132" y="972"/>
                  </a:lnTo>
                  <a:lnTo>
                    <a:pt x="126" y="984"/>
                  </a:lnTo>
                  <a:lnTo>
                    <a:pt x="120" y="984"/>
                  </a:lnTo>
                  <a:lnTo>
                    <a:pt x="114" y="990"/>
                  </a:lnTo>
                  <a:lnTo>
                    <a:pt x="96" y="990"/>
                  </a:lnTo>
                  <a:lnTo>
                    <a:pt x="90" y="990"/>
                  </a:lnTo>
                  <a:lnTo>
                    <a:pt x="78" y="990"/>
                  </a:lnTo>
                  <a:lnTo>
                    <a:pt x="72" y="990"/>
                  </a:lnTo>
                  <a:lnTo>
                    <a:pt x="60" y="990"/>
                  </a:lnTo>
                  <a:lnTo>
                    <a:pt x="42" y="990"/>
                  </a:lnTo>
                  <a:lnTo>
                    <a:pt x="36" y="996"/>
                  </a:lnTo>
                  <a:lnTo>
                    <a:pt x="30" y="1002"/>
                  </a:lnTo>
                  <a:lnTo>
                    <a:pt x="24" y="1014"/>
                  </a:lnTo>
                  <a:lnTo>
                    <a:pt x="24" y="1020"/>
                  </a:lnTo>
                  <a:lnTo>
                    <a:pt x="18" y="1020"/>
                  </a:lnTo>
                  <a:lnTo>
                    <a:pt x="12" y="1014"/>
                  </a:lnTo>
                  <a:lnTo>
                    <a:pt x="12" y="1008"/>
                  </a:lnTo>
                  <a:lnTo>
                    <a:pt x="12" y="990"/>
                  </a:lnTo>
                  <a:lnTo>
                    <a:pt x="12" y="984"/>
                  </a:lnTo>
                  <a:lnTo>
                    <a:pt x="12" y="972"/>
                  </a:lnTo>
                  <a:lnTo>
                    <a:pt x="12" y="966"/>
                  </a:lnTo>
                  <a:lnTo>
                    <a:pt x="6" y="966"/>
                  </a:lnTo>
                  <a:lnTo>
                    <a:pt x="6" y="960"/>
                  </a:lnTo>
                  <a:lnTo>
                    <a:pt x="6" y="954"/>
                  </a:lnTo>
                  <a:lnTo>
                    <a:pt x="6" y="948"/>
                  </a:lnTo>
                  <a:lnTo>
                    <a:pt x="6" y="942"/>
                  </a:lnTo>
                  <a:lnTo>
                    <a:pt x="12" y="930"/>
                  </a:lnTo>
                  <a:lnTo>
                    <a:pt x="6" y="924"/>
                  </a:lnTo>
                  <a:lnTo>
                    <a:pt x="6" y="918"/>
                  </a:lnTo>
                  <a:lnTo>
                    <a:pt x="6" y="912"/>
                  </a:lnTo>
                  <a:lnTo>
                    <a:pt x="6" y="906"/>
                  </a:lnTo>
                  <a:lnTo>
                    <a:pt x="6" y="900"/>
                  </a:lnTo>
                  <a:lnTo>
                    <a:pt x="0" y="894"/>
                  </a:lnTo>
                  <a:lnTo>
                    <a:pt x="0" y="888"/>
                  </a:lnTo>
                  <a:lnTo>
                    <a:pt x="0" y="882"/>
                  </a:lnTo>
                  <a:lnTo>
                    <a:pt x="6" y="876"/>
                  </a:lnTo>
                  <a:lnTo>
                    <a:pt x="6" y="870"/>
                  </a:lnTo>
                  <a:lnTo>
                    <a:pt x="18" y="864"/>
                  </a:lnTo>
                  <a:lnTo>
                    <a:pt x="18" y="858"/>
                  </a:lnTo>
                  <a:lnTo>
                    <a:pt x="18" y="846"/>
                  </a:lnTo>
                  <a:lnTo>
                    <a:pt x="18" y="834"/>
                  </a:lnTo>
                  <a:lnTo>
                    <a:pt x="18" y="828"/>
                  </a:lnTo>
                  <a:lnTo>
                    <a:pt x="24" y="828"/>
                  </a:lnTo>
                  <a:lnTo>
                    <a:pt x="24" y="810"/>
                  </a:lnTo>
                  <a:lnTo>
                    <a:pt x="24" y="804"/>
                  </a:lnTo>
                  <a:lnTo>
                    <a:pt x="18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24" y="792"/>
                  </a:lnTo>
                  <a:lnTo>
                    <a:pt x="30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6" y="762"/>
                  </a:lnTo>
                  <a:lnTo>
                    <a:pt x="36" y="756"/>
                  </a:lnTo>
                  <a:lnTo>
                    <a:pt x="30" y="756"/>
                  </a:lnTo>
                  <a:lnTo>
                    <a:pt x="30" y="750"/>
                  </a:lnTo>
                  <a:lnTo>
                    <a:pt x="36" y="750"/>
                  </a:lnTo>
                  <a:lnTo>
                    <a:pt x="36" y="744"/>
                  </a:lnTo>
                  <a:lnTo>
                    <a:pt x="30" y="744"/>
                  </a:lnTo>
                  <a:lnTo>
                    <a:pt x="30" y="738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0" y="732"/>
                  </a:lnTo>
                  <a:lnTo>
                    <a:pt x="36" y="726"/>
                  </a:lnTo>
                  <a:lnTo>
                    <a:pt x="30" y="726"/>
                  </a:lnTo>
                  <a:lnTo>
                    <a:pt x="24" y="726"/>
                  </a:lnTo>
                  <a:lnTo>
                    <a:pt x="30" y="720"/>
                  </a:lnTo>
                  <a:lnTo>
                    <a:pt x="30" y="714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696"/>
                  </a:lnTo>
                  <a:lnTo>
                    <a:pt x="66" y="702"/>
                  </a:lnTo>
                  <a:lnTo>
                    <a:pt x="78" y="702"/>
                  </a:lnTo>
                  <a:lnTo>
                    <a:pt x="84" y="702"/>
                  </a:lnTo>
                  <a:lnTo>
                    <a:pt x="96" y="696"/>
                  </a:lnTo>
                  <a:lnTo>
                    <a:pt x="102" y="690"/>
                  </a:lnTo>
                  <a:lnTo>
                    <a:pt x="102" y="684"/>
                  </a:lnTo>
                  <a:lnTo>
                    <a:pt x="114" y="684"/>
                  </a:lnTo>
                  <a:lnTo>
                    <a:pt x="144" y="684"/>
                  </a:lnTo>
                  <a:lnTo>
                    <a:pt x="150" y="690"/>
                  </a:lnTo>
                  <a:lnTo>
                    <a:pt x="162" y="696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6" y="690"/>
                  </a:lnTo>
                  <a:lnTo>
                    <a:pt x="192" y="690"/>
                  </a:lnTo>
                  <a:lnTo>
                    <a:pt x="198" y="684"/>
                  </a:lnTo>
                  <a:lnTo>
                    <a:pt x="204" y="684"/>
                  </a:lnTo>
                  <a:lnTo>
                    <a:pt x="210" y="684"/>
                  </a:lnTo>
                  <a:lnTo>
                    <a:pt x="222" y="678"/>
                  </a:lnTo>
                  <a:lnTo>
                    <a:pt x="228" y="678"/>
                  </a:lnTo>
                  <a:lnTo>
                    <a:pt x="228" y="660"/>
                  </a:lnTo>
                  <a:lnTo>
                    <a:pt x="234" y="642"/>
                  </a:lnTo>
                  <a:lnTo>
                    <a:pt x="246" y="618"/>
                  </a:lnTo>
                  <a:lnTo>
                    <a:pt x="252" y="618"/>
                  </a:lnTo>
                  <a:lnTo>
                    <a:pt x="252" y="600"/>
                  </a:lnTo>
                  <a:lnTo>
                    <a:pt x="252" y="588"/>
                  </a:lnTo>
                  <a:lnTo>
                    <a:pt x="252" y="582"/>
                  </a:lnTo>
                  <a:lnTo>
                    <a:pt x="258" y="576"/>
                  </a:lnTo>
                  <a:lnTo>
                    <a:pt x="270" y="564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70" y="522"/>
                  </a:lnTo>
                  <a:lnTo>
                    <a:pt x="270" y="510"/>
                  </a:lnTo>
                  <a:lnTo>
                    <a:pt x="270" y="498"/>
                  </a:lnTo>
                  <a:lnTo>
                    <a:pt x="258" y="468"/>
                  </a:lnTo>
                  <a:lnTo>
                    <a:pt x="252" y="456"/>
                  </a:lnTo>
                  <a:lnTo>
                    <a:pt x="258" y="444"/>
                  </a:lnTo>
                  <a:lnTo>
                    <a:pt x="264" y="432"/>
                  </a:lnTo>
                  <a:lnTo>
                    <a:pt x="270" y="426"/>
                  </a:lnTo>
                  <a:lnTo>
                    <a:pt x="276" y="420"/>
                  </a:lnTo>
                  <a:lnTo>
                    <a:pt x="288" y="420"/>
                  </a:lnTo>
                  <a:lnTo>
                    <a:pt x="288" y="414"/>
                  </a:lnTo>
                  <a:lnTo>
                    <a:pt x="294" y="414"/>
                  </a:lnTo>
                  <a:lnTo>
                    <a:pt x="306" y="390"/>
                  </a:lnTo>
                  <a:lnTo>
                    <a:pt x="312" y="384"/>
                  </a:lnTo>
                  <a:lnTo>
                    <a:pt x="318" y="378"/>
                  </a:lnTo>
                  <a:lnTo>
                    <a:pt x="318" y="372"/>
                  </a:lnTo>
                  <a:lnTo>
                    <a:pt x="324" y="366"/>
                  </a:lnTo>
                  <a:lnTo>
                    <a:pt x="330" y="354"/>
                  </a:lnTo>
                  <a:lnTo>
                    <a:pt x="336" y="348"/>
                  </a:lnTo>
                  <a:lnTo>
                    <a:pt x="336" y="330"/>
                  </a:lnTo>
                  <a:lnTo>
                    <a:pt x="342" y="324"/>
                  </a:lnTo>
                  <a:lnTo>
                    <a:pt x="342" y="318"/>
                  </a:lnTo>
                  <a:lnTo>
                    <a:pt x="348" y="318"/>
                  </a:lnTo>
                  <a:lnTo>
                    <a:pt x="360" y="318"/>
                  </a:lnTo>
                  <a:lnTo>
                    <a:pt x="372" y="318"/>
                  </a:lnTo>
                  <a:lnTo>
                    <a:pt x="384" y="306"/>
                  </a:lnTo>
                  <a:lnTo>
                    <a:pt x="396" y="300"/>
                  </a:lnTo>
                  <a:lnTo>
                    <a:pt x="396" y="294"/>
                  </a:lnTo>
                  <a:lnTo>
                    <a:pt x="396" y="288"/>
                  </a:lnTo>
                  <a:lnTo>
                    <a:pt x="390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2"/>
                  </a:lnTo>
                  <a:lnTo>
                    <a:pt x="378" y="246"/>
                  </a:lnTo>
                  <a:lnTo>
                    <a:pt x="384" y="228"/>
                  </a:lnTo>
                  <a:lnTo>
                    <a:pt x="390" y="216"/>
                  </a:lnTo>
                  <a:lnTo>
                    <a:pt x="402" y="210"/>
                  </a:lnTo>
                  <a:lnTo>
                    <a:pt x="408" y="210"/>
                  </a:lnTo>
                  <a:lnTo>
                    <a:pt x="420" y="204"/>
                  </a:lnTo>
                  <a:lnTo>
                    <a:pt x="444" y="198"/>
                  </a:lnTo>
                  <a:lnTo>
                    <a:pt x="462" y="192"/>
                  </a:lnTo>
                  <a:lnTo>
                    <a:pt x="474" y="186"/>
                  </a:lnTo>
                  <a:lnTo>
                    <a:pt x="480" y="192"/>
                  </a:lnTo>
                  <a:lnTo>
                    <a:pt x="492" y="192"/>
                  </a:lnTo>
                  <a:lnTo>
                    <a:pt x="498" y="192"/>
                  </a:lnTo>
                  <a:lnTo>
                    <a:pt x="504" y="192"/>
                  </a:lnTo>
                  <a:lnTo>
                    <a:pt x="510" y="192"/>
                  </a:lnTo>
                  <a:lnTo>
                    <a:pt x="516" y="186"/>
                  </a:lnTo>
                  <a:lnTo>
                    <a:pt x="522" y="180"/>
                  </a:lnTo>
                  <a:lnTo>
                    <a:pt x="522" y="174"/>
                  </a:lnTo>
                  <a:lnTo>
                    <a:pt x="528" y="168"/>
                  </a:lnTo>
                  <a:lnTo>
                    <a:pt x="534" y="168"/>
                  </a:lnTo>
                  <a:lnTo>
                    <a:pt x="534" y="156"/>
                  </a:lnTo>
                  <a:lnTo>
                    <a:pt x="534" y="150"/>
                  </a:lnTo>
                  <a:lnTo>
                    <a:pt x="552" y="138"/>
                  </a:lnTo>
                  <a:lnTo>
                    <a:pt x="558" y="126"/>
                  </a:lnTo>
                  <a:lnTo>
                    <a:pt x="558" y="114"/>
                  </a:lnTo>
                  <a:lnTo>
                    <a:pt x="564" y="102"/>
                  </a:lnTo>
                  <a:lnTo>
                    <a:pt x="564" y="96"/>
                  </a:lnTo>
                  <a:lnTo>
                    <a:pt x="564" y="90"/>
                  </a:lnTo>
                  <a:lnTo>
                    <a:pt x="564" y="72"/>
                  </a:lnTo>
                  <a:lnTo>
                    <a:pt x="564" y="60"/>
                  </a:lnTo>
                  <a:lnTo>
                    <a:pt x="564" y="54"/>
                  </a:lnTo>
                  <a:lnTo>
                    <a:pt x="570" y="42"/>
                  </a:lnTo>
                  <a:lnTo>
                    <a:pt x="576" y="42"/>
                  </a:lnTo>
                  <a:lnTo>
                    <a:pt x="582" y="36"/>
                  </a:lnTo>
                  <a:lnTo>
                    <a:pt x="594" y="36"/>
                  </a:lnTo>
                  <a:lnTo>
                    <a:pt x="594" y="30"/>
                  </a:lnTo>
                  <a:lnTo>
                    <a:pt x="600" y="24"/>
                  </a:lnTo>
                  <a:lnTo>
                    <a:pt x="600" y="12"/>
                  </a:lnTo>
                  <a:lnTo>
                    <a:pt x="606" y="6"/>
                  </a:lnTo>
                  <a:lnTo>
                    <a:pt x="606" y="0"/>
                  </a:lnTo>
                  <a:lnTo>
                    <a:pt x="612" y="0"/>
                  </a:lnTo>
                  <a:lnTo>
                    <a:pt x="618" y="0"/>
                  </a:lnTo>
                  <a:lnTo>
                    <a:pt x="624" y="6"/>
                  </a:lnTo>
                  <a:lnTo>
                    <a:pt x="624" y="12"/>
                  </a:lnTo>
                  <a:lnTo>
                    <a:pt x="624" y="18"/>
                  </a:lnTo>
                  <a:lnTo>
                    <a:pt x="624" y="24"/>
                  </a:lnTo>
                  <a:lnTo>
                    <a:pt x="624" y="30"/>
                  </a:lnTo>
                  <a:lnTo>
                    <a:pt x="630" y="30"/>
                  </a:lnTo>
                  <a:lnTo>
                    <a:pt x="630" y="36"/>
                  </a:lnTo>
                  <a:lnTo>
                    <a:pt x="630" y="42"/>
                  </a:lnTo>
                  <a:lnTo>
                    <a:pt x="630" y="48"/>
                  </a:lnTo>
                  <a:lnTo>
                    <a:pt x="636" y="54"/>
                  </a:lnTo>
                  <a:lnTo>
                    <a:pt x="642" y="48"/>
                  </a:lnTo>
                  <a:lnTo>
                    <a:pt x="648" y="48"/>
                  </a:lnTo>
                  <a:lnTo>
                    <a:pt x="648" y="60"/>
                  </a:lnTo>
                  <a:lnTo>
                    <a:pt x="654" y="66"/>
                  </a:lnTo>
                  <a:lnTo>
                    <a:pt x="660" y="72"/>
                  </a:lnTo>
                  <a:lnTo>
                    <a:pt x="666" y="72"/>
                  </a:lnTo>
                  <a:lnTo>
                    <a:pt x="666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72" y="66"/>
                  </a:lnTo>
                  <a:lnTo>
                    <a:pt x="678" y="66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6" y="66"/>
                  </a:lnTo>
                  <a:lnTo>
                    <a:pt x="696" y="72"/>
                  </a:lnTo>
                  <a:lnTo>
                    <a:pt x="702" y="72"/>
                  </a:lnTo>
                  <a:lnTo>
                    <a:pt x="708" y="72"/>
                  </a:lnTo>
                  <a:lnTo>
                    <a:pt x="720" y="66"/>
                  </a:lnTo>
                  <a:lnTo>
                    <a:pt x="726" y="78"/>
                  </a:lnTo>
                  <a:lnTo>
                    <a:pt x="744" y="84"/>
                  </a:lnTo>
                  <a:lnTo>
                    <a:pt x="744" y="90"/>
                  </a:lnTo>
                  <a:lnTo>
                    <a:pt x="744" y="96"/>
                  </a:lnTo>
                  <a:lnTo>
                    <a:pt x="738" y="96"/>
                  </a:lnTo>
                  <a:lnTo>
                    <a:pt x="738" y="102"/>
                  </a:lnTo>
                  <a:lnTo>
                    <a:pt x="732" y="102"/>
                  </a:lnTo>
                  <a:lnTo>
                    <a:pt x="732" y="108"/>
                  </a:lnTo>
                  <a:lnTo>
                    <a:pt x="738" y="108"/>
                  </a:lnTo>
                  <a:lnTo>
                    <a:pt x="744" y="114"/>
                  </a:lnTo>
                  <a:lnTo>
                    <a:pt x="750" y="108"/>
                  </a:lnTo>
                  <a:lnTo>
                    <a:pt x="756" y="108"/>
                  </a:lnTo>
                  <a:lnTo>
                    <a:pt x="762" y="108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80" y="120"/>
                  </a:lnTo>
                  <a:lnTo>
                    <a:pt x="774" y="120"/>
                  </a:lnTo>
                  <a:lnTo>
                    <a:pt x="768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74" y="138"/>
                  </a:lnTo>
                  <a:lnTo>
                    <a:pt x="774" y="132"/>
                  </a:lnTo>
                  <a:lnTo>
                    <a:pt x="780" y="132"/>
                  </a:lnTo>
                  <a:lnTo>
                    <a:pt x="786" y="132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44"/>
                  </a:lnTo>
                  <a:lnTo>
                    <a:pt x="786" y="150"/>
                  </a:lnTo>
                  <a:lnTo>
                    <a:pt x="780" y="150"/>
                  </a:lnTo>
                  <a:lnTo>
                    <a:pt x="774" y="150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74" y="162"/>
                  </a:lnTo>
                  <a:lnTo>
                    <a:pt x="780" y="162"/>
                  </a:lnTo>
                  <a:lnTo>
                    <a:pt x="786" y="168"/>
                  </a:lnTo>
                  <a:lnTo>
                    <a:pt x="792" y="162"/>
                  </a:lnTo>
                  <a:lnTo>
                    <a:pt x="798" y="168"/>
                  </a:lnTo>
                  <a:lnTo>
                    <a:pt x="798" y="174"/>
                  </a:lnTo>
                  <a:lnTo>
                    <a:pt x="804" y="168"/>
                  </a:lnTo>
                  <a:lnTo>
                    <a:pt x="810" y="168"/>
                  </a:lnTo>
                  <a:lnTo>
                    <a:pt x="810" y="174"/>
                  </a:lnTo>
                  <a:lnTo>
                    <a:pt x="816" y="168"/>
                  </a:lnTo>
                  <a:lnTo>
                    <a:pt x="822" y="162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74"/>
                  </a:lnTo>
                  <a:lnTo>
                    <a:pt x="834" y="192"/>
                  </a:lnTo>
                  <a:lnTo>
                    <a:pt x="834" y="198"/>
                  </a:lnTo>
                  <a:lnTo>
                    <a:pt x="840" y="192"/>
                  </a:lnTo>
                  <a:lnTo>
                    <a:pt x="846" y="192"/>
                  </a:lnTo>
                  <a:lnTo>
                    <a:pt x="852" y="186"/>
                  </a:lnTo>
                  <a:lnTo>
                    <a:pt x="858" y="192"/>
                  </a:lnTo>
                  <a:lnTo>
                    <a:pt x="864" y="192"/>
                  </a:lnTo>
                  <a:lnTo>
                    <a:pt x="870" y="198"/>
                  </a:lnTo>
                  <a:lnTo>
                    <a:pt x="876" y="180"/>
                  </a:lnTo>
                  <a:lnTo>
                    <a:pt x="882" y="180"/>
                  </a:lnTo>
                  <a:lnTo>
                    <a:pt x="888" y="180"/>
                  </a:lnTo>
                  <a:lnTo>
                    <a:pt x="894" y="186"/>
                  </a:lnTo>
                  <a:lnTo>
                    <a:pt x="888" y="198"/>
                  </a:lnTo>
                  <a:lnTo>
                    <a:pt x="894" y="204"/>
                  </a:lnTo>
                  <a:lnTo>
                    <a:pt x="906" y="210"/>
                  </a:lnTo>
                  <a:lnTo>
                    <a:pt x="918" y="246"/>
                  </a:lnTo>
                  <a:lnTo>
                    <a:pt x="930" y="258"/>
                  </a:lnTo>
                  <a:lnTo>
                    <a:pt x="942" y="282"/>
                  </a:lnTo>
                  <a:lnTo>
                    <a:pt x="966" y="288"/>
                  </a:lnTo>
                  <a:lnTo>
                    <a:pt x="972" y="300"/>
                  </a:lnTo>
                  <a:lnTo>
                    <a:pt x="972" y="318"/>
                  </a:lnTo>
                  <a:lnTo>
                    <a:pt x="996" y="336"/>
                  </a:lnTo>
                  <a:lnTo>
                    <a:pt x="1050" y="390"/>
                  </a:lnTo>
                  <a:lnTo>
                    <a:pt x="1116" y="462"/>
                  </a:lnTo>
                  <a:lnTo>
                    <a:pt x="1122" y="468"/>
                  </a:lnTo>
                  <a:lnTo>
                    <a:pt x="1128" y="474"/>
                  </a:lnTo>
                  <a:lnTo>
                    <a:pt x="1140" y="474"/>
                  </a:lnTo>
                  <a:lnTo>
                    <a:pt x="1152" y="486"/>
                  </a:lnTo>
                  <a:lnTo>
                    <a:pt x="1152" y="492"/>
                  </a:lnTo>
                  <a:lnTo>
                    <a:pt x="1158" y="492"/>
                  </a:lnTo>
                  <a:lnTo>
                    <a:pt x="1164" y="492"/>
                  </a:lnTo>
                  <a:lnTo>
                    <a:pt x="1170" y="504"/>
                  </a:lnTo>
                  <a:lnTo>
                    <a:pt x="1176" y="504"/>
                  </a:lnTo>
                  <a:lnTo>
                    <a:pt x="1176" y="510"/>
                  </a:lnTo>
                  <a:lnTo>
                    <a:pt x="1200" y="516"/>
                  </a:lnTo>
                  <a:lnTo>
                    <a:pt x="1200" y="522"/>
                  </a:lnTo>
                  <a:lnTo>
                    <a:pt x="1212" y="534"/>
                  </a:lnTo>
                  <a:lnTo>
                    <a:pt x="1218" y="540"/>
                  </a:lnTo>
                  <a:lnTo>
                    <a:pt x="1224" y="552"/>
                  </a:lnTo>
                  <a:lnTo>
                    <a:pt x="1230" y="552"/>
                  </a:lnTo>
                  <a:lnTo>
                    <a:pt x="1242" y="552"/>
                  </a:lnTo>
                  <a:lnTo>
                    <a:pt x="1248" y="558"/>
                  </a:lnTo>
                  <a:lnTo>
                    <a:pt x="1254" y="558"/>
                  </a:lnTo>
                  <a:lnTo>
                    <a:pt x="1260" y="564"/>
                  </a:lnTo>
                  <a:lnTo>
                    <a:pt x="1266" y="564"/>
                  </a:lnTo>
                  <a:lnTo>
                    <a:pt x="1272" y="564"/>
                  </a:lnTo>
                  <a:lnTo>
                    <a:pt x="1284" y="564"/>
                  </a:lnTo>
                  <a:lnTo>
                    <a:pt x="1290" y="570"/>
                  </a:lnTo>
                  <a:lnTo>
                    <a:pt x="1296" y="576"/>
                  </a:lnTo>
                  <a:lnTo>
                    <a:pt x="1302" y="588"/>
                  </a:lnTo>
                  <a:lnTo>
                    <a:pt x="1296" y="594"/>
                  </a:lnTo>
                  <a:lnTo>
                    <a:pt x="1296" y="600"/>
                  </a:lnTo>
                  <a:lnTo>
                    <a:pt x="1296" y="606"/>
                  </a:lnTo>
                  <a:lnTo>
                    <a:pt x="1290" y="612"/>
                  </a:lnTo>
                  <a:lnTo>
                    <a:pt x="1290" y="624"/>
                  </a:lnTo>
                  <a:lnTo>
                    <a:pt x="1290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308" y="654"/>
                  </a:lnTo>
                  <a:lnTo>
                    <a:pt x="1320" y="654"/>
                  </a:lnTo>
                  <a:lnTo>
                    <a:pt x="1326" y="660"/>
                  </a:lnTo>
                  <a:lnTo>
                    <a:pt x="1338" y="654"/>
                  </a:lnTo>
                  <a:lnTo>
                    <a:pt x="1344" y="654"/>
                  </a:lnTo>
                  <a:lnTo>
                    <a:pt x="1356" y="654"/>
                  </a:lnTo>
                  <a:lnTo>
                    <a:pt x="1362" y="648"/>
                  </a:lnTo>
                  <a:lnTo>
                    <a:pt x="1368" y="642"/>
                  </a:lnTo>
                  <a:lnTo>
                    <a:pt x="1374" y="636"/>
                  </a:lnTo>
                  <a:lnTo>
                    <a:pt x="1380" y="636"/>
                  </a:lnTo>
                  <a:lnTo>
                    <a:pt x="1392" y="636"/>
                  </a:lnTo>
                  <a:lnTo>
                    <a:pt x="1398" y="636"/>
                  </a:lnTo>
                  <a:lnTo>
                    <a:pt x="1404" y="636"/>
                  </a:lnTo>
                  <a:lnTo>
                    <a:pt x="1410" y="630"/>
                  </a:lnTo>
                  <a:lnTo>
                    <a:pt x="1410" y="624"/>
                  </a:lnTo>
                  <a:lnTo>
                    <a:pt x="1422" y="618"/>
                  </a:lnTo>
                  <a:lnTo>
                    <a:pt x="1428" y="618"/>
                  </a:lnTo>
                  <a:lnTo>
                    <a:pt x="1440" y="612"/>
                  </a:lnTo>
                  <a:lnTo>
                    <a:pt x="1446" y="612"/>
                  </a:lnTo>
                  <a:lnTo>
                    <a:pt x="1458" y="612"/>
                  </a:lnTo>
                  <a:lnTo>
                    <a:pt x="1470" y="624"/>
                  </a:lnTo>
                  <a:lnTo>
                    <a:pt x="1488" y="642"/>
                  </a:lnTo>
                  <a:lnTo>
                    <a:pt x="1500" y="648"/>
                  </a:lnTo>
                  <a:lnTo>
                    <a:pt x="1512" y="654"/>
                  </a:lnTo>
                  <a:lnTo>
                    <a:pt x="1518" y="660"/>
                  </a:lnTo>
                  <a:lnTo>
                    <a:pt x="1524" y="660"/>
                  </a:lnTo>
                  <a:lnTo>
                    <a:pt x="1530" y="660"/>
                  </a:lnTo>
                  <a:lnTo>
                    <a:pt x="1536" y="666"/>
                  </a:lnTo>
                  <a:lnTo>
                    <a:pt x="1542" y="672"/>
                  </a:lnTo>
                  <a:lnTo>
                    <a:pt x="1548" y="672"/>
                  </a:lnTo>
                  <a:lnTo>
                    <a:pt x="1554" y="684"/>
                  </a:lnTo>
                  <a:lnTo>
                    <a:pt x="1554" y="690"/>
                  </a:lnTo>
                  <a:lnTo>
                    <a:pt x="1566" y="702"/>
                  </a:lnTo>
                  <a:lnTo>
                    <a:pt x="1572" y="720"/>
                  </a:lnTo>
                  <a:lnTo>
                    <a:pt x="1572" y="726"/>
                  </a:lnTo>
                  <a:lnTo>
                    <a:pt x="1578" y="732"/>
                  </a:lnTo>
                  <a:lnTo>
                    <a:pt x="1584" y="738"/>
                  </a:lnTo>
                  <a:lnTo>
                    <a:pt x="1590" y="738"/>
                  </a:lnTo>
                  <a:lnTo>
                    <a:pt x="1596" y="738"/>
                  </a:lnTo>
                  <a:lnTo>
                    <a:pt x="1602" y="744"/>
                  </a:lnTo>
                  <a:lnTo>
                    <a:pt x="1608" y="744"/>
                  </a:lnTo>
                  <a:lnTo>
                    <a:pt x="1614" y="744"/>
                  </a:lnTo>
                  <a:lnTo>
                    <a:pt x="1626" y="744"/>
                  </a:lnTo>
                  <a:lnTo>
                    <a:pt x="1638" y="744"/>
                  </a:lnTo>
                  <a:lnTo>
                    <a:pt x="1650" y="744"/>
                  </a:lnTo>
                  <a:lnTo>
                    <a:pt x="1662" y="744"/>
                  </a:lnTo>
                  <a:lnTo>
                    <a:pt x="1668" y="744"/>
                  </a:lnTo>
                  <a:lnTo>
                    <a:pt x="1674" y="744"/>
                  </a:lnTo>
                  <a:lnTo>
                    <a:pt x="1686" y="744"/>
                  </a:lnTo>
                  <a:lnTo>
                    <a:pt x="1698" y="750"/>
                  </a:lnTo>
                  <a:lnTo>
                    <a:pt x="1704" y="750"/>
                  </a:lnTo>
                  <a:lnTo>
                    <a:pt x="1716" y="756"/>
                  </a:lnTo>
                  <a:lnTo>
                    <a:pt x="1722" y="756"/>
                  </a:lnTo>
                  <a:lnTo>
                    <a:pt x="1728" y="756"/>
                  </a:lnTo>
                  <a:lnTo>
                    <a:pt x="1734" y="762"/>
                  </a:lnTo>
                  <a:lnTo>
                    <a:pt x="1740" y="768"/>
                  </a:lnTo>
                  <a:lnTo>
                    <a:pt x="1758" y="780"/>
                  </a:lnTo>
                  <a:lnTo>
                    <a:pt x="1770" y="780"/>
                  </a:lnTo>
                  <a:lnTo>
                    <a:pt x="1776" y="780"/>
                  </a:lnTo>
                  <a:lnTo>
                    <a:pt x="1782" y="780"/>
                  </a:lnTo>
                  <a:lnTo>
                    <a:pt x="1800" y="798"/>
                  </a:lnTo>
                  <a:lnTo>
                    <a:pt x="1818" y="810"/>
                  </a:lnTo>
                  <a:lnTo>
                    <a:pt x="1830" y="816"/>
                  </a:lnTo>
                  <a:lnTo>
                    <a:pt x="1836" y="822"/>
                  </a:lnTo>
                  <a:lnTo>
                    <a:pt x="1836" y="828"/>
                  </a:lnTo>
                  <a:lnTo>
                    <a:pt x="1842" y="828"/>
                  </a:lnTo>
                  <a:lnTo>
                    <a:pt x="1848" y="834"/>
                  </a:lnTo>
                  <a:lnTo>
                    <a:pt x="1854" y="840"/>
                  </a:lnTo>
                  <a:lnTo>
                    <a:pt x="1860" y="846"/>
                  </a:lnTo>
                  <a:lnTo>
                    <a:pt x="1872" y="852"/>
                  </a:lnTo>
                  <a:lnTo>
                    <a:pt x="1884" y="852"/>
                  </a:lnTo>
                  <a:lnTo>
                    <a:pt x="1896" y="852"/>
                  </a:lnTo>
                  <a:lnTo>
                    <a:pt x="1902" y="846"/>
                  </a:lnTo>
                  <a:lnTo>
                    <a:pt x="1908" y="852"/>
                  </a:lnTo>
                  <a:lnTo>
                    <a:pt x="1920" y="858"/>
                  </a:lnTo>
                  <a:lnTo>
                    <a:pt x="1926" y="870"/>
                  </a:lnTo>
                  <a:lnTo>
                    <a:pt x="1938" y="888"/>
                  </a:lnTo>
                  <a:lnTo>
                    <a:pt x="1944" y="900"/>
                  </a:lnTo>
                  <a:lnTo>
                    <a:pt x="1950" y="900"/>
                  </a:lnTo>
                  <a:lnTo>
                    <a:pt x="1962" y="906"/>
                  </a:lnTo>
                  <a:lnTo>
                    <a:pt x="1968" y="906"/>
                  </a:lnTo>
                  <a:lnTo>
                    <a:pt x="1980" y="906"/>
                  </a:lnTo>
                  <a:lnTo>
                    <a:pt x="1998" y="906"/>
                  </a:lnTo>
                  <a:lnTo>
                    <a:pt x="2010" y="900"/>
                  </a:lnTo>
                  <a:lnTo>
                    <a:pt x="2022" y="900"/>
                  </a:lnTo>
                  <a:lnTo>
                    <a:pt x="2028" y="900"/>
                  </a:lnTo>
                  <a:lnTo>
                    <a:pt x="2034" y="906"/>
                  </a:lnTo>
                  <a:lnTo>
                    <a:pt x="2046" y="906"/>
                  </a:lnTo>
                  <a:lnTo>
                    <a:pt x="2052" y="900"/>
                  </a:lnTo>
                  <a:lnTo>
                    <a:pt x="2058" y="900"/>
                  </a:lnTo>
                  <a:lnTo>
                    <a:pt x="2064" y="900"/>
                  </a:lnTo>
                  <a:lnTo>
                    <a:pt x="2070" y="900"/>
                  </a:lnTo>
                  <a:lnTo>
                    <a:pt x="2076" y="900"/>
                  </a:lnTo>
                  <a:lnTo>
                    <a:pt x="2076" y="906"/>
                  </a:lnTo>
                  <a:lnTo>
                    <a:pt x="2088" y="906"/>
                  </a:lnTo>
                  <a:lnTo>
                    <a:pt x="2106" y="900"/>
                  </a:lnTo>
                  <a:lnTo>
                    <a:pt x="2118" y="900"/>
                  </a:lnTo>
                  <a:lnTo>
                    <a:pt x="2130" y="900"/>
                  </a:lnTo>
                  <a:lnTo>
                    <a:pt x="2142" y="900"/>
                  </a:lnTo>
                  <a:lnTo>
                    <a:pt x="2148" y="906"/>
                  </a:lnTo>
                  <a:lnTo>
                    <a:pt x="2154" y="906"/>
                  </a:lnTo>
                  <a:lnTo>
                    <a:pt x="2160" y="906"/>
                  </a:lnTo>
                  <a:lnTo>
                    <a:pt x="2166" y="906"/>
                  </a:lnTo>
                  <a:lnTo>
                    <a:pt x="2178" y="918"/>
                  </a:lnTo>
                  <a:lnTo>
                    <a:pt x="2178" y="924"/>
                  </a:lnTo>
                  <a:lnTo>
                    <a:pt x="2184" y="924"/>
                  </a:lnTo>
                  <a:lnTo>
                    <a:pt x="2190" y="924"/>
                  </a:lnTo>
                  <a:lnTo>
                    <a:pt x="2196" y="924"/>
                  </a:lnTo>
                  <a:lnTo>
                    <a:pt x="2202" y="918"/>
                  </a:lnTo>
                  <a:lnTo>
                    <a:pt x="2208" y="918"/>
                  </a:lnTo>
                  <a:lnTo>
                    <a:pt x="2214" y="918"/>
                  </a:lnTo>
                  <a:lnTo>
                    <a:pt x="2226" y="918"/>
                  </a:lnTo>
                  <a:lnTo>
                    <a:pt x="2220" y="948"/>
                  </a:lnTo>
                  <a:lnTo>
                    <a:pt x="2214" y="972"/>
                  </a:lnTo>
                  <a:lnTo>
                    <a:pt x="2214" y="984"/>
                  </a:lnTo>
                  <a:lnTo>
                    <a:pt x="2208" y="990"/>
                  </a:lnTo>
                  <a:lnTo>
                    <a:pt x="2208" y="996"/>
                  </a:lnTo>
                  <a:lnTo>
                    <a:pt x="2202" y="996"/>
                  </a:lnTo>
                  <a:lnTo>
                    <a:pt x="2196" y="996"/>
                  </a:lnTo>
                  <a:lnTo>
                    <a:pt x="2190" y="1008"/>
                  </a:lnTo>
                  <a:lnTo>
                    <a:pt x="2172" y="1074"/>
                  </a:lnTo>
                  <a:lnTo>
                    <a:pt x="2166" y="1092"/>
                  </a:lnTo>
                  <a:lnTo>
                    <a:pt x="2172" y="1110"/>
                  </a:lnTo>
                  <a:lnTo>
                    <a:pt x="2172" y="1122"/>
                  </a:lnTo>
                  <a:lnTo>
                    <a:pt x="2166" y="1134"/>
                  </a:lnTo>
                  <a:lnTo>
                    <a:pt x="2148" y="1140"/>
                  </a:lnTo>
                  <a:lnTo>
                    <a:pt x="2148" y="1134"/>
                  </a:lnTo>
                  <a:lnTo>
                    <a:pt x="2118" y="1140"/>
                  </a:lnTo>
                  <a:lnTo>
                    <a:pt x="2088" y="1134"/>
                  </a:lnTo>
                  <a:lnTo>
                    <a:pt x="2064" y="1122"/>
                  </a:lnTo>
                  <a:lnTo>
                    <a:pt x="2034" y="1122"/>
                  </a:lnTo>
                  <a:lnTo>
                    <a:pt x="2022" y="1128"/>
                  </a:lnTo>
                  <a:lnTo>
                    <a:pt x="1986" y="1128"/>
                  </a:lnTo>
                  <a:lnTo>
                    <a:pt x="1938" y="1122"/>
                  </a:lnTo>
                  <a:lnTo>
                    <a:pt x="1932" y="1116"/>
                  </a:lnTo>
                  <a:lnTo>
                    <a:pt x="1896" y="1110"/>
                  </a:lnTo>
                  <a:lnTo>
                    <a:pt x="1878" y="1104"/>
                  </a:lnTo>
                  <a:lnTo>
                    <a:pt x="1866" y="1098"/>
                  </a:lnTo>
                  <a:lnTo>
                    <a:pt x="1860" y="1098"/>
                  </a:lnTo>
                  <a:lnTo>
                    <a:pt x="1854" y="1092"/>
                  </a:lnTo>
                  <a:lnTo>
                    <a:pt x="1860" y="1092"/>
                  </a:lnTo>
                  <a:lnTo>
                    <a:pt x="1860" y="1086"/>
                  </a:lnTo>
                  <a:lnTo>
                    <a:pt x="1854" y="1086"/>
                  </a:lnTo>
                  <a:lnTo>
                    <a:pt x="1842" y="1080"/>
                  </a:lnTo>
                  <a:lnTo>
                    <a:pt x="1818" y="1062"/>
                  </a:lnTo>
                  <a:lnTo>
                    <a:pt x="1782" y="1056"/>
                  </a:lnTo>
                  <a:lnTo>
                    <a:pt x="1770" y="1068"/>
                  </a:lnTo>
                  <a:lnTo>
                    <a:pt x="1746" y="1098"/>
                  </a:lnTo>
                  <a:lnTo>
                    <a:pt x="1722" y="1104"/>
                  </a:lnTo>
                  <a:lnTo>
                    <a:pt x="1710" y="1122"/>
                  </a:lnTo>
                  <a:lnTo>
                    <a:pt x="1710" y="1128"/>
                  </a:lnTo>
                  <a:lnTo>
                    <a:pt x="1710" y="1140"/>
                  </a:lnTo>
                  <a:lnTo>
                    <a:pt x="1698" y="1146"/>
                  </a:lnTo>
                  <a:lnTo>
                    <a:pt x="1686" y="1152"/>
                  </a:lnTo>
                  <a:lnTo>
                    <a:pt x="1680" y="1164"/>
                  </a:lnTo>
                  <a:lnTo>
                    <a:pt x="1680" y="1170"/>
                  </a:lnTo>
                  <a:lnTo>
                    <a:pt x="1686" y="1170"/>
                  </a:lnTo>
                  <a:lnTo>
                    <a:pt x="1686" y="1176"/>
                  </a:lnTo>
                  <a:lnTo>
                    <a:pt x="1698" y="1188"/>
                  </a:lnTo>
                  <a:lnTo>
                    <a:pt x="1704" y="1188"/>
                  </a:lnTo>
                  <a:lnTo>
                    <a:pt x="1698" y="1194"/>
                  </a:lnTo>
                  <a:lnTo>
                    <a:pt x="1704" y="1194"/>
                  </a:lnTo>
                  <a:lnTo>
                    <a:pt x="1704" y="1200"/>
                  </a:lnTo>
                  <a:lnTo>
                    <a:pt x="1704" y="1206"/>
                  </a:lnTo>
                  <a:lnTo>
                    <a:pt x="1704" y="1212"/>
                  </a:lnTo>
                  <a:lnTo>
                    <a:pt x="1704" y="1218"/>
                  </a:lnTo>
                  <a:lnTo>
                    <a:pt x="1710" y="1218"/>
                  </a:lnTo>
                  <a:lnTo>
                    <a:pt x="1710" y="1212"/>
                  </a:lnTo>
                  <a:lnTo>
                    <a:pt x="1716" y="1212"/>
                  </a:lnTo>
                  <a:lnTo>
                    <a:pt x="1716" y="1218"/>
                  </a:lnTo>
                  <a:lnTo>
                    <a:pt x="1716" y="1224"/>
                  </a:lnTo>
                  <a:lnTo>
                    <a:pt x="1716" y="1230"/>
                  </a:lnTo>
                  <a:lnTo>
                    <a:pt x="1722" y="1236"/>
                  </a:lnTo>
                  <a:lnTo>
                    <a:pt x="1740" y="1230"/>
                  </a:lnTo>
                  <a:lnTo>
                    <a:pt x="1734" y="1236"/>
                  </a:lnTo>
                  <a:lnTo>
                    <a:pt x="1734" y="1242"/>
                  </a:lnTo>
                  <a:lnTo>
                    <a:pt x="1734" y="1248"/>
                  </a:lnTo>
                  <a:lnTo>
                    <a:pt x="1734" y="1254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52" y="1266"/>
                  </a:lnTo>
                  <a:lnTo>
                    <a:pt x="1764" y="1266"/>
                  </a:lnTo>
                  <a:lnTo>
                    <a:pt x="1788" y="1260"/>
                  </a:lnTo>
                  <a:lnTo>
                    <a:pt x="1800" y="1260"/>
                  </a:lnTo>
                  <a:lnTo>
                    <a:pt x="1806" y="1272"/>
                  </a:lnTo>
                  <a:lnTo>
                    <a:pt x="1806" y="1296"/>
                  </a:lnTo>
                  <a:lnTo>
                    <a:pt x="1800" y="1308"/>
                  </a:lnTo>
                  <a:lnTo>
                    <a:pt x="1788" y="1308"/>
                  </a:lnTo>
                  <a:lnTo>
                    <a:pt x="1782" y="13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7" name="Freeform 32">
              <a:extLst>
                <a:ext uri="{FF2B5EF4-FFF2-40B4-BE49-F238E27FC236}">
                  <a16:creationId xmlns:a16="http://schemas.microsoft.com/office/drawing/2014/main" id="{1EF84438-BF7A-47D2-9156-E231EA2A279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3295" y="2316568"/>
              <a:ext cx="1290281" cy="1084704"/>
            </a:xfrm>
            <a:custGeom>
              <a:avLst/>
              <a:gdLst>
                <a:gd name="T0" fmla="*/ 177 w 2430"/>
                <a:gd name="T1" fmla="*/ 169 h 2040"/>
                <a:gd name="T2" fmla="*/ 174 w 2430"/>
                <a:gd name="T3" fmla="*/ 173 h 2040"/>
                <a:gd name="T4" fmla="*/ 169 w 2430"/>
                <a:gd name="T5" fmla="*/ 171 h 2040"/>
                <a:gd name="T6" fmla="*/ 160 w 2430"/>
                <a:gd name="T7" fmla="*/ 163 h 2040"/>
                <a:gd name="T8" fmla="*/ 154 w 2430"/>
                <a:gd name="T9" fmla="*/ 149 h 2040"/>
                <a:gd name="T10" fmla="*/ 144 w 2430"/>
                <a:gd name="T11" fmla="*/ 147 h 2040"/>
                <a:gd name="T12" fmla="*/ 133 w 2430"/>
                <a:gd name="T13" fmla="*/ 146 h 2040"/>
                <a:gd name="T14" fmla="*/ 121 w 2430"/>
                <a:gd name="T15" fmla="*/ 145 h 2040"/>
                <a:gd name="T16" fmla="*/ 110 w 2430"/>
                <a:gd name="T17" fmla="*/ 137 h 2040"/>
                <a:gd name="T18" fmla="*/ 97 w 2430"/>
                <a:gd name="T19" fmla="*/ 131 h 2040"/>
                <a:gd name="T20" fmla="*/ 87 w 2430"/>
                <a:gd name="T21" fmla="*/ 125 h 2040"/>
                <a:gd name="T22" fmla="*/ 75 w 2430"/>
                <a:gd name="T23" fmla="*/ 122 h 2040"/>
                <a:gd name="T24" fmla="*/ 65 w 2430"/>
                <a:gd name="T25" fmla="*/ 122 h 2040"/>
                <a:gd name="T26" fmla="*/ 59 w 2430"/>
                <a:gd name="T27" fmla="*/ 115 h 2040"/>
                <a:gd name="T28" fmla="*/ 50 w 2430"/>
                <a:gd name="T29" fmla="*/ 107 h 2040"/>
                <a:gd name="T30" fmla="*/ 28 w 2430"/>
                <a:gd name="T31" fmla="*/ 84 h 2040"/>
                <a:gd name="T32" fmla="*/ 22 w 2430"/>
                <a:gd name="T33" fmla="*/ 82 h 2040"/>
                <a:gd name="T34" fmla="*/ 20 w 2430"/>
                <a:gd name="T35" fmla="*/ 79 h 2040"/>
                <a:gd name="T36" fmla="*/ 16 w 2430"/>
                <a:gd name="T37" fmla="*/ 76 h 2040"/>
                <a:gd name="T38" fmla="*/ 11 w 2430"/>
                <a:gd name="T39" fmla="*/ 74 h 2040"/>
                <a:gd name="T40" fmla="*/ 7 w 2430"/>
                <a:gd name="T41" fmla="*/ 69 h 2040"/>
                <a:gd name="T42" fmla="*/ 0 w 2430"/>
                <a:gd name="T43" fmla="*/ 60 h 2040"/>
                <a:gd name="T44" fmla="*/ 10 w 2430"/>
                <a:gd name="T45" fmla="*/ 53 h 2040"/>
                <a:gd name="T46" fmla="*/ 15 w 2430"/>
                <a:gd name="T47" fmla="*/ 40 h 2040"/>
                <a:gd name="T48" fmla="*/ 9 w 2430"/>
                <a:gd name="T49" fmla="*/ 29 h 2040"/>
                <a:gd name="T50" fmla="*/ 7 w 2430"/>
                <a:gd name="T51" fmla="*/ 16 h 2040"/>
                <a:gd name="T52" fmla="*/ 18 w 2430"/>
                <a:gd name="T53" fmla="*/ 21 h 2040"/>
                <a:gd name="T54" fmla="*/ 48 w 2430"/>
                <a:gd name="T55" fmla="*/ 27 h 2040"/>
                <a:gd name="T56" fmla="*/ 62 w 2430"/>
                <a:gd name="T57" fmla="*/ 25 h 2040"/>
                <a:gd name="T58" fmla="*/ 59 w 2430"/>
                <a:gd name="T59" fmla="*/ 42 h 2040"/>
                <a:gd name="T60" fmla="*/ 54 w 2430"/>
                <a:gd name="T61" fmla="*/ 65 h 2040"/>
                <a:gd name="T62" fmla="*/ 65 w 2430"/>
                <a:gd name="T63" fmla="*/ 60 h 2040"/>
                <a:gd name="T64" fmla="*/ 68 w 2430"/>
                <a:gd name="T65" fmla="*/ 40 h 2040"/>
                <a:gd name="T66" fmla="*/ 75 w 2430"/>
                <a:gd name="T67" fmla="*/ 36 h 2040"/>
                <a:gd name="T68" fmla="*/ 83 w 2430"/>
                <a:gd name="T69" fmla="*/ 29 h 2040"/>
                <a:gd name="T70" fmla="*/ 81 w 2430"/>
                <a:gd name="T71" fmla="*/ 17 h 2040"/>
                <a:gd name="T72" fmla="*/ 66 w 2430"/>
                <a:gd name="T73" fmla="*/ 7 h 2040"/>
                <a:gd name="T74" fmla="*/ 80 w 2430"/>
                <a:gd name="T75" fmla="*/ 5 h 2040"/>
                <a:gd name="T76" fmla="*/ 89 w 2430"/>
                <a:gd name="T77" fmla="*/ 1 h 2040"/>
                <a:gd name="T78" fmla="*/ 101 w 2430"/>
                <a:gd name="T79" fmla="*/ 10 h 2040"/>
                <a:gd name="T80" fmla="*/ 103 w 2430"/>
                <a:gd name="T81" fmla="*/ 18 h 2040"/>
                <a:gd name="T82" fmla="*/ 110 w 2430"/>
                <a:gd name="T83" fmla="*/ 23 h 2040"/>
                <a:gd name="T84" fmla="*/ 121 w 2430"/>
                <a:gd name="T85" fmla="*/ 20 h 2040"/>
                <a:gd name="T86" fmla="*/ 129 w 2430"/>
                <a:gd name="T87" fmla="*/ 15 h 2040"/>
                <a:gd name="T88" fmla="*/ 142 w 2430"/>
                <a:gd name="T89" fmla="*/ 23 h 2040"/>
                <a:gd name="T90" fmla="*/ 141 w 2430"/>
                <a:gd name="T91" fmla="*/ 30 h 2040"/>
                <a:gd name="T92" fmla="*/ 140 w 2430"/>
                <a:gd name="T93" fmla="*/ 38 h 2040"/>
                <a:gd name="T94" fmla="*/ 139 w 2430"/>
                <a:gd name="T95" fmla="*/ 46 h 2040"/>
                <a:gd name="T96" fmla="*/ 147 w 2430"/>
                <a:gd name="T97" fmla="*/ 54 h 2040"/>
                <a:gd name="T98" fmla="*/ 152 w 2430"/>
                <a:gd name="T99" fmla="*/ 50 h 2040"/>
                <a:gd name="T100" fmla="*/ 159 w 2430"/>
                <a:gd name="T101" fmla="*/ 43 h 2040"/>
                <a:gd name="T102" fmla="*/ 174 w 2430"/>
                <a:gd name="T103" fmla="*/ 41 h 2040"/>
                <a:gd name="T104" fmla="*/ 190 w 2430"/>
                <a:gd name="T105" fmla="*/ 57 h 2040"/>
                <a:gd name="T106" fmla="*/ 187 w 2430"/>
                <a:gd name="T107" fmla="*/ 66 h 2040"/>
                <a:gd name="T108" fmla="*/ 183 w 2430"/>
                <a:gd name="T109" fmla="*/ 72 h 2040"/>
                <a:gd name="T110" fmla="*/ 194 w 2430"/>
                <a:gd name="T111" fmla="*/ 73 h 2040"/>
                <a:gd name="T112" fmla="*/ 202 w 2430"/>
                <a:gd name="T113" fmla="*/ 74 h 2040"/>
                <a:gd name="T114" fmla="*/ 204 w 2430"/>
                <a:gd name="T115" fmla="*/ 89 h 2040"/>
                <a:gd name="T116" fmla="*/ 208 w 2430"/>
                <a:gd name="T117" fmla="*/ 99 h 2040"/>
                <a:gd name="T118" fmla="*/ 203 w 2430"/>
                <a:gd name="T119" fmla="*/ 103 h 2040"/>
                <a:gd name="T120" fmla="*/ 209 w 2430"/>
                <a:gd name="T121" fmla="*/ 111 h 2040"/>
                <a:gd name="T122" fmla="*/ 204 w 2430"/>
                <a:gd name="T123" fmla="*/ 124 h 2040"/>
                <a:gd name="T124" fmla="*/ 190 w 2430"/>
                <a:gd name="T125" fmla="*/ 117 h 20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30"/>
                <a:gd name="T190" fmla="*/ 0 h 2040"/>
                <a:gd name="T191" fmla="*/ 2430 w 2430"/>
                <a:gd name="T192" fmla="*/ 2040 h 20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30" h="2040">
                  <a:moveTo>
                    <a:pt x="2076" y="1896"/>
                  </a:moveTo>
                  <a:lnTo>
                    <a:pt x="2070" y="1896"/>
                  </a:lnTo>
                  <a:lnTo>
                    <a:pt x="2070" y="1902"/>
                  </a:lnTo>
                  <a:lnTo>
                    <a:pt x="2076" y="1902"/>
                  </a:lnTo>
                  <a:lnTo>
                    <a:pt x="2082" y="1902"/>
                  </a:lnTo>
                  <a:lnTo>
                    <a:pt x="2082" y="1908"/>
                  </a:lnTo>
                  <a:lnTo>
                    <a:pt x="2076" y="1908"/>
                  </a:lnTo>
                  <a:lnTo>
                    <a:pt x="2076" y="1914"/>
                  </a:lnTo>
                  <a:lnTo>
                    <a:pt x="2070" y="1920"/>
                  </a:lnTo>
                  <a:lnTo>
                    <a:pt x="2064" y="1932"/>
                  </a:lnTo>
                  <a:lnTo>
                    <a:pt x="2064" y="1938"/>
                  </a:lnTo>
                  <a:lnTo>
                    <a:pt x="2058" y="1938"/>
                  </a:lnTo>
                  <a:lnTo>
                    <a:pt x="2052" y="1944"/>
                  </a:lnTo>
                  <a:lnTo>
                    <a:pt x="2052" y="1950"/>
                  </a:lnTo>
                  <a:lnTo>
                    <a:pt x="2040" y="1944"/>
                  </a:lnTo>
                  <a:lnTo>
                    <a:pt x="2040" y="1950"/>
                  </a:lnTo>
                  <a:lnTo>
                    <a:pt x="2034" y="1956"/>
                  </a:lnTo>
                  <a:lnTo>
                    <a:pt x="2034" y="1962"/>
                  </a:lnTo>
                  <a:lnTo>
                    <a:pt x="2028" y="1962"/>
                  </a:lnTo>
                  <a:lnTo>
                    <a:pt x="2022" y="1962"/>
                  </a:lnTo>
                  <a:lnTo>
                    <a:pt x="2022" y="1968"/>
                  </a:lnTo>
                  <a:lnTo>
                    <a:pt x="2028" y="1974"/>
                  </a:lnTo>
                  <a:lnTo>
                    <a:pt x="2034" y="1980"/>
                  </a:lnTo>
                  <a:lnTo>
                    <a:pt x="2028" y="1986"/>
                  </a:lnTo>
                  <a:lnTo>
                    <a:pt x="2022" y="1992"/>
                  </a:lnTo>
                  <a:lnTo>
                    <a:pt x="2022" y="1986"/>
                  </a:lnTo>
                  <a:lnTo>
                    <a:pt x="2016" y="1986"/>
                  </a:lnTo>
                  <a:lnTo>
                    <a:pt x="2010" y="1980"/>
                  </a:lnTo>
                  <a:lnTo>
                    <a:pt x="2004" y="1980"/>
                  </a:lnTo>
                  <a:lnTo>
                    <a:pt x="2004" y="1986"/>
                  </a:lnTo>
                  <a:lnTo>
                    <a:pt x="2010" y="1992"/>
                  </a:lnTo>
                  <a:lnTo>
                    <a:pt x="2010" y="1998"/>
                  </a:lnTo>
                  <a:lnTo>
                    <a:pt x="2004" y="2004"/>
                  </a:lnTo>
                  <a:lnTo>
                    <a:pt x="1998" y="2004"/>
                  </a:lnTo>
                  <a:lnTo>
                    <a:pt x="1998" y="2022"/>
                  </a:lnTo>
                  <a:lnTo>
                    <a:pt x="1998" y="2028"/>
                  </a:lnTo>
                  <a:lnTo>
                    <a:pt x="1992" y="2034"/>
                  </a:lnTo>
                  <a:lnTo>
                    <a:pt x="1992" y="2040"/>
                  </a:lnTo>
                  <a:lnTo>
                    <a:pt x="1986" y="2040"/>
                  </a:lnTo>
                  <a:lnTo>
                    <a:pt x="1986" y="2034"/>
                  </a:lnTo>
                  <a:lnTo>
                    <a:pt x="1980" y="2028"/>
                  </a:lnTo>
                  <a:lnTo>
                    <a:pt x="1980" y="2022"/>
                  </a:lnTo>
                  <a:lnTo>
                    <a:pt x="1968" y="2016"/>
                  </a:lnTo>
                  <a:lnTo>
                    <a:pt x="1962" y="2010"/>
                  </a:lnTo>
                  <a:lnTo>
                    <a:pt x="1956" y="2004"/>
                  </a:lnTo>
                  <a:lnTo>
                    <a:pt x="1950" y="1992"/>
                  </a:lnTo>
                  <a:lnTo>
                    <a:pt x="1950" y="1986"/>
                  </a:lnTo>
                  <a:lnTo>
                    <a:pt x="1950" y="1974"/>
                  </a:lnTo>
                  <a:lnTo>
                    <a:pt x="1944" y="1974"/>
                  </a:lnTo>
                  <a:lnTo>
                    <a:pt x="1932" y="1962"/>
                  </a:lnTo>
                  <a:lnTo>
                    <a:pt x="1932" y="1956"/>
                  </a:lnTo>
                  <a:lnTo>
                    <a:pt x="1932" y="1950"/>
                  </a:lnTo>
                  <a:lnTo>
                    <a:pt x="1920" y="1944"/>
                  </a:lnTo>
                  <a:lnTo>
                    <a:pt x="1914" y="1944"/>
                  </a:lnTo>
                  <a:lnTo>
                    <a:pt x="1908" y="1938"/>
                  </a:lnTo>
                  <a:lnTo>
                    <a:pt x="1902" y="1926"/>
                  </a:lnTo>
                  <a:lnTo>
                    <a:pt x="1890" y="1914"/>
                  </a:lnTo>
                  <a:lnTo>
                    <a:pt x="1884" y="1914"/>
                  </a:lnTo>
                  <a:lnTo>
                    <a:pt x="1878" y="1908"/>
                  </a:lnTo>
                  <a:lnTo>
                    <a:pt x="1872" y="1902"/>
                  </a:lnTo>
                  <a:lnTo>
                    <a:pt x="1872" y="1896"/>
                  </a:lnTo>
                  <a:lnTo>
                    <a:pt x="1866" y="1890"/>
                  </a:lnTo>
                  <a:lnTo>
                    <a:pt x="1854" y="1884"/>
                  </a:lnTo>
                  <a:lnTo>
                    <a:pt x="1848" y="1884"/>
                  </a:lnTo>
                  <a:lnTo>
                    <a:pt x="1842" y="1872"/>
                  </a:lnTo>
                  <a:lnTo>
                    <a:pt x="1836" y="1872"/>
                  </a:lnTo>
                  <a:lnTo>
                    <a:pt x="1830" y="1866"/>
                  </a:lnTo>
                  <a:lnTo>
                    <a:pt x="1830" y="1854"/>
                  </a:lnTo>
                  <a:lnTo>
                    <a:pt x="1824" y="1848"/>
                  </a:lnTo>
                  <a:lnTo>
                    <a:pt x="1818" y="1830"/>
                  </a:lnTo>
                  <a:lnTo>
                    <a:pt x="1818" y="1818"/>
                  </a:lnTo>
                  <a:lnTo>
                    <a:pt x="1812" y="1800"/>
                  </a:lnTo>
                  <a:lnTo>
                    <a:pt x="1812" y="1788"/>
                  </a:lnTo>
                  <a:lnTo>
                    <a:pt x="1806" y="1776"/>
                  </a:lnTo>
                  <a:lnTo>
                    <a:pt x="1800" y="1764"/>
                  </a:lnTo>
                  <a:lnTo>
                    <a:pt x="1794" y="1758"/>
                  </a:lnTo>
                  <a:lnTo>
                    <a:pt x="1782" y="1740"/>
                  </a:lnTo>
                  <a:lnTo>
                    <a:pt x="1776" y="1728"/>
                  </a:lnTo>
                  <a:lnTo>
                    <a:pt x="1776" y="1722"/>
                  </a:lnTo>
                  <a:lnTo>
                    <a:pt x="1770" y="1722"/>
                  </a:lnTo>
                  <a:lnTo>
                    <a:pt x="1770" y="1716"/>
                  </a:lnTo>
                  <a:lnTo>
                    <a:pt x="1764" y="1716"/>
                  </a:lnTo>
                  <a:lnTo>
                    <a:pt x="1758" y="1710"/>
                  </a:lnTo>
                  <a:lnTo>
                    <a:pt x="1752" y="1704"/>
                  </a:lnTo>
                  <a:lnTo>
                    <a:pt x="1746" y="1704"/>
                  </a:lnTo>
                  <a:lnTo>
                    <a:pt x="1740" y="1704"/>
                  </a:lnTo>
                  <a:lnTo>
                    <a:pt x="1734" y="1704"/>
                  </a:lnTo>
                  <a:lnTo>
                    <a:pt x="1734" y="1698"/>
                  </a:lnTo>
                  <a:lnTo>
                    <a:pt x="1728" y="1692"/>
                  </a:lnTo>
                  <a:lnTo>
                    <a:pt x="1722" y="1686"/>
                  </a:lnTo>
                  <a:lnTo>
                    <a:pt x="1716" y="1686"/>
                  </a:lnTo>
                  <a:lnTo>
                    <a:pt x="1698" y="1686"/>
                  </a:lnTo>
                  <a:lnTo>
                    <a:pt x="1692" y="1692"/>
                  </a:lnTo>
                  <a:lnTo>
                    <a:pt x="1680" y="1692"/>
                  </a:lnTo>
                  <a:lnTo>
                    <a:pt x="1668" y="1692"/>
                  </a:lnTo>
                  <a:lnTo>
                    <a:pt x="1662" y="1692"/>
                  </a:lnTo>
                  <a:lnTo>
                    <a:pt x="1656" y="1692"/>
                  </a:lnTo>
                  <a:lnTo>
                    <a:pt x="1650" y="1698"/>
                  </a:lnTo>
                  <a:lnTo>
                    <a:pt x="1644" y="1698"/>
                  </a:lnTo>
                  <a:lnTo>
                    <a:pt x="1638" y="1698"/>
                  </a:lnTo>
                  <a:lnTo>
                    <a:pt x="1632" y="1698"/>
                  </a:lnTo>
                  <a:lnTo>
                    <a:pt x="1632" y="1692"/>
                  </a:lnTo>
                  <a:lnTo>
                    <a:pt x="1620" y="1680"/>
                  </a:lnTo>
                  <a:lnTo>
                    <a:pt x="1614" y="1680"/>
                  </a:lnTo>
                  <a:lnTo>
                    <a:pt x="1608" y="1680"/>
                  </a:lnTo>
                  <a:lnTo>
                    <a:pt x="1602" y="1680"/>
                  </a:lnTo>
                  <a:lnTo>
                    <a:pt x="1596" y="1674"/>
                  </a:lnTo>
                  <a:lnTo>
                    <a:pt x="1584" y="1674"/>
                  </a:lnTo>
                  <a:lnTo>
                    <a:pt x="1572" y="1674"/>
                  </a:lnTo>
                  <a:lnTo>
                    <a:pt x="1560" y="1674"/>
                  </a:lnTo>
                  <a:lnTo>
                    <a:pt x="1542" y="1680"/>
                  </a:lnTo>
                  <a:lnTo>
                    <a:pt x="1530" y="1680"/>
                  </a:lnTo>
                  <a:lnTo>
                    <a:pt x="1530" y="1674"/>
                  </a:lnTo>
                  <a:lnTo>
                    <a:pt x="1524" y="1674"/>
                  </a:lnTo>
                  <a:lnTo>
                    <a:pt x="1518" y="1674"/>
                  </a:lnTo>
                  <a:lnTo>
                    <a:pt x="1512" y="1674"/>
                  </a:lnTo>
                  <a:lnTo>
                    <a:pt x="1506" y="1674"/>
                  </a:lnTo>
                  <a:lnTo>
                    <a:pt x="1500" y="1680"/>
                  </a:lnTo>
                  <a:lnTo>
                    <a:pt x="1488" y="1680"/>
                  </a:lnTo>
                  <a:lnTo>
                    <a:pt x="1482" y="1674"/>
                  </a:lnTo>
                  <a:lnTo>
                    <a:pt x="1476" y="1674"/>
                  </a:lnTo>
                  <a:lnTo>
                    <a:pt x="1464" y="1674"/>
                  </a:lnTo>
                  <a:lnTo>
                    <a:pt x="1452" y="1680"/>
                  </a:lnTo>
                  <a:lnTo>
                    <a:pt x="1434" y="1680"/>
                  </a:lnTo>
                  <a:lnTo>
                    <a:pt x="1422" y="1680"/>
                  </a:lnTo>
                  <a:lnTo>
                    <a:pt x="1416" y="1680"/>
                  </a:lnTo>
                  <a:lnTo>
                    <a:pt x="1404" y="1674"/>
                  </a:lnTo>
                  <a:lnTo>
                    <a:pt x="1398" y="1674"/>
                  </a:lnTo>
                  <a:lnTo>
                    <a:pt x="1392" y="1662"/>
                  </a:lnTo>
                  <a:lnTo>
                    <a:pt x="1380" y="1644"/>
                  </a:lnTo>
                  <a:lnTo>
                    <a:pt x="1374" y="1632"/>
                  </a:lnTo>
                  <a:lnTo>
                    <a:pt x="1362" y="1626"/>
                  </a:lnTo>
                  <a:lnTo>
                    <a:pt x="1356" y="1620"/>
                  </a:lnTo>
                  <a:lnTo>
                    <a:pt x="1350" y="1626"/>
                  </a:lnTo>
                  <a:lnTo>
                    <a:pt x="1338" y="1626"/>
                  </a:lnTo>
                  <a:lnTo>
                    <a:pt x="1326" y="1626"/>
                  </a:lnTo>
                  <a:lnTo>
                    <a:pt x="1314" y="1620"/>
                  </a:lnTo>
                  <a:lnTo>
                    <a:pt x="1308" y="1614"/>
                  </a:lnTo>
                  <a:lnTo>
                    <a:pt x="1302" y="1608"/>
                  </a:lnTo>
                  <a:lnTo>
                    <a:pt x="1296" y="1602"/>
                  </a:lnTo>
                  <a:lnTo>
                    <a:pt x="1290" y="1602"/>
                  </a:lnTo>
                  <a:lnTo>
                    <a:pt x="1290" y="1596"/>
                  </a:lnTo>
                  <a:lnTo>
                    <a:pt x="1284" y="1590"/>
                  </a:lnTo>
                  <a:lnTo>
                    <a:pt x="1272" y="1584"/>
                  </a:lnTo>
                  <a:lnTo>
                    <a:pt x="1254" y="1572"/>
                  </a:lnTo>
                  <a:lnTo>
                    <a:pt x="1236" y="1554"/>
                  </a:lnTo>
                  <a:lnTo>
                    <a:pt x="1230" y="1554"/>
                  </a:lnTo>
                  <a:lnTo>
                    <a:pt x="1224" y="1554"/>
                  </a:lnTo>
                  <a:lnTo>
                    <a:pt x="1212" y="1554"/>
                  </a:lnTo>
                  <a:lnTo>
                    <a:pt x="1194" y="1542"/>
                  </a:lnTo>
                  <a:lnTo>
                    <a:pt x="1188" y="1536"/>
                  </a:lnTo>
                  <a:lnTo>
                    <a:pt x="1182" y="1530"/>
                  </a:lnTo>
                  <a:lnTo>
                    <a:pt x="1176" y="1530"/>
                  </a:lnTo>
                  <a:lnTo>
                    <a:pt x="1170" y="1530"/>
                  </a:lnTo>
                  <a:lnTo>
                    <a:pt x="1158" y="1524"/>
                  </a:lnTo>
                  <a:lnTo>
                    <a:pt x="1152" y="1524"/>
                  </a:lnTo>
                  <a:lnTo>
                    <a:pt x="1140" y="1518"/>
                  </a:lnTo>
                  <a:lnTo>
                    <a:pt x="1128" y="1518"/>
                  </a:lnTo>
                  <a:lnTo>
                    <a:pt x="1122" y="1518"/>
                  </a:lnTo>
                  <a:lnTo>
                    <a:pt x="1116" y="1518"/>
                  </a:lnTo>
                  <a:lnTo>
                    <a:pt x="1104" y="1518"/>
                  </a:lnTo>
                  <a:lnTo>
                    <a:pt x="1092" y="1518"/>
                  </a:lnTo>
                  <a:lnTo>
                    <a:pt x="1080" y="1518"/>
                  </a:lnTo>
                  <a:lnTo>
                    <a:pt x="1068" y="1518"/>
                  </a:lnTo>
                  <a:lnTo>
                    <a:pt x="1062" y="1518"/>
                  </a:lnTo>
                  <a:lnTo>
                    <a:pt x="1056" y="1518"/>
                  </a:lnTo>
                  <a:lnTo>
                    <a:pt x="1050" y="1512"/>
                  </a:lnTo>
                  <a:lnTo>
                    <a:pt x="1044" y="1512"/>
                  </a:lnTo>
                  <a:lnTo>
                    <a:pt x="1038" y="1512"/>
                  </a:lnTo>
                  <a:lnTo>
                    <a:pt x="1032" y="1506"/>
                  </a:lnTo>
                  <a:lnTo>
                    <a:pt x="1026" y="1500"/>
                  </a:lnTo>
                  <a:lnTo>
                    <a:pt x="1026" y="1494"/>
                  </a:lnTo>
                  <a:lnTo>
                    <a:pt x="1020" y="1476"/>
                  </a:lnTo>
                  <a:lnTo>
                    <a:pt x="1008" y="1464"/>
                  </a:lnTo>
                  <a:lnTo>
                    <a:pt x="1008" y="1458"/>
                  </a:lnTo>
                  <a:lnTo>
                    <a:pt x="1002" y="1446"/>
                  </a:lnTo>
                  <a:lnTo>
                    <a:pt x="996" y="1446"/>
                  </a:lnTo>
                  <a:lnTo>
                    <a:pt x="990" y="1440"/>
                  </a:lnTo>
                  <a:lnTo>
                    <a:pt x="984" y="1434"/>
                  </a:lnTo>
                  <a:lnTo>
                    <a:pt x="978" y="1434"/>
                  </a:lnTo>
                  <a:lnTo>
                    <a:pt x="972" y="1434"/>
                  </a:lnTo>
                  <a:lnTo>
                    <a:pt x="966" y="1428"/>
                  </a:lnTo>
                  <a:lnTo>
                    <a:pt x="954" y="1422"/>
                  </a:lnTo>
                  <a:lnTo>
                    <a:pt x="942" y="1416"/>
                  </a:lnTo>
                  <a:lnTo>
                    <a:pt x="924" y="1398"/>
                  </a:lnTo>
                  <a:lnTo>
                    <a:pt x="912" y="1386"/>
                  </a:lnTo>
                  <a:lnTo>
                    <a:pt x="900" y="1386"/>
                  </a:lnTo>
                  <a:lnTo>
                    <a:pt x="894" y="1386"/>
                  </a:lnTo>
                  <a:lnTo>
                    <a:pt x="882" y="1392"/>
                  </a:lnTo>
                  <a:lnTo>
                    <a:pt x="876" y="1392"/>
                  </a:lnTo>
                  <a:lnTo>
                    <a:pt x="864" y="1398"/>
                  </a:lnTo>
                  <a:lnTo>
                    <a:pt x="864" y="1404"/>
                  </a:lnTo>
                  <a:lnTo>
                    <a:pt x="858" y="1410"/>
                  </a:lnTo>
                  <a:lnTo>
                    <a:pt x="852" y="1410"/>
                  </a:lnTo>
                  <a:lnTo>
                    <a:pt x="846" y="1410"/>
                  </a:lnTo>
                  <a:lnTo>
                    <a:pt x="834" y="1410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10" y="1428"/>
                  </a:lnTo>
                  <a:lnTo>
                    <a:pt x="798" y="1428"/>
                  </a:lnTo>
                  <a:lnTo>
                    <a:pt x="792" y="1428"/>
                  </a:lnTo>
                  <a:lnTo>
                    <a:pt x="780" y="1434"/>
                  </a:lnTo>
                  <a:lnTo>
                    <a:pt x="774" y="1428"/>
                  </a:lnTo>
                  <a:lnTo>
                    <a:pt x="762" y="1428"/>
                  </a:lnTo>
                  <a:lnTo>
                    <a:pt x="756" y="1422"/>
                  </a:lnTo>
                  <a:lnTo>
                    <a:pt x="750" y="1416"/>
                  </a:lnTo>
                  <a:lnTo>
                    <a:pt x="744" y="1410"/>
                  </a:lnTo>
                  <a:lnTo>
                    <a:pt x="744" y="1398"/>
                  </a:lnTo>
                  <a:lnTo>
                    <a:pt x="744" y="1386"/>
                  </a:lnTo>
                  <a:lnTo>
                    <a:pt x="750" y="1380"/>
                  </a:lnTo>
                  <a:lnTo>
                    <a:pt x="750" y="1374"/>
                  </a:lnTo>
                  <a:lnTo>
                    <a:pt x="750" y="1368"/>
                  </a:lnTo>
                  <a:lnTo>
                    <a:pt x="756" y="1362"/>
                  </a:lnTo>
                  <a:lnTo>
                    <a:pt x="750" y="1350"/>
                  </a:lnTo>
                  <a:lnTo>
                    <a:pt x="744" y="1344"/>
                  </a:lnTo>
                  <a:lnTo>
                    <a:pt x="738" y="1338"/>
                  </a:lnTo>
                  <a:lnTo>
                    <a:pt x="726" y="1338"/>
                  </a:lnTo>
                  <a:lnTo>
                    <a:pt x="720" y="1338"/>
                  </a:lnTo>
                  <a:lnTo>
                    <a:pt x="714" y="1338"/>
                  </a:lnTo>
                  <a:lnTo>
                    <a:pt x="708" y="1332"/>
                  </a:lnTo>
                  <a:lnTo>
                    <a:pt x="702" y="1332"/>
                  </a:lnTo>
                  <a:lnTo>
                    <a:pt x="696" y="1326"/>
                  </a:lnTo>
                  <a:lnTo>
                    <a:pt x="684" y="1326"/>
                  </a:lnTo>
                  <a:lnTo>
                    <a:pt x="678" y="1326"/>
                  </a:lnTo>
                  <a:lnTo>
                    <a:pt x="672" y="1314"/>
                  </a:lnTo>
                  <a:lnTo>
                    <a:pt x="666" y="1308"/>
                  </a:lnTo>
                  <a:lnTo>
                    <a:pt x="654" y="1296"/>
                  </a:lnTo>
                  <a:lnTo>
                    <a:pt x="654" y="1290"/>
                  </a:lnTo>
                  <a:lnTo>
                    <a:pt x="630" y="1284"/>
                  </a:lnTo>
                  <a:lnTo>
                    <a:pt x="630" y="1278"/>
                  </a:lnTo>
                  <a:lnTo>
                    <a:pt x="624" y="1278"/>
                  </a:lnTo>
                  <a:lnTo>
                    <a:pt x="618" y="1266"/>
                  </a:lnTo>
                  <a:lnTo>
                    <a:pt x="612" y="1266"/>
                  </a:lnTo>
                  <a:lnTo>
                    <a:pt x="606" y="1266"/>
                  </a:lnTo>
                  <a:lnTo>
                    <a:pt x="606" y="1260"/>
                  </a:lnTo>
                  <a:lnTo>
                    <a:pt x="594" y="1248"/>
                  </a:lnTo>
                  <a:lnTo>
                    <a:pt x="582" y="1248"/>
                  </a:lnTo>
                  <a:lnTo>
                    <a:pt x="576" y="1242"/>
                  </a:lnTo>
                  <a:lnTo>
                    <a:pt x="570" y="1236"/>
                  </a:lnTo>
                  <a:lnTo>
                    <a:pt x="504" y="1164"/>
                  </a:lnTo>
                  <a:lnTo>
                    <a:pt x="450" y="1110"/>
                  </a:lnTo>
                  <a:lnTo>
                    <a:pt x="426" y="1092"/>
                  </a:lnTo>
                  <a:lnTo>
                    <a:pt x="426" y="1074"/>
                  </a:lnTo>
                  <a:lnTo>
                    <a:pt x="420" y="1062"/>
                  </a:lnTo>
                  <a:lnTo>
                    <a:pt x="396" y="1056"/>
                  </a:lnTo>
                  <a:lnTo>
                    <a:pt x="384" y="1032"/>
                  </a:lnTo>
                  <a:lnTo>
                    <a:pt x="372" y="1020"/>
                  </a:lnTo>
                  <a:lnTo>
                    <a:pt x="360" y="984"/>
                  </a:lnTo>
                  <a:lnTo>
                    <a:pt x="348" y="978"/>
                  </a:lnTo>
                  <a:lnTo>
                    <a:pt x="342" y="972"/>
                  </a:lnTo>
                  <a:lnTo>
                    <a:pt x="348" y="960"/>
                  </a:lnTo>
                  <a:lnTo>
                    <a:pt x="342" y="954"/>
                  </a:lnTo>
                  <a:lnTo>
                    <a:pt x="336" y="954"/>
                  </a:lnTo>
                  <a:lnTo>
                    <a:pt x="330" y="954"/>
                  </a:lnTo>
                  <a:lnTo>
                    <a:pt x="324" y="972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0" y="966"/>
                  </a:lnTo>
                  <a:lnTo>
                    <a:pt x="294" y="966"/>
                  </a:lnTo>
                  <a:lnTo>
                    <a:pt x="288" y="972"/>
                  </a:lnTo>
                  <a:lnTo>
                    <a:pt x="288" y="966"/>
                  </a:lnTo>
                  <a:lnTo>
                    <a:pt x="282" y="948"/>
                  </a:lnTo>
                  <a:lnTo>
                    <a:pt x="282" y="942"/>
                  </a:lnTo>
                  <a:lnTo>
                    <a:pt x="276" y="942"/>
                  </a:lnTo>
                  <a:lnTo>
                    <a:pt x="276" y="936"/>
                  </a:lnTo>
                  <a:lnTo>
                    <a:pt x="270" y="942"/>
                  </a:lnTo>
                  <a:lnTo>
                    <a:pt x="264" y="948"/>
                  </a:lnTo>
                  <a:lnTo>
                    <a:pt x="264" y="942"/>
                  </a:lnTo>
                  <a:lnTo>
                    <a:pt x="258" y="942"/>
                  </a:lnTo>
                  <a:lnTo>
                    <a:pt x="252" y="948"/>
                  </a:lnTo>
                  <a:lnTo>
                    <a:pt x="252" y="942"/>
                  </a:lnTo>
                  <a:lnTo>
                    <a:pt x="246" y="936"/>
                  </a:lnTo>
                  <a:lnTo>
                    <a:pt x="240" y="942"/>
                  </a:lnTo>
                  <a:lnTo>
                    <a:pt x="234" y="936"/>
                  </a:lnTo>
                  <a:lnTo>
                    <a:pt x="228" y="936"/>
                  </a:lnTo>
                  <a:lnTo>
                    <a:pt x="222" y="936"/>
                  </a:lnTo>
                  <a:lnTo>
                    <a:pt x="222" y="930"/>
                  </a:lnTo>
                  <a:lnTo>
                    <a:pt x="222" y="924"/>
                  </a:lnTo>
                  <a:lnTo>
                    <a:pt x="228" y="924"/>
                  </a:lnTo>
                  <a:lnTo>
                    <a:pt x="234" y="924"/>
                  </a:lnTo>
                  <a:lnTo>
                    <a:pt x="240" y="924"/>
                  </a:lnTo>
                  <a:lnTo>
                    <a:pt x="240" y="918"/>
                  </a:lnTo>
                  <a:lnTo>
                    <a:pt x="246" y="918"/>
                  </a:lnTo>
                  <a:lnTo>
                    <a:pt x="246" y="912"/>
                  </a:lnTo>
                  <a:lnTo>
                    <a:pt x="240" y="906"/>
                  </a:lnTo>
                  <a:lnTo>
                    <a:pt x="234" y="906"/>
                  </a:lnTo>
                  <a:lnTo>
                    <a:pt x="228" y="906"/>
                  </a:lnTo>
                  <a:lnTo>
                    <a:pt x="228" y="912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8" y="894"/>
                  </a:lnTo>
                  <a:lnTo>
                    <a:pt x="234" y="894"/>
                  </a:lnTo>
                  <a:lnTo>
                    <a:pt x="228" y="888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198" y="888"/>
                  </a:lnTo>
                  <a:lnTo>
                    <a:pt x="192" y="882"/>
                  </a:lnTo>
                  <a:lnTo>
                    <a:pt x="186" y="882"/>
                  </a:lnTo>
                  <a:lnTo>
                    <a:pt x="186" y="876"/>
                  </a:lnTo>
                  <a:lnTo>
                    <a:pt x="192" y="876"/>
                  </a:lnTo>
                  <a:lnTo>
                    <a:pt x="192" y="870"/>
                  </a:lnTo>
                  <a:lnTo>
                    <a:pt x="198" y="870"/>
                  </a:lnTo>
                  <a:lnTo>
                    <a:pt x="198" y="864"/>
                  </a:lnTo>
                  <a:lnTo>
                    <a:pt x="198" y="858"/>
                  </a:lnTo>
                  <a:lnTo>
                    <a:pt x="180" y="852"/>
                  </a:lnTo>
                  <a:lnTo>
                    <a:pt x="174" y="840"/>
                  </a:lnTo>
                  <a:lnTo>
                    <a:pt x="162" y="846"/>
                  </a:lnTo>
                  <a:lnTo>
                    <a:pt x="156" y="846"/>
                  </a:lnTo>
                  <a:lnTo>
                    <a:pt x="150" y="846"/>
                  </a:lnTo>
                  <a:lnTo>
                    <a:pt x="150" y="840"/>
                  </a:lnTo>
                  <a:lnTo>
                    <a:pt x="138" y="834"/>
                  </a:lnTo>
                  <a:lnTo>
                    <a:pt x="132" y="834"/>
                  </a:lnTo>
                  <a:lnTo>
                    <a:pt x="132" y="840"/>
                  </a:lnTo>
                  <a:lnTo>
                    <a:pt x="126" y="840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58"/>
                  </a:lnTo>
                  <a:lnTo>
                    <a:pt x="120" y="846"/>
                  </a:lnTo>
                  <a:lnTo>
                    <a:pt x="114" y="846"/>
                  </a:lnTo>
                  <a:lnTo>
                    <a:pt x="108" y="840"/>
                  </a:lnTo>
                  <a:lnTo>
                    <a:pt x="102" y="834"/>
                  </a:lnTo>
                  <a:lnTo>
                    <a:pt x="102" y="822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78" y="804"/>
                  </a:lnTo>
                  <a:lnTo>
                    <a:pt x="78" y="798"/>
                  </a:lnTo>
                  <a:lnTo>
                    <a:pt x="78" y="792"/>
                  </a:lnTo>
                  <a:lnTo>
                    <a:pt x="78" y="786"/>
                  </a:lnTo>
                  <a:lnTo>
                    <a:pt x="78" y="780"/>
                  </a:lnTo>
                  <a:lnTo>
                    <a:pt x="72" y="774"/>
                  </a:lnTo>
                  <a:lnTo>
                    <a:pt x="66" y="774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60" y="762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6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2" y="666"/>
                  </a:lnTo>
                  <a:lnTo>
                    <a:pt x="18" y="648"/>
                  </a:lnTo>
                  <a:lnTo>
                    <a:pt x="24" y="636"/>
                  </a:lnTo>
                  <a:lnTo>
                    <a:pt x="30" y="630"/>
                  </a:lnTo>
                  <a:lnTo>
                    <a:pt x="30" y="624"/>
                  </a:lnTo>
                  <a:lnTo>
                    <a:pt x="30" y="612"/>
                  </a:lnTo>
                  <a:lnTo>
                    <a:pt x="30" y="606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66" y="582"/>
                  </a:lnTo>
                  <a:lnTo>
                    <a:pt x="72" y="588"/>
                  </a:lnTo>
                  <a:lnTo>
                    <a:pt x="84" y="594"/>
                  </a:lnTo>
                  <a:lnTo>
                    <a:pt x="90" y="600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14" y="612"/>
                  </a:lnTo>
                  <a:lnTo>
                    <a:pt x="120" y="612"/>
                  </a:lnTo>
                  <a:lnTo>
                    <a:pt x="126" y="618"/>
                  </a:lnTo>
                  <a:lnTo>
                    <a:pt x="138" y="594"/>
                  </a:lnTo>
                  <a:lnTo>
                    <a:pt x="138" y="582"/>
                  </a:lnTo>
                  <a:lnTo>
                    <a:pt x="138" y="570"/>
                  </a:lnTo>
                  <a:lnTo>
                    <a:pt x="138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50" y="528"/>
                  </a:lnTo>
                  <a:lnTo>
                    <a:pt x="156" y="510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62"/>
                  </a:lnTo>
                  <a:lnTo>
                    <a:pt x="168" y="450"/>
                  </a:lnTo>
                  <a:lnTo>
                    <a:pt x="168" y="444"/>
                  </a:lnTo>
                  <a:lnTo>
                    <a:pt x="162" y="432"/>
                  </a:lnTo>
                  <a:lnTo>
                    <a:pt x="162" y="426"/>
                  </a:lnTo>
                  <a:lnTo>
                    <a:pt x="156" y="420"/>
                  </a:lnTo>
                  <a:lnTo>
                    <a:pt x="144" y="414"/>
                  </a:lnTo>
                  <a:lnTo>
                    <a:pt x="132" y="402"/>
                  </a:lnTo>
                  <a:lnTo>
                    <a:pt x="126" y="390"/>
                  </a:lnTo>
                  <a:lnTo>
                    <a:pt x="120" y="384"/>
                  </a:lnTo>
                  <a:lnTo>
                    <a:pt x="120" y="372"/>
                  </a:lnTo>
                  <a:lnTo>
                    <a:pt x="114" y="360"/>
                  </a:lnTo>
                  <a:lnTo>
                    <a:pt x="108" y="360"/>
                  </a:lnTo>
                  <a:lnTo>
                    <a:pt x="108" y="354"/>
                  </a:lnTo>
                  <a:lnTo>
                    <a:pt x="102" y="348"/>
                  </a:lnTo>
                  <a:lnTo>
                    <a:pt x="102" y="342"/>
                  </a:lnTo>
                  <a:lnTo>
                    <a:pt x="108" y="330"/>
                  </a:lnTo>
                  <a:lnTo>
                    <a:pt x="114" y="312"/>
                  </a:lnTo>
                  <a:lnTo>
                    <a:pt x="114" y="300"/>
                  </a:lnTo>
                  <a:lnTo>
                    <a:pt x="120" y="288"/>
                  </a:lnTo>
                  <a:lnTo>
                    <a:pt x="120" y="282"/>
                  </a:lnTo>
                  <a:lnTo>
                    <a:pt x="114" y="270"/>
                  </a:lnTo>
                  <a:lnTo>
                    <a:pt x="114" y="258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84" y="222"/>
                  </a:lnTo>
                  <a:lnTo>
                    <a:pt x="84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84" y="186"/>
                  </a:lnTo>
                  <a:lnTo>
                    <a:pt x="84" y="180"/>
                  </a:lnTo>
                  <a:lnTo>
                    <a:pt x="108" y="174"/>
                  </a:lnTo>
                  <a:lnTo>
                    <a:pt x="132" y="186"/>
                  </a:lnTo>
                  <a:lnTo>
                    <a:pt x="138" y="192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56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74" y="204"/>
                  </a:lnTo>
                  <a:lnTo>
                    <a:pt x="180" y="216"/>
                  </a:lnTo>
                  <a:lnTo>
                    <a:pt x="186" y="228"/>
                  </a:lnTo>
                  <a:lnTo>
                    <a:pt x="192" y="234"/>
                  </a:lnTo>
                  <a:lnTo>
                    <a:pt x="198" y="234"/>
                  </a:lnTo>
                  <a:lnTo>
                    <a:pt x="204" y="240"/>
                  </a:lnTo>
                  <a:lnTo>
                    <a:pt x="210" y="240"/>
                  </a:lnTo>
                  <a:lnTo>
                    <a:pt x="216" y="240"/>
                  </a:lnTo>
                  <a:lnTo>
                    <a:pt x="222" y="240"/>
                  </a:lnTo>
                  <a:lnTo>
                    <a:pt x="228" y="246"/>
                  </a:lnTo>
                  <a:lnTo>
                    <a:pt x="234" y="246"/>
                  </a:lnTo>
                  <a:lnTo>
                    <a:pt x="240" y="246"/>
                  </a:lnTo>
                  <a:lnTo>
                    <a:pt x="252" y="252"/>
                  </a:lnTo>
                  <a:lnTo>
                    <a:pt x="330" y="246"/>
                  </a:lnTo>
                  <a:lnTo>
                    <a:pt x="360" y="228"/>
                  </a:lnTo>
                  <a:lnTo>
                    <a:pt x="396" y="228"/>
                  </a:lnTo>
                  <a:lnTo>
                    <a:pt x="402" y="240"/>
                  </a:lnTo>
                  <a:lnTo>
                    <a:pt x="432" y="240"/>
                  </a:lnTo>
                  <a:lnTo>
                    <a:pt x="450" y="258"/>
                  </a:lnTo>
                  <a:lnTo>
                    <a:pt x="468" y="258"/>
                  </a:lnTo>
                  <a:lnTo>
                    <a:pt x="474" y="294"/>
                  </a:lnTo>
                  <a:lnTo>
                    <a:pt x="558" y="318"/>
                  </a:lnTo>
                  <a:lnTo>
                    <a:pt x="588" y="318"/>
                  </a:lnTo>
                  <a:lnTo>
                    <a:pt x="588" y="312"/>
                  </a:lnTo>
                  <a:lnTo>
                    <a:pt x="594" y="306"/>
                  </a:lnTo>
                  <a:lnTo>
                    <a:pt x="600" y="306"/>
                  </a:lnTo>
                  <a:lnTo>
                    <a:pt x="612" y="300"/>
                  </a:lnTo>
                  <a:lnTo>
                    <a:pt x="618" y="300"/>
                  </a:lnTo>
                  <a:lnTo>
                    <a:pt x="630" y="300"/>
                  </a:lnTo>
                  <a:lnTo>
                    <a:pt x="642" y="306"/>
                  </a:lnTo>
                  <a:lnTo>
                    <a:pt x="660" y="306"/>
                  </a:lnTo>
                  <a:lnTo>
                    <a:pt x="666" y="306"/>
                  </a:lnTo>
                  <a:lnTo>
                    <a:pt x="672" y="306"/>
                  </a:lnTo>
                  <a:lnTo>
                    <a:pt x="684" y="300"/>
                  </a:lnTo>
                  <a:lnTo>
                    <a:pt x="696" y="294"/>
                  </a:lnTo>
                  <a:lnTo>
                    <a:pt x="702" y="288"/>
                  </a:lnTo>
                  <a:lnTo>
                    <a:pt x="714" y="282"/>
                  </a:lnTo>
                  <a:lnTo>
                    <a:pt x="714" y="288"/>
                  </a:lnTo>
                  <a:lnTo>
                    <a:pt x="726" y="300"/>
                  </a:lnTo>
                  <a:lnTo>
                    <a:pt x="732" y="306"/>
                  </a:lnTo>
                  <a:lnTo>
                    <a:pt x="732" y="318"/>
                  </a:lnTo>
                  <a:lnTo>
                    <a:pt x="732" y="330"/>
                  </a:lnTo>
                  <a:lnTo>
                    <a:pt x="726" y="342"/>
                  </a:lnTo>
                  <a:lnTo>
                    <a:pt x="720" y="354"/>
                  </a:lnTo>
                  <a:lnTo>
                    <a:pt x="720" y="360"/>
                  </a:lnTo>
                  <a:lnTo>
                    <a:pt x="714" y="372"/>
                  </a:lnTo>
                  <a:lnTo>
                    <a:pt x="714" y="378"/>
                  </a:lnTo>
                  <a:lnTo>
                    <a:pt x="714" y="408"/>
                  </a:lnTo>
                  <a:lnTo>
                    <a:pt x="708" y="420"/>
                  </a:lnTo>
                  <a:lnTo>
                    <a:pt x="714" y="432"/>
                  </a:lnTo>
                  <a:lnTo>
                    <a:pt x="708" y="450"/>
                  </a:lnTo>
                  <a:lnTo>
                    <a:pt x="708" y="468"/>
                  </a:lnTo>
                  <a:lnTo>
                    <a:pt x="696" y="480"/>
                  </a:lnTo>
                  <a:lnTo>
                    <a:pt x="684" y="486"/>
                  </a:lnTo>
                  <a:lnTo>
                    <a:pt x="672" y="492"/>
                  </a:lnTo>
                  <a:lnTo>
                    <a:pt x="660" y="498"/>
                  </a:lnTo>
                  <a:lnTo>
                    <a:pt x="654" y="510"/>
                  </a:lnTo>
                  <a:lnTo>
                    <a:pt x="648" y="516"/>
                  </a:lnTo>
                  <a:lnTo>
                    <a:pt x="642" y="522"/>
                  </a:lnTo>
                  <a:lnTo>
                    <a:pt x="630" y="522"/>
                  </a:lnTo>
                  <a:lnTo>
                    <a:pt x="624" y="528"/>
                  </a:lnTo>
                  <a:lnTo>
                    <a:pt x="618" y="540"/>
                  </a:lnTo>
                  <a:lnTo>
                    <a:pt x="618" y="558"/>
                  </a:lnTo>
                  <a:lnTo>
                    <a:pt x="612" y="576"/>
                  </a:lnTo>
                  <a:lnTo>
                    <a:pt x="612" y="684"/>
                  </a:lnTo>
                  <a:lnTo>
                    <a:pt x="618" y="696"/>
                  </a:lnTo>
                  <a:lnTo>
                    <a:pt x="636" y="696"/>
                  </a:lnTo>
                  <a:lnTo>
                    <a:pt x="636" y="720"/>
                  </a:lnTo>
                  <a:lnTo>
                    <a:pt x="636" y="732"/>
                  </a:lnTo>
                  <a:lnTo>
                    <a:pt x="618" y="750"/>
                  </a:lnTo>
                  <a:lnTo>
                    <a:pt x="606" y="762"/>
                  </a:lnTo>
                  <a:lnTo>
                    <a:pt x="600" y="774"/>
                  </a:lnTo>
                  <a:lnTo>
                    <a:pt x="594" y="798"/>
                  </a:lnTo>
                  <a:lnTo>
                    <a:pt x="606" y="798"/>
                  </a:lnTo>
                  <a:lnTo>
                    <a:pt x="660" y="792"/>
                  </a:lnTo>
                  <a:lnTo>
                    <a:pt x="696" y="798"/>
                  </a:lnTo>
                  <a:lnTo>
                    <a:pt x="720" y="798"/>
                  </a:lnTo>
                  <a:lnTo>
                    <a:pt x="720" y="786"/>
                  </a:lnTo>
                  <a:lnTo>
                    <a:pt x="720" y="774"/>
                  </a:lnTo>
                  <a:lnTo>
                    <a:pt x="702" y="762"/>
                  </a:lnTo>
                  <a:lnTo>
                    <a:pt x="702" y="750"/>
                  </a:lnTo>
                  <a:lnTo>
                    <a:pt x="702" y="726"/>
                  </a:lnTo>
                  <a:lnTo>
                    <a:pt x="714" y="714"/>
                  </a:lnTo>
                  <a:lnTo>
                    <a:pt x="720" y="702"/>
                  </a:lnTo>
                  <a:lnTo>
                    <a:pt x="720" y="696"/>
                  </a:lnTo>
                  <a:lnTo>
                    <a:pt x="744" y="690"/>
                  </a:lnTo>
                  <a:lnTo>
                    <a:pt x="744" y="696"/>
                  </a:lnTo>
                  <a:lnTo>
                    <a:pt x="756" y="696"/>
                  </a:lnTo>
                  <a:lnTo>
                    <a:pt x="762" y="690"/>
                  </a:lnTo>
                  <a:lnTo>
                    <a:pt x="768" y="690"/>
                  </a:lnTo>
                  <a:lnTo>
                    <a:pt x="774" y="696"/>
                  </a:lnTo>
                  <a:lnTo>
                    <a:pt x="780" y="696"/>
                  </a:lnTo>
                  <a:lnTo>
                    <a:pt x="786" y="696"/>
                  </a:lnTo>
                  <a:lnTo>
                    <a:pt x="804" y="684"/>
                  </a:lnTo>
                  <a:lnTo>
                    <a:pt x="810" y="684"/>
                  </a:lnTo>
                  <a:lnTo>
                    <a:pt x="810" y="654"/>
                  </a:lnTo>
                  <a:lnTo>
                    <a:pt x="816" y="588"/>
                  </a:lnTo>
                  <a:lnTo>
                    <a:pt x="804" y="582"/>
                  </a:lnTo>
                  <a:lnTo>
                    <a:pt x="798" y="552"/>
                  </a:lnTo>
                  <a:lnTo>
                    <a:pt x="798" y="480"/>
                  </a:lnTo>
                  <a:lnTo>
                    <a:pt x="780" y="468"/>
                  </a:lnTo>
                  <a:lnTo>
                    <a:pt x="780" y="462"/>
                  </a:lnTo>
                  <a:lnTo>
                    <a:pt x="774" y="450"/>
                  </a:lnTo>
                  <a:lnTo>
                    <a:pt x="762" y="444"/>
                  </a:lnTo>
                  <a:lnTo>
                    <a:pt x="762" y="438"/>
                  </a:lnTo>
                  <a:lnTo>
                    <a:pt x="768" y="432"/>
                  </a:lnTo>
                  <a:lnTo>
                    <a:pt x="774" y="426"/>
                  </a:lnTo>
                  <a:lnTo>
                    <a:pt x="780" y="426"/>
                  </a:lnTo>
                  <a:lnTo>
                    <a:pt x="780" y="414"/>
                  </a:lnTo>
                  <a:lnTo>
                    <a:pt x="834" y="414"/>
                  </a:lnTo>
                  <a:lnTo>
                    <a:pt x="834" y="426"/>
                  </a:lnTo>
                  <a:lnTo>
                    <a:pt x="840" y="432"/>
                  </a:lnTo>
                  <a:lnTo>
                    <a:pt x="846" y="432"/>
                  </a:lnTo>
                  <a:lnTo>
                    <a:pt x="852" y="432"/>
                  </a:lnTo>
                  <a:lnTo>
                    <a:pt x="858" y="432"/>
                  </a:lnTo>
                  <a:lnTo>
                    <a:pt x="870" y="432"/>
                  </a:lnTo>
                  <a:lnTo>
                    <a:pt x="870" y="426"/>
                  </a:lnTo>
                  <a:lnTo>
                    <a:pt x="870" y="420"/>
                  </a:lnTo>
                  <a:lnTo>
                    <a:pt x="876" y="420"/>
                  </a:lnTo>
                  <a:lnTo>
                    <a:pt x="882" y="420"/>
                  </a:lnTo>
                  <a:lnTo>
                    <a:pt x="894" y="414"/>
                  </a:lnTo>
                  <a:lnTo>
                    <a:pt x="900" y="414"/>
                  </a:lnTo>
                  <a:lnTo>
                    <a:pt x="906" y="408"/>
                  </a:lnTo>
                  <a:lnTo>
                    <a:pt x="918" y="408"/>
                  </a:lnTo>
                  <a:lnTo>
                    <a:pt x="924" y="402"/>
                  </a:lnTo>
                  <a:lnTo>
                    <a:pt x="930" y="384"/>
                  </a:lnTo>
                  <a:lnTo>
                    <a:pt x="948" y="396"/>
                  </a:lnTo>
                  <a:lnTo>
                    <a:pt x="954" y="384"/>
                  </a:lnTo>
                  <a:lnTo>
                    <a:pt x="960" y="384"/>
                  </a:lnTo>
                  <a:lnTo>
                    <a:pt x="972" y="384"/>
                  </a:lnTo>
                  <a:lnTo>
                    <a:pt x="978" y="378"/>
                  </a:lnTo>
                  <a:lnTo>
                    <a:pt x="972" y="366"/>
                  </a:lnTo>
                  <a:lnTo>
                    <a:pt x="966" y="342"/>
                  </a:lnTo>
                  <a:lnTo>
                    <a:pt x="960" y="330"/>
                  </a:lnTo>
                  <a:lnTo>
                    <a:pt x="942" y="324"/>
                  </a:lnTo>
                  <a:lnTo>
                    <a:pt x="936" y="318"/>
                  </a:lnTo>
                  <a:lnTo>
                    <a:pt x="936" y="294"/>
                  </a:lnTo>
                  <a:lnTo>
                    <a:pt x="942" y="294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282"/>
                  </a:lnTo>
                  <a:lnTo>
                    <a:pt x="954" y="276"/>
                  </a:lnTo>
                  <a:lnTo>
                    <a:pt x="960" y="276"/>
                  </a:lnTo>
                  <a:lnTo>
                    <a:pt x="966" y="276"/>
                  </a:lnTo>
                  <a:lnTo>
                    <a:pt x="960" y="258"/>
                  </a:lnTo>
                  <a:lnTo>
                    <a:pt x="954" y="240"/>
                  </a:lnTo>
                  <a:lnTo>
                    <a:pt x="948" y="204"/>
                  </a:lnTo>
                  <a:lnTo>
                    <a:pt x="954" y="204"/>
                  </a:lnTo>
                  <a:lnTo>
                    <a:pt x="960" y="198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00" y="186"/>
                  </a:lnTo>
                  <a:lnTo>
                    <a:pt x="876" y="180"/>
                  </a:lnTo>
                  <a:lnTo>
                    <a:pt x="858" y="180"/>
                  </a:lnTo>
                  <a:lnTo>
                    <a:pt x="852" y="168"/>
                  </a:lnTo>
                  <a:lnTo>
                    <a:pt x="834" y="156"/>
                  </a:lnTo>
                  <a:lnTo>
                    <a:pt x="822" y="156"/>
                  </a:lnTo>
                  <a:lnTo>
                    <a:pt x="804" y="156"/>
                  </a:lnTo>
                  <a:lnTo>
                    <a:pt x="804" y="150"/>
                  </a:lnTo>
                  <a:lnTo>
                    <a:pt x="792" y="144"/>
                  </a:lnTo>
                  <a:lnTo>
                    <a:pt x="762" y="138"/>
                  </a:lnTo>
                  <a:lnTo>
                    <a:pt x="768" y="120"/>
                  </a:lnTo>
                  <a:lnTo>
                    <a:pt x="756" y="120"/>
                  </a:lnTo>
                  <a:lnTo>
                    <a:pt x="744" y="108"/>
                  </a:lnTo>
                  <a:lnTo>
                    <a:pt x="744" y="96"/>
                  </a:lnTo>
                  <a:lnTo>
                    <a:pt x="762" y="84"/>
                  </a:lnTo>
                  <a:lnTo>
                    <a:pt x="768" y="84"/>
                  </a:lnTo>
                  <a:lnTo>
                    <a:pt x="768" y="72"/>
                  </a:lnTo>
                  <a:lnTo>
                    <a:pt x="780" y="66"/>
                  </a:lnTo>
                  <a:lnTo>
                    <a:pt x="798" y="54"/>
                  </a:lnTo>
                  <a:lnTo>
                    <a:pt x="792" y="54"/>
                  </a:lnTo>
                  <a:lnTo>
                    <a:pt x="798" y="36"/>
                  </a:lnTo>
                  <a:lnTo>
                    <a:pt x="804" y="36"/>
                  </a:lnTo>
                  <a:lnTo>
                    <a:pt x="816" y="30"/>
                  </a:lnTo>
                  <a:lnTo>
                    <a:pt x="828" y="30"/>
                  </a:lnTo>
                  <a:lnTo>
                    <a:pt x="846" y="12"/>
                  </a:lnTo>
                  <a:lnTo>
                    <a:pt x="876" y="0"/>
                  </a:lnTo>
                  <a:lnTo>
                    <a:pt x="882" y="6"/>
                  </a:lnTo>
                  <a:lnTo>
                    <a:pt x="900" y="6"/>
                  </a:lnTo>
                  <a:lnTo>
                    <a:pt x="912" y="36"/>
                  </a:lnTo>
                  <a:lnTo>
                    <a:pt x="918" y="42"/>
                  </a:lnTo>
                  <a:lnTo>
                    <a:pt x="924" y="54"/>
                  </a:lnTo>
                  <a:lnTo>
                    <a:pt x="930" y="54"/>
                  </a:lnTo>
                  <a:lnTo>
                    <a:pt x="930" y="78"/>
                  </a:lnTo>
                  <a:lnTo>
                    <a:pt x="954" y="72"/>
                  </a:lnTo>
                  <a:lnTo>
                    <a:pt x="954" y="60"/>
                  </a:lnTo>
                  <a:lnTo>
                    <a:pt x="966" y="66"/>
                  </a:lnTo>
                  <a:lnTo>
                    <a:pt x="966" y="78"/>
                  </a:lnTo>
                  <a:lnTo>
                    <a:pt x="960" y="84"/>
                  </a:lnTo>
                  <a:lnTo>
                    <a:pt x="954" y="102"/>
                  </a:lnTo>
                  <a:lnTo>
                    <a:pt x="972" y="102"/>
                  </a:lnTo>
                  <a:lnTo>
                    <a:pt x="978" y="84"/>
                  </a:lnTo>
                  <a:lnTo>
                    <a:pt x="984" y="72"/>
                  </a:lnTo>
                  <a:lnTo>
                    <a:pt x="990" y="72"/>
                  </a:lnTo>
                  <a:lnTo>
                    <a:pt x="996" y="18"/>
                  </a:lnTo>
                  <a:lnTo>
                    <a:pt x="990" y="12"/>
                  </a:lnTo>
                  <a:lnTo>
                    <a:pt x="1014" y="12"/>
                  </a:lnTo>
                  <a:lnTo>
                    <a:pt x="1026" y="12"/>
                  </a:lnTo>
                  <a:lnTo>
                    <a:pt x="1026" y="24"/>
                  </a:lnTo>
                  <a:lnTo>
                    <a:pt x="1050" y="24"/>
                  </a:lnTo>
                  <a:lnTo>
                    <a:pt x="1050" y="36"/>
                  </a:lnTo>
                  <a:lnTo>
                    <a:pt x="1062" y="66"/>
                  </a:lnTo>
                  <a:lnTo>
                    <a:pt x="1074" y="66"/>
                  </a:lnTo>
                  <a:lnTo>
                    <a:pt x="1080" y="60"/>
                  </a:lnTo>
                  <a:lnTo>
                    <a:pt x="1074" y="24"/>
                  </a:lnTo>
                  <a:lnTo>
                    <a:pt x="1086" y="18"/>
                  </a:lnTo>
                  <a:lnTo>
                    <a:pt x="1086" y="12"/>
                  </a:lnTo>
                  <a:lnTo>
                    <a:pt x="1104" y="6"/>
                  </a:lnTo>
                  <a:lnTo>
                    <a:pt x="1122" y="0"/>
                  </a:lnTo>
                  <a:lnTo>
                    <a:pt x="1134" y="6"/>
                  </a:lnTo>
                  <a:lnTo>
                    <a:pt x="1134" y="42"/>
                  </a:lnTo>
                  <a:lnTo>
                    <a:pt x="1140" y="72"/>
                  </a:lnTo>
                  <a:lnTo>
                    <a:pt x="1158" y="114"/>
                  </a:lnTo>
                  <a:lnTo>
                    <a:pt x="1170" y="114"/>
                  </a:lnTo>
                  <a:lnTo>
                    <a:pt x="1170" y="126"/>
                  </a:lnTo>
                  <a:lnTo>
                    <a:pt x="1182" y="126"/>
                  </a:lnTo>
                  <a:lnTo>
                    <a:pt x="1182" y="138"/>
                  </a:lnTo>
                  <a:lnTo>
                    <a:pt x="1194" y="144"/>
                  </a:lnTo>
                  <a:lnTo>
                    <a:pt x="1194" y="156"/>
                  </a:lnTo>
                  <a:lnTo>
                    <a:pt x="1188" y="156"/>
                  </a:lnTo>
                  <a:lnTo>
                    <a:pt x="1194" y="162"/>
                  </a:lnTo>
                  <a:lnTo>
                    <a:pt x="1194" y="168"/>
                  </a:lnTo>
                  <a:lnTo>
                    <a:pt x="1188" y="168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82" y="180"/>
                  </a:lnTo>
                  <a:lnTo>
                    <a:pt x="1188" y="186"/>
                  </a:lnTo>
                  <a:lnTo>
                    <a:pt x="1188" y="192"/>
                  </a:lnTo>
                  <a:lnTo>
                    <a:pt x="1182" y="198"/>
                  </a:lnTo>
                  <a:lnTo>
                    <a:pt x="1182" y="204"/>
                  </a:lnTo>
                  <a:lnTo>
                    <a:pt x="1182" y="210"/>
                  </a:lnTo>
                  <a:lnTo>
                    <a:pt x="1188" y="210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2"/>
                  </a:lnTo>
                  <a:lnTo>
                    <a:pt x="1194" y="264"/>
                  </a:lnTo>
                  <a:lnTo>
                    <a:pt x="1200" y="264"/>
                  </a:lnTo>
                  <a:lnTo>
                    <a:pt x="1212" y="264"/>
                  </a:lnTo>
                  <a:lnTo>
                    <a:pt x="1212" y="258"/>
                  </a:lnTo>
                  <a:lnTo>
                    <a:pt x="1224" y="258"/>
                  </a:lnTo>
                  <a:lnTo>
                    <a:pt x="1248" y="252"/>
                  </a:lnTo>
                  <a:lnTo>
                    <a:pt x="1248" y="264"/>
                  </a:lnTo>
                  <a:lnTo>
                    <a:pt x="1254" y="264"/>
                  </a:lnTo>
                  <a:lnTo>
                    <a:pt x="1254" y="270"/>
                  </a:lnTo>
                  <a:lnTo>
                    <a:pt x="1260" y="270"/>
                  </a:lnTo>
                  <a:lnTo>
                    <a:pt x="1266" y="270"/>
                  </a:lnTo>
                  <a:lnTo>
                    <a:pt x="1272" y="270"/>
                  </a:lnTo>
                  <a:lnTo>
                    <a:pt x="1272" y="264"/>
                  </a:lnTo>
                  <a:lnTo>
                    <a:pt x="1272" y="258"/>
                  </a:lnTo>
                  <a:lnTo>
                    <a:pt x="1278" y="258"/>
                  </a:lnTo>
                  <a:lnTo>
                    <a:pt x="1278" y="252"/>
                  </a:lnTo>
                  <a:lnTo>
                    <a:pt x="1290" y="252"/>
                  </a:lnTo>
                  <a:lnTo>
                    <a:pt x="1296" y="246"/>
                  </a:lnTo>
                  <a:lnTo>
                    <a:pt x="1308" y="246"/>
                  </a:lnTo>
                  <a:lnTo>
                    <a:pt x="1308" y="240"/>
                  </a:lnTo>
                  <a:lnTo>
                    <a:pt x="1320" y="240"/>
                  </a:lnTo>
                  <a:lnTo>
                    <a:pt x="1326" y="246"/>
                  </a:lnTo>
                  <a:lnTo>
                    <a:pt x="1338" y="246"/>
                  </a:lnTo>
                  <a:lnTo>
                    <a:pt x="1338" y="240"/>
                  </a:lnTo>
                  <a:lnTo>
                    <a:pt x="1350" y="240"/>
                  </a:lnTo>
                  <a:lnTo>
                    <a:pt x="1386" y="234"/>
                  </a:lnTo>
                  <a:lnTo>
                    <a:pt x="1398" y="228"/>
                  </a:lnTo>
                  <a:lnTo>
                    <a:pt x="1404" y="216"/>
                  </a:lnTo>
                  <a:lnTo>
                    <a:pt x="1416" y="204"/>
                  </a:lnTo>
                  <a:lnTo>
                    <a:pt x="1434" y="192"/>
                  </a:lnTo>
                  <a:lnTo>
                    <a:pt x="1446" y="198"/>
                  </a:lnTo>
                  <a:lnTo>
                    <a:pt x="1446" y="204"/>
                  </a:lnTo>
                  <a:lnTo>
                    <a:pt x="1452" y="210"/>
                  </a:lnTo>
                  <a:lnTo>
                    <a:pt x="1464" y="222"/>
                  </a:lnTo>
                  <a:lnTo>
                    <a:pt x="1464" y="228"/>
                  </a:lnTo>
                  <a:lnTo>
                    <a:pt x="1464" y="234"/>
                  </a:lnTo>
                  <a:lnTo>
                    <a:pt x="1470" y="240"/>
                  </a:lnTo>
                  <a:lnTo>
                    <a:pt x="1476" y="228"/>
                  </a:lnTo>
                  <a:lnTo>
                    <a:pt x="1476" y="222"/>
                  </a:lnTo>
                  <a:lnTo>
                    <a:pt x="1482" y="210"/>
                  </a:lnTo>
                  <a:lnTo>
                    <a:pt x="1488" y="192"/>
                  </a:lnTo>
                  <a:lnTo>
                    <a:pt x="1488" y="186"/>
                  </a:lnTo>
                  <a:lnTo>
                    <a:pt x="1488" y="180"/>
                  </a:lnTo>
                  <a:lnTo>
                    <a:pt x="1500" y="180"/>
                  </a:lnTo>
                  <a:lnTo>
                    <a:pt x="1500" y="174"/>
                  </a:lnTo>
                  <a:lnTo>
                    <a:pt x="1518" y="162"/>
                  </a:lnTo>
                  <a:lnTo>
                    <a:pt x="1536" y="150"/>
                  </a:lnTo>
                  <a:lnTo>
                    <a:pt x="1554" y="168"/>
                  </a:lnTo>
                  <a:lnTo>
                    <a:pt x="1572" y="180"/>
                  </a:lnTo>
                  <a:lnTo>
                    <a:pt x="1596" y="216"/>
                  </a:lnTo>
                  <a:lnTo>
                    <a:pt x="1602" y="216"/>
                  </a:lnTo>
                  <a:lnTo>
                    <a:pt x="1614" y="228"/>
                  </a:lnTo>
                  <a:lnTo>
                    <a:pt x="1614" y="234"/>
                  </a:lnTo>
                  <a:lnTo>
                    <a:pt x="1620" y="240"/>
                  </a:lnTo>
                  <a:lnTo>
                    <a:pt x="1620" y="246"/>
                  </a:lnTo>
                  <a:lnTo>
                    <a:pt x="1626" y="252"/>
                  </a:lnTo>
                  <a:lnTo>
                    <a:pt x="1632" y="258"/>
                  </a:lnTo>
                  <a:lnTo>
                    <a:pt x="1632" y="264"/>
                  </a:lnTo>
                  <a:lnTo>
                    <a:pt x="1638" y="264"/>
                  </a:lnTo>
                  <a:lnTo>
                    <a:pt x="1638" y="270"/>
                  </a:lnTo>
                  <a:lnTo>
                    <a:pt x="1638" y="276"/>
                  </a:lnTo>
                  <a:lnTo>
                    <a:pt x="1638" y="282"/>
                  </a:lnTo>
                  <a:lnTo>
                    <a:pt x="1644" y="288"/>
                  </a:lnTo>
                  <a:lnTo>
                    <a:pt x="1644" y="294"/>
                  </a:lnTo>
                  <a:lnTo>
                    <a:pt x="1644" y="300"/>
                  </a:lnTo>
                  <a:lnTo>
                    <a:pt x="1644" y="306"/>
                  </a:lnTo>
                  <a:lnTo>
                    <a:pt x="1650" y="306"/>
                  </a:lnTo>
                  <a:lnTo>
                    <a:pt x="1650" y="312"/>
                  </a:lnTo>
                  <a:lnTo>
                    <a:pt x="1650" y="318"/>
                  </a:lnTo>
                  <a:lnTo>
                    <a:pt x="1650" y="324"/>
                  </a:lnTo>
                  <a:lnTo>
                    <a:pt x="1644" y="330"/>
                  </a:lnTo>
                  <a:lnTo>
                    <a:pt x="1626" y="330"/>
                  </a:lnTo>
                  <a:lnTo>
                    <a:pt x="1626" y="336"/>
                  </a:lnTo>
                  <a:lnTo>
                    <a:pt x="1626" y="342"/>
                  </a:lnTo>
                  <a:lnTo>
                    <a:pt x="1626" y="348"/>
                  </a:lnTo>
                  <a:lnTo>
                    <a:pt x="1620" y="354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14" y="390"/>
                  </a:lnTo>
                  <a:lnTo>
                    <a:pt x="1614" y="396"/>
                  </a:lnTo>
                  <a:lnTo>
                    <a:pt x="1614" y="402"/>
                  </a:lnTo>
                  <a:lnTo>
                    <a:pt x="1614" y="408"/>
                  </a:lnTo>
                  <a:lnTo>
                    <a:pt x="1614" y="414"/>
                  </a:lnTo>
                  <a:lnTo>
                    <a:pt x="1602" y="420"/>
                  </a:lnTo>
                  <a:lnTo>
                    <a:pt x="1602" y="426"/>
                  </a:lnTo>
                  <a:lnTo>
                    <a:pt x="1608" y="432"/>
                  </a:lnTo>
                  <a:lnTo>
                    <a:pt x="1614" y="426"/>
                  </a:lnTo>
                  <a:lnTo>
                    <a:pt x="1620" y="438"/>
                  </a:lnTo>
                  <a:lnTo>
                    <a:pt x="1626" y="438"/>
                  </a:lnTo>
                  <a:lnTo>
                    <a:pt x="1632" y="444"/>
                  </a:lnTo>
                  <a:lnTo>
                    <a:pt x="1626" y="456"/>
                  </a:lnTo>
                  <a:lnTo>
                    <a:pt x="1626" y="468"/>
                  </a:lnTo>
                  <a:lnTo>
                    <a:pt x="1620" y="474"/>
                  </a:lnTo>
                  <a:lnTo>
                    <a:pt x="1614" y="474"/>
                  </a:lnTo>
                  <a:lnTo>
                    <a:pt x="1614" y="486"/>
                  </a:lnTo>
                  <a:lnTo>
                    <a:pt x="1614" y="492"/>
                  </a:lnTo>
                  <a:lnTo>
                    <a:pt x="1620" y="492"/>
                  </a:lnTo>
                  <a:lnTo>
                    <a:pt x="1626" y="498"/>
                  </a:lnTo>
                  <a:lnTo>
                    <a:pt x="1626" y="504"/>
                  </a:lnTo>
                  <a:lnTo>
                    <a:pt x="1626" y="510"/>
                  </a:lnTo>
                  <a:lnTo>
                    <a:pt x="1620" y="516"/>
                  </a:lnTo>
                  <a:lnTo>
                    <a:pt x="1620" y="522"/>
                  </a:lnTo>
                  <a:lnTo>
                    <a:pt x="1614" y="522"/>
                  </a:lnTo>
                  <a:lnTo>
                    <a:pt x="1608" y="528"/>
                  </a:lnTo>
                  <a:lnTo>
                    <a:pt x="1602" y="522"/>
                  </a:lnTo>
                  <a:lnTo>
                    <a:pt x="1602" y="528"/>
                  </a:lnTo>
                  <a:lnTo>
                    <a:pt x="1602" y="540"/>
                  </a:lnTo>
                  <a:lnTo>
                    <a:pt x="1602" y="558"/>
                  </a:lnTo>
                  <a:lnTo>
                    <a:pt x="1602" y="564"/>
                  </a:lnTo>
                  <a:lnTo>
                    <a:pt x="1602" y="570"/>
                  </a:lnTo>
                  <a:lnTo>
                    <a:pt x="1602" y="576"/>
                  </a:lnTo>
                  <a:lnTo>
                    <a:pt x="1596" y="576"/>
                  </a:lnTo>
                  <a:lnTo>
                    <a:pt x="1632" y="582"/>
                  </a:lnTo>
                  <a:lnTo>
                    <a:pt x="1644" y="618"/>
                  </a:lnTo>
                  <a:lnTo>
                    <a:pt x="1650" y="648"/>
                  </a:lnTo>
                  <a:lnTo>
                    <a:pt x="1662" y="636"/>
                  </a:lnTo>
                  <a:lnTo>
                    <a:pt x="1668" y="636"/>
                  </a:lnTo>
                  <a:lnTo>
                    <a:pt x="1674" y="636"/>
                  </a:lnTo>
                  <a:lnTo>
                    <a:pt x="1680" y="630"/>
                  </a:lnTo>
                  <a:lnTo>
                    <a:pt x="1686" y="630"/>
                  </a:lnTo>
                  <a:lnTo>
                    <a:pt x="1692" y="630"/>
                  </a:lnTo>
                  <a:lnTo>
                    <a:pt x="1698" y="630"/>
                  </a:lnTo>
                  <a:lnTo>
                    <a:pt x="1704" y="630"/>
                  </a:lnTo>
                  <a:lnTo>
                    <a:pt x="1704" y="624"/>
                  </a:lnTo>
                  <a:lnTo>
                    <a:pt x="1710" y="624"/>
                  </a:lnTo>
                  <a:lnTo>
                    <a:pt x="1716" y="624"/>
                  </a:lnTo>
                  <a:lnTo>
                    <a:pt x="1722" y="624"/>
                  </a:lnTo>
                  <a:lnTo>
                    <a:pt x="1728" y="624"/>
                  </a:lnTo>
                  <a:lnTo>
                    <a:pt x="1722" y="618"/>
                  </a:lnTo>
                  <a:lnTo>
                    <a:pt x="1728" y="606"/>
                  </a:lnTo>
                  <a:lnTo>
                    <a:pt x="1734" y="606"/>
                  </a:lnTo>
                  <a:lnTo>
                    <a:pt x="1740" y="600"/>
                  </a:lnTo>
                  <a:lnTo>
                    <a:pt x="1746" y="594"/>
                  </a:lnTo>
                  <a:lnTo>
                    <a:pt x="1752" y="588"/>
                  </a:lnTo>
                  <a:lnTo>
                    <a:pt x="1752" y="582"/>
                  </a:lnTo>
                  <a:lnTo>
                    <a:pt x="1758" y="576"/>
                  </a:lnTo>
                  <a:lnTo>
                    <a:pt x="1764" y="576"/>
                  </a:lnTo>
                  <a:lnTo>
                    <a:pt x="1770" y="570"/>
                  </a:lnTo>
                  <a:lnTo>
                    <a:pt x="1776" y="564"/>
                  </a:lnTo>
                  <a:lnTo>
                    <a:pt x="1788" y="558"/>
                  </a:lnTo>
                  <a:lnTo>
                    <a:pt x="1788" y="546"/>
                  </a:lnTo>
                  <a:lnTo>
                    <a:pt x="1788" y="540"/>
                  </a:lnTo>
                  <a:lnTo>
                    <a:pt x="1794" y="540"/>
                  </a:lnTo>
                  <a:lnTo>
                    <a:pt x="1788" y="534"/>
                  </a:lnTo>
                  <a:lnTo>
                    <a:pt x="1788" y="528"/>
                  </a:lnTo>
                  <a:lnTo>
                    <a:pt x="1794" y="516"/>
                  </a:lnTo>
                  <a:lnTo>
                    <a:pt x="1800" y="510"/>
                  </a:lnTo>
                  <a:lnTo>
                    <a:pt x="1812" y="510"/>
                  </a:lnTo>
                  <a:lnTo>
                    <a:pt x="1818" y="504"/>
                  </a:lnTo>
                  <a:lnTo>
                    <a:pt x="1824" y="504"/>
                  </a:lnTo>
                  <a:lnTo>
                    <a:pt x="1830" y="498"/>
                  </a:lnTo>
                  <a:lnTo>
                    <a:pt x="1836" y="498"/>
                  </a:lnTo>
                  <a:lnTo>
                    <a:pt x="1848" y="492"/>
                  </a:lnTo>
                  <a:lnTo>
                    <a:pt x="1848" y="480"/>
                  </a:lnTo>
                  <a:lnTo>
                    <a:pt x="1854" y="480"/>
                  </a:lnTo>
                  <a:lnTo>
                    <a:pt x="1890" y="504"/>
                  </a:lnTo>
                  <a:lnTo>
                    <a:pt x="1908" y="534"/>
                  </a:lnTo>
                  <a:lnTo>
                    <a:pt x="1902" y="534"/>
                  </a:lnTo>
                  <a:lnTo>
                    <a:pt x="1920" y="528"/>
                  </a:lnTo>
                  <a:lnTo>
                    <a:pt x="1920" y="516"/>
                  </a:lnTo>
                  <a:lnTo>
                    <a:pt x="1944" y="516"/>
                  </a:lnTo>
                  <a:lnTo>
                    <a:pt x="2004" y="516"/>
                  </a:lnTo>
                  <a:lnTo>
                    <a:pt x="2010" y="510"/>
                  </a:lnTo>
                  <a:lnTo>
                    <a:pt x="2004" y="510"/>
                  </a:lnTo>
                  <a:lnTo>
                    <a:pt x="2010" y="498"/>
                  </a:lnTo>
                  <a:lnTo>
                    <a:pt x="2004" y="486"/>
                  </a:lnTo>
                  <a:lnTo>
                    <a:pt x="2004" y="480"/>
                  </a:lnTo>
                  <a:lnTo>
                    <a:pt x="2004" y="474"/>
                  </a:lnTo>
                  <a:lnTo>
                    <a:pt x="2004" y="462"/>
                  </a:lnTo>
                  <a:lnTo>
                    <a:pt x="2004" y="456"/>
                  </a:lnTo>
                  <a:lnTo>
                    <a:pt x="2058" y="462"/>
                  </a:lnTo>
                  <a:lnTo>
                    <a:pt x="2076" y="474"/>
                  </a:lnTo>
                  <a:lnTo>
                    <a:pt x="2082" y="522"/>
                  </a:lnTo>
                  <a:lnTo>
                    <a:pt x="2088" y="516"/>
                  </a:lnTo>
                  <a:lnTo>
                    <a:pt x="2094" y="522"/>
                  </a:lnTo>
                  <a:lnTo>
                    <a:pt x="2100" y="528"/>
                  </a:lnTo>
                  <a:lnTo>
                    <a:pt x="2130" y="540"/>
                  </a:lnTo>
                  <a:lnTo>
                    <a:pt x="2160" y="564"/>
                  </a:lnTo>
                  <a:lnTo>
                    <a:pt x="2166" y="600"/>
                  </a:lnTo>
                  <a:lnTo>
                    <a:pt x="2160" y="618"/>
                  </a:lnTo>
                  <a:lnTo>
                    <a:pt x="2142" y="636"/>
                  </a:lnTo>
                  <a:lnTo>
                    <a:pt x="2148" y="648"/>
                  </a:lnTo>
                  <a:lnTo>
                    <a:pt x="2154" y="660"/>
                  </a:lnTo>
                  <a:lnTo>
                    <a:pt x="2196" y="654"/>
                  </a:lnTo>
                  <a:lnTo>
                    <a:pt x="2214" y="660"/>
                  </a:lnTo>
                  <a:lnTo>
                    <a:pt x="2214" y="666"/>
                  </a:lnTo>
                  <a:lnTo>
                    <a:pt x="2220" y="672"/>
                  </a:lnTo>
                  <a:lnTo>
                    <a:pt x="2214" y="678"/>
                  </a:lnTo>
                  <a:lnTo>
                    <a:pt x="2214" y="684"/>
                  </a:lnTo>
                  <a:lnTo>
                    <a:pt x="2214" y="690"/>
                  </a:lnTo>
                  <a:lnTo>
                    <a:pt x="2208" y="690"/>
                  </a:lnTo>
                  <a:lnTo>
                    <a:pt x="2202" y="696"/>
                  </a:lnTo>
                  <a:lnTo>
                    <a:pt x="2196" y="702"/>
                  </a:lnTo>
                  <a:lnTo>
                    <a:pt x="2190" y="708"/>
                  </a:lnTo>
                  <a:lnTo>
                    <a:pt x="2190" y="720"/>
                  </a:lnTo>
                  <a:lnTo>
                    <a:pt x="2184" y="720"/>
                  </a:lnTo>
                  <a:lnTo>
                    <a:pt x="2178" y="726"/>
                  </a:lnTo>
                  <a:lnTo>
                    <a:pt x="2166" y="732"/>
                  </a:lnTo>
                  <a:lnTo>
                    <a:pt x="2160" y="744"/>
                  </a:lnTo>
                  <a:lnTo>
                    <a:pt x="2154" y="756"/>
                  </a:lnTo>
                  <a:lnTo>
                    <a:pt x="2148" y="762"/>
                  </a:lnTo>
                  <a:lnTo>
                    <a:pt x="2124" y="762"/>
                  </a:lnTo>
                  <a:lnTo>
                    <a:pt x="2124" y="768"/>
                  </a:lnTo>
                  <a:lnTo>
                    <a:pt x="2118" y="768"/>
                  </a:lnTo>
                  <a:lnTo>
                    <a:pt x="2124" y="774"/>
                  </a:lnTo>
                  <a:lnTo>
                    <a:pt x="2118" y="774"/>
                  </a:lnTo>
                  <a:lnTo>
                    <a:pt x="2112" y="774"/>
                  </a:lnTo>
                  <a:lnTo>
                    <a:pt x="2106" y="780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06" y="798"/>
                  </a:lnTo>
                  <a:lnTo>
                    <a:pt x="2106" y="810"/>
                  </a:lnTo>
                  <a:lnTo>
                    <a:pt x="2112" y="828"/>
                  </a:lnTo>
                  <a:lnTo>
                    <a:pt x="2112" y="834"/>
                  </a:lnTo>
                  <a:lnTo>
                    <a:pt x="2112" y="840"/>
                  </a:lnTo>
                  <a:lnTo>
                    <a:pt x="2112" y="834"/>
                  </a:lnTo>
                  <a:lnTo>
                    <a:pt x="2124" y="834"/>
                  </a:lnTo>
                  <a:lnTo>
                    <a:pt x="2130" y="834"/>
                  </a:lnTo>
                  <a:lnTo>
                    <a:pt x="2136" y="840"/>
                  </a:lnTo>
                  <a:lnTo>
                    <a:pt x="2142" y="840"/>
                  </a:lnTo>
                  <a:lnTo>
                    <a:pt x="2154" y="852"/>
                  </a:lnTo>
                  <a:lnTo>
                    <a:pt x="2160" y="852"/>
                  </a:lnTo>
                  <a:lnTo>
                    <a:pt x="2172" y="846"/>
                  </a:lnTo>
                  <a:lnTo>
                    <a:pt x="2178" y="846"/>
                  </a:lnTo>
                  <a:lnTo>
                    <a:pt x="2184" y="846"/>
                  </a:lnTo>
                  <a:lnTo>
                    <a:pt x="2190" y="846"/>
                  </a:lnTo>
                  <a:lnTo>
                    <a:pt x="2196" y="852"/>
                  </a:lnTo>
                  <a:lnTo>
                    <a:pt x="2196" y="858"/>
                  </a:lnTo>
                  <a:lnTo>
                    <a:pt x="2202" y="852"/>
                  </a:lnTo>
                  <a:lnTo>
                    <a:pt x="2208" y="846"/>
                  </a:lnTo>
                  <a:lnTo>
                    <a:pt x="2214" y="846"/>
                  </a:lnTo>
                  <a:lnTo>
                    <a:pt x="2226" y="846"/>
                  </a:lnTo>
                  <a:lnTo>
                    <a:pt x="2232" y="852"/>
                  </a:lnTo>
                  <a:lnTo>
                    <a:pt x="2238" y="852"/>
                  </a:lnTo>
                  <a:lnTo>
                    <a:pt x="2244" y="858"/>
                  </a:lnTo>
                  <a:lnTo>
                    <a:pt x="2250" y="858"/>
                  </a:lnTo>
                  <a:lnTo>
                    <a:pt x="2256" y="858"/>
                  </a:lnTo>
                  <a:lnTo>
                    <a:pt x="2262" y="858"/>
                  </a:lnTo>
                  <a:lnTo>
                    <a:pt x="2268" y="852"/>
                  </a:lnTo>
                  <a:lnTo>
                    <a:pt x="2274" y="852"/>
                  </a:lnTo>
                  <a:lnTo>
                    <a:pt x="2280" y="852"/>
                  </a:lnTo>
                  <a:lnTo>
                    <a:pt x="2286" y="852"/>
                  </a:lnTo>
                  <a:lnTo>
                    <a:pt x="2298" y="858"/>
                  </a:lnTo>
                  <a:lnTo>
                    <a:pt x="2304" y="858"/>
                  </a:lnTo>
                  <a:lnTo>
                    <a:pt x="2310" y="858"/>
                  </a:lnTo>
                  <a:lnTo>
                    <a:pt x="2316" y="852"/>
                  </a:lnTo>
                  <a:lnTo>
                    <a:pt x="2322" y="858"/>
                  </a:lnTo>
                  <a:lnTo>
                    <a:pt x="2328" y="858"/>
                  </a:lnTo>
                  <a:lnTo>
                    <a:pt x="2328" y="852"/>
                  </a:lnTo>
                  <a:lnTo>
                    <a:pt x="2364" y="858"/>
                  </a:lnTo>
                  <a:lnTo>
                    <a:pt x="2376" y="876"/>
                  </a:lnTo>
                  <a:lnTo>
                    <a:pt x="2382" y="936"/>
                  </a:lnTo>
                  <a:lnTo>
                    <a:pt x="2388" y="966"/>
                  </a:lnTo>
                  <a:lnTo>
                    <a:pt x="2382" y="972"/>
                  </a:lnTo>
                  <a:lnTo>
                    <a:pt x="2382" y="978"/>
                  </a:lnTo>
                  <a:lnTo>
                    <a:pt x="2382" y="984"/>
                  </a:lnTo>
                  <a:lnTo>
                    <a:pt x="2388" y="990"/>
                  </a:lnTo>
                  <a:lnTo>
                    <a:pt x="2382" y="990"/>
                  </a:lnTo>
                  <a:lnTo>
                    <a:pt x="2382" y="996"/>
                  </a:lnTo>
                  <a:lnTo>
                    <a:pt x="2376" y="996"/>
                  </a:lnTo>
                  <a:lnTo>
                    <a:pt x="2376" y="1020"/>
                  </a:lnTo>
                  <a:lnTo>
                    <a:pt x="2370" y="1032"/>
                  </a:lnTo>
                  <a:lnTo>
                    <a:pt x="2352" y="1032"/>
                  </a:lnTo>
                  <a:lnTo>
                    <a:pt x="2346" y="1020"/>
                  </a:lnTo>
                  <a:lnTo>
                    <a:pt x="2328" y="1032"/>
                  </a:lnTo>
                  <a:lnTo>
                    <a:pt x="2316" y="1038"/>
                  </a:lnTo>
                  <a:lnTo>
                    <a:pt x="2328" y="1044"/>
                  </a:lnTo>
                  <a:lnTo>
                    <a:pt x="2340" y="1056"/>
                  </a:lnTo>
                  <a:lnTo>
                    <a:pt x="2376" y="1062"/>
                  </a:lnTo>
                  <a:lnTo>
                    <a:pt x="2376" y="1068"/>
                  </a:lnTo>
                  <a:lnTo>
                    <a:pt x="2382" y="1086"/>
                  </a:lnTo>
                  <a:lnTo>
                    <a:pt x="2376" y="1086"/>
                  </a:lnTo>
                  <a:lnTo>
                    <a:pt x="2370" y="1086"/>
                  </a:lnTo>
                  <a:lnTo>
                    <a:pt x="2364" y="1086"/>
                  </a:lnTo>
                  <a:lnTo>
                    <a:pt x="2364" y="1098"/>
                  </a:lnTo>
                  <a:lnTo>
                    <a:pt x="2388" y="1104"/>
                  </a:lnTo>
                  <a:lnTo>
                    <a:pt x="2400" y="1122"/>
                  </a:lnTo>
                  <a:lnTo>
                    <a:pt x="2400" y="1134"/>
                  </a:lnTo>
                  <a:lnTo>
                    <a:pt x="2400" y="1146"/>
                  </a:lnTo>
                  <a:lnTo>
                    <a:pt x="2394" y="1146"/>
                  </a:lnTo>
                  <a:lnTo>
                    <a:pt x="2394" y="1152"/>
                  </a:lnTo>
                  <a:lnTo>
                    <a:pt x="2388" y="1152"/>
                  </a:lnTo>
                  <a:lnTo>
                    <a:pt x="2388" y="1146"/>
                  </a:lnTo>
                  <a:lnTo>
                    <a:pt x="2382" y="1152"/>
                  </a:lnTo>
                  <a:lnTo>
                    <a:pt x="2376" y="1152"/>
                  </a:lnTo>
                  <a:lnTo>
                    <a:pt x="2370" y="1158"/>
                  </a:lnTo>
                  <a:lnTo>
                    <a:pt x="2370" y="1164"/>
                  </a:lnTo>
                  <a:lnTo>
                    <a:pt x="2364" y="1170"/>
                  </a:lnTo>
                  <a:lnTo>
                    <a:pt x="2370" y="1170"/>
                  </a:lnTo>
                  <a:lnTo>
                    <a:pt x="2376" y="1170"/>
                  </a:lnTo>
                  <a:lnTo>
                    <a:pt x="2370" y="1176"/>
                  </a:lnTo>
                  <a:lnTo>
                    <a:pt x="2364" y="1176"/>
                  </a:lnTo>
                  <a:lnTo>
                    <a:pt x="2358" y="1182"/>
                  </a:lnTo>
                  <a:lnTo>
                    <a:pt x="2352" y="1182"/>
                  </a:lnTo>
                  <a:lnTo>
                    <a:pt x="2346" y="1188"/>
                  </a:lnTo>
                  <a:lnTo>
                    <a:pt x="2340" y="1182"/>
                  </a:lnTo>
                  <a:lnTo>
                    <a:pt x="2334" y="1182"/>
                  </a:lnTo>
                  <a:lnTo>
                    <a:pt x="2334" y="1188"/>
                  </a:lnTo>
                  <a:lnTo>
                    <a:pt x="2328" y="1194"/>
                  </a:lnTo>
                  <a:lnTo>
                    <a:pt x="2328" y="1200"/>
                  </a:lnTo>
                  <a:lnTo>
                    <a:pt x="2322" y="1224"/>
                  </a:lnTo>
                  <a:lnTo>
                    <a:pt x="2328" y="1230"/>
                  </a:lnTo>
                  <a:lnTo>
                    <a:pt x="2358" y="1230"/>
                  </a:lnTo>
                  <a:lnTo>
                    <a:pt x="2358" y="1242"/>
                  </a:lnTo>
                  <a:lnTo>
                    <a:pt x="2358" y="1254"/>
                  </a:lnTo>
                  <a:lnTo>
                    <a:pt x="2346" y="1254"/>
                  </a:lnTo>
                  <a:lnTo>
                    <a:pt x="2346" y="1278"/>
                  </a:lnTo>
                  <a:lnTo>
                    <a:pt x="2358" y="1278"/>
                  </a:lnTo>
                  <a:lnTo>
                    <a:pt x="2358" y="1284"/>
                  </a:lnTo>
                  <a:lnTo>
                    <a:pt x="2376" y="1284"/>
                  </a:lnTo>
                  <a:lnTo>
                    <a:pt x="2388" y="1278"/>
                  </a:lnTo>
                  <a:lnTo>
                    <a:pt x="2406" y="1278"/>
                  </a:lnTo>
                  <a:lnTo>
                    <a:pt x="2430" y="1284"/>
                  </a:lnTo>
                  <a:lnTo>
                    <a:pt x="2430" y="1302"/>
                  </a:lnTo>
                  <a:lnTo>
                    <a:pt x="2430" y="1314"/>
                  </a:lnTo>
                  <a:lnTo>
                    <a:pt x="2424" y="1326"/>
                  </a:lnTo>
                  <a:lnTo>
                    <a:pt x="2412" y="1326"/>
                  </a:lnTo>
                  <a:lnTo>
                    <a:pt x="2412" y="1344"/>
                  </a:lnTo>
                  <a:lnTo>
                    <a:pt x="2406" y="1344"/>
                  </a:lnTo>
                  <a:lnTo>
                    <a:pt x="2400" y="1362"/>
                  </a:lnTo>
                  <a:lnTo>
                    <a:pt x="2394" y="1368"/>
                  </a:lnTo>
                  <a:lnTo>
                    <a:pt x="2388" y="1374"/>
                  </a:lnTo>
                  <a:lnTo>
                    <a:pt x="2382" y="1380"/>
                  </a:lnTo>
                  <a:lnTo>
                    <a:pt x="2376" y="1386"/>
                  </a:lnTo>
                  <a:lnTo>
                    <a:pt x="2376" y="1392"/>
                  </a:lnTo>
                  <a:lnTo>
                    <a:pt x="2370" y="1404"/>
                  </a:lnTo>
                  <a:lnTo>
                    <a:pt x="2364" y="1416"/>
                  </a:lnTo>
                  <a:lnTo>
                    <a:pt x="2346" y="1434"/>
                  </a:lnTo>
                  <a:lnTo>
                    <a:pt x="2328" y="1440"/>
                  </a:lnTo>
                  <a:lnTo>
                    <a:pt x="2328" y="1446"/>
                  </a:lnTo>
                  <a:lnTo>
                    <a:pt x="2322" y="1452"/>
                  </a:lnTo>
                  <a:lnTo>
                    <a:pt x="2316" y="1452"/>
                  </a:lnTo>
                  <a:lnTo>
                    <a:pt x="2304" y="1446"/>
                  </a:lnTo>
                  <a:lnTo>
                    <a:pt x="2298" y="1446"/>
                  </a:lnTo>
                  <a:lnTo>
                    <a:pt x="2298" y="1434"/>
                  </a:lnTo>
                  <a:lnTo>
                    <a:pt x="2292" y="1434"/>
                  </a:lnTo>
                  <a:lnTo>
                    <a:pt x="2286" y="1428"/>
                  </a:lnTo>
                  <a:lnTo>
                    <a:pt x="2274" y="1416"/>
                  </a:lnTo>
                  <a:lnTo>
                    <a:pt x="2256" y="1404"/>
                  </a:lnTo>
                  <a:lnTo>
                    <a:pt x="2244" y="1386"/>
                  </a:lnTo>
                  <a:lnTo>
                    <a:pt x="2220" y="1368"/>
                  </a:lnTo>
                  <a:lnTo>
                    <a:pt x="2208" y="1362"/>
                  </a:lnTo>
                  <a:lnTo>
                    <a:pt x="2202" y="1350"/>
                  </a:lnTo>
                  <a:lnTo>
                    <a:pt x="2196" y="1350"/>
                  </a:lnTo>
                  <a:lnTo>
                    <a:pt x="2190" y="1356"/>
                  </a:lnTo>
                  <a:lnTo>
                    <a:pt x="2184" y="1356"/>
                  </a:lnTo>
                  <a:lnTo>
                    <a:pt x="2094" y="1350"/>
                  </a:lnTo>
                  <a:lnTo>
                    <a:pt x="2058" y="1350"/>
                  </a:lnTo>
                  <a:lnTo>
                    <a:pt x="2034" y="1890"/>
                  </a:lnTo>
                  <a:lnTo>
                    <a:pt x="2064" y="1890"/>
                  </a:lnTo>
                  <a:lnTo>
                    <a:pt x="2070" y="1896"/>
                  </a:lnTo>
                  <a:lnTo>
                    <a:pt x="2076" y="18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8" name="Freeform 33">
              <a:extLst>
                <a:ext uri="{FF2B5EF4-FFF2-40B4-BE49-F238E27FC236}">
                  <a16:creationId xmlns:a16="http://schemas.microsoft.com/office/drawing/2014/main" id="{0E96F118-1F4D-4E52-AF27-149259451CD6}"/>
                </a:ext>
              </a:extLst>
            </p:cNvPr>
            <p:cNvSpPr>
              <a:spLocks/>
            </p:cNvSpPr>
            <p:nvPr/>
          </p:nvSpPr>
          <p:spPr bwMode="gray">
            <a:xfrm>
              <a:off x="1266662" y="1459989"/>
              <a:ext cx="903421" cy="778302"/>
            </a:xfrm>
            <a:custGeom>
              <a:avLst/>
              <a:gdLst>
                <a:gd name="T0" fmla="*/ 143 w 1698"/>
                <a:gd name="T1" fmla="*/ 43 h 1464"/>
                <a:gd name="T2" fmla="*/ 131 w 1698"/>
                <a:gd name="T3" fmla="*/ 44 h 1464"/>
                <a:gd name="T4" fmla="*/ 126 w 1698"/>
                <a:gd name="T5" fmla="*/ 41 h 1464"/>
                <a:gd name="T6" fmla="*/ 119 w 1698"/>
                <a:gd name="T7" fmla="*/ 45 h 1464"/>
                <a:gd name="T8" fmla="*/ 111 w 1698"/>
                <a:gd name="T9" fmla="*/ 46 h 1464"/>
                <a:gd name="T10" fmla="*/ 107 w 1698"/>
                <a:gd name="T11" fmla="*/ 50 h 1464"/>
                <a:gd name="T12" fmla="*/ 107 w 1698"/>
                <a:gd name="T13" fmla="*/ 60 h 1464"/>
                <a:gd name="T14" fmla="*/ 104 w 1698"/>
                <a:gd name="T15" fmla="*/ 62 h 1464"/>
                <a:gd name="T16" fmla="*/ 97 w 1698"/>
                <a:gd name="T17" fmla="*/ 59 h 1464"/>
                <a:gd name="T18" fmla="*/ 92 w 1698"/>
                <a:gd name="T19" fmla="*/ 59 h 1464"/>
                <a:gd name="T20" fmla="*/ 90 w 1698"/>
                <a:gd name="T21" fmla="*/ 62 h 1464"/>
                <a:gd name="T22" fmla="*/ 93 w 1698"/>
                <a:gd name="T23" fmla="*/ 77 h 1464"/>
                <a:gd name="T24" fmla="*/ 85 w 1698"/>
                <a:gd name="T25" fmla="*/ 88 h 1464"/>
                <a:gd name="T26" fmla="*/ 70 w 1698"/>
                <a:gd name="T27" fmla="*/ 89 h 1464"/>
                <a:gd name="T28" fmla="*/ 65 w 1698"/>
                <a:gd name="T29" fmla="*/ 88 h 1464"/>
                <a:gd name="T30" fmla="*/ 50 w 1698"/>
                <a:gd name="T31" fmla="*/ 88 h 1464"/>
                <a:gd name="T32" fmla="*/ 48 w 1698"/>
                <a:gd name="T33" fmla="*/ 107 h 1464"/>
                <a:gd name="T34" fmla="*/ 47 w 1698"/>
                <a:gd name="T35" fmla="*/ 120 h 1464"/>
                <a:gd name="T36" fmla="*/ 43 w 1698"/>
                <a:gd name="T37" fmla="*/ 121 h 1464"/>
                <a:gd name="T38" fmla="*/ 40 w 1698"/>
                <a:gd name="T39" fmla="*/ 120 h 1464"/>
                <a:gd name="T40" fmla="*/ 35 w 1698"/>
                <a:gd name="T41" fmla="*/ 122 h 1464"/>
                <a:gd name="T42" fmla="*/ 29 w 1698"/>
                <a:gd name="T43" fmla="*/ 123 h 1464"/>
                <a:gd name="T44" fmla="*/ 24 w 1698"/>
                <a:gd name="T45" fmla="*/ 125 h 1464"/>
                <a:gd name="T46" fmla="*/ 20 w 1698"/>
                <a:gd name="T47" fmla="*/ 125 h 1464"/>
                <a:gd name="T48" fmla="*/ 18 w 1698"/>
                <a:gd name="T49" fmla="*/ 122 h 1464"/>
                <a:gd name="T50" fmla="*/ 26 w 1698"/>
                <a:gd name="T51" fmla="*/ 108 h 1464"/>
                <a:gd name="T52" fmla="*/ 24 w 1698"/>
                <a:gd name="T53" fmla="*/ 89 h 1464"/>
                <a:gd name="T54" fmla="*/ 28 w 1698"/>
                <a:gd name="T55" fmla="*/ 85 h 1464"/>
                <a:gd name="T56" fmla="*/ 32 w 1698"/>
                <a:gd name="T57" fmla="*/ 80 h 1464"/>
                <a:gd name="T58" fmla="*/ 36 w 1698"/>
                <a:gd name="T59" fmla="*/ 86 h 1464"/>
                <a:gd name="T60" fmla="*/ 39 w 1698"/>
                <a:gd name="T61" fmla="*/ 80 h 1464"/>
                <a:gd name="T62" fmla="*/ 41 w 1698"/>
                <a:gd name="T63" fmla="*/ 73 h 1464"/>
                <a:gd name="T64" fmla="*/ 38 w 1698"/>
                <a:gd name="T65" fmla="*/ 64 h 1464"/>
                <a:gd name="T66" fmla="*/ 39 w 1698"/>
                <a:gd name="T67" fmla="*/ 59 h 1464"/>
                <a:gd name="T68" fmla="*/ 32 w 1698"/>
                <a:gd name="T69" fmla="*/ 54 h 1464"/>
                <a:gd name="T70" fmla="*/ 32 w 1698"/>
                <a:gd name="T71" fmla="*/ 45 h 1464"/>
                <a:gd name="T72" fmla="*/ 31 w 1698"/>
                <a:gd name="T73" fmla="*/ 41 h 1464"/>
                <a:gd name="T74" fmla="*/ 24 w 1698"/>
                <a:gd name="T75" fmla="*/ 43 h 1464"/>
                <a:gd name="T76" fmla="*/ 17 w 1698"/>
                <a:gd name="T77" fmla="*/ 40 h 1464"/>
                <a:gd name="T78" fmla="*/ 11 w 1698"/>
                <a:gd name="T79" fmla="*/ 38 h 1464"/>
                <a:gd name="T80" fmla="*/ 2 w 1698"/>
                <a:gd name="T81" fmla="*/ 36 h 1464"/>
                <a:gd name="T82" fmla="*/ 0 w 1698"/>
                <a:gd name="T83" fmla="*/ 24 h 1464"/>
                <a:gd name="T84" fmla="*/ 11 w 1698"/>
                <a:gd name="T85" fmla="*/ 18 h 1464"/>
                <a:gd name="T86" fmla="*/ 19 w 1698"/>
                <a:gd name="T87" fmla="*/ 10 h 1464"/>
                <a:gd name="T88" fmla="*/ 28 w 1698"/>
                <a:gd name="T89" fmla="*/ 9 h 1464"/>
                <a:gd name="T90" fmla="*/ 40 w 1698"/>
                <a:gd name="T91" fmla="*/ 6 h 1464"/>
                <a:gd name="T92" fmla="*/ 49 w 1698"/>
                <a:gd name="T93" fmla="*/ 8 h 1464"/>
                <a:gd name="T94" fmla="*/ 56 w 1698"/>
                <a:gd name="T95" fmla="*/ 8 h 1464"/>
                <a:gd name="T96" fmla="*/ 64 w 1698"/>
                <a:gd name="T97" fmla="*/ 7 h 1464"/>
                <a:gd name="T98" fmla="*/ 74 w 1698"/>
                <a:gd name="T99" fmla="*/ 1 h 1464"/>
                <a:gd name="T100" fmla="*/ 83 w 1698"/>
                <a:gd name="T101" fmla="*/ 3 h 1464"/>
                <a:gd name="T102" fmla="*/ 99 w 1698"/>
                <a:gd name="T103" fmla="*/ 9 h 1464"/>
                <a:gd name="T104" fmla="*/ 112 w 1698"/>
                <a:gd name="T105" fmla="*/ 14 h 1464"/>
                <a:gd name="T106" fmla="*/ 119 w 1698"/>
                <a:gd name="T107" fmla="*/ 12 h 1464"/>
                <a:gd name="T108" fmla="*/ 128 w 1698"/>
                <a:gd name="T109" fmla="*/ 17 h 1464"/>
                <a:gd name="T110" fmla="*/ 141 w 1698"/>
                <a:gd name="T111" fmla="*/ 29 h 1464"/>
                <a:gd name="T112" fmla="*/ 145 w 1698"/>
                <a:gd name="T113" fmla="*/ 35 h 14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98"/>
                <a:gd name="T172" fmla="*/ 0 h 1464"/>
                <a:gd name="T173" fmla="*/ 1698 w 1698"/>
                <a:gd name="T174" fmla="*/ 1464 h 14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98" h="1464">
                  <a:moveTo>
                    <a:pt x="1698" y="462"/>
                  </a:moveTo>
                  <a:lnTo>
                    <a:pt x="1686" y="468"/>
                  </a:lnTo>
                  <a:lnTo>
                    <a:pt x="1680" y="474"/>
                  </a:lnTo>
                  <a:lnTo>
                    <a:pt x="1674" y="480"/>
                  </a:lnTo>
                  <a:lnTo>
                    <a:pt x="1668" y="480"/>
                  </a:lnTo>
                  <a:lnTo>
                    <a:pt x="1662" y="486"/>
                  </a:lnTo>
                  <a:lnTo>
                    <a:pt x="1656" y="492"/>
                  </a:lnTo>
                  <a:lnTo>
                    <a:pt x="1644" y="498"/>
                  </a:lnTo>
                  <a:lnTo>
                    <a:pt x="1626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0" y="516"/>
                  </a:lnTo>
                  <a:lnTo>
                    <a:pt x="1590" y="522"/>
                  </a:lnTo>
                  <a:lnTo>
                    <a:pt x="1566" y="522"/>
                  </a:lnTo>
                  <a:lnTo>
                    <a:pt x="1506" y="510"/>
                  </a:lnTo>
                  <a:lnTo>
                    <a:pt x="1500" y="510"/>
                  </a:lnTo>
                  <a:lnTo>
                    <a:pt x="1488" y="504"/>
                  </a:lnTo>
                  <a:lnTo>
                    <a:pt x="1482" y="498"/>
                  </a:lnTo>
                  <a:lnTo>
                    <a:pt x="1476" y="498"/>
                  </a:lnTo>
                  <a:lnTo>
                    <a:pt x="1476" y="492"/>
                  </a:lnTo>
                  <a:lnTo>
                    <a:pt x="1470" y="492"/>
                  </a:lnTo>
                  <a:lnTo>
                    <a:pt x="1464" y="486"/>
                  </a:lnTo>
                  <a:lnTo>
                    <a:pt x="1452" y="486"/>
                  </a:lnTo>
                  <a:lnTo>
                    <a:pt x="1446" y="474"/>
                  </a:lnTo>
                  <a:lnTo>
                    <a:pt x="1434" y="468"/>
                  </a:lnTo>
                  <a:lnTo>
                    <a:pt x="1416" y="468"/>
                  </a:lnTo>
                  <a:lnTo>
                    <a:pt x="1392" y="468"/>
                  </a:lnTo>
                  <a:lnTo>
                    <a:pt x="1374" y="474"/>
                  </a:lnTo>
                  <a:lnTo>
                    <a:pt x="1368" y="474"/>
                  </a:lnTo>
                  <a:lnTo>
                    <a:pt x="1368" y="486"/>
                  </a:lnTo>
                  <a:lnTo>
                    <a:pt x="1368" y="498"/>
                  </a:lnTo>
                  <a:lnTo>
                    <a:pt x="1368" y="522"/>
                  </a:lnTo>
                  <a:lnTo>
                    <a:pt x="1368" y="534"/>
                  </a:lnTo>
                  <a:lnTo>
                    <a:pt x="1362" y="546"/>
                  </a:lnTo>
                  <a:lnTo>
                    <a:pt x="1356" y="546"/>
                  </a:lnTo>
                  <a:lnTo>
                    <a:pt x="1344" y="540"/>
                  </a:lnTo>
                  <a:lnTo>
                    <a:pt x="1338" y="534"/>
                  </a:lnTo>
                  <a:lnTo>
                    <a:pt x="1308" y="522"/>
                  </a:lnTo>
                  <a:lnTo>
                    <a:pt x="1296" y="522"/>
                  </a:lnTo>
                  <a:lnTo>
                    <a:pt x="1278" y="528"/>
                  </a:lnTo>
                  <a:lnTo>
                    <a:pt x="1260" y="534"/>
                  </a:lnTo>
                  <a:lnTo>
                    <a:pt x="1242" y="546"/>
                  </a:lnTo>
                  <a:lnTo>
                    <a:pt x="1236" y="552"/>
                  </a:lnTo>
                  <a:lnTo>
                    <a:pt x="1224" y="558"/>
                  </a:lnTo>
                  <a:lnTo>
                    <a:pt x="1218" y="558"/>
                  </a:lnTo>
                  <a:lnTo>
                    <a:pt x="1218" y="564"/>
                  </a:lnTo>
                  <a:lnTo>
                    <a:pt x="1224" y="570"/>
                  </a:lnTo>
                  <a:lnTo>
                    <a:pt x="1224" y="582"/>
                  </a:lnTo>
                  <a:lnTo>
                    <a:pt x="1224" y="594"/>
                  </a:lnTo>
                  <a:lnTo>
                    <a:pt x="1212" y="618"/>
                  </a:lnTo>
                  <a:lnTo>
                    <a:pt x="1212" y="624"/>
                  </a:lnTo>
                  <a:lnTo>
                    <a:pt x="1212" y="630"/>
                  </a:lnTo>
                  <a:lnTo>
                    <a:pt x="1212" y="636"/>
                  </a:lnTo>
                  <a:lnTo>
                    <a:pt x="1218" y="654"/>
                  </a:lnTo>
                  <a:lnTo>
                    <a:pt x="1224" y="672"/>
                  </a:lnTo>
                  <a:lnTo>
                    <a:pt x="1230" y="696"/>
                  </a:lnTo>
                  <a:lnTo>
                    <a:pt x="1236" y="708"/>
                  </a:lnTo>
                  <a:lnTo>
                    <a:pt x="1236" y="714"/>
                  </a:lnTo>
                  <a:lnTo>
                    <a:pt x="1236" y="720"/>
                  </a:lnTo>
                  <a:lnTo>
                    <a:pt x="1218" y="726"/>
                  </a:lnTo>
                  <a:lnTo>
                    <a:pt x="1212" y="726"/>
                  </a:lnTo>
                  <a:lnTo>
                    <a:pt x="1206" y="726"/>
                  </a:lnTo>
                  <a:lnTo>
                    <a:pt x="1194" y="720"/>
                  </a:lnTo>
                  <a:lnTo>
                    <a:pt x="1194" y="714"/>
                  </a:lnTo>
                  <a:lnTo>
                    <a:pt x="1176" y="714"/>
                  </a:lnTo>
                  <a:lnTo>
                    <a:pt x="1164" y="708"/>
                  </a:lnTo>
                  <a:lnTo>
                    <a:pt x="1158" y="708"/>
                  </a:lnTo>
                  <a:lnTo>
                    <a:pt x="1140" y="702"/>
                  </a:lnTo>
                  <a:lnTo>
                    <a:pt x="1134" y="696"/>
                  </a:lnTo>
                  <a:lnTo>
                    <a:pt x="1128" y="690"/>
                  </a:lnTo>
                  <a:lnTo>
                    <a:pt x="1116" y="678"/>
                  </a:lnTo>
                  <a:lnTo>
                    <a:pt x="1110" y="678"/>
                  </a:lnTo>
                  <a:lnTo>
                    <a:pt x="1104" y="672"/>
                  </a:lnTo>
                  <a:lnTo>
                    <a:pt x="1092" y="672"/>
                  </a:lnTo>
                  <a:lnTo>
                    <a:pt x="1086" y="672"/>
                  </a:lnTo>
                  <a:lnTo>
                    <a:pt x="1080" y="672"/>
                  </a:lnTo>
                  <a:lnTo>
                    <a:pt x="1074" y="672"/>
                  </a:lnTo>
                  <a:lnTo>
                    <a:pt x="1068" y="672"/>
                  </a:lnTo>
                  <a:lnTo>
                    <a:pt x="1062" y="678"/>
                  </a:lnTo>
                  <a:lnTo>
                    <a:pt x="1056" y="678"/>
                  </a:lnTo>
                  <a:lnTo>
                    <a:pt x="1056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6"/>
                  </a:lnTo>
                  <a:lnTo>
                    <a:pt x="1032" y="708"/>
                  </a:lnTo>
                  <a:lnTo>
                    <a:pt x="1026" y="708"/>
                  </a:lnTo>
                  <a:lnTo>
                    <a:pt x="1032" y="714"/>
                  </a:lnTo>
                  <a:lnTo>
                    <a:pt x="1026" y="720"/>
                  </a:lnTo>
                  <a:lnTo>
                    <a:pt x="1020" y="720"/>
                  </a:lnTo>
                  <a:lnTo>
                    <a:pt x="1014" y="732"/>
                  </a:lnTo>
                  <a:lnTo>
                    <a:pt x="1014" y="744"/>
                  </a:lnTo>
                  <a:lnTo>
                    <a:pt x="1038" y="810"/>
                  </a:lnTo>
                  <a:lnTo>
                    <a:pt x="1050" y="834"/>
                  </a:lnTo>
                  <a:lnTo>
                    <a:pt x="1056" y="858"/>
                  </a:lnTo>
                  <a:lnTo>
                    <a:pt x="1062" y="876"/>
                  </a:lnTo>
                  <a:lnTo>
                    <a:pt x="1068" y="882"/>
                  </a:lnTo>
                  <a:lnTo>
                    <a:pt x="1062" y="972"/>
                  </a:lnTo>
                  <a:lnTo>
                    <a:pt x="1056" y="972"/>
                  </a:lnTo>
                  <a:lnTo>
                    <a:pt x="1050" y="996"/>
                  </a:lnTo>
                  <a:lnTo>
                    <a:pt x="1044" y="1014"/>
                  </a:lnTo>
                  <a:lnTo>
                    <a:pt x="1008" y="1014"/>
                  </a:lnTo>
                  <a:lnTo>
                    <a:pt x="1008" y="1008"/>
                  </a:lnTo>
                  <a:lnTo>
                    <a:pt x="990" y="1008"/>
                  </a:lnTo>
                  <a:lnTo>
                    <a:pt x="972" y="1014"/>
                  </a:lnTo>
                  <a:lnTo>
                    <a:pt x="948" y="1020"/>
                  </a:lnTo>
                  <a:lnTo>
                    <a:pt x="918" y="1026"/>
                  </a:lnTo>
                  <a:lnTo>
                    <a:pt x="840" y="1032"/>
                  </a:lnTo>
                  <a:lnTo>
                    <a:pt x="834" y="1032"/>
                  </a:lnTo>
                  <a:lnTo>
                    <a:pt x="834" y="1026"/>
                  </a:lnTo>
                  <a:lnTo>
                    <a:pt x="822" y="1026"/>
                  </a:lnTo>
                  <a:lnTo>
                    <a:pt x="816" y="1032"/>
                  </a:lnTo>
                  <a:lnTo>
                    <a:pt x="804" y="1032"/>
                  </a:lnTo>
                  <a:lnTo>
                    <a:pt x="798" y="1026"/>
                  </a:lnTo>
                  <a:lnTo>
                    <a:pt x="780" y="1026"/>
                  </a:lnTo>
                  <a:lnTo>
                    <a:pt x="762" y="1026"/>
                  </a:lnTo>
                  <a:lnTo>
                    <a:pt x="756" y="1026"/>
                  </a:lnTo>
                  <a:lnTo>
                    <a:pt x="750" y="1026"/>
                  </a:lnTo>
                  <a:lnTo>
                    <a:pt x="756" y="1020"/>
                  </a:lnTo>
                  <a:lnTo>
                    <a:pt x="750" y="1020"/>
                  </a:lnTo>
                  <a:lnTo>
                    <a:pt x="744" y="1014"/>
                  </a:lnTo>
                  <a:lnTo>
                    <a:pt x="684" y="1020"/>
                  </a:lnTo>
                  <a:lnTo>
                    <a:pt x="648" y="1020"/>
                  </a:lnTo>
                  <a:lnTo>
                    <a:pt x="630" y="1020"/>
                  </a:lnTo>
                  <a:lnTo>
                    <a:pt x="618" y="1020"/>
                  </a:lnTo>
                  <a:lnTo>
                    <a:pt x="606" y="1014"/>
                  </a:lnTo>
                  <a:lnTo>
                    <a:pt x="582" y="1014"/>
                  </a:lnTo>
                  <a:lnTo>
                    <a:pt x="576" y="1014"/>
                  </a:lnTo>
                  <a:lnTo>
                    <a:pt x="570" y="1014"/>
                  </a:lnTo>
                  <a:lnTo>
                    <a:pt x="564" y="1020"/>
                  </a:lnTo>
                  <a:lnTo>
                    <a:pt x="558" y="1026"/>
                  </a:lnTo>
                  <a:lnTo>
                    <a:pt x="552" y="1032"/>
                  </a:lnTo>
                  <a:lnTo>
                    <a:pt x="552" y="1038"/>
                  </a:lnTo>
                  <a:lnTo>
                    <a:pt x="558" y="1194"/>
                  </a:lnTo>
                  <a:lnTo>
                    <a:pt x="558" y="1206"/>
                  </a:lnTo>
                  <a:lnTo>
                    <a:pt x="552" y="1218"/>
                  </a:lnTo>
                  <a:lnTo>
                    <a:pt x="552" y="1236"/>
                  </a:lnTo>
                  <a:lnTo>
                    <a:pt x="546" y="1272"/>
                  </a:lnTo>
                  <a:lnTo>
                    <a:pt x="546" y="1308"/>
                  </a:lnTo>
                  <a:lnTo>
                    <a:pt x="540" y="1332"/>
                  </a:lnTo>
                  <a:lnTo>
                    <a:pt x="546" y="1356"/>
                  </a:lnTo>
                  <a:lnTo>
                    <a:pt x="546" y="1362"/>
                  </a:lnTo>
                  <a:lnTo>
                    <a:pt x="546" y="1374"/>
                  </a:lnTo>
                  <a:lnTo>
                    <a:pt x="546" y="1380"/>
                  </a:lnTo>
                  <a:lnTo>
                    <a:pt x="540" y="1380"/>
                  </a:lnTo>
                  <a:lnTo>
                    <a:pt x="522" y="1380"/>
                  </a:lnTo>
                  <a:lnTo>
                    <a:pt x="516" y="1380"/>
                  </a:lnTo>
                  <a:lnTo>
                    <a:pt x="516" y="1386"/>
                  </a:lnTo>
                  <a:lnTo>
                    <a:pt x="516" y="1392"/>
                  </a:lnTo>
                  <a:lnTo>
                    <a:pt x="510" y="1392"/>
                  </a:lnTo>
                  <a:lnTo>
                    <a:pt x="504" y="1386"/>
                  </a:lnTo>
                  <a:lnTo>
                    <a:pt x="498" y="1392"/>
                  </a:lnTo>
                  <a:lnTo>
                    <a:pt x="492" y="1398"/>
                  </a:lnTo>
                  <a:lnTo>
                    <a:pt x="486" y="1398"/>
                  </a:lnTo>
                  <a:lnTo>
                    <a:pt x="486" y="1392"/>
                  </a:lnTo>
                  <a:lnTo>
                    <a:pt x="486" y="1380"/>
                  </a:lnTo>
                  <a:lnTo>
                    <a:pt x="486" y="1374"/>
                  </a:lnTo>
                  <a:lnTo>
                    <a:pt x="480" y="1374"/>
                  </a:lnTo>
                  <a:lnTo>
                    <a:pt x="474" y="1374"/>
                  </a:lnTo>
                  <a:lnTo>
                    <a:pt x="468" y="1380"/>
                  </a:lnTo>
                  <a:lnTo>
                    <a:pt x="462" y="1380"/>
                  </a:lnTo>
                  <a:lnTo>
                    <a:pt x="456" y="1380"/>
                  </a:lnTo>
                  <a:lnTo>
                    <a:pt x="450" y="1386"/>
                  </a:lnTo>
                  <a:lnTo>
                    <a:pt x="444" y="1386"/>
                  </a:lnTo>
                  <a:lnTo>
                    <a:pt x="444" y="1392"/>
                  </a:lnTo>
                  <a:lnTo>
                    <a:pt x="432" y="1398"/>
                  </a:lnTo>
                  <a:lnTo>
                    <a:pt x="426" y="1404"/>
                  </a:lnTo>
                  <a:lnTo>
                    <a:pt x="420" y="1404"/>
                  </a:lnTo>
                  <a:lnTo>
                    <a:pt x="408" y="1404"/>
                  </a:lnTo>
                  <a:lnTo>
                    <a:pt x="378" y="1410"/>
                  </a:lnTo>
                  <a:lnTo>
                    <a:pt x="372" y="1410"/>
                  </a:lnTo>
                  <a:lnTo>
                    <a:pt x="360" y="1410"/>
                  </a:lnTo>
                  <a:lnTo>
                    <a:pt x="354" y="1416"/>
                  </a:lnTo>
                  <a:lnTo>
                    <a:pt x="348" y="1416"/>
                  </a:lnTo>
                  <a:lnTo>
                    <a:pt x="342" y="1410"/>
                  </a:lnTo>
                  <a:lnTo>
                    <a:pt x="336" y="1410"/>
                  </a:lnTo>
                  <a:lnTo>
                    <a:pt x="336" y="1416"/>
                  </a:lnTo>
                  <a:lnTo>
                    <a:pt x="330" y="1422"/>
                  </a:lnTo>
                  <a:lnTo>
                    <a:pt x="324" y="1422"/>
                  </a:lnTo>
                  <a:lnTo>
                    <a:pt x="318" y="1422"/>
                  </a:lnTo>
                  <a:lnTo>
                    <a:pt x="312" y="1428"/>
                  </a:lnTo>
                  <a:lnTo>
                    <a:pt x="312" y="1434"/>
                  </a:lnTo>
                  <a:lnTo>
                    <a:pt x="300" y="1428"/>
                  </a:lnTo>
                  <a:lnTo>
                    <a:pt x="288" y="1434"/>
                  </a:lnTo>
                  <a:lnTo>
                    <a:pt x="282" y="1440"/>
                  </a:lnTo>
                  <a:lnTo>
                    <a:pt x="282" y="1446"/>
                  </a:lnTo>
                  <a:lnTo>
                    <a:pt x="276" y="1446"/>
                  </a:lnTo>
                  <a:lnTo>
                    <a:pt x="276" y="1452"/>
                  </a:lnTo>
                  <a:lnTo>
                    <a:pt x="270" y="1452"/>
                  </a:lnTo>
                  <a:lnTo>
                    <a:pt x="258" y="1464"/>
                  </a:lnTo>
                  <a:lnTo>
                    <a:pt x="240" y="1458"/>
                  </a:lnTo>
                  <a:lnTo>
                    <a:pt x="234" y="1452"/>
                  </a:lnTo>
                  <a:lnTo>
                    <a:pt x="234" y="1446"/>
                  </a:lnTo>
                  <a:lnTo>
                    <a:pt x="228" y="1446"/>
                  </a:lnTo>
                  <a:lnTo>
                    <a:pt x="222" y="1440"/>
                  </a:lnTo>
                  <a:lnTo>
                    <a:pt x="216" y="1440"/>
                  </a:lnTo>
                  <a:lnTo>
                    <a:pt x="210" y="1428"/>
                  </a:lnTo>
                  <a:lnTo>
                    <a:pt x="210" y="1422"/>
                  </a:lnTo>
                  <a:lnTo>
                    <a:pt x="198" y="1416"/>
                  </a:lnTo>
                  <a:lnTo>
                    <a:pt x="204" y="1410"/>
                  </a:lnTo>
                  <a:lnTo>
                    <a:pt x="210" y="1404"/>
                  </a:lnTo>
                  <a:lnTo>
                    <a:pt x="210" y="1398"/>
                  </a:lnTo>
                  <a:lnTo>
                    <a:pt x="252" y="1368"/>
                  </a:lnTo>
                  <a:lnTo>
                    <a:pt x="276" y="1350"/>
                  </a:lnTo>
                  <a:lnTo>
                    <a:pt x="300" y="1338"/>
                  </a:lnTo>
                  <a:lnTo>
                    <a:pt x="294" y="1314"/>
                  </a:lnTo>
                  <a:lnTo>
                    <a:pt x="288" y="1308"/>
                  </a:lnTo>
                  <a:lnTo>
                    <a:pt x="300" y="1266"/>
                  </a:lnTo>
                  <a:lnTo>
                    <a:pt x="300" y="1242"/>
                  </a:lnTo>
                  <a:lnTo>
                    <a:pt x="300" y="1206"/>
                  </a:lnTo>
                  <a:lnTo>
                    <a:pt x="300" y="1164"/>
                  </a:lnTo>
                  <a:lnTo>
                    <a:pt x="294" y="1134"/>
                  </a:lnTo>
                  <a:lnTo>
                    <a:pt x="282" y="1086"/>
                  </a:lnTo>
                  <a:lnTo>
                    <a:pt x="276" y="1074"/>
                  </a:lnTo>
                  <a:lnTo>
                    <a:pt x="276" y="1056"/>
                  </a:lnTo>
                  <a:lnTo>
                    <a:pt x="270" y="1038"/>
                  </a:lnTo>
                  <a:lnTo>
                    <a:pt x="270" y="1020"/>
                  </a:lnTo>
                  <a:lnTo>
                    <a:pt x="282" y="1020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94" y="1002"/>
                  </a:lnTo>
                  <a:lnTo>
                    <a:pt x="306" y="996"/>
                  </a:lnTo>
                  <a:lnTo>
                    <a:pt x="312" y="990"/>
                  </a:lnTo>
                  <a:lnTo>
                    <a:pt x="318" y="990"/>
                  </a:lnTo>
                  <a:lnTo>
                    <a:pt x="324" y="984"/>
                  </a:lnTo>
                  <a:lnTo>
                    <a:pt x="324" y="978"/>
                  </a:lnTo>
                  <a:lnTo>
                    <a:pt x="324" y="972"/>
                  </a:lnTo>
                  <a:lnTo>
                    <a:pt x="324" y="954"/>
                  </a:lnTo>
                  <a:lnTo>
                    <a:pt x="336" y="948"/>
                  </a:lnTo>
                  <a:lnTo>
                    <a:pt x="342" y="936"/>
                  </a:lnTo>
                  <a:lnTo>
                    <a:pt x="348" y="924"/>
                  </a:lnTo>
                  <a:lnTo>
                    <a:pt x="354" y="924"/>
                  </a:lnTo>
                  <a:lnTo>
                    <a:pt x="372" y="924"/>
                  </a:lnTo>
                  <a:lnTo>
                    <a:pt x="372" y="930"/>
                  </a:lnTo>
                  <a:lnTo>
                    <a:pt x="378" y="930"/>
                  </a:lnTo>
                  <a:lnTo>
                    <a:pt x="378" y="936"/>
                  </a:lnTo>
                  <a:lnTo>
                    <a:pt x="384" y="936"/>
                  </a:lnTo>
                  <a:lnTo>
                    <a:pt x="384" y="942"/>
                  </a:lnTo>
                  <a:lnTo>
                    <a:pt x="402" y="942"/>
                  </a:lnTo>
                  <a:lnTo>
                    <a:pt x="402" y="996"/>
                  </a:lnTo>
                  <a:lnTo>
                    <a:pt x="414" y="996"/>
                  </a:lnTo>
                  <a:lnTo>
                    <a:pt x="420" y="996"/>
                  </a:lnTo>
                  <a:lnTo>
                    <a:pt x="426" y="996"/>
                  </a:lnTo>
                  <a:lnTo>
                    <a:pt x="432" y="996"/>
                  </a:lnTo>
                  <a:lnTo>
                    <a:pt x="438" y="996"/>
                  </a:lnTo>
                  <a:lnTo>
                    <a:pt x="438" y="942"/>
                  </a:lnTo>
                  <a:lnTo>
                    <a:pt x="444" y="930"/>
                  </a:lnTo>
                  <a:lnTo>
                    <a:pt x="444" y="924"/>
                  </a:lnTo>
                  <a:lnTo>
                    <a:pt x="444" y="918"/>
                  </a:lnTo>
                  <a:lnTo>
                    <a:pt x="462" y="918"/>
                  </a:lnTo>
                  <a:lnTo>
                    <a:pt x="474" y="906"/>
                  </a:lnTo>
                  <a:lnTo>
                    <a:pt x="480" y="900"/>
                  </a:lnTo>
                  <a:lnTo>
                    <a:pt x="486" y="888"/>
                  </a:lnTo>
                  <a:lnTo>
                    <a:pt x="492" y="876"/>
                  </a:lnTo>
                  <a:lnTo>
                    <a:pt x="492" y="858"/>
                  </a:lnTo>
                  <a:lnTo>
                    <a:pt x="480" y="858"/>
                  </a:lnTo>
                  <a:lnTo>
                    <a:pt x="474" y="840"/>
                  </a:lnTo>
                  <a:lnTo>
                    <a:pt x="450" y="834"/>
                  </a:lnTo>
                  <a:lnTo>
                    <a:pt x="438" y="816"/>
                  </a:lnTo>
                  <a:lnTo>
                    <a:pt x="432" y="792"/>
                  </a:lnTo>
                  <a:lnTo>
                    <a:pt x="432" y="786"/>
                  </a:lnTo>
                  <a:lnTo>
                    <a:pt x="432" y="774"/>
                  </a:lnTo>
                  <a:lnTo>
                    <a:pt x="432" y="762"/>
                  </a:lnTo>
                  <a:lnTo>
                    <a:pt x="438" y="750"/>
                  </a:lnTo>
                  <a:lnTo>
                    <a:pt x="438" y="738"/>
                  </a:lnTo>
                  <a:lnTo>
                    <a:pt x="444" y="732"/>
                  </a:lnTo>
                  <a:lnTo>
                    <a:pt x="450" y="732"/>
                  </a:lnTo>
                  <a:lnTo>
                    <a:pt x="456" y="732"/>
                  </a:lnTo>
                  <a:lnTo>
                    <a:pt x="456" y="726"/>
                  </a:lnTo>
                  <a:lnTo>
                    <a:pt x="456" y="714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44" y="684"/>
                  </a:lnTo>
                  <a:lnTo>
                    <a:pt x="438" y="666"/>
                  </a:lnTo>
                  <a:lnTo>
                    <a:pt x="426" y="666"/>
                  </a:lnTo>
                  <a:lnTo>
                    <a:pt x="432" y="666"/>
                  </a:lnTo>
                  <a:lnTo>
                    <a:pt x="420" y="666"/>
                  </a:lnTo>
                  <a:lnTo>
                    <a:pt x="414" y="660"/>
                  </a:lnTo>
                  <a:lnTo>
                    <a:pt x="396" y="654"/>
                  </a:lnTo>
                  <a:lnTo>
                    <a:pt x="384" y="642"/>
                  </a:lnTo>
                  <a:lnTo>
                    <a:pt x="366" y="624"/>
                  </a:lnTo>
                  <a:lnTo>
                    <a:pt x="354" y="606"/>
                  </a:lnTo>
                  <a:lnTo>
                    <a:pt x="342" y="588"/>
                  </a:lnTo>
                  <a:lnTo>
                    <a:pt x="342" y="582"/>
                  </a:lnTo>
                  <a:lnTo>
                    <a:pt x="360" y="564"/>
                  </a:lnTo>
                  <a:lnTo>
                    <a:pt x="372" y="540"/>
                  </a:lnTo>
                  <a:lnTo>
                    <a:pt x="366" y="528"/>
                  </a:lnTo>
                  <a:lnTo>
                    <a:pt x="366" y="522"/>
                  </a:lnTo>
                  <a:lnTo>
                    <a:pt x="372" y="516"/>
                  </a:lnTo>
                  <a:lnTo>
                    <a:pt x="384" y="504"/>
                  </a:lnTo>
                  <a:lnTo>
                    <a:pt x="378" y="492"/>
                  </a:lnTo>
                  <a:lnTo>
                    <a:pt x="378" y="486"/>
                  </a:lnTo>
                  <a:lnTo>
                    <a:pt x="378" y="480"/>
                  </a:lnTo>
                  <a:lnTo>
                    <a:pt x="378" y="474"/>
                  </a:lnTo>
                  <a:lnTo>
                    <a:pt x="378" y="468"/>
                  </a:lnTo>
                  <a:lnTo>
                    <a:pt x="366" y="468"/>
                  </a:lnTo>
                  <a:lnTo>
                    <a:pt x="360" y="474"/>
                  </a:lnTo>
                  <a:lnTo>
                    <a:pt x="354" y="480"/>
                  </a:lnTo>
                  <a:lnTo>
                    <a:pt x="348" y="486"/>
                  </a:lnTo>
                  <a:lnTo>
                    <a:pt x="348" y="492"/>
                  </a:lnTo>
                  <a:lnTo>
                    <a:pt x="336" y="510"/>
                  </a:lnTo>
                  <a:lnTo>
                    <a:pt x="300" y="516"/>
                  </a:lnTo>
                  <a:lnTo>
                    <a:pt x="300" y="510"/>
                  </a:lnTo>
                  <a:lnTo>
                    <a:pt x="282" y="504"/>
                  </a:lnTo>
                  <a:lnTo>
                    <a:pt x="282" y="498"/>
                  </a:lnTo>
                  <a:lnTo>
                    <a:pt x="264" y="486"/>
                  </a:lnTo>
                  <a:lnTo>
                    <a:pt x="258" y="492"/>
                  </a:lnTo>
                  <a:lnTo>
                    <a:pt x="234" y="492"/>
                  </a:lnTo>
                  <a:lnTo>
                    <a:pt x="222" y="486"/>
                  </a:lnTo>
                  <a:lnTo>
                    <a:pt x="204" y="480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92" y="462"/>
                  </a:lnTo>
                  <a:lnTo>
                    <a:pt x="186" y="462"/>
                  </a:lnTo>
                  <a:lnTo>
                    <a:pt x="180" y="468"/>
                  </a:lnTo>
                  <a:lnTo>
                    <a:pt x="150" y="450"/>
                  </a:lnTo>
                  <a:lnTo>
                    <a:pt x="144" y="438"/>
                  </a:lnTo>
                  <a:lnTo>
                    <a:pt x="138" y="438"/>
                  </a:lnTo>
                  <a:lnTo>
                    <a:pt x="132" y="432"/>
                  </a:lnTo>
                  <a:lnTo>
                    <a:pt x="126" y="432"/>
                  </a:lnTo>
                  <a:lnTo>
                    <a:pt x="120" y="432"/>
                  </a:lnTo>
                  <a:lnTo>
                    <a:pt x="102" y="426"/>
                  </a:lnTo>
                  <a:lnTo>
                    <a:pt x="96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2" y="414"/>
                  </a:lnTo>
                  <a:lnTo>
                    <a:pt x="60" y="414"/>
                  </a:lnTo>
                  <a:lnTo>
                    <a:pt x="30" y="414"/>
                  </a:lnTo>
                  <a:lnTo>
                    <a:pt x="24" y="414"/>
                  </a:lnTo>
                  <a:lnTo>
                    <a:pt x="12" y="414"/>
                  </a:lnTo>
                  <a:lnTo>
                    <a:pt x="0" y="420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0" y="336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30" y="270"/>
                  </a:lnTo>
                  <a:lnTo>
                    <a:pt x="42" y="270"/>
                  </a:lnTo>
                  <a:lnTo>
                    <a:pt x="54" y="264"/>
                  </a:lnTo>
                  <a:lnTo>
                    <a:pt x="78" y="240"/>
                  </a:lnTo>
                  <a:lnTo>
                    <a:pt x="102" y="216"/>
                  </a:lnTo>
                  <a:lnTo>
                    <a:pt x="114" y="210"/>
                  </a:lnTo>
                  <a:lnTo>
                    <a:pt x="120" y="204"/>
                  </a:lnTo>
                  <a:lnTo>
                    <a:pt x="126" y="198"/>
                  </a:lnTo>
                  <a:lnTo>
                    <a:pt x="138" y="18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38"/>
                  </a:lnTo>
                  <a:lnTo>
                    <a:pt x="210" y="126"/>
                  </a:lnTo>
                  <a:lnTo>
                    <a:pt x="216" y="120"/>
                  </a:lnTo>
                  <a:lnTo>
                    <a:pt x="222" y="120"/>
                  </a:lnTo>
                  <a:lnTo>
                    <a:pt x="258" y="114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300" y="102"/>
                  </a:lnTo>
                  <a:lnTo>
                    <a:pt x="312" y="102"/>
                  </a:lnTo>
                  <a:lnTo>
                    <a:pt x="318" y="102"/>
                  </a:lnTo>
                  <a:lnTo>
                    <a:pt x="348" y="96"/>
                  </a:lnTo>
                  <a:lnTo>
                    <a:pt x="366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408" y="84"/>
                  </a:lnTo>
                  <a:lnTo>
                    <a:pt x="420" y="84"/>
                  </a:lnTo>
                  <a:lnTo>
                    <a:pt x="462" y="72"/>
                  </a:lnTo>
                  <a:lnTo>
                    <a:pt x="474" y="72"/>
                  </a:lnTo>
                  <a:lnTo>
                    <a:pt x="474" y="78"/>
                  </a:lnTo>
                  <a:lnTo>
                    <a:pt x="492" y="90"/>
                  </a:lnTo>
                  <a:lnTo>
                    <a:pt x="498" y="90"/>
                  </a:lnTo>
                  <a:lnTo>
                    <a:pt x="522" y="96"/>
                  </a:lnTo>
                  <a:lnTo>
                    <a:pt x="540" y="96"/>
                  </a:lnTo>
                  <a:lnTo>
                    <a:pt x="546" y="96"/>
                  </a:lnTo>
                  <a:lnTo>
                    <a:pt x="558" y="96"/>
                  </a:lnTo>
                  <a:lnTo>
                    <a:pt x="564" y="96"/>
                  </a:lnTo>
                  <a:lnTo>
                    <a:pt x="576" y="96"/>
                  </a:lnTo>
                  <a:lnTo>
                    <a:pt x="588" y="96"/>
                  </a:lnTo>
                  <a:lnTo>
                    <a:pt x="612" y="90"/>
                  </a:lnTo>
                  <a:lnTo>
                    <a:pt x="624" y="90"/>
                  </a:lnTo>
                  <a:lnTo>
                    <a:pt x="636" y="90"/>
                  </a:lnTo>
                  <a:lnTo>
                    <a:pt x="642" y="90"/>
                  </a:lnTo>
                  <a:lnTo>
                    <a:pt x="648" y="96"/>
                  </a:lnTo>
                  <a:lnTo>
                    <a:pt x="660" y="96"/>
                  </a:lnTo>
                  <a:lnTo>
                    <a:pt x="666" y="96"/>
                  </a:lnTo>
                  <a:lnTo>
                    <a:pt x="672" y="96"/>
                  </a:lnTo>
                  <a:lnTo>
                    <a:pt x="684" y="96"/>
                  </a:lnTo>
                  <a:lnTo>
                    <a:pt x="708" y="96"/>
                  </a:lnTo>
                  <a:lnTo>
                    <a:pt x="714" y="96"/>
                  </a:lnTo>
                  <a:lnTo>
                    <a:pt x="726" y="96"/>
                  </a:lnTo>
                  <a:lnTo>
                    <a:pt x="738" y="84"/>
                  </a:lnTo>
                  <a:lnTo>
                    <a:pt x="744" y="78"/>
                  </a:lnTo>
                  <a:lnTo>
                    <a:pt x="756" y="66"/>
                  </a:lnTo>
                  <a:lnTo>
                    <a:pt x="774" y="42"/>
                  </a:lnTo>
                  <a:lnTo>
                    <a:pt x="780" y="30"/>
                  </a:lnTo>
                  <a:lnTo>
                    <a:pt x="816" y="24"/>
                  </a:lnTo>
                  <a:lnTo>
                    <a:pt x="840" y="18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64" y="6"/>
                  </a:lnTo>
                  <a:lnTo>
                    <a:pt x="870" y="6"/>
                  </a:lnTo>
                  <a:lnTo>
                    <a:pt x="894" y="0"/>
                  </a:lnTo>
                  <a:lnTo>
                    <a:pt x="900" y="6"/>
                  </a:lnTo>
                  <a:lnTo>
                    <a:pt x="930" y="18"/>
                  </a:lnTo>
                  <a:lnTo>
                    <a:pt x="942" y="24"/>
                  </a:lnTo>
                  <a:lnTo>
                    <a:pt x="954" y="30"/>
                  </a:lnTo>
                  <a:lnTo>
                    <a:pt x="1026" y="60"/>
                  </a:lnTo>
                  <a:lnTo>
                    <a:pt x="1032" y="60"/>
                  </a:lnTo>
                  <a:lnTo>
                    <a:pt x="1038" y="66"/>
                  </a:lnTo>
                  <a:lnTo>
                    <a:pt x="1068" y="72"/>
                  </a:lnTo>
                  <a:lnTo>
                    <a:pt x="1098" y="84"/>
                  </a:lnTo>
                  <a:lnTo>
                    <a:pt x="1122" y="90"/>
                  </a:lnTo>
                  <a:lnTo>
                    <a:pt x="1122" y="96"/>
                  </a:lnTo>
                  <a:lnTo>
                    <a:pt x="1140" y="102"/>
                  </a:lnTo>
                  <a:lnTo>
                    <a:pt x="1182" y="114"/>
                  </a:lnTo>
                  <a:lnTo>
                    <a:pt x="1188" y="114"/>
                  </a:lnTo>
                  <a:lnTo>
                    <a:pt x="1200" y="120"/>
                  </a:lnTo>
                  <a:lnTo>
                    <a:pt x="1212" y="126"/>
                  </a:lnTo>
                  <a:lnTo>
                    <a:pt x="1224" y="126"/>
                  </a:lnTo>
                  <a:lnTo>
                    <a:pt x="1248" y="138"/>
                  </a:lnTo>
                  <a:lnTo>
                    <a:pt x="1272" y="150"/>
                  </a:lnTo>
                  <a:lnTo>
                    <a:pt x="1284" y="156"/>
                  </a:lnTo>
                  <a:lnTo>
                    <a:pt x="1290" y="162"/>
                  </a:lnTo>
                  <a:lnTo>
                    <a:pt x="1296" y="162"/>
                  </a:lnTo>
                  <a:lnTo>
                    <a:pt x="1308" y="156"/>
                  </a:lnTo>
                  <a:lnTo>
                    <a:pt x="1320" y="150"/>
                  </a:lnTo>
                  <a:lnTo>
                    <a:pt x="1326" y="150"/>
                  </a:lnTo>
                  <a:lnTo>
                    <a:pt x="1338" y="144"/>
                  </a:lnTo>
                  <a:lnTo>
                    <a:pt x="1362" y="144"/>
                  </a:lnTo>
                  <a:lnTo>
                    <a:pt x="1368" y="144"/>
                  </a:lnTo>
                  <a:lnTo>
                    <a:pt x="1374" y="144"/>
                  </a:lnTo>
                  <a:lnTo>
                    <a:pt x="1386" y="150"/>
                  </a:lnTo>
                  <a:lnTo>
                    <a:pt x="1392" y="150"/>
                  </a:lnTo>
                  <a:lnTo>
                    <a:pt x="1398" y="150"/>
                  </a:lnTo>
                  <a:lnTo>
                    <a:pt x="1416" y="162"/>
                  </a:lnTo>
                  <a:lnTo>
                    <a:pt x="1458" y="186"/>
                  </a:lnTo>
                  <a:lnTo>
                    <a:pt x="1464" y="186"/>
                  </a:lnTo>
                  <a:lnTo>
                    <a:pt x="1470" y="192"/>
                  </a:lnTo>
                  <a:lnTo>
                    <a:pt x="1482" y="204"/>
                  </a:lnTo>
                  <a:lnTo>
                    <a:pt x="1512" y="234"/>
                  </a:lnTo>
                  <a:lnTo>
                    <a:pt x="1554" y="276"/>
                  </a:lnTo>
                  <a:lnTo>
                    <a:pt x="1560" y="276"/>
                  </a:lnTo>
                  <a:lnTo>
                    <a:pt x="1566" y="282"/>
                  </a:lnTo>
                  <a:lnTo>
                    <a:pt x="1578" y="294"/>
                  </a:lnTo>
                  <a:lnTo>
                    <a:pt x="1602" y="318"/>
                  </a:lnTo>
                  <a:lnTo>
                    <a:pt x="1614" y="330"/>
                  </a:lnTo>
                  <a:lnTo>
                    <a:pt x="1620" y="336"/>
                  </a:lnTo>
                  <a:lnTo>
                    <a:pt x="1626" y="342"/>
                  </a:lnTo>
                  <a:lnTo>
                    <a:pt x="1632" y="354"/>
                  </a:lnTo>
                  <a:lnTo>
                    <a:pt x="1644" y="366"/>
                  </a:lnTo>
                  <a:lnTo>
                    <a:pt x="1650" y="378"/>
                  </a:lnTo>
                  <a:lnTo>
                    <a:pt x="1650" y="384"/>
                  </a:lnTo>
                  <a:lnTo>
                    <a:pt x="1656" y="384"/>
                  </a:lnTo>
                  <a:lnTo>
                    <a:pt x="1662" y="402"/>
                  </a:lnTo>
                  <a:lnTo>
                    <a:pt x="1668" y="408"/>
                  </a:lnTo>
                  <a:lnTo>
                    <a:pt x="1674" y="426"/>
                  </a:lnTo>
                  <a:lnTo>
                    <a:pt x="1686" y="438"/>
                  </a:lnTo>
                  <a:lnTo>
                    <a:pt x="1698" y="462"/>
                  </a:lnTo>
                  <a:close/>
                </a:path>
              </a:pathLst>
            </a:custGeom>
            <a:solidFill>
              <a:srgbClr val="2A4F1D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9" name="Freeform 34">
              <a:extLst>
                <a:ext uri="{FF2B5EF4-FFF2-40B4-BE49-F238E27FC236}">
                  <a16:creationId xmlns:a16="http://schemas.microsoft.com/office/drawing/2014/main" id="{94603F24-8CF7-4226-A433-00D18CA7D9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1988" y="1681402"/>
              <a:ext cx="869877" cy="1060101"/>
            </a:xfrm>
            <a:custGeom>
              <a:avLst/>
              <a:gdLst>
                <a:gd name="T0" fmla="*/ 4 w 1638"/>
                <a:gd name="T1" fmla="*/ 111 h 1998"/>
                <a:gd name="T2" fmla="*/ 6 w 1638"/>
                <a:gd name="T3" fmla="*/ 87 h 1998"/>
                <a:gd name="T4" fmla="*/ 10 w 1638"/>
                <a:gd name="T5" fmla="*/ 80 h 1998"/>
                <a:gd name="T6" fmla="*/ 10 w 1638"/>
                <a:gd name="T7" fmla="*/ 71 h 1998"/>
                <a:gd name="T8" fmla="*/ 9 w 1638"/>
                <a:gd name="T9" fmla="*/ 56 h 1998"/>
                <a:gd name="T10" fmla="*/ 8 w 1638"/>
                <a:gd name="T11" fmla="*/ 40 h 1998"/>
                <a:gd name="T12" fmla="*/ 20 w 1638"/>
                <a:gd name="T13" fmla="*/ 30 h 1998"/>
                <a:gd name="T14" fmla="*/ 30 w 1638"/>
                <a:gd name="T15" fmla="*/ 19 h 1998"/>
                <a:gd name="T16" fmla="*/ 35 w 1638"/>
                <a:gd name="T17" fmla="*/ 2 h 1998"/>
                <a:gd name="T18" fmla="*/ 47 w 1638"/>
                <a:gd name="T19" fmla="*/ 2 h 1998"/>
                <a:gd name="T20" fmla="*/ 56 w 1638"/>
                <a:gd name="T21" fmla="*/ 7 h 1998"/>
                <a:gd name="T22" fmla="*/ 67 w 1638"/>
                <a:gd name="T23" fmla="*/ 5 h 1998"/>
                <a:gd name="T24" fmla="*/ 65 w 1638"/>
                <a:gd name="T25" fmla="*/ 15 h 1998"/>
                <a:gd name="T26" fmla="*/ 74 w 1638"/>
                <a:gd name="T27" fmla="*/ 24 h 1998"/>
                <a:gd name="T28" fmla="*/ 73 w 1638"/>
                <a:gd name="T29" fmla="*/ 33 h 1998"/>
                <a:gd name="T30" fmla="*/ 74 w 1638"/>
                <a:gd name="T31" fmla="*/ 44 h 1998"/>
                <a:gd name="T32" fmla="*/ 68 w 1638"/>
                <a:gd name="T33" fmla="*/ 45 h 1998"/>
                <a:gd name="T34" fmla="*/ 63 w 1638"/>
                <a:gd name="T35" fmla="*/ 50 h 1998"/>
                <a:gd name="T36" fmla="*/ 61 w 1638"/>
                <a:gd name="T37" fmla="*/ 62 h 1998"/>
                <a:gd name="T38" fmla="*/ 53 w 1638"/>
                <a:gd name="T39" fmla="*/ 86 h 1998"/>
                <a:gd name="T40" fmla="*/ 59 w 1638"/>
                <a:gd name="T41" fmla="*/ 90 h 1998"/>
                <a:gd name="T42" fmla="*/ 65 w 1638"/>
                <a:gd name="T43" fmla="*/ 86 h 1998"/>
                <a:gd name="T44" fmla="*/ 74 w 1638"/>
                <a:gd name="T45" fmla="*/ 84 h 1998"/>
                <a:gd name="T46" fmla="*/ 79 w 1638"/>
                <a:gd name="T47" fmla="*/ 85 h 1998"/>
                <a:gd name="T48" fmla="*/ 84 w 1638"/>
                <a:gd name="T49" fmla="*/ 84 h 1998"/>
                <a:gd name="T50" fmla="*/ 91 w 1638"/>
                <a:gd name="T51" fmla="*/ 84 h 1998"/>
                <a:gd name="T52" fmla="*/ 94 w 1638"/>
                <a:gd name="T53" fmla="*/ 81 h 1998"/>
                <a:gd name="T54" fmla="*/ 100 w 1638"/>
                <a:gd name="T55" fmla="*/ 81 h 1998"/>
                <a:gd name="T56" fmla="*/ 102 w 1638"/>
                <a:gd name="T57" fmla="*/ 84 h 1998"/>
                <a:gd name="T58" fmla="*/ 108 w 1638"/>
                <a:gd name="T59" fmla="*/ 85 h 1998"/>
                <a:gd name="T60" fmla="*/ 113 w 1638"/>
                <a:gd name="T61" fmla="*/ 88 h 1998"/>
                <a:gd name="T62" fmla="*/ 116 w 1638"/>
                <a:gd name="T63" fmla="*/ 88 h 1998"/>
                <a:gd name="T64" fmla="*/ 123 w 1638"/>
                <a:gd name="T65" fmla="*/ 87 h 1998"/>
                <a:gd name="T66" fmla="*/ 128 w 1638"/>
                <a:gd name="T67" fmla="*/ 86 h 1998"/>
                <a:gd name="T68" fmla="*/ 132 w 1638"/>
                <a:gd name="T69" fmla="*/ 90 h 1998"/>
                <a:gd name="T70" fmla="*/ 138 w 1638"/>
                <a:gd name="T71" fmla="*/ 96 h 1998"/>
                <a:gd name="T72" fmla="*/ 138 w 1638"/>
                <a:gd name="T73" fmla="*/ 110 h 1998"/>
                <a:gd name="T74" fmla="*/ 137 w 1638"/>
                <a:gd name="T75" fmla="*/ 118 h 1998"/>
                <a:gd name="T76" fmla="*/ 133 w 1638"/>
                <a:gd name="T77" fmla="*/ 124 h 1998"/>
                <a:gd name="T78" fmla="*/ 122 w 1638"/>
                <a:gd name="T79" fmla="*/ 125 h 1998"/>
                <a:gd name="T80" fmla="*/ 116 w 1638"/>
                <a:gd name="T81" fmla="*/ 127 h 1998"/>
                <a:gd name="T82" fmla="*/ 108 w 1638"/>
                <a:gd name="T83" fmla="*/ 123 h 1998"/>
                <a:gd name="T84" fmla="*/ 109 w 1638"/>
                <a:gd name="T85" fmla="*/ 119 h 1998"/>
                <a:gd name="T86" fmla="*/ 104 w 1638"/>
                <a:gd name="T87" fmla="*/ 104 h 1998"/>
                <a:gd name="T88" fmla="*/ 94 w 1638"/>
                <a:gd name="T89" fmla="*/ 105 h 1998"/>
                <a:gd name="T90" fmla="*/ 88 w 1638"/>
                <a:gd name="T91" fmla="*/ 109 h 1998"/>
                <a:gd name="T92" fmla="*/ 76 w 1638"/>
                <a:gd name="T93" fmla="*/ 107 h 1998"/>
                <a:gd name="T94" fmla="*/ 72 w 1638"/>
                <a:gd name="T95" fmla="*/ 114 h 1998"/>
                <a:gd name="T96" fmla="*/ 86 w 1638"/>
                <a:gd name="T97" fmla="*/ 121 h 1998"/>
                <a:gd name="T98" fmla="*/ 87 w 1638"/>
                <a:gd name="T99" fmla="*/ 129 h 1998"/>
                <a:gd name="T100" fmla="*/ 86 w 1638"/>
                <a:gd name="T101" fmla="*/ 137 h 1998"/>
                <a:gd name="T102" fmla="*/ 79 w 1638"/>
                <a:gd name="T103" fmla="*/ 141 h 1998"/>
                <a:gd name="T104" fmla="*/ 73 w 1638"/>
                <a:gd name="T105" fmla="*/ 144 h 1998"/>
                <a:gd name="T106" fmla="*/ 72 w 1638"/>
                <a:gd name="T107" fmla="*/ 164 h 1998"/>
                <a:gd name="T108" fmla="*/ 68 w 1638"/>
                <a:gd name="T109" fmla="*/ 172 h 1998"/>
                <a:gd name="T110" fmla="*/ 59 w 1638"/>
                <a:gd name="T111" fmla="*/ 164 h 1998"/>
                <a:gd name="T112" fmla="*/ 65 w 1638"/>
                <a:gd name="T113" fmla="*/ 146 h 1998"/>
                <a:gd name="T114" fmla="*/ 69 w 1638"/>
                <a:gd name="T115" fmla="*/ 133 h 1998"/>
                <a:gd name="T116" fmla="*/ 61 w 1638"/>
                <a:gd name="T117" fmla="*/ 131 h 1998"/>
                <a:gd name="T118" fmla="*/ 43 w 1638"/>
                <a:gd name="T119" fmla="*/ 125 h 1998"/>
                <a:gd name="T120" fmla="*/ 23 w 1638"/>
                <a:gd name="T121" fmla="*/ 125 h 1998"/>
                <a:gd name="T122" fmla="*/ 17 w 1638"/>
                <a:gd name="T123" fmla="*/ 121 h 19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638"/>
                <a:gd name="T187" fmla="*/ 0 h 1998"/>
                <a:gd name="T188" fmla="*/ 1638 w 1638"/>
                <a:gd name="T189" fmla="*/ 1998 h 19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638" h="1998">
                  <a:moveTo>
                    <a:pt x="144" y="1380"/>
                  </a:moveTo>
                  <a:lnTo>
                    <a:pt x="150" y="1368"/>
                  </a:lnTo>
                  <a:lnTo>
                    <a:pt x="150" y="1362"/>
                  </a:lnTo>
                  <a:lnTo>
                    <a:pt x="150" y="1356"/>
                  </a:lnTo>
                  <a:lnTo>
                    <a:pt x="144" y="1356"/>
                  </a:lnTo>
                  <a:lnTo>
                    <a:pt x="138" y="1356"/>
                  </a:lnTo>
                  <a:lnTo>
                    <a:pt x="126" y="1356"/>
                  </a:lnTo>
                  <a:lnTo>
                    <a:pt x="114" y="1344"/>
                  </a:lnTo>
                  <a:lnTo>
                    <a:pt x="84" y="1320"/>
                  </a:lnTo>
                  <a:lnTo>
                    <a:pt x="54" y="1296"/>
                  </a:lnTo>
                  <a:lnTo>
                    <a:pt x="48" y="1290"/>
                  </a:lnTo>
                  <a:lnTo>
                    <a:pt x="42" y="1278"/>
                  </a:lnTo>
                  <a:lnTo>
                    <a:pt x="30" y="1272"/>
                  </a:lnTo>
                  <a:lnTo>
                    <a:pt x="0" y="1248"/>
                  </a:lnTo>
                  <a:lnTo>
                    <a:pt x="6" y="1230"/>
                  </a:lnTo>
                  <a:lnTo>
                    <a:pt x="12" y="1194"/>
                  </a:lnTo>
                  <a:lnTo>
                    <a:pt x="18" y="1170"/>
                  </a:lnTo>
                  <a:lnTo>
                    <a:pt x="30" y="1134"/>
                  </a:lnTo>
                  <a:lnTo>
                    <a:pt x="36" y="1086"/>
                  </a:lnTo>
                  <a:lnTo>
                    <a:pt x="42" y="1050"/>
                  </a:lnTo>
                  <a:lnTo>
                    <a:pt x="48" y="1044"/>
                  </a:lnTo>
                  <a:lnTo>
                    <a:pt x="54" y="1026"/>
                  </a:lnTo>
                  <a:lnTo>
                    <a:pt x="60" y="1014"/>
                  </a:lnTo>
                  <a:lnTo>
                    <a:pt x="66" y="1002"/>
                  </a:lnTo>
                  <a:lnTo>
                    <a:pt x="66" y="996"/>
                  </a:lnTo>
                  <a:lnTo>
                    <a:pt x="72" y="996"/>
                  </a:lnTo>
                  <a:lnTo>
                    <a:pt x="72" y="990"/>
                  </a:lnTo>
                  <a:lnTo>
                    <a:pt x="78" y="990"/>
                  </a:lnTo>
                  <a:lnTo>
                    <a:pt x="90" y="978"/>
                  </a:lnTo>
                  <a:lnTo>
                    <a:pt x="96" y="966"/>
                  </a:lnTo>
                  <a:lnTo>
                    <a:pt x="102" y="966"/>
                  </a:lnTo>
                  <a:lnTo>
                    <a:pt x="114" y="954"/>
                  </a:lnTo>
                  <a:lnTo>
                    <a:pt x="120" y="954"/>
                  </a:lnTo>
                  <a:lnTo>
                    <a:pt x="120" y="948"/>
                  </a:lnTo>
                  <a:lnTo>
                    <a:pt x="114" y="930"/>
                  </a:lnTo>
                  <a:lnTo>
                    <a:pt x="114" y="924"/>
                  </a:lnTo>
                  <a:lnTo>
                    <a:pt x="108" y="918"/>
                  </a:lnTo>
                  <a:lnTo>
                    <a:pt x="102" y="912"/>
                  </a:lnTo>
                  <a:lnTo>
                    <a:pt x="90" y="906"/>
                  </a:lnTo>
                  <a:lnTo>
                    <a:pt x="84" y="900"/>
                  </a:lnTo>
                  <a:lnTo>
                    <a:pt x="84" y="888"/>
                  </a:lnTo>
                  <a:lnTo>
                    <a:pt x="84" y="882"/>
                  </a:lnTo>
                  <a:lnTo>
                    <a:pt x="78" y="858"/>
                  </a:lnTo>
                  <a:lnTo>
                    <a:pt x="78" y="852"/>
                  </a:lnTo>
                  <a:lnTo>
                    <a:pt x="84" y="846"/>
                  </a:lnTo>
                  <a:lnTo>
                    <a:pt x="84" y="840"/>
                  </a:lnTo>
                  <a:lnTo>
                    <a:pt x="96" y="828"/>
                  </a:lnTo>
                  <a:lnTo>
                    <a:pt x="114" y="816"/>
                  </a:lnTo>
                  <a:lnTo>
                    <a:pt x="114" y="810"/>
                  </a:lnTo>
                  <a:lnTo>
                    <a:pt x="114" y="804"/>
                  </a:lnTo>
                  <a:lnTo>
                    <a:pt x="108" y="780"/>
                  </a:lnTo>
                  <a:lnTo>
                    <a:pt x="96" y="756"/>
                  </a:lnTo>
                  <a:lnTo>
                    <a:pt x="96" y="750"/>
                  </a:lnTo>
                  <a:lnTo>
                    <a:pt x="90" y="720"/>
                  </a:lnTo>
                  <a:lnTo>
                    <a:pt x="90" y="708"/>
                  </a:lnTo>
                  <a:lnTo>
                    <a:pt x="90" y="690"/>
                  </a:lnTo>
                  <a:lnTo>
                    <a:pt x="96" y="672"/>
                  </a:lnTo>
                  <a:lnTo>
                    <a:pt x="90" y="666"/>
                  </a:lnTo>
                  <a:lnTo>
                    <a:pt x="96" y="666"/>
                  </a:lnTo>
                  <a:lnTo>
                    <a:pt x="102" y="642"/>
                  </a:lnTo>
                  <a:lnTo>
                    <a:pt x="108" y="624"/>
                  </a:lnTo>
                  <a:lnTo>
                    <a:pt x="102" y="618"/>
                  </a:lnTo>
                  <a:lnTo>
                    <a:pt x="102" y="588"/>
                  </a:lnTo>
                  <a:lnTo>
                    <a:pt x="102" y="564"/>
                  </a:lnTo>
                  <a:lnTo>
                    <a:pt x="102" y="546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0"/>
                  </a:lnTo>
                  <a:lnTo>
                    <a:pt x="96" y="498"/>
                  </a:lnTo>
                  <a:lnTo>
                    <a:pt x="96" y="486"/>
                  </a:lnTo>
                  <a:lnTo>
                    <a:pt x="96" y="474"/>
                  </a:lnTo>
                  <a:lnTo>
                    <a:pt x="96" y="462"/>
                  </a:lnTo>
                  <a:lnTo>
                    <a:pt x="114" y="450"/>
                  </a:lnTo>
                  <a:lnTo>
                    <a:pt x="126" y="438"/>
                  </a:lnTo>
                  <a:lnTo>
                    <a:pt x="132" y="432"/>
                  </a:lnTo>
                  <a:lnTo>
                    <a:pt x="144" y="426"/>
                  </a:lnTo>
                  <a:lnTo>
                    <a:pt x="144" y="420"/>
                  </a:lnTo>
                  <a:lnTo>
                    <a:pt x="156" y="414"/>
                  </a:lnTo>
                  <a:lnTo>
                    <a:pt x="162" y="408"/>
                  </a:lnTo>
                  <a:lnTo>
                    <a:pt x="180" y="396"/>
                  </a:lnTo>
                  <a:lnTo>
                    <a:pt x="210" y="372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34" y="348"/>
                  </a:lnTo>
                  <a:lnTo>
                    <a:pt x="240" y="348"/>
                  </a:lnTo>
                  <a:lnTo>
                    <a:pt x="246" y="342"/>
                  </a:lnTo>
                  <a:lnTo>
                    <a:pt x="276" y="318"/>
                  </a:lnTo>
                  <a:lnTo>
                    <a:pt x="282" y="312"/>
                  </a:lnTo>
                  <a:lnTo>
                    <a:pt x="288" y="306"/>
                  </a:lnTo>
                  <a:lnTo>
                    <a:pt x="300" y="288"/>
                  </a:lnTo>
                  <a:lnTo>
                    <a:pt x="306" y="276"/>
                  </a:lnTo>
                  <a:lnTo>
                    <a:pt x="324" y="246"/>
                  </a:lnTo>
                  <a:lnTo>
                    <a:pt x="330" y="240"/>
                  </a:lnTo>
                  <a:lnTo>
                    <a:pt x="336" y="234"/>
                  </a:lnTo>
                  <a:lnTo>
                    <a:pt x="342" y="228"/>
                  </a:lnTo>
                  <a:lnTo>
                    <a:pt x="342" y="216"/>
                  </a:lnTo>
                  <a:lnTo>
                    <a:pt x="354" y="204"/>
                  </a:lnTo>
                  <a:lnTo>
                    <a:pt x="360" y="204"/>
                  </a:lnTo>
                  <a:lnTo>
                    <a:pt x="366" y="186"/>
                  </a:lnTo>
                  <a:lnTo>
                    <a:pt x="384" y="162"/>
                  </a:lnTo>
                  <a:lnTo>
                    <a:pt x="390" y="144"/>
                  </a:lnTo>
                  <a:lnTo>
                    <a:pt x="396" y="114"/>
                  </a:lnTo>
                  <a:lnTo>
                    <a:pt x="396" y="102"/>
                  </a:lnTo>
                  <a:lnTo>
                    <a:pt x="402" y="90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08" y="36"/>
                  </a:lnTo>
                  <a:lnTo>
                    <a:pt x="408" y="24"/>
                  </a:lnTo>
                  <a:lnTo>
                    <a:pt x="408" y="6"/>
                  </a:lnTo>
                  <a:lnTo>
                    <a:pt x="420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68" y="0"/>
                  </a:lnTo>
                  <a:lnTo>
                    <a:pt x="480" y="0"/>
                  </a:lnTo>
                  <a:lnTo>
                    <a:pt x="492" y="0"/>
                  </a:lnTo>
                  <a:lnTo>
                    <a:pt x="498" y="0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8" y="18"/>
                  </a:lnTo>
                  <a:lnTo>
                    <a:pt x="534" y="18"/>
                  </a:lnTo>
                  <a:lnTo>
                    <a:pt x="540" y="18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8" y="36"/>
                  </a:lnTo>
                  <a:lnTo>
                    <a:pt x="588" y="54"/>
                  </a:lnTo>
                  <a:lnTo>
                    <a:pt x="594" y="48"/>
                  </a:lnTo>
                  <a:lnTo>
                    <a:pt x="600" y="48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12" y="66"/>
                  </a:lnTo>
                  <a:lnTo>
                    <a:pt x="630" y="72"/>
                  </a:lnTo>
                  <a:lnTo>
                    <a:pt x="642" y="78"/>
                  </a:lnTo>
                  <a:lnTo>
                    <a:pt x="666" y="78"/>
                  </a:lnTo>
                  <a:lnTo>
                    <a:pt x="672" y="72"/>
                  </a:lnTo>
                  <a:lnTo>
                    <a:pt x="690" y="84"/>
                  </a:lnTo>
                  <a:lnTo>
                    <a:pt x="690" y="90"/>
                  </a:lnTo>
                  <a:lnTo>
                    <a:pt x="708" y="96"/>
                  </a:lnTo>
                  <a:lnTo>
                    <a:pt x="708" y="102"/>
                  </a:lnTo>
                  <a:lnTo>
                    <a:pt x="744" y="96"/>
                  </a:lnTo>
                  <a:lnTo>
                    <a:pt x="756" y="78"/>
                  </a:lnTo>
                  <a:lnTo>
                    <a:pt x="756" y="72"/>
                  </a:lnTo>
                  <a:lnTo>
                    <a:pt x="762" y="66"/>
                  </a:lnTo>
                  <a:lnTo>
                    <a:pt x="768" y="60"/>
                  </a:lnTo>
                  <a:lnTo>
                    <a:pt x="774" y="54"/>
                  </a:lnTo>
                  <a:lnTo>
                    <a:pt x="786" y="54"/>
                  </a:lnTo>
                  <a:lnTo>
                    <a:pt x="786" y="60"/>
                  </a:lnTo>
                  <a:lnTo>
                    <a:pt x="786" y="66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92" y="90"/>
                  </a:lnTo>
                  <a:lnTo>
                    <a:pt x="780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26"/>
                  </a:lnTo>
                  <a:lnTo>
                    <a:pt x="768" y="150"/>
                  </a:lnTo>
                  <a:lnTo>
                    <a:pt x="750" y="168"/>
                  </a:lnTo>
                  <a:lnTo>
                    <a:pt x="750" y="174"/>
                  </a:lnTo>
                  <a:lnTo>
                    <a:pt x="762" y="192"/>
                  </a:lnTo>
                  <a:lnTo>
                    <a:pt x="774" y="210"/>
                  </a:lnTo>
                  <a:lnTo>
                    <a:pt x="792" y="228"/>
                  </a:lnTo>
                  <a:lnTo>
                    <a:pt x="804" y="240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40" y="252"/>
                  </a:lnTo>
                  <a:lnTo>
                    <a:pt x="834" y="252"/>
                  </a:lnTo>
                  <a:lnTo>
                    <a:pt x="846" y="252"/>
                  </a:lnTo>
                  <a:lnTo>
                    <a:pt x="852" y="270"/>
                  </a:lnTo>
                  <a:lnTo>
                    <a:pt x="858" y="282"/>
                  </a:lnTo>
                  <a:lnTo>
                    <a:pt x="858" y="288"/>
                  </a:lnTo>
                  <a:lnTo>
                    <a:pt x="864" y="300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58" y="318"/>
                  </a:lnTo>
                  <a:lnTo>
                    <a:pt x="852" y="318"/>
                  </a:lnTo>
                  <a:lnTo>
                    <a:pt x="846" y="324"/>
                  </a:lnTo>
                  <a:lnTo>
                    <a:pt x="846" y="336"/>
                  </a:lnTo>
                  <a:lnTo>
                    <a:pt x="840" y="348"/>
                  </a:lnTo>
                  <a:lnTo>
                    <a:pt x="840" y="360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46" y="402"/>
                  </a:lnTo>
                  <a:lnTo>
                    <a:pt x="858" y="420"/>
                  </a:lnTo>
                  <a:lnTo>
                    <a:pt x="882" y="426"/>
                  </a:lnTo>
                  <a:lnTo>
                    <a:pt x="888" y="444"/>
                  </a:lnTo>
                  <a:lnTo>
                    <a:pt x="900" y="444"/>
                  </a:lnTo>
                  <a:lnTo>
                    <a:pt x="900" y="462"/>
                  </a:lnTo>
                  <a:lnTo>
                    <a:pt x="894" y="474"/>
                  </a:lnTo>
                  <a:lnTo>
                    <a:pt x="888" y="486"/>
                  </a:lnTo>
                  <a:lnTo>
                    <a:pt x="882" y="492"/>
                  </a:lnTo>
                  <a:lnTo>
                    <a:pt x="870" y="504"/>
                  </a:lnTo>
                  <a:lnTo>
                    <a:pt x="852" y="504"/>
                  </a:lnTo>
                  <a:lnTo>
                    <a:pt x="852" y="510"/>
                  </a:lnTo>
                  <a:lnTo>
                    <a:pt x="852" y="516"/>
                  </a:lnTo>
                  <a:lnTo>
                    <a:pt x="846" y="528"/>
                  </a:lnTo>
                  <a:lnTo>
                    <a:pt x="846" y="582"/>
                  </a:lnTo>
                  <a:lnTo>
                    <a:pt x="840" y="582"/>
                  </a:lnTo>
                  <a:lnTo>
                    <a:pt x="834" y="582"/>
                  </a:lnTo>
                  <a:lnTo>
                    <a:pt x="828" y="582"/>
                  </a:lnTo>
                  <a:lnTo>
                    <a:pt x="822" y="582"/>
                  </a:lnTo>
                  <a:lnTo>
                    <a:pt x="810" y="582"/>
                  </a:lnTo>
                  <a:lnTo>
                    <a:pt x="810" y="528"/>
                  </a:lnTo>
                  <a:lnTo>
                    <a:pt x="792" y="528"/>
                  </a:lnTo>
                  <a:lnTo>
                    <a:pt x="792" y="522"/>
                  </a:lnTo>
                  <a:lnTo>
                    <a:pt x="786" y="522"/>
                  </a:lnTo>
                  <a:lnTo>
                    <a:pt x="786" y="516"/>
                  </a:lnTo>
                  <a:lnTo>
                    <a:pt x="780" y="516"/>
                  </a:lnTo>
                  <a:lnTo>
                    <a:pt x="780" y="510"/>
                  </a:lnTo>
                  <a:lnTo>
                    <a:pt x="762" y="510"/>
                  </a:lnTo>
                  <a:lnTo>
                    <a:pt x="756" y="510"/>
                  </a:lnTo>
                  <a:lnTo>
                    <a:pt x="750" y="522"/>
                  </a:lnTo>
                  <a:lnTo>
                    <a:pt x="744" y="534"/>
                  </a:lnTo>
                  <a:lnTo>
                    <a:pt x="732" y="540"/>
                  </a:lnTo>
                  <a:lnTo>
                    <a:pt x="732" y="558"/>
                  </a:lnTo>
                  <a:lnTo>
                    <a:pt x="732" y="564"/>
                  </a:lnTo>
                  <a:lnTo>
                    <a:pt x="732" y="570"/>
                  </a:lnTo>
                  <a:lnTo>
                    <a:pt x="726" y="576"/>
                  </a:lnTo>
                  <a:lnTo>
                    <a:pt x="720" y="576"/>
                  </a:lnTo>
                  <a:lnTo>
                    <a:pt x="714" y="582"/>
                  </a:lnTo>
                  <a:lnTo>
                    <a:pt x="702" y="588"/>
                  </a:lnTo>
                  <a:lnTo>
                    <a:pt x="696" y="594"/>
                  </a:lnTo>
                  <a:lnTo>
                    <a:pt x="690" y="600"/>
                  </a:lnTo>
                  <a:lnTo>
                    <a:pt x="690" y="606"/>
                  </a:lnTo>
                  <a:lnTo>
                    <a:pt x="678" y="606"/>
                  </a:lnTo>
                  <a:lnTo>
                    <a:pt x="678" y="624"/>
                  </a:lnTo>
                  <a:lnTo>
                    <a:pt x="684" y="642"/>
                  </a:lnTo>
                  <a:lnTo>
                    <a:pt x="684" y="660"/>
                  </a:lnTo>
                  <a:lnTo>
                    <a:pt x="690" y="672"/>
                  </a:lnTo>
                  <a:lnTo>
                    <a:pt x="702" y="720"/>
                  </a:lnTo>
                  <a:lnTo>
                    <a:pt x="708" y="750"/>
                  </a:lnTo>
                  <a:lnTo>
                    <a:pt x="708" y="792"/>
                  </a:lnTo>
                  <a:lnTo>
                    <a:pt x="708" y="828"/>
                  </a:lnTo>
                  <a:lnTo>
                    <a:pt x="708" y="852"/>
                  </a:lnTo>
                  <a:lnTo>
                    <a:pt x="696" y="894"/>
                  </a:lnTo>
                  <a:lnTo>
                    <a:pt x="702" y="900"/>
                  </a:lnTo>
                  <a:lnTo>
                    <a:pt x="708" y="924"/>
                  </a:lnTo>
                  <a:lnTo>
                    <a:pt x="684" y="936"/>
                  </a:lnTo>
                  <a:lnTo>
                    <a:pt x="660" y="954"/>
                  </a:lnTo>
                  <a:lnTo>
                    <a:pt x="618" y="984"/>
                  </a:lnTo>
                  <a:lnTo>
                    <a:pt x="618" y="990"/>
                  </a:lnTo>
                  <a:lnTo>
                    <a:pt x="612" y="996"/>
                  </a:lnTo>
                  <a:lnTo>
                    <a:pt x="606" y="1002"/>
                  </a:lnTo>
                  <a:lnTo>
                    <a:pt x="618" y="1008"/>
                  </a:lnTo>
                  <a:lnTo>
                    <a:pt x="618" y="1014"/>
                  </a:lnTo>
                  <a:lnTo>
                    <a:pt x="624" y="1026"/>
                  </a:lnTo>
                  <a:lnTo>
                    <a:pt x="630" y="1026"/>
                  </a:lnTo>
                  <a:lnTo>
                    <a:pt x="636" y="1032"/>
                  </a:lnTo>
                  <a:lnTo>
                    <a:pt x="642" y="1032"/>
                  </a:lnTo>
                  <a:lnTo>
                    <a:pt x="642" y="1038"/>
                  </a:lnTo>
                  <a:lnTo>
                    <a:pt x="648" y="1044"/>
                  </a:lnTo>
                  <a:lnTo>
                    <a:pt x="666" y="1050"/>
                  </a:lnTo>
                  <a:lnTo>
                    <a:pt x="678" y="1038"/>
                  </a:lnTo>
                  <a:lnTo>
                    <a:pt x="684" y="1038"/>
                  </a:lnTo>
                  <a:lnTo>
                    <a:pt x="684" y="1032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20"/>
                  </a:lnTo>
                  <a:lnTo>
                    <a:pt x="708" y="1014"/>
                  </a:lnTo>
                  <a:lnTo>
                    <a:pt x="720" y="1020"/>
                  </a:lnTo>
                  <a:lnTo>
                    <a:pt x="720" y="1014"/>
                  </a:lnTo>
                  <a:lnTo>
                    <a:pt x="726" y="1008"/>
                  </a:lnTo>
                  <a:lnTo>
                    <a:pt x="732" y="1008"/>
                  </a:lnTo>
                  <a:lnTo>
                    <a:pt x="738" y="1008"/>
                  </a:lnTo>
                  <a:lnTo>
                    <a:pt x="744" y="1002"/>
                  </a:lnTo>
                  <a:lnTo>
                    <a:pt x="744" y="996"/>
                  </a:lnTo>
                  <a:lnTo>
                    <a:pt x="750" y="996"/>
                  </a:lnTo>
                  <a:lnTo>
                    <a:pt x="756" y="1002"/>
                  </a:lnTo>
                  <a:lnTo>
                    <a:pt x="762" y="1002"/>
                  </a:lnTo>
                  <a:lnTo>
                    <a:pt x="768" y="996"/>
                  </a:lnTo>
                  <a:lnTo>
                    <a:pt x="780" y="996"/>
                  </a:lnTo>
                  <a:lnTo>
                    <a:pt x="786" y="996"/>
                  </a:lnTo>
                  <a:lnTo>
                    <a:pt x="816" y="990"/>
                  </a:lnTo>
                  <a:lnTo>
                    <a:pt x="828" y="990"/>
                  </a:lnTo>
                  <a:lnTo>
                    <a:pt x="834" y="990"/>
                  </a:lnTo>
                  <a:lnTo>
                    <a:pt x="840" y="984"/>
                  </a:lnTo>
                  <a:lnTo>
                    <a:pt x="852" y="978"/>
                  </a:lnTo>
                  <a:lnTo>
                    <a:pt x="852" y="972"/>
                  </a:lnTo>
                  <a:lnTo>
                    <a:pt x="858" y="972"/>
                  </a:lnTo>
                  <a:lnTo>
                    <a:pt x="864" y="966"/>
                  </a:lnTo>
                  <a:lnTo>
                    <a:pt x="870" y="966"/>
                  </a:lnTo>
                  <a:lnTo>
                    <a:pt x="876" y="966"/>
                  </a:lnTo>
                  <a:lnTo>
                    <a:pt x="882" y="960"/>
                  </a:lnTo>
                  <a:lnTo>
                    <a:pt x="888" y="960"/>
                  </a:lnTo>
                  <a:lnTo>
                    <a:pt x="894" y="960"/>
                  </a:lnTo>
                  <a:lnTo>
                    <a:pt x="894" y="966"/>
                  </a:lnTo>
                  <a:lnTo>
                    <a:pt x="894" y="978"/>
                  </a:lnTo>
                  <a:lnTo>
                    <a:pt x="894" y="984"/>
                  </a:lnTo>
                  <a:lnTo>
                    <a:pt x="900" y="984"/>
                  </a:lnTo>
                  <a:lnTo>
                    <a:pt x="906" y="978"/>
                  </a:lnTo>
                  <a:lnTo>
                    <a:pt x="912" y="972"/>
                  </a:lnTo>
                  <a:lnTo>
                    <a:pt x="918" y="978"/>
                  </a:lnTo>
                  <a:lnTo>
                    <a:pt x="924" y="978"/>
                  </a:lnTo>
                  <a:lnTo>
                    <a:pt x="924" y="972"/>
                  </a:lnTo>
                  <a:lnTo>
                    <a:pt x="924" y="966"/>
                  </a:lnTo>
                  <a:lnTo>
                    <a:pt x="930" y="966"/>
                  </a:lnTo>
                  <a:lnTo>
                    <a:pt x="948" y="966"/>
                  </a:lnTo>
                  <a:lnTo>
                    <a:pt x="954" y="966"/>
                  </a:lnTo>
                  <a:lnTo>
                    <a:pt x="954" y="960"/>
                  </a:lnTo>
                  <a:lnTo>
                    <a:pt x="960" y="960"/>
                  </a:lnTo>
                  <a:lnTo>
                    <a:pt x="966" y="960"/>
                  </a:lnTo>
                  <a:lnTo>
                    <a:pt x="966" y="966"/>
                  </a:lnTo>
                  <a:lnTo>
                    <a:pt x="978" y="972"/>
                  </a:lnTo>
                  <a:lnTo>
                    <a:pt x="978" y="978"/>
                  </a:lnTo>
                  <a:lnTo>
                    <a:pt x="978" y="984"/>
                  </a:lnTo>
                  <a:lnTo>
                    <a:pt x="984" y="978"/>
                  </a:lnTo>
                  <a:lnTo>
                    <a:pt x="990" y="978"/>
                  </a:lnTo>
                  <a:lnTo>
                    <a:pt x="996" y="984"/>
                  </a:lnTo>
                  <a:lnTo>
                    <a:pt x="1002" y="990"/>
                  </a:lnTo>
                  <a:lnTo>
                    <a:pt x="1008" y="972"/>
                  </a:lnTo>
                  <a:lnTo>
                    <a:pt x="1026" y="972"/>
                  </a:lnTo>
                  <a:lnTo>
                    <a:pt x="1032" y="972"/>
                  </a:lnTo>
                  <a:lnTo>
                    <a:pt x="1038" y="972"/>
                  </a:lnTo>
                  <a:lnTo>
                    <a:pt x="1050" y="972"/>
                  </a:lnTo>
                  <a:lnTo>
                    <a:pt x="1056" y="972"/>
                  </a:lnTo>
                  <a:lnTo>
                    <a:pt x="1062" y="966"/>
                  </a:lnTo>
                  <a:lnTo>
                    <a:pt x="1074" y="966"/>
                  </a:lnTo>
                  <a:lnTo>
                    <a:pt x="1074" y="960"/>
                  </a:lnTo>
                  <a:lnTo>
                    <a:pt x="1080" y="954"/>
                  </a:lnTo>
                  <a:lnTo>
                    <a:pt x="1080" y="948"/>
                  </a:lnTo>
                  <a:lnTo>
                    <a:pt x="1074" y="948"/>
                  </a:lnTo>
                  <a:lnTo>
                    <a:pt x="1068" y="948"/>
                  </a:lnTo>
                  <a:lnTo>
                    <a:pt x="1062" y="942"/>
                  </a:lnTo>
                  <a:lnTo>
                    <a:pt x="1068" y="936"/>
                  </a:lnTo>
                  <a:lnTo>
                    <a:pt x="1074" y="936"/>
                  </a:lnTo>
                  <a:lnTo>
                    <a:pt x="1080" y="936"/>
                  </a:lnTo>
                  <a:lnTo>
                    <a:pt x="1086" y="942"/>
                  </a:lnTo>
                  <a:lnTo>
                    <a:pt x="1092" y="942"/>
                  </a:lnTo>
                  <a:lnTo>
                    <a:pt x="1098" y="948"/>
                  </a:lnTo>
                  <a:lnTo>
                    <a:pt x="1104" y="954"/>
                  </a:lnTo>
                  <a:lnTo>
                    <a:pt x="1110" y="954"/>
                  </a:lnTo>
                  <a:lnTo>
                    <a:pt x="1116" y="948"/>
                  </a:lnTo>
                  <a:lnTo>
                    <a:pt x="1122" y="942"/>
                  </a:lnTo>
                  <a:lnTo>
                    <a:pt x="1128" y="942"/>
                  </a:lnTo>
                  <a:lnTo>
                    <a:pt x="1134" y="942"/>
                  </a:lnTo>
                  <a:lnTo>
                    <a:pt x="1140" y="948"/>
                  </a:lnTo>
                  <a:lnTo>
                    <a:pt x="1146" y="942"/>
                  </a:lnTo>
                  <a:lnTo>
                    <a:pt x="1152" y="942"/>
                  </a:lnTo>
                  <a:lnTo>
                    <a:pt x="1152" y="930"/>
                  </a:lnTo>
                  <a:lnTo>
                    <a:pt x="1164" y="936"/>
                  </a:lnTo>
                  <a:lnTo>
                    <a:pt x="1158" y="942"/>
                  </a:lnTo>
                  <a:lnTo>
                    <a:pt x="1158" y="948"/>
                  </a:lnTo>
                  <a:lnTo>
                    <a:pt x="1146" y="954"/>
                  </a:lnTo>
                  <a:lnTo>
                    <a:pt x="1152" y="954"/>
                  </a:lnTo>
                  <a:lnTo>
                    <a:pt x="1158" y="954"/>
                  </a:lnTo>
                  <a:lnTo>
                    <a:pt x="1158" y="948"/>
                  </a:lnTo>
                  <a:lnTo>
                    <a:pt x="1164" y="948"/>
                  </a:lnTo>
                  <a:lnTo>
                    <a:pt x="1170" y="948"/>
                  </a:lnTo>
                  <a:lnTo>
                    <a:pt x="1176" y="954"/>
                  </a:lnTo>
                  <a:lnTo>
                    <a:pt x="1176" y="966"/>
                  </a:lnTo>
                  <a:lnTo>
                    <a:pt x="1182" y="972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88" y="984"/>
                  </a:lnTo>
                  <a:lnTo>
                    <a:pt x="1194" y="984"/>
                  </a:lnTo>
                  <a:lnTo>
                    <a:pt x="1200" y="984"/>
                  </a:lnTo>
                  <a:lnTo>
                    <a:pt x="1212" y="984"/>
                  </a:lnTo>
                  <a:lnTo>
                    <a:pt x="1218" y="990"/>
                  </a:lnTo>
                  <a:lnTo>
                    <a:pt x="1224" y="990"/>
                  </a:lnTo>
                  <a:lnTo>
                    <a:pt x="1224" y="984"/>
                  </a:lnTo>
                  <a:lnTo>
                    <a:pt x="1230" y="990"/>
                  </a:lnTo>
                  <a:lnTo>
                    <a:pt x="1236" y="984"/>
                  </a:lnTo>
                  <a:lnTo>
                    <a:pt x="1242" y="984"/>
                  </a:lnTo>
                  <a:lnTo>
                    <a:pt x="1248" y="990"/>
                  </a:lnTo>
                  <a:lnTo>
                    <a:pt x="1254" y="990"/>
                  </a:lnTo>
                  <a:lnTo>
                    <a:pt x="1254" y="996"/>
                  </a:lnTo>
                  <a:lnTo>
                    <a:pt x="1254" y="1002"/>
                  </a:lnTo>
                  <a:lnTo>
                    <a:pt x="1254" y="1008"/>
                  </a:lnTo>
                  <a:lnTo>
                    <a:pt x="1260" y="1014"/>
                  </a:lnTo>
                  <a:lnTo>
                    <a:pt x="1266" y="1014"/>
                  </a:lnTo>
                  <a:lnTo>
                    <a:pt x="1272" y="1014"/>
                  </a:lnTo>
                  <a:lnTo>
                    <a:pt x="1278" y="1020"/>
                  </a:lnTo>
                  <a:lnTo>
                    <a:pt x="1284" y="1020"/>
                  </a:lnTo>
                  <a:lnTo>
                    <a:pt x="1290" y="1014"/>
                  </a:lnTo>
                  <a:lnTo>
                    <a:pt x="1290" y="1008"/>
                  </a:lnTo>
                  <a:lnTo>
                    <a:pt x="1296" y="1008"/>
                  </a:lnTo>
                  <a:lnTo>
                    <a:pt x="1302" y="1014"/>
                  </a:lnTo>
                  <a:lnTo>
                    <a:pt x="1308" y="1014"/>
                  </a:lnTo>
                  <a:lnTo>
                    <a:pt x="1314" y="1008"/>
                  </a:lnTo>
                  <a:lnTo>
                    <a:pt x="1320" y="1008"/>
                  </a:lnTo>
                  <a:lnTo>
                    <a:pt x="1320" y="1002"/>
                  </a:lnTo>
                  <a:lnTo>
                    <a:pt x="1320" y="996"/>
                  </a:lnTo>
                  <a:lnTo>
                    <a:pt x="1332" y="1002"/>
                  </a:lnTo>
                  <a:lnTo>
                    <a:pt x="1332" y="1008"/>
                  </a:lnTo>
                  <a:lnTo>
                    <a:pt x="1326" y="1014"/>
                  </a:lnTo>
                  <a:lnTo>
                    <a:pt x="1332" y="1014"/>
                  </a:lnTo>
                  <a:lnTo>
                    <a:pt x="1338" y="1014"/>
                  </a:lnTo>
                  <a:lnTo>
                    <a:pt x="1338" y="1008"/>
                  </a:lnTo>
                  <a:lnTo>
                    <a:pt x="1344" y="1008"/>
                  </a:lnTo>
                  <a:lnTo>
                    <a:pt x="1350" y="1008"/>
                  </a:lnTo>
                  <a:lnTo>
                    <a:pt x="1356" y="1014"/>
                  </a:lnTo>
                  <a:lnTo>
                    <a:pt x="1356" y="1008"/>
                  </a:lnTo>
                  <a:lnTo>
                    <a:pt x="1362" y="1014"/>
                  </a:lnTo>
                  <a:lnTo>
                    <a:pt x="1392" y="1014"/>
                  </a:lnTo>
                  <a:lnTo>
                    <a:pt x="1398" y="1014"/>
                  </a:lnTo>
                  <a:lnTo>
                    <a:pt x="1404" y="1008"/>
                  </a:lnTo>
                  <a:lnTo>
                    <a:pt x="1404" y="1014"/>
                  </a:lnTo>
                  <a:lnTo>
                    <a:pt x="1410" y="1008"/>
                  </a:lnTo>
                  <a:lnTo>
                    <a:pt x="1416" y="1008"/>
                  </a:lnTo>
                  <a:lnTo>
                    <a:pt x="1422" y="1002"/>
                  </a:lnTo>
                  <a:lnTo>
                    <a:pt x="1428" y="1002"/>
                  </a:lnTo>
                  <a:lnTo>
                    <a:pt x="1428" y="996"/>
                  </a:lnTo>
                  <a:lnTo>
                    <a:pt x="1428" y="990"/>
                  </a:lnTo>
                  <a:lnTo>
                    <a:pt x="1440" y="1002"/>
                  </a:lnTo>
                  <a:lnTo>
                    <a:pt x="1446" y="1002"/>
                  </a:lnTo>
                  <a:lnTo>
                    <a:pt x="1452" y="1002"/>
                  </a:lnTo>
                  <a:lnTo>
                    <a:pt x="1446" y="996"/>
                  </a:lnTo>
                  <a:lnTo>
                    <a:pt x="1452" y="996"/>
                  </a:lnTo>
                  <a:lnTo>
                    <a:pt x="1458" y="996"/>
                  </a:lnTo>
                  <a:lnTo>
                    <a:pt x="1464" y="996"/>
                  </a:lnTo>
                  <a:lnTo>
                    <a:pt x="1464" y="1002"/>
                  </a:lnTo>
                  <a:lnTo>
                    <a:pt x="1476" y="1014"/>
                  </a:lnTo>
                  <a:lnTo>
                    <a:pt x="1476" y="1008"/>
                  </a:lnTo>
                  <a:lnTo>
                    <a:pt x="1482" y="1008"/>
                  </a:lnTo>
                  <a:lnTo>
                    <a:pt x="1488" y="1020"/>
                  </a:lnTo>
                  <a:lnTo>
                    <a:pt x="1494" y="1020"/>
                  </a:lnTo>
                  <a:lnTo>
                    <a:pt x="1500" y="1014"/>
                  </a:lnTo>
                  <a:lnTo>
                    <a:pt x="1500" y="1020"/>
                  </a:lnTo>
                  <a:lnTo>
                    <a:pt x="1506" y="1026"/>
                  </a:lnTo>
                  <a:lnTo>
                    <a:pt x="1512" y="1032"/>
                  </a:lnTo>
                  <a:lnTo>
                    <a:pt x="1518" y="1032"/>
                  </a:lnTo>
                  <a:lnTo>
                    <a:pt x="1518" y="1038"/>
                  </a:lnTo>
                  <a:lnTo>
                    <a:pt x="1518" y="1044"/>
                  </a:lnTo>
                  <a:lnTo>
                    <a:pt x="1524" y="1044"/>
                  </a:lnTo>
                  <a:lnTo>
                    <a:pt x="1524" y="1050"/>
                  </a:lnTo>
                  <a:lnTo>
                    <a:pt x="1530" y="1056"/>
                  </a:lnTo>
                  <a:lnTo>
                    <a:pt x="1548" y="1062"/>
                  </a:lnTo>
                  <a:lnTo>
                    <a:pt x="1560" y="1074"/>
                  </a:lnTo>
                  <a:lnTo>
                    <a:pt x="1560" y="1080"/>
                  </a:lnTo>
                  <a:lnTo>
                    <a:pt x="1560" y="1086"/>
                  </a:lnTo>
                  <a:lnTo>
                    <a:pt x="1566" y="1086"/>
                  </a:lnTo>
                  <a:lnTo>
                    <a:pt x="1572" y="1098"/>
                  </a:lnTo>
                  <a:lnTo>
                    <a:pt x="1572" y="1104"/>
                  </a:lnTo>
                  <a:lnTo>
                    <a:pt x="1584" y="1110"/>
                  </a:lnTo>
                  <a:lnTo>
                    <a:pt x="1590" y="1116"/>
                  </a:lnTo>
                  <a:lnTo>
                    <a:pt x="1596" y="1116"/>
                  </a:lnTo>
                  <a:lnTo>
                    <a:pt x="1608" y="1122"/>
                  </a:lnTo>
                  <a:lnTo>
                    <a:pt x="1620" y="1140"/>
                  </a:lnTo>
                  <a:lnTo>
                    <a:pt x="1626" y="1158"/>
                  </a:lnTo>
                  <a:lnTo>
                    <a:pt x="1638" y="1200"/>
                  </a:lnTo>
                  <a:lnTo>
                    <a:pt x="1638" y="1218"/>
                  </a:lnTo>
                  <a:lnTo>
                    <a:pt x="1620" y="1230"/>
                  </a:lnTo>
                  <a:lnTo>
                    <a:pt x="1554" y="1230"/>
                  </a:lnTo>
                  <a:lnTo>
                    <a:pt x="1560" y="1248"/>
                  </a:lnTo>
                  <a:lnTo>
                    <a:pt x="1584" y="1260"/>
                  </a:lnTo>
                  <a:lnTo>
                    <a:pt x="1584" y="1266"/>
                  </a:lnTo>
                  <a:lnTo>
                    <a:pt x="1578" y="1272"/>
                  </a:lnTo>
                  <a:lnTo>
                    <a:pt x="1572" y="1272"/>
                  </a:lnTo>
                  <a:lnTo>
                    <a:pt x="1566" y="1278"/>
                  </a:lnTo>
                  <a:lnTo>
                    <a:pt x="1566" y="1284"/>
                  </a:lnTo>
                  <a:lnTo>
                    <a:pt x="1560" y="1290"/>
                  </a:lnTo>
                  <a:lnTo>
                    <a:pt x="1554" y="1290"/>
                  </a:lnTo>
                  <a:lnTo>
                    <a:pt x="1554" y="1296"/>
                  </a:lnTo>
                  <a:lnTo>
                    <a:pt x="1554" y="1302"/>
                  </a:lnTo>
                  <a:lnTo>
                    <a:pt x="1560" y="1332"/>
                  </a:lnTo>
                  <a:lnTo>
                    <a:pt x="1566" y="1356"/>
                  </a:lnTo>
                  <a:lnTo>
                    <a:pt x="1572" y="1356"/>
                  </a:lnTo>
                  <a:lnTo>
                    <a:pt x="1572" y="1362"/>
                  </a:lnTo>
                  <a:lnTo>
                    <a:pt x="1578" y="1362"/>
                  </a:lnTo>
                  <a:lnTo>
                    <a:pt x="1560" y="1374"/>
                  </a:lnTo>
                  <a:lnTo>
                    <a:pt x="1560" y="1380"/>
                  </a:lnTo>
                  <a:lnTo>
                    <a:pt x="1548" y="1380"/>
                  </a:lnTo>
                  <a:lnTo>
                    <a:pt x="1548" y="1386"/>
                  </a:lnTo>
                  <a:lnTo>
                    <a:pt x="1548" y="1392"/>
                  </a:lnTo>
                  <a:lnTo>
                    <a:pt x="1542" y="1410"/>
                  </a:lnTo>
                  <a:lnTo>
                    <a:pt x="1536" y="1422"/>
                  </a:lnTo>
                  <a:lnTo>
                    <a:pt x="1536" y="1428"/>
                  </a:lnTo>
                  <a:lnTo>
                    <a:pt x="1530" y="1440"/>
                  </a:lnTo>
                  <a:lnTo>
                    <a:pt x="1524" y="1434"/>
                  </a:lnTo>
                  <a:lnTo>
                    <a:pt x="1524" y="1428"/>
                  </a:lnTo>
                  <a:lnTo>
                    <a:pt x="1524" y="1422"/>
                  </a:lnTo>
                  <a:lnTo>
                    <a:pt x="1512" y="1410"/>
                  </a:lnTo>
                  <a:lnTo>
                    <a:pt x="1506" y="1404"/>
                  </a:lnTo>
                  <a:lnTo>
                    <a:pt x="1506" y="1398"/>
                  </a:lnTo>
                  <a:lnTo>
                    <a:pt x="1494" y="1392"/>
                  </a:lnTo>
                  <a:lnTo>
                    <a:pt x="1476" y="1404"/>
                  </a:lnTo>
                  <a:lnTo>
                    <a:pt x="1464" y="1416"/>
                  </a:lnTo>
                  <a:lnTo>
                    <a:pt x="1458" y="1428"/>
                  </a:lnTo>
                  <a:lnTo>
                    <a:pt x="1446" y="1434"/>
                  </a:lnTo>
                  <a:lnTo>
                    <a:pt x="1410" y="1440"/>
                  </a:lnTo>
                  <a:lnTo>
                    <a:pt x="1398" y="1440"/>
                  </a:lnTo>
                  <a:lnTo>
                    <a:pt x="1398" y="1446"/>
                  </a:lnTo>
                  <a:lnTo>
                    <a:pt x="1386" y="1446"/>
                  </a:lnTo>
                  <a:lnTo>
                    <a:pt x="1380" y="1440"/>
                  </a:lnTo>
                  <a:lnTo>
                    <a:pt x="1368" y="1440"/>
                  </a:lnTo>
                  <a:lnTo>
                    <a:pt x="1368" y="1446"/>
                  </a:lnTo>
                  <a:lnTo>
                    <a:pt x="1356" y="1446"/>
                  </a:lnTo>
                  <a:lnTo>
                    <a:pt x="1350" y="1452"/>
                  </a:lnTo>
                  <a:lnTo>
                    <a:pt x="1338" y="1452"/>
                  </a:lnTo>
                  <a:lnTo>
                    <a:pt x="1338" y="1458"/>
                  </a:lnTo>
                  <a:lnTo>
                    <a:pt x="1332" y="1458"/>
                  </a:lnTo>
                  <a:lnTo>
                    <a:pt x="1332" y="1464"/>
                  </a:lnTo>
                  <a:lnTo>
                    <a:pt x="1332" y="1470"/>
                  </a:lnTo>
                  <a:lnTo>
                    <a:pt x="1326" y="1470"/>
                  </a:lnTo>
                  <a:lnTo>
                    <a:pt x="1320" y="1470"/>
                  </a:lnTo>
                  <a:lnTo>
                    <a:pt x="1314" y="1470"/>
                  </a:lnTo>
                  <a:lnTo>
                    <a:pt x="1314" y="1464"/>
                  </a:lnTo>
                  <a:lnTo>
                    <a:pt x="1308" y="1464"/>
                  </a:lnTo>
                  <a:lnTo>
                    <a:pt x="1308" y="1452"/>
                  </a:lnTo>
                  <a:lnTo>
                    <a:pt x="1284" y="1458"/>
                  </a:lnTo>
                  <a:lnTo>
                    <a:pt x="1272" y="1458"/>
                  </a:lnTo>
                  <a:lnTo>
                    <a:pt x="1272" y="1464"/>
                  </a:lnTo>
                  <a:lnTo>
                    <a:pt x="1260" y="1464"/>
                  </a:lnTo>
                  <a:lnTo>
                    <a:pt x="1254" y="1464"/>
                  </a:lnTo>
                  <a:lnTo>
                    <a:pt x="1242" y="1422"/>
                  </a:lnTo>
                  <a:lnTo>
                    <a:pt x="1242" y="1416"/>
                  </a:lnTo>
                  <a:lnTo>
                    <a:pt x="1242" y="1410"/>
                  </a:lnTo>
                  <a:lnTo>
                    <a:pt x="1248" y="1410"/>
                  </a:lnTo>
                  <a:lnTo>
                    <a:pt x="1242" y="1410"/>
                  </a:lnTo>
                  <a:lnTo>
                    <a:pt x="1242" y="1404"/>
                  </a:lnTo>
                  <a:lnTo>
                    <a:pt x="1242" y="1398"/>
                  </a:lnTo>
                  <a:lnTo>
                    <a:pt x="1248" y="1392"/>
                  </a:lnTo>
                  <a:lnTo>
                    <a:pt x="1248" y="1386"/>
                  </a:lnTo>
                  <a:lnTo>
                    <a:pt x="1242" y="1380"/>
                  </a:lnTo>
                  <a:lnTo>
                    <a:pt x="1248" y="1380"/>
                  </a:lnTo>
                  <a:lnTo>
                    <a:pt x="1248" y="1374"/>
                  </a:lnTo>
                  <a:lnTo>
                    <a:pt x="1248" y="1368"/>
                  </a:lnTo>
                  <a:lnTo>
                    <a:pt x="1254" y="1368"/>
                  </a:lnTo>
                  <a:lnTo>
                    <a:pt x="1254" y="1362"/>
                  </a:lnTo>
                  <a:lnTo>
                    <a:pt x="1248" y="1356"/>
                  </a:lnTo>
                  <a:lnTo>
                    <a:pt x="1254" y="1356"/>
                  </a:lnTo>
                  <a:lnTo>
                    <a:pt x="1254" y="1344"/>
                  </a:lnTo>
                  <a:lnTo>
                    <a:pt x="1242" y="1338"/>
                  </a:lnTo>
                  <a:lnTo>
                    <a:pt x="1242" y="1326"/>
                  </a:lnTo>
                  <a:lnTo>
                    <a:pt x="1230" y="1326"/>
                  </a:lnTo>
                  <a:lnTo>
                    <a:pt x="1230" y="1314"/>
                  </a:lnTo>
                  <a:lnTo>
                    <a:pt x="1218" y="1314"/>
                  </a:lnTo>
                  <a:lnTo>
                    <a:pt x="1200" y="1272"/>
                  </a:lnTo>
                  <a:lnTo>
                    <a:pt x="1194" y="1242"/>
                  </a:lnTo>
                  <a:lnTo>
                    <a:pt x="1194" y="1206"/>
                  </a:lnTo>
                  <a:lnTo>
                    <a:pt x="1182" y="1200"/>
                  </a:lnTo>
                  <a:lnTo>
                    <a:pt x="1164" y="1206"/>
                  </a:lnTo>
                  <a:lnTo>
                    <a:pt x="1146" y="1212"/>
                  </a:lnTo>
                  <a:lnTo>
                    <a:pt x="1146" y="1218"/>
                  </a:lnTo>
                  <a:lnTo>
                    <a:pt x="1134" y="1224"/>
                  </a:lnTo>
                  <a:lnTo>
                    <a:pt x="1140" y="1260"/>
                  </a:lnTo>
                  <a:lnTo>
                    <a:pt x="1134" y="1266"/>
                  </a:lnTo>
                  <a:lnTo>
                    <a:pt x="1122" y="1266"/>
                  </a:lnTo>
                  <a:lnTo>
                    <a:pt x="1110" y="1236"/>
                  </a:lnTo>
                  <a:lnTo>
                    <a:pt x="1110" y="1224"/>
                  </a:lnTo>
                  <a:lnTo>
                    <a:pt x="1086" y="1224"/>
                  </a:lnTo>
                  <a:lnTo>
                    <a:pt x="1086" y="1212"/>
                  </a:lnTo>
                  <a:lnTo>
                    <a:pt x="1074" y="1212"/>
                  </a:lnTo>
                  <a:lnTo>
                    <a:pt x="1050" y="1212"/>
                  </a:lnTo>
                  <a:lnTo>
                    <a:pt x="1056" y="1218"/>
                  </a:lnTo>
                  <a:lnTo>
                    <a:pt x="1050" y="1272"/>
                  </a:lnTo>
                  <a:lnTo>
                    <a:pt x="1044" y="1272"/>
                  </a:lnTo>
                  <a:lnTo>
                    <a:pt x="1038" y="1284"/>
                  </a:lnTo>
                  <a:lnTo>
                    <a:pt x="1032" y="1302"/>
                  </a:lnTo>
                  <a:lnTo>
                    <a:pt x="1014" y="1302"/>
                  </a:lnTo>
                  <a:lnTo>
                    <a:pt x="1020" y="1284"/>
                  </a:lnTo>
                  <a:lnTo>
                    <a:pt x="1026" y="1278"/>
                  </a:lnTo>
                  <a:lnTo>
                    <a:pt x="1026" y="1266"/>
                  </a:lnTo>
                  <a:lnTo>
                    <a:pt x="1014" y="1260"/>
                  </a:lnTo>
                  <a:lnTo>
                    <a:pt x="1014" y="1272"/>
                  </a:lnTo>
                  <a:lnTo>
                    <a:pt x="990" y="1278"/>
                  </a:lnTo>
                  <a:lnTo>
                    <a:pt x="990" y="1254"/>
                  </a:lnTo>
                  <a:lnTo>
                    <a:pt x="984" y="1254"/>
                  </a:lnTo>
                  <a:lnTo>
                    <a:pt x="978" y="1242"/>
                  </a:lnTo>
                  <a:lnTo>
                    <a:pt x="972" y="1236"/>
                  </a:lnTo>
                  <a:lnTo>
                    <a:pt x="960" y="1206"/>
                  </a:lnTo>
                  <a:lnTo>
                    <a:pt x="942" y="1206"/>
                  </a:lnTo>
                  <a:lnTo>
                    <a:pt x="936" y="1200"/>
                  </a:lnTo>
                  <a:lnTo>
                    <a:pt x="906" y="1212"/>
                  </a:lnTo>
                  <a:lnTo>
                    <a:pt x="888" y="1230"/>
                  </a:lnTo>
                  <a:lnTo>
                    <a:pt x="876" y="1230"/>
                  </a:lnTo>
                  <a:lnTo>
                    <a:pt x="864" y="1236"/>
                  </a:lnTo>
                  <a:lnTo>
                    <a:pt x="858" y="1236"/>
                  </a:lnTo>
                  <a:lnTo>
                    <a:pt x="852" y="1254"/>
                  </a:lnTo>
                  <a:lnTo>
                    <a:pt x="858" y="1254"/>
                  </a:lnTo>
                  <a:lnTo>
                    <a:pt x="840" y="1266"/>
                  </a:lnTo>
                  <a:lnTo>
                    <a:pt x="828" y="1272"/>
                  </a:lnTo>
                  <a:lnTo>
                    <a:pt x="828" y="1284"/>
                  </a:lnTo>
                  <a:lnTo>
                    <a:pt x="822" y="1284"/>
                  </a:lnTo>
                  <a:lnTo>
                    <a:pt x="804" y="1296"/>
                  </a:lnTo>
                  <a:lnTo>
                    <a:pt x="804" y="1308"/>
                  </a:lnTo>
                  <a:lnTo>
                    <a:pt x="816" y="1320"/>
                  </a:lnTo>
                  <a:lnTo>
                    <a:pt x="828" y="1320"/>
                  </a:lnTo>
                  <a:lnTo>
                    <a:pt x="822" y="1338"/>
                  </a:lnTo>
                  <a:lnTo>
                    <a:pt x="852" y="1344"/>
                  </a:lnTo>
                  <a:lnTo>
                    <a:pt x="864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94" y="1356"/>
                  </a:lnTo>
                  <a:lnTo>
                    <a:pt x="912" y="1368"/>
                  </a:lnTo>
                  <a:lnTo>
                    <a:pt x="918" y="1380"/>
                  </a:lnTo>
                  <a:lnTo>
                    <a:pt x="936" y="1380"/>
                  </a:lnTo>
                  <a:lnTo>
                    <a:pt x="960" y="1386"/>
                  </a:lnTo>
                  <a:lnTo>
                    <a:pt x="990" y="1386"/>
                  </a:lnTo>
                  <a:lnTo>
                    <a:pt x="990" y="1392"/>
                  </a:lnTo>
                  <a:lnTo>
                    <a:pt x="1020" y="1398"/>
                  </a:lnTo>
                  <a:lnTo>
                    <a:pt x="1014" y="1404"/>
                  </a:lnTo>
                  <a:lnTo>
                    <a:pt x="1008" y="1404"/>
                  </a:lnTo>
                  <a:lnTo>
                    <a:pt x="1014" y="1440"/>
                  </a:lnTo>
                  <a:lnTo>
                    <a:pt x="1020" y="1458"/>
                  </a:lnTo>
                  <a:lnTo>
                    <a:pt x="1026" y="1476"/>
                  </a:lnTo>
                  <a:lnTo>
                    <a:pt x="1020" y="1476"/>
                  </a:lnTo>
                  <a:lnTo>
                    <a:pt x="1014" y="1476"/>
                  </a:lnTo>
                  <a:lnTo>
                    <a:pt x="1014" y="1482"/>
                  </a:lnTo>
                  <a:lnTo>
                    <a:pt x="1014" y="1488"/>
                  </a:lnTo>
                  <a:lnTo>
                    <a:pt x="1002" y="1488"/>
                  </a:lnTo>
                  <a:lnTo>
                    <a:pt x="1002" y="1494"/>
                  </a:lnTo>
                  <a:lnTo>
                    <a:pt x="996" y="1494"/>
                  </a:lnTo>
                  <a:lnTo>
                    <a:pt x="996" y="1518"/>
                  </a:lnTo>
                  <a:lnTo>
                    <a:pt x="1002" y="1524"/>
                  </a:lnTo>
                  <a:lnTo>
                    <a:pt x="1020" y="1530"/>
                  </a:lnTo>
                  <a:lnTo>
                    <a:pt x="1026" y="1542"/>
                  </a:lnTo>
                  <a:lnTo>
                    <a:pt x="1032" y="1566"/>
                  </a:lnTo>
                  <a:lnTo>
                    <a:pt x="1038" y="1578"/>
                  </a:lnTo>
                  <a:lnTo>
                    <a:pt x="1032" y="1584"/>
                  </a:lnTo>
                  <a:lnTo>
                    <a:pt x="1020" y="1584"/>
                  </a:lnTo>
                  <a:lnTo>
                    <a:pt x="1014" y="1584"/>
                  </a:lnTo>
                  <a:lnTo>
                    <a:pt x="1008" y="1596"/>
                  </a:lnTo>
                  <a:lnTo>
                    <a:pt x="990" y="1584"/>
                  </a:lnTo>
                  <a:lnTo>
                    <a:pt x="984" y="1602"/>
                  </a:lnTo>
                  <a:lnTo>
                    <a:pt x="978" y="1608"/>
                  </a:lnTo>
                  <a:lnTo>
                    <a:pt x="966" y="1608"/>
                  </a:lnTo>
                  <a:lnTo>
                    <a:pt x="960" y="1614"/>
                  </a:lnTo>
                  <a:lnTo>
                    <a:pt x="954" y="1614"/>
                  </a:lnTo>
                  <a:lnTo>
                    <a:pt x="942" y="1620"/>
                  </a:lnTo>
                  <a:lnTo>
                    <a:pt x="936" y="1620"/>
                  </a:lnTo>
                  <a:lnTo>
                    <a:pt x="930" y="1620"/>
                  </a:lnTo>
                  <a:lnTo>
                    <a:pt x="930" y="1626"/>
                  </a:lnTo>
                  <a:lnTo>
                    <a:pt x="930" y="1632"/>
                  </a:lnTo>
                  <a:lnTo>
                    <a:pt x="918" y="1632"/>
                  </a:lnTo>
                  <a:lnTo>
                    <a:pt x="912" y="1632"/>
                  </a:lnTo>
                  <a:lnTo>
                    <a:pt x="906" y="1632"/>
                  </a:lnTo>
                  <a:lnTo>
                    <a:pt x="900" y="1632"/>
                  </a:lnTo>
                  <a:lnTo>
                    <a:pt x="894" y="1626"/>
                  </a:lnTo>
                  <a:lnTo>
                    <a:pt x="894" y="1614"/>
                  </a:lnTo>
                  <a:lnTo>
                    <a:pt x="840" y="1614"/>
                  </a:lnTo>
                  <a:lnTo>
                    <a:pt x="840" y="1626"/>
                  </a:lnTo>
                  <a:lnTo>
                    <a:pt x="834" y="1626"/>
                  </a:lnTo>
                  <a:lnTo>
                    <a:pt x="828" y="1632"/>
                  </a:lnTo>
                  <a:lnTo>
                    <a:pt x="822" y="1638"/>
                  </a:lnTo>
                  <a:lnTo>
                    <a:pt x="822" y="1644"/>
                  </a:lnTo>
                  <a:lnTo>
                    <a:pt x="834" y="1650"/>
                  </a:lnTo>
                  <a:lnTo>
                    <a:pt x="840" y="1662"/>
                  </a:lnTo>
                  <a:lnTo>
                    <a:pt x="840" y="1668"/>
                  </a:lnTo>
                  <a:lnTo>
                    <a:pt x="858" y="1680"/>
                  </a:lnTo>
                  <a:lnTo>
                    <a:pt x="858" y="1752"/>
                  </a:lnTo>
                  <a:lnTo>
                    <a:pt x="864" y="1782"/>
                  </a:lnTo>
                  <a:lnTo>
                    <a:pt x="876" y="1788"/>
                  </a:lnTo>
                  <a:lnTo>
                    <a:pt x="870" y="1854"/>
                  </a:lnTo>
                  <a:lnTo>
                    <a:pt x="870" y="1884"/>
                  </a:lnTo>
                  <a:lnTo>
                    <a:pt x="864" y="1884"/>
                  </a:lnTo>
                  <a:lnTo>
                    <a:pt x="846" y="1896"/>
                  </a:lnTo>
                  <a:lnTo>
                    <a:pt x="840" y="1896"/>
                  </a:lnTo>
                  <a:lnTo>
                    <a:pt x="834" y="1896"/>
                  </a:lnTo>
                  <a:lnTo>
                    <a:pt x="828" y="1890"/>
                  </a:lnTo>
                  <a:lnTo>
                    <a:pt x="822" y="1890"/>
                  </a:lnTo>
                  <a:lnTo>
                    <a:pt x="816" y="1896"/>
                  </a:lnTo>
                  <a:lnTo>
                    <a:pt x="804" y="1896"/>
                  </a:lnTo>
                  <a:lnTo>
                    <a:pt x="804" y="1890"/>
                  </a:lnTo>
                  <a:lnTo>
                    <a:pt x="780" y="1896"/>
                  </a:lnTo>
                  <a:lnTo>
                    <a:pt x="780" y="1902"/>
                  </a:lnTo>
                  <a:lnTo>
                    <a:pt x="774" y="1914"/>
                  </a:lnTo>
                  <a:lnTo>
                    <a:pt x="762" y="1926"/>
                  </a:lnTo>
                  <a:lnTo>
                    <a:pt x="762" y="1950"/>
                  </a:lnTo>
                  <a:lnTo>
                    <a:pt x="762" y="1962"/>
                  </a:lnTo>
                  <a:lnTo>
                    <a:pt x="780" y="1974"/>
                  </a:lnTo>
                  <a:lnTo>
                    <a:pt x="780" y="1986"/>
                  </a:lnTo>
                  <a:lnTo>
                    <a:pt x="780" y="1998"/>
                  </a:lnTo>
                  <a:lnTo>
                    <a:pt x="756" y="1998"/>
                  </a:lnTo>
                  <a:lnTo>
                    <a:pt x="720" y="1992"/>
                  </a:lnTo>
                  <a:lnTo>
                    <a:pt x="666" y="1998"/>
                  </a:lnTo>
                  <a:lnTo>
                    <a:pt x="654" y="1998"/>
                  </a:lnTo>
                  <a:lnTo>
                    <a:pt x="660" y="1974"/>
                  </a:lnTo>
                  <a:lnTo>
                    <a:pt x="666" y="1962"/>
                  </a:lnTo>
                  <a:lnTo>
                    <a:pt x="678" y="1950"/>
                  </a:lnTo>
                  <a:lnTo>
                    <a:pt x="696" y="1932"/>
                  </a:lnTo>
                  <a:lnTo>
                    <a:pt x="696" y="1920"/>
                  </a:lnTo>
                  <a:lnTo>
                    <a:pt x="696" y="1896"/>
                  </a:lnTo>
                  <a:lnTo>
                    <a:pt x="678" y="1896"/>
                  </a:lnTo>
                  <a:lnTo>
                    <a:pt x="672" y="1884"/>
                  </a:lnTo>
                  <a:lnTo>
                    <a:pt x="672" y="1776"/>
                  </a:lnTo>
                  <a:lnTo>
                    <a:pt x="678" y="1758"/>
                  </a:lnTo>
                  <a:lnTo>
                    <a:pt x="678" y="1740"/>
                  </a:lnTo>
                  <a:lnTo>
                    <a:pt x="684" y="1728"/>
                  </a:lnTo>
                  <a:lnTo>
                    <a:pt x="690" y="1722"/>
                  </a:lnTo>
                  <a:lnTo>
                    <a:pt x="702" y="1722"/>
                  </a:lnTo>
                  <a:lnTo>
                    <a:pt x="708" y="1716"/>
                  </a:lnTo>
                  <a:lnTo>
                    <a:pt x="714" y="1710"/>
                  </a:lnTo>
                  <a:lnTo>
                    <a:pt x="720" y="1698"/>
                  </a:lnTo>
                  <a:lnTo>
                    <a:pt x="732" y="1692"/>
                  </a:lnTo>
                  <a:lnTo>
                    <a:pt x="744" y="1686"/>
                  </a:lnTo>
                  <a:lnTo>
                    <a:pt x="756" y="1680"/>
                  </a:lnTo>
                  <a:lnTo>
                    <a:pt x="768" y="1668"/>
                  </a:lnTo>
                  <a:lnTo>
                    <a:pt x="768" y="1650"/>
                  </a:lnTo>
                  <a:lnTo>
                    <a:pt x="774" y="1632"/>
                  </a:lnTo>
                  <a:lnTo>
                    <a:pt x="768" y="1620"/>
                  </a:lnTo>
                  <a:lnTo>
                    <a:pt x="774" y="1608"/>
                  </a:lnTo>
                  <a:lnTo>
                    <a:pt x="774" y="1578"/>
                  </a:lnTo>
                  <a:lnTo>
                    <a:pt x="774" y="1572"/>
                  </a:lnTo>
                  <a:lnTo>
                    <a:pt x="780" y="1560"/>
                  </a:lnTo>
                  <a:lnTo>
                    <a:pt x="780" y="1554"/>
                  </a:lnTo>
                  <a:lnTo>
                    <a:pt x="786" y="1542"/>
                  </a:lnTo>
                  <a:lnTo>
                    <a:pt x="792" y="1530"/>
                  </a:lnTo>
                  <a:lnTo>
                    <a:pt x="792" y="1518"/>
                  </a:lnTo>
                  <a:lnTo>
                    <a:pt x="792" y="1506"/>
                  </a:lnTo>
                  <a:lnTo>
                    <a:pt x="786" y="1500"/>
                  </a:lnTo>
                  <a:lnTo>
                    <a:pt x="774" y="1488"/>
                  </a:lnTo>
                  <a:lnTo>
                    <a:pt x="774" y="1482"/>
                  </a:lnTo>
                  <a:lnTo>
                    <a:pt x="762" y="1488"/>
                  </a:lnTo>
                  <a:lnTo>
                    <a:pt x="756" y="1494"/>
                  </a:lnTo>
                  <a:lnTo>
                    <a:pt x="744" y="1500"/>
                  </a:lnTo>
                  <a:lnTo>
                    <a:pt x="732" y="1506"/>
                  </a:lnTo>
                  <a:lnTo>
                    <a:pt x="726" y="1506"/>
                  </a:lnTo>
                  <a:lnTo>
                    <a:pt x="720" y="1506"/>
                  </a:lnTo>
                  <a:lnTo>
                    <a:pt x="702" y="1506"/>
                  </a:lnTo>
                  <a:lnTo>
                    <a:pt x="690" y="1500"/>
                  </a:lnTo>
                  <a:lnTo>
                    <a:pt x="678" y="1500"/>
                  </a:lnTo>
                  <a:lnTo>
                    <a:pt x="672" y="1500"/>
                  </a:lnTo>
                  <a:lnTo>
                    <a:pt x="660" y="1506"/>
                  </a:lnTo>
                  <a:lnTo>
                    <a:pt x="654" y="1506"/>
                  </a:lnTo>
                  <a:lnTo>
                    <a:pt x="648" y="1512"/>
                  </a:lnTo>
                  <a:lnTo>
                    <a:pt x="648" y="1518"/>
                  </a:lnTo>
                  <a:lnTo>
                    <a:pt x="618" y="1518"/>
                  </a:lnTo>
                  <a:lnTo>
                    <a:pt x="534" y="1494"/>
                  </a:lnTo>
                  <a:lnTo>
                    <a:pt x="528" y="1458"/>
                  </a:lnTo>
                  <a:lnTo>
                    <a:pt x="510" y="1458"/>
                  </a:lnTo>
                  <a:lnTo>
                    <a:pt x="492" y="1440"/>
                  </a:lnTo>
                  <a:lnTo>
                    <a:pt x="462" y="1440"/>
                  </a:lnTo>
                  <a:lnTo>
                    <a:pt x="456" y="1428"/>
                  </a:lnTo>
                  <a:lnTo>
                    <a:pt x="420" y="1428"/>
                  </a:lnTo>
                  <a:lnTo>
                    <a:pt x="390" y="1446"/>
                  </a:lnTo>
                  <a:lnTo>
                    <a:pt x="312" y="1452"/>
                  </a:lnTo>
                  <a:lnTo>
                    <a:pt x="300" y="1446"/>
                  </a:lnTo>
                  <a:lnTo>
                    <a:pt x="294" y="1446"/>
                  </a:lnTo>
                  <a:lnTo>
                    <a:pt x="288" y="1446"/>
                  </a:lnTo>
                  <a:lnTo>
                    <a:pt x="282" y="1440"/>
                  </a:lnTo>
                  <a:lnTo>
                    <a:pt x="276" y="1440"/>
                  </a:lnTo>
                  <a:lnTo>
                    <a:pt x="270" y="1440"/>
                  </a:lnTo>
                  <a:lnTo>
                    <a:pt x="264" y="1440"/>
                  </a:lnTo>
                  <a:lnTo>
                    <a:pt x="258" y="1434"/>
                  </a:lnTo>
                  <a:lnTo>
                    <a:pt x="252" y="1434"/>
                  </a:lnTo>
                  <a:lnTo>
                    <a:pt x="246" y="1428"/>
                  </a:lnTo>
                  <a:lnTo>
                    <a:pt x="240" y="1416"/>
                  </a:lnTo>
                  <a:lnTo>
                    <a:pt x="234" y="1404"/>
                  </a:lnTo>
                  <a:lnTo>
                    <a:pt x="228" y="1398"/>
                  </a:lnTo>
                  <a:lnTo>
                    <a:pt x="222" y="1398"/>
                  </a:lnTo>
                  <a:lnTo>
                    <a:pt x="216" y="1404"/>
                  </a:lnTo>
                  <a:lnTo>
                    <a:pt x="210" y="1404"/>
                  </a:lnTo>
                  <a:lnTo>
                    <a:pt x="204" y="1404"/>
                  </a:lnTo>
                  <a:lnTo>
                    <a:pt x="204" y="1398"/>
                  </a:lnTo>
                  <a:lnTo>
                    <a:pt x="198" y="1392"/>
                  </a:lnTo>
                  <a:lnTo>
                    <a:pt x="192" y="1386"/>
                  </a:lnTo>
                  <a:lnTo>
                    <a:pt x="168" y="1374"/>
                  </a:lnTo>
                  <a:lnTo>
                    <a:pt x="144" y="138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0" name="Freeform 35">
              <a:extLst>
                <a:ext uri="{FF2B5EF4-FFF2-40B4-BE49-F238E27FC236}">
                  <a16:creationId xmlns:a16="http://schemas.microsoft.com/office/drawing/2014/main" id="{F64BF16E-9D62-438E-A1CC-CD4088AC7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2895" y="1706004"/>
              <a:ext cx="767013" cy="785011"/>
            </a:xfrm>
            <a:custGeom>
              <a:avLst/>
              <a:gdLst>
                <a:gd name="T0" fmla="*/ 102 w 1440"/>
                <a:gd name="T1" fmla="*/ 104 h 1476"/>
                <a:gd name="T2" fmla="*/ 99 w 1440"/>
                <a:gd name="T3" fmla="*/ 108 h 1476"/>
                <a:gd name="T4" fmla="*/ 98 w 1440"/>
                <a:gd name="T5" fmla="*/ 112 h 1476"/>
                <a:gd name="T6" fmla="*/ 96 w 1440"/>
                <a:gd name="T7" fmla="*/ 116 h 1476"/>
                <a:gd name="T8" fmla="*/ 91 w 1440"/>
                <a:gd name="T9" fmla="*/ 118 h 1476"/>
                <a:gd name="T10" fmla="*/ 87 w 1440"/>
                <a:gd name="T11" fmla="*/ 120 h 1476"/>
                <a:gd name="T12" fmla="*/ 75 w 1440"/>
                <a:gd name="T13" fmla="*/ 120 h 1476"/>
                <a:gd name="T14" fmla="*/ 72 w 1440"/>
                <a:gd name="T15" fmla="*/ 123 h 1476"/>
                <a:gd name="T16" fmla="*/ 69 w 1440"/>
                <a:gd name="T17" fmla="*/ 128 h 1476"/>
                <a:gd name="T18" fmla="*/ 67 w 1440"/>
                <a:gd name="T19" fmla="*/ 127 h 1476"/>
                <a:gd name="T20" fmla="*/ 66 w 1440"/>
                <a:gd name="T21" fmla="*/ 123 h 1476"/>
                <a:gd name="T22" fmla="*/ 63 w 1440"/>
                <a:gd name="T23" fmla="*/ 119 h 1476"/>
                <a:gd name="T24" fmla="*/ 54 w 1440"/>
                <a:gd name="T25" fmla="*/ 114 h 1476"/>
                <a:gd name="T26" fmla="*/ 55 w 1440"/>
                <a:gd name="T27" fmla="*/ 106 h 1476"/>
                <a:gd name="T28" fmla="*/ 60 w 1440"/>
                <a:gd name="T29" fmla="*/ 100 h 1476"/>
                <a:gd name="T30" fmla="*/ 55 w 1440"/>
                <a:gd name="T31" fmla="*/ 91 h 1476"/>
                <a:gd name="T32" fmla="*/ 51 w 1440"/>
                <a:gd name="T33" fmla="*/ 86 h 1476"/>
                <a:gd name="T34" fmla="*/ 47 w 1440"/>
                <a:gd name="T35" fmla="*/ 85 h 1476"/>
                <a:gd name="T36" fmla="*/ 44 w 1440"/>
                <a:gd name="T37" fmla="*/ 82 h 1476"/>
                <a:gd name="T38" fmla="*/ 41 w 1440"/>
                <a:gd name="T39" fmla="*/ 83 h 1476"/>
                <a:gd name="T40" fmla="*/ 36 w 1440"/>
                <a:gd name="T41" fmla="*/ 83 h 1476"/>
                <a:gd name="T42" fmla="*/ 33 w 1440"/>
                <a:gd name="T43" fmla="*/ 83 h 1476"/>
                <a:gd name="T44" fmla="*/ 30 w 1440"/>
                <a:gd name="T45" fmla="*/ 83 h 1476"/>
                <a:gd name="T46" fmla="*/ 27 w 1440"/>
                <a:gd name="T47" fmla="*/ 83 h 1476"/>
                <a:gd name="T48" fmla="*/ 24 w 1440"/>
                <a:gd name="T49" fmla="*/ 82 h 1476"/>
                <a:gd name="T50" fmla="*/ 21 w 1440"/>
                <a:gd name="T51" fmla="*/ 80 h 1476"/>
                <a:gd name="T52" fmla="*/ 18 w 1440"/>
                <a:gd name="T53" fmla="*/ 79 h 1476"/>
                <a:gd name="T54" fmla="*/ 17 w 1440"/>
                <a:gd name="T55" fmla="*/ 78 h 1476"/>
                <a:gd name="T56" fmla="*/ 12 w 1440"/>
                <a:gd name="T57" fmla="*/ 78 h 1476"/>
                <a:gd name="T58" fmla="*/ 12 w 1440"/>
                <a:gd name="T59" fmla="*/ 78 h 1476"/>
                <a:gd name="T60" fmla="*/ 7 w 1440"/>
                <a:gd name="T61" fmla="*/ 80 h 1476"/>
                <a:gd name="T62" fmla="*/ 3 w 1440"/>
                <a:gd name="T63" fmla="*/ 81 h 1476"/>
                <a:gd name="T64" fmla="*/ 0 w 1440"/>
                <a:gd name="T65" fmla="*/ 76 h 1476"/>
                <a:gd name="T66" fmla="*/ 1 w 1440"/>
                <a:gd name="T67" fmla="*/ 50 h 1476"/>
                <a:gd name="T68" fmla="*/ 8 w 1440"/>
                <a:gd name="T69" fmla="*/ 48 h 1476"/>
                <a:gd name="T70" fmla="*/ 20 w 1440"/>
                <a:gd name="T71" fmla="*/ 49 h 1476"/>
                <a:gd name="T72" fmla="*/ 26 w 1440"/>
                <a:gd name="T73" fmla="*/ 50 h 1476"/>
                <a:gd name="T74" fmla="*/ 44 w 1440"/>
                <a:gd name="T75" fmla="*/ 47 h 1476"/>
                <a:gd name="T76" fmla="*/ 41 w 1440"/>
                <a:gd name="T77" fmla="*/ 24 h 1476"/>
                <a:gd name="T78" fmla="*/ 44 w 1440"/>
                <a:gd name="T79" fmla="*/ 20 h 1476"/>
                <a:gd name="T80" fmla="*/ 47 w 1440"/>
                <a:gd name="T81" fmla="*/ 18 h 1476"/>
                <a:gd name="T82" fmla="*/ 54 w 1440"/>
                <a:gd name="T83" fmla="*/ 21 h 1476"/>
                <a:gd name="T84" fmla="*/ 61 w 1440"/>
                <a:gd name="T85" fmla="*/ 23 h 1476"/>
                <a:gd name="T86" fmla="*/ 59 w 1440"/>
                <a:gd name="T87" fmla="*/ 14 h 1476"/>
                <a:gd name="T88" fmla="*/ 61 w 1440"/>
                <a:gd name="T89" fmla="*/ 8 h 1476"/>
                <a:gd name="T90" fmla="*/ 71 w 1440"/>
                <a:gd name="T91" fmla="*/ 7 h 1476"/>
                <a:gd name="T92" fmla="*/ 75 w 1440"/>
                <a:gd name="T93" fmla="*/ 0 h 1476"/>
                <a:gd name="T94" fmla="*/ 82 w 1440"/>
                <a:gd name="T95" fmla="*/ 3 h 1476"/>
                <a:gd name="T96" fmla="*/ 93 w 1440"/>
                <a:gd name="T97" fmla="*/ 5 h 1476"/>
                <a:gd name="T98" fmla="*/ 100 w 1440"/>
                <a:gd name="T99" fmla="*/ 1 h 1476"/>
                <a:gd name="T100" fmla="*/ 104 w 1440"/>
                <a:gd name="T101" fmla="*/ 4 h 1476"/>
                <a:gd name="T102" fmla="*/ 110 w 1440"/>
                <a:gd name="T103" fmla="*/ 10 h 1476"/>
                <a:gd name="T104" fmla="*/ 115 w 1440"/>
                <a:gd name="T105" fmla="*/ 23 h 1476"/>
                <a:gd name="T106" fmla="*/ 117 w 1440"/>
                <a:gd name="T107" fmla="*/ 42 h 1476"/>
                <a:gd name="T108" fmla="*/ 121 w 1440"/>
                <a:gd name="T109" fmla="*/ 52 h 1476"/>
                <a:gd name="T110" fmla="*/ 118 w 1440"/>
                <a:gd name="T111" fmla="*/ 62 h 1476"/>
                <a:gd name="T112" fmla="*/ 124 w 1440"/>
                <a:gd name="T113" fmla="*/ 66 h 1476"/>
                <a:gd name="T114" fmla="*/ 121 w 1440"/>
                <a:gd name="T115" fmla="*/ 71 h 1476"/>
                <a:gd name="T116" fmla="*/ 115 w 1440"/>
                <a:gd name="T117" fmla="*/ 76 h 1476"/>
                <a:gd name="T118" fmla="*/ 109 w 1440"/>
                <a:gd name="T119" fmla="*/ 76 h 1476"/>
                <a:gd name="T120" fmla="*/ 105 w 1440"/>
                <a:gd name="T121" fmla="*/ 86 h 1476"/>
                <a:gd name="T122" fmla="*/ 107 w 1440"/>
                <a:gd name="T123" fmla="*/ 97 h 147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40"/>
                <a:gd name="T187" fmla="*/ 0 h 1476"/>
                <a:gd name="T188" fmla="*/ 1440 w 1440"/>
                <a:gd name="T189" fmla="*/ 1476 h 147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40" h="1476">
                  <a:moveTo>
                    <a:pt x="1212" y="1164"/>
                  </a:moveTo>
                  <a:lnTo>
                    <a:pt x="1206" y="1170"/>
                  </a:lnTo>
                  <a:lnTo>
                    <a:pt x="1200" y="1176"/>
                  </a:lnTo>
                  <a:lnTo>
                    <a:pt x="1194" y="1176"/>
                  </a:lnTo>
                  <a:lnTo>
                    <a:pt x="1188" y="1188"/>
                  </a:lnTo>
                  <a:lnTo>
                    <a:pt x="1182" y="1194"/>
                  </a:lnTo>
                  <a:lnTo>
                    <a:pt x="1176" y="1194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64" y="1206"/>
                  </a:lnTo>
                  <a:lnTo>
                    <a:pt x="1158" y="1206"/>
                  </a:lnTo>
                  <a:lnTo>
                    <a:pt x="1152" y="1212"/>
                  </a:lnTo>
                  <a:lnTo>
                    <a:pt x="1146" y="1212"/>
                  </a:lnTo>
                  <a:lnTo>
                    <a:pt x="1140" y="1224"/>
                  </a:lnTo>
                  <a:lnTo>
                    <a:pt x="1134" y="1230"/>
                  </a:lnTo>
                  <a:lnTo>
                    <a:pt x="1128" y="1236"/>
                  </a:lnTo>
                  <a:lnTo>
                    <a:pt x="1128" y="1242"/>
                  </a:lnTo>
                  <a:lnTo>
                    <a:pt x="1128" y="1254"/>
                  </a:lnTo>
                  <a:lnTo>
                    <a:pt x="1128" y="1260"/>
                  </a:lnTo>
                  <a:lnTo>
                    <a:pt x="1122" y="1260"/>
                  </a:lnTo>
                  <a:lnTo>
                    <a:pt x="1122" y="1266"/>
                  </a:lnTo>
                  <a:lnTo>
                    <a:pt x="1128" y="1278"/>
                  </a:lnTo>
                  <a:lnTo>
                    <a:pt x="1122" y="1278"/>
                  </a:lnTo>
                  <a:lnTo>
                    <a:pt x="1122" y="1284"/>
                  </a:lnTo>
                  <a:lnTo>
                    <a:pt x="1128" y="1290"/>
                  </a:lnTo>
                  <a:lnTo>
                    <a:pt x="1122" y="1296"/>
                  </a:lnTo>
                  <a:lnTo>
                    <a:pt x="1122" y="1302"/>
                  </a:lnTo>
                  <a:lnTo>
                    <a:pt x="1116" y="1302"/>
                  </a:lnTo>
                  <a:lnTo>
                    <a:pt x="1110" y="1314"/>
                  </a:lnTo>
                  <a:lnTo>
                    <a:pt x="1110" y="1320"/>
                  </a:lnTo>
                  <a:lnTo>
                    <a:pt x="1110" y="1326"/>
                  </a:lnTo>
                  <a:lnTo>
                    <a:pt x="1098" y="1332"/>
                  </a:lnTo>
                  <a:lnTo>
                    <a:pt x="1092" y="1338"/>
                  </a:lnTo>
                  <a:lnTo>
                    <a:pt x="1092" y="1344"/>
                  </a:lnTo>
                  <a:lnTo>
                    <a:pt x="1086" y="1350"/>
                  </a:lnTo>
                  <a:lnTo>
                    <a:pt x="1080" y="1350"/>
                  </a:lnTo>
                  <a:lnTo>
                    <a:pt x="1074" y="1350"/>
                  </a:lnTo>
                  <a:lnTo>
                    <a:pt x="1068" y="1356"/>
                  </a:lnTo>
                  <a:lnTo>
                    <a:pt x="1062" y="1356"/>
                  </a:lnTo>
                  <a:lnTo>
                    <a:pt x="1044" y="1356"/>
                  </a:lnTo>
                  <a:lnTo>
                    <a:pt x="1038" y="1362"/>
                  </a:lnTo>
                  <a:lnTo>
                    <a:pt x="1032" y="1368"/>
                  </a:lnTo>
                  <a:lnTo>
                    <a:pt x="1026" y="1368"/>
                  </a:lnTo>
                  <a:lnTo>
                    <a:pt x="1020" y="1374"/>
                  </a:lnTo>
                  <a:lnTo>
                    <a:pt x="1008" y="1374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74"/>
                  </a:lnTo>
                  <a:lnTo>
                    <a:pt x="978" y="1380"/>
                  </a:lnTo>
                  <a:lnTo>
                    <a:pt x="972" y="1380"/>
                  </a:lnTo>
                  <a:lnTo>
                    <a:pt x="954" y="1368"/>
                  </a:lnTo>
                  <a:lnTo>
                    <a:pt x="930" y="1368"/>
                  </a:lnTo>
                  <a:lnTo>
                    <a:pt x="918" y="1368"/>
                  </a:lnTo>
                  <a:lnTo>
                    <a:pt x="906" y="1368"/>
                  </a:lnTo>
                  <a:lnTo>
                    <a:pt x="894" y="1368"/>
                  </a:lnTo>
                  <a:lnTo>
                    <a:pt x="864" y="1374"/>
                  </a:lnTo>
                  <a:lnTo>
                    <a:pt x="852" y="1374"/>
                  </a:lnTo>
                  <a:lnTo>
                    <a:pt x="846" y="1386"/>
                  </a:lnTo>
                  <a:lnTo>
                    <a:pt x="846" y="1392"/>
                  </a:lnTo>
                  <a:lnTo>
                    <a:pt x="840" y="1398"/>
                  </a:lnTo>
                  <a:lnTo>
                    <a:pt x="840" y="1404"/>
                  </a:lnTo>
                  <a:lnTo>
                    <a:pt x="834" y="1416"/>
                  </a:lnTo>
                  <a:lnTo>
                    <a:pt x="828" y="1416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04" y="1428"/>
                  </a:lnTo>
                  <a:lnTo>
                    <a:pt x="804" y="1434"/>
                  </a:lnTo>
                  <a:lnTo>
                    <a:pt x="804" y="1440"/>
                  </a:lnTo>
                  <a:lnTo>
                    <a:pt x="798" y="1446"/>
                  </a:lnTo>
                  <a:lnTo>
                    <a:pt x="798" y="1458"/>
                  </a:lnTo>
                  <a:lnTo>
                    <a:pt x="792" y="1464"/>
                  </a:lnTo>
                  <a:lnTo>
                    <a:pt x="786" y="1476"/>
                  </a:lnTo>
                  <a:lnTo>
                    <a:pt x="780" y="1470"/>
                  </a:lnTo>
                  <a:lnTo>
                    <a:pt x="774" y="1470"/>
                  </a:lnTo>
                  <a:lnTo>
                    <a:pt x="768" y="1470"/>
                  </a:lnTo>
                  <a:lnTo>
                    <a:pt x="762" y="1476"/>
                  </a:lnTo>
                  <a:lnTo>
                    <a:pt x="762" y="1470"/>
                  </a:lnTo>
                  <a:lnTo>
                    <a:pt x="762" y="1464"/>
                  </a:lnTo>
                  <a:lnTo>
                    <a:pt x="762" y="1458"/>
                  </a:lnTo>
                  <a:lnTo>
                    <a:pt x="756" y="1458"/>
                  </a:lnTo>
                  <a:lnTo>
                    <a:pt x="756" y="1452"/>
                  </a:lnTo>
                  <a:lnTo>
                    <a:pt x="756" y="1446"/>
                  </a:lnTo>
                  <a:lnTo>
                    <a:pt x="756" y="1440"/>
                  </a:lnTo>
                  <a:lnTo>
                    <a:pt x="750" y="1434"/>
                  </a:lnTo>
                  <a:lnTo>
                    <a:pt x="750" y="1428"/>
                  </a:lnTo>
                  <a:lnTo>
                    <a:pt x="750" y="1422"/>
                  </a:lnTo>
                  <a:lnTo>
                    <a:pt x="750" y="1416"/>
                  </a:lnTo>
                  <a:lnTo>
                    <a:pt x="744" y="1416"/>
                  </a:lnTo>
                  <a:lnTo>
                    <a:pt x="744" y="1410"/>
                  </a:lnTo>
                  <a:lnTo>
                    <a:pt x="738" y="1404"/>
                  </a:lnTo>
                  <a:lnTo>
                    <a:pt x="732" y="1398"/>
                  </a:lnTo>
                  <a:lnTo>
                    <a:pt x="732" y="1392"/>
                  </a:lnTo>
                  <a:lnTo>
                    <a:pt x="726" y="1386"/>
                  </a:lnTo>
                  <a:lnTo>
                    <a:pt x="726" y="1380"/>
                  </a:lnTo>
                  <a:lnTo>
                    <a:pt x="714" y="1368"/>
                  </a:lnTo>
                  <a:lnTo>
                    <a:pt x="708" y="1368"/>
                  </a:lnTo>
                  <a:lnTo>
                    <a:pt x="684" y="1332"/>
                  </a:lnTo>
                  <a:lnTo>
                    <a:pt x="666" y="1320"/>
                  </a:lnTo>
                  <a:lnTo>
                    <a:pt x="648" y="1302"/>
                  </a:lnTo>
                  <a:lnTo>
                    <a:pt x="630" y="1314"/>
                  </a:lnTo>
                  <a:lnTo>
                    <a:pt x="624" y="1314"/>
                  </a:lnTo>
                  <a:lnTo>
                    <a:pt x="624" y="1308"/>
                  </a:lnTo>
                  <a:lnTo>
                    <a:pt x="618" y="1308"/>
                  </a:lnTo>
                  <a:lnTo>
                    <a:pt x="612" y="1284"/>
                  </a:lnTo>
                  <a:lnTo>
                    <a:pt x="606" y="1254"/>
                  </a:lnTo>
                  <a:lnTo>
                    <a:pt x="606" y="1248"/>
                  </a:lnTo>
                  <a:lnTo>
                    <a:pt x="606" y="1242"/>
                  </a:lnTo>
                  <a:lnTo>
                    <a:pt x="612" y="1242"/>
                  </a:lnTo>
                  <a:lnTo>
                    <a:pt x="618" y="1236"/>
                  </a:lnTo>
                  <a:lnTo>
                    <a:pt x="618" y="1230"/>
                  </a:lnTo>
                  <a:lnTo>
                    <a:pt x="624" y="1224"/>
                  </a:lnTo>
                  <a:lnTo>
                    <a:pt x="630" y="1224"/>
                  </a:lnTo>
                  <a:lnTo>
                    <a:pt x="636" y="1218"/>
                  </a:lnTo>
                  <a:lnTo>
                    <a:pt x="636" y="1212"/>
                  </a:lnTo>
                  <a:lnTo>
                    <a:pt x="612" y="1200"/>
                  </a:lnTo>
                  <a:lnTo>
                    <a:pt x="606" y="1182"/>
                  </a:lnTo>
                  <a:lnTo>
                    <a:pt x="672" y="1182"/>
                  </a:lnTo>
                  <a:lnTo>
                    <a:pt x="690" y="1170"/>
                  </a:lnTo>
                  <a:lnTo>
                    <a:pt x="690" y="1152"/>
                  </a:lnTo>
                  <a:lnTo>
                    <a:pt x="678" y="1110"/>
                  </a:lnTo>
                  <a:lnTo>
                    <a:pt x="672" y="1092"/>
                  </a:lnTo>
                  <a:lnTo>
                    <a:pt x="660" y="1074"/>
                  </a:lnTo>
                  <a:lnTo>
                    <a:pt x="648" y="1068"/>
                  </a:lnTo>
                  <a:lnTo>
                    <a:pt x="642" y="1068"/>
                  </a:lnTo>
                  <a:lnTo>
                    <a:pt x="636" y="1062"/>
                  </a:lnTo>
                  <a:lnTo>
                    <a:pt x="624" y="1056"/>
                  </a:lnTo>
                  <a:lnTo>
                    <a:pt x="624" y="1050"/>
                  </a:lnTo>
                  <a:lnTo>
                    <a:pt x="618" y="1038"/>
                  </a:lnTo>
                  <a:lnTo>
                    <a:pt x="612" y="1038"/>
                  </a:lnTo>
                  <a:lnTo>
                    <a:pt x="612" y="1032"/>
                  </a:lnTo>
                  <a:lnTo>
                    <a:pt x="612" y="1026"/>
                  </a:lnTo>
                  <a:lnTo>
                    <a:pt x="600" y="1014"/>
                  </a:lnTo>
                  <a:lnTo>
                    <a:pt x="582" y="1008"/>
                  </a:lnTo>
                  <a:lnTo>
                    <a:pt x="576" y="1002"/>
                  </a:lnTo>
                  <a:lnTo>
                    <a:pt x="576" y="996"/>
                  </a:lnTo>
                  <a:lnTo>
                    <a:pt x="570" y="996"/>
                  </a:lnTo>
                  <a:lnTo>
                    <a:pt x="570" y="990"/>
                  </a:lnTo>
                  <a:lnTo>
                    <a:pt x="570" y="984"/>
                  </a:lnTo>
                  <a:lnTo>
                    <a:pt x="564" y="984"/>
                  </a:lnTo>
                  <a:lnTo>
                    <a:pt x="558" y="978"/>
                  </a:lnTo>
                  <a:lnTo>
                    <a:pt x="552" y="972"/>
                  </a:lnTo>
                  <a:lnTo>
                    <a:pt x="552" y="966"/>
                  </a:lnTo>
                  <a:lnTo>
                    <a:pt x="546" y="972"/>
                  </a:lnTo>
                  <a:lnTo>
                    <a:pt x="540" y="972"/>
                  </a:lnTo>
                  <a:lnTo>
                    <a:pt x="534" y="960"/>
                  </a:lnTo>
                  <a:lnTo>
                    <a:pt x="528" y="960"/>
                  </a:lnTo>
                  <a:lnTo>
                    <a:pt x="528" y="966"/>
                  </a:lnTo>
                  <a:lnTo>
                    <a:pt x="516" y="954"/>
                  </a:lnTo>
                  <a:lnTo>
                    <a:pt x="516" y="948"/>
                  </a:lnTo>
                  <a:lnTo>
                    <a:pt x="510" y="948"/>
                  </a:lnTo>
                  <a:lnTo>
                    <a:pt x="504" y="948"/>
                  </a:lnTo>
                  <a:lnTo>
                    <a:pt x="498" y="948"/>
                  </a:lnTo>
                  <a:lnTo>
                    <a:pt x="504" y="954"/>
                  </a:lnTo>
                  <a:lnTo>
                    <a:pt x="498" y="954"/>
                  </a:lnTo>
                  <a:lnTo>
                    <a:pt x="492" y="954"/>
                  </a:lnTo>
                  <a:lnTo>
                    <a:pt x="480" y="942"/>
                  </a:lnTo>
                  <a:lnTo>
                    <a:pt x="480" y="948"/>
                  </a:lnTo>
                  <a:lnTo>
                    <a:pt x="480" y="954"/>
                  </a:lnTo>
                  <a:lnTo>
                    <a:pt x="474" y="954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56" y="966"/>
                  </a:lnTo>
                  <a:lnTo>
                    <a:pt x="456" y="960"/>
                  </a:lnTo>
                  <a:lnTo>
                    <a:pt x="450" y="966"/>
                  </a:lnTo>
                  <a:lnTo>
                    <a:pt x="444" y="966"/>
                  </a:lnTo>
                  <a:lnTo>
                    <a:pt x="414" y="966"/>
                  </a:lnTo>
                  <a:lnTo>
                    <a:pt x="408" y="960"/>
                  </a:lnTo>
                  <a:lnTo>
                    <a:pt x="408" y="966"/>
                  </a:lnTo>
                  <a:lnTo>
                    <a:pt x="402" y="960"/>
                  </a:lnTo>
                  <a:lnTo>
                    <a:pt x="396" y="960"/>
                  </a:lnTo>
                  <a:lnTo>
                    <a:pt x="390" y="960"/>
                  </a:lnTo>
                  <a:lnTo>
                    <a:pt x="390" y="966"/>
                  </a:lnTo>
                  <a:lnTo>
                    <a:pt x="384" y="966"/>
                  </a:lnTo>
                  <a:lnTo>
                    <a:pt x="378" y="966"/>
                  </a:lnTo>
                  <a:lnTo>
                    <a:pt x="384" y="960"/>
                  </a:lnTo>
                  <a:lnTo>
                    <a:pt x="384" y="954"/>
                  </a:lnTo>
                  <a:lnTo>
                    <a:pt x="372" y="948"/>
                  </a:lnTo>
                  <a:lnTo>
                    <a:pt x="372" y="954"/>
                  </a:lnTo>
                  <a:lnTo>
                    <a:pt x="372" y="960"/>
                  </a:lnTo>
                  <a:lnTo>
                    <a:pt x="366" y="960"/>
                  </a:lnTo>
                  <a:lnTo>
                    <a:pt x="360" y="966"/>
                  </a:lnTo>
                  <a:lnTo>
                    <a:pt x="354" y="966"/>
                  </a:lnTo>
                  <a:lnTo>
                    <a:pt x="348" y="960"/>
                  </a:lnTo>
                  <a:lnTo>
                    <a:pt x="342" y="960"/>
                  </a:lnTo>
                  <a:lnTo>
                    <a:pt x="342" y="966"/>
                  </a:lnTo>
                  <a:lnTo>
                    <a:pt x="336" y="972"/>
                  </a:lnTo>
                  <a:lnTo>
                    <a:pt x="330" y="972"/>
                  </a:lnTo>
                  <a:lnTo>
                    <a:pt x="324" y="966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6" y="954"/>
                  </a:lnTo>
                  <a:lnTo>
                    <a:pt x="306" y="948"/>
                  </a:lnTo>
                  <a:lnTo>
                    <a:pt x="306" y="942"/>
                  </a:lnTo>
                  <a:lnTo>
                    <a:pt x="300" y="942"/>
                  </a:lnTo>
                  <a:lnTo>
                    <a:pt x="294" y="936"/>
                  </a:lnTo>
                  <a:lnTo>
                    <a:pt x="288" y="936"/>
                  </a:lnTo>
                  <a:lnTo>
                    <a:pt x="282" y="942"/>
                  </a:lnTo>
                  <a:lnTo>
                    <a:pt x="276" y="936"/>
                  </a:lnTo>
                  <a:lnTo>
                    <a:pt x="276" y="942"/>
                  </a:lnTo>
                  <a:lnTo>
                    <a:pt x="270" y="942"/>
                  </a:lnTo>
                  <a:lnTo>
                    <a:pt x="264" y="936"/>
                  </a:lnTo>
                  <a:lnTo>
                    <a:pt x="252" y="936"/>
                  </a:lnTo>
                  <a:lnTo>
                    <a:pt x="246" y="936"/>
                  </a:lnTo>
                  <a:lnTo>
                    <a:pt x="240" y="936"/>
                  </a:lnTo>
                  <a:lnTo>
                    <a:pt x="234" y="936"/>
                  </a:lnTo>
                  <a:lnTo>
                    <a:pt x="240" y="924"/>
                  </a:lnTo>
                  <a:lnTo>
                    <a:pt x="234" y="924"/>
                  </a:lnTo>
                  <a:lnTo>
                    <a:pt x="228" y="918"/>
                  </a:lnTo>
                  <a:lnTo>
                    <a:pt x="228" y="906"/>
                  </a:lnTo>
                  <a:lnTo>
                    <a:pt x="222" y="900"/>
                  </a:lnTo>
                  <a:lnTo>
                    <a:pt x="216" y="900"/>
                  </a:lnTo>
                  <a:lnTo>
                    <a:pt x="210" y="900"/>
                  </a:lnTo>
                  <a:lnTo>
                    <a:pt x="210" y="906"/>
                  </a:lnTo>
                  <a:lnTo>
                    <a:pt x="204" y="906"/>
                  </a:lnTo>
                  <a:lnTo>
                    <a:pt x="198" y="906"/>
                  </a:lnTo>
                  <a:lnTo>
                    <a:pt x="210" y="900"/>
                  </a:lnTo>
                  <a:lnTo>
                    <a:pt x="210" y="894"/>
                  </a:lnTo>
                  <a:lnTo>
                    <a:pt x="216" y="888"/>
                  </a:lnTo>
                  <a:lnTo>
                    <a:pt x="204" y="882"/>
                  </a:lnTo>
                  <a:lnTo>
                    <a:pt x="204" y="894"/>
                  </a:lnTo>
                  <a:lnTo>
                    <a:pt x="198" y="894"/>
                  </a:lnTo>
                  <a:lnTo>
                    <a:pt x="192" y="900"/>
                  </a:lnTo>
                  <a:lnTo>
                    <a:pt x="186" y="894"/>
                  </a:lnTo>
                  <a:lnTo>
                    <a:pt x="180" y="894"/>
                  </a:lnTo>
                  <a:lnTo>
                    <a:pt x="174" y="894"/>
                  </a:lnTo>
                  <a:lnTo>
                    <a:pt x="168" y="900"/>
                  </a:lnTo>
                  <a:lnTo>
                    <a:pt x="162" y="906"/>
                  </a:lnTo>
                  <a:lnTo>
                    <a:pt x="156" y="906"/>
                  </a:lnTo>
                  <a:lnTo>
                    <a:pt x="150" y="900"/>
                  </a:lnTo>
                  <a:lnTo>
                    <a:pt x="144" y="894"/>
                  </a:lnTo>
                  <a:lnTo>
                    <a:pt x="138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0" y="888"/>
                  </a:lnTo>
                  <a:lnTo>
                    <a:pt x="114" y="894"/>
                  </a:lnTo>
                  <a:lnTo>
                    <a:pt x="120" y="900"/>
                  </a:lnTo>
                  <a:lnTo>
                    <a:pt x="126" y="900"/>
                  </a:lnTo>
                  <a:lnTo>
                    <a:pt x="132" y="900"/>
                  </a:lnTo>
                  <a:lnTo>
                    <a:pt x="132" y="906"/>
                  </a:lnTo>
                  <a:lnTo>
                    <a:pt x="126" y="912"/>
                  </a:lnTo>
                  <a:lnTo>
                    <a:pt x="126" y="918"/>
                  </a:lnTo>
                  <a:lnTo>
                    <a:pt x="114" y="918"/>
                  </a:lnTo>
                  <a:lnTo>
                    <a:pt x="108" y="924"/>
                  </a:lnTo>
                  <a:lnTo>
                    <a:pt x="102" y="924"/>
                  </a:lnTo>
                  <a:lnTo>
                    <a:pt x="90" y="924"/>
                  </a:lnTo>
                  <a:lnTo>
                    <a:pt x="84" y="924"/>
                  </a:lnTo>
                  <a:lnTo>
                    <a:pt x="78" y="924"/>
                  </a:lnTo>
                  <a:lnTo>
                    <a:pt x="60" y="924"/>
                  </a:lnTo>
                  <a:lnTo>
                    <a:pt x="54" y="942"/>
                  </a:lnTo>
                  <a:lnTo>
                    <a:pt x="48" y="936"/>
                  </a:lnTo>
                  <a:lnTo>
                    <a:pt x="42" y="930"/>
                  </a:lnTo>
                  <a:lnTo>
                    <a:pt x="36" y="930"/>
                  </a:lnTo>
                  <a:lnTo>
                    <a:pt x="30" y="936"/>
                  </a:lnTo>
                  <a:lnTo>
                    <a:pt x="30" y="930"/>
                  </a:lnTo>
                  <a:lnTo>
                    <a:pt x="30" y="924"/>
                  </a:lnTo>
                  <a:lnTo>
                    <a:pt x="18" y="918"/>
                  </a:lnTo>
                  <a:lnTo>
                    <a:pt x="18" y="912"/>
                  </a:lnTo>
                  <a:lnTo>
                    <a:pt x="12" y="912"/>
                  </a:lnTo>
                  <a:lnTo>
                    <a:pt x="6" y="912"/>
                  </a:lnTo>
                  <a:lnTo>
                    <a:pt x="6" y="900"/>
                  </a:lnTo>
                  <a:lnTo>
                    <a:pt x="6" y="894"/>
                  </a:lnTo>
                  <a:lnTo>
                    <a:pt x="0" y="870"/>
                  </a:lnTo>
                  <a:lnTo>
                    <a:pt x="6" y="846"/>
                  </a:lnTo>
                  <a:lnTo>
                    <a:pt x="6" y="810"/>
                  </a:lnTo>
                  <a:lnTo>
                    <a:pt x="12" y="774"/>
                  </a:lnTo>
                  <a:lnTo>
                    <a:pt x="12" y="756"/>
                  </a:lnTo>
                  <a:lnTo>
                    <a:pt x="18" y="744"/>
                  </a:lnTo>
                  <a:lnTo>
                    <a:pt x="18" y="732"/>
                  </a:lnTo>
                  <a:lnTo>
                    <a:pt x="12" y="576"/>
                  </a:lnTo>
                  <a:lnTo>
                    <a:pt x="12" y="570"/>
                  </a:lnTo>
                  <a:lnTo>
                    <a:pt x="18" y="564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42" y="552"/>
                  </a:lnTo>
                  <a:lnTo>
                    <a:pt x="66" y="552"/>
                  </a:lnTo>
                  <a:lnTo>
                    <a:pt x="78" y="558"/>
                  </a:lnTo>
                  <a:lnTo>
                    <a:pt x="90" y="558"/>
                  </a:lnTo>
                  <a:lnTo>
                    <a:pt x="108" y="558"/>
                  </a:lnTo>
                  <a:lnTo>
                    <a:pt x="144" y="558"/>
                  </a:lnTo>
                  <a:lnTo>
                    <a:pt x="204" y="552"/>
                  </a:lnTo>
                  <a:lnTo>
                    <a:pt x="210" y="558"/>
                  </a:lnTo>
                  <a:lnTo>
                    <a:pt x="216" y="558"/>
                  </a:lnTo>
                  <a:lnTo>
                    <a:pt x="210" y="564"/>
                  </a:lnTo>
                  <a:lnTo>
                    <a:pt x="216" y="564"/>
                  </a:lnTo>
                  <a:lnTo>
                    <a:pt x="222" y="564"/>
                  </a:lnTo>
                  <a:lnTo>
                    <a:pt x="240" y="564"/>
                  </a:lnTo>
                  <a:lnTo>
                    <a:pt x="258" y="564"/>
                  </a:lnTo>
                  <a:lnTo>
                    <a:pt x="264" y="570"/>
                  </a:lnTo>
                  <a:lnTo>
                    <a:pt x="276" y="570"/>
                  </a:lnTo>
                  <a:lnTo>
                    <a:pt x="282" y="564"/>
                  </a:lnTo>
                  <a:lnTo>
                    <a:pt x="294" y="564"/>
                  </a:lnTo>
                  <a:lnTo>
                    <a:pt x="294" y="570"/>
                  </a:lnTo>
                  <a:lnTo>
                    <a:pt x="300" y="570"/>
                  </a:lnTo>
                  <a:lnTo>
                    <a:pt x="378" y="564"/>
                  </a:lnTo>
                  <a:lnTo>
                    <a:pt x="408" y="558"/>
                  </a:lnTo>
                  <a:lnTo>
                    <a:pt x="432" y="552"/>
                  </a:lnTo>
                  <a:lnTo>
                    <a:pt x="450" y="546"/>
                  </a:lnTo>
                  <a:lnTo>
                    <a:pt x="468" y="546"/>
                  </a:lnTo>
                  <a:lnTo>
                    <a:pt x="468" y="552"/>
                  </a:lnTo>
                  <a:lnTo>
                    <a:pt x="504" y="552"/>
                  </a:lnTo>
                  <a:lnTo>
                    <a:pt x="510" y="534"/>
                  </a:lnTo>
                  <a:lnTo>
                    <a:pt x="516" y="510"/>
                  </a:lnTo>
                  <a:lnTo>
                    <a:pt x="522" y="510"/>
                  </a:lnTo>
                  <a:lnTo>
                    <a:pt x="528" y="420"/>
                  </a:lnTo>
                  <a:lnTo>
                    <a:pt x="522" y="414"/>
                  </a:lnTo>
                  <a:lnTo>
                    <a:pt x="516" y="396"/>
                  </a:lnTo>
                  <a:lnTo>
                    <a:pt x="510" y="372"/>
                  </a:lnTo>
                  <a:lnTo>
                    <a:pt x="498" y="348"/>
                  </a:lnTo>
                  <a:lnTo>
                    <a:pt x="474" y="282"/>
                  </a:lnTo>
                  <a:lnTo>
                    <a:pt x="474" y="270"/>
                  </a:lnTo>
                  <a:lnTo>
                    <a:pt x="480" y="258"/>
                  </a:lnTo>
                  <a:lnTo>
                    <a:pt x="486" y="258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92" y="246"/>
                  </a:lnTo>
                  <a:lnTo>
                    <a:pt x="504" y="234"/>
                  </a:lnTo>
                  <a:lnTo>
                    <a:pt x="510" y="228"/>
                  </a:lnTo>
                  <a:lnTo>
                    <a:pt x="516" y="228"/>
                  </a:lnTo>
                  <a:lnTo>
                    <a:pt x="516" y="222"/>
                  </a:lnTo>
                  <a:lnTo>
                    <a:pt x="516" y="216"/>
                  </a:lnTo>
                  <a:lnTo>
                    <a:pt x="522" y="216"/>
                  </a:lnTo>
                  <a:lnTo>
                    <a:pt x="528" y="210"/>
                  </a:lnTo>
                  <a:lnTo>
                    <a:pt x="534" y="210"/>
                  </a:lnTo>
                  <a:lnTo>
                    <a:pt x="540" y="210"/>
                  </a:lnTo>
                  <a:lnTo>
                    <a:pt x="546" y="210"/>
                  </a:lnTo>
                  <a:lnTo>
                    <a:pt x="552" y="210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16"/>
                  </a:lnTo>
                  <a:lnTo>
                    <a:pt x="588" y="228"/>
                  </a:lnTo>
                  <a:lnTo>
                    <a:pt x="594" y="234"/>
                  </a:lnTo>
                  <a:lnTo>
                    <a:pt x="600" y="240"/>
                  </a:lnTo>
                  <a:lnTo>
                    <a:pt x="618" y="246"/>
                  </a:lnTo>
                  <a:lnTo>
                    <a:pt x="624" y="246"/>
                  </a:lnTo>
                  <a:lnTo>
                    <a:pt x="636" y="252"/>
                  </a:lnTo>
                  <a:lnTo>
                    <a:pt x="654" y="252"/>
                  </a:lnTo>
                  <a:lnTo>
                    <a:pt x="654" y="258"/>
                  </a:lnTo>
                  <a:lnTo>
                    <a:pt x="666" y="264"/>
                  </a:lnTo>
                  <a:lnTo>
                    <a:pt x="672" y="264"/>
                  </a:lnTo>
                  <a:lnTo>
                    <a:pt x="678" y="264"/>
                  </a:lnTo>
                  <a:lnTo>
                    <a:pt x="696" y="258"/>
                  </a:lnTo>
                  <a:lnTo>
                    <a:pt x="696" y="252"/>
                  </a:lnTo>
                  <a:lnTo>
                    <a:pt x="696" y="246"/>
                  </a:lnTo>
                  <a:lnTo>
                    <a:pt x="690" y="234"/>
                  </a:lnTo>
                  <a:lnTo>
                    <a:pt x="684" y="210"/>
                  </a:lnTo>
                  <a:lnTo>
                    <a:pt x="678" y="192"/>
                  </a:lnTo>
                  <a:lnTo>
                    <a:pt x="672" y="174"/>
                  </a:lnTo>
                  <a:lnTo>
                    <a:pt x="672" y="168"/>
                  </a:lnTo>
                  <a:lnTo>
                    <a:pt x="672" y="162"/>
                  </a:lnTo>
                  <a:lnTo>
                    <a:pt x="672" y="156"/>
                  </a:lnTo>
                  <a:lnTo>
                    <a:pt x="684" y="132"/>
                  </a:lnTo>
                  <a:lnTo>
                    <a:pt x="684" y="120"/>
                  </a:lnTo>
                  <a:lnTo>
                    <a:pt x="684" y="108"/>
                  </a:lnTo>
                  <a:lnTo>
                    <a:pt x="678" y="102"/>
                  </a:lnTo>
                  <a:lnTo>
                    <a:pt x="678" y="96"/>
                  </a:lnTo>
                  <a:lnTo>
                    <a:pt x="684" y="96"/>
                  </a:lnTo>
                  <a:lnTo>
                    <a:pt x="696" y="90"/>
                  </a:lnTo>
                  <a:lnTo>
                    <a:pt x="702" y="84"/>
                  </a:lnTo>
                  <a:lnTo>
                    <a:pt x="720" y="72"/>
                  </a:lnTo>
                  <a:lnTo>
                    <a:pt x="738" y="66"/>
                  </a:lnTo>
                  <a:lnTo>
                    <a:pt x="756" y="60"/>
                  </a:lnTo>
                  <a:lnTo>
                    <a:pt x="768" y="60"/>
                  </a:lnTo>
                  <a:lnTo>
                    <a:pt x="798" y="72"/>
                  </a:lnTo>
                  <a:lnTo>
                    <a:pt x="804" y="78"/>
                  </a:lnTo>
                  <a:lnTo>
                    <a:pt x="816" y="84"/>
                  </a:lnTo>
                  <a:lnTo>
                    <a:pt x="822" y="84"/>
                  </a:lnTo>
                  <a:lnTo>
                    <a:pt x="828" y="72"/>
                  </a:lnTo>
                  <a:lnTo>
                    <a:pt x="828" y="60"/>
                  </a:lnTo>
                  <a:lnTo>
                    <a:pt x="828" y="36"/>
                  </a:lnTo>
                  <a:lnTo>
                    <a:pt x="828" y="24"/>
                  </a:lnTo>
                  <a:lnTo>
                    <a:pt x="828" y="12"/>
                  </a:lnTo>
                  <a:lnTo>
                    <a:pt x="834" y="12"/>
                  </a:lnTo>
                  <a:lnTo>
                    <a:pt x="852" y="6"/>
                  </a:lnTo>
                  <a:lnTo>
                    <a:pt x="876" y="6"/>
                  </a:lnTo>
                  <a:lnTo>
                    <a:pt x="894" y="6"/>
                  </a:lnTo>
                  <a:lnTo>
                    <a:pt x="906" y="12"/>
                  </a:lnTo>
                  <a:lnTo>
                    <a:pt x="912" y="24"/>
                  </a:lnTo>
                  <a:lnTo>
                    <a:pt x="924" y="24"/>
                  </a:lnTo>
                  <a:lnTo>
                    <a:pt x="930" y="30"/>
                  </a:lnTo>
                  <a:lnTo>
                    <a:pt x="936" y="30"/>
                  </a:lnTo>
                  <a:lnTo>
                    <a:pt x="936" y="36"/>
                  </a:lnTo>
                  <a:lnTo>
                    <a:pt x="942" y="36"/>
                  </a:lnTo>
                  <a:lnTo>
                    <a:pt x="948" y="42"/>
                  </a:lnTo>
                  <a:lnTo>
                    <a:pt x="960" y="48"/>
                  </a:lnTo>
                  <a:lnTo>
                    <a:pt x="966" y="48"/>
                  </a:lnTo>
                  <a:lnTo>
                    <a:pt x="1026" y="60"/>
                  </a:lnTo>
                  <a:lnTo>
                    <a:pt x="1050" y="60"/>
                  </a:lnTo>
                  <a:lnTo>
                    <a:pt x="1050" y="54"/>
                  </a:lnTo>
                  <a:lnTo>
                    <a:pt x="1062" y="54"/>
                  </a:lnTo>
                  <a:lnTo>
                    <a:pt x="1074" y="48"/>
                  </a:lnTo>
                  <a:lnTo>
                    <a:pt x="1086" y="42"/>
                  </a:lnTo>
                  <a:lnTo>
                    <a:pt x="1104" y="36"/>
                  </a:lnTo>
                  <a:lnTo>
                    <a:pt x="1116" y="30"/>
                  </a:lnTo>
                  <a:lnTo>
                    <a:pt x="1122" y="24"/>
                  </a:lnTo>
                  <a:lnTo>
                    <a:pt x="1128" y="18"/>
                  </a:lnTo>
                  <a:lnTo>
                    <a:pt x="1134" y="18"/>
                  </a:lnTo>
                  <a:lnTo>
                    <a:pt x="1140" y="12"/>
                  </a:lnTo>
                  <a:lnTo>
                    <a:pt x="1146" y="6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24"/>
                  </a:lnTo>
                  <a:lnTo>
                    <a:pt x="1176" y="36"/>
                  </a:lnTo>
                  <a:lnTo>
                    <a:pt x="1188" y="42"/>
                  </a:lnTo>
                  <a:lnTo>
                    <a:pt x="1200" y="54"/>
                  </a:lnTo>
                  <a:lnTo>
                    <a:pt x="1224" y="84"/>
                  </a:lnTo>
                  <a:lnTo>
                    <a:pt x="1224" y="90"/>
                  </a:lnTo>
                  <a:lnTo>
                    <a:pt x="1236" y="96"/>
                  </a:lnTo>
                  <a:lnTo>
                    <a:pt x="1236" y="108"/>
                  </a:lnTo>
                  <a:lnTo>
                    <a:pt x="1248" y="114"/>
                  </a:lnTo>
                  <a:lnTo>
                    <a:pt x="1254" y="114"/>
                  </a:lnTo>
                  <a:lnTo>
                    <a:pt x="1260" y="114"/>
                  </a:lnTo>
                  <a:lnTo>
                    <a:pt x="1296" y="114"/>
                  </a:lnTo>
                  <a:lnTo>
                    <a:pt x="1302" y="114"/>
                  </a:lnTo>
                  <a:lnTo>
                    <a:pt x="1320" y="108"/>
                  </a:lnTo>
                  <a:lnTo>
                    <a:pt x="1326" y="108"/>
                  </a:lnTo>
                  <a:lnTo>
                    <a:pt x="1326" y="138"/>
                  </a:lnTo>
                  <a:lnTo>
                    <a:pt x="1326" y="210"/>
                  </a:lnTo>
                  <a:lnTo>
                    <a:pt x="1320" y="252"/>
                  </a:lnTo>
                  <a:lnTo>
                    <a:pt x="1320" y="270"/>
                  </a:lnTo>
                  <a:lnTo>
                    <a:pt x="1320" y="288"/>
                  </a:lnTo>
                  <a:lnTo>
                    <a:pt x="1320" y="318"/>
                  </a:lnTo>
                  <a:lnTo>
                    <a:pt x="1326" y="354"/>
                  </a:lnTo>
                  <a:lnTo>
                    <a:pt x="1326" y="372"/>
                  </a:lnTo>
                  <a:lnTo>
                    <a:pt x="1332" y="420"/>
                  </a:lnTo>
                  <a:lnTo>
                    <a:pt x="1332" y="450"/>
                  </a:lnTo>
                  <a:lnTo>
                    <a:pt x="1338" y="480"/>
                  </a:lnTo>
                  <a:lnTo>
                    <a:pt x="1344" y="486"/>
                  </a:lnTo>
                  <a:lnTo>
                    <a:pt x="1338" y="492"/>
                  </a:lnTo>
                  <a:lnTo>
                    <a:pt x="1344" y="492"/>
                  </a:lnTo>
                  <a:lnTo>
                    <a:pt x="1344" y="498"/>
                  </a:lnTo>
                  <a:lnTo>
                    <a:pt x="1350" y="498"/>
                  </a:lnTo>
                  <a:lnTo>
                    <a:pt x="1350" y="522"/>
                  </a:lnTo>
                  <a:lnTo>
                    <a:pt x="1362" y="564"/>
                  </a:lnTo>
                  <a:lnTo>
                    <a:pt x="1368" y="582"/>
                  </a:lnTo>
                  <a:lnTo>
                    <a:pt x="1380" y="600"/>
                  </a:lnTo>
                  <a:lnTo>
                    <a:pt x="1386" y="636"/>
                  </a:lnTo>
                  <a:lnTo>
                    <a:pt x="1380" y="660"/>
                  </a:lnTo>
                  <a:lnTo>
                    <a:pt x="1380" y="678"/>
                  </a:lnTo>
                  <a:lnTo>
                    <a:pt x="1380" y="684"/>
                  </a:lnTo>
                  <a:lnTo>
                    <a:pt x="1374" y="684"/>
                  </a:lnTo>
                  <a:lnTo>
                    <a:pt x="1368" y="690"/>
                  </a:lnTo>
                  <a:lnTo>
                    <a:pt x="1356" y="702"/>
                  </a:lnTo>
                  <a:lnTo>
                    <a:pt x="1350" y="708"/>
                  </a:lnTo>
                  <a:lnTo>
                    <a:pt x="1356" y="714"/>
                  </a:lnTo>
                  <a:lnTo>
                    <a:pt x="1368" y="726"/>
                  </a:lnTo>
                  <a:lnTo>
                    <a:pt x="1380" y="738"/>
                  </a:lnTo>
                  <a:lnTo>
                    <a:pt x="1386" y="744"/>
                  </a:lnTo>
                  <a:lnTo>
                    <a:pt x="1392" y="744"/>
                  </a:lnTo>
                  <a:lnTo>
                    <a:pt x="1410" y="750"/>
                  </a:lnTo>
                  <a:lnTo>
                    <a:pt x="1416" y="756"/>
                  </a:lnTo>
                  <a:lnTo>
                    <a:pt x="1422" y="756"/>
                  </a:lnTo>
                  <a:lnTo>
                    <a:pt x="1422" y="762"/>
                  </a:lnTo>
                  <a:lnTo>
                    <a:pt x="1428" y="774"/>
                  </a:lnTo>
                  <a:lnTo>
                    <a:pt x="1428" y="780"/>
                  </a:lnTo>
                  <a:lnTo>
                    <a:pt x="1434" y="780"/>
                  </a:lnTo>
                  <a:lnTo>
                    <a:pt x="1440" y="798"/>
                  </a:lnTo>
                  <a:lnTo>
                    <a:pt x="1422" y="816"/>
                  </a:lnTo>
                  <a:lnTo>
                    <a:pt x="1386" y="810"/>
                  </a:lnTo>
                  <a:lnTo>
                    <a:pt x="1380" y="816"/>
                  </a:lnTo>
                  <a:lnTo>
                    <a:pt x="1374" y="840"/>
                  </a:lnTo>
                  <a:lnTo>
                    <a:pt x="1350" y="852"/>
                  </a:lnTo>
                  <a:lnTo>
                    <a:pt x="1350" y="858"/>
                  </a:lnTo>
                  <a:lnTo>
                    <a:pt x="1350" y="864"/>
                  </a:lnTo>
                  <a:lnTo>
                    <a:pt x="1344" y="864"/>
                  </a:lnTo>
                  <a:lnTo>
                    <a:pt x="1338" y="870"/>
                  </a:lnTo>
                  <a:lnTo>
                    <a:pt x="1332" y="876"/>
                  </a:lnTo>
                  <a:lnTo>
                    <a:pt x="1314" y="876"/>
                  </a:lnTo>
                  <a:lnTo>
                    <a:pt x="1314" y="870"/>
                  </a:lnTo>
                  <a:lnTo>
                    <a:pt x="1308" y="870"/>
                  </a:lnTo>
                  <a:lnTo>
                    <a:pt x="1302" y="864"/>
                  </a:lnTo>
                  <a:lnTo>
                    <a:pt x="1296" y="864"/>
                  </a:lnTo>
                  <a:lnTo>
                    <a:pt x="1284" y="870"/>
                  </a:lnTo>
                  <a:lnTo>
                    <a:pt x="1266" y="870"/>
                  </a:lnTo>
                  <a:lnTo>
                    <a:pt x="1260" y="870"/>
                  </a:lnTo>
                  <a:lnTo>
                    <a:pt x="1248" y="876"/>
                  </a:lnTo>
                  <a:lnTo>
                    <a:pt x="1236" y="876"/>
                  </a:lnTo>
                  <a:lnTo>
                    <a:pt x="1230" y="882"/>
                  </a:lnTo>
                  <a:lnTo>
                    <a:pt x="1224" y="894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18" y="942"/>
                  </a:lnTo>
                  <a:lnTo>
                    <a:pt x="1212" y="948"/>
                  </a:lnTo>
                  <a:lnTo>
                    <a:pt x="1200" y="984"/>
                  </a:lnTo>
                  <a:lnTo>
                    <a:pt x="1194" y="1008"/>
                  </a:lnTo>
                  <a:lnTo>
                    <a:pt x="1218" y="1038"/>
                  </a:lnTo>
                  <a:lnTo>
                    <a:pt x="1224" y="1044"/>
                  </a:lnTo>
                  <a:lnTo>
                    <a:pt x="1224" y="1062"/>
                  </a:lnTo>
                  <a:lnTo>
                    <a:pt x="1236" y="1080"/>
                  </a:lnTo>
                  <a:lnTo>
                    <a:pt x="1236" y="1086"/>
                  </a:lnTo>
                  <a:lnTo>
                    <a:pt x="1230" y="1092"/>
                  </a:lnTo>
                  <a:lnTo>
                    <a:pt x="1224" y="1110"/>
                  </a:lnTo>
                  <a:lnTo>
                    <a:pt x="1218" y="1122"/>
                  </a:lnTo>
                  <a:lnTo>
                    <a:pt x="1224" y="1140"/>
                  </a:lnTo>
                  <a:lnTo>
                    <a:pt x="1218" y="1146"/>
                  </a:lnTo>
                  <a:lnTo>
                    <a:pt x="1218" y="1152"/>
                  </a:lnTo>
                  <a:lnTo>
                    <a:pt x="1212" y="116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1" name="Freeform 36">
              <a:extLst>
                <a:ext uri="{FF2B5EF4-FFF2-40B4-BE49-F238E27FC236}">
                  <a16:creationId xmlns:a16="http://schemas.microsoft.com/office/drawing/2014/main" id="{B9C0D6BE-CB1C-4E69-B224-1ABF097AA8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90208" y="1647855"/>
              <a:ext cx="742415" cy="758173"/>
            </a:xfrm>
            <a:custGeom>
              <a:avLst/>
              <a:gdLst>
                <a:gd name="T0" fmla="*/ 75 w 1398"/>
                <a:gd name="T1" fmla="*/ 48 h 1428"/>
                <a:gd name="T2" fmla="*/ 68 w 1398"/>
                <a:gd name="T3" fmla="*/ 54 h 1428"/>
                <a:gd name="T4" fmla="*/ 57 w 1398"/>
                <a:gd name="T5" fmla="*/ 59 h 1428"/>
                <a:gd name="T6" fmla="*/ 55 w 1398"/>
                <a:gd name="T7" fmla="*/ 68 h 1428"/>
                <a:gd name="T8" fmla="*/ 55 w 1398"/>
                <a:gd name="T9" fmla="*/ 77 h 1428"/>
                <a:gd name="T10" fmla="*/ 57 w 1398"/>
                <a:gd name="T11" fmla="*/ 81 h 1428"/>
                <a:gd name="T12" fmla="*/ 56 w 1398"/>
                <a:gd name="T13" fmla="*/ 86 h 1428"/>
                <a:gd name="T14" fmla="*/ 57 w 1398"/>
                <a:gd name="T15" fmla="*/ 89 h 1428"/>
                <a:gd name="T16" fmla="*/ 58 w 1398"/>
                <a:gd name="T17" fmla="*/ 92 h 1428"/>
                <a:gd name="T18" fmla="*/ 58 w 1398"/>
                <a:gd name="T19" fmla="*/ 96 h 1428"/>
                <a:gd name="T20" fmla="*/ 49 w 1398"/>
                <a:gd name="T21" fmla="*/ 100 h 1428"/>
                <a:gd name="T22" fmla="*/ 47 w 1398"/>
                <a:gd name="T23" fmla="*/ 108 h 1428"/>
                <a:gd name="T24" fmla="*/ 48 w 1398"/>
                <a:gd name="T25" fmla="*/ 113 h 1428"/>
                <a:gd name="T26" fmla="*/ 43 w 1398"/>
                <a:gd name="T27" fmla="*/ 114 h 1428"/>
                <a:gd name="T28" fmla="*/ 39 w 1398"/>
                <a:gd name="T29" fmla="*/ 113 h 1428"/>
                <a:gd name="T30" fmla="*/ 33 w 1398"/>
                <a:gd name="T31" fmla="*/ 109 h 1428"/>
                <a:gd name="T32" fmla="*/ 29 w 1398"/>
                <a:gd name="T33" fmla="*/ 114 h 1428"/>
                <a:gd name="T34" fmla="*/ 22 w 1398"/>
                <a:gd name="T35" fmla="*/ 115 h 1428"/>
                <a:gd name="T36" fmla="*/ 21 w 1398"/>
                <a:gd name="T37" fmla="*/ 121 h 1428"/>
                <a:gd name="T38" fmla="*/ 12 w 1398"/>
                <a:gd name="T39" fmla="*/ 119 h 1428"/>
                <a:gd name="T40" fmla="*/ 9 w 1398"/>
                <a:gd name="T41" fmla="*/ 113 h 1428"/>
                <a:gd name="T42" fmla="*/ 2 w 1398"/>
                <a:gd name="T43" fmla="*/ 109 h 1428"/>
                <a:gd name="T44" fmla="*/ 4 w 1398"/>
                <a:gd name="T45" fmla="*/ 103 h 1428"/>
                <a:gd name="T46" fmla="*/ 2 w 1398"/>
                <a:gd name="T47" fmla="*/ 91 h 1428"/>
                <a:gd name="T48" fmla="*/ 6 w 1398"/>
                <a:gd name="T49" fmla="*/ 85 h 1428"/>
                <a:gd name="T50" fmla="*/ 10 w 1398"/>
                <a:gd name="T51" fmla="*/ 85 h 1428"/>
                <a:gd name="T52" fmla="*/ 15 w 1398"/>
                <a:gd name="T53" fmla="*/ 82 h 1428"/>
                <a:gd name="T54" fmla="*/ 20 w 1398"/>
                <a:gd name="T55" fmla="*/ 77 h 1428"/>
                <a:gd name="T56" fmla="*/ 16 w 1398"/>
                <a:gd name="T57" fmla="*/ 73 h 1428"/>
                <a:gd name="T58" fmla="*/ 16 w 1398"/>
                <a:gd name="T59" fmla="*/ 69 h 1428"/>
                <a:gd name="T60" fmla="*/ 14 w 1398"/>
                <a:gd name="T61" fmla="*/ 54 h 1428"/>
                <a:gd name="T62" fmla="*/ 12 w 1398"/>
                <a:gd name="T63" fmla="*/ 48 h 1428"/>
                <a:gd name="T64" fmla="*/ 11 w 1398"/>
                <a:gd name="T65" fmla="*/ 31 h 1428"/>
                <a:gd name="T66" fmla="*/ 14 w 1398"/>
                <a:gd name="T67" fmla="*/ 18 h 1428"/>
                <a:gd name="T68" fmla="*/ 19 w 1398"/>
                <a:gd name="T69" fmla="*/ 15 h 1428"/>
                <a:gd name="T70" fmla="*/ 26 w 1398"/>
                <a:gd name="T71" fmla="*/ 13 h 1428"/>
                <a:gd name="T72" fmla="*/ 34 w 1398"/>
                <a:gd name="T73" fmla="*/ 12 h 1428"/>
                <a:gd name="T74" fmla="*/ 39 w 1398"/>
                <a:gd name="T75" fmla="*/ 9 h 1428"/>
                <a:gd name="T76" fmla="*/ 43 w 1398"/>
                <a:gd name="T77" fmla="*/ 7 h 1428"/>
                <a:gd name="T78" fmla="*/ 48 w 1398"/>
                <a:gd name="T79" fmla="*/ 3 h 1428"/>
                <a:gd name="T80" fmla="*/ 54 w 1398"/>
                <a:gd name="T81" fmla="*/ 0 h 1428"/>
                <a:gd name="T82" fmla="*/ 58 w 1398"/>
                <a:gd name="T83" fmla="*/ 0 h 1428"/>
                <a:gd name="T84" fmla="*/ 66 w 1398"/>
                <a:gd name="T85" fmla="*/ 2 h 1428"/>
                <a:gd name="T86" fmla="*/ 70 w 1398"/>
                <a:gd name="T87" fmla="*/ 3 h 1428"/>
                <a:gd name="T88" fmla="*/ 75 w 1398"/>
                <a:gd name="T89" fmla="*/ 6 h 1428"/>
                <a:gd name="T90" fmla="*/ 80 w 1398"/>
                <a:gd name="T91" fmla="*/ 9 h 1428"/>
                <a:gd name="T92" fmla="*/ 83 w 1398"/>
                <a:gd name="T93" fmla="*/ 12 h 1428"/>
                <a:gd name="T94" fmla="*/ 87 w 1398"/>
                <a:gd name="T95" fmla="*/ 15 h 1428"/>
                <a:gd name="T96" fmla="*/ 94 w 1398"/>
                <a:gd name="T97" fmla="*/ 15 h 1428"/>
                <a:gd name="T98" fmla="*/ 99 w 1398"/>
                <a:gd name="T99" fmla="*/ 21 h 1428"/>
                <a:gd name="T100" fmla="*/ 103 w 1398"/>
                <a:gd name="T101" fmla="*/ 23 h 1428"/>
                <a:gd name="T102" fmla="*/ 110 w 1398"/>
                <a:gd name="T103" fmla="*/ 26 h 1428"/>
                <a:gd name="T104" fmla="*/ 116 w 1398"/>
                <a:gd name="T105" fmla="*/ 27 h 1428"/>
                <a:gd name="T106" fmla="*/ 120 w 1398"/>
                <a:gd name="T107" fmla="*/ 27 h 1428"/>
                <a:gd name="T108" fmla="*/ 116 w 1398"/>
                <a:gd name="T109" fmla="*/ 35 h 1428"/>
                <a:gd name="T110" fmla="*/ 104 w 1398"/>
                <a:gd name="T111" fmla="*/ 37 h 1428"/>
                <a:gd name="T112" fmla="*/ 97 w 1398"/>
                <a:gd name="T113" fmla="*/ 34 h 1428"/>
                <a:gd name="T114" fmla="*/ 91 w 1398"/>
                <a:gd name="T115" fmla="*/ 29 h 1428"/>
                <a:gd name="T116" fmla="*/ 75 w 1398"/>
                <a:gd name="T117" fmla="*/ 29 h 1428"/>
                <a:gd name="T118" fmla="*/ 72 w 1398"/>
                <a:gd name="T119" fmla="*/ 39 h 1428"/>
                <a:gd name="T120" fmla="*/ 80 w 1398"/>
                <a:gd name="T121" fmla="*/ 41 h 142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98"/>
                <a:gd name="T184" fmla="*/ 0 h 1428"/>
                <a:gd name="T185" fmla="*/ 1398 w 1398"/>
                <a:gd name="T186" fmla="*/ 1428 h 142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98" h="1428">
                  <a:moveTo>
                    <a:pt x="924" y="474"/>
                  </a:moveTo>
                  <a:lnTo>
                    <a:pt x="900" y="480"/>
                  </a:lnTo>
                  <a:lnTo>
                    <a:pt x="864" y="486"/>
                  </a:lnTo>
                  <a:lnTo>
                    <a:pt x="864" y="504"/>
                  </a:lnTo>
                  <a:lnTo>
                    <a:pt x="858" y="522"/>
                  </a:lnTo>
                  <a:lnTo>
                    <a:pt x="864" y="528"/>
                  </a:lnTo>
                  <a:lnTo>
                    <a:pt x="864" y="552"/>
                  </a:lnTo>
                  <a:lnTo>
                    <a:pt x="852" y="552"/>
                  </a:lnTo>
                  <a:lnTo>
                    <a:pt x="846" y="564"/>
                  </a:lnTo>
                  <a:lnTo>
                    <a:pt x="840" y="582"/>
                  </a:lnTo>
                  <a:lnTo>
                    <a:pt x="834" y="594"/>
                  </a:lnTo>
                  <a:lnTo>
                    <a:pt x="828" y="606"/>
                  </a:lnTo>
                  <a:lnTo>
                    <a:pt x="828" y="618"/>
                  </a:lnTo>
                  <a:lnTo>
                    <a:pt x="786" y="630"/>
                  </a:lnTo>
                  <a:lnTo>
                    <a:pt x="774" y="636"/>
                  </a:lnTo>
                  <a:lnTo>
                    <a:pt x="762" y="642"/>
                  </a:lnTo>
                  <a:lnTo>
                    <a:pt x="744" y="648"/>
                  </a:lnTo>
                  <a:lnTo>
                    <a:pt x="714" y="660"/>
                  </a:lnTo>
                  <a:lnTo>
                    <a:pt x="696" y="666"/>
                  </a:lnTo>
                  <a:lnTo>
                    <a:pt x="666" y="672"/>
                  </a:lnTo>
                  <a:lnTo>
                    <a:pt x="654" y="684"/>
                  </a:lnTo>
                  <a:lnTo>
                    <a:pt x="648" y="684"/>
                  </a:lnTo>
                  <a:lnTo>
                    <a:pt x="642" y="696"/>
                  </a:lnTo>
                  <a:lnTo>
                    <a:pt x="636" y="696"/>
                  </a:lnTo>
                  <a:lnTo>
                    <a:pt x="630" y="714"/>
                  </a:lnTo>
                  <a:lnTo>
                    <a:pt x="624" y="738"/>
                  </a:lnTo>
                  <a:lnTo>
                    <a:pt x="624" y="762"/>
                  </a:lnTo>
                  <a:lnTo>
                    <a:pt x="630" y="780"/>
                  </a:lnTo>
                  <a:lnTo>
                    <a:pt x="636" y="804"/>
                  </a:lnTo>
                  <a:lnTo>
                    <a:pt x="642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6" y="834"/>
                  </a:lnTo>
                  <a:lnTo>
                    <a:pt x="636" y="870"/>
                  </a:lnTo>
                  <a:lnTo>
                    <a:pt x="636" y="882"/>
                  </a:lnTo>
                  <a:lnTo>
                    <a:pt x="636" y="906"/>
                  </a:lnTo>
                  <a:lnTo>
                    <a:pt x="630" y="906"/>
                  </a:lnTo>
                  <a:lnTo>
                    <a:pt x="636" y="918"/>
                  </a:lnTo>
                  <a:lnTo>
                    <a:pt x="642" y="918"/>
                  </a:lnTo>
                  <a:lnTo>
                    <a:pt x="642" y="930"/>
                  </a:lnTo>
                  <a:lnTo>
                    <a:pt x="648" y="936"/>
                  </a:lnTo>
                  <a:lnTo>
                    <a:pt x="654" y="936"/>
                  </a:lnTo>
                  <a:lnTo>
                    <a:pt x="654" y="942"/>
                  </a:lnTo>
                  <a:lnTo>
                    <a:pt x="654" y="948"/>
                  </a:lnTo>
                  <a:lnTo>
                    <a:pt x="648" y="954"/>
                  </a:lnTo>
                  <a:lnTo>
                    <a:pt x="648" y="960"/>
                  </a:lnTo>
                  <a:lnTo>
                    <a:pt x="648" y="966"/>
                  </a:lnTo>
                  <a:lnTo>
                    <a:pt x="648" y="972"/>
                  </a:lnTo>
                  <a:lnTo>
                    <a:pt x="648" y="990"/>
                  </a:lnTo>
                  <a:lnTo>
                    <a:pt x="654" y="996"/>
                  </a:lnTo>
                  <a:lnTo>
                    <a:pt x="648" y="1002"/>
                  </a:lnTo>
                  <a:lnTo>
                    <a:pt x="648" y="1008"/>
                  </a:lnTo>
                  <a:lnTo>
                    <a:pt x="654" y="1014"/>
                  </a:lnTo>
                  <a:lnTo>
                    <a:pt x="654" y="1020"/>
                  </a:lnTo>
                  <a:lnTo>
                    <a:pt x="654" y="1026"/>
                  </a:lnTo>
                  <a:lnTo>
                    <a:pt x="660" y="1026"/>
                  </a:lnTo>
                  <a:lnTo>
                    <a:pt x="660" y="1032"/>
                  </a:lnTo>
                  <a:lnTo>
                    <a:pt x="660" y="1038"/>
                  </a:lnTo>
                  <a:lnTo>
                    <a:pt x="666" y="1044"/>
                  </a:lnTo>
                  <a:lnTo>
                    <a:pt x="672" y="1050"/>
                  </a:lnTo>
                  <a:lnTo>
                    <a:pt x="672" y="1056"/>
                  </a:lnTo>
                  <a:lnTo>
                    <a:pt x="672" y="1062"/>
                  </a:lnTo>
                  <a:lnTo>
                    <a:pt x="672" y="1068"/>
                  </a:lnTo>
                  <a:lnTo>
                    <a:pt x="672" y="1074"/>
                  </a:lnTo>
                  <a:lnTo>
                    <a:pt x="678" y="1074"/>
                  </a:lnTo>
                  <a:lnTo>
                    <a:pt x="678" y="1080"/>
                  </a:lnTo>
                  <a:lnTo>
                    <a:pt x="678" y="1086"/>
                  </a:lnTo>
                  <a:lnTo>
                    <a:pt x="672" y="1092"/>
                  </a:lnTo>
                  <a:lnTo>
                    <a:pt x="672" y="1098"/>
                  </a:lnTo>
                  <a:lnTo>
                    <a:pt x="672" y="1104"/>
                  </a:lnTo>
                  <a:lnTo>
                    <a:pt x="666" y="1116"/>
                  </a:lnTo>
                  <a:lnTo>
                    <a:pt x="624" y="1122"/>
                  </a:lnTo>
                  <a:lnTo>
                    <a:pt x="576" y="1134"/>
                  </a:lnTo>
                  <a:lnTo>
                    <a:pt x="570" y="1140"/>
                  </a:lnTo>
                  <a:lnTo>
                    <a:pt x="570" y="1146"/>
                  </a:lnTo>
                  <a:lnTo>
                    <a:pt x="564" y="1146"/>
                  </a:lnTo>
                  <a:lnTo>
                    <a:pt x="564" y="1152"/>
                  </a:lnTo>
                  <a:lnTo>
                    <a:pt x="564" y="1164"/>
                  </a:lnTo>
                  <a:lnTo>
                    <a:pt x="564" y="1170"/>
                  </a:lnTo>
                  <a:lnTo>
                    <a:pt x="564" y="1176"/>
                  </a:lnTo>
                  <a:lnTo>
                    <a:pt x="546" y="1176"/>
                  </a:lnTo>
                  <a:lnTo>
                    <a:pt x="540" y="1212"/>
                  </a:lnTo>
                  <a:lnTo>
                    <a:pt x="540" y="1230"/>
                  </a:lnTo>
                  <a:lnTo>
                    <a:pt x="546" y="1242"/>
                  </a:lnTo>
                  <a:lnTo>
                    <a:pt x="546" y="1254"/>
                  </a:lnTo>
                  <a:lnTo>
                    <a:pt x="558" y="1266"/>
                  </a:lnTo>
                  <a:lnTo>
                    <a:pt x="576" y="1272"/>
                  </a:lnTo>
                  <a:lnTo>
                    <a:pt x="570" y="1278"/>
                  </a:lnTo>
                  <a:lnTo>
                    <a:pt x="576" y="1284"/>
                  </a:lnTo>
                  <a:lnTo>
                    <a:pt x="570" y="1296"/>
                  </a:lnTo>
                  <a:lnTo>
                    <a:pt x="558" y="1302"/>
                  </a:lnTo>
                  <a:lnTo>
                    <a:pt x="540" y="1308"/>
                  </a:lnTo>
                  <a:lnTo>
                    <a:pt x="522" y="1314"/>
                  </a:lnTo>
                  <a:lnTo>
                    <a:pt x="516" y="1314"/>
                  </a:lnTo>
                  <a:lnTo>
                    <a:pt x="510" y="1314"/>
                  </a:lnTo>
                  <a:lnTo>
                    <a:pt x="504" y="1314"/>
                  </a:lnTo>
                  <a:lnTo>
                    <a:pt x="498" y="1320"/>
                  </a:lnTo>
                  <a:lnTo>
                    <a:pt x="492" y="1320"/>
                  </a:lnTo>
                  <a:lnTo>
                    <a:pt x="492" y="1326"/>
                  </a:lnTo>
                  <a:lnTo>
                    <a:pt x="486" y="1326"/>
                  </a:lnTo>
                  <a:lnTo>
                    <a:pt x="480" y="1326"/>
                  </a:lnTo>
                  <a:lnTo>
                    <a:pt x="480" y="1320"/>
                  </a:lnTo>
                  <a:lnTo>
                    <a:pt x="468" y="1314"/>
                  </a:lnTo>
                  <a:lnTo>
                    <a:pt x="462" y="1308"/>
                  </a:lnTo>
                  <a:lnTo>
                    <a:pt x="456" y="1302"/>
                  </a:lnTo>
                  <a:lnTo>
                    <a:pt x="444" y="1296"/>
                  </a:lnTo>
                  <a:lnTo>
                    <a:pt x="420" y="1290"/>
                  </a:lnTo>
                  <a:lnTo>
                    <a:pt x="414" y="1278"/>
                  </a:lnTo>
                  <a:lnTo>
                    <a:pt x="408" y="1278"/>
                  </a:lnTo>
                  <a:lnTo>
                    <a:pt x="408" y="1266"/>
                  </a:lnTo>
                  <a:lnTo>
                    <a:pt x="402" y="1260"/>
                  </a:lnTo>
                  <a:lnTo>
                    <a:pt x="384" y="1260"/>
                  </a:lnTo>
                  <a:lnTo>
                    <a:pt x="372" y="1266"/>
                  </a:lnTo>
                  <a:lnTo>
                    <a:pt x="360" y="1272"/>
                  </a:lnTo>
                  <a:lnTo>
                    <a:pt x="348" y="1272"/>
                  </a:lnTo>
                  <a:lnTo>
                    <a:pt x="342" y="1284"/>
                  </a:lnTo>
                  <a:lnTo>
                    <a:pt x="336" y="1290"/>
                  </a:lnTo>
                  <a:lnTo>
                    <a:pt x="336" y="1308"/>
                  </a:lnTo>
                  <a:lnTo>
                    <a:pt x="336" y="1314"/>
                  </a:lnTo>
                  <a:lnTo>
                    <a:pt x="336" y="1320"/>
                  </a:lnTo>
                  <a:lnTo>
                    <a:pt x="330" y="1326"/>
                  </a:lnTo>
                  <a:lnTo>
                    <a:pt x="330" y="1332"/>
                  </a:lnTo>
                  <a:lnTo>
                    <a:pt x="330" y="1338"/>
                  </a:lnTo>
                  <a:lnTo>
                    <a:pt x="300" y="1338"/>
                  </a:lnTo>
                  <a:lnTo>
                    <a:pt x="288" y="1338"/>
                  </a:lnTo>
                  <a:lnTo>
                    <a:pt x="258" y="1326"/>
                  </a:lnTo>
                  <a:lnTo>
                    <a:pt x="246" y="1332"/>
                  </a:lnTo>
                  <a:lnTo>
                    <a:pt x="240" y="1338"/>
                  </a:lnTo>
                  <a:lnTo>
                    <a:pt x="234" y="1338"/>
                  </a:lnTo>
                  <a:lnTo>
                    <a:pt x="228" y="1350"/>
                  </a:lnTo>
                  <a:lnTo>
                    <a:pt x="228" y="1374"/>
                  </a:lnTo>
                  <a:lnTo>
                    <a:pt x="234" y="1392"/>
                  </a:lnTo>
                  <a:lnTo>
                    <a:pt x="246" y="1398"/>
                  </a:lnTo>
                  <a:lnTo>
                    <a:pt x="246" y="1410"/>
                  </a:lnTo>
                  <a:lnTo>
                    <a:pt x="216" y="1428"/>
                  </a:lnTo>
                  <a:lnTo>
                    <a:pt x="198" y="1428"/>
                  </a:lnTo>
                  <a:lnTo>
                    <a:pt x="192" y="1422"/>
                  </a:lnTo>
                  <a:lnTo>
                    <a:pt x="174" y="1410"/>
                  </a:lnTo>
                  <a:lnTo>
                    <a:pt x="156" y="1386"/>
                  </a:lnTo>
                  <a:lnTo>
                    <a:pt x="132" y="1374"/>
                  </a:lnTo>
                  <a:lnTo>
                    <a:pt x="108" y="1368"/>
                  </a:lnTo>
                  <a:lnTo>
                    <a:pt x="84" y="1368"/>
                  </a:lnTo>
                  <a:lnTo>
                    <a:pt x="96" y="1356"/>
                  </a:lnTo>
                  <a:lnTo>
                    <a:pt x="102" y="1344"/>
                  </a:lnTo>
                  <a:lnTo>
                    <a:pt x="102" y="1332"/>
                  </a:lnTo>
                  <a:lnTo>
                    <a:pt x="108" y="1320"/>
                  </a:lnTo>
                  <a:lnTo>
                    <a:pt x="108" y="1302"/>
                  </a:lnTo>
                  <a:lnTo>
                    <a:pt x="96" y="1278"/>
                  </a:lnTo>
                  <a:lnTo>
                    <a:pt x="66" y="1284"/>
                  </a:lnTo>
                  <a:lnTo>
                    <a:pt x="54" y="1278"/>
                  </a:lnTo>
                  <a:lnTo>
                    <a:pt x="36" y="1278"/>
                  </a:lnTo>
                  <a:lnTo>
                    <a:pt x="18" y="1284"/>
                  </a:lnTo>
                  <a:lnTo>
                    <a:pt x="18" y="1272"/>
                  </a:lnTo>
                  <a:lnTo>
                    <a:pt x="24" y="1260"/>
                  </a:lnTo>
                  <a:lnTo>
                    <a:pt x="24" y="1254"/>
                  </a:lnTo>
                  <a:lnTo>
                    <a:pt x="30" y="1248"/>
                  </a:lnTo>
                  <a:lnTo>
                    <a:pt x="24" y="1230"/>
                  </a:lnTo>
                  <a:lnTo>
                    <a:pt x="30" y="1218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30" y="1170"/>
                  </a:lnTo>
                  <a:lnTo>
                    <a:pt x="30" y="1152"/>
                  </a:lnTo>
                  <a:lnTo>
                    <a:pt x="24" y="1146"/>
                  </a:lnTo>
                  <a:lnTo>
                    <a:pt x="0" y="1116"/>
                  </a:lnTo>
                  <a:lnTo>
                    <a:pt x="6" y="1092"/>
                  </a:lnTo>
                  <a:lnTo>
                    <a:pt x="18" y="1056"/>
                  </a:lnTo>
                  <a:lnTo>
                    <a:pt x="24" y="1050"/>
                  </a:lnTo>
                  <a:lnTo>
                    <a:pt x="24" y="1038"/>
                  </a:lnTo>
                  <a:lnTo>
                    <a:pt x="24" y="1026"/>
                  </a:lnTo>
                  <a:lnTo>
                    <a:pt x="30" y="1002"/>
                  </a:lnTo>
                  <a:lnTo>
                    <a:pt x="36" y="990"/>
                  </a:lnTo>
                  <a:lnTo>
                    <a:pt x="42" y="984"/>
                  </a:lnTo>
                  <a:lnTo>
                    <a:pt x="54" y="984"/>
                  </a:lnTo>
                  <a:lnTo>
                    <a:pt x="66" y="978"/>
                  </a:lnTo>
                  <a:lnTo>
                    <a:pt x="72" y="978"/>
                  </a:lnTo>
                  <a:lnTo>
                    <a:pt x="90" y="978"/>
                  </a:lnTo>
                  <a:lnTo>
                    <a:pt x="102" y="972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78"/>
                  </a:lnTo>
                  <a:lnTo>
                    <a:pt x="120" y="984"/>
                  </a:lnTo>
                  <a:lnTo>
                    <a:pt x="138" y="984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6" y="972"/>
                  </a:lnTo>
                  <a:lnTo>
                    <a:pt x="156" y="966"/>
                  </a:lnTo>
                  <a:lnTo>
                    <a:pt x="156" y="960"/>
                  </a:lnTo>
                  <a:lnTo>
                    <a:pt x="180" y="948"/>
                  </a:lnTo>
                  <a:lnTo>
                    <a:pt x="186" y="924"/>
                  </a:lnTo>
                  <a:lnTo>
                    <a:pt x="192" y="918"/>
                  </a:lnTo>
                  <a:lnTo>
                    <a:pt x="228" y="924"/>
                  </a:lnTo>
                  <a:lnTo>
                    <a:pt x="246" y="906"/>
                  </a:lnTo>
                  <a:lnTo>
                    <a:pt x="240" y="888"/>
                  </a:lnTo>
                  <a:lnTo>
                    <a:pt x="234" y="888"/>
                  </a:lnTo>
                  <a:lnTo>
                    <a:pt x="234" y="882"/>
                  </a:lnTo>
                  <a:lnTo>
                    <a:pt x="228" y="870"/>
                  </a:lnTo>
                  <a:lnTo>
                    <a:pt x="228" y="864"/>
                  </a:lnTo>
                  <a:lnTo>
                    <a:pt x="222" y="864"/>
                  </a:lnTo>
                  <a:lnTo>
                    <a:pt x="216" y="858"/>
                  </a:lnTo>
                  <a:lnTo>
                    <a:pt x="198" y="852"/>
                  </a:lnTo>
                  <a:lnTo>
                    <a:pt x="192" y="852"/>
                  </a:lnTo>
                  <a:lnTo>
                    <a:pt x="186" y="846"/>
                  </a:lnTo>
                  <a:lnTo>
                    <a:pt x="174" y="834"/>
                  </a:lnTo>
                  <a:lnTo>
                    <a:pt x="162" y="822"/>
                  </a:lnTo>
                  <a:lnTo>
                    <a:pt x="156" y="816"/>
                  </a:lnTo>
                  <a:lnTo>
                    <a:pt x="162" y="810"/>
                  </a:lnTo>
                  <a:lnTo>
                    <a:pt x="174" y="798"/>
                  </a:lnTo>
                  <a:lnTo>
                    <a:pt x="180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68"/>
                  </a:lnTo>
                  <a:lnTo>
                    <a:pt x="192" y="744"/>
                  </a:lnTo>
                  <a:lnTo>
                    <a:pt x="186" y="708"/>
                  </a:lnTo>
                  <a:lnTo>
                    <a:pt x="174" y="690"/>
                  </a:lnTo>
                  <a:lnTo>
                    <a:pt x="168" y="672"/>
                  </a:lnTo>
                  <a:lnTo>
                    <a:pt x="156" y="630"/>
                  </a:lnTo>
                  <a:lnTo>
                    <a:pt x="156" y="606"/>
                  </a:lnTo>
                  <a:lnTo>
                    <a:pt x="150" y="606"/>
                  </a:lnTo>
                  <a:lnTo>
                    <a:pt x="150" y="600"/>
                  </a:lnTo>
                  <a:lnTo>
                    <a:pt x="144" y="600"/>
                  </a:lnTo>
                  <a:lnTo>
                    <a:pt x="150" y="594"/>
                  </a:lnTo>
                  <a:lnTo>
                    <a:pt x="144" y="588"/>
                  </a:lnTo>
                  <a:lnTo>
                    <a:pt x="138" y="558"/>
                  </a:lnTo>
                  <a:lnTo>
                    <a:pt x="138" y="528"/>
                  </a:lnTo>
                  <a:lnTo>
                    <a:pt x="132" y="480"/>
                  </a:lnTo>
                  <a:lnTo>
                    <a:pt x="132" y="462"/>
                  </a:lnTo>
                  <a:lnTo>
                    <a:pt x="126" y="426"/>
                  </a:lnTo>
                  <a:lnTo>
                    <a:pt x="126" y="396"/>
                  </a:lnTo>
                  <a:lnTo>
                    <a:pt x="126" y="378"/>
                  </a:lnTo>
                  <a:lnTo>
                    <a:pt x="126" y="360"/>
                  </a:lnTo>
                  <a:lnTo>
                    <a:pt x="132" y="318"/>
                  </a:lnTo>
                  <a:lnTo>
                    <a:pt x="132" y="24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2" y="210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92" y="198"/>
                  </a:lnTo>
                  <a:lnTo>
                    <a:pt x="198" y="198"/>
                  </a:lnTo>
                  <a:lnTo>
                    <a:pt x="216" y="180"/>
                  </a:lnTo>
                  <a:lnTo>
                    <a:pt x="222" y="174"/>
                  </a:lnTo>
                  <a:lnTo>
                    <a:pt x="222" y="168"/>
                  </a:lnTo>
                  <a:lnTo>
                    <a:pt x="228" y="168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44"/>
                  </a:lnTo>
                  <a:lnTo>
                    <a:pt x="258" y="144"/>
                  </a:lnTo>
                  <a:lnTo>
                    <a:pt x="276" y="150"/>
                  </a:lnTo>
                  <a:lnTo>
                    <a:pt x="300" y="150"/>
                  </a:lnTo>
                  <a:lnTo>
                    <a:pt x="312" y="150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8" y="156"/>
                  </a:lnTo>
                  <a:lnTo>
                    <a:pt x="354" y="150"/>
                  </a:lnTo>
                  <a:lnTo>
                    <a:pt x="372" y="144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08" y="126"/>
                  </a:lnTo>
                  <a:lnTo>
                    <a:pt x="414" y="120"/>
                  </a:lnTo>
                  <a:lnTo>
                    <a:pt x="420" y="120"/>
                  </a:lnTo>
                  <a:lnTo>
                    <a:pt x="426" y="120"/>
                  </a:lnTo>
                  <a:lnTo>
                    <a:pt x="432" y="114"/>
                  </a:lnTo>
                  <a:lnTo>
                    <a:pt x="450" y="102"/>
                  </a:lnTo>
                  <a:lnTo>
                    <a:pt x="456" y="96"/>
                  </a:lnTo>
                  <a:lnTo>
                    <a:pt x="468" y="90"/>
                  </a:lnTo>
                  <a:lnTo>
                    <a:pt x="474" y="90"/>
                  </a:lnTo>
                  <a:lnTo>
                    <a:pt x="480" y="84"/>
                  </a:lnTo>
                  <a:lnTo>
                    <a:pt x="486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504" y="72"/>
                  </a:lnTo>
                  <a:lnTo>
                    <a:pt x="510" y="66"/>
                  </a:lnTo>
                  <a:lnTo>
                    <a:pt x="516" y="66"/>
                  </a:lnTo>
                  <a:lnTo>
                    <a:pt x="522" y="60"/>
                  </a:lnTo>
                  <a:lnTo>
                    <a:pt x="552" y="42"/>
                  </a:lnTo>
                  <a:lnTo>
                    <a:pt x="558" y="36"/>
                  </a:lnTo>
                  <a:lnTo>
                    <a:pt x="576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94" y="18"/>
                  </a:lnTo>
                  <a:lnTo>
                    <a:pt x="600" y="12"/>
                  </a:lnTo>
                  <a:lnTo>
                    <a:pt x="612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6"/>
                  </a:lnTo>
                  <a:lnTo>
                    <a:pt x="648" y="6"/>
                  </a:lnTo>
                  <a:lnTo>
                    <a:pt x="660" y="6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38" y="18"/>
                  </a:lnTo>
                  <a:lnTo>
                    <a:pt x="744" y="18"/>
                  </a:lnTo>
                  <a:lnTo>
                    <a:pt x="756" y="18"/>
                  </a:lnTo>
                  <a:lnTo>
                    <a:pt x="762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80" y="24"/>
                  </a:lnTo>
                  <a:lnTo>
                    <a:pt x="792" y="24"/>
                  </a:lnTo>
                  <a:lnTo>
                    <a:pt x="792" y="30"/>
                  </a:lnTo>
                  <a:lnTo>
                    <a:pt x="810" y="30"/>
                  </a:lnTo>
                  <a:lnTo>
                    <a:pt x="822" y="36"/>
                  </a:lnTo>
                  <a:lnTo>
                    <a:pt x="834" y="42"/>
                  </a:lnTo>
                  <a:lnTo>
                    <a:pt x="840" y="48"/>
                  </a:lnTo>
                  <a:lnTo>
                    <a:pt x="846" y="54"/>
                  </a:lnTo>
                  <a:lnTo>
                    <a:pt x="852" y="60"/>
                  </a:lnTo>
                  <a:lnTo>
                    <a:pt x="858" y="66"/>
                  </a:lnTo>
                  <a:lnTo>
                    <a:pt x="864" y="66"/>
                  </a:lnTo>
                  <a:lnTo>
                    <a:pt x="864" y="72"/>
                  </a:lnTo>
                  <a:lnTo>
                    <a:pt x="876" y="78"/>
                  </a:lnTo>
                  <a:lnTo>
                    <a:pt x="900" y="84"/>
                  </a:lnTo>
                  <a:lnTo>
                    <a:pt x="906" y="90"/>
                  </a:lnTo>
                  <a:lnTo>
                    <a:pt x="912" y="90"/>
                  </a:lnTo>
                  <a:lnTo>
                    <a:pt x="912" y="96"/>
                  </a:lnTo>
                  <a:lnTo>
                    <a:pt x="924" y="108"/>
                  </a:lnTo>
                  <a:lnTo>
                    <a:pt x="930" y="108"/>
                  </a:lnTo>
                  <a:lnTo>
                    <a:pt x="936" y="114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60" y="138"/>
                  </a:lnTo>
                  <a:lnTo>
                    <a:pt x="966" y="144"/>
                  </a:lnTo>
                  <a:lnTo>
                    <a:pt x="972" y="156"/>
                  </a:lnTo>
                  <a:lnTo>
                    <a:pt x="978" y="162"/>
                  </a:lnTo>
                  <a:lnTo>
                    <a:pt x="984" y="162"/>
                  </a:lnTo>
                  <a:lnTo>
                    <a:pt x="990" y="168"/>
                  </a:lnTo>
                  <a:lnTo>
                    <a:pt x="996" y="174"/>
                  </a:lnTo>
                  <a:lnTo>
                    <a:pt x="1002" y="180"/>
                  </a:lnTo>
                  <a:lnTo>
                    <a:pt x="1008" y="180"/>
                  </a:lnTo>
                  <a:lnTo>
                    <a:pt x="1020" y="180"/>
                  </a:lnTo>
                  <a:lnTo>
                    <a:pt x="1038" y="174"/>
                  </a:lnTo>
                  <a:lnTo>
                    <a:pt x="1050" y="174"/>
                  </a:lnTo>
                  <a:lnTo>
                    <a:pt x="1056" y="174"/>
                  </a:lnTo>
                  <a:lnTo>
                    <a:pt x="1068" y="180"/>
                  </a:lnTo>
                  <a:lnTo>
                    <a:pt x="1080" y="180"/>
                  </a:lnTo>
                  <a:lnTo>
                    <a:pt x="1086" y="186"/>
                  </a:lnTo>
                  <a:lnTo>
                    <a:pt x="1098" y="192"/>
                  </a:lnTo>
                  <a:lnTo>
                    <a:pt x="1116" y="204"/>
                  </a:lnTo>
                  <a:lnTo>
                    <a:pt x="1122" y="210"/>
                  </a:lnTo>
                  <a:lnTo>
                    <a:pt x="1134" y="222"/>
                  </a:lnTo>
                  <a:lnTo>
                    <a:pt x="1146" y="234"/>
                  </a:lnTo>
                  <a:lnTo>
                    <a:pt x="1146" y="240"/>
                  </a:lnTo>
                  <a:lnTo>
                    <a:pt x="1152" y="246"/>
                  </a:lnTo>
                  <a:lnTo>
                    <a:pt x="1152" y="252"/>
                  </a:lnTo>
                  <a:lnTo>
                    <a:pt x="1152" y="258"/>
                  </a:lnTo>
                  <a:lnTo>
                    <a:pt x="1164" y="258"/>
                  </a:lnTo>
                  <a:lnTo>
                    <a:pt x="1170" y="264"/>
                  </a:lnTo>
                  <a:lnTo>
                    <a:pt x="1182" y="270"/>
                  </a:lnTo>
                  <a:lnTo>
                    <a:pt x="1188" y="270"/>
                  </a:lnTo>
                  <a:lnTo>
                    <a:pt x="1194" y="270"/>
                  </a:lnTo>
                  <a:lnTo>
                    <a:pt x="1206" y="276"/>
                  </a:lnTo>
                  <a:lnTo>
                    <a:pt x="1224" y="282"/>
                  </a:lnTo>
                  <a:lnTo>
                    <a:pt x="1236" y="282"/>
                  </a:lnTo>
                  <a:lnTo>
                    <a:pt x="1242" y="288"/>
                  </a:lnTo>
                  <a:lnTo>
                    <a:pt x="1254" y="288"/>
                  </a:lnTo>
                  <a:lnTo>
                    <a:pt x="1266" y="294"/>
                  </a:lnTo>
                  <a:lnTo>
                    <a:pt x="1272" y="294"/>
                  </a:lnTo>
                  <a:lnTo>
                    <a:pt x="1284" y="300"/>
                  </a:lnTo>
                  <a:lnTo>
                    <a:pt x="1290" y="300"/>
                  </a:lnTo>
                  <a:lnTo>
                    <a:pt x="1296" y="300"/>
                  </a:lnTo>
                  <a:lnTo>
                    <a:pt x="1302" y="306"/>
                  </a:lnTo>
                  <a:lnTo>
                    <a:pt x="1326" y="312"/>
                  </a:lnTo>
                  <a:lnTo>
                    <a:pt x="1338" y="312"/>
                  </a:lnTo>
                  <a:lnTo>
                    <a:pt x="1338" y="318"/>
                  </a:lnTo>
                  <a:lnTo>
                    <a:pt x="1344" y="318"/>
                  </a:lnTo>
                  <a:lnTo>
                    <a:pt x="1350" y="318"/>
                  </a:lnTo>
                  <a:lnTo>
                    <a:pt x="1362" y="324"/>
                  </a:lnTo>
                  <a:lnTo>
                    <a:pt x="1368" y="318"/>
                  </a:lnTo>
                  <a:lnTo>
                    <a:pt x="1374" y="318"/>
                  </a:lnTo>
                  <a:lnTo>
                    <a:pt x="1386" y="318"/>
                  </a:lnTo>
                  <a:lnTo>
                    <a:pt x="1398" y="324"/>
                  </a:lnTo>
                  <a:lnTo>
                    <a:pt x="1398" y="342"/>
                  </a:lnTo>
                  <a:lnTo>
                    <a:pt x="1356" y="342"/>
                  </a:lnTo>
                  <a:lnTo>
                    <a:pt x="1350" y="348"/>
                  </a:lnTo>
                  <a:lnTo>
                    <a:pt x="1350" y="372"/>
                  </a:lnTo>
                  <a:lnTo>
                    <a:pt x="1338" y="384"/>
                  </a:lnTo>
                  <a:lnTo>
                    <a:pt x="1332" y="408"/>
                  </a:lnTo>
                  <a:lnTo>
                    <a:pt x="1320" y="420"/>
                  </a:lnTo>
                  <a:lnTo>
                    <a:pt x="1254" y="426"/>
                  </a:lnTo>
                  <a:lnTo>
                    <a:pt x="1248" y="432"/>
                  </a:lnTo>
                  <a:lnTo>
                    <a:pt x="1230" y="432"/>
                  </a:lnTo>
                  <a:lnTo>
                    <a:pt x="1212" y="432"/>
                  </a:lnTo>
                  <a:lnTo>
                    <a:pt x="1212" y="426"/>
                  </a:lnTo>
                  <a:lnTo>
                    <a:pt x="1200" y="426"/>
                  </a:lnTo>
                  <a:lnTo>
                    <a:pt x="1182" y="414"/>
                  </a:lnTo>
                  <a:lnTo>
                    <a:pt x="1182" y="420"/>
                  </a:lnTo>
                  <a:lnTo>
                    <a:pt x="1164" y="420"/>
                  </a:lnTo>
                  <a:lnTo>
                    <a:pt x="1158" y="414"/>
                  </a:lnTo>
                  <a:lnTo>
                    <a:pt x="1152" y="408"/>
                  </a:lnTo>
                  <a:lnTo>
                    <a:pt x="1146" y="402"/>
                  </a:lnTo>
                  <a:lnTo>
                    <a:pt x="1122" y="396"/>
                  </a:lnTo>
                  <a:lnTo>
                    <a:pt x="1116" y="366"/>
                  </a:lnTo>
                  <a:lnTo>
                    <a:pt x="1116" y="348"/>
                  </a:lnTo>
                  <a:lnTo>
                    <a:pt x="1110" y="342"/>
                  </a:lnTo>
                  <a:lnTo>
                    <a:pt x="1104" y="336"/>
                  </a:lnTo>
                  <a:lnTo>
                    <a:pt x="1092" y="330"/>
                  </a:lnTo>
                  <a:lnTo>
                    <a:pt x="1074" y="330"/>
                  </a:lnTo>
                  <a:lnTo>
                    <a:pt x="1044" y="330"/>
                  </a:lnTo>
                  <a:lnTo>
                    <a:pt x="1014" y="336"/>
                  </a:lnTo>
                  <a:lnTo>
                    <a:pt x="984" y="342"/>
                  </a:lnTo>
                  <a:lnTo>
                    <a:pt x="978" y="330"/>
                  </a:lnTo>
                  <a:lnTo>
                    <a:pt x="966" y="324"/>
                  </a:lnTo>
                  <a:lnTo>
                    <a:pt x="888" y="336"/>
                  </a:lnTo>
                  <a:lnTo>
                    <a:pt x="888" y="330"/>
                  </a:lnTo>
                  <a:lnTo>
                    <a:pt x="870" y="336"/>
                  </a:lnTo>
                  <a:lnTo>
                    <a:pt x="858" y="336"/>
                  </a:lnTo>
                  <a:lnTo>
                    <a:pt x="852" y="354"/>
                  </a:lnTo>
                  <a:lnTo>
                    <a:pt x="852" y="402"/>
                  </a:lnTo>
                  <a:lnTo>
                    <a:pt x="840" y="414"/>
                  </a:lnTo>
                  <a:lnTo>
                    <a:pt x="834" y="420"/>
                  </a:lnTo>
                  <a:lnTo>
                    <a:pt x="834" y="444"/>
                  </a:lnTo>
                  <a:lnTo>
                    <a:pt x="834" y="450"/>
                  </a:lnTo>
                  <a:lnTo>
                    <a:pt x="852" y="456"/>
                  </a:lnTo>
                  <a:lnTo>
                    <a:pt x="864" y="462"/>
                  </a:lnTo>
                  <a:lnTo>
                    <a:pt x="894" y="456"/>
                  </a:lnTo>
                  <a:lnTo>
                    <a:pt x="900" y="468"/>
                  </a:lnTo>
                  <a:lnTo>
                    <a:pt x="918" y="462"/>
                  </a:lnTo>
                  <a:lnTo>
                    <a:pt x="924" y="468"/>
                  </a:lnTo>
                  <a:lnTo>
                    <a:pt x="924" y="47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2" name="Freeform 37">
              <a:extLst>
                <a:ext uri="{FF2B5EF4-FFF2-40B4-BE49-F238E27FC236}">
                  <a16:creationId xmlns:a16="http://schemas.microsoft.com/office/drawing/2014/main" id="{DED8A1FF-B656-4D37-BD26-5B0A7B1A4A6D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441" y="1898343"/>
              <a:ext cx="567992" cy="686605"/>
            </a:xfrm>
            <a:custGeom>
              <a:avLst/>
              <a:gdLst>
                <a:gd name="T0" fmla="*/ 79 w 1068"/>
                <a:gd name="T1" fmla="*/ 72 h 1290"/>
                <a:gd name="T2" fmla="*/ 75 w 1068"/>
                <a:gd name="T3" fmla="*/ 73 h 1290"/>
                <a:gd name="T4" fmla="*/ 72 w 1068"/>
                <a:gd name="T5" fmla="*/ 76 h 1290"/>
                <a:gd name="T6" fmla="*/ 70 w 1068"/>
                <a:gd name="T7" fmla="*/ 78 h 1290"/>
                <a:gd name="T8" fmla="*/ 67 w 1068"/>
                <a:gd name="T9" fmla="*/ 82 h 1290"/>
                <a:gd name="T10" fmla="*/ 61 w 1068"/>
                <a:gd name="T11" fmla="*/ 86 h 1290"/>
                <a:gd name="T12" fmla="*/ 60 w 1068"/>
                <a:gd name="T13" fmla="*/ 93 h 1290"/>
                <a:gd name="T14" fmla="*/ 59 w 1068"/>
                <a:gd name="T15" fmla="*/ 97 h 1290"/>
                <a:gd name="T16" fmla="*/ 61 w 1068"/>
                <a:gd name="T17" fmla="*/ 101 h 1290"/>
                <a:gd name="T18" fmla="*/ 63 w 1068"/>
                <a:gd name="T19" fmla="*/ 104 h 1290"/>
                <a:gd name="T20" fmla="*/ 62 w 1068"/>
                <a:gd name="T21" fmla="*/ 108 h 1290"/>
                <a:gd name="T22" fmla="*/ 60 w 1068"/>
                <a:gd name="T23" fmla="*/ 111 h 1290"/>
                <a:gd name="T24" fmla="*/ 56 w 1068"/>
                <a:gd name="T25" fmla="*/ 111 h 1290"/>
                <a:gd name="T26" fmla="*/ 53 w 1068"/>
                <a:gd name="T27" fmla="*/ 110 h 1290"/>
                <a:gd name="T28" fmla="*/ 50 w 1068"/>
                <a:gd name="T29" fmla="*/ 109 h 1290"/>
                <a:gd name="T30" fmla="*/ 47 w 1068"/>
                <a:gd name="T31" fmla="*/ 110 h 1290"/>
                <a:gd name="T32" fmla="*/ 51 w 1068"/>
                <a:gd name="T33" fmla="*/ 104 h 1290"/>
                <a:gd name="T34" fmla="*/ 50 w 1068"/>
                <a:gd name="T35" fmla="*/ 95 h 1290"/>
                <a:gd name="T36" fmla="*/ 51 w 1068"/>
                <a:gd name="T37" fmla="*/ 90 h 1290"/>
                <a:gd name="T38" fmla="*/ 47 w 1068"/>
                <a:gd name="T39" fmla="*/ 84 h 1290"/>
                <a:gd name="T40" fmla="*/ 42 w 1068"/>
                <a:gd name="T41" fmla="*/ 78 h 1290"/>
                <a:gd name="T42" fmla="*/ 33 w 1068"/>
                <a:gd name="T43" fmla="*/ 73 h 1290"/>
                <a:gd name="T44" fmla="*/ 26 w 1068"/>
                <a:gd name="T45" fmla="*/ 68 h 1290"/>
                <a:gd name="T46" fmla="*/ 22 w 1068"/>
                <a:gd name="T47" fmla="*/ 63 h 1290"/>
                <a:gd name="T48" fmla="*/ 11 w 1068"/>
                <a:gd name="T49" fmla="*/ 67 h 1290"/>
                <a:gd name="T50" fmla="*/ 0 w 1068"/>
                <a:gd name="T51" fmla="*/ 68 h 1290"/>
                <a:gd name="T52" fmla="*/ 2 w 1068"/>
                <a:gd name="T53" fmla="*/ 59 h 1290"/>
                <a:gd name="T54" fmla="*/ 12 w 1068"/>
                <a:gd name="T55" fmla="*/ 55 h 1290"/>
                <a:gd name="T56" fmla="*/ 12 w 1068"/>
                <a:gd name="T57" fmla="*/ 51 h 1290"/>
                <a:gd name="T58" fmla="*/ 10 w 1068"/>
                <a:gd name="T59" fmla="*/ 47 h 1290"/>
                <a:gd name="T60" fmla="*/ 9 w 1068"/>
                <a:gd name="T61" fmla="*/ 42 h 1290"/>
                <a:gd name="T62" fmla="*/ 8 w 1068"/>
                <a:gd name="T63" fmla="*/ 38 h 1290"/>
                <a:gd name="T64" fmla="*/ 8 w 1068"/>
                <a:gd name="T65" fmla="*/ 29 h 1290"/>
                <a:gd name="T66" fmla="*/ 10 w 1068"/>
                <a:gd name="T67" fmla="*/ 18 h 1290"/>
                <a:gd name="T68" fmla="*/ 25 w 1068"/>
                <a:gd name="T69" fmla="*/ 12 h 1290"/>
                <a:gd name="T70" fmla="*/ 27 w 1068"/>
                <a:gd name="T71" fmla="*/ 4 h 1290"/>
                <a:gd name="T72" fmla="*/ 35 w 1068"/>
                <a:gd name="T73" fmla="*/ 6 h 1290"/>
                <a:gd name="T74" fmla="*/ 39 w 1068"/>
                <a:gd name="T75" fmla="*/ 8 h 1290"/>
                <a:gd name="T76" fmla="*/ 41 w 1068"/>
                <a:gd name="T77" fmla="*/ 3 h 1290"/>
                <a:gd name="T78" fmla="*/ 45 w 1068"/>
                <a:gd name="T79" fmla="*/ 0 h 1290"/>
                <a:gd name="T80" fmla="*/ 51 w 1068"/>
                <a:gd name="T81" fmla="*/ 0 h 1290"/>
                <a:gd name="T82" fmla="*/ 56 w 1068"/>
                <a:gd name="T83" fmla="*/ 4 h 1290"/>
                <a:gd name="T84" fmla="*/ 62 w 1068"/>
                <a:gd name="T85" fmla="*/ 12 h 1290"/>
                <a:gd name="T86" fmla="*/ 58 w 1068"/>
                <a:gd name="T87" fmla="*/ 17 h 1290"/>
                <a:gd name="T88" fmla="*/ 60 w 1068"/>
                <a:gd name="T89" fmla="*/ 18 h 1290"/>
                <a:gd name="T90" fmla="*/ 64 w 1068"/>
                <a:gd name="T91" fmla="*/ 16 h 1290"/>
                <a:gd name="T92" fmla="*/ 68 w 1068"/>
                <a:gd name="T93" fmla="*/ 18 h 1290"/>
                <a:gd name="T94" fmla="*/ 71 w 1068"/>
                <a:gd name="T95" fmla="*/ 27 h 1290"/>
                <a:gd name="T96" fmla="*/ 74 w 1068"/>
                <a:gd name="T97" fmla="*/ 30 h 1290"/>
                <a:gd name="T98" fmla="*/ 82 w 1068"/>
                <a:gd name="T99" fmla="*/ 30 h 1290"/>
                <a:gd name="T100" fmla="*/ 87 w 1068"/>
                <a:gd name="T101" fmla="*/ 35 h 1290"/>
                <a:gd name="T102" fmla="*/ 85 w 1068"/>
                <a:gd name="T103" fmla="*/ 42 h 1290"/>
                <a:gd name="T104" fmla="*/ 81 w 1068"/>
                <a:gd name="T105" fmla="*/ 46 h 1290"/>
                <a:gd name="T106" fmla="*/ 86 w 1068"/>
                <a:gd name="T107" fmla="*/ 50 h 1290"/>
                <a:gd name="T108" fmla="*/ 89 w 1068"/>
                <a:gd name="T109" fmla="*/ 58 h 1290"/>
                <a:gd name="T110" fmla="*/ 92 w 1068"/>
                <a:gd name="T111" fmla="*/ 61 h 1290"/>
                <a:gd name="T112" fmla="*/ 86 w 1068"/>
                <a:gd name="T113" fmla="*/ 66 h 1290"/>
                <a:gd name="T114" fmla="*/ 85 w 1068"/>
                <a:gd name="T115" fmla="*/ 70 h 129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68"/>
                <a:gd name="T175" fmla="*/ 0 h 1290"/>
                <a:gd name="T176" fmla="*/ 1068 w 1068"/>
                <a:gd name="T177" fmla="*/ 1290 h 129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68" h="1290">
                  <a:moveTo>
                    <a:pt x="978" y="804"/>
                  </a:moveTo>
                  <a:lnTo>
                    <a:pt x="972" y="810"/>
                  </a:lnTo>
                  <a:lnTo>
                    <a:pt x="966" y="810"/>
                  </a:lnTo>
                  <a:lnTo>
                    <a:pt x="966" y="816"/>
                  </a:lnTo>
                  <a:lnTo>
                    <a:pt x="936" y="828"/>
                  </a:lnTo>
                  <a:lnTo>
                    <a:pt x="924" y="822"/>
                  </a:lnTo>
                  <a:lnTo>
                    <a:pt x="912" y="822"/>
                  </a:lnTo>
                  <a:lnTo>
                    <a:pt x="906" y="828"/>
                  </a:lnTo>
                  <a:lnTo>
                    <a:pt x="900" y="828"/>
                  </a:lnTo>
                  <a:lnTo>
                    <a:pt x="900" y="822"/>
                  </a:lnTo>
                  <a:lnTo>
                    <a:pt x="894" y="822"/>
                  </a:lnTo>
                  <a:lnTo>
                    <a:pt x="888" y="828"/>
                  </a:lnTo>
                  <a:lnTo>
                    <a:pt x="882" y="834"/>
                  </a:lnTo>
                  <a:lnTo>
                    <a:pt x="876" y="834"/>
                  </a:lnTo>
                  <a:lnTo>
                    <a:pt x="870" y="840"/>
                  </a:lnTo>
                  <a:lnTo>
                    <a:pt x="864" y="840"/>
                  </a:lnTo>
                  <a:lnTo>
                    <a:pt x="864" y="846"/>
                  </a:lnTo>
                  <a:lnTo>
                    <a:pt x="858" y="846"/>
                  </a:lnTo>
                  <a:lnTo>
                    <a:pt x="852" y="846"/>
                  </a:lnTo>
                  <a:lnTo>
                    <a:pt x="852" y="858"/>
                  </a:lnTo>
                  <a:lnTo>
                    <a:pt x="846" y="864"/>
                  </a:lnTo>
                  <a:lnTo>
                    <a:pt x="840" y="870"/>
                  </a:lnTo>
                  <a:lnTo>
                    <a:pt x="834" y="870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34" y="876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10" y="894"/>
                  </a:lnTo>
                  <a:lnTo>
                    <a:pt x="810" y="900"/>
                  </a:lnTo>
                  <a:lnTo>
                    <a:pt x="804" y="900"/>
                  </a:lnTo>
                  <a:lnTo>
                    <a:pt x="798" y="900"/>
                  </a:lnTo>
                  <a:lnTo>
                    <a:pt x="798" y="906"/>
                  </a:lnTo>
                  <a:lnTo>
                    <a:pt x="792" y="906"/>
                  </a:lnTo>
                  <a:lnTo>
                    <a:pt x="792" y="912"/>
                  </a:lnTo>
                  <a:lnTo>
                    <a:pt x="792" y="924"/>
                  </a:lnTo>
                  <a:lnTo>
                    <a:pt x="786" y="930"/>
                  </a:lnTo>
                  <a:lnTo>
                    <a:pt x="774" y="942"/>
                  </a:lnTo>
                  <a:lnTo>
                    <a:pt x="774" y="948"/>
                  </a:lnTo>
                  <a:lnTo>
                    <a:pt x="768" y="954"/>
                  </a:lnTo>
                  <a:lnTo>
                    <a:pt x="762" y="954"/>
                  </a:lnTo>
                  <a:lnTo>
                    <a:pt x="750" y="972"/>
                  </a:lnTo>
                  <a:lnTo>
                    <a:pt x="720" y="978"/>
                  </a:lnTo>
                  <a:lnTo>
                    <a:pt x="714" y="978"/>
                  </a:lnTo>
                  <a:lnTo>
                    <a:pt x="708" y="978"/>
                  </a:lnTo>
                  <a:lnTo>
                    <a:pt x="702" y="990"/>
                  </a:lnTo>
                  <a:lnTo>
                    <a:pt x="696" y="990"/>
                  </a:lnTo>
                  <a:lnTo>
                    <a:pt x="696" y="1008"/>
                  </a:lnTo>
                  <a:lnTo>
                    <a:pt x="690" y="1008"/>
                  </a:lnTo>
                  <a:lnTo>
                    <a:pt x="690" y="1014"/>
                  </a:lnTo>
                  <a:lnTo>
                    <a:pt x="684" y="1032"/>
                  </a:lnTo>
                  <a:lnTo>
                    <a:pt x="690" y="1050"/>
                  </a:lnTo>
                  <a:lnTo>
                    <a:pt x="690" y="1062"/>
                  </a:lnTo>
                  <a:lnTo>
                    <a:pt x="690" y="1068"/>
                  </a:lnTo>
                  <a:lnTo>
                    <a:pt x="690" y="1074"/>
                  </a:lnTo>
                  <a:lnTo>
                    <a:pt x="684" y="1074"/>
                  </a:lnTo>
                  <a:lnTo>
                    <a:pt x="684" y="1080"/>
                  </a:lnTo>
                  <a:lnTo>
                    <a:pt x="678" y="1086"/>
                  </a:lnTo>
                  <a:lnTo>
                    <a:pt x="678" y="1104"/>
                  </a:lnTo>
                  <a:lnTo>
                    <a:pt x="678" y="1110"/>
                  </a:lnTo>
                  <a:lnTo>
                    <a:pt x="678" y="1116"/>
                  </a:lnTo>
                  <a:lnTo>
                    <a:pt x="684" y="1116"/>
                  </a:lnTo>
                  <a:lnTo>
                    <a:pt x="678" y="1128"/>
                  </a:lnTo>
                  <a:lnTo>
                    <a:pt x="684" y="1128"/>
                  </a:lnTo>
                  <a:lnTo>
                    <a:pt x="690" y="1134"/>
                  </a:lnTo>
                  <a:lnTo>
                    <a:pt x="690" y="1140"/>
                  </a:lnTo>
                  <a:lnTo>
                    <a:pt x="696" y="1140"/>
                  </a:lnTo>
                  <a:lnTo>
                    <a:pt x="696" y="1146"/>
                  </a:lnTo>
                  <a:lnTo>
                    <a:pt x="696" y="1152"/>
                  </a:lnTo>
                  <a:lnTo>
                    <a:pt x="702" y="1152"/>
                  </a:lnTo>
                  <a:lnTo>
                    <a:pt x="708" y="1152"/>
                  </a:lnTo>
                  <a:lnTo>
                    <a:pt x="714" y="1158"/>
                  </a:lnTo>
                  <a:lnTo>
                    <a:pt x="714" y="1164"/>
                  </a:lnTo>
                  <a:lnTo>
                    <a:pt x="720" y="1170"/>
                  </a:lnTo>
                  <a:lnTo>
                    <a:pt x="720" y="1176"/>
                  </a:lnTo>
                  <a:lnTo>
                    <a:pt x="720" y="1182"/>
                  </a:lnTo>
                  <a:lnTo>
                    <a:pt x="726" y="1188"/>
                  </a:lnTo>
                  <a:lnTo>
                    <a:pt x="726" y="1194"/>
                  </a:lnTo>
                  <a:lnTo>
                    <a:pt x="732" y="1194"/>
                  </a:lnTo>
                  <a:lnTo>
                    <a:pt x="732" y="1200"/>
                  </a:lnTo>
                  <a:lnTo>
                    <a:pt x="738" y="1212"/>
                  </a:lnTo>
                  <a:lnTo>
                    <a:pt x="732" y="1218"/>
                  </a:lnTo>
                  <a:lnTo>
                    <a:pt x="732" y="1224"/>
                  </a:lnTo>
                  <a:lnTo>
                    <a:pt x="726" y="1230"/>
                  </a:lnTo>
                  <a:lnTo>
                    <a:pt x="720" y="1230"/>
                  </a:lnTo>
                  <a:lnTo>
                    <a:pt x="720" y="1236"/>
                  </a:lnTo>
                  <a:lnTo>
                    <a:pt x="720" y="1242"/>
                  </a:lnTo>
                  <a:lnTo>
                    <a:pt x="720" y="1248"/>
                  </a:lnTo>
                  <a:lnTo>
                    <a:pt x="714" y="1248"/>
                  </a:lnTo>
                  <a:lnTo>
                    <a:pt x="714" y="1254"/>
                  </a:lnTo>
                  <a:lnTo>
                    <a:pt x="708" y="1260"/>
                  </a:lnTo>
                  <a:lnTo>
                    <a:pt x="702" y="1272"/>
                  </a:lnTo>
                  <a:lnTo>
                    <a:pt x="696" y="1272"/>
                  </a:lnTo>
                  <a:lnTo>
                    <a:pt x="696" y="1278"/>
                  </a:lnTo>
                  <a:lnTo>
                    <a:pt x="690" y="1284"/>
                  </a:lnTo>
                  <a:lnTo>
                    <a:pt x="690" y="1290"/>
                  </a:lnTo>
                  <a:lnTo>
                    <a:pt x="684" y="1290"/>
                  </a:lnTo>
                  <a:lnTo>
                    <a:pt x="660" y="1284"/>
                  </a:lnTo>
                  <a:lnTo>
                    <a:pt x="660" y="1278"/>
                  </a:lnTo>
                  <a:lnTo>
                    <a:pt x="654" y="1272"/>
                  </a:lnTo>
                  <a:lnTo>
                    <a:pt x="648" y="1272"/>
                  </a:lnTo>
                  <a:lnTo>
                    <a:pt x="642" y="1272"/>
                  </a:lnTo>
                  <a:lnTo>
                    <a:pt x="642" y="1266"/>
                  </a:lnTo>
                  <a:lnTo>
                    <a:pt x="636" y="1266"/>
                  </a:lnTo>
                  <a:lnTo>
                    <a:pt x="630" y="1266"/>
                  </a:lnTo>
                  <a:lnTo>
                    <a:pt x="624" y="1266"/>
                  </a:lnTo>
                  <a:lnTo>
                    <a:pt x="624" y="1260"/>
                  </a:lnTo>
                  <a:lnTo>
                    <a:pt x="618" y="1260"/>
                  </a:lnTo>
                  <a:lnTo>
                    <a:pt x="612" y="1260"/>
                  </a:lnTo>
                  <a:lnTo>
                    <a:pt x="606" y="1260"/>
                  </a:lnTo>
                  <a:lnTo>
                    <a:pt x="600" y="1260"/>
                  </a:lnTo>
                  <a:lnTo>
                    <a:pt x="600" y="1254"/>
                  </a:lnTo>
                  <a:lnTo>
                    <a:pt x="594" y="1254"/>
                  </a:lnTo>
                  <a:lnTo>
                    <a:pt x="588" y="1248"/>
                  </a:lnTo>
                  <a:lnTo>
                    <a:pt x="588" y="1254"/>
                  </a:lnTo>
                  <a:lnTo>
                    <a:pt x="582" y="1254"/>
                  </a:lnTo>
                  <a:lnTo>
                    <a:pt x="582" y="1248"/>
                  </a:lnTo>
                  <a:lnTo>
                    <a:pt x="576" y="1248"/>
                  </a:lnTo>
                  <a:lnTo>
                    <a:pt x="576" y="1254"/>
                  </a:lnTo>
                  <a:lnTo>
                    <a:pt x="570" y="1248"/>
                  </a:lnTo>
                  <a:lnTo>
                    <a:pt x="564" y="1248"/>
                  </a:lnTo>
                  <a:lnTo>
                    <a:pt x="564" y="1254"/>
                  </a:lnTo>
                  <a:lnTo>
                    <a:pt x="558" y="1254"/>
                  </a:lnTo>
                  <a:lnTo>
                    <a:pt x="552" y="1254"/>
                  </a:lnTo>
                  <a:lnTo>
                    <a:pt x="552" y="1260"/>
                  </a:lnTo>
                  <a:lnTo>
                    <a:pt x="546" y="1260"/>
                  </a:lnTo>
                  <a:lnTo>
                    <a:pt x="540" y="1260"/>
                  </a:lnTo>
                  <a:lnTo>
                    <a:pt x="540" y="1254"/>
                  </a:lnTo>
                  <a:lnTo>
                    <a:pt x="534" y="1254"/>
                  </a:lnTo>
                  <a:lnTo>
                    <a:pt x="528" y="1224"/>
                  </a:lnTo>
                  <a:lnTo>
                    <a:pt x="534" y="1212"/>
                  </a:lnTo>
                  <a:lnTo>
                    <a:pt x="546" y="1206"/>
                  </a:lnTo>
                  <a:lnTo>
                    <a:pt x="582" y="1206"/>
                  </a:lnTo>
                  <a:lnTo>
                    <a:pt x="588" y="1188"/>
                  </a:lnTo>
                  <a:lnTo>
                    <a:pt x="582" y="1188"/>
                  </a:lnTo>
                  <a:lnTo>
                    <a:pt x="582" y="1182"/>
                  </a:lnTo>
                  <a:lnTo>
                    <a:pt x="576" y="1176"/>
                  </a:lnTo>
                  <a:lnTo>
                    <a:pt x="558" y="1128"/>
                  </a:lnTo>
                  <a:lnTo>
                    <a:pt x="558" y="1122"/>
                  </a:lnTo>
                  <a:lnTo>
                    <a:pt x="576" y="1098"/>
                  </a:lnTo>
                  <a:lnTo>
                    <a:pt x="576" y="1092"/>
                  </a:lnTo>
                  <a:lnTo>
                    <a:pt x="582" y="1092"/>
                  </a:lnTo>
                  <a:lnTo>
                    <a:pt x="582" y="1086"/>
                  </a:lnTo>
                  <a:lnTo>
                    <a:pt x="582" y="1080"/>
                  </a:lnTo>
                  <a:lnTo>
                    <a:pt x="582" y="1074"/>
                  </a:lnTo>
                  <a:lnTo>
                    <a:pt x="588" y="1074"/>
                  </a:lnTo>
                  <a:lnTo>
                    <a:pt x="588" y="1062"/>
                  </a:lnTo>
                  <a:lnTo>
                    <a:pt x="588" y="1056"/>
                  </a:lnTo>
                  <a:lnTo>
                    <a:pt x="588" y="1044"/>
                  </a:lnTo>
                  <a:lnTo>
                    <a:pt x="588" y="1038"/>
                  </a:lnTo>
                  <a:lnTo>
                    <a:pt x="588" y="1032"/>
                  </a:lnTo>
                  <a:lnTo>
                    <a:pt x="582" y="1026"/>
                  </a:lnTo>
                  <a:lnTo>
                    <a:pt x="582" y="1020"/>
                  </a:lnTo>
                  <a:lnTo>
                    <a:pt x="582" y="1008"/>
                  </a:lnTo>
                  <a:lnTo>
                    <a:pt x="576" y="990"/>
                  </a:lnTo>
                  <a:lnTo>
                    <a:pt x="570" y="972"/>
                  </a:lnTo>
                  <a:lnTo>
                    <a:pt x="552" y="972"/>
                  </a:lnTo>
                  <a:lnTo>
                    <a:pt x="540" y="960"/>
                  </a:lnTo>
                  <a:lnTo>
                    <a:pt x="534" y="954"/>
                  </a:lnTo>
                  <a:lnTo>
                    <a:pt x="534" y="948"/>
                  </a:lnTo>
                  <a:lnTo>
                    <a:pt x="516" y="948"/>
                  </a:lnTo>
                  <a:lnTo>
                    <a:pt x="522" y="936"/>
                  </a:lnTo>
                  <a:lnTo>
                    <a:pt x="522" y="930"/>
                  </a:lnTo>
                  <a:lnTo>
                    <a:pt x="504" y="918"/>
                  </a:lnTo>
                  <a:lnTo>
                    <a:pt x="492" y="906"/>
                  </a:lnTo>
                  <a:lnTo>
                    <a:pt x="486" y="894"/>
                  </a:lnTo>
                  <a:lnTo>
                    <a:pt x="468" y="876"/>
                  </a:lnTo>
                  <a:lnTo>
                    <a:pt x="450" y="876"/>
                  </a:lnTo>
                  <a:lnTo>
                    <a:pt x="414" y="882"/>
                  </a:lnTo>
                  <a:lnTo>
                    <a:pt x="402" y="870"/>
                  </a:lnTo>
                  <a:lnTo>
                    <a:pt x="390" y="864"/>
                  </a:lnTo>
                  <a:lnTo>
                    <a:pt x="384" y="852"/>
                  </a:lnTo>
                  <a:lnTo>
                    <a:pt x="378" y="840"/>
                  </a:lnTo>
                  <a:lnTo>
                    <a:pt x="378" y="834"/>
                  </a:lnTo>
                  <a:lnTo>
                    <a:pt x="360" y="822"/>
                  </a:lnTo>
                  <a:lnTo>
                    <a:pt x="342" y="828"/>
                  </a:lnTo>
                  <a:lnTo>
                    <a:pt x="324" y="816"/>
                  </a:lnTo>
                  <a:lnTo>
                    <a:pt x="318" y="816"/>
                  </a:lnTo>
                  <a:lnTo>
                    <a:pt x="306" y="810"/>
                  </a:lnTo>
                  <a:lnTo>
                    <a:pt x="306" y="804"/>
                  </a:lnTo>
                  <a:lnTo>
                    <a:pt x="300" y="804"/>
                  </a:lnTo>
                  <a:lnTo>
                    <a:pt x="300" y="780"/>
                  </a:lnTo>
                  <a:lnTo>
                    <a:pt x="300" y="774"/>
                  </a:lnTo>
                  <a:lnTo>
                    <a:pt x="306" y="774"/>
                  </a:lnTo>
                  <a:lnTo>
                    <a:pt x="312" y="756"/>
                  </a:lnTo>
                  <a:lnTo>
                    <a:pt x="312" y="732"/>
                  </a:lnTo>
                  <a:lnTo>
                    <a:pt x="300" y="720"/>
                  </a:lnTo>
                  <a:lnTo>
                    <a:pt x="288" y="702"/>
                  </a:lnTo>
                  <a:lnTo>
                    <a:pt x="276" y="702"/>
                  </a:lnTo>
                  <a:lnTo>
                    <a:pt x="258" y="714"/>
                  </a:lnTo>
                  <a:lnTo>
                    <a:pt x="246" y="726"/>
                  </a:lnTo>
                  <a:lnTo>
                    <a:pt x="222" y="726"/>
                  </a:lnTo>
                  <a:lnTo>
                    <a:pt x="192" y="726"/>
                  </a:lnTo>
                  <a:lnTo>
                    <a:pt x="174" y="738"/>
                  </a:lnTo>
                  <a:lnTo>
                    <a:pt x="162" y="750"/>
                  </a:lnTo>
                  <a:lnTo>
                    <a:pt x="144" y="762"/>
                  </a:lnTo>
                  <a:lnTo>
                    <a:pt x="138" y="768"/>
                  </a:lnTo>
                  <a:lnTo>
                    <a:pt x="126" y="774"/>
                  </a:lnTo>
                  <a:lnTo>
                    <a:pt x="114" y="780"/>
                  </a:lnTo>
                  <a:lnTo>
                    <a:pt x="108" y="786"/>
                  </a:lnTo>
                  <a:lnTo>
                    <a:pt x="102" y="786"/>
                  </a:lnTo>
                  <a:lnTo>
                    <a:pt x="54" y="786"/>
                  </a:lnTo>
                  <a:lnTo>
                    <a:pt x="48" y="792"/>
                  </a:lnTo>
                  <a:lnTo>
                    <a:pt x="36" y="798"/>
                  </a:lnTo>
                  <a:lnTo>
                    <a:pt x="18" y="792"/>
                  </a:lnTo>
                  <a:lnTo>
                    <a:pt x="6" y="780"/>
                  </a:lnTo>
                  <a:lnTo>
                    <a:pt x="6" y="768"/>
                  </a:lnTo>
                  <a:lnTo>
                    <a:pt x="0" y="756"/>
                  </a:lnTo>
                  <a:lnTo>
                    <a:pt x="0" y="738"/>
                  </a:lnTo>
                  <a:lnTo>
                    <a:pt x="6" y="702"/>
                  </a:lnTo>
                  <a:lnTo>
                    <a:pt x="24" y="702"/>
                  </a:lnTo>
                  <a:lnTo>
                    <a:pt x="24" y="696"/>
                  </a:lnTo>
                  <a:lnTo>
                    <a:pt x="24" y="690"/>
                  </a:lnTo>
                  <a:lnTo>
                    <a:pt x="24" y="678"/>
                  </a:lnTo>
                  <a:lnTo>
                    <a:pt x="24" y="672"/>
                  </a:lnTo>
                  <a:lnTo>
                    <a:pt x="30" y="672"/>
                  </a:lnTo>
                  <a:lnTo>
                    <a:pt x="30" y="666"/>
                  </a:lnTo>
                  <a:lnTo>
                    <a:pt x="36" y="660"/>
                  </a:lnTo>
                  <a:lnTo>
                    <a:pt x="84" y="648"/>
                  </a:lnTo>
                  <a:lnTo>
                    <a:pt x="126" y="642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32" y="618"/>
                  </a:lnTo>
                  <a:lnTo>
                    <a:pt x="138" y="612"/>
                  </a:lnTo>
                  <a:lnTo>
                    <a:pt x="138" y="606"/>
                  </a:lnTo>
                  <a:lnTo>
                    <a:pt x="138" y="600"/>
                  </a:lnTo>
                  <a:lnTo>
                    <a:pt x="132" y="600"/>
                  </a:lnTo>
                  <a:lnTo>
                    <a:pt x="132" y="594"/>
                  </a:lnTo>
                  <a:lnTo>
                    <a:pt x="132" y="588"/>
                  </a:lnTo>
                  <a:lnTo>
                    <a:pt x="132" y="582"/>
                  </a:lnTo>
                  <a:lnTo>
                    <a:pt x="132" y="576"/>
                  </a:lnTo>
                  <a:lnTo>
                    <a:pt x="126" y="570"/>
                  </a:lnTo>
                  <a:lnTo>
                    <a:pt x="120" y="564"/>
                  </a:lnTo>
                  <a:lnTo>
                    <a:pt x="120" y="558"/>
                  </a:lnTo>
                  <a:lnTo>
                    <a:pt x="120" y="552"/>
                  </a:lnTo>
                  <a:lnTo>
                    <a:pt x="114" y="552"/>
                  </a:lnTo>
                  <a:lnTo>
                    <a:pt x="114" y="546"/>
                  </a:lnTo>
                  <a:lnTo>
                    <a:pt x="114" y="540"/>
                  </a:lnTo>
                  <a:lnTo>
                    <a:pt x="108" y="534"/>
                  </a:lnTo>
                  <a:lnTo>
                    <a:pt x="108" y="528"/>
                  </a:lnTo>
                  <a:lnTo>
                    <a:pt x="114" y="522"/>
                  </a:lnTo>
                  <a:lnTo>
                    <a:pt x="108" y="516"/>
                  </a:lnTo>
                  <a:lnTo>
                    <a:pt x="108" y="498"/>
                  </a:lnTo>
                  <a:lnTo>
                    <a:pt x="108" y="492"/>
                  </a:lnTo>
                  <a:lnTo>
                    <a:pt x="108" y="486"/>
                  </a:lnTo>
                  <a:lnTo>
                    <a:pt x="108" y="480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08" y="462"/>
                  </a:lnTo>
                  <a:lnTo>
                    <a:pt x="102" y="456"/>
                  </a:lnTo>
                  <a:lnTo>
                    <a:pt x="102" y="444"/>
                  </a:lnTo>
                  <a:lnTo>
                    <a:pt x="96" y="444"/>
                  </a:lnTo>
                  <a:lnTo>
                    <a:pt x="90" y="432"/>
                  </a:lnTo>
                  <a:lnTo>
                    <a:pt x="96" y="432"/>
                  </a:lnTo>
                  <a:lnTo>
                    <a:pt x="96" y="408"/>
                  </a:lnTo>
                  <a:lnTo>
                    <a:pt x="96" y="396"/>
                  </a:lnTo>
                  <a:lnTo>
                    <a:pt x="96" y="360"/>
                  </a:lnTo>
                  <a:lnTo>
                    <a:pt x="96" y="354"/>
                  </a:lnTo>
                  <a:lnTo>
                    <a:pt x="102" y="354"/>
                  </a:lnTo>
                  <a:lnTo>
                    <a:pt x="102" y="348"/>
                  </a:lnTo>
                  <a:lnTo>
                    <a:pt x="96" y="330"/>
                  </a:lnTo>
                  <a:lnTo>
                    <a:pt x="90" y="306"/>
                  </a:lnTo>
                  <a:lnTo>
                    <a:pt x="84" y="288"/>
                  </a:lnTo>
                  <a:lnTo>
                    <a:pt x="84" y="264"/>
                  </a:lnTo>
                  <a:lnTo>
                    <a:pt x="90" y="240"/>
                  </a:lnTo>
                  <a:lnTo>
                    <a:pt x="96" y="222"/>
                  </a:lnTo>
                  <a:lnTo>
                    <a:pt x="102" y="222"/>
                  </a:lnTo>
                  <a:lnTo>
                    <a:pt x="108" y="210"/>
                  </a:lnTo>
                  <a:lnTo>
                    <a:pt x="114" y="210"/>
                  </a:lnTo>
                  <a:lnTo>
                    <a:pt x="126" y="198"/>
                  </a:lnTo>
                  <a:lnTo>
                    <a:pt x="156" y="192"/>
                  </a:lnTo>
                  <a:lnTo>
                    <a:pt x="174" y="186"/>
                  </a:lnTo>
                  <a:lnTo>
                    <a:pt x="204" y="174"/>
                  </a:lnTo>
                  <a:lnTo>
                    <a:pt x="222" y="168"/>
                  </a:lnTo>
                  <a:lnTo>
                    <a:pt x="234" y="162"/>
                  </a:lnTo>
                  <a:lnTo>
                    <a:pt x="246" y="156"/>
                  </a:lnTo>
                  <a:lnTo>
                    <a:pt x="288" y="144"/>
                  </a:lnTo>
                  <a:lnTo>
                    <a:pt x="288" y="132"/>
                  </a:lnTo>
                  <a:lnTo>
                    <a:pt x="294" y="120"/>
                  </a:lnTo>
                  <a:lnTo>
                    <a:pt x="300" y="108"/>
                  </a:lnTo>
                  <a:lnTo>
                    <a:pt x="306" y="90"/>
                  </a:lnTo>
                  <a:lnTo>
                    <a:pt x="312" y="78"/>
                  </a:lnTo>
                  <a:lnTo>
                    <a:pt x="324" y="78"/>
                  </a:lnTo>
                  <a:lnTo>
                    <a:pt x="324" y="54"/>
                  </a:lnTo>
                  <a:lnTo>
                    <a:pt x="318" y="48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60" y="6"/>
                  </a:lnTo>
                  <a:lnTo>
                    <a:pt x="384" y="0"/>
                  </a:lnTo>
                  <a:lnTo>
                    <a:pt x="390" y="6"/>
                  </a:lnTo>
                  <a:lnTo>
                    <a:pt x="390" y="18"/>
                  </a:lnTo>
                  <a:lnTo>
                    <a:pt x="390" y="54"/>
                  </a:lnTo>
                  <a:lnTo>
                    <a:pt x="396" y="66"/>
                  </a:lnTo>
                  <a:lnTo>
                    <a:pt x="414" y="84"/>
                  </a:lnTo>
                  <a:lnTo>
                    <a:pt x="426" y="90"/>
                  </a:lnTo>
                  <a:lnTo>
                    <a:pt x="432" y="96"/>
                  </a:lnTo>
                  <a:lnTo>
                    <a:pt x="426" y="102"/>
                  </a:lnTo>
                  <a:lnTo>
                    <a:pt x="438" y="102"/>
                  </a:lnTo>
                  <a:lnTo>
                    <a:pt x="444" y="108"/>
                  </a:lnTo>
                  <a:lnTo>
                    <a:pt x="444" y="102"/>
                  </a:lnTo>
                  <a:lnTo>
                    <a:pt x="450" y="90"/>
                  </a:lnTo>
                  <a:lnTo>
                    <a:pt x="450" y="84"/>
                  </a:lnTo>
                  <a:lnTo>
                    <a:pt x="450" y="78"/>
                  </a:lnTo>
                  <a:lnTo>
                    <a:pt x="456" y="72"/>
                  </a:lnTo>
                  <a:lnTo>
                    <a:pt x="462" y="66"/>
                  </a:lnTo>
                  <a:lnTo>
                    <a:pt x="462" y="60"/>
                  </a:lnTo>
                  <a:lnTo>
                    <a:pt x="462" y="54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74" y="24"/>
                  </a:lnTo>
                  <a:lnTo>
                    <a:pt x="480" y="18"/>
                  </a:lnTo>
                  <a:lnTo>
                    <a:pt x="486" y="12"/>
                  </a:lnTo>
                  <a:lnTo>
                    <a:pt x="492" y="12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2" y="6"/>
                  </a:lnTo>
                  <a:lnTo>
                    <a:pt x="534" y="6"/>
                  </a:lnTo>
                  <a:lnTo>
                    <a:pt x="540" y="6"/>
                  </a:lnTo>
                  <a:lnTo>
                    <a:pt x="546" y="6"/>
                  </a:lnTo>
                  <a:lnTo>
                    <a:pt x="564" y="0"/>
                  </a:lnTo>
                  <a:lnTo>
                    <a:pt x="570" y="0"/>
                  </a:lnTo>
                  <a:lnTo>
                    <a:pt x="576" y="6"/>
                  </a:lnTo>
                  <a:lnTo>
                    <a:pt x="582" y="6"/>
                  </a:lnTo>
                  <a:lnTo>
                    <a:pt x="594" y="6"/>
                  </a:lnTo>
                  <a:lnTo>
                    <a:pt x="600" y="6"/>
                  </a:lnTo>
                  <a:lnTo>
                    <a:pt x="606" y="6"/>
                  </a:lnTo>
                  <a:lnTo>
                    <a:pt x="624" y="0"/>
                  </a:lnTo>
                  <a:lnTo>
                    <a:pt x="636" y="0"/>
                  </a:lnTo>
                  <a:lnTo>
                    <a:pt x="636" y="6"/>
                  </a:lnTo>
                  <a:lnTo>
                    <a:pt x="654" y="18"/>
                  </a:lnTo>
                  <a:lnTo>
                    <a:pt x="654" y="30"/>
                  </a:lnTo>
                  <a:lnTo>
                    <a:pt x="642" y="42"/>
                  </a:lnTo>
                  <a:lnTo>
                    <a:pt x="630" y="66"/>
                  </a:lnTo>
                  <a:lnTo>
                    <a:pt x="636" y="84"/>
                  </a:lnTo>
                  <a:lnTo>
                    <a:pt x="636" y="96"/>
                  </a:lnTo>
                  <a:lnTo>
                    <a:pt x="648" y="102"/>
                  </a:lnTo>
                  <a:lnTo>
                    <a:pt x="672" y="114"/>
                  </a:lnTo>
                  <a:lnTo>
                    <a:pt x="702" y="120"/>
                  </a:lnTo>
                  <a:lnTo>
                    <a:pt x="714" y="126"/>
                  </a:lnTo>
                  <a:lnTo>
                    <a:pt x="720" y="144"/>
                  </a:lnTo>
                  <a:lnTo>
                    <a:pt x="720" y="156"/>
                  </a:lnTo>
                  <a:lnTo>
                    <a:pt x="708" y="156"/>
                  </a:lnTo>
                  <a:lnTo>
                    <a:pt x="702" y="162"/>
                  </a:lnTo>
                  <a:lnTo>
                    <a:pt x="702" y="174"/>
                  </a:lnTo>
                  <a:lnTo>
                    <a:pt x="696" y="174"/>
                  </a:lnTo>
                  <a:lnTo>
                    <a:pt x="690" y="180"/>
                  </a:lnTo>
                  <a:lnTo>
                    <a:pt x="678" y="186"/>
                  </a:lnTo>
                  <a:lnTo>
                    <a:pt x="672" y="192"/>
                  </a:lnTo>
                  <a:lnTo>
                    <a:pt x="654" y="210"/>
                  </a:lnTo>
                  <a:lnTo>
                    <a:pt x="654" y="216"/>
                  </a:lnTo>
                  <a:lnTo>
                    <a:pt x="648" y="246"/>
                  </a:lnTo>
                  <a:lnTo>
                    <a:pt x="660" y="246"/>
                  </a:lnTo>
                  <a:lnTo>
                    <a:pt x="666" y="234"/>
                  </a:lnTo>
                  <a:lnTo>
                    <a:pt x="678" y="240"/>
                  </a:lnTo>
                  <a:lnTo>
                    <a:pt x="684" y="228"/>
                  </a:lnTo>
                  <a:lnTo>
                    <a:pt x="690" y="210"/>
                  </a:lnTo>
                  <a:lnTo>
                    <a:pt x="696" y="204"/>
                  </a:lnTo>
                  <a:lnTo>
                    <a:pt x="702" y="204"/>
                  </a:lnTo>
                  <a:lnTo>
                    <a:pt x="708" y="192"/>
                  </a:lnTo>
                  <a:lnTo>
                    <a:pt x="714" y="192"/>
                  </a:lnTo>
                  <a:lnTo>
                    <a:pt x="714" y="186"/>
                  </a:lnTo>
                  <a:lnTo>
                    <a:pt x="726" y="186"/>
                  </a:lnTo>
                  <a:lnTo>
                    <a:pt x="732" y="186"/>
                  </a:lnTo>
                  <a:lnTo>
                    <a:pt x="738" y="186"/>
                  </a:lnTo>
                  <a:lnTo>
                    <a:pt x="744" y="216"/>
                  </a:lnTo>
                  <a:lnTo>
                    <a:pt x="750" y="210"/>
                  </a:lnTo>
                  <a:lnTo>
                    <a:pt x="750" y="204"/>
                  </a:lnTo>
                  <a:lnTo>
                    <a:pt x="756" y="192"/>
                  </a:lnTo>
                  <a:lnTo>
                    <a:pt x="762" y="192"/>
                  </a:lnTo>
                  <a:lnTo>
                    <a:pt x="768" y="192"/>
                  </a:lnTo>
                  <a:lnTo>
                    <a:pt x="780" y="186"/>
                  </a:lnTo>
                  <a:lnTo>
                    <a:pt x="786" y="204"/>
                  </a:lnTo>
                  <a:lnTo>
                    <a:pt x="774" y="210"/>
                  </a:lnTo>
                  <a:lnTo>
                    <a:pt x="774" y="234"/>
                  </a:lnTo>
                  <a:lnTo>
                    <a:pt x="780" y="246"/>
                  </a:lnTo>
                  <a:lnTo>
                    <a:pt x="804" y="264"/>
                  </a:lnTo>
                  <a:lnTo>
                    <a:pt x="816" y="276"/>
                  </a:lnTo>
                  <a:lnTo>
                    <a:pt x="822" y="288"/>
                  </a:lnTo>
                  <a:lnTo>
                    <a:pt x="822" y="312"/>
                  </a:lnTo>
                  <a:lnTo>
                    <a:pt x="816" y="312"/>
                  </a:lnTo>
                  <a:lnTo>
                    <a:pt x="810" y="318"/>
                  </a:lnTo>
                  <a:lnTo>
                    <a:pt x="810" y="348"/>
                  </a:lnTo>
                  <a:lnTo>
                    <a:pt x="816" y="348"/>
                  </a:lnTo>
                  <a:lnTo>
                    <a:pt x="816" y="342"/>
                  </a:lnTo>
                  <a:lnTo>
                    <a:pt x="834" y="342"/>
                  </a:lnTo>
                  <a:lnTo>
                    <a:pt x="834" y="348"/>
                  </a:lnTo>
                  <a:lnTo>
                    <a:pt x="846" y="348"/>
                  </a:lnTo>
                  <a:lnTo>
                    <a:pt x="846" y="342"/>
                  </a:lnTo>
                  <a:lnTo>
                    <a:pt x="882" y="342"/>
                  </a:lnTo>
                  <a:lnTo>
                    <a:pt x="894" y="366"/>
                  </a:lnTo>
                  <a:lnTo>
                    <a:pt x="900" y="372"/>
                  </a:lnTo>
                  <a:lnTo>
                    <a:pt x="906" y="384"/>
                  </a:lnTo>
                  <a:lnTo>
                    <a:pt x="924" y="384"/>
                  </a:lnTo>
                  <a:lnTo>
                    <a:pt x="930" y="372"/>
                  </a:lnTo>
                  <a:lnTo>
                    <a:pt x="936" y="372"/>
                  </a:lnTo>
                  <a:lnTo>
                    <a:pt x="942" y="348"/>
                  </a:lnTo>
                  <a:lnTo>
                    <a:pt x="954" y="348"/>
                  </a:lnTo>
                  <a:lnTo>
                    <a:pt x="954" y="342"/>
                  </a:lnTo>
                  <a:lnTo>
                    <a:pt x="984" y="342"/>
                  </a:lnTo>
                  <a:lnTo>
                    <a:pt x="978" y="390"/>
                  </a:lnTo>
                  <a:lnTo>
                    <a:pt x="984" y="390"/>
                  </a:lnTo>
                  <a:lnTo>
                    <a:pt x="990" y="396"/>
                  </a:lnTo>
                  <a:lnTo>
                    <a:pt x="996" y="396"/>
                  </a:lnTo>
                  <a:lnTo>
                    <a:pt x="1002" y="396"/>
                  </a:lnTo>
                  <a:lnTo>
                    <a:pt x="1002" y="408"/>
                  </a:lnTo>
                  <a:lnTo>
                    <a:pt x="990" y="414"/>
                  </a:lnTo>
                  <a:lnTo>
                    <a:pt x="984" y="426"/>
                  </a:lnTo>
                  <a:lnTo>
                    <a:pt x="990" y="444"/>
                  </a:lnTo>
                  <a:lnTo>
                    <a:pt x="996" y="450"/>
                  </a:lnTo>
                  <a:lnTo>
                    <a:pt x="990" y="462"/>
                  </a:lnTo>
                  <a:lnTo>
                    <a:pt x="990" y="468"/>
                  </a:lnTo>
                  <a:lnTo>
                    <a:pt x="984" y="480"/>
                  </a:lnTo>
                  <a:lnTo>
                    <a:pt x="978" y="486"/>
                  </a:lnTo>
                  <a:lnTo>
                    <a:pt x="972" y="486"/>
                  </a:lnTo>
                  <a:lnTo>
                    <a:pt x="966" y="492"/>
                  </a:lnTo>
                  <a:lnTo>
                    <a:pt x="966" y="498"/>
                  </a:lnTo>
                  <a:lnTo>
                    <a:pt x="954" y="510"/>
                  </a:lnTo>
                  <a:lnTo>
                    <a:pt x="948" y="510"/>
                  </a:lnTo>
                  <a:lnTo>
                    <a:pt x="942" y="516"/>
                  </a:lnTo>
                  <a:lnTo>
                    <a:pt x="936" y="528"/>
                  </a:lnTo>
                  <a:lnTo>
                    <a:pt x="936" y="534"/>
                  </a:lnTo>
                  <a:lnTo>
                    <a:pt x="936" y="546"/>
                  </a:lnTo>
                  <a:lnTo>
                    <a:pt x="936" y="558"/>
                  </a:lnTo>
                  <a:lnTo>
                    <a:pt x="948" y="558"/>
                  </a:lnTo>
                  <a:lnTo>
                    <a:pt x="954" y="558"/>
                  </a:lnTo>
                  <a:lnTo>
                    <a:pt x="996" y="558"/>
                  </a:lnTo>
                  <a:lnTo>
                    <a:pt x="1002" y="570"/>
                  </a:lnTo>
                  <a:lnTo>
                    <a:pt x="996" y="576"/>
                  </a:lnTo>
                  <a:lnTo>
                    <a:pt x="996" y="588"/>
                  </a:lnTo>
                  <a:lnTo>
                    <a:pt x="984" y="588"/>
                  </a:lnTo>
                  <a:lnTo>
                    <a:pt x="990" y="612"/>
                  </a:lnTo>
                  <a:lnTo>
                    <a:pt x="1014" y="606"/>
                  </a:lnTo>
                  <a:lnTo>
                    <a:pt x="1014" y="636"/>
                  </a:lnTo>
                  <a:lnTo>
                    <a:pt x="1014" y="648"/>
                  </a:lnTo>
                  <a:lnTo>
                    <a:pt x="1020" y="648"/>
                  </a:lnTo>
                  <a:lnTo>
                    <a:pt x="1026" y="660"/>
                  </a:lnTo>
                  <a:lnTo>
                    <a:pt x="1038" y="654"/>
                  </a:lnTo>
                  <a:lnTo>
                    <a:pt x="1050" y="654"/>
                  </a:lnTo>
                  <a:lnTo>
                    <a:pt x="1062" y="654"/>
                  </a:lnTo>
                  <a:lnTo>
                    <a:pt x="1068" y="660"/>
                  </a:lnTo>
                  <a:lnTo>
                    <a:pt x="1068" y="678"/>
                  </a:lnTo>
                  <a:lnTo>
                    <a:pt x="1068" y="684"/>
                  </a:lnTo>
                  <a:lnTo>
                    <a:pt x="1062" y="690"/>
                  </a:lnTo>
                  <a:lnTo>
                    <a:pt x="1056" y="696"/>
                  </a:lnTo>
                  <a:lnTo>
                    <a:pt x="1056" y="702"/>
                  </a:lnTo>
                  <a:lnTo>
                    <a:pt x="1038" y="714"/>
                  </a:lnTo>
                  <a:lnTo>
                    <a:pt x="1026" y="720"/>
                  </a:lnTo>
                  <a:lnTo>
                    <a:pt x="1008" y="726"/>
                  </a:lnTo>
                  <a:lnTo>
                    <a:pt x="1008" y="732"/>
                  </a:lnTo>
                  <a:lnTo>
                    <a:pt x="990" y="732"/>
                  </a:lnTo>
                  <a:lnTo>
                    <a:pt x="984" y="744"/>
                  </a:lnTo>
                  <a:lnTo>
                    <a:pt x="990" y="750"/>
                  </a:lnTo>
                  <a:lnTo>
                    <a:pt x="984" y="762"/>
                  </a:lnTo>
                  <a:lnTo>
                    <a:pt x="984" y="768"/>
                  </a:lnTo>
                  <a:lnTo>
                    <a:pt x="984" y="774"/>
                  </a:lnTo>
                  <a:lnTo>
                    <a:pt x="984" y="780"/>
                  </a:lnTo>
                  <a:lnTo>
                    <a:pt x="984" y="786"/>
                  </a:lnTo>
                  <a:lnTo>
                    <a:pt x="984" y="792"/>
                  </a:lnTo>
                  <a:lnTo>
                    <a:pt x="978" y="798"/>
                  </a:lnTo>
                  <a:lnTo>
                    <a:pt x="978" y="80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3" name="Freeform 38">
              <a:extLst>
                <a:ext uri="{FF2B5EF4-FFF2-40B4-BE49-F238E27FC236}">
                  <a16:creationId xmlns:a16="http://schemas.microsoft.com/office/drawing/2014/main" id="{819B99CE-D972-4530-8964-A992C1EC87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2825" y="1634436"/>
              <a:ext cx="959326" cy="959458"/>
            </a:xfrm>
            <a:custGeom>
              <a:avLst/>
              <a:gdLst>
                <a:gd name="T0" fmla="*/ 105 w 1806"/>
                <a:gd name="T1" fmla="*/ 155 h 1806"/>
                <a:gd name="T2" fmla="*/ 103 w 1806"/>
                <a:gd name="T3" fmla="*/ 155 h 1806"/>
                <a:gd name="T4" fmla="*/ 103 w 1806"/>
                <a:gd name="T5" fmla="*/ 150 h 1806"/>
                <a:gd name="T6" fmla="*/ 104 w 1806"/>
                <a:gd name="T7" fmla="*/ 141 h 1806"/>
                <a:gd name="T8" fmla="*/ 104 w 1806"/>
                <a:gd name="T9" fmla="*/ 136 h 1806"/>
                <a:gd name="T10" fmla="*/ 100 w 1806"/>
                <a:gd name="T11" fmla="*/ 131 h 1806"/>
                <a:gd name="T12" fmla="*/ 96 w 1806"/>
                <a:gd name="T13" fmla="*/ 127 h 1806"/>
                <a:gd name="T14" fmla="*/ 91 w 1806"/>
                <a:gd name="T15" fmla="*/ 121 h 1806"/>
                <a:gd name="T16" fmla="*/ 87 w 1806"/>
                <a:gd name="T17" fmla="*/ 120 h 1806"/>
                <a:gd name="T18" fmla="*/ 81 w 1806"/>
                <a:gd name="T19" fmla="*/ 117 h 1806"/>
                <a:gd name="T20" fmla="*/ 65 w 1806"/>
                <a:gd name="T21" fmla="*/ 113 h 1806"/>
                <a:gd name="T22" fmla="*/ 69 w 1806"/>
                <a:gd name="T23" fmla="*/ 105 h 1806"/>
                <a:gd name="T24" fmla="*/ 66 w 1806"/>
                <a:gd name="T25" fmla="*/ 89 h 1806"/>
                <a:gd name="T26" fmla="*/ 63 w 1806"/>
                <a:gd name="T27" fmla="*/ 84 h 1806"/>
                <a:gd name="T28" fmla="*/ 62 w 1806"/>
                <a:gd name="T29" fmla="*/ 74 h 1806"/>
                <a:gd name="T30" fmla="*/ 58 w 1806"/>
                <a:gd name="T31" fmla="*/ 52 h 1806"/>
                <a:gd name="T32" fmla="*/ 53 w 1806"/>
                <a:gd name="T33" fmla="*/ 49 h 1806"/>
                <a:gd name="T34" fmla="*/ 51 w 1806"/>
                <a:gd name="T35" fmla="*/ 36 h 1806"/>
                <a:gd name="T36" fmla="*/ 43 w 1806"/>
                <a:gd name="T37" fmla="*/ 32 h 1806"/>
                <a:gd name="T38" fmla="*/ 33 w 1806"/>
                <a:gd name="T39" fmla="*/ 30 h 1806"/>
                <a:gd name="T40" fmla="*/ 30 w 1806"/>
                <a:gd name="T41" fmla="*/ 21 h 1806"/>
                <a:gd name="T42" fmla="*/ 17 w 1806"/>
                <a:gd name="T43" fmla="*/ 25 h 1806"/>
                <a:gd name="T44" fmla="*/ 4 w 1806"/>
                <a:gd name="T45" fmla="*/ 33 h 1806"/>
                <a:gd name="T46" fmla="*/ 7 w 1806"/>
                <a:gd name="T47" fmla="*/ 26 h 1806"/>
                <a:gd name="T48" fmla="*/ 11 w 1806"/>
                <a:gd name="T49" fmla="*/ 20 h 1806"/>
                <a:gd name="T50" fmla="*/ 18 w 1806"/>
                <a:gd name="T51" fmla="*/ 12 h 1806"/>
                <a:gd name="T52" fmla="*/ 26 w 1806"/>
                <a:gd name="T53" fmla="*/ 8 h 1806"/>
                <a:gd name="T54" fmla="*/ 35 w 1806"/>
                <a:gd name="T55" fmla="*/ 6 h 1806"/>
                <a:gd name="T56" fmla="*/ 44 w 1806"/>
                <a:gd name="T57" fmla="*/ 5 h 1806"/>
                <a:gd name="T58" fmla="*/ 54 w 1806"/>
                <a:gd name="T59" fmla="*/ 2 h 1806"/>
                <a:gd name="T60" fmla="*/ 65 w 1806"/>
                <a:gd name="T61" fmla="*/ 0 h 1806"/>
                <a:gd name="T62" fmla="*/ 76 w 1806"/>
                <a:gd name="T63" fmla="*/ 0 h 1806"/>
                <a:gd name="T64" fmla="*/ 85 w 1806"/>
                <a:gd name="T65" fmla="*/ 0 h 1806"/>
                <a:gd name="T66" fmla="*/ 97 w 1806"/>
                <a:gd name="T67" fmla="*/ 0 h 1806"/>
                <a:gd name="T68" fmla="*/ 108 w 1806"/>
                <a:gd name="T69" fmla="*/ 3 h 1806"/>
                <a:gd name="T70" fmla="*/ 115 w 1806"/>
                <a:gd name="T71" fmla="*/ 5 h 1806"/>
                <a:gd name="T72" fmla="*/ 123 w 1806"/>
                <a:gd name="T73" fmla="*/ 7 h 1806"/>
                <a:gd name="T74" fmla="*/ 133 w 1806"/>
                <a:gd name="T75" fmla="*/ 14 h 1806"/>
                <a:gd name="T76" fmla="*/ 138 w 1806"/>
                <a:gd name="T77" fmla="*/ 16 h 1806"/>
                <a:gd name="T78" fmla="*/ 140 w 1806"/>
                <a:gd name="T79" fmla="*/ 14 h 1806"/>
                <a:gd name="T80" fmla="*/ 145 w 1806"/>
                <a:gd name="T81" fmla="*/ 16 h 1806"/>
                <a:gd name="T82" fmla="*/ 147 w 1806"/>
                <a:gd name="T83" fmla="*/ 16 h 1806"/>
                <a:gd name="T84" fmla="*/ 150 w 1806"/>
                <a:gd name="T85" fmla="*/ 17 h 1806"/>
                <a:gd name="T86" fmla="*/ 152 w 1806"/>
                <a:gd name="T87" fmla="*/ 18 h 1806"/>
                <a:gd name="T88" fmla="*/ 155 w 1806"/>
                <a:gd name="T89" fmla="*/ 37 h 1806"/>
                <a:gd name="T90" fmla="*/ 146 w 1806"/>
                <a:gd name="T91" fmla="*/ 66 h 1806"/>
                <a:gd name="T92" fmla="*/ 143 w 1806"/>
                <a:gd name="T93" fmla="*/ 88 h 1806"/>
                <a:gd name="T94" fmla="*/ 144 w 1806"/>
                <a:gd name="T95" fmla="*/ 98 h 1806"/>
                <a:gd name="T96" fmla="*/ 137 w 1806"/>
                <a:gd name="T97" fmla="*/ 118 h 1806"/>
                <a:gd name="T98" fmla="*/ 132 w 1806"/>
                <a:gd name="T99" fmla="*/ 129 h 1806"/>
                <a:gd name="T100" fmla="*/ 124 w 1806"/>
                <a:gd name="T101" fmla="*/ 135 h 1806"/>
                <a:gd name="T102" fmla="*/ 119 w 1806"/>
                <a:gd name="T103" fmla="*/ 136 h 1806"/>
                <a:gd name="T104" fmla="*/ 116 w 1806"/>
                <a:gd name="T105" fmla="*/ 137 h 1806"/>
                <a:gd name="T106" fmla="*/ 112 w 1806"/>
                <a:gd name="T107" fmla="*/ 139 h 1806"/>
                <a:gd name="T108" fmla="*/ 112 w 1806"/>
                <a:gd name="T109" fmla="*/ 141 h 1806"/>
                <a:gd name="T110" fmla="*/ 116 w 1806"/>
                <a:gd name="T111" fmla="*/ 146 h 1806"/>
                <a:gd name="T112" fmla="*/ 116 w 1806"/>
                <a:gd name="T113" fmla="*/ 151 h 1806"/>
                <a:gd name="T114" fmla="*/ 113 w 1806"/>
                <a:gd name="T115" fmla="*/ 153 h 18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6"/>
                <a:gd name="T175" fmla="*/ 0 h 1806"/>
                <a:gd name="T176" fmla="*/ 1806 w 1806"/>
                <a:gd name="T177" fmla="*/ 1806 h 18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6" h="1806">
                  <a:moveTo>
                    <a:pt x="1260" y="1776"/>
                  </a:moveTo>
                  <a:lnTo>
                    <a:pt x="1254" y="1776"/>
                  </a:lnTo>
                  <a:lnTo>
                    <a:pt x="1248" y="1776"/>
                  </a:lnTo>
                  <a:lnTo>
                    <a:pt x="1242" y="1782"/>
                  </a:lnTo>
                  <a:lnTo>
                    <a:pt x="1236" y="1782"/>
                  </a:lnTo>
                  <a:lnTo>
                    <a:pt x="1230" y="1788"/>
                  </a:lnTo>
                  <a:lnTo>
                    <a:pt x="1224" y="1782"/>
                  </a:lnTo>
                  <a:lnTo>
                    <a:pt x="1218" y="1782"/>
                  </a:lnTo>
                  <a:lnTo>
                    <a:pt x="1218" y="1788"/>
                  </a:lnTo>
                  <a:lnTo>
                    <a:pt x="1212" y="1788"/>
                  </a:lnTo>
                  <a:lnTo>
                    <a:pt x="1206" y="1788"/>
                  </a:lnTo>
                  <a:lnTo>
                    <a:pt x="1206" y="1794"/>
                  </a:lnTo>
                  <a:lnTo>
                    <a:pt x="1200" y="1806"/>
                  </a:lnTo>
                  <a:lnTo>
                    <a:pt x="1194" y="1800"/>
                  </a:lnTo>
                  <a:lnTo>
                    <a:pt x="1194" y="1794"/>
                  </a:lnTo>
                  <a:lnTo>
                    <a:pt x="1194" y="1788"/>
                  </a:lnTo>
                  <a:lnTo>
                    <a:pt x="1188" y="1788"/>
                  </a:lnTo>
                  <a:lnTo>
                    <a:pt x="1188" y="1782"/>
                  </a:lnTo>
                  <a:lnTo>
                    <a:pt x="1188" y="1776"/>
                  </a:lnTo>
                  <a:lnTo>
                    <a:pt x="1194" y="1770"/>
                  </a:lnTo>
                  <a:lnTo>
                    <a:pt x="1194" y="1764"/>
                  </a:lnTo>
                  <a:lnTo>
                    <a:pt x="1194" y="1758"/>
                  </a:lnTo>
                  <a:lnTo>
                    <a:pt x="1194" y="1752"/>
                  </a:lnTo>
                  <a:lnTo>
                    <a:pt x="1200" y="1746"/>
                  </a:lnTo>
                  <a:lnTo>
                    <a:pt x="1200" y="1740"/>
                  </a:lnTo>
                  <a:lnTo>
                    <a:pt x="1200" y="1734"/>
                  </a:lnTo>
                  <a:lnTo>
                    <a:pt x="1188" y="1722"/>
                  </a:lnTo>
                  <a:lnTo>
                    <a:pt x="1188" y="1716"/>
                  </a:lnTo>
                  <a:lnTo>
                    <a:pt x="1194" y="1704"/>
                  </a:lnTo>
                  <a:lnTo>
                    <a:pt x="1194" y="1692"/>
                  </a:lnTo>
                  <a:lnTo>
                    <a:pt x="1200" y="1680"/>
                  </a:lnTo>
                  <a:lnTo>
                    <a:pt x="1200" y="1662"/>
                  </a:lnTo>
                  <a:lnTo>
                    <a:pt x="1200" y="1650"/>
                  </a:lnTo>
                  <a:lnTo>
                    <a:pt x="1206" y="1644"/>
                  </a:lnTo>
                  <a:lnTo>
                    <a:pt x="1206" y="1638"/>
                  </a:lnTo>
                  <a:lnTo>
                    <a:pt x="1206" y="1626"/>
                  </a:lnTo>
                  <a:lnTo>
                    <a:pt x="1206" y="1620"/>
                  </a:lnTo>
                  <a:lnTo>
                    <a:pt x="1206" y="1614"/>
                  </a:lnTo>
                  <a:lnTo>
                    <a:pt x="1200" y="1608"/>
                  </a:lnTo>
                  <a:lnTo>
                    <a:pt x="1200" y="1602"/>
                  </a:lnTo>
                  <a:lnTo>
                    <a:pt x="1200" y="1596"/>
                  </a:lnTo>
                  <a:lnTo>
                    <a:pt x="1200" y="1590"/>
                  </a:lnTo>
                  <a:lnTo>
                    <a:pt x="1200" y="1572"/>
                  </a:lnTo>
                  <a:lnTo>
                    <a:pt x="1200" y="1566"/>
                  </a:lnTo>
                  <a:lnTo>
                    <a:pt x="1200" y="1560"/>
                  </a:lnTo>
                  <a:lnTo>
                    <a:pt x="1194" y="1554"/>
                  </a:lnTo>
                  <a:lnTo>
                    <a:pt x="1188" y="1548"/>
                  </a:lnTo>
                  <a:lnTo>
                    <a:pt x="1188" y="1542"/>
                  </a:lnTo>
                  <a:lnTo>
                    <a:pt x="1176" y="1536"/>
                  </a:lnTo>
                  <a:lnTo>
                    <a:pt x="1176" y="1530"/>
                  </a:lnTo>
                  <a:lnTo>
                    <a:pt x="1170" y="1524"/>
                  </a:lnTo>
                  <a:lnTo>
                    <a:pt x="1170" y="1518"/>
                  </a:lnTo>
                  <a:lnTo>
                    <a:pt x="1164" y="1512"/>
                  </a:lnTo>
                  <a:lnTo>
                    <a:pt x="1158" y="1506"/>
                  </a:lnTo>
                  <a:lnTo>
                    <a:pt x="1152" y="1500"/>
                  </a:lnTo>
                  <a:lnTo>
                    <a:pt x="1146" y="1494"/>
                  </a:lnTo>
                  <a:lnTo>
                    <a:pt x="1140" y="1488"/>
                  </a:lnTo>
                  <a:lnTo>
                    <a:pt x="1134" y="1482"/>
                  </a:lnTo>
                  <a:lnTo>
                    <a:pt x="1128" y="1476"/>
                  </a:lnTo>
                  <a:lnTo>
                    <a:pt x="1122" y="1470"/>
                  </a:lnTo>
                  <a:lnTo>
                    <a:pt x="1116" y="1464"/>
                  </a:lnTo>
                  <a:lnTo>
                    <a:pt x="1110" y="1464"/>
                  </a:lnTo>
                  <a:lnTo>
                    <a:pt x="1104" y="1458"/>
                  </a:lnTo>
                  <a:lnTo>
                    <a:pt x="1098" y="1464"/>
                  </a:lnTo>
                  <a:lnTo>
                    <a:pt x="1092" y="1464"/>
                  </a:lnTo>
                  <a:lnTo>
                    <a:pt x="1086" y="1446"/>
                  </a:lnTo>
                  <a:lnTo>
                    <a:pt x="1086" y="1440"/>
                  </a:lnTo>
                  <a:lnTo>
                    <a:pt x="1080" y="1416"/>
                  </a:lnTo>
                  <a:lnTo>
                    <a:pt x="1068" y="1404"/>
                  </a:lnTo>
                  <a:lnTo>
                    <a:pt x="1062" y="1398"/>
                  </a:lnTo>
                  <a:lnTo>
                    <a:pt x="1056" y="1398"/>
                  </a:lnTo>
                  <a:lnTo>
                    <a:pt x="1050" y="1398"/>
                  </a:lnTo>
                  <a:lnTo>
                    <a:pt x="1044" y="1398"/>
                  </a:lnTo>
                  <a:lnTo>
                    <a:pt x="1044" y="1392"/>
                  </a:lnTo>
                  <a:lnTo>
                    <a:pt x="1038" y="1392"/>
                  </a:lnTo>
                  <a:lnTo>
                    <a:pt x="1032" y="1392"/>
                  </a:lnTo>
                  <a:lnTo>
                    <a:pt x="1020" y="1386"/>
                  </a:lnTo>
                  <a:lnTo>
                    <a:pt x="1014" y="1386"/>
                  </a:lnTo>
                  <a:lnTo>
                    <a:pt x="1014" y="1380"/>
                  </a:lnTo>
                  <a:lnTo>
                    <a:pt x="1008" y="1380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62"/>
                  </a:lnTo>
                  <a:lnTo>
                    <a:pt x="984" y="1356"/>
                  </a:lnTo>
                  <a:lnTo>
                    <a:pt x="978" y="1356"/>
                  </a:lnTo>
                  <a:lnTo>
                    <a:pt x="972" y="1356"/>
                  </a:lnTo>
                  <a:lnTo>
                    <a:pt x="966" y="1356"/>
                  </a:lnTo>
                  <a:lnTo>
                    <a:pt x="966" y="1350"/>
                  </a:lnTo>
                  <a:lnTo>
                    <a:pt x="948" y="1350"/>
                  </a:lnTo>
                  <a:lnTo>
                    <a:pt x="936" y="1344"/>
                  </a:lnTo>
                  <a:lnTo>
                    <a:pt x="930" y="1338"/>
                  </a:lnTo>
                  <a:lnTo>
                    <a:pt x="918" y="1332"/>
                  </a:lnTo>
                  <a:lnTo>
                    <a:pt x="900" y="1326"/>
                  </a:lnTo>
                  <a:lnTo>
                    <a:pt x="864" y="1332"/>
                  </a:lnTo>
                  <a:lnTo>
                    <a:pt x="828" y="1332"/>
                  </a:lnTo>
                  <a:lnTo>
                    <a:pt x="792" y="1314"/>
                  </a:lnTo>
                  <a:lnTo>
                    <a:pt x="780" y="1314"/>
                  </a:lnTo>
                  <a:lnTo>
                    <a:pt x="780" y="1308"/>
                  </a:lnTo>
                  <a:lnTo>
                    <a:pt x="756" y="1296"/>
                  </a:lnTo>
                  <a:lnTo>
                    <a:pt x="756" y="1278"/>
                  </a:lnTo>
                  <a:lnTo>
                    <a:pt x="768" y="1278"/>
                  </a:lnTo>
                  <a:lnTo>
                    <a:pt x="774" y="1272"/>
                  </a:lnTo>
                  <a:lnTo>
                    <a:pt x="780" y="1266"/>
                  </a:lnTo>
                  <a:lnTo>
                    <a:pt x="786" y="1260"/>
                  </a:lnTo>
                  <a:lnTo>
                    <a:pt x="792" y="1254"/>
                  </a:lnTo>
                  <a:lnTo>
                    <a:pt x="798" y="1242"/>
                  </a:lnTo>
                  <a:lnTo>
                    <a:pt x="804" y="1242"/>
                  </a:lnTo>
                  <a:lnTo>
                    <a:pt x="804" y="1206"/>
                  </a:lnTo>
                  <a:lnTo>
                    <a:pt x="804" y="1182"/>
                  </a:lnTo>
                  <a:lnTo>
                    <a:pt x="804" y="1158"/>
                  </a:lnTo>
                  <a:lnTo>
                    <a:pt x="804" y="1134"/>
                  </a:lnTo>
                  <a:lnTo>
                    <a:pt x="798" y="1116"/>
                  </a:lnTo>
                  <a:lnTo>
                    <a:pt x="792" y="1092"/>
                  </a:lnTo>
                  <a:lnTo>
                    <a:pt x="786" y="1062"/>
                  </a:lnTo>
                  <a:lnTo>
                    <a:pt x="768" y="1032"/>
                  </a:lnTo>
                  <a:lnTo>
                    <a:pt x="762" y="1032"/>
                  </a:lnTo>
                  <a:lnTo>
                    <a:pt x="762" y="1020"/>
                  </a:lnTo>
                  <a:lnTo>
                    <a:pt x="762" y="1014"/>
                  </a:lnTo>
                  <a:lnTo>
                    <a:pt x="756" y="1008"/>
                  </a:lnTo>
                  <a:lnTo>
                    <a:pt x="750" y="1002"/>
                  </a:lnTo>
                  <a:lnTo>
                    <a:pt x="738" y="1002"/>
                  </a:lnTo>
                  <a:lnTo>
                    <a:pt x="738" y="990"/>
                  </a:lnTo>
                  <a:lnTo>
                    <a:pt x="726" y="990"/>
                  </a:lnTo>
                  <a:lnTo>
                    <a:pt x="726" y="978"/>
                  </a:lnTo>
                  <a:lnTo>
                    <a:pt x="732" y="972"/>
                  </a:lnTo>
                  <a:lnTo>
                    <a:pt x="732" y="966"/>
                  </a:lnTo>
                  <a:lnTo>
                    <a:pt x="726" y="966"/>
                  </a:lnTo>
                  <a:lnTo>
                    <a:pt x="732" y="948"/>
                  </a:lnTo>
                  <a:lnTo>
                    <a:pt x="726" y="942"/>
                  </a:lnTo>
                  <a:lnTo>
                    <a:pt x="726" y="930"/>
                  </a:lnTo>
                  <a:lnTo>
                    <a:pt x="720" y="924"/>
                  </a:lnTo>
                  <a:lnTo>
                    <a:pt x="714" y="912"/>
                  </a:lnTo>
                  <a:lnTo>
                    <a:pt x="714" y="882"/>
                  </a:lnTo>
                  <a:lnTo>
                    <a:pt x="714" y="870"/>
                  </a:lnTo>
                  <a:lnTo>
                    <a:pt x="714" y="858"/>
                  </a:lnTo>
                  <a:lnTo>
                    <a:pt x="714" y="846"/>
                  </a:lnTo>
                  <a:lnTo>
                    <a:pt x="708" y="822"/>
                  </a:lnTo>
                  <a:lnTo>
                    <a:pt x="702" y="798"/>
                  </a:lnTo>
                  <a:lnTo>
                    <a:pt x="696" y="792"/>
                  </a:lnTo>
                  <a:lnTo>
                    <a:pt x="684" y="726"/>
                  </a:lnTo>
                  <a:lnTo>
                    <a:pt x="678" y="666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66" y="600"/>
                  </a:lnTo>
                  <a:lnTo>
                    <a:pt x="660" y="594"/>
                  </a:lnTo>
                  <a:lnTo>
                    <a:pt x="654" y="594"/>
                  </a:lnTo>
                  <a:lnTo>
                    <a:pt x="636" y="582"/>
                  </a:lnTo>
                  <a:lnTo>
                    <a:pt x="630" y="576"/>
                  </a:lnTo>
                  <a:lnTo>
                    <a:pt x="624" y="576"/>
                  </a:lnTo>
                  <a:lnTo>
                    <a:pt x="618" y="570"/>
                  </a:lnTo>
                  <a:lnTo>
                    <a:pt x="612" y="564"/>
                  </a:lnTo>
                  <a:lnTo>
                    <a:pt x="606" y="558"/>
                  </a:lnTo>
                  <a:lnTo>
                    <a:pt x="606" y="564"/>
                  </a:lnTo>
                  <a:lnTo>
                    <a:pt x="600" y="564"/>
                  </a:lnTo>
                  <a:lnTo>
                    <a:pt x="594" y="558"/>
                  </a:lnTo>
                  <a:lnTo>
                    <a:pt x="594" y="540"/>
                  </a:lnTo>
                  <a:lnTo>
                    <a:pt x="594" y="528"/>
                  </a:lnTo>
                  <a:lnTo>
                    <a:pt x="594" y="516"/>
                  </a:lnTo>
                  <a:lnTo>
                    <a:pt x="594" y="510"/>
                  </a:lnTo>
                  <a:lnTo>
                    <a:pt x="594" y="492"/>
                  </a:lnTo>
                  <a:lnTo>
                    <a:pt x="594" y="456"/>
                  </a:lnTo>
                  <a:lnTo>
                    <a:pt x="588" y="414"/>
                  </a:lnTo>
                  <a:lnTo>
                    <a:pt x="588" y="408"/>
                  </a:lnTo>
                  <a:lnTo>
                    <a:pt x="582" y="396"/>
                  </a:lnTo>
                  <a:lnTo>
                    <a:pt x="582" y="384"/>
                  </a:lnTo>
                  <a:lnTo>
                    <a:pt x="582" y="372"/>
                  </a:lnTo>
                  <a:lnTo>
                    <a:pt x="564" y="372"/>
                  </a:lnTo>
                  <a:lnTo>
                    <a:pt x="552" y="366"/>
                  </a:lnTo>
                  <a:lnTo>
                    <a:pt x="552" y="372"/>
                  </a:lnTo>
                  <a:lnTo>
                    <a:pt x="498" y="372"/>
                  </a:lnTo>
                  <a:lnTo>
                    <a:pt x="498" y="366"/>
                  </a:lnTo>
                  <a:lnTo>
                    <a:pt x="474" y="360"/>
                  </a:lnTo>
                  <a:lnTo>
                    <a:pt x="456" y="354"/>
                  </a:lnTo>
                  <a:lnTo>
                    <a:pt x="438" y="348"/>
                  </a:lnTo>
                  <a:lnTo>
                    <a:pt x="426" y="354"/>
                  </a:lnTo>
                  <a:lnTo>
                    <a:pt x="408" y="360"/>
                  </a:lnTo>
                  <a:lnTo>
                    <a:pt x="378" y="360"/>
                  </a:lnTo>
                  <a:lnTo>
                    <a:pt x="378" y="354"/>
                  </a:lnTo>
                  <a:lnTo>
                    <a:pt x="378" y="348"/>
                  </a:lnTo>
                  <a:lnTo>
                    <a:pt x="378" y="342"/>
                  </a:lnTo>
                  <a:lnTo>
                    <a:pt x="390" y="330"/>
                  </a:lnTo>
                  <a:lnTo>
                    <a:pt x="396" y="312"/>
                  </a:lnTo>
                  <a:lnTo>
                    <a:pt x="396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8"/>
                  </a:lnTo>
                  <a:lnTo>
                    <a:pt x="372" y="234"/>
                  </a:lnTo>
                  <a:lnTo>
                    <a:pt x="354" y="234"/>
                  </a:lnTo>
                  <a:lnTo>
                    <a:pt x="342" y="246"/>
                  </a:lnTo>
                  <a:lnTo>
                    <a:pt x="330" y="252"/>
                  </a:lnTo>
                  <a:lnTo>
                    <a:pt x="318" y="252"/>
                  </a:lnTo>
                  <a:lnTo>
                    <a:pt x="276" y="258"/>
                  </a:lnTo>
                  <a:lnTo>
                    <a:pt x="276" y="264"/>
                  </a:lnTo>
                  <a:lnTo>
                    <a:pt x="252" y="270"/>
                  </a:lnTo>
                  <a:lnTo>
                    <a:pt x="240" y="270"/>
                  </a:lnTo>
                  <a:lnTo>
                    <a:pt x="228" y="276"/>
                  </a:lnTo>
                  <a:lnTo>
                    <a:pt x="210" y="282"/>
                  </a:lnTo>
                  <a:lnTo>
                    <a:pt x="198" y="288"/>
                  </a:lnTo>
                  <a:lnTo>
                    <a:pt x="186" y="294"/>
                  </a:lnTo>
                  <a:lnTo>
                    <a:pt x="174" y="330"/>
                  </a:lnTo>
                  <a:lnTo>
                    <a:pt x="162" y="342"/>
                  </a:lnTo>
                  <a:lnTo>
                    <a:pt x="156" y="354"/>
                  </a:lnTo>
                  <a:lnTo>
                    <a:pt x="150" y="360"/>
                  </a:lnTo>
                  <a:lnTo>
                    <a:pt x="150" y="366"/>
                  </a:lnTo>
                  <a:lnTo>
                    <a:pt x="108" y="372"/>
                  </a:lnTo>
                  <a:lnTo>
                    <a:pt x="60" y="378"/>
                  </a:lnTo>
                  <a:lnTo>
                    <a:pt x="42" y="378"/>
                  </a:lnTo>
                  <a:lnTo>
                    <a:pt x="12" y="378"/>
                  </a:lnTo>
                  <a:lnTo>
                    <a:pt x="6" y="378"/>
                  </a:lnTo>
                  <a:lnTo>
                    <a:pt x="0" y="366"/>
                  </a:lnTo>
                  <a:lnTo>
                    <a:pt x="12" y="360"/>
                  </a:lnTo>
                  <a:lnTo>
                    <a:pt x="24" y="348"/>
                  </a:lnTo>
                  <a:lnTo>
                    <a:pt x="30" y="342"/>
                  </a:lnTo>
                  <a:lnTo>
                    <a:pt x="36" y="330"/>
                  </a:lnTo>
                  <a:lnTo>
                    <a:pt x="72" y="300"/>
                  </a:lnTo>
                  <a:lnTo>
                    <a:pt x="78" y="294"/>
                  </a:lnTo>
                  <a:lnTo>
                    <a:pt x="78" y="288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96" y="270"/>
                  </a:lnTo>
                  <a:lnTo>
                    <a:pt x="102" y="264"/>
                  </a:lnTo>
                  <a:lnTo>
                    <a:pt x="108" y="258"/>
                  </a:lnTo>
                  <a:lnTo>
                    <a:pt x="114" y="246"/>
                  </a:lnTo>
                  <a:lnTo>
                    <a:pt x="120" y="240"/>
                  </a:lnTo>
                  <a:lnTo>
                    <a:pt x="126" y="234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0" y="210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86" y="174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22" y="138"/>
                  </a:lnTo>
                  <a:lnTo>
                    <a:pt x="234" y="132"/>
                  </a:lnTo>
                  <a:lnTo>
                    <a:pt x="246" y="126"/>
                  </a:lnTo>
                  <a:lnTo>
                    <a:pt x="246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88" y="102"/>
                  </a:lnTo>
                  <a:lnTo>
                    <a:pt x="300" y="96"/>
                  </a:lnTo>
                  <a:lnTo>
                    <a:pt x="306" y="90"/>
                  </a:lnTo>
                  <a:lnTo>
                    <a:pt x="318" y="90"/>
                  </a:lnTo>
                  <a:lnTo>
                    <a:pt x="324" y="84"/>
                  </a:lnTo>
                  <a:lnTo>
                    <a:pt x="348" y="72"/>
                  </a:lnTo>
                  <a:lnTo>
                    <a:pt x="354" y="72"/>
                  </a:lnTo>
                  <a:lnTo>
                    <a:pt x="384" y="66"/>
                  </a:lnTo>
                  <a:lnTo>
                    <a:pt x="390" y="66"/>
                  </a:lnTo>
                  <a:lnTo>
                    <a:pt x="396" y="66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66"/>
                  </a:lnTo>
                  <a:lnTo>
                    <a:pt x="438" y="66"/>
                  </a:lnTo>
                  <a:lnTo>
                    <a:pt x="468" y="66"/>
                  </a:lnTo>
                  <a:lnTo>
                    <a:pt x="480" y="66"/>
                  </a:lnTo>
                  <a:lnTo>
                    <a:pt x="486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22" y="60"/>
                  </a:lnTo>
                  <a:lnTo>
                    <a:pt x="534" y="54"/>
                  </a:lnTo>
                  <a:lnTo>
                    <a:pt x="564" y="42"/>
                  </a:lnTo>
                  <a:lnTo>
                    <a:pt x="570" y="42"/>
                  </a:lnTo>
                  <a:lnTo>
                    <a:pt x="582" y="36"/>
                  </a:lnTo>
                  <a:lnTo>
                    <a:pt x="588" y="36"/>
                  </a:lnTo>
                  <a:lnTo>
                    <a:pt x="600" y="30"/>
                  </a:lnTo>
                  <a:lnTo>
                    <a:pt x="606" y="30"/>
                  </a:lnTo>
                  <a:lnTo>
                    <a:pt x="618" y="24"/>
                  </a:lnTo>
                  <a:lnTo>
                    <a:pt x="642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72" y="12"/>
                  </a:lnTo>
                  <a:lnTo>
                    <a:pt x="696" y="12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50" y="6"/>
                  </a:lnTo>
                  <a:lnTo>
                    <a:pt x="768" y="6"/>
                  </a:lnTo>
                  <a:lnTo>
                    <a:pt x="774" y="6"/>
                  </a:lnTo>
                  <a:lnTo>
                    <a:pt x="786" y="6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6" y="6"/>
                  </a:lnTo>
                  <a:lnTo>
                    <a:pt x="846" y="6"/>
                  </a:lnTo>
                  <a:lnTo>
                    <a:pt x="852" y="0"/>
                  </a:lnTo>
                  <a:lnTo>
                    <a:pt x="876" y="0"/>
                  </a:lnTo>
                  <a:lnTo>
                    <a:pt x="876" y="6"/>
                  </a:lnTo>
                  <a:lnTo>
                    <a:pt x="888" y="0"/>
                  </a:lnTo>
                  <a:lnTo>
                    <a:pt x="900" y="0"/>
                  </a:lnTo>
                  <a:lnTo>
                    <a:pt x="906" y="0"/>
                  </a:lnTo>
                  <a:lnTo>
                    <a:pt x="912" y="0"/>
                  </a:lnTo>
                  <a:lnTo>
                    <a:pt x="948" y="0"/>
                  </a:lnTo>
                  <a:lnTo>
                    <a:pt x="954" y="0"/>
                  </a:lnTo>
                  <a:lnTo>
                    <a:pt x="972" y="0"/>
                  </a:lnTo>
                  <a:lnTo>
                    <a:pt x="978" y="0"/>
                  </a:lnTo>
                  <a:lnTo>
                    <a:pt x="996" y="0"/>
                  </a:lnTo>
                  <a:lnTo>
                    <a:pt x="1032" y="0"/>
                  </a:lnTo>
                  <a:lnTo>
                    <a:pt x="1044" y="0"/>
                  </a:lnTo>
                  <a:lnTo>
                    <a:pt x="1050" y="0"/>
                  </a:lnTo>
                  <a:lnTo>
                    <a:pt x="1056" y="6"/>
                  </a:lnTo>
                  <a:lnTo>
                    <a:pt x="1056" y="0"/>
                  </a:lnTo>
                  <a:lnTo>
                    <a:pt x="1074" y="0"/>
                  </a:lnTo>
                  <a:lnTo>
                    <a:pt x="1098" y="6"/>
                  </a:lnTo>
                  <a:lnTo>
                    <a:pt x="1116" y="6"/>
                  </a:lnTo>
                  <a:lnTo>
                    <a:pt x="1140" y="12"/>
                  </a:lnTo>
                  <a:lnTo>
                    <a:pt x="1152" y="12"/>
                  </a:lnTo>
                  <a:lnTo>
                    <a:pt x="1158" y="12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6" y="12"/>
                  </a:lnTo>
                  <a:lnTo>
                    <a:pt x="1194" y="18"/>
                  </a:lnTo>
                  <a:lnTo>
                    <a:pt x="1206" y="18"/>
                  </a:lnTo>
                  <a:lnTo>
                    <a:pt x="1242" y="36"/>
                  </a:lnTo>
                  <a:lnTo>
                    <a:pt x="1248" y="36"/>
                  </a:lnTo>
                  <a:lnTo>
                    <a:pt x="1254" y="36"/>
                  </a:lnTo>
                  <a:lnTo>
                    <a:pt x="1260" y="42"/>
                  </a:lnTo>
                  <a:lnTo>
                    <a:pt x="1272" y="48"/>
                  </a:lnTo>
                  <a:lnTo>
                    <a:pt x="1278" y="48"/>
                  </a:lnTo>
                  <a:lnTo>
                    <a:pt x="1284" y="48"/>
                  </a:lnTo>
                  <a:lnTo>
                    <a:pt x="1290" y="54"/>
                  </a:lnTo>
                  <a:lnTo>
                    <a:pt x="1308" y="60"/>
                  </a:lnTo>
                  <a:lnTo>
                    <a:pt x="1326" y="60"/>
                  </a:lnTo>
                  <a:lnTo>
                    <a:pt x="1338" y="66"/>
                  </a:lnTo>
                  <a:lnTo>
                    <a:pt x="1344" y="66"/>
                  </a:lnTo>
                  <a:lnTo>
                    <a:pt x="1350" y="66"/>
                  </a:lnTo>
                  <a:lnTo>
                    <a:pt x="1356" y="66"/>
                  </a:lnTo>
                  <a:lnTo>
                    <a:pt x="1362" y="72"/>
                  </a:lnTo>
                  <a:lnTo>
                    <a:pt x="1368" y="72"/>
                  </a:lnTo>
                  <a:lnTo>
                    <a:pt x="1380" y="72"/>
                  </a:lnTo>
                  <a:lnTo>
                    <a:pt x="1386" y="72"/>
                  </a:lnTo>
                  <a:lnTo>
                    <a:pt x="1422" y="84"/>
                  </a:lnTo>
                  <a:lnTo>
                    <a:pt x="1428" y="84"/>
                  </a:lnTo>
                  <a:lnTo>
                    <a:pt x="1446" y="90"/>
                  </a:lnTo>
                  <a:lnTo>
                    <a:pt x="1458" y="102"/>
                  </a:lnTo>
                  <a:lnTo>
                    <a:pt x="1494" y="126"/>
                  </a:lnTo>
                  <a:lnTo>
                    <a:pt x="1500" y="132"/>
                  </a:lnTo>
                  <a:lnTo>
                    <a:pt x="1512" y="138"/>
                  </a:lnTo>
                  <a:lnTo>
                    <a:pt x="1512" y="144"/>
                  </a:lnTo>
                  <a:lnTo>
                    <a:pt x="1518" y="150"/>
                  </a:lnTo>
                  <a:lnTo>
                    <a:pt x="1530" y="156"/>
                  </a:lnTo>
                  <a:lnTo>
                    <a:pt x="1530" y="162"/>
                  </a:lnTo>
                  <a:lnTo>
                    <a:pt x="1548" y="168"/>
                  </a:lnTo>
                  <a:lnTo>
                    <a:pt x="1566" y="180"/>
                  </a:lnTo>
                  <a:lnTo>
                    <a:pt x="1578" y="186"/>
                  </a:lnTo>
                  <a:lnTo>
                    <a:pt x="1578" y="180"/>
                  </a:lnTo>
                  <a:lnTo>
                    <a:pt x="1584" y="186"/>
                  </a:lnTo>
                  <a:lnTo>
                    <a:pt x="1584" y="174"/>
                  </a:lnTo>
                  <a:lnTo>
                    <a:pt x="1590" y="174"/>
                  </a:lnTo>
                  <a:lnTo>
                    <a:pt x="1590" y="180"/>
                  </a:lnTo>
                  <a:lnTo>
                    <a:pt x="1596" y="180"/>
                  </a:lnTo>
                  <a:lnTo>
                    <a:pt x="1596" y="174"/>
                  </a:lnTo>
                  <a:lnTo>
                    <a:pt x="1602" y="174"/>
                  </a:lnTo>
                  <a:lnTo>
                    <a:pt x="1608" y="174"/>
                  </a:lnTo>
                  <a:lnTo>
                    <a:pt x="1614" y="180"/>
                  </a:lnTo>
                  <a:lnTo>
                    <a:pt x="1620" y="174"/>
                  </a:lnTo>
                  <a:lnTo>
                    <a:pt x="1614" y="168"/>
                  </a:lnTo>
                  <a:lnTo>
                    <a:pt x="1614" y="162"/>
                  </a:lnTo>
                  <a:lnTo>
                    <a:pt x="1620" y="162"/>
                  </a:lnTo>
                  <a:lnTo>
                    <a:pt x="1626" y="162"/>
                  </a:lnTo>
                  <a:lnTo>
                    <a:pt x="1632" y="162"/>
                  </a:lnTo>
                  <a:lnTo>
                    <a:pt x="1638" y="168"/>
                  </a:lnTo>
                  <a:lnTo>
                    <a:pt x="1644" y="168"/>
                  </a:lnTo>
                  <a:lnTo>
                    <a:pt x="1650" y="174"/>
                  </a:lnTo>
                  <a:lnTo>
                    <a:pt x="1656" y="168"/>
                  </a:lnTo>
                  <a:lnTo>
                    <a:pt x="1668" y="168"/>
                  </a:lnTo>
                  <a:lnTo>
                    <a:pt x="1674" y="174"/>
                  </a:lnTo>
                  <a:lnTo>
                    <a:pt x="1674" y="180"/>
                  </a:lnTo>
                  <a:lnTo>
                    <a:pt x="1674" y="186"/>
                  </a:lnTo>
                  <a:lnTo>
                    <a:pt x="1680" y="186"/>
                  </a:lnTo>
                  <a:lnTo>
                    <a:pt x="1680" y="192"/>
                  </a:lnTo>
                  <a:lnTo>
                    <a:pt x="1686" y="192"/>
                  </a:lnTo>
                  <a:lnTo>
                    <a:pt x="1686" y="186"/>
                  </a:lnTo>
                  <a:lnTo>
                    <a:pt x="1680" y="186"/>
                  </a:lnTo>
                  <a:lnTo>
                    <a:pt x="1686" y="180"/>
                  </a:lnTo>
                  <a:lnTo>
                    <a:pt x="1692" y="180"/>
                  </a:lnTo>
                  <a:lnTo>
                    <a:pt x="1698" y="180"/>
                  </a:lnTo>
                  <a:lnTo>
                    <a:pt x="1704" y="180"/>
                  </a:lnTo>
                  <a:lnTo>
                    <a:pt x="1704" y="186"/>
                  </a:lnTo>
                  <a:lnTo>
                    <a:pt x="1710" y="186"/>
                  </a:lnTo>
                  <a:lnTo>
                    <a:pt x="1716" y="186"/>
                  </a:lnTo>
                  <a:lnTo>
                    <a:pt x="1716" y="192"/>
                  </a:lnTo>
                  <a:lnTo>
                    <a:pt x="1716" y="198"/>
                  </a:lnTo>
                  <a:lnTo>
                    <a:pt x="1722" y="192"/>
                  </a:lnTo>
                  <a:lnTo>
                    <a:pt x="1722" y="186"/>
                  </a:lnTo>
                  <a:lnTo>
                    <a:pt x="1728" y="192"/>
                  </a:lnTo>
                  <a:lnTo>
                    <a:pt x="1734" y="192"/>
                  </a:lnTo>
                  <a:lnTo>
                    <a:pt x="1734" y="186"/>
                  </a:lnTo>
                  <a:lnTo>
                    <a:pt x="1740" y="186"/>
                  </a:lnTo>
                  <a:lnTo>
                    <a:pt x="1740" y="192"/>
                  </a:lnTo>
                  <a:lnTo>
                    <a:pt x="1746" y="192"/>
                  </a:lnTo>
                  <a:lnTo>
                    <a:pt x="1758" y="192"/>
                  </a:lnTo>
                  <a:lnTo>
                    <a:pt x="1764" y="192"/>
                  </a:lnTo>
                  <a:lnTo>
                    <a:pt x="1764" y="198"/>
                  </a:lnTo>
                  <a:lnTo>
                    <a:pt x="1758" y="204"/>
                  </a:lnTo>
                  <a:lnTo>
                    <a:pt x="1752" y="210"/>
                  </a:lnTo>
                  <a:lnTo>
                    <a:pt x="1746" y="216"/>
                  </a:lnTo>
                  <a:lnTo>
                    <a:pt x="1746" y="222"/>
                  </a:lnTo>
                  <a:lnTo>
                    <a:pt x="1734" y="228"/>
                  </a:lnTo>
                  <a:lnTo>
                    <a:pt x="1734" y="234"/>
                  </a:lnTo>
                  <a:lnTo>
                    <a:pt x="1734" y="258"/>
                  </a:lnTo>
                  <a:lnTo>
                    <a:pt x="1740" y="330"/>
                  </a:lnTo>
                  <a:lnTo>
                    <a:pt x="1746" y="372"/>
                  </a:lnTo>
                  <a:lnTo>
                    <a:pt x="1788" y="426"/>
                  </a:lnTo>
                  <a:lnTo>
                    <a:pt x="1806" y="438"/>
                  </a:lnTo>
                  <a:lnTo>
                    <a:pt x="1794" y="480"/>
                  </a:lnTo>
                  <a:lnTo>
                    <a:pt x="1770" y="516"/>
                  </a:lnTo>
                  <a:lnTo>
                    <a:pt x="1746" y="546"/>
                  </a:lnTo>
                  <a:lnTo>
                    <a:pt x="1716" y="570"/>
                  </a:lnTo>
                  <a:lnTo>
                    <a:pt x="1680" y="594"/>
                  </a:lnTo>
                  <a:lnTo>
                    <a:pt x="1668" y="630"/>
                  </a:lnTo>
                  <a:lnTo>
                    <a:pt x="1680" y="684"/>
                  </a:lnTo>
                  <a:lnTo>
                    <a:pt x="1686" y="756"/>
                  </a:lnTo>
                  <a:lnTo>
                    <a:pt x="1662" y="870"/>
                  </a:lnTo>
                  <a:lnTo>
                    <a:pt x="1656" y="888"/>
                  </a:lnTo>
                  <a:lnTo>
                    <a:pt x="1650" y="972"/>
                  </a:lnTo>
                  <a:lnTo>
                    <a:pt x="1656" y="978"/>
                  </a:lnTo>
                  <a:lnTo>
                    <a:pt x="1650" y="984"/>
                  </a:lnTo>
                  <a:lnTo>
                    <a:pt x="1650" y="990"/>
                  </a:lnTo>
                  <a:lnTo>
                    <a:pt x="1650" y="1002"/>
                  </a:lnTo>
                  <a:lnTo>
                    <a:pt x="1656" y="1008"/>
                  </a:lnTo>
                  <a:lnTo>
                    <a:pt x="1656" y="1014"/>
                  </a:lnTo>
                  <a:lnTo>
                    <a:pt x="1662" y="1026"/>
                  </a:lnTo>
                  <a:lnTo>
                    <a:pt x="1650" y="1032"/>
                  </a:lnTo>
                  <a:lnTo>
                    <a:pt x="1638" y="1044"/>
                  </a:lnTo>
                  <a:lnTo>
                    <a:pt x="1626" y="1080"/>
                  </a:lnTo>
                  <a:lnTo>
                    <a:pt x="1614" y="1116"/>
                  </a:lnTo>
                  <a:lnTo>
                    <a:pt x="1614" y="1128"/>
                  </a:lnTo>
                  <a:lnTo>
                    <a:pt x="1626" y="1134"/>
                  </a:lnTo>
                  <a:lnTo>
                    <a:pt x="1644" y="1134"/>
                  </a:lnTo>
                  <a:lnTo>
                    <a:pt x="1662" y="1134"/>
                  </a:lnTo>
                  <a:lnTo>
                    <a:pt x="1680" y="1140"/>
                  </a:lnTo>
                  <a:lnTo>
                    <a:pt x="1698" y="1170"/>
                  </a:lnTo>
                  <a:lnTo>
                    <a:pt x="1704" y="1194"/>
                  </a:lnTo>
                  <a:lnTo>
                    <a:pt x="1692" y="1206"/>
                  </a:lnTo>
                  <a:lnTo>
                    <a:pt x="1662" y="1242"/>
                  </a:lnTo>
                  <a:lnTo>
                    <a:pt x="1632" y="1266"/>
                  </a:lnTo>
                  <a:lnTo>
                    <a:pt x="1620" y="1314"/>
                  </a:lnTo>
                  <a:lnTo>
                    <a:pt x="1584" y="1356"/>
                  </a:lnTo>
                  <a:lnTo>
                    <a:pt x="1578" y="1356"/>
                  </a:lnTo>
                  <a:lnTo>
                    <a:pt x="1578" y="1362"/>
                  </a:lnTo>
                  <a:lnTo>
                    <a:pt x="1572" y="1410"/>
                  </a:lnTo>
                  <a:lnTo>
                    <a:pt x="1584" y="1452"/>
                  </a:lnTo>
                  <a:lnTo>
                    <a:pt x="1608" y="1476"/>
                  </a:lnTo>
                  <a:lnTo>
                    <a:pt x="1596" y="1476"/>
                  </a:lnTo>
                  <a:lnTo>
                    <a:pt x="1584" y="1482"/>
                  </a:lnTo>
                  <a:lnTo>
                    <a:pt x="1560" y="1482"/>
                  </a:lnTo>
                  <a:lnTo>
                    <a:pt x="1536" y="1482"/>
                  </a:lnTo>
                  <a:lnTo>
                    <a:pt x="1524" y="1482"/>
                  </a:lnTo>
                  <a:lnTo>
                    <a:pt x="1506" y="1500"/>
                  </a:lnTo>
                  <a:lnTo>
                    <a:pt x="1482" y="1530"/>
                  </a:lnTo>
                  <a:lnTo>
                    <a:pt x="1452" y="1542"/>
                  </a:lnTo>
                  <a:lnTo>
                    <a:pt x="1446" y="1542"/>
                  </a:lnTo>
                  <a:lnTo>
                    <a:pt x="1440" y="1542"/>
                  </a:lnTo>
                  <a:lnTo>
                    <a:pt x="1440" y="1548"/>
                  </a:lnTo>
                  <a:lnTo>
                    <a:pt x="1434" y="1548"/>
                  </a:lnTo>
                  <a:lnTo>
                    <a:pt x="1428" y="1548"/>
                  </a:lnTo>
                  <a:lnTo>
                    <a:pt x="1428" y="1554"/>
                  </a:lnTo>
                  <a:lnTo>
                    <a:pt x="1422" y="1560"/>
                  </a:lnTo>
                  <a:lnTo>
                    <a:pt x="1416" y="1560"/>
                  </a:lnTo>
                  <a:lnTo>
                    <a:pt x="1410" y="1566"/>
                  </a:lnTo>
                  <a:lnTo>
                    <a:pt x="1410" y="1560"/>
                  </a:lnTo>
                  <a:lnTo>
                    <a:pt x="1404" y="1560"/>
                  </a:lnTo>
                  <a:lnTo>
                    <a:pt x="1392" y="1560"/>
                  </a:lnTo>
                  <a:lnTo>
                    <a:pt x="1386" y="1560"/>
                  </a:lnTo>
                  <a:lnTo>
                    <a:pt x="1380" y="1566"/>
                  </a:lnTo>
                  <a:lnTo>
                    <a:pt x="1374" y="1560"/>
                  </a:lnTo>
                  <a:lnTo>
                    <a:pt x="1368" y="1566"/>
                  </a:lnTo>
                  <a:lnTo>
                    <a:pt x="1362" y="1566"/>
                  </a:lnTo>
                  <a:lnTo>
                    <a:pt x="1362" y="1572"/>
                  </a:lnTo>
                  <a:lnTo>
                    <a:pt x="1356" y="1572"/>
                  </a:lnTo>
                  <a:lnTo>
                    <a:pt x="1356" y="1578"/>
                  </a:lnTo>
                  <a:lnTo>
                    <a:pt x="1350" y="1578"/>
                  </a:lnTo>
                  <a:lnTo>
                    <a:pt x="1350" y="1572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32" y="1584"/>
                  </a:lnTo>
                  <a:lnTo>
                    <a:pt x="1326" y="1590"/>
                  </a:lnTo>
                  <a:lnTo>
                    <a:pt x="1320" y="1584"/>
                  </a:lnTo>
                  <a:lnTo>
                    <a:pt x="1314" y="1590"/>
                  </a:lnTo>
                  <a:lnTo>
                    <a:pt x="1308" y="1596"/>
                  </a:lnTo>
                  <a:lnTo>
                    <a:pt x="1302" y="1596"/>
                  </a:lnTo>
                  <a:lnTo>
                    <a:pt x="1296" y="1596"/>
                  </a:lnTo>
                  <a:lnTo>
                    <a:pt x="1290" y="1596"/>
                  </a:lnTo>
                  <a:lnTo>
                    <a:pt x="1284" y="1596"/>
                  </a:lnTo>
                  <a:lnTo>
                    <a:pt x="1278" y="1602"/>
                  </a:lnTo>
                  <a:lnTo>
                    <a:pt x="1266" y="1602"/>
                  </a:lnTo>
                  <a:lnTo>
                    <a:pt x="1272" y="1608"/>
                  </a:lnTo>
                  <a:lnTo>
                    <a:pt x="1278" y="1608"/>
                  </a:lnTo>
                  <a:lnTo>
                    <a:pt x="1284" y="1608"/>
                  </a:lnTo>
                  <a:lnTo>
                    <a:pt x="1290" y="1614"/>
                  </a:lnTo>
                  <a:lnTo>
                    <a:pt x="1296" y="1620"/>
                  </a:lnTo>
                  <a:lnTo>
                    <a:pt x="1302" y="1626"/>
                  </a:lnTo>
                  <a:lnTo>
                    <a:pt x="1308" y="1632"/>
                  </a:lnTo>
                  <a:lnTo>
                    <a:pt x="1314" y="1638"/>
                  </a:lnTo>
                  <a:lnTo>
                    <a:pt x="1314" y="1644"/>
                  </a:lnTo>
                  <a:lnTo>
                    <a:pt x="1320" y="1644"/>
                  </a:lnTo>
                  <a:lnTo>
                    <a:pt x="1320" y="1650"/>
                  </a:lnTo>
                  <a:lnTo>
                    <a:pt x="1326" y="1656"/>
                  </a:lnTo>
                  <a:lnTo>
                    <a:pt x="1332" y="1668"/>
                  </a:lnTo>
                  <a:lnTo>
                    <a:pt x="1338" y="1680"/>
                  </a:lnTo>
                  <a:lnTo>
                    <a:pt x="1338" y="1698"/>
                  </a:lnTo>
                  <a:lnTo>
                    <a:pt x="1350" y="1710"/>
                  </a:lnTo>
                  <a:lnTo>
                    <a:pt x="1350" y="1716"/>
                  </a:lnTo>
                  <a:lnTo>
                    <a:pt x="1350" y="1722"/>
                  </a:lnTo>
                  <a:lnTo>
                    <a:pt x="1350" y="1728"/>
                  </a:lnTo>
                  <a:lnTo>
                    <a:pt x="1356" y="1728"/>
                  </a:lnTo>
                  <a:lnTo>
                    <a:pt x="1356" y="1734"/>
                  </a:lnTo>
                  <a:lnTo>
                    <a:pt x="1350" y="1734"/>
                  </a:lnTo>
                  <a:lnTo>
                    <a:pt x="1344" y="1740"/>
                  </a:lnTo>
                  <a:lnTo>
                    <a:pt x="1338" y="1740"/>
                  </a:lnTo>
                  <a:lnTo>
                    <a:pt x="1332" y="1746"/>
                  </a:lnTo>
                  <a:lnTo>
                    <a:pt x="1326" y="1746"/>
                  </a:lnTo>
                  <a:lnTo>
                    <a:pt x="1326" y="1752"/>
                  </a:lnTo>
                  <a:lnTo>
                    <a:pt x="1320" y="1752"/>
                  </a:lnTo>
                  <a:lnTo>
                    <a:pt x="1320" y="1758"/>
                  </a:lnTo>
                  <a:lnTo>
                    <a:pt x="1314" y="1758"/>
                  </a:lnTo>
                  <a:lnTo>
                    <a:pt x="1308" y="1758"/>
                  </a:lnTo>
                  <a:lnTo>
                    <a:pt x="1302" y="1758"/>
                  </a:lnTo>
                  <a:lnTo>
                    <a:pt x="1296" y="1758"/>
                  </a:lnTo>
                  <a:lnTo>
                    <a:pt x="1290" y="1764"/>
                  </a:lnTo>
                  <a:lnTo>
                    <a:pt x="1284" y="1770"/>
                  </a:lnTo>
                  <a:lnTo>
                    <a:pt x="1278" y="1770"/>
                  </a:lnTo>
                  <a:lnTo>
                    <a:pt x="1272" y="1770"/>
                  </a:lnTo>
                  <a:lnTo>
                    <a:pt x="1266" y="1770"/>
                  </a:lnTo>
                  <a:lnTo>
                    <a:pt x="1266" y="1776"/>
                  </a:lnTo>
                  <a:lnTo>
                    <a:pt x="1260" y="1776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4" name="Freeform 39">
              <a:extLst>
                <a:ext uri="{FF2B5EF4-FFF2-40B4-BE49-F238E27FC236}">
                  <a16:creationId xmlns:a16="http://schemas.microsoft.com/office/drawing/2014/main" id="{E01CDA8B-32C7-421A-B23E-968CAC7F78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2974" y="1759680"/>
              <a:ext cx="825155" cy="700024"/>
            </a:xfrm>
            <a:custGeom>
              <a:avLst/>
              <a:gdLst>
                <a:gd name="T0" fmla="*/ 60 w 1554"/>
                <a:gd name="T1" fmla="*/ 86 h 1320"/>
                <a:gd name="T2" fmla="*/ 66 w 1554"/>
                <a:gd name="T3" fmla="*/ 80 h 1320"/>
                <a:gd name="T4" fmla="*/ 61 w 1554"/>
                <a:gd name="T5" fmla="*/ 73 h 1320"/>
                <a:gd name="T6" fmla="*/ 57 w 1554"/>
                <a:gd name="T7" fmla="*/ 67 h 1320"/>
                <a:gd name="T8" fmla="*/ 60 w 1554"/>
                <a:gd name="T9" fmla="*/ 59 h 1320"/>
                <a:gd name="T10" fmla="*/ 56 w 1554"/>
                <a:gd name="T11" fmla="*/ 55 h 1320"/>
                <a:gd name="T12" fmla="*/ 45 w 1554"/>
                <a:gd name="T13" fmla="*/ 53 h 1320"/>
                <a:gd name="T14" fmla="*/ 42 w 1554"/>
                <a:gd name="T15" fmla="*/ 41 h 1320"/>
                <a:gd name="T16" fmla="*/ 37 w 1554"/>
                <a:gd name="T17" fmla="*/ 39 h 1320"/>
                <a:gd name="T18" fmla="*/ 31 w 1554"/>
                <a:gd name="T19" fmla="*/ 44 h 1320"/>
                <a:gd name="T20" fmla="*/ 37 w 1554"/>
                <a:gd name="T21" fmla="*/ 35 h 1320"/>
                <a:gd name="T22" fmla="*/ 30 w 1554"/>
                <a:gd name="T23" fmla="*/ 23 h 1320"/>
                <a:gd name="T24" fmla="*/ 21 w 1554"/>
                <a:gd name="T25" fmla="*/ 23 h 1320"/>
                <a:gd name="T26" fmla="*/ 15 w 1554"/>
                <a:gd name="T27" fmla="*/ 27 h 1320"/>
                <a:gd name="T28" fmla="*/ 11 w 1554"/>
                <a:gd name="T29" fmla="*/ 32 h 1320"/>
                <a:gd name="T30" fmla="*/ 6 w 1554"/>
                <a:gd name="T31" fmla="*/ 22 h 1320"/>
                <a:gd name="T32" fmla="*/ 3 w 1554"/>
                <a:gd name="T33" fmla="*/ 11 h 1320"/>
                <a:gd name="T34" fmla="*/ 24 w 1554"/>
                <a:gd name="T35" fmla="*/ 12 h 1320"/>
                <a:gd name="T36" fmla="*/ 33 w 1554"/>
                <a:gd name="T37" fmla="*/ 19 h 1320"/>
                <a:gd name="T38" fmla="*/ 49 w 1554"/>
                <a:gd name="T39" fmla="*/ 12 h 1320"/>
                <a:gd name="T40" fmla="*/ 58 w 1554"/>
                <a:gd name="T41" fmla="*/ 10 h 1320"/>
                <a:gd name="T42" fmla="*/ 68 w 1554"/>
                <a:gd name="T43" fmla="*/ 11 h 1320"/>
                <a:gd name="T44" fmla="*/ 79 w 1554"/>
                <a:gd name="T45" fmla="*/ 12 h 1320"/>
                <a:gd name="T46" fmla="*/ 96 w 1554"/>
                <a:gd name="T47" fmla="*/ 11 h 1320"/>
                <a:gd name="T48" fmla="*/ 107 w 1554"/>
                <a:gd name="T49" fmla="*/ 2 h 1320"/>
                <a:gd name="T50" fmla="*/ 117 w 1554"/>
                <a:gd name="T51" fmla="*/ 8 h 1320"/>
                <a:gd name="T52" fmla="*/ 126 w 1554"/>
                <a:gd name="T53" fmla="*/ 12 h 1320"/>
                <a:gd name="T54" fmla="*/ 134 w 1554"/>
                <a:gd name="T55" fmla="*/ 24 h 1320"/>
                <a:gd name="T56" fmla="*/ 133 w 1554"/>
                <a:gd name="T57" fmla="*/ 29 h 1320"/>
                <a:gd name="T58" fmla="*/ 129 w 1554"/>
                <a:gd name="T59" fmla="*/ 31 h 1320"/>
                <a:gd name="T60" fmla="*/ 125 w 1554"/>
                <a:gd name="T61" fmla="*/ 32 h 1320"/>
                <a:gd name="T62" fmla="*/ 115 w 1554"/>
                <a:gd name="T63" fmla="*/ 34 h 1320"/>
                <a:gd name="T64" fmla="*/ 113 w 1554"/>
                <a:gd name="T65" fmla="*/ 44 h 1320"/>
                <a:gd name="T66" fmla="*/ 111 w 1554"/>
                <a:gd name="T67" fmla="*/ 54 h 1320"/>
                <a:gd name="T68" fmla="*/ 107 w 1554"/>
                <a:gd name="T69" fmla="*/ 56 h 1320"/>
                <a:gd name="T70" fmla="*/ 102 w 1554"/>
                <a:gd name="T71" fmla="*/ 58 h 1320"/>
                <a:gd name="T72" fmla="*/ 99 w 1554"/>
                <a:gd name="T73" fmla="*/ 60 h 1320"/>
                <a:gd name="T74" fmla="*/ 93 w 1554"/>
                <a:gd name="T75" fmla="*/ 62 h 1320"/>
                <a:gd name="T76" fmla="*/ 87 w 1554"/>
                <a:gd name="T77" fmla="*/ 64 h 1320"/>
                <a:gd name="T78" fmla="*/ 84 w 1554"/>
                <a:gd name="T79" fmla="*/ 65 h 1320"/>
                <a:gd name="T80" fmla="*/ 81 w 1554"/>
                <a:gd name="T81" fmla="*/ 69 h 1320"/>
                <a:gd name="T82" fmla="*/ 83 w 1554"/>
                <a:gd name="T83" fmla="*/ 72 h 1320"/>
                <a:gd name="T84" fmla="*/ 92 w 1554"/>
                <a:gd name="T85" fmla="*/ 73 h 1320"/>
                <a:gd name="T86" fmla="*/ 93 w 1554"/>
                <a:gd name="T87" fmla="*/ 87 h 1320"/>
                <a:gd name="T88" fmla="*/ 104 w 1554"/>
                <a:gd name="T89" fmla="*/ 98 h 1320"/>
                <a:gd name="T90" fmla="*/ 108 w 1554"/>
                <a:gd name="T91" fmla="*/ 98 h 1320"/>
                <a:gd name="T92" fmla="*/ 112 w 1554"/>
                <a:gd name="T93" fmla="*/ 100 h 1320"/>
                <a:gd name="T94" fmla="*/ 118 w 1554"/>
                <a:gd name="T95" fmla="*/ 100 h 1320"/>
                <a:gd name="T96" fmla="*/ 122 w 1554"/>
                <a:gd name="T97" fmla="*/ 102 h 1320"/>
                <a:gd name="T98" fmla="*/ 118 w 1554"/>
                <a:gd name="T99" fmla="*/ 105 h 1320"/>
                <a:gd name="T100" fmla="*/ 114 w 1554"/>
                <a:gd name="T101" fmla="*/ 107 h 1320"/>
                <a:gd name="T102" fmla="*/ 113 w 1554"/>
                <a:gd name="T103" fmla="*/ 113 h 1320"/>
                <a:gd name="T104" fmla="*/ 104 w 1554"/>
                <a:gd name="T105" fmla="*/ 113 h 1320"/>
                <a:gd name="T106" fmla="*/ 93 w 1554"/>
                <a:gd name="T107" fmla="*/ 109 h 1320"/>
                <a:gd name="T108" fmla="*/ 96 w 1554"/>
                <a:gd name="T109" fmla="*/ 103 h 1320"/>
                <a:gd name="T110" fmla="*/ 95 w 1554"/>
                <a:gd name="T111" fmla="*/ 97 h 1320"/>
                <a:gd name="T112" fmla="*/ 87 w 1554"/>
                <a:gd name="T113" fmla="*/ 98 h 1320"/>
                <a:gd name="T114" fmla="*/ 81 w 1554"/>
                <a:gd name="T115" fmla="*/ 98 h 1320"/>
                <a:gd name="T116" fmla="*/ 78 w 1554"/>
                <a:gd name="T117" fmla="*/ 93 h 1320"/>
                <a:gd name="T118" fmla="*/ 65 w 1554"/>
                <a:gd name="T119" fmla="*/ 92 h 1320"/>
                <a:gd name="T120" fmla="*/ 59 w 1554"/>
                <a:gd name="T121" fmla="*/ 92 h 13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54"/>
                <a:gd name="T184" fmla="*/ 0 h 1320"/>
                <a:gd name="T185" fmla="*/ 1554 w 1554"/>
                <a:gd name="T186" fmla="*/ 1320 h 132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54" h="1320">
                  <a:moveTo>
                    <a:pt x="684" y="1068"/>
                  </a:moveTo>
                  <a:lnTo>
                    <a:pt x="684" y="1062"/>
                  </a:lnTo>
                  <a:lnTo>
                    <a:pt x="690" y="1056"/>
                  </a:lnTo>
                  <a:lnTo>
                    <a:pt x="690" y="1050"/>
                  </a:lnTo>
                  <a:lnTo>
                    <a:pt x="690" y="1044"/>
                  </a:lnTo>
                  <a:lnTo>
                    <a:pt x="690" y="1038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14"/>
                  </a:lnTo>
                  <a:lnTo>
                    <a:pt x="690" y="1008"/>
                  </a:lnTo>
                  <a:lnTo>
                    <a:pt x="696" y="996"/>
                  </a:lnTo>
                  <a:lnTo>
                    <a:pt x="714" y="996"/>
                  </a:lnTo>
                  <a:lnTo>
                    <a:pt x="714" y="990"/>
                  </a:lnTo>
                  <a:lnTo>
                    <a:pt x="732" y="984"/>
                  </a:lnTo>
                  <a:lnTo>
                    <a:pt x="744" y="978"/>
                  </a:lnTo>
                  <a:lnTo>
                    <a:pt x="762" y="966"/>
                  </a:lnTo>
                  <a:lnTo>
                    <a:pt x="762" y="960"/>
                  </a:lnTo>
                  <a:lnTo>
                    <a:pt x="768" y="954"/>
                  </a:lnTo>
                  <a:lnTo>
                    <a:pt x="774" y="948"/>
                  </a:lnTo>
                  <a:lnTo>
                    <a:pt x="774" y="942"/>
                  </a:lnTo>
                  <a:lnTo>
                    <a:pt x="774" y="924"/>
                  </a:lnTo>
                  <a:lnTo>
                    <a:pt x="768" y="918"/>
                  </a:lnTo>
                  <a:lnTo>
                    <a:pt x="756" y="918"/>
                  </a:lnTo>
                  <a:lnTo>
                    <a:pt x="744" y="918"/>
                  </a:lnTo>
                  <a:lnTo>
                    <a:pt x="732" y="924"/>
                  </a:lnTo>
                  <a:lnTo>
                    <a:pt x="726" y="912"/>
                  </a:lnTo>
                  <a:lnTo>
                    <a:pt x="720" y="912"/>
                  </a:lnTo>
                  <a:lnTo>
                    <a:pt x="720" y="900"/>
                  </a:lnTo>
                  <a:lnTo>
                    <a:pt x="720" y="870"/>
                  </a:lnTo>
                  <a:lnTo>
                    <a:pt x="696" y="876"/>
                  </a:lnTo>
                  <a:lnTo>
                    <a:pt x="690" y="852"/>
                  </a:lnTo>
                  <a:lnTo>
                    <a:pt x="702" y="852"/>
                  </a:lnTo>
                  <a:lnTo>
                    <a:pt x="702" y="840"/>
                  </a:lnTo>
                  <a:lnTo>
                    <a:pt x="708" y="834"/>
                  </a:lnTo>
                  <a:lnTo>
                    <a:pt x="702" y="822"/>
                  </a:lnTo>
                  <a:lnTo>
                    <a:pt x="660" y="822"/>
                  </a:lnTo>
                  <a:lnTo>
                    <a:pt x="654" y="822"/>
                  </a:lnTo>
                  <a:lnTo>
                    <a:pt x="642" y="822"/>
                  </a:lnTo>
                  <a:lnTo>
                    <a:pt x="642" y="810"/>
                  </a:lnTo>
                  <a:lnTo>
                    <a:pt x="642" y="798"/>
                  </a:lnTo>
                  <a:lnTo>
                    <a:pt x="642" y="792"/>
                  </a:lnTo>
                  <a:lnTo>
                    <a:pt x="648" y="780"/>
                  </a:lnTo>
                  <a:lnTo>
                    <a:pt x="654" y="774"/>
                  </a:lnTo>
                  <a:lnTo>
                    <a:pt x="660" y="774"/>
                  </a:lnTo>
                  <a:lnTo>
                    <a:pt x="672" y="762"/>
                  </a:lnTo>
                  <a:lnTo>
                    <a:pt x="672" y="756"/>
                  </a:lnTo>
                  <a:lnTo>
                    <a:pt x="678" y="750"/>
                  </a:lnTo>
                  <a:lnTo>
                    <a:pt x="684" y="750"/>
                  </a:lnTo>
                  <a:lnTo>
                    <a:pt x="690" y="744"/>
                  </a:lnTo>
                  <a:lnTo>
                    <a:pt x="696" y="732"/>
                  </a:lnTo>
                  <a:lnTo>
                    <a:pt x="696" y="726"/>
                  </a:lnTo>
                  <a:lnTo>
                    <a:pt x="702" y="714"/>
                  </a:lnTo>
                  <a:lnTo>
                    <a:pt x="696" y="708"/>
                  </a:lnTo>
                  <a:lnTo>
                    <a:pt x="690" y="690"/>
                  </a:lnTo>
                  <a:lnTo>
                    <a:pt x="696" y="678"/>
                  </a:lnTo>
                  <a:lnTo>
                    <a:pt x="708" y="672"/>
                  </a:lnTo>
                  <a:lnTo>
                    <a:pt x="708" y="660"/>
                  </a:lnTo>
                  <a:lnTo>
                    <a:pt x="702" y="660"/>
                  </a:lnTo>
                  <a:lnTo>
                    <a:pt x="696" y="660"/>
                  </a:lnTo>
                  <a:lnTo>
                    <a:pt x="690" y="654"/>
                  </a:lnTo>
                  <a:lnTo>
                    <a:pt x="684" y="654"/>
                  </a:lnTo>
                  <a:lnTo>
                    <a:pt x="690" y="606"/>
                  </a:lnTo>
                  <a:lnTo>
                    <a:pt x="660" y="606"/>
                  </a:lnTo>
                  <a:lnTo>
                    <a:pt x="660" y="612"/>
                  </a:lnTo>
                  <a:lnTo>
                    <a:pt x="648" y="612"/>
                  </a:lnTo>
                  <a:lnTo>
                    <a:pt x="642" y="636"/>
                  </a:lnTo>
                  <a:lnTo>
                    <a:pt x="636" y="636"/>
                  </a:lnTo>
                  <a:lnTo>
                    <a:pt x="630" y="648"/>
                  </a:lnTo>
                  <a:lnTo>
                    <a:pt x="612" y="648"/>
                  </a:lnTo>
                  <a:lnTo>
                    <a:pt x="606" y="636"/>
                  </a:lnTo>
                  <a:lnTo>
                    <a:pt x="600" y="630"/>
                  </a:lnTo>
                  <a:lnTo>
                    <a:pt x="588" y="606"/>
                  </a:lnTo>
                  <a:lnTo>
                    <a:pt x="552" y="606"/>
                  </a:lnTo>
                  <a:lnTo>
                    <a:pt x="552" y="612"/>
                  </a:lnTo>
                  <a:lnTo>
                    <a:pt x="540" y="612"/>
                  </a:lnTo>
                  <a:lnTo>
                    <a:pt x="540" y="606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16" y="612"/>
                  </a:lnTo>
                  <a:lnTo>
                    <a:pt x="516" y="582"/>
                  </a:lnTo>
                  <a:lnTo>
                    <a:pt x="522" y="576"/>
                  </a:lnTo>
                  <a:lnTo>
                    <a:pt x="528" y="576"/>
                  </a:lnTo>
                  <a:lnTo>
                    <a:pt x="528" y="552"/>
                  </a:lnTo>
                  <a:lnTo>
                    <a:pt x="522" y="540"/>
                  </a:lnTo>
                  <a:lnTo>
                    <a:pt x="510" y="528"/>
                  </a:lnTo>
                  <a:lnTo>
                    <a:pt x="486" y="510"/>
                  </a:lnTo>
                  <a:lnTo>
                    <a:pt x="480" y="498"/>
                  </a:lnTo>
                  <a:lnTo>
                    <a:pt x="480" y="474"/>
                  </a:lnTo>
                  <a:lnTo>
                    <a:pt x="492" y="468"/>
                  </a:lnTo>
                  <a:lnTo>
                    <a:pt x="486" y="450"/>
                  </a:lnTo>
                  <a:lnTo>
                    <a:pt x="474" y="456"/>
                  </a:lnTo>
                  <a:lnTo>
                    <a:pt x="468" y="456"/>
                  </a:lnTo>
                  <a:lnTo>
                    <a:pt x="462" y="456"/>
                  </a:lnTo>
                  <a:lnTo>
                    <a:pt x="456" y="468"/>
                  </a:lnTo>
                  <a:lnTo>
                    <a:pt x="456" y="474"/>
                  </a:lnTo>
                  <a:lnTo>
                    <a:pt x="450" y="480"/>
                  </a:lnTo>
                  <a:lnTo>
                    <a:pt x="444" y="450"/>
                  </a:lnTo>
                  <a:lnTo>
                    <a:pt x="438" y="450"/>
                  </a:lnTo>
                  <a:lnTo>
                    <a:pt x="432" y="450"/>
                  </a:lnTo>
                  <a:lnTo>
                    <a:pt x="420" y="450"/>
                  </a:lnTo>
                  <a:lnTo>
                    <a:pt x="420" y="456"/>
                  </a:lnTo>
                  <a:lnTo>
                    <a:pt x="414" y="456"/>
                  </a:lnTo>
                  <a:lnTo>
                    <a:pt x="408" y="468"/>
                  </a:lnTo>
                  <a:lnTo>
                    <a:pt x="402" y="468"/>
                  </a:lnTo>
                  <a:lnTo>
                    <a:pt x="396" y="474"/>
                  </a:lnTo>
                  <a:lnTo>
                    <a:pt x="390" y="492"/>
                  </a:lnTo>
                  <a:lnTo>
                    <a:pt x="384" y="504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54" y="510"/>
                  </a:lnTo>
                  <a:lnTo>
                    <a:pt x="360" y="480"/>
                  </a:lnTo>
                  <a:lnTo>
                    <a:pt x="360" y="474"/>
                  </a:lnTo>
                  <a:lnTo>
                    <a:pt x="378" y="456"/>
                  </a:lnTo>
                  <a:lnTo>
                    <a:pt x="384" y="450"/>
                  </a:lnTo>
                  <a:lnTo>
                    <a:pt x="396" y="444"/>
                  </a:lnTo>
                  <a:lnTo>
                    <a:pt x="402" y="438"/>
                  </a:lnTo>
                  <a:lnTo>
                    <a:pt x="408" y="438"/>
                  </a:lnTo>
                  <a:lnTo>
                    <a:pt x="408" y="426"/>
                  </a:lnTo>
                  <a:lnTo>
                    <a:pt x="414" y="420"/>
                  </a:lnTo>
                  <a:lnTo>
                    <a:pt x="426" y="420"/>
                  </a:lnTo>
                  <a:lnTo>
                    <a:pt x="426" y="408"/>
                  </a:lnTo>
                  <a:lnTo>
                    <a:pt x="420" y="390"/>
                  </a:lnTo>
                  <a:lnTo>
                    <a:pt x="408" y="384"/>
                  </a:lnTo>
                  <a:lnTo>
                    <a:pt x="378" y="378"/>
                  </a:lnTo>
                  <a:lnTo>
                    <a:pt x="354" y="366"/>
                  </a:lnTo>
                  <a:lnTo>
                    <a:pt x="342" y="360"/>
                  </a:lnTo>
                  <a:lnTo>
                    <a:pt x="342" y="348"/>
                  </a:lnTo>
                  <a:lnTo>
                    <a:pt x="336" y="330"/>
                  </a:lnTo>
                  <a:lnTo>
                    <a:pt x="348" y="306"/>
                  </a:lnTo>
                  <a:lnTo>
                    <a:pt x="360" y="294"/>
                  </a:lnTo>
                  <a:lnTo>
                    <a:pt x="360" y="282"/>
                  </a:lnTo>
                  <a:lnTo>
                    <a:pt x="342" y="270"/>
                  </a:lnTo>
                  <a:lnTo>
                    <a:pt x="342" y="264"/>
                  </a:lnTo>
                  <a:lnTo>
                    <a:pt x="330" y="264"/>
                  </a:lnTo>
                  <a:lnTo>
                    <a:pt x="312" y="270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88" y="270"/>
                  </a:lnTo>
                  <a:lnTo>
                    <a:pt x="282" y="270"/>
                  </a:lnTo>
                  <a:lnTo>
                    <a:pt x="276" y="264"/>
                  </a:lnTo>
                  <a:lnTo>
                    <a:pt x="270" y="264"/>
                  </a:lnTo>
                  <a:lnTo>
                    <a:pt x="252" y="270"/>
                  </a:lnTo>
                  <a:lnTo>
                    <a:pt x="246" y="270"/>
                  </a:lnTo>
                  <a:lnTo>
                    <a:pt x="240" y="270"/>
                  </a:lnTo>
                  <a:lnTo>
                    <a:pt x="228" y="270"/>
                  </a:lnTo>
                  <a:lnTo>
                    <a:pt x="216" y="276"/>
                  </a:lnTo>
                  <a:lnTo>
                    <a:pt x="210" y="270"/>
                  </a:lnTo>
                  <a:lnTo>
                    <a:pt x="204" y="270"/>
                  </a:lnTo>
                  <a:lnTo>
                    <a:pt x="198" y="276"/>
                  </a:lnTo>
                  <a:lnTo>
                    <a:pt x="192" y="276"/>
                  </a:lnTo>
                  <a:lnTo>
                    <a:pt x="186" y="282"/>
                  </a:lnTo>
                  <a:lnTo>
                    <a:pt x="180" y="288"/>
                  </a:lnTo>
                  <a:lnTo>
                    <a:pt x="174" y="300"/>
                  </a:lnTo>
                  <a:lnTo>
                    <a:pt x="168" y="306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8" y="330"/>
                  </a:lnTo>
                  <a:lnTo>
                    <a:pt x="162" y="336"/>
                  </a:lnTo>
                  <a:lnTo>
                    <a:pt x="156" y="342"/>
                  </a:lnTo>
                  <a:lnTo>
                    <a:pt x="156" y="348"/>
                  </a:lnTo>
                  <a:lnTo>
                    <a:pt x="156" y="354"/>
                  </a:lnTo>
                  <a:lnTo>
                    <a:pt x="150" y="366"/>
                  </a:lnTo>
                  <a:lnTo>
                    <a:pt x="150" y="372"/>
                  </a:lnTo>
                  <a:lnTo>
                    <a:pt x="144" y="366"/>
                  </a:lnTo>
                  <a:lnTo>
                    <a:pt x="132" y="366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20" y="348"/>
                  </a:lnTo>
                  <a:lnTo>
                    <a:pt x="102" y="330"/>
                  </a:lnTo>
                  <a:lnTo>
                    <a:pt x="96" y="318"/>
                  </a:lnTo>
                  <a:lnTo>
                    <a:pt x="96" y="282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0" y="258"/>
                  </a:lnTo>
                  <a:lnTo>
                    <a:pt x="84" y="252"/>
                  </a:lnTo>
                  <a:lnTo>
                    <a:pt x="66" y="258"/>
                  </a:lnTo>
                  <a:lnTo>
                    <a:pt x="60" y="246"/>
                  </a:lnTo>
                  <a:lnTo>
                    <a:pt x="30" y="252"/>
                  </a:lnTo>
                  <a:lnTo>
                    <a:pt x="18" y="246"/>
                  </a:lnTo>
                  <a:lnTo>
                    <a:pt x="0" y="240"/>
                  </a:lnTo>
                  <a:lnTo>
                    <a:pt x="0" y="234"/>
                  </a:lnTo>
                  <a:lnTo>
                    <a:pt x="0" y="210"/>
                  </a:lnTo>
                  <a:lnTo>
                    <a:pt x="6" y="204"/>
                  </a:lnTo>
                  <a:lnTo>
                    <a:pt x="18" y="192"/>
                  </a:lnTo>
                  <a:lnTo>
                    <a:pt x="18" y="144"/>
                  </a:lnTo>
                  <a:lnTo>
                    <a:pt x="24" y="126"/>
                  </a:lnTo>
                  <a:lnTo>
                    <a:pt x="36" y="126"/>
                  </a:lnTo>
                  <a:lnTo>
                    <a:pt x="54" y="120"/>
                  </a:lnTo>
                  <a:lnTo>
                    <a:pt x="54" y="126"/>
                  </a:lnTo>
                  <a:lnTo>
                    <a:pt x="132" y="114"/>
                  </a:lnTo>
                  <a:lnTo>
                    <a:pt x="144" y="120"/>
                  </a:lnTo>
                  <a:lnTo>
                    <a:pt x="150" y="132"/>
                  </a:lnTo>
                  <a:lnTo>
                    <a:pt x="180" y="126"/>
                  </a:lnTo>
                  <a:lnTo>
                    <a:pt x="210" y="120"/>
                  </a:lnTo>
                  <a:lnTo>
                    <a:pt x="240" y="120"/>
                  </a:lnTo>
                  <a:lnTo>
                    <a:pt x="258" y="120"/>
                  </a:lnTo>
                  <a:lnTo>
                    <a:pt x="270" y="126"/>
                  </a:lnTo>
                  <a:lnTo>
                    <a:pt x="276" y="132"/>
                  </a:lnTo>
                  <a:lnTo>
                    <a:pt x="282" y="138"/>
                  </a:lnTo>
                  <a:lnTo>
                    <a:pt x="282" y="156"/>
                  </a:lnTo>
                  <a:lnTo>
                    <a:pt x="288" y="186"/>
                  </a:lnTo>
                  <a:lnTo>
                    <a:pt x="312" y="192"/>
                  </a:lnTo>
                  <a:lnTo>
                    <a:pt x="318" y="198"/>
                  </a:lnTo>
                  <a:lnTo>
                    <a:pt x="324" y="204"/>
                  </a:lnTo>
                  <a:lnTo>
                    <a:pt x="330" y="210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66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86" y="210"/>
                  </a:lnTo>
                  <a:lnTo>
                    <a:pt x="498" y="198"/>
                  </a:lnTo>
                  <a:lnTo>
                    <a:pt x="504" y="174"/>
                  </a:lnTo>
                  <a:lnTo>
                    <a:pt x="516" y="162"/>
                  </a:lnTo>
                  <a:lnTo>
                    <a:pt x="516" y="138"/>
                  </a:lnTo>
                  <a:lnTo>
                    <a:pt x="522" y="132"/>
                  </a:lnTo>
                  <a:lnTo>
                    <a:pt x="564" y="132"/>
                  </a:lnTo>
                  <a:lnTo>
                    <a:pt x="564" y="114"/>
                  </a:lnTo>
                  <a:lnTo>
                    <a:pt x="582" y="114"/>
                  </a:lnTo>
                  <a:lnTo>
                    <a:pt x="594" y="114"/>
                  </a:lnTo>
                  <a:lnTo>
                    <a:pt x="606" y="114"/>
                  </a:lnTo>
                  <a:lnTo>
                    <a:pt x="612" y="114"/>
                  </a:lnTo>
                  <a:lnTo>
                    <a:pt x="630" y="114"/>
                  </a:lnTo>
                  <a:lnTo>
                    <a:pt x="636" y="114"/>
                  </a:lnTo>
                  <a:lnTo>
                    <a:pt x="648" y="114"/>
                  </a:lnTo>
                  <a:lnTo>
                    <a:pt x="654" y="114"/>
                  </a:lnTo>
                  <a:lnTo>
                    <a:pt x="660" y="120"/>
                  </a:lnTo>
                  <a:lnTo>
                    <a:pt x="672" y="120"/>
                  </a:lnTo>
                  <a:lnTo>
                    <a:pt x="684" y="120"/>
                  </a:lnTo>
                  <a:lnTo>
                    <a:pt x="690" y="120"/>
                  </a:lnTo>
                  <a:lnTo>
                    <a:pt x="702" y="120"/>
                  </a:lnTo>
                  <a:lnTo>
                    <a:pt x="708" y="120"/>
                  </a:lnTo>
                  <a:lnTo>
                    <a:pt x="726" y="126"/>
                  </a:lnTo>
                  <a:lnTo>
                    <a:pt x="732" y="126"/>
                  </a:lnTo>
                  <a:lnTo>
                    <a:pt x="738" y="126"/>
                  </a:lnTo>
                  <a:lnTo>
                    <a:pt x="750" y="126"/>
                  </a:lnTo>
                  <a:lnTo>
                    <a:pt x="756" y="126"/>
                  </a:lnTo>
                  <a:lnTo>
                    <a:pt x="768" y="126"/>
                  </a:lnTo>
                  <a:lnTo>
                    <a:pt x="780" y="126"/>
                  </a:lnTo>
                  <a:lnTo>
                    <a:pt x="786" y="120"/>
                  </a:lnTo>
                  <a:lnTo>
                    <a:pt x="792" y="120"/>
                  </a:lnTo>
                  <a:lnTo>
                    <a:pt x="810" y="120"/>
                  </a:lnTo>
                  <a:lnTo>
                    <a:pt x="822" y="120"/>
                  </a:lnTo>
                  <a:lnTo>
                    <a:pt x="846" y="126"/>
                  </a:lnTo>
                  <a:lnTo>
                    <a:pt x="858" y="126"/>
                  </a:lnTo>
                  <a:lnTo>
                    <a:pt x="870" y="132"/>
                  </a:lnTo>
                  <a:lnTo>
                    <a:pt x="882" y="132"/>
                  </a:lnTo>
                  <a:lnTo>
                    <a:pt x="894" y="132"/>
                  </a:lnTo>
                  <a:lnTo>
                    <a:pt x="900" y="132"/>
                  </a:lnTo>
                  <a:lnTo>
                    <a:pt x="912" y="132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36" y="132"/>
                  </a:lnTo>
                  <a:lnTo>
                    <a:pt x="960" y="132"/>
                  </a:lnTo>
                  <a:lnTo>
                    <a:pt x="966" y="144"/>
                  </a:lnTo>
                  <a:lnTo>
                    <a:pt x="972" y="144"/>
                  </a:lnTo>
                  <a:lnTo>
                    <a:pt x="1002" y="144"/>
                  </a:lnTo>
                  <a:lnTo>
                    <a:pt x="1020" y="144"/>
                  </a:lnTo>
                  <a:lnTo>
                    <a:pt x="1068" y="138"/>
                  </a:lnTo>
                  <a:lnTo>
                    <a:pt x="1110" y="132"/>
                  </a:lnTo>
                  <a:lnTo>
                    <a:pt x="1110" y="126"/>
                  </a:lnTo>
                  <a:lnTo>
                    <a:pt x="1116" y="120"/>
                  </a:lnTo>
                  <a:lnTo>
                    <a:pt x="1122" y="108"/>
                  </a:lnTo>
                  <a:lnTo>
                    <a:pt x="1134" y="96"/>
                  </a:lnTo>
                  <a:lnTo>
                    <a:pt x="1146" y="60"/>
                  </a:lnTo>
                  <a:lnTo>
                    <a:pt x="1158" y="54"/>
                  </a:lnTo>
                  <a:lnTo>
                    <a:pt x="1170" y="48"/>
                  </a:lnTo>
                  <a:lnTo>
                    <a:pt x="1188" y="42"/>
                  </a:lnTo>
                  <a:lnTo>
                    <a:pt x="1200" y="36"/>
                  </a:lnTo>
                  <a:lnTo>
                    <a:pt x="1212" y="36"/>
                  </a:lnTo>
                  <a:lnTo>
                    <a:pt x="1236" y="30"/>
                  </a:lnTo>
                  <a:lnTo>
                    <a:pt x="1236" y="24"/>
                  </a:lnTo>
                  <a:lnTo>
                    <a:pt x="1278" y="18"/>
                  </a:lnTo>
                  <a:lnTo>
                    <a:pt x="1290" y="18"/>
                  </a:lnTo>
                  <a:lnTo>
                    <a:pt x="1302" y="12"/>
                  </a:lnTo>
                  <a:lnTo>
                    <a:pt x="1314" y="0"/>
                  </a:lnTo>
                  <a:lnTo>
                    <a:pt x="1332" y="0"/>
                  </a:lnTo>
                  <a:lnTo>
                    <a:pt x="1338" y="24"/>
                  </a:lnTo>
                  <a:lnTo>
                    <a:pt x="1344" y="30"/>
                  </a:lnTo>
                  <a:lnTo>
                    <a:pt x="1350" y="42"/>
                  </a:lnTo>
                  <a:lnTo>
                    <a:pt x="1356" y="48"/>
                  </a:lnTo>
                  <a:lnTo>
                    <a:pt x="1356" y="78"/>
                  </a:lnTo>
                  <a:lnTo>
                    <a:pt x="1350" y="96"/>
                  </a:lnTo>
                  <a:lnTo>
                    <a:pt x="1338" y="108"/>
                  </a:lnTo>
                  <a:lnTo>
                    <a:pt x="1338" y="114"/>
                  </a:lnTo>
                  <a:lnTo>
                    <a:pt x="1338" y="120"/>
                  </a:lnTo>
                  <a:lnTo>
                    <a:pt x="1338" y="126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398" y="114"/>
                  </a:lnTo>
                  <a:lnTo>
                    <a:pt x="1416" y="120"/>
                  </a:lnTo>
                  <a:lnTo>
                    <a:pt x="1434" y="126"/>
                  </a:lnTo>
                  <a:lnTo>
                    <a:pt x="1458" y="132"/>
                  </a:lnTo>
                  <a:lnTo>
                    <a:pt x="1458" y="138"/>
                  </a:lnTo>
                  <a:lnTo>
                    <a:pt x="1512" y="138"/>
                  </a:lnTo>
                  <a:lnTo>
                    <a:pt x="1512" y="132"/>
                  </a:lnTo>
                  <a:lnTo>
                    <a:pt x="1524" y="138"/>
                  </a:lnTo>
                  <a:lnTo>
                    <a:pt x="1542" y="138"/>
                  </a:lnTo>
                  <a:lnTo>
                    <a:pt x="1542" y="150"/>
                  </a:lnTo>
                  <a:lnTo>
                    <a:pt x="1542" y="162"/>
                  </a:lnTo>
                  <a:lnTo>
                    <a:pt x="1548" y="174"/>
                  </a:lnTo>
                  <a:lnTo>
                    <a:pt x="1548" y="180"/>
                  </a:lnTo>
                  <a:lnTo>
                    <a:pt x="1554" y="222"/>
                  </a:lnTo>
                  <a:lnTo>
                    <a:pt x="1554" y="258"/>
                  </a:lnTo>
                  <a:lnTo>
                    <a:pt x="1554" y="276"/>
                  </a:lnTo>
                  <a:lnTo>
                    <a:pt x="1554" y="282"/>
                  </a:lnTo>
                  <a:lnTo>
                    <a:pt x="1554" y="294"/>
                  </a:lnTo>
                  <a:lnTo>
                    <a:pt x="1554" y="306"/>
                  </a:lnTo>
                  <a:lnTo>
                    <a:pt x="1554" y="324"/>
                  </a:lnTo>
                  <a:lnTo>
                    <a:pt x="1554" y="330"/>
                  </a:lnTo>
                  <a:lnTo>
                    <a:pt x="1548" y="330"/>
                  </a:lnTo>
                  <a:lnTo>
                    <a:pt x="1548" y="336"/>
                  </a:lnTo>
                  <a:lnTo>
                    <a:pt x="1548" y="342"/>
                  </a:lnTo>
                  <a:lnTo>
                    <a:pt x="1542" y="336"/>
                  </a:lnTo>
                  <a:lnTo>
                    <a:pt x="1542" y="330"/>
                  </a:lnTo>
                  <a:lnTo>
                    <a:pt x="1536" y="330"/>
                  </a:lnTo>
                  <a:lnTo>
                    <a:pt x="1530" y="330"/>
                  </a:lnTo>
                  <a:lnTo>
                    <a:pt x="1530" y="336"/>
                  </a:lnTo>
                  <a:lnTo>
                    <a:pt x="1536" y="342"/>
                  </a:lnTo>
                  <a:lnTo>
                    <a:pt x="1530" y="342"/>
                  </a:lnTo>
                  <a:lnTo>
                    <a:pt x="1518" y="348"/>
                  </a:lnTo>
                  <a:lnTo>
                    <a:pt x="1512" y="354"/>
                  </a:lnTo>
                  <a:lnTo>
                    <a:pt x="1506" y="354"/>
                  </a:lnTo>
                  <a:lnTo>
                    <a:pt x="1500" y="354"/>
                  </a:lnTo>
                  <a:lnTo>
                    <a:pt x="1494" y="354"/>
                  </a:lnTo>
                  <a:lnTo>
                    <a:pt x="1494" y="360"/>
                  </a:lnTo>
                  <a:lnTo>
                    <a:pt x="1488" y="360"/>
                  </a:lnTo>
                  <a:lnTo>
                    <a:pt x="1488" y="366"/>
                  </a:lnTo>
                  <a:lnTo>
                    <a:pt x="1488" y="372"/>
                  </a:lnTo>
                  <a:lnTo>
                    <a:pt x="1482" y="372"/>
                  </a:lnTo>
                  <a:lnTo>
                    <a:pt x="1476" y="372"/>
                  </a:lnTo>
                  <a:lnTo>
                    <a:pt x="1470" y="372"/>
                  </a:lnTo>
                  <a:lnTo>
                    <a:pt x="1470" y="378"/>
                  </a:lnTo>
                  <a:lnTo>
                    <a:pt x="1470" y="384"/>
                  </a:lnTo>
                  <a:lnTo>
                    <a:pt x="1470" y="390"/>
                  </a:lnTo>
                  <a:lnTo>
                    <a:pt x="1464" y="402"/>
                  </a:lnTo>
                  <a:lnTo>
                    <a:pt x="1446" y="402"/>
                  </a:lnTo>
                  <a:lnTo>
                    <a:pt x="1440" y="372"/>
                  </a:lnTo>
                  <a:lnTo>
                    <a:pt x="1410" y="372"/>
                  </a:lnTo>
                  <a:lnTo>
                    <a:pt x="1380" y="372"/>
                  </a:lnTo>
                  <a:lnTo>
                    <a:pt x="1374" y="372"/>
                  </a:lnTo>
                  <a:lnTo>
                    <a:pt x="1368" y="378"/>
                  </a:lnTo>
                  <a:lnTo>
                    <a:pt x="1362" y="378"/>
                  </a:lnTo>
                  <a:lnTo>
                    <a:pt x="1356" y="378"/>
                  </a:lnTo>
                  <a:lnTo>
                    <a:pt x="1350" y="384"/>
                  </a:lnTo>
                  <a:lnTo>
                    <a:pt x="1350" y="390"/>
                  </a:lnTo>
                  <a:lnTo>
                    <a:pt x="1344" y="390"/>
                  </a:lnTo>
                  <a:lnTo>
                    <a:pt x="1338" y="390"/>
                  </a:lnTo>
                  <a:lnTo>
                    <a:pt x="1332" y="390"/>
                  </a:lnTo>
                  <a:lnTo>
                    <a:pt x="1332" y="396"/>
                  </a:lnTo>
                  <a:lnTo>
                    <a:pt x="1332" y="390"/>
                  </a:lnTo>
                  <a:lnTo>
                    <a:pt x="1326" y="402"/>
                  </a:lnTo>
                  <a:lnTo>
                    <a:pt x="1320" y="402"/>
                  </a:lnTo>
                  <a:lnTo>
                    <a:pt x="1302" y="474"/>
                  </a:lnTo>
                  <a:lnTo>
                    <a:pt x="1308" y="480"/>
                  </a:lnTo>
                  <a:lnTo>
                    <a:pt x="1314" y="480"/>
                  </a:lnTo>
                  <a:lnTo>
                    <a:pt x="1308" y="498"/>
                  </a:lnTo>
                  <a:lnTo>
                    <a:pt x="1308" y="504"/>
                  </a:lnTo>
                  <a:lnTo>
                    <a:pt x="1314" y="510"/>
                  </a:lnTo>
                  <a:lnTo>
                    <a:pt x="1308" y="510"/>
                  </a:lnTo>
                  <a:lnTo>
                    <a:pt x="1308" y="516"/>
                  </a:lnTo>
                  <a:lnTo>
                    <a:pt x="1302" y="516"/>
                  </a:lnTo>
                  <a:lnTo>
                    <a:pt x="1296" y="510"/>
                  </a:lnTo>
                  <a:lnTo>
                    <a:pt x="1296" y="516"/>
                  </a:lnTo>
                  <a:lnTo>
                    <a:pt x="1290" y="540"/>
                  </a:lnTo>
                  <a:lnTo>
                    <a:pt x="1290" y="552"/>
                  </a:lnTo>
                  <a:lnTo>
                    <a:pt x="1284" y="558"/>
                  </a:lnTo>
                  <a:lnTo>
                    <a:pt x="1290" y="576"/>
                  </a:lnTo>
                  <a:lnTo>
                    <a:pt x="1290" y="600"/>
                  </a:lnTo>
                  <a:lnTo>
                    <a:pt x="1284" y="618"/>
                  </a:lnTo>
                  <a:lnTo>
                    <a:pt x="1290" y="624"/>
                  </a:lnTo>
                  <a:lnTo>
                    <a:pt x="1284" y="630"/>
                  </a:lnTo>
                  <a:lnTo>
                    <a:pt x="1278" y="630"/>
                  </a:lnTo>
                  <a:lnTo>
                    <a:pt x="1272" y="630"/>
                  </a:lnTo>
                  <a:lnTo>
                    <a:pt x="1266" y="636"/>
                  </a:lnTo>
                  <a:lnTo>
                    <a:pt x="1260" y="642"/>
                  </a:lnTo>
                  <a:lnTo>
                    <a:pt x="1260" y="636"/>
                  </a:lnTo>
                  <a:lnTo>
                    <a:pt x="1254" y="636"/>
                  </a:lnTo>
                  <a:lnTo>
                    <a:pt x="1248" y="636"/>
                  </a:lnTo>
                  <a:lnTo>
                    <a:pt x="1248" y="642"/>
                  </a:lnTo>
                  <a:lnTo>
                    <a:pt x="1242" y="642"/>
                  </a:lnTo>
                  <a:lnTo>
                    <a:pt x="1242" y="648"/>
                  </a:lnTo>
                  <a:lnTo>
                    <a:pt x="1236" y="654"/>
                  </a:lnTo>
                  <a:lnTo>
                    <a:pt x="1230" y="654"/>
                  </a:lnTo>
                  <a:lnTo>
                    <a:pt x="1224" y="654"/>
                  </a:lnTo>
                  <a:lnTo>
                    <a:pt x="1218" y="660"/>
                  </a:lnTo>
                  <a:lnTo>
                    <a:pt x="1212" y="660"/>
                  </a:lnTo>
                  <a:lnTo>
                    <a:pt x="1206" y="660"/>
                  </a:lnTo>
                  <a:lnTo>
                    <a:pt x="1200" y="660"/>
                  </a:lnTo>
                  <a:lnTo>
                    <a:pt x="1200" y="666"/>
                  </a:lnTo>
                  <a:lnTo>
                    <a:pt x="1194" y="666"/>
                  </a:lnTo>
                  <a:lnTo>
                    <a:pt x="1188" y="666"/>
                  </a:lnTo>
                  <a:lnTo>
                    <a:pt x="1182" y="672"/>
                  </a:lnTo>
                  <a:lnTo>
                    <a:pt x="1176" y="672"/>
                  </a:lnTo>
                  <a:lnTo>
                    <a:pt x="1170" y="672"/>
                  </a:lnTo>
                  <a:lnTo>
                    <a:pt x="1164" y="678"/>
                  </a:lnTo>
                  <a:lnTo>
                    <a:pt x="1170" y="678"/>
                  </a:lnTo>
                  <a:lnTo>
                    <a:pt x="1164" y="684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52" y="684"/>
                  </a:lnTo>
                  <a:lnTo>
                    <a:pt x="1152" y="690"/>
                  </a:lnTo>
                  <a:lnTo>
                    <a:pt x="1146" y="690"/>
                  </a:lnTo>
                  <a:lnTo>
                    <a:pt x="1140" y="690"/>
                  </a:lnTo>
                  <a:lnTo>
                    <a:pt x="1134" y="696"/>
                  </a:lnTo>
                  <a:lnTo>
                    <a:pt x="1128" y="696"/>
                  </a:lnTo>
                  <a:lnTo>
                    <a:pt x="1122" y="702"/>
                  </a:lnTo>
                  <a:lnTo>
                    <a:pt x="1116" y="702"/>
                  </a:lnTo>
                  <a:lnTo>
                    <a:pt x="1110" y="708"/>
                  </a:lnTo>
                  <a:lnTo>
                    <a:pt x="1104" y="708"/>
                  </a:lnTo>
                  <a:lnTo>
                    <a:pt x="1098" y="708"/>
                  </a:lnTo>
                  <a:lnTo>
                    <a:pt x="1092" y="708"/>
                  </a:lnTo>
                  <a:lnTo>
                    <a:pt x="1092" y="714"/>
                  </a:lnTo>
                  <a:lnTo>
                    <a:pt x="1086" y="720"/>
                  </a:lnTo>
                  <a:lnTo>
                    <a:pt x="1080" y="720"/>
                  </a:lnTo>
                  <a:lnTo>
                    <a:pt x="1074" y="720"/>
                  </a:lnTo>
                  <a:lnTo>
                    <a:pt x="1068" y="720"/>
                  </a:lnTo>
                  <a:lnTo>
                    <a:pt x="1062" y="720"/>
                  </a:lnTo>
                  <a:lnTo>
                    <a:pt x="1050" y="726"/>
                  </a:lnTo>
                  <a:lnTo>
                    <a:pt x="1044" y="726"/>
                  </a:lnTo>
                  <a:lnTo>
                    <a:pt x="1038" y="732"/>
                  </a:lnTo>
                  <a:lnTo>
                    <a:pt x="1026" y="732"/>
                  </a:lnTo>
                  <a:lnTo>
                    <a:pt x="1020" y="732"/>
                  </a:lnTo>
                  <a:lnTo>
                    <a:pt x="1014" y="738"/>
                  </a:lnTo>
                  <a:lnTo>
                    <a:pt x="1008" y="738"/>
                  </a:lnTo>
                  <a:lnTo>
                    <a:pt x="1002" y="738"/>
                  </a:lnTo>
                  <a:lnTo>
                    <a:pt x="996" y="738"/>
                  </a:lnTo>
                  <a:lnTo>
                    <a:pt x="990" y="738"/>
                  </a:lnTo>
                  <a:lnTo>
                    <a:pt x="990" y="732"/>
                  </a:lnTo>
                  <a:lnTo>
                    <a:pt x="984" y="732"/>
                  </a:lnTo>
                  <a:lnTo>
                    <a:pt x="978" y="738"/>
                  </a:lnTo>
                  <a:lnTo>
                    <a:pt x="978" y="744"/>
                  </a:lnTo>
                  <a:lnTo>
                    <a:pt x="984" y="744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8" y="756"/>
                  </a:lnTo>
                  <a:lnTo>
                    <a:pt x="972" y="756"/>
                  </a:lnTo>
                  <a:lnTo>
                    <a:pt x="972" y="762"/>
                  </a:lnTo>
                  <a:lnTo>
                    <a:pt x="966" y="768"/>
                  </a:lnTo>
                  <a:lnTo>
                    <a:pt x="966" y="762"/>
                  </a:lnTo>
                  <a:lnTo>
                    <a:pt x="960" y="762"/>
                  </a:lnTo>
                  <a:lnTo>
                    <a:pt x="954" y="768"/>
                  </a:lnTo>
                  <a:lnTo>
                    <a:pt x="954" y="774"/>
                  </a:lnTo>
                  <a:lnTo>
                    <a:pt x="948" y="774"/>
                  </a:lnTo>
                  <a:lnTo>
                    <a:pt x="948" y="780"/>
                  </a:lnTo>
                  <a:lnTo>
                    <a:pt x="948" y="786"/>
                  </a:lnTo>
                  <a:lnTo>
                    <a:pt x="942" y="786"/>
                  </a:lnTo>
                  <a:lnTo>
                    <a:pt x="942" y="792"/>
                  </a:lnTo>
                  <a:lnTo>
                    <a:pt x="936" y="792"/>
                  </a:lnTo>
                  <a:lnTo>
                    <a:pt x="942" y="798"/>
                  </a:lnTo>
                  <a:lnTo>
                    <a:pt x="942" y="804"/>
                  </a:lnTo>
                  <a:lnTo>
                    <a:pt x="942" y="810"/>
                  </a:lnTo>
                  <a:lnTo>
                    <a:pt x="948" y="810"/>
                  </a:lnTo>
                  <a:lnTo>
                    <a:pt x="942" y="816"/>
                  </a:lnTo>
                  <a:lnTo>
                    <a:pt x="948" y="816"/>
                  </a:lnTo>
                  <a:lnTo>
                    <a:pt x="948" y="822"/>
                  </a:lnTo>
                  <a:lnTo>
                    <a:pt x="954" y="822"/>
                  </a:lnTo>
                  <a:lnTo>
                    <a:pt x="960" y="828"/>
                  </a:lnTo>
                  <a:lnTo>
                    <a:pt x="960" y="834"/>
                  </a:lnTo>
                  <a:lnTo>
                    <a:pt x="966" y="834"/>
                  </a:lnTo>
                  <a:lnTo>
                    <a:pt x="960" y="840"/>
                  </a:lnTo>
                  <a:lnTo>
                    <a:pt x="966" y="846"/>
                  </a:lnTo>
                  <a:lnTo>
                    <a:pt x="966" y="840"/>
                  </a:lnTo>
                  <a:lnTo>
                    <a:pt x="972" y="840"/>
                  </a:lnTo>
                  <a:lnTo>
                    <a:pt x="990" y="840"/>
                  </a:lnTo>
                  <a:lnTo>
                    <a:pt x="1002" y="834"/>
                  </a:lnTo>
                  <a:lnTo>
                    <a:pt x="1020" y="828"/>
                  </a:lnTo>
                  <a:lnTo>
                    <a:pt x="1032" y="828"/>
                  </a:lnTo>
                  <a:lnTo>
                    <a:pt x="1050" y="828"/>
                  </a:lnTo>
                  <a:lnTo>
                    <a:pt x="1062" y="846"/>
                  </a:lnTo>
                  <a:lnTo>
                    <a:pt x="1074" y="876"/>
                  </a:lnTo>
                  <a:lnTo>
                    <a:pt x="1068" y="900"/>
                  </a:lnTo>
                  <a:lnTo>
                    <a:pt x="1074" y="912"/>
                  </a:lnTo>
                  <a:lnTo>
                    <a:pt x="1074" y="936"/>
                  </a:lnTo>
                  <a:lnTo>
                    <a:pt x="1068" y="942"/>
                  </a:lnTo>
                  <a:lnTo>
                    <a:pt x="1062" y="954"/>
                  </a:lnTo>
                  <a:lnTo>
                    <a:pt x="1056" y="978"/>
                  </a:lnTo>
                  <a:lnTo>
                    <a:pt x="1056" y="996"/>
                  </a:lnTo>
                  <a:lnTo>
                    <a:pt x="1068" y="990"/>
                  </a:lnTo>
                  <a:lnTo>
                    <a:pt x="1074" y="990"/>
                  </a:lnTo>
                  <a:lnTo>
                    <a:pt x="1074" y="1008"/>
                  </a:lnTo>
                  <a:lnTo>
                    <a:pt x="1080" y="1008"/>
                  </a:lnTo>
                  <a:lnTo>
                    <a:pt x="1092" y="1014"/>
                  </a:lnTo>
                  <a:lnTo>
                    <a:pt x="1110" y="1044"/>
                  </a:lnTo>
                  <a:lnTo>
                    <a:pt x="1110" y="1062"/>
                  </a:lnTo>
                  <a:lnTo>
                    <a:pt x="1128" y="1068"/>
                  </a:lnTo>
                  <a:lnTo>
                    <a:pt x="1128" y="1092"/>
                  </a:lnTo>
                  <a:lnTo>
                    <a:pt x="1134" y="1098"/>
                  </a:lnTo>
                  <a:lnTo>
                    <a:pt x="1158" y="1122"/>
                  </a:lnTo>
                  <a:lnTo>
                    <a:pt x="1188" y="1122"/>
                  </a:lnTo>
                  <a:lnTo>
                    <a:pt x="1188" y="1128"/>
                  </a:lnTo>
                  <a:lnTo>
                    <a:pt x="1200" y="1134"/>
                  </a:lnTo>
                  <a:lnTo>
                    <a:pt x="1206" y="1134"/>
                  </a:lnTo>
                  <a:lnTo>
                    <a:pt x="1206" y="1128"/>
                  </a:lnTo>
                  <a:lnTo>
                    <a:pt x="1212" y="1128"/>
                  </a:lnTo>
                  <a:lnTo>
                    <a:pt x="1218" y="1128"/>
                  </a:lnTo>
                  <a:lnTo>
                    <a:pt x="1224" y="1122"/>
                  </a:lnTo>
                  <a:lnTo>
                    <a:pt x="1224" y="1128"/>
                  </a:lnTo>
                  <a:lnTo>
                    <a:pt x="1230" y="1128"/>
                  </a:lnTo>
                  <a:lnTo>
                    <a:pt x="1236" y="1128"/>
                  </a:lnTo>
                  <a:lnTo>
                    <a:pt x="1236" y="1122"/>
                  </a:lnTo>
                  <a:lnTo>
                    <a:pt x="1242" y="1122"/>
                  </a:lnTo>
                  <a:lnTo>
                    <a:pt x="1248" y="1128"/>
                  </a:lnTo>
                  <a:lnTo>
                    <a:pt x="1254" y="1128"/>
                  </a:lnTo>
                  <a:lnTo>
                    <a:pt x="1260" y="1134"/>
                  </a:lnTo>
                  <a:lnTo>
                    <a:pt x="1260" y="1140"/>
                  </a:lnTo>
                  <a:lnTo>
                    <a:pt x="1266" y="1140"/>
                  </a:lnTo>
                  <a:lnTo>
                    <a:pt x="1272" y="1140"/>
                  </a:lnTo>
                  <a:lnTo>
                    <a:pt x="1278" y="1140"/>
                  </a:lnTo>
                  <a:lnTo>
                    <a:pt x="1284" y="1140"/>
                  </a:lnTo>
                  <a:lnTo>
                    <a:pt x="1290" y="1146"/>
                  </a:lnTo>
                  <a:lnTo>
                    <a:pt x="1290" y="1152"/>
                  </a:lnTo>
                  <a:lnTo>
                    <a:pt x="1296" y="1146"/>
                  </a:lnTo>
                  <a:lnTo>
                    <a:pt x="1296" y="1152"/>
                  </a:lnTo>
                  <a:lnTo>
                    <a:pt x="1308" y="1152"/>
                  </a:lnTo>
                  <a:lnTo>
                    <a:pt x="1314" y="1152"/>
                  </a:lnTo>
                  <a:lnTo>
                    <a:pt x="1320" y="1152"/>
                  </a:lnTo>
                  <a:lnTo>
                    <a:pt x="1332" y="1152"/>
                  </a:lnTo>
                  <a:lnTo>
                    <a:pt x="1338" y="1152"/>
                  </a:lnTo>
                  <a:lnTo>
                    <a:pt x="1344" y="1152"/>
                  </a:lnTo>
                  <a:lnTo>
                    <a:pt x="1344" y="1158"/>
                  </a:lnTo>
                  <a:lnTo>
                    <a:pt x="1350" y="1158"/>
                  </a:lnTo>
                  <a:lnTo>
                    <a:pt x="1356" y="1158"/>
                  </a:lnTo>
                  <a:lnTo>
                    <a:pt x="1362" y="1158"/>
                  </a:lnTo>
                  <a:lnTo>
                    <a:pt x="1368" y="1158"/>
                  </a:lnTo>
                  <a:lnTo>
                    <a:pt x="1374" y="1164"/>
                  </a:lnTo>
                  <a:lnTo>
                    <a:pt x="1380" y="1164"/>
                  </a:lnTo>
                  <a:lnTo>
                    <a:pt x="1386" y="1170"/>
                  </a:lnTo>
                  <a:lnTo>
                    <a:pt x="1392" y="1170"/>
                  </a:lnTo>
                  <a:lnTo>
                    <a:pt x="1398" y="1164"/>
                  </a:lnTo>
                  <a:lnTo>
                    <a:pt x="1404" y="1164"/>
                  </a:lnTo>
                  <a:lnTo>
                    <a:pt x="1410" y="1164"/>
                  </a:lnTo>
                  <a:lnTo>
                    <a:pt x="1416" y="1164"/>
                  </a:lnTo>
                  <a:lnTo>
                    <a:pt x="1416" y="1170"/>
                  </a:lnTo>
                  <a:lnTo>
                    <a:pt x="1422" y="1176"/>
                  </a:lnTo>
                  <a:lnTo>
                    <a:pt x="1416" y="1176"/>
                  </a:lnTo>
                  <a:lnTo>
                    <a:pt x="1416" y="1182"/>
                  </a:lnTo>
                  <a:lnTo>
                    <a:pt x="1410" y="1188"/>
                  </a:lnTo>
                  <a:lnTo>
                    <a:pt x="1404" y="1194"/>
                  </a:lnTo>
                  <a:lnTo>
                    <a:pt x="1404" y="1200"/>
                  </a:lnTo>
                  <a:lnTo>
                    <a:pt x="1404" y="1206"/>
                  </a:lnTo>
                  <a:lnTo>
                    <a:pt x="1398" y="1212"/>
                  </a:lnTo>
                  <a:lnTo>
                    <a:pt x="1398" y="1206"/>
                  </a:lnTo>
                  <a:lnTo>
                    <a:pt x="1392" y="1206"/>
                  </a:lnTo>
                  <a:lnTo>
                    <a:pt x="1386" y="1206"/>
                  </a:lnTo>
                  <a:lnTo>
                    <a:pt x="1380" y="1212"/>
                  </a:lnTo>
                  <a:lnTo>
                    <a:pt x="1374" y="1212"/>
                  </a:lnTo>
                  <a:lnTo>
                    <a:pt x="1368" y="1218"/>
                  </a:lnTo>
                  <a:lnTo>
                    <a:pt x="1362" y="1218"/>
                  </a:lnTo>
                  <a:lnTo>
                    <a:pt x="1362" y="1224"/>
                  </a:lnTo>
                  <a:lnTo>
                    <a:pt x="1356" y="1230"/>
                  </a:lnTo>
                  <a:lnTo>
                    <a:pt x="1350" y="1230"/>
                  </a:lnTo>
                  <a:lnTo>
                    <a:pt x="1344" y="1236"/>
                  </a:lnTo>
                  <a:lnTo>
                    <a:pt x="1338" y="1230"/>
                  </a:lnTo>
                  <a:lnTo>
                    <a:pt x="1332" y="1230"/>
                  </a:lnTo>
                  <a:lnTo>
                    <a:pt x="1326" y="1230"/>
                  </a:lnTo>
                  <a:lnTo>
                    <a:pt x="1320" y="1230"/>
                  </a:lnTo>
                  <a:lnTo>
                    <a:pt x="1314" y="1230"/>
                  </a:lnTo>
                  <a:lnTo>
                    <a:pt x="1296" y="1242"/>
                  </a:lnTo>
                  <a:lnTo>
                    <a:pt x="1296" y="1248"/>
                  </a:lnTo>
                  <a:lnTo>
                    <a:pt x="1290" y="1248"/>
                  </a:lnTo>
                  <a:lnTo>
                    <a:pt x="1290" y="1260"/>
                  </a:lnTo>
                  <a:lnTo>
                    <a:pt x="1278" y="1272"/>
                  </a:lnTo>
                  <a:lnTo>
                    <a:pt x="1278" y="1278"/>
                  </a:lnTo>
                  <a:lnTo>
                    <a:pt x="1278" y="1284"/>
                  </a:lnTo>
                  <a:lnTo>
                    <a:pt x="1278" y="1290"/>
                  </a:lnTo>
                  <a:lnTo>
                    <a:pt x="1284" y="1296"/>
                  </a:lnTo>
                  <a:lnTo>
                    <a:pt x="1302" y="1302"/>
                  </a:lnTo>
                  <a:lnTo>
                    <a:pt x="1308" y="1308"/>
                  </a:lnTo>
                  <a:lnTo>
                    <a:pt x="1308" y="1314"/>
                  </a:lnTo>
                  <a:lnTo>
                    <a:pt x="1302" y="1320"/>
                  </a:lnTo>
                  <a:lnTo>
                    <a:pt x="1278" y="1314"/>
                  </a:lnTo>
                  <a:lnTo>
                    <a:pt x="1266" y="1308"/>
                  </a:lnTo>
                  <a:lnTo>
                    <a:pt x="1260" y="1296"/>
                  </a:lnTo>
                  <a:lnTo>
                    <a:pt x="1236" y="1296"/>
                  </a:lnTo>
                  <a:lnTo>
                    <a:pt x="1224" y="1308"/>
                  </a:lnTo>
                  <a:lnTo>
                    <a:pt x="1218" y="1308"/>
                  </a:lnTo>
                  <a:lnTo>
                    <a:pt x="1218" y="1302"/>
                  </a:lnTo>
                  <a:lnTo>
                    <a:pt x="1212" y="1302"/>
                  </a:lnTo>
                  <a:lnTo>
                    <a:pt x="1206" y="1302"/>
                  </a:lnTo>
                  <a:lnTo>
                    <a:pt x="1170" y="1314"/>
                  </a:lnTo>
                  <a:lnTo>
                    <a:pt x="1134" y="1296"/>
                  </a:lnTo>
                  <a:lnTo>
                    <a:pt x="1122" y="1290"/>
                  </a:lnTo>
                  <a:lnTo>
                    <a:pt x="1104" y="1290"/>
                  </a:lnTo>
                  <a:lnTo>
                    <a:pt x="1098" y="1278"/>
                  </a:lnTo>
                  <a:lnTo>
                    <a:pt x="1092" y="1242"/>
                  </a:lnTo>
                  <a:lnTo>
                    <a:pt x="1086" y="1242"/>
                  </a:lnTo>
                  <a:lnTo>
                    <a:pt x="1086" y="1248"/>
                  </a:lnTo>
                  <a:lnTo>
                    <a:pt x="1086" y="1254"/>
                  </a:lnTo>
                  <a:lnTo>
                    <a:pt x="1080" y="1254"/>
                  </a:lnTo>
                  <a:lnTo>
                    <a:pt x="1080" y="1260"/>
                  </a:lnTo>
                  <a:lnTo>
                    <a:pt x="1074" y="1260"/>
                  </a:lnTo>
                  <a:lnTo>
                    <a:pt x="1068" y="1236"/>
                  </a:lnTo>
                  <a:lnTo>
                    <a:pt x="1068" y="1206"/>
                  </a:lnTo>
                  <a:lnTo>
                    <a:pt x="1080" y="1194"/>
                  </a:lnTo>
                  <a:lnTo>
                    <a:pt x="1086" y="1194"/>
                  </a:lnTo>
                  <a:lnTo>
                    <a:pt x="1092" y="1200"/>
                  </a:lnTo>
                  <a:lnTo>
                    <a:pt x="1098" y="1206"/>
                  </a:lnTo>
                  <a:lnTo>
                    <a:pt x="1104" y="1200"/>
                  </a:lnTo>
                  <a:lnTo>
                    <a:pt x="1104" y="1194"/>
                  </a:lnTo>
                  <a:lnTo>
                    <a:pt x="1110" y="1194"/>
                  </a:lnTo>
                  <a:lnTo>
                    <a:pt x="1110" y="1188"/>
                  </a:lnTo>
                  <a:lnTo>
                    <a:pt x="1116" y="1182"/>
                  </a:lnTo>
                  <a:lnTo>
                    <a:pt x="1110" y="1182"/>
                  </a:lnTo>
                  <a:lnTo>
                    <a:pt x="1110" y="1170"/>
                  </a:lnTo>
                  <a:lnTo>
                    <a:pt x="1110" y="1158"/>
                  </a:lnTo>
                  <a:lnTo>
                    <a:pt x="1110" y="1152"/>
                  </a:lnTo>
                  <a:lnTo>
                    <a:pt x="1104" y="1146"/>
                  </a:lnTo>
                  <a:lnTo>
                    <a:pt x="1098" y="1140"/>
                  </a:lnTo>
                  <a:lnTo>
                    <a:pt x="1098" y="1134"/>
                  </a:lnTo>
                  <a:lnTo>
                    <a:pt x="1098" y="1128"/>
                  </a:lnTo>
                  <a:lnTo>
                    <a:pt x="1092" y="1128"/>
                  </a:lnTo>
                  <a:lnTo>
                    <a:pt x="1092" y="1122"/>
                  </a:lnTo>
                  <a:lnTo>
                    <a:pt x="1092" y="1116"/>
                  </a:lnTo>
                  <a:lnTo>
                    <a:pt x="1092" y="1110"/>
                  </a:lnTo>
                  <a:lnTo>
                    <a:pt x="1056" y="1122"/>
                  </a:lnTo>
                  <a:lnTo>
                    <a:pt x="1038" y="1128"/>
                  </a:lnTo>
                  <a:lnTo>
                    <a:pt x="1032" y="1128"/>
                  </a:lnTo>
                  <a:lnTo>
                    <a:pt x="1026" y="1128"/>
                  </a:lnTo>
                  <a:lnTo>
                    <a:pt x="1020" y="1128"/>
                  </a:lnTo>
                  <a:lnTo>
                    <a:pt x="1014" y="1128"/>
                  </a:lnTo>
                  <a:lnTo>
                    <a:pt x="1014" y="1122"/>
                  </a:lnTo>
                  <a:lnTo>
                    <a:pt x="1008" y="1122"/>
                  </a:lnTo>
                  <a:lnTo>
                    <a:pt x="1002" y="1128"/>
                  </a:lnTo>
                  <a:lnTo>
                    <a:pt x="1002" y="1134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84" y="1140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66" y="1140"/>
                  </a:lnTo>
                  <a:lnTo>
                    <a:pt x="954" y="1140"/>
                  </a:lnTo>
                  <a:lnTo>
                    <a:pt x="954" y="1134"/>
                  </a:lnTo>
                  <a:lnTo>
                    <a:pt x="948" y="1134"/>
                  </a:lnTo>
                  <a:lnTo>
                    <a:pt x="942" y="1134"/>
                  </a:lnTo>
                  <a:lnTo>
                    <a:pt x="936" y="1134"/>
                  </a:lnTo>
                  <a:lnTo>
                    <a:pt x="930" y="1134"/>
                  </a:lnTo>
                  <a:lnTo>
                    <a:pt x="924" y="1134"/>
                  </a:lnTo>
                  <a:lnTo>
                    <a:pt x="918" y="1134"/>
                  </a:lnTo>
                  <a:lnTo>
                    <a:pt x="918" y="1128"/>
                  </a:lnTo>
                  <a:lnTo>
                    <a:pt x="918" y="1104"/>
                  </a:lnTo>
                  <a:lnTo>
                    <a:pt x="906" y="1104"/>
                  </a:lnTo>
                  <a:lnTo>
                    <a:pt x="900" y="1098"/>
                  </a:lnTo>
                  <a:lnTo>
                    <a:pt x="900" y="1092"/>
                  </a:lnTo>
                  <a:lnTo>
                    <a:pt x="900" y="1086"/>
                  </a:lnTo>
                  <a:lnTo>
                    <a:pt x="900" y="1080"/>
                  </a:lnTo>
                  <a:lnTo>
                    <a:pt x="894" y="1080"/>
                  </a:lnTo>
                  <a:lnTo>
                    <a:pt x="858" y="1074"/>
                  </a:lnTo>
                  <a:lnTo>
                    <a:pt x="852" y="1080"/>
                  </a:lnTo>
                  <a:lnTo>
                    <a:pt x="846" y="1086"/>
                  </a:lnTo>
                  <a:lnTo>
                    <a:pt x="840" y="1086"/>
                  </a:lnTo>
                  <a:lnTo>
                    <a:pt x="840" y="1092"/>
                  </a:lnTo>
                  <a:lnTo>
                    <a:pt x="834" y="1092"/>
                  </a:lnTo>
                  <a:lnTo>
                    <a:pt x="828" y="1098"/>
                  </a:lnTo>
                  <a:lnTo>
                    <a:pt x="822" y="1098"/>
                  </a:lnTo>
                  <a:lnTo>
                    <a:pt x="762" y="1074"/>
                  </a:lnTo>
                  <a:lnTo>
                    <a:pt x="756" y="1068"/>
                  </a:lnTo>
                  <a:lnTo>
                    <a:pt x="750" y="1068"/>
                  </a:lnTo>
                  <a:lnTo>
                    <a:pt x="744" y="1062"/>
                  </a:lnTo>
                  <a:lnTo>
                    <a:pt x="744" y="1068"/>
                  </a:lnTo>
                  <a:lnTo>
                    <a:pt x="744" y="1074"/>
                  </a:lnTo>
                  <a:lnTo>
                    <a:pt x="738" y="1074"/>
                  </a:lnTo>
                  <a:lnTo>
                    <a:pt x="738" y="1068"/>
                  </a:lnTo>
                  <a:lnTo>
                    <a:pt x="732" y="1068"/>
                  </a:lnTo>
                  <a:lnTo>
                    <a:pt x="726" y="1068"/>
                  </a:lnTo>
                  <a:lnTo>
                    <a:pt x="726" y="1074"/>
                  </a:lnTo>
                  <a:lnTo>
                    <a:pt x="720" y="1074"/>
                  </a:lnTo>
                  <a:lnTo>
                    <a:pt x="684" y="106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5" name="Freeform 40">
              <a:extLst>
                <a:ext uri="{FF2B5EF4-FFF2-40B4-BE49-F238E27FC236}">
                  <a16:creationId xmlns:a16="http://schemas.microsoft.com/office/drawing/2014/main" id="{37EC2F22-BDB9-4162-8FA4-08493F6898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3558" y="1520374"/>
              <a:ext cx="1057717" cy="1252440"/>
            </a:xfrm>
            <a:custGeom>
              <a:avLst/>
              <a:gdLst>
                <a:gd name="T0" fmla="*/ 98 w 1992"/>
                <a:gd name="T1" fmla="*/ 162 h 2358"/>
                <a:gd name="T2" fmla="*/ 93 w 1992"/>
                <a:gd name="T3" fmla="*/ 172 h 2358"/>
                <a:gd name="T4" fmla="*/ 82 w 1992"/>
                <a:gd name="T5" fmla="*/ 179 h 2358"/>
                <a:gd name="T6" fmla="*/ 70 w 1992"/>
                <a:gd name="T7" fmla="*/ 174 h 2358"/>
                <a:gd name="T8" fmla="*/ 62 w 1992"/>
                <a:gd name="T9" fmla="*/ 182 h 2358"/>
                <a:gd name="T10" fmla="*/ 45 w 1992"/>
                <a:gd name="T11" fmla="*/ 189 h 2358"/>
                <a:gd name="T12" fmla="*/ 24 w 1992"/>
                <a:gd name="T13" fmla="*/ 205 h 2358"/>
                <a:gd name="T14" fmla="*/ 17 w 1992"/>
                <a:gd name="T15" fmla="*/ 204 h 2358"/>
                <a:gd name="T16" fmla="*/ 7 w 1992"/>
                <a:gd name="T17" fmla="*/ 197 h 2358"/>
                <a:gd name="T18" fmla="*/ 1 w 1992"/>
                <a:gd name="T19" fmla="*/ 191 h 2358"/>
                <a:gd name="T20" fmla="*/ 4 w 1992"/>
                <a:gd name="T21" fmla="*/ 175 h 2358"/>
                <a:gd name="T22" fmla="*/ 7 w 1992"/>
                <a:gd name="T23" fmla="*/ 172 h 2358"/>
                <a:gd name="T24" fmla="*/ 11 w 1992"/>
                <a:gd name="T25" fmla="*/ 168 h 2358"/>
                <a:gd name="T26" fmla="*/ 5 w 1992"/>
                <a:gd name="T27" fmla="*/ 159 h 2358"/>
                <a:gd name="T28" fmla="*/ 10 w 1992"/>
                <a:gd name="T29" fmla="*/ 156 h 2358"/>
                <a:gd name="T30" fmla="*/ 15 w 1992"/>
                <a:gd name="T31" fmla="*/ 155 h 2358"/>
                <a:gd name="T32" fmla="*/ 24 w 1992"/>
                <a:gd name="T33" fmla="*/ 149 h 2358"/>
                <a:gd name="T34" fmla="*/ 38 w 1992"/>
                <a:gd name="T35" fmla="*/ 127 h 2358"/>
                <a:gd name="T36" fmla="*/ 38 w 1992"/>
                <a:gd name="T37" fmla="*/ 107 h 2358"/>
                <a:gd name="T38" fmla="*/ 45 w 1992"/>
                <a:gd name="T39" fmla="*/ 66 h 2358"/>
                <a:gd name="T40" fmla="*/ 47 w 1992"/>
                <a:gd name="T41" fmla="*/ 36 h 2358"/>
                <a:gd name="T42" fmla="*/ 51 w 1992"/>
                <a:gd name="T43" fmla="*/ 35 h 2358"/>
                <a:gd name="T44" fmla="*/ 55 w 1992"/>
                <a:gd name="T45" fmla="*/ 30 h 2358"/>
                <a:gd name="T46" fmla="*/ 56 w 1992"/>
                <a:gd name="T47" fmla="*/ 27 h 2358"/>
                <a:gd name="T48" fmla="*/ 60 w 1992"/>
                <a:gd name="T49" fmla="*/ 23 h 2358"/>
                <a:gd name="T50" fmla="*/ 63 w 1992"/>
                <a:gd name="T51" fmla="*/ 23 h 2358"/>
                <a:gd name="T52" fmla="*/ 70 w 1992"/>
                <a:gd name="T53" fmla="*/ 18 h 2358"/>
                <a:gd name="T54" fmla="*/ 71 w 1992"/>
                <a:gd name="T55" fmla="*/ 15 h 2358"/>
                <a:gd name="T56" fmla="*/ 72 w 1992"/>
                <a:gd name="T57" fmla="*/ 13 h 2358"/>
                <a:gd name="T58" fmla="*/ 77 w 1992"/>
                <a:gd name="T59" fmla="*/ 12 h 2358"/>
                <a:gd name="T60" fmla="*/ 83 w 1992"/>
                <a:gd name="T61" fmla="*/ 10 h 2358"/>
                <a:gd name="T62" fmla="*/ 87 w 1992"/>
                <a:gd name="T63" fmla="*/ 10 h 2358"/>
                <a:gd name="T64" fmla="*/ 89 w 1992"/>
                <a:gd name="T65" fmla="*/ 10 h 2358"/>
                <a:gd name="T66" fmla="*/ 93 w 1992"/>
                <a:gd name="T67" fmla="*/ 8 h 2358"/>
                <a:gd name="T68" fmla="*/ 95 w 1992"/>
                <a:gd name="T69" fmla="*/ 4 h 2358"/>
                <a:gd name="T70" fmla="*/ 99 w 1992"/>
                <a:gd name="T71" fmla="*/ 0 h 2358"/>
                <a:gd name="T72" fmla="*/ 111 w 1992"/>
                <a:gd name="T73" fmla="*/ 0 h 2358"/>
                <a:gd name="T74" fmla="*/ 121 w 1992"/>
                <a:gd name="T75" fmla="*/ 9 h 2358"/>
                <a:gd name="T76" fmla="*/ 128 w 1992"/>
                <a:gd name="T77" fmla="*/ 19 h 2358"/>
                <a:gd name="T78" fmla="*/ 138 w 1992"/>
                <a:gd name="T79" fmla="*/ 33 h 2358"/>
                <a:gd name="T80" fmla="*/ 142 w 1992"/>
                <a:gd name="T81" fmla="*/ 47 h 2358"/>
                <a:gd name="T82" fmla="*/ 145 w 1992"/>
                <a:gd name="T83" fmla="*/ 62 h 2358"/>
                <a:gd name="T84" fmla="*/ 145 w 1992"/>
                <a:gd name="T85" fmla="*/ 70 h 2358"/>
                <a:gd name="T86" fmla="*/ 147 w 1992"/>
                <a:gd name="T87" fmla="*/ 75 h 2358"/>
                <a:gd name="T88" fmla="*/ 153 w 1992"/>
                <a:gd name="T89" fmla="*/ 75 h 2358"/>
                <a:gd name="T90" fmla="*/ 160 w 1992"/>
                <a:gd name="T91" fmla="*/ 76 h 2358"/>
                <a:gd name="T92" fmla="*/ 164 w 1992"/>
                <a:gd name="T93" fmla="*/ 79 h 2358"/>
                <a:gd name="T94" fmla="*/ 168 w 1992"/>
                <a:gd name="T95" fmla="*/ 83 h 2358"/>
                <a:gd name="T96" fmla="*/ 172 w 1992"/>
                <a:gd name="T97" fmla="*/ 86 h 2358"/>
                <a:gd name="T98" fmla="*/ 170 w 1992"/>
                <a:gd name="T99" fmla="*/ 93 h 2358"/>
                <a:gd name="T100" fmla="*/ 170 w 1992"/>
                <a:gd name="T101" fmla="*/ 99 h 2358"/>
                <a:gd name="T102" fmla="*/ 169 w 1992"/>
                <a:gd name="T103" fmla="*/ 106 h 2358"/>
                <a:gd name="T104" fmla="*/ 166 w 1992"/>
                <a:gd name="T105" fmla="*/ 113 h 2358"/>
                <a:gd name="T106" fmla="*/ 170 w 1992"/>
                <a:gd name="T107" fmla="*/ 122 h 2358"/>
                <a:gd name="T108" fmla="*/ 159 w 1992"/>
                <a:gd name="T109" fmla="*/ 128 h 2358"/>
                <a:gd name="T110" fmla="*/ 148 w 1992"/>
                <a:gd name="T111" fmla="*/ 134 h 2358"/>
                <a:gd name="T112" fmla="*/ 139 w 1992"/>
                <a:gd name="T113" fmla="*/ 136 h 2358"/>
                <a:gd name="T114" fmla="*/ 132 w 1992"/>
                <a:gd name="T115" fmla="*/ 138 h 2358"/>
                <a:gd name="T116" fmla="*/ 128 w 1992"/>
                <a:gd name="T117" fmla="*/ 145 h 2358"/>
                <a:gd name="T118" fmla="*/ 124 w 1992"/>
                <a:gd name="T119" fmla="*/ 150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92"/>
                <a:gd name="T181" fmla="*/ 0 h 2358"/>
                <a:gd name="T182" fmla="*/ 1992 w 1992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92" h="2358">
                  <a:moveTo>
                    <a:pt x="1356" y="1782"/>
                  </a:moveTo>
                  <a:lnTo>
                    <a:pt x="1350" y="1788"/>
                  </a:lnTo>
                  <a:lnTo>
                    <a:pt x="1266" y="1788"/>
                  </a:lnTo>
                  <a:lnTo>
                    <a:pt x="1260" y="1800"/>
                  </a:lnTo>
                  <a:lnTo>
                    <a:pt x="1242" y="1806"/>
                  </a:lnTo>
                  <a:lnTo>
                    <a:pt x="1218" y="1812"/>
                  </a:lnTo>
                  <a:lnTo>
                    <a:pt x="1182" y="1812"/>
                  </a:lnTo>
                  <a:lnTo>
                    <a:pt x="1158" y="1806"/>
                  </a:lnTo>
                  <a:lnTo>
                    <a:pt x="1134" y="1800"/>
                  </a:lnTo>
                  <a:lnTo>
                    <a:pt x="1134" y="1806"/>
                  </a:lnTo>
                  <a:lnTo>
                    <a:pt x="1134" y="1830"/>
                  </a:lnTo>
                  <a:lnTo>
                    <a:pt x="1128" y="1842"/>
                  </a:lnTo>
                  <a:lnTo>
                    <a:pt x="1128" y="1854"/>
                  </a:lnTo>
                  <a:lnTo>
                    <a:pt x="1128" y="1860"/>
                  </a:lnTo>
                  <a:lnTo>
                    <a:pt x="1128" y="1866"/>
                  </a:lnTo>
                  <a:lnTo>
                    <a:pt x="1128" y="1872"/>
                  </a:lnTo>
                  <a:lnTo>
                    <a:pt x="1128" y="1884"/>
                  </a:lnTo>
                  <a:lnTo>
                    <a:pt x="1128" y="1890"/>
                  </a:lnTo>
                  <a:lnTo>
                    <a:pt x="1128" y="1896"/>
                  </a:lnTo>
                  <a:lnTo>
                    <a:pt x="1122" y="1902"/>
                  </a:lnTo>
                  <a:lnTo>
                    <a:pt x="1122" y="1920"/>
                  </a:lnTo>
                  <a:lnTo>
                    <a:pt x="1116" y="1920"/>
                  </a:lnTo>
                  <a:lnTo>
                    <a:pt x="1110" y="1926"/>
                  </a:lnTo>
                  <a:lnTo>
                    <a:pt x="1110" y="1932"/>
                  </a:lnTo>
                  <a:lnTo>
                    <a:pt x="1104" y="1938"/>
                  </a:lnTo>
                  <a:lnTo>
                    <a:pt x="1086" y="1962"/>
                  </a:lnTo>
                  <a:lnTo>
                    <a:pt x="1074" y="1974"/>
                  </a:lnTo>
                  <a:lnTo>
                    <a:pt x="1074" y="1980"/>
                  </a:lnTo>
                  <a:lnTo>
                    <a:pt x="1068" y="1986"/>
                  </a:lnTo>
                  <a:lnTo>
                    <a:pt x="1062" y="1998"/>
                  </a:lnTo>
                  <a:lnTo>
                    <a:pt x="1062" y="2004"/>
                  </a:lnTo>
                  <a:lnTo>
                    <a:pt x="1068" y="2004"/>
                  </a:lnTo>
                  <a:lnTo>
                    <a:pt x="1056" y="2034"/>
                  </a:lnTo>
                  <a:lnTo>
                    <a:pt x="1050" y="2076"/>
                  </a:lnTo>
                  <a:lnTo>
                    <a:pt x="1056" y="2100"/>
                  </a:lnTo>
                  <a:lnTo>
                    <a:pt x="1038" y="2106"/>
                  </a:lnTo>
                  <a:lnTo>
                    <a:pt x="1002" y="2106"/>
                  </a:lnTo>
                  <a:lnTo>
                    <a:pt x="978" y="2094"/>
                  </a:lnTo>
                  <a:lnTo>
                    <a:pt x="972" y="2082"/>
                  </a:lnTo>
                  <a:lnTo>
                    <a:pt x="966" y="2070"/>
                  </a:lnTo>
                  <a:lnTo>
                    <a:pt x="954" y="2064"/>
                  </a:lnTo>
                  <a:lnTo>
                    <a:pt x="942" y="2058"/>
                  </a:lnTo>
                  <a:lnTo>
                    <a:pt x="936" y="2058"/>
                  </a:lnTo>
                  <a:lnTo>
                    <a:pt x="918" y="2046"/>
                  </a:lnTo>
                  <a:lnTo>
                    <a:pt x="906" y="2028"/>
                  </a:lnTo>
                  <a:lnTo>
                    <a:pt x="900" y="2022"/>
                  </a:lnTo>
                  <a:lnTo>
                    <a:pt x="894" y="2022"/>
                  </a:lnTo>
                  <a:lnTo>
                    <a:pt x="882" y="2022"/>
                  </a:lnTo>
                  <a:lnTo>
                    <a:pt x="870" y="2016"/>
                  </a:lnTo>
                  <a:lnTo>
                    <a:pt x="864" y="2016"/>
                  </a:lnTo>
                  <a:lnTo>
                    <a:pt x="852" y="2010"/>
                  </a:lnTo>
                  <a:lnTo>
                    <a:pt x="846" y="2004"/>
                  </a:lnTo>
                  <a:lnTo>
                    <a:pt x="840" y="2004"/>
                  </a:lnTo>
                  <a:lnTo>
                    <a:pt x="828" y="1998"/>
                  </a:lnTo>
                  <a:lnTo>
                    <a:pt x="816" y="1998"/>
                  </a:lnTo>
                  <a:lnTo>
                    <a:pt x="810" y="1998"/>
                  </a:lnTo>
                  <a:lnTo>
                    <a:pt x="804" y="1998"/>
                  </a:lnTo>
                  <a:lnTo>
                    <a:pt x="798" y="1998"/>
                  </a:lnTo>
                  <a:lnTo>
                    <a:pt x="792" y="2004"/>
                  </a:lnTo>
                  <a:lnTo>
                    <a:pt x="786" y="2010"/>
                  </a:lnTo>
                  <a:lnTo>
                    <a:pt x="762" y="2010"/>
                  </a:lnTo>
                  <a:lnTo>
                    <a:pt x="756" y="2010"/>
                  </a:lnTo>
                  <a:lnTo>
                    <a:pt x="744" y="2022"/>
                  </a:lnTo>
                  <a:lnTo>
                    <a:pt x="738" y="2034"/>
                  </a:lnTo>
                  <a:lnTo>
                    <a:pt x="732" y="2040"/>
                  </a:lnTo>
                  <a:lnTo>
                    <a:pt x="732" y="2046"/>
                  </a:lnTo>
                  <a:lnTo>
                    <a:pt x="726" y="2058"/>
                  </a:lnTo>
                  <a:lnTo>
                    <a:pt x="720" y="2064"/>
                  </a:lnTo>
                  <a:lnTo>
                    <a:pt x="714" y="2070"/>
                  </a:lnTo>
                  <a:lnTo>
                    <a:pt x="708" y="2088"/>
                  </a:lnTo>
                  <a:lnTo>
                    <a:pt x="702" y="2100"/>
                  </a:lnTo>
                  <a:lnTo>
                    <a:pt x="690" y="2100"/>
                  </a:lnTo>
                  <a:lnTo>
                    <a:pt x="684" y="2094"/>
                  </a:lnTo>
                  <a:lnTo>
                    <a:pt x="666" y="2100"/>
                  </a:lnTo>
                  <a:lnTo>
                    <a:pt x="636" y="2106"/>
                  </a:lnTo>
                  <a:lnTo>
                    <a:pt x="636" y="2112"/>
                  </a:lnTo>
                  <a:lnTo>
                    <a:pt x="636" y="2118"/>
                  </a:lnTo>
                  <a:lnTo>
                    <a:pt x="636" y="2124"/>
                  </a:lnTo>
                  <a:lnTo>
                    <a:pt x="630" y="2124"/>
                  </a:lnTo>
                  <a:lnTo>
                    <a:pt x="630" y="2148"/>
                  </a:lnTo>
                  <a:lnTo>
                    <a:pt x="612" y="2160"/>
                  </a:lnTo>
                  <a:lnTo>
                    <a:pt x="576" y="2172"/>
                  </a:lnTo>
                  <a:lnTo>
                    <a:pt x="546" y="2172"/>
                  </a:lnTo>
                  <a:lnTo>
                    <a:pt x="516" y="2172"/>
                  </a:lnTo>
                  <a:lnTo>
                    <a:pt x="486" y="2172"/>
                  </a:lnTo>
                  <a:lnTo>
                    <a:pt x="462" y="2172"/>
                  </a:lnTo>
                  <a:lnTo>
                    <a:pt x="444" y="2196"/>
                  </a:lnTo>
                  <a:lnTo>
                    <a:pt x="432" y="2232"/>
                  </a:lnTo>
                  <a:lnTo>
                    <a:pt x="408" y="2238"/>
                  </a:lnTo>
                  <a:lnTo>
                    <a:pt x="390" y="2256"/>
                  </a:lnTo>
                  <a:lnTo>
                    <a:pt x="372" y="2274"/>
                  </a:lnTo>
                  <a:lnTo>
                    <a:pt x="360" y="2274"/>
                  </a:lnTo>
                  <a:lnTo>
                    <a:pt x="336" y="2328"/>
                  </a:lnTo>
                  <a:lnTo>
                    <a:pt x="324" y="2340"/>
                  </a:lnTo>
                  <a:lnTo>
                    <a:pt x="300" y="2346"/>
                  </a:lnTo>
                  <a:lnTo>
                    <a:pt x="294" y="2352"/>
                  </a:lnTo>
                  <a:lnTo>
                    <a:pt x="288" y="2352"/>
                  </a:lnTo>
                  <a:lnTo>
                    <a:pt x="282" y="2352"/>
                  </a:lnTo>
                  <a:lnTo>
                    <a:pt x="276" y="2352"/>
                  </a:lnTo>
                  <a:lnTo>
                    <a:pt x="270" y="2352"/>
                  </a:lnTo>
                  <a:lnTo>
                    <a:pt x="270" y="2346"/>
                  </a:lnTo>
                  <a:lnTo>
                    <a:pt x="264" y="2346"/>
                  </a:lnTo>
                  <a:lnTo>
                    <a:pt x="258" y="2352"/>
                  </a:lnTo>
                  <a:lnTo>
                    <a:pt x="252" y="2352"/>
                  </a:lnTo>
                  <a:lnTo>
                    <a:pt x="240" y="2352"/>
                  </a:lnTo>
                  <a:lnTo>
                    <a:pt x="228" y="2352"/>
                  </a:lnTo>
                  <a:lnTo>
                    <a:pt x="222" y="2352"/>
                  </a:lnTo>
                  <a:lnTo>
                    <a:pt x="216" y="2358"/>
                  </a:lnTo>
                  <a:lnTo>
                    <a:pt x="216" y="2352"/>
                  </a:lnTo>
                  <a:lnTo>
                    <a:pt x="210" y="2346"/>
                  </a:lnTo>
                  <a:lnTo>
                    <a:pt x="204" y="2346"/>
                  </a:lnTo>
                  <a:lnTo>
                    <a:pt x="198" y="2340"/>
                  </a:lnTo>
                  <a:lnTo>
                    <a:pt x="192" y="2340"/>
                  </a:lnTo>
                  <a:lnTo>
                    <a:pt x="186" y="2340"/>
                  </a:lnTo>
                  <a:lnTo>
                    <a:pt x="180" y="2340"/>
                  </a:lnTo>
                  <a:lnTo>
                    <a:pt x="174" y="2340"/>
                  </a:lnTo>
                  <a:lnTo>
                    <a:pt x="162" y="2328"/>
                  </a:lnTo>
                  <a:lnTo>
                    <a:pt x="156" y="2322"/>
                  </a:lnTo>
                  <a:lnTo>
                    <a:pt x="156" y="2316"/>
                  </a:lnTo>
                  <a:lnTo>
                    <a:pt x="156" y="2310"/>
                  </a:lnTo>
                  <a:lnTo>
                    <a:pt x="132" y="2286"/>
                  </a:lnTo>
                  <a:lnTo>
                    <a:pt x="120" y="2280"/>
                  </a:lnTo>
                  <a:lnTo>
                    <a:pt x="96" y="2274"/>
                  </a:lnTo>
                  <a:lnTo>
                    <a:pt x="84" y="2268"/>
                  </a:lnTo>
                  <a:lnTo>
                    <a:pt x="78" y="2268"/>
                  </a:lnTo>
                  <a:lnTo>
                    <a:pt x="78" y="2262"/>
                  </a:lnTo>
                  <a:lnTo>
                    <a:pt x="78" y="2256"/>
                  </a:lnTo>
                  <a:lnTo>
                    <a:pt x="78" y="2250"/>
                  </a:lnTo>
                  <a:lnTo>
                    <a:pt x="72" y="2250"/>
                  </a:lnTo>
                  <a:lnTo>
                    <a:pt x="66" y="2250"/>
                  </a:lnTo>
                  <a:lnTo>
                    <a:pt x="60" y="2250"/>
                  </a:lnTo>
                  <a:lnTo>
                    <a:pt x="48" y="2244"/>
                  </a:lnTo>
                  <a:lnTo>
                    <a:pt x="36" y="2238"/>
                  </a:lnTo>
                  <a:lnTo>
                    <a:pt x="36" y="2226"/>
                  </a:lnTo>
                  <a:lnTo>
                    <a:pt x="30" y="2226"/>
                  </a:lnTo>
                  <a:lnTo>
                    <a:pt x="30" y="2220"/>
                  </a:lnTo>
                  <a:lnTo>
                    <a:pt x="24" y="2208"/>
                  </a:lnTo>
                  <a:lnTo>
                    <a:pt x="18" y="2202"/>
                  </a:lnTo>
                  <a:lnTo>
                    <a:pt x="18" y="2196"/>
                  </a:lnTo>
                  <a:lnTo>
                    <a:pt x="12" y="2190"/>
                  </a:lnTo>
                  <a:lnTo>
                    <a:pt x="0" y="2190"/>
                  </a:lnTo>
                  <a:lnTo>
                    <a:pt x="6" y="2184"/>
                  </a:lnTo>
                  <a:lnTo>
                    <a:pt x="12" y="2178"/>
                  </a:lnTo>
                  <a:lnTo>
                    <a:pt x="18" y="2172"/>
                  </a:lnTo>
                  <a:lnTo>
                    <a:pt x="24" y="2166"/>
                  </a:lnTo>
                  <a:lnTo>
                    <a:pt x="30" y="2166"/>
                  </a:lnTo>
                  <a:lnTo>
                    <a:pt x="24" y="2160"/>
                  </a:lnTo>
                  <a:lnTo>
                    <a:pt x="30" y="2160"/>
                  </a:lnTo>
                  <a:lnTo>
                    <a:pt x="36" y="2154"/>
                  </a:lnTo>
                  <a:lnTo>
                    <a:pt x="36" y="2136"/>
                  </a:lnTo>
                  <a:lnTo>
                    <a:pt x="36" y="2118"/>
                  </a:lnTo>
                  <a:lnTo>
                    <a:pt x="48" y="2058"/>
                  </a:lnTo>
                  <a:lnTo>
                    <a:pt x="48" y="2022"/>
                  </a:lnTo>
                  <a:lnTo>
                    <a:pt x="48" y="2016"/>
                  </a:lnTo>
                  <a:lnTo>
                    <a:pt x="48" y="2010"/>
                  </a:lnTo>
                  <a:lnTo>
                    <a:pt x="48" y="2004"/>
                  </a:lnTo>
                  <a:lnTo>
                    <a:pt x="42" y="2004"/>
                  </a:lnTo>
                  <a:lnTo>
                    <a:pt x="42" y="1998"/>
                  </a:lnTo>
                  <a:lnTo>
                    <a:pt x="36" y="1992"/>
                  </a:lnTo>
                  <a:lnTo>
                    <a:pt x="42" y="1992"/>
                  </a:lnTo>
                  <a:lnTo>
                    <a:pt x="42" y="1986"/>
                  </a:lnTo>
                  <a:lnTo>
                    <a:pt x="48" y="1986"/>
                  </a:lnTo>
                  <a:lnTo>
                    <a:pt x="54" y="1986"/>
                  </a:lnTo>
                  <a:lnTo>
                    <a:pt x="60" y="1986"/>
                  </a:lnTo>
                  <a:lnTo>
                    <a:pt x="66" y="1980"/>
                  </a:lnTo>
                  <a:lnTo>
                    <a:pt x="72" y="1974"/>
                  </a:lnTo>
                  <a:lnTo>
                    <a:pt x="78" y="1974"/>
                  </a:lnTo>
                  <a:lnTo>
                    <a:pt x="84" y="1974"/>
                  </a:lnTo>
                  <a:lnTo>
                    <a:pt x="90" y="1974"/>
                  </a:lnTo>
                  <a:lnTo>
                    <a:pt x="96" y="1974"/>
                  </a:lnTo>
                  <a:lnTo>
                    <a:pt x="96" y="1968"/>
                  </a:lnTo>
                  <a:lnTo>
                    <a:pt x="102" y="1968"/>
                  </a:lnTo>
                  <a:lnTo>
                    <a:pt x="102" y="1962"/>
                  </a:lnTo>
                  <a:lnTo>
                    <a:pt x="108" y="1962"/>
                  </a:lnTo>
                  <a:lnTo>
                    <a:pt x="114" y="1956"/>
                  </a:lnTo>
                  <a:lnTo>
                    <a:pt x="120" y="1956"/>
                  </a:lnTo>
                  <a:lnTo>
                    <a:pt x="126" y="1950"/>
                  </a:lnTo>
                  <a:lnTo>
                    <a:pt x="132" y="1950"/>
                  </a:lnTo>
                  <a:lnTo>
                    <a:pt x="132" y="1944"/>
                  </a:lnTo>
                  <a:lnTo>
                    <a:pt x="126" y="1944"/>
                  </a:lnTo>
                  <a:lnTo>
                    <a:pt x="126" y="1938"/>
                  </a:lnTo>
                  <a:lnTo>
                    <a:pt x="126" y="1932"/>
                  </a:lnTo>
                  <a:lnTo>
                    <a:pt x="126" y="1926"/>
                  </a:lnTo>
                  <a:lnTo>
                    <a:pt x="114" y="1914"/>
                  </a:lnTo>
                  <a:lnTo>
                    <a:pt x="114" y="1896"/>
                  </a:lnTo>
                  <a:lnTo>
                    <a:pt x="108" y="1884"/>
                  </a:lnTo>
                  <a:lnTo>
                    <a:pt x="102" y="1872"/>
                  </a:lnTo>
                  <a:lnTo>
                    <a:pt x="96" y="1866"/>
                  </a:lnTo>
                  <a:lnTo>
                    <a:pt x="96" y="1860"/>
                  </a:lnTo>
                  <a:lnTo>
                    <a:pt x="90" y="1860"/>
                  </a:lnTo>
                  <a:lnTo>
                    <a:pt x="90" y="1854"/>
                  </a:lnTo>
                  <a:lnTo>
                    <a:pt x="84" y="1848"/>
                  </a:lnTo>
                  <a:lnTo>
                    <a:pt x="78" y="1842"/>
                  </a:lnTo>
                  <a:lnTo>
                    <a:pt x="72" y="1836"/>
                  </a:lnTo>
                  <a:lnTo>
                    <a:pt x="66" y="1830"/>
                  </a:lnTo>
                  <a:lnTo>
                    <a:pt x="60" y="1824"/>
                  </a:lnTo>
                  <a:lnTo>
                    <a:pt x="54" y="1824"/>
                  </a:lnTo>
                  <a:lnTo>
                    <a:pt x="48" y="1824"/>
                  </a:lnTo>
                  <a:lnTo>
                    <a:pt x="42" y="1818"/>
                  </a:lnTo>
                  <a:lnTo>
                    <a:pt x="54" y="1818"/>
                  </a:lnTo>
                  <a:lnTo>
                    <a:pt x="60" y="1812"/>
                  </a:lnTo>
                  <a:lnTo>
                    <a:pt x="66" y="1812"/>
                  </a:lnTo>
                  <a:lnTo>
                    <a:pt x="72" y="1812"/>
                  </a:lnTo>
                  <a:lnTo>
                    <a:pt x="78" y="1812"/>
                  </a:lnTo>
                  <a:lnTo>
                    <a:pt x="84" y="1812"/>
                  </a:lnTo>
                  <a:lnTo>
                    <a:pt x="90" y="1806"/>
                  </a:lnTo>
                  <a:lnTo>
                    <a:pt x="96" y="1800"/>
                  </a:lnTo>
                  <a:lnTo>
                    <a:pt x="102" y="1806"/>
                  </a:lnTo>
                  <a:lnTo>
                    <a:pt x="108" y="1800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26" y="1788"/>
                  </a:lnTo>
                  <a:lnTo>
                    <a:pt x="126" y="1794"/>
                  </a:lnTo>
                  <a:lnTo>
                    <a:pt x="132" y="1794"/>
                  </a:lnTo>
                  <a:lnTo>
                    <a:pt x="132" y="1788"/>
                  </a:lnTo>
                  <a:lnTo>
                    <a:pt x="138" y="1788"/>
                  </a:lnTo>
                  <a:lnTo>
                    <a:pt x="138" y="1782"/>
                  </a:lnTo>
                  <a:lnTo>
                    <a:pt x="144" y="1782"/>
                  </a:lnTo>
                  <a:lnTo>
                    <a:pt x="150" y="1776"/>
                  </a:lnTo>
                  <a:lnTo>
                    <a:pt x="156" y="1782"/>
                  </a:lnTo>
                  <a:lnTo>
                    <a:pt x="162" y="1776"/>
                  </a:lnTo>
                  <a:lnTo>
                    <a:pt x="168" y="1776"/>
                  </a:lnTo>
                  <a:lnTo>
                    <a:pt x="180" y="1776"/>
                  </a:lnTo>
                  <a:lnTo>
                    <a:pt x="186" y="1776"/>
                  </a:lnTo>
                  <a:lnTo>
                    <a:pt x="186" y="1782"/>
                  </a:lnTo>
                  <a:lnTo>
                    <a:pt x="192" y="1776"/>
                  </a:lnTo>
                  <a:lnTo>
                    <a:pt x="198" y="1776"/>
                  </a:lnTo>
                  <a:lnTo>
                    <a:pt x="204" y="1770"/>
                  </a:lnTo>
                  <a:lnTo>
                    <a:pt x="204" y="1764"/>
                  </a:lnTo>
                  <a:lnTo>
                    <a:pt x="210" y="1764"/>
                  </a:lnTo>
                  <a:lnTo>
                    <a:pt x="216" y="1764"/>
                  </a:lnTo>
                  <a:lnTo>
                    <a:pt x="216" y="1758"/>
                  </a:lnTo>
                  <a:lnTo>
                    <a:pt x="222" y="1758"/>
                  </a:lnTo>
                  <a:lnTo>
                    <a:pt x="228" y="1758"/>
                  </a:lnTo>
                  <a:lnTo>
                    <a:pt x="258" y="1746"/>
                  </a:lnTo>
                  <a:lnTo>
                    <a:pt x="282" y="1716"/>
                  </a:lnTo>
                  <a:lnTo>
                    <a:pt x="300" y="1698"/>
                  </a:lnTo>
                  <a:lnTo>
                    <a:pt x="312" y="1698"/>
                  </a:lnTo>
                  <a:lnTo>
                    <a:pt x="336" y="1698"/>
                  </a:lnTo>
                  <a:lnTo>
                    <a:pt x="360" y="1698"/>
                  </a:lnTo>
                  <a:lnTo>
                    <a:pt x="372" y="1692"/>
                  </a:lnTo>
                  <a:lnTo>
                    <a:pt x="384" y="1692"/>
                  </a:lnTo>
                  <a:lnTo>
                    <a:pt x="360" y="1668"/>
                  </a:lnTo>
                  <a:lnTo>
                    <a:pt x="348" y="1626"/>
                  </a:lnTo>
                  <a:lnTo>
                    <a:pt x="354" y="1578"/>
                  </a:lnTo>
                  <a:lnTo>
                    <a:pt x="354" y="1572"/>
                  </a:lnTo>
                  <a:lnTo>
                    <a:pt x="360" y="1572"/>
                  </a:lnTo>
                  <a:lnTo>
                    <a:pt x="396" y="1530"/>
                  </a:lnTo>
                  <a:lnTo>
                    <a:pt x="408" y="1482"/>
                  </a:lnTo>
                  <a:lnTo>
                    <a:pt x="438" y="1458"/>
                  </a:lnTo>
                  <a:lnTo>
                    <a:pt x="468" y="1422"/>
                  </a:lnTo>
                  <a:lnTo>
                    <a:pt x="480" y="1410"/>
                  </a:lnTo>
                  <a:lnTo>
                    <a:pt x="474" y="1386"/>
                  </a:lnTo>
                  <a:lnTo>
                    <a:pt x="456" y="1356"/>
                  </a:lnTo>
                  <a:lnTo>
                    <a:pt x="438" y="1350"/>
                  </a:lnTo>
                  <a:lnTo>
                    <a:pt x="420" y="1350"/>
                  </a:lnTo>
                  <a:lnTo>
                    <a:pt x="402" y="1350"/>
                  </a:lnTo>
                  <a:lnTo>
                    <a:pt x="390" y="1344"/>
                  </a:lnTo>
                  <a:lnTo>
                    <a:pt x="390" y="1332"/>
                  </a:lnTo>
                  <a:lnTo>
                    <a:pt x="402" y="1296"/>
                  </a:lnTo>
                  <a:lnTo>
                    <a:pt x="414" y="1260"/>
                  </a:lnTo>
                  <a:lnTo>
                    <a:pt x="426" y="1248"/>
                  </a:lnTo>
                  <a:lnTo>
                    <a:pt x="438" y="1242"/>
                  </a:lnTo>
                  <a:lnTo>
                    <a:pt x="432" y="1230"/>
                  </a:lnTo>
                  <a:lnTo>
                    <a:pt x="432" y="1224"/>
                  </a:lnTo>
                  <a:lnTo>
                    <a:pt x="426" y="1218"/>
                  </a:lnTo>
                  <a:lnTo>
                    <a:pt x="426" y="1206"/>
                  </a:lnTo>
                  <a:lnTo>
                    <a:pt x="426" y="1200"/>
                  </a:lnTo>
                  <a:lnTo>
                    <a:pt x="432" y="1194"/>
                  </a:lnTo>
                  <a:lnTo>
                    <a:pt x="426" y="1188"/>
                  </a:lnTo>
                  <a:lnTo>
                    <a:pt x="432" y="1104"/>
                  </a:lnTo>
                  <a:lnTo>
                    <a:pt x="438" y="1086"/>
                  </a:lnTo>
                  <a:lnTo>
                    <a:pt x="462" y="972"/>
                  </a:lnTo>
                  <a:lnTo>
                    <a:pt x="456" y="900"/>
                  </a:lnTo>
                  <a:lnTo>
                    <a:pt x="444" y="846"/>
                  </a:lnTo>
                  <a:lnTo>
                    <a:pt x="456" y="810"/>
                  </a:lnTo>
                  <a:lnTo>
                    <a:pt x="492" y="786"/>
                  </a:lnTo>
                  <a:lnTo>
                    <a:pt x="522" y="762"/>
                  </a:lnTo>
                  <a:lnTo>
                    <a:pt x="546" y="732"/>
                  </a:lnTo>
                  <a:lnTo>
                    <a:pt x="570" y="696"/>
                  </a:lnTo>
                  <a:lnTo>
                    <a:pt x="582" y="654"/>
                  </a:lnTo>
                  <a:lnTo>
                    <a:pt x="564" y="642"/>
                  </a:lnTo>
                  <a:lnTo>
                    <a:pt x="522" y="588"/>
                  </a:lnTo>
                  <a:lnTo>
                    <a:pt x="516" y="546"/>
                  </a:lnTo>
                  <a:lnTo>
                    <a:pt x="510" y="474"/>
                  </a:lnTo>
                  <a:lnTo>
                    <a:pt x="510" y="450"/>
                  </a:lnTo>
                  <a:lnTo>
                    <a:pt x="510" y="444"/>
                  </a:lnTo>
                  <a:lnTo>
                    <a:pt x="522" y="438"/>
                  </a:lnTo>
                  <a:lnTo>
                    <a:pt x="522" y="432"/>
                  </a:lnTo>
                  <a:lnTo>
                    <a:pt x="528" y="426"/>
                  </a:lnTo>
                  <a:lnTo>
                    <a:pt x="534" y="420"/>
                  </a:lnTo>
                  <a:lnTo>
                    <a:pt x="540" y="414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08"/>
                  </a:lnTo>
                  <a:lnTo>
                    <a:pt x="546" y="408"/>
                  </a:lnTo>
                  <a:lnTo>
                    <a:pt x="558" y="414"/>
                  </a:lnTo>
                  <a:lnTo>
                    <a:pt x="564" y="414"/>
                  </a:lnTo>
                  <a:lnTo>
                    <a:pt x="570" y="414"/>
                  </a:lnTo>
                  <a:lnTo>
                    <a:pt x="582" y="414"/>
                  </a:lnTo>
                  <a:lnTo>
                    <a:pt x="582" y="420"/>
                  </a:lnTo>
                  <a:lnTo>
                    <a:pt x="588" y="414"/>
                  </a:lnTo>
                  <a:lnTo>
                    <a:pt x="582" y="408"/>
                  </a:lnTo>
                  <a:lnTo>
                    <a:pt x="588" y="402"/>
                  </a:lnTo>
                  <a:lnTo>
                    <a:pt x="594" y="402"/>
                  </a:lnTo>
                  <a:lnTo>
                    <a:pt x="594" y="396"/>
                  </a:lnTo>
                  <a:lnTo>
                    <a:pt x="594" y="390"/>
                  </a:lnTo>
                  <a:lnTo>
                    <a:pt x="594" y="384"/>
                  </a:lnTo>
                  <a:lnTo>
                    <a:pt x="594" y="378"/>
                  </a:lnTo>
                  <a:lnTo>
                    <a:pt x="600" y="366"/>
                  </a:lnTo>
                  <a:lnTo>
                    <a:pt x="606" y="366"/>
                  </a:lnTo>
                  <a:lnTo>
                    <a:pt x="612" y="360"/>
                  </a:lnTo>
                  <a:lnTo>
                    <a:pt x="612" y="366"/>
                  </a:lnTo>
                  <a:lnTo>
                    <a:pt x="618" y="366"/>
                  </a:lnTo>
                  <a:lnTo>
                    <a:pt x="624" y="366"/>
                  </a:lnTo>
                  <a:lnTo>
                    <a:pt x="630" y="360"/>
                  </a:lnTo>
                  <a:lnTo>
                    <a:pt x="636" y="354"/>
                  </a:lnTo>
                  <a:lnTo>
                    <a:pt x="630" y="354"/>
                  </a:lnTo>
                  <a:lnTo>
                    <a:pt x="630" y="348"/>
                  </a:lnTo>
                  <a:lnTo>
                    <a:pt x="630" y="342"/>
                  </a:lnTo>
                  <a:lnTo>
                    <a:pt x="636" y="342"/>
                  </a:lnTo>
                  <a:lnTo>
                    <a:pt x="642" y="336"/>
                  </a:lnTo>
                  <a:lnTo>
                    <a:pt x="636" y="330"/>
                  </a:lnTo>
                  <a:lnTo>
                    <a:pt x="630" y="336"/>
                  </a:lnTo>
                  <a:lnTo>
                    <a:pt x="624" y="336"/>
                  </a:lnTo>
                  <a:lnTo>
                    <a:pt x="624" y="330"/>
                  </a:lnTo>
                  <a:lnTo>
                    <a:pt x="624" y="324"/>
                  </a:lnTo>
                  <a:lnTo>
                    <a:pt x="618" y="324"/>
                  </a:lnTo>
                  <a:lnTo>
                    <a:pt x="624" y="324"/>
                  </a:lnTo>
                  <a:lnTo>
                    <a:pt x="630" y="330"/>
                  </a:lnTo>
                  <a:lnTo>
                    <a:pt x="630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2" y="306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8" y="288"/>
                  </a:lnTo>
                  <a:lnTo>
                    <a:pt x="648" y="282"/>
                  </a:lnTo>
                  <a:lnTo>
                    <a:pt x="654" y="288"/>
                  </a:lnTo>
                  <a:lnTo>
                    <a:pt x="654" y="282"/>
                  </a:lnTo>
                  <a:lnTo>
                    <a:pt x="660" y="282"/>
                  </a:lnTo>
                  <a:lnTo>
                    <a:pt x="666" y="282"/>
                  </a:lnTo>
                  <a:lnTo>
                    <a:pt x="672" y="282"/>
                  </a:lnTo>
                  <a:lnTo>
                    <a:pt x="678" y="282"/>
                  </a:lnTo>
                  <a:lnTo>
                    <a:pt x="684" y="276"/>
                  </a:lnTo>
                  <a:lnTo>
                    <a:pt x="690" y="270"/>
                  </a:lnTo>
                  <a:lnTo>
                    <a:pt x="690" y="264"/>
                  </a:lnTo>
                  <a:lnTo>
                    <a:pt x="690" y="270"/>
                  </a:lnTo>
                  <a:lnTo>
                    <a:pt x="690" y="276"/>
                  </a:lnTo>
                  <a:lnTo>
                    <a:pt x="696" y="276"/>
                  </a:lnTo>
                  <a:lnTo>
                    <a:pt x="702" y="276"/>
                  </a:lnTo>
                  <a:lnTo>
                    <a:pt x="702" y="282"/>
                  </a:lnTo>
                  <a:lnTo>
                    <a:pt x="708" y="282"/>
                  </a:lnTo>
                  <a:lnTo>
                    <a:pt x="720" y="270"/>
                  </a:lnTo>
                  <a:lnTo>
                    <a:pt x="720" y="264"/>
                  </a:lnTo>
                  <a:lnTo>
                    <a:pt x="720" y="258"/>
                  </a:lnTo>
                  <a:lnTo>
                    <a:pt x="726" y="258"/>
                  </a:lnTo>
                  <a:lnTo>
                    <a:pt x="732" y="258"/>
                  </a:lnTo>
                  <a:lnTo>
                    <a:pt x="732" y="264"/>
                  </a:lnTo>
                  <a:lnTo>
                    <a:pt x="738" y="264"/>
                  </a:lnTo>
                  <a:lnTo>
                    <a:pt x="738" y="258"/>
                  </a:lnTo>
                  <a:lnTo>
                    <a:pt x="732" y="258"/>
                  </a:lnTo>
                  <a:lnTo>
                    <a:pt x="732" y="252"/>
                  </a:lnTo>
                  <a:lnTo>
                    <a:pt x="744" y="252"/>
                  </a:lnTo>
                  <a:lnTo>
                    <a:pt x="750" y="252"/>
                  </a:lnTo>
                  <a:lnTo>
                    <a:pt x="750" y="246"/>
                  </a:lnTo>
                  <a:lnTo>
                    <a:pt x="750" y="240"/>
                  </a:lnTo>
                  <a:lnTo>
                    <a:pt x="762" y="234"/>
                  </a:lnTo>
                  <a:lnTo>
                    <a:pt x="768" y="234"/>
                  </a:lnTo>
                  <a:lnTo>
                    <a:pt x="774" y="234"/>
                  </a:lnTo>
                  <a:lnTo>
                    <a:pt x="780" y="228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16"/>
                  </a:lnTo>
                  <a:lnTo>
                    <a:pt x="792" y="210"/>
                  </a:lnTo>
                  <a:lnTo>
                    <a:pt x="804" y="204"/>
                  </a:lnTo>
                  <a:lnTo>
                    <a:pt x="804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0" y="192"/>
                  </a:lnTo>
                  <a:lnTo>
                    <a:pt x="798" y="186"/>
                  </a:lnTo>
                  <a:lnTo>
                    <a:pt x="810" y="186"/>
                  </a:lnTo>
                  <a:lnTo>
                    <a:pt x="810" y="180"/>
                  </a:lnTo>
                  <a:lnTo>
                    <a:pt x="810" y="186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0" y="180"/>
                  </a:lnTo>
                  <a:lnTo>
                    <a:pt x="816" y="174"/>
                  </a:lnTo>
                  <a:lnTo>
                    <a:pt x="822" y="174"/>
                  </a:lnTo>
                  <a:lnTo>
                    <a:pt x="822" y="180"/>
                  </a:lnTo>
                  <a:lnTo>
                    <a:pt x="828" y="180"/>
                  </a:lnTo>
                  <a:lnTo>
                    <a:pt x="828" y="174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62"/>
                  </a:lnTo>
                  <a:lnTo>
                    <a:pt x="828" y="156"/>
                  </a:lnTo>
                  <a:lnTo>
                    <a:pt x="822" y="156"/>
                  </a:lnTo>
                  <a:lnTo>
                    <a:pt x="828" y="156"/>
                  </a:lnTo>
                  <a:lnTo>
                    <a:pt x="828" y="150"/>
                  </a:lnTo>
                  <a:lnTo>
                    <a:pt x="834" y="150"/>
                  </a:lnTo>
                  <a:lnTo>
                    <a:pt x="840" y="156"/>
                  </a:lnTo>
                  <a:lnTo>
                    <a:pt x="840" y="150"/>
                  </a:lnTo>
                  <a:lnTo>
                    <a:pt x="834" y="150"/>
                  </a:lnTo>
                  <a:lnTo>
                    <a:pt x="834" y="144"/>
                  </a:lnTo>
                  <a:lnTo>
                    <a:pt x="840" y="138"/>
                  </a:lnTo>
                  <a:lnTo>
                    <a:pt x="846" y="144"/>
                  </a:lnTo>
                  <a:lnTo>
                    <a:pt x="846" y="150"/>
                  </a:lnTo>
                  <a:lnTo>
                    <a:pt x="852" y="150"/>
                  </a:lnTo>
                  <a:lnTo>
                    <a:pt x="858" y="150"/>
                  </a:lnTo>
                  <a:lnTo>
                    <a:pt x="870" y="150"/>
                  </a:lnTo>
                  <a:lnTo>
                    <a:pt x="870" y="144"/>
                  </a:lnTo>
                  <a:lnTo>
                    <a:pt x="876" y="138"/>
                  </a:lnTo>
                  <a:lnTo>
                    <a:pt x="882" y="138"/>
                  </a:lnTo>
                  <a:lnTo>
                    <a:pt x="888" y="132"/>
                  </a:lnTo>
                  <a:lnTo>
                    <a:pt x="888" y="138"/>
                  </a:lnTo>
                  <a:lnTo>
                    <a:pt x="894" y="138"/>
                  </a:lnTo>
                  <a:lnTo>
                    <a:pt x="894" y="132"/>
                  </a:lnTo>
                  <a:lnTo>
                    <a:pt x="900" y="126"/>
                  </a:lnTo>
                  <a:lnTo>
                    <a:pt x="900" y="132"/>
                  </a:lnTo>
                  <a:lnTo>
                    <a:pt x="906" y="132"/>
                  </a:lnTo>
                  <a:lnTo>
                    <a:pt x="912" y="132"/>
                  </a:lnTo>
                  <a:lnTo>
                    <a:pt x="918" y="126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24" y="126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8" y="120"/>
                  </a:lnTo>
                  <a:lnTo>
                    <a:pt x="948" y="114"/>
                  </a:lnTo>
                  <a:lnTo>
                    <a:pt x="948" y="108"/>
                  </a:lnTo>
                  <a:lnTo>
                    <a:pt x="954" y="114"/>
                  </a:lnTo>
                  <a:lnTo>
                    <a:pt x="960" y="108"/>
                  </a:lnTo>
                  <a:lnTo>
                    <a:pt x="966" y="108"/>
                  </a:lnTo>
                  <a:lnTo>
                    <a:pt x="972" y="108"/>
                  </a:lnTo>
                  <a:lnTo>
                    <a:pt x="966" y="114"/>
                  </a:lnTo>
                  <a:lnTo>
                    <a:pt x="960" y="114"/>
                  </a:lnTo>
                  <a:lnTo>
                    <a:pt x="960" y="120"/>
                  </a:lnTo>
                  <a:lnTo>
                    <a:pt x="966" y="126"/>
                  </a:lnTo>
                  <a:lnTo>
                    <a:pt x="972" y="126"/>
                  </a:lnTo>
                  <a:lnTo>
                    <a:pt x="978" y="126"/>
                  </a:lnTo>
                  <a:lnTo>
                    <a:pt x="984" y="120"/>
                  </a:lnTo>
                  <a:lnTo>
                    <a:pt x="984" y="114"/>
                  </a:lnTo>
                  <a:lnTo>
                    <a:pt x="996" y="126"/>
                  </a:lnTo>
                  <a:lnTo>
                    <a:pt x="996" y="120"/>
                  </a:lnTo>
                  <a:lnTo>
                    <a:pt x="1002" y="120"/>
                  </a:lnTo>
                  <a:lnTo>
                    <a:pt x="996" y="114"/>
                  </a:lnTo>
                  <a:lnTo>
                    <a:pt x="1002" y="114"/>
                  </a:lnTo>
                  <a:lnTo>
                    <a:pt x="1008" y="114"/>
                  </a:lnTo>
                  <a:lnTo>
                    <a:pt x="1008" y="108"/>
                  </a:lnTo>
                  <a:lnTo>
                    <a:pt x="1014" y="108"/>
                  </a:lnTo>
                  <a:lnTo>
                    <a:pt x="1008" y="114"/>
                  </a:lnTo>
                  <a:lnTo>
                    <a:pt x="1008" y="120"/>
                  </a:lnTo>
                  <a:lnTo>
                    <a:pt x="1008" y="126"/>
                  </a:lnTo>
                  <a:lnTo>
                    <a:pt x="1014" y="126"/>
                  </a:lnTo>
                  <a:lnTo>
                    <a:pt x="1014" y="132"/>
                  </a:lnTo>
                  <a:lnTo>
                    <a:pt x="1020" y="132"/>
                  </a:lnTo>
                  <a:lnTo>
                    <a:pt x="1020" y="126"/>
                  </a:lnTo>
                  <a:lnTo>
                    <a:pt x="1020" y="120"/>
                  </a:lnTo>
                  <a:lnTo>
                    <a:pt x="1032" y="120"/>
                  </a:lnTo>
                  <a:lnTo>
                    <a:pt x="1038" y="120"/>
                  </a:lnTo>
                  <a:lnTo>
                    <a:pt x="1038" y="126"/>
                  </a:lnTo>
                  <a:lnTo>
                    <a:pt x="1044" y="132"/>
                  </a:lnTo>
                  <a:lnTo>
                    <a:pt x="1044" y="126"/>
                  </a:lnTo>
                  <a:lnTo>
                    <a:pt x="1050" y="120"/>
                  </a:lnTo>
                  <a:lnTo>
                    <a:pt x="1050" y="114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68" y="102"/>
                  </a:lnTo>
                  <a:lnTo>
                    <a:pt x="1074" y="96"/>
                  </a:lnTo>
                  <a:lnTo>
                    <a:pt x="1074" y="90"/>
                  </a:lnTo>
                  <a:lnTo>
                    <a:pt x="1068" y="90"/>
                  </a:lnTo>
                  <a:lnTo>
                    <a:pt x="1068" y="84"/>
                  </a:lnTo>
                  <a:lnTo>
                    <a:pt x="1080" y="84"/>
                  </a:lnTo>
                  <a:lnTo>
                    <a:pt x="1086" y="78"/>
                  </a:lnTo>
                  <a:lnTo>
                    <a:pt x="1086" y="72"/>
                  </a:lnTo>
                  <a:lnTo>
                    <a:pt x="1080" y="78"/>
                  </a:lnTo>
                  <a:lnTo>
                    <a:pt x="1080" y="72"/>
                  </a:lnTo>
                  <a:lnTo>
                    <a:pt x="1080" y="66"/>
                  </a:lnTo>
                  <a:lnTo>
                    <a:pt x="1074" y="66"/>
                  </a:lnTo>
                  <a:lnTo>
                    <a:pt x="1080" y="66"/>
                  </a:lnTo>
                  <a:lnTo>
                    <a:pt x="1080" y="60"/>
                  </a:lnTo>
                  <a:lnTo>
                    <a:pt x="1086" y="60"/>
                  </a:lnTo>
                  <a:lnTo>
                    <a:pt x="1086" y="54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2" y="42"/>
                  </a:lnTo>
                  <a:lnTo>
                    <a:pt x="1098" y="42"/>
                  </a:lnTo>
                  <a:lnTo>
                    <a:pt x="1104" y="36"/>
                  </a:lnTo>
                  <a:lnTo>
                    <a:pt x="1110" y="36"/>
                  </a:lnTo>
                  <a:lnTo>
                    <a:pt x="1110" y="30"/>
                  </a:lnTo>
                  <a:lnTo>
                    <a:pt x="1110" y="24"/>
                  </a:lnTo>
                  <a:lnTo>
                    <a:pt x="1116" y="24"/>
                  </a:lnTo>
                  <a:lnTo>
                    <a:pt x="1116" y="18"/>
                  </a:lnTo>
                  <a:lnTo>
                    <a:pt x="1122" y="18"/>
                  </a:lnTo>
                  <a:lnTo>
                    <a:pt x="1128" y="18"/>
                  </a:lnTo>
                  <a:lnTo>
                    <a:pt x="1134" y="12"/>
                  </a:lnTo>
                  <a:lnTo>
                    <a:pt x="1134" y="6"/>
                  </a:lnTo>
                  <a:lnTo>
                    <a:pt x="1140" y="6"/>
                  </a:lnTo>
                  <a:lnTo>
                    <a:pt x="1146" y="0"/>
                  </a:lnTo>
                  <a:lnTo>
                    <a:pt x="1152" y="0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70" y="0"/>
                  </a:lnTo>
                  <a:lnTo>
                    <a:pt x="1176" y="6"/>
                  </a:lnTo>
                  <a:lnTo>
                    <a:pt x="1182" y="6"/>
                  </a:lnTo>
                  <a:lnTo>
                    <a:pt x="1194" y="6"/>
                  </a:lnTo>
                  <a:lnTo>
                    <a:pt x="1200" y="6"/>
                  </a:lnTo>
                  <a:lnTo>
                    <a:pt x="1212" y="0"/>
                  </a:lnTo>
                  <a:lnTo>
                    <a:pt x="1212" y="6"/>
                  </a:lnTo>
                  <a:lnTo>
                    <a:pt x="1218" y="6"/>
                  </a:lnTo>
                  <a:lnTo>
                    <a:pt x="1266" y="6"/>
                  </a:lnTo>
                  <a:lnTo>
                    <a:pt x="1272" y="0"/>
                  </a:lnTo>
                  <a:lnTo>
                    <a:pt x="1278" y="6"/>
                  </a:lnTo>
                  <a:lnTo>
                    <a:pt x="1290" y="6"/>
                  </a:lnTo>
                  <a:lnTo>
                    <a:pt x="1296" y="6"/>
                  </a:lnTo>
                  <a:lnTo>
                    <a:pt x="1308" y="6"/>
                  </a:lnTo>
                  <a:lnTo>
                    <a:pt x="1314" y="6"/>
                  </a:lnTo>
                  <a:lnTo>
                    <a:pt x="1320" y="6"/>
                  </a:lnTo>
                  <a:lnTo>
                    <a:pt x="1326" y="12"/>
                  </a:lnTo>
                  <a:lnTo>
                    <a:pt x="1338" y="30"/>
                  </a:lnTo>
                  <a:lnTo>
                    <a:pt x="1344" y="36"/>
                  </a:lnTo>
                  <a:lnTo>
                    <a:pt x="1356" y="48"/>
                  </a:lnTo>
                  <a:lnTo>
                    <a:pt x="1362" y="60"/>
                  </a:lnTo>
                  <a:lnTo>
                    <a:pt x="1368" y="66"/>
                  </a:lnTo>
                  <a:lnTo>
                    <a:pt x="1374" y="72"/>
                  </a:lnTo>
                  <a:lnTo>
                    <a:pt x="1374" y="78"/>
                  </a:lnTo>
                  <a:lnTo>
                    <a:pt x="1398" y="108"/>
                  </a:lnTo>
                  <a:lnTo>
                    <a:pt x="1398" y="114"/>
                  </a:lnTo>
                  <a:lnTo>
                    <a:pt x="1404" y="114"/>
                  </a:lnTo>
                  <a:lnTo>
                    <a:pt x="1404" y="120"/>
                  </a:lnTo>
                  <a:lnTo>
                    <a:pt x="1410" y="132"/>
                  </a:lnTo>
                  <a:lnTo>
                    <a:pt x="1416" y="132"/>
                  </a:lnTo>
                  <a:lnTo>
                    <a:pt x="1416" y="138"/>
                  </a:lnTo>
                  <a:lnTo>
                    <a:pt x="1422" y="144"/>
                  </a:lnTo>
                  <a:lnTo>
                    <a:pt x="1428" y="150"/>
                  </a:lnTo>
                  <a:lnTo>
                    <a:pt x="1428" y="156"/>
                  </a:lnTo>
                  <a:lnTo>
                    <a:pt x="1458" y="192"/>
                  </a:lnTo>
                  <a:lnTo>
                    <a:pt x="1458" y="198"/>
                  </a:lnTo>
                  <a:lnTo>
                    <a:pt x="1464" y="204"/>
                  </a:lnTo>
                  <a:lnTo>
                    <a:pt x="1470" y="210"/>
                  </a:lnTo>
                  <a:lnTo>
                    <a:pt x="1476" y="216"/>
                  </a:lnTo>
                  <a:lnTo>
                    <a:pt x="1482" y="228"/>
                  </a:lnTo>
                  <a:lnTo>
                    <a:pt x="1488" y="234"/>
                  </a:lnTo>
                  <a:lnTo>
                    <a:pt x="1512" y="270"/>
                  </a:lnTo>
                  <a:lnTo>
                    <a:pt x="1512" y="276"/>
                  </a:lnTo>
                  <a:lnTo>
                    <a:pt x="1530" y="300"/>
                  </a:lnTo>
                  <a:lnTo>
                    <a:pt x="1536" y="306"/>
                  </a:lnTo>
                  <a:lnTo>
                    <a:pt x="1542" y="312"/>
                  </a:lnTo>
                  <a:lnTo>
                    <a:pt x="1542" y="318"/>
                  </a:lnTo>
                  <a:lnTo>
                    <a:pt x="1560" y="336"/>
                  </a:lnTo>
                  <a:lnTo>
                    <a:pt x="1566" y="348"/>
                  </a:lnTo>
                  <a:lnTo>
                    <a:pt x="1572" y="354"/>
                  </a:lnTo>
                  <a:lnTo>
                    <a:pt x="1578" y="360"/>
                  </a:lnTo>
                  <a:lnTo>
                    <a:pt x="1584" y="378"/>
                  </a:lnTo>
                  <a:lnTo>
                    <a:pt x="1590" y="378"/>
                  </a:lnTo>
                  <a:lnTo>
                    <a:pt x="1596" y="390"/>
                  </a:lnTo>
                  <a:lnTo>
                    <a:pt x="1602" y="396"/>
                  </a:lnTo>
                  <a:lnTo>
                    <a:pt x="1608" y="408"/>
                  </a:lnTo>
                  <a:lnTo>
                    <a:pt x="1614" y="408"/>
                  </a:lnTo>
                  <a:lnTo>
                    <a:pt x="1614" y="432"/>
                  </a:lnTo>
                  <a:lnTo>
                    <a:pt x="1620" y="438"/>
                  </a:lnTo>
                  <a:lnTo>
                    <a:pt x="1620" y="450"/>
                  </a:lnTo>
                  <a:lnTo>
                    <a:pt x="1620" y="462"/>
                  </a:lnTo>
                  <a:lnTo>
                    <a:pt x="1626" y="474"/>
                  </a:lnTo>
                  <a:lnTo>
                    <a:pt x="1626" y="480"/>
                  </a:lnTo>
                  <a:lnTo>
                    <a:pt x="1626" y="486"/>
                  </a:lnTo>
                  <a:lnTo>
                    <a:pt x="1632" y="522"/>
                  </a:lnTo>
                  <a:lnTo>
                    <a:pt x="1632" y="528"/>
                  </a:lnTo>
                  <a:lnTo>
                    <a:pt x="1632" y="534"/>
                  </a:lnTo>
                  <a:lnTo>
                    <a:pt x="1638" y="540"/>
                  </a:lnTo>
                  <a:lnTo>
                    <a:pt x="1638" y="558"/>
                  </a:lnTo>
                  <a:lnTo>
                    <a:pt x="1638" y="570"/>
                  </a:lnTo>
                  <a:lnTo>
                    <a:pt x="1644" y="582"/>
                  </a:lnTo>
                  <a:lnTo>
                    <a:pt x="1650" y="618"/>
                  </a:lnTo>
                  <a:lnTo>
                    <a:pt x="1650" y="624"/>
                  </a:lnTo>
                  <a:lnTo>
                    <a:pt x="1650" y="636"/>
                  </a:lnTo>
                  <a:lnTo>
                    <a:pt x="1656" y="642"/>
                  </a:lnTo>
                  <a:lnTo>
                    <a:pt x="1656" y="648"/>
                  </a:lnTo>
                  <a:lnTo>
                    <a:pt x="1656" y="654"/>
                  </a:lnTo>
                  <a:lnTo>
                    <a:pt x="1656" y="660"/>
                  </a:lnTo>
                  <a:lnTo>
                    <a:pt x="1662" y="696"/>
                  </a:lnTo>
                  <a:lnTo>
                    <a:pt x="1668" y="708"/>
                  </a:lnTo>
                  <a:lnTo>
                    <a:pt x="1668" y="714"/>
                  </a:lnTo>
                  <a:lnTo>
                    <a:pt x="1668" y="732"/>
                  </a:lnTo>
                  <a:lnTo>
                    <a:pt x="1668" y="744"/>
                  </a:lnTo>
                  <a:lnTo>
                    <a:pt x="1674" y="756"/>
                  </a:lnTo>
                  <a:lnTo>
                    <a:pt x="1680" y="762"/>
                  </a:lnTo>
                  <a:lnTo>
                    <a:pt x="1680" y="768"/>
                  </a:lnTo>
                  <a:lnTo>
                    <a:pt x="1680" y="774"/>
                  </a:lnTo>
                  <a:lnTo>
                    <a:pt x="1680" y="780"/>
                  </a:lnTo>
                  <a:lnTo>
                    <a:pt x="1674" y="786"/>
                  </a:lnTo>
                  <a:lnTo>
                    <a:pt x="1668" y="792"/>
                  </a:lnTo>
                  <a:lnTo>
                    <a:pt x="1668" y="798"/>
                  </a:lnTo>
                  <a:lnTo>
                    <a:pt x="1668" y="804"/>
                  </a:lnTo>
                  <a:lnTo>
                    <a:pt x="1674" y="804"/>
                  </a:lnTo>
                  <a:lnTo>
                    <a:pt x="1668" y="810"/>
                  </a:lnTo>
                  <a:lnTo>
                    <a:pt x="1674" y="810"/>
                  </a:lnTo>
                  <a:lnTo>
                    <a:pt x="1680" y="810"/>
                  </a:lnTo>
                  <a:lnTo>
                    <a:pt x="1680" y="816"/>
                  </a:lnTo>
                  <a:lnTo>
                    <a:pt x="1680" y="822"/>
                  </a:lnTo>
                  <a:lnTo>
                    <a:pt x="1674" y="822"/>
                  </a:lnTo>
                  <a:lnTo>
                    <a:pt x="1674" y="828"/>
                  </a:lnTo>
                  <a:lnTo>
                    <a:pt x="1668" y="828"/>
                  </a:lnTo>
                  <a:lnTo>
                    <a:pt x="1674" y="834"/>
                  </a:lnTo>
                  <a:lnTo>
                    <a:pt x="1668" y="834"/>
                  </a:lnTo>
                  <a:lnTo>
                    <a:pt x="1668" y="840"/>
                  </a:lnTo>
                  <a:lnTo>
                    <a:pt x="1674" y="840"/>
                  </a:lnTo>
                  <a:lnTo>
                    <a:pt x="1686" y="852"/>
                  </a:lnTo>
                  <a:lnTo>
                    <a:pt x="1692" y="858"/>
                  </a:lnTo>
                  <a:lnTo>
                    <a:pt x="1698" y="858"/>
                  </a:lnTo>
                  <a:lnTo>
                    <a:pt x="1698" y="864"/>
                  </a:lnTo>
                  <a:lnTo>
                    <a:pt x="1698" y="870"/>
                  </a:lnTo>
                  <a:lnTo>
                    <a:pt x="1704" y="864"/>
                  </a:lnTo>
                  <a:lnTo>
                    <a:pt x="1716" y="864"/>
                  </a:lnTo>
                  <a:lnTo>
                    <a:pt x="1722" y="864"/>
                  </a:lnTo>
                  <a:lnTo>
                    <a:pt x="1728" y="864"/>
                  </a:lnTo>
                  <a:lnTo>
                    <a:pt x="1734" y="864"/>
                  </a:lnTo>
                  <a:lnTo>
                    <a:pt x="1740" y="864"/>
                  </a:lnTo>
                  <a:lnTo>
                    <a:pt x="1746" y="876"/>
                  </a:lnTo>
                  <a:lnTo>
                    <a:pt x="1746" y="870"/>
                  </a:lnTo>
                  <a:lnTo>
                    <a:pt x="1740" y="864"/>
                  </a:lnTo>
                  <a:lnTo>
                    <a:pt x="1746" y="864"/>
                  </a:lnTo>
                  <a:lnTo>
                    <a:pt x="1752" y="870"/>
                  </a:lnTo>
                  <a:lnTo>
                    <a:pt x="1758" y="864"/>
                  </a:lnTo>
                  <a:lnTo>
                    <a:pt x="1764" y="864"/>
                  </a:lnTo>
                  <a:lnTo>
                    <a:pt x="1770" y="858"/>
                  </a:lnTo>
                  <a:lnTo>
                    <a:pt x="1782" y="864"/>
                  </a:lnTo>
                  <a:lnTo>
                    <a:pt x="1782" y="870"/>
                  </a:lnTo>
                  <a:lnTo>
                    <a:pt x="1788" y="864"/>
                  </a:lnTo>
                  <a:lnTo>
                    <a:pt x="1794" y="864"/>
                  </a:lnTo>
                  <a:lnTo>
                    <a:pt x="1800" y="870"/>
                  </a:lnTo>
                  <a:lnTo>
                    <a:pt x="1818" y="864"/>
                  </a:lnTo>
                  <a:lnTo>
                    <a:pt x="1824" y="870"/>
                  </a:lnTo>
                  <a:lnTo>
                    <a:pt x="1830" y="864"/>
                  </a:lnTo>
                  <a:lnTo>
                    <a:pt x="1836" y="864"/>
                  </a:lnTo>
                  <a:lnTo>
                    <a:pt x="1842" y="870"/>
                  </a:lnTo>
                  <a:lnTo>
                    <a:pt x="1842" y="876"/>
                  </a:lnTo>
                  <a:lnTo>
                    <a:pt x="1848" y="876"/>
                  </a:lnTo>
                  <a:lnTo>
                    <a:pt x="1848" y="870"/>
                  </a:lnTo>
                  <a:lnTo>
                    <a:pt x="1854" y="870"/>
                  </a:lnTo>
                  <a:lnTo>
                    <a:pt x="1860" y="870"/>
                  </a:lnTo>
                  <a:lnTo>
                    <a:pt x="1860" y="876"/>
                  </a:lnTo>
                  <a:lnTo>
                    <a:pt x="1866" y="876"/>
                  </a:lnTo>
                  <a:lnTo>
                    <a:pt x="1866" y="882"/>
                  </a:lnTo>
                  <a:lnTo>
                    <a:pt x="1872" y="882"/>
                  </a:lnTo>
                  <a:lnTo>
                    <a:pt x="1878" y="888"/>
                  </a:lnTo>
                  <a:lnTo>
                    <a:pt x="1890" y="888"/>
                  </a:lnTo>
                  <a:lnTo>
                    <a:pt x="1890" y="894"/>
                  </a:lnTo>
                  <a:lnTo>
                    <a:pt x="1890" y="900"/>
                  </a:lnTo>
                  <a:lnTo>
                    <a:pt x="1884" y="900"/>
                  </a:lnTo>
                  <a:lnTo>
                    <a:pt x="1884" y="906"/>
                  </a:lnTo>
                  <a:lnTo>
                    <a:pt x="1884" y="912"/>
                  </a:lnTo>
                  <a:lnTo>
                    <a:pt x="1890" y="912"/>
                  </a:lnTo>
                  <a:lnTo>
                    <a:pt x="1896" y="912"/>
                  </a:lnTo>
                  <a:lnTo>
                    <a:pt x="1902" y="912"/>
                  </a:lnTo>
                  <a:lnTo>
                    <a:pt x="1908" y="918"/>
                  </a:lnTo>
                  <a:lnTo>
                    <a:pt x="1908" y="924"/>
                  </a:lnTo>
                  <a:lnTo>
                    <a:pt x="1908" y="930"/>
                  </a:lnTo>
                  <a:lnTo>
                    <a:pt x="1908" y="936"/>
                  </a:lnTo>
                  <a:lnTo>
                    <a:pt x="1914" y="936"/>
                  </a:lnTo>
                  <a:lnTo>
                    <a:pt x="1914" y="942"/>
                  </a:lnTo>
                  <a:lnTo>
                    <a:pt x="1908" y="948"/>
                  </a:lnTo>
                  <a:lnTo>
                    <a:pt x="1914" y="948"/>
                  </a:lnTo>
                  <a:lnTo>
                    <a:pt x="1920" y="954"/>
                  </a:lnTo>
                  <a:lnTo>
                    <a:pt x="1926" y="954"/>
                  </a:lnTo>
                  <a:lnTo>
                    <a:pt x="1932" y="954"/>
                  </a:lnTo>
                  <a:lnTo>
                    <a:pt x="1938" y="954"/>
                  </a:lnTo>
                  <a:lnTo>
                    <a:pt x="1938" y="960"/>
                  </a:lnTo>
                  <a:lnTo>
                    <a:pt x="1944" y="966"/>
                  </a:lnTo>
                  <a:lnTo>
                    <a:pt x="1944" y="972"/>
                  </a:lnTo>
                  <a:lnTo>
                    <a:pt x="1944" y="978"/>
                  </a:lnTo>
                  <a:lnTo>
                    <a:pt x="1950" y="978"/>
                  </a:lnTo>
                  <a:lnTo>
                    <a:pt x="1950" y="984"/>
                  </a:lnTo>
                  <a:lnTo>
                    <a:pt x="1956" y="984"/>
                  </a:lnTo>
                  <a:lnTo>
                    <a:pt x="1962" y="984"/>
                  </a:lnTo>
                  <a:lnTo>
                    <a:pt x="1962" y="978"/>
                  </a:lnTo>
                  <a:lnTo>
                    <a:pt x="1968" y="978"/>
                  </a:lnTo>
                  <a:lnTo>
                    <a:pt x="1974" y="978"/>
                  </a:lnTo>
                  <a:lnTo>
                    <a:pt x="1980" y="972"/>
                  </a:lnTo>
                  <a:lnTo>
                    <a:pt x="1980" y="978"/>
                  </a:lnTo>
                  <a:lnTo>
                    <a:pt x="1980" y="984"/>
                  </a:lnTo>
                  <a:lnTo>
                    <a:pt x="1986" y="984"/>
                  </a:lnTo>
                  <a:lnTo>
                    <a:pt x="1992" y="990"/>
                  </a:lnTo>
                  <a:lnTo>
                    <a:pt x="1992" y="996"/>
                  </a:lnTo>
                  <a:lnTo>
                    <a:pt x="1992" y="1002"/>
                  </a:lnTo>
                  <a:lnTo>
                    <a:pt x="1974" y="1008"/>
                  </a:lnTo>
                  <a:lnTo>
                    <a:pt x="1974" y="1014"/>
                  </a:lnTo>
                  <a:lnTo>
                    <a:pt x="1974" y="1020"/>
                  </a:lnTo>
                  <a:lnTo>
                    <a:pt x="1974" y="1026"/>
                  </a:lnTo>
                  <a:lnTo>
                    <a:pt x="1968" y="1038"/>
                  </a:lnTo>
                  <a:lnTo>
                    <a:pt x="1968" y="1044"/>
                  </a:lnTo>
                  <a:lnTo>
                    <a:pt x="1974" y="1056"/>
                  </a:lnTo>
                  <a:lnTo>
                    <a:pt x="1968" y="1062"/>
                  </a:lnTo>
                  <a:lnTo>
                    <a:pt x="1962" y="1062"/>
                  </a:lnTo>
                  <a:lnTo>
                    <a:pt x="1956" y="1068"/>
                  </a:lnTo>
                  <a:lnTo>
                    <a:pt x="1956" y="1074"/>
                  </a:lnTo>
                  <a:lnTo>
                    <a:pt x="1956" y="1080"/>
                  </a:lnTo>
                  <a:lnTo>
                    <a:pt x="1956" y="1086"/>
                  </a:lnTo>
                  <a:lnTo>
                    <a:pt x="1956" y="1092"/>
                  </a:lnTo>
                  <a:lnTo>
                    <a:pt x="1962" y="1092"/>
                  </a:lnTo>
                  <a:lnTo>
                    <a:pt x="1962" y="1104"/>
                  </a:lnTo>
                  <a:lnTo>
                    <a:pt x="1968" y="1110"/>
                  </a:lnTo>
                  <a:lnTo>
                    <a:pt x="1968" y="1116"/>
                  </a:lnTo>
                  <a:lnTo>
                    <a:pt x="1974" y="1116"/>
                  </a:lnTo>
                  <a:lnTo>
                    <a:pt x="1974" y="1122"/>
                  </a:lnTo>
                  <a:lnTo>
                    <a:pt x="1980" y="1122"/>
                  </a:lnTo>
                  <a:lnTo>
                    <a:pt x="1974" y="1128"/>
                  </a:lnTo>
                  <a:lnTo>
                    <a:pt x="1968" y="1134"/>
                  </a:lnTo>
                  <a:lnTo>
                    <a:pt x="1962" y="1140"/>
                  </a:lnTo>
                  <a:lnTo>
                    <a:pt x="1962" y="1146"/>
                  </a:lnTo>
                  <a:lnTo>
                    <a:pt x="1968" y="1152"/>
                  </a:lnTo>
                  <a:lnTo>
                    <a:pt x="1968" y="1158"/>
                  </a:lnTo>
                  <a:lnTo>
                    <a:pt x="1962" y="1158"/>
                  </a:lnTo>
                  <a:lnTo>
                    <a:pt x="1962" y="1164"/>
                  </a:lnTo>
                  <a:lnTo>
                    <a:pt x="1956" y="1164"/>
                  </a:lnTo>
                  <a:lnTo>
                    <a:pt x="1956" y="1170"/>
                  </a:lnTo>
                  <a:lnTo>
                    <a:pt x="1944" y="1182"/>
                  </a:lnTo>
                  <a:lnTo>
                    <a:pt x="1944" y="1188"/>
                  </a:lnTo>
                  <a:lnTo>
                    <a:pt x="1950" y="1188"/>
                  </a:lnTo>
                  <a:lnTo>
                    <a:pt x="1944" y="1200"/>
                  </a:lnTo>
                  <a:lnTo>
                    <a:pt x="1944" y="1206"/>
                  </a:lnTo>
                  <a:lnTo>
                    <a:pt x="1944" y="1212"/>
                  </a:lnTo>
                  <a:lnTo>
                    <a:pt x="1944" y="1218"/>
                  </a:lnTo>
                  <a:lnTo>
                    <a:pt x="1944" y="1230"/>
                  </a:lnTo>
                  <a:lnTo>
                    <a:pt x="1944" y="1236"/>
                  </a:lnTo>
                  <a:lnTo>
                    <a:pt x="1944" y="1242"/>
                  </a:lnTo>
                  <a:lnTo>
                    <a:pt x="1938" y="1248"/>
                  </a:lnTo>
                  <a:lnTo>
                    <a:pt x="1938" y="1254"/>
                  </a:lnTo>
                  <a:lnTo>
                    <a:pt x="1932" y="1254"/>
                  </a:lnTo>
                  <a:lnTo>
                    <a:pt x="1926" y="1260"/>
                  </a:lnTo>
                  <a:lnTo>
                    <a:pt x="1920" y="1266"/>
                  </a:lnTo>
                  <a:lnTo>
                    <a:pt x="1914" y="1272"/>
                  </a:lnTo>
                  <a:lnTo>
                    <a:pt x="1908" y="1272"/>
                  </a:lnTo>
                  <a:lnTo>
                    <a:pt x="1908" y="1278"/>
                  </a:lnTo>
                  <a:lnTo>
                    <a:pt x="1914" y="1278"/>
                  </a:lnTo>
                  <a:lnTo>
                    <a:pt x="1914" y="1290"/>
                  </a:lnTo>
                  <a:lnTo>
                    <a:pt x="1920" y="1296"/>
                  </a:lnTo>
                  <a:lnTo>
                    <a:pt x="1938" y="1302"/>
                  </a:lnTo>
                  <a:lnTo>
                    <a:pt x="1944" y="1308"/>
                  </a:lnTo>
                  <a:lnTo>
                    <a:pt x="1950" y="1314"/>
                  </a:lnTo>
                  <a:lnTo>
                    <a:pt x="1956" y="1314"/>
                  </a:lnTo>
                  <a:lnTo>
                    <a:pt x="1962" y="1320"/>
                  </a:lnTo>
                  <a:lnTo>
                    <a:pt x="1962" y="1326"/>
                  </a:lnTo>
                  <a:lnTo>
                    <a:pt x="1968" y="1326"/>
                  </a:lnTo>
                  <a:lnTo>
                    <a:pt x="1968" y="1332"/>
                  </a:lnTo>
                  <a:lnTo>
                    <a:pt x="1968" y="1344"/>
                  </a:lnTo>
                  <a:lnTo>
                    <a:pt x="1968" y="1350"/>
                  </a:lnTo>
                  <a:lnTo>
                    <a:pt x="1968" y="1368"/>
                  </a:lnTo>
                  <a:lnTo>
                    <a:pt x="1962" y="1380"/>
                  </a:lnTo>
                  <a:lnTo>
                    <a:pt x="1968" y="1392"/>
                  </a:lnTo>
                  <a:lnTo>
                    <a:pt x="1962" y="1398"/>
                  </a:lnTo>
                  <a:lnTo>
                    <a:pt x="1956" y="1404"/>
                  </a:lnTo>
                  <a:lnTo>
                    <a:pt x="1950" y="1410"/>
                  </a:lnTo>
                  <a:lnTo>
                    <a:pt x="1944" y="1410"/>
                  </a:lnTo>
                  <a:lnTo>
                    <a:pt x="1932" y="1416"/>
                  </a:lnTo>
                  <a:lnTo>
                    <a:pt x="1926" y="1416"/>
                  </a:lnTo>
                  <a:lnTo>
                    <a:pt x="1896" y="1428"/>
                  </a:lnTo>
                  <a:lnTo>
                    <a:pt x="1884" y="1434"/>
                  </a:lnTo>
                  <a:lnTo>
                    <a:pt x="1878" y="1434"/>
                  </a:lnTo>
                  <a:lnTo>
                    <a:pt x="1866" y="1434"/>
                  </a:lnTo>
                  <a:lnTo>
                    <a:pt x="1854" y="1440"/>
                  </a:lnTo>
                  <a:lnTo>
                    <a:pt x="1848" y="1440"/>
                  </a:lnTo>
                  <a:lnTo>
                    <a:pt x="1842" y="1446"/>
                  </a:lnTo>
                  <a:lnTo>
                    <a:pt x="1842" y="1458"/>
                  </a:lnTo>
                  <a:lnTo>
                    <a:pt x="1836" y="1470"/>
                  </a:lnTo>
                  <a:lnTo>
                    <a:pt x="1830" y="1476"/>
                  </a:lnTo>
                  <a:lnTo>
                    <a:pt x="1824" y="1476"/>
                  </a:lnTo>
                  <a:lnTo>
                    <a:pt x="1806" y="1482"/>
                  </a:lnTo>
                  <a:lnTo>
                    <a:pt x="1800" y="1488"/>
                  </a:lnTo>
                  <a:lnTo>
                    <a:pt x="1794" y="1488"/>
                  </a:lnTo>
                  <a:lnTo>
                    <a:pt x="1788" y="1488"/>
                  </a:lnTo>
                  <a:lnTo>
                    <a:pt x="1776" y="1494"/>
                  </a:lnTo>
                  <a:lnTo>
                    <a:pt x="1764" y="1494"/>
                  </a:lnTo>
                  <a:lnTo>
                    <a:pt x="1758" y="1500"/>
                  </a:lnTo>
                  <a:lnTo>
                    <a:pt x="1746" y="1506"/>
                  </a:lnTo>
                  <a:lnTo>
                    <a:pt x="1728" y="1518"/>
                  </a:lnTo>
                  <a:lnTo>
                    <a:pt x="1716" y="1524"/>
                  </a:lnTo>
                  <a:lnTo>
                    <a:pt x="1710" y="1530"/>
                  </a:lnTo>
                  <a:lnTo>
                    <a:pt x="1704" y="1536"/>
                  </a:lnTo>
                  <a:lnTo>
                    <a:pt x="1698" y="1542"/>
                  </a:lnTo>
                  <a:lnTo>
                    <a:pt x="1692" y="1554"/>
                  </a:lnTo>
                  <a:lnTo>
                    <a:pt x="1686" y="1560"/>
                  </a:lnTo>
                  <a:lnTo>
                    <a:pt x="1680" y="1560"/>
                  </a:lnTo>
                  <a:lnTo>
                    <a:pt x="1674" y="1560"/>
                  </a:lnTo>
                  <a:lnTo>
                    <a:pt x="1656" y="1572"/>
                  </a:lnTo>
                  <a:lnTo>
                    <a:pt x="1650" y="1572"/>
                  </a:lnTo>
                  <a:lnTo>
                    <a:pt x="1644" y="1572"/>
                  </a:lnTo>
                  <a:lnTo>
                    <a:pt x="1638" y="1578"/>
                  </a:lnTo>
                  <a:lnTo>
                    <a:pt x="1632" y="1578"/>
                  </a:lnTo>
                  <a:lnTo>
                    <a:pt x="1626" y="1578"/>
                  </a:lnTo>
                  <a:lnTo>
                    <a:pt x="1620" y="1572"/>
                  </a:lnTo>
                  <a:lnTo>
                    <a:pt x="1614" y="1572"/>
                  </a:lnTo>
                  <a:lnTo>
                    <a:pt x="1608" y="1566"/>
                  </a:lnTo>
                  <a:lnTo>
                    <a:pt x="1602" y="1560"/>
                  </a:lnTo>
                  <a:lnTo>
                    <a:pt x="1596" y="1554"/>
                  </a:lnTo>
                  <a:lnTo>
                    <a:pt x="1590" y="1548"/>
                  </a:lnTo>
                  <a:lnTo>
                    <a:pt x="1578" y="1548"/>
                  </a:lnTo>
                  <a:lnTo>
                    <a:pt x="1572" y="1548"/>
                  </a:lnTo>
                  <a:lnTo>
                    <a:pt x="1566" y="1548"/>
                  </a:lnTo>
                  <a:lnTo>
                    <a:pt x="1554" y="1536"/>
                  </a:lnTo>
                  <a:lnTo>
                    <a:pt x="1548" y="1536"/>
                  </a:lnTo>
                  <a:lnTo>
                    <a:pt x="1542" y="1542"/>
                  </a:lnTo>
                  <a:lnTo>
                    <a:pt x="1536" y="1548"/>
                  </a:lnTo>
                  <a:lnTo>
                    <a:pt x="1536" y="1566"/>
                  </a:lnTo>
                  <a:lnTo>
                    <a:pt x="1530" y="1572"/>
                  </a:lnTo>
                  <a:lnTo>
                    <a:pt x="1524" y="1578"/>
                  </a:lnTo>
                  <a:lnTo>
                    <a:pt x="1518" y="1584"/>
                  </a:lnTo>
                  <a:lnTo>
                    <a:pt x="1512" y="1596"/>
                  </a:lnTo>
                  <a:lnTo>
                    <a:pt x="1506" y="1602"/>
                  </a:lnTo>
                  <a:lnTo>
                    <a:pt x="1506" y="1608"/>
                  </a:lnTo>
                  <a:lnTo>
                    <a:pt x="1506" y="1614"/>
                  </a:lnTo>
                  <a:lnTo>
                    <a:pt x="1500" y="1614"/>
                  </a:lnTo>
                  <a:lnTo>
                    <a:pt x="1500" y="1620"/>
                  </a:lnTo>
                  <a:lnTo>
                    <a:pt x="1500" y="1626"/>
                  </a:lnTo>
                  <a:lnTo>
                    <a:pt x="1494" y="1632"/>
                  </a:lnTo>
                  <a:lnTo>
                    <a:pt x="1488" y="1638"/>
                  </a:lnTo>
                  <a:lnTo>
                    <a:pt x="1482" y="1638"/>
                  </a:lnTo>
                  <a:lnTo>
                    <a:pt x="1482" y="1644"/>
                  </a:lnTo>
                  <a:lnTo>
                    <a:pt x="1482" y="1650"/>
                  </a:lnTo>
                  <a:lnTo>
                    <a:pt x="1482" y="1656"/>
                  </a:lnTo>
                  <a:lnTo>
                    <a:pt x="1476" y="1662"/>
                  </a:lnTo>
                  <a:lnTo>
                    <a:pt x="1470" y="1668"/>
                  </a:lnTo>
                  <a:lnTo>
                    <a:pt x="1464" y="1674"/>
                  </a:lnTo>
                  <a:lnTo>
                    <a:pt x="1464" y="1680"/>
                  </a:lnTo>
                  <a:lnTo>
                    <a:pt x="1458" y="1680"/>
                  </a:lnTo>
                  <a:lnTo>
                    <a:pt x="1452" y="1686"/>
                  </a:lnTo>
                  <a:lnTo>
                    <a:pt x="1446" y="1686"/>
                  </a:lnTo>
                  <a:lnTo>
                    <a:pt x="1440" y="1698"/>
                  </a:lnTo>
                  <a:lnTo>
                    <a:pt x="1440" y="1704"/>
                  </a:lnTo>
                  <a:lnTo>
                    <a:pt x="1434" y="1710"/>
                  </a:lnTo>
                  <a:lnTo>
                    <a:pt x="1434" y="1716"/>
                  </a:lnTo>
                  <a:lnTo>
                    <a:pt x="1428" y="1716"/>
                  </a:lnTo>
                  <a:lnTo>
                    <a:pt x="1428" y="1722"/>
                  </a:lnTo>
                  <a:lnTo>
                    <a:pt x="1428" y="1728"/>
                  </a:lnTo>
                  <a:lnTo>
                    <a:pt x="1422" y="1728"/>
                  </a:lnTo>
                  <a:lnTo>
                    <a:pt x="1422" y="1734"/>
                  </a:lnTo>
                  <a:lnTo>
                    <a:pt x="1416" y="1734"/>
                  </a:lnTo>
                  <a:lnTo>
                    <a:pt x="1410" y="1734"/>
                  </a:lnTo>
                  <a:lnTo>
                    <a:pt x="1392" y="1746"/>
                  </a:lnTo>
                  <a:lnTo>
                    <a:pt x="1386" y="1746"/>
                  </a:lnTo>
                  <a:lnTo>
                    <a:pt x="1368" y="1752"/>
                  </a:lnTo>
                  <a:lnTo>
                    <a:pt x="1362" y="1758"/>
                  </a:lnTo>
                  <a:lnTo>
                    <a:pt x="1362" y="1770"/>
                  </a:lnTo>
                  <a:lnTo>
                    <a:pt x="1356" y="178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</p:grpSp>
      <p:graphicFrame>
        <p:nvGraphicFramePr>
          <p:cNvPr id="357" name="Group 76">
            <a:extLst>
              <a:ext uri="{FF2B5EF4-FFF2-40B4-BE49-F238E27FC236}">
                <a16:creationId xmlns:a16="http://schemas.microsoft.com/office/drawing/2014/main" id="{57830D68-CF73-4A3E-9D36-141B03AADBF7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41338" y="3402013"/>
          <a:ext cx="3735387" cy="1827306"/>
        </p:xfrm>
        <a:graphic>
          <a:graphicData uri="http://schemas.openxmlformats.org/drawingml/2006/table">
            <a:tbl>
              <a:tblPr/>
              <a:tblGrid>
                <a:gridCol w="1316931">
                  <a:extLst>
                    <a:ext uri="{9D8B030D-6E8A-4147-A177-3AD203B41FA5}">
                      <a16:colId xmlns:a16="http://schemas.microsoft.com/office/drawing/2014/main" val="2027704273"/>
                    </a:ext>
                  </a:extLst>
                </a:gridCol>
                <a:gridCol w="603796">
                  <a:extLst>
                    <a:ext uri="{9D8B030D-6E8A-4147-A177-3AD203B41FA5}">
                      <a16:colId xmlns:a16="http://schemas.microsoft.com/office/drawing/2014/main" val="3432768286"/>
                    </a:ext>
                  </a:extLst>
                </a:gridCol>
                <a:gridCol w="744015">
                  <a:extLst>
                    <a:ext uri="{9D8B030D-6E8A-4147-A177-3AD203B41FA5}">
                      <a16:colId xmlns:a16="http://schemas.microsoft.com/office/drawing/2014/main" val="3730294207"/>
                    </a:ext>
                  </a:extLst>
                </a:gridCol>
                <a:gridCol w="1070645">
                  <a:extLst>
                    <a:ext uri="{9D8B030D-6E8A-4147-A177-3AD203B41FA5}">
                      <a16:colId xmlns:a16="http://schemas.microsoft.com/office/drawing/2014/main" val="2258321117"/>
                    </a:ext>
                  </a:extLst>
                </a:gridCol>
              </a:tblGrid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apital</a:t>
                      </a:r>
                      <a:endParaRPr kumimoji="0" lang="en-SG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292929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SG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Sokoto</a:t>
                      </a:r>
                      <a:endParaRPr kumimoji="0" lang="en-SG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703009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nd Are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7,825 km</a:t>
                      </a:r>
                      <a:r>
                        <a:rPr kumimoji="0" lang="en-US" altLang="en-US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13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603614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Population (2017E)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4,976,087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5 of 37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505851"/>
                  </a:ext>
                </a:extLst>
              </a:tr>
              <a:tr h="203024">
                <a:tc row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Dem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0-14: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,364,375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8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130093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5-64: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,466,713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58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387564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65+: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   144,999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[4%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38801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bour force 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,566,339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27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797882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limate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Hot semi-arid and tropical savann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3942226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op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Open grassland and desert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32899"/>
                  </a:ext>
                </a:extLst>
              </a:tr>
            </a:tbl>
          </a:graphicData>
        </a:graphic>
      </p:graphicFrame>
      <p:pic>
        <p:nvPicPr>
          <p:cNvPr id="23609" name="Picture 13">
            <a:extLst>
              <a:ext uri="{FF2B5EF4-FFF2-40B4-BE49-F238E27FC236}">
                <a16:creationId xmlns:a16="http://schemas.microsoft.com/office/drawing/2014/main" id="{952964D5-F0ED-4CAE-B71C-DB4A723FA5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0" y="3006725"/>
            <a:ext cx="1116013" cy="155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9" name="TextBox 378">
            <a:extLst>
              <a:ext uri="{FF2B5EF4-FFF2-40B4-BE49-F238E27FC236}">
                <a16:creationId xmlns:a16="http://schemas.microsoft.com/office/drawing/2014/main" id="{1B3FD4BF-4685-4C74-821F-10048D6246BF}"/>
              </a:ext>
            </a:extLst>
          </p:cNvPr>
          <p:cNvSpPr txBox="1"/>
          <p:nvPr/>
        </p:nvSpPr>
        <p:spPr>
          <a:xfrm>
            <a:off x="6124575" y="957263"/>
            <a:ext cx="3475038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mpetitive Advantages</a:t>
            </a: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455FE7A1-ADE5-4F7B-A489-00196671A53E}"/>
              </a:ext>
            </a:extLst>
          </p:cNvPr>
          <p:cNvSpPr/>
          <p:nvPr/>
        </p:nvSpPr>
        <p:spPr>
          <a:xfrm>
            <a:off x="4267248" y="1187511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9bn/$29.6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EBB25788-D073-4A78-9D6C-DF3836CFFFBB}"/>
              </a:ext>
            </a:extLst>
          </p:cNvPr>
          <p:cNvSpPr txBox="1"/>
          <p:nvPr/>
        </p:nvSpPr>
        <p:spPr>
          <a:xfrm>
            <a:off x="4267200" y="955675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GR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6F07DF39-553B-44F0-8864-1F897C2BD79A}"/>
              </a:ext>
            </a:extLst>
          </p:cNvPr>
          <p:cNvSpPr/>
          <p:nvPr/>
        </p:nvSpPr>
        <p:spPr>
          <a:xfrm>
            <a:off x="4267252" y="1809750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220.5bn/$723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2508695A-2D2C-45A3-80FE-9C2CB18200C2}"/>
              </a:ext>
            </a:extLst>
          </p:cNvPr>
          <p:cNvSpPr txBox="1"/>
          <p:nvPr/>
        </p:nvSpPr>
        <p:spPr>
          <a:xfrm>
            <a:off x="4267200" y="1576388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Budget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8)</a:t>
            </a: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86A33ABE-3AE3-40A7-A6A6-1B757A6A9B0F}"/>
              </a:ext>
            </a:extLst>
          </p:cNvPr>
          <p:cNvSpPr/>
          <p:nvPr/>
        </p:nvSpPr>
        <p:spPr>
          <a:xfrm>
            <a:off x="4256076" y="2667155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1.2trn /$3.8bn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1E919764-A18B-4532-A533-A84A31D7FEFE}"/>
              </a:ext>
            </a:extLst>
          </p:cNvPr>
          <p:cNvSpPr txBox="1"/>
          <p:nvPr/>
        </p:nvSpPr>
        <p:spPr>
          <a:xfrm>
            <a:off x="4256088" y="2185988"/>
            <a:ext cx="1811337" cy="50641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Household </a:t>
            </a:r>
          </a:p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nsumption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96" name="Plaque 95">
            <a:extLst>
              <a:ext uri="{FF2B5EF4-FFF2-40B4-BE49-F238E27FC236}">
                <a16:creationId xmlns:a16="http://schemas.microsoft.com/office/drawing/2014/main" id="{E3BE1182-17B4-4194-8641-F1EA2CCBB757}"/>
              </a:ext>
            </a:extLst>
          </p:cNvPr>
          <p:cNvSpPr/>
          <p:nvPr/>
        </p:nvSpPr>
        <p:spPr>
          <a:xfrm>
            <a:off x="5571331" y="2805162"/>
            <a:ext cx="496094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2 of 36</a:t>
            </a:r>
          </a:p>
        </p:txBody>
      </p:sp>
      <p:sp>
        <p:nvSpPr>
          <p:cNvPr id="99" name="Plaque 98">
            <a:extLst>
              <a:ext uri="{FF2B5EF4-FFF2-40B4-BE49-F238E27FC236}">
                <a16:creationId xmlns:a16="http://schemas.microsoft.com/office/drawing/2014/main" id="{8620E393-1C52-4CE1-9888-20922FA6DFEA}"/>
              </a:ext>
            </a:extLst>
          </p:cNvPr>
          <p:cNvSpPr/>
          <p:nvPr/>
        </p:nvSpPr>
        <p:spPr>
          <a:xfrm>
            <a:off x="5638800" y="1951087"/>
            <a:ext cx="428625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0 of 36</a:t>
            </a:r>
          </a:p>
        </p:txBody>
      </p:sp>
      <p:sp>
        <p:nvSpPr>
          <p:cNvPr id="100" name="Plaque 99">
            <a:extLst>
              <a:ext uri="{FF2B5EF4-FFF2-40B4-BE49-F238E27FC236}">
                <a16:creationId xmlns:a16="http://schemas.microsoft.com/office/drawing/2014/main" id="{3BFA6D28-9A42-4459-8BF1-090CE1B45216}"/>
              </a:ext>
            </a:extLst>
          </p:cNvPr>
          <p:cNvSpPr/>
          <p:nvPr/>
        </p:nvSpPr>
        <p:spPr>
          <a:xfrm>
            <a:off x="5638800" y="1333500"/>
            <a:ext cx="430213" cy="1539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latin typeface="Calibri" panose="020F0502020204030204" pitchFamily="34" charset="0"/>
                <a:cs typeface="Calibri" panose="020F0502020204030204" pitchFamily="34" charset="0"/>
              </a:rPr>
              <a:t>20 of 36</a:t>
            </a:r>
          </a:p>
        </p:txBody>
      </p:sp>
      <p:sp>
        <p:nvSpPr>
          <p:cNvPr id="101" name="Pentagon 19">
            <a:extLst>
              <a:ext uri="{FF2B5EF4-FFF2-40B4-BE49-F238E27FC236}">
                <a16:creationId xmlns:a16="http://schemas.microsoft.com/office/drawing/2014/main" id="{CCD74FA4-19D0-4356-90C9-B3B49BCC3F54}"/>
              </a:ext>
            </a:extLst>
          </p:cNvPr>
          <p:cNvSpPr>
            <a:spLocks/>
          </p:cNvSpPr>
          <p:nvPr/>
        </p:nvSpPr>
        <p:spPr bwMode="auto">
          <a:xfrm>
            <a:off x="688340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33 of 37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12EE735-1E43-4799-A46A-5D0787F375CE}"/>
              </a:ext>
            </a:extLst>
          </p:cNvPr>
          <p:cNvSpPr/>
          <p:nvPr/>
        </p:nvSpPr>
        <p:spPr>
          <a:xfrm>
            <a:off x="6880225" y="5726113"/>
            <a:ext cx="642938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Starting a Business</a:t>
            </a:r>
          </a:p>
        </p:txBody>
      </p:sp>
      <p:pic>
        <p:nvPicPr>
          <p:cNvPr id="23622" name="Picture 3">
            <a:extLst>
              <a:ext uri="{FF2B5EF4-FFF2-40B4-BE49-F238E27FC236}">
                <a16:creationId xmlns:a16="http://schemas.microsoft.com/office/drawing/2014/main" id="{53FAD0C6-8FFE-437B-B7E4-F2A938D3BE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350" y="5249863"/>
            <a:ext cx="41910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23" name="Freeform 15">
            <a:extLst>
              <a:ext uri="{FF2B5EF4-FFF2-40B4-BE49-F238E27FC236}">
                <a16:creationId xmlns:a16="http://schemas.microsoft.com/office/drawing/2014/main" id="{183A3C8B-011E-4D99-9165-3FF03A2D3207}"/>
              </a:ext>
            </a:extLst>
          </p:cNvPr>
          <p:cNvSpPr>
            <a:spLocks noEditPoints="1"/>
          </p:cNvSpPr>
          <p:nvPr/>
        </p:nvSpPr>
        <p:spPr bwMode="auto">
          <a:xfrm>
            <a:off x="9093200" y="5257800"/>
            <a:ext cx="276225" cy="347663"/>
          </a:xfrm>
          <a:custGeom>
            <a:avLst/>
            <a:gdLst>
              <a:gd name="T0" fmla="*/ 2147483646 w 3556"/>
              <a:gd name="T1" fmla="*/ 2147483646 h 3950"/>
              <a:gd name="T2" fmla="*/ 2147483646 w 3556"/>
              <a:gd name="T3" fmla="*/ 2147483646 h 3950"/>
              <a:gd name="T4" fmla="*/ 2147483646 w 3556"/>
              <a:gd name="T5" fmla="*/ 2147483646 h 3950"/>
              <a:gd name="T6" fmla="*/ 2147483646 w 3556"/>
              <a:gd name="T7" fmla="*/ 2147483646 h 3950"/>
              <a:gd name="T8" fmla="*/ 2147483646 w 3556"/>
              <a:gd name="T9" fmla="*/ 2147483646 h 3950"/>
              <a:gd name="T10" fmla="*/ 2147483646 w 3556"/>
              <a:gd name="T11" fmla="*/ 2147483646 h 3950"/>
              <a:gd name="T12" fmla="*/ 2147483646 w 3556"/>
              <a:gd name="T13" fmla="*/ 2147483646 h 3950"/>
              <a:gd name="T14" fmla="*/ 2147483646 w 3556"/>
              <a:gd name="T15" fmla="*/ 2147483646 h 3950"/>
              <a:gd name="T16" fmla="*/ 2147483646 w 3556"/>
              <a:gd name="T17" fmla="*/ 2147483646 h 3950"/>
              <a:gd name="T18" fmla="*/ 2147483646 w 3556"/>
              <a:gd name="T19" fmla="*/ 2147483646 h 3950"/>
              <a:gd name="T20" fmla="*/ 2147483646 w 3556"/>
              <a:gd name="T21" fmla="*/ 2147483646 h 3950"/>
              <a:gd name="T22" fmla="*/ 0 w 3556"/>
              <a:gd name="T23" fmla="*/ 2147483646 h 3950"/>
              <a:gd name="T24" fmla="*/ 2147483646 w 3556"/>
              <a:gd name="T25" fmla="*/ 2147483646 h 3950"/>
              <a:gd name="T26" fmla="*/ 2147483646 w 3556"/>
              <a:gd name="T27" fmla="*/ 2147483646 h 3950"/>
              <a:gd name="T28" fmla="*/ 2147483646 w 3556"/>
              <a:gd name="T29" fmla="*/ 2147483646 h 3950"/>
              <a:gd name="T30" fmla="*/ 2147483646 w 3556"/>
              <a:gd name="T31" fmla="*/ 2147483646 h 3950"/>
              <a:gd name="T32" fmla="*/ 2147483646 w 3556"/>
              <a:gd name="T33" fmla="*/ 2147483646 h 3950"/>
              <a:gd name="T34" fmla="*/ 2147483646 w 3556"/>
              <a:gd name="T35" fmla="*/ 2147483646 h 3950"/>
              <a:gd name="T36" fmla="*/ 2147483646 w 3556"/>
              <a:gd name="T37" fmla="*/ 2147483646 h 3950"/>
              <a:gd name="T38" fmla="*/ 2147483646 w 3556"/>
              <a:gd name="T39" fmla="*/ 2147483646 h 3950"/>
              <a:gd name="T40" fmla="*/ 2147483646 w 3556"/>
              <a:gd name="T41" fmla="*/ 2147483646 h 3950"/>
              <a:gd name="T42" fmla="*/ 2147483646 w 3556"/>
              <a:gd name="T43" fmla="*/ 2147483646 h 3950"/>
              <a:gd name="T44" fmla="*/ 2147483646 w 3556"/>
              <a:gd name="T45" fmla="*/ 2147483646 h 3950"/>
              <a:gd name="T46" fmla="*/ 2147483646 w 3556"/>
              <a:gd name="T47" fmla="*/ 2147483646 h 3950"/>
              <a:gd name="T48" fmla="*/ 2147483646 w 3556"/>
              <a:gd name="T49" fmla="*/ 2147483646 h 3950"/>
              <a:gd name="T50" fmla="*/ 2147483646 w 3556"/>
              <a:gd name="T51" fmla="*/ 2147483646 h 3950"/>
              <a:gd name="T52" fmla="*/ 2147483646 w 3556"/>
              <a:gd name="T53" fmla="*/ 2147483646 h 3950"/>
              <a:gd name="T54" fmla="*/ 2147483646 w 3556"/>
              <a:gd name="T55" fmla="*/ 2147483646 h 3950"/>
              <a:gd name="T56" fmla="*/ 2147483646 w 3556"/>
              <a:gd name="T57" fmla="*/ 2147483646 h 3950"/>
              <a:gd name="T58" fmla="*/ 2147483646 w 3556"/>
              <a:gd name="T59" fmla="*/ 2147483646 h 3950"/>
              <a:gd name="T60" fmla="*/ 2147483646 w 3556"/>
              <a:gd name="T61" fmla="*/ 2147483646 h 3950"/>
              <a:gd name="T62" fmla="*/ 2147483646 w 3556"/>
              <a:gd name="T63" fmla="*/ 2147483646 h 3950"/>
              <a:gd name="T64" fmla="*/ 2147483646 w 3556"/>
              <a:gd name="T65" fmla="*/ 2147483646 h 3950"/>
              <a:gd name="T66" fmla="*/ 2147483646 w 3556"/>
              <a:gd name="T67" fmla="*/ 2147483646 h 3950"/>
              <a:gd name="T68" fmla="*/ 2147483646 w 3556"/>
              <a:gd name="T69" fmla="*/ 2147483646 h 3950"/>
              <a:gd name="T70" fmla="*/ 2147483646 w 3556"/>
              <a:gd name="T71" fmla="*/ 2147483646 h 3950"/>
              <a:gd name="T72" fmla="*/ 2147483646 w 3556"/>
              <a:gd name="T73" fmla="*/ 2147483646 h 3950"/>
              <a:gd name="T74" fmla="*/ 2147483646 w 3556"/>
              <a:gd name="T75" fmla="*/ 2147483646 h 3950"/>
              <a:gd name="T76" fmla="*/ 2147483646 w 3556"/>
              <a:gd name="T77" fmla="*/ 2147483646 h 3950"/>
              <a:gd name="T78" fmla="*/ 2147483646 w 3556"/>
              <a:gd name="T79" fmla="*/ 2147483646 h 3950"/>
              <a:gd name="T80" fmla="*/ 2147483646 w 3556"/>
              <a:gd name="T81" fmla="*/ 0 h 3950"/>
              <a:gd name="T82" fmla="*/ 2147483646 w 3556"/>
              <a:gd name="T83" fmla="*/ 2147483646 h 3950"/>
              <a:gd name="T84" fmla="*/ 2147483646 w 3556"/>
              <a:gd name="T85" fmla="*/ 2147483646 h 3950"/>
              <a:gd name="T86" fmla="*/ 2147483646 w 3556"/>
              <a:gd name="T87" fmla="*/ 2147483646 h 395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556"/>
              <a:gd name="T133" fmla="*/ 0 h 3950"/>
              <a:gd name="T134" fmla="*/ 3556 w 3556"/>
              <a:gd name="T135" fmla="*/ 3950 h 395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556" h="3950">
                <a:moveTo>
                  <a:pt x="909" y="3917"/>
                </a:moveTo>
                <a:cubicBezTo>
                  <a:pt x="824" y="3832"/>
                  <a:pt x="894" y="3725"/>
                  <a:pt x="1036" y="3725"/>
                </a:cubicBezTo>
                <a:cubicBezTo>
                  <a:pt x="1119" y="3725"/>
                  <a:pt x="1129" y="3717"/>
                  <a:pt x="1129" y="3645"/>
                </a:cubicBezTo>
                <a:cubicBezTo>
                  <a:pt x="1129" y="3472"/>
                  <a:pt x="1135" y="3471"/>
                  <a:pt x="2192" y="3471"/>
                </a:cubicBezTo>
                <a:cubicBezTo>
                  <a:pt x="3086" y="3471"/>
                  <a:pt x="3155" y="3475"/>
                  <a:pt x="3199" y="3523"/>
                </a:cubicBezTo>
                <a:cubicBezTo>
                  <a:pt x="3225" y="3551"/>
                  <a:pt x="3246" y="3608"/>
                  <a:pt x="3246" y="3648"/>
                </a:cubicBezTo>
                <a:cubicBezTo>
                  <a:pt x="3246" y="3712"/>
                  <a:pt x="3259" y="3723"/>
                  <a:pt x="3349" y="3730"/>
                </a:cubicBezTo>
                <a:cubicBezTo>
                  <a:pt x="3470" y="3741"/>
                  <a:pt x="3530" y="3811"/>
                  <a:pt x="3482" y="3887"/>
                </a:cubicBezTo>
                <a:cubicBezTo>
                  <a:pt x="3453" y="3933"/>
                  <a:pt x="3356" y="3937"/>
                  <a:pt x="2197" y="3944"/>
                </a:cubicBezTo>
                <a:cubicBezTo>
                  <a:pt x="1245" y="3950"/>
                  <a:pt x="935" y="3943"/>
                  <a:pt x="909" y="3917"/>
                </a:cubicBezTo>
                <a:close/>
                <a:moveTo>
                  <a:pt x="87" y="3370"/>
                </a:moveTo>
                <a:cubicBezTo>
                  <a:pt x="24" y="3317"/>
                  <a:pt x="0" y="3272"/>
                  <a:pt x="0" y="3209"/>
                </a:cubicBezTo>
                <a:cubicBezTo>
                  <a:pt x="0" y="3132"/>
                  <a:pt x="86" y="3035"/>
                  <a:pt x="705" y="2414"/>
                </a:cubicBezTo>
                <a:lnTo>
                  <a:pt x="1411" y="1706"/>
                </a:lnTo>
                <a:lnTo>
                  <a:pt x="1235" y="1530"/>
                </a:lnTo>
                <a:lnTo>
                  <a:pt x="1059" y="1355"/>
                </a:lnTo>
                <a:lnTo>
                  <a:pt x="1510" y="903"/>
                </a:lnTo>
                <a:lnTo>
                  <a:pt x="1960" y="452"/>
                </a:lnTo>
                <a:lnTo>
                  <a:pt x="2135" y="624"/>
                </a:lnTo>
                <a:cubicBezTo>
                  <a:pt x="2305" y="793"/>
                  <a:pt x="2310" y="796"/>
                  <a:pt x="2374" y="751"/>
                </a:cubicBezTo>
                <a:cubicBezTo>
                  <a:pt x="2469" y="685"/>
                  <a:pt x="2547" y="695"/>
                  <a:pt x="2633" y="785"/>
                </a:cubicBezTo>
                <a:cubicBezTo>
                  <a:pt x="2720" y="875"/>
                  <a:pt x="2731" y="974"/>
                  <a:pt x="2662" y="1050"/>
                </a:cubicBezTo>
                <a:cubicBezTo>
                  <a:pt x="2616" y="1100"/>
                  <a:pt x="2624" y="1112"/>
                  <a:pt x="2823" y="1313"/>
                </a:cubicBezTo>
                <a:lnTo>
                  <a:pt x="3033" y="1524"/>
                </a:lnTo>
                <a:lnTo>
                  <a:pt x="2582" y="1975"/>
                </a:lnTo>
                <a:lnTo>
                  <a:pt x="2132" y="2427"/>
                </a:lnTo>
                <a:lnTo>
                  <a:pt x="1933" y="2229"/>
                </a:lnTo>
                <a:cubicBezTo>
                  <a:pt x="1824" y="2121"/>
                  <a:pt x="1722" y="2032"/>
                  <a:pt x="1707" y="2032"/>
                </a:cubicBezTo>
                <a:cubicBezTo>
                  <a:pt x="1693" y="2032"/>
                  <a:pt x="1362" y="2349"/>
                  <a:pt x="973" y="2737"/>
                </a:cubicBezTo>
                <a:cubicBezTo>
                  <a:pt x="584" y="3125"/>
                  <a:pt x="245" y="3443"/>
                  <a:pt x="220" y="3443"/>
                </a:cubicBezTo>
                <a:cubicBezTo>
                  <a:pt x="194" y="3443"/>
                  <a:pt x="135" y="3410"/>
                  <a:pt x="87" y="3370"/>
                </a:cubicBezTo>
                <a:close/>
                <a:moveTo>
                  <a:pt x="2258" y="2887"/>
                </a:moveTo>
                <a:cubicBezTo>
                  <a:pt x="2196" y="2865"/>
                  <a:pt x="2145" y="2792"/>
                  <a:pt x="2145" y="2725"/>
                </a:cubicBezTo>
                <a:cubicBezTo>
                  <a:pt x="2145" y="2686"/>
                  <a:pt x="2337" y="2474"/>
                  <a:pt x="2703" y="2109"/>
                </a:cubicBezTo>
                <a:cubicBezTo>
                  <a:pt x="3289" y="1523"/>
                  <a:pt x="3346" y="1485"/>
                  <a:pt x="3453" y="1604"/>
                </a:cubicBezTo>
                <a:cubicBezTo>
                  <a:pt x="3556" y="1717"/>
                  <a:pt x="3522" y="1766"/>
                  <a:pt x="2956" y="2331"/>
                </a:cubicBezTo>
                <a:cubicBezTo>
                  <a:pt x="2657" y="2630"/>
                  <a:pt x="2388" y="2880"/>
                  <a:pt x="2357" y="2888"/>
                </a:cubicBezTo>
                <a:cubicBezTo>
                  <a:pt x="2326" y="2895"/>
                  <a:pt x="2281" y="2895"/>
                  <a:pt x="2258" y="2887"/>
                </a:cubicBezTo>
                <a:close/>
                <a:moveTo>
                  <a:pt x="637" y="1282"/>
                </a:moveTo>
                <a:cubicBezTo>
                  <a:pt x="528" y="1172"/>
                  <a:pt x="568" y="1113"/>
                  <a:pt x="1137" y="544"/>
                </a:cubicBezTo>
                <a:cubicBezTo>
                  <a:pt x="1607" y="74"/>
                  <a:pt x="1693" y="0"/>
                  <a:pt x="1767" y="0"/>
                </a:cubicBezTo>
                <a:cubicBezTo>
                  <a:pt x="1862" y="0"/>
                  <a:pt x="1947" y="73"/>
                  <a:pt x="1947" y="156"/>
                </a:cubicBezTo>
                <a:cubicBezTo>
                  <a:pt x="1947" y="186"/>
                  <a:pt x="1715" y="442"/>
                  <a:pt x="1391" y="767"/>
                </a:cubicBezTo>
                <a:cubicBezTo>
                  <a:pt x="808" y="1353"/>
                  <a:pt x="749" y="1393"/>
                  <a:pt x="637" y="12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4" name="Group 118">
            <a:extLst>
              <a:ext uri="{FF2B5EF4-FFF2-40B4-BE49-F238E27FC236}">
                <a16:creationId xmlns:a16="http://schemas.microsoft.com/office/drawing/2014/main" id="{FB3D6A90-C4FD-433A-A1C1-A4B3864804A5}"/>
              </a:ext>
            </a:extLst>
          </p:cNvPr>
          <p:cNvGrpSpPr/>
          <p:nvPr/>
        </p:nvGrpSpPr>
        <p:grpSpPr>
          <a:xfrm>
            <a:off x="8409631" y="5248358"/>
            <a:ext cx="346498" cy="347472"/>
            <a:chOff x="1468138" y="5997240"/>
            <a:chExt cx="283642" cy="307072"/>
          </a:xfrm>
          <a:solidFill>
            <a:schemeClr val="bg1"/>
          </a:solidFill>
        </p:grpSpPr>
        <p:sp>
          <p:nvSpPr>
            <p:cNvPr id="120" name="Freeform 16">
              <a:extLst>
                <a:ext uri="{FF2B5EF4-FFF2-40B4-BE49-F238E27FC236}">
                  <a16:creationId xmlns:a16="http://schemas.microsoft.com/office/drawing/2014/main" id="{D6134FC8-4249-4088-8AE8-003C8AAC7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6136" y="6255221"/>
              <a:ext cx="26428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1 w 349"/>
                <a:gd name="T25" fmla="*/ 226 h 350"/>
                <a:gd name="T26" fmla="*/ 225 w 349"/>
                <a:gd name="T27" fmla="*/ 213 h 350"/>
                <a:gd name="T28" fmla="*/ 234 w 349"/>
                <a:gd name="T29" fmla="*/ 194 h 350"/>
                <a:gd name="T30" fmla="*/ 237 w 349"/>
                <a:gd name="T31" fmla="*/ 175 h 350"/>
                <a:gd name="T32" fmla="*/ 235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5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4 w 349"/>
                <a:gd name="T47" fmla="*/ 3 h 350"/>
                <a:gd name="T48" fmla="*/ 234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8 w 349"/>
                <a:gd name="T55" fmla="*/ 63 h 350"/>
                <a:gd name="T56" fmla="*/ 325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5 w 349"/>
                <a:gd name="T65" fmla="*/ 210 h 350"/>
                <a:gd name="T66" fmla="*/ 335 w 349"/>
                <a:gd name="T67" fmla="*/ 243 h 350"/>
                <a:gd name="T68" fmla="*/ 319 w 349"/>
                <a:gd name="T69" fmla="*/ 273 h 350"/>
                <a:gd name="T70" fmla="*/ 297 w 349"/>
                <a:gd name="T71" fmla="*/ 299 h 350"/>
                <a:gd name="T72" fmla="*/ 272 w 349"/>
                <a:gd name="T73" fmla="*/ 319 h 350"/>
                <a:gd name="T74" fmla="*/ 242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39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29 w 349"/>
                <a:gd name="T89" fmla="*/ 273 h 350"/>
                <a:gd name="T90" fmla="*/ 14 w 349"/>
                <a:gd name="T91" fmla="*/ 243 h 350"/>
                <a:gd name="T92" fmla="*/ 3 w 349"/>
                <a:gd name="T93" fmla="*/ 210 h 350"/>
                <a:gd name="T94" fmla="*/ 0 w 349"/>
                <a:gd name="T95" fmla="*/ 175 h 350"/>
                <a:gd name="T96" fmla="*/ 3 w 349"/>
                <a:gd name="T97" fmla="*/ 140 h 350"/>
                <a:gd name="T98" fmla="*/ 14 w 349"/>
                <a:gd name="T99" fmla="*/ 107 h 350"/>
                <a:gd name="T100" fmla="*/ 29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39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1" y="226"/>
                  </a:lnTo>
                  <a:lnTo>
                    <a:pt x="225" y="213"/>
                  </a:lnTo>
                  <a:lnTo>
                    <a:pt x="234" y="194"/>
                  </a:lnTo>
                  <a:lnTo>
                    <a:pt x="237" y="175"/>
                  </a:lnTo>
                  <a:lnTo>
                    <a:pt x="235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5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4" y="3"/>
                  </a:lnTo>
                  <a:lnTo>
                    <a:pt x="234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8" y="63"/>
                  </a:lnTo>
                  <a:lnTo>
                    <a:pt x="325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5" y="210"/>
                  </a:lnTo>
                  <a:lnTo>
                    <a:pt x="335" y="243"/>
                  </a:lnTo>
                  <a:lnTo>
                    <a:pt x="319" y="273"/>
                  </a:lnTo>
                  <a:lnTo>
                    <a:pt x="297" y="299"/>
                  </a:lnTo>
                  <a:lnTo>
                    <a:pt x="272" y="319"/>
                  </a:lnTo>
                  <a:lnTo>
                    <a:pt x="242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39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29" y="273"/>
                  </a:lnTo>
                  <a:lnTo>
                    <a:pt x="14" y="243"/>
                  </a:lnTo>
                  <a:lnTo>
                    <a:pt x="3" y="210"/>
                  </a:lnTo>
                  <a:lnTo>
                    <a:pt x="0" y="175"/>
                  </a:lnTo>
                  <a:lnTo>
                    <a:pt x="3" y="140"/>
                  </a:lnTo>
                  <a:lnTo>
                    <a:pt x="14" y="107"/>
                  </a:lnTo>
                  <a:lnTo>
                    <a:pt x="29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39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1" name="Freeform 17">
              <a:extLst>
                <a:ext uri="{FF2B5EF4-FFF2-40B4-BE49-F238E27FC236}">
                  <a16:creationId xmlns:a16="http://schemas.microsoft.com/office/drawing/2014/main" id="{67A5F0B0-C078-4A85-9E32-409FF0B3D5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2133" y="6255221"/>
              <a:ext cx="26656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2 w 349"/>
                <a:gd name="T25" fmla="*/ 226 h 350"/>
                <a:gd name="T26" fmla="*/ 226 w 349"/>
                <a:gd name="T27" fmla="*/ 213 h 350"/>
                <a:gd name="T28" fmla="*/ 235 w 349"/>
                <a:gd name="T29" fmla="*/ 194 h 350"/>
                <a:gd name="T30" fmla="*/ 237 w 349"/>
                <a:gd name="T31" fmla="*/ 175 h 350"/>
                <a:gd name="T32" fmla="*/ 236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7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5 w 349"/>
                <a:gd name="T47" fmla="*/ 3 h 350"/>
                <a:gd name="T48" fmla="*/ 235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9 w 349"/>
                <a:gd name="T55" fmla="*/ 63 h 350"/>
                <a:gd name="T56" fmla="*/ 326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6 w 349"/>
                <a:gd name="T65" fmla="*/ 210 h 350"/>
                <a:gd name="T66" fmla="*/ 336 w 349"/>
                <a:gd name="T67" fmla="*/ 243 h 350"/>
                <a:gd name="T68" fmla="*/ 319 w 349"/>
                <a:gd name="T69" fmla="*/ 273 h 350"/>
                <a:gd name="T70" fmla="*/ 298 w 349"/>
                <a:gd name="T71" fmla="*/ 299 h 350"/>
                <a:gd name="T72" fmla="*/ 272 w 349"/>
                <a:gd name="T73" fmla="*/ 319 h 350"/>
                <a:gd name="T74" fmla="*/ 243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40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30 w 349"/>
                <a:gd name="T89" fmla="*/ 273 h 350"/>
                <a:gd name="T90" fmla="*/ 14 w 349"/>
                <a:gd name="T91" fmla="*/ 243 h 350"/>
                <a:gd name="T92" fmla="*/ 4 w 349"/>
                <a:gd name="T93" fmla="*/ 210 h 350"/>
                <a:gd name="T94" fmla="*/ 0 w 349"/>
                <a:gd name="T95" fmla="*/ 175 h 350"/>
                <a:gd name="T96" fmla="*/ 4 w 349"/>
                <a:gd name="T97" fmla="*/ 140 h 350"/>
                <a:gd name="T98" fmla="*/ 14 w 349"/>
                <a:gd name="T99" fmla="*/ 107 h 350"/>
                <a:gd name="T100" fmla="*/ 30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40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7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7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5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19" y="273"/>
                  </a:lnTo>
                  <a:lnTo>
                    <a:pt x="298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2" name="Freeform 18">
              <a:extLst>
                <a:ext uri="{FF2B5EF4-FFF2-40B4-BE49-F238E27FC236}">
                  <a16:creationId xmlns:a16="http://schemas.microsoft.com/office/drawing/2014/main" id="{BF1784DA-3E40-44FD-998D-DB1DD379C0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8357" y="6255221"/>
              <a:ext cx="26428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7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1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7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8 w 350"/>
                <a:gd name="T31" fmla="*/ 175 h 350"/>
                <a:gd name="T32" fmla="*/ 236 w 350"/>
                <a:gd name="T33" fmla="*/ 158 h 350"/>
                <a:gd name="T34" fmla="*/ 229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7 w 350"/>
                <a:gd name="T53" fmla="*/ 41 h 350"/>
                <a:gd name="T54" fmla="*/ 309 w 350"/>
                <a:gd name="T55" fmla="*/ 63 h 350"/>
                <a:gd name="T56" fmla="*/ 326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2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7 w 350"/>
                <a:gd name="T85" fmla="*/ 319 h 350"/>
                <a:gd name="T86" fmla="*/ 51 w 350"/>
                <a:gd name="T87" fmla="*/ 299 h 350"/>
                <a:gd name="T88" fmla="*/ 30 w 350"/>
                <a:gd name="T89" fmla="*/ 273 h 350"/>
                <a:gd name="T90" fmla="*/ 14 w 350"/>
                <a:gd name="T91" fmla="*/ 243 h 350"/>
                <a:gd name="T92" fmla="*/ 4 w 350"/>
                <a:gd name="T93" fmla="*/ 210 h 350"/>
                <a:gd name="T94" fmla="*/ 0 w 350"/>
                <a:gd name="T95" fmla="*/ 175 h 350"/>
                <a:gd name="T96" fmla="*/ 4 w 350"/>
                <a:gd name="T97" fmla="*/ 140 h 350"/>
                <a:gd name="T98" fmla="*/ 14 w 350"/>
                <a:gd name="T99" fmla="*/ 107 h 350"/>
                <a:gd name="T100" fmla="*/ 30 w 350"/>
                <a:gd name="T101" fmla="*/ 78 h 350"/>
                <a:gd name="T102" fmla="*/ 51 w 350"/>
                <a:gd name="T103" fmla="*/ 52 h 350"/>
                <a:gd name="T104" fmla="*/ 77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8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3" name="Freeform 19">
              <a:extLst>
                <a:ext uri="{FF2B5EF4-FFF2-40B4-BE49-F238E27FC236}">
                  <a16:creationId xmlns:a16="http://schemas.microsoft.com/office/drawing/2014/main" id="{FF26547B-24B3-4108-8095-A2794E966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4353" y="6255221"/>
              <a:ext cx="26656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8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3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8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9 w 350"/>
                <a:gd name="T31" fmla="*/ 175 h 350"/>
                <a:gd name="T32" fmla="*/ 236 w 350"/>
                <a:gd name="T33" fmla="*/ 158 h 350"/>
                <a:gd name="T34" fmla="*/ 231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8 w 350"/>
                <a:gd name="T53" fmla="*/ 41 h 350"/>
                <a:gd name="T54" fmla="*/ 309 w 350"/>
                <a:gd name="T55" fmla="*/ 63 h 350"/>
                <a:gd name="T56" fmla="*/ 327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3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8 w 350"/>
                <a:gd name="T85" fmla="*/ 319 h 350"/>
                <a:gd name="T86" fmla="*/ 53 w 350"/>
                <a:gd name="T87" fmla="*/ 299 h 350"/>
                <a:gd name="T88" fmla="*/ 31 w 350"/>
                <a:gd name="T89" fmla="*/ 273 h 350"/>
                <a:gd name="T90" fmla="*/ 15 w 350"/>
                <a:gd name="T91" fmla="*/ 243 h 350"/>
                <a:gd name="T92" fmla="*/ 5 w 350"/>
                <a:gd name="T93" fmla="*/ 210 h 350"/>
                <a:gd name="T94" fmla="*/ 0 w 350"/>
                <a:gd name="T95" fmla="*/ 175 h 350"/>
                <a:gd name="T96" fmla="*/ 5 w 350"/>
                <a:gd name="T97" fmla="*/ 140 h 350"/>
                <a:gd name="T98" fmla="*/ 15 w 350"/>
                <a:gd name="T99" fmla="*/ 107 h 350"/>
                <a:gd name="T100" fmla="*/ 31 w 350"/>
                <a:gd name="T101" fmla="*/ 78 h 350"/>
                <a:gd name="T102" fmla="*/ 53 w 350"/>
                <a:gd name="T103" fmla="*/ 52 h 350"/>
                <a:gd name="T104" fmla="*/ 78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8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3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8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9" y="175"/>
                  </a:lnTo>
                  <a:lnTo>
                    <a:pt x="236" y="158"/>
                  </a:lnTo>
                  <a:lnTo>
                    <a:pt x="231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8" y="41"/>
                  </a:lnTo>
                  <a:lnTo>
                    <a:pt x="309" y="63"/>
                  </a:lnTo>
                  <a:lnTo>
                    <a:pt x="327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3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8" y="319"/>
                  </a:lnTo>
                  <a:lnTo>
                    <a:pt x="53" y="299"/>
                  </a:lnTo>
                  <a:lnTo>
                    <a:pt x="31" y="273"/>
                  </a:lnTo>
                  <a:lnTo>
                    <a:pt x="15" y="243"/>
                  </a:lnTo>
                  <a:lnTo>
                    <a:pt x="5" y="210"/>
                  </a:lnTo>
                  <a:lnTo>
                    <a:pt x="0" y="175"/>
                  </a:lnTo>
                  <a:lnTo>
                    <a:pt x="5" y="140"/>
                  </a:lnTo>
                  <a:lnTo>
                    <a:pt x="15" y="107"/>
                  </a:lnTo>
                  <a:lnTo>
                    <a:pt x="31" y="78"/>
                  </a:lnTo>
                  <a:lnTo>
                    <a:pt x="53" y="52"/>
                  </a:lnTo>
                  <a:lnTo>
                    <a:pt x="78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4" name="Freeform 20">
              <a:extLst>
                <a:ext uri="{FF2B5EF4-FFF2-40B4-BE49-F238E27FC236}">
                  <a16:creationId xmlns:a16="http://schemas.microsoft.com/office/drawing/2014/main" id="{6F553FA1-4728-401A-8C20-F18E165CA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80832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2 h 111"/>
                <a:gd name="T10" fmla="*/ 168 w 171"/>
                <a:gd name="T11" fmla="*/ 37 h 111"/>
                <a:gd name="T12" fmla="*/ 171 w 171"/>
                <a:gd name="T13" fmla="*/ 55 h 111"/>
                <a:gd name="T14" fmla="*/ 168 w 171"/>
                <a:gd name="T15" fmla="*/ 72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8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8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2 h 111"/>
                <a:gd name="T34" fmla="*/ 0 w 171"/>
                <a:gd name="T35" fmla="*/ 55 h 111"/>
                <a:gd name="T36" fmla="*/ 2 w 171"/>
                <a:gd name="T37" fmla="*/ 37 h 111"/>
                <a:gd name="T38" fmla="*/ 10 w 171"/>
                <a:gd name="T39" fmla="*/ 22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2"/>
                  </a:lnTo>
                  <a:lnTo>
                    <a:pt x="168" y="37"/>
                  </a:lnTo>
                  <a:lnTo>
                    <a:pt x="171" y="55"/>
                  </a:lnTo>
                  <a:lnTo>
                    <a:pt x="168" y="72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8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8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2"/>
                  </a:lnTo>
                  <a:lnTo>
                    <a:pt x="0" y="55"/>
                  </a:lnTo>
                  <a:lnTo>
                    <a:pt x="2" y="37"/>
                  </a:lnTo>
                  <a:lnTo>
                    <a:pt x="10" y="22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5" name="Freeform 21">
              <a:extLst>
                <a:ext uri="{FF2B5EF4-FFF2-40B4-BE49-F238E27FC236}">
                  <a16:creationId xmlns:a16="http://schemas.microsoft.com/office/drawing/2014/main" id="{2A783787-5E9B-43C9-9BF4-073950C97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95860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3 h 111"/>
                <a:gd name="T10" fmla="*/ 168 w 171"/>
                <a:gd name="T11" fmla="*/ 38 h 111"/>
                <a:gd name="T12" fmla="*/ 171 w 171"/>
                <a:gd name="T13" fmla="*/ 55 h 111"/>
                <a:gd name="T14" fmla="*/ 168 w 171"/>
                <a:gd name="T15" fmla="*/ 74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9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9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4 h 111"/>
                <a:gd name="T34" fmla="*/ 0 w 171"/>
                <a:gd name="T35" fmla="*/ 55 h 111"/>
                <a:gd name="T36" fmla="*/ 2 w 171"/>
                <a:gd name="T37" fmla="*/ 38 h 111"/>
                <a:gd name="T38" fmla="*/ 10 w 171"/>
                <a:gd name="T39" fmla="*/ 23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3"/>
                  </a:lnTo>
                  <a:lnTo>
                    <a:pt x="168" y="38"/>
                  </a:lnTo>
                  <a:lnTo>
                    <a:pt x="171" y="55"/>
                  </a:lnTo>
                  <a:lnTo>
                    <a:pt x="168" y="74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9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9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4"/>
                  </a:lnTo>
                  <a:lnTo>
                    <a:pt x="0" y="55"/>
                  </a:lnTo>
                  <a:lnTo>
                    <a:pt x="2" y="38"/>
                  </a:lnTo>
                  <a:lnTo>
                    <a:pt x="10" y="23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6" name="Freeform 22">
              <a:extLst>
                <a:ext uri="{FF2B5EF4-FFF2-40B4-BE49-F238E27FC236}">
                  <a16:creationId xmlns:a16="http://schemas.microsoft.com/office/drawing/2014/main" id="{6465D05A-ED22-49B3-924E-6DFC4C8C8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8138" y="5997240"/>
              <a:ext cx="283642" cy="307072"/>
            </a:xfrm>
            <a:custGeom>
              <a:avLst/>
              <a:gdLst>
                <a:gd name="T0" fmla="*/ 185 w 3736"/>
                <a:gd name="T1" fmla="*/ 3069 h 3678"/>
                <a:gd name="T2" fmla="*/ 125 w 3736"/>
                <a:gd name="T3" fmla="*/ 3352 h 3678"/>
                <a:gd name="T4" fmla="*/ 325 w 3736"/>
                <a:gd name="T5" fmla="*/ 3554 h 3678"/>
                <a:gd name="T6" fmla="*/ 2002 w 3736"/>
                <a:gd name="T7" fmla="*/ 3518 h 3678"/>
                <a:gd name="T8" fmla="*/ 2140 w 3736"/>
                <a:gd name="T9" fmla="*/ 3266 h 3678"/>
                <a:gd name="T10" fmla="*/ 2002 w 3736"/>
                <a:gd name="T11" fmla="*/ 3013 h 3678"/>
                <a:gd name="T12" fmla="*/ 943 w 3736"/>
                <a:gd name="T13" fmla="*/ 2853 h 3678"/>
                <a:gd name="T14" fmla="*/ 2970 w 3736"/>
                <a:gd name="T15" fmla="*/ 2765 h 3678"/>
                <a:gd name="T16" fmla="*/ 3240 w 3736"/>
                <a:gd name="T17" fmla="*/ 2787 h 3678"/>
                <a:gd name="T18" fmla="*/ 3506 w 3736"/>
                <a:gd name="T19" fmla="*/ 2599 h 3678"/>
                <a:gd name="T20" fmla="*/ 302 w 3736"/>
                <a:gd name="T21" fmla="*/ 2099 h 3678"/>
                <a:gd name="T22" fmla="*/ 333 w 3736"/>
                <a:gd name="T23" fmla="*/ 2613 h 3678"/>
                <a:gd name="T24" fmla="*/ 3524 w 3736"/>
                <a:gd name="T25" fmla="*/ 1966 h 3678"/>
                <a:gd name="T26" fmla="*/ 3542 w 3736"/>
                <a:gd name="T27" fmla="*/ 2077 h 3678"/>
                <a:gd name="T28" fmla="*/ 3622 w 3736"/>
                <a:gd name="T29" fmla="*/ 1998 h 3678"/>
                <a:gd name="T30" fmla="*/ 893 w 3736"/>
                <a:gd name="T31" fmla="*/ 1458 h 3678"/>
                <a:gd name="T32" fmla="*/ 1843 w 3736"/>
                <a:gd name="T33" fmla="*/ 2616 h 3678"/>
                <a:gd name="T34" fmla="*/ 1132 w 3736"/>
                <a:gd name="T35" fmla="*/ 2414 h 3678"/>
                <a:gd name="T36" fmla="*/ 954 w 3736"/>
                <a:gd name="T37" fmla="*/ 2256 h 3678"/>
                <a:gd name="T38" fmla="*/ 1082 w 3736"/>
                <a:gd name="T39" fmla="*/ 2271 h 3678"/>
                <a:gd name="T40" fmla="*/ 1271 w 3736"/>
                <a:gd name="T41" fmla="*/ 1557 h 3678"/>
                <a:gd name="T42" fmla="*/ 1360 w 3736"/>
                <a:gd name="T43" fmla="*/ 1601 h 3678"/>
                <a:gd name="T44" fmla="*/ 1958 w 3736"/>
                <a:gd name="T45" fmla="*/ 2171 h 3678"/>
                <a:gd name="T46" fmla="*/ 1525 w 3736"/>
                <a:gd name="T47" fmla="*/ 1457 h 3678"/>
                <a:gd name="T48" fmla="*/ 2749 w 3736"/>
                <a:gd name="T49" fmla="*/ 361 h 3678"/>
                <a:gd name="T50" fmla="*/ 3541 w 3736"/>
                <a:gd name="T51" fmla="*/ 1844 h 3678"/>
                <a:gd name="T52" fmla="*/ 1658 w 3736"/>
                <a:gd name="T53" fmla="*/ 1439 h 3678"/>
                <a:gd name="T54" fmla="*/ 2419 w 3736"/>
                <a:gd name="T55" fmla="*/ 427 h 3678"/>
                <a:gd name="T56" fmla="*/ 2498 w 3736"/>
                <a:gd name="T57" fmla="*/ 124 h 3678"/>
                <a:gd name="T58" fmla="*/ 2441 w 3736"/>
                <a:gd name="T59" fmla="*/ 287 h 3678"/>
                <a:gd name="T60" fmla="*/ 2599 w 3736"/>
                <a:gd name="T61" fmla="*/ 347 h 3678"/>
                <a:gd name="T62" fmla="*/ 2672 w 3736"/>
                <a:gd name="T63" fmla="*/ 256 h 3678"/>
                <a:gd name="T64" fmla="*/ 2625 w 3736"/>
                <a:gd name="T65" fmla="*/ 136 h 3678"/>
                <a:gd name="T66" fmla="*/ 2665 w 3736"/>
                <a:gd name="T67" fmla="*/ 28 h 3678"/>
                <a:gd name="T68" fmla="*/ 3734 w 3736"/>
                <a:gd name="T69" fmla="*/ 1986 h 3678"/>
                <a:gd name="T70" fmla="*/ 3646 w 3736"/>
                <a:gd name="T71" fmla="*/ 2170 h 3678"/>
                <a:gd name="T72" fmla="*/ 3580 w 3736"/>
                <a:gd name="T73" fmla="*/ 2724 h 3678"/>
                <a:gd name="T74" fmla="*/ 3180 w 3736"/>
                <a:gd name="T75" fmla="*/ 2918 h 3678"/>
                <a:gd name="T76" fmla="*/ 2865 w 3736"/>
                <a:gd name="T77" fmla="*/ 2826 h 3678"/>
                <a:gd name="T78" fmla="*/ 2459 w 3736"/>
                <a:gd name="T79" fmla="*/ 2397 h 3678"/>
                <a:gd name="T80" fmla="*/ 3431 w 3736"/>
                <a:gd name="T81" fmla="*/ 2200 h 3678"/>
                <a:gd name="T82" fmla="*/ 3506 w 3736"/>
                <a:gd name="T83" fmla="*/ 2183 h 3678"/>
                <a:gd name="T84" fmla="*/ 1983 w 3736"/>
                <a:gd name="T85" fmla="*/ 1926 h 3678"/>
                <a:gd name="T86" fmla="*/ 2073 w 3736"/>
                <a:gd name="T87" fmla="*/ 2433 h 3678"/>
                <a:gd name="T88" fmla="*/ 2059 w 3736"/>
                <a:gd name="T89" fmla="*/ 2469 h 3678"/>
                <a:gd name="T90" fmla="*/ 2043 w 3736"/>
                <a:gd name="T91" fmla="*/ 2482 h 3678"/>
                <a:gd name="T92" fmla="*/ 2024 w 3736"/>
                <a:gd name="T93" fmla="*/ 2489 h 3678"/>
                <a:gd name="T94" fmla="*/ 1942 w 3736"/>
                <a:gd name="T95" fmla="*/ 2705 h 3678"/>
                <a:gd name="T96" fmla="*/ 1890 w 3736"/>
                <a:gd name="T97" fmla="*/ 2857 h 3678"/>
                <a:gd name="T98" fmla="*/ 2177 w 3736"/>
                <a:gd name="T99" fmla="*/ 3030 h 3678"/>
                <a:gd name="T100" fmla="*/ 2238 w 3736"/>
                <a:gd name="T101" fmla="*/ 3367 h 3678"/>
                <a:gd name="T102" fmla="*/ 2032 w 3736"/>
                <a:gd name="T103" fmla="*/ 3630 h 3678"/>
                <a:gd name="T104" fmla="*/ 311 w 3736"/>
                <a:gd name="T105" fmla="*/ 3666 h 3678"/>
                <a:gd name="T106" fmla="*/ 49 w 3736"/>
                <a:gd name="T107" fmla="*/ 3460 h 3678"/>
                <a:gd name="T108" fmla="*/ 28 w 3736"/>
                <a:gd name="T109" fmla="*/ 3116 h 3678"/>
                <a:gd name="T110" fmla="*/ 263 w 3736"/>
                <a:gd name="T111" fmla="*/ 2882 h 3678"/>
                <a:gd name="T112" fmla="*/ 317 w 3736"/>
                <a:gd name="T113" fmla="*/ 2724 h 3678"/>
                <a:gd name="T114" fmla="*/ 178 w 3736"/>
                <a:gd name="T115" fmla="*/ 2553 h 3678"/>
                <a:gd name="T116" fmla="*/ 284 w 3736"/>
                <a:gd name="T117" fmla="*/ 1975 h 3678"/>
                <a:gd name="T118" fmla="*/ 740 w 3736"/>
                <a:gd name="T119" fmla="*/ 1477 h 3678"/>
                <a:gd name="T120" fmla="*/ 963 w 3736"/>
                <a:gd name="T121" fmla="*/ 1310 h 3678"/>
                <a:gd name="T122" fmla="*/ 2410 w 3736"/>
                <a:gd name="T123" fmla="*/ 48 h 3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6" h="3678">
                  <a:moveTo>
                    <a:pt x="413" y="2964"/>
                  </a:moveTo>
                  <a:lnTo>
                    <a:pt x="367" y="2968"/>
                  </a:lnTo>
                  <a:lnTo>
                    <a:pt x="325" y="2978"/>
                  </a:lnTo>
                  <a:lnTo>
                    <a:pt x="286" y="2993"/>
                  </a:lnTo>
                  <a:lnTo>
                    <a:pt x="248" y="3013"/>
                  </a:lnTo>
                  <a:lnTo>
                    <a:pt x="215" y="3039"/>
                  </a:lnTo>
                  <a:lnTo>
                    <a:pt x="185" y="3069"/>
                  </a:lnTo>
                  <a:lnTo>
                    <a:pt x="160" y="3102"/>
                  </a:lnTo>
                  <a:lnTo>
                    <a:pt x="139" y="3139"/>
                  </a:lnTo>
                  <a:lnTo>
                    <a:pt x="125" y="3179"/>
                  </a:lnTo>
                  <a:lnTo>
                    <a:pt x="114" y="3222"/>
                  </a:lnTo>
                  <a:lnTo>
                    <a:pt x="111" y="3266"/>
                  </a:lnTo>
                  <a:lnTo>
                    <a:pt x="114" y="3310"/>
                  </a:lnTo>
                  <a:lnTo>
                    <a:pt x="125" y="3352"/>
                  </a:lnTo>
                  <a:lnTo>
                    <a:pt x="139" y="3393"/>
                  </a:lnTo>
                  <a:lnTo>
                    <a:pt x="160" y="3430"/>
                  </a:lnTo>
                  <a:lnTo>
                    <a:pt x="185" y="3464"/>
                  </a:lnTo>
                  <a:lnTo>
                    <a:pt x="215" y="3493"/>
                  </a:lnTo>
                  <a:lnTo>
                    <a:pt x="248" y="3518"/>
                  </a:lnTo>
                  <a:lnTo>
                    <a:pt x="286" y="3538"/>
                  </a:lnTo>
                  <a:lnTo>
                    <a:pt x="325" y="3554"/>
                  </a:lnTo>
                  <a:lnTo>
                    <a:pt x="367" y="3563"/>
                  </a:lnTo>
                  <a:lnTo>
                    <a:pt x="413" y="3567"/>
                  </a:lnTo>
                  <a:lnTo>
                    <a:pt x="1838" y="3567"/>
                  </a:lnTo>
                  <a:lnTo>
                    <a:pt x="1882" y="3563"/>
                  </a:lnTo>
                  <a:lnTo>
                    <a:pt x="1925" y="3554"/>
                  </a:lnTo>
                  <a:lnTo>
                    <a:pt x="1965" y="3538"/>
                  </a:lnTo>
                  <a:lnTo>
                    <a:pt x="2002" y="3518"/>
                  </a:lnTo>
                  <a:lnTo>
                    <a:pt x="2035" y="3493"/>
                  </a:lnTo>
                  <a:lnTo>
                    <a:pt x="2065" y="3464"/>
                  </a:lnTo>
                  <a:lnTo>
                    <a:pt x="2091" y="3430"/>
                  </a:lnTo>
                  <a:lnTo>
                    <a:pt x="2111" y="3393"/>
                  </a:lnTo>
                  <a:lnTo>
                    <a:pt x="2126" y="3352"/>
                  </a:lnTo>
                  <a:lnTo>
                    <a:pt x="2136" y="3310"/>
                  </a:lnTo>
                  <a:lnTo>
                    <a:pt x="2140" y="3266"/>
                  </a:lnTo>
                  <a:lnTo>
                    <a:pt x="2136" y="3222"/>
                  </a:lnTo>
                  <a:lnTo>
                    <a:pt x="2126" y="3179"/>
                  </a:lnTo>
                  <a:lnTo>
                    <a:pt x="2111" y="3139"/>
                  </a:lnTo>
                  <a:lnTo>
                    <a:pt x="2091" y="3102"/>
                  </a:lnTo>
                  <a:lnTo>
                    <a:pt x="2065" y="3069"/>
                  </a:lnTo>
                  <a:lnTo>
                    <a:pt x="2035" y="3039"/>
                  </a:lnTo>
                  <a:lnTo>
                    <a:pt x="2002" y="3013"/>
                  </a:lnTo>
                  <a:lnTo>
                    <a:pt x="1965" y="2993"/>
                  </a:lnTo>
                  <a:lnTo>
                    <a:pt x="1925" y="2978"/>
                  </a:lnTo>
                  <a:lnTo>
                    <a:pt x="1882" y="2968"/>
                  </a:lnTo>
                  <a:lnTo>
                    <a:pt x="1838" y="2964"/>
                  </a:lnTo>
                  <a:lnTo>
                    <a:pt x="413" y="2964"/>
                  </a:lnTo>
                  <a:close/>
                  <a:moveTo>
                    <a:pt x="943" y="2727"/>
                  </a:moveTo>
                  <a:lnTo>
                    <a:pt x="943" y="2853"/>
                  </a:lnTo>
                  <a:lnTo>
                    <a:pt x="1307" y="2853"/>
                  </a:lnTo>
                  <a:lnTo>
                    <a:pt x="1307" y="2727"/>
                  </a:lnTo>
                  <a:lnTo>
                    <a:pt x="943" y="2727"/>
                  </a:lnTo>
                  <a:close/>
                  <a:moveTo>
                    <a:pt x="3407" y="2328"/>
                  </a:moveTo>
                  <a:lnTo>
                    <a:pt x="2754" y="2590"/>
                  </a:lnTo>
                  <a:lnTo>
                    <a:pt x="2936" y="2741"/>
                  </a:lnTo>
                  <a:lnTo>
                    <a:pt x="2970" y="2765"/>
                  </a:lnTo>
                  <a:lnTo>
                    <a:pt x="3005" y="2783"/>
                  </a:lnTo>
                  <a:lnTo>
                    <a:pt x="3042" y="2797"/>
                  </a:lnTo>
                  <a:lnTo>
                    <a:pt x="3081" y="2806"/>
                  </a:lnTo>
                  <a:lnTo>
                    <a:pt x="3121" y="2809"/>
                  </a:lnTo>
                  <a:lnTo>
                    <a:pt x="3161" y="2808"/>
                  </a:lnTo>
                  <a:lnTo>
                    <a:pt x="3201" y="2800"/>
                  </a:lnTo>
                  <a:lnTo>
                    <a:pt x="3240" y="2787"/>
                  </a:lnTo>
                  <a:lnTo>
                    <a:pt x="3429" y="2711"/>
                  </a:lnTo>
                  <a:lnTo>
                    <a:pt x="3452" y="2700"/>
                  </a:lnTo>
                  <a:lnTo>
                    <a:pt x="3470" y="2684"/>
                  </a:lnTo>
                  <a:lnTo>
                    <a:pt x="3485" y="2666"/>
                  </a:lnTo>
                  <a:lnTo>
                    <a:pt x="3496" y="2646"/>
                  </a:lnTo>
                  <a:lnTo>
                    <a:pt x="3504" y="2623"/>
                  </a:lnTo>
                  <a:lnTo>
                    <a:pt x="3506" y="2599"/>
                  </a:lnTo>
                  <a:lnTo>
                    <a:pt x="3504" y="2575"/>
                  </a:lnTo>
                  <a:lnTo>
                    <a:pt x="3497" y="2551"/>
                  </a:lnTo>
                  <a:lnTo>
                    <a:pt x="3407" y="2328"/>
                  </a:lnTo>
                  <a:close/>
                  <a:moveTo>
                    <a:pt x="353" y="2073"/>
                  </a:moveTo>
                  <a:lnTo>
                    <a:pt x="333" y="2076"/>
                  </a:lnTo>
                  <a:lnTo>
                    <a:pt x="315" y="2085"/>
                  </a:lnTo>
                  <a:lnTo>
                    <a:pt x="302" y="2099"/>
                  </a:lnTo>
                  <a:lnTo>
                    <a:pt x="292" y="2116"/>
                  </a:lnTo>
                  <a:lnTo>
                    <a:pt x="289" y="2136"/>
                  </a:lnTo>
                  <a:lnTo>
                    <a:pt x="289" y="2553"/>
                  </a:lnTo>
                  <a:lnTo>
                    <a:pt x="292" y="2572"/>
                  </a:lnTo>
                  <a:lnTo>
                    <a:pt x="302" y="2590"/>
                  </a:lnTo>
                  <a:lnTo>
                    <a:pt x="315" y="2604"/>
                  </a:lnTo>
                  <a:lnTo>
                    <a:pt x="333" y="2613"/>
                  </a:lnTo>
                  <a:lnTo>
                    <a:pt x="353" y="2616"/>
                  </a:lnTo>
                  <a:lnTo>
                    <a:pt x="713" y="2616"/>
                  </a:lnTo>
                  <a:lnTo>
                    <a:pt x="713" y="2073"/>
                  </a:lnTo>
                  <a:lnTo>
                    <a:pt x="353" y="2073"/>
                  </a:lnTo>
                  <a:close/>
                  <a:moveTo>
                    <a:pt x="3562" y="1955"/>
                  </a:moveTo>
                  <a:lnTo>
                    <a:pt x="3542" y="1957"/>
                  </a:lnTo>
                  <a:lnTo>
                    <a:pt x="3524" y="1966"/>
                  </a:lnTo>
                  <a:lnTo>
                    <a:pt x="3511" y="1980"/>
                  </a:lnTo>
                  <a:lnTo>
                    <a:pt x="3502" y="1998"/>
                  </a:lnTo>
                  <a:lnTo>
                    <a:pt x="3498" y="2017"/>
                  </a:lnTo>
                  <a:lnTo>
                    <a:pt x="3502" y="2038"/>
                  </a:lnTo>
                  <a:lnTo>
                    <a:pt x="3511" y="2055"/>
                  </a:lnTo>
                  <a:lnTo>
                    <a:pt x="3524" y="2068"/>
                  </a:lnTo>
                  <a:lnTo>
                    <a:pt x="3542" y="2077"/>
                  </a:lnTo>
                  <a:lnTo>
                    <a:pt x="3562" y="2081"/>
                  </a:lnTo>
                  <a:lnTo>
                    <a:pt x="3582" y="2077"/>
                  </a:lnTo>
                  <a:lnTo>
                    <a:pt x="3599" y="2068"/>
                  </a:lnTo>
                  <a:lnTo>
                    <a:pt x="3613" y="2055"/>
                  </a:lnTo>
                  <a:lnTo>
                    <a:pt x="3622" y="2038"/>
                  </a:lnTo>
                  <a:lnTo>
                    <a:pt x="3625" y="2017"/>
                  </a:lnTo>
                  <a:lnTo>
                    <a:pt x="3622" y="1998"/>
                  </a:lnTo>
                  <a:lnTo>
                    <a:pt x="3613" y="1980"/>
                  </a:lnTo>
                  <a:lnTo>
                    <a:pt x="3599" y="1966"/>
                  </a:lnTo>
                  <a:lnTo>
                    <a:pt x="3582" y="1957"/>
                  </a:lnTo>
                  <a:lnTo>
                    <a:pt x="3562" y="1955"/>
                  </a:lnTo>
                  <a:close/>
                  <a:moveTo>
                    <a:pt x="950" y="1428"/>
                  </a:moveTo>
                  <a:lnTo>
                    <a:pt x="921" y="1441"/>
                  </a:lnTo>
                  <a:lnTo>
                    <a:pt x="893" y="1458"/>
                  </a:lnTo>
                  <a:lnTo>
                    <a:pt x="871" y="1481"/>
                  </a:lnTo>
                  <a:lnTo>
                    <a:pt x="851" y="1507"/>
                  </a:lnTo>
                  <a:lnTo>
                    <a:pt x="837" y="1536"/>
                  </a:lnTo>
                  <a:lnTo>
                    <a:pt x="828" y="1568"/>
                  </a:lnTo>
                  <a:lnTo>
                    <a:pt x="824" y="1601"/>
                  </a:lnTo>
                  <a:lnTo>
                    <a:pt x="824" y="2616"/>
                  </a:lnTo>
                  <a:lnTo>
                    <a:pt x="1843" y="2616"/>
                  </a:lnTo>
                  <a:lnTo>
                    <a:pt x="1843" y="2489"/>
                  </a:lnTo>
                  <a:lnTo>
                    <a:pt x="1556" y="2489"/>
                  </a:lnTo>
                  <a:lnTo>
                    <a:pt x="1468" y="2487"/>
                  </a:lnTo>
                  <a:lnTo>
                    <a:pt x="1382" y="2478"/>
                  </a:lnTo>
                  <a:lnTo>
                    <a:pt x="1297" y="2462"/>
                  </a:lnTo>
                  <a:lnTo>
                    <a:pt x="1213" y="2441"/>
                  </a:lnTo>
                  <a:lnTo>
                    <a:pt x="1132" y="2414"/>
                  </a:lnTo>
                  <a:lnTo>
                    <a:pt x="1050" y="2382"/>
                  </a:lnTo>
                  <a:lnTo>
                    <a:pt x="1026" y="2369"/>
                  </a:lnTo>
                  <a:lnTo>
                    <a:pt x="1005" y="2352"/>
                  </a:lnTo>
                  <a:lnTo>
                    <a:pt x="985" y="2331"/>
                  </a:lnTo>
                  <a:lnTo>
                    <a:pt x="971" y="2309"/>
                  </a:lnTo>
                  <a:lnTo>
                    <a:pt x="960" y="2284"/>
                  </a:lnTo>
                  <a:lnTo>
                    <a:pt x="954" y="2256"/>
                  </a:lnTo>
                  <a:lnTo>
                    <a:pt x="950" y="2228"/>
                  </a:lnTo>
                  <a:lnTo>
                    <a:pt x="950" y="1428"/>
                  </a:lnTo>
                  <a:close/>
                  <a:moveTo>
                    <a:pt x="1062" y="1419"/>
                  </a:moveTo>
                  <a:lnTo>
                    <a:pt x="1062" y="2228"/>
                  </a:lnTo>
                  <a:lnTo>
                    <a:pt x="1065" y="2245"/>
                  </a:lnTo>
                  <a:lnTo>
                    <a:pt x="1071" y="2259"/>
                  </a:lnTo>
                  <a:lnTo>
                    <a:pt x="1082" y="2271"/>
                  </a:lnTo>
                  <a:lnTo>
                    <a:pt x="1095" y="2280"/>
                  </a:lnTo>
                  <a:lnTo>
                    <a:pt x="1171" y="2311"/>
                  </a:lnTo>
                  <a:lnTo>
                    <a:pt x="1248" y="2335"/>
                  </a:lnTo>
                  <a:lnTo>
                    <a:pt x="1248" y="1601"/>
                  </a:lnTo>
                  <a:lnTo>
                    <a:pt x="1251" y="1584"/>
                  </a:lnTo>
                  <a:lnTo>
                    <a:pt x="1259" y="1568"/>
                  </a:lnTo>
                  <a:lnTo>
                    <a:pt x="1271" y="1557"/>
                  </a:lnTo>
                  <a:lnTo>
                    <a:pt x="1286" y="1549"/>
                  </a:lnTo>
                  <a:lnTo>
                    <a:pt x="1304" y="1545"/>
                  </a:lnTo>
                  <a:lnTo>
                    <a:pt x="1321" y="1549"/>
                  </a:lnTo>
                  <a:lnTo>
                    <a:pt x="1337" y="1557"/>
                  </a:lnTo>
                  <a:lnTo>
                    <a:pt x="1348" y="1568"/>
                  </a:lnTo>
                  <a:lnTo>
                    <a:pt x="1356" y="1584"/>
                  </a:lnTo>
                  <a:lnTo>
                    <a:pt x="1360" y="1601"/>
                  </a:lnTo>
                  <a:lnTo>
                    <a:pt x="1360" y="2361"/>
                  </a:lnTo>
                  <a:lnTo>
                    <a:pt x="1424" y="2370"/>
                  </a:lnTo>
                  <a:lnTo>
                    <a:pt x="1490" y="2376"/>
                  </a:lnTo>
                  <a:lnTo>
                    <a:pt x="1556" y="2378"/>
                  </a:lnTo>
                  <a:lnTo>
                    <a:pt x="1961" y="2378"/>
                  </a:lnTo>
                  <a:lnTo>
                    <a:pt x="1961" y="2221"/>
                  </a:lnTo>
                  <a:lnTo>
                    <a:pt x="1958" y="2171"/>
                  </a:lnTo>
                  <a:lnTo>
                    <a:pt x="1949" y="2123"/>
                  </a:lnTo>
                  <a:lnTo>
                    <a:pt x="1936" y="2076"/>
                  </a:lnTo>
                  <a:lnTo>
                    <a:pt x="1915" y="2031"/>
                  </a:lnTo>
                  <a:lnTo>
                    <a:pt x="1890" y="1988"/>
                  </a:lnTo>
                  <a:lnTo>
                    <a:pt x="1566" y="1500"/>
                  </a:lnTo>
                  <a:lnTo>
                    <a:pt x="1547" y="1477"/>
                  </a:lnTo>
                  <a:lnTo>
                    <a:pt x="1525" y="1457"/>
                  </a:lnTo>
                  <a:lnTo>
                    <a:pt x="1500" y="1441"/>
                  </a:lnTo>
                  <a:lnTo>
                    <a:pt x="1473" y="1428"/>
                  </a:lnTo>
                  <a:lnTo>
                    <a:pt x="1445" y="1422"/>
                  </a:lnTo>
                  <a:lnTo>
                    <a:pt x="1414" y="1419"/>
                  </a:lnTo>
                  <a:lnTo>
                    <a:pt x="1062" y="1419"/>
                  </a:lnTo>
                  <a:close/>
                  <a:moveTo>
                    <a:pt x="2753" y="353"/>
                  </a:moveTo>
                  <a:lnTo>
                    <a:pt x="2749" y="361"/>
                  </a:lnTo>
                  <a:lnTo>
                    <a:pt x="2571" y="659"/>
                  </a:lnTo>
                  <a:lnTo>
                    <a:pt x="3419" y="1917"/>
                  </a:lnTo>
                  <a:lnTo>
                    <a:pt x="3437" y="1895"/>
                  </a:lnTo>
                  <a:lnTo>
                    <a:pt x="3460" y="1876"/>
                  </a:lnTo>
                  <a:lnTo>
                    <a:pt x="3485" y="1861"/>
                  </a:lnTo>
                  <a:lnTo>
                    <a:pt x="3512" y="1850"/>
                  </a:lnTo>
                  <a:lnTo>
                    <a:pt x="3541" y="1844"/>
                  </a:lnTo>
                  <a:lnTo>
                    <a:pt x="2753" y="353"/>
                  </a:lnTo>
                  <a:close/>
                  <a:moveTo>
                    <a:pt x="2334" y="320"/>
                  </a:moveTo>
                  <a:lnTo>
                    <a:pt x="1562" y="1348"/>
                  </a:lnTo>
                  <a:lnTo>
                    <a:pt x="1590" y="1366"/>
                  </a:lnTo>
                  <a:lnTo>
                    <a:pt x="1616" y="1387"/>
                  </a:lnTo>
                  <a:lnTo>
                    <a:pt x="1638" y="1411"/>
                  </a:lnTo>
                  <a:lnTo>
                    <a:pt x="1658" y="1439"/>
                  </a:lnTo>
                  <a:lnTo>
                    <a:pt x="1827" y="1690"/>
                  </a:lnTo>
                  <a:lnTo>
                    <a:pt x="2555" y="467"/>
                  </a:lnTo>
                  <a:lnTo>
                    <a:pt x="2551" y="467"/>
                  </a:lnTo>
                  <a:lnTo>
                    <a:pt x="2515" y="465"/>
                  </a:lnTo>
                  <a:lnTo>
                    <a:pt x="2481" y="457"/>
                  </a:lnTo>
                  <a:lnTo>
                    <a:pt x="2448" y="444"/>
                  </a:lnTo>
                  <a:lnTo>
                    <a:pt x="2419" y="427"/>
                  </a:lnTo>
                  <a:lnTo>
                    <a:pt x="2391" y="405"/>
                  </a:lnTo>
                  <a:lnTo>
                    <a:pt x="2369" y="380"/>
                  </a:lnTo>
                  <a:lnTo>
                    <a:pt x="2349" y="351"/>
                  </a:lnTo>
                  <a:lnTo>
                    <a:pt x="2334" y="320"/>
                  </a:lnTo>
                  <a:close/>
                  <a:moveTo>
                    <a:pt x="2551" y="111"/>
                  </a:moveTo>
                  <a:lnTo>
                    <a:pt x="2523" y="115"/>
                  </a:lnTo>
                  <a:lnTo>
                    <a:pt x="2498" y="124"/>
                  </a:lnTo>
                  <a:lnTo>
                    <a:pt x="2475" y="138"/>
                  </a:lnTo>
                  <a:lnTo>
                    <a:pt x="2456" y="157"/>
                  </a:lnTo>
                  <a:lnTo>
                    <a:pt x="2441" y="180"/>
                  </a:lnTo>
                  <a:lnTo>
                    <a:pt x="2432" y="205"/>
                  </a:lnTo>
                  <a:lnTo>
                    <a:pt x="2429" y="234"/>
                  </a:lnTo>
                  <a:lnTo>
                    <a:pt x="2432" y="262"/>
                  </a:lnTo>
                  <a:lnTo>
                    <a:pt x="2441" y="287"/>
                  </a:lnTo>
                  <a:lnTo>
                    <a:pt x="2456" y="311"/>
                  </a:lnTo>
                  <a:lnTo>
                    <a:pt x="2475" y="329"/>
                  </a:lnTo>
                  <a:lnTo>
                    <a:pt x="2498" y="344"/>
                  </a:lnTo>
                  <a:lnTo>
                    <a:pt x="2523" y="353"/>
                  </a:lnTo>
                  <a:lnTo>
                    <a:pt x="2551" y="356"/>
                  </a:lnTo>
                  <a:lnTo>
                    <a:pt x="2576" y="354"/>
                  </a:lnTo>
                  <a:lnTo>
                    <a:pt x="2599" y="347"/>
                  </a:lnTo>
                  <a:lnTo>
                    <a:pt x="2619" y="336"/>
                  </a:lnTo>
                  <a:lnTo>
                    <a:pt x="2638" y="321"/>
                  </a:lnTo>
                  <a:lnTo>
                    <a:pt x="2653" y="303"/>
                  </a:lnTo>
                  <a:lnTo>
                    <a:pt x="2656" y="298"/>
                  </a:lnTo>
                  <a:lnTo>
                    <a:pt x="2657" y="297"/>
                  </a:lnTo>
                  <a:lnTo>
                    <a:pt x="2666" y="278"/>
                  </a:lnTo>
                  <a:lnTo>
                    <a:pt x="2672" y="256"/>
                  </a:lnTo>
                  <a:lnTo>
                    <a:pt x="2674" y="234"/>
                  </a:lnTo>
                  <a:lnTo>
                    <a:pt x="2672" y="210"/>
                  </a:lnTo>
                  <a:lnTo>
                    <a:pt x="2665" y="187"/>
                  </a:lnTo>
                  <a:lnTo>
                    <a:pt x="2661" y="180"/>
                  </a:lnTo>
                  <a:lnTo>
                    <a:pt x="2658" y="174"/>
                  </a:lnTo>
                  <a:lnTo>
                    <a:pt x="2643" y="153"/>
                  </a:lnTo>
                  <a:lnTo>
                    <a:pt x="2625" y="136"/>
                  </a:lnTo>
                  <a:lnTo>
                    <a:pt x="2603" y="123"/>
                  </a:lnTo>
                  <a:lnTo>
                    <a:pt x="2579" y="115"/>
                  </a:lnTo>
                  <a:lnTo>
                    <a:pt x="2551" y="111"/>
                  </a:lnTo>
                  <a:close/>
                  <a:moveTo>
                    <a:pt x="2551" y="0"/>
                  </a:moveTo>
                  <a:lnTo>
                    <a:pt x="2591" y="3"/>
                  </a:lnTo>
                  <a:lnTo>
                    <a:pt x="2630" y="12"/>
                  </a:lnTo>
                  <a:lnTo>
                    <a:pt x="2665" y="28"/>
                  </a:lnTo>
                  <a:lnTo>
                    <a:pt x="2696" y="50"/>
                  </a:lnTo>
                  <a:lnTo>
                    <a:pt x="2724" y="75"/>
                  </a:lnTo>
                  <a:lnTo>
                    <a:pt x="2747" y="106"/>
                  </a:lnTo>
                  <a:lnTo>
                    <a:pt x="2766" y="138"/>
                  </a:lnTo>
                  <a:lnTo>
                    <a:pt x="3713" y="1930"/>
                  </a:lnTo>
                  <a:lnTo>
                    <a:pt x="3726" y="1957"/>
                  </a:lnTo>
                  <a:lnTo>
                    <a:pt x="3734" y="1986"/>
                  </a:lnTo>
                  <a:lnTo>
                    <a:pt x="3736" y="2017"/>
                  </a:lnTo>
                  <a:lnTo>
                    <a:pt x="3733" y="2050"/>
                  </a:lnTo>
                  <a:lnTo>
                    <a:pt x="3725" y="2080"/>
                  </a:lnTo>
                  <a:lnTo>
                    <a:pt x="3711" y="2108"/>
                  </a:lnTo>
                  <a:lnTo>
                    <a:pt x="3693" y="2132"/>
                  </a:lnTo>
                  <a:lnTo>
                    <a:pt x="3672" y="2153"/>
                  </a:lnTo>
                  <a:lnTo>
                    <a:pt x="3646" y="2170"/>
                  </a:lnTo>
                  <a:lnTo>
                    <a:pt x="3617" y="2183"/>
                  </a:lnTo>
                  <a:lnTo>
                    <a:pt x="3617" y="2612"/>
                  </a:lnTo>
                  <a:lnTo>
                    <a:pt x="3617" y="2620"/>
                  </a:lnTo>
                  <a:lnTo>
                    <a:pt x="3616" y="2626"/>
                  </a:lnTo>
                  <a:lnTo>
                    <a:pt x="3609" y="2660"/>
                  </a:lnTo>
                  <a:lnTo>
                    <a:pt x="3597" y="2693"/>
                  </a:lnTo>
                  <a:lnTo>
                    <a:pt x="3580" y="2724"/>
                  </a:lnTo>
                  <a:lnTo>
                    <a:pt x="3559" y="2752"/>
                  </a:lnTo>
                  <a:lnTo>
                    <a:pt x="3533" y="2777"/>
                  </a:lnTo>
                  <a:lnTo>
                    <a:pt x="3504" y="2799"/>
                  </a:lnTo>
                  <a:lnTo>
                    <a:pt x="3471" y="2815"/>
                  </a:lnTo>
                  <a:lnTo>
                    <a:pt x="3282" y="2891"/>
                  </a:lnTo>
                  <a:lnTo>
                    <a:pt x="3231" y="2908"/>
                  </a:lnTo>
                  <a:lnTo>
                    <a:pt x="3180" y="2918"/>
                  </a:lnTo>
                  <a:lnTo>
                    <a:pt x="3127" y="2920"/>
                  </a:lnTo>
                  <a:lnTo>
                    <a:pt x="3081" y="2918"/>
                  </a:lnTo>
                  <a:lnTo>
                    <a:pt x="3034" y="2910"/>
                  </a:lnTo>
                  <a:lnTo>
                    <a:pt x="2989" y="2896"/>
                  </a:lnTo>
                  <a:lnTo>
                    <a:pt x="2946" y="2878"/>
                  </a:lnTo>
                  <a:lnTo>
                    <a:pt x="2904" y="2855"/>
                  </a:lnTo>
                  <a:lnTo>
                    <a:pt x="2865" y="2826"/>
                  </a:lnTo>
                  <a:lnTo>
                    <a:pt x="2454" y="2487"/>
                  </a:lnTo>
                  <a:lnTo>
                    <a:pt x="2442" y="2474"/>
                  </a:lnTo>
                  <a:lnTo>
                    <a:pt x="2436" y="2458"/>
                  </a:lnTo>
                  <a:lnTo>
                    <a:pt x="2433" y="2441"/>
                  </a:lnTo>
                  <a:lnTo>
                    <a:pt x="2438" y="2424"/>
                  </a:lnTo>
                  <a:lnTo>
                    <a:pt x="2447" y="2409"/>
                  </a:lnTo>
                  <a:lnTo>
                    <a:pt x="2459" y="2397"/>
                  </a:lnTo>
                  <a:lnTo>
                    <a:pt x="2475" y="2390"/>
                  </a:lnTo>
                  <a:lnTo>
                    <a:pt x="2492" y="2388"/>
                  </a:lnTo>
                  <a:lnTo>
                    <a:pt x="2509" y="2393"/>
                  </a:lnTo>
                  <a:lnTo>
                    <a:pt x="2525" y="2402"/>
                  </a:lnTo>
                  <a:lnTo>
                    <a:pt x="2656" y="2509"/>
                  </a:lnTo>
                  <a:lnTo>
                    <a:pt x="3418" y="2203"/>
                  </a:lnTo>
                  <a:lnTo>
                    <a:pt x="3431" y="2200"/>
                  </a:lnTo>
                  <a:lnTo>
                    <a:pt x="3446" y="2200"/>
                  </a:lnTo>
                  <a:lnTo>
                    <a:pt x="3460" y="2204"/>
                  </a:lnTo>
                  <a:lnTo>
                    <a:pt x="3472" y="2211"/>
                  </a:lnTo>
                  <a:lnTo>
                    <a:pt x="3482" y="2221"/>
                  </a:lnTo>
                  <a:lnTo>
                    <a:pt x="3490" y="2235"/>
                  </a:lnTo>
                  <a:lnTo>
                    <a:pt x="3506" y="2275"/>
                  </a:lnTo>
                  <a:lnTo>
                    <a:pt x="3506" y="2183"/>
                  </a:lnTo>
                  <a:lnTo>
                    <a:pt x="3478" y="2170"/>
                  </a:lnTo>
                  <a:lnTo>
                    <a:pt x="3452" y="2152"/>
                  </a:lnTo>
                  <a:lnTo>
                    <a:pt x="3429" y="2131"/>
                  </a:lnTo>
                  <a:lnTo>
                    <a:pt x="3411" y="2106"/>
                  </a:lnTo>
                  <a:lnTo>
                    <a:pt x="2507" y="766"/>
                  </a:lnTo>
                  <a:lnTo>
                    <a:pt x="1895" y="1794"/>
                  </a:lnTo>
                  <a:lnTo>
                    <a:pt x="1983" y="1926"/>
                  </a:lnTo>
                  <a:lnTo>
                    <a:pt x="2010" y="1971"/>
                  </a:lnTo>
                  <a:lnTo>
                    <a:pt x="2032" y="2018"/>
                  </a:lnTo>
                  <a:lnTo>
                    <a:pt x="2050" y="2067"/>
                  </a:lnTo>
                  <a:lnTo>
                    <a:pt x="2063" y="2117"/>
                  </a:lnTo>
                  <a:lnTo>
                    <a:pt x="2069" y="2168"/>
                  </a:lnTo>
                  <a:lnTo>
                    <a:pt x="2073" y="2221"/>
                  </a:lnTo>
                  <a:lnTo>
                    <a:pt x="2073" y="2433"/>
                  </a:lnTo>
                  <a:lnTo>
                    <a:pt x="2072" y="2441"/>
                  </a:lnTo>
                  <a:lnTo>
                    <a:pt x="2069" y="2452"/>
                  </a:lnTo>
                  <a:lnTo>
                    <a:pt x="2066" y="2460"/>
                  </a:lnTo>
                  <a:lnTo>
                    <a:pt x="2064" y="2463"/>
                  </a:lnTo>
                  <a:lnTo>
                    <a:pt x="2063" y="2465"/>
                  </a:lnTo>
                  <a:lnTo>
                    <a:pt x="2060" y="2469"/>
                  </a:lnTo>
                  <a:lnTo>
                    <a:pt x="2059" y="2469"/>
                  </a:lnTo>
                  <a:lnTo>
                    <a:pt x="2058" y="2471"/>
                  </a:lnTo>
                  <a:lnTo>
                    <a:pt x="2056" y="2473"/>
                  </a:lnTo>
                  <a:lnTo>
                    <a:pt x="2055" y="2474"/>
                  </a:lnTo>
                  <a:lnTo>
                    <a:pt x="2052" y="2477"/>
                  </a:lnTo>
                  <a:lnTo>
                    <a:pt x="2050" y="2478"/>
                  </a:lnTo>
                  <a:lnTo>
                    <a:pt x="2048" y="2480"/>
                  </a:lnTo>
                  <a:lnTo>
                    <a:pt x="2043" y="2482"/>
                  </a:lnTo>
                  <a:lnTo>
                    <a:pt x="2039" y="2485"/>
                  </a:lnTo>
                  <a:lnTo>
                    <a:pt x="2039" y="2485"/>
                  </a:lnTo>
                  <a:lnTo>
                    <a:pt x="2035" y="2486"/>
                  </a:lnTo>
                  <a:lnTo>
                    <a:pt x="2033" y="2487"/>
                  </a:lnTo>
                  <a:lnTo>
                    <a:pt x="2031" y="2488"/>
                  </a:lnTo>
                  <a:lnTo>
                    <a:pt x="2027" y="2488"/>
                  </a:lnTo>
                  <a:lnTo>
                    <a:pt x="2024" y="2489"/>
                  </a:lnTo>
                  <a:lnTo>
                    <a:pt x="2023" y="2489"/>
                  </a:lnTo>
                  <a:lnTo>
                    <a:pt x="2019" y="2489"/>
                  </a:lnTo>
                  <a:lnTo>
                    <a:pt x="2017" y="2489"/>
                  </a:lnTo>
                  <a:lnTo>
                    <a:pt x="1954" y="2489"/>
                  </a:lnTo>
                  <a:lnTo>
                    <a:pt x="1954" y="2672"/>
                  </a:lnTo>
                  <a:lnTo>
                    <a:pt x="1950" y="2689"/>
                  </a:lnTo>
                  <a:lnTo>
                    <a:pt x="1942" y="2705"/>
                  </a:lnTo>
                  <a:lnTo>
                    <a:pt x="1931" y="2716"/>
                  </a:lnTo>
                  <a:lnTo>
                    <a:pt x="1915" y="2724"/>
                  </a:lnTo>
                  <a:lnTo>
                    <a:pt x="1898" y="2727"/>
                  </a:lnTo>
                  <a:lnTo>
                    <a:pt x="1418" y="2727"/>
                  </a:lnTo>
                  <a:lnTo>
                    <a:pt x="1418" y="2853"/>
                  </a:lnTo>
                  <a:lnTo>
                    <a:pt x="1838" y="2853"/>
                  </a:lnTo>
                  <a:lnTo>
                    <a:pt x="1890" y="2857"/>
                  </a:lnTo>
                  <a:lnTo>
                    <a:pt x="1940" y="2866"/>
                  </a:lnTo>
                  <a:lnTo>
                    <a:pt x="1988" y="2882"/>
                  </a:lnTo>
                  <a:lnTo>
                    <a:pt x="2032" y="2902"/>
                  </a:lnTo>
                  <a:lnTo>
                    <a:pt x="2074" y="2927"/>
                  </a:lnTo>
                  <a:lnTo>
                    <a:pt x="2112" y="2958"/>
                  </a:lnTo>
                  <a:lnTo>
                    <a:pt x="2146" y="2992"/>
                  </a:lnTo>
                  <a:lnTo>
                    <a:pt x="2177" y="3030"/>
                  </a:lnTo>
                  <a:lnTo>
                    <a:pt x="2202" y="3072"/>
                  </a:lnTo>
                  <a:lnTo>
                    <a:pt x="2222" y="3116"/>
                  </a:lnTo>
                  <a:lnTo>
                    <a:pt x="2238" y="3164"/>
                  </a:lnTo>
                  <a:lnTo>
                    <a:pt x="2247" y="3214"/>
                  </a:lnTo>
                  <a:lnTo>
                    <a:pt x="2251" y="3266"/>
                  </a:lnTo>
                  <a:lnTo>
                    <a:pt x="2247" y="3317"/>
                  </a:lnTo>
                  <a:lnTo>
                    <a:pt x="2238" y="3367"/>
                  </a:lnTo>
                  <a:lnTo>
                    <a:pt x="2222" y="3415"/>
                  </a:lnTo>
                  <a:lnTo>
                    <a:pt x="2202" y="3460"/>
                  </a:lnTo>
                  <a:lnTo>
                    <a:pt x="2177" y="3501"/>
                  </a:lnTo>
                  <a:lnTo>
                    <a:pt x="2146" y="3540"/>
                  </a:lnTo>
                  <a:lnTo>
                    <a:pt x="2112" y="3574"/>
                  </a:lnTo>
                  <a:lnTo>
                    <a:pt x="2074" y="3604"/>
                  </a:lnTo>
                  <a:lnTo>
                    <a:pt x="2032" y="3630"/>
                  </a:lnTo>
                  <a:lnTo>
                    <a:pt x="1988" y="3651"/>
                  </a:lnTo>
                  <a:lnTo>
                    <a:pt x="1940" y="3666"/>
                  </a:lnTo>
                  <a:lnTo>
                    <a:pt x="1890" y="3676"/>
                  </a:lnTo>
                  <a:lnTo>
                    <a:pt x="1838" y="3678"/>
                  </a:lnTo>
                  <a:lnTo>
                    <a:pt x="413" y="3678"/>
                  </a:lnTo>
                  <a:lnTo>
                    <a:pt x="360" y="3676"/>
                  </a:lnTo>
                  <a:lnTo>
                    <a:pt x="311" y="3666"/>
                  </a:lnTo>
                  <a:lnTo>
                    <a:pt x="263" y="3651"/>
                  </a:lnTo>
                  <a:lnTo>
                    <a:pt x="219" y="3630"/>
                  </a:lnTo>
                  <a:lnTo>
                    <a:pt x="177" y="3604"/>
                  </a:lnTo>
                  <a:lnTo>
                    <a:pt x="138" y="3574"/>
                  </a:lnTo>
                  <a:lnTo>
                    <a:pt x="104" y="3540"/>
                  </a:lnTo>
                  <a:lnTo>
                    <a:pt x="74" y="3501"/>
                  </a:lnTo>
                  <a:lnTo>
                    <a:pt x="49" y="3460"/>
                  </a:lnTo>
                  <a:lnTo>
                    <a:pt x="28" y="3415"/>
                  </a:lnTo>
                  <a:lnTo>
                    <a:pt x="12" y="3367"/>
                  </a:lnTo>
                  <a:lnTo>
                    <a:pt x="3" y="3317"/>
                  </a:lnTo>
                  <a:lnTo>
                    <a:pt x="0" y="3266"/>
                  </a:lnTo>
                  <a:lnTo>
                    <a:pt x="3" y="3214"/>
                  </a:lnTo>
                  <a:lnTo>
                    <a:pt x="12" y="3164"/>
                  </a:lnTo>
                  <a:lnTo>
                    <a:pt x="28" y="3116"/>
                  </a:lnTo>
                  <a:lnTo>
                    <a:pt x="49" y="3072"/>
                  </a:lnTo>
                  <a:lnTo>
                    <a:pt x="74" y="3030"/>
                  </a:lnTo>
                  <a:lnTo>
                    <a:pt x="104" y="2992"/>
                  </a:lnTo>
                  <a:lnTo>
                    <a:pt x="138" y="2958"/>
                  </a:lnTo>
                  <a:lnTo>
                    <a:pt x="177" y="2927"/>
                  </a:lnTo>
                  <a:lnTo>
                    <a:pt x="219" y="2902"/>
                  </a:lnTo>
                  <a:lnTo>
                    <a:pt x="263" y="2882"/>
                  </a:lnTo>
                  <a:lnTo>
                    <a:pt x="311" y="2866"/>
                  </a:lnTo>
                  <a:lnTo>
                    <a:pt x="360" y="2857"/>
                  </a:lnTo>
                  <a:lnTo>
                    <a:pt x="413" y="2853"/>
                  </a:lnTo>
                  <a:lnTo>
                    <a:pt x="832" y="2853"/>
                  </a:lnTo>
                  <a:lnTo>
                    <a:pt x="832" y="2727"/>
                  </a:lnTo>
                  <a:lnTo>
                    <a:pt x="353" y="2727"/>
                  </a:lnTo>
                  <a:lnTo>
                    <a:pt x="317" y="2724"/>
                  </a:lnTo>
                  <a:lnTo>
                    <a:pt x="284" y="2714"/>
                  </a:lnTo>
                  <a:lnTo>
                    <a:pt x="255" y="2698"/>
                  </a:lnTo>
                  <a:lnTo>
                    <a:pt x="229" y="2676"/>
                  </a:lnTo>
                  <a:lnTo>
                    <a:pt x="209" y="2650"/>
                  </a:lnTo>
                  <a:lnTo>
                    <a:pt x="192" y="2621"/>
                  </a:lnTo>
                  <a:lnTo>
                    <a:pt x="181" y="2588"/>
                  </a:lnTo>
                  <a:lnTo>
                    <a:pt x="178" y="2553"/>
                  </a:lnTo>
                  <a:lnTo>
                    <a:pt x="178" y="2136"/>
                  </a:lnTo>
                  <a:lnTo>
                    <a:pt x="181" y="2101"/>
                  </a:lnTo>
                  <a:lnTo>
                    <a:pt x="192" y="2068"/>
                  </a:lnTo>
                  <a:lnTo>
                    <a:pt x="209" y="2039"/>
                  </a:lnTo>
                  <a:lnTo>
                    <a:pt x="229" y="2013"/>
                  </a:lnTo>
                  <a:lnTo>
                    <a:pt x="255" y="1991"/>
                  </a:lnTo>
                  <a:lnTo>
                    <a:pt x="284" y="1975"/>
                  </a:lnTo>
                  <a:lnTo>
                    <a:pt x="317" y="1965"/>
                  </a:lnTo>
                  <a:lnTo>
                    <a:pt x="353" y="1962"/>
                  </a:lnTo>
                  <a:lnTo>
                    <a:pt x="713" y="1962"/>
                  </a:lnTo>
                  <a:lnTo>
                    <a:pt x="713" y="1601"/>
                  </a:lnTo>
                  <a:lnTo>
                    <a:pt x="717" y="1558"/>
                  </a:lnTo>
                  <a:lnTo>
                    <a:pt x="726" y="1517"/>
                  </a:lnTo>
                  <a:lnTo>
                    <a:pt x="740" y="1477"/>
                  </a:lnTo>
                  <a:lnTo>
                    <a:pt x="761" y="1442"/>
                  </a:lnTo>
                  <a:lnTo>
                    <a:pt x="785" y="1409"/>
                  </a:lnTo>
                  <a:lnTo>
                    <a:pt x="814" y="1380"/>
                  </a:lnTo>
                  <a:lnTo>
                    <a:pt x="847" y="1355"/>
                  </a:lnTo>
                  <a:lnTo>
                    <a:pt x="883" y="1335"/>
                  </a:lnTo>
                  <a:lnTo>
                    <a:pt x="922" y="1321"/>
                  </a:lnTo>
                  <a:lnTo>
                    <a:pt x="963" y="1310"/>
                  </a:lnTo>
                  <a:lnTo>
                    <a:pt x="1007" y="1308"/>
                  </a:lnTo>
                  <a:lnTo>
                    <a:pt x="1414" y="1308"/>
                  </a:lnTo>
                  <a:lnTo>
                    <a:pt x="1452" y="1310"/>
                  </a:lnTo>
                  <a:lnTo>
                    <a:pt x="2359" y="101"/>
                  </a:lnTo>
                  <a:lnTo>
                    <a:pt x="2359" y="101"/>
                  </a:lnTo>
                  <a:lnTo>
                    <a:pt x="2382" y="73"/>
                  </a:lnTo>
                  <a:lnTo>
                    <a:pt x="2410" y="48"/>
                  </a:lnTo>
                  <a:lnTo>
                    <a:pt x="2441" y="27"/>
                  </a:lnTo>
                  <a:lnTo>
                    <a:pt x="2475" y="12"/>
                  </a:lnTo>
                  <a:lnTo>
                    <a:pt x="2513" y="3"/>
                  </a:lnTo>
                  <a:lnTo>
                    <a:pt x="2551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</p:grpSp>
      <p:sp>
        <p:nvSpPr>
          <p:cNvPr id="23625" name="TextBox 158">
            <a:extLst>
              <a:ext uri="{FF2B5EF4-FFF2-40B4-BE49-F238E27FC236}">
                <a16:creationId xmlns:a16="http://schemas.microsoft.com/office/drawing/2014/main" id="{E039C87F-72AD-4054-B63A-554ACFFB9E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4663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6" name="TextBox 159">
            <a:extLst>
              <a:ext uri="{FF2B5EF4-FFF2-40B4-BE49-F238E27FC236}">
                <a16:creationId xmlns:a16="http://schemas.microsoft.com/office/drawing/2014/main" id="{C89D28E8-6E73-4458-A352-42A749EC09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3488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7" name="TextBox 127">
            <a:extLst>
              <a:ext uri="{FF2B5EF4-FFF2-40B4-BE49-F238E27FC236}">
                <a16:creationId xmlns:a16="http://schemas.microsoft.com/office/drawing/2014/main" id="{D2C4F5E9-E854-4896-8355-45DEC69063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7813" y="6378575"/>
            <a:ext cx="426243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Sources: National Bureau of Statistics, World Bank Report on Doing Business in Nigeria 2018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climate-data.org, State Government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Exchange rate= $1/N305 (Central Bank of Nigeria)</a:t>
            </a:r>
          </a:p>
        </p:txBody>
      </p:sp>
      <p:sp>
        <p:nvSpPr>
          <p:cNvPr id="23628" name="TextBox 128">
            <a:extLst>
              <a:ext uri="{FF2B5EF4-FFF2-40B4-BE49-F238E27FC236}">
                <a16:creationId xmlns:a16="http://schemas.microsoft.com/office/drawing/2014/main" id="{409BCC6F-A5F0-4C79-BB4A-38A1ABC14F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89547" y="3649889"/>
            <a:ext cx="598241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Fertilizer</a:t>
            </a:r>
          </a:p>
        </p:txBody>
      </p:sp>
      <p:sp>
        <p:nvSpPr>
          <p:cNvPr id="23629" name="TextBox 129">
            <a:extLst>
              <a:ext uri="{FF2B5EF4-FFF2-40B4-BE49-F238E27FC236}">
                <a16:creationId xmlns:a16="http://schemas.microsoft.com/office/drawing/2014/main" id="{489E7B41-20C9-4493-8E7D-07238EB8FA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89567" y="3654980"/>
            <a:ext cx="47160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dirty="0">
                <a:latin typeface="Calibri" panose="020F0502020204030204" pitchFamily="34" charset="0"/>
              </a:rPr>
              <a:t>Onion</a:t>
            </a:r>
            <a:endParaRPr lang="en-GB" altLang="en-US" sz="900" dirty="0">
              <a:latin typeface="Calibri" panose="020F0502020204030204" pitchFamily="34" charset="0"/>
            </a:endParaRPr>
          </a:p>
        </p:txBody>
      </p:sp>
      <p:sp>
        <p:nvSpPr>
          <p:cNvPr id="23630" name="TextBox 130">
            <a:extLst>
              <a:ext uri="{FF2B5EF4-FFF2-40B4-BE49-F238E27FC236}">
                <a16:creationId xmlns:a16="http://schemas.microsoft.com/office/drawing/2014/main" id="{048DE5D8-5309-42DA-9D97-2935A10CB7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31" name="TextBox 131">
            <a:extLst>
              <a:ext uri="{FF2B5EF4-FFF2-40B4-BE49-F238E27FC236}">
                <a16:creationId xmlns:a16="http://schemas.microsoft.com/office/drawing/2014/main" id="{FF8B6C80-43E2-43AF-A364-A31845F05C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5388" y="3656613"/>
            <a:ext cx="47160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Hydro</a:t>
            </a:r>
          </a:p>
        </p:txBody>
      </p:sp>
      <p:sp>
        <p:nvSpPr>
          <p:cNvPr id="23632" name="TextBox 132">
            <a:extLst>
              <a:ext uri="{FF2B5EF4-FFF2-40B4-BE49-F238E27FC236}">
                <a16:creationId xmlns:a16="http://schemas.microsoft.com/office/drawing/2014/main" id="{A1C640C1-61D1-4BA5-8A76-E684397E8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46689" y="3650683"/>
            <a:ext cx="46198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Millet</a:t>
            </a:r>
          </a:p>
        </p:txBody>
      </p:sp>
      <p:sp>
        <p:nvSpPr>
          <p:cNvPr id="23638" name="TextBox 141">
            <a:extLst>
              <a:ext uri="{FF2B5EF4-FFF2-40B4-BE49-F238E27FC236}">
                <a16:creationId xmlns:a16="http://schemas.microsoft.com/office/drawing/2014/main" id="{EE481231-8673-4FD7-B5CC-900AEE7A9F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8233" y="3652271"/>
            <a:ext cx="61587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dirty="0">
                <a:latin typeface="Calibri" panose="020F0502020204030204" pitchFamily="34" charset="0"/>
              </a:rPr>
              <a:t>Livestock</a:t>
            </a:r>
            <a:endParaRPr lang="en-GB" altLang="en-US" sz="900" dirty="0">
              <a:latin typeface="Calibri" panose="020F0502020204030204" pitchFamily="34" charset="0"/>
            </a:endParaRPr>
          </a:p>
        </p:txBody>
      </p:sp>
      <p:sp>
        <p:nvSpPr>
          <p:cNvPr id="23649" name="TextBox 165">
            <a:extLst>
              <a:ext uri="{FF2B5EF4-FFF2-40B4-BE49-F238E27FC236}">
                <a16:creationId xmlns:a16="http://schemas.microsoft.com/office/drawing/2014/main" id="{1242633E-9CB1-48ED-83F4-2223DFC7ED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81236" y="4459560"/>
            <a:ext cx="55335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Cement</a:t>
            </a:r>
          </a:p>
        </p:txBody>
      </p:sp>
      <p:sp>
        <p:nvSpPr>
          <p:cNvPr id="23650" name="TextBox 166">
            <a:extLst>
              <a:ext uri="{FF2B5EF4-FFF2-40B4-BE49-F238E27FC236}">
                <a16:creationId xmlns:a16="http://schemas.microsoft.com/office/drawing/2014/main" id="{6B51369B-8FA6-464A-B908-12B0FFE6B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51841" y="4458812"/>
            <a:ext cx="37061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Fish</a:t>
            </a:r>
          </a:p>
        </p:txBody>
      </p:sp>
      <p:sp>
        <p:nvSpPr>
          <p:cNvPr id="23651" name="TextBox 167">
            <a:extLst>
              <a:ext uri="{FF2B5EF4-FFF2-40B4-BE49-F238E27FC236}">
                <a16:creationId xmlns:a16="http://schemas.microsoft.com/office/drawing/2014/main" id="{4F9404E1-8339-401B-8B10-4C7D1A8CEC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96936" y="4457881"/>
            <a:ext cx="52450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Poultry</a:t>
            </a:r>
          </a:p>
        </p:txBody>
      </p:sp>
      <p:sp>
        <p:nvSpPr>
          <p:cNvPr id="23652" name="TextBox 168">
            <a:extLst>
              <a:ext uri="{FF2B5EF4-FFF2-40B4-BE49-F238E27FC236}">
                <a16:creationId xmlns:a16="http://schemas.microsoft.com/office/drawing/2014/main" id="{1C04917D-B2C3-4C21-8CC2-A45C349B4B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65456" y="4457133"/>
            <a:ext cx="66877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Sugarcane</a:t>
            </a:r>
          </a:p>
        </p:txBody>
      </p:sp>
      <p:sp>
        <p:nvSpPr>
          <p:cNvPr id="23653" name="TextBox 169">
            <a:extLst>
              <a:ext uri="{FF2B5EF4-FFF2-40B4-BE49-F238E27FC236}">
                <a16:creationId xmlns:a16="http://schemas.microsoft.com/office/drawing/2014/main" id="{4BADA327-4F2D-4897-B7C0-4647A1484B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3926" y="4457973"/>
            <a:ext cx="67358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Limestone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8A28B48-1841-45BB-BFBC-EADE77B37C6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779712" y="2589213"/>
          <a:ext cx="1482725" cy="812800"/>
        </p:xfrm>
        <a:graphic>
          <a:graphicData uri="http://schemas.openxmlformats.org/drawingml/2006/table">
            <a:tbl>
              <a:tblPr/>
              <a:tblGrid>
                <a:gridCol w="11367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9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32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GB" sz="1000" b="1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Domestic</a:t>
                      </a:r>
                      <a:r>
                        <a:rPr lang="en-GB" sz="10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US" sz="1000" b="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International 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Yes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Railway</a:t>
                      </a:r>
                      <a:r>
                        <a:rPr lang="en-GB" sz="1000" b="1" kern="1200" baseline="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 Station</a:t>
                      </a:r>
                      <a:endParaRPr lang="en-GB" sz="1000" b="1" kern="1200" dirty="0">
                        <a:solidFill>
                          <a:srgbClr val="292929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32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Sea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7" name="TextBox 136">
            <a:extLst>
              <a:ext uri="{FF2B5EF4-FFF2-40B4-BE49-F238E27FC236}">
                <a16:creationId xmlns:a16="http://schemas.microsoft.com/office/drawing/2014/main" id="{2F4C4876-7073-4C13-A183-127A8909BDC0}"/>
              </a:ext>
            </a:extLst>
          </p:cNvPr>
          <p:cNvSpPr txBox="1"/>
          <p:nvPr/>
        </p:nvSpPr>
        <p:spPr>
          <a:xfrm>
            <a:off x="538163" y="5268913"/>
            <a:ext cx="373856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For further details</a:t>
            </a:r>
          </a:p>
        </p:txBody>
      </p:sp>
      <p:sp>
        <p:nvSpPr>
          <p:cNvPr id="23676" name="TextBox 156">
            <a:extLst>
              <a:ext uri="{FF2B5EF4-FFF2-40B4-BE49-F238E27FC236}">
                <a16:creationId xmlns:a16="http://schemas.microsoft.com/office/drawing/2014/main" id="{95D66AAF-6B48-4B9E-9E5B-F1BB063A89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6300" y="6342063"/>
            <a:ext cx="37306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Abbreviations: </a:t>
            </a:r>
            <a:r>
              <a:rPr lang="en-GB" altLang="en-US" sz="800" b="1" dirty="0">
                <a:latin typeface="Calibri" panose="020F0502020204030204" pitchFamily="34" charset="0"/>
              </a:rPr>
              <a:t>	NICPS</a:t>
            </a:r>
            <a:r>
              <a:rPr lang="en-GB" altLang="en-US" sz="800" dirty="0">
                <a:latin typeface="Calibri" panose="020F0502020204030204" pitchFamily="34" charset="0"/>
              </a:rPr>
              <a:t>: Nigerian Investment Certification Programme for States                  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	</a:t>
            </a:r>
            <a:r>
              <a:rPr lang="en-GB" altLang="en-US" sz="800" b="1" dirty="0">
                <a:latin typeface="Calibri" panose="020F0502020204030204" pitchFamily="34" charset="0"/>
              </a:rPr>
              <a:t>IGR</a:t>
            </a:r>
            <a:r>
              <a:rPr lang="en-GB" altLang="en-US" sz="800" dirty="0">
                <a:latin typeface="Calibri" panose="020F0502020204030204" pitchFamily="34" charset="0"/>
              </a:rPr>
              <a:t>:     Internal Generated Revenue</a:t>
            </a:r>
          </a:p>
        </p:txBody>
      </p:sp>
      <p:sp>
        <p:nvSpPr>
          <p:cNvPr id="23678" name="TextBox 152">
            <a:extLst>
              <a:ext uri="{FF2B5EF4-FFF2-40B4-BE49-F238E27FC236}">
                <a16:creationId xmlns:a16="http://schemas.microsoft.com/office/drawing/2014/main" id="{BFAF6896-F732-45FC-AC47-950DF99D9E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4575" y="1146726"/>
            <a:ext cx="3446463" cy="16927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15888" indent="-11588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MY" sz="1300" dirty="0">
                <a:latin typeface="Calibri" panose="020F0502020204030204" pitchFamily="34" charset="0"/>
                <a:cs typeface="Calibri" pitchFamily="34" charset="0"/>
              </a:rPr>
              <a:t>Area around Rima river rich in grainy soil for constructi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MY" sz="1300" dirty="0">
                <a:latin typeface="Calibri" panose="020F0502020204030204" pitchFamily="34" charset="0"/>
                <a:cs typeface="Calibri" pitchFamily="34" charset="0"/>
              </a:rPr>
              <a:t>Largest limestone reserves in Afric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itchFamily="34" charset="0"/>
                <a:cs typeface="Calibri" pitchFamily="34" charset="0"/>
              </a:rPr>
              <a:t>Second only to </a:t>
            </a:r>
            <a:r>
              <a:rPr lang="en-US" sz="1300" dirty="0" err="1">
                <a:latin typeface="Calibri" pitchFamily="34" charset="0"/>
                <a:cs typeface="Calibri" pitchFamily="34" charset="0"/>
              </a:rPr>
              <a:t>Borno</a:t>
            </a:r>
            <a:r>
              <a:rPr lang="en-US" sz="1300" dirty="0">
                <a:latin typeface="Calibri" pitchFamily="34" charset="0"/>
                <a:cs typeface="Calibri" pitchFamily="34" charset="0"/>
              </a:rPr>
              <a:t> in livestock production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itchFamily="34" charset="0"/>
                <a:cs typeface="Calibri" pitchFamily="34" charset="0"/>
              </a:rPr>
              <a:t>Major onion producing state in sub Saharan Africa (1.06 million metric </a:t>
            </a:r>
            <a:r>
              <a:rPr lang="en-US" sz="1300" dirty="0" err="1">
                <a:latin typeface="Calibri" pitchFamily="34" charset="0"/>
                <a:cs typeface="Calibri" pitchFamily="34" charset="0"/>
              </a:rPr>
              <a:t>tonnes</a:t>
            </a:r>
            <a:r>
              <a:rPr lang="en-US" sz="1300" dirty="0">
                <a:latin typeface="Calibri" pitchFamily="34" charset="0"/>
                <a:cs typeface="Calibri" pitchFamily="34" charset="0"/>
              </a:rPr>
              <a:t> annually)</a:t>
            </a:r>
            <a:endParaRPr lang="en-MY" sz="1300" dirty="0">
              <a:latin typeface="Calibri" pitchFamily="34" charset="0"/>
              <a:cs typeface="Calibri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itchFamily="34" charset="0"/>
                <a:cs typeface="Calibri" pitchFamily="34" charset="0"/>
              </a:rPr>
              <a:t>Hydro and solar power generati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itchFamily="34" charset="0"/>
                <a:cs typeface="Calibri" pitchFamily="34" charset="0"/>
              </a:rPr>
              <a:t>Rich alluvium soil</a:t>
            </a:r>
            <a:endParaRPr lang="en-MY" sz="13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D4E23C6-26A0-4545-B8F7-7007C8EEBFE4}"/>
              </a:ext>
            </a:extLst>
          </p:cNvPr>
          <p:cNvSpPr txBox="1"/>
          <p:nvPr/>
        </p:nvSpPr>
        <p:spPr>
          <a:xfrm>
            <a:off x="4338638" y="5265738"/>
            <a:ext cx="247491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id you know?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132" name="Text Placeholder 42">
            <a:extLst>
              <a:ext uri="{FF2B5EF4-FFF2-40B4-BE49-F238E27FC236}">
                <a16:creationId xmlns:a16="http://schemas.microsoft.com/office/drawing/2014/main" id="{D510D0DC-1548-4249-8DB1-9A1055126D07}"/>
              </a:ext>
            </a:extLst>
          </p:cNvPr>
          <p:cNvSpPr txBox="1">
            <a:spLocks/>
          </p:cNvSpPr>
          <p:nvPr/>
        </p:nvSpPr>
        <p:spPr>
          <a:xfrm>
            <a:off x="522288" y="5511800"/>
            <a:ext cx="3733800" cy="701675"/>
          </a:xfrm>
          <a:prstGeom prst="rect">
            <a:avLst/>
          </a:prstGeom>
        </p:spPr>
        <p:txBody>
          <a:bodyPr lIns="36576" tIns="0" rIns="36576" bIns="0"/>
          <a:lstStyle>
            <a:lvl1pPr marL="0" indent="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/>
              <a:buNone/>
              <a:defRPr sz="800" b="1" baseline="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6575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93763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 charset="0"/>
              <a:buChar char="►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50950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619250" indent="-188913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0764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25336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29908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34480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NIGERIAN INVESTMENT PROMOTION COMMISSION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>
                <a:solidFill>
                  <a:schemeClr val="tx1"/>
                </a:solidFill>
                <a:hlinkClick r:id="rId7"/>
              </a:rPr>
              <a:t>statesco@nipc.gov.ng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endParaRPr lang="en-US" sz="5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SOKOTO STATE INVESTMENT COMPANY LTD</a:t>
            </a: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>
                <a:solidFill>
                  <a:schemeClr val="tx1"/>
                </a:solidFill>
                <a:hlinkClick r:id="rId8"/>
              </a:rPr>
              <a:t>tukuree@yahoo.com</a:t>
            </a:r>
            <a:r>
              <a:rPr lang="en-US" sz="1000" b="0" kern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44" name="Oval 143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238751" y="3833813"/>
            <a:ext cx="595313" cy="59067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8" name="Oval 147">
            <a:extLst>
              <a:ext uri="{FF2B5EF4-FFF2-40B4-BE49-F238E27FC236}">
                <a16:creationId xmlns:a16="http://schemas.microsoft.com/office/drawing/2014/main" id="{FF015425-7997-4612-9D0E-1F6C433DFCC7}"/>
              </a:ext>
            </a:extLst>
          </p:cNvPr>
          <p:cNvSpPr/>
          <p:nvPr/>
        </p:nvSpPr>
        <p:spPr>
          <a:xfrm>
            <a:off x="6080877" y="3040856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2" name="Oval 151">
            <a:extLst>
              <a:ext uri="{FF2B5EF4-FFF2-40B4-BE49-F238E27FC236}">
                <a16:creationId xmlns:a16="http://schemas.microsoft.com/office/drawing/2014/main" id="{4C0B7457-CABD-4AC8-8A1A-1FD468581E4D}"/>
              </a:ext>
            </a:extLst>
          </p:cNvPr>
          <p:cNvSpPr/>
          <p:nvPr/>
        </p:nvSpPr>
        <p:spPr>
          <a:xfrm>
            <a:off x="6784796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3" name="Oval 152">
            <a:extLst>
              <a:ext uri="{FF2B5EF4-FFF2-40B4-BE49-F238E27FC236}">
                <a16:creationId xmlns:a16="http://schemas.microsoft.com/office/drawing/2014/main" id="{2D626A89-F50C-45A3-9271-5D3F2EEA9C83}"/>
              </a:ext>
            </a:extLst>
          </p:cNvPr>
          <p:cNvSpPr/>
          <p:nvPr/>
        </p:nvSpPr>
        <p:spPr>
          <a:xfrm>
            <a:off x="7518399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4" name="Oval 153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240713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5" name="Oval 154">
            <a:extLst>
              <a:ext uri="{FF2B5EF4-FFF2-40B4-BE49-F238E27FC236}">
                <a16:creationId xmlns:a16="http://schemas.microsoft.com/office/drawing/2014/main" id="{4D1FAA17-3EFF-404B-B4C4-B468BCE2E9A5}"/>
              </a:ext>
            </a:extLst>
          </p:cNvPr>
          <p:cNvSpPr/>
          <p:nvPr/>
        </p:nvSpPr>
        <p:spPr>
          <a:xfrm>
            <a:off x="6078265" y="3836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6" name="Oval 155">
            <a:extLst>
              <a:ext uri="{FF2B5EF4-FFF2-40B4-BE49-F238E27FC236}">
                <a16:creationId xmlns:a16="http://schemas.microsoft.com/office/drawing/2014/main" id="{E861211D-5D09-4577-8A09-FD96D972A5D4}"/>
              </a:ext>
            </a:extLst>
          </p:cNvPr>
          <p:cNvSpPr/>
          <p:nvPr/>
        </p:nvSpPr>
        <p:spPr>
          <a:xfrm>
            <a:off x="6780509" y="3833831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7" name="Oval 156">
            <a:extLst>
              <a:ext uri="{FF2B5EF4-FFF2-40B4-BE49-F238E27FC236}">
                <a16:creationId xmlns:a16="http://schemas.microsoft.com/office/drawing/2014/main" id="{3CBEFD1C-6360-47CD-AEDD-DFB49FC0E0C7}"/>
              </a:ext>
            </a:extLst>
          </p:cNvPr>
          <p:cNvSpPr/>
          <p:nvPr/>
        </p:nvSpPr>
        <p:spPr>
          <a:xfrm>
            <a:off x="7518603" y="3830834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8" name="Oval 157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953126" y="3843338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9" name="Oval 158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955088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27" name="Picture 126"/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1090" y="3072737"/>
            <a:ext cx="524933" cy="489661"/>
          </a:xfrm>
          <a:prstGeom prst="rect">
            <a:avLst/>
          </a:prstGeom>
        </p:spPr>
      </p:pic>
      <p:pic>
        <p:nvPicPr>
          <p:cNvPr id="128" name="Picture 4"/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7791" y="3057130"/>
            <a:ext cx="476536" cy="516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9" name="Picture 128" descr="livestock.jpg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t="17215" r="72671" b="56268"/>
          <a:stretch>
            <a:fillRect/>
          </a:stretch>
        </p:blipFill>
        <p:spPr>
          <a:xfrm>
            <a:off x="6038511" y="3048061"/>
            <a:ext cx="750278" cy="524341"/>
          </a:xfrm>
          <a:prstGeom prst="rect">
            <a:avLst/>
          </a:prstGeom>
        </p:spPr>
      </p:pic>
      <p:pic>
        <p:nvPicPr>
          <p:cNvPr id="131" name="Picture 130"/>
          <p:cNvPicPr>
            <a:picLocks noChangeAspect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3981" y="3848282"/>
            <a:ext cx="534996" cy="561868"/>
          </a:xfrm>
          <a:prstGeom prst="rect">
            <a:avLst/>
          </a:prstGeom>
        </p:spPr>
      </p:pic>
      <p:pic>
        <p:nvPicPr>
          <p:cNvPr id="133" name="Picture 132" descr="Power.jpg"/>
          <p:cNvPicPr>
            <a:picLocks noChangeAspect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12320" t="35282" r="71508" b="46256"/>
          <a:stretch>
            <a:fillRect/>
          </a:stretch>
        </p:blipFill>
        <p:spPr>
          <a:xfrm>
            <a:off x="7579567" y="3138793"/>
            <a:ext cx="485975" cy="388780"/>
          </a:xfrm>
          <a:prstGeom prst="rect">
            <a:avLst/>
          </a:prstGeom>
        </p:spPr>
      </p:pic>
      <p:pic>
        <p:nvPicPr>
          <p:cNvPr id="138" name="Picture 137">
            <a:extLst>
              <a:ext uri="{FF2B5EF4-FFF2-40B4-BE49-F238E27FC236}">
                <a16:creationId xmlns:a16="http://schemas.microsoft.com/office/drawing/2014/main" id="{4B46F167-F671-4481-8707-DCA507B058A7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16" t="17956" b="25500"/>
          <a:stretch/>
        </p:blipFill>
        <p:spPr>
          <a:xfrm>
            <a:off x="6807377" y="3876308"/>
            <a:ext cx="563983" cy="503286"/>
          </a:xfrm>
          <a:prstGeom prst="rect">
            <a:avLst/>
          </a:prstGeom>
        </p:spPr>
      </p:pic>
      <p:pic>
        <p:nvPicPr>
          <p:cNvPr id="140" name="Picture 6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9504" y="3924726"/>
            <a:ext cx="487795" cy="3708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3" name="Picture 142" descr="Poultry.jpg"/>
          <p:cNvPicPr>
            <a:picLocks noChangeAspect="1"/>
          </p:cNvPicPr>
          <p:nvPr/>
        </p:nvPicPr>
        <p:blipFill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521184" y="3804952"/>
            <a:ext cx="556795" cy="619534"/>
          </a:xfrm>
          <a:prstGeom prst="rect">
            <a:avLst/>
          </a:prstGeom>
        </p:spPr>
      </p:pic>
      <p:pic>
        <p:nvPicPr>
          <p:cNvPr id="145" name="Picture 144"/>
          <p:cNvPicPr>
            <a:picLocks noChangeAspect="1"/>
          </p:cNvPicPr>
          <p:nvPr/>
        </p:nvPicPr>
        <p:blipFill>
          <a:blip r:embed="rId1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0645" y="3093758"/>
            <a:ext cx="447618" cy="447618"/>
          </a:xfrm>
          <a:prstGeom prst="rect">
            <a:avLst/>
          </a:prstGeom>
        </p:spPr>
      </p:pic>
      <p:pic>
        <p:nvPicPr>
          <p:cNvPr id="146" name="Picture 145"/>
          <p:cNvPicPr>
            <a:picLocks noChangeAspect="1"/>
          </p:cNvPicPr>
          <p:nvPr/>
        </p:nvPicPr>
        <p:blipFill>
          <a:blip r:embed="rId1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9735" y="3929268"/>
            <a:ext cx="313908" cy="432976"/>
          </a:xfrm>
          <a:prstGeom prst="rect">
            <a:avLst/>
          </a:prstGeom>
        </p:spPr>
      </p:pic>
      <p:sp>
        <p:nvSpPr>
          <p:cNvPr id="147" name="TextBox 146">
            <a:extLst>
              <a:ext uri="{FF2B5EF4-FFF2-40B4-BE49-F238E27FC236}">
                <a16:creationId xmlns:a16="http://schemas.microsoft.com/office/drawing/2014/main" id="{D0A41506-8873-4C2F-B45B-4459F0229CA3}"/>
              </a:ext>
            </a:extLst>
          </p:cNvPr>
          <p:cNvSpPr txBox="1"/>
          <p:nvPr/>
        </p:nvSpPr>
        <p:spPr>
          <a:xfrm>
            <a:off x="4374578" y="4541674"/>
            <a:ext cx="17988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te Investment Certification Process Not Started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276725" y="5428516"/>
            <a:ext cx="2601912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Sokoto was founded as a </a:t>
            </a:r>
            <a:r>
              <a:rPr lang="en-US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ribat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 (military camp or frontier) in 1809, when Shehu </a:t>
            </a:r>
            <a:r>
              <a:rPr lang="en-US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Usmanu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 was at </a:t>
            </a:r>
            <a:r>
              <a:rPr lang="en-US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Sifawa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4535250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Pentagon 19">
            <a:extLst>
              <a:ext uri="{FF2B5EF4-FFF2-40B4-BE49-F238E27FC236}">
                <a16:creationId xmlns:a16="http://schemas.microsoft.com/office/drawing/2014/main" id="{CAD93C59-72A9-4F6D-A654-02B9F8A5EFF9}"/>
              </a:ext>
            </a:extLst>
          </p:cNvPr>
          <p:cNvSpPr>
            <a:spLocks/>
          </p:cNvSpPr>
          <p:nvPr/>
        </p:nvSpPr>
        <p:spPr bwMode="auto">
          <a:xfrm>
            <a:off x="756602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0 of 37</a:t>
            </a:r>
          </a:p>
        </p:txBody>
      </p:sp>
      <p:sp>
        <p:nvSpPr>
          <p:cNvPr id="376" name="Pentagon 19">
            <a:extLst>
              <a:ext uri="{FF2B5EF4-FFF2-40B4-BE49-F238E27FC236}">
                <a16:creationId xmlns:a16="http://schemas.microsoft.com/office/drawing/2014/main" id="{1BDC5465-6022-4404-B4D8-ED55CF961B8A}"/>
              </a:ext>
            </a:extLst>
          </p:cNvPr>
          <p:cNvSpPr>
            <a:spLocks/>
          </p:cNvSpPr>
          <p:nvPr/>
        </p:nvSpPr>
        <p:spPr bwMode="auto">
          <a:xfrm>
            <a:off x="824865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0 of 3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57F1EBC-D01A-4083-B657-63AFB1490839}"/>
              </a:ext>
            </a:extLst>
          </p:cNvPr>
          <p:cNvSpPr txBox="1"/>
          <p:nvPr/>
        </p:nvSpPr>
        <p:spPr>
          <a:xfrm>
            <a:off x="6122988" y="2749550"/>
            <a:ext cx="3475037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nvestment Opportunit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D251BD-538A-4F4F-847E-620EEDA298A0}"/>
              </a:ext>
            </a:extLst>
          </p:cNvPr>
          <p:cNvSpPr txBox="1"/>
          <p:nvPr/>
        </p:nvSpPr>
        <p:spPr>
          <a:xfrm>
            <a:off x="6881813" y="4632911"/>
            <a:ext cx="2697162" cy="33855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oing Business Ranking(2018)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1B8F13C-F732-4DA1-9250-DB02936E7688}"/>
              </a:ext>
            </a:extLst>
          </p:cNvPr>
          <p:cNvSpPr/>
          <p:nvPr/>
        </p:nvSpPr>
        <p:spPr>
          <a:xfrm>
            <a:off x="756602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Registering Propert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6BA1818-32ED-44D1-975C-958200BDD124}"/>
              </a:ext>
            </a:extLst>
          </p:cNvPr>
          <p:cNvSpPr/>
          <p:nvPr/>
        </p:nvSpPr>
        <p:spPr>
          <a:xfrm>
            <a:off x="8248650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Dealing with Construction Permits</a:t>
            </a:r>
          </a:p>
        </p:txBody>
      </p:sp>
      <p:sp>
        <p:nvSpPr>
          <p:cNvPr id="23560" name="TextBox 174">
            <a:extLst>
              <a:ext uri="{FF2B5EF4-FFF2-40B4-BE49-F238E27FC236}">
                <a16:creationId xmlns:a16="http://schemas.microsoft.com/office/drawing/2014/main" id="{1573FD4E-62B9-45E8-8F28-CED990ED2D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0B63A6C-2A5E-4CA3-BC66-4CBC6008BC9A}"/>
              </a:ext>
            </a:extLst>
          </p:cNvPr>
          <p:cNvSpPr/>
          <p:nvPr/>
        </p:nvSpPr>
        <p:spPr>
          <a:xfrm>
            <a:off x="893127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Enforcing Contracts</a:t>
            </a:r>
          </a:p>
        </p:txBody>
      </p:sp>
      <p:pic>
        <p:nvPicPr>
          <p:cNvPr id="23562" name="Picture 4">
            <a:extLst>
              <a:ext uri="{FF2B5EF4-FFF2-40B4-BE49-F238E27FC236}">
                <a16:creationId xmlns:a16="http://schemas.microsoft.com/office/drawing/2014/main" id="{7C8EEAB2-0239-4BB5-94B3-23E319AF1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513" y="5249863"/>
            <a:ext cx="439737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6" name="Pentagon 19">
            <a:extLst>
              <a:ext uri="{FF2B5EF4-FFF2-40B4-BE49-F238E27FC236}">
                <a16:creationId xmlns:a16="http://schemas.microsoft.com/office/drawing/2014/main" id="{5F8E9670-D71A-4765-B6B5-D711BC9AD6E1}"/>
              </a:ext>
            </a:extLst>
          </p:cNvPr>
          <p:cNvSpPr>
            <a:spLocks/>
          </p:cNvSpPr>
          <p:nvPr/>
        </p:nvSpPr>
        <p:spPr bwMode="auto">
          <a:xfrm>
            <a:off x="893127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9</a:t>
            </a:r>
            <a:r>
              <a:rPr lang="en-GB" sz="1000" baseline="3000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of 37</a:t>
            </a:r>
          </a:p>
        </p:txBody>
      </p:sp>
      <p:sp>
        <p:nvSpPr>
          <p:cNvPr id="23564" name="Title 3">
            <a:extLst>
              <a:ext uri="{FF2B5EF4-FFF2-40B4-BE49-F238E27FC236}">
                <a16:creationId xmlns:a16="http://schemas.microsoft.com/office/drawing/2014/main" id="{C62A749B-CFC7-4224-A789-D20A772AC33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77813" y="222250"/>
            <a:ext cx="8543925" cy="5619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en-GB" altLang="en-US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raba</a:t>
            </a:r>
            <a:r>
              <a:rPr lang="en-GB" alt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State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6882DF2C-9120-4A66-8487-575D9494F4D6}"/>
              </a:ext>
            </a:extLst>
          </p:cNvPr>
          <p:cNvSpPr txBox="1"/>
          <p:nvPr/>
        </p:nvSpPr>
        <p:spPr>
          <a:xfrm rot="16200000">
            <a:off x="-2290084" y="3478372"/>
            <a:ext cx="5303837" cy="2743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Nature’s Gift to the Nation</a:t>
            </a:r>
          </a:p>
        </p:txBody>
      </p:sp>
      <p:grpSp>
        <p:nvGrpSpPr>
          <p:cNvPr id="23566" name="Group 9">
            <a:extLst>
              <a:ext uri="{FF2B5EF4-FFF2-40B4-BE49-F238E27FC236}">
                <a16:creationId xmlns:a16="http://schemas.microsoft.com/office/drawing/2014/main" id="{5B6131BD-3CE3-4FC4-B13A-FA9B797C1EF5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41338" y="963613"/>
            <a:ext cx="2897187" cy="2319337"/>
            <a:chOff x="770228" y="1459989"/>
            <a:chExt cx="4081047" cy="3267527"/>
          </a:xfrm>
        </p:grpSpPr>
        <p:sp>
          <p:nvSpPr>
            <p:cNvPr id="299" name="Freeform 4">
              <a:extLst>
                <a:ext uri="{FF2B5EF4-FFF2-40B4-BE49-F238E27FC236}">
                  <a16:creationId xmlns:a16="http://schemas.microsoft.com/office/drawing/2014/main" id="{B6150C82-CBE5-48B4-B60C-C210BB7B26A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91538" y="4349548"/>
              <a:ext cx="418167" cy="377968"/>
            </a:xfrm>
            <a:custGeom>
              <a:avLst/>
              <a:gdLst>
                <a:gd name="T0" fmla="*/ 12 w 786"/>
                <a:gd name="T1" fmla="*/ 19 h 714"/>
                <a:gd name="T2" fmla="*/ 22 w 786"/>
                <a:gd name="T3" fmla="*/ 18 h 714"/>
                <a:gd name="T4" fmla="*/ 27 w 786"/>
                <a:gd name="T5" fmla="*/ 17 h 714"/>
                <a:gd name="T6" fmla="*/ 30 w 786"/>
                <a:gd name="T7" fmla="*/ 14 h 714"/>
                <a:gd name="T8" fmla="*/ 37 w 786"/>
                <a:gd name="T9" fmla="*/ 16 h 714"/>
                <a:gd name="T10" fmla="*/ 43 w 786"/>
                <a:gd name="T11" fmla="*/ 13 h 714"/>
                <a:gd name="T12" fmla="*/ 48 w 786"/>
                <a:gd name="T13" fmla="*/ 8 h 714"/>
                <a:gd name="T14" fmla="*/ 55 w 786"/>
                <a:gd name="T15" fmla="*/ 4 h 714"/>
                <a:gd name="T16" fmla="*/ 66 w 786"/>
                <a:gd name="T17" fmla="*/ 0 h 714"/>
                <a:gd name="T18" fmla="*/ 63 w 786"/>
                <a:gd name="T19" fmla="*/ 12 h 714"/>
                <a:gd name="T20" fmla="*/ 59 w 786"/>
                <a:gd name="T21" fmla="*/ 19 h 714"/>
                <a:gd name="T22" fmla="*/ 57 w 786"/>
                <a:gd name="T23" fmla="*/ 29 h 714"/>
                <a:gd name="T24" fmla="*/ 59 w 786"/>
                <a:gd name="T25" fmla="*/ 36 h 714"/>
                <a:gd name="T26" fmla="*/ 66 w 786"/>
                <a:gd name="T27" fmla="*/ 35 h 714"/>
                <a:gd name="T28" fmla="*/ 64 w 786"/>
                <a:gd name="T29" fmla="*/ 41 h 714"/>
                <a:gd name="T30" fmla="*/ 64 w 786"/>
                <a:gd name="T31" fmla="*/ 48 h 714"/>
                <a:gd name="T32" fmla="*/ 63 w 786"/>
                <a:gd name="T33" fmla="*/ 56 h 714"/>
                <a:gd name="T34" fmla="*/ 60 w 786"/>
                <a:gd name="T35" fmla="*/ 60 h 714"/>
                <a:gd name="T36" fmla="*/ 57 w 786"/>
                <a:gd name="T37" fmla="*/ 58 h 714"/>
                <a:gd name="T38" fmla="*/ 54 w 786"/>
                <a:gd name="T39" fmla="*/ 54 h 714"/>
                <a:gd name="T40" fmla="*/ 53 w 786"/>
                <a:gd name="T41" fmla="*/ 51 h 714"/>
                <a:gd name="T42" fmla="*/ 51 w 786"/>
                <a:gd name="T43" fmla="*/ 53 h 714"/>
                <a:gd name="T44" fmla="*/ 49 w 786"/>
                <a:gd name="T45" fmla="*/ 54 h 714"/>
                <a:gd name="T46" fmla="*/ 47 w 786"/>
                <a:gd name="T47" fmla="*/ 50 h 714"/>
                <a:gd name="T48" fmla="*/ 48 w 786"/>
                <a:gd name="T49" fmla="*/ 54 h 714"/>
                <a:gd name="T50" fmla="*/ 47 w 786"/>
                <a:gd name="T51" fmla="*/ 54 h 714"/>
                <a:gd name="T52" fmla="*/ 46 w 786"/>
                <a:gd name="T53" fmla="*/ 59 h 714"/>
                <a:gd name="T54" fmla="*/ 47 w 786"/>
                <a:gd name="T55" fmla="*/ 62 h 714"/>
                <a:gd name="T56" fmla="*/ 42 w 786"/>
                <a:gd name="T57" fmla="*/ 62 h 714"/>
                <a:gd name="T58" fmla="*/ 39 w 786"/>
                <a:gd name="T59" fmla="*/ 57 h 714"/>
                <a:gd name="T60" fmla="*/ 40 w 786"/>
                <a:gd name="T61" fmla="*/ 54 h 714"/>
                <a:gd name="T62" fmla="*/ 43 w 786"/>
                <a:gd name="T63" fmla="*/ 55 h 714"/>
                <a:gd name="T64" fmla="*/ 40 w 786"/>
                <a:gd name="T65" fmla="*/ 53 h 714"/>
                <a:gd name="T66" fmla="*/ 38 w 786"/>
                <a:gd name="T67" fmla="*/ 57 h 714"/>
                <a:gd name="T68" fmla="*/ 37 w 786"/>
                <a:gd name="T69" fmla="*/ 57 h 714"/>
                <a:gd name="T70" fmla="*/ 37 w 786"/>
                <a:gd name="T71" fmla="*/ 60 h 714"/>
                <a:gd name="T72" fmla="*/ 33 w 786"/>
                <a:gd name="T73" fmla="*/ 56 h 714"/>
                <a:gd name="T74" fmla="*/ 32 w 786"/>
                <a:gd name="T75" fmla="*/ 58 h 714"/>
                <a:gd name="T76" fmla="*/ 26 w 786"/>
                <a:gd name="T77" fmla="*/ 54 h 714"/>
                <a:gd name="T78" fmla="*/ 26 w 786"/>
                <a:gd name="T79" fmla="*/ 54 h 714"/>
                <a:gd name="T80" fmla="*/ 24 w 786"/>
                <a:gd name="T81" fmla="*/ 51 h 714"/>
                <a:gd name="T82" fmla="*/ 22 w 786"/>
                <a:gd name="T83" fmla="*/ 51 h 714"/>
                <a:gd name="T84" fmla="*/ 20 w 786"/>
                <a:gd name="T85" fmla="*/ 50 h 714"/>
                <a:gd name="T86" fmla="*/ 20 w 786"/>
                <a:gd name="T87" fmla="*/ 48 h 714"/>
                <a:gd name="T88" fmla="*/ 18 w 786"/>
                <a:gd name="T89" fmla="*/ 47 h 714"/>
                <a:gd name="T90" fmla="*/ 15 w 786"/>
                <a:gd name="T91" fmla="*/ 45 h 714"/>
                <a:gd name="T92" fmla="*/ 11 w 786"/>
                <a:gd name="T93" fmla="*/ 39 h 714"/>
                <a:gd name="T94" fmla="*/ 12 w 786"/>
                <a:gd name="T95" fmla="*/ 36 h 714"/>
                <a:gd name="T96" fmla="*/ 7 w 786"/>
                <a:gd name="T97" fmla="*/ 33 h 714"/>
                <a:gd name="T98" fmla="*/ 5 w 786"/>
                <a:gd name="T99" fmla="*/ 28 h 714"/>
                <a:gd name="T100" fmla="*/ 7 w 786"/>
                <a:gd name="T101" fmla="*/ 30 h 714"/>
                <a:gd name="T102" fmla="*/ 4 w 786"/>
                <a:gd name="T103" fmla="*/ 24 h 714"/>
                <a:gd name="T104" fmla="*/ 2 w 786"/>
                <a:gd name="T105" fmla="*/ 20 h 714"/>
                <a:gd name="T106" fmla="*/ 0 w 786"/>
                <a:gd name="T107" fmla="*/ 15 h 714"/>
                <a:gd name="T108" fmla="*/ 4 w 786"/>
                <a:gd name="T109" fmla="*/ 16 h 714"/>
                <a:gd name="T110" fmla="*/ 55 w 786"/>
                <a:gd name="T111" fmla="*/ 60 h 714"/>
                <a:gd name="T112" fmla="*/ 47 w 786"/>
                <a:gd name="T113" fmla="*/ 60 h 714"/>
                <a:gd name="T114" fmla="*/ 51 w 786"/>
                <a:gd name="T115" fmla="*/ 54 h 714"/>
                <a:gd name="T116" fmla="*/ 54 w 786"/>
                <a:gd name="T117" fmla="*/ 56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86"/>
                <a:gd name="T178" fmla="*/ 0 h 714"/>
                <a:gd name="T179" fmla="*/ 786 w 786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86" h="714">
                  <a:moveTo>
                    <a:pt x="54" y="186"/>
                  </a:moveTo>
                  <a:lnTo>
                    <a:pt x="54" y="192"/>
                  </a:lnTo>
                  <a:lnTo>
                    <a:pt x="72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204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20" y="210"/>
                  </a:lnTo>
                  <a:lnTo>
                    <a:pt x="126" y="210"/>
                  </a:lnTo>
                  <a:lnTo>
                    <a:pt x="132" y="210"/>
                  </a:lnTo>
                  <a:lnTo>
                    <a:pt x="132" y="216"/>
                  </a:lnTo>
                  <a:lnTo>
                    <a:pt x="138" y="222"/>
                  </a:lnTo>
                  <a:lnTo>
                    <a:pt x="150" y="222"/>
                  </a:lnTo>
                  <a:lnTo>
                    <a:pt x="162" y="234"/>
                  </a:lnTo>
                  <a:lnTo>
                    <a:pt x="168" y="240"/>
                  </a:lnTo>
                  <a:lnTo>
                    <a:pt x="180" y="240"/>
                  </a:lnTo>
                  <a:lnTo>
                    <a:pt x="186" y="228"/>
                  </a:lnTo>
                  <a:lnTo>
                    <a:pt x="210" y="234"/>
                  </a:lnTo>
                  <a:lnTo>
                    <a:pt x="222" y="228"/>
                  </a:lnTo>
                  <a:lnTo>
                    <a:pt x="228" y="216"/>
                  </a:lnTo>
                  <a:lnTo>
                    <a:pt x="234" y="210"/>
                  </a:lnTo>
                  <a:lnTo>
                    <a:pt x="240" y="216"/>
                  </a:lnTo>
                  <a:lnTo>
                    <a:pt x="246" y="210"/>
                  </a:lnTo>
                  <a:lnTo>
                    <a:pt x="252" y="210"/>
                  </a:lnTo>
                  <a:lnTo>
                    <a:pt x="258" y="210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192"/>
                  </a:lnTo>
                  <a:lnTo>
                    <a:pt x="270" y="192"/>
                  </a:lnTo>
                  <a:lnTo>
                    <a:pt x="276" y="192"/>
                  </a:lnTo>
                  <a:lnTo>
                    <a:pt x="282" y="192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192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198"/>
                  </a:lnTo>
                  <a:lnTo>
                    <a:pt x="312" y="198"/>
                  </a:lnTo>
                  <a:lnTo>
                    <a:pt x="312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24" y="186"/>
                  </a:lnTo>
                  <a:lnTo>
                    <a:pt x="318" y="180"/>
                  </a:lnTo>
                  <a:lnTo>
                    <a:pt x="324" y="180"/>
                  </a:lnTo>
                  <a:lnTo>
                    <a:pt x="330" y="186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74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54" y="144"/>
                  </a:lnTo>
                  <a:lnTo>
                    <a:pt x="360" y="144"/>
                  </a:lnTo>
                  <a:lnTo>
                    <a:pt x="372" y="156"/>
                  </a:lnTo>
                  <a:lnTo>
                    <a:pt x="372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96" y="168"/>
                  </a:lnTo>
                  <a:lnTo>
                    <a:pt x="396" y="174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26" y="186"/>
                  </a:lnTo>
                  <a:lnTo>
                    <a:pt x="432" y="186"/>
                  </a:lnTo>
                  <a:lnTo>
                    <a:pt x="438" y="180"/>
                  </a:lnTo>
                  <a:lnTo>
                    <a:pt x="438" y="168"/>
                  </a:lnTo>
                  <a:lnTo>
                    <a:pt x="438" y="162"/>
                  </a:lnTo>
                  <a:lnTo>
                    <a:pt x="444" y="156"/>
                  </a:lnTo>
                  <a:lnTo>
                    <a:pt x="450" y="156"/>
                  </a:lnTo>
                  <a:lnTo>
                    <a:pt x="456" y="150"/>
                  </a:lnTo>
                  <a:lnTo>
                    <a:pt x="462" y="156"/>
                  </a:lnTo>
                  <a:lnTo>
                    <a:pt x="468" y="162"/>
                  </a:lnTo>
                  <a:lnTo>
                    <a:pt x="474" y="162"/>
                  </a:lnTo>
                  <a:lnTo>
                    <a:pt x="486" y="162"/>
                  </a:lnTo>
                  <a:lnTo>
                    <a:pt x="492" y="156"/>
                  </a:lnTo>
                  <a:lnTo>
                    <a:pt x="498" y="150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28" y="126"/>
                  </a:lnTo>
                  <a:lnTo>
                    <a:pt x="522" y="120"/>
                  </a:lnTo>
                  <a:lnTo>
                    <a:pt x="522" y="114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28" y="102"/>
                  </a:lnTo>
                  <a:lnTo>
                    <a:pt x="534" y="96"/>
                  </a:lnTo>
                  <a:lnTo>
                    <a:pt x="552" y="96"/>
                  </a:lnTo>
                  <a:lnTo>
                    <a:pt x="570" y="102"/>
                  </a:lnTo>
                  <a:lnTo>
                    <a:pt x="582" y="96"/>
                  </a:lnTo>
                  <a:lnTo>
                    <a:pt x="582" y="90"/>
                  </a:lnTo>
                  <a:lnTo>
                    <a:pt x="582" y="78"/>
                  </a:lnTo>
                  <a:lnTo>
                    <a:pt x="582" y="72"/>
                  </a:lnTo>
                  <a:lnTo>
                    <a:pt x="582" y="66"/>
                  </a:lnTo>
                  <a:lnTo>
                    <a:pt x="594" y="60"/>
                  </a:lnTo>
                  <a:lnTo>
                    <a:pt x="600" y="60"/>
                  </a:lnTo>
                  <a:lnTo>
                    <a:pt x="606" y="54"/>
                  </a:lnTo>
                  <a:lnTo>
                    <a:pt x="618" y="48"/>
                  </a:lnTo>
                  <a:lnTo>
                    <a:pt x="618" y="42"/>
                  </a:lnTo>
                  <a:lnTo>
                    <a:pt x="624" y="42"/>
                  </a:lnTo>
                  <a:lnTo>
                    <a:pt x="636" y="48"/>
                  </a:lnTo>
                  <a:lnTo>
                    <a:pt x="648" y="54"/>
                  </a:lnTo>
                  <a:lnTo>
                    <a:pt x="660" y="54"/>
                  </a:lnTo>
                  <a:lnTo>
                    <a:pt x="666" y="60"/>
                  </a:lnTo>
                  <a:lnTo>
                    <a:pt x="672" y="54"/>
                  </a:lnTo>
                  <a:lnTo>
                    <a:pt x="684" y="48"/>
                  </a:lnTo>
                  <a:lnTo>
                    <a:pt x="708" y="42"/>
                  </a:lnTo>
                  <a:lnTo>
                    <a:pt x="714" y="42"/>
                  </a:lnTo>
                  <a:lnTo>
                    <a:pt x="720" y="36"/>
                  </a:lnTo>
                  <a:lnTo>
                    <a:pt x="720" y="30"/>
                  </a:lnTo>
                  <a:lnTo>
                    <a:pt x="714" y="12"/>
                  </a:lnTo>
                  <a:lnTo>
                    <a:pt x="708" y="0"/>
                  </a:lnTo>
                  <a:lnTo>
                    <a:pt x="738" y="6"/>
                  </a:lnTo>
                  <a:lnTo>
                    <a:pt x="756" y="6"/>
                  </a:lnTo>
                  <a:lnTo>
                    <a:pt x="762" y="42"/>
                  </a:lnTo>
                  <a:lnTo>
                    <a:pt x="738" y="72"/>
                  </a:lnTo>
                  <a:lnTo>
                    <a:pt x="750" y="90"/>
                  </a:lnTo>
                  <a:lnTo>
                    <a:pt x="762" y="96"/>
                  </a:lnTo>
                  <a:lnTo>
                    <a:pt x="756" y="102"/>
                  </a:lnTo>
                  <a:lnTo>
                    <a:pt x="750" y="108"/>
                  </a:lnTo>
                  <a:lnTo>
                    <a:pt x="750" y="114"/>
                  </a:lnTo>
                  <a:lnTo>
                    <a:pt x="750" y="120"/>
                  </a:lnTo>
                  <a:lnTo>
                    <a:pt x="750" y="126"/>
                  </a:lnTo>
                  <a:lnTo>
                    <a:pt x="750" y="132"/>
                  </a:lnTo>
                  <a:lnTo>
                    <a:pt x="738" y="132"/>
                  </a:lnTo>
                  <a:lnTo>
                    <a:pt x="732" y="138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14" y="144"/>
                  </a:lnTo>
                  <a:lnTo>
                    <a:pt x="714" y="150"/>
                  </a:lnTo>
                  <a:lnTo>
                    <a:pt x="720" y="156"/>
                  </a:lnTo>
                  <a:lnTo>
                    <a:pt x="720" y="162"/>
                  </a:lnTo>
                  <a:lnTo>
                    <a:pt x="714" y="162"/>
                  </a:lnTo>
                  <a:lnTo>
                    <a:pt x="708" y="168"/>
                  </a:lnTo>
                  <a:lnTo>
                    <a:pt x="708" y="180"/>
                  </a:lnTo>
                  <a:lnTo>
                    <a:pt x="708" y="192"/>
                  </a:lnTo>
                  <a:lnTo>
                    <a:pt x="696" y="198"/>
                  </a:lnTo>
                  <a:lnTo>
                    <a:pt x="696" y="204"/>
                  </a:lnTo>
                  <a:lnTo>
                    <a:pt x="684" y="210"/>
                  </a:lnTo>
                  <a:lnTo>
                    <a:pt x="684" y="216"/>
                  </a:lnTo>
                  <a:lnTo>
                    <a:pt x="684" y="222"/>
                  </a:lnTo>
                  <a:lnTo>
                    <a:pt x="678" y="228"/>
                  </a:lnTo>
                  <a:lnTo>
                    <a:pt x="678" y="234"/>
                  </a:lnTo>
                  <a:lnTo>
                    <a:pt x="672" y="240"/>
                  </a:lnTo>
                  <a:lnTo>
                    <a:pt x="672" y="252"/>
                  </a:lnTo>
                  <a:lnTo>
                    <a:pt x="672" y="258"/>
                  </a:lnTo>
                  <a:lnTo>
                    <a:pt x="666" y="264"/>
                  </a:lnTo>
                  <a:lnTo>
                    <a:pt x="678" y="264"/>
                  </a:lnTo>
                  <a:lnTo>
                    <a:pt x="684" y="276"/>
                  </a:lnTo>
                  <a:lnTo>
                    <a:pt x="684" y="288"/>
                  </a:lnTo>
                  <a:lnTo>
                    <a:pt x="672" y="300"/>
                  </a:lnTo>
                  <a:lnTo>
                    <a:pt x="660" y="318"/>
                  </a:lnTo>
                  <a:lnTo>
                    <a:pt x="660" y="336"/>
                  </a:lnTo>
                  <a:lnTo>
                    <a:pt x="654" y="342"/>
                  </a:lnTo>
                  <a:lnTo>
                    <a:pt x="660" y="354"/>
                  </a:lnTo>
                  <a:lnTo>
                    <a:pt x="660" y="366"/>
                  </a:lnTo>
                  <a:lnTo>
                    <a:pt x="666" y="378"/>
                  </a:lnTo>
                  <a:lnTo>
                    <a:pt x="672" y="390"/>
                  </a:lnTo>
                  <a:lnTo>
                    <a:pt x="678" y="396"/>
                  </a:lnTo>
                  <a:lnTo>
                    <a:pt x="684" y="390"/>
                  </a:lnTo>
                  <a:lnTo>
                    <a:pt x="690" y="390"/>
                  </a:lnTo>
                  <a:lnTo>
                    <a:pt x="690" y="396"/>
                  </a:lnTo>
                  <a:lnTo>
                    <a:pt x="684" y="396"/>
                  </a:lnTo>
                  <a:lnTo>
                    <a:pt x="684" y="402"/>
                  </a:lnTo>
                  <a:lnTo>
                    <a:pt x="684" y="408"/>
                  </a:lnTo>
                  <a:lnTo>
                    <a:pt x="678" y="414"/>
                  </a:lnTo>
                  <a:lnTo>
                    <a:pt x="684" y="414"/>
                  </a:lnTo>
                  <a:lnTo>
                    <a:pt x="684" y="420"/>
                  </a:lnTo>
                  <a:lnTo>
                    <a:pt x="684" y="426"/>
                  </a:lnTo>
                  <a:lnTo>
                    <a:pt x="690" y="420"/>
                  </a:lnTo>
                  <a:lnTo>
                    <a:pt x="696" y="420"/>
                  </a:lnTo>
                  <a:lnTo>
                    <a:pt x="696" y="426"/>
                  </a:lnTo>
                  <a:lnTo>
                    <a:pt x="690" y="426"/>
                  </a:lnTo>
                  <a:lnTo>
                    <a:pt x="696" y="426"/>
                  </a:lnTo>
                  <a:lnTo>
                    <a:pt x="708" y="426"/>
                  </a:lnTo>
                  <a:lnTo>
                    <a:pt x="726" y="414"/>
                  </a:lnTo>
                  <a:lnTo>
                    <a:pt x="732" y="408"/>
                  </a:lnTo>
                  <a:lnTo>
                    <a:pt x="744" y="402"/>
                  </a:lnTo>
                  <a:lnTo>
                    <a:pt x="756" y="402"/>
                  </a:lnTo>
                  <a:lnTo>
                    <a:pt x="768" y="402"/>
                  </a:lnTo>
                  <a:lnTo>
                    <a:pt x="786" y="408"/>
                  </a:lnTo>
                  <a:lnTo>
                    <a:pt x="786" y="414"/>
                  </a:lnTo>
                  <a:lnTo>
                    <a:pt x="774" y="420"/>
                  </a:lnTo>
                  <a:lnTo>
                    <a:pt x="774" y="426"/>
                  </a:lnTo>
                  <a:lnTo>
                    <a:pt x="768" y="432"/>
                  </a:lnTo>
                  <a:lnTo>
                    <a:pt x="762" y="438"/>
                  </a:lnTo>
                  <a:lnTo>
                    <a:pt x="756" y="438"/>
                  </a:lnTo>
                  <a:lnTo>
                    <a:pt x="756" y="444"/>
                  </a:lnTo>
                  <a:lnTo>
                    <a:pt x="756" y="450"/>
                  </a:lnTo>
                  <a:lnTo>
                    <a:pt x="762" y="450"/>
                  </a:lnTo>
                  <a:lnTo>
                    <a:pt x="750" y="456"/>
                  </a:lnTo>
                  <a:lnTo>
                    <a:pt x="738" y="468"/>
                  </a:lnTo>
                  <a:lnTo>
                    <a:pt x="726" y="480"/>
                  </a:lnTo>
                  <a:lnTo>
                    <a:pt x="726" y="486"/>
                  </a:lnTo>
                  <a:lnTo>
                    <a:pt x="732" y="486"/>
                  </a:lnTo>
                  <a:lnTo>
                    <a:pt x="732" y="492"/>
                  </a:lnTo>
                  <a:lnTo>
                    <a:pt x="732" y="504"/>
                  </a:lnTo>
                  <a:lnTo>
                    <a:pt x="738" y="504"/>
                  </a:lnTo>
                  <a:lnTo>
                    <a:pt x="744" y="510"/>
                  </a:lnTo>
                  <a:lnTo>
                    <a:pt x="738" y="522"/>
                  </a:lnTo>
                  <a:lnTo>
                    <a:pt x="744" y="528"/>
                  </a:lnTo>
                  <a:lnTo>
                    <a:pt x="756" y="534"/>
                  </a:lnTo>
                  <a:lnTo>
                    <a:pt x="756" y="540"/>
                  </a:lnTo>
                  <a:lnTo>
                    <a:pt x="744" y="552"/>
                  </a:lnTo>
                  <a:lnTo>
                    <a:pt x="738" y="552"/>
                  </a:lnTo>
                  <a:lnTo>
                    <a:pt x="738" y="558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64"/>
                  </a:lnTo>
                  <a:lnTo>
                    <a:pt x="744" y="576"/>
                  </a:lnTo>
                  <a:lnTo>
                    <a:pt x="738" y="588"/>
                  </a:lnTo>
                  <a:lnTo>
                    <a:pt x="738" y="594"/>
                  </a:lnTo>
                  <a:lnTo>
                    <a:pt x="738" y="600"/>
                  </a:lnTo>
                  <a:lnTo>
                    <a:pt x="738" y="606"/>
                  </a:lnTo>
                  <a:lnTo>
                    <a:pt x="732" y="612"/>
                  </a:lnTo>
                  <a:lnTo>
                    <a:pt x="726" y="624"/>
                  </a:lnTo>
                  <a:lnTo>
                    <a:pt x="726" y="636"/>
                  </a:lnTo>
                  <a:lnTo>
                    <a:pt x="726" y="648"/>
                  </a:lnTo>
                  <a:lnTo>
                    <a:pt x="738" y="654"/>
                  </a:lnTo>
                  <a:lnTo>
                    <a:pt x="750" y="660"/>
                  </a:lnTo>
                  <a:lnTo>
                    <a:pt x="750" y="666"/>
                  </a:lnTo>
                  <a:lnTo>
                    <a:pt x="750" y="678"/>
                  </a:lnTo>
                  <a:lnTo>
                    <a:pt x="744" y="678"/>
                  </a:lnTo>
                  <a:lnTo>
                    <a:pt x="738" y="684"/>
                  </a:lnTo>
                  <a:lnTo>
                    <a:pt x="732" y="684"/>
                  </a:lnTo>
                  <a:lnTo>
                    <a:pt x="720" y="678"/>
                  </a:lnTo>
                  <a:lnTo>
                    <a:pt x="714" y="684"/>
                  </a:lnTo>
                  <a:lnTo>
                    <a:pt x="708" y="684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0" y="690"/>
                  </a:lnTo>
                  <a:lnTo>
                    <a:pt x="690" y="684"/>
                  </a:lnTo>
                  <a:lnTo>
                    <a:pt x="690" y="690"/>
                  </a:lnTo>
                  <a:lnTo>
                    <a:pt x="684" y="690"/>
                  </a:lnTo>
                  <a:lnTo>
                    <a:pt x="684" y="684"/>
                  </a:lnTo>
                  <a:lnTo>
                    <a:pt x="678" y="684"/>
                  </a:lnTo>
                  <a:lnTo>
                    <a:pt x="672" y="678"/>
                  </a:lnTo>
                  <a:lnTo>
                    <a:pt x="672" y="672"/>
                  </a:lnTo>
                  <a:lnTo>
                    <a:pt x="678" y="672"/>
                  </a:lnTo>
                  <a:lnTo>
                    <a:pt x="672" y="672"/>
                  </a:lnTo>
                  <a:lnTo>
                    <a:pt x="666" y="672"/>
                  </a:lnTo>
                  <a:lnTo>
                    <a:pt x="660" y="672"/>
                  </a:lnTo>
                  <a:lnTo>
                    <a:pt x="654" y="672"/>
                  </a:lnTo>
                  <a:lnTo>
                    <a:pt x="654" y="666"/>
                  </a:lnTo>
                  <a:lnTo>
                    <a:pt x="648" y="666"/>
                  </a:lnTo>
                  <a:lnTo>
                    <a:pt x="642" y="660"/>
                  </a:lnTo>
                  <a:lnTo>
                    <a:pt x="642" y="654"/>
                  </a:lnTo>
                  <a:lnTo>
                    <a:pt x="642" y="648"/>
                  </a:lnTo>
                  <a:lnTo>
                    <a:pt x="636" y="648"/>
                  </a:lnTo>
                  <a:lnTo>
                    <a:pt x="630" y="648"/>
                  </a:lnTo>
                  <a:lnTo>
                    <a:pt x="624" y="648"/>
                  </a:lnTo>
                  <a:lnTo>
                    <a:pt x="624" y="642"/>
                  </a:lnTo>
                  <a:lnTo>
                    <a:pt x="618" y="636"/>
                  </a:lnTo>
                  <a:lnTo>
                    <a:pt x="624" y="636"/>
                  </a:lnTo>
                  <a:lnTo>
                    <a:pt x="624" y="630"/>
                  </a:lnTo>
                  <a:lnTo>
                    <a:pt x="618" y="630"/>
                  </a:lnTo>
                  <a:lnTo>
                    <a:pt x="618" y="624"/>
                  </a:lnTo>
                  <a:lnTo>
                    <a:pt x="618" y="618"/>
                  </a:lnTo>
                  <a:lnTo>
                    <a:pt x="618" y="612"/>
                  </a:lnTo>
                  <a:lnTo>
                    <a:pt x="618" y="606"/>
                  </a:lnTo>
                  <a:lnTo>
                    <a:pt x="624" y="606"/>
                  </a:lnTo>
                  <a:lnTo>
                    <a:pt x="624" y="600"/>
                  </a:lnTo>
                  <a:lnTo>
                    <a:pt x="618" y="600"/>
                  </a:lnTo>
                  <a:lnTo>
                    <a:pt x="618" y="594"/>
                  </a:lnTo>
                  <a:lnTo>
                    <a:pt x="618" y="588"/>
                  </a:lnTo>
                  <a:lnTo>
                    <a:pt x="618" y="582"/>
                  </a:lnTo>
                  <a:lnTo>
                    <a:pt x="612" y="582"/>
                  </a:lnTo>
                  <a:lnTo>
                    <a:pt x="606" y="582"/>
                  </a:lnTo>
                  <a:lnTo>
                    <a:pt x="612" y="582"/>
                  </a:lnTo>
                  <a:lnTo>
                    <a:pt x="612" y="588"/>
                  </a:lnTo>
                  <a:lnTo>
                    <a:pt x="612" y="594"/>
                  </a:lnTo>
                  <a:lnTo>
                    <a:pt x="618" y="594"/>
                  </a:lnTo>
                  <a:lnTo>
                    <a:pt x="618" y="600"/>
                  </a:lnTo>
                  <a:lnTo>
                    <a:pt x="618" y="606"/>
                  </a:lnTo>
                  <a:lnTo>
                    <a:pt x="618" y="612"/>
                  </a:lnTo>
                  <a:lnTo>
                    <a:pt x="612" y="612"/>
                  </a:lnTo>
                  <a:lnTo>
                    <a:pt x="612" y="618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94" y="612"/>
                  </a:lnTo>
                  <a:lnTo>
                    <a:pt x="588" y="606"/>
                  </a:lnTo>
                  <a:lnTo>
                    <a:pt x="588" y="612"/>
                  </a:lnTo>
                  <a:lnTo>
                    <a:pt x="594" y="612"/>
                  </a:lnTo>
                  <a:lnTo>
                    <a:pt x="594" y="618"/>
                  </a:lnTo>
                  <a:lnTo>
                    <a:pt x="588" y="618"/>
                  </a:lnTo>
                  <a:lnTo>
                    <a:pt x="588" y="624"/>
                  </a:lnTo>
                  <a:lnTo>
                    <a:pt x="582" y="624"/>
                  </a:lnTo>
                  <a:lnTo>
                    <a:pt x="582" y="630"/>
                  </a:lnTo>
                  <a:lnTo>
                    <a:pt x="576" y="630"/>
                  </a:lnTo>
                  <a:lnTo>
                    <a:pt x="576" y="636"/>
                  </a:lnTo>
                  <a:lnTo>
                    <a:pt x="570" y="636"/>
                  </a:lnTo>
                  <a:lnTo>
                    <a:pt x="570" y="642"/>
                  </a:lnTo>
                  <a:lnTo>
                    <a:pt x="564" y="642"/>
                  </a:lnTo>
                  <a:lnTo>
                    <a:pt x="564" y="636"/>
                  </a:lnTo>
                  <a:lnTo>
                    <a:pt x="564" y="630"/>
                  </a:lnTo>
                  <a:lnTo>
                    <a:pt x="564" y="624"/>
                  </a:lnTo>
                  <a:lnTo>
                    <a:pt x="564" y="618"/>
                  </a:lnTo>
                  <a:lnTo>
                    <a:pt x="570" y="612"/>
                  </a:lnTo>
                  <a:lnTo>
                    <a:pt x="564" y="606"/>
                  </a:lnTo>
                  <a:lnTo>
                    <a:pt x="564" y="600"/>
                  </a:lnTo>
                  <a:lnTo>
                    <a:pt x="564" y="594"/>
                  </a:lnTo>
                  <a:lnTo>
                    <a:pt x="558" y="594"/>
                  </a:lnTo>
                  <a:lnTo>
                    <a:pt x="558" y="588"/>
                  </a:lnTo>
                  <a:lnTo>
                    <a:pt x="552" y="582"/>
                  </a:lnTo>
                  <a:lnTo>
                    <a:pt x="552" y="576"/>
                  </a:lnTo>
                  <a:lnTo>
                    <a:pt x="552" y="570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6" y="582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58" y="588"/>
                  </a:lnTo>
                  <a:lnTo>
                    <a:pt x="558" y="594"/>
                  </a:lnTo>
                  <a:lnTo>
                    <a:pt x="558" y="600"/>
                  </a:lnTo>
                  <a:lnTo>
                    <a:pt x="558" y="606"/>
                  </a:lnTo>
                  <a:lnTo>
                    <a:pt x="552" y="612"/>
                  </a:lnTo>
                  <a:lnTo>
                    <a:pt x="558" y="612"/>
                  </a:lnTo>
                  <a:lnTo>
                    <a:pt x="558" y="618"/>
                  </a:lnTo>
                  <a:lnTo>
                    <a:pt x="558" y="624"/>
                  </a:lnTo>
                  <a:lnTo>
                    <a:pt x="558" y="630"/>
                  </a:lnTo>
                  <a:lnTo>
                    <a:pt x="552" y="630"/>
                  </a:lnTo>
                  <a:lnTo>
                    <a:pt x="552" y="624"/>
                  </a:lnTo>
                  <a:lnTo>
                    <a:pt x="546" y="624"/>
                  </a:lnTo>
                  <a:lnTo>
                    <a:pt x="546" y="618"/>
                  </a:lnTo>
                  <a:lnTo>
                    <a:pt x="546" y="612"/>
                  </a:lnTo>
                  <a:lnTo>
                    <a:pt x="540" y="612"/>
                  </a:lnTo>
                  <a:lnTo>
                    <a:pt x="534" y="612"/>
                  </a:lnTo>
                  <a:lnTo>
                    <a:pt x="528" y="612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28" y="618"/>
                  </a:lnTo>
                  <a:lnTo>
                    <a:pt x="534" y="618"/>
                  </a:lnTo>
                  <a:lnTo>
                    <a:pt x="540" y="618"/>
                  </a:lnTo>
                  <a:lnTo>
                    <a:pt x="540" y="624"/>
                  </a:lnTo>
                  <a:lnTo>
                    <a:pt x="546" y="624"/>
                  </a:lnTo>
                  <a:lnTo>
                    <a:pt x="546" y="630"/>
                  </a:lnTo>
                  <a:lnTo>
                    <a:pt x="552" y="630"/>
                  </a:lnTo>
                  <a:lnTo>
                    <a:pt x="552" y="636"/>
                  </a:lnTo>
                  <a:lnTo>
                    <a:pt x="546" y="642"/>
                  </a:lnTo>
                  <a:lnTo>
                    <a:pt x="546" y="648"/>
                  </a:lnTo>
                  <a:lnTo>
                    <a:pt x="540" y="648"/>
                  </a:lnTo>
                  <a:lnTo>
                    <a:pt x="540" y="654"/>
                  </a:lnTo>
                  <a:lnTo>
                    <a:pt x="540" y="660"/>
                  </a:lnTo>
                  <a:lnTo>
                    <a:pt x="534" y="666"/>
                  </a:lnTo>
                  <a:lnTo>
                    <a:pt x="534" y="672"/>
                  </a:lnTo>
                  <a:lnTo>
                    <a:pt x="534" y="678"/>
                  </a:lnTo>
                  <a:lnTo>
                    <a:pt x="534" y="684"/>
                  </a:lnTo>
                  <a:lnTo>
                    <a:pt x="534" y="678"/>
                  </a:lnTo>
                  <a:lnTo>
                    <a:pt x="528" y="678"/>
                  </a:lnTo>
                  <a:lnTo>
                    <a:pt x="528" y="684"/>
                  </a:lnTo>
                  <a:lnTo>
                    <a:pt x="522" y="690"/>
                  </a:lnTo>
                  <a:lnTo>
                    <a:pt x="528" y="690"/>
                  </a:lnTo>
                  <a:lnTo>
                    <a:pt x="528" y="684"/>
                  </a:lnTo>
                  <a:lnTo>
                    <a:pt x="534" y="684"/>
                  </a:lnTo>
                  <a:lnTo>
                    <a:pt x="534" y="690"/>
                  </a:lnTo>
                  <a:lnTo>
                    <a:pt x="534" y="696"/>
                  </a:lnTo>
                  <a:lnTo>
                    <a:pt x="540" y="696"/>
                  </a:lnTo>
                  <a:lnTo>
                    <a:pt x="540" y="702"/>
                  </a:lnTo>
                  <a:lnTo>
                    <a:pt x="540" y="708"/>
                  </a:lnTo>
                  <a:lnTo>
                    <a:pt x="534" y="708"/>
                  </a:lnTo>
                  <a:lnTo>
                    <a:pt x="528" y="708"/>
                  </a:lnTo>
                  <a:lnTo>
                    <a:pt x="522" y="708"/>
                  </a:lnTo>
                  <a:lnTo>
                    <a:pt x="516" y="708"/>
                  </a:lnTo>
                  <a:lnTo>
                    <a:pt x="510" y="708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2" y="708"/>
                  </a:lnTo>
                  <a:lnTo>
                    <a:pt x="486" y="714"/>
                  </a:lnTo>
                  <a:lnTo>
                    <a:pt x="480" y="708"/>
                  </a:lnTo>
                  <a:lnTo>
                    <a:pt x="474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68" y="714"/>
                  </a:lnTo>
                  <a:lnTo>
                    <a:pt x="456" y="714"/>
                  </a:lnTo>
                  <a:lnTo>
                    <a:pt x="450" y="714"/>
                  </a:lnTo>
                  <a:lnTo>
                    <a:pt x="450" y="708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50" y="690"/>
                  </a:lnTo>
                  <a:lnTo>
                    <a:pt x="450" y="684"/>
                  </a:lnTo>
                  <a:lnTo>
                    <a:pt x="450" y="678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56" y="660"/>
                  </a:lnTo>
                  <a:lnTo>
                    <a:pt x="462" y="660"/>
                  </a:lnTo>
                  <a:lnTo>
                    <a:pt x="462" y="654"/>
                  </a:lnTo>
                  <a:lnTo>
                    <a:pt x="456" y="654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48"/>
                  </a:lnTo>
                  <a:lnTo>
                    <a:pt x="444" y="648"/>
                  </a:lnTo>
                  <a:lnTo>
                    <a:pt x="444" y="642"/>
                  </a:lnTo>
                  <a:lnTo>
                    <a:pt x="444" y="636"/>
                  </a:lnTo>
                  <a:lnTo>
                    <a:pt x="450" y="636"/>
                  </a:lnTo>
                  <a:lnTo>
                    <a:pt x="450" y="630"/>
                  </a:lnTo>
                  <a:lnTo>
                    <a:pt x="456" y="630"/>
                  </a:lnTo>
                  <a:lnTo>
                    <a:pt x="462" y="630"/>
                  </a:lnTo>
                  <a:lnTo>
                    <a:pt x="462" y="624"/>
                  </a:lnTo>
                  <a:lnTo>
                    <a:pt x="468" y="624"/>
                  </a:lnTo>
                  <a:lnTo>
                    <a:pt x="474" y="624"/>
                  </a:lnTo>
                  <a:lnTo>
                    <a:pt x="474" y="618"/>
                  </a:lnTo>
                  <a:lnTo>
                    <a:pt x="480" y="618"/>
                  </a:lnTo>
                  <a:lnTo>
                    <a:pt x="486" y="618"/>
                  </a:lnTo>
                  <a:lnTo>
                    <a:pt x="486" y="624"/>
                  </a:lnTo>
                  <a:lnTo>
                    <a:pt x="486" y="636"/>
                  </a:lnTo>
                  <a:lnTo>
                    <a:pt x="486" y="642"/>
                  </a:lnTo>
                  <a:lnTo>
                    <a:pt x="486" y="648"/>
                  </a:lnTo>
                  <a:lnTo>
                    <a:pt x="492" y="648"/>
                  </a:lnTo>
                  <a:lnTo>
                    <a:pt x="492" y="642"/>
                  </a:lnTo>
                  <a:lnTo>
                    <a:pt x="498" y="636"/>
                  </a:lnTo>
                  <a:lnTo>
                    <a:pt x="492" y="636"/>
                  </a:lnTo>
                  <a:lnTo>
                    <a:pt x="492" y="630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6" y="618"/>
                  </a:lnTo>
                  <a:lnTo>
                    <a:pt x="486" y="612"/>
                  </a:lnTo>
                  <a:lnTo>
                    <a:pt x="486" y="606"/>
                  </a:lnTo>
                  <a:lnTo>
                    <a:pt x="480" y="606"/>
                  </a:lnTo>
                  <a:lnTo>
                    <a:pt x="480" y="612"/>
                  </a:lnTo>
                  <a:lnTo>
                    <a:pt x="474" y="618"/>
                  </a:lnTo>
                  <a:lnTo>
                    <a:pt x="468" y="618"/>
                  </a:lnTo>
                  <a:lnTo>
                    <a:pt x="462" y="618"/>
                  </a:lnTo>
                  <a:lnTo>
                    <a:pt x="462" y="612"/>
                  </a:lnTo>
                  <a:lnTo>
                    <a:pt x="456" y="612"/>
                  </a:lnTo>
                  <a:lnTo>
                    <a:pt x="456" y="618"/>
                  </a:lnTo>
                  <a:lnTo>
                    <a:pt x="462" y="618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30"/>
                  </a:lnTo>
                  <a:lnTo>
                    <a:pt x="444" y="630"/>
                  </a:lnTo>
                  <a:lnTo>
                    <a:pt x="444" y="636"/>
                  </a:lnTo>
                  <a:lnTo>
                    <a:pt x="444" y="642"/>
                  </a:lnTo>
                  <a:lnTo>
                    <a:pt x="444" y="654"/>
                  </a:lnTo>
                  <a:lnTo>
                    <a:pt x="444" y="660"/>
                  </a:lnTo>
                  <a:lnTo>
                    <a:pt x="438" y="660"/>
                  </a:lnTo>
                  <a:lnTo>
                    <a:pt x="432" y="660"/>
                  </a:lnTo>
                  <a:lnTo>
                    <a:pt x="432" y="654"/>
                  </a:lnTo>
                  <a:lnTo>
                    <a:pt x="438" y="654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48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26" y="660"/>
                  </a:lnTo>
                  <a:lnTo>
                    <a:pt x="432" y="666"/>
                  </a:lnTo>
                  <a:lnTo>
                    <a:pt x="432" y="672"/>
                  </a:lnTo>
                  <a:lnTo>
                    <a:pt x="438" y="672"/>
                  </a:lnTo>
                  <a:lnTo>
                    <a:pt x="438" y="678"/>
                  </a:lnTo>
                  <a:lnTo>
                    <a:pt x="444" y="678"/>
                  </a:lnTo>
                  <a:lnTo>
                    <a:pt x="444" y="684"/>
                  </a:lnTo>
                  <a:lnTo>
                    <a:pt x="438" y="690"/>
                  </a:lnTo>
                  <a:lnTo>
                    <a:pt x="438" y="696"/>
                  </a:lnTo>
                  <a:lnTo>
                    <a:pt x="438" y="702"/>
                  </a:lnTo>
                  <a:lnTo>
                    <a:pt x="432" y="702"/>
                  </a:lnTo>
                  <a:lnTo>
                    <a:pt x="426" y="702"/>
                  </a:lnTo>
                  <a:lnTo>
                    <a:pt x="426" y="696"/>
                  </a:lnTo>
                  <a:lnTo>
                    <a:pt x="414" y="696"/>
                  </a:lnTo>
                  <a:lnTo>
                    <a:pt x="402" y="696"/>
                  </a:lnTo>
                  <a:lnTo>
                    <a:pt x="402" y="690"/>
                  </a:lnTo>
                  <a:lnTo>
                    <a:pt x="396" y="690"/>
                  </a:lnTo>
                  <a:lnTo>
                    <a:pt x="390" y="690"/>
                  </a:lnTo>
                  <a:lnTo>
                    <a:pt x="384" y="690"/>
                  </a:lnTo>
                  <a:lnTo>
                    <a:pt x="384" y="684"/>
                  </a:lnTo>
                  <a:lnTo>
                    <a:pt x="384" y="678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390" y="660"/>
                  </a:lnTo>
                  <a:lnTo>
                    <a:pt x="390" y="654"/>
                  </a:lnTo>
                  <a:lnTo>
                    <a:pt x="384" y="648"/>
                  </a:lnTo>
                  <a:lnTo>
                    <a:pt x="384" y="642"/>
                  </a:lnTo>
                  <a:lnTo>
                    <a:pt x="378" y="636"/>
                  </a:lnTo>
                  <a:lnTo>
                    <a:pt x="378" y="642"/>
                  </a:lnTo>
                  <a:lnTo>
                    <a:pt x="378" y="648"/>
                  </a:lnTo>
                  <a:lnTo>
                    <a:pt x="372" y="648"/>
                  </a:lnTo>
                  <a:lnTo>
                    <a:pt x="378" y="654"/>
                  </a:lnTo>
                  <a:lnTo>
                    <a:pt x="378" y="660"/>
                  </a:lnTo>
                  <a:lnTo>
                    <a:pt x="378" y="666"/>
                  </a:lnTo>
                  <a:lnTo>
                    <a:pt x="372" y="672"/>
                  </a:lnTo>
                  <a:lnTo>
                    <a:pt x="378" y="672"/>
                  </a:lnTo>
                  <a:lnTo>
                    <a:pt x="378" y="678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54" y="666"/>
                  </a:lnTo>
                  <a:lnTo>
                    <a:pt x="354" y="660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0" y="654"/>
                  </a:lnTo>
                  <a:lnTo>
                    <a:pt x="324" y="648"/>
                  </a:lnTo>
                  <a:lnTo>
                    <a:pt x="318" y="648"/>
                  </a:lnTo>
                  <a:lnTo>
                    <a:pt x="318" y="642"/>
                  </a:lnTo>
                  <a:lnTo>
                    <a:pt x="312" y="642"/>
                  </a:lnTo>
                  <a:lnTo>
                    <a:pt x="306" y="636"/>
                  </a:lnTo>
                  <a:lnTo>
                    <a:pt x="300" y="636"/>
                  </a:lnTo>
                  <a:lnTo>
                    <a:pt x="300" y="630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0" y="618"/>
                  </a:lnTo>
                  <a:lnTo>
                    <a:pt x="306" y="612"/>
                  </a:lnTo>
                  <a:lnTo>
                    <a:pt x="300" y="612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294" y="612"/>
                  </a:lnTo>
                  <a:lnTo>
                    <a:pt x="288" y="618"/>
                  </a:lnTo>
                  <a:lnTo>
                    <a:pt x="288" y="612"/>
                  </a:lnTo>
                  <a:lnTo>
                    <a:pt x="288" y="618"/>
                  </a:lnTo>
                  <a:lnTo>
                    <a:pt x="294" y="618"/>
                  </a:lnTo>
                  <a:lnTo>
                    <a:pt x="300" y="624"/>
                  </a:lnTo>
                  <a:lnTo>
                    <a:pt x="294" y="624"/>
                  </a:lnTo>
                  <a:lnTo>
                    <a:pt x="288" y="624"/>
                  </a:lnTo>
                  <a:lnTo>
                    <a:pt x="282" y="61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70" y="600"/>
                  </a:lnTo>
                  <a:lnTo>
                    <a:pt x="270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82" y="588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594"/>
                  </a:lnTo>
                  <a:lnTo>
                    <a:pt x="264" y="600"/>
                  </a:lnTo>
                  <a:lnTo>
                    <a:pt x="264" y="594"/>
                  </a:lnTo>
                  <a:lnTo>
                    <a:pt x="270" y="594"/>
                  </a:lnTo>
                  <a:lnTo>
                    <a:pt x="270" y="588"/>
                  </a:lnTo>
                  <a:lnTo>
                    <a:pt x="264" y="594"/>
                  </a:lnTo>
                  <a:lnTo>
                    <a:pt x="258" y="594"/>
                  </a:lnTo>
                  <a:lnTo>
                    <a:pt x="258" y="588"/>
                  </a:lnTo>
                  <a:lnTo>
                    <a:pt x="252" y="588"/>
                  </a:lnTo>
                  <a:lnTo>
                    <a:pt x="246" y="588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52" y="588"/>
                  </a:lnTo>
                  <a:lnTo>
                    <a:pt x="252" y="594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46" y="594"/>
                  </a:lnTo>
                  <a:lnTo>
                    <a:pt x="246" y="588"/>
                  </a:lnTo>
                  <a:lnTo>
                    <a:pt x="240" y="588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2" y="570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64"/>
                  </a:lnTo>
                  <a:lnTo>
                    <a:pt x="234" y="564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34" y="558"/>
                  </a:lnTo>
                  <a:lnTo>
                    <a:pt x="228" y="558"/>
                  </a:lnTo>
                  <a:lnTo>
                    <a:pt x="222" y="558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2" y="564"/>
                  </a:lnTo>
                  <a:lnTo>
                    <a:pt x="222" y="558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04" y="546"/>
                  </a:lnTo>
                  <a:lnTo>
                    <a:pt x="204" y="540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10" y="540"/>
                  </a:lnTo>
                  <a:lnTo>
                    <a:pt x="210" y="534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8"/>
                  </a:lnTo>
                  <a:lnTo>
                    <a:pt x="174" y="516"/>
                  </a:lnTo>
                  <a:lnTo>
                    <a:pt x="168" y="510"/>
                  </a:lnTo>
                  <a:lnTo>
                    <a:pt x="162" y="504"/>
                  </a:lnTo>
                  <a:lnTo>
                    <a:pt x="156" y="498"/>
                  </a:lnTo>
                  <a:lnTo>
                    <a:pt x="156" y="492"/>
                  </a:lnTo>
                  <a:lnTo>
                    <a:pt x="150" y="486"/>
                  </a:lnTo>
                  <a:lnTo>
                    <a:pt x="144" y="480"/>
                  </a:lnTo>
                  <a:lnTo>
                    <a:pt x="144" y="474"/>
                  </a:lnTo>
                  <a:lnTo>
                    <a:pt x="138" y="474"/>
                  </a:lnTo>
                  <a:lnTo>
                    <a:pt x="138" y="468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26" y="450"/>
                  </a:lnTo>
                  <a:lnTo>
                    <a:pt x="126" y="444"/>
                  </a:lnTo>
                  <a:lnTo>
                    <a:pt x="114" y="438"/>
                  </a:lnTo>
                  <a:lnTo>
                    <a:pt x="114" y="432"/>
                  </a:lnTo>
                  <a:lnTo>
                    <a:pt x="114" y="426"/>
                  </a:lnTo>
                  <a:lnTo>
                    <a:pt x="114" y="432"/>
                  </a:lnTo>
                  <a:lnTo>
                    <a:pt x="120" y="432"/>
                  </a:lnTo>
                  <a:lnTo>
                    <a:pt x="120" y="438"/>
                  </a:lnTo>
                  <a:lnTo>
                    <a:pt x="120" y="444"/>
                  </a:lnTo>
                  <a:lnTo>
                    <a:pt x="126" y="444"/>
                  </a:lnTo>
                  <a:lnTo>
                    <a:pt x="126" y="438"/>
                  </a:lnTo>
                  <a:lnTo>
                    <a:pt x="120" y="438"/>
                  </a:lnTo>
                  <a:lnTo>
                    <a:pt x="126" y="432"/>
                  </a:lnTo>
                  <a:lnTo>
                    <a:pt x="126" y="426"/>
                  </a:lnTo>
                  <a:lnTo>
                    <a:pt x="132" y="420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08" y="414"/>
                  </a:lnTo>
                  <a:lnTo>
                    <a:pt x="102" y="414"/>
                  </a:lnTo>
                  <a:lnTo>
                    <a:pt x="102" y="408"/>
                  </a:lnTo>
                  <a:lnTo>
                    <a:pt x="96" y="402"/>
                  </a:lnTo>
                  <a:lnTo>
                    <a:pt x="96" y="396"/>
                  </a:lnTo>
                  <a:lnTo>
                    <a:pt x="96" y="390"/>
                  </a:lnTo>
                  <a:lnTo>
                    <a:pt x="90" y="390"/>
                  </a:lnTo>
                  <a:lnTo>
                    <a:pt x="90" y="384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78" y="372"/>
                  </a:lnTo>
                  <a:lnTo>
                    <a:pt x="78" y="366"/>
                  </a:lnTo>
                  <a:lnTo>
                    <a:pt x="78" y="360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6" y="348"/>
                  </a:lnTo>
                  <a:lnTo>
                    <a:pt x="66" y="342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6" y="336"/>
                  </a:lnTo>
                  <a:lnTo>
                    <a:pt x="66" y="342"/>
                  </a:lnTo>
                  <a:lnTo>
                    <a:pt x="72" y="348"/>
                  </a:lnTo>
                  <a:lnTo>
                    <a:pt x="78" y="354"/>
                  </a:lnTo>
                  <a:lnTo>
                    <a:pt x="84" y="360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0" y="360"/>
                  </a:lnTo>
                  <a:lnTo>
                    <a:pt x="84" y="360"/>
                  </a:lnTo>
                  <a:lnTo>
                    <a:pt x="84" y="354"/>
                  </a:lnTo>
                  <a:lnTo>
                    <a:pt x="78" y="348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66" y="330"/>
                  </a:lnTo>
                  <a:lnTo>
                    <a:pt x="66" y="324"/>
                  </a:lnTo>
                  <a:lnTo>
                    <a:pt x="60" y="318"/>
                  </a:lnTo>
                  <a:lnTo>
                    <a:pt x="60" y="312"/>
                  </a:lnTo>
                  <a:lnTo>
                    <a:pt x="54" y="306"/>
                  </a:lnTo>
                  <a:lnTo>
                    <a:pt x="54" y="300"/>
                  </a:lnTo>
                  <a:lnTo>
                    <a:pt x="54" y="294"/>
                  </a:lnTo>
                  <a:lnTo>
                    <a:pt x="48" y="288"/>
                  </a:lnTo>
                  <a:lnTo>
                    <a:pt x="48" y="294"/>
                  </a:lnTo>
                  <a:lnTo>
                    <a:pt x="48" y="288"/>
                  </a:lnTo>
                  <a:lnTo>
                    <a:pt x="48" y="282"/>
                  </a:lnTo>
                  <a:lnTo>
                    <a:pt x="48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18" y="216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62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68"/>
                  </a:lnTo>
                  <a:lnTo>
                    <a:pt x="42" y="168"/>
                  </a:lnTo>
                  <a:lnTo>
                    <a:pt x="42" y="174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86"/>
                  </a:lnTo>
                  <a:close/>
                  <a:moveTo>
                    <a:pt x="642" y="660"/>
                  </a:moveTo>
                  <a:lnTo>
                    <a:pt x="642" y="666"/>
                  </a:lnTo>
                  <a:lnTo>
                    <a:pt x="648" y="666"/>
                  </a:lnTo>
                  <a:lnTo>
                    <a:pt x="648" y="672"/>
                  </a:lnTo>
                  <a:lnTo>
                    <a:pt x="648" y="678"/>
                  </a:lnTo>
                  <a:lnTo>
                    <a:pt x="654" y="678"/>
                  </a:lnTo>
                  <a:lnTo>
                    <a:pt x="654" y="684"/>
                  </a:lnTo>
                  <a:lnTo>
                    <a:pt x="660" y="684"/>
                  </a:lnTo>
                  <a:lnTo>
                    <a:pt x="660" y="690"/>
                  </a:lnTo>
                  <a:lnTo>
                    <a:pt x="654" y="690"/>
                  </a:lnTo>
                  <a:lnTo>
                    <a:pt x="648" y="690"/>
                  </a:lnTo>
                  <a:lnTo>
                    <a:pt x="636" y="696"/>
                  </a:lnTo>
                  <a:lnTo>
                    <a:pt x="630" y="696"/>
                  </a:lnTo>
                  <a:lnTo>
                    <a:pt x="624" y="696"/>
                  </a:lnTo>
                  <a:lnTo>
                    <a:pt x="618" y="696"/>
                  </a:lnTo>
                  <a:lnTo>
                    <a:pt x="612" y="696"/>
                  </a:lnTo>
                  <a:lnTo>
                    <a:pt x="594" y="696"/>
                  </a:lnTo>
                  <a:lnTo>
                    <a:pt x="588" y="696"/>
                  </a:lnTo>
                  <a:lnTo>
                    <a:pt x="582" y="696"/>
                  </a:lnTo>
                  <a:lnTo>
                    <a:pt x="570" y="702"/>
                  </a:lnTo>
                  <a:lnTo>
                    <a:pt x="564" y="702"/>
                  </a:lnTo>
                  <a:lnTo>
                    <a:pt x="558" y="702"/>
                  </a:lnTo>
                  <a:lnTo>
                    <a:pt x="552" y="702"/>
                  </a:lnTo>
                  <a:lnTo>
                    <a:pt x="552" y="696"/>
                  </a:lnTo>
                  <a:lnTo>
                    <a:pt x="546" y="696"/>
                  </a:lnTo>
                  <a:lnTo>
                    <a:pt x="546" y="690"/>
                  </a:lnTo>
                  <a:lnTo>
                    <a:pt x="552" y="684"/>
                  </a:lnTo>
                  <a:lnTo>
                    <a:pt x="552" y="678"/>
                  </a:lnTo>
                  <a:lnTo>
                    <a:pt x="558" y="672"/>
                  </a:lnTo>
                  <a:lnTo>
                    <a:pt x="558" y="666"/>
                  </a:lnTo>
                  <a:lnTo>
                    <a:pt x="564" y="666"/>
                  </a:lnTo>
                  <a:lnTo>
                    <a:pt x="570" y="666"/>
                  </a:lnTo>
                  <a:lnTo>
                    <a:pt x="570" y="654"/>
                  </a:lnTo>
                  <a:lnTo>
                    <a:pt x="570" y="648"/>
                  </a:lnTo>
                  <a:lnTo>
                    <a:pt x="582" y="642"/>
                  </a:lnTo>
                  <a:lnTo>
                    <a:pt x="582" y="636"/>
                  </a:lnTo>
                  <a:lnTo>
                    <a:pt x="588" y="636"/>
                  </a:lnTo>
                  <a:lnTo>
                    <a:pt x="588" y="630"/>
                  </a:lnTo>
                  <a:lnTo>
                    <a:pt x="594" y="624"/>
                  </a:lnTo>
                  <a:lnTo>
                    <a:pt x="594" y="618"/>
                  </a:lnTo>
                  <a:lnTo>
                    <a:pt x="600" y="618"/>
                  </a:lnTo>
                  <a:lnTo>
                    <a:pt x="600" y="612"/>
                  </a:lnTo>
                  <a:lnTo>
                    <a:pt x="606" y="612"/>
                  </a:lnTo>
                  <a:lnTo>
                    <a:pt x="606" y="618"/>
                  </a:lnTo>
                  <a:lnTo>
                    <a:pt x="612" y="618"/>
                  </a:lnTo>
                  <a:lnTo>
                    <a:pt x="618" y="618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18" y="636"/>
                  </a:lnTo>
                  <a:lnTo>
                    <a:pt x="618" y="642"/>
                  </a:lnTo>
                  <a:lnTo>
                    <a:pt x="618" y="648"/>
                  </a:lnTo>
                  <a:lnTo>
                    <a:pt x="624" y="648"/>
                  </a:lnTo>
                  <a:lnTo>
                    <a:pt x="630" y="648"/>
                  </a:lnTo>
                  <a:lnTo>
                    <a:pt x="636" y="654"/>
                  </a:lnTo>
                  <a:lnTo>
                    <a:pt x="642" y="654"/>
                  </a:lnTo>
                  <a:lnTo>
                    <a:pt x="642" y="66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0" name="Freeform 5">
              <a:extLst>
                <a:ext uri="{FF2B5EF4-FFF2-40B4-BE49-F238E27FC236}">
                  <a16:creationId xmlns:a16="http://schemas.microsoft.com/office/drawing/2014/main" id="{5577BDCA-F2C7-42E0-A391-018D79AA29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0384" y="4231013"/>
              <a:ext cx="404750" cy="480848"/>
            </a:xfrm>
            <a:custGeom>
              <a:avLst/>
              <a:gdLst>
                <a:gd name="T0" fmla="*/ 9 w 762"/>
                <a:gd name="T1" fmla="*/ 58 h 900"/>
                <a:gd name="T2" fmla="*/ 4 w 762"/>
                <a:gd name="T3" fmla="*/ 56 h 900"/>
                <a:gd name="T4" fmla="*/ 0 w 762"/>
                <a:gd name="T5" fmla="*/ 49 h 900"/>
                <a:gd name="T6" fmla="*/ 4 w 762"/>
                <a:gd name="T7" fmla="*/ 36 h 900"/>
                <a:gd name="T8" fmla="*/ 8 w 762"/>
                <a:gd name="T9" fmla="*/ 28 h 900"/>
                <a:gd name="T10" fmla="*/ 7 w 762"/>
                <a:gd name="T11" fmla="*/ 13 h 900"/>
                <a:gd name="T12" fmla="*/ 15 w 762"/>
                <a:gd name="T13" fmla="*/ 0 h 900"/>
                <a:gd name="T14" fmla="*/ 16 w 762"/>
                <a:gd name="T15" fmla="*/ 13 h 900"/>
                <a:gd name="T16" fmla="*/ 31 w 762"/>
                <a:gd name="T17" fmla="*/ 28 h 900"/>
                <a:gd name="T18" fmla="*/ 49 w 762"/>
                <a:gd name="T19" fmla="*/ 33 h 900"/>
                <a:gd name="T20" fmla="*/ 42 w 762"/>
                <a:gd name="T21" fmla="*/ 48 h 900"/>
                <a:gd name="T22" fmla="*/ 51 w 762"/>
                <a:gd name="T23" fmla="*/ 48 h 900"/>
                <a:gd name="T24" fmla="*/ 61 w 762"/>
                <a:gd name="T25" fmla="*/ 51 h 900"/>
                <a:gd name="T26" fmla="*/ 63 w 762"/>
                <a:gd name="T27" fmla="*/ 60 h 900"/>
                <a:gd name="T28" fmla="*/ 63 w 762"/>
                <a:gd name="T29" fmla="*/ 66 h 900"/>
                <a:gd name="T30" fmla="*/ 65 w 762"/>
                <a:gd name="T31" fmla="*/ 69 h 900"/>
                <a:gd name="T32" fmla="*/ 66 w 762"/>
                <a:gd name="T33" fmla="*/ 72 h 900"/>
                <a:gd name="T34" fmla="*/ 56 w 762"/>
                <a:gd name="T35" fmla="*/ 73 h 900"/>
                <a:gd name="T36" fmla="*/ 55 w 762"/>
                <a:gd name="T37" fmla="*/ 69 h 900"/>
                <a:gd name="T38" fmla="*/ 57 w 762"/>
                <a:gd name="T39" fmla="*/ 67 h 900"/>
                <a:gd name="T40" fmla="*/ 55 w 762"/>
                <a:gd name="T41" fmla="*/ 65 h 900"/>
                <a:gd name="T42" fmla="*/ 53 w 762"/>
                <a:gd name="T43" fmla="*/ 68 h 900"/>
                <a:gd name="T44" fmla="*/ 49 w 762"/>
                <a:gd name="T45" fmla="*/ 68 h 900"/>
                <a:gd name="T46" fmla="*/ 44 w 762"/>
                <a:gd name="T47" fmla="*/ 63 h 900"/>
                <a:gd name="T48" fmla="*/ 40 w 762"/>
                <a:gd name="T49" fmla="*/ 59 h 900"/>
                <a:gd name="T50" fmla="*/ 38 w 762"/>
                <a:gd name="T51" fmla="*/ 57 h 900"/>
                <a:gd name="T52" fmla="*/ 43 w 762"/>
                <a:gd name="T53" fmla="*/ 62 h 900"/>
                <a:gd name="T54" fmla="*/ 43 w 762"/>
                <a:gd name="T55" fmla="*/ 66 h 900"/>
                <a:gd name="T56" fmla="*/ 41 w 762"/>
                <a:gd name="T57" fmla="*/ 71 h 900"/>
                <a:gd name="T58" fmla="*/ 37 w 762"/>
                <a:gd name="T59" fmla="*/ 69 h 900"/>
                <a:gd name="T60" fmla="*/ 35 w 762"/>
                <a:gd name="T61" fmla="*/ 64 h 900"/>
                <a:gd name="T62" fmla="*/ 31 w 762"/>
                <a:gd name="T63" fmla="*/ 57 h 900"/>
                <a:gd name="T64" fmla="*/ 30 w 762"/>
                <a:gd name="T65" fmla="*/ 62 h 900"/>
                <a:gd name="T66" fmla="*/ 29 w 762"/>
                <a:gd name="T67" fmla="*/ 61 h 900"/>
                <a:gd name="T68" fmla="*/ 31 w 762"/>
                <a:gd name="T69" fmla="*/ 66 h 900"/>
                <a:gd name="T70" fmla="*/ 33 w 762"/>
                <a:gd name="T71" fmla="*/ 72 h 900"/>
                <a:gd name="T72" fmla="*/ 32 w 762"/>
                <a:gd name="T73" fmla="*/ 76 h 900"/>
                <a:gd name="T74" fmla="*/ 28 w 762"/>
                <a:gd name="T75" fmla="*/ 75 h 900"/>
                <a:gd name="T76" fmla="*/ 24 w 762"/>
                <a:gd name="T77" fmla="*/ 69 h 900"/>
                <a:gd name="T78" fmla="*/ 24 w 762"/>
                <a:gd name="T79" fmla="*/ 62 h 900"/>
                <a:gd name="T80" fmla="*/ 23 w 762"/>
                <a:gd name="T81" fmla="*/ 62 h 900"/>
                <a:gd name="T82" fmla="*/ 23 w 762"/>
                <a:gd name="T83" fmla="*/ 68 h 900"/>
                <a:gd name="T84" fmla="*/ 25 w 762"/>
                <a:gd name="T85" fmla="*/ 77 h 900"/>
                <a:gd name="T86" fmla="*/ 17 w 762"/>
                <a:gd name="T87" fmla="*/ 74 h 900"/>
                <a:gd name="T88" fmla="*/ 17 w 762"/>
                <a:gd name="T89" fmla="*/ 67 h 900"/>
                <a:gd name="T90" fmla="*/ 16 w 762"/>
                <a:gd name="T91" fmla="*/ 67 h 900"/>
                <a:gd name="T92" fmla="*/ 15 w 762"/>
                <a:gd name="T93" fmla="*/ 71 h 900"/>
                <a:gd name="T94" fmla="*/ 12 w 762"/>
                <a:gd name="T95" fmla="*/ 68 h 900"/>
                <a:gd name="T96" fmla="*/ 15 w 762"/>
                <a:gd name="T97" fmla="*/ 72 h 900"/>
                <a:gd name="T98" fmla="*/ 17 w 762"/>
                <a:gd name="T99" fmla="*/ 77 h 900"/>
                <a:gd name="T100" fmla="*/ 11 w 762"/>
                <a:gd name="T101" fmla="*/ 77 h 900"/>
                <a:gd name="T102" fmla="*/ 10 w 762"/>
                <a:gd name="T103" fmla="*/ 69 h 900"/>
                <a:gd name="T104" fmla="*/ 11 w 762"/>
                <a:gd name="T105" fmla="*/ 72 h 900"/>
                <a:gd name="T106" fmla="*/ 9 w 762"/>
                <a:gd name="T107" fmla="*/ 78 h 900"/>
                <a:gd name="T108" fmla="*/ 43 w 762"/>
                <a:gd name="T109" fmla="*/ 71 h 900"/>
                <a:gd name="T110" fmla="*/ 51 w 762"/>
                <a:gd name="T111" fmla="*/ 69 h 900"/>
                <a:gd name="T112" fmla="*/ 43 w 762"/>
                <a:gd name="T113" fmla="*/ 76 h 900"/>
                <a:gd name="T114" fmla="*/ 36 w 762"/>
                <a:gd name="T115" fmla="*/ 65 h 900"/>
                <a:gd name="T116" fmla="*/ 38 w 762"/>
                <a:gd name="T117" fmla="*/ 72 h 900"/>
                <a:gd name="T118" fmla="*/ 34 w 762"/>
                <a:gd name="T119" fmla="*/ 69 h 900"/>
                <a:gd name="T120" fmla="*/ 29 w 762"/>
                <a:gd name="T121" fmla="*/ 64 h 900"/>
                <a:gd name="T122" fmla="*/ 32 w 762"/>
                <a:gd name="T123" fmla="*/ 66 h 9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900"/>
                <a:gd name="T188" fmla="*/ 762 w 762"/>
                <a:gd name="T189" fmla="*/ 900 h 90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900">
                  <a:moveTo>
                    <a:pt x="90" y="768"/>
                  </a:moveTo>
                  <a:lnTo>
                    <a:pt x="102" y="756"/>
                  </a:lnTo>
                  <a:lnTo>
                    <a:pt x="102" y="750"/>
                  </a:lnTo>
                  <a:lnTo>
                    <a:pt x="90" y="744"/>
                  </a:lnTo>
                  <a:lnTo>
                    <a:pt x="84" y="738"/>
                  </a:lnTo>
                  <a:lnTo>
                    <a:pt x="90" y="726"/>
                  </a:lnTo>
                  <a:lnTo>
                    <a:pt x="84" y="720"/>
                  </a:lnTo>
                  <a:lnTo>
                    <a:pt x="78" y="720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72" y="702"/>
                  </a:lnTo>
                  <a:lnTo>
                    <a:pt x="72" y="696"/>
                  </a:lnTo>
                  <a:lnTo>
                    <a:pt x="84" y="684"/>
                  </a:lnTo>
                  <a:lnTo>
                    <a:pt x="96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102" y="654"/>
                  </a:lnTo>
                  <a:lnTo>
                    <a:pt x="108" y="654"/>
                  </a:lnTo>
                  <a:lnTo>
                    <a:pt x="114" y="648"/>
                  </a:lnTo>
                  <a:lnTo>
                    <a:pt x="120" y="642"/>
                  </a:lnTo>
                  <a:lnTo>
                    <a:pt x="120" y="636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14" y="618"/>
                  </a:lnTo>
                  <a:lnTo>
                    <a:pt x="102" y="618"/>
                  </a:lnTo>
                  <a:lnTo>
                    <a:pt x="90" y="618"/>
                  </a:lnTo>
                  <a:lnTo>
                    <a:pt x="78" y="624"/>
                  </a:lnTo>
                  <a:lnTo>
                    <a:pt x="72" y="630"/>
                  </a:lnTo>
                  <a:lnTo>
                    <a:pt x="54" y="642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42" y="642"/>
                  </a:lnTo>
                  <a:lnTo>
                    <a:pt x="42" y="636"/>
                  </a:lnTo>
                  <a:lnTo>
                    <a:pt x="36" y="636"/>
                  </a:lnTo>
                  <a:lnTo>
                    <a:pt x="30" y="642"/>
                  </a:lnTo>
                  <a:lnTo>
                    <a:pt x="30" y="636"/>
                  </a:lnTo>
                  <a:lnTo>
                    <a:pt x="30" y="630"/>
                  </a:lnTo>
                  <a:lnTo>
                    <a:pt x="24" y="630"/>
                  </a:lnTo>
                  <a:lnTo>
                    <a:pt x="30" y="624"/>
                  </a:lnTo>
                  <a:lnTo>
                    <a:pt x="30" y="618"/>
                  </a:lnTo>
                  <a:lnTo>
                    <a:pt x="30" y="612"/>
                  </a:lnTo>
                  <a:lnTo>
                    <a:pt x="36" y="612"/>
                  </a:lnTo>
                  <a:lnTo>
                    <a:pt x="36" y="606"/>
                  </a:lnTo>
                  <a:lnTo>
                    <a:pt x="30" y="606"/>
                  </a:lnTo>
                  <a:lnTo>
                    <a:pt x="24" y="612"/>
                  </a:lnTo>
                  <a:lnTo>
                    <a:pt x="18" y="606"/>
                  </a:lnTo>
                  <a:lnTo>
                    <a:pt x="12" y="594"/>
                  </a:lnTo>
                  <a:lnTo>
                    <a:pt x="6" y="582"/>
                  </a:lnTo>
                  <a:lnTo>
                    <a:pt x="6" y="570"/>
                  </a:lnTo>
                  <a:lnTo>
                    <a:pt x="0" y="558"/>
                  </a:lnTo>
                  <a:lnTo>
                    <a:pt x="6" y="552"/>
                  </a:lnTo>
                  <a:lnTo>
                    <a:pt x="6" y="534"/>
                  </a:lnTo>
                  <a:lnTo>
                    <a:pt x="18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12" y="480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54" y="408"/>
                  </a:lnTo>
                  <a:lnTo>
                    <a:pt x="54" y="396"/>
                  </a:lnTo>
                  <a:lnTo>
                    <a:pt x="54" y="384"/>
                  </a:lnTo>
                  <a:lnTo>
                    <a:pt x="60" y="378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66"/>
                  </a:lnTo>
                  <a:lnTo>
                    <a:pt x="60" y="360"/>
                  </a:lnTo>
                  <a:lnTo>
                    <a:pt x="66" y="360"/>
                  </a:lnTo>
                  <a:lnTo>
                    <a:pt x="72" y="354"/>
                  </a:lnTo>
                  <a:lnTo>
                    <a:pt x="78" y="354"/>
                  </a:lnTo>
                  <a:lnTo>
                    <a:pt x="84" y="348"/>
                  </a:lnTo>
                  <a:lnTo>
                    <a:pt x="96" y="348"/>
                  </a:lnTo>
                  <a:lnTo>
                    <a:pt x="96" y="342"/>
                  </a:lnTo>
                  <a:lnTo>
                    <a:pt x="96" y="336"/>
                  </a:lnTo>
                  <a:lnTo>
                    <a:pt x="96" y="330"/>
                  </a:lnTo>
                  <a:lnTo>
                    <a:pt x="96" y="324"/>
                  </a:lnTo>
                  <a:lnTo>
                    <a:pt x="102" y="318"/>
                  </a:lnTo>
                  <a:lnTo>
                    <a:pt x="108" y="312"/>
                  </a:lnTo>
                  <a:lnTo>
                    <a:pt x="96" y="306"/>
                  </a:lnTo>
                  <a:lnTo>
                    <a:pt x="84" y="288"/>
                  </a:lnTo>
                  <a:lnTo>
                    <a:pt x="108" y="258"/>
                  </a:lnTo>
                  <a:lnTo>
                    <a:pt x="102" y="222"/>
                  </a:lnTo>
                  <a:lnTo>
                    <a:pt x="84" y="222"/>
                  </a:lnTo>
                  <a:lnTo>
                    <a:pt x="54" y="216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2"/>
                  </a:lnTo>
                  <a:lnTo>
                    <a:pt x="72" y="192"/>
                  </a:lnTo>
                  <a:lnTo>
                    <a:pt x="84" y="186"/>
                  </a:lnTo>
                  <a:lnTo>
                    <a:pt x="90" y="186"/>
                  </a:lnTo>
                  <a:lnTo>
                    <a:pt x="90" y="174"/>
                  </a:lnTo>
                  <a:lnTo>
                    <a:pt x="84" y="162"/>
                  </a:lnTo>
                  <a:lnTo>
                    <a:pt x="84" y="150"/>
                  </a:lnTo>
                  <a:lnTo>
                    <a:pt x="84" y="126"/>
                  </a:lnTo>
                  <a:lnTo>
                    <a:pt x="84" y="114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8" y="96"/>
                  </a:lnTo>
                  <a:lnTo>
                    <a:pt x="120" y="90"/>
                  </a:lnTo>
                  <a:lnTo>
                    <a:pt x="126" y="78"/>
                  </a:lnTo>
                  <a:lnTo>
                    <a:pt x="138" y="66"/>
                  </a:lnTo>
                  <a:lnTo>
                    <a:pt x="138" y="48"/>
                  </a:lnTo>
                  <a:lnTo>
                    <a:pt x="138" y="42"/>
                  </a:lnTo>
                  <a:lnTo>
                    <a:pt x="126" y="30"/>
                  </a:lnTo>
                  <a:lnTo>
                    <a:pt x="120" y="18"/>
                  </a:lnTo>
                  <a:lnTo>
                    <a:pt x="132" y="12"/>
                  </a:lnTo>
                  <a:lnTo>
                    <a:pt x="144" y="0"/>
                  </a:lnTo>
                  <a:lnTo>
                    <a:pt x="150" y="6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6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74" y="66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68" y="72"/>
                  </a:lnTo>
                  <a:lnTo>
                    <a:pt x="156" y="150"/>
                  </a:lnTo>
                  <a:lnTo>
                    <a:pt x="168" y="144"/>
                  </a:lnTo>
                  <a:lnTo>
                    <a:pt x="180" y="150"/>
                  </a:lnTo>
                  <a:lnTo>
                    <a:pt x="186" y="150"/>
                  </a:lnTo>
                  <a:lnTo>
                    <a:pt x="186" y="144"/>
                  </a:lnTo>
                  <a:lnTo>
                    <a:pt x="192" y="150"/>
                  </a:lnTo>
                  <a:lnTo>
                    <a:pt x="222" y="150"/>
                  </a:lnTo>
                  <a:lnTo>
                    <a:pt x="222" y="168"/>
                  </a:lnTo>
                  <a:lnTo>
                    <a:pt x="222" y="186"/>
                  </a:lnTo>
                  <a:lnTo>
                    <a:pt x="234" y="198"/>
                  </a:lnTo>
                  <a:lnTo>
                    <a:pt x="234" y="234"/>
                  </a:lnTo>
                  <a:lnTo>
                    <a:pt x="228" y="270"/>
                  </a:lnTo>
                  <a:lnTo>
                    <a:pt x="246" y="282"/>
                  </a:lnTo>
                  <a:lnTo>
                    <a:pt x="258" y="294"/>
                  </a:lnTo>
                  <a:lnTo>
                    <a:pt x="270" y="300"/>
                  </a:lnTo>
                  <a:lnTo>
                    <a:pt x="294" y="300"/>
                  </a:lnTo>
                  <a:lnTo>
                    <a:pt x="288" y="306"/>
                  </a:lnTo>
                  <a:lnTo>
                    <a:pt x="300" y="312"/>
                  </a:lnTo>
                  <a:lnTo>
                    <a:pt x="306" y="318"/>
                  </a:lnTo>
                  <a:lnTo>
                    <a:pt x="324" y="324"/>
                  </a:lnTo>
                  <a:lnTo>
                    <a:pt x="354" y="318"/>
                  </a:lnTo>
                  <a:lnTo>
                    <a:pt x="354" y="312"/>
                  </a:lnTo>
                  <a:lnTo>
                    <a:pt x="366" y="312"/>
                  </a:lnTo>
                  <a:lnTo>
                    <a:pt x="384" y="312"/>
                  </a:lnTo>
                  <a:lnTo>
                    <a:pt x="390" y="306"/>
                  </a:lnTo>
                  <a:lnTo>
                    <a:pt x="396" y="306"/>
                  </a:lnTo>
                  <a:lnTo>
                    <a:pt x="408" y="306"/>
                  </a:lnTo>
                  <a:lnTo>
                    <a:pt x="426" y="312"/>
                  </a:lnTo>
                  <a:lnTo>
                    <a:pt x="456" y="324"/>
                  </a:lnTo>
                  <a:lnTo>
                    <a:pt x="504" y="330"/>
                  </a:lnTo>
                  <a:lnTo>
                    <a:pt x="510" y="336"/>
                  </a:lnTo>
                  <a:lnTo>
                    <a:pt x="534" y="336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58" y="330"/>
                  </a:lnTo>
                  <a:lnTo>
                    <a:pt x="564" y="330"/>
                  </a:lnTo>
                  <a:lnTo>
                    <a:pt x="570" y="354"/>
                  </a:lnTo>
                  <a:lnTo>
                    <a:pt x="564" y="378"/>
                  </a:lnTo>
                  <a:lnTo>
                    <a:pt x="558" y="396"/>
                  </a:lnTo>
                  <a:lnTo>
                    <a:pt x="546" y="414"/>
                  </a:lnTo>
                  <a:lnTo>
                    <a:pt x="546" y="438"/>
                  </a:lnTo>
                  <a:lnTo>
                    <a:pt x="540" y="456"/>
                  </a:lnTo>
                  <a:lnTo>
                    <a:pt x="540" y="474"/>
                  </a:lnTo>
                  <a:lnTo>
                    <a:pt x="528" y="480"/>
                  </a:lnTo>
                  <a:lnTo>
                    <a:pt x="522" y="492"/>
                  </a:lnTo>
                  <a:lnTo>
                    <a:pt x="504" y="498"/>
                  </a:lnTo>
                  <a:lnTo>
                    <a:pt x="498" y="498"/>
                  </a:lnTo>
                  <a:lnTo>
                    <a:pt x="492" y="504"/>
                  </a:lnTo>
                  <a:lnTo>
                    <a:pt x="486" y="510"/>
                  </a:lnTo>
                  <a:lnTo>
                    <a:pt x="480" y="510"/>
                  </a:lnTo>
                  <a:lnTo>
                    <a:pt x="480" y="516"/>
                  </a:lnTo>
                  <a:lnTo>
                    <a:pt x="474" y="522"/>
                  </a:lnTo>
                  <a:lnTo>
                    <a:pt x="474" y="528"/>
                  </a:lnTo>
                  <a:lnTo>
                    <a:pt x="474" y="534"/>
                  </a:lnTo>
                  <a:lnTo>
                    <a:pt x="480" y="540"/>
                  </a:lnTo>
                  <a:lnTo>
                    <a:pt x="492" y="540"/>
                  </a:lnTo>
                  <a:lnTo>
                    <a:pt x="498" y="546"/>
                  </a:lnTo>
                  <a:lnTo>
                    <a:pt x="504" y="552"/>
                  </a:lnTo>
                  <a:lnTo>
                    <a:pt x="510" y="552"/>
                  </a:lnTo>
                  <a:lnTo>
                    <a:pt x="516" y="558"/>
                  </a:lnTo>
                  <a:lnTo>
                    <a:pt x="528" y="558"/>
                  </a:lnTo>
                  <a:lnTo>
                    <a:pt x="534" y="552"/>
                  </a:lnTo>
                  <a:lnTo>
                    <a:pt x="540" y="552"/>
                  </a:lnTo>
                  <a:lnTo>
                    <a:pt x="546" y="552"/>
                  </a:lnTo>
                  <a:lnTo>
                    <a:pt x="558" y="546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70" y="546"/>
                  </a:lnTo>
                  <a:lnTo>
                    <a:pt x="570" y="540"/>
                  </a:lnTo>
                  <a:lnTo>
                    <a:pt x="570" y="546"/>
                  </a:lnTo>
                  <a:lnTo>
                    <a:pt x="576" y="546"/>
                  </a:lnTo>
                  <a:lnTo>
                    <a:pt x="582" y="546"/>
                  </a:lnTo>
                  <a:lnTo>
                    <a:pt x="588" y="540"/>
                  </a:lnTo>
                  <a:lnTo>
                    <a:pt x="594" y="546"/>
                  </a:lnTo>
                  <a:lnTo>
                    <a:pt x="606" y="546"/>
                  </a:lnTo>
                  <a:lnTo>
                    <a:pt x="612" y="546"/>
                  </a:lnTo>
                  <a:lnTo>
                    <a:pt x="612" y="552"/>
                  </a:lnTo>
                  <a:lnTo>
                    <a:pt x="618" y="552"/>
                  </a:lnTo>
                  <a:lnTo>
                    <a:pt x="624" y="552"/>
                  </a:lnTo>
                  <a:lnTo>
                    <a:pt x="630" y="552"/>
                  </a:lnTo>
                  <a:lnTo>
                    <a:pt x="648" y="546"/>
                  </a:lnTo>
                  <a:lnTo>
                    <a:pt x="654" y="546"/>
                  </a:lnTo>
                  <a:lnTo>
                    <a:pt x="654" y="552"/>
                  </a:lnTo>
                  <a:lnTo>
                    <a:pt x="660" y="558"/>
                  </a:lnTo>
                  <a:lnTo>
                    <a:pt x="666" y="564"/>
                  </a:lnTo>
                  <a:lnTo>
                    <a:pt x="672" y="564"/>
                  </a:lnTo>
                  <a:lnTo>
                    <a:pt x="678" y="564"/>
                  </a:lnTo>
                  <a:lnTo>
                    <a:pt x="696" y="576"/>
                  </a:lnTo>
                  <a:lnTo>
                    <a:pt x="696" y="582"/>
                  </a:lnTo>
                  <a:lnTo>
                    <a:pt x="708" y="588"/>
                  </a:lnTo>
                  <a:lnTo>
                    <a:pt x="708" y="594"/>
                  </a:lnTo>
                  <a:lnTo>
                    <a:pt x="720" y="606"/>
                  </a:lnTo>
                  <a:lnTo>
                    <a:pt x="720" y="618"/>
                  </a:lnTo>
                  <a:lnTo>
                    <a:pt x="720" y="624"/>
                  </a:lnTo>
                  <a:lnTo>
                    <a:pt x="726" y="630"/>
                  </a:lnTo>
                  <a:lnTo>
                    <a:pt x="732" y="636"/>
                  </a:lnTo>
                  <a:lnTo>
                    <a:pt x="732" y="642"/>
                  </a:lnTo>
                  <a:lnTo>
                    <a:pt x="732" y="648"/>
                  </a:lnTo>
                  <a:lnTo>
                    <a:pt x="726" y="654"/>
                  </a:lnTo>
                  <a:lnTo>
                    <a:pt x="720" y="660"/>
                  </a:lnTo>
                  <a:lnTo>
                    <a:pt x="714" y="666"/>
                  </a:lnTo>
                  <a:lnTo>
                    <a:pt x="714" y="672"/>
                  </a:lnTo>
                  <a:lnTo>
                    <a:pt x="714" y="678"/>
                  </a:lnTo>
                  <a:lnTo>
                    <a:pt x="720" y="678"/>
                  </a:lnTo>
                  <a:lnTo>
                    <a:pt x="720" y="684"/>
                  </a:lnTo>
                  <a:lnTo>
                    <a:pt x="714" y="690"/>
                  </a:lnTo>
                  <a:lnTo>
                    <a:pt x="714" y="696"/>
                  </a:lnTo>
                  <a:lnTo>
                    <a:pt x="714" y="702"/>
                  </a:lnTo>
                  <a:lnTo>
                    <a:pt x="714" y="708"/>
                  </a:lnTo>
                  <a:lnTo>
                    <a:pt x="720" y="708"/>
                  </a:lnTo>
                  <a:lnTo>
                    <a:pt x="720" y="720"/>
                  </a:lnTo>
                  <a:lnTo>
                    <a:pt x="720" y="726"/>
                  </a:lnTo>
                  <a:lnTo>
                    <a:pt x="726" y="726"/>
                  </a:lnTo>
                  <a:lnTo>
                    <a:pt x="726" y="732"/>
                  </a:lnTo>
                  <a:lnTo>
                    <a:pt x="732" y="732"/>
                  </a:lnTo>
                  <a:lnTo>
                    <a:pt x="732" y="738"/>
                  </a:lnTo>
                  <a:lnTo>
                    <a:pt x="726" y="738"/>
                  </a:lnTo>
                  <a:lnTo>
                    <a:pt x="720" y="738"/>
                  </a:lnTo>
                  <a:lnTo>
                    <a:pt x="720" y="744"/>
                  </a:lnTo>
                  <a:lnTo>
                    <a:pt x="720" y="750"/>
                  </a:lnTo>
                  <a:lnTo>
                    <a:pt x="714" y="750"/>
                  </a:lnTo>
                  <a:lnTo>
                    <a:pt x="714" y="756"/>
                  </a:lnTo>
                  <a:lnTo>
                    <a:pt x="720" y="756"/>
                  </a:lnTo>
                  <a:lnTo>
                    <a:pt x="714" y="762"/>
                  </a:lnTo>
                  <a:lnTo>
                    <a:pt x="720" y="762"/>
                  </a:lnTo>
                  <a:lnTo>
                    <a:pt x="726" y="768"/>
                  </a:lnTo>
                  <a:lnTo>
                    <a:pt x="726" y="774"/>
                  </a:lnTo>
                  <a:lnTo>
                    <a:pt x="732" y="774"/>
                  </a:lnTo>
                  <a:lnTo>
                    <a:pt x="732" y="780"/>
                  </a:lnTo>
                  <a:lnTo>
                    <a:pt x="726" y="780"/>
                  </a:lnTo>
                  <a:lnTo>
                    <a:pt x="726" y="786"/>
                  </a:lnTo>
                  <a:lnTo>
                    <a:pt x="720" y="786"/>
                  </a:lnTo>
                  <a:lnTo>
                    <a:pt x="726" y="786"/>
                  </a:lnTo>
                  <a:lnTo>
                    <a:pt x="732" y="780"/>
                  </a:lnTo>
                  <a:lnTo>
                    <a:pt x="738" y="780"/>
                  </a:lnTo>
                  <a:lnTo>
                    <a:pt x="744" y="780"/>
                  </a:lnTo>
                  <a:lnTo>
                    <a:pt x="744" y="786"/>
                  </a:lnTo>
                  <a:lnTo>
                    <a:pt x="750" y="786"/>
                  </a:lnTo>
                  <a:lnTo>
                    <a:pt x="744" y="786"/>
                  </a:lnTo>
                  <a:lnTo>
                    <a:pt x="744" y="792"/>
                  </a:lnTo>
                  <a:lnTo>
                    <a:pt x="744" y="786"/>
                  </a:lnTo>
                  <a:lnTo>
                    <a:pt x="738" y="792"/>
                  </a:lnTo>
                  <a:lnTo>
                    <a:pt x="744" y="792"/>
                  </a:lnTo>
                  <a:lnTo>
                    <a:pt x="750" y="792"/>
                  </a:lnTo>
                  <a:lnTo>
                    <a:pt x="750" y="786"/>
                  </a:lnTo>
                  <a:lnTo>
                    <a:pt x="756" y="786"/>
                  </a:lnTo>
                  <a:lnTo>
                    <a:pt x="756" y="792"/>
                  </a:lnTo>
                  <a:lnTo>
                    <a:pt x="762" y="792"/>
                  </a:lnTo>
                  <a:lnTo>
                    <a:pt x="756" y="798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0" y="810"/>
                  </a:lnTo>
                  <a:lnTo>
                    <a:pt x="756" y="810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6" y="816"/>
                  </a:lnTo>
                  <a:lnTo>
                    <a:pt x="750" y="816"/>
                  </a:lnTo>
                  <a:lnTo>
                    <a:pt x="738" y="810"/>
                  </a:lnTo>
                  <a:lnTo>
                    <a:pt x="732" y="810"/>
                  </a:lnTo>
                  <a:lnTo>
                    <a:pt x="732" y="816"/>
                  </a:lnTo>
                  <a:lnTo>
                    <a:pt x="726" y="810"/>
                  </a:lnTo>
                  <a:lnTo>
                    <a:pt x="714" y="816"/>
                  </a:lnTo>
                  <a:lnTo>
                    <a:pt x="708" y="816"/>
                  </a:lnTo>
                  <a:lnTo>
                    <a:pt x="702" y="816"/>
                  </a:lnTo>
                  <a:lnTo>
                    <a:pt x="696" y="816"/>
                  </a:lnTo>
                  <a:lnTo>
                    <a:pt x="690" y="822"/>
                  </a:lnTo>
                  <a:lnTo>
                    <a:pt x="684" y="822"/>
                  </a:lnTo>
                  <a:lnTo>
                    <a:pt x="678" y="822"/>
                  </a:lnTo>
                  <a:lnTo>
                    <a:pt x="672" y="822"/>
                  </a:lnTo>
                  <a:lnTo>
                    <a:pt x="666" y="822"/>
                  </a:lnTo>
                  <a:lnTo>
                    <a:pt x="666" y="828"/>
                  </a:lnTo>
                  <a:lnTo>
                    <a:pt x="654" y="828"/>
                  </a:lnTo>
                  <a:lnTo>
                    <a:pt x="648" y="828"/>
                  </a:lnTo>
                  <a:lnTo>
                    <a:pt x="642" y="828"/>
                  </a:lnTo>
                  <a:lnTo>
                    <a:pt x="630" y="828"/>
                  </a:lnTo>
                  <a:lnTo>
                    <a:pt x="624" y="822"/>
                  </a:lnTo>
                  <a:lnTo>
                    <a:pt x="618" y="822"/>
                  </a:lnTo>
                  <a:lnTo>
                    <a:pt x="612" y="822"/>
                  </a:lnTo>
                  <a:lnTo>
                    <a:pt x="606" y="822"/>
                  </a:lnTo>
                  <a:lnTo>
                    <a:pt x="600" y="822"/>
                  </a:lnTo>
                  <a:lnTo>
                    <a:pt x="594" y="822"/>
                  </a:lnTo>
                  <a:lnTo>
                    <a:pt x="594" y="816"/>
                  </a:lnTo>
                  <a:lnTo>
                    <a:pt x="594" y="810"/>
                  </a:lnTo>
                  <a:lnTo>
                    <a:pt x="600" y="804"/>
                  </a:lnTo>
                  <a:lnTo>
                    <a:pt x="600" y="798"/>
                  </a:lnTo>
                  <a:lnTo>
                    <a:pt x="600" y="792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2" y="786"/>
                  </a:lnTo>
                  <a:lnTo>
                    <a:pt x="618" y="786"/>
                  </a:lnTo>
                  <a:lnTo>
                    <a:pt x="624" y="786"/>
                  </a:lnTo>
                  <a:lnTo>
                    <a:pt x="624" y="780"/>
                  </a:lnTo>
                  <a:lnTo>
                    <a:pt x="630" y="780"/>
                  </a:lnTo>
                  <a:lnTo>
                    <a:pt x="630" y="774"/>
                  </a:lnTo>
                  <a:lnTo>
                    <a:pt x="636" y="774"/>
                  </a:lnTo>
                  <a:lnTo>
                    <a:pt x="642" y="780"/>
                  </a:lnTo>
                  <a:lnTo>
                    <a:pt x="642" y="786"/>
                  </a:lnTo>
                  <a:lnTo>
                    <a:pt x="642" y="792"/>
                  </a:lnTo>
                  <a:lnTo>
                    <a:pt x="648" y="792"/>
                  </a:lnTo>
                  <a:lnTo>
                    <a:pt x="648" y="786"/>
                  </a:lnTo>
                  <a:lnTo>
                    <a:pt x="642" y="786"/>
                  </a:lnTo>
                  <a:lnTo>
                    <a:pt x="642" y="780"/>
                  </a:lnTo>
                  <a:lnTo>
                    <a:pt x="642" y="774"/>
                  </a:lnTo>
                  <a:lnTo>
                    <a:pt x="648" y="768"/>
                  </a:lnTo>
                  <a:lnTo>
                    <a:pt x="642" y="768"/>
                  </a:lnTo>
                  <a:lnTo>
                    <a:pt x="648" y="768"/>
                  </a:lnTo>
                  <a:lnTo>
                    <a:pt x="648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66" y="762"/>
                  </a:lnTo>
                  <a:lnTo>
                    <a:pt x="672" y="756"/>
                  </a:lnTo>
                  <a:lnTo>
                    <a:pt x="666" y="756"/>
                  </a:lnTo>
                  <a:lnTo>
                    <a:pt x="660" y="756"/>
                  </a:lnTo>
                  <a:lnTo>
                    <a:pt x="660" y="750"/>
                  </a:lnTo>
                  <a:lnTo>
                    <a:pt x="654" y="750"/>
                  </a:lnTo>
                  <a:lnTo>
                    <a:pt x="648" y="750"/>
                  </a:lnTo>
                  <a:lnTo>
                    <a:pt x="648" y="756"/>
                  </a:lnTo>
                  <a:lnTo>
                    <a:pt x="642" y="756"/>
                  </a:lnTo>
                  <a:lnTo>
                    <a:pt x="642" y="750"/>
                  </a:lnTo>
                  <a:lnTo>
                    <a:pt x="642" y="744"/>
                  </a:lnTo>
                  <a:lnTo>
                    <a:pt x="642" y="750"/>
                  </a:lnTo>
                  <a:lnTo>
                    <a:pt x="636" y="750"/>
                  </a:lnTo>
                  <a:lnTo>
                    <a:pt x="636" y="744"/>
                  </a:lnTo>
                  <a:lnTo>
                    <a:pt x="630" y="744"/>
                  </a:lnTo>
                  <a:lnTo>
                    <a:pt x="630" y="738"/>
                  </a:lnTo>
                  <a:lnTo>
                    <a:pt x="630" y="744"/>
                  </a:lnTo>
                  <a:lnTo>
                    <a:pt x="630" y="750"/>
                  </a:lnTo>
                  <a:lnTo>
                    <a:pt x="636" y="750"/>
                  </a:lnTo>
                  <a:lnTo>
                    <a:pt x="636" y="756"/>
                  </a:lnTo>
                  <a:lnTo>
                    <a:pt x="630" y="756"/>
                  </a:lnTo>
                  <a:lnTo>
                    <a:pt x="636" y="762"/>
                  </a:lnTo>
                  <a:lnTo>
                    <a:pt x="630" y="762"/>
                  </a:lnTo>
                  <a:lnTo>
                    <a:pt x="624" y="762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24" y="786"/>
                  </a:lnTo>
                  <a:lnTo>
                    <a:pt x="618" y="786"/>
                  </a:lnTo>
                  <a:lnTo>
                    <a:pt x="618" y="78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12" y="774"/>
                  </a:lnTo>
                  <a:lnTo>
                    <a:pt x="612" y="780"/>
                  </a:lnTo>
                  <a:lnTo>
                    <a:pt x="606" y="780"/>
                  </a:lnTo>
                  <a:lnTo>
                    <a:pt x="600" y="780"/>
                  </a:lnTo>
                  <a:lnTo>
                    <a:pt x="600" y="774"/>
                  </a:lnTo>
                  <a:lnTo>
                    <a:pt x="594" y="768"/>
                  </a:lnTo>
                  <a:lnTo>
                    <a:pt x="594" y="762"/>
                  </a:lnTo>
                  <a:lnTo>
                    <a:pt x="594" y="756"/>
                  </a:lnTo>
                  <a:lnTo>
                    <a:pt x="594" y="762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594" y="780"/>
                  </a:lnTo>
                  <a:lnTo>
                    <a:pt x="588" y="780"/>
                  </a:lnTo>
                  <a:lnTo>
                    <a:pt x="582" y="780"/>
                  </a:lnTo>
                  <a:lnTo>
                    <a:pt x="576" y="780"/>
                  </a:lnTo>
                  <a:lnTo>
                    <a:pt x="570" y="780"/>
                  </a:lnTo>
                  <a:lnTo>
                    <a:pt x="564" y="780"/>
                  </a:lnTo>
                  <a:lnTo>
                    <a:pt x="564" y="786"/>
                  </a:lnTo>
                  <a:lnTo>
                    <a:pt x="558" y="786"/>
                  </a:lnTo>
                  <a:lnTo>
                    <a:pt x="552" y="786"/>
                  </a:lnTo>
                  <a:lnTo>
                    <a:pt x="552" y="780"/>
                  </a:lnTo>
                  <a:lnTo>
                    <a:pt x="552" y="774"/>
                  </a:lnTo>
                  <a:lnTo>
                    <a:pt x="552" y="768"/>
                  </a:lnTo>
                  <a:lnTo>
                    <a:pt x="546" y="768"/>
                  </a:lnTo>
                  <a:lnTo>
                    <a:pt x="540" y="762"/>
                  </a:lnTo>
                  <a:lnTo>
                    <a:pt x="540" y="756"/>
                  </a:lnTo>
                  <a:lnTo>
                    <a:pt x="534" y="756"/>
                  </a:lnTo>
                  <a:lnTo>
                    <a:pt x="534" y="750"/>
                  </a:lnTo>
                  <a:lnTo>
                    <a:pt x="534" y="744"/>
                  </a:lnTo>
                  <a:lnTo>
                    <a:pt x="528" y="738"/>
                  </a:lnTo>
                  <a:lnTo>
                    <a:pt x="522" y="738"/>
                  </a:lnTo>
                  <a:lnTo>
                    <a:pt x="522" y="732"/>
                  </a:lnTo>
                  <a:lnTo>
                    <a:pt x="510" y="726"/>
                  </a:lnTo>
                  <a:lnTo>
                    <a:pt x="510" y="720"/>
                  </a:lnTo>
                  <a:lnTo>
                    <a:pt x="504" y="720"/>
                  </a:lnTo>
                  <a:lnTo>
                    <a:pt x="504" y="714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8" y="702"/>
                  </a:lnTo>
                  <a:lnTo>
                    <a:pt x="498" y="696"/>
                  </a:lnTo>
                  <a:lnTo>
                    <a:pt x="492" y="690"/>
                  </a:lnTo>
                  <a:lnTo>
                    <a:pt x="492" y="684"/>
                  </a:lnTo>
                  <a:lnTo>
                    <a:pt x="486" y="684"/>
                  </a:lnTo>
                  <a:lnTo>
                    <a:pt x="486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74" y="678"/>
                  </a:lnTo>
                  <a:lnTo>
                    <a:pt x="468" y="678"/>
                  </a:lnTo>
                  <a:lnTo>
                    <a:pt x="462" y="678"/>
                  </a:lnTo>
                  <a:lnTo>
                    <a:pt x="462" y="672"/>
                  </a:lnTo>
                  <a:lnTo>
                    <a:pt x="456" y="672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44" y="666"/>
                  </a:lnTo>
                  <a:lnTo>
                    <a:pt x="438" y="660"/>
                  </a:lnTo>
                  <a:lnTo>
                    <a:pt x="438" y="648"/>
                  </a:lnTo>
                  <a:lnTo>
                    <a:pt x="438" y="642"/>
                  </a:lnTo>
                  <a:lnTo>
                    <a:pt x="438" y="636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36"/>
                  </a:lnTo>
                  <a:lnTo>
                    <a:pt x="420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60"/>
                  </a:lnTo>
                  <a:lnTo>
                    <a:pt x="432" y="666"/>
                  </a:lnTo>
                  <a:lnTo>
                    <a:pt x="438" y="666"/>
                  </a:lnTo>
                  <a:lnTo>
                    <a:pt x="438" y="672"/>
                  </a:lnTo>
                  <a:lnTo>
                    <a:pt x="444" y="672"/>
                  </a:lnTo>
                  <a:lnTo>
                    <a:pt x="444" y="678"/>
                  </a:lnTo>
                  <a:lnTo>
                    <a:pt x="450" y="678"/>
                  </a:lnTo>
                  <a:lnTo>
                    <a:pt x="456" y="678"/>
                  </a:lnTo>
                  <a:lnTo>
                    <a:pt x="456" y="684"/>
                  </a:lnTo>
                  <a:lnTo>
                    <a:pt x="462" y="684"/>
                  </a:lnTo>
                  <a:lnTo>
                    <a:pt x="468" y="684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80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86" y="708"/>
                  </a:lnTo>
                  <a:lnTo>
                    <a:pt x="492" y="714"/>
                  </a:lnTo>
                  <a:lnTo>
                    <a:pt x="492" y="720"/>
                  </a:lnTo>
                  <a:lnTo>
                    <a:pt x="492" y="726"/>
                  </a:lnTo>
                  <a:lnTo>
                    <a:pt x="498" y="732"/>
                  </a:lnTo>
                  <a:lnTo>
                    <a:pt x="492" y="738"/>
                  </a:lnTo>
                  <a:lnTo>
                    <a:pt x="492" y="744"/>
                  </a:lnTo>
                  <a:lnTo>
                    <a:pt x="492" y="750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68" y="738"/>
                  </a:lnTo>
                  <a:lnTo>
                    <a:pt x="468" y="744"/>
                  </a:lnTo>
                  <a:lnTo>
                    <a:pt x="474" y="750"/>
                  </a:lnTo>
                  <a:lnTo>
                    <a:pt x="480" y="756"/>
                  </a:lnTo>
                  <a:lnTo>
                    <a:pt x="486" y="756"/>
                  </a:lnTo>
                  <a:lnTo>
                    <a:pt x="492" y="762"/>
                  </a:lnTo>
                  <a:lnTo>
                    <a:pt x="498" y="768"/>
                  </a:lnTo>
                  <a:lnTo>
                    <a:pt x="492" y="774"/>
                  </a:lnTo>
                  <a:lnTo>
                    <a:pt x="492" y="780"/>
                  </a:lnTo>
                  <a:lnTo>
                    <a:pt x="498" y="780"/>
                  </a:lnTo>
                  <a:lnTo>
                    <a:pt x="492" y="786"/>
                  </a:lnTo>
                  <a:lnTo>
                    <a:pt x="492" y="792"/>
                  </a:lnTo>
                  <a:lnTo>
                    <a:pt x="492" y="79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0" y="810"/>
                  </a:lnTo>
                  <a:lnTo>
                    <a:pt x="480" y="804"/>
                  </a:lnTo>
                  <a:lnTo>
                    <a:pt x="474" y="804"/>
                  </a:lnTo>
                  <a:lnTo>
                    <a:pt x="474" y="798"/>
                  </a:lnTo>
                  <a:lnTo>
                    <a:pt x="474" y="804"/>
                  </a:lnTo>
                  <a:lnTo>
                    <a:pt x="468" y="804"/>
                  </a:lnTo>
                  <a:lnTo>
                    <a:pt x="468" y="810"/>
                  </a:lnTo>
                  <a:lnTo>
                    <a:pt x="462" y="810"/>
                  </a:lnTo>
                  <a:lnTo>
                    <a:pt x="456" y="810"/>
                  </a:lnTo>
                  <a:lnTo>
                    <a:pt x="450" y="810"/>
                  </a:lnTo>
                  <a:lnTo>
                    <a:pt x="450" y="816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50" y="822"/>
                  </a:lnTo>
                  <a:lnTo>
                    <a:pt x="450" y="816"/>
                  </a:lnTo>
                  <a:lnTo>
                    <a:pt x="444" y="816"/>
                  </a:lnTo>
                  <a:lnTo>
                    <a:pt x="438" y="810"/>
                  </a:lnTo>
                  <a:lnTo>
                    <a:pt x="432" y="810"/>
                  </a:lnTo>
                  <a:lnTo>
                    <a:pt x="426" y="804"/>
                  </a:lnTo>
                  <a:lnTo>
                    <a:pt x="426" y="798"/>
                  </a:lnTo>
                  <a:lnTo>
                    <a:pt x="420" y="798"/>
                  </a:lnTo>
                  <a:lnTo>
                    <a:pt x="426" y="798"/>
                  </a:lnTo>
                  <a:lnTo>
                    <a:pt x="426" y="792"/>
                  </a:lnTo>
                  <a:lnTo>
                    <a:pt x="426" y="786"/>
                  </a:lnTo>
                  <a:lnTo>
                    <a:pt x="432" y="786"/>
                  </a:lnTo>
                  <a:lnTo>
                    <a:pt x="432" y="780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0" y="756"/>
                  </a:lnTo>
                  <a:lnTo>
                    <a:pt x="420" y="750"/>
                  </a:lnTo>
                  <a:lnTo>
                    <a:pt x="414" y="750"/>
                  </a:lnTo>
                  <a:lnTo>
                    <a:pt x="420" y="750"/>
                  </a:lnTo>
                  <a:lnTo>
                    <a:pt x="420" y="744"/>
                  </a:lnTo>
                  <a:lnTo>
                    <a:pt x="414" y="744"/>
                  </a:lnTo>
                  <a:lnTo>
                    <a:pt x="414" y="738"/>
                  </a:lnTo>
                  <a:lnTo>
                    <a:pt x="414" y="732"/>
                  </a:lnTo>
                  <a:lnTo>
                    <a:pt x="408" y="732"/>
                  </a:lnTo>
                  <a:lnTo>
                    <a:pt x="408" y="726"/>
                  </a:lnTo>
                  <a:lnTo>
                    <a:pt x="402" y="726"/>
                  </a:lnTo>
                  <a:lnTo>
                    <a:pt x="396" y="726"/>
                  </a:lnTo>
                  <a:lnTo>
                    <a:pt x="390" y="726"/>
                  </a:lnTo>
                  <a:lnTo>
                    <a:pt x="390" y="720"/>
                  </a:lnTo>
                  <a:lnTo>
                    <a:pt x="390" y="714"/>
                  </a:lnTo>
                  <a:lnTo>
                    <a:pt x="384" y="708"/>
                  </a:lnTo>
                  <a:lnTo>
                    <a:pt x="384" y="702"/>
                  </a:lnTo>
                  <a:lnTo>
                    <a:pt x="378" y="702"/>
                  </a:lnTo>
                  <a:lnTo>
                    <a:pt x="378" y="696"/>
                  </a:lnTo>
                  <a:lnTo>
                    <a:pt x="378" y="690"/>
                  </a:lnTo>
                  <a:lnTo>
                    <a:pt x="372" y="684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66" y="666"/>
                  </a:lnTo>
                  <a:lnTo>
                    <a:pt x="366" y="660"/>
                  </a:lnTo>
                  <a:lnTo>
                    <a:pt x="366" y="654"/>
                  </a:lnTo>
                  <a:lnTo>
                    <a:pt x="360" y="648"/>
                  </a:lnTo>
                  <a:lnTo>
                    <a:pt x="360" y="654"/>
                  </a:lnTo>
                  <a:lnTo>
                    <a:pt x="360" y="660"/>
                  </a:lnTo>
                  <a:lnTo>
                    <a:pt x="360" y="666"/>
                  </a:lnTo>
                  <a:lnTo>
                    <a:pt x="360" y="672"/>
                  </a:lnTo>
                  <a:lnTo>
                    <a:pt x="360" y="678"/>
                  </a:lnTo>
                  <a:lnTo>
                    <a:pt x="366" y="678"/>
                  </a:lnTo>
                  <a:lnTo>
                    <a:pt x="366" y="684"/>
                  </a:lnTo>
                  <a:lnTo>
                    <a:pt x="366" y="690"/>
                  </a:lnTo>
                  <a:lnTo>
                    <a:pt x="372" y="696"/>
                  </a:lnTo>
                  <a:lnTo>
                    <a:pt x="372" y="702"/>
                  </a:lnTo>
                  <a:lnTo>
                    <a:pt x="372" y="708"/>
                  </a:lnTo>
                  <a:lnTo>
                    <a:pt x="372" y="714"/>
                  </a:lnTo>
                  <a:lnTo>
                    <a:pt x="366" y="714"/>
                  </a:lnTo>
                  <a:lnTo>
                    <a:pt x="360" y="714"/>
                  </a:lnTo>
                  <a:lnTo>
                    <a:pt x="354" y="714"/>
                  </a:lnTo>
                  <a:lnTo>
                    <a:pt x="348" y="714"/>
                  </a:lnTo>
                  <a:lnTo>
                    <a:pt x="348" y="708"/>
                  </a:lnTo>
                  <a:lnTo>
                    <a:pt x="342" y="708"/>
                  </a:lnTo>
                  <a:lnTo>
                    <a:pt x="342" y="702"/>
                  </a:lnTo>
                  <a:lnTo>
                    <a:pt x="342" y="696"/>
                  </a:lnTo>
                  <a:lnTo>
                    <a:pt x="336" y="696"/>
                  </a:lnTo>
                  <a:lnTo>
                    <a:pt x="336" y="690"/>
                  </a:lnTo>
                  <a:lnTo>
                    <a:pt x="336" y="684"/>
                  </a:lnTo>
                  <a:lnTo>
                    <a:pt x="330" y="684"/>
                  </a:lnTo>
                  <a:lnTo>
                    <a:pt x="330" y="678"/>
                  </a:lnTo>
                  <a:lnTo>
                    <a:pt x="324" y="672"/>
                  </a:lnTo>
                  <a:lnTo>
                    <a:pt x="324" y="666"/>
                  </a:lnTo>
                  <a:lnTo>
                    <a:pt x="318" y="666"/>
                  </a:lnTo>
                  <a:lnTo>
                    <a:pt x="318" y="672"/>
                  </a:lnTo>
                  <a:lnTo>
                    <a:pt x="324" y="672"/>
                  </a:lnTo>
                  <a:lnTo>
                    <a:pt x="324" y="678"/>
                  </a:lnTo>
                  <a:lnTo>
                    <a:pt x="324" y="684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30" y="696"/>
                  </a:lnTo>
                  <a:lnTo>
                    <a:pt x="336" y="702"/>
                  </a:lnTo>
                  <a:lnTo>
                    <a:pt x="342" y="708"/>
                  </a:lnTo>
                  <a:lnTo>
                    <a:pt x="342" y="714"/>
                  </a:lnTo>
                  <a:lnTo>
                    <a:pt x="348" y="720"/>
                  </a:lnTo>
                  <a:lnTo>
                    <a:pt x="342" y="720"/>
                  </a:lnTo>
                  <a:lnTo>
                    <a:pt x="336" y="720"/>
                  </a:lnTo>
                  <a:lnTo>
                    <a:pt x="330" y="720"/>
                  </a:lnTo>
                  <a:lnTo>
                    <a:pt x="330" y="726"/>
                  </a:lnTo>
                  <a:lnTo>
                    <a:pt x="336" y="726"/>
                  </a:lnTo>
                  <a:lnTo>
                    <a:pt x="330" y="732"/>
                  </a:lnTo>
                  <a:lnTo>
                    <a:pt x="330" y="738"/>
                  </a:lnTo>
                  <a:lnTo>
                    <a:pt x="330" y="744"/>
                  </a:lnTo>
                  <a:lnTo>
                    <a:pt x="336" y="744"/>
                  </a:lnTo>
                  <a:lnTo>
                    <a:pt x="342" y="744"/>
                  </a:lnTo>
                  <a:lnTo>
                    <a:pt x="348" y="744"/>
                  </a:lnTo>
                  <a:lnTo>
                    <a:pt x="348" y="750"/>
                  </a:lnTo>
                  <a:lnTo>
                    <a:pt x="354" y="750"/>
                  </a:lnTo>
                  <a:lnTo>
                    <a:pt x="360" y="756"/>
                  </a:lnTo>
                  <a:lnTo>
                    <a:pt x="360" y="762"/>
                  </a:lnTo>
                  <a:lnTo>
                    <a:pt x="366" y="762"/>
                  </a:lnTo>
                  <a:lnTo>
                    <a:pt x="366" y="768"/>
                  </a:lnTo>
                  <a:lnTo>
                    <a:pt x="366" y="774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72" y="792"/>
                  </a:lnTo>
                  <a:lnTo>
                    <a:pt x="372" y="798"/>
                  </a:lnTo>
                  <a:lnTo>
                    <a:pt x="372" y="804"/>
                  </a:lnTo>
                  <a:lnTo>
                    <a:pt x="378" y="804"/>
                  </a:lnTo>
                  <a:lnTo>
                    <a:pt x="378" y="810"/>
                  </a:lnTo>
                  <a:lnTo>
                    <a:pt x="378" y="816"/>
                  </a:lnTo>
                  <a:lnTo>
                    <a:pt x="372" y="816"/>
                  </a:lnTo>
                  <a:lnTo>
                    <a:pt x="378" y="816"/>
                  </a:lnTo>
                  <a:lnTo>
                    <a:pt x="378" y="822"/>
                  </a:lnTo>
                  <a:lnTo>
                    <a:pt x="378" y="828"/>
                  </a:lnTo>
                  <a:lnTo>
                    <a:pt x="378" y="834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0" y="864"/>
                  </a:lnTo>
                  <a:lnTo>
                    <a:pt x="384" y="864"/>
                  </a:lnTo>
                  <a:lnTo>
                    <a:pt x="384" y="870"/>
                  </a:lnTo>
                  <a:lnTo>
                    <a:pt x="378" y="864"/>
                  </a:lnTo>
                  <a:lnTo>
                    <a:pt x="372" y="864"/>
                  </a:lnTo>
                  <a:lnTo>
                    <a:pt x="366" y="858"/>
                  </a:lnTo>
                  <a:lnTo>
                    <a:pt x="366" y="852"/>
                  </a:lnTo>
                  <a:lnTo>
                    <a:pt x="360" y="852"/>
                  </a:lnTo>
                  <a:lnTo>
                    <a:pt x="360" y="858"/>
                  </a:lnTo>
                  <a:lnTo>
                    <a:pt x="366" y="858"/>
                  </a:lnTo>
                  <a:lnTo>
                    <a:pt x="366" y="864"/>
                  </a:lnTo>
                  <a:lnTo>
                    <a:pt x="360" y="864"/>
                  </a:lnTo>
                  <a:lnTo>
                    <a:pt x="354" y="864"/>
                  </a:lnTo>
                  <a:lnTo>
                    <a:pt x="354" y="870"/>
                  </a:lnTo>
                  <a:lnTo>
                    <a:pt x="354" y="864"/>
                  </a:lnTo>
                  <a:lnTo>
                    <a:pt x="348" y="864"/>
                  </a:lnTo>
                  <a:lnTo>
                    <a:pt x="342" y="864"/>
                  </a:lnTo>
                  <a:lnTo>
                    <a:pt x="342" y="858"/>
                  </a:lnTo>
                  <a:lnTo>
                    <a:pt x="336" y="858"/>
                  </a:lnTo>
                  <a:lnTo>
                    <a:pt x="330" y="858"/>
                  </a:lnTo>
                  <a:lnTo>
                    <a:pt x="324" y="858"/>
                  </a:lnTo>
                  <a:lnTo>
                    <a:pt x="318" y="858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0" y="852"/>
                  </a:lnTo>
                  <a:lnTo>
                    <a:pt x="294" y="852"/>
                  </a:lnTo>
                  <a:lnTo>
                    <a:pt x="294" y="846"/>
                  </a:lnTo>
                  <a:lnTo>
                    <a:pt x="288" y="840"/>
                  </a:lnTo>
                  <a:lnTo>
                    <a:pt x="288" y="828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2" y="816"/>
                  </a:lnTo>
                  <a:lnTo>
                    <a:pt x="282" y="810"/>
                  </a:lnTo>
                  <a:lnTo>
                    <a:pt x="276" y="810"/>
                  </a:lnTo>
                  <a:lnTo>
                    <a:pt x="276" y="804"/>
                  </a:lnTo>
                  <a:lnTo>
                    <a:pt x="276" y="798"/>
                  </a:lnTo>
                  <a:lnTo>
                    <a:pt x="276" y="792"/>
                  </a:lnTo>
                  <a:lnTo>
                    <a:pt x="270" y="786"/>
                  </a:lnTo>
                  <a:lnTo>
                    <a:pt x="270" y="780"/>
                  </a:lnTo>
                  <a:lnTo>
                    <a:pt x="270" y="774"/>
                  </a:lnTo>
                  <a:lnTo>
                    <a:pt x="264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64" y="750"/>
                  </a:lnTo>
                  <a:lnTo>
                    <a:pt x="264" y="744"/>
                  </a:lnTo>
                  <a:lnTo>
                    <a:pt x="264" y="738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26"/>
                  </a:lnTo>
                  <a:lnTo>
                    <a:pt x="276" y="720"/>
                  </a:lnTo>
                  <a:lnTo>
                    <a:pt x="282" y="720"/>
                  </a:lnTo>
                  <a:lnTo>
                    <a:pt x="282" y="714"/>
                  </a:lnTo>
                  <a:lnTo>
                    <a:pt x="282" y="708"/>
                  </a:lnTo>
                  <a:lnTo>
                    <a:pt x="276" y="708"/>
                  </a:lnTo>
                  <a:lnTo>
                    <a:pt x="276" y="702"/>
                  </a:lnTo>
                  <a:lnTo>
                    <a:pt x="270" y="702"/>
                  </a:lnTo>
                  <a:lnTo>
                    <a:pt x="270" y="696"/>
                  </a:lnTo>
                  <a:lnTo>
                    <a:pt x="264" y="690"/>
                  </a:lnTo>
                  <a:lnTo>
                    <a:pt x="258" y="690"/>
                  </a:lnTo>
                  <a:lnTo>
                    <a:pt x="258" y="684"/>
                  </a:lnTo>
                  <a:lnTo>
                    <a:pt x="252" y="684"/>
                  </a:lnTo>
                  <a:lnTo>
                    <a:pt x="252" y="678"/>
                  </a:lnTo>
                  <a:lnTo>
                    <a:pt x="246" y="678"/>
                  </a:lnTo>
                  <a:lnTo>
                    <a:pt x="240" y="678"/>
                  </a:lnTo>
                  <a:lnTo>
                    <a:pt x="240" y="684"/>
                  </a:lnTo>
                  <a:lnTo>
                    <a:pt x="246" y="684"/>
                  </a:lnTo>
                  <a:lnTo>
                    <a:pt x="252" y="690"/>
                  </a:lnTo>
                  <a:lnTo>
                    <a:pt x="258" y="690"/>
                  </a:lnTo>
                  <a:lnTo>
                    <a:pt x="258" y="696"/>
                  </a:lnTo>
                  <a:lnTo>
                    <a:pt x="258" y="702"/>
                  </a:lnTo>
                  <a:lnTo>
                    <a:pt x="264" y="702"/>
                  </a:lnTo>
                  <a:lnTo>
                    <a:pt x="270" y="708"/>
                  </a:lnTo>
                  <a:lnTo>
                    <a:pt x="270" y="714"/>
                  </a:lnTo>
                  <a:lnTo>
                    <a:pt x="270" y="720"/>
                  </a:lnTo>
                  <a:lnTo>
                    <a:pt x="276" y="720"/>
                  </a:lnTo>
                  <a:lnTo>
                    <a:pt x="270" y="720"/>
                  </a:lnTo>
                  <a:lnTo>
                    <a:pt x="270" y="726"/>
                  </a:lnTo>
                  <a:lnTo>
                    <a:pt x="264" y="726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52" y="738"/>
                  </a:lnTo>
                  <a:lnTo>
                    <a:pt x="252" y="744"/>
                  </a:lnTo>
                  <a:lnTo>
                    <a:pt x="252" y="750"/>
                  </a:lnTo>
                  <a:lnTo>
                    <a:pt x="252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58" y="774"/>
                  </a:lnTo>
                  <a:lnTo>
                    <a:pt x="258" y="780"/>
                  </a:lnTo>
                  <a:lnTo>
                    <a:pt x="264" y="786"/>
                  </a:lnTo>
                  <a:lnTo>
                    <a:pt x="264" y="792"/>
                  </a:lnTo>
                  <a:lnTo>
                    <a:pt x="264" y="798"/>
                  </a:lnTo>
                  <a:lnTo>
                    <a:pt x="270" y="810"/>
                  </a:lnTo>
                  <a:lnTo>
                    <a:pt x="270" y="816"/>
                  </a:lnTo>
                  <a:lnTo>
                    <a:pt x="270" y="822"/>
                  </a:lnTo>
                  <a:lnTo>
                    <a:pt x="276" y="822"/>
                  </a:lnTo>
                  <a:lnTo>
                    <a:pt x="276" y="828"/>
                  </a:lnTo>
                  <a:lnTo>
                    <a:pt x="276" y="834"/>
                  </a:lnTo>
                  <a:lnTo>
                    <a:pt x="276" y="840"/>
                  </a:lnTo>
                  <a:lnTo>
                    <a:pt x="276" y="846"/>
                  </a:lnTo>
                  <a:lnTo>
                    <a:pt x="282" y="852"/>
                  </a:lnTo>
                  <a:lnTo>
                    <a:pt x="282" y="858"/>
                  </a:lnTo>
                  <a:lnTo>
                    <a:pt x="294" y="864"/>
                  </a:lnTo>
                  <a:lnTo>
                    <a:pt x="300" y="870"/>
                  </a:lnTo>
                  <a:lnTo>
                    <a:pt x="300" y="876"/>
                  </a:lnTo>
                  <a:lnTo>
                    <a:pt x="288" y="876"/>
                  </a:lnTo>
                  <a:lnTo>
                    <a:pt x="282" y="876"/>
                  </a:lnTo>
                  <a:lnTo>
                    <a:pt x="276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2" y="882"/>
                  </a:lnTo>
                  <a:lnTo>
                    <a:pt x="246" y="882"/>
                  </a:lnTo>
                  <a:lnTo>
                    <a:pt x="240" y="882"/>
                  </a:lnTo>
                  <a:lnTo>
                    <a:pt x="234" y="882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204" y="876"/>
                  </a:lnTo>
                  <a:lnTo>
                    <a:pt x="198" y="876"/>
                  </a:lnTo>
                  <a:lnTo>
                    <a:pt x="198" y="870"/>
                  </a:lnTo>
                  <a:lnTo>
                    <a:pt x="198" y="852"/>
                  </a:lnTo>
                  <a:lnTo>
                    <a:pt x="198" y="846"/>
                  </a:lnTo>
                  <a:lnTo>
                    <a:pt x="204" y="846"/>
                  </a:lnTo>
                  <a:lnTo>
                    <a:pt x="198" y="840"/>
                  </a:lnTo>
                  <a:lnTo>
                    <a:pt x="198" y="834"/>
                  </a:lnTo>
                  <a:lnTo>
                    <a:pt x="198" y="828"/>
                  </a:lnTo>
                  <a:lnTo>
                    <a:pt x="198" y="822"/>
                  </a:lnTo>
                  <a:lnTo>
                    <a:pt x="198" y="816"/>
                  </a:lnTo>
                  <a:lnTo>
                    <a:pt x="198" y="810"/>
                  </a:lnTo>
                  <a:lnTo>
                    <a:pt x="192" y="810"/>
                  </a:lnTo>
                  <a:lnTo>
                    <a:pt x="192" y="804"/>
                  </a:lnTo>
                  <a:lnTo>
                    <a:pt x="192" y="798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2" y="774"/>
                  </a:lnTo>
                  <a:lnTo>
                    <a:pt x="192" y="768"/>
                  </a:lnTo>
                  <a:lnTo>
                    <a:pt x="198" y="768"/>
                  </a:lnTo>
                  <a:lnTo>
                    <a:pt x="198" y="762"/>
                  </a:lnTo>
                  <a:lnTo>
                    <a:pt x="198" y="756"/>
                  </a:lnTo>
                  <a:lnTo>
                    <a:pt x="204" y="756"/>
                  </a:lnTo>
                  <a:lnTo>
                    <a:pt x="204" y="750"/>
                  </a:lnTo>
                  <a:lnTo>
                    <a:pt x="210" y="744"/>
                  </a:lnTo>
                  <a:lnTo>
                    <a:pt x="210" y="738"/>
                  </a:lnTo>
                  <a:lnTo>
                    <a:pt x="210" y="732"/>
                  </a:lnTo>
                  <a:lnTo>
                    <a:pt x="210" y="726"/>
                  </a:lnTo>
                  <a:lnTo>
                    <a:pt x="210" y="720"/>
                  </a:lnTo>
                  <a:lnTo>
                    <a:pt x="204" y="714"/>
                  </a:lnTo>
                  <a:lnTo>
                    <a:pt x="204" y="720"/>
                  </a:lnTo>
                  <a:lnTo>
                    <a:pt x="204" y="732"/>
                  </a:lnTo>
                  <a:lnTo>
                    <a:pt x="204" y="738"/>
                  </a:lnTo>
                  <a:lnTo>
                    <a:pt x="198" y="738"/>
                  </a:lnTo>
                  <a:lnTo>
                    <a:pt x="198" y="744"/>
                  </a:lnTo>
                  <a:lnTo>
                    <a:pt x="198" y="750"/>
                  </a:lnTo>
                  <a:lnTo>
                    <a:pt x="192" y="756"/>
                  </a:lnTo>
                  <a:lnTo>
                    <a:pt x="186" y="762"/>
                  </a:lnTo>
                  <a:lnTo>
                    <a:pt x="186" y="768"/>
                  </a:lnTo>
                  <a:lnTo>
                    <a:pt x="186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98"/>
                  </a:lnTo>
                  <a:lnTo>
                    <a:pt x="186" y="804"/>
                  </a:lnTo>
                  <a:lnTo>
                    <a:pt x="186" y="810"/>
                  </a:lnTo>
                  <a:lnTo>
                    <a:pt x="192" y="816"/>
                  </a:lnTo>
                  <a:lnTo>
                    <a:pt x="192" y="828"/>
                  </a:lnTo>
                  <a:lnTo>
                    <a:pt x="192" y="834"/>
                  </a:lnTo>
                  <a:lnTo>
                    <a:pt x="186" y="834"/>
                  </a:lnTo>
                  <a:lnTo>
                    <a:pt x="186" y="828"/>
                  </a:lnTo>
                  <a:lnTo>
                    <a:pt x="180" y="822"/>
                  </a:lnTo>
                  <a:lnTo>
                    <a:pt x="180" y="816"/>
                  </a:lnTo>
                  <a:lnTo>
                    <a:pt x="180" y="810"/>
                  </a:lnTo>
                  <a:lnTo>
                    <a:pt x="174" y="810"/>
                  </a:lnTo>
                  <a:lnTo>
                    <a:pt x="174" y="804"/>
                  </a:lnTo>
                  <a:lnTo>
                    <a:pt x="174" y="798"/>
                  </a:lnTo>
                  <a:lnTo>
                    <a:pt x="174" y="792"/>
                  </a:lnTo>
                  <a:lnTo>
                    <a:pt x="168" y="786"/>
                  </a:lnTo>
                  <a:lnTo>
                    <a:pt x="168" y="780"/>
                  </a:lnTo>
                  <a:lnTo>
                    <a:pt x="162" y="780"/>
                  </a:lnTo>
                  <a:lnTo>
                    <a:pt x="168" y="774"/>
                  </a:lnTo>
                  <a:lnTo>
                    <a:pt x="168" y="768"/>
                  </a:lnTo>
                  <a:lnTo>
                    <a:pt x="174" y="768"/>
                  </a:lnTo>
                  <a:lnTo>
                    <a:pt x="168" y="768"/>
                  </a:lnTo>
                  <a:lnTo>
                    <a:pt x="162" y="774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50" y="774"/>
                  </a:lnTo>
                  <a:lnTo>
                    <a:pt x="144" y="774"/>
                  </a:lnTo>
                  <a:lnTo>
                    <a:pt x="144" y="768"/>
                  </a:lnTo>
                  <a:lnTo>
                    <a:pt x="144" y="762"/>
                  </a:lnTo>
                  <a:lnTo>
                    <a:pt x="138" y="756"/>
                  </a:lnTo>
                  <a:lnTo>
                    <a:pt x="132" y="756"/>
                  </a:lnTo>
                  <a:lnTo>
                    <a:pt x="138" y="756"/>
                  </a:lnTo>
                  <a:lnTo>
                    <a:pt x="138" y="762"/>
                  </a:lnTo>
                  <a:lnTo>
                    <a:pt x="138" y="768"/>
                  </a:lnTo>
                  <a:lnTo>
                    <a:pt x="144" y="768"/>
                  </a:lnTo>
                  <a:lnTo>
                    <a:pt x="144" y="774"/>
                  </a:lnTo>
                  <a:lnTo>
                    <a:pt x="150" y="780"/>
                  </a:lnTo>
                  <a:lnTo>
                    <a:pt x="156" y="780"/>
                  </a:lnTo>
                  <a:lnTo>
                    <a:pt x="156" y="786"/>
                  </a:lnTo>
                  <a:lnTo>
                    <a:pt x="162" y="786"/>
                  </a:lnTo>
                  <a:lnTo>
                    <a:pt x="168" y="792"/>
                  </a:lnTo>
                  <a:lnTo>
                    <a:pt x="168" y="798"/>
                  </a:lnTo>
                  <a:lnTo>
                    <a:pt x="168" y="804"/>
                  </a:lnTo>
                  <a:lnTo>
                    <a:pt x="174" y="810"/>
                  </a:lnTo>
                  <a:lnTo>
                    <a:pt x="174" y="816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68" y="828"/>
                  </a:lnTo>
                  <a:lnTo>
                    <a:pt x="168" y="834"/>
                  </a:lnTo>
                  <a:lnTo>
                    <a:pt x="174" y="840"/>
                  </a:lnTo>
                  <a:lnTo>
                    <a:pt x="180" y="840"/>
                  </a:lnTo>
                  <a:lnTo>
                    <a:pt x="180" y="846"/>
                  </a:lnTo>
                  <a:lnTo>
                    <a:pt x="186" y="846"/>
                  </a:lnTo>
                  <a:lnTo>
                    <a:pt x="186" y="852"/>
                  </a:lnTo>
                  <a:lnTo>
                    <a:pt x="186" y="858"/>
                  </a:lnTo>
                  <a:lnTo>
                    <a:pt x="186" y="864"/>
                  </a:lnTo>
                  <a:lnTo>
                    <a:pt x="192" y="864"/>
                  </a:lnTo>
                  <a:lnTo>
                    <a:pt x="192" y="870"/>
                  </a:lnTo>
                  <a:lnTo>
                    <a:pt x="192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6" y="888"/>
                  </a:lnTo>
                  <a:lnTo>
                    <a:pt x="180" y="888"/>
                  </a:lnTo>
                  <a:lnTo>
                    <a:pt x="174" y="888"/>
                  </a:lnTo>
                  <a:lnTo>
                    <a:pt x="168" y="894"/>
                  </a:lnTo>
                  <a:lnTo>
                    <a:pt x="162" y="894"/>
                  </a:lnTo>
                  <a:lnTo>
                    <a:pt x="156" y="894"/>
                  </a:lnTo>
                  <a:lnTo>
                    <a:pt x="150" y="894"/>
                  </a:lnTo>
                  <a:lnTo>
                    <a:pt x="144" y="894"/>
                  </a:lnTo>
                  <a:lnTo>
                    <a:pt x="144" y="900"/>
                  </a:lnTo>
                  <a:lnTo>
                    <a:pt x="138" y="894"/>
                  </a:lnTo>
                  <a:lnTo>
                    <a:pt x="138" y="900"/>
                  </a:lnTo>
                  <a:lnTo>
                    <a:pt x="132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6" y="882"/>
                  </a:lnTo>
                  <a:lnTo>
                    <a:pt x="126" y="876"/>
                  </a:lnTo>
                  <a:lnTo>
                    <a:pt x="120" y="876"/>
                  </a:lnTo>
                  <a:lnTo>
                    <a:pt x="126" y="870"/>
                  </a:lnTo>
                  <a:lnTo>
                    <a:pt x="126" y="864"/>
                  </a:lnTo>
                  <a:lnTo>
                    <a:pt x="126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26" y="828"/>
                  </a:lnTo>
                  <a:lnTo>
                    <a:pt x="126" y="822"/>
                  </a:lnTo>
                  <a:lnTo>
                    <a:pt x="126" y="816"/>
                  </a:lnTo>
                  <a:lnTo>
                    <a:pt x="126" y="810"/>
                  </a:lnTo>
                  <a:lnTo>
                    <a:pt x="126" y="804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20" y="792"/>
                  </a:lnTo>
                  <a:lnTo>
                    <a:pt x="114" y="792"/>
                  </a:lnTo>
                  <a:lnTo>
                    <a:pt x="114" y="786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96" y="780"/>
                  </a:lnTo>
                  <a:lnTo>
                    <a:pt x="96" y="774"/>
                  </a:lnTo>
                  <a:lnTo>
                    <a:pt x="90" y="774"/>
                  </a:lnTo>
                  <a:lnTo>
                    <a:pt x="90" y="768"/>
                  </a:lnTo>
                  <a:close/>
                  <a:moveTo>
                    <a:pt x="96" y="780"/>
                  </a:moveTo>
                  <a:lnTo>
                    <a:pt x="102" y="780"/>
                  </a:lnTo>
                  <a:lnTo>
                    <a:pt x="102" y="786"/>
                  </a:lnTo>
                  <a:lnTo>
                    <a:pt x="108" y="786"/>
                  </a:lnTo>
                  <a:lnTo>
                    <a:pt x="114" y="792"/>
                  </a:lnTo>
                  <a:lnTo>
                    <a:pt x="120" y="798"/>
                  </a:lnTo>
                  <a:lnTo>
                    <a:pt x="120" y="804"/>
                  </a:lnTo>
                  <a:lnTo>
                    <a:pt x="126" y="810"/>
                  </a:lnTo>
                  <a:lnTo>
                    <a:pt x="126" y="816"/>
                  </a:lnTo>
                  <a:lnTo>
                    <a:pt x="126" y="822"/>
                  </a:lnTo>
                  <a:lnTo>
                    <a:pt x="120" y="828"/>
                  </a:lnTo>
                  <a:lnTo>
                    <a:pt x="120" y="840"/>
                  </a:lnTo>
                  <a:lnTo>
                    <a:pt x="120" y="852"/>
                  </a:lnTo>
                  <a:lnTo>
                    <a:pt x="120" y="858"/>
                  </a:lnTo>
                  <a:lnTo>
                    <a:pt x="120" y="864"/>
                  </a:lnTo>
                  <a:lnTo>
                    <a:pt x="120" y="870"/>
                  </a:lnTo>
                  <a:lnTo>
                    <a:pt x="114" y="870"/>
                  </a:lnTo>
                  <a:lnTo>
                    <a:pt x="108" y="870"/>
                  </a:lnTo>
                  <a:lnTo>
                    <a:pt x="108" y="876"/>
                  </a:lnTo>
                  <a:lnTo>
                    <a:pt x="114" y="876"/>
                  </a:lnTo>
                  <a:lnTo>
                    <a:pt x="120" y="876"/>
                  </a:lnTo>
                  <a:lnTo>
                    <a:pt x="120" y="882"/>
                  </a:lnTo>
                  <a:lnTo>
                    <a:pt x="114" y="888"/>
                  </a:lnTo>
                  <a:lnTo>
                    <a:pt x="120" y="888"/>
                  </a:lnTo>
                  <a:lnTo>
                    <a:pt x="120" y="894"/>
                  </a:lnTo>
                  <a:lnTo>
                    <a:pt x="114" y="894"/>
                  </a:lnTo>
                  <a:lnTo>
                    <a:pt x="108" y="894"/>
                  </a:lnTo>
                  <a:lnTo>
                    <a:pt x="96" y="894"/>
                  </a:lnTo>
                  <a:lnTo>
                    <a:pt x="96" y="882"/>
                  </a:lnTo>
                  <a:lnTo>
                    <a:pt x="96" y="876"/>
                  </a:lnTo>
                  <a:lnTo>
                    <a:pt x="84" y="870"/>
                  </a:lnTo>
                  <a:lnTo>
                    <a:pt x="72" y="864"/>
                  </a:lnTo>
                  <a:lnTo>
                    <a:pt x="72" y="852"/>
                  </a:lnTo>
                  <a:lnTo>
                    <a:pt x="72" y="840"/>
                  </a:lnTo>
                  <a:lnTo>
                    <a:pt x="78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90" y="792"/>
                  </a:lnTo>
                  <a:lnTo>
                    <a:pt x="96" y="780"/>
                  </a:lnTo>
                  <a:close/>
                  <a:moveTo>
                    <a:pt x="492" y="810"/>
                  </a:moveTo>
                  <a:lnTo>
                    <a:pt x="498" y="810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510" y="792"/>
                  </a:lnTo>
                  <a:lnTo>
                    <a:pt x="516" y="786"/>
                  </a:lnTo>
                  <a:lnTo>
                    <a:pt x="522" y="780"/>
                  </a:lnTo>
                  <a:lnTo>
                    <a:pt x="522" y="774"/>
                  </a:lnTo>
                  <a:lnTo>
                    <a:pt x="528" y="768"/>
                  </a:lnTo>
                  <a:lnTo>
                    <a:pt x="528" y="762"/>
                  </a:lnTo>
                  <a:lnTo>
                    <a:pt x="534" y="762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46" y="780"/>
                  </a:lnTo>
                  <a:lnTo>
                    <a:pt x="552" y="786"/>
                  </a:lnTo>
                  <a:lnTo>
                    <a:pt x="558" y="786"/>
                  </a:lnTo>
                  <a:lnTo>
                    <a:pt x="564" y="786"/>
                  </a:lnTo>
                  <a:lnTo>
                    <a:pt x="576" y="786"/>
                  </a:lnTo>
                  <a:lnTo>
                    <a:pt x="582" y="786"/>
                  </a:lnTo>
                  <a:lnTo>
                    <a:pt x="588" y="786"/>
                  </a:lnTo>
                  <a:lnTo>
                    <a:pt x="594" y="786"/>
                  </a:lnTo>
                  <a:lnTo>
                    <a:pt x="588" y="792"/>
                  </a:lnTo>
                  <a:lnTo>
                    <a:pt x="588" y="798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82" y="822"/>
                  </a:lnTo>
                  <a:lnTo>
                    <a:pt x="588" y="828"/>
                  </a:lnTo>
                  <a:lnTo>
                    <a:pt x="588" y="834"/>
                  </a:lnTo>
                  <a:lnTo>
                    <a:pt x="582" y="840"/>
                  </a:lnTo>
                  <a:lnTo>
                    <a:pt x="570" y="840"/>
                  </a:lnTo>
                  <a:lnTo>
                    <a:pt x="558" y="846"/>
                  </a:lnTo>
                  <a:lnTo>
                    <a:pt x="552" y="846"/>
                  </a:lnTo>
                  <a:lnTo>
                    <a:pt x="534" y="852"/>
                  </a:lnTo>
                  <a:lnTo>
                    <a:pt x="522" y="858"/>
                  </a:lnTo>
                  <a:lnTo>
                    <a:pt x="510" y="858"/>
                  </a:lnTo>
                  <a:lnTo>
                    <a:pt x="498" y="864"/>
                  </a:lnTo>
                  <a:lnTo>
                    <a:pt x="474" y="864"/>
                  </a:lnTo>
                  <a:lnTo>
                    <a:pt x="468" y="858"/>
                  </a:lnTo>
                  <a:lnTo>
                    <a:pt x="468" y="852"/>
                  </a:lnTo>
                  <a:lnTo>
                    <a:pt x="468" y="846"/>
                  </a:lnTo>
                  <a:lnTo>
                    <a:pt x="474" y="840"/>
                  </a:lnTo>
                  <a:lnTo>
                    <a:pt x="474" y="834"/>
                  </a:lnTo>
                  <a:lnTo>
                    <a:pt x="480" y="828"/>
                  </a:lnTo>
                  <a:lnTo>
                    <a:pt x="492" y="822"/>
                  </a:lnTo>
                  <a:lnTo>
                    <a:pt x="492" y="810"/>
                  </a:lnTo>
                  <a:close/>
                  <a:moveTo>
                    <a:pt x="384" y="720"/>
                  </a:moveTo>
                  <a:lnTo>
                    <a:pt x="384" y="726"/>
                  </a:lnTo>
                  <a:lnTo>
                    <a:pt x="390" y="726"/>
                  </a:lnTo>
                  <a:lnTo>
                    <a:pt x="396" y="726"/>
                  </a:lnTo>
                  <a:lnTo>
                    <a:pt x="402" y="732"/>
                  </a:lnTo>
                  <a:lnTo>
                    <a:pt x="408" y="732"/>
                  </a:lnTo>
                  <a:lnTo>
                    <a:pt x="414" y="732"/>
                  </a:lnTo>
                  <a:lnTo>
                    <a:pt x="414" y="738"/>
                  </a:lnTo>
                  <a:lnTo>
                    <a:pt x="414" y="744"/>
                  </a:lnTo>
                  <a:lnTo>
                    <a:pt x="414" y="750"/>
                  </a:lnTo>
                  <a:lnTo>
                    <a:pt x="414" y="756"/>
                  </a:lnTo>
                  <a:lnTo>
                    <a:pt x="414" y="762"/>
                  </a:lnTo>
                  <a:lnTo>
                    <a:pt x="420" y="768"/>
                  </a:lnTo>
                  <a:lnTo>
                    <a:pt x="420" y="774"/>
                  </a:lnTo>
                  <a:lnTo>
                    <a:pt x="426" y="780"/>
                  </a:lnTo>
                  <a:lnTo>
                    <a:pt x="426" y="786"/>
                  </a:lnTo>
                  <a:lnTo>
                    <a:pt x="420" y="786"/>
                  </a:lnTo>
                  <a:lnTo>
                    <a:pt x="420" y="792"/>
                  </a:lnTo>
                  <a:lnTo>
                    <a:pt x="420" y="798"/>
                  </a:lnTo>
                  <a:lnTo>
                    <a:pt x="420" y="804"/>
                  </a:lnTo>
                  <a:lnTo>
                    <a:pt x="426" y="804"/>
                  </a:lnTo>
                  <a:lnTo>
                    <a:pt x="426" y="810"/>
                  </a:lnTo>
                  <a:lnTo>
                    <a:pt x="426" y="816"/>
                  </a:lnTo>
                  <a:lnTo>
                    <a:pt x="432" y="816"/>
                  </a:lnTo>
                  <a:lnTo>
                    <a:pt x="438" y="816"/>
                  </a:lnTo>
                  <a:lnTo>
                    <a:pt x="438" y="822"/>
                  </a:lnTo>
                  <a:lnTo>
                    <a:pt x="432" y="822"/>
                  </a:lnTo>
                  <a:lnTo>
                    <a:pt x="426" y="828"/>
                  </a:lnTo>
                  <a:lnTo>
                    <a:pt x="420" y="828"/>
                  </a:lnTo>
                  <a:lnTo>
                    <a:pt x="414" y="828"/>
                  </a:lnTo>
                  <a:lnTo>
                    <a:pt x="408" y="828"/>
                  </a:lnTo>
                  <a:lnTo>
                    <a:pt x="402" y="828"/>
                  </a:lnTo>
                  <a:lnTo>
                    <a:pt x="402" y="822"/>
                  </a:lnTo>
                  <a:lnTo>
                    <a:pt x="396" y="822"/>
                  </a:lnTo>
                  <a:lnTo>
                    <a:pt x="402" y="822"/>
                  </a:lnTo>
                  <a:lnTo>
                    <a:pt x="402" y="816"/>
                  </a:lnTo>
                  <a:lnTo>
                    <a:pt x="396" y="816"/>
                  </a:lnTo>
                  <a:lnTo>
                    <a:pt x="396" y="810"/>
                  </a:lnTo>
                  <a:lnTo>
                    <a:pt x="396" y="804"/>
                  </a:lnTo>
                  <a:lnTo>
                    <a:pt x="390" y="798"/>
                  </a:lnTo>
                  <a:lnTo>
                    <a:pt x="390" y="792"/>
                  </a:lnTo>
                  <a:lnTo>
                    <a:pt x="390" y="786"/>
                  </a:lnTo>
                  <a:lnTo>
                    <a:pt x="390" y="780"/>
                  </a:lnTo>
                  <a:lnTo>
                    <a:pt x="390" y="774"/>
                  </a:lnTo>
                  <a:lnTo>
                    <a:pt x="390" y="768"/>
                  </a:lnTo>
                  <a:lnTo>
                    <a:pt x="390" y="762"/>
                  </a:lnTo>
                  <a:lnTo>
                    <a:pt x="384" y="756"/>
                  </a:lnTo>
                  <a:lnTo>
                    <a:pt x="384" y="750"/>
                  </a:lnTo>
                  <a:lnTo>
                    <a:pt x="384" y="744"/>
                  </a:lnTo>
                  <a:lnTo>
                    <a:pt x="378" y="744"/>
                  </a:lnTo>
                  <a:lnTo>
                    <a:pt x="384" y="744"/>
                  </a:lnTo>
                  <a:lnTo>
                    <a:pt x="384" y="738"/>
                  </a:lnTo>
                  <a:lnTo>
                    <a:pt x="378" y="738"/>
                  </a:lnTo>
                  <a:lnTo>
                    <a:pt x="378" y="732"/>
                  </a:lnTo>
                  <a:lnTo>
                    <a:pt x="378" y="726"/>
                  </a:lnTo>
                  <a:lnTo>
                    <a:pt x="378" y="720"/>
                  </a:lnTo>
                  <a:lnTo>
                    <a:pt x="384" y="720"/>
                  </a:lnTo>
                  <a:close/>
                  <a:moveTo>
                    <a:pt x="330" y="738"/>
                  </a:moveTo>
                  <a:lnTo>
                    <a:pt x="336" y="732"/>
                  </a:lnTo>
                  <a:lnTo>
                    <a:pt x="336" y="726"/>
                  </a:lnTo>
                  <a:lnTo>
                    <a:pt x="342" y="720"/>
                  </a:lnTo>
                  <a:lnTo>
                    <a:pt x="348" y="720"/>
                  </a:lnTo>
                  <a:lnTo>
                    <a:pt x="360" y="720"/>
                  </a:lnTo>
                  <a:lnTo>
                    <a:pt x="366" y="726"/>
                  </a:lnTo>
                  <a:lnTo>
                    <a:pt x="372" y="732"/>
                  </a:lnTo>
                  <a:lnTo>
                    <a:pt x="372" y="738"/>
                  </a:lnTo>
                  <a:lnTo>
                    <a:pt x="366" y="750"/>
                  </a:lnTo>
                  <a:lnTo>
                    <a:pt x="372" y="756"/>
                  </a:lnTo>
                  <a:lnTo>
                    <a:pt x="372" y="762"/>
                  </a:lnTo>
                  <a:lnTo>
                    <a:pt x="372" y="768"/>
                  </a:lnTo>
                  <a:lnTo>
                    <a:pt x="372" y="774"/>
                  </a:lnTo>
                  <a:lnTo>
                    <a:pt x="372" y="780"/>
                  </a:lnTo>
                  <a:lnTo>
                    <a:pt x="372" y="774"/>
                  </a:lnTo>
                  <a:lnTo>
                    <a:pt x="366" y="768"/>
                  </a:lnTo>
                  <a:lnTo>
                    <a:pt x="366" y="762"/>
                  </a:lnTo>
                  <a:lnTo>
                    <a:pt x="366" y="756"/>
                  </a:lnTo>
                  <a:lnTo>
                    <a:pt x="360" y="756"/>
                  </a:lnTo>
                  <a:lnTo>
                    <a:pt x="360" y="750"/>
                  </a:lnTo>
                  <a:lnTo>
                    <a:pt x="354" y="750"/>
                  </a:lnTo>
                  <a:lnTo>
                    <a:pt x="348" y="744"/>
                  </a:lnTo>
                  <a:lnTo>
                    <a:pt x="342" y="744"/>
                  </a:lnTo>
                  <a:lnTo>
                    <a:pt x="336" y="744"/>
                  </a:lnTo>
                  <a:lnTo>
                    <a:pt x="330" y="73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1" name="Freeform 6">
              <a:extLst>
                <a:ext uri="{FF2B5EF4-FFF2-40B4-BE49-F238E27FC236}">
                  <a16:creationId xmlns:a16="http://schemas.microsoft.com/office/drawing/2014/main" id="{0656C385-F30A-4AC8-AE9F-B1F66208B38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3123" y="4163918"/>
              <a:ext cx="266107" cy="248252"/>
            </a:xfrm>
            <a:custGeom>
              <a:avLst/>
              <a:gdLst>
                <a:gd name="T0" fmla="*/ 33 w 504"/>
                <a:gd name="T1" fmla="*/ 41 h 468"/>
                <a:gd name="T2" fmla="*/ 26 w 504"/>
                <a:gd name="T3" fmla="*/ 39 h 468"/>
                <a:gd name="T4" fmla="*/ 21 w 504"/>
                <a:gd name="T5" fmla="*/ 38 h 468"/>
                <a:gd name="T6" fmla="*/ 18 w 504"/>
                <a:gd name="T7" fmla="*/ 38 h 468"/>
                <a:gd name="T8" fmla="*/ 15 w 504"/>
                <a:gd name="T9" fmla="*/ 39 h 468"/>
                <a:gd name="T10" fmla="*/ 12 w 504"/>
                <a:gd name="T11" fmla="*/ 38 h 468"/>
                <a:gd name="T12" fmla="*/ 9 w 504"/>
                <a:gd name="T13" fmla="*/ 37 h 468"/>
                <a:gd name="T14" fmla="*/ 7 w 504"/>
                <a:gd name="T15" fmla="*/ 32 h 468"/>
                <a:gd name="T16" fmla="*/ 6 w 504"/>
                <a:gd name="T17" fmla="*/ 26 h 468"/>
                <a:gd name="T18" fmla="*/ 3 w 504"/>
                <a:gd name="T19" fmla="*/ 24 h 468"/>
                <a:gd name="T20" fmla="*/ 1 w 504"/>
                <a:gd name="T21" fmla="*/ 24 h 468"/>
                <a:gd name="T22" fmla="*/ 2 w 504"/>
                <a:gd name="T23" fmla="*/ 18 h 468"/>
                <a:gd name="T24" fmla="*/ 1 w 504"/>
                <a:gd name="T25" fmla="*/ 17 h 468"/>
                <a:gd name="T26" fmla="*/ 0 w 504"/>
                <a:gd name="T27" fmla="*/ 17 h 468"/>
                <a:gd name="T28" fmla="*/ 0 w 504"/>
                <a:gd name="T29" fmla="*/ 15 h 468"/>
                <a:gd name="T30" fmla="*/ 2 w 504"/>
                <a:gd name="T31" fmla="*/ 12 h 468"/>
                <a:gd name="T32" fmla="*/ 4 w 504"/>
                <a:gd name="T33" fmla="*/ 10 h 468"/>
                <a:gd name="T34" fmla="*/ 6 w 504"/>
                <a:gd name="T35" fmla="*/ 8 h 468"/>
                <a:gd name="T36" fmla="*/ 8 w 504"/>
                <a:gd name="T37" fmla="*/ 8 h 468"/>
                <a:gd name="T38" fmla="*/ 10 w 504"/>
                <a:gd name="T39" fmla="*/ 9 h 468"/>
                <a:gd name="T40" fmla="*/ 12 w 504"/>
                <a:gd name="T41" fmla="*/ 10 h 468"/>
                <a:gd name="T42" fmla="*/ 12 w 504"/>
                <a:gd name="T43" fmla="*/ 11 h 468"/>
                <a:gd name="T44" fmla="*/ 14 w 504"/>
                <a:gd name="T45" fmla="*/ 8 h 468"/>
                <a:gd name="T46" fmla="*/ 15 w 504"/>
                <a:gd name="T47" fmla="*/ 7 h 468"/>
                <a:gd name="T48" fmla="*/ 17 w 504"/>
                <a:gd name="T49" fmla="*/ 6 h 468"/>
                <a:gd name="T50" fmla="*/ 19 w 504"/>
                <a:gd name="T51" fmla="*/ 3 h 468"/>
                <a:gd name="T52" fmla="*/ 20 w 504"/>
                <a:gd name="T53" fmla="*/ 2 h 468"/>
                <a:gd name="T54" fmla="*/ 22 w 504"/>
                <a:gd name="T55" fmla="*/ 1 h 468"/>
                <a:gd name="T56" fmla="*/ 27 w 504"/>
                <a:gd name="T57" fmla="*/ 1 h 468"/>
                <a:gd name="T58" fmla="*/ 30 w 504"/>
                <a:gd name="T59" fmla="*/ 2 h 468"/>
                <a:gd name="T60" fmla="*/ 31 w 504"/>
                <a:gd name="T61" fmla="*/ 2 h 468"/>
                <a:gd name="T62" fmla="*/ 34 w 504"/>
                <a:gd name="T63" fmla="*/ 0 h 468"/>
                <a:gd name="T64" fmla="*/ 37 w 504"/>
                <a:gd name="T65" fmla="*/ 1 h 468"/>
                <a:gd name="T66" fmla="*/ 41 w 504"/>
                <a:gd name="T67" fmla="*/ 2 h 468"/>
                <a:gd name="T68" fmla="*/ 42 w 504"/>
                <a:gd name="T69" fmla="*/ 4 h 468"/>
                <a:gd name="T70" fmla="*/ 42 w 504"/>
                <a:gd name="T71" fmla="*/ 10 h 468"/>
                <a:gd name="T72" fmla="*/ 41 w 504"/>
                <a:gd name="T73" fmla="*/ 14 h 468"/>
                <a:gd name="T74" fmla="*/ 42 w 504"/>
                <a:gd name="T75" fmla="*/ 15 h 468"/>
                <a:gd name="T76" fmla="*/ 44 w 504"/>
                <a:gd name="T77" fmla="*/ 18 h 468"/>
                <a:gd name="T78" fmla="*/ 43 w 504"/>
                <a:gd name="T79" fmla="*/ 19 h 468"/>
                <a:gd name="T80" fmla="*/ 42 w 504"/>
                <a:gd name="T81" fmla="*/ 21 h 468"/>
                <a:gd name="T82" fmla="*/ 42 w 504"/>
                <a:gd name="T83" fmla="*/ 23 h 468"/>
                <a:gd name="T84" fmla="*/ 39 w 504"/>
                <a:gd name="T85" fmla="*/ 27 h 468"/>
                <a:gd name="T86" fmla="*/ 38 w 504"/>
                <a:gd name="T87" fmla="*/ 29 h 468"/>
                <a:gd name="T88" fmla="*/ 38 w 504"/>
                <a:gd name="T89" fmla="*/ 31 h 468"/>
                <a:gd name="T90" fmla="*/ 36 w 504"/>
                <a:gd name="T91" fmla="*/ 32 h 468"/>
                <a:gd name="T92" fmla="*/ 35 w 504"/>
                <a:gd name="T93" fmla="*/ 34 h 468"/>
                <a:gd name="T94" fmla="*/ 34 w 504"/>
                <a:gd name="T95" fmla="*/ 38 h 46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04"/>
                <a:gd name="T145" fmla="*/ 0 h 468"/>
                <a:gd name="T146" fmla="*/ 504 w 504"/>
                <a:gd name="T147" fmla="*/ 468 h 46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04" h="468">
                  <a:moveTo>
                    <a:pt x="390" y="456"/>
                  </a:moveTo>
                  <a:lnTo>
                    <a:pt x="384" y="468"/>
                  </a:lnTo>
                  <a:lnTo>
                    <a:pt x="378" y="468"/>
                  </a:lnTo>
                  <a:lnTo>
                    <a:pt x="354" y="468"/>
                  </a:lnTo>
                  <a:lnTo>
                    <a:pt x="348" y="462"/>
                  </a:lnTo>
                  <a:lnTo>
                    <a:pt x="300" y="456"/>
                  </a:lnTo>
                  <a:lnTo>
                    <a:pt x="270" y="444"/>
                  </a:lnTo>
                  <a:lnTo>
                    <a:pt x="252" y="438"/>
                  </a:lnTo>
                  <a:lnTo>
                    <a:pt x="240" y="438"/>
                  </a:lnTo>
                  <a:lnTo>
                    <a:pt x="234" y="438"/>
                  </a:lnTo>
                  <a:lnTo>
                    <a:pt x="228" y="444"/>
                  </a:lnTo>
                  <a:lnTo>
                    <a:pt x="210" y="444"/>
                  </a:lnTo>
                  <a:lnTo>
                    <a:pt x="198" y="444"/>
                  </a:lnTo>
                  <a:lnTo>
                    <a:pt x="198" y="450"/>
                  </a:lnTo>
                  <a:lnTo>
                    <a:pt x="168" y="456"/>
                  </a:lnTo>
                  <a:lnTo>
                    <a:pt x="150" y="450"/>
                  </a:lnTo>
                  <a:lnTo>
                    <a:pt x="144" y="444"/>
                  </a:lnTo>
                  <a:lnTo>
                    <a:pt x="132" y="438"/>
                  </a:lnTo>
                  <a:lnTo>
                    <a:pt x="138" y="432"/>
                  </a:lnTo>
                  <a:lnTo>
                    <a:pt x="114" y="432"/>
                  </a:lnTo>
                  <a:lnTo>
                    <a:pt x="102" y="426"/>
                  </a:lnTo>
                  <a:lnTo>
                    <a:pt x="90" y="414"/>
                  </a:lnTo>
                  <a:lnTo>
                    <a:pt x="72" y="402"/>
                  </a:lnTo>
                  <a:lnTo>
                    <a:pt x="78" y="366"/>
                  </a:lnTo>
                  <a:lnTo>
                    <a:pt x="78" y="330"/>
                  </a:lnTo>
                  <a:lnTo>
                    <a:pt x="66" y="318"/>
                  </a:lnTo>
                  <a:lnTo>
                    <a:pt x="66" y="300"/>
                  </a:lnTo>
                  <a:lnTo>
                    <a:pt x="66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30" y="282"/>
                  </a:lnTo>
                  <a:lnTo>
                    <a:pt x="24" y="282"/>
                  </a:lnTo>
                  <a:lnTo>
                    <a:pt x="12" y="276"/>
                  </a:lnTo>
                  <a:lnTo>
                    <a:pt x="0" y="282"/>
                  </a:lnTo>
                  <a:lnTo>
                    <a:pt x="12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2" y="198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6" y="180"/>
                  </a:lnTo>
                  <a:lnTo>
                    <a:pt x="12" y="186"/>
                  </a:lnTo>
                  <a:lnTo>
                    <a:pt x="18" y="138"/>
                  </a:lnTo>
                  <a:lnTo>
                    <a:pt x="24" y="126"/>
                  </a:lnTo>
                  <a:lnTo>
                    <a:pt x="30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20" y="102"/>
                  </a:lnTo>
                  <a:lnTo>
                    <a:pt x="126" y="108"/>
                  </a:lnTo>
                  <a:lnTo>
                    <a:pt x="126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0"/>
                  </a:lnTo>
                  <a:lnTo>
                    <a:pt x="156" y="96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16" y="42"/>
                  </a:lnTo>
                  <a:lnTo>
                    <a:pt x="222" y="36"/>
                  </a:lnTo>
                  <a:lnTo>
                    <a:pt x="228" y="36"/>
                  </a:lnTo>
                  <a:lnTo>
                    <a:pt x="228" y="30"/>
                  </a:lnTo>
                  <a:lnTo>
                    <a:pt x="228" y="24"/>
                  </a:lnTo>
                  <a:lnTo>
                    <a:pt x="246" y="18"/>
                  </a:lnTo>
                  <a:lnTo>
                    <a:pt x="252" y="18"/>
                  </a:lnTo>
                  <a:lnTo>
                    <a:pt x="258" y="12"/>
                  </a:lnTo>
                  <a:lnTo>
                    <a:pt x="270" y="6"/>
                  </a:lnTo>
                  <a:lnTo>
                    <a:pt x="288" y="6"/>
                  </a:lnTo>
                  <a:lnTo>
                    <a:pt x="312" y="12"/>
                  </a:lnTo>
                  <a:lnTo>
                    <a:pt x="324" y="12"/>
                  </a:lnTo>
                  <a:lnTo>
                    <a:pt x="336" y="18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14" y="12"/>
                  </a:lnTo>
                  <a:lnTo>
                    <a:pt x="426" y="12"/>
                  </a:lnTo>
                  <a:lnTo>
                    <a:pt x="444" y="18"/>
                  </a:lnTo>
                  <a:lnTo>
                    <a:pt x="462" y="18"/>
                  </a:lnTo>
                  <a:lnTo>
                    <a:pt x="474" y="18"/>
                  </a:lnTo>
                  <a:lnTo>
                    <a:pt x="480" y="18"/>
                  </a:lnTo>
                  <a:lnTo>
                    <a:pt x="486" y="36"/>
                  </a:lnTo>
                  <a:lnTo>
                    <a:pt x="480" y="42"/>
                  </a:lnTo>
                  <a:lnTo>
                    <a:pt x="480" y="54"/>
                  </a:lnTo>
                  <a:lnTo>
                    <a:pt x="486" y="78"/>
                  </a:lnTo>
                  <a:lnTo>
                    <a:pt x="486" y="114"/>
                  </a:lnTo>
                  <a:lnTo>
                    <a:pt x="486" y="150"/>
                  </a:lnTo>
                  <a:lnTo>
                    <a:pt x="468" y="150"/>
                  </a:lnTo>
                  <a:lnTo>
                    <a:pt x="474" y="162"/>
                  </a:lnTo>
                  <a:lnTo>
                    <a:pt x="480" y="162"/>
                  </a:lnTo>
                  <a:lnTo>
                    <a:pt x="486" y="174"/>
                  </a:lnTo>
                  <a:lnTo>
                    <a:pt x="492" y="174"/>
                  </a:lnTo>
                  <a:lnTo>
                    <a:pt x="492" y="192"/>
                  </a:lnTo>
                  <a:lnTo>
                    <a:pt x="498" y="198"/>
                  </a:lnTo>
                  <a:lnTo>
                    <a:pt x="504" y="204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8" y="222"/>
                  </a:lnTo>
                  <a:lnTo>
                    <a:pt x="492" y="228"/>
                  </a:lnTo>
                  <a:lnTo>
                    <a:pt x="492" y="234"/>
                  </a:lnTo>
                  <a:lnTo>
                    <a:pt x="492" y="240"/>
                  </a:lnTo>
                  <a:lnTo>
                    <a:pt x="486" y="246"/>
                  </a:lnTo>
                  <a:lnTo>
                    <a:pt x="486" y="258"/>
                  </a:lnTo>
                  <a:lnTo>
                    <a:pt x="480" y="264"/>
                  </a:lnTo>
                  <a:lnTo>
                    <a:pt x="474" y="276"/>
                  </a:lnTo>
                  <a:lnTo>
                    <a:pt x="468" y="288"/>
                  </a:lnTo>
                  <a:lnTo>
                    <a:pt x="456" y="306"/>
                  </a:lnTo>
                  <a:lnTo>
                    <a:pt x="456" y="312"/>
                  </a:lnTo>
                  <a:lnTo>
                    <a:pt x="444" y="318"/>
                  </a:lnTo>
                  <a:lnTo>
                    <a:pt x="432" y="336"/>
                  </a:lnTo>
                  <a:lnTo>
                    <a:pt x="432" y="342"/>
                  </a:lnTo>
                  <a:lnTo>
                    <a:pt x="432" y="348"/>
                  </a:lnTo>
                  <a:lnTo>
                    <a:pt x="432" y="354"/>
                  </a:lnTo>
                  <a:lnTo>
                    <a:pt x="426" y="366"/>
                  </a:lnTo>
                  <a:lnTo>
                    <a:pt x="420" y="366"/>
                  </a:lnTo>
                  <a:lnTo>
                    <a:pt x="420" y="372"/>
                  </a:lnTo>
                  <a:lnTo>
                    <a:pt x="414" y="378"/>
                  </a:lnTo>
                  <a:lnTo>
                    <a:pt x="414" y="390"/>
                  </a:lnTo>
                  <a:lnTo>
                    <a:pt x="408" y="390"/>
                  </a:lnTo>
                  <a:lnTo>
                    <a:pt x="408" y="402"/>
                  </a:lnTo>
                  <a:lnTo>
                    <a:pt x="402" y="414"/>
                  </a:lnTo>
                  <a:lnTo>
                    <a:pt x="396" y="438"/>
                  </a:lnTo>
                  <a:lnTo>
                    <a:pt x="396" y="444"/>
                  </a:lnTo>
                  <a:lnTo>
                    <a:pt x="390" y="45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11" name="Freeform 7">
              <a:extLst>
                <a:ext uri="{FF2B5EF4-FFF2-40B4-BE49-F238E27FC236}">
                  <a16:creationId xmlns:a16="http://schemas.microsoft.com/office/drawing/2014/main" id="{0D8DE62D-4554-4314-9F3A-7208D89B4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90838" y="4128134"/>
              <a:ext cx="283995" cy="411516"/>
            </a:xfrm>
            <a:custGeom>
              <a:avLst/>
              <a:gdLst>
                <a:gd name="T0" fmla="*/ 39 w 534"/>
                <a:gd name="T1" fmla="*/ 35 h 774"/>
                <a:gd name="T2" fmla="*/ 35 w 534"/>
                <a:gd name="T3" fmla="*/ 31 h 774"/>
                <a:gd name="T4" fmla="*/ 32 w 534"/>
                <a:gd name="T5" fmla="*/ 29 h 774"/>
                <a:gd name="T6" fmla="*/ 32 w 534"/>
                <a:gd name="T7" fmla="*/ 31 h 774"/>
                <a:gd name="T8" fmla="*/ 29 w 534"/>
                <a:gd name="T9" fmla="*/ 33 h 774"/>
                <a:gd name="T10" fmla="*/ 27 w 534"/>
                <a:gd name="T11" fmla="*/ 36 h 774"/>
                <a:gd name="T12" fmla="*/ 30 w 534"/>
                <a:gd name="T13" fmla="*/ 38 h 774"/>
                <a:gd name="T14" fmla="*/ 29 w 534"/>
                <a:gd name="T15" fmla="*/ 40 h 774"/>
                <a:gd name="T16" fmla="*/ 25 w 534"/>
                <a:gd name="T17" fmla="*/ 40 h 774"/>
                <a:gd name="T18" fmla="*/ 23 w 534"/>
                <a:gd name="T19" fmla="*/ 42 h 774"/>
                <a:gd name="T20" fmla="*/ 22 w 534"/>
                <a:gd name="T21" fmla="*/ 47 h 774"/>
                <a:gd name="T22" fmla="*/ 22 w 534"/>
                <a:gd name="T23" fmla="*/ 51 h 774"/>
                <a:gd name="T24" fmla="*/ 22 w 534"/>
                <a:gd name="T25" fmla="*/ 54 h 774"/>
                <a:gd name="T26" fmla="*/ 21 w 534"/>
                <a:gd name="T27" fmla="*/ 56 h 774"/>
                <a:gd name="T28" fmla="*/ 19 w 534"/>
                <a:gd name="T29" fmla="*/ 58 h 774"/>
                <a:gd name="T30" fmla="*/ 20 w 534"/>
                <a:gd name="T31" fmla="*/ 59 h 774"/>
                <a:gd name="T32" fmla="*/ 19 w 534"/>
                <a:gd name="T33" fmla="*/ 62 h 774"/>
                <a:gd name="T34" fmla="*/ 19 w 534"/>
                <a:gd name="T35" fmla="*/ 64 h 774"/>
                <a:gd name="T36" fmla="*/ 20 w 534"/>
                <a:gd name="T37" fmla="*/ 66 h 774"/>
                <a:gd name="T38" fmla="*/ 17 w 534"/>
                <a:gd name="T39" fmla="*/ 66 h 774"/>
                <a:gd name="T40" fmla="*/ 16 w 534"/>
                <a:gd name="T41" fmla="*/ 65 h 774"/>
                <a:gd name="T42" fmla="*/ 13 w 534"/>
                <a:gd name="T43" fmla="*/ 65 h 774"/>
                <a:gd name="T44" fmla="*/ 11 w 534"/>
                <a:gd name="T45" fmla="*/ 65 h 774"/>
                <a:gd name="T46" fmla="*/ 8 w 534"/>
                <a:gd name="T47" fmla="*/ 65 h 774"/>
                <a:gd name="T48" fmla="*/ 8 w 534"/>
                <a:gd name="T49" fmla="*/ 64 h 774"/>
                <a:gd name="T50" fmla="*/ 5 w 534"/>
                <a:gd name="T51" fmla="*/ 65 h 774"/>
                <a:gd name="T52" fmla="*/ 3 w 534"/>
                <a:gd name="T53" fmla="*/ 65 h 774"/>
                <a:gd name="T54" fmla="*/ 0 w 534"/>
                <a:gd name="T55" fmla="*/ 64 h 774"/>
                <a:gd name="T56" fmla="*/ 0 w 534"/>
                <a:gd name="T57" fmla="*/ 62 h 774"/>
                <a:gd name="T58" fmla="*/ 3 w 534"/>
                <a:gd name="T59" fmla="*/ 60 h 774"/>
                <a:gd name="T60" fmla="*/ 6 w 534"/>
                <a:gd name="T61" fmla="*/ 57 h 774"/>
                <a:gd name="T62" fmla="*/ 8 w 534"/>
                <a:gd name="T63" fmla="*/ 50 h 774"/>
                <a:gd name="T64" fmla="*/ 6 w 534"/>
                <a:gd name="T65" fmla="*/ 45 h 774"/>
                <a:gd name="T66" fmla="*/ 8 w 534"/>
                <a:gd name="T67" fmla="*/ 41 h 774"/>
                <a:gd name="T68" fmla="*/ 9 w 534"/>
                <a:gd name="T69" fmla="*/ 38 h 774"/>
                <a:gd name="T70" fmla="*/ 10 w 534"/>
                <a:gd name="T71" fmla="*/ 36 h 774"/>
                <a:gd name="T72" fmla="*/ 12 w 534"/>
                <a:gd name="T73" fmla="*/ 33 h 774"/>
                <a:gd name="T74" fmla="*/ 14 w 534"/>
                <a:gd name="T75" fmla="*/ 29 h 774"/>
                <a:gd name="T76" fmla="*/ 16 w 534"/>
                <a:gd name="T77" fmla="*/ 26 h 774"/>
                <a:gd name="T78" fmla="*/ 16 w 534"/>
                <a:gd name="T79" fmla="*/ 24 h 774"/>
                <a:gd name="T80" fmla="*/ 16 w 534"/>
                <a:gd name="T81" fmla="*/ 21 h 774"/>
                <a:gd name="T82" fmla="*/ 13 w 534"/>
                <a:gd name="T83" fmla="*/ 19 h 774"/>
                <a:gd name="T84" fmla="*/ 14 w 534"/>
                <a:gd name="T85" fmla="*/ 10 h 774"/>
                <a:gd name="T86" fmla="*/ 14 w 534"/>
                <a:gd name="T87" fmla="*/ 7 h 774"/>
                <a:gd name="T88" fmla="*/ 8 w 534"/>
                <a:gd name="T89" fmla="*/ 7 h 774"/>
                <a:gd name="T90" fmla="*/ 7 w 534"/>
                <a:gd name="T91" fmla="*/ 3 h 774"/>
                <a:gd name="T92" fmla="*/ 11 w 534"/>
                <a:gd name="T93" fmla="*/ 1 h 774"/>
                <a:gd name="T94" fmla="*/ 12 w 534"/>
                <a:gd name="T95" fmla="*/ 0 h 774"/>
                <a:gd name="T96" fmla="*/ 16 w 534"/>
                <a:gd name="T97" fmla="*/ 2 h 774"/>
                <a:gd name="T98" fmla="*/ 20 w 534"/>
                <a:gd name="T99" fmla="*/ 2 h 774"/>
                <a:gd name="T100" fmla="*/ 23 w 534"/>
                <a:gd name="T101" fmla="*/ 3 h 774"/>
                <a:gd name="T102" fmla="*/ 23 w 534"/>
                <a:gd name="T103" fmla="*/ 10 h 774"/>
                <a:gd name="T104" fmla="*/ 29 w 534"/>
                <a:gd name="T105" fmla="*/ 12 h 774"/>
                <a:gd name="T106" fmla="*/ 35 w 534"/>
                <a:gd name="T107" fmla="*/ 12 h 774"/>
                <a:gd name="T108" fmla="*/ 38 w 534"/>
                <a:gd name="T109" fmla="*/ 17 h 774"/>
                <a:gd name="T110" fmla="*/ 40 w 534"/>
                <a:gd name="T111" fmla="*/ 19 h 774"/>
                <a:gd name="T112" fmla="*/ 44 w 534"/>
                <a:gd name="T113" fmla="*/ 23 h 774"/>
                <a:gd name="T114" fmla="*/ 44 w 534"/>
                <a:gd name="T115" fmla="*/ 30 h 774"/>
                <a:gd name="T116" fmla="*/ 46 w 534"/>
                <a:gd name="T117" fmla="*/ 36 h 774"/>
                <a:gd name="T118" fmla="*/ 41 w 534"/>
                <a:gd name="T119" fmla="*/ 37 h 77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34"/>
                <a:gd name="T181" fmla="*/ 0 h 774"/>
                <a:gd name="T182" fmla="*/ 534 w 534"/>
                <a:gd name="T183" fmla="*/ 774 h 77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34" h="774">
                  <a:moveTo>
                    <a:pt x="462" y="426"/>
                  </a:moveTo>
                  <a:lnTo>
                    <a:pt x="462" y="414"/>
                  </a:lnTo>
                  <a:lnTo>
                    <a:pt x="450" y="402"/>
                  </a:lnTo>
                  <a:lnTo>
                    <a:pt x="444" y="396"/>
                  </a:lnTo>
                  <a:lnTo>
                    <a:pt x="420" y="396"/>
                  </a:lnTo>
                  <a:lnTo>
                    <a:pt x="408" y="390"/>
                  </a:lnTo>
                  <a:lnTo>
                    <a:pt x="402" y="366"/>
                  </a:lnTo>
                  <a:lnTo>
                    <a:pt x="390" y="354"/>
                  </a:lnTo>
                  <a:lnTo>
                    <a:pt x="384" y="336"/>
                  </a:lnTo>
                  <a:lnTo>
                    <a:pt x="378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8" y="348"/>
                  </a:lnTo>
                  <a:lnTo>
                    <a:pt x="360" y="354"/>
                  </a:lnTo>
                  <a:lnTo>
                    <a:pt x="360" y="390"/>
                  </a:lnTo>
                  <a:lnTo>
                    <a:pt x="348" y="390"/>
                  </a:lnTo>
                  <a:lnTo>
                    <a:pt x="342" y="384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90"/>
                  </a:lnTo>
                  <a:lnTo>
                    <a:pt x="312" y="402"/>
                  </a:lnTo>
                  <a:lnTo>
                    <a:pt x="306" y="420"/>
                  </a:lnTo>
                  <a:lnTo>
                    <a:pt x="324" y="414"/>
                  </a:lnTo>
                  <a:lnTo>
                    <a:pt x="330" y="414"/>
                  </a:lnTo>
                  <a:lnTo>
                    <a:pt x="336" y="420"/>
                  </a:lnTo>
                  <a:lnTo>
                    <a:pt x="336" y="432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6"/>
                  </a:lnTo>
                  <a:lnTo>
                    <a:pt x="318" y="456"/>
                  </a:lnTo>
                  <a:lnTo>
                    <a:pt x="300" y="456"/>
                  </a:lnTo>
                  <a:lnTo>
                    <a:pt x="288" y="462"/>
                  </a:lnTo>
                  <a:lnTo>
                    <a:pt x="276" y="462"/>
                  </a:lnTo>
                  <a:lnTo>
                    <a:pt x="270" y="462"/>
                  </a:lnTo>
                  <a:lnTo>
                    <a:pt x="270" y="468"/>
                  </a:lnTo>
                  <a:lnTo>
                    <a:pt x="252" y="468"/>
                  </a:lnTo>
                  <a:lnTo>
                    <a:pt x="258" y="480"/>
                  </a:lnTo>
                  <a:lnTo>
                    <a:pt x="258" y="492"/>
                  </a:lnTo>
                  <a:lnTo>
                    <a:pt x="258" y="498"/>
                  </a:lnTo>
                  <a:lnTo>
                    <a:pt x="258" y="510"/>
                  </a:lnTo>
                  <a:lnTo>
                    <a:pt x="252" y="540"/>
                  </a:lnTo>
                  <a:lnTo>
                    <a:pt x="246" y="564"/>
                  </a:lnTo>
                  <a:lnTo>
                    <a:pt x="246" y="570"/>
                  </a:lnTo>
                  <a:lnTo>
                    <a:pt x="252" y="576"/>
                  </a:lnTo>
                  <a:lnTo>
                    <a:pt x="246" y="582"/>
                  </a:lnTo>
                  <a:lnTo>
                    <a:pt x="252" y="600"/>
                  </a:lnTo>
                  <a:lnTo>
                    <a:pt x="258" y="606"/>
                  </a:lnTo>
                  <a:lnTo>
                    <a:pt x="258" y="612"/>
                  </a:lnTo>
                  <a:lnTo>
                    <a:pt x="252" y="618"/>
                  </a:lnTo>
                  <a:lnTo>
                    <a:pt x="246" y="624"/>
                  </a:lnTo>
                  <a:lnTo>
                    <a:pt x="246" y="630"/>
                  </a:lnTo>
                  <a:lnTo>
                    <a:pt x="246" y="636"/>
                  </a:lnTo>
                  <a:lnTo>
                    <a:pt x="240" y="642"/>
                  </a:lnTo>
                  <a:lnTo>
                    <a:pt x="234" y="654"/>
                  </a:lnTo>
                  <a:lnTo>
                    <a:pt x="228" y="654"/>
                  </a:lnTo>
                  <a:lnTo>
                    <a:pt x="222" y="660"/>
                  </a:lnTo>
                  <a:lnTo>
                    <a:pt x="216" y="666"/>
                  </a:lnTo>
                  <a:lnTo>
                    <a:pt x="210" y="666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22" y="684"/>
                  </a:lnTo>
                  <a:lnTo>
                    <a:pt x="222" y="690"/>
                  </a:lnTo>
                  <a:lnTo>
                    <a:pt x="222" y="696"/>
                  </a:lnTo>
                  <a:lnTo>
                    <a:pt x="222" y="702"/>
                  </a:lnTo>
                  <a:lnTo>
                    <a:pt x="216" y="708"/>
                  </a:lnTo>
                  <a:lnTo>
                    <a:pt x="210" y="720"/>
                  </a:lnTo>
                  <a:lnTo>
                    <a:pt x="216" y="732"/>
                  </a:lnTo>
                  <a:lnTo>
                    <a:pt x="210" y="732"/>
                  </a:lnTo>
                  <a:lnTo>
                    <a:pt x="216" y="738"/>
                  </a:lnTo>
                  <a:lnTo>
                    <a:pt x="216" y="744"/>
                  </a:lnTo>
                  <a:lnTo>
                    <a:pt x="222" y="750"/>
                  </a:lnTo>
                  <a:lnTo>
                    <a:pt x="228" y="756"/>
                  </a:lnTo>
                  <a:lnTo>
                    <a:pt x="222" y="762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04" y="762"/>
                  </a:lnTo>
                  <a:lnTo>
                    <a:pt x="198" y="762"/>
                  </a:lnTo>
                  <a:lnTo>
                    <a:pt x="192" y="762"/>
                  </a:lnTo>
                  <a:lnTo>
                    <a:pt x="186" y="756"/>
                  </a:lnTo>
                  <a:lnTo>
                    <a:pt x="180" y="750"/>
                  </a:lnTo>
                  <a:lnTo>
                    <a:pt x="180" y="744"/>
                  </a:lnTo>
                  <a:lnTo>
                    <a:pt x="174" y="744"/>
                  </a:lnTo>
                  <a:lnTo>
                    <a:pt x="156" y="750"/>
                  </a:lnTo>
                  <a:lnTo>
                    <a:pt x="150" y="750"/>
                  </a:lnTo>
                  <a:lnTo>
                    <a:pt x="144" y="750"/>
                  </a:lnTo>
                  <a:lnTo>
                    <a:pt x="138" y="750"/>
                  </a:lnTo>
                  <a:lnTo>
                    <a:pt x="138" y="744"/>
                  </a:lnTo>
                  <a:lnTo>
                    <a:pt x="132" y="744"/>
                  </a:lnTo>
                  <a:lnTo>
                    <a:pt x="120" y="744"/>
                  </a:lnTo>
                  <a:lnTo>
                    <a:pt x="114" y="738"/>
                  </a:lnTo>
                  <a:lnTo>
                    <a:pt x="108" y="744"/>
                  </a:lnTo>
                  <a:lnTo>
                    <a:pt x="102" y="744"/>
                  </a:lnTo>
                  <a:lnTo>
                    <a:pt x="96" y="744"/>
                  </a:lnTo>
                  <a:lnTo>
                    <a:pt x="96" y="738"/>
                  </a:lnTo>
                  <a:lnTo>
                    <a:pt x="96" y="744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44"/>
                  </a:lnTo>
                  <a:lnTo>
                    <a:pt x="72" y="750"/>
                  </a:lnTo>
                  <a:lnTo>
                    <a:pt x="66" y="750"/>
                  </a:lnTo>
                  <a:lnTo>
                    <a:pt x="60" y="750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0"/>
                  </a:lnTo>
                  <a:lnTo>
                    <a:pt x="30" y="750"/>
                  </a:lnTo>
                  <a:lnTo>
                    <a:pt x="24" y="744"/>
                  </a:lnTo>
                  <a:lnTo>
                    <a:pt x="18" y="738"/>
                  </a:lnTo>
                  <a:lnTo>
                    <a:pt x="6" y="738"/>
                  </a:lnTo>
                  <a:lnTo>
                    <a:pt x="0" y="732"/>
                  </a:lnTo>
                  <a:lnTo>
                    <a:pt x="0" y="726"/>
                  </a:lnTo>
                  <a:lnTo>
                    <a:pt x="0" y="720"/>
                  </a:lnTo>
                  <a:lnTo>
                    <a:pt x="6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8" y="702"/>
                  </a:lnTo>
                  <a:lnTo>
                    <a:pt x="24" y="696"/>
                  </a:lnTo>
                  <a:lnTo>
                    <a:pt x="30" y="696"/>
                  </a:lnTo>
                  <a:lnTo>
                    <a:pt x="48" y="690"/>
                  </a:lnTo>
                  <a:lnTo>
                    <a:pt x="54" y="678"/>
                  </a:lnTo>
                  <a:lnTo>
                    <a:pt x="66" y="672"/>
                  </a:lnTo>
                  <a:lnTo>
                    <a:pt x="66" y="654"/>
                  </a:lnTo>
                  <a:lnTo>
                    <a:pt x="72" y="636"/>
                  </a:lnTo>
                  <a:lnTo>
                    <a:pt x="72" y="612"/>
                  </a:lnTo>
                  <a:lnTo>
                    <a:pt x="84" y="594"/>
                  </a:lnTo>
                  <a:lnTo>
                    <a:pt x="90" y="576"/>
                  </a:lnTo>
                  <a:lnTo>
                    <a:pt x="96" y="552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72" y="522"/>
                  </a:lnTo>
                  <a:lnTo>
                    <a:pt x="78" y="510"/>
                  </a:lnTo>
                  <a:lnTo>
                    <a:pt x="78" y="504"/>
                  </a:lnTo>
                  <a:lnTo>
                    <a:pt x="84" y="480"/>
                  </a:lnTo>
                  <a:lnTo>
                    <a:pt x="90" y="468"/>
                  </a:lnTo>
                  <a:lnTo>
                    <a:pt x="90" y="456"/>
                  </a:lnTo>
                  <a:lnTo>
                    <a:pt x="96" y="456"/>
                  </a:lnTo>
                  <a:lnTo>
                    <a:pt x="96" y="444"/>
                  </a:lnTo>
                  <a:lnTo>
                    <a:pt x="102" y="438"/>
                  </a:lnTo>
                  <a:lnTo>
                    <a:pt x="102" y="432"/>
                  </a:lnTo>
                  <a:lnTo>
                    <a:pt x="108" y="432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14" y="408"/>
                  </a:lnTo>
                  <a:lnTo>
                    <a:pt x="114" y="402"/>
                  </a:lnTo>
                  <a:lnTo>
                    <a:pt x="126" y="384"/>
                  </a:lnTo>
                  <a:lnTo>
                    <a:pt x="138" y="378"/>
                  </a:lnTo>
                  <a:lnTo>
                    <a:pt x="138" y="372"/>
                  </a:lnTo>
                  <a:lnTo>
                    <a:pt x="150" y="354"/>
                  </a:lnTo>
                  <a:lnTo>
                    <a:pt x="156" y="342"/>
                  </a:lnTo>
                  <a:lnTo>
                    <a:pt x="162" y="330"/>
                  </a:lnTo>
                  <a:lnTo>
                    <a:pt x="168" y="324"/>
                  </a:lnTo>
                  <a:lnTo>
                    <a:pt x="168" y="312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74" y="294"/>
                  </a:lnTo>
                  <a:lnTo>
                    <a:pt x="180" y="288"/>
                  </a:lnTo>
                  <a:lnTo>
                    <a:pt x="180" y="276"/>
                  </a:lnTo>
                  <a:lnTo>
                    <a:pt x="186" y="276"/>
                  </a:lnTo>
                  <a:lnTo>
                    <a:pt x="186" y="270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40"/>
                  </a:lnTo>
                  <a:lnTo>
                    <a:pt x="168" y="240"/>
                  </a:lnTo>
                  <a:lnTo>
                    <a:pt x="162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68" y="216"/>
                  </a:lnTo>
                  <a:lnTo>
                    <a:pt x="168" y="180"/>
                  </a:lnTo>
                  <a:lnTo>
                    <a:pt x="168" y="144"/>
                  </a:lnTo>
                  <a:lnTo>
                    <a:pt x="162" y="120"/>
                  </a:lnTo>
                  <a:lnTo>
                    <a:pt x="162" y="108"/>
                  </a:lnTo>
                  <a:lnTo>
                    <a:pt x="168" y="102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44" y="84"/>
                  </a:lnTo>
                  <a:lnTo>
                    <a:pt x="126" y="84"/>
                  </a:lnTo>
                  <a:lnTo>
                    <a:pt x="108" y="78"/>
                  </a:lnTo>
                  <a:lnTo>
                    <a:pt x="96" y="78"/>
                  </a:lnTo>
                  <a:lnTo>
                    <a:pt x="78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8" y="36"/>
                  </a:lnTo>
                  <a:lnTo>
                    <a:pt x="96" y="24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56" y="0"/>
                  </a:lnTo>
                  <a:lnTo>
                    <a:pt x="156" y="6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18"/>
                  </a:lnTo>
                  <a:lnTo>
                    <a:pt x="198" y="18"/>
                  </a:lnTo>
                  <a:lnTo>
                    <a:pt x="210" y="18"/>
                  </a:lnTo>
                  <a:lnTo>
                    <a:pt x="222" y="18"/>
                  </a:lnTo>
                  <a:lnTo>
                    <a:pt x="234" y="12"/>
                  </a:lnTo>
                  <a:lnTo>
                    <a:pt x="252" y="18"/>
                  </a:lnTo>
                  <a:lnTo>
                    <a:pt x="252" y="24"/>
                  </a:lnTo>
                  <a:lnTo>
                    <a:pt x="258" y="36"/>
                  </a:lnTo>
                  <a:lnTo>
                    <a:pt x="258" y="66"/>
                  </a:lnTo>
                  <a:lnTo>
                    <a:pt x="252" y="84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82" y="126"/>
                  </a:lnTo>
                  <a:lnTo>
                    <a:pt x="294" y="132"/>
                  </a:lnTo>
                  <a:lnTo>
                    <a:pt x="306" y="138"/>
                  </a:lnTo>
                  <a:lnTo>
                    <a:pt x="324" y="138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60" y="144"/>
                  </a:lnTo>
                  <a:lnTo>
                    <a:pt x="396" y="144"/>
                  </a:lnTo>
                  <a:lnTo>
                    <a:pt x="408" y="150"/>
                  </a:lnTo>
                  <a:lnTo>
                    <a:pt x="414" y="180"/>
                  </a:lnTo>
                  <a:lnTo>
                    <a:pt x="420" y="186"/>
                  </a:lnTo>
                  <a:lnTo>
                    <a:pt x="426" y="192"/>
                  </a:lnTo>
                  <a:lnTo>
                    <a:pt x="426" y="198"/>
                  </a:lnTo>
                  <a:lnTo>
                    <a:pt x="432" y="198"/>
                  </a:lnTo>
                  <a:lnTo>
                    <a:pt x="438" y="210"/>
                  </a:lnTo>
                  <a:lnTo>
                    <a:pt x="450" y="216"/>
                  </a:lnTo>
                  <a:lnTo>
                    <a:pt x="468" y="228"/>
                  </a:lnTo>
                  <a:lnTo>
                    <a:pt x="492" y="234"/>
                  </a:lnTo>
                  <a:lnTo>
                    <a:pt x="492" y="246"/>
                  </a:lnTo>
                  <a:lnTo>
                    <a:pt x="492" y="270"/>
                  </a:lnTo>
                  <a:lnTo>
                    <a:pt x="486" y="294"/>
                  </a:lnTo>
                  <a:lnTo>
                    <a:pt x="486" y="312"/>
                  </a:lnTo>
                  <a:lnTo>
                    <a:pt x="486" y="330"/>
                  </a:lnTo>
                  <a:lnTo>
                    <a:pt x="492" y="348"/>
                  </a:lnTo>
                  <a:lnTo>
                    <a:pt x="498" y="360"/>
                  </a:lnTo>
                  <a:lnTo>
                    <a:pt x="510" y="366"/>
                  </a:lnTo>
                  <a:lnTo>
                    <a:pt x="516" y="384"/>
                  </a:lnTo>
                  <a:lnTo>
                    <a:pt x="522" y="414"/>
                  </a:lnTo>
                  <a:lnTo>
                    <a:pt x="528" y="414"/>
                  </a:lnTo>
                  <a:lnTo>
                    <a:pt x="534" y="426"/>
                  </a:lnTo>
                  <a:lnTo>
                    <a:pt x="528" y="432"/>
                  </a:lnTo>
                  <a:lnTo>
                    <a:pt x="468" y="426"/>
                  </a:lnTo>
                  <a:lnTo>
                    <a:pt x="462" y="4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3" name="Freeform 8">
              <a:extLst>
                <a:ext uri="{FF2B5EF4-FFF2-40B4-BE49-F238E27FC236}">
                  <a16:creationId xmlns:a16="http://schemas.microsoft.com/office/drawing/2014/main" id="{D473457C-872E-4E31-888A-D60FD52063A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98175" y="4307054"/>
              <a:ext cx="295177" cy="348894"/>
            </a:xfrm>
            <a:custGeom>
              <a:avLst/>
              <a:gdLst>
                <a:gd name="T0" fmla="*/ 3 w 552"/>
                <a:gd name="T1" fmla="*/ 46 h 660"/>
                <a:gd name="T2" fmla="*/ 4 w 552"/>
                <a:gd name="T3" fmla="*/ 42 h 660"/>
                <a:gd name="T4" fmla="*/ 2 w 552"/>
                <a:gd name="T5" fmla="*/ 38 h 660"/>
                <a:gd name="T6" fmla="*/ 0 w 552"/>
                <a:gd name="T7" fmla="*/ 34 h 660"/>
                <a:gd name="T8" fmla="*/ 2 w 552"/>
                <a:gd name="T9" fmla="*/ 30 h 660"/>
                <a:gd name="T10" fmla="*/ 3 w 552"/>
                <a:gd name="T11" fmla="*/ 27 h 660"/>
                <a:gd name="T12" fmla="*/ 5 w 552"/>
                <a:gd name="T13" fmla="*/ 23 h 660"/>
                <a:gd name="T14" fmla="*/ 5 w 552"/>
                <a:gd name="T15" fmla="*/ 15 h 660"/>
                <a:gd name="T16" fmla="*/ 6 w 552"/>
                <a:gd name="T17" fmla="*/ 11 h 660"/>
                <a:gd name="T18" fmla="*/ 11 w 552"/>
                <a:gd name="T19" fmla="*/ 9 h 660"/>
                <a:gd name="T20" fmla="*/ 10 w 552"/>
                <a:gd name="T21" fmla="*/ 5 h 660"/>
                <a:gd name="T22" fmla="*/ 12 w 552"/>
                <a:gd name="T23" fmla="*/ 1 h 660"/>
                <a:gd name="T24" fmla="*/ 16 w 552"/>
                <a:gd name="T25" fmla="*/ 2 h 660"/>
                <a:gd name="T26" fmla="*/ 23 w 552"/>
                <a:gd name="T27" fmla="*/ 8 h 660"/>
                <a:gd name="T28" fmla="*/ 23 w 552"/>
                <a:gd name="T29" fmla="*/ 11 h 660"/>
                <a:gd name="T30" fmla="*/ 27 w 552"/>
                <a:gd name="T31" fmla="*/ 12 h 660"/>
                <a:gd name="T32" fmla="*/ 29 w 552"/>
                <a:gd name="T33" fmla="*/ 17 h 660"/>
                <a:gd name="T34" fmla="*/ 31 w 552"/>
                <a:gd name="T35" fmla="*/ 15 h 660"/>
                <a:gd name="T36" fmla="*/ 33 w 552"/>
                <a:gd name="T37" fmla="*/ 17 h 660"/>
                <a:gd name="T38" fmla="*/ 36 w 552"/>
                <a:gd name="T39" fmla="*/ 23 h 660"/>
                <a:gd name="T40" fmla="*/ 41 w 552"/>
                <a:gd name="T41" fmla="*/ 33 h 660"/>
                <a:gd name="T42" fmla="*/ 43 w 552"/>
                <a:gd name="T43" fmla="*/ 36 h 660"/>
                <a:gd name="T44" fmla="*/ 43 w 552"/>
                <a:gd name="T45" fmla="*/ 37 h 660"/>
                <a:gd name="T46" fmla="*/ 41 w 552"/>
                <a:gd name="T47" fmla="*/ 35 h 660"/>
                <a:gd name="T48" fmla="*/ 43 w 552"/>
                <a:gd name="T49" fmla="*/ 37 h 660"/>
                <a:gd name="T50" fmla="*/ 44 w 552"/>
                <a:gd name="T51" fmla="*/ 39 h 660"/>
                <a:gd name="T52" fmla="*/ 47 w 552"/>
                <a:gd name="T53" fmla="*/ 41 h 660"/>
                <a:gd name="T54" fmla="*/ 47 w 552"/>
                <a:gd name="T55" fmla="*/ 44 h 660"/>
                <a:gd name="T56" fmla="*/ 48 w 552"/>
                <a:gd name="T57" fmla="*/ 46 h 660"/>
                <a:gd name="T58" fmla="*/ 47 w 552"/>
                <a:gd name="T59" fmla="*/ 46 h 660"/>
                <a:gd name="T60" fmla="*/ 44 w 552"/>
                <a:gd name="T61" fmla="*/ 46 h 660"/>
                <a:gd name="T62" fmla="*/ 47 w 552"/>
                <a:gd name="T63" fmla="*/ 47 h 660"/>
                <a:gd name="T64" fmla="*/ 47 w 552"/>
                <a:gd name="T65" fmla="*/ 49 h 660"/>
                <a:gd name="T66" fmla="*/ 47 w 552"/>
                <a:gd name="T67" fmla="*/ 52 h 660"/>
                <a:gd name="T68" fmla="*/ 46 w 552"/>
                <a:gd name="T69" fmla="*/ 53 h 660"/>
                <a:gd name="T70" fmla="*/ 43 w 552"/>
                <a:gd name="T71" fmla="*/ 54 h 660"/>
                <a:gd name="T72" fmla="*/ 37 w 552"/>
                <a:gd name="T73" fmla="*/ 54 h 660"/>
                <a:gd name="T74" fmla="*/ 30 w 552"/>
                <a:gd name="T75" fmla="*/ 54 h 660"/>
                <a:gd name="T76" fmla="*/ 29 w 552"/>
                <a:gd name="T77" fmla="*/ 53 h 660"/>
                <a:gd name="T78" fmla="*/ 27 w 552"/>
                <a:gd name="T79" fmla="*/ 53 h 660"/>
                <a:gd name="T80" fmla="*/ 29 w 552"/>
                <a:gd name="T81" fmla="*/ 53 h 660"/>
                <a:gd name="T82" fmla="*/ 28 w 552"/>
                <a:gd name="T83" fmla="*/ 54 h 660"/>
                <a:gd name="T84" fmla="*/ 24 w 552"/>
                <a:gd name="T85" fmla="*/ 54 h 660"/>
                <a:gd name="T86" fmla="*/ 20 w 552"/>
                <a:gd name="T87" fmla="*/ 55 h 660"/>
                <a:gd name="T88" fmla="*/ 15 w 552"/>
                <a:gd name="T89" fmla="*/ 56 h 660"/>
                <a:gd name="T90" fmla="*/ 12 w 552"/>
                <a:gd name="T91" fmla="*/ 56 h 660"/>
                <a:gd name="T92" fmla="*/ 11 w 552"/>
                <a:gd name="T93" fmla="*/ 57 h 660"/>
                <a:gd name="T94" fmla="*/ 9 w 552"/>
                <a:gd name="T95" fmla="*/ 57 h 660"/>
                <a:gd name="T96" fmla="*/ 7 w 552"/>
                <a:gd name="T97" fmla="*/ 56 h 660"/>
                <a:gd name="T98" fmla="*/ 5 w 552"/>
                <a:gd name="T99" fmla="*/ 55 h 660"/>
                <a:gd name="T100" fmla="*/ 7 w 552"/>
                <a:gd name="T101" fmla="*/ 54 h 660"/>
                <a:gd name="T102" fmla="*/ 5 w 552"/>
                <a:gd name="T103" fmla="*/ 54 h 660"/>
                <a:gd name="T104" fmla="*/ 5 w 552"/>
                <a:gd name="T105" fmla="*/ 53 h 660"/>
                <a:gd name="T106" fmla="*/ 4 w 552"/>
                <a:gd name="T107" fmla="*/ 49 h 660"/>
                <a:gd name="T108" fmla="*/ 45 w 552"/>
                <a:gd name="T109" fmla="*/ 38 h 66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52"/>
                <a:gd name="T166" fmla="*/ 0 h 660"/>
                <a:gd name="T167" fmla="*/ 552 w 552"/>
                <a:gd name="T168" fmla="*/ 660 h 66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52" h="660">
                  <a:moveTo>
                    <a:pt x="36" y="564"/>
                  </a:moveTo>
                  <a:lnTo>
                    <a:pt x="36" y="558"/>
                  </a:lnTo>
                  <a:lnTo>
                    <a:pt x="36" y="552"/>
                  </a:lnTo>
                  <a:lnTo>
                    <a:pt x="42" y="546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34"/>
                  </a:lnTo>
                  <a:lnTo>
                    <a:pt x="36" y="528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54" y="510"/>
                  </a:lnTo>
                  <a:lnTo>
                    <a:pt x="54" y="504"/>
                  </a:lnTo>
                  <a:lnTo>
                    <a:pt x="54" y="498"/>
                  </a:lnTo>
                  <a:lnTo>
                    <a:pt x="48" y="492"/>
                  </a:lnTo>
                  <a:lnTo>
                    <a:pt x="42" y="486"/>
                  </a:lnTo>
                  <a:lnTo>
                    <a:pt x="42" y="480"/>
                  </a:lnTo>
                  <a:lnTo>
                    <a:pt x="42" y="468"/>
                  </a:lnTo>
                  <a:lnTo>
                    <a:pt x="30" y="456"/>
                  </a:lnTo>
                  <a:lnTo>
                    <a:pt x="30" y="450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2"/>
                  </a:lnTo>
                  <a:lnTo>
                    <a:pt x="18" y="426"/>
                  </a:lnTo>
                  <a:lnTo>
                    <a:pt x="24" y="420"/>
                  </a:lnTo>
                  <a:lnTo>
                    <a:pt x="18" y="414"/>
                  </a:lnTo>
                  <a:lnTo>
                    <a:pt x="12" y="408"/>
                  </a:lnTo>
                  <a:lnTo>
                    <a:pt x="12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6" y="384"/>
                  </a:lnTo>
                  <a:lnTo>
                    <a:pt x="12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8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36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54" y="270"/>
                  </a:lnTo>
                  <a:lnTo>
                    <a:pt x="48" y="264"/>
                  </a:lnTo>
                  <a:lnTo>
                    <a:pt x="42" y="246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8" y="204"/>
                  </a:lnTo>
                  <a:lnTo>
                    <a:pt x="54" y="174"/>
                  </a:lnTo>
                  <a:lnTo>
                    <a:pt x="54" y="162"/>
                  </a:lnTo>
                  <a:lnTo>
                    <a:pt x="54" y="156"/>
                  </a:lnTo>
                  <a:lnTo>
                    <a:pt x="54" y="144"/>
                  </a:lnTo>
                  <a:lnTo>
                    <a:pt x="48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72" y="126"/>
                  </a:lnTo>
                  <a:lnTo>
                    <a:pt x="84" y="126"/>
                  </a:lnTo>
                  <a:lnTo>
                    <a:pt x="96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2" y="84"/>
                  </a:lnTo>
                  <a:lnTo>
                    <a:pt x="126" y="78"/>
                  </a:lnTo>
                  <a:lnTo>
                    <a:pt x="120" y="78"/>
                  </a:lnTo>
                  <a:lnTo>
                    <a:pt x="102" y="84"/>
                  </a:lnTo>
                  <a:lnTo>
                    <a:pt x="108" y="66"/>
                  </a:lnTo>
                  <a:lnTo>
                    <a:pt x="114" y="54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8" y="4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6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74" y="0"/>
                  </a:lnTo>
                  <a:lnTo>
                    <a:pt x="180" y="0"/>
                  </a:lnTo>
                  <a:lnTo>
                    <a:pt x="186" y="18"/>
                  </a:lnTo>
                  <a:lnTo>
                    <a:pt x="198" y="30"/>
                  </a:lnTo>
                  <a:lnTo>
                    <a:pt x="204" y="54"/>
                  </a:lnTo>
                  <a:lnTo>
                    <a:pt x="216" y="60"/>
                  </a:lnTo>
                  <a:lnTo>
                    <a:pt x="240" y="60"/>
                  </a:lnTo>
                  <a:lnTo>
                    <a:pt x="246" y="66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2" y="120"/>
                  </a:lnTo>
                  <a:lnTo>
                    <a:pt x="25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6" y="126"/>
                  </a:lnTo>
                  <a:lnTo>
                    <a:pt x="282" y="120"/>
                  </a:lnTo>
                  <a:lnTo>
                    <a:pt x="282" y="126"/>
                  </a:lnTo>
                  <a:lnTo>
                    <a:pt x="294" y="126"/>
                  </a:lnTo>
                  <a:lnTo>
                    <a:pt x="300" y="132"/>
                  </a:lnTo>
                  <a:lnTo>
                    <a:pt x="306" y="144"/>
                  </a:lnTo>
                  <a:lnTo>
                    <a:pt x="312" y="144"/>
                  </a:lnTo>
                  <a:lnTo>
                    <a:pt x="312" y="150"/>
                  </a:lnTo>
                  <a:lnTo>
                    <a:pt x="312" y="162"/>
                  </a:lnTo>
                  <a:lnTo>
                    <a:pt x="312" y="174"/>
                  </a:lnTo>
                  <a:lnTo>
                    <a:pt x="324" y="180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30" y="192"/>
                  </a:lnTo>
                  <a:lnTo>
                    <a:pt x="336" y="198"/>
                  </a:lnTo>
                  <a:lnTo>
                    <a:pt x="342" y="192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54" y="180"/>
                  </a:lnTo>
                  <a:lnTo>
                    <a:pt x="354" y="174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84" y="192"/>
                  </a:lnTo>
                  <a:lnTo>
                    <a:pt x="390" y="204"/>
                  </a:lnTo>
                  <a:lnTo>
                    <a:pt x="390" y="210"/>
                  </a:lnTo>
                  <a:lnTo>
                    <a:pt x="390" y="216"/>
                  </a:lnTo>
                  <a:lnTo>
                    <a:pt x="384" y="234"/>
                  </a:lnTo>
                  <a:lnTo>
                    <a:pt x="390" y="240"/>
                  </a:lnTo>
                  <a:lnTo>
                    <a:pt x="408" y="252"/>
                  </a:lnTo>
                  <a:lnTo>
                    <a:pt x="414" y="264"/>
                  </a:lnTo>
                  <a:lnTo>
                    <a:pt x="408" y="300"/>
                  </a:lnTo>
                  <a:lnTo>
                    <a:pt x="414" y="312"/>
                  </a:lnTo>
                  <a:lnTo>
                    <a:pt x="426" y="336"/>
                  </a:lnTo>
                  <a:lnTo>
                    <a:pt x="438" y="354"/>
                  </a:lnTo>
                  <a:lnTo>
                    <a:pt x="444" y="366"/>
                  </a:lnTo>
                  <a:lnTo>
                    <a:pt x="456" y="366"/>
                  </a:lnTo>
                  <a:lnTo>
                    <a:pt x="474" y="378"/>
                  </a:lnTo>
                  <a:lnTo>
                    <a:pt x="474" y="384"/>
                  </a:lnTo>
                  <a:lnTo>
                    <a:pt x="480" y="390"/>
                  </a:lnTo>
                  <a:lnTo>
                    <a:pt x="486" y="396"/>
                  </a:lnTo>
                  <a:lnTo>
                    <a:pt x="486" y="402"/>
                  </a:lnTo>
                  <a:lnTo>
                    <a:pt x="480" y="408"/>
                  </a:lnTo>
                  <a:lnTo>
                    <a:pt x="486" y="408"/>
                  </a:lnTo>
                  <a:lnTo>
                    <a:pt x="486" y="414"/>
                  </a:lnTo>
                  <a:lnTo>
                    <a:pt x="492" y="414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32"/>
                  </a:lnTo>
                  <a:lnTo>
                    <a:pt x="498" y="438"/>
                  </a:lnTo>
                  <a:lnTo>
                    <a:pt x="492" y="432"/>
                  </a:lnTo>
                  <a:lnTo>
                    <a:pt x="486" y="426"/>
                  </a:lnTo>
                  <a:lnTo>
                    <a:pt x="486" y="420"/>
                  </a:lnTo>
                  <a:lnTo>
                    <a:pt x="486" y="414"/>
                  </a:lnTo>
                  <a:lnTo>
                    <a:pt x="480" y="414"/>
                  </a:lnTo>
                  <a:lnTo>
                    <a:pt x="480" y="408"/>
                  </a:lnTo>
                  <a:lnTo>
                    <a:pt x="474" y="408"/>
                  </a:lnTo>
                  <a:lnTo>
                    <a:pt x="468" y="408"/>
                  </a:lnTo>
                  <a:lnTo>
                    <a:pt x="468" y="402"/>
                  </a:lnTo>
                  <a:lnTo>
                    <a:pt x="462" y="402"/>
                  </a:lnTo>
                  <a:lnTo>
                    <a:pt x="462" y="408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80" y="426"/>
                  </a:lnTo>
                  <a:lnTo>
                    <a:pt x="486" y="426"/>
                  </a:lnTo>
                  <a:lnTo>
                    <a:pt x="486" y="432"/>
                  </a:lnTo>
                  <a:lnTo>
                    <a:pt x="492" y="438"/>
                  </a:lnTo>
                  <a:lnTo>
                    <a:pt x="498" y="438"/>
                  </a:lnTo>
                  <a:lnTo>
                    <a:pt x="504" y="444"/>
                  </a:lnTo>
                  <a:lnTo>
                    <a:pt x="510" y="444"/>
                  </a:lnTo>
                  <a:lnTo>
                    <a:pt x="510" y="450"/>
                  </a:lnTo>
                  <a:lnTo>
                    <a:pt x="510" y="456"/>
                  </a:lnTo>
                  <a:lnTo>
                    <a:pt x="516" y="456"/>
                  </a:lnTo>
                  <a:lnTo>
                    <a:pt x="516" y="462"/>
                  </a:lnTo>
                  <a:lnTo>
                    <a:pt x="522" y="462"/>
                  </a:lnTo>
                  <a:lnTo>
                    <a:pt x="522" y="468"/>
                  </a:lnTo>
                  <a:lnTo>
                    <a:pt x="528" y="468"/>
                  </a:lnTo>
                  <a:lnTo>
                    <a:pt x="534" y="468"/>
                  </a:lnTo>
                  <a:lnTo>
                    <a:pt x="534" y="474"/>
                  </a:lnTo>
                  <a:lnTo>
                    <a:pt x="540" y="474"/>
                  </a:lnTo>
                  <a:lnTo>
                    <a:pt x="540" y="480"/>
                  </a:lnTo>
                  <a:lnTo>
                    <a:pt x="546" y="486"/>
                  </a:lnTo>
                  <a:lnTo>
                    <a:pt x="546" y="492"/>
                  </a:lnTo>
                  <a:lnTo>
                    <a:pt x="546" y="498"/>
                  </a:lnTo>
                  <a:lnTo>
                    <a:pt x="546" y="504"/>
                  </a:lnTo>
                  <a:lnTo>
                    <a:pt x="540" y="504"/>
                  </a:lnTo>
                  <a:lnTo>
                    <a:pt x="546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10"/>
                  </a:lnTo>
                  <a:lnTo>
                    <a:pt x="552" y="516"/>
                  </a:lnTo>
                  <a:lnTo>
                    <a:pt x="552" y="522"/>
                  </a:lnTo>
                  <a:lnTo>
                    <a:pt x="552" y="528"/>
                  </a:lnTo>
                  <a:lnTo>
                    <a:pt x="552" y="534"/>
                  </a:lnTo>
                  <a:lnTo>
                    <a:pt x="552" y="540"/>
                  </a:lnTo>
                  <a:lnTo>
                    <a:pt x="546" y="540"/>
                  </a:lnTo>
                  <a:lnTo>
                    <a:pt x="546" y="546"/>
                  </a:lnTo>
                  <a:lnTo>
                    <a:pt x="546" y="540"/>
                  </a:lnTo>
                  <a:lnTo>
                    <a:pt x="546" y="534"/>
                  </a:lnTo>
                  <a:lnTo>
                    <a:pt x="540" y="534"/>
                  </a:lnTo>
                  <a:lnTo>
                    <a:pt x="540" y="528"/>
                  </a:lnTo>
                  <a:lnTo>
                    <a:pt x="534" y="528"/>
                  </a:lnTo>
                  <a:lnTo>
                    <a:pt x="528" y="528"/>
                  </a:lnTo>
                  <a:lnTo>
                    <a:pt x="522" y="528"/>
                  </a:lnTo>
                  <a:lnTo>
                    <a:pt x="516" y="528"/>
                  </a:lnTo>
                  <a:lnTo>
                    <a:pt x="510" y="528"/>
                  </a:lnTo>
                  <a:lnTo>
                    <a:pt x="510" y="534"/>
                  </a:lnTo>
                  <a:lnTo>
                    <a:pt x="510" y="528"/>
                  </a:lnTo>
                  <a:lnTo>
                    <a:pt x="516" y="528"/>
                  </a:lnTo>
                  <a:lnTo>
                    <a:pt x="522" y="528"/>
                  </a:lnTo>
                  <a:lnTo>
                    <a:pt x="528" y="528"/>
                  </a:lnTo>
                  <a:lnTo>
                    <a:pt x="534" y="534"/>
                  </a:lnTo>
                  <a:lnTo>
                    <a:pt x="540" y="534"/>
                  </a:lnTo>
                  <a:lnTo>
                    <a:pt x="540" y="540"/>
                  </a:lnTo>
                  <a:lnTo>
                    <a:pt x="540" y="546"/>
                  </a:lnTo>
                  <a:lnTo>
                    <a:pt x="546" y="546"/>
                  </a:lnTo>
                  <a:lnTo>
                    <a:pt x="546" y="552"/>
                  </a:lnTo>
                  <a:lnTo>
                    <a:pt x="552" y="552"/>
                  </a:lnTo>
                  <a:lnTo>
                    <a:pt x="552" y="558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0" y="576"/>
                  </a:lnTo>
                  <a:lnTo>
                    <a:pt x="540" y="582"/>
                  </a:lnTo>
                  <a:lnTo>
                    <a:pt x="540" y="588"/>
                  </a:lnTo>
                  <a:lnTo>
                    <a:pt x="534" y="594"/>
                  </a:lnTo>
                  <a:lnTo>
                    <a:pt x="534" y="600"/>
                  </a:lnTo>
                  <a:lnTo>
                    <a:pt x="528" y="600"/>
                  </a:lnTo>
                  <a:lnTo>
                    <a:pt x="522" y="594"/>
                  </a:lnTo>
                  <a:lnTo>
                    <a:pt x="528" y="600"/>
                  </a:lnTo>
                  <a:lnTo>
                    <a:pt x="534" y="600"/>
                  </a:lnTo>
                  <a:lnTo>
                    <a:pt x="534" y="606"/>
                  </a:lnTo>
                  <a:lnTo>
                    <a:pt x="528" y="606"/>
                  </a:lnTo>
                  <a:lnTo>
                    <a:pt x="528" y="612"/>
                  </a:lnTo>
                  <a:lnTo>
                    <a:pt x="522" y="612"/>
                  </a:lnTo>
                  <a:lnTo>
                    <a:pt x="522" y="618"/>
                  </a:lnTo>
                  <a:lnTo>
                    <a:pt x="522" y="624"/>
                  </a:lnTo>
                  <a:lnTo>
                    <a:pt x="510" y="624"/>
                  </a:lnTo>
                  <a:lnTo>
                    <a:pt x="498" y="624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0" y="624"/>
                  </a:lnTo>
                  <a:lnTo>
                    <a:pt x="474" y="624"/>
                  </a:lnTo>
                  <a:lnTo>
                    <a:pt x="468" y="618"/>
                  </a:lnTo>
                  <a:lnTo>
                    <a:pt x="456" y="618"/>
                  </a:lnTo>
                  <a:lnTo>
                    <a:pt x="450" y="618"/>
                  </a:lnTo>
                  <a:lnTo>
                    <a:pt x="426" y="618"/>
                  </a:lnTo>
                  <a:lnTo>
                    <a:pt x="420" y="618"/>
                  </a:lnTo>
                  <a:lnTo>
                    <a:pt x="414" y="618"/>
                  </a:lnTo>
                  <a:lnTo>
                    <a:pt x="408" y="618"/>
                  </a:lnTo>
                  <a:lnTo>
                    <a:pt x="396" y="618"/>
                  </a:lnTo>
                  <a:lnTo>
                    <a:pt x="366" y="618"/>
                  </a:lnTo>
                  <a:lnTo>
                    <a:pt x="348" y="624"/>
                  </a:lnTo>
                  <a:lnTo>
                    <a:pt x="342" y="624"/>
                  </a:lnTo>
                  <a:lnTo>
                    <a:pt x="342" y="618"/>
                  </a:lnTo>
                  <a:lnTo>
                    <a:pt x="336" y="618"/>
                  </a:lnTo>
                  <a:lnTo>
                    <a:pt x="336" y="612"/>
                  </a:lnTo>
                  <a:lnTo>
                    <a:pt x="342" y="612"/>
                  </a:lnTo>
                  <a:lnTo>
                    <a:pt x="348" y="612"/>
                  </a:lnTo>
                  <a:lnTo>
                    <a:pt x="342" y="612"/>
                  </a:lnTo>
                  <a:lnTo>
                    <a:pt x="336" y="612"/>
                  </a:lnTo>
                  <a:lnTo>
                    <a:pt x="336" y="606"/>
                  </a:lnTo>
                  <a:lnTo>
                    <a:pt x="330" y="606"/>
                  </a:lnTo>
                  <a:lnTo>
                    <a:pt x="330" y="600"/>
                  </a:lnTo>
                  <a:lnTo>
                    <a:pt x="324" y="600"/>
                  </a:lnTo>
                  <a:lnTo>
                    <a:pt x="324" y="606"/>
                  </a:lnTo>
                  <a:lnTo>
                    <a:pt x="318" y="606"/>
                  </a:lnTo>
                  <a:lnTo>
                    <a:pt x="318" y="612"/>
                  </a:lnTo>
                  <a:lnTo>
                    <a:pt x="312" y="612"/>
                  </a:lnTo>
                  <a:lnTo>
                    <a:pt x="306" y="606"/>
                  </a:lnTo>
                  <a:lnTo>
                    <a:pt x="306" y="612"/>
                  </a:lnTo>
                  <a:lnTo>
                    <a:pt x="312" y="612"/>
                  </a:lnTo>
                  <a:lnTo>
                    <a:pt x="318" y="612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30" y="606"/>
                  </a:lnTo>
                  <a:lnTo>
                    <a:pt x="336" y="612"/>
                  </a:lnTo>
                  <a:lnTo>
                    <a:pt x="336" y="618"/>
                  </a:lnTo>
                  <a:lnTo>
                    <a:pt x="330" y="618"/>
                  </a:lnTo>
                  <a:lnTo>
                    <a:pt x="336" y="618"/>
                  </a:lnTo>
                  <a:lnTo>
                    <a:pt x="336" y="624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288" y="624"/>
                  </a:lnTo>
                  <a:lnTo>
                    <a:pt x="282" y="624"/>
                  </a:lnTo>
                  <a:lnTo>
                    <a:pt x="270" y="630"/>
                  </a:lnTo>
                  <a:lnTo>
                    <a:pt x="264" y="630"/>
                  </a:lnTo>
                  <a:lnTo>
                    <a:pt x="258" y="630"/>
                  </a:lnTo>
                  <a:lnTo>
                    <a:pt x="252" y="630"/>
                  </a:lnTo>
                  <a:lnTo>
                    <a:pt x="246" y="630"/>
                  </a:lnTo>
                  <a:lnTo>
                    <a:pt x="240" y="630"/>
                  </a:lnTo>
                  <a:lnTo>
                    <a:pt x="228" y="636"/>
                  </a:lnTo>
                  <a:lnTo>
                    <a:pt x="222" y="636"/>
                  </a:lnTo>
                  <a:lnTo>
                    <a:pt x="210" y="636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42"/>
                  </a:lnTo>
                  <a:lnTo>
                    <a:pt x="186" y="642"/>
                  </a:lnTo>
                  <a:lnTo>
                    <a:pt x="180" y="642"/>
                  </a:lnTo>
                  <a:lnTo>
                    <a:pt x="168" y="642"/>
                  </a:lnTo>
                  <a:lnTo>
                    <a:pt x="162" y="642"/>
                  </a:lnTo>
                  <a:lnTo>
                    <a:pt x="162" y="648"/>
                  </a:lnTo>
                  <a:lnTo>
                    <a:pt x="156" y="648"/>
                  </a:lnTo>
                  <a:lnTo>
                    <a:pt x="150" y="648"/>
                  </a:lnTo>
                  <a:lnTo>
                    <a:pt x="144" y="648"/>
                  </a:lnTo>
                  <a:lnTo>
                    <a:pt x="138" y="648"/>
                  </a:lnTo>
                  <a:lnTo>
                    <a:pt x="132" y="648"/>
                  </a:lnTo>
                  <a:lnTo>
                    <a:pt x="126" y="642"/>
                  </a:lnTo>
                  <a:lnTo>
                    <a:pt x="126" y="636"/>
                  </a:lnTo>
                  <a:lnTo>
                    <a:pt x="120" y="636"/>
                  </a:lnTo>
                  <a:lnTo>
                    <a:pt x="126" y="642"/>
                  </a:lnTo>
                  <a:lnTo>
                    <a:pt x="126" y="648"/>
                  </a:lnTo>
                  <a:lnTo>
                    <a:pt x="132" y="648"/>
                  </a:lnTo>
                  <a:lnTo>
                    <a:pt x="126" y="654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54"/>
                  </a:lnTo>
                  <a:lnTo>
                    <a:pt x="108" y="660"/>
                  </a:lnTo>
                  <a:lnTo>
                    <a:pt x="108" y="654"/>
                  </a:lnTo>
                  <a:lnTo>
                    <a:pt x="102" y="654"/>
                  </a:lnTo>
                  <a:lnTo>
                    <a:pt x="102" y="660"/>
                  </a:lnTo>
                  <a:lnTo>
                    <a:pt x="108" y="660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0" y="660"/>
                  </a:lnTo>
                  <a:lnTo>
                    <a:pt x="90" y="654"/>
                  </a:lnTo>
                  <a:lnTo>
                    <a:pt x="84" y="648"/>
                  </a:lnTo>
                  <a:lnTo>
                    <a:pt x="84" y="642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72" y="636"/>
                  </a:lnTo>
                  <a:lnTo>
                    <a:pt x="78" y="636"/>
                  </a:lnTo>
                  <a:lnTo>
                    <a:pt x="72" y="636"/>
                  </a:lnTo>
                  <a:lnTo>
                    <a:pt x="66" y="636"/>
                  </a:lnTo>
                  <a:lnTo>
                    <a:pt x="60" y="636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60" y="618"/>
                  </a:lnTo>
                  <a:lnTo>
                    <a:pt x="66" y="618"/>
                  </a:lnTo>
                  <a:lnTo>
                    <a:pt x="72" y="618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2" y="612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12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54" y="618"/>
                  </a:lnTo>
                  <a:lnTo>
                    <a:pt x="54" y="624"/>
                  </a:lnTo>
                  <a:lnTo>
                    <a:pt x="48" y="618"/>
                  </a:lnTo>
                  <a:lnTo>
                    <a:pt x="42" y="618"/>
                  </a:lnTo>
                  <a:lnTo>
                    <a:pt x="42" y="612"/>
                  </a:lnTo>
                  <a:lnTo>
                    <a:pt x="48" y="606"/>
                  </a:lnTo>
                  <a:lnTo>
                    <a:pt x="54" y="606"/>
                  </a:lnTo>
                  <a:lnTo>
                    <a:pt x="54" y="600"/>
                  </a:lnTo>
                  <a:lnTo>
                    <a:pt x="54" y="594"/>
                  </a:lnTo>
                  <a:lnTo>
                    <a:pt x="54" y="588"/>
                  </a:lnTo>
                  <a:lnTo>
                    <a:pt x="48" y="588"/>
                  </a:lnTo>
                  <a:lnTo>
                    <a:pt x="48" y="582"/>
                  </a:lnTo>
                  <a:lnTo>
                    <a:pt x="42" y="582"/>
                  </a:lnTo>
                  <a:lnTo>
                    <a:pt x="42" y="570"/>
                  </a:lnTo>
                  <a:lnTo>
                    <a:pt x="42" y="564"/>
                  </a:lnTo>
                  <a:lnTo>
                    <a:pt x="36" y="564"/>
                  </a:lnTo>
                  <a:close/>
                  <a:moveTo>
                    <a:pt x="498" y="420"/>
                  </a:moveTo>
                  <a:lnTo>
                    <a:pt x="504" y="426"/>
                  </a:lnTo>
                  <a:lnTo>
                    <a:pt x="510" y="432"/>
                  </a:lnTo>
                  <a:lnTo>
                    <a:pt x="516" y="432"/>
                  </a:lnTo>
                  <a:lnTo>
                    <a:pt x="516" y="438"/>
                  </a:lnTo>
                  <a:lnTo>
                    <a:pt x="510" y="438"/>
                  </a:lnTo>
                  <a:lnTo>
                    <a:pt x="504" y="438"/>
                  </a:lnTo>
                  <a:lnTo>
                    <a:pt x="504" y="432"/>
                  </a:lnTo>
                  <a:lnTo>
                    <a:pt x="498" y="432"/>
                  </a:lnTo>
                  <a:lnTo>
                    <a:pt x="498" y="426"/>
                  </a:lnTo>
                  <a:lnTo>
                    <a:pt x="498" y="4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4" name="Freeform 9">
              <a:extLst>
                <a:ext uri="{FF2B5EF4-FFF2-40B4-BE49-F238E27FC236}">
                  <a16:creationId xmlns:a16="http://schemas.microsoft.com/office/drawing/2014/main" id="{E0116D32-BD2E-45EA-B818-A3082585D5F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3055" y="2468650"/>
              <a:ext cx="800556" cy="1207710"/>
            </a:xfrm>
            <a:custGeom>
              <a:avLst/>
              <a:gdLst>
                <a:gd name="T0" fmla="*/ 24 w 1506"/>
                <a:gd name="T1" fmla="*/ 190 h 2274"/>
                <a:gd name="T2" fmla="*/ 25 w 1506"/>
                <a:gd name="T3" fmla="*/ 180 h 2274"/>
                <a:gd name="T4" fmla="*/ 21 w 1506"/>
                <a:gd name="T5" fmla="*/ 174 h 2274"/>
                <a:gd name="T6" fmla="*/ 17 w 1506"/>
                <a:gd name="T7" fmla="*/ 170 h 2274"/>
                <a:gd name="T8" fmla="*/ 12 w 1506"/>
                <a:gd name="T9" fmla="*/ 168 h 2274"/>
                <a:gd name="T10" fmla="*/ 10 w 1506"/>
                <a:gd name="T11" fmla="*/ 173 h 2274"/>
                <a:gd name="T12" fmla="*/ 7 w 1506"/>
                <a:gd name="T13" fmla="*/ 174 h 2274"/>
                <a:gd name="T14" fmla="*/ 0 w 1506"/>
                <a:gd name="T15" fmla="*/ 163 h 2274"/>
                <a:gd name="T16" fmla="*/ 16 w 1506"/>
                <a:gd name="T17" fmla="*/ 140 h 2274"/>
                <a:gd name="T18" fmla="*/ 19 w 1506"/>
                <a:gd name="T19" fmla="*/ 137 h 2274"/>
                <a:gd name="T20" fmla="*/ 24 w 1506"/>
                <a:gd name="T21" fmla="*/ 126 h 2274"/>
                <a:gd name="T22" fmla="*/ 23 w 1506"/>
                <a:gd name="T23" fmla="*/ 105 h 2274"/>
                <a:gd name="T24" fmla="*/ 14 w 1506"/>
                <a:gd name="T25" fmla="*/ 86 h 2274"/>
                <a:gd name="T26" fmla="*/ 8 w 1506"/>
                <a:gd name="T27" fmla="*/ 84 h 2274"/>
                <a:gd name="T28" fmla="*/ 5 w 1506"/>
                <a:gd name="T29" fmla="*/ 79 h 2274"/>
                <a:gd name="T30" fmla="*/ 16 w 1506"/>
                <a:gd name="T31" fmla="*/ 71 h 2274"/>
                <a:gd name="T32" fmla="*/ 28 w 1506"/>
                <a:gd name="T33" fmla="*/ 55 h 2274"/>
                <a:gd name="T34" fmla="*/ 29 w 1506"/>
                <a:gd name="T35" fmla="*/ 48 h 2274"/>
                <a:gd name="T36" fmla="*/ 35 w 1506"/>
                <a:gd name="T37" fmla="*/ 50 h 2274"/>
                <a:gd name="T38" fmla="*/ 42 w 1506"/>
                <a:gd name="T39" fmla="*/ 47 h 2274"/>
                <a:gd name="T40" fmla="*/ 63 w 1506"/>
                <a:gd name="T41" fmla="*/ 34 h 2274"/>
                <a:gd name="T42" fmla="*/ 74 w 1506"/>
                <a:gd name="T43" fmla="*/ 27 h 2274"/>
                <a:gd name="T44" fmla="*/ 81 w 1506"/>
                <a:gd name="T45" fmla="*/ 20 h 2274"/>
                <a:gd name="T46" fmla="*/ 89 w 1506"/>
                <a:gd name="T47" fmla="*/ 20 h 2274"/>
                <a:gd name="T48" fmla="*/ 98 w 1506"/>
                <a:gd name="T49" fmla="*/ 27 h 2274"/>
                <a:gd name="T50" fmla="*/ 106 w 1506"/>
                <a:gd name="T51" fmla="*/ 17 h 2274"/>
                <a:gd name="T52" fmla="*/ 111 w 1506"/>
                <a:gd name="T53" fmla="*/ 8 h 2274"/>
                <a:gd name="T54" fmla="*/ 121 w 1506"/>
                <a:gd name="T55" fmla="*/ 2 h 2274"/>
                <a:gd name="T56" fmla="*/ 129 w 1506"/>
                <a:gd name="T57" fmla="*/ 5 h 2274"/>
                <a:gd name="T58" fmla="*/ 125 w 1506"/>
                <a:gd name="T59" fmla="*/ 12 h 2274"/>
                <a:gd name="T60" fmla="*/ 122 w 1506"/>
                <a:gd name="T61" fmla="*/ 20 h 2274"/>
                <a:gd name="T62" fmla="*/ 122 w 1506"/>
                <a:gd name="T63" fmla="*/ 27 h 2274"/>
                <a:gd name="T64" fmla="*/ 120 w 1506"/>
                <a:gd name="T65" fmla="*/ 36 h 2274"/>
                <a:gd name="T66" fmla="*/ 116 w 1506"/>
                <a:gd name="T67" fmla="*/ 43 h 2274"/>
                <a:gd name="T68" fmla="*/ 109 w 1506"/>
                <a:gd name="T69" fmla="*/ 47 h 2274"/>
                <a:gd name="T70" fmla="*/ 108 w 1506"/>
                <a:gd name="T71" fmla="*/ 54 h 2274"/>
                <a:gd name="T72" fmla="*/ 106 w 1506"/>
                <a:gd name="T73" fmla="*/ 59 h 2274"/>
                <a:gd name="T74" fmla="*/ 109 w 1506"/>
                <a:gd name="T75" fmla="*/ 64 h 2274"/>
                <a:gd name="T76" fmla="*/ 106 w 1506"/>
                <a:gd name="T77" fmla="*/ 70 h 2274"/>
                <a:gd name="T78" fmla="*/ 105 w 1506"/>
                <a:gd name="T79" fmla="*/ 75 h 2274"/>
                <a:gd name="T80" fmla="*/ 101 w 1506"/>
                <a:gd name="T81" fmla="*/ 78 h 2274"/>
                <a:gd name="T82" fmla="*/ 92 w 1506"/>
                <a:gd name="T83" fmla="*/ 81 h 2274"/>
                <a:gd name="T84" fmla="*/ 85 w 1506"/>
                <a:gd name="T85" fmla="*/ 85 h 2274"/>
                <a:gd name="T86" fmla="*/ 87 w 1506"/>
                <a:gd name="T87" fmla="*/ 91 h 2274"/>
                <a:gd name="T88" fmla="*/ 86 w 1506"/>
                <a:gd name="T89" fmla="*/ 98 h 2274"/>
                <a:gd name="T90" fmla="*/ 86 w 1506"/>
                <a:gd name="T91" fmla="*/ 103 h 2274"/>
                <a:gd name="T92" fmla="*/ 82 w 1506"/>
                <a:gd name="T93" fmla="*/ 111 h 2274"/>
                <a:gd name="T94" fmla="*/ 81 w 1506"/>
                <a:gd name="T95" fmla="*/ 116 h 2274"/>
                <a:gd name="T96" fmla="*/ 78 w 1506"/>
                <a:gd name="T97" fmla="*/ 120 h 2274"/>
                <a:gd name="T98" fmla="*/ 76 w 1506"/>
                <a:gd name="T99" fmla="*/ 126 h 2274"/>
                <a:gd name="T100" fmla="*/ 68 w 1506"/>
                <a:gd name="T101" fmla="*/ 129 h 2274"/>
                <a:gd name="T102" fmla="*/ 62 w 1506"/>
                <a:gd name="T103" fmla="*/ 131 h 2274"/>
                <a:gd name="T104" fmla="*/ 58 w 1506"/>
                <a:gd name="T105" fmla="*/ 136 h 2274"/>
                <a:gd name="T106" fmla="*/ 51 w 1506"/>
                <a:gd name="T107" fmla="*/ 138 h 2274"/>
                <a:gd name="T108" fmla="*/ 51 w 1506"/>
                <a:gd name="T109" fmla="*/ 147 h 2274"/>
                <a:gd name="T110" fmla="*/ 49 w 1506"/>
                <a:gd name="T111" fmla="*/ 159 h 2274"/>
                <a:gd name="T112" fmla="*/ 48 w 1506"/>
                <a:gd name="T113" fmla="*/ 166 h 2274"/>
                <a:gd name="T114" fmla="*/ 41 w 1506"/>
                <a:gd name="T115" fmla="*/ 174 h 2274"/>
                <a:gd name="T116" fmla="*/ 39 w 1506"/>
                <a:gd name="T117" fmla="*/ 181 h 2274"/>
                <a:gd name="T118" fmla="*/ 37 w 1506"/>
                <a:gd name="T119" fmla="*/ 190 h 2274"/>
                <a:gd name="T120" fmla="*/ 29 w 1506"/>
                <a:gd name="T121" fmla="*/ 198 h 22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06"/>
                <a:gd name="T184" fmla="*/ 0 h 2274"/>
                <a:gd name="T185" fmla="*/ 1506 w 1506"/>
                <a:gd name="T186" fmla="*/ 2274 h 227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06" h="2274">
                  <a:moveTo>
                    <a:pt x="330" y="2274"/>
                  </a:moveTo>
                  <a:lnTo>
                    <a:pt x="318" y="2262"/>
                  </a:lnTo>
                  <a:lnTo>
                    <a:pt x="312" y="2238"/>
                  </a:lnTo>
                  <a:lnTo>
                    <a:pt x="312" y="2232"/>
                  </a:lnTo>
                  <a:lnTo>
                    <a:pt x="294" y="2214"/>
                  </a:lnTo>
                  <a:lnTo>
                    <a:pt x="288" y="2208"/>
                  </a:lnTo>
                  <a:lnTo>
                    <a:pt x="288" y="2202"/>
                  </a:lnTo>
                  <a:lnTo>
                    <a:pt x="276" y="2196"/>
                  </a:lnTo>
                  <a:lnTo>
                    <a:pt x="276" y="2190"/>
                  </a:lnTo>
                  <a:lnTo>
                    <a:pt x="282" y="2190"/>
                  </a:lnTo>
                  <a:lnTo>
                    <a:pt x="282" y="2184"/>
                  </a:lnTo>
                  <a:lnTo>
                    <a:pt x="276" y="2172"/>
                  </a:lnTo>
                  <a:lnTo>
                    <a:pt x="276" y="2166"/>
                  </a:lnTo>
                  <a:lnTo>
                    <a:pt x="282" y="2166"/>
                  </a:lnTo>
                  <a:lnTo>
                    <a:pt x="282" y="2154"/>
                  </a:lnTo>
                  <a:lnTo>
                    <a:pt x="276" y="2136"/>
                  </a:lnTo>
                  <a:lnTo>
                    <a:pt x="276" y="2112"/>
                  </a:lnTo>
                  <a:lnTo>
                    <a:pt x="282" y="2088"/>
                  </a:lnTo>
                  <a:lnTo>
                    <a:pt x="282" y="2082"/>
                  </a:lnTo>
                  <a:lnTo>
                    <a:pt x="282" y="2076"/>
                  </a:lnTo>
                  <a:lnTo>
                    <a:pt x="282" y="2070"/>
                  </a:lnTo>
                  <a:lnTo>
                    <a:pt x="288" y="2070"/>
                  </a:lnTo>
                  <a:lnTo>
                    <a:pt x="288" y="2064"/>
                  </a:lnTo>
                  <a:lnTo>
                    <a:pt x="282" y="2052"/>
                  </a:lnTo>
                  <a:lnTo>
                    <a:pt x="282" y="2046"/>
                  </a:lnTo>
                  <a:lnTo>
                    <a:pt x="276" y="2040"/>
                  </a:lnTo>
                  <a:lnTo>
                    <a:pt x="270" y="2034"/>
                  </a:lnTo>
                  <a:lnTo>
                    <a:pt x="264" y="2022"/>
                  </a:lnTo>
                  <a:lnTo>
                    <a:pt x="258" y="2022"/>
                  </a:lnTo>
                  <a:lnTo>
                    <a:pt x="258" y="2016"/>
                  </a:lnTo>
                  <a:lnTo>
                    <a:pt x="252" y="2016"/>
                  </a:lnTo>
                  <a:lnTo>
                    <a:pt x="246" y="2016"/>
                  </a:lnTo>
                  <a:lnTo>
                    <a:pt x="240" y="2010"/>
                  </a:lnTo>
                  <a:lnTo>
                    <a:pt x="234" y="2004"/>
                  </a:lnTo>
                  <a:lnTo>
                    <a:pt x="228" y="2004"/>
                  </a:lnTo>
                  <a:lnTo>
                    <a:pt x="228" y="1998"/>
                  </a:lnTo>
                  <a:lnTo>
                    <a:pt x="228" y="1992"/>
                  </a:lnTo>
                  <a:lnTo>
                    <a:pt x="222" y="1992"/>
                  </a:lnTo>
                  <a:lnTo>
                    <a:pt x="222" y="1986"/>
                  </a:lnTo>
                  <a:lnTo>
                    <a:pt x="216" y="1986"/>
                  </a:lnTo>
                  <a:lnTo>
                    <a:pt x="210" y="1980"/>
                  </a:lnTo>
                  <a:lnTo>
                    <a:pt x="216" y="1974"/>
                  </a:lnTo>
                  <a:lnTo>
                    <a:pt x="210" y="1968"/>
                  </a:lnTo>
                  <a:lnTo>
                    <a:pt x="198" y="1956"/>
                  </a:lnTo>
                  <a:lnTo>
                    <a:pt x="192" y="1956"/>
                  </a:lnTo>
                  <a:lnTo>
                    <a:pt x="186" y="1956"/>
                  </a:lnTo>
                  <a:lnTo>
                    <a:pt x="180" y="1944"/>
                  </a:lnTo>
                  <a:lnTo>
                    <a:pt x="180" y="1938"/>
                  </a:lnTo>
                  <a:lnTo>
                    <a:pt x="174" y="1932"/>
                  </a:lnTo>
                  <a:lnTo>
                    <a:pt x="168" y="1932"/>
                  </a:lnTo>
                  <a:lnTo>
                    <a:pt x="162" y="1932"/>
                  </a:lnTo>
                  <a:lnTo>
                    <a:pt x="150" y="1932"/>
                  </a:lnTo>
                  <a:lnTo>
                    <a:pt x="150" y="1926"/>
                  </a:lnTo>
                  <a:lnTo>
                    <a:pt x="150" y="1932"/>
                  </a:lnTo>
                  <a:lnTo>
                    <a:pt x="144" y="1932"/>
                  </a:lnTo>
                  <a:lnTo>
                    <a:pt x="138" y="1932"/>
                  </a:lnTo>
                  <a:lnTo>
                    <a:pt x="132" y="1932"/>
                  </a:lnTo>
                  <a:lnTo>
                    <a:pt x="132" y="1938"/>
                  </a:lnTo>
                  <a:lnTo>
                    <a:pt x="126" y="1944"/>
                  </a:lnTo>
                  <a:lnTo>
                    <a:pt x="126" y="1956"/>
                  </a:lnTo>
                  <a:lnTo>
                    <a:pt x="120" y="1968"/>
                  </a:lnTo>
                  <a:lnTo>
                    <a:pt x="120" y="1974"/>
                  </a:lnTo>
                  <a:lnTo>
                    <a:pt x="120" y="1980"/>
                  </a:lnTo>
                  <a:lnTo>
                    <a:pt x="126" y="1980"/>
                  </a:lnTo>
                  <a:lnTo>
                    <a:pt x="120" y="1986"/>
                  </a:lnTo>
                  <a:lnTo>
                    <a:pt x="120" y="1992"/>
                  </a:lnTo>
                  <a:lnTo>
                    <a:pt x="114" y="1992"/>
                  </a:lnTo>
                  <a:lnTo>
                    <a:pt x="114" y="1986"/>
                  </a:lnTo>
                  <a:lnTo>
                    <a:pt x="108" y="1992"/>
                  </a:lnTo>
                  <a:lnTo>
                    <a:pt x="108" y="1998"/>
                  </a:lnTo>
                  <a:lnTo>
                    <a:pt x="114" y="2004"/>
                  </a:lnTo>
                  <a:lnTo>
                    <a:pt x="108" y="2004"/>
                  </a:lnTo>
                  <a:lnTo>
                    <a:pt x="102" y="2010"/>
                  </a:lnTo>
                  <a:lnTo>
                    <a:pt x="102" y="2004"/>
                  </a:lnTo>
                  <a:lnTo>
                    <a:pt x="90" y="2004"/>
                  </a:lnTo>
                  <a:lnTo>
                    <a:pt x="84" y="2004"/>
                  </a:lnTo>
                  <a:lnTo>
                    <a:pt x="78" y="1998"/>
                  </a:lnTo>
                  <a:lnTo>
                    <a:pt x="78" y="1992"/>
                  </a:lnTo>
                  <a:lnTo>
                    <a:pt x="78" y="1986"/>
                  </a:lnTo>
                  <a:lnTo>
                    <a:pt x="72" y="1986"/>
                  </a:lnTo>
                  <a:lnTo>
                    <a:pt x="66" y="1980"/>
                  </a:lnTo>
                  <a:lnTo>
                    <a:pt x="66" y="1968"/>
                  </a:lnTo>
                  <a:lnTo>
                    <a:pt x="60" y="1956"/>
                  </a:lnTo>
                  <a:lnTo>
                    <a:pt x="60" y="1950"/>
                  </a:lnTo>
                  <a:lnTo>
                    <a:pt x="48" y="1944"/>
                  </a:lnTo>
                  <a:lnTo>
                    <a:pt x="30" y="1926"/>
                  </a:lnTo>
                  <a:lnTo>
                    <a:pt x="12" y="1890"/>
                  </a:lnTo>
                  <a:lnTo>
                    <a:pt x="6" y="1872"/>
                  </a:lnTo>
                  <a:lnTo>
                    <a:pt x="0" y="1854"/>
                  </a:lnTo>
                  <a:lnTo>
                    <a:pt x="6" y="1824"/>
                  </a:lnTo>
                  <a:lnTo>
                    <a:pt x="30" y="1794"/>
                  </a:lnTo>
                  <a:lnTo>
                    <a:pt x="66" y="1752"/>
                  </a:lnTo>
                  <a:lnTo>
                    <a:pt x="72" y="1752"/>
                  </a:lnTo>
                  <a:lnTo>
                    <a:pt x="78" y="1746"/>
                  </a:lnTo>
                  <a:lnTo>
                    <a:pt x="84" y="1746"/>
                  </a:lnTo>
                  <a:lnTo>
                    <a:pt x="90" y="1746"/>
                  </a:lnTo>
                  <a:lnTo>
                    <a:pt x="138" y="1674"/>
                  </a:lnTo>
                  <a:lnTo>
                    <a:pt x="186" y="1620"/>
                  </a:lnTo>
                  <a:lnTo>
                    <a:pt x="186" y="1614"/>
                  </a:lnTo>
                  <a:lnTo>
                    <a:pt x="186" y="1608"/>
                  </a:lnTo>
                  <a:lnTo>
                    <a:pt x="192" y="1608"/>
                  </a:lnTo>
                  <a:lnTo>
                    <a:pt x="192" y="1614"/>
                  </a:lnTo>
                  <a:lnTo>
                    <a:pt x="198" y="1614"/>
                  </a:lnTo>
                  <a:lnTo>
                    <a:pt x="198" y="1608"/>
                  </a:lnTo>
                  <a:lnTo>
                    <a:pt x="198" y="1602"/>
                  </a:lnTo>
                  <a:lnTo>
                    <a:pt x="204" y="1602"/>
                  </a:lnTo>
                  <a:lnTo>
                    <a:pt x="204" y="1596"/>
                  </a:lnTo>
                  <a:lnTo>
                    <a:pt x="210" y="1590"/>
                  </a:lnTo>
                  <a:lnTo>
                    <a:pt x="216" y="1590"/>
                  </a:lnTo>
                  <a:lnTo>
                    <a:pt x="216" y="1584"/>
                  </a:lnTo>
                  <a:lnTo>
                    <a:pt x="222" y="1584"/>
                  </a:lnTo>
                  <a:lnTo>
                    <a:pt x="228" y="1572"/>
                  </a:lnTo>
                  <a:lnTo>
                    <a:pt x="222" y="1572"/>
                  </a:lnTo>
                  <a:lnTo>
                    <a:pt x="228" y="1566"/>
                  </a:lnTo>
                  <a:lnTo>
                    <a:pt x="228" y="1560"/>
                  </a:lnTo>
                  <a:lnTo>
                    <a:pt x="252" y="1548"/>
                  </a:lnTo>
                  <a:lnTo>
                    <a:pt x="276" y="1530"/>
                  </a:lnTo>
                  <a:lnTo>
                    <a:pt x="282" y="1512"/>
                  </a:lnTo>
                  <a:lnTo>
                    <a:pt x="282" y="1506"/>
                  </a:lnTo>
                  <a:lnTo>
                    <a:pt x="282" y="1494"/>
                  </a:lnTo>
                  <a:lnTo>
                    <a:pt x="282" y="1452"/>
                  </a:lnTo>
                  <a:lnTo>
                    <a:pt x="288" y="1440"/>
                  </a:lnTo>
                  <a:lnTo>
                    <a:pt x="294" y="1440"/>
                  </a:lnTo>
                  <a:lnTo>
                    <a:pt x="294" y="1428"/>
                  </a:lnTo>
                  <a:lnTo>
                    <a:pt x="324" y="1368"/>
                  </a:lnTo>
                  <a:lnTo>
                    <a:pt x="330" y="1362"/>
                  </a:lnTo>
                  <a:lnTo>
                    <a:pt x="330" y="1356"/>
                  </a:lnTo>
                  <a:lnTo>
                    <a:pt x="360" y="1338"/>
                  </a:lnTo>
                  <a:lnTo>
                    <a:pt x="366" y="1296"/>
                  </a:lnTo>
                  <a:lnTo>
                    <a:pt x="354" y="1278"/>
                  </a:lnTo>
                  <a:lnTo>
                    <a:pt x="336" y="1230"/>
                  </a:lnTo>
                  <a:lnTo>
                    <a:pt x="270" y="1212"/>
                  </a:lnTo>
                  <a:lnTo>
                    <a:pt x="264" y="1212"/>
                  </a:lnTo>
                  <a:lnTo>
                    <a:pt x="252" y="1200"/>
                  </a:lnTo>
                  <a:lnTo>
                    <a:pt x="234" y="1188"/>
                  </a:lnTo>
                  <a:lnTo>
                    <a:pt x="222" y="1182"/>
                  </a:lnTo>
                  <a:lnTo>
                    <a:pt x="228" y="1104"/>
                  </a:lnTo>
                  <a:lnTo>
                    <a:pt x="228" y="1098"/>
                  </a:lnTo>
                  <a:lnTo>
                    <a:pt x="198" y="1038"/>
                  </a:lnTo>
                  <a:lnTo>
                    <a:pt x="192" y="1032"/>
                  </a:lnTo>
                  <a:lnTo>
                    <a:pt x="180" y="1020"/>
                  </a:lnTo>
                  <a:lnTo>
                    <a:pt x="168" y="996"/>
                  </a:lnTo>
                  <a:lnTo>
                    <a:pt x="162" y="990"/>
                  </a:lnTo>
                  <a:lnTo>
                    <a:pt x="156" y="990"/>
                  </a:lnTo>
                  <a:lnTo>
                    <a:pt x="150" y="990"/>
                  </a:lnTo>
                  <a:lnTo>
                    <a:pt x="132" y="990"/>
                  </a:lnTo>
                  <a:lnTo>
                    <a:pt x="120" y="984"/>
                  </a:lnTo>
                  <a:lnTo>
                    <a:pt x="120" y="990"/>
                  </a:lnTo>
                  <a:lnTo>
                    <a:pt x="114" y="990"/>
                  </a:lnTo>
                  <a:lnTo>
                    <a:pt x="102" y="984"/>
                  </a:lnTo>
                  <a:lnTo>
                    <a:pt x="96" y="984"/>
                  </a:lnTo>
                  <a:lnTo>
                    <a:pt x="96" y="978"/>
                  </a:lnTo>
                  <a:lnTo>
                    <a:pt x="90" y="978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84" y="960"/>
                  </a:lnTo>
                  <a:lnTo>
                    <a:pt x="84" y="954"/>
                  </a:lnTo>
                  <a:lnTo>
                    <a:pt x="78" y="948"/>
                  </a:lnTo>
                  <a:lnTo>
                    <a:pt x="72" y="948"/>
                  </a:lnTo>
                  <a:lnTo>
                    <a:pt x="72" y="942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06"/>
                  </a:lnTo>
                  <a:lnTo>
                    <a:pt x="60" y="888"/>
                  </a:lnTo>
                  <a:lnTo>
                    <a:pt x="54" y="882"/>
                  </a:lnTo>
                  <a:lnTo>
                    <a:pt x="60" y="882"/>
                  </a:lnTo>
                  <a:lnTo>
                    <a:pt x="72" y="876"/>
                  </a:lnTo>
                  <a:lnTo>
                    <a:pt x="78" y="876"/>
                  </a:lnTo>
                  <a:lnTo>
                    <a:pt x="90" y="870"/>
                  </a:lnTo>
                  <a:lnTo>
                    <a:pt x="90" y="864"/>
                  </a:lnTo>
                  <a:lnTo>
                    <a:pt x="96" y="840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80" y="822"/>
                  </a:lnTo>
                  <a:lnTo>
                    <a:pt x="204" y="798"/>
                  </a:lnTo>
                  <a:lnTo>
                    <a:pt x="222" y="786"/>
                  </a:lnTo>
                  <a:lnTo>
                    <a:pt x="252" y="780"/>
                  </a:lnTo>
                  <a:lnTo>
                    <a:pt x="264" y="762"/>
                  </a:lnTo>
                  <a:lnTo>
                    <a:pt x="276" y="762"/>
                  </a:lnTo>
                  <a:lnTo>
                    <a:pt x="288" y="744"/>
                  </a:lnTo>
                  <a:lnTo>
                    <a:pt x="306" y="738"/>
                  </a:lnTo>
                  <a:lnTo>
                    <a:pt x="318" y="732"/>
                  </a:lnTo>
                  <a:lnTo>
                    <a:pt x="324" y="648"/>
                  </a:lnTo>
                  <a:lnTo>
                    <a:pt x="324" y="636"/>
                  </a:lnTo>
                  <a:lnTo>
                    <a:pt x="324" y="630"/>
                  </a:lnTo>
                  <a:lnTo>
                    <a:pt x="330" y="624"/>
                  </a:lnTo>
                  <a:lnTo>
                    <a:pt x="324" y="618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24" y="588"/>
                  </a:lnTo>
                  <a:lnTo>
                    <a:pt x="318" y="576"/>
                  </a:lnTo>
                  <a:lnTo>
                    <a:pt x="318" y="570"/>
                  </a:lnTo>
                  <a:lnTo>
                    <a:pt x="324" y="570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30" y="558"/>
                  </a:lnTo>
                  <a:lnTo>
                    <a:pt x="336" y="558"/>
                  </a:lnTo>
                  <a:lnTo>
                    <a:pt x="342" y="558"/>
                  </a:lnTo>
                  <a:lnTo>
                    <a:pt x="348" y="558"/>
                  </a:lnTo>
                  <a:lnTo>
                    <a:pt x="354" y="564"/>
                  </a:lnTo>
                  <a:lnTo>
                    <a:pt x="360" y="564"/>
                  </a:lnTo>
                  <a:lnTo>
                    <a:pt x="366" y="570"/>
                  </a:lnTo>
                  <a:lnTo>
                    <a:pt x="366" y="576"/>
                  </a:lnTo>
                  <a:lnTo>
                    <a:pt x="372" y="570"/>
                  </a:lnTo>
                  <a:lnTo>
                    <a:pt x="378" y="570"/>
                  </a:lnTo>
                  <a:lnTo>
                    <a:pt x="390" y="570"/>
                  </a:lnTo>
                  <a:lnTo>
                    <a:pt x="402" y="570"/>
                  </a:lnTo>
                  <a:lnTo>
                    <a:pt x="408" y="570"/>
                  </a:lnTo>
                  <a:lnTo>
                    <a:pt x="414" y="564"/>
                  </a:lnTo>
                  <a:lnTo>
                    <a:pt x="420" y="564"/>
                  </a:lnTo>
                  <a:lnTo>
                    <a:pt x="420" y="570"/>
                  </a:lnTo>
                  <a:lnTo>
                    <a:pt x="426" y="570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44" y="570"/>
                  </a:lnTo>
                  <a:lnTo>
                    <a:pt x="450" y="564"/>
                  </a:lnTo>
                  <a:lnTo>
                    <a:pt x="474" y="558"/>
                  </a:lnTo>
                  <a:lnTo>
                    <a:pt x="486" y="54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40" y="474"/>
                  </a:lnTo>
                  <a:lnTo>
                    <a:pt x="558" y="456"/>
                  </a:lnTo>
                  <a:lnTo>
                    <a:pt x="582" y="450"/>
                  </a:lnTo>
                  <a:lnTo>
                    <a:pt x="594" y="414"/>
                  </a:lnTo>
                  <a:lnTo>
                    <a:pt x="612" y="390"/>
                  </a:lnTo>
                  <a:lnTo>
                    <a:pt x="636" y="390"/>
                  </a:lnTo>
                  <a:lnTo>
                    <a:pt x="666" y="390"/>
                  </a:lnTo>
                  <a:lnTo>
                    <a:pt x="696" y="390"/>
                  </a:lnTo>
                  <a:lnTo>
                    <a:pt x="726" y="390"/>
                  </a:lnTo>
                  <a:lnTo>
                    <a:pt x="762" y="378"/>
                  </a:lnTo>
                  <a:lnTo>
                    <a:pt x="780" y="366"/>
                  </a:lnTo>
                  <a:lnTo>
                    <a:pt x="780" y="342"/>
                  </a:lnTo>
                  <a:lnTo>
                    <a:pt x="786" y="342"/>
                  </a:lnTo>
                  <a:lnTo>
                    <a:pt x="786" y="336"/>
                  </a:lnTo>
                  <a:lnTo>
                    <a:pt x="786" y="330"/>
                  </a:lnTo>
                  <a:lnTo>
                    <a:pt x="786" y="324"/>
                  </a:lnTo>
                  <a:lnTo>
                    <a:pt x="816" y="318"/>
                  </a:lnTo>
                  <a:lnTo>
                    <a:pt x="834" y="312"/>
                  </a:lnTo>
                  <a:lnTo>
                    <a:pt x="840" y="318"/>
                  </a:lnTo>
                  <a:lnTo>
                    <a:pt x="852" y="318"/>
                  </a:lnTo>
                  <a:lnTo>
                    <a:pt x="858" y="306"/>
                  </a:lnTo>
                  <a:lnTo>
                    <a:pt x="864" y="288"/>
                  </a:lnTo>
                  <a:lnTo>
                    <a:pt x="870" y="282"/>
                  </a:lnTo>
                  <a:lnTo>
                    <a:pt x="876" y="276"/>
                  </a:lnTo>
                  <a:lnTo>
                    <a:pt x="882" y="264"/>
                  </a:lnTo>
                  <a:lnTo>
                    <a:pt x="882" y="258"/>
                  </a:lnTo>
                  <a:lnTo>
                    <a:pt x="888" y="252"/>
                  </a:lnTo>
                  <a:lnTo>
                    <a:pt x="894" y="240"/>
                  </a:lnTo>
                  <a:lnTo>
                    <a:pt x="906" y="228"/>
                  </a:lnTo>
                  <a:lnTo>
                    <a:pt x="912" y="228"/>
                  </a:lnTo>
                  <a:lnTo>
                    <a:pt x="936" y="228"/>
                  </a:lnTo>
                  <a:lnTo>
                    <a:pt x="942" y="222"/>
                  </a:lnTo>
                  <a:lnTo>
                    <a:pt x="948" y="216"/>
                  </a:lnTo>
                  <a:lnTo>
                    <a:pt x="954" y="216"/>
                  </a:lnTo>
                  <a:lnTo>
                    <a:pt x="960" y="216"/>
                  </a:lnTo>
                  <a:lnTo>
                    <a:pt x="966" y="216"/>
                  </a:lnTo>
                  <a:lnTo>
                    <a:pt x="978" y="216"/>
                  </a:lnTo>
                  <a:lnTo>
                    <a:pt x="990" y="222"/>
                  </a:lnTo>
                  <a:lnTo>
                    <a:pt x="996" y="222"/>
                  </a:lnTo>
                  <a:lnTo>
                    <a:pt x="1002" y="228"/>
                  </a:lnTo>
                  <a:lnTo>
                    <a:pt x="1014" y="234"/>
                  </a:lnTo>
                  <a:lnTo>
                    <a:pt x="1020" y="234"/>
                  </a:lnTo>
                  <a:lnTo>
                    <a:pt x="1032" y="240"/>
                  </a:lnTo>
                  <a:lnTo>
                    <a:pt x="1044" y="240"/>
                  </a:lnTo>
                  <a:lnTo>
                    <a:pt x="1050" y="240"/>
                  </a:lnTo>
                  <a:lnTo>
                    <a:pt x="1056" y="246"/>
                  </a:lnTo>
                  <a:lnTo>
                    <a:pt x="1068" y="264"/>
                  </a:lnTo>
                  <a:lnTo>
                    <a:pt x="1086" y="276"/>
                  </a:lnTo>
                  <a:lnTo>
                    <a:pt x="1092" y="276"/>
                  </a:lnTo>
                  <a:lnTo>
                    <a:pt x="1104" y="282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8" y="312"/>
                  </a:lnTo>
                  <a:lnTo>
                    <a:pt x="1152" y="324"/>
                  </a:lnTo>
                  <a:lnTo>
                    <a:pt x="1188" y="324"/>
                  </a:lnTo>
                  <a:lnTo>
                    <a:pt x="1206" y="318"/>
                  </a:lnTo>
                  <a:lnTo>
                    <a:pt x="1200" y="294"/>
                  </a:lnTo>
                  <a:lnTo>
                    <a:pt x="1206" y="252"/>
                  </a:lnTo>
                  <a:lnTo>
                    <a:pt x="1218" y="222"/>
                  </a:lnTo>
                  <a:lnTo>
                    <a:pt x="1212" y="222"/>
                  </a:lnTo>
                  <a:lnTo>
                    <a:pt x="1212" y="216"/>
                  </a:lnTo>
                  <a:lnTo>
                    <a:pt x="1218" y="204"/>
                  </a:lnTo>
                  <a:lnTo>
                    <a:pt x="1224" y="198"/>
                  </a:lnTo>
                  <a:lnTo>
                    <a:pt x="1224" y="192"/>
                  </a:lnTo>
                  <a:lnTo>
                    <a:pt x="1236" y="180"/>
                  </a:lnTo>
                  <a:lnTo>
                    <a:pt x="1254" y="156"/>
                  </a:lnTo>
                  <a:lnTo>
                    <a:pt x="1260" y="150"/>
                  </a:lnTo>
                  <a:lnTo>
                    <a:pt x="1260" y="144"/>
                  </a:lnTo>
                  <a:lnTo>
                    <a:pt x="1266" y="138"/>
                  </a:lnTo>
                  <a:lnTo>
                    <a:pt x="1272" y="138"/>
                  </a:lnTo>
                  <a:lnTo>
                    <a:pt x="1272" y="120"/>
                  </a:lnTo>
                  <a:lnTo>
                    <a:pt x="1278" y="114"/>
                  </a:lnTo>
                  <a:lnTo>
                    <a:pt x="1278" y="108"/>
                  </a:lnTo>
                  <a:lnTo>
                    <a:pt x="1278" y="102"/>
                  </a:lnTo>
                  <a:lnTo>
                    <a:pt x="1278" y="90"/>
                  </a:lnTo>
                  <a:lnTo>
                    <a:pt x="1278" y="84"/>
                  </a:lnTo>
                  <a:lnTo>
                    <a:pt x="1278" y="78"/>
                  </a:lnTo>
                  <a:lnTo>
                    <a:pt x="1278" y="72"/>
                  </a:lnTo>
                  <a:lnTo>
                    <a:pt x="1278" y="60"/>
                  </a:lnTo>
                  <a:lnTo>
                    <a:pt x="1284" y="48"/>
                  </a:lnTo>
                  <a:lnTo>
                    <a:pt x="1284" y="24"/>
                  </a:lnTo>
                  <a:lnTo>
                    <a:pt x="1284" y="18"/>
                  </a:lnTo>
                  <a:lnTo>
                    <a:pt x="1308" y="24"/>
                  </a:lnTo>
                  <a:lnTo>
                    <a:pt x="1332" y="30"/>
                  </a:lnTo>
                  <a:lnTo>
                    <a:pt x="1368" y="30"/>
                  </a:lnTo>
                  <a:lnTo>
                    <a:pt x="1392" y="24"/>
                  </a:lnTo>
                  <a:lnTo>
                    <a:pt x="1410" y="18"/>
                  </a:lnTo>
                  <a:lnTo>
                    <a:pt x="1416" y="6"/>
                  </a:lnTo>
                  <a:lnTo>
                    <a:pt x="1500" y="6"/>
                  </a:lnTo>
                  <a:lnTo>
                    <a:pt x="1506" y="0"/>
                  </a:lnTo>
                  <a:lnTo>
                    <a:pt x="1506" y="6"/>
                  </a:lnTo>
                  <a:lnTo>
                    <a:pt x="1506" y="18"/>
                  </a:lnTo>
                  <a:lnTo>
                    <a:pt x="1506" y="24"/>
                  </a:lnTo>
                  <a:lnTo>
                    <a:pt x="1500" y="30"/>
                  </a:lnTo>
                  <a:lnTo>
                    <a:pt x="1500" y="42"/>
                  </a:lnTo>
                  <a:lnTo>
                    <a:pt x="1494" y="54"/>
                  </a:lnTo>
                  <a:lnTo>
                    <a:pt x="1488" y="60"/>
                  </a:lnTo>
                  <a:lnTo>
                    <a:pt x="1482" y="60"/>
                  </a:lnTo>
                  <a:lnTo>
                    <a:pt x="1476" y="66"/>
                  </a:lnTo>
                  <a:lnTo>
                    <a:pt x="1476" y="72"/>
                  </a:lnTo>
                  <a:lnTo>
                    <a:pt x="1476" y="78"/>
                  </a:lnTo>
                  <a:lnTo>
                    <a:pt x="1470" y="78"/>
                  </a:lnTo>
                  <a:lnTo>
                    <a:pt x="1464" y="90"/>
                  </a:lnTo>
                  <a:lnTo>
                    <a:pt x="1458" y="96"/>
                  </a:lnTo>
                  <a:lnTo>
                    <a:pt x="1458" y="102"/>
                  </a:lnTo>
                  <a:lnTo>
                    <a:pt x="1452" y="120"/>
                  </a:lnTo>
                  <a:lnTo>
                    <a:pt x="1452" y="132"/>
                  </a:lnTo>
                  <a:lnTo>
                    <a:pt x="1446" y="144"/>
                  </a:lnTo>
                  <a:lnTo>
                    <a:pt x="1446" y="150"/>
                  </a:lnTo>
                  <a:lnTo>
                    <a:pt x="1440" y="150"/>
                  </a:lnTo>
                  <a:lnTo>
                    <a:pt x="1434" y="156"/>
                  </a:lnTo>
                  <a:lnTo>
                    <a:pt x="1428" y="168"/>
                  </a:lnTo>
                  <a:lnTo>
                    <a:pt x="1422" y="168"/>
                  </a:lnTo>
                  <a:lnTo>
                    <a:pt x="1416" y="174"/>
                  </a:lnTo>
                  <a:lnTo>
                    <a:pt x="1410" y="186"/>
                  </a:lnTo>
                  <a:lnTo>
                    <a:pt x="1410" y="204"/>
                  </a:lnTo>
                  <a:lnTo>
                    <a:pt x="1404" y="210"/>
                  </a:lnTo>
                  <a:lnTo>
                    <a:pt x="1404" y="216"/>
                  </a:lnTo>
                  <a:lnTo>
                    <a:pt x="1410" y="228"/>
                  </a:lnTo>
                  <a:lnTo>
                    <a:pt x="1410" y="234"/>
                  </a:lnTo>
                  <a:lnTo>
                    <a:pt x="1410" y="240"/>
                  </a:lnTo>
                  <a:lnTo>
                    <a:pt x="1416" y="252"/>
                  </a:lnTo>
                  <a:lnTo>
                    <a:pt x="1416" y="258"/>
                  </a:lnTo>
                  <a:lnTo>
                    <a:pt x="1422" y="264"/>
                  </a:lnTo>
                  <a:lnTo>
                    <a:pt x="1422" y="270"/>
                  </a:lnTo>
                  <a:lnTo>
                    <a:pt x="1422" y="282"/>
                  </a:lnTo>
                  <a:lnTo>
                    <a:pt x="1416" y="288"/>
                  </a:lnTo>
                  <a:lnTo>
                    <a:pt x="1410" y="294"/>
                  </a:lnTo>
                  <a:lnTo>
                    <a:pt x="1404" y="300"/>
                  </a:lnTo>
                  <a:lnTo>
                    <a:pt x="1404" y="306"/>
                  </a:lnTo>
                  <a:lnTo>
                    <a:pt x="1398" y="324"/>
                  </a:lnTo>
                  <a:lnTo>
                    <a:pt x="1404" y="330"/>
                  </a:lnTo>
                  <a:lnTo>
                    <a:pt x="1404" y="342"/>
                  </a:lnTo>
                  <a:lnTo>
                    <a:pt x="1392" y="354"/>
                  </a:lnTo>
                  <a:lnTo>
                    <a:pt x="1392" y="360"/>
                  </a:lnTo>
                  <a:lnTo>
                    <a:pt x="1392" y="372"/>
                  </a:lnTo>
                  <a:lnTo>
                    <a:pt x="1392" y="384"/>
                  </a:lnTo>
                  <a:lnTo>
                    <a:pt x="1392" y="396"/>
                  </a:lnTo>
                  <a:lnTo>
                    <a:pt x="1392" y="408"/>
                  </a:lnTo>
                  <a:lnTo>
                    <a:pt x="1386" y="414"/>
                  </a:lnTo>
                  <a:lnTo>
                    <a:pt x="1380" y="420"/>
                  </a:lnTo>
                  <a:lnTo>
                    <a:pt x="1380" y="426"/>
                  </a:lnTo>
                  <a:lnTo>
                    <a:pt x="1368" y="432"/>
                  </a:lnTo>
                  <a:lnTo>
                    <a:pt x="1362" y="444"/>
                  </a:lnTo>
                  <a:lnTo>
                    <a:pt x="1362" y="450"/>
                  </a:lnTo>
                  <a:lnTo>
                    <a:pt x="1362" y="462"/>
                  </a:lnTo>
                  <a:lnTo>
                    <a:pt x="1362" y="468"/>
                  </a:lnTo>
                  <a:lnTo>
                    <a:pt x="1362" y="474"/>
                  </a:lnTo>
                  <a:lnTo>
                    <a:pt x="1356" y="474"/>
                  </a:lnTo>
                  <a:lnTo>
                    <a:pt x="1350" y="480"/>
                  </a:lnTo>
                  <a:lnTo>
                    <a:pt x="1344" y="486"/>
                  </a:lnTo>
                  <a:lnTo>
                    <a:pt x="1338" y="498"/>
                  </a:lnTo>
                  <a:lnTo>
                    <a:pt x="1332" y="510"/>
                  </a:lnTo>
                  <a:lnTo>
                    <a:pt x="1320" y="510"/>
                  </a:lnTo>
                  <a:lnTo>
                    <a:pt x="1314" y="516"/>
                  </a:lnTo>
                  <a:lnTo>
                    <a:pt x="1302" y="522"/>
                  </a:lnTo>
                  <a:lnTo>
                    <a:pt x="1296" y="522"/>
                  </a:lnTo>
                  <a:lnTo>
                    <a:pt x="1284" y="516"/>
                  </a:lnTo>
                  <a:lnTo>
                    <a:pt x="1278" y="516"/>
                  </a:lnTo>
                  <a:lnTo>
                    <a:pt x="1272" y="522"/>
                  </a:lnTo>
                  <a:lnTo>
                    <a:pt x="1266" y="522"/>
                  </a:lnTo>
                  <a:lnTo>
                    <a:pt x="1266" y="528"/>
                  </a:lnTo>
                  <a:lnTo>
                    <a:pt x="1254" y="540"/>
                  </a:lnTo>
                  <a:lnTo>
                    <a:pt x="1248" y="546"/>
                  </a:lnTo>
                  <a:lnTo>
                    <a:pt x="1242" y="558"/>
                  </a:lnTo>
                  <a:lnTo>
                    <a:pt x="1230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30" y="594"/>
                  </a:lnTo>
                  <a:lnTo>
                    <a:pt x="1230" y="600"/>
                  </a:lnTo>
                  <a:lnTo>
                    <a:pt x="1236" y="606"/>
                  </a:lnTo>
                  <a:lnTo>
                    <a:pt x="1242" y="606"/>
                  </a:lnTo>
                  <a:lnTo>
                    <a:pt x="1242" y="612"/>
                  </a:lnTo>
                  <a:lnTo>
                    <a:pt x="1242" y="618"/>
                  </a:lnTo>
                  <a:lnTo>
                    <a:pt x="1242" y="624"/>
                  </a:lnTo>
                  <a:lnTo>
                    <a:pt x="1236" y="630"/>
                  </a:lnTo>
                  <a:lnTo>
                    <a:pt x="1230" y="642"/>
                  </a:lnTo>
                  <a:lnTo>
                    <a:pt x="1230" y="648"/>
                  </a:lnTo>
                  <a:lnTo>
                    <a:pt x="1218" y="654"/>
                  </a:lnTo>
                  <a:lnTo>
                    <a:pt x="1212" y="654"/>
                  </a:lnTo>
                  <a:lnTo>
                    <a:pt x="1212" y="660"/>
                  </a:lnTo>
                  <a:lnTo>
                    <a:pt x="1212" y="666"/>
                  </a:lnTo>
                  <a:lnTo>
                    <a:pt x="1212" y="672"/>
                  </a:lnTo>
                  <a:lnTo>
                    <a:pt x="1212" y="678"/>
                  </a:lnTo>
                  <a:lnTo>
                    <a:pt x="1218" y="684"/>
                  </a:lnTo>
                  <a:lnTo>
                    <a:pt x="1218" y="690"/>
                  </a:lnTo>
                  <a:lnTo>
                    <a:pt x="1224" y="696"/>
                  </a:lnTo>
                  <a:lnTo>
                    <a:pt x="1230" y="702"/>
                  </a:lnTo>
                  <a:lnTo>
                    <a:pt x="1236" y="696"/>
                  </a:lnTo>
                  <a:lnTo>
                    <a:pt x="1242" y="702"/>
                  </a:lnTo>
                  <a:lnTo>
                    <a:pt x="1248" y="708"/>
                  </a:lnTo>
                  <a:lnTo>
                    <a:pt x="1254" y="714"/>
                  </a:lnTo>
                  <a:lnTo>
                    <a:pt x="1254" y="720"/>
                  </a:lnTo>
                  <a:lnTo>
                    <a:pt x="1260" y="720"/>
                  </a:lnTo>
                  <a:lnTo>
                    <a:pt x="1254" y="732"/>
                  </a:lnTo>
                  <a:lnTo>
                    <a:pt x="1248" y="738"/>
                  </a:lnTo>
                  <a:lnTo>
                    <a:pt x="1242" y="744"/>
                  </a:lnTo>
                  <a:lnTo>
                    <a:pt x="1236" y="750"/>
                  </a:lnTo>
                  <a:lnTo>
                    <a:pt x="1236" y="756"/>
                  </a:lnTo>
                  <a:lnTo>
                    <a:pt x="1236" y="762"/>
                  </a:lnTo>
                  <a:lnTo>
                    <a:pt x="1236" y="768"/>
                  </a:lnTo>
                  <a:lnTo>
                    <a:pt x="1236" y="780"/>
                  </a:lnTo>
                  <a:lnTo>
                    <a:pt x="1230" y="780"/>
                  </a:lnTo>
                  <a:lnTo>
                    <a:pt x="1230" y="786"/>
                  </a:lnTo>
                  <a:lnTo>
                    <a:pt x="1230" y="792"/>
                  </a:lnTo>
                  <a:lnTo>
                    <a:pt x="1230" y="804"/>
                  </a:lnTo>
                  <a:lnTo>
                    <a:pt x="1224" y="810"/>
                  </a:lnTo>
                  <a:lnTo>
                    <a:pt x="1218" y="816"/>
                  </a:lnTo>
                  <a:lnTo>
                    <a:pt x="1224" y="822"/>
                  </a:lnTo>
                  <a:lnTo>
                    <a:pt x="1224" y="828"/>
                  </a:lnTo>
                  <a:lnTo>
                    <a:pt x="1218" y="834"/>
                  </a:lnTo>
                  <a:lnTo>
                    <a:pt x="1224" y="834"/>
                  </a:lnTo>
                  <a:lnTo>
                    <a:pt x="1224" y="840"/>
                  </a:lnTo>
                  <a:lnTo>
                    <a:pt x="1224" y="846"/>
                  </a:lnTo>
                  <a:lnTo>
                    <a:pt x="1224" y="852"/>
                  </a:lnTo>
                  <a:lnTo>
                    <a:pt x="1218" y="858"/>
                  </a:lnTo>
                  <a:lnTo>
                    <a:pt x="1218" y="870"/>
                  </a:lnTo>
                  <a:lnTo>
                    <a:pt x="1212" y="870"/>
                  </a:lnTo>
                  <a:lnTo>
                    <a:pt x="1212" y="876"/>
                  </a:lnTo>
                  <a:lnTo>
                    <a:pt x="1206" y="888"/>
                  </a:lnTo>
                  <a:lnTo>
                    <a:pt x="1200" y="882"/>
                  </a:lnTo>
                  <a:lnTo>
                    <a:pt x="1194" y="888"/>
                  </a:lnTo>
                  <a:lnTo>
                    <a:pt x="1188" y="894"/>
                  </a:lnTo>
                  <a:lnTo>
                    <a:pt x="1182" y="894"/>
                  </a:lnTo>
                  <a:lnTo>
                    <a:pt x="1182" y="900"/>
                  </a:lnTo>
                  <a:lnTo>
                    <a:pt x="1176" y="900"/>
                  </a:lnTo>
                  <a:lnTo>
                    <a:pt x="1170" y="894"/>
                  </a:lnTo>
                  <a:lnTo>
                    <a:pt x="1164" y="900"/>
                  </a:lnTo>
                  <a:lnTo>
                    <a:pt x="1158" y="900"/>
                  </a:lnTo>
                  <a:lnTo>
                    <a:pt x="1152" y="900"/>
                  </a:lnTo>
                  <a:lnTo>
                    <a:pt x="1140" y="900"/>
                  </a:lnTo>
                  <a:lnTo>
                    <a:pt x="1134" y="900"/>
                  </a:lnTo>
                  <a:lnTo>
                    <a:pt x="1128" y="906"/>
                  </a:lnTo>
                  <a:lnTo>
                    <a:pt x="1110" y="906"/>
                  </a:lnTo>
                  <a:lnTo>
                    <a:pt x="1104" y="906"/>
                  </a:lnTo>
                  <a:lnTo>
                    <a:pt x="1098" y="906"/>
                  </a:lnTo>
                  <a:lnTo>
                    <a:pt x="1092" y="912"/>
                  </a:lnTo>
                  <a:lnTo>
                    <a:pt x="1080" y="918"/>
                  </a:lnTo>
                  <a:lnTo>
                    <a:pt x="1068" y="930"/>
                  </a:lnTo>
                  <a:lnTo>
                    <a:pt x="1062" y="930"/>
                  </a:lnTo>
                  <a:lnTo>
                    <a:pt x="1056" y="930"/>
                  </a:lnTo>
                  <a:lnTo>
                    <a:pt x="1050" y="930"/>
                  </a:lnTo>
                  <a:lnTo>
                    <a:pt x="1050" y="936"/>
                  </a:lnTo>
                  <a:lnTo>
                    <a:pt x="1038" y="942"/>
                  </a:lnTo>
                  <a:lnTo>
                    <a:pt x="1032" y="948"/>
                  </a:lnTo>
                  <a:lnTo>
                    <a:pt x="1026" y="954"/>
                  </a:lnTo>
                  <a:lnTo>
                    <a:pt x="1020" y="960"/>
                  </a:lnTo>
                  <a:lnTo>
                    <a:pt x="1014" y="966"/>
                  </a:lnTo>
                  <a:lnTo>
                    <a:pt x="1002" y="966"/>
                  </a:lnTo>
                  <a:lnTo>
                    <a:pt x="990" y="978"/>
                  </a:lnTo>
                  <a:lnTo>
                    <a:pt x="984" y="978"/>
                  </a:lnTo>
                  <a:lnTo>
                    <a:pt x="978" y="984"/>
                  </a:lnTo>
                  <a:lnTo>
                    <a:pt x="972" y="984"/>
                  </a:lnTo>
                  <a:lnTo>
                    <a:pt x="978" y="990"/>
                  </a:lnTo>
                  <a:lnTo>
                    <a:pt x="972" y="996"/>
                  </a:lnTo>
                  <a:lnTo>
                    <a:pt x="978" y="1002"/>
                  </a:lnTo>
                  <a:lnTo>
                    <a:pt x="1002" y="1002"/>
                  </a:lnTo>
                  <a:lnTo>
                    <a:pt x="1002" y="1008"/>
                  </a:lnTo>
                  <a:lnTo>
                    <a:pt x="1008" y="1020"/>
                  </a:lnTo>
                  <a:lnTo>
                    <a:pt x="1002" y="1026"/>
                  </a:lnTo>
                  <a:lnTo>
                    <a:pt x="1002" y="1032"/>
                  </a:lnTo>
                  <a:lnTo>
                    <a:pt x="1002" y="1050"/>
                  </a:lnTo>
                  <a:lnTo>
                    <a:pt x="1002" y="1056"/>
                  </a:lnTo>
                  <a:lnTo>
                    <a:pt x="1008" y="1062"/>
                  </a:lnTo>
                  <a:lnTo>
                    <a:pt x="1008" y="1074"/>
                  </a:lnTo>
                  <a:lnTo>
                    <a:pt x="1008" y="1086"/>
                  </a:lnTo>
                  <a:lnTo>
                    <a:pt x="996" y="1092"/>
                  </a:lnTo>
                  <a:lnTo>
                    <a:pt x="996" y="1098"/>
                  </a:lnTo>
                  <a:lnTo>
                    <a:pt x="996" y="1104"/>
                  </a:lnTo>
                  <a:lnTo>
                    <a:pt x="990" y="1110"/>
                  </a:lnTo>
                  <a:lnTo>
                    <a:pt x="990" y="1116"/>
                  </a:lnTo>
                  <a:lnTo>
                    <a:pt x="996" y="1122"/>
                  </a:lnTo>
                  <a:lnTo>
                    <a:pt x="990" y="1128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96" y="1140"/>
                  </a:lnTo>
                  <a:lnTo>
                    <a:pt x="996" y="1146"/>
                  </a:lnTo>
                  <a:lnTo>
                    <a:pt x="996" y="1152"/>
                  </a:lnTo>
                  <a:lnTo>
                    <a:pt x="996" y="1158"/>
                  </a:lnTo>
                  <a:lnTo>
                    <a:pt x="996" y="1164"/>
                  </a:lnTo>
                  <a:lnTo>
                    <a:pt x="996" y="1170"/>
                  </a:lnTo>
                  <a:lnTo>
                    <a:pt x="996" y="1176"/>
                  </a:lnTo>
                  <a:lnTo>
                    <a:pt x="990" y="1182"/>
                  </a:lnTo>
                  <a:lnTo>
                    <a:pt x="990" y="1188"/>
                  </a:lnTo>
                  <a:lnTo>
                    <a:pt x="984" y="1200"/>
                  </a:lnTo>
                  <a:lnTo>
                    <a:pt x="990" y="1206"/>
                  </a:lnTo>
                  <a:lnTo>
                    <a:pt x="990" y="1212"/>
                  </a:lnTo>
                  <a:lnTo>
                    <a:pt x="990" y="1218"/>
                  </a:lnTo>
                  <a:lnTo>
                    <a:pt x="978" y="1230"/>
                  </a:lnTo>
                  <a:lnTo>
                    <a:pt x="972" y="1236"/>
                  </a:lnTo>
                  <a:lnTo>
                    <a:pt x="972" y="1242"/>
                  </a:lnTo>
                  <a:lnTo>
                    <a:pt x="966" y="1248"/>
                  </a:lnTo>
                  <a:lnTo>
                    <a:pt x="960" y="1260"/>
                  </a:lnTo>
                  <a:lnTo>
                    <a:pt x="954" y="1266"/>
                  </a:lnTo>
                  <a:lnTo>
                    <a:pt x="942" y="1278"/>
                  </a:lnTo>
                  <a:lnTo>
                    <a:pt x="936" y="1278"/>
                  </a:lnTo>
                  <a:lnTo>
                    <a:pt x="936" y="1284"/>
                  </a:lnTo>
                  <a:lnTo>
                    <a:pt x="936" y="1296"/>
                  </a:lnTo>
                  <a:lnTo>
                    <a:pt x="936" y="1302"/>
                  </a:lnTo>
                  <a:lnTo>
                    <a:pt x="942" y="1302"/>
                  </a:lnTo>
                  <a:lnTo>
                    <a:pt x="942" y="1308"/>
                  </a:lnTo>
                  <a:lnTo>
                    <a:pt x="936" y="1314"/>
                  </a:lnTo>
                  <a:lnTo>
                    <a:pt x="930" y="1320"/>
                  </a:lnTo>
                  <a:lnTo>
                    <a:pt x="930" y="1326"/>
                  </a:lnTo>
                  <a:lnTo>
                    <a:pt x="930" y="1332"/>
                  </a:lnTo>
                  <a:lnTo>
                    <a:pt x="936" y="1338"/>
                  </a:lnTo>
                  <a:lnTo>
                    <a:pt x="936" y="1344"/>
                  </a:lnTo>
                  <a:lnTo>
                    <a:pt x="942" y="1356"/>
                  </a:lnTo>
                  <a:lnTo>
                    <a:pt x="948" y="1368"/>
                  </a:lnTo>
                  <a:lnTo>
                    <a:pt x="942" y="1380"/>
                  </a:lnTo>
                  <a:lnTo>
                    <a:pt x="936" y="1386"/>
                  </a:lnTo>
                  <a:lnTo>
                    <a:pt x="930" y="1392"/>
                  </a:lnTo>
                  <a:lnTo>
                    <a:pt x="924" y="1392"/>
                  </a:lnTo>
                  <a:lnTo>
                    <a:pt x="918" y="1386"/>
                  </a:lnTo>
                  <a:lnTo>
                    <a:pt x="912" y="1386"/>
                  </a:lnTo>
                  <a:lnTo>
                    <a:pt x="906" y="1386"/>
                  </a:lnTo>
                  <a:lnTo>
                    <a:pt x="900" y="1386"/>
                  </a:lnTo>
                  <a:lnTo>
                    <a:pt x="900" y="1392"/>
                  </a:lnTo>
                  <a:lnTo>
                    <a:pt x="894" y="1392"/>
                  </a:lnTo>
                  <a:lnTo>
                    <a:pt x="888" y="1392"/>
                  </a:lnTo>
                  <a:lnTo>
                    <a:pt x="888" y="1398"/>
                  </a:lnTo>
                  <a:lnTo>
                    <a:pt x="882" y="1404"/>
                  </a:lnTo>
                  <a:lnTo>
                    <a:pt x="882" y="1416"/>
                  </a:lnTo>
                  <a:lnTo>
                    <a:pt x="882" y="1428"/>
                  </a:lnTo>
                  <a:lnTo>
                    <a:pt x="882" y="1434"/>
                  </a:lnTo>
                  <a:lnTo>
                    <a:pt x="870" y="1440"/>
                  </a:lnTo>
                  <a:lnTo>
                    <a:pt x="864" y="1452"/>
                  </a:lnTo>
                  <a:lnTo>
                    <a:pt x="870" y="1452"/>
                  </a:lnTo>
                  <a:lnTo>
                    <a:pt x="864" y="1458"/>
                  </a:lnTo>
                  <a:lnTo>
                    <a:pt x="858" y="1464"/>
                  </a:lnTo>
                  <a:lnTo>
                    <a:pt x="852" y="1464"/>
                  </a:lnTo>
                  <a:lnTo>
                    <a:pt x="846" y="1458"/>
                  </a:lnTo>
                  <a:lnTo>
                    <a:pt x="840" y="1458"/>
                  </a:lnTo>
                  <a:lnTo>
                    <a:pt x="828" y="1470"/>
                  </a:lnTo>
                  <a:lnTo>
                    <a:pt x="810" y="1482"/>
                  </a:lnTo>
                  <a:lnTo>
                    <a:pt x="804" y="1488"/>
                  </a:lnTo>
                  <a:lnTo>
                    <a:pt x="798" y="1488"/>
                  </a:lnTo>
                  <a:lnTo>
                    <a:pt x="792" y="1488"/>
                  </a:lnTo>
                  <a:lnTo>
                    <a:pt x="786" y="1488"/>
                  </a:lnTo>
                  <a:lnTo>
                    <a:pt x="768" y="1482"/>
                  </a:lnTo>
                  <a:lnTo>
                    <a:pt x="762" y="1476"/>
                  </a:lnTo>
                  <a:lnTo>
                    <a:pt x="744" y="1476"/>
                  </a:lnTo>
                  <a:lnTo>
                    <a:pt x="738" y="1476"/>
                  </a:lnTo>
                  <a:lnTo>
                    <a:pt x="732" y="1476"/>
                  </a:lnTo>
                  <a:lnTo>
                    <a:pt x="726" y="1482"/>
                  </a:lnTo>
                  <a:lnTo>
                    <a:pt x="726" y="1488"/>
                  </a:lnTo>
                  <a:lnTo>
                    <a:pt x="726" y="1494"/>
                  </a:lnTo>
                  <a:lnTo>
                    <a:pt x="726" y="1500"/>
                  </a:lnTo>
                  <a:lnTo>
                    <a:pt x="720" y="1500"/>
                  </a:lnTo>
                  <a:lnTo>
                    <a:pt x="720" y="1506"/>
                  </a:lnTo>
                  <a:lnTo>
                    <a:pt x="714" y="1512"/>
                  </a:lnTo>
                  <a:lnTo>
                    <a:pt x="714" y="1518"/>
                  </a:lnTo>
                  <a:lnTo>
                    <a:pt x="708" y="1518"/>
                  </a:lnTo>
                  <a:lnTo>
                    <a:pt x="708" y="1530"/>
                  </a:lnTo>
                  <a:lnTo>
                    <a:pt x="708" y="1536"/>
                  </a:lnTo>
                  <a:lnTo>
                    <a:pt x="708" y="1542"/>
                  </a:lnTo>
                  <a:lnTo>
                    <a:pt x="696" y="1554"/>
                  </a:lnTo>
                  <a:lnTo>
                    <a:pt x="690" y="1560"/>
                  </a:lnTo>
                  <a:lnTo>
                    <a:pt x="684" y="1566"/>
                  </a:lnTo>
                  <a:lnTo>
                    <a:pt x="672" y="1566"/>
                  </a:lnTo>
                  <a:lnTo>
                    <a:pt x="666" y="1566"/>
                  </a:lnTo>
                  <a:lnTo>
                    <a:pt x="660" y="1566"/>
                  </a:lnTo>
                  <a:lnTo>
                    <a:pt x="654" y="1572"/>
                  </a:lnTo>
                  <a:lnTo>
                    <a:pt x="654" y="1578"/>
                  </a:lnTo>
                  <a:lnTo>
                    <a:pt x="642" y="1578"/>
                  </a:lnTo>
                  <a:lnTo>
                    <a:pt x="630" y="1572"/>
                  </a:lnTo>
                  <a:lnTo>
                    <a:pt x="624" y="1572"/>
                  </a:lnTo>
                  <a:lnTo>
                    <a:pt x="618" y="1578"/>
                  </a:lnTo>
                  <a:lnTo>
                    <a:pt x="612" y="1584"/>
                  </a:lnTo>
                  <a:lnTo>
                    <a:pt x="606" y="1584"/>
                  </a:lnTo>
                  <a:lnTo>
                    <a:pt x="600" y="1590"/>
                  </a:lnTo>
                  <a:lnTo>
                    <a:pt x="594" y="1590"/>
                  </a:lnTo>
                  <a:lnTo>
                    <a:pt x="588" y="1590"/>
                  </a:lnTo>
                  <a:lnTo>
                    <a:pt x="582" y="1590"/>
                  </a:lnTo>
                  <a:lnTo>
                    <a:pt x="582" y="1596"/>
                  </a:lnTo>
                  <a:lnTo>
                    <a:pt x="576" y="1614"/>
                  </a:lnTo>
                  <a:lnTo>
                    <a:pt x="570" y="1632"/>
                  </a:lnTo>
                  <a:lnTo>
                    <a:pt x="570" y="1638"/>
                  </a:lnTo>
                  <a:lnTo>
                    <a:pt x="576" y="1644"/>
                  </a:lnTo>
                  <a:lnTo>
                    <a:pt x="576" y="1650"/>
                  </a:lnTo>
                  <a:lnTo>
                    <a:pt x="582" y="1662"/>
                  </a:lnTo>
                  <a:lnTo>
                    <a:pt x="582" y="1668"/>
                  </a:lnTo>
                  <a:lnTo>
                    <a:pt x="588" y="1692"/>
                  </a:lnTo>
                  <a:lnTo>
                    <a:pt x="594" y="1728"/>
                  </a:lnTo>
                  <a:lnTo>
                    <a:pt x="594" y="1752"/>
                  </a:lnTo>
                  <a:lnTo>
                    <a:pt x="594" y="1764"/>
                  </a:lnTo>
                  <a:lnTo>
                    <a:pt x="582" y="1770"/>
                  </a:lnTo>
                  <a:lnTo>
                    <a:pt x="582" y="1782"/>
                  </a:lnTo>
                  <a:lnTo>
                    <a:pt x="576" y="1788"/>
                  </a:lnTo>
                  <a:lnTo>
                    <a:pt x="570" y="1794"/>
                  </a:lnTo>
                  <a:lnTo>
                    <a:pt x="564" y="1806"/>
                  </a:lnTo>
                  <a:lnTo>
                    <a:pt x="564" y="1812"/>
                  </a:lnTo>
                  <a:lnTo>
                    <a:pt x="558" y="1812"/>
                  </a:lnTo>
                  <a:lnTo>
                    <a:pt x="564" y="1824"/>
                  </a:lnTo>
                  <a:lnTo>
                    <a:pt x="564" y="1830"/>
                  </a:lnTo>
                  <a:lnTo>
                    <a:pt x="564" y="1842"/>
                  </a:lnTo>
                  <a:lnTo>
                    <a:pt x="564" y="1848"/>
                  </a:lnTo>
                  <a:lnTo>
                    <a:pt x="564" y="1854"/>
                  </a:lnTo>
                  <a:lnTo>
                    <a:pt x="570" y="1860"/>
                  </a:lnTo>
                  <a:lnTo>
                    <a:pt x="570" y="1866"/>
                  </a:lnTo>
                  <a:lnTo>
                    <a:pt x="570" y="1872"/>
                  </a:lnTo>
                  <a:lnTo>
                    <a:pt x="570" y="1878"/>
                  </a:lnTo>
                  <a:lnTo>
                    <a:pt x="564" y="1890"/>
                  </a:lnTo>
                  <a:lnTo>
                    <a:pt x="558" y="1896"/>
                  </a:lnTo>
                  <a:lnTo>
                    <a:pt x="552" y="1908"/>
                  </a:lnTo>
                  <a:lnTo>
                    <a:pt x="546" y="1914"/>
                  </a:lnTo>
                  <a:lnTo>
                    <a:pt x="540" y="1920"/>
                  </a:lnTo>
                  <a:lnTo>
                    <a:pt x="534" y="1932"/>
                  </a:lnTo>
                  <a:lnTo>
                    <a:pt x="528" y="1944"/>
                  </a:lnTo>
                  <a:lnTo>
                    <a:pt x="516" y="1950"/>
                  </a:lnTo>
                  <a:lnTo>
                    <a:pt x="510" y="1956"/>
                  </a:lnTo>
                  <a:lnTo>
                    <a:pt x="498" y="1962"/>
                  </a:lnTo>
                  <a:lnTo>
                    <a:pt x="492" y="1974"/>
                  </a:lnTo>
                  <a:lnTo>
                    <a:pt x="486" y="1980"/>
                  </a:lnTo>
                  <a:lnTo>
                    <a:pt x="480" y="1998"/>
                  </a:lnTo>
                  <a:lnTo>
                    <a:pt x="474" y="2004"/>
                  </a:lnTo>
                  <a:lnTo>
                    <a:pt x="474" y="2010"/>
                  </a:lnTo>
                  <a:lnTo>
                    <a:pt x="474" y="2016"/>
                  </a:lnTo>
                  <a:lnTo>
                    <a:pt x="468" y="2016"/>
                  </a:lnTo>
                  <a:lnTo>
                    <a:pt x="468" y="2028"/>
                  </a:lnTo>
                  <a:lnTo>
                    <a:pt x="462" y="2034"/>
                  </a:lnTo>
                  <a:lnTo>
                    <a:pt x="456" y="2040"/>
                  </a:lnTo>
                  <a:lnTo>
                    <a:pt x="456" y="2052"/>
                  </a:lnTo>
                  <a:lnTo>
                    <a:pt x="450" y="2058"/>
                  </a:lnTo>
                  <a:lnTo>
                    <a:pt x="450" y="2070"/>
                  </a:lnTo>
                  <a:lnTo>
                    <a:pt x="450" y="2076"/>
                  </a:lnTo>
                  <a:lnTo>
                    <a:pt x="450" y="2082"/>
                  </a:lnTo>
                  <a:lnTo>
                    <a:pt x="444" y="2088"/>
                  </a:lnTo>
                  <a:lnTo>
                    <a:pt x="438" y="2094"/>
                  </a:lnTo>
                  <a:lnTo>
                    <a:pt x="444" y="2100"/>
                  </a:lnTo>
                  <a:lnTo>
                    <a:pt x="444" y="2124"/>
                  </a:lnTo>
                  <a:lnTo>
                    <a:pt x="444" y="2142"/>
                  </a:lnTo>
                  <a:lnTo>
                    <a:pt x="444" y="2160"/>
                  </a:lnTo>
                  <a:lnTo>
                    <a:pt x="450" y="2166"/>
                  </a:lnTo>
                  <a:lnTo>
                    <a:pt x="456" y="2178"/>
                  </a:lnTo>
                  <a:lnTo>
                    <a:pt x="438" y="2184"/>
                  </a:lnTo>
                  <a:lnTo>
                    <a:pt x="432" y="2184"/>
                  </a:lnTo>
                  <a:lnTo>
                    <a:pt x="426" y="2190"/>
                  </a:lnTo>
                  <a:lnTo>
                    <a:pt x="408" y="2190"/>
                  </a:lnTo>
                  <a:lnTo>
                    <a:pt x="402" y="2196"/>
                  </a:lnTo>
                  <a:lnTo>
                    <a:pt x="396" y="2196"/>
                  </a:lnTo>
                  <a:lnTo>
                    <a:pt x="384" y="2208"/>
                  </a:lnTo>
                  <a:lnTo>
                    <a:pt x="378" y="2220"/>
                  </a:lnTo>
                  <a:lnTo>
                    <a:pt x="366" y="2232"/>
                  </a:lnTo>
                  <a:lnTo>
                    <a:pt x="366" y="2238"/>
                  </a:lnTo>
                  <a:lnTo>
                    <a:pt x="360" y="2238"/>
                  </a:lnTo>
                  <a:lnTo>
                    <a:pt x="360" y="2244"/>
                  </a:lnTo>
                  <a:lnTo>
                    <a:pt x="354" y="2244"/>
                  </a:lnTo>
                  <a:lnTo>
                    <a:pt x="330" y="227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5" name="Freeform 10">
              <a:extLst>
                <a:ext uri="{FF2B5EF4-FFF2-40B4-BE49-F238E27FC236}">
                  <a16:creationId xmlns:a16="http://schemas.microsoft.com/office/drawing/2014/main" id="{3AD2FC58-3490-4B7F-A8BE-621F3CDD69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1996" y="1931890"/>
              <a:ext cx="805029" cy="1037736"/>
            </a:xfrm>
            <a:custGeom>
              <a:avLst/>
              <a:gdLst>
                <a:gd name="T0" fmla="*/ 124 w 1512"/>
                <a:gd name="T1" fmla="*/ 76 h 1956"/>
                <a:gd name="T2" fmla="*/ 120 w 1512"/>
                <a:gd name="T3" fmla="*/ 80 h 1956"/>
                <a:gd name="T4" fmla="*/ 106 w 1512"/>
                <a:gd name="T5" fmla="*/ 84 h 1956"/>
                <a:gd name="T6" fmla="*/ 105 w 1512"/>
                <a:gd name="T7" fmla="*/ 91 h 1956"/>
                <a:gd name="T8" fmla="*/ 101 w 1512"/>
                <a:gd name="T9" fmla="*/ 99 h 1956"/>
                <a:gd name="T10" fmla="*/ 105 w 1512"/>
                <a:gd name="T11" fmla="*/ 107 h 1956"/>
                <a:gd name="T12" fmla="*/ 119 w 1512"/>
                <a:gd name="T13" fmla="*/ 116 h 1956"/>
                <a:gd name="T14" fmla="*/ 121 w 1512"/>
                <a:gd name="T15" fmla="*/ 128 h 1956"/>
                <a:gd name="T16" fmla="*/ 112 w 1512"/>
                <a:gd name="T17" fmla="*/ 136 h 1956"/>
                <a:gd name="T18" fmla="*/ 119 w 1512"/>
                <a:gd name="T19" fmla="*/ 143 h 1956"/>
                <a:gd name="T20" fmla="*/ 126 w 1512"/>
                <a:gd name="T21" fmla="*/ 148 h 1956"/>
                <a:gd name="T22" fmla="*/ 126 w 1512"/>
                <a:gd name="T23" fmla="*/ 160 h 1956"/>
                <a:gd name="T24" fmla="*/ 104 w 1512"/>
                <a:gd name="T25" fmla="*/ 170 h 1956"/>
                <a:gd name="T26" fmla="*/ 99 w 1512"/>
                <a:gd name="T27" fmla="*/ 164 h 1956"/>
                <a:gd name="T28" fmla="*/ 73 w 1512"/>
                <a:gd name="T29" fmla="*/ 152 h 1956"/>
                <a:gd name="T30" fmla="*/ 56 w 1512"/>
                <a:gd name="T31" fmla="*/ 165 h 1956"/>
                <a:gd name="T32" fmla="*/ 33 w 1512"/>
                <a:gd name="T33" fmla="*/ 162 h 1956"/>
                <a:gd name="T34" fmla="*/ 25 w 1512"/>
                <a:gd name="T35" fmla="*/ 155 h 1956"/>
                <a:gd name="T36" fmla="*/ 31 w 1512"/>
                <a:gd name="T37" fmla="*/ 142 h 1956"/>
                <a:gd name="T38" fmla="*/ 24 w 1512"/>
                <a:gd name="T39" fmla="*/ 137 h 1956"/>
                <a:gd name="T40" fmla="*/ 14 w 1512"/>
                <a:gd name="T41" fmla="*/ 136 h 1956"/>
                <a:gd name="T42" fmla="*/ 11 w 1512"/>
                <a:gd name="T43" fmla="*/ 125 h 1956"/>
                <a:gd name="T44" fmla="*/ 3 w 1512"/>
                <a:gd name="T45" fmla="*/ 116 h 1956"/>
                <a:gd name="T46" fmla="*/ 2 w 1512"/>
                <a:gd name="T47" fmla="*/ 106 h 1956"/>
                <a:gd name="T48" fmla="*/ 5 w 1512"/>
                <a:gd name="T49" fmla="*/ 101 h 1956"/>
                <a:gd name="T50" fmla="*/ 2 w 1512"/>
                <a:gd name="T51" fmla="*/ 95 h 1956"/>
                <a:gd name="T52" fmla="*/ 1 w 1512"/>
                <a:gd name="T53" fmla="*/ 88 h 1956"/>
                <a:gd name="T54" fmla="*/ 4 w 1512"/>
                <a:gd name="T55" fmla="*/ 80 h 1956"/>
                <a:gd name="T56" fmla="*/ 12 w 1512"/>
                <a:gd name="T57" fmla="*/ 73 h 1956"/>
                <a:gd name="T58" fmla="*/ 16 w 1512"/>
                <a:gd name="T59" fmla="*/ 68 h 1956"/>
                <a:gd name="T60" fmla="*/ 22 w 1512"/>
                <a:gd name="T61" fmla="*/ 66 h 1956"/>
                <a:gd name="T62" fmla="*/ 32 w 1512"/>
                <a:gd name="T63" fmla="*/ 65 h 1956"/>
                <a:gd name="T64" fmla="*/ 45 w 1512"/>
                <a:gd name="T65" fmla="*/ 66 h 1956"/>
                <a:gd name="T66" fmla="*/ 50 w 1512"/>
                <a:gd name="T67" fmla="*/ 70 h 1956"/>
                <a:gd name="T68" fmla="*/ 55 w 1512"/>
                <a:gd name="T69" fmla="*/ 70 h 1956"/>
                <a:gd name="T70" fmla="*/ 63 w 1512"/>
                <a:gd name="T71" fmla="*/ 71 h 1956"/>
                <a:gd name="T72" fmla="*/ 61 w 1512"/>
                <a:gd name="T73" fmla="*/ 75 h 1956"/>
                <a:gd name="T74" fmla="*/ 66 w 1512"/>
                <a:gd name="T75" fmla="*/ 84 h 1956"/>
                <a:gd name="T76" fmla="*/ 81 w 1512"/>
                <a:gd name="T77" fmla="*/ 85 h 1956"/>
                <a:gd name="T78" fmla="*/ 83 w 1512"/>
                <a:gd name="T79" fmla="*/ 79 h 1956"/>
                <a:gd name="T80" fmla="*/ 89 w 1512"/>
                <a:gd name="T81" fmla="*/ 77 h 1956"/>
                <a:gd name="T82" fmla="*/ 89 w 1512"/>
                <a:gd name="T83" fmla="*/ 73 h 1956"/>
                <a:gd name="T84" fmla="*/ 83 w 1512"/>
                <a:gd name="T85" fmla="*/ 72 h 1956"/>
                <a:gd name="T86" fmla="*/ 77 w 1512"/>
                <a:gd name="T87" fmla="*/ 70 h 1956"/>
                <a:gd name="T88" fmla="*/ 71 w 1512"/>
                <a:gd name="T89" fmla="*/ 70 h 1956"/>
                <a:gd name="T90" fmla="*/ 59 w 1512"/>
                <a:gd name="T91" fmla="*/ 58 h 1956"/>
                <a:gd name="T92" fmla="*/ 54 w 1512"/>
                <a:gd name="T93" fmla="*/ 45 h 1956"/>
                <a:gd name="T94" fmla="*/ 49 w 1512"/>
                <a:gd name="T95" fmla="*/ 42 h 1956"/>
                <a:gd name="T96" fmla="*/ 51 w 1512"/>
                <a:gd name="T97" fmla="*/ 39 h 1956"/>
                <a:gd name="T98" fmla="*/ 55 w 1512"/>
                <a:gd name="T99" fmla="*/ 36 h 1956"/>
                <a:gd name="T100" fmla="*/ 63 w 1512"/>
                <a:gd name="T101" fmla="*/ 34 h 1956"/>
                <a:gd name="T102" fmla="*/ 68 w 1512"/>
                <a:gd name="T103" fmla="*/ 32 h 1956"/>
                <a:gd name="T104" fmla="*/ 73 w 1512"/>
                <a:gd name="T105" fmla="*/ 29 h 1956"/>
                <a:gd name="T106" fmla="*/ 78 w 1512"/>
                <a:gd name="T107" fmla="*/ 27 h 1956"/>
                <a:gd name="T108" fmla="*/ 81 w 1512"/>
                <a:gd name="T109" fmla="*/ 17 h 1956"/>
                <a:gd name="T110" fmla="*/ 84 w 1512"/>
                <a:gd name="T111" fmla="*/ 6 h 1956"/>
                <a:gd name="T112" fmla="*/ 95 w 1512"/>
                <a:gd name="T113" fmla="*/ 6 h 1956"/>
                <a:gd name="T114" fmla="*/ 99 w 1512"/>
                <a:gd name="T115" fmla="*/ 3 h 1956"/>
                <a:gd name="T116" fmla="*/ 103 w 1512"/>
                <a:gd name="T117" fmla="*/ 0 h 1956"/>
                <a:gd name="T118" fmla="*/ 110 w 1512"/>
                <a:gd name="T119" fmla="*/ 4 h 1956"/>
                <a:gd name="T120" fmla="*/ 114 w 1512"/>
                <a:gd name="T121" fmla="*/ 33 h 1956"/>
                <a:gd name="T122" fmla="*/ 117 w 1512"/>
                <a:gd name="T123" fmla="*/ 41 h 1956"/>
                <a:gd name="T124" fmla="*/ 119 w 1512"/>
                <a:gd name="T125" fmla="*/ 62 h 195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12"/>
                <a:gd name="T190" fmla="*/ 0 h 1956"/>
                <a:gd name="T191" fmla="*/ 1512 w 1512"/>
                <a:gd name="T192" fmla="*/ 1956 h 195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12" h="1956">
                  <a:moveTo>
                    <a:pt x="1512" y="780"/>
                  </a:moveTo>
                  <a:lnTo>
                    <a:pt x="1482" y="786"/>
                  </a:lnTo>
                  <a:lnTo>
                    <a:pt x="1476" y="792"/>
                  </a:lnTo>
                  <a:lnTo>
                    <a:pt x="1476" y="798"/>
                  </a:lnTo>
                  <a:lnTo>
                    <a:pt x="1476" y="804"/>
                  </a:lnTo>
                  <a:lnTo>
                    <a:pt x="1476" y="816"/>
                  </a:lnTo>
                  <a:lnTo>
                    <a:pt x="1470" y="834"/>
                  </a:lnTo>
                  <a:lnTo>
                    <a:pt x="1464" y="840"/>
                  </a:lnTo>
                  <a:lnTo>
                    <a:pt x="1452" y="852"/>
                  </a:lnTo>
                  <a:lnTo>
                    <a:pt x="1440" y="864"/>
                  </a:lnTo>
                  <a:lnTo>
                    <a:pt x="1434" y="864"/>
                  </a:lnTo>
                  <a:lnTo>
                    <a:pt x="1434" y="870"/>
                  </a:lnTo>
                  <a:lnTo>
                    <a:pt x="1422" y="876"/>
                  </a:lnTo>
                  <a:lnTo>
                    <a:pt x="1410" y="894"/>
                  </a:lnTo>
                  <a:lnTo>
                    <a:pt x="1404" y="894"/>
                  </a:lnTo>
                  <a:lnTo>
                    <a:pt x="1404" y="900"/>
                  </a:lnTo>
                  <a:lnTo>
                    <a:pt x="1404" y="906"/>
                  </a:lnTo>
                  <a:lnTo>
                    <a:pt x="1410" y="918"/>
                  </a:lnTo>
                  <a:lnTo>
                    <a:pt x="1404" y="918"/>
                  </a:lnTo>
                  <a:lnTo>
                    <a:pt x="1392" y="924"/>
                  </a:lnTo>
                  <a:lnTo>
                    <a:pt x="1386" y="924"/>
                  </a:lnTo>
                  <a:lnTo>
                    <a:pt x="1380" y="924"/>
                  </a:lnTo>
                  <a:lnTo>
                    <a:pt x="1380" y="930"/>
                  </a:lnTo>
                  <a:lnTo>
                    <a:pt x="1374" y="930"/>
                  </a:lnTo>
                  <a:lnTo>
                    <a:pt x="1374" y="924"/>
                  </a:lnTo>
                  <a:lnTo>
                    <a:pt x="1374" y="918"/>
                  </a:lnTo>
                  <a:lnTo>
                    <a:pt x="1368" y="912"/>
                  </a:lnTo>
                  <a:lnTo>
                    <a:pt x="1368" y="906"/>
                  </a:lnTo>
                  <a:lnTo>
                    <a:pt x="1368" y="900"/>
                  </a:lnTo>
                  <a:lnTo>
                    <a:pt x="1368" y="894"/>
                  </a:lnTo>
                  <a:lnTo>
                    <a:pt x="1362" y="894"/>
                  </a:lnTo>
                  <a:lnTo>
                    <a:pt x="1326" y="894"/>
                  </a:lnTo>
                  <a:lnTo>
                    <a:pt x="1302" y="906"/>
                  </a:lnTo>
                  <a:lnTo>
                    <a:pt x="1284" y="918"/>
                  </a:lnTo>
                  <a:lnTo>
                    <a:pt x="1284" y="924"/>
                  </a:lnTo>
                  <a:lnTo>
                    <a:pt x="1278" y="930"/>
                  </a:lnTo>
                  <a:lnTo>
                    <a:pt x="1266" y="930"/>
                  </a:lnTo>
                  <a:lnTo>
                    <a:pt x="1236" y="954"/>
                  </a:lnTo>
                  <a:lnTo>
                    <a:pt x="1212" y="972"/>
                  </a:lnTo>
                  <a:lnTo>
                    <a:pt x="1218" y="996"/>
                  </a:lnTo>
                  <a:lnTo>
                    <a:pt x="1224" y="1008"/>
                  </a:lnTo>
                  <a:lnTo>
                    <a:pt x="1236" y="1014"/>
                  </a:lnTo>
                  <a:lnTo>
                    <a:pt x="1242" y="1026"/>
                  </a:lnTo>
                  <a:lnTo>
                    <a:pt x="1248" y="1038"/>
                  </a:lnTo>
                  <a:lnTo>
                    <a:pt x="1260" y="1050"/>
                  </a:lnTo>
                  <a:lnTo>
                    <a:pt x="1260" y="1056"/>
                  </a:lnTo>
                  <a:lnTo>
                    <a:pt x="1260" y="1074"/>
                  </a:lnTo>
                  <a:lnTo>
                    <a:pt x="1254" y="1074"/>
                  </a:lnTo>
                  <a:lnTo>
                    <a:pt x="1236" y="1056"/>
                  </a:lnTo>
                  <a:lnTo>
                    <a:pt x="1224" y="1050"/>
                  </a:lnTo>
                  <a:lnTo>
                    <a:pt x="1212" y="1050"/>
                  </a:lnTo>
                  <a:lnTo>
                    <a:pt x="1206" y="1050"/>
                  </a:lnTo>
                  <a:lnTo>
                    <a:pt x="1200" y="1056"/>
                  </a:lnTo>
                  <a:lnTo>
                    <a:pt x="1194" y="1062"/>
                  </a:lnTo>
                  <a:lnTo>
                    <a:pt x="1188" y="1068"/>
                  </a:lnTo>
                  <a:lnTo>
                    <a:pt x="1188" y="1074"/>
                  </a:lnTo>
                  <a:lnTo>
                    <a:pt x="1176" y="1086"/>
                  </a:lnTo>
                  <a:lnTo>
                    <a:pt x="1170" y="1086"/>
                  </a:lnTo>
                  <a:lnTo>
                    <a:pt x="1170" y="1092"/>
                  </a:lnTo>
                  <a:lnTo>
                    <a:pt x="1164" y="1098"/>
                  </a:lnTo>
                  <a:lnTo>
                    <a:pt x="1158" y="1110"/>
                  </a:lnTo>
                  <a:lnTo>
                    <a:pt x="1152" y="1116"/>
                  </a:lnTo>
                  <a:lnTo>
                    <a:pt x="1152" y="1122"/>
                  </a:lnTo>
                  <a:lnTo>
                    <a:pt x="1146" y="1128"/>
                  </a:lnTo>
                  <a:lnTo>
                    <a:pt x="1152" y="1140"/>
                  </a:lnTo>
                  <a:lnTo>
                    <a:pt x="1158" y="1140"/>
                  </a:lnTo>
                  <a:lnTo>
                    <a:pt x="1164" y="1146"/>
                  </a:lnTo>
                  <a:lnTo>
                    <a:pt x="1164" y="1152"/>
                  </a:lnTo>
                  <a:lnTo>
                    <a:pt x="1170" y="1164"/>
                  </a:lnTo>
                  <a:lnTo>
                    <a:pt x="1164" y="1176"/>
                  </a:lnTo>
                  <a:lnTo>
                    <a:pt x="1170" y="1182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82" y="1218"/>
                  </a:lnTo>
                  <a:lnTo>
                    <a:pt x="1188" y="1218"/>
                  </a:lnTo>
                  <a:lnTo>
                    <a:pt x="1194" y="1218"/>
                  </a:lnTo>
                  <a:lnTo>
                    <a:pt x="1194" y="1224"/>
                  </a:lnTo>
                  <a:lnTo>
                    <a:pt x="1200" y="1230"/>
                  </a:lnTo>
                  <a:lnTo>
                    <a:pt x="1200" y="1248"/>
                  </a:lnTo>
                  <a:lnTo>
                    <a:pt x="1212" y="1266"/>
                  </a:lnTo>
                  <a:lnTo>
                    <a:pt x="1218" y="1278"/>
                  </a:lnTo>
                  <a:lnTo>
                    <a:pt x="1224" y="1284"/>
                  </a:lnTo>
                  <a:lnTo>
                    <a:pt x="1236" y="1296"/>
                  </a:lnTo>
                  <a:lnTo>
                    <a:pt x="1242" y="1302"/>
                  </a:lnTo>
                  <a:lnTo>
                    <a:pt x="1242" y="1308"/>
                  </a:lnTo>
                  <a:lnTo>
                    <a:pt x="1272" y="1308"/>
                  </a:lnTo>
                  <a:lnTo>
                    <a:pt x="1296" y="1314"/>
                  </a:lnTo>
                  <a:lnTo>
                    <a:pt x="1320" y="1320"/>
                  </a:lnTo>
                  <a:lnTo>
                    <a:pt x="1338" y="1320"/>
                  </a:lnTo>
                  <a:lnTo>
                    <a:pt x="1356" y="1332"/>
                  </a:lnTo>
                  <a:lnTo>
                    <a:pt x="1368" y="1344"/>
                  </a:lnTo>
                  <a:lnTo>
                    <a:pt x="1374" y="1362"/>
                  </a:lnTo>
                  <a:lnTo>
                    <a:pt x="1368" y="1362"/>
                  </a:lnTo>
                  <a:lnTo>
                    <a:pt x="1368" y="1398"/>
                  </a:lnTo>
                  <a:lnTo>
                    <a:pt x="1368" y="1410"/>
                  </a:lnTo>
                  <a:lnTo>
                    <a:pt x="1368" y="1428"/>
                  </a:lnTo>
                  <a:lnTo>
                    <a:pt x="1368" y="1434"/>
                  </a:lnTo>
                  <a:lnTo>
                    <a:pt x="1368" y="1440"/>
                  </a:lnTo>
                  <a:lnTo>
                    <a:pt x="1374" y="1446"/>
                  </a:lnTo>
                  <a:lnTo>
                    <a:pt x="1374" y="1452"/>
                  </a:lnTo>
                  <a:lnTo>
                    <a:pt x="1380" y="1458"/>
                  </a:lnTo>
                  <a:lnTo>
                    <a:pt x="1386" y="1464"/>
                  </a:lnTo>
                  <a:lnTo>
                    <a:pt x="1386" y="1470"/>
                  </a:lnTo>
                  <a:lnTo>
                    <a:pt x="1380" y="1476"/>
                  </a:lnTo>
                  <a:lnTo>
                    <a:pt x="1374" y="1482"/>
                  </a:lnTo>
                  <a:lnTo>
                    <a:pt x="1362" y="1500"/>
                  </a:lnTo>
                  <a:lnTo>
                    <a:pt x="1362" y="1506"/>
                  </a:lnTo>
                  <a:lnTo>
                    <a:pt x="1362" y="1512"/>
                  </a:lnTo>
                  <a:lnTo>
                    <a:pt x="1362" y="1518"/>
                  </a:lnTo>
                  <a:lnTo>
                    <a:pt x="1362" y="1524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38" y="1548"/>
                  </a:lnTo>
                  <a:lnTo>
                    <a:pt x="1296" y="1548"/>
                  </a:lnTo>
                  <a:lnTo>
                    <a:pt x="1290" y="1554"/>
                  </a:lnTo>
                  <a:lnTo>
                    <a:pt x="1284" y="1560"/>
                  </a:lnTo>
                  <a:lnTo>
                    <a:pt x="1284" y="1566"/>
                  </a:lnTo>
                  <a:lnTo>
                    <a:pt x="1290" y="1578"/>
                  </a:lnTo>
                  <a:lnTo>
                    <a:pt x="1296" y="1590"/>
                  </a:lnTo>
                  <a:lnTo>
                    <a:pt x="1302" y="1590"/>
                  </a:lnTo>
                  <a:lnTo>
                    <a:pt x="1308" y="1596"/>
                  </a:lnTo>
                  <a:lnTo>
                    <a:pt x="1320" y="1602"/>
                  </a:lnTo>
                  <a:lnTo>
                    <a:pt x="1326" y="1602"/>
                  </a:lnTo>
                  <a:lnTo>
                    <a:pt x="1326" y="1608"/>
                  </a:lnTo>
                  <a:lnTo>
                    <a:pt x="1332" y="1614"/>
                  </a:lnTo>
                  <a:lnTo>
                    <a:pt x="1344" y="1620"/>
                  </a:lnTo>
                  <a:lnTo>
                    <a:pt x="1356" y="1626"/>
                  </a:lnTo>
                  <a:lnTo>
                    <a:pt x="1356" y="1632"/>
                  </a:lnTo>
                  <a:lnTo>
                    <a:pt x="1356" y="1638"/>
                  </a:lnTo>
                  <a:lnTo>
                    <a:pt x="1362" y="1644"/>
                  </a:lnTo>
                  <a:lnTo>
                    <a:pt x="1368" y="1644"/>
                  </a:lnTo>
                  <a:lnTo>
                    <a:pt x="1380" y="1650"/>
                  </a:lnTo>
                  <a:lnTo>
                    <a:pt x="1386" y="1650"/>
                  </a:lnTo>
                  <a:lnTo>
                    <a:pt x="1386" y="1656"/>
                  </a:lnTo>
                  <a:lnTo>
                    <a:pt x="1392" y="1656"/>
                  </a:lnTo>
                  <a:lnTo>
                    <a:pt x="1398" y="1662"/>
                  </a:lnTo>
                  <a:lnTo>
                    <a:pt x="1410" y="1674"/>
                  </a:lnTo>
                  <a:lnTo>
                    <a:pt x="1428" y="1680"/>
                  </a:lnTo>
                  <a:lnTo>
                    <a:pt x="1428" y="1686"/>
                  </a:lnTo>
                  <a:lnTo>
                    <a:pt x="1428" y="1698"/>
                  </a:lnTo>
                  <a:lnTo>
                    <a:pt x="1434" y="1704"/>
                  </a:lnTo>
                  <a:lnTo>
                    <a:pt x="1434" y="1710"/>
                  </a:lnTo>
                  <a:lnTo>
                    <a:pt x="1440" y="1710"/>
                  </a:lnTo>
                  <a:lnTo>
                    <a:pt x="1446" y="1710"/>
                  </a:lnTo>
                  <a:lnTo>
                    <a:pt x="1446" y="1716"/>
                  </a:lnTo>
                  <a:lnTo>
                    <a:pt x="1440" y="1722"/>
                  </a:lnTo>
                  <a:lnTo>
                    <a:pt x="1440" y="1728"/>
                  </a:lnTo>
                  <a:lnTo>
                    <a:pt x="1440" y="1734"/>
                  </a:lnTo>
                  <a:lnTo>
                    <a:pt x="1440" y="1740"/>
                  </a:lnTo>
                  <a:lnTo>
                    <a:pt x="1440" y="1746"/>
                  </a:lnTo>
                  <a:lnTo>
                    <a:pt x="1440" y="1788"/>
                  </a:lnTo>
                  <a:lnTo>
                    <a:pt x="1440" y="1800"/>
                  </a:lnTo>
                  <a:lnTo>
                    <a:pt x="1440" y="1806"/>
                  </a:lnTo>
                  <a:lnTo>
                    <a:pt x="1440" y="1836"/>
                  </a:lnTo>
                  <a:lnTo>
                    <a:pt x="1440" y="1848"/>
                  </a:lnTo>
                  <a:lnTo>
                    <a:pt x="1446" y="1848"/>
                  </a:lnTo>
                  <a:lnTo>
                    <a:pt x="1446" y="1854"/>
                  </a:lnTo>
                  <a:lnTo>
                    <a:pt x="1452" y="1848"/>
                  </a:lnTo>
                  <a:lnTo>
                    <a:pt x="1458" y="1854"/>
                  </a:lnTo>
                  <a:lnTo>
                    <a:pt x="1452" y="1860"/>
                  </a:lnTo>
                  <a:lnTo>
                    <a:pt x="1452" y="1866"/>
                  </a:lnTo>
                  <a:lnTo>
                    <a:pt x="1458" y="1872"/>
                  </a:lnTo>
                  <a:lnTo>
                    <a:pt x="1464" y="1884"/>
                  </a:lnTo>
                  <a:lnTo>
                    <a:pt x="1428" y="1878"/>
                  </a:lnTo>
                  <a:lnTo>
                    <a:pt x="1356" y="1890"/>
                  </a:lnTo>
                  <a:lnTo>
                    <a:pt x="1296" y="1926"/>
                  </a:lnTo>
                  <a:lnTo>
                    <a:pt x="1266" y="1944"/>
                  </a:lnTo>
                  <a:lnTo>
                    <a:pt x="1224" y="1944"/>
                  </a:lnTo>
                  <a:lnTo>
                    <a:pt x="1188" y="1956"/>
                  </a:lnTo>
                  <a:lnTo>
                    <a:pt x="1188" y="1950"/>
                  </a:lnTo>
                  <a:lnTo>
                    <a:pt x="1176" y="1944"/>
                  </a:lnTo>
                  <a:lnTo>
                    <a:pt x="1176" y="1938"/>
                  </a:lnTo>
                  <a:lnTo>
                    <a:pt x="1170" y="1938"/>
                  </a:lnTo>
                  <a:lnTo>
                    <a:pt x="1164" y="1932"/>
                  </a:lnTo>
                  <a:lnTo>
                    <a:pt x="1158" y="1926"/>
                  </a:lnTo>
                  <a:lnTo>
                    <a:pt x="1158" y="1920"/>
                  </a:lnTo>
                  <a:lnTo>
                    <a:pt x="1152" y="1920"/>
                  </a:lnTo>
                  <a:lnTo>
                    <a:pt x="1146" y="1914"/>
                  </a:lnTo>
                  <a:lnTo>
                    <a:pt x="1146" y="1908"/>
                  </a:lnTo>
                  <a:lnTo>
                    <a:pt x="1140" y="1908"/>
                  </a:lnTo>
                  <a:lnTo>
                    <a:pt x="1134" y="1902"/>
                  </a:lnTo>
                  <a:lnTo>
                    <a:pt x="1134" y="1896"/>
                  </a:lnTo>
                  <a:lnTo>
                    <a:pt x="1116" y="1896"/>
                  </a:lnTo>
                  <a:lnTo>
                    <a:pt x="1104" y="1884"/>
                  </a:lnTo>
                  <a:lnTo>
                    <a:pt x="1092" y="1860"/>
                  </a:lnTo>
                  <a:lnTo>
                    <a:pt x="1068" y="1854"/>
                  </a:lnTo>
                  <a:lnTo>
                    <a:pt x="1032" y="1842"/>
                  </a:lnTo>
                  <a:lnTo>
                    <a:pt x="1008" y="1836"/>
                  </a:lnTo>
                  <a:lnTo>
                    <a:pt x="978" y="1824"/>
                  </a:lnTo>
                  <a:lnTo>
                    <a:pt x="942" y="1818"/>
                  </a:lnTo>
                  <a:lnTo>
                    <a:pt x="924" y="1806"/>
                  </a:lnTo>
                  <a:lnTo>
                    <a:pt x="906" y="1788"/>
                  </a:lnTo>
                  <a:lnTo>
                    <a:pt x="894" y="1776"/>
                  </a:lnTo>
                  <a:lnTo>
                    <a:pt x="864" y="1758"/>
                  </a:lnTo>
                  <a:lnTo>
                    <a:pt x="834" y="1752"/>
                  </a:lnTo>
                  <a:lnTo>
                    <a:pt x="798" y="1746"/>
                  </a:lnTo>
                  <a:lnTo>
                    <a:pt x="792" y="1806"/>
                  </a:lnTo>
                  <a:lnTo>
                    <a:pt x="798" y="1812"/>
                  </a:lnTo>
                  <a:lnTo>
                    <a:pt x="810" y="1830"/>
                  </a:lnTo>
                  <a:lnTo>
                    <a:pt x="792" y="1842"/>
                  </a:lnTo>
                  <a:lnTo>
                    <a:pt x="768" y="1842"/>
                  </a:lnTo>
                  <a:lnTo>
                    <a:pt x="708" y="1848"/>
                  </a:lnTo>
                  <a:lnTo>
                    <a:pt x="690" y="1860"/>
                  </a:lnTo>
                  <a:lnTo>
                    <a:pt x="690" y="1866"/>
                  </a:lnTo>
                  <a:lnTo>
                    <a:pt x="678" y="1878"/>
                  </a:lnTo>
                  <a:lnTo>
                    <a:pt x="660" y="1884"/>
                  </a:lnTo>
                  <a:lnTo>
                    <a:pt x="660" y="1902"/>
                  </a:lnTo>
                  <a:lnTo>
                    <a:pt x="642" y="1902"/>
                  </a:lnTo>
                  <a:lnTo>
                    <a:pt x="582" y="1914"/>
                  </a:lnTo>
                  <a:lnTo>
                    <a:pt x="534" y="1908"/>
                  </a:lnTo>
                  <a:lnTo>
                    <a:pt x="510" y="1908"/>
                  </a:lnTo>
                  <a:lnTo>
                    <a:pt x="510" y="1896"/>
                  </a:lnTo>
                  <a:lnTo>
                    <a:pt x="492" y="1896"/>
                  </a:lnTo>
                  <a:lnTo>
                    <a:pt x="486" y="1902"/>
                  </a:lnTo>
                  <a:lnTo>
                    <a:pt x="474" y="1908"/>
                  </a:lnTo>
                  <a:lnTo>
                    <a:pt x="450" y="1908"/>
                  </a:lnTo>
                  <a:lnTo>
                    <a:pt x="432" y="1902"/>
                  </a:lnTo>
                  <a:lnTo>
                    <a:pt x="426" y="1896"/>
                  </a:lnTo>
                  <a:lnTo>
                    <a:pt x="402" y="1884"/>
                  </a:lnTo>
                  <a:lnTo>
                    <a:pt x="390" y="1872"/>
                  </a:lnTo>
                  <a:lnTo>
                    <a:pt x="384" y="1872"/>
                  </a:lnTo>
                  <a:lnTo>
                    <a:pt x="378" y="1872"/>
                  </a:lnTo>
                  <a:lnTo>
                    <a:pt x="378" y="1866"/>
                  </a:lnTo>
                  <a:lnTo>
                    <a:pt x="372" y="1860"/>
                  </a:lnTo>
                  <a:lnTo>
                    <a:pt x="372" y="1854"/>
                  </a:lnTo>
                  <a:lnTo>
                    <a:pt x="366" y="1842"/>
                  </a:lnTo>
                  <a:lnTo>
                    <a:pt x="366" y="1836"/>
                  </a:lnTo>
                  <a:lnTo>
                    <a:pt x="348" y="1830"/>
                  </a:lnTo>
                  <a:lnTo>
                    <a:pt x="348" y="1806"/>
                  </a:lnTo>
                  <a:lnTo>
                    <a:pt x="348" y="1800"/>
                  </a:lnTo>
                  <a:lnTo>
                    <a:pt x="348" y="1782"/>
                  </a:lnTo>
                  <a:lnTo>
                    <a:pt x="336" y="1788"/>
                  </a:lnTo>
                  <a:lnTo>
                    <a:pt x="312" y="1794"/>
                  </a:lnTo>
                  <a:lnTo>
                    <a:pt x="288" y="1788"/>
                  </a:lnTo>
                  <a:lnTo>
                    <a:pt x="264" y="1758"/>
                  </a:lnTo>
                  <a:lnTo>
                    <a:pt x="270" y="1758"/>
                  </a:lnTo>
                  <a:lnTo>
                    <a:pt x="270" y="1752"/>
                  </a:lnTo>
                  <a:lnTo>
                    <a:pt x="276" y="1752"/>
                  </a:lnTo>
                  <a:lnTo>
                    <a:pt x="282" y="1746"/>
                  </a:lnTo>
                  <a:lnTo>
                    <a:pt x="300" y="1746"/>
                  </a:lnTo>
                  <a:lnTo>
                    <a:pt x="312" y="1746"/>
                  </a:lnTo>
                  <a:lnTo>
                    <a:pt x="336" y="1710"/>
                  </a:lnTo>
                  <a:lnTo>
                    <a:pt x="342" y="1692"/>
                  </a:lnTo>
                  <a:lnTo>
                    <a:pt x="348" y="1680"/>
                  </a:lnTo>
                  <a:lnTo>
                    <a:pt x="342" y="1650"/>
                  </a:lnTo>
                  <a:lnTo>
                    <a:pt x="354" y="1644"/>
                  </a:lnTo>
                  <a:lnTo>
                    <a:pt x="354" y="1638"/>
                  </a:lnTo>
                  <a:lnTo>
                    <a:pt x="360" y="1632"/>
                  </a:lnTo>
                  <a:lnTo>
                    <a:pt x="354" y="1626"/>
                  </a:lnTo>
                  <a:lnTo>
                    <a:pt x="348" y="1626"/>
                  </a:lnTo>
                  <a:lnTo>
                    <a:pt x="348" y="1620"/>
                  </a:lnTo>
                  <a:lnTo>
                    <a:pt x="342" y="1620"/>
                  </a:lnTo>
                  <a:lnTo>
                    <a:pt x="348" y="1614"/>
                  </a:lnTo>
                  <a:lnTo>
                    <a:pt x="324" y="1566"/>
                  </a:lnTo>
                  <a:lnTo>
                    <a:pt x="318" y="1566"/>
                  </a:lnTo>
                  <a:lnTo>
                    <a:pt x="306" y="1572"/>
                  </a:lnTo>
                  <a:lnTo>
                    <a:pt x="300" y="1572"/>
                  </a:lnTo>
                  <a:lnTo>
                    <a:pt x="294" y="1578"/>
                  </a:lnTo>
                  <a:lnTo>
                    <a:pt x="288" y="1584"/>
                  </a:lnTo>
                  <a:lnTo>
                    <a:pt x="282" y="1584"/>
                  </a:lnTo>
                  <a:lnTo>
                    <a:pt x="282" y="1578"/>
                  </a:lnTo>
                  <a:lnTo>
                    <a:pt x="276" y="1578"/>
                  </a:lnTo>
                  <a:lnTo>
                    <a:pt x="270" y="1578"/>
                  </a:lnTo>
                  <a:lnTo>
                    <a:pt x="264" y="1578"/>
                  </a:lnTo>
                  <a:lnTo>
                    <a:pt x="258" y="1578"/>
                  </a:lnTo>
                  <a:lnTo>
                    <a:pt x="252" y="1578"/>
                  </a:lnTo>
                  <a:lnTo>
                    <a:pt x="252" y="1584"/>
                  </a:lnTo>
                  <a:lnTo>
                    <a:pt x="246" y="1584"/>
                  </a:lnTo>
                  <a:lnTo>
                    <a:pt x="210" y="1584"/>
                  </a:lnTo>
                  <a:lnTo>
                    <a:pt x="204" y="1584"/>
                  </a:lnTo>
                  <a:lnTo>
                    <a:pt x="192" y="1584"/>
                  </a:lnTo>
                  <a:lnTo>
                    <a:pt x="168" y="1596"/>
                  </a:lnTo>
                  <a:lnTo>
                    <a:pt x="156" y="1572"/>
                  </a:lnTo>
                  <a:lnTo>
                    <a:pt x="156" y="1566"/>
                  </a:lnTo>
                  <a:lnTo>
                    <a:pt x="156" y="1560"/>
                  </a:lnTo>
                  <a:lnTo>
                    <a:pt x="162" y="1548"/>
                  </a:lnTo>
                  <a:lnTo>
                    <a:pt x="162" y="1542"/>
                  </a:lnTo>
                  <a:lnTo>
                    <a:pt x="162" y="1536"/>
                  </a:lnTo>
                  <a:lnTo>
                    <a:pt x="168" y="1530"/>
                  </a:lnTo>
                  <a:lnTo>
                    <a:pt x="168" y="1524"/>
                  </a:lnTo>
                  <a:lnTo>
                    <a:pt x="168" y="1518"/>
                  </a:lnTo>
                  <a:lnTo>
                    <a:pt x="174" y="1518"/>
                  </a:lnTo>
                  <a:lnTo>
                    <a:pt x="174" y="1506"/>
                  </a:lnTo>
                  <a:lnTo>
                    <a:pt x="156" y="1470"/>
                  </a:lnTo>
                  <a:lnTo>
                    <a:pt x="138" y="1464"/>
                  </a:lnTo>
                  <a:lnTo>
                    <a:pt x="126" y="1446"/>
                  </a:lnTo>
                  <a:lnTo>
                    <a:pt x="126" y="1440"/>
                  </a:lnTo>
                  <a:lnTo>
                    <a:pt x="126" y="1434"/>
                  </a:lnTo>
                  <a:lnTo>
                    <a:pt x="120" y="1428"/>
                  </a:lnTo>
                  <a:lnTo>
                    <a:pt x="126" y="1398"/>
                  </a:lnTo>
                  <a:lnTo>
                    <a:pt x="120" y="1374"/>
                  </a:lnTo>
                  <a:lnTo>
                    <a:pt x="60" y="1374"/>
                  </a:lnTo>
                  <a:lnTo>
                    <a:pt x="60" y="1368"/>
                  </a:lnTo>
                  <a:lnTo>
                    <a:pt x="54" y="1362"/>
                  </a:lnTo>
                  <a:lnTo>
                    <a:pt x="48" y="1356"/>
                  </a:lnTo>
                  <a:lnTo>
                    <a:pt x="42" y="1356"/>
                  </a:lnTo>
                  <a:lnTo>
                    <a:pt x="42" y="1350"/>
                  </a:lnTo>
                  <a:lnTo>
                    <a:pt x="36" y="1344"/>
                  </a:lnTo>
                  <a:lnTo>
                    <a:pt x="36" y="1338"/>
                  </a:lnTo>
                  <a:lnTo>
                    <a:pt x="30" y="1332"/>
                  </a:lnTo>
                  <a:lnTo>
                    <a:pt x="30" y="1326"/>
                  </a:lnTo>
                  <a:lnTo>
                    <a:pt x="18" y="1326"/>
                  </a:lnTo>
                  <a:lnTo>
                    <a:pt x="18" y="1320"/>
                  </a:lnTo>
                  <a:lnTo>
                    <a:pt x="18" y="1326"/>
                  </a:lnTo>
                  <a:lnTo>
                    <a:pt x="6" y="1320"/>
                  </a:lnTo>
                  <a:lnTo>
                    <a:pt x="0" y="1314"/>
                  </a:lnTo>
                  <a:lnTo>
                    <a:pt x="12" y="1266"/>
                  </a:lnTo>
                  <a:lnTo>
                    <a:pt x="6" y="1242"/>
                  </a:lnTo>
                  <a:lnTo>
                    <a:pt x="12" y="1236"/>
                  </a:lnTo>
                  <a:lnTo>
                    <a:pt x="12" y="1230"/>
                  </a:lnTo>
                  <a:lnTo>
                    <a:pt x="18" y="1230"/>
                  </a:lnTo>
                  <a:lnTo>
                    <a:pt x="18" y="1224"/>
                  </a:lnTo>
                  <a:lnTo>
                    <a:pt x="24" y="1218"/>
                  </a:lnTo>
                  <a:lnTo>
                    <a:pt x="24" y="1212"/>
                  </a:lnTo>
                  <a:lnTo>
                    <a:pt x="30" y="1212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48" y="1188"/>
                  </a:lnTo>
                  <a:lnTo>
                    <a:pt x="48" y="1182"/>
                  </a:lnTo>
                  <a:lnTo>
                    <a:pt x="48" y="1176"/>
                  </a:lnTo>
                  <a:lnTo>
                    <a:pt x="48" y="1170"/>
                  </a:lnTo>
                  <a:lnTo>
                    <a:pt x="54" y="1170"/>
                  </a:lnTo>
                  <a:lnTo>
                    <a:pt x="60" y="1164"/>
                  </a:lnTo>
                  <a:lnTo>
                    <a:pt x="60" y="1158"/>
                  </a:lnTo>
                  <a:lnTo>
                    <a:pt x="66" y="1152"/>
                  </a:lnTo>
                  <a:lnTo>
                    <a:pt x="60" y="1140"/>
                  </a:lnTo>
                  <a:lnTo>
                    <a:pt x="60" y="1134"/>
                  </a:lnTo>
                  <a:lnTo>
                    <a:pt x="54" y="1134"/>
                  </a:lnTo>
                  <a:lnTo>
                    <a:pt x="54" y="1128"/>
                  </a:lnTo>
                  <a:lnTo>
                    <a:pt x="48" y="1122"/>
                  </a:lnTo>
                  <a:lnTo>
                    <a:pt x="48" y="1116"/>
                  </a:lnTo>
                  <a:lnTo>
                    <a:pt x="48" y="1110"/>
                  </a:lnTo>
                  <a:lnTo>
                    <a:pt x="42" y="1104"/>
                  </a:lnTo>
                  <a:lnTo>
                    <a:pt x="42" y="1098"/>
                  </a:lnTo>
                  <a:lnTo>
                    <a:pt x="36" y="1092"/>
                  </a:lnTo>
                  <a:lnTo>
                    <a:pt x="30" y="1092"/>
                  </a:lnTo>
                  <a:lnTo>
                    <a:pt x="24" y="1092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18" y="1080"/>
                  </a:lnTo>
                  <a:lnTo>
                    <a:pt x="18" y="1074"/>
                  </a:lnTo>
                  <a:lnTo>
                    <a:pt x="12" y="1068"/>
                  </a:lnTo>
                  <a:lnTo>
                    <a:pt x="6" y="1068"/>
                  </a:lnTo>
                  <a:lnTo>
                    <a:pt x="12" y="1056"/>
                  </a:lnTo>
                  <a:lnTo>
                    <a:pt x="6" y="1056"/>
                  </a:lnTo>
                  <a:lnTo>
                    <a:pt x="6" y="1050"/>
                  </a:lnTo>
                  <a:lnTo>
                    <a:pt x="6" y="1044"/>
                  </a:lnTo>
                  <a:lnTo>
                    <a:pt x="6" y="1026"/>
                  </a:lnTo>
                  <a:lnTo>
                    <a:pt x="12" y="1020"/>
                  </a:lnTo>
                  <a:lnTo>
                    <a:pt x="12" y="1014"/>
                  </a:lnTo>
                  <a:lnTo>
                    <a:pt x="18" y="1014"/>
                  </a:lnTo>
                  <a:lnTo>
                    <a:pt x="18" y="1008"/>
                  </a:lnTo>
                  <a:lnTo>
                    <a:pt x="18" y="1002"/>
                  </a:lnTo>
                  <a:lnTo>
                    <a:pt x="18" y="990"/>
                  </a:lnTo>
                  <a:lnTo>
                    <a:pt x="12" y="972"/>
                  </a:lnTo>
                  <a:lnTo>
                    <a:pt x="18" y="954"/>
                  </a:lnTo>
                  <a:lnTo>
                    <a:pt x="18" y="948"/>
                  </a:lnTo>
                  <a:lnTo>
                    <a:pt x="24" y="948"/>
                  </a:lnTo>
                  <a:lnTo>
                    <a:pt x="24" y="930"/>
                  </a:lnTo>
                  <a:lnTo>
                    <a:pt x="30" y="930"/>
                  </a:lnTo>
                  <a:lnTo>
                    <a:pt x="36" y="918"/>
                  </a:lnTo>
                  <a:lnTo>
                    <a:pt x="42" y="918"/>
                  </a:lnTo>
                  <a:lnTo>
                    <a:pt x="48" y="918"/>
                  </a:lnTo>
                  <a:lnTo>
                    <a:pt x="78" y="912"/>
                  </a:lnTo>
                  <a:lnTo>
                    <a:pt x="90" y="894"/>
                  </a:lnTo>
                  <a:lnTo>
                    <a:pt x="96" y="894"/>
                  </a:lnTo>
                  <a:lnTo>
                    <a:pt x="102" y="888"/>
                  </a:lnTo>
                  <a:lnTo>
                    <a:pt x="102" y="882"/>
                  </a:lnTo>
                  <a:lnTo>
                    <a:pt x="114" y="870"/>
                  </a:lnTo>
                  <a:lnTo>
                    <a:pt x="120" y="864"/>
                  </a:lnTo>
                  <a:lnTo>
                    <a:pt x="120" y="852"/>
                  </a:lnTo>
                  <a:lnTo>
                    <a:pt x="120" y="846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32" y="840"/>
                  </a:lnTo>
                  <a:lnTo>
                    <a:pt x="138" y="840"/>
                  </a:lnTo>
                  <a:lnTo>
                    <a:pt x="138" y="834"/>
                  </a:lnTo>
                  <a:lnTo>
                    <a:pt x="144" y="834"/>
                  </a:lnTo>
                  <a:lnTo>
                    <a:pt x="144" y="828"/>
                  </a:lnTo>
                  <a:lnTo>
                    <a:pt x="150" y="828"/>
                  </a:lnTo>
                  <a:lnTo>
                    <a:pt x="156" y="822"/>
                  </a:lnTo>
                  <a:lnTo>
                    <a:pt x="162" y="816"/>
                  </a:lnTo>
                  <a:lnTo>
                    <a:pt x="162" y="822"/>
                  </a:lnTo>
                  <a:lnTo>
                    <a:pt x="162" y="816"/>
                  </a:lnTo>
                  <a:lnTo>
                    <a:pt x="162" y="810"/>
                  </a:lnTo>
                  <a:lnTo>
                    <a:pt x="168" y="810"/>
                  </a:lnTo>
                  <a:lnTo>
                    <a:pt x="174" y="804"/>
                  </a:lnTo>
                  <a:lnTo>
                    <a:pt x="180" y="798"/>
                  </a:lnTo>
                  <a:lnTo>
                    <a:pt x="180" y="786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8" y="780"/>
                  </a:lnTo>
                  <a:lnTo>
                    <a:pt x="204" y="774"/>
                  </a:lnTo>
                  <a:lnTo>
                    <a:pt x="210" y="774"/>
                  </a:lnTo>
                  <a:lnTo>
                    <a:pt x="216" y="768"/>
                  </a:lnTo>
                  <a:lnTo>
                    <a:pt x="222" y="762"/>
                  </a:lnTo>
                  <a:lnTo>
                    <a:pt x="228" y="762"/>
                  </a:lnTo>
                  <a:lnTo>
                    <a:pt x="228" y="768"/>
                  </a:lnTo>
                  <a:lnTo>
                    <a:pt x="234" y="768"/>
                  </a:lnTo>
                  <a:lnTo>
                    <a:pt x="240" y="762"/>
                  </a:lnTo>
                  <a:lnTo>
                    <a:pt x="252" y="762"/>
                  </a:lnTo>
                  <a:lnTo>
                    <a:pt x="264" y="768"/>
                  </a:lnTo>
                  <a:lnTo>
                    <a:pt x="294" y="756"/>
                  </a:lnTo>
                  <a:lnTo>
                    <a:pt x="294" y="750"/>
                  </a:lnTo>
                  <a:lnTo>
                    <a:pt x="300" y="750"/>
                  </a:lnTo>
                  <a:lnTo>
                    <a:pt x="306" y="744"/>
                  </a:lnTo>
                  <a:lnTo>
                    <a:pt x="342" y="750"/>
                  </a:lnTo>
                  <a:lnTo>
                    <a:pt x="348" y="750"/>
                  </a:lnTo>
                  <a:lnTo>
                    <a:pt x="348" y="744"/>
                  </a:lnTo>
                  <a:lnTo>
                    <a:pt x="354" y="744"/>
                  </a:lnTo>
                  <a:lnTo>
                    <a:pt x="360" y="744"/>
                  </a:lnTo>
                  <a:lnTo>
                    <a:pt x="360" y="750"/>
                  </a:lnTo>
                  <a:lnTo>
                    <a:pt x="366" y="750"/>
                  </a:lnTo>
                  <a:lnTo>
                    <a:pt x="366" y="744"/>
                  </a:lnTo>
                  <a:lnTo>
                    <a:pt x="366" y="738"/>
                  </a:lnTo>
                  <a:lnTo>
                    <a:pt x="372" y="744"/>
                  </a:lnTo>
                  <a:lnTo>
                    <a:pt x="378" y="744"/>
                  </a:lnTo>
                  <a:lnTo>
                    <a:pt x="384" y="750"/>
                  </a:lnTo>
                  <a:lnTo>
                    <a:pt x="444" y="774"/>
                  </a:lnTo>
                  <a:lnTo>
                    <a:pt x="450" y="774"/>
                  </a:lnTo>
                  <a:lnTo>
                    <a:pt x="456" y="768"/>
                  </a:lnTo>
                  <a:lnTo>
                    <a:pt x="462" y="768"/>
                  </a:lnTo>
                  <a:lnTo>
                    <a:pt x="462" y="762"/>
                  </a:lnTo>
                  <a:lnTo>
                    <a:pt x="468" y="762"/>
                  </a:lnTo>
                  <a:lnTo>
                    <a:pt x="474" y="756"/>
                  </a:lnTo>
                  <a:lnTo>
                    <a:pt x="480" y="750"/>
                  </a:lnTo>
                  <a:lnTo>
                    <a:pt x="516" y="756"/>
                  </a:lnTo>
                  <a:lnTo>
                    <a:pt x="522" y="756"/>
                  </a:lnTo>
                  <a:lnTo>
                    <a:pt x="522" y="762"/>
                  </a:lnTo>
                  <a:lnTo>
                    <a:pt x="522" y="768"/>
                  </a:lnTo>
                  <a:lnTo>
                    <a:pt x="522" y="774"/>
                  </a:lnTo>
                  <a:lnTo>
                    <a:pt x="528" y="780"/>
                  </a:lnTo>
                  <a:lnTo>
                    <a:pt x="540" y="780"/>
                  </a:lnTo>
                  <a:lnTo>
                    <a:pt x="540" y="804"/>
                  </a:lnTo>
                  <a:lnTo>
                    <a:pt x="540" y="810"/>
                  </a:lnTo>
                  <a:lnTo>
                    <a:pt x="546" y="810"/>
                  </a:lnTo>
                  <a:lnTo>
                    <a:pt x="552" y="810"/>
                  </a:lnTo>
                  <a:lnTo>
                    <a:pt x="558" y="810"/>
                  </a:lnTo>
                  <a:lnTo>
                    <a:pt x="564" y="810"/>
                  </a:lnTo>
                  <a:lnTo>
                    <a:pt x="570" y="810"/>
                  </a:lnTo>
                  <a:lnTo>
                    <a:pt x="576" y="810"/>
                  </a:lnTo>
                  <a:lnTo>
                    <a:pt x="576" y="816"/>
                  </a:lnTo>
                  <a:lnTo>
                    <a:pt x="588" y="816"/>
                  </a:lnTo>
                  <a:lnTo>
                    <a:pt x="594" y="816"/>
                  </a:lnTo>
                  <a:lnTo>
                    <a:pt x="600" y="822"/>
                  </a:lnTo>
                  <a:lnTo>
                    <a:pt x="606" y="816"/>
                  </a:lnTo>
                  <a:lnTo>
                    <a:pt x="612" y="816"/>
                  </a:lnTo>
                  <a:lnTo>
                    <a:pt x="612" y="810"/>
                  </a:lnTo>
                  <a:lnTo>
                    <a:pt x="624" y="810"/>
                  </a:lnTo>
                  <a:lnTo>
                    <a:pt x="624" y="804"/>
                  </a:lnTo>
                  <a:lnTo>
                    <a:pt x="630" y="798"/>
                  </a:lnTo>
                  <a:lnTo>
                    <a:pt x="636" y="798"/>
                  </a:lnTo>
                  <a:lnTo>
                    <a:pt x="636" y="804"/>
                  </a:lnTo>
                  <a:lnTo>
                    <a:pt x="642" y="804"/>
                  </a:lnTo>
                  <a:lnTo>
                    <a:pt x="648" y="804"/>
                  </a:lnTo>
                  <a:lnTo>
                    <a:pt x="654" y="804"/>
                  </a:lnTo>
                  <a:lnTo>
                    <a:pt x="660" y="804"/>
                  </a:lnTo>
                  <a:lnTo>
                    <a:pt x="678" y="798"/>
                  </a:lnTo>
                  <a:lnTo>
                    <a:pt x="714" y="786"/>
                  </a:lnTo>
                  <a:lnTo>
                    <a:pt x="714" y="792"/>
                  </a:lnTo>
                  <a:lnTo>
                    <a:pt x="714" y="798"/>
                  </a:lnTo>
                  <a:lnTo>
                    <a:pt x="714" y="804"/>
                  </a:lnTo>
                  <a:lnTo>
                    <a:pt x="720" y="804"/>
                  </a:lnTo>
                  <a:lnTo>
                    <a:pt x="720" y="810"/>
                  </a:lnTo>
                  <a:lnTo>
                    <a:pt x="720" y="816"/>
                  </a:lnTo>
                  <a:lnTo>
                    <a:pt x="726" y="822"/>
                  </a:lnTo>
                  <a:lnTo>
                    <a:pt x="732" y="828"/>
                  </a:lnTo>
                  <a:lnTo>
                    <a:pt x="732" y="834"/>
                  </a:lnTo>
                  <a:lnTo>
                    <a:pt x="732" y="846"/>
                  </a:lnTo>
                  <a:lnTo>
                    <a:pt x="732" y="858"/>
                  </a:lnTo>
                  <a:lnTo>
                    <a:pt x="738" y="858"/>
                  </a:lnTo>
                  <a:lnTo>
                    <a:pt x="732" y="864"/>
                  </a:lnTo>
                  <a:lnTo>
                    <a:pt x="732" y="870"/>
                  </a:lnTo>
                  <a:lnTo>
                    <a:pt x="726" y="870"/>
                  </a:lnTo>
                  <a:lnTo>
                    <a:pt x="726" y="876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0" y="882"/>
                  </a:lnTo>
                  <a:lnTo>
                    <a:pt x="690" y="912"/>
                  </a:lnTo>
                  <a:lnTo>
                    <a:pt x="696" y="936"/>
                  </a:lnTo>
                  <a:lnTo>
                    <a:pt x="702" y="936"/>
                  </a:lnTo>
                  <a:lnTo>
                    <a:pt x="702" y="930"/>
                  </a:lnTo>
                  <a:lnTo>
                    <a:pt x="708" y="930"/>
                  </a:lnTo>
                  <a:lnTo>
                    <a:pt x="708" y="924"/>
                  </a:lnTo>
                  <a:lnTo>
                    <a:pt x="708" y="918"/>
                  </a:lnTo>
                  <a:lnTo>
                    <a:pt x="714" y="918"/>
                  </a:lnTo>
                  <a:lnTo>
                    <a:pt x="720" y="954"/>
                  </a:lnTo>
                  <a:lnTo>
                    <a:pt x="726" y="966"/>
                  </a:lnTo>
                  <a:lnTo>
                    <a:pt x="744" y="966"/>
                  </a:lnTo>
                  <a:lnTo>
                    <a:pt x="756" y="972"/>
                  </a:lnTo>
                  <a:lnTo>
                    <a:pt x="792" y="990"/>
                  </a:lnTo>
                  <a:lnTo>
                    <a:pt x="828" y="978"/>
                  </a:lnTo>
                  <a:lnTo>
                    <a:pt x="834" y="978"/>
                  </a:lnTo>
                  <a:lnTo>
                    <a:pt x="840" y="978"/>
                  </a:lnTo>
                  <a:lnTo>
                    <a:pt x="840" y="984"/>
                  </a:lnTo>
                  <a:lnTo>
                    <a:pt x="846" y="984"/>
                  </a:lnTo>
                  <a:lnTo>
                    <a:pt x="858" y="972"/>
                  </a:lnTo>
                  <a:lnTo>
                    <a:pt x="882" y="972"/>
                  </a:lnTo>
                  <a:lnTo>
                    <a:pt x="888" y="984"/>
                  </a:lnTo>
                  <a:lnTo>
                    <a:pt x="900" y="990"/>
                  </a:lnTo>
                  <a:lnTo>
                    <a:pt x="924" y="996"/>
                  </a:lnTo>
                  <a:lnTo>
                    <a:pt x="930" y="990"/>
                  </a:lnTo>
                  <a:lnTo>
                    <a:pt x="930" y="984"/>
                  </a:lnTo>
                  <a:lnTo>
                    <a:pt x="924" y="978"/>
                  </a:lnTo>
                  <a:lnTo>
                    <a:pt x="906" y="972"/>
                  </a:lnTo>
                  <a:lnTo>
                    <a:pt x="900" y="966"/>
                  </a:lnTo>
                  <a:lnTo>
                    <a:pt x="900" y="960"/>
                  </a:lnTo>
                  <a:lnTo>
                    <a:pt x="900" y="954"/>
                  </a:lnTo>
                  <a:lnTo>
                    <a:pt x="900" y="948"/>
                  </a:lnTo>
                  <a:lnTo>
                    <a:pt x="912" y="936"/>
                  </a:lnTo>
                  <a:lnTo>
                    <a:pt x="912" y="924"/>
                  </a:lnTo>
                  <a:lnTo>
                    <a:pt x="918" y="924"/>
                  </a:lnTo>
                  <a:lnTo>
                    <a:pt x="918" y="918"/>
                  </a:lnTo>
                  <a:lnTo>
                    <a:pt x="936" y="906"/>
                  </a:lnTo>
                  <a:lnTo>
                    <a:pt x="942" y="906"/>
                  </a:lnTo>
                  <a:lnTo>
                    <a:pt x="948" y="906"/>
                  </a:lnTo>
                  <a:lnTo>
                    <a:pt x="954" y="906"/>
                  </a:lnTo>
                  <a:lnTo>
                    <a:pt x="960" y="906"/>
                  </a:lnTo>
                  <a:lnTo>
                    <a:pt x="966" y="912"/>
                  </a:lnTo>
                  <a:lnTo>
                    <a:pt x="972" y="906"/>
                  </a:lnTo>
                  <a:lnTo>
                    <a:pt x="978" y="906"/>
                  </a:lnTo>
                  <a:lnTo>
                    <a:pt x="984" y="900"/>
                  </a:lnTo>
                  <a:lnTo>
                    <a:pt x="984" y="894"/>
                  </a:lnTo>
                  <a:lnTo>
                    <a:pt x="990" y="894"/>
                  </a:lnTo>
                  <a:lnTo>
                    <a:pt x="996" y="888"/>
                  </a:lnTo>
                  <a:lnTo>
                    <a:pt x="1002" y="888"/>
                  </a:lnTo>
                  <a:lnTo>
                    <a:pt x="1008" y="882"/>
                  </a:lnTo>
                  <a:lnTo>
                    <a:pt x="1014" y="882"/>
                  </a:lnTo>
                  <a:lnTo>
                    <a:pt x="1020" y="882"/>
                  </a:lnTo>
                  <a:lnTo>
                    <a:pt x="1020" y="888"/>
                  </a:lnTo>
                  <a:lnTo>
                    <a:pt x="1026" y="882"/>
                  </a:lnTo>
                  <a:lnTo>
                    <a:pt x="1026" y="876"/>
                  </a:lnTo>
                  <a:lnTo>
                    <a:pt x="1026" y="870"/>
                  </a:lnTo>
                  <a:lnTo>
                    <a:pt x="1032" y="864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44" y="852"/>
                  </a:lnTo>
                  <a:lnTo>
                    <a:pt x="1038" y="846"/>
                  </a:lnTo>
                  <a:lnTo>
                    <a:pt x="1038" y="840"/>
                  </a:lnTo>
                  <a:lnTo>
                    <a:pt x="1032" y="840"/>
                  </a:lnTo>
                  <a:lnTo>
                    <a:pt x="1026" y="840"/>
                  </a:lnTo>
                  <a:lnTo>
                    <a:pt x="1020" y="840"/>
                  </a:lnTo>
                  <a:lnTo>
                    <a:pt x="1014" y="846"/>
                  </a:lnTo>
                  <a:lnTo>
                    <a:pt x="1008" y="846"/>
                  </a:lnTo>
                  <a:lnTo>
                    <a:pt x="1002" y="840"/>
                  </a:lnTo>
                  <a:lnTo>
                    <a:pt x="996" y="840"/>
                  </a:lnTo>
                  <a:lnTo>
                    <a:pt x="990" y="834"/>
                  </a:lnTo>
                  <a:lnTo>
                    <a:pt x="984" y="834"/>
                  </a:lnTo>
                  <a:lnTo>
                    <a:pt x="978" y="834"/>
                  </a:lnTo>
                  <a:lnTo>
                    <a:pt x="972" y="834"/>
                  </a:lnTo>
                  <a:lnTo>
                    <a:pt x="966" y="834"/>
                  </a:lnTo>
                  <a:lnTo>
                    <a:pt x="966" y="828"/>
                  </a:lnTo>
                  <a:lnTo>
                    <a:pt x="960" y="828"/>
                  </a:lnTo>
                  <a:lnTo>
                    <a:pt x="954" y="828"/>
                  </a:lnTo>
                  <a:lnTo>
                    <a:pt x="942" y="828"/>
                  </a:lnTo>
                  <a:lnTo>
                    <a:pt x="936" y="828"/>
                  </a:lnTo>
                  <a:lnTo>
                    <a:pt x="930" y="828"/>
                  </a:lnTo>
                  <a:lnTo>
                    <a:pt x="918" y="828"/>
                  </a:lnTo>
                  <a:lnTo>
                    <a:pt x="918" y="822"/>
                  </a:lnTo>
                  <a:lnTo>
                    <a:pt x="912" y="828"/>
                  </a:lnTo>
                  <a:lnTo>
                    <a:pt x="912" y="822"/>
                  </a:lnTo>
                  <a:lnTo>
                    <a:pt x="906" y="816"/>
                  </a:lnTo>
                  <a:lnTo>
                    <a:pt x="900" y="816"/>
                  </a:lnTo>
                  <a:lnTo>
                    <a:pt x="894" y="816"/>
                  </a:lnTo>
                  <a:lnTo>
                    <a:pt x="888" y="816"/>
                  </a:lnTo>
                  <a:lnTo>
                    <a:pt x="882" y="816"/>
                  </a:lnTo>
                  <a:lnTo>
                    <a:pt x="882" y="810"/>
                  </a:lnTo>
                  <a:lnTo>
                    <a:pt x="876" y="804"/>
                  </a:lnTo>
                  <a:lnTo>
                    <a:pt x="870" y="804"/>
                  </a:lnTo>
                  <a:lnTo>
                    <a:pt x="864" y="798"/>
                  </a:lnTo>
                  <a:lnTo>
                    <a:pt x="858" y="798"/>
                  </a:lnTo>
                  <a:lnTo>
                    <a:pt x="858" y="804"/>
                  </a:lnTo>
                  <a:lnTo>
                    <a:pt x="852" y="804"/>
                  </a:lnTo>
                  <a:lnTo>
                    <a:pt x="846" y="804"/>
                  </a:lnTo>
                  <a:lnTo>
                    <a:pt x="846" y="798"/>
                  </a:lnTo>
                  <a:lnTo>
                    <a:pt x="840" y="804"/>
                  </a:lnTo>
                  <a:lnTo>
                    <a:pt x="834" y="804"/>
                  </a:lnTo>
                  <a:lnTo>
                    <a:pt x="828" y="804"/>
                  </a:lnTo>
                  <a:lnTo>
                    <a:pt x="828" y="810"/>
                  </a:lnTo>
                  <a:lnTo>
                    <a:pt x="822" y="810"/>
                  </a:lnTo>
                  <a:lnTo>
                    <a:pt x="810" y="804"/>
                  </a:lnTo>
                  <a:lnTo>
                    <a:pt x="810" y="798"/>
                  </a:lnTo>
                  <a:lnTo>
                    <a:pt x="780" y="798"/>
                  </a:lnTo>
                  <a:lnTo>
                    <a:pt x="756" y="774"/>
                  </a:lnTo>
                  <a:lnTo>
                    <a:pt x="750" y="768"/>
                  </a:lnTo>
                  <a:lnTo>
                    <a:pt x="750" y="744"/>
                  </a:lnTo>
                  <a:lnTo>
                    <a:pt x="732" y="738"/>
                  </a:lnTo>
                  <a:lnTo>
                    <a:pt x="732" y="720"/>
                  </a:lnTo>
                  <a:lnTo>
                    <a:pt x="714" y="690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6" y="666"/>
                  </a:lnTo>
                  <a:lnTo>
                    <a:pt x="690" y="666"/>
                  </a:lnTo>
                  <a:lnTo>
                    <a:pt x="678" y="672"/>
                  </a:lnTo>
                  <a:lnTo>
                    <a:pt x="678" y="654"/>
                  </a:lnTo>
                  <a:lnTo>
                    <a:pt x="684" y="630"/>
                  </a:lnTo>
                  <a:lnTo>
                    <a:pt x="690" y="618"/>
                  </a:lnTo>
                  <a:lnTo>
                    <a:pt x="696" y="612"/>
                  </a:lnTo>
                  <a:lnTo>
                    <a:pt x="696" y="588"/>
                  </a:lnTo>
                  <a:lnTo>
                    <a:pt x="690" y="576"/>
                  </a:lnTo>
                  <a:lnTo>
                    <a:pt x="696" y="552"/>
                  </a:lnTo>
                  <a:lnTo>
                    <a:pt x="684" y="522"/>
                  </a:lnTo>
                  <a:lnTo>
                    <a:pt x="672" y="504"/>
                  </a:lnTo>
                  <a:lnTo>
                    <a:pt x="654" y="504"/>
                  </a:lnTo>
                  <a:lnTo>
                    <a:pt x="642" y="504"/>
                  </a:lnTo>
                  <a:lnTo>
                    <a:pt x="624" y="510"/>
                  </a:lnTo>
                  <a:lnTo>
                    <a:pt x="612" y="516"/>
                  </a:lnTo>
                  <a:lnTo>
                    <a:pt x="594" y="516"/>
                  </a:lnTo>
                  <a:lnTo>
                    <a:pt x="588" y="516"/>
                  </a:lnTo>
                  <a:lnTo>
                    <a:pt x="588" y="522"/>
                  </a:lnTo>
                  <a:lnTo>
                    <a:pt x="582" y="516"/>
                  </a:lnTo>
                  <a:lnTo>
                    <a:pt x="588" y="510"/>
                  </a:lnTo>
                  <a:lnTo>
                    <a:pt x="582" y="510"/>
                  </a:lnTo>
                  <a:lnTo>
                    <a:pt x="582" y="504"/>
                  </a:lnTo>
                  <a:lnTo>
                    <a:pt x="576" y="498"/>
                  </a:lnTo>
                  <a:lnTo>
                    <a:pt x="570" y="498"/>
                  </a:lnTo>
                  <a:lnTo>
                    <a:pt x="570" y="492"/>
                  </a:lnTo>
                  <a:lnTo>
                    <a:pt x="564" y="492"/>
                  </a:lnTo>
                  <a:lnTo>
                    <a:pt x="570" y="486"/>
                  </a:lnTo>
                  <a:lnTo>
                    <a:pt x="564" y="486"/>
                  </a:lnTo>
                  <a:lnTo>
                    <a:pt x="564" y="480"/>
                  </a:lnTo>
                  <a:lnTo>
                    <a:pt x="564" y="474"/>
                  </a:lnTo>
                  <a:lnTo>
                    <a:pt x="558" y="468"/>
                  </a:lnTo>
                  <a:lnTo>
                    <a:pt x="564" y="468"/>
                  </a:lnTo>
                  <a:lnTo>
                    <a:pt x="564" y="462"/>
                  </a:lnTo>
                  <a:lnTo>
                    <a:pt x="570" y="462"/>
                  </a:lnTo>
                  <a:lnTo>
                    <a:pt x="570" y="456"/>
                  </a:lnTo>
                  <a:lnTo>
                    <a:pt x="570" y="450"/>
                  </a:lnTo>
                  <a:lnTo>
                    <a:pt x="576" y="450"/>
                  </a:lnTo>
                  <a:lnTo>
                    <a:pt x="576" y="444"/>
                  </a:lnTo>
                  <a:lnTo>
                    <a:pt x="582" y="438"/>
                  </a:lnTo>
                  <a:lnTo>
                    <a:pt x="588" y="438"/>
                  </a:lnTo>
                  <a:lnTo>
                    <a:pt x="588" y="444"/>
                  </a:lnTo>
                  <a:lnTo>
                    <a:pt x="594" y="438"/>
                  </a:lnTo>
                  <a:lnTo>
                    <a:pt x="594" y="432"/>
                  </a:lnTo>
                  <a:lnTo>
                    <a:pt x="600" y="432"/>
                  </a:lnTo>
                  <a:lnTo>
                    <a:pt x="600" y="426"/>
                  </a:lnTo>
                  <a:lnTo>
                    <a:pt x="600" y="420"/>
                  </a:lnTo>
                  <a:lnTo>
                    <a:pt x="606" y="420"/>
                  </a:lnTo>
                  <a:lnTo>
                    <a:pt x="600" y="420"/>
                  </a:lnTo>
                  <a:lnTo>
                    <a:pt x="600" y="414"/>
                  </a:lnTo>
                  <a:lnTo>
                    <a:pt x="606" y="408"/>
                  </a:lnTo>
                  <a:lnTo>
                    <a:pt x="612" y="408"/>
                  </a:lnTo>
                  <a:lnTo>
                    <a:pt x="612" y="414"/>
                  </a:lnTo>
                  <a:lnTo>
                    <a:pt x="618" y="414"/>
                  </a:lnTo>
                  <a:lnTo>
                    <a:pt x="624" y="414"/>
                  </a:lnTo>
                  <a:lnTo>
                    <a:pt x="630" y="414"/>
                  </a:lnTo>
                  <a:lnTo>
                    <a:pt x="636" y="414"/>
                  </a:lnTo>
                  <a:lnTo>
                    <a:pt x="642" y="408"/>
                  </a:lnTo>
                  <a:lnTo>
                    <a:pt x="648" y="408"/>
                  </a:lnTo>
                  <a:lnTo>
                    <a:pt x="660" y="408"/>
                  </a:lnTo>
                  <a:lnTo>
                    <a:pt x="666" y="402"/>
                  </a:lnTo>
                  <a:lnTo>
                    <a:pt x="672" y="402"/>
                  </a:lnTo>
                  <a:lnTo>
                    <a:pt x="684" y="396"/>
                  </a:lnTo>
                  <a:lnTo>
                    <a:pt x="690" y="396"/>
                  </a:lnTo>
                  <a:lnTo>
                    <a:pt x="696" y="396"/>
                  </a:lnTo>
                  <a:lnTo>
                    <a:pt x="702" y="396"/>
                  </a:lnTo>
                  <a:lnTo>
                    <a:pt x="708" y="396"/>
                  </a:lnTo>
                  <a:lnTo>
                    <a:pt x="714" y="390"/>
                  </a:lnTo>
                  <a:lnTo>
                    <a:pt x="714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32" y="384"/>
                  </a:lnTo>
                  <a:lnTo>
                    <a:pt x="738" y="378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56" y="372"/>
                  </a:lnTo>
                  <a:lnTo>
                    <a:pt x="762" y="366"/>
                  </a:lnTo>
                  <a:lnTo>
                    <a:pt x="768" y="366"/>
                  </a:lnTo>
                  <a:lnTo>
                    <a:pt x="774" y="366"/>
                  </a:lnTo>
                  <a:lnTo>
                    <a:pt x="774" y="360"/>
                  </a:lnTo>
                  <a:lnTo>
                    <a:pt x="780" y="366"/>
                  </a:lnTo>
                  <a:lnTo>
                    <a:pt x="786" y="366"/>
                  </a:lnTo>
                  <a:lnTo>
                    <a:pt x="786" y="360"/>
                  </a:lnTo>
                  <a:lnTo>
                    <a:pt x="792" y="354"/>
                  </a:lnTo>
                  <a:lnTo>
                    <a:pt x="786" y="354"/>
                  </a:lnTo>
                  <a:lnTo>
                    <a:pt x="792" y="348"/>
                  </a:lnTo>
                  <a:lnTo>
                    <a:pt x="798" y="348"/>
                  </a:lnTo>
                  <a:lnTo>
                    <a:pt x="804" y="348"/>
                  </a:lnTo>
                  <a:lnTo>
                    <a:pt x="810" y="342"/>
                  </a:lnTo>
                  <a:lnTo>
                    <a:pt x="816" y="342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28" y="336"/>
                  </a:lnTo>
                  <a:lnTo>
                    <a:pt x="834" y="336"/>
                  </a:lnTo>
                  <a:lnTo>
                    <a:pt x="840" y="336"/>
                  </a:lnTo>
                  <a:lnTo>
                    <a:pt x="846" y="330"/>
                  </a:lnTo>
                  <a:lnTo>
                    <a:pt x="852" y="330"/>
                  </a:lnTo>
                  <a:lnTo>
                    <a:pt x="858" y="330"/>
                  </a:lnTo>
                  <a:lnTo>
                    <a:pt x="864" y="324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0" y="312"/>
                  </a:lnTo>
                  <a:lnTo>
                    <a:pt x="876" y="312"/>
                  </a:lnTo>
                  <a:lnTo>
                    <a:pt x="882" y="312"/>
                  </a:lnTo>
                  <a:lnTo>
                    <a:pt x="882" y="318"/>
                  </a:lnTo>
                  <a:lnTo>
                    <a:pt x="888" y="312"/>
                  </a:lnTo>
                  <a:lnTo>
                    <a:pt x="894" y="306"/>
                  </a:lnTo>
                  <a:lnTo>
                    <a:pt x="900" y="306"/>
                  </a:lnTo>
                  <a:lnTo>
                    <a:pt x="906" y="306"/>
                  </a:lnTo>
                  <a:lnTo>
                    <a:pt x="912" y="300"/>
                  </a:lnTo>
                  <a:lnTo>
                    <a:pt x="906" y="294"/>
                  </a:lnTo>
                  <a:lnTo>
                    <a:pt x="912" y="276"/>
                  </a:lnTo>
                  <a:lnTo>
                    <a:pt x="912" y="252"/>
                  </a:lnTo>
                  <a:lnTo>
                    <a:pt x="906" y="234"/>
                  </a:lnTo>
                  <a:lnTo>
                    <a:pt x="912" y="228"/>
                  </a:lnTo>
                  <a:lnTo>
                    <a:pt x="912" y="216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24" y="192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36" y="186"/>
                  </a:lnTo>
                  <a:lnTo>
                    <a:pt x="930" y="180"/>
                  </a:lnTo>
                  <a:lnTo>
                    <a:pt x="930" y="174"/>
                  </a:lnTo>
                  <a:lnTo>
                    <a:pt x="936" y="156"/>
                  </a:lnTo>
                  <a:lnTo>
                    <a:pt x="930" y="156"/>
                  </a:lnTo>
                  <a:lnTo>
                    <a:pt x="924" y="150"/>
                  </a:lnTo>
                  <a:lnTo>
                    <a:pt x="942" y="78"/>
                  </a:lnTo>
                  <a:lnTo>
                    <a:pt x="948" y="78"/>
                  </a:lnTo>
                  <a:lnTo>
                    <a:pt x="954" y="66"/>
                  </a:lnTo>
                  <a:lnTo>
                    <a:pt x="954" y="72"/>
                  </a:lnTo>
                  <a:lnTo>
                    <a:pt x="954" y="66"/>
                  </a:lnTo>
                  <a:lnTo>
                    <a:pt x="960" y="66"/>
                  </a:lnTo>
                  <a:lnTo>
                    <a:pt x="966" y="66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54"/>
                  </a:lnTo>
                  <a:lnTo>
                    <a:pt x="990" y="54"/>
                  </a:lnTo>
                  <a:lnTo>
                    <a:pt x="996" y="48"/>
                  </a:lnTo>
                  <a:lnTo>
                    <a:pt x="1002" y="48"/>
                  </a:lnTo>
                  <a:lnTo>
                    <a:pt x="1032" y="48"/>
                  </a:lnTo>
                  <a:lnTo>
                    <a:pt x="1062" y="48"/>
                  </a:lnTo>
                  <a:lnTo>
                    <a:pt x="1068" y="78"/>
                  </a:lnTo>
                  <a:lnTo>
                    <a:pt x="1086" y="78"/>
                  </a:lnTo>
                  <a:lnTo>
                    <a:pt x="1092" y="66"/>
                  </a:lnTo>
                  <a:lnTo>
                    <a:pt x="1092" y="60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8" y="48"/>
                  </a:lnTo>
                  <a:lnTo>
                    <a:pt x="1104" y="48"/>
                  </a:lnTo>
                  <a:lnTo>
                    <a:pt x="1110" y="48"/>
                  </a:lnTo>
                  <a:lnTo>
                    <a:pt x="1110" y="42"/>
                  </a:lnTo>
                  <a:lnTo>
                    <a:pt x="1110" y="36"/>
                  </a:lnTo>
                  <a:lnTo>
                    <a:pt x="1116" y="36"/>
                  </a:lnTo>
                  <a:lnTo>
                    <a:pt x="1116" y="30"/>
                  </a:lnTo>
                  <a:lnTo>
                    <a:pt x="1122" y="30"/>
                  </a:lnTo>
                  <a:lnTo>
                    <a:pt x="1128" y="30"/>
                  </a:lnTo>
                  <a:lnTo>
                    <a:pt x="1134" y="30"/>
                  </a:lnTo>
                  <a:lnTo>
                    <a:pt x="1140" y="24"/>
                  </a:lnTo>
                  <a:lnTo>
                    <a:pt x="1152" y="18"/>
                  </a:lnTo>
                  <a:lnTo>
                    <a:pt x="1158" y="18"/>
                  </a:lnTo>
                  <a:lnTo>
                    <a:pt x="1152" y="12"/>
                  </a:lnTo>
                  <a:lnTo>
                    <a:pt x="1152" y="6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8"/>
                  </a:lnTo>
                  <a:lnTo>
                    <a:pt x="1170" y="12"/>
                  </a:lnTo>
                  <a:lnTo>
                    <a:pt x="1170" y="6"/>
                  </a:lnTo>
                  <a:lnTo>
                    <a:pt x="1176" y="6"/>
                  </a:lnTo>
                  <a:lnTo>
                    <a:pt x="1176" y="0"/>
                  </a:lnTo>
                  <a:lnTo>
                    <a:pt x="1182" y="6"/>
                  </a:lnTo>
                  <a:lnTo>
                    <a:pt x="1188" y="6"/>
                  </a:lnTo>
                  <a:lnTo>
                    <a:pt x="1188" y="0"/>
                  </a:lnTo>
                  <a:lnTo>
                    <a:pt x="1194" y="6"/>
                  </a:lnTo>
                  <a:lnTo>
                    <a:pt x="1200" y="12"/>
                  </a:lnTo>
                  <a:lnTo>
                    <a:pt x="1206" y="18"/>
                  </a:lnTo>
                  <a:lnTo>
                    <a:pt x="1212" y="18"/>
                  </a:lnTo>
                  <a:lnTo>
                    <a:pt x="1218" y="24"/>
                  </a:lnTo>
                  <a:lnTo>
                    <a:pt x="1236" y="36"/>
                  </a:lnTo>
                  <a:lnTo>
                    <a:pt x="1242" y="36"/>
                  </a:lnTo>
                  <a:lnTo>
                    <a:pt x="1248" y="42"/>
                  </a:lnTo>
                  <a:lnTo>
                    <a:pt x="1248" y="48"/>
                  </a:lnTo>
                  <a:lnTo>
                    <a:pt x="1260" y="48"/>
                  </a:lnTo>
                  <a:lnTo>
                    <a:pt x="1260" y="108"/>
                  </a:lnTo>
                  <a:lnTo>
                    <a:pt x="1266" y="168"/>
                  </a:lnTo>
                  <a:lnTo>
                    <a:pt x="1278" y="234"/>
                  </a:lnTo>
                  <a:lnTo>
                    <a:pt x="1284" y="240"/>
                  </a:lnTo>
                  <a:lnTo>
                    <a:pt x="1290" y="264"/>
                  </a:lnTo>
                  <a:lnTo>
                    <a:pt x="1296" y="288"/>
                  </a:lnTo>
                  <a:lnTo>
                    <a:pt x="1296" y="300"/>
                  </a:lnTo>
                  <a:lnTo>
                    <a:pt x="1296" y="312"/>
                  </a:lnTo>
                  <a:lnTo>
                    <a:pt x="1296" y="324"/>
                  </a:lnTo>
                  <a:lnTo>
                    <a:pt x="1296" y="354"/>
                  </a:lnTo>
                  <a:lnTo>
                    <a:pt x="1302" y="366"/>
                  </a:lnTo>
                  <a:lnTo>
                    <a:pt x="1308" y="372"/>
                  </a:lnTo>
                  <a:lnTo>
                    <a:pt x="1308" y="384"/>
                  </a:lnTo>
                  <a:lnTo>
                    <a:pt x="1314" y="390"/>
                  </a:lnTo>
                  <a:lnTo>
                    <a:pt x="1308" y="408"/>
                  </a:lnTo>
                  <a:lnTo>
                    <a:pt x="1314" y="408"/>
                  </a:lnTo>
                  <a:lnTo>
                    <a:pt x="1314" y="414"/>
                  </a:lnTo>
                  <a:lnTo>
                    <a:pt x="1308" y="420"/>
                  </a:lnTo>
                  <a:lnTo>
                    <a:pt x="1308" y="432"/>
                  </a:lnTo>
                  <a:lnTo>
                    <a:pt x="1320" y="432"/>
                  </a:lnTo>
                  <a:lnTo>
                    <a:pt x="1320" y="444"/>
                  </a:lnTo>
                  <a:lnTo>
                    <a:pt x="1332" y="444"/>
                  </a:lnTo>
                  <a:lnTo>
                    <a:pt x="1338" y="450"/>
                  </a:lnTo>
                  <a:lnTo>
                    <a:pt x="1344" y="456"/>
                  </a:lnTo>
                  <a:lnTo>
                    <a:pt x="1344" y="462"/>
                  </a:lnTo>
                  <a:lnTo>
                    <a:pt x="1344" y="474"/>
                  </a:lnTo>
                  <a:lnTo>
                    <a:pt x="1350" y="474"/>
                  </a:lnTo>
                  <a:lnTo>
                    <a:pt x="1368" y="504"/>
                  </a:lnTo>
                  <a:lnTo>
                    <a:pt x="1374" y="534"/>
                  </a:lnTo>
                  <a:lnTo>
                    <a:pt x="1380" y="558"/>
                  </a:lnTo>
                  <a:lnTo>
                    <a:pt x="1386" y="576"/>
                  </a:lnTo>
                  <a:lnTo>
                    <a:pt x="1386" y="600"/>
                  </a:lnTo>
                  <a:lnTo>
                    <a:pt x="1386" y="624"/>
                  </a:lnTo>
                  <a:lnTo>
                    <a:pt x="1386" y="648"/>
                  </a:lnTo>
                  <a:lnTo>
                    <a:pt x="1386" y="684"/>
                  </a:lnTo>
                  <a:lnTo>
                    <a:pt x="1380" y="684"/>
                  </a:lnTo>
                  <a:lnTo>
                    <a:pt x="1374" y="696"/>
                  </a:lnTo>
                  <a:lnTo>
                    <a:pt x="1368" y="702"/>
                  </a:lnTo>
                  <a:lnTo>
                    <a:pt x="1362" y="708"/>
                  </a:lnTo>
                  <a:lnTo>
                    <a:pt x="1356" y="714"/>
                  </a:lnTo>
                  <a:lnTo>
                    <a:pt x="1350" y="720"/>
                  </a:lnTo>
                  <a:lnTo>
                    <a:pt x="1338" y="720"/>
                  </a:lnTo>
                  <a:lnTo>
                    <a:pt x="1338" y="738"/>
                  </a:lnTo>
                  <a:lnTo>
                    <a:pt x="1362" y="750"/>
                  </a:lnTo>
                  <a:lnTo>
                    <a:pt x="1362" y="756"/>
                  </a:lnTo>
                  <a:lnTo>
                    <a:pt x="1374" y="756"/>
                  </a:lnTo>
                  <a:lnTo>
                    <a:pt x="1410" y="774"/>
                  </a:lnTo>
                  <a:lnTo>
                    <a:pt x="1446" y="774"/>
                  </a:lnTo>
                  <a:lnTo>
                    <a:pt x="1482" y="768"/>
                  </a:lnTo>
                  <a:lnTo>
                    <a:pt x="1500" y="774"/>
                  </a:lnTo>
                  <a:lnTo>
                    <a:pt x="1512" y="78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6" name="Freeform 11">
              <a:extLst>
                <a:ext uri="{FF2B5EF4-FFF2-40B4-BE49-F238E27FC236}">
                  <a16:creationId xmlns:a16="http://schemas.microsoft.com/office/drawing/2014/main" id="{1FF8E66F-B850-456A-B132-C45FEEDE95C6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2475" y="2345643"/>
              <a:ext cx="445003" cy="603855"/>
            </a:xfrm>
            <a:custGeom>
              <a:avLst/>
              <a:gdLst>
                <a:gd name="T0" fmla="*/ 47 w 840"/>
                <a:gd name="T1" fmla="*/ 98 h 1134"/>
                <a:gd name="T2" fmla="*/ 41 w 840"/>
                <a:gd name="T3" fmla="*/ 98 h 1134"/>
                <a:gd name="T4" fmla="*/ 37 w 840"/>
                <a:gd name="T5" fmla="*/ 98 h 1134"/>
                <a:gd name="T6" fmla="*/ 29 w 840"/>
                <a:gd name="T7" fmla="*/ 97 h 1134"/>
                <a:gd name="T8" fmla="*/ 27 w 840"/>
                <a:gd name="T9" fmla="*/ 94 h 1134"/>
                <a:gd name="T10" fmla="*/ 26 w 840"/>
                <a:gd name="T11" fmla="*/ 93 h 1134"/>
                <a:gd name="T12" fmla="*/ 26 w 840"/>
                <a:gd name="T13" fmla="*/ 83 h 1134"/>
                <a:gd name="T14" fmla="*/ 26 w 840"/>
                <a:gd name="T15" fmla="*/ 81 h 1134"/>
                <a:gd name="T16" fmla="*/ 23 w 840"/>
                <a:gd name="T17" fmla="*/ 77 h 1134"/>
                <a:gd name="T18" fmla="*/ 19 w 840"/>
                <a:gd name="T19" fmla="*/ 75 h 1134"/>
                <a:gd name="T20" fmla="*/ 16 w 840"/>
                <a:gd name="T21" fmla="*/ 72 h 1134"/>
                <a:gd name="T22" fmla="*/ 13 w 840"/>
                <a:gd name="T23" fmla="*/ 70 h 1134"/>
                <a:gd name="T24" fmla="*/ 17 w 840"/>
                <a:gd name="T25" fmla="*/ 67 h 1134"/>
                <a:gd name="T26" fmla="*/ 19 w 840"/>
                <a:gd name="T27" fmla="*/ 63 h 1134"/>
                <a:gd name="T28" fmla="*/ 20 w 840"/>
                <a:gd name="T29" fmla="*/ 59 h 1134"/>
                <a:gd name="T30" fmla="*/ 19 w 840"/>
                <a:gd name="T31" fmla="*/ 55 h 1134"/>
                <a:gd name="T32" fmla="*/ 17 w 840"/>
                <a:gd name="T33" fmla="*/ 47 h 1134"/>
                <a:gd name="T34" fmla="*/ 8 w 840"/>
                <a:gd name="T35" fmla="*/ 45 h 1134"/>
                <a:gd name="T36" fmla="*/ 4 w 840"/>
                <a:gd name="T37" fmla="*/ 39 h 1134"/>
                <a:gd name="T38" fmla="*/ 2 w 840"/>
                <a:gd name="T39" fmla="*/ 35 h 1134"/>
                <a:gd name="T40" fmla="*/ 0 w 840"/>
                <a:gd name="T41" fmla="*/ 31 h 1134"/>
                <a:gd name="T42" fmla="*/ 2 w 840"/>
                <a:gd name="T43" fmla="*/ 27 h 1134"/>
                <a:gd name="T44" fmla="*/ 5 w 840"/>
                <a:gd name="T45" fmla="*/ 24 h 1134"/>
                <a:gd name="T46" fmla="*/ 10 w 840"/>
                <a:gd name="T47" fmla="*/ 26 h 1134"/>
                <a:gd name="T48" fmla="*/ 7 w 840"/>
                <a:gd name="T49" fmla="*/ 20 h 1134"/>
                <a:gd name="T50" fmla="*/ 12 w 840"/>
                <a:gd name="T51" fmla="*/ 12 h 1134"/>
                <a:gd name="T52" fmla="*/ 19 w 840"/>
                <a:gd name="T53" fmla="*/ 10 h 1134"/>
                <a:gd name="T54" fmla="*/ 20 w 840"/>
                <a:gd name="T55" fmla="*/ 13 h 1134"/>
                <a:gd name="T56" fmla="*/ 22 w 840"/>
                <a:gd name="T57" fmla="*/ 11 h 1134"/>
                <a:gd name="T58" fmla="*/ 25 w 840"/>
                <a:gd name="T59" fmla="*/ 7 h 1134"/>
                <a:gd name="T60" fmla="*/ 29 w 840"/>
                <a:gd name="T61" fmla="*/ 2 h 1134"/>
                <a:gd name="T62" fmla="*/ 33 w 840"/>
                <a:gd name="T63" fmla="*/ 1 h 1134"/>
                <a:gd name="T64" fmla="*/ 37 w 840"/>
                <a:gd name="T65" fmla="*/ 2 h 1134"/>
                <a:gd name="T66" fmla="*/ 39 w 840"/>
                <a:gd name="T67" fmla="*/ 4 h 1134"/>
                <a:gd name="T68" fmla="*/ 43 w 840"/>
                <a:gd name="T69" fmla="*/ 5 h 1134"/>
                <a:gd name="T70" fmla="*/ 46 w 840"/>
                <a:gd name="T71" fmla="*/ 11 h 1134"/>
                <a:gd name="T72" fmla="*/ 49 w 840"/>
                <a:gd name="T73" fmla="*/ 12 h 1134"/>
                <a:gd name="T74" fmla="*/ 52 w 840"/>
                <a:gd name="T75" fmla="*/ 15 h 1134"/>
                <a:gd name="T76" fmla="*/ 54 w 840"/>
                <a:gd name="T77" fmla="*/ 18 h 1134"/>
                <a:gd name="T78" fmla="*/ 55 w 840"/>
                <a:gd name="T79" fmla="*/ 22 h 1134"/>
                <a:gd name="T80" fmla="*/ 56 w 840"/>
                <a:gd name="T81" fmla="*/ 26 h 1134"/>
                <a:gd name="T82" fmla="*/ 55 w 840"/>
                <a:gd name="T83" fmla="*/ 32 h 1134"/>
                <a:gd name="T84" fmla="*/ 55 w 840"/>
                <a:gd name="T85" fmla="*/ 36 h 1134"/>
                <a:gd name="T86" fmla="*/ 54 w 840"/>
                <a:gd name="T87" fmla="*/ 39 h 1134"/>
                <a:gd name="T88" fmla="*/ 56 w 840"/>
                <a:gd name="T89" fmla="*/ 39 h 1134"/>
                <a:gd name="T90" fmla="*/ 58 w 840"/>
                <a:gd name="T91" fmla="*/ 39 h 1134"/>
                <a:gd name="T92" fmla="*/ 61 w 840"/>
                <a:gd name="T93" fmla="*/ 39 h 1134"/>
                <a:gd name="T94" fmla="*/ 60 w 840"/>
                <a:gd name="T95" fmla="*/ 49 h 1134"/>
                <a:gd name="T96" fmla="*/ 59 w 840"/>
                <a:gd name="T97" fmla="*/ 53 h 1134"/>
                <a:gd name="T98" fmla="*/ 59 w 840"/>
                <a:gd name="T99" fmla="*/ 56 h 1134"/>
                <a:gd name="T100" fmla="*/ 60 w 840"/>
                <a:gd name="T101" fmla="*/ 59 h 1134"/>
                <a:gd name="T102" fmla="*/ 64 w 840"/>
                <a:gd name="T103" fmla="*/ 61 h 1134"/>
                <a:gd name="T104" fmla="*/ 69 w 840"/>
                <a:gd name="T105" fmla="*/ 63 h 1134"/>
                <a:gd name="T106" fmla="*/ 72 w 840"/>
                <a:gd name="T107" fmla="*/ 69 h 1134"/>
                <a:gd name="T108" fmla="*/ 72 w 840"/>
                <a:gd name="T109" fmla="*/ 73 h 1134"/>
                <a:gd name="T110" fmla="*/ 72 w 840"/>
                <a:gd name="T111" fmla="*/ 83 h 1134"/>
                <a:gd name="T112" fmla="*/ 63 w 840"/>
                <a:gd name="T113" fmla="*/ 88 h 1134"/>
                <a:gd name="T114" fmla="*/ 52 w 840"/>
                <a:gd name="T115" fmla="*/ 95 h 11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40"/>
                <a:gd name="T175" fmla="*/ 0 h 1134"/>
                <a:gd name="T176" fmla="*/ 840 w 840"/>
                <a:gd name="T177" fmla="*/ 1134 h 11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40" h="1134">
                  <a:moveTo>
                    <a:pt x="564" y="1110"/>
                  </a:moveTo>
                  <a:lnTo>
                    <a:pt x="564" y="1104"/>
                  </a:lnTo>
                  <a:lnTo>
                    <a:pt x="558" y="1104"/>
                  </a:lnTo>
                  <a:lnTo>
                    <a:pt x="552" y="1110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28" y="1128"/>
                  </a:lnTo>
                  <a:lnTo>
                    <a:pt x="498" y="1128"/>
                  </a:lnTo>
                  <a:lnTo>
                    <a:pt x="492" y="1128"/>
                  </a:lnTo>
                  <a:lnTo>
                    <a:pt x="486" y="1128"/>
                  </a:lnTo>
                  <a:lnTo>
                    <a:pt x="480" y="1128"/>
                  </a:lnTo>
                  <a:lnTo>
                    <a:pt x="474" y="1134"/>
                  </a:lnTo>
                  <a:lnTo>
                    <a:pt x="468" y="1134"/>
                  </a:lnTo>
                  <a:lnTo>
                    <a:pt x="462" y="1134"/>
                  </a:lnTo>
                  <a:lnTo>
                    <a:pt x="456" y="1134"/>
                  </a:lnTo>
                  <a:lnTo>
                    <a:pt x="456" y="1128"/>
                  </a:lnTo>
                  <a:lnTo>
                    <a:pt x="450" y="1122"/>
                  </a:lnTo>
                  <a:lnTo>
                    <a:pt x="426" y="1128"/>
                  </a:lnTo>
                  <a:lnTo>
                    <a:pt x="414" y="1128"/>
                  </a:lnTo>
                  <a:lnTo>
                    <a:pt x="348" y="1134"/>
                  </a:lnTo>
                  <a:lnTo>
                    <a:pt x="348" y="1128"/>
                  </a:lnTo>
                  <a:lnTo>
                    <a:pt x="342" y="1128"/>
                  </a:lnTo>
                  <a:lnTo>
                    <a:pt x="336" y="1122"/>
                  </a:lnTo>
                  <a:lnTo>
                    <a:pt x="330" y="1122"/>
                  </a:lnTo>
                  <a:lnTo>
                    <a:pt x="324" y="1116"/>
                  </a:lnTo>
                  <a:lnTo>
                    <a:pt x="324" y="1110"/>
                  </a:lnTo>
                  <a:lnTo>
                    <a:pt x="318" y="1110"/>
                  </a:lnTo>
                  <a:lnTo>
                    <a:pt x="318" y="1104"/>
                  </a:lnTo>
                  <a:lnTo>
                    <a:pt x="312" y="1092"/>
                  </a:lnTo>
                  <a:lnTo>
                    <a:pt x="306" y="1086"/>
                  </a:lnTo>
                  <a:lnTo>
                    <a:pt x="306" y="1080"/>
                  </a:lnTo>
                  <a:lnTo>
                    <a:pt x="312" y="1074"/>
                  </a:lnTo>
                  <a:lnTo>
                    <a:pt x="306" y="1068"/>
                  </a:lnTo>
                  <a:lnTo>
                    <a:pt x="300" y="1074"/>
                  </a:lnTo>
                  <a:lnTo>
                    <a:pt x="300" y="1068"/>
                  </a:lnTo>
                  <a:lnTo>
                    <a:pt x="294" y="1068"/>
                  </a:lnTo>
                  <a:lnTo>
                    <a:pt x="294" y="1056"/>
                  </a:lnTo>
                  <a:lnTo>
                    <a:pt x="294" y="1026"/>
                  </a:lnTo>
                  <a:lnTo>
                    <a:pt x="294" y="1020"/>
                  </a:lnTo>
                  <a:lnTo>
                    <a:pt x="294" y="1008"/>
                  </a:lnTo>
                  <a:lnTo>
                    <a:pt x="294" y="966"/>
                  </a:lnTo>
                  <a:lnTo>
                    <a:pt x="294" y="960"/>
                  </a:lnTo>
                  <a:lnTo>
                    <a:pt x="294" y="954"/>
                  </a:lnTo>
                  <a:lnTo>
                    <a:pt x="294" y="948"/>
                  </a:lnTo>
                  <a:lnTo>
                    <a:pt x="294" y="942"/>
                  </a:lnTo>
                  <a:lnTo>
                    <a:pt x="300" y="936"/>
                  </a:lnTo>
                  <a:lnTo>
                    <a:pt x="300" y="930"/>
                  </a:lnTo>
                  <a:lnTo>
                    <a:pt x="294" y="930"/>
                  </a:lnTo>
                  <a:lnTo>
                    <a:pt x="288" y="930"/>
                  </a:lnTo>
                  <a:lnTo>
                    <a:pt x="288" y="924"/>
                  </a:lnTo>
                  <a:lnTo>
                    <a:pt x="282" y="918"/>
                  </a:lnTo>
                  <a:lnTo>
                    <a:pt x="282" y="906"/>
                  </a:lnTo>
                  <a:lnTo>
                    <a:pt x="282" y="900"/>
                  </a:lnTo>
                  <a:lnTo>
                    <a:pt x="264" y="894"/>
                  </a:lnTo>
                  <a:lnTo>
                    <a:pt x="252" y="882"/>
                  </a:lnTo>
                  <a:lnTo>
                    <a:pt x="246" y="876"/>
                  </a:lnTo>
                  <a:lnTo>
                    <a:pt x="240" y="876"/>
                  </a:lnTo>
                  <a:lnTo>
                    <a:pt x="240" y="870"/>
                  </a:lnTo>
                  <a:lnTo>
                    <a:pt x="234" y="870"/>
                  </a:lnTo>
                  <a:lnTo>
                    <a:pt x="222" y="864"/>
                  </a:lnTo>
                  <a:lnTo>
                    <a:pt x="216" y="864"/>
                  </a:lnTo>
                  <a:lnTo>
                    <a:pt x="210" y="858"/>
                  </a:lnTo>
                  <a:lnTo>
                    <a:pt x="210" y="852"/>
                  </a:lnTo>
                  <a:lnTo>
                    <a:pt x="210" y="846"/>
                  </a:lnTo>
                  <a:lnTo>
                    <a:pt x="198" y="840"/>
                  </a:lnTo>
                  <a:lnTo>
                    <a:pt x="186" y="834"/>
                  </a:lnTo>
                  <a:lnTo>
                    <a:pt x="180" y="828"/>
                  </a:lnTo>
                  <a:lnTo>
                    <a:pt x="180" y="822"/>
                  </a:lnTo>
                  <a:lnTo>
                    <a:pt x="174" y="822"/>
                  </a:lnTo>
                  <a:lnTo>
                    <a:pt x="162" y="816"/>
                  </a:lnTo>
                  <a:lnTo>
                    <a:pt x="156" y="810"/>
                  </a:lnTo>
                  <a:lnTo>
                    <a:pt x="150" y="810"/>
                  </a:lnTo>
                  <a:lnTo>
                    <a:pt x="144" y="798"/>
                  </a:lnTo>
                  <a:lnTo>
                    <a:pt x="138" y="786"/>
                  </a:lnTo>
                  <a:lnTo>
                    <a:pt x="138" y="780"/>
                  </a:lnTo>
                  <a:lnTo>
                    <a:pt x="144" y="774"/>
                  </a:lnTo>
                  <a:lnTo>
                    <a:pt x="150" y="768"/>
                  </a:lnTo>
                  <a:lnTo>
                    <a:pt x="192" y="768"/>
                  </a:lnTo>
                  <a:lnTo>
                    <a:pt x="210" y="762"/>
                  </a:lnTo>
                  <a:lnTo>
                    <a:pt x="216" y="756"/>
                  </a:lnTo>
                  <a:lnTo>
                    <a:pt x="216" y="744"/>
                  </a:lnTo>
                  <a:lnTo>
                    <a:pt x="216" y="738"/>
                  </a:lnTo>
                  <a:lnTo>
                    <a:pt x="216" y="732"/>
                  </a:lnTo>
                  <a:lnTo>
                    <a:pt x="216" y="726"/>
                  </a:lnTo>
                  <a:lnTo>
                    <a:pt x="216" y="720"/>
                  </a:lnTo>
                  <a:lnTo>
                    <a:pt x="228" y="702"/>
                  </a:lnTo>
                  <a:lnTo>
                    <a:pt x="234" y="696"/>
                  </a:lnTo>
                  <a:lnTo>
                    <a:pt x="240" y="690"/>
                  </a:lnTo>
                  <a:lnTo>
                    <a:pt x="240" y="684"/>
                  </a:lnTo>
                  <a:lnTo>
                    <a:pt x="234" y="678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0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22" y="630"/>
                  </a:lnTo>
                  <a:lnTo>
                    <a:pt x="222" y="618"/>
                  </a:lnTo>
                  <a:lnTo>
                    <a:pt x="222" y="582"/>
                  </a:lnTo>
                  <a:lnTo>
                    <a:pt x="228" y="582"/>
                  </a:lnTo>
                  <a:lnTo>
                    <a:pt x="222" y="564"/>
                  </a:lnTo>
                  <a:lnTo>
                    <a:pt x="210" y="552"/>
                  </a:lnTo>
                  <a:lnTo>
                    <a:pt x="192" y="540"/>
                  </a:lnTo>
                  <a:lnTo>
                    <a:pt x="174" y="540"/>
                  </a:lnTo>
                  <a:lnTo>
                    <a:pt x="150" y="534"/>
                  </a:lnTo>
                  <a:lnTo>
                    <a:pt x="126" y="528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90" y="516"/>
                  </a:lnTo>
                  <a:lnTo>
                    <a:pt x="78" y="504"/>
                  </a:lnTo>
                  <a:lnTo>
                    <a:pt x="72" y="498"/>
                  </a:lnTo>
                  <a:lnTo>
                    <a:pt x="66" y="486"/>
                  </a:lnTo>
                  <a:lnTo>
                    <a:pt x="54" y="468"/>
                  </a:lnTo>
                  <a:lnTo>
                    <a:pt x="54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42" y="438"/>
                  </a:lnTo>
                  <a:lnTo>
                    <a:pt x="36" y="438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24" y="384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2" y="360"/>
                  </a:lnTo>
                  <a:lnTo>
                    <a:pt x="6" y="360"/>
                  </a:lnTo>
                  <a:lnTo>
                    <a:pt x="0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0"/>
                  </a:lnTo>
                  <a:lnTo>
                    <a:pt x="18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8" y="270"/>
                  </a:lnTo>
                  <a:lnTo>
                    <a:pt x="90" y="276"/>
                  </a:lnTo>
                  <a:lnTo>
                    <a:pt x="108" y="294"/>
                  </a:lnTo>
                  <a:lnTo>
                    <a:pt x="114" y="294"/>
                  </a:lnTo>
                  <a:lnTo>
                    <a:pt x="114" y="276"/>
                  </a:lnTo>
                  <a:lnTo>
                    <a:pt x="114" y="270"/>
                  </a:lnTo>
                  <a:lnTo>
                    <a:pt x="102" y="258"/>
                  </a:lnTo>
                  <a:lnTo>
                    <a:pt x="96" y="246"/>
                  </a:lnTo>
                  <a:lnTo>
                    <a:pt x="90" y="234"/>
                  </a:lnTo>
                  <a:lnTo>
                    <a:pt x="78" y="228"/>
                  </a:lnTo>
                  <a:lnTo>
                    <a:pt x="72" y="216"/>
                  </a:lnTo>
                  <a:lnTo>
                    <a:pt x="66" y="192"/>
                  </a:lnTo>
                  <a:lnTo>
                    <a:pt x="90" y="174"/>
                  </a:lnTo>
                  <a:lnTo>
                    <a:pt x="120" y="150"/>
                  </a:lnTo>
                  <a:lnTo>
                    <a:pt x="132" y="150"/>
                  </a:lnTo>
                  <a:lnTo>
                    <a:pt x="138" y="144"/>
                  </a:lnTo>
                  <a:lnTo>
                    <a:pt x="138" y="138"/>
                  </a:lnTo>
                  <a:lnTo>
                    <a:pt x="156" y="126"/>
                  </a:lnTo>
                  <a:lnTo>
                    <a:pt x="180" y="114"/>
                  </a:lnTo>
                  <a:lnTo>
                    <a:pt x="216" y="114"/>
                  </a:lnTo>
                  <a:lnTo>
                    <a:pt x="222" y="114"/>
                  </a:lnTo>
                  <a:lnTo>
                    <a:pt x="222" y="120"/>
                  </a:lnTo>
                  <a:lnTo>
                    <a:pt x="222" y="126"/>
                  </a:lnTo>
                  <a:lnTo>
                    <a:pt x="222" y="132"/>
                  </a:lnTo>
                  <a:lnTo>
                    <a:pt x="228" y="138"/>
                  </a:lnTo>
                  <a:lnTo>
                    <a:pt x="228" y="144"/>
                  </a:lnTo>
                  <a:lnTo>
                    <a:pt x="228" y="150"/>
                  </a:lnTo>
                  <a:lnTo>
                    <a:pt x="234" y="150"/>
                  </a:lnTo>
                  <a:lnTo>
                    <a:pt x="234" y="144"/>
                  </a:lnTo>
                  <a:lnTo>
                    <a:pt x="240" y="144"/>
                  </a:lnTo>
                  <a:lnTo>
                    <a:pt x="246" y="144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58" y="126"/>
                  </a:lnTo>
                  <a:lnTo>
                    <a:pt x="258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76" y="96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6" y="72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36"/>
                  </a:lnTo>
                  <a:lnTo>
                    <a:pt x="330" y="24"/>
                  </a:lnTo>
                  <a:lnTo>
                    <a:pt x="330" y="18"/>
                  </a:lnTo>
                  <a:lnTo>
                    <a:pt x="330" y="12"/>
                  </a:lnTo>
                  <a:lnTo>
                    <a:pt x="336" y="6"/>
                  </a:lnTo>
                  <a:lnTo>
                    <a:pt x="366" y="0"/>
                  </a:lnTo>
                  <a:lnTo>
                    <a:pt x="372" y="6"/>
                  </a:lnTo>
                  <a:lnTo>
                    <a:pt x="384" y="12"/>
                  </a:lnTo>
                  <a:lnTo>
                    <a:pt x="402" y="12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18"/>
                  </a:lnTo>
                  <a:lnTo>
                    <a:pt x="420" y="18"/>
                  </a:lnTo>
                  <a:lnTo>
                    <a:pt x="426" y="24"/>
                  </a:lnTo>
                  <a:lnTo>
                    <a:pt x="432" y="30"/>
                  </a:lnTo>
                  <a:lnTo>
                    <a:pt x="438" y="36"/>
                  </a:lnTo>
                  <a:lnTo>
                    <a:pt x="444" y="42"/>
                  </a:lnTo>
                  <a:lnTo>
                    <a:pt x="450" y="42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16" y="78"/>
                  </a:lnTo>
                  <a:lnTo>
                    <a:pt x="522" y="102"/>
                  </a:lnTo>
                  <a:lnTo>
                    <a:pt x="522" y="108"/>
                  </a:lnTo>
                  <a:lnTo>
                    <a:pt x="528" y="126"/>
                  </a:lnTo>
                  <a:lnTo>
                    <a:pt x="534" y="126"/>
                  </a:lnTo>
                  <a:lnTo>
                    <a:pt x="540" y="120"/>
                  </a:lnTo>
                  <a:lnTo>
                    <a:pt x="546" y="126"/>
                  </a:lnTo>
                  <a:lnTo>
                    <a:pt x="552" y="126"/>
                  </a:lnTo>
                  <a:lnTo>
                    <a:pt x="558" y="132"/>
                  </a:lnTo>
                  <a:lnTo>
                    <a:pt x="564" y="138"/>
                  </a:lnTo>
                  <a:lnTo>
                    <a:pt x="570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594" y="168"/>
                  </a:lnTo>
                  <a:lnTo>
                    <a:pt x="600" y="174"/>
                  </a:lnTo>
                  <a:lnTo>
                    <a:pt x="606" y="180"/>
                  </a:lnTo>
                  <a:lnTo>
                    <a:pt x="606" y="186"/>
                  </a:lnTo>
                  <a:lnTo>
                    <a:pt x="612" y="192"/>
                  </a:lnTo>
                  <a:lnTo>
                    <a:pt x="612" y="198"/>
                  </a:lnTo>
                  <a:lnTo>
                    <a:pt x="624" y="204"/>
                  </a:lnTo>
                  <a:lnTo>
                    <a:pt x="624" y="210"/>
                  </a:lnTo>
                  <a:lnTo>
                    <a:pt x="630" y="216"/>
                  </a:lnTo>
                  <a:lnTo>
                    <a:pt x="636" y="222"/>
                  </a:lnTo>
                  <a:lnTo>
                    <a:pt x="636" y="228"/>
                  </a:lnTo>
                  <a:lnTo>
                    <a:pt x="636" y="234"/>
                  </a:lnTo>
                  <a:lnTo>
                    <a:pt x="636" y="252"/>
                  </a:lnTo>
                  <a:lnTo>
                    <a:pt x="636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42" y="276"/>
                  </a:lnTo>
                  <a:lnTo>
                    <a:pt x="642" y="282"/>
                  </a:lnTo>
                  <a:lnTo>
                    <a:pt x="642" y="288"/>
                  </a:lnTo>
                  <a:lnTo>
                    <a:pt x="642" y="300"/>
                  </a:lnTo>
                  <a:lnTo>
                    <a:pt x="642" y="306"/>
                  </a:lnTo>
                  <a:lnTo>
                    <a:pt x="636" y="312"/>
                  </a:lnTo>
                  <a:lnTo>
                    <a:pt x="636" y="324"/>
                  </a:lnTo>
                  <a:lnTo>
                    <a:pt x="636" y="342"/>
                  </a:lnTo>
                  <a:lnTo>
                    <a:pt x="630" y="354"/>
                  </a:lnTo>
                  <a:lnTo>
                    <a:pt x="630" y="366"/>
                  </a:lnTo>
                  <a:lnTo>
                    <a:pt x="624" y="378"/>
                  </a:lnTo>
                  <a:lnTo>
                    <a:pt x="624" y="384"/>
                  </a:lnTo>
                  <a:lnTo>
                    <a:pt x="636" y="396"/>
                  </a:lnTo>
                  <a:lnTo>
                    <a:pt x="636" y="402"/>
                  </a:lnTo>
                  <a:lnTo>
                    <a:pt x="636" y="408"/>
                  </a:lnTo>
                  <a:lnTo>
                    <a:pt x="630" y="414"/>
                  </a:lnTo>
                  <a:lnTo>
                    <a:pt x="630" y="420"/>
                  </a:lnTo>
                  <a:lnTo>
                    <a:pt x="630" y="426"/>
                  </a:lnTo>
                  <a:lnTo>
                    <a:pt x="630" y="432"/>
                  </a:lnTo>
                  <a:lnTo>
                    <a:pt x="624" y="438"/>
                  </a:lnTo>
                  <a:lnTo>
                    <a:pt x="624" y="444"/>
                  </a:lnTo>
                  <a:lnTo>
                    <a:pt x="624" y="450"/>
                  </a:lnTo>
                  <a:lnTo>
                    <a:pt x="630" y="450"/>
                  </a:lnTo>
                  <a:lnTo>
                    <a:pt x="630" y="456"/>
                  </a:lnTo>
                  <a:lnTo>
                    <a:pt x="630" y="462"/>
                  </a:lnTo>
                  <a:lnTo>
                    <a:pt x="636" y="468"/>
                  </a:lnTo>
                  <a:lnTo>
                    <a:pt x="642" y="456"/>
                  </a:lnTo>
                  <a:lnTo>
                    <a:pt x="642" y="450"/>
                  </a:lnTo>
                  <a:lnTo>
                    <a:pt x="648" y="450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60" y="444"/>
                  </a:lnTo>
                  <a:lnTo>
                    <a:pt x="666" y="450"/>
                  </a:lnTo>
                  <a:lnTo>
                    <a:pt x="672" y="444"/>
                  </a:lnTo>
                  <a:lnTo>
                    <a:pt x="678" y="444"/>
                  </a:lnTo>
                  <a:lnTo>
                    <a:pt x="684" y="438"/>
                  </a:lnTo>
                  <a:lnTo>
                    <a:pt x="690" y="438"/>
                  </a:lnTo>
                  <a:lnTo>
                    <a:pt x="696" y="438"/>
                  </a:lnTo>
                  <a:lnTo>
                    <a:pt x="702" y="444"/>
                  </a:lnTo>
                  <a:lnTo>
                    <a:pt x="702" y="450"/>
                  </a:lnTo>
                  <a:lnTo>
                    <a:pt x="708" y="450"/>
                  </a:lnTo>
                  <a:lnTo>
                    <a:pt x="708" y="456"/>
                  </a:lnTo>
                  <a:lnTo>
                    <a:pt x="708" y="462"/>
                  </a:lnTo>
                  <a:lnTo>
                    <a:pt x="708" y="468"/>
                  </a:lnTo>
                  <a:lnTo>
                    <a:pt x="708" y="504"/>
                  </a:lnTo>
                  <a:lnTo>
                    <a:pt x="696" y="564"/>
                  </a:lnTo>
                  <a:lnTo>
                    <a:pt x="696" y="582"/>
                  </a:lnTo>
                  <a:lnTo>
                    <a:pt x="696" y="600"/>
                  </a:lnTo>
                  <a:lnTo>
                    <a:pt x="690" y="606"/>
                  </a:lnTo>
                  <a:lnTo>
                    <a:pt x="684" y="606"/>
                  </a:lnTo>
                  <a:lnTo>
                    <a:pt x="690" y="612"/>
                  </a:lnTo>
                  <a:lnTo>
                    <a:pt x="684" y="612"/>
                  </a:lnTo>
                  <a:lnTo>
                    <a:pt x="678" y="618"/>
                  </a:lnTo>
                  <a:lnTo>
                    <a:pt x="672" y="624"/>
                  </a:lnTo>
                  <a:lnTo>
                    <a:pt x="666" y="630"/>
                  </a:lnTo>
                  <a:lnTo>
                    <a:pt x="660" y="636"/>
                  </a:lnTo>
                  <a:lnTo>
                    <a:pt x="672" y="636"/>
                  </a:lnTo>
                  <a:lnTo>
                    <a:pt x="678" y="642"/>
                  </a:lnTo>
                  <a:lnTo>
                    <a:pt x="678" y="648"/>
                  </a:lnTo>
                  <a:lnTo>
                    <a:pt x="684" y="654"/>
                  </a:lnTo>
                  <a:lnTo>
                    <a:pt x="690" y="666"/>
                  </a:lnTo>
                  <a:lnTo>
                    <a:pt x="690" y="672"/>
                  </a:lnTo>
                  <a:lnTo>
                    <a:pt x="696" y="672"/>
                  </a:lnTo>
                  <a:lnTo>
                    <a:pt x="696" y="684"/>
                  </a:lnTo>
                  <a:lnTo>
                    <a:pt x="708" y="690"/>
                  </a:lnTo>
                  <a:lnTo>
                    <a:pt x="720" y="696"/>
                  </a:lnTo>
                  <a:lnTo>
                    <a:pt x="726" y="696"/>
                  </a:lnTo>
                  <a:lnTo>
                    <a:pt x="732" y="696"/>
                  </a:lnTo>
                  <a:lnTo>
                    <a:pt x="738" y="696"/>
                  </a:lnTo>
                  <a:lnTo>
                    <a:pt x="738" y="702"/>
                  </a:lnTo>
                  <a:lnTo>
                    <a:pt x="738" y="708"/>
                  </a:lnTo>
                  <a:lnTo>
                    <a:pt x="738" y="714"/>
                  </a:lnTo>
                  <a:lnTo>
                    <a:pt x="744" y="714"/>
                  </a:lnTo>
                  <a:lnTo>
                    <a:pt x="756" y="720"/>
                  </a:lnTo>
                  <a:lnTo>
                    <a:pt x="780" y="726"/>
                  </a:lnTo>
                  <a:lnTo>
                    <a:pt x="792" y="732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22" y="774"/>
                  </a:lnTo>
                  <a:lnTo>
                    <a:pt x="834" y="786"/>
                  </a:lnTo>
                  <a:lnTo>
                    <a:pt x="834" y="792"/>
                  </a:lnTo>
                  <a:lnTo>
                    <a:pt x="834" y="798"/>
                  </a:lnTo>
                  <a:lnTo>
                    <a:pt x="828" y="798"/>
                  </a:lnTo>
                  <a:lnTo>
                    <a:pt x="828" y="804"/>
                  </a:lnTo>
                  <a:lnTo>
                    <a:pt x="834" y="816"/>
                  </a:lnTo>
                  <a:lnTo>
                    <a:pt x="834" y="834"/>
                  </a:lnTo>
                  <a:lnTo>
                    <a:pt x="834" y="840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34" y="858"/>
                  </a:lnTo>
                  <a:lnTo>
                    <a:pt x="834" y="864"/>
                  </a:lnTo>
                  <a:lnTo>
                    <a:pt x="834" y="876"/>
                  </a:lnTo>
                  <a:lnTo>
                    <a:pt x="828" y="960"/>
                  </a:lnTo>
                  <a:lnTo>
                    <a:pt x="816" y="966"/>
                  </a:lnTo>
                  <a:lnTo>
                    <a:pt x="798" y="972"/>
                  </a:lnTo>
                  <a:lnTo>
                    <a:pt x="786" y="990"/>
                  </a:lnTo>
                  <a:lnTo>
                    <a:pt x="774" y="990"/>
                  </a:lnTo>
                  <a:lnTo>
                    <a:pt x="762" y="1008"/>
                  </a:lnTo>
                  <a:lnTo>
                    <a:pt x="732" y="1014"/>
                  </a:lnTo>
                  <a:lnTo>
                    <a:pt x="714" y="1026"/>
                  </a:lnTo>
                  <a:lnTo>
                    <a:pt x="690" y="1050"/>
                  </a:lnTo>
                  <a:lnTo>
                    <a:pt x="654" y="1056"/>
                  </a:lnTo>
                  <a:lnTo>
                    <a:pt x="630" y="1056"/>
                  </a:lnTo>
                  <a:lnTo>
                    <a:pt x="606" y="1068"/>
                  </a:lnTo>
                  <a:lnTo>
                    <a:pt x="600" y="1092"/>
                  </a:lnTo>
                  <a:lnTo>
                    <a:pt x="600" y="1098"/>
                  </a:lnTo>
                  <a:lnTo>
                    <a:pt x="588" y="1104"/>
                  </a:lnTo>
                  <a:lnTo>
                    <a:pt x="582" y="1104"/>
                  </a:lnTo>
                  <a:lnTo>
                    <a:pt x="570" y="1110"/>
                  </a:lnTo>
                  <a:lnTo>
                    <a:pt x="564" y="111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7" name="Freeform 12">
              <a:extLst>
                <a:ext uri="{FF2B5EF4-FFF2-40B4-BE49-F238E27FC236}">
                  <a16:creationId xmlns:a16="http://schemas.microsoft.com/office/drawing/2014/main" id="{6C93C114-E5D0-49BB-A44C-A127CE01CFE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810" y="2271838"/>
              <a:ext cx="923547" cy="845397"/>
            </a:xfrm>
            <a:custGeom>
              <a:avLst/>
              <a:gdLst>
                <a:gd name="T0" fmla="*/ 138 w 1740"/>
                <a:gd name="T1" fmla="*/ 134 h 1590"/>
                <a:gd name="T2" fmla="*/ 128 w 1740"/>
                <a:gd name="T3" fmla="*/ 131 h 1590"/>
                <a:gd name="T4" fmla="*/ 121 w 1740"/>
                <a:gd name="T5" fmla="*/ 130 h 1590"/>
                <a:gd name="T6" fmla="*/ 119 w 1740"/>
                <a:gd name="T7" fmla="*/ 134 h 1590"/>
                <a:gd name="T8" fmla="*/ 110 w 1740"/>
                <a:gd name="T9" fmla="*/ 132 h 1590"/>
                <a:gd name="T10" fmla="*/ 111 w 1740"/>
                <a:gd name="T11" fmla="*/ 127 h 1590"/>
                <a:gd name="T12" fmla="*/ 103 w 1740"/>
                <a:gd name="T13" fmla="*/ 117 h 1590"/>
                <a:gd name="T14" fmla="*/ 93 w 1740"/>
                <a:gd name="T15" fmla="*/ 123 h 1590"/>
                <a:gd name="T16" fmla="*/ 80 w 1740"/>
                <a:gd name="T17" fmla="*/ 118 h 1590"/>
                <a:gd name="T18" fmla="*/ 66 w 1740"/>
                <a:gd name="T19" fmla="*/ 117 h 1590"/>
                <a:gd name="T20" fmla="*/ 66 w 1740"/>
                <a:gd name="T21" fmla="*/ 110 h 1590"/>
                <a:gd name="T22" fmla="*/ 69 w 1740"/>
                <a:gd name="T23" fmla="*/ 107 h 1590"/>
                <a:gd name="T24" fmla="*/ 68 w 1740"/>
                <a:gd name="T25" fmla="*/ 102 h 1590"/>
                <a:gd name="T26" fmla="*/ 68 w 1740"/>
                <a:gd name="T27" fmla="*/ 96 h 1590"/>
                <a:gd name="T28" fmla="*/ 67 w 1740"/>
                <a:gd name="T29" fmla="*/ 82 h 1590"/>
                <a:gd name="T30" fmla="*/ 58 w 1740"/>
                <a:gd name="T31" fmla="*/ 82 h 1590"/>
                <a:gd name="T32" fmla="*/ 52 w 1740"/>
                <a:gd name="T33" fmla="*/ 82 h 1590"/>
                <a:gd name="T34" fmla="*/ 46 w 1740"/>
                <a:gd name="T35" fmla="*/ 80 h 1590"/>
                <a:gd name="T36" fmla="*/ 45 w 1740"/>
                <a:gd name="T37" fmla="*/ 74 h 1590"/>
                <a:gd name="T38" fmla="*/ 52 w 1740"/>
                <a:gd name="T39" fmla="*/ 70 h 1590"/>
                <a:gd name="T40" fmla="*/ 52 w 1740"/>
                <a:gd name="T41" fmla="*/ 64 h 1590"/>
                <a:gd name="T42" fmla="*/ 42 w 1740"/>
                <a:gd name="T43" fmla="*/ 53 h 1590"/>
                <a:gd name="T44" fmla="*/ 35 w 1740"/>
                <a:gd name="T45" fmla="*/ 52 h 1590"/>
                <a:gd name="T46" fmla="*/ 20 w 1740"/>
                <a:gd name="T47" fmla="*/ 51 h 1590"/>
                <a:gd name="T48" fmla="*/ 17 w 1740"/>
                <a:gd name="T49" fmla="*/ 56 h 1590"/>
                <a:gd name="T50" fmla="*/ 11 w 1740"/>
                <a:gd name="T51" fmla="*/ 61 h 1590"/>
                <a:gd name="T52" fmla="*/ 7 w 1740"/>
                <a:gd name="T53" fmla="*/ 63 h 1590"/>
                <a:gd name="T54" fmla="*/ 0 w 1740"/>
                <a:gd name="T55" fmla="*/ 55 h 1590"/>
                <a:gd name="T56" fmla="*/ 2 w 1740"/>
                <a:gd name="T57" fmla="*/ 50 h 1590"/>
                <a:gd name="T58" fmla="*/ 0 w 1740"/>
                <a:gd name="T59" fmla="*/ 44 h 1590"/>
                <a:gd name="T60" fmla="*/ 2 w 1740"/>
                <a:gd name="T61" fmla="*/ 38 h 1590"/>
                <a:gd name="T62" fmla="*/ 7 w 1740"/>
                <a:gd name="T63" fmla="*/ 35 h 1590"/>
                <a:gd name="T64" fmla="*/ 11 w 1740"/>
                <a:gd name="T65" fmla="*/ 30 h 1590"/>
                <a:gd name="T66" fmla="*/ 21 w 1740"/>
                <a:gd name="T67" fmla="*/ 26 h 1590"/>
                <a:gd name="T68" fmla="*/ 29 w 1740"/>
                <a:gd name="T69" fmla="*/ 25 h 1590"/>
                <a:gd name="T70" fmla="*/ 35 w 1740"/>
                <a:gd name="T71" fmla="*/ 21 h 1590"/>
                <a:gd name="T72" fmla="*/ 36 w 1740"/>
                <a:gd name="T73" fmla="*/ 16 h 1590"/>
                <a:gd name="T74" fmla="*/ 41 w 1740"/>
                <a:gd name="T75" fmla="*/ 11 h 1590"/>
                <a:gd name="T76" fmla="*/ 51 w 1740"/>
                <a:gd name="T77" fmla="*/ 9 h 1590"/>
                <a:gd name="T78" fmla="*/ 59 w 1740"/>
                <a:gd name="T79" fmla="*/ 21 h 1590"/>
                <a:gd name="T80" fmla="*/ 65 w 1740"/>
                <a:gd name="T81" fmla="*/ 13 h 1590"/>
                <a:gd name="T82" fmla="*/ 73 w 1740"/>
                <a:gd name="T83" fmla="*/ 8 h 1590"/>
                <a:gd name="T84" fmla="*/ 82 w 1740"/>
                <a:gd name="T85" fmla="*/ 12 h 1590"/>
                <a:gd name="T86" fmla="*/ 88 w 1740"/>
                <a:gd name="T87" fmla="*/ 12 h 1590"/>
                <a:gd name="T88" fmla="*/ 99 w 1740"/>
                <a:gd name="T89" fmla="*/ 7 h 1590"/>
                <a:gd name="T90" fmla="*/ 114 w 1740"/>
                <a:gd name="T91" fmla="*/ 0 h 1590"/>
                <a:gd name="T92" fmla="*/ 117 w 1740"/>
                <a:gd name="T93" fmla="*/ 10 h 1590"/>
                <a:gd name="T94" fmla="*/ 132 w 1740"/>
                <a:gd name="T95" fmla="*/ 17 h 1590"/>
                <a:gd name="T96" fmla="*/ 140 w 1740"/>
                <a:gd name="T97" fmla="*/ 25 h 1590"/>
                <a:gd name="T98" fmla="*/ 140 w 1740"/>
                <a:gd name="T99" fmla="*/ 33 h 1590"/>
                <a:gd name="T100" fmla="*/ 140 w 1740"/>
                <a:gd name="T101" fmla="*/ 44 h 1590"/>
                <a:gd name="T102" fmla="*/ 138 w 1740"/>
                <a:gd name="T103" fmla="*/ 48 h 1590"/>
                <a:gd name="T104" fmla="*/ 141 w 1740"/>
                <a:gd name="T105" fmla="*/ 49 h 1590"/>
                <a:gd name="T106" fmla="*/ 146 w 1740"/>
                <a:gd name="T107" fmla="*/ 50 h 1590"/>
                <a:gd name="T108" fmla="*/ 149 w 1740"/>
                <a:gd name="T109" fmla="*/ 59 h 1590"/>
                <a:gd name="T110" fmla="*/ 148 w 1740"/>
                <a:gd name="T111" fmla="*/ 67 h 1590"/>
                <a:gd name="T112" fmla="*/ 141 w 1740"/>
                <a:gd name="T113" fmla="*/ 78 h 1590"/>
                <a:gd name="T114" fmla="*/ 141 w 1740"/>
                <a:gd name="T115" fmla="*/ 91 h 1590"/>
                <a:gd name="T116" fmla="*/ 138 w 1740"/>
                <a:gd name="T117" fmla="*/ 102 h 1590"/>
                <a:gd name="T118" fmla="*/ 138 w 1740"/>
                <a:gd name="T119" fmla="*/ 110 h 1590"/>
                <a:gd name="T120" fmla="*/ 144 w 1740"/>
                <a:gd name="T121" fmla="*/ 118 h 1590"/>
                <a:gd name="T122" fmla="*/ 143 w 1740"/>
                <a:gd name="T123" fmla="*/ 125 h 159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740"/>
                <a:gd name="T187" fmla="*/ 0 h 1590"/>
                <a:gd name="T188" fmla="*/ 1740 w 1740"/>
                <a:gd name="T189" fmla="*/ 1590 h 159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740" h="1590">
                  <a:moveTo>
                    <a:pt x="1638" y="1458"/>
                  </a:moveTo>
                  <a:lnTo>
                    <a:pt x="1638" y="1482"/>
                  </a:lnTo>
                  <a:lnTo>
                    <a:pt x="1638" y="1500"/>
                  </a:lnTo>
                  <a:lnTo>
                    <a:pt x="1626" y="1500"/>
                  </a:lnTo>
                  <a:lnTo>
                    <a:pt x="1620" y="1500"/>
                  </a:lnTo>
                  <a:lnTo>
                    <a:pt x="1614" y="1500"/>
                  </a:lnTo>
                  <a:lnTo>
                    <a:pt x="1614" y="1506"/>
                  </a:lnTo>
                  <a:lnTo>
                    <a:pt x="1614" y="1512"/>
                  </a:lnTo>
                  <a:lnTo>
                    <a:pt x="1620" y="1518"/>
                  </a:lnTo>
                  <a:lnTo>
                    <a:pt x="1614" y="1524"/>
                  </a:lnTo>
                  <a:lnTo>
                    <a:pt x="1590" y="1536"/>
                  </a:lnTo>
                  <a:lnTo>
                    <a:pt x="1584" y="1566"/>
                  </a:lnTo>
                  <a:lnTo>
                    <a:pt x="1578" y="1590"/>
                  </a:lnTo>
                  <a:lnTo>
                    <a:pt x="1548" y="1590"/>
                  </a:lnTo>
                  <a:lnTo>
                    <a:pt x="1542" y="1584"/>
                  </a:lnTo>
                  <a:lnTo>
                    <a:pt x="1542" y="1572"/>
                  </a:lnTo>
                  <a:lnTo>
                    <a:pt x="1536" y="1566"/>
                  </a:lnTo>
                  <a:lnTo>
                    <a:pt x="1536" y="1554"/>
                  </a:lnTo>
                  <a:lnTo>
                    <a:pt x="1536" y="1548"/>
                  </a:lnTo>
                  <a:lnTo>
                    <a:pt x="1506" y="1530"/>
                  </a:lnTo>
                  <a:lnTo>
                    <a:pt x="1488" y="1506"/>
                  </a:lnTo>
                  <a:lnTo>
                    <a:pt x="1464" y="1500"/>
                  </a:lnTo>
                  <a:lnTo>
                    <a:pt x="1470" y="1494"/>
                  </a:lnTo>
                  <a:lnTo>
                    <a:pt x="1470" y="1488"/>
                  </a:lnTo>
                  <a:lnTo>
                    <a:pt x="1470" y="1482"/>
                  </a:lnTo>
                  <a:lnTo>
                    <a:pt x="1428" y="1464"/>
                  </a:lnTo>
                  <a:lnTo>
                    <a:pt x="1404" y="1470"/>
                  </a:lnTo>
                  <a:lnTo>
                    <a:pt x="1398" y="1470"/>
                  </a:lnTo>
                  <a:lnTo>
                    <a:pt x="1392" y="1476"/>
                  </a:lnTo>
                  <a:lnTo>
                    <a:pt x="1386" y="1476"/>
                  </a:lnTo>
                  <a:lnTo>
                    <a:pt x="1386" y="1482"/>
                  </a:lnTo>
                  <a:lnTo>
                    <a:pt x="1392" y="1482"/>
                  </a:lnTo>
                  <a:lnTo>
                    <a:pt x="1386" y="1488"/>
                  </a:lnTo>
                  <a:lnTo>
                    <a:pt x="1386" y="1494"/>
                  </a:lnTo>
                  <a:lnTo>
                    <a:pt x="1380" y="1494"/>
                  </a:lnTo>
                  <a:lnTo>
                    <a:pt x="1380" y="1500"/>
                  </a:lnTo>
                  <a:lnTo>
                    <a:pt x="1380" y="1512"/>
                  </a:lnTo>
                  <a:lnTo>
                    <a:pt x="1380" y="1518"/>
                  </a:lnTo>
                  <a:lnTo>
                    <a:pt x="1380" y="1524"/>
                  </a:lnTo>
                  <a:lnTo>
                    <a:pt x="1380" y="1530"/>
                  </a:lnTo>
                  <a:lnTo>
                    <a:pt x="1374" y="1536"/>
                  </a:lnTo>
                  <a:lnTo>
                    <a:pt x="1374" y="1542"/>
                  </a:lnTo>
                  <a:lnTo>
                    <a:pt x="1368" y="1542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44" y="1554"/>
                  </a:lnTo>
                  <a:lnTo>
                    <a:pt x="1332" y="1560"/>
                  </a:lnTo>
                  <a:lnTo>
                    <a:pt x="1302" y="1554"/>
                  </a:lnTo>
                  <a:lnTo>
                    <a:pt x="1290" y="1554"/>
                  </a:lnTo>
                  <a:lnTo>
                    <a:pt x="1278" y="1542"/>
                  </a:lnTo>
                  <a:lnTo>
                    <a:pt x="1272" y="1530"/>
                  </a:lnTo>
                  <a:lnTo>
                    <a:pt x="1272" y="1524"/>
                  </a:lnTo>
                  <a:lnTo>
                    <a:pt x="1272" y="1518"/>
                  </a:lnTo>
                  <a:lnTo>
                    <a:pt x="1266" y="1518"/>
                  </a:lnTo>
                  <a:lnTo>
                    <a:pt x="1266" y="1512"/>
                  </a:lnTo>
                  <a:lnTo>
                    <a:pt x="1266" y="1506"/>
                  </a:lnTo>
                  <a:lnTo>
                    <a:pt x="1272" y="1506"/>
                  </a:lnTo>
                  <a:lnTo>
                    <a:pt x="1272" y="1500"/>
                  </a:lnTo>
                  <a:lnTo>
                    <a:pt x="1278" y="1500"/>
                  </a:lnTo>
                  <a:lnTo>
                    <a:pt x="1278" y="1494"/>
                  </a:lnTo>
                  <a:lnTo>
                    <a:pt x="1278" y="1488"/>
                  </a:lnTo>
                  <a:lnTo>
                    <a:pt x="1284" y="1488"/>
                  </a:lnTo>
                  <a:lnTo>
                    <a:pt x="1284" y="1482"/>
                  </a:lnTo>
                  <a:lnTo>
                    <a:pt x="1290" y="1476"/>
                  </a:lnTo>
                  <a:lnTo>
                    <a:pt x="1284" y="1470"/>
                  </a:lnTo>
                  <a:lnTo>
                    <a:pt x="1278" y="1458"/>
                  </a:lnTo>
                  <a:lnTo>
                    <a:pt x="1278" y="1452"/>
                  </a:lnTo>
                  <a:lnTo>
                    <a:pt x="1260" y="1428"/>
                  </a:lnTo>
                  <a:lnTo>
                    <a:pt x="1254" y="1416"/>
                  </a:lnTo>
                  <a:lnTo>
                    <a:pt x="1254" y="1410"/>
                  </a:lnTo>
                  <a:lnTo>
                    <a:pt x="1248" y="1398"/>
                  </a:lnTo>
                  <a:lnTo>
                    <a:pt x="1242" y="1398"/>
                  </a:lnTo>
                  <a:lnTo>
                    <a:pt x="1236" y="1398"/>
                  </a:lnTo>
                  <a:lnTo>
                    <a:pt x="1218" y="1386"/>
                  </a:lnTo>
                  <a:lnTo>
                    <a:pt x="1212" y="1362"/>
                  </a:lnTo>
                  <a:lnTo>
                    <a:pt x="1200" y="1344"/>
                  </a:lnTo>
                  <a:lnTo>
                    <a:pt x="1188" y="1338"/>
                  </a:lnTo>
                  <a:lnTo>
                    <a:pt x="1164" y="1338"/>
                  </a:lnTo>
                  <a:lnTo>
                    <a:pt x="1158" y="1344"/>
                  </a:lnTo>
                  <a:lnTo>
                    <a:pt x="1152" y="1350"/>
                  </a:lnTo>
                  <a:lnTo>
                    <a:pt x="1152" y="1356"/>
                  </a:lnTo>
                  <a:lnTo>
                    <a:pt x="1140" y="1362"/>
                  </a:lnTo>
                  <a:lnTo>
                    <a:pt x="1134" y="1380"/>
                  </a:lnTo>
                  <a:lnTo>
                    <a:pt x="1116" y="1398"/>
                  </a:lnTo>
                  <a:lnTo>
                    <a:pt x="1110" y="1416"/>
                  </a:lnTo>
                  <a:lnTo>
                    <a:pt x="1086" y="1416"/>
                  </a:lnTo>
                  <a:lnTo>
                    <a:pt x="1080" y="1410"/>
                  </a:lnTo>
                  <a:lnTo>
                    <a:pt x="1074" y="1410"/>
                  </a:lnTo>
                  <a:lnTo>
                    <a:pt x="1074" y="1404"/>
                  </a:lnTo>
                  <a:lnTo>
                    <a:pt x="1062" y="1404"/>
                  </a:lnTo>
                  <a:lnTo>
                    <a:pt x="1062" y="1380"/>
                  </a:lnTo>
                  <a:lnTo>
                    <a:pt x="1038" y="1380"/>
                  </a:lnTo>
                  <a:lnTo>
                    <a:pt x="1026" y="1350"/>
                  </a:lnTo>
                  <a:lnTo>
                    <a:pt x="996" y="1326"/>
                  </a:lnTo>
                  <a:lnTo>
                    <a:pt x="966" y="1314"/>
                  </a:lnTo>
                  <a:lnTo>
                    <a:pt x="954" y="1320"/>
                  </a:lnTo>
                  <a:lnTo>
                    <a:pt x="942" y="1338"/>
                  </a:lnTo>
                  <a:lnTo>
                    <a:pt x="930" y="1338"/>
                  </a:lnTo>
                  <a:lnTo>
                    <a:pt x="924" y="1350"/>
                  </a:lnTo>
                  <a:lnTo>
                    <a:pt x="906" y="1356"/>
                  </a:lnTo>
                  <a:lnTo>
                    <a:pt x="846" y="1356"/>
                  </a:lnTo>
                  <a:lnTo>
                    <a:pt x="834" y="1368"/>
                  </a:lnTo>
                  <a:lnTo>
                    <a:pt x="810" y="1362"/>
                  </a:lnTo>
                  <a:lnTo>
                    <a:pt x="792" y="1362"/>
                  </a:lnTo>
                  <a:lnTo>
                    <a:pt x="780" y="1368"/>
                  </a:lnTo>
                  <a:lnTo>
                    <a:pt x="762" y="1368"/>
                  </a:lnTo>
                  <a:lnTo>
                    <a:pt x="762" y="1362"/>
                  </a:lnTo>
                  <a:lnTo>
                    <a:pt x="750" y="1362"/>
                  </a:lnTo>
                  <a:lnTo>
                    <a:pt x="750" y="1338"/>
                  </a:lnTo>
                  <a:lnTo>
                    <a:pt x="762" y="1338"/>
                  </a:lnTo>
                  <a:lnTo>
                    <a:pt x="762" y="1326"/>
                  </a:lnTo>
                  <a:lnTo>
                    <a:pt x="762" y="1314"/>
                  </a:lnTo>
                  <a:lnTo>
                    <a:pt x="732" y="1314"/>
                  </a:lnTo>
                  <a:lnTo>
                    <a:pt x="726" y="1308"/>
                  </a:lnTo>
                  <a:lnTo>
                    <a:pt x="732" y="1284"/>
                  </a:lnTo>
                  <a:lnTo>
                    <a:pt x="732" y="1278"/>
                  </a:lnTo>
                  <a:lnTo>
                    <a:pt x="738" y="1272"/>
                  </a:lnTo>
                  <a:lnTo>
                    <a:pt x="738" y="1266"/>
                  </a:lnTo>
                  <a:lnTo>
                    <a:pt x="744" y="1266"/>
                  </a:lnTo>
                  <a:lnTo>
                    <a:pt x="750" y="1272"/>
                  </a:lnTo>
                  <a:lnTo>
                    <a:pt x="756" y="1266"/>
                  </a:lnTo>
                  <a:lnTo>
                    <a:pt x="762" y="1266"/>
                  </a:lnTo>
                  <a:lnTo>
                    <a:pt x="768" y="1260"/>
                  </a:lnTo>
                  <a:lnTo>
                    <a:pt x="774" y="1260"/>
                  </a:lnTo>
                  <a:lnTo>
                    <a:pt x="780" y="1254"/>
                  </a:lnTo>
                  <a:lnTo>
                    <a:pt x="774" y="1254"/>
                  </a:lnTo>
                  <a:lnTo>
                    <a:pt x="768" y="1254"/>
                  </a:lnTo>
                  <a:lnTo>
                    <a:pt x="774" y="1248"/>
                  </a:lnTo>
                  <a:lnTo>
                    <a:pt x="774" y="1242"/>
                  </a:lnTo>
                  <a:lnTo>
                    <a:pt x="780" y="1236"/>
                  </a:lnTo>
                  <a:lnTo>
                    <a:pt x="786" y="1236"/>
                  </a:lnTo>
                  <a:lnTo>
                    <a:pt x="792" y="1230"/>
                  </a:lnTo>
                  <a:lnTo>
                    <a:pt x="792" y="1236"/>
                  </a:lnTo>
                  <a:lnTo>
                    <a:pt x="798" y="1236"/>
                  </a:lnTo>
                  <a:lnTo>
                    <a:pt x="798" y="1230"/>
                  </a:lnTo>
                  <a:lnTo>
                    <a:pt x="804" y="1230"/>
                  </a:lnTo>
                  <a:lnTo>
                    <a:pt x="804" y="1218"/>
                  </a:lnTo>
                  <a:lnTo>
                    <a:pt x="804" y="1206"/>
                  </a:lnTo>
                  <a:lnTo>
                    <a:pt x="792" y="1188"/>
                  </a:lnTo>
                  <a:lnTo>
                    <a:pt x="768" y="1182"/>
                  </a:lnTo>
                  <a:lnTo>
                    <a:pt x="768" y="1170"/>
                  </a:lnTo>
                  <a:lnTo>
                    <a:pt x="774" y="1170"/>
                  </a:lnTo>
                  <a:lnTo>
                    <a:pt x="780" y="1170"/>
                  </a:lnTo>
                  <a:lnTo>
                    <a:pt x="786" y="1170"/>
                  </a:lnTo>
                  <a:lnTo>
                    <a:pt x="780" y="1152"/>
                  </a:lnTo>
                  <a:lnTo>
                    <a:pt x="780" y="1146"/>
                  </a:lnTo>
                  <a:lnTo>
                    <a:pt x="744" y="1140"/>
                  </a:lnTo>
                  <a:lnTo>
                    <a:pt x="732" y="1128"/>
                  </a:lnTo>
                  <a:lnTo>
                    <a:pt x="720" y="1122"/>
                  </a:lnTo>
                  <a:lnTo>
                    <a:pt x="732" y="1116"/>
                  </a:lnTo>
                  <a:lnTo>
                    <a:pt x="750" y="1104"/>
                  </a:lnTo>
                  <a:lnTo>
                    <a:pt x="756" y="1116"/>
                  </a:lnTo>
                  <a:lnTo>
                    <a:pt x="774" y="1116"/>
                  </a:lnTo>
                  <a:lnTo>
                    <a:pt x="780" y="1104"/>
                  </a:lnTo>
                  <a:lnTo>
                    <a:pt x="780" y="1080"/>
                  </a:lnTo>
                  <a:lnTo>
                    <a:pt x="786" y="1080"/>
                  </a:lnTo>
                  <a:lnTo>
                    <a:pt x="786" y="1074"/>
                  </a:lnTo>
                  <a:lnTo>
                    <a:pt x="792" y="1074"/>
                  </a:lnTo>
                  <a:lnTo>
                    <a:pt x="786" y="1068"/>
                  </a:lnTo>
                  <a:lnTo>
                    <a:pt x="786" y="1062"/>
                  </a:lnTo>
                  <a:lnTo>
                    <a:pt x="786" y="1056"/>
                  </a:lnTo>
                  <a:lnTo>
                    <a:pt x="792" y="1050"/>
                  </a:lnTo>
                  <a:lnTo>
                    <a:pt x="786" y="1020"/>
                  </a:lnTo>
                  <a:lnTo>
                    <a:pt x="780" y="960"/>
                  </a:lnTo>
                  <a:lnTo>
                    <a:pt x="768" y="942"/>
                  </a:lnTo>
                  <a:lnTo>
                    <a:pt x="732" y="936"/>
                  </a:lnTo>
                  <a:lnTo>
                    <a:pt x="732" y="942"/>
                  </a:lnTo>
                  <a:lnTo>
                    <a:pt x="726" y="942"/>
                  </a:lnTo>
                  <a:lnTo>
                    <a:pt x="720" y="936"/>
                  </a:lnTo>
                  <a:lnTo>
                    <a:pt x="714" y="942"/>
                  </a:lnTo>
                  <a:lnTo>
                    <a:pt x="708" y="942"/>
                  </a:lnTo>
                  <a:lnTo>
                    <a:pt x="702" y="942"/>
                  </a:lnTo>
                  <a:lnTo>
                    <a:pt x="690" y="936"/>
                  </a:lnTo>
                  <a:lnTo>
                    <a:pt x="684" y="936"/>
                  </a:lnTo>
                  <a:lnTo>
                    <a:pt x="678" y="936"/>
                  </a:lnTo>
                  <a:lnTo>
                    <a:pt x="672" y="936"/>
                  </a:lnTo>
                  <a:lnTo>
                    <a:pt x="666" y="942"/>
                  </a:lnTo>
                  <a:lnTo>
                    <a:pt x="660" y="942"/>
                  </a:lnTo>
                  <a:lnTo>
                    <a:pt x="654" y="942"/>
                  </a:lnTo>
                  <a:lnTo>
                    <a:pt x="648" y="942"/>
                  </a:lnTo>
                  <a:lnTo>
                    <a:pt x="642" y="936"/>
                  </a:lnTo>
                  <a:lnTo>
                    <a:pt x="636" y="936"/>
                  </a:lnTo>
                  <a:lnTo>
                    <a:pt x="630" y="930"/>
                  </a:lnTo>
                  <a:lnTo>
                    <a:pt x="618" y="930"/>
                  </a:lnTo>
                  <a:lnTo>
                    <a:pt x="612" y="930"/>
                  </a:lnTo>
                  <a:lnTo>
                    <a:pt x="606" y="936"/>
                  </a:lnTo>
                  <a:lnTo>
                    <a:pt x="600" y="942"/>
                  </a:lnTo>
                  <a:lnTo>
                    <a:pt x="600" y="936"/>
                  </a:lnTo>
                  <a:lnTo>
                    <a:pt x="594" y="930"/>
                  </a:lnTo>
                  <a:lnTo>
                    <a:pt x="588" y="930"/>
                  </a:lnTo>
                  <a:lnTo>
                    <a:pt x="582" y="930"/>
                  </a:lnTo>
                  <a:lnTo>
                    <a:pt x="576" y="930"/>
                  </a:lnTo>
                  <a:lnTo>
                    <a:pt x="564" y="936"/>
                  </a:lnTo>
                  <a:lnTo>
                    <a:pt x="558" y="936"/>
                  </a:lnTo>
                  <a:lnTo>
                    <a:pt x="546" y="924"/>
                  </a:lnTo>
                  <a:lnTo>
                    <a:pt x="540" y="924"/>
                  </a:lnTo>
                  <a:lnTo>
                    <a:pt x="534" y="918"/>
                  </a:lnTo>
                  <a:lnTo>
                    <a:pt x="528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6" y="918"/>
                  </a:lnTo>
                  <a:lnTo>
                    <a:pt x="516" y="912"/>
                  </a:lnTo>
                  <a:lnTo>
                    <a:pt x="510" y="894"/>
                  </a:lnTo>
                  <a:lnTo>
                    <a:pt x="510" y="882"/>
                  </a:lnTo>
                  <a:lnTo>
                    <a:pt x="510" y="876"/>
                  </a:lnTo>
                  <a:lnTo>
                    <a:pt x="516" y="870"/>
                  </a:lnTo>
                  <a:lnTo>
                    <a:pt x="510" y="864"/>
                  </a:lnTo>
                  <a:lnTo>
                    <a:pt x="516" y="858"/>
                  </a:lnTo>
                  <a:lnTo>
                    <a:pt x="522" y="858"/>
                  </a:lnTo>
                  <a:lnTo>
                    <a:pt x="528" y="858"/>
                  </a:lnTo>
                  <a:lnTo>
                    <a:pt x="522" y="852"/>
                  </a:lnTo>
                  <a:lnTo>
                    <a:pt x="528" y="852"/>
                  </a:lnTo>
                  <a:lnTo>
                    <a:pt x="528" y="846"/>
                  </a:lnTo>
                  <a:lnTo>
                    <a:pt x="552" y="846"/>
                  </a:lnTo>
                  <a:lnTo>
                    <a:pt x="558" y="840"/>
                  </a:lnTo>
                  <a:lnTo>
                    <a:pt x="564" y="828"/>
                  </a:lnTo>
                  <a:lnTo>
                    <a:pt x="570" y="816"/>
                  </a:lnTo>
                  <a:lnTo>
                    <a:pt x="582" y="810"/>
                  </a:lnTo>
                  <a:lnTo>
                    <a:pt x="588" y="804"/>
                  </a:lnTo>
                  <a:lnTo>
                    <a:pt x="594" y="804"/>
                  </a:lnTo>
                  <a:lnTo>
                    <a:pt x="594" y="792"/>
                  </a:lnTo>
                  <a:lnTo>
                    <a:pt x="600" y="786"/>
                  </a:lnTo>
                  <a:lnTo>
                    <a:pt x="606" y="780"/>
                  </a:lnTo>
                  <a:lnTo>
                    <a:pt x="612" y="774"/>
                  </a:lnTo>
                  <a:lnTo>
                    <a:pt x="618" y="774"/>
                  </a:lnTo>
                  <a:lnTo>
                    <a:pt x="618" y="768"/>
                  </a:lnTo>
                  <a:lnTo>
                    <a:pt x="618" y="762"/>
                  </a:lnTo>
                  <a:lnTo>
                    <a:pt x="624" y="756"/>
                  </a:lnTo>
                  <a:lnTo>
                    <a:pt x="618" y="750"/>
                  </a:lnTo>
                  <a:lnTo>
                    <a:pt x="618" y="744"/>
                  </a:lnTo>
                  <a:lnTo>
                    <a:pt x="600" y="738"/>
                  </a:lnTo>
                  <a:lnTo>
                    <a:pt x="558" y="744"/>
                  </a:lnTo>
                  <a:lnTo>
                    <a:pt x="552" y="732"/>
                  </a:lnTo>
                  <a:lnTo>
                    <a:pt x="546" y="720"/>
                  </a:lnTo>
                  <a:lnTo>
                    <a:pt x="564" y="702"/>
                  </a:lnTo>
                  <a:lnTo>
                    <a:pt x="570" y="684"/>
                  </a:lnTo>
                  <a:lnTo>
                    <a:pt x="564" y="648"/>
                  </a:lnTo>
                  <a:lnTo>
                    <a:pt x="534" y="624"/>
                  </a:lnTo>
                  <a:lnTo>
                    <a:pt x="504" y="612"/>
                  </a:lnTo>
                  <a:lnTo>
                    <a:pt x="498" y="606"/>
                  </a:lnTo>
                  <a:lnTo>
                    <a:pt x="492" y="600"/>
                  </a:lnTo>
                  <a:lnTo>
                    <a:pt x="486" y="606"/>
                  </a:lnTo>
                  <a:lnTo>
                    <a:pt x="480" y="558"/>
                  </a:lnTo>
                  <a:lnTo>
                    <a:pt x="462" y="546"/>
                  </a:lnTo>
                  <a:lnTo>
                    <a:pt x="408" y="540"/>
                  </a:lnTo>
                  <a:lnTo>
                    <a:pt x="408" y="546"/>
                  </a:lnTo>
                  <a:lnTo>
                    <a:pt x="408" y="558"/>
                  </a:lnTo>
                  <a:lnTo>
                    <a:pt x="408" y="564"/>
                  </a:lnTo>
                  <a:lnTo>
                    <a:pt x="408" y="570"/>
                  </a:lnTo>
                  <a:lnTo>
                    <a:pt x="414" y="582"/>
                  </a:lnTo>
                  <a:lnTo>
                    <a:pt x="408" y="594"/>
                  </a:lnTo>
                  <a:lnTo>
                    <a:pt x="414" y="594"/>
                  </a:lnTo>
                  <a:lnTo>
                    <a:pt x="408" y="600"/>
                  </a:lnTo>
                  <a:lnTo>
                    <a:pt x="348" y="600"/>
                  </a:lnTo>
                  <a:lnTo>
                    <a:pt x="324" y="600"/>
                  </a:lnTo>
                  <a:lnTo>
                    <a:pt x="324" y="612"/>
                  </a:lnTo>
                  <a:lnTo>
                    <a:pt x="306" y="618"/>
                  </a:lnTo>
                  <a:lnTo>
                    <a:pt x="312" y="618"/>
                  </a:lnTo>
                  <a:lnTo>
                    <a:pt x="294" y="588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76"/>
                  </a:lnTo>
                  <a:lnTo>
                    <a:pt x="240" y="582"/>
                  </a:lnTo>
                  <a:lnTo>
                    <a:pt x="234" y="582"/>
                  </a:lnTo>
                  <a:lnTo>
                    <a:pt x="228" y="588"/>
                  </a:lnTo>
                  <a:lnTo>
                    <a:pt x="222" y="588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8" y="600"/>
                  </a:lnTo>
                  <a:lnTo>
                    <a:pt x="192" y="612"/>
                  </a:lnTo>
                  <a:lnTo>
                    <a:pt x="192" y="618"/>
                  </a:lnTo>
                  <a:lnTo>
                    <a:pt x="198" y="624"/>
                  </a:lnTo>
                  <a:lnTo>
                    <a:pt x="192" y="624"/>
                  </a:lnTo>
                  <a:lnTo>
                    <a:pt x="192" y="630"/>
                  </a:lnTo>
                  <a:lnTo>
                    <a:pt x="192" y="642"/>
                  </a:lnTo>
                  <a:lnTo>
                    <a:pt x="180" y="648"/>
                  </a:lnTo>
                  <a:lnTo>
                    <a:pt x="174" y="654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6"/>
                  </a:lnTo>
                  <a:lnTo>
                    <a:pt x="156" y="672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90"/>
                  </a:lnTo>
                  <a:lnTo>
                    <a:pt x="132" y="690"/>
                  </a:lnTo>
                  <a:lnTo>
                    <a:pt x="126" y="702"/>
                  </a:lnTo>
                  <a:lnTo>
                    <a:pt x="132" y="708"/>
                  </a:lnTo>
                  <a:lnTo>
                    <a:pt x="126" y="708"/>
                  </a:lnTo>
                  <a:lnTo>
                    <a:pt x="120" y="708"/>
                  </a:lnTo>
                  <a:lnTo>
                    <a:pt x="114" y="708"/>
                  </a:lnTo>
                  <a:lnTo>
                    <a:pt x="108" y="708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78" y="720"/>
                  </a:lnTo>
                  <a:lnTo>
                    <a:pt x="72" y="720"/>
                  </a:lnTo>
                  <a:lnTo>
                    <a:pt x="66" y="720"/>
                  </a:lnTo>
                  <a:lnTo>
                    <a:pt x="54" y="732"/>
                  </a:lnTo>
                  <a:lnTo>
                    <a:pt x="48" y="702"/>
                  </a:lnTo>
                  <a:lnTo>
                    <a:pt x="36" y="666"/>
                  </a:lnTo>
                  <a:lnTo>
                    <a:pt x="0" y="660"/>
                  </a:lnTo>
                  <a:lnTo>
                    <a:pt x="6" y="660"/>
                  </a:lnTo>
                  <a:lnTo>
                    <a:pt x="6" y="654"/>
                  </a:lnTo>
                  <a:lnTo>
                    <a:pt x="6" y="648"/>
                  </a:lnTo>
                  <a:lnTo>
                    <a:pt x="6" y="642"/>
                  </a:lnTo>
                  <a:lnTo>
                    <a:pt x="6" y="624"/>
                  </a:lnTo>
                  <a:lnTo>
                    <a:pt x="6" y="612"/>
                  </a:lnTo>
                  <a:lnTo>
                    <a:pt x="6" y="606"/>
                  </a:lnTo>
                  <a:lnTo>
                    <a:pt x="12" y="612"/>
                  </a:lnTo>
                  <a:lnTo>
                    <a:pt x="18" y="606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30" y="594"/>
                  </a:lnTo>
                  <a:lnTo>
                    <a:pt x="30" y="588"/>
                  </a:lnTo>
                  <a:lnTo>
                    <a:pt x="30" y="582"/>
                  </a:lnTo>
                  <a:lnTo>
                    <a:pt x="24" y="576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18" y="558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36" y="528"/>
                  </a:lnTo>
                  <a:lnTo>
                    <a:pt x="30" y="522"/>
                  </a:lnTo>
                  <a:lnTo>
                    <a:pt x="24" y="522"/>
                  </a:lnTo>
                  <a:lnTo>
                    <a:pt x="18" y="510"/>
                  </a:lnTo>
                  <a:lnTo>
                    <a:pt x="12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8" y="474"/>
                  </a:lnTo>
                  <a:lnTo>
                    <a:pt x="12" y="468"/>
                  </a:lnTo>
                  <a:lnTo>
                    <a:pt x="12" y="462"/>
                  </a:lnTo>
                  <a:lnTo>
                    <a:pt x="18" y="456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0" y="420"/>
                  </a:lnTo>
                  <a:lnTo>
                    <a:pt x="30" y="414"/>
                  </a:lnTo>
                  <a:lnTo>
                    <a:pt x="48" y="414"/>
                  </a:lnTo>
                  <a:lnTo>
                    <a:pt x="54" y="408"/>
                  </a:lnTo>
                  <a:lnTo>
                    <a:pt x="60" y="402"/>
                  </a:lnTo>
                  <a:lnTo>
                    <a:pt x="66" y="402"/>
                  </a:lnTo>
                  <a:lnTo>
                    <a:pt x="72" y="402"/>
                  </a:lnTo>
                  <a:lnTo>
                    <a:pt x="78" y="408"/>
                  </a:lnTo>
                  <a:lnTo>
                    <a:pt x="84" y="396"/>
                  </a:lnTo>
                  <a:lnTo>
                    <a:pt x="90" y="390"/>
                  </a:lnTo>
                  <a:lnTo>
                    <a:pt x="90" y="378"/>
                  </a:lnTo>
                  <a:lnTo>
                    <a:pt x="96" y="372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8" y="354"/>
                  </a:lnTo>
                  <a:lnTo>
                    <a:pt x="114" y="348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32" y="336"/>
                  </a:lnTo>
                  <a:lnTo>
                    <a:pt x="132" y="330"/>
                  </a:lnTo>
                  <a:lnTo>
                    <a:pt x="138" y="324"/>
                  </a:lnTo>
                  <a:lnTo>
                    <a:pt x="138" y="318"/>
                  </a:lnTo>
                  <a:lnTo>
                    <a:pt x="144" y="306"/>
                  </a:lnTo>
                  <a:lnTo>
                    <a:pt x="156" y="306"/>
                  </a:lnTo>
                  <a:lnTo>
                    <a:pt x="186" y="300"/>
                  </a:lnTo>
                  <a:lnTo>
                    <a:pt x="198" y="300"/>
                  </a:lnTo>
                  <a:lnTo>
                    <a:pt x="210" y="300"/>
                  </a:lnTo>
                  <a:lnTo>
                    <a:pt x="222" y="300"/>
                  </a:lnTo>
                  <a:lnTo>
                    <a:pt x="246" y="300"/>
                  </a:lnTo>
                  <a:lnTo>
                    <a:pt x="264" y="312"/>
                  </a:lnTo>
                  <a:lnTo>
                    <a:pt x="270" y="312"/>
                  </a:lnTo>
                  <a:lnTo>
                    <a:pt x="282" y="306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300" y="306"/>
                  </a:lnTo>
                  <a:lnTo>
                    <a:pt x="312" y="306"/>
                  </a:lnTo>
                  <a:lnTo>
                    <a:pt x="318" y="300"/>
                  </a:lnTo>
                  <a:lnTo>
                    <a:pt x="324" y="300"/>
                  </a:lnTo>
                  <a:lnTo>
                    <a:pt x="330" y="294"/>
                  </a:lnTo>
                  <a:lnTo>
                    <a:pt x="336" y="288"/>
                  </a:lnTo>
                  <a:lnTo>
                    <a:pt x="354" y="288"/>
                  </a:lnTo>
                  <a:lnTo>
                    <a:pt x="360" y="288"/>
                  </a:lnTo>
                  <a:lnTo>
                    <a:pt x="366" y="282"/>
                  </a:lnTo>
                  <a:lnTo>
                    <a:pt x="372" y="282"/>
                  </a:lnTo>
                  <a:lnTo>
                    <a:pt x="378" y="282"/>
                  </a:lnTo>
                  <a:lnTo>
                    <a:pt x="384" y="276"/>
                  </a:lnTo>
                  <a:lnTo>
                    <a:pt x="384" y="270"/>
                  </a:lnTo>
                  <a:lnTo>
                    <a:pt x="390" y="264"/>
                  </a:lnTo>
                  <a:lnTo>
                    <a:pt x="402" y="258"/>
                  </a:lnTo>
                  <a:lnTo>
                    <a:pt x="402" y="252"/>
                  </a:lnTo>
                  <a:lnTo>
                    <a:pt x="402" y="246"/>
                  </a:lnTo>
                  <a:lnTo>
                    <a:pt x="408" y="234"/>
                  </a:lnTo>
                  <a:lnTo>
                    <a:pt x="414" y="234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14" y="216"/>
                  </a:lnTo>
                  <a:lnTo>
                    <a:pt x="414" y="210"/>
                  </a:lnTo>
                  <a:lnTo>
                    <a:pt x="420" y="210"/>
                  </a:lnTo>
                  <a:lnTo>
                    <a:pt x="414" y="198"/>
                  </a:lnTo>
                  <a:lnTo>
                    <a:pt x="414" y="192"/>
                  </a:lnTo>
                  <a:lnTo>
                    <a:pt x="420" y="192"/>
                  </a:lnTo>
                  <a:lnTo>
                    <a:pt x="420" y="186"/>
                  </a:lnTo>
                  <a:lnTo>
                    <a:pt x="420" y="174"/>
                  </a:lnTo>
                  <a:lnTo>
                    <a:pt x="420" y="168"/>
                  </a:lnTo>
                  <a:lnTo>
                    <a:pt x="426" y="162"/>
                  </a:lnTo>
                  <a:lnTo>
                    <a:pt x="432" y="156"/>
                  </a:lnTo>
                  <a:lnTo>
                    <a:pt x="438" y="144"/>
                  </a:lnTo>
                  <a:lnTo>
                    <a:pt x="444" y="144"/>
                  </a:lnTo>
                  <a:lnTo>
                    <a:pt x="450" y="138"/>
                  </a:lnTo>
                  <a:lnTo>
                    <a:pt x="456" y="138"/>
                  </a:lnTo>
                  <a:lnTo>
                    <a:pt x="462" y="132"/>
                  </a:lnTo>
                  <a:lnTo>
                    <a:pt x="462" y="126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0"/>
                  </a:lnTo>
                  <a:lnTo>
                    <a:pt x="486" y="108"/>
                  </a:lnTo>
                  <a:lnTo>
                    <a:pt x="492" y="108"/>
                  </a:lnTo>
                  <a:lnTo>
                    <a:pt x="498" y="102"/>
                  </a:lnTo>
                  <a:lnTo>
                    <a:pt x="504" y="96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40" y="102"/>
                  </a:lnTo>
                  <a:lnTo>
                    <a:pt x="552" y="108"/>
                  </a:lnTo>
                  <a:lnTo>
                    <a:pt x="582" y="102"/>
                  </a:lnTo>
                  <a:lnTo>
                    <a:pt x="594" y="126"/>
                  </a:lnTo>
                  <a:lnTo>
                    <a:pt x="594" y="144"/>
                  </a:lnTo>
                  <a:lnTo>
                    <a:pt x="588" y="156"/>
                  </a:lnTo>
                  <a:lnTo>
                    <a:pt x="588" y="168"/>
                  </a:lnTo>
                  <a:lnTo>
                    <a:pt x="582" y="180"/>
                  </a:lnTo>
                  <a:lnTo>
                    <a:pt x="570" y="192"/>
                  </a:lnTo>
                  <a:lnTo>
                    <a:pt x="594" y="192"/>
                  </a:lnTo>
                  <a:lnTo>
                    <a:pt x="618" y="198"/>
                  </a:lnTo>
                  <a:lnTo>
                    <a:pt x="642" y="210"/>
                  </a:lnTo>
                  <a:lnTo>
                    <a:pt x="660" y="234"/>
                  </a:lnTo>
                  <a:lnTo>
                    <a:pt x="678" y="246"/>
                  </a:lnTo>
                  <a:lnTo>
                    <a:pt x="684" y="252"/>
                  </a:lnTo>
                  <a:lnTo>
                    <a:pt x="702" y="252"/>
                  </a:lnTo>
                  <a:lnTo>
                    <a:pt x="732" y="234"/>
                  </a:lnTo>
                  <a:lnTo>
                    <a:pt x="732" y="222"/>
                  </a:lnTo>
                  <a:lnTo>
                    <a:pt x="720" y="216"/>
                  </a:lnTo>
                  <a:lnTo>
                    <a:pt x="714" y="198"/>
                  </a:lnTo>
                  <a:lnTo>
                    <a:pt x="714" y="174"/>
                  </a:lnTo>
                  <a:lnTo>
                    <a:pt x="720" y="162"/>
                  </a:lnTo>
                  <a:lnTo>
                    <a:pt x="726" y="162"/>
                  </a:lnTo>
                  <a:lnTo>
                    <a:pt x="732" y="156"/>
                  </a:lnTo>
                  <a:lnTo>
                    <a:pt x="744" y="150"/>
                  </a:lnTo>
                  <a:lnTo>
                    <a:pt x="774" y="162"/>
                  </a:lnTo>
                  <a:lnTo>
                    <a:pt x="786" y="162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16" y="150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2" y="132"/>
                  </a:lnTo>
                  <a:lnTo>
                    <a:pt x="822" y="114"/>
                  </a:lnTo>
                  <a:lnTo>
                    <a:pt x="828" y="108"/>
                  </a:lnTo>
                  <a:lnTo>
                    <a:pt x="834" y="96"/>
                  </a:lnTo>
                  <a:lnTo>
                    <a:pt x="846" y="96"/>
                  </a:lnTo>
                  <a:lnTo>
                    <a:pt x="858" y="90"/>
                  </a:lnTo>
                  <a:lnTo>
                    <a:pt x="870" y="84"/>
                  </a:lnTo>
                  <a:lnTo>
                    <a:pt x="888" y="84"/>
                  </a:lnTo>
                  <a:lnTo>
                    <a:pt x="894" y="90"/>
                  </a:lnTo>
                  <a:lnTo>
                    <a:pt x="894" y="102"/>
                  </a:lnTo>
                  <a:lnTo>
                    <a:pt x="900" y="102"/>
                  </a:lnTo>
                  <a:lnTo>
                    <a:pt x="906" y="114"/>
                  </a:lnTo>
                  <a:lnTo>
                    <a:pt x="930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54" y="138"/>
                  </a:lnTo>
                  <a:lnTo>
                    <a:pt x="966" y="144"/>
                  </a:lnTo>
                  <a:lnTo>
                    <a:pt x="966" y="150"/>
                  </a:lnTo>
                  <a:lnTo>
                    <a:pt x="972" y="150"/>
                  </a:lnTo>
                  <a:lnTo>
                    <a:pt x="978" y="150"/>
                  </a:lnTo>
                  <a:lnTo>
                    <a:pt x="978" y="144"/>
                  </a:lnTo>
                  <a:lnTo>
                    <a:pt x="984" y="144"/>
                  </a:lnTo>
                  <a:lnTo>
                    <a:pt x="990" y="138"/>
                  </a:lnTo>
                  <a:lnTo>
                    <a:pt x="996" y="138"/>
                  </a:lnTo>
                  <a:lnTo>
                    <a:pt x="1002" y="138"/>
                  </a:lnTo>
                  <a:lnTo>
                    <a:pt x="1008" y="138"/>
                  </a:lnTo>
                  <a:lnTo>
                    <a:pt x="1026" y="132"/>
                  </a:lnTo>
                  <a:lnTo>
                    <a:pt x="1044" y="126"/>
                  </a:lnTo>
                  <a:lnTo>
                    <a:pt x="1056" y="120"/>
                  </a:lnTo>
                  <a:lnTo>
                    <a:pt x="1062" y="108"/>
                  </a:lnTo>
                  <a:lnTo>
                    <a:pt x="1056" y="102"/>
                  </a:lnTo>
                  <a:lnTo>
                    <a:pt x="1062" y="96"/>
                  </a:lnTo>
                  <a:lnTo>
                    <a:pt x="1074" y="90"/>
                  </a:lnTo>
                  <a:lnTo>
                    <a:pt x="1080" y="84"/>
                  </a:lnTo>
                  <a:lnTo>
                    <a:pt x="1128" y="84"/>
                  </a:lnTo>
                  <a:lnTo>
                    <a:pt x="1134" y="84"/>
                  </a:lnTo>
                  <a:lnTo>
                    <a:pt x="1140" y="78"/>
                  </a:lnTo>
                  <a:lnTo>
                    <a:pt x="1152" y="72"/>
                  </a:lnTo>
                  <a:lnTo>
                    <a:pt x="1164" y="66"/>
                  </a:lnTo>
                  <a:lnTo>
                    <a:pt x="1170" y="60"/>
                  </a:lnTo>
                  <a:lnTo>
                    <a:pt x="1188" y="48"/>
                  </a:lnTo>
                  <a:lnTo>
                    <a:pt x="1200" y="36"/>
                  </a:lnTo>
                  <a:lnTo>
                    <a:pt x="1218" y="24"/>
                  </a:lnTo>
                  <a:lnTo>
                    <a:pt x="1248" y="24"/>
                  </a:lnTo>
                  <a:lnTo>
                    <a:pt x="1272" y="24"/>
                  </a:lnTo>
                  <a:lnTo>
                    <a:pt x="1284" y="12"/>
                  </a:lnTo>
                  <a:lnTo>
                    <a:pt x="1302" y="0"/>
                  </a:lnTo>
                  <a:lnTo>
                    <a:pt x="1314" y="0"/>
                  </a:lnTo>
                  <a:lnTo>
                    <a:pt x="1326" y="18"/>
                  </a:lnTo>
                  <a:lnTo>
                    <a:pt x="1338" y="30"/>
                  </a:lnTo>
                  <a:lnTo>
                    <a:pt x="1338" y="54"/>
                  </a:lnTo>
                  <a:lnTo>
                    <a:pt x="1332" y="72"/>
                  </a:lnTo>
                  <a:lnTo>
                    <a:pt x="1326" y="72"/>
                  </a:lnTo>
                  <a:lnTo>
                    <a:pt x="1326" y="78"/>
                  </a:lnTo>
                  <a:lnTo>
                    <a:pt x="1326" y="102"/>
                  </a:lnTo>
                  <a:lnTo>
                    <a:pt x="1332" y="102"/>
                  </a:lnTo>
                  <a:lnTo>
                    <a:pt x="1332" y="108"/>
                  </a:lnTo>
                  <a:lnTo>
                    <a:pt x="1344" y="114"/>
                  </a:lnTo>
                  <a:lnTo>
                    <a:pt x="1350" y="114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404" y="132"/>
                  </a:lnTo>
                  <a:lnTo>
                    <a:pt x="1404" y="138"/>
                  </a:lnTo>
                  <a:lnTo>
                    <a:pt x="1410" y="150"/>
                  </a:lnTo>
                  <a:lnTo>
                    <a:pt x="1416" y="162"/>
                  </a:lnTo>
                  <a:lnTo>
                    <a:pt x="1428" y="168"/>
                  </a:lnTo>
                  <a:lnTo>
                    <a:pt x="1440" y="180"/>
                  </a:lnTo>
                  <a:lnTo>
                    <a:pt x="1476" y="174"/>
                  </a:lnTo>
                  <a:lnTo>
                    <a:pt x="1494" y="174"/>
                  </a:lnTo>
                  <a:lnTo>
                    <a:pt x="1512" y="192"/>
                  </a:lnTo>
                  <a:lnTo>
                    <a:pt x="1518" y="204"/>
                  </a:lnTo>
                  <a:lnTo>
                    <a:pt x="1530" y="216"/>
                  </a:lnTo>
                  <a:lnTo>
                    <a:pt x="1548" y="228"/>
                  </a:lnTo>
                  <a:lnTo>
                    <a:pt x="1548" y="234"/>
                  </a:lnTo>
                  <a:lnTo>
                    <a:pt x="1542" y="246"/>
                  </a:lnTo>
                  <a:lnTo>
                    <a:pt x="1560" y="246"/>
                  </a:lnTo>
                  <a:lnTo>
                    <a:pt x="1560" y="252"/>
                  </a:lnTo>
                  <a:lnTo>
                    <a:pt x="1566" y="258"/>
                  </a:lnTo>
                  <a:lnTo>
                    <a:pt x="1578" y="270"/>
                  </a:lnTo>
                  <a:lnTo>
                    <a:pt x="1596" y="270"/>
                  </a:lnTo>
                  <a:lnTo>
                    <a:pt x="1602" y="288"/>
                  </a:lnTo>
                  <a:lnTo>
                    <a:pt x="1608" y="306"/>
                  </a:lnTo>
                  <a:lnTo>
                    <a:pt x="1608" y="318"/>
                  </a:lnTo>
                  <a:lnTo>
                    <a:pt x="1608" y="324"/>
                  </a:lnTo>
                  <a:lnTo>
                    <a:pt x="1614" y="330"/>
                  </a:lnTo>
                  <a:lnTo>
                    <a:pt x="1614" y="336"/>
                  </a:lnTo>
                  <a:lnTo>
                    <a:pt x="1614" y="342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08" y="390"/>
                  </a:lnTo>
                  <a:lnTo>
                    <a:pt x="1602" y="390"/>
                  </a:lnTo>
                  <a:lnTo>
                    <a:pt x="1602" y="396"/>
                  </a:lnTo>
                  <a:lnTo>
                    <a:pt x="1584" y="420"/>
                  </a:lnTo>
                  <a:lnTo>
                    <a:pt x="1584" y="426"/>
                  </a:lnTo>
                  <a:lnTo>
                    <a:pt x="1602" y="474"/>
                  </a:lnTo>
                  <a:lnTo>
                    <a:pt x="1608" y="480"/>
                  </a:lnTo>
                  <a:lnTo>
                    <a:pt x="1608" y="486"/>
                  </a:lnTo>
                  <a:lnTo>
                    <a:pt x="1614" y="486"/>
                  </a:lnTo>
                  <a:lnTo>
                    <a:pt x="1608" y="504"/>
                  </a:lnTo>
                  <a:lnTo>
                    <a:pt x="1572" y="504"/>
                  </a:lnTo>
                  <a:lnTo>
                    <a:pt x="1560" y="510"/>
                  </a:lnTo>
                  <a:lnTo>
                    <a:pt x="1554" y="522"/>
                  </a:lnTo>
                  <a:lnTo>
                    <a:pt x="1560" y="552"/>
                  </a:lnTo>
                  <a:lnTo>
                    <a:pt x="1566" y="552"/>
                  </a:lnTo>
                  <a:lnTo>
                    <a:pt x="1566" y="558"/>
                  </a:lnTo>
                  <a:lnTo>
                    <a:pt x="1572" y="558"/>
                  </a:lnTo>
                  <a:lnTo>
                    <a:pt x="1578" y="558"/>
                  </a:lnTo>
                  <a:lnTo>
                    <a:pt x="1578" y="552"/>
                  </a:lnTo>
                  <a:lnTo>
                    <a:pt x="1584" y="552"/>
                  </a:lnTo>
                  <a:lnTo>
                    <a:pt x="1590" y="552"/>
                  </a:lnTo>
                  <a:lnTo>
                    <a:pt x="1590" y="546"/>
                  </a:lnTo>
                  <a:lnTo>
                    <a:pt x="1596" y="546"/>
                  </a:lnTo>
                  <a:lnTo>
                    <a:pt x="1602" y="552"/>
                  </a:lnTo>
                  <a:lnTo>
                    <a:pt x="1602" y="546"/>
                  </a:lnTo>
                  <a:lnTo>
                    <a:pt x="1608" y="546"/>
                  </a:lnTo>
                  <a:lnTo>
                    <a:pt x="1608" y="552"/>
                  </a:lnTo>
                  <a:lnTo>
                    <a:pt x="1614" y="552"/>
                  </a:lnTo>
                  <a:lnTo>
                    <a:pt x="1614" y="546"/>
                  </a:lnTo>
                  <a:lnTo>
                    <a:pt x="1620" y="552"/>
                  </a:lnTo>
                  <a:lnTo>
                    <a:pt x="1626" y="552"/>
                  </a:lnTo>
                  <a:lnTo>
                    <a:pt x="1626" y="558"/>
                  </a:lnTo>
                  <a:lnTo>
                    <a:pt x="1632" y="558"/>
                  </a:lnTo>
                  <a:lnTo>
                    <a:pt x="1638" y="558"/>
                  </a:lnTo>
                  <a:lnTo>
                    <a:pt x="1644" y="558"/>
                  </a:lnTo>
                  <a:lnTo>
                    <a:pt x="1650" y="558"/>
                  </a:lnTo>
                  <a:lnTo>
                    <a:pt x="1650" y="564"/>
                  </a:lnTo>
                  <a:lnTo>
                    <a:pt x="1656" y="564"/>
                  </a:lnTo>
                  <a:lnTo>
                    <a:pt x="1662" y="564"/>
                  </a:lnTo>
                  <a:lnTo>
                    <a:pt x="1668" y="564"/>
                  </a:lnTo>
                  <a:lnTo>
                    <a:pt x="1668" y="570"/>
                  </a:lnTo>
                  <a:lnTo>
                    <a:pt x="1674" y="570"/>
                  </a:lnTo>
                  <a:lnTo>
                    <a:pt x="1680" y="570"/>
                  </a:lnTo>
                  <a:lnTo>
                    <a:pt x="1686" y="576"/>
                  </a:lnTo>
                  <a:lnTo>
                    <a:pt x="1686" y="582"/>
                  </a:lnTo>
                  <a:lnTo>
                    <a:pt x="1710" y="588"/>
                  </a:lnTo>
                  <a:lnTo>
                    <a:pt x="1710" y="594"/>
                  </a:lnTo>
                  <a:lnTo>
                    <a:pt x="1704" y="600"/>
                  </a:lnTo>
                  <a:lnTo>
                    <a:pt x="1710" y="624"/>
                  </a:lnTo>
                  <a:lnTo>
                    <a:pt x="1698" y="672"/>
                  </a:lnTo>
                  <a:lnTo>
                    <a:pt x="1704" y="678"/>
                  </a:lnTo>
                  <a:lnTo>
                    <a:pt x="1716" y="684"/>
                  </a:lnTo>
                  <a:lnTo>
                    <a:pt x="1716" y="678"/>
                  </a:lnTo>
                  <a:lnTo>
                    <a:pt x="1716" y="684"/>
                  </a:lnTo>
                  <a:lnTo>
                    <a:pt x="1728" y="684"/>
                  </a:lnTo>
                  <a:lnTo>
                    <a:pt x="1728" y="690"/>
                  </a:lnTo>
                  <a:lnTo>
                    <a:pt x="1734" y="696"/>
                  </a:lnTo>
                  <a:lnTo>
                    <a:pt x="1734" y="702"/>
                  </a:lnTo>
                  <a:lnTo>
                    <a:pt x="1740" y="708"/>
                  </a:lnTo>
                  <a:lnTo>
                    <a:pt x="1740" y="714"/>
                  </a:lnTo>
                  <a:lnTo>
                    <a:pt x="1710" y="714"/>
                  </a:lnTo>
                  <a:lnTo>
                    <a:pt x="1710" y="756"/>
                  </a:lnTo>
                  <a:lnTo>
                    <a:pt x="1704" y="762"/>
                  </a:lnTo>
                  <a:lnTo>
                    <a:pt x="1698" y="762"/>
                  </a:lnTo>
                  <a:lnTo>
                    <a:pt x="1698" y="768"/>
                  </a:lnTo>
                  <a:lnTo>
                    <a:pt x="1698" y="774"/>
                  </a:lnTo>
                  <a:lnTo>
                    <a:pt x="1692" y="780"/>
                  </a:lnTo>
                  <a:lnTo>
                    <a:pt x="1692" y="786"/>
                  </a:lnTo>
                  <a:lnTo>
                    <a:pt x="1686" y="786"/>
                  </a:lnTo>
                  <a:lnTo>
                    <a:pt x="1668" y="798"/>
                  </a:lnTo>
                  <a:lnTo>
                    <a:pt x="1662" y="810"/>
                  </a:lnTo>
                  <a:lnTo>
                    <a:pt x="1650" y="810"/>
                  </a:lnTo>
                  <a:lnTo>
                    <a:pt x="1644" y="816"/>
                  </a:lnTo>
                  <a:lnTo>
                    <a:pt x="1638" y="816"/>
                  </a:lnTo>
                  <a:lnTo>
                    <a:pt x="1626" y="852"/>
                  </a:lnTo>
                  <a:lnTo>
                    <a:pt x="1620" y="888"/>
                  </a:lnTo>
                  <a:lnTo>
                    <a:pt x="1626" y="888"/>
                  </a:lnTo>
                  <a:lnTo>
                    <a:pt x="1638" y="912"/>
                  </a:lnTo>
                  <a:lnTo>
                    <a:pt x="1644" y="918"/>
                  </a:lnTo>
                  <a:lnTo>
                    <a:pt x="1650" y="966"/>
                  </a:lnTo>
                  <a:lnTo>
                    <a:pt x="1626" y="972"/>
                  </a:lnTo>
                  <a:lnTo>
                    <a:pt x="1608" y="978"/>
                  </a:lnTo>
                  <a:lnTo>
                    <a:pt x="1614" y="984"/>
                  </a:lnTo>
                  <a:lnTo>
                    <a:pt x="1620" y="984"/>
                  </a:lnTo>
                  <a:lnTo>
                    <a:pt x="1620" y="1020"/>
                  </a:lnTo>
                  <a:lnTo>
                    <a:pt x="1614" y="1038"/>
                  </a:lnTo>
                  <a:lnTo>
                    <a:pt x="1620" y="1044"/>
                  </a:lnTo>
                  <a:lnTo>
                    <a:pt x="1626" y="1056"/>
                  </a:lnTo>
                  <a:lnTo>
                    <a:pt x="1626" y="1074"/>
                  </a:lnTo>
                  <a:lnTo>
                    <a:pt x="1620" y="1080"/>
                  </a:lnTo>
                  <a:lnTo>
                    <a:pt x="1620" y="1104"/>
                  </a:lnTo>
                  <a:lnTo>
                    <a:pt x="1620" y="1110"/>
                  </a:lnTo>
                  <a:lnTo>
                    <a:pt x="1614" y="1116"/>
                  </a:lnTo>
                  <a:lnTo>
                    <a:pt x="1608" y="1140"/>
                  </a:lnTo>
                  <a:lnTo>
                    <a:pt x="1602" y="1146"/>
                  </a:lnTo>
                  <a:lnTo>
                    <a:pt x="1602" y="1164"/>
                  </a:lnTo>
                  <a:lnTo>
                    <a:pt x="1596" y="1170"/>
                  </a:lnTo>
                  <a:lnTo>
                    <a:pt x="1590" y="1164"/>
                  </a:lnTo>
                  <a:lnTo>
                    <a:pt x="1584" y="1164"/>
                  </a:lnTo>
                  <a:lnTo>
                    <a:pt x="1578" y="1164"/>
                  </a:lnTo>
                  <a:lnTo>
                    <a:pt x="1578" y="1188"/>
                  </a:lnTo>
                  <a:lnTo>
                    <a:pt x="1584" y="1194"/>
                  </a:lnTo>
                  <a:lnTo>
                    <a:pt x="1590" y="1194"/>
                  </a:lnTo>
                  <a:lnTo>
                    <a:pt x="1590" y="1212"/>
                  </a:lnTo>
                  <a:lnTo>
                    <a:pt x="1584" y="1212"/>
                  </a:lnTo>
                  <a:lnTo>
                    <a:pt x="1584" y="1224"/>
                  </a:lnTo>
                  <a:lnTo>
                    <a:pt x="1578" y="1224"/>
                  </a:lnTo>
                  <a:lnTo>
                    <a:pt x="1578" y="1236"/>
                  </a:lnTo>
                  <a:lnTo>
                    <a:pt x="1584" y="1254"/>
                  </a:lnTo>
                  <a:lnTo>
                    <a:pt x="1584" y="1260"/>
                  </a:lnTo>
                  <a:lnTo>
                    <a:pt x="1590" y="1260"/>
                  </a:lnTo>
                  <a:lnTo>
                    <a:pt x="1590" y="1266"/>
                  </a:lnTo>
                  <a:lnTo>
                    <a:pt x="1596" y="1284"/>
                  </a:lnTo>
                  <a:lnTo>
                    <a:pt x="1602" y="1278"/>
                  </a:lnTo>
                  <a:lnTo>
                    <a:pt x="1608" y="1284"/>
                  </a:lnTo>
                  <a:lnTo>
                    <a:pt x="1632" y="1350"/>
                  </a:lnTo>
                  <a:lnTo>
                    <a:pt x="1638" y="1356"/>
                  </a:lnTo>
                  <a:lnTo>
                    <a:pt x="1644" y="1356"/>
                  </a:lnTo>
                  <a:lnTo>
                    <a:pt x="1650" y="1356"/>
                  </a:lnTo>
                  <a:lnTo>
                    <a:pt x="1656" y="1356"/>
                  </a:lnTo>
                  <a:lnTo>
                    <a:pt x="1662" y="1362"/>
                  </a:lnTo>
                  <a:lnTo>
                    <a:pt x="1668" y="1356"/>
                  </a:lnTo>
                  <a:lnTo>
                    <a:pt x="1668" y="1380"/>
                  </a:lnTo>
                  <a:lnTo>
                    <a:pt x="1662" y="1392"/>
                  </a:lnTo>
                  <a:lnTo>
                    <a:pt x="1656" y="1404"/>
                  </a:lnTo>
                  <a:lnTo>
                    <a:pt x="1656" y="1410"/>
                  </a:lnTo>
                  <a:lnTo>
                    <a:pt x="1656" y="1416"/>
                  </a:lnTo>
                  <a:lnTo>
                    <a:pt x="1650" y="1422"/>
                  </a:lnTo>
                  <a:lnTo>
                    <a:pt x="1650" y="1428"/>
                  </a:lnTo>
                  <a:lnTo>
                    <a:pt x="1644" y="1428"/>
                  </a:lnTo>
                  <a:lnTo>
                    <a:pt x="1644" y="1434"/>
                  </a:lnTo>
                  <a:lnTo>
                    <a:pt x="1638" y="1434"/>
                  </a:lnTo>
                  <a:lnTo>
                    <a:pt x="1638" y="1440"/>
                  </a:lnTo>
                  <a:lnTo>
                    <a:pt x="1632" y="1440"/>
                  </a:lnTo>
                  <a:lnTo>
                    <a:pt x="1638" y="145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8" name="Freeform 13">
              <a:extLst>
                <a:ext uri="{FF2B5EF4-FFF2-40B4-BE49-F238E27FC236}">
                  <a16:creationId xmlns:a16="http://schemas.microsoft.com/office/drawing/2014/main" id="{66308D9B-1739-4227-AAC3-BB866CD1F5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63374" y="2969626"/>
              <a:ext cx="330956" cy="357840"/>
            </a:xfrm>
            <a:custGeom>
              <a:avLst/>
              <a:gdLst>
                <a:gd name="T0" fmla="*/ 11 w 624"/>
                <a:gd name="T1" fmla="*/ 59 h 672"/>
                <a:gd name="T2" fmla="*/ 4 w 624"/>
                <a:gd name="T3" fmla="*/ 58 h 672"/>
                <a:gd name="T4" fmla="*/ 3 w 624"/>
                <a:gd name="T5" fmla="*/ 58 h 672"/>
                <a:gd name="T6" fmla="*/ 2 w 624"/>
                <a:gd name="T7" fmla="*/ 11 h 672"/>
                <a:gd name="T8" fmla="*/ 13 w 624"/>
                <a:gd name="T9" fmla="*/ 11 h 672"/>
                <a:gd name="T10" fmla="*/ 14 w 624"/>
                <a:gd name="T11" fmla="*/ 11 h 672"/>
                <a:gd name="T12" fmla="*/ 15 w 624"/>
                <a:gd name="T13" fmla="*/ 12 h 672"/>
                <a:gd name="T14" fmla="*/ 18 w 624"/>
                <a:gd name="T15" fmla="*/ 14 h 672"/>
                <a:gd name="T16" fmla="*/ 21 w 624"/>
                <a:gd name="T17" fmla="*/ 16 h 672"/>
                <a:gd name="T18" fmla="*/ 22 w 624"/>
                <a:gd name="T19" fmla="*/ 18 h 672"/>
                <a:gd name="T20" fmla="*/ 23 w 624"/>
                <a:gd name="T21" fmla="*/ 19 h 672"/>
                <a:gd name="T22" fmla="*/ 24 w 624"/>
                <a:gd name="T23" fmla="*/ 19 h 672"/>
                <a:gd name="T24" fmla="*/ 26 w 624"/>
                <a:gd name="T25" fmla="*/ 19 h 672"/>
                <a:gd name="T26" fmla="*/ 27 w 624"/>
                <a:gd name="T27" fmla="*/ 18 h 672"/>
                <a:gd name="T28" fmla="*/ 29 w 624"/>
                <a:gd name="T29" fmla="*/ 15 h 672"/>
                <a:gd name="T30" fmla="*/ 30 w 624"/>
                <a:gd name="T31" fmla="*/ 14 h 672"/>
                <a:gd name="T32" fmla="*/ 31 w 624"/>
                <a:gd name="T33" fmla="*/ 12 h 672"/>
                <a:gd name="T34" fmla="*/ 32 w 624"/>
                <a:gd name="T35" fmla="*/ 12 h 672"/>
                <a:gd name="T36" fmla="*/ 33 w 624"/>
                <a:gd name="T37" fmla="*/ 10 h 672"/>
                <a:gd name="T38" fmla="*/ 34 w 624"/>
                <a:gd name="T39" fmla="*/ 8 h 672"/>
                <a:gd name="T40" fmla="*/ 34 w 624"/>
                <a:gd name="T41" fmla="*/ 6 h 672"/>
                <a:gd name="T42" fmla="*/ 35 w 624"/>
                <a:gd name="T43" fmla="*/ 4 h 672"/>
                <a:gd name="T44" fmla="*/ 42 w 624"/>
                <a:gd name="T45" fmla="*/ 3 h 672"/>
                <a:gd name="T46" fmla="*/ 44 w 624"/>
                <a:gd name="T47" fmla="*/ 2 h 672"/>
                <a:gd name="T48" fmla="*/ 46 w 624"/>
                <a:gd name="T49" fmla="*/ 0 h 672"/>
                <a:gd name="T50" fmla="*/ 51 w 624"/>
                <a:gd name="T51" fmla="*/ 3 h 672"/>
                <a:gd name="T52" fmla="*/ 54 w 624"/>
                <a:gd name="T53" fmla="*/ 6 h 672"/>
                <a:gd name="T54" fmla="*/ 54 w 624"/>
                <a:gd name="T55" fmla="*/ 8 h 672"/>
                <a:gd name="T56" fmla="*/ 52 w 624"/>
                <a:gd name="T57" fmla="*/ 9 h 672"/>
                <a:gd name="T58" fmla="*/ 49 w 624"/>
                <a:gd name="T59" fmla="*/ 11 h 672"/>
                <a:gd name="T60" fmla="*/ 48 w 624"/>
                <a:gd name="T61" fmla="*/ 14 h 672"/>
                <a:gd name="T62" fmla="*/ 46 w 624"/>
                <a:gd name="T63" fmla="*/ 22 h 672"/>
                <a:gd name="T64" fmla="*/ 45 w 624"/>
                <a:gd name="T65" fmla="*/ 39 h 672"/>
                <a:gd name="T66" fmla="*/ 43 w 624"/>
                <a:gd name="T67" fmla="*/ 43 h 672"/>
                <a:gd name="T68" fmla="*/ 39 w 624"/>
                <a:gd name="T69" fmla="*/ 50 h 672"/>
                <a:gd name="T70" fmla="*/ 36 w 624"/>
                <a:gd name="T71" fmla="*/ 53 h 672"/>
                <a:gd name="T72" fmla="*/ 32 w 624"/>
                <a:gd name="T73" fmla="*/ 56 h 672"/>
                <a:gd name="T74" fmla="*/ 30 w 624"/>
                <a:gd name="T75" fmla="*/ 58 h 672"/>
                <a:gd name="T76" fmla="*/ 20 w 624"/>
                <a:gd name="T77" fmla="*/ 59 h 672"/>
                <a:gd name="T78" fmla="*/ 15 w 624"/>
                <a:gd name="T79" fmla="*/ 59 h 67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24"/>
                <a:gd name="T121" fmla="*/ 0 h 672"/>
                <a:gd name="T122" fmla="*/ 624 w 624"/>
                <a:gd name="T123" fmla="*/ 672 h 67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24" h="672">
                  <a:moveTo>
                    <a:pt x="168" y="672"/>
                  </a:moveTo>
                  <a:lnTo>
                    <a:pt x="132" y="672"/>
                  </a:lnTo>
                  <a:lnTo>
                    <a:pt x="72" y="666"/>
                  </a:lnTo>
                  <a:lnTo>
                    <a:pt x="42" y="666"/>
                  </a:lnTo>
                  <a:lnTo>
                    <a:pt x="36" y="666"/>
                  </a:lnTo>
                  <a:lnTo>
                    <a:pt x="30" y="660"/>
                  </a:lnTo>
                  <a:lnTo>
                    <a:pt x="0" y="660"/>
                  </a:lnTo>
                  <a:lnTo>
                    <a:pt x="24" y="120"/>
                  </a:lnTo>
                  <a:lnTo>
                    <a:pt x="60" y="120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62" y="120"/>
                  </a:lnTo>
                  <a:lnTo>
                    <a:pt x="168" y="120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10" y="156"/>
                  </a:lnTo>
                  <a:lnTo>
                    <a:pt x="222" y="174"/>
                  </a:lnTo>
                  <a:lnTo>
                    <a:pt x="240" y="186"/>
                  </a:lnTo>
                  <a:lnTo>
                    <a:pt x="252" y="198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216"/>
                  </a:lnTo>
                  <a:lnTo>
                    <a:pt x="270" y="216"/>
                  </a:lnTo>
                  <a:lnTo>
                    <a:pt x="282" y="222"/>
                  </a:lnTo>
                  <a:lnTo>
                    <a:pt x="288" y="222"/>
                  </a:lnTo>
                  <a:lnTo>
                    <a:pt x="294" y="216"/>
                  </a:lnTo>
                  <a:lnTo>
                    <a:pt x="294" y="210"/>
                  </a:lnTo>
                  <a:lnTo>
                    <a:pt x="312" y="204"/>
                  </a:lnTo>
                  <a:lnTo>
                    <a:pt x="330" y="186"/>
                  </a:lnTo>
                  <a:lnTo>
                    <a:pt x="336" y="174"/>
                  </a:lnTo>
                  <a:lnTo>
                    <a:pt x="342" y="162"/>
                  </a:lnTo>
                  <a:lnTo>
                    <a:pt x="342" y="156"/>
                  </a:lnTo>
                  <a:lnTo>
                    <a:pt x="348" y="150"/>
                  </a:lnTo>
                  <a:lnTo>
                    <a:pt x="354" y="144"/>
                  </a:lnTo>
                  <a:lnTo>
                    <a:pt x="360" y="138"/>
                  </a:lnTo>
                  <a:lnTo>
                    <a:pt x="366" y="132"/>
                  </a:lnTo>
                  <a:lnTo>
                    <a:pt x="372" y="114"/>
                  </a:lnTo>
                  <a:lnTo>
                    <a:pt x="378" y="114"/>
                  </a:lnTo>
                  <a:lnTo>
                    <a:pt x="378" y="96"/>
                  </a:lnTo>
                  <a:lnTo>
                    <a:pt x="390" y="96"/>
                  </a:lnTo>
                  <a:lnTo>
                    <a:pt x="396" y="84"/>
                  </a:lnTo>
                  <a:lnTo>
                    <a:pt x="396" y="72"/>
                  </a:lnTo>
                  <a:lnTo>
                    <a:pt x="396" y="54"/>
                  </a:lnTo>
                  <a:lnTo>
                    <a:pt x="408" y="42"/>
                  </a:lnTo>
                  <a:lnTo>
                    <a:pt x="468" y="42"/>
                  </a:lnTo>
                  <a:lnTo>
                    <a:pt x="486" y="36"/>
                  </a:lnTo>
                  <a:lnTo>
                    <a:pt x="492" y="24"/>
                  </a:lnTo>
                  <a:lnTo>
                    <a:pt x="504" y="24"/>
                  </a:lnTo>
                  <a:lnTo>
                    <a:pt x="516" y="6"/>
                  </a:lnTo>
                  <a:lnTo>
                    <a:pt x="528" y="0"/>
                  </a:lnTo>
                  <a:lnTo>
                    <a:pt x="558" y="12"/>
                  </a:lnTo>
                  <a:lnTo>
                    <a:pt x="588" y="36"/>
                  </a:lnTo>
                  <a:lnTo>
                    <a:pt x="600" y="66"/>
                  </a:lnTo>
                  <a:lnTo>
                    <a:pt x="624" y="66"/>
                  </a:lnTo>
                  <a:lnTo>
                    <a:pt x="624" y="90"/>
                  </a:lnTo>
                  <a:lnTo>
                    <a:pt x="618" y="90"/>
                  </a:lnTo>
                  <a:lnTo>
                    <a:pt x="618" y="96"/>
                  </a:lnTo>
                  <a:lnTo>
                    <a:pt x="600" y="102"/>
                  </a:lnTo>
                  <a:lnTo>
                    <a:pt x="588" y="108"/>
                  </a:lnTo>
                  <a:lnTo>
                    <a:pt x="570" y="120"/>
                  </a:lnTo>
                  <a:lnTo>
                    <a:pt x="564" y="138"/>
                  </a:lnTo>
                  <a:lnTo>
                    <a:pt x="558" y="162"/>
                  </a:lnTo>
                  <a:lnTo>
                    <a:pt x="540" y="210"/>
                  </a:lnTo>
                  <a:lnTo>
                    <a:pt x="528" y="252"/>
                  </a:lnTo>
                  <a:lnTo>
                    <a:pt x="528" y="402"/>
                  </a:lnTo>
                  <a:lnTo>
                    <a:pt x="522" y="444"/>
                  </a:lnTo>
                  <a:lnTo>
                    <a:pt x="510" y="468"/>
                  </a:lnTo>
                  <a:lnTo>
                    <a:pt x="498" y="498"/>
                  </a:lnTo>
                  <a:lnTo>
                    <a:pt x="474" y="534"/>
                  </a:lnTo>
                  <a:lnTo>
                    <a:pt x="456" y="570"/>
                  </a:lnTo>
                  <a:lnTo>
                    <a:pt x="444" y="576"/>
                  </a:lnTo>
                  <a:lnTo>
                    <a:pt x="420" y="606"/>
                  </a:lnTo>
                  <a:lnTo>
                    <a:pt x="390" y="624"/>
                  </a:lnTo>
                  <a:lnTo>
                    <a:pt x="372" y="642"/>
                  </a:lnTo>
                  <a:lnTo>
                    <a:pt x="366" y="654"/>
                  </a:lnTo>
                  <a:lnTo>
                    <a:pt x="342" y="660"/>
                  </a:lnTo>
                  <a:lnTo>
                    <a:pt x="300" y="666"/>
                  </a:lnTo>
                  <a:lnTo>
                    <a:pt x="234" y="672"/>
                  </a:lnTo>
                  <a:lnTo>
                    <a:pt x="192" y="672"/>
                  </a:lnTo>
                  <a:lnTo>
                    <a:pt x="168" y="67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9" name="Freeform 14">
              <a:extLst>
                <a:ext uri="{FF2B5EF4-FFF2-40B4-BE49-F238E27FC236}">
                  <a16:creationId xmlns:a16="http://schemas.microsoft.com/office/drawing/2014/main" id="{2EA1E999-9CDF-4391-8BC9-7DE71AF9C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0460" y="2983045"/>
              <a:ext cx="905658" cy="561362"/>
            </a:xfrm>
            <a:custGeom>
              <a:avLst/>
              <a:gdLst>
                <a:gd name="T0" fmla="*/ 31 w 1704"/>
                <a:gd name="T1" fmla="*/ 78 h 1056"/>
                <a:gd name="T2" fmla="*/ 23 w 1704"/>
                <a:gd name="T3" fmla="*/ 78 h 1056"/>
                <a:gd name="T4" fmla="*/ 11 w 1704"/>
                <a:gd name="T5" fmla="*/ 79 h 1056"/>
                <a:gd name="T6" fmla="*/ 1 w 1704"/>
                <a:gd name="T7" fmla="*/ 81 h 1056"/>
                <a:gd name="T8" fmla="*/ 0 w 1704"/>
                <a:gd name="T9" fmla="*/ 62 h 1056"/>
                <a:gd name="T10" fmla="*/ 9 w 1704"/>
                <a:gd name="T11" fmla="*/ 56 h 1056"/>
                <a:gd name="T12" fmla="*/ 27 w 1704"/>
                <a:gd name="T13" fmla="*/ 48 h 1056"/>
                <a:gd name="T14" fmla="*/ 35 w 1704"/>
                <a:gd name="T15" fmla="*/ 20 h 1056"/>
                <a:gd name="T16" fmla="*/ 43 w 1704"/>
                <a:gd name="T17" fmla="*/ 6 h 1056"/>
                <a:gd name="T18" fmla="*/ 47 w 1704"/>
                <a:gd name="T19" fmla="*/ 7 h 1056"/>
                <a:gd name="T20" fmla="*/ 52 w 1704"/>
                <a:gd name="T21" fmla="*/ 0 h 1056"/>
                <a:gd name="T22" fmla="*/ 59 w 1704"/>
                <a:gd name="T23" fmla="*/ 5 h 1056"/>
                <a:gd name="T24" fmla="*/ 63 w 1704"/>
                <a:gd name="T25" fmla="*/ 12 h 1056"/>
                <a:gd name="T26" fmla="*/ 62 w 1704"/>
                <a:gd name="T27" fmla="*/ 15 h 1056"/>
                <a:gd name="T28" fmla="*/ 62 w 1704"/>
                <a:gd name="T29" fmla="*/ 18 h 1056"/>
                <a:gd name="T30" fmla="*/ 70 w 1704"/>
                <a:gd name="T31" fmla="*/ 18 h 1056"/>
                <a:gd name="T32" fmla="*/ 71 w 1704"/>
                <a:gd name="T33" fmla="*/ 14 h 1056"/>
                <a:gd name="T34" fmla="*/ 72 w 1704"/>
                <a:gd name="T35" fmla="*/ 12 h 1056"/>
                <a:gd name="T36" fmla="*/ 78 w 1704"/>
                <a:gd name="T37" fmla="*/ 14 h 1056"/>
                <a:gd name="T38" fmla="*/ 85 w 1704"/>
                <a:gd name="T39" fmla="*/ 21 h 1056"/>
                <a:gd name="T40" fmla="*/ 91 w 1704"/>
                <a:gd name="T41" fmla="*/ 15 h 1056"/>
                <a:gd name="T42" fmla="*/ 93 w 1704"/>
                <a:gd name="T43" fmla="*/ 10 h 1056"/>
                <a:gd name="T44" fmla="*/ 101 w 1704"/>
                <a:gd name="T45" fmla="*/ 14 h 1056"/>
                <a:gd name="T46" fmla="*/ 103 w 1704"/>
                <a:gd name="T47" fmla="*/ 19 h 1056"/>
                <a:gd name="T48" fmla="*/ 115 w 1704"/>
                <a:gd name="T49" fmla="*/ 20 h 1056"/>
                <a:gd name="T50" fmla="*/ 118 w 1704"/>
                <a:gd name="T51" fmla="*/ 23 h 1056"/>
                <a:gd name="T52" fmla="*/ 117 w 1704"/>
                <a:gd name="T53" fmla="*/ 27 h 1056"/>
                <a:gd name="T54" fmla="*/ 111 w 1704"/>
                <a:gd name="T55" fmla="*/ 33 h 1056"/>
                <a:gd name="T56" fmla="*/ 108 w 1704"/>
                <a:gd name="T57" fmla="*/ 36 h 1056"/>
                <a:gd name="T58" fmla="*/ 109 w 1704"/>
                <a:gd name="T59" fmla="*/ 40 h 1056"/>
                <a:gd name="T60" fmla="*/ 111 w 1704"/>
                <a:gd name="T61" fmla="*/ 43 h 1056"/>
                <a:gd name="T62" fmla="*/ 113 w 1704"/>
                <a:gd name="T63" fmla="*/ 50 h 1056"/>
                <a:gd name="T64" fmla="*/ 121 w 1704"/>
                <a:gd name="T65" fmla="*/ 55 h 1056"/>
                <a:gd name="T66" fmla="*/ 132 w 1704"/>
                <a:gd name="T67" fmla="*/ 52 h 1056"/>
                <a:gd name="T68" fmla="*/ 148 w 1704"/>
                <a:gd name="T69" fmla="*/ 58 h 1056"/>
                <a:gd name="T70" fmla="*/ 148 w 1704"/>
                <a:gd name="T71" fmla="*/ 61 h 1056"/>
                <a:gd name="T72" fmla="*/ 148 w 1704"/>
                <a:gd name="T73" fmla="*/ 64 h 1056"/>
                <a:gd name="T74" fmla="*/ 135 w 1704"/>
                <a:gd name="T75" fmla="*/ 61 h 1056"/>
                <a:gd name="T76" fmla="*/ 135 w 1704"/>
                <a:gd name="T77" fmla="*/ 66 h 1056"/>
                <a:gd name="T78" fmla="*/ 137 w 1704"/>
                <a:gd name="T79" fmla="*/ 71 h 1056"/>
                <a:gd name="T80" fmla="*/ 136 w 1704"/>
                <a:gd name="T81" fmla="*/ 79 h 1056"/>
                <a:gd name="T82" fmla="*/ 126 w 1704"/>
                <a:gd name="T83" fmla="*/ 84 h 1056"/>
                <a:gd name="T84" fmla="*/ 121 w 1704"/>
                <a:gd name="T85" fmla="*/ 79 h 1056"/>
                <a:gd name="T86" fmla="*/ 117 w 1704"/>
                <a:gd name="T87" fmla="*/ 75 h 1056"/>
                <a:gd name="T88" fmla="*/ 98 w 1704"/>
                <a:gd name="T89" fmla="*/ 74 h 1056"/>
                <a:gd name="T90" fmla="*/ 81 w 1704"/>
                <a:gd name="T91" fmla="*/ 75 h 1056"/>
                <a:gd name="T92" fmla="*/ 83 w 1704"/>
                <a:gd name="T93" fmla="*/ 88 h 1056"/>
                <a:gd name="T94" fmla="*/ 82 w 1704"/>
                <a:gd name="T95" fmla="*/ 91 h 1056"/>
                <a:gd name="T96" fmla="*/ 77 w 1704"/>
                <a:gd name="T97" fmla="*/ 90 h 1056"/>
                <a:gd name="T98" fmla="*/ 73 w 1704"/>
                <a:gd name="T99" fmla="*/ 86 h 1056"/>
                <a:gd name="T100" fmla="*/ 68 w 1704"/>
                <a:gd name="T101" fmla="*/ 85 h 1056"/>
                <a:gd name="T102" fmla="*/ 64 w 1704"/>
                <a:gd name="T103" fmla="*/ 83 h 1056"/>
                <a:gd name="T104" fmla="*/ 57 w 1704"/>
                <a:gd name="T105" fmla="*/ 81 h 1056"/>
                <a:gd name="T106" fmla="*/ 52 w 1704"/>
                <a:gd name="T107" fmla="*/ 80 h 1056"/>
                <a:gd name="T108" fmla="*/ 50 w 1704"/>
                <a:gd name="T109" fmla="*/ 80 h 1056"/>
                <a:gd name="T110" fmla="*/ 46 w 1704"/>
                <a:gd name="T111" fmla="*/ 79 h 1056"/>
                <a:gd name="T112" fmla="*/ 41 w 1704"/>
                <a:gd name="T113" fmla="*/ 78 h 10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04"/>
                <a:gd name="T172" fmla="*/ 0 h 1056"/>
                <a:gd name="T173" fmla="*/ 1704 w 1704"/>
                <a:gd name="T174" fmla="*/ 1056 h 10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04" h="1056">
                  <a:moveTo>
                    <a:pt x="450" y="888"/>
                  </a:moveTo>
                  <a:lnTo>
                    <a:pt x="420" y="888"/>
                  </a:lnTo>
                  <a:lnTo>
                    <a:pt x="414" y="888"/>
                  </a:lnTo>
                  <a:lnTo>
                    <a:pt x="396" y="888"/>
                  </a:lnTo>
                  <a:lnTo>
                    <a:pt x="372" y="888"/>
                  </a:lnTo>
                  <a:lnTo>
                    <a:pt x="366" y="888"/>
                  </a:lnTo>
                  <a:lnTo>
                    <a:pt x="360" y="888"/>
                  </a:lnTo>
                  <a:lnTo>
                    <a:pt x="348" y="888"/>
                  </a:lnTo>
                  <a:lnTo>
                    <a:pt x="330" y="894"/>
                  </a:lnTo>
                  <a:lnTo>
                    <a:pt x="324" y="894"/>
                  </a:lnTo>
                  <a:lnTo>
                    <a:pt x="312" y="888"/>
                  </a:lnTo>
                  <a:lnTo>
                    <a:pt x="300" y="888"/>
                  </a:lnTo>
                  <a:lnTo>
                    <a:pt x="282" y="888"/>
                  </a:lnTo>
                  <a:lnTo>
                    <a:pt x="270" y="888"/>
                  </a:lnTo>
                  <a:lnTo>
                    <a:pt x="240" y="882"/>
                  </a:lnTo>
                  <a:lnTo>
                    <a:pt x="222" y="882"/>
                  </a:lnTo>
                  <a:lnTo>
                    <a:pt x="198" y="882"/>
                  </a:lnTo>
                  <a:lnTo>
                    <a:pt x="174" y="894"/>
                  </a:lnTo>
                  <a:lnTo>
                    <a:pt x="162" y="900"/>
                  </a:lnTo>
                  <a:lnTo>
                    <a:pt x="144" y="906"/>
                  </a:lnTo>
                  <a:lnTo>
                    <a:pt x="126" y="912"/>
                  </a:lnTo>
                  <a:lnTo>
                    <a:pt x="102" y="924"/>
                  </a:lnTo>
                  <a:lnTo>
                    <a:pt x="78" y="930"/>
                  </a:lnTo>
                  <a:lnTo>
                    <a:pt x="72" y="936"/>
                  </a:lnTo>
                  <a:lnTo>
                    <a:pt x="30" y="954"/>
                  </a:lnTo>
                  <a:lnTo>
                    <a:pt x="12" y="966"/>
                  </a:lnTo>
                  <a:lnTo>
                    <a:pt x="12" y="954"/>
                  </a:lnTo>
                  <a:lnTo>
                    <a:pt x="12" y="930"/>
                  </a:lnTo>
                  <a:lnTo>
                    <a:pt x="12" y="894"/>
                  </a:lnTo>
                  <a:lnTo>
                    <a:pt x="30" y="828"/>
                  </a:lnTo>
                  <a:lnTo>
                    <a:pt x="36" y="798"/>
                  </a:lnTo>
                  <a:lnTo>
                    <a:pt x="18" y="774"/>
                  </a:lnTo>
                  <a:lnTo>
                    <a:pt x="18" y="756"/>
                  </a:lnTo>
                  <a:lnTo>
                    <a:pt x="6" y="738"/>
                  </a:lnTo>
                  <a:lnTo>
                    <a:pt x="0" y="714"/>
                  </a:lnTo>
                  <a:lnTo>
                    <a:pt x="12" y="678"/>
                  </a:lnTo>
                  <a:lnTo>
                    <a:pt x="18" y="678"/>
                  </a:lnTo>
                  <a:lnTo>
                    <a:pt x="24" y="672"/>
                  </a:lnTo>
                  <a:lnTo>
                    <a:pt x="30" y="666"/>
                  </a:lnTo>
                  <a:lnTo>
                    <a:pt x="42" y="648"/>
                  </a:lnTo>
                  <a:lnTo>
                    <a:pt x="66" y="648"/>
                  </a:lnTo>
                  <a:lnTo>
                    <a:pt x="108" y="648"/>
                  </a:lnTo>
                  <a:lnTo>
                    <a:pt x="174" y="642"/>
                  </a:lnTo>
                  <a:lnTo>
                    <a:pt x="216" y="636"/>
                  </a:lnTo>
                  <a:lnTo>
                    <a:pt x="240" y="630"/>
                  </a:lnTo>
                  <a:lnTo>
                    <a:pt x="246" y="618"/>
                  </a:lnTo>
                  <a:lnTo>
                    <a:pt x="264" y="600"/>
                  </a:lnTo>
                  <a:lnTo>
                    <a:pt x="294" y="582"/>
                  </a:lnTo>
                  <a:lnTo>
                    <a:pt x="318" y="552"/>
                  </a:lnTo>
                  <a:lnTo>
                    <a:pt x="330" y="546"/>
                  </a:lnTo>
                  <a:lnTo>
                    <a:pt x="348" y="510"/>
                  </a:lnTo>
                  <a:lnTo>
                    <a:pt x="372" y="474"/>
                  </a:lnTo>
                  <a:lnTo>
                    <a:pt x="384" y="444"/>
                  </a:lnTo>
                  <a:lnTo>
                    <a:pt x="396" y="420"/>
                  </a:lnTo>
                  <a:lnTo>
                    <a:pt x="402" y="378"/>
                  </a:lnTo>
                  <a:lnTo>
                    <a:pt x="402" y="228"/>
                  </a:lnTo>
                  <a:lnTo>
                    <a:pt x="414" y="186"/>
                  </a:lnTo>
                  <a:lnTo>
                    <a:pt x="432" y="138"/>
                  </a:lnTo>
                  <a:lnTo>
                    <a:pt x="438" y="114"/>
                  </a:lnTo>
                  <a:lnTo>
                    <a:pt x="444" y="96"/>
                  </a:lnTo>
                  <a:lnTo>
                    <a:pt x="462" y="84"/>
                  </a:lnTo>
                  <a:lnTo>
                    <a:pt x="474" y="78"/>
                  </a:lnTo>
                  <a:lnTo>
                    <a:pt x="492" y="72"/>
                  </a:lnTo>
                  <a:lnTo>
                    <a:pt x="492" y="66"/>
                  </a:lnTo>
                  <a:lnTo>
                    <a:pt x="498" y="66"/>
                  </a:lnTo>
                  <a:lnTo>
                    <a:pt x="510" y="66"/>
                  </a:lnTo>
                  <a:lnTo>
                    <a:pt x="510" y="72"/>
                  </a:lnTo>
                  <a:lnTo>
                    <a:pt x="516" y="72"/>
                  </a:lnTo>
                  <a:lnTo>
                    <a:pt x="522" y="78"/>
                  </a:lnTo>
                  <a:lnTo>
                    <a:pt x="546" y="78"/>
                  </a:lnTo>
                  <a:lnTo>
                    <a:pt x="552" y="60"/>
                  </a:lnTo>
                  <a:lnTo>
                    <a:pt x="570" y="42"/>
                  </a:lnTo>
                  <a:lnTo>
                    <a:pt x="576" y="24"/>
                  </a:lnTo>
                  <a:lnTo>
                    <a:pt x="588" y="18"/>
                  </a:lnTo>
                  <a:lnTo>
                    <a:pt x="588" y="12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624" y="0"/>
                  </a:lnTo>
                  <a:lnTo>
                    <a:pt x="636" y="6"/>
                  </a:lnTo>
                  <a:lnTo>
                    <a:pt x="648" y="24"/>
                  </a:lnTo>
                  <a:lnTo>
                    <a:pt x="654" y="48"/>
                  </a:lnTo>
                  <a:lnTo>
                    <a:pt x="672" y="60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0" y="72"/>
                  </a:lnTo>
                  <a:lnTo>
                    <a:pt x="690" y="78"/>
                  </a:lnTo>
                  <a:lnTo>
                    <a:pt x="696" y="90"/>
                  </a:lnTo>
                  <a:lnTo>
                    <a:pt x="714" y="114"/>
                  </a:lnTo>
                  <a:lnTo>
                    <a:pt x="714" y="120"/>
                  </a:lnTo>
                  <a:lnTo>
                    <a:pt x="720" y="132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20" y="150"/>
                  </a:lnTo>
                  <a:lnTo>
                    <a:pt x="714" y="150"/>
                  </a:lnTo>
                  <a:lnTo>
                    <a:pt x="714" y="156"/>
                  </a:lnTo>
                  <a:lnTo>
                    <a:pt x="714" y="162"/>
                  </a:lnTo>
                  <a:lnTo>
                    <a:pt x="708" y="162"/>
                  </a:lnTo>
                  <a:lnTo>
                    <a:pt x="708" y="168"/>
                  </a:lnTo>
                  <a:lnTo>
                    <a:pt x="702" y="168"/>
                  </a:lnTo>
                  <a:lnTo>
                    <a:pt x="702" y="174"/>
                  </a:lnTo>
                  <a:lnTo>
                    <a:pt x="702" y="180"/>
                  </a:lnTo>
                  <a:lnTo>
                    <a:pt x="708" y="180"/>
                  </a:lnTo>
                  <a:lnTo>
                    <a:pt x="708" y="186"/>
                  </a:lnTo>
                  <a:lnTo>
                    <a:pt x="708" y="192"/>
                  </a:lnTo>
                  <a:lnTo>
                    <a:pt x="714" y="204"/>
                  </a:lnTo>
                  <a:lnTo>
                    <a:pt x="726" y="216"/>
                  </a:lnTo>
                  <a:lnTo>
                    <a:pt x="738" y="216"/>
                  </a:lnTo>
                  <a:lnTo>
                    <a:pt x="768" y="222"/>
                  </a:lnTo>
                  <a:lnTo>
                    <a:pt x="780" y="216"/>
                  </a:lnTo>
                  <a:lnTo>
                    <a:pt x="792" y="204"/>
                  </a:lnTo>
                  <a:lnTo>
                    <a:pt x="798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6" y="192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6" y="174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22" y="156"/>
                  </a:lnTo>
                  <a:lnTo>
                    <a:pt x="822" y="150"/>
                  </a:lnTo>
                  <a:lnTo>
                    <a:pt x="828" y="144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8" y="138"/>
                  </a:lnTo>
                  <a:lnTo>
                    <a:pt x="834" y="132"/>
                  </a:lnTo>
                  <a:lnTo>
                    <a:pt x="840" y="132"/>
                  </a:lnTo>
                  <a:lnTo>
                    <a:pt x="864" y="126"/>
                  </a:lnTo>
                  <a:lnTo>
                    <a:pt x="906" y="144"/>
                  </a:lnTo>
                  <a:lnTo>
                    <a:pt x="906" y="150"/>
                  </a:lnTo>
                  <a:lnTo>
                    <a:pt x="906" y="156"/>
                  </a:lnTo>
                  <a:lnTo>
                    <a:pt x="900" y="162"/>
                  </a:lnTo>
                  <a:lnTo>
                    <a:pt x="924" y="168"/>
                  </a:lnTo>
                  <a:lnTo>
                    <a:pt x="942" y="192"/>
                  </a:lnTo>
                  <a:lnTo>
                    <a:pt x="972" y="210"/>
                  </a:lnTo>
                  <a:lnTo>
                    <a:pt x="972" y="216"/>
                  </a:lnTo>
                  <a:lnTo>
                    <a:pt x="972" y="228"/>
                  </a:lnTo>
                  <a:lnTo>
                    <a:pt x="978" y="234"/>
                  </a:lnTo>
                  <a:lnTo>
                    <a:pt x="978" y="246"/>
                  </a:lnTo>
                  <a:lnTo>
                    <a:pt x="984" y="252"/>
                  </a:lnTo>
                  <a:lnTo>
                    <a:pt x="1014" y="252"/>
                  </a:lnTo>
                  <a:lnTo>
                    <a:pt x="1020" y="228"/>
                  </a:lnTo>
                  <a:lnTo>
                    <a:pt x="1026" y="198"/>
                  </a:lnTo>
                  <a:lnTo>
                    <a:pt x="1050" y="186"/>
                  </a:lnTo>
                  <a:lnTo>
                    <a:pt x="1056" y="180"/>
                  </a:lnTo>
                  <a:lnTo>
                    <a:pt x="1050" y="174"/>
                  </a:lnTo>
                  <a:lnTo>
                    <a:pt x="1050" y="168"/>
                  </a:lnTo>
                  <a:lnTo>
                    <a:pt x="1050" y="162"/>
                  </a:lnTo>
                  <a:lnTo>
                    <a:pt x="1056" y="162"/>
                  </a:lnTo>
                  <a:lnTo>
                    <a:pt x="1062" y="162"/>
                  </a:lnTo>
                  <a:lnTo>
                    <a:pt x="1074" y="162"/>
                  </a:lnTo>
                  <a:lnTo>
                    <a:pt x="1074" y="144"/>
                  </a:lnTo>
                  <a:lnTo>
                    <a:pt x="1074" y="120"/>
                  </a:lnTo>
                  <a:lnTo>
                    <a:pt x="1092" y="120"/>
                  </a:lnTo>
                  <a:lnTo>
                    <a:pt x="1098" y="126"/>
                  </a:lnTo>
                  <a:lnTo>
                    <a:pt x="1134" y="132"/>
                  </a:lnTo>
                  <a:lnTo>
                    <a:pt x="1146" y="132"/>
                  </a:lnTo>
                  <a:lnTo>
                    <a:pt x="1158" y="150"/>
                  </a:lnTo>
                  <a:lnTo>
                    <a:pt x="1158" y="156"/>
                  </a:lnTo>
                  <a:lnTo>
                    <a:pt x="1158" y="162"/>
                  </a:lnTo>
                  <a:lnTo>
                    <a:pt x="1158" y="180"/>
                  </a:lnTo>
                  <a:lnTo>
                    <a:pt x="1158" y="186"/>
                  </a:lnTo>
                  <a:lnTo>
                    <a:pt x="1164" y="192"/>
                  </a:lnTo>
                  <a:lnTo>
                    <a:pt x="1176" y="198"/>
                  </a:lnTo>
                  <a:lnTo>
                    <a:pt x="1182" y="198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8"/>
                  </a:lnTo>
                  <a:lnTo>
                    <a:pt x="1188" y="234"/>
                  </a:lnTo>
                  <a:lnTo>
                    <a:pt x="1212" y="234"/>
                  </a:lnTo>
                  <a:lnTo>
                    <a:pt x="1242" y="234"/>
                  </a:lnTo>
                  <a:lnTo>
                    <a:pt x="1248" y="234"/>
                  </a:lnTo>
                  <a:lnTo>
                    <a:pt x="1278" y="240"/>
                  </a:lnTo>
                  <a:lnTo>
                    <a:pt x="1320" y="234"/>
                  </a:lnTo>
                  <a:lnTo>
                    <a:pt x="1332" y="228"/>
                  </a:lnTo>
                  <a:lnTo>
                    <a:pt x="1344" y="228"/>
                  </a:lnTo>
                  <a:lnTo>
                    <a:pt x="1350" y="234"/>
                  </a:lnTo>
                  <a:lnTo>
                    <a:pt x="1350" y="240"/>
                  </a:lnTo>
                  <a:lnTo>
                    <a:pt x="1356" y="246"/>
                  </a:lnTo>
                  <a:lnTo>
                    <a:pt x="1350" y="252"/>
                  </a:lnTo>
                  <a:lnTo>
                    <a:pt x="1356" y="264"/>
                  </a:lnTo>
                  <a:lnTo>
                    <a:pt x="1356" y="270"/>
                  </a:lnTo>
                  <a:lnTo>
                    <a:pt x="1356" y="276"/>
                  </a:lnTo>
                  <a:lnTo>
                    <a:pt x="1356" y="282"/>
                  </a:lnTo>
                  <a:lnTo>
                    <a:pt x="1356" y="288"/>
                  </a:lnTo>
                  <a:lnTo>
                    <a:pt x="1350" y="294"/>
                  </a:lnTo>
                  <a:lnTo>
                    <a:pt x="1344" y="300"/>
                  </a:lnTo>
                  <a:lnTo>
                    <a:pt x="1344" y="306"/>
                  </a:lnTo>
                  <a:lnTo>
                    <a:pt x="1338" y="312"/>
                  </a:lnTo>
                  <a:lnTo>
                    <a:pt x="1326" y="342"/>
                  </a:lnTo>
                  <a:lnTo>
                    <a:pt x="1320" y="348"/>
                  </a:lnTo>
                  <a:lnTo>
                    <a:pt x="1314" y="354"/>
                  </a:lnTo>
                  <a:lnTo>
                    <a:pt x="1290" y="354"/>
                  </a:lnTo>
                  <a:lnTo>
                    <a:pt x="1284" y="360"/>
                  </a:lnTo>
                  <a:lnTo>
                    <a:pt x="1278" y="378"/>
                  </a:lnTo>
                  <a:lnTo>
                    <a:pt x="1278" y="384"/>
                  </a:lnTo>
                  <a:lnTo>
                    <a:pt x="1272" y="390"/>
                  </a:lnTo>
                  <a:lnTo>
                    <a:pt x="1266" y="396"/>
                  </a:lnTo>
                  <a:lnTo>
                    <a:pt x="1260" y="396"/>
                  </a:lnTo>
                  <a:lnTo>
                    <a:pt x="1248" y="402"/>
                  </a:lnTo>
                  <a:lnTo>
                    <a:pt x="1242" y="408"/>
                  </a:lnTo>
                  <a:lnTo>
                    <a:pt x="1242" y="414"/>
                  </a:lnTo>
                  <a:lnTo>
                    <a:pt x="1242" y="420"/>
                  </a:lnTo>
                  <a:lnTo>
                    <a:pt x="1236" y="432"/>
                  </a:lnTo>
                  <a:lnTo>
                    <a:pt x="1242" y="432"/>
                  </a:lnTo>
                  <a:lnTo>
                    <a:pt x="1242" y="444"/>
                  </a:lnTo>
                  <a:lnTo>
                    <a:pt x="1242" y="456"/>
                  </a:lnTo>
                  <a:lnTo>
                    <a:pt x="1248" y="456"/>
                  </a:lnTo>
                  <a:lnTo>
                    <a:pt x="1254" y="462"/>
                  </a:lnTo>
                  <a:lnTo>
                    <a:pt x="1248" y="468"/>
                  </a:lnTo>
                  <a:lnTo>
                    <a:pt x="1254" y="468"/>
                  </a:lnTo>
                  <a:lnTo>
                    <a:pt x="1266" y="474"/>
                  </a:lnTo>
                  <a:lnTo>
                    <a:pt x="1266" y="480"/>
                  </a:lnTo>
                  <a:lnTo>
                    <a:pt x="1266" y="486"/>
                  </a:lnTo>
                  <a:lnTo>
                    <a:pt x="1272" y="486"/>
                  </a:lnTo>
                  <a:lnTo>
                    <a:pt x="1272" y="492"/>
                  </a:lnTo>
                  <a:lnTo>
                    <a:pt x="1290" y="510"/>
                  </a:lnTo>
                  <a:lnTo>
                    <a:pt x="1296" y="516"/>
                  </a:lnTo>
                  <a:lnTo>
                    <a:pt x="1302" y="540"/>
                  </a:lnTo>
                  <a:lnTo>
                    <a:pt x="1302" y="546"/>
                  </a:lnTo>
                  <a:lnTo>
                    <a:pt x="1302" y="558"/>
                  </a:lnTo>
                  <a:lnTo>
                    <a:pt x="1302" y="570"/>
                  </a:lnTo>
                  <a:lnTo>
                    <a:pt x="1302" y="576"/>
                  </a:lnTo>
                  <a:lnTo>
                    <a:pt x="1344" y="570"/>
                  </a:lnTo>
                  <a:lnTo>
                    <a:pt x="1350" y="582"/>
                  </a:lnTo>
                  <a:lnTo>
                    <a:pt x="1368" y="594"/>
                  </a:lnTo>
                  <a:lnTo>
                    <a:pt x="1374" y="600"/>
                  </a:lnTo>
                  <a:lnTo>
                    <a:pt x="1380" y="600"/>
                  </a:lnTo>
                  <a:lnTo>
                    <a:pt x="1380" y="618"/>
                  </a:lnTo>
                  <a:lnTo>
                    <a:pt x="1386" y="624"/>
                  </a:lnTo>
                  <a:lnTo>
                    <a:pt x="1404" y="624"/>
                  </a:lnTo>
                  <a:lnTo>
                    <a:pt x="1410" y="612"/>
                  </a:lnTo>
                  <a:lnTo>
                    <a:pt x="1428" y="606"/>
                  </a:lnTo>
                  <a:lnTo>
                    <a:pt x="1488" y="606"/>
                  </a:lnTo>
                  <a:lnTo>
                    <a:pt x="1506" y="606"/>
                  </a:lnTo>
                  <a:lnTo>
                    <a:pt x="1512" y="600"/>
                  </a:lnTo>
                  <a:lnTo>
                    <a:pt x="1524" y="594"/>
                  </a:lnTo>
                  <a:lnTo>
                    <a:pt x="1554" y="594"/>
                  </a:lnTo>
                  <a:lnTo>
                    <a:pt x="1578" y="606"/>
                  </a:lnTo>
                  <a:lnTo>
                    <a:pt x="1596" y="624"/>
                  </a:lnTo>
                  <a:lnTo>
                    <a:pt x="1650" y="642"/>
                  </a:lnTo>
                  <a:lnTo>
                    <a:pt x="1686" y="648"/>
                  </a:lnTo>
                  <a:lnTo>
                    <a:pt x="1698" y="654"/>
                  </a:lnTo>
                  <a:lnTo>
                    <a:pt x="1698" y="660"/>
                  </a:lnTo>
                  <a:lnTo>
                    <a:pt x="1692" y="666"/>
                  </a:lnTo>
                  <a:lnTo>
                    <a:pt x="1692" y="672"/>
                  </a:lnTo>
                  <a:lnTo>
                    <a:pt x="1698" y="678"/>
                  </a:lnTo>
                  <a:lnTo>
                    <a:pt x="1698" y="684"/>
                  </a:lnTo>
                  <a:lnTo>
                    <a:pt x="1692" y="684"/>
                  </a:lnTo>
                  <a:lnTo>
                    <a:pt x="1692" y="690"/>
                  </a:lnTo>
                  <a:lnTo>
                    <a:pt x="1698" y="696"/>
                  </a:lnTo>
                  <a:lnTo>
                    <a:pt x="1698" y="702"/>
                  </a:lnTo>
                  <a:lnTo>
                    <a:pt x="1698" y="708"/>
                  </a:lnTo>
                  <a:lnTo>
                    <a:pt x="1704" y="714"/>
                  </a:lnTo>
                  <a:lnTo>
                    <a:pt x="1704" y="720"/>
                  </a:lnTo>
                  <a:lnTo>
                    <a:pt x="1704" y="726"/>
                  </a:lnTo>
                  <a:lnTo>
                    <a:pt x="1704" y="732"/>
                  </a:lnTo>
                  <a:lnTo>
                    <a:pt x="1704" y="738"/>
                  </a:lnTo>
                  <a:lnTo>
                    <a:pt x="1698" y="726"/>
                  </a:lnTo>
                  <a:lnTo>
                    <a:pt x="1668" y="720"/>
                  </a:lnTo>
                  <a:lnTo>
                    <a:pt x="1626" y="714"/>
                  </a:lnTo>
                  <a:lnTo>
                    <a:pt x="1614" y="708"/>
                  </a:lnTo>
                  <a:lnTo>
                    <a:pt x="1578" y="696"/>
                  </a:lnTo>
                  <a:lnTo>
                    <a:pt x="1566" y="696"/>
                  </a:lnTo>
                  <a:lnTo>
                    <a:pt x="1548" y="702"/>
                  </a:lnTo>
                  <a:lnTo>
                    <a:pt x="1542" y="714"/>
                  </a:lnTo>
                  <a:lnTo>
                    <a:pt x="1536" y="732"/>
                  </a:lnTo>
                  <a:lnTo>
                    <a:pt x="1530" y="750"/>
                  </a:lnTo>
                  <a:lnTo>
                    <a:pt x="1536" y="750"/>
                  </a:lnTo>
                  <a:lnTo>
                    <a:pt x="1542" y="756"/>
                  </a:lnTo>
                  <a:lnTo>
                    <a:pt x="1542" y="762"/>
                  </a:lnTo>
                  <a:lnTo>
                    <a:pt x="1548" y="762"/>
                  </a:lnTo>
                  <a:lnTo>
                    <a:pt x="1554" y="762"/>
                  </a:lnTo>
                  <a:lnTo>
                    <a:pt x="1554" y="768"/>
                  </a:lnTo>
                  <a:lnTo>
                    <a:pt x="1560" y="774"/>
                  </a:lnTo>
                  <a:lnTo>
                    <a:pt x="1566" y="774"/>
                  </a:lnTo>
                  <a:lnTo>
                    <a:pt x="1584" y="792"/>
                  </a:lnTo>
                  <a:lnTo>
                    <a:pt x="1584" y="810"/>
                  </a:lnTo>
                  <a:lnTo>
                    <a:pt x="1572" y="816"/>
                  </a:lnTo>
                  <a:lnTo>
                    <a:pt x="1578" y="834"/>
                  </a:lnTo>
                  <a:lnTo>
                    <a:pt x="1578" y="846"/>
                  </a:lnTo>
                  <a:lnTo>
                    <a:pt x="1584" y="858"/>
                  </a:lnTo>
                  <a:lnTo>
                    <a:pt x="1590" y="864"/>
                  </a:lnTo>
                  <a:lnTo>
                    <a:pt x="1590" y="876"/>
                  </a:lnTo>
                  <a:lnTo>
                    <a:pt x="1578" y="888"/>
                  </a:lnTo>
                  <a:lnTo>
                    <a:pt x="1560" y="906"/>
                  </a:lnTo>
                  <a:lnTo>
                    <a:pt x="1536" y="930"/>
                  </a:lnTo>
                  <a:lnTo>
                    <a:pt x="1530" y="930"/>
                  </a:lnTo>
                  <a:lnTo>
                    <a:pt x="1506" y="942"/>
                  </a:lnTo>
                  <a:lnTo>
                    <a:pt x="1488" y="948"/>
                  </a:lnTo>
                  <a:lnTo>
                    <a:pt x="1476" y="954"/>
                  </a:lnTo>
                  <a:lnTo>
                    <a:pt x="1458" y="960"/>
                  </a:lnTo>
                  <a:lnTo>
                    <a:pt x="1452" y="966"/>
                  </a:lnTo>
                  <a:lnTo>
                    <a:pt x="1446" y="966"/>
                  </a:lnTo>
                  <a:lnTo>
                    <a:pt x="1434" y="972"/>
                  </a:lnTo>
                  <a:lnTo>
                    <a:pt x="1434" y="954"/>
                  </a:lnTo>
                  <a:lnTo>
                    <a:pt x="1422" y="942"/>
                  </a:lnTo>
                  <a:lnTo>
                    <a:pt x="1398" y="924"/>
                  </a:lnTo>
                  <a:lnTo>
                    <a:pt x="1398" y="912"/>
                  </a:lnTo>
                  <a:lnTo>
                    <a:pt x="1398" y="906"/>
                  </a:lnTo>
                  <a:lnTo>
                    <a:pt x="1398" y="900"/>
                  </a:lnTo>
                  <a:lnTo>
                    <a:pt x="1380" y="900"/>
                  </a:lnTo>
                  <a:lnTo>
                    <a:pt x="1380" y="894"/>
                  </a:lnTo>
                  <a:lnTo>
                    <a:pt x="1368" y="888"/>
                  </a:lnTo>
                  <a:lnTo>
                    <a:pt x="1362" y="882"/>
                  </a:lnTo>
                  <a:lnTo>
                    <a:pt x="1356" y="876"/>
                  </a:lnTo>
                  <a:lnTo>
                    <a:pt x="1350" y="864"/>
                  </a:lnTo>
                  <a:lnTo>
                    <a:pt x="1344" y="858"/>
                  </a:lnTo>
                  <a:lnTo>
                    <a:pt x="1314" y="870"/>
                  </a:lnTo>
                  <a:lnTo>
                    <a:pt x="1272" y="876"/>
                  </a:lnTo>
                  <a:lnTo>
                    <a:pt x="1218" y="870"/>
                  </a:lnTo>
                  <a:lnTo>
                    <a:pt x="1200" y="864"/>
                  </a:lnTo>
                  <a:lnTo>
                    <a:pt x="1182" y="864"/>
                  </a:lnTo>
                  <a:lnTo>
                    <a:pt x="1134" y="858"/>
                  </a:lnTo>
                  <a:lnTo>
                    <a:pt x="1110" y="840"/>
                  </a:lnTo>
                  <a:lnTo>
                    <a:pt x="1086" y="828"/>
                  </a:lnTo>
                  <a:lnTo>
                    <a:pt x="1044" y="816"/>
                  </a:lnTo>
                  <a:lnTo>
                    <a:pt x="1014" y="816"/>
                  </a:lnTo>
                  <a:lnTo>
                    <a:pt x="990" y="822"/>
                  </a:lnTo>
                  <a:lnTo>
                    <a:pt x="948" y="858"/>
                  </a:lnTo>
                  <a:lnTo>
                    <a:pt x="930" y="864"/>
                  </a:lnTo>
                  <a:lnTo>
                    <a:pt x="924" y="876"/>
                  </a:lnTo>
                  <a:lnTo>
                    <a:pt x="918" y="906"/>
                  </a:lnTo>
                  <a:lnTo>
                    <a:pt x="924" y="930"/>
                  </a:lnTo>
                  <a:lnTo>
                    <a:pt x="948" y="984"/>
                  </a:lnTo>
                  <a:lnTo>
                    <a:pt x="954" y="1008"/>
                  </a:lnTo>
                  <a:lnTo>
                    <a:pt x="948" y="1014"/>
                  </a:lnTo>
                  <a:lnTo>
                    <a:pt x="954" y="1014"/>
                  </a:lnTo>
                  <a:lnTo>
                    <a:pt x="954" y="1032"/>
                  </a:lnTo>
                  <a:lnTo>
                    <a:pt x="966" y="1044"/>
                  </a:lnTo>
                  <a:lnTo>
                    <a:pt x="960" y="1056"/>
                  </a:lnTo>
                  <a:lnTo>
                    <a:pt x="954" y="1056"/>
                  </a:lnTo>
                  <a:lnTo>
                    <a:pt x="948" y="1056"/>
                  </a:lnTo>
                  <a:lnTo>
                    <a:pt x="942" y="1056"/>
                  </a:lnTo>
                  <a:lnTo>
                    <a:pt x="936" y="1050"/>
                  </a:lnTo>
                  <a:lnTo>
                    <a:pt x="930" y="1044"/>
                  </a:lnTo>
                  <a:lnTo>
                    <a:pt x="924" y="1044"/>
                  </a:lnTo>
                  <a:lnTo>
                    <a:pt x="918" y="1038"/>
                  </a:lnTo>
                  <a:lnTo>
                    <a:pt x="912" y="1038"/>
                  </a:lnTo>
                  <a:lnTo>
                    <a:pt x="906" y="1032"/>
                  </a:lnTo>
                  <a:lnTo>
                    <a:pt x="900" y="1032"/>
                  </a:lnTo>
                  <a:lnTo>
                    <a:pt x="888" y="1026"/>
                  </a:lnTo>
                  <a:lnTo>
                    <a:pt x="882" y="1026"/>
                  </a:lnTo>
                  <a:lnTo>
                    <a:pt x="876" y="1026"/>
                  </a:lnTo>
                  <a:lnTo>
                    <a:pt x="864" y="1014"/>
                  </a:lnTo>
                  <a:lnTo>
                    <a:pt x="846" y="1008"/>
                  </a:lnTo>
                  <a:lnTo>
                    <a:pt x="840" y="996"/>
                  </a:lnTo>
                  <a:lnTo>
                    <a:pt x="840" y="990"/>
                  </a:lnTo>
                  <a:lnTo>
                    <a:pt x="834" y="990"/>
                  </a:lnTo>
                  <a:lnTo>
                    <a:pt x="828" y="990"/>
                  </a:lnTo>
                  <a:lnTo>
                    <a:pt x="816" y="990"/>
                  </a:lnTo>
                  <a:lnTo>
                    <a:pt x="810" y="990"/>
                  </a:lnTo>
                  <a:lnTo>
                    <a:pt x="804" y="984"/>
                  </a:lnTo>
                  <a:lnTo>
                    <a:pt x="792" y="978"/>
                  </a:lnTo>
                  <a:lnTo>
                    <a:pt x="786" y="972"/>
                  </a:lnTo>
                  <a:lnTo>
                    <a:pt x="780" y="972"/>
                  </a:lnTo>
                  <a:lnTo>
                    <a:pt x="768" y="966"/>
                  </a:lnTo>
                  <a:lnTo>
                    <a:pt x="762" y="966"/>
                  </a:lnTo>
                  <a:lnTo>
                    <a:pt x="756" y="966"/>
                  </a:lnTo>
                  <a:lnTo>
                    <a:pt x="750" y="966"/>
                  </a:lnTo>
                  <a:lnTo>
                    <a:pt x="744" y="966"/>
                  </a:lnTo>
                  <a:lnTo>
                    <a:pt x="738" y="960"/>
                  </a:lnTo>
                  <a:lnTo>
                    <a:pt x="732" y="954"/>
                  </a:lnTo>
                  <a:lnTo>
                    <a:pt x="720" y="954"/>
                  </a:lnTo>
                  <a:lnTo>
                    <a:pt x="714" y="948"/>
                  </a:lnTo>
                  <a:lnTo>
                    <a:pt x="708" y="948"/>
                  </a:lnTo>
                  <a:lnTo>
                    <a:pt x="696" y="948"/>
                  </a:lnTo>
                  <a:lnTo>
                    <a:pt x="684" y="942"/>
                  </a:lnTo>
                  <a:lnTo>
                    <a:pt x="678" y="936"/>
                  </a:lnTo>
                  <a:lnTo>
                    <a:pt x="660" y="930"/>
                  </a:lnTo>
                  <a:lnTo>
                    <a:pt x="642" y="924"/>
                  </a:lnTo>
                  <a:lnTo>
                    <a:pt x="636" y="924"/>
                  </a:lnTo>
                  <a:lnTo>
                    <a:pt x="630" y="924"/>
                  </a:lnTo>
                  <a:lnTo>
                    <a:pt x="618" y="924"/>
                  </a:lnTo>
                  <a:lnTo>
                    <a:pt x="618" y="918"/>
                  </a:lnTo>
                  <a:lnTo>
                    <a:pt x="606" y="918"/>
                  </a:lnTo>
                  <a:lnTo>
                    <a:pt x="600" y="918"/>
                  </a:lnTo>
                  <a:lnTo>
                    <a:pt x="594" y="918"/>
                  </a:lnTo>
                  <a:lnTo>
                    <a:pt x="594" y="912"/>
                  </a:lnTo>
                  <a:lnTo>
                    <a:pt x="588" y="912"/>
                  </a:lnTo>
                  <a:lnTo>
                    <a:pt x="582" y="912"/>
                  </a:lnTo>
                  <a:lnTo>
                    <a:pt x="582" y="918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58" y="918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12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00"/>
                  </a:lnTo>
                  <a:lnTo>
                    <a:pt x="516" y="900"/>
                  </a:lnTo>
                  <a:lnTo>
                    <a:pt x="510" y="900"/>
                  </a:lnTo>
                  <a:lnTo>
                    <a:pt x="486" y="894"/>
                  </a:lnTo>
                  <a:lnTo>
                    <a:pt x="474" y="888"/>
                  </a:lnTo>
                  <a:lnTo>
                    <a:pt x="468" y="888"/>
                  </a:lnTo>
                  <a:lnTo>
                    <a:pt x="450" y="88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0" name="Freeform 15">
              <a:extLst>
                <a:ext uri="{FF2B5EF4-FFF2-40B4-BE49-F238E27FC236}">
                  <a16:creationId xmlns:a16="http://schemas.microsoft.com/office/drawing/2014/main" id="{8B991D7A-45C6-40F6-A035-24DFC733305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382" y="2652043"/>
              <a:ext cx="724526" cy="695552"/>
            </a:xfrm>
            <a:custGeom>
              <a:avLst/>
              <a:gdLst>
                <a:gd name="T0" fmla="*/ 44 w 1362"/>
                <a:gd name="T1" fmla="*/ 106 h 1308"/>
                <a:gd name="T2" fmla="*/ 32 w 1362"/>
                <a:gd name="T3" fmla="*/ 109 h 1308"/>
                <a:gd name="T4" fmla="*/ 25 w 1362"/>
                <a:gd name="T5" fmla="*/ 105 h 1308"/>
                <a:gd name="T6" fmla="*/ 22 w 1362"/>
                <a:gd name="T7" fmla="*/ 97 h 1308"/>
                <a:gd name="T8" fmla="*/ 21 w 1362"/>
                <a:gd name="T9" fmla="*/ 95 h 1308"/>
                <a:gd name="T10" fmla="*/ 20 w 1362"/>
                <a:gd name="T11" fmla="*/ 90 h 1308"/>
                <a:gd name="T12" fmla="*/ 23 w 1362"/>
                <a:gd name="T13" fmla="*/ 87 h 1308"/>
                <a:gd name="T14" fmla="*/ 29 w 1362"/>
                <a:gd name="T15" fmla="*/ 81 h 1308"/>
                <a:gd name="T16" fmla="*/ 30 w 1362"/>
                <a:gd name="T17" fmla="*/ 78 h 1308"/>
                <a:gd name="T18" fmla="*/ 27 w 1362"/>
                <a:gd name="T19" fmla="*/ 75 h 1308"/>
                <a:gd name="T20" fmla="*/ 15 w 1362"/>
                <a:gd name="T21" fmla="*/ 73 h 1308"/>
                <a:gd name="T22" fmla="*/ 12 w 1362"/>
                <a:gd name="T23" fmla="*/ 69 h 1308"/>
                <a:gd name="T24" fmla="*/ 5 w 1362"/>
                <a:gd name="T25" fmla="*/ 65 h 1308"/>
                <a:gd name="T26" fmla="*/ 6 w 1362"/>
                <a:gd name="T27" fmla="*/ 62 h 1308"/>
                <a:gd name="T28" fmla="*/ 7 w 1362"/>
                <a:gd name="T29" fmla="*/ 56 h 1308"/>
                <a:gd name="T30" fmla="*/ 2 w 1362"/>
                <a:gd name="T31" fmla="*/ 49 h 1308"/>
                <a:gd name="T32" fmla="*/ 0 w 1362"/>
                <a:gd name="T33" fmla="*/ 44 h 1308"/>
                <a:gd name="T34" fmla="*/ 0 w 1362"/>
                <a:gd name="T35" fmla="*/ 39 h 1308"/>
                <a:gd name="T36" fmla="*/ 3 w 1362"/>
                <a:gd name="T37" fmla="*/ 35 h 1308"/>
                <a:gd name="T38" fmla="*/ 3 w 1362"/>
                <a:gd name="T39" fmla="*/ 28 h 1308"/>
                <a:gd name="T40" fmla="*/ 6 w 1362"/>
                <a:gd name="T41" fmla="*/ 18 h 1308"/>
                <a:gd name="T42" fmla="*/ 6 w 1362"/>
                <a:gd name="T43" fmla="*/ 8 h 1308"/>
                <a:gd name="T44" fmla="*/ 10 w 1362"/>
                <a:gd name="T45" fmla="*/ 5 h 1308"/>
                <a:gd name="T46" fmla="*/ 15 w 1362"/>
                <a:gd name="T47" fmla="*/ 0 h 1308"/>
                <a:gd name="T48" fmla="*/ 21 w 1362"/>
                <a:gd name="T49" fmla="*/ 7 h 1308"/>
                <a:gd name="T50" fmla="*/ 25 w 1362"/>
                <a:gd name="T51" fmla="*/ 15 h 1308"/>
                <a:gd name="T52" fmla="*/ 24 w 1362"/>
                <a:gd name="T53" fmla="*/ 19 h 1308"/>
                <a:gd name="T54" fmla="*/ 32 w 1362"/>
                <a:gd name="T55" fmla="*/ 19 h 1308"/>
                <a:gd name="T56" fmla="*/ 35 w 1362"/>
                <a:gd name="T57" fmla="*/ 20 h 1308"/>
                <a:gd name="T58" fmla="*/ 40 w 1362"/>
                <a:gd name="T59" fmla="*/ 23 h 1308"/>
                <a:gd name="T60" fmla="*/ 40 w 1362"/>
                <a:gd name="T61" fmla="*/ 26 h 1308"/>
                <a:gd name="T62" fmla="*/ 34 w 1362"/>
                <a:gd name="T63" fmla="*/ 35 h 1308"/>
                <a:gd name="T64" fmla="*/ 41 w 1362"/>
                <a:gd name="T65" fmla="*/ 37 h 1308"/>
                <a:gd name="T66" fmla="*/ 43 w 1362"/>
                <a:gd name="T67" fmla="*/ 44 h 1308"/>
                <a:gd name="T68" fmla="*/ 48 w 1362"/>
                <a:gd name="T69" fmla="*/ 47 h 1308"/>
                <a:gd name="T70" fmla="*/ 57 w 1362"/>
                <a:gd name="T71" fmla="*/ 48 h 1308"/>
                <a:gd name="T72" fmla="*/ 70 w 1362"/>
                <a:gd name="T73" fmla="*/ 44 h 1308"/>
                <a:gd name="T74" fmla="*/ 80 w 1362"/>
                <a:gd name="T75" fmla="*/ 34 h 1308"/>
                <a:gd name="T76" fmla="*/ 95 w 1362"/>
                <a:gd name="T77" fmla="*/ 41 h 1308"/>
                <a:gd name="T78" fmla="*/ 109 w 1362"/>
                <a:gd name="T79" fmla="*/ 47 h 1308"/>
                <a:gd name="T80" fmla="*/ 111 w 1362"/>
                <a:gd name="T81" fmla="*/ 50 h 1308"/>
                <a:gd name="T82" fmla="*/ 113 w 1362"/>
                <a:gd name="T83" fmla="*/ 53 h 1308"/>
                <a:gd name="T84" fmla="*/ 113 w 1362"/>
                <a:gd name="T85" fmla="*/ 55 h 1308"/>
                <a:gd name="T86" fmla="*/ 113 w 1362"/>
                <a:gd name="T87" fmla="*/ 59 h 1308"/>
                <a:gd name="T88" fmla="*/ 113 w 1362"/>
                <a:gd name="T89" fmla="*/ 62 h 1308"/>
                <a:gd name="T90" fmla="*/ 115 w 1362"/>
                <a:gd name="T91" fmla="*/ 65 h 1308"/>
                <a:gd name="T92" fmla="*/ 115 w 1362"/>
                <a:gd name="T93" fmla="*/ 67 h 1308"/>
                <a:gd name="T94" fmla="*/ 116 w 1362"/>
                <a:gd name="T95" fmla="*/ 69 h 1308"/>
                <a:gd name="T96" fmla="*/ 116 w 1362"/>
                <a:gd name="T97" fmla="*/ 71 h 1308"/>
                <a:gd name="T98" fmla="*/ 118 w 1362"/>
                <a:gd name="T99" fmla="*/ 75 h 1308"/>
                <a:gd name="T100" fmla="*/ 116 w 1362"/>
                <a:gd name="T101" fmla="*/ 77 h 1308"/>
                <a:gd name="T102" fmla="*/ 116 w 1362"/>
                <a:gd name="T103" fmla="*/ 79 h 1308"/>
                <a:gd name="T104" fmla="*/ 101 w 1362"/>
                <a:gd name="T105" fmla="*/ 87 h 1308"/>
                <a:gd name="T106" fmla="*/ 85 w 1362"/>
                <a:gd name="T107" fmla="*/ 103 h 1308"/>
                <a:gd name="T108" fmla="*/ 67 w 1362"/>
                <a:gd name="T109" fmla="*/ 114 h 130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62"/>
                <a:gd name="T166" fmla="*/ 0 h 1308"/>
                <a:gd name="T167" fmla="*/ 1362 w 1362"/>
                <a:gd name="T168" fmla="*/ 1308 h 130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62" h="1308">
                  <a:moveTo>
                    <a:pt x="684" y="1278"/>
                  </a:moveTo>
                  <a:lnTo>
                    <a:pt x="672" y="1272"/>
                  </a:lnTo>
                  <a:lnTo>
                    <a:pt x="636" y="1266"/>
                  </a:lnTo>
                  <a:lnTo>
                    <a:pt x="582" y="1248"/>
                  </a:lnTo>
                  <a:lnTo>
                    <a:pt x="564" y="1230"/>
                  </a:lnTo>
                  <a:lnTo>
                    <a:pt x="540" y="1218"/>
                  </a:lnTo>
                  <a:lnTo>
                    <a:pt x="510" y="1218"/>
                  </a:lnTo>
                  <a:lnTo>
                    <a:pt x="498" y="1224"/>
                  </a:lnTo>
                  <a:lnTo>
                    <a:pt x="492" y="1230"/>
                  </a:lnTo>
                  <a:lnTo>
                    <a:pt x="474" y="1230"/>
                  </a:lnTo>
                  <a:lnTo>
                    <a:pt x="414" y="1230"/>
                  </a:lnTo>
                  <a:lnTo>
                    <a:pt x="396" y="1236"/>
                  </a:lnTo>
                  <a:lnTo>
                    <a:pt x="390" y="1248"/>
                  </a:lnTo>
                  <a:lnTo>
                    <a:pt x="372" y="1248"/>
                  </a:lnTo>
                  <a:lnTo>
                    <a:pt x="366" y="1242"/>
                  </a:lnTo>
                  <a:lnTo>
                    <a:pt x="366" y="1224"/>
                  </a:lnTo>
                  <a:lnTo>
                    <a:pt x="360" y="1224"/>
                  </a:lnTo>
                  <a:lnTo>
                    <a:pt x="354" y="1218"/>
                  </a:lnTo>
                  <a:lnTo>
                    <a:pt x="336" y="1206"/>
                  </a:lnTo>
                  <a:lnTo>
                    <a:pt x="330" y="1194"/>
                  </a:lnTo>
                  <a:lnTo>
                    <a:pt x="288" y="1200"/>
                  </a:lnTo>
                  <a:lnTo>
                    <a:pt x="288" y="1194"/>
                  </a:lnTo>
                  <a:lnTo>
                    <a:pt x="288" y="1182"/>
                  </a:lnTo>
                  <a:lnTo>
                    <a:pt x="288" y="1170"/>
                  </a:lnTo>
                  <a:lnTo>
                    <a:pt x="288" y="1164"/>
                  </a:lnTo>
                  <a:lnTo>
                    <a:pt x="282" y="1140"/>
                  </a:lnTo>
                  <a:lnTo>
                    <a:pt x="276" y="1134"/>
                  </a:lnTo>
                  <a:lnTo>
                    <a:pt x="258" y="1116"/>
                  </a:lnTo>
                  <a:lnTo>
                    <a:pt x="258" y="1110"/>
                  </a:lnTo>
                  <a:lnTo>
                    <a:pt x="252" y="1110"/>
                  </a:lnTo>
                  <a:lnTo>
                    <a:pt x="252" y="1104"/>
                  </a:lnTo>
                  <a:lnTo>
                    <a:pt x="252" y="1098"/>
                  </a:lnTo>
                  <a:lnTo>
                    <a:pt x="240" y="1092"/>
                  </a:lnTo>
                  <a:lnTo>
                    <a:pt x="234" y="1092"/>
                  </a:lnTo>
                  <a:lnTo>
                    <a:pt x="240" y="1086"/>
                  </a:lnTo>
                  <a:lnTo>
                    <a:pt x="234" y="1080"/>
                  </a:lnTo>
                  <a:lnTo>
                    <a:pt x="228" y="1080"/>
                  </a:lnTo>
                  <a:lnTo>
                    <a:pt x="228" y="1068"/>
                  </a:lnTo>
                  <a:lnTo>
                    <a:pt x="228" y="1056"/>
                  </a:lnTo>
                  <a:lnTo>
                    <a:pt x="222" y="1056"/>
                  </a:lnTo>
                  <a:lnTo>
                    <a:pt x="228" y="1044"/>
                  </a:lnTo>
                  <a:lnTo>
                    <a:pt x="228" y="1038"/>
                  </a:lnTo>
                  <a:lnTo>
                    <a:pt x="228" y="1032"/>
                  </a:lnTo>
                  <a:lnTo>
                    <a:pt x="234" y="1026"/>
                  </a:lnTo>
                  <a:lnTo>
                    <a:pt x="246" y="1020"/>
                  </a:lnTo>
                  <a:lnTo>
                    <a:pt x="252" y="1020"/>
                  </a:lnTo>
                  <a:lnTo>
                    <a:pt x="258" y="1014"/>
                  </a:lnTo>
                  <a:lnTo>
                    <a:pt x="264" y="1008"/>
                  </a:lnTo>
                  <a:lnTo>
                    <a:pt x="264" y="1002"/>
                  </a:lnTo>
                  <a:lnTo>
                    <a:pt x="270" y="984"/>
                  </a:lnTo>
                  <a:lnTo>
                    <a:pt x="276" y="978"/>
                  </a:lnTo>
                  <a:lnTo>
                    <a:pt x="300" y="978"/>
                  </a:lnTo>
                  <a:lnTo>
                    <a:pt x="306" y="972"/>
                  </a:lnTo>
                  <a:lnTo>
                    <a:pt x="312" y="966"/>
                  </a:lnTo>
                  <a:lnTo>
                    <a:pt x="324" y="936"/>
                  </a:lnTo>
                  <a:lnTo>
                    <a:pt x="330" y="930"/>
                  </a:lnTo>
                  <a:lnTo>
                    <a:pt x="330" y="924"/>
                  </a:lnTo>
                  <a:lnTo>
                    <a:pt x="336" y="918"/>
                  </a:lnTo>
                  <a:lnTo>
                    <a:pt x="342" y="912"/>
                  </a:lnTo>
                  <a:lnTo>
                    <a:pt x="342" y="906"/>
                  </a:lnTo>
                  <a:lnTo>
                    <a:pt x="342" y="900"/>
                  </a:lnTo>
                  <a:lnTo>
                    <a:pt x="342" y="894"/>
                  </a:lnTo>
                  <a:lnTo>
                    <a:pt x="342" y="888"/>
                  </a:lnTo>
                  <a:lnTo>
                    <a:pt x="336" y="876"/>
                  </a:lnTo>
                  <a:lnTo>
                    <a:pt x="342" y="870"/>
                  </a:lnTo>
                  <a:lnTo>
                    <a:pt x="336" y="864"/>
                  </a:lnTo>
                  <a:lnTo>
                    <a:pt x="336" y="858"/>
                  </a:lnTo>
                  <a:lnTo>
                    <a:pt x="330" y="852"/>
                  </a:lnTo>
                  <a:lnTo>
                    <a:pt x="318" y="852"/>
                  </a:lnTo>
                  <a:lnTo>
                    <a:pt x="306" y="858"/>
                  </a:lnTo>
                  <a:lnTo>
                    <a:pt x="264" y="864"/>
                  </a:lnTo>
                  <a:lnTo>
                    <a:pt x="234" y="858"/>
                  </a:lnTo>
                  <a:lnTo>
                    <a:pt x="228" y="858"/>
                  </a:lnTo>
                  <a:lnTo>
                    <a:pt x="198" y="858"/>
                  </a:lnTo>
                  <a:lnTo>
                    <a:pt x="174" y="858"/>
                  </a:lnTo>
                  <a:lnTo>
                    <a:pt x="168" y="852"/>
                  </a:lnTo>
                  <a:lnTo>
                    <a:pt x="168" y="840"/>
                  </a:lnTo>
                  <a:lnTo>
                    <a:pt x="168" y="834"/>
                  </a:lnTo>
                  <a:lnTo>
                    <a:pt x="168" y="822"/>
                  </a:lnTo>
                  <a:lnTo>
                    <a:pt x="162" y="822"/>
                  </a:lnTo>
                  <a:lnTo>
                    <a:pt x="150" y="816"/>
                  </a:lnTo>
                  <a:lnTo>
                    <a:pt x="144" y="810"/>
                  </a:lnTo>
                  <a:lnTo>
                    <a:pt x="144" y="804"/>
                  </a:lnTo>
                  <a:lnTo>
                    <a:pt x="144" y="786"/>
                  </a:lnTo>
                  <a:lnTo>
                    <a:pt x="144" y="780"/>
                  </a:lnTo>
                  <a:lnTo>
                    <a:pt x="144" y="774"/>
                  </a:lnTo>
                  <a:lnTo>
                    <a:pt x="132" y="756"/>
                  </a:lnTo>
                  <a:lnTo>
                    <a:pt x="120" y="756"/>
                  </a:lnTo>
                  <a:lnTo>
                    <a:pt x="84" y="750"/>
                  </a:lnTo>
                  <a:lnTo>
                    <a:pt x="78" y="744"/>
                  </a:lnTo>
                  <a:lnTo>
                    <a:pt x="60" y="744"/>
                  </a:lnTo>
                  <a:lnTo>
                    <a:pt x="54" y="726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66" y="720"/>
                  </a:lnTo>
                  <a:lnTo>
                    <a:pt x="66" y="714"/>
                  </a:lnTo>
                  <a:lnTo>
                    <a:pt x="72" y="714"/>
                  </a:lnTo>
                  <a:lnTo>
                    <a:pt x="72" y="708"/>
                  </a:lnTo>
                  <a:lnTo>
                    <a:pt x="78" y="702"/>
                  </a:lnTo>
                  <a:lnTo>
                    <a:pt x="78" y="696"/>
                  </a:lnTo>
                  <a:lnTo>
                    <a:pt x="78" y="690"/>
                  </a:lnTo>
                  <a:lnTo>
                    <a:pt x="84" y="678"/>
                  </a:lnTo>
                  <a:lnTo>
                    <a:pt x="90" y="666"/>
                  </a:lnTo>
                  <a:lnTo>
                    <a:pt x="90" y="642"/>
                  </a:lnTo>
                  <a:lnTo>
                    <a:pt x="84" y="648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66" y="642"/>
                  </a:lnTo>
                  <a:lnTo>
                    <a:pt x="60" y="642"/>
                  </a:lnTo>
                  <a:lnTo>
                    <a:pt x="54" y="636"/>
                  </a:lnTo>
                  <a:lnTo>
                    <a:pt x="30" y="570"/>
                  </a:lnTo>
                  <a:lnTo>
                    <a:pt x="24" y="564"/>
                  </a:lnTo>
                  <a:lnTo>
                    <a:pt x="18" y="570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6"/>
                  </a:lnTo>
                  <a:lnTo>
                    <a:pt x="6" y="540"/>
                  </a:lnTo>
                  <a:lnTo>
                    <a:pt x="0" y="522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2" y="480"/>
                  </a:lnTo>
                  <a:lnTo>
                    <a:pt x="6" y="480"/>
                  </a:lnTo>
                  <a:lnTo>
                    <a:pt x="0" y="474"/>
                  </a:lnTo>
                  <a:lnTo>
                    <a:pt x="0" y="450"/>
                  </a:lnTo>
                  <a:lnTo>
                    <a:pt x="6" y="450"/>
                  </a:lnTo>
                  <a:lnTo>
                    <a:pt x="12" y="450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32"/>
                  </a:lnTo>
                  <a:lnTo>
                    <a:pt x="30" y="426"/>
                  </a:lnTo>
                  <a:lnTo>
                    <a:pt x="36" y="402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2" y="366"/>
                  </a:lnTo>
                  <a:lnTo>
                    <a:pt x="48" y="360"/>
                  </a:lnTo>
                  <a:lnTo>
                    <a:pt x="48" y="342"/>
                  </a:lnTo>
                  <a:lnTo>
                    <a:pt x="42" y="330"/>
                  </a:lnTo>
                  <a:lnTo>
                    <a:pt x="36" y="324"/>
                  </a:lnTo>
                  <a:lnTo>
                    <a:pt x="42" y="306"/>
                  </a:lnTo>
                  <a:lnTo>
                    <a:pt x="42" y="270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48" y="258"/>
                  </a:lnTo>
                  <a:lnTo>
                    <a:pt x="72" y="252"/>
                  </a:lnTo>
                  <a:lnTo>
                    <a:pt x="66" y="204"/>
                  </a:lnTo>
                  <a:lnTo>
                    <a:pt x="60" y="198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8" y="13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84" y="96"/>
                  </a:lnTo>
                  <a:lnTo>
                    <a:pt x="90" y="84"/>
                  </a:lnTo>
                  <a:lnTo>
                    <a:pt x="108" y="72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20" y="60"/>
                  </a:lnTo>
                  <a:lnTo>
                    <a:pt x="120" y="54"/>
                  </a:lnTo>
                  <a:lnTo>
                    <a:pt x="120" y="48"/>
                  </a:lnTo>
                  <a:lnTo>
                    <a:pt x="126" y="48"/>
                  </a:lnTo>
                  <a:lnTo>
                    <a:pt x="132" y="42"/>
                  </a:lnTo>
                  <a:lnTo>
                    <a:pt x="132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240" y="18"/>
                  </a:lnTo>
                  <a:lnTo>
                    <a:pt x="246" y="42"/>
                  </a:lnTo>
                  <a:lnTo>
                    <a:pt x="240" y="72"/>
                  </a:lnTo>
                  <a:lnTo>
                    <a:pt x="246" y="78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8" y="108"/>
                  </a:lnTo>
                  <a:lnTo>
                    <a:pt x="276" y="114"/>
                  </a:lnTo>
                  <a:lnTo>
                    <a:pt x="294" y="150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82" y="186"/>
                  </a:lnTo>
                  <a:lnTo>
                    <a:pt x="282" y="192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76" y="216"/>
                  </a:lnTo>
                  <a:lnTo>
                    <a:pt x="288" y="240"/>
                  </a:lnTo>
                  <a:lnTo>
                    <a:pt x="312" y="228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66" y="228"/>
                  </a:lnTo>
                  <a:lnTo>
                    <a:pt x="372" y="228"/>
                  </a:lnTo>
                  <a:lnTo>
                    <a:pt x="372" y="222"/>
                  </a:lnTo>
                  <a:lnTo>
                    <a:pt x="378" y="222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6" y="222"/>
                  </a:lnTo>
                  <a:lnTo>
                    <a:pt x="402" y="222"/>
                  </a:lnTo>
                  <a:lnTo>
                    <a:pt x="402" y="228"/>
                  </a:lnTo>
                  <a:lnTo>
                    <a:pt x="408" y="228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26" y="216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68" y="258"/>
                  </a:lnTo>
                  <a:lnTo>
                    <a:pt x="462" y="264"/>
                  </a:lnTo>
                  <a:lnTo>
                    <a:pt x="468" y="264"/>
                  </a:lnTo>
                  <a:lnTo>
                    <a:pt x="468" y="270"/>
                  </a:lnTo>
                  <a:lnTo>
                    <a:pt x="474" y="270"/>
                  </a:lnTo>
                  <a:lnTo>
                    <a:pt x="480" y="276"/>
                  </a:lnTo>
                  <a:lnTo>
                    <a:pt x="474" y="282"/>
                  </a:lnTo>
                  <a:lnTo>
                    <a:pt x="474" y="288"/>
                  </a:lnTo>
                  <a:lnTo>
                    <a:pt x="462" y="294"/>
                  </a:lnTo>
                  <a:lnTo>
                    <a:pt x="468" y="324"/>
                  </a:lnTo>
                  <a:lnTo>
                    <a:pt x="462" y="336"/>
                  </a:lnTo>
                  <a:lnTo>
                    <a:pt x="456" y="354"/>
                  </a:lnTo>
                  <a:lnTo>
                    <a:pt x="432" y="390"/>
                  </a:lnTo>
                  <a:lnTo>
                    <a:pt x="420" y="390"/>
                  </a:lnTo>
                  <a:lnTo>
                    <a:pt x="402" y="390"/>
                  </a:lnTo>
                  <a:lnTo>
                    <a:pt x="396" y="396"/>
                  </a:lnTo>
                  <a:lnTo>
                    <a:pt x="390" y="396"/>
                  </a:lnTo>
                  <a:lnTo>
                    <a:pt x="390" y="402"/>
                  </a:lnTo>
                  <a:lnTo>
                    <a:pt x="384" y="402"/>
                  </a:lnTo>
                  <a:lnTo>
                    <a:pt x="408" y="432"/>
                  </a:lnTo>
                  <a:lnTo>
                    <a:pt x="432" y="438"/>
                  </a:lnTo>
                  <a:lnTo>
                    <a:pt x="456" y="432"/>
                  </a:lnTo>
                  <a:lnTo>
                    <a:pt x="468" y="426"/>
                  </a:lnTo>
                  <a:lnTo>
                    <a:pt x="468" y="444"/>
                  </a:lnTo>
                  <a:lnTo>
                    <a:pt x="468" y="450"/>
                  </a:lnTo>
                  <a:lnTo>
                    <a:pt x="468" y="474"/>
                  </a:lnTo>
                  <a:lnTo>
                    <a:pt x="486" y="480"/>
                  </a:lnTo>
                  <a:lnTo>
                    <a:pt x="486" y="486"/>
                  </a:lnTo>
                  <a:lnTo>
                    <a:pt x="492" y="498"/>
                  </a:lnTo>
                  <a:lnTo>
                    <a:pt x="492" y="504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504" y="516"/>
                  </a:lnTo>
                  <a:lnTo>
                    <a:pt x="510" y="516"/>
                  </a:lnTo>
                  <a:lnTo>
                    <a:pt x="522" y="528"/>
                  </a:lnTo>
                  <a:lnTo>
                    <a:pt x="546" y="540"/>
                  </a:lnTo>
                  <a:lnTo>
                    <a:pt x="552" y="546"/>
                  </a:lnTo>
                  <a:lnTo>
                    <a:pt x="570" y="552"/>
                  </a:lnTo>
                  <a:lnTo>
                    <a:pt x="594" y="552"/>
                  </a:lnTo>
                  <a:lnTo>
                    <a:pt x="606" y="546"/>
                  </a:lnTo>
                  <a:lnTo>
                    <a:pt x="612" y="540"/>
                  </a:lnTo>
                  <a:lnTo>
                    <a:pt x="630" y="540"/>
                  </a:lnTo>
                  <a:lnTo>
                    <a:pt x="630" y="552"/>
                  </a:lnTo>
                  <a:lnTo>
                    <a:pt x="654" y="552"/>
                  </a:lnTo>
                  <a:lnTo>
                    <a:pt x="702" y="558"/>
                  </a:lnTo>
                  <a:lnTo>
                    <a:pt x="762" y="546"/>
                  </a:lnTo>
                  <a:lnTo>
                    <a:pt x="780" y="546"/>
                  </a:lnTo>
                  <a:lnTo>
                    <a:pt x="780" y="528"/>
                  </a:lnTo>
                  <a:lnTo>
                    <a:pt x="798" y="522"/>
                  </a:lnTo>
                  <a:lnTo>
                    <a:pt x="810" y="510"/>
                  </a:lnTo>
                  <a:lnTo>
                    <a:pt x="810" y="504"/>
                  </a:lnTo>
                  <a:lnTo>
                    <a:pt x="828" y="492"/>
                  </a:lnTo>
                  <a:lnTo>
                    <a:pt x="888" y="486"/>
                  </a:lnTo>
                  <a:lnTo>
                    <a:pt x="912" y="486"/>
                  </a:lnTo>
                  <a:lnTo>
                    <a:pt x="930" y="474"/>
                  </a:lnTo>
                  <a:lnTo>
                    <a:pt x="918" y="456"/>
                  </a:lnTo>
                  <a:lnTo>
                    <a:pt x="912" y="450"/>
                  </a:lnTo>
                  <a:lnTo>
                    <a:pt x="918" y="390"/>
                  </a:lnTo>
                  <a:lnTo>
                    <a:pt x="954" y="396"/>
                  </a:lnTo>
                  <a:lnTo>
                    <a:pt x="984" y="402"/>
                  </a:lnTo>
                  <a:lnTo>
                    <a:pt x="1014" y="420"/>
                  </a:lnTo>
                  <a:lnTo>
                    <a:pt x="1026" y="432"/>
                  </a:lnTo>
                  <a:lnTo>
                    <a:pt x="1044" y="450"/>
                  </a:lnTo>
                  <a:lnTo>
                    <a:pt x="1062" y="462"/>
                  </a:lnTo>
                  <a:lnTo>
                    <a:pt x="1098" y="468"/>
                  </a:lnTo>
                  <a:lnTo>
                    <a:pt x="1128" y="480"/>
                  </a:lnTo>
                  <a:lnTo>
                    <a:pt x="1152" y="486"/>
                  </a:lnTo>
                  <a:lnTo>
                    <a:pt x="1188" y="498"/>
                  </a:lnTo>
                  <a:lnTo>
                    <a:pt x="1212" y="504"/>
                  </a:lnTo>
                  <a:lnTo>
                    <a:pt x="1224" y="528"/>
                  </a:lnTo>
                  <a:lnTo>
                    <a:pt x="1236" y="540"/>
                  </a:lnTo>
                  <a:lnTo>
                    <a:pt x="1254" y="540"/>
                  </a:lnTo>
                  <a:lnTo>
                    <a:pt x="1254" y="546"/>
                  </a:lnTo>
                  <a:lnTo>
                    <a:pt x="1260" y="552"/>
                  </a:lnTo>
                  <a:lnTo>
                    <a:pt x="1266" y="552"/>
                  </a:lnTo>
                  <a:lnTo>
                    <a:pt x="1266" y="558"/>
                  </a:lnTo>
                  <a:lnTo>
                    <a:pt x="1272" y="564"/>
                  </a:lnTo>
                  <a:lnTo>
                    <a:pt x="1278" y="564"/>
                  </a:lnTo>
                  <a:lnTo>
                    <a:pt x="1278" y="570"/>
                  </a:lnTo>
                  <a:lnTo>
                    <a:pt x="1284" y="576"/>
                  </a:lnTo>
                  <a:lnTo>
                    <a:pt x="1290" y="582"/>
                  </a:lnTo>
                  <a:lnTo>
                    <a:pt x="1296" y="582"/>
                  </a:lnTo>
                  <a:lnTo>
                    <a:pt x="1296" y="588"/>
                  </a:lnTo>
                  <a:lnTo>
                    <a:pt x="1308" y="594"/>
                  </a:lnTo>
                  <a:lnTo>
                    <a:pt x="1308" y="600"/>
                  </a:lnTo>
                  <a:lnTo>
                    <a:pt x="1308" y="606"/>
                  </a:lnTo>
                  <a:lnTo>
                    <a:pt x="1314" y="612"/>
                  </a:lnTo>
                  <a:lnTo>
                    <a:pt x="1308" y="618"/>
                  </a:lnTo>
                  <a:lnTo>
                    <a:pt x="1314" y="618"/>
                  </a:lnTo>
                  <a:lnTo>
                    <a:pt x="1314" y="624"/>
                  </a:lnTo>
                  <a:lnTo>
                    <a:pt x="1308" y="624"/>
                  </a:lnTo>
                  <a:lnTo>
                    <a:pt x="1302" y="630"/>
                  </a:lnTo>
                  <a:lnTo>
                    <a:pt x="1302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296" y="654"/>
                  </a:lnTo>
                  <a:lnTo>
                    <a:pt x="1302" y="660"/>
                  </a:lnTo>
                  <a:lnTo>
                    <a:pt x="1302" y="666"/>
                  </a:lnTo>
                  <a:lnTo>
                    <a:pt x="1308" y="666"/>
                  </a:lnTo>
                  <a:lnTo>
                    <a:pt x="1308" y="672"/>
                  </a:lnTo>
                  <a:lnTo>
                    <a:pt x="1308" y="678"/>
                  </a:lnTo>
                  <a:lnTo>
                    <a:pt x="1308" y="684"/>
                  </a:lnTo>
                  <a:lnTo>
                    <a:pt x="1308" y="690"/>
                  </a:lnTo>
                  <a:lnTo>
                    <a:pt x="1302" y="696"/>
                  </a:lnTo>
                  <a:lnTo>
                    <a:pt x="1302" y="702"/>
                  </a:lnTo>
                  <a:lnTo>
                    <a:pt x="1308" y="702"/>
                  </a:lnTo>
                  <a:lnTo>
                    <a:pt x="1302" y="708"/>
                  </a:lnTo>
                  <a:lnTo>
                    <a:pt x="1308" y="714"/>
                  </a:lnTo>
                  <a:lnTo>
                    <a:pt x="1308" y="720"/>
                  </a:lnTo>
                  <a:lnTo>
                    <a:pt x="1308" y="726"/>
                  </a:lnTo>
                  <a:lnTo>
                    <a:pt x="1308" y="732"/>
                  </a:lnTo>
                  <a:lnTo>
                    <a:pt x="1314" y="732"/>
                  </a:lnTo>
                  <a:lnTo>
                    <a:pt x="1314" y="738"/>
                  </a:lnTo>
                  <a:lnTo>
                    <a:pt x="1320" y="744"/>
                  </a:lnTo>
                  <a:lnTo>
                    <a:pt x="1326" y="750"/>
                  </a:lnTo>
                  <a:lnTo>
                    <a:pt x="1320" y="750"/>
                  </a:lnTo>
                  <a:lnTo>
                    <a:pt x="1320" y="756"/>
                  </a:lnTo>
                  <a:lnTo>
                    <a:pt x="1314" y="756"/>
                  </a:lnTo>
                  <a:lnTo>
                    <a:pt x="1314" y="762"/>
                  </a:lnTo>
                  <a:lnTo>
                    <a:pt x="1314" y="768"/>
                  </a:lnTo>
                  <a:lnTo>
                    <a:pt x="1320" y="768"/>
                  </a:lnTo>
                  <a:lnTo>
                    <a:pt x="1320" y="762"/>
                  </a:lnTo>
                  <a:lnTo>
                    <a:pt x="1320" y="768"/>
                  </a:lnTo>
                  <a:lnTo>
                    <a:pt x="1326" y="774"/>
                  </a:lnTo>
                  <a:lnTo>
                    <a:pt x="1332" y="774"/>
                  </a:lnTo>
                  <a:lnTo>
                    <a:pt x="1332" y="780"/>
                  </a:lnTo>
                  <a:lnTo>
                    <a:pt x="1332" y="786"/>
                  </a:lnTo>
                  <a:lnTo>
                    <a:pt x="1332" y="792"/>
                  </a:lnTo>
                  <a:lnTo>
                    <a:pt x="1338" y="786"/>
                  </a:lnTo>
                  <a:lnTo>
                    <a:pt x="1338" y="792"/>
                  </a:lnTo>
                  <a:lnTo>
                    <a:pt x="1344" y="798"/>
                  </a:lnTo>
                  <a:lnTo>
                    <a:pt x="1344" y="804"/>
                  </a:lnTo>
                  <a:lnTo>
                    <a:pt x="1344" y="810"/>
                  </a:lnTo>
                  <a:lnTo>
                    <a:pt x="1344" y="816"/>
                  </a:lnTo>
                  <a:lnTo>
                    <a:pt x="1344" y="822"/>
                  </a:lnTo>
                  <a:lnTo>
                    <a:pt x="1338" y="828"/>
                  </a:lnTo>
                  <a:lnTo>
                    <a:pt x="1332" y="828"/>
                  </a:lnTo>
                  <a:lnTo>
                    <a:pt x="1338" y="840"/>
                  </a:lnTo>
                  <a:lnTo>
                    <a:pt x="1344" y="846"/>
                  </a:lnTo>
                  <a:lnTo>
                    <a:pt x="1344" y="852"/>
                  </a:lnTo>
                  <a:lnTo>
                    <a:pt x="1350" y="852"/>
                  </a:lnTo>
                  <a:lnTo>
                    <a:pt x="1356" y="858"/>
                  </a:lnTo>
                  <a:lnTo>
                    <a:pt x="1362" y="858"/>
                  </a:lnTo>
                  <a:lnTo>
                    <a:pt x="1362" y="870"/>
                  </a:lnTo>
                  <a:lnTo>
                    <a:pt x="1356" y="870"/>
                  </a:lnTo>
                  <a:lnTo>
                    <a:pt x="1356" y="876"/>
                  </a:lnTo>
                  <a:lnTo>
                    <a:pt x="1350" y="876"/>
                  </a:lnTo>
                  <a:lnTo>
                    <a:pt x="1344" y="876"/>
                  </a:lnTo>
                  <a:lnTo>
                    <a:pt x="1344" y="882"/>
                  </a:lnTo>
                  <a:lnTo>
                    <a:pt x="1338" y="882"/>
                  </a:lnTo>
                  <a:lnTo>
                    <a:pt x="1338" y="888"/>
                  </a:lnTo>
                  <a:lnTo>
                    <a:pt x="1338" y="894"/>
                  </a:lnTo>
                  <a:lnTo>
                    <a:pt x="1344" y="900"/>
                  </a:lnTo>
                  <a:lnTo>
                    <a:pt x="1344" y="906"/>
                  </a:lnTo>
                  <a:lnTo>
                    <a:pt x="1338" y="906"/>
                  </a:lnTo>
                  <a:lnTo>
                    <a:pt x="1332" y="912"/>
                  </a:lnTo>
                  <a:lnTo>
                    <a:pt x="1332" y="918"/>
                  </a:lnTo>
                  <a:lnTo>
                    <a:pt x="1326" y="918"/>
                  </a:lnTo>
                  <a:lnTo>
                    <a:pt x="1332" y="924"/>
                  </a:lnTo>
                  <a:lnTo>
                    <a:pt x="1284" y="942"/>
                  </a:lnTo>
                  <a:lnTo>
                    <a:pt x="1236" y="948"/>
                  </a:lnTo>
                  <a:lnTo>
                    <a:pt x="1194" y="966"/>
                  </a:lnTo>
                  <a:lnTo>
                    <a:pt x="1170" y="1002"/>
                  </a:lnTo>
                  <a:lnTo>
                    <a:pt x="1134" y="1020"/>
                  </a:lnTo>
                  <a:lnTo>
                    <a:pt x="1116" y="1032"/>
                  </a:lnTo>
                  <a:lnTo>
                    <a:pt x="1098" y="1050"/>
                  </a:lnTo>
                  <a:lnTo>
                    <a:pt x="1074" y="1074"/>
                  </a:lnTo>
                  <a:lnTo>
                    <a:pt x="1008" y="1134"/>
                  </a:lnTo>
                  <a:lnTo>
                    <a:pt x="990" y="1158"/>
                  </a:lnTo>
                  <a:lnTo>
                    <a:pt x="978" y="1182"/>
                  </a:lnTo>
                  <a:lnTo>
                    <a:pt x="960" y="1194"/>
                  </a:lnTo>
                  <a:lnTo>
                    <a:pt x="942" y="1212"/>
                  </a:lnTo>
                  <a:lnTo>
                    <a:pt x="912" y="1242"/>
                  </a:lnTo>
                  <a:lnTo>
                    <a:pt x="888" y="1254"/>
                  </a:lnTo>
                  <a:lnTo>
                    <a:pt x="864" y="1278"/>
                  </a:lnTo>
                  <a:lnTo>
                    <a:pt x="828" y="1296"/>
                  </a:lnTo>
                  <a:lnTo>
                    <a:pt x="774" y="1308"/>
                  </a:lnTo>
                  <a:lnTo>
                    <a:pt x="732" y="1302"/>
                  </a:lnTo>
                  <a:lnTo>
                    <a:pt x="702" y="1284"/>
                  </a:lnTo>
                  <a:lnTo>
                    <a:pt x="684" y="12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1" name="Freeform 16">
              <a:extLst>
                <a:ext uri="{FF2B5EF4-FFF2-40B4-BE49-F238E27FC236}">
                  <a16:creationId xmlns:a16="http://schemas.microsoft.com/office/drawing/2014/main" id="{D8D8591A-D9DB-4301-BEBD-D8F5A26DA9E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3001" y="2929369"/>
              <a:ext cx="914601" cy="1037736"/>
            </a:xfrm>
            <a:custGeom>
              <a:avLst/>
              <a:gdLst>
                <a:gd name="T0" fmla="*/ 144 w 1722"/>
                <a:gd name="T1" fmla="*/ 131 h 1956"/>
                <a:gd name="T2" fmla="*/ 142 w 1722"/>
                <a:gd name="T3" fmla="*/ 139 h 1956"/>
                <a:gd name="T4" fmla="*/ 137 w 1722"/>
                <a:gd name="T5" fmla="*/ 143 h 1956"/>
                <a:gd name="T6" fmla="*/ 133 w 1722"/>
                <a:gd name="T7" fmla="*/ 147 h 1956"/>
                <a:gd name="T8" fmla="*/ 132 w 1722"/>
                <a:gd name="T9" fmla="*/ 152 h 1956"/>
                <a:gd name="T10" fmla="*/ 130 w 1722"/>
                <a:gd name="T11" fmla="*/ 159 h 1956"/>
                <a:gd name="T12" fmla="*/ 127 w 1722"/>
                <a:gd name="T13" fmla="*/ 164 h 1956"/>
                <a:gd name="T14" fmla="*/ 123 w 1722"/>
                <a:gd name="T15" fmla="*/ 168 h 1956"/>
                <a:gd name="T16" fmla="*/ 117 w 1722"/>
                <a:gd name="T17" fmla="*/ 169 h 1956"/>
                <a:gd name="T18" fmla="*/ 110 w 1722"/>
                <a:gd name="T19" fmla="*/ 168 h 1956"/>
                <a:gd name="T20" fmla="*/ 104 w 1722"/>
                <a:gd name="T21" fmla="*/ 166 h 1956"/>
                <a:gd name="T22" fmla="*/ 101 w 1722"/>
                <a:gd name="T23" fmla="*/ 159 h 1956"/>
                <a:gd name="T24" fmla="*/ 95 w 1722"/>
                <a:gd name="T25" fmla="*/ 156 h 1956"/>
                <a:gd name="T26" fmla="*/ 89 w 1722"/>
                <a:gd name="T27" fmla="*/ 151 h 1956"/>
                <a:gd name="T28" fmla="*/ 87 w 1722"/>
                <a:gd name="T29" fmla="*/ 144 h 1956"/>
                <a:gd name="T30" fmla="*/ 82 w 1722"/>
                <a:gd name="T31" fmla="*/ 141 h 1956"/>
                <a:gd name="T32" fmla="*/ 76 w 1722"/>
                <a:gd name="T33" fmla="*/ 134 h 1956"/>
                <a:gd name="T34" fmla="*/ 74 w 1722"/>
                <a:gd name="T35" fmla="*/ 143 h 1956"/>
                <a:gd name="T36" fmla="*/ 68 w 1722"/>
                <a:gd name="T37" fmla="*/ 147 h 1956"/>
                <a:gd name="T38" fmla="*/ 54 w 1722"/>
                <a:gd name="T39" fmla="*/ 144 h 1956"/>
                <a:gd name="T40" fmla="*/ 51 w 1722"/>
                <a:gd name="T41" fmla="*/ 142 h 1956"/>
                <a:gd name="T42" fmla="*/ 42 w 1722"/>
                <a:gd name="T43" fmla="*/ 151 h 1956"/>
                <a:gd name="T44" fmla="*/ 33 w 1722"/>
                <a:gd name="T45" fmla="*/ 154 h 1956"/>
                <a:gd name="T46" fmla="*/ 31 w 1722"/>
                <a:gd name="T47" fmla="*/ 159 h 1956"/>
                <a:gd name="T48" fmla="*/ 29 w 1722"/>
                <a:gd name="T49" fmla="*/ 166 h 1956"/>
                <a:gd name="T50" fmla="*/ 25 w 1722"/>
                <a:gd name="T51" fmla="*/ 169 h 1956"/>
                <a:gd name="T52" fmla="*/ 27 w 1722"/>
                <a:gd name="T53" fmla="*/ 154 h 1956"/>
                <a:gd name="T54" fmla="*/ 37 w 1722"/>
                <a:gd name="T55" fmla="*/ 133 h 1956"/>
                <a:gd name="T56" fmla="*/ 36 w 1722"/>
                <a:gd name="T57" fmla="*/ 109 h 1956"/>
                <a:gd name="T58" fmla="*/ 27 w 1722"/>
                <a:gd name="T59" fmla="*/ 101 h 1956"/>
                <a:gd name="T60" fmla="*/ 5 w 1722"/>
                <a:gd name="T61" fmla="*/ 98 h 1956"/>
                <a:gd name="T62" fmla="*/ 2 w 1722"/>
                <a:gd name="T63" fmla="*/ 93 h 1956"/>
                <a:gd name="T64" fmla="*/ 12 w 1722"/>
                <a:gd name="T65" fmla="*/ 82 h 1956"/>
                <a:gd name="T66" fmla="*/ 9 w 1722"/>
                <a:gd name="T67" fmla="*/ 74 h 1956"/>
                <a:gd name="T68" fmla="*/ 23 w 1722"/>
                <a:gd name="T69" fmla="*/ 72 h 1956"/>
                <a:gd name="T70" fmla="*/ 22 w 1722"/>
                <a:gd name="T71" fmla="*/ 67 h 1956"/>
                <a:gd name="T72" fmla="*/ 48 w 1722"/>
                <a:gd name="T73" fmla="*/ 57 h 1956"/>
                <a:gd name="T74" fmla="*/ 78 w 1722"/>
                <a:gd name="T75" fmla="*/ 34 h 1956"/>
                <a:gd name="T76" fmla="*/ 81 w 1722"/>
                <a:gd name="T77" fmla="*/ 31 h 1956"/>
                <a:gd name="T78" fmla="*/ 80 w 1722"/>
                <a:gd name="T79" fmla="*/ 26 h 1956"/>
                <a:gd name="T80" fmla="*/ 78 w 1722"/>
                <a:gd name="T81" fmla="*/ 21 h 1956"/>
                <a:gd name="T82" fmla="*/ 77 w 1722"/>
                <a:gd name="T83" fmla="*/ 18 h 1956"/>
                <a:gd name="T84" fmla="*/ 77 w 1722"/>
                <a:gd name="T85" fmla="*/ 12 h 1956"/>
                <a:gd name="T86" fmla="*/ 77 w 1722"/>
                <a:gd name="T87" fmla="*/ 7 h 1956"/>
                <a:gd name="T88" fmla="*/ 102 w 1722"/>
                <a:gd name="T89" fmla="*/ 2 h 1956"/>
                <a:gd name="T90" fmla="*/ 115 w 1722"/>
                <a:gd name="T91" fmla="*/ 3 h 1956"/>
                <a:gd name="T92" fmla="*/ 123 w 1722"/>
                <a:gd name="T93" fmla="*/ 3 h 1956"/>
                <a:gd name="T94" fmla="*/ 125 w 1722"/>
                <a:gd name="T95" fmla="*/ 9 h 1956"/>
                <a:gd name="T96" fmla="*/ 133 w 1722"/>
                <a:gd name="T97" fmla="*/ 13 h 1956"/>
                <a:gd name="T98" fmla="*/ 149 w 1722"/>
                <a:gd name="T99" fmla="*/ 37 h 1956"/>
                <a:gd name="T100" fmla="*/ 141 w 1722"/>
                <a:gd name="T101" fmla="*/ 57 h 1956"/>
                <a:gd name="T102" fmla="*/ 135 w 1722"/>
                <a:gd name="T103" fmla="*/ 63 h 1956"/>
                <a:gd name="T104" fmla="*/ 124 w 1722"/>
                <a:gd name="T105" fmla="*/ 77 h 1956"/>
                <a:gd name="T106" fmla="*/ 123 w 1722"/>
                <a:gd name="T107" fmla="*/ 96 h 1956"/>
                <a:gd name="T108" fmla="*/ 127 w 1722"/>
                <a:gd name="T109" fmla="*/ 97 h 1956"/>
                <a:gd name="T110" fmla="*/ 129 w 1722"/>
                <a:gd name="T111" fmla="*/ 92 h 1956"/>
                <a:gd name="T112" fmla="*/ 134 w 1722"/>
                <a:gd name="T113" fmla="*/ 94 h 1956"/>
                <a:gd name="T114" fmla="*/ 138 w 1722"/>
                <a:gd name="T115" fmla="*/ 99 h 1956"/>
                <a:gd name="T116" fmla="*/ 142 w 1722"/>
                <a:gd name="T117" fmla="*/ 104 h 1956"/>
                <a:gd name="T118" fmla="*/ 141 w 1722"/>
                <a:gd name="T119" fmla="*/ 115 h 19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722"/>
                <a:gd name="T181" fmla="*/ 0 h 1956"/>
                <a:gd name="T182" fmla="*/ 1722 w 1722"/>
                <a:gd name="T183" fmla="*/ 1956 h 19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722" h="1956">
                  <a:moveTo>
                    <a:pt x="1686" y="1404"/>
                  </a:moveTo>
                  <a:lnTo>
                    <a:pt x="1680" y="1416"/>
                  </a:lnTo>
                  <a:lnTo>
                    <a:pt x="1674" y="1422"/>
                  </a:lnTo>
                  <a:lnTo>
                    <a:pt x="1674" y="1428"/>
                  </a:lnTo>
                  <a:lnTo>
                    <a:pt x="1668" y="1428"/>
                  </a:lnTo>
                  <a:lnTo>
                    <a:pt x="1668" y="1434"/>
                  </a:lnTo>
                  <a:lnTo>
                    <a:pt x="1662" y="1446"/>
                  </a:lnTo>
                  <a:lnTo>
                    <a:pt x="1656" y="1464"/>
                  </a:lnTo>
                  <a:lnTo>
                    <a:pt x="1656" y="1476"/>
                  </a:lnTo>
                  <a:lnTo>
                    <a:pt x="1656" y="1488"/>
                  </a:lnTo>
                  <a:lnTo>
                    <a:pt x="1662" y="1500"/>
                  </a:lnTo>
                  <a:lnTo>
                    <a:pt x="1662" y="1506"/>
                  </a:lnTo>
                  <a:lnTo>
                    <a:pt x="1662" y="1524"/>
                  </a:lnTo>
                  <a:lnTo>
                    <a:pt x="1668" y="1542"/>
                  </a:lnTo>
                  <a:lnTo>
                    <a:pt x="1674" y="1560"/>
                  </a:lnTo>
                  <a:lnTo>
                    <a:pt x="1680" y="1578"/>
                  </a:lnTo>
                  <a:lnTo>
                    <a:pt x="1686" y="1578"/>
                  </a:lnTo>
                  <a:lnTo>
                    <a:pt x="1686" y="1584"/>
                  </a:lnTo>
                  <a:lnTo>
                    <a:pt x="1686" y="1590"/>
                  </a:lnTo>
                  <a:lnTo>
                    <a:pt x="1686" y="1596"/>
                  </a:lnTo>
                  <a:lnTo>
                    <a:pt x="1680" y="1596"/>
                  </a:lnTo>
                  <a:lnTo>
                    <a:pt x="1674" y="1602"/>
                  </a:lnTo>
                  <a:lnTo>
                    <a:pt x="1662" y="1602"/>
                  </a:lnTo>
                  <a:lnTo>
                    <a:pt x="1638" y="1596"/>
                  </a:lnTo>
                  <a:lnTo>
                    <a:pt x="1632" y="1596"/>
                  </a:lnTo>
                  <a:lnTo>
                    <a:pt x="1626" y="1602"/>
                  </a:lnTo>
                  <a:lnTo>
                    <a:pt x="1620" y="1602"/>
                  </a:lnTo>
                  <a:lnTo>
                    <a:pt x="1614" y="1602"/>
                  </a:lnTo>
                  <a:lnTo>
                    <a:pt x="1602" y="1602"/>
                  </a:lnTo>
                  <a:lnTo>
                    <a:pt x="1602" y="1608"/>
                  </a:lnTo>
                  <a:lnTo>
                    <a:pt x="1602" y="1620"/>
                  </a:lnTo>
                  <a:lnTo>
                    <a:pt x="1596" y="1620"/>
                  </a:lnTo>
                  <a:lnTo>
                    <a:pt x="1590" y="1620"/>
                  </a:lnTo>
                  <a:lnTo>
                    <a:pt x="1584" y="1626"/>
                  </a:lnTo>
                  <a:lnTo>
                    <a:pt x="1584" y="1632"/>
                  </a:lnTo>
                  <a:lnTo>
                    <a:pt x="1578" y="1644"/>
                  </a:lnTo>
                  <a:lnTo>
                    <a:pt x="1572" y="1644"/>
                  </a:lnTo>
                  <a:lnTo>
                    <a:pt x="1566" y="1644"/>
                  </a:lnTo>
                  <a:lnTo>
                    <a:pt x="1566" y="1650"/>
                  </a:lnTo>
                  <a:lnTo>
                    <a:pt x="1560" y="1650"/>
                  </a:lnTo>
                  <a:lnTo>
                    <a:pt x="1554" y="1650"/>
                  </a:lnTo>
                  <a:lnTo>
                    <a:pt x="1548" y="1650"/>
                  </a:lnTo>
                  <a:lnTo>
                    <a:pt x="1548" y="1656"/>
                  </a:lnTo>
                  <a:lnTo>
                    <a:pt x="1542" y="1668"/>
                  </a:lnTo>
                  <a:lnTo>
                    <a:pt x="1542" y="1674"/>
                  </a:lnTo>
                  <a:lnTo>
                    <a:pt x="1542" y="1692"/>
                  </a:lnTo>
                  <a:lnTo>
                    <a:pt x="1536" y="1698"/>
                  </a:lnTo>
                  <a:lnTo>
                    <a:pt x="1530" y="1698"/>
                  </a:lnTo>
                  <a:lnTo>
                    <a:pt x="1524" y="1698"/>
                  </a:lnTo>
                  <a:lnTo>
                    <a:pt x="1518" y="1704"/>
                  </a:lnTo>
                  <a:lnTo>
                    <a:pt x="1512" y="1710"/>
                  </a:lnTo>
                  <a:lnTo>
                    <a:pt x="1506" y="1722"/>
                  </a:lnTo>
                  <a:lnTo>
                    <a:pt x="1500" y="1728"/>
                  </a:lnTo>
                  <a:lnTo>
                    <a:pt x="1500" y="1734"/>
                  </a:lnTo>
                  <a:lnTo>
                    <a:pt x="1512" y="1734"/>
                  </a:lnTo>
                  <a:lnTo>
                    <a:pt x="1518" y="1740"/>
                  </a:lnTo>
                  <a:lnTo>
                    <a:pt x="1518" y="1746"/>
                  </a:lnTo>
                  <a:lnTo>
                    <a:pt x="1518" y="1752"/>
                  </a:lnTo>
                  <a:lnTo>
                    <a:pt x="1518" y="1758"/>
                  </a:lnTo>
                  <a:lnTo>
                    <a:pt x="1524" y="1758"/>
                  </a:lnTo>
                  <a:lnTo>
                    <a:pt x="1524" y="1764"/>
                  </a:lnTo>
                  <a:lnTo>
                    <a:pt x="1530" y="1770"/>
                  </a:lnTo>
                  <a:lnTo>
                    <a:pt x="1518" y="1770"/>
                  </a:lnTo>
                  <a:lnTo>
                    <a:pt x="1512" y="1782"/>
                  </a:lnTo>
                  <a:lnTo>
                    <a:pt x="1512" y="1788"/>
                  </a:lnTo>
                  <a:lnTo>
                    <a:pt x="1518" y="1788"/>
                  </a:lnTo>
                  <a:lnTo>
                    <a:pt x="1524" y="1800"/>
                  </a:lnTo>
                  <a:lnTo>
                    <a:pt x="1524" y="1806"/>
                  </a:lnTo>
                  <a:lnTo>
                    <a:pt x="1518" y="1812"/>
                  </a:lnTo>
                  <a:lnTo>
                    <a:pt x="1512" y="1818"/>
                  </a:lnTo>
                  <a:lnTo>
                    <a:pt x="1506" y="1818"/>
                  </a:lnTo>
                  <a:lnTo>
                    <a:pt x="1500" y="1824"/>
                  </a:lnTo>
                  <a:lnTo>
                    <a:pt x="1500" y="1836"/>
                  </a:lnTo>
                  <a:lnTo>
                    <a:pt x="1500" y="1842"/>
                  </a:lnTo>
                  <a:lnTo>
                    <a:pt x="1500" y="1848"/>
                  </a:lnTo>
                  <a:lnTo>
                    <a:pt x="1500" y="1854"/>
                  </a:lnTo>
                  <a:lnTo>
                    <a:pt x="1494" y="1860"/>
                  </a:lnTo>
                  <a:lnTo>
                    <a:pt x="1488" y="1860"/>
                  </a:lnTo>
                  <a:lnTo>
                    <a:pt x="1488" y="1866"/>
                  </a:lnTo>
                  <a:lnTo>
                    <a:pt x="1482" y="1872"/>
                  </a:lnTo>
                  <a:lnTo>
                    <a:pt x="1482" y="1878"/>
                  </a:lnTo>
                  <a:lnTo>
                    <a:pt x="1482" y="1884"/>
                  </a:lnTo>
                  <a:lnTo>
                    <a:pt x="1476" y="1890"/>
                  </a:lnTo>
                  <a:lnTo>
                    <a:pt x="1470" y="1890"/>
                  </a:lnTo>
                  <a:lnTo>
                    <a:pt x="1470" y="1896"/>
                  </a:lnTo>
                  <a:lnTo>
                    <a:pt x="1464" y="1896"/>
                  </a:lnTo>
                  <a:lnTo>
                    <a:pt x="1458" y="1896"/>
                  </a:lnTo>
                  <a:lnTo>
                    <a:pt x="1452" y="1896"/>
                  </a:lnTo>
                  <a:lnTo>
                    <a:pt x="1440" y="1890"/>
                  </a:lnTo>
                  <a:lnTo>
                    <a:pt x="1434" y="1896"/>
                  </a:lnTo>
                  <a:lnTo>
                    <a:pt x="1428" y="1896"/>
                  </a:lnTo>
                  <a:lnTo>
                    <a:pt x="1422" y="1896"/>
                  </a:lnTo>
                  <a:lnTo>
                    <a:pt x="1422" y="1902"/>
                  </a:lnTo>
                  <a:lnTo>
                    <a:pt x="1416" y="1902"/>
                  </a:lnTo>
                  <a:lnTo>
                    <a:pt x="1422" y="1914"/>
                  </a:lnTo>
                  <a:lnTo>
                    <a:pt x="1422" y="1932"/>
                  </a:lnTo>
                  <a:lnTo>
                    <a:pt x="1416" y="1938"/>
                  </a:lnTo>
                  <a:lnTo>
                    <a:pt x="1422" y="1938"/>
                  </a:lnTo>
                  <a:lnTo>
                    <a:pt x="1404" y="1938"/>
                  </a:lnTo>
                  <a:lnTo>
                    <a:pt x="1392" y="1944"/>
                  </a:lnTo>
                  <a:lnTo>
                    <a:pt x="1386" y="1944"/>
                  </a:lnTo>
                  <a:lnTo>
                    <a:pt x="1374" y="1944"/>
                  </a:lnTo>
                  <a:lnTo>
                    <a:pt x="1368" y="1950"/>
                  </a:lnTo>
                  <a:lnTo>
                    <a:pt x="1374" y="1956"/>
                  </a:lnTo>
                  <a:lnTo>
                    <a:pt x="1368" y="1956"/>
                  </a:lnTo>
                  <a:lnTo>
                    <a:pt x="1356" y="1956"/>
                  </a:lnTo>
                  <a:lnTo>
                    <a:pt x="1350" y="1956"/>
                  </a:lnTo>
                  <a:lnTo>
                    <a:pt x="1350" y="1950"/>
                  </a:lnTo>
                  <a:lnTo>
                    <a:pt x="1344" y="1944"/>
                  </a:lnTo>
                  <a:lnTo>
                    <a:pt x="1332" y="1938"/>
                  </a:lnTo>
                  <a:lnTo>
                    <a:pt x="1326" y="1938"/>
                  </a:lnTo>
                  <a:lnTo>
                    <a:pt x="1320" y="1938"/>
                  </a:lnTo>
                  <a:lnTo>
                    <a:pt x="1314" y="1944"/>
                  </a:lnTo>
                  <a:lnTo>
                    <a:pt x="1308" y="1944"/>
                  </a:lnTo>
                  <a:lnTo>
                    <a:pt x="1302" y="1944"/>
                  </a:lnTo>
                  <a:lnTo>
                    <a:pt x="1296" y="1938"/>
                  </a:lnTo>
                  <a:lnTo>
                    <a:pt x="1284" y="1938"/>
                  </a:lnTo>
                  <a:lnTo>
                    <a:pt x="1278" y="1938"/>
                  </a:lnTo>
                  <a:lnTo>
                    <a:pt x="1272" y="1938"/>
                  </a:lnTo>
                  <a:lnTo>
                    <a:pt x="1266" y="1932"/>
                  </a:lnTo>
                  <a:lnTo>
                    <a:pt x="1260" y="1932"/>
                  </a:lnTo>
                  <a:lnTo>
                    <a:pt x="1254" y="1920"/>
                  </a:lnTo>
                  <a:lnTo>
                    <a:pt x="1248" y="1920"/>
                  </a:lnTo>
                  <a:lnTo>
                    <a:pt x="1242" y="1920"/>
                  </a:lnTo>
                  <a:lnTo>
                    <a:pt x="1236" y="1926"/>
                  </a:lnTo>
                  <a:lnTo>
                    <a:pt x="1236" y="1932"/>
                  </a:lnTo>
                  <a:lnTo>
                    <a:pt x="1230" y="1932"/>
                  </a:lnTo>
                  <a:lnTo>
                    <a:pt x="1224" y="1932"/>
                  </a:lnTo>
                  <a:lnTo>
                    <a:pt x="1218" y="1938"/>
                  </a:lnTo>
                  <a:lnTo>
                    <a:pt x="1212" y="1932"/>
                  </a:lnTo>
                  <a:lnTo>
                    <a:pt x="1206" y="1926"/>
                  </a:lnTo>
                  <a:lnTo>
                    <a:pt x="1206" y="1908"/>
                  </a:lnTo>
                  <a:lnTo>
                    <a:pt x="1206" y="1884"/>
                  </a:lnTo>
                  <a:lnTo>
                    <a:pt x="1206" y="1866"/>
                  </a:lnTo>
                  <a:lnTo>
                    <a:pt x="1212" y="1848"/>
                  </a:lnTo>
                  <a:lnTo>
                    <a:pt x="1212" y="1842"/>
                  </a:lnTo>
                  <a:lnTo>
                    <a:pt x="1206" y="1836"/>
                  </a:lnTo>
                  <a:lnTo>
                    <a:pt x="1200" y="1830"/>
                  </a:lnTo>
                  <a:lnTo>
                    <a:pt x="1194" y="1824"/>
                  </a:lnTo>
                  <a:lnTo>
                    <a:pt x="1188" y="1824"/>
                  </a:lnTo>
                  <a:lnTo>
                    <a:pt x="1182" y="1824"/>
                  </a:lnTo>
                  <a:lnTo>
                    <a:pt x="1176" y="1824"/>
                  </a:lnTo>
                  <a:lnTo>
                    <a:pt x="1170" y="1818"/>
                  </a:lnTo>
                  <a:lnTo>
                    <a:pt x="1164" y="1830"/>
                  </a:lnTo>
                  <a:lnTo>
                    <a:pt x="1152" y="1836"/>
                  </a:lnTo>
                  <a:lnTo>
                    <a:pt x="1146" y="1842"/>
                  </a:lnTo>
                  <a:lnTo>
                    <a:pt x="1140" y="1842"/>
                  </a:lnTo>
                  <a:lnTo>
                    <a:pt x="1134" y="1842"/>
                  </a:lnTo>
                  <a:lnTo>
                    <a:pt x="1128" y="1842"/>
                  </a:lnTo>
                  <a:lnTo>
                    <a:pt x="1116" y="1836"/>
                  </a:lnTo>
                  <a:lnTo>
                    <a:pt x="1110" y="1842"/>
                  </a:lnTo>
                  <a:lnTo>
                    <a:pt x="1092" y="1830"/>
                  </a:lnTo>
                  <a:lnTo>
                    <a:pt x="1092" y="1824"/>
                  </a:lnTo>
                  <a:lnTo>
                    <a:pt x="1092" y="1806"/>
                  </a:lnTo>
                  <a:lnTo>
                    <a:pt x="1092" y="1800"/>
                  </a:lnTo>
                  <a:lnTo>
                    <a:pt x="1092" y="1794"/>
                  </a:lnTo>
                  <a:lnTo>
                    <a:pt x="1086" y="1788"/>
                  </a:lnTo>
                  <a:lnTo>
                    <a:pt x="1080" y="1794"/>
                  </a:lnTo>
                  <a:lnTo>
                    <a:pt x="1074" y="1788"/>
                  </a:lnTo>
                  <a:lnTo>
                    <a:pt x="1068" y="1770"/>
                  </a:lnTo>
                  <a:lnTo>
                    <a:pt x="1056" y="1764"/>
                  </a:lnTo>
                  <a:lnTo>
                    <a:pt x="1050" y="1764"/>
                  </a:lnTo>
                  <a:lnTo>
                    <a:pt x="1044" y="1764"/>
                  </a:lnTo>
                  <a:lnTo>
                    <a:pt x="1038" y="1758"/>
                  </a:lnTo>
                  <a:lnTo>
                    <a:pt x="1032" y="1752"/>
                  </a:lnTo>
                  <a:lnTo>
                    <a:pt x="1032" y="1746"/>
                  </a:lnTo>
                  <a:lnTo>
                    <a:pt x="1032" y="1740"/>
                  </a:lnTo>
                  <a:lnTo>
                    <a:pt x="1032" y="1734"/>
                  </a:lnTo>
                  <a:lnTo>
                    <a:pt x="1026" y="1734"/>
                  </a:lnTo>
                  <a:lnTo>
                    <a:pt x="1032" y="1728"/>
                  </a:lnTo>
                  <a:lnTo>
                    <a:pt x="1032" y="1722"/>
                  </a:lnTo>
                  <a:lnTo>
                    <a:pt x="1044" y="1686"/>
                  </a:lnTo>
                  <a:lnTo>
                    <a:pt x="1044" y="1680"/>
                  </a:lnTo>
                  <a:lnTo>
                    <a:pt x="1032" y="1674"/>
                  </a:lnTo>
                  <a:lnTo>
                    <a:pt x="1026" y="1674"/>
                  </a:lnTo>
                  <a:lnTo>
                    <a:pt x="1026" y="1668"/>
                  </a:lnTo>
                  <a:lnTo>
                    <a:pt x="1020" y="1662"/>
                  </a:lnTo>
                  <a:lnTo>
                    <a:pt x="1014" y="1668"/>
                  </a:lnTo>
                  <a:lnTo>
                    <a:pt x="1008" y="1662"/>
                  </a:lnTo>
                  <a:lnTo>
                    <a:pt x="1002" y="1662"/>
                  </a:lnTo>
                  <a:lnTo>
                    <a:pt x="1002" y="1668"/>
                  </a:lnTo>
                  <a:lnTo>
                    <a:pt x="996" y="1668"/>
                  </a:lnTo>
                  <a:lnTo>
                    <a:pt x="996" y="1662"/>
                  </a:lnTo>
                  <a:lnTo>
                    <a:pt x="984" y="1662"/>
                  </a:lnTo>
                  <a:lnTo>
                    <a:pt x="984" y="1656"/>
                  </a:lnTo>
                  <a:lnTo>
                    <a:pt x="978" y="1650"/>
                  </a:lnTo>
                  <a:lnTo>
                    <a:pt x="978" y="1644"/>
                  </a:lnTo>
                  <a:lnTo>
                    <a:pt x="966" y="1650"/>
                  </a:lnTo>
                  <a:lnTo>
                    <a:pt x="960" y="1638"/>
                  </a:lnTo>
                  <a:lnTo>
                    <a:pt x="954" y="1632"/>
                  </a:lnTo>
                  <a:lnTo>
                    <a:pt x="948" y="1632"/>
                  </a:lnTo>
                  <a:lnTo>
                    <a:pt x="942" y="1626"/>
                  </a:lnTo>
                  <a:lnTo>
                    <a:pt x="942" y="1614"/>
                  </a:lnTo>
                  <a:lnTo>
                    <a:pt x="930" y="1608"/>
                  </a:lnTo>
                  <a:lnTo>
                    <a:pt x="924" y="1614"/>
                  </a:lnTo>
                  <a:lnTo>
                    <a:pt x="912" y="1608"/>
                  </a:lnTo>
                  <a:lnTo>
                    <a:pt x="888" y="1590"/>
                  </a:lnTo>
                  <a:lnTo>
                    <a:pt x="894" y="1578"/>
                  </a:lnTo>
                  <a:lnTo>
                    <a:pt x="894" y="1572"/>
                  </a:lnTo>
                  <a:lnTo>
                    <a:pt x="894" y="1566"/>
                  </a:lnTo>
                  <a:lnTo>
                    <a:pt x="894" y="1548"/>
                  </a:lnTo>
                  <a:lnTo>
                    <a:pt x="888" y="1548"/>
                  </a:lnTo>
                  <a:lnTo>
                    <a:pt x="882" y="1542"/>
                  </a:lnTo>
                  <a:lnTo>
                    <a:pt x="876" y="1542"/>
                  </a:lnTo>
                  <a:lnTo>
                    <a:pt x="876" y="1536"/>
                  </a:lnTo>
                  <a:lnTo>
                    <a:pt x="870" y="1542"/>
                  </a:lnTo>
                  <a:lnTo>
                    <a:pt x="870" y="1554"/>
                  </a:lnTo>
                  <a:lnTo>
                    <a:pt x="870" y="1566"/>
                  </a:lnTo>
                  <a:lnTo>
                    <a:pt x="870" y="1578"/>
                  </a:lnTo>
                  <a:lnTo>
                    <a:pt x="870" y="1584"/>
                  </a:lnTo>
                  <a:lnTo>
                    <a:pt x="864" y="1584"/>
                  </a:lnTo>
                  <a:lnTo>
                    <a:pt x="870" y="1602"/>
                  </a:lnTo>
                  <a:lnTo>
                    <a:pt x="864" y="1608"/>
                  </a:lnTo>
                  <a:lnTo>
                    <a:pt x="870" y="1614"/>
                  </a:lnTo>
                  <a:lnTo>
                    <a:pt x="864" y="1644"/>
                  </a:lnTo>
                  <a:lnTo>
                    <a:pt x="858" y="1650"/>
                  </a:lnTo>
                  <a:lnTo>
                    <a:pt x="858" y="1656"/>
                  </a:lnTo>
                  <a:lnTo>
                    <a:pt x="852" y="1662"/>
                  </a:lnTo>
                  <a:lnTo>
                    <a:pt x="852" y="1680"/>
                  </a:lnTo>
                  <a:lnTo>
                    <a:pt x="846" y="1686"/>
                  </a:lnTo>
                  <a:lnTo>
                    <a:pt x="834" y="1692"/>
                  </a:lnTo>
                  <a:lnTo>
                    <a:pt x="828" y="1692"/>
                  </a:lnTo>
                  <a:lnTo>
                    <a:pt x="822" y="1698"/>
                  </a:lnTo>
                  <a:lnTo>
                    <a:pt x="822" y="1704"/>
                  </a:lnTo>
                  <a:lnTo>
                    <a:pt x="816" y="1704"/>
                  </a:lnTo>
                  <a:lnTo>
                    <a:pt x="804" y="1692"/>
                  </a:lnTo>
                  <a:lnTo>
                    <a:pt x="786" y="1698"/>
                  </a:lnTo>
                  <a:lnTo>
                    <a:pt x="780" y="1698"/>
                  </a:lnTo>
                  <a:lnTo>
                    <a:pt x="756" y="1698"/>
                  </a:lnTo>
                  <a:lnTo>
                    <a:pt x="744" y="1698"/>
                  </a:lnTo>
                  <a:lnTo>
                    <a:pt x="738" y="1698"/>
                  </a:lnTo>
                  <a:lnTo>
                    <a:pt x="732" y="1704"/>
                  </a:lnTo>
                  <a:lnTo>
                    <a:pt x="726" y="1704"/>
                  </a:lnTo>
                  <a:lnTo>
                    <a:pt x="678" y="1710"/>
                  </a:lnTo>
                  <a:lnTo>
                    <a:pt x="642" y="1710"/>
                  </a:lnTo>
                  <a:lnTo>
                    <a:pt x="618" y="1680"/>
                  </a:lnTo>
                  <a:lnTo>
                    <a:pt x="618" y="1674"/>
                  </a:lnTo>
                  <a:lnTo>
                    <a:pt x="618" y="1668"/>
                  </a:lnTo>
                  <a:lnTo>
                    <a:pt x="624" y="1662"/>
                  </a:lnTo>
                  <a:lnTo>
                    <a:pt x="624" y="1656"/>
                  </a:lnTo>
                  <a:lnTo>
                    <a:pt x="624" y="1650"/>
                  </a:lnTo>
                  <a:lnTo>
                    <a:pt x="618" y="1650"/>
                  </a:lnTo>
                  <a:lnTo>
                    <a:pt x="618" y="1644"/>
                  </a:lnTo>
                  <a:lnTo>
                    <a:pt x="618" y="1638"/>
                  </a:lnTo>
                  <a:lnTo>
                    <a:pt x="618" y="1632"/>
                  </a:lnTo>
                  <a:lnTo>
                    <a:pt x="618" y="1626"/>
                  </a:lnTo>
                  <a:lnTo>
                    <a:pt x="612" y="1626"/>
                  </a:lnTo>
                  <a:lnTo>
                    <a:pt x="612" y="1620"/>
                  </a:lnTo>
                  <a:lnTo>
                    <a:pt x="606" y="1614"/>
                  </a:lnTo>
                  <a:lnTo>
                    <a:pt x="594" y="1626"/>
                  </a:lnTo>
                  <a:lnTo>
                    <a:pt x="594" y="1632"/>
                  </a:lnTo>
                  <a:lnTo>
                    <a:pt x="588" y="1638"/>
                  </a:lnTo>
                  <a:lnTo>
                    <a:pt x="582" y="1638"/>
                  </a:lnTo>
                  <a:lnTo>
                    <a:pt x="564" y="1656"/>
                  </a:lnTo>
                  <a:lnTo>
                    <a:pt x="558" y="1662"/>
                  </a:lnTo>
                  <a:lnTo>
                    <a:pt x="552" y="1662"/>
                  </a:lnTo>
                  <a:lnTo>
                    <a:pt x="540" y="1674"/>
                  </a:lnTo>
                  <a:lnTo>
                    <a:pt x="534" y="1680"/>
                  </a:lnTo>
                  <a:lnTo>
                    <a:pt x="522" y="1692"/>
                  </a:lnTo>
                  <a:lnTo>
                    <a:pt x="516" y="1704"/>
                  </a:lnTo>
                  <a:lnTo>
                    <a:pt x="510" y="1704"/>
                  </a:lnTo>
                  <a:lnTo>
                    <a:pt x="504" y="1704"/>
                  </a:lnTo>
                  <a:lnTo>
                    <a:pt x="486" y="1722"/>
                  </a:lnTo>
                  <a:lnTo>
                    <a:pt x="480" y="1740"/>
                  </a:lnTo>
                  <a:lnTo>
                    <a:pt x="474" y="1740"/>
                  </a:lnTo>
                  <a:lnTo>
                    <a:pt x="468" y="1746"/>
                  </a:lnTo>
                  <a:lnTo>
                    <a:pt x="456" y="1758"/>
                  </a:lnTo>
                  <a:lnTo>
                    <a:pt x="444" y="1770"/>
                  </a:lnTo>
                  <a:lnTo>
                    <a:pt x="438" y="1782"/>
                  </a:lnTo>
                  <a:lnTo>
                    <a:pt x="426" y="1788"/>
                  </a:lnTo>
                  <a:lnTo>
                    <a:pt x="420" y="1788"/>
                  </a:lnTo>
                  <a:lnTo>
                    <a:pt x="420" y="1782"/>
                  </a:lnTo>
                  <a:lnTo>
                    <a:pt x="414" y="1782"/>
                  </a:lnTo>
                  <a:lnTo>
                    <a:pt x="390" y="1782"/>
                  </a:lnTo>
                  <a:lnTo>
                    <a:pt x="390" y="1776"/>
                  </a:lnTo>
                  <a:lnTo>
                    <a:pt x="384" y="1776"/>
                  </a:lnTo>
                  <a:lnTo>
                    <a:pt x="378" y="1776"/>
                  </a:lnTo>
                  <a:lnTo>
                    <a:pt x="372" y="1776"/>
                  </a:lnTo>
                  <a:lnTo>
                    <a:pt x="366" y="1770"/>
                  </a:lnTo>
                  <a:lnTo>
                    <a:pt x="366" y="1776"/>
                  </a:lnTo>
                  <a:lnTo>
                    <a:pt x="360" y="1788"/>
                  </a:lnTo>
                  <a:lnTo>
                    <a:pt x="360" y="1794"/>
                  </a:lnTo>
                  <a:lnTo>
                    <a:pt x="360" y="1800"/>
                  </a:lnTo>
                  <a:lnTo>
                    <a:pt x="354" y="1806"/>
                  </a:lnTo>
                  <a:lnTo>
                    <a:pt x="354" y="1812"/>
                  </a:lnTo>
                  <a:lnTo>
                    <a:pt x="354" y="1824"/>
                  </a:lnTo>
                  <a:lnTo>
                    <a:pt x="348" y="1830"/>
                  </a:lnTo>
                  <a:lnTo>
                    <a:pt x="354" y="1836"/>
                  </a:lnTo>
                  <a:lnTo>
                    <a:pt x="348" y="1842"/>
                  </a:lnTo>
                  <a:lnTo>
                    <a:pt x="354" y="1848"/>
                  </a:lnTo>
                  <a:lnTo>
                    <a:pt x="348" y="1854"/>
                  </a:lnTo>
                  <a:lnTo>
                    <a:pt x="354" y="1854"/>
                  </a:lnTo>
                  <a:lnTo>
                    <a:pt x="348" y="1860"/>
                  </a:lnTo>
                  <a:lnTo>
                    <a:pt x="348" y="1866"/>
                  </a:lnTo>
                  <a:lnTo>
                    <a:pt x="342" y="1866"/>
                  </a:lnTo>
                  <a:lnTo>
                    <a:pt x="342" y="1872"/>
                  </a:lnTo>
                  <a:lnTo>
                    <a:pt x="342" y="1878"/>
                  </a:lnTo>
                  <a:lnTo>
                    <a:pt x="342" y="1884"/>
                  </a:lnTo>
                  <a:lnTo>
                    <a:pt x="336" y="1896"/>
                  </a:lnTo>
                  <a:lnTo>
                    <a:pt x="330" y="1914"/>
                  </a:lnTo>
                  <a:lnTo>
                    <a:pt x="324" y="1920"/>
                  </a:lnTo>
                  <a:lnTo>
                    <a:pt x="324" y="1926"/>
                  </a:lnTo>
                  <a:lnTo>
                    <a:pt x="318" y="1944"/>
                  </a:lnTo>
                  <a:lnTo>
                    <a:pt x="318" y="1950"/>
                  </a:lnTo>
                  <a:lnTo>
                    <a:pt x="312" y="1956"/>
                  </a:lnTo>
                  <a:lnTo>
                    <a:pt x="312" y="1950"/>
                  </a:lnTo>
                  <a:lnTo>
                    <a:pt x="306" y="1950"/>
                  </a:lnTo>
                  <a:lnTo>
                    <a:pt x="306" y="1956"/>
                  </a:lnTo>
                  <a:lnTo>
                    <a:pt x="300" y="1950"/>
                  </a:lnTo>
                  <a:lnTo>
                    <a:pt x="294" y="1956"/>
                  </a:lnTo>
                  <a:lnTo>
                    <a:pt x="288" y="1950"/>
                  </a:lnTo>
                  <a:lnTo>
                    <a:pt x="288" y="1944"/>
                  </a:lnTo>
                  <a:lnTo>
                    <a:pt x="282" y="1938"/>
                  </a:lnTo>
                  <a:lnTo>
                    <a:pt x="282" y="1932"/>
                  </a:lnTo>
                  <a:lnTo>
                    <a:pt x="282" y="1890"/>
                  </a:lnTo>
                  <a:lnTo>
                    <a:pt x="288" y="1860"/>
                  </a:lnTo>
                  <a:lnTo>
                    <a:pt x="294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300" y="1818"/>
                  </a:lnTo>
                  <a:lnTo>
                    <a:pt x="306" y="1794"/>
                  </a:lnTo>
                  <a:lnTo>
                    <a:pt x="306" y="1788"/>
                  </a:lnTo>
                  <a:lnTo>
                    <a:pt x="306" y="1782"/>
                  </a:lnTo>
                  <a:lnTo>
                    <a:pt x="312" y="1776"/>
                  </a:lnTo>
                  <a:lnTo>
                    <a:pt x="306" y="1776"/>
                  </a:lnTo>
                  <a:lnTo>
                    <a:pt x="312" y="1770"/>
                  </a:lnTo>
                  <a:lnTo>
                    <a:pt x="312" y="1740"/>
                  </a:lnTo>
                  <a:lnTo>
                    <a:pt x="318" y="1722"/>
                  </a:lnTo>
                  <a:lnTo>
                    <a:pt x="312" y="1722"/>
                  </a:lnTo>
                  <a:lnTo>
                    <a:pt x="300" y="1716"/>
                  </a:lnTo>
                  <a:lnTo>
                    <a:pt x="306" y="1716"/>
                  </a:lnTo>
                  <a:lnTo>
                    <a:pt x="312" y="1710"/>
                  </a:lnTo>
                  <a:lnTo>
                    <a:pt x="324" y="1674"/>
                  </a:lnTo>
                  <a:lnTo>
                    <a:pt x="366" y="1590"/>
                  </a:lnTo>
                  <a:lnTo>
                    <a:pt x="408" y="1548"/>
                  </a:lnTo>
                  <a:lnTo>
                    <a:pt x="426" y="1530"/>
                  </a:lnTo>
                  <a:lnTo>
                    <a:pt x="432" y="1500"/>
                  </a:lnTo>
                  <a:lnTo>
                    <a:pt x="426" y="1494"/>
                  </a:lnTo>
                  <a:lnTo>
                    <a:pt x="426" y="1482"/>
                  </a:lnTo>
                  <a:lnTo>
                    <a:pt x="432" y="1464"/>
                  </a:lnTo>
                  <a:lnTo>
                    <a:pt x="438" y="1428"/>
                  </a:lnTo>
                  <a:lnTo>
                    <a:pt x="462" y="1398"/>
                  </a:lnTo>
                  <a:lnTo>
                    <a:pt x="468" y="1362"/>
                  </a:lnTo>
                  <a:lnTo>
                    <a:pt x="462" y="1314"/>
                  </a:lnTo>
                  <a:lnTo>
                    <a:pt x="444" y="1284"/>
                  </a:lnTo>
                  <a:lnTo>
                    <a:pt x="432" y="1260"/>
                  </a:lnTo>
                  <a:lnTo>
                    <a:pt x="426" y="1260"/>
                  </a:lnTo>
                  <a:lnTo>
                    <a:pt x="420" y="1254"/>
                  </a:lnTo>
                  <a:lnTo>
                    <a:pt x="408" y="1260"/>
                  </a:lnTo>
                  <a:lnTo>
                    <a:pt x="402" y="1260"/>
                  </a:lnTo>
                  <a:lnTo>
                    <a:pt x="402" y="1254"/>
                  </a:lnTo>
                  <a:lnTo>
                    <a:pt x="396" y="1254"/>
                  </a:lnTo>
                  <a:lnTo>
                    <a:pt x="396" y="1248"/>
                  </a:lnTo>
                  <a:lnTo>
                    <a:pt x="384" y="1248"/>
                  </a:lnTo>
                  <a:lnTo>
                    <a:pt x="372" y="1230"/>
                  </a:lnTo>
                  <a:lnTo>
                    <a:pt x="360" y="1212"/>
                  </a:lnTo>
                  <a:lnTo>
                    <a:pt x="348" y="1188"/>
                  </a:lnTo>
                  <a:lnTo>
                    <a:pt x="324" y="1170"/>
                  </a:lnTo>
                  <a:lnTo>
                    <a:pt x="318" y="1170"/>
                  </a:lnTo>
                  <a:lnTo>
                    <a:pt x="312" y="1158"/>
                  </a:lnTo>
                  <a:lnTo>
                    <a:pt x="312" y="1152"/>
                  </a:lnTo>
                  <a:lnTo>
                    <a:pt x="306" y="1146"/>
                  </a:lnTo>
                  <a:lnTo>
                    <a:pt x="270" y="1122"/>
                  </a:lnTo>
                  <a:lnTo>
                    <a:pt x="240" y="1122"/>
                  </a:lnTo>
                  <a:lnTo>
                    <a:pt x="180" y="1116"/>
                  </a:lnTo>
                  <a:lnTo>
                    <a:pt x="174" y="1122"/>
                  </a:lnTo>
                  <a:lnTo>
                    <a:pt x="174" y="1128"/>
                  </a:lnTo>
                  <a:lnTo>
                    <a:pt x="168" y="1122"/>
                  </a:lnTo>
                  <a:lnTo>
                    <a:pt x="162" y="1116"/>
                  </a:lnTo>
                  <a:lnTo>
                    <a:pt x="144" y="1122"/>
                  </a:lnTo>
                  <a:lnTo>
                    <a:pt x="120" y="1122"/>
                  </a:lnTo>
                  <a:lnTo>
                    <a:pt x="54" y="1134"/>
                  </a:lnTo>
                  <a:lnTo>
                    <a:pt x="24" y="1152"/>
                  </a:lnTo>
                  <a:lnTo>
                    <a:pt x="6" y="1146"/>
                  </a:lnTo>
                  <a:lnTo>
                    <a:pt x="0" y="1134"/>
                  </a:lnTo>
                  <a:lnTo>
                    <a:pt x="0" y="1128"/>
                  </a:lnTo>
                  <a:lnTo>
                    <a:pt x="18" y="1110"/>
                  </a:lnTo>
                  <a:lnTo>
                    <a:pt x="24" y="1104"/>
                  </a:lnTo>
                  <a:lnTo>
                    <a:pt x="24" y="1098"/>
                  </a:lnTo>
                  <a:lnTo>
                    <a:pt x="30" y="1086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24" y="1074"/>
                  </a:lnTo>
                  <a:lnTo>
                    <a:pt x="18" y="1068"/>
                  </a:lnTo>
                  <a:lnTo>
                    <a:pt x="24" y="1062"/>
                  </a:lnTo>
                  <a:lnTo>
                    <a:pt x="42" y="1056"/>
                  </a:lnTo>
                  <a:lnTo>
                    <a:pt x="54" y="1050"/>
                  </a:lnTo>
                  <a:lnTo>
                    <a:pt x="72" y="1044"/>
                  </a:lnTo>
                  <a:lnTo>
                    <a:pt x="96" y="1032"/>
                  </a:lnTo>
                  <a:lnTo>
                    <a:pt x="102" y="1032"/>
                  </a:lnTo>
                  <a:lnTo>
                    <a:pt x="126" y="1008"/>
                  </a:lnTo>
                  <a:lnTo>
                    <a:pt x="144" y="990"/>
                  </a:lnTo>
                  <a:lnTo>
                    <a:pt x="156" y="978"/>
                  </a:lnTo>
                  <a:lnTo>
                    <a:pt x="156" y="966"/>
                  </a:lnTo>
                  <a:lnTo>
                    <a:pt x="150" y="960"/>
                  </a:lnTo>
                  <a:lnTo>
                    <a:pt x="144" y="948"/>
                  </a:lnTo>
                  <a:lnTo>
                    <a:pt x="144" y="936"/>
                  </a:lnTo>
                  <a:lnTo>
                    <a:pt x="138" y="918"/>
                  </a:lnTo>
                  <a:lnTo>
                    <a:pt x="150" y="912"/>
                  </a:lnTo>
                  <a:lnTo>
                    <a:pt x="150" y="894"/>
                  </a:lnTo>
                  <a:lnTo>
                    <a:pt x="132" y="876"/>
                  </a:lnTo>
                  <a:lnTo>
                    <a:pt x="126" y="876"/>
                  </a:lnTo>
                  <a:lnTo>
                    <a:pt x="120" y="870"/>
                  </a:lnTo>
                  <a:lnTo>
                    <a:pt x="120" y="864"/>
                  </a:lnTo>
                  <a:lnTo>
                    <a:pt x="114" y="864"/>
                  </a:lnTo>
                  <a:lnTo>
                    <a:pt x="108" y="864"/>
                  </a:lnTo>
                  <a:lnTo>
                    <a:pt x="108" y="858"/>
                  </a:lnTo>
                  <a:lnTo>
                    <a:pt x="102" y="852"/>
                  </a:lnTo>
                  <a:lnTo>
                    <a:pt x="96" y="852"/>
                  </a:lnTo>
                  <a:lnTo>
                    <a:pt x="102" y="834"/>
                  </a:lnTo>
                  <a:lnTo>
                    <a:pt x="108" y="816"/>
                  </a:lnTo>
                  <a:lnTo>
                    <a:pt x="114" y="804"/>
                  </a:lnTo>
                  <a:lnTo>
                    <a:pt x="132" y="798"/>
                  </a:lnTo>
                  <a:lnTo>
                    <a:pt x="144" y="798"/>
                  </a:lnTo>
                  <a:lnTo>
                    <a:pt x="180" y="810"/>
                  </a:lnTo>
                  <a:lnTo>
                    <a:pt x="192" y="816"/>
                  </a:lnTo>
                  <a:lnTo>
                    <a:pt x="234" y="822"/>
                  </a:lnTo>
                  <a:lnTo>
                    <a:pt x="264" y="828"/>
                  </a:lnTo>
                  <a:lnTo>
                    <a:pt x="270" y="840"/>
                  </a:lnTo>
                  <a:lnTo>
                    <a:pt x="270" y="834"/>
                  </a:lnTo>
                  <a:lnTo>
                    <a:pt x="270" y="828"/>
                  </a:lnTo>
                  <a:lnTo>
                    <a:pt x="270" y="822"/>
                  </a:lnTo>
                  <a:lnTo>
                    <a:pt x="270" y="816"/>
                  </a:lnTo>
                  <a:lnTo>
                    <a:pt x="264" y="810"/>
                  </a:lnTo>
                  <a:lnTo>
                    <a:pt x="264" y="804"/>
                  </a:lnTo>
                  <a:lnTo>
                    <a:pt x="264" y="798"/>
                  </a:lnTo>
                  <a:lnTo>
                    <a:pt x="258" y="792"/>
                  </a:lnTo>
                  <a:lnTo>
                    <a:pt x="258" y="786"/>
                  </a:lnTo>
                  <a:lnTo>
                    <a:pt x="264" y="786"/>
                  </a:lnTo>
                  <a:lnTo>
                    <a:pt x="264" y="780"/>
                  </a:lnTo>
                  <a:lnTo>
                    <a:pt x="258" y="774"/>
                  </a:lnTo>
                  <a:lnTo>
                    <a:pt x="258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82" y="762"/>
                  </a:lnTo>
                  <a:lnTo>
                    <a:pt x="312" y="780"/>
                  </a:lnTo>
                  <a:lnTo>
                    <a:pt x="354" y="786"/>
                  </a:lnTo>
                  <a:lnTo>
                    <a:pt x="408" y="774"/>
                  </a:lnTo>
                  <a:lnTo>
                    <a:pt x="444" y="756"/>
                  </a:lnTo>
                  <a:lnTo>
                    <a:pt x="468" y="732"/>
                  </a:lnTo>
                  <a:lnTo>
                    <a:pt x="492" y="720"/>
                  </a:lnTo>
                  <a:lnTo>
                    <a:pt x="522" y="690"/>
                  </a:lnTo>
                  <a:lnTo>
                    <a:pt x="540" y="672"/>
                  </a:lnTo>
                  <a:lnTo>
                    <a:pt x="558" y="660"/>
                  </a:lnTo>
                  <a:lnTo>
                    <a:pt x="570" y="636"/>
                  </a:lnTo>
                  <a:lnTo>
                    <a:pt x="588" y="612"/>
                  </a:lnTo>
                  <a:lnTo>
                    <a:pt x="654" y="552"/>
                  </a:lnTo>
                  <a:lnTo>
                    <a:pt x="678" y="528"/>
                  </a:lnTo>
                  <a:lnTo>
                    <a:pt x="696" y="510"/>
                  </a:lnTo>
                  <a:lnTo>
                    <a:pt x="714" y="498"/>
                  </a:lnTo>
                  <a:lnTo>
                    <a:pt x="750" y="480"/>
                  </a:lnTo>
                  <a:lnTo>
                    <a:pt x="774" y="444"/>
                  </a:lnTo>
                  <a:lnTo>
                    <a:pt x="816" y="426"/>
                  </a:lnTo>
                  <a:lnTo>
                    <a:pt x="864" y="420"/>
                  </a:lnTo>
                  <a:lnTo>
                    <a:pt x="912" y="402"/>
                  </a:lnTo>
                  <a:lnTo>
                    <a:pt x="906" y="396"/>
                  </a:lnTo>
                  <a:lnTo>
                    <a:pt x="912" y="396"/>
                  </a:lnTo>
                  <a:lnTo>
                    <a:pt x="912" y="390"/>
                  </a:lnTo>
                  <a:lnTo>
                    <a:pt x="918" y="384"/>
                  </a:lnTo>
                  <a:lnTo>
                    <a:pt x="924" y="384"/>
                  </a:lnTo>
                  <a:lnTo>
                    <a:pt x="924" y="378"/>
                  </a:lnTo>
                  <a:lnTo>
                    <a:pt x="918" y="372"/>
                  </a:lnTo>
                  <a:lnTo>
                    <a:pt x="918" y="366"/>
                  </a:lnTo>
                  <a:lnTo>
                    <a:pt x="918" y="360"/>
                  </a:lnTo>
                  <a:lnTo>
                    <a:pt x="924" y="360"/>
                  </a:lnTo>
                  <a:lnTo>
                    <a:pt x="924" y="354"/>
                  </a:lnTo>
                  <a:lnTo>
                    <a:pt x="930" y="354"/>
                  </a:lnTo>
                  <a:lnTo>
                    <a:pt x="936" y="354"/>
                  </a:lnTo>
                  <a:lnTo>
                    <a:pt x="936" y="348"/>
                  </a:lnTo>
                  <a:lnTo>
                    <a:pt x="942" y="348"/>
                  </a:lnTo>
                  <a:lnTo>
                    <a:pt x="942" y="336"/>
                  </a:lnTo>
                  <a:lnTo>
                    <a:pt x="936" y="336"/>
                  </a:lnTo>
                  <a:lnTo>
                    <a:pt x="930" y="330"/>
                  </a:lnTo>
                  <a:lnTo>
                    <a:pt x="924" y="330"/>
                  </a:lnTo>
                  <a:lnTo>
                    <a:pt x="924" y="324"/>
                  </a:lnTo>
                  <a:lnTo>
                    <a:pt x="918" y="318"/>
                  </a:lnTo>
                  <a:lnTo>
                    <a:pt x="912" y="306"/>
                  </a:lnTo>
                  <a:lnTo>
                    <a:pt x="918" y="306"/>
                  </a:lnTo>
                  <a:lnTo>
                    <a:pt x="924" y="300"/>
                  </a:lnTo>
                  <a:lnTo>
                    <a:pt x="924" y="294"/>
                  </a:lnTo>
                  <a:lnTo>
                    <a:pt x="924" y="288"/>
                  </a:lnTo>
                  <a:lnTo>
                    <a:pt x="924" y="282"/>
                  </a:lnTo>
                  <a:lnTo>
                    <a:pt x="924" y="276"/>
                  </a:lnTo>
                  <a:lnTo>
                    <a:pt x="918" y="270"/>
                  </a:lnTo>
                  <a:lnTo>
                    <a:pt x="918" y="264"/>
                  </a:lnTo>
                  <a:lnTo>
                    <a:pt x="912" y="270"/>
                  </a:lnTo>
                  <a:lnTo>
                    <a:pt x="912" y="264"/>
                  </a:lnTo>
                  <a:lnTo>
                    <a:pt x="912" y="258"/>
                  </a:lnTo>
                  <a:lnTo>
                    <a:pt x="912" y="252"/>
                  </a:lnTo>
                  <a:lnTo>
                    <a:pt x="906" y="252"/>
                  </a:lnTo>
                  <a:lnTo>
                    <a:pt x="900" y="246"/>
                  </a:lnTo>
                  <a:lnTo>
                    <a:pt x="900" y="240"/>
                  </a:lnTo>
                  <a:lnTo>
                    <a:pt x="900" y="246"/>
                  </a:lnTo>
                  <a:lnTo>
                    <a:pt x="894" y="246"/>
                  </a:lnTo>
                  <a:lnTo>
                    <a:pt x="894" y="240"/>
                  </a:lnTo>
                  <a:lnTo>
                    <a:pt x="894" y="234"/>
                  </a:lnTo>
                  <a:lnTo>
                    <a:pt x="900" y="234"/>
                  </a:lnTo>
                  <a:lnTo>
                    <a:pt x="900" y="228"/>
                  </a:lnTo>
                  <a:lnTo>
                    <a:pt x="906" y="228"/>
                  </a:lnTo>
                  <a:lnTo>
                    <a:pt x="900" y="222"/>
                  </a:lnTo>
                  <a:lnTo>
                    <a:pt x="894" y="216"/>
                  </a:lnTo>
                  <a:lnTo>
                    <a:pt x="894" y="210"/>
                  </a:lnTo>
                  <a:lnTo>
                    <a:pt x="888" y="210"/>
                  </a:lnTo>
                  <a:lnTo>
                    <a:pt x="888" y="204"/>
                  </a:lnTo>
                  <a:lnTo>
                    <a:pt x="888" y="198"/>
                  </a:lnTo>
                  <a:lnTo>
                    <a:pt x="888" y="192"/>
                  </a:lnTo>
                  <a:lnTo>
                    <a:pt x="882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82" y="174"/>
                  </a:lnTo>
                  <a:lnTo>
                    <a:pt x="888" y="168"/>
                  </a:lnTo>
                  <a:lnTo>
                    <a:pt x="888" y="162"/>
                  </a:lnTo>
                  <a:lnTo>
                    <a:pt x="888" y="156"/>
                  </a:lnTo>
                  <a:lnTo>
                    <a:pt x="888" y="150"/>
                  </a:lnTo>
                  <a:lnTo>
                    <a:pt x="888" y="144"/>
                  </a:lnTo>
                  <a:lnTo>
                    <a:pt x="882" y="144"/>
                  </a:lnTo>
                  <a:lnTo>
                    <a:pt x="882" y="138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76" y="120"/>
                  </a:lnTo>
                  <a:lnTo>
                    <a:pt x="882" y="114"/>
                  </a:lnTo>
                  <a:lnTo>
                    <a:pt x="882" y="108"/>
                  </a:lnTo>
                  <a:lnTo>
                    <a:pt x="888" y="102"/>
                  </a:lnTo>
                  <a:lnTo>
                    <a:pt x="894" y="102"/>
                  </a:lnTo>
                  <a:lnTo>
                    <a:pt x="894" y="96"/>
                  </a:lnTo>
                  <a:lnTo>
                    <a:pt x="888" y="96"/>
                  </a:lnTo>
                  <a:lnTo>
                    <a:pt x="894" y="90"/>
                  </a:lnTo>
                  <a:lnTo>
                    <a:pt x="888" y="84"/>
                  </a:lnTo>
                  <a:lnTo>
                    <a:pt x="888" y="78"/>
                  </a:lnTo>
                  <a:lnTo>
                    <a:pt x="924" y="66"/>
                  </a:lnTo>
                  <a:lnTo>
                    <a:pt x="966" y="66"/>
                  </a:lnTo>
                  <a:lnTo>
                    <a:pt x="996" y="48"/>
                  </a:lnTo>
                  <a:lnTo>
                    <a:pt x="1056" y="12"/>
                  </a:lnTo>
                  <a:lnTo>
                    <a:pt x="1128" y="0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0" y="18"/>
                  </a:lnTo>
                  <a:lnTo>
                    <a:pt x="1176" y="24"/>
                  </a:lnTo>
                  <a:lnTo>
                    <a:pt x="1182" y="24"/>
                  </a:lnTo>
                  <a:lnTo>
                    <a:pt x="1188" y="30"/>
                  </a:lnTo>
                  <a:lnTo>
                    <a:pt x="1194" y="30"/>
                  </a:lnTo>
                  <a:lnTo>
                    <a:pt x="1194" y="36"/>
                  </a:lnTo>
                  <a:lnTo>
                    <a:pt x="1260" y="30"/>
                  </a:lnTo>
                  <a:lnTo>
                    <a:pt x="1272" y="30"/>
                  </a:lnTo>
                  <a:lnTo>
                    <a:pt x="1296" y="24"/>
                  </a:lnTo>
                  <a:lnTo>
                    <a:pt x="1302" y="30"/>
                  </a:lnTo>
                  <a:lnTo>
                    <a:pt x="1302" y="36"/>
                  </a:lnTo>
                  <a:lnTo>
                    <a:pt x="1308" y="36"/>
                  </a:lnTo>
                  <a:lnTo>
                    <a:pt x="1314" y="36"/>
                  </a:lnTo>
                  <a:lnTo>
                    <a:pt x="1320" y="36"/>
                  </a:lnTo>
                  <a:lnTo>
                    <a:pt x="1326" y="30"/>
                  </a:lnTo>
                  <a:lnTo>
                    <a:pt x="1332" y="30"/>
                  </a:lnTo>
                  <a:lnTo>
                    <a:pt x="1338" y="30"/>
                  </a:lnTo>
                  <a:lnTo>
                    <a:pt x="1344" y="30"/>
                  </a:lnTo>
                  <a:lnTo>
                    <a:pt x="1374" y="30"/>
                  </a:lnTo>
                  <a:lnTo>
                    <a:pt x="1386" y="30"/>
                  </a:lnTo>
                  <a:lnTo>
                    <a:pt x="1392" y="24"/>
                  </a:lnTo>
                  <a:lnTo>
                    <a:pt x="1398" y="12"/>
                  </a:lnTo>
                  <a:lnTo>
                    <a:pt x="1404" y="6"/>
                  </a:lnTo>
                  <a:lnTo>
                    <a:pt x="1410" y="6"/>
                  </a:lnTo>
                  <a:lnTo>
                    <a:pt x="1410" y="12"/>
                  </a:lnTo>
                  <a:lnTo>
                    <a:pt x="1416" y="18"/>
                  </a:lnTo>
                  <a:lnTo>
                    <a:pt x="1416" y="36"/>
                  </a:lnTo>
                  <a:lnTo>
                    <a:pt x="1434" y="54"/>
                  </a:lnTo>
                  <a:lnTo>
                    <a:pt x="1434" y="60"/>
                  </a:lnTo>
                  <a:lnTo>
                    <a:pt x="1434" y="66"/>
                  </a:lnTo>
                  <a:lnTo>
                    <a:pt x="1434" y="72"/>
                  </a:lnTo>
                  <a:lnTo>
                    <a:pt x="1428" y="72"/>
                  </a:lnTo>
                  <a:lnTo>
                    <a:pt x="1428" y="78"/>
                  </a:lnTo>
                  <a:lnTo>
                    <a:pt x="1434" y="78"/>
                  </a:lnTo>
                  <a:lnTo>
                    <a:pt x="1440" y="84"/>
                  </a:lnTo>
                  <a:lnTo>
                    <a:pt x="1440" y="90"/>
                  </a:lnTo>
                  <a:lnTo>
                    <a:pt x="1440" y="96"/>
                  </a:lnTo>
                  <a:lnTo>
                    <a:pt x="1446" y="96"/>
                  </a:lnTo>
                  <a:lnTo>
                    <a:pt x="1446" y="108"/>
                  </a:lnTo>
                  <a:lnTo>
                    <a:pt x="1452" y="108"/>
                  </a:lnTo>
                  <a:lnTo>
                    <a:pt x="1452" y="114"/>
                  </a:lnTo>
                  <a:lnTo>
                    <a:pt x="1458" y="114"/>
                  </a:lnTo>
                  <a:lnTo>
                    <a:pt x="1470" y="120"/>
                  </a:lnTo>
                  <a:lnTo>
                    <a:pt x="1476" y="120"/>
                  </a:lnTo>
                  <a:lnTo>
                    <a:pt x="1476" y="114"/>
                  </a:lnTo>
                  <a:lnTo>
                    <a:pt x="1488" y="120"/>
                  </a:lnTo>
                  <a:lnTo>
                    <a:pt x="1506" y="120"/>
                  </a:lnTo>
                  <a:lnTo>
                    <a:pt x="1512" y="120"/>
                  </a:lnTo>
                  <a:lnTo>
                    <a:pt x="1518" y="120"/>
                  </a:lnTo>
                  <a:lnTo>
                    <a:pt x="1524" y="126"/>
                  </a:lnTo>
                  <a:lnTo>
                    <a:pt x="1536" y="150"/>
                  </a:lnTo>
                  <a:lnTo>
                    <a:pt x="1548" y="162"/>
                  </a:lnTo>
                  <a:lnTo>
                    <a:pt x="1554" y="168"/>
                  </a:lnTo>
                  <a:lnTo>
                    <a:pt x="1584" y="228"/>
                  </a:lnTo>
                  <a:lnTo>
                    <a:pt x="1584" y="234"/>
                  </a:lnTo>
                  <a:lnTo>
                    <a:pt x="1578" y="312"/>
                  </a:lnTo>
                  <a:lnTo>
                    <a:pt x="1590" y="318"/>
                  </a:lnTo>
                  <a:lnTo>
                    <a:pt x="1608" y="330"/>
                  </a:lnTo>
                  <a:lnTo>
                    <a:pt x="1620" y="342"/>
                  </a:lnTo>
                  <a:lnTo>
                    <a:pt x="1626" y="342"/>
                  </a:lnTo>
                  <a:lnTo>
                    <a:pt x="1692" y="360"/>
                  </a:lnTo>
                  <a:lnTo>
                    <a:pt x="1710" y="408"/>
                  </a:lnTo>
                  <a:lnTo>
                    <a:pt x="1722" y="426"/>
                  </a:lnTo>
                  <a:lnTo>
                    <a:pt x="1716" y="468"/>
                  </a:lnTo>
                  <a:lnTo>
                    <a:pt x="1686" y="486"/>
                  </a:lnTo>
                  <a:lnTo>
                    <a:pt x="1686" y="492"/>
                  </a:lnTo>
                  <a:lnTo>
                    <a:pt x="1680" y="498"/>
                  </a:lnTo>
                  <a:lnTo>
                    <a:pt x="1650" y="558"/>
                  </a:lnTo>
                  <a:lnTo>
                    <a:pt x="1650" y="570"/>
                  </a:lnTo>
                  <a:lnTo>
                    <a:pt x="1644" y="570"/>
                  </a:lnTo>
                  <a:lnTo>
                    <a:pt x="1638" y="582"/>
                  </a:lnTo>
                  <a:lnTo>
                    <a:pt x="1638" y="624"/>
                  </a:lnTo>
                  <a:lnTo>
                    <a:pt x="1638" y="636"/>
                  </a:lnTo>
                  <a:lnTo>
                    <a:pt x="1638" y="642"/>
                  </a:lnTo>
                  <a:lnTo>
                    <a:pt x="1632" y="660"/>
                  </a:lnTo>
                  <a:lnTo>
                    <a:pt x="1608" y="678"/>
                  </a:lnTo>
                  <a:lnTo>
                    <a:pt x="1584" y="690"/>
                  </a:lnTo>
                  <a:lnTo>
                    <a:pt x="1584" y="696"/>
                  </a:lnTo>
                  <a:lnTo>
                    <a:pt x="1578" y="702"/>
                  </a:lnTo>
                  <a:lnTo>
                    <a:pt x="1584" y="702"/>
                  </a:lnTo>
                  <a:lnTo>
                    <a:pt x="1578" y="714"/>
                  </a:lnTo>
                  <a:lnTo>
                    <a:pt x="1572" y="714"/>
                  </a:lnTo>
                  <a:lnTo>
                    <a:pt x="1572" y="720"/>
                  </a:lnTo>
                  <a:lnTo>
                    <a:pt x="1566" y="720"/>
                  </a:lnTo>
                  <a:lnTo>
                    <a:pt x="1560" y="726"/>
                  </a:lnTo>
                  <a:lnTo>
                    <a:pt x="1560" y="732"/>
                  </a:lnTo>
                  <a:lnTo>
                    <a:pt x="1554" y="732"/>
                  </a:lnTo>
                  <a:lnTo>
                    <a:pt x="1554" y="738"/>
                  </a:lnTo>
                  <a:lnTo>
                    <a:pt x="1554" y="744"/>
                  </a:lnTo>
                  <a:lnTo>
                    <a:pt x="1548" y="744"/>
                  </a:lnTo>
                  <a:lnTo>
                    <a:pt x="1548" y="738"/>
                  </a:lnTo>
                  <a:lnTo>
                    <a:pt x="1542" y="738"/>
                  </a:lnTo>
                  <a:lnTo>
                    <a:pt x="1542" y="744"/>
                  </a:lnTo>
                  <a:lnTo>
                    <a:pt x="1542" y="750"/>
                  </a:lnTo>
                  <a:lnTo>
                    <a:pt x="1494" y="804"/>
                  </a:lnTo>
                  <a:lnTo>
                    <a:pt x="1446" y="876"/>
                  </a:lnTo>
                  <a:lnTo>
                    <a:pt x="1440" y="876"/>
                  </a:lnTo>
                  <a:lnTo>
                    <a:pt x="1434" y="876"/>
                  </a:lnTo>
                  <a:lnTo>
                    <a:pt x="1428" y="882"/>
                  </a:lnTo>
                  <a:lnTo>
                    <a:pt x="1422" y="882"/>
                  </a:lnTo>
                  <a:lnTo>
                    <a:pt x="1386" y="924"/>
                  </a:lnTo>
                  <a:lnTo>
                    <a:pt x="1362" y="954"/>
                  </a:lnTo>
                  <a:lnTo>
                    <a:pt x="1356" y="984"/>
                  </a:lnTo>
                  <a:lnTo>
                    <a:pt x="1362" y="1002"/>
                  </a:lnTo>
                  <a:lnTo>
                    <a:pt x="1368" y="1020"/>
                  </a:lnTo>
                  <a:lnTo>
                    <a:pt x="1386" y="1056"/>
                  </a:lnTo>
                  <a:lnTo>
                    <a:pt x="1404" y="1074"/>
                  </a:lnTo>
                  <a:lnTo>
                    <a:pt x="1416" y="1080"/>
                  </a:lnTo>
                  <a:lnTo>
                    <a:pt x="1416" y="1086"/>
                  </a:lnTo>
                  <a:lnTo>
                    <a:pt x="1422" y="1098"/>
                  </a:lnTo>
                  <a:lnTo>
                    <a:pt x="1422" y="1110"/>
                  </a:lnTo>
                  <a:lnTo>
                    <a:pt x="1428" y="1116"/>
                  </a:lnTo>
                  <a:lnTo>
                    <a:pt x="1434" y="1116"/>
                  </a:lnTo>
                  <a:lnTo>
                    <a:pt x="1434" y="1122"/>
                  </a:lnTo>
                  <a:lnTo>
                    <a:pt x="1434" y="1128"/>
                  </a:lnTo>
                  <a:lnTo>
                    <a:pt x="1440" y="1134"/>
                  </a:lnTo>
                  <a:lnTo>
                    <a:pt x="1446" y="1134"/>
                  </a:lnTo>
                  <a:lnTo>
                    <a:pt x="1458" y="1134"/>
                  </a:lnTo>
                  <a:lnTo>
                    <a:pt x="1458" y="1140"/>
                  </a:lnTo>
                  <a:lnTo>
                    <a:pt x="1464" y="1134"/>
                  </a:lnTo>
                  <a:lnTo>
                    <a:pt x="1470" y="1134"/>
                  </a:lnTo>
                  <a:lnTo>
                    <a:pt x="1464" y="1128"/>
                  </a:lnTo>
                  <a:lnTo>
                    <a:pt x="1464" y="1122"/>
                  </a:lnTo>
                  <a:lnTo>
                    <a:pt x="1470" y="1116"/>
                  </a:lnTo>
                  <a:lnTo>
                    <a:pt x="1470" y="1122"/>
                  </a:lnTo>
                  <a:lnTo>
                    <a:pt x="1476" y="1122"/>
                  </a:lnTo>
                  <a:lnTo>
                    <a:pt x="1476" y="1116"/>
                  </a:lnTo>
                  <a:lnTo>
                    <a:pt x="1482" y="1110"/>
                  </a:lnTo>
                  <a:lnTo>
                    <a:pt x="1476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82" y="1086"/>
                  </a:lnTo>
                  <a:lnTo>
                    <a:pt x="1482" y="1074"/>
                  </a:lnTo>
                  <a:lnTo>
                    <a:pt x="1488" y="1068"/>
                  </a:lnTo>
                  <a:lnTo>
                    <a:pt x="1488" y="1062"/>
                  </a:lnTo>
                  <a:lnTo>
                    <a:pt x="1494" y="1062"/>
                  </a:lnTo>
                  <a:lnTo>
                    <a:pt x="1500" y="1062"/>
                  </a:lnTo>
                  <a:lnTo>
                    <a:pt x="1506" y="1062"/>
                  </a:lnTo>
                  <a:lnTo>
                    <a:pt x="1506" y="1056"/>
                  </a:lnTo>
                  <a:lnTo>
                    <a:pt x="1506" y="1062"/>
                  </a:lnTo>
                  <a:lnTo>
                    <a:pt x="1518" y="1062"/>
                  </a:lnTo>
                  <a:lnTo>
                    <a:pt x="1524" y="1062"/>
                  </a:lnTo>
                  <a:lnTo>
                    <a:pt x="1530" y="1062"/>
                  </a:lnTo>
                  <a:lnTo>
                    <a:pt x="1536" y="1068"/>
                  </a:lnTo>
                  <a:lnTo>
                    <a:pt x="1536" y="1074"/>
                  </a:lnTo>
                  <a:lnTo>
                    <a:pt x="1542" y="1086"/>
                  </a:lnTo>
                  <a:lnTo>
                    <a:pt x="1548" y="1086"/>
                  </a:lnTo>
                  <a:lnTo>
                    <a:pt x="1554" y="1086"/>
                  </a:lnTo>
                  <a:lnTo>
                    <a:pt x="1566" y="1098"/>
                  </a:lnTo>
                  <a:lnTo>
                    <a:pt x="1572" y="1104"/>
                  </a:lnTo>
                  <a:lnTo>
                    <a:pt x="1566" y="1110"/>
                  </a:lnTo>
                  <a:lnTo>
                    <a:pt x="1572" y="1116"/>
                  </a:lnTo>
                  <a:lnTo>
                    <a:pt x="1578" y="1116"/>
                  </a:lnTo>
                  <a:lnTo>
                    <a:pt x="1578" y="1122"/>
                  </a:lnTo>
                  <a:lnTo>
                    <a:pt x="1584" y="1122"/>
                  </a:lnTo>
                  <a:lnTo>
                    <a:pt x="1584" y="1128"/>
                  </a:lnTo>
                  <a:lnTo>
                    <a:pt x="1584" y="1134"/>
                  </a:lnTo>
                  <a:lnTo>
                    <a:pt x="1590" y="1134"/>
                  </a:lnTo>
                  <a:lnTo>
                    <a:pt x="1596" y="1140"/>
                  </a:lnTo>
                  <a:lnTo>
                    <a:pt x="1602" y="1146"/>
                  </a:lnTo>
                  <a:lnTo>
                    <a:pt x="1608" y="1146"/>
                  </a:lnTo>
                  <a:lnTo>
                    <a:pt x="1614" y="1146"/>
                  </a:lnTo>
                  <a:lnTo>
                    <a:pt x="1614" y="1152"/>
                  </a:lnTo>
                  <a:lnTo>
                    <a:pt x="1620" y="1152"/>
                  </a:lnTo>
                  <a:lnTo>
                    <a:pt x="1626" y="1164"/>
                  </a:lnTo>
                  <a:lnTo>
                    <a:pt x="1632" y="1170"/>
                  </a:lnTo>
                  <a:lnTo>
                    <a:pt x="1638" y="1176"/>
                  </a:lnTo>
                  <a:lnTo>
                    <a:pt x="1638" y="1182"/>
                  </a:lnTo>
                  <a:lnTo>
                    <a:pt x="1644" y="1194"/>
                  </a:lnTo>
                  <a:lnTo>
                    <a:pt x="1644" y="1200"/>
                  </a:lnTo>
                  <a:lnTo>
                    <a:pt x="1638" y="1200"/>
                  </a:lnTo>
                  <a:lnTo>
                    <a:pt x="1638" y="1206"/>
                  </a:lnTo>
                  <a:lnTo>
                    <a:pt x="1638" y="1212"/>
                  </a:lnTo>
                  <a:lnTo>
                    <a:pt x="1638" y="1218"/>
                  </a:lnTo>
                  <a:lnTo>
                    <a:pt x="1632" y="1242"/>
                  </a:lnTo>
                  <a:lnTo>
                    <a:pt x="1632" y="1266"/>
                  </a:lnTo>
                  <a:lnTo>
                    <a:pt x="1638" y="1284"/>
                  </a:lnTo>
                  <a:lnTo>
                    <a:pt x="1638" y="1296"/>
                  </a:lnTo>
                  <a:lnTo>
                    <a:pt x="1632" y="1296"/>
                  </a:lnTo>
                  <a:lnTo>
                    <a:pt x="1632" y="1302"/>
                  </a:lnTo>
                  <a:lnTo>
                    <a:pt x="1638" y="1314"/>
                  </a:lnTo>
                  <a:lnTo>
                    <a:pt x="1638" y="1320"/>
                  </a:lnTo>
                  <a:lnTo>
                    <a:pt x="1632" y="1320"/>
                  </a:lnTo>
                  <a:lnTo>
                    <a:pt x="1632" y="1326"/>
                  </a:lnTo>
                  <a:lnTo>
                    <a:pt x="1644" y="1332"/>
                  </a:lnTo>
                  <a:lnTo>
                    <a:pt x="1644" y="1338"/>
                  </a:lnTo>
                  <a:lnTo>
                    <a:pt x="1650" y="1344"/>
                  </a:lnTo>
                  <a:lnTo>
                    <a:pt x="1668" y="1362"/>
                  </a:lnTo>
                  <a:lnTo>
                    <a:pt x="1668" y="1368"/>
                  </a:lnTo>
                  <a:lnTo>
                    <a:pt x="1674" y="1392"/>
                  </a:lnTo>
                  <a:lnTo>
                    <a:pt x="1686" y="1404"/>
                  </a:lnTo>
                  <a:close/>
                </a:path>
              </a:pathLst>
            </a:custGeom>
            <a:solidFill>
              <a:srgbClr val="2A4F1D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2" name="Freeform 17">
              <a:extLst>
                <a:ext uri="{FF2B5EF4-FFF2-40B4-BE49-F238E27FC236}">
                  <a16:creationId xmlns:a16="http://schemas.microsoft.com/office/drawing/2014/main" id="{9F9DF7AF-2203-4CCB-AF1B-32CDAF87CC5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416927"/>
              <a:ext cx="816209" cy="574781"/>
            </a:xfrm>
            <a:custGeom>
              <a:avLst/>
              <a:gdLst>
                <a:gd name="T0" fmla="*/ 115 w 1536"/>
                <a:gd name="T1" fmla="*/ 89 h 1080"/>
                <a:gd name="T2" fmla="*/ 113 w 1536"/>
                <a:gd name="T3" fmla="*/ 92 h 1080"/>
                <a:gd name="T4" fmla="*/ 107 w 1536"/>
                <a:gd name="T5" fmla="*/ 93 h 1080"/>
                <a:gd name="T6" fmla="*/ 108 w 1536"/>
                <a:gd name="T7" fmla="*/ 90 h 1080"/>
                <a:gd name="T8" fmla="*/ 105 w 1536"/>
                <a:gd name="T9" fmla="*/ 87 h 1080"/>
                <a:gd name="T10" fmla="*/ 102 w 1536"/>
                <a:gd name="T11" fmla="*/ 85 h 1080"/>
                <a:gd name="T12" fmla="*/ 89 w 1536"/>
                <a:gd name="T13" fmla="*/ 80 h 1080"/>
                <a:gd name="T14" fmla="*/ 85 w 1536"/>
                <a:gd name="T15" fmla="*/ 82 h 1080"/>
                <a:gd name="T16" fmla="*/ 82 w 1536"/>
                <a:gd name="T17" fmla="*/ 80 h 1080"/>
                <a:gd name="T18" fmla="*/ 80 w 1536"/>
                <a:gd name="T19" fmla="*/ 75 h 1080"/>
                <a:gd name="T20" fmla="*/ 75 w 1536"/>
                <a:gd name="T21" fmla="*/ 72 h 1080"/>
                <a:gd name="T22" fmla="*/ 61 w 1536"/>
                <a:gd name="T23" fmla="*/ 70 h 1080"/>
                <a:gd name="T24" fmla="*/ 62 w 1536"/>
                <a:gd name="T25" fmla="*/ 72 h 1080"/>
                <a:gd name="T26" fmla="*/ 58 w 1536"/>
                <a:gd name="T27" fmla="*/ 75 h 1080"/>
                <a:gd name="T28" fmla="*/ 49 w 1536"/>
                <a:gd name="T29" fmla="*/ 76 h 1080"/>
                <a:gd name="T30" fmla="*/ 41 w 1536"/>
                <a:gd name="T31" fmla="*/ 79 h 1080"/>
                <a:gd name="T32" fmla="*/ 41 w 1536"/>
                <a:gd name="T33" fmla="*/ 77 h 1080"/>
                <a:gd name="T34" fmla="*/ 39 w 1536"/>
                <a:gd name="T35" fmla="*/ 74 h 1080"/>
                <a:gd name="T36" fmla="*/ 28 w 1536"/>
                <a:gd name="T37" fmla="*/ 78 h 1080"/>
                <a:gd name="T38" fmla="*/ 18 w 1536"/>
                <a:gd name="T39" fmla="*/ 85 h 1080"/>
                <a:gd name="T40" fmla="*/ 18 w 1536"/>
                <a:gd name="T41" fmla="*/ 77 h 1080"/>
                <a:gd name="T42" fmla="*/ 19 w 1536"/>
                <a:gd name="T43" fmla="*/ 69 h 1080"/>
                <a:gd name="T44" fmla="*/ 16 w 1536"/>
                <a:gd name="T45" fmla="*/ 69 h 1080"/>
                <a:gd name="T46" fmla="*/ 11 w 1536"/>
                <a:gd name="T47" fmla="*/ 69 h 1080"/>
                <a:gd name="T48" fmla="*/ 5 w 1536"/>
                <a:gd name="T49" fmla="*/ 68 h 1080"/>
                <a:gd name="T50" fmla="*/ 1 w 1536"/>
                <a:gd name="T51" fmla="*/ 63 h 1080"/>
                <a:gd name="T52" fmla="*/ 3 w 1536"/>
                <a:gd name="T53" fmla="*/ 59 h 1080"/>
                <a:gd name="T54" fmla="*/ 9 w 1536"/>
                <a:gd name="T55" fmla="*/ 54 h 1080"/>
                <a:gd name="T56" fmla="*/ 15 w 1536"/>
                <a:gd name="T57" fmla="*/ 47 h 1080"/>
                <a:gd name="T58" fmla="*/ 17 w 1536"/>
                <a:gd name="T59" fmla="*/ 40 h 1080"/>
                <a:gd name="T60" fmla="*/ 12 w 1536"/>
                <a:gd name="T61" fmla="*/ 33 h 1080"/>
                <a:gd name="T62" fmla="*/ 10 w 1536"/>
                <a:gd name="T63" fmla="*/ 21 h 1080"/>
                <a:gd name="T64" fmla="*/ 6 w 1536"/>
                <a:gd name="T65" fmla="*/ 14 h 1080"/>
                <a:gd name="T66" fmla="*/ 7 w 1536"/>
                <a:gd name="T67" fmla="*/ 9 h 1080"/>
                <a:gd name="T68" fmla="*/ 12 w 1536"/>
                <a:gd name="T69" fmla="*/ 7 h 1080"/>
                <a:gd name="T70" fmla="*/ 16 w 1536"/>
                <a:gd name="T71" fmla="*/ 8 h 1080"/>
                <a:gd name="T72" fmla="*/ 19 w 1536"/>
                <a:gd name="T73" fmla="*/ 8 h 1080"/>
                <a:gd name="T74" fmla="*/ 22 w 1536"/>
                <a:gd name="T75" fmla="*/ 9 h 1080"/>
                <a:gd name="T76" fmla="*/ 29 w 1536"/>
                <a:gd name="T77" fmla="*/ 12 h 1080"/>
                <a:gd name="T78" fmla="*/ 33 w 1536"/>
                <a:gd name="T79" fmla="*/ 13 h 1080"/>
                <a:gd name="T80" fmla="*/ 38 w 1536"/>
                <a:gd name="T81" fmla="*/ 15 h 1080"/>
                <a:gd name="T82" fmla="*/ 42 w 1536"/>
                <a:gd name="T83" fmla="*/ 17 h 1080"/>
                <a:gd name="T84" fmla="*/ 47 w 1536"/>
                <a:gd name="T85" fmla="*/ 19 h 1080"/>
                <a:gd name="T86" fmla="*/ 51 w 1536"/>
                <a:gd name="T87" fmla="*/ 21 h 1080"/>
                <a:gd name="T88" fmla="*/ 50 w 1536"/>
                <a:gd name="T89" fmla="*/ 15 h 1080"/>
                <a:gd name="T90" fmla="*/ 56 w 1536"/>
                <a:gd name="T91" fmla="*/ 0 h 1080"/>
                <a:gd name="T92" fmla="*/ 74 w 1536"/>
                <a:gd name="T93" fmla="*/ 5 h 1080"/>
                <a:gd name="T94" fmla="*/ 87 w 1536"/>
                <a:gd name="T95" fmla="*/ 6 h 1080"/>
                <a:gd name="T96" fmla="*/ 92 w 1536"/>
                <a:gd name="T97" fmla="*/ 11 h 1080"/>
                <a:gd name="T98" fmla="*/ 95 w 1536"/>
                <a:gd name="T99" fmla="*/ 15 h 1080"/>
                <a:gd name="T100" fmla="*/ 93 w 1536"/>
                <a:gd name="T101" fmla="*/ 20 h 1080"/>
                <a:gd name="T102" fmla="*/ 108 w 1536"/>
                <a:gd name="T103" fmla="*/ 18 h 1080"/>
                <a:gd name="T104" fmla="*/ 120 w 1536"/>
                <a:gd name="T105" fmla="*/ 21 h 1080"/>
                <a:gd name="T106" fmla="*/ 127 w 1536"/>
                <a:gd name="T107" fmla="*/ 29 h 1080"/>
                <a:gd name="T108" fmla="*/ 130 w 1536"/>
                <a:gd name="T109" fmla="*/ 30 h 1080"/>
                <a:gd name="T110" fmla="*/ 130 w 1536"/>
                <a:gd name="T111" fmla="*/ 49 h 1080"/>
                <a:gd name="T112" fmla="*/ 120 w 1536"/>
                <a:gd name="T113" fmla="*/ 69 h 1080"/>
                <a:gd name="T114" fmla="*/ 119 w 1536"/>
                <a:gd name="T115" fmla="*/ 74 h 1080"/>
                <a:gd name="T116" fmla="*/ 118 w 1536"/>
                <a:gd name="T117" fmla="*/ 80 h 108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536"/>
                <a:gd name="T178" fmla="*/ 0 h 1080"/>
                <a:gd name="T179" fmla="*/ 1536 w 1536"/>
                <a:gd name="T180" fmla="*/ 1080 h 108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536" h="1080">
                  <a:moveTo>
                    <a:pt x="1350" y="1020"/>
                  </a:moveTo>
                  <a:lnTo>
                    <a:pt x="1350" y="1026"/>
                  </a:lnTo>
                  <a:lnTo>
                    <a:pt x="1344" y="1026"/>
                  </a:lnTo>
                  <a:lnTo>
                    <a:pt x="1338" y="1032"/>
                  </a:lnTo>
                  <a:lnTo>
                    <a:pt x="1332" y="1026"/>
                  </a:lnTo>
                  <a:lnTo>
                    <a:pt x="1326" y="1026"/>
                  </a:lnTo>
                  <a:lnTo>
                    <a:pt x="1320" y="1020"/>
                  </a:lnTo>
                  <a:lnTo>
                    <a:pt x="1314" y="1026"/>
                  </a:lnTo>
                  <a:lnTo>
                    <a:pt x="1314" y="1032"/>
                  </a:lnTo>
                  <a:lnTo>
                    <a:pt x="1308" y="1038"/>
                  </a:lnTo>
                  <a:lnTo>
                    <a:pt x="1308" y="1044"/>
                  </a:lnTo>
                  <a:lnTo>
                    <a:pt x="1308" y="1050"/>
                  </a:lnTo>
                  <a:lnTo>
                    <a:pt x="1308" y="1056"/>
                  </a:lnTo>
                  <a:lnTo>
                    <a:pt x="1308" y="1062"/>
                  </a:lnTo>
                  <a:lnTo>
                    <a:pt x="1296" y="1068"/>
                  </a:lnTo>
                  <a:lnTo>
                    <a:pt x="1284" y="1074"/>
                  </a:lnTo>
                  <a:lnTo>
                    <a:pt x="1272" y="1080"/>
                  </a:lnTo>
                  <a:lnTo>
                    <a:pt x="1260" y="1080"/>
                  </a:lnTo>
                  <a:lnTo>
                    <a:pt x="1254" y="1074"/>
                  </a:lnTo>
                  <a:lnTo>
                    <a:pt x="1236" y="1074"/>
                  </a:lnTo>
                  <a:lnTo>
                    <a:pt x="1230" y="1074"/>
                  </a:lnTo>
                  <a:lnTo>
                    <a:pt x="1236" y="1074"/>
                  </a:lnTo>
                  <a:lnTo>
                    <a:pt x="1236" y="1068"/>
                  </a:lnTo>
                  <a:lnTo>
                    <a:pt x="1236" y="1062"/>
                  </a:lnTo>
                  <a:lnTo>
                    <a:pt x="1236" y="1056"/>
                  </a:lnTo>
                  <a:lnTo>
                    <a:pt x="1242" y="1050"/>
                  </a:lnTo>
                  <a:lnTo>
                    <a:pt x="1242" y="1044"/>
                  </a:lnTo>
                  <a:lnTo>
                    <a:pt x="1242" y="1038"/>
                  </a:lnTo>
                  <a:lnTo>
                    <a:pt x="1248" y="1032"/>
                  </a:lnTo>
                  <a:lnTo>
                    <a:pt x="1236" y="1026"/>
                  </a:lnTo>
                  <a:lnTo>
                    <a:pt x="1218" y="1020"/>
                  </a:lnTo>
                  <a:lnTo>
                    <a:pt x="1224" y="1014"/>
                  </a:lnTo>
                  <a:lnTo>
                    <a:pt x="1218" y="1008"/>
                  </a:lnTo>
                  <a:lnTo>
                    <a:pt x="1218" y="1002"/>
                  </a:lnTo>
                  <a:lnTo>
                    <a:pt x="1212" y="1008"/>
                  </a:lnTo>
                  <a:lnTo>
                    <a:pt x="1206" y="1002"/>
                  </a:lnTo>
                  <a:lnTo>
                    <a:pt x="1212" y="1002"/>
                  </a:lnTo>
                  <a:lnTo>
                    <a:pt x="1212" y="996"/>
                  </a:lnTo>
                  <a:lnTo>
                    <a:pt x="1200" y="990"/>
                  </a:lnTo>
                  <a:lnTo>
                    <a:pt x="1200" y="984"/>
                  </a:lnTo>
                  <a:lnTo>
                    <a:pt x="1188" y="984"/>
                  </a:lnTo>
                  <a:lnTo>
                    <a:pt x="1176" y="978"/>
                  </a:lnTo>
                  <a:lnTo>
                    <a:pt x="1164" y="960"/>
                  </a:lnTo>
                  <a:lnTo>
                    <a:pt x="1152" y="936"/>
                  </a:lnTo>
                  <a:lnTo>
                    <a:pt x="1146" y="936"/>
                  </a:lnTo>
                  <a:lnTo>
                    <a:pt x="1128" y="900"/>
                  </a:lnTo>
                  <a:lnTo>
                    <a:pt x="1038" y="912"/>
                  </a:lnTo>
                  <a:lnTo>
                    <a:pt x="1038" y="918"/>
                  </a:lnTo>
                  <a:lnTo>
                    <a:pt x="1032" y="924"/>
                  </a:lnTo>
                  <a:lnTo>
                    <a:pt x="1026" y="918"/>
                  </a:lnTo>
                  <a:lnTo>
                    <a:pt x="1020" y="924"/>
                  </a:lnTo>
                  <a:lnTo>
                    <a:pt x="1008" y="936"/>
                  </a:lnTo>
                  <a:lnTo>
                    <a:pt x="990" y="936"/>
                  </a:lnTo>
                  <a:lnTo>
                    <a:pt x="990" y="942"/>
                  </a:lnTo>
                  <a:lnTo>
                    <a:pt x="996" y="942"/>
                  </a:lnTo>
                  <a:lnTo>
                    <a:pt x="984" y="948"/>
                  </a:lnTo>
                  <a:lnTo>
                    <a:pt x="972" y="948"/>
                  </a:lnTo>
                  <a:lnTo>
                    <a:pt x="960" y="948"/>
                  </a:lnTo>
                  <a:lnTo>
                    <a:pt x="948" y="942"/>
                  </a:lnTo>
                  <a:lnTo>
                    <a:pt x="948" y="936"/>
                  </a:lnTo>
                  <a:lnTo>
                    <a:pt x="942" y="936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30" y="924"/>
                  </a:lnTo>
                  <a:lnTo>
                    <a:pt x="936" y="918"/>
                  </a:lnTo>
                  <a:lnTo>
                    <a:pt x="918" y="918"/>
                  </a:lnTo>
                  <a:lnTo>
                    <a:pt x="918" y="900"/>
                  </a:lnTo>
                  <a:lnTo>
                    <a:pt x="924" y="900"/>
                  </a:lnTo>
                  <a:lnTo>
                    <a:pt x="924" y="894"/>
                  </a:lnTo>
                  <a:lnTo>
                    <a:pt x="924" y="870"/>
                  </a:lnTo>
                  <a:lnTo>
                    <a:pt x="924" y="864"/>
                  </a:lnTo>
                  <a:lnTo>
                    <a:pt x="918" y="858"/>
                  </a:lnTo>
                  <a:lnTo>
                    <a:pt x="918" y="852"/>
                  </a:lnTo>
                  <a:lnTo>
                    <a:pt x="906" y="840"/>
                  </a:lnTo>
                  <a:lnTo>
                    <a:pt x="894" y="834"/>
                  </a:lnTo>
                  <a:lnTo>
                    <a:pt x="876" y="822"/>
                  </a:lnTo>
                  <a:lnTo>
                    <a:pt x="870" y="828"/>
                  </a:lnTo>
                  <a:lnTo>
                    <a:pt x="858" y="816"/>
                  </a:lnTo>
                  <a:lnTo>
                    <a:pt x="810" y="798"/>
                  </a:lnTo>
                  <a:lnTo>
                    <a:pt x="774" y="792"/>
                  </a:lnTo>
                  <a:lnTo>
                    <a:pt x="732" y="798"/>
                  </a:lnTo>
                  <a:lnTo>
                    <a:pt x="726" y="804"/>
                  </a:lnTo>
                  <a:lnTo>
                    <a:pt x="714" y="810"/>
                  </a:lnTo>
                  <a:lnTo>
                    <a:pt x="702" y="810"/>
                  </a:lnTo>
                  <a:lnTo>
                    <a:pt x="690" y="810"/>
                  </a:lnTo>
                  <a:lnTo>
                    <a:pt x="696" y="816"/>
                  </a:lnTo>
                  <a:lnTo>
                    <a:pt x="696" y="822"/>
                  </a:lnTo>
                  <a:lnTo>
                    <a:pt x="702" y="822"/>
                  </a:lnTo>
                  <a:lnTo>
                    <a:pt x="708" y="822"/>
                  </a:lnTo>
                  <a:lnTo>
                    <a:pt x="708" y="828"/>
                  </a:lnTo>
                  <a:lnTo>
                    <a:pt x="708" y="834"/>
                  </a:lnTo>
                  <a:lnTo>
                    <a:pt x="714" y="834"/>
                  </a:lnTo>
                  <a:lnTo>
                    <a:pt x="708" y="846"/>
                  </a:lnTo>
                  <a:lnTo>
                    <a:pt x="708" y="852"/>
                  </a:lnTo>
                  <a:lnTo>
                    <a:pt x="702" y="852"/>
                  </a:lnTo>
                  <a:lnTo>
                    <a:pt x="696" y="858"/>
                  </a:lnTo>
                  <a:lnTo>
                    <a:pt x="690" y="864"/>
                  </a:lnTo>
                  <a:lnTo>
                    <a:pt x="666" y="870"/>
                  </a:lnTo>
                  <a:lnTo>
                    <a:pt x="660" y="876"/>
                  </a:lnTo>
                  <a:lnTo>
                    <a:pt x="642" y="876"/>
                  </a:lnTo>
                  <a:lnTo>
                    <a:pt x="606" y="882"/>
                  </a:lnTo>
                  <a:lnTo>
                    <a:pt x="588" y="882"/>
                  </a:lnTo>
                  <a:lnTo>
                    <a:pt x="582" y="876"/>
                  </a:lnTo>
                  <a:lnTo>
                    <a:pt x="576" y="876"/>
                  </a:lnTo>
                  <a:lnTo>
                    <a:pt x="564" y="876"/>
                  </a:lnTo>
                  <a:lnTo>
                    <a:pt x="552" y="882"/>
                  </a:lnTo>
                  <a:lnTo>
                    <a:pt x="540" y="894"/>
                  </a:lnTo>
                  <a:lnTo>
                    <a:pt x="534" y="906"/>
                  </a:lnTo>
                  <a:lnTo>
                    <a:pt x="528" y="912"/>
                  </a:lnTo>
                  <a:lnTo>
                    <a:pt x="516" y="924"/>
                  </a:lnTo>
                  <a:lnTo>
                    <a:pt x="486" y="930"/>
                  </a:lnTo>
                  <a:lnTo>
                    <a:pt x="474" y="912"/>
                  </a:lnTo>
                  <a:lnTo>
                    <a:pt x="474" y="906"/>
                  </a:lnTo>
                  <a:lnTo>
                    <a:pt x="468" y="906"/>
                  </a:lnTo>
                  <a:lnTo>
                    <a:pt x="468" y="900"/>
                  </a:lnTo>
                  <a:lnTo>
                    <a:pt x="462" y="894"/>
                  </a:lnTo>
                  <a:lnTo>
                    <a:pt x="456" y="894"/>
                  </a:lnTo>
                  <a:lnTo>
                    <a:pt x="462" y="888"/>
                  </a:lnTo>
                  <a:lnTo>
                    <a:pt x="468" y="888"/>
                  </a:lnTo>
                  <a:lnTo>
                    <a:pt x="462" y="882"/>
                  </a:lnTo>
                  <a:lnTo>
                    <a:pt x="462" y="876"/>
                  </a:lnTo>
                  <a:lnTo>
                    <a:pt x="456" y="870"/>
                  </a:lnTo>
                  <a:lnTo>
                    <a:pt x="456" y="864"/>
                  </a:lnTo>
                  <a:lnTo>
                    <a:pt x="450" y="858"/>
                  </a:lnTo>
                  <a:lnTo>
                    <a:pt x="444" y="858"/>
                  </a:lnTo>
                  <a:lnTo>
                    <a:pt x="444" y="852"/>
                  </a:lnTo>
                  <a:lnTo>
                    <a:pt x="438" y="852"/>
                  </a:lnTo>
                  <a:lnTo>
                    <a:pt x="438" y="858"/>
                  </a:lnTo>
                  <a:lnTo>
                    <a:pt x="402" y="870"/>
                  </a:lnTo>
                  <a:lnTo>
                    <a:pt x="390" y="882"/>
                  </a:lnTo>
                  <a:lnTo>
                    <a:pt x="384" y="900"/>
                  </a:lnTo>
                  <a:lnTo>
                    <a:pt x="342" y="900"/>
                  </a:lnTo>
                  <a:lnTo>
                    <a:pt x="324" y="900"/>
                  </a:lnTo>
                  <a:lnTo>
                    <a:pt x="294" y="906"/>
                  </a:lnTo>
                  <a:lnTo>
                    <a:pt x="282" y="948"/>
                  </a:lnTo>
                  <a:lnTo>
                    <a:pt x="282" y="978"/>
                  </a:lnTo>
                  <a:lnTo>
                    <a:pt x="270" y="1008"/>
                  </a:lnTo>
                  <a:lnTo>
                    <a:pt x="240" y="1014"/>
                  </a:lnTo>
                  <a:lnTo>
                    <a:pt x="216" y="996"/>
                  </a:lnTo>
                  <a:lnTo>
                    <a:pt x="204" y="984"/>
                  </a:lnTo>
                  <a:lnTo>
                    <a:pt x="192" y="966"/>
                  </a:lnTo>
                  <a:lnTo>
                    <a:pt x="186" y="948"/>
                  </a:lnTo>
                  <a:lnTo>
                    <a:pt x="174" y="948"/>
                  </a:lnTo>
                  <a:lnTo>
                    <a:pt x="174" y="936"/>
                  </a:lnTo>
                  <a:lnTo>
                    <a:pt x="186" y="924"/>
                  </a:lnTo>
                  <a:lnTo>
                    <a:pt x="198" y="906"/>
                  </a:lnTo>
                  <a:lnTo>
                    <a:pt x="204" y="888"/>
                  </a:lnTo>
                  <a:lnTo>
                    <a:pt x="222" y="870"/>
                  </a:lnTo>
                  <a:lnTo>
                    <a:pt x="234" y="858"/>
                  </a:lnTo>
                  <a:lnTo>
                    <a:pt x="234" y="852"/>
                  </a:lnTo>
                  <a:lnTo>
                    <a:pt x="222" y="852"/>
                  </a:lnTo>
                  <a:lnTo>
                    <a:pt x="228" y="810"/>
                  </a:lnTo>
                  <a:lnTo>
                    <a:pt x="222" y="798"/>
                  </a:lnTo>
                  <a:lnTo>
                    <a:pt x="216" y="798"/>
                  </a:lnTo>
                  <a:lnTo>
                    <a:pt x="216" y="792"/>
                  </a:lnTo>
                  <a:lnTo>
                    <a:pt x="210" y="792"/>
                  </a:lnTo>
                  <a:lnTo>
                    <a:pt x="204" y="798"/>
                  </a:lnTo>
                  <a:lnTo>
                    <a:pt x="204" y="792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0" y="786"/>
                  </a:lnTo>
                  <a:lnTo>
                    <a:pt x="174" y="792"/>
                  </a:lnTo>
                  <a:lnTo>
                    <a:pt x="162" y="792"/>
                  </a:lnTo>
                  <a:lnTo>
                    <a:pt x="156" y="792"/>
                  </a:lnTo>
                  <a:lnTo>
                    <a:pt x="156" y="798"/>
                  </a:lnTo>
                  <a:lnTo>
                    <a:pt x="138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6" y="804"/>
                  </a:lnTo>
                  <a:lnTo>
                    <a:pt x="102" y="810"/>
                  </a:lnTo>
                  <a:lnTo>
                    <a:pt x="90" y="810"/>
                  </a:lnTo>
                  <a:lnTo>
                    <a:pt x="72" y="798"/>
                  </a:lnTo>
                  <a:lnTo>
                    <a:pt x="66" y="780"/>
                  </a:lnTo>
                  <a:lnTo>
                    <a:pt x="60" y="780"/>
                  </a:lnTo>
                  <a:lnTo>
                    <a:pt x="60" y="768"/>
                  </a:lnTo>
                  <a:lnTo>
                    <a:pt x="54" y="768"/>
                  </a:lnTo>
                  <a:lnTo>
                    <a:pt x="24" y="756"/>
                  </a:lnTo>
                  <a:lnTo>
                    <a:pt x="18" y="744"/>
                  </a:lnTo>
                  <a:lnTo>
                    <a:pt x="12" y="738"/>
                  </a:lnTo>
                  <a:lnTo>
                    <a:pt x="18" y="732"/>
                  </a:lnTo>
                  <a:lnTo>
                    <a:pt x="12" y="726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8" y="696"/>
                  </a:lnTo>
                  <a:lnTo>
                    <a:pt x="24" y="708"/>
                  </a:lnTo>
                  <a:lnTo>
                    <a:pt x="36" y="702"/>
                  </a:lnTo>
                  <a:lnTo>
                    <a:pt x="36" y="678"/>
                  </a:lnTo>
                  <a:lnTo>
                    <a:pt x="36" y="660"/>
                  </a:lnTo>
                  <a:lnTo>
                    <a:pt x="42" y="654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72" y="624"/>
                  </a:lnTo>
                  <a:lnTo>
                    <a:pt x="90" y="618"/>
                  </a:lnTo>
                  <a:lnTo>
                    <a:pt x="102" y="618"/>
                  </a:lnTo>
                  <a:lnTo>
                    <a:pt x="114" y="612"/>
                  </a:lnTo>
                  <a:lnTo>
                    <a:pt x="138" y="606"/>
                  </a:lnTo>
                  <a:lnTo>
                    <a:pt x="144" y="606"/>
                  </a:lnTo>
                  <a:lnTo>
                    <a:pt x="150" y="594"/>
                  </a:lnTo>
                  <a:lnTo>
                    <a:pt x="156" y="576"/>
                  </a:lnTo>
                  <a:lnTo>
                    <a:pt x="168" y="552"/>
                  </a:lnTo>
                  <a:lnTo>
                    <a:pt x="168" y="540"/>
                  </a:lnTo>
                  <a:lnTo>
                    <a:pt x="180" y="522"/>
                  </a:lnTo>
                  <a:lnTo>
                    <a:pt x="186" y="498"/>
                  </a:lnTo>
                  <a:lnTo>
                    <a:pt x="198" y="480"/>
                  </a:lnTo>
                  <a:lnTo>
                    <a:pt x="204" y="486"/>
                  </a:lnTo>
                  <a:lnTo>
                    <a:pt x="210" y="480"/>
                  </a:lnTo>
                  <a:lnTo>
                    <a:pt x="204" y="474"/>
                  </a:lnTo>
                  <a:lnTo>
                    <a:pt x="198" y="462"/>
                  </a:lnTo>
                  <a:lnTo>
                    <a:pt x="192" y="456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50"/>
                  </a:lnTo>
                  <a:lnTo>
                    <a:pt x="132" y="426"/>
                  </a:lnTo>
                  <a:lnTo>
                    <a:pt x="132" y="396"/>
                  </a:lnTo>
                  <a:lnTo>
                    <a:pt x="132" y="378"/>
                  </a:lnTo>
                  <a:lnTo>
                    <a:pt x="126" y="348"/>
                  </a:lnTo>
                  <a:lnTo>
                    <a:pt x="132" y="312"/>
                  </a:lnTo>
                  <a:lnTo>
                    <a:pt x="126" y="288"/>
                  </a:lnTo>
                  <a:lnTo>
                    <a:pt x="138" y="282"/>
                  </a:lnTo>
                  <a:lnTo>
                    <a:pt x="126" y="264"/>
                  </a:lnTo>
                  <a:lnTo>
                    <a:pt x="126" y="258"/>
                  </a:lnTo>
                  <a:lnTo>
                    <a:pt x="120" y="246"/>
                  </a:lnTo>
                  <a:lnTo>
                    <a:pt x="126" y="234"/>
                  </a:lnTo>
                  <a:lnTo>
                    <a:pt x="114" y="228"/>
                  </a:lnTo>
                  <a:lnTo>
                    <a:pt x="114" y="222"/>
                  </a:lnTo>
                  <a:lnTo>
                    <a:pt x="96" y="204"/>
                  </a:lnTo>
                  <a:lnTo>
                    <a:pt x="84" y="180"/>
                  </a:lnTo>
                  <a:lnTo>
                    <a:pt x="78" y="168"/>
                  </a:lnTo>
                  <a:lnTo>
                    <a:pt x="72" y="162"/>
                  </a:lnTo>
                  <a:lnTo>
                    <a:pt x="66" y="144"/>
                  </a:lnTo>
                  <a:lnTo>
                    <a:pt x="60" y="138"/>
                  </a:lnTo>
                  <a:lnTo>
                    <a:pt x="66" y="126"/>
                  </a:lnTo>
                  <a:lnTo>
                    <a:pt x="66" y="114"/>
                  </a:lnTo>
                  <a:lnTo>
                    <a:pt x="72" y="114"/>
                  </a:lnTo>
                  <a:lnTo>
                    <a:pt x="72" y="108"/>
                  </a:lnTo>
                  <a:lnTo>
                    <a:pt x="78" y="102"/>
                  </a:lnTo>
                  <a:lnTo>
                    <a:pt x="78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120" y="78"/>
                  </a:lnTo>
                  <a:lnTo>
                    <a:pt x="144" y="84"/>
                  </a:lnTo>
                  <a:lnTo>
                    <a:pt x="150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74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92" y="102"/>
                  </a:lnTo>
                  <a:lnTo>
                    <a:pt x="198" y="96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16" y="96"/>
                  </a:lnTo>
                  <a:lnTo>
                    <a:pt x="222" y="96"/>
                  </a:lnTo>
                  <a:lnTo>
                    <a:pt x="228" y="96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94" y="114"/>
                  </a:lnTo>
                  <a:lnTo>
                    <a:pt x="312" y="120"/>
                  </a:lnTo>
                  <a:lnTo>
                    <a:pt x="318" y="126"/>
                  </a:lnTo>
                  <a:lnTo>
                    <a:pt x="330" y="132"/>
                  </a:lnTo>
                  <a:lnTo>
                    <a:pt x="342" y="132"/>
                  </a:lnTo>
                  <a:lnTo>
                    <a:pt x="348" y="132"/>
                  </a:lnTo>
                  <a:lnTo>
                    <a:pt x="354" y="138"/>
                  </a:lnTo>
                  <a:lnTo>
                    <a:pt x="366" y="138"/>
                  </a:lnTo>
                  <a:lnTo>
                    <a:pt x="372" y="144"/>
                  </a:lnTo>
                  <a:lnTo>
                    <a:pt x="378" y="150"/>
                  </a:lnTo>
                  <a:lnTo>
                    <a:pt x="384" y="150"/>
                  </a:lnTo>
                  <a:lnTo>
                    <a:pt x="390" y="150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14" y="156"/>
                  </a:lnTo>
                  <a:lnTo>
                    <a:pt x="420" y="156"/>
                  </a:lnTo>
                  <a:lnTo>
                    <a:pt x="426" y="162"/>
                  </a:lnTo>
                  <a:lnTo>
                    <a:pt x="438" y="168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62" y="174"/>
                  </a:lnTo>
                  <a:lnTo>
                    <a:pt x="468" y="174"/>
                  </a:lnTo>
                  <a:lnTo>
                    <a:pt x="474" y="174"/>
                  </a:lnTo>
                  <a:lnTo>
                    <a:pt x="474" y="180"/>
                  </a:lnTo>
                  <a:lnTo>
                    <a:pt x="480" y="192"/>
                  </a:lnTo>
                  <a:lnTo>
                    <a:pt x="498" y="198"/>
                  </a:lnTo>
                  <a:lnTo>
                    <a:pt x="510" y="210"/>
                  </a:lnTo>
                  <a:lnTo>
                    <a:pt x="516" y="210"/>
                  </a:lnTo>
                  <a:lnTo>
                    <a:pt x="522" y="210"/>
                  </a:lnTo>
                  <a:lnTo>
                    <a:pt x="534" y="216"/>
                  </a:lnTo>
                  <a:lnTo>
                    <a:pt x="540" y="216"/>
                  </a:lnTo>
                  <a:lnTo>
                    <a:pt x="546" y="222"/>
                  </a:lnTo>
                  <a:lnTo>
                    <a:pt x="552" y="222"/>
                  </a:lnTo>
                  <a:lnTo>
                    <a:pt x="558" y="228"/>
                  </a:lnTo>
                  <a:lnTo>
                    <a:pt x="564" y="228"/>
                  </a:lnTo>
                  <a:lnTo>
                    <a:pt x="570" y="234"/>
                  </a:lnTo>
                  <a:lnTo>
                    <a:pt x="576" y="240"/>
                  </a:lnTo>
                  <a:lnTo>
                    <a:pt x="582" y="240"/>
                  </a:lnTo>
                  <a:lnTo>
                    <a:pt x="588" y="240"/>
                  </a:lnTo>
                  <a:lnTo>
                    <a:pt x="594" y="240"/>
                  </a:lnTo>
                  <a:lnTo>
                    <a:pt x="600" y="228"/>
                  </a:lnTo>
                  <a:lnTo>
                    <a:pt x="588" y="216"/>
                  </a:lnTo>
                  <a:lnTo>
                    <a:pt x="588" y="198"/>
                  </a:lnTo>
                  <a:lnTo>
                    <a:pt x="582" y="198"/>
                  </a:lnTo>
                  <a:lnTo>
                    <a:pt x="588" y="192"/>
                  </a:lnTo>
                  <a:lnTo>
                    <a:pt x="582" y="168"/>
                  </a:lnTo>
                  <a:lnTo>
                    <a:pt x="558" y="114"/>
                  </a:lnTo>
                  <a:lnTo>
                    <a:pt x="552" y="90"/>
                  </a:lnTo>
                  <a:lnTo>
                    <a:pt x="558" y="60"/>
                  </a:lnTo>
                  <a:lnTo>
                    <a:pt x="564" y="48"/>
                  </a:lnTo>
                  <a:lnTo>
                    <a:pt x="582" y="42"/>
                  </a:lnTo>
                  <a:lnTo>
                    <a:pt x="624" y="6"/>
                  </a:lnTo>
                  <a:lnTo>
                    <a:pt x="648" y="0"/>
                  </a:lnTo>
                  <a:lnTo>
                    <a:pt x="678" y="0"/>
                  </a:lnTo>
                  <a:lnTo>
                    <a:pt x="720" y="12"/>
                  </a:lnTo>
                  <a:lnTo>
                    <a:pt x="744" y="24"/>
                  </a:lnTo>
                  <a:lnTo>
                    <a:pt x="768" y="42"/>
                  </a:lnTo>
                  <a:lnTo>
                    <a:pt x="816" y="48"/>
                  </a:lnTo>
                  <a:lnTo>
                    <a:pt x="834" y="48"/>
                  </a:lnTo>
                  <a:lnTo>
                    <a:pt x="852" y="54"/>
                  </a:lnTo>
                  <a:lnTo>
                    <a:pt x="906" y="60"/>
                  </a:lnTo>
                  <a:lnTo>
                    <a:pt x="948" y="54"/>
                  </a:lnTo>
                  <a:lnTo>
                    <a:pt x="978" y="42"/>
                  </a:lnTo>
                  <a:lnTo>
                    <a:pt x="984" y="48"/>
                  </a:lnTo>
                  <a:lnTo>
                    <a:pt x="990" y="60"/>
                  </a:lnTo>
                  <a:lnTo>
                    <a:pt x="996" y="66"/>
                  </a:lnTo>
                  <a:lnTo>
                    <a:pt x="1002" y="72"/>
                  </a:lnTo>
                  <a:lnTo>
                    <a:pt x="1014" y="78"/>
                  </a:lnTo>
                  <a:lnTo>
                    <a:pt x="1014" y="84"/>
                  </a:lnTo>
                  <a:lnTo>
                    <a:pt x="1032" y="84"/>
                  </a:lnTo>
                  <a:lnTo>
                    <a:pt x="1032" y="90"/>
                  </a:lnTo>
                  <a:lnTo>
                    <a:pt x="1032" y="96"/>
                  </a:lnTo>
                  <a:lnTo>
                    <a:pt x="1032" y="108"/>
                  </a:lnTo>
                  <a:lnTo>
                    <a:pt x="1056" y="126"/>
                  </a:lnTo>
                  <a:lnTo>
                    <a:pt x="1068" y="138"/>
                  </a:lnTo>
                  <a:lnTo>
                    <a:pt x="1068" y="156"/>
                  </a:lnTo>
                  <a:lnTo>
                    <a:pt x="1080" y="150"/>
                  </a:lnTo>
                  <a:lnTo>
                    <a:pt x="1086" y="150"/>
                  </a:lnTo>
                  <a:lnTo>
                    <a:pt x="1092" y="156"/>
                  </a:lnTo>
                  <a:lnTo>
                    <a:pt x="1092" y="162"/>
                  </a:lnTo>
                  <a:lnTo>
                    <a:pt x="1092" y="168"/>
                  </a:lnTo>
                  <a:lnTo>
                    <a:pt x="1098" y="168"/>
                  </a:lnTo>
                  <a:lnTo>
                    <a:pt x="1092" y="180"/>
                  </a:lnTo>
                  <a:lnTo>
                    <a:pt x="1092" y="186"/>
                  </a:lnTo>
                  <a:lnTo>
                    <a:pt x="1086" y="192"/>
                  </a:lnTo>
                  <a:lnTo>
                    <a:pt x="1068" y="210"/>
                  </a:lnTo>
                  <a:lnTo>
                    <a:pt x="1068" y="216"/>
                  </a:lnTo>
                  <a:lnTo>
                    <a:pt x="1074" y="228"/>
                  </a:lnTo>
                  <a:lnTo>
                    <a:pt x="1092" y="234"/>
                  </a:lnTo>
                  <a:lnTo>
                    <a:pt x="1122" y="216"/>
                  </a:lnTo>
                  <a:lnTo>
                    <a:pt x="1188" y="204"/>
                  </a:lnTo>
                  <a:lnTo>
                    <a:pt x="1212" y="204"/>
                  </a:lnTo>
                  <a:lnTo>
                    <a:pt x="1230" y="198"/>
                  </a:lnTo>
                  <a:lnTo>
                    <a:pt x="1236" y="204"/>
                  </a:lnTo>
                  <a:lnTo>
                    <a:pt x="1242" y="210"/>
                  </a:lnTo>
                  <a:lnTo>
                    <a:pt x="1242" y="204"/>
                  </a:lnTo>
                  <a:lnTo>
                    <a:pt x="1248" y="198"/>
                  </a:lnTo>
                  <a:lnTo>
                    <a:pt x="1308" y="204"/>
                  </a:lnTo>
                  <a:lnTo>
                    <a:pt x="1338" y="204"/>
                  </a:lnTo>
                  <a:lnTo>
                    <a:pt x="1374" y="228"/>
                  </a:lnTo>
                  <a:lnTo>
                    <a:pt x="1380" y="234"/>
                  </a:lnTo>
                  <a:lnTo>
                    <a:pt x="1380" y="240"/>
                  </a:lnTo>
                  <a:lnTo>
                    <a:pt x="1386" y="252"/>
                  </a:lnTo>
                  <a:lnTo>
                    <a:pt x="1392" y="252"/>
                  </a:lnTo>
                  <a:lnTo>
                    <a:pt x="1416" y="270"/>
                  </a:lnTo>
                  <a:lnTo>
                    <a:pt x="1428" y="294"/>
                  </a:lnTo>
                  <a:lnTo>
                    <a:pt x="1440" y="312"/>
                  </a:lnTo>
                  <a:lnTo>
                    <a:pt x="1452" y="330"/>
                  </a:lnTo>
                  <a:lnTo>
                    <a:pt x="1464" y="330"/>
                  </a:lnTo>
                  <a:lnTo>
                    <a:pt x="1464" y="336"/>
                  </a:lnTo>
                  <a:lnTo>
                    <a:pt x="1470" y="336"/>
                  </a:lnTo>
                  <a:lnTo>
                    <a:pt x="1470" y="342"/>
                  </a:lnTo>
                  <a:lnTo>
                    <a:pt x="1476" y="342"/>
                  </a:lnTo>
                  <a:lnTo>
                    <a:pt x="1488" y="336"/>
                  </a:lnTo>
                  <a:lnTo>
                    <a:pt x="1494" y="342"/>
                  </a:lnTo>
                  <a:lnTo>
                    <a:pt x="1500" y="342"/>
                  </a:lnTo>
                  <a:lnTo>
                    <a:pt x="1512" y="366"/>
                  </a:lnTo>
                  <a:lnTo>
                    <a:pt x="1530" y="396"/>
                  </a:lnTo>
                  <a:lnTo>
                    <a:pt x="1536" y="444"/>
                  </a:lnTo>
                  <a:lnTo>
                    <a:pt x="1530" y="480"/>
                  </a:lnTo>
                  <a:lnTo>
                    <a:pt x="1506" y="510"/>
                  </a:lnTo>
                  <a:lnTo>
                    <a:pt x="1500" y="546"/>
                  </a:lnTo>
                  <a:lnTo>
                    <a:pt x="1494" y="564"/>
                  </a:lnTo>
                  <a:lnTo>
                    <a:pt x="1494" y="576"/>
                  </a:lnTo>
                  <a:lnTo>
                    <a:pt x="1500" y="582"/>
                  </a:lnTo>
                  <a:lnTo>
                    <a:pt x="1494" y="612"/>
                  </a:lnTo>
                  <a:lnTo>
                    <a:pt x="1476" y="630"/>
                  </a:lnTo>
                  <a:lnTo>
                    <a:pt x="1434" y="672"/>
                  </a:lnTo>
                  <a:lnTo>
                    <a:pt x="1392" y="756"/>
                  </a:lnTo>
                  <a:lnTo>
                    <a:pt x="1380" y="792"/>
                  </a:lnTo>
                  <a:lnTo>
                    <a:pt x="1374" y="798"/>
                  </a:lnTo>
                  <a:lnTo>
                    <a:pt x="1368" y="798"/>
                  </a:lnTo>
                  <a:lnTo>
                    <a:pt x="1380" y="804"/>
                  </a:lnTo>
                  <a:lnTo>
                    <a:pt x="1386" y="804"/>
                  </a:lnTo>
                  <a:lnTo>
                    <a:pt x="1380" y="822"/>
                  </a:lnTo>
                  <a:lnTo>
                    <a:pt x="1380" y="852"/>
                  </a:lnTo>
                  <a:lnTo>
                    <a:pt x="1374" y="858"/>
                  </a:lnTo>
                  <a:lnTo>
                    <a:pt x="1380" y="858"/>
                  </a:lnTo>
                  <a:lnTo>
                    <a:pt x="1374" y="864"/>
                  </a:lnTo>
                  <a:lnTo>
                    <a:pt x="1374" y="870"/>
                  </a:lnTo>
                  <a:lnTo>
                    <a:pt x="1374" y="876"/>
                  </a:lnTo>
                  <a:lnTo>
                    <a:pt x="1368" y="900"/>
                  </a:lnTo>
                  <a:lnTo>
                    <a:pt x="1362" y="906"/>
                  </a:lnTo>
                  <a:lnTo>
                    <a:pt x="1362" y="918"/>
                  </a:lnTo>
                  <a:lnTo>
                    <a:pt x="1362" y="924"/>
                  </a:lnTo>
                  <a:lnTo>
                    <a:pt x="1356" y="942"/>
                  </a:lnTo>
                  <a:lnTo>
                    <a:pt x="1350" y="972"/>
                  </a:lnTo>
                  <a:lnTo>
                    <a:pt x="1350" y="1014"/>
                  </a:lnTo>
                  <a:lnTo>
                    <a:pt x="1350" y="10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3" name="Freeform 18">
              <a:extLst>
                <a:ext uri="{FF2B5EF4-FFF2-40B4-BE49-F238E27FC236}">
                  <a16:creationId xmlns:a16="http://schemas.microsoft.com/office/drawing/2014/main" id="{EC11F2E0-3C06-46E2-8AD2-66EBE00FFE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32346" y="3837389"/>
              <a:ext cx="556811" cy="818559"/>
            </a:xfrm>
            <a:custGeom>
              <a:avLst/>
              <a:gdLst>
                <a:gd name="T0" fmla="*/ 12 w 1044"/>
                <a:gd name="T1" fmla="*/ 95 h 1542"/>
                <a:gd name="T2" fmla="*/ 7 w 1044"/>
                <a:gd name="T3" fmla="*/ 93 h 1542"/>
                <a:gd name="T4" fmla="*/ 0 w 1044"/>
                <a:gd name="T5" fmla="*/ 88 h 1542"/>
                <a:gd name="T6" fmla="*/ 3 w 1044"/>
                <a:gd name="T7" fmla="*/ 74 h 1542"/>
                <a:gd name="T8" fmla="*/ 4 w 1044"/>
                <a:gd name="T9" fmla="*/ 59 h 1542"/>
                <a:gd name="T10" fmla="*/ 7 w 1044"/>
                <a:gd name="T11" fmla="*/ 52 h 1542"/>
                <a:gd name="T12" fmla="*/ 20 w 1044"/>
                <a:gd name="T13" fmla="*/ 50 h 1542"/>
                <a:gd name="T14" fmla="*/ 24 w 1044"/>
                <a:gd name="T15" fmla="*/ 46 h 1542"/>
                <a:gd name="T16" fmla="*/ 29 w 1044"/>
                <a:gd name="T17" fmla="*/ 33 h 1542"/>
                <a:gd name="T18" fmla="*/ 32 w 1044"/>
                <a:gd name="T19" fmla="*/ 26 h 1542"/>
                <a:gd name="T20" fmla="*/ 30 w 1044"/>
                <a:gd name="T21" fmla="*/ 20 h 1542"/>
                <a:gd name="T22" fmla="*/ 26 w 1044"/>
                <a:gd name="T23" fmla="*/ 17 h 1542"/>
                <a:gd name="T24" fmla="*/ 28 w 1044"/>
                <a:gd name="T25" fmla="*/ 12 h 1542"/>
                <a:gd name="T26" fmla="*/ 44 w 1044"/>
                <a:gd name="T27" fmla="*/ 5 h 1542"/>
                <a:gd name="T28" fmla="*/ 57 w 1044"/>
                <a:gd name="T29" fmla="*/ 2 h 1542"/>
                <a:gd name="T30" fmla="*/ 65 w 1044"/>
                <a:gd name="T31" fmla="*/ 12 h 1542"/>
                <a:gd name="T32" fmla="*/ 81 w 1044"/>
                <a:gd name="T33" fmla="*/ 9 h 1542"/>
                <a:gd name="T34" fmla="*/ 91 w 1044"/>
                <a:gd name="T35" fmla="*/ 20 h 1542"/>
                <a:gd name="T36" fmla="*/ 89 w 1044"/>
                <a:gd name="T37" fmla="*/ 28 h 1542"/>
                <a:gd name="T38" fmla="*/ 83 w 1044"/>
                <a:gd name="T39" fmla="*/ 33 h 1542"/>
                <a:gd name="T40" fmla="*/ 74 w 1044"/>
                <a:gd name="T41" fmla="*/ 42 h 1542"/>
                <a:gd name="T42" fmla="*/ 58 w 1044"/>
                <a:gd name="T43" fmla="*/ 57 h 1542"/>
                <a:gd name="T44" fmla="*/ 54 w 1044"/>
                <a:gd name="T45" fmla="*/ 65 h 1542"/>
                <a:gd name="T46" fmla="*/ 59 w 1044"/>
                <a:gd name="T47" fmla="*/ 74 h 1542"/>
                <a:gd name="T48" fmla="*/ 55 w 1044"/>
                <a:gd name="T49" fmla="*/ 84 h 1542"/>
                <a:gd name="T50" fmla="*/ 52 w 1044"/>
                <a:gd name="T51" fmla="*/ 98 h 1542"/>
                <a:gd name="T52" fmla="*/ 47 w 1044"/>
                <a:gd name="T53" fmla="*/ 105 h 1542"/>
                <a:gd name="T54" fmla="*/ 42 w 1044"/>
                <a:gd name="T55" fmla="*/ 111 h 1542"/>
                <a:gd name="T56" fmla="*/ 43 w 1044"/>
                <a:gd name="T57" fmla="*/ 120 h 1542"/>
                <a:gd name="T58" fmla="*/ 45 w 1044"/>
                <a:gd name="T59" fmla="*/ 125 h 1542"/>
                <a:gd name="T60" fmla="*/ 44 w 1044"/>
                <a:gd name="T61" fmla="*/ 130 h 1542"/>
                <a:gd name="T62" fmla="*/ 45 w 1044"/>
                <a:gd name="T63" fmla="*/ 131 h 1542"/>
                <a:gd name="T64" fmla="*/ 48 w 1044"/>
                <a:gd name="T65" fmla="*/ 133 h 1542"/>
                <a:gd name="T66" fmla="*/ 39 w 1044"/>
                <a:gd name="T67" fmla="*/ 133 h 1542"/>
                <a:gd name="T68" fmla="*/ 42 w 1044"/>
                <a:gd name="T69" fmla="*/ 132 h 1542"/>
                <a:gd name="T70" fmla="*/ 38 w 1044"/>
                <a:gd name="T71" fmla="*/ 133 h 1542"/>
                <a:gd name="T72" fmla="*/ 37 w 1044"/>
                <a:gd name="T73" fmla="*/ 129 h 1542"/>
                <a:gd name="T74" fmla="*/ 40 w 1044"/>
                <a:gd name="T75" fmla="*/ 125 h 1542"/>
                <a:gd name="T76" fmla="*/ 40 w 1044"/>
                <a:gd name="T77" fmla="*/ 120 h 1542"/>
                <a:gd name="T78" fmla="*/ 40 w 1044"/>
                <a:gd name="T79" fmla="*/ 117 h 1542"/>
                <a:gd name="T80" fmla="*/ 37 w 1044"/>
                <a:gd name="T81" fmla="*/ 120 h 1542"/>
                <a:gd name="T82" fmla="*/ 34 w 1044"/>
                <a:gd name="T83" fmla="*/ 122 h 1542"/>
                <a:gd name="T84" fmla="*/ 36 w 1044"/>
                <a:gd name="T85" fmla="*/ 120 h 1542"/>
                <a:gd name="T86" fmla="*/ 30 w 1044"/>
                <a:gd name="T87" fmla="*/ 120 h 1542"/>
                <a:gd name="T88" fmla="*/ 31 w 1044"/>
                <a:gd name="T89" fmla="*/ 113 h 1542"/>
                <a:gd name="T90" fmla="*/ 29 w 1044"/>
                <a:gd name="T91" fmla="*/ 112 h 1542"/>
                <a:gd name="T92" fmla="*/ 31 w 1044"/>
                <a:gd name="T93" fmla="*/ 117 h 1542"/>
                <a:gd name="T94" fmla="*/ 27 w 1044"/>
                <a:gd name="T95" fmla="*/ 116 h 1542"/>
                <a:gd name="T96" fmla="*/ 25 w 1044"/>
                <a:gd name="T97" fmla="*/ 112 h 1542"/>
                <a:gd name="T98" fmla="*/ 21 w 1044"/>
                <a:gd name="T99" fmla="*/ 109 h 1542"/>
                <a:gd name="T100" fmla="*/ 21 w 1044"/>
                <a:gd name="T101" fmla="*/ 113 h 1542"/>
                <a:gd name="T102" fmla="*/ 40 w 1044"/>
                <a:gd name="T103" fmla="*/ 120 h 1542"/>
                <a:gd name="T104" fmla="*/ 40 w 1044"/>
                <a:gd name="T105" fmla="*/ 121 h 1542"/>
                <a:gd name="T106" fmla="*/ 40 w 1044"/>
                <a:gd name="T107" fmla="*/ 116 h 1542"/>
                <a:gd name="T108" fmla="*/ 38 w 1044"/>
                <a:gd name="T109" fmla="*/ 120 h 1542"/>
                <a:gd name="T110" fmla="*/ 23 w 1044"/>
                <a:gd name="T111" fmla="*/ 110 h 1542"/>
                <a:gd name="T112" fmla="*/ 37 w 1044"/>
                <a:gd name="T113" fmla="*/ 124 h 1542"/>
                <a:gd name="T114" fmla="*/ 40 w 1044"/>
                <a:gd name="T115" fmla="*/ 125 h 1542"/>
                <a:gd name="T116" fmla="*/ 38 w 1044"/>
                <a:gd name="T117" fmla="*/ 128 h 1542"/>
                <a:gd name="T118" fmla="*/ 25 w 1044"/>
                <a:gd name="T119" fmla="*/ 117 h 1542"/>
                <a:gd name="T120" fmla="*/ 27 w 1044"/>
                <a:gd name="T121" fmla="*/ 127 h 1542"/>
                <a:gd name="T122" fmla="*/ 24 w 1044"/>
                <a:gd name="T123" fmla="*/ 113 h 15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4"/>
                <a:gd name="T187" fmla="*/ 0 h 1542"/>
                <a:gd name="T188" fmla="*/ 1044 w 1044"/>
                <a:gd name="T189" fmla="*/ 1542 h 154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4" h="1542">
                  <a:moveTo>
                    <a:pt x="234" y="1278"/>
                  </a:moveTo>
                  <a:lnTo>
                    <a:pt x="228" y="1272"/>
                  </a:lnTo>
                  <a:lnTo>
                    <a:pt x="222" y="1266"/>
                  </a:lnTo>
                  <a:lnTo>
                    <a:pt x="222" y="1260"/>
                  </a:lnTo>
                  <a:lnTo>
                    <a:pt x="204" y="1248"/>
                  </a:lnTo>
                  <a:lnTo>
                    <a:pt x="192" y="1248"/>
                  </a:lnTo>
                  <a:lnTo>
                    <a:pt x="186" y="1236"/>
                  </a:lnTo>
                  <a:lnTo>
                    <a:pt x="174" y="1218"/>
                  </a:lnTo>
                  <a:lnTo>
                    <a:pt x="162" y="1194"/>
                  </a:lnTo>
                  <a:lnTo>
                    <a:pt x="156" y="1182"/>
                  </a:lnTo>
                  <a:lnTo>
                    <a:pt x="162" y="1146"/>
                  </a:lnTo>
                  <a:lnTo>
                    <a:pt x="156" y="1134"/>
                  </a:lnTo>
                  <a:lnTo>
                    <a:pt x="138" y="1122"/>
                  </a:lnTo>
                  <a:lnTo>
                    <a:pt x="132" y="1116"/>
                  </a:lnTo>
                  <a:lnTo>
                    <a:pt x="138" y="1098"/>
                  </a:lnTo>
                  <a:lnTo>
                    <a:pt x="138" y="1092"/>
                  </a:lnTo>
                  <a:lnTo>
                    <a:pt x="138" y="1086"/>
                  </a:lnTo>
                  <a:lnTo>
                    <a:pt x="132" y="1074"/>
                  </a:lnTo>
                  <a:lnTo>
                    <a:pt x="126" y="1074"/>
                  </a:lnTo>
                  <a:lnTo>
                    <a:pt x="126" y="1068"/>
                  </a:lnTo>
                  <a:lnTo>
                    <a:pt x="120" y="1062"/>
                  </a:lnTo>
                  <a:lnTo>
                    <a:pt x="120" y="1056"/>
                  </a:lnTo>
                  <a:lnTo>
                    <a:pt x="114" y="1050"/>
                  </a:lnTo>
                  <a:lnTo>
                    <a:pt x="108" y="1050"/>
                  </a:lnTo>
                  <a:lnTo>
                    <a:pt x="102" y="1056"/>
                  </a:lnTo>
                  <a:lnTo>
                    <a:pt x="102" y="1062"/>
                  </a:lnTo>
                  <a:lnTo>
                    <a:pt x="96" y="1062"/>
                  </a:lnTo>
                  <a:lnTo>
                    <a:pt x="96" y="1068"/>
                  </a:lnTo>
                  <a:lnTo>
                    <a:pt x="96" y="1074"/>
                  </a:lnTo>
                  <a:lnTo>
                    <a:pt x="90" y="1074"/>
                  </a:lnTo>
                  <a:lnTo>
                    <a:pt x="84" y="1080"/>
                  </a:lnTo>
                  <a:lnTo>
                    <a:pt x="78" y="1074"/>
                  </a:lnTo>
                  <a:lnTo>
                    <a:pt x="72" y="1074"/>
                  </a:lnTo>
                  <a:lnTo>
                    <a:pt x="72" y="1068"/>
                  </a:lnTo>
                  <a:lnTo>
                    <a:pt x="72" y="1062"/>
                  </a:lnTo>
                  <a:lnTo>
                    <a:pt x="60" y="1056"/>
                  </a:lnTo>
                  <a:lnTo>
                    <a:pt x="60" y="1044"/>
                  </a:lnTo>
                  <a:lnTo>
                    <a:pt x="60" y="1032"/>
                  </a:lnTo>
                  <a:lnTo>
                    <a:pt x="60" y="1026"/>
                  </a:lnTo>
                  <a:lnTo>
                    <a:pt x="54" y="1026"/>
                  </a:lnTo>
                  <a:lnTo>
                    <a:pt x="48" y="1014"/>
                  </a:lnTo>
                  <a:lnTo>
                    <a:pt x="42" y="1008"/>
                  </a:lnTo>
                  <a:lnTo>
                    <a:pt x="30" y="1008"/>
                  </a:lnTo>
                  <a:lnTo>
                    <a:pt x="30" y="1002"/>
                  </a:lnTo>
                  <a:lnTo>
                    <a:pt x="24" y="1008"/>
                  </a:lnTo>
                  <a:lnTo>
                    <a:pt x="12" y="1008"/>
                  </a:lnTo>
                  <a:lnTo>
                    <a:pt x="6" y="1008"/>
                  </a:lnTo>
                  <a:lnTo>
                    <a:pt x="0" y="1008"/>
                  </a:lnTo>
                  <a:lnTo>
                    <a:pt x="0" y="1002"/>
                  </a:lnTo>
                  <a:lnTo>
                    <a:pt x="6" y="990"/>
                  </a:lnTo>
                  <a:lnTo>
                    <a:pt x="6" y="984"/>
                  </a:lnTo>
                  <a:lnTo>
                    <a:pt x="0" y="978"/>
                  </a:lnTo>
                  <a:lnTo>
                    <a:pt x="6" y="972"/>
                  </a:lnTo>
                  <a:lnTo>
                    <a:pt x="12" y="972"/>
                  </a:lnTo>
                  <a:lnTo>
                    <a:pt x="72" y="978"/>
                  </a:lnTo>
                  <a:lnTo>
                    <a:pt x="78" y="972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30"/>
                  </a:lnTo>
                  <a:lnTo>
                    <a:pt x="54" y="912"/>
                  </a:lnTo>
                  <a:lnTo>
                    <a:pt x="42" y="906"/>
                  </a:lnTo>
                  <a:lnTo>
                    <a:pt x="36" y="894"/>
                  </a:lnTo>
                  <a:lnTo>
                    <a:pt x="30" y="876"/>
                  </a:lnTo>
                  <a:lnTo>
                    <a:pt x="30" y="858"/>
                  </a:lnTo>
                  <a:lnTo>
                    <a:pt x="30" y="840"/>
                  </a:lnTo>
                  <a:lnTo>
                    <a:pt x="36" y="816"/>
                  </a:lnTo>
                  <a:lnTo>
                    <a:pt x="36" y="792"/>
                  </a:lnTo>
                  <a:lnTo>
                    <a:pt x="36" y="780"/>
                  </a:lnTo>
                  <a:lnTo>
                    <a:pt x="12" y="774"/>
                  </a:lnTo>
                  <a:lnTo>
                    <a:pt x="24" y="756"/>
                  </a:lnTo>
                  <a:lnTo>
                    <a:pt x="24" y="744"/>
                  </a:lnTo>
                  <a:lnTo>
                    <a:pt x="30" y="738"/>
                  </a:lnTo>
                  <a:lnTo>
                    <a:pt x="30" y="732"/>
                  </a:lnTo>
                  <a:lnTo>
                    <a:pt x="36" y="720"/>
                  </a:lnTo>
                  <a:lnTo>
                    <a:pt x="42" y="714"/>
                  </a:lnTo>
                  <a:lnTo>
                    <a:pt x="54" y="708"/>
                  </a:lnTo>
                  <a:lnTo>
                    <a:pt x="60" y="702"/>
                  </a:lnTo>
                  <a:lnTo>
                    <a:pt x="48" y="690"/>
                  </a:lnTo>
                  <a:lnTo>
                    <a:pt x="48" y="684"/>
                  </a:lnTo>
                  <a:lnTo>
                    <a:pt x="48" y="678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66"/>
                  </a:lnTo>
                  <a:lnTo>
                    <a:pt x="72" y="654"/>
                  </a:lnTo>
                  <a:lnTo>
                    <a:pt x="72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84" y="630"/>
                  </a:lnTo>
                  <a:lnTo>
                    <a:pt x="90" y="630"/>
                  </a:lnTo>
                  <a:lnTo>
                    <a:pt x="96" y="630"/>
                  </a:lnTo>
                  <a:lnTo>
                    <a:pt x="96" y="624"/>
                  </a:lnTo>
                  <a:lnTo>
                    <a:pt x="90" y="624"/>
                  </a:lnTo>
                  <a:lnTo>
                    <a:pt x="84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90" y="600"/>
                  </a:lnTo>
                  <a:lnTo>
                    <a:pt x="84" y="600"/>
                  </a:lnTo>
                  <a:lnTo>
                    <a:pt x="78" y="594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126" y="564"/>
                  </a:lnTo>
                  <a:lnTo>
                    <a:pt x="144" y="564"/>
                  </a:lnTo>
                  <a:lnTo>
                    <a:pt x="156" y="582"/>
                  </a:lnTo>
                  <a:lnTo>
                    <a:pt x="162" y="600"/>
                  </a:lnTo>
                  <a:lnTo>
                    <a:pt x="180" y="588"/>
                  </a:lnTo>
                  <a:lnTo>
                    <a:pt x="192" y="588"/>
                  </a:lnTo>
                  <a:lnTo>
                    <a:pt x="198" y="588"/>
                  </a:lnTo>
                  <a:lnTo>
                    <a:pt x="210" y="582"/>
                  </a:lnTo>
                  <a:lnTo>
                    <a:pt x="216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58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46" y="558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58" y="570"/>
                  </a:lnTo>
                  <a:lnTo>
                    <a:pt x="264" y="570"/>
                  </a:lnTo>
                  <a:lnTo>
                    <a:pt x="270" y="564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46"/>
                  </a:lnTo>
                  <a:lnTo>
                    <a:pt x="276" y="540"/>
                  </a:lnTo>
                  <a:lnTo>
                    <a:pt x="276" y="534"/>
                  </a:lnTo>
                  <a:lnTo>
                    <a:pt x="276" y="528"/>
                  </a:lnTo>
                  <a:lnTo>
                    <a:pt x="282" y="528"/>
                  </a:lnTo>
                  <a:lnTo>
                    <a:pt x="282" y="522"/>
                  </a:lnTo>
                  <a:lnTo>
                    <a:pt x="282" y="516"/>
                  </a:lnTo>
                  <a:lnTo>
                    <a:pt x="282" y="510"/>
                  </a:lnTo>
                  <a:lnTo>
                    <a:pt x="282" y="504"/>
                  </a:lnTo>
                  <a:lnTo>
                    <a:pt x="282" y="492"/>
                  </a:lnTo>
                  <a:lnTo>
                    <a:pt x="288" y="486"/>
                  </a:lnTo>
                  <a:lnTo>
                    <a:pt x="300" y="480"/>
                  </a:lnTo>
                  <a:lnTo>
                    <a:pt x="306" y="462"/>
                  </a:lnTo>
                  <a:lnTo>
                    <a:pt x="318" y="444"/>
                  </a:lnTo>
                  <a:lnTo>
                    <a:pt x="330" y="444"/>
                  </a:lnTo>
                  <a:lnTo>
                    <a:pt x="330" y="432"/>
                  </a:lnTo>
                  <a:lnTo>
                    <a:pt x="342" y="432"/>
                  </a:lnTo>
                  <a:lnTo>
                    <a:pt x="354" y="402"/>
                  </a:lnTo>
                  <a:lnTo>
                    <a:pt x="348" y="390"/>
                  </a:lnTo>
                  <a:lnTo>
                    <a:pt x="336" y="384"/>
                  </a:lnTo>
                  <a:lnTo>
                    <a:pt x="336" y="360"/>
                  </a:lnTo>
                  <a:lnTo>
                    <a:pt x="336" y="354"/>
                  </a:lnTo>
                  <a:lnTo>
                    <a:pt x="336" y="342"/>
                  </a:lnTo>
                  <a:lnTo>
                    <a:pt x="342" y="336"/>
                  </a:lnTo>
                  <a:lnTo>
                    <a:pt x="342" y="324"/>
                  </a:lnTo>
                  <a:lnTo>
                    <a:pt x="372" y="324"/>
                  </a:lnTo>
                  <a:lnTo>
                    <a:pt x="378" y="324"/>
                  </a:lnTo>
                  <a:lnTo>
                    <a:pt x="378" y="318"/>
                  </a:lnTo>
                  <a:lnTo>
                    <a:pt x="372" y="312"/>
                  </a:lnTo>
                  <a:lnTo>
                    <a:pt x="378" y="312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84" y="300"/>
                  </a:lnTo>
                  <a:lnTo>
                    <a:pt x="384" y="294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66" y="294"/>
                  </a:lnTo>
                  <a:lnTo>
                    <a:pt x="366" y="288"/>
                  </a:lnTo>
                  <a:lnTo>
                    <a:pt x="372" y="288"/>
                  </a:lnTo>
                  <a:lnTo>
                    <a:pt x="372" y="282"/>
                  </a:lnTo>
                  <a:lnTo>
                    <a:pt x="366" y="276"/>
                  </a:lnTo>
                  <a:lnTo>
                    <a:pt x="360" y="270"/>
                  </a:lnTo>
                  <a:lnTo>
                    <a:pt x="360" y="264"/>
                  </a:lnTo>
                  <a:lnTo>
                    <a:pt x="354" y="264"/>
                  </a:lnTo>
                  <a:lnTo>
                    <a:pt x="348" y="258"/>
                  </a:lnTo>
                  <a:lnTo>
                    <a:pt x="354" y="258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40"/>
                  </a:lnTo>
                  <a:lnTo>
                    <a:pt x="354" y="240"/>
                  </a:lnTo>
                  <a:lnTo>
                    <a:pt x="342" y="234"/>
                  </a:lnTo>
                  <a:lnTo>
                    <a:pt x="342" y="228"/>
                  </a:lnTo>
                  <a:lnTo>
                    <a:pt x="348" y="228"/>
                  </a:lnTo>
                  <a:lnTo>
                    <a:pt x="342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6" y="216"/>
                  </a:lnTo>
                  <a:lnTo>
                    <a:pt x="330" y="222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24" y="210"/>
                  </a:lnTo>
                  <a:lnTo>
                    <a:pt x="318" y="210"/>
                  </a:lnTo>
                  <a:lnTo>
                    <a:pt x="318" y="204"/>
                  </a:lnTo>
                  <a:lnTo>
                    <a:pt x="312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294" y="192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300" y="174"/>
                  </a:lnTo>
                  <a:lnTo>
                    <a:pt x="300" y="168"/>
                  </a:lnTo>
                  <a:lnTo>
                    <a:pt x="300" y="162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88" y="150"/>
                  </a:lnTo>
                  <a:lnTo>
                    <a:pt x="288" y="144"/>
                  </a:lnTo>
                  <a:lnTo>
                    <a:pt x="282" y="144"/>
                  </a:lnTo>
                  <a:lnTo>
                    <a:pt x="282" y="138"/>
                  </a:lnTo>
                  <a:lnTo>
                    <a:pt x="312" y="132"/>
                  </a:lnTo>
                  <a:lnTo>
                    <a:pt x="324" y="120"/>
                  </a:lnTo>
                  <a:lnTo>
                    <a:pt x="330" y="114"/>
                  </a:lnTo>
                  <a:lnTo>
                    <a:pt x="336" y="102"/>
                  </a:lnTo>
                  <a:lnTo>
                    <a:pt x="348" y="90"/>
                  </a:lnTo>
                  <a:lnTo>
                    <a:pt x="360" y="84"/>
                  </a:lnTo>
                  <a:lnTo>
                    <a:pt x="372" y="84"/>
                  </a:lnTo>
                  <a:lnTo>
                    <a:pt x="378" y="84"/>
                  </a:lnTo>
                  <a:lnTo>
                    <a:pt x="384" y="90"/>
                  </a:lnTo>
                  <a:lnTo>
                    <a:pt x="402" y="90"/>
                  </a:lnTo>
                  <a:lnTo>
                    <a:pt x="438" y="84"/>
                  </a:lnTo>
                  <a:lnTo>
                    <a:pt x="456" y="84"/>
                  </a:lnTo>
                  <a:lnTo>
                    <a:pt x="462" y="78"/>
                  </a:lnTo>
                  <a:lnTo>
                    <a:pt x="486" y="72"/>
                  </a:lnTo>
                  <a:lnTo>
                    <a:pt x="492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04" y="54"/>
                  </a:lnTo>
                  <a:lnTo>
                    <a:pt x="510" y="42"/>
                  </a:lnTo>
                  <a:lnTo>
                    <a:pt x="504" y="42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498" y="30"/>
                  </a:lnTo>
                  <a:lnTo>
                    <a:pt x="492" y="30"/>
                  </a:lnTo>
                  <a:lnTo>
                    <a:pt x="492" y="24"/>
                  </a:lnTo>
                  <a:lnTo>
                    <a:pt x="486" y="18"/>
                  </a:lnTo>
                  <a:lnTo>
                    <a:pt x="498" y="18"/>
                  </a:lnTo>
                  <a:lnTo>
                    <a:pt x="510" y="18"/>
                  </a:lnTo>
                  <a:lnTo>
                    <a:pt x="522" y="12"/>
                  </a:lnTo>
                  <a:lnTo>
                    <a:pt x="528" y="6"/>
                  </a:lnTo>
                  <a:lnTo>
                    <a:pt x="570" y="0"/>
                  </a:lnTo>
                  <a:lnTo>
                    <a:pt x="606" y="6"/>
                  </a:lnTo>
                  <a:lnTo>
                    <a:pt x="654" y="24"/>
                  </a:lnTo>
                  <a:lnTo>
                    <a:pt x="666" y="36"/>
                  </a:lnTo>
                  <a:lnTo>
                    <a:pt x="672" y="30"/>
                  </a:lnTo>
                  <a:lnTo>
                    <a:pt x="690" y="42"/>
                  </a:lnTo>
                  <a:lnTo>
                    <a:pt x="702" y="48"/>
                  </a:lnTo>
                  <a:lnTo>
                    <a:pt x="714" y="60"/>
                  </a:lnTo>
                  <a:lnTo>
                    <a:pt x="714" y="66"/>
                  </a:lnTo>
                  <a:lnTo>
                    <a:pt x="720" y="72"/>
                  </a:lnTo>
                  <a:lnTo>
                    <a:pt x="720" y="78"/>
                  </a:lnTo>
                  <a:lnTo>
                    <a:pt x="720" y="102"/>
                  </a:lnTo>
                  <a:lnTo>
                    <a:pt x="720" y="108"/>
                  </a:lnTo>
                  <a:lnTo>
                    <a:pt x="714" y="108"/>
                  </a:lnTo>
                  <a:lnTo>
                    <a:pt x="714" y="126"/>
                  </a:lnTo>
                  <a:lnTo>
                    <a:pt x="732" y="126"/>
                  </a:lnTo>
                  <a:lnTo>
                    <a:pt x="726" y="132"/>
                  </a:lnTo>
                  <a:lnTo>
                    <a:pt x="738" y="132"/>
                  </a:lnTo>
                  <a:lnTo>
                    <a:pt x="738" y="138"/>
                  </a:lnTo>
                  <a:lnTo>
                    <a:pt x="738" y="144"/>
                  </a:lnTo>
                  <a:lnTo>
                    <a:pt x="744" y="144"/>
                  </a:lnTo>
                  <a:lnTo>
                    <a:pt x="744" y="150"/>
                  </a:lnTo>
                  <a:lnTo>
                    <a:pt x="756" y="156"/>
                  </a:lnTo>
                  <a:lnTo>
                    <a:pt x="768" y="156"/>
                  </a:lnTo>
                  <a:lnTo>
                    <a:pt x="780" y="156"/>
                  </a:lnTo>
                  <a:lnTo>
                    <a:pt x="792" y="150"/>
                  </a:lnTo>
                  <a:lnTo>
                    <a:pt x="786" y="150"/>
                  </a:lnTo>
                  <a:lnTo>
                    <a:pt x="786" y="144"/>
                  </a:lnTo>
                  <a:lnTo>
                    <a:pt x="804" y="144"/>
                  </a:lnTo>
                  <a:lnTo>
                    <a:pt x="816" y="132"/>
                  </a:lnTo>
                  <a:lnTo>
                    <a:pt x="822" y="126"/>
                  </a:lnTo>
                  <a:lnTo>
                    <a:pt x="828" y="132"/>
                  </a:lnTo>
                  <a:lnTo>
                    <a:pt x="834" y="126"/>
                  </a:lnTo>
                  <a:lnTo>
                    <a:pt x="834" y="120"/>
                  </a:lnTo>
                  <a:lnTo>
                    <a:pt x="924" y="108"/>
                  </a:lnTo>
                  <a:lnTo>
                    <a:pt x="942" y="144"/>
                  </a:lnTo>
                  <a:lnTo>
                    <a:pt x="948" y="144"/>
                  </a:lnTo>
                  <a:lnTo>
                    <a:pt x="960" y="168"/>
                  </a:lnTo>
                  <a:lnTo>
                    <a:pt x="972" y="186"/>
                  </a:lnTo>
                  <a:lnTo>
                    <a:pt x="984" y="192"/>
                  </a:lnTo>
                  <a:lnTo>
                    <a:pt x="996" y="192"/>
                  </a:lnTo>
                  <a:lnTo>
                    <a:pt x="996" y="198"/>
                  </a:lnTo>
                  <a:lnTo>
                    <a:pt x="1008" y="204"/>
                  </a:lnTo>
                  <a:lnTo>
                    <a:pt x="1008" y="210"/>
                  </a:lnTo>
                  <a:lnTo>
                    <a:pt x="1002" y="210"/>
                  </a:lnTo>
                  <a:lnTo>
                    <a:pt x="1008" y="216"/>
                  </a:lnTo>
                  <a:lnTo>
                    <a:pt x="1014" y="210"/>
                  </a:lnTo>
                  <a:lnTo>
                    <a:pt x="1014" y="216"/>
                  </a:lnTo>
                  <a:lnTo>
                    <a:pt x="1020" y="222"/>
                  </a:lnTo>
                  <a:lnTo>
                    <a:pt x="1014" y="228"/>
                  </a:lnTo>
                  <a:lnTo>
                    <a:pt x="1032" y="234"/>
                  </a:lnTo>
                  <a:lnTo>
                    <a:pt x="1044" y="240"/>
                  </a:lnTo>
                  <a:lnTo>
                    <a:pt x="1038" y="246"/>
                  </a:lnTo>
                  <a:lnTo>
                    <a:pt x="1038" y="252"/>
                  </a:lnTo>
                  <a:lnTo>
                    <a:pt x="1038" y="258"/>
                  </a:lnTo>
                  <a:lnTo>
                    <a:pt x="1032" y="264"/>
                  </a:lnTo>
                  <a:lnTo>
                    <a:pt x="1032" y="270"/>
                  </a:lnTo>
                  <a:lnTo>
                    <a:pt x="1032" y="276"/>
                  </a:lnTo>
                  <a:lnTo>
                    <a:pt x="1032" y="282"/>
                  </a:lnTo>
                  <a:lnTo>
                    <a:pt x="1026" y="282"/>
                  </a:lnTo>
                  <a:lnTo>
                    <a:pt x="1026" y="288"/>
                  </a:lnTo>
                  <a:lnTo>
                    <a:pt x="1026" y="294"/>
                  </a:lnTo>
                  <a:lnTo>
                    <a:pt x="1026" y="300"/>
                  </a:lnTo>
                  <a:lnTo>
                    <a:pt x="1026" y="306"/>
                  </a:lnTo>
                  <a:lnTo>
                    <a:pt x="1020" y="318"/>
                  </a:lnTo>
                  <a:lnTo>
                    <a:pt x="1020" y="324"/>
                  </a:lnTo>
                  <a:lnTo>
                    <a:pt x="1014" y="324"/>
                  </a:lnTo>
                  <a:lnTo>
                    <a:pt x="1014" y="330"/>
                  </a:lnTo>
                  <a:lnTo>
                    <a:pt x="1014" y="336"/>
                  </a:lnTo>
                  <a:lnTo>
                    <a:pt x="1008" y="366"/>
                  </a:lnTo>
                  <a:lnTo>
                    <a:pt x="1002" y="366"/>
                  </a:lnTo>
                  <a:lnTo>
                    <a:pt x="984" y="354"/>
                  </a:lnTo>
                  <a:lnTo>
                    <a:pt x="978" y="354"/>
                  </a:lnTo>
                  <a:lnTo>
                    <a:pt x="972" y="354"/>
                  </a:lnTo>
                  <a:lnTo>
                    <a:pt x="966" y="348"/>
                  </a:lnTo>
                  <a:lnTo>
                    <a:pt x="954" y="348"/>
                  </a:lnTo>
                  <a:lnTo>
                    <a:pt x="948" y="348"/>
                  </a:lnTo>
                  <a:lnTo>
                    <a:pt x="948" y="360"/>
                  </a:lnTo>
                  <a:lnTo>
                    <a:pt x="948" y="366"/>
                  </a:lnTo>
                  <a:lnTo>
                    <a:pt x="948" y="372"/>
                  </a:lnTo>
                  <a:lnTo>
                    <a:pt x="948" y="378"/>
                  </a:lnTo>
                  <a:lnTo>
                    <a:pt x="948" y="384"/>
                  </a:lnTo>
                  <a:lnTo>
                    <a:pt x="942" y="384"/>
                  </a:lnTo>
                  <a:lnTo>
                    <a:pt x="942" y="390"/>
                  </a:lnTo>
                  <a:lnTo>
                    <a:pt x="936" y="390"/>
                  </a:lnTo>
                  <a:lnTo>
                    <a:pt x="942" y="390"/>
                  </a:lnTo>
                  <a:lnTo>
                    <a:pt x="936" y="396"/>
                  </a:lnTo>
                  <a:lnTo>
                    <a:pt x="930" y="402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2" y="432"/>
                  </a:lnTo>
                  <a:lnTo>
                    <a:pt x="900" y="450"/>
                  </a:lnTo>
                  <a:lnTo>
                    <a:pt x="894" y="456"/>
                  </a:lnTo>
                  <a:lnTo>
                    <a:pt x="888" y="456"/>
                  </a:lnTo>
                  <a:lnTo>
                    <a:pt x="882" y="456"/>
                  </a:lnTo>
                  <a:lnTo>
                    <a:pt x="876" y="456"/>
                  </a:lnTo>
                  <a:lnTo>
                    <a:pt x="864" y="462"/>
                  </a:lnTo>
                  <a:lnTo>
                    <a:pt x="852" y="474"/>
                  </a:lnTo>
                  <a:lnTo>
                    <a:pt x="846" y="480"/>
                  </a:lnTo>
                  <a:lnTo>
                    <a:pt x="840" y="486"/>
                  </a:lnTo>
                  <a:lnTo>
                    <a:pt x="834" y="498"/>
                  </a:lnTo>
                  <a:lnTo>
                    <a:pt x="828" y="510"/>
                  </a:lnTo>
                  <a:lnTo>
                    <a:pt x="816" y="522"/>
                  </a:lnTo>
                  <a:lnTo>
                    <a:pt x="798" y="540"/>
                  </a:lnTo>
                  <a:lnTo>
                    <a:pt x="780" y="558"/>
                  </a:lnTo>
                  <a:lnTo>
                    <a:pt x="774" y="558"/>
                  </a:lnTo>
                  <a:lnTo>
                    <a:pt x="756" y="576"/>
                  </a:lnTo>
                  <a:lnTo>
                    <a:pt x="732" y="600"/>
                  </a:lnTo>
                  <a:lnTo>
                    <a:pt x="726" y="600"/>
                  </a:lnTo>
                  <a:lnTo>
                    <a:pt x="720" y="606"/>
                  </a:lnTo>
                  <a:lnTo>
                    <a:pt x="714" y="612"/>
                  </a:lnTo>
                  <a:lnTo>
                    <a:pt x="690" y="630"/>
                  </a:lnTo>
                  <a:lnTo>
                    <a:pt x="678" y="636"/>
                  </a:lnTo>
                  <a:lnTo>
                    <a:pt x="672" y="642"/>
                  </a:lnTo>
                  <a:lnTo>
                    <a:pt x="660" y="660"/>
                  </a:lnTo>
                  <a:lnTo>
                    <a:pt x="642" y="666"/>
                  </a:lnTo>
                  <a:lnTo>
                    <a:pt x="636" y="678"/>
                  </a:lnTo>
                  <a:lnTo>
                    <a:pt x="630" y="678"/>
                  </a:lnTo>
                  <a:lnTo>
                    <a:pt x="630" y="684"/>
                  </a:lnTo>
                  <a:lnTo>
                    <a:pt x="630" y="690"/>
                  </a:lnTo>
                  <a:lnTo>
                    <a:pt x="636" y="696"/>
                  </a:lnTo>
                  <a:lnTo>
                    <a:pt x="642" y="696"/>
                  </a:lnTo>
                  <a:lnTo>
                    <a:pt x="648" y="702"/>
                  </a:lnTo>
                  <a:lnTo>
                    <a:pt x="648" y="708"/>
                  </a:lnTo>
                  <a:lnTo>
                    <a:pt x="642" y="708"/>
                  </a:lnTo>
                  <a:lnTo>
                    <a:pt x="636" y="714"/>
                  </a:lnTo>
                  <a:lnTo>
                    <a:pt x="636" y="720"/>
                  </a:lnTo>
                  <a:lnTo>
                    <a:pt x="642" y="726"/>
                  </a:lnTo>
                  <a:lnTo>
                    <a:pt x="636" y="738"/>
                  </a:lnTo>
                  <a:lnTo>
                    <a:pt x="618" y="756"/>
                  </a:lnTo>
                  <a:lnTo>
                    <a:pt x="612" y="750"/>
                  </a:lnTo>
                  <a:lnTo>
                    <a:pt x="612" y="756"/>
                  </a:lnTo>
                  <a:lnTo>
                    <a:pt x="618" y="762"/>
                  </a:lnTo>
                  <a:lnTo>
                    <a:pt x="618" y="768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36" y="786"/>
                  </a:lnTo>
                  <a:lnTo>
                    <a:pt x="642" y="792"/>
                  </a:lnTo>
                  <a:lnTo>
                    <a:pt x="642" y="798"/>
                  </a:lnTo>
                  <a:lnTo>
                    <a:pt x="648" y="804"/>
                  </a:lnTo>
                  <a:lnTo>
                    <a:pt x="654" y="810"/>
                  </a:lnTo>
                  <a:lnTo>
                    <a:pt x="660" y="816"/>
                  </a:lnTo>
                  <a:lnTo>
                    <a:pt x="666" y="816"/>
                  </a:lnTo>
                  <a:lnTo>
                    <a:pt x="666" y="822"/>
                  </a:lnTo>
                  <a:lnTo>
                    <a:pt x="672" y="828"/>
                  </a:lnTo>
                  <a:lnTo>
                    <a:pt x="672" y="840"/>
                  </a:lnTo>
                  <a:lnTo>
                    <a:pt x="672" y="846"/>
                  </a:lnTo>
                  <a:lnTo>
                    <a:pt x="666" y="852"/>
                  </a:lnTo>
                  <a:lnTo>
                    <a:pt x="660" y="864"/>
                  </a:lnTo>
                  <a:lnTo>
                    <a:pt x="654" y="876"/>
                  </a:lnTo>
                  <a:lnTo>
                    <a:pt x="648" y="882"/>
                  </a:lnTo>
                  <a:lnTo>
                    <a:pt x="642" y="888"/>
                  </a:lnTo>
                  <a:lnTo>
                    <a:pt x="642" y="894"/>
                  </a:lnTo>
                  <a:lnTo>
                    <a:pt x="642" y="906"/>
                  </a:lnTo>
                  <a:lnTo>
                    <a:pt x="630" y="918"/>
                  </a:lnTo>
                  <a:lnTo>
                    <a:pt x="630" y="924"/>
                  </a:lnTo>
                  <a:lnTo>
                    <a:pt x="624" y="930"/>
                  </a:lnTo>
                  <a:lnTo>
                    <a:pt x="630" y="936"/>
                  </a:lnTo>
                  <a:lnTo>
                    <a:pt x="630" y="942"/>
                  </a:lnTo>
                  <a:lnTo>
                    <a:pt x="630" y="948"/>
                  </a:lnTo>
                  <a:lnTo>
                    <a:pt x="630" y="954"/>
                  </a:lnTo>
                  <a:lnTo>
                    <a:pt x="630" y="960"/>
                  </a:lnTo>
                  <a:lnTo>
                    <a:pt x="624" y="966"/>
                  </a:lnTo>
                  <a:lnTo>
                    <a:pt x="618" y="990"/>
                  </a:lnTo>
                  <a:lnTo>
                    <a:pt x="618" y="1008"/>
                  </a:lnTo>
                  <a:lnTo>
                    <a:pt x="612" y="1026"/>
                  </a:lnTo>
                  <a:lnTo>
                    <a:pt x="612" y="1038"/>
                  </a:lnTo>
                  <a:lnTo>
                    <a:pt x="612" y="1050"/>
                  </a:lnTo>
                  <a:lnTo>
                    <a:pt x="612" y="1056"/>
                  </a:lnTo>
                  <a:lnTo>
                    <a:pt x="612" y="1062"/>
                  </a:lnTo>
                  <a:lnTo>
                    <a:pt x="612" y="1068"/>
                  </a:lnTo>
                  <a:lnTo>
                    <a:pt x="612" y="1086"/>
                  </a:lnTo>
                  <a:lnTo>
                    <a:pt x="612" y="1092"/>
                  </a:lnTo>
                  <a:lnTo>
                    <a:pt x="606" y="1098"/>
                  </a:lnTo>
                  <a:lnTo>
                    <a:pt x="600" y="1110"/>
                  </a:lnTo>
                  <a:lnTo>
                    <a:pt x="600" y="1116"/>
                  </a:lnTo>
                  <a:lnTo>
                    <a:pt x="594" y="1122"/>
                  </a:lnTo>
                  <a:lnTo>
                    <a:pt x="594" y="1128"/>
                  </a:lnTo>
                  <a:lnTo>
                    <a:pt x="588" y="1134"/>
                  </a:lnTo>
                  <a:lnTo>
                    <a:pt x="582" y="1140"/>
                  </a:lnTo>
                  <a:lnTo>
                    <a:pt x="570" y="1140"/>
                  </a:lnTo>
                  <a:lnTo>
                    <a:pt x="564" y="1146"/>
                  </a:lnTo>
                  <a:lnTo>
                    <a:pt x="570" y="1146"/>
                  </a:lnTo>
                  <a:lnTo>
                    <a:pt x="564" y="1152"/>
                  </a:lnTo>
                  <a:lnTo>
                    <a:pt x="558" y="1158"/>
                  </a:lnTo>
                  <a:lnTo>
                    <a:pt x="552" y="1164"/>
                  </a:lnTo>
                  <a:lnTo>
                    <a:pt x="552" y="1170"/>
                  </a:lnTo>
                  <a:lnTo>
                    <a:pt x="546" y="1176"/>
                  </a:lnTo>
                  <a:lnTo>
                    <a:pt x="546" y="1182"/>
                  </a:lnTo>
                  <a:lnTo>
                    <a:pt x="546" y="1188"/>
                  </a:lnTo>
                  <a:lnTo>
                    <a:pt x="540" y="1188"/>
                  </a:lnTo>
                  <a:lnTo>
                    <a:pt x="540" y="1194"/>
                  </a:lnTo>
                  <a:lnTo>
                    <a:pt x="528" y="1206"/>
                  </a:lnTo>
                  <a:lnTo>
                    <a:pt x="528" y="1212"/>
                  </a:lnTo>
                  <a:lnTo>
                    <a:pt x="534" y="1212"/>
                  </a:lnTo>
                  <a:lnTo>
                    <a:pt x="540" y="1218"/>
                  </a:lnTo>
                  <a:lnTo>
                    <a:pt x="534" y="1218"/>
                  </a:lnTo>
                  <a:lnTo>
                    <a:pt x="528" y="1218"/>
                  </a:lnTo>
                  <a:lnTo>
                    <a:pt x="528" y="1224"/>
                  </a:lnTo>
                  <a:lnTo>
                    <a:pt x="522" y="1230"/>
                  </a:lnTo>
                  <a:lnTo>
                    <a:pt x="516" y="1236"/>
                  </a:lnTo>
                  <a:lnTo>
                    <a:pt x="522" y="1236"/>
                  </a:lnTo>
                  <a:lnTo>
                    <a:pt x="516" y="1242"/>
                  </a:lnTo>
                  <a:lnTo>
                    <a:pt x="510" y="1242"/>
                  </a:lnTo>
                  <a:lnTo>
                    <a:pt x="504" y="1248"/>
                  </a:lnTo>
                  <a:lnTo>
                    <a:pt x="510" y="1260"/>
                  </a:lnTo>
                  <a:lnTo>
                    <a:pt x="504" y="1266"/>
                  </a:lnTo>
                  <a:lnTo>
                    <a:pt x="492" y="1266"/>
                  </a:lnTo>
                  <a:lnTo>
                    <a:pt x="486" y="1272"/>
                  </a:lnTo>
                  <a:lnTo>
                    <a:pt x="486" y="1278"/>
                  </a:lnTo>
                  <a:lnTo>
                    <a:pt x="480" y="1278"/>
                  </a:lnTo>
                  <a:lnTo>
                    <a:pt x="480" y="1284"/>
                  </a:lnTo>
                  <a:lnTo>
                    <a:pt x="480" y="1290"/>
                  </a:lnTo>
                  <a:lnTo>
                    <a:pt x="480" y="1296"/>
                  </a:lnTo>
                  <a:lnTo>
                    <a:pt x="492" y="1302"/>
                  </a:lnTo>
                  <a:lnTo>
                    <a:pt x="492" y="1308"/>
                  </a:lnTo>
                  <a:lnTo>
                    <a:pt x="492" y="1320"/>
                  </a:lnTo>
                  <a:lnTo>
                    <a:pt x="492" y="1332"/>
                  </a:lnTo>
                  <a:lnTo>
                    <a:pt x="498" y="1344"/>
                  </a:lnTo>
                  <a:lnTo>
                    <a:pt x="498" y="1350"/>
                  </a:lnTo>
                  <a:lnTo>
                    <a:pt x="498" y="1356"/>
                  </a:lnTo>
                  <a:lnTo>
                    <a:pt x="504" y="1362"/>
                  </a:lnTo>
                  <a:lnTo>
                    <a:pt x="498" y="1362"/>
                  </a:lnTo>
                  <a:lnTo>
                    <a:pt x="498" y="1368"/>
                  </a:lnTo>
                  <a:lnTo>
                    <a:pt x="492" y="1368"/>
                  </a:lnTo>
                  <a:lnTo>
                    <a:pt x="492" y="1374"/>
                  </a:lnTo>
                  <a:lnTo>
                    <a:pt x="492" y="1380"/>
                  </a:lnTo>
                  <a:lnTo>
                    <a:pt x="498" y="1380"/>
                  </a:lnTo>
                  <a:lnTo>
                    <a:pt x="504" y="1380"/>
                  </a:lnTo>
                  <a:lnTo>
                    <a:pt x="498" y="1386"/>
                  </a:lnTo>
                  <a:lnTo>
                    <a:pt x="498" y="1392"/>
                  </a:lnTo>
                  <a:lnTo>
                    <a:pt x="498" y="1398"/>
                  </a:lnTo>
                  <a:lnTo>
                    <a:pt x="498" y="1404"/>
                  </a:lnTo>
                  <a:lnTo>
                    <a:pt x="498" y="1410"/>
                  </a:lnTo>
                  <a:lnTo>
                    <a:pt x="498" y="1416"/>
                  </a:lnTo>
                  <a:lnTo>
                    <a:pt x="492" y="1416"/>
                  </a:lnTo>
                  <a:lnTo>
                    <a:pt x="498" y="1416"/>
                  </a:lnTo>
                  <a:lnTo>
                    <a:pt x="504" y="1416"/>
                  </a:lnTo>
                  <a:lnTo>
                    <a:pt x="504" y="1422"/>
                  </a:lnTo>
                  <a:lnTo>
                    <a:pt x="510" y="1428"/>
                  </a:lnTo>
                  <a:lnTo>
                    <a:pt x="510" y="1434"/>
                  </a:lnTo>
                  <a:lnTo>
                    <a:pt x="510" y="1440"/>
                  </a:lnTo>
                  <a:lnTo>
                    <a:pt x="516" y="1446"/>
                  </a:lnTo>
                  <a:lnTo>
                    <a:pt x="516" y="1452"/>
                  </a:lnTo>
                  <a:lnTo>
                    <a:pt x="516" y="1458"/>
                  </a:lnTo>
                  <a:lnTo>
                    <a:pt x="516" y="1464"/>
                  </a:lnTo>
                  <a:lnTo>
                    <a:pt x="516" y="1482"/>
                  </a:lnTo>
                  <a:lnTo>
                    <a:pt x="516" y="1488"/>
                  </a:lnTo>
                  <a:lnTo>
                    <a:pt x="522" y="1488"/>
                  </a:lnTo>
                  <a:lnTo>
                    <a:pt x="522" y="1494"/>
                  </a:lnTo>
                  <a:lnTo>
                    <a:pt x="522" y="1500"/>
                  </a:lnTo>
                  <a:lnTo>
                    <a:pt x="516" y="1506"/>
                  </a:lnTo>
                  <a:lnTo>
                    <a:pt x="510" y="1500"/>
                  </a:lnTo>
                  <a:lnTo>
                    <a:pt x="504" y="1500"/>
                  </a:lnTo>
                  <a:lnTo>
                    <a:pt x="504" y="1494"/>
                  </a:lnTo>
                  <a:lnTo>
                    <a:pt x="504" y="1488"/>
                  </a:lnTo>
                  <a:lnTo>
                    <a:pt x="504" y="1482"/>
                  </a:lnTo>
                  <a:lnTo>
                    <a:pt x="504" y="1488"/>
                  </a:lnTo>
                  <a:lnTo>
                    <a:pt x="504" y="1494"/>
                  </a:lnTo>
                  <a:lnTo>
                    <a:pt x="504" y="1500"/>
                  </a:lnTo>
                  <a:lnTo>
                    <a:pt x="498" y="1500"/>
                  </a:lnTo>
                  <a:lnTo>
                    <a:pt x="492" y="1500"/>
                  </a:lnTo>
                  <a:lnTo>
                    <a:pt x="492" y="1494"/>
                  </a:lnTo>
                  <a:lnTo>
                    <a:pt x="492" y="1488"/>
                  </a:lnTo>
                  <a:lnTo>
                    <a:pt x="492" y="1494"/>
                  </a:lnTo>
                  <a:lnTo>
                    <a:pt x="492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00"/>
                  </a:lnTo>
                  <a:lnTo>
                    <a:pt x="510" y="1500"/>
                  </a:lnTo>
                  <a:lnTo>
                    <a:pt x="510" y="1506"/>
                  </a:lnTo>
                  <a:lnTo>
                    <a:pt x="516" y="1506"/>
                  </a:lnTo>
                  <a:lnTo>
                    <a:pt x="510" y="1506"/>
                  </a:lnTo>
                  <a:lnTo>
                    <a:pt x="510" y="1512"/>
                  </a:lnTo>
                  <a:lnTo>
                    <a:pt x="516" y="1506"/>
                  </a:lnTo>
                  <a:lnTo>
                    <a:pt x="522" y="1506"/>
                  </a:lnTo>
                  <a:lnTo>
                    <a:pt x="528" y="1506"/>
                  </a:lnTo>
                  <a:lnTo>
                    <a:pt x="528" y="1500"/>
                  </a:lnTo>
                  <a:lnTo>
                    <a:pt x="534" y="1500"/>
                  </a:lnTo>
                  <a:lnTo>
                    <a:pt x="534" y="1506"/>
                  </a:lnTo>
                  <a:lnTo>
                    <a:pt x="540" y="1512"/>
                  </a:lnTo>
                  <a:lnTo>
                    <a:pt x="540" y="1518"/>
                  </a:lnTo>
                  <a:lnTo>
                    <a:pt x="546" y="1518"/>
                  </a:lnTo>
                  <a:lnTo>
                    <a:pt x="540" y="1518"/>
                  </a:lnTo>
                  <a:lnTo>
                    <a:pt x="540" y="1524"/>
                  </a:lnTo>
                  <a:lnTo>
                    <a:pt x="534" y="1524"/>
                  </a:lnTo>
                  <a:lnTo>
                    <a:pt x="540" y="1524"/>
                  </a:lnTo>
                  <a:lnTo>
                    <a:pt x="546" y="1524"/>
                  </a:lnTo>
                  <a:lnTo>
                    <a:pt x="546" y="1530"/>
                  </a:lnTo>
                  <a:lnTo>
                    <a:pt x="540" y="1530"/>
                  </a:lnTo>
                  <a:lnTo>
                    <a:pt x="540" y="1536"/>
                  </a:lnTo>
                  <a:lnTo>
                    <a:pt x="534" y="1542"/>
                  </a:lnTo>
                  <a:lnTo>
                    <a:pt x="528" y="1542"/>
                  </a:lnTo>
                  <a:lnTo>
                    <a:pt x="522" y="1542"/>
                  </a:lnTo>
                  <a:lnTo>
                    <a:pt x="516" y="1542"/>
                  </a:lnTo>
                  <a:lnTo>
                    <a:pt x="510" y="1542"/>
                  </a:lnTo>
                  <a:lnTo>
                    <a:pt x="504" y="1542"/>
                  </a:lnTo>
                  <a:lnTo>
                    <a:pt x="492" y="1542"/>
                  </a:lnTo>
                  <a:lnTo>
                    <a:pt x="486" y="1536"/>
                  </a:lnTo>
                  <a:lnTo>
                    <a:pt x="480" y="1536"/>
                  </a:lnTo>
                  <a:lnTo>
                    <a:pt x="468" y="1536"/>
                  </a:lnTo>
                  <a:lnTo>
                    <a:pt x="468" y="1542"/>
                  </a:lnTo>
                  <a:lnTo>
                    <a:pt x="462" y="1542"/>
                  </a:lnTo>
                  <a:lnTo>
                    <a:pt x="456" y="1542"/>
                  </a:lnTo>
                  <a:lnTo>
                    <a:pt x="450" y="1542"/>
                  </a:lnTo>
                  <a:lnTo>
                    <a:pt x="444" y="1542"/>
                  </a:lnTo>
                  <a:lnTo>
                    <a:pt x="444" y="1536"/>
                  </a:lnTo>
                  <a:lnTo>
                    <a:pt x="450" y="1536"/>
                  </a:lnTo>
                  <a:lnTo>
                    <a:pt x="456" y="1536"/>
                  </a:lnTo>
                  <a:lnTo>
                    <a:pt x="450" y="1536"/>
                  </a:lnTo>
                  <a:lnTo>
                    <a:pt x="444" y="1536"/>
                  </a:lnTo>
                  <a:lnTo>
                    <a:pt x="444" y="1530"/>
                  </a:lnTo>
                  <a:lnTo>
                    <a:pt x="450" y="1530"/>
                  </a:lnTo>
                  <a:lnTo>
                    <a:pt x="456" y="1524"/>
                  </a:lnTo>
                  <a:lnTo>
                    <a:pt x="456" y="1518"/>
                  </a:lnTo>
                  <a:lnTo>
                    <a:pt x="462" y="1518"/>
                  </a:lnTo>
                  <a:lnTo>
                    <a:pt x="462" y="1524"/>
                  </a:lnTo>
                  <a:lnTo>
                    <a:pt x="468" y="1524"/>
                  </a:lnTo>
                  <a:lnTo>
                    <a:pt x="474" y="1524"/>
                  </a:lnTo>
                  <a:lnTo>
                    <a:pt x="474" y="1518"/>
                  </a:lnTo>
                  <a:lnTo>
                    <a:pt x="480" y="1518"/>
                  </a:lnTo>
                  <a:lnTo>
                    <a:pt x="474" y="1518"/>
                  </a:lnTo>
                  <a:lnTo>
                    <a:pt x="474" y="1524"/>
                  </a:lnTo>
                  <a:lnTo>
                    <a:pt x="468" y="1524"/>
                  </a:lnTo>
                  <a:lnTo>
                    <a:pt x="462" y="1518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62" y="1512"/>
                  </a:lnTo>
                  <a:lnTo>
                    <a:pt x="462" y="1506"/>
                  </a:lnTo>
                  <a:lnTo>
                    <a:pt x="456" y="1506"/>
                  </a:lnTo>
                  <a:lnTo>
                    <a:pt x="456" y="1512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50" y="1518"/>
                  </a:lnTo>
                  <a:lnTo>
                    <a:pt x="444" y="1518"/>
                  </a:lnTo>
                  <a:lnTo>
                    <a:pt x="444" y="1524"/>
                  </a:lnTo>
                  <a:lnTo>
                    <a:pt x="438" y="1524"/>
                  </a:lnTo>
                  <a:lnTo>
                    <a:pt x="438" y="1530"/>
                  </a:lnTo>
                  <a:lnTo>
                    <a:pt x="432" y="1530"/>
                  </a:lnTo>
                  <a:lnTo>
                    <a:pt x="432" y="1536"/>
                  </a:lnTo>
                  <a:lnTo>
                    <a:pt x="426" y="1530"/>
                  </a:lnTo>
                  <a:lnTo>
                    <a:pt x="420" y="1530"/>
                  </a:lnTo>
                  <a:lnTo>
                    <a:pt x="414" y="1530"/>
                  </a:lnTo>
                  <a:lnTo>
                    <a:pt x="414" y="1524"/>
                  </a:lnTo>
                  <a:lnTo>
                    <a:pt x="408" y="1518"/>
                  </a:lnTo>
                  <a:lnTo>
                    <a:pt x="414" y="1512"/>
                  </a:lnTo>
                  <a:lnTo>
                    <a:pt x="408" y="1512"/>
                  </a:lnTo>
                  <a:lnTo>
                    <a:pt x="408" y="1506"/>
                  </a:lnTo>
                  <a:lnTo>
                    <a:pt x="408" y="1500"/>
                  </a:lnTo>
                  <a:lnTo>
                    <a:pt x="408" y="1494"/>
                  </a:lnTo>
                  <a:lnTo>
                    <a:pt x="408" y="1488"/>
                  </a:lnTo>
                  <a:lnTo>
                    <a:pt x="408" y="1494"/>
                  </a:lnTo>
                  <a:lnTo>
                    <a:pt x="414" y="1494"/>
                  </a:lnTo>
                  <a:lnTo>
                    <a:pt x="420" y="1494"/>
                  </a:lnTo>
                  <a:lnTo>
                    <a:pt x="420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82"/>
                  </a:lnTo>
                  <a:lnTo>
                    <a:pt x="426" y="1476"/>
                  </a:lnTo>
                  <a:lnTo>
                    <a:pt x="432" y="1476"/>
                  </a:lnTo>
                  <a:lnTo>
                    <a:pt x="432" y="1470"/>
                  </a:lnTo>
                  <a:lnTo>
                    <a:pt x="438" y="1470"/>
                  </a:lnTo>
                  <a:lnTo>
                    <a:pt x="444" y="1464"/>
                  </a:lnTo>
                  <a:lnTo>
                    <a:pt x="450" y="1458"/>
                  </a:lnTo>
                  <a:lnTo>
                    <a:pt x="456" y="1458"/>
                  </a:lnTo>
                  <a:lnTo>
                    <a:pt x="462" y="1452"/>
                  </a:lnTo>
                  <a:lnTo>
                    <a:pt x="468" y="1452"/>
                  </a:lnTo>
                  <a:lnTo>
                    <a:pt x="468" y="1446"/>
                  </a:lnTo>
                  <a:lnTo>
                    <a:pt x="462" y="1440"/>
                  </a:lnTo>
                  <a:lnTo>
                    <a:pt x="456" y="1434"/>
                  </a:lnTo>
                  <a:lnTo>
                    <a:pt x="456" y="1428"/>
                  </a:lnTo>
                  <a:lnTo>
                    <a:pt x="456" y="1422"/>
                  </a:lnTo>
                  <a:lnTo>
                    <a:pt x="456" y="1416"/>
                  </a:lnTo>
                  <a:lnTo>
                    <a:pt x="450" y="1410"/>
                  </a:lnTo>
                  <a:lnTo>
                    <a:pt x="444" y="1410"/>
                  </a:lnTo>
                  <a:lnTo>
                    <a:pt x="450" y="1410"/>
                  </a:lnTo>
                  <a:lnTo>
                    <a:pt x="450" y="1404"/>
                  </a:lnTo>
                  <a:lnTo>
                    <a:pt x="456" y="1404"/>
                  </a:lnTo>
                  <a:lnTo>
                    <a:pt x="462" y="1404"/>
                  </a:lnTo>
                  <a:lnTo>
                    <a:pt x="468" y="1398"/>
                  </a:lnTo>
                  <a:lnTo>
                    <a:pt x="462" y="1398"/>
                  </a:lnTo>
                  <a:lnTo>
                    <a:pt x="462" y="1392"/>
                  </a:lnTo>
                  <a:lnTo>
                    <a:pt x="456" y="1392"/>
                  </a:lnTo>
                  <a:lnTo>
                    <a:pt x="456" y="1386"/>
                  </a:lnTo>
                  <a:lnTo>
                    <a:pt x="462" y="1386"/>
                  </a:lnTo>
                  <a:lnTo>
                    <a:pt x="468" y="1386"/>
                  </a:lnTo>
                  <a:lnTo>
                    <a:pt x="474" y="1386"/>
                  </a:lnTo>
                  <a:lnTo>
                    <a:pt x="468" y="1386"/>
                  </a:lnTo>
                  <a:lnTo>
                    <a:pt x="462" y="1386"/>
                  </a:lnTo>
                  <a:lnTo>
                    <a:pt x="456" y="1380"/>
                  </a:lnTo>
                  <a:lnTo>
                    <a:pt x="456" y="1374"/>
                  </a:lnTo>
                  <a:lnTo>
                    <a:pt x="462" y="1374"/>
                  </a:lnTo>
                  <a:lnTo>
                    <a:pt x="462" y="1368"/>
                  </a:lnTo>
                  <a:lnTo>
                    <a:pt x="456" y="1374"/>
                  </a:lnTo>
                  <a:lnTo>
                    <a:pt x="456" y="1368"/>
                  </a:lnTo>
                  <a:lnTo>
                    <a:pt x="456" y="1362"/>
                  </a:lnTo>
                  <a:lnTo>
                    <a:pt x="450" y="1362"/>
                  </a:lnTo>
                  <a:lnTo>
                    <a:pt x="450" y="1356"/>
                  </a:lnTo>
                  <a:lnTo>
                    <a:pt x="450" y="1350"/>
                  </a:lnTo>
                  <a:lnTo>
                    <a:pt x="450" y="1344"/>
                  </a:lnTo>
                  <a:lnTo>
                    <a:pt x="456" y="1344"/>
                  </a:lnTo>
                  <a:lnTo>
                    <a:pt x="456" y="1338"/>
                  </a:lnTo>
                  <a:lnTo>
                    <a:pt x="462" y="1338"/>
                  </a:lnTo>
                  <a:lnTo>
                    <a:pt x="462" y="1332"/>
                  </a:lnTo>
                  <a:lnTo>
                    <a:pt x="456" y="1332"/>
                  </a:lnTo>
                  <a:lnTo>
                    <a:pt x="456" y="1326"/>
                  </a:lnTo>
                  <a:lnTo>
                    <a:pt x="450" y="1326"/>
                  </a:lnTo>
                  <a:lnTo>
                    <a:pt x="444" y="1326"/>
                  </a:lnTo>
                  <a:lnTo>
                    <a:pt x="444" y="1332"/>
                  </a:lnTo>
                  <a:lnTo>
                    <a:pt x="438" y="1332"/>
                  </a:lnTo>
                  <a:lnTo>
                    <a:pt x="438" y="1338"/>
                  </a:lnTo>
                  <a:lnTo>
                    <a:pt x="432" y="1338"/>
                  </a:lnTo>
                  <a:lnTo>
                    <a:pt x="432" y="1344"/>
                  </a:lnTo>
                  <a:lnTo>
                    <a:pt x="432" y="1350"/>
                  </a:lnTo>
                  <a:lnTo>
                    <a:pt x="426" y="1356"/>
                  </a:lnTo>
                  <a:lnTo>
                    <a:pt x="426" y="1368"/>
                  </a:lnTo>
                  <a:lnTo>
                    <a:pt x="426" y="1374"/>
                  </a:lnTo>
                  <a:lnTo>
                    <a:pt x="426" y="1380"/>
                  </a:lnTo>
                  <a:lnTo>
                    <a:pt x="432" y="1386"/>
                  </a:lnTo>
                  <a:lnTo>
                    <a:pt x="432" y="1392"/>
                  </a:lnTo>
                  <a:lnTo>
                    <a:pt x="432" y="1398"/>
                  </a:lnTo>
                  <a:lnTo>
                    <a:pt x="426" y="1398"/>
                  </a:lnTo>
                  <a:lnTo>
                    <a:pt x="420" y="1398"/>
                  </a:lnTo>
                  <a:lnTo>
                    <a:pt x="414" y="1398"/>
                  </a:lnTo>
                  <a:lnTo>
                    <a:pt x="420" y="1398"/>
                  </a:lnTo>
                  <a:lnTo>
                    <a:pt x="414" y="1404"/>
                  </a:lnTo>
                  <a:lnTo>
                    <a:pt x="420" y="1404"/>
                  </a:lnTo>
                  <a:lnTo>
                    <a:pt x="414" y="1404"/>
                  </a:lnTo>
                  <a:lnTo>
                    <a:pt x="408" y="1404"/>
                  </a:lnTo>
                  <a:lnTo>
                    <a:pt x="402" y="1410"/>
                  </a:lnTo>
                  <a:lnTo>
                    <a:pt x="402" y="1404"/>
                  </a:lnTo>
                  <a:lnTo>
                    <a:pt x="396" y="1404"/>
                  </a:lnTo>
                  <a:lnTo>
                    <a:pt x="390" y="1404"/>
                  </a:lnTo>
                  <a:lnTo>
                    <a:pt x="384" y="1404"/>
                  </a:lnTo>
                  <a:lnTo>
                    <a:pt x="384" y="1398"/>
                  </a:lnTo>
                  <a:lnTo>
                    <a:pt x="384" y="1392"/>
                  </a:lnTo>
                  <a:lnTo>
                    <a:pt x="390" y="1392"/>
                  </a:lnTo>
                  <a:lnTo>
                    <a:pt x="390" y="1386"/>
                  </a:lnTo>
                  <a:lnTo>
                    <a:pt x="390" y="1380"/>
                  </a:lnTo>
                  <a:lnTo>
                    <a:pt x="396" y="1380"/>
                  </a:lnTo>
                  <a:lnTo>
                    <a:pt x="402" y="1380"/>
                  </a:lnTo>
                  <a:lnTo>
                    <a:pt x="408" y="1380"/>
                  </a:lnTo>
                  <a:lnTo>
                    <a:pt x="408" y="1374"/>
                  </a:lnTo>
                  <a:lnTo>
                    <a:pt x="414" y="1374"/>
                  </a:lnTo>
                  <a:lnTo>
                    <a:pt x="414" y="1368"/>
                  </a:lnTo>
                  <a:lnTo>
                    <a:pt x="414" y="1362"/>
                  </a:lnTo>
                  <a:lnTo>
                    <a:pt x="414" y="1368"/>
                  </a:lnTo>
                  <a:lnTo>
                    <a:pt x="414" y="1374"/>
                  </a:lnTo>
                  <a:lnTo>
                    <a:pt x="408" y="1374"/>
                  </a:lnTo>
                  <a:lnTo>
                    <a:pt x="402" y="1380"/>
                  </a:lnTo>
                  <a:lnTo>
                    <a:pt x="396" y="1380"/>
                  </a:lnTo>
                  <a:lnTo>
                    <a:pt x="396" y="1374"/>
                  </a:lnTo>
                  <a:lnTo>
                    <a:pt x="390" y="1374"/>
                  </a:lnTo>
                  <a:lnTo>
                    <a:pt x="390" y="1368"/>
                  </a:lnTo>
                  <a:lnTo>
                    <a:pt x="384" y="1368"/>
                  </a:lnTo>
                  <a:lnTo>
                    <a:pt x="384" y="1374"/>
                  </a:lnTo>
                  <a:lnTo>
                    <a:pt x="378" y="1374"/>
                  </a:lnTo>
                  <a:lnTo>
                    <a:pt x="378" y="1380"/>
                  </a:lnTo>
                  <a:lnTo>
                    <a:pt x="372" y="1380"/>
                  </a:lnTo>
                  <a:lnTo>
                    <a:pt x="366" y="1386"/>
                  </a:lnTo>
                  <a:lnTo>
                    <a:pt x="360" y="1386"/>
                  </a:lnTo>
                  <a:lnTo>
                    <a:pt x="354" y="1386"/>
                  </a:lnTo>
                  <a:lnTo>
                    <a:pt x="354" y="1380"/>
                  </a:lnTo>
                  <a:lnTo>
                    <a:pt x="348" y="1380"/>
                  </a:lnTo>
                  <a:lnTo>
                    <a:pt x="342" y="1380"/>
                  </a:lnTo>
                  <a:lnTo>
                    <a:pt x="342" y="1374"/>
                  </a:lnTo>
                  <a:lnTo>
                    <a:pt x="336" y="1368"/>
                  </a:lnTo>
                  <a:lnTo>
                    <a:pt x="342" y="1368"/>
                  </a:lnTo>
                  <a:lnTo>
                    <a:pt x="342" y="1362"/>
                  </a:lnTo>
                  <a:lnTo>
                    <a:pt x="348" y="1362"/>
                  </a:lnTo>
                  <a:lnTo>
                    <a:pt x="354" y="1362"/>
                  </a:lnTo>
                  <a:lnTo>
                    <a:pt x="354" y="1356"/>
                  </a:lnTo>
                  <a:lnTo>
                    <a:pt x="348" y="1356"/>
                  </a:lnTo>
                  <a:lnTo>
                    <a:pt x="348" y="1350"/>
                  </a:lnTo>
                  <a:lnTo>
                    <a:pt x="348" y="1344"/>
                  </a:lnTo>
                  <a:lnTo>
                    <a:pt x="354" y="1338"/>
                  </a:lnTo>
                  <a:lnTo>
                    <a:pt x="354" y="1332"/>
                  </a:lnTo>
                  <a:lnTo>
                    <a:pt x="354" y="1326"/>
                  </a:lnTo>
                  <a:lnTo>
                    <a:pt x="354" y="1320"/>
                  </a:lnTo>
                  <a:lnTo>
                    <a:pt x="354" y="1314"/>
                  </a:lnTo>
                  <a:lnTo>
                    <a:pt x="354" y="1308"/>
                  </a:lnTo>
                  <a:lnTo>
                    <a:pt x="348" y="1308"/>
                  </a:lnTo>
                  <a:lnTo>
                    <a:pt x="348" y="1302"/>
                  </a:lnTo>
                  <a:lnTo>
                    <a:pt x="342" y="1296"/>
                  </a:lnTo>
                  <a:lnTo>
                    <a:pt x="336" y="1296"/>
                  </a:lnTo>
                  <a:lnTo>
                    <a:pt x="336" y="1290"/>
                  </a:lnTo>
                  <a:lnTo>
                    <a:pt x="330" y="1290"/>
                  </a:lnTo>
                  <a:lnTo>
                    <a:pt x="324" y="1290"/>
                  </a:lnTo>
                  <a:lnTo>
                    <a:pt x="324" y="1284"/>
                  </a:lnTo>
                  <a:lnTo>
                    <a:pt x="318" y="1284"/>
                  </a:lnTo>
                  <a:lnTo>
                    <a:pt x="318" y="1278"/>
                  </a:lnTo>
                  <a:lnTo>
                    <a:pt x="312" y="1278"/>
                  </a:lnTo>
                  <a:lnTo>
                    <a:pt x="312" y="1272"/>
                  </a:lnTo>
                  <a:lnTo>
                    <a:pt x="312" y="1278"/>
                  </a:lnTo>
                  <a:lnTo>
                    <a:pt x="318" y="1284"/>
                  </a:lnTo>
                  <a:lnTo>
                    <a:pt x="324" y="1290"/>
                  </a:lnTo>
                  <a:lnTo>
                    <a:pt x="330" y="1290"/>
                  </a:lnTo>
                  <a:lnTo>
                    <a:pt x="330" y="1296"/>
                  </a:lnTo>
                  <a:lnTo>
                    <a:pt x="336" y="1296"/>
                  </a:lnTo>
                  <a:lnTo>
                    <a:pt x="336" y="1302"/>
                  </a:lnTo>
                  <a:lnTo>
                    <a:pt x="342" y="1302"/>
                  </a:lnTo>
                  <a:lnTo>
                    <a:pt x="348" y="1302"/>
                  </a:lnTo>
                  <a:lnTo>
                    <a:pt x="348" y="1308"/>
                  </a:lnTo>
                  <a:lnTo>
                    <a:pt x="348" y="1314"/>
                  </a:lnTo>
                  <a:lnTo>
                    <a:pt x="354" y="1314"/>
                  </a:lnTo>
                  <a:lnTo>
                    <a:pt x="354" y="1320"/>
                  </a:lnTo>
                  <a:lnTo>
                    <a:pt x="354" y="1326"/>
                  </a:lnTo>
                  <a:lnTo>
                    <a:pt x="348" y="1326"/>
                  </a:lnTo>
                  <a:lnTo>
                    <a:pt x="348" y="1332"/>
                  </a:lnTo>
                  <a:lnTo>
                    <a:pt x="348" y="1338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2" y="1350"/>
                  </a:lnTo>
                  <a:lnTo>
                    <a:pt x="336" y="1350"/>
                  </a:lnTo>
                  <a:lnTo>
                    <a:pt x="330" y="1350"/>
                  </a:lnTo>
                  <a:lnTo>
                    <a:pt x="330" y="1356"/>
                  </a:lnTo>
                  <a:lnTo>
                    <a:pt x="330" y="1350"/>
                  </a:lnTo>
                  <a:lnTo>
                    <a:pt x="324" y="1350"/>
                  </a:lnTo>
                  <a:lnTo>
                    <a:pt x="318" y="1344"/>
                  </a:lnTo>
                  <a:lnTo>
                    <a:pt x="318" y="1350"/>
                  </a:lnTo>
                  <a:lnTo>
                    <a:pt x="312" y="1344"/>
                  </a:lnTo>
                  <a:lnTo>
                    <a:pt x="312" y="1338"/>
                  </a:lnTo>
                  <a:lnTo>
                    <a:pt x="306" y="1338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6" y="1326"/>
                  </a:lnTo>
                  <a:lnTo>
                    <a:pt x="306" y="1320"/>
                  </a:lnTo>
                  <a:lnTo>
                    <a:pt x="306" y="1326"/>
                  </a:lnTo>
                  <a:lnTo>
                    <a:pt x="312" y="1326"/>
                  </a:lnTo>
                  <a:lnTo>
                    <a:pt x="312" y="1320"/>
                  </a:lnTo>
                  <a:lnTo>
                    <a:pt x="306" y="1320"/>
                  </a:lnTo>
                  <a:lnTo>
                    <a:pt x="300" y="1320"/>
                  </a:lnTo>
                  <a:lnTo>
                    <a:pt x="294" y="1320"/>
                  </a:lnTo>
                  <a:lnTo>
                    <a:pt x="294" y="1314"/>
                  </a:lnTo>
                  <a:lnTo>
                    <a:pt x="288" y="1314"/>
                  </a:lnTo>
                  <a:lnTo>
                    <a:pt x="288" y="1308"/>
                  </a:lnTo>
                  <a:lnTo>
                    <a:pt x="288" y="1302"/>
                  </a:lnTo>
                  <a:lnTo>
                    <a:pt x="294" y="1302"/>
                  </a:lnTo>
                  <a:lnTo>
                    <a:pt x="294" y="1296"/>
                  </a:lnTo>
                  <a:lnTo>
                    <a:pt x="288" y="1296"/>
                  </a:lnTo>
                  <a:lnTo>
                    <a:pt x="288" y="1290"/>
                  </a:lnTo>
                  <a:lnTo>
                    <a:pt x="288" y="1296"/>
                  </a:lnTo>
                  <a:lnTo>
                    <a:pt x="294" y="1302"/>
                  </a:lnTo>
                  <a:lnTo>
                    <a:pt x="288" y="1302"/>
                  </a:lnTo>
                  <a:lnTo>
                    <a:pt x="282" y="1296"/>
                  </a:lnTo>
                  <a:lnTo>
                    <a:pt x="276" y="1296"/>
                  </a:lnTo>
                  <a:lnTo>
                    <a:pt x="276" y="1290"/>
                  </a:lnTo>
                  <a:lnTo>
                    <a:pt x="270" y="1290"/>
                  </a:lnTo>
                  <a:lnTo>
                    <a:pt x="264" y="1284"/>
                  </a:lnTo>
                  <a:lnTo>
                    <a:pt x="264" y="1278"/>
                  </a:lnTo>
                  <a:lnTo>
                    <a:pt x="264" y="1272"/>
                  </a:lnTo>
                  <a:lnTo>
                    <a:pt x="264" y="1266"/>
                  </a:lnTo>
                  <a:lnTo>
                    <a:pt x="258" y="1266"/>
                  </a:lnTo>
                  <a:lnTo>
                    <a:pt x="252" y="1266"/>
                  </a:lnTo>
                  <a:lnTo>
                    <a:pt x="246" y="1260"/>
                  </a:lnTo>
                  <a:lnTo>
                    <a:pt x="240" y="1254"/>
                  </a:lnTo>
                  <a:lnTo>
                    <a:pt x="240" y="1260"/>
                  </a:lnTo>
                  <a:lnTo>
                    <a:pt x="240" y="1266"/>
                  </a:lnTo>
                  <a:lnTo>
                    <a:pt x="240" y="1272"/>
                  </a:lnTo>
                  <a:lnTo>
                    <a:pt x="246" y="1272"/>
                  </a:lnTo>
                  <a:lnTo>
                    <a:pt x="246" y="1278"/>
                  </a:lnTo>
                  <a:lnTo>
                    <a:pt x="246" y="1284"/>
                  </a:lnTo>
                  <a:lnTo>
                    <a:pt x="252" y="1284"/>
                  </a:lnTo>
                  <a:lnTo>
                    <a:pt x="252" y="1290"/>
                  </a:lnTo>
                  <a:lnTo>
                    <a:pt x="258" y="1296"/>
                  </a:lnTo>
                  <a:lnTo>
                    <a:pt x="264" y="1302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58" y="1314"/>
                  </a:lnTo>
                  <a:lnTo>
                    <a:pt x="258" y="1308"/>
                  </a:lnTo>
                  <a:lnTo>
                    <a:pt x="252" y="1308"/>
                  </a:lnTo>
                  <a:lnTo>
                    <a:pt x="252" y="1302"/>
                  </a:lnTo>
                  <a:lnTo>
                    <a:pt x="246" y="1302"/>
                  </a:lnTo>
                  <a:lnTo>
                    <a:pt x="246" y="1296"/>
                  </a:lnTo>
                  <a:lnTo>
                    <a:pt x="240" y="1296"/>
                  </a:lnTo>
                  <a:lnTo>
                    <a:pt x="240" y="1290"/>
                  </a:lnTo>
                  <a:lnTo>
                    <a:pt x="234" y="1284"/>
                  </a:lnTo>
                  <a:lnTo>
                    <a:pt x="234" y="1278"/>
                  </a:lnTo>
                  <a:close/>
                  <a:moveTo>
                    <a:pt x="444" y="1332"/>
                  </a:moveTo>
                  <a:lnTo>
                    <a:pt x="450" y="1326"/>
                  </a:lnTo>
                  <a:lnTo>
                    <a:pt x="456" y="1326"/>
                  </a:lnTo>
                  <a:lnTo>
                    <a:pt x="456" y="1332"/>
                  </a:lnTo>
                  <a:lnTo>
                    <a:pt x="456" y="1338"/>
                  </a:lnTo>
                  <a:lnTo>
                    <a:pt x="450" y="1338"/>
                  </a:lnTo>
                  <a:lnTo>
                    <a:pt x="444" y="1338"/>
                  </a:lnTo>
                  <a:lnTo>
                    <a:pt x="444" y="1332"/>
                  </a:lnTo>
                  <a:close/>
                  <a:moveTo>
                    <a:pt x="444" y="1368"/>
                  </a:moveTo>
                  <a:lnTo>
                    <a:pt x="456" y="1368"/>
                  </a:lnTo>
                  <a:lnTo>
                    <a:pt x="456" y="1374"/>
                  </a:lnTo>
                  <a:lnTo>
                    <a:pt x="444" y="1374"/>
                  </a:lnTo>
                  <a:lnTo>
                    <a:pt x="444" y="1368"/>
                  </a:lnTo>
                  <a:close/>
                  <a:moveTo>
                    <a:pt x="444" y="1386"/>
                  </a:moveTo>
                  <a:lnTo>
                    <a:pt x="444" y="1380"/>
                  </a:lnTo>
                  <a:lnTo>
                    <a:pt x="444" y="1374"/>
                  </a:lnTo>
                  <a:lnTo>
                    <a:pt x="444" y="1380"/>
                  </a:lnTo>
                  <a:lnTo>
                    <a:pt x="450" y="1380"/>
                  </a:lnTo>
                  <a:lnTo>
                    <a:pt x="456" y="1380"/>
                  </a:lnTo>
                  <a:lnTo>
                    <a:pt x="456" y="1386"/>
                  </a:lnTo>
                  <a:lnTo>
                    <a:pt x="456" y="1392"/>
                  </a:lnTo>
                  <a:lnTo>
                    <a:pt x="462" y="1392"/>
                  </a:lnTo>
                  <a:lnTo>
                    <a:pt x="462" y="1398"/>
                  </a:lnTo>
                  <a:lnTo>
                    <a:pt x="462" y="1404"/>
                  </a:lnTo>
                  <a:lnTo>
                    <a:pt x="456" y="1404"/>
                  </a:lnTo>
                  <a:lnTo>
                    <a:pt x="450" y="1404"/>
                  </a:lnTo>
                  <a:lnTo>
                    <a:pt x="450" y="1398"/>
                  </a:lnTo>
                  <a:lnTo>
                    <a:pt x="444" y="1398"/>
                  </a:lnTo>
                  <a:lnTo>
                    <a:pt x="444" y="1392"/>
                  </a:lnTo>
                  <a:lnTo>
                    <a:pt x="444" y="1386"/>
                  </a:lnTo>
                  <a:close/>
                  <a:moveTo>
                    <a:pt x="438" y="1362"/>
                  </a:moveTo>
                  <a:lnTo>
                    <a:pt x="444" y="1356"/>
                  </a:lnTo>
                  <a:lnTo>
                    <a:pt x="450" y="1356"/>
                  </a:lnTo>
                  <a:lnTo>
                    <a:pt x="450" y="1362"/>
                  </a:lnTo>
                  <a:lnTo>
                    <a:pt x="450" y="1368"/>
                  </a:lnTo>
                  <a:lnTo>
                    <a:pt x="444" y="1368"/>
                  </a:lnTo>
                  <a:lnTo>
                    <a:pt x="444" y="1362"/>
                  </a:lnTo>
                  <a:lnTo>
                    <a:pt x="438" y="1362"/>
                  </a:lnTo>
                  <a:close/>
                  <a:moveTo>
                    <a:pt x="438" y="1350"/>
                  </a:moveTo>
                  <a:lnTo>
                    <a:pt x="438" y="1344"/>
                  </a:lnTo>
                  <a:lnTo>
                    <a:pt x="438" y="1338"/>
                  </a:lnTo>
                  <a:lnTo>
                    <a:pt x="444" y="1338"/>
                  </a:lnTo>
                  <a:lnTo>
                    <a:pt x="450" y="1338"/>
                  </a:lnTo>
                  <a:lnTo>
                    <a:pt x="456" y="1338"/>
                  </a:lnTo>
                  <a:lnTo>
                    <a:pt x="450" y="1344"/>
                  </a:lnTo>
                  <a:lnTo>
                    <a:pt x="444" y="1350"/>
                  </a:lnTo>
                  <a:lnTo>
                    <a:pt x="438" y="1350"/>
                  </a:lnTo>
                  <a:close/>
                  <a:moveTo>
                    <a:pt x="432" y="1380"/>
                  </a:moveTo>
                  <a:lnTo>
                    <a:pt x="432" y="1368"/>
                  </a:lnTo>
                  <a:lnTo>
                    <a:pt x="432" y="1362"/>
                  </a:lnTo>
                  <a:lnTo>
                    <a:pt x="432" y="1356"/>
                  </a:lnTo>
                  <a:lnTo>
                    <a:pt x="438" y="1356"/>
                  </a:lnTo>
                  <a:lnTo>
                    <a:pt x="438" y="1362"/>
                  </a:lnTo>
                  <a:lnTo>
                    <a:pt x="438" y="1368"/>
                  </a:lnTo>
                  <a:lnTo>
                    <a:pt x="438" y="1374"/>
                  </a:lnTo>
                  <a:lnTo>
                    <a:pt x="438" y="1380"/>
                  </a:lnTo>
                  <a:lnTo>
                    <a:pt x="438" y="1386"/>
                  </a:lnTo>
                  <a:lnTo>
                    <a:pt x="438" y="1380"/>
                  </a:lnTo>
                  <a:lnTo>
                    <a:pt x="432" y="1380"/>
                  </a:lnTo>
                  <a:close/>
                  <a:moveTo>
                    <a:pt x="246" y="1272"/>
                  </a:moveTo>
                  <a:lnTo>
                    <a:pt x="252" y="1272"/>
                  </a:lnTo>
                  <a:lnTo>
                    <a:pt x="252" y="1278"/>
                  </a:lnTo>
                  <a:lnTo>
                    <a:pt x="246" y="1278"/>
                  </a:lnTo>
                  <a:lnTo>
                    <a:pt x="246" y="1272"/>
                  </a:lnTo>
                  <a:close/>
                  <a:moveTo>
                    <a:pt x="426" y="1416"/>
                  </a:moveTo>
                  <a:lnTo>
                    <a:pt x="432" y="1410"/>
                  </a:lnTo>
                  <a:lnTo>
                    <a:pt x="438" y="1410"/>
                  </a:lnTo>
                  <a:lnTo>
                    <a:pt x="438" y="1416"/>
                  </a:lnTo>
                  <a:lnTo>
                    <a:pt x="438" y="1422"/>
                  </a:lnTo>
                  <a:lnTo>
                    <a:pt x="432" y="1422"/>
                  </a:lnTo>
                  <a:lnTo>
                    <a:pt x="426" y="1422"/>
                  </a:lnTo>
                  <a:lnTo>
                    <a:pt x="426" y="1416"/>
                  </a:lnTo>
                  <a:close/>
                  <a:moveTo>
                    <a:pt x="246" y="1266"/>
                  </a:moveTo>
                  <a:lnTo>
                    <a:pt x="252" y="1266"/>
                  </a:lnTo>
                  <a:lnTo>
                    <a:pt x="258" y="1272"/>
                  </a:lnTo>
                  <a:lnTo>
                    <a:pt x="258" y="1278"/>
                  </a:lnTo>
                  <a:lnTo>
                    <a:pt x="258" y="1284"/>
                  </a:lnTo>
                  <a:lnTo>
                    <a:pt x="252" y="1284"/>
                  </a:lnTo>
                  <a:lnTo>
                    <a:pt x="252" y="1278"/>
                  </a:lnTo>
                  <a:lnTo>
                    <a:pt x="252" y="1272"/>
                  </a:lnTo>
                  <a:lnTo>
                    <a:pt x="252" y="1266"/>
                  </a:lnTo>
                  <a:lnTo>
                    <a:pt x="246" y="1266"/>
                  </a:lnTo>
                  <a:close/>
                  <a:moveTo>
                    <a:pt x="408" y="1458"/>
                  </a:moveTo>
                  <a:lnTo>
                    <a:pt x="408" y="1452"/>
                  </a:lnTo>
                  <a:lnTo>
                    <a:pt x="414" y="1452"/>
                  </a:lnTo>
                  <a:lnTo>
                    <a:pt x="414" y="1446"/>
                  </a:lnTo>
                  <a:lnTo>
                    <a:pt x="414" y="1440"/>
                  </a:lnTo>
                  <a:lnTo>
                    <a:pt x="420" y="1440"/>
                  </a:lnTo>
                  <a:lnTo>
                    <a:pt x="420" y="1434"/>
                  </a:lnTo>
                  <a:lnTo>
                    <a:pt x="420" y="1428"/>
                  </a:lnTo>
                  <a:lnTo>
                    <a:pt x="420" y="1422"/>
                  </a:lnTo>
                  <a:lnTo>
                    <a:pt x="426" y="1422"/>
                  </a:lnTo>
                  <a:lnTo>
                    <a:pt x="432" y="1428"/>
                  </a:lnTo>
                  <a:lnTo>
                    <a:pt x="438" y="1428"/>
                  </a:lnTo>
                  <a:lnTo>
                    <a:pt x="438" y="1434"/>
                  </a:lnTo>
                  <a:lnTo>
                    <a:pt x="438" y="1428"/>
                  </a:lnTo>
                  <a:lnTo>
                    <a:pt x="438" y="1422"/>
                  </a:lnTo>
                  <a:lnTo>
                    <a:pt x="444" y="1416"/>
                  </a:lnTo>
                  <a:lnTo>
                    <a:pt x="444" y="1410"/>
                  </a:lnTo>
                  <a:lnTo>
                    <a:pt x="450" y="1416"/>
                  </a:lnTo>
                  <a:lnTo>
                    <a:pt x="456" y="1416"/>
                  </a:lnTo>
                  <a:lnTo>
                    <a:pt x="456" y="1422"/>
                  </a:lnTo>
                  <a:lnTo>
                    <a:pt x="456" y="1428"/>
                  </a:lnTo>
                  <a:lnTo>
                    <a:pt x="456" y="1434"/>
                  </a:lnTo>
                  <a:lnTo>
                    <a:pt x="456" y="1440"/>
                  </a:lnTo>
                  <a:lnTo>
                    <a:pt x="462" y="1440"/>
                  </a:lnTo>
                  <a:lnTo>
                    <a:pt x="462" y="1446"/>
                  </a:lnTo>
                  <a:lnTo>
                    <a:pt x="462" y="1452"/>
                  </a:lnTo>
                  <a:lnTo>
                    <a:pt x="456" y="1452"/>
                  </a:lnTo>
                  <a:lnTo>
                    <a:pt x="450" y="1452"/>
                  </a:lnTo>
                  <a:lnTo>
                    <a:pt x="444" y="1446"/>
                  </a:lnTo>
                  <a:lnTo>
                    <a:pt x="444" y="1452"/>
                  </a:lnTo>
                  <a:lnTo>
                    <a:pt x="450" y="1452"/>
                  </a:lnTo>
                  <a:lnTo>
                    <a:pt x="450" y="1458"/>
                  </a:lnTo>
                  <a:lnTo>
                    <a:pt x="444" y="1458"/>
                  </a:lnTo>
                  <a:lnTo>
                    <a:pt x="438" y="1464"/>
                  </a:lnTo>
                  <a:lnTo>
                    <a:pt x="438" y="1458"/>
                  </a:lnTo>
                  <a:lnTo>
                    <a:pt x="432" y="1458"/>
                  </a:lnTo>
                  <a:lnTo>
                    <a:pt x="426" y="1458"/>
                  </a:lnTo>
                  <a:lnTo>
                    <a:pt x="432" y="1458"/>
                  </a:lnTo>
                  <a:lnTo>
                    <a:pt x="438" y="1464"/>
                  </a:lnTo>
                  <a:lnTo>
                    <a:pt x="432" y="1464"/>
                  </a:lnTo>
                  <a:lnTo>
                    <a:pt x="432" y="1470"/>
                  </a:lnTo>
                  <a:lnTo>
                    <a:pt x="426" y="1470"/>
                  </a:lnTo>
                  <a:lnTo>
                    <a:pt x="420" y="1476"/>
                  </a:lnTo>
                  <a:lnTo>
                    <a:pt x="420" y="1470"/>
                  </a:lnTo>
                  <a:lnTo>
                    <a:pt x="414" y="1470"/>
                  </a:lnTo>
                  <a:lnTo>
                    <a:pt x="414" y="1464"/>
                  </a:lnTo>
                  <a:lnTo>
                    <a:pt x="414" y="1458"/>
                  </a:lnTo>
                  <a:lnTo>
                    <a:pt x="408" y="1458"/>
                  </a:lnTo>
                  <a:close/>
                  <a:moveTo>
                    <a:pt x="270" y="1326"/>
                  </a:moveTo>
                  <a:lnTo>
                    <a:pt x="270" y="1320"/>
                  </a:lnTo>
                  <a:lnTo>
                    <a:pt x="276" y="1320"/>
                  </a:lnTo>
                  <a:lnTo>
                    <a:pt x="282" y="1326"/>
                  </a:lnTo>
                  <a:lnTo>
                    <a:pt x="288" y="1326"/>
                  </a:lnTo>
                  <a:lnTo>
                    <a:pt x="288" y="1332"/>
                  </a:lnTo>
                  <a:lnTo>
                    <a:pt x="288" y="1338"/>
                  </a:lnTo>
                  <a:lnTo>
                    <a:pt x="288" y="1344"/>
                  </a:lnTo>
                  <a:lnTo>
                    <a:pt x="282" y="1344"/>
                  </a:lnTo>
                  <a:lnTo>
                    <a:pt x="282" y="1338"/>
                  </a:lnTo>
                  <a:lnTo>
                    <a:pt x="276" y="1338"/>
                  </a:lnTo>
                  <a:lnTo>
                    <a:pt x="276" y="1332"/>
                  </a:lnTo>
                  <a:lnTo>
                    <a:pt x="270" y="1332"/>
                  </a:lnTo>
                  <a:lnTo>
                    <a:pt x="270" y="1326"/>
                  </a:lnTo>
                  <a:close/>
                  <a:moveTo>
                    <a:pt x="288" y="1458"/>
                  </a:moveTo>
                  <a:lnTo>
                    <a:pt x="294" y="1458"/>
                  </a:lnTo>
                  <a:lnTo>
                    <a:pt x="294" y="1452"/>
                  </a:lnTo>
                  <a:lnTo>
                    <a:pt x="294" y="1446"/>
                  </a:lnTo>
                  <a:lnTo>
                    <a:pt x="300" y="1446"/>
                  </a:lnTo>
                  <a:lnTo>
                    <a:pt x="300" y="1440"/>
                  </a:lnTo>
                  <a:lnTo>
                    <a:pt x="306" y="1440"/>
                  </a:lnTo>
                  <a:lnTo>
                    <a:pt x="306" y="1446"/>
                  </a:lnTo>
                  <a:lnTo>
                    <a:pt x="312" y="1452"/>
                  </a:lnTo>
                  <a:lnTo>
                    <a:pt x="306" y="1452"/>
                  </a:lnTo>
                  <a:lnTo>
                    <a:pt x="306" y="1458"/>
                  </a:lnTo>
                  <a:lnTo>
                    <a:pt x="312" y="1464"/>
                  </a:lnTo>
                  <a:lnTo>
                    <a:pt x="306" y="1464"/>
                  </a:lnTo>
                  <a:lnTo>
                    <a:pt x="306" y="1470"/>
                  </a:lnTo>
                  <a:lnTo>
                    <a:pt x="300" y="1476"/>
                  </a:lnTo>
                  <a:lnTo>
                    <a:pt x="294" y="1476"/>
                  </a:lnTo>
                  <a:lnTo>
                    <a:pt x="294" y="1470"/>
                  </a:lnTo>
                  <a:lnTo>
                    <a:pt x="288" y="1470"/>
                  </a:lnTo>
                  <a:lnTo>
                    <a:pt x="288" y="1464"/>
                  </a:lnTo>
                  <a:lnTo>
                    <a:pt x="288" y="1458"/>
                  </a:lnTo>
                  <a:close/>
                  <a:moveTo>
                    <a:pt x="270" y="1296"/>
                  </a:moveTo>
                  <a:lnTo>
                    <a:pt x="276" y="1296"/>
                  </a:lnTo>
                  <a:lnTo>
                    <a:pt x="282" y="1296"/>
                  </a:lnTo>
                  <a:lnTo>
                    <a:pt x="288" y="1296"/>
                  </a:lnTo>
                  <a:lnTo>
                    <a:pt x="288" y="1302"/>
                  </a:lnTo>
                  <a:lnTo>
                    <a:pt x="282" y="1308"/>
                  </a:lnTo>
                  <a:lnTo>
                    <a:pt x="276" y="1308"/>
                  </a:lnTo>
                  <a:lnTo>
                    <a:pt x="276" y="1302"/>
                  </a:lnTo>
                  <a:lnTo>
                    <a:pt x="270" y="12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4" name="Freeform 19">
              <a:extLst>
                <a:ext uri="{FF2B5EF4-FFF2-40B4-BE49-F238E27FC236}">
                  <a16:creationId xmlns:a16="http://schemas.microsoft.com/office/drawing/2014/main" id="{5B9020B8-E1C1-4611-A248-9642BBD69C9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7043" y="3765821"/>
              <a:ext cx="333193" cy="398097"/>
            </a:xfrm>
            <a:custGeom>
              <a:avLst/>
              <a:gdLst>
                <a:gd name="T0" fmla="*/ 30 w 624"/>
                <a:gd name="T1" fmla="*/ 61 h 750"/>
                <a:gd name="T2" fmla="*/ 27 w 624"/>
                <a:gd name="T3" fmla="*/ 62 h 750"/>
                <a:gd name="T4" fmla="*/ 23 w 624"/>
                <a:gd name="T5" fmla="*/ 59 h 750"/>
                <a:gd name="T6" fmla="*/ 20 w 624"/>
                <a:gd name="T7" fmla="*/ 58 h 750"/>
                <a:gd name="T8" fmla="*/ 19 w 624"/>
                <a:gd name="T9" fmla="*/ 56 h 750"/>
                <a:gd name="T10" fmla="*/ 17 w 624"/>
                <a:gd name="T11" fmla="*/ 55 h 750"/>
                <a:gd name="T12" fmla="*/ 16 w 624"/>
                <a:gd name="T13" fmla="*/ 51 h 750"/>
                <a:gd name="T14" fmla="*/ 14 w 624"/>
                <a:gd name="T15" fmla="*/ 48 h 750"/>
                <a:gd name="T16" fmla="*/ 12 w 624"/>
                <a:gd name="T17" fmla="*/ 46 h 750"/>
                <a:gd name="T18" fmla="*/ 12 w 624"/>
                <a:gd name="T19" fmla="*/ 44 h 750"/>
                <a:gd name="T20" fmla="*/ 11 w 624"/>
                <a:gd name="T21" fmla="*/ 41 h 750"/>
                <a:gd name="T22" fmla="*/ 8 w 624"/>
                <a:gd name="T23" fmla="*/ 38 h 750"/>
                <a:gd name="T24" fmla="*/ 6 w 624"/>
                <a:gd name="T25" fmla="*/ 38 h 750"/>
                <a:gd name="T26" fmla="*/ 6 w 624"/>
                <a:gd name="T27" fmla="*/ 35 h 750"/>
                <a:gd name="T28" fmla="*/ 7 w 624"/>
                <a:gd name="T29" fmla="*/ 31 h 750"/>
                <a:gd name="T30" fmla="*/ 10 w 624"/>
                <a:gd name="T31" fmla="*/ 27 h 750"/>
                <a:gd name="T32" fmla="*/ 8 w 624"/>
                <a:gd name="T33" fmla="*/ 23 h 750"/>
                <a:gd name="T34" fmla="*/ 6 w 624"/>
                <a:gd name="T35" fmla="*/ 23 h 750"/>
                <a:gd name="T36" fmla="*/ 3 w 624"/>
                <a:gd name="T37" fmla="*/ 22 h 750"/>
                <a:gd name="T38" fmla="*/ 0 w 624"/>
                <a:gd name="T39" fmla="*/ 22 h 750"/>
                <a:gd name="T40" fmla="*/ 0 w 624"/>
                <a:gd name="T41" fmla="*/ 19 h 750"/>
                <a:gd name="T42" fmla="*/ 1 w 624"/>
                <a:gd name="T43" fmla="*/ 18 h 750"/>
                <a:gd name="T44" fmla="*/ 2 w 624"/>
                <a:gd name="T45" fmla="*/ 14 h 750"/>
                <a:gd name="T46" fmla="*/ 4 w 624"/>
                <a:gd name="T47" fmla="*/ 17 h 750"/>
                <a:gd name="T48" fmla="*/ 6 w 624"/>
                <a:gd name="T49" fmla="*/ 17 h 750"/>
                <a:gd name="T50" fmla="*/ 7 w 624"/>
                <a:gd name="T51" fmla="*/ 17 h 750"/>
                <a:gd name="T52" fmla="*/ 9 w 624"/>
                <a:gd name="T53" fmla="*/ 15 h 750"/>
                <a:gd name="T54" fmla="*/ 10 w 624"/>
                <a:gd name="T55" fmla="*/ 14 h 750"/>
                <a:gd name="T56" fmla="*/ 11 w 624"/>
                <a:gd name="T57" fmla="*/ 12 h 750"/>
                <a:gd name="T58" fmla="*/ 13 w 624"/>
                <a:gd name="T59" fmla="*/ 12 h 750"/>
                <a:gd name="T60" fmla="*/ 18 w 624"/>
                <a:gd name="T61" fmla="*/ 10 h 750"/>
                <a:gd name="T62" fmla="*/ 22 w 624"/>
                <a:gd name="T63" fmla="*/ 4 h 750"/>
                <a:gd name="T64" fmla="*/ 24 w 624"/>
                <a:gd name="T65" fmla="*/ 4 h 750"/>
                <a:gd name="T66" fmla="*/ 26 w 624"/>
                <a:gd name="T67" fmla="*/ 2 h 750"/>
                <a:gd name="T68" fmla="*/ 29 w 624"/>
                <a:gd name="T69" fmla="*/ 0 h 750"/>
                <a:gd name="T70" fmla="*/ 32 w 624"/>
                <a:gd name="T71" fmla="*/ 2 h 750"/>
                <a:gd name="T72" fmla="*/ 34 w 624"/>
                <a:gd name="T73" fmla="*/ 5 h 750"/>
                <a:gd name="T74" fmla="*/ 35 w 624"/>
                <a:gd name="T75" fmla="*/ 8 h 750"/>
                <a:gd name="T76" fmla="*/ 39 w 624"/>
                <a:gd name="T77" fmla="*/ 11 h 750"/>
                <a:gd name="T78" fmla="*/ 42 w 624"/>
                <a:gd name="T79" fmla="*/ 14 h 750"/>
                <a:gd name="T80" fmla="*/ 46 w 624"/>
                <a:gd name="T81" fmla="*/ 12 h 750"/>
                <a:gd name="T82" fmla="*/ 49 w 624"/>
                <a:gd name="T83" fmla="*/ 12 h 750"/>
                <a:gd name="T84" fmla="*/ 51 w 624"/>
                <a:gd name="T85" fmla="*/ 12 h 750"/>
                <a:gd name="T86" fmla="*/ 53 w 624"/>
                <a:gd name="T87" fmla="*/ 12 h 750"/>
                <a:gd name="T88" fmla="*/ 53 w 624"/>
                <a:gd name="T89" fmla="*/ 17 h 750"/>
                <a:gd name="T90" fmla="*/ 51 w 624"/>
                <a:gd name="T91" fmla="*/ 20 h 750"/>
                <a:gd name="T92" fmla="*/ 49 w 624"/>
                <a:gd name="T93" fmla="*/ 26 h 750"/>
                <a:gd name="T94" fmla="*/ 47 w 624"/>
                <a:gd name="T95" fmla="*/ 26 h 750"/>
                <a:gd name="T96" fmla="*/ 44 w 624"/>
                <a:gd name="T97" fmla="*/ 26 h 750"/>
                <a:gd name="T98" fmla="*/ 43 w 624"/>
                <a:gd name="T99" fmla="*/ 27 h 750"/>
                <a:gd name="T100" fmla="*/ 45 w 624"/>
                <a:gd name="T101" fmla="*/ 32 h 750"/>
                <a:gd name="T102" fmla="*/ 44 w 624"/>
                <a:gd name="T103" fmla="*/ 43 h 750"/>
                <a:gd name="T104" fmla="*/ 44 w 624"/>
                <a:gd name="T105" fmla="*/ 47 h 750"/>
                <a:gd name="T106" fmla="*/ 44 w 624"/>
                <a:gd name="T107" fmla="*/ 54 h 750"/>
                <a:gd name="T108" fmla="*/ 41 w 624"/>
                <a:gd name="T109" fmla="*/ 60 h 750"/>
                <a:gd name="T110" fmla="*/ 42 w 624"/>
                <a:gd name="T111" fmla="*/ 62 h 750"/>
                <a:gd name="T112" fmla="*/ 43 w 624"/>
                <a:gd name="T113" fmla="*/ 65 h 750"/>
                <a:gd name="T114" fmla="*/ 39 w 624"/>
                <a:gd name="T115" fmla="*/ 63 h 750"/>
                <a:gd name="T116" fmla="*/ 35 w 624"/>
                <a:gd name="T117" fmla="*/ 62 h 75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24"/>
                <a:gd name="T178" fmla="*/ 0 h 750"/>
                <a:gd name="T179" fmla="*/ 624 w 624"/>
                <a:gd name="T180" fmla="*/ 750 h 75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24" h="750">
                  <a:moveTo>
                    <a:pt x="390" y="702"/>
                  </a:moveTo>
                  <a:lnTo>
                    <a:pt x="372" y="696"/>
                  </a:lnTo>
                  <a:lnTo>
                    <a:pt x="360" y="702"/>
                  </a:lnTo>
                  <a:lnTo>
                    <a:pt x="348" y="702"/>
                  </a:lnTo>
                  <a:lnTo>
                    <a:pt x="336" y="702"/>
                  </a:lnTo>
                  <a:lnTo>
                    <a:pt x="330" y="702"/>
                  </a:lnTo>
                  <a:lnTo>
                    <a:pt x="318" y="708"/>
                  </a:lnTo>
                  <a:lnTo>
                    <a:pt x="306" y="708"/>
                  </a:lnTo>
                  <a:lnTo>
                    <a:pt x="294" y="690"/>
                  </a:lnTo>
                  <a:lnTo>
                    <a:pt x="294" y="684"/>
                  </a:lnTo>
                  <a:lnTo>
                    <a:pt x="276" y="684"/>
                  </a:lnTo>
                  <a:lnTo>
                    <a:pt x="270" y="678"/>
                  </a:lnTo>
                  <a:lnTo>
                    <a:pt x="240" y="672"/>
                  </a:lnTo>
                  <a:lnTo>
                    <a:pt x="234" y="672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6"/>
                  </a:lnTo>
                  <a:lnTo>
                    <a:pt x="216" y="660"/>
                  </a:lnTo>
                  <a:lnTo>
                    <a:pt x="216" y="654"/>
                  </a:lnTo>
                  <a:lnTo>
                    <a:pt x="216" y="642"/>
                  </a:lnTo>
                  <a:lnTo>
                    <a:pt x="210" y="642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36"/>
                  </a:lnTo>
                  <a:lnTo>
                    <a:pt x="192" y="624"/>
                  </a:lnTo>
                  <a:lnTo>
                    <a:pt x="186" y="612"/>
                  </a:lnTo>
                  <a:lnTo>
                    <a:pt x="186" y="600"/>
                  </a:lnTo>
                  <a:lnTo>
                    <a:pt x="186" y="588"/>
                  </a:lnTo>
                  <a:lnTo>
                    <a:pt x="180" y="582"/>
                  </a:lnTo>
                  <a:lnTo>
                    <a:pt x="180" y="570"/>
                  </a:lnTo>
                  <a:lnTo>
                    <a:pt x="174" y="558"/>
                  </a:lnTo>
                  <a:lnTo>
                    <a:pt x="162" y="558"/>
                  </a:lnTo>
                  <a:lnTo>
                    <a:pt x="144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38" y="534"/>
                  </a:lnTo>
                  <a:lnTo>
                    <a:pt x="138" y="528"/>
                  </a:lnTo>
                  <a:lnTo>
                    <a:pt x="132" y="522"/>
                  </a:lnTo>
                  <a:lnTo>
                    <a:pt x="144" y="522"/>
                  </a:lnTo>
                  <a:lnTo>
                    <a:pt x="144" y="510"/>
                  </a:lnTo>
                  <a:lnTo>
                    <a:pt x="144" y="504"/>
                  </a:lnTo>
                  <a:lnTo>
                    <a:pt x="138" y="492"/>
                  </a:lnTo>
                  <a:lnTo>
                    <a:pt x="138" y="474"/>
                  </a:lnTo>
                  <a:lnTo>
                    <a:pt x="126" y="468"/>
                  </a:lnTo>
                  <a:lnTo>
                    <a:pt x="120" y="456"/>
                  </a:lnTo>
                  <a:lnTo>
                    <a:pt x="114" y="450"/>
                  </a:lnTo>
                  <a:lnTo>
                    <a:pt x="108" y="438"/>
                  </a:lnTo>
                  <a:lnTo>
                    <a:pt x="96" y="432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60" y="426"/>
                  </a:lnTo>
                  <a:lnTo>
                    <a:pt x="66" y="420"/>
                  </a:lnTo>
                  <a:lnTo>
                    <a:pt x="66" y="408"/>
                  </a:lnTo>
                  <a:lnTo>
                    <a:pt x="72" y="408"/>
                  </a:lnTo>
                  <a:lnTo>
                    <a:pt x="72" y="384"/>
                  </a:lnTo>
                  <a:lnTo>
                    <a:pt x="72" y="366"/>
                  </a:lnTo>
                  <a:lnTo>
                    <a:pt x="78" y="354"/>
                  </a:lnTo>
                  <a:lnTo>
                    <a:pt x="84" y="354"/>
                  </a:lnTo>
                  <a:lnTo>
                    <a:pt x="90" y="348"/>
                  </a:lnTo>
                  <a:lnTo>
                    <a:pt x="102" y="336"/>
                  </a:lnTo>
                  <a:lnTo>
                    <a:pt x="114" y="324"/>
                  </a:lnTo>
                  <a:lnTo>
                    <a:pt x="120" y="312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20" y="276"/>
                  </a:lnTo>
                  <a:lnTo>
                    <a:pt x="96" y="270"/>
                  </a:lnTo>
                  <a:lnTo>
                    <a:pt x="84" y="270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72" y="264"/>
                  </a:lnTo>
                  <a:lnTo>
                    <a:pt x="60" y="252"/>
                  </a:lnTo>
                  <a:lnTo>
                    <a:pt x="42" y="252"/>
                  </a:lnTo>
                  <a:lnTo>
                    <a:pt x="42" y="258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18" y="252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42" y="156"/>
                  </a:lnTo>
                  <a:lnTo>
                    <a:pt x="48" y="198"/>
                  </a:lnTo>
                  <a:lnTo>
                    <a:pt x="48" y="204"/>
                  </a:lnTo>
                  <a:lnTo>
                    <a:pt x="54" y="198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204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192"/>
                  </a:lnTo>
                  <a:lnTo>
                    <a:pt x="96" y="186"/>
                  </a:lnTo>
                  <a:lnTo>
                    <a:pt x="102" y="180"/>
                  </a:lnTo>
                  <a:lnTo>
                    <a:pt x="102" y="174"/>
                  </a:lnTo>
                  <a:lnTo>
                    <a:pt x="108" y="168"/>
                  </a:lnTo>
                  <a:lnTo>
                    <a:pt x="108" y="162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0"/>
                  </a:lnTo>
                  <a:lnTo>
                    <a:pt x="132" y="144"/>
                  </a:lnTo>
                  <a:lnTo>
                    <a:pt x="138" y="138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0" y="132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74" y="126"/>
                  </a:lnTo>
                  <a:lnTo>
                    <a:pt x="204" y="120"/>
                  </a:lnTo>
                  <a:lnTo>
                    <a:pt x="210" y="78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54"/>
                  </a:lnTo>
                  <a:lnTo>
                    <a:pt x="276" y="54"/>
                  </a:lnTo>
                  <a:lnTo>
                    <a:pt x="276" y="48"/>
                  </a:lnTo>
                  <a:lnTo>
                    <a:pt x="282" y="48"/>
                  </a:lnTo>
                  <a:lnTo>
                    <a:pt x="288" y="42"/>
                  </a:lnTo>
                  <a:lnTo>
                    <a:pt x="294" y="42"/>
                  </a:lnTo>
                  <a:lnTo>
                    <a:pt x="294" y="18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0"/>
                  </a:lnTo>
                  <a:lnTo>
                    <a:pt x="336" y="0"/>
                  </a:lnTo>
                  <a:lnTo>
                    <a:pt x="342" y="0"/>
                  </a:lnTo>
                  <a:lnTo>
                    <a:pt x="354" y="6"/>
                  </a:lnTo>
                  <a:lnTo>
                    <a:pt x="366" y="18"/>
                  </a:lnTo>
                  <a:lnTo>
                    <a:pt x="378" y="36"/>
                  </a:lnTo>
                  <a:lnTo>
                    <a:pt x="390" y="42"/>
                  </a:lnTo>
                  <a:lnTo>
                    <a:pt x="390" y="48"/>
                  </a:lnTo>
                  <a:lnTo>
                    <a:pt x="396" y="60"/>
                  </a:lnTo>
                  <a:lnTo>
                    <a:pt x="402" y="72"/>
                  </a:lnTo>
                  <a:lnTo>
                    <a:pt x="408" y="78"/>
                  </a:lnTo>
                  <a:lnTo>
                    <a:pt x="402" y="84"/>
                  </a:lnTo>
                  <a:lnTo>
                    <a:pt x="408" y="90"/>
                  </a:lnTo>
                  <a:lnTo>
                    <a:pt x="414" y="102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50" y="126"/>
                  </a:lnTo>
                  <a:lnTo>
                    <a:pt x="456" y="126"/>
                  </a:lnTo>
                  <a:lnTo>
                    <a:pt x="462" y="144"/>
                  </a:lnTo>
                  <a:lnTo>
                    <a:pt x="480" y="156"/>
                  </a:lnTo>
                  <a:lnTo>
                    <a:pt x="492" y="156"/>
                  </a:lnTo>
                  <a:lnTo>
                    <a:pt x="516" y="150"/>
                  </a:lnTo>
                  <a:lnTo>
                    <a:pt x="516" y="144"/>
                  </a:lnTo>
                  <a:lnTo>
                    <a:pt x="516" y="138"/>
                  </a:lnTo>
                  <a:lnTo>
                    <a:pt x="528" y="138"/>
                  </a:lnTo>
                  <a:lnTo>
                    <a:pt x="546" y="144"/>
                  </a:lnTo>
                  <a:lnTo>
                    <a:pt x="546" y="138"/>
                  </a:lnTo>
                  <a:lnTo>
                    <a:pt x="552" y="138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76" y="138"/>
                  </a:lnTo>
                  <a:lnTo>
                    <a:pt x="582" y="138"/>
                  </a:lnTo>
                  <a:lnTo>
                    <a:pt x="588" y="138"/>
                  </a:lnTo>
                  <a:lnTo>
                    <a:pt x="594" y="138"/>
                  </a:lnTo>
                  <a:lnTo>
                    <a:pt x="594" y="144"/>
                  </a:lnTo>
                  <a:lnTo>
                    <a:pt x="600" y="138"/>
                  </a:lnTo>
                  <a:lnTo>
                    <a:pt x="606" y="138"/>
                  </a:lnTo>
                  <a:lnTo>
                    <a:pt x="606" y="144"/>
                  </a:lnTo>
                  <a:lnTo>
                    <a:pt x="612" y="144"/>
                  </a:lnTo>
                  <a:lnTo>
                    <a:pt x="618" y="156"/>
                  </a:lnTo>
                  <a:lnTo>
                    <a:pt x="612" y="198"/>
                  </a:lnTo>
                  <a:lnTo>
                    <a:pt x="624" y="198"/>
                  </a:lnTo>
                  <a:lnTo>
                    <a:pt x="624" y="204"/>
                  </a:lnTo>
                  <a:lnTo>
                    <a:pt x="612" y="216"/>
                  </a:lnTo>
                  <a:lnTo>
                    <a:pt x="594" y="234"/>
                  </a:lnTo>
                  <a:lnTo>
                    <a:pt x="588" y="252"/>
                  </a:lnTo>
                  <a:lnTo>
                    <a:pt x="576" y="270"/>
                  </a:lnTo>
                  <a:lnTo>
                    <a:pt x="564" y="282"/>
                  </a:lnTo>
                  <a:lnTo>
                    <a:pt x="564" y="294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8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34" y="294"/>
                  </a:lnTo>
                  <a:lnTo>
                    <a:pt x="522" y="300"/>
                  </a:lnTo>
                  <a:lnTo>
                    <a:pt x="510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498" y="324"/>
                  </a:lnTo>
                  <a:lnTo>
                    <a:pt x="504" y="336"/>
                  </a:lnTo>
                  <a:lnTo>
                    <a:pt x="510" y="348"/>
                  </a:lnTo>
                  <a:lnTo>
                    <a:pt x="516" y="366"/>
                  </a:lnTo>
                  <a:lnTo>
                    <a:pt x="522" y="432"/>
                  </a:lnTo>
                  <a:lnTo>
                    <a:pt x="522" y="456"/>
                  </a:lnTo>
                  <a:lnTo>
                    <a:pt x="504" y="492"/>
                  </a:lnTo>
                  <a:lnTo>
                    <a:pt x="504" y="498"/>
                  </a:lnTo>
                  <a:lnTo>
                    <a:pt x="498" y="504"/>
                  </a:lnTo>
                  <a:lnTo>
                    <a:pt x="498" y="522"/>
                  </a:lnTo>
                  <a:lnTo>
                    <a:pt x="504" y="534"/>
                  </a:lnTo>
                  <a:lnTo>
                    <a:pt x="510" y="546"/>
                  </a:lnTo>
                  <a:lnTo>
                    <a:pt x="516" y="558"/>
                  </a:lnTo>
                  <a:lnTo>
                    <a:pt x="516" y="588"/>
                  </a:lnTo>
                  <a:lnTo>
                    <a:pt x="516" y="600"/>
                  </a:lnTo>
                  <a:lnTo>
                    <a:pt x="510" y="618"/>
                  </a:lnTo>
                  <a:lnTo>
                    <a:pt x="504" y="636"/>
                  </a:lnTo>
                  <a:lnTo>
                    <a:pt x="504" y="642"/>
                  </a:lnTo>
                  <a:lnTo>
                    <a:pt x="474" y="654"/>
                  </a:lnTo>
                  <a:lnTo>
                    <a:pt x="474" y="690"/>
                  </a:lnTo>
                  <a:lnTo>
                    <a:pt x="474" y="696"/>
                  </a:lnTo>
                  <a:lnTo>
                    <a:pt x="480" y="702"/>
                  </a:lnTo>
                  <a:lnTo>
                    <a:pt x="486" y="708"/>
                  </a:lnTo>
                  <a:lnTo>
                    <a:pt x="492" y="708"/>
                  </a:lnTo>
                  <a:lnTo>
                    <a:pt x="498" y="726"/>
                  </a:lnTo>
                  <a:lnTo>
                    <a:pt x="504" y="726"/>
                  </a:lnTo>
                  <a:lnTo>
                    <a:pt x="504" y="738"/>
                  </a:lnTo>
                  <a:lnTo>
                    <a:pt x="498" y="744"/>
                  </a:lnTo>
                  <a:lnTo>
                    <a:pt x="486" y="750"/>
                  </a:lnTo>
                  <a:lnTo>
                    <a:pt x="474" y="744"/>
                  </a:lnTo>
                  <a:lnTo>
                    <a:pt x="462" y="744"/>
                  </a:lnTo>
                  <a:lnTo>
                    <a:pt x="456" y="732"/>
                  </a:lnTo>
                  <a:lnTo>
                    <a:pt x="444" y="732"/>
                  </a:lnTo>
                  <a:lnTo>
                    <a:pt x="432" y="726"/>
                  </a:lnTo>
                  <a:lnTo>
                    <a:pt x="420" y="720"/>
                  </a:lnTo>
                  <a:lnTo>
                    <a:pt x="408" y="708"/>
                  </a:lnTo>
                  <a:lnTo>
                    <a:pt x="402" y="708"/>
                  </a:lnTo>
                  <a:lnTo>
                    <a:pt x="390" y="70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5" name="Freeform 20">
              <a:extLst>
                <a:ext uri="{FF2B5EF4-FFF2-40B4-BE49-F238E27FC236}">
                  <a16:creationId xmlns:a16="http://schemas.microsoft.com/office/drawing/2014/main" id="{B8342C3B-ECEC-465F-AAFF-4815B8AC392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870937"/>
              <a:ext cx="313067" cy="377968"/>
            </a:xfrm>
            <a:custGeom>
              <a:avLst/>
              <a:gdLst>
                <a:gd name="T0" fmla="*/ 15 w 588"/>
                <a:gd name="T1" fmla="*/ 59 h 714"/>
                <a:gd name="T2" fmla="*/ 14 w 588"/>
                <a:gd name="T3" fmla="*/ 58 h 714"/>
                <a:gd name="T4" fmla="*/ 9 w 588"/>
                <a:gd name="T5" fmla="*/ 54 h 714"/>
                <a:gd name="T6" fmla="*/ 4 w 588"/>
                <a:gd name="T7" fmla="*/ 54 h 714"/>
                <a:gd name="T8" fmla="*/ 0 w 588"/>
                <a:gd name="T9" fmla="*/ 50 h 714"/>
                <a:gd name="T10" fmla="*/ 0 w 588"/>
                <a:gd name="T11" fmla="*/ 44 h 714"/>
                <a:gd name="T12" fmla="*/ 4 w 588"/>
                <a:gd name="T13" fmla="*/ 46 h 714"/>
                <a:gd name="T14" fmla="*/ 7 w 588"/>
                <a:gd name="T15" fmla="*/ 47 h 714"/>
                <a:gd name="T16" fmla="*/ 10 w 588"/>
                <a:gd name="T17" fmla="*/ 46 h 714"/>
                <a:gd name="T18" fmla="*/ 8 w 588"/>
                <a:gd name="T19" fmla="*/ 44 h 714"/>
                <a:gd name="T20" fmla="*/ 10 w 588"/>
                <a:gd name="T21" fmla="*/ 39 h 714"/>
                <a:gd name="T22" fmla="*/ 11 w 588"/>
                <a:gd name="T23" fmla="*/ 34 h 714"/>
                <a:gd name="T24" fmla="*/ 9 w 588"/>
                <a:gd name="T25" fmla="*/ 28 h 714"/>
                <a:gd name="T26" fmla="*/ 11 w 588"/>
                <a:gd name="T27" fmla="*/ 22 h 714"/>
                <a:gd name="T28" fmla="*/ 10 w 588"/>
                <a:gd name="T29" fmla="*/ 12 h 714"/>
                <a:gd name="T30" fmla="*/ 9 w 588"/>
                <a:gd name="T31" fmla="*/ 9 h 714"/>
                <a:gd name="T32" fmla="*/ 12 w 588"/>
                <a:gd name="T33" fmla="*/ 8 h 714"/>
                <a:gd name="T34" fmla="*/ 14 w 588"/>
                <a:gd name="T35" fmla="*/ 7 h 714"/>
                <a:gd name="T36" fmla="*/ 17 w 588"/>
                <a:gd name="T37" fmla="*/ 10 h 714"/>
                <a:gd name="T38" fmla="*/ 23 w 588"/>
                <a:gd name="T39" fmla="*/ 14 h 714"/>
                <a:gd name="T40" fmla="*/ 28 w 588"/>
                <a:gd name="T41" fmla="*/ 4 h 714"/>
                <a:gd name="T42" fmla="*/ 35 w 588"/>
                <a:gd name="T43" fmla="*/ 2 h 714"/>
                <a:gd name="T44" fmla="*/ 38 w 588"/>
                <a:gd name="T45" fmla="*/ 0 h 714"/>
                <a:gd name="T46" fmla="*/ 40 w 588"/>
                <a:gd name="T47" fmla="*/ 2 h 714"/>
                <a:gd name="T48" fmla="*/ 39 w 588"/>
                <a:gd name="T49" fmla="*/ 4 h 714"/>
                <a:gd name="T50" fmla="*/ 41 w 588"/>
                <a:gd name="T51" fmla="*/ 5 h 714"/>
                <a:gd name="T52" fmla="*/ 42 w 588"/>
                <a:gd name="T53" fmla="*/ 7 h 714"/>
                <a:gd name="T54" fmla="*/ 43 w 588"/>
                <a:gd name="T55" fmla="*/ 9 h 714"/>
                <a:gd name="T56" fmla="*/ 43 w 588"/>
                <a:gd name="T57" fmla="*/ 10 h 714"/>
                <a:gd name="T58" fmla="*/ 43 w 588"/>
                <a:gd name="T59" fmla="*/ 12 h 714"/>
                <a:gd name="T60" fmla="*/ 44 w 588"/>
                <a:gd name="T61" fmla="*/ 12 h 714"/>
                <a:gd name="T62" fmla="*/ 46 w 588"/>
                <a:gd name="T63" fmla="*/ 13 h 714"/>
                <a:gd name="T64" fmla="*/ 47 w 588"/>
                <a:gd name="T65" fmla="*/ 14 h 714"/>
                <a:gd name="T66" fmla="*/ 48 w 588"/>
                <a:gd name="T67" fmla="*/ 15 h 714"/>
                <a:gd name="T68" fmla="*/ 49 w 588"/>
                <a:gd name="T69" fmla="*/ 15 h 714"/>
                <a:gd name="T70" fmla="*/ 48 w 588"/>
                <a:gd name="T71" fmla="*/ 17 h 714"/>
                <a:gd name="T72" fmla="*/ 49 w 588"/>
                <a:gd name="T73" fmla="*/ 19 h 714"/>
                <a:gd name="T74" fmla="*/ 49 w 588"/>
                <a:gd name="T75" fmla="*/ 20 h 714"/>
                <a:gd name="T76" fmla="*/ 51 w 588"/>
                <a:gd name="T77" fmla="*/ 21 h 714"/>
                <a:gd name="T78" fmla="*/ 50 w 588"/>
                <a:gd name="T79" fmla="*/ 22 h 714"/>
                <a:gd name="T80" fmla="*/ 47 w 588"/>
                <a:gd name="T81" fmla="*/ 23 h 714"/>
                <a:gd name="T82" fmla="*/ 47 w 588"/>
                <a:gd name="T83" fmla="*/ 26 h 714"/>
                <a:gd name="T84" fmla="*/ 47 w 588"/>
                <a:gd name="T85" fmla="*/ 32 h 714"/>
                <a:gd name="T86" fmla="*/ 44 w 588"/>
                <a:gd name="T87" fmla="*/ 35 h 714"/>
                <a:gd name="T88" fmla="*/ 42 w 588"/>
                <a:gd name="T89" fmla="*/ 39 h 714"/>
                <a:gd name="T90" fmla="*/ 42 w 588"/>
                <a:gd name="T91" fmla="*/ 41 h 714"/>
                <a:gd name="T92" fmla="*/ 42 w 588"/>
                <a:gd name="T93" fmla="*/ 42 h 714"/>
                <a:gd name="T94" fmla="*/ 41 w 588"/>
                <a:gd name="T95" fmla="*/ 44 h 714"/>
                <a:gd name="T96" fmla="*/ 39 w 588"/>
                <a:gd name="T97" fmla="*/ 43 h 714"/>
                <a:gd name="T98" fmla="*/ 37 w 588"/>
                <a:gd name="T99" fmla="*/ 44 h 714"/>
                <a:gd name="T100" fmla="*/ 35 w 588"/>
                <a:gd name="T101" fmla="*/ 46 h 714"/>
                <a:gd name="T102" fmla="*/ 31 w 588"/>
                <a:gd name="T103" fmla="*/ 45 h 714"/>
                <a:gd name="T104" fmla="*/ 24 w 588"/>
                <a:gd name="T105" fmla="*/ 45 h 714"/>
                <a:gd name="T106" fmla="*/ 25 w 588"/>
                <a:gd name="T107" fmla="*/ 47 h 714"/>
                <a:gd name="T108" fmla="*/ 25 w 588"/>
                <a:gd name="T109" fmla="*/ 49 h 714"/>
                <a:gd name="T110" fmla="*/ 25 w 588"/>
                <a:gd name="T111" fmla="*/ 50 h 714"/>
                <a:gd name="T112" fmla="*/ 24 w 588"/>
                <a:gd name="T113" fmla="*/ 51 h 714"/>
                <a:gd name="T114" fmla="*/ 22 w 588"/>
                <a:gd name="T115" fmla="*/ 53 h 714"/>
                <a:gd name="T116" fmla="*/ 23 w 588"/>
                <a:gd name="T117" fmla="*/ 56 h 714"/>
                <a:gd name="T118" fmla="*/ 20 w 588"/>
                <a:gd name="T119" fmla="*/ 58 h 714"/>
                <a:gd name="T120" fmla="*/ 19 w 588"/>
                <a:gd name="T121" fmla="*/ 62 h 7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8"/>
                <a:gd name="T184" fmla="*/ 0 h 714"/>
                <a:gd name="T185" fmla="*/ 588 w 588"/>
                <a:gd name="T186" fmla="*/ 714 h 7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8" h="714">
                  <a:moveTo>
                    <a:pt x="216" y="714"/>
                  </a:moveTo>
                  <a:lnTo>
                    <a:pt x="198" y="702"/>
                  </a:lnTo>
                  <a:lnTo>
                    <a:pt x="186" y="696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74" y="678"/>
                  </a:lnTo>
                  <a:lnTo>
                    <a:pt x="168" y="672"/>
                  </a:lnTo>
                  <a:lnTo>
                    <a:pt x="162" y="666"/>
                  </a:lnTo>
                  <a:lnTo>
                    <a:pt x="156" y="636"/>
                  </a:lnTo>
                  <a:lnTo>
                    <a:pt x="144" y="630"/>
                  </a:lnTo>
                  <a:lnTo>
                    <a:pt x="108" y="630"/>
                  </a:lnTo>
                  <a:lnTo>
                    <a:pt x="102" y="624"/>
                  </a:lnTo>
                  <a:lnTo>
                    <a:pt x="96" y="624"/>
                  </a:lnTo>
                  <a:lnTo>
                    <a:pt x="72" y="624"/>
                  </a:lnTo>
                  <a:lnTo>
                    <a:pt x="54" y="624"/>
                  </a:lnTo>
                  <a:lnTo>
                    <a:pt x="42" y="618"/>
                  </a:lnTo>
                  <a:lnTo>
                    <a:pt x="30" y="612"/>
                  </a:lnTo>
                  <a:lnTo>
                    <a:pt x="6" y="606"/>
                  </a:lnTo>
                  <a:lnTo>
                    <a:pt x="0" y="606"/>
                  </a:lnTo>
                  <a:lnTo>
                    <a:pt x="0" y="570"/>
                  </a:lnTo>
                  <a:lnTo>
                    <a:pt x="6" y="552"/>
                  </a:lnTo>
                  <a:lnTo>
                    <a:pt x="6" y="522"/>
                  </a:lnTo>
                  <a:lnTo>
                    <a:pt x="0" y="510"/>
                  </a:lnTo>
                  <a:lnTo>
                    <a:pt x="0" y="504"/>
                  </a:lnTo>
                  <a:lnTo>
                    <a:pt x="12" y="510"/>
                  </a:lnTo>
                  <a:lnTo>
                    <a:pt x="18" y="510"/>
                  </a:lnTo>
                  <a:lnTo>
                    <a:pt x="30" y="522"/>
                  </a:lnTo>
                  <a:lnTo>
                    <a:pt x="42" y="528"/>
                  </a:lnTo>
                  <a:lnTo>
                    <a:pt x="54" y="534"/>
                  </a:lnTo>
                  <a:lnTo>
                    <a:pt x="66" y="534"/>
                  </a:lnTo>
                  <a:lnTo>
                    <a:pt x="72" y="546"/>
                  </a:lnTo>
                  <a:lnTo>
                    <a:pt x="84" y="546"/>
                  </a:lnTo>
                  <a:lnTo>
                    <a:pt x="96" y="552"/>
                  </a:lnTo>
                  <a:lnTo>
                    <a:pt x="108" y="546"/>
                  </a:lnTo>
                  <a:lnTo>
                    <a:pt x="114" y="540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90" y="504"/>
                  </a:lnTo>
                  <a:lnTo>
                    <a:pt x="84" y="498"/>
                  </a:lnTo>
                  <a:lnTo>
                    <a:pt x="84" y="492"/>
                  </a:lnTo>
                  <a:lnTo>
                    <a:pt x="84" y="456"/>
                  </a:lnTo>
                  <a:lnTo>
                    <a:pt x="114" y="444"/>
                  </a:lnTo>
                  <a:lnTo>
                    <a:pt x="114" y="438"/>
                  </a:lnTo>
                  <a:lnTo>
                    <a:pt x="120" y="420"/>
                  </a:lnTo>
                  <a:lnTo>
                    <a:pt x="126" y="402"/>
                  </a:lnTo>
                  <a:lnTo>
                    <a:pt x="126" y="390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14" y="336"/>
                  </a:lnTo>
                  <a:lnTo>
                    <a:pt x="108" y="324"/>
                  </a:lnTo>
                  <a:lnTo>
                    <a:pt x="108" y="306"/>
                  </a:lnTo>
                  <a:lnTo>
                    <a:pt x="114" y="300"/>
                  </a:lnTo>
                  <a:lnTo>
                    <a:pt x="114" y="294"/>
                  </a:lnTo>
                  <a:lnTo>
                    <a:pt x="132" y="258"/>
                  </a:lnTo>
                  <a:lnTo>
                    <a:pt x="132" y="234"/>
                  </a:lnTo>
                  <a:lnTo>
                    <a:pt x="126" y="168"/>
                  </a:lnTo>
                  <a:lnTo>
                    <a:pt x="120" y="150"/>
                  </a:lnTo>
                  <a:lnTo>
                    <a:pt x="114" y="138"/>
                  </a:lnTo>
                  <a:lnTo>
                    <a:pt x="108" y="126"/>
                  </a:lnTo>
                  <a:lnTo>
                    <a:pt x="108" y="120"/>
                  </a:lnTo>
                  <a:lnTo>
                    <a:pt x="108" y="114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20" y="96"/>
                  </a:lnTo>
                  <a:lnTo>
                    <a:pt x="132" y="102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56" y="90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96"/>
                  </a:lnTo>
                  <a:lnTo>
                    <a:pt x="186" y="96"/>
                  </a:lnTo>
                  <a:lnTo>
                    <a:pt x="192" y="114"/>
                  </a:lnTo>
                  <a:lnTo>
                    <a:pt x="204" y="132"/>
                  </a:lnTo>
                  <a:lnTo>
                    <a:pt x="216" y="144"/>
                  </a:lnTo>
                  <a:lnTo>
                    <a:pt x="240" y="162"/>
                  </a:lnTo>
                  <a:lnTo>
                    <a:pt x="270" y="156"/>
                  </a:lnTo>
                  <a:lnTo>
                    <a:pt x="282" y="126"/>
                  </a:lnTo>
                  <a:lnTo>
                    <a:pt x="282" y="96"/>
                  </a:lnTo>
                  <a:lnTo>
                    <a:pt x="294" y="54"/>
                  </a:lnTo>
                  <a:lnTo>
                    <a:pt x="324" y="48"/>
                  </a:lnTo>
                  <a:lnTo>
                    <a:pt x="342" y="48"/>
                  </a:lnTo>
                  <a:lnTo>
                    <a:pt x="384" y="48"/>
                  </a:lnTo>
                  <a:lnTo>
                    <a:pt x="390" y="30"/>
                  </a:lnTo>
                  <a:lnTo>
                    <a:pt x="402" y="18"/>
                  </a:lnTo>
                  <a:lnTo>
                    <a:pt x="438" y="6"/>
                  </a:lnTo>
                  <a:lnTo>
                    <a:pt x="438" y="0"/>
                  </a:lnTo>
                  <a:lnTo>
                    <a:pt x="444" y="0"/>
                  </a:lnTo>
                  <a:lnTo>
                    <a:pt x="444" y="6"/>
                  </a:lnTo>
                  <a:lnTo>
                    <a:pt x="450" y="6"/>
                  </a:lnTo>
                  <a:lnTo>
                    <a:pt x="456" y="12"/>
                  </a:lnTo>
                  <a:lnTo>
                    <a:pt x="456" y="18"/>
                  </a:lnTo>
                  <a:lnTo>
                    <a:pt x="462" y="24"/>
                  </a:lnTo>
                  <a:lnTo>
                    <a:pt x="462" y="30"/>
                  </a:lnTo>
                  <a:lnTo>
                    <a:pt x="468" y="36"/>
                  </a:lnTo>
                  <a:lnTo>
                    <a:pt x="462" y="36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74" y="60"/>
                  </a:lnTo>
                  <a:lnTo>
                    <a:pt x="486" y="78"/>
                  </a:lnTo>
                  <a:lnTo>
                    <a:pt x="486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8" y="102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498" y="114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504" y="126"/>
                  </a:lnTo>
                  <a:lnTo>
                    <a:pt x="498" y="132"/>
                  </a:lnTo>
                  <a:lnTo>
                    <a:pt x="504" y="138"/>
                  </a:lnTo>
                  <a:lnTo>
                    <a:pt x="504" y="132"/>
                  </a:lnTo>
                  <a:lnTo>
                    <a:pt x="510" y="132"/>
                  </a:lnTo>
                  <a:lnTo>
                    <a:pt x="510" y="138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56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6" y="168"/>
                  </a:lnTo>
                  <a:lnTo>
                    <a:pt x="552" y="168"/>
                  </a:lnTo>
                  <a:lnTo>
                    <a:pt x="546" y="168"/>
                  </a:lnTo>
                  <a:lnTo>
                    <a:pt x="546" y="174"/>
                  </a:lnTo>
                  <a:lnTo>
                    <a:pt x="558" y="180"/>
                  </a:lnTo>
                  <a:lnTo>
                    <a:pt x="564" y="180"/>
                  </a:lnTo>
                  <a:lnTo>
                    <a:pt x="564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52" y="198"/>
                  </a:lnTo>
                  <a:lnTo>
                    <a:pt x="558" y="204"/>
                  </a:lnTo>
                  <a:lnTo>
                    <a:pt x="564" y="204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22"/>
                  </a:lnTo>
                  <a:lnTo>
                    <a:pt x="576" y="228"/>
                  </a:lnTo>
                  <a:lnTo>
                    <a:pt x="570" y="228"/>
                  </a:lnTo>
                  <a:lnTo>
                    <a:pt x="570" y="234"/>
                  </a:lnTo>
                  <a:lnTo>
                    <a:pt x="576" y="234"/>
                  </a:lnTo>
                  <a:lnTo>
                    <a:pt x="582" y="234"/>
                  </a:lnTo>
                  <a:lnTo>
                    <a:pt x="588" y="234"/>
                  </a:lnTo>
                  <a:lnTo>
                    <a:pt x="588" y="240"/>
                  </a:lnTo>
                  <a:lnTo>
                    <a:pt x="588" y="246"/>
                  </a:lnTo>
                  <a:lnTo>
                    <a:pt x="588" y="252"/>
                  </a:lnTo>
                  <a:lnTo>
                    <a:pt x="582" y="252"/>
                  </a:lnTo>
                  <a:lnTo>
                    <a:pt x="576" y="252"/>
                  </a:lnTo>
                  <a:lnTo>
                    <a:pt x="582" y="258"/>
                  </a:lnTo>
                  <a:lnTo>
                    <a:pt x="582" y="264"/>
                  </a:lnTo>
                  <a:lnTo>
                    <a:pt x="576" y="264"/>
                  </a:lnTo>
                  <a:lnTo>
                    <a:pt x="546" y="264"/>
                  </a:lnTo>
                  <a:lnTo>
                    <a:pt x="546" y="276"/>
                  </a:lnTo>
                  <a:lnTo>
                    <a:pt x="540" y="282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40" y="324"/>
                  </a:lnTo>
                  <a:lnTo>
                    <a:pt x="552" y="330"/>
                  </a:lnTo>
                  <a:lnTo>
                    <a:pt x="558" y="342"/>
                  </a:lnTo>
                  <a:lnTo>
                    <a:pt x="546" y="372"/>
                  </a:lnTo>
                  <a:lnTo>
                    <a:pt x="534" y="372"/>
                  </a:lnTo>
                  <a:lnTo>
                    <a:pt x="534" y="384"/>
                  </a:lnTo>
                  <a:lnTo>
                    <a:pt x="522" y="384"/>
                  </a:lnTo>
                  <a:lnTo>
                    <a:pt x="510" y="402"/>
                  </a:lnTo>
                  <a:lnTo>
                    <a:pt x="504" y="420"/>
                  </a:lnTo>
                  <a:lnTo>
                    <a:pt x="492" y="426"/>
                  </a:lnTo>
                  <a:lnTo>
                    <a:pt x="486" y="432"/>
                  </a:lnTo>
                  <a:lnTo>
                    <a:pt x="486" y="444"/>
                  </a:lnTo>
                  <a:lnTo>
                    <a:pt x="486" y="450"/>
                  </a:lnTo>
                  <a:lnTo>
                    <a:pt x="486" y="456"/>
                  </a:lnTo>
                  <a:lnTo>
                    <a:pt x="486" y="462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80" y="474"/>
                  </a:lnTo>
                  <a:lnTo>
                    <a:pt x="480" y="480"/>
                  </a:lnTo>
                  <a:lnTo>
                    <a:pt x="480" y="486"/>
                  </a:lnTo>
                  <a:lnTo>
                    <a:pt x="480" y="492"/>
                  </a:lnTo>
                  <a:lnTo>
                    <a:pt x="480" y="498"/>
                  </a:lnTo>
                  <a:lnTo>
                    <a:pt x="474" y="504"/>
                  </a:lnTo>
                  <a:lnTo>
                    <a:pt x="468" y="510"/>
                  </a:lnTo>
                  <a:lnTo>
                    <a:pt x="462" y="510"/>
                  </a:lnTo>
                  <a:lnTo>
                    <a:pt x="456" y="504"/>
                  </a:lnTo>
                  <a:lnTo>
                    <a:pt x="456" y="498"/>
                  </a:lnTo>
                  <a:lnTo>
                    <a:pt x="450" y="498"/>
                  </a:lnTo>
                  <a:lnTo>
                    <a:pt x="444" y="498"/>
                  </a:lnTo>
                  <a:lnTo>
                    <a:pt x="438" y="498"/>
                  </a:lnTo>
                  <a:lnTo>
                    <a:pt x="432" y="498"/>
                  </a:lnTo>
                  <a:lnTo>
                    <a:pt x="426" y="504"/>
                  </a:lnTo>
                  <a:lnTo>
                    <a:pt x="426" y="510"/>
                  </a:lnTo>
                  <a:lnTo>
                    <a:pt x="420" y="516"/>
                  </a:lnTo>
                  <a:lnTo>
                    <a:pt x="414" y="522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84" y="528"/>
                  </a:lnTo>
                  <a:lnTo>
                    <a:pt x="366" y="540"/>
                  </a:lnTo>
                  <a:lnTo>
                    <a:pt x="360" y="522"/>
                  </a:lnTo>
                  <a:lnTo>
                    <a:pt x="348" y="504"/>
                  </a:lnTo>
                  <a:lnTo>
                    <a:pt x="330" y="504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34"/>
                  </a:lnTo>
                  <a:lnTo>
                    <a:pt x="288" y="540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2" y="540"/>
                  </a:lnTo>
                  <a:lnTo>
                    <a:pt x="282" y="546"/>
                  </a:lnTo>
                  <a:lnTo>
                    <a:pt x="288" y="552"/>
                  </a:lnTo>
                  <a:lnTo>
                    <a:pt x="294" y="564"/>
                  </a:lnTo>
                  <a:lnTo>
                    <a:pt x="300" y="564"/>
                  </a:lnTo>
                  <a:lnTo>
                    <a:pt x="300" y="570"/>
                  </a:lnTo>
                  <a:lnTo>
                    <a:pt x="294" y="570"/>
                  </a:lnTo>
                  <a:lnTo>
                    <a:pt x="288" y="570"/>
                  </a:lnTo>
                  <a:lnTo>
                    <a:pt x="288" y="576"/>
                  </a:lnTo>
                  <a:lnTo>
                    <a:pt x="288" y="582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606"/>
                  </a:lnTo>
                  <a:lnTo>
                    <a:pt x="264" y="612"/>
                  </a:lnTo>
                  <a:lnTo>
                    <a:pt x="258" y="612"/>
                  </a:lnTo>
                  <a:lnTo>
                    <a:pt x="252" y="612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52" y="630"/>
                  </a:lnTo>
                  <a:lnTo>
                    <a:pt x="264" y="642"/>
                  </a:lnTo>
                  <a:lnTo>
                    <a:pt x="258" y="648"/>
                  </a:lnTo>
                  <a:lnTo>
                    <a:pt x="246" y="654"/>
                  </a:lnTo>
                  <a:lnTo>
                    <a:pt x="240" y="660"/>
                  </a:lnTo>
                  <a:lnTo>
                    <a:pt x="234" y="672"/>
                  </a:lnTo>
                  <a:lnTo>
                    <a:pt x="234" y="678"/>
                  </a:lnTo>
                  <a:lnTo>
                    <a:pt x="228" y="684"/>
                  </a:lnTo>
                  <a:lnTo>
                    <a:pt x="228" y="696"/>
                  </a:lnTo>
                  <a:lnTo>
                    <a:pt x="216" y="71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6" name="Freeform 21">
              <a:extLst>
                <a:ext uri="{FF2B5EF4-FFF2-40B4-BE49-F238E27FC236}">
                  <a16:creationId xmlns:a16="http://schemas.microsoft.com/office/drawing/2014/main" id="{DCB1E808-522D-4C19-B741-CC5DD56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4178" y="3866464"/>
              <a:ext cx="250453" cy="371259"/>
            </a:xfrm>
            <a:custGeom>
              <a:avLst/>
              <a:gdLst>
                <a:gd name="T0" fmla="*/ 0 w 468"/>
                <a:gd name="T1" fmla="*/ 61 h 696"/>
                <a:gd name="T2" fmla="*/ 1 w 468"/>
                <a:gd name="T3" fmla="*/ 58 h 696"/>
                <a:gd name="T4" fmla="*/ 2 w 468"/>
                <a:gd name="T5" fmla="*/ 54 h 696"/>
                <a:gd name="T6" fmla="*/ 3 w 468"/>
                <a:gd name="T7" fmla="*/ 51 h 696"/>
                <a:gd name="T8" fmla="*/ 4 w 468"/>
                <a:gd name="T9" fmla="*/ 48 h 696"/>
                <a:gd name="T10" fmla="*/ 6 w 468"/>
                <a:gd name="T11" fmla="*/ 44 h 696"/>
                <a:gd name="T12" fmla="*/ 5 w 468"/>
                <a:gd name="T13" fmla="*/ 41 h 696"/>
                <a:gd name="T14" fmla="*/ 7 w 468"/>
                <a:gd name="T15" fmla="*/ 38 h 696"/>
                <a:gd name="T16" fmla="*/ 8 w 468"/>
                <a:gd name="T17" fmla="*/ 36 h 696"/>
                <a:gd name="T18" fmla="*/ 7 w 468"/>
                <a:gd name="T19" fmla="*/ 33 h 696"/>
                <a:gd name="T20" fmla="*/ 6 w 468"/>
                <a:gd name="T21" fmla="*/ 29 h 696"/>
                <a:gd name="T22" fmla="*/ 4 w 468"/>
                <a:gd name="T23" fmla="*/ 22 h 696"/>
                <a:gd name="T24" fmla="*/ 2 w 468"/>
                <a:gd name="T25" fmla="*/ 14 h 696"/>
                <a:gd name="T26" fmla="*/ 12 w 468"/>
                <a:gd name="T27" fmla="*/ 11 h 696"/>
                <a:gd name="T28" fmla="*/ 14 w 468"/>
                <a:gd name="T29" fmla="*/ 2 h 696"/>
                <a:gd name="T30" fmla="*/ 16 w 468"/>
                <a:gd name="T31" fmla="*/ 0 h 696"/>
                <a:gd name="T32" fmla="*/ 17 w 468"/>
                <a:gd name="T33" fmla="*/ 0 h 696"/>
                <a:gd name="T34" fmla="*/ 18 w 468"/>
                <a:gd name="T35" fmla="*/ 1 h 696"/>
                <a:gd name="T36" fmla="*/ 17 w 468"/>
                <a:gd name="T37" fmla="*/ 2 h 696"/>
                <a:gd name="T38" fmla="*/ 17 w 468"/>
                <a:gd name="T39" fmla="*/ 4 h 696"/>
                <a:gd name="T40" fmla="*/ 17 w 468"/>
                <a:gd name="T41" fmla="*/ 6 h 696"/>
                <a:gd name="T42" fmla="*/ 20 w 468"/>
                <a:gd name="T43" fmla="*/ 6 h 696"/>
                <a:gd name="T44" fmla="*/ 22 w 468"/>
                <a:gd name="T45" fmla="*/ 5 h 696"/>
                <a:gd name="T46" fmla="*/ 24 w 468"/>
                <a:gd name="T47" fmla="*/ 7 h 696"/>
                <a:gd name="T48" fmla="*/ 28 w 468"/>
                <a:gd name="T49" fmla="*/ 7 h 696"/>
                <a:gd name="T50" fmla="*/ 28 w 468"/>
                <a:gd name="T51" fmla="*/ 11 h 696"/>
                <a:gd name="T52" fmla="*/ 25 w 468"/>
                <a:gd name="T53" fmla="*/ 14 h 696"/>
                <a:gd name="T54" fmla="*/ 23 w 468"/>
                <a:gd name="T55" fmla="*/ 15 h 696"/>
                <a:gd name="T56" fmla="*/ 23 w 468"/>
                <a:gd name="T57" fmla="*/ 19 h 696"/>
                <a:gd name="T58" fmla="*/ 23 w 468"/>
                <a:gd name="T59" fmla="*/ 21 h 696"/>
                <a:gd name="T60" fmla="*/ 24 w 468"/>
                <a:gd name="T61" fmla="*/ 21 h 696"/>
                <a:gd name="T62" fmla="*/ 27 w 468"/>
                <a:gd name="T63" fmla="*/ 23 h 696"/>
                <a:gd name="T64" fmla="*/ 29 w 468"/>
                <a:gd name="T65" fmla="*/ 24 h 696"/>
                <a:gd name="T66" fmla="*/ 29 w 468"/>
                <a:gd name="T67" fmla="*/ 28 h 696"/>
                <a:gd name="T68" fmla="*/ 29 w 468"/>
                <a:gd name="T69" fmla="*/ 29 h 696"/>
                <a:gd name="T70" fmla="*/ 29 w 468"/>
                <a:gd name="T71" fmla="*/ 32 h 696"/>
                <a:gd name="T72" fmla="*/ 32 w 468"/>
                <a:gd name="T73" fmla="*/ 32 h 696"/>
                <a:gd name="T74" fmla="*/ 33 w 468"/>
                <a:gd name="T75" fmla="*/ 35 h 696"/>
                <a:gd name="T76" fmla="*/ 34 w 468"/>
                <a:gd name="T77" fmla="*/ 38 h 696"/>
                <a:gd name="T78" fmla="*/ 35 w 468"/>
                <a:gd name="T79" fmla="*/ 39 h 696"/>
                <a:gd name="T80" fmla="*/ 36 w 468"/>
                <a:gd name="T81" fmla="*/ 40 h 696"/>
                <a:gd name="T82" fmla="*/ 37 w 468"/>
                <a:gd name="T83" fmla="*/ 41 h 696"/>
                <a:gd name="T84" fmla="*/ 38 w 468"/>
                <a:gd name="T85" fmla="*/ 42 h 696"/>
                <a:gd name="T86" fmla="*/ 41 w 468"/>
                <a:gd name="T87" fmla="*/ 44 h 696"/>
                <a:gd name="T88" fmla="*/ 40 w 468"/>
                <a:gd name="T89" fmla="*/ 44 h 696"/>
                <a:gd name="T90" fmla="*/ 37 w 468"/>
                <a:gd name="T91" fmla="*/ 45 h 696"/>
                <a:gd name="T92" fmla="*/ 36 w 468"/>
                <a:gd name="T93" fmla="*/ 48 h 696"/>
                <a:gd name="T94" fmla="*/ 34 w 468"/>
                <a:gd name="T95" fmla="*/ 49 h 696"/>
                <a:gd name="T96" fmla="*/ 32 w 468"/>
                <a:gd name="T97" fmla="*/ 51 h 696"/>
                <a:gd name="T98" fmla="*/ 31 w 468"/>
                <a:gd name="T99" fmla="*/ 51 h 696"/>
                <a:gd name="T100" fmla="*/ 26 w 468"/>
                <a:gd name="T101" fmla="*/ 49 h 696"/>
                <a:gd name="T102" fmla="*/ 23 w 468"/>
                <a:gd name="T103" fmla="*/ 51 h 696"/>
                <a:gd name="T104" fmla="*/ 21 w 468"/>
                <a:gd name="T105" fmla="*/ 51 h 696"/>
                <a:gd name="T106" fmla="*/ 20 w 468"/>
                <a:gd name="T107" fmla="*/ 52 h 696"/>
                <a:gd name="T108" fmla="*/ 17 w 468"/>
                <a:gd name="T109" fmla="*/ 55 h 696"/>
                <a:gd name="T110" fmla="*/ 15 w 468"/>
                <a:gd name="T111" fmla="*/ 56 h 696"/>
                <a:gd name="T112" fmla="*/ 15 w 468"/>
                <a:gd name="T113" fmla="*/ 59 h 696"/>
                <a:gd name="T114" fmla="*/ 14 w 468"/>
                <a:gd name="T115" fmla="*/ 59 h 696"/>
                <a:gd name="T116" fmla="*/ 12 w 468"/>
                <a:gd name="T117" fmla="*/ 59 h 696"/>
                <a:gd name="T118" fmla="*/ 11 w 468"/>
                <a:gd name="T119" fmla="*/ 57 h 696"/>
                <a:gd name="T120" fmla="*/ 9 w 468"/>
                <a:gd name="T121" fmla="*/ 57 h 696"/>
                <a:gd name="T122" fmla="*/ 6 w 468"/>
                <a:gd name="T123" fmla="*/ 58 h 696"/>
                <a:gd name="T124" fmla="*/ 4 w 468"/>
                <a:gd name="T125" fmla="*/ 60 h 69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8"/>
                <a:gd name="T190" fmla="*/ 0 h 696"/>
                <a:gd name="T191" fmla="*/ 468 w 468"/>
                <a:gd name="T192" fmla="*/ 696 h 69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8" h="696">
                  <a:moveTo>
                    <a:pt x="30" y="696"/>
                  </a:moveTo>
                  <a:lnTo>
                    <a:pt x="18" y="696"/>
                  </a:lnTo>
                  <a:lnTo>
                    <a:pt x="6" y="696"/>
                  </a:lnTo>
                  <a:lnTo>
                    <a:pt x="0" y="690"/>
                  </a:lnTo>
                  <a:lnTo>
                    <a:pt x="6" y="678"/>
                  </a:lnTo>
                  <a:lnTo>
                    <a:pt x="12" y="666"/>
                  </a:lnTo>
                  <a:lnTo>
                    <a:pt x="18" y="654"/>
                  </a:lnTo>
                  <a:lnTo>
                    <a:pt x="18" y="642"/>
                  </a:lnTo>
                  <a:lnTo>
                    <a:pt x="18" y="618"/>
                  </a:lnTo>
                  <a:lnTo>
                    <a:pt x="24" y="606"/>
                  </a:lnTo>
                  <a:lnTo>
                    <a:pt x="30" y="594"/>
                  </a:lnTo>
                  <a:lnTo>
                    <a:pt x="30" y="582"/>
                  </a:lnTo>
                  <a:lnTo>
                    <a:pt x="36" y="576"/>
                  </a:lnTo>
                  <a:lnTo>
                    <a:pt x="42" y="564"/>
                  </a:lnTo>
                  <a:lnTo>
                    <a:pt x="48" y="546"/>
                  </a:lnTo>
                  <a:lnTo>
                    <a:pt x="48" y="528"/>
                  </a:lnTo>
                  <a:lnTo>
                    <a:pt x="60" y="516"/>
                  </a:lnTo>
                  <a:lnTo>
                    <a:pt x="66" y="504"/>
                  </a:lnTo>
                  <a:lnTo>
                    <a:pt x="66" y="492"/>
                  </a:lnTo>
                  <a:lnTo>
                    <a:pt x="60" y="480"/>
                  </a:lnTo>
                  <a:lnTo>
                    <a:pt x="54" y="468"/>
                  </a:lnTo>
                  <a:lnTo>
                    <a:pt x="60" y="456"/>
                  </a:lnTo>
                  <a:lnTo>
                    <a:pt x="72" y="450"/>
                  </a:lnTo>
                  <a:lnTo>
                    <a:pt x="84" y="438"/>
                  </a:lnTo>
                  <a:lnTo>
                    <a:pt x="90" y="426"/>
                  </a:lnTo>
                  <a:lnTo>
                    <a:pt x="90" y="420"/>
                  </a:lnTo>
                  <a:lnTo>
                    <a:pt x="90" y="408"/>
                  </a:lnTo>
                  <a:lnTo>
                    <a:pt x="90" y="402"/>
                  </a:lnTo>
                  <a:lnTo>
                    <a:pt x="84" y="396"/>
                  </a:lnTo>
                  <a:lnTo>
                    <a:pt x="78" y="378"/>
                  </a:lnTo>
                  <a:lnTo>
                    <a:pt x="72" y="360"/>
                  </a:lnTo>
                  <a:lnTo>
                    <a:pt x="66" y="348"/>
                  </a:lnTo>
                  <a:lnTo>
                    <a:pt x="72" y="336"/>
                  </a:lnTo>
                  <a:lnTo>
                    <a:pt x="66" y="306"/>
                  </a:lnTo>
                  <a:lnTo>
                    <a:pt x="54" y="276"/>
                  </a:lnTo>
                  <a:lnTo>
                    <a:pt x="42" y="252"/>
                  </a:lnTo>
                  <a:lnTo>
                    <a:pt x="36" y="222"/>
                  </a:lnTo>
                  <a:lnTo>
                    <a:pt x="30" y="192"/>
                  </a:lnTo>
                  <a:lnTo>
                    <a:pt x="24" y="162"/>
                  </a:lnTo>
                  <a:lnTo>
                    <a:pt x="42" y="174"/>
                  </a:lnTo>
                  <a:lnTo>
                    <a:pt x="120" y="138"/>
                  </a:lnTo>
                  <a:lnTo>
                    <a:pt x="132" y="126"/>
                  </a:lnTo>
                  <a:lnTo>
                    <a:pt x="120" y="54"/>
                  </a:lnTo>
                  <a:lnTo>
                    <a:pt x="156" y="30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0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8" y="18"/>
                  </a:lnTo>
                  <a:lnTo>
                    <a:pt x="198" y="24"/>
                  </a:lnTo>
                  <a:lnTo>
                    <a:pt x="198" y="30"/>
                  </a:lnTo>
                  <a:lnTo>
                    <a:pt x="198" y="42"/>
                  </a:lnTo>
                  <a:lnTo>
                    <a:pt x="198" y="48"/>
                  </a:lnTo>
                  <a:lnTo>
                    <a:pt x="192" y="60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28" y="60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34" y="60"/>
                  </a:lnTo>
                  <a:lnTo>
                    <a:pt x="252" y="60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312" y="84"/>
                  </a:lnTo>
                  <a:lnTo>
                    <a:pt x="318" y="96"/>
                  </a:lnTo>
                  <a:lnTo>
                    <a:pt x="318" y="102"/>
                  </a:lnTo>
                  <a:lnTo>
                    <a:pt x="312" y="120"/>
                  </a:lnTo>
                  <a:lnTo>
                    <a:pt x="306" y="132"/>
                  </a:lnTo>
                  <a:lnTo>
                    <a:pt x="294" y="144"/>
                  </a:lnTo>
                  <a:lnTo>
                    <a:pt x="282" y="156"/>
                  </a:lnTo>
                  <a:lnTo>
                    <a:pt x="276" y="162"/>
                  </a:lnTo>
                  <a:lnTo>
                    <a:pt x="270" y="162"/>
                  </a:lnTo>
                  <a:lnTo>
                    <a:pt x="264" y="174"/>
                  </a:lnTo>
                  <a:lnTo>
                    <a:pt x="264" y="192"/>
                  </a:lnTo>
                  <a:lnTo>
                    <a:pt x="264" y="216"/>
                  </a:lnTo>
                  <a:lnTo>
                    <a:pt x="258" y="216"/>
                  </a:lnTo>
                  <a:lnTo>
                    <a:pt x="258" y="228"/>
                  </a:lnTo>
                  <a:lnTo>
                    <a:pt x="252" y="234"/>
                  </a:lnTo>
                  <a:lnTo>
                    <a:pt x="258" y="240"/>
                  </a:lnTo>
                  <a:lnTo>
                    <a:pt x="264" y="240"/>
                  </a:lnTo>
                  <a:lnTo>
                    <a:pt x="270" y="240"/>
                  </a:lnTo>
                  <a:lnTo>
                    <a:pt x="276" y="240"/>
                  </a:lnTo>
                  <a:lnTo>
                    <a:pt x="288" y="240"/>
                  </a:lnTo>
                  <a:lnTo>
                    <a:pt x="300" y="246"/>
                  </a:lnTo>
                  <a:lnTo>
                    <a:pt x="306" y="258"/>
                  </a:lnTo>
                  <a:lnTo>
                    <a:pt x="312" y="264"/>
                  </a:lnTo>
                  <a:lnTo>
                    <a:pt x="318" y="276"/>
                  </a:lnTo>
                  <a:lnTo>
                    <a:pt x="330" y="282"/>
                  </a:lnTo>
                  <a:lnTo>
                    <a:pt x="330" y="300"/>
                  </a:lnTo>
                  <a:lnTo>
                    <a:pt x="336" y="312"/>
                  </a:lnTo>
                  <a:lnTo>
                    <a:pt x="336" y="318"/>
                  </a:lnTo>
                  <a:lnTo>
                    <a:pt x="336" y="330"/>
                  </a:lnTo>
                  <a:lnTo>
                    <a:pt x="324" y="330"/>
                  </a:lnTo>
                  <a:lnTo>
                    <a:pt x="330" y="336"/>
                  </a:lnTo>
                  <a:lnTo>
                    <a:pt x="330" y="342"/>
                  </a:lnTo>
                  <a:lnTo>
                    <a:pt x="336" y="348"/>
                  </a:lnTo>
                  <a:lnTo>
                    <a:pt x="330" y="360"/>
                  </a:lnTo>
                  <a:lnTo>
                    <a:pt x="336" y="372"/>
                  </a:lnTo>
                  <a:lnTo>
                    <a:pt x="354" y="366"/>
                  </a:lnTo>
                  <a:lnTo>
                    <a:pt x="366" y="366"/>
                  </a:lnTo>
                  <a:lnTo>
                    <a:pt x="372" y="378"/>
                  </a:lnTo>
                  <a:lnTo>
                    <a:pt x="372" y="390"/>
                  </a:lnTo>
                  <a:lnTo>
                    <a:pt x="378" y="396"/>
                  </a:lnTo>
                  <a:lnTo>
                    <a:pt x="378" y="408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44"/>
                  </a:lnTo>
                  <a:lnTo>
                    <a:pt x="390" y="444"/>
                  </a:lnTo>
                  <a:lnTo>
                    <a:pt x="396" y="444"/>
                  </a:lnTo>
                  <a:lnTo>
                    <a:pt x="402" y="450"/>
                  </a:lnTo>
                  <a:lnTo>
                    <a:pt x="408" y="450"/>
                  </a:lnTo>
                  <a:lnTo>
                    <a:pt x="408" y="462"/>
                  </a:lnTo>
                  <a:lnTo>
                    <a:pt x="408" y="468"/>
                  </a:lnTo>
                  <a:lnTo>
                    <a:pt x="414" y="474"/>
                  </a:lnTo>
                  <a:lnTo>
                    <a:pt x="420" y="474"/>
                  </a:lnTo>
                  <a:lnTo>
                    <a:pt x="420" y="480"/>
                  </a:lnTo>
                  <a:lnTo>
                    <a:pt x="426" y="480"/>
                  </a:lnTo>
                  <a:lnTo>
                    <a:pt x="432" y="480"/>
                  </a:lnTo>
                  <a:lnTo>
                    <a:pt x="462" y="486"/>
                  </a:lnTo>
                  <a:lnTo>
                    <a:pt x="468" y="492"/>
                  </a:lnTo>
                  <a:lnTo>
                    <a:pt x="468" y="498"/>
                  </a:lnTo>
                  <a:lnTo>
                    <a:pt x="462" y="498"/>
                  </a:lnTo>
                  <a:lnTo>
                    <a:pt x="456" y="498"/>
                  </a:lnTo>
                  <a:lnTo>
                    <a:pt x="456" y="504"/>
                  </a:lnTo>
                  <a:lnTo>
                    <a:pt x="456" y="510"/>
                  </a:lnTo>
                  <a:lnTo>
                    <a:pt x="450" y="516"/>
                  </a:lnTo>
                  <a:lnTo>
                    <a:pt x="426" y="516"/>
                  </a:lnTo>
                  <a:lnTo>
                    <a:pt x="408" y="528"/>
                  </a:lnTo>
                  <a:lnTo>
                    <a:pt x="408" y="546"/>
                  </a:lnTo>
                  <a:lnTo>
                    <a:pt x="414" y="552"/>
                  </a:lnTo>
                  <a:lnTo>
                    <a:pt x="408" y="558"/>
                  </a:lnTo>
                  <a:lnTo>
                    <a:pt x="402" y="564"/>
                  </a:lnTo>
                  <a:lnTo>
                    <a:pt x="384" y="564"/>
                  </a:lnTo>
                  <a:lnTo>
                    <a:pt x="372" y="564"/>
                  </a:lnTo>
                  <a:lnTo>
                    <a:pt x="372" y="576"/>
                  </a:lnTo>
                  <a:lnTo>
                    <a:pt x="366" y="576"/>
                  </a:lnTo>
                  <a:lnTo>
                    <a:pt x="366" y="582"/>
                  </a:lnTo>
                  <a:lnTo>
                    <a:pt x="360" y="582"/>
                  </a:lnTo>
                  <a:lnTo>
                    <a:pt x="348" y="576"/>
                  </a:lnTo>
                  <a:lnTo>
                    <a:pt x="336" y="570"/>
                  </a:lnTo>
                  <a:lnTo>
                    <a:pt x="324" y="570"/>
                  </a:lnTo>
                  <a:lnTo>
                    <a:pt x="300" y="564"/>
                  </a:lnTo>
                  <a:lnTo>
                    <a:pt x="282" y="564"/>
                  </a:lnTo>
                  <a:lnTo>
                    <a:pt x="270" y="570"/>
                  </a:lnTo>
                  <a:lnTo>
                    <a:pt x="264" y="576"/>
                  </a:lnTo>
                  <a:lnTo>
                    <a:pt x="258" y="576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34" y="594"/>
                  </a:lnTo>
                  <a:lnTo>
                    <a:pt x="228" y="600"/>
                  </a:lnTo>
                  <a:lnTo>
                    <a:pt x="210" y="618"/>
                  </a:lnTo>
                  <a:lnTo>
                    <a:pt x="210" y="624"/>
                  </a:lnTo>
                  <a:lnTo>
                    <a:pt x="192" y="630"/>
                  </a:lnTo>
                  <a:lnTo>
                    <a:pt x="186" y="630"/>
                  </a:lnTo>
                  <a:lnTo>
                    <a:pt x="180" y="636"/>
                  </a:lnTo>
                  <a:lnTo>
                    <a:pt x="174" y="642"/>
                  </a:lnTo>
                  <a:lnTo>
                    <a:pt x="168" y="642"/>
                  </a:lnTo>
                  <a:lnTo>
                    <a:pt x="168" y="654"/>
                  </a:lnTo>
                  <a:lnTo>
                    <a:pt x="168" y="678"/>
                  </a:lnTo>
                  <a:lnTo>
                    <a:pt x="162" y="684"/>
                  </a:lnTo>
                  <a:lnTo>
                    <a:pt x="156" y="684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72"/>
                  </a:lnTo>
                  <a:lnTo>
                    <a:pt x="138" y="672"/>
                  </a:lnTo>
                  <a:lnTo>
                    <a:pt x="138" y="666"/>
                  </a:lnTo>
                  <a:lnTo>
                    <a:pt x="132" y="660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48"/>
                  </a:lnTo>
                  <a:lnTo>
                    <a:pt x="102" y="654"/>
                  </a:lnTo>
                  <a:lnTo>
                    <a:pt x="90" y="654"/>
                  </a:lnTo>
                  <a:lnTo>
                    <a:pt x="84" y="654"/>
                  </a:lnTo>
                  <a:lnTo>
                    <a:pt x="72" y="660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36" y="684"/>
                  </a:lnTo>
                  <a:lnTo>
                    <a:pt x="30" y="6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7" name="Freeform 22">
              <a:extLst>
                <a:ext uri="{FF2B5EF4-FFF2-40B4-BE49-F238E27FC236}">
                  <a16:creationId xmlns:a16="http://schemas.microsoft.com/office/drawing/2014/main" id="{2F7A477D-6CF8-44B3-8B32-64EE03DC4D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2895" y="3967106"/>
              <a:ext cx="610479" cy="507686"/>
            </a:xfrm>
            <a:custGeom>
              <a:avLst/>
              <a:gdLst>
                <a:gd name="T0" fmla="*/ 87 w 1146"/>
                <a:gd name="T1" fmla="*/ 56 h 954"/>
                <a:gd name="T2" fmla="*/ 83 w 1146"/>
                <a:gd name="T3" fmla="*/ 66 h 954"/>
                <a:gd name="T4" fmla="*/ 74 w 1146"/>
                <a:gd name="T5" fmla="*/ 69 h 954"/>
                <a:gd name="T6" fmla="*/ 67 w 1146"/>
                <a:gd name="T7" fmla="*/ 75 h 954"/>
                <a:gd name="T8" fmla="*/ 59 w 1146"/>
                <a:gd name="T9" fmla="*/ 78 h 954"/>
                <a:gd name="T10" fmla="*/ 52 w 1146"/>
                <a:gd name="T11" fmla="*/ 77 h 954"/>
                <a:gd name="T12" fmla="*/ 48 w 1146"/>
                <a:gd name="T13" fmla="*/ 79 h 954"/>
                <a:gd name="T14" fmla="*/ 41 w 1146"/>
                <a:gd name="T15" fmla="*/ 82 h 954"/>
                <a:gd name="T16" fmla="*/ 29 w 1146"/>
                <a:gd name="T17" fmla="*/ 78 h 954"/>
                <a:gd name="T18" fmla="*/ 28 w 1146"/>
                <a:gd name="T19" fmla="*/ 76 h 954"/>
                <a:gd name="T20" fmla="*/ 28 w 1146"/>
                <a:gd name="T21" fmla="*/ 72 h 954"/>
                <a:gd name="T22" fmla="*/ 28 w 1146"/>
                <a:gd name="T23" fmla="*/ 74 h 954"/>
                <a:gd name="T24" fmla="*/ 21 w 1146"/>
                <a:gd name="T25" fmla="*/ 74 h 954"/>
                <a:gd name="T26" fmla="*/ 20 w 1146"/>
                <a:gd name="T27" fmla="*/ 67 h 954"/>
                <a:gd name="T28" fmla="*/ 23 w 1146"/>
                <a:gd name="T29" fmla="*/ 64 h 954"/>
                <a:gd name="T30" fmla="*/ 28 w 1146"/>
                <a:gd name="T31" fmla="*/ 65 h 954"/>
                <a:gd name="T32" fmla="*/ 32 w 1146"/>
                <a:gd name="T33" fmla="*/ 62 h 954"/>
                <a:gd name="T34" fmla="*/ 31 w 1146"/>
                <a:gd name="T35" fmla="*/ 56 h 954"/>
                <a:gd name="T36" fmla="*/ 36 w 1146"/>
                <a:gd name="T37" fmla="*/ 54 h 954"/>
                <a:gd name="T38" fmla="*/ 38 w 1146"/>
                <a:gd name="T39" fmla="*/ 54 h 954"/>
                <a:gd name="T40" fmla="*/ 32 w 1146"/>
                <a:gd name="T41" fmla="*/ 54 h 954"/>
                <a:gd name="T42" fmla="*/ 29 w 1146"/>
                <a:gd name="T43" fmla="*/ 59 h 954"/>
                <a:gd name="T44" fmla="*/ 26 w 1146"/>
                <a:gd name="T45" fmla="*/ 59 h 954"/>
                <a:gd name="T46" fmla="*/ 25 w 1146"/>
                <a:gd name="T47" fmla="*/ 61 h 954"/>
                <a:gd name="T48" fmla="*/ 20 w 1146"/>
                <a:gd name="T49" fmla="*/ 61 h 954"/>
                <a:gd name="T50" fmla="*/ 11 w 1146"/>
                <a:gd name="T51" fmla="*/ 54 h 954"/>
                <a:gd name="T52" fmla="*/ 14 w 1146"/>
                <a:gd name="T53" fmla="*/ 50 h 954"/>
                <a:gd name="T54" fmla="*/ 21 w 1146"/>
                <a:gd name="T55" fmla="*/ 51 h 954"/>
                <a:gd name="T56" fmla="*/ 24 w 1146"/>
                <a:gd name="T57" fmla="*/ 50 h 954"/>
                <a:gd name="T58" fmla="*/ 28 w 1146"/>
                <a:gd name="T59" fmla="*/ 48 h 954"/>
                <a:gd name="T60" fmla="*/ 30 w 1146"/>
                <a:gd name="T61" fmla="*/ 49 h 954"/>
                <a:gd name="T62" fmla="*/ 26 w 1146"/>
                <a:gd name="T63" fmla="*/ 47 h 954"/>
                <a:gd name="T64" fmla="*/ 20 w 1146"/>
                <a:gd name="T65" fmla="*/ 50 h 954"/>
                <a:gd name="T66" fmla="*/ 20 w 1146"/>
                <a:gd name="T67" fmla="*/ 44 h 954"/>
                <a:gd name="T68" fmla="*/ 19 w 1146"/>
                <a:gd name="T69" fmla="*/ 46 h 954"/>
                <a:gd name="T70" fmla="*/ 15 w 1146"/>
                <a:gd name="T71" fmla="*/ 49 h 954"/>
                <a:gd name="T72" fmla="*/ 8 w 1146"/>
                <a:gd name="T73" fmla="*/ 48 h 954"/>
                <a:gd name="T74" fmla="*/ 6 w 1146"/>
                <a:gd name="T75" fmla="*/ 41 h 954"/>
                <a:gd name="T76" fmla="*/ 10 w 1146"/>
                <a:gd name="T77" fmla="*/ 41 h 954"/>
                <a:gd name="T78" fmla="*/ 9 w 1146"/>
                <a:gd name="T79" fmla="*/ 39 h 954"/>
                <a:gd name="T80" fmla="*/ 14 w 1146"/>
                <a:gd name="T81" fmla="*/ 35 h 954"/>
                <a:gd name="T82" fmla="*/ 19 w 1146"/>
                <a:gd name="T83" fmla="*/ 32 h 954"/>
                <a:gd name="T84" fmla="*/ 20 w 1146"/>
                <a:gd name="T85" fmla="*/ 29 h 954"/>
                <a:gd name="T86" fmla="*/ 27 w 1146"/>
                <a:gd name="T87" fmla="*/ 27 h 954"/>
                <a:gd name="T88" fmla="*/ 33 w 1146"/>
                <a:gd name="T89" fmla="*/ 28 h 954"/>
                <a:gd name="T90" fmla="*/ 44 w 1146"/>
                <a:gd name="T91" fmla="*/ 27 h 954"/>
                <a:gd name="T92" fmla="*/ 52 w 1146"/>
                <a:gd name="T93" fmla="*/ 41 h 954"/>
                <a:gd name="T94" fmla="*/ 61 w 1146"/>
                <a:gd name="T95" fmla="*/ 40 h 954"/>
                <a:gd name="T96" fmla="*/ 69 w 1146"/>
                <a:gd name="T97" fmla="*/ 34 h 954"/>
                <a:gd name="T98" fmla="*/ 62 w 1146"/>
                <a:gd name="T99" fmla="*/ 12 h 954"/>
                <a:gd name="T100" fmla="*/ 74 w 1146"/>
                <a:gd name="T101" fmla="*/ 8 h 954"/>
                <a:gd name="T102" fmla="*/ 87 w 1146"/>
                <a:gd name="T103" fmla="*/ 1 h 954"/>
                <a:gd name="T104" fmla="*/ 99 w 1146"/>
                <a:gd name="T105" fmla="*/ 12 h 954"/>
                <a:gd name="T106" fmla="*/ 98 w 1146"/>
                <a:gd name="T107" fmla="*/ 27 h 954"/>
                <a:gd name="T108" fmla="*/ 16 w 1146"/>
                <a:gd name="T109" fmla="*/ 33 h 954"/>
                <a:gd name="T110" fmla="*/ 11 w 1146"/>
                <a:gd name="T111" fmla="*/ 36 h 954"/>
                <a:gd name="T112" fmla="*/ 5 w 1146"/>
                <a:gd name="T113" fmla="*/ 41 h 954"/>
                <a:gd name="T114" fmla="*/ 2 w 1146"/>
                <a:gd name="T115" fmla="*/ 36 h 954"/>
                <a:gd name="T116" fmla="*/ 5 w 1146"/>
                <a:gd name="T117" fmla="*/ 26 h 954"/>
                <a:gd name="T118" fmla="*/ 10 w 1146"/>
                <a:gd name="T119" fmla="*/ 20 h 954"/>
                <a:gd name="T120" fmla="*/ 13 w 1146"/>
                <a:gd name="T121" fmla="*/ 20 h 954"/>
                <a:gd name="T122" fmla="*/ 15 w 1146"/>
                <a:gd name="T123" fmla="*/ 27 h 95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46"/>
                <a:gd name="T187" fmla="*/ 0 h 954"/>
                <a:gd name="T188" fmla="*/ 1146 w 1146"/>
                <a:gd name="T189" fmla="*/ 954 h 95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46" h="954">
                  <a:moveTo>
                    <a:pt x="1056" y="498"/>
                  </a:moveTo>
                  <a:lnTo>
                    <a:pt x="1044" y="510"/>
                  </a:lnTo>
                  <a:lnTo>
                    <a:pt x="1032" y="516"/>
                  </a:lnTo>
                  <a:lnTo>
                    <a:pt x="1038" y="528"/>
                  </a:lnTo>
                  <a:lnTo>
                    <a:pt x="1050" y="540"/>
                  </a:lnTo>
                  <a:lnTo>
                    <a:pt x="1050" y="546"/>
                  </a:lnTo>
                  <a:lnTo>
                    <a:pt x="1050" y="564"/>
                  </a:lnTo>
                  <a:lnTo>
                    <a:pt x="1038" y="576"/>
                  </a:lnTo>
                  <a:lnTo>
                    <a:pt x="1032" y="588"/>
                  </a:lnTo>
                  <a:lnTo>
                    <a:pt x="1020" y="594"/>
                  </a:lnTo>
                  <a:lnTo>
                    <a:pt x="1008" y="594"/>
                  </a:lnTo>
                  <a:lnTo>
                    <a:pt x="1002" y="600"/>
                  </a:lnTo>
                  <a:lnTo>
                    <a:pt x="996" y="612"/>
                  </a:lnTo>
                  <a:lnTo>
                    <a:pt x="996" y="624"/>
                  </a:lnTo>
                  <a:lnTo>
                    <a:pt x="996" y="648"/>
                  </a:lnTo>
                  <a:lnTo>
                    <a:pt x="996" y="660"/>
                  </a:lnTo>
                  <a:lnTo>
                    <a:pt x="1002" y="672"/>
                  </a:lnTo>
                  <a:lnTo>
                    <a:pt x="1002" y="684"/>
                  </a:lnTo>
                  <a:lnTo>
                    <a:pt x="996" y="684"/>
                  </a:lnTo>
                  <a:lnTo>
                    <a:pt x="984" y="690"/>
                  </a:lnTo>
                  <a:lnTo>
                    <a:pt x="972" y="690"/>
                  </a:lnTo>
                  <a:lnTo>
                    <a:pt x="966" y="696"/>
                  </a:lnTo>
                  <a:lnTo>
                    <a:pt x="966" y="702"/>
                  </a:lnTo>
                  <a:lnTo>
                    <a:pt x="966" y="714"/>
                  </a:lnTo>
                  <a:lnTo>
                    <a:pt x="972" y="726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2" y="756"/>
                  </a:lnTo>
                  <a:lnTo>
                    <a:pt x="966" y="756"/>
                  </a:lnTo>
                  <a:lnTo>
                    <a:pt x="942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18" y="768"/>
                  </a:lnTo>
                  <a:lnTo>
                    <a:pt x="906" y="768"/>
                  </a:lnTo>
                  <a:lnTo>
                    <a:pt x="894" y="762"/>
                  </a:lnTo>
                  <a:lnTo>
                    <a:pt x="882" y="756"/>
                  </a:lnTo>
                  <a:lnTo>
                    <a:pt x="876" y="756"/>
                  </a:lnTo>
                  <a:lnTo>
                    <a:pt x="876" y="762"/>
                  </a:lnTo>
                  <a:lnTo>
                    <a:pt x="864" y="768"/>
                  </a:lnTo>
                  <a:lnTo>
                    <a:pt x="858" y="774"/>
                  </a:lnTo>
                  <a:lnTo>
                    <a:pt x="852" y="774"/>
                  </a:lnTo>
                  <a:lnTo>
                    <a:pt x="840" y="780"/>
                  </a:lnTo>
                  <a:lnTo>
                    <a:pt x="840" y="786"/>
                  </a:lnTo>
                  <a:lnTo>
                    <a:pt x="840" y="792"/>
                  </a:lnTo>
                  <a:lnTo>
                    <a:pt x="840" y="804"/>
                  </a:lnTo>
                  <a:lnTo>
                    <a:pt x="840" y="810"/>
                  </a:lnTo>
                  <a:lnTo>
                    <a:pt x="828" y="816"/>
                  </a:lnTo>
                  <a:lnTo>
                    <a:pt x="810" y="810"/>
                  </a:lnTo>
                  <a:lnTo>
                    <a:pt x="792" y="810"/>
                  </a:lnTo>
                  <a:lnTo>
                    <a:pt x="786" y="816"/>
                  </a:lnTo>
                  <a:lnTo>
                    <a:pt x="780" y="816"/>
                  </a:lnTo>
                  <a:lnTo>
                    <a:pt x="780" y="822"/>
                  </a:lnTo>
                  <a:lnTo>
                    <a:pt x="780" y="828"/>
                  </a:lnTo>
                  <a:lnTo>
                    <a:pt x="780" y="834"/>
                  </a:lnTo>
                  <a:lnTo>
                    <a:pt x="786" y="840"/>
                  </a:lnTo>
                  <a:lnTo>
                    <a:pt x="786" y="846"/>
                  </a:lnTo>
                  <a:lnTo>
                    <a:pt x="786" y="852"/>
                  </a:lnTo>
                  <a:lnTo>
                    <a:pt x="780" y="858"/>
                  </a:lnTo>
                  <a:lnTo>
                    <a:pt x="768" y="858"/>
                  </a:lnTo>
                  <a:lnTo>
                    <a:pt x="762" y="864"/>
                  </a:lnTo>
                  <a:lnTo>
                    <a:pt x="756" y="864"/>
                  </a:lnTo>
                  <a:lnTo>
                    <a:pt x="750" y="870"/>
                  </a:lnTo>
                  <a:lnTo>
                    <a:pt x="744" y="876"/>
                  </a:lnTo>
                  <a:lnTo>
                    <a:pt x="732" y="876"/>
                  </a:lnTo>
                  <a:lnTo>
                    <a:pt x="726" y="876"/>
                  </a:lnTo>
                  <a:lnTo>
                    <a:pt x="720" y="870"/>
                  </a:lnTo>
                  <a:lnTo>
                    <a:pt x="714" y="864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6" y="876"/>
                  </a:lnTo>
                  <a:lnTo>
                    <a:pt x="696" y="882"/>
                  </a:lnTo>
                  <a:lnTo>
                    <a:pt x="696" y="894"/>
                  </a:lnTo>
                  <a:lnTo>
                    <a:pt x="690" y="900"/>
                  </a:lnTo>
                  <a:lnTo>
                    <a:pt x="684" y="900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54" y="888"/>
                  </a:lnTo>
                  <a:lnTo>
                    <a:pt x="654" y="882"/>
                  </a:lnTo>
                  <a:lnTo>
                    <a:pt x="642" y="876"/>
                  </a:lnTo>
                  <a:lnTo>
                    <a:pt x="636" y="876"/>
                  </a:lnTo>
                  <a:lnTo>
                    <a:pt x="630" y="876"/>
                  </a:lnTo>
                  <a:lnTo>
                    <a:pt x="630" y="870"/>
                  </a:lnTo>
                  <a:lnTo>
                    <a:pt x="618" y="858"/>
                  </a:lnTo>
                  <a:lnTo>
                    <a:pt x="612" y="858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06" y="876"/>
                  </a:lnTo>
                  <a:lnTo>
                    <a:pt x="606" y="882"/>
                  </a:lnTo>
                  <a:lnTo>
                    <a:pt x="606" y="888"/>
                  </a:lnTo>
                  <a:lnTo>
                    <a:pt x="600" y="894"/>
                  </a:lnTo>
                  <a:lnTo>
                    <a:pt x="594" y="894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76" y="894"/>
                  </a:lnTo>
                  <a:lnTo>
                    <a:pt x="582" y="900"/>
                  </a:lnTo>
                  <a:lnTo>
                    <a:pt x="576" y="906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64" y="918"/>
                  </a:lnTo>
                  <a:lnTo>
                    <a:pt x="558" y="918"/>
                  </a:lnTo>
                  <a:lnTo>
                    <a:pt x="558" y="912"/>
                  </a:lnTo>
                  <a:lnTo>
                    <a:pt x="552" y="906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06"/>
                  </a:lnTo>
                  <a:lnTo>
                    <a:pt x="534" y="906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0" y="924"/>
                  </a:lnTo>
                  <a:lnTo>
                    <a:pt x="504" y="924"/>
                  </a:lnTo>
                  <a:lnTo>
                    <a:pt x="498" y="930"/>
                  </a:lnTo>
                  <a:lnTo>
                    <a:pt x="492" y="924"/>
                  </a:lnTo>
                  <a:lnTo>
                    <a:pt x="486" y="930"/>
                  </a:lnTo>
                  <a:lnTo>
                    <a:pt x="480" y="942"/>
                  </a:lnTo>
                  <a:lnTo>
                    <a:pt x="468" y="948"/>
                  </a:lnTo>
                  <a:lnTo>
                    <a:pt x="444" y="942"/>
                  </a:lnTo>
                  <a:lnTo>
                    <a:pt x="438" y="954"/>
                  </a:lnTo>
                  <a:lnTo>
                    <a:pt x="426" y="954"/>
                  </a:lnTo>
                  <a:lnTo>
                    <a:pt x="420" y="948"/>
                  </a:lnTo>
                  <a:lnTo>
                    <a:pt x="408" y="936"/>
                  </a:lnTo>
                  <a:lnTo>
                    <a:pt x="396" y="936"/>
                  </a:lnTo>
                  <a:lnTo>
                    <a:pt x="390" y="930"/>
                  </a:lnTo>
                  <a:lnTo>
                    <a:pt x="390" y="924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66" y="924"/>
                  </a:lnTo>
                  <a:lnTo>
                    <a:pt x="360" y="924"/>
                  </a:lnTo>
                  <a:lnTo>
                    <a:pt x="348" y="918"/>
                  </a:lnTo>
                  <a:lnTo>
                    <a:pt x="342" y="906"/>
                  </a:lnTo>
                  <a:lnTo>
                    <a:pt x="336" y="906"/>
                  </a:lnTo>
                  <a:lnTo>
                    <a:pt x="330" y="906"/>
                  </a:lnTo>
                  <a:lnTo>
                    <a:pt x="312" y="906"/>
                  </a:lnTo>
                  <a:lnTo>
                    <a:pt x="312" y="900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888"/>
                  </a:lnTo>
                  <a:lnTo>
                    <a:pt x="312" y="882"/>
                  </a:lnTo>
                  <a:lnTo>
                    <a:pt x="306" y="876"/>
                  </a:lnTo>
                  <a:lnTo>
                    <a:pt x="312" y="876"/>
                  </a:lnTo>
                  <a:lnTo>
                    <a:pt x="312" y="870"/>
                  </a:lnTo>
                  <a:lnTo>
                    <a:pt x="318" y="876"/>
                  </a:lnTo>
                  <a:lnTo>
                    <a:pt x="318" y="870"/>
                  </a:lnTo>
                  <a:lnTo>
                    <a:pt x="324" y="876"/>
                  </a:lnTo>
                  <a:lnTo>
                    <a:pt x="330" y="876"/>
                  </a:lnTo>
                  <a:lnTo>
                    <a:pt x="336" y="876"/>
                  </a:lnTo>
                  <a:lnTo>
                    <a:pt x="342" y="876"/>
                  </a:lnTo>
                  <a:lnTo>
                    <a:pt x="336" y="876"/>
                  </a:lnTo>
                  <a:lnTo>
                    <a:pt x="330" y="870"/>
                  </a:lnTo>
                  <a:lnTo>
                    <a:pt x="324" y="870"/>
                  </a:lnTo>
                  <a:lnTo>
                    <a:pt x="318" y="870"/>
                  </a:lnTo>
                  <a:lnTo>
                    <a:pt x="312" y="870"/>
                  </a:lnTo>
                  <a:lnTo>
                    <a:pt x="318" y="864"/>
                  </a:lnTo>
                  <a:lnTo>
                    <a:pt x="318" y="858"/>
                  </a:lnTo>
                  <a:lnTo>
                    <a:pt x="318" y="852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6" y="846"/>
                  </a:lnTo>
                  <a:lnTo>
                    <a:pt x="312" y="828"/>
                  </a:lnTo>
                  <a:lnTo>
                    <a:pt x="312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06" y="816"/>
                  </a:lnTo>
                  <a:lnTo>
                    <a:pt x="306" y="810"/>
                  </a:lnTo>
                  <a:lnTo>
                    <a:pt x="306" y="816"/>
                  </a:lnTo>
                  <a:lnTo>
                    <a:pt x="312" y="822"/>
                  </a:lnTo>
                  <a:lnTo>
                    <a:pt x="306" y="822"/>
                  </a:lnTo>
                  <a:lnTo>
                    <a:pt x="306" y="828"/>
                  </a:lnTo>
                  <a:lnTo>
                    <a:pt x="306" y="834"/>
                  </a:lnTo>
                  <a:lnTo>
                    <a:pt x="300" y="840"/>
                  </a:lnTo>
                  <a:lnTo>
                    <a:pt x="300" y="846"/>
                  </a:lnTo>
                  <a:lnTo>
                    <a:pt x="306" y="852"/>
                  </a:lnTo>
                  <a:lnTo>
                    <a:pt x="306" y="858"/>
                  </a:lnTo>
                  <a:lnTo>
                    <a:pt x="312" y="858"/>
                  </a:lnTo>
                  <a:lnTo>
                    <a:pt x="312" y="864"/>
                  </a:lnTo>
                  <a:lnTo>
                    <a:pt x="306" y="864"/>
                  </a:lnTo>
                  <a:lnTo>
                    <a:pt x="300" y="864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82" y="870"/>
                  </a:lnTo>
                  <a:lnTo>
                    <a:pt x="276" y="870"/>
                  </a:lnTo>
                  <a:lnTo>
                    <a:pt x="270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8" y="870"/>
                  </a:lnTo>
                  <a:lnTo>
                    <a:pt x="252" y="870"/>
                  </a:lnTo>
                  <a:lnTo>
                    <a:pt x="252" y="864"/>
                  </a:lnTo>
                  <a:lnTo>
                    <a:pt x="246" y="858"/>
                  </a:lnTo>
                  <a:lnTo>
                    <a:pt x="246" y="852"/>
                  </a:lnTo>
                  <a:lnTo>
                    <a:pt x="246" y="846"/>
                  </a:lnTo>
                  <a:lnTo>
                    <a:pt x="246" y="840"/>
                  </a:lnTo>
                  <a:lnTo>
                    <a:pt x="246" y="834"/>
                  </a:lnTo>
                  <a:lnTo>
                    <a:pt x="246" y="828"/>
                  </a:lnTo>
                  <a:lnTo>
                    <a:pt x="246" y="822"/>
                  </a:lnTo>
                  <a:lnTo>
                    <a:pt x="240" y="816"/>
                  </a:lnTo>
                  <a:lnTo>
                    <a:pt x="240" y="810"/>
                  </a:lnTo>
                  <a:lnTo>
                    <a:pt x="240" y="804"/>
                  </a:lnTo>
                  <a:lnTo>
                    <a:pt x="240" y="798"/>
                  </a:lnTo>
                  <a:lnTo>
                    <a:pt x="234" y="798"/>
                  </a:lnTo>
                  <a:lnTo>
                    <a:pt x="234" y="792"/>
                  </a:lnTo>
                  <a:lnTo>
                    <a:pt x="234" y="786"/>
                  </a:lnTo>
                  <a:lnTo>
                    <a:pt x="234" y="780"/>
                  </a:lnTo>
                  <a:lnTo>
                    <a:pt x="228" y="780"/>
                  </a:lnTo>
                  <a:lnTo>
                    <a:pt x="228" y="774"/>
                  </a:lnTo>
                  <a:lnTo>
                    <a:pt x="228" y="768"/>
                  </a:lnTo>
                  <a:lnTo>
                    <a:pt x="222" y="762"/>
                  </a:lnTo>
                  <a:lnTo>
                    <a:pt x="222" y="756"/>
                  </a:lnTo>
                  <a:lnTo>
                    <a:pt x="222" y="750"/>
                  </a:lnTo>
                  <a:lnTo>
                    <a:pt x="222" y="744"/>
                  </a:lnTo>
                  <a:lnTo>
                    <a:pt x="222" y="738"/>
                  </a:lnTo>
                  <a:lnTo>
                    <a:pt x="216" y="732"/>
                  </a:lnTo>
                  <a:lnTo>
                    <a:pt x="222" y="732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32"/>
                  </a:lnTo>
                  <a:lnTo>
                    <a:pt x="246" y="732"/>
                  </a:lnTo>
                  <a:lnTo>
                    <a:pt x="246" y="738"/>
                  </a:lnTo>
                  <a:lnTo>
                    <a:pt x="252" y="738"/>
                  </a:lnTo>
                  <a:lnTo>
                    <a:pt x="258" y="738"/>
                  </a:lnTo>
                  <a:lnTo>
                    <a:pt x="258" y="732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8" y="732"/>
                  </a:lnTo>
                  <a:lnTo>
                    <a:pt x="294" y="732"/>
                  </a:lnTo>
                  <a:lnTo>
                    <a:pt x="300" y="732"/>
                  </a:lnTo>
                  <a:lnTo>
                    <a:pt x="300" y="738"/>
                  </a:lnTo>
                  <a:lnTo>
                    <a:pt x="306" y="738"/>
                  </a:lnTo>
                  <a:lnTo>
                    <a:pt x="306" y="744"/>
                  </a:lnTo>
                  <a:lnTo>
                    <a:pt x="306" y="750"/>
                  </a:lnTo>
                  <a:lnTo>
                    <a:pt x="312" y="750"/>
                  </a:lnTo>
                  <a:lnTo>
                    <a:pt x="312" y="756"/>
                  </a:lnTo>
                  <a:lnTo>
                    <a:pt x="318" y="756"/>
                  </a:lnTo>
                  <a:lnTo>
                    <a:pt x="318" y="750"/>
                  </a:lnTo>
                  <a:lnTo>
                    <a:pt x="312" y="750"/>
                  </a:lnTo>
                  <a:lnTo>
                    <a:pt x="312" y="744"/>
                  </a:lnTo>
                  <a:lnTo>
                    <a:pt x="318" y="738"/>
                  </a:lnTo>
                  <a:lnTo>
                    <a:pt x="324" y="738"/>
                  </a:lnTo>
                  <a:lnTo>
                    <a:pt x="330" y="738"/>
                  </a:lnTo>
                  <a:lnTo>
                    <a:pt x="336" y="738"/>
                  </a:lnTo>
                  <a:lnTo>
                    <a:pt x="342" y="738"/>
                  </a:lnTo>
                  <a:lnTo>
                    <a:pt x="348" y="732"/>
                  </a:lnTo>
                  <a:lnTo>
                    <a:pt x="354" y="732"/>
                  </a:lnTo>
                  <a:lnTo>
                    <a:pt x="360" y="732"/>
                  </a:lnTo>
                  <a:lnTo>
                    <a:pt x="360" y="726"/>
                  </a:lnTo>
                  <a:lnTo>
                    <a:pt x="366" y="726"/>
                  </a:lnTo>
                  <a:lnTo>
                    <a:pt x="366" y="720"/>
                  </a:lnTo>
                  <a:lnTo>
                    <a:pt x="366" y="714"/>
                  </a:lnTo>
                  <a:lnTo>
                    <a:pt x="360" y="708"/>
                  </a:lnTo>
                  <a:lnTo>
                    <a:pt x="354" y="708"/>
                  </a:lnTo>
                  <a:lnTo>
                    <a:pt x="348" y="702"/>
                  </a:lnTo>
                  <a:lnTo>
                    <a:pt x="354" y="702"/>
                  </a:lnTo>
                  <a:lnTo>
                    <a:pt x="354" y="696"/>
                  </a:lnTo>
                  <a:lnTo>
                    <a:pt x="348" y="696"/>
                  </a:lnTo>
                  <a:lnTo>
                    <a:pt x="348" y="690"/>
                  </a:lnTo>
                  <a:lnTo>
                    <a:pt x="342" y="690"/>
                  </a:lnTo>
                  <a:lnTo>
                    <a:pt x="342" y="684"/>
                  </a:lnTo>
                  <a:lnTo>
                    <a:pt x="342" y="678"/>
                  </a:lnTo>
                  <a:lnTo>
                    <a:pt x="342" y="666"/>
                  </a:lnTo>
                  <a:lnTo>
                    <a:pt x="342" y="660"/>
                  </a:lnTo>
                  <a:lnTo>
                    <a:pt x="348" y="654"/>
                  </a:lnTo>
                  <a:lnTo>
                    <a:pt x="348" y="642"/>
                  </a:lnTo>
                  <a:lnTo>
                    <a:pt x="354" y="642"/>
                  </a:lnTo>
                  <a:lnTo>
                    <a:pt x="360" y="642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66" y="642"/>
                  </a:lnTo>
                  <a:lnTo>
                    <a:pt x="372" y="642"/>
                  </a:lnTo>
                  <a:lnTo>
                    <a:pt x="378" y="642"/>
                  </a:lnTo>
                  <a:lnTo>
                    <a:pt x="384" y="642"/>
                  </a:lnTo>
                  <a:lnTo>
                    <a:pt x="390" y="642"/>
                  </a:lnTo>
                  <a:lnTo>
                    <a:pt x="396" y="642"/>
                  </a:lnTo>
                  <a:lnTo>
                    <a:pt x="396" y="636"/>
                  </a:lnTo>
                  <a:lnTo>
                    <a:pt x="402" y="636"/>
                  </a:lnTo>
                  <a:lnTo>
                    <a:pt x="408" y="636"/>
                  </a:lnTo>
                  <a:lnTo>
                    <a:pt x="402" y="636"/>
                  </a:lnTo>
                  <a:lnTo>
                    <a:pt x="402" y="630"/>
                  </a:lnTo>
                  <a:lnTo>
                    <a:pt x="408" y="630"/>
                  </a:lnTo>
                  <a:lnTo>
                    <a:pt x="408" y="624"/>
                  </a:lnTo>
                  <a:lnTo>
                    <a:pt x="408" y="618"/>
                  </a:lnTo>
                  <a:lnTo>
                    <a:pt x="414" y="618"/>
                  </a:lnTo>
                  <a:lnTo>
                    <a:pt x="420" y="618"/>
                  </a:lnTo>
                  <a:lnTo>
                    <a:pt x="426" y="624"/>
                  </a:lnTo>
                  <a:lnTo>
                    <a:pt x="432" y="624"/>
                  </a:lnTo>
                  <a:lnTo>
                    <a:pt x="438" y="624"/>
                  </a:lnTo>
                  <a:lnTo>
                    <a:pt x="438" y="618"/>
                  </a:lnTo>
                  <a:lnTo>
                    <a:pt x="444" y="618"/>
                  </a:lnTo>
                  <a:lnTo>
                    <a:pt x="450" y="618"/>
                  </a:lnTo>
                  <a:lnTo>
                    <a:pt x="444" y="618"/>
                  </a:lnTo>
                  <a:lnTo>
                    <a:pt x="438" y="618"/>
                  </a:lnTo>
                  <a:lnTo>
                    <a:pt x="438" y="612"/>
                  </a:lnTo>
                  <a:lnTo>
                    <a:pt x="438" y="618"/>
                  </a:lnTo>
                  <a:lnTo>
                    <a:pt x="432" y="624"/>
                  </a:lnTo>
                  <a:lnTo>
                    <a:pt x="426" y="618"/>
                  </a:lnTo>
                  <a:lnTo>
                    <a:pt x="420" y="612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402" y="624"/>
                  </a:lnTo>
                  <a:lnTo>
                    <a:pt x="396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78" y="630"/>
                  </a:lnTo>
                  <a:lnTo>
                    <a:pt x="378" y="636"/>
                  </a:lnTo>
                  <a:lnTo>
                    <a:pt x="372" y="630"/>
                  </a:lnTo>
                  <a:lnTo>
                    <a:pt x="366" y="630"/>
                  </a:lnTo>
                  <a:lnTo>
                    <a:pt x="360" y="630"/>
                  </a:lnTo>
                  <a:lnTo>
                    <a:pt x="354" y="630"/>
                  </a:lnTo>
                  <a:lnTo>
                    <a:pt x="354" y="636"/>
                  </a:lnTo>
                  <a:lnTo>
                    <a:pt x="348" y="636"/>
                  </a:lnTo>
                  <a:lnTo>
                    <a:pt x="348" y="642"/>
                  </a:lnTo>
                  <a:lnTo>
                    <a:pt x="342" y="642"/>
                  </a:lnTo>
                  <a:lnTo>
                    <a:pt x="342" y="648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6" y="660"/>
                  </a:lnTo>
                  <a:lnTo>
                    <a:pt x="336" y="666"/>
                  </a:lnTo>
                  <a:lnTo>
                    <a:pt x="330" y="672"/>
                  </a:lnTo>
                  <a:lnTo>
                    <a:pt x="330" y="678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24" y="696"/>
                  </a:lnTo>
                  <a:lnTo>
                    <a:pt x="324" y="702"/>
                  </a:lnTo>
                  <a:lnTo>
                    <a:pt x="318" y="702"/>
                  </a:lnTo>
                  <a:lnTo>
                    <a:pt x="318" y="708"/>
                  </a:lnTo>
                  <a:lnTo>
                    <a:pt x="312" y="708"/>
                  </a:lnTo>
                  <a:lnTo>
                    <a:pt x="312" y="702"/>
                  </a:lnTo>
                  <a:lnTo>
                    <a:pt x="306" y="702"/>
                  </a:lnTo>
                  <a:lnTo>
                    <a:pt x="300" y="702"/>
                  </a:lnTo>
                  <a:lnTo>
                    <a:pt x="294" y="696"/>
                  </a:lnTo>
                  <a:lnTo>
                    <a:pt x="288" y="696"/>
                  </a:lnTo>
                  <a:lnTo>
                    <a:pt x="282" y="690"/>
                  </a:lnTo>
                  <a:lnTo>
                    <a:pt x="288" y="684"/>
                  </a:lnTo>
                  <a:lnTo>
                    <a:pt x="294" y="684"/>
                  </a:lnTo>
                  <a:lnTo>
                    <a:pt x="294" y="678"/>
                  </a:lnTo>
                  <a:lnTo>
                    <a:pt x="300" y="678"/>
                  </a:lnTo>
                  <a:lnTo>
                    <a:pt x="294" y="678"/>
                  </a:lnTo>
                  <a:lnTo>
                    <a:pt x="294" y="672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94" y="672"/>
                  </a:lnTo>
                  <a:lnTo>
                    <a:pt x="288" y="678"/>
                  </a:lnTo>
                  <a:lnTo>
                    <a:pt x="282" y="684"/>
                  </a:lnTo>
                  <a:lnTo>
                    <a:pt x="282" y="678"/>
                  </a:lnTo>
                  <a:lnTo>
                    <a:pt x="276" y="678"/>
                  </a:lnTo>
                  <a:lnTo>
                    <a:pt x="282" y="684"/>
                  </a:lnTo>
                  <a:lnTo>
                    <a:pt x="282" y="690"/>
                  </a:lnTo>
                  <a:lnTo>
                    <a:pt x="282" y="696"/>
                  </a:lnTo>
                  <a:lnTo>
                    <a:pt x="288" y="702"/>
                  </a:lnTo>
                  <a:lnTo>
                    <a:pt x="294" y="708"/>
                  </a:lnTo>
                  <a:lnTo>
                    <a:pt x="294" y="714"/>
                  </a:lnTo>
                  <a:lnTo>
                    <a:pt x="288" y="714"/>
                  </a:lnTo>
                  <a:lnTo>
                    <a:pt x="282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64" y="714"/>
                  </a:lnTo>
                  <a:lnTo>
                    <a:pt x="258" y="714"/>
                  </a:lnTo>
                  <a:lnTo>
                    <a:pt x="252" y="714"/>
                  </a:lnTo>
                  <a:lnTo>
                    <a:pt x="246" y="714"/>
                  </a:lnTo>
                  <a:lnTo>
                    <a:pt x="240" y="714"/>
                  </a:lnTo>
                  <a:lnTo>
                    <a:pt x="240" y="708"/>
                  </a:lnTo>
                  <a:lnTo>
                    <a:pt x="234" y="708"/>
                  </a:lnTo>
                  <a:lnTo>
                    <a:pt x="228" y="708"/>
                  </a:lnTo>
                  <a:lnTo>
                    <a:pt x="222" y="702"/>
                  </a:lnTo>
                  <a:lnTo>
                    <a:pt x="216" y="702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2" y="690"/>
                  </a:lnTo>
                  <a:lnTo>
                    <a:pt x="186" y="690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68" y="684"/>
                  </a:lnTo>
                  <a:lnTo>
                    <a:pt x="168" y="678"/>
                  </a:lnTo>
                  <a:lnTo>
                    <a:pt x="156" y="672"/>
                  </a:lnTo>
                  <a:lnTo>
                    <a:pt x="150" y="660"/>
                  </a:lnTo>
                  <a:lnTo>
                    <a:pt x="126" y="630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12"/>
                  </a:lnTo>
                  <a:lnTo>
                    <a:pt x="126" y="606"/>
                  </a:lnTo>
                  <a:lnTo>
                    <a:pt x="126" y="600"/>
                  </a:lnTo>
                  <a:lnTo>
                    <a:pt x="132" y="594"/>
                  </a:lnTo>
                  <a:lnTo>
                    <a:pt x="138" y="594"/>
                  </a:lnTo>
                  <a:lnTo>
                    <a:pt x="144" y="588"/>
                  </a:lnTo>
                  <a:lnTo>
                    <a:pt x="144" y="582"/>
                  </a:lnTo>
                  <a:lnTo>
                    <a:pt x="150" y="582"/>
                  </a:lnTo>
                  <a:lnTo>
                    <a:pt x="150" y="576"/>
                  </a:lnTo>
                  <a:lnTo>
                    <a:pt x="156" y="576"/>
                  </a:lnTo>
                  <a:lnTo>
                    <a:pt x="156" y="582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8" y="576"/>
                  </a:lnTo>
                  <a:lnTo>
                    <a:pt x="174" y="576"/>
                  </a:lnTo>
                  <a:lnTo>
                    <a:pt x="180" y="582"/>
                  </a:lnTo>
                  <a:lnTo>
                    <a:pt x="192" y="582"/>
                  </a:lnTo>
                  <a:lnTo>
                    <a:pt x="198" y="582"/>
                  </a:lnTo>
                  <a:lnTo>
                    <a:pt x="204" y="582"/>
                  </a:lnTo>
                  <a:lnTo>
                    <a:pt x="210" y="582"/>
                  </a:lnTo>
                  <a:lnTo>
                    <a:pt x="216" y="588"/>
                  </a:lnTo>
                  <a:lnTo>
                    <a:pt x="222" y="588"/>
                  </a:lnTo>
                  <a:lnTo>
                    <a:pt x="234" y="588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46" y="594"/>
                  </a:lnTo>
                  <a:lnTo>
                    <a:pt x="252" y="588"/>
                  </a:lnTo>
                  <a:lnTo>
                    <a:pt x="258" y="588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52" y="600"/>
                  </a:lnTo>
                  <a:lnTo>
                    <a:pt x="246" y="600"/>
                  </a:lnTo>
                  <a:lnTo>
                    <a:pt x="246" y="606"/>
                  </a:lnTo>
                  <a:lnTo>
                    <a:pt x="246" y="600"/>
                  </a:lnTo>
                  <a:lnTo>
                    <a:pt x="252" y="600"/>
                  </a:lnTo>
                  <a:lnTo>
                    <a:pt x="258" y="594"/>
                  </a:lnTo>
                  <a:lnTo>
                    <a:pt x="264" y="594"/>
                  </a:lnTo>
                  <a:lnTo>
                    <a:pt x="264" y="588"/>
                  </a:lnTo>
                  <a:lnTo>
                    <a:pt x="270" y="588"/>
                  </a:lnTo>
                  <a:lnTo>
                    <a:pt x="270" y="582"/>
                  </a:lnTo>
                  <a:lnTo>
                    <a:pt x="270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76" y="564"/>
                  </a:lnTo>
                  <a:lnTo>
                    <a:pt x="270" y="558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58"/>
                  </a:lnTo>
                  <a:lnTo>
                    <a:pt x="282" y="558"/>
                  </a:lnTo>
                  <a:lnTo>
                    <a:pt x="288" y="558"/>
                  </a:lnTo>
                  <a:lnTo>
                    <a:pt x="294" y="558"/>
                  </a:lnTo>
                  <a:lnTo>
                    <a:pt x="300" y="558"/>
                  </a:lnTo>
                  <a:lnTo>
                    <a:pt x="306" y="558"/>
                  </a:lnTo>
                  <a:lnTo>
                    <a:pt x="312" y="558"/>
                  </a:lnTo>
                  <a:lnTo>
                    <a:pt x="318" y="558"/>
                  </a:lnTo>
                  <a:lnTo>
                    <a:pt x="318" y="564"/>
                  </a:lnTo>
                  <a:lnTo>
                    <a:pt x="324" y="564"/>
                  </a:lnTo>
                  <a:lnTo>
                    <a:pt x="324" y="570"/>
                  </a:lnTo>
                  <a:lnTo>
                    <a:pt x="330" y="570"/>
                  </a:lnTo>
                  <a:lnTo>
                    <a:pt x="336" y="570"/>
                  </a:lnTo>
                  <a:lnTo>
                    <a:pt x="342" y="570"/>
                  </a:lnTo>
                  <a:lnTo>
                    <a:pt x="348" y="570"/>
                  </a:lnTo>
                  <a:lnTo>
                    <a:pt x="354" y="570"/>
                  </a:lnTo>
                  <a:lnTo>
                    <a:pt x="360" y="570"/>
                  </a:lnTo>
                  <a:lnTo>
                    <a:pt x="366" y="570"/>
                  </a:lnTo>
                  <a:lnTo>
                    <a:pt x="360" y="570"/>
                  </a:lnTo>
                  <a:lnTo>
                    <a:pt x="360" y="564"/>
                  </a:lnTo>
                  <a:lnTo>
                    <a:pt x="354" y="564"/>
                  </a:lnTo>
                  <a:lnTo>
                    <a:pt x="348" y="564"/>
                  </a:lnTo>
                  <a:lnTo>
                    <a:pt x="342" y="564"/>
                  </a:lnTo>
                  <a:lnTo>
                    <a:pt x="342" y="570"/>
                  </a:lnTo>
                  <a:lnTo>
                    <a:pt x="336" y="564"/>
                  </a:lnTo>
                  <a:lnTo>
                    <a:pt x="336" y="570"/>
                  </a:lnTo>
                  <a:lnTo>
                    <a:pt x="336" y="564"/>
                  </a:lnTo>
                  <a:lnTo>
                    <a:pt x="330" y="564"/>
                  </a:lnTo>
                  <a:lnTo>
                    <a:pt x="324" y="558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18" y="558"/>
                  </a:lnTo>
                  <a:lnTo>
                    <a:pt x="312" y="552"/>
                  </a:lnTo>
                  <a:lnTo>
                    <a:pt x="312" y="558"/>
                  </a:lnTo>
                  <a:lnTo>
                    <a:pt x="312" y="552"/>
                  </a:lnTo>
                  <a:lnTo>
                    <a:pt x="306" y="552"/>
                  </a:lnTo>
                  <a:lnTo>
                    <a:pt x="300" y="546"/>
                  </a:lnTo>
                  <a:lnTo>
                    <a:pt x="294" y="546"/>
                  </a:lnTo>
                  <a:lnTo>
                    <a:pt x="288" y="546"/>
                  </a:lnTo>
                  <a:lnTo>
                    <a:pt x="282" y="546"/>
                  </a:lnTo>
                  <a:lnTo>
                    <a:pt x="276" y="546"/>
                  </a:lnTo>
                  <a:lnTo>
                    <a:pt x="276" y="552"/>
                  </a:lnTo>
                  <a:lnTo>
                    <a:pt x="270" y="552"/>
                  </a:lnTo>
                  <a:lnTo>
                    <a:pt x="270" y="558"/>
                  </a:lnTo>
                  <a:lnTo>
                    <a:pt x="270" y="564"/>
                  </a:lnTo>
                  <a:lnTo>
                    <a:pt x="264" y="570"/>
                  </a:lnTo>
                  <a:lnTo>
                    <a:pt x="258" y="576"/>
                  </a:lnTo>
                  <a:lnTo>
                    <a:pt x="258" y="582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34" y="576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16" y="552"/>
                  </a:lnTo>
                  <a:lnTo>
                    <a:pt x="216" y="546"/>
                  </a:lnTo>
                  <a:lnTo>
                    <a:pt x="216" y="540"/>
                  </a:lnTo>
                  <a:lnTo>
                    <a:pt x="222" y="534"/>
                  </a:lnTo>
                  <a:lnTo>
                    <a:pt x="222" y="528"/>
                  </a:lnTo>
                  <a:lnTo>
                    <a:pt x="228" y="522"/>
                  </a:lnTo>
                  <a:lnTo>
                    <a:pt x="228" y="516"/>
                  </a:lnTo>
                  <a:lnTo>
                    <a:pt x="228" y="510"/>
                  </a:lnTo>
                  <a:lnTo>
                    <a:pt x="234" y="510"/>
                  </a:lnTo>
                  <a:lnTo>
                    <a:pt x="240" y="516"/>
                  </a:lnTo>
                  <a:lnTo>
                    <a:pt x="246" y="522"/>
                  </a:lnTo>
                  <a:lnTo>
                    <a:pt x="246" y="516"/>
                  </a:lnTo>
                  <a:lnTo>
                    <a:pt x="240" y="516"/>
                  </a:lnTo>
                  <a:lnTo>
                    <a:pt x="240" y="510"/>
                  </a:lnTo>
                  <a:lnTo>
                    <a:pt x="234" y="510"/>
                  </a:lnTo>
                  <a:lnTo>
                    <a:pt x="234" y="504"/>
                  </a:lnTo>
                  <a:lnTo>
                    <a:pt x="228" y="504"/>
                  </a:lnTo>
                  <a:lnTo>
                    <a:pt x="222" y="504"/>
                  </a:lnTo>
                  <a:lnTo>
                    <a:pt x="222" y="498"/>
                  </a:lnTo>
                  <a:lnTo>
                    <a:pt x="222" y="504"/>
                  </a:lnTo>
                  <a:lnTo>
                    <a:pt x="222" y="510"/>
                  </a:lnTo>
                  <a:lnTo>
                    <a:pt x="222" y="516"/>
                  </a:lnTo>
                  <a:lnTo>
                    <a:pt x="216" y="522"/>
                  </a:lnTo>
                  <a:lnTo>
                    <a:pt x="216" y="528"/>
                  </a:lnTo>
                  <a:lnTo>
                    <a:pt x="210" y="528"/>
                  </a:lnTo>
                  <a:lnTo>
                    <a:pt x="216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04" y="546"/>
                  </a:lnTo>
                  <a:lnTo>
                    <a:pt x="204" y="552"/>
                  </a:lnTo>
                  <a:lnTo>
                    <a:pt x="204" y="558"/>
                  </a:lnTo>
                  <a:lnTo>
                    <a:pt x="204" y="564"/>
                  </a:lnTo>
                  <a:lnTo>
                    <a:pt x="198" y="570"/>
                  </a:lnTo>
                  <a:lnTo>
                    <a:pt x="192" y="564"/>
                  </a:lnTo>
                  <a:lnTo>
                    <a:pt x="186" y="564"/>
                  </a:lnTo>
                  <a:lnTo>
                    <a:pt x="180" y="564"/>
                  </a:lnTo>
                  <a:lnTo>
                    <a:pt x="174" y="564"/>
                  </a:lnTo>
                  <a:lnTo>
                    <a:pt x="168" y="564"/>
                  </a:lnTo>
                  <a:lnTo>
                    <a:pt x="162" y="564"/>
                  </a:lnTo>
                  <a:lnTo>
                    <a:pt x="156" y="570"/>
                  </a:lnTo>
                  <a:lnTo>
                    <a:pt x="150" y="570"/>
                  </a:lnTo>
                  <a:lnTo>
                    <a:pt x="150" y="564"/>
                  </a:lnTo>
                  <a:lnTo>
                    <a:pt x="150" y="570"/>
                  </a:lnTo>
                  <a:lnTo>
                    <a:pt x="150" y="576"/>
                  </a:lnTo>
                  <a:lnTo>
                    <a:pt x="144" y="576"/>
                  </a:lnTo>
                  <a:lnTo>
                    <a:pt x="138" y="576"/>
                  </a:lnTo>
                  <a:lnTo>
                    <a:pt x="132" y="582"/>
                  </a:lnTo>
                  <a:lnTo>
                    <a:pt x="126" y="582"/>
                  </a:lnTo>
                  <a:lnTo>
                    <a:pt x="120" y="582"/>
                  </a:lnTo>
                  <a:lnTo>
                    <a:pt x="114" y="576"/>
                  </a:lnTo>
                  <a:lnTo>
                    <a:pt x="108" y="564"/>
                  </a:lnTo>
                  <a:lnTo>
                    <a:pt x="102" y="558"/>
                  </a:lnTo>
                  <a:lnTo>
                    <a:pt x="96" y="552"/>
                  </a:lnTo>
                  <a:lnTo>
                    <a:pt x="90" y="546"/>
                  </a:lnTo>
                  <a:lnTo>
                    <a:pt x="90" y="540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2"/>
                  </a:lnTo>
                  <a:lnTo>
                    <a:pt x="78" y="516"/>
                  </a:lnTo>
                  <a:lnTo>
                    <a:pt x="72" y="510"/>
                  </a:lnTo>
                  <a:lnTo>
                    <a:pt x="66" y="504"/>
                  </a:lnTo>
                  <a:lnTo>
                    <a:pt x="66" y="498"/>
                  </a:lnTo>
                  <a:lnTo>
                    <a:pt x="66" y="492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6" y="474"/>
                  </a:lnTo>
                  <a:lnTo>
                    <a:pt x="72" y="474"/>
                  </a:lnTo>
                  <a:lnTo>
                    <a:pt x="72" y="468"/>
                  </a:lnTo>
                  <a:lnTo>
                    <a:pt x="78" y="462"/>
                  </a:lnTo>
                  <a:lnTo>
                    <a:pt x="78" y="456"/>
                  </a:lnTo>
                  <a:lnTo>
                    <a:pt x="84" y="456"/>
                  </a:lnTo>
                  <a:lnTo>
                    <a:pt x="84" y="450"/>
                  </a:lnTo>
                  <a:lnTo>
                    <a:pt x="84" y="444"/>
                  </a:lnTo>
                  <a:lnTo>
                    <a:pt x="90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02" y="450"/>
                  </a:lnTo>
                  <a:lnTo>
                    <a:pt x="108" y="450"/>
                  </a:lnTo>
                  <a:lnTo>
                    <a:pt x="108" y="456"/>
                  </a:lnTo>
                  <a:lnTo>
                    <a:pt x="108" y="462"/>
                  </a:lnTo>
                  <a:lnTo>
                    <a:pt x="114" y="462"/>
                  </a:lnTo>
                  <a:lnTo>
                    <a:pt x="114" y="468"/>
                  </a:lnTo>
                  <a:lnTo>
                    <a:pt x="114" y="474"/>
                  </a:lnTo>
                  <a:lnTo>
                    <a:pt x="114" y="480"/>
                  </a:lnTo>
                  <a:lnTo>
                    <a:pt x="114" y="486"/>
                  </a:lnTo>
                  <a:lnTo>
                    <a:pt x="120" y="486"/>
                  </a:lnTo>
                  <a:lnTo>
                    <a:pt x="126" y="486"/>
                  </a:lnTo>
                  <a:lnTo>
                    <a:pt x="132" y="486"/>
                  </a:lnTo>
                  <a:lnTo>
                    <a:pt x="126" y="480"/>
                  </a:lnTo>
                  <a:lnTo>
                    <a:pt x="120" y="480"/>
                  </a:lnTo>
                  <a:lnTo>
                    <a:pt x="114" y="480"/>
                  </a:lnTo>
                  <a:lnTo>
                    <a:pt x="120" y="480"/>
                  </a:lnTo>
                  <a:lnTo>
                    <a:pt x="120" y="474"/>
                  </a:lnTo>
                  <a:lnTo>
                    <a:pt x="120" y="468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108" y="450"/>
                  </a:lnTo>
                  <a:lnTo>
                    <a:pt x="108" y="444"/>
                  </a:lnTo>
                  <a:lnTo>
                    <a:pt x="114" y="438"/>
                  </a:lnTo>
                  <a:lnTo>
                    <a:pt x="120" y="438"/>
                  </a:lnTo>
                  <a:lnTo>
                    <a:pt x="120" y="432"/>
                  </a:lnTo>
                  <a:lnTo>
                    <a:pt x="132" y="426"/>
                  </a:lnTo>
                  <a:lnTo>
                    <a:pt x="138" y="420"/>
                  </a:lnTo>
                  <a:lnTo>
                    <a:pt x="144" y="420"/>
                  </a:lnTo>
                  <a:lnTo>
                    <a:pt x="144" y="414"/>
                  </a:lnTo>
                  <a:lnTo>
                    <a:pt x="144" y="420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6" y="414"/>
                  </a:lnTo>
                  <a:lnTo>
                    <a:pt x="162" y="414"/>
                  </a:lnTo>
                  <a:lnTo>
                    <a:pt x="162" y="408"/>
                  </a:lnTo>
                  <a:lnTo>
                    <a:pt x="168" y="408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86" y="396"/>
                  </a:lnTo>
                  <a:lnTo>
                    <a:pt x="186" y="390"/>
                  </a:lnTo>
                  <a:lnTo>
                    <a:pt x="192" y="390"/>
                  </a:lnTo>
                  <a:lnTo>
                    <a:pt x="198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210" y="378"/>
                  </a:lnTo>
                  <a:lnTo>
                    <a:pt x="210" y="372"/>
                  </a:lnTo>
                  <a:lnTo>
                    <a:pt x="216" y="372"/>
                  </a:lnTo>
                  <a:lnTo>
                    <a:pt x="222" y="366"/>
                  </a:lnTo>
                  <a:lnTo>
                    <a:pt x="228" y="360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6" y="348"/>
                  </a:lnTo>
                  <a:lnTo>
                    <a:pt x="252" y="348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0" y="342"/>
                  </a:lnTo>
                  <a:lnTo>
                    <a:pt x="234" y="342"/>
                  </a:lnTo>
                  <a:lnTo>
                    <a:pt x="228" y="336"/>
                  </a:lnTo>
                  <a:lnTo>
                    <a:pt x="222" y="336"/>
                  </a:lnTo>
                  <a:lnTo>
                    <a:pt x="216" y="336"/>
                  </a:lnTo>
                  <a:lnTo>
                    <a:pt x="222" y="324"/>
                  </a:lnTo>
                  <a:lnTo>
                    <a:pt x="222" y="318"/>
                  </a:lnTo>
                  <a:lnTo>
                    <a:pt x="222" y="312"/>
                  </a:lnTo>
                  <a:lnTo>
                    <a:pt x="234" y="318"/>
                  </a:lnTo>
                  <a:lnTo>
                    <a:pt x="246" y="318"/>
                  </a:lnTo>
                  <a:lnTo>
                    <a:pt x="258" y="318"/>
                  </a:lnTo>
                  <a:lnTo>
                    <a:pt x="270" y="312"/>
                  </a:lnTo>
                  <a:lnTo>
                    <a:pt x="276" y="312"/>
                  </a:lnTo>
                  <a:lnTo>
                    <a:pt x="288" y="324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94" y="306"/>
                  </a:lnTo>
                  <a:lnTo>
                    <a:pt x="300" y="300"/>
                  </a:lnTo>
                  <a:lnTo>
                    <a:pt x="306" y="306"/>
                  </a:lnTo>
                  <a:lnTo>
                    <a:pt x="312" y="318"/>
                  </a:lnTo>
                  <a:lnTo>
                    <a:pt x="318" y="312"/>
                  </a:lnTo>
                  <a:lnTo>
                    <a:pt x="324" y="312"/>
                  </a:lnTo>
                  <a:lnTo>
                    <a:pt x="330" y="312"/>
                  </a:lnTo>
                  <a:lnTo>
                    <a:pt x="342" y="306"/>
                  </a:lnTo>
                  <a:lnTo>
                    <a:pt x="348" y="306"/>
                  </a:lnTo>
                  <a:lnTo>
                    <a:pt x="348" y="312"/>
                  </a:lnTo>
                  <a:lnTo>
                    <a:pt x="348" y="318"/>
                  </a:lnTo>
                  <a:lnTo>
                    <a:pt x="354" y="318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60" y="336"/>
                  </a:lnTo>
                  <a:lnTo>
                    <a:pt x="366" y="330"/>
                  </a:lnTo>
                  <a:lnTo>
                    <a:pt x="378" y="324"/>
                  </a:lnTo>
                  <a:lnTo>
                    <a:pt x="384" y="324"/>
                  </a:lnTo>
                  <a:lnTo>
                    <a:pt x="384" y="318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6"/>
                  </a:lnTo>
                  <a:lnTo>
                    <a:pt x="402" y="306"/>
                  </a:lnTo>
                  <a:lnTo>
                    <a:pt x="408" y="306"/>
                  </a:lnTo>
                  <a:lnTo>
                    <a:pt x="414" y="300"/>
                  </a:lnTo>
                  <a:lnTo>
                    <a:pt x="420" y="300"/>
                  </a:lnTo>
                  <a:lnTo>
                    <a:pt x="426" y="300"/>
                  </a:lnTo>
                  <a:lnTo>
                    <a:pt x="432" y="300"/>
                  </a:lnTo>
                  <a:lnTo>
                    <a:pt x="444" y="288"/>
                  </a:lnTo>
                  <a:lnTo>
                    <a:pt x="450" y="294"/>
                  </a:lnTo>
                  <a:lnTo>
                    <a:pt x="468" y="300"/>
                  </a:lnTo>
                  <a:lnTo>
                    <a:pt x="498" y="312"/>
                  </a:lnTo>
                  <a:lnTo>
                    <a:pt x="504" y="324"/>
                  </a:lnTo>
                  <a:lnTo>
                    <a:pt x="516" y="330"/>
                  </a:lnTo>
                  <a:lnTo>
                    <a:pt x="516" y="336"/>
                  </a:lnTo>
                  <a:lnTo>
                    <a:pt x="540" y="342"/>
                  </a:lnTo>
                  <a:lnTo>
                    <a:pt x="558" y="372"/>
                  </a:lnTo>
                  <a:lnTo>
                    <a:pt x="594" y="384"/>
                  </a:lnTo>
                  <a:lnTo>
                    <a:pt x="606" y="402"/>
                  </a:lnTo>
                  <a:lnTo>
                    <a:pt x="600" y="420"/>
                  </a:lnTo>
                  <a:lnTo>
                    <a:pt x="588" y="444"/>
                  </a:lnTo>
                  <a:lnTo>
                    <a:pt x="588" y="450"/>
                  </a:lnTo>
                  <a:lnTo>
                    <a:pt x="588" y="456"/>
                  </a:lnTo>
                  <a:lnTo>
                    <a:pt x="594" y="456"/>
                  </a:lnTo>
                  <a:lnTo>
                    <a:pt x="594" y="462"/>
                  </a:lnTo>
                  <a:lnTo>
                    <a:pt x="594" y="468"/>
                  </a:lnTo>
                  <a:lnTo>
                    <a:pt x="594" y="474"/>
                  </a:lnTo>
                  <a:lnTo>
                    <a:pt x="600" y="474"/>
                  </a:lnTo>
                  <a:lnTo>
                    <a:pt x="606" y="480"/>
                  </a:lnTo>
                  <a:lnTo>
                    <a:pt x="606" y="486"/>
                  </a:lnTo>
                  <a:lnTo>
                    <a:pt x="612" y="486"/>
                  </a:lnTo>
                  <a:lnTo>
                    <a:pt x="618" y="486"/>
                  </a:lnTo>
                  <a:lnTo>
                    <a:pt x="624" y="486"/>
                  </a:lnTo>
                  <a:lnTo>
                    <a:pt x="636" y="486"/>
                  </a:lnTo>
                  <a:lnTo>
                    <a:pt x="642" y="486"/>
                  </a:lnTo>
                  <a:lnTo>
                    <a:pt x="648" y="480"/>
                  </a:lnTo>
                  <a:lnTo>
                    <a:pt x="654" y="474"/>
                  </a:lnTo>
                  <a:lnTo>
                    <a:pt x="660" y="468"/>
                  </a:lnTo>
                  <a:lnTo>
                    <a:pt x="666" y="468"/>
                  </a:lnTo>
                  <a:lnTo>
                    <a:pt x="684" y="468"/>
                  </a:lnTo>
                  <a:lnTo>
                    <a:pt x="696" y="468"/>
                  </a:lnTo>
                  <a:lnTo>
                    <a:pt x="696" y="462"/>
                  </a:lnTo>
                  <a:lnTo>
                    <a:pt x="702" y="456"/>
                  </a:lnTo>
                  <a:lnTo>
                    <a:pt x="708" y="450"/>
                  </a:lnTo>
                  <a:lnTo>
                    <a:pt x="714" y="450"/>
                  </a:lnTo>
                  <a:lnTo>
                    <a:pt x="720" y="450"/>
                  </a:lnTo>
                  <a:lnTo>
                    <a:pt x="720" y="438"/>
                  </a:lnTo>
                  <a:lnTo>
                    <a:pt x="726" y="432"/>
                  </a:lnTo>
                  <a:lnTo>
                    <a:pt x="738" y="420"/>
                  </a:lnTo>
                  <a:lnTo>
                    <a:pt x="744" y="420"/>
                  </a:lnTo>
                  <a:lnTo>
                    <a:pt x="750" y="414"/>
                  </a:lnTo>
                  <a:lnTo>
                    <a:pt x="762" y="408"/>
                  </a:lnTo>
                  <a:lnTo>
                    <a:pt x="768" y="408"/>
                  </a:lnTo>
                  <a:lnTo>
                    <a:pt x="768" y="402"/>
                  </a:lnTo>
                  <a:lnTo>
                    <a:pt x="780" y="396"/>
                  </a:lnTo>
                  <a:lnTo>
                    <a:pt x="786" y="396"/>
                  </a:lnTo>
                  <a:lnTo>
                    <a:pt x="786" y="390"/>
                  </a:lnTo>
                  <a:lnTo>
                    <a:pt x="792" y="384"/>
                  </a:lnTo>
                  <a:lnTo>
                    <a:pt x="792" y="378"/>
                  </a:lnTo>
                  <a:lnTo>
                    <a:pt x="798" y="366"/>
                  </a:lnTo>
                  <a:lnTo>
                    <a:pt x="804" y="360"/>
                  </a:lnTo>
                  <a:lnTo>
                    <a:pt x="816" y="342"/>
                  </a:lnTo>
                  <a:lnTo>
                    <a:pt x="816" y="312"/>
                  </a:lnTo>
                  <a:lnTo>
                    <a:pt x="804" y="300"/>
                  </a:lnTo>
                  <a:lnTo>
                    <a:pt x="798" y="288"/>
                  </a:lnTo>
                  <a:lnTo>
                    <a:pt x="762" y="264"/>
                  </a:lnTo>
                  <a:lnTo>
                    <a:pt x="738" y="234"/>
                  </a:lnTo>
                  <a:lnTo>
                    <a:pt x="738" y="222"/>
                  </a:lnTo>
                  <a:lnTo>
                    <a:pt x="744" y="210"/>
                  </a:lnTo>
                  <a:lnTo>
                    <a:pt x="732" y="174"/>
                  </a:lnTo>
                  <a:lnTo>
                    <a:pt x="714" y="156"/>
                  </a:lnTo>
                  <a:lnTo>
                    <a:pt x="708" y="144"/>
                  </a:lnTo>
                  <a:lnTo>
                    <a:pt x="714" y="126"/>
                  </a:lnTo>
                  <a:lnTo>
                    <a:pt x="720" y="114"/>
                  </a:lnTo>
                  <a:lnTo>
                    <a:pt x="732" y="102"/>
                  </a:lnTo>
                  <a:lnTo>
                    <a:pt x="744" y="102"/>
                  </a:lnTo>
                  <a:lnTo>
                    <a:pt x="762" y="108"/>
                  </a:lnTo>
                  <a:lnTo>
                    <a:pt x="774" y="114"/>
                  </a:lnTo>
                  <a:lnTo>
                    <a:pt x="780" y="138"/>
                  </a:lnTo>
                  <a:lnTo>
                    <a:pt x="786" y="144"/>
                  </a:lnTo>
                  <a:lnTo>
                    <a:pt x="798" y="138"/>
                  </a:lnTo>
                  <a:lnTo>
                    <a:pt x="804" y="132"/>
                  </a:lnTo>
                  <a:lnTo>
                    <a:pt x="816" y="120"/>
                  </a:lnTo>
                  <a:lnTo>
                    <a:pt x="816" y="108"/>
                  </a:lnTo>
                  <a:lnTo>
                    <a:pt x="828" y="102"/>
                  </a:lnTo>
                  <a:lnTo>
                    <a:pt x="828" y="96"/>
                  </a:lnTo>
                  <a:lnTo>
                    <a:pt x="840" y="96"/>
                  </a:lnTo>
                  <a:lnTo>
                    <a:pt x="840" y="84"/>
                  </a:lnTo>
                  <a:lnTo>
                    <a:pt x="852" y="90"/>
                  </a:lnTo>
                  <a:lnTo>
                    <a:pt x="852" y="96"/>
                  </a:lnTo>
                  <a:lnTo>
                    <a:pt x="870" y="90"/>
                  </a:lnTo>
                  <a:lnTo>
                    <a:pt x="894" y="78"/>
                  </a:lnTo>
                  <a:lnTo>
                    <a:pt x="912" y="78"/>
                  </a:lnTo>
                  <a:lnTo>
                    <a:pt x="942" y="66"/>
                  </a:lnTo>
                  <a:lnTo>
                    <a:pt x="942" y="60"/>
                  </a:lnTo>
                  <a:lnTo>
                    <a:pt x="954" y="48"/>
                  </a:lnTo>
                  <a:lnTo>
                    <a:pt x="966" y="30"/>
                  </a:lnTo>
                  <a:lnTo>
                    <a:pt x="978" y="30"/>
                  </a:lnTo>
                  <a:lnTo>
                    <a:pt x="978" y="24"/>
                  </a:lnTo>
                  <a:lnTo>
                    <a:pt x="984" y="12"/>
                  </a:lnTo>
                  <a:lnTo>
                    <a:pt x="990" y="12"/>
                  </a:lnTo>
                  <a:lnTo>
                    <a:pt x="996" y="12"/>
                  </a:lnTo>
                  <a:lnTo>
                    <a:pt x="1014" y="6"/>
                  </a:lnTo>
                  <a:lnTo>
                    <a:pt x="1026" y="6"/>
                  </a:lnTo>
                  <a:lnTo>
                    <a:pt x="1044" y="6"/>
                  </a:lnTo>
                  <a:lnTo>
                    <a:pt x="1050" y="6"/>
                  </a:lnTo>
                  <a:lnTo>
                    <a:pt x="1056" y="6"/>
                  </a:lnTo>
                  <a:lnTo>
                    <a:pt x="1062" y="6"/>
                  </a:lnTo>
                  <a:lnTo>
                    <a:pt x="1068" y="6"/>
                  </a:lnTo>
                  <a:lnTo>
                    <a:pt x="1074" y="6"/>
                  </a:lnTo>
                  <a:lnTo>
                    <a:pt x="1080" y="6"/>
                  </a:lnTo>
                  <a:lnTo>
                    <a:pt x="1086" y="0"/>
                  </a:lnTo>
                  <a:lnTo>
                    <a:pt x="1092" y="30"/>
                  </a:lnTo>
                  <a:lnTo>
                    <a:pt x="1098" y="60"/>
                  </a:lnTo>
                  <a:lnTo>
                    <a:pt x="1110" y="84"/>
                  </a:lnTo>
                  <a:lnTo>
                    <a:pt x="1122" y="114"/>
                  </a:lnTo>
                  <a:lnTo>
                    <a:pt x="1128" y="144"/>
                  </a:lnTo>
                  <a:lnTo>
                    <a:pt x="1122" y="156"/>
                  </a:lnTo>
                  <a:lnTo>
                    <a:pt x="1128" y="168"/>
                  </a:lnTo>
                  <a:lnTo>
                    <a:pt x="1134" y="186"/>
                  </a:lnTo>
                  <a:lnTo>
                    <a:pt x="1140" y="204"/>
                  </a:lnTo>
                  <a:lnTo>
                    <a:pt x="1146" y="210"/>
                  </a:lnTo>
                  <a:lnTo>
                    <a:pt x="1146" y="216"/>
                  </a:lnTo>
                  <a:lnTo>
                    <a:pt x="1146" y="228"/>
                  </a:lnTo>
                  <a:lnTo>
                    <a:pt x="1146" y="234"/>
                  </a:lnTo>
                  <a:lnTo>
                    <a:pt x="1140" y="246"/>
                  </a:lnTo>
                  <a:lnTo>
                    <a:pt x="1128" y="258"/>
                  </a:lnTo>
                  <a:lnTo>
                    <a:pt x="1116" y="264"/>
                  </a:lnTo>
                  <a:lnTo>
                    <a:pt x="1110" y="276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2" y="312"/>
                  </a:lnTo>
                  <a:lnTo>
                    <a:pt x="1116" y="324"/>
                  </a:lnTo>
                  <a:lnTo>
                    <a:pt x="1104" y="336"/>
                  </a:lnTo>
                  <a:lnTo>
                    <a:pt x="1104" y="354"/>
                  </a:lnTo>
                  <a:lnTo>
                    <a:pt x="1098" y="372"/>
                  </a:lnTo>
                  <a:lnTo>
                    <a:pt x="1092" y="384"/>
                  </a:lnTo>
                  <a:lnTo>
                    <a:pt x="1086" y="390"/>
                  </a:lnTo>
                  <a:lnTo>
                    <a:pt x="1086" y="402"/>
                  </a:lnTo>
                  <a:lnTo>
                    <a:pt x="1080" y="414"/>
                  </a:lnTo>
                  <a:lnTo>
                    <a:pt x="1074" y="426"/>
                  </a:lnTo>
                  <a:lnTo>
                    <a:pt x="1074" y="450"/>
                  </a:lnTo>
                  <a:lnTo>
                    <a:pt x="1074" y="462"/>
                  </a:lnTo>
                  <a:lnTo>
                    <a:pt x="1068" y="474"/>
                  </a:lnTo>
                  <a:lnTo>
                    <a:pt x="1062" y="486"/>
                  </a:lnTo>
                  <a:lnTo>
                    <a:pt x="1056" y="498"/>
                  </a:lnTo>
                  <a:close/>
                  <a:moveTo>
                    <a:pt x="186" y="378"/>
                  </a:moveTo>
                  <a:lnTo>
                    <a:pt x="186" y="384"/>
                  </a:lnTo>
                  <a:lnTo>
                    <a:pt x="180" y="390"/>
                  </a:lnTo>
                  <a:lnTo>
                    <a:pt x="174" y="396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14"/>
                  </a:lnTo>
                  <a:lnTo>
                    <a:pt x="126" y="414"/>
                  </a:lnTo>
                  <a:lnTo>
                    <a:pt x="120" y="414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2" y="426"/>
                  </a:lnTo>
                  <a:lnTo>
                    <a:pt x="102" y="432"/>
                  </a:lnTo>
                  <a:lnTo>
                    <a:pt x="96" y="432"/>
                  </a:lnTo>
                  <a:lnTo>
                    <a:pt x="90" y="432"/>
                  </a:lnTo>
                  <a:lnTo>
                    <a:pt x="84" y="438"/>
                  </a:lnTo>
                  <a:lnTo>
                    <a:pt x="78" y="438"/>
                  </a:lnTo>
                  <a:lnTo>
                    <a:pt x="78" y="444"/>
                  </a:lnTo>
                  <a:lnTo>
                    <a:pt x="72" y="444"/>
                  </a:lnTo>
                  <a:lnTo>
                    <a:pt x="72" y="450"/>
                  </a:lnTo>
                  <a:lnTo>
                    <a:pt x="66" y="456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48" y="468"/>
                  </a:lnTo>
                  <a:lnTo>
                    <a:pt x="42" y="468"/>
                  </a:lnTo>
                  <a:lnTo>
                    <a:pt x="42" y="462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8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0" y="396"/>
                  </a:lnTo>
                  <a:lnTo>
                    <a:pt x="6" y="384"/>
                  </a:lnTo>
                  <a:lnTo>
                    <a:pt x="18" y="372"/>
                  </a:lnTo>
                  <a:lnTo>
                    <a:pt x="30" y="348"/>
                  </a:lnTo>
                  <a:lnTo>
                    <a:pt x="30" y="342"/>
                  </a:lnTo>
                  <a:lnTo>
                    <a:pt x="42" y="330"/>
                  </a:lnTo>
                  <a:lnTo>
                    <a:pt x="42" y="324"/>
                  </a:lnTo>
                  <a:lnTo>
                    <a:pt x="48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60" y="282"/>
                  </a:lnTo>
                  <a:lnTo>
                    <a:pt x="60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2" y="258"/>
                  </a:lnTo>
                  <a:lnTo>
                    <a:pt x="84" y="246"/>
                  </a:lnTo>
                  <a:lnTo>
                    <a:pt x="90" y="234"/>
                  </a:lnTo>
                  <a:lnTo>
                    <a:pt x="96" y="234"/>
                  </a:lnTo>
                  <a:lnTo>
                    <a:pt x="96" y="228"/>
                  </a:lnTo>
                  <a:lnTo>
                    <a:pt x="102" y="222"/>
                  </a:lnTo>
                  <a:lnTo>
                    <a:pt x="102" y="228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14" y="228"/>
                  </a:lnTo>
                  <a:lnTo>
                    <a:pt x="114" y="234"/>
                  </a:lnTo>
                  <a:lnTo>
                    <a:pt x="120" y="228"/>
                  </a:lnTo>
                  <a:lnTo>
                    <a:pt x="120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26" y="228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8" y="234"/>
                  </a:lnTo>
                  <a:lnTo>
                    <a:pt x="144" y="234"/>
                  </a:lnTo>
                  <a:lnTo>
                    <a:pt x="144" y="228"/>
                  </a:lnTo>
                  <a:lnTo>
                    <a:pt x="150" y="228"/>
                  </a:lnTo>
                  <a:lnTo>
                    <a:pt x="156" y="228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46"/>
                  </a:lnTo>
                  <a:lnTo>
                    <a:pt x="162" y="240"/>
                  </a:lnTo>
                  <a:lnTo>
                    <a:pt x="162" y="246"/>
                  </a:lnTo>
                  <a:lnTo>
                    <a:pt x="162" y="258"/>
                  </a:lnTo>
                  <a:lnTo>
                    <a:pt x="162" y="264"/>
                  </a:lnTo>
                  <a:lnTo>
                    <a:pt x="156" y="270"/>
                  </a:lnTo>
                  <a:lnTo>
                    <a:pt x="162" y="270"/>
                  </a:lnTo>
                  <a:lnTo>
                    <a:pt x="162" y="282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86" y="288"/>
                  </a:lnTo>
                  <a:lnTo>
                    <a:pt x="186" y="294"/>
                  </a:lnTo>
                  <a:lnTo>
                    <a:pt x="180" y="300"/>
                  </a:lnTo>
                  <a:lnTo>
                    <a:pt x="174" y="318"/>
                  </a:lnTo>
                  <a:lnTo>
                    <a:pt x="174" y="324"/>
                  </a:lnTo>
                  <a:lnTo>
                    <a:pt x="168" y="330"/>
                  </a:lnTo>
                  <a:lnTo>
                    <a:pt x="168" y="342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74" y="360"/>
                  </a:lnTo>
                  <a:lnTo>
                    <a:pt x="180" y="366"/>
                  </a:lnTo>
                  <a:lnTo>
                    <a:pt x="186" y="3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8" name="Freeform 23">
              <a:extLst>
                <a:ext uri="{FF2B5EF4-FFF2-40B4-BE49-F238E27FC236}">
                  <a16:creationId xmlns:a16="http://schemas.microsoft.com/office/drawing/2014/main" id="{A539A33E-3F6E-4AF7-BD88-1853165307F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6312" y="3604793"/>
              <a:ext cx="581410" cy="621747"/>
            </a:xfrm>
            <a:custGeom>
              <a:avLst/>
              <a:gdLst>
                <a:gd name="T0" fmla="*/ 90 w 1092"/>
                <a:gd name="T1" fmla="*/ 60 h 1170"/>
                <a:gd name="T2" fmla="*/ 83 w 1092"/>
                <a:gd name="T3" fmla="*/ 62 h 1170"/>
                <a:gd name="T4" fmla="*/ 72 w 1092"/>
                <a:gd name="T5" fmla="*/ 68 h 1170"/>
                <a:gd name="T6" fmla="*/ 68 w 1092"/>
                <a:gd name="T7" fmla="*/ 71 h 1170"/>
                <a:gd name="T8" fmla="*/ 61 w 1092"/>
                <a:gd name="T9" fmla="*/ 69 h 1170"/>
                <a:gd name="T10" fmla="*/ 64 w 1092"/>
                <a:gd name="T11" fmla="*/ 82 h 1170"/>
                <a:gd name="T12" fmla="*/ 67 w 1092"/>
                <a:gd name="T13" fmla="*/ 93 h 1170"/>
                <a:gd name="T14" fmla="*/ 62 w 1092"/>
                <a:gd name="T15" fmla="*/ 96 h 1170"/>
                <a:gd name="T16" fmla="*/ 59 w 1092"/>
                <a:gd name="T17" fmla="*/ 99 h 1170"/>
                <a:gd name="T18" fmla="*/ 53 w 1092"/>
                <a:gd name="T19" fmla="*/ 101 h 1170"/>
                <a:gd name="T20" fmla="*/ 50 w 1092"/>
                <a:gd name="T21" fmla="*/ 100 h 1170"/>
                <a:gd name="T22" fmla="*/ 50 w 1092"/>
                <a:gd name="T23" fmla="*/ 93 h 1170"/>
                <a:gd name="T24" fmla="*/ 37 w 1092"/>
                <a:gd name="T25" fmla="*/ 85 h 1170"/>
                <a:gd name="T26" fmla="*/ 32 w 1092"/>
                <a:gd name="T27" fmla="*/ 86 h 1170"/>
                <a:gd name="T28" fmla="*/ 29 w 1092"/>
                <a:gd name="T29" fmla="*/ 88 h 1170"/>
                <a:gd name="T30" fmla="*/ 27 w 1092"/>
                <a:gd name="T31" fmla="*/ 86 h 1170"/>
                <a:gd name="T32" fmla="*/ 23 w 1092"/>
                <a:gd name="T33" fmla="*/ 87 h 1170"/>
                <a:gd name="T34" fmla="*/ 17 w 1092"/>
                <a:gd name="T35" fmla="*/ 87 h 1170"/>
                <a:gd name="T36" fmla="*/ 18 w 1092"/>
                <a:gd name="T37" fmla="*/ 89 h 1170"/>
                <a:gd name="T38" fmla="*/ 16 w 1092"/>
                <a:gd name="T39" fmla="*/ 92 h 1170"/>
                <a:gd name="T40" fmla="*/ 12 w 1092"/>
                <a:gd name="T41" fmla="*/ 89 h 1170"/>
                <a:gd name="T42" fmla="*/ 13 w 1092"/>
                <a:gd name="T43" fmla="*/ 84 h 1170"/>
                <a:gd name="T44" fmla="*/ 12 w 1092"/>
                <a:gd name="T45" fmla="*/ 80 h 1170"/>
                <a:gd name="T46" fmla="*/ 10 w 1092"/>
                <a:gd name="T47" fmla="*/ 80 h 1170"/>
                <a:gd name="T48" fmla="*/ 8 w 1092"/>
                <a:gd name="T49" fmla="*/ 79 h 1170"/>
                <a:gd name="T50" fmla="*/ 6 w 1092"/>
                <a:gd name="T51" fmla="*/ 78 h 1170"/>
                <a:gd name="T52" fmla="*/ 6 w 1092"/>
                <a:gd name="T53" fmla="*/ 77 h 1170"/>
                <a:gd name="T54" fmla="*/ 4 w 1092"/>
                <a:gd name="T55" fmla="*/ 75 h 1170"/>
                <a:gd name="T56" fmla="*/ 0 w 1092"/>
                <a:gd name="T57" fmla="*/ 72 h 1170"/>
                <a:gd name="T58" fmla="*/ 0 w 1092"/>
                <a:gd name="T59" fmla="*/ 69 h 1170"/>
                <a:gd name="T60" fmla="*/ 3 w 1092"/>
                <a:gd name="T61" fmla="*/ 67 h 1170"/>
                <a:gd name="T62" fmla="*/ 6 w 1092"/>
                <a:gd name="T63" fmla="*/ 62 h 1170"/>
                <a:gd name="T64" fmla="*/ 8 w 1092"/>
                <a:gd name="T65" fmla="*/ 58 h 1170"/>
                <a:gd name="T66" fmla="*/ 5 w 1092"/>
                <a:gd name="T67" fmla="*/ 54 h 1170"/>
                <a:gd name="T68" fmla="*/ 6 w 1092"/>
                <a:gd name="T69" fmla="*/ 50 h 1170"/>
                <a:gd name="T70" fmla="*/ 8 w 1092"/>
                <a:gd name="T71" fmla="*/ 46 h 1170"/>
                <a:gd name="T72" fmla="*/ 10 w 1092"/>
                <a:gd name="T73" fmla="*/ 43 h 1170"/>
                <a:gd name="T74" fmla="*/ 14 w 1092"/>
                <a:gd name="T75" fmla="*/ 38 h 1170"/>
                <a:gd name="T76" fmla="*/ 31 w 1092"/>
                <a:gd name="T77" fmla="*/ 40 h 1170"/>
                <a:gd name="T78" fmla="*/ 30 w 1092"/>
                <a:gd name="T79" fmla="*/ 46 h 1170"/>
                <a:gd name="T80" fmla="*/ 36 w 1092"/>
                <a:gd name="T81" fmla="*/ 47 h 1170"/>
                <a:gd name="T82" fmla="*/ 41 w 1092"/>
                <a:gd name="T83" fmla="*/ 44 h 1170"/>
                <a:gd name="T84" fmla="*/ 43 w 1092"/>
                <a:gd name="T85" fmla="*/ 39 h 1170"/>
                <a:gd name="T86" fmla="*/ 44 w 1092"/>
                <a:gd name="T87" fmla="*/ 35 h 1170"/>
                <a:gd name="T88" fmla="*/ 44 w 1092"/>
                <a:gd name="T89" fmla="*/ 29 h 1170"/>
                <a:gd name="T90" fmla="*/ 48 w 1092"/>
                <a:gd name="T91" fmla="*/ 24 h 1170"/>
                <a:gd name="T92" fmla="*/ 49 w 1092"/>
                <a:gd name="T93" fmla="*/ 19 h 1170"/>
                <a:gd name="T94" fmla="*/ 51 w 1092"/>
                <a:gd name="T95" fmla="*/ 14 h 1170"/>
                <a:gd name="T96" fmla="*/ 54 w 1092"/>
                <a:gd name="T97" fmla="*/ 10 h 1170"/>
                <a:gd name="T98" fmla="*/ 53 w 1092"/>
                <a:gd name="T99" fmla="*/ 7 h 1170"/>
                <a:gd name="T100" fmla="*/ 55 w 1092"/>
                <a:gd name="T101" fmla="*/ 3 h 1170"/>
                <a:gd name="T102" fmla="*/ 58 w 1092"/>
                <a:gd name="T103" fmla="*/ 0 h 1170"/>
                <a:gd name="T104" fmla="*/ 65 w 1092"/>
                <a:gd name="T105" fmla="*/ 2 h 1170"/>
                <a:gd name="T106" fmla="*/ 61 w 1092"/>
                <a:gd name="T107" fmla="*/ 6 h 1170"/>
                <a:gd name="T108" fmla="*/ 67 w 1092"/>
                <a:gd name="T109" fmla="*/ 7 h 1170"/>
                <a:gd name="T110" fmla="*/ 71 w 1092"/>
                <a:gd name="T111" fmla="*/ 6 h 1170"/>
                <a:gd name="T112" fmla="*/ 75 w 1092"/>
                <a:gd name="T113" fmla="*/ 9 h 1170"/>
                <a:gd name="T114" fmla="*/ 82 w 1092"/>
                <a:gd name="T115" fmla="*/ 12 h 1170"/>
                <a:gd name="T116" fmla="*/ 84 w 1092"/>
                <a:gd name="T117" fmla="*/ 17 h 1170"/>
                <a:gd name="T118" fmla="*/ 94 w 1092"/>
                <a:gd name="T119" fmla="*/ 23 h 1170"/>
                <a:gd name="T120" fmla="*/ 94 w 1092"/>
                <a:gd name="T121" fmla="*/ 34 h 1170"/>
                <a:gd name="T122" fmla="*/ 90 w 1092"/>
                <a:gd name="T123" fmla="*/ 41 h 1170"/>
                <a:gd name="T124" fmla="*/ 91 w 1092"/>
                <a:gd name="T125" fmla="*/ 51 h 11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92"/>
                <a:gd name="T190" fmla="*/ 0 h 1170"/>
                <a:gd name="T191" fmla="*/ 1092 w 1092"/>
                <a:gd name="T192" fmla="*/ 1170 h 117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92" h="1170">
                  <a:moveTo>
                    <a:pt x="1056" y="654"/>
                  </a:moveTo>
                  <a:lnTo>
                    <a:pt x="1062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0"/>
                  </a:lnTo>
                  <a:lnTo>
                    <a:pt x="1038" y="690"/>
                  </a:lnTo>
                  <a:lnTo>
                    <a:pt x="1032" y="690"/>
                  </a:lnTo>
                  <a:lnTo>
                    <a:pt x="1026" y="690"/>
                  </a:lnTo>
                  <a:lnTo>
                    <a:pt x="1020" y="690"/>
                  </a:lnTo>
                  <a:lnTo>
                    <a:pt x="1002" y="690"/>
                  </a:lnTo>
                  <a:lnTo>
                    <a:pt x="990" y="690"/>
                  </a:lnTo>
                  <a:lnTo>
                    <a:pt x="972" y="696"/>
                  </a:lnTo>
                  <a:lnTo>
                    <a:pt x="966" y="696"/>
                  </a:lnTo>
                  <a:lnTo>
                    <a:pt x="960" y="696"/>
                  </a:lnTo>
                  <a:lnTo>
                    <a:pt x="954" y="708"/>
                  </a:lnTo>
                  <a:lnTo>
                    <a:pt x="954" y="714"/>
                  </a:lnTo>
                  <a:lnTo>
                    <a:pt x="942" y="714"/>
                  </a:lnTo>
                  <a:lnTo>
                    <a:pt x="930" y="732"/>
                  </a:lnTo>
                  <a:lnTo>
                    <a:pt x="918" y="744"/>
                  </a:lnTo>
                  <a:lnTo>
                    <a:pt x="918" y="750"/>
                  </a:lnTo>
                  <a:lnTo>
                    <a:pt x="888" y="762"/>
                  </a:lnTo>
                  <a:lnTo>
                    <a:pt x="870" y="762"/>
                  </a:lnTo>
                  <a:lnTo>
                    <a:pt x="846" y="774"/>
                  </a:lnTo>
                  <a:lnTo>
                    <a:pt x="828" y="780"/>
                  </a:lnTo>
                  <a:lnTo>
                    <a:pt x="828" y="774"/>
                  </a:lnTo>
                  <a:lnTo>
                    <a:pt x="816" y="768"/>
                  </a:lnTo>
                  <a:lnTo>
                    <a:pt x="816" y="780"/>
                  </a:lnTo>
                  <a:lnTo>
                    <a:pt x="804" y="780"/>
                  </a:lnTo>
                  <a:lnTo>
                    <a:pt x="804" y="786"/>
                  </a:lnTo>
                  <a:lnTo>
                    <a:pt x="792" y="792"/>
                  </a:lnTo>
                  <a:lnTo>
                    <a:pt x="792" y="804"/>
                  </a:lnTo>
                  <a:lnTo>
                    <a:pt x="780" y="816"/>
                  </a:lnTo>
                  <a:lnTo>
                    <a:pt x="774" y="822"/>
                  </a:lnTo>
                  <a:lnTo>
                    <a:pt x="762" y="828"/>
                  </a:lnTo>
                  <a:lnTo>
                    <a:pt x="756" y="822"/>
                  </a:lnTo>
                  <a:lnTo>
                    <a:pt x="750" y="798"/>
                  </a:lnTo>
                  <a:lnTo>
                    <a:pt x="738" y="792"/>
                  </a:lnTo>
                  <a:lnTo>
                    <a:pt x="720" y="786"/>
                  </a:lnTo>
                  <a:lnTo>
                    <a:pt x="708" y="786"/>
                  </a:lnTo>
                  <a:lnTo>
                    <a:pt x="696" y="798"/>
                  </a:lnTo>
                  <a:lnTo>
                    <a:pt x="690" y="810"/>
                  </a:lnTo>
                  <a:lnTo>
                    <a:pt x="684" y="828"/>
                  </a:lnTo>
                  <a:lnTo>
                    <a:pt x="690" y="840"/>
                  </a:lnTo>
                  <a:lnTo>
                    <a:pt x="708" y="858"/>
                  </a:lnTo>
                  <a:lnTo>
                    <a:pt x="720" y="894"/>
                  </a:lnTo>
                  <a:lnTo>
                    <a:pt x="714" y="906"/>
                  </a:lnTo>
                  <a:lnTo>
                    <a:pt x="714" y="918"/>
                  </a:lnTo>
                  <a:lnTo>
                    <a:pt x="738" y="948"/>
                  </a:lnTo>
                  <a:lnTo>
                    <a:pt x="774" y="972"/>
                  </a:lnTo>
                  <a:lnTo>
                    <a:pt x="780" y="984"/>
                  </a:lnTo>
                  <a:lnTo>
                    <a:pt x="792" y="996"/>
                  </a:lnTo>
                  <a:lnTo>
                    <a:pt x="792" y="1026"/>
                  </a:lnTo>
                  <a:lnTo>
                    <a:pt x="780" y="1044"/>
                  </a:lnTo>
                  <a:lnTo>
                    <a:pt x="774" y="1050"/>
                  </a:lnTo>
                  <a:lnTo>
                    <a:pt x="768" y="1062"/>
                  </a:lnTo>
                  <a:lnTo>
                    <a:pt x="768" y="1068"/>
                  </a:lnTo>
                  <a:lnTo>
                    <a:pt x="762" y="1074"/>
                  </a:lnTo>
                  <a:lnTo>
                    <a:pt x="762" y="1080"/>
                  </a:lnTo>
                  <a:lnTo>
                    <a:pt x="756" y="1080"/>
                  </a:lnTo>
                  <a:lnTo>
                    <a:pt x="744" y="1086"/>
                  </a:lnTo>
                  <a:lnTo>
                    <a:pt x="744" y="1092"/>
                  </a:lnTo>
                  <a:lnTo>
                    <a:pt x="738" y="1092"/>
                  </a:lnTo>
                  <a:lnTo>
                    <a:pt x="726" y="1098"/>
                  </a:lnTo>
                  <a:lnTo>
                    <a:pt x="720" y="1104"/>
                  </a:lnTo>
                  <a:lnTo>
                    <a:pt x="714" y="1104"/>
                  </a:lnTo>
                  <a:lnTo>
                    <a:pt x="702" y="1116"/>
                  </a:lnTo>
                  <a:lnTo>
                    <a:pt x="696" y="1122"/>
                  </a:lnTo>
                  <a:lnTo>
                    <a:pt x="696" y="1134"/>
                  </a:lnTo>
                  <a:lnTo>
                    <a:pt x="690" y="1134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72" y="1146"/>
                  </a:lnTo>
                  <a:lnTo>
                    <a:pt x="672" y="1152"/>
                  </a:lnTo>
                  <a:lnTo>
                    <a:pt x="660" y="1152"/>
                  </a:lnTo>
                  <a:lnTo>
                    <a:pt x="642" y="1152"/>
                  </a:lnTo>
                  <a:lnTo>
                    <a:pt x="636" y="1152"/>
                  </a:lnTo>
                  <a:lnTo>
                    <a:pt x="630" y="1158"/>
                  </a:lnTo>
                  <a:lnTo>
                    <a:pt x="624" y="1164"/>
                  </a:lnTo>
                  <a:lnTo>
                    <a:pt x="618" y="1170"/>
                  </a:lnTo>
                  <a:lnTo>
                    <a:pt x="612" y="1170"/>
                  </a:lnTo>
                  <a:lnTo>
                    <a:pt x="600" y="1170"/>
                  </a:lnTo>
                  <a:lnTo>
                    <a:pt x="594" y="1170"/>
                  </a:lnTo>
                  <a:lnTo>
                    <a:pt x="588" y="1170"/>
                  </a:lnTo>
                  <a:lnTo>
                    <a:pt x="582" y="1170"/>
                  </a:lnTo>
                  <a:lnTo>
                    <a:pt x="582" y="1164"/>
                  </a:lnTo>
                  <a:lnTo>
                    <a:pt x="576" y="1158"/>
                  </a:lnTo>
                  <a:lnTo>
                    <a:pt x="570" y="1158"/>
                  </a:lnTo>
                  <a:lnTo>
                    <a:pt x="570" y="1152"/>
                  </a:lnTo>
                  <a:lnTo>
                    <a:pt x="570" y="1146"/>
                  </a:lnTo>
                  <a:lnTo>
                    <a:pt x="570" y="1140"/>
                  </a:lnTo>
                  <a:lnTo>
                    <a:pt x="564" y="1140"/>
                  </a:lnTo>
                  <a:lnTo>
                    <a:pt x="564" y="1134"/>
                  </a:lnTo>
                  <a:lnTo>
                    <a:pt x="564" y="1128"/>
                  </a:lnTo>
                  <a:lnTo>
                    <a:pt x="576" y="1104"/>
                  </a:lnTo>
                  <a:lnTo>
                    <a:pt x="582" y="1086"/>
                  </a:lnTo>
                  <a:lnTo>
                    <a:pt x="570" y="1068"/>
                  </a:lnTo>
                  <a:lnTo>
                    <a:pt x="534" y="1056"/>
                  </a:lnTo>
                  <a:lnTo>
                    <a:pt x="516" y="1026"/>
                  </a:lnTo>
                  <a:lnTo>
                    <a:pt x="492" y="1020"/>
                  </a:lnTo>
                  <a:lnTo>
                    <a:pt x="492" y="1014"/>
                  </a:lnTo>
                  <a:lnTo>
                    <a:pt x="480" y="1008"/>
                  </a:lnTo>
                  <a:lnTo>
                    <a:pt x="474" y="996"/>
                  </a:lnTo>
                  <a:lnTo>
                    <a:pt x="444" y="984"/>
                  </a:lnTo>
                  <a:lnTo>
                    <a:pt x="426" y="978"/>
                  </a:lnTo>
                  <a:lnTo>
                    <a:pt x="420" y="972"/>
                  </a:lnTo>
                  <a:lnTo>
                    <a:pt x="408" y="984"/>
                  </a:lnTo>
                  <a:lnTo>
                    <a:pt x="402" y="984"/>
                  </a:lnTo>
                  <a:lnTo>
                    <a:pt x="396" y="984"/>
                  </a:lnTo>
                  <a:lnTo>
                    <a:pt x="390" y="984"/>
                  </a:lnTo>
                  <a:lnTo>
                    <a:pt x="384" y="990"/>
                  </a:lnTo>
                  <a:lnTo>
                    <a:pt x="378" y="990"/>
                  </a:lnTo>
                  <a:lnTo>
                    <a:pt x="372" y="990"/>
                  </a:lnTo>
                  <a:lnTo>
                    <a:pt x="372" y="996"/>
                  </a:lnTo>
                  <a:lnTo>
                    <a:pt x="366" y="996"/>
                  </a:lnTo>
                  <a:lnTo>
                    <a:pt x="360" y="1002"/>
                  </a:lnTo>
                  <a:lnTo>
                    <a:pt x="360" y="1008"/>
                  </a:lnTo>
                  <a:lnTo>
                    <a:pt x="354" y="1008"/>
                  </a:lnTo>
                  <a:lnTo>
                    <a:pt x="342" y="1014"/>
                  </a:lnTo>
                  <a:lnTo>
                    <a:pt x="336" y="1020"/>
                  </a:lnTo>
                  <a:lnTo>
                    <a:pt x="336" y="1014"/>
                  </a:lnTo>
                  <a:lnTo>
                    <a:pt x="330" y="1014"/>
                  </a:lnTo>
                  <a:lnTo>
                    <a:pt x="330" y="1008"/>
                  </a:lnTo>
                  <a:lnTo>
                    <a:pt x="330" y="1002"/>
                  </a:lnTo>
                  <a:lnTo>
                    <a:pt x="324" y="1002"/>
                  </a:lnTo>
                  <a:lnTo>
                    <a:pt x="324" y="996"/>
                  </a:lnTo>
                  <a:lnTo>
                    <a:pt x="324" y="990"/>
                  </a:lnTo>
                  <a:lnTo>
                    <a:pt x="318" y="990"/>
                  </a:lnTo>
                  <a:lnTo>
                    <a:pt x="306" y="996"/>
                  </a:lnTo>
                  <a:lnTo>
                    <a:pt x="300" y="996"/>
                  </a:lnTo>
                  <a:lnTo>
                    <a:pt x="294" y="996"/>
                  </a:lnTo>
                  <a:lnTo>
                    <a:pt x="288" y="1002"/>
                  </a:lnTo>
                  <a:lnTo>
                    <a:pt x="282" y="990"/>
                  </a:lnTo>
                  <a:lnTo>
                    <a:pt x="276" y="984"/>
                  </a:lnTo>
                  <a:lnTo>
                    <a:pt x="270" y="990"/>
                  </a:lnTo>
                  <a:lnTo>
                    <a:pt x="270" y="996"/>
                  </a:lnTo>
                  <a:lnTo>
                    <a:pt x="270" y="1002"/>
                  </a:lnTo>
                  <a:lnTo>
                    <a:pt x="264" y="1008"/>
                  </a:lnTo>
                  <a:lnTo>
                    <a:pt x="252" y="996"/>
                  </a:lnTo>
                  <a:lnTo>
                    <a:pt x="246" y="996"/>
                  </a:lnTo>
                  <a:lnTo>
                    <a:pt x="234" y="1002"/>
                  </a:lnTo>
                  <a:lnTo>
                    <a:pt x="222" y="1002"/>
                  </a:lnTo>
                  <a:lnTo>
                    <a:pt x="210" y="1002"/>
                  </a:lnTo>
                  <a:lnTo>
                    <a:pt x="198" y="996"/>
                  </a:lnTo>
                  <a:lnTo>
                    <a:pt x="198" y="1002"/>
                  </a:lnTo>
                  <a:lnTo>
                    <a:pt x="198" y="1008"/>
                  </a:lnTo>
                  <a:lnTo>
                    <a:pt x="192" y="1020"/>
                  </a:lnTo>
                  <a:lnTo>
                    <a:pt x="198" y="1020"/>
                  </a:lnTo>
                  <a:lnTo>
                    <a:pt x="204" y="1020"/>
                  </a:lnTo>
                  <a:lnTo>
                    <a:pt x="210" y="1026"/>
                  </a:lnTo>
                  <a:lnTo>
                    <a:pt x="216" y="1026"/>
                  </a:lnTo>
                  <a:lnTo>
                    <a:pt x="216" y="1032"/>
                  </a:lnTo>
                  <a:lnTo>
                    <a:pt x="210" y="1032"/>
                  </a:lnTo>
                  <a:lnTo>
                    <a:pt x="210" y="1038"/>
                  </a:lnTo>
                  <a:lnTo>
                    <a:pt x="204" y="1038"/>
                  </a:lnTo>
                  <a:lnTo>
                    <a:pt x="204" y="1044"/>
                  </a:lnTo>
                  <a:lnTo>
                    <a:pt x="198" y="1044"/>
                  </a:lnTo>
                  <a:lnTo>
                    <a:pt x="192" y="1044"/>
                  </a:lnTo>
                  <a:lnTo>
                    <a:pt x="186" y="1050"/>
                  </a:lnTo>
                  <a:lnTo>
                    <a:pt x="186" y="1056"/>
                  </a:lnTo>
                  <a:lnTo>
                    <a:pt x="180" y="1056"/>
                  </a:lnTo>
                  <a:lnTo>
                    <a:pt x="180" y="1062"/>
                  </a:lnTo>
                  <a:lnTo>
                    <a:pt x="174" y="1062"/>
                  </a:lnTo>
                  <a:lnTo>
                    <a:pt x="168" y="1062"/>
                  </a:lnTo>
                  <a:lnTo>
                    <a:pt x="162" y="1062"/>
                  </a:lnTo>
                  <a:lnTo>
                    <a:pt x="156" y="1050"/>
                  </a:lnTo>
                  <a:lnTo>
                    <a:pt x="150" y="1044"/>
                  </a:lnTo>
                  <a:lnTo>
                    <a:pt x="150" y="1038"/>
                  </a:lnTo>
                  <a:lnTo>
                    <a:pt x="144" y="1032"/>
                  </a:lnTo>
                  <a:lnTo>
                    <a:pt x="144" y="1026"/>
                  </a:lnTo>
                  <a:lnTo>
                    <a:pt x="144" y="1014"/>
                  </a:lnTo>
                  <a:lnTo>
                    <a:pt x="150" y="1008"/>
                  </a:lnTo>
                  <a:lnTo>
                    <a:pt x="150" y="1002"/>
                  </a:lnTo>
                  <a:lnTo>
                    <a:pt x="156" y="984"/>
                  </a:lnTo>
                  <a:lnTo>
                    <a:pt x="162" y="978"/>
                  </a:lnTo>
                  <a:lnTo>
                    <a:pt x="162" y="972"/>
                  </a:lnTo>
                  <a:lnTo>
                    <a:pt x="150" y="966"/>
                  </a:lnTo>
                  <a:lnTo>
                    <a:pt x="144" y="966"/>
                  </a:lnTo>
                  <a:lnTo>
                    <a:pt x="138" y="966"/>
                  </a:lnTo>
                  <a:lnTo>
                    <a:pt x="138" y="954"/>
                  </a:lnTo>
                  <a:lnTo>
                    <a:pt x="132" y="954"/>
                  </a:lnTo>
                  <a:lnTo>
                    <a:pt x="138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8" y="924"/>
                  </a:lnTo>
                  <a:lnTo>
                    <a:pt x="132" y="930"/>
                  </a:lnTo>
                  <a:lnTo>
                    <a:pt x="132" y="924"/>
                  </a:lnTo>
                  <a:lnTo>
                    <a:pt x="126" y="918"/>
                  </a:lnTo>
                  <a:lnTo>
                    <a:pt x="132" y="918"/>
                  </a:lnTo>
                  <a:lnTo>
                    <a:pt x="132" y="912"/>
                  </a:lnTo>
                  <a:lnTo>
                    <a:pt x="126" y="912"/>
                  </a:lnTo>
                  <a:lnTo>
                    <a:pt x="120" y="912"/>
                  </a:lnTo>
                  <a:lnTo>
                    <a:pt x="120" y="918"/>
                  </a:lnTo>
                  <a:lnTo>
                    <a:pt x="114" y="918"/>
                  </a:lnTo>
                  <a:lnTo>
                    <a:pt x="114" y="912"/>
                  </a:lnTo>
                  <a:lnTo>
                    <a:pt x="108" y="912"/>
                  </a:lnTo>
                  <a:lnTo>
                    <a:pt x="102" y="912"/>
                  </a:lnTo>
                  <a:lnTo>
                    <a:pt x="108" y="906"/>
                  </a:lnTo>
                  <a:lnTo>
                    <a:pt x="102" y="906"/>
                  </a:lnTo>
                  <a:lnTo>
                    <a:pt x="96" y="906"/>
                  </a:lnTo>
                  <a:lnTo>
                    <a:pt x="96" y="912"/>
                  </a:lnTo>
                  <a:lnTo>
                    <a:pt x="90" y="918"/>
                  </a:lnTo>
                  <a:lnTo>
                    <a:pt x="90" y="912"/>
                  </a:lnTo>
                  <a:lnTo>
                    <a:pt x="84" y="912"/>
                  </a:lnTo>
                  <a:lnTo>
                    <a:pt x="84" y="918"/>
                  </a:lnTo>
                  <a:lnTo>
                    <a:pt x="78" y="918"/>
                  </a:lnTo>
                  <a:lnTo>
                    <a:pt x="78" y="912"/>
                  </a:lnTo>
                  <a:lnTo>
                    <a:pt x="78" y="906"/>
                  </a:lnTo>
                  <a:lnTo>
                    <a:pt x="72" y="900"/>
                  </a:lnTo>
                  <a:lnTo>
                    <a:pt x="78" y="900"/>
                  </a:lnTo>
                  <a:lnTo>
                    <a:pt x="72" y="900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8" y="888"/>
                  </a:lnTo>
                  <a:lnTo>
                    <a:pt x="72" y="888"/>
                  </a:lnTo>
                  <a:lnTo>
                    <a:pt x="72" y="882"/>
                  </a:lnTo>
                  <a:lnTo>
                    <a:pt x="66" y="876"/>
                  </a:lnTo>
                  <a:lnTo>
                    <a:pt x="60" y="882"/>
                  </a:lnTo>
                  <a:lnTo>
                    <a:pt x="54" y="876"/>
                  </a:lnTo>
                  <a:lnTo>
                    <a:pt x="54" y="882"/>
                  </a:lnTo>
                  <a:lnTo>
                    <a:pt x="48" y="882"/>
                  </a:lnTo>
                  <a:lnTo>
                    <a:pt x="42" y="870"/>
                  </a:lnTo>
                  <a:lnTo>
                    <a:pt x="42" y="864"/>
                  </a:lnTo>
                  <a:lnTo>
                    <a:pt x="36" y="858"/>
                  </a:lnTo>
                  <a:lnTo>
                    <a:pt x="36" y="852"/>
                  </a:lnTo>
                  <a:lnTo>
                    <a:pt x="30" y="852"/>
                  </a:lnTo>
                  <a:lnTo>
                    <a:pt x="30" y="846"/>
                  </a:lnTo>
                  <a:lnTo>
                    <a:pt x="24" y="846"/>
                  </a:lnTo>
                  <a:lnTo>
                    <a:pt x="18" y="840"/>
                  </a:lnTo>
                  <a:lnTo>
                    <a:pt x="12" y="834"/>
                  </a:lnTo>
                  <a:lnTo>
                    <a:pt x="0" y="828"/>
                  </a:lnTo>
                  <a:lnTo>
                    <a:pt x="0" y="822"/>
                  </a:lnTo>
                  <a:lnTo>
                    <a:pt x="0" y="816"/>
                  </a:lnTo>
                  <a:lnTo>
                    <a:pt x="0" y="810"/>
                  </a:lnTo>
                  <a:lnTo>
                    <a:pt x="6" y="804"/>
                  </a:lnTo>
                  <a:lnTo>
                    <a:pt x="12" y="804"/>
                  </a:lnTo>
                  <a:lnTo>
                    <a:pt x="12" y="798"/>
                  </a:lnTo>
                  <a:lnTo>
                    <a:pt x="12" y="792"/>
                  </a:lnTo>
                  <a:lnTo>
                    <a:pt x="6" y="792"/>
                  </a:lnTo>
                  <a:lnTo>
                    <a:pt x="6" y="786"/>
                  </a:lnTo>
                  <a:lnTo>
                    <a:pt x="6" y="780"/>
                  </a:lnTo>
                  <a:lnTo>
                    <a:pt x="18" y="780"/>
                  </a:lnTo>
                  <a:lnTo>
                    <a:pt x="18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0" y="774"/>
                  </a:lnTo>
                  <a:lnTo>
                    <a:pt x="36" y="768"/>
                  </a:lnTo>
                  <a:lnTo>
                    <a:pt x="42" y="768"/>
                  </a:lnTo>
                  <a:lnTo>
                    <a:pt x="60" y="750"/>
                  </a:lnTo>
                  <a:lnTo>
                    <a:pt x="60" y="744"/>
                  </a:lnTo>
                  <a:lnTo>
                    <a:pt x="54" y="738"/>
                  </a:lnTo>
                  <a:lnTo>
                    <a:pt x="60" y="732"/>
                  </a:lnTo>
                  <a:lnTo>
                    <a:pt x="54" y="732"/>
                  </a:lnTo>
                  <a:lnTo>
                    <a:pt x="60" y="726"/>
                  </a:lnTo>
                  <a:lnTo>
                    <a:pt x="66" y="720"/>
                  </a:lnTo>
                  <a:lnTo>
                    <a:pt x="72" y="714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84" y="696"/>
                  </a:lnTo>
                  <a:lnTo>
                    <a:pt x="90" y="684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66"/>
                  </a:lnTo>
                  <a:lnTo>
                    <a:pt x="90" y="660"/>
                  </a:lnTo>
                  <a:lnTo>
                    <a:pt x="84" y="654"/>
                  </a:lnTo>
                  <a:lnTo>
                    <a:pt x="84" y="648"/>
                  </a:lnTo>
                  <a:lnTo>
                    <a:pt x="78" y="636"/>
                  </a:lnTo>
                  <a:lnTo>
                    <a:pt x="66" y="630"/>
                  </a:lnTo>
                  <a:lnTo>
                    <a:pt x="66" y="624"/>
                  </a:lnTo>
                  <a:lnTo>
                    <a:pt x="60" y="624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60" y="600"/>
                  </a:lnTo>
                  <a:lnTo>
                    <a:pt x="66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6" y="588"/>
                  </a:lnTo>
                  <a:lnTo>
                    <a:pt x="66" y="582"/>
                  </a:lnTo>
                  <a:lnTo>
                    <a:pt x="72" y="582"/>
                  </a:lnTo>
                  <a:lnTo>
                    <a:pt x="78" y="576"/>
                  </a:lnTo>
                  <a:lnTo>
                    <a:pt x="72" y="576"/>
                  </a:lnTo>
                  <a:lnTo>
                    <a:pt x="66" y="570"/>
                  </a:lnTo>
                  <a:lnTo>
                    <a:pt x="72" y="564"/>
                  </a:lnTo>
                  <a:lnTo>
                    <a:pt x="78" y="558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90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102" y="516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0" y="504"/>
                  </a:lnTo>
                  <a:lnTo>
                    <a:pt x="120" y="498"/>
                  </a:lnTo>
                  <a:lnTo>
                    <a:pt x="120" y="492"/>
                  </a:lnTo>
                  <a:lnTo>
                    <a:pt x="126" y="480"/>
                  </a:lnTo>
                  <a:lnTo>
                    <a:pt x="132" y="474"/>
                  </a:lnTo>
                  <a:lnTo>
                    <a:pt x="132" y="468"/>
                  </a:lnTo>
                  <a:lnTo>
                    <a:pt x="138" y="462"/>
                  </a:lnTo>
                  <a:lnTo>
                    <a:pt x="138" y="456"/>
                  </a:lnTo>
                  <a:lnTo>
                    <a:pt x="138" y="450"/>
                  </a:lnTo>
                  <a:lnTo>
                    <a:pt x="144" y="444"/>
                  </a:lnTo>
                  <a:lnTo>
                    <a:pt x="162" y="438"/>
                  </a:lnTo>
                  <a:lnTo>
                    <a:pt x="186" y="438"/>
                  </a:lnTo>
                  <a:lnTo>
                    <a:pt x="210" y="444"/>
                  </a:lnTo>
                  <a:lnTo>
                    <a:pt x="276" y="450"/>
                  </a:lnTo>
                  <a:lnTo>
                    <a:pt x="342" y="450"/>
                  </a:lnTo>
                  <a:lnTo>
                    <a:pt x="348" y="450"/>
                  </a:lnTo>
                  <a:lnTo>
                    <a:pt x="354" y="450"/>
                  </a:lnTo>
                  <a:lnTo>
                    <a:pt x="360" y="456"/>
                  </a:lnTo>
                  <a:lnTo>
                    <a:pt x="354" y="462"/>
                  </a:lnTo>
                  <a:lnTo>
                    <a:pt x="354" y="468"/>
                  </a:lnTo>
                  <a:lnTo>
                    <a:pt x="354" y="474"/>
                  </a:lnTo>
                  <a:lnTo>
                    <a:pt x="348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48" y="498"/>
                  </a:lnTo>
                  <a:lnTo>
                    <a:pt x="342" y="510"/>
                  </a:lnTo>
                  <a:lnTo>
                    <a:pt x="348" y="528"/>
                  </a:lnTo>
                  <a:lnTo>
                    <a:pt x="348" y="534"/>
                  </a:lnTo>
                  <a:lnTo>
                    <a:pt x="354" y="552"/>
                  </a:lnTo>
                  <a:lnTo>
                    <a:pt x="366" y="546"/>
                  </a:lnTo>
                  <a:lnTo>
                    <a:pt x="372" y="540"/>
                  </a:lnTo>
                  <a:lnTo>
                    <a:pt x="384" y="540"/>
                  </a:lnTo>
                  <a:lnTo>
                    <a:pt x="396" y="534"/>
                  </a:lnTo>
                  <a:lnTo>
                    <a:pt x="402" y="534"/>
                  </a:lnTo>
                  <a:lnTo>
                    <a:pt x="414" y="546"/>
                  </a:lnTo>
                  <a:lnTo>
                    <a:pt x="432" y="540"/>
                  </a:lnTo>
                  <a:lnTo>
                    <a:pt x="450" y="534"/>
                  </a:lnTo>
                  <a:lnTo>
                    <a:pt x="450" y="528"/>
                  </a:lnTo>
                  <a:lnTo>
                    <a:pt x="456" y="528"/>
                  </a:lnTo>
                  <a:lnTo>
                    <a:pt x="456" y="522"/>
                  </a:lnTo>
                  <a:lnTo>
                    <a:pt x="456" y="516"/>
                  </a:lnTo>
                  <a:lnTo>
                    <a:pt x="462" y="516"/>
                  </a:lnTo>
                  <a:lnTo>
                    <a:pt x="468" y="510"/>
                  </a:lnTo>
                  <a:lnTo>
                    <a:pt x="468" y="504"/>
                  </a:lnTo>
                  <a:lnTo>
                    <a:pt x="474" y="504"/>
                  </a:lnTo>
                  <a:lnTo>
                    <a:pt x="480" y="504"/>
                  </a:lnTo>
                  <a:lnTo>
                    <a:pt x="486" y="498"/>
                  </a:lnTo>
                  <a:lnTo>
                    <a:pt x="492" y="498"/>
                  </a:lnTo>
                  <a:lnTo>
                    <a:pt x="486" y="480"/>
                  </a:lnTo>
                  <a:lnTo>
                    <a:pt x="492" y="462"/>
                  </a:lnTo>
                  <a:lnTo>
                    <a:pt x="498" y="444"/>
                  </a:lnTo>
                  <a:lnTo>
                    <a:pt x="498" y="426"/>
                  </a:lnTo>
                  <a:lnTo>
                    <a:pt x="498" y="420"/>
                  </a:lnTo>
                  <a:lnTo>
                    <a:pt x="504" y="426"/>
                  </a:lnTo>
                  <a:lnTo>
                    <a:pt x="504" y="420"/>
                  </a:lnTo>
                  <a:lnTo>
                    <a:pt x="510" y="420"/>
                  </a:lnTo>
                  <a:lnTo>
                    <a:pt x="510" y="414"/>
                  </a:lnTo>
                  <a:lnTo>
                    <a:pt x="510" y="408"/>
                  </a:lnTo>
                  <a:lnTo>
                    <a:pt x="504" y="402"/>
                  </a:lnTo>
                  <a:lnTo>
                    <a:pt x="504" y="396"/>
                  </a:lnTo>
                  <a:lnTo>
                    <a:pt x="504" y="384"/>
                  </a:lnTo>
                  <a:lnTo>
                    <a:pt x="504" y="378"/>
                  </a:lnTo>
                  <a:lnTo>
                    <a:pt x="504" y="360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510" y="348"/>
                  </a:lnTo>
                  <a:lnTo>
                    <a:pt x="510" y="336"/>
                  </a:lnTo>
                  <a:lnTo>
                    <a:pt x="516" y="330"/>
                  </a:lnTo>
                  <a:lnTo>
                    <a:pt x="522" y="324"/>
                  </a:lnTo>
                  <a:lnTo>
                    <a:pt x="528" y="318"/>
                  </a:lnTo>
                  <a:lnTo>
                    <a:pt x="534" y="312"/>
                  </a:lnTo>
                  <a:lnTo>
                    <a:pt x="534" y="300"/>
                  </a:lnTo>
                  <a:lnTo>
                    <a:pt x="540" y="294"/>
                  </a:lnTo>
                  <a:lnTo>
                    <a:pt x="546" y="288"/>
                  </a:lnTo>
                  <a:lnTo>
                    <a:pt x="552" y="276"/>
                  </a:lnTo>
                  <a:lnTo>
                    <a:pt x="558" y="264"/>
                  </a:lnTo>
                  <a:lnTo>
                    <a:pt x="558" y="258"/>
                  </a:lnTo>
                  <a:lnTo>
                    <a:pt x="558" y="252"/>
                  </a:lnTo>
                  <a:lnTo>
                    <a:pt x="558" y="246"/>
                  </a:lnTo>
                  <a:lnTo>
                    <a:pt x="564" y="246"/>
                  </a:lnTo>
                  <a:lnTo>
                    <a:pt x="564" y="240"/>
                  </a:lnTo>
                  <a:lnTo>
                    <a:pt x="570" y="234"/>
                  </a:lnTo>
                  <a:lnTo>
                    <a:pt x="564" y="216"/>
                  </a:lnTo>
                  <a:lnTo>
                    <a:pt x="564" y="210"/>
                  </a:lnTo>
                  <a:lnTo>
                    <a:pt x="570" y="210"/>
                  </a:lnTo>
                  <a:lnTo>
                    <a:pt x="570" y="204"/>
                  </a:lnTo>
                  <a:lnTo>
                    <a:pt x="570" y="198"/>
                  </a:lnTo>
                  <a:lnTo>
                    <a:pt x="582" y="180"/>
                  </a:lnTo>
                  <a:lnTo>
                    <a:pt x="582" y="174"/>
                  </a:lnTo>
                  <a:lnTo>
                    <a:pt x="582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606" y="150"/>
                  </a:lnTo>
                  <a:lnTo>
                    <a:pt x="612" y="150"/>
                  </a:lnTo>
                  <a:lnTo>
                    <a:pt x="618" y="150"/>
                  </a:lnTo>
                  <a:lnTo>
                    <a:pt x="624" y="138"/>
                  </a:lnTo>
                  <a:lnTo>
                    <a:pt x="618" y="132"/>
                  </a:lnTo>
                  <a:lnTo>
                    <a:pt x="618" y="126"/>
                  </a:lnTo>
                  <a:lnTo>
                    <a:pt x="618" y="120"/>
                  </a:lnTo>
                  <a:lnTo>
                    <a:pt x="618" y="114"/>
                  </a:lnTo>
                  <a:lnTo>
                    <a:pt x="612" y="108"/>
                  </a:lnTo>
                  <a:lnTo>
                    <a:pt x="612" y="102"/>
                  </a:lnTo>
                  <a:lnTo>
                    <a:pt x="618" y="90"/>
                  </a:lnTo>
                  <a:lnTo>
                    <a:pt x="624" y="84"/>
                  </a:lnTo>
                  <a:lnTo>
                    <a:pt x="618" y="84"/>
                  </a:lnTo>
                  <a:lnTo>
                    <a:pt x="618" y="78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0" y="72"/>
                  </a:lnTo>
                  <a:lnTo>
                    <a:pt x="600" y="66"/>
                  </a:lnTo>
                  <a:lnTo>
                    <a:pt x="600" y="60"/>
                  </a:lnTo>
                  <a:lnTo>
                    <a:pt x="600" y="48"/>
                  </a:lnTo>
                  <a:lnTo>
                    <a:pt x="612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36"/>
                  </a:lnTo>
                  <a:lnTo>
                    <a:pt x="630" y="30"/>
                  </a:lnTo>
                  <a:lnTo>
                    <a:pt x="636" y="24"/>
                  </a:lnTo>
                  <a:lnTo>
                    <a:pt x="642" y="24"/>
                  </a:lnTo>
                  <a:lnTo>
                    <a:pt x="648" y="24"/>
                  </a:lnTo>
                  <a:lnTo>
                    <a:pt x="648" y="18"/>
                  </a:lnTo>
                  <a:lnTo>
                    <a:pt x="654" y="12"/>
                  </a:lnTo>
                  <a:lnTo>
                    <a:pt x="660" y="0"/>
                  </a:lnTo>
                  <a:lnTo>
                    <a:pt x="678" y="0"/>
                  </a:lnTo>
                  <a:lnTo>
                    <a:pt x="696" y="0"/>
                  </a:lnTo>
                  <a:lnTo>
                    <a:pt x="702" y="0"/>
                  </a:lnTo>
                  <a:lnTo>
                    <a:pt x="714" y="0"/>
                  </a:lnTo>
                  <a:lnTo>
                    <a:pt x="720" y="6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44" y="24"/>
                  </a:lnTo>
                  <a:lnTo>
                    <a:pt x="744" y="30"/>
                  </a:lnTo>
                  <a:lnTo>
                    <a:pt x="732" y="42"/>
                  </a:lnTo>
                  <a:lnTo>
                    <a:pt x="726" y="42"/>
                  </a:lnTo>
                  <a:lnTo>
                    <a:pt x="720" y="42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54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90"/>
                  </a:lnTo>
                  <a:lnTo>
                    <a:pt x="726" y="84"/>
                  </a:lnTo>
                  <a:lnTo>
                    <a:pt x="738" y="84"/>
                  </a:lnTo>
                  <a:lnTo>
                    <a:pt x="750" y="96"/>
                  </a:lnTo>
                  <a:lnTo>
                    <a:pt x="768" y="96"/>
                  </a:lnTo>
                  <a:lnTo>
                    <a:pt x="768" y="90"/>
                  </a:lnTo>
                  <a:lnTo>
                    <a:pt x="774" y="84"/>
                  </a:lnTo>
                  <a:lnTo>
                    <a:pt x="780" y="78"/>
                  </a:lnTo>
                  <a:lnTo>
                    <a:pt x="786" y="78"/>
                  </a:lnTo>
                  <a:lnTo>
                    <a:pt x="792" y="72"/>
                  </a:lnTo>
                  <a:lnTo>
                    <a:pt x="804" y="72"/>
                  </a:lnTo>
                  <a:lnTo>
                    <a:pt x="804" y="66"/>
                  </a:lnTo>
                  <a:lnTo>
                    <a:pt x="810" y="66"/>
                  </a:lnTo>
                  <a:lnTo>
                    <a:pt x="810" y="72"/>
                  </a:lnTo>
                  <a:lnTo>
                    <a:pt x="816" y="66"/>
                  </a:lnTo>
                  <a:lnTo>
                    <a:pt x="828" y="66"/>
                  </a:lnTo>
                  <a:lnTo>
                    <a:pt x="834" y="72"/>
                  </a:lnTo>
                  <a:lnTo>
                    <a:pt x="840" y="72"/>
                  </a:lnTo>
                  <a:lnTo>
                    <a:pt x="840" y="78"/>
                  </a:lnTo>
                  <a:lnTo>
                    <a:pt x="840" y="84"/>
                  </a:lnTo>
                  <a:lnTo>
                    <a:pt x="852" y="84"/>
                  </a:lnTo>
                  <a:lnTo>
                    <a:pt x="858" y="96"/>
                  </a:lnTo>
                  <a:lnTo>
                    <a:pt x="864" y="108"/>
                  </a:lnTo>
                  <a:lnTo>
                    <a:pt x="876" y="114"/>
                  </a:lnTo>
                  <a:lnTo>
                    <a:pt x="894" y="114"/>
                  </a:lnTo>
                  <a:lnTo>
                    <a:pt x="906" y="114"/>
                  </a:lnTo>
                  <a:lnTo>
                    <a:pt x="906" y="126"/>
                  </a:lnTo>
                  <a:lnTo>
                    <a:pt x="912" y="144"/>
                  </a:lnTo>
                  <a:lnTo>
                    <a:pt x="930" y="138"/>
                  </a:lnTo>
                  <a:lnTo>
                    <a:pt x="936" y="138"/>
                  </a:lnTo>
                  <a:lnTo>
                    <a:pt x="942" y="144"/>
                  </a:lnTo>
                  <a:lnTo>
                    <a:pt x="948" y="150"/>
                  </a:lnTo>
                  <a:lnTo>
                    <a:pt x="954" y="156"/>
                  </a:lnTo>
                  <a:lnTo>
                    <a:pt x="954" y="168"/>
                  </a:lnTo>
                  <a:lnTo>
                    <a:pt x="954" y="174"/>
                  </a:lnTo>
                  <a:lnTo>
                    <a:pt x="960" y="180"/>
                  </a:lnTo>
                  <a:lnTo>
                    <a:pt x="966" y="186"/>
                  </a:lnTo>
                  <a:lnTo>
                    <a:pt x="960" y="186"/>
                  </a:lnTo>
                  <a:lnTo>
                    <a:pt x="966" y="192"/>
                  </a:lnTo>
                  <a:lnTo>
                    <a:pt x="966" y="198"/>
                  </a:lnTo>
                  <a:lnTo>
                    <a:pt x="978" y="204"/>
                  </a:lnTo>
                  <a:lnTo>
                    <a:pt x="1050" y="186"/>
                  </a:lnTo>
                  <a:lnTo>
                    <a:pt x="1056" y="198"/>
                  </a:lnTo>
                  <a:lnTo>
                    <a:pt x="1068" y="210"/>
                  </a:lnTo>
                  <a:lnTo>
                    <a:pt x="1074" y="216"/>
                  </a:lnTo>
                  <a:lnTo>
                    <a:pt x="1080" y="252"/>
                  </a:lnTo>
                  <a:lnTo>
                    <a:pt x="1086" y="270"/>
                  </a:lnTo>
                  <a:lnTo>
                    <a:pt x="1092" y="282"/>
                  </a:lnTo>
                  <a:lnTo>
                    <a:pt x="1086" y="300"/>
                  </a:lnTo>
                  <a:lnTo>
                    <a:pt x="1074" y="330"/>
                  </a:lnTo>
                  <a:lnTo>
                    <a:pt x="1068" y="336"/>
                  </a:lnTo>
                  <a:lnTo>
                    <a:pt x="1062" y="348"/>
                  </a:lnTo>
                  <a:lnTo>
                    <a:pt x="1062" y="360"/>
                  </a:lnTo>
                  <a:lnTo>
                    <a:pt x="1068" y="378"/>
                  </a:lnTo>
                  <a:lnTo>
                    <a:pt x="1074" y="390"/>
                  </a:lnTo>
                  <a:lnTo>
                    <a:pt x="1068" y="396"/>
                  </a:lnTo>
                  <a:lnTo>
                    <a:pt x="1068" y="408"/>
                  </a:lnTo>
                  <a:lnTo>
                    <a:pt x="1062" y="414"/>
                  </a:lnTo>
                  <a:lnTo>
                    <a:pt x="1050" y="432"/>
                  </a:lnTo>
                  <a:lnTo>
                    <a:pt x="1044" y="450"/>
                  </a:lnTo>
                  <a:lnTo>
                    <a:pt x="1038" y="456"/>
                  </a:lnTo>
                  <a:lnTo>
                    <a:pt x="1026" y="468"/>
                  </a:lnTo>
                  <a:lnTo>
                    <a:pt x="1026" y="474"/>
                  </a:lnTo>
                  <a:lnTo>
                    <a:pt x="1026" y="480"/>
                  </a:lnTo>
                  <a:lnTo>
                    <a:pt x="1032" y="492"/>
                  </a:lnTo>
                  <a:lnTo>
                    <a:pt x="1044" y="504"/>
                  </a:lnTo>
                  <a:lnTo>
                    <a:pt x="1044" y="516"/>
                  </a:lnTo>
                  <a:lnTo>
                    <a:pt x="1038" y="528"/>
                  </a:lnTo>
                  <a:lnTo>
                    <a:pt x="1032" y="546"/>
                  </a:lnTo>
                  <a:lnTo>
                    <a:pt x="1032" y="570"/>
                  </a:lnTo>
                  <a:lnTo>
                    <a:pt x="1050" y="594"/>
                  </a:lnTo>
                  <a:lnTo>
                    <a:pt x="1056" y="624"/>
                  </a:lnTo>
                  <a:lnTo>
                    <a:pt x="1056" y="65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9" name="Freeform 24">
              <a:extLst>
                <a:ext uri="{FF2B5EF4-FFF2-40B4-BE49-F238E27FC236}">
                  <a16:creationId xmlns:a16="http://schemas.microsoft.com/office/drawing/2014/main" id="{CAE689DA-332A-4F73-BDE6-8865C9170AA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84829" y="3213406"/>
              <a:ext cx="851989" cy="744754"/>
            </a:xfrm>
            <a:custGeom>
              <a:avLst/>
              <a:gdLst>
                <a:gd name="T0" fmla="*/ 116 w 1602"/>
                <a:gd name="T1" fmla="*/ 91 h 1404"/>
                <a:gd name="T2" fmla="*/ 111 w 1602"/>
                <a:gd name="T3" fmla="*/ 95 h 1404"/>
                <a:gd name="T4" fmla="*/ 102 w 1602"/>
                <a:gd name="T5" fmla="*/ 101 h 1404"/>
                <a:gd name="T6" fmla="*/ 99 w 1602"/>
                <a:gd name="T7" fmla="*/ 103 h 1404"/>
                <a:gd name="T8" fmla="*/ 96 w 1602"/>
                <a:gd name="T9" fmla="*/ 106 h 1404"/>
                <a:gd name="T10" fmla="*/ 93 w 1602"/>
                <a:gd name="T11" fmla="*/ 108 h 1404"/>
                <a:gd name="T12" fmla="*/ 88 w 1602"/>
                <a:gd name="T13" fmla="*/ 106 h 1404"/>
                <a:gd name="T14" fmla="*/ 86 w 1602"/>
                <a:gd name="T15" fmla="*/ 108 h 1404"/>
                <a:gd name="T16" fmla="*/ 81 w 1602"/>
                <a:gd name="T17" fmla="*/ 119 h 1404"/>
                <a:gd name="T18" fmla="*/ 71 w 1602"/>
                <a:gd name="T19" fmla="*/ 109 h 1404"/>
                <a:gd name="T20" fmla="*/ 72 w 1602"/>
                <a:gd name="T21" fmla="*/ 101 h 1404"/>
                <a:gd name="T22" fmla="*/ 74 w 1602"/>
                <a:gd name="T23" fmla="*/ 93 h 1404"/>
                <a:gd name="T24" fmla="*/ 73 w 1602"/>
                <a:gd name="T25" fmla="*/ 82 h 1404"/>
                <a:gd name="T26" fmla="*/ 64 w 1602"/>
                <a:gd name="T27" fmla="*/ 79 h 1404"/>
                <a:gd name="T28" fmla="*/ 59 w 1602"/>
                <a:gd name="T29" fmla="*/ 75 h 1404"/>
                <a:gd name="T30" fmla="*/ 54 w 1602"/>
                <a:gd name="T31" fmla="*/ 71 h 1404"/>
                <a:gd name="T32" fmla="*/ 51 w 1602"/>
                <a:gd name="T33" fmla="*/ 70 h 1404"/>
                <a:gd name="T34" fmla="*/ 45 w 1602"/>
                <a:gd name="T35" fmla="*/ 71 h 1404"/>
                <a:gd name="T36" fmla="*/ 43 w 1602"/>
                <a:gd name="T37" fmla="*/ 68 h 1404"/>
                <a:gd name="T38" fmla="*/ 43 w 1602"/>
                <a:gd name="T39" fmla="*/ 64 h 1404"/>
                <a:gd name="T40" fmla="*/ 36 w 1602"/>
                <a:gd name="T41" fmla="*/ 66 h 1404"/>
                <a:gd name="T42" fmla="*/ 31 w 1602"/>
                <a:gd name="T43" fmla="*/ 55 h 1404"/>
                <a:gd name="T44" fmla="*/ 25 w 1602"/>
                <a:gd name="T45" fmla="*/ 53 h 1404"/>
                <a:gd name="T46" fmla="*/ 19 w 1602"/>
                <a:gd name="T47" fmla="*/ 51 h 1404"/>
                <a:gd name="T48" fmla="*/ 17 w 1602"/>
                <a:gd name="T49" fmla="*/ 43 h 1404"/>
                <a:gd name="T50" fmla="*/ 17 w 1602"/>
                <a:gd name="T51" fmla="*/ 39 h 1404"/>
                <a:gd name="T52" fmla="*/ 12 w 1602"/>
                <a:gd name="T53" fmla="*/ 39 h 1404"/>
                <a:gd name="T54" fmla="*/ 10 w 1602"/>
                <a:gd name="T55" fmla="*/ 35 h 1404"/>
                <a:gd name="T56" fmla="*/ 5 w 1602"/>
                <a:gd name="T57" fmla="*/ 30 h 1404"/>
                <a:gd name="T58" fmla="*/ 3 w 1602"/>
                <a:gd name="T59" fmla="*/ 27 h 1404"/>
                <a:gd name="T60" fmla="*/ 2 w 1602"/>
                <a:gd name="T61" fmla="*/ 25 h 1404"/>
                <a:gd name="T62" fmla="*/ 0 w 1602"/>
                <a:gd name="T63" fmla="*/ 22 h 1404"/>
                <a:gd name="T64" fmla="*/ 8 w 1602"/>
                <a:gd name="T65" fmla="*/ 14 h 1404"/>
                <a:gd name="T66" fmla="*/ 16 w 1602"/>
                <a:gd name="T67" fmla="*/ 16 h 1404"/>
                <a:gd name="T68" fmla="*/ 31 w 1602"/>
                <a:gd name="T69" fmla="*/ 18 h 1404"/>
                <a:gd name="T70" fmla="*/ 43 w 1602"/>
                <a:gd name="T71" fmla="*/ 17 h 1404"/>
                <a:gd name="T72" fmla="*/ 47 w 1602"/>
                <a:gd name="T73" fmla="*/ 6 h 1404"/>
                <a:gd name="T74" fmla="*/ 52 w 1602"/>
                <a:gd name="T75" fmla="*/ 0 h 1404"/>
                <a:gd name="T76" fmla="*/ 55 w 1602"/>
                <a:gd name="T77" fmla="*/ 3 h 1404"/>
                <a:gd name="T78" fmla="*/ 59 w 1602"/>
                <a:gd name="T79" fmla="*/ 9 h 1404"/>
                <a:gd name="T80" fmla="*/ 62 w 1602"/>
                <a:gd name="T81" fmla="*/ 16 h 1404"/>
                <a:gd name="T82" fmla="*/ 66 w 1602"/>
                <a:gd name="T83" fmla="*/ 20 h 1404"/>
                <a:gd name="T84" fmla="*/ 70 w 1602"/>
                <a:gd name="T85" fmla="*/ 25 h 1404"/>
                <a:gd name="T86" fmla="*/ 74 w 1602"/>
                <a:gd name="T87" fmla="*/ 30 h 1404"/>
                <a:gd name="T88" fmla="*/ 76 w 1602"/>
                <a:gd name="T89" fmla="*/ 27 h 1404"/>
                <a:gd name="T90" fmla="*/ 78 w 1602"/>
                <a:gd name="T91" fmla="*/ 27 h 1404"/>
                <a:gd name="T92" fmla="*/ 78 w 1602"/>
                <a:gd name="T93" fmla="*/ 23 h 1404"/>
                <a:gd name="T94" fmla="*/ 82 w 1602"/>
                <a:gd name="T95" fmla="*/ 20 h 1404"/>
                <a:gd name="T96" fmla="*/ 82 w 1602"/>
                <a:gd name="T97" fmla="*/ 18 h 1404"/>
                <a:gd name="T98" fmla="*/ 90 w 1602"/>
                <a:gd name="T99" fmla="*/ 24 h 1404"/>
                <a:gd name="T100" fmla="*/ 90 w 1602"/>
                <a:gd name="T101" fmla="*/ 45 h 1404"/>
                <a:gd name="T102" fmla="*/ 104 w 1602"/>
                <a:gd name="T103" fmla="*/ 41 h 1404"/>
                <a:gd name="T104" fmla="*/ 117 w 1602"/>
                <a:gd name="T105" fmla="*/ 39 h 1404"/>
                <a:gd name="T106" fmla="*/ 125 w 1602"/>
                <a:gd name="T107" fmla="*/ 39 h 1404"/>
                <a:gd name="T108" fmla="*/ 127 w 1602"/>
                <a:gd name="T109" fmla="*/ 43 h 1404"/>
                <a:gd name="T110" fmla="*/ 131 w 1602"/>
                <a:gd name="T111" fmla="*/ 53 h 1404"/>
                <a:gd name="T112" fmla="*/ 133 w 1602"/>
                <a:gd name="T113" fmla="*/ 60 h 1404"/>
                <a:gd name="T114" fmla="*/ 138 w 1602"/>
                <a:gd name="T115" fmla="*/ 73 h 1404"/>
                <a:gd name="T116" fmla="*/ 136 w 1602"/>
                <a:gd name="T117" fmla="*/ 80 h 1404"/>
                <a:gd name="T118" fmla="*/ 129 w 1602"/>
                <a:gd name="T119" fmla="*/ 87 h 1404"/>
                <a:gd name="T120" fmla="*/ 123 w 1602"/>
                <a:gd name="T121" fmla="*/ 95 h 14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02"/>
                <a:gd name="T184" fmla="*/ 0 h 1404"/>
                <a:gd name="T185" fmla="*/ 1602 w 1602"/>
                <a:gd name="T186" fmla="*/ 1404 h 14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02" h="1404">
                  <a:moveTo>
                    <a:pt x="1392" y="1080"/>
                  </a:moveTo>
                  <a:lnTo>
                    <a:pt x="1380" y="1074"/>
                  </a:lnTo>
                  <a:lnTo>
                    <a:pt x="1368" y="1056"/>
                  </a:lnTo>
                  <a:lnTo>
                    <a:pt x="1356" y="1044"/>
                  </a:lnTo>
                  <a:lnTo>
                    <a:pt x="1344" y="1038"/>
                  </a:lnTo>
                  <a:lnTo>
                    <a:pt x="1338" y="1038"/>
                  </a:lnTo>
                  <a:lnTo>
                    <a:pt x="1332" y="1038"/>
                  </a:lnTo>
                  <a:lnTo>
                    <a:pt x="1326" y="1044"/>
                  </a:lnTo>
                  <a:lnTo>
                    <a:pt x="1320" y="1044"/>
                  </a:lnTo>
                  <a:lnTo>
                    <a:pt x="1314" y="1044"/>
                  </a:lnTo>
                  <a:lnTo>
                    <a:pt x="1296" y="1056"/>
                  </a:lnTo>
                  <a:lnTo>
                    <a:pt x="1296" y="1080"/>
                  </a:lnTo>
                  <a:lnTo>
                    <a:pt x="1290" y="1080"/>
                  </a:lnTo>
                  <a:lnTo>
                    <a:pt x="1284" y="1086"/>
                  </a:lnTo>
                  <a:lnTo>
                    <a:pt x="1278" y="1086"/>
                  </a:lnTo>
                  <a:lnTo>
                    <a:pt x="1278" y="1092"/>
                  </a:lnTo>
                  <a:lnTo>
                    <a:pt x="1272" y="1092"/>
                  </a:lnTo>
                  <a:lnTo>
                    <a:pt x="1266" y="1086"/>
                  </a:lnTo>
                  <a:lnTo>
                    <a:pt x="1260" y="1086"/>
                  </a:lnTo>
                  <a:lnTo>
                    <a:pt x="1260" y="1098"/>
                  </a:lnTo>
                  <a:lnTo>
                    <a:pt x="1248" y="1098"/>
                  </a:lnTo>
                  <a:lnTo>
                    <a:pt x="1212" y="1116"/>
                  </a:lnTo>
                  <a:lnTo>
                    <a:pt x="1206" y="1158"/>
                  </a:lnTo>
                  <a:lnTo>
                    <a:pt x="1176" y="1164"/>
                  </a:lnTo>
                  <a:lnTo>
                    <a:pt x="1158" y="1164"/>
                  </a:lnTo>
                  <a:lnTo>
                    <a:pt x="1152" y="1164"/>
                  </a:lnTo>
                  <a:lnTo>
                    <a:pt x="1152" y="1170"/>
                  </a:lnTo>
                  <a:lnTo>
                    <a:pt x="1152" y="1176"/>
                  </a:lnTo>
                  <a:lnTo>
                    <a:pt x="1146" y="1176"/>
                  </a:lnTo>
                  <a:lnTo>
                    <a:pt x="1140" y="1176"/>
                  </a:lnTo>
                  <a:lnTo>
                    <a:pt x="1134" y="1182"/>
                  </a:lnTo>
                  <a:lnTo>
                    <a:pt x="1134" y="1188"/>
                  </a:lnTo>
                  <a:lnTo>
                    <a:pt x="1128" y="1194"/>
                  </a:lnTo>
                  <a:lnTo>
                    <a:pt x="1122" y="1194"/>
                  </a:lnTo>
                  <a:lnTo>
                    <a:pt x="1116" y="1194"/>
                  </a:lnTo>
                  <a:lnTo>
                    <a:pt x="1110" y="1200"/>
                  </a:lnTo>
                  <a:lnTo>
                    <a:pt x="1110" y="1206"/>
                  </a:lnTo>
                  <a:lnTo>
                    <a:pt x="1104" y="1212"/>
                  </a:lnTo>
                  <a:lnTo>
                    <a:pt x="1104" y="1218"/>
                  </a:lnTo>
                  <a:lnTo>
                    <a:pt x="1098" y="1224"/>
                  </a:lnTo>
                  <a:lnTo>
                    <a:pt x="1092" y="1230"/>
                  </a:lnTo>
                  <a:lnTo>
                    <a:pt x="1086" y="1230"/>
                  </a:lnTo>
                  <a:lnTo>
                    <a:pt x="1080" y="1230"/>
                  </a:lnTo>
                  <a:lnTo>
                    <a:pt x="1080" y="1242"/>
                  </a:lnTo>
                  <a:lnTo>
                    <a:pt x="1074" y="1242"/>
                  </a:lnTo>
                  <a:lnTo>
                    <a:pt x="1068" y="1242"/>
                  </a:lnTo>
                  <a:lnTo>
                    <a:pt x="1068" y="1236"/>
                  </a:lnTo>
                  <a:lnTo>
                    <a:pt x="1062" y="1242"/>
                  </a:lnTo>
                  <a:lnTo>
                    <a:pt x="1056" y="1236"/>
                  </a:lnTo>
                  <a:lnTo>
                    <a:pt x="1050" y="1242"/>
                  </a:lnTo>
                  <a:lnTo>
                    <a:pt x="1050" y="1236"/>
                  </a:lnTo>
                  <a:lnTo>
                    <a:pt x="1044" y="1194"/>
                  </a:lnTo>
                  <a:lnTo>
                    <a:pt x="1032" y="1194"/>
                  </a:lnTo>
                  <a:lnTo>
                    <a:pt x="1032" y="1200"/>
                  </a:lnTo>
                  <a:lnTo>
                    <a:pt x="1026" y="1200"/>
                  </a:lnTo>
                  <a:lnTo>
                    <a:pt x="1014" y="1218"/>
                  </a:lnTo>
                  <a:lnTo>
                    <a:pt x="1014" y="1224"/>
                  </a:lnTo>
                  <a:lnTo>
                    <a:pt x="1014" y="1236"/>
                  </a:lnTo>
                  <a:lnTo>
                    <a:pt x="1014" y="1242"/>
                  </a:lnTo>
                  <a:lnTo>
                    <a:pt x="1008" y="1242"/>
                  </a:lnTo>
                  <a:lnTo>
                    <a:pt x="1002" y="1236"/>
                  </a:lnTo>
                  <a:lnTo>
                    <a:pt x="1002" y="1230"/>
                  </a:lnTo>
                  <a:lnTo>
                    <a:pt x="996" y="1236"/>
                  </a:lnTo>
                  <a:lnTo>
                    <a:pt x="990" y="1236"/>
                  </a:lnTo>
                  <a:lnTo>
                    <a:pt x="990" y="1230"/>
                  </a:lnTo>
                  <a:lnTo>
                    <a:pt x="984" y="1236"/>
                  </a:lnTo>
                  <a:lnTo>
                    <a:pt x="978" y="1248"/>
                  </a:lnTo>
                  <a:lnTo>
                    <a:pt x="972" y="1254"/>
                  </a:lnTo>
                  <a:lnTo>
                    <a:pt x="966" y="1260"/>
                  </a:lnTo>
                  <a:lnTo>
                    <a:pt x="930" y="1284"/>
                  </a:lnTo>
                  <a:lnTo>
                    <a:pt x="942" y="1356"/>
                  </a:lnTo>
                  <a:lnTo>
                    <a:pt x="930" y="1368"/>
                  </a:lnTo>
                  <a:lnTo>
                    <a:pt x="852" y="1404"/>
                  </a:lnTo>
                  <a:lnTo>
                    <a:pt x="834" y="1392"/>
                  </a:lnTo>
                  <a:lnTo>
                    <a:pt x="834" y="1362"/>
                  </a:lnTo>
                  <a:lnTo>
                    <a:pt x="828" y="1332"/>
                  </a:lnTo>
                  <a:lnTo>
                    <a:pt x="810" y="1308"/>
                  </a:lnTo>
                  <a:lnTo>
                    <a:pt x="810" y="1284"/>
                  </a:lnTo>
                  <a:lnTo>
                    <a:pt x="816" y="1266"/>
                  </a:lnTo>
                  <a:lnTo>
                    <a:pt x="822" y="1254"/>
                  </a:lnTo>
                  <a:lnTo>
                    <a:pt x="822" y="1242"/>
                  </a:lnTo>
                  <a:lnTo>
                    <a:pt x="810" y="1230"/>
                  </a:lnTo>
                  <a:lnTo>
                    <a:pt x="804" y="1218"/>
                  </a:lnTo>
                  <a:lnTo>
                    <a:pt x="804" y="1212"/>
                  </a:lnTo>
                  <a:lnTo>
                    <a:pt x="804" y="1206"/>
                  </a:lnTo>
                  <a:lnTo>
                    <a:pt x="816" y="1194"/>
                  </a:lnTo>
                  <a:lnTo>
                    <a:pt x="822" y="1188"/>
                  </a:lnTo>
                  <a:lnTo>
                    <a:pt x="828" y="1170"/>
                  </a:lnTo>
                  <a:lnTo>
                    <a:pt x="840" y="1152"/>
                  </a:lnTo>
                  <a:lnTo>
                    <a:pt x="846" y="1146"/>
                  </a:lnTo>
                  <a:lnTo>
                    <a:pt x="846" y="1134"/>
                  </a:lnTo>
                  <a:lnTo>
                    <a:pt x="852" y="1128"/>
                  </a:lnTo>
                  <a:lnTo>
                    <a:pt x="846" y="1116"/>
                  </a:lnTo>
                  <a:lnTo>
                    <a:pt x="840" y="1098"/>
                  </a:lnTo>
                  <a:lnTo>
                    <a:pt x="840" y="1086"/>
                  </a:lnTo>
                  <a:lnTo>
                    <a:pt x="846" y="1074"/>
                  </a:lnTo>
                  <a:lnTo>
                    <a:pt x="852" y="1068"/>
                  </a:lnTo>
                  <a:lnTo>
                    <a:pt x="864" y="1038"/>
                  </a:lnTo>
                  <a:lnTo>
                    <a:pt x="870" y="1020"/>
                  </a:lnTo>
                  <a:lnTo>
                    <a:pt x="864" y="1008"/>
                  </a:lnTo>
                  <a:lnTo>
                    <a:pt x="858" y="990"/>
                  </a:lnTo>
                  <a:lnTo>
                    <a:pt x="852" y="954"/>
                  </a:lnTo>
                  <a:lnTo>
                    <a:pt x="846" y="948"/>
                  </a:lnTo>
                  <a:lnTo>
                    <a:pt x="834" y="936"/>
                  </a:lnTo>
                  <a:lnTo>
                    <a:pt x="828" y="924"/>
                  </a:lnTo>
                  <a:lnTo>
                    <a:pt x="756" y="942"/>
                  </a:lnTo>
                  <a:lnTo>
                    <a:pt x="744" y="936"/>
                  </a:lnTo>
                  <a:lnTo>
                    <a:pt x="744" y="930"/>
                  </a:lnTo>
                  <a:lnTo>
                    <a:pt x="738" y="924"/>
                  </a:lnTo>
                  <a:lnTo>
                    <a:pt x="744" y="924"/>
                  </a:lnTo>
                  <a:lnTo>
                    <a:pt x="738" y="918"/>
                  </a:lnTo>
                  <a:lnTo>
                    <a:pt x="732" y="912"/>
                  </a:lnTo>
                  <a:lnTo>
                    <a:pt x="732" y="906"/>
                  </a:lnTo>
                  <a:lnTo>
                    <a:pt x="732" y="894"/>
                  </a:lnTo>
                  <a:lnTo>
                    <a:pt x="726" y="888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6"/>
                  </a:lnTo>
                  <a:lnTo>
                    <a:pt x="690" y="882"/>
                  </a:lnTo>
                  <a:lnTo>
                    <a:pt x="684" y="864"/>
                  </a:lnTo>
                  <a:lnTo>
                    <a:pt x="684" y="852"/>
                  </a:lnTo>
                  <a:lnTo>
                    <a:pt x="672" y="852"/>
                  </a:lnTo>
                  <a:lnTo>
                    <a:pt x="654" y="852"/>
                  </a:lnTo>
                  <a:lnTo>
                    <a:pt x="642" y="846"/>
                  </a:lnTo>
                  <a:lnTo>
                    <a:pt x="636" y="834"/>
                  </a:lnTo>
                  <a:lnTo>
                    <a:pt x="630" y="822"/>
                  </a:lnTo>
                  <a:lnTo>
                    <a:pt x="618" y="822"/>
                  </a:lnTo>
                  <a:lnTo>
                    <a:pt x="618" y="816"/>
                  </a:lnTo>
                  <a:lnTo>
                    <a:pt x="618" y="810"/>
                  </a:lnTo>
                  <a:lnTo>
                    <a:pt x="612" y="810"/>
                  </a:lnTo>
                  <a:lnTo>
                    <a:pt x="606" y="804"/>
                  </a:lnTo>
                  <a:lnTo>
                    <a:pt x="594" y="804"/>
                  </a:lnTo>
                  <a:lnTo>
                    <a:pt x="588" y="810"/>
                  </a:lnTo>
                  <a:lnTo>
                    <a:pt x="588" y="804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70" y="810"/>
                  </a:lnTo>
                  <a:lnTo>
                    <a:pt x="564" y="816"/>
                  </a:lnTo>
                  <a:lnTo>
                    <a:pt x="558" y="816"/>
                  </a:lnTo>
                  <a:lnTo>
                    <a:pt x="552" y="822"/>
                  </a:lnTo>
                  <a:lnTo>
                    <a:pt x="546" y="828"/>
                  </a:lnTo>
                  <a:lnTo>
                    <a:pt x="546" y="834"/>
                  </a:lnTo>
                  <a:lnTo>
                    <a:pt x="528" y="834"/>
                  </a:lnTo>
                  <a:lnTo>
                    <a:pt x="516" y="822"/>
                  </a:lnTo>
                  <a:lnTo>
                    <a:pt x="504" y="822"/>
                  </a:lnTo>
                  <a:lnTo>
                    <a:pt x="492" y="82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6" y="792"/>
                  </a:lnTo>
                  <a:lnTo>
                    <a:pt x="492" y="786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504" y="780"/>
                  </a:lnTo>
                  <a:lnTo>
                    <a:pt x="510" y="780"/>
                  </a:lnTo>
                  <a:lnTo>
                    <a:pt x="522" y="768"/>
                  </a:lnTo>
                  <a:lnTo>
                    <a:pt x="522" y="762"/>
                  </a:lnTo>
                  <a:lnTo>
                    <a:pt x="504" y="756"/>
                  </a:lnTo>
                  <a:lnTo>
                    <a:pt x="498" y="756"/>
                  </a:lnTo>
                  <a:lnTo>
                    <a:pt x="498" y="744"/>
                  </a:lnTo>
                  <a:lnTo>
                    <a:pt x="492" y="738"/>
                  </a:lnTo>
                  <a:lnTo>
                    <a:pt x="480" y="738"/>
                  </a:lnTo>
                  <a:lnTo>
                    <a:pt x="474" y="738"/>
                  </a:lnTo>
                  <a:lnTo>
                    <a:pt x="456" y="738"/>
                  </a:lnTo>
                  <a:lnTo>
                    <a:pt x="438" y="738"/>
                  </a:lnTo>
                  <a:lnTo>
                    <a:pt x="432" y="750"/>
                  </a:lnTo>
                  <a:lnTo>
                    <a:pt x="426" y="756"/>
                  </a:lnTo>
                  <a:lnTo>
                    <a:pt x="426" y="762"/>
                  </a:lnTo>
                  <a:lnTo>
                    <a:pt x="420" y="762"/>
                  </a:lnTo>
                  <a:lnTo>
                    <a:pt x="408" y="744"/>
                  </a:lnTo>
                  <a:lnTo>
                    <a:pt x="408" y="732"/>
                  </a:lnTo>
                  <a:lnTo>
                    <a:pt x="390" y="714"/>
                  </a:lnTo>
                  <a:lnTo>
                    <a:pt x="384" y="702"/>
                  </a:lnTo>
                  <a:lnTo>
                    <a:pt x="384" y="690"/>
                  </a:lnTo>
                  <a:lnTo>
                    <a:pt x="372" y="690"/>
                  </a:lnTo>
                  <a:lnTo>
                    <a:pt x="366" y="660"/>
                  </a:lnTo>
                  <a:lnTo>
                    <a:pt x="354" y="630"/>
                  </a:lnTo>
                  <a:lnTo>
                    <a:pt x="348" y="630"/>
                  </a:lnTo>
                  <a:lnTo>
                    <a:pt x="336" y="630"/>
                  </a:lnTo>
                  <a:lnTo>
                    <a:pt x="330" y="630"/>
                  </a:lnTo>
                  <a:lnTo>
                    <a:pt x="318" y="630"/>
                  </a:lnTo>
                  <a:lnTo>
                    <a:pt x="312" y="624"/>
                  </a:lnTo>
                  <a:lnTo>
                    <a:pt x="306" y="624"/>
                  </a:lnTo>
                  <a:lnTo>
                    <a:pt x="294" y="618"/>
                  </a:lnTo>
                  <a:lnTo>
                    <a:pt x="288" y="612"/>
                  </a:lnTo>
                  <a:lnTo>
                    <a:pt x="276" y="600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58" y="588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8"/>
                  </a:lnTo>
                  <a:lnTo>
                    <a:pt x="216" y="582"/>
                  </a:lnTo>
                  <a:lnTo>
                    <a:pt x="210" y="588"/>
                  </a:lnTo>
                  <a:lnTo>
                    <a:pt x="198" y="582"/>
                  </a:lnTo>
                  <a:lnTo>
                    <a:pt x="180" y="582"/>
                  </a:lnTo>
                  <a:lnTo>
                    <a:pt x="174" y="552"/>
                  </a:lnTo>
                  <a:lnTo>
                    <a:pt x="168" y="504"/>
                  </a:lnTo>
                  <a:lnTo>
                    <a:pt x="186" y="504"/>
                  </a:lnTo>
                  <a:lnTo>
                    <a:pt x="192" y="504"/>
                  </a:lnTo>
                  <a:lnTo>
                    <a:pt x="192" y="498"/>
                  </a:lnTo>
                  <a:lnTo>
                    <a:pt x="192" y="492"/>
                  </a:lnTo>
                  <a:lnTo>
                    <a:pt x="192" y="486"/>
                  </a:lnTo>
                  <a:lnTo>
                    <a:pt x="198" y="486"/>
                  </a:lnTo>
                  <a:lnTo>
                    <a:pt x="198" y="480"/>
                  </a:lnTo>
                  <a:lnTo>
                    <a:pt x="204" y="474"/>
                  </a:lnTo>
                  <a:lnTo>
                    <a:pt x="210" y="468"/>
                  </a:lnTo>
                  <a:lnTo>
                    <a:pt x="198" y="462"/>
                  </a:lnTo>
                  <a:lnTo>
                    <a:pt x="192" y="444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32"/>
                  </a:lnTo>
                  <a:lnTo>
                    <a:pt x="168" y="438"/>
                  </a:lnTo>
                  <a:lnTo>
                    <a:pt x="150" y="450"/>
                  </a:lnTo>
                  <a:lnTo>
                    <a:pt x="144" y="456"/>
                  </a:lnTo>
                  <a:lnTo>
                    <a:pt x="132" y="456"/>
                  </a:lnTo>
                  <a:lnTo>
                    <a:pt x="126" y="468"/>
                  </a:lnTo>
                  <a:lnTo>
                    <a:pt x="114" y="468"/>
                  </a:lnTo>
                  <a:lnTo>
                    <a:pt x="108" y="468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14"/>
                  </a:lnTo>
                  <a:lnTo>
                    <a:pt x="108" y="396"/>
                  </a:lnTo>
                  <a:lnTo>
                    <a:pt x="120" y="396"/>
                  </a:lnTo>
                  <a:lnTo>
                    <a:pt x="126" y="384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84" y="354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0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60" y="318"/>
                  </a:lnTo>
                  <a:lnTo>
                    <a:pt x="42" y="324"/>
                  </a:lnTo>
                  <a:lnTo>
                    <a:pt x="36" y="318"/>
                  </a:lnTo>
                  <a:lnTo>
                    <a:pt x="36" y="312"/>
                  </a:lnTo>
                  <a:lnTo>
                    <a:pt x="36" y="306"/>
                  </a:lnTo>
                  <a:lnTo>
                    <a:pt x="36" y="300"/>
                  </a:lnTo>
                  <a:lnTo>
                    <a:pt x="30" y="300"/>
                  </a:lnTo>
                  <a:lnTo>
                    <a:pt x="30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24" y="276"/>
                  </a:lnTo>
                  <a:lnTo>
                    <a:pt x="18" y="276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18" y="234"/>
                  </a:lnTo>
                  <a:lnTo>
                    <a:pt x="30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42" y="192"/>
                  </a:lnTo>
                  <a:lnTo>
                    <a:pt x="66" y="186"/>
                  </a:lnTo>
                  <a:lnTo>
                    <a:pt x="90" y="156"/>
                  </a:lnTo>
                  <a:lnTo>
                    <a:pt x="102" y="144"/>
                  </a:lnTo>
                  <a:lnTo>
                    <a:pt x="138" y="150"/>
                  </a:lnTo>
                  <a:lnTo>
                    <a:pt x="162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0" y="180"/>
                  </a:lnTo>
                  <a:lnTo>
                    <a:pt x="174" y="180"/>
                  </a:lnTo>
                  <a:lnTo>
                    <a:pt x="180" y="186"/>
                  </a:lnTo>
                  <a:lnTo>
                    <a:pt x="186" y="186"/>
                  </a:lnTo>
                  <a:lnTo>
                    <a:pt x="198" y="192"/>
                  </a:lnTo>
                  <a:lnTo>
                    <a:pt x="216" y="198"/>
                  </a:lnTo>
                  <a:lnTo>
                    <a:pt x="252" y="204"/>
                  </a:lnTo>
                  <a:lnTo>
                    <a:pt x="258" y="210"/>
                  </a:lnTo>
                  <a:lnTo>
                    <a:pt x="306" y="216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84" y="210"/>
                  </a:lnTo>
                  <a:lnTo>
                    <a:pt x="408" y="222"/>
                  </a:lnTo>
                  <a:lnTo>
                    <a:pt x="438" y="228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86" y="222"/>
                  </a:lnTo>
                  <a:lnTo>
                    <a:pt x="492" y="210"/>
                  </a:lnTo>
                  <a:lnTo>
                    <a:pt x="492" y="198"/>
                  </a:lnTo>
                  <a:lnTo>
                    <a:pt x="486" y="180"/>
                  </a:lnTo>
                  <a:lnTo>
                    <a:pt x="492" y="162"/>
                  </a:lnTo>
                  <a:lnTo>
                    <a:pt x="510" y="96"/>
                  </a:lnTo>
                  <a:lnTo>
                    <a:pt x="516" y="84"/>
                  </a:lnTo>
                  <a:lnTo>
                    <a:pt x="522" y="84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34" y="72"/>
                  </a:lnTo>
                  <a:lnTo>
                    <a:pt x="534" y="60"/>
                  </a:lnTo>
                  <a:lnTo>
                    <a:pt x="540" y="36"/>
                  </a:lnTo>
                  <a:lnTo>
                    <a:pt x="546" y="6"/>
                  </a:lnTo>
                  <a:lnTo>
                    <a:pt x="558" y="6"/>
                  </a:lnTo>
                  <a:lnTo>
                    <a:pt x="564" y="0"/>
                  </a:lnTo>
                  <a:lnTo>
                    <a:pt x="582" y="0"/>
                  </a:lnTo>
                  <a:lnTo>
                    <a:pt x="588" y="0"/>
                  </a:lnTo>
                  <a:lnTo>
                    <a:pt x="594" y="6"/>
                  </a:lnTo>
                  <a:lnTo>
                    <a:pt x="600" y="12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24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36" y="36"/>
                  </a:lnTo>
                  <a:lnTo>
                    <a:pt x="642" y="36"/>
                  </a:lnTo>
                  <a:lnTo>
                    <a:pt x="642" y="42"/>
                  </a:lnTo>
                  <a:lnTo>
                    <a:pt x="648" y="54"/>
                  </a:lnTo>
                  <a:lnTo>
                    <a:pt x="660" y="72"/>
                  </a:lnTo>
                  <a:lnTo>
                    <a:pt x="666" y="78"/>
                  </a:lnTo>
                  <a:lnTo>
                    <a:pt x="672" y="90"/>
                  </a:lnTo>
                  <a:lnTo>
                    <a:pt x="678" y="102"/>
                  </a:lnTo>
                  <a:lnTo>
                    <a:pt x="678" y="114"/>
                  </a:lnTo>
                  <a:lnTo>
                    <a:pt x="684" y="132"/>
                  </a:lnTo>
                  <a:lnTo>
                    <a:pt x="684" y="144"/>
                  </a:lnTo>
                  <a:lnTo>
                    <a:pt x="690" y="162"/>
                  </a:lnTo>
                  <a:lnTo>
                    <a:pt x="696" y="168"/>
                  </a:lnTo>
                  <a:lnTo>
                    <a:pt x="696" y="180"/>
                  </a:lnTo>
                  <a:lnTo>
                    <a:pt x="702" y="186"/>
                  </a:lnTo>
                  <a:lnTo>
                    <a:pt x="708" y="186"/>
                  </a:lnTo>
                  <a:lnTo>
                    <a:pt x="714" y="198"/>
                  </a:lnTo>
                  <a:lnTo>
                    <a:pt x="720" y="198"/>
                  </a:lnTo>
                  <a:lnTo>
                    <a:pt x="732" y="204"/>
                  </a:lnTo>
                  <a:lnTo>
                    <a:pt x="738" y="210"/>
                  </a:lnTo>
                  <a:lnTo>
                    <a:pt x="738" y="216"/>
                  </a:lnTo>
                  <a:lnTo>
                    <a:pt x="744" y="222"/>
                  </a:lnTo>
                  <a:lnTo>
                    <a:pt x="750" y="228"/>
                  </a:lnTo>
                  <a:lnTo>
                    <a:pt x="756" y="228"/>
                  </a:lnTo>
                  <a:lnTo>
                    <a:pt x="768" y="240"/>
                  </a:lnTo>
                  <a:lnTo>
                    <a:pt x="774" y="252"/>
                  </a:lnTo>
                  <a:lnTo>
                    <a:pt x="780" y="258"/>
                  </a:lnTo>
                  <a:lnTo>
                    <a:pt x="786" y="258"/>
                  </a:lnTo>
                  <a:lnTo>
                    <a:pt x="798" y="264"/>
                  </a:lnTo>
                  <a:lnTo>
                    <a:pt x="798" y="270"/>
                  </a:lnTo>
                  <a:lnTo>
                    <a:pt x="798" y="276"/>
                  </a:lnTo>
                  <a:lnTo>
                    <a:pt x="810" y="288"/>
                  </a:lnTo>
                  <a:lnTo>
                    <a:pt x="816" y="288"/>
                  </a:lnTo>
                  <a:lnTo>
                    <a:pt x="816" y="300"/>
                  </a:lnTo>
                  <a:lnTo>
                    <a:pt x="816" y="306"/>
                  </a:lnTo>
                  <a:lnTo>
                    <a:pt x="822" y="318"/>
                  </a:lnTo>
                  <a:lnTo>
                    <a:pt x="828" y="324"/>
                  </a:lnTo>
                  <a:lnTo>
                    <a:pt x="834" y="330"/>
                  </a:lnTo>
                  <a:lnTo>
                    <a:pt x="846" y="336"/>
                  </a:lnTo>
                  <a:lnTo>
                    <a:pt x="846" y="342"/>
                  </a:lnTo>
                  <a:lnTo>
                    <a:pt x="852" y="348"/>
                  </a:lnTo>
                  <a:lnTo>
                    <a:pt x="852" y="354"/>
                  </a:lnTo>
                  <a:lnTo>
                    <a:pt x="858" y="354"/>
                  </a:lnTo>
                  <a:lnTo>
                    <a:pt x="858" y="348"/>
                  </a:lnTo>
                  <a:lnTo>
                    <a:pt x="864" y="342"/>
                  </a:lnTo>
                  <a:lnTo>
                    <a:pt x="864" y="336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76" y="306"/>
                  </a:lnTo>
                  <a:lnTo>
                    <a:pt x="870" y="300"/>
                  </a:lnTo>
                  <a:lnTo>
                    <a:pt x="870" y="294"/>
                  </a:lnTo>
                  <a:lnTo>
                    <a:pt x="876" y="294"/>
                  </a:lnTo>
                  <a:lnTo>
                    <a:pt x="882" y="300"/>
                  </a:lnTo>
                  <a:lnTo>
                    <a:pt x="888" y="300"/>
                  </a:lnTo>
                  <a:lnTo>
                    <a:pt x="888" y="306"/>
                  </a:lnTo>
                  <a:lnTo>
                    <a:pt x="894" y="300"/>
                  </a:lnTo>
                  <a:lnTo>
                    <a:pt x="900" y="294"/>
                  </a:lnTo>
                  <a:lnTo>
                    <a:pt x="894" y="288"/>
                  </a:lnTo>
                  <a:lnTo>
                    <a:pt x="888" y="282"/>
                  </a:lnTo>
                  <a:lnTo>
                    <a:pt x="888" y="276"/>
                  </a:lnTo>
                  <a:lnTo>
                    <a:pt x="894" y="276"/>
                  </a:lnTo>
                  <a:lnTo>
                    <a:pt x="900" y="276"/>
                  </a:lnTo>
                  <a:lnTo>
                    <a:pt x="900" y="270"/>
                  </a:lnTo>
                  <a:lnTo>
                    <a:pt x="906" y="264"/>
                  </a:lnTo>
                  <a:lnTo>
                    <a:pt x="906" y="258"/>
                  </a:lnTo>
                  <a:lnTo>
                    <a:pt x="918" y="264"/>
                  </a:lnTo>
                  <a:lnTo>
                    <a:pt x="918" y="258"/>
                  </a:lnTo>
                  <a:lnTo>
                    <a:pt x="924" y="252"/>
                  </a:lnTo>
                  <a:lnTo>
                    <a:pt x="930" y="252"/>
                  </a:lnTo>
                  <a:lnTo>
                    <a:pt x="930" y="246"/>
                  </a:lnTo>
                  <a:lnTo>
                    <a:pt x="936" y="234"/>
                  </a:lnTo>
                  <a:lnTo>
                    <a:pt x="942" y="228"/>
                  </a:lnTo>
                  <a:lnTo>
                    <a:pt x="942" y="222"/>
                  </a:lnTo>
                  <a:lnTo>
                    <a:pt x="948" y="222"/>
                  </a:lnTo>
                  <a:lnTo>
                    <a:pt x="948" y="216"/>
                  </a:lnTo>
                  <a:lnTo>
                    <a:pt x="942" y="216"/>
                  </a:lnTo>
                  <a:lnTo>
                    <a:pt x="936" y="216"/>
                  </a:lnTo>
                  <a:lnTo>
                    <a:pt x="936" y="210"/>
                  </a:lnTo>
                  <a:lnTo>
                    <a:pt x="942" y="210"/>
                  </a:lnTo>
                  <a:lnTo>
                    <a:pt x="972" y="210"/>
                  </a:lnTo>
                  <a:lnTo>
                    <a:pt x="1032" y="216"/>
                  </a:lnTo>
                  <a:lnTo>
                    <a:pt x="1068" y="216"/>
                  </a:lnTo>
                  <a:lnTo>
                    <a:pt x="1056" y="234"/>
                  </a:lnTo>
                  <a:lnTo>
                    <a:pt x="1050" y="240"/>
                  </a:lnTo>
                  <a:lnTo>
                    <a:pt x="1044" y="246"/>
                  </a:lnTo>
                  <a:lnTo>
                    <a:pt x="1038" y="246"/>
                  </a:lnTo>
                  <a:lnTo>
                    <a:pt x="1026" y="282"/>
                  </a:lnTo>
                  <a:lnTo>
                    <a:pt x="1032" y="306"/>
                  </a:lnTo>
                  <a:lnTo>
                    <a:pt x="1044" y="324"/>
                  </a:lnTo>
                  <a:lnTo>
                    <a:pt x="1044" y="342"/>
                  </a:lnTo>
                  <a:lnTo>
                    <a:pt x="1062" y="366"/>
                  </a:lnTo>
                  <a:lnTo>
                    <a:pt x="1056" y="396"/>
                  </a:lnTo>
                  <a:lnTo>
                    <a:pt x="1038" y="462"/>
                  </a:lnTo>
                  <a:lnTo>
                    <a:pt x="1038" y="498"/>
                  </a:lnTo>
                  <a:lnTo>
                    <a:pt x="1038" y="522"/>
                  </a:lnTo>
                  <a:lnTo>
                    <a:pt x="1038" y="534"/>
                  </a:lnTo>
                  <a:lnTo>
                    <a:pt x="1056" y="522"/>
                  </a:lnTo>
                  <a:lnTo>
                    <a:pt x="1098" y="504"/>
                  </a:lnTo>
                  <a:lnTo>
                    <a:pt x="1104" y="498"/>
                  </a:lnTo>
                  <a:lnTo>
                    <a:pt x="1128" y="492"/>
                  </a:lnTo>
                  <a:lnTo>
                    <a:pt x="1152" y="480"/>
                  </a:lnTo>
                  <a:lnTo>
                    <a:pt x="1170" y="474"/>
                  </a:lnTo>
                  <a:lnTo>
                    <a:pt x="1188" y="468"/>
                  </a:lnTo>
                  <a:lnTo>
                    <a:pt x="1200" y="462"/>
                  </a:lnTo>
                  <a:lnTo>
                    <a:pt x="1224" y="450"/>
                  </a:lnTo>
                  <a:lnTo>
                    <a:pt x="1248" y="450"/>
                  </a:lnTo>
                  <a:lnTo>
                    <a:pt x="1266" y="450"/>
                  </a:lnTo>
                  <a:lnTo>
                    <a:pt x="1296" y="456"/>
                  </a:lnTo>
                  <a:lnTo>
                    <a:pt x="1308" y="456"/>
                  </a:lnTo>
                  <a:lnTo>
                    <a:pt x="1326" y="456"/>
                  </a:lnTo>
                  <a:lnTo>
                    <a:pt x="1338" y="456"/>
                  </a:lnTo>
                  <a:lnTo>
                    <a:pt x="1350" y="462"/>
                  </a:lnTo>
                  <a:lnTo>
                    <a:pt x="1356" y="462"/>
                  </a:lnTo>
                  <a:lnTo>
                    <a:pt x="1374" y="456"/>
                  </a:lnTo>
                  <a:lnTo>
                    <a:pt x="1386" y="456"/>
                  </a:lnTo>
                  <a:lnTo>
                    <a:pt x="1392" y="456"/>
                  </a:lnTo>
                  <a:lnTo>
                    <a:pt x="1398" y="456"/>
                  </a:lnTo>
                  <a:lnTo>
                    <a:pt x="1422" y="456"/>
                  </a:lnTo>
                  <a:lnTo>
                    <a:pt x="1440" y="456"/>
                  </a:lnTo>
                  <a:lnTo>
                    <a:pt x="1446" y="456"/>
                  </a:lnTo>
                  <a:lnTo>
                    <a:pt x="1476" y="456"/>
                  </a:lnTo>
                  <a:lnTo>
                    <a:pt x="1470" y="468"/>
                  </a:lnTo>
                  <a:lnTo>
                    <a:pt x="1470" y="474"/>
                  </a:lnTo>
                  <a:lnTo>
                    <a:pt x="1470" y="486"/>
                  </a:lnTo>
                  <a:lnTo>
                    <a:pt x="1464" y="492"/>
                  </a:lnTo>
                  <a:lnTo>
                    <a:pt x="1464" y="498"/>
                  </a:lnTo>
                  <a:lnTo>
                    <a:pt x="1458" y="498"/>
                  </a:lnTo>
                  <a:lnTo>
                    <a:pt x="1458" y="510"/>
                  </a:lnTo>
                  <a:lnTo>
                    <a:pt x="1452" y="522"/>
                  </a:lnTo>
                  <a:lnTo>
                    <a:pt x="1458" y="528"/>
                  </a:lnTo>
                  <a:lnTo>
                    <a:pt x="1464" y="546"/>
                  </a:lnTo>
                  <a:lnTo>
                    <a:pt x="1470" y="552"/>
                  </a:lnTo>
                  <a:lnTo>
                    <a:pt x="1476" y="564"/>
                  </a:lnTo>
                  <a:lnTo>
                    <a:pt x="1488" y="588"/>
                  </a:lnTo>
                  <a:lnTo>
                    <a:pt x="1506" y="606"/>
                  </a:lnTo>
                  <a:lnTo>
                    <a:pt x="1506" y="612"/>
                  </a:lnTo>
                  <a:lnTo>
                    <a:pt x="1518" y="618"/>
                  </a:lnTo>
                  <a:lnTo>
                    <a:pt x="1512" y="630"/>
                  </a:lnTo>
                  <a:lnTo>
                    <a:pt x="1518" y="642"/>
                  </a:lnTo>
                  <a:lnTo>
                    <a:pt x="1518" y="648"/>
                  </a:lnTo>
                  <a:lnTo>
                    <a:pt x="1530" y="666"/>
                  </a:lnTo>
                  <a:lnTo>
                    <a:pt x="1518" y="672"/>
                  </a:lnTo>
                  <a:lnTo>
                    <a:pt x="1524" y="696"/>
                  </a:lnTo>
                  <a:lnTo>
                    <a:pt x="1518" y="732"/>
                  </a:lnTo>
                  <a:lnTo>
                    <a:pt x="1524" y="762"/>
                  </a:lnTo>
                  <a:lnTo>
                    <a:pt x="1524" y="780"/>
                  </a:lnTo>
                  <a:lnTo>
                    <a:pt x="1524" y="810"/>
                  </a:lnTo>
                  <a:lnTo>
                    <a:pt x="1530" y="834"/>
                  </a:lnTo>
                  <a:lnTo>
                    <a:pt x="1536" y="846"/>
                  </a:lnTo>
                  <a:lnTo>
                    <a:pt x="1542" y="846"/>
                  </a:lnTo>
                  <a:lnTo>
                    <a:pt x="1584" y="840"/>
                  </a:lnTo>
                  <a:lnTo>
                    <a:pt x="1590" y="846"/>
                  </a:lnTo>
                  <a:lnTo>
                    <a:pt x="1596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90" y="864"/>
                  </a:lnTo>
                  <a:lnTo>
                    <a:pt x="1578" y="882"/>
                  </a:lnTo>
                  <a:lnTo>
                    <a:pt x="1572" y="906"/>
                  </a:lnTo>
                  <a:lnTo>
                    <a:pt x="1560" y="924"/>
                  </a:lnTo>
                  <a:lnTo>
                    <a:pt x="1560" y="936"/>
                  </a:lnTo>
                  <a:lnTo>
                    <a:pt x="1548" y="960"/>
                  </a:lnTo>
                  <a:lnTo>
                    <a:pt x="1542" y="978"/>
                  </a:lnTo>
                  <a:lnTo>
                    <a:pt x="1536" y="990"/>
                  </a:lnTo>
                  <a:lnTo>
                    <a:pt x="1530" y="990"/>
                  </a:lnTo>
                  <a:lnTo>
                    <a:pt x="1506" y="996"/>
                  </a:lnTo>
                  <a:lnTo>
                    <a:pt x="1494" y="1002"/>
                  </a:lnTo>
                  <a:lnTo>
                    <a:pt x="1482" y="1002"/>
                  </a:lnTo>
                  <a:lnTo>
                    <a:pt x="1464" y="1008"/>
                  </a:lnTo>
                  <a:lnTo>
                    <a:pt x="1446" y="1026"/>
                  </a:lnTo>
                  <a:lnTo>
                    <a:pt x="1440" y="1026"/>
                  </a:lnTo>
                  <a:lnTo>
                    <a:pt x="1434" y="1038"/>
                  </a:lnTo>
                  <a:lnTo>
                    <a:pt x="1428" y="1044"/>
                  </a:lnTo>
                  <a:lnTo>
                    <a:pt x="1428" y="1062"/>
                  </a:lnTo>
                  <a:lnTo>
                    <a:pt x="1428" y="1086"/>
                  </a:lnTo>
                  <a:lnTo>
                    <a:pt x="1416" y="1092"/>
                  </a:lnTo>
                  <a:lnTo>
                    <a:pt x="1410" y="1080"/>
                  </a:lnTo>
                  <a:lnTo>
                    <a:pt x="1392" y="10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0" name="Freeform 25">
              <a:extLst>
                <a:ext uri="{FF2B5EF4-FFF2-40B4-BE49-F238E27FC236}">
                  <a16:creationId xmlns:a16="http://schemas.microsoft.com/office/drawing/2014/main" id="{39FDFF90-5ACF-4D65-81AD-C44D2CBE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70228" y="3063559"/>
              <a:ext cx="644023" cy="704498"/>
            </a:xfrm>
            <a:custGeom>
              <a:avLst/>
              <a:gdLst>
                <a:gd name="T0" fmla="*/ 74 w 1212"/>
                <a:gd name="T1" fmla="*/ 113 h 1326"/>
                <a:gd name="T2" fmla="*/ 60 w 1212"/>
                <a:gd name="T3" fmla="*/ 116 h 1326"/>
                <a:gd name="T4" fmla="*/ 62 w 1212"/>
                <a:gd name="T5" fmla="*/ 110 h 1326"/>
                <a:gd name="T6" fmla="*/ 60 w 1212"/>
                <a:gd name="T7" fmla="*/ 105 h 1326"/>
                <a:gd name="T8" fmla="*/ 52 w 1212"/>
                <a:gd name="T9" fmla="*/ 96 h 1326"/>
                <a:gd name="T10" fmla="*/ 47 w 1212"/>
                <a:gd name="T11" fmla="*/ 98 h 1326"/>
                <a:gd name="T12" fmla="*/ 44 w 1212"/>
                <a:gd name="T13" fmla="*/ 93 h 1326"/>
                <a:gd name="T14" fmla="*/ 40 w 1212"/>
                <a:gd name="T15" fmla="*/ 96 h 1326"/>
                <a:gd name="T16" fmla="*/ 35 w 1212"/>
                <a:gd name="T17" fmla="*/ 102 h 1326"/>
                <a:gd name="T18" fmla="*/ 27 w 1212"/>
                <a:gd name="T19" fmla="*/ 100 h 1326"/>
                <a:gd name="T20" fmla="*/ 23 w 1212"/>
                <a:gd name="T21" fmla="*/ 96 h 1326"/>
                <a:gd name="T22" fmla="*/ 20 w 1212"/>
                <a:gd name="T23" fmla="*/ 90 h 1326"/>
                <a:gd name="T24" fmla="*/ 18 w 1212"/>
                <a:gd name="T25" fmla="*/ 89 h 1326"/>
                <a:gd name="T26" fmla="*/ 18 w 1212"/>
                <a:gd name="T27" fmla="*/ 85 h 1326"/>
                <a:gd name="T28" fmla="*/ 19 w 1212"/>
                <a:gd name="T29" fmla="*/ 83 h 1326"/>
                <a:gd name="T30" fmla="*/ 19 w 1212"/>
                <a:gd name="T31" fmla="*/ 82 h 1326"/>
                <a:gd name="T32" fmla="*/ 20 w 1212"/>
                <a:gd name="T33" fmla="*/ 79 h 1326"/>
                <a:gd name="T34" fmla="*/ 19 w 1212"/>
                <a:gd name="T35" fmla="*/ 75 h 1326"/>
                <a:gd name="T36" fmla="*/ 17 w 1212"/>
                <a:gd name="T37" fmla="*/ 77 h 1326"/>
                <a:gd name="T38" fmla="*/ 14 w 1212"/>
                <a:gd name="T39" fmla="*/ 76 h 1326"/>
                <a:gd name="T40" fmla="*/ 12 w 1212"/>
                <a:gd name="T41" fmla="*/ 71 h 1326"/>
                <a:gd name="T42" fmla="*/ 8 w 1212"/>
                <a:gd name="T43" fmla="*/ 69 h 1326"/>
                <a:gd name="T44" fmla="*/ 0 w 1212"/>
                <a:gd name="T45" fmla="*/ 72 h 1326"/>
                <a:gd name="T46" fmla="*/ 2 w 1212"/>
                <a:gd name="T47" fmla="*/ 67 h 1326"/>
                <a:gd name="T48" fmla="*/ 3 w 1212"/>
                <a:gd name="T49" fmla="*/ 61 h 1326"/>
                <a:gd name="T50" fmla="*/ 4 w 1212"/>
                <a:gd name="T51" fmla="*/ 56 h 1326"/>
                <a:gd name="T52" fmla="*/ 4 w 1212"/>
                <a:gd name="T53" fmla="*/ 52 h 1326"/>
                <a:gd name="T54" fmla="*/ 2 w 1212"/>
                <a:gd name="T55" fmla="*/ 47 h 1326"/>
                <a:gd name="T56" fmla="*/ 2 w 1212"/>
                <a:gd name="T57" fmla="*/ 42 h 1326"/>
                <a:gd name="T58" fmla="*/ 5 w 1212"/>
                <a:gd name="T59" fmla="*/ 39 h 1326"/>
                <a:gd name="T60" fmla="*/ 5 w 1212"/>
                <a:gd name="T61" fmla="*/ 35 h 1326"/>
                <a:gd name="T62" fmla="*/ 7 w 1212"/>
                <a:gd name="T63" fmla="*/ 31 h 1326"/>
                <a:gd name="T64" fmla="*/ 14 w 1212"/>
                <a:gd name="T65" fmla="*/ 31 h 1326"/>
                <a:gd name="T66" fmla="*/ 18 w 1212"/>
                <a:gd name="T67" fmla="*/ 27 h 1326"/>
                <a:gd name="T68" fmla="*/ 22 w 1212"/>
                <a:gd name="T69" fmla="*/ 24 h 1326"/>
                <a:gd name="T70" fmla="*/ 27 w 1212"/>
                <a:gd name="T71" fmla="*/ 20 h 1326"/>
                <a:gd name="T72" fmla="*/ 35 w 1212"/>
                <a:gd name="T73" fmla="*/ 21 h 1326"/>
                <a:gd name="T74" fmla="*/ 61 w 1212"/>
                <a:gd name="T75" fmla="*/ 8 h 1326"/>
                <a:gd name="T76" fmla="*/ 73 w 1212"/>
                <a:gd name="T77" fmla="*/ 4 h 1326"/>
                <a:gd name="T78" fmla="*/ 86 w 1212"/>
                <a:gd name="T79" fmla="*/ 12 h 1326"/>
                <a:gd name="T80" fmla="*/ 92 w 1212"/>
                <a:gd name="T81" fmla="*/ 13 h 1326"/>
                <a:gd name="T82" fmla="*/ 86 w 1212"/>
                <a:gd name="T83" fmla="*/ 18 h 1326"/>
                <a:gd name="T84" fmla="*/ 88 w 1212"/>
                <a:gd name="T85" fmla="*/ 33 h 1326"/>
                <a:gd name="T86" fmla="*/ 97 w 1212"/>
                <a:gd name="T87" fmla="*/ 49 h 1326"/>
                <a:gd name="T88" fmla="*/ 102 w 1212"/>
                <a:gd name="T89" fmla="*/ 57 h 1326"/>
                <a:gd name="T90" fmla="*/ 104 w 1212"/>
                <a:gd name="T91" fmla="*/ 67 h 1326"/>
                <a:gd name="T92" fmla="*/ 101 w 1212"/>
                <a:gd name="T93" fmla="*/ 69 h 1326"/>
                <a:gd name="T94" fmla="*/ 97 w 1212"/>
                <a:gd name="T95" fmla="*/ 69 h 1326"/>
                <a:gd name="T96" fmla="*/ 96 w 1212"/>
                <a:gd name="T97" fmla="*/ 71 h 1326"/>
                <a:gd name="T98" fmla="*/ 93 w 1212"/>
                <a:gd name="T99" fmla="*/ 70 h 1326"/>
                <a:gd name="T100" fmla="*/ 86 w 1212"/>
                <a:gd name="T101" fmla="*/ 69 h 1326"/>
                <a:gd name="T102" fmla="*/ 82 w 1212"/>
                <a:gd name="T103" fmla="*/ 73 h 1326"/>
                <a:gd name="T104" fmla="*/ 79 w 1212"/>
                <a:gd name="T105" fmla="*/ 74 h 1326"/>
                <a:gd name="T106" fmla="*/ 78 w 1212"/>
                <a:gd name="T107" fmla="*/ 79 h 1326"/>
                <a:gd name="T108" fmla="*/ 78 w 1212"/>
                <a:gd name="T109" fmla="*/ 83 h 1326"/>
                <a:gd name="T110" fmla="*/ 82 w 1212"/>
                <a:gd name="T111" fmla="*/ 87 h 1326"/>
                <a:gd name="T112" fmla="*/ 83 w 1212"/>
                <a:gd name="T113" fmla="*/ 90 h 1326"/>
                <a:gd name="T114" fmla="*/ 82 w 1212"/>
                <a:gd name="T115" fmla="*/ 94 h 1326"/>
                <a:gd name="T116" fmla="*/ 82 w 1212"/>
                <a:gd name="T117" fmla="*/ 98 h 1326"/>
                <a:gd name="T118" fmla="*/ 82 w 1212"/>
                <a:gd name="T119" fmla="*/ 104 h 1326"/>
                <a:gd name="T120" fmla="*/ 78 w 1212"/>
                <a:gd name="T121" fmla="*/ 110 h 132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12"/>
                <a:gd name="T184" fmla="*/ 0 h 1326"/>
                <a:gd name="T185" fmla="*/ 1212 w 1212"/>
                <a:gd name="T186" fmla="*/ 1326 h 132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12" h="1326">
                  <a:moveTo>
                    <a:pt x="906" y="1290"/>
                  </a:moveTo>
                  <a:lnTo>
                    <a:pt x="906" y="1296"/>
                  </a:lnTo>
                  <a:lnTo>
                    <a:pt x="900" y="1296"/>
                  </a:lnTo>
                  <a:lnTo>
                    <a:pt x="876" y="1290"/>
                  </a:lnTo>
                  <a:lnTo>
                    <a:pt x="870" y="1290"/>
                  </a:lnTo>
                  <a:lnTo>
                    <a:pt x="864" y="1296"/>
                  </a:lnTo>
                  <a:lnTo>
                    <a:pt x="852" y="1296"/>
                  </a:lnTo>
                  <a:lnTo>
                    <a:pt x="840" y="1302"/>
                  </a:lnTo>
                  <a:lnTo>
                    <a:pt x="834" y="1308"/>
                  </a:lnTo>
                  <a:lnTo>
                    <a:pt x="822" y="1320"/>
                  </a:lnTo>
                  <a:lnTo>
                    <a:pt x="816" y="1320"/>
                  </a:lnTo>
                  <a:lnTo>
                    <a:pt x="732" y="1320"/>
                  </a:lnTo>
                  <a:lnTo>
                    <a:pt x="696" y="1320"/>
                  </a:lnTo>
                  <a:lnTo>
                    <a:pt x="690" y="1326"/>
                  </a:lnTo>
                  <a:lnTo>
                    <a:pt x="678" y="1326"/>
                  </a:lnTo>
                  <a:lnTo>
                    <a:pt x="672" y="1308"/>
                  </a:lnTo>
                  <a:lnTo>
                    <a:pt x="696" y="1302"/>
                  </a:lnTo>
                  <a:lnTo>
                    <a:pt x="708" y="1296"/>
                  </a:lnTo>
                  <a:lnTo>
                    <a:pt x="720" y="1284"/>
                  </a:lnTo>
                  <a:lnTo>
                    <a:pt x="714" y="1278"/>
                  </a:lnTo>
                  <a:lnTo>
                    <a:pt x="714" y="1266"/>
                  </a:lnTo>
                  <a:lnTo>
                    <a:pt x="708" y="1260"/>
                  </a:lnTo>
                  <a:lnTo>
                    <a:pt x="708" y="1254"/>
                  </a:lnTo>
                  <a:lnTo>
                    <a:pt x="708" y="1248"/>
                  </a:lnTo>
                  <a:lnTo>
                    <a:pt x="702" y="1236"/>
                  </a:lnTo>
                  <a:lnTo>
                    <a:pt x="702" y="1230"/>
                  </a:lnTo>
                  <a:lnTo>
                    <a:pt x="702" y="1218"/>
                  </a:lnTo>
                  <a:lnTo>
                    <a:pt x="696" y="1200"/>
                  </a:lnTo>
                  <a:lnTo>
                    <a:pt x="696" y="1182"/>
                  </a:lnTo>
                  <a:lnTo>
                    <a:pt x="666" y="1182"/>
                  </a:lnTo>
                  <a:lnTo>
                    <a:pt x="672" y="1134"/>
                  </a:lnTo>
                  <a:lnTo>
                    <a:pt x="666" y="1128"/>
                  </a:lnTo>
                  <a:lnTo>
                    <a:pt x="660" y="1092"/>
                  </a:lnTo>
                  <a:lnTo>
                    <a:pt x="654" y="1098"/>
                  </a:lnTo>
                  <a:lnTo>
                    <a:pt x="594" y="1098"/>
                  </a:lnTo>
                  <a:lnTo>
                    <a:pt x="576" y="1098"/>
                  </a:lnTo>
                  <a:lnTo>
                    <a:pt x="570" y="1104"/>
                  </a:lnTo>
                  <a:lnTo>
                    <a:pt x="564" y="1110"/>
                  </a:lnTo>
                  <a:lnTo>
                    <a:pt x="558" y="1110"/>
                  </a:lnTo>
                  <a:lnTo>
                    <a:pt x="552" y="1110"/>
                  </a:lnTo>
                  <a:lnTo>
                    <a:pt x="546" y="1110"/>
                  </a:lnTo>
                  <a:lnTo>
                    <a:pt x="546" y="1116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10" y="1128"/>
                  </a:lnTo>
                  <a:lnTo>
                    <a:pt x="522" y="1104"/>
                  </a:lnTo>
                  <a:lnTo>
                    <a:pt x="510" y="1098"/>
                  </a:lnTo>
                  <a:lnTo>
                    <a:pt x="510" y="1074"/>
                  </a:lnTo>
                  <a:lnTo>
                    <a:pt x="504" y="1068"/>
                  </a:lnTo>
                  <a:lnTo>
                    <a:pt x="498" y="1068"/>
                  </a:lnTo>
                  <a:lnTo>
                    <a:pt x="492" y="1068"/>
                  </a:lnTo>
                  <a:lnTo>
                    <a:pt x="474" y="1080"/>
                  </a:lnTo>
                  <a:lnTo>
                    <a:pt x="474" y="1086"/>
                  </a:lnTo>
                  <a:lnTo>
                    <a:pt x="474" y="1092"/>
                  </a:lnTo>
                  <a:lnTo>
                    <a:pt x="468" y="1098"/>
                  </a:lnTo>
                  <a:lnTo>
                    <a:pt x="462" y="1104"/>
                  </a:lnTo>
                  <a:lnTo>
                    <a:pt x="456" y="1110"/>
                  </a:lnTo>
                  <a:lnTo>
                    <a:pt x="456" y="1122"/>
                  </a:lnTo>
                  <a:lnTo>
                    <a:pt x="456" y="1128"/>
                  </a:lnTo>
                  <a:lnTo>
                    <a:pt x="450" y="1140"/>
                  </a:lnTo>
                  <a:lnTo>
                    <a:pt x="444" y="1146"/>
                  </a:lnTo>
                  <a:lnTo>
                    <a:pt x="426" y="1170"/>
                  </a:lnTo>
                  <a:lnTo>
                    <a:pt x="408" y="1176"/>
                  </a:lnTo>
                  <a:lnTo>
                    <a:pt x="402" y="1170"/>
                  </a:lnTo>
                  <a:lnTo>
                    <a:pt x="396" y="1170"/>
                  </a:lnTo>
                  <a:lnTo>
                    <a:pt x="396" y="1158"/>
                  </a:lnTo>
                  <a:lnTo>
                    <a:pt x="384" y="1152"/>
                  </a:lnTo>
                  <a:lnTo>
                    <a:pt x="372" y="1140"/>
                  </a:lnTo>
                  <a:lnTo>
                    <a:pt x="354" y="1140"/>
                  </a:lnTo>
                  <a:lnTo>
                    <a:pt x="306" y="1146"/>
                  </a:lnTo>
                  <a:lnTo>
                    <a:pt x="294" y="1134"/>
                  </a:lnTo>
                  <a:lnTo>
                    <a:pt x="294" y="1128"/>
                  </a:lnTo>
                  <a:lnTo>
                    <a:pt x="288" y="1122"/>
                  </a:lnTo>
                  <a:lnTo>
                    <a:pt x="276" y="1122"/>
                  </a:lnTo>
                  <a:lnTo>
                    <a:pt x="276" y="1110"/>
                  </a:lnTo>
                  <a:lnTo>
                    <a:pt x="276" y="1104"/>
                  </a:lnTo>
                  <a:lnTo>
                    <a:pt x="270" y="1098"/>
                  </a:lnTo>
                  <a:lnTo>
                    <a:pt x="264" y="1086"/>
                  </a:lnTo>
                  <a:lnTo>
                    <a:pt x="264" y="1074"/>
                  </a:lnTo>
                  <a:lnTo>
                    <a:pt x="258" y="1068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34" y="1038"/>
                  </a:lnTo>
                  <a:lnTo>
                    <a:pt x="228" y="1038"/>
                  </a:lnTo>
                  <a:lnTo>
                    <a:pt x="222" y="1038"/>
                  </a:lnTo>
                  <a:lnTo>
                    <a:pt x="216" y="1038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0"/>
                  </a:lnTo>
                  <a:lnTo>
                    <a:pt x="204" y="1014"/>
                  </a:lnTo>
                  <a:lnTo>
                    <a:pt x="204" y="1008"/>
                  </a:lnTo>
                  <a:lnTo>
                    <a:pt x="198" y="1002"/>
                  </a:lnTo>
                  <a:lnTo>
                    <a:pt x="198" y="996"/>
                  </a:lnTo>
                  <a:lnTo>
                    <a:pt x="198" y="990"/>
                  </a:lnTo>
                  <a:lnTo>
                    <a:pt x="204" y="990"/>
                  </a:lnTo>
                  <a:lnTo>
                    <a:pt x="204" y="984"/>
                  </a:lnTo>
                  <a:lnTo>
                    <a:pt x="210" y="978"/>
                  </a:lnTo>
                  <a:lnTo>
                    <a:pt x="210" y="972"/>
                  </a:lnTo>
                  <a:lnTo>
                    <a:pt x="210" y="966"/>
                  </a:lnTo>
                  <a:lnTo>
                    <a:pt x="216" y="960"/>
                  </a:lnTo>
                  <a:lnTo>
                    <a:pt x="216" y="954"/>
                  </a:lnTo>
                  <a:lnTo>
                    <a:pt x="210" y="954"/>
                  </a:lnTo>
                  <a:lnTo>
                    <a:pt x="204" y="954"/>
                  </a:lnTo>
                  <a:lnTo>
                    <a:pt x="216" y="954"/>
                  </a:lnTo>
                  <a:lnTo>
                    <a:pt x="216" y="948"/>
                  </a:lnTo>
                  <a:lnTo>
                    <a:pt x="210" y="948"/>
                  </a:lnTo>
                  <a:lnTo>
                    <a:pt x="210" y="942"/>
                  </a:lnTo>
                  <a:lnTo>
                    <a:pt x="216" y="942"/>
                  </a:lnTo>
                  <a:lnTo>
                    <a:pt x="222" y="942"/>
                  </a:lnTo>
                  <a:lnTo>
                    <a:pt x="222" y="936"/>
                  </a:lnTo>
                  <a:lnTo>
                    <a:pt x="216" y="936"/>
                  </a:lnTo>
                  <a:lnTo>
                    <a:pt x="210" y="936"/>
                  </a:lnTo>
                  <a:lnTo>
                    <a:pt x="210" y="930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22" y="918"/>
                  </a:lnTo>
                  <a:lnTo>
                    <a:pt x="228" y="912"/>
                  </a:lnTo>
                  <a:lnTo>
                    <a:pt x="228" y="906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2" y="888"/>
                  </a:lnTo>
                  <a:lnTo>
                    <a:pt x="222" y="882"/>
                  </a:lnTo>
                  <a:lnTo>
                    <a:pt x="222" y="876"/>
                  </a:lnTo>
                  <a:lnTo>
                    <a:pt x="222" y="858"/>
                  </a:lnTo>
                  <a:lnTo>
                    <a:pt x="216" y="858"/>
                  </a:lnTo>
                  <a:lnTo>
                    <a:pt x="216" y="852"/>
                  </a:lnTo>
                  <a:lnTo>
                    <a:pt x="210" y="852"/>
                  </a:lnTo>
                  <a:lnTo>
                    <a:pt x="210" y="840"/>
                  </a:lnTo>
                  <a:lnTo>
                    <a:pt x="198" y="840"/>
                  </a:lnTo>
                  <a:lnTo>
                    <a:pt x="198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0" y="894"/>
                  </a:lnTo>
                  <a:lnTo>
                    <a:pt x="180" y="906"/>
                  </a:lnTo>
                  <a:lnTo>
                    <a:pt x="156" y="912"/>
                  </a:lnTo>
                  <a:lnTo>
                    <a:pt x="156" y="894"/>
                  </a:lnTo>
                  <a:lnTo>
                    <a:pt x="156" y="882"/>
                  </a:lnTo>
                  <a:lnTo>
                    <a:pt x="156" y="876"/>
                  </a:lnTo>
                  <a:lnTo>
                    <a:pt x="150" y="876"/>
                  </a:lnTo>
                  <a:lnTo>
                    <a:pt x="144" y="876"/>
                  </a:lnTo>
                  <a:lnTo>
                    <a:pt x="138" y="870"/>
                  </a:lnTo>
                  <a:lnTo>
                    <a:pt x="132" y="864"/>
                  </a:lnTo>
                  <a:lnTo>
                    <a:pt x="138" y="840"/>
                  </a:lnTo>
                  <a:lnTo>
                    <a:pt x="132" y="840"/>
                  </a:lnTo>
                  <a:lnTo>
                    <a:pt x="138" y="810"/>
                  </a:lnTo>
                  <a:lnTo>
                    <a:pt x="144" y="804"/>
                  </a:lnTo>
                  <a:lnTo>
                    <a:pt x="144" y="798"/>
                  </a:lnTo>
                  <a:lnTo>
                    <a:pt x="156" y="798"/>
                  </a:lnTo>
                  <a:lnTo>
                    <a:pt x="156" y="792"/>
                  </a:lnTo>
                  <a:lnTo>
                    <a:pt x="120" y="792"/>
                  </a:lnTo>
                  <a:lnTo>
                    <a:pt x="108" y="786"/>
                  </a:lnTo>
                  <a:lnTo>
                    <a:pt x="96" y="786"/>
                  </a:lnTo>
                  <a:lnTo>
                    <a:pt x="96" y="780"/>
                  </a:lnTo>
                  <a:lnTo>
                    <a:pt x="78" y="780"/>
                  </a:lnTo>
                  <a:lnTo>
                    <a:pt x="72" y="804"/>
                  </a:lnTo>
                  <a:lnTo>
                    <a:pt x="60" y="816"/>
                  </a:lnTo>
                  <a:lnTo>
                    <a:pt x="36" y="828"/>
                  </a:lnTo>
                  <a:lnTo>
                    <a:pt x="18" y="840"/>
                  </a:lnTo>
                  <a:lnTo>
                    <a:pt x="0" y="822"/>
                  </a:lnTo>
                  <a:lnTo>
                    <a:pt x="6" y="816"/>
                  </a:lnTo>
                  <a:lnTo>
                    <a:pt x="12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18" y="786"/>
                  </a:lnTo>
                  <a:lnTo>
                    <a:pt x="24" y="780"/>
                  </a:lnTo>
                  <a:lnTo>
                    <a:pt x="24" y="768"/>
                  </a:lnTo>
                  <a:lnTo>
                    <a:pt x="24" y="762"/>
                  </a:lnTo>
                  <a:lnTo>
                    <a:pt x="24" y="750"/>
                  </a:lnTo>
                  <a:lnTo>
                    <a:pt x="36" y="714"/>
                  </a:lnTo>
                  <a:lnTo>
                    <a:pt x="36" y="708"/>
                  </a:lnTo>
                  <a:lnTo>
                    <a:pt x="42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6" y="690"/>
                  </a:lnTo>
                  <a:lnTo>
                    <a:pt x="42" y="684"/>
                  </a:lnTo>
                  <a:lnTo>
                    <a:pt x="42" y="672"/>
                  </a:lnTo>
                  <a:lnTo>
                    <a:pt x="42" y="666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48" y="648"/>
                  </a:lnTo>
                  <a:lnTo>
                    <a:pt x="54" y="642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54" y="612"/>
                  </a:lnTo>
                  <a:lnTo>
                    <a:pt x="48" y="606"/>
                  </a:lnTo>
                  <a:lnTo>
                    <a:pt x="48" y="600"/>
                  </a:lnTo>
                  <a:lnTo>
                    <a:pt x="42" y="600"/>
                  </a:lnTo>
                  <a:lnTo>
                    <a:pt x="36" y="594"/>
                  </a:lnTo>
                  <a:lnTo>
                    <a:pt x="36" y="588"/>
                  </a:lnTo>
                  <a:lnTo>
                    <a:pt x="30" y="582"/>
                  </a:lnTo>
                  <a:lnTo>
                    <a:pt x="30" y="570"/>
                  </a:lnTo>
                  <a:lnTo>
                    <a:pt x="18" y="552"/>
                  </a:lnTo>
                  <a:lnTo>
                    <a:pt x="18" y="546"/>
                  </a:lnTo>
                  <a:lnTo>
                    <a:pt x="18" y="540"/>
                  </a:lnTo>
                  <a:lnTo>
                    <a:pt x="18" y="528"/>
                  </a:lnTo>
                  <a:lnTo>
                    <a:pt x="18" y="522"/>
                  </a:lnTo>
                  <a:lnTo>
                    <a:pt x="24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30" y="474"/>
                  </a:lnTo>
                  <a:lnTo>
                    <a:pt x="36" y="474"/>
                  </a:lnTo>
                  <a:lnTo>
                    <a:pt x="42" y="468"/>
                  </a:lnTo>
                  <a:lnTo>
                    <a:pt x="48" y="468"/>
                  </a:lnTo>
                  <a:lnTo>
                    <a:pt x="48" y="462"/>
                  </a:lnTo>
                  <a:lnTo>
                    <a:pt x="48" y="456"/>
                  </a:lnTo>
                  <a:lnTo>
                    <a:pt x="54" y="450"/>
                  </a:lnTo>
                  <a:lnTo>
                    <a:pt x="60" y="438"/>
                  </a:lnTo>
                  <a:lnTo>
                    <a:pt x="54" y="438"/>
                  </a:lnTo>
                  <a:lnTo>
                    <a:pt x="54" y="432"/>
                  </a:ln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54" y="402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6" y="384"/>
                  </a:lnTo>
                  <a:lnTo>
                    <a:pt x="72" y="372"/>
                  </a:lnTo>
                  <a:lnTo>
                    <a:pt x="78" y="366"/>
                  </a:lnTo>
                  <a:lnTo>
                    <a:pt x="84" y="360"/>
                  </a:lnTo>
                  <a:lnTo>
                    <a:pt x="102" y="360"/>
                  </a:lnTo>
                  <a:lnTo>
                    <a:pt x="114" y="36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8" y="360"/>
                  </a:lnTo>
                  <a:lnTo>
                    <a:pt x="156" y="360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74" y="342"/>
                  </a:lnTo>
                  <a:lnTo>
                    <a:pt x="180" y="342"/>
                  </a:lnTo>
                  <a:lnTo>
                    <a:pt x="186" y="336"/>
                  </a:lnTo>
                  <a:lnTo>
                    <a:pt x="192" y="330"/>
                  </a:lnTo>
                  <a:lnTo>
                    <a:pt x="204" y="312"/>
                  </a:lnTo>
                  <a:lnTo>
                    <a:pt x="210" y="312"/>
                  </a:lnTo>
                  <a:lnTo>
                    <a:pt x="216" y="306"/>
                  </a:lnTo>
                  <a:lnTo>
                    <a:pt x="216" y="300"/>
                  </a:lnTo>
                  <a:lnTo>
                    <a:pt x="222" y="288"/>
                  </a:lnTo>
                  <a:lnTo>
                    <a:pt x="234" y="288"/>
                  </a:lnTo>
                  <a:lnTo>
                    <a:pt x="240" y="282"/>
                  </a:lnTo>
                  <a:lnTo>
                    <a:pt x="246" y="282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70" y="270"/>
                  </a:lnTo>
                  <a:lnTo>
                    <a:pt x="276" y="264"/>
                  </a:lnTo>
                  <a:lnTo>
                    <a:pt x="282" y="26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8" y="234"/>
                  </a:lnTo>
                  <a:lnTo>
                    <a:pt x="330" y="234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72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14" y="240"/>
                  </a:lnTo>
                  <a:lnTo>
                    <a:pt x="444" y="216"/>
                  </a:lnTo>
                  <a:lnTo>
                    <a:pt x="480" y="204"/>
                  </a:lnTo>
                  <a:lnTo>
                    <a:pt x="600" y="150"/>
                  </a:lnTo>
                  <a:lnTo>
                    <a:pt x="648" y="126"/>
                  </a:lnTo>
                  <a:lnTo>
                    <a:pt x="702" y="96"/>
                  </a:lnTo>
                  <a:lnTo>
                    <a:pt x="708" y="54"/>
                  </a:lnTo>
                  <a:lnTo>
                    <a:pt x="720" y="24"/>
                  </a:lnTo>
                  <a:lnTo>
                    <a:pt x="738" y="12"/>
                  </a:lnTo>
                  <a:lnTo>
                    <a:pt x="768" y="0"/>
                  </a:lnTo>
                  <a:lnTo>
                    <a:pt x="792" y="6"/>
                  </a:lnTo>
                  <a:lnTo>
                    <a:pt x="804" y="12"/>
                  </a:lnTo>
                  <a:lnTo>
                    <a:pt x="834" y="48"/>
                  </a:lnTo>
                  <a:lnTo>
                    <a:pt x="834" y="60"/>
                  </a:lnTo>
                  <a:lnTo>
                    <a:pt x="852" y="84"/>
                  </a:lnTo>
                  <a:lnTo>
                    <a:pt x="864" y="96"/>
                  </a:lnTo>
                  <a:lnTo>
                    <a:pt x="888" y="102"/>
                  </a:lnTo>
                  <a:lnTo>
                    <a:pt x="978" y="120"/>
                  </a:lnTo>
                  <a:lnTo>
                    <a:pt x="984" y="126"/>
                  </a:lnTo>
                  <a:lnTo>
                    <a:pt x="984" y="132"/>
                  </a:lnTo>
                  <a:lnTo>
                    <a:pt x="996" y="138"/>
                  </a:lnTo>
                  <a:lnTo>
                    <a:pt x="1038" y="126"/>
                  </a:lnTo>
                  <a:lnTo>
                    <a:pt x="1056" y="114"/>
                  </a:lnTo>
                  <a:lnTo>
                    <a:pt x="1068" y="126"/>
                  </a:lnTo>
                  <a:lnTo>
                    <a:pt x="1074" y="132"/>
                  </a:lnTo>
                  <a:lnTo>
                    <a:pt x="1068" y="138"/>
                  </a:lnTo>
                  <a:lnTo>
                    <a:pt x="1056" y="150"/>
                  </a:lnTo>
                  <a:lnTo>
                    <a:pt x="1038" y="162"/>
                  </a:lnTo>
                  <a:lnTo>
                    <a:pt x="1038" y="168"/>
                  </a:lnTo>
                  <a:lnTo>
                    <a:pt x="1020" y="174"/>
                  </a:lnTo>
                  <a:lnTo>
                    <a:pt x="1014" y="180"/>
                  </a:lnTo>
                  <a:lnTo>
                    <a:pt x="1008" y="186"/>
                  </a:lnTo>
                  <a:lnTo>
                    <a:pt x="1002" y="198"/>
                  </a:lnTo>
                  <a:lnTo>
                    <a:pt x="984" y="204"/>
                  </a:lnTo>
                  <a:lnTo>
                    <a:pt x="984" y="246"/>
                  </a:lnTo>
                  <a:lnTo>
                    <a:pt x="978" y="270"/>
                  </a:lnTo>
                  <a:lnTo>
                    <a:pt x="990" y="306"/>
                  </a:lnTo>
                  <a:lnTo>
                    <a:pt x="990" y="324"/>
                  </a:lnTo>
                  <a:lnTo>
                    <a:pt x="1002" y="336"/>
                  </a:lnTo>
                  <a:lnTo>
                    <a:pt x="1020" y="372"/>
                  </a:lnTo>
                  <a:lnTo>
                    <a:pt x="1014" y="378"/>
                  </a:lnTo>
                  <a:lnTo>
                    <a:pt x="1014" y="384"/>
                  </a:lnTo>
                  <a:lnTo>
                    <a:pt x="1020" y="384"/>
                  </a:lnTo>
                  <a:lnTo>
                    <a:pt x="1020" y="396"/>
                  </a:lnTo>
                  <a:lnTo>
                    <a:pt x="1062" y="468"/>
                  </a:lnTo>
                  <a:lnTo>
                    <a:pt x="1092" y="522"/>
                  </a:lnTo>
                  <a:lnTo>
                    <a:pt x="1110" y="546"/>
                  </a:lnTo>
                  <a:lnTo>
                    <a:pt x="1122" y="564"/>
                  </a:lnTo>
                  <a:lnTo>
                    <a:pt x="1134" y="576"/>
                  </a:lnTo>
                  <a:lnTo>
                    <a:pt x="1146" y="582"/>
                  </a:lnTo>
                  <a:lnTo>
                    <a:pt x="1146" y="588"/>
                  </a:lnTo>
                  <a:lnTo>
                    <a:pt x="1164" y="600"/>
                  </a:lnTo>
                  <a:lnTo>
                    <a:pt x="1170" y="612"/>
                  </a:lnTo>
                  <a:lnTo>
                    <a:pt x="1170" y="624"/>
                  </a:lnTo>
                  <a:lnTo>
                    <a:pt x="1176" y="654"/>
                  </a:lnTo>
                  <a:lnTo>
                    <a:pt x="1176" y="666"/>
                  </a:lnTo>
                  <a:lnTo>
                    <a:pt x="1182" y="684"/>
                  </a:lnTo>
                  <a:lnTo>
                    <a:pt x="1194" y="696"/>
                  </a:lnTo>
                  <a:lnTo>
                    <a:pt x="1212" y="696"/>
                  </a:lnTo>
                  <a:lnTo>
                    <a:pt x="1206" y="762"/>
                  </a:lnTo>
                  <a:lnTo>
                    <a:pt x="1200" y="768"/>
                  </a:lnTo>
                  <a:lnTo>
                    <a:pt x="1194" y="768"/>
                  </a:lnTo>
                  <a:lnTo>
                    <a:pt x="1194" y="774"/>
                  </a:lnTo>
                  <a:lnTo>
                    <a:pt x="1188" y="774"/>
                  </a:lnTo>
                  <a:lnTo>
                    <a:pt x="1182" y="780"/>
                  </a:lnTo>
                  <a:lnTo>
                    <a:pt x="1176" y="780"/>
                  </a:lnTo>
                  <a:lnTo>
                    <a:pt x="1170" y="780"/>
                  </a:lnTo>
                  <a:lnTo>
                    <a:pt x="1164" y="786"/>
                  </a:lnTo>
                  <a:lnTo>
                    <a:pt x="1158" y="786"/>
                  </a:lnTo>
                  <a:lnTo>
                    <a:pt x="1152" y="786"/>
                  </a:lnTo>
                  <a:lnTo>
                    <a:pt x="1140" y="786"/>
                  </a:lnTo>
                  <a:lnTo>
                    <a:pt x="1134" y="786"/>
                  </a:lnTo>
                  <a:lnTo>
                    <a:pt x="1134" y="780"/>
                  </a:lnTo>
                  <a:lnTo>
                    <a:pt x="1122" y="780"/>
                  </a:lnTo>
                  <a:lnTo>
                    <a:pt x="1116" y="786"/>
                  </a:lnTo>
                  <a:lnTo>
                    <a:pt x="1116" y="792"/>
                  </a:lnTo>
                  <a:lnTo>
                    <a:pt x="1122" y="804"/>
                  </a:lnTo>
                  <a:lnTo>
                    <a:pt x="1128" y="804"/>
                  </a:lnTo>
                  <a:lnTo>
                    <a:pt x="1128" y="816"/>
                  </a:lnTo>
                  <a:lnTo>
                    <a:pt x="1122" y="822"/>
                  </a:lnTo>
                  <a:lnTo>
                    <a:pt x="1116" y="816"/>
                  </a:lnTo>
                  <a:lnTo>
                    <a:pt x="1110" y="816"/>
                  </a:lnTo>
                  <a:lnTo>
                    <a:pt x="1104" y="816"/>
                  </a:lnTo>
                  <a:lnTo>
                    <a:pt x="1098" y="816"/>
                  </a:lnTo>
                  <a:lnTo>
                    <a:pt x="1098" y="822"/>
                  </a:lnTo>
                  <a:lnTo>
                    <a:pt x="1092" y="834"/>
                  </a:lnTo>
                  <a:lnTo>
                    <a:pt x="1092" y="840"/>
                  </a:lnTo>
                  <a:lnTo>
                    <a:pt x="1074" y="840"/>
                  </a:lnTo>
                  <a:lnTo>
                    <a:pt x="1074" y="828"/>
                  </a:lnTo>
                  <a:lnTo>
                    <a:pt x="1062" y="804"/>
                  </a:lnTo>
                  <a:lnTo>
                    <a:pt x="1056" y="792"/>
                  </a:lnTo>
                  <a:lnTo>
                    <a:pt x="1056" y="786"/>
                  </a:lnTo>
                  <a:lnTo>
                    <a:pt x="1026" y="780"/>
                  </a:lnTo>
                  <a:lnTo>
                    <a:pt x="1026" y="768"/>
                  </a:lnTo>
                  <a:lnTo>
                    <a:pt x="1008" y="768"/>
                  </a:lnTo>
                  <a:lnTo>
                    <a:pt x="1002" y="780"/>
                  </a:lnTo>
                  <a:lnTo>
                    <a:pt x="996" y="792"/>
                  </a:lnTo>
                  <a:lnTo>
                    <a:pt x="978" y="798"/>
                  </a:lnTo>
                  <a:lnTo>
                    <a:pt x="972" y="810"/>
                  </a:lnTo>
                  <a:lnTo>
                    <a:pt x="972" y="822"/>
                  </a:lnTo>
                  <a:lnTo>
                    <a:pt x="978" y="828"/>
                  </a:lnTo>
                  <a:lnTo>
                    <a:pt x="978" y="834"/>
                  </a:lnTo>
                  <a:lnTo>
                    <a:pt x="960" y="840"/>
                  </a:lnTo>
                  <a:lnTo>
                    <a:pt x="936" y="840"/>
                  </a:lnTo>
                  <a:lnTo>
                    <a:pt x="918" y="846"/>
                  </a:lnTo>
                  <a:lnTo>
                    <a:pt x="912" y="840"/>
                  </a:lnTo>
                  <a:lnTo>
                    <a:pt x="912" y="834"/>
                  </a:lnTo>
                  <a:lnTo>
                    <a:pt x="906" y="834"/>
                  </a:lnTo>
                  <a:lnTo>
                    <a:pt x="906" y="840"/>
                  </a:lnTo>
                  <a:lnTo>
                    <a:pt x="900" y="846"/>
                  </a:lnTo>
                  <a:lnTo>
                    <a:pt x="906" y="852"/>
                  </a:lnTo>
                  <a:lnTo>
                    <a:pt x="900" y="864"/>
                  </a:lnTo>
                  <a:lnTo>
                    <a:pt x="900" y="876"/>
                  </a:lnTo>
                  <a:lnTo>
                    <a:pt x="900" y="882"/>
                  </a:lnTo>
                  <a:lnTo>
                    <a:pt x="894" y="888"/>
                  </a:lnTo>
                  <a:lnTo>
                    <a:pt x="900" y="900"/>
                  </a:lnTo>
                  <a:lnTo>
                    <a:pt x="900" y="906"/>
                  </a:lnTo>
                  <a:lnTo>
                    <a:pt x="894" y="906"/>
                  </a:lnTo>
                  <a:lnTo>
                    <a:pt x="894" y="912"/>
                  </a:lnTo>
                  <a:lnTo>
                    <a:pt x="900" y="918"/>
                  </a:lnTo>
                  <a:lnTo>
                    <a:pt x="900" y="924"/>
                  </a:lnTo>
                  <a:lnTo>
                    <a:pt x="900" y="948"/>
                  </a:lnTo>
                  <a:lnTo>
                    <a:pt x="888" y="948"/>
                  </a:lnTo>
                  <a:lnTo>
                    <a:pt x="888" y="954"/>
                  </a:lnTo>
                  <a:lnTo>
                    <a:pt x="894" y="954"/>
                  </a:lnTo>
                  <a:lnTo>
                    <a:pt x="900" y="960"/>
                  </a:lnTo>
                  <a:lnTo>
                    <a:pt x="900" y="972"/>
                  </a:lnTo>
                  <a:lnTo>
                    <a:pt x="906" y="984"/>
                  </a:lnTo>
                  <a:lnTo>
                    <a:pt x="912" y="984"/>
                  </a:lnTo>
                  <a:lnTo>
                    <a:pt x="918" y="990"/>
                  </a:lnTo>
                  <a:lnTo>
                    <a:pt x="936" y="990"/>
                  </a:lnTo>
                  <a:lnTo>
                    <a:pt x="936" y="996"/>
                  </a:lnTo>
                  <a:lnTo>
                    <a:pt x="942" y="996"/>
                  </a:lnTo>
                  <a:lnTo>
                    <a:pt x="942" y="1002"/>
                  </a:lnTo>
                  <a:lnTo>
                    <a:pt x="942" y="1008"/>
                  </a:lnTo>
                  <a:lnTo>
                    <a:pt x="948" y="1008"/>
                  </a:lnTo>
                  <a:lnTo>
                    <a:pt x="948" y="1014"/>
                  </a:lnTo>
                  <a:lnTo>
                    <a:pt x="948" y="1020"/>
                  </a:lnTo>
                  <a:lnTo>
                    <a:pt x="954" y="1032"/>
                  </a:lnTo>
                  <a:lnTo>
                    <a:pt x="948" y="1038"/>
                  </a:lnTo>
                  <a:lnTo>
                    <a:pt x="954" y="1044"/>
                  </a:lnTo>
                  <a:lnTo>
                    <a:pt x="954" y="1056"/>
                  </a:lnTo>
                  <a:lnTo>
                    <a:pt x="960" y="1056"/>
                  </a:lnTo>
                  <a:lnTo>
                    <a:pt x="960" y="1062"/>
                  </a:lnTo>
                  <a:lnTo>
                    <a:pt x="954" y="1068"/>
                  </a:lnTo>
                  <a:lnTo>
                    <a:pt x="948" y="1074"/>
                  </a:lnTo>
                  <a:lnTo>
                    <a:pt x="948" y="1080"/>
                  </a:lnTo>
                  <a:lnTo>
                    <a:pt x="948" y="1086"/>
                  </a:lnTo>
                  <a:lnTo>
                    <a:pt x="942" y="1092"/>
                  </a:lnTo>
                  <a:lnTo>
                    <a:pt x="942" y="1098"/>
                  </a:lnTo>
                  <a:lnTo>
                    <a:pt x="942" y="1104"/>
                  </a:lnTo>
                  <a:lnTo>
                    <a:pt x="942" y="1110"/>
                  </a:lnTo>
                  <a:lnTo>
                    <a:pt x="936" y="1116"/>
                  </a:lnTo>
                  <a:lnTo>
                    <a:pt x="936" y="1122"/>
                  </a:lnTo>
                  <a:lnTo>
                    <a:pt x="936" y="1128"/>
                  </a:lnTo>
                  <a:lnTo>
                    <a:pt x="936" y="1134"/>
                  </a:lnTo>
                  <a:lnTo>
                    <a:pt x="942" y="1146"/>
                  </a:lnTo>
                  <a:lnTo>
                    <a:pt x="936" y="1158"/>
                  </a:lnTo>
                  <a:lnTo>
                    <a:pt x="936" y="1170"/>
                  </a:lnTo>
                  <a:lnTo>
                    <a:pt x="936" y="1194"/>
                  </a:lnTo>
                  <a:lnTo>
                    <a:pt x="930" y="1200"/>
                  </a:lnTo>
                  <a:lnTo>
                    <a:pt x="930" y="1212"/>
                  </a:lnTo>
                  <a:lnTo>
                    <a:pt x="918" y="1218"/>
                  </a:lnTo>
                  <a:lnTo>
                    <a:pt x="918" y="1230"/>
                  </a:lnTo>
                  <a:lnTo>
                    <a:pt x="906" y="1230"/>
                  </a:lnTo>
                  <a:lnTo>
                    <a:pt x="900" y="1254"/>
                  </a:lnTo>
                  <a:lnTo>
                    <a:pt x="900" y="1260"/>
                  </a:lnTo>
                  <a:lnTo>
                    <a:pt x="900" y="1266"/>
                  </a:lnTo>
                  <a:lnTo>
                    <a:pt x="900" y="1272"/>
                  </a:lnTo>
                  <a:lnTo>
                    <a:pt x="900" y="1278"/>
                  </a:lnTo>
                  <a:lnTo>
                    <a:pt x="900" y="1284"/>
                  </a:lnTo>
                  <a:lnTo>
                    <a:pt x="906" y="129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1" name="Freeform 26">
              <a:extLst>
                <a:ext uri="{FF2B5EF4-FFF2-40B4-BE49-F238E27FC236}">
                  <a16:creationId xmlns:a16="http://schemas.microsoft.com/office/drawing/2014/main" id="{25725EFE-FE00-49A8-A87A-6752B785C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79173" y="3477313"/>
              <a:ext cx="650731" cy="559125"/>
            </a:xfrm>
            <a:custGeom>
              <a:avLst/>
              <a:gdLst>
                <a:gd name="T0" fmla="*/ 95 w 1224"/>
                <a:gd name="T1" fmla="*/ 89 h 1050"/>
                <a:gd name="T2" fmla="*/ 90 w 1224"/>
                <a:gd name="T3" fmla="*/ 84 h 1050"/>
                <a:gd name="T4" fmla="*/ 84 w 1224"/>
                <a:gd name="T5" fmla="*/ 83 h 1050"/>
                <a:gd name="T6" fmla="*/ 82 w 1224"/>
                <a:gd name="T7" fmla="*/ 80 h 1050"/>
                <a:gd name="T8" fmla="*/ 85 w 1224"/>
                <a:gd name="T9" fmla="*/ 77 h 1050"/>
                <a:gd name="T10" fmla="*/ 81 w 1224"/>
                <a:gd name="T11" fmla="*/ 76 h 1050"/>
                <a:gd name="T12" fmla="*/ 77 w 1224"/>
                <a:gd name="T13" fmla="*/ 77 h 1050"/>
                <a:gd name="T14" fmla="*/ 78 w 1224"/>
                <a:gd name="T15" fmla="*/ 73 h 1050"/>
                <a:gd name="T16" fmla="*/ 59 w 1224"/>
                <a:gd name="T17" fmla="*/ 71 h 1050"/>
                <a:gd name="T18" fmla="*/ 41 w 1224"/>
                <a:gd name="T19" fmla="*/ 73 h 1050"/>
                <a:gd name="T20" fmla="*/ 33 w 1224"/>
                <a:gd name="T21" fmla="*/ 71 h 1050"/>
                <a:gd name="T22" fmla="*/ 30 w 1224"/>
                <a:gd name="T23" fmla="*/ 75 h 1050"/>
                <a:gd name="T24" fmla="*/ 27 w 1224"/>
                <a:gd name="T25" fmla="*/ 80 h 1050"/>
                <a:gd name="T26" fmla="*/ 12 w 1224"/>
                <a:gd name="T27" fmla="*/ 81 h 1050"/>
                <a:gd name="T28" fmla="*/ 9 w 1224"/>
                <a:gd name="T29" fmla="*/ 84 h 1050"/>
                <a:gd name="T30" fmla="*/ 6 w 1224"/>
                <a:gd name="T31" fmla="*/ 83 h 1050"/>
                <a:gd name="T32" fmla="*/ 1 w 1224"/>
                <a:gd name="T33" fmla="*/ 83 h 1050"/>
                <a:gd name="T34" fmla="*/ 3 w 1224"/>
                <a:gd name="T35" fmla="*/ 77 h 1050"/>
                <a:gd name="T36" fmla="*/ 5 w 1224"/>
                <a:gd name="T37" fmla="*/ 70 h 1050"/>
                <a:gd name="T38" fmla="*/ 2 w 1224"/>
                <a:gd name="T39" fmla="*/ 65 h 1050"/>
                <a:gd name="T40" fmla="*/ 3 w 1224"/>
                <a:gd name="T41" fmla="*/ 58 h 1050"/>
                <a:gd name="T42" fmla="*/ 4 w 1224"/>
                <a:gd name="T43" fmla="*/ 51 h 1050"/>
                <a:gd name="T44" fmla="*/ 3 w 1224"/>
                <a:gd name="T45" fmla="*/ 47 h 1050"/>
                <a:gd name="T46" fmla="*/ 4 w 1224"/>
                <a:gd name="T47" fmla="*/ 39 h 1050"/>
                <a:gd name="T48" fmla="*/ 6 w 1224"/>
                <a:gd name="T49" fmla="*/ 29 h 1050"/>
                <a:gd name="T50" fmla="*/ 3 w 1224"/>
                <a:gd name="T51" fmla="*/ 22 h 1050"/>
                <a:gd name="T52" fmla="*/ 2 w 1224"/>
                <a:gd name="T53" fmla="*/ 14 h 1050"/>
                <a:gd name="T54" fmla="*/ 0 w 1224"/>
                <a:gd name="T55" fmla="*/ 6 h 1050"/>
                <a:gd name="T56" fmla="*/ 9 w 1224"/>
                <a:gd name="T57" fmla="*/ 1 h 1050"/>
                <a:gd name="T58" fmla="*/ 11 w 1224"/>
                <a:gd name="T59" fmla="*/ 8 h 1050"/>
                <a:gd name="T60" fmla="*/ 15 w 1224"/>
                <a:gd name="T61" fmla="*/ 9 h 1050"/>
                <a:gd name="T62" fmla="*/ 18 w 1224"/>
                <a:gd name="T63" fmla="*/ 8 h 1050"/>
                <a:gd name="T64" fmla="*/ 18 w 1224"/>
                <a:gd name="T65" fmla="*/ 13 h 1050"/>
                <a:gd name="T66" fmla="*/ 17 w 1224"/>
                <a:gd name="T67" fmla="*/ 15 h 1050"/>
                <a:gd name="T68" fmla="*/ 17 w 1224"/>
                <a:gd name="T69" fmla="*/ 17 h 1050"/>
                <a:gd name="T70" fmla="*/ 17 w 1224"/>
                <a:gd name="T71" fmla="*/ 21 h 1050"/>
                <a:gd name="T72" fmla="*/ 21 w 1224"/>
                <a:gd name="T73" fmla="*/ 25 h 1050"/>
                <a:gd name="T74" fmla="*/ 24 w 1224"/>
                <a:gd name="T75" fmla="*/ 31 h 1050"/>
                <a:gd name="T76" fmla="*/ 35 w 1224"/>
                <a:gd name="T77" fmla="*/ 34 h 1050"/>
                <a:gd name="T78" fmla="*/ 40 w 1224"/>
                <a:gd name="T79" fmla="*/ 27 h 1050"/>
                <a:gd name="T80" fmla="*/ 46 w 1224"/>
                <a:gd name="T81" fmla="*/ 30 h 1050"/>
                <a:gd name="T82" fmla="*/ 51 w 1224"/>
                <a:gd name="T83" fmla="*/ 27 h 1050"/>
                <a:gd name="T84" fmla="*/ 59 w 1224"/>
                <a:gd name="T85" fmla="*/ 39 h 1050"/>
                <a:gd name="T86" fmla="*/ 59 w 1224"/>
                <a:gd name="T87" fmla="*/ 45 h 1050"/>
                <a:gd name="T88" fmla="*/ 72 w 1224"/>
                <a:gd name="T89" fmla="*/ 45 h 1050"/>
                <a:gd name="T90" fmla="*/ 79 w 1224"/>
                <a:gd name="T91" fmla="*/ 44 h 1050"/>
                <a:gd name="T92" fmla="*/ 87 w 1224"/>
                <a:gd name="T93" fmla="*/ 48 h 1050"/>
                <a:gd name="T94" fmla="*/ 93 w 1224"/>
                <a:gd name="T95" fmla="*/ 50 h 1050"/>
                <a:gd name="T96" fmla="*/ 98 w 1224"/>
                <a:gd name="T97" fmla="*/ 51 h 1050"/>
                <a:gd name="T98" fmla="*/ 106 w 1224"/>
                <a:gd name="T99" fmla="*/ 50 h 1050"/>
                <a:gd name="T100" fmla="*/ 104 w 1224"/>
                <a:gd name="T101" fmla="*/ 54 h 1050"/>
                <a:gd name="T102" fmla="*/ 104 w 1224"/>
                <a:gd name="T103" fmla="*/ 60 h 1050"/>
                <a:gd name="T104" fmla="*/ 101 w 1224"/>
                <a:gd name="T105" fmla="*/ 63 h 1050"/>
                <a:gd name="T106" fmla="*/ 98 w 1224"/>
                <a:gd name="T107" fmla="*/ 66 h 1050"/>
                <a:gd name="T108" fmla="*/ 95 w 1224"/>
                <a:gd name="T109" fmla="*/ 68 h 1050"/>
                <a:gd name="T110" fmla="*/ 93 w 1224"/>
                <a:gd name="T111" fmla="*/ 72 h 1050"/>
                <a:gd name="T112" fmla="*/ 98 w 1224"/>
                <a:gd name="T113" fmla="*/ 75 h 1050"/>
                <a:gd name="T114" fmla="*/ 102 w 1224"/>
                <a:gd name="T115" fmla="*/ 77 h 1050"/>
                <a:gd name="T116" fmla="*/ 107 w 1224"/>
                <a:gd name="T117" fmla="*/ 76 h 1050"/>
                <a:gd name="T118" fmla="*/ 104 w 1224"/>
                <a:gd name="T119" fmla="*/ 84 h 1050"/>
                <a:gd name="T120" fmla="*/ 103 w 1224"/>
                <a:gd name="T121" fmla="*/ 87 h 1050"/>
                <a:gd name="T122" fmla="*/ 104 w 1224"/>
                <a:gd name="T123" fmla="*/ 91 h 105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24"/>
                <a:gd name="T187" fmla="*/ 0 h 1050"/>
                <a:gd name="T188" fmla="*/ 1224 w 1224"/>
                <a:gd name="T189" fmla="*/ 1050 h 105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24" h="1050">
                  <a:moveTo>
                    <a:pt x="1128" y="1032"/>
                  </a:moveTo>
                  <a:lnTo>
                    <a:pt x="1122" y="1026"/>
                  </a:lnTo>
                  <a:lnTo>
                    <a:pt x="1116" y="1026"/>
                  </a:lnTo>
                  <a:lnTo>
                    <a:pt x="1110" y="1026"/>
                  </a:lnTo>
                  <a:lnTo>
                    <a:pt x="1104" y="1026"/>
                  </a:lnTo>
                  <a:lnTo>
                    <a:pt x="1104" y="1020"/>
                  </a:lnTo>
                  <a:lnTo>
                    <a:pt x="1098" y="1020"/>
                  </a:lnTo>
                  <a:lnTo>
                    <a:pt x="1092" y="1020"/>
                  </a:lnTo>
                  <a:lnTo>
                    <a:pt x="1086" y="1020"/>
                  </a:lnTo>
                  <a:lnTo>
                    <a:pt x="1080" y="1014"/>
                  </a:lnTo>
                  <a:lnTo>
                    <a:pt x="1068" y="1014"/>
                  </a:lnTo>
                  <a:lnTo>
                    <a:pt x="1062" y="1014"/>
                  </a:lnTo>
                  <a:lnTo>
                    <a:pt x="1062" y="1008"/>
                  </a:lnTo>
                  <a:lnTo>
                    <a:pt x="1062" y="990"/>
                  </a:lnTo>
                  <a:lnTo>
                    <a:pt x="1062" y="984"/>
                  </a:lnTo>
                  <a:lnTo>
                    <a:pt x="1062" y="972"/>
                  </a:lnTo>
                  <a:lnTo>
                    <a:pt x="1044" y="966"/>
                  </a:lnTo>
                  <a:lnTo>
                    <a:pt x="1026" y="966"/>
                  </a:lnTo>
                  <a:lnTo>
                    <a:pt x="1014" y="966"/>
                  </a:lnTo>
                  <a:lnTo>
                    <a:pt x="996" y="966"/>
                  </a:lnTo>
                  <a:lnTo>
                    <a:pt x="996" y="972"/>
                  </a:lnTo>
                  <a:lnTo>
                    <a:pt x="990" y="972"/>
                  </a:lnTo>
                  <a:lnTo>
                    <a:pt x="984" y="966"/>
                  </a:lnTo>
                  <a:lnTo>
                    <a:pt x="978" y="966"/>
                  </a:lnTo>
                  <a:lnTo>
                    <a:pt x="978" y="960"/>
                  </a:lnTo>
                  <a:lnTo>
                    <a:pt x="972" y="954"/>
                  </a:lnTo>
                  <a:lnTo>
                    <a:pt x="966" y="954"/>
                  </a:lnTo>
                  <a:lnTo>
                    <a:pt x="960" y="954"/>
                  </a:lnTo>
                  <a:lnTo>
                    <a:pt x="954" y="954"/>
                  </a:lnTo>
                  <a:lnTo>
                    <a:pt x="954" y="948"/>
                  </a:lnTo>
                  <a:lnTo>
                    <a:pt x="942" y="942"/>
                  </a:lnTo>
                  <a:lnTo>
                    <a:pt x="936" y="942"/>
                  </a:lnTo>
                  <a:lnTo>
                    <a:pt x="936" y="936"/>
                  </a:lnTo>
                  <a:lnTo>
                    <a:pt x="936" y="930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42" y="918"/>
                  </a:lnTo>
                  <a:lnTo>
                    <a:pt x="948" y="918"/>
                  </a:lnTo>
                  <a:lnTo>
                    <a:pt x="960" y="918"/>
                  </a:lnTo>
                  <a:lnTo>
                    <a:pt x="966" y="912"/>
                  </a:lnTo>
                  <a:lnTo>
                    <a:pt x="978" y="906"/>
                  </a:lnTo>
                  <a:lnTo>
                    <a:pt x="978" y="900"/>
                  </a:lnTo>
                  <a:lnTo>
                    <a:pt x="978" y="894"/>
                  </a:lnTo>
                  <a:lnTo>
                    <a:pt x="978" y="888"/>
                  </a:lnTo>
                  <a:lnTo>
                    <a:pt x="972" y="888"/>
                  </a:lnTo>
                  <a:lnTo>
                    <a:pt x="978" y="888"/>
                  </a:lnTo>
                  <a:lnTo>
                    <a:pt x="978" y="882"/>
                  </a:lnTo>
                  <a:lnTo>
                    <a:pt x="972" y="876"/>
                  </a:lnTo>
                  <a:lnTo>
                    <a:pt x="966" y="870"/>
                  </a:lnTo>
                  <a:lnTo>
                    <a:pt x="954" y="876"/>
                  </a:lnTo>
                  <a:lnTo>
                    <a:pt x="948" y="876"/>
                  </a:lnTo>
                  <a:lnTo>
                    <a:pt x="942" y="870"/>
                  </a:lnTo>
                  <a:lnTo>
                    <a:pt x="936" y="876"/>
                  </a:lnTo>
                  <a:lnTo>
                    <a:pt x="930" y="876"/>
                  </a:lnTo>
                  <a:lnTo>
                    <a:pt x="924" y="882"/>
                  </a:lnTo>
                  <a:lnTo>
                    <a:pt x="912" y="888"/>
                  </a:lnTo>
                  <a:lnTo>
                    <a:pt x="906" y="894"/>
                  </a:lnTo>
                  <a:lnTo>
                    <a:pt x="900" y="900"/>
                  </a:lnTo>
                  <a:lnTo>
                    <a:pt x="894" y="888"/>
                  </a:lnTo>
                  <a:lnTo>
                    <a:pt x="888" y="894"/>
                  </a:lnTo>
                  <a:lnTo>
                    <a:pt x="882" y="888"/>
                  </a:lnTo>
                  <a:lnTo>
                    <a:pt x="876" y="894"/>
                  </a:lnTo>
                  <a:lnTo>
                    <a:pt x="876" y="888"/>
                  </a:lnTo>
                  <a:lnTo>
                    <a:pt x="876" y="882"/>
                  </a:lnTo>
                  <a:lnTo>
                    <a:pt x="876" y="876"/>
                  </a:lnTo>
                  <a:lnTo>
                    <a:pt x="870" y="858"/>
                  </a:lnTo>
                  <a:lnTo>
                    <a:pt x="864" y="858"/>
                  </a:lnTo>
                  <a:lnTo>
                    <a:pt x="870" y="852"/>
                  </a:lnTo>
                  <a:lnTo>
                    <a:pt x="870" y="846"/>
                  </a:lnTo>
                  <a:lnTo>
                    <a:pt x="876" y="846"/>
                  </a:lnTo>
                  <a:lnTo>
                    <a:pt x="882" y="846"/>
                  </a:lnTo>
                  <a:lnTo>
                    <a:pt x="888" y="840"/>
                  </a:lnTo>
                  <a:lnTo>
                    <a:pt x="894" y="834"/>
                  </a:lnTo>
                  <a:lnTo>
                    <a:pt x="894" y="828"/>
                  </a:lnTo>
                  <a:lnTo>
                    <a:pt x="894" y="816"/>
                  </a:lnTo>
                  <a:lnTo>
                    <a:pt x="858" y="810"/>
                  </a:lnTo>
                  <a:lnTo>
                    <a:pt x="858" y="816"/>
                  </a:lnTo>
                  <a:lnTo>
                    <a:pt x="852" y="816"/>
                  </a:lnTo>
                  <a:lnTo>
                    <a:pt x="780" y="816"/>
                  </a:lnTo>
                  <a:lnTo>
                    <a:pt x="750" y="816"/>
                  </a:lnTo>
                  <a:lnTo>
                    <a:pt x="684" y="816"/>
                  </a:lnTo>
                  <a:lnTo>
                    <a:pt x="636" y="816"/>
                  </a:lnTo>
                  <a:lnTo>
                    <a:pt x="612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0" y="816"/>
                  </a:lnTo>
                  <a:lnTo>
                    <a:pt x="480" y="822"/>
                  </a:lnTo>
                  <a:lnTo>
                    <a:pt x="480" y="834"/>
                  </a:lnTo>
                  <a:lnTo>
                    <a:pt x="474" y="840"/>
                  </a:lnTo>
                  <a:lnTo>
                    <a:pt x="468" y="840"/>
                  </a:lnTo>
                  <a:lnTo>
                    <a:pt x="432" y="840"/>
                  </a:lnTo>
                  <a:lnTo>
                    <a:pt x="426" y="834"/>
                  </a:lnTo>
                  <a:lnTo>
                    <a:pt x="420" y="834"/>
                  </a:lnTo>
                  <a:lnTo>
                    <a:pt x="420" y="828"/>
                  </a:lnTo>
                  <a:lnTo>
                    <a:pt x="414" y="822"/>
                  </a:lnTo>
                  <a:lnTo>
                    <a:pt x="408" y="822"/>
                  </a:lnTo>
                  <a:lnTo>
                    <a:pt x="396" y="822"/>
                  </a:lnTo>
                  <a:lnTo>
                    <a:pt x="396" y="816"/>
                  </a:lnTo>
                  <a:lnTo>
                    <a:pt x="384" y="816"/>
                  </a:lnTo>
                  <a:lnTo>
                    <a:pt x="372" y="810"/>
                  </a:lnTo>
                  <a:lnTo>
                    <a:pt x="372" y="804"/>
                  </a:lnTo>
                  <a:lnTo>
                    <a:pt x="366" y="804"/>
                  </a:lnTo>
                  <a:lnTo>
                    <a:pt x="360" y="804"/>
                  </a:lnTo>
                  <a:lnTo>
                    <a:pt x="348" y="828"/>
                  </a:lnTo>
                  <a:lnTo>
                    <a:pt x="348" y="834"/>
                  </a:lnTo>
                  <a:lnTo>
                    <a:pt x="348" y="852"/>
                  </a:lnTo>
                  <a:lnTo>
                    <a:pt x="348" y="858"/>
                  </a:lnTo>
                  <a:lnTo>
                    <a:pt x="342" y="864"/>
                  </a:lnTo>
                  <a:lnTo>
                    <a:pt x="342" y="870"/>
                  </a:lnTo>
                  <a:lnTo>
                    <a:pt x="330" y="876"/>
                  </a:lnTo>
                  <a:lnTo>
                    <a:pt x="324" y="888"/>
                  </a:lnTo>
                  <a:lnTo>
                    <a:pt x="324" y="894"/>
                  </a:lnTo>
                  <a:lnTo>
                    <a:pt x="330" y="900"/>
                  </a:lnTo>
                  <a:lnTo>
                    <a:pt x="330" y="906"/>
                  </a:lnTo>
                  <a:lnTo>
                    <a:pt x="324" y="906"/>
                  </a:lnTo>
                  <a:lnTo>
                    <a:pt x="318" y="912"/>
                  </a:lnTo>
                  <a:lnTo>
                    <a:pt x="312" y="918"/>
                  </a:lnTo>
                  <a:lnTo>
                    <a:pt x="306" y="924"/>
                  </a:lnTo>
                  <a:lnTo>
                    <a:pt x="288" y="924"/>
                  </a:lnTo>
                  <a:lnTo>
                    <a:pt x="282" y="924"/>
                  </a:lnTo>
                  <a:lnTo>
                    <a:pt x="276" y="930"/>
                  </a:lnTo>
                  <a:lnTo>
                    <a:pt x="270" y="930"/>
                  </a:lnTo>
                  <a:lnTo>
                    <a:pt x="264" y="930"/>
                  </a:lnTo>
                  <a:lnTo>
                    <a:pt x="198" y="930"/>
                  </a:lnTo>
                  <a:lnTo>
                    <a:pt x="132" y="930"/>
                  </a:lnTo>
                  <a:lnTo>
                    <a:pt x="132" y="936"/>
                  </a:lnTo>
                  <a:lnTo>
                    <a:pt x="132" y="942"/>
                  </a:lnTo>
                  <a:lnTo>
                    <a:pt x="132" y="948"/>
                  </a:lnTo>
                  <a:lnTo>
                    <a:pt x="126" y="948"/>
                  </a:lnTo>
                  <a:lnTo>
                    <a:pt x="120" y="948"/>
                  </a:lnTo>
                  <a:lnTo>
                    <a:pt x="120" y="954"/>
                  </a:lnTo>
                  <a:lnTo>
                    <a:pt x="114" y="954"/>
                  </a:lnTo>
                  <a:lnTo>
                    <a:pt x="114" y="960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02" y="966"/>
                  </a:lnTo>
                  <a:lnTo>
                    <a:pt x="102" y="972"/>
                  </a:lnTo>
                  <a:lnTo>
                    <a:pt x="96" y="972"/>
                  </a:lnTo>
                  <a:lnTo>
                    <a:pt x="96" y="966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78" y="960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60"/>
                  </a:lnTo>
                  <a:lnTo>
                    <a:pt x="54" y="966"/>
                  </a:lnTo>
                  <a:lnTo>
                    <a:pt x="48" y="966"/>
                  </a:lnTo>
                  <a:lnTo>
                    <a:pt x="42" y="966"/>
                  </a:lnTo>
                  <a:lnTo>
                    <a:pt x="36" y="966"/>
                  </a:lnTo>
                  <a:lnTo>
                    <a:pt x="30" y="966"/>
                  </a:lnTo>
                  <a:lnTo>
                    <a:pt x="24" y="960"/>
                  </a:lnTo>
                  <a:lnTo>
                    <a:pt x="18" y="960"/>
                  </a:lnTo>
                  <a:lnTo>
                    <a:pt x="12" y="960"/>
                  </a:lnTo>
                  <a:lnTo>
                    <a:pt x="12" y="948"/>
                  </a:lnTo>
                  <a:lnTo>
                    <a:pt x="18" y="942"/>
                  </a:lnTo>
                  <a:lnTo>
                    <a:pt x="18" y="936"/>
                  </a:lnTo>
                  <a:lnTo>
                    <a:pt x="18" y="930"/>
                  </a:lnTo>
                  <a:lnTo>
                    <a:pt x="18" y="924"/>
                  </a:lnTo>
                  <a:lnTo>
                    <a:pt x="18" y="912"/>
                  </a:lnTo>
                  <a:lnTo>
                    <a:pt x="24" y="906"/>
                  </a:lnTo>
                  <a:lnTo>
                    <a:pt x="30" y="900"/>
                  </a:lnTo>
                  <a:lnTo>
                    <a:pt x="36" y="894"/>
                  </a:lnTo>
                  <a:lnTo>
                    <a:pt x="36" y="882"/>
                  </a:lnTo>
                  <a:lnTo>
                    <a:pt x="30" y="876"/>
                  </a:lnTo>
                  <a:lnTo>
                    <a:pt x="30" y="870"/>
                  </a:lnTo>
                  <a:lnTo>
                    <a:pt x="24" y="858"/>
                  </a:lnTo>
                  <a:lnTo>
                    <a:pt x="24" y="846"/>
                  </a:lnTo>
                  <a:lnTo>
                    <a:pt x="36" y="822"/>
                  </a:lnTo>
                  <a:lnTo>
                    <a:pt x="42" y="816"/>
                  </a:lnTo>
                  <a:lnTo>
                    <a:pt x="48" y="816"/>
                  </a:lnTo>
                  <a:lnTo>
                    <a:pt x="60" y="804"/>
                  </a:lnTo>
                  <a:lnTo>
                    <a:pt x="60" y="786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54" y="762"/>
                  </a:lnTo>
                  <a:lnTo>
                    <a:pt x="42" y="762"/>
                  </a:lnTo>
                  <a:lnTo>
                    <a:pt x="36" y="762"/>
                  </a:lnTo>
                  <a:lnTo>
                    <a:pt x="30" y="762"/>
                  </a:lnTo>
                  <a:lnTo>
                    <a:pt x="30" y="756"/>
                  </a:lnTo>
                  <a:lnTo>
                    <a:pt x="24" y="750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702"/>
                  </a:lnTo>
                  <a:lnTo>
                    <a:pt x="36" y="684"/>
                  </a:lnTo>
                  <a:lnTo>
                    <a:pt x="36" y="678"/>
                  </a:lnTo>
                  <a:lnTo>
                    <a:pt x="36" y="666"/>
                  </a:lnTo>
                  <a:lnTo>
                    <a:pt x="36" y="654"/>
                  </a:lnTo>
                  <a:lnTo>
                    <a:pt x="18" y="654"/>
                  </a:lnTo>
                  <a:lnTo>
                    <a:pt x="18" y="648"/>
                  </a:lnTo>
                  <a:lnTo>
                    <a:pt x="18" y="618"/>
                  </a:lnTo>
                  <a:lnTo>
                    <a:pt x="18" y="612"/>
                  </a:lnTo>
                  <a:lnTo>
                    <a:pt x="24" y="612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54" y="588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76"/>
                  </a:lnTo>
                  <a:lnTo>
                    <a:pt x="48" y="564"/>
                  </a:lnTo>
                  <a:lnTo>
                    <a:pt x="42" y="564"/>
                  </a:lnTo>
                  <a:lnTo>
                    <a:pt x="36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6" y="540"/>
                  </a:lnTo>
                  <a:lnTo>
                    <a:pt x="48" y="534"/>
                  </a:lnTo>
                  <a:lnTo>
                    <a:pt x="54" y="528"/>
                  </a:lnTo>
                  <a:lnTo>
                    <a:pt x="60" y="504"/>
                  </a:lnTo>
                  <a:lnTo>
                    <a:pt x="60" y="492"/>
                  </a:lnTo>
                  <a:lnTo>
                    <a:pt x="54" y="492"/>
                  </a:lnTo>
                  <a:lnTo>
                    <a:pt x="54" y="480"/>
                  </a:lnTo>
                  <a:lnTo>
                    <a:pt x="48" y="456"/>
                  </a:lnTo>
                  <a:lnTo>
                    <a:pt x="42" y="450"/>
                  </a:lnTo>
                  <a:lnTo>
                    <a:pt x="36" y="444"/>
                  </a:lnTo>
                  <a:lnTo>
                    <a:pt x="36" y="420"/>
                  </a:lnTo>
                  <a:lnTo>
                    <a:pt x="36" y="408"/>
                  </a:lnTo>
                  <a:lnTo>
                    <a:pt x="36" y="37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60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6" y="300"/>
                  </a:lnTo>
                  <a:lnTo>
                    <a:pt x="60" y="294"/>
                  </a:lnTo>
                  <a:lnTo>
                    <a:pt x="60" y="288"/>
                  </a:lnTo>
                  <a:lnTo>
                    <a:pt x="54" y="282"/>
                  </a:lnTo>
                  <a:lnTo>
                    <a:pt x="42" y="276"/>
                  </a:lnTo>
                  <a:lnTo>
                    <a:pt x="36" y="276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0" y="252"/>
                  </a:lnTo>
                  <a:lnTo>
                    <a:pt x="24" y="246"/>
                  </a:lnTo>
                  <a:lnTo>
                    <a:pt x="24" y="240"/>
                  </a:lnTo>
                  <a:lnTo>
                    <a:pt x="24" y="228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62"/>
                  </a:lnTo>
                  <a:lnTo>
                    <a:pt x="24" y="144"/>
                  </a:lnTo>
                  <a:lnTo>
                    <a:pt x="24" y="132"/>
                  </a:lnTo>
                  <a:lnTo>
                    <a:pt x="24" y="114"/>
                  </a:lnTo>
                  <a:lnTo>
                    <a:pt x="24" y="102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18" y="48"/>
                  </a:lnTo>
                  <a:lnTo>
                    <a:pt x="42" y="36"/>
                  </a:lnTo>
                  <a:lnTo>
                    <a:pt x="54" y="24"/>
                  </a:lnTo>
                  <a:lnTo>
                    <a:pt x="60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10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14" y="60"/>
                  </a:lnTo>
                  <a:lnTo>
                    <a:pt x="120" y="60"/>
                  </a:lnTo>
                  <a:lnTo>
                    <a:pt x="114" y="84"/>
                  </a:lnTo>
                  <a:lnTo>
                    <a:pt x="120" y="90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38" y="114"/>
                  </a:lnTo>
                  <a:lnTo>
                    <a:pt x="138" y="132"/>
                  </a:lnTo>
                  <a:lnTo>
                    <a:pt x="162" y="126"/>
                  </a:lnTo>
                  <a:lnTo>
                    <a:pt x="162" y="114"/>
                  </a:lnTo>
                  <a:lnTo>
                    <a:pt x="174" y="108"/>
                  </a:lnTo>
                  <a:lnTo>
                    <a:pt x="174" y="102"/>
                  </a:lnTo>
                  <a:lnTo>
                    <a:pt x="180" y="96"/>
                  </a:lnTo>
                  <a:lnTo>
                    <a:pt x="180" y="60"/>
                  </a:lnTo>
                  <a:lnTo>
                    <a:pt x="192" y="60"/>
                  </a:lnTo>
                  <a:lnTo>
                    <a:pt x="192" y="72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04" y="108"/>
                  </a:lnTo>
                  <a:lnTo>
                    <a:pt x="204" y="114"/>
                  </a:lnTo>
                  <a:lnTo>
                    <a:pt x="204" y="120"/>
                  </a:lnTo>
                  <a:lnTo>
                    <a:pt x="204" y="126"/>
                  </a:lnTo>
                  <a:lnTo>
                    <a:pt x="210" y="126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8" y="174"/>
                  </a:lnTo>
                  <a:lnTo>
                    <a:pt x="198" y="180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86" y="204"/>
                  </a:lnTo>
                  <a:lnTo>
                    <a:pt x="186" y="210"/>
                  </a:lnTo>
                  <a:lnTo>
                    <a:pt x="180" y="210"/>
                  </a:lnTo>
                  <a:lnTo>
                    <a:pt x="180" y="216"/>
                  </a:lnTo>
                  <a:lnTo>
                    <a:pt x="180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92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8" y="258"/>
                  </a:lnTo>
                  <a:lnTo>
                    <a:pt x="204" y="258"/>
                  </a:lnTo>
                  <a:lnTo>
                    <a:pt x="210" y="258"/>
                  </a:lnTo>
                  <a:lnTo>
                    <a:pt x="216" y="258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34" y="276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46" y="306"/>
                  </a:lnTo>
                  <a:lnTo>
                    <a:pt x="252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42"/>
                  </a:lnTo>
                  <a:lnTo>
                    <a:pt x="270" y="342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88" y="366"/>
                  </a:lnTo>
                  <a:lnTo>
                    <a:pt x="336" y="360"/>
                  </a:lnTo>
                  <a:lnTo>
                    <a:pt x="354" y="360"/>
                  </a:lnTo>
                  <a:lnTo>
                    <a:pt x="366" y="372"/>
                  </a:lnTo>
                  <a:lnTo>
                    <a:pt x="378" y="378"/>
                  </a:lnTo>
                  <a:lnTo>
                    <a:pt x="378" y="390"/>
                  </a:lnTo>
                  <a:lnTo>
                    <a:pt x="384" y="390"/>
                  </a:lnTo>
                  <a:lnTo>
                    <a:pt x="390" y="396"/>
                  </a:lnTo>
                  <a:lnTo>
                    <a:pt x="408" y="390"/>
                  </a:lnTo>
                  <a:lnTo>
                    <a:pt x="426" y="366"/>
                  </a:lnTo>
                  <a:lnTo>
                    <a:pt x="432" y="360"/>
                  </a:lnTo>
                  <a:lnTo>
                    <a:pt x="438" y="348"/>
                  </a:lnTo>
                  <a:lnTo>
                    <a:pt x="438" y="342"/>
                  </a:lnTo>
                  <a:lnTo>
                    <a:pt x="438" y="330"/>
                  </a:lnTo>
                  <a:lnTo>
                    <a:pt x="444" y="324"/>
                  </a:lnTo>
                  <a:lnTo>
                    <a:pt x="450" y="318"/>
                  </a:lnTo>
                  <a:lnTo>
                    <a:pt x="456" y="312"/>
                  </a:lnTo>
                  <a:lnTo>
                    <a:pt x="456" y="306"/>
                  </a:lnTo>
                  <a:lnTo>
                    <a:pt x="456" y="300"/>
                  </a:lnTo>
                  <a:lnTo>
                    <a:pt x="474" y="288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92" y="294"/>
                  </a:lnTo>
                  <a:lnTo>
                    <a:pt x="492" y="318"/>
                  </a:lnTo>
                  <a:lnTo>
                    <a:pt x="504" y="324"/>
                  </a:lnTo>
                  <a:lnTo>
                    <a:pt x="492" y="348"/>
                  </a:lnTo>
                  <a:lnTo>
                    <a:pt x="522" y="348"/>
                  </a:lnTo>
                  <a:lnTo>
                    <a:pt x="528" y="342"/>
                  </a:lnTo>
                  <a:lnTo>
                    <a:pt x="528" y="336"/>
                  </a:lnTo>
                  <a:lnTo>
                    <a:pt x="528" y="330"/>
                  </a:lnTo>
                  <a:lnTo>
                    <a:pt x="534" y="330"/>
                  </a:lnTo>
                  <a:lnTo>
                    <a:pt x="540" y="330"/>
                  </a:lnTo>
                  <a:lnTo>
                    <a:pt x="546" y="330"/>
                  </a:lnTo>
                  <a:lnTo>
                    <a:pt x="552" y="324"/>
                  </a:lnTo>
                  <a:lnTo>
                    <a:pt x="558" y="318"/>
                  </a:lnTo>
                  <a:lnTo>
                    <a:pt x="576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8" y="348"/>
                  </a:lnTo>
                  <a:lnTo>
                    <a:pt x="654" y="354"/>
                  </a:lnTo>
                  <a:lnTo>
                    <a:pt x="648" y="402"/>
                  </a:lnTo>
                  <a:lnTo>
                    <a:pt x="678" y="402"/>
                  </a:lnTo>
                  <a:lnTo>
                    <a:pt x="678" y="420"/>
                  </a:lnTo>
                  <a:lnTo>
                    <a:pt x="684" y="438"/>
                  </a:lnTo>
                  <a:lnTo>
                    <a:pt x="684" y="450"/>
                  </a:lnTo>
                  <a:lnTo>
                    <a:pt x="684" y="456"/>
                  </a:lnTo>
                  <a:lnTo>
                    <a:pt x="690" y="468"/>
                  </a:lnTo>
                  <a:lnTo>
                    <a:pt x="690" y="474"/>
                  </a:lnTo>
                  <a:lnTo>
                    <a:pt x="690" y="480"/>
                  </a:lnTo>
                  <a:lnTo>
                    <a:pt x="696" y="486"/>
                  </a:lnTo>
                  <a:lnTo>
                    <a:pt x="696" y="498"/>
                  </a:lnTo>
                  <a:lnTo>
                    <a:pt x="702" y="504"/>
                  </a:lnTo>
                  <a:lnTo>
                    <a:pt x="690" y="516"/>
                  </a:lnTo>
                  <a:lnTo>
                    <a:pt x="678" y="522"/>
                  </a:lnTo>
                  <a:lnTo>
                    <a:pt x="654" y="528"/>
                  </a:lnTo>
                  <a:lnTo>
                    <a:pt x="660" y="546"/>
                  </a:lnTo>
                  <a:lnTo>
                    <a:pt x="672" y="546"/>
                  </a:lnTo>
                  <a:lnTo>
                    <a:pt x="678" y="540"/>
                  </a:lnTo>
                  <a:lnTo>
                    <a:pt x="714" y="540"/>
                  </a:lnTo>
                  <a:lnTo>
                    <a:pt x="798" y="540"/>
                  </a:lnTo>
                  <a:lnTo>
                    <a:pt x="804" y="540"/>
                  </a:lnTo>
                  <a:lnTo>
                    <a:pt x="816" y="528"/>
                  </a:lnTo>
                  <a:lnTo>
                    <a:pt x="822" y="522"/>
                  </a:lnTo>
                  <a:lnTo>
                    <a:pt x="834" y="516"/>
                  </a:lnTo>
                  <a:lnTo>
                    <a:pt x="846" y="516"/>
                  </a:lnTo>
                  <a:lnTo>
                    <a:pt x="852" y="510"/>
                  </a:lnTo>
                  <a:lnTo>
                    <a:pt x="858" y="510"/>
                  </a:lnTo>
                  <a:lnTo>
                    <a:pt x="882" y="516"/>
                  </a:lnTo>
                  <a:lnTo>
                    <a:pt x="888" y="516"/>
                  </a:lnTo>
                  <a:lnTo>
                    <a:pt x="888" y="510"/>
                  </a:lnTo>
                  <a:lnTo>
                    <a:pt x="894" y="510"/>
                  </a:lnTo>
                  <a:lnTo>
                    <a:pt x="906" y="504"/>
                  </a:lnTo>
                  <a:lnTo>
                    <a:pt x="918" y="498"/>
                  </a:lnTo>
                  <a:lnTo>
                    <a:pt x="930" y="492"/>
                  </a:lnTo>
                  <a:lnTo>
                    <a:pt x="936" y="492"/>
                  </a:lnTo>
                  <a:lnTo>
                    <a:pt x="948" y="492"/>
                  </a:lnTo>
                  <a:lnTo>
                    <a:pt x="954" y="528"/>
                  </a:lnTo>
                  <a:lnTo>
                    <a:pt x="954" y="564"/>
                  </a:lnTo>
                  <a:lnTo>
                    <a:pt x="972" y="564"/>
                  </a:lnTo>
                  <a:lnTo>
                    <a:pt x="978" y="558"/>
                  </a:lnTo>
                  <a:lnTo>
                    <a:pt x="990" y="552"/>
                  </a:lnTo>
                  <a:lnTo>
                    <a:pt x="1002" y="540"/>
                  </a:lnTo>
                  <a:lnTo>
                    <a:pt x="1026" y="534"/>
                  </a:lnTo>
                  <a:lnTo>
                    <a:pt x="1032" y="540"/>
                  </a:lnTo>
                  <a:lnTo>
                    <a:pt x="1044" y="546"/>
                  </a:lnTo>
                  <a:lnTo>
                    <a:pt x="1062" y="552"/>
                  </a:lnTo>
                  <a:lnTo>
                    <a:pt x="1068" y="552"/>
                  </a:lnTo>
                  <a:lnTo>
                    <a:pt x="1068" y="570"/>
                  </a:lnTo>
                  <a:lnTo>
                    <a:pt x="1068" y="576"/>
                  </a:lnTo>
                  <a:lnTo>
                    <a:pt x="1068" y="582"/>
                  </a:lnTo>
                  <a:lnTo>
                    <a:pt x="1068" y="588"/>
                  </a:lnTo>
                  <a:lnTo>
                    <a:pt x="1068" y="594"/>
                  </a:lnTo>
                  <a:lnTo>
                    <a:pt x="1080" y="600"/>
                  </a:lnTo>
                  <a:lnTo>
                    <a:pt x="1086" y="606"/>
                  </a:lnTo>
                  <a:lnTo>
                    <a:pt x="1092" y="594"/>
                  </a:lnTo>
                  <a:lnTo>
                    <a:pt x="1104" y="588"/>
                  </a:lnTo>
                  <a:lnTo>
                    <a:pt x="1116" y="588"/>
                  </a:lnTo>
                  <a:lnTo>
                    <a:pt x="1122" y="588"/>
                  </a:lnTo>
                  <a:lnTo>
                    <a:pt x="1122" y="594"/>
                  </a:lnTo>
                  <a:lnTo>
                    <a:pt x="1128" y="594"/>
                  </a:lnTo>
                  <a:lnTo>
                    <a:pt x="1134" y="594"/>
                  </a:lnTo>
                  <a:lnTo>
                    <a:pt x="1140" y="594"/>
                  </a:lnTo>
                  <a:lnTo>
                    <a:pt x="1146" y="588"/>
                  </a:lnTo>
                  <a:lnTo>
                    <a:pt x="1158" y="582"/>
                  </a:lnTo>
                  <a:lnTo>
                    <a:pt x="1164" y="576"/>
                  </a:lnTo>
                  <a:lnTo>
                    <a:pt x="1176" y="576"/>
                  </a:lnTo>
                  <a:lnTo>
                    <a:pt x="1194" y="576"/>
                  </a:lnTo>
                  <a:lnTo>
                    <a:pt x="1218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24" y="594"/>
                  </a:lnTo>
                  <a:lnTo>
                    <a:pt x="1212" y="600"/>
                  </a:lnTo>
                  <a:lnTo>
                    <a:pt x="1206" y="606"/>
                  </a:lnTo>
                  <a:lnTo>
                    <a:pt x="1200" y="606"/>
                  </a:lnTo>
                  <a:lnTo>
                    <a:pt x="1200" y="612"/>
                  </a:lnTo>
                  <a:lnTo>
                    <a:pt x="1194" y="612"/>
                  </a:lnTo>
                  <a:lnTo>
                    <a:pt x="1194" y="618"/>
                  </a:lnTo>
                  <a:lnTo>
                    <a:pt x="1194" y="624"/>
                  </a:lnTo>
                  <a:lnTo>
                    <a:pt x="1194" y="630"/>
                  </a:lnTo>
                  <a:lnTo>
                    <a:pt x="1194" y="648"/>
                  </a:lnTo>
                  <a:lnTo>
                    <a:pt x="1194" y="660"/>
                  </a:lnTo>
                  <a:lnTo>
                    <a:pt x="1194" y="666"/>
                  </a:lnTo>
                  <a:lnTo>
                    <a:pt x="1194" y="672"/>
                  </a:lnTo>
                  <a:lnTo>
                    <a:pt x="1194" y="678"/>
                  </a:lnTo>
                  <a:lnTo>
                    <a:pt x="1188" y="684"/>
                  </a:lnTo>
                  <a:lnTo>
                    <a:pt x="1188" y="690"/>
                  </a:lnTo>
                  <a:lnTo>
                    <a:pt x="1188" y="696"/>
                  </a:lnTo>
                  <a:lnTo>
                    <a:pt x="1188" y="702"/>
                  </a:lnTo>
                  <a:lnTo>
                    <a:pt x="1188" y="708"/>
                  </a:lnTo>
                  <a:lnTo>
                    <a:pt x="1188" y="714"/>
                  </a:lnTo>
                  <a:lnTo>
                    <a:pt x="1182" y="720"/>
                  </a:lnTo>
                  <a:lnTo>
                    <a:pt x="1170" y="720"/>
                  </a:lnTo>
                  <a:lnTo>
                    <a:pt x="1158" y="726"/>
                  </a:lnTo>
                  <a:lnTo>
                    <a:pt x="1152" y="726"/>
                  </a:lnTo>
                  <a:lnTo>
                    <a:pt x="1152" y="732"/>
                  </a:lnTo>
                  <a:lnTo>
                    <a:pt x="1146" y="738"/>
                  </a:lnTo>
                  <a:lnTo>
                    <a:pt x="1140" y="738"/>
                  </a:lnTo>
                  <a:lnTo>
                    <a:pt x="1140" y="744"/>
                  </a:lnTo>
                  <a:lnTo>
                    <a:pt x="1134" y="744"/>
                  </a:lnTo>
                  <a:lnTo>
                    <a:pt x="1128" y="744"/>
                  </a:lnTo>
                  <a:lnTo>
                    <a:pt x="1122" y="750"/>
                  </a:lnTo>
                  <a:lnTo>
                    <a:pt x="1128" y="750"/>
                  </a:lnTo>
                  <a:lnTo>
                    <a:pt x="1122" y="756"/>
                  </a:lnTo>
                  <a:lnTo>
                    <a:pt x="1116" y="756"/>
                  </a:lnTo>
                  <a:lnTo>
                    <a:pt x="1110" y="762"/>
                  </a:lnTo>
                  <a:lnTo>
                    <a:pt x="1104" y="762"/>
                  </a:lnTo>
                  <a:lnTo>
                    <a:pt x="1104" y="768"/>
                  </a:lnTo>
                  <a:lnTo>
                    <a:pt x="1098" y="768"/>
                  </a:lnTo>
                  <a:lnTo>
                    <a:pt x="1098" y="774"/>
                  </a:lnTo>
                  <a:lnTo>
                    <a:pt x="1092" y="774"/>
                  </a:lnTo>
                  <a:lnTo>
                    <a:pt x="1092" y="780"/>
                  </a:lnTo>
                  <a:lnTo>
                    <a:pt x="1086" y="780"/>
                  </a:lnTo>
                  <a:lnTo>
                    <a:pt x="1086" y="786"/>
                  </a:lnTo>
                  <a:lnTo>
                    <a:pt x="1080" y="786"/>
                  </a:lnTo>
                  <a:lnTo>
                    <a:pt x="1080" y="792"/>
                  </a:lnTo>
                  <a:lnTo>
                    <a:pt x="1080" y="798"/>
                  </a:lnTo>
                  <a:lnTo>
                    <a:pt x="1080" y="804"/>
                  </a:lnTo>
                  <a:lnTo>
                    <a:pt x="1086" y="810"/>
                  </a:lnTo>
                  <a:lnTo>
                    <a:pt x="1080" y="816"/>
                  </a:lnTo>
                  <a:lnTo>
                    <a:pt x="1080" y="822"/>
                  </a:lnTo>
                  <a:lnTo>
                    <a:pt x="1074" y="822"/>
                  </a:lnTo>
                  <a:lnTo>
                    <a:pt x="1068" y="828"/>
                  </a:lnTo>
                  <a:lnTo>
                    <a:pt x="1074" y="828"/>
                  </a:lnTo>
                  <a:lnTo>
                    <a:pt x="1074" y="834"/>
                  </a:lnTo>
                  <a:lnTo>
                    <a:pt x="1080" y="846"/>
                  </a:lnTo>
                  <a:lnTo>
                    <a:pt x="1086" y="846"/>
                  </a:lnTo>
                  <a:lnTo>
                    <a:pt x="1092" y="852"/>
                  </a:lnTo>
                  <a:lnTo>
                    <a:pt x="1092" y="858"/>
                  </a:lnTo>
                  <a:lnTo>
                    <a:pt x="1098" y="858"/>
                  </a:lnTo>
                  <a:lnTo>
                    <a:pt x="1110" y="864"/>
                  </a:lnTo>
                  <a:lnTo>
                    <a:pt x="1116" y="864"/>
                  </a:lnTo>
                  <a:lnTo>
                    <a:pt x="1122" y="864"/>
                  </a:lnTo>
                  <a:lnTo>
                    <a:pt x="1128" y="864"/>
                  </a:lnTo>
                  <a:lnTo>
                    <a:pt x="1134" y="876"/>
                  </a:lnTo>
                  <a:lnTo>
                    <a:pt x="1140" y="882"/>
                  </a:lnTo>
                  <a:lnTo>
                    <a:pt x="1140" y="888"/>
                  </a:lnTo>
                  <a:lnTo>
                    <a:pt x="1152" y="918"/>
                  </a:lnTo>
                  <a:lnTo>
                    <a:pt x="1158" y="894"/>
                  </a:lnTo>
                  <a:lnTo>
                    <a:pt x="1164" y="888"/>
                  </a:lnTo>
                  <a:lnTo>
                    <a:pt x="1164" y="882"/>
                  </a:lnTo>
                  <a:lnTo>
                    <a:pt x="1176" y="864"/>
                  </a:lnTo>
                  <a:lnTo>
                    <a:pt x="1182" y="858"/>
                  </a:lnTo>
                  <a:lnTo>
                    <a:pt x="1188" y="846"/>
                  </a:lnTo>
                  <a:lnTo>
                    <a:pt x="1200" y="840"/>
                  </a:lnTo>
                  <a:lnTo>
                    <a:pt x="1212" y="840"/>
                  </a:lnTo>
                  <a:lnTo>
                    <a:pt x="1218" y="846"/>
                  </a:lnTo>
                  <a:lnTo>
                    <a:pt x="1224" y="858"/>
                  </a:lnTo>
                  <a:lnTo>
                    <a:pt x="1224" y="864"/>
                  </a:lnTo>
                  <a:lnTo>
                    <a:pt x="1224" y="876"/>
                  </a:lnTo>
                  <a:lnTo>
                    <a:pt x="1212" y="912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00" y="930"/>
                  </a:lnTo>
                  <a:lnTo>
                    <a:pt x="1200" y="942"/>
                  </a:lnTo>
                  <a:lnTo>
                    <a:pt x="1194" y="948"/>
                  </a:lnTo>
                  <a:lnTo>
                    <a:pt x="1194" y="960"/>
                  </a:lnTo>
                  <a:lnTo>
                    <a:pt x="1194" y="966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70" y="984"/>
                  </a:lnTo>
                  <a:lnTo>
                    <a:pt x="1164" y="984"/>
                  </a:lnTo>
                  <a:lnTo>
                    <a:pt x="1158" y="984"/>
                  </a:lnTo>
                  <a:lnTo>
                    <a:pt x="1146" y="984"/>
                  </a:lnTo>
                  <a:lnTo>
                    <a:pt x="1140" y="990"/>
                  </a:lnTo>
                  <a:lnTo>
                    <a:pt x="1140" y="996"/>
                  </a:lnTo>
                  <a:lnTo>
                    <a:pt x="1152" y="996"/>
                  </a:lnTo>
                  <a:lnTo>
                    <a:pt x="1176" y="1002"/>
                  </a:lnTo>
                  <a:lnTo>
                    <a:pt x="1194" y="1008"/>
                  </a:lnTo>
                  <a:lnTo>
                    <a:pt x="1206" y="1008"/>
                  </a:lnTo>
                  <a:lnTo>
                    <a:pt x="1218" y="1014"/>
                  </a:lnTo>
                  <a:lnTo>
                    <a:pt x="1212" y="1038"/>
                  </a:lnTo>
                  <a:lnTo>
                    <a:pt x="1212" y="1044"/>
                  </a:lnTo>
                  <a:lnTo>
                    <a:pt x="1206" y="1044"/>
                  </a:lnTo>
                  <a:lnTo>
                    <a:pt x="1206" y="1050"/>
                  </a:lnTo>
                  <a:lnTo>
                    <a:pt x="1194" y="1050"/>
                  </a:lnTo>
                  <a:lnTo>
                    <a:pt x="1188" y="1044"/>
                  </a:lnTo>
                  <a:lnTo>
                    <a:pt x="1158" y="1020"/>
                  </a:lnTo>
                  <a:lnTo>
                    <a:pt x="1152" y="1020"/>
                  </a:lnTo>
                  <a:lnTo>
                    <a:pt x="1140" y="1020"/>
                  </a:lnTo>
                  <a:lnTo>
                    <a:pt x="1134" y="1020"/>
                  </a:lnTo>
                  <a:lnTo>
                    <a:pt x="1134" y="1026"/>
                  </a:lnTo>
                  <a:lnTo>
                    <a:pt x="1134" y="1032"/>
                  </a:lnTo>
                  <a:lnTo>
                    <a:pt x="1128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2" name="Freeform 27">
              <a:extLst>
                <a:ext uri="{FF2B5EF4-FFF2-40B4-BE49-F238E27FC236}">
                  <a16:creationId xmlns:a16="http://schemas.microsoft.com/office/drawing/2014/main" id="{CE95C9DF-B651-4085-946F-65424BC51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2063" y="3421400"/>
              <a:ext cx="342138" cy="377969"/>
            </a:xfrm>
            <a:custGeom>
              <a:avLst/>
              <a:gdLst>
                <a:gd name="T0" fmla="*/ 43 w 642"/>
                <a:gd name="T1" fmla="*/ 41 h 708"/>
                <a:gd name="T2" fmla="*/ 39 w 642"/>
                <a:gd name="T3" fmla="*/ 41 h 708"/>
                <a:gd name="T4" fmla="*/ 38 w 642"/>
                <a:gd name="T5" fmla="*/ 47 h 708"/>
                <a:gd name="T6" fmla="*/ 38 w 642"/>
                <a:gd name="T7" fmla="*/ 49 h 708"/>
                <a:gd name="T8" fmla="*/ 38 w 642"/>
                <a:gd name="T9" fmla="*/ 50 h 708"/>
                <a:gd name="T10" fmla="*/ 36 w 642"/>
                <a:gd name="T11" fmla="*/ 52 h 708"/>
                <a:gd name="T12" fmla="*/ 35 w 642"/>
                <a:gd name="T13" fmla="*/ 53 h 708"/>
                <a:gd name="T14" fmla="*/ 33 w 642"/>
                <a:gd name="T15" fmla="*/ 55 h 708"/>
                <a:gd name="T16" fmla="*/ 32 w 642"/>
                <a:gd name="T17" fmla="*/ 56 h 708"/>
                <a:gd name="T18" fmla="*/ 31 w 642"/>
                <a:gd name="T19" fmla="*/ 59 h 708"/>
                <a:gd name="T20" fmla="*/ 26 w 642"/>
                <a:gd name="T21" fmla="*/ 59 h 708"/>
                <a:gd name="T22" fmla="*/ 23 w 642"/>
                <a:gd name="T23" fmla="*/ 61 h 708"/>
                <a:gd name="T24" fmla="*/ 20 w 642"/>
                <a:gd name="T25" fmla="*/ 61 h 708"/>
                <a:gd name="T26" fmla="*/ 17 w 642"/>
                <a:gd name="T27" fmla="*/ 59 h 708"/>
                <a:gd name="T28" fmla="*/ 15 w 642"/>
                <a:gd name="T29" fmla="*/ 56 h 708"/>
                <a:gd name="T30" fmla="*/ 9 w 642"/>
                <a:gd name="T31" fmla="*/ 58 h 708"/>
                <a:gd name="T32" fmla="*/ 6 w 642"/>
                <a:gd name="T33" fmla="*/ 52 h 708"/>
                <a:gd name="T34" fmla="*/ 2 w 642"/>
                <a:gd name="T35" fmla="*/ 53 h 708"/>
                <a:gd name="T36" fmla="*/ 1 w 642"/>
                <a:gd name="T37" fmla="*/ 51 h 708"/>
                <a:gd name="T38" fmla="*/ 4 w 642"/>
                <a:gd name="T39" fmla="*/ 47 h 708"/>
                <a:gd name="T40" fmla="*/ 5 w 642"/>
                <a:gd name="T41" fmla="*/ 41 h 708"/>
                <a:gd name="T42" fmla="*/ 5 w 642"/>
                <a:gd name="T43" fmla="*/ 38 h 708"/>
                <a:gd name="T44" fmla="*/ 5 w 642"/>
                <a:gd name="T45" fmla="*/ 35 h 708"/>
                <a:gd name="T46" fmla="*/ 6 w 642"/>
                <a:gd name="T47" fmla="*/ 33 h 708"/>
                <a:gd name="T48" fmla="*/ 5 w 642"/>
                <a:gd name="T49" fmla="*/ 29 h 708"/>
                <a:gd name="T50" fmla="*/ 4 w 642"/>
                <a:gd name="T51" fmla="*/ 28 h 708"/>
                <a:gd name="T52" fmla="*/ 1 w 642"/>
                <a:gd name="T53" fmla="*/ 26 h 708"/>
                <a:gd name="T54" fmla="*/ 1 w 642"/>
                <a:gd name="T55" fmla="*/ 24 h 708"/>
                <a:gd name="T56" fmla="*/ 1 w 642"/>
                <a:gd name="T57" fmla="*/ 20 h 708"/>
                <a:gd name="T58" fmla="*/ 1 w 642"/>
                <a:gd name="T59" fmla="*/ 16 h 708"/>
                <a:gd name="T60" fmla="*/ 2 w 642"/>
                <a:gd name="T61" fmla="*/ 14 h 708"/>
                <a:gd name="T62" fmla="*/ 8 w 642"/>
                <a:gd name="T63" fmla="*/ 14 h 708"/>
                <a:gd name="T64" fmla="*/ 9 w 642"/>
                <a:gd name="T65" fmla="*/ 10 h 708"/>
                <a:gd name="T66" fmla="*/ 15 w 642"/>
                <a:gd name="T67" fmla="*/ 9 h 708"/>
                <a:gd name="T68" fmla="*/ 18 w 642"/>
                <a:gd name="T69" fmla="*/ 14 h 708"/>
                <a:gd name="T70" fmla="*/ 20 w 642"/>
                <a:gd name="T71" fmla="*/ 12 h 708"/>
                <a:gd name="T72" fmla="*/ 20 w 642"/>
                <a:gd name="T73" fmla="*/ 11 h 708"/>
                <a:gd name="T74" fmla="*/ 21 w 642"/>
                <a:gd name="T75" fmla="*/ 9 h 708"/>
                <a:gd name="T76" fmla="*/ 24 w 642"/>
                <a:gd name="T77" fmla="*/ 9 h 708"/>
                <a:gd name="T78" fmla="*/ 27 w 642"/>
                <a:gd name="T79" fmla="*/ 8 h 708"/>
                <a:gd name="T80" fmla="*/ 33 w 642"/>
                <a:gd name="T81" fmla="*/ 2 h 708"/>
                <a:gd name="T82" fmla="*/ 42 w 642"/>
                <a:gd name="T83" fmla="*/ 2 h 708"/>
                <a:gd name="T84" fmla="*/ 49 w 642"/>
                <a:gd name="T85" fmla="*/ 1 h 708"/>
                <a:gd name="T86" fmla="*/ 53 w 642"/>
                <a:gd name="T87" fmla="*/ 4 h 708"/>
                <a:gd name="T88" fmla="*/ 55 w 642"/>
                <a:gd name="T89" fmla="*/ 4 h 708"/>
                <a:gd name="T90" fmla="*/ 55 w 642"/>
                <a:gd name="T91" fmla="*/ 7 h 708"/>
                <a:gd name="T92" fmla="*/ 52 w 642"/>
                <a:gd name="T93" fmla="*/ 9 h 708"/>
                <a:gd name="T94" fmla="*/ 49 w 642"/>
                <a:gd name="T95" fmla="*/ 12 h 708"/>
                <a:gd name="T96" fmla="*/ 47 w 642"/>
                <a:gd name="T97" fmla="*/ 14 h 708"/>
                <a:gd name="T98" fmla="*/ 47 w 642"/>
                <a:gd name="T99" fmla="*/ 17 h 708"/>
                <a:gd name="T100" fmla="*/ 45 w 642"/>
                <a:gd name="T101" fmla="*/ 26 h 708"/>
                <a:gd name="T102" fmla="*/ 50 w 642"/>
                <a:gd name="T103" fmla="*/ 37 h 70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42"/>
                <a:gd name="T157" fmla="*/ 0 h 708"/>
                <a:gd name="T158" fmla="*/ 642 w 642"/>
                <a:gd name="T159" fmla="*/ 708 h 70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42" h="708">
                  <a:moveTo>
                    <a:pt x="576" y="468"/>
                  </a:moveTo>
                  <a:lnTo>
                    <a:pt x="564" y="468"/>
                  </a:lnTo>
                  <a:lnTo>
                    <a:pt x="516" y="468"/>
                  </a:lnTo>
                  <a:lnTo>
                    <a:pt x="498" y="474"/>
                  </a:lnTo>
                  <a:lnTo>
                    <a:pt x="492" y="468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68" y="474"/>
                  </a:lnTo>
                  <a:lnTo>
                    <a:pt x="456" y="468"/>
                  </a:lnTo>
                  <a:lnTo>
                    <a:pt x="444" y="474"/>
                  </a:lnTo>
                  <a:lnTo>
                    <a:pt x="438" y="492"/>
                  </a:lnTo>
                  <a:lnTo>
                    <a:pt x="438" y="504"/>
                  </a:lnTo>
                  <a:lnTo>
                    <a:pt x="432" y="516"/>
                  </a:lnTo>
                  <a:lnTo>
                    <a:pt x="432" y="528"/>
                  </a:lnTo>
                  <a:lnTo>
                    <a:pt x="432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52"/>
                  </a:lnTo>
                  <a:lnTo>
                    <a:pt x="432" y="558"/>
                  </a:lnTo>
                  <a:lnTo>
                    <a:pt x="438" y="564"/>
                  </a:lnTo>
                  <a:lnTo>
                    <a:pt x="444" y="564"/>
                  </a:lnTo>
                  <a:lnTo>
                    <a:pt x="438" y="564"/>
                  </a:lnTo>
                  <a:lnTo>
                    <a:pt x="438" y="570"/>
                  </a:lnTo>
                  <a:lnTo>
                    <a:pt x="432" y="570"/>
                  </a:lnTo>
                  <a:lnTo>
                    <a:pt x="432" y="576"/>
                  </a:lnTo>
                  <a:lnTo>
                    <a:pt x="426" y="588"/>
                  </a:lnTo>
                  <a:lnTo>
                    <a:pt x="420" y="594"/>
                  </a:lnTo>
                  <a:lnTo>
                    <a:pt x="420" y="600"/>
                  </a:lnTo>
                  <a:lnTo>
                    <a:pt x="414" y="600"/>
                  </a:lnTo>
                  <a:lnTo>
                    <a:pt x="414" y="606"/>
                  </a:lnTo>
                  <a:lnTo>
                    <a:pt x="408" y="606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396" y="612"/>
                  </a:lnTo>
                  <a:lnTo>
                    <a:pt x="390" y="612"/>
                  </a:lnTo>
                  <a:lnTo>
                    <a:pt x="390" y="618"/>
                  </a:lnTo>
                  <a:lnTo>
                    <a:pt x="384" y="618"/>
                  </a:lnTo>
                  <a:lnTo>
                    <a:pt x="378" y="618"/>
                  </a:lnTo>
                  <a:lnTo>
                    <a:pt x="378" y="624"/>
                  </a:lnTo>
                  <a:lnTo>
                    <a:pt x="384" y="630"/>
                  </a:lnTo>
                  <a:lnTo>
                    <a:pt x="384" y="636"/>
                  </a:lnTo>
                  <a:lnTo>
                    <a:pt x="378" y="630"/>
                  </a:lnTo>
                  <a:lnTo>
                    <a:pt x="372" y="636"/>
                  </a:lnTo>
                  <a:lnTo>
                    <a:pt x="372" y="642"/>
                  </a:lnTo>
                  <a:lnTo>
                    <a:pt x="366" y="642"/>
                  </a:lnTo>
                  <a:lnTo>
                    <a:pt x="360" y="654"/>
                  </a:lnTo>
                  <a:lnTo>
                    <a:pt x="354" y="666"/>
                  </a:lnTo>
                  <a:lnTo>
                    <a:pt x="354" y="672"/>
                  </a:lnTo>
                  <a:lnTo>
                    <a:pt x="354" y="678"/>
                  </a:lnTo>
                  <a:lnTo>
                    <a:pt x="354" y="684"/>
                  </a:lnTo>
                  <a:lnTo>
                    <a:pt x="348" y="678"/>
                  </a:lnTo>
                  <a:lnTo>
                    <a:pt x="324" y="678"/>
                  </a:lnTo>
                  <a:lnTo>
                    <a:pt x="306" y="678"/>
                  </a:lnTo>
                  <a:lnTo>
                    <a:pt x="294" y="678"/>
                  </a:lnTo>
                  <a:lnTo>
                    <a:pt x="288" y="684"/>
                  </a:lnTo>
                  <a:lnTo>
                    <a:pt x="276" y="690"/>
                  </a:lnTo>
                  <a:lnTo>
                    <a:pt x="270" y="696"/>
                  </a:lnTo>
                  <a:lnTo>
                    <a:pt x="264" y="696"/>
                  </a:lnTo>
                  <a:lnTo>
                    <a:pt x="258" y="696"/>
                  </a:lnTo>
                  <a:lnTo>
                    <a:pt x="252" y="696"/>
                  </a:lnTo>
                  <a:lnTo>
                    <a:pt x="252" y="690"/>
                  </a:lnTo>
                  <a:lnTo>
                    <a:pt x="246" y="690"/>
                  </a:lnTo>
                  <a:lnTo>
                    <a:pt x="234" y="690"/>
                  </a:lnTo>
                  <a:lnTo>
                    <a:pt x="222" y="696"/>
                  </a:lnTo>
                  <a:lnTo>
                    <a:pt x="216" y="708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8" y="690"/>
                  </a:lnTo>
                  <a:lnTo>
                    <a:pt x="198" y="684"/>
                  </a:lnTo>
                  <a:lnTo>
                    <a:pt x="198" y="678"/>
                  </a:lnTo>
                  <a:lnTo>
                    <a:pt x="198" y="672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74" y="648"/>
                  </a:lnTo>
                  <a:lnTo>
                    <a:pt x="162" y="642"/>
                  </a:lnTo>
                  <a:lnTo>
                    <a:pt x="156" y="636"/>
                  </a:lnTo>
                  <a:lnTo>
                    <a:pt x="132" y="642"/>
                  </a:lnTo>
                  <a:lnTo>
                    <a:pt x="120" y="654"/>
                  </a:lnTo>
                  <a:lnTo>
                    <a:pt x="108" y="660"/>
                  </a:lnTo>
                  <a:lnTo>
                    <a:pt x="102" y="666"/>
                  </a:lnTo>
                  <a:lnTo>
                    <a:pt x="84" y="666"/>
                  </a:lnTo>
                  <a:lnTo>
                    <a:pt x="84" y="630"/>
                  </a:lnTo>
                  <a:lnTo>
                    <a:pt x="78" y="594"/>
                  </a:lnTo>
                  <a:lnTo>
                    <a:pt x="66" y="594"/>
                  </a:lnTo>
                  <a:lnTo>
                    <a:pt x="60" y="594"/>
                  </a:lnTo>
                  <a:lnTo>
                    <a:pt x="48" y="600"/>
                  </a:lnTo>
                  <a:lnTo>
                    <a:pt x="36" y="606"/>
                  </a:lnTo>
                  <a:lnTo>
                    <a:pt x="24" y="612"/>
                  </a:lnTo>
                  <a:lnTo>
                    <a:pt x="18" y="612"/>
                  </a:lnTo>
                  <a:lnTo>
                    <a:pt x="12" y="606"/>
                  </a:lnTo>
                  <a:lnTo>
                    <a:pt x="12" y="600"/>
                  </a:lnTo>
                  <a:lnTo>
                    <a:pt x="12" y="594"/>
                  </a:lnTo>
                  <a:lnTo>
                    <a:pt x="12" y="588"/>
                  </a:lnTo>
                  <a:lnTo>
                    <a:pt x="12" y="582"/>
                  </a:lnTo>
                  <a:lnTo>
                    <a:pt x="12" y="576"/>
                  </a:lnTo>
                  <a:lnTo>
                    <a:pt x="18" y="552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42" y="534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48" y="492"/>
                  </a:lnTo>
                  <a:lnTo>
                    <a:pt x="48" y="480"/>
                  </a:lnTo>
                  <a:lnTo>
                    <a:pt x="54" y="468"/>
                  </a:lnTo>
                  <a:lnTo>
                    <a:pt x="48" y="456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66" y="390"/>
                  </a:lnTo>
                  <a:lnTo>
                    <a:pt x="72" y="384"/>
                  </a:lnTo>
                  <a:lnTo>
                    <a:pt x="72" y="378"/>
                  </a:lnTo>
                  <a:lnTo>
                    <a:pt x="66" y="378"/>
                  </a:lnTo>
                  <a:lnTo>
                    <a:pt x="66" y="366"/>
                  </a:lnTo>
                  <a:lnTo>
                    <a:pt x="60" y="360"/>
                  </a:lnTo>
                  <a:lnTo>
                    <a:pt x="66" y="354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48" y="312"/>
                  </a:lnTo>
                  <a:lnTo>
                    <a:pt x="30" y="312"/>
                  </a:lnTo>
                  <a:lnTo>
                    <a:pt x="24" y="306"/>
                  </a:lnTo>
                  <a:lnTo>
                    <a:pt x="18" y="306"/>
                  </a:lnTo>
                  <a:lnTo>
                    <a:pt x="12" y="294"/>
                  </a:lnTo>
                  <a:lnTo>
                    <a:pt x="12" y="282"/>
                  </a:lnTo>
                  <a:lnTo>
                    <a:pt x="6" y="276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12" y="270"/>
                  </a:lnTo>
                  <a:lnTo>
                    <a:pt x="12" y="246"/>
                  </a:lnTo>
                  <a:lnTo>
                    <a:pt x="12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8" y="174"/>
                  </a:lnTo>
                  <a:lnTo>
                    <a:pt x="12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48" y="162"/>
                  </a:lnTo>
                  <a:lnTo>
                    <a:pt x="72" y="162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84" y="132"/>
                  </a:lnTo>
                  <a:lnTo>
                    <a:pt x="90" y="120"/>
                  </a:lnTo>
                  <a:lnTo>
                    <a:pt x="108" y="114"/>
                  </a:lnTo>
                  <a:lnTo>
                    <a:pt x="114" y="102"/>
                  </a:lnTo>
                  <a:lnTo>
                    <a:pt x="120" y="90"/>
                  </a:lnTo>
                  <a:lnTo>
                    <a:pt x="138" y="90"/>
                  </a:lnTo>
                  <a:lnTo>
                    <a:pt x="138" y="102"/>
                  </a:lnTo>
                  <a:lnTo>
                    <a:pt x="168" y="108"/>
                  </a:lnTo>
                  <a:lnTo>
                    <a:pt x="168" y="114"/>
                  </a:lnTo>
                  <a:lnTo>
                    <a:pt x="174" y="126"/>
                  </a:lnTo>
                  <a:lnTo>
                    <a:pt x="186" y="150"/>
                  </a:lnTo>
                  <a:lnTo>
                    <a:pt x="186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34" y="144"/>
                  </a:lnTo>
                  <a:lnTo>
                    <a:pt x="240" y="138"/>
                  </a:lnTo>
                  <a:lnTo>
                    <a:pt x="240" y="126"/>
                  </a:lnTo>
                  <a:lnTo>
                    <a:pt x="234" y="126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34" y="102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82" y="102"/>
                  </a:lnTo>
                  <a:lnTo>
                    <a:pt x="288" y="102"/>
                  </a:lnTo>
                  <a:lnTo>
                    <a:pt x="294" y="102"/>
                  </a:lnTo>
                  <a:lnTo>
                    <a:pt x="300" y="96"/>
                  </a:lnTo>
                  <a:lnTo>
                    <a:pt x="306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84"/>
                  </a:lnTo>
                  <a:lnTo>
                    <a:pt x="324" y="18"/>
                  </a:lnTo>
                  <a:lnTo>
                    <a:pt x="360" y="18"/>
                  </a:lnTo>
                  <a:lnTo>
                    <a:pt x="378" y="18"/>
                  </a:lnTo>
                  <a:lnTo>
                    <a:pt x="378" y="30"/>
                  </a:lnTo>
                  <a:lnTo>
                    <a:pt x="390" y="30"/>
                  </a:lnTo>
                  <a:lnTo>
                    <a:pt x="432" y="30"/>
                  </a:lnTo>
                  <a:lnTo>
                    <a:pt x="456" y="24"/>
                  </a:lnTo>
                  <a:lnTo>
                    <a:pt x="480" y="24"/>
                  </a:lnTo>
                  <a:lnTo>
                    <a:pt x="498" y="30"/>
                  </a:lnTo>
                  <a:lnTo>
                    <a:pt x="522" y="18"/>
                  </a:lnTo>
                  <a:lnTo>
                    <a:pt x="528" y="0"/>
                  </a:lnTo>
                  <a:lnTo>
                    <a:pt x="558" y="6"/>
                  </a:lnTo>
                  <a:lnTo>
                    <a:pt x="558" y="12"/>
                  </a:lnTo>
                  <a:lnTo>
                    <a:pt x="570" y="18"/>
                  </a:lnTo>
                  <a:lnTo>
                    <a:pt x="576" y="24"/>
                  </a:lnTo>
                  <a:lnTo>
                    <a:pt x="588" y="36"/>
                  </a:lnTo>
                  <a:lnTo>
                    <a:pt x="594" y="48"/>
                  </a:lnTo>
                  <a:lnTo>
                    <a:pt x="606" y="48"/>
                  </a:lnTo>
                  <a:lnTo>
                    <a:pt x="606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42"/>
                  </a:lnTo>
                  <a:lnTo>
                    <a:pt x="636" y="42"/>
                  </a:lnTo>
                  <a:lnTo>
                    <a:pt x="636" y="48"/>
                  </a:lnTo>
                  <a:lnTo>
                    <a:pt x="642" y="54"/>
                  </a:lnTo>
                  <a:lnTo>
                    <a:pt x="636" y="60"/>
                  </a:lnTo>
                  <a:lnTo>
                    <a:pt x="636" y="66"/>
                  </a:lnTo>
                  <a:lnTo>
                    <a:pt x="636" y="78"/>
                  </a:lnTo>
                  <a:lnTo>
                    <a:pt x="624" y="84"/>
                  </a:lnTo>
                  <a:lnTo>
                    <a:pt x="618" y="90"/>
                  </a:lnTo>
                  <a:lnTo>
                    <a:pt x="612" y="90"/>
                  </a:lnTo>
                  <a:lnTo>
                    <a:pt x="600" y="102"/>
                  </a:lnTo>
                  <a:lnTo>
                    <a:pt x="594" y="108"/>
                  </a:lnTo>
                  <a:lnTo>
                    <a:pt x="582" y="114"/>
                  </a:lnTo>
                  <a:lnTo>
                    <a:pt x="570" y="132"/>
                  </a:lnTo>
                  <a:lnTo>
                    <a:pt x="564" y="132"/>
                  </a:lnTo>
                  <a:lnTo>
                    <a:pt x="564" y="138"/>
                  </a:lnTo>
                  <a:lnTo>
                    <a:pt x="558" y="144"/>
                  </a:lnTo>
                  <a:lnTo>
                    <a:pt x="558" y="150"/>
                  </a:lnTo>
                  <a:lnTo>
                    <a:pt x="552" y="150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0" y="162"/>
                  </a:lnTo>
                  <a:lnTo>
                    <a:pt x="534" y="168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6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28" y="234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16" y="294"/>
                  </a:lnTo>
                  <a:lnTo>
                    <a:pt x="516" y="312"/>
                  </a:lnTo>
                  <a:lnTo>
                    <a:pt x="528" y="318"/>
                  </a:lnTo>
                  <a:lnTo>
                    <a:pt x="540" y="360"/>
                  </a:lnTo>
                  <a:lnTo>
                    <a:pt x="558" y="408"/>
                  </a:lnTo>
                  <a:lnTo>
                    <a:pt x="570" y="426"/>
                  </a:lnTo>
                  <a:lnTo>
                    <a:pt x="576" y="432"/>
                  </a:lnTo>
                  <a:lnTo>
                    <a:pt x="576" y="438"/>
                  </a:lnTo>
                  <a:lnTo>
                    <a:pt x="576" y="444"/>
                  </a:lnTo>
                  <a:lnTo>
                    <a:pt x="576" y="46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3" name="Freeform 28">
              <a:extLst>
                <a:ext uri="{FF2B5EF4-FFF2-40B4-BE49-F238E27FC236}">
                  <a16:creationId xmlns:a16="http://schemas.microsoft.com/office/drawing/2014/main" id="{CF9B4F31-BF73-448E-83AA-188F6CF1BDC5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4879" y="3432583"/>
              <a:ext cx="324248" cy="270616"/>
            </a:xfrm>
            <a:custGeom>
              <a:avLst/>
              <a:gdLst>
                <a:gd name="T0" fmla="*/ 5 w 606"/>
                <a:gd name="T1" fmla="*/ 36 h 510"/>
                <a:gd name="T2" fmla="*/ 4 w 606"/>
                <a:gd name="T3" fmla="*/ 34 h 510"/>
                <a:gd name="T4" fmla="*/ 0 w 606"/>
                <a:gd name="T5" fmla="*/ 25 h 510"/>
                <a:gd name="T6" fmla="*/ 1 w 606"/>
                <a:gd name="T7" fmla="*/ 20 h 510"/>
                <a:gd name="T8" fmla="*/ 2 w 606"/>
                <a:gd name="T9" fmla="*/ 15 h 510"/>
                <a:gd name="T10" fmla="*/ 2 w 606"/>
                <a:gd name="T11" fmla="*/ 13 h 510"/>
                <a:gd name="T12" fmla="*/ 3 w 606"/>
                <a:gd name="T13" fmla="*/ 12 h 510"/>
                <a:gd name="T14" fmla="*/ 4 w 606"/>
                <a:gd name="T15" fmla="*/ 11 h 510"/>
                <a:gd name="T16" fmla="*/ 4 w 606"/>
                <a:gd name="T17" fmla="*/ 10 h 510"/>
                <a:gd name="T18" fmla="*/ 7 w 606"/>
                <a:gd name="T19" fmla="*/ 8 h 510"/>
                <a:gd name="T20" fmla="*/ 9 w 606"/>
                <a:gd name="T21" fmla="*/ 6 h 510"/>
                <a:gd name="T22" fmla="*/ 11 w 606"/>
                <a:gd name="T23" fmla="*/ 4 h 510"/>
                <a:gd name="T24" fmla="*/ 12 w 606"/>
                <a:gd name="T25" fmla="*/ 3 h 510"/>
                <a:gd name="T26" fmla="*/ 13 w 606"/>
                <a:gd name="T27" fmla="*/ 4 h 510"/>
                <a:gd name="T28" fmla="*/ 15 w 606"/>
                <a:gd name="T29" fmla="*/ 2 h 510"/>
                <a:gd name="T30" fmla="*/ 17 w 606"/>
                <a:gd name="T31" fmla="*/ 2 h 510"/>
                <a:gd name="T32" fmla="*/ 19 w 606"/>
                <a:gd name="T33" fmla="*/ 5 h 510"/>
                <a:gd name="T34" fmla="*/ 22 w 606"/>
                <a:gd name="T35" fmla="*/ 5 h 510"/>
                <a:gd name="T36" fmla="*/ 25 w 606"/>
                <a:gd name="T37" fmla="*/ 6 h 510"/>
                <a:gd name="T38" fmla="*/ 29 w 606"/>
                <a:gd name="T39" fmla="*/ 1 h 510"/>
                <a:gd name="T40" fmla="*/ 38 w 606"/>
                <a:gd name="T41" fmla="*/ 0 h 510"/>
                <a:gd name="T42" fmla="*/ 38 w 606"/>
                <a:gd name="T43" fmla="*/ 5 h 510"/>
                <a:gd name="T44" fmla="*/ 41 w 606"/>
                <a:gd name="T45" fmla="*/ 4 h 510"/>
                <a:gd name="T46" fmla="*/ 45 w 606"/>
                <a:gd name="T47" fmla="*/ 2 h 510"/>
                <a:gd name="T48" fmla="*/ 46 w 606"/>
                <a:gd name="T49" fmla="*/ 2 h 510"/>
                <a:gd name="T50" fmla="*/ 47 w 606"/>
                <a:gd name="T51" fmla="*/ 5 h 510"/>
                <a:gd name="T52" fmla="*/ 45 w 606"/>
                <a:gd name="T53" fmla="*/ 6 h 510"/>
                <a:gd name="T54" fmla="*/ 45 w 606"/>
                <a:gd name="T55" fmla="*/ 7 h 510"/>
                <a:gd name="T56" fmla="*/ 43 w 606"/>
                <a:gd name="T57" fmla="*/ 8 h 510"/>
                <a:gd name="T58" fmla="*/ 45 w 606"/>
                <a:gd name="T59" fmla="*/ 15 h 510"/>
                <a:gd name="T60" fmla="*/ 49 w 606"/>
                <a:gd name="T61" fmla="*/ 15 h 510"/>
                <a:gd name="T62" fmla="*/ 51 w 606"/>
                <a:gd name="T63" fmla="*/ 15 h 510"/>
                <a:gd name="T64" fmla="*/ 53 w 606"/>
                <a:gd name="T65" fmla="*/ 16 h 510"/>
                <a:gd name="T66" fmla="*/ 52 w 606"/>
                <a:gd name="T67" fmla="*/ 20 h 510"/>
                <a:gd name="T68" fmla="*/ 48 w 606"/>
                <a:gd name="T69" fmla="*/ 23 h 510"/>
                <a:gd name="T70" fmla="*/ 45 w 606"/>
                <a:gd name="T71" fmla="*/ 25 h 510"/>
                <a:gd name="T72" fmla="*/ 44 w 606"/>
                <a:gd name="T73" fmla="*/ 28 h 510"/>
                <a:gd name="T74" fmla="*/ 43 w 606"/>
                <a:gd name="T75" fmla="*/ 33 h 510"/>
                <a:gd name="T76" fmla="*/ 39 w 606"/>
                <a:gd name="T77" fmla="*/ 38 h 510"/>
                <a:gd name="T78" fmla="*/ 37 w 606"/>
                <a:gd name="T79" fmla="*/ 41 h 510"/>
                <a:gd name="T80" fmla="*/ 31 w 606"/>
                <a:gd name="T81" fmla="*/ 44 h 510"/>
                <a:gd name="T82" fmla="*/ 28 w 606"/>
                <a:gd name="T83" fmla="*/ 43 h 510"/>
                <a:gd name="T84" fmla="*/ 28 w 606"/>
                <a:gd name="T85" fmla="*/ 41 h 510"/>
                <a:gd name="T86" fmla="*/ 28 w 606"/>
                <a:gd name="T87" fmla="*/ 40 h 510"/>
                <a:gd name="T88" fmla="*/ 27 w 606"/>
                <a:gd name="T89" fmla="*/ 38 h 510"/>
                <a:gd name="T90" fmla="*/ 27 w 606"/>
                <a:gd name="T91" fmla="*/ 36 h 510"/>
                <a:gd name="T92" fmla="*/ 24 w 606"/>
                <a:gd name="T93" fmla="*/ 35 h 510"/>
                <a:gd name="T94" fmla="*/ 16 w 606"/>
                <a:gd name="T95" fmla="*/ 34 h 510"/>
                <a:gd name="T96" fmla="*/ 13 w 606"/>
                <a:gd name="T97" fmla="*/ 34 h 510"/>
                <a:gd name="T98" fmla="*/ 9 w 606"/>
                <a:gd name="T99" fmla="*/ 36 h 510"/>
                <a:gd name="T100" fmla="*/ 8 w 606"/>
                <a:gd name="T101" fmla="*/ 38 h 510"/>
                <a:gd name="T102" fmla="*/ 7 w 606"/>
                <a:gd name="T103" fmla="*/ 39 h 51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06"/>
                <a:gd name="T157" fmla="*/ 0 h 510"/>
                <a:gd name="T158" fmla="*/ 606 w 606"/>
                <a:gd name="T159" fmla="*/ 510 h 51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06" h="510">
                  <a:moveTo>
                    <a:pt x="60" y="450"/>
                  </a:move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42" y="390"/>
                  </a:lnTo>
                  <a:lnTo>
                    <a:pt x="24" y="342"/>
                  </a:lnTo>
                  <a:lnTo>
                    <a:pt x="12" y="300"/>
                  </a:lnTo>
                  <a:lnTo>
                    <a:pt x="0" y="294"/>
                  </a:lnTo>
                  <a:lnTo>
                    <a:pt x="0" y="276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24" y="192"/>
                  </a:lnTo>
                  <a:lnTo>
                    <a:pt x="24" y="180"/>
                  </a:lnTo>
                  <a:lnTo>
                    <a:pt x="24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6" y="96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108" y="66"/>
                  </a:lnTo>
                  <a:lnTo>
                    <a:pt x="120" y="60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36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62" y="36"/>
                  </a:lnTo>
                  <a:lnTo>
                    <a:pt x="162" y="30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0" y="54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46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76" y="66"/>
                  </a:lnTo>
                  <a:lnTo>
                    <a:pt x="312" y="66"/>
                  </a:lnTo>
                  <a:lnTo>
                    <a:pt x="318" y="60"/>
                  </a:lnTo>
                  <a:lnTo>
                    <a:pt x="330" y="12"/>
                  </a:lnTo>
                  <a:lnTo>
                    <a:pt x="414" y="6"/>
                  </a:lnTo>
                  <a:lnTo>
                    <a:pt x="420" y="0"/>
                  </a:lnTo>
                  <a:lnTo>
                    <a:pt x="426" y="6"/>
                  </a:lnTo>
                  <a:lnTo>
                    <a:pt x="426" y="12"/>
                  </a:lnTo>
                  <a:lnTo>
                    <a:pt x="426" y="54"/>
                  </a:lnTo>
                  <a:lnTo>
                    <a:pt x="432" y="54"/>
                  </a:lnTo>
                  <a:lnTo>
                    <a:pt x="444" y="54"/>
                  </a:lnTo>
                  <a:lnTo>
                    <a:pt x="450" y="42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86" y="24"/>
                  </a:lnTo>
                  <a:lnTo>
                    <a:pt x="504" y="18"/>
                  </a:lnTo>
                  <a:lnTo>
                    <a:pt x="510" y="12"/>
                  </a:lnTo>
                  <a:lnTo>
                    <a:pt x="516" y="18"/>
                  </a:lnTo>
                  <a:lnTo>
                    <a:pt x="522" y="24"/>
                  </a:lnTo>
                  <a:lnTo>
                    <a:pt x="510" y="30"/>
                  </a:lnTo>
                  <a:lnTo>
                    <a:pt x="516" y="48"/>
                  </a:lnTo>
                  <a:lnTo>
                    <a:pt x="528" y="54"/>
                  </a:lnTo>
                  <a:lnTo>
                    <a:pt x="522" y="60"/>
                  </a:lnTo>
                  <a:lnTo>
                    <a:pt x="516" y="66"/>
                  </a:lnTo>
                  <a:lnTo>
                    <a:pt x="516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0" y="84"/>
                  </a:lnTo>
                  <a:lnTo>
                    <a:pt x="510" y="90"/>
                  </a:lnTo>
                  <a:lnTo>
                    <a:pt x="504" y="90"/>
                  </a:lnTo>
                  <a:lnTo>
                    <a:pt x="486" y="90"/>
                  </a:lnTo>
                  <a:lnTo>
                    <a:pt x="492" y="138"/>
                  </a:lnTo>
                  <a:lnTo>
                    <a:pt x="498" y="168"/>
                  </a:lnTo>
                  <a:lnTo>
                    <a:pt x="516" y="168"/>
                  </a:lnTo>
                  <a:lnTo>
                    <a:pt x="528" y="174"/>
                  </a:lnTo>
                  <a:lnTo>
                    <a:pt x="534" y="168"/>
                  </a:lnTo>
                  <a:lnTo>
                    <a:pt x="558" y="174"/>
                  </a:lnTo>
                  <a:lnTo>
                    <a:pt x="564" y="168"/>
                  </a:lnTo>
                  <a:lnTo>
                    <a:pt x="570" y="168"/>
                  </a:lnTo>
                  <a:lnTo>
                    <a:pt x="576" y="174"/>
                  </a:lnTo>
                  <a:lnTo>
                    <a:pt x="588" y="168"/>
                  </a:lnTo>
                  <a:lnTo>
                    <a:pt x="594" y="168"/>
                  </a:lnTo>
                  <a:lnTo>
                    <a:pt x="594" y="186"/>
                  </a:lnTo>
                  <a:lnTo>
                    <a:pt x="606" y="198"/>
                  </a:lnTo>
                  <a:lnTo>
                    <a:pt x="600" y="210"/>
                  </a:lnTo>
                  <a:lnTo>
                    <a:pt x="588" y="234"/>
                  </a:lnTo>
                  <a:lnTo>
                    <a:pt x="564" y="246"/>
                  </a:lnTo>
                  <a:lnTo>
                    <a:pt x="546" y="258"/>
                  </a:lnTo>
                  <a:lnTo>
                    <a:pt x="540" y="270"/>
                  </a:lnTo>
                  <a:lnTo>
                    <a:pt x="534" y="294"/>
                  </a:lnTo>
                  <a:lnTo>
                    <a:pt x="528" y="300"/>
                  </a:lnTo>
                  <a:lnTo>
                    <a:pt x="516" y="294"/>
                  </a:lnTo>
                  <a:lnTo>
                    <a:pt x="510" y="300"/>
                  </a:lnTo>
                  <a:lnTo>
                    <a:pt x="498" y="318"/>
                  </a:lnTo>
                  <a:lnTo>
                    <a:pt x="492" y="324"/>
                  </a:lnTo>
                  <a:lnTo>
                    <a:pt x="486" y="336"/>
                  </a:lnTo>
                  <a:lnTo>
                    <a:pt x="486" y="354"/>
                  </a:lnTo>
                  <a:lnTo>
                    <a:pt x="486" y="384"/>
                  </a:lnTo>
                  <a:lnTo>
                    <a:pt x="474" y="408"/>
                  </a:lnTo>
                  <a:lnTo>
                    <a:pt x="450" y="426"/>
                  </a:lnTo>
                  <a:lnTo>
                    <a:pt x="444" y="444"/>
                  </a:lnTo>
                  <a:lnTo>
                    <a:pt x="426" y="474"/>
                  </a:lnTo>
                  <a:lnTo>
                    <a:pt x="420" y="486"/>
                  </a:lnTo>
                  <a:lnTo>
                    <a:pt x="414" y="486"/>
                  </a:lnTo>
                  <a:lnTo>
                    <a:pt x="414" y="498"/>
                  </a:lnTo>
                  <a:lnTo>
                    <a:pt x="378" y="504"/>
                  </a:lnTo>
                  <a:lnTo>
                    <a:pt x="348" y="510"/>
                  </a:lnTo>
                  <a:lnTo>
                    <a:pt x="330" y="510"/>
                  </a:lnTo>
                  <a:lnTo>
                    <a:pt x="324" y="504"/>
                  </a:lnTo>
                  <a:lnTo>
                    <a:pt x="318" y="504"/>
                  </a:lnTo>
                  <a:lnTo>
                    <a:pt x="312" y="504"/>
                  </a:lnTo>
                  <a:lnTo>
                    <a:pt x="312" y="498"/>
                  </a:lnTo>
                  <a:lnTo>
                    <a:pt x="312" y="486"/>
                  </a:lnTo>
                  <a:lnTo>
                    <a:pt x="312" y="480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56"/>
                  </a:lnTo>
                  <a:lnTo>
                    <a:pt x="312" y="450"/>
                  </a:lnTo>
                  <a:lnTo>
                    <a:pt x="306" y="444"/>
                  </a:lnTo>
                  <a:lnTo>
                    <a:pt x="306" y="438"/>
                  </a:lnTo>
                  <a:lnTo>
                    <a:pt x="300" y="426"/>
                  </a:lnTo>
                  <a:lnTo>
                    <a:pt x="300" y="420"/>
                  </a:lnTo>
                  <a:lnTo>
                    <a:pt x="294" y="414"/>
                  </a:lnTo>
                  <a:lnTo>
                    <a:pt x="294" y="408"/>
                  </a:lnTo>
                  <a:lnTo>
                    <a:pt x="270" y="408"/>
                  </a:lnTo>
                  <a:lnTo>
                    <a:pt x="246" y="408"/>
                  </a:lnTo>
                  <a:lnTo>
                    <a:pt x="222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56" y="402"/>
                  </a:lnTo>
                  <a:lnTo>
                    <a:pt x="144" y="396"/>
                  </a:lnTo>
                  <a:lnTo>
                    <a:pt x="126" y="396"/>
                  </a:lnTo>
                  <a:lnTo>
                    <a:pt x="108" y="408"/>
                  </a:lnTo>
                  <a:lnTo>
                    <a:pt x="102" y="414"/>
                  </a:lnTo>
                  <a:lnTo>
                    <a:pt x="102" y="420"/>
                  </a:lnTo>
                  <a:lnTo>
                    <a:pt x="96" y="426"/>
                  </a:lnTo>
                  <a:lnTo>
                    <a:pt x="96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78" y="450"/>
                  </a:lnTo>
                  <a:lnTo>
                    <a:pt x="60" y="45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4" name="Freeform 29">
              <a:extLst>
                <a:ext uri="{FF2B5EF4-FFF2-40B4-BE49-F238E27FC236}">
                  <a16:creationId xmlns:a16="http://schemas.microsoft.com/office/drawing/2014/main" id="{B6AC2B96-1504-4082-8778-17130FDA021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401" y="3537698"/>
              <a:ext cx="559048" cy="641876"/>
            </a:xfrm>
            <a:custGeom>
              <a:avLst/>
              <a:gdLst>
                <a:gd name="T0" fmla="*/ 39 w 1056"/>
                <a:gd name="T1" fmla="*/ 94 h 1206"/>
                <a:gd name="T2" fmla="*/ 35 w 1056"/>
                <a:gd name="T3" fmla="*/ 103 h 1206"/>
                <a:gd name="T4" fmla="*/ 29 w 1056"/>
                <a:gd name="T5" fmla="*/ 99 h 1206"/>
                <a:gd name="T6" fmla="*/ 23 w 1056"/>
                <a:gd name="T7" fmla="*/ 94 h 1206"/>
                <a:gd name="T8" fmla="*/ 21 w 1056"/>
                <a:gd name="T9" fmla="*/ 91 h 1206"/>
                <a:gd name="T10" fmla="*/ 18 w 1056"/>
                <a:gd name="T11" fmla="*/ 89 h 1206"/>
                <a:gd name="T12" fmla="*/ 15 w 1056"/>
                <a:gd name="T13" fmla="*/ 86 h 1206"/>
                <a:gd name="T14" fmla="*/ 11 w 1056"/>
                <a:gd name="T15" fmla="*/ 83 h 1206"/>
                <a:gd name="T16" fmla="*/ 8 w 1056"/>
                <a:gd name="T17" fmla="*/ 81 h 1206"/>
                <a:gd name="T18" fmla="*/ 6 w 1056"/>
                <a:gd name="T19" fmla="*/ 79 h 1206"/>
                <a:gd name="T20" fmla="*/ 13 w 1056"/>
                <a:gd name="T21" fmla="*/ 78 h 1206"/>
                <a:gd name="T22" fmla="*/ 8 w 1056"/>
                <a:gd name="T23" fmla="*/ 75 h 1206"/>
                <a:gd name="T24" fmla="*/ 13 w 1056"/>
                <a:gd name="T25" fmla="*/ 71 h 1206"/>
                <a:gd name="T26" fmla="*/ 10 w 1056"/>
                <a:gd name="T27" fmla="*/ 63 h 1206"/>
                <a:gd name="T28" fmla="*/ 6 w 1056"/>
                <a:gd name="T29" fmla="*/ 66 h 1206"/>
                <a:gd name="T30" fmla="*/ 1 w 1056"/>
                <a:gd name="T31" fmla="*/ 63 h 1206"/>
                <a:gd name="T32" fmla="*/ 1 w 1056"/>
                <a:gd name="T33" fmla="*/ 59 h 1206"/>
                <a:gd name="T34" fmla="*/ 3 w 1056"/>
                <a:gd name="T35" fmla="*/ 57 h 1206"/>
                <a:gd name="T36" fmla="*/ 6 w 1056"/>
                <a:gd name="T37" fmla="*/ 55 h 1206"/>
                <a:gd name="T38" fmla="*/ 10 w 1056"/>
                <a:gd name="T39" fmla="*/ 51 h 1206"/>
                <a:gd name="T40" fmla="*/ 11 w 1056"/>
                <a:gd name="T41" fmla="*/ 46 h 1206"/>
                <a:gd name="T42" fmla="*/ 14 w 1056"/>
                <a:gd name="T43" fmla="*/ 42 h 1206"/>
                <a:gd name="T44" fmla="*/ 15 w 1056"/>
                <a:gd name="T45" fmla="*/ 36 h 1206"/>
                <a:gd name="T46" fmla="*/ 17 w 1056"/>
                <a:gd name="T47" fmla="*/ 34 h 1206"/>
                <a:gd name="T48" fmla="*/ 20 w 1056"/>
                <a:gd name="T49" fmla="*/ 31 h 1206"/>
                <a:gd name="T50" fmla="*/ 21 w 1056"/>
                <a:gd name="T51" fmla="*/ 29 h 1206"/>
                <a:gd name="T52" fmla="*/ 23 w 1056"/>
                <a:gd name="T53" fmla="*/ 22 h 1206"/>
                <a:gd name="T54" fmla="*/ 35 w 1056"/>
                <a:gd name="T55" fmla="*/ 22 h 1206"/>
                <a:gd name="T56" fmla="*/ 41 w 1056"/>
                <a:gd name="T57" fmla="*/ 18 h 1206"/>
                <a:gd name="T58" fmla="*/ 54 w 1056"/>
                <a:gd name="T59" fmla="*/ 20 h 1206"/>
                <a:gd name="T60" fmla="*/ 54 w 1056"/>
                <a:gd name="T61" fmla="*/ 26 h 1206"/>
                <a:gd name="T62" fmla="*/ 64 w 1056"/>
                <a:gd name="T63" fmla="*/ 25 h 1206"/>
                <a:gd name="T64" fmla="*/ 71 w 1056"/>
                <a:gd name="T65" fmla="*/ 10 h 1206"/>
                <a:gd name="T66" fmla="*/ 80 w 1056"/>
                <a:gd name="T67" fmla="*/ 1 h 1206"/>
                <a:gd name="T68" fmla="*/ 86 w 1056"/>
                <a:gd name="T69" fmla="*/ 2 h 1206"/>
                <a:gd name="T70" fmla="*/ 91 w 1056"/>
                <a:gd name="T71" fmla="*/ 13 h 1206"/>
                <a:gd name="T72" fmla="*/ 88 w 1056"/>
                <a:gd name="T73" fmla="*/ 17 h 1206"/>
                <a:gd name="T74" fmla="*/ 89 w 1056"/>
                <a:gd name="T75" fmla="*/ 21 h 1206"/>
                <a:gd name="T76" fmla="*/ 86 w 1056"/>
                <a:gd name="T77" fmla="*/ 25 h 1206"/>
                <a:gd name="T78" fmla="*/ 85 w 1056"/>
                <a:gd name="T79" fmla="*/ 31 h 1206"/>
                <a:gd name="T80" fmla="*/ 83 w 1056"/>
                <a:gd name="T81" fmla="*/ 36 h 1206"/>
                <a:gd name="T82" fmla="*/ 80 w 1056"/>
                <a:gd name="T83" fmla="*/ 42 h 1206"/>
                <a:gd name="T84" fmla="*/ 80 w 1056"/>
                <a:gd name="T85" fmla="*/ 47 h 1206"/>
                <a:gd name="T86" fmla="*/ 77 w 1056"/>
                <a:gd name="T87" fmla="*/ 55 h 1206"/>
                <a:gd name="T88" fmla="*/ 75 w 1056"/>
                <a:gd name="T89" fmla="*/ 57 h 1206"/>
                <a:gd name="T90" fmla="*/ 66 w 1056"/>
                <a:gd name="T91" fmla="*/ 57 h 1206"/>
                <a:gd name="T92" fmla="*/ 66 w 1056"/>
                <a:gd name="T93" fmla="*/ 51 h 1206"/>
                <a:gd name="T94" fmla="*/ 48 w 1056"/>
                <a:gd name="T95" fmla="*/ 50 h 1206"/>
                <a:gd name="T96" fmla="*/ 46 w 1056"/>
                <a:gd name="T97" fmla="*/ 55 h 1206"/>
                <a:gd name="T98" fmla="*/ 42 w 1056"/>
                <a:gd name="T99" fmla="*/ 59 h 1206"/>
                <a:gd name="T100" fmla="*/ 41 w 1056"/>
                <a:gd name="T101" fmla="*/ 62 h 1206"/>
                <a:gd name="T102" fmla="*/ 43 w 1056"/>
                <a:gd name="T103" fmla="*/ 67 h 1206"/>
                <a:gd name="T104" fmla="*/ 42 w 1056"/>
                <a:gd name="T105" fmla="*/ 72 h 1206"/>
                <a:gd name="T106" fmla="*/ 39 w 1056"/>
                <a:gd name="T107" fmla="*/ 77 h 1206"/>
                <a:gd name="T108" fmla="*/ 36 w 1056"/>
                <a:gd name="T109" fmla="*/ 80 h 1206"/>
                <a:gd name="T110" fmla="*/ 37 w 1056"/>
                <a:gd name="T111" fmla="*/ 83 h 1206"/>
                <a:gd name="T112" fmla="*/ 40 w 1056"/>
                <a:gd name="T113" fmla="*/ 87 h 1206"/>
                <a:gd name="T114" fmla="*/ 42 w 1056"/>
                <a:gd name="T115" fmla="*/ 89 h 12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56"/>
                <a:gd name="T175" fmla="*/ 0 h 1206"/>
                <a:gd name="T176" fmla="*/ 1056 w 1056"/>
                <a:gd name="T177" fmla="*/ 1206 h 12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56" h="1206">
                  <a:moveTo>
                    <a:pt x="492" y="1032"/>
                  </a:moveTo>
                  <a:lnTo>
                    <a:pt x="486" y="1038"/>
                  </a:lnTo>
                  <a:lnTo>
                    <a:pt x="486" y="1044"/>
                  </a:lnTo>
                  <a:lnTo>
                    <a:pt x="480" y="1044"/>
                  </a:lnTo>
                  <a:lnTo>
                    <a:pt x="474" y="1056"/>
                  </a:lnTo>
                  <a:lnTo>
                    <a:pt x="462" y="1068"/>
                  </a:lnTo>
                  <a:lnTo>
                    <a:pt x="456" y="1080"/>
                  </a:lnTo>
                  <a:lnTo>
                    <a:pt x="450" y="1080"/>
                  </a:lnTo>
                  <a:lnTo>
                    <a:pt x="450" y="1086"/>
                  </a:lnTo>
                  <a:lnTo>
                    <a:pt x="450" y="1092"/>
                  </a:lnTo>
                  <a:lnTo>
                    <a:pt x="444" y="1104"/>
                  </a:lnTo>
                  <a:lnTo>
                    <a:pt x="444" y="1116"/>
                  </a:lnTo>
                  <a:lnTo>
                    <a:pt x="438" y="1128"/>
                  </a:lnTo>
                  <a:lnTo>
                    <a:pt x="432" y="1134"/>
                  </a:lnTo>
                  <a:lnTo>
                    <a:pt x="432" y="1140"/>
                  </a:lnTo>
                  <a:lnTo>
                    <a:pt x="420" y="1152"/>
                  </a:lnTo>
                  <a:lnTo>
                    <a:pt x="420" y="1158"/>
                  </a:lnTo>
                  <a:lnTo>
                    <a:pt x="408" y="1182"/>
                  </a:lnTo>
                  <a:lnTo>
                    <a:pt x="396" y="1194"/>
                  </a:lnTo>
                  <a:lnTo>
                    <a:pt x="390" y="1206"/>
                  </a:lnTo>
                  <a:lnTo>
                    <a:pt x="390" y="1200"/>
                  </a:lnTo>
                  <a:lnTo>
                    <a:pt x="384" y="1194"/>
                  </a:lnTo>
                  <a:lnTo>
                    <a:pt x="378" y="1188"/>
                  </a:lnTo>
                  <a:lnTo>
                    <a:pt x="366" y="1176"/>
                  </a:lnTo>
                  <a:lnTo>
                    <a:pt x="366" y="1170"/>
                  </a:lnTo>
                  <a:lnTo>
                    <a:pt x="348" y="1152"/>
                  </a:lnTo>
                  <a:lnTo>
                    <a:pt x="336" y="1140"/>
                  </a:lnTo>
                  <a:lnTo>
                    <a:pt x="330" y="1134"/>
                  </a:lnTo>
                  <a:lnTo>
                    <a:pt x="324" y="1128"/>
                  </a:lnTo>
                  <a:lnTo>
                    <a:pt x="318" y="1122"/>
                  </a:lnTo>
                  <a:lnTo>
                    <a:pt x="312" y="1116"/>
                  </a:lnTo>
                  <a:lnTo>
                    <a:pt x="306" y="1110"/>
                  </a:lnTo>
                  <a:lnTo>
                    <a:pt x="300" y="1104"/>
                  </a:lnTo>
                  <a:lnTo>
                    <a:pt x="294" y="1098"/>
                  </a:lnTo>
                  <a:lnTo>
                    <a:pt x="276" y="1080"/>
                  </a:lnTo>
                  <a:lnTo>
                    <a:pt x="270" y="1080"/>
                  </a:lnTo>
                  <a:lnTo>
                    <a:pt x="270" y="1074"/>
                  </a:lnTo>
                  <a:lnTo>
                    <a:pt x="264" y="1068"/>
                  </a:lnTo>
                  <a:lnTo>
                    <a:pt x="258" y="1062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40" y="1050"/>
                  </a:lnTo>
                  <a:lnTo>
                    <a:pt x="234" y="1044"/>
                  </a:lnTo>
                  <a:lnTo>
                    <a:pt x="228" y="1044"/>
                  </a:lnTo>
                  <a:lnTo>
                    <a:pt x="222" y="1038"/>
                  </a:lnTo>
                  <a:lnTo>
                    <a:pt x="222" y="1032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6"/>
                  </a:lnTo>
                  <a:lnTo>
                    <a:pt x="204" y="1020"/>
                  </a:lnTo>
                  <a:lnTo>
                    <a:pt x="204" y="1014"/>
                  </a:lnTo>
                  <a:lnTo>
                    <a:pt x="198" y="1014"/>
                  </a:lnTo>
                  <a:lnTo>
                    <a:pt x="192" y="1014"/>
                  </a:lnTo>
                  <a:lnTo>
                    <a:pt x="192" y="1008"/>
                  </a:lnTo>
                  <a:lnTo>
                    <a:pt x="186" y="1008"/>
                  </a:lnTo>
                  <a:lnTo>
                    <a:pt x="186" y="1002"/>
                  </a:lnTo>
                  <a:lnTo>
                    <a:pt x="180" y="1002"/>
                  </a:lnTo>
                  <a:lnTo>
                    <a:pt x="174" y="996"/>
                  </a:lnTo>
                  <a:lnTo>
                    <a:pt x="168" y="996"/>
                  </a:lnTo>
                  <a:lnTo>
                    <a:pt x="168" y="990"/>
                  </a:lnTo>
                  <a:lnTo>
                    <a:pt x="162" y="990"/>
                  </a:lnTo>
                  <a:lnTo>
                    <a:pt x="162" y="984"/>
                  </a:lnTo>
                  <a:lnTo>
                    <a:pt x="150" y="978"/>
                  </a:lnTo>
                  <a:lnTo>
                    <a:pt x="144" y="972"/>
                  </a:lnTo>
                  <a:lnTo>
                    <a:pt x="138" y="972"/>
                  </a:lnTo>
                  <a:lnTo>
                    <a:pt x="138" y="966"/>
                  </a:lnTo>
                  <a:lnTo>
                    <a:pt x="132" y="966"/>
                  </a:lnTo>
                  <a:lnTo>
                    <a:pt x="126" y="960"/>
                  </a:lnTo>
                  <a:lnTo>
                    <a:pt x="126" y="954"/>
                  </a:lnTo>
                  <a:lnTo>
                    <a:pt x="120" y="954"/>
                  </a:lnTo>
                  <a:lnTo>
                    <a:pt x="114" y="948"/>
                  </a:lnTo>
                  <a:lnTo>
                    <a:pt x="108" y="948"/>
                  </a:lnTo>
                  <a:lnTo>
                    <a:pt x="108" y="942"/>
                  </a:lnTo>
                  <a:lnTo>
                    <a:pt x="102" y="942"/>
                  </a:lnTo>
                  <a:lnTo>
                    <a:pt x="96" y="942"/>
                  </a:lnTo>
                  <a:lnTo>
                    <a:pt x="96" y="936"/>
                  </a:lnTo>
                  <a:lnTo>
                    <a:pt x="90" y="936"/>
                  </a:lnTo>
                  <a:lnTo>
                    <a:pt x="90" y="930"/>
                  </a:lnTo>
                  <a:lnTo>
                    <a:pt x="84" y="930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18"/>
                  </a:lnTo>
                  <a:lnTo>
                    <a:pt x="66" y="918"/>
                  </a:lnTo>
                  <a:lnTo>
                    <a:pt x="66" y="912"/>
                  </a:lnTo>
                  <a:lnTo>
                    <a:pt x="66" y="906"/>
                  </a:lnTo>
                  <a:lnTo>
                    <a:pt x="72" y="906"/>
                  </a:lnTo>
                  <a:lnTo>
                    <a:pt x="84" y="906"/>
                  </a:lnTo>
                  <a:lnTo>
                    <a:pt x="90" y="906"/>
                  </a:lnTo>
                  <a:lnTo>
                    <a:pt x="120" y="930"/>
                  </a:lnTo>
                  <a:lnTo>
                    <a:pt x="126" y="936"/>
                  </a:lnTo>
                  <a:lnTo>
                    <a:pt x="138" y="936"/>
                  </a:lnTo>
                  <a:lnTo>
                    <a:pt x="138" y="930"/>
                  </a:lnTo>
                  <a:lnTo>
                    <a:pt x="144" y="930"/>
                  </a:lnTo>
                  <a:lnTo>
                    <a:pt x="144" y="924"/>
                  </a:lnTo>
                  <a:lnTo>
                    <a:pt x="150" y="900"/>
                  </a:lnTo>
                  <a:lnTo>
                    <a:pt x="138" y="894"/>
                  </a:lnTo>
                  <a:lnTo>
                    <a:pt x="126" y="894"/>
                  </a:lnTo>
                  <a:lnTo>
                    <a:pt x="108" y="888"/>
                  </a:lnTo>
                  <a:lnTo>
                    <a:pt x="84" y="882"/>
                  </a:lnTo>
                  <a:lnTo>
                    <a:pt x="72" y="882"/>
                  </a:lnTo>
                  <a:lnTo>
                    <a:pt x="72" y="876"/>
                  </a:lnTo>
                  <a:lnTo>
                    <a:pt x="78" y="870"/>
                  </a:lnTo>
                  <a:lnTo>
                    <a:pt x="90" y="870"/>
                  </a:lnTo>
                  <a:lnTo>
                    <a:pt x="96" y="870"/>
                  </a:lnTo>
                  <a:lnTo>
                    <a:pt x="102" y="870"/>
                  </a:lnTo>
                  <a:lnTo>
                    <a:pt x="114" y="870"/>
                  </a:lnTo>
                  <a:lnTo>
                    <a:pt x="120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34"/>
                  </a:lnTo>
                  <a:lnTo>
                    <a:pt x="132" y="828"/>
                  </a:lnTo>
                  <a:lnTo>
                    <a:pt x="132" y="816"/>
                  </a:lnTo>
                  <a:lnTo>
                    <a:pt x="150" y="816"/>
                  </a:lnTo>
                  <a:lnTo>
                    <a:pt x="150" y="804"/>
                  </a:lnTo>
                  <a:lnTo>
                    <a:pt x="144" y="798"/>
                  </a:lnTo>
                  <a:lnTo>
                    <a:pt x="156" y="762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32"/>
                  </a:lnTo>
                  <a:lnTo>
                    <a:pt x="144" y="726"/>
                  </a:lnTo>
                  <a:lnTo>
                    <a:pt x="132" y="726"/>
                  </a:lnTo>
                  <a:lnTo>
                    <a:pt x="120" y="732"/>
                  </a:lnTo>
                  <a:lnTo>
                    <a:pt x="114" y="744"/>
                  </a:lnTo>
                  <a:lnTo>
                    <a:pt x="108" y="750"/>
                  </a:lnTo>
                  <a:lnTo>
                    <a:pt x="96" y="768"/>
                  </a:lnTo>
                  <a:lnTo>
                    <a:pt x="96" y="774"/>
                  </a:lnTo>
                  <a:lnTo>
                    <a:pt x="90" y="780"/>
                  </a:lnTo>
                  <a:lnTo>
                    <a:pt x="84" y="804"/>
                  </a:lnTo>
                  <a:lnTo>
                    <a:pt x="72" y="774"/>
                  </a:lnTo>
                  <a:lnTo>
                    <a:pt x="72" y="768"/>
                  </a:lnTo>
                  <a:lnTo>
                    <a:pt x="66" y="762"/>
                  </a:lnTo>
                  <a:lnTo>
                    <a:pt x="60" y="750"/>
                  </a:lnTo>
                  <a:lnTo>
                    <a:pt x="54" y="750"/>
                  </a:lnTo>
                  <a:lnTo>
                    <a:pt x="48" y="750"/>
                  </a:lnTo>
                  <a:lnTo>
                    <a:pt x="42" y="750"/>
                  </a:lnTo>
                  <a:lnTo>
                    <a:pt x="30" y="744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12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2" y="702"/>
                  </a:lnTo>
                  <a:lnTo>
                    <a:pt x="18" y="696"/>
                  </a:lnTo>
                  <a:lnTo>
                    <a:pt x="12" y="690"/>
                  </a:lnTo>
                  <a:lnTo>
                    <a:pt x="12" y="684"/>
                  </a:lnTo>
                  <a:lnTo>
                    <a:pt x="12" y="678"/>
                  </a:lnTo>
                  <a:lnTo>
                    <a:pt x="12" y="672"/>
                  </a:lnTo>
                  <a:lnTo>
                    <a:pt x="18" y="672"/>
                  </a:lnTo>
                  <a:lnTo>
                    <a:pt x="18" y="666"/>
                  </a:lnTo>
                  <a:lnTo>
                    <a:pt x="24" y="666"/>
                  </a:lnTo>
                  <a:lnTo>
                    <a:pt x="24" y="660"/>
                  </a:lnTo>
                  <a:lnTo>
                    <a:pt x="30" y="660"/>
                  </a:lnTo>
                  <a:lnTo>
                    <a:pt x="30" y="654"/>
                  </a:lnTo>
                  <a:lnTo>
                    <a:pt x="36" y="654"/>
                  </a:lnTo>
                  <a:lnTo>
                    <a:pt x="36" y="648"/>
                  </a:lnTo>
                  <a:lnTo>
                    <a:pt x="42" y="648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60" y="630"/>
                  </a:lnTo>
                  <a:lnTo>
                    <a:pt x="66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78" y="624"/>
                  </a:lnTo>
                  <a:lnTo>
                    <a:pt x="84" y="618"/>
                  </a:lnTo>
                  <a:lnTo>
                    <a:pt x="84" y="612"/>
                  </a:lnTo>
                  <a:lnTo>
                    <a:pt x="90" y="612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20" y="588"/>
                  </a:lnTo>
                  <a:lnTo>
                    <a:pt x="120" y="582"/>
                  </a:lnTo>
                  <a:lnTo>
                    <a:pt x="120" y="576"/>
                  </a:lnTo>
                  <a:lnTo>
                    <a:pt x="120" y="570"/>
                  </a:lnTo>
                  <a:lnTo>
                    <a:pt x="126" y="564"/>
                  </a:lnTo>
                  <a:lnTo>
                    <a:pt x="126" y="558"/>
                  </a:lnTo>
                  <a:lnTo>
                    <a:pt x="126" y="552"/>
                  </a:lnTo>
                  <a:lnTo>
                    <a:pt x="126" y="546"/>
                  </a:lnTo>
                  <a:lnTo>
                    <a:pt x="126" y="534"/>
                  </a:lnTo>
                  <a:lnTo>
                    <a:pt x="126" y="516"/>
                  </a:lnTo>
                  <a:lnTo>
                    <a:pt x="126" y="510"/>
                  </a:lnTo>
                  <a:lnTo>
                    <a:pt x="126" y="504"/>
                  </a:lnTo>
                  <a:lnTo>
                    <a:pt x="126" y="498"/>
                  </a:lnTo>
                  <a:lnTo>
                    <a:pt x="132" y="498"/>
                  </a:lnTo>
                  <a:lnTo>
                    <a:pt x="132" y="492"/>
                  </a:lnTo>
                  <a:lnTo>
                    <a:pt x="138" y="492"/>
                  </a:lnTo>
                  <a:lnTo>
                    <a:pt x="144" y="486"/>
                  </a:lnTo>
                  <a:lnTo>
                    <a:pt x="156" y="480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6" y="462"/>
                  </a:lnTo>
                  <a:lnTo>
                    <a:pt x="156" y="456"/>
                  </a:lnTo>
                  <a:lnTo>
                    <a:pt x="156" y="450"/>
                  </a:lnTo>
                  <a:lnTo>
                    <a:pt x="162" y="438"/>
                  </a:lnTo>
                  <a:lnTo>
                    <a:pt x="168" y="426"/>
                  </a:lnTo>
                  <a:lnTo>
                    <a:pt x="174" y="426"/>
                  </a:lnTo>
                  <a:lnTo>
                    <a:pt x="174" y="420"/>
                  </a:lnTo>
                  <a:lnTo>
                    <a:pt x="180" y="414"/>
                  </a:lnTo>
                  <a:lnTo>
                    <a:pt x="186" y="420"/>
                  </a:lnTo>
                  <a:lnTo>
                    <a:pt x="186" y="414"/>
                  </a:lnTo>
                  <a:lnTo>
                    <a:pt x="180" y="408"/>
                  </a:lnTo>
                  <a:lnTo>
                    <a:pt x="180" y="402"/>
                  </a:lnTo>
                  <a:lnTo>
                    <a:pt x="186" y="402"/>
                  </a:lnTo>
                  <a:lnTo>
                    <a:pt x="192" y="402"/>
                  </a:lnTo>
                  <a:lnTo>
                    <a:pt x="192" y="396"/>
                  </a:lnTo>
                  <a:lnTo>
                    <a:pt x="198" y="396"/>
                  </a:lnTo>
                  <a:lnTo>
                    <a:pt x="204" y="396"/>
                  </a:lnTo>
                  <a:lnTo>
                    <a:pt x="210" y="396"/>
                  </a:lnTo>
                  <a:lnTo>
                    <a:pt x="210" y="390"/>
                  </a:lnTo>
                  <a:lnTo>
                    <a:pt x="216" y="390"/>
                  </a:lnTo>
                  <a:lnTo>
                    <a:pt x="216" y="384"/>
                  </a:lnTo>
                  <a:lnTo>
                    <a:pt x="222" y="384"/>
                  </a:lnTo>
                  <a:lnTo>
                    <a:pt x="222" y="378"/>
                  </a:lnTo>
                  <a:lnTo>
                    <a:pt x="228" y="372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0" y="348"/>
                  </a:lnTo>
                  <a:lnTo>
                    <a:pt x="234" y="342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46" y="330"/>
                  </a:lnTo>
                  <a:lnTo>
                    <a:pt x="246" y="324"/>
                  </a:lnTo>
                  <a:lnTo>
                    <a:pt x="234" y="318"/>
                  </a:lnTo>
                  <a:lnTo>
                    <a:pt x="234" y="312"/>
                  </a:lnTo>
                  <a:lnTo>
                    <a:pt x="234" y="300"/>
                  </a:lnTo>
                  <a:lnTo>
                    <a:pt x="240" y="288"/>
                  </a:lnTo>
                  <a:lnTo>
                    <a:pt x="240" y="276"/>
                  </a:lnTo>
                  <a:lnTo>
                    <a:pt x="246" y="258"/>
                  </a:lnTo>
                  <a:lnTo>
                    <a:pt x="258" y="252"/>
                  </a:lnTo>
                  <a:lnTo>
                    <a:pt x="270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294" y="252"/>
                  </a:lnTo>
                  <a:lnTo>
                    <a:pt x="300" y="258"/>
                  </a:lnTo>
                  <a:lnTo>
                    <a:pt x="318" y="252"/>
                  </a:lnTo>
                  <a:lnTo>
                    <a:pt x="366" y="252"/>
                  </a:lnTo>
                  <a:lnTo>
                    <a:pt x="378" y="252"/>
                  </a:lnTo>
                  <a:lnTo>
                    <a:pt x="396" y="252"/>
                  </a:lnTo>
                  <a:lnTo>
                    <a:pt x="408" y="252"/>
                  </a:lnTo>
                  <a:lnTo>
                    <a:pt x="408" y="246"/>
                  </a:lnTo>
                  <a:lnTo>
                    <a:pt x="414" y="240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20" y="216"/>
                  </a:lnTo>
                  <a:lnTo>
                    <a:pt x="426" y="210"/>
                  </a:lnTo>
                  <a:lnTo>
                    <a:pt x="444" y="198"/>
                  </a:lnTo>
                  <a:lnTo>
                    <a:pt x="462" y="198"/>
                  </a:lnTo>
                  <a:lnTo>
                    <a:pt x="474" y="204"/>
                  </a:lnTo>
                  <a:lnTo>
                    <a:pt x="498" y="198"/>
                  </a:lnTo>
                  <a:lnTo>
                    <a:pt x="498" y="204"/>
                  </a:lnTo>
                  <a:lnTo>
                    <a:pt x="540" y="210"/>
                  </a:lnTo>
                  <a:lnTo>
                    <a:pt x="564" y="210"/>
                  </a:lnTo>
                  <a:lnTo>
                    <a:pt x="588" y="210"/>
                  </a:lnTo>
                  <a:lnTo>
                    <a:pt x="612" y="210"/>
                  </a:lnTo>
                  <a:lnTo>
                    <a:pt x="612" y="216"/>
                  </a:lnTo>
                  <a:lnTo>
                    <a:pt x="618" y="222"/>
                  </a:lnTo>
                  <a:lnTo>
                    <a:pt x="618" y="228"/>
                  </a:lnTo>
                  <a:lnTo>
                    <a:pt x="624" y="240"/>
                  </a:lnTo>
                  <a:lnTo>
                    <a:pt x="624" y="246"/>
                  </a:lnTo>
                  <a:lnTo>
                    <a:pt x="630" y="252"/>
                  </a:lnTo>
                  <a:lnTo>
                    <a:pt x="630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0" y="282"/>
                  </a:lnTo>
                  <a:lnTo>
                    <a:pt x="630" y="288"/>
                  </a:lnTo>
                  <a:lnTo>
                    <a:pt x="630" y="300"/>
                  </a:lnTo>
                  <a:lnTo>
                    <a:pt x="630" y="306"/>
                  </a:lnTo>
                  <a:lnTo>
                    <a:pt x="636" y="306"/>
                  </a:lnTo>
                  <a:lnTo>
                    <a:pt x="642" y="306"/>
                  </a:lnTo>
                  <a:lnTo>
                    <a:pt x="648" y="312"/>
                  </a:lnTo>
                  <a:lnTo>
                    <a:pt x="666" y="312"/>
                  </a:lnTo>
                  <a:lnTo>
                    <a:pt x="696" y="306"/>
                  </a:lnTo>
                  <a:lnTo>
                    <a:pt x="732" y="300"/>
                  </a:lnTo>
                  <a:lnTo>
                    <a:pt x="732" y="288"/>
                  </a:lnTo>
                  <a:lnTo>
                    <a:pt x="738" y="288"/>
                  </a:lnTo>
                  <a:lnTo>
                    <a:pt x="744" y="276"/>
                  </a:lnTo>
                  <a:lnTo>
                    <a:pt x="762" y="246"/>
                  </a:lnTo>
                  <a:lnTo>
                    <a:pt x="768" y="228"/>
                  </a:lnTo>
                  <a:lnTo>
                    <a:pt x="792" y="210"/>
                  </a:lnTo>
                  <a:lnTo>
                    <a:pt x="804" y="186"/>
                  </a:lnTo>
                  <a:lnTo>
                    <a:pt x="804" y="156"/>
                  </a:lnTo>
                  <a:lnTo>
                    <a:pt x="804" y="138"/>
                  </a:lnTo>
                  <a:lnTo>
                    <a:pt x="810" y="126"/>
                  </a:lnTo>
                  <a:lnTo>
                    <a:pt x="816" y="120"/>
                  </a:lnTo>
                  <a:lnTo>
                    <a:pt x="828" y="102"/>
                  </a:lnTo>
                  <a:lnTo>
                    <a:pt x="834" y="96"/>
                  </a:lnTo>
                  <a:lnTo>
                    <a:pt x="846" y="102"/>
                  </a:lnTo>
                  <a:lnTo>
                    <a:pt x="852" y="96"/>
                  </a:lnTo>
                  <a:lnTo>
                    <a:pt x="858" y="72"/>
                  </a:lnTo>
                  <a:lnTo>
                    <a:pt x="864" y="60"/>
                  </a:lnTo>
                  <a:lnTo>
                    <a:pt x="882" y="48"/>
                  </a:lnTo>
                  <a:lnTo>
                    <a:pt x="906" y="36"/>
                  </a:lnTo>
                  <a:lnTo>
                    <a:pt x="918" y="12"/>
                  </a:lnTo>
                  <a:lnTo>
                    <a:pt x="924" y="0"/>
                  </a:lnTo>
                  <a:lnTo>
                    <a:pt x="930" y="6"/>
                  </a:lnTo>
                  <a:lnTo>
                    <a:pt x="942" y="12"/>
                  </a:lnTo>
                  <a:lnTo>
                    <a:pt x="948" y="12"/>
                  </a:lnTo>
                  <a:lnTo>
                    <a:pt x="954" y="18"/>
                  </a:lnTo>
                  <a:lnTo>
                    <a:pt x="966" y="18"/>
                  </a:lnTo>
                  <a:lnTo>
                    <a:pt x="972" y="18"/>
                  </a:lnTo>
                  <a:lnTo>
                    <a:pt x="984" y="18"/>
                  </a:lnTo>
                  <a:lnTo>
                    <a:pt x="990" y="18"/>
                  </a:lnTo>
                  <a:lnTo>
                    <a:pt x="1002" y="48"/>
                  </a:lnTo>
                  <a:lnTo>
                    <a:pt x="1008" y="78"/>
                  </a:lnTo>
                  <a:lnTo>
                    <a:pt x="1020" y="78"/>
                  </a:lnTo>
                  <a:lnTo>
                    <a:pt x="1020" y="90"/>
                  </a:lnTo>
                  <a:lnTo>
                    <a:pt x="1026" y="102"/>
                  </a:lnTo>
                  <a:lnTo>
                    <a:pt x="1044" y="120"/>
                  </a:lnTo>
                  <a:lnTo>
                    <a:pt x="1044" y="132"/>
                  </a:lnTo>
                  <a:lnTo>
                    <a:pt x="1056" y="150"/>
                  </a:lnTo>
                  <a:lnTo>
                    <a:pt x="1050" y="150"/>
                  </a:lnTo>
                  <a:lnTo>
                    <a:pt x="1044" y="156"/>
                  </a:lnTo>
                  <a:lnTo>
                    <a:pt x="1044" y="162"/>
                  </a:lnTo>
                  <a:lnTo>
                    <a:pt x="1038" y="162"/>
                  </a:lnTo>
                  <a:lnTo>
                    <a:pt x="1032" y="162"/>
                  </a:lnTo>
                  <a:lnTo>
                    <a:pt x="1026" y="168"/>
                  </a:lnTo>
                  <a:lnTo>
                    <a:pt x="1014" y="174"/>
                  </a:lnTo>
                  <a:lnTo>
                    <a:pt x="1014" y="186"/>
                  </a:lnTo>
                  <a:lnTo>
                    <a:pt x="1014" y="192"/>
                  </a:lnTo>
                  <a:lnTo>
                    <a:pt x="1014" y="198"/>
                  </a:lnTo>
                  <a:lnTo>
                    <a:pt x="1020" y="204"/>
                  </a:lnTo>
                  <a:lnTo>
                    <a:pt x="1026" y="204"/>
                  </a:lnTo>
                  <a:lnTo>
                    <a:pt x="1032" y="204"/>
                  </a:lnTo>
                  <a:lnTo>
                    <a:pt x="1032" y="210"/>
                  </a:lnTo>
                  <a:lnTo>
                    <a:pt x="1038" y="210"/>
                  </a:lnTo>
                  <a:lnTo>
                    <a:pt x="1032" y="216"/>
                  </a:lnTo>
                  <a:lnTo>
                    <a:pt x="1026" y="228"/>
                  </a:lnTo>
                  <a:lnTo>
                    <a:pt x="1026" y="234"/>
                  </a:lnTo>
                  <a:lnTo>
                    <a:pt x="1032" y="240"/>
                  </a:lnTo>
                  <a:lnTo>
                    <a:pt x="1032" y="246"/>
                  </a:lnTo>
                  <a:lnTo>
                    <a:pt x="1032" y="252"/>
                  </a:lnTo>
                  <a:lnTo>
                    <a:pt x="1032" y="258"/>
                  </a:lnTo>
                  <a:lnTo>
                    <a:pt x="1038" y="264"/>
                  </a:lnTo>
                  <a:lnTo>
                    <a:pt x="1032" y="276"/>
                  </a:lnTo>
                  <a:lnTo>
                    <a:pt x="1026" y="276"/>
                  </a:lnTo>
                  <a:lnTo>
                    <a:pt x="1020" y="276"/>
                  </a:lnTo>
                  <a:lnTo>
                    <a:pt x="996" y="282"/>
                  </a:lnTo>
                  <a:lnTo>
                    <a:pt x="996" y="288"/>
                  </a:lnTo>
                  <a:lnTo>
                    <a:pt x="996" y="294"/>
                  </a:lnTo>
                  <a:lnTo>
                    <a:pt x="996" y="300"/>
                  </a:lnTo>
                  <a:lnTo>
                    <a:pt x="996" y="306"/>
                  </a:lnTo>
                  <a:lnTo>
                    <a:pt x="984" y="324"/>
                  </a:lnTo>
                  <a:lnTo>
                    <a:pt x="984" y="330"/>
                  </a:lnTo>
                  <a:lnTo>
                    <a:pt x="984" y="336"/>
                  </a:lnTo>
                  <a:lnTo>
                    <a:pt x="978" y="336"/>
                  </a:lnTo>
                  <a:lnTo>
                    <a:pt x="978" y="342"/>
                  </a:lnTo>
                  <a:lnTo>
                    <a:pt x="984" y="360"/>
                  </a:lnTo>
                  <a:lnTo>
                    <a:pt x="978" y="366"/>
                  </a:lnTo>
                  <a:lnTo>
                    <a:pt x="978" y="372"/>
                  </a:lnTo>
                  <a:lnTo>
                    <a:pt x="972" y="372"/>
                  </a:lnTo>
                  <a:lnTo>
                    <a:pt x="972" y="378"/>
                  </a:lnTo>
                  <a:lnTo>
                    <a:pt x="972" y="384"/>
                  </a:lnTo>
                  <a:lnTo>
                    <a:pt x="972" y="390"/>
                  </a:lnTo>
                  <a:lnTo>
                    <a:pt x="966" y="402"/>
                  </a:lnTo>
                  <a:lnTo>
                    <a:pt x="960" y="414"/>
                  </a:lnTo>
                  <a:lnTo>
                    <a:pt x="954" y="420"/>
                  </a:lnTo>
                  <a:lnTo>
                    <a:pt x="948" y="426"/>
                  </a:lnTo>
                  <a:lnTo>
                    <a:pt x="948" y="438"/>
                  </a:lnTo>
                  <a:lnTo>
                    <a:pt x="942" y="444"/>
                  </a:lnTo>
                  <a:lnTo>
                    <a:pt x="936" y="450"/>
                  </a:lnTo>
                  <a:lnTo>
                    <a:pt x="930" y="456"/>
                  </a:lnTo>
                  <a:lnTo>
                    <a:pt x="924" y="462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18" y="522"/>
                  </a:lnTo>
                  <a:lnTo>
                    <a:pt x="918" y="528"/>
                  </a:lnTo>
                  <a:lnTo>
                    <a:pt x="924" y="534"/>
                  </a:lnTo>
                  <a:lnTo>
                    <a:pt x="924" y="540"/>
                  </a:lnTo>
                  <a:lnTo>
                    <a:pt x="924" y="546"/>
                  </a:lnTo>
                  <a:lnTo>
                    <a:pt x="918" y="546"/>
                  </a:lnTo>
                  <a:lnTo>
                    <a:pt x="918" y="552"/>
                  </a:lnTo>
                  <a:lnTo>
                    <a:pt x="912" y="546"/>
                  </a:lnTo>
                  <a:lnTo>
                    <a:pt x="912" y="552"/>
                  </a:lnTo>
                  <a:lnTo>
                    <a:pt x="912" y="570"/>
                  </a:lnTo>
                  <a:lnTo>
                    <a:pt x="906" y="588"/>
                  </a:lnTo>
                  <a:lnTo>
                    <a:pt x="900" y="606"/>
                  </a:lnTo>
                  <a:lnTo>
                    <a:pt x="906" y="624"/>
                  </a:lnTo>
                  <a:lnTo>
                    <a:pt x="900" y="624"/>
                  </a:lnTo>
                  <a:lnTo>
                    <a:pt x="894" y="630"/>
                  </a:lnTo>
                  <a:lnTo>
                    <a:pt x="888" y="630"/>
                  </a:lnTo>
                  <a:lnTo>
                    <a:pt x="882" y="630"/>
                  </a:lnTo>
                  <a:lnTo>
                    <a:pt x="882" y="636"/>
                  </a:lnTo>
                  <a:lnTo>
                    <a:pt x="876" y="642"/>
                  </a:lnTo>
                  <a:lnTo>
                    <a:pt x="870" y="642"/>
                  </a:lnTo>
                  <a:lnTo>
                    <a:pt x="870" y="648"/>
                  </a:lnTo>
                  <a:lnTo>
                    <a:pt x="870" y="654"/>
                  </a:lnTo>
                  <a:lnTo>
                    <a:pt x="864" y="654"/>
                  </a:lnTo>
                  <a:lnTo>
                    <a:pt x="864" y="660"/>
                  </a:lnTo>
                  <a:lnTo>
                    <a:pt x="846" y="666"/>
                  </a:lnTo>
                  <a:lnTo>
                    <a:pt x="828" y="672"/>
                  </a:lnTo>
                  <a:lnTo>
                    <a:pt x="816" y="660"/>
                  </a:lnTo>
                  <a:lnTo>
                    <a:pt x="810" y="660"/>
                  </a:lnTo>
                  <a:lnTo>
                    <a:pt x="798" y="666"/>
                  </a:lnTo>
                  <a:lnTo>
                    <a:pt x="786" y="666"/>
                  </a:lnTo>
                  <a:lnTo>
                    <a:pt x="780" y="672"/>
                  </a:lnTo>
                  <a:lnTo>
                    <a:pt x="768" y="678"/>
                  </a:lnTo>
                  <a:lnTo>
                    <a:pt x="762" y="660"/>
                  </a:lnTo>
                  <a:lnTo>
                    <a:pt x="762" y="654"/>
                  </a:lnTo>
                  <a:lnTo>
                    <a:pt x="756" y="636"/>
                  </a:lnTo>
                  <a:lnTo>
                    <a:pt x="762" y="624"/>
                  </a:lnTo>
                  <a:lnTo>
                    <a:pt x="756" y="606"/>
                  </a:lnTo>
                  <a:lnTo>
                    <a:pt x="756" y="600"/>
                  </a:lnTo>
                  <a:lnTo>
                    <a:pt x="762" y="594"/>
                  </a:lnTo>
                  <a:lnTo>
                    <a:pt x="768" y="600"/>
                  </a:lnTo>
                  <a:lnTo>
                    <a:pt x="768" y="594"/>
                  </a:lnTo>
                  <a:lnTo>
                    <a:pt x="768" y="588"/>
                  </a:lnTo>
                  <a:lnTo>
                    <a:pt x="774" y="582"/>
                  </a:lnTo>
                  <a:lnTo>
                    <a:pt x="768" y="576"/>
                  </a:lnTo>
                  <a:lnTo>
                    <a:pt x="762" y="576"/>
                  </a:lnTo>
                  <a:lnTo>
                    <a:pt x="756" y="576"/>
                  </a:lnTo>
                  <a:lnTo>
                    <a:pt x="690" y="576"/>
                  </a:lnTo>
                  <a:lnTo>
                    <a:pt x="624" y="570"/>
                  </a:lnTo>
                  <a:lnTo>
                    <a:pt x="600" y="564"/>
                  </a:lnTo>
                  <a:lnTo>
                    <a:pt x="576" y="564"/>
                  </a:lnTo>
                  <a:lnTo>
                    <a:pt x="558" y="570"/>
                  </a:lnTo>
                  <a:lnTo>
                    <a:pt x="552" y="576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46" y="594"/>
                  </a:lnTo>
                  <a:lnTo>
                    <a:pt x="546" y="600"/>
                  </a:lnTo>
                  <a:lnTo>
                    <a:pt x="540" y="606"/>
                  </a:lnTo>
                  <a:lnTo>
                    <a:pt x="534" y="618"/>
                  </a:lnTo>
                  <a:lnTo>
                    <a:pt x="534" y="624"/>
                  </a:lnTo>
                  <a:lnTo>
                    <a:pt x="534" y="630"/>
                  </a:lnTo>
                  <a:lnTo>
                    <a:pt x="534" y="636"/>
                  </a:lnTo>
                  <a:lnTo>
                    <a:pt x="528" y="636"/>
                  </a:lnTo>
                  <a:lnTo>
                    <a:pt x="516" y="642"/>
                  </a:lnTo>
                  <a:lnTo>
                    <a:pt x="516" y="648"/>
                  </a:lnTo>
                  <a:lnTo>
                    <a:pt x="510" y="648"/>
                  </a:lnTo>
                  <a:lnTo>
                    <a:pt x="504" y="654"/>
                  </a:lnTo>
                  <a:lnTo>
                    <a:pt x="492" y="666"/>
                  </a:lnTo>
                  <a:lnTo>
                    <a:pt x="492" y="672"/>
                  </a:lnTo>
                  <a:lnTo>
                    <a:pt x="492" y="684"/>
                  </a:lnTo>
                  <a:lnTo>
                    <a:pt x="486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92" y="702"/>
                  </a:lnTo>
                  <a:lnTo>
                    <a:pt x="486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74" y="720"/>
                  </a:lnTo>
                  <a:lnTo>
                    <a:pt x="480" y="726"/>
                  </a:lnTo>
                  <a:lnTo>
                    <a:pt x="474" y="726"/>
                  </a:lnTo>
                  <a:lnTo>
                    <a:pt x="474" y="738"/>
                  </a:lnTo>
                  <a:lnTo>
                    <a:pt x="474" y="744"/>
                  </a:lnTo>
                  <a:lnTo>
                    <a:pt x="474" y="750"/>
                  </a:lnTo>
                  <a:lnTo>
                    <a:pt x="480" y="750"/>
                  </a:lnTo>
                  <a:lnTo>
                    <a:pt x="480" y="756"/>
                  </a:lnTo>
                  <a:lnTo>
                    <a:pt x="492" y="762"/>
                  </a:lnTo>
                  <a:lnTo>
                    <a:pt x="498" y="774"/>
                  </a:lnTo>
                  <a:lnTo>
                    <a:pt x="498" y="780"/>
                  </a:lnTo>
                  <a:lnTo>
                    <a:pt x="504" y="786"/>
                  </a:lnTo>
                  <a:lnTo>
                    <a:pt x="510" y="792"/>
                  </a:lnTo>
                  <a:lnTo>
                    <a:pt x="504" y="798"/>
                  </a:lnTo>
                  <a:lnTo>
                    <a:pt x="504" y="804"/>
                  </a:lnTo>
                  <a:lnTo>
                    <a:pt x="504" y="810"/>
                  </a:lnTo>
                  <a:lnTo>
                    <a:pt x="498" y="822"/>
                  </a:lnTo>
                  <a:lnTo>
                    <a:pt x="492" y="828"/>
                  </a:lnTo>
                  <a:lnTo>
                    <a:pt x="492" y="834"/>
                  </a:lnTo>
                  <a:lnTo>
                    <a:pt x="486" y="840"/>
                  </a:lnTo>
                  <a:lnTo>
                    <a:pt x="480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74" y="858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876"/>
                  </a:lnTo>
                  <a:lnTo>
                    <a:pt x="456" y="894"/>
                  </a:lnTo>
                  <a:lnTo>
                    <a:pt x="450" y="894"/>
                  </a:lnTo>
                  <a:lnTo>
                    <a:pt x="444" y="900"/>
                  </a:lnTo>
                  <a:lnTo>
                    <a:pt x="444" y="894"/>
                  </a:lnTo>
                  <a:lnTo>
                    <a:pt x="438" y="894"/>
                  </a:lnTo>
                  <a:lnTo>
                    <a:pt x="432" y="900"/>
                  </a:lnTo>
                  <a:lnTo>
                    <a:pt x="432" y="906"/>
                  </a:lnTo>
                  <a:lnTo>
                    <a:pt x="420" y="906"/>
                  </a:lnTo>
                  <a:lnTo>
                    <a:pt x="420" y="912"/>
                  </a:lnTo>
                  <a:lnTo>
                    <a:pt x="420" y="918"/>
                  </a:lnTo>
                  <a:lnTo>
                    <a:pt x="426" y="918"/>
                  </a:lnTo>
                  <a:lnTo>
                    <a:pt x="426" y="924"/>
                  </a:lnTo>
                  <a:lnTo>
                    <a:pt x="426" y="930"/>
                  </a:lnTo>
                  <a:lnTo>
                    <a:pt x="420" y="930"/>
                  </a:lnTo>
                  <a:lnTo>
                    <a:pt x="414" y="936"/>
                  </a:lnTo>
                  <a:lnTo>
                    <a:pt x="414" y="942"/>
                  </a:lnTo>
                  <a:lnTo>
                    <a:pt x="414" y="948"/>
                  </a:lnTo>
                  <a:lnTo>
                    <a:pt x="414" y="954"/>
                  </a:lnTo>
                  <a:lnTo>
                    <a:pt x="426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44" y="972"/>
                  </a:lnTo>
                  <a:lnTo>
                    <a:pt x="444" y="978"/>
                  </a:lnTo>
                  <a:lnTo>
                    <a:pt x="450" y="978"/>
                  </a:lnTo>
                  <a:lnTo>
                    <a:pt x="450" y="984"/>
                  </a:lnTo>
                  <a:lnTo>
                    <a:pt x="456" y="990"/>
                  </a:lnTo>
                  <a:lnTo>
                    <a:pt x="456" y="996"/>
                  </a:lnTo>
                  <a:lnTo>
                    <a:pt x="462" y="1008"/>
                  </a:lnTo>
                  <a:lnTo>
                    <a:pt x="468" y="1008"/>
                  </a:lnTo>
                  <a:lnTo>
                    <a:pt x="468" y="1002"/>
                  </a:lnTo>
                  <a:lnTo>
                    <a:pt x="474" y="1008"/>
                  </a:lnTo>
                  <a:lnTo>
                    <a:pt x="480" y="1002"/>
                  </a:lnTo>
                  <a:lnTo>
                    <a:pt x="486" y="1008"/>
                  </a:lnTo>
                  <a:lnTo>
                    <a:pt x="486" y="1014"/>
                  </a:lnTo>
                  <a:lnTo>
                    <a:pt x="492" y="1014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86" y="1026"/>
                  </a:lnTo>
                  <a:lnTo>
                    <a:pt x="492" y="1026"/>
                  </a:lnTo>
                  <a:lnTo>
                    <a:pt x="486" y="1026"/>
                  </a:lnTo>
                  <a:lnTo>
                    <a:pt x="492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5" name="Freeform 30">
              <a:extLst>
                <a:ext uri="{FF2B5EF4-FFF2-40B4-BE49-F238E27FC236}">
                  <a16:creationId xmlns:a16="http://schemas.microsoft.com/office/drawing/2014/main" id="{85C7B827-0C1A-4D72-AEBD-F01CFE7EC12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3645" y="3904484"/>
              <a:ext cx="559048" cy="111825"/>
            </a:xfrm>
            <a:custGeom>
              <a:avLst/>
              <a:gdLst>
                <a:gd name="T0" fmla="*/ 69 w 1056"/>
                <a:gd name="T1" fmla="*/ 7 h 210"/>
                <a:gd name="T2" fmla="*/ 63 w 1056"/>
                <a:gd name="T3" fmla="*/ 5 h 210"/>
                <a:gd name="T4" fmla="*/ 57 w 1056"/>
                <a:gd name="T5" fmla="*/ 5 h 210"/>
                <a:gd name="T6" fmla="*/ 54 w 1056"/>
                <a:gd name="T7" fmla="*/ 6 h 210"/>
                <a:gd name="T8" fmla="*/ 51 w 1056"/>
                <a:gd name="T9" fmla="*/ 7 h 210"/>
                <a:gd name="T10" fmla="*/ 46 w 1056"/>
                <a:gd name="T11" fmla="*/ 9 h 210"/>
                <a:gd name="T12" fmla="*/ 42 w 1056"/>
                <a:gd name="T13" fmla="*/ 8 h 210"/>
                <a:gd name="T14" fmla="*/ 42 w 1056"/>
                <a:gd name="T15" fmla="*/ 5 h 210"/>
                <a:gd name="T16" fmla="*/ 41 w 1056"/>
                <a:gd name="T17" fmla="*/ 7 h 210"/>
                <a:gd name="T18" fmla="*/ 38 w 1056"/>
                <a:gd name="T19" fmla="*/ 10 h 210"/>
                <a:gd name="T20" fmla="*/ 37 w 1056"/>
                <a:gd name="T21" fmla="*/ 12 h 210"/>
                <a:gd name="T22" fmla="*/ 37 w 1056"/>
                <a:gd name="T23" fmla="*/ 15 h 210"/>
                <a:gd name="T24" fmla="*/ 37 w 1056"/>
                <a:gd name="T25" fmla="*/ 16 h 210"/>
                <a:gd name="T26" fmla="*/ 38 w 1056"/>
                <a:gd name="T27" fmla="*/ 16 h 210"/>
                <a:gd name="T28" fmla="*/ 34 w 1056"/>
                <a:gd name="T29" fmla="*/ 16 h 210"/>
                <a:gd name="T30" fmla="*/ 26 w 1056"/>
                <a:gd name="T31" fmla="*/ 16 h 210"/>
                <a:gd name="T32" fmla="*/ 20 w 1056"/>
                <a:gd name="T33" fmla="*/ 17 h 210"/>
                <a:gd name="T34" fmla="*/ 13 w 1056"/>
                <a:gd name="T35" fmla="*/ 17 h 210"/>
                <a:gd name="T36" fmla="*/ 6 w 1056"/>
                <a:gd name="T37" fmla="*/ 17 h 210"/>
                <a:gd name="T38" fmla="*/ 1 w 1056"/>
                <a:gd name="T39" fmla="*/ 18 h 210"/>
                <a:gd name="T40" fmla="*/ 3 w 1056"/>
                <a:gd name="T41" fmla="*/ 14 h 210"/>
                <a:gd name="T42" fmla="*/ 8 w 1056"/>
                <a:gd name="T43" fmla="*/ 15 h 210"/>
                <a:gd name="T44" fmla="*/ 11 w 1056"/>
                <a:gd name="T45" fmla="*/ 12 h 210"/>
                <a:gd name="T46" fmla="*/ 26 w 1056"/>
                <a:gd name="T47" fmla="*/ 10 h 210"/>
                <a:gd name="T48" fmla="*/ 29 w 1056"/>
                <a:gd name="T49" fmla="*/ 5 h 210"/>
                <a:gd name="T50" fmla="*/ 34 w 1056"/>
                <a:gd name="T51" fmla="*/ 1 h 210"/>
                <a:gd name="T52" fmla="*/ 41 w 1056"/>
                <a:gd name="T53" fmla="*/ 3 h 210"/>
                <a:gd name="T54" fmla="*/ 73 w 1056"/>
                <a:gd name="T55" fmla="*/ 1 h 210"/>
                <a:gd name="T56" fmla="*/ 75 w 1056"/>
                <a:gd name="T57" fmla="*/ 4 h 210"/>
                <a:gd name="T58" fmla="*/ 85 w 1056"/>
                <a:gd name="T59" fmla="*/ 15 h 210"/>
                <a:gd name="T60" fmla="*/ 91 w 1056"/>
                <a:gd name="T61" fmla="*/ 18 h 210"/>
                <a:gd name="T62" fmla="*/ 85 w 1056"/>
                <a:gd name="T63" fmla="*/ 18 h 210"/>
                <a:gd name="T64" fmla="*/ 79 w 1056"/>
                <a:gd name="T65" fmla="*/ 16 h 210"/>
                <a:gd name="T66" fmla="*/ 74 w 1056"/>
                <a:gd name="T67" fmla="*/ 16 h 210"/>
                <a:gd name="T68" fmla="*/ 69 w 1056"/>
                <a:gd name="T69" fmla="*/ 15 h 210"/>
                <a:gd name="T70" fmla="*/ 65 w 1056"/>
                <a:gd name="T71" fmla="*/ 14 h 210"/>
                <a:gd name="T72" fmla="*/ 59 w 1056"/>
                <a:gd name="T73" fmla="*/ 15 h 210"/>
                <a:gd name="T74" fmla="*/ 54 w 1056"/>
                <a:gd name="T75" fmla="*/ 15 h 210"/>
                <a:gd name="T76" fmla="*/ 49 w 1056"/>
                <a:gd name="T77" fmla="*/ 15 h 210"/>
                <a:gd name="T78" fmla="*/ 42 w 1056"/>
                <a:gd name="T79" fmla="*/ 15 h 210"/>
                <a:gd name="T80" fmla="*/ 38 w 1056"/>
                <a:gd name="T81" fmla="*/ 16 h 210"/>
                <a:gd name="T82" fmla="*/ 41 w 1056"/>
                <a:gd name="T83" fmla="*/ 14 h 210"/>
                <a:gd name="T84" fmla="*/ 42 w 1056"/>
                <a:gd name="T85" fmla="*/ 13 h 210"/>
                <a:gd name="T86" fmla="*/ 45 w 1056"/>
                <a:gd name="T87" fmla="*/ 13 h 210"/>
                <a:gd name="T88" fmla="*/ 48 w 1056"/>
                <a:gd name="T89" fmla="*/ 12 h 210"/>
                <a:gd name="T90" fmla="*/ 51 w 1056"/>
                <a:gd name="T91" fmla="*/ 11 h 210"/>
                <a:gd name="T92" fmla="*/ 54 w 1056"/>
                <a:gd name="T93" fmla="*/ 9 h 210"/>
                <a:gd name="T94" fmla="*/ 57 w 1056"/>
                <a:gd name="T95" fmla="*/ 8 h 210"/>
                <a:gd name="T96" fmla="*/ 60 w 1056"/>
                <a:gd name="T97" fmla="*/ 5 h 210"/>
                <a:gd name="T98" fmla="*/ 65 w 1056"/>
                <a:gd name="T99" fmla="*/ 5 h 210"/>
                <a:gd name="T100" fmla="*/ 72 w 1056"/>
                <a:gd name="T101" fmla="*/ 7 h 210"/>
                <a:gd name="T102" fmla="*/ 77 w 1056"/>
                <a:gd name="T103" fmla="*/ 11 h 210"/>
                <a:gd name="T104" fmla="*/ 69 w 1056"/>
                <a:gd name="T105" fmla="*/ 10 h 210"/>
                <a:gd name="T106" fmla="*/ 72 w 1056"/>
                <a:gd name="T107" fmla="*/ 12 h 210"/>
                <a:gd name="T108" fmla="*/ 78 w 1056"/>
                <a:gd name="T109" fmla="*/ 15 h 210"/>
                <a:gd name="T110" fmla="*/ 84 w 1056"/>
                <a:gd name="T111" fmla="*/ 14 h 210"/>
                <a:gd name="T112" fmla="*/ 84 w 1056"/>
                <a:gd name="T113" fmla="*/ 14 h 210"/>
                <a:gd name="T114" fmla="*/ 78 w 1056"/>
                <a:gd name="T115" fmla="*/ 13 h 210"/>
                <a:gd name="T116" fmla="*/ 76 w 1056"/>
                <a:gd name="T117" fmla="*/ 14 h 210"/>
                <a:gd name="T118" fmla="*/ 38 w 1056"/>
                <a:gd name="T119" fmla="*/ 12 h 210"/>
                <a:gd name="T120" fmla="*/ 41 w 1056"/>
                <a:gd name="T121" fmla="*/ 12 h 210"/>
                <a:gd name="T122" fmla="*/ 40 w 1056"/>
                <a:gd name="T123" fmla="*/ 14 h 2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6"/>
                <a:gd name="T187" fmla="*/ 0 h 210"/>
                <a:gd name="T188" fmla="*/ 1056 w 1056"/>
                <a:gd name="T189" fmla="*/ 210 h 21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6" h="210">
                  <a:moveTo>
                    <a:pt x="870" y="90"/>
                  </a:moveTo>
                  <a:lnTo>
                    <a:pt x="864" y="90"/>
                  </a:lnTo>
                  <a:lnTo>
                    <a:pt x="852" y="84"/>
                  </a:lnTo>
                  <a:lnTo>
                    <a:pt x="846" y="84"/>
                  </a:lnTo>
                  <a:lnTo>
                    <a:pt x="846" y="78"/>
                  </a:lnTo>
                  <a:lnTo>
                    <a:pt x="840" y="78"/>
                  </a:lnTo>
                  <a:lnTo>
                    <a:pt x="834" y="78"/>
                  </a:lnTo>
                  <a:lnTo>
                    <a:pt x="834" y="72"/>
                  </a:lnTo>
                  <a:lnTo>
                    <a:pt x="804" y="78"/>
                  </a:lnTo>
                  <a:lnTo>
                    <a:pt x="798" y="78"/>
                  </a:lnTo>
                  <a:lnTo>
                    <a:pt x="792" y="72"/>
                  </a:lnTo>
                  <a:lnTo>
                    <a:pt x="780" y="60"/>
                  </a:lnTo>
                  <a:lnTo>
                    <a:pt x="768" y="54"/>
                  </a:lnTo>
                  <a:lnTo>
                    <a:pt x="756" y="54"/>
                  </a:lnTo>
                  <a:lnTo>
                    <a:pt x="750" y="54"/>
                  </a:lnTo>
                  <a:lnTo>
                    <a:pt x="750" y="48"/>
                  </a:lnTo>
                  <a:lnTo>
                    <a:pt x="744" y="48"/>
                  </a:lnTo>
                  <a:lnTo>
                    <a:pt x="738" y="48"/>
                  </a:lnTo>
                  <a:lnTo>
                    <a:pt x="732" y="48"/>
                  </a:lnTo>
                  <a:lnTo>
                    <a:pt x="732" y="54"/>
                  </a:lnTo>
                  <a:lnTo>
                    <a:pt x="726" y="48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48"/>
                  </a:lnTo>
                  <a:lnTo>
                    <a:pt x="702" y="48"/>
                  </a:lnTo>
                  <a:lnTo>
                    <a:pt x="696" y="48"/>
                  </a:lnTo>
                  <a:lnTo>
                    <a:pt x="684" y="48"/>
                  </a:lnTo>
                  <a:lnTo>
                    <a:pt x="678" y="48"/>
                  </a:lnTo>
                  <a:lnTo>
                    <a:pt x="672" y="48"/>
                  </a:lnTo>
                  <a:lnTo>
                    <a:pt x="666" y="54"/>
                  </a:lnTo>
                  <a:lnTo>
                    <a:pt x="660" y="54"/>
                  </a:lnTo>
                  <a:lnTo>
                    <a:pt x="660" y="48"/>
                  </a:lnTo>
                  <a:lnTo>
                    <a:pt x="654" y="48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42" y="54"/>
                  </a:lnTo>
                  <a:lnTo>
                    <a:pt x="63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30" y="66"/>
                  </a:lnTo>
                  <a:lnTo>
                    <a:pt x="624" y="66"/>
                  </a:lnTo>
                  <a:lnTo>
                    <a:pt x="618" y="66"/>
                  </a:lnTo>
                  <a:lnTo>
                    <a:pt x="618" y="72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6" y="84"/>
                  </a:lnTo>
                  <a:lnTo>
                    <a:pt x="600" y="84"/>
                  </a:lnTo>
                  <a:lnTo>
                    <a:pt x="594" y="90"/>
                  </a:lnTo>
                  <a:lnTo>
                    <a:pt x="588" y="90"/>
                  </a:lnTo>
                  <a:lnTo>
                    <a:pt x="588" y="84"/>
                  </a:lnTo>
                  <a:lnTo>
                    <a:pt x="582" y="84"/>
                  </a:lnTo>
                  <a:lnTo>
                    <a:pt x="576" y="84"/>
                  </a:lnTo>
                  <a:lnTo>
                    <a:pt x="570" y="84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58" y="96"/>
                  </a:lnTo>
                  <a:lnTo>
                    <a:pt x="552" y="96"/>
                  </a:lnTo>
                  <a:lnTo>
                    <a:pt x="546" y="102"/>
                  </a:lnTo>
                  <a:lnTo>
                    <a:pt x="540" y="102"/>
                  </a:lnTo>
                  <a:lnTo>
                    <a:pt x="534" y="102"/>
                  </a:lnTo>
                  <a:lnTo>
                    <a:pt x="528" y="102"/>
                  </a:lnTo>
                  <a:lnTo>
                    <a:pt x="528" y="108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16" y="102"/>
                  </a:lnTo>
                  <a:lnTo>
                    <a:pt x="510" y="102"/>
                  </a:lnTo>
                  <a:lnTo>
                    <a:pt x="504" y="102"/>
                  </a:lnTo>
                  <a:lnTo>
                    <a:pt x="498" y="102"/>
                  </a:lnTo>
                  <a:lnTo>
                    <a:pt x="498" y="96"/>
                  </a:lnTo>
                  <a:lnTo>
                    <a:pt x="492" y="96"/>
                  </a:lnTo>
                  <a:lnTo>
                    <a:pt x="492" y="90"/>
                  </a:lnTo>
                  <a:lnTo>
                    <a:pt x="492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498" y="66"/>
                  </a:lnTo>
                  <a:lnTo>
                    <a:pt x="504" y="60"/>
                  </a:lnTo>
                  <a:lnTo>
                    <a:pt x="498" y="60"/>
                  </a:lnTo>
                  <a:lnTo>
                    <a:pt x="498" y="54"/>
                  </a:lnTo>
                  <a:lnTo>
                    <a:pt x="492" y="54"/>
                  </a:lnTo>
                  <a:lnTo>
                    <a:pt x="492" y="60"/>
                  </a:lnTo>
                  <a:lnTo>
                    <a:pt x="486" y="60"/>
                  </a:lnTo>
                  <a:lnTo>
                    <a:pt x="486" y="66"/>
                  </a:lnTo>
                  <a:lnTo>
                    <a:pt x="480" y="66"/>
                  </a:lnTo>
                  <a:lnTo>
                    <a:pt x="474" y="72"/>
                  </a:lnTo>
                  <a:lnTo>
                    <a:pt x="474" y="66"/>
                  </a:lnTo>
                  <a:lnTo>
                    <a:pt x="474" y="72"/>
                  </a:lnTo>
                  <a:lnTo>
                    <a:pt x="468" y="72"/>
                  </a:lnTo>
                  <a:lnTo>
                    <a:pt x="468" y="78"/>
                  </a:lnTo>
                  <a:lnTo>
                    <a:pt x="468" y="84"/>
                  </a:lnTo>
                  <a:lnTo>
                    <a:pt x="462" y="90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0" y="84"/>
                  </a:lnTo>
                  <a:lnTo>
                    <a:pt x="450" y="90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44" y="102"/>
                  </a:lnTo>
                  <a:lnTo>
                    <a:pt x="444" y="108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38" y="126"/>
                  </a:lnTo>
                  <a:lnTo>
                    <a:pt x="438" y="132"/>
                  </a:lnTo>
                  <a:lnTo>
                    <a:pt x="438" y="138"/>
                  </a:lnTo>
                  <a:lnTo>
                    <a:pt x="438" y="144"/>
                  </a:lnTo>
                  <a:lnTo>
                    <a:pt x="432" y="144"/>
                  </a:lnTo>
                  <a:lnTo>
                    <a:pt x="432" y="150"/>
                  </a:lnTo>
                  <a:lnTo>
                    <a:pt x="432" y="144"/>
                  </a:lnTo>
                  <a:lnTo>
                    <a:pt x="426" y="144"/>
                  </a:lnTo>
                  <a:lnTo>
                    <a:pt x="426" y="150"/>
                  </a:lnTo>
                  <a:lnTo>
                    <a:pt x="426" y="156"/>
                  </a:lnTo>
                  <a:lnTo>
                    <a:pt x="432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2"/>
                  </a:lnTo>
                  <a:lnTo>
                    <a:pt x="432" y="168"/>
                  </a:lnTo>
                  <a:lnTo>
                    <a:pt x="426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44" y="168"/>
                  </a:lnTo>
                  <a:lnTo>
                    <a:pt x="444" y="174"/>
                  </a:lnTo>
                  <a:lnTo>
                    <a:pt x="444" y="180"/>
                  </a:lnTo>
                  <a:lnTo>
                    <a:pt x="444" y="186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2" y="192"/>
                  </a:lnTo>
                  <a:lnTo>
                    <a:pt x="426" y="192"/>
                  </a:lnTo>
                  <a:lnTo>
                    <a:pt x="420" y="186"/>
                  </a:lnTo>
                  <a:lnTo>
                    <a:pt x="414" y="186"/>
                  </a:lnTo>
                  <a:lnTo>
                    <a:pt x="408" y="186"/>
                  </a:lnTo>
                  <a:lnTo>
                    <a:pt x="402" y="186"/>
                  </a:lnTo>
                  <a:lnTo>
                    <a:pt x="396" y="186"/>
                  </a:lnTo>
                  <a:lnTo>
                    <a:pt x="390" y="186"/>
                  </a:lnTo>
                  <a:lnTo>
                    <a:pt x="384" y="186"/>
                  </a:lnTo>
                  <a:lnTo>
                    <a:pt x="378" y="186"/>
                  </a:lnTo>
                  <a:lnTo>
                    <a:pt x="372" y="186"/>
                  </a:lnTo>
                  <a:lnTo>
                    <a:pt x="354" y="186"/>
                  </a:lnTo>
                  <a:lnTo>
                    <a:pt x="342" y="186"/>
                  </a:lnTo>
                  <a:lnTo>
                    <a:pt x="324" y="186"/>
                  </a:lnTo>
                  <a:lnTo>
                    <a:pt x="312" y="186"/>
                  </a:lnTo>
                  <a:lnTo>
                    <a:pt x="306" y="186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82" y="186"/>
                  </a:lnTo>
                  <a:lnTo>
                    <a:pt x="270" y="186"/>
                  </a:lnTo>
                  <a:lnTo>
                    <a:pt x="264" y="186"/>
                  </a:lnTo>
                  <a:lnTo>
                    <a:pt x="258" y="192"/>
                  </a:lnTo>
                  <a:lnTo>
                    <a:pt x="258" y="186"/>
                  </a:lnTo>
                  <a:lnTo>
                    <a:pt x="246" y="186"/>
                  </a:lnTo>
                  <a:lnTo>
                    <a:pt x="240" y="186"/>
                  </a:lnTo>
                  <a:lnTo>
                    <a:pt x="234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2"/>
                  </a:lnTo>
                  <a:lnTo>
                    <a:pt x="204" y="192"/>
                  </a:lnTo>
                  <a:lnTo>
                    <a:pt x="198" y="192"/>
                  </a:lnTo>
                  <a:lnTo>
                    <a:pt x="192" y="192"/>
                  </a:lnTo>
                  <a:lnTo>
                    <a:pt x="180" y="192"/>
                  </a:lnTo>
                  <a:lnTo>
                    <a:pt x="168" y="192"/>
                  </a:lnTo>
                  <a:lnTo>
                    <a:pt x="162" y="192"/>
                  </a:lnTo>
                  <a:lnTo>
                    <a:pt x="150" y="192"/>
                  </a:lnTo>
                  <a:lnTo>
                    <a:pt x="138" y="192"/>
                  </a:lnTo>
                  <a:lnTo>
                    <a:pt x="132" y="192"/>
                  </a:lnTo>
                  <a:lnTo>
                    <a:pt x="120" y="192"/>
                  </a:lnTo>
                  <a:lnTo>
                    <a:pt x="114" y="192"/>
                  </a:lnTo>
                  <a:lnTo>
                    <a:pt x="108" y="192"/>
                  </a:lnTo>
                  <a:lnTo>
                    <a:pt x="102" y="192"/>
                  </a:lnTo>
                  <a:lnTo>
                    <a:pt x="90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2" y="198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36" y="198"/>
                  </a:lnTo>
                  <a:lnTo>
                    <a:pt x="30" y="204"/>
                  </a:lnTo>
                  <a:lnTo>
                    <a:pt x="24" y="204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6" y="210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54" y="156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56"/>
                  </a:lnTo>
                  <a:lnTo>
                    <a:pt x="78" y="162"/>
                  </a:lnTo>
                  <a:lnTo>
                    <a:pt x="84" y="162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9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0" y="126"/>
                  </a:lnTo>
                  <a:lnTo>
                    <a:pt x="276" y="120"/>
                  </a:lnTo>
                  <a:lnTo>
                    <a:pt x="282" y="120"/>
                  </a:lnTo>
                  <a:lnTo>
                    <a:pt x="300" y="120"/>
                  </a:lnTo>
                  <a:lnTo>
                    <a:pt x="306" y="114"/>
                  </a:lnTo>
                  <a:lnTo>
                    <a:pt x="312" y="108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8"/>
                  </a:lnTo>
                  <a:lnTo>
                    <a:pt x="342" y="30"/>
                  </a:lnTo>
                  <a:lnTo>
                    <a:pt x="342" y="24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8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24"/>
                  </a:lnTo>
                  <a:lnTo>
                    <a:pt x="414" y="30"/>
                  </a:lnTo>
                  <a:lnTo>
                    <a:pt x="420" y="30"/>
                  </a:lnTo>
                  <a:lnTo>
                    <a:pt x="42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74" y="30"/>
                  </a:lnTo>
                  <a:lnTo>
                    <a:pt x="474" y="18"/>
                  </a:lnTo>
                  <a:lnTo>
                    <a:pt x="474" y="12"/>
                  </a:lnTo>
                  <a:lnTo>
                    <a:pt x="480" y="12"/>
                  </a:lnTo>
                  <a:lnTo>
                    <a:pt x="486" y="12"/>
                  </a:lnTo>
                  <a:lnTo>
                    <a:pt x="606" y="12"/>
                  </a:lnTo>
                  <a:lnTo>
                    <a:pt x="630" y="12"/>
                  </a:lnTo>
                  <a:lnTo>
                    <a:pt x="678" y="12"/>
                  </a:lnTo>
                  <a:lnTo>
                    <a:pt x="744" y="12"/>
                  </a:lnTo>
                  <a:lnTo>
                    <a:pt x="774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2" y="6"/>
                  </a:lnTo>
                  <a:lnTo>
                    <a:pt x="888" y="12"/>
                  </a:lnTo>
                  <a:lnTo>
                    <a:pt x="888" y="24"/>
                  </a:lnTo>
                  <a:lnTo>
                    <a:pt x="888" y="30"/>
                  </a:lnTo>
                  <a:lnTo>
                    <a:pt x="882" y="36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64" y="42"/>
                  </a:lnTo>
                  <a:lnTo>
                    <a:pt x="864" y="48"/>
                  </a:lnTo>
                  <a:lnTo>
                    <a:pt x="858" y="54"/>
                  </a:lnTo>
                  <a:lnTo>
                    <a:pt x="864" y="54"/>
                  </a:lnTo>
                  <a:lnTo>
                    <a:pt x="870" y="72"/>
                  </a:lnTo>
                  <a:lnTo>
                    <a:pt x="870" y="78"/>
                  </a:lnTo>
                  <a:lnTo>
                    <a:pt x="870" y="84"/>
                  </a:lnTo>
                  <a:lnTo>
                    <a:pt x="870" y="90"/>
                  </a:lnTo>
                  <a:close/>
                  <a:moveTo>
                    <a:pt x="972" y="156"/>
                  </a:moveTo>
                  <a:lnTo>
                    <a:pt x="972" y="162"/>
                  </a:lnTo>
                  <a:lnTo>
                    <a:pt x="978" y="162"/>
                  </a:lnTo>
                  <a:lnTo>
                    <a:pt x="984" y="168"/>
                  </a:lnTo>
                  <a:lnTo>
                    <a:pt x="990" y="168"/>
                  </a:lnTo>
                  <a:lnTo>
                    <a:pt x="990" y="162"/>
                  </a:lnTo>
                  <a:lnTo>
                    <a:pt x="1008" y="162"/>
                  </a:lnTo>
                  <a:lnTo>
                    <a:pt x="1020" y="162"/>
                  </a:lnTo>
                  <a:lnTo>
                    <a:pt x="1038" y="162"/>
                  </a:lnTo>
                  <a:lnTo>
                    <a:pt x="1056" y="168"/>
                  </a:lnTo>
                  <a:lnTo>
                    <a:pt x="1056" y="180"/>
                  </a:lnTo>
                  <a:lnTo>
                    <a:pt x="1056" y="186"/>
                  </a:lnTo>
                  <a:lnTo>
                    <a:pt x="1056" y="204"/>
                  </a:lnTo>
                  <a:lnTo>
                    <a:pt x="1050" y="204"/>
                  </a:lnTo>
                  <a:lnTo>
                    <a:pt x="1044" y="204"/>
                  </a:lnTo>
                  <a:lnTo>
                    <a:pt x="1038" y="204"/>
                  </a:lnTo>
                  <a:lnTo>
                    <a:pt x="1032" y="204"/>
                  </a:lnTo>
                  <a:lnTo>
                    <a:pt x="1026" y="204"/>
                  </a:lnTo>
                  <a:lnTo>
                    <a:pt x="1020" y="204"/>
                  </a:lnTo>
                  <a:lnTo>
                    <a:pt x="1014" y="204"/>
                  </a:lnTo>
                  <a:lnTo>
                    <a:pt x="1008" y="204"/>
                  </a:lnTo>
                  <a:lnTo>
                    <a:pt x="1002" y="204"/>
                  </a:lnTo>
                  <a:lnTo>
                    <a:pt x="996" y="204"/>
                  </a:lnTo>
                  <a:lnTo>
                    <a:pt x="984" y="204"/>
                  </a:lnTo>
                  <a:lnTo>
                    <a:pt x="984" y="198"/>
                  </a:lnTo>
                  <a:lnTo>
                    <a:pt x="978" y="198"/>
                  </a:lnTo>
                  <a:lnTo>
                    <a:pt x="966" y="198"/>
                  </a:lnTo>
                  <a:lnTo>
                    <a:pt x="948" y="192"/>
                  </a:lnTo>
                  <a:lnTo>
                    <a:pt x="942" y="192"/>
                  </a:lnTo>
                  <a:lnTo>
                    <a:pt x="936" y="192"/>
                  </a:lnTo>
                  <a:lnTo>
                    <a:pt x="924" y="192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12" y="186"/>
                  </a:lnTo>
                  <a:lnTo>
                    <a:pt x="906" y="186"/>
                  </a:lnTo>
                  <a:lnTo>
                    <a:pt x="900" y="186"/>
                  </a:lnTo>
                  <a:lnTo>
                    <a:pt x="894" y="186"/>
                  </a:lnTo>
                  <a:lnTo>
                    <a:pt x="888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76" y="180"/>
                  </a:lnTo>
                  <a:lnTo>
                    <a:pt x="870" y="180"/>
                  </a:lnTo>
                  <a:lnTo>
                    <a:pt x="864" y="180"/>
                  </a:lnTo>
                  <a:lnTo>
                    <a:pt x="858" y="180"/>
                  </a:lnTo>
                  <a:lnTo>
                    <a:pt x="852" y="180"/>
                  </a:lnTo>
                  <a:lnTo>
                    <a:pt x="852" y="174"/>
                  </a:lnTo>
                  <a:lnTo>
                    <a:pt x="846" y="174"/>
                  </a:lnTo>
                  <a:lnTo>
                    <a:pt x="840" y="174"/>
                  </a:lnTo>
                  <a:lnTo>
                    <a:pt x="834" y="174"/>
                  </a:lnTo>
                  <a:lnTo>
                    <a:pt x="828" y="174"/>
                  </a:lnTo>
                  <a:lnTo>
                    <a:pt x="822" y="174"/>
                  </a:lnTo>
                  <a:lnTo>
                    <a:pt x="816" y="174"/>
                  </a:lnTo>
                  <a:lnTo>
                    <a:pt x="810" y="168"/>
                  </a:lnTo>
                  <a:lnTo>
                    <a:pt x="804" y="168"/>
                  </a:lnTo>
                  <a:lnTo>
                    <a:pt x="798" y="168"/>
                  </a:lnTo>
                  <a:lnTo>
                    <a:pt x="792" y="168"/>
                  </a:lnTo>
                  <a:lnTo>
                    <a:pt x="786" y="168"/>
                  </a:lnTo>
                  <a:lnTo>
                    <a:pt x="780" y="168"/>
                  </a:lnTo>
                  <a:lnTo>
                    <a:pt x="774" y="168"/>
                  </a:lnTo>
                  <a:lnTo>
                    <a:pt x="768" y="168"/>
                  </a:lnTo>
                  <a:lnTo>
                    <a:pt x="762" y="168"/>
                  </a:lnTo>
                  <a:lnTo>
                    <a:pt x="756" y="168"/>
                  </a:lnTo>
                  <a:lnTo>
                    <a:pt x="750" y="168"/>
                  </a:lnTo>
                  <a:lnTo>
                    <a:pt x="750" y="162"/>
                  </a:lnTo>
                  <a:lnTo>
                    <a:pt x="744" y="168"/>
                  </a:lnTo>
                  <a:lnTo>
                    <a:pt x="738" y="162"/>
                  </a:lnTo>
                  <a:lnTo>
                    <a:pt x="732" y="162"/>
                  </a:lnTo>
                  <a:lnTo>
                    <a:pt x="726" y="162"/>
                  </a:lnTo>
                  <a:lnTo>
                    <a:pt x="714" y="162"/>
                  </a:lnTo>
                  <a:lnTo>
                    <a:pt x="702" y="162"/>
                  </a:lnTo>
                  <a:lnTo>
                    <a:pt x="696" y="168"/>
                  </a:lnTo>
                  <a:lnTo>
                    <a:pt x="690" y="168"/>
                  </a:lnTo>
                  <a:lnTo>
                    <a:pt x="684" y="168"/>
                  </a:lnTo>
                  <a:lnTo>
                    <a:pt x="678" y="168"/>
                  </a:lnTo>
                  <a:lnTo>
                    <a:pt x="672" y="168"/>
                  </a:lnTo>
                  <a:lnTo>
                    <a:pt x="666" y="168"/>
                  </a:lnTo>
                  <a:lnTo>
                    <a:pt x="660" y="168"/>
                  </a:lnTo>
                  <a:lnTo>
                    <a:pt x="654" y="168"/>
                  </a:lnTo>
                  <a:lnTo>
                    <a:pt x="648" y="174"/>
                  </a:lnTo>
                  <a:lnTo>
                    <a:pt x="648" y="168"/>
                  </a:lnTo>
                  <a:lnTo>
                    <a:pt x="642" y="174"/>
                  </a:lnTo>
                  <a:lnTo>
                    <a:pt x="636" y="174"/>
                  </a:lnTo>
                  <a:lnTo>
                    <a:pt x="630" y="174"/>
                  </a:lnTo>
                  <a:lnTo>
                    <a:pt x="624" y="174"/>
                  </a:lnTo>
                  <a:lnTo>
                    <a:pt x="618" y="174"/>
                  </a:lnTo>
                  <a:lnTo>
                    <a:pt x="612" y="174"/>
                  </a:lnTo>
                  <a:lnTo>
                    <a:pt x="606" y="174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74"/>
                  </a:lnTo>
                  <a:lnTo>
                    <a:pt x="582" y="174"/>
                  </a:lnTo>
                  <a:lnTo>
                    <a:pt x="576" y="174"/>
                  </a:lnTo>
                  <a:lnTo>
                    <a:pt x="570" y="174"/>
                  </a:lnTo>
                  <a:lnTo>
                    <a:pt x="564" y="174"/>
                  </a:lnTo>
                  <a:lnTo>
                    <a:pt x="558" y="174"/>
                  </a:lnTo>
                  <a:lnTo>
                    <a:pt x="552" y="174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0" y="174"/>
                  </a:lnTo>
                  <a:lnTo>
                    <a:pt x="504" y="174"/>
                  </a:lnTo>
                  <a:lnTo>
                    <a:pt x="498" y="174"/>
                  </a:lnTo>
                  <a:lnTo>
                    <a:pt x="492" y="174"/>
                  </a:lnTo>
                  <a:lnTo>
                    <a:pt x="486" y="174"/>
                  </a:lnTo>
                  <a:lnTo>
                    <a:pt x="480" y="174"/>
                  </a:lnTo>
                  <a:lnTo>
                    <a:pt x="474" y="174"/>
                  </a:lnTo>
                  <a:lnTo>
                    <a:pt x="468" y="174"/>
                  </a:lnTo>
                  <a:lnTo>
                    <a:pt x="462" y="174"/>
                  </a:lnTo>
                  <a:lnTo>
                    <a:pt x="456" y="174"/>
                  </a:lnTo>
                  <a:lnTo>
                    <a:pt x="450" y="180"/>
                  </a:lnTo>
                  <a:lnTo>
                    <a:pt x="450" y="186"/>
                  </a:lnTo>
                  <a:lnTo>
                    <a:pt x="450" y="192"/>
                  </a:lnTo>
                  <a:lnTo>
                    <a:pt x="444" y="192"/>
                  </a:lnTo>
                  <a:lnTo>
                    <a:pt x="444" y="186"/>
                  </a:lnTo>
                  <a:lnTo>
                    <a:pt x="444" y="180"/>
                  </a:lnTo>
                  <a:lnTo>
                    <a:pt x="450" y="180"/>
                  </a:lnTo>
                  <a:lnTo>
                    <a:pt x="450" y="174"/>
                  </a:lnTo>
                  <a:lnTo>
                    <a:pt x="450" y="168"/>
                  </a:lnTo>
                  <a:lnTo>
                    <a:pt x="450" y="162"/>
                  </a:lnTo>
                  <a:lnTo>
                    <a:pt x="456" y="162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62" y="162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74" y="168"/>
                  </a:lnTo>
                  <a:lnTo>
                    <a:pt x="480" y="168"/>
                  </a:lnTo>
                  <a:lnTo>
                    <a:pt x="480" y="162"/>
                  </a:lnTo>
                  <a:lnTo>
                    <a:pt x="480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56"/>
                  </a:lnTo>
                  <a:lnTo>
                    <a:pt x="492" y="156"/>
                  </a:lnTo>
                  <a:lnTo>
                    <a:pt x="486" y="150"/>
                  </a:lnTo>
                  <a:lnTo>
                    <a:pt x="492" y="150"/>
                  </a:lnTo>
                  <a:lnTo>
                    <a:pt x="498" y="150"/>
                  </a:lnTo>
                  <a:lnTo>
                    <a:pt x="498" y="156"/>
                  </a:lnTo>
                  <a:lnTo>
                    <a:pt x="504" y="156"/>
                  </a:lnTo>
                  <a:lnTo>
                    <a:pt x="504" y="162"/>
                  </a:lnTo>
                  <a:lnTo>
                    <a:pt x="504" y="156"/>
                  </a:lnTo>
                  <a:lnTo>
                    <a:pt x="510" y="156"/>
                  </a:lnTo>
                  <a:lnTo>
                    <a:pt x="510" y="150"/>
                  </a:lnTo>
                  <a:lnTo>
                    <a:pt x="516" y="150"/>
                  </a:lnTo>
                  <a:lnTo>
                    <a:pt x="522" y="150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28" y="150"/>
                  </a:lnTo>
                  <a:lnTo>
                    <a:pt x="528" y="144"/>
                  </a:lnTo>
                  <a:lnTo>
                    <a:pt x="540" y="144"/>
                  </a:lnTo>
                  <a:lnTo>
                    <a:pt x="546" y="144"/>
                  </a:lnTo>
                  <a:lnTo>
                    <a:pt x="552" y="138"/>
                  </a:lnTo>
                  <a:lnTo>
                    <a:pt x="552" y="132"/>
                  </a:lnTo>
                  <a:lnTo>
                    <a:pt x="558" y="132"/>
                  </a:lnTo>
                  <a:lnTo>
                    <a:pt x="558" y="126"/>
                  </a:lnTo>
                  <a:lnTo>
                    <a:pt x="558" y="120"/>
                  </a:lnTo>
                  <a:lnTo>
                    <a:pt x="558" y="114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6" y="114"/>
                  </a:lnTo>
                  <a:lnTo>
                    <a:pt x="582" y="120"/>
                  </a:lnTo>
                  <a:lnTo>
                    <a:pt x="588" y="120"/>
                  </a:lnTo>
                  <a:lnTo>
                    <a:pt x="588" y="126"/>
                  </a:lnTo>
                  <a:lnTo>
                    <a:pt x="588" y="120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600" y="114"/>
                  </a:lnTo>
                  <a:lnTo>
                    <a:pt x="606" y="114"/>
                  </a:lnTo>
                  <a:lnTo>
                    <a:pt x="618" y="114"/>
                  </a:lnTo>
                  <a:lnTo>
                    <a:pt x="618" y="108"/>
                  </a:lnTo>
                  <a:lnTo>
                    <a:pt x="624" y="108"/>
                  </a:lnTo>
                  <a:lnTo>
                    <a:pt x="624" y="102"/>
                  </a:lnTo>
                  <a:lnTo>
                    <a:pt x="630" y="102"/>
                  </a:lnTo>
                  <a:lnTo>
                    <a:pt x="636" y="102"/>
                  </a:lnTo>
                  <a:lnTo>
                    <a:pt x="636" y="108"/>
                  </a:lnTo>
                  <a:lnTo>
                    <a:pt x="642" y="108"/>
                  </a:lnTo>
                  <a:lnTo>
                    <a:pt x="648" y="108"/>
                  </a:lnTo>
                  <a:lnTo>
                    <a:pt x="648" y="102"/>
                  </a:lnTo>
                  <a:lnTo>
                    <a:pt x="654" y="102"/>
                  </a:lnTo>
                  <a:lnTo>
                    <a:pt x="660" y="102"/>
                  </a:lnTo>
                  <a:lnTo>
                    <a:pt x="660" y="96"/>
                  </a:lnTo>
                  <a:lnTo>
                    <a:pt x="660" y="90"/>
                  </a:lnTo>
                  <a:lnTo>
                    <a:pt x="666" y="90"/>
                  </a:lnTo>
                  <a:lnTo>
                    <a:pt x="666" y="84"/>
                  </a:lnTo>
                  <a:lnTo>
                    <a:pt x="672" y="78"/>
                  </a:lnTo>
                  <a:lnTo>
                    <a:pt x="672" y="72"/>
                  </a:lnTo>
                  <a:lnTo>
                    <a:pt x="678" y="66"/>
                  </a:lnTo>
                  <a:lnTo>
                    <a:pt x="684" y="66"/>
                  </a:lnTo>
                  <a:lnTo>
                    <a:pt x="684" y="60"/>
                  </a:lnTo>
                  <a:lnTo>
                    <a:pt x="690" y="60"/>
                  </a:lnTo>
                  <a:lnTo>
                    <a:pt x="696" y="60"/>
                  </a:lnTo>
                  <a:lnTo>
                    <a:pt x="702" y="60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66"/>
                  </a:lnTo>
                  <a:lnTo>
                    <a:pt x="720" y="66"/>
                  </a:lnTo>
                  <a:lnTo>
                    <a:pt x="720" y="60"/>
                  </a:lnTo>
                  <a:lnTo>
                    <a:pt x="726" y="60"/>
                  </a:lnTo>
                  <a:lnTo>
                    <a:pt x="732" y="60"/>
                  </a:lnTo>
                  <a:lnTo>
                    <a:pt x="744" y="60"/>
                  </a:lnTo>
                  <a:lnTo>
                    <a:pt x="750" y="54"/>
                  </a:lnTo>
                  <a:lnTo>
                    <a:pt x="762" y="60"/>
                  </a:lnTo>
                  <a:lnTo>
                    <a:pt x="774" y="60"/>
                  </a:lnTo>
                  <a:lnTo>
                    <a:pt x="774" y="66"/>
                  </a:lnTo>
                  <a:lnTo>
                    <a:pt x="780" y="72"/>
                  </a:lnTo>
                  <a:lnTo>
                    <a:pt x="786" y="78"/>
                  </a:lnTo>
                  <a:lnTo>
                    <a:pt x="792" y="78"/>
                  </a:lnTo>
                  <a:lnTo>
                    <a:pt x="810" y="84"/>
                  </a:lnTo>
                  <a:lnTo>
                    <a:pt x="822" y="84"/>
                  </a:lnTo>
                  <a:lnTo>
                    <a:pt x="828" y="84"/>
                  </a:lnTo>
                  <a:lnTo>
                    <a:pt x="834" y="84"/>
                  </a:lnTo>
                  <a:lnTo>
                    <a:pt x="840" y="96"/>
                  </a:lnTo>
                  <a:lnTo>
                    <a:pt x="846" y="102"/>
                  </a:lnTo>
                  <a:lnTo>
                    <a:pt x="858" y="102"/>
                  </a:lnTo>
                  <a:lnTo>
                    <a:pt x="864" y="102"/>
                  </a:lnTo>
                  <a:lnTo>
                    <a:pt x="876" y="96"/>
                  </a:lnTo>
                  <a:lnTo>
                    <a:pt x="882" y="102"/>
                  </a:lnTo>
                  <a:lnTo>
                    <a:pt x="888" y="108"/>
                  </a:lnTo>
                  <a:lnTo>
                    <a:pt x="888" y="114"/>
                  </a:lnTo>
                  <a:lnTo>
                    <a:pt x="888" y="120"/>
                  </a:lnTo>
                  <a:lnTo>
                    <a:pt x="888" y="126"/>
                  </a:lnTo>
                  <a:lnTo>
                    <a:pt x="888" y="132"/>
                  </a:lnTo>
                  <a:lnTo>
                    <a:pt x="882" y="132"/>
                  </a:lnTo>
                  <a:lnTo>
                    <a:pt x="864" y="126"/>
                  </a:lnTo>
                  <a:lnTo>
                    <a:pt x="852" y="120"/>
                  </a:lnTo>
                  <a:lnTo>
                    <a:pt x="840" y="126"/>
                  </a:lnTo>
                  <a:lnTo>
                    <a:pt x="834" y="120"/>
                  </a:lnTo>
                  <a:lnTo>
                    <a:pt x="828" y="120"/>
                  </a:lnTo>
                  <a:lnTo>
                    <a:pt x="822" y="120"/>
                  </a:lnTo>
                  <a:lnTo>
                    <a:pt x="810" y="114"/>
                  </a:lnTo>
                  <a:lnTo>
                    <a:pt x="804" y="114"/>
                  </a:lnTo>
                  <a:lnTo>
                    <a:pt x="798" y="114"/>
                  </a:lnTo>
                  <a:lnTo>
                    <a:pt x="792" y="114"/>
                  </a:lnTo>
                  <a:lnTo>
                    <a:pt x="786" y="114"/>
                  </a:lnTo>
                  <a:lnTo>
                    <a:pt x="780" y="114"/>
                  </a:lnTo>
                  <a:lnTo>
                    <a:pt x="780" y="126"/>
                  </a:lnTo>
                  <a:lnTo>
                    <a:pt x="786" y="126"/>
                  </a:lnTo>
                  <a:lnTo>
                    <a:pt x="798" y="126"/>
                  </a:lnTo>
                  <a:lnTo>
                    <a:pt x="804" y="126"/>
                  </a:lnTo>
                  <a:lnTo>
                    <a:pt x="822" y="132"/>
                  </a:lnTo>
                  <a:lnTo>
                    <a:pt x="828" y="132"/>
                  </a:lnTo>
                  <a:lnTo>
                    <a:pt x="834" y="132"/>
                  </a:lnTo>
                  <a:lnTo>
                    <a:pt x="840" y="144"/>
                  </a:lnTo>
                  <a:lnTo>
                    <a:pt x="846" y="150"/>
                  </a:lnTo>
                  <a:lnTo>
                    <a:pt x="858" y="150"/>
                  </a:lnTo>
                  <a:lnTo>
                    <a:pt x="864" y="162"/>
                  </a:lnTo>
                  <a:lnTo>
                    <a:pt x="870" y="162"/>
                  </a:lnTo>
                  <a:lnTo>
                    <a:pt x="876" y="168"/>
                  </a:lnTo>
                  <a:lnTo>
                    <a:pt x="888" y="168"/>
                  </a:lnTo>
                  <a:lnTo>
                    <a:pt x="894" y="174"/>
                  </a:lnTo>
                  <a:lnTo>
                    <a:pt x="900" y="174"/>
                  </a:lnTo>
                  <a:lnTo>
                    <a:pt x="918" y="174"/>
                  </a:lnTo>
                  <a:lnTo>
                    <a:pt x="924" y="174"/>
                  </a:lnTo>
                  <a:lnTo>
                    <a:pt x="930" y="174"/>
                  </a:lnTo>
                  <a:lnTo>
                    <a:pt x="942" y="174"/>
                  </a:lnTo>
                  <a:lnTo>
                    <a:pt x="954" y="174"/>
                  </a:lnTo>
                  <a:lnTo>
                    <a:pt x="960" y="174"/>
                  </a:lnTo>
                  <a:lnTo>
                    <a:pt x="966" y="174"/>
                  </a:lnTo>
                  <a:lnTo>
                    <a:pt x="966" y="168"/>
                  </a:lnTo>
                  <a:lnTo>
                    <a:pt x="972" y="162"/>
                  </a:lnTo>
                  <a:lnTo>
                    <a:pt x="972" y="156"/>
                  </a:lnTo>
                  <a:close/>
                  <a:moveTo>
                    <a:pt x="942" y="174"/>
                  </a:moveTo>
                  <a:lnTo>
                    <a:pt x="936" y="174"/>
                  </a:lnTo>
                  <a:lnTo>
                    <a:pt x="936" y="168"/>
                  </a:lnTo>
                  <a:lnTo>
                    <a:pt x="936" y="162"/>
                  </a:lnTo>
                  <a:lnTo>
                    <a:pt x="948" y="162"/>
                  </a:lnTo>
                  <a:lnTo>
                    <a:pt x="948" y="156"/>
                  </a:lnTo>
                  <a:lnTo>
                    <a:pt x="954" y="156"/>
                  </a:lnTo>
                  <a:lnTo>
                    <a:pt x="960" y="156"/>
                  </a:lnTo>
                  <a:lnTo>
                    <a:pt x="966" y="156"/>
                  </a:lnTo>
                  <a:lnTo>
                    <a:pt x="966" y="162"/>
                  </a:lnTo>
                  <a:lnTo>
                    <a:pt x="960" y="168"/>
                  </a:lnTo>
                  <a:lnTo>
                    <a:pt x="942" y="174"/>
                  </a:lnTo>
                  <a:close/>
                  <a:moveTo>
                    <a:pt x="900" y="168"/>
                  </a:moveTo>
                  <a:lnTo>
                    <a:pt x="894" y="168"/>
                  </a:lnTo>
                  <a:lnTo>
                    <a:pt x="882" y="156"/>
                  </a:lnTo>
                  <a:lnTo>
                    <a:pt x="882" y="150"/>
                  </a:lnTo>
                  <a:lnTo>
                    <a:pt x="888" y="156"/>
                  </a:lnTo>
                  <a:lnTo>
                    <a:pt x="894" y="150"/>
                  </a:lnTo>
                  <a:lnTo>
                    <a:pt x="900" y="150"/>
                  </a:lnTo>
                  <a:lnTo>
                    <a:pt x="906" y="150"/>
                  </a:lnTo>
                  <a:lnTo>
                    <a:pt x="912" y="150"/>
                  </a:lnTo>
                  <a:lnTo>
                    <a:pt x="924" y="150"/>
                  </a:lnTo>
                  <a:lnTo>
                    <a:pt x="924" y="156"/>
                  </a:lnTo>
                  <a:lnTo>
                    <a:pt x="924" y="162"/>
                  </a:lnTo>
                  <a:lnTo>
                    <a:pt x="924" y="168"/>
                  </a:lnTo>
                  <a:lnTo>
                    <a:pt x="918" y="168"/>
                  </a:lnTo>
                  <a:lnTo>
                    <a:pt x="906" y="168"/>
                  </a:lnTo>
                  <a:lnTo>
                    <a:pt x="900" y="168"/>
                  </a:lnTo>
                  <a:close/>
                  <a:moveTo>
                    <a:pt x="870" y="162"/>
                  </a:moveTo>
                  <a:lnTo>
                    <a:pt x="876" y="162"/>
                  </a:lnTo>
                  <a:lnTo>
                    <a:pt x="876" y="168"/>
                  </a:lnTo>
                  <a:lnTo>
                    <a:pt x="870" y="168"/>
                  </a:lnTo>
                  <a:lnTo>
                    <a:pt x="870" y="162"/>
                  </a:lnTo>
                  <a:close/>
                  <a:moveTo>
                    <a:pt x="450" y="162"/>
                  </a:moveTo>
                  <a:lnTo>
                    <a:pt x="444" y="162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2" y="150"/>
                  </a:lnTo>
                  <a:lnTo>
                    <a:pt x="438" y="150"/>
                  </a:lnTo>
                  <a:lnTo>
                    <a:pt x="438" y="144"/>
                  </a:lnTo>
                  <a:lnTo>
                    <a:pt x="438" y="150"/>
                  </a:lnTo>
                  <a:lnTo>
                    <a:pt x="444" y="150"/>
                  </a:lnTo>
                  <a:lnTo>
                    <a:pt x="450" y="150"/>
                  </a:lnTo>
                  <a:lnTo>
                    <a:pt x="450" y="156"/>
                  </a:lnTo>
                  <a:lnTo>
                    <a:pt x="456" y="156"/>
                  </a:lnTo>
                  <a:lnTo>
                    <a:pt x="456" y="150"/>
                  </a:lnTo>
                  <a:lnTo>
                    <a:pt x="456" y="156"/>
                  </a:lnTo>
                  <a:lnTo>
                    <a:pt x="462" y="150"/>
                  </a:lnTo>
                  <a:lnTo>
                    <a:pt x="462" y="144"/>
                  </a:lnTo>
                  <a:lnTo>
                    <a:pt x="468" y="144"/>
                  </a:lnTo>
                  <a:lnTo>
                    <a:pt x="468" y="150"/>
                  </a:lnTo>
                  <a:lnTo>
                    <a:pt x="474" y="150"/>
                  </a:lnTo>
                  <a:lnTo>
                    <a:pt x="480" y="150"/>
                  </a:lnTo>
                  <a:lnTo>
                    <a:pt x="480" y="156"/>
                  </a:lnTo>
                  <a:lnTo>
                    <a:pt x="480" y="162"/>
                  </a:lnTo>
                  <a:lnTo>
                    <a:pt x="474" y="162"/>
                  </a:lnTo>
                  <a:lnTo>
                    <a:pt x="474" y="168"/>
                  </a:lnTo>
                  <a:lnTo>
                    <a:pt x="474" y="162"/>
                  </a:lnTo>
                  <a:lnTo>
                    <a:pt x="468" y="162"/>
                  </a:lnTo>
                  <a:lnTo>
                    <a:pt x="462" y="162"/>
                  </a:lnTo>
                  <a:lnTo>
                    <a:pt x="456" y="162"/>
                  </a:lnTo>
                  <a:lnTo>
                    <a:pt x="450" y="16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6" name="Freeform 31">
              <a:extLst>
                <a:ext uri="{FF2B5EF4-FFF2-40B4-BE49-F238E27FC236}">
                  <a16:creationId xmlns:a16="http://schemas.microsoft.com/office/drawing/2014/main" id="{0989F057-38E8-4AA5-8B73-27F6355E235C}"/>
                </a:ext>
              </a:extLst>
            </p:cNvPr>
            <p:cNvSpPr>
              <a:spLocks/>
            </p:cNvSpPr>
            <p:nvPr/>
          </p:nvSpPr>
          <p:spPr bwMode="gray">
            <a:xfrm>
              <a:off x="792590" y="2728084"/>
              <a:ext cx="1182944" cy="740282"/>
            </a:xfrm>
            <a:custGeom>
              <a:avLst/>
              <a:gdLst>
                <a:gd name="T0" fmla="*/ 138 w 2226"/>
                <a:gd name="T1" fmla="*/ 121 h 1392"/>
                <a:gd name="T2" fmla="*/ 133 w 2226"/>
                <a:gd name="T3" fmla="*/ 119 h 1392"/>
                <a:gd name="T4" fmla="*/ 128 w 2226"/>
                <a:gd name="T5" fmla="*/ 117 h 1392"/>
                <a:gd name="T6" fmla="*/ 119 w 2226"/>
                <a:gd name="T7" fmla="*/ 116 h 1392"/>
                <a:gd name="T8" fmla="*/ 101 w 2226"/>
                <a:gd name="T9" fmla="*/ 116 h 1392"/>
                <a:gd name="T10" fmla="*/ 94 w 2226"/>
                <a:gd name="T11" fmla="*/ 104 h 1392"/>
                <a:gd name="T12" fmla="*/ 82 w 2226"/>
                <a:gd name="T13" fmla="*/ 83 h 1392"/>
                <a:gd name="T14" fmla="*/ 87 w 2226"/>
                <a:gd name="T15" fmla="*/ 69 h 1392"/>
                <a:gd name="T16" fmla="*/ 82 w 2226"/>
                <a:gd name="T17" fmla="*/ 65 h 1392"/>
                <a:gd name="T18" fmla="*/ 59 w 2226"/>
                <a:gd name="T19" fmla="*/ 57 h 1392"/>
                <a:gd name="T20" fmla="*/ 29 w 2226"/>
                <a:gd name="T21" fmla="*/ 77 h 1392"/>
                <a:gd name="T22" fmla="*/ 20 w 2226"/>
                <a:gd name="T23" fmla="*/ 78 h 1392"/>
                <a:gd name="T24" fmla="*/ 15 w 2226"/>
                <a:gd name="T25" fmla="*/ 82 h 1392"/>
                <a:gd name="T26" fmla="*/ 8 w 2226"/>
                <a:gd name="T27" fmla="*/ 86 h 1392"/>
                <a:gd name="T28" fmla="*/ 1 w 2226"/>
                <a:gd name="T29" fmla="*/ 88 h 1392"/>
                <a:gd name="T30" fmla="*/ 0 w 2226"/>
                <a:gd name="T31" fmla="*/ 82 h 1392"/>
                <a:gd name="T32" fmla="*/ 0 w 2226"/>
                <a:gd name="T33" fmla="*/ 76 h 1392"/>
                <a:gd name="T34" fmla="*/ 2 w 2226"/>
                <a:gd name="T35" fmla="*/ 70 h 1392"/>
                <a:gd name="T36" fmla="*/ 3 w 2226"/>
                <a:gd name="T37" fmla="*/ 65 h 1392"/>
                <a:gd name="T38" fmla="*/ 2 w 2226"/>
                <a:gd name="T39" fmla="*/ 63 h 1392"/>
                <a:gd name="T40" fmla="*/ 9 w 2226"/>
                <a:gd name="T41" fmla="*/ 60 h 1392"/>
                <a:gd name="T42" fmla="*/ 17 w 2226"/>
                <a:gd name="T43" fmla="*/ 59 h 1392"/>
                <a:gd name="T44" fmla="*/ 22 w 2226"/>
                <a:gd name="T45" fmla="*/ 51 h 1392"/>
                <a:gd name="T46" fmla="*/ 23 w 2226"/>
                <a:gd name="T47" fmla="*/ 43 h 1392"/>
                <a:gd name="T48" fmla="*/ 27 w 2226"/>
                <a:gd name="T49" fmla="*/ 34 h 1392"/>
                <a:gd name="T50" fmla="*/ 30 w 2226"/>
                <a:gd name="T51" fmla="*/ 27 h 1392"/>
                <a:gd name="T52" fmla="*/ 33 w 2226"/>
                <a:gd name="T53" fmla="*/ 22 h 1392"/>
                <a:gd name="T54" fmla="*/ 42 w 2226"/>
                <a:gd name="T55" fmla="*/ 17 h 1392"/>
                <a:gd name="T56" fmla="*/ 47 w 2226"/>
                <a:gd name="T57" fmla="*/ 14 h 1392"/>
                <a:gd name="T58" fmla="*/ 49 w 2226"/>
                <a:gd name="T59" fmla="*/ 5 h 1392"/>
                <a:gd name="T60" fmla="*/ 53 w 2226"/>
                <a:gd name="T61" fmla="*/ 0 h 1392"/>
                <a:gd name="T62" fmla="*/ 55 w 2226"/>
                <a:gd name="T63" fmla="*/ 4 h 1392"/>
                <a:gd name="T64" fmla="*/ 59 w 2226"/>
                <a:gd name="T65" fmla="*/ 7 h 1392"/>
                <a:gd name="T66" fmla="*/ 63 w 2226"/>
                <a:gd name="T67" fmla="*/ 7 h 1392"/>
                <a:gd name="T68" fmla="*/ 66 w 2226"/>
                <a:gd name="T69" fmla="*/ 9 h 1392"/>
                <a:gd name="T70" fmla="*/ 67 w 2226"/>
                <a:gd name="T71" fmla="*/ 12 h 1392"/>
                <a:gd name="T72" fmla="*/ 67 w 2226"/>
                <a:gd name="T73" fmla="*/ 13 h 1392"/>
                <a:gd name="T74" fmla="*/ 70 w 2226"/>
                <a:gd name="T75" fmla="*/ 15 h 1392"/>
                <a:gd name="T76" fmla="*/ 74 w 2226"/>
                <a:gd name="T77" fmla="*/ 17 h 1392"/>
                <a:gd name="T78" fmla="*/ 78 w 2226"/>
                <a:gd name="T79" fmla="*/ 18 h 1392"/>
                <a:gd name="T80" fmla="*/ 97 w 2226"/>
                <a:gd name="T81" fmla="*/ 40 h 1392"/>
                <a:gd name="T82" fmla="*/ 102 w 2226"/>
                <a:gd name="T83" fmla="*/ 44 h 1392"/>
                <a:gd name="T84" fmla="*/ 110 w 2226"/>
                <a:gd name="T85" fmla="*/ 49 h 1392"/>
                <a:gd name="T86" fmla="*/ 113 w 2226"/>
                <a:gd name="T87" fmla="*/ 53 h 1392"/>
                <a:gd name="T88" fmla="*/ 118 w 2226"/>
                <a:gd name="T89" fmla="*/ 57 h 1392"/>
                <a:gd name="T90" fmla="*/ 124 w 2226"/>
                <a:gd name="T91" fmla="*/ 54 h 1392"/>
                <a:gd name="T92" fmla="*/ 133 w 2226"/>
                <a:gd name="T93" fmla="*/ 58 h 1392"/>
                <a:gd name="T94" fmla="*/ 137 w 2226"/>
                <a:gd name="T95" fmla="*/ 64 h 1392"/>
                <a:gd name="T96" fmla="*/ 145 w 2226"/>
                <a:gd name="T97" fmla="*/ 65 h 1392"/>
                <a:gd name="T98" fmla="*/ 152 w 2226"/>
                <a:gd name="T99" fmla="*/ 67 h 1392"/>
                <a:gd name="T100" fmla="*/ 161 w 2226"/>
                <a:gd name="T101" fmla="*/ 72 h 1392"/>
                <a:gd name="T102" fmla="*/ 168 w 2226"/>
                <a:gd name="T103" fmla="*/ 76 h 1392"/>
                <a:gd name="T104" fmla="*/ 177 w 2226"/>
                <a:gd name="T105" fmla="*/ 78 h 1392"/>
                <a:gd name="T106" fmla="*/ 184 w 2226"/>
                <a:gd name="T107" fmla="*/ 78 h 1392"/>
                <a:gd name="T108" fmla="*/ 190 w 2226"/>
                <a:gd name="T109" fmla="*/ 81 h 1392"/>
                <a:gd name="T110" fmla="*/ 192 w 2226"/>
                <a:gd name="T111" fmla="*/ 86 h 1392"/>
                <a:gd name="T112" fmla="*/ 187 w 2226"/>
                <a:gd name="T113" fmla="*/ 99 h 1392"/>
                <a:gd name="T114" fmla="*/ 165 w 2226"/>
                <a:gd name="T115" fmla="*/ 97 h 1392"/>
                <a:gd name="T116" fmla="*/ 155 w 2226"/>
                <a:gd name="T117" fmla="*/ 92 h 1392"/>
                <a:gd name="T118" fmla="*/ 146 w 2226"/>
                <a:gd name="T119" fmla="*/ 102 h 1392"/>
                <a:gd name="T120" fmla="*/ 149 w 2226"/>
                <a:gd name="T121" fmla="*/ 106 h 1392"/>
                <a:gd name="T122" fmla="*/ 151 w 2226"/>
                <a:gd name="T123" fmla="*/ 108 h 1392"/>
                <a:gd name="T124" fmla="*/ 157 w 2226"/>
                <a:gd name="T125" fmla="*/ 113 h 13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1392"/>
                <a:gd name="T191" fmla="*/ 2226 w 2226"/>
                <a:gd name="T192" fmla="*/ 1392 h 13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1392">
                  <a:moveTo>
                    <a:pt x="1782" y="1326"/>
                  </a:moveTo>
                  <a:lnTo>
                    <a:pt x="1776" y="1332"/>
                  </a:lnTo>
                  <a:lnTo>
                    <a:pt x="1692" y="1338"/>
                  </a:lnTo>
                  <a:lnTo>
                    <a:pt x="1680" y="1386"/>
                  </a:lnTo>
                  <a:lnTo>
                    <a:pt x="1674" y="1392"/>
                  </a:lnTo>
                  <a:lnTo>
                    <a:pt x="1638" y="1392"/>
                  </a:lnTo>
                  <a:lnTo>
                    <a:pt x="1620" y="1392"/>
                  </a:lnTo>
                  <a:lnTo>
                    <a:pt x="1614" y="1392"/>
                  </a:lnTo>
                  <a:lnTo>
                    <a:pt x="1608" y="1386"/>
                  </a:lnTo>
                  <a:lnTo>
                    <a:pt x="1584" y="1386"/>
                  </a:lnTo>
                  <a:lnTo>
                    <a:pt x="1578" y="1386"/>
                  </a:lnTo>
                  <a:lnTo>
                    <a:pt x="1572" y="1380"/>
                  </a:lnTo>
                  <a:lnTo>
                    <a:pt x="1578" y="1356"/>
                  </a:lnTo>
                  <a:lnTo>
                    <a:pt x="1572" y="1356"/>
                  </a:lnTo>
                  <a:lnTo>
                    <a:pt x="1560" y="1350"/>
                  </a:lnTo>
                  <a:lnTo>
                    <a:pt x="1554" y="1350"/>
                  </a:lnTo>
                  <a:lnTo>
                    <a:pt x="1542" y="1350"/>
                  </a:lnTo>
                  <a:lnTo>
                    <a:pt x="1530" y="1350"/>
                  </a:lnTo>
                  <a:lnTo>
                    <a:pt x="1524" y="1356"/>
                  </a:lnTo>
                  <a:lnTo>
                    <a:pt x="1524" y="1362"/>
                  </a:lnTo>
                  <a:lnTo>
                    <a:pt x="1512" y="1374"/>
                  </a:lnTo>
                  <a:lnTo>
                    <a:pt x="1506" y="1374"/>
                  </a:lnTo>
                  <a:lnTo>
                    <a:pt x="1500" y="1368"/>
                  </a:lnTo>
                  <a:lnTo>
                    <a:pt x="1500" y="1362"/>
                  </a:lnTo>
                  <a:lnTo>
                    <a:pt x="1488" y="1362"/>
                  </a:lnTo>
                  <a:lnTo>
                    <a:pt x="1482" y="1356"/>
                  </a:lnTo>
                  <a:lnTo>
                    <a:pt x="1482" y="1350"/>
                  </a:lnTo>
                  <a:lnTo>
                    <a:pt x="1476" y="1350"/>
                  </a:lnTo>
                  <a:lnTo>
                    <a:pt x="1470" y="1344"/>
                  </a:lnTo>
                  <a:lnTo>
                    <a:pt x="1464" y="1344"/>
                  </a:lnTo>
                  <a:lnTo>
                    <a:pt x="1452" y="1350"/>
                  </a:lnTo>
                  <a:lnTo>
                    <a:pt x="1452" y="1356"/>
                  </a:lnTo>
                  <a:lnTo>
                    <a:pt x="1440" y="1356"/>
                  </a:lnTo>
                  <a:lnTo>
                    <a:pt x="1434" y="1344"/>
                  </a:lnTo>
                  <a:lnTo>
                    <a:pt x="1422" y="1332"/>
                  </a:lnTo>
                  <a:lnTo>
                    <a:pt x="1416" y="1326"/>
                  </a:lnTo>
                  <a:lnTo>
                    <a:pt x="1404" y="1320"/>
                  </a:lnTo>
                  <a:lnTo>
                    <a:pt x="1404" y="1314"/>
                  </a:lnTo>
                  <a:lnTo>
                    <a:pt x="1374" y="1308"/>
                  </a:lnTo>
                  <a:lnTo>
                    <a:pt x="1368" y="1326"/>
                  </a:lnTo>
                  <a:lnTo>
                    <a:pt x="1344" y="1338"/>
                  </a:lnTo>
                  <a:lnTo>
                    <a:pt x="1326" y="1332"/>
                  </a:lnTo>
                  <a:lnTo>
                    <a:pt x="1302" y="1332"/>
                  </a:lnTo>
                  <a:lnTo>
                    <a:pt x="1278" y="1338"/>
                  </a:lnTo>
                  <a:lnTo>
                    <a:pt x="1236" y="1338"/>
                  </a:lnTo>
                  <a:lnTo>
                    <a:pt x="1224" y="1338"/>
                  </a:lnTo>
                  <a:lnTo>
                    <a:pt x="1224" y="1326"/>
                  </a:lnTo>
                  <a:lnTo>
                    <a:pt x="1206" y="1326"/>
                  </a:lnTo>
                  <a:lnTo>
                    <a:pt x="1170" y="1326"/>
                  </a:lnTo>
                  <a:lnTo>
                    <a:pt x="1152" y="1326"/>
                  </a:lnTo>
                  <a:lnTo>
                    <a:pt x="1140" y="1314"/>
                  </a:lnTo>
                  <a:lnTo>
                    <a:pt x="1134" y="1296"/>
                  </a:lnTo>
                  <a:lnTo>
                    <a:pt x="1134" y="1284"/>
                  </a:lnTo>
                  <a:lnTo>
                    <a:pt x="1128" y="1254"/>
                  </a:lnTo>
                  <a:lnTo>
                    <a:pt x="1128" y="1242"/>
                  </a:lnTo>
                  <a:lnTo>
                    <a:pt x="1122" y="1230"/>
                  </a:lnTo>
                  <a:lnTo>
                    <a:pt x="1104" y="1218"/>
                  </a:lnTo>
                  <a:lnTo>
                    <a:pt x="1104" y="1212"/>
                  </a:lnTo>
                  <a:lnTo>
                    <a:pt x="1092" y="1206"/>
                  </a:lnTo>
                  <a:lnTo>
                    <a:pt x="1080" y="1194"/>
                  </a:lnTo>
                  <a:lnTo>
                    <a:pt x="1068" y="1176"/>
                  </a:lnTo>
                  <a:lnTo>
                    <a:pt x="1050" y="1152"/>
                  </a:lnTo>
                  <a:lnTo>
                    <a:pt x="1020" y="1098"/>
                  </a:lnTo>
                  <a:lnTo>
                    <a:pt x="978" y="1026"/>
                  </a:lnTo>
                  <a:lnTo>
                    <a:pt x="978" y="1014"/>
                  </a:lnTo>
                  <a:lnTo>
                    <a:pt x="972" y="1014"/>
                  </a:lnTo>
                  <a:lnTo>
                    <a:pt x="972" y="1008"/>
                  </a:lnTo>
                  <a:lnTo>
                    <a:pt x="978" y="1002"/>
                  </a:lnTo>
                  <a:lnTo>
                    <a:pt x="960" y="966"/>
                  </a:lnTo>
                  <a:lnTo>
                    <a:pt x="948" y="954"/>
                  </a:lnTo>
                  <a:lnTo>
                    <a:pt x="948" y="936"/>
                  </a:lnTo>
                  <a:lnTo>
                    <a:pt x="936" y="900"/>
                  </a:lnTo>
                  <a:lnTo>
                    <a:pt x="942" y="876"/>
                  </a:lnTo>
                  <a:lnTo>
                    <a:pt x="942" y="834"/>
                  </a:lnTo>
                  <a:lnTo>
                    <a:pt x="960" y="828"/>
                  </a:lnTo>
                  <a:lnTo>
                    <a:pt x="966" y="816"/>
                  </a:lnTo>
                  <a:lnTo>
                    <a:pt x="972" y="810"/>
                  </a:lnTo>
                  <a:lnTo>
                    <a:pt x="978" y="804"/>
                  </a:lnTo>
                  <a:lnTo>
                    <a:pt x="996" y="798"/>
                  </a:lnTo>
                  <a:lnTo>
                    <a:pt x="996" y="792"/>
                  </a:lnTo>
                  <a:lnTo>
                    <a:pt x="1014" y="780"/>
                  </a:lnTo>
                  <a:lnTo>
                    <a:pt x="1026" y="768"/>
                  </a:lnTo>
                  <a:lnTo>
                    <a:pt x="1032" y="762"/>
                  </a:lnTo>
                  <a:lnTo>
                    <a:pt x="1026" y="756"/>
                  </a:lnTo>
                  <a:lnTo>
                    <a:pt x="1014" y="744"/>
                  </a:lnTo>
                  <a:lnTo>
                    <a:pt x="996" y="756"/>
                  </a:lnTo>
                  <a:lnTo>
                    <a:pt x="954" y="768"/>
                  </a:lnTo>
                  <a:lnTo>
                    <a:pt x="942" y="762"/>
                  </a:lnTo>
                  <a:lnTo>
                    <a:pt x="942" y="756"/>
                  </a:lnTo>
                  <a:lnTo>
                    <a:pt x="936" y="750"/>
                  </a:lnTo>
                  <a:lnTo>
                    <a:pt x="846" y="732"/>
                  </a:lnTo>
                  <a:lnTo>
                    <a:pt x="822" y="726"/>
                  </a:lnTo>
                  <a:lnTo>
                    <a:pt x="810" y="714"/>
                  </a:lnTo>
                  <a:lnTo>
                    <a:pt x="792" y="690"/>
                  </a:lnTo>
                  <a:lnTo>
                    <a:pt x="792" y="678"/>
                  </a:lnTo>
                  <a:lnTo>
                    <a:pt x="762" y="642"/>
                  </a:lnTo>
                  <a:lnTo>
                    <a:pt x="750" y="636"/>
                  </a:lnTo>
                  <a:lnTo>
                    <a:pt x="726" y="630"/>
                  </a:lnTo>
                  <a:lnTo>
                    <a:pt x="696" y="642"/>
                  </a:lnTo>
                  <a:lnTo>
                    <a:pt x="678" y="654"/>
                  </a:lnTo>
                  <a:lnTo>
                    <a:pt x="666" y="684"/>
                  </a:lnTo>
                  <a:lnTo>
                    <a:pt x="660" y="726"/>
                  </a:lnTo>
                  <a:lnTo>
                    <a:pt x="606" y="756"/>
                  </a:lnTo>
                  <a:lnTo>
                    <a:pt x="558" y="780"/>
                  </a:lnTo>
                  <a:lnTo>
                    <a:pt x="438" y="834"/>
                  </a:lnTo>
                  <a:lnTo>
                    <a:pt x="402" y="846"/>
                  </a:lnTo>
                  <a:lnTo>
                    <a:pt x="372" y="870"/>
                  </a:lnTo>
                  <a:lnTo>
                    <a:pt x="360" y="876"/>
                  </a:lnTo>
                  <a:lnTo>
                    <a:pt x="354" y="876"/>
                  </a:lnTo>
                  <a:lnTo>
                    <a:pt x="330" y="882"/>
                  </a:lnTo>
                  <a:lnTo>
                    <a:pt x="306" y="882"/>
                  </a:lnTo>
                  <a:lnTo>
                    <a:pt x="300" y="876"/>
                  </a:lnTo>
                  <a:lnTo>
                    <a:pt x="294" y="876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76" y="864"/>
                  </a:lnTo>
                  <a:lnTo>
                    <a:pt x="270" y="870"/>
                  </a:lnTo>
                  <a:lnTo>
                    <a:pt x="264" y="870"/>
                  </a:lnTo>
                  <a:lnTo>
                    <a:pt x="240" y="894"/>
                  </a:lnTo>
                  <a:lnTo>
                    <a:pt x="234" y="894"/>
                  </a:lnTo>
                  <a:lnTo>
                    <a:pt x="228" y="900"/>
                  </a:lnTo>
                  <a:lnTo>
                    <a:pt x="222" y="906"/>
                  </a:lnTo>
                  <a:lnTo>
                    <a:pt x="210" y="912"/>
                  </a:lnTo>
                  <a:lnTo>
                    <a:pt x="204" y="912"/>
                  </a:lnTo>
                  <a:lnTo>
                    <a:pt x="198" y="912"/>
                  </a:lnTo>
                  <a:lnTo>
                    <a:pt x="192" y="918"/>
                  </a:lnTo>
                  <a:lnTo>
                    <a:pt x="180" y="918"/>
                  </a:lnTo>
                  <a:lnTo>
                    <a:pt x="174" y="930"/>
                  </a:lnTo>
                  <a:lnTo>
                    <a:pt x="174" y="936"/>
                  </a:lnTo>
                  <a:lnTo>
                    <a:pt x="168" y="942"/>
                  </a:lnTo>
                  <a:lnTo>
                    <a:pt x="162" y="942"/>
                  </a:lnTo>
                  <a:lnTo>
                    <a:pt x="150" y="960"/>
                  </a:lnTo>
                  <a:lnTo>
                    <a:pt x="144" y="966"/>
                  </a:lnTo>
                  <a:lnTo>
                    <a:pt x="138" y="972"/>
                  </a:lnTo>
                  <a:lnTo>
                    <a:pt x="132" y="972"/>
                  </a:lnTo>
                  <a:lnTo>
                    <a:pt x="126" y="984"/>
                  </a:lnTo>
                  <a:lnTo>
                    <a:pt x="120" y="984"/>
                  </a:lnTo>
                  <a:lnTo>
                    <a:pt x="114" y="990"/>
                  </a:lnTo>
                  <a:lnTo>
                    <a:pt x="96" y="990"/>
                  </a:lnTo>
                  <a:lnTo>
                    <a:pt x="90" y="990"/>
                  </a:lnTo>
                  <a:lnTo>
                    <a:pt x="78" y="990"/>
                  </a:lnTo>
                  <a:lnTo>
                    <a:pt x="72" y="990"/>
                  </a:lnTo>
                  <a:lnTo>
                    <a:pt x="60" y="990"/>
                  </a:lnTo>
                  <a:lnTo>
                    <a:pt x="42" y="990"/>
                  </a:lnTo>
                  <a:lnTo>
                    <a:pt x="36" y="996"/>
                  </a:lnTo>
                  <a:lnTo>
                    <a:pt x="30" y="1002"/>
                  </a:lnTo>
                  <a:lnTo>
                    <a:pt x="24" y="1014"/>
                  </a:lnTo>
                  <a:lnTo>
                    <a:pt x="24" y="1020"/>
                  </a:lnTo>
                  <a:lnTo>
                    <a:pt x="18" y="1020"/>
                  </a:lnTo>
                  <a:lnTo>
                    <a:pt x="12" y="1014"/>
                  </a:lnTo>
                  <a:lnTo>
                    <a:pt x="12" y="1008"/>
                  </a:lnTo>
                  <a:lnTo>
                    <a:pt x="12" y="990"/>
                  </a:lnTo>
                  <a:lnTo>
                    <a:pt x="12" y="984"/>
                  </a:lnTo>
                  <a:lnTo>
                    <a:pt x="12" y="972"/>
                  </a:lnTo>
                  <a:lnTo>
                    <a:pt x="12" y="966"/>
                  </a:lnTo>
                  <a:lnTo>
                    <a:pt x="6" y="966"/>
                  </a:lnTo>
                  <a:lnTo>
                    <a:pt x="6" y="960"/>
                  </a:lnTo>
                  <a:lnTo>
                    <a:pt x="6" y="954"/>
                  </a:lnTo>
                  <a:lnTo>
                    <a:pt x="6" y="948"/>
                  </a:lnTo>
                  <a:lnTo>
                    <a:pt x="6" y="942"/>
                  </a:lnTo>
                  <a:lnTo>
                    <a:pt x="12" y="930"/>
                  </a:lnTo>
                  <a:lnTo>
                    <a:pt x="6" y="924"/>
                  </a:lnTo>
                  <a:lnTo>
                    <a:pt x="6" y="918"/>
                  </a:lnTo>
                  <a:lnTo>
                    <a:pt x="6" y="912"/>
                  </a:lnTo>
                  <a:lnTo>
                    <a:pt x="6" y="906"/>
                  </a:lnTo>
                  <a:lnTo>
                    <a:pt x="6" y="900"/>
                  </a:lnTo>
                  <a:lnTo>
                    <a:pt x="0" y="894"/>
                  </a:lnTo>
                  <a:lnTo>
                    <a:pt x="0" y="888"/>
                  </a:lnTo>
                  <a:lnTo>
                    <a:pt x="0" y="882"/>
                  </a:lnTo>
                  <a:lnTo>
                    <a:pt x="6" y="876"/>
                  </a:lnTo>
                  <a:lnTo>
                    <a:pt x="6" y="870"/>
                  </a:lnTo>
                  <a:lnTo>
                    <a:pt x="18" y="864"/>
                  </a:lnTo>
                  <a:lnTo>
                    <a:pt x="18" y="858"/>
                  </a:lnTo>
                  <a:lnTo>
                    <a:pt x="18" y="846"/>
                  </a:lnTo>
                  <a:lnTo>
                    <a:pt x="18" y="834"/>
                  </a:lnTo>
                  <a:lnTo>
                    <a:pt x="18" y="828"/>
                  </a:lnTo>
                  <a:lnTo>
                    <a:pt x="24" y="828"/>
                  </a:lnTo>
                  <a:lnTo>
                    <a:pt x="24" y="810"/>
                  </a:lnTo>
                  <a:lnTo>
                    <a:pt x="24" y="804"/>
                  </a:lnTo>
                  <a:lnTo>
                    <a:pt x="18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24" y="792"/>
                  </a:lnTo>
                  <a:lnTo>
                    <a:pt x="30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6" y="762"/>
                  </a:lnTo>
                  <a:lnTo>
                    <a:pt x="36" y="756"/>
                  </a:lnTo>
                  <a:lnTo>
                    <a:pt x="30" y="756"/>
                  </a:lnTo>
                  <a:lnTo>
                    <a:pt x="30" y="750"/>
                  </a:lnTo>
                  <a:lnTo>
                    <a:pt x="36" y="750"/>
                  </a:lnTo>
                  <a:lnTo>
                    <a:pt x="36" y="744"/>
                  </a:lnTo>
                  <a:lnTo>
                    <a:pt x="30" y="744"/>
                  </a:lnTo>
                  <a:lnTo>
                    <a:pt x="30" y="738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0" y="732"/>
                  </a:lnTo>
                  <a:lnTo>
                    <a:pt x="36" y="726"/>
                  </a:lnTo>
                  <a:lnTo>
                    <a:pt x="30" y="726"/>
                  </a:lnTo>
                  <a:lnTo>
                    <a:pt x="24" y="726"/>
                  </a:lnTo>
                  <a:lnTo>
                    <a:pt x="30" y="720"/>
                  </a:lnTo>
                  <a:lnTo>
                    <a:pt x="30" y="714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696"/>
                  </a:lnTo>
                  <a:lnTo>
                    <a:pt x="66" y="702"/>
                  </a:lnTo>
                  <a:lnTo>
                    <a:pt x="78" y="702"/>
                  </a:lnTo>
                  <a:lnTo>
                    <a:pt x="84" y="702"/>
                  </a:lnTo>
                  <a:lnTo>
                    <a:pt x="96" y="696"/>
                  </a:lnTo>
                  <a:lnTo>
                    <a:pt x="102" y="690"/>
                  </a:lnTo>
                  <a:lnTo>
                    <a:pt x="102" y="684"/>
                  </a:lnTo>
                  <a:lnTo>
                    <a:pt x="114" y="684"/>
                  </a:lnTo>
                  <a:lnTo>
                    <a:pt x="144" y="684"/>
                  </a:lnTo>
                  <a:lnTo>
                    <a:pt x="150" y="690"/>
                  </a:lnTo>
                  <a:lnTo>
                    <a:pt x="162" y="696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6" y="690"/>
                  </a:lnTo>
                  <a:lnTo>
                    <a:pt x="192" y="690"/>
                  </a:lnTo>
                  <a:lnTo>
                    <a:pt x="198" y="684"/>
                  </a:lnTo>
                  <a:lnTo>
                    <a:pt x="204" y="684"/>
                  </a:lnTo>
                  <a:lnTo>
                    <a:pt x="210" y="684"/>
                  </a:lnTo>
                  <a:lnTo>
                    <a:pt x="222" y="678"/>
                  </a:lnTo>
                  <a:lnTo>
                    <a:pt x="228" y="678"/>
                  </a:lnTo>
                  <a:lnTo>
                    <a:pt x="228" y="660"/>
                  </a:lnTo>
                  <a:lnTo>
                    <a:pt x="234" y="642"/>
                  </a:lnTo>
                  <a:lnTo>
                    <a:pt x="246" y="618"/>
                  </a:lnTo>
                  <a:lnTo>
                    <a:pt x="252" y="618"/>
                  </a:lnTo>
                  <a:lnTo>
                    <a:pt x="252" y="600"/>
                  </a:lnTo>
                  <a:lnTo>
                    <a:pt x="252" y="588"/>
                  </a:lnTo>
                  <a:lnTo>
                    <a:pt x="252" y="582"/>
                  </a:lnTo>
                  <a:lnTo>
                    <a:pt x="258" y="576"/>
                  </a:lnTo>
                  <a:lnTo>
                    <a:pt x="270" y="564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70" y="522"/>
                  </a:lnTo>
                  <a:lnTo>
                    <a:pt x="270" y="510"/>
                  </a:lnTo>
                  <a:lnTo>
                    <a:pt x="270" y="498"/>
                  </a:lnTo>
                  <a:lnTo>
                    <a:pt x="258" y="468"/>
                  </a:lnTo>
                  <a:lnTo>
                    <a:pt x="252" y="456"/>
                  </a:lnTo>
                  <a:lnTo>
                    <a:pt x="258" y="444"/>
                  </a:lnTo>
                  <a:lnTo>
                    <a:pt x="264" y="432"/>
                  </a:lnTo>
                  <a:lnTo>
                    <a:pt x="270" y="426"/>
                  </a:lnTo>
                  <a:lnTo>
                    <a:pt x="276" y="420"/>
                  </a:lnTo>
                  <a:lnTo>
                    <a:pt x="288" y="420"/>
                  </a:lnTo>
                  <a:lnTo>
                    <a:pt x="288" y="414"/>
                  </a:lnTo>
                  <a:lnTo>
                    <a:pt x="294" y="414"/>
                  </a:lnTo>
                  <a:lnTo>
                    <a:pt x="306" y="390"/>
                  </a:lnTo>
                  <a:lnTo>
                    <a:pt x="312" y="384"/>
                  </a:lnTo>
                  <a:lnTo>
                    <a:pt x="318" y="378"/>
                  </a:lnTo>
                  <a:lnTo>
                    <a:pt x="318" y="372"/>
                  </a:lnTo>
                  <a:lnTo>
                    <a:pt x="324" y="366"/>
                  </a:lnTo>
                  <a:lnTo>
                    <a:pt x="330" y="354"/>
                  </a:lnTo>
                  <a:lnTo>
                    <a:pt x="336" y="348"/>
                  </a:lnTo>
                  <a:lnTo>
                    <a:pt x="336" y="330"/>
                  </a:lnTo>
                  <a:lnTo>
                    <a:pt x="342" y="324"/>
                  </a:lnTo>
                  <a:lnTo>
                    <a:pt x="342" y="318"/>
                  </a:lnTo>
                  <a:lnTo>
                    <a:pt x="348" y="318"/>
                  </a:lnTo>
                  <a:lnTo>
                    <a:pt x="360" y="318"/>
                  </a:lnTo>
                  <a:lnTo>
                    <a:pt x="372" y="318"/>
                  </a:lnTo>
                  <a:lnTo>
                    <a:pt x="384" y="306"/>
                  </a:lnTo>
                  <a:lnTo>
                    <a:pt x="396" y="300"/>
                  </a:lnTo>
                  <a:lnTo>
                    <a:pt x="396" y="294"/>
                  </a:lnTo>
                  <a:lnTo>
                    <a:pt x="396" y="288"/>
                  </a:lnTo>
                  <a:lnTo>
                    <a:pt x="390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2"/>
                  </a:lnTo>
                  <a:lnTo>
                    <a:pt x="378" y="246"/>
                  </a:lnTo>
                  <a:lnTo>
                    <a:pt x="384" y="228"/>
                  </a:lnTo>
                  <a:lnTo>
                    <a:pt x="390" y="216"/>
                  </a:lnTo>
                  <a:lnTo>
                    <a:pt x="402" y="210"/>
                  </a:lnTo>
                  <a:lnTo>
                    <a:pt x="408" y="210"/>
                  </a:lnTo>
                  <a:lnTo>
                    <a:pt x="420" y="204"/>
                  </a:lnTo>
                  <a:lnTo>
                    <a:pt x="444" y="198"/>
                  </a:lnTo>
                  <a:lnTo>
                    <a:pt x="462" y="192"/>
                  </a:lnTo>
                  <a:lnTo>
                    <a:pt x="474" y="186"/>
                  </a:lnTo>
                  <a:lnTo>
                    <a:pt x="480" y="192"/>
                  </a:lnTo>
                  <a:lnTo>
                    <a:pt x="492" y="192"/>
                  </a:lnTo>
                  <a:lnTo>
                    <a:pt x="498" y="192"/>
                  </a:lnTo>
                  <a:lnTo>
                    <a:pt x="504" y="192"/>
                  </a:lnTo>
                  <a:lnTo>
                    <a:pt x="510" y="192"/>
                  </a:lnTo>
                  <a:lnTo>
                    <a:pt x="516" y="186"/>
                  </a:lnTo>
                  <a:lnTo>
                    <a:pt x="522" y="180"/>
                  </a:lnTo>
                  <a:lnTo>
                    <a:pt x="522" y="174"/>
                  </a:lnTo>
                  <a:lnTo>
                    <a:pt x="528" y="168"/>
                  </a:lnTo>
                  <a:lnTo>
                    <a:pt x="534" y="168"/>
                  </a:lnTo>
                  <a:lnTo>
                    <a:pt x="534" y="156"/>
                  </a:lnTo>
                  <a:lnTo>
                    <a:pt x="534" y="150"/>
                  </a:lnTo>
                  <a:lnTo>
                    <a:pt x="552" y="138"/>
                  </a:lnTo>
                  <a:lnTo>
                    <a:pt x="558" y="126"/>
                  </a:lnTo>
                  <a:lnTo>
                    <a:pt x="558" y="114"/>
                  </a:lnTo>
                  <a:lnTo>
                    <a:pt x="564" y="102"/>
                  </a:lnTo>
                  <a:lnTo>
                    <a:pt x="564" y="96"/>
                  </a:lnTo>
                  <a:lnTo>
                    <a:pt x="564" y="90"/>
                  </a:lnTo>
                  <a:lnTo>
                    <a:pt x="564" y="72"/>
                  </a:lnTo>
                  <a:lnTo>
                    <a:pt x="564" y="60"/>
                  </a:lnTo>
                  <a:lnTo>
                    <a:pt x="564" y="54"/>
                  </a:lnTo>
                  <a:lnTo>
                    <a:pt x="570" y="42"/>
                  </a:lnTo>
                  <a:lnTo>
                    <a:pt x="576" y="42"/>
                  </a:lnTo>
                  <a:lnTo>
                    <a:pt x="582" y="36"/>
                  </a:lnTo>
                  <a:lnTo>
                    <a:pt x="594" y="36"/>
                  </a:lnTo>
                  <a:lnTo>
                    <a:pt x="594" y="30"/>
                  </a:lnTo>
                  <a:lnTo>
                    <a:pt x="600" y="24"/>
                  </a:lnTo>
                  <a:lnTo>
                    <a:pt x="600" y="12"/>
                  </a:lnTo>
                  <a:lnTo>
                    <a:pt x="606" y="6"/>
                  </a:lnTo>
                  <a:lnTo>
                    <a:pt x="606" y="0"/>
                  </a:lnTo>
                  <a:lnTo>
                    <a:pt x="612" y="0"/>
                  </a:lnTo>
                  <a:lnTo>
                    <a:pt x="618" y="0"/>
                  </a:lnTo>
                  <a:lnTo>
                    <a:pt x="624" y="6"/>
                  </a:lnTo>
                  <a:lnTo>
                    <a:pt x="624" y="12"/>
                  </a:lnTo>
                  <a:lnTo>
                    <a:pt x="624" y="18"/>
                  </a:lnTo>
                  <a:lnTo>
                    <a:pt x="624" y="24"/>
                  </a:lnTo>
                  <a:lnTo>
                    <a:pt x="624" y="30"/>
                  </a:lnTo>
                  <a:lnTo>
                    <a:pt x="630" y="30"/>
                  </a:lnTo>
                  <a:lnTo>
                    <a:pt x="630" y="36"/>
                  </a:lnTo>
                  <a:lnTo>
                    <a:pt x="630" y="42"/>
                  </a:lnTo>
                  <a:lnTo>
                    <a:pt x="630" y="48"/>
                  </a:lnTo>
                  <a:lnTo>
                    <a:pt x="636" y="54"/>
                  </a:lnTo>
                  <a:lnTo>
                    <a:pt x="642" y="48"/>
                  </a:lnTo>
                  <a:lnTo>
                    <a:pt x="648" y="48"/>
                  </a:lnTo>
                  <a:lnTo>
                    <a:pt x="648" y="60"/>
                  </a:lnTo>
                  <a:lnTo>
                    <a:pt x="654" y="66"/>
                  </a:lnTo>
                  <a:lnTo>
                    <a:pt x="660" y="72"/>
                  </a:lnTo>
                  <a:lnTo>
                    <a:pt x="666" y="72"/>
                  </a:lnTo>
                  <a:lnTo>
                    <a:pt x="666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72" y="66"/>
                  </a:lnTo>
                  <a:lnTo>
                    <a:pt x="678" y="66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6" y="66"/>
                  </a:lnTo>
                  <a:lnTo>
                    <a:pt x="696" y="72"/>
                  </a:lnTo>
                  <a:lnTo>
                    <a:pt x="702" y="72"/>
                  </a:lnTo>
                  <a:lnTo>
                    <a:pt x="708" y="72"/>
                  </a:lnTo>
                  <a:lnTo>
                    <a:pt x="720" y="66"/>
                  </a:lnTo>
                  <a:lnTo>
                    <a:pt x="726" y="78"/>
                  </a:lnTo>
                  <a:lnTo>
                    <a:pt x="744" y="84"/>
                  </a:lnTo>
                  <a:lnTo>
                    <a:pt x="744" y="90"/>
                  </a:lnTo>
                  <a:lnTo>
                    <a:pt x="744" y="96"/>
                  </a:lnTo>
                  <a:lnTo>
                    <a:pt x="738" y="96"/>
                  </a:lnTo>
                  <a:lnTo>
                    <a:pt x="738" y="102"/>
                  </a:lnTo>
                  <a:lnTo>
                    <a:pt x="732" y="102"/>
                  </a:lnTo>
                  <a:lnTo>
                    <a:pt x="732" y="108"/>
                  </a:lnTo>
                  <a:lnTo>
                    <a:pt x="738" y="108"/>
                  </a:lnTo>
                  <a:lnTo>
                    <a:pt x="744" y="114"/>
                  </a:lnTo>
                  <a:lnTo>
                    <a:pt x="750" y="108"/>
                  </a:lnTo>
                  <a:lnTo>
                    <a:pt x="756" y="108"/>
                  </a:lnTo>
                  <a:lnTo>
                    <a:pt x="762" y="108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80" y="120"/>
                  </a:lnTo>
                  <a:lnTo>
                    <a:pt x="774" y="120"/>
                  </a:lnTo>
                  <a:lnTo>
                    <a:pt x="768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74" y="138"/>
                  </a:lnTo>
                  <a:lnTo>
                    <a:pt x="774" y="132"/>
                  </a:lnTo>
                  <a:lnTo>
                    <a:pt x="780" y="132"/>
                  </a:lnTo>
                  <a:lnTo>
                    <a:pt x="786" y="132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44"/>
                  </a:lnTo>
                  <a:lnTo>
                    <a:pt x="786" y="150"/>
                  </a:lnTo>
                  <a:lnTo>
                    <a:pt x="780" y="150"/>
                  </a:lnTo>
                  <a:lnTo>
                    <a:pt x="774" y="150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74" y="162"/>
                  </a:lnTo>
                  <a:lnTo>
                    <a:pt x="780" y="162"/>
                  </a:lnTo>
                  <a:lnTo>
                    <a:pt x="786" y="168"/>
                  </a:lnTo>
                  <a:lnTo>
                    <a:pt x="792" y="162"/>
                  </a:lnTo>
                  <a:lnTo>
                    <a:pt x="798" y="168"/>
                  </a:lnTo>
                  <a:lnTo>
                    <a:pt x="798" y="174"/>
                  </a:lnTo>
                  <a:lnTo>
                    <a:pt x="804" y="168"/>
                  </a:lnTo>
                  <a:lnTo>
                    <a:pt x="810" y="168"/>
                  </a:lnTo>
                  <a:lnTo>
                    <a:pt x="810" y="174"/>
                  </a:lnTo>
                  <a:lnTo>
                    <a:pt x="816" y="168"/>
                  </a:lnTo>
                  <a:lnTo>
                    <a:pt x="822" y="162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74"/>
                  </a:lnTo>
                  <a:lnTo>
                    <a:pt x="834" y="192"/>
                  </a:lnTo>
                  <a:lnTo>
                    <a:pt x="834" y="198"/>
                  </a:lnTo>
                  <a:lnTo>
                    <a:pt x="840" y="192"/>
                  </a:lnTo>
                  <a:lnTo>
                    <a:pt x="846" y="192"/>
                  </a:lnTo>
                  <a:lnTo>
                    <a:pt x="852" y="186"/>
                  </a:lnTo>
                  <a:lnTo>
                    <a:pt x="858" y="192"/>
                  </a:lnTo>
                  <a:lnTo>
                    <a:pt x="864" y="192"/>
                  </a:lnTo>
                  <a:lnTo>
                    <a:pt x="870" y="198"/>
                  </a:lnTo>
                  <a:lnTo>
                    <a:pt x="876" y="180"/>
                  </a:lnTo>
                  <a:lnTo>
                    <a:pt x="882" y="180"/>
                  </a:lnTo>
                  <a:lnTo>
                    <a:pt x="888" y="180"/>
                  </a:lnTo>
                  <a:lnTo>
                    <a:pt x="894" y="186"/>
                  </a:lnTo>
                  <a:lnTo>
                    <a:pt x="888" y="198"/>
                  </a:lnTo>
                  <a:lnTo>
                    <a:pt x="894" y="204"/>
                  </a:lnTo>
                  <a:lnTo>
                    <a:pt x="906" y="210"/>
                  </a:lnTo>
                  <a:lnTo>
                    <a:pt x="918" y="246"/>
                  </a:lnTo>
                  <a:lnTo>
                    <a:pt x="930" y="258"/>
                  </a:lnTo>
                  <a:lnTo>
                    <a:pt x="942" y="282"/>
                  </a:lnTo>
                  <a:lnTo>
                    <a:pt x="966" y="288"/>
                  </a:lnTo>
                  <a:lnTo>
                    <a:pt x="972" y="300"/>
                  </a:lnTo>
                  <a:lnTo>
                    <a:pt x="972" y="318"/>
                  </a:lnTo>
                  <a:lnTo>
                    <a:pt x="996" y="336"/>
                  </a:lnTo>
                  <a:lnTo>
                    <a:pt x="1050" y="390"/>
                  </a:lnTo>
                  <a:lnTo>
                    <a:pt x="1116" y="462"/>
                  </a:lnTo>
                  <a:lnTo>
                    <a:pt x="1122" y="468"/>
                  </a:lnTo>
                  <a:lnTo>
                    <a:pt x="1128" y="474"/>
                  </a:lnTo>
                  <a:lnTo>
                    <a:pt x="1140" y="474"/>
                  </a:lnTo>
                  <a:lnTo>
                    <a:pt x="1152" y="486"/>
                  </a:lnTo>
                  <a:lnTo>
                    <a:pt x="1152" y="492"/>
                  </a:lnTo>
                  <a:lnTo>
                    <a:pt x="1158" y="492"/>
                  </a:lnTo>
                  <a:lnTo>
                    <a:pt x="1164" y="492"/>
                  </a:lnTo>
                  <a:lnTo>
                    <a:pt x="1170" y="504"/>
                  </a:lnTo>
                  <a:lnTo>
                    <a:pt x="1176" y="504"/>
                  </a:lnTo>
                  <a:lnTo>
                    <a:pt x="1176" y="510"/>
                  </a:lnTo>
                  <a:lnTo>
                    <a:pt x="1200" y="516"/>
                  </a:lnTo>
                  <a:lnTo>
                    <a:pt x="1200" y="522"/>
                  </a:lnTo>
                  <a:lnTo>
                    <a:pt x="1212" y="534"/>
                  </a:lnTo>
                  <a:lnTo>
                    <a:pt x="1218" y="540"/>
                  </a:lnTo>
                  <a:lnTo>
                    <a:pt x="1224" y="552"/>
                  </a:lnTo>
                  <a:lnTo>
                    <a:pt x="1230" y="552"/>
                  </a:lnTo>
                  <a:lnTo>
                    <a:pt x="1242" y="552"/>
                  </a:lnTo>
                  <a:lnTo>
                    <a:pt x="1248" y="558"/>
                  </a:lnTo>
                  <a:lnTo>
                    <a:pt x="1254" y="558"/>
                  </a:lnTo>
                  <a:lnTo>
                    <a:pt x="1260" y="564"/>
                  </a:lnTo>
                  <a:lnTo>
                    <a:pt x="1266" y="564"/>
                  </a:lnTo>
                  <a:lnTo>
                    <a:pt x="1272" y="564"/>
                  </a:lnTo>
                  <a:lnTo>
                    <a:pt x="1284" y="564"/>
                  </a:lnTo>
                  <a:lnTo>
                    <a:pt x="1290" y="570"/>
                  </a:lnTo>
                  <a:lnTo>
                    <a:pt x="1296" y="576"/>
                  </a:lnTo>
                  <a:lnTo>
                    <a:pt x="1302" y="588"/>
                  </a:lnTo>
                  <a:lnTo>
                    <a:pt x="1296" y="594"/>
                  </a:lnTo>
                  <a:lnTo>
                    <a:pt x="1296" y="600"/>
                  </a:lnTo>
                  <a:lnTo>
                    <a:pt x="1296" y="606"/>
                  </a:lnTo>
                  <a:lnTo>
                    <a:pt x="1290" y="612"/>
                  </a:lnTo>
                  <a:lnTo>
                    <a:pt x="1290" y="624"/>
                  </a:lnTo>
                  <a:lnTo>
                    <a:pt x="1290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308" y="654"/>
                  </a:lnTo>
                  <a:lnTo>
                    <a:pt x="1320" y="654"/>
                  </a:lnTo>
                  <a:lnTo>
                    <a:pt x="1326" y="660"/>
                  </a:lnTo>
                  <a:lnTo>
                    <a:pt x="1338" y="654"/>
                  </a:lnTo>
                  <a:lnTo>
                    <a:pt x="1344" y="654"/>
                  </a:lnTo>
                  <a:lnTo>
                    <a:pt x="1356" y="654"/>
                  </a:lnTo>
                  <a:lnTo>
                    <a:pt x="1362" y="648"/>
                  </a:lnTo>
                  <a:lnTo>
                    <a:pt x="1368" y="642"/>
                  </a:lnTo>
                  <a:lnTo>
                    <a:pt x="1374" y="636"/>
                  </a:lnTo>
                  <a:lnTo>
                    <a:pt x="1380" y="636"/>
                  </a:lnTo>
                  <a:lnTo>
                    <a:pt x="1392" y="636"/>
                  </a:lnTo>
                  <a:lnTo>
                    <a:pt x="1398" y="636"/>
                  </a:lnTo>
                  <a:lnTo>
                    <a:pt x="1404" y="636"/>
                  </a:lnTo>
                  <a:lnTo>
                    <a:pt x="1410" y="630"/>
                  </a:lnTo>
                  <a:lnTo>
                    <a:pt x="1410" y="624"/>
                  </a:lnTo>
                  <a:lnTo>
                    <a:pt x="1422" y="618"/>
                  </a:lnTo>
                  <a:lnTo>
                    <a:pt x="1428" y="618"/>
                  </a:lnTo>
                  <a:lnTo>
                    <a:pt x="1440" y="612"/>
                  </a:lnTo>
                  <a:lnTo>
                    <a:pt x="1446" y="612"/>
                  </a:lnTo>
                  <a:lnTo>
                    <a:pt x="1458" y="612"/>
                  </a:lnTo>
                  <a:lnTo>
                    <a:pt x="1470" y="624"/>
                  </a:lnTo>
                  <a:lnTo>
                    <a:pt x="1488" y="642"/>
                  </a:lnTo>
                  <a:lnTo>
                    <a:pt x="1500" y="648"/>
                  </a:lnTo>
                  <a:lnTo>
                    <a:pt x="1512" y="654"/>
                  </a:lnTo>
                  <a:lnTo>
                    <a:pt x="1518" y="660"/>
                  </a:lnTo>
                  <a:lnTo>
                    <a:pt x="1524" y="660"/>
                  </a:lnTo>
                  <a:lnTo>
                    <a:pt x="1530" y="660"/>
                  </a:lnTo>
                  <a:lnTo>
                    <a:pt x="1536" y="666"/>
                  </a:lnTo>
                  <a:lnTo>
                    <a:pt x="1542" y="672"/>
                  </a:lnTo>
                  <a:lnTo>
                    <a:pt x="1548" y="672"/>
                  </a:lnTo>
                  <a:lnTo>
                    <a:pt x="1554" y="684"/>
                  </a:lnTo>
                  <a:lnTo>
                    <a:pt x="1554" y="690"/>
                  </a:lnTo>
                  <a:lnTo>
                    <a:pt x="1566" y="702"/>
                  </a:lnTo>
                  <a:lnTo>
                    <a:pt x="1572" y="720"/>
                  </a:lnTo>
                  <a:lnTo>
                    <a:pt x="1572" y="726"/>
                  </a:lnTo>
                  <a:lnTo>
                    <a:pt x="1578" y="732"/>
                  </a:lnTo>
                  <a:lnTo>
                    <a:pt x="1584" y="738"/>
                  </a:lnTo>
                  <a:lnTo>
                    <a:pt x="1590" y="738"/>
                  </a:lnTo>
                  <a:lnTo>
                    <a:pt x="1596" y="738"/>
                  </a:lnTo>
                  <a:lnTo>
                    <a:pt x="1602" y="744"/>
                  </a:lnTo>
                  <a:lnTo>
                    <a:pt x="1608" y="744"/>
                  </a:lnTo>
                  <a:lnTo>
                    <a:pt x="1614" y="744"/>
                  </a:lnTo>
                  <a:lnTo>
                    <a:pt x="1626" y="744"/>
                  </a:lnTo>
                  <a:lnTo>
                    <a:pt x="1638" y="744"/>
                  </a:lnTo>
                  <a:lnTo>
                    <a:pt x="1650" y="744"/>
                  </a:lnTo>
                  <a:lnTo>
                    <a:pt x="1662" y="744"/>
                  </a:lnTo>
                  <a:lnTo>
                    <a:pt x="1668" y="744"/>
                  </a:lnTo>
                  <a:lnTo>
                    <a:pt x="1674" y="744"/>
                  </a:lnTo>
                  <a:lnTo>
                    <a:pt x="1686" y="744"/>
                  </a:lnTo>
                  <a:lnTo>
                    <a:pt x="1698" y="750"/>
                  </a:lnTo>
                  <a:lnTo>
                    <a:pt x="1704" y="750"/>
                  </a:lnTo>
                  <a:lnTo>
                    <a:pt x="1716" y="756"/>
                  </a:lnTo>
                  <a:lnTo>
                    <a:pt x="1722" y="756"/>
                  </a:lnTo>
                  <a:lnTo>
                    <a:pt x="1728" y="756"/>
                  </a:lnTo>
                  <a:lnTo>
                    <a:pt x="1734" y="762"/>
                  </a:lnTo>
                  <a:lnTo>
                    <a:pt x="1740" y="768"/>
                  </a:lnTo>
                  <a:lnTo>
                    <a:pt x="1758" y="780"/>
                  </a:lnTo>
                  <a:lnTo>
                    <a:pt x="1770" y="780"/>
                  </a:lnTo>
                  <a:lnTo>
                    <a:pt x="1776" y="780"/>
                  </a:lnTo>
                  <a:lnTo>
                    <a:pt x="1782" y="780"/>
                  </a:lnTo>
                  <a:lnTo>
                    <a:pt x="1800" y="798"/>
                  </a:lnTo>
                  <a:lnTo>
                    <a:pt x="1818" y="810"/>
                  </a:lnTo>
                  <a:lnTo>
                    <a:pt x="1830" y="816"/>
                  </a:lnTo>
                  <a:lnTo>
                    <a:pt x="1836" y="822"/>
                  </a:lnTo>
                  <a:lnTo>
                    <a:pt x="1836" y="828"/>
                  </a:lnTo>
                  <a:lnTo>
                    <a:pt x="1842" y="828"/>
                  </a:lnTo>
                  <a:lnTo>
                    <a:pt x="1848" y="834"/>
                  </a:lnTo>
                  <a:lnTo>
                    <a:pt x="1854" y="840"/>
                  </a:lnTo>
                  <a:lnTo>
                    <a:pt x="1860" y="846"/>
                  </a:lnTo>
                  <a:lnTo>
                    <a:pt x="1872" y="852"/>
                  </a:lnTo>
                  <a:lnTo>
                    <a:pt x="1884" y="852"/>
                  </a:lnTo>
                  <a:lnTo>
                    <a:pt x="1896" y="852"/>
                  </a:lnTo>
                  <a:lnTo>
                    <a:pt x="1902" y="846"/>
                  </a:lnTo>
                  <a:lnTo>
                    <a:pt x="1908" y="852"/>
                  </a:lnTo>
                  <a:lnTo>
                    <a:pt x="1920" y="858"/>
                  </a:lnTo>
                  <a:lnTo>
                    <a:pt x="1926" y="870"/>
                  </a:lnTo>
                  <a:lnTo>
                    <a:pt x="1938" y="888"/>
                  </a:lnTo>
                  <a:lnTo>
                    <a:pt x="1944" y="900"/>
                  </a:lnTo>
                  <a:lnTo>
                    <a:pt x="1950" y="900"/>
                  </a:lnTo>
                  <a:lnTo>
                    <a:pt x="1962" y="906"/>
                  </a:lnTo>
                  <a:lnTo>
                    <a:pt x="1968" y="906"/>
                  </a:lnTo>
                  <a:lnTo>
                    <a:pt x="1980" y="906"/>
                  </a:lnTo>
                  <a:lnTo>
                    <a:pt x="1998" y="906"/>
                  </a:lnTo>
                  <a:lnTo>
                    <a:pt x="2010" y="900"/>
                  </a:lnTo>
                  <a:lnTo>
                    <a:pt x="2022" y="900"/>
                  </a:lnTo>
                  <a:lnTo>
                    <a:pt x="2028" y="900"/>
                  </a:lnTo>
                  <a:lnTo>
                    <a:pt x="2034" y="906"/>
                  </a:lnTo>
                  <a:lnTo>
                    <a:pt x="2046" y="906"/>
                  </a:lnTo>
                  <a:lnTo>
                    <a:pt x="2052" y="900"/>
                  </a:lnTo>
                  <a:lnTo>
                    <a:pt x="2058" y="900"/>
                  </a:lnTo>
                  <a:lnTo>
                    <a:pt x="2064" y="900"/>
                  </a:lnTo>
                  <a:lnTo>
                    <a:pt x="2070" y="900"/>
                  </a:lnTo>
                  <a:lnTo>
                    <a:pt x="2076" y="900"/>
                  </a:lnTo>
                  <a:lnTo>
                    <a:pt x="2076" y="906"/>
                  </a:lnTo>
                  <a:lnTo>
                    <a:pt x="2088" y="906"/>
                  </a:lnTo>
                  <a:lnTo>
                    <a:pt x="2106" y="900"/>
                  </a:lnTo>
                  <a:lnTo>
                    <a:pt x="2118" y="900"/>
                  </a:lnTo>
                  <a:lnTo>
                    <a:pt x="2130" y="900"/>
                  </a:lnTo>
                  <a:lnTo>
                    <a:pt x="2142" y="900"/>
                  </a:lnTo>
                  <a:lnTo>
                    <a:pt x="2148" y="906"/>
                  </a:lnTo>
                  <a:lnTo>
                    <a:pt x="2154" y="906"/>
                  </a:lnTo>
                  <a:lnTo>
                    <a:pt x="2160" y="906"/>
                  </a:lnTo>
                  <a:lnTo>
                    <a:pt x="2166" y="906"/>
                  </a:lnTo>
                  <a:lnTo>
                    <a:pt x="2178" y="918"/>
                  </a:lnTo>
                  <a:lnTo>
                    <a:pt x="2178" y="924"/>
                  </a:lnTo>
                  <a:lnTo>
                    <a:pt x="2184" y="924"/>
                  </a:lnTo>
                  <a:lnTo>
                    <a:pt x="2190" y="924"/>
                  </a:lnTo>
                  <a:lnTo>
                    <a:pt x="2196" y="924"/>
                  </a:lnTo>
                  <a:lnTo>
                    <a:pt x="2202" y="918"/>
                  </a:lnTo>
                  <a:lnTo>
                    <a:pt x="2208" y="918"/>
                  </a:lnTo>
                  <a:lnTo>
                    <a:pt x="2214" y="918"/>
                  </a:lnTo>
                  <a:lnTo>
                    <a:pt x="2226" y="918"/>
                  </a:lnTo>
                  <a:lnTo>
                    <a:pt x="2220" y="948"/>
                  </a:lnTo>
                  <a:lnTo>
                    <a:pt x="2214" y="972"/>
                  </a:lnTo>
                  <a:lnTo>
                    <a:pt x="2214" y="984"/>
                  </a:lnTo>
                  <a:lnTo>
                    <a:pt x="2208" y="990"/>
                  </a:lnTo>
                  <a:lnTo>
                    <a:pt x="2208" y="996"/>
                  </a:lnTo>
                  <a:lnTo>
                    <a:pt x="2202" y="996"/>
                  </a:lnTo>
                  <a:lnTo>
                    <a:pt x="2196" y="996"/>
                  </a:lnTo>
                  <a:lnTo>
                    <a:pt x="2190" y="1008"/>
                  </a:lnTo>
                  <a:lnTo>
                    <a:pt x="2172" y="1074"/>
                  </a:lnTo>
                  <a:lnTo>
                    <a:pt x="2166" y="1092"/>
                  </a:lnTo>
                  <a:lnTo>
                    <a:pt x="2172" y="1110"/>
                  </a:lnTo>
                  <a:lnTo>
                    <a:pt x="2172" y="1122"/>
                  </a:lnTo>
                  <a:lnTo>
                    <a:pt x="2166" y="1134"/>
                  </a:lnTo>
                  <a:lnTo>
                    <a:pt x="2148" y="1140"/>
                  </a:lnTo>
                  <a:lnTo>
                    <a:pt x="2148" y="1134"/>
                  </a:lnTo>
                  <a:lnTo>
                    <a:pt x="2118" y="1140"/>
                  </a:lnTo>
                  <a:lnTo>
                    <a:pt x="2088" y="1134"/>
                  </a:lnTo>
                  <a:lnTo>
                    <a:pt x="2064" y="1122"/>
                  </a:lnTo>
                  <a:lnTo>
                    <a:pt x="2034" y="1122"/>
                  </a:lnTo>
                  <a:lnTo>
                    <a:pt x="2022" y="1128"/>
                  </a:lnTo>
                  <a:lnTo>
                    <a:pt x="1986" y="1128"/>
                  </a:lnTo>
                  <a:lnTo>
                    <a:pt x="1938" y="1122"/>
                  </a:lnTo>
                  <a:lnTo>
                    <a:pt x="1932" y="1116"/>
                  </a:lnTo>
                  <a:lnTo>
                    <a:pt x="1896" y="1110"/>
                  </a:lnTo>
                  <a:lnTo>
                    <a:pt x="1878" y="1104"/>
                  </a:lnTo>
                  <a:lnTo>
                    <a:pt x="1866" y="1098"/>
                  </a:lnTo>
                  <a:lnTo>
                    <a:pt x="1860" y="1098"/>
                  </a:lnTo>
                  <a:lnTo>
                    <a:pt x="1854" y="1092"/>
                  </a:lnTo>
                  <a:lnTo>
                    <a:pt x="1860" y="1092"/>
                  </a:lnTo>
                  <a:lnTo>
                    <a:pt x="1860" y="1086"/>
                  </a:lnTo>
                  <a:lnTo>
                    <a:pt x="1854" y="1086"/>
                  </a:lnTo>
                  <a:lnTo>
                    <a:pt x="1842" y="1080"/>
                  </a:lnTo>
                  <a:lnTo>
                    <a:pt x="1818" y="1062"/>
                  </a:lnTo>
                  <a:lnTo>
                    <a:pt x="1782" y="1056"/>
                  </a:lnTo>
                  <a:lnTo>
                    <a:pt x="1770" y="1068"/>
                  </a:lnTo>
                  <a:lnTo>
                    <a:pt x="1746" y="1098"/>
                  </a:lnTo>
                  <a:lnTo>
                    <a:pt x="1722" y="1104"/>
                  </a:lnTo>
                  <a:lnTo>
                    <a:pt x="1710" y="1122"/>
                  </a:lnTo>
                  <a:lnTo>
                    <a:pt x="1710" y="1128"/>
                  </a:lnTo>
                  <a:lnTo>
                    <a:pt x="1710" y="1140"/>
                  </a:lnTo>
                  <a:lnTo>
                    <a:pt x="1698" y="1146"/>
                  </a:lnTo>
                  <a:lnTo>
                    <a:pt x="1686" y="1152"/>
                  </a:lnTo>
                  <a:lnTo>
                    <a:pt x="1680" y="1164"/>
                  </a:lnTo>
                  <a:lnTo>
                    <a:pt x="1680" y="1170"/>
                  </a:lnTo>
                  <a:lnTo>
                    <a:pt x="1686" y="1170"/>
                  </a:lnTo>
                  <a:lnTo>
                    <a:pt x="1686" y="1176"/>
                  </a:lnTo>
                  <a:lnTo>
                    <a:pt x="1698" y="1188"/>
                  </a:lnTo>
                  <a:lnTo>
                    <a:pt x="1704" y="1188"/>
                  </a:lnTo>
                  <a:lnTo>
                    <a:pt x="1698" y="1194"/>
                  </a:lnTo>
                  <a:lnTo>
                    <a:pt x="1704" y="1194"/>
                  </a:lnTo>
                  <a:lnTo>
                    <a:pt x="1704" y="1200"/>
                  </a:lnTo>
                  <a:lnTo>
                    <a:pt x="1704" y="1206"/>
                  </a:lnTo>
                  <a:lnTo>
                    <a:pt x="1704" y="1212"/>
                  </a:lnTo>
                  <a:lnTo>
                    <a:pt x="1704" y="1218"/>
                  </a:lnTo>
                  <a:lnTo>
                    <a:pt x="1710" y="1218"/>
                  </a:lnTo>
                  <a:lnTo>
                    <a:pt x="1710" y="1212"/>
                  </a:lnTo>
                  <a:lnTo>
                    <a:pt x="1716" y="1212"/>
                  </a:lnTo>
                  <a:lnTo>
                    <a:pt x="1716" y="1218"/>
                  </a:lnTo>
                  <a:lnTo>
                    <a:pt x="1716" y="1224"/>
                  </a:lnTo>
                  <a:lnTo>
                    <a:pt x="1716" y="1230"/>
                  </a:lnTo>
                  <a:lnTo>
                    <a:pt x="1722" y="1236"/>
                  </a:lnTo>
                  <a:lnTo>
                    <a:pt x="1740" y="1230"/>
                  </a:lnTo>
                  <a:lnTo>
                    <a:pt x="1734" y="1236"/>
                  </a:lnTo>
                  <a:lnTo>
                    <a:pt x="1734" y="1242"/>
                  </a:lnTo>
                  <a:lnTo>
                    <a:pt x="1734" y="1248"/>
                  </a:lnTo>
                  <a:lnTo>
                    <a:pt x="1734" y="1254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52" y="1266"/>
                  </a:lnTo>
                  <a:lnTo>
                    <a:pt x="1764" y="1266"/>
                  </a:lnTo>
                  <a:lnTo>
                    <a:pt x="1788" y="1260"/>
                  </a:lnTo>
                  <a:lnTo>
                    <a:pt x="1800" y="1260"/>
                  </a:lnTo>
                  <a:lnTo>
                    <a:pt x="1806" y="1272"/>
                  </a:lnTo>
                  <a:lnTo>
                    <a:pt x="1806" y="1296"/>
                  </a:lnTo>
                  <a:lnTo>
                    <a:pt x="1800" y="1308"/>
                  </a:lnTo>
                  <a:lnTo>
                    <a:pt x="1788" y="1308"/>
                  </a:lnTo>
                  <a:lnTo>
                    <a:pt x="1782" y="13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7" name="Freeform 32">
              <a:extLst>
                <a:ext uri="{FF2B5EF4-FFF2-40B4-BE49-F238E27FC236}">
                  <a16:creationId xmlns:a16="http://schemas.microsoft.com/office/drawing/2014/main" id="{1EF84438-BF7A-47D2-9156-E231EA2A279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3295" y="2316568"/>
              <a:ext cx="1290281" cy="1084704"/>
            </a:xfrm>
            <a:custGeom>
              <a:avLst/>
              <a:gdLst>
                <a:gd name="T0" fmla="*/ 177 w 2430"/>
                <a:gd name="T1" fmla="*/ 169 h 2040"/>
                <a:gd name="T2" fmla="*/ 174 w 2430"/>
                <a:gd name="T3" fmla="*/ 173 h 2040"/>
                <a:gd name="T4" fmla="*/ 169 w 2430"/>
                <a:gd name="T5" fmla="*/ 171 h 2040"/>
                <a:gd name="T6" fmla="*/ 160 w 2430"/>
                <a:gd name="T7" fmla="*/ 163 h 2040"/>
                <a:gd name="T8" fmla="*/ 154 w 2430"/>
                <a:gd name="T9" fmla="*/ 149 h 2040"/>
                <a:gd name="T10" fmla="*/ 144 w 2430"/>
                <a:gd name="T11" fmla="*/ 147 h 2040"/>
                <a:gd name="T12" fmla="*/ 133 w 2430"/>
                <a:gd name="T13" fmla="*/ 146 h 2040"/>
                <a:gd name="T14" fmla="*/ 121 w 2430"/>
                <a:gd name="T15" fmla="*/ 145 h 2040"/>
                <a:gd name="T16" fmla="*/ 110 w 2430"/>
                <a:gd name="T17" fmla="*/ 137 h 2040"/>
                <a:gd name="T18" fmla="*/ 97 w 2430"/>
                <a:gd name="T19" fmla="*/ 131 h 2040"/>
                <a:gd name="T20" fmla="*/ 87 w 2430"/>
                <a:gd name="T21" fmla="*/ 125 h 2040"/>
                <a:gd name="T22" fmla="*/ 75 w 2430"/>
                <a:gd name="T23" fmla="*/ 122 h 2040"/>
                <a:gd name="T24" fmla="*/ 65 w 2430"/>
                <a:gd name="T25" fmla="*/ 122 h 2040"/>
                <a:gd name="T26" fmla="*/ 59 w 2430"/>
                <a:gd name="T27" fmla="*/ 115 h 2040"/>
                <a:gd name="T28" fmla="*/ 50 w 2430"/>
                <a:gd name="T29" fmla="*/ 107 h 2040"/>
                <a:gd name="T30" fmla="*/ 28 w 2430"/>
                <a:gd name="T31" fmla="*/ 84 h 2040"/>
                <a:gd name="T32" fmla="*/ 22 w 2430"/>
                <a:gd name="T33" fmla="*/ 82 h 2040"/>
                <a:gd name="T34" fmla="*/ 20 w 2430"/>
                <a:gd name="T35" fmla="*/ 79 h 2040"/>
                <a:gd name="T36" fmla="*/ 16 w 2430"/>
                <a:gd name="T37" fmla="*/ 76 h 2040"/>
                <a:gd name="T38" fmla="*/ 11 w 2430"/>
                <a:gd name="T39" fmla="*/ 74 h 2040"/>
                <a:gd name="T40" fmla="*/ 7 w 2430"/>
                <a:gd name="T41" fmla="*/ 69 h 2040"/>
                <a:gd name="T42" fmla="*/ 0 w 2430"/>
                <a:gd name="T43" fmla="*/ 60 h 2040"/>
                <a:gd name="T44" fmla="*/ 10 w 2430"/>
                <a:gd name="T45" fmla="*/ 53 h 2040"/>
                <a:gd name="T46" fmla="*/ 15 w 2430"/>
                <a:gd name="T47" fmla="*/ 40 h 2040"/>
                <a:gd name="T48" fmla="*/ 9 w 2430"/>
                <a:gd name="T49" fmla="*/ 29 h 2040"/>
                <a:gd name="T50" fmla="*/ 7 w 2430"/>
                <a:gd name="T51" fmla="*/ 16 h 2040"/>
                <a:gd name="T52" fmla="*/ 18 w 2430"/>
                <a:gd name="T53" fmla="*/ 21 h 2040"/>
                <a:gd name="T54" fmla="*/ 48 w 2430"/>
                <a:gd name="T55" fmla="*/ 27 h 2040"/>
                <a:gd name="T56" fmla="*/ 62 w 2430"/>
                <a:gd name="T57" fmla="*/ 25 h 2040"/>
                <a:gd name="T58" fmla="*/ 59 w 2430"/>
                <a:gd name="T59" fmla="*/ 42 h 2040"/>
                <a:gd name="T60" fmla="*/ 54 w 2430"/>
                <a:gd name="T61" fmla="*/ 65 h 2040"/>
                <a:gd name="T62" fmla="*/ 65 w 2430"/>
                <a:gd name="T63" fmla="*/ 60 h 2040"/>
                <a:gd name="T64" fmla="*/ 68 w 2430"/>
                <a:gd name="T65" fmla="*/ 40 h 2040"/>
                <a:gd name="T66" fmla="*/ 75 w 2430"/>
                <a:gd name="T67" fmla="*/ 36 h 2040"/>
                <a:gd name="T68" fmla="*/ 83 w 2430"/>
                <a:gd name="T69" fmla="*/ 29 h 2040"/>
                <a:gd name="T70" fmla="*/ 81 w 2430"/>
                <a:gd name="T71" fmla="*/ 17 h 2040"/>
                <a:gd name="T72" fmla="*/ 66 w 2430"/>
                <a:gd name="T73" fmla="*/ 7 h 2040"/>
                <a:gd name="T74" fmla="*/ 80 w 2430"/>
                <a:gd name="T75" fmla="*/ 5 h 2040"/>
                <a:gd name="T76" fmla="*/ 89 w 2430"/>
                <a:gd name="T77" fmla="*/ 1 h 2040"/>
                <a:gd name="T78" fmla="*/ 101 w 2430"/>
                <a:gd name="T79" fmla="*/ 10 h 2040"/>
                <a:gd name="T80" fmla="*/ 103 w 2430"/>
                <a:gd name="T81" fmla="*/ 18 h 2040"/>
                <a:gd name="T82" fmla="*/ 110 w 2430"/>
                <a:gd name="T83" fmla="*/ 23 h 2040"/>
                <a:gd name="T84" fmla="*/ 121 w 2430"/>
                <a:gd name="T85" fmla="*/ 20 h 2040"/>
                <a:gd name="T86" fmla="*/ 129 w 2430"/>
                <a:gd name="T87" fmla="*/ 15 h 2040"/>
                <a:gd name="T88" fmla="*/ 142 w 2430"/>
                <a:gd name="T89" fmla="*/ 23 h 2040"/>
                <a:gd name="T90" fmla="*/ 141 w 2430"/>
                <a:gd name="T91" fmla="*/ 30 h 2040"/>
                <a:gd name="T92" fmla="*/ 140 w 2430"/>
                <a:gd name="T93" fmla="*/ 38 h 2040"/>
                <a:gd name="T94" fmla="*/ 139 w 2430"/>
                <a:gd name="T95" fmla="*/ 46 h 2040"/>
                <a:gd name="T96" fmla="*/ 147 w 2430"/>
                <a:gd name="T97" fmla="*/ 54 h 2040"/>
                <a:gd name="T98" fmla="*/ 152 w 2430"/>
                <a:gd name="T99" fmla="*/ 50 h 2040"/>
                <a:gd name="T100" fmla="*/ 159 w 2430"/>
                <a:gd name="T101" fmla="*/ 43 h 2040"/>
                <a:gd name="T102" fmla="*/ 174 w 2430"/>
                <a:gd name="T103" fmla="*/ 41 h 2040"/>
                <a:gd name="T104" fmla="*/ 190 w 2430"/>
                <a:gd name="T105" fmla="*/ 57 h 2040"/>
                <a:gd name="T106" fmla="*/ 187 w 2430"/>
                <a:gd name="T107" fmla="*/ 66 h 2040"/>
                <a:gd name="T108" fmla="*/ 183 w 2430"/>
                <a:gd name="T109" fmla="*/ 72 h 2040"/>
                <a:gd name="T110" fmla="*/ 194 w 2430"/>
                <a:gd name="T111" fmla="*/ 73 h 2040"/>
                <a:gd name="T112" fmla="*/ 202 w 2430"/>
                <a:gd name="T113" fmla="*/ 74 h 2040"/>
                <a:gd name="T114" fmla="*/ 204 w 2430"/>
                <a:gd name="T115" fmla="*/ 89 h 2040"/>
                <a:gd name="T116" fmla="*/ 208 w 2430"/>
                <a:gd name="T117" fmla="*/ 99 h 2040"/>
                <a:gd name="T118" fmla="*/ 203 w 2430"/>
                <a:gd name="T119" fmla="*/ 103 h 2040"/>
                <a:gd name="T120" fmla="*/ 209 w 2430"/>
                <a:gd name="T121" fmla="*/ 111 h 2040"/>
                <a:gd name="T122" fmla="*/ 204 w 2430"/>
                <a:gd name="T123" fmla="*/ 124 h 2040"/>
                <a:gd name="T124" fmla="*/ 190 w 2430"/>
                <a:gd name="T125" fmla="*/ 117 h 20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30"/>
                <a:gd name="T190" fmla="*/ 0 h 2040"/>
                <a:gd name="T191" fmla="*/ 2430 w 2430"/>
                <a:gd name="T192" fmla="*/ 2040 h 20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30" h="2040">
                  <a:moveTo>
                    <a:pt x="2076" y="1896"/>
                  </a:moveTo>
                  <a:lnTo>
                    <a:pt x="2070" y="1896"/>
                  </a:lnTo>
                  <a:lnTo>
                    <a:pt x="2070" y="1902"/>
                  </a:lnTo>
                  <a:lnTo>
                    <a:pt x="2076" y="1902"/>
                  </a:lnTo>
                  <a:lnTo>
                    <a:pt x="2082" y="1902"/>
                  </a:lnTo>
                  <a:lnTo>
                    <a:pt x="2082" y="1908"/>
                  </a:lnTo>
                  <a:lnTo>
                    <a:pt x="2076" y="1908"/>
                  </a:lnTo>
                  <a:lnTo>
                    <a:pt x="2076" y="1914"/>
                  </a:lnTo>
                  <a:lnTo>
                    <a:pt x="2070" y="1920"/>
                  </a:lnTo>
                  <a:lnTo>
                    <a:pt x="2064" y="1932"/>
                  </a:lnTo>
                  <a:lnTo>
                    <a:pt x="2064" y="1938"/>
                  </a:lnTo>
                  <a:lnTo>
                    <a:pt x="2058" y="1938"/>
                  </a:lnTo>
                  <a:lnTo>
                    <a:pt x="2052" y="1944"/>
                  </a:lnTo>
                  <a:lnTo>
                    <a:pt x="2052" y="1950"/>
                  </a:lnTo>
                  <a:lnTo>
                    <a:pt x="2040" y="1944"/>
                  </a:lnTo>
                  <a:lnTo>
                    <a:pt x="2040" y="1950"/>
                  </a:lnTo>
                  <a:lnTo>
                    <a:pt x="2034" y="1956"/>
                  </a:lnTo>
                  <a:lnTo>
                    <a:pt x="2034" y="1962"/>
                  </a:lnTo>
                  <a:lnTo>
                    <a:pt x="2028" y="1962"/>
                  </a:lnTo>
                  <a:lnTo>
                    <a:pt x="2022" y="1962"/>
                  </a:lnTo>
                  <a:lnTo>
                    <a:pt x="2022" y="1968"/>
                  </a:lnTo>
                  <a:lnTo>
                    <a:pt x="2028" y="1974"/>
                  </a:lnTo>
                  <a:lnTo>
                    <a:pt x="2034" y="1980"/>
                  </a:lnTo>
                  <a:lnTo>
                    <a:pt x="2028" y="1986"/>
                  </a:lnTo>
                  <a:lnTo>
                    <a:pt x="2022" y="1992"/>
                  </a:lnTo>
                  <a:lnTo>
                    <a:pt x="2022" y="1986"/>
                  </a:lnTo>
                  <a:lnTo>
                    <a:pt x="2016" y="1986"/>
                  </a:lnTo>
                  <a:lnTo>
                    <a:pt x="2010" y="1980"/>
                  </a:lnTo>
                  <a:lnTo>
                    <a:pt x="2004" y="1980"/>
                  </a:lnTo>
                  <a:lnTo>
                    <a:pt x="2004" y="1986"/>
                  </a:lnTo>
                  <a:lnTo>
                    <a:pt x="2010" y="1992"/>
                  </a:lnTo>
                  <a:lnTo>
                    <a:pt x="2010" y="1998"/>
                  </a:lnTo>
                  <a:lnTo>
                    <a:pt x="2004" y="2004"/>
                  </a:lnTo>
                  <a:lnTo>
                    <a:pt x="1998" y="2004"/>
                  </a:lnTo>
                  <a:lnTo>
                    <a:pt x="1998" y="2022"/>
                  </a:lnTo>
                  <a:lnTo>
                    <a:pt x="1998" y="2028"/>
                  </a:lnTo>
                  <a:lnTo>
                    <a:pt x="1992" y="2034"/>
                  </a:lnTo>
                  <a:lnTo>
                    <a:pt x="1992" y="2040"/>
                  </a:lnTo>
                  <a:lnTo>
                    <a:pt x="1986" y="2040"/>
                  </a:lnTo>
                  <a:lnTo>
                    <a:pt x="1986" y="2034"/>
                  </a:lnTo>
                  <a:lnTo>
                    <a:pt x="1980" y="2028"/>
                  </a:lnTo>
                  <a:lnTo>
                    <a:pt x="1980" y="2022"/>
                  </a:lnTo>
                  <a:lnTo>
                    <a:pt x="1968" y="2016"/>
                  </a:lnTo>
                  <a:lnTo>
                    <a:pt x="1962" y="2010"/>
                  </a:lnTo>
                  <a:lnTo>
                    <a:pt x="1956" y="2004"/>
                  </a:lnTo>
                  <a:lnTo>
                    <a:pt x="1950" y="1992"/>
                  </a:lnTo>
                  <a:lnTo>
                    <a:pt x="1950" y="1986"/>
                  </a:lnTo>
                  <a:lnTo>
                    <a:pt x="1950" y="1974"/>
                  </a:lnTo>
                  <a:lnTo>
                    <a:pt x="1944" y="1974"/>
                  </a:lnTo>
                  <a:lnTo>
                    <a:pt x="1932" y="1962"/>
                  </a:lnTo>
                  <a:lnTo>
                    <a:pt x="1932" y="1956"/>
                  </a:lnTo>
                  <a:lnTo>
                    <a:pt x="1932" y="1950"/>
                  </a:lnTo>
                  <a:lnTo>
                    <a:pt x="1920" y="1944"/>
                  </a:lnTo>
                  <a:lnTo>
                    <a:pt x="1914" y="1944"/>
                  </a:lnTo>
                  <a:lnTo>
                    <a:pt x="1908" y="1938"/>
                  </a:lnTo>
                  <a:lnTo>
                    <a:pt x="1902" y="1926"/>
                  </a:lnTo>
                  <a:lnTo>
                    <a:pt x="1890" y="1914"/>
                  </a:lnTo>
                  <a:lnTo>
                    <a:pt x="1884" y="1914"/>
                  </a:lnTo>
                  <a:lnTo>
                    <a:pt x="1878" y="1908"/>
                  </a:lnTo>
                  <a:lnTo>
                    <a:pt x="1872" y="1902"/>
                  </a:lnTo>
                  <a:lnTo>
                    <a:pt x="1872" y="1896"/>
                  </a:lnTo>
                  <a:lnTo>
                    <a:pt x="1866" y="1890"/>
                  </a:lnTo>
                  <a:lnTo>
                    <a:pt x="1854" y="1884"/>
                  </a:lnTo>
                  <a:lnTo>
                    <a:pt x="1848" y="1884"/>
                  </a:lnTo>
                  <a:lnTo>
                    <a:pt x="1842" y="1872"/>
                  </a:lnTo>
                  <a:lnTo>
                    <a:pt x="1836" y="1872"/>
                  </a:lnTo>
                  <a:lnTo>
                    <a:pt x="1830" y="1866"/>
                  </a:lnTo>
                  <a:lnTo>
                    <a:pt x="1830" y="1854"/>
                  </a:lnTo>
                  <a:lnTo>
                    <a:pt x="1824" y="1848"/>
                  </a:lnTo>
                  <a:lnTo>
                    <a:pt x="1818" y="1830"/>
                  </a:lnTo>
                  <a:lnTo>
                    <a:pt x="1818" y="1818"/>
                  </a:lnTo>
                  <a:lnTo>
                    <a:pt x="1812" y="1800"/>
                  </a:lnTo>
                  <a:lnTo>
                    <a:pt x="1812" y="1788"/>
                  </a:lnTo>
                  <a:lnTo>
                    <a:pt x="1806" y="1776"/>
                  </a:lnTo>
                  <a:lnTo>
                    <a:pt x="1800" y="1764"/>
                  </a:lnTo>
                  <a:lnTo>
                    <a:pt x="1794" y="1758"/>
                  </a:lnTo>
                  <a:lnTo>
                    <a:pt x="1782" y="1740"/>
                  </a:lnTo>
                  <a:lnTo>
                    <a:pt x="1776" y="1728"/>
                  </a:lnTo>
                  <a:lnTo>
                    <a:pt x="1776" y="1722"/>
                  </a:lnTo>
                  <a:lnTo>
                    <a:pt x="1770" y="1722"/>
                  </a:lnTo>
                  <a:lnTo>
                    <a:pt x="1770" y="1716"/>
                  </a:lnTo>
                  <a:lnTo>
                    <a:pt x="1764" y="1716"/>
                  </a:lnTo>
                  <a:lnTo>
                    <a:pt x="1758" y="1710"/>
                  </a:lnTo>
                  <a:lnTo>
                    <a:pt x="1752" y="1704"/>
                  </a:lnTo>
                  <a:lnTo>
                    <a:pt x="1746" y="1704"/>
                  </a:lnTo>
                  <a:lnTo>
                    <a:pt x="1740" y="1704"/>
                  </a:lnTo>
                  <a:lnTo>
                    <a:pt x="1734" y="1704"/>
                  </a:lnTo>
                  <a:lnTo>
                    <a:pt x="1734" y="1698"/>
                  </a:lnTo>
                  <a:lnTo>
                    <a:pt x="1728" y="1692"/>
                  </a:lnTo>
                  <a:lnTo>
                    <a:pt x="1722" y="1686"/>
                  </a:lnTo>
                  <a:lnTo>
                    <a:pt x="1716" y="1686"/>
                  </a:lnTo>
                  <a:lnTo>
                    <a:pt x="1698" y="1686"/>
                  </a:lnTo>
                  <a:lnTo>
                    <a:pt x="1692" y="1692"/>
                  </a:lnTo>
                  <a:lnTo>
                    <a:pt x="1680" y="1692"/>
                  </a:lnTo>
                  <a:lnTo>
                    <a:pt x="1668" y="1692"/>
                  </a:lnTo>
                  <a:lnTo>
                    <a:pt x="1662" y="1692"/>
                  </a:lnTo>
                  <a:lnTo>
                    <a:pt x="1656" y="1692"/>
                  </a:lnTo>
                  <a:lnTo>
                    <a:pt x="1650" y="1698"/>
                  </a:lnTo>
                  <a:lnTo>
                    <a:pt x="1644" y="1698"/>
                  </a:lnTo>
                  <a:lnTo>
                    <a:pt x="1638" y="1698"/>
                  </a:lnTo>
                  <a:lnTo>
                    <a:pt x="1632" y="1698"/>
                  </a:lnTo>
                  <a:lnTo>
                    <a:pt x="1632" y="1692"/>
                  </a:lnTo>
                  <a:lnTo>
                    <a:pt x="1620" y="1680"/>
                  </a:lnTo>
                  <a:lnTo>
                    <a:pt x="1614" y="1680"/>
                  </a:lnTo>
                  <a:lnTo>
                    <a:pt x="1608" y="1680"/>
                  </a:lnTo>
                  <a:lnTo>
                    <a:pt x="1602" y="1680"/>
                  </a:lnTo>
                  <a:lnTo>
                    <a:pt x="1596" y="1674"/>
                  </a:lnTo>
                  <a:lnTo>
                    <a:pt x="1584" y="1674"/>
                  </a:lnTo>
                  <a:lnTo>
                    <a:pt x="1572" y="1674"/>
                  </a:lnTo>
                  <a:lnTo>
                    <a:pt x="1560" y="1674"/>
                  </a:lnTo>
                  <a:lnTo>
                    <a:pt x="1542" y="1680"/>
                  </a:lnTo>
                  <a:lnTo>
                    <a:pt x="1530" y="1680"/>
                  </a:lnTo>
                  <a:lnTo>
                    <a:pt x="1530" y="1674"/>
                  </a:lnTo>
                  <a:lnTo>
                    <a:pt x="1524" y="1674"/>
                  </a:lnTo>
                  <a:lnTo>
                    <a:pt x="1518" y="1674"/>
                  </a:lnTo>
                  <a:lnTo>
                    <a:pt x="1512" y="1674"/>
                  </a:lnTo>
                  <a:lnTo>
                    <a:pt x="1506" y="1674"/>
                  </a:lnTo>
                  <a:lnTo>
                    <a:pt x="1500" y="1680"/>
                  </a:lnTo>
                  <a:lnTo>
                    <a:pt x="1488" y="1680"/>
                  </a:lnTo>
                  <a:lnTo>
                    <a:pt x="1482" y="1674"/>
                  </a:lnTo>
                  <a:lnTo>
                    <a:pt x="1476" y="1674"/>
                  </a:lnTo>
                  <a:lnTo>
                    <a:pt x="1464" y="1674"/>
                  </a:lnTo>
                  <a:lnTo>
                    <a:pt x="1452" y="1680"/>
                  </a:lnTo>
                  <a:lnTo>
                    <a:pt x="1434" y="1680"/>
                  </a:lnTo>
                  <a:lnTo>
                    <a:pt x="1422" y="1680"/>
                  </a:lnTo>
                  <a:lnTo>
                    <a:pt x="1416" y="1680"/>
                  </a:lnTo>
                  <a:lnTo>
                    <a:pt x="1404" y="1674"/>
                  </a:lnTo>
                  <a:lnTo>
                    <a:pt x="1398" y="1674"/>
                  </a:lnTo>
                  <a:lnTo>
                    <a:pt x="1392" y="1662"/>
                  </a:lnTo>
                  <a:lnTo>
                    <a:pt x="1380" y="1644"/>
                  </a:lnTo>
                  <a:lnTo>
                    <a:pt x="1374" y="1632"/>
                  </a:lnTo>
                  <a:lnTo>
                    <a:pt x="1362" y="1626"/>
                  </a:lnTo>
                  <a:lnTo>
                    <a:pt x="1356" y="1620"/>
                  </a:lnTo>
                  <a:lnTo>
                    <a:pt x="1350" y="1626"/>
                  </a:lnTo>
                  <a:lnTo>
                    <a:pt x="1338" y="1626"/>
                  </a:lnTo>
                  <a:lnTo>
                    <a:pt x="1326" y="1626"/>
                  </a:lnTo>
                  <a:lnTo>
                    <a:pt x="1314" y="1620"/>
                  </a:lnTo>
                  <a:lnTo>
                    <a:pt x="1308" y="1614"/>
                  </a:lnTo>
                  <a:lnTo>
                    <a:pt x="1302" y="1608"/>
                  </a:lnTo>
                  <a:lnTo>
                    <a:pt x="1296" y="1602"/>
                  </a:lnTo>
                  <a:lnTo>
                    <a:pt x="1290" y="1602"/>
                  </a:lnTo>
                  <a:lnTo>
                    <a:pt x="1290" y="1596"/>
                  </a:lnTo>
                  <a:lnTo>
                    <a:pt x="1284" y="1590"/>
                  </a:lnTo>
                  <a:lnTo>
                    <a:pt x="1272" y="1584"/>
                  </a:lnTo>
                  <a:lnTo>
                    <a:pt x="1254" y="1572"/>
                  </a:lnTo>
                  <a:lnTo>
                    <a:pt x="1236" y="1554"/>
                  </a:lnTo>
                  <a:lnTo>
                    <a:pt x="1230" y="1554"/>
                  </a:lnTo>
                  <a:lnTo>
                    <a:pt x="1224" y="1554"/>
                  </a:lnTo>
                  <a:lnTo>
                    <a:pt x="1212" y="1554"/>
                  </a:lnTo>
                  <a:lnTo>
                    <a:pt x="1194" y="1542"/>
                  </a:lnTo>
                  <a:lnTo>
                    <a:pt x="1188" y="1536"/>
                  </a:lnTo>
                  <a:lnTo>
                    <a:pt x="1182" y="1530"/>
                  </a:lnTo>
                  <a:lnTo>
                    <a:pt x="1176" y="1530"/>
                  </a:lnTo>
                  <a:lnTo>
                    <a:pt x="1170" y="1530"/>
                  </a:lnTo>
                  <a:lnTo>
                    <a:pt x="1158" y="1524"/>
                  </a:lnTo>
                  <a:lnTo>
                    <a:pt x="1152" y="1524"/>
                  </a:lnTo>
                  <a:lnTo>
                    <a:pt x="1140" y="1518"/>
                  </a:lnTo>
                  <a:lnTo>
                    <a:pt x="1128" y="1518"/>
                  </a:lnTo>
                  <a:lnTo>
                    <a:pt x="1122" y="1518"/>
                  </a:lnTo>
                  <a:lnTo>
                    <a:pt x="1116" y="1518"/>
                  </a:lnTo>
                  <a:lnTo>
                    <a:pt x="1104" y="1518"/>
                  </a:lnTo>
                  <a:lnTo>
                    <a:pt x="1092" y="1518"/>
                  </a:lnTo>
                  <a:lnTo>
                    <a:pt x="1080" y="1518"/>
                  </a:lnTo>
                  <a:lnTo>
                    <a:pt x="1068" y="1518"/>
                  </a:lnTo>
                  <a:lnTo>
                    <a:pt x="1062" y="1518"/>
                  </a:lnTo>
                  <a:lnTo>
                    <a:pt x="1056" y="1518"/>
                  </a:lnTo>
                  <a:lnTo>
                    <a:pt x="1050" y="1512"/>
                  </a:lnTo>
                  <a:lnTo>
                    <a:pt x="1044" y="1512"/>
                  </a:lnTo>
                  <a:lnTo>
                    <a:pt x="1038" y="1512"/>
                  </a:lnTo>
                  <a:lnTo>
                    <a:pt x="1032" y="1506"/>
                  </a:lnTo>
                  <a:lnTo>
                    <a:pt x="1026" y="1500"/>
                  </a:lnTo>
                  <a:lnTo>
                    <a:pt x="1026" y="1494"/>
                  </a:lnTo>
                  <a:lnTo>
                    <a:pt x="1020" y="1476"/>
                  </a:lnTo>
                  <a:lnTo>
                    <a:pt x="1008" y="1464"/>
                  </a:lnTo>
                  <a:lnTo>
                    <a:pt x="1008" y="1458"/>
                  </a:lnTo>
                  <a:lnTo>
                    <a:pt x="1002" y="1446"/>
                  </a:lnTo>
                  <a:lnTo>
                    <a:pt x="996" y="1446"/>
                  </a:lnTo>
                  <a:lnTo>
                    <a:pt x="990" y="1440"/>
                  </a:lnTo>
                  <a:lnTo>
                    <a:pt x="984" y="1434"/>
                  </a:lnTo>
                  <a:lnTo>
                    <a:pt x="978" y="1434"/>
                  </a:lnTo>
                  <a:lnTo>
                    <a:pt x="972" y="1434"/>
                  </a:lnTo>
                  <a:lnTo>
                    <a:pt x="966" y="1428"/>
                  </a:lnTo>
                  <a:lnTo>
                    <a:pt x="954" y="1422"/>
                  </a:lnTo>
                  <a:lnTo>
                    <a:pt x="942" y="1416"/>
                  </a:lnTo>
                  <a:lnTo>
                    <a:pt x="924" y="1398"/>
                  </a:lnTo>
                  <a:lnTo>
                    <a:pt x="912" y="1386"/>
                  </a:lnTo>
                  <a:lnTo>
                    <a:pt x="900" y="1386"/>
                  </a:lnTo>
                  <a:lnTo>
                    <a:pt x="894" y="1386"/>
                  </a:lnTo>
                  <a:lnTo>
                    <a:pt x="882" y="1392"/>
                  </a:lnTo>
                  <a:lnTo>
                    <a:pt x="876" y="1392"/>
                  </a:lnTo>
                  <a:lnTo>
                    <a:pt x="864" y="1398"/>
                  </a:lnTo>
                  <a:lnTo>
                    <a:pt x="864" y="1404"/>
                  </a:lnTo>
                  <a:lnTo>
                    <a:pt x="858" y="1410"/>
                  </a:lnTo>
                  <a:lnTo>
                    <a:pt x="852" y="1410"/>
                  </a:lnTo>
                  <a:lnTo>
                    <a:pt x="846" y="1410"/>
                  </a:lnTo>
                  <a:lnTo>
                    <a:pt x="834" y="1410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10" y="1428"/>
                  </a:lnTo>
                  <a:lnTo>
                    <a:pt x="798" y="1428"/>
                  </a:lnTo>
                  <a:lnTo>
                    <a:pt x="792" y="1428"/>
                  </a:lnTo>
                  <a:lnTo>
                    <a:pt x="780" y="1434"/>
                  </a:lnTo>
                  <a:lnTo>
                    <a:pt x="774" y="1428"/>
                  </a:lnTo>
                  <a:lnTo>
                    <a:pt x="762" y="1428"/>
                  </a:lnTo>
                  <a:lnTo>
                    <a:pt x="756" y="1422"/>
                  </a:lnTo>
                  <a:lnTo>
                    <a:pt x="750" y="1416"/>
                  </a:lnTo>
                  <a:lnTo>
                    <a:pt x="744" y="1410"/>
                  </a:lnTo>
                  <a:lnTo>
                    <a:pt x="744" y="1398"/>
                  </a:lnTo>
                  <a:lnTo>
                    <a:pt x="744" y="1386"/>
                  </a:lnTo>
                  <a:lnTo>
                    <a:pt x="750" y="1380"/>
                  </a:lnTo>
                  <a:lnTo>
                    <a:pt x="750" y="1374"/>
                  </a:lnTo>
                  <a:lnTo>
                    <a:pt x="750" y="1368"/>
                  </a:lnTo>
                  <a:lnTo>
                    <a:pt x="756" y="1362"/>
                  </a:lnTo>
                  <a:lnTo>
                    <a:pt x="750" y="1350"/>
                  </a:lnTo>
                  <a:lnTo>
                    <a:pt x="744" y="1344"/>
                  </a:lnTo>
                  <a:lnTo>
                    <a:pt x="738" y="1338"/>
                  </a:lnTo>
                  <a:lnTo>
                    <a:pt x="726" y="1338"/>
                  </a:lnTo>
                  <a:lnTo>
                    <a:pt x="720" y="1338"/>
                  </a:lnTo>
                  <a:lnTo>
                    <a:pt x="714" y="1338"/>
                  </a:lnTo>
                  <a:lnTo>
                    <a:pt x="708" y="1332"/>
                  </a:lnTo>
                  <a:lnTo>
                    <a:pt x="702" y="1332"/>
                  </a:lnTo>
                  <a:lnTo>
                    <a:pt x="696" y="1326"/>
                  </a:lnTo>
                  <a:lnTo>
                    <a:pt x="684" y="1326"/>
                  </a:lnTo>
                  <a:lnTo>
                    <a:pt x="678" y="1326"/>
                  </a:lnTo>
                  <a:lnTo>
                    <a:pt x="672" y="1314"/>
                  </a:lnTo>
                  <a:lnTo>
                    <a:pt x="666" y="1308"/>
                  </a:lnTo>
                  <a:lnTo>
                    <a:pt x="654" y="1296"/>
                  </a:lnTo>
                  <a:lnTo>
                    <a:pt x="654" y="1290"/>
                  </a:lnTo>
                  <a:lnTo>
                    <a:pt x="630" y="1284"/>
                  </a:lnTo>
                  <a:lnTo>
                    <a:pt x="630" y="1278"/>
                  </a:lnTo>
                  <a:lnTo>
                    <a:pt x="624" y="1278"/>
                  </a:lnTo>
                  <a:lnTo>
                    <a:pt x="618" y="1266"/>
                  </a:lnTo>
                  <a:lnTo>
                    <a:pt x="612" y="1266"/>
                  </a:lnTo>
                  <a:lnTo>
                    <a:pt x="606" y="1266"/>
                  </a:lnTo>
                  <a:lnTo>
                    <a:pt x="606" y="1260"/>
                  </a:lnTo>
                  <a:lnTo>
                    <a:pt x="594" y="1248"/>
                  </a:lnTo>
                  <a:lnTo>
                    <a:pt x="582" y="1248"/>
                  </a:lnTo>
                  <a:lnTo>
                    <a:pt x="576" y="1242"/>
                  </a:lnTo>
                  <a:lnTo>
                    <a:pt x="570" y="1236"/>
                  </a:lnTo>
                  <a:lnTo>
                    <a:pt x="504" y="1164"/>
                  </a:lnTo>
                  <a:lnTo>
                    <a:pt x="450" y="1110"/>
                  </a:lnTo>
                  <a:lnTo>
                    <a:pt x="426" y="1092"/>
                  </a:lnTo>
                  <a:lnTo>
                    <a:pt x="426" y="1074"/>
                  </a:lnTo>
                  <a:lnTo>
                    <a:pt x="420" y="1062"/>
                  </a:lnTo>
                  <a:lnTo>
                    <a:pt x="396" y="1056"/>
                  </a:lnTo>
                  <a:lnTo>
                    <a:pt x="384" y="1032"/>
                  </a:lnTo>
                  <a:lnTo>
                    <a:pt x="372" y="1020"/>
                  </a:lnTo>
                  <a:lnTo>
                    <a:pt x="360" y="984"/>
                  </a:lnTo>
                  <a:lnTo>
                    <a:pt x="348" y="978"/>
                  </a:lnTo>
                  <a:lnTo>
                    <a:pt x="342" y="972"/>
                  </a:lnTo>
                  <a:lnTo>
                    <a:pt x="348" y="960"/>
                  </a:lnTo>
                  <a:lnTo>
                    <a:pt x="342" y="954"/>
                  </a:lnTo>
                  <a:lnTo>
                    <a:pt x="336" y="954"/>
                  </a:lnTo>
                  <a:lnTo>
                    <a:pt x="330" y="954"/>
                  </a:lnTo>
                  <a:lnTo>
                    <a:pt x="324" y="972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0" y="966"/>
                  </a:lnTo>
                  <a:lnTo>
                    <a:pt x="294" y="966"/>
                  </a:lnTo>
                  <a:lnTo>
                    <a:pt x="288" y="972"/>
                  </a:lnTo>
                  <a:lnTo>
                    <a:pt x="288" y="966"/>
                  </a:lnTo>
                  <a:lnTo>
                    <a:pt x="282" y="948"/>
                  </a:lnTo>
                  <a:lnTo>
                    <a:pt x="282" y="942"/>
                  </a:lnTo>
                  <a:lnTo>
                    <a:pt x="276" y="942"/>
                  </a:lnTo>
                  <a:lnTo>
                    <a:pt x="276" y="936"/>
                  </a:lnTo>
                  <a:lnTo>
                    <a:pt x="270" y="942"/>
                  </a:lnTo>
                  <a:lnTo>
                    <a:pt x="264" y="948"/>
                  </a:lnTo>
                  <a:lnTo>
                    <a:pt x="264" y="942"/>
                  </a:lnTo>
                  <a:lnTo>
                    <a:pt x="258" y="942"/>
                  </a:lnTo>
                  <a:lnTo>
                    <a:pt x="252" y="948"/>
                  </a:lnTo>
                  <a:lnTo>
                    <a:pt x="252" y="942"/>
                  </a:lnTo>
                  <a:lnTo>
                    <a:pt x="246" y="936"/>
                  </a:lnTo>
                  <a:lnTo>
                    <a:pt x="240" y="942"/>
                  </a:lnTo>
                  <a:lnTo>
                    <a:pt x="234" y="936"/>
                  </a:lnTo>
                  <a:lnTo>
                    <a:pt x="228" y="936"/>
                  </a:lnTo>
                  <a:lnTo>
                    <a:pt x="222" y="936"/>
                  </a:lnTo>
                  <a:lnTo>
                    <a:pt x="222" y="930"/>
                  </a:lnTo>
                  <a:lnTo>
                    <a:pt x="222" y="924"/>
                  </a:lnTo>
                  <a:lnTo>
                    <a:pt x="228" y="924"/>
                  </a:lnTo>
                  <a:lnTo>
                    <a:pt x="234" y="924"/>
                  </a:lnTo>
                  <a:lnTo>
                    <a:pt x="240" y="924"/>
                  </a:lnTo>
                  <a:lnTo>
                    <a:pt x="240" y="918"/>
                  </a:lnTo>
                  <a:lnTo>
                    <a:pt x="246" y="918"/>
                  </a:lnTo>
                  <a:lnTo>
                    <a:pt x="246" y="912"/>
                  </a:lnTo>
                  <a:lnTo>
                    <a:pt x="240" y="906"/>
                  </a:lnTo>
                  <a:lnTo>
                    <a:pt x="234" y="906"/>
                  </a:lnTo>
                  <a:lnTo>
                    <a:pt x="228" y="906"/>
                  </a:lnTo>
                  <a:lnTo>
                    <a:pt x="228" y="912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8" y="894"/>
                  </a:lnTo>
                  <a:lnTo>
                    <a:pt x="234" y="894"/>
                  </a:lnTo>
                  <a:lnTo>
                    <a:pt x="228" y="888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198" y="888"/>
                  </a:lnTo>
                  <a:lnTo>
                    <a:pt x="192" y="882"/>
                  </a:lnTo>
                  <a:lnTo>
                    <a:pt x="186" y="882"/>
                  </a:lnTo>
                  <a:lnTo>
                    <a:pt x="186" y="876"/>
                  </a:lnTo>
                  <a:lnTo>
                    <a:pt x="192" y="876"/>
                  </a:lnTo>
                  <a:lnTo>
                    <a:pt x="192" y="870"/>
                  </a:lnTo>
                  <a:lnTo>
                    <a:pt x="198" y="870"/>
                  </a:lnTo>
                  <a:lnTo>
                    <a:pt x="198" y="864"/>
                  </a:lnTo>
                  <a:lnTo>
                    <a:pt x="198" y="858"/>
                  </a:lnTo>
                  <a:lnTo>
                    <a:pt x="180" y="852"/>
                  </a:lnTo>
                  <a:lnTo>
                    <a:pt x="174" y="840"/>
                  </a:lnTo>
                  <a:lnTo>
                    <a:pt x="162" y="846"/>
                  </a:lnTo>
                  <a:lnTo>
                    <a:pt x="156" y="846"/>
                  </a:lnTo>
                  <a:lnTo>
                    <a:pt x="150" y="846"/>
                  </a:lnTo>
                  <a:lnTo>
                    <a:pt x="150" y="840"/>
                  </a:lnTo>
                  <a:lnTo>
                    <a:pt x="138" y="834"/>
                  </a:lnTo>
                  <a:lnTo>
                    <a:pt x="132" y="834"/>
                  </a:lnTo>
                  <a:lnTo>
                    <a:pt x="132" y="840"/>
                  </a:lnTo>
                  <a:lnTo>
                    <a:pt x="126" y="840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58"/>
                  </a:lnTo>
                  <a:lnTo>
                    <a:pt x="120" y="846"/>
                  </a:lnTo>
                  <a:lnTo>
                    <a:pt x="114" y="846"/>
                  </a:lnTo>
                  <a:lnTo>
                    <a:pt x="108" y="840"/>
                  </a:lnTo>
                  <a:lnTo>
                    <a:pt x="102" y="834"/>
                  </a:lnTo>
                  <a:lnTo>
                    <a:pt x="102" y="822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78" y="804"/>
                  </a:lnTo>
                  <a:lnTo>
                    <a:pt x="78" y="798"/>
                  </a:lnTo>
                  <a:lnTo>
                    <a:pt x="78" y="792"/>
                  </a:lnTo>
                  <a:lnTo>
                    <a:pt x="78" y="786"/>
                  </a:lnTo>
                  <a:lnTo>
                    <a:pt x="78" y="780"/>
                  </a:lnTo>
                  <a:lnTo>
                    <a:pt x="72" y="774"/>
                  </a:lnTo>
                  <a:lnTo>
                    <a:pt x="66" y="774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60" y="762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6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2" y="666"/>
                  </a:lnTo>
                  <a:lnTo>
                    <a:pt x="18" y="648"/>
                  </a:lnTo>
                  <a:lnTo>
                    <a:pt x="24" y="636"/>
                  </a:lnTo>
                  <a:lnTo>
                    <a:pt x="30" y="630"/>
                  </a:lnTo>
                  <a:lnTo>
                    <a:pt x="30" y="624"/>
                  </a:lnTo>
                  <a:lnTo>
                    <a:pt x="30" y="612"/>
                  </a:lnTo>
                  <a:lnTo>
                    <a:pt x="30" y="606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66" y="582"/>
                  </a:lnTo>
                  <a:lnTo>
                    <a:pt x="72" y="588"/>
                  </a:lnTo>
                  <a:lnTo>
                    <a:pt x="84" y="594"/>
                  </a:lnTo>
                  <a:lnTo>
                    <a:pt x="90" y="600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14" y="612"/>
                  </a:lnTo>
                  <a:lnTo>
                    <a:pt x="120" y="612"/>
                  </a:lnTo>
                  <a:lnTo>
                    <a:pt x="126" y="618"/>
                  </a:lnTo>
                  <a:lnTo>
                    <a:pt x="138" y="594"/>
                  </a:lnTo>
                  <a:lnTo>
                    <a:pt x="138" y="582"/>
                  </a:lnTo>
                  <a:lnTo>
                    <a:pt x="138" y="570"/>
                  </a:lnTo>
                  <a:lnTo>
                    <a:pt x="138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50" y="528"/>
                  </a:lnTo>
                  <a:lnTo>
                    <a:pt x="156" y="510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62"/>
                  </a:lnTo>
                  <a:lnTo>
                    <a:pt x="168" y="450"/>
                  </a:lnTo>
                  <a:lnTo>
                    <a:pt x="168" y="444"/>
                  </a:lnTo>
                  <a:lnTo>
                    <a:pt x="162" y="432"/>
                  </a:lnTo>
                  <a:lnTo>
                    <a:pt x="162" y="426"/>
                  </a:lnTo>
                  <a:lnTo>
                    <a:pt x="156" y="420"/>
                  </a:lnTo>
                  <a:lnTo>
                    <a:pt x="144" y="414"/>
                  </a:lnTo>
                  <a:lnTo>
                    <a:pt x="132" y="402"/>
                  </a:lnTo>
                  <a:lnTo>
                    <a:pt x="126" y="390"/>
                  </a:lnTo>
                  <a:lnTo>
                    <a:pt x="120" y="384"/>
                  </a:lnTo>
                  <a:lnTo>
                    <a:pt x="120" y="372"/>
                  </a:lnTo>
                  <a:lnTo>
                    <a:pt x="114" y="360"/>
                  </a:lnTo>
                  <a:lnTo>
                    <a:pt x="108" y="360"/>
                  </a:lnTo>
                  <a:lnTo>
                    <a:pt x="108" y="354"/>
                  </a:lnTo>
                  <a:lnTo>
                    <a:pt x="102" y="348"/>
                  </a:lnTo>
                  <a:lnTo>
                    <a:pt x="102" y="342"/>
                  </a:lnTo>
                  <a:lnTo>
                    <a:pt x="108" y="330"/>
                  </a:lnTo>
                  <a:lnTo>
                    <a:pt x="114" y="312"/>
                  </a:lnTo>
                  <a:lnTo>
                    <a:pt x="114" y="300"/>
                  </a:lnTo>
                  <a:lnTo>
                    <a:pt x="120" y="288"/>
                  </a:lnTo>
                  <a:lnTo>
                    <a:pt x="120" y="282"/>
                  </a:lnTo>
                  <a:lnTo>
                    <a:pt x="114" y="270"/>
                  </a:lnTo>
                  <a:lnTo>
                    <a:pt x="114" y="258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84" y="222"/>
                  </a:lnTo>
                  <a:lnTo>
                    <a:pt x="84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84" y="186"/>
                  </a:lnTo>
                  <a:lnTo>
                    <a:pt x="84" y="180"/>
                  </a:lnTo>
                  <a:lnTo>
                    <a:pt x="108" y="174"/>
                  </a:lnTo>
                  <a:lnTo>
                    <a:pt x="132" y="186"/>
                  </a:lnTo>
                  <a:lnTo>
                    <a:pt x="138" y="192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56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74" y="204"/>
                  </a:lnTo>
                  <a:lnTo>
                    <a:pt x="180" y="216"/>
                  </a:lnTo>
                  <a:lnTo>
                    <a:pt x="186" y="228"/>
                  </a:lnTo>
                  <a:lnTo>
                    <a:pt x="192" y="234"/>
                  </a:lnTo>
                  <a:lnTo>
                    <a:pt x="198" y="234"/>
                  </a:lnTo>
                  <a:lnTo>
                    <a:pt x="204" y="240"/>
                  </a:lnTo>
                  <a:lnTo>
                    <a:pt x="210" y="240"/>
                  </a:lnTo>
                  <a:lnTo>
                    <a:pt x="216" y="240"/>
                  </a:lnTo>
                  <a:lnTo>
                    <a:pt x="222" y="240"/>
                  </a:lnTo>
                  <a:lnTo>
                    <a:pt x="228" y="246"/>
                  </a:lnTo>
                  <a:lnTo>
                    <a:pt x="234" y="246"/>
                  </a:lnTo>
                  <a:lnTo>
                    <a:pt x="240" y="246"/>
                  </a:lnTo>
                  <a:lnTo>
                    <a:pt x="252" y="252"/>
                  </a:lnTo>
                  <a:lnTo>
                    <a:pt x="330" y="246"/>
                  </a:lnTo>
                  <a:lnTo>
                    <a:pt x="360" y="228"/>
                  </a:lnTo>
                  <a:lnTo>
                    <a:pt x="396" y="228"/>
                  </a:lnTo>
                  <a:lnTo>
                    <a:pt x="402" y="240"/>
                  </a:lnTo>
                  <a:lnTo>
                    <a:pt x="432" y="240"/>
                  </a:lnTo>
                  <a:lnTo>
                    <a:pt x="450" y="258"/>
                  </a:lnTo>
                  <a:lnTo>
                    <a:pt x="468" y="258"/>
                  </a:lnTo>
                  <a:lnTo>
                    <a:pt x="474" y="294"/>
                  </a:lnTo>
                  <a:lnTo>
                    <a:pt x="558" y="318"/>
                  </a:lnTo>
                  <a:lnTo>
                    <a:pt x="588" y="318"/>
                  </a:lnTo>
                  <a:lnTo>
                    <a:pt x="588" y="312"/>
                  </a:lnTo>
                  <a:lnTo>
                    <a:pt x="594" y="306"/>
                  </a:lnTo>
                  <a:lnTo>
                    <a:pt x="600" y="306"/>
                  </a:lnTo>
                  <a:lnTo>
                    <a:pt x="612" y="300"/>
                  </a:lnTo>
                  <a:lnTo>
                    <a:pt x="618" y="300"/>
                  </a:lnTo>
                  <a:lnTo>
                    <a:pt x="630" y="300"/>
                  </a:lnTo>
                  <a:lnTo>
                    <a:pt x="642" y="306"/>
                  </a:lnTo>
                  <a:lnTo>
                    <a:pt x="660" y="306"/>
                  </a:lnTo>
                  <a:lnTo>
                    <a:pt x="666" y="306"/>
                  </a:lnTo>
                  <a:lnTo>
                    <a:pt x="672" y="306"/>
                  </a:lnTo>
                  <a:lnTo>
                    <a:pt x="684" y="300"/>
                  </a:lnTo>
                  <a:lnTo>
                    <a:pt x="696" y="294"/>
                  </a:lnTo>
                  <a:lnTo>
                    <a:pt x="702" y="288"/>
                  </a:lnTo>
                  <a:lnTo>
                    <a:pt x="714" y="282"/>
                  </a:lnTo>
                  <a:lnTo>
                    <a:pt x="714" y="288"/>
                  </a:lnTo>
                  <a:lnTo>
                    <a:pt x="726" y="300"/>
                  </a:lnTo>
                  <a:lnTo>
                    <a:pt x="732" y="306"/>
                  </a:lnTo>
                  <a:lnTo>
                    <a:pt x="732" y="318"/>
                  </a:lnTo>
                  <a:lnTo>
                    <a:pt x="732" y="330"/>
                  </a:lnTo>
                  <a:lnTo>
                    <a:pt x="726" y="342"/>
                  </a:lnTo>
                  <a:lnTo>
                    <a:pt x="720" y="354"/>
                  </a:lnTo>
                  <a:lnTo>
                    <a:pt x="720" y="360"/>
                  </a:lnTo>
                  <a:lnTo>
                    <a:pt x="714" y="372"/>
                  </a:lnTo>
                  <a:lnTo>
                    <a:pt x="714" y="378"/>
                  </a:lnTo>
                  <a:lnTo>
                    <a:pt x="714" y="408"/>
                  </a:lnTo>
                  <a:lnTo>
                    <a:pt x="708" y="420"/>
                  </a:lnTo>
                  <a:lnTo>
                    <a:pt x="714" y="432"/>
                  </a:lnTo>
                  <a:lnTo>
                    <a:pt x="708" y="450"/>
                  </a:lnTo>
                  <a:lnTo>
                    <a:pt x="708" y="468"/>
                  </a:lnTo>
                  <a:lnTo>
                    <a:pt x="696" y="480"/>
                  </a:lnTo>
                  <a:lnTo>
                    <a:pt x="684" y="486"/>
                  </a:lnTo>
                  <a:lnTo>
                    <a:pt x="672" y="492"/>
                  </a:lnTo>
                  <a:lnTo>
                    <a:pt x="660" y="498"/>
                  </a:lnTo>
                  <a:lnTo>
                    <a:pt x="654" y="510"/>
                  </a:lnTo>
                  <a:lnTo>
                    <a:pt x="648" y="516"/>
                  </a:lnTo>
                  <a:lnTo>
                    <a:pt x="642" y="522"/>
                  </a:lnTo>
                  <a:lnTo>
                    <a:pt x="630" y="522"/>
                  </a:lnTo>
                  <a:lnTo>
                    <a:pt x="624" y="528"/>
                  </a:lnTo>
                  <a:lnTo>
                    <a:pt x="618" y="540"/>
                  </a:lnTo>
                  <a:lnTo>
                    <a:pt x="618" y="558"/>
                  </a:lnTo>
                  <a:lnTo>
                    <a:pt x="612" y="576"/>
                  </a:lnTo>
                  <a:lnTo>
                    <a:pt x="612" y="684"/>
                  </a:lnTo>
                  <a:lnTo>
                    <a:pt x="618" y="696"/>
                  </a:lnTo>
                  <a:lnTo>
                    <a:pt x="636" y="696"/>
                  </a:lnTo>
                  <a:lnTo>
                    <a:pt x="636" y="720"/>
                  </a:lnTo>
                  <a:lnTo>
                    <a:pt x="636" y="732"/>
                  </a:lnTo>
                  <a:lnTo>
                    <a:pt x="618" y="750"/>
                  </a:lnTo>
                  <a:lnTo>
                    <a:pt x="606" y="762"/>
                  </a:lnTo>
                  <a:lnTo>
                    <a:pt x="600" y="774"/>
                  </a:lnTo>
                  <a:lnTo>
                    <a:pt x="594" y="798"/>
                  </a:lnTo>
                  <a:lnTo>
                    <a:pt x="606" y="798"/>
                  </a:lnTo>
                  <a:lnTo>
                    <a:pt x="660" y="792"/>
                  </a:lnTo>
                  <a:lnTo>
                    <a:pt x="696" y="798"/>
                  </a:lnTo>
                  <a:lnTo>
                    <a:pt x="720" y="798"/>
                  </a:lnTo>
                  <a:lnTo>
                    <a:pt x="720" y="786"/>
                  </a:lnTo>
                  <a:lnTo>
                    <a:pt x="720" y="774"/>
                  </a:lnTo>
                  <a:lnTo>
                    <a:pt x="702" y="762"/>
                  </a:lnTo>
                  <a:lnTo>
                    <a:pt x="702" y="750"/>
                  </a:lnTo>
                  <a:lnTo>
                    <a:pt x="702" y="726"/>
                  </a:lnTo>
                  <a:lnTo>
                    <a:pt x="714" y="714"/>
                  </a:lnTo>
                  <a:lnTo>
                    <a:pt x="720" y="702"/>
                  </a:lnTo>
                  <a:lnTo>
                    <a:pt x="720" y="696"/>
                  </a:lnTo>
                  <a:lnTo>
                    <a:pt x="744" y="690"/>
                  </a:lnTo>
                  <a:lnTo>
                    <a:pt x="744" y="696"/>
                  </a:lnTo>
                  <a:lnTo>
                    <a:pt x="756" y="696"/>
                  </a:lnTo>
                  <a:lnTo>
                    <a:pt x="762" y="690"/>
                  </a:lnTo>
                  <a:lnTo>
                    <a:pt x="768" y="690"/>
                  </a:lnTo>
                  <a:lnTo>
                    <a:pt x="774" y="696"/>
                  </a:lnTo>
                  <a:lnTo>
                    <a:pt x="780" y="696"/>
                  </a:lnTo>
                  <a:lnTo>
                    <a:pt x="786" y="696"/>
                  </a:lnTo>
                  <a:lnTo>
                    <a:pt x="804" y="684"/>
                  </a:lnTo>
                  <a:lnTo>
                    <a:pt x="810" y="684"/>
                  </a:lnTo>
                  <a:lnTo>
                    <a:pt x="810" y="654"/>
                  </a:lnTo>
                  <a:lnTo>
                    <a:pt x="816" y="588"/>
                  </a:lnTo>
                  <a:lnTo>
                    <a:pt x="804" y="582"/>
                  </a:lnTo>
                  <a:lnTo>
                    <a:pt x="798" y="552"/>
                  </a:lnTo>
                  <a:lnTo>
                    <a:pt x="798" y="480"/>
                  </a:lnTo>
                  <a:lnTo>
                    <a:pt x="780" y="468"/>
                  </a:lnTo>
                  <a:lnTo>
                    <a:pt x="780" y="462"/>
                  </a:lnTo>
                  <a:lnTo>
                    <a:pt x="774" y="450"/>
                  </a:lnTo>
                  <a:lnTo>
                    <a:pt x="762" y="444"/>
                  </a:lnTo>
                  <a:lnTo>
                    <a:pt x="762" y="438"/>
                  </a:lnTo>
                  <a:lnTo>
                    <a:pt x="768" y="432"/>
                  </a:lnTo>
                  <a:lnTo>
                    <a:pt x="774" y="426"/>
                  </a:lnTo>
                  <a:lnTo>
                    <a:pt x="780" y="426"/>
                  </a:lnTo>
                  <a:lnTo>
                    <a:pt x="780" y="414"/>
                  </a:lnTo>
                  <a:lnTo>
                    <a:pt x="834" y="414"/>
                  </a:lnTo>
                  <a:lnTo>
                    <a:pt x="834" y="426"/>
                  </a:lnTo>
                  <a:lnTo>
                    <a:pt x="840" y="432"/>
                  </a:lnTo>
                  <a:lnTo>
                    <a:pt x="846" y="432"/>
                  </a:lnTo>
                  <a:lnTo>
                    <a:pt x="852" y="432"/>
                  </a:lnTo>
                  <a:lnTo>
                    <a:pt x="858" y="432"/>
                  </a:lnTo>
                  <a:lnTo>
                    <a:pt x="870" y="432"/>
                  </a:lnTo>
                  <a:lnTo>
                    <a:pt x="870" y="426"/>
                  </a:lnTo>
                  <a:lnTo>
                    <a:pt x="870" y="420"/>
                  </a:lnTo>
                  <a:lnTo>
                    <a:pt x="876" y="420"/>
                  </a:lnTo>
                  <a:lnTo>
                    <a:pt x="882" y="420"/>
                  </a:lnTo>
                  <a:lnTo>
                    <a:pt x="894" y="414"/>
                  </a:lnTo>
                  <a:lnTo>
                    <a:pt x="900" y="414"/>
                  </a:lnTo>
                  <a:lnTo>
                    <a:pt x="906" y="408"/>
                  </a:lnTo>
                  <a:lnTo>
                    <a:pt x="918" y="408"/>
                  </a:lnTo>
                  <a:lnTo>
                    <a:pt x="924" y="402"/>
                  </a:lnTo>
                  <a:lnTo>
                    <a:pt x="930" y="384"/>
                  </a:lnTo>
                  <a:lnTo>
                    <a:pt x="948" y="396"/>
                  </a:lnTo>
                  <a:lnTo>
                    <a:pt x="954" y="384"/>
                  </a:lnTo>
                  <a:lnTo>
                    <a:pt x="960" y="384"/>
                  </a:lnTo>
                  <a:lnTo>
                    <a:pt x="972" y="384"/>
                  </a:lnTo>
                  <a:lnTo>
                    <a:pt x="978" y="378"/>
                  </a:lnTo>
                  <a:lnTo>
                    <a:pt x="972" y="366"/>
                  </a:lnTo>
                  <a:lnTo>
                    <a:pt x="966" y="342"/>
                  </a:lnTo>
                  <a:lnTo>
                    <a:pt x="960" y="330"/>
                  </a:lnTo>
                  <a:lnTo>
                    <a:pt x="942" y="324"/>
                  </a:lnTo>
                  <a:lnTo>
                    <a:pt x="936" y="318"/>
                  </a:lnTo>
                  <a:lnTo>
                    <a:pt x="936" y="294"/>
                  </a:lnTo>
                  <a:lnTo>
                    <a:pt x="942" y="294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282"/>
                  </a:lnTo>
                  <a:lnTo>
                    <a:pt x="954" y="276"/>
                  </a:lnTo>
                  <a:lnTo>
                    <a:pt x="960" y="276"/>
                  </a:lnTo>
                  <a:lnTo>
                    <a:pt x="966" y="276"/>
                  </a:lnTo>
                  <a:lnTo>
                    <a:pt x="960" y="258"/>
                  </a:lnTo>
                  <a:lnTo>
                    <a:pt x="954" y="240"/>
                  </a:lnTo>
                  <a:lnTo>
                    <a:pt x="948" y="204"/>
                  </a:lnTo>
                  <a:lnTo>
                    <a:pt x="954" y="204"/>
                  </a:lnTo>
                  <a:lnTo>
                    <a:pt x="960" y="198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00" y="186"/>
                  </a:lnTo>
                  <a:lnTo>
                    <a:pt x="876" y="180"/>
                  </a:lnTo>
                  <a:lnTo>
                    <a:pt x="858" y="180"/>
                  </a:lnTo>
                  <a:lnTo>
                    <a:pt x="852" y="168"/>
                  </a:lnTo>
                  <a:lnTo>
                    <a:pt x="834" y="156"/>
                  </a:lnTo>
                  <a:lnTo>
                    <a:pt x="822" y="156"/>
                  </a:lnTo>
                  <a:lnTo>
                    <a:pt x="804" y="156"/>
                  </a:lnTo>
                  <a:lnTo>
                    <a:pt x="804" y="150"/>
                  </a:lnTo>
                  <a:lnTo>
                    <a:pt x="792" y="144"/>
                  </a:lnTo>
                  <a:lnTo>
                    <a:pt x="762" y="138"/>
                  </a:lnTo>
                  <a:lnTo>
                    <a:pt x="768" y="120"/>
                  </a:lnTo>
                  <a:lnTo>
                    <a:pt x="756" y="120"/>
                  </a:lnTo>
                  <a:lnTo>
                    <a:pt x="744" y="108"/>
                  </a:lnTo>
                  <a:lnTo>
                    <a:pt x="744" y="96"/>
                  </a:lnTo>
                  <a:lnTo>
                    <a:pt x="762" y="84"/>
                  </a:lnTo>
                  <a:lnTo>
                    <a:pt x="768" y="84"/>
                  </a:lnTo>
                  <a:lnTo>
                    <a:pt x="768" y="72"/>
                  </a:lnTo>
                  <a:lnTo>
                    <a:pt x="780" y="66"/>
                  </a:lnTo>
                  <a:lnTo>
                    <a:pt x="798" y="54"/>
                  </a:lnTo>
                  <a:lnTo>
                    <a:pt x="792" y="54"/>
                  </a:lnTo>
                  <a:lnTo>
                    <a:pt x="798" y="36"/>
                  </a:lnTo>
                  <a:lnTo>
                    <a:pt x="804" y="36"/>
                  </a:lnTo>
                  <a:lnTo>
                    <a:pt x="816" y="30"/>
                  </a:lnTo>
                  <a:lnTo>
                    <a:pt x="828" y="30"/>
                  </a:lnTo>
                  <a:lnTo>
                    <a:pt x="846" y="12"/>
                  </a:lnTo>
                  <a:lnTo>
                    <a:pt x="876" y="0"/>
                  </a:lnTo>
                  <a:lnTo>
                    <a:pt x="882" y="6"/>
                  </a:lnTo>
                  <a:lnTo>
                    <a:pt x="900" y="6"/>
                  </a:lnTo>
                  <a:lnTo>
                    <a:pt x="912" y="36"/>
                  </a:lnTo>
                  <a:lnTo>
                    <a:pt x="918" y="42"/>
                  </a:lnTo>
                  <a:lnTo>
                    <a:pt x="924" y="54"/>
                  </a:lnTo>
                  <a:lnTo>
                    <a:pt x="930" y="54"/>
                  </a:lnTo>
                  <a:lnTo>
                    <a:pt x="930" y="78"/>
                  </a:lnTo>
                  <a:lnTo>
                    <a:pt x="954" y="72"/>
                  </a:lnTo>
                  <a:lnTo>
                    <a:pt x="954" y="60"/>
                  </a:lnTo>
                  <a:lnTo>
                    <a:pt x="966" y="66"/>
                  </a:lnTo>
                  <a:lnTo>
                    <a:pt x="966" y="78"/>
                  </a:lnTo>
                  <a:lnTo>
                    <a:pt x="960" y="84"/>
                  </a:lnTo>
                  <a:lnTo>
                    <a:pt x="954" y="102"/>
                  </a:lnTo>
                  <a:lnTo>
                    <a:pt x="972" y="102"/>
                  </a:lnTo>
                  <a:lnTo>
                    <a:pt x="978" y="84"/>
                  </a:lnTo>
                  <a:lnTo>
                    <a:pt x="984" y="72"/>
                  </a:lnTo>
                  <a:lnTo>
                    <a:pt x="990" y="72"/>
                  </a:lnTo>
                  <a:lnTo>
                    <a:pt x="996" y="18"/>
                  </a:lnTo>
                  <a:lnTo>
                    <a:pt x="990" y="12"/>
                  </a:lnTo>
                  <a:lnTo>
                    <a:pt x="1014" y="12"/>
                  </a:lnTo>
                  <a:lnTo>
                    <a:pt x="1026" y="12"/>
                  </a:lnTo>
                  <a:lnTo>
                    <a:pt x="1026" y="24"/>
                  </a:lnTo>
                  <a:lnTo>
                    <a:pt x="1050" y="24"/>
                  </a:lnTo>
                  <a:lnTo>
                    <a:pt x="1050" y="36"/>
                  </a:lnTo>
                  <a:lnTo>
                    <a:pt x="1062" y="66"/>
                  </a:lnTo>
                  <a:lnTo>
                    <a:pt x="1074" y="66"/>
                  </a:lnTo>
                  <a:lnTo>
                    <a:pt x="1080" y="60"/>
                  </a:lnTo>
                  <a:lnTo>
                    <a:pt x="1074" y="24"/>
                  </a:lnTo>
                  <a:lnTo>
                    <a:pt x="1086" y="18"/>
                  </a:lnTo>
                  <a:lnTo>
                    <a:pt x="1086" y="12"/>
                  </a:lnTo>
                  <a:lnTo>
                    <a:pt x="1104" y="6"/>
                  </a:lnTo>
                  <a:lnTo>
                    <a:pt x="1122" y="0"/>
                  </a:lnTo>
                  <a:lnTo>
                    <a:pt x="1134" y="6"/>
                  </a:lnTo>
                  <a:lnTo>
                    <a:pt x="1134" y="42"/>
                  </a:lnTo>
                  <a:lnTo>
                    <a:pt x="1140" y="72"/>
                  </a:lnTo>
                  <a:lnTo>
                    <a:pt x="1158" y="114"/>
                  </a:lnTo>
                  <a:lnTo>
                    <a:pt x="1170" y="114"/>
                  </a:lnTo>
                  <a:lnTo>
                    <a:pt x="1170" y="126"/>
                  </a:lnTo>
                  <a:lnTo>
                    <a:pt x="1182" y="126"/>
                  </a:lnTo>
                  <a:lnTo>
                    <a:pt x="1182" y="138"/>
                  </a:lnTo>
                  <a:lnTo>
                    <a:pt x="1194" y="144"/>
                  </a:lnTo>
                  <a:lnTo>
                    <a:pt x="1194" y="156"/>
                  </a:lnTo>
                  <a:lnTo>
                    <a:pt x="1188" y="156"/>
                  </a:lnTo>
                  <a:lnTo>
                    <a:pt x="1194" y="162"/>
                  </a:lnTo>
                  <a:lnTo>
                    <a:pt x="1194" y="168"/>
                  </a:lnTo>
                  <a:lnTo>
                    <a:pt x="1188" y="168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82" y="180"/>
                  </a:lnTo>
                  <a:lnTo>
                    <a:pt x="1188" y="186"/>
                  </a:lnTo>
                  <a:lnTo>
                    <a:pt x="1188" y="192"/>
                  </a:lnTo>
                  <a:lnTo>
                    <a:pt x="1182" y="198"/>
                  </a:lnTo>
                  <a:lnTo>
                    <a:pt x="1182" y="204"/>
                  </a:lnTo>
                  <a:lnTo>
                    <a:pt x="1182" y="210"/>
                  </a:lnTo>
                  <a:lnTo>
                    <a:pt x="1188" y="210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2"/>
                  </a:lnTo>
                  <a:lnTo>
                    <a:pt x="1194" y="264"/>
                  </a:lnTo>
                  <a:lnTo>
                    <a:pt x="1200" y="264"/>
                  </a:lnTo>
                  <a:lnTo>
                    <a:pt x="1212" y="264"/>
                  </a:lnTo>
                  <a:lnTo>
                    <a:pt x="1212" y="258"/>
                  </a:lnTo>
                  <a:lnTo>
                    <a:pt x="1224" y="258"/>
                  </a:lnTo>
                  <a:lnTo>
                    <a:pt x="1248" y="252"/>
                  </a:lnTo>
                  <a:lnTo>
                    <a:pt x="1248" y="264"/>
                  </a:lnTo>
                  <a:lnTo>
                    <a:pt x="1254" y="264"/>
                  </a:lnTo>
                  <a:lnTo>
                    <a:pt x="1254" y="270"/>
                  </a:lnTo>
                  <a:lnTo>
                    <a:pt x="1260" y="270"/>
                  </a:lnTo>
                  <a:lnTo>
                    <a:pt x="1266" y="270"/>
                  </a:lnTo>
                  <a:lnTo>
                    <a:pt x="1272" y="270"/>
                  </a:lnTo>
                  <a:lnTo>
                    <a:pt x="1272" y="264"/>
                  </a:lnTo>
                  <a:lnTo>
                    <a:pt x="1272" y="258"/>
                  </a:lnTo>
                  <a:lnTo>
                    <a:pt x="1278" y="258"/>
                  </a:lnTo>
                  <a:lnTo>
                    <a:pt x="1278" y="252"/>
                  </a:lnTo>
                  <a:lnTo>
                    <a:pt x="1290" y="252"/>
                  </a:lnTo>
                  <a:lnTo>
                    <a:pt x="1296" y="246"/>
                  </a:lnTo>
                  <a:lnTo>
                    <a:pt x="1308" y="246"/>
                  </a:lnTo>
                  <a:lnTo>
                    <a:pt x="1308" y="240"/>
                  </a:lnTo>
                  <a:lnTo>
                    <a:pt x="1320" y="240"/>
                  </a:lnTo>
                  <a:lnTo>
                    <a:pt x="1326" y="246"/>
                  </a:lnTo>
                  <a:lnTo>
                    <a:pt x="1338" y="246"/>
                  </a:lnTo>
                  <a:lnTo>
                    <a:pt x="1338" y="240"/>
                  </a:lnTo>
                  <a:lnTo>
                    <a:pt x="1350" y="240"/>
                  </a:lnTo>
                  <a:lnTo>
                    <a:pt x="1386" y="234"/>
                  </a:lnTo>
                  <a:lnTo>
                    <a:pt x="1398" y="228"/>
                  </a:lnTo>
                  <a:lnTo>
                    <a:pt x="1404" y="216"/>
                  </a:lnTo>
                  <a:lnTo>
                    <a:pt x="1416" y="204"/>
                  </a:lnTo>
                  <a:lnTo>
                    <a:pt x="1434" y="192"/>
                  </a:lnTo>
                  <a:lnTo>
                    <a:pt x="1446" y="198"/>
                  </a:lnTo>
                  <a:lnTo>
                    <a:pt x="1446" y="204"/>
                  </a:lnTo>
                  <a:lnTo>
                    <a:pt x="1452" y="210"/>
                  </a:lnTo>
                  <a:lnTo>
                    <a:pt x="1464" y="222"/>
                  </a:lnTo>
                  <a:lnTo>
                    <a:pt x="1464" y="228"/>
                  </a:lnTo>
                  <a:lnTo>
                    <a:pt x="1464" y="234"/>
                  </a:lnTo>
                  <a:lnTo>
                    <a:pt x="1470" y="240"/>
                  </a:lnTo>
                  <a:lnTo>
                    <a:pt x="1476" y="228"/>
                  </a:lnTo>
                  <a:lnTo>
                    <a:pt x="1476" y="222"/>
                  </a:lnTo>
                  <a:lnTo>
                    <a:pt x="1482" y="210"/>
                  </a:lnTo>
                  <a:lnTo>
                    <a:pt x="1488" y="192"/>
                  </a:lnTo>
                  <a:lnTo>
                    <a:pt x="1488" y="186"/>
                  </a:lnTo>
                  <a:lnTo>
                    <a:pt x="1488" y="180"/>
                  </a:lnTo>
                  <a:lnTo>
                    <a:pt x="1500" y="180"/>
                  </a:lnTo>
                  <a:lnTo>
                    <a:pt x="1500" y="174"/>
                  </a:lnTo>
                  <a:lnTo>
                    <a:pt x="1518" y="162"/>
                  </a:lnTo>
                  <a:lnTo>
                    <a:pt x="1536" y="150"/>
                  </a:lnTo>
                  <a:lnTo>
                    <a:pt x="1554" y="168"/>
                  </a:lnTo>
                  <a:lnTo>
                    <a:pt x="1572" y="180"/>
                  </a:lnTo>
                  <a:lnTo>
                    <a:pt x="1596" y="216"/>
                  </a:lnTo>
                  <a:lnTo>
                    <a:pt x="1602" y="216"/>
                  </a:lnTo>
                  <a:lnTo>
                    <a:pt x="1614" y="228"/>
                  </a:lnTo>
                  <a:lnTo>
                    <a:pt x="1614" y="234"/>
                  </a:lnTo>
                  <a:lnTo>
                    <a:pt x="1620" y="240"/>
                  </a:lnTo>
                  <a:lnTo>
                    <a:pt x="1620" y="246"/>
                  </a:lnTo>
                  <a:lnTo>
                    <a:pt x="1626" y="252"/>
                  </a:lnTo>
                  <a:lnTo>
                    <a:pt x="1632" y="258"/>
                  </a:lnTo>
                  <a:lnTo>
                    <a:pt x="1632" y="264"/>
                  </a:lnTo>
                  <a:lnTo>
                    <a:pt x="1638" y="264"/>
                  </a:lnTo>
                  <a:lnTo>
                    <a:pt x="1638" y="270"/>
                  </a:lnTo>
                  <a:lnTo>
                    <a:pt x="1638" y="276"/>
                  </a:lnTo>
                  <a:lnTo>
                    <a:pt x="1638" y="282"/>
                  </a:lnTo>
                  <a:lnTo>
                    <a:pt x="1644" y="288"/>
                  </a:lnTo>
                  <a:lnTo>
                    <a:pt x="1644" y="294"/>
                  </a:lnTo>
                  <a:lnTo>
                    <a:pt x="1644" y="300"/>
                  </a:lnTo>
                  <a:lnTo>
                    <a:pt x="1644" y="306"/>
                  </a:lnTo>
                  <a:lnTo>
                    <a:pt x="1650" y="306"/>
                  </a:lnTo>
                  <a:lnTo>
                    <a:pt x="1650" y="312"/>
                  </a:lnTo>
                  <a:lnTo>
                    <a:pt x="1650" y="318"/>
                  </a:lnTo>
                  <a:lnTo>
                    <a:pt x="1650" y="324"/>
                  </a:lnTo>
                  <a:lnTo>
                    <a:pt x="1644" y="330"/>
                  </a:lnTo>
                  <a:lnTo>
                    <a:pt x="1626" y="330"/>
                  </a:lnTo>
                  <a:lnTo>
                    <a:pt x="1626" y="336"/>
                  </a:lnTo>
                  <a:lnTo>
                    <a:pt x="1626" y="342"/>
                  </a:lnTo>
                  <a:lnTo>
                    <a:pt x="1626" y="348"/>
                  </a:lnTo>
                  <a:lnTo>
                    <a:pt x="1620" y="354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14" y="390"/>
                  </a:lnTo>
                  <a:lnTo>
                    <a:pt x="1614" y="396"/>
                  </a:lnTo>
                  <a:lnTo>
                    <a:pt x="1614" y="402"/>
                  </a:lnTo>
                  <a:lnTo>
                    <a:pt x="1614" y="408"/>
                  </a:lnTo>
                  <a:lnTo>
                    <a:pt x="1614" y="414"/>
                  </a:lnTo>
                  <a:lnTo>
                    <a:pt x="1602" y="420"/>
                  </a:lnTo>
                  <a:lnTo>
                    <a:pt x="1602" y="426"/>
                  </a:lnTo>
                  <a:lnTo>
                    <a:pt x="1608" y="432"/>
                  </a:lnTo>
                  <a:lnTo>
                    <a:pt x="1614" y="426"/>
                  </a:lnTo>
                  <a:lnTo>
                    <a:pt x="1620" y="438"/>
                  </a:lnTo>
                  <a:lnTo>
                    <a:pt x="1626" y="438"/>
                  </a:lnTo>
                  <a:lnTo>
                    <a:pt x="1632" y="444"/>
                  </a:lnTo>
                  <a:lnTo>
                    <a:pt x="1626" y="456"/>
                  </a:lnTo>
                  <a:lnTo>
                    <a:pt x="1626" y="468"/>
                  </a:lnTo>
                  <a:lnTo>
                    <a:pt x="1620" y="474"/>
                  </a:lnTo>
                  <a:lnTo>
                    <a:pt x="1614" y="474"/>
                  </a:lnTo>
                  <a:lnTo>
                    <a:pt x="1614" y="486"/>
                  </a:lnTo>
                  <a:lnTo>
                    <a:pt x="1614" y="492"/>
                  </a:lnTo>
                  <a:lnTo>
                    <a:pt x="1620" y="492"/>
                  </a:lnTo>
                  <a:lnTo>
                    <a:pt x="1626" y="498"/>
                  </a:lnTo>
                  <a:lnTo>
                    <a:pt x="1626" y="504"/>
                  </a:lnTo>
                  <a:lnTo>
                    <a:pt x="1626" y="510"/>
                  </a:lnTo>
                  <a:lnTo>
                    <a:pt x="1620" y="516"/>
                  </a:lnTo>
                  <a:lnTo>
                    <a:pt x="1620" y="522"/>
                  </a:lnTo>
                  <a:lnTo>
                    <a:pt x="1614" y="522"/>
                  </a:lnTo>
                  <a:lnTo>
                    <a:pt x="1608" y="528"/>
                  </a:lnTo>
                  <a:lnTo>
                    <a:pt x="1602" y="522"/>
                  </a:lnTo>
                  <a:lnTo>
                    <a:pt x="1602" y="528"/>
                  </a:lnTo>
                  <a:lnTo>
                    <a:pt x="1602" y="540"/>
                  </a:lnTo>
                  <a:lnTo>
                    <a:pt x="1602" y="558"/>
                  </a:lnTo>
                  <a:lnTo>
                    <a:pt x="1602" y="564"/>
                  </a:lnTo>
                  <a:lnTo>
                    <a:pt x="1602" y="570"/>
                  </a:lnTo>
                  <a:lnTo>
                    <a:pt x="1602" y="576"/>
                  </a:lnTo>
                  <a:lnTo>
                    <a:pt x="1596" y="576"/>
                  </a:lnTo>
                  <a:lnTo>
                    <a:pt x="1632" y="582"/>
                  </a:lnTo>
                  <a:lnTo>
                    <a:pt x="1644" y="618"/>
                  </a:lnTo>
                  <a:lnTo>
                    <a:pt x="1650" y="648"/>
                  </a:lnTo>
                  <a:lnTo>
                    <a:pt x="1662" y="636"/>
                  </a:lnTo>
                  <a:lnTo>
                    <a:pt x="1668" y="636"/>
                  </a:lnTo>
                  <a:lnTo>
                    <a:pt x="1674" y="636"/>
                  </a:lnTo>
                  <a:lnTo>
                    <a:pt x="1680" y="630"/>
                  </a:lnTo>
                  <a:lnTo>
                    <a:pt x="1686" y="630"/>
                  </a:lnTo>
                  <a:lnTo>
                    <a:pt x="1692" y="630"/>
                  </a:lnTo>
                  <a:lnTo>
                    <a:pt x="1698" y="630"/>
                  </a:lnTo>
                  <a:lnTo>
                    <a:pt x="1704" y="630"/>
                  </a:lnTo>
                  <a:lnTo>
                    <a:pt x="1704" y="624"/>
                  </a:lnTo>
                  <a:lnTo>
                    <a:pt x="1710" y="624"/>
                  </a:lnTo>
                  <a:lnTo>
                    <a:pt x="1716" y="624"/>
                  </a:lnTo>
                  <a:lnTo>
                    <a:pt x="1722" y="624"/>
                  </a:lnTo>
                  <a:lnTo>
                    <a:pt x="1728" y="624"/>
                  </a:lnTo>
                  <a:lnTo>
                    <a:pt x="1722" y="618"/>
                  </a:lnTo>
                  <a:lnTo>
                    <a:pt x="1728" y="606"/>
                  </a:lnTo>
                  <a:lnTo>
                    <a:pt x="1734" y="606"/>
                  </a:lnTo>
                  <a:lnTo>
                    <a:pt x="1740" y="600"/>
                  </a:lnTo>
                  <a:lnTo>
                    <a:pt x="1746" y="594"/>
                  </a:lnTo>
                  <a:lnTo>
                    <a:pt x="1752" y="588"/>
                  </a:lnTo>
                  <a:lnTo>
                    <a:pt x="1752" y="582"/>
                  </a:lnTo>
                  <a:lnTo>
                    <a:pt x="1758" y="576"/>
                  </a:lnTo>
                  <a:lnTo>
                    <a:pt x="1764" y="576"/>
                  </a:lnTo>
                  <a:lnTo>
                    <a:pt x="1770" y="570"/>
                  </a:lnTo>
                  <a:lnTo>
                    <a:pt x="1776" y="564"/>
                  </a:lnTo>
                  <a:lnTo>
                    <a:pt x="1788" y="558"/>
                  </a:lnTo>
                  <a:lnTo>
                    <a:pt x="1788" y="546"/>
                  </a:lnTo>
                  <a:lnTo>
                    <a:pt x="1788" y="540"/>
                  </a:lnTo>
                  <a:lnTo>
                    <a:pt x="1794" y="540"/>
                  </a:lnTo>
                  <a:lnTo>
                    <a:pt x="1788" y="534"/>
                  </a:lnTo>
                  <a:lnTo>
                    <a:pt x="1788" y="528"/>
                  </a:lnTo>
                  <a:lnTo>
                    <a:pt x="1794" y="516"/>
                  </a:lnTo>
                  <a:lnTo>
                    <a:pt x="1800" y="510"/>
                  </a:lnTo>
                  <a:lnTo>
                    <a:pt x="1812" y="510"/>
                  </a:lnTo>
                  <a:lnTo>
                    <a:pt x="1818" y="504"/>
                  </a:lnTo>
                  <a:lnTo>
                    <a:pt x="1824" y="504"/>
                  </a:lnTo>
                  <a:lnTo>
                    <a:pt x="1830" y="498"/>
                  </a:lnTo>
                  <a:lnTo>
                    <a:pt x="1836" y="498"/>
                  </a:lnTo>
                  <a:lnTo>
                    <a:pt x="1848" y="492"/>
                  </a:lnTo>
                  <a:lnTo>
                    <a:pt x="1848" y="480"/>
                  </a:lnTo>
                  <a:lnTo>
                    <a:pt x="1854" y="480"/>
                  </a:lnTo>
                  <a:lnTo>
                    <a:pt x="1890" y="504"/>
                  </a:lnTo>
                  <a:lnTo>
                    <a:pt x="1908" y="534"/>
                  </a:lnTo>
                  <a:lnTo>
                    <a:pt x="1902" y="534"/>
                  </a:lnTo>
                  <a:lnTo>
                    <a:pt x="1920" y="528"/>
                  </a:lnTo>
                  <a:lnTo>
                    <a:pt x="1920" y="516"/>
                  </a:lnTo>
                  <a:lnTo>
                    <a:pt x="1944" y="516"/>
                  </a:lnTo>
                  <a:lnTo>
                    <a:pt x="2004" y="516"/>
                  </a:lnTo>
                  <a:lnTo>
                    <a:pt x="2010" y="510"/>
                  </a:lnTo>
                  <a:lnTo>
                    <a:pt x="2004" y="510"/>
                  </a:lnTo>
                  <a:lnTo>
                    <a:pt x="2010" y="498"/>
                  </a:lnTo>
                  <a:lnTo>
                    <a:pt x="2004" y="486"/>
                  </a:lnTo>
                  <a:lnTo>
                    <a:pt x="2004" y="480"/>
                  </a:lnTo>
                  <a:lnTo>
                    <a:pt x="2004" y="474"/>
                  </a:lnTo>
                  <a:lnTo>
                    <a:pt x="2004" y="462"/>
                  </a:lnTo>
                  <a:lnTo>
                    <a:pt x="2004" y="456"/>
                  </a:lnTo>
                  <a:lnTo>
                    <a:pt x="2058" y="462"/>
                  </a:lnTo>
                  <a:lnTo>
                    <a:pt x="2076" y="474"/>
                  </a:lnTo>
                  <a:lnTo>
                    <a:pt x="2082" y="522"/>
                  </a:lnTo>
                  <a:lnTo>
                    <a:pt x="2088" y="516"/>
                  </a:lnTo>
                  <a:lnTo>
                    <a:pt x="2094" y="522"/>
                  </a:lnTo>
                  <a:lnTo>
                    <a:pt x="2100" y="528"/>
                  </a:lnTo>
                  <a:lnTo>
                    <a:pt x="2130" y="540"/>
                  </a:lnTo>
                  <a:lnTo>
                    <a:pt x="2160" y="564"/>
                  </a:lnTo>
                  <a:lnTo>
                    <a:pt x="2166" y="600"/>
                  </a:lnTo>
                  <a:lnTo>
                    <a:pt x="2160" y="618"/>
                  </a:lnTo>
                  <a:lnTo>
                    <a:pt x="2142" y="636"/>
                  </a:lnTo>
                  <a:lnTo>
                    <a:pt x="2148" y="648"/>
                  </a:lnTo>
                  <a:lnTo>
                    <a:pt x="2154" y="660"/>
                  </a:lnTo>
                  <a:lnTo>
                    <a:pt x="2196" y="654"/>
                  </a:lnTo>
                  <a:lnTo>
                    <a:pt x="2214" y="660"/>
                  </a:lnTo>
                  <a:lnTo>
                    <a:pt x="2214" y="666"/>
                  </a:lnTo>
                  <a:lnTo>
                    <a:pt x="2220" y="672"/>
                  </a:lnTo>
                  <a:lnTo>
                    <a:pt x="2214" y="678"/>
                  </a:lnTo>
                  <a:lnTo>
                    <a:pt x="2214" y="684"/>
                  </a:lnTo>
                  <a:lnTo>
                    <a:pt x="2214" y="690"/>
                  </a:lnTo>
                  <a:lnTo>
                    <a:pt x="2208" y="690"/>
                  </a:lnTo>
                  <a:lnTo>
                    <a:pt x="2202" y="696"/>
                  </a:lnTo>
                  <a:lnTo>
                    <a:pt x="2196" y="702"/>
                  </a:lnTo>
                  <a:lnTo>
                    <a:pt x="2190" y="708"/>
                  </a:lnTo>
                  <a:lnTo>
                    <a:pt x="2190" y="720"/>
                  </a:lnTo>
                  <a:lnTo>
                    <a:pt x="2184" y="720"/>
                  </a:lnTo>
                  <a:lnTo>
                    <a:pt x="2178" y="726"/>
                  </a:lnTo>
                  <a:lnTo>
                    <a:pt x="2166" y="732"/>
                  </a:lnTo>
                  <a:lnTo>
                    <a:pt x="2160" y="744"/>
                  </a:lnTo>
                  <a:lnTo>
                    <a:pt x="2154" y="756"/>
                  </a:lnTo>
                  <a:lnTo>
                    <a:pt x="2148" y="762"/>
                  </a:lnTo>
                  <a:lnTo>
                    <a:pt x="2124" y="762"/>
                  </a:lnTo>
                  <a:lnTo>
                    <a:pt x="2124" y="768"/>
                  </a:lnTo>
                  <a:lnTo>
                    <a:pt x="2118" y="768"/>
                  </a:lnTo>
                  <a:lnTo>
                    <a:pt x="2124" y="774"/>
                  </a:lnTo>
                  <a:lnTo>
                    <a:pt x="2118" y="774"/>
                  </a:lnTo>
                  <a:lnTo>
                    <a:pt x="2112" y="774"/>
                  </a:lnTo>
                  <a:lnTo>
                    <a:pt x="2106" y="780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06" y="798"/>
                  </a:lnTo>
                  <a:lnTo>
                    <a:pt x="2106" y="810"/>
                  </a:lnTo>
                  <a:lnTo>
                    <a:pt x="2112" y="828"/>
                  </a:lnTo>
                  <a:lnTo>
                    <a:pt x="2112" y="834"/>
                  </a:lnTo>
                  <a:lnTo>
                    <a:pt x="2112" y="840"/>
                  </a:lnTo>
                  <a:lnTo>
                    <a:pt x="2112" y="834"/>
                  </a:lnTo>
                  <a:lnTo>
                    <a:pt x="2124" y="834"/>
                  </a:lnTo>
                  <a:lnTo>
                    <a:pt x="2130" y="834"/>
                  </a:lnTo>
                  <a:lnTo>
                    <a:pt x="2136" y="840"/>
                  </a:lnTo>
                  <a:lnTo>
                    <a:pt x="2142" y="840"/>
                  </a:lnTo>
                  <a:lnTo>
                    <a:pt x="2154" y="852"/>
                  </a:lnTo>
                  <a:lnTo>
                    <a:pt x="2160" y="852"/>
                  </a:lnTo>
                  <a:lnTo>
                    <a:pt x="2172" y="846"/>
                  </a:lnTo>
                  <a:lnTo>
                    <a:pt x="2178" y="846"/>
                  </a:lnTo>
                  <a:lnTo>
                    <a:pt x="2184" y="846"/>
                  </a:lnTo>
                  <a:lnTo>
                    <a:pt x="2190" y="846"/>
                  </a:lnTo>
                  <a:lnTo>
                    <a:pt x="2196" y="852"/>
                  </a:lnTo>
                  <a:lnTo>
                    <a:pt x="2196" y="858"/>
                  </a:lnTo>
                  <a:lnTo>
                    <a:pt x="2202" y="852"/>
                  </a:lnTo>
                  <a:lnTo>
                    <a:pt x="2208" y="846"/>
                  </a:lnTo>
                  <a:lnTo>
                    <a:pt x="2214" y="846"/>
                  </a:lnTo>
                  <a:lnTo>
                    <a:pt x="2226" y="846"/>
                  </a:lnTo>
                  <a:lnTo>
                    <a:pt x="2232" y="852"/>
                  </a:lnTo>
                  <a:lnTo>
                    <a:pt x="2238" y="852"/>
                  </a:lnTo>
                  <a:lnTo>
                    <a:pt x="2244" y="858"/>
                  </a:lnTo>
                  <a:lnTo>
                    <a:pt x="2250" y="858"/>
                  </a:lnTo>
                  <a:lnTo>
                    <a:pt x="2256" y="858"/>
                  </a:lnTo>
                  <a:lnTo>
                    <a:pt x="2262" y="858"/>
                  </a:lnTo>
                  <a:lnTo>
                    <a:pt x="2268" y="852"/>
                  </a:lnTo>
                  <a:lnTo>
                    <a:pt x="2274" y="852"/>
                  </a:lnTo>
                  <a:lnTo>
                    <a:pt x="2280" y="852"/>
                  </a:lnTo>
                  <a:lnTo>
                    <a:pt x="2286" y="852"/>
                  </a:lnTo>
                  <a:lnTo>
                    <a:pt x="2298" y="858"/>
                  </a:lnTo>
                  <a:lnTo>
                    <a:pt x="2304" y="858"/>
                  </a:lnTo>
                  <a:lnTo>
                    <a:pt x="2310" y="858"/>
                  </a:lnTo>
                  <a:lnTo>
                    <a:pt x="2316" y="852"/>
                  </a:lnTo>
                  <a:lnTo>
                    <a:pt x="2322" y="858"/>
                  </a:lnTo>
                  <a:lnTo>
                    <a:pt x="2328" y="858"/>
                  </a:lnTo>
                  <a:lnTo>
                    <a:pt x="2328" y="852"/>
                  </a:lnTo>
                  <a:lnTo>
                    <a:pt x="2364" y="858"/>
                  </a:lnTo>
                  <a:lnTo>
                    <a:pt x="2376" y="876"/>
                  </a:lnTo>
                  <a:lnTo>
                    <a:pt x="2382" y="936"/>
                  </a:lnTo>
                  <a:lnTo>
                    <a:pt x="2388" y="966"/>
                  </a:lnTo>
                  <a:lnTo>
                    <a:pt x="2382" y="972"/>
                  </a:lnTo>
                  <a:lnTo>
                    <a:pt x="2382" y="978"/>
                  </a:lnTo>
                  <a:lnTo>
                    <a:pt x="2382" y="984"/>
                  </a:lnTo>
                  <a:lnTo>
                    <a:pt x="2388" y="990"/>
                  </a:lnTo>
                  <a:lnTo>
                    <a:pt x="2382" y="990"/>
                  </a:lnTo>
                  <a:lnTo>
                    <a:pt x="2382" y="996"/>
                  </a:lnTo>
                  <a:lnTo>
                    <a:pt x="2376" y="996"/>
                  </a:lnTo>
                  <a:lnTo>
                    <a:pt x="2376" y="1020"/>
                  </a:lnTo>
                  <a:lnTo>
                    <a:pt x="2370" y="1032"/>
                  </a:lnTo>
                  <a:lnTo>
                    <a:pt x="2352" y="1032"/>
                  </a:lnTo>
                  <a:lnTo>
                    <a:pt x="2346" y="1020"/>
                  </a:lnTo>
                  <a:lnTo>
                    <a:pt x="2328" y="1032"/>
                  </a:lnTo>
                  <a:lnTo>
                    <a:pt x="2316" y="1038"/>
                  </a:lnTo>
                  <a:lnTo>
                    <a:pt x="2328" y="1044"/>
                  </a:lnTo>
                  <a:lnTo>
                    <a:pt x="2340" y="1056"/>
                  </a:lnTo>
                  <a:lnTo>
                    <a:pt x="2376" y="1062"/>
                  </a:lnTo>
                  <a:lnTo>
                    <a:pt x="2376" y="1068"/>
                  </a:lnTo>
                  <a:lnTo>
                    <a:pt x="2382" y="1086"/>
                  </a:lnTo>
                  <a:lnTo>
                    <a:pt x="2376" y="1086"/>
                  </a:lnTo>
                  <a:lnTo>
                    <a:pt x="2370" y="1086"/>
                  </a:lnTo>
                  <a:lnTo>
                    <a:pt x="2364" y="1086"/>
                  </a:lnTo>
                  <a:lnTo>
                    <a:pt x="2364" y="1098"/>
                  </a:lnTo>
                  <a:lnTo>
                    <a:pt x="2388" y="1104"/>
                  </a:lnTo>
                  <a:lnTo>
                    <a:pt x="2400" y="1122"/>
                  </a:lnTo>
                  <a:lnTo>
                    <a:pt x="2400" y="1134"/>
                  </a:lnTo>
                  <a:lnTo>
                    <a:pt x="2400" y="1146"/>
                  </a:lnTo>
                  <a:lnTo>
                    <a:pt x="2394" y="1146"/>
                  </a:lnTo>
                  <a:lnTo>
                    <a:pt x="2394" y="1152"/>
                  </a:lnTo>
                  <a:lnTo>
                    <a:pt x="2388" y="1152"/>
                  </a:lnTo>
                  <a:lnTo>
                    <a:pt x="2388" y="1146"/>
                  </a:lnTo>
                  <a:lnTo>
                    <a:pt x="2382" y="1152"/>
                  </a:lnTo>
                  <a:lnTo>
                    <a:pt x="2376" y="1152"/>
                  </a:lnTo>
                  <a:lnTo>
                    <a:pt x="2370" y="1158"/>
                  </a:lnTo>
                  <a:lnTo>
                    <a:pt x="2370" y="1164"/>
                  </a:lnTo>
                  <a:lnTo>
                    <a:pt x="2364" y="1170"/>
                  </a:lnTo>
                  <a:lnTo>
                    <a:pt x="2370" y="1170"/>
                  </a:lnTo>
                  <a:lnTo>
                    <a:pt x="2376" y="1170"/>
                  </a:lnTo>
                  <a:lnTo>
                    <a:pt x="2370" y="1176"/>
                  </a:lnTo>
                  <a:lnTo>
                    <a:pt x="2364" y="1176"/>
                  </a:lnTo>
                  <a:lnTo>
                    <a:pt x="2358" y="1182"/>
                  </a:lnTo>
                  <a:lnTo>
                    <a:pt x="2352" y="1182"/>
                  </a:lnTo>
                  <a:lnTo>
                    <a:pt x="2346" y="1188"/>
                  </a:lnTo>
                  <a:lnTo>
                    <a:pt x="2340" y="1182"/>
                  </a:lnTo>
                  <a:lnTo>
                    <a:pt x="2334" y="1182"/>
                  </a:lnTo>
                  <a:lnTo>
                    <a:pt x="2334" y="1188"/>
                  </a:lnTo>
                  <a:lnTo>
                    <a:pt x="2328" y="1194"/>
                  </a:lnTo>
                  <a:lnTo>
                    <a:pt x="2328" y="1200"/>
                  </a:lnTo>
                  <a:lnTo>
                    <a:pt x="2322" y="1224"/>
                  </a:lnTo>
                  <a:lnTo>
                    <a:pt x="2328" y="1230"/>
                  </a:lnTo>
                  <a:lnTo>
                    <a:pt x="2358" y="1230"/>
                  </a:lnTo>
                  <a:lnTo>
                    <a:pt x="2358" y="1242"/>
                  </a:lnTo>
                  <a:lnTo>
                    <a:pt x="2358" y="1254"/>
                  </a:lnTo>
                  <a:lnTo>
                    <a:pt x="2346" y="1254"/>
                  </a:lnTo>
                  <a:lnTo>
                    <a:pt x="2346" y="1278"/>
                  </a:lnTo>
                  <a:lnTo>
                    <a:pt x="2358" y="1278"/>
                  </a:lnTo>
                  <a:lnTo>
                    <a:pt x="2358" y="1284"/>
                  </a:lnTo>
                  <a:lnTo>
                    <a:pt x="2376" y="1284"/>
                  </a:lnTo>
                  <a:lnTo>
                    <a:pt x="2388" y="1278"/>
                  </a:lnTo>
                  <a:lnTo>
                    <a:pt x="2406" y="1278"/>
                  </a:lnTo>
                  <a:lnTo>
                    <a:pt x="2430" y="1284"/>
                  </a:lnTo>
                  <a:lnTo>
                    <a:pt x="2430" y="1302"/>
                  </a:lnTo>
                  <a:lnTo>
                    <a:pt x="2430" y="1314"/>
                  </a:lnTo>
                  <a:lnTo>
                    <a:pt x="2424" y="1326"/>
                  </a:lnTo>
                  <a:lnTo>
                    <a:pt x="2412" y="1326"/>
                  </a:lnTo>
                  <a:lnTo>
                    <a:pt x="2412" y="1344"/>
                  </a:lnTo>
                  <a:lnTo>
                    <a:pt x="2406" y="1344"/>
                  </a:lnTo>
                  <a:lnTo>
                    <a:pt x="2400" y="1362"/>
                  </a:lnTo>
                  <a:lnTo>
                    <a:pt x="2394" y="1368"/>
                  </a:lnTo>
                  <a:lnTo>
                    <a:pt x="2388" y="1374"/>
                  </a:lnTo>
                  <a:lnTo>
                    <a:pt x="2382" y="1380"/>
                  </a:lnTo>
                  <a:lnTo>
                    <a:pt x="2376" y="1386"/>
                  </a:lnTo>
                  <a:lnTo>
                    <a:pt x="2376" y="1392"/>
                  </a:lnTo>
                  <a:lnTo>
                    <a:pt x="2370" y="1404"/>
                  </a:lnTo>
                  <a:lnTo>
                    <a:pt x="2364" y="1416"/>
                  </a:lnTo>
                  <a:lnTo>
                    <a:pt x="2346" y="1434"/>
                  </a:lnTo>
                  <a:lnTo>
                    <a:pt x="2328" y="1440"/>
                  </a:lnTo>
                  <a:lnTo>
                    <a:pt x="2328" y="1446"/>
                  </a:lnTo>
                  <a:lnTo>
                    <a:pt x="2322" y="1452"/>
                  </a:lnTo>
                  <a:lnTo>
                    <a:pt x="2316" y="1452"/>
                  </a:lnTo>
                  <a:lnTo>
                    <a:pt x="2304" y="1446"/>
                  </a:lnTo>
                  <a:lnTo>
                    <a:pt x="2298" y="1446"/>
                  </a:lnTo>
                  <a:lnTo>
                    <a:pt x="2298" y="1434"/>
                  </a:lnTo>
                  <a:lnTo>
                    <a:pt x="2292" y="1434"/>
                  </a:lnTo>
                  <a:lnTo>
                    <a:pt x="2286" y="1428"/>
                  </a:lnTo>
                  <a:lnTo>
                    <a:pt x="2274" y="1416"/>
                  </a:lnTo>
                  <a:lnTo>
                    <a:pt x="2256" y="1404"/>
                  </a:lnTo>
                  <a:lnTo>
                    <a:pt x="2244" y="1386"/>
                  </a:lnTo>
                  <a:lnTo>
                    <a:pt x="2220" y="1368"/>
                  </a:lnTo>
                  <a:lnTo>
                    <a:pt x="2208" y="1362"/>
                  </a:lnTo>
                  <a:lnTo>
                    <a:pt x="2202" y="1350"/>
                  </a:lnTo>
                  <a:lnTo>
                    <a:pt x="2196" y="1350"/>
                  </a:lnTo>
                  <a:lnTo>
                    <a:pt x="2190" y="1356"/>
                  </a:lnTo>
                  <a:lnTo>
                    <a:pt x="2184" y="1356"/>
                  </a:lnTo>
                  <a:lnTo>
                    <a:pt x="2094" y="1350"/>
                  </a:lnTo>
                  <a:lnTo>
                    <a:pt x="2058" y="1350"/>
                  </a:lnTo>
                  <a:lnTo>
                    <a:pt x="2034" y="1890"/>
                  </a:lnTo>
                  <a:lnTo>
                    <a:pt x="2064" y="1890"/>
                  </a:lnTo>
                  <a:lnTo>
                    <a:pt x="2070" y="1896"/>
                  </a:lnTo>
                  <a:lnTo>
                    <a:pt x="2076" y="18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8" name="Freeform 33">
              <a:extLst>
                <a:ext uri="{FF2B5EF4-FFF2-40B4-BE49-F238E27FC236}">
                  <a16:creationId xmlns:a16="http://schemas.microsoft.com/office/drawing/2014/main" id="{0E96F118-1F4D-4E52-AF27-149259451CD6}"/>
                </a:ext>
              </a:extLst>
            </p:cNvPr>
            <p:cNvSpPr>
              <a:spLocks/>
            </p:cNvSpPr>
            <p:nvPr/>
          </p:nvSpPr>
          <p:spPr bwMode="gray">
            <a:xfrm>
              <a:off x="1266662" y="1459989"/>
              <a:ext cx="903421" cy="778302"/>
            </a:xfrm>
            <a:custGeom>
              <a:avLst/>
              <a:gdLst>
                <a:gd name="T0" fmla="*/ 143 w 1698"/>
                <a:gd name="T1" fmla="*/ 43 h 1464"/>
                <a:gd name="T2" fmla="*/ 131 w 1698"/>
                <a:gd name="T3" fmla="*/ 44 h 1464"/>
                <a:gd name="T4" fmla="*/ 126 w 1698"/>
                <a:gd name="T5" fmla="*/ 41 h 1464"/>
                <a:gd name="T6" fmla="*/ 119 w 1698"/>
                <a:gd name="T7" fmla="*/ 45 h 1464"/>
                <a:gd name="T8" fmla="*/ 111 w 1698"/>
                <a:gd name="T9" fmla="*/ 46 h 1464"/>
                <a:gd name="T10" fmla="*/ 107 w 1698"/>
                <a:gd name="T11" fmla="*/ 50 h 1464"/>
                <a:gd name="T12" fmla="*/ 107 w 1698"/>
                <a:gd name="T13" fmla="*/ 60 h 1464"/>
                <a:gd name="T14" fmla="*/ 104 w 1698"/>
                <a:gd name="T15" fmla="*/ 62 h 1464"/>
                <a:gd name="T16" fmla="*/ 97 w 1698"/>
                <a:gd name="T17" fmla="*/ 59 h 1464"/>
                <a:gd name="T18" fmla="*/ 92 w 1698"/>
                <a:gd name="T19" fmla="*/ 59 h 1464"/>
                <a:gd name="T20" fmla="*/ 90 w 1698"/>
                <a:gd name="T21" fmla="*/ 62 h 1464"/>
                <a:gd name="T22" fmla="*/ 93 w 1698"/>
                <a:gd name="T23" fmla="*/ 77 h 1464"/>
                <a:gd name="T24" fmla="*/ 85 w 1698"/>
                <a:gd name="T25" fmla="*/ 88 h 1464"/>
                <a:gd name="T26" fmla="*/ 70 w 1698"/>
                <a:gd name="T27" fmla="*/ 89 h 1464"/>
                <a:gd name="T28" fmla="*/ 65 w 1698"/>
                <a:gd name="T29" fmla="*/ 88 h 1464"/>
                <a:gd name="T30" fmla="*/ 50 w 1698"/>
                <a:gd name="T31" fmla="*/ 88 h 1464"/>
                <a:gd name="T32" fmla="*/ 48 w 1698"/>
                <a:gd name="T33" fmla="*/ 107 h 1464"/>
                <a:gd name="T34" fmla="*/ 47 w 1698"/>
                <a:gd name="T35" fmla="*/ 120 h 1464"/>
                <a:gd name="T36" fmla="*/ 43 w 1698"/>
                <a:gd name="T37" fmla="*/ 121 h 1464"/>
                <a:gd name="T38" fmla="*/ 40 w 1698"/>
                <a:gd name="T39" fmla="*/ 120 h 1464"/>
                <a:gd name="T40" fmla="*/ 35 w 1698"/>
                <a:gd name="T41" fmla="*/ 122 h 1464"/>
                <a:gd name="T42" fmla="*/ 29 w 1698"/>
                <a:gd name="T43" fmla="*/ 123 h 1464"/>
                <a:gd name="T44" fmla="*/ 24 w 1698"/>
                <a:gd name="T45" fmla="*/ 125 h 1464"/>
                <a:gd name="T46" fmla="*/ 20 w 1698"/>
                <a:gd name="T47" fmla="*/ 125 h 1464"/>
                <a:gd name="T48" fmla="*/ 18 w 1698"/>
                <a:gd name="T49" fmla="*/ 122 h 1464"/>
                <a:gd name="T50" fmla="*/ 26 w 1698"/>
                <a:gd name="T51" fmla="*/ 108 h 1464"/>
                <a:gd name="T52" fmla="*/ 24 w 1698"/>
                <a:gd name="T53" fmla="*/ 89 h 1464"/>
                <a:gd name="T54" fmla="*/ 28 w 1698"/>
                <a:gd name="T55" fmla="*/ 85 h 1464"/>
                <a:gd name="T56" fmla="*/ 32 w 1698"/>
                <a:gd name="T57" fmla="*/ 80 h 1464"/>
                <a:gd name="T58" fmla="*/ 36 w 1698"/>
                <a:gd name="T59" fmla="*/ 86 h 1464"/>
                <a:gd name="T60" fmla="*/ 39 w 1698"/>
                <a:gd name="T61" fmla="*/ 80 h 1464"/>
                <a:gd name="T62" fmla="*/ 41 w 1698"/>
                <a:gd name="T63" fmla="*/ 73 h 1464"/>
                <a:gd name="T64" fmla="*/ 38 w 1698"/>
                <a:gd name="T65" fmla="*/ 64 h 1464"/>
                <a:gd name="T66" fmla="*/ 39 w 1698"/>
                <a:gd name="T67" fmla="*/ 59 h 1464"/>
                <a:gd name="T68" fmla="*/ 32 w 1698"/>
                <a:gd name="T69" fmla="*/ 54 h 1464"/>
                <a:gd name="T70" fmla="*/ 32 w 1698"/>
                <a:gd name="T71" fmla="*/ 45 h 1464"/>
                <a:gd name="T72" fmla="*/ 31 w 1698"/>
                <a:gd name="T73" fmla="*/ 41 h 1464"/>
                <a:gd name="T74" fmla="*/ 24 w 1698"/>
                <a:gd name="T75" fmla="*/ 43 h 1464"/>
                <a:gd name="T76" fmla="*/ 17 w 1698"/>
                <a:gd name="T77" fmla="*/ 40 h 1464"/>
                <a:gd name="T78" fmla="*/ 11 w 1698"/>
                <a:gd name="T79" fmla="*/ 38 h 1464"/>
                <a:gd name="T80" fmla="*/ 2 w 1698"/>
                <a:gd name="T81" fmla="*/ 36 h 1464"/>
                <a:gd name="T82" fmla="*/ 0 w 1698"/>
                <a:gd name="T83" fmla="*/ 24 h 1464"/>
                <a:gd name="T84" fmla="*/ 11 w 1698"/>
                <a:gd name="T85" fmla="*/ 18 h 1464"/>
                <a:gd name="T86" fmla="*/ 19 w 1698"/>
                <a:gd name="T87" fmla="*/ 10 h 1464"/>
                <a:gd name="T88" fmla="*/ 28 w 1698"/>
                <a:gd name="T89" fmla="*/ 9 h 1464"/>
                <a:gd name="T90" fmla="*/ 40 w 1698"/>
                <a:gd name="T91" fmla="*/ 6 h 1464"/>
                <a:gd name="T92" fmla="*/ 49 w 1698"/>
                <a:gd name="T93" fmla="*/ 8 h 1464"/>
                <a:gd name="T94" fmla="*/ 56 w 1698"/>
                <a:gd name="T95" fmla="*/ 8 h 1464"/>
                <a:gd name="T96" fmla="*/ 64 w 1698"/>
                <a:gd name="T97" fmla="*/ 7 h 1464"/>
                <a:gd name="T98" fmla="*/ 74 w 1698"/>
                <a:gd name="T99" fmla="*/ 1 h 1464"/>
                <a:gd name="T100" fmla="*/ 83 w 1698"/>
                <a:gd name="T101" fmla="*/ 3 h 1464"/>
                <a:gd name="T102" fmla="*/ 99 w 1698"/>
                <a:gd name="T103" fmla="*/ 9 h 1464"/>
                <a:gd name="T104" fmla="*/ 112 w 1698"/>
                <a:gd name="T105" fmla="*/ 14 h 1464"/>
                <a:gd name="T106" fmla="*/ 119 w 1698"/>
                <a:gd name="T107" fmla="*/ 12 h 1464"/>
                <a:gd name="T108" fmla="*/ 128 w 1698"/>
                <a:gd name="T109" fmla="*/ 17 h 1464"/>
                <a:gd name="T110" fmla="*/ 141 w 1698"/>
                <a:gd name="T111" fmla="*/ 29 h 1464"/>
                <a:gd name="T112" fmla="*/ 145 w 1698"/>
                <a:gd name="T113" fmla="*/ 35 h 14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98"/>
                <a:gd name="T172" fmla="*/ 0 h 1464"/>
                <a:gd name="T173" fmla="*/ 1698 w 1698"/>
                <a:gd name="T174" fmla="*/ 1464 h 14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98" h="1464">
                  <a:moveTo>
                    <a:pt x="1698" y="462"/>
                  </a:moveTo>
                  <a:lnTo>
                    <a:pt x="1686" y="468"/>
                  </a:lnTo>
                  <a:lnTo>
                    <a:pt x="1680" y="474"/>
                  </a:lnTo>
                  <a:lnTo>
                    <a:pt x="1674" y="480"/>
                  </a:lnTo>
                  <a:lnTo>
                    <a:pt x="1668" y="480"/>
                  </a:lnTo>
                  <a:lnTo>
                    <a:pt x="1662" y="486"/>
                  </a:lnTo>
                  <a:lnTo>
                    <a:pt x="1656" y="492"/>
                  </a:lnTo>
                  <a:lnTo>
                    <a:pt x="1644" y="498"/>
                  </a:lnTo>
                  <a:lnTo>
                    <a:pt x="1626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0" y="516"/>
                  </a:lnTo>
                  <a:lnTo>
                    <a:pt x="1590" y="522"/>
                  </a:lnTo>
                  <a:lnTo>
                    <a:pt x="1566" y="522"/>
                  </a:lnTo>
                  <a:lnTo>
                    <a:pt x="1506" y="510"/>
                  </a:lnTo>
                  <a:lnTo>
                    <a:pt x="1500" y="510"/>
                  </a:lnTo>
                  <a:lnTo>
                    <a:pt x="1488" y="504"/>
                  </a:lnTo>
                  <a:lnTo>
                    <a:pt x="1482" y="498"/>
                  </a:lnTo>
                  <a:lnTo>
                    <a:pt x="1476" y="498"/>
                  </a:lnTo>
                  <a:lnTo>
                    <a:pt x="1476" y="492"/>
                  </a:lnTo>
                  <a:lnTo>
                    <a:pt x="1470" y="492"/>
                  </a:lnTo>
                  <a:lnTo>
                    <a:pt x="1464" y="486"/>
                  </a:lnTo>
                  <a:lnTo>
                    <a:pt x="1452" y="486"/>
                  </a:lnTo>
                  <a:lnTo>
                    <a:pt x="1446" y="474"/>
                  </a:lnTo>
                  <a:lnTo>
                    <a:pt x="1434" y="468"/>
                  </a:lnTo>
                  <a:lnTo>
                    <a:pt x="1416" y="468"/>
                  </a:lnTo>
                  <a:lnTo>
                    <a:pt x="1392" y="468"/>
                  </a:lnTo>
                  <a:lnTo>
                    <a:pt x="1374" y="474"/>
                  </a:lnTo>
                  <a:lnTo>
                    <a:pt x="1368" y="474"/>
                  </a:lnTo>
                  <a:lnTo>
                    <a:pt x="1368" y="486"/>
                  </a:lnTo>
                  <a:lnTo>
                    <a:pt x="1368" y="498"/>
                  </a:lnTo>
                  <a:lnTo>
                    <a:pt x="1368" y="522"/>
                  </a:lnTo>
                  <a:lnTo>
                    <a:pt x="1368" y="534"/>
                  </a:lnTo>
                  <a:lnTo>
                    <a:pt x="1362" y="546"/>
                  </a:lnTo>
                  <a:lnTo>
                    <a:pt x="1356" y="546"/>
                  </a:lnTo>
                  <a:lnTo>
                    <a:pt x="1344" y="540"/>
                  </a:lnTo>
                  <a:lnTo>
                    <a:pt x="1338" y="534"/>
                  </a:lnTo>
                  <a:lnTo>
                    <a:pt x="1308" y="522"/>
                  </a:lnTo>
                  <a:lnTo>
                    <a:pt x="1296" y="522"/>
                  </a:lnTo>
                  <a:lnTo>
                    <a:pt x="1278" y="528"/>
                  </a:lnTo>
                  <a:lnTo>
                    <a:pt x="1260" y="534"/>
                  </a:lnTo>
                  <a:lnTo>
                    <a:pt x="1242" y="546"/>
                  </a:lnTo>
                  <a:lnTo>
                    <a:pt x="1236" y="552"/>
                  </a:lnTo>
                  <a:lnTo>
                    <a:pt x="1224" y="558"/>
                  </a:lnTo>
                  <a:lnTo>
                    <a:pt x="1218" y="558"/>
                  </a:lnTo>
                  <a:lnTo>
                    <a:pt x="1218" y="564"/>
                  </a:lnTo>
                  <a:lnTo>
                    <a:pt x="1224" y="570"/>
                  </a:lnTo>
                  <a:lnTo>
                    <a:pt x="1224" y="582"/>
                  </a:lnTo>
                  <a:lnTo>
                    <a:pt x="1224" y="594"/>
                  </a:lnTo>
                  <a:lnTo>
                    <a:pt x="1212" y="618"/>
                  </a:lnTo>
                  <a:lnTo>
                    <a:pt x="1212" y="624"/>
                  </a:lnTo>
                  <a:lnTo>
                    <a:pt x="1212" y="630"/>
                  </a:lnTo>
                  <a:lnTo>
                    <a:pt x="1212" y="636"/>
                  </a:lnTo>
                  <a:lnTo>
                    <a:pt x="1218" y="654"/>
                  </a:lnTo>
                  <a:lnTo>
                    <a:pt x="1224" y="672"/>
                  </a:lnTo>
                  <a:lnTo>
                    <a:pt x="1230" y="696"/>
                  </a:lnTo>
                  <a:lnTo>
                    <a:pt x="1236" y="708"/>
                  </a:lnTo>
                  <a:lnTo>
                    <a:pt x="1236" y="714"/>
                  </a:lnTo>
                  <a:lnTo>
                    <a:pt x="1236" y="720"/>
                  </a:lnTo>
                  <a:lnTo>
                    <a:pt x="1218" y="726"/>
                  </a:lnTo>
                  <a:lnTo>
                    <a:pt x="1212" y="726"/>
                  </a:lnTo>
                  <a:lnTo>
                    <a:pt x="1206" y="726"/>
                  </a:lnTo>
                  <a:lnTo>
                    <a:pt x="1194" y="720"/>
                  </a:lnTo>
                  <a:lnTo>
                    <a:pt x="1194" y="714"/>
                  </a:lnTo>
                  <a:lnTo>
                    <a:pt x="1176" y="714"/>
                  </a:lnTo>
                  <a:lnTo>
                    <a:pt x="1164" y="708"/>
                  </a:lnTo>
                  <a:lnTo>
                    <a:pt x="1158" y="708"/>
                  </a:lnTo>
                  <a:lnTo>
                    <a:pt x="1140" y="702"/>
                  </a:lnTo>
                  <a:lnTo>
                    <a:pt x="1134" y="696"/>
                  </a:lnTo>
                  <a:lnTo>
                    <a:pt x="1128" y="690"/>
                  </a:lnTo>
                  <a:lnTo>
                    <a:pt x="1116" y="678"/>
                  </a:lnTo>
                  <a:lnTo>
                    <a:pt x="1110" y="678"/>
                  </a:lnTo>
                  <a:lnTo>
                    <a:pt x="1104" y="672"/>
                  </a:lnTo>
                  <a:lnTo>
                    <a:pt x="1092" y="672"/>
                  </a:lnTo>
                  <a:lnTo>
                    <a:pt x="1086" y="672"/>
                  </a:lnTo>
                  <a:lnTo>
                    <a:pt x="1080" y="672"/>
                  </a:lnTo>
                  <a:lnTo>
                    <a:pt x="1074" y="672"/>
                  </a:lnTo>
                  <a:lnTo>
                    <a:pt x="1068" y="672"/>
                  </a:lnTo>
                  <a:lnTo>
                    <a:pt x="1062" y="678"/>
                  </a:lnTo>
                  <a:lnTo>
                    <a:pt x="1056" y="678"/>
                  </a:lnTo>
                  <a:lnTo>
                    <a:pt x="1056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6"/>
                  </a:lnTo>
                  <a:lnTo>
                    <a:pt x="1032" y="708"/>
                  </a:lnTo>
                  <a:lnTo>
                    <a:pt x="1026" y="708"/>
                  </a:lnTo>
                  <a:lnTo>
                    <a:pt x="1032" y="714"/>
                  </a:lnTo>
                  <a:lnTo>
                    <a:pt x="1026" y="720"/>
                  </a:lnTo>
                  <a:lnTo>
                    <a:pt x="1020" y="720"/>
                  </a:lnTo>
                  <a:lnTo>
                    <a:pt x="1014" y="732"/>
                  </a:lnTo>
                  <a:lnTo>
                    <a:pt x="1014" y="744"/>
                  </a:lnTo>
                  <a:lnTo>
                    <a:pt x="1038" y="810"/>
                  </a:lnTo>
                  <a:lnTo>
                    <a:pt x="1050" y="834"/>
                  </a:lnTo>
                  <a:lnTo>
                    <a:pt x="1056" y="858"/>
                  </a:lnTo>
                  <a:lnTo>
                    <a:pt x="1062" y="876"/>
                  </a:lnTo>
                  <a:lnTo>
                    <a:pt x="1068" y="882"/>
                  </a:lnTo>
                  <a:lnTo>
                    <a:pt x="1062" y="972"/>
                  </a:lnTo>
                  <a:lnTo>
                    <a:pt x="1056" y="972"/>
                  </a:lnTo>
                  <a:lnTo>
                    <a:pt x="1050" y="996"/>
                  </a:lnTo>
                  <a:lnTo>
                    <a:pt x="1044" y="1014"/>
                  </a:lnTo>
                  <a:lnTo>
                    <a:pt x="1008" y="1014"/>
                  </a:lnTo>
                  <a:lnTo>
                    <a:pt x="1008" y="1008"/>
                  </a:lnTo>
                  <a:lnTo>
                    <a:pt x="990" y="1008"/>
                  </a:lnTo>
                  <a:lnTo>
                    <a:pt x="972" y="1014"/>
                  </a:lnTo>
                  <a:lnTo>
                    <a:pt x="948" y="1020"/>
                  </a:lnTo>
                  <a:lnTo>
                    <a:pt x="918" y="1026"/>
                  </a:lnTo>
                  <a:lnTo>
                    <a:pt x="840" y="1032"/>
                  </a:lnTo>
                  <a:lnTo>
                    <a:pt x="834" y="1032"/>
                  </a:lnTo>
                  <a:lnTo>
                    <a:pt x="834" y="1026"/>
                  </a:lnTo>
                  <a:lnTo>
                    <a:pt x="822" y="1026"/>
                  </a:lnTo>
                  <a:lnTo>
                    <a:pt x="816" y="1032"/>
                  </a:lnTo>
                  <a:lnTo>
                    <a:pt x="804" y="1032"/>
                  </a:lnTo>
                  <a:lnTo>
                    <a:pt x="798" y="1026"/>
                  </a:lnTo>
                  <a:lnTo>
                    <a:pt x="780" y="1026"/>
                  </a:lnTo>
                  <a:lnTo>
                    <a:pt x="762" y="1026"/>
                  </a:lnTo>
                  <a:lnTo>
                    <a:pt x="756" y="1026"/>
                  </a:lnTo>
                  <a:lnTo>
                    <a:pt x="750" y="1026"/>
                  </a:lnTo>
                  <a:lnTo>
                    <a:pt x="756" y="1020"/>
                  </a:lnTo>
                  <a:lnTo>
                    <a:pt x="750" y="1020"/>
                  </a:lnTo>
                  <a:lnTo>
                    <a:pt x="744" y="1014"/>
                  </a:lnTo>
                  <a:lnTo>
                    <a:pt x="684" y="1020"/>
                  </a:lnTo>
                  <a:lnTo>
                    <a:pt x="648" y="1020"/>
                  </a:lnTo>
                  <a:lnTo>
                    <a:pt x="630" y="1020"/>
                  </a:lnTo>
                  <a:lnTo>
                    <a:pt x="618" y="1020"/>
                  </a:lnTo>
                  <a:lnTo>
                    <a:pt x="606" y="1014"/>
                  </a:lnTo>
                  <a:lnTo>
                    <a:pt x="582" y="1014"/>
                  </a:lnTo>
                  <a:lnTo>
                    <a:pt x="576" y="1014"/>
                  </a:lnTo>
                  <a:lnTo>
                    <a:pt x="570" y="1014"/>
                  </a:lnTo>
                  <a:lnTo>
                    <a:pt x="564" y="1020"/>
                  </a:lnTo>
                  <a:lnTo>
                    <a:pt x="558" y="1026"/>
                  </a:lnTo>
                  <a:lnTo>
                    <a:pt x="552" y="1032"/>
                  </a:lnTo>
                  <a:lnTo>
                    <a:pt x="552" y="1038"/>
                  </a:lnTo>
                  <a:lnTo>
                    <a:pt x="558" y="1194"/>
                  </a:lnTo>
                  <a:lnTo>
                    <a:pt x="558" y="1206"/>
                  </a:lnTo>
                  <a:lnTo>
                    <a:pt x="552" y="1218"/>
                  </a:lnTo>
                  <a:lnTo>
                    <a:pt x="552" y="1236"/>
                  </a:lnTo>
                  <a:lnTo>
                    <a:pt x="546" y="1272"/>
                  </a:lnTo>
                  <a:lnTo>
                    <a:pt x="546" y="1308"/>
                  </a:lnTo>
                  <a:lnTo>
                    <a:pt x="540" y="1332"/>
                  </a:lnTo>
                  <a:lnTo>
                    <a:pt x="546" y="1356"/>
                  </a:lnTo>
                  <a:lnTo>
                    <a:pt x="546" y="1362"/>
                  </a:lnTo>
                  <a:lnTo>
                    <a:pt x="546" y="1374"/>
                  </a:lnTo>
                  <a:lnTo>
                    <a:pt x="546" y="1380"/>
                  </a:lnTo>
                  <a:lnTo>
                    <a:pt x="540" y="1380"/>
                  </a:lnTo>
                  <a:lnTo>
                    <a:pt x="522" y="1380"/>
                  </a:lnTo>
                  <a:lnTo>
                    <a:pt x="516" y="1380"/>
                  </a:lnTo>
                  <a:lnTo>
                    <a:pt x="516" y="1386"/>
                  </a:lnTo>
                  <a:lnTo>
                    <a:pt x="516" y="1392"/>
                  </a:lnTo>
                  <a:lnTo>
                    <a:pt x="510" y="1392"/>
                  </a:lnTo>
                  <a:lnTo>
                    <a:pt x="504" y="1386"/>
                  </a:lnTo>
                  <a:lnTo>
                    <a:pt x="498" y="1392"/>
                  </a:lnTo>
                  <a:lnTo>
                    <a:pt x="492" y="1398"/>
                  </a:lnTo>
                  <a:lnTo>
                    <a:pt x="486" y="1398"/>
                  </a:lnTo>
                  <a:lnTo>
                    <a:pt x="486" y="1392"/>
                  </a:lnTo>
                  <a:lnTo>
                    <a:pt x="486" y="1380"/>
                  </a:lnTo>
                  <a:lnTo>
                    <a:pt x="486" y="1374"/>
                  </a:lnTo>
                  <a:lnTo>
                    <a:pt x="480" y="1374"/>
                  </a:lnTo>
                  <a:lnTo>
                    <a:pt x="474" y="1374"/>
                  </a:lnTo>
                  <a:lnTo>
                    <a:pt x="468" y="1380"/>
                  </a:lnTo>
                  <a:lnTo>
                    <a:pt x="462" y="1380"/>
                  </a:lnTo>
                  <a:lnTo>
                    <a:pt x="456" y="1380"/>
                  </a:lnTo>
                  <a:lnTo>
                    <a:pt x="450" y="1386"/>
                  </a:lnTo>
                  <a:lnTo>
                    <a:pt x="444" y="1386"/>
                  </a:lnTo>
                  <a:lnTo>
                    <a:pt x="444" y="1392"/>
                  </a:lnTo>
                  <a:lnTo>
                    <a:pt x="432" y="1398"/>
                  </a:lnTo>
                  <a:lnTo>
                    <a:pt x="426" y="1404"/>
                  </a:lnTo>
                  <a:lnTo>
                    <a:pt x="420" y="1404"/>
                  </a:lnTo>
                  <a:lnTo>
                    <a:pt x="408" y="1404"/>
                  </a:lnTo>
                  <a:lnTo>
                    <a:pt x="378" y="1410"/>
                  </a:lnTo>
                  <a:lnTo>
                    <a:pt x="372" y="1410"/>
                  </a:lnTo>
                  <a:lnTo>
                    <a:pt x="360" y="1410"/>
                  </a:lnTo>
                  <a:lnTo>
                    <a:pt x="354" y="1416"/>
                  </a:lnTo>
                  <a:lnTo>
                    <a:pt x="348" y="1416"/>
                  </a:lnTo>
                  <a:lnTo>
                    <a:pt x="342" y="1410"/>
                  </a:lnTo>
                  <a:lnTo>
                    <a:pt x="336" y="1410"/>
                  </a:lnTo>
                  <a:lnTo>
                    <a:pt x="336" y="1416"/>
                  </a:lnTo>
                  <a:lnTo>
                    <a:pt x="330" y="1422"/>
                  </a:lnTo>
                  <a:lnTo>
                    <a:pt x="324" y="1422"/>
                  </a:lnTo>
                  <a:lnTo>
                    <a:pt x="318" y="1422"/>
                  </a:lnTo>
                  <a:lnTo>
                    <a:pt x="312" y="1428"/>
                  </a:lnTo>
                  <a:lnTo>
                    <a:pt x="312" y="1434"/>
                  </a:lnTo>
                  <a:lnTo>
                    <a:pt x="300" y="1428"/>
                  </a:lnTo>
                  <a:lnTo>
                    <a:pt x="288" y="1434"/>
                  </a:lnTo>
                  <a:lnTo>
                    <a:pt x="282" y="1440"/>
                  </a:lnTo>
                  <a:lnTo>
                    <a:pt x="282" y="1446"/>
                  </a:lnTo>
                  <a:lnTo>
                    <a:pt x="276" y="1446"/>
                  </a:lnTo>
                  <a:lnTo>
                    <a:pt x="276" y="1452"/>
                  </a:lnTo>
                  <a:lnTo>
                    <a:pt x="270" y="1452"/>
                  </a:lnTo>
                  <a:lnTo>
                    <a:pt x="258" y="1464"/>
                  </a:lnTo>
                  <a:lnTo>
                    <a:pt x="240" y="1458"/>
                  </a:lnTo>
                  <a:lnTo>
                    <a:pt x="234" y="1452"/>
                  </a:lnTo>
                  <a:lnTo>
                    <a:pt x="234" y="1446"/>
                  </a:lnTo>
                  <a:lnTo>
                    <a:pt x="228" y="1446"/>
                  </a:lnTo>
                  <a:lnTo>
                    <a:pt x="222" y="1440"/>
                  </a:lnTo>
                  <a:lnTo>
                    <a:pt x="216" y="1440"/>
                  </a:lnTo>
                  <a:lnTo>
                    <a:pt x="210" y="1428"/>
                  </a:lnTo>
                  <a:lnTo>
                    <a:pt x="210" y="1422"/>
                  </a:lnTo>
                  <a:lnTo>
                    <a:pt x="198" y="1416"/>
                  </a:lnTo>
                  <a:lnTo>
                    <a:pt x="204" y="1410"/>
                  </a:lnTo>
                  <a:lnTo>
                    <a:pt x="210" y="1404"/>
                  </a:lnTo>
                  <a:lnTo>
                    <a:pt x="210" y="1398"/>
                  </a:lnTo>
                  <a:lnTo>
                    <a:pt x="252" y="1368"/>
                  </a:lnTo>
                  <a:lnTo>
                    <a:pt x="276" y="1350"/>
                  </a:lnTo>
                  <a:lnTo>
                    <a:pt x="300" y="1338"/>
                  </a:lnTo>
                  <a:lnTo>
                    <a:pt x="294" y="1314"/>
                  </a:lnTo>
                  <a:lnTo>
                    <a:pt x="288" y="1308"/>
                  </a:lnTo>
                  <a:lnTo>
                    <a:pt x="300" y="1266"/>
                  </a:lnTo>
                  <a:lnTo>
                    <a:pt x="300" y="1242"/>
                  </a:lnTo>
                  <a:lnTo>
                    <a:pt x="300" y="1206"/>
                  </a:lnTo>
                  <a:lnTo>
                    <a:pt x="300" y="1164"/>
                  </a:lnTo>
                  <a:lnTo>
                    <a:pt x="294" y="1134"/>
                  </a:lnTo>
                  <a:lnTo>
                    <a:pt x="282" y="1086"/>
                  </a:lnTo>
                  <a:lnTo>
                    <a:pt x="276" y="1074"/>
                  </a:lnTo>
                  <a:lnTo>
                    <a:pt x="276" y="1056"/>
                  </a:lnTo>
                  <a:lnTo>
                    <a:pt x="270" y="1038"/>
                  </a:lnTo>
                  <a:lnTo>
                    <a:pt x="270" y="1020"/>
                  </a:lnTo>
                  <a:lnTo>
                    <a:pt x="282" y="1020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94" y="1002"/>
                  </a:lnTo>
                  <a:lnTo>
                    <a:pt x="306" y="996"/>
                  </a:lnTo>
                  <a:lnTo>
                    <a:pt x="312" y="990"/>
                  </a:lnTo>
                  <a:lnTo>
                    <a:pt x="318" y="990"/>
                  </a:lnTo>
                  <a:lnTo>
                    <a:pt x="324" y="984"/>
                  </a:lnTo>
                  <a:lnTo>
                    <a:pt x="324" y="978"/>
                  </a:lnTo>
                  <a:lnTo>
                    <a:pt x="324" y="972"/>
                  </a:lnTo>
                  <a:lnTo>
                    <a:pt x="324" y="954"/>
                  </a:lnTo>
                  <a:lnTo>
                    <a:pt x="336" y="948"/>
                  </a:lnTo>
                  <a:lnTo>
                    <a:pt x="342" y="936"/>
                  </a:lnTo>
                  <a:lnTo>
                    <a:pt x="348" y="924"/>
                  </a:lnTo>
                  <a:lnTo>
                    <a:pt x="354" y="924"/>
                  </a:lnTo>
                  <a:lnTo>
                    <a:pt x="372" y="924"/>
                  </a:lnTo>
                  <a:lnTo>
                    <a:pt x="372" y="930"/>
                  </a:lnTo>
                  <a:lnTo>
                    <a:pt x="378" y="930"/>
                  </a:lnTo>
                  <a:lnTo>
                    <a:pt x="378" y="936"/>
                  </a:lnTo>
                  <a:lnTo>
                    <a:pt x="384" y="936"/>
                  </a:lnTo>
                  <a:lnTo>
                    <a:pt x="384" y="942"/>
                  </a:lnTo>
                  <a:lnTo>
                    <a:pt x="402" y="942"/>
                  </a:lnTo>
                  <a:lnTo>
                    <a:pt x="402" y="996"/>
                  </a:lnTo>
                  <a:lnTo>
                    <a:pt x="414" y="996"/>
                  </a:lnTo>
                  <a:lnTo>
                    <a:pt x="420" y="996"/>
                  </a:lnTo>
                  <a:lnTo>
                    <a:pt x="426" y="996"/>
                  </a:lnTo>
                  <a:lnTo>
                    <a:pt x="432" y="996"/>
                  </a:lnTo>
                  <a:lnTo>
                    <a:pt x="438" y="996"/>
                  </a:lnTo>
                  <a:lnTo>
                    <a:pt x="438" y="942"/>
                  </a:lnTo>
                  <a:lnTo>
                    <a:pt x="444" y="930"/>
                  </a:lnTo>
                  <a:lnTo>
                    <a:pt x="444" y="924"/>
                  </a:lnTo>
                  <a:lnTo>
                    <a:pt x="444" y="918"/>
                  </a:lnTo>
                  <a:lnTo>
                    <a:pt x="462" y="918"/>
                  </a:lnTo>
                  <a:lnTo>
                    <a:pt x="474" y="906"/>
                  </a:lnTo>
                  <a:lnTo>
                    <a:pt x="480" y="900"/>
                  </a:lnTo>
                  <a:lnTo>
                    <a:pt x="486" y="888"/>
                  </a:lnTo>
                  <a:lnTo>
                    <a:pt x="492" y="876"/>
                  </a:lnTo>
                  <a:lnTo>
                    <a:pt x="492" y="858"/>
                  </a:lnTo>
                  <a:lnTo>
                    <a:pt x="480" y="858"/>
                  </a:lnTo>
                  <a:lnTo>
                    <a:pt x="474" y="840"/>
                  </a:lnTo>
                  <a:lnTo>
                    <a:pt x="450" y="834"/>
                  </a:lnTo>
                  <a:lnTo>
                    <a:pt x="438" y="816"/>
                  </a:lnTo>
                  <a:lnTo>
                    <a:pt x="432" y="792"/>
                  </a:lnTo>
                  <a:lnTo>
                    <a:pt x="432" y="786"/>
                  </a:lnTo>
                  <a:lnTo>
                    <a:pt x="432" y="774"/>
                  </a:lnTo>
                  <a:lnTo>
                    <a:pt x="432" y="762"/>
                  </a:lnTo>
                  <a:lnTo>
                    <a:pt x="438" y="750"/>
                  </a:lnTo>
                  <a:lnTo>
                    <a:pt x="438" y="738"/>
                  </a:lnTo>
                  <a:lnTo>
                    <a:pt x="444" y="732"/>
                  </a:lnTo>
                  <a:lnTo>
                    <a:pt x="450" y="732"/>
                  </a:lnTo>
                  <a:lnTo>
                    <a:pt x="456" y="732"/>
                  </a:lnTo>
                  <a:lnTo>
                    <a:pt x="456" y="726"/>
                  </a:lnTo>
                  <a:lnTo>
                    <a:pt x="456" y="714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44" y="684"/>
                  </a:lnTo>
                  <a:lnTo>
                    <a:pt x="438" y="666"/>
                  </a:lnTo>
                  <a:lnTo>
                    <a:pt x="426" y="666"/>
                  </a:lnTo>
                  <a:lnTo>
                    <a:pt x="432" y="666"/>
                  </a:lnTo>
                  <a:lnTo>
                    <a:pt x="420" y="666"/>
                  </a:lnTo>
                  <a:lnTo>
                    <a:pt x="414" y="660"/>
                  </a:lnTo>
                  <a:lnTo>
                    <a:pt x="396" y="654"/>
                  </a:lnTo>
                  <a:lnTo>
                    <a:pt x="384" y="642"/>
                  </a:lnTo>
                  <a:lnTo>
                    <a:pt x="366" y="624"/>
                  </a:lnTo>
                  <a:lnTo>
                    <a:pt x="354" y="606"/>
                  </a:lnTo>
                  <a:lnTo>
                    <a:pt x="342" y="588"/>
                  </a:lnTo>
                  <a:lnTo>
                    <a:pt x="342" y="582"/>
                  </a:lnTo>
                  <a:lnTo>
                    <a:pt x="360" y="564"/>
                  </a:lnTo>
                  <a:lnTo>
                    <a:pt x="372" y="540"/>
                  </a:lnTo>
                  <a:lnTo>
                    <a:pt x="366" y="528"/>
                  </a:lnTo>
                  <a:lnTo>
                    <a:pt x="366" y="522"/>
                  </a:lnTo>
                  <a:lnTo>
                    <a:pt x="372" y="516"/>
                  </a:lnTo>
                  <a:lnTo>
                    <a:pt x="384" y="504"/>
                  </a:lnTo>
                  <a:lnTo>
                    <a:pt x="378" y="492"/>
                  </a:lnTo>
                  <a:lnTo>
                    <a:pt x="378" y="486"/>
                  </a:lnTo>
                  <a:lnTo>
                    <a:pt x="378" y="480"/>
                  </a:lnTo>
                  <a:lnTo>
                    <a:pt x="378" y="474"/>
                  </a:lnTo>
                  <a:lnTo>
                    <a:pt x="378" y="468"/>
                  </a:lnTo>
                  <a:lnTo>
                    <a:pt x="366" y="468"/>
                  </a:lnTo>
                  <a:lnTo>
                    <a:pt x="360" y="474"/>
                  </a:lnTo>
                  <a:lnTo>
                    <a:pt x="354" y="480"/>
                  </a:lnTo>
                  <a:lnTo>
                    <a:pt x="348" y="486"/>
                  </a:lnTo>
                  <a:lnTo>
                    <a:pt x="348" y="492"/>
                  </a:lnTo>
                  <a:lnTo>
                    <a:pt x="336" y="510"/>
                  </a:lnTo>
                  <a:lnTo>
                    <a:pt x="300" y="516"/>
                  </a:lnTo>
                  <a:lnTo>
                    <a:pt x="300" y="510"/>
                  </a:lnTo>
                  <a:lnTo>
                    <a:pt x="282" y="504"/>
                  </a:lnTo>
                  <a:lnTo>
                    <a:pt x="282" y="498"/>
                  </a:lnTo>
                  <a:lnTo>
                    <a:pt x="264" y="486"/>
                  </a:lnTo>
                  <a:lnTo>
                    <a:pt x="258" y="492"/>
                  </a:lnTo>
                  <a:lnTo>
                    <a:pt x="234" y="492"/>
                  </a:lnTo>
                  <a:lnTo>
                    <a:pt x="222" y="486"/>
                  </a:lnTo>
                  <a:lnTo>
                    <a:pt x="204" y="480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92" y="462"/>
                  </a:lnTo>
                  <a:lnTo>
                    <a:pt x="186" y="462"/>
                  </a:lnTo>
                  <a:lnTo>
                    <a:pt x="180" y="468"/>
                  </a:lnTo>
                  <a:lnTo>
                    <a:pt x="150" y="450"/>
                  </a:lnTo>
                  <a:lnTo>
                    <a:pt x="144" y="438"/>
                  </a:lnTo>
                  <a:lnTo>
                    <a:pt x="138" y="438"/>
                  </a:lnTo>
                  <a:lnTo>
                    <a:pt x="132" y="432"/>
                  </a:lnTo>
                  <a:lnTo>
                    <a:pt x="126" y="432"/>
                  </a:lnTo>
                  <a:lnTo>
                    <a:pt x="120" y="432"/>
                  </a:lnTo>
                  <a:lnTo>
                    <a:pt x="102" y="426"/>
                  </a:lnTo>
                  <a:lnTo>
                    <a:pt x="96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2" y="414"/>
                  </a:lnTo>
                  <a:lnTo>
                    <a:pt x="60" y="414"/>
                  </a:lnTo>
                  <a:lnTo>
                    <a:pt x="30" y="414"/>
                  </a:lnTo>
                  <a:lnTo>
                    <a:pt x="24" y="414"/>
                  </a:lnTo>
                  <a:lnTo>
                    <a:pt x="12" y="414"/>
                  </a:lnTo>
                  <a:lnTo>
                    <a:pt x="0" y="420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0" y="336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30" y="270"/>
                  </a:lnTo>
                  <a:lnTo>
                    <a:pt x="42" y="270"/>
                  </a:lnTo>
                  <a:lnTo>
                    <a:pt x="54" y="264"/>
                  </a:lnTo>
                  <a:lnTo>
                    <a:pt x="78" y="240"/>
                  </a:lnTo>
                  <a:lnTo>
                    <a:pt x="102" y="216"/>
                  </a:lnTo>
                  <a:lnTo>
                    <a:pt x="114" y="210"/>
                  </a:lnTo>
                  <a:lnTo>
                    <a:pt x="120" y="204"/>
                  </a:lnTo>
                  <a:lnTo>
                    <a:pt x="126" y="198"/>
                  </a:lnTo>
                  <a:lnTo>
                    <a:pt x="138" y="18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38"/>
                  </a:lnTo>
                  <a:lnTo>
                    <a:pt x="210" y="126"/>
                  </a:lnTo>
                  <a:lnTo>
                    <a:pt x="216" y="120"/>
                  </a:lnTo>
                  <a:lnTo>
                    <a:pt x="222" y="120"/>
                  </a:lnTo>
                  <a:lnTo>
                    <a:pt x="258" y="114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300" y="102"/>
                  </a:lnTo>
                  <a:lnTo>
                    <a:pt x="312" y="102"/>
                  </a:lnTo>
                  <a:lnTo>
                    <a:pt x="318" y="102"/>
                  </a:lnTo>
                  <a:lnTo>
                    <a:pt x="348" y="96"/>
                  </a:lnTo>
                  <a:lnTo>
                    <a:pt x="366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408" y="84"/>
                  </a:lnTo>
                  <a:lnTo>
                    <a:pt x="420" y="84"/>
                  </a:lnTo>
                  <a:lnTo>
                    <a:pt x="462" y="72"/>
                  </a:lnTo>
                  <a:lnTo>
                    <a:pt x="474" y="72"/>
                  </a:lnTo>
                  <a:lnTo>
                    <a:pt x="474" y="78"/>
                  </a:lnTo>
                  <a:lnTo>
                    <a:pt x="492" y="90"/>
                  </a:lnTo>
                  <a:lnTo>
                    <a:pt x="498" y="90"/>
                  </a:lnTo>
                  <a:lnTo>
                    <a:pt x="522" y="96"/>
                  </a:lnTo>
                  <a:lnTo>
                    <a:pt x="540" y="96"/>
                  </a:lnTo>
                  <a:lnTo>
                    <a:pt x="546" y="96"/>
                  </a:lnTo>
                  <a:lnTo>
                    <a:pt x="558" y="96"/>
                  </a:lnTo>
                  <a:lnTo>
                    <a:pt x="564" y="96"/>
                  </a:lnTo>
                  <a:lnTo>
                    <a:pt x="576" y="96"/>
                  </a:lnTo>
                  <a:lnTo>
                    <a:pt x="588" y="96"/>
                  </a:lnTo>
                  <a:lnTo>
                    <a:pt x="612" y="90"/>
                  </a:lnTo>
                  <a:lnTo>
                    <a:pt x="624" y="90"/>
                  </a:lnTo>
                  <a:lnTo>
                    <a:pt x="636" y="90"/>
                  </a:lnTo>
                  <a:lnTo>
                    <a:pt x="642" y="90"/>
                  </a:lnTo>
                  <a:lnTo>
                    <a:pt x="648" y="96"/>
                  </a:lnTo>
                  <a:lnTo>
                    <a:pt x="660" y="96"/>
                  </a:lnTo>
                  <a:lnTo>
                    <a:pt x="666" y="96"/>
                  </a:lnTo>
                  <a:lnTo>
                    <a:pt x="672" y="96"/>
                  </a:lnTo>
                  <a:lnTo>
                    <a:pt x="684" y="96"/>
                  </a:lnTo>
                  <a:lnTo>
                    <a:pt x="708" y="96"/>
                  </a:lnTo>
                  <a:lnTo>
                    <a:pt x="714" y="96"/>
                  </a:lnTo>
                  <a:lnTo>
                    <a:pt x="726" y="96"/>
                  </a:lnTo>
                  <a:lnTo>
                    <a:pt x="738" y="84"/>
                  </a:lnTo>
                  <a:lnTo>
                    <a:pt x="744" y="78"/>
                  </a:lnTo>
                  <a:lnTo>
                    <a:pt x="756" y="66"/>
                  </a:lnTo>
                  <a:lnTo>
                    <a:pt x="774" y="42"/>
                  </a:lnTo>
                  <a:lnTo>
                    <a:pt x="780" y="30"/>
                  </a:lnTo>
                  <a:lnTo>
                    <a:pt x="816" y="24"/>
                  </a:lnTo>
                  <a:lnTo>
                    <a:pt x="840" y="18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64" y="6"/>
                  </a:lnTo>
                  <a:lnTo>
                    <a:pt x="870" y="6"/>
                  </a:lnTo>
                  <a:lnTo>
                    <a:pt x="894" y="0"/>
                  </a:lnTo>
                  <a:lnTo>
                    <a:pt x="900" y="6"/>
                  </a:lnTo>
                  <a:lnTo>
                    <a:pt x="930" y="18"/>
                  </a:lnTo>
                  <a:lnTo>
                    <a:pt x="942" y="24"/>
                  </a:lnTo>
                  <a:lnTo>
                    <a:pt x="954" y="30"/>
                  </a:lnTo>
                  <a:lnTo>
                    <a:pt x="1026" y="60"/>
                  </a:lnTo>
                  <a:lnTo>
                    <a:pt x="1032" y="60"/>
                  </a:lnTo>
                  <a:lnTo>
                    <a:pt x="1038" y="66"/>
                  </a:lnTo>
                  <a:lnTo>
                    <a:pt x="1068" y="72"/>
                  </a:lnTo>
                  <a:lnTo>
                    <a:pt x="1098" y="84"/>
                  </a:lnTo>
                  <a:lnTo>
                    <a:pt x="1122" y="90"/>
                  </a:lnTo>
                  <a:lnTo>
                    <a:pt x="1122" y="96"/>
                  </a:lnTo>
                  <a:lnTo>
                    <a:pt x="1140" y="102"/>
                  </a:lnTo>
                  <a:lnTo>
                    <a:pt x="1182" y="114"/>
                  </a:lnTo>
                  <a:lnTo>
                    <a:pt x="1188" y="114"/>
                  </a:lnTo>
                  <a:lnTo>
                    <a:pt x="1200" y="120"/>
                  </a:lnTo>
                  <a:lnTo>
                    <a:pt x="1212" y="126"/>
                  </a:lnTo>
                  <a:lnTo>
                    <a:pt x="1224" y="126"/>
                  </a:lnTo>
                  <a:lnTo>
                    <a:pt x="1248" y="138"/>
                  </a:lnTo>
                  <a:lnTo>
                    <a:pt x="1272" y="150"/>
                  </a:lnTo>
                  <a:lnTo>
                    <a:pt x="1284" y="156"/>
                  </a:lnTo>
                  <a:lnTo>
                    <a:pt x="1290" y="162"/>
                  </a:lnTo>
                  <a:lnTo>
                    <a:pt x="1296" y="162"/>
                  </a:lnTo>
                  <a:lnTo>
                    <a:pt x="1308" y="156"/>
                  </a:lnTo>
                  <a:lnTo>
                    <a:pt x="1320" y="150"/>
                  </a:lnTo>
                  <a:lnTo>
                    <a:pt x="1326" y="150"/>
                  </a:lnTo>
                  <a:lnTo>
                    <a:pt x="1338" y="144"/>
                  </a:lnTo>
                  <a:lnTo>
                    <a:pt x="1362" y="144"/>
                  </a:lnTo>
                  <a:lnTo>
                    <a:pt x="1368" y="144"/>
                  </a:lnTo>
                  <a:lnTo>
                    <a:pt x="1374" y="144"/>
                  </a:lnTo>
                  <a:lnTo>
                    <a:pt x="1386" y="150"/>
                  </a:lnTo>
                  <a:lnTo>
                    <a:pt x="1392" y="150"/>
                  </a:lnTo>
                  <a:lnTo>
                    <a:pt x="1398" y="150"/>
                  </a:lnTo>
                  <a:lnTo>
                    <a:pt x="1416" y="162"/>
                  </a:lnTo>
                  <a:lnTo>
                    <a:pt x="1458" y="186"/>
                  </a:lnTo>
                  <a:lnTo>
                    <a:pt x="1464" y="186"/>
                  </a:lnTo>
                  <a:lnTo>
                    <a:pt x="1470" y="192"/>
                  </a:lnTo>
                  <a:lnTo>
                    <a:pt x="1482" y="204"/>
                  </a:lnTo>
                  <a:lnTo>
                    <a:pt x="1512" y="234"/>
                  </a:lnTo>
                  <a:lnTo>
                    <a:pt x="1554" y="276"/>
                  </a:lnTo>
                  <a:lnTo>
                    <a:pt x="1560" y="276"/>
                  </a:lnTo>
                  <a:lnTo>
                    <a:pt x="1566" y="282"/>
                  </a:lnTo>
                  <a:lnTo>
                    <a:pt x="1578" y="294"/>
                  </a:lnTo>
                  <a:lnTo>
                    <a:pt x="1602" y="318"/>
                  </a:lnTo>
                  <a:lnTo>
                    <a:pt x="1614" y="330"/>
                  </a:lnTo>
                  <a:lnTo>
                    <a:pt x="1620" y="336"/>
                  </a:lnTo>
                  <a:lnTo>
                    <a:pt x="1626" y="342"/>
                  </a:lnTo>
                  <a:lnTo>
                    <a:pt x="1632" y="354"/>
                  </a:lnTo>
                  <a:lnTo>
                    <a:pt x="1644" y="366"/>
                  </a:lnTo>
                  <a:lnTo>
                    <a:pt x="1650" y="378"/>
                  </a:lnTo>
                  <a:lnTo>
                    <a:pt x="1650" y="384"/>
                  </a:lnTo>
                  <a:lnTo>
                    <a:pt x="1656" y="384"/>
                  </a:lnTo>
                  <a:lnTo>
                    <a:pt x="1662" y="402"/>
                  </a:lnTo>
                  <a:lnTo>
                    <a:pt x="1668" y="408"/>
                  </a:lnTo>
                  <a:lnTo>
                    <a:pt x="1674" y="426"/>
                  </a:lnTo>
                  <a:lnTo>
                    <a:pt x="1686" y="438"/>
                  </a:lnTo>
                  <a:lnTo>
                    <a:pt x="1698" y="46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9" name="Freeform 34">
              <a:extLst>
                <a:ext uri="{FF2B5EF4-FFF2-40B4-BE49-F238E27FC236}">
                  <a16:creationId xmlns:a16="http://schemas.microsoft.com/office/drawing/2014/main" id="{94603F24-8CF7-4226-A433-00D18CA7D9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1988" y="1681402"/>
              <a:ext cx="869877" cy="1060101"/>
            </a:xfrm>
            <a:custGeom>
              <a:avLst/>
              <a:gdLst>
                <a:gd name="T0" fmla="*/ 4 w 1638"/>
                <a:gd name="T1" fmla="*/ 111 h 1998"/>
                <a:gd name="T2" fmla="*/ 6 w 1638"/>
                <a:gd name="T3" fmla="*/ 87 h 1998"/>
                <a:gd name="T4" fmla="*/ 10 w 1638"/>
                <a:gd name="T5" fmla="*/ 80 h 1998"/>
                <a:gd name="T6" fmla="*/ 10 w 1638"/>
                <a:gd name="T7" fmla="*/ 71 h 1998"/>
                <a:gd name="T8" fmla="*/ 9 w 1638"/>
                <a:gd name="T9" fmla="*/ 56 h 1998"/>
                <a:gd name="T10" fmla="*/ 8 w 1638"/>
                <a:gd name="T11" fmla="*/ 40 h 1998"/>
                <a:gd name="T12" fmla="*/ 20 w 1638"/>
                <a:gd name="T13" fmla="*/ 30 h 1998"/>
                <a:gd name="T14" fmla="*/ 30 w 1638"/>
                <a:gd name="T15" fmla="*/ 19 h 1998"/>
                <a:gd name="T16" fmla="*/ 35 w 1638"/>
                <a:gd name="T17" fmla="*/ 2 h 1998"/>
                <a:gd name="T18" fmla="*/ 47 w 1638"/>
                <a:gd name="T19" fmla="*/ 2 h 1998"/>
                <a:gd name="T20" fmla="*/ 56 w 1638"/>
                <a:gd name="T21" fmla="*/ 7 h 1998"/>
                <a:gd name="T22" fmla="*/ 67 w 1638"/>
                <a:gd name="T23" fmla="*/ 5 h 1998"/>
                <a:gd name="T24" fmla="*/ 65 w 1638"/>
                <a:gd name="T25" fmla="*/ 15 h 1998"/>
                <a:gd name="T26" fmla="*/ 74 w 1638"/>
                <a:gd name="T27" fmla="*/ 24 h 1998"/>
                <a:gd name="T28" fmla="*/ 73 w 1638"/>
                <a:gd name="T29" fmla="*/ 33 h 1998"/>
                <a:gd name="T30" fmla="*/ 74 w 1638"/>
                <a:gd name="T31" fmla="*/ 44 h 1998"/>
                <a:gd name="T32" fmla="*/ 68 w 1638"/>
                <a:gd name="T33" fmla="*/ 45 h 1998"/>
                <a:gd name="T34" fmla="*/ 63 w 1638"/>
                <a:gd name="T35" fmla="*/ 50 h 1998"/>
                <a:gd name="T36" fmla="*/ 61 w 1638"/>
                <a:gd name="T37" fmla="*/ 62 h 1998"/>
                <a:gd name="T38" fmla="*/ 53 w 1638"/>
                <a:gd name="T39" fmla="*/ 86 h 1998"/>
                <a:gd name="T40" fmla="*/ 59 w 1638"/>
                <a:gd name="T41" fmla="*/ 90 h 1998"/>
                <a:gd name="T42" fmla="*/ 65 w 1638"/>
                <a:gd name="T43" fmla="*/ 86 h 1998"/>
                <a:gd name="T44" fmla="*/ 74 w 1638"/>
                <a:gd name="T45" fmla="*/ 84 h 1998"/>
                <a:gd name="T46" fmla="*/ 79 w 1638"/>
                <a:gd name="T47" fmla="*/ 85 h 1998"/>
                <a:gd name="T48" fmla="*/ 84 w 1638"/>
                <a:gd name="T49" fmla="*/ 84 h 1998"/>
                <a:gd name="T50" fmla="*/ 91 w 1638"/>
                <a:gd name="T51" fmla="*/ 84 h 1998"/>
                <a:gd name="T52" fmla="*/ 94 w 1638"/>
                <a:gd name="T53" fmla="*/ 81 h 1998"/>
                <a:gd name="T54" fmla="*/ 100 w 1638"/>
                <a:gd name="T55" fmla="*/ 81 h 1998"/>
                <a:gd name="T56" fmla="*/ 102 w 1638"/>
                <a:gd name="T57" fmla="*/ 84 h 1998"/>
                <a:gd name="T58" fmla="*/ 108 w 1638"/>
                <a:gd name="T59" fmla="*/ 85 h 1998"/>
                <a:gd name="T60" fmla="*/ 113 w 1638"/>
                <a:gd name="T61" fmla="*/ 88 h 1998"/>
                <a:gd name="T62" fmla="*/ 116 w 1638"/>
                <a:gd name="T63" fmla="*/ 88 h 1998"/>
                <a:gd name="T64" fmla="*/ 123 w 1638"/>
                <a:gd name="T65" fmla="*/ 87 h 1998"/>
                <a:gd name="T66" fmla="*/ 128 w 1638"/>
                <a:gd name="T67" fmla="*/ 86 h 1998"/>
                <a:gd name="T68" fmla="*/ 132 w 1638"/>
                <a:gd name="T69" fmla="*/ 90 h 1998"/>
                <a:gd name="T70" fmla="*/ 138 w 1638"/>
                <a:gd name="T71" fmla="*/ 96 h 1998"/>
                <a:gd name="T72" fmla="*/ 138 w 1638"/>
                <a:gd name="T73" fmla="*/ 110 h 1998"/>
                <a:gd name="T74" fmla="*/ 137 w 1638"/>
                <a:gd name="T75" fmla="*/ 118 h 1998"/>
                <a:gd name="T76" fmla="*/ 133 w 1638"/>
                <a:gd name="T77" fmla="*/ 124 h 1998"/>
                <a:gd name="T78" fmla="*/ 122 w 1638"/>
                <a:gd name="T79" fmla="*/ 125 h 1998"/>
                <a:gd name="T80" fmla="*/ 116 w 1638"/>
                <a:gd name="T81" fmla="*/ 127 h 1998"/>
                <a:gd name="T82" fmla="*/ 108 w 1638"/>
                <a:gd name="T83" fmla="*/ 123 h 1998"/>
                <a:gd name="T84" fmla="*/ 109 w 1638"/>
                <a:gd name="T85" fmla="*/ 119 h 1998"/>
                <a:gd name="T86" fmla="*/ 104 w 1638"/>
                <a:gd name="T87" fmla="*/ 104 h 1998"/>
                <a:gd name="T88" fmla="*/ 94 w 1638"/>
                <a:gd name="T89" fmla="*/ 105 h 1998"/>
                <a:gd name="T90" fmla="*/ 88 w 1638"/>
                <a:gd name="T91" fmla="*/ 109 h 1998"/>
                <a:gd name="T92" fmla="*/ 76 w 1638"/>
                <a:gd name="T93" fmla="*/ 107 h 1998"/>
                <a:gd name="T94" fmla="*/ 72 w 1638"/>
                <a:gd name="T95" fmla="*/ 114 h 1998"/>
                <a:gd name="T96" fmla="*/ 86 w 1638"/>
                <a:gd name="T97" fmla="*/ 121 h 1998"/>
                <a:gd name="T98" fmla="*/ 87 w 1638"/>
                <a:gd name="T99" fmla="*/ 129 h 1998"/>
                <a:gd name="T100" fmla="*/ 86 w 1638"/>
                <a:gd name="T101" fmla="*/ 137 h 1998"/>
                <a:gd name="T102" fmla="*/ 79 w 1638"/>
                <a:gd name="T103" fmla="*/ 141 h 1998"/>
                <a:gd name="T104" fmla="*/ 73 w 1638"/>
                <a:gd name="T105" fmla="*/ 144 h 1998"/>
                <a:gd name="T106" fmla="*/ 72 w 1638"/>
                <a:gd name="T107" fmla="*/ 164 h 1998"/>
                <a:gd name="T108" fmla="*/ 68 w 1638"/>
                <a:gd name="T109" fmla="*/ 172 h 1998"/>
                <a:gd name="T110" fmla="*/ 59 w 1638"/>
                <a:gd name="T111" fmla="*/ 164 h 1998"/>
                <a:gd name="T112" fmla="*/ 65 w 1638"/>
                <a:gd name="T113" fmla="*/ 146 h 1998"/>
                <a:gd name="T114" fmla="*/ 69 w 1638"/>
                <a:gd name="T115" fmla="*/ 133 h 1998"/>
                <a:gd name="T116" fmla="*/ 61 w 1638"/>
                <a:gd name="T117" fmla="*/ 131 h 1998"/>
                <a:gd name="T118" fmla="*/ 43 w 1638"/>
                <a:gd name="T119" fmla="*/ 125 h 1998"/>
                <a:gd name="T120" fmla="*/ 23 w 1638"/>
                <a:gd name="T121" fmla="*/ 125 h 1998"/>
                <a:gd name="T122" fmla="*/ 17 w 1638"/>
                <a:gd name="T123" fmla="*/ 121 h 19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638"/>
                <a:gd name="T187" fmla="*/ 0 h 1998"/>
                <a:gd name="T188" fmla="*/ 1638 w 1638"/>
                <a:gd name="T189" fmla="*/ 1998 h 19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638" h="1998">
                  <a:moveTo>
                    <a:pt x="144" y="1380"/>
                  </a:moveTo>
                  <a:lnTo>
                    <a:pt x="150" y="1368"/>
                  </a:lnTo>
                  <a:lnTo>
                    <a:pt x="150" y="1362"/>
                  </a:lnTo>
                  <a:lnTo>
                    <a:pt x="150" y="1356"/>
                  </a:lnTo>
                  <a:lnTo>
                    <a:pt x="144" y="1356"/>
                  </a:lnTo>
                  <a:lnTo>
                    <a:pt x="138" y="1356"/>
                  </a:lnTo>
                  <a:lnTo>
                    <a:pt x="126" y="1356"/>
                  </a:lnTo>
                  <a:lnTo>
                    <a:pt x="114" y="1344"/>
                  </a:lnTo>
                  <a:lnTo>
                    <a:pt x="84" y="1320"/>
                  </a:lnTo>
                  <a:lnTo>
                    <a:pt x="54" y="1296"/>
                  </a:lnTo>
                  <a:lnTo>
                    <a:pt x="48" y="1290"/>
                  </a:lnTo>
                  <a:lnTo>
                    <a:pt x="42" y="1278"/>
                  </a:lnTo>
                  <a:lnTo>
                    <a:pt x="30" y="1272"/>
                  </a:lnTo>
                  <a:lnTo>
                    <a:pt x="0" y="1248"/>
                  </a:lnTo>
                  <a:lnTo>
                    <a:pt x="6" y="1230"/>
                  </a:lnTo>
                  <a:lnTo>
                    <a:pt x="12" y="1194"/>
                  </a:lnTo>
                  <a:lnTo>
                    <a:pt x="18" y="1170"/>
                  </a:lnTo>
                  <a:lnTo>
                    <a:pt x="30" y="1134"/>
                  </a:lnTo>
                  <a:lnTo>
                    <a:pt x="36" y="1086"/>
                  </a:lnTo>
                  <a:lnTo>
                    <a:pt x="42" y="1050"/>
                  </a:lnTo>
                  <a:lnTo>
                    <a:pt x="48" y="1044"/>
                  </a:lnTo>
                  <a:lnTo>
                    <a:pt x="54" y="1026"/>
                  </a:lnTo>
                  <a:lnTo>
                    <a:pt x="60" y="1014"/>
                  </a:lnTo>
                  <a:lnTo>
                    <a:pt x="66" y="1002"/>
                  </a:lnTo>
                  <a:lnTo>
                    <a:pt x="66" y="996"/>
                  </a:lnTo>
                  <a:lnTo>
                    <a:pt x="72" y="996"/>
                  </a:lnTo>
                  <a:lnTo>
                    <a:pt x="72" y="990"/>
                  </a:lnTo>
                  <a:lnTo>
                    <a:pt x="78" y="990"/>
                  </a:lnTo>
                  <a:lnTo>
                    <a:pt x="90" y="978"/>
                  </a:lnTo>
                  <a:lnTo>
                    <a:pt x="96" y="966"/>
                  </a:lnTo>
                  <a:lnTo>
                    <a:pt x="102" y="966"/>
                  </a:lnTo>
                  <a:lnTo>
                    <a:pt x="114" y="954"/>
                  </a:lnTo>
                  <a:lnTo>
                    <a:pt x="120" y="954"/>
                  </a:lnTo>
                  <a:lnTo>
                    <a:pt x="120" y="948"/>
                  </a:lnTo>
                  <a:lnTo>
                    <a:pt x="114" y="930"/>
                  </a:lnTo>
                  <a:lnTo>
                    <a:pt x="114" y="924"/>
                  </a:lnTo>
                  <a:lnTo>
                    <a:pt x="108" y="918"/>
                  </a:lnTo>
                  <a:lnTo>
                    <a:pt x="102" y="912"/>
                  </a:lnTo>
                  <a:lnTo>
                    <a:pt x="90" y="906"/>
                  </a:lnTo>
                  <a:lnTo>
                    <a:pt x="84" y="900"/>
                  </a:lnTo>
                  <a:lnTo>
                    <a:pt x="84" y="888"/>
                  </a:lnTo>
                  <a:lnTo>
                    <a:pt x="84" y="882"/>
                  </a:lnTo>
                  <a:lnTo>
                    <a:pt x="78" y="858"/>
                  </a:lnTo>
                  <a:lnTo>
                    <a:pt x="78" y="852"/>
                  </a:lnTo>
                  <a:lnTo>
                    <a:pt x="84" y="846"/>
                  </a:lnTo>
                  <a:lnTo>
                    <a:pt x="84" y="840"/>
                  </a:lnTo>
                  <a:lnTo>
                    <a:pt x="96" y="828"/>
                  </a:lnTo>
                  <a:lnTo>
                    <a:pt x="114" y="816"/>
                  </a:lnTo>
                  <a:lnTo>
                    <a:pt x="114" y="810"/>
                  </a:lnTo>
                  <a:lnTo>
                    <a:pt x="114" y="804"/>
                  </a:lnTo>
                  <a:lnTo>
                    <a:pt x="108" y="780"/>
                  </a:lnTo>
                  <a:lnTo>
                    <a:pt x="96" y="756"/>
                  </a:lnTo>
                  <a:lnTo>
                    <a:pt x="96" y="750"/>
                  </a:lnTo>
                  <a:lnTo>
                    <a:pt x="90" y="720"/>
                  </a:lnTo>
                  <a:lnTo>
                    <a:pt x="90" y="708"/>
                  </a:lnTo>
                  <a:lnTo>
                    <a:pt x="90" y="690"/>
                  </a:lnTo>
                  <a:lnTo>
                    <a:pt x="96" y="672"/>
                  </a:lnTo>
                  <a:lnTo>
                    <a:pt x="90" y="666"/>
                  </a:lnTo>
                  <a:lnTo>
                    <a:pt x="96" y="666"/>
                  </a:lnTo>
                  <a:lnTo>
                    <a:pt x="102" y="642"/>
                  </a:lnTo>
                  <a:lnTo>
                    <a:pt x="108" y="624"/>
                  </a:lnTo>
                  <a:lnTo>
                    <a:pt x="102" y="618"/>
                  </a:lnTo>
                  <a:lnTo>
                    <a:pt x="102" y="588"/>
                  </a:lnTo>
                  <a:lnTo>
                    <a:pt x="102" y="564"/>
                  </a:lnTo>
                  <a:lnTo>
                    <a:pt x="102" y="546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0"/>
                  </a:lnTo>
                  <a:lnTo>
                    <a:pt x="96" y="498"/>
                  </a:lnTo>
                  <a:lnTo>
                    <a:pt x="96" y="486"/>
                  </a:lnTo>
                  <a:lnTo>
                    <a:pt x="96" y="474"/>
                  </a:lnTo>
                  <a:lnTo>
                    <a:pt x="96" y="462"/>
                  </a:lnTo>
                  <a:lnTo>
                    <a:pt x="114" y="450"/>
                  </a:lnTo>
                  <a:lnTo>
                    <a:pt x="126" y="438"/>
                  </a:lnTo>
                  <a:lnTo>
                    <a:pt x="132" y="432"/>
                  </a:lnTo>
                  <a:lnTo>
                    <a:pt x="144" y="426"/>
                  </a:lnTo>
                  <a:lnTo>
                    <a:pt x="144" y="420"/>
                  </a:lnTo>
                  <a:lnTo>
                    <a:pt x="156" y="414"/>
                  </a:lnTo>
                  <a:lnTo>
                    <a:pt x="162" y="408"/>
                  </a:lnTo>
                  <a:lnTo>
                    <a:pt x="180" y="396"/>
                  </a:lnTo>
                  <a:lnTo>
                    <a:pt x="210" y="372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34" y="348"/>
                  </a:lnTo>
                  <a:lnTo>
                    <a:pt x="240" y="348"/>
                  </a:lnTo>
                  <a:lnTo>
                    <a:pt x="246" y="342"/>
                  </a:lnTo>
                  <a:lnTo>
                    <a:pt x="276" y="318"/>
                  </a:lnTo>
                  <a:lnTo>
                    <a:pt x="282" y="312"/>
                  </a:lnTo>
                  <a:lnTo>
                    <a:pt x="288" y="306"/>
                  </a:lnTo>
                  <a:lnTo>
                    <a:pt x="300" y="288"/>
                  </a:lnTo>
                  <a:lnTo>
                    <a:pt x="306" y="276"/>
                  </a:lnTo>
                  <a:lnTo>
                    <a:pt x="324" y="246"/>
                  </a:lnTo>
                  <a:lnTo>
                    <a:pt x="330" y="240"/>
                  </a:lnTo>
                  <a:lnTo>
                    <a:pt x="336" y="234"/>
                  </a:lnTo>
                  <a:lnTo>
                    <a:pt x="342" y="228"/>
                  </a:lnTo>
                  <a:lnTo>
                    <a:pt x="342" y="216"/>
                  </a:lnTo>
                  <a:lnTo>
                    <a:pt x="354" y="204"/>
                  </a:lnTo>
                  <a:lnTo>
                    <a:pt x="360" y="204"/>
                  </a:lnTo>
                  <a:lnTo>
                    <a:pt x="366" y="186"/>
                  </a:lnTo>
                  <a:lnTo>
                    <a:pt x="384" y="162"/>
                  </a:lnTo>
                  <a:lnTo>
                    <a:pt x="390" y="144"/>
                  </a:lnTo>
                  <a:lnTo>
                    <a:pt x="396" y="114"/>
                  </a:lnTo>
                  <a:lnTo>
                    <a:pt x="396" y="102"/>
                  </a:lnTo>
                  <a:lnTo>
                    <a:pt x="402" y="90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08" y="36"/>
                  </a:lnTo>
                  <a:lnTo>
                    <a:pt x="408" y="24"/>
                  </a:lnTo>
                  <a:lnTo>
                    <a:pt x="408" y="6"/>
                  </a:lnTo>
                  <a:lnTo>
                    <a:pt x="420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68" y="0"/>
                  </a:lnTo>
                  <a:lnTo>
                    <a:pt x="480" y="0"/>
                  </a:lnTo>
                  <a:lnTo>
                    <a:pt x="492" y="0"/>
                  </a:lnTo>
                  <a:lnTo>
                    <a:pt x="498" y="0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8" y="18"/>
                  </a:lnTo>
                  <a:lnTo>
                    <a:pt x="534" y="18"/>
                  </a:lnTo>
                  <a:lnTo>
                    <a:pt x="540" y="18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8" y="36"/>
                  </a:lnTo>
                  <a:lnTo>
                    <a:pt x="588" y="54"/>
                  </a:lnTo>
                  <a:lnTo>
                    <a:pt x="594" y="48"/>
                  </a:lnTo>
                  <a:lnTo>
                    <a:pt x="600" y="48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12" y="66"/>
                  </a:lnTo>
                  <a:lnTo>
                    <a:pt x="630" y="72"/>
                  </a:lnTo>
                  <a:lnTo>
                    <a:pt x="642" y="78"/>
                  </a:lnTo>
                  <a:lnTo>
                    <a:pt x="666" y="78"/>
                  </a:lnTo>
                  <a:lnTo>
                    <a:pt x="672" y="72"/>
                  </a:lnTo>
                  <a:lnTo>
                    <a:pt x="690" y="84"/>
                  </a:lnTo>
                  <a:lnTo>
                    <a:pt x="690" y="90"/>
                  </a:lnTo>
                  <a:lnTo>
                    <a:pt x="708" y="96"/>
                  </a:lnTo>
                  <a:lnTo>
                    <a:pt x="708" y="102"/>
                  </a:lnTo>
                  <a:lnTo>
                    <a:pt x="744" y="96"/>
                  </a:lnTo>
                  <a:lnTo>
                    <a:pt x="756" y="78"/>
                  </a:lnTo>
                  <a:lnTo>
                    <a:pt x="756" y="72"/>
                  </a:lnTo>
                  <a:lnTo>
                    <a:pt x="762" y="66"/>
                  </a:lnTo>
                  <a:lnTo>
                    <a:pt x="768" y="60"/>
                  </a:lnTo>
                  <a:lnTo>
                    <a:pt x="774" y="54"/>
                  </a:lnTo>
                  <a:lnTo>
                    <a:pt x="786" y="54"/>
                  </a:lnTo>
                  <a:lnTo>
                    <a:pt x="786" y="60"/>
                  </a:lnTo>
                  <a:lnTo>
                    <a:pt x="786" y="66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92" y="90"/>
                  </a:lnTo>
                  <a:lnTo>
                    <a:pt x="780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26"/>
                  </a:lnTo>
                  <a:lnTo>
                    <a:pt x="768" y="150"/>
                  </a:lnTo>
                  <a:lnTo>
                    <a:pt x="750" y="168"/>
                  </a:lnTo>
                  <a:lnTo>
                    <a:pt x="750" y="174"/>
                  </a:lnTo>
                  <a:lnTo>
                    <a:pt x="762" y="192"/>
                  </a:lnTo>
                  <a:lnTo>
                    <a:pt x="774" y="210"/>
                  </a:lnTo>
                  <a:lnTo>
                    <a:pt x="792" y="228"/>
                  </a:lnTo>
                  <a:lnTo>
                    <a:pt x="804" y="240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40" y="252"/>
                  </a:lnTo>
                  <a:lnTo>
                    <a:pt x="834" y="252"/>
                  </a:lnTo>
                  <a:lnTo>
                    <a:pt x="846" y="252"/>
                  </a:lnTo>
                  <a:lnTo>
                    <a:pt x="852" y="270"/>
                  </a:lnTo>
                  <a:lnTo>
                    <a:pt x="858" y="282"/>
                  </a:lnTo>
                  <a:lnTo>
                    <a:pt x="858" y="288"/>
                  </a:lnTo>
                  <a:lnTo>
                    <a:pt x="864" y="300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58" y="318"/>
                  </a:lnTo>
                  <a:lnTo>
                    <a:pt x="852" y="318"/>
                  </a:lnTo>
                  <a:lnTo>
                    <a:pt x="846" y="324"/>
                  </a:lnTo>
                  <a:lnTo>
                    <a:pt x="846" y="336"/>
                  </a:lnTo>
                  <a:lnTo>
                    <a:pt x="840" y="348"/>
                  </a:lnTo>
                  <a:lnTo>
                    <a:pt x="840" y="360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46" y="402"/>
                  </a:lnTo>
                  <a:lnTo>
                    <a:pt x="858" y="420"/>
                  </a:lnTo>
                  <a:lnTo>
                    <a:pt x="882" y="426"/>
                  </a:lnTo>
                  <a:lnTo>
                    <a:pt x="888" y="444"/>
                  </a:lnTo>
                  <a:lnTo>
                    <a:pt x="900" y="444"/>
                  </a:lnTo>
                  <a:lnTo>
                    <a:pt x="900" y="462"/>
                  </a:lnTo>
                  <a:lnTo>
                    <a:pt x="894" y="474"/>
                  </a:lnTo>
                  <a:lnTo>
                    <a:pt x="888" y="486"/>
                  </a:lnTo>
                  <a:lnTo>
                    <a:pt x="882" y="492"/>
                  </a:lnTo>
                  <a:lnTo>
                    <a:pt x="870" y="504"/>
                  </a:lnTo>
                  <a:lnTo>
                    <a:pt x="852" y="504"/>
                  </a:lnTo>
                  <a:lnTo>
                    <a:pt x="852" y="510"/>
                  </a:lnTo>
                  <a:lnTo>
                    <a:pt x="852" y="516"/>
                  </a:lnTo>
                  <a:lnTo>
                    <a:pt x="846" y="528"/>
                  </a:lnTo>
                  <a:lnTo>
                    <a:pt x="846" y="582"/>
                  </a:lnTo>
                  <a:lnTo>
                    <a:pt x="840" y="582"/>
                  </a:lnTo>
                  <a:lnTo>
                    <a:pt x="834" y="582"/>
                  </a:lnTo>
                  <a:lnTo>
                    <a:pt x="828" y="582"/>
                  </a:lnTo>
                  <a:lnTo>
                    <a:pt x="822" y="582"/>
                  </a:lnTo>
                  <a:lnTo>
                    <a:pt x="810" y="582"/>
                  </a:lnTo>
                  <a:lnTo>
                    <a:pt x="810" y="528"/>
                  </a:lnTo>
                  <a:lnTo>
                    <a:pt x="792" y="528"/>
                  </a:lnTo>
                  <a:lnTo>
                    <a:pt x="792" y="522"/>
                  </a:lnTo>
                  <a:lnTo>
                    <a:pt x="786" y="522"/>
                  </a:lnTo>
                  <a:lnTo>
                    <a:pt x="786" y="516"/>
                  </a:lnTo>
                  <a:lnTo>
                    <a:pt x="780" y="516"/>
                  </a:lnTo>
                  <a:lnTo>
                    <a:pt x="780" y="510"/>
                  </a:lnTo>
                  <a:lnTo>
                    <a:pt x="762" y="510"/>
                  </a:lnTo>
                  <a:lnTo>
                    <a:pt x="756" y="510"/>
                  </a:lnTo>
                  <a:lnTo>
                    <a:pt x="750" y="522"/>
                  </a:lnTo>
                  <a:lnTo>
                    <a:pt x="744" y="534"/>
                  </a:lnTo>
                  <a:lnTo>
                    <a:pt x="732" y="540"/>
                  </a:lnTo>
                  <a:lnTo>
                    <a:pt x="732" y="558"/>
                  </a:lnTo>
                  <a:lnTo>
                    <a:pt x="732" y="564"/>
                  </a:lnTo>
                  <a:lnTo>
                    <a:pt x="732" y="570"/>
                  </a:lnTo>
                  <a:lnTo>
                    <a:pt x="726" y="576"/>
                  </a:lnTo>
                  <a:lnTo>
                    <a:pt x="720" y="576"/>
                  </a:lnTo>
                  <a:lnTo>
                    <a:pt x="714" y="582"/>
                  </a:lnTo>
                  <a:lnTo>
                    <a:pt x="702" y="588"/>
                  </a:lnTo>
                  <a:lnTo>
                    <a:pt x="696" y="594"/>
                  </a:lnTo>
                  <a:lnTo>
                    <a:pt x="690" y="600"/>
                  </a:lnTo>
                  <a:lnTo>
                    <a:pt x="690" y="606"/>
                  </a:lnTo>
                  <a:lnTo>
                    <a:pt x="678" y="606"/>
                  </a:lnTo>
                  <a:lnTo>
                    <a:pt x="678" y="624"/>
                  </a:lnTo>
                  <a:lnTo>
                    <a:pt x="684" y="642"/>
                  </a:lnTo>
                  <a:lnTo>
                    <a:pt x="684" y="660"/>
                  </a:lnTo>
                  <a:lnTo>
                    <a:pt x="690" y="672"/>
                  </a:lnTo>
                  <a:lnTo>
                    <a:pt x="702" y="720"/>
                  </a:lnTo>
                  <a:lnTo>
                    <a:pt x="708" y="750"/>
                  </a:lnTo>
                  <a:lnTo>
                    <a:pt x="708" y="792"/>
                  </a:lnTo>
                  <a:lnTo>
                    <a:pt x="708" y="828"/>
                  </a:lnTo>
                  <a:lnTo>
                    <a:pt x="708" y="852"/>
                  </a:lnTo>
                  <a:lnTo>
                    <a:pt x="696" y="894"/>
                  </a:lnTo>
                  <a:lnTo>
                    <a:pt x="702" y="900"/>
                  </a:lnTo>
                  <a:lnTo>
                    <a:pt x="708" y="924"/>
                  </a:lnTo>
                  <a:lnTo>
                    <a:pt x="684" y="936"/>
                  </a:lnTo>
                  <a:lnTo>
                    <a:pt x="660" y="954"/>
                  </a:lnTo>
                  <a:lnTo>
                    <a:pt x="618" y="984"/>
                  </a:lnTo>
                  <a:lnTo>
                    <a:pt x="618" y="990"/>
                  </a:lnTo>
                  <a:lnTo>
                    <a:pt x="612" y="996"/>
                  </a:lnTo>
                  <a:lnTo>
                    <a:pt x="606" y="1002"/>
                  </a:lnTo>
                  <a:lnTo>
                    <a:pt x="618" y="1008"/>
                  </a:lnTo>
                  <a:lnTo>
                    <a:pt x="618" y="1014"/>
                  </a:lnTo>
                  <a:lnTo>
                    <a:pt x="624" y="1026"/>
                  </a:lnTo>
                  <a:lnTo>
                    <a:pt x="630" y="1026"/>
                  </a:lnTo>
                  <a:lnTo>
                    <a:pt x="636" y="1032"/>
                  </a:lnTo>
                  <a:lnTo>
                    <a:pt x="642" y="1032"/>
                  </a:lnTo>
                  <a:lnTo>
                    <a:pt x="642" y="1038"/>
                  </a:lnTo>
                  <a:lnTo>
                    <a:pt x="648" y="1044"/>
                  </a:lnTo>
                  <a:lnTo>
                    <a:pt x="666" y="1050"/>
                  </a:lnTo>
                  <a:lnTo>
                    <a:pt x="678" y="1038"/>
                  </a:lnTo>
                  <a:lnTo>
                    <a:pt x="684" y="1038"/>
                  </a:lnTo>
                  <a:lnTo>
                    <a:pt x="684" y="1032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20"/>
                  </a:lnTo>
                  <a:lnTo>
                    <a:pt x="708" y="1014"/>
                  </a:lnTo>
                  <a:lnTo>
                    <a:pt x="720" y="1020"/>
                  </a:lnTo>
                  <a:lnTo>
                    <a:pt x="720" y="1014"/>
                  </a:lnTo>
                  <a:lnTo>
                    <a:pt x="726" y="1008"/>
                  </a:lnTo>
                  <a:lnTo>
                    <a:pt x="732" y="1008"/>
                  </a:lnTo>
                  <a:lnTo>
                    <a:pt x="738" y="1008"/>
                  </a:lnTo>
                  <a:lnTo>
                    <a:pt x="744" y="1002"/>
                  </a:lnTo>
                  <a:lnTo>
                    <a:pt x="744" y="996"/>
                  </a:lnTo>
                  <a:lnTo>
                    <a:pt x="750" y="996"/>
                  </a:lnTo>
                  <a:lnTo>
                    <a:pt x="756" y="1002"/>
                  </a:lnTo>
                  <a:lnTo>
                    <a:pt x="762" y="1002"/>
                  </a:lnTo>
                  <a:lnTo>
                    <a:pt x="768" y="996"/>
                  </a:lnTo>
                  <a:lnTo>
                    <a:pt x="780" y="996"/>
                  </a:lnTo>
                  <a:lnTo>
                    <a:pt x="786" y="996"/>
                  </a:lnTo>
                  <a:lnTo>
                    <a:pt x="816" y="990"/>
                  </a:lnTo>
                  <a:lnTo>
                    <a:pt x="828" y="990"/>
                  </a:lnTo>
                  <a:lnTo>
                    <a:pt x="834" y="990"/>
                  </a:lnTo>
                  <a:lnTo>
                    <a:pt x="840" y="984"/>
                  </a:lnTo>
                  <a:lnTo>
                    <a:pt x="852" y="978"/>
                  </a:lnTo>
                  <a:lnTo>
                    <a:pt x="852" y="972"/>
                  </a:lnTo>
                  <a:lnTo>
                    <a:pt x="858" y="972"/>
                  </a:lnTo>
                  <a:lnTo>
                    <a:pt x="864" y="966"/>
                  </a:lnTo>
                  <a:lnTo>
                    <a:pt x="870" y="966"/>
                  </a:lnTo>
                  <a:lnTo>
                    <a:pt x="876" y="966"/>
                  </a:lnTo>
                  <a:lnTo>
                    <a:pt x="882" y="960"/>
                  </a:lnTo>
                  <a:lnTo>
                    <a:pt x="888" y="960"/>
                  </a:lnTo>
                  <a:lnTo>
                    <a:pt x="894" y="960"/>
                  </a:lnTo>
                  <a:lnTo>
                    <a:pt x="894" y="966"/>
                  </a:lnTo>
                  <a:lnTo>
                    <a:pt x="894" y="978"/>
                  </a:lnTo>
                  <a:lnTo>
                    <a:pt x="894" y="984"/>
                  </a:lnTo>
                  <a:lnTo>
                    <a:pt x="900" y="984"/>
                  </a:lnTo>
                  <a:lnTo>
                    <a:pt x="906" y="978"/>
                  </a:lnTo>
                  <a:lnTo>
                    <a:pt x="912" y="972"/>
                  </a:lnTo>
                  <a:lnTo>
                    <a:pt x="918" y="978"/>
                  </a:lnTo>
                  <a:lnTo>
                    <a:pt x="924" y="978"/>
                  </a:lnTo>
                  <a:lnTo>
                    <a:pt x="924" y="972"/>
                  </a:lnTo>
                  <a:lnTo>
                    <a:pt x="924" y="966"/>
                  </a:lnTo>
                  <a:lnTo>
                    <a:pt x="930" y="966"/>
                  </a:lnTo>
                  <a:lnTo>
                    <a:pt x="948" y="966"/>
                  </a:lnTo>
                  <a:lnTo>
                    <a:pt x="954" y="966"/>
                  </a:lnTo>
                  <a:lnTo>
                    <a:pt x="954" y="960"/>
                  </a:lnTo>
                  <a:lnTo>
                    <a:pt x="960" y="960"/>
                  </a:lnTo>
                  <a:lnTo>
                    <a:pt x="966" y="960"/>
                  </a:lnTo>
                  <a:lnTo>
                    <a:pt x="966" y="966"/>
                  </a:lnTo>
                  <a:lnTo>
                    <a:pt x="978" y="972"/>
                  </a:lnTo>
                  <a:lnTo>
                    <a:pt x="978" y="978"/>
                  </a:lnTo>
                  <a:lnTo>
                    <a:pt x="978" y="984"/>
                  </a:lnTo>
                  <a:lnTo>
                    <a:pt x="984" y="978"/>
                  </a:lnTo>
                  <a:lnTo>
                    <a:pt x="990" y="978"/>
                  </a:lnTo>
                  <a:lnTo>
                    <a:pt x="996" y="984"/>
                  </a:lnTo>
                  <a:lnTo>
                    <a:pt x="1002" y="990"/>
                  </a:lnTo>
                  <a:lnTo>
                    <a:pt x="1008" y="972"/>
                  </a:lnTo>
                  <a:lnTo>
                    <a:pt x="1026" y="972"/>
                  </a:lnTo>
                  <a:lnTo>
                    <a:pt x="1032" y="972"/>
                  </a:lnTo>
                  <a:lnTo>
                    <a:pt x="1038" y="972"/>
                  </a:lnTo>
                  <a:lnTo>
                    <a:pt x="1050" y="972"/>
                  </a:lnTo>
                  <a:lnTo>
                    <a:pt x="1056" y="972"/>
                  </a:lnTo>
                  <a:lnTo>
                    <a:pt x="1062" y="966"/>
                  </a:lnTo>
                  <a:lnTo>
                    <a:pt x="1074" y="966"/>
                  </a:lnTo>
                  <a:lnTo>
                    <a:pt x="1074" y="960"/>
                  </a:lnTo>
                  <a:lnTo>
                    <a:pt x="1080" y="954"/>
                  </a:lnTo>
                  <a:lnTo>
                    <a:pt x="1080" y="948"/>
                  </a:lnTo>
                  <a:lnTo>
                    <a:pt x="1074" y="948"/>
                  </a:lnTo>
                  <a:lnTo>
                    <a:pt x="1068" y="948"/>
                  </a:lnTo>
                  <a:lnTo>
                    <a:pt x="1062" y="942"/>
                  </a:lnTo>
                  <a:lnTo>
                    <a:pt x="1068" y="936"/>
                  </a:lnTo>
                  <a:lnTo>
                    <a:pt x="1074" y="936"/>
                  </a:lnTo>
                  <a:lnTo>
                    <a:pt x="1080" y="936"/>
                  </a:lnTo>
                  <a:lnTo>
                    <a:pt x="1086" y="942"/>
                  </a:lnTo>
                  <a:lnTo>
                    <a:pt x="1092" y="942"/>
                  </a:lnTo>
                  <a:lnTo>
                    <a:pt x="1098" y="948"/>
                  </a:lnTo>
                  <a:lnTo>
                    <a:pt x="1104" y="954"/>
                  </a:lnTo>
                  <a:lnTo>
                    <a:pt x="1110" y="954"/>
                  </a:lnTo>
                  <a:lnTo>
                    <a:pt x="1116" y="948"/>
                  </a:lnTo>
                  <a:lnTo>
                    <a:pt x="1122" y="942"/>
                  </a:lnTo>
                  <a:lnTo>
                    <a:pt x="1128" y="942"/>
                  </a:lnTo>
                  <a:lnTo>
                    <a:pt x="1134" y="942"/>
                  </a:lnTo>
                  <a:lnTo>
                    <a:pt x="1140" y="948"/>
                  </a:lnTo>
                  <a:lnTo>
                    <a:pt x="1146" y="942"/>
                  </a:lnTo>
                  <a:lnTo>
                    <a:pt x="1152" y="942"/>
                  </a:lnTo>
                  <a:lnTo>
                    <a:pt x="1152" y="930"/>
                  </a:lnTo>
                  <a:lnTo>
                    <a:pt x="1164" y="936"/>
                  </a:lnTo>
                  <a:lnTo>
                    <a:pt x="1158" y="942"/>
                  </a:lnTo>
                  <a:lnTo>
                    <a:pt x="1158" y="948"/>
                  </a:lnTo>
                  <a:lnTo>
                    <a:pt x="1146" y="954"/>
                  </a:lnTo>
                  <a:lnTo>
                    <a:pt x="1152" y="954"/>
                  </a:lnTo>
                  <a:lnTo>
                    <a:pt x="1158" y="954"/>
                  </a:lnTo>
                  <a:lnTo>
                    <a:pt x="1158" y="948"/>
                  </a:lnTo>
                  <a:lnTo>
                    <a:pt x="1164" y="948"/>
                  </a:lnTo>
                  <a:lnTo>
                    <a:pt x="1170" y="948"/>
                  </a:lnTo>
                  <a:lnTo>
                    <a:pt x="1176" y="954"/>
                  </a:lnTo>
                  <a:lnTo>
                    <a:pt x="1176" y="966"/>
                  </a:lnTo>
                  <a:lnTo>
                    <a:pt x="1182" y="972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88" y="984"/>
                  </a:lnTo>
                  <a:lnTo>
                    <a:pt x="1194" y="984"/>
                  </a:lnTo>
                  <a:lnTo>
                    <a:pt x="1200" y="984"/>
                  </a:lnTo>
                  <a:lnTo>
                    <a:pt x="1212" y="984"/>
                  </a:lnTo>
                  <a:lnTo>
                    <a:pt x="1218" y="990"/>
                  </a:lnTo>
                  <a:lnTo>
                    <a:pt x="1224" y="990"/>
                  </a:lnTo>
                  <a:lnTo>
                    <a:pt x="1224" y="984"/>
                  </a:lnTo>
                  <a:lnTo>
                    <a:pt x="1230" y="990"/>
                  </a:lnTo>
                  <a:lnTo>
                    <a:pt x="1236" y="984"/>
                  </a:lnTo>
                  <a:lnTo>
                    <a:pt x="1242" y="984"/>
                  </a:lnTo>
                  <a:lnTo>
                    <a:pt x="1248" y="990"/>
                  </a:lnTo>
                  <a:lnTo>
                    <a:pt x="1254" y="990"/>
                  </a:lnTo>
                  <a:lnTo>
                    <a:pt x="1254" y="996"/>
                  </a:lnTo>
                  <a:lnTo>
                    <a:pt x="1254" y="1002"/>
                  </a:lnTo>
                  <a:lnTo>
                    <a:pt x="1254" y="1008"/>
                  </a:lnTo>
                  <a:lnTo>
                    <a:pt x="1260" y="1014"/>
                  </a:lnTo>
                  <a:lnTo>
                    <a:pt x="1266" y="1014"/>
                  </a:lnTo>
                  <a:lnTo>
                    <a:pt x="1272" y="1014"/>
                  </a:lnTo>
                  <a:lnTo>
                    <a:pt x="1278" y="1020"/>
                  </a:lnTo>
                  <a:lnTo>
                    <a:pt x="1284" y="1020"/>
                  </a:lnTo>
                  <a:lnTo>
                    <a:pt x="1290" y="1014"/>
                  </a:lnTo>
                  <a:lnTo>
                    <a:pt x="1290" y="1008"/>
                  </a:lnTo>
                  <a:lnTo>
                    <a:pt x="1296" y="1008"/>
                  </a:lnTo>
                  <a:lnTo>
                    <a:pt x="1302" y="1014"/>
                  </a:lnTo>
                  <a:lnTo>
                    <a:pt x="1308" y="1014"/>
                  </a:lnTo>
                  <a:lnTo>
                    <a:pt x="1314" y="1008"/>
                  </a:lnTo>
                  <a:lnTo>
                    <a:pt x="1320" y="1008"/>
                  </a:lnTo>
                  <a:lnTo>
                    <a:pt x="1320" y="1002"/>
                  </a:lnTo>
                  <a:lnTo>
                    <a:pt x="1320" y="996"/>
                  </a:lnTo>
                  <a:lnTo>
                    <a:pt x="1332" y="1002"/>
                  </a:lnTo>
                  <a:lnTo>
                    <a:pt x="1332" y="1008"/>
                  </a:lnTo>
                  <a:lnTo>
                    <a:pt x="1326" y="1014"/>
                  </a:lnTo>
                  <a:lnTo>
                    <a:pt x="1332" y="1014"/>
                  </a:lnTo>
                  <a:lnTo>
                    <a:pt x="1338" y="1014"/>
                  </a:lnTo>
                  <a:lnTo>
                    <a:pt x="1338" y="1008"/>
                  </a:lnTo>
                  <a:lnTo>
                    <a:pt x="1344" y="1008"/>
                  </a:lnTo>
                  <a:lnTo>
                    <a:pt x="1350" y="1008"/>
                  </a:lnTo>
                  <a:lnTo>
                    <a:pt x="1356" y="1014"/>
                  </a:lnTo>
                  <a:lnTo>
                    <a:pt x="1356" y="1008"/>
                  </a:lnTo>
                  <a:lnTo>
                    <a:pt x="1362" y="1014"/>
                  </a:lnTo>
                  <a:lnTo>
                    <a:pt x="1392" y="1014"/>
                  </a:lnTo>
                  <a:lnTo>
                    <a:pt x="1398" y="1014"/>
                  </a:lnTo>
                  <a:lnTo>
                    <a:pt x="1404" y="1008"/>
                  </a:lnTo>
                  <a:lnTo>
                    <a:pt x="1404" y="1014"/>
                  </a:lnTo>
                  <a:lnTo>
                    <a:pt x="1410" y="1008"/>
                  </a:lnTo>
                  <a:lnTo>
                    <a:pt x="1416" y="1008"/>
                  </a:lnTo>
                  <a:lnTo>
                    <a:pt x="1422" y="1002"/>
                  </a:lnTo>
                  <a:lnTo>
                    <a:pt x="1428" y="1002"/>
                  </a:lnTo>
                  <a:lnTo>
                    <a:pt x="1428" y="996"/>
                  </a:lnTo>
                  <a:lnTo>
                    <a:pt x="1428" y="990"/>
                  </a:lnTo>
                  <a:lnTo>
                    <a:pt x="1440" y="1002"/>
                  </a:lnTo>
                  <a:lnTo>
                    <a:pt x="1446" y="1002"/>
                  </a:lnTo>
                  <a:lnTo>
                    <a:pt x="1452" y="1002"/>
                  </a:lnTo>
                  <a:lnTo>
                    <a:pt x="1446" y="996"/>
                  </a:lnTo>
                  <a:lnTo>
                    <a:pt x="1452" y="996"/>
                  </a:lnTo>
                  <a:lnTo>
                    <a:pt x="1458" y="996"/>
                  </a:lnTo>
                  <a:lnTo>
                    <a:pt x="1464" y="996"/>
                  </a:lnTo>
                  <a:lnTo>
                    <a:pt x="1464" y="1002"/>
                  </a:lnTo>
                  <a:lnTo>
                    <a:pt x="1476" y="1014"/>
                  </a:lnTo>
                  <a:lnTo>
                    <a:pt x="1476" y="1008"/>
                  </a:lnTo>
                  <a:lnTo>
                    <a:pt x="1482" y="1008"/>
                  </a:lnTo>
                  <a:lnTo>
                    <a:pt x="1488" y="1020"/>
                  </a:lnTo>
                  <a:lnTo>
                    <a:pt x="1494" y="1020"/>
                  </a:lnTo>
                  <a:lnTo>
                    <a:pt x="1500" y="1014"/>
                  </a:lnTo>
                  <a:lnTo>
                    <a:pt x="1500" y="1020"/>
                  </a:lnTo>
                  <a:lnTo>
                    <a:pt x="1506" y="1026"/>
                  </a:lnTo>
                  <a:lnTo>
                    <a:pt x="1512" y="1032"/>
                  </a:lnTo>
                  <a:lnTo>
                    <a:pt x="1518" y="1032"/>
                  </a:lnTo>
                  <a:lnTo>
                    <a:pt x="1518" y="1038"/>
                  </a:lnTo>
                  <a:lnTo>
                    <a:pt x="1518" y="1044"/>
                  </a:lnTo>
                  <a:lnTo>
                    <a:pt x="1524" y="1044"/>
                  </a:lnTo>
                  <a:lnTo>
                    <a:pt x="1524" y="1050"/>
                  </a:lnTo>
                  <a:lnTo>
                    <a:pt x="1530" y="1056"/>
                  </a:lnTo>
                  <a:lnTo>
                    <a:pt x="1548" y="1062"/>
                  </a:lnTo>
                  <a:lnTo>
                    <a:pt x="1560" y="1074"/>
                  </a:lnTo>
                  <a:lnTo>
                    <a:pt x="1560" y="1080"/>
                  </a:lnTo>
                  <a:lnTo>
                    <a:pt x="1560" y="1086"/>
                  </a:lnTo>
                  <a:lnTo>
                    <a:pt x="1566" y="1086"/>
                  </a:lnTo>
                  <a:lnTo>
                    <a:pt x="1572" y="1098"/>
                  </a:lnTo>
                  <a:lnTo>
                    <a:pt x="1572" y="1104"/>
                  </a:lnTo>
                  <a:lnTo>
                    <a:pt x="1584" y="1110"/>
                  </a:lnTo>
                  <a:lnTo>
                    <a:pt x="1590" y="1116"/>
                  </a:lnTo>
                  <a:lnTo>
                    <a:pt x="1596" y="1116"/>
                  </a:lnTo>
                  <a:lnTo>
                    <a:pt x="1608" y="1122"/>
                  </a:lnTo>
                  <a:lnTo>
                    <a:pt x="1620" y="1140"/>
                  </a:lnTo>
                  <a:lnTo>
                    <a:pt x="1626" y="1158"/>
                  </a:lnTo>
                  <a:lnTo>
                    <a:pt x="1638" y="1200"/>
                  </a:lnTo>
                  <a:lnTo>
                    <a:pt x="1638" y="1218"/>
                  </a:lnTo>
                  <a:lnTo>
                    <a:pt x="1620" y="1230"/>
                  </a:lnTo>
                  <a:lnTo>
                    <a:pt x="1554" y="1230"/>
                  </a:lnTo>
                  <a:lnTo>
                    <a:pt x="1560" y="1248"/>
                  </a:lnTo>
                  <a:lnTo>
                    <a:pt x="1584" y="1260"/>
                  </a:lnTo>
                  <a:lnTo>
                    <a:pt x="1584" y="1266"/>
                  </a:lnTo>
                  <a:lnTo>
                    <a:pt x="1578" y="1272"/>
                  </a:lnTo>
                  <a:lnTo>
                    <a:pt x="1572" y="1272"/>
                  </a:lnTo>
                  <a:lnTo>
                    <a:pt x="1566" y="1278"/>
                  </a:lnTo>
                  <a:lnTo>
                    <a:pt x="1566" y="1284"/>
                  </a:lnTo>
                  <a:lnTo>
                    <a:pt x="1560" y="1290"/>
                  </a:lnTo>
                  <a:lnTo>
                    <a:pt x="1554" y="1290"/>
                  </a:lnTo>
                  <a:lnTo>
                    <a:pt x="1554" y="1296"/>
                  </a:lnTo>
                  <a:lnTo>
                    <a:pt x="1554" y="1302"/>
                  </a:lnTo>
                  <a:lnTo>
                    <a:pt x="1560" y="1332"/>
                  </a:lnTo>
                  <a:lnTo>
                    <a:pt x="1566" y="1356"/>
                  </a:lnTo>
                  <a:lnTo>
                    <a:pt x="1572" y="1356"/>
                  </a:lnTo>
                  <a:lnTo>
                    <a:pt x="1572" y="1362"/>
                  </a:lnTo>
                  <a:lnTo>
                    <a:pt x="1578" y="1362"/>
                  </a:lnTo>
                  <a:lnTo>
                    <a:pt x="1560" y="1374"/>
                  </a:lnTo>
                  <a:lnTo>
                    <a:pt x="1560" y="1380"/>
                  </a:lnTo>
                  <a:lnTo>
                    <a:pt x="1548" y="1380"/>
                  </a:lnTo>
                  <a:lnTo>
                    <a:pt x="1548" y="1386"/>
                  </a:lnTo>
                  <a:lnTo>
                    <a:pt x="1548" y="1392"/>
                  </a:lnTo>
                  <a:lnTo>
                    <a:pt x="1542" y="1410"/>
                  </a:lnTo>
                  <a:lnTo>
                    <a:pt x="1536" y="1422"/>
                  </a:lnTo>
                  <a:lnTo>
                    <a:pt x="1536" y="1428"/>
                  </a:lnTo>
                  <a:lnTo>
                    <a:pt x="1530" y="1440"/>
                  </a:lnTo>
                  <a:lnTo>
                    <a:pt x="1524" y="1434"/>
                  </a:lnTo>
                  <a:lnTo>
                    <a:pt x="1524" y="1428"/>
                  </a:lnTo>
                  <a:lnTo>
                    <a:pt x="1524" y="1422"/>
                  </a:lnTo>
                  <a:lnTo>
                    <a:pt x="1512" y="1410"/>
                  </a:lnTo>
                  <a:lnTo>
                    <a:pt x="1506" y="1404"/>
                  </a:lnTo>
                  <a:lnTo>
                    <a:pt x="1506" y="1398"/>
                  </a:lnTo>
                  <a:lnTo>
                    <a:pt x="1494" y="1392"/>
                  </a:lnTo>
                  <a:lnTo>
                    <a:pt x="1476" y="1404"/>
                  </a:lnTo>
                  <a:lnTo>
                    <a:pt x="1464" y="1416"/>
                  </a:lnTo>
                  <a:lnTo>
                    <a:pt x="1458" y="1428"/>
                  </a:lnTo>
                  <a:lnTo>
                    <a:pt x="1446" y="1434"/>
                  </a:lnTo>
                  <a:lnTo>
                    <a:pt x="1410" y="1440"/>
                  </a:lnTo>
                  <a:lnTo>
                    <a:pt x="1398" y="1440"/>
                  </a:lnTo>
                  <a:lnTo>
                    <a:pt x="1398" y="1446"/>
                  </a:lnTo>
                  <a:lnTo>
                    <a:pt x="1386" y="1446"/>
                  </a:lnTo>
                  <a:lnTo>
                    <a:pt x="1380" y="1440"/>
                  </a:lnTo>
                  <a:lnTo>
                    <a:pt x="1368" y="1440"/>
                  </a:lnTo>
                  <a:lnTo>
                    <a:pt x="1368" y="1446"/>
                  </a:lnTo>
                  <a:lnTo>
                    <a:pt x="1356" y="1446"/>
                  </a:lnTo>
                  <a:lnTo>
                    <a:pt x="1350" y="1452"/>
                  </a:lnTo>
                  <a:lnTo>
                    <a:pt x="1338" y="1452"/>
                  </a:lnTo>
                  <a:lnTo>
                    <a:pt x="1338" y="1458"/>
                  </a:lnTo>
                  <a:lnTo>
                    <a:pt x="1332" y="1458"/>
                  </a:lnTo>
                  <a:lnTo>
                    <a:pt x="1332" y="1464"/>
                  </a:lnTo>
                  <a:lnTo>
                    <a:pt x="1332" y="1470"/>
                  </a:lnTo>
                  <a:lnTo>
                    <a:pt x="1326" y="1470"/>
                  </a:lnTo>
                  <a:lnTo>
                    <a:pt x="1320" y="1470"/>
                  </a:lnTo>
                  <a:lnTo>
                    <a:pt x="1314" y="1470"/>
                  </a:lnTo>
                  <a:lnTo>
                    <a:pt x="1314" y="1464"/>
                  </a:lnTo>
                  <a:lnTo>
                    <a:pt x="1308" y="1464"/>
                  </a:lnTo>
                  <a:lnTo>
                    <a:pt x="1308" y="1452"/>
                  </a:lnTo>
                  <a:lnTo>
                    <a:pt x="1284" y="1458"/>
                  </a:lnTo>
                  <a:lnTo>
                    <a:pt x="1272" y="1458"/>
                  </a:lnTo>
                  <a:lnTo>
                    <a:pt x="1272" y="1464"/>
                  </a:lnTo>
                  <a:lnTo>
                    <a:pt x="1260" y="1464"/>
                  </a:lnTo>
                  <a:lnTo>
                    <a:pt x="1254" y="1464"/>
                  </a:lnTo>
                  <a:lnTo>
                    <a:pt x="1242" y="1422"/>
                  </a:lnTo>
                  <a:lnTo>
                    <a:pt x="1242" y="1416"/>
                  </a:lnTo>
                  <a:lnTo>
                    <a:pt x="1242" y="1410"/>
                  </a:lnTo>
                  <a:lnTo>
                    <a:pt x="1248" y="1410"/>
                  </a:lnTo>
                  <a:lnTo>
                    <a:pt x="1242" y="1410"/>
                  </a:lnTo>
                  <a:lnTo>
                    <a:pt x="1242" y="1404"/>
                  </a:lnTo>
                  <a:lnTo>
                    <a:pt x="1242" y="1398"/>
                  </a:lnTo>
                  <a:lnTo>
                    <a:pt x="1248" y="1392"/>
                  </a:lnTo>
                  <a:lnTo>
                    <a:pt x="1248" y="1386"/>
                  </a:lnTo>
                  <a:lnTo>
                    <a:pt x="1242" y="1380"/>
                  </a:lnTo>
                  <a:lnTo>
                    <a:pt x="1248" y="1380"/>
                  </a:lnTo>
                  <a:lnTo>
                    <a:pt x="1248" y="1374"/>
                  </a:lnTo>
                  <a:lnTo>
                    <a:pt x="1248" y="1368"/>
                  </a:lnTo>
                  <a:lnTo>
                    <a:pt x="1254" y="1368"/>
                  </a:lnTo>
                  <a:lnTo>
                    <a:pt x="1254" y="1362"/>
                  </a:lnTo>
                  <a:lnTo>
                    <a:pt x="1248" y="1356"/>
                  </a:lnTo>
                  <a:lnTo>
                    <a:pt x="1254" y="1356"/>
                  </a:lnTo>
                  <a:lnTo>
                    <a:pt x="1254" y="1344"/>
                  </a:lnTo>
                  <a:lnTo>
                    <a:pt x="1242" y="1338"/>
                  </a:lnTo>
                  <a:lnTo>
                    <a:pt x="1242" y="1326"/>
                  </a:lnTo>
                  <a:lnTo>
                    <a:pt x="1230" y="1326"/>
                  </a:lnTo>
                  <a:lnTo>
                    <a:pt x="1230" y="1314"/>
                  </a:lnTo>
                  <a:lnTo>
                    <a:pt x="1218" y="1314"/>
                  </a:lnTo>
                  <a:lnTo>
                    <a:pt x="1200" y="1272"/>
                  </a:lnTo>
                  <a:lnTo>
                    <a:pt x="1194" y="1242"/>
                  </a:lnTo>
                  <a:lnTo>
                    <a:pt x="1194" y="1206"/>
                  </a:lnTo>
                  <a:lnTo>
                    <a:pt x="1182" y="1200"/>
                  </a:lnTo>
                  <a:lnTo>
                    <a:pt x="1164" y="1206"/>
                  </a:lnTo>
                  <a:lnTo>
                    <a:pt x="1146" y="1212"/>
                  </a:lnTo>
                  <a:lnTo>
                    <a:pt x="1146" y="1218"/>
                  </a:lnTo>
                  <a:lnTo>
                    <a:pt x="1134" y="1224"/>
                  </a:lnTo>
                  <a:lnTo>
                    <a:pt x="1140" y="1260"/>
                  </a:lnTo>
                  <a:lnTo>
                    <a:pt x="1134" y="1266"/>
                  </a:lnTo>
                  <a:lnTo>
                    <a:pt x="1122" y="1266"/>
                  </a:lnTo>
                  <a:lnTo>
                    <a:pt x="1110" y="1236"/>
                  </a:lnTo>
                  <a:lnTo>
                    <a:pt x="1110" y="1224"/>
                  </a:lnTo>
                  <a:lnTo>
                    <a:pt x="1086" y="1224"/>
                  </a:lnTo>
                  <a:lnTo>
                    <a:pt x="1086" y="1212"/>
                  </a:lnTo>
                  <a:lnTo>
                    <a:pt x="1074" y="1212"/>
                  </a:lnTo>
                  <a:lnTo>
                    <a:pt x="1050" y="1212"/>
                  </a:lnTo>
                  <a:lnTo>
                    <a:pt x="1056" y="1218"/>
                  </a:lnTo>
                  <a:lnTo>
                    <a:pt x="1050" y="1272"/>
                  </a:lnTo>
                  <a:lnTo>
                    <a:pt x="1044" y="1272"/>
                  </a:lnTo>
                  <a:lnTo>
                    <a:pt x="1038" y="1284"/>
                  </a:lnTo>
                  <a:lnTo>
                    <a:pt x="1032" y="1302"/>
                  </a:lnTo>
                  <a:lnTo>
                    <a:pt x="1014" y="1302"/>
                  </a:lnTo>
                  <a:lnTo>
                    <a:pt x="1020" y="1284"/>
                  </a:lnTo>
                  <a:lnTo>
                    <a:pt x="1026" y="1278"/>
                  </a:lnTo>
                  <a:lnTo>
                    <a:pt x="1026" y="1266"/>
                  </a:lnTo>
                  <a:lnTo>
                    <a:pt x="1014" y="1260"/>
                  </a:lnTo>
                  <a:lnTo>
                    <a:pt x="1014" y="1272"/>
                  </a:lnTo>
                  <a:lnTo>
                    <a:pt x="990" y="1278"/>
                  </a:lnTo>
                  <a:lnTo>
                    <a:pt x="990" y="1254"/>
                  </a:lnTo>
                  <a:lnTo>
                    <a:pt x="984" y="1254"/>
                  </a:lnTo>
                  <a:lnTo>
                    <a:pt x="978" y="1242"/>
                  </a:lnTo>
                  <a:lnTo>
                    <a:pt x="972" y="1236"/>
                  </a:lnTo>
                  <a:lnTo>
                    <a:pt x="960" y="1206"/>
                  </a:lnTo>
                  <a:lnTo>
                    <a:pt x="942" y="1206"/>
                  </a:lnTo>
                  <a:lnTo>
                    <a:pt x="936" y="1200"/>
                  </a:lnTo>
                  <a:lnTo>
                    <a:pt x="906" y="1212"/>
                  </a:lnTo>
                  <a:lnTo>
                    <a:pt x="888" y="1230"/>
                  </a:lnTo>
                  <a:lnTo>
                    <a:pt x="876" y="1230"/>
                  </a:lnTo>
                  <a:lnTo>
                    <a:pt x="864" y="1236"/>
                  </a:lnTo>
                  <a:lnTo>
                    <a:pt x="858" y="1236"/>
                  </a:lnTo>
                  <a:lnTo>
                    <a:pt x="852" y="1254"/>
                  </a:lnTo>
                  <a:lnTo>
                    <a:pt x="858" y="1254"/>
                  </a:lnTo>
                  <a:lnTo>
                    <a:pt x="840" y="1266"/>
                  </a:lnTo>
                  <a:lnTo>
                    <a:pt x="828" y="1272"/>
                  </a:lnTo>
                  <a:lnTo>
                    <a:pt x="828" y="1284"/>
                  </a:lnTo>
                  <a:lnTo>
                    <a:pt x="822" y="1284"/>
                  </a:lnTo>
                  <a:lnTo>
                    <a:pt x="804" y="1296"/>
                  </a:lnTo>
                  <a:lnTo>
                    <a:pt x="804" y="1308"/>
                  </a:lnTo>
                  <a:lnTo>
                    <a:pt x="816" y="1320"/>
                  </a:lnTo>
                  <a:lnTo>
                    <a:pt x="828" y="1320"/>
                  </a:lnTo>
                  <a:lnTo>
                    <a:pt x="822" y="1338"/>
                  </a:lnTo>
                  <a:lnTo>
                    <a:pt x="852" y="1344"/>
                  </a:lnTo>
                  <a:lnTo>
                    <a:pt x="864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94" y="1356"/>
                  </a:lnTo>
                  <a:lnTo>
                    <a:pt x="912" y="1368"/>
                  </a:lnTo>
                  <a:lnTo>
                    <a:pt x="918" y="1380"/>
                  </a:lnTo>
                  <a:lnTo>
                    <a:pt x="936" y="1380"/>
                  </a:lnTo>
                  <a:lnTo>
                    <a:pt x="960" y="1386"/>
                  </a:lnTo>
                  <a:lnTo>
                    <a:pt x="990" y="1386"/>
                  </a:lnTo>
                  <a:lnTo>
                    <a:pt x="990" y="1392"/>
                  </a:lnTo>
                  <a:lnTo>
                    <a:pt x="1020" y="1398"/>
                  </a:lnTo>
                  <a:lnTo>
                    <a:pt x="1014" y="1404"/>
                  </a:lnTo>
                  <a:lnTo>
                    <a:pt x="1008" y="1404"/>
                  </a:lnTo>
                  <a:lnTo>
                    <a:pt x="1014" y="1440"/>
                  </a:lnTo>
                  <a:lnTo>
                    <a:pt x="1020" y="1458"/>
                  </a:lnTo>
                  <a:lnTo>
                    <a:pt x="1026" y="1476"/>
                  </a:lnTo>
                  <a:lnTo>
                    <a:pt x="1020" y="1476"/>
                  </a:lnTo>
                  <a:lnTo>
                    <a:pt x="1014" y="1476"/>
                  </a:lnTo>
                  <a:lnTo>
                    <a:pt x="1014" y="1482"/>
                  </a:lnTo>
                  <a:lnTo>
                    <a:pt x="1014" y="1488"/>
                  </a:lnTo>
                  <a:lnTo>
                    <a:pt x="1002" y="1488"/>
                  </a:lnTo>
                  <a:lnTo>
                    <a:pt x="1002" y="1494"/>
                  </a:lnTo>
                  <a:lnTo>
                    <a:pt x="996" y="1494"/>
                  </a:lnTo>
                  <a:lnTo>
                    <a:pt x="996" y="1518"/>
                  </a:lnTo>
                  <a:lnTo>
                    <a:pt x="1002" y="1524"/>
                  </a:lnTo>
                  <a:lnTo>
                    <a:pt x="1020" y="1530"/>
                  </a:lnTo>
                  <a:lnTo>
                    <a:pt x="1026" y="1542"/>
                  </a:lnTo>
                  <a:lnTo>
                    <a:pt x="1032" y="1566"/>
                  </a:lnTo>
                  <a:lnTo>
                    <a:pt x="1038" y="1578"/>
                  </a:lnTo>
                  <a:lnTo>
                    <a:pt x="1032" y="1584"/>
                  </a:lnTo>
                  <a:lnTo>
                    <a:pt x="1020" y="1584"/>
                  </a:lnTo>
                  <a:lnTo>
                    <a:pt x="1014" y="1584"/>
                  </a:lnTo>
                  <a:lnTo>
                    <a:pt x="1008" y="1596"/>
                  </a:lnTo>
                  <a:lnTo>
                    <a:pt x="990" y="1584"/>
                  </a:lnTo>
                  <a:lnTo>
                    <a:pt x="984" y="1602"/>
                  </a:lnTo>
                  <a:lnTo>
                    <a:pt x="978" y="1608"/>
                  </a:lnTo>
                  <a:lnTo>
                    <a:pt x="966" y="1608"/>
                  </a:lnTo>
                  <a:lnTo>
                    <a:pt x="960" y="1614"/>
                  </a:lnTo>
                  <a:lnTo>
                    <a:pt x="954" y="1614"/>
                  </a:lnTo>
                  <a:lnTo>
                    <a:pt x="942" y="1620"/>
                  </a:lnTo>
                  <a:lnTo>
                    <a:pt x="936" y="1620"/>
                  </a:lnTo>
                  <a:lnTo>
                    <a:pt x="930" y="1620"/>
                  </a:lnTo>
                  <a:lnTo>
                    <a:pt x="930" y="1626"/>
                  </a:lnTo>
                  <a:lnTo>
                    <a:pt x="930" y="1632"/>
                  </a:lnTo>
                  <a:lnTo>
                    <a:pt x="918" y="1632"/>
                  </a:lnTo>
                  <a:lnTo>
                    <a:pt x="912" y="1632"/>
                  </a:lnTo>
                  <a:lnTo>
                    <a:pt x="906" y="1632"/>
                  </a:lnTo>
                  <a:lnTo>
                    <a:pt x="900" y="1632"/>
                  </a:lnTo>
                  <a:lnTo>
                    <a:pt x="894" y="1626"/>
                  </a:lnTo>
                  <a:lnTo>
                    <a:pt x="894" y="1614"/>
                  </a:lnTo>
                  <a:lnTo>
                    <a:pt x="840" y="1614"/>
                  </a:lnTo>
                  <a:lnTo>
                    <a:pt x="840" y="1626"/>
                  </a:lnTo>
                  <a:lnTo>
                    <a:pt x="834" y="1626"/>
                  </a:lnTo>
                  <a:lnTo>
                    <a:pt x="828" y="1632"/>
                  </a:lnTo>
                  <a:lnTo>
                    <a:pt x="822" y="1638"/>
                  </a:lnTo>
                  <a:lnTo>
                    <a:pt x="822" y="1644"/>
                  </a:lnTo>
                  <a:lnTo>
                    <a:pt x="834" y="1650"/>
                  </a:lnTo>
                  <a:lnTo>
                    <a:pt x="840" y="1662"/>
                  </a:lnTo>
                  <a:lnTo>
                    <a:pt x="840" y="1668"/>
                  </a:lnTo>
                  <a:lnTo>
                    <a:pt x="858" y="1680"/>
                  </a:lnTo>
                  <a:lnTo>
                    <a:pt x="858" y="1752"/>
                  </a:lnTo>
                  <a:lnTo>
                    <a:pt x="864" y="1782"/>
                  </a:lnTo>
                  <a:lnTo>
                    <a:pt x="876" y="1788"/>
                  </a:lnTo>
                  <a:lnTo>
                    <a:pt x="870" y="1854"/>
                  </a:lnTo>
                  <a:lnTo>
                    <a:pt x="870" y="1884"/>
                  </a:lnTo>
                  <a:lnTo>
                    <a:pt x="864" y="1884"/>
                  </a:lnTo>
                  <a:lnTo>
                    <a:pt x="846" y="1896"/>
                  </a:lnTo>
                  <a:lnTo>
                    <a:pt x="840" y="1896"/>
                  </a:lnTo>
                  <a:lnTo>
                    <a:pt x="834" y="1896"/>
                  </a:lnTo>
                  <a:lnTo>
                    <a:pt x="828" y="1890"/>
                  </a:lnTo>
                  <a:lnTo>
                    <a:pt x="822" y="1890"/>
                  </a:lnTo>
                  <a:lnTo>
                    <a:pt x="816" y="1896"/>
                  </a:lnTo>
                  <a:lnTo>
                    <a:pt x="804" y="1896"/>
                  </a:lnTo>
                  <a:lnTo>
                    <a:pt x="804" y="1890"/>
                  </a:lnTo>
                  <a:lnTo>
                    <a:pt x="780" y="1896"/>
                  </a:lnTo>
                  <a:lnTo>
                    <a:pt x="780" y="1902"/>
                  </a:lnTo>
                  <a:lnTo>
                    <a:pt x="774" y="1914"/>
                  </a:lnTo>
                  <a:lnTo>
                    <a:pt x="762" y="1926"/>
                  </a:lnTo>
                  <a:lnTo>
                    <a:pt x="762" y="1950"/>
                  </a:lnTo>
                  <a:lnTo>
                    <a:pt x="762" y="1962"/>
                  </a:lnTo>
                  <a:lnTo>
                    <a:pt x="780" y="1974"/>
                  </a:lnTo>
                  <a:lnTo>
                    <a:pt x="780" y="1986"/>
                  </a:lnTo>
                  <a:lnTo>
                    <a:pt x="780" y="1998"/>
                  </a:lnTo>
                  <a:lnTo>
                    <a:pt x="756" y="1998"/>
                  </a:lnTo>
                  <a:lnTo>
                    <a:pt x="720" y="1992"/>
                  </a:lnTo>
                  <a:lnTo>
                    <a:pt x="666" y="1998"/>
                  </a:lnTo>
                  <a:lnTo>
                    <a:pt x="654" y="1998"/>
                  </a:lnTo>
                  <a:lnTo>
                    <a:pt x="660" y="1974"/>
                  </a:lnTo>
                  <a:lnTo>
                    <a:pt x="666" y="1962"/>
                  </a:lnTo>
                  <a:lnTo>
                    <a:pt x="678" y="1950"/>
                  </a:lnTo>
                  <a:lnTo>
                    <a:pt x="696" y="1932"/>
                  </a:lnTo>
                  <a:lnTo>
                    <a:pt x="696" y="1920"/>
                  </a:lnTo>
                  <a:lnTo>
                    <a:pt x="696" y="1896"/>
                  </a:lnTo>
                  <a:lnTo>
                    <a:pt x="678" y="1896"/>
                  </a:lnTo>
                  <a:lnTo>
                    <a:pt x="672" y="1884"/>
                  </a:lnTo>
                  <a:lnTo>
                    <a:pt x="672" y="1776"/>
                  </a:lnTo>
                  <a:lnTo>
                    <a:pt x="678" y="1758"/>
                  </a:lnTo>
                  <a:lnTo>
                    <a:pt x="678" y="1740"/>
                  </a:lnTo>
                  <a:lnTo>
                    <a:pt x="684" y="1728"/>
                  </a:lnTo>
                  <a:lnTo>
                    <a:pt x="690" y="1722"/>
                  </a:lnTo>
                  <a:lnTo>
                    <a:pt x="702" y="1722"/>
                  </a:lnTo>
                  <a:lnTo>
                    <a:pt x="708" y="1716"/>
                  </a:lnTo>
                  <a:lnTo>
                    <a:pt x="714" y="1710"/>
                  </a:lnTo>
                  <a:lnTo>
                    <a:pt x="720" y="1698"/>
                  </a:lnTo>
                  <a:lnTo>
                    <a:pt x="732" y="1692"/>
                  </a:lnTo>
                  <a:lnTo>
                    <a:pt x="744" y="1686"/>
                  </a:lnTo>
                  <a:lnTo>
                    <a:pt x="756" y="1680"/>
                  </a:lnTo>
                  <a:lnTo>
                    <a:pt x="768" y="1668"/>
                  </a:lnTo>
                  <a:lnTo>
                    <a:pt x="768" y="1650"/>
                  </a:lnTo>
                  <a:lnTo>
                    <a:pt x="774" y="1632"/>
                  </a:lnTo>
                  <a:lnTo>
                    <a:pt x="768" y="1620"/>
                  </a:lnTo>
                  <a:lnTo>
                    <a:pt x="774" y="1608"/>
                  </a:lnTo>
                  <a:lnTo>
                    <a:pt x="774" y="1578"/>
                  </a:lnTo>
                  <a:lnTo>
                    <a:pt x="774" y="1572"/>
                  </a:lnTo>
                  <a:lnTo>
                    <a:pt x="780" y="1560"/>
                  </a:lnTo>
                  <a:lnTo>
                    <a:pt x="780" y="1554"/>
                  </a:lnTo>
                  <a:lnTo>
                    <a:pt x="786" y="1542"/>
                  </a:lnTo>
                  <a:lnTo>
                    <a:pt x="792" y="1530"/>
                  </a:lnTo>
                  <a:lnTo>
                    <a:pt x="792" y="1518"/>
                  </a:lnTo>
                  <a:lnTo>
                    <a:pt x="792" y="1506"/>
                  </a:lnTo>
                  <a:lnTo>
                    <a:pt x="786" y="1500"/>
                  </a:lnTo>
                  <a:lnTo>
                    <a:pt x="774" y="1488"/>
                  </a:lnTo>
                  <a:lnTo>
                    <a:pt x="774" y="1482"/>
                  </a:lnTo>
                  <a:lnTo>
                    <a:pt x="762" y="1488"/>
                  </a:lnTo>
                  <a:lnTo>
                    <a:pt x="756" y="1494"/>
                  </a:lnTo>
                  <a:lnTo>
                    <a:pt x="744" y="1500"/>
                  </a:lnTo>
                  <a:lnTo>
                    <a:pt x="732" y="1506"/>
                  </a:lnTo>
                  <a:lnTo>
                    <a:pt x="726" y="1506"/>
                  </a:lnTo>
                  <a:lnTo>
                    <a:pt x="720" y="1506"/>
                  </a:lnTo>
                  <a:lnTo>
                    <a:pt x="702" y="1506"/>
                  </a:lnTo>
                  <a:lnTo>
                    <a:pt x="690" y="1500"/>
                  </a:lnTo>
                  <a:lnTo>
                    <a:pt x="678" y="1500"/>
                  </a:lnTo>
                  <a:lnTo>
                    <a:pt x="672" y="1500"/>
                  </a:lnTo>
                  <a:lnTo>
                    <a:pt x="660" y="1506"/>
                  </a:lnTo>
                  <a:lnTo>
                    <a:pt x="654" y="1506"/>
                  </a:lnTo>
                  <a:lnTo>
                    <a:pt x="648" y="1512"/>
                  </a:lnTo>
                  <a:lnTo>
                    <a:pt x="648" y="1518"/>
                  </a:lnTo>
                  <a:lnTo>
                    <a:pt x="618" y="1518"/>
                  </a:lnTo>
                  <a:lnTo>
                    <a:pt x="534" y="1494"/>
                  </a:lnTo>
                  <a:lnTo>
                    <a:pt x="528" y="1458"/>
                  </a:lnTo>
                  <a:lnTo>
                    <a:pt x="510" y="1458"/>
                  </a:lnTo>
                  <a:lnTo>
                    <a:pt x="492" y="1440"/>
                  </a:lnTo>
                  <a:lnTo>
                    <a:pt x="462" y="1440"/>
                  </a:lnTo>
                  <a:lnTo>
                    <a:pt x="456" y="1428"/>
                  </a:lnTo>
                  <a:lnTo>
                    <a:pt x="420" y="1428"/>
                  </a:lnTo>
                  <a:lnTo>
                    <a:pt x="390" y="1446"/>
                  </a:lnTo>
                  <a:lnTo>
                    <a:pt x="312" y="1452"/>
                  </a:lnTo>
                  <a:lnTo>
                    <a:pt x="300" y="1446"/>
                  </a:lnTo>
                  <a:lnTo>
                    <a:pt x="294" y="1446"/>
                  </a:lnTo>
                  <a:lnTo>
                    <a:pt x="288" y="1446"/>
                  </a:lnTo>
                  <a:lnTo>
                    <a:pt x="282" y="1440"/>
                  </a:lnTo>
                  <a:lnTo>
                    <a:pt x="276" y="1440"/>
                  </a:lnTo>
                  <a:lnTo>
                    <a:pt x="270" y="1440"/>
                  </a:lnTo>
                  <a:lnTo>
                    <a:pt x="264" y="1440"/>
                  </a:lnTo>
                  <a:lnTo>
                    <a:pt x="258" y="1434"/>
                  </a:lnTo>
                  <a:lnTo>
                    <a:pt x="252" y="1434"/>
                  </a:lnTo>
                  <a:lnTo>
                    <a:pt x="246" y="1428"/>
                  </a:lnTo>
                  <a:lnTo>
                    <a:pt x="240" y="1416"/>
                  </a:lnTo>
                  <a:lnTo>
                    <a:pt x="234" y="1404"/>
                  </a:lnTo>
                  <a:lnTo>
                    <a:pt x="228" y="1398"/>
                  </a:lnTo>
                  <a:lnTo>
                    <a:pt x="222" y="1398"/>
                  </a:lnTo>
                  <a:lnTo>
                    <a:pt x="216" y="1404"/>
                  </a:lnTo>
                  <a:lnTo>
                    <a:pt x="210" y="1404"/>
                  </a:lnTo>
                  <a:lnTo>
                    <a:pt x="204" y="1404"/>
                  </a:lnTo>
                  <a:lnTo>
                    <a:pt x="204" y="1398"/>
                  </a:lnTo>
                  <a:lnTo>
                    <a:pt x="198" y="1392"/>
                  </a:lnTo>
                  <a:lnTo>
                    <a:pt x="192" y="1386"/>
                  </a:lnTo>
                  <a:lnTo>
                    <a:pt x="168" y="1374"/>
                  </a:lnTo>
                  <a:lnTo>
                    <a:pt x="144" y="13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0" name="Freeform 35">
              <a:extLst>
                <a:ext uri="{FF2B5EF4-FFF2-40B4-BE49-F238E27FC236}">
                  <a16:creationId xmlns:a16="http://schemas.microsoft.com/office/drawing/2014/main" id="{F64BF16E-9D62-438E-A1CC-CD4088AC7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2895" y="1706004"/>
              <a:ext cx="767013" cy="785011"/>
            </a:xfrm>
            <a:custGeom>
              <a:avLst/>
              <a:gdLst>
                <a:gd name="T0" fmla="*/ 102 w 1440"/>
                <a:gd name="T1" fmla="*/ 104 h 1476"/>
                <a:gd name="T2" fmla="*/ 99 w 1440"/>
                <a:gd name="T3" fmla="*/ 108 h 1476"/>
                <a:gd name="T4" fmla="*/ 98 w 1440"/>
                <a:gd name="T5" fmla="*/ 112 h 1476"/>
                <a:gd name="T6" fmla="*/ 96 w 1440"/>
                <a:gd name="T7" fmla="*/ 116 h 1476"/>
                <a:gd name="T8" fmla="*/ 91 w 1440"/>
                <a:gd name="T9" fmla="*/ 118 h 1476"/>
                <a:gd name="T10" fmla="*/ 87 w 1440"/>
                <a:gd name="T11" fmla="*/ 120 h 1476"/>
                <a:gd name="T12" fmla="*/ 75 w 1440"/>
                <a:gd name="T13" fmla="*/ 120 h 1476"/>
                <a:gd name="T14" fmla="*/ 72 w 1440"/>
                <a:gd name="T15" fmla="*/ 123 h 1476"/>
                <a:gd name="T16" fmla="*/ 69 w 1440"/>
                <a:gd name="T17" fmla="*/ 128 h 1476"/>
                <a:gd name="T18" fmla="*/ 67 w 1440"/>
                <a:gd name="T19" fmla="*/ 127 h 1476"/>
                <a:gd name="T20" fmla="*/ 66 w 1440"/>
                <a:gd name="T21" fmla="*/ 123 h 1476"/>
                <a:gd name="T22" fmla="*/ 63 w 1440"/>
                <a:gd name="T23" fmla="*/ 119 h 1476"/>
                <a:gd name="T24" fmla="*/ 54 w 1440"/>
                <a:gd name="T25" fmla="*/ 114 h 1476"/>
                <a:gd name="T26" fmla="*/ 55 w 1440"/>
                <a:gd name="T27" fmla="*/ 106 h 1476"/>
                <a:gd name="T28" fmla="*/ 60 w 1440"/>
                <a:gd name="T29" fmla="*/ 100 h 1476"/>
                <a:gd name="T30" fmla="*/ 55 w 1440"/>
                <a:gd name="T31" fmla="*/ 91 h 1476"/>
                <a:gd name="T32" fmla="*/ 51 w 1440"/>
                <a:gd name="T33" fmla="*/ 86 h 1476"/>
                <a:gd name="T34" fmla="*/ 47 w 1440"/>
                <a:gd name="T35" fmla="*/ 85 h 1476"/>
                <a:gd name="T36" fmla="*/ 44 w 1440"/>
                <a:gd name="T37" fmla="*/ 82 h 1476"/>
                <a:gd name="T38" fmla="*/ 41 w 1440"/>
                <a:gd name="T39" fmla="*/ 83 h 1476"/>
                <a:gd name="T40" fmla="*/ 36 w 1440"/>
                <a:gd name="T41" fmla="*/ 83 h 1476"/>
                <a:gd name="T42" fmla="*/ 33 w 1440"/>
                <a:gd name="T43" fmla="*/ 83 h 1476"/>
                <a:gd name="T44" fmla="*/ 30 w 1440"/>
                <a:gd name="T45" fmla="*/ 83 h 1476"/>
                <a:gd name="T46" fmla="*/ 27 w 1440"/>
                <a:gd name="T47" fmla="*/ 83 h 1476"/>
                <a:gd name="T48" fmla="*/ 24 w 1440"/>
                <a:gd name="T49" fmla="*/ 82 h 1476"/>
                <a:gd name="T50" fmla="*/ 21 w 1440"/>
                <a:gd name="T51" fmla="*/ 80 h 1476"/>
                <a:gd name="T52" fmla="*/ 18 w 1440"/>
                <a:gd name="T53" fmla="*/ 79 h 1476"/>
                <a:gd name="T54" fmla="*/ 17 w 1440"/>
                <a:gd name="T55" fmla="*/ 78 h 1476"/>
                <a:gd name="T56" fmla="*/ 12 w 1440"/>
                <a:gd name="T57" fmla="*/ 78 h 1476"/>
                <a:gd name="T58" fmla="*/ 12 w 1440"/>
                <a:gd name="T59" fmla="*/ 78 h 1476"/>
                <a:gd name="T60" fmla="*/ 7 w 1440"/>
                <a:gd name="T61" fmla="*/ 80 h 1476"/>
                <a:gd name="T62" fmla="*/ 3 w 1440"/>
                <a:gd name="T63" fmla="*/ 81 h 1476"/>
                <a:gd name="T64" fmla="*/ 0 w 1440"/>
                <a:gd name="T65" fmla="*/ 76 h 1476"/>
                <a:gd name="T66" fmla="*/ 1 w 1440"/>
                <a:gd name="T67" fmla="*/ 50 h 1476"/>
                <a:gd name="T68" fmla="*/ 8 w 1440"/>
                <a:gd name="T69" fmla="*/ 48 h 1476"/>
                <a:gd name="T70" fmla="*/ 20 w 1440"/>
                <a:gd name="T71" fmla="*/ 49 h 1476"/>
                <a:gd name="T72" fmla="*/ 26 w 1440"/>
                <a:gd name="T73" fmla="*/ 50 h 1476"/>
                <a:gd name="T74" fmla="*/ 44 w 1440"/>
                <a:gd name="T75" fmla="*/ 47 h 1476"/>
                <a:gd name="T76" fmla="*/ 41 w 1440"/>
                <a:gd name="T77" fmla="*/ 24 h 1476"/>
                <a:gd name="T78" fmla="*/ 44 w 1440"/>
                <a:gd name="T79" fmla="*/ 20 h 1476"/>
                <a:gd name="T80" fmla="*/ 47 w 1440"/>
                <a:gd name="T81" fmla="*/ 18 h 1476"/>
                <a:gd name="T82" fmla="*/ 54 w 1440"/>
                <a:gd name="T83" fmla="*/ 21 h 1476"/>
                <a:gd name="T84" fmla="*/ 61 w 1440"/>
                <a:gd name="T85" fmla="*/ 23 h 1476"/>
                <a:gd name="T86" fmla="*/ 59 w 1440"/>
                <a:gd name="T87" fmla="*/ 14 h 1476"/>
                <a:gd name="T88" fmla="*/ 61 w 1440"/>
                <a:gd name="T89" fmla="*/ 8 h 1476"/>
                <a:gd name="T90" fmla="*/ 71 w 1440"/>
                <a:gd name="T91" fmla="*/ 7 h 1476"/>
                <a:gd name="T92" fmla="*/ 75 w 1440"/>
                <a:gd name="T93" fmla="*/ 0 h 1476"/>
                <a:gd name="T94" fmla="*/ 82 w 1440"/>
                <a:gd name="T95" fmla="*/ 3 h 1476"/>
                <a:gd name="T96" fmla="*/ 93 w 1440"/>
                <a:gd name="T97" fmla="*/ 5 h 1476"/>
                <a:gd name="T98" fmla="*/ 100 w 1440"/>
                <a:gd name="T99" fmla="*/ 1 h 1476"/>
                <a:gd name="T100" fmla="*/ 104 w 1440"/>
                <a:gd name="T101" fmla="*/ 4 h 1476"/>
                <a:gd name="T102" fmla="*/ 110 w 1440"/>
                <a:gd name="T103" fmla="*/ 10 h 1476"/>
                <a:gd name="T104" fmla="*/ 115 w 1440"/>
                <a:gd name="T105" fmla="*/ 23 h 1476"/>
                <a:gd name="T106" fmla="*/ 117 w 1440"/>
                <a:gd name="T107" fmla="*/ 42 h 1476"/>
                <a:gd name="T108" fmla="*/ 121 w 1440"/>
                <a:gd name="T109" fmla="*/ 52 h 1476"/>
                <a:gd name="T110" fmla="*/ 118 w 1440"/>
                <a:gd name="T111" fmla="*/ 62 h 1476"/>
                <a:gd name="T112" fmla="*/ 124 w 1440"/>
                <a:gd name="T113" fmla="*/ 66 h 1476"/>
                <a:gd name="T114" fmla="*/ 121 w 1440"/>
                <a:gd name="T115" fmla="*/ 71 h 1476"/>
                <a:gd name="T116" fmla="*/ 115 w 1440"/>
                <a:gd name="T117" fmla="*/ 76 h 1476"/>
                <a:gd name="T118" fmla="*/ 109 w 1440"/>
                <a:gd name="T119" fmla="*/ 76 h 1476"/>
                <a:gd name="T120" fmla="*/ 105 w 1440"/>
                <a:gd name="T121" fmla="*/ 86 h 1476"/>
                <a:gd name="T122" fmla="*/ 107 w 1440"/>
                <a:gd name="T123" fmla="*/ 97 h 147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40"/>
                <a:gd name="T187" fmla="*/ 0 h 1476"/>
                <a:gd name="T188" fmla="*/ 1440 w 1440"/>
                <a:gd name="T189" fmla="*/ 1476 h 147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40" h="1476">
                  <a:moveTo>
                    <a:pt x="1212" y="1164"/>
                  </a:moveTo>
                  <a:lnTo>
                    <a:pt x="1206" y="1170"/>
                  </a:lnTo>
                  <a:lnTo>
                    <a:pt x="1200" y="1176"/>
                  </a:lnTo>
                  <a:lnTo>
                    <a:pt x="1194" y="1176"/>
                  </a:lnTo>
                  <a:lnTo>
                    <a:pt x="1188" y="1188"/>
                  </a:lnTo>
                  <a:lnTo>
                    <a:pt x="1182" y="1194"/>
                  </a:lnTo>
                  <a:lnTo>
                    <a:pt x="1176" y="1194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64" y="1206"/>
                  </a:lnTo>
                  <a:lnTo>
                    <a:pt x="1158" y="1206"/>
                  </a:lnTo>
                  <a:lnTo>
                    <a:pt x="1152" y="1212"/>
                  </a:lnTo>
                  <a:lnTo>
                    <a:pt x="1146" y="1212"/>
                  </a:lnTo>
                  <a:lnTo>
                    <a:pt x="1140" y="1224"/>
                  </a:lnTo>
                  <a:lnTo>
                    <a:pt x="1134" y="1230"/>
                  </a:lnTo>
                  <a:lnTo>
                    <a:pt x="1128" y="1236"/>
                  </a:lnTo>
                  <a:lnTo>
                    <a:pt x="1128" y="1242"/>
                  </a:lnTo>
                  <a:lnTo>
                    <a:pt x="1128" y="1254"/>
                  </a:lnTo>
                  <a:lnTo>
                    <a:pt x="1128" y="1260"/>
                  </a:lnTo>
                  <a:lnTo>
                    <a:pt x="1122" y="1260"/>
                  </a:lnTo>
                  <a:lnTo>
                    <a:pt x="1122" y="1266"/>
                  </a:lnTo>
                  <a:lnTo>
                    <a:pt x="1128" y="1278"/>
                  </a:lnTo>
                  <a:lnTo>
                    <a:pt x="1122" y="1278"/>
                  </a:lnTo>
                  <a:lnTo>
                    <a:pt x="1122" y="1284"/>
                  </a:lnTo>
                  <a:lnTo>
                    <a:pt x="1128" y="1290"/>
                  </a:lnTo>
                  <a:lnTo>
                    <a:pt x="1122" y="1296"/>
                  </a:lnTo>
                  <a:lnTo>
                    <a:pt x="1122" y="1302"/>
                  </a:lnTo>
                  <a:lnTo>
                    <a:pt x="1116" y="1302"/>
                  </a:lnTo>
                  <a:lnTo>
                    <a:pt x="1110" y="1314"/>
                  </a:lnTo>
                  <a:lnTo>
                    <a:pt x="1110" y="1320"/>
                  </a:lnTo>
                  <a:lnTo>
                    <a:pt x="1110" y="1326"/>
                  </a:lnTo>
                  <a:lnTo>
                    <a:pt x="1098" y="1332"/>
                  </a:lnTo>
                  <a:lnTo>
                    <a:pt x="1092" y="1338"/>
                  </a:lnTo>
                  <a:lnTo>
                    <a:pt x="1092" y="1344"/>
                  </a:lnTo>
                  <a:lnTo>
                    <a:pt x="1086" y="1350"/>
                  </a:lnTo>
                  <a:lnTo>
                    <a:pt x="1080" y="1350"/>
                  </a:lnTo>
                  <a:lnTo>
                    <a:pt x="1074" y="1350"/>
                  </a:lnTo>
                  <a:lnTo>
                    <a:pt x="1068" y="1356"/>
                  </a:lnTo>
                  <a:lnTo>
                    <a:pt x="1062" y="1356"/>
                  </a:lnTo>
                  <a:lnTo>
                    <a:pt x="1044" y="1356"/>
                  </a:lnTo>
                  <a:lnTo>
                    <a:pt x="1038" y="1362"/>
                  </a:lnTo>
                  <a:lnTo>
                    <a:pt x="1032" y="1368"/>
                  </a:lnTo>
                  <a:lnTo>
                    <a:pt x="1026" y="1368"/>
                  </a:lnTo>
                  <a:lnTo>
                    <a:pt x="1020" y="1374"/>
                  </a:lnTo>
                  <a:lnTo>
                    <a:pt x="1008" y="1374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74"/>
                  </a:lnTo>
                  <a:lnTo>
                    <a:pt x="978" y="1380"/>
                  </a:lnTo>
                  <a:lnTo>
                    <a:pt x="972" y="1380"/>
                  </a:lnTo>
                  <a:lnTo>
                    <a:pt x="954" y="1368"/>
                  </a:lnTo>
                  <a:lnTo>
                    <a:pt x="930" y="1368"/>
                  </a:lnTo>
                  <a:lnTo>
                    <a:pt x="918" y="1368"/>
                  </a:lnTo>
                  <a:lnTo>
                    <a:pt x="906" y="1368"/>
                  </a:lnTo>
                  <a:lnTo>
                    <a:pt x="894" y="1368"/>
                  </a:lnTo>
                  <a:lnTo>
                    <a:pt x="864" y="1374"/>
                  </a:lnTo>
                  <a:lnTo>
                    <a:pt x="852" y="1374"/>
                  </a:lnTo>
                  <a:lnTo>
                    <a:pt x="846" y="1386"/>
                  </a:lnTo>
                  <a:lnTo>
                    <a:pt x="846" y="1392"/>
                  </a:lnTo>
                  <a:lnTo>
                    <a:pt x="840" y="1398"/>
                  </a:lnTo>
                  <a:lnTo>
                    <a:pt x="840" y="1404"/>
                  </a:lnTo>
                  <a:lnTo>
                    <a:pt x="834" y="1416"/>
                  </a:lnTo>
                  <a:lnTo>
                    <a:pt x="828" y="1416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04" y="1428"/>
                  </a:lnTo>
                  <a:lnTo>
                    <a:pt x="804" y="1434"/>
                  </a:lnTo>
                  <a:lnTo>
                    <a:pt x="804" y="1440"/>
                  </a:lnTo>
                  <a:lnTo>
                    <a:pt x="798" y="1446"/>
                  </a:lnTo>
                  <a:lnTo>
                    <a:pt x="798" y="1458"/>
                  </a:lnTo>
                  <a:lnTo>
                    <a:pt x="792" y="1464"/>
                  </a:lnTo>
                  <a:lnTo>
                    <a:pt x="786" y="1476"/>
                  </a:lnTo>
                  <a:lnTo>
                    <a:pt x="780" y="1470"/>
                  </a:lnTo>
                  <a:lnTo>
                    <a:pt x="774" y="1470"/>
                  </a:lnTo>
                  <a:lnTo>
                    <a:pt x="768" y="1470"/>
                  </a:lnTo>
                  <a:lnTo>
                    <a:pt x="762" y="1476"/>
                  </a:lnTo>
                  <a:lnTo>
                    <a:pt x="762" y="1470"/>
                  </a:lnTo>
                  <a:lnTo>
                    <a:pt x="762" y="1464"/>
                  </a:lnTo>
                  <a:lnTo>
                    <a:pt x="762" y="1458"/>
                  </a:lnTo>
                  <a:lnTo>
                    <a:pt x="756" y="1458"/>
                  </a:lnTo>
                  <a:lnTo>
                    <a:pt x="756" y="1452"/>
                  </a:lnTo>
                  <a:lnTo>
                    <a:pt x="756" y="1446"/>
                  </a:lnTo>
                  <a:lnTo>
                    <a:pt x="756" y="1440"/>
                  </a:lnTo>
                  <a:lnTo>
                    <a:pt x="750" y="1434"/>
                  </a:lnTo>
                  <a:lnTo>
                    <a:pt x="750" y="1428"/>
                  </a:lnTo>
                  <a:lnTo>
                    <a:pt x="750" y="1422"/>
                  </a:lnTo>
                  <a:lnTo>
                    <a:pt x="750" y="1416"/>
                  </a:lnTo>
                  <a:lnTo>
                    <a:pt x="744" y="1416"/>
                  </a:lnTo>
                  <a:lnTo>
                    <a:pt x="744" y="1410"/>
                  </a:lnTo>
                  <a:lnTo>
                    <a:pt x="738" y="1404"/>
                  </a:lnTo>
                  <a:lnTo>
                    <a:pt x="732" y="1398"/>
                  </a:lnTo>
                  <a:lnTo>
                    <a:pt x="732" y="1392"/>
                  </a:lnTo>
                  <a:lnTo>
                    <a:pt x="726" y="1386"/>
                  </a:lnTo>
                  <a:lnTo>
                    <a:pt x="726" y="1380"/>
                  </a:lnTo>
                  <a:lnTo>
                    <a:pt x="714" y="1368"/>
                  </a:lnTo>
                  <a:lnTo>
                    <a:pt x="708" y="1368"/>
                  </a:lnTo>
                  <a:lnTo>
                    <a:pt x="684" y="1332"/>
                  </a:lnTo>
                  <a:lnTo>
                    <a:pt x="666" y="1320"/>
                  </a:lnTo>
                  <a:lnTo>
                    <a:pt x="648" y="1302"/>
                  </a:lnTo>
                  <a:lnTo>
                    <a:pt x="630" y="1314"/>
                  </a:lnTo>
                  <a:lnTo>
                    <a:pt x="624" y="1314"/>
                  </a:lnTo>
                  <a:lnTo>
                    <a:pt x="624" y="1308"/>
                  </a:lnTo>
                  <a:lnTo>
                    <a:pt x="618" y="1308"/>
                  </a:lnTo>
                  <a:lnTo>
                    <a:pt x="612" y="1284"/>
                  </a:lnTo>
                  <a:lnTo>
                    <a:pt x="606" y="1254"/>
                  </a:lnTo>
                  <a:lnTo>
                    <a:pt x="606" y="1248"/>
                  </a:lnTo>
                  <a:lnTo>
                    <a:pt x="606" y="1242"/>
                  </a:lnTo>
                  <a:lnTo>
                    <a:pt x="612" y="1242"/>
                  </a:lnTo>
                  <a:lnTo>
                    <a:pt x="618" y="1236"/>
                  </a:lnTo>
                  <a:lnTo>
                    <a:pt x="618" y="1230"/>
                  </a:lnTo>
                  <a:lnTo>
                    <a:pt x="624" y="1224"/>
                  </a:lnTo>
                  <a:lnTo>
                    <a:pt x="630" y="1224"/>
                  </a:lnTo>
                  <a:lnTo>
                    <a:pt x="636" y="1218"/>
                  </a:lnTo>
                  <a:lnTo>
                    <a:pt x="636" y="1212"/>
                  </a:lnTo>
                  <a:lnTo>
                    <a:pt x="612" y="1200"/>
                  </a:lnTo>
                  <a:lnTo>
                    <a:pt x="606" y="1182"/>
                  </a:lnTo>
                  <a:lnTo>
                    <a:pt x="672" y="1182"/>
                  </a:lnTo>
                  <a:lnTo>
                    <a:pt x="690" y="1170"/>
                  </a:lnTo>
                  <a:lnTo>
                    <a:pt x="690" y="1152"/>
                  </a:lnTo>
                  <a:lnTo>
                    <a:pt x="678" y="1110"/>
                  </a:lnTo>
                  <a:lnTo>
                    <a:pt x="672" y="1092"/>
                  </a:lnTo>
                  <a:lnTo>
                    <a:pt x="660" y="1074"/>
                  </a:lnTo>
                  <a:lnTo>
                    <a:pt x="648" y="1068"/>
                  </a:lnTo>
                  <a:lnTo>
                    <a:pt x="642" y="1068"/>
                  </a:lnTo>
                  <a:lnTo>
                    <a:pt x="636" y="1062"/>
                  </a:lnTo>
                  <a:lnTo>
                    <a:pt x="624" y="1056"/>
                  </a:lnTo>
                  <a:lnTo>
                    <a:pt x="624" y="1050"/>
                  </a:lnTo>
                  <a:lnTo>
                    <a:pt x="618" y="1038"/>
                  </a:lnTo>
                  <a:lnTo>
                    <a:pt x="612" y="1038"/>
                  </a:lnTo>
                  <a:lnTo>
                    <a:pt x="612" y="1032"/>
                  </a:lnTo>
                  <a:lnTo>
                    <a:pt x="612" y="1026"/>
                  </a:lnTo>
                  <a:lnTo>
                    <a:pt x="600" y="1014"/>
                  </a:lnTo>
                  <a:lnTo>
                    <a:pt x="582" y="1008"/>
                  </a:lnTo>
                  <a:lnTo>
                    <a:pt x="576" y="1002"/>
                  </a:lnTo>
                  <a:lnTo>
                    <a:pt x="576" y="996"/>
                  </a:lnTo>
                  <a:lnTo>
                    <a:pt x="570" y="996"/>
                  </a:lnTo>
                  <a:lnTo>
                    <a:pt x="570" y="990"/>
                  </a:lnTo>
                  <a:lnTo>
                    <a:pt x="570" y="984"/>
                  </a:lnTo>
                  <a:lnTo>
                    <a:pt x="564" y="984"/>
                  </a:lnTo>
                  <a:lnTo>
                    <a:pt x="558" y="978"/>
                  </a:lnTo>
                  <a:lnTo>
                    <a:pt x="552" y="972"/>
                  </a:lnTo>
                  <a:lnTo>
                    <a:pt x="552" y="966"/>
                  </a:lnTo>
                  <a:lnTo>
                    <a:pt x="546" y="972"/>
                  </a:lnTo>
                  <a:lnTo>
                    <a:pt x="540" y="972"/>
                  </a:lnTo>
                  <a:lnTo>
                    <a:pt x="534" y="960"/>
                  </a:lnTo>
                  <a:lnTo>
                    <a:pt x="528" y="960"/>
                  </a:lnTo>
                  <a:lnTo>
                    <a:pt x="528" y="966"/>
                  </a:lnTo>
                  <a:lnTo>
                    <a:pt x="516" y="954"/>
                  </a:lnTo>
                  <a:lnTo>
                    <a:pt x="516" y="948"/>
                  </a:lnTo>
                  <a:lnTo>
                    <a:pt x="510" y="948"/>
                  </a:lnTo>
                  <a:lnTo>
                    <a:pt x="504" y="948"/>
                  </a:lnTo>
                  <a:lnTo>
                    <a:pt x="498" y="948"/>
                  </a:lnTo>
                  <a:lnTo>
                    <a:pt x="504" y="954"/>
                  </a:lnTo>
                  <a:lnTo>
                    <a:pt x="498" y="954"/>
                  </a:lnTo>
                  <a:lnTo>
                    <a:pt x="492" y="954"/>
                  </a:lnTo>
                  <a:lnTo>
                    <a:pt x="480" y="942"/>
                  </a:lnTo>
                  <a:lnTo>
                    <a:pt x="480" y="948"/>
                  </a:lnTo>
                  <a:lnTo>
                    <a:pt x="480" y="954"/>
                  </a:lnTo>
                  <a:lnTo>
                    <a:pt x="474" y="954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56" y="966"/>
                  </a:lnTo>
                  <a:lnTo>
                    <a:pt x="456" y="960"/>
                  </a:lnTo>
                  <a:lnTo>
                    <a:pt x="450" y="966"/>
                  </a:lnTo>
                  <a:lnTo>
                    <a:pt x="444" y="966"/>
                  </a:lnTo>
                  <a:lnTo>
                    <a:pt x="414" y="966"/>
                  </a:lnTo>
                  <a:lnTo>
                    <a:pt x="408" y="960"/>
                  </a:lnTo>
                  <a:lnTo>
                    <a:pt x="408" y="966"/>
                  </a:lnTo>
                  <a:lnTo>
                    <a:pt x="402" y="960"/>
                  </a:lnTo>
                  <a:lnTo>
                    <a:pt x="396" y="960"/>
                  </a:lnTo>
                  <a:lnTo>
                    <a:pt x="390" y="960"/>
                  </a:lnTo>
                  <a:lnTo>
                    <a:pt x="390" y="966"/>
                  </a:lnTo>
                  <a:lnTo>
                    <a:pt x="384" y="966"/>
                  </a:lnTo>
                  <a:lnTo>
                    <a:pt x="378" y="966"/>
                  </a:lnTo>
                  <a:lnTo>
                    <a:pt x="384" y="960"/>
                  </a:lnTo>
                  <a:lnTo>
                    <a:pt x="384" y="954"/>
                  </a:lnTo>
                  <a:lnTo>
                    <a:pt x="372" y="948"/>
                  </a:lnTo>
                  <a:lnTo>
                    <a:pt x="372" y="954"/>
                  </a:lnTo>
                  <a:lnTo>
                    <a:pt x="372" y="960"/>
                  </a:lnTo>
                  <a:lnTo>
                    <a:pt x="366" y="960"/>
                  </a:lnTo>
                  <a:lnTo>
                    <a:pt x="360" y="966"/>
                  </a:lnTo>
                  <a:lnTo>
                    <a:pt x="354" y="966"/>
                  </a:lnTo>
                  <a:lnTo>
                    <a:pt x="348" y="960"/>
                  </a:lnTo>
                  <a:lnTo>
                    <a:pt x="342" y="960"/>
                  </a:lnTo>
                  <a:lnTo>
                    <a:pt x="342" y="966"/>
                  </a:lnTo>
                  <a:lnTo>
                    <a:pt x="336" y="972"/>
                  </a:lnTo>
                  <a:lnTo>
                    <a:pt x="330" y="972"/>
                  </a:lnTo>
                  <a:lnTo>
                    <a:pt x="324" y="966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6" y="954"/>
                  </a:lnTo>
                  <a:lnTo>
                    <a:pt x="306" y="948"/>
                  </a:lnTo>
                  <a:lnTo>
                    <a:pt x="306" y="942"/>
                  </a:lnTo>
                  <a:lnTo>
                    <a:pt x="300" y="942"/>
                  </a:lnTo>
                  <a:lnTo>
                    <a:pt x="294" y="936"/>
                  </a:lnTo>
                  <a:lnTo>
                    <a:pt x="288" y="936"/>
                  </a:lnTo>
                  <a:lnTo>
                    <a:pt x="282" y="942"/>
                  </a:lnTo>
                  <a:lnTo>
                    <a:pt x="276" y="936"/>
                  </a:lnTo>
                  <a:lnTo>
                    <a:pt x="276" y="942"/>
                  </a:lnTo>
                  <a:lnTo>
                    <a:pt x="270" y="942"/>
                  </a:lnTo>
                  <a:lnTo>
                    <a:pt x="264" y="936"/>
                  </a:lnTo>
                  <a:lnTo>
                    <a:pt x="252" y="936"/>
                  </a:lnTo>
                  <a:lnTo>
                    <a:pt x="246" y="936"/>
                  </a:lnTo>
                  <a:lnTo>
                    <a:pt x="240" y="936"/>
                  </a:lnTo>
                  <a:lnTo>
                    <a:pt x="234" y="936"/>
                  </a:lnTo>
                  <a:lnTo>
                    <a:pt x="240" y="924"/>
                  </a:lnTo>
                  <a:lnTo>
                    <a:pt x="234" y="924"/>
                  </a:lnTo>
                  <a:lnTo>
                    <a:pt x="228" y="918"/>
                  </a:lnTo>
                  <a:lnTo>
                    <a:pt x="228" y="906"/>
                  </a:lnTo>
                  <a:lnTo>
                    <a:pt x="222" y="900"/>
                  </a:lnTo>
                  <a:lnTo>
                    <a:pt x="216" y="900"/>
                  </a:lnTo>
                  <a:lnTo>
                    <a:pt x="210" y="900"/>
                  </a:lnTo>
                  <a:lnTo>
                    <a:pt x="210" y="906"/>
                  </a:lnTo>
                  <a:lnTo>
                    <a:pt x="204" y="906"/>
                  </a:lnTo>
                  <a:lnTo>
                    <a:pt x="198" y="906"/>
                  </a:lnTo>
                  <a:lnTo>
                    <a:pt x="210" y="900"/>
                  </a:lnTo>
                  <a:lnTo>
                    <a:pt x="210" y="894"/>
                  </a:lnTo>
                  <a:lnTo>
                    <a:pt x="216" y="888"/>
                  </a:lnTo>
                  <a:lnTo>
                    <a:pt x="204" y="882"/>
                  </a:lnTo>
                  <a:lnTo>
                    <a:pt x="204" y="894"/>
                  </a:lnTo>
                  <a:lnTo>
                    <a:pt x="198" y="894"/>
                  </a:lnTo>
                  <a:lnTo>
                    <a:pt x="192" y="900"/>
                  </a:lnTo>
                  <a:lnTo>
                    <a:pt x="186" y="894"/>
                  </a:lnTo>
                  <a:lnTo>
                    <a:pt x="180" y="894"/>
                  </a:lnTo>
                  <a:lnTo>
                    <a:pt x="174" y="894"/>
                  </a:lnTo>
                  <a:lnTo>
                    <a:pt x="168" y="900"/>
                  </a:lnTo>
                  <a:lnTo>
                    <a:pt x="162" y="906"/>
                  </a:lnTo>
                  <a:lnTo>
                    <a:pt x="156" y="906"/>
                  </a:lnTo>
                  <a:lnTo>
                    <a:pt x="150" y="900"/>
                  </a:lnTo>
                  <a:lnTo>
                    <a:pt x="144" y="894"/>
                  </a:lnTo>
                  <a:lnTo>
                    <a:pt x="138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0" y="888"/>
                  </a:lnTo>
                  <a:lnTo>
                    <a:pt x="114" y="894"/>
                  </a:lnTo>
                  <a:lnTo>
                    <a:pt x="120" y="900"/>
                  </a:lnTo>
                  <a:lnTo>
                    <a:pt x="126" y="900"/>
                  </a:lnTo>
                  <a:lnTo>
                    <a:pt x="132" y="900"/>
                  </a:lnTo>
                  <a:lnTo>
                    <a:pt x="132" y="906"/>
                  </a:lnTo>
                  <a:lnTo>
                    <a:pt x="126" y="912"/>
                  </a:lnTo>
                  <a:lnTo>
                    <a:pt x="126" y="918"/>
                  </a:lnTo>
                  <a:lnTo>
                    <a:pt x="114" y="918"/>
                  </a:lnTo>
                  <a:lnTo>
                    <a:pt x="108" y="924"/>
                  </a:lnTo>
                  <a:lnTo>
                    <a:pt x="102" y="924"/>
                  </a:lnTo>
                  <a:lnTo>
                    <a:pt x="90" y="924"/>
                  </a:lnTo>
                  <a:lnTo>
                    <a:pt x="84" y="924"/>
                  </a:lnTo>
                  <a:lnTo>
                    <a:pt x="78" y="924"/>
                  </a:lnTo>
                  <a:lnTo>
                    <a:pt x="60" y="924"/>
                  </a:lnTo>
                  <a:lnTo>
                    <a:pt x="54" y="942"/>
                  </a:lnTo>
                  <a:lnTo>
                    <a:pt x="48" y="936"/>
                  </a:lnTo>
                  <a:lnTo>
                    <a:pt x="42" y="930"/>
                  </a:lnTo>
                  <a:lnTo>
                    <a:pt x="36" y="930"/>
                  </a:lnTo>
                  <a:lnTo>
                    <a:pt x="30" y="936"/>
                  </a:lnTo>
                  <a:lnTo>
                    <a:pt x="30" y="930"/>
                  </a:lnTo>
                  <a:lnTo>
                    <a:pt x="30" y="924"/>
                  </a:lnTo>
                  <a:lnTo>
                    <a:pt x="18" y="918"/>
                  </a:lnTo>
                  <a:lnTo>
                    <a:pt x="18" y="912"/>
                  </a:lnTo>
                  <a:lnTo>
                    <a:pt x="12" y="912"/>
                  </a:lnTo>
                  <a:lnTo>
                    <a:pt x="6" y="912"/>
                  </a:lnTo>
                  <a:lnTo>
                    <a:pt x="6" y="900"/>
                  </a:lnTo>
                  <a:lnTo>
                    <a:pt x="6" y="894"/>
                  </a:lnTo>
                  <a:lnTo>
                    <a:pt x="0" y="870"/>
                  </a:lnTo>
                  <a:lnTo>
                    <a:pt x="6" y="846"/>
                  </a:lnTo>
                  <a:lnTo>
                    <a:pt x="6" y="810"/>
                  </a:lnTo>
                  <a:lnTo>
                    <a:pt x="12" y="774"/>
                  </a:lnTo>
                  <a:lnTo>
                    <a:pt x="12" y="756"/>
                  </a:lnTo>
                  <a:lnTo>
                    <a:pt x="18" y="744"/>
                  </a:lnTo>
                  <a:lnTo>
                    <a:pt x="18" y="732"/>
                  </a:lnTo>
                  <a:lnTo>
                    <a:pt x="12" y="576"/>
                  </a:lnTo>
                  <a:lnTo>
                    <a:pt x="12" y="570"/>
                  </a:lnTo>
                  <a:lnTo>
                    <a:pt x="18" y="564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42" y="552"/>
                  </a:lnTo>
                  <a:lnTo>
                    <a:pt x="66" y="552"/>
                  </a:lnTo>
                  <a:lnTo>
                    <a:pt x="78" y="558"/>
                  </a:lnTo>
                  <a:lnTo>
                    <a:pt x="90" y="558"/>
                  </a:lnTo>
                  <a:lnTo>
                    <a:pt x="108" y="558"/>
                  </a:lnTo>
                  <a:lnTo>
                    <a:pt x="144" y="558"/>
                  </a:lnTo>
                  <a:lnTo>
                    <a:pt x="204" y="552"/>
                  </a:lnTo>
                  <a:lnTo>
                    <a:pt x="210" y="558"/>
                  </a:lnTo>
                  <a:lnTo>
                    <a:pt x="216" y="558"/>
                  </a:lnTo>
                  <a:lnTo>
                    <a:pt x="210" y="564"/>
                  </a:lnTo>
                  <a:lnTo>
                    <a:pt x="216" y="564"/>
                  </a:lnTo>
                  <a:lnTo>
                    <a:pt x="222" y="564"/>
                  </a:lnTo>
                  <a:lnTo>
                    <a:pt x="240" y="564"/>
                  </a:lnTo>
                  <a:lnTo>
                    <a:pt x="258" y="564"/>
                  </a:lnTo>
                  <a:lnTo>
                    <a:pt x="264" y="570"/>
                  </a:lnTo>
                  <a:lnTo>
                    <a:pt x="276" y="570"/>
                  </a:lnTo>
                  <a:lnTo>
                    <a:pt x="282" y="564"/>
                  </a:lnTo>
                  <a:lnTo>
                    <a:pt x="294" y="564"/>
                  </a:lnTo>
                  <a:lnTo>
                    <a:pt x="294" y="570"/>
                  </a:lnTo>
                  <a:lnTo>
                    <a:pt x="300" y="570"/>
                  </a:lnTo>
                  <a:lnTo>
                    <a:pt x="378" y="564"/>
                  </a:lnTo>
                  <a:lnTo>
                    <a:pt x="408" y="558"/>
                  </a:lnTo>
                  <a:lnTo>
                    <a:pt x="432" y="552"/>
                  </a:lnTo>
                  <a:lnTo>
                    <a:pt x="450" y="546"/>
                  </a:lnTo>
                  <a:lnTo>
                    <a:pt x="468" y="546"/>
                  </a:lnTo>
                  <a:lnTo>
                    <a:pt x="468" y="552"/>
                  </a:lnTo>
                  <a:lnTo>
                    <a:pt x="504" y="552"/>
                  </a:lnTo>
                  <a:lnTo>
                    <a:pt x="510" y="534"/>
                  </a:lnTo>
                  <a:lnTo>
                    <a:pt x="516" y="510"/>
                  </a:lnTo>
                  <a:lnTo>
                    <a:pt x="522" y="510"/>
                  </a:lnTo>
                  <a:lnTo>
                    <a:pt x="528" y="420"/>
                  </a:lnTo>
                  <a:lnTo>
                    <a:pt x="522" y="414"/>
                  </a:lnTo>
                  <a:lnTo>
                    <a:pt x="516" y="396"/>
                  </a:lnTo>
                  <a:lnTo>
                    <a:pt x="510" y="372"/>
                  </a:lnTo>
                  <a:lnTo>
                    <a:pt x="498" y="348"/>
                  </a:lnTo>
                  <a:lnTo>
                    <a:pt x="474" y="282"/>
                  </a:lnTo>
                  <a:lnTo>
                    <a:pt x="474" y="270"/>
                  </a:lnTo>
                  <a:lnTo>
                    <a:pt x="480" y="258"/>
                  </a:lnTo>
                  <a:lnTo>
                    <a:pt x="486" y="258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92" y="246"/>
                  </a:lnTo>
                  <a:lnTo>
                    <a:pt x="504" y="234"/>
                  </a:lnTo>
                  <a:lnTo>
                    <a:pt x="510" y="228"/>
                  </a:lnTo>
                  <a:lnTo>
                    <a:pt x="516" y="228"/>
                  </a:lnTo>
                  <a:lnTo>
                    <a:pt x="516" y="222"/>
                  </a:lnTo>
                  <a:lnTo>
                    <a:pt x="516" y="216"/>
                  </a:lnTo>
                  <a:lnTo>
                    <a:pt x="522" y="216"/>
                  </a:lnTo>
                  <a:lnTo>
                    <a:pt x="528" y="210"/>
                  </a:lnTo>
                  <a:lnTo>
                    <a:pt x="534" y="210"/>
                  </a:lnTo>
                  <a:lnTo>
                    <a:pt x="540" y="210"/>
                  </a:lnTo>
                  <a:lnTo>
                    <a:pt x="546" y="210"/>
                  </a:lnTo>
                  <a:lnTo>
                    <a:pt x="552" y="210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16"/>
                  </a:lnTo>
                  <a:lnTo>
                    <a:pt x="588" y="228"/>
                  </a:lnTo>
                  <a:lnTo>
                    <a:pt x="594" y="234"/>
                  </a:lnTo>
                  <a:lnTo>
                    <a:pt x="600" y="240"/>
                  </a:lnTo>
                  <a:lnTo>
                    <a:pt x="618" y="246"/>
                  </a:lnTo>
                  <a:lnTo>
                    <a:pt x="624" y="246"/>
                  </a:lnTo>
                  <a:lnTo>
                    <a:pt x="636" y="252"/>
                  </a:lnTo>
                  <a:lnTo>
                    <a:pt x="654" y="252"/>
                  </a:lnTo>
                  <a:lnTo>
                    <a:pt x="654" y="258"/>
                  </a:lnTo>
                  <a:lnTo>
                    <a:pt x="666" y="264"/>
                  </a:lnTo>
                  <a:lnTo>
                    <a:pt x="672" y="264"/>
                  </a:lnTo>
                  <a:lnTo>
                    <a:pt x="678" y="264"/>
                  </a:lnTo>
                  <a:lnTo>
                    <a:pt x="696" y="258"/>
                  </a:lnTo>
                  <a:lnTo>
                    <a:pt x="696" y="252"/>
                  </a:lnTo>
                  <a:lnTo>
                    <a:pt x="696" y="246"/>
                  </a:lnTo>
                  <a:lnTo>
                    <a:pt x="690" y="234"/>
                  </a:lnTo>
                  <a:lnTo>
                    <a:pt x="684" y="210"/>
                  </a:lnTo>
                  <a:lnTo>
                    <a:pt x="678" y="192"/>
                  </a:lnTo>
                  <a:lnTo>
                    <a:pt x="672" y="174"/>
                  </a:lnTo>
                  <a:lnTo>
                    <a:pt x="672" y="168"/>
                  </a:lnTo>
                  <a:lnTo>
                    <a:pt x="672" y="162"/>
                  </a:lnTo>
                  <a:lnTo>
                    <a:pt x="672" y="156"/>
                  </a:lnTo>
                  <a:lnTo>
                    <a:pt x="684" y="132"/>
                  </a:lnTo>
                  <a:lnTo>
                    <a:pt x="684" y="120"/>
                  </a:lnTo>
                  <a:lnTo>
                    <a:pt x="684" y="108"/>
                  </a:lnTo>
                  <a:lnTo>
                    <a:pt x="678" y="102"/>
                  </a:lnTo>
                  <a:lnTo>
                    <a:pt x="678" y="96"/>
                  </a:lnTo>
                  <a:lnTo>
                    <a:pt x="684" y="96"/>
                  </a:lnTo>
                  <a:lnTo>
                    <a:pt x="696" y="90"/>
                  </a:lnTo>
                  <a:lnTo>
                    <a:pt x="702" y="84"/>
                  </a:lnTo>
                  <a:lnTo>
                    <a:pt x="720" y="72"/>
                  </a:lnTo>
                  <a:lnTo>
                    <a:pt x="738" y="66"/>
                  </a:lnTo>
                  <a:lnTo>
                    <a:pt x="756" y="60"/>
                  </a:lnTo>
                  <a:lnTo>
                    <a:pt x="768" y="60"/>
                  </a:lnTo>
                  <a:lnTo>
                    <a:pt x="798" y="72"/>
                  </a:lnTo>
                  <a:lnTo>
                    <a:pt x="804" y="78"/>
                  </a:lnTo>
                  <a:lnTo>
                    <a:pt x="816" y="84"/>
                  </a:lnTo>
                  <a:lnTo>
                    <a:pt x="822" y="84"/>
                  </a:lnTo>
                  <a:lnTo>
                    <a:pt x="828" y="72"/>
                  </a:lnTo>
                  <a:lnTo>
                    <a:pt x="828" y="60"/>
                  </a:lnTo>
                  <a:lnTo>
                    <a:pt x="828" y="36"/>
                  </a:lnTo>
                  <a:lnTo>
                    <a:pt x="828" y="24"/>
                  </a:lnTo>
                  <a:lnTo>
                    <a:pt x="828" y="12"/>
                  </a:lnTo>
                  <a:lnTo>
                    <a:pt x="834" y="12"/>
                  </a:lnTo>
                  <a:lnTo>
                    <a:pt x="852" y="6"/>
                  </a:lnTo>
                  <a:lnTo>
                    <a:pt x="876" y="6"/>
                  </a:lnTo>
                  <a:lnTo>
                    <a:pt x="894" y="6"/>
                  </a:lnTo>
                  <a:lnTo>
                    <a:pt x="906" y="12"/>
                  </a:lnTo>
                  <a:lnTo>
                    <a:pt x="912" y="24"/>
                  </a:lnTo>
                  <a:lnTo>
                    <a:pt x="924" y="24"/>
                  </a:lnTo>
                  <a:lnTo>
                    <a:pt x="930" y="30"/>
                  </a:lnTo>
                  <a:lnTo>
                    <a:pt x="936" y="30"/>
                  </a:lnTo>
                  <a:lnTo>
                    <a:pt x="936" y="36"/>
                  </a:lnTo>
                  <a:lnTo>
                    <a:pt x="942" y="36"/>
                  </a:lnTo>
                  <a:lnTo>
                    <a:pt x="948" y="42"/>
                  </a:lnTo>
                  <a:lnTo>
                    <a:pt x="960" y="48"/>
                  </a:lnTo>
                  <a:lnTo>
                    <a:pt x="966" y="48"/>
                  </a:lnTo>
                  <a:lnTo>
                    <a:pt x="1026" y="60"/>
                  </a:lnTo>
                  <a:lnTo>
                    <a:pt x="1050" y="60"/>
                  </a:lnTo>
                  <a:lnTo>
                    <a:pt x="1050" y="54"/>
                  </a:lnTo>
                  <a:lnTo>
                    <a:pt x="1062" y="54"/>
                  </a:lnTo>
                  <a:lnTo>
                    <a:pt x="1074" y="48"/>
                  </a:lnTo>
                  <a:lnTo>
                    <a:pt x="1086" y="42"/>
                  </a:lnTo>
                  <a:lnTo>
                    <a:pt x="1104" y="36"/>
                  </a:lnTo>
                  <a:lnTo>
                    <a:pt x="1116" y="30"/>
                  </a:lnTo>
                  <a:lnTo>
                    <a:pt x="1122" y="24"/>
                  </a:lnTo>
                  <a:lnTo>
                    <a:pt x="1128" y="18"/>
                  </a:lnTo>
                  <a:lnTo>
                    <a:pt x="1134" y="18"/>
                  </a:lnTo>
                  <a:lnTo>
                    <a:pt x="1140" y="12"/>
                  </a:lnTo>
                  <a:lnTo>
                    <a:pt x="1146" y="6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24"/>
                  </a:lnTo>
                  <a:lnTo>
                    <a:pt x="1176" y="36"/>
                  </a:lnTo>
                  <a:lnTo>
                    <a:pt x="1188" y="42"/>
                  </a:lnTo>
                  <a:lnTo>
                    <a:pt x="1200" y="54"/>
                  </a:lnTo>
                  <a:lnTo>
                    <a:pt x="1224" y="84"/>
                  </a:lnTo>
                  <a:lnTo>
                    <a:pt x="1224" y="90"/>
                  </a:lnTo>
                  <a:lnTo>
                    <a:pt x="1236" y="96"/>
                  </a:lnTo>
                  <a:lnTo>
                    <a:pt x="1236" y="108"/>
                  </a:lnTo>
                  <a:lnTo>
                    <a:pt x="1248" y="114"/>
                  </a:lnTo>
                  <a:lnTo>
                    <a:pt x="1254" y="114"/>
                  </a:lnTo>
                  <a:lnTo>
                    <a:pt x="1260" y="114"/>
                  </a:lnTo>
                  <a:lnTo>
                    <a:pt x="1296" y="114"/>
                  </a:lnTo>
                  <a:lnTo>
                    <a:pt x="1302" y="114"/>
                  </a:lnTo>
                  <a:lnTo>
                    <a:pt x="1320" y="108"/>
                  </a:lnTo>
                  <a:lnTo>
                    <a:pt x="1326" y="108"/>
                  </a:lnTo>
                  <a:lnTo>
                    <a:pt x="1326" y="138"/>
                  </a:lnTo>
                  <a:lnTo>
                    <a:pt x="1326" y="210"/>
                  </a:lnTo>
                  <a:lnTo>
                    <a:pt x="1320" y="252"/>
                  </a:lnTo>
                  <a:lnTo>
                    <a:pt x="1320" y="270"/>
                  </a:lnTo>
                  <a:lnTo>
                    <a:pt x="1320" y="288"/>
                  </a:lnTo>
                  <a:lnTo>
                    <a:pt x="1320" y="318"/>
                  </a:lnTo>
                  <a:lnTo>
                    <a:pt x="1326" y="354"/>
                  </a:lnTo>
                  <a:lnTo>
                    <a:pt x="1326" y="372"/>
                  </a:lnTo>
                  <a:lnTo>
                    <a:pt x="1332" y="420"/>
                  </a:lnTo>
                  <a:lnTo>
                    <a:pt x="1332" y="450"/>
                  </a:lnTo>
                  <a:lnTo>
                    <a:pt x="1338" y="480"/>
                  </a:lnTo>
                  <a:lnTo>
                    <a:pt x="1344" y="486"/>
                  </a:lnTo>
                  <a:lnTo>
                    <a:pt x="1338" y="492"/>
                  </a:lnTo>
                  <a:lnTo>
                    <a:pt x="1344" y="492"/>
                  </a:lnTo>
                  <a:lnTo>
                    <a:pt x="1344" y="498"/>
                  </a:lnTo>
                  <a:lnTo>
                    <a:pt x="1350" y="498"/>
                  </a:lnTo>
                  <a:lnTo>
                    <a:pt x="1350" y="522"/>
                  </a:lnTo>
                  <a:lnTo>
                    <a:pt x="1362" y="564"/>
                  </a:lnTo>
                  <a:lnTo>
                    <a:pt x="1368" y="582"/>
                  </a:lnTo>
                  <a:lnTo>
                    <a:pt x="1380" y="600"/>
                  </a:lnTo>
                  <a:lnTo>
                    <a:pt x="1386" y="636"/>
                  </a:lnTo>
                  <a:lnTo>
                    <a:pt x="1380" y="660"/>
                  </a:lnTo>
                  <a:lnTo>
                    <a:pt x="1380" y="678"/>
                  </a:lnTo>
                  <a:lnTo>
                    <a:pt x="1380" y="684"/>
                  </a:lnTo>
                  <a:lnTo>
                    <a:pt x="1374" y="684"/>
                  </a:lnTo>
                  <a:lnTo>
                    <a:pt x="1368" y="690"/>
                  </a:lnTo>
                  <a:lnTo>
                    <a:pt x="1356" y="702"/>
                  </a:lnTo>
                  <a:lnTo>
                    <a:pt x="1350" y="708"/>
                  </a:lnTo>
                  <a:lnTo>
                    <a:pt x="1356" y="714"/>
                  </a:lnTo>
                  <a:lnTo>
                    <a:pt x="1368" y="726"/>
                  </a:lnTo>
                  <a:lnTo>
                    <a:pt x="1380" y="738"/>
                  </a:lnTo>
                  <a:lnTo>
                    <a:pt x="1386" y="744"/>
                  </a:lnTo>
                  <a:lnTo>
                    <a:pt x="1392" y="744"/>
                  </a:lnTo>
                  <a:lnTo>
                    <a:pt x="1410" y="750"/>
                  </a:lnTo>
                  <a:lnTo>
                    <a:pt x="1416" y="756"/>
                  </a:lnTo>
                  <a:lnTo>
                    <a:pt x="1422" y="756"/>
                  </a:lnTo>
                  <a:lnTo>
                    <a:pt x="1422" y="762"/>
                  </a:lnTo>
                  <a:lnTo>
                    <a:pt x="1428" y="774"/>
                  </a:lnTo>
                  <a:lnTo>
                    <a:pt x="1428" y="780"/>
                  </a:lnTo>
                  <a:lnTo>
                    <a:pt x="1434" y="780"/>
                  </a:lnTo>
                  <a:lnTo>
                    <a:pt x="1440" y="798"/>
                  </a:lnTo>
                  <a:lnTo>
                    <a:pt x="1422" y="816"/>
                  </a:lnTo>
                  <a:lnTo>
                    <a:pt x="1386" y="810"/>
                  </a:lnTo>
                  <a:lnTo>
                    <a:pt x="1380" y="816"/>
                  </a:lnTo>
                  <a:lnTo>
                    <a:pt x="1374" y="840"/>
                  </a:lnTo>
                  <a:lnTo>
                    <a:pt x="1350" y="852"/>
                  </a:lnTo>
                  <a:lnTo>
                    <a:pt x="1350" y="858"/>
                  </a:lnTo>
                  <a:lnTo>
                    <a:pt x="1350" y="864"/>
                  </a:lnTo>
                  <a:lnTo>
                    <a:pt x="1344" y="864"/>
                  </a:lnTo>
                  <a:lnTo>
                    <a:pt x="1338" y="870"/>
                  </a:lnTo>
                  <a:lnTo>
                    <a:pt x="1332" y="876"/>
                  </a:lnTo>
                  <a:lnTo>
                    <a:pt x="1314" y="876"/>
                  </a:lnTo>
                  <a:lnTo>
                    <a:pt x="1314" y="870"/>
                  </a:lnTo>
                  <a:lnTo>
                    <a:pt x="1308" y="870"/>
                  </a:lnTo>
                  <a:lnTo>
                    <a:pt x="1302" y="864"/>
                  </a:lnTo>
                  <a:lnTo>
                    <a:pt x="1296" y="864"/>
                  </a:lnTo>
                  <a:lnTo>
                    <a:pt x="1284" y="870"/>
                  </a:lnTo>
                  <a:lnTo>
                    <a:pt x="1266" y="870"/>
                  </a:lnTo>
                  <a:lnTo>
                    <a:pt x="1260" y="870"/>
                  </a:lnTo>
                  <a:lnTo>
                    <a:pt x="1248" y="876"/>
                  </a:lnTo>
                  <a:lnTo>
                    <a:pt x="1236" y="876"/>
                  </a:lnTo>
                  <a:lnTo>
                    <a:pt x="1230" y="882"/>
                  </a:lnTo>
                  <a:lnTo>
                    <a:pt x="1224" y="894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18" y="942"/>
                  </a:lnTo>
                  <a:lnTo>
                    <a:pt x="1212" y="948"/>
                  </a:lnTo>
                  <a:lnTo>
                    <a:pt x="1200" y="984"/>
                  </a:lnTo>
                  <a:lnTo>
                    <a:pt x="1194" y="1008"/>
                  </a:lnTo>
                  <a:lnTo>
                    <a:pt x="1218" y="1038"/>
                  </a:lnTo>
                  <a:lnTo>
                    <a:pt x="1224" y="1044"/>
                  </a:lnTo>
                  <a:lnTo>
                    <a:pt x="1224" y="1062"/>
                  </a:lnTo>
                  <a:lnTo>
                    <a:pt x="1236" y="1080"/>
                  </a:lnTo>
                  <a:lnTo>
                    <a:pt x="1236" y="1086"/>
                  </a:lnTo>
                  <a:lnTo>
                    <a:pt x="1230" y="1092"/>
                  </a:lnTo>
                  <a:lnTo>
                    <a:pt x="1224" y="1110"/>
                  </a:lnTo>
                  <a:lnTo>
                    <a:pt x="1218" y="1122"/>
                  </a:lnTo>
                  <a:lnTo>
                    <a:pt x="1224" y="1140"/>
                  </a:lnTo>
                  <a:lnTo>
                    <a:pt x="1218" y="1146"/>
                  </a:lnTo>
                  <a:lnTo>
                    <a:pt x="1218" y="1152"/>
                  </a:lnTo>
                  <a:lnTo>
                    <a:pt x="1212" y="116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1" name="Freeform 36">
              <a:extLst>
                <a:ext uri="{FF2B5EF4-FFF2-40B4-BE49-F238E27FC236}">
                  <a16:creationId xmlns:a16="http://schemas.microsoft.com/office/drawing/2014/main" id="{B9C0D6BE-CB1C-4E69-B224-1ABF097AA8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90208" y="1647855"/>
              <a:ext cx="742415" cy="758173"/>
            </a:xfrm>
            <a:custGeom>
              <a:avLst/>
              <a:gdLst>
                <a:gd name="T0" fmla="*/ 75 w 1398"/>
                <a:gd name="T1" fmla="*/ 48 h 1428"/>
                <a:gd name="T2" fmla="*/ 68 w 1398"/>
                <a:gd name="T3" fmla="*/ 54 h 1428"/>
                <a:gd name="T4" fmla="*/ 57 w 1398"/>
                <a:gd name="T5" fmla="*/ 59 h 1428"/>
                <a:gd name="T6" fmla="*/ 55 w 1398"/>
                <a:gd name="T7" fmla="*/ 68 h 1428"/>
                <a:gd name="T8" fmla="*/ 55 w 1398"/>
                <a:gd name="T9" fmla="*/ 77 h 1428"/>
                <a:gd name="T10" fmla="*/ 57 w 1398"/>
                <a:gd name="T11" fmla="*/ 81 h 1428"/>
                <a:gd name="T12" fmla="*/ 56 w 1398"/>
                <a:gd name="T13" fmla="*/ 86 h 1428"/>
                <a:gd name="T14" fmla="*/ 57 w 1398"/>
                <a:gd name="T15" fmla="*/ 89 h 1428"/>
                <a:gd name="T16" fmla="*/ 58 w 1398"/>
                <a:gd name="T17" fmla="*/ 92 h 1428"/>
                <a:gd name="T18" fmla="*/ 58 w 1398"/>
                <a:gd name="T19" fmla="*/ 96 h 1428"/>
                <a:gd name="T20" fmla="*/ 49 w 1398"/>
                <a:gd name="T21" fmla="*/ 100 h 1428"/>
                <a:gd name="T22" fmla="*/ 47 w 1398"/>
                <a:gd name="T23" fmla="*/ 108 h 1428"/>
                <a:gd name="T24" fmla="*/ 48 w 1398"/>
                <a:gd name="T25" fmla="*/ 113 h 1428"/>
                <a:gd name="T26" fmla="*/ 43 w 1398"/>
                <a:gd name="T27" fmla="*/ 114 h 1428"/>
                <a:gd name="T28" fmla="*/ 39 w 1398"/>
                <a:gd name="T29" fmla="*/ 113 h 1428"/>
                <a:gd name="T30" fmla="*/ 33 w 1398"/>
                <a:gd name="T31" fmla="*/ 109 h 1428"/>
                <a:gd name="T32" fmla="*/ 29 w 1398"/>
                <a:gd name="T33" fmla="*/ 114 h 1428"/>
                <a:gd name="T34" fmla="*/ 22 w 1398"/>
                <a:gd name="T35" fmla="*/ 115 h 1428"/>
                <a:gd name="T36" fmla="*/ 21 w 1398"/>
                <a:gd name="T37" fmla="*/ 121 h 1428"/>
                <a:gd name="T38" fmla="*/ 12 w 1398"/>
                <a:gd name="T39" fmla="*/ 119 h 1428"/>
                <a:gd name="T40" fmla="*/ 9 w 1398"/>
                <a:gd name="T41" fmla="*/ 113 h 1428"/>
                <a:gd name="T42" fmla="*/ 2 w 1398"/>
                <a:gd name="T43" fmla="*/ 109 h 1428"/>
                <a:gd name="T44" fmla="*/ 4 w 1398"/>
                <a:gd name="T45" fmla="*/ 103 h 1428"/>
                <a:gd name="T46" fmla="*/ 2 w 1398"/>
                <a:gd name="T47" fmla="*/ 91 h 1428"/>
                <a:gd name="T48" fmla="*/ 6 w 1398"/>
                <a:gd name="T49" fmla="*/ 85 h 1428"/>
                <a:gd name="T50" fmla="*/ 10 w 1398"/>
                <a:gd name="T51" fmla="*/ 85 h 1428"/>
                <a:gd name="T52" fmla="*/ 15 w 1398"/>
                <a:gd name="T53" fmla="*/ 82 h 1428"/>
                <a:gd name="T54" fmla="*/ 20 w 1398"/>
                <a:gd name="T55" fmla="*/ 77 h 1428"/>
                <a:gd name="T56" fmla="*/ 16 w 1398"/>
                <a:gd name="T57" fmla="*/ 73 h 1428"/>
                <a:gd name="T58" fmla="*/ 16 w 1398"/>
                <a:gd name="T59" fmla="*/ 69 h 1428"/>
                <a:gd name="T60" fmla="*/ 14 w 1398"/>
                <a:gd name="T61" fmla="*/ 54 h 1428"/>
                <a:gd name="T62" fmla="*/ 12 w 1398"/>
                <a:gd name="T63" fmla="*/ 48 h 1428"/>
                <a:gd name="T64" fmla="*/ 11 w 1398"/>
                <a:gd name="T65" fmla="*/ 31 h 1428"/>
                <a:gd name="T66" fmla="*/ 14 w 1398"/>
                <a:gd name="T67" fmla="*/ 18 h 1428"/>
                <a:gd name="T68" fmla="*/ 19 w 1398"/>
                <a:gd name="T69" fmla="*/ 15 h 1428"/>
                <a:gd name="T70" fmla="*/ 26 w 1398"/>
                <a:gd name="T71" fmla="*/ 13 h 1428"/>
                <a:gd name="T72" fmla="*/ 34 w 1398"/>
                <a:gd name="T73" fmla="*/ 12 h 1428"/>
                <a:gd name="T74" fmla="*/ 39 w 1398"/>
                <a:gd name="T75" fmla="*/ 9 h 1428"/>
                <a:gd name="T76" fmla="*/ 43 w 1398"/>
                <a:gd name="T77" fmla="*/ 7 h 1428"/>
                <a:gd name="T78" fmla="*/ 48 w 1398"/>
                <a:gd name="T79" fmla="*/ 3 h 1428"/>
                <a:gd name="T80" fmla="*/ 54 w 1398"/>
                <a:gd name="T81" fmla="*/ 0 h 1428"/>
                <a:gd name="T82" fmla="*/ 58 w 1398"/>
                <a:gd name="T83" fmla="*/ 0 h 1428"/>
                <a:gd name="T84" fmla="*/ 66 w 1398"/>
                <a:gd name="T85" fmla="*/ 2 h 1428"/>
                <a:gd name="T86" fmla="*/ 70 w 1398"/>
                <a:gd name="T87" fmla="*/ 3 h 1428"/>
                <a:gd name="T88" fmla="*/ 75 w 1398"/>
                <a:gd name="T89" fmla="*/ 6 h 1428"/>
                <a:gd name="T90" fmla="*/ 80 w 1398"/>
                <a:gd name="T91" fmla="*/ 9 h 1428"/>
                <a:gd name="T92" fmla="*/ 83 w 1398"/>
                <a:gd name="T93" fmla="*/ 12 h 1428"/>
                <a:gd name="T94" fmla="*/ 87 w 1398"/>
                <a:gd name="T95" fmla="*/ 15 h 1428"/>
                <a:gd name="T96" fmla="*/ 94 w 1398"/>
                <a:gd name="T97" fmla="*/ 15 h 1428"/>
                <a:gd name="T98" fmla="*/ 99 w 1398"/>
                <a:gd name="T99" fmla="*/ 21 h 1428"/>
                <a:gd name="T100" fmla="*/ 103 w 1398"/>
                <a:gd name="T101" fmla="*/ 23 h 1428"/>
                <a:gd name="T102" fmla="*/ 110 w 1398"/>
                <a:gd name="T103" fmla="*/ 26 h 1428"/>
                <a:gd name="T104" fmla="*/ 116 w 1398"/>
                <a:gd name="T105" fmla="*/ 27 h 1428"/>
                <a:gd name="T106" fmla="*/ 120 w 1398"/>
                <a:gd name="T107" fmla="*/ 27 h 1428"/>
                <a:gd name="T108" fmla="*/ 116 w 1398"/>
                <a:gd name="T109" fmla="*/ 35 h 1428"/>
                <a:gd name="T110" fmla="*/ 104 w 1398"/>
                <a:gd name="T111" fmla="*/ 37 h 1428"/>
                <a:gd name="T112" fmla="*/ 97 w 1398"/>
                <a:gd name="T113" fmla="*/ 34 h 1428"/>
                <a:gd name="T114" fmla="*/ 91 w 1398"/>
                <a:gd name="T115" fmla="*/ 29 h 1428"/>
                <a:gd name="T116" fmla="*/ 75 w 1398"/>
                <a:gd name="T117" fmla="*/ 29 h 1428"/>
                <a:gd name="T118" fmla="*/ 72 w 1398"/>
                <a:gd name="T119" fmla="*/ 39 h 1428"/>
                <a:gd name="T120" fmla="*/ 80 w 1398"/>
                <a:gd name="T121" fmla="*/ 41 h 142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98"/>
                <a:gd name="T184" fmla="*/ 0 h 1428"/>
                <a:gd name="T185" fmla="*/ 1398 w 1398"/>
                <a:gd name="T186" fmla="*/ 1428 h 142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98" h="1428">
                  <a:moveTo>
                    <a:pt x="924" y="474"/>
                  </a:moveTo>
                  <a:lnTo>
                    <a:pt x="900" y="480"/>
                  </a:lnTo>
                  <a:lnTo>
                    <a:pt x="864" y="486"/>
                  </a:lnTo>
                  <a:lnTo>
                    <a:pt x="864" y="504"/>
                  </a:lnTo>
                  <a:lnTo>
                    <a:pt x="858" y="522"/>
                  </a:lnTo>
                  <a:lnTo>
                    <a:pt x="864" y="528"/>
                  </a:lnTo>
                  <a:lnTo>
                    <a:pt x="864" y="552"/>
                  </a:lnTo>
                  <a:lnTo>
                    <a:pt x="852" y="552"/>
                  </a:lnTo>
                  <a:lnTo>
                    <a:pt x="846" y="564"/>
                  </a:lnTo>
                  <a:lnTo>
                    <a:pt x="840" y="582"/>
                  </a:lnTo>
                  <a:lnTo>
                    <a:pt x="834" y="594"/>
                  </a:lnTo>
                  <a:lnTo>
                    <a:pt x="828" y="606"/>
                  </a:lnTo>
                  <a:lnTo>
                    <a:pt x="828" y="618"/>
                  </a:lnTo>
                  <a:lnTo>
                    <a:pt x="786" y="630"/>
                  </a:lnTo>
                  <a:lnTo>
                    <a:pt x="774" y="636"/>
                  </a:lnTo>
                  <a:lnTo>
                    <a:pt x="762" y="642"/>
                  </a:lnTo>
                  <a:lnTo>
                    <a:pt x="744" y="648"/>
                  </a:lnTo>
                  <a:lnTo>
                    <a:pt x="714" y="660"/>
                  </a:lnTo>
                  <a:lnTo>
                    <a:pt x="696" y="666"/>
                  </a:lnTo>
                  <a:lnTo>
                    <a:pt x="666" y="672"/>
                  </a:lnTo>
                  <a:lnTo>
                    <a:pt x="654" y="684"/>
                  </a:lnTo>
                  <a:lnTo>
                    <a:pt x="648" y="684"/>
                  </a:lnTo>
                  <a:lnTo>
                    <a:pt x="642" y="696"/>
                  </a:lnTo>
                  <a:lnTo>
                    <a:pt x="636" y="696"/>
                  </a:lnTo>
                  <a:lnTo>
                    <a:pt x="630" y="714"/>
                  </a:lnTo>
                  <a:lnTo>
                    <a:pt x="624" y="738"/>
                  </a:lnTo>
                  <a:lnTo>
                    <a:pt x="624" y="762"/>
                  </a:lnTo>
                  <a:lnTo>
                    <a:pt x="630" y="780"/>
                  </a:lnTo>
                  <a:lnTo>
                    <a:pt x="636" y="804"/>
                  </a:lnTo>
                  <a:lnTo>
                    <a:pt x="642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6" y="834"/>
                  </a:lnTo>
                  <a:lnTo>
                    <a:pt x="636" y="870"/>
                  </a:lnTo>
                  <a:lnTo>
                    <a:pt x="636" y="882"/>
                  </a:lnTo>
                  <a:lnTo>
                    <a:pt x="636" y="906"/>
                  </a:lnTo>
                  <a:lnTo>
                    <a:pt x="630" y="906"/>
                  </a:lnTo>
                  <a:lnTo>
                    <a:pt x="636" y="918"/>
                  </a:lnTo>
                  <a:lnTo>
                    <a:pt x="642" y="918"/>
                  </a:lnTo>
                  <a:lnTo>
                    <a:pt x="642" y="930"/>
                  </a:lnTo>
                  <a:lnTo>
                    <a:pt x="648" y="936"/>
                  </a:lnTo>
                  <a:lnTo>
                    <a:pt x="654" y="936"/>
                  </a:lnTo>
                  <a:lnTo>
                    <a:pt x="654" y="942"/>
                  </a:lnTo>
                  <a:lnTo>
                    <a:pt x="654" y="948"/>
                  </a:lnTo>
                  <a:lnTo>
                    <a:pt x="648" y="954"/>
                  </a:lnTo>
                  <a:lnTo>
                    <a:pt x="648" y="960"/>
                  </a:lnTo>
                  <a:lnTo>
                    <a:pt x="648" y="966"/>
                  </a:lnTo>
                  <a:lnTo>
                    <a:pt x="648" y="972"/>
                  </a:lnTo>
                  <a:lnTo>
                    <a:pt x="648" y="990"/>
                  </a:lnTo>
                  <a:lnTo>
                    <a:pt x="654" y="996"/>
                  </a:lnTo>
                  <a:lnTo>
                    <a:pt x="648" y="1002"/>
                  </a:lnTo>
                  <a:lnTo>
                    <a:pt x="648" y="1008"/>
                  </a:lnTo>
                  <a:lnTo>
                    <a:pt x="654" y="1014"/>
                  </a:lnTo>
                  <a:lnTo>
                    <a:pt x="654" y="1020"/>
                  </a:lnTo>
                  <a:lnTo>
                    <a:pt x="654" y="1026"/>
                  </a:lnTo>
                  <a:lnTo>
                    <a:pt x="660" y="1026"/>
                  </a:lnTo>
                  <a:lnTo>
                    <a:pt x="660" y="1032"/>
                  </a:lnTo>
                  <a:lnTo>
                    <a:pt x="660" y="1038"/>
                  </a:lnTo>
                  <a:lnTo>
                    <a:pt x="666" y="1044"/>
                  </a:lnTo>
                  <a:lnTo>
                    <a:pt x="672" y="1050"/>
                  </a:lnTo>
                  <a:lnTo>
                    <a:pt x="672" y="1056"/>
                  </a:lnTo>
                  <a:lnTo>
                    <a:pt x="672" y="1062"/>
                  </a:lnTo>
                  <a:lnTo>
                    <a:pt x="672" y="1068"/>
                  </a:lnTo>
                  <a:lnTo>
                    <a:pt x="672" y="1074"/>
                  </a:lnTo>
                  <a:lnTo>
                    <a:pt x="678" y="1074"/>
                  </a:lnTo>
                  <a:lnTo>
                    <a:pt x="678" y="1080"/>
                  </a:lnTo>
                  <a:lnTo>
                    <a:pt x="678" y="1086"/>
                  </a:lnTo>
                  <a:lnTo>
                    <a:pt x="672" y="1092"/>
                  </a:lnTo>
                  <a:lnTo>
                    <a:pt x="672" y="1098"/>
                  </a:lnTo>
                  <a:lnTo>
                    <a:pt x="672" y="1104"/>
                  </a:lnTo>
                  <a:lnTo>
                    <a:pt x="666" y="1116"/>
                  </a:lnTo>
                  <a:lnTo>
                    <a:pt x="624" y="1122"/>
                  </a:lnTo>
                  <a:lnTo>
                    <a:pt x="576" y="1134"/>
                  </a:lnTo>
                  <a:lnTo>
                    <a:pt x="570" y="1140"/>
                  </a:lnTo>
                  <a:lnTo>
                    <a:pt x="570" y="1146"/>
                  </a:lnTo>
                  <a:lnTo>
                    <a:pt x="564" y="1146"/>
                  </a:lnTo>
                  <a:lnTo>
                    <a:pt x="564" y="1152"/>
                  </a:lnTo>
                  <a:lnTo>
                    <a:pt x="564" y="1164"/>
                  </a:lnTo>
                  <a:lnTo>
                    <a:pt x="564" y="1170"/>
                  </a:lnTo>
                  <a:lnTo>
                    <a:pt x="564" y="1176"/>
                  </a:lnTo>
                  <a:lnTo>
                    <a:pt x="546" y="1176"/>
                  </a:lnTo>
                  <a:lnTo>
                    <a:pt x="540" y="1212"/>
                  </a:lnTo>
                  <a:lnTo>
                    <a:pt x="540" y="1230"/>
                  </a:lnTo>
                  <a:lnTo>
                    <a:pt x="546" y="1242"/>
                  </a:lnTo>
                  <a:lnTo>
                    <a:pt x="546" y="1254"/>
                  </a:lnTo>
                  <a:lnTo>
                    <a:pt x="558" y="1266"/>
                  </a:lnTo>
                  <a:lnTo>
                    <a:pt x="576" y="1272"/>
                  </a:lnTo>
                  <a:lnTo>
                    <a:pt x="570" y="1278"/>
                  </a:lnTo>
                  <a:lnTo>
                    <a:pt x="576" y="1284"/>
                  </a:lnTo>
                  <a:lnTo>
                    <a:pt x="570" y="1296"/>
                  </a:lnTo>
                  <a:lnTo>
                    <a:pt x="558" y="1302"/>
                  </a:lnTo>
                  <a:lnTo>
                    <a:pt x="540" y="1308"/>
                  </a:lnTo>
                  <a:lnTo>
                    <a:pt x="522" y="1314"/>
                  </a:lnTo>
                  <a:lnTo>
                    <a:pt x="516" y="1314"/>
                  </a:lnTo>
                  <a:lnTo>
                    <a:pt x="510" y="1314"/>
                  </a:lnTo>
                  <a:lnTo>
                    <a:pt x="504" y="1314"/>
                  </a:lnTo>
                  <a:lnTo>
                    <a:pt x="498" y="1320"/>
                  </a:lnTo>
                  <a:lnTo>
                    <a:pt x="492" y="1320"/>
                  </a:lnTo>
                  <a:lnTo>
                    <a:pt x="492" y="1326"/>
                  </a:lnTo>
                  <a:lnTo>
                    <a:pt x="486" y="1326"/>
                  </a:lnTo>
                  <a:lnTo>
                    <a:pt x="480" y="1326"/>
                  </a:lnTo>
                  <a:lnTo>
                    <a:pt x="480" y="1320"/>
                  </a:lnTo>
                  <a:lnTo>
                    <a:pt x="468" y="1314"/>
                  </a:lnTo>
                  <a:lnTo>
                    <a:pt x="462" y="1308"/>
                  </a:lnTo>
                  <a:lnTo>
                    <a:pt x="456" y="1302"/>
                  </a:lnTo>
                  <a:lnTo>
                    <a:pt x="444" y="1296"/>
                  </a:lnTo>
                  <a:lnTo>
                    <a:pt x="420" y="1290"/>
                  </a:lnTo>
                  <a:lnTo>
                    <a:pt x="414" y="1278"/>
                  </a:lnTo>
                  <a:lnTo>
                    <a:pt x="408" y="1278"/>
                  </a:lnTo>
                  <a:lnTo>
                    <a:pt x="408" y="1266"/>
                  </a:lnTo>
                  <a:lnTo>
                    <a:pt x="402" y="1260"/>
                  </a:lnTo>
                  <a:lnTo>
                    <a:pt x="384" y="1260"/>
                  </a:lnTo>
                  <a:lnTo>
                    <a:pt x="372" y="1266"/>
                  </a:lnTo>
                  <a:lnTo>
                    <a:pt x="360" y="1272"/>
                  </a:lnTo>
                  <a:lnTo>
                    <a:pt x="348" y="1272"/>
                  </a:lnTo>
                  <a:lnTo>
                    <a:pt x="342" y="1284"/>
                  </a:lnTo>
                  <a:lnTo>
                    <a:pt x="336" y="1290"/>
                  </a:lnTo>
                  <a:lnTo>
                    <a:pt x="336" y="1308"/>
                  </a:lnTo>
                  <a:lnTo>
                    <a:pt x="336" y="1314"/>
                  </a:lnTo>
                  <a:lnTo>
                    <a:pt x="336" y="1320"/>
                  </a:lnTo>
                  <a:lnTo>
                    <a:pt x="330" y="1326"/>
                  </a:lnTo>
                  <a:lnTo>
                    <a:pt x="330" y="1332"/>
                  </a:lnTo>
                  <a:lnTo>
                    <a:pt x="330" y="1338"/>
                  </a:lnTo>
                  <a:lnTo>
                    <a:pt x="300" y="1338"/>
                  </a:lnTo>
                  <a:lnTo>
                    <a:pt x="288" y="1338"/>
                  </a:lnTo>
                  <a:lnTo>
                    <a:pt x="258" y="1326"/>
                  </a:lnTo>
                  <a:lnTo>
                    <a:pt x="246" y="1332"/>
                  </a:lnTo>
                  <a:lnTo>
                    <a:pt x="240" y="1338"/>
                  </a:lnTo>
                  <a:lnTo>
                    <a:pt x="234" y="1338"/>
                  </a:lnTo>
                  <a:lnTo>
                    <a:pt x="228" y="1350"/>
                  </a:lnTo>
                  <a:lnTo>
                    <a:pt x="228" y="1374"/>
                  </a:lnTo>
                  <a:lnTo>
                    <a:pt x="234" y="1392"/>
                  </a:lnTo>
                  <a:lnTo>
                    <a:pt x="246" y="1398"/>
                  </a:lnTo>
                  <a:lnTo>
                    <a:pt x="246" y="1410"/>
                  </a:lnTo>
                  <a:lnTo>
                    <a:pt x="216" y="1428"/>
                  </a:lnTo>
                  <a:lnTo>
                    <a:pt x="198" y="1428"/>
                  </a:lnTo>
                  <a:lnTo>
                    <a:pt x="192" y="1422"/>
                  </a:lnTo>
                  <a:lnTo>
                    <a:pt x="174" y="1410"/>
                  </a:lnTo>
                  <a:lnTo>
                    <a:pt x="156" y="1386"/>
                  </a:lnTo>
                  <a:lnTo>
                    <a:pt x="132" y="1374"/>
                  </a:lnTo>
                  <a:lnTo>
                    <a:pt x="108" y="1368"/>
                  </a:lnTo>
                  <a:lnTo>
                    <a:pt x="84" y="1368"/>
                  </a:lnTo>
                  <a:lnTo>
                    <a:pt x="96" y="1356"/>
                  </a:lnTo>
                  <a:lnTo>
                    <a:pt x="102" y="1344"/>
                  </a:lnTo>
                  <a:lnTo>
                    <a:pt x="102" y="1332"/>
                  </a:lnTo>
                  <a:lnTo>
                    <a:pt x="108" y="1320"/>
                  </a:lnTo>
                  <a:lnTo>
                    <a:pt x="108" y="1302"/>
                  </a:lnTo>
                  <a:lnTo>
                    <a:pt x="96" y="1278"/>
                  </a:lnTo>
                  <a:lnTo>
                    <a:pt x="66" y="1284"/>
                  </a:lnTo>
                  <a:lnTo>
                    <a:pt x="54" y="1278"/>
                  </a:lnTo>
                  <a:lnTo>
                    <a:pt x="36" y="1278"/>
                  </a:lnTo>
                  <a:lnTo>
                    <a:pt x="18" y="1284"/>
                  </a:lnTo>
                  <a:lnTo>
                    <a:pt x="18" y="1272"/>
                  </a:lnTo>
                  <a:lnTo>
                    <a:pt x="24" y="1260"/>
                  </a:lnTo>
                  <a:lnTo>
                    <a:pt x="24" y="1254"/>
                  </a:lnTo>
                  <a:lnTo>
                    <a:pt x="30" y="1248"/>
                  </a:lnTo>
                  <a:lnTo>
                    <a:pt x="24" y="1230"/>
                  </a:lnTo>
                  <a:lnTo>
                    <a:pt x="30" y="1218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30" y="1170"/>
                  </a:lnTo>
                  <a:lnTo>
                    <a:pt x="30" y="1152"/>
                  </a:lnTo>
                  <a:lnTo>
                    <a:pt x="24" y="1146"/>
                  </a:lnTo>
                  <a:lnTo>
                    <a:pt x="0" y="1116"/>
                  </a:lnTo>
                  <a:lnTo>
                    <a:pt x="6" y="1092"/>
                  </a:lnTo>
                  <a:lnTo>
                    <a:pt x="18" y="1056"/>
                  </a:lnTo>
                  <a:lnTo>
                    <a:pt x="24" y="1050"/>
                  </a:lnTo>
                  <a:lnTo>
                    <a:pt x="24" y="1038"/>
                  </a:lnTo>
                  <a:lnTo>
                    <a:pt x="24" y="1026"/>
                  </a:lnTo>
                  <a:lnTo>
                    <a:pt x="30" y="1002"/>
                  </a:lnTo>
                  <a:lnTo>
                    <a:pt x="36" y="990"/>
                  </a:lnTo>
                  <a:lnTo>
                    <a:pt x="42" y="984"/>
                  </a:lnTo>
                  <a:lnTo>
                    <a:pt x="54" y="984"/>
                  </a:lnTo>
                  <a:lnTo>
                    <a:pt x="66" y="978"/>
                  </a:lnTo>
                  <a:lnTo>
                    <a:pt x="72" y="978"/>
                  </a:lnTo>
                  <a:lnTo>
                    <a:pt x="90" y="978"/>
                  </a:lnTo>
                  <a:lnTo>
                    <a:pt x="102" y="972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78"/>
                  </a:lnTo>
                  <a:lnTo>
                    <a:pt x="120" y="984"/>
                  </a:lnTo>
                  <a:lnTo>
                    <a:pt x="138" y="984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6" y="972"/>
                  </a:lnTo>
                  <a:lnTo>
                    <a:pt x="156" y="966"/>
                  </a:lnTo>
                  <a:lnTo>
                    <a:pt x="156" y="960"/>
                  </a:lnTo>
                  <a:lnTo>
                    <a:pt x="180" y="948"/>
                  </a:lnTo>
                  <a:lnTo>
                    <a:pt x="186" y="924"/>
                  </a:lnTo>
                  <a:lnTo>
                    <a:pt x="192" y="918"/>
                  </a:lnTo>
                  <a:lnTo>
                    <a:pt x="228" y="924"/>
                  </a:lnTo>
                  <a:lnTo>
                    <a:pt x="246" y="906"/>
                  </a:lnTo>
                  <a:lnTo>
                    <a:pt x="240" y="888"/>
                  </a:lnTo>
                  <a:lnTo>
                    <a:pt x="234" y="888"/>
                  </a:lnTo>
                  <a:lnTo>
                    <a:pt x="234" y="882"/>
                  </a:lnTo>
                  <a:lnTo>
                    <a:pt x="228" y="870"/>
                  </a:lnTo>
                  <a:lnTo>
                    <a:pt x="228" y="864"/>
                  </a:lnTo>
                  <a:lnTo>
                    <a:pt x="222" y="864"/>
                  </a:lnTo>
                  <a:lnTo>
                    <a:pt x="216" y="858"/>
                  </a:lnTo>
                  <a:lnTo>
                    <a:pt x="198" y="852"/>
                  </a:lnTo>
                  <a:lnTo>
                    <a:pt x="192" y="852"/>
                  </a:lnTo>
                  <a:lnTo>
                    <a:pt x="186" y="846"/>
                  </a:lnTo>
                  <a:lnTo>
                    <a:pt x="174" y="834"/>
                  </a:lnTo>
                  <a:lnTo>
                    <a:pt x="162" y="822"/>
                  </a:lnTo>
                  <a:lnTo>
                    <a:pt x="156" y="816"/>
                  </a:lnTo>
                  <a:lnTo>
                    <a:pt x="162" y="810"/>
                  </a:lnTo>
                  <a:lnTo>
                    <a:pt x="174" y="798"/>
                  </a:lnTo>
                  <a:lnTo>
                    <a:pt x="180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68"/>
                  </a:lnTo>
                  <a:lnTo>
                    <a:pt x="192" y="744"/>
                  </a:lnTo>
                  <a:lnTo>
                    <a:pt x="186" y="708"/>
                  </a:lnTo>
                  <a:lnTo>
                    <a:pt x="174" y="690"/>
                  </a:lnTo>
                  <a:lnTo>
                    <a:pt x="168" y="672"/>
                  </a:lnTo>
                  <a:lnTo>
                    <a:pt x="156" y="630"/>
                  </a:lnTo>
                  <a:lnTo>
                    <a:pt x="156" y="606"/>
                  </a:lnTo>
                  <a:lnTo>
                    <a:pt x="150" y="606"/>
                  </a:lnTo>
                  <a:lnTo>
                    <a:pt x="150" y="600"/>
                  </a:lnTo>
                  <a:lnTo>
                    <a:pt x="144" y="600"/>
                  </a:lnTo>
                  <a:lnTo>
                    <a:pt x="150" y="594"/>
                  </a:lnTo>
                  <a:lnTo>
                    <a:pt x="144" y="588"/>
                  </a:lnTo>
                  <a:lnTo>
                    <a:pt x="138" y="558"/>
                  </a:lnTo>
                  <a:lnTo>
                    <a:pt x="138" y="528"/>
                  </a:lnTo>
                  <a:lnTo>
                    <a:pt x="132" y="480"/>
                  </a:lnTo>
                  <a:lnTo>
                    <a:pt x="132" y="462"/>
                  </a:lnTo>
                  <a:lnTo>
                    <a:pt x="126" y="426"/>
                  </a:lnTo>
                  <a:lnTo>
                    <a:pt x="126" y="396"/>
                  </a:lnTo>
                  <a:lnTo>
                    <a:pt x="126" y="378"/>
                  </a:lnTo>
                  <a:lnTo>
                    <a:pt x="126" y="360"/>
                  </a:lnTo>
                  <a:lnTo>
                    <a:pt x="132" y="318"/>
                  </a:lnTo>
                  <a:lnTo>
                    <a:pt x="132" y="24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2" y="210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92" y="198"/>
                  </a:lnTo>
                  <a:lnTo>
                    <a:pt x="198" y="198"/>
                  </a:lnTo>
                  <a:lnTo>
                    <a:pt x="216" y="180"/>
                  </a:lnTo>
                  <a:lnTo>
                    <a:pt x="222" y="174"/>
                  </a:lnTo>
                  <a:lnTo>
                    <a:pt x="222" y="168"/>
                  </a:lnTo>
                  <a:lnTo>
                    <a:pt x="228" y="168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44"/>
                  </a:lnTo>
                  <a:lnTo>
                    <a:pt x="258" y="144"/>
                  </a:lnTo>
                  <a:lnTo>
                    <a:pt x="276" y="150"/>
                  </a:lnTo>
                  <a:lnTo>
                    <a:pt x="300" y="150"/>
                  </a:lnTo>
                  <a:lnTo>
                    <a:pt x="312" y="150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8" y="156"/>
                  </a:lnTo>
                  <a:lnTo>
                    <a:pt x="354" y="150"/>
                  </a:lnTo>
                  <a:lnTo>
                    <a:pt x="372" y="144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08" y="126"/>
                  </a:lnTo>
                  <a:lnTo>
                    <a:pt x="414" y="120"/>
                  </a:lnTo>
                  <a:lnTo>
                    <a:pt x="420" y="120"/>
                  </a:lnTo>
                  <a:lnTo>
                    <a:pt x="426" y="120"/>
                  </a:lnTo>
                  <a:lnTo>
                    <a:pt x="432" y="114"/>
                  </a:lnTo>
                  <a:lnTo>
                    <a:pt x="450" y="102"/>
                  </a:lnTo>
                  <a:lnTo>
                    <a:pt x="456" y="96"/>
                  </a:lnTo>
                  <a:lnTo>
                    <a:pt x="468" y="90"/>
                  </a:lnTo>
                  <a:lnTo>
                    <a:pt x="474" y="90"/>
                  </a:lnTo>
                  <a:lnTo>
                    <a:pt x="480" y="84"/>
                  </a:lnTo>
                  <a:lnTo>
                    <a:pt x="486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504" y="72"/>
                  </a:lnTo>
                  <a:lnTo>
                    <a:pt x="510" y="66"/>
                  </a:lnTo>
                  <a:lnTo>
                    <a:pt x="516" y="66"/>
                  </a:lnTo>
                  <a:lnTo>
                    <a:pt x="522" y="60"/>
                  </a:lnTo>
                  <a:lnTo>
                    <a:pt x="552" y="42"/>
                  </a:lnTo>
                  <a:lnTo>
                    <a:pt x="558" y="36"/>
                  </a:lnTo>
                  <a:lnTo>
                    <a:pt x="576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94" y="18"/>
                  </a:lnTo>
                  <a:lnTo>
                    <a:pt x="600" y="12"/>
                  </a:lnTo>
                  <a:lnTo>
                    <a:pt x="612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6"/>
                  </a:lnTo>
                  <a:lnTo>
                    <a:pt x="648" y="6"/>
                  </a:lnTo>
                  <a:lnTo>
                    <a:pt x="660" y="6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38" y="18"/>
                  </a:lnTo>
                  <a:lnTo>
                    <a:pt x="744" y="18"/>
                  </a:lnTo>
                  <a:lnTo>
                    <a:pt x="756" y="18"/>
                  </a:lnTo>
                  <a:lnTo>
                    <a:pt x="762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80" y="24"/>
                  </a:lnTo>
                  <a:lnTo>
                    <a:pt x="792" y="24"/>
                  </a:lnTo>
                  <a:lnTo>
                    <a:pt x="792" y="30"/>
                  </a:lnTo>
                  <a:lnTo>
                    <a:pt x="810" y="30"/>
                  </a:lnTo>
                  <a:lnTo>
                    <a:pt x="822" y="36"/>
                  </a:lnTo>
                  <a:lnTo>
                    <a:pt x="834" y="42"/>
                  </a:lnTo>
                  <a:lnTo>
                    <a:pt x="840" y="48"/>
                  </a:lnTo>
                  <a:lnTo>
                    <a:pt x="846" y="54"/>
                  </a:lnTo>
                  <a:lnTo>
                    <a:pt x="852" y="60"/>
                  </a:lnTo>
                  <a:lnTo>
                    <a:pt x="858" y="66"/>
                  </a:lnTo>
                  <a:lnTo>
                    <a:pt x="864" y="66"/>
                  </a:lnTo>
                  <a:lnTo>
                    <a:pt x="864" y="72"/>
                  </a:lnTo>
                  <a:lnTo>
                    <a:pt x="876" y="78"/>
                  </a:lnTo>
                  <a:lnTo>
                    <a:pt x="900" y="84"/>
                  </a:lnTo>
                  <a:lnTo>
                    <a:pt x="906" y="90"/>
                  </a:lnTo>
                  <a:lnTo>
                    <a:pt x="912" y="90"/>
                  </a:lnTo>
                  <a:lnTo>
                    <a:pt x="912" y="96"/>
                  </a:lnTo>
                  <a:lnTo>
                    <a:pt x="924" y="108"/>
                  </a:lnTo>
                  <a:lnTo>
                    <a:pt x="930" y="108"/>
                  </a:lnTo>
                  <a:lnTo>
                    <a:pt x="936" y="114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60" y="138"/>
                  </a:lnTo>
                  <a:lnTo>
                    <a:pt x="966" y="144"/>
                  </a:lnTo>
                  <a:lnTo>
                    <a:pt x="972" y="156"/>
                  </a:lnTo>
                  <a:lnTo>
                    <a:pt x="978" y="162"/>
                  </a:lnTo>
                  <a:lnTo>
                    <a:pt x="984" y="162"/>
                  </a:lnTo>
                  <a:lnTo>
                    <a:pt x="990" y="168"/>
                  </a:lnTo>
                  <a:lnTo>
                    <a:pt x="996" y="174"/>
                  </a:lnTo>
                  <a:lnTo>
                    <a:pt x="1002" y="180"/>
                  </a:lnTo>
                  <a:lnTo>
                    <a:pt x="1008" y="180"/>
                  </a:lnTo>
                  <a:lnTo>
                    <a:pt x="1020" y="180"/>
                  </a:lnTo>
                  <a:lnTo>
                    <a:pt x="1038" y="174"/>
                  </a:lnTo>
                  <a:lnTo>
                    <a:pt x="1050" y="174"/>
                  </a:lnTo>
                  <a:lnTo>
                    <a:pt x="1056" y="174"/>
                  </a:lnTo>
                  <a:lnTo>
                    <a:pt x="1068" y="180"/>
                  </a:lnTo>
                  <a:lnTo>
                    <a:pt x="1080" y="180"/>
                  </a:lnTo>
                  <a:lnTo>
                    <a:pt x="1086" y="186"/>
                  </a:lnTo>
                  <a:lnTo>
                    <a:pt x="1098" y="192"/>
                  </a:lnTo>
                  <a:lnTo>
                    <a:pt x="1116" y="204"/>
                  </a:lnTo>
                  <a:lnTo>
                    <a:pt x="1122" y="210"/>
                  </a:lnTo>
                  <a:lnTo>
                    <a:pt x="1134" y="222"/>
                  </a:lnTo>
                  <a:lnTo>
                    <a:pt x="1146" y="234"/>
                  </a:lnTo>
                  <a:lnTo>
                    <a:pt x="1146" y="240"/>
                  </a:lnTo>
                  <a:lnTo>
                    <a:pt x="1152" y="246"/>
                  </a:lnTo>
                  <a:lnTo>
                    <a:pt x="1152" y="252"/>
                  </a:lnTo>
                  <a:lnTo>
                    <a:pt x="1152" y="258"/>
                  </a:lnTo>
                  <a:lnTo>
                    <a:pt x="1164" y="258"/>
                  </a:lnTo>
                  <a:lnTo>
                    <a:pt x="1170" y="264"/>
                  </a:lnTo>
                  <a:lnTo>
                    <a:pt x="1182" y="270"/>
                  </a:lnTo>
                  <a:lnTo>
                    <a:pt x="1188" y="270"/>
                  </a:lnTo>
                  <a:lnTo>
                    <a:pt x="1194" y="270"/>
                  </a:lnTo>
                  <a:lnTo>
                    <a:pt x="1206" y="276"/>
                  </a:lnTo>
                  <a:lnTo>
                    <a:pt x="1224" y="282"/>
                  </a:lnTo>
                  <a:lnTo>
                    <a:pt x="1236" y="282"/>
                  </a:lnTo>
                  <a:lnTo>
                    <a:pt x="1242" y="288"/>
                  </a:lnTo>
                  <a:lnTo>
                    <a:pt x="1254" y="288"/>
                  </a:lnTo>
                  <a:lnTo>
                    <a:pt x="1266" y="294"/>
                  </a:lnTo>
                  <a:lnTo>
                    <a:pt x="1272" y="294"/>
                  </a:lnTo>
                  <a:lnTo>
                    <a:pt x="1284" y="300"/>
                  </a:lnTo>
                  <a:lnTo>
                    <a:pt x="1290" y="300"/>
                  </a:lnTo>
                  <a:lnTo>
                    <a:pt x="1296" y="300"/>
                  </a:lnTo>
                  <a:lnTo>
                    <a:pt x="1302" y="306"/>
                  </a:lnTo>
                  <a:lnTo>
                    <a:pt x="1326" y="312"/>
                  </a:lnTo>
                  <a:lnTo>
                    <a:pt x="1338" y="312"/>
                  </a:lnTo>
                  <a:lnTo>
                    <a:pt x="1338" y="318"/>
                  </a:lnTo>
                  <a:lnTo>
                    <a:pt x="1344" y="318"/>
                  </a:lnTo>
                  <a:lnTo>
                    <a:pt x="1350" y="318"/>
                  </a:lnTo>
                  <a:lnTo>
                    <a:pt x="1362" y="324"/>
                  </a:lnTo>
                  <a:lnTo>
                    <a:pt x="1368" y="318"/>
                  </a:lnTo>
                  <a:lnTo>
                    <a:pt x="1374" y="318"/>
                  </a:lnTo>
                  <a:lnTo>
                    <a:pt x="1386" y="318"/>
                  </a:lnTo>
                  <a:lnTo>
                    <a:pt x="1398" y="324"/>
                  </a:lnTo>
                  <a:lnTo>
                    <a:pt x="1398" y="342"/>
                  </a:lnTo>
                  <a:lnTo>
                    <a:pt x="1356" y="342"/>
                  </a:lnTo>
                  <a:lnTo>
                    <a:pt x="1350" y="348"/>
                  </a:lnTo>
                  <a:lnTo>
                    <a:pt x="1350" y="372"/>
                  </a:lnTo>
                  <a:lnTo>
                    <a:pt x="1338" y="384"/>
                  </a:lnTo>
                  <a:lnTo>
                    <a:pt x="1332" y="408"/>
                  </a:lnTo>
                  <a:lnTo>
                    <a:pt x="1320" y="420"/>
                  </a:lnTo>
                  <a:lnTo>
                    <a:pt x="1254" y="426"/>
                  </a:lnTo>
                  <a:lnTo>
                    <a:pt x="1248" y="432"/>
                  </a:lnTo>
                  <a:lnTo>
                    <a:pt x="1230" y="432"/>
                  </a:lnTo>
                  <a:lnTo>
                    <a:pt x="1212" y="432"/>
                  </a:lnTo>
                  <a:lnTo>
                    <a:pt x="1212" y="426"/>
                  </a:lnTo>
                  <a:lnTo>
                    <a:pt x="1200" y="426"/>
                  </a:lnTo>
                  <a:lnTo>
                    <a:pt x="1182" y="414"/>
                  </a:lnTo>
                  <a:lnTo>
                    <a:pt x="1182" y="420"/>
                  </a:lnTo>
                  <a:lnTo>
                    <a:pt x="1164" y="420"/>
                  </a:lnTo>
                  <a:lnTo>
                    <a:pt x="1158" y="414"/>
                  </a:lnTo>
                  <a:lnTo>
                    <a:pt x="1152" y="408"/>
                  </a:lnTo>
                  <a:lnTo>
                    <a:pt x="1146" y="402"/>
                  </a:lnTo>
                  <a:lnTo>
                    <a:pt x="1122" y="396"/>
                  </a:lnTo>
                  <a:lnTo>
                    <a:pt x="1116" y="366"/>
                  </a:lnTo>
                  <a:lnTo>
                    <a:pt x="1116" y="348"/>
                  </a:lnTo>
                  <a:lnTo>
                    <a:pt x="1110" y="342"/>
                  </a:lnTo>
                  <a:lnTo>
                    <a:pt x="1104" y="336"/>
                  </a:lnTo>
                  <a:lnTo>
                    <a:pt x="1092" y="330"/>
                  </a:lnTo>
                  <a:lnTo>
                    <a:pt x="1074" y="330"/>
                  </a:lnTo>
                  <a:lnTo>
                    <a:pt x="1044" y="330"/>
                  </a:lnTo>
                  <a:lnTo>
                    <a:pt x="1014" y="336"/>
                  </a:lnTo>
                  <a:lnTo>
                    <a:pt x="984" y="342"/>
                  </a:lnTo>
                  <a:lnTo>
                    <a:pt x="978" y="330"/>
                  </a:lnTo>
                  <a:lnTo>
                    <a:pt x="966" y="324"/>
                  </a:lnTo>
                  <a:lnTo>
                    <a:pt x="888" y="336"/>
                  </a:lnTo>
                  <a:lnTo>
                    <a:pt x="888" y="330"/>
                  </a:lnTo>
                  <a:lnTo>
                    <a:pt x="870" y="336"/>
                  </a:lnTo>
                  <a:lnTo>
                    <a:pt x="858" y="336"/>
                  </a:lnTo>
                  <a:lnTo>
                    <a:pt x="852" y="354"/>
                  </a:lnTo>
                  <a:lnTo>
                    <a:pt x="852" y="402"/>
                  </a:lnTo>
                  <a:lnTo>
                    <a:pt x="840" y="414"/>
                  </a:lnTo>
                  <a:lnTo>
                    <a:pt x="834" y="420"/>
                  </a:lnTo>
                  <a:lnTo>
                    <a:pt x="834" y="444"/>
                  </a:lnTo>
                  <a:lnTo>
                    <a:pt x="834" y="450"/>
                  </a:lnTo>
                  <a:lnTo>
                    <a:pt x="852" y="456"/>
                  </a:lnTo>
                  <a:lnTo>
                    <a:pt x="864" y="462"/>
                  </a:lnTo>
                  <a:lnTo>
                    <a:pt x="894" y="456"/>
                  </a:lnTo>
                  <a:lnTo>
                    <a:pt x="900" y="468"/>
                  </a:lnTo>
                  <a:lnTo>
                    <a:pt x="918" y="462"/>
                  </a:lnTo>
                  <a:lnTo>
                    <a:pt x="924" y="468"/>
                  </a:lnTo>
                  <a:lnTo>
                    <a:pt x="924" y="47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2" name="Freeform 37">
              <a:extLst>
                <a:ext uri="{FF2B5EF4-FFF2-40B4-BE49-F238E27FC236}">
                  <a16:creationId xmlns:a16="http://schemas.microsoft.com/office/drawing/2014/main" id="{DED8A1FF-B656-4D37-BD26-5B0A7B1A4A6D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441" y="1898343"/>
              <a:ext cx="567992" cy="686605"/>
            </a:xfrm>
            <a:custGeom>
              <a:avLst/>
              <a:gdLst>
                <a:gd name="T0" fmla="*/ 79 w 1068"/>
                <a:gd name="T1" fmla="*/ 72 h 1290"/>
                <a:gd name="T2" fmla="*/ 75 w 1068"/>
                <a:gd name="T3" fmla="*/ 73 h 1290"/>
                <a:gd name="T4" fmla="*/ 72 w 1068"/>
                <a:gd name="T5" fmla="*/ 76 h 1290"/>
                <a:gd name="T6" fmla="*/ 70 w 1068"/>
                <a:gd name="T7" fmla="*/ 78 h 1290"/>
                <a:gd name="T8" fmla="*/ 67 w 1068"/>
                <a:gd name="T9" fmla="*/ 82 h 1290"/>
                <a:gd name="T10" fmla="*/ 61 w 1068"/>
                <a:gd name="T11" fmla="*/ 86 h 1290"/>
                <a:gd name="T12" fmla="*/ 60 w 1068"/>
                <a:gd name="T13" fmla="*/ 93 h 1290"/>
                <a:gd name="T14" fmla="*/ 59 w 1068"/>
                <a:gd name="T15" fmla="*/ 97 h 1290"/>
                <a:gd name="T16" fmla="*/ 61 w 1068"/>
                <a:gd name="T17" fmla="*/ 101 h 1290"/>
                <a:gd name="T18" fmla="*/ 63 w 1068"/>
                <a:gd name="T19" fmla="*/ 104 h 1290"/>
                <a:gd name="T20" fmla="*/ 62 w 1068"/>
                <a:gd name="T21" fmla="*/ 108 h 1290"/>
                <a:gd name="T22" fmla="*/ 60 w 1068"/>
                <a:gd name="T23" fmla="*/ 111 h 1290"/>
                <a:gd name="T24" fmla="*/ 56 w 1068"/>
                <a:gd name="T25" fmla="*/ 111 h 1290"/>
                <a:gd name="T26" fmla="*/ 53 w 1068"/>
                <a:gd name="T27" fmla="*/ 110 h 1290"/>
                <a:gd name="T28" fmla="*/ 50 w 1068"/>
                <a:gd name="T29" fmla="*/ 109 h 1290"/>
                <a:gd name="T30" fmla="*/ 47 w 1068"/>
                <a:gd name="T31" fmla="*/ 110 h 1290"/>
                <a:gd name="T32" fmla="*/ 51 w 1068"/>
                <a:gd name="T33" fmla="*/ 104 h 1290"/>
                <a:gd name="T34" fmla="*/ 50 w 1068"/>
                <a:gd name="T35" fmla="*/ 95 h 1290"/>
                <a:gd name="T36" fmla="*/ 51 w 1068"/>
                <a:gd name="T37" fmla="*/ 90 h 1290"/>
                <a:gd name="T38" fmla="*/ 47 w 1068"/>
                <a:gd name="T39" fmla="*/ 84 h 1290"/>
                <a:gd name="T40" fmla="*/ 42 w 1068"/>
                <a:gd name="T41" fmla="*/ 78 h 1290"/>
                <a:gd name="T42" fmla="*/ 33 w 1068"/>
                <a:gd name="T43" fmla="*/ 73 h 1290"/>
                <a:gd name="T44" fmla="*/ 26 w 1068"/>
                <a:gd name="T45" fmla="*/ 68 h 1290"/>
                <a:gd name="T46" fmla="*/ 22 w 1068"/>
                <a:gd name="T47" fmla="*/ 63 h 1290"/>
                <a:gd name="T48" fmla="*/ 11 w 1068"/>
                <a:gd name="T49" fmla="*/ 67 h 1290"/>
                <a:gd name="T50" fmla="*/ 0 w 1068"/>
                <a:gd name="T51" fmla="*/ 68 h 1290"/>
                <a:gd name="T52" fmla="*/ 2 w 1068"/>
                <a:gd name="T53" fmla="*/ 59 h 1290"/>
                <a:gd name="T54" fmla="*/ 12 w 1068"/>
                <a:gd name="T55" fmla="*/ 55 h 1290"/>
                <a:gd name="T56" fmla="*/ 12 w 1068"/>
                <a:gd name="T57" fmla="*/ 51 h 1290"/>
                <a:gd name="T58" fmla="*/ 10 w 1068"/>
                <a:gd name="T59" fmla="*/ 47 h 1290"/>
                <a:gd name="T60" fmla="*/ 9 w 1068"/>
                <a:gd name="T61" fmla="*/ 42 h 1290"/>
                <a:gd name="T62" fmla="*/ 8 w 1068"/>
                <a:gd name="T63" fmla="*/ 38 h 1290"/>
                <a:gd name="T64" fmla="*/ 8 w 1068"/>
                <a:gd name="T65" fmla="*/ 29 h 1290"/>
                <a:gd name="T66" fmla="*/ 10 w 1068"/>
                <a:gd name="T67" fmla="*/ 18 h 1290"/>
                <a:gd name="T68" fmla="*/ 25 w 1068"/>
                <a:gd name="T69" fmla="*/ 12 h 1290"/>
                <a:gd name="T70" fmla="*/ 27 w 1068"/>
                <a:gd name="T71" fmla="*/ 4 h 1290"/>
                <a:gd name="T72" fmla="*/ 35 w 1068"/>
                <a:gd name="T73" fmla="*/ 6 h 1290"/>
                <a:gd name="T74" fmla="*/ 39 w 1068"/>
                <a:gd name="T75" fmla="*/ 8 h 1290"/>
                <a:gd name="T76" fmla="*/ 41 w 1068"/>
                <a:gd name="T77" fmla="*/ 3 h 1290"/>
                <a:gd name="T78" fmla="*/ 45 w 1068"/>
                <a:gd name="T79" fmla="*/ 0 h 1290"/>
                <a:gd name="T80" fmla="*/ 51 w 1068"/>
                <a:gd name="T81" fmla="*/ 0 h 1290"/>
                <a:gd name="T82" fmla="*/ 56 w 1068"/>
                <a:gd name="T83" fmla="*/ 4 h 1290"/>
                <a:gd name="T84" fmla="*/ 62 w 1068"/>
                <a:gd name="T85" fmla="*/ 12 h 1290"/>
                <a:gd name="T86" fmla="*/ 58 w 1068"/>
                <a:gd name="T87" fmla="*/ 17 h 1290"/>
                <a:gd name="T88" fmla="*/ 60 w 1068"/>
                <a:gd name="T89" fmla="*/ 18 h 1290"/>
                <a:gd name="T90" fmla="*/ 64 w 1068"/>
                <a:gd name="T91" fmla="*/ 16 h 1290"/>
                <a:gd name="T92" fmla="*/ 68 w 1068"/>
                <a:gd name="T93" fmla="*/ 18 h 1290"/>
                <a:gd name="T94" fmla="*/ 71 w 1068"/>
                <a:gd name="T95" fmla="*/ 27 h 1290"/>
                <a:gd name="T96" fmla="*/ 74 w 1068"/>
                <a:gd name="T97" fmla="*/ 30 h 1290"/>
                <a:gd name="T98" fmla="*/ 82 w 1068"/>
                <a:gd name="T99" fmla="*/ 30 h 1290"/>
                <a:gd name="T100" fmla="*/ 87 w 1068"/>
                <a:gd name="T101" fmla="*/ 35 h 1290"/>
                <a:gd name="T102" fmla="*/ 85 w 1068"/>
                <a:gd name="T103" fmla="*/ 42 h 1290"/>
                <a:gd name="T104" fmla="*/ 81 w 1068"/>
                <a:gd name="T105" fmla="*/ 46 h 1290"/>
                <a:gd name="T106" fmla="*/ 86 w 1068"/>
                <a:gd name="T107" fmla="*/ 50 h 1290"/>
                <a:gd name="T108" fmla="*/ 89 w 1068"/>
                <a:gd name="T109" fmla="*/ 58 h 1290"/>
                <a:gd name="T110" fmla="*/ 92 w 1068"/>
                <a:gd name="T111" fmla="*/ 61 h 1290"/>
                <a:gd name="T112" fmla="*/ 86 w 1068"/>
                <a:gd name="T113" fmla="*/ 66 h 1290"/>
                <a:gd name="T114" fmla="*/ 85 w 1068"/>
                <a:gd name="T115" fmla="*/ 70 h 129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68"/>
                <a:gd name="T175" fmla="*/ 0 h 1290"/>
                <a:gd name="T176" fmla="*/ 1068 w 1068"/>
                <a:gd name="T177" fmla="*/ 1290 h 129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68" h="1290">
                  <a:moveTo>
                    <a:pt x="978" y="804"/>
                  </a:moveTo>
                  <a:lnTo>
                    <a:pt x="972" y="810"/>
                  </a:lnTo>
                  <a:lnTo>
                    <a:pt x="966" y="810"/>
                  </a:lnTo>
                  <a:lnTo>
                    <a:pt x="966" y="816"/>
                  </a:lnTo>
                  <a:lnTo>
                    <a:pt x="936" y="828"/>
                  </a:lnTo>
                  <a:lnTo>
                    <a:pt x="924" y="822"/>
                  </a:lnTo>
                  <a:lnTo>
                    <a:pt x="912" y="822"/>
                  </a:lnTo>
                  <a:lnTo>
                    <a:pt x="906" y="828"/>
                  </a:lnTo>
                  <a:lnTo>
                    <a:pt x="900" y="828"/>
                  </a:lnTo>
                  <a:lnTo>
                    <a:pt x="900" y="822"/>
                  </a:lnTo>
                  <a:lnTo>
                    <a:pt x="894" y="822"/>
                  </a:lnTo>
                  <a:lnTo>
                    <a:pt x="888" y="828"/>
                  </a:lnTo>
                  <a:lnTo>
                    <a:pt x="882" y="834"/>
                  </a:lnTo>
                  <a:lnTo>
                    <a:pt x="876" y="834"/>
                  </a:lnTo>
                  <a:lnTo>
                    <a:pt x="870" y="840"/>
                  </a:lnTo>
                  <a:lnTo>
                    <a:pt x="864" y="840"/>
                  </a:lnTo>
                  <a:lnTo>
                    <a:pt x="864" y="846"/>
                  </a:lnTo>
                  <a:lnTo>
                    <a:pt x="858" y="846"/>
                  </a:lnTo>
                  <a:lnTo>
                    <a:pt x="852" y="846"/>
                  </a:lnTo>
                  <a:lnTo>
                    <a:pt x="852" y="858"/>
                  </a:lnTo>
                  <a:lnTo>
                    <a:pt x="846" y="864"/>
                  </a:lnTo>
                  <a:lnTo>
                    <a:pt x="840" y="870"/>
                  </a:lnTo>
                  <a:lnTo>
                    <a:pt x="834" y="870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34" y="876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10" y="894"/>
                  </a:lnTo>
                  <a:lnTo>
                    <a:pt x="810" y="900"/>
                  </a:lnTo>
                  <a:lnTo>
                    <a:pt x="804" y="900"/>
                  </a:lnTo>
                  <a:lnTo>
                    <a:pt x="798" y="900"/>
                  </a:lnTo>
                  <a:lnTo>
                    <a:pt x="798" y="906"/>
                  </a:lnTo>
                  <a:lnTo>
                    <a:pt x="792" y="906"/>
                  </a:lnTo>
                  <a:lnTo>
                    <a:pt x="792" y="912"/>
                  </a:lnTo>
                  <a:lnTo>
                    <a:pt x="792" y="924"/>
                  </a:lnTo>
                  <a:lnTo>
                    <a:pt x="786" y="930"/>
                  </a:lnTo>
                  <a:lnTo>
                    <a:pt x="774" y="942"/>
                  </a:lnTo>
                  <a:lnTo>
                    <a:pt x="774" y="948"/>
                  </a:lnTo>
                  <a:lnTo>
                    <a:pt x="768" y="954"/>
                  </a:lnTo>
                  <a:lnTo>
                    <a:pt x="762" y="954"/>
                  </a:lnTo>
                  <a:lnTo>
                    <a:pt x="750" y="972"/>
                  </a:lnTo>
                  <a:lnTo>
                    <a:pt x="720" y="978"/>
                  </a:lnTo>
                  <a:lnTo>
                    <a:pt x="714" y="978"/>
                  </a:lnTo>
                  <a:lnTo>
                    <a:pt x="708" y="978"/>
                  </a:lnTo>
                  <a:lnTo>
                    <a:pt x="702" y="990"/>
                  </a:lnTo>
                  <a:lnTo>
                    <a:pt x="696" y="990"/>
                  </a:lnTo>
                  <a:lnTo>
                    <a:pt x="696" y="1008"/>
                  </a:lnTo>
                  <a:lnTo>
                    <a:pt x="690" y="1008"/>
                  </a:lnTo>
                  <a:lnTo>
                    <a:pt x="690" y="1014"/>
                  </a:lnTo>
                  <a:lnTo>
                    <a:pt x="684" y="1032"/>
                  </a:lnTo>
                  <a:lnTo>
                    <a:pt x="690" y="1050"/>
                  </a:lnTo>
                  <a:lnTo>
                    <a:pt x="690" y="1062"/>
                  </a:lnTo>
                  <a:lnTo>
                    <a:pt x="690" y="1068"/>
                  </a:lnTo>
                  <a:lnTo>
                    <a:pt x="690" y="1074"/>
                  </a:lnTo>
                  <a:lnTo>
                    <a:pt x="684" y="1074"/>
                  </a:lnTo>
                  <a:lnTo>
                    <a:pt x="684" y="1080"/>
                  </a:lnTo>
                  <a:lnTo>
                    <a:pt x="678" y="1086"/>
                  </a:lnTo>
                  <a:lnTo>
                    <a:pt x="678" y="1104"/>
                  </a:lnTo>
                  <a:lnTo>
                    <a:pt x="678" y="1110"/>
                  </a:lnTo>
                  <a:lnTo>
                    <a:pt x="678" y="1116"/>
                  </a:lnTo>
                  <a:lnTo>
                    <a:pt x="684" y="1116"/>
                  </a:lnTo>
                  <a:lnTo>
                    <a:pt x="678" y="1128"/>
                  </a:lnTo>
                  <a:lnTo>
                    <a:pt x="684" y="1128"/>
                  </a:lnTo>
                  <a:lnTo>
                    <a:pt x="690" y="1134"/>
                  </a:lnTo>
                  <a:lnTo>
                    <a:pt x="690" y="1140"/>
                  </a:lnTo>
                  <a:lnTo>
                    <a:pt x="696" y="1140"/>
                  </a:lnTo>
                  <a:lnTo>
                    <a:pt x="696" y="1146"/>
                  </a:lnTo>
                  <a:lnTo>
                    <a:pt x="696" y="1152"/>
                  </a:lnTo>
                  <a:lnTo>
                    <a:pt x="702" y="1152"/>
                  </a:lnTo>
                  <a:lnTo>
                    <a:pt x="708" y="1152"/>
                  </a:lnTo>
                  <a:lnTo>
                    <a:pt x="714" y="1158"/>
                  </a:lnTo>
                  <a:lnTo>
                    <a:pt x="714" y="1164"/>
                  </a:lnTo>
                  <a:lnTo>
                    <a:pt x="720" y="1170"/>
                  </a:lnTo>
                  <a:lnTo>
                    <a:pt x="720" y="1176"/>
                  </a:lnTo>
                  <a:lnTo>
                    <a:pt x="720" y="1182"/>
                  </a:lnTo>
                  <a:lnTo>
                    <a:pt x="726" y="1188"/>
                  </a:lnTo>
                  <a:lnTo>
                    <a:pt x="726" y="1194"/>
                  </a:lnTo>
                  <a:lnTo>
                    <a:pt x="732" y="1194"/>
                  </a:lnTo>
                  <a:lnTo>
                    <a:pt x="732" y="1200"/>
                  </a:lnTo>
                  <a:lnTo>
                    <a:pt x="738" y="1212"/>
                  </a:lnTo>
                  <a:lnTo>
                    <a:pt x="732" y="1218"/>
                  </a:lnTo>
                  <a:lnTo>
                    <a:pt x="732" y="1224"/>
                  </a:lnTo>
                  <a:lnTo>
                    <a:pt x="726" y="1230"/>
                  </a:lnTo>
                  <a:lnTo>
                    <a:pt x="720" y="1230"/>
                  </a:lnTo>
                  <a:lnTo>
                    <a:pt x="720" y="1236"/>
                  </a:lnTo>
                  <a:lnTo>
                    <a:pt x="720" y="1242"/>
                  </a:lnTo>
                  <a:lnTo>
                    <a:pt x="720" y="1248"/>
                  </a:lnTo>
                  <a:lnTo>
                    <a:pt x="714" y="1248"/>
                  </a:lnTo>
                  <a:lnTo>
                    <a:pt x="714" y="1254"/>
                  </a:lnTo>
                  <a:lnTo>
                    <a:pt x="708" y="1260"/>
                  </a:lnTo>
                  <a:lnTo>
                    <a:pt x="702" y="1272"/>
                  </a:lnTo>
                  <a:lnTo>
                    <a:pt x="696" y="1272"/>
                  </a:lnTo>
                  <a:lnTo>
                    <a:pt x="696" y="1278"/>
                  </a:lnTo>
                  <a:lnTo>
                    <a:pt x="690" y="1284"/>
                  </a:lnTo>
                  <a:lnTo>
                    <a:pt x="690" y="1290"/>
                  </a:lnTo>
                  <a:lnTo>
                    <a:pt x="684" y="1290"/>
                  </a:lnTo>
                  <a:lnTo>
                    <a:pt x="660" y="1284"/>
                  </a:lnTo>
                  <a:lnTo>
                    <a:pt x="660" y="1278"/>
                  </a:lnTo>
                  <a:lnTo>
                    <a:pt x="654" y="1272"/>
                  </a:lnTo>
                  <a:lnTo>
                    <a:pt x="648" y="1272"/>
                  </a:lnTo>
                  <a:lnTo>
                    <a:pt x="642" y="1272"/>
                  </a:lnTo>
                  <a:lnTo>
                    <a:pt x="642" y="1266"/>
                  </a:lnTo>
                  <a:lnTo>
                    <a:pt x="636" y="1266"/>
                  </a:lnTo>
                  <a:lnTo>
                    <a:pt x="630" y="1266"/>
                  </a:lnTo>
                  <a:lnTo>
                    <a:pt x="624" y="1266"/>
                  </a:lnTo>
                  <a:lnTo>
                    <a:pt x="624" y="1260"/>
                  </a:lnTo>
                  <a:lnTo>
                    <a:pt x="618" y="1260"/>
                  </a:lnTo>
                  <a:lnTo>
                    <a:pt x="612" y="1260"/>
                  </a:lnTo>
                  <a:lnTo>
                    <a:pt x="606" y="1260"/>
                  </a:lnTo>
                  <a:lnTo>
                    <a:pt x="600" y="1260"/>
                  </a:lnTo>
                  <a:lnTo>
                    <a:pt x="600" y="1254"/>
                  </a:lnTo>
                  <a:lnTo>
                    <a:pt x="594" y="1254"/>
                  </a:lnTo>
                  <a:lnTo>
                    <a:pt x="588" y="1248"/>
                  </a:lnTo>
                  <a:lnTo>
                    <a:pt x="588" y="1254"/>
                  </a:lnTo>
                  <a:lnTo>
                    <a:pt x="582" y="1254"/>
                  </a:lnTo>
                  <a:lnTo>
                    <a:pt x="582" y="1248"/>
                  </a:lnTo>
                  <a:lnTo>
                    <a:pt x="576" y="1248"/>
                  </a:lnTo>
                  <a:lnTo>
                    <a:pt x="576" y="1254"/>
                  </a:lnTo>
                  <a:lnTo>
                    <a:pt x="570" y="1248"/>
                  </a:lnTo>
                  <a:lnTo>
                    <a:pt x="564" y="1248"/>
                  </a:lnTo>
                  <a:lnTo>
                    <a:pt x="564" y="1254"/>
                  </a:lnTo>
                  <a:lnTo>
                    <a:pt x="558" y="1254"/>
                  </a:lnTo>
                  <a:lnTo>
                    <a:pt x="552" y="1254"/>
                  </a:lnTo>
                  <a:lnTo>
                    <a:pt x="552" y="1260"/>
                  </a:lnTo>
                  <a:lnTo>
                    <a:pt x="546" y="1260"/>
                  </a:lnTo>
                  <a:lnTo>
                    <a:pt x="540" y="1260"/>
                  </a:lnTo>
                  <a:lnTo>
                    <a:pt x="540" y="1254"/>
                  </a:lnTo>
                  <a:lnTo>
                    <a:pt x="534" y="1254"/>
                  </a:lnTo>
                  <a:lnTo>
                    <a:pt x="528" y="1224"/>
                  </a:lnTo>
                  <a:lnTo>
                    <a:pt x="534" y="1212"/>
                  </a:lnTo>
                  <a:lnTo>
                    <a:pt x="546" y="1206"/>
                  </a:lnTo>
                  <a:lnTo>
                    <a:pt x="582" y="1206"/>
                  </a:lnTo>
                  <a:lnTo>
                    <a:pt x="588" y="1188"/>
                  </a:lnTo>
                  <a:lnTo>
                    <a:pt x="582" y="1188"/>
                  </a:lnTo>
                  <a:lnTo>
                    <a:pt x="582" y="1182"/>
                  </a:lnTo>
                  <a:lnTo>
                    <a:pt x="576" y="1176"/>
                  </a:lnTo>
                  <a:lnTo>
                    <a:pt x="558" y="1128"/>
                  </a:lnTo>
                  <a:lnTo>
                    <a:pt x="558" y="1122"/>
                  </a:lnTo>
                  <a:lnTo>
                    <a:pt x="576" y="1098"/>
                  </a:lnTo>
                  <a:lnTo>
                    <a:pt x="576" y="1092"/>
                  </a:lnTo>
                  <a:lnTo>
                    <a:pt x="582" y="1092"/>
                  </a:lnTo>
                  <a:lnTo>
                    <a:pt x="582" y="1086"/>
                  </a:lnTo>
                  <a:lnTo>
                    <a:pt x="582" y="1080"/>
                  </a:lnTo>
                  <a:lnTo>
                    <a:pt x="582" y="1074"/>
                  </a:lnTo>
                  <a:lnTo>
                    <a:pt x="588" y="1074"/>
                  </a:lnTo>
                  <a:lnTo>
                    <a:pt x="588" y="1062"/>
                  </a:lnTo>
                  <a:lnTo>
                    <a:pt x="588" y="1056"/>
                  </a:lnTo>
                  <a:lnTo>
                    <a:pt x="588" y="1044"/>
                  </a:lnTo>
                  <a:lnTo>
                    <a:pt x="588" y="1038"/>
                  </a:lnTo>
                  <a:lnTo>
                    <a:pt x="588" y="1032"/>
                  </a:lnTo>
                  <a:lnTo>
                    <a:pt x="582" y="1026"/>
                  </a:lnTo>
                  <a:lnTo>
                    <a:pt x="582" y="1020"/>
                  </a:lnTo>
                  <a:lnTo>
                    <a:pt x="582" y="1008"/>
                  </a:lnTo>
                  <a:lnTo>
                    <a:pt x="576" y="990"/>
                  </a:lnTo>
                  <a:lnTo>
                    <a:pt x="570" y="972"/>
                  </a:lnTo>
                  <a:lnTo>
                    <a:pt x="552" y="972"/>
                  </a:lnTo>
                  <a:lnTo>
                    <a:pt x="540" y="960"/>
                  </a:lnTo>
                  <a:lnTo>
                    <a:pt x="534" y="954"/>
                  </a:lnTo>
                  <a:lnTo>
                    <a:pt x="534" y="948"/>
                  </a:lnTo>
                  <a:lnTo>
                    <a:pt x="516" y="948"/>
                  </a:lnTo>
                  <a:lnTo>
                    <a:pt x="522" y="936"/>
                  </a:lnTo>
                  <a:lnTo>
                    <a:pt x="522" y="930"/>
                  </a:lnTo>
                  <a:lnTo>
                    <a:pt x="504" y="918"/>
                  </a:lnTo>
                  <a:lnTo>
                    <a:pt x="492" y="906"/>
                  </a:lnTo>
                  <a:lnTo>
                    <a:pt x="486" y="894"/>
                  </a:lnTo>
                  <a:lnTo>
                    <a:pt x="468" y="876"/>
                  </a:lnTo>
                  <a:lnTo>
                    <a:pt x="450" y="876"/>
                  </a:lnTo>
                  <a:lnTo>
                    <a:pt x="414" y="882"/>
                  </a:lnTo>
                  <a:lnTo>
                    <a:pt x="402" y="870"/>
                  </a:lnTo>
                  <a:lnTo>
                    <a:pt x="390" y="864"/>
                  </a:lnTo>
                  <a:lnTo>
                    <a:pt x="384" y="852"/>
                  </a:lnTo>
                  <a:lnTo>
                    <a:pt x="378" y="840"/>
                  </a:lnTo>
                  <a:lnTo>
                    <a:pt x="378" y="834"/>
                  </a:lnTo>
                  <a:lnTo>
                    <a:pt x="360" y="822"/>
                  </a:lnTo>
                  <a:lnTo>
                    <a:pt x="342" y="828"/>
                  </a:lnTo>
                  <a:lnTo>
                    <a:pt x="324" y="816"/>
                  </a:lnTo>
                  <a:lnTo>
                    <a:pt x="318" y="816"/>
                  </a:lnTo>
                  <a:lnTo>
                    <a:pt x="306" y="810"/>
                  </a:lnTo>
                  <a:lnTo>
                    <a:pt x="306" y="804"/>
                  </a:lnTo>
                  <a:lnTo>
                    <a:pt x="300" y="804"/>
                  </a:lnTo>
                  <a:lnTo>
                    <a:pt x="300" y="780"/>
                  </a:lnTo>
                  <a:lnTo>
                    <a:pt x="300" y="774"/>
                  </a:lnTo>
                  <a:lnTo>
                    <a:pt x="306" y="774"/>
                  </a:lnTo>
                  <a:lnTo>
                    <a:pt x="312" y="756"/>
                  </a:lnTo>
                  <a:lnTo>
                    <a:pt x="312" y="732"/>
                  </a:lnTo>
                  <a:lnTo>
                    <a:pt x="300" y="720"/>
                  </a:lnTo>
                  <a:lnTo>
                    <a:pt x="288" y="702"/>
                  </a:lnTo>
                  <a:lnTo>
                    <a:pt x="276" y="702"/>
                  </a:lnTo>
                  <a:lnTo>
                    <a:pt x="258" y="714"/>
                  </a:lnTo>
                  <a:lnTo>
                    <a:pt x="246" y="726"/>
                  </a:lnTo>
                  <a:lnTo>
                    <a:pt x="222" y="726"/>
                  </a:lnTo>
                  <a:lnTo>
                    <a:pt x="192" y="726"/>
                  </a:lnTo>
                  <a:lnTo>
                    <a:pt x="174" y="738"/>
                  </a:lnTo>
                  <a:lnTo>
                    <a:pt x="162" y="750"/>
                  </a:lnTo>
                  <a:lnTo>
                    <a:pt x="144" y="762"/>
                  </a:lnTo>
                  <a:lnTo>
                    <a:pt x="138" y="768"/>
                  </a:lnTo>
                  <a:lnTo>
                    <a:pt x="126" y="774"/>
                  </a:lnTo>
                  <a:lnTo>
                    <a:pt x="114" y="780"/>
                  </a:lnTo>
                  <a:lnTo>
                    <a:pt x="108" y="786"/>
                  </a:lnTo>
                  <a:lnTo>
                    <a:pt x="102" y="786"/>
                  </a:lnTo>
                  <a:lnTo>
                    <a:pt x="54" y="786"/>
                  </a:lnTo>
                  <a:lnTo>
                    <a:pt x="48" y="792"/>
                  </a:lnTo>
                  <a:lnTo>
                    <a:pt x="36" y="798"/>
                  </a:lnTo>
                  <a:lnTo>
                    <a:pt x="18" y="792"/>
                  </a:lnTo>
                  <a:lnTo>
                    <a:pt x="6" y="780"/>
                  </a:lnTo>
                  <a:lnTo>
                    <a:pt x="6" y="768"/>
                  </a:lnTo>
                  <a:lnTo>
                    <a:pt x="0" y="756"/>
                  </a:lnTo>
                  <a:lnTo>
                    <a:pt x="0" y="738"/>
                  </a:lnTo>
                  <a:lnTo>
                    <a:pt x="6" y="702"/>
                  </a:lnTo>
                  <a:lnTo>
                    <a:pt x="24" y="702"/>
                  </a:lnTo>
                  <a:lnTo>
                    <a:pt x="24" y="696"/>
                  </a:lnTo>
                  <a:lnTo>
                    <a:pt x="24" y="690"/>
                  </a:lnTo>
                  <a:lnTo>
                    <a:pt x="24" y="678"/>
                  </a:lnTo>
                  <a:lnTo>
                    <a:pt x="24" y="672"/>
                  </a:lnTo>
                  <a:lnTo>
                    <a:pt x="30" y="672"/>
                  </a:lnTo>
                  <a:lnTo>
                    <a:pt x="30" y="666"/>
                  </a:lnTo>
                  <a:lnTo>
                    <a:pt x="36" y="660"/>
                  </a:lnTo>
                  <a:lnTo>
                    <a:pt x="84" y="648"/>
                  </a:lnTo>
                  <a:lnTo>
                    <a:pt x="126" y="642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32" y="618"/>
                  </a:lnTo>
                  <a:lnTo>
                    <a:pt x="138" y="612"/>
                  </a:lnTo>
                  <a:lnTo>
                    <a:pt x="138" y="606"/>
                  </a:lnTo>
                  <a:lnTo>
                    <a:pt x="138" y="600"/>
                  </a:lnTo>
                  <a:lnTo>
                    <a:pt x="132" y="600"/>
                  </a:lnTo>
                  <a:lnTo>
                    <a:pt x="132" y="594"/>
                  </a:lnTo>
                  <a:lnTo>
                    <a:pt x="132" y="588"/>
                  </a:lnTo>
                  <a:lnTo>
                    <a:pt x="132" y="582"/>
                  </a:lnTo>
                  <a:lnTo>
                    <a:pt x="132" y="576"/>
                  </a:lnTo>
                  <a:lnTo>
                    <a:pt x="126" y="570"/>
                  </a:lnTo>
                  <a:lnTo>
                    <a:pt x="120" y="564"/>
                  </a:lnTo>
                  <a:lnTo>
                    <a:pt x="120" y="558"/>
                  </a:lnTo>
                  <a:lnTo>
                    <a:pt x="120" y="552"/>
                  </a:lnTo>
                  <a:lnTo>
                    <a:pt x="114" y="552"/>
                  </a:lnTo>
                  <a:lnTo>
                    <a:pt x="114" y="546"/>
                  </a:lnTo>
                  <a:lnTo>
                    <a:pt x="114" y="540"/>
                  </a:lnTo>
                  <a:lnTo>
                    <a:pt x="108" y="534"/>
                  </a:lnTo>
                  <a:lnTo>
                    <a:pt x="108" y="528"/>
                  </a:lnTo>
                  <a:lnTo>
                    <a:pt x="114" y="522"/>
                  </a:lnTo>
                  <a:lnTo>
                    <a:pt x="108" y="516"/>
                  </a:lnTo>
                  <a:lnTo>
                    <a:pt x="108" y="498"/>
                  </a:lnTo>
                  <a:lnTo>
                    <a:pt x="108" y="492"/>
                  </a:lnTo>
                  <a:lnTo>
                    <a:pt x="108" y="486"/>
                  </a:lnTo>
                  <a:lnTo>
                    <a:pt x="108" y="480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08" y="462"/>
                  </a:lnTo>
                  <a:lnTo>
                    <a:pt x="102" y="456"/>
                  </a:lnTo>
                  <a:lnTo>
                    <a:pt x="102" y="444"/>
                  </a:lnTo>
                  <a:lnTo>
                    <a:pt x="96" y="444"/>
                  </a:lnTo>
                  <a:lnTo>
                    <a:pt x="90" y="432"/>
                  </a:lnTo>
                  <a:lnTo>
                    <a:pt x="96" y="432"/>
                  </a:lnTo>
                  <a:lnTo>
                    <a:pt x="96" y="408"/>
                  </a:lnTo>
                  <a:lnTo>
                    <a:pt x="96" y="396"/>
                  </a:lnTo>
                  <a:lnTo>
                    <a:pt x="96" y="360"/>
                  </a:lnTo>
                  <a:lnTo>
                    <a:pt x="96" y="354"/>
                  </a:lnTo>
                  <a:lnTo>
                    <a:pt x="102" y="354"/>
                  </a:lnTo>
                  <a:lnTo>
                    <a:pt x="102" y="348"/>
                  </a:lnTo>
                  <a:lnTo>
                    <a:pt x="96" y="330"/>
                  </a:lnTo>
                  <a:lnTo>
                    <a:pt x="90" y="306"/>
                  </a:lnTo>
                  <a:lnTo>
                    <a:pt x="84" y="288"/>
                  </a:lnTo>
                  <a:lnTo>
                    <a:pt x="84" y="264"/>
                  </a:lnTo>
                  <a:lnTo>
                    <a:pt x="90" y="240"/>
                  </a:lnTo>
                  <a:lnTo>
                    <a:pt x="96" y="222"/>
                  </a:lnTo>
                  <a:lnTo>
                    <a:pt x="102" y="222"/>
                  </a:lnTo>
                  <a:lnTo>
                    <a:pt x="108" y="210"/>
                  </a:lnTo>
                  <a:lnTo>
                    <a:pt x="114" y="210"/>
                  </a:lnTo>
                  <a:lnTo>
                    <a:pt x="126" y="198"/>
                  </a:lnTo>
                  <a:lnTo>
                    <a:pt x="156" y="192"/>
                  </a:lnTo>
                  <a:lnTo>
                    <a:pt x="174" y="186"/>
                  </a:lnTo>
                  <a:lnTo>
                    <a:pt x="204" y="174"/>
                  </a:lnTo>
                  <a:lnTo>
                    <a:pt x="222" y="168"/>
                  </a:lnTo>
                  <a:lnTo>
                    <a:pt x="234" y="162"/>
                  </a:lnTo>
                  <a:lnTo>
                    <a:pt x="246" y="156"/>
                  </a:lnTo>
                  <a:lnTo>
                    <a:pt x="288" y="144"/>
                  </a:lnTo>
                  <a:lnTo>
                    <a:pt x="288" y="132"/>
                  </a:lnTo>
                  <a:lnTo>
                    <a:pt x="294" y="120"/>
                  </a:lnTo>
                  <a:lnTo>
                    <a:pt x="300" y="108"/>
                  </a:lnTo>
                  <a:lnTo>
                    <a:pt x="306" y="90"/>
                  </a:lnTo>
                  <a:lnTo>
                    <a:pt x="312" y="78"/>
                  </a:lnTo>
                  <a:lnTo>
                    <a:pt x="324" y="78"/>
                  </a:lnTo>
                  <a:lnTo>
                    <a:pt x="324" y="54"/>
                  </a:lnTo>
                  <a:lnTo>
                    <a:pt x="318" y="48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60" y="6"/>
                  </a:lnTo>
                  <a:lnTo>
                    <a:pt x="384" y="0"/>
                  </a:lnTo>
                  <a:lnTo>
                    <a:pt x="390" y="6"/>
                  </a:lnTo>
                  <a:lnTo>
                    <a:pt x="390" y="18"/>
                  </a:lnTo>
                  <a:lnTo>
                    <a:pt x="390" y="54"/>
                  </a:lnTo>
                  <a:lnTo>
                    <a:pt x="396" y="66"/>
                  </a:lnTo>
                  <a:lnTo>
                    <a:pt x="414" y="84"/>
                  </a:lnTo>
                  <a:lnTo>
                    <a:pt x="426" y="90"/>
                  </a:lnTo>
                  <a:lnTo>
                    <a:pt x="432" y="96"/>
                  </a:lnTo>
                  <a:lnTo>
                    <a:pt x="426" y="102"/>
                  </a:lnTo>
                  <a:lnTo>
                    <a:pt x="438" y="102"/>
                  </a:lnTo>
                  <a:lnTo>
                    <a:pt x="444" y="108"/>
                  </a:lnTo>
                  <a:lnTo>
                    <a:pt x="444" y="102"/>
                  </a:lnTo>
                  <a:lnTo>
                    <a:pt x="450" y="90"/>
                  </a:lnTo>
                  <a:lnTo>
                    <a:pt x="450" y="84"/>
                  </a:lnTo>
                  <a:lnTo>
                    <a:pt x="450" y="78"/>
                  </a:lnTo>
                  <a:lnTo>
                    <a:pt x="456" y="72"/>
                  </a:lnTo>
                  <a:lnTo>
                    <a:pt x="462" y="66"/>
                  </a:lnTo>
                  <a:lnTo>
                    <a:pt x="462" y="60"/>
                  </a:lnTo>
                  <a:lnTo>
                    <a:pt x="462" y="54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74" y="24"/>
                  </a:lnTo>
                  <a:lnTo>
                    <a:pt x="480" y="18"/>
                  </a:lnTo>
                  <a:lnTo>
                    <a:pt x="486" y="12"/>
                  </a:lnTo>
                  <a:lnTo>
                    <a:pt x="492" y="12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2" y="6"/>
                  </a:lnTo>
                  <a:lnTo>
                    <a:pt x="534" y="6"/>
                  </a:lnTo>
                  <a:lnTo>
                    <a:pt x="540" y="6"/>
                  </a:lnTo>
                  <a:lnTo>
                    <a:pt x="546" y="6"/>
                  </a:lnTo>
                  <a:lnTo>
                    <a:pt x="564" y="0"/>
                  </a:lnTo>
                  <a:lnTo>
                    <a:pt x="570" y="0"/>
                  </a:lnTo>
                  <a:lnTo>
                    <a:pt x="576" y="6"/>
                  </a:lnTo>
                  <a:lnTo>
                    <a:pt x="582" y="6"/>
                  </a:lnTo>
                  <a:lnTo>
                    <a:pt x="594" y="6"/>
                  </a:lnTo>
                  <a:lnTo>
                    <a:pt x="600" y="6"/>
                  </a:lnTo>
                  <a:lnTo>
                    <a:pt x="606" y="6"/>
                  </a:lnTo>
                  <a:lnTo>
                    <a:pt x="624" y="0"/>
                  </a:lnTo>
                  <a:lnTo>
                    <a:pt x="636" y="0"/>
                  </a:lnTo>
                  <a:lnTo>
                    <a:pt x="636" y="6"/>
                  </a:lnTo>
                  <a:lnTo>
                    <a:pt x="654" y="18"/>
                  </a:lnTo>
                  <a:lnTo>
                    <a:pt x="654" y="30"/>
                  </a:lnTo>
                  <a:lnTo>
                    <a:pt x="642" y="42"/>
                  </a:lnTo>
                  <a:lnTo>
                    <a:pt x="630" y="66"/>
                  </a:lnTo>
                  <a:lnTo>
                    <a:pt x="636" y="84"/>
                  </a:lnTo>
                  <a:lnTo>
                    <a:pt x="636" y="96"/>
                  </a:lnTo>
                  <a:lnTo>
                    <a:pt x="648" y="102"/>
                  </a:lnTo>
                  <a:lnTo>
                    <a:pt x="672" y="114"/>
                  </a:lnTo>
                  <a:lnTo>
                    <a:pt x="702" y="120"/>
                  </a:lnTo>
                  <a:lnTo>
                    <a:pt x="714" y="126"/>
                  </a:lnTo>
                  <a:lnTo>
                    <a:pt x="720" y="144"/>
                  </a:lnTo>
                  <a:lnTo>
                    <a:pt x="720" y="156"/>
                  </a:lnTo>
                  <a:lnTo>
                    <a:pt x="708" y="156"/>
                  </a:lnTo>
                  <a:lnTo>
                    <a:pt x="702" y="162"/>
                  </a:lnTo>
                  <a:lnTo>
                    <a:pt x="702" y="174"/>
                  </a:lnTo>
                  <a:lnTo>
                    <a:pt x="696" y="174"/>
                  </a:lnTo>
                  <a:lnTo>
                    <a:pt x="690" y="180"/>
                  </a:lnTo>
                  <a:lnTo>
                    <a:pt x="678" y="186"/>
                  </a:lnTo>
                  <a:lnTo>
                    <a:pt x="672" y="192"/>
                  </a:lnTo>
                  <a:lnTo>
                    <a:pt x="654" y="210"/>
                  </a:lnTo>
                  <a:lnTo>
                    <a:pt x="654" y="216"/>
                  </a:lnTo>
                  <a:lnTo>
                    <a:pt x="648" y="246"/>
                  </a:lnTo>
                  <a:lnTo>
                    <a:pt x="660" y="246"/>
                  </a:lnTo>
                  <a:lnTo>
                    <a:pt x="666" y="234"/>
                  </a:lnTo>
                  <a:lnTo>
                    <a:pt x="678" y="240"/>
                  </a:lnTo>
                  <a:lnTo>
                    <a:pt x="684" y="228"/>
                  </a:lnTo>
                  <a:lnTo>
                    <a:pt x="690" y="210"/>
                  </a:lnTo>
                  <a:lnTo>
                    <a:pt x="696" y="204"/>
                  </a:lnTo>
                  <a:lnTo>
                    <a:pt x="702" y="204"/>
                  </a:lnTo>
                  <a:lnTo>
                    <a:pt x="708" y="192"/>
                  </a:lnTo>
                  <a:lnTo>
                    <a:pt x="714" y="192"/>
                  </a:lnTo>
                  <a:lnTo>
                    <a:pt x="714" y="186"/>
                  </a:lnTo>
                  <a:lnTo>
                    <a:pt x="726" y="186"/>
                  </a:lnTo>
                  <a:lnTo>
                    <a:pt x="732" y="186"/>
                  </a:lnTo>
                  <a:lnTo>
                    <a:pt x="738" y="186"/>
                  </a:lnTo>
                  <a:lnTo>
                    <a:pt x="744" y="216"/>
                  </a:lnTo>
                  <a:lnTo>
                    <a:pt x="750" y="210"/>
                  </a:lnTo>
                  <a:lnTo>
                    <a:pt x="750" y="204"/>
                  </a:lnTo>
                  <a:lnTo>
                    <a:pt x="756" y="192"/>
                  </a:lnTo>
                  <a:lnTo>
                    <a:pt x="762" y="192"/>
                  </a:lnTo>
                  <a:lnTo>
                    <a:pt x="768" y="192"/>
                  </a:lnTo>
                  <a:lnTo>
                    <a:pt x="780" y="186"/>
                  </a:lnTo>
                  <a:lnTo>
                    <a:pt x="786" y="204"/>
                  </a:lnTo>
                  <a:lnTo>
                    <a:pt x="774" y="210"/>
                  </a:lnTo>
                  <a:lnTo>
                    <a:pt x="774" y="234"/>
                  </a:lnTo>
                  <a:lnTo>
                    <a:pt x="780" y="246"/>
                  </a:lnTo>
                  <a:lnTo>
                    <a:pt x="804" y="264"/>
                  </a:lnTo>
                  <a:lnTo>
                    <a:pt x="816" y="276"/>
                  </a:lnTo>
                  <a:lnTo>
                    <a:pt x="822" y="288"/>
                  </a:lnTo>
                  <a:lnTo>
                    <a:pt x="822" y="312"/>
                  </a:lnTo>
                  <a:lnTo>
                    <a:pt x="816" y="312"/>
                  </a:lnTo>
                  <a:lnTo>
                    <a:pt x="810" y="318"/>
                  </a:lnTo>
                  <a:lnTo>
                    <a:pt x="810" y="348"/>
                  </a:lnTo>
                  <a:lnTo>
                    <a:pt x="816" y="348"/>
                  </a:lnTo>
                  <a:lnTo>
                    <a:pt x="816" y="342"/>
                  </a:lnTo>
                  <a:lnTo>
                    <a:pt x="834" y="342"/>
                  </a:lnTo>
                  <a:lnTo>
                    <a:pt x="834" y="348"/>
                  </a:lnTo>
                  <a:lnTo>
                    <a:pt x="846" y="348"/>
                  </a:lnTo>
                  <a:lnTo>
                    <a:pt x="846" y="342"/>
                  </a:lnTo>
                  <a:lnTo>
                    <a:pt x="882" y="342"/>
                  </a:lnTo>
                  <a:lnTo>
                    <a:pt x="894" y="366"/>
                  </a:lnTo>
                  <a:lnTo>
                    <a:pt x="900" y="372"/>
                  </a:lnTo>
                  <a:lnTo>
                    <a:pt x="906" y="384"/>
                  </a:lnTo>
                  <a:lnTo>
                    <a:pt x="924" y="384"/>
                  </a:lnTo>
                  <a:lnTo>
                    <a:pt x="930" y="372"/>
                  </a:lnTo>
                  <a:lnTo>
                    <a:pt x="936" y="372"/>
                  </a:lnTo>
                  <a:lnTo>
                    <a:pt x="942" y="348"/>
                  </a:lnTo>
                  <a:lnTo>
                    <a:pt x="954" y="348"/>
                  </a:lnTo>
                  <a:lnTo>
                    <a:pt x="954" y="342"/>
                  </a:lnTo>
                  <a:lnTo>
                    <a:pt x="984" y="342"/>
                  </a:lnTo>
                  <a:lnTo>
                    <a:pt x="978" y="390"/>
                  </a:lnTo>
                  <a:lnTo>
                    <a:pt x="984" y="390"/>
                  </a:lnTo>
                  <a:lnTo>
                    <a:pt x="990" y="396"/>
                  </a:lnTo>
                  <a:lnTo>
                    <a:pt x="996" y="396"/>
                  </a:lnTo>
                  <a:lnTo>
                    <a:pt x="1002" y="396"/>
                  </a:lnTo>
                  <a:lnTo>
                    <a:pt x="1002" y="408"/>
                  </a:lnTo>
                  <a:lnTo>
                    <a:pt x="990" y="414"/>
                  </a:lnTo>
                  <a:lnTo>
                    <a:pt x="984" y="426"/>
                  </a:lnTo>
                  <a:lnTo>
                    <a:pt x="990" y="444"/>
                  </a:lnTo>
                  <a:lnTo>
                    <a:pt x="996" y="450"/>
                  </a:lnTo>
                  <a:lnTo>
                    <a:pt x="990" y="462"/>
                  </a:lnTo>
                  <a:lnTo>
                    <a:pt x="990" y="468"/>
                  </a:lnTo>
                  <a:lnTo>
                    <a:pt x="984" y="480"/>
                  </a:lnTo>
                  <a:lnTo>
                    <a:pt x="978" y="486"/>
                  </a:lnTo>
                  <a:lnTo>
                    <a:pt x="972" y="486"/>
                  </a:lnTo>
                  <a:lnTo>
                    <a:pt x="966" y="492"/>
                  </a:lnTo>
                  <a:lnTo>
                    <a:pt x="966" y="498"/>
                  </a:lnTo>
                  <a:lnTo>
                    <a:pt x="954" y="510"/>
                  </a:lnTo>
                  <a:lnTo>
                    <a:pt x="948" y="510"/>
                  </a:lnTo>
                  <a:lnTo>
                    <a:pt x="942" y="516"/>
                  </a:lnTo>
                  <a:lnTo>
                    <a:pt x="936" y="528"/>
                  </a:lnTo>
                  <a:lnTo>
                    <a:pt x="936" y="534"/>
                  </a:lnTo>
                  <a:lnTo>
                    <a:pt x="936" y="546"/>
                  </a:lnTo>
                  <a:lnTo>
                    <a:pt x="936" y="558"/>
                  </a:lnTo>
                  <a:lnTo>
                    <a:pt x="948" y="558"/>
                  </a:lnTo>
                  <a:lnTo>
                    <a:pt x="954" y="558"/>
                  </a:lnTo>
                  <a:lnTo>
                    <a:pt x="996" y="558"/>
                  </a:lnTo>
                  <a:lnTo>
                    <a:pt x="1002" y="570"/>
                  </a:lnTo>
                  <a:lnTo>
                    <a:pt x="996" y="576"/>
                  </a:lnTo>
                  <a:lnTo>
                    <a:pt x="996" y="588"/>
                  </a:lnTo>
                  <a:lnTo>
                    <a:pt x="984" y="588"/>
                  </a:lnTo>
                  <a:lnTo>
                    <a:pt x="990" y="612"/>
                  </a:lnTo>
                  <a:lnTo>
                    <a:pt x="1014" y="606"/>
                  </a:lnTo>
                  <a:lnTo>
                    <a:pt x="1014" y="636"/>
                  </a:lnTo>
                  <a:lnTo>
                    <a:pt x="1014" y="648"/>
                  </a:lnTo>
                  <a:lnTo>
                    <a:pt x="1020" y="648"/>
                  </a:lnTo>
                  <a:lnTo>
                    <a:pt x="1026" y="660"/>
                  </a:lnTo>
                  <a:lnTo>
                    <a:pt x="1038" y="654"/>
                  </a:lnTo>
                  <a:lnTo>
                    <a:pt x="1050" y="654"/>
                  </a:lnTo>
                  <a:lnTo>
                    <a:pt x="1062" y="654"/>
                  </a:lnTo>
                  <a:lnTo>
                    <a:pt x="1068" y="660"/>
                  </a:lnTo>
                  <a:lnTo>
                    <a:pt x="1068" y="678"/>
                  </a:lnTo>
                  <a:lnTo>
                    <a:pt x="1068" y="684"/>
                  </a:lnTo>
                  <a:lnTo>
                    <a:pt x="1062" y="690"/>
                  </a:lnTo>
                  <a:lnTo>
                    <a:pt x="1056" y="696"/>
                  </a:lnTo>
                  <a:lnTo>
                    <a:pt x="1056" y="702"/>
                  </a:lnTo>
                  <a:lnTo>
                    <a:pt x="1038" y="714"/>
                  </a:lnTo>
                  <a:lnTo>
                    <a:pt x="1026" y="720"/>
                  </a:lnTo>
                  <a:lnTo>
                    <a:pt x="1008" y="726"/>
                  </a:lnTo>
                  <a:lnTo>
                    <a:pt x="1008" y="732"/>
                  </a:lnTo>
                  <a:lnTo>
                    <a:pt x="990" y="732"/>
                  </a:lnTo>
                  <a:lnTo>
                    <a:pt x="984" y="744"/>
                  </a:lnTo>
                  <a:lnTo>
                    <a:pt x="990" y="750"/>
                  </a:lnTo>
                  <a:lnTo>
                    <a:pt x="984" y="762"/>
                  </a:lnTo>
                  <a:lnTo>
                    <a:pt x="984" y="768"/>
                  </a:lnTo>
                  <a:lnTo>
                    <a:pt x="984" y="774"/>
                  </a:lnTo>
                  <a:lnTo>
                    <a:pt x="984" y="780"/>
                  </a:lnTo>
                  <a:lnTo>
                    <a:pt x="984" y="786"/>
                  </a:lnTo>
                  <a:lnTo>
                    <a:pt x="984" y="792"/>
                  </a:lnTo>
                  <a:lnTo>
                    <a:pt x="978" y="798"/>
                  </a:lnTo>
                  <a:lnTo>
                    <a:pt x="978" y="80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3" name="Freeform 38">
              <a:extLst>
                <a:ext uri="{FF2B5EF4-FFF2-40B4-BE49-F238E27FC236}">
                  <a16:creationId xmlns:a16="http://schemas.microsoft.com/office/drawing/2014/main" id="{819B99CE-D972-4530-8964-A992C1EC87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2825" y="1634436"/>
              <a:ext cx="959326" cy="959458"/>
            </a:xfrm>
            <a:custGeom>
              <a:avLst/>
              <a:gdLst>
                <a:gd name="T0" fmla="*/ 105 w 1806"/>
                <a:gd name="T1" fmla="*/ 155 h 1806"/>
                <a:gd name="T2" fmla="*/ 103 w 1806"/>
                <a:gd name="T3" fmla="*/ 155 h 1806"/>
                <a:gd name="T4" fmla="*/ 103 w 1806"/>
                <a:gd name="T5" fmla="*/ 150 h 1806"/>
                <a:gd name="T6" fmla="*/ 104 w 1806"/>
                <a:gd name="T7" fmla="*/ 141 h 1806"/>
                <a:gd name="T8" fmla="*/ 104 w 1806"/>
                <a:gd name="T9" fmla="*/ 136 h 1806"/>
                <a:gd name="T10" fmla="*/ 100 w 1806"/>
                <a:gd name="T11" fmla="*/ 131 h 1806"/>
                <a:gd name="T12" fmla="*/ 96 w 1806"/>
                <a:gd name="T13" fmla="*/ 127 h 1806"/>
                <a:gd name="T14" fmla="*/ 91 w 1806"/>
                <a:gd name="T15" fmla="*/ 121 h 1806"/>
                <a:gd name="T16" fmla="*/ 87 w 1806"/>
                <a:gd name="T17" fmla="*/ 120 h 1806"/>
                <a:gd name="T18" fmla="*/ 81 w 1806"/>
                <a:gd name="T19" fmla="*/ 117 h 1806"/>
                <a:gd name="T20" fmla="*/ 65 w 1806"/>
                <a:gd name="T21" fmla="*/ 113 h 1806"/>
                <a:gd name="T22" fmla="*/ 69 w 1806"/>
                <a:gd name="T23" fmla="*/ 105 h 1806"/>
                <a:gd name="T24" fmla="*/ 66 w 1806"/>
                <a:gd name="T25" fmla="*/ 89 h 1806"/>
                <a:gd name="T26" fmla="*/ 63 w 1806"/>
                <a:gd name="T27" fmla="*/ 84 h 1806"/>
                <a:gd name="T28" fmla="*/ 62 w 1806"/>
                <a:gd name="T29" fmla="*/ 74 h 1806"/>
                <a:gd name="T30" fmla="*/ 58 w 1806"/>
                <a:gd name="T31" fmla="*/ 52 h 1806"/>
                <a:gd name="T32" fmla="*/ 53 w 1806"/>
                <a:gd name="T33" fmla="*/ 49 h 1806"/>
                <a:gd name="T34" fmla="*/ 51 w 1806"/>
                <a:gd name="T35" fmla="*/ 36 h 1806"/>
                <a:gd name="T36" fmla="*/ 43 w 1806"/>
                <a:gd name="T37" fmla="*/ 32 h 1806"/>
                <a:gd name="T38" fmla="*/ 33 w 1806"/>
                <a:gd name="T39" fmla="*/ 30 h 1806"/>
                <a:gd name="T40" fmla="*/ 30 w 1806"/>
                <a:gd name="T41" fmla="*/ 21 h 1806"/>
                <a:gd name="T42" fmla="*/ 17 w 1806"/>
                <a:gd name="T43" fmla="*/ 25 h 1806"/>
                <a:gd name="T44" fmla="*/ 4 w 1806"/>
                <a:gd name="T45" fmla="*/ 33 h 1806"/>
                <a:gd name="T46" fmla="*/ 7 w 1806"/>
                <a:gd name="T47" fmla="*/ 26 h 1806"/>
                <a:gd name="T48" fmla="*/ 11 w 1806"/>
                <a:gd name="T49" fmla="*/ 20 h 1806"/>
                <a:gd name="T50" fmla="*/ 18 w 1806"/>
                <a:gd name="T51" fmla="*/ 12 h 1806"/>
                <a:gd name="T52" fmla="*/ 26 w 1806"/>
                <a:gd name="T53" fmla="*/ 8 h 1806"/>
                <a:gd name="T54" fmla="*/ 35 w 1806"/>
                <a:gd name="T55" fmla="*/ 6 h 1806"/>
                <a:gd name="T56" fmla="*/ 44 w 1806"/>
                <a:gd name="T57" fmla="*/ 5 h 1806"/>
                <a:gd name="T58" fmla="*/ 54 w 1806"/>
                <a:gd name="T59" fmla="*/ 2 h 1806"/>
                <a:gd name="T60" fmla="*/ 65 w 1806"/>
                <a:gd name="T61" fmla="*/ 0 h 1806"/>
                <a:gd name="T62" fmla="*/ 76 w 1806"/>
                <a:gd name="T63" fmla="*/ 0 h 1806"/>
                <a:gd name="T64" fmla="*/ 85 w 1806"/>
                <a:gd name="T65" fmla="*/ 0 h 1806"/>
                <a:gd name="T66" fmla="*/ 97 w 1806"/>
                <a:gd name="T67" fmla="*/ 0 h 1806"/>
                <a:gd name="T68" fmla="*/ 108 w 1806"/>
                <a:gd name="T69" fmla="*/ 3 h 1806"/>
                <a:gd name="T70" fmla="*/ 115 w 1806"/>
                <a:gd name="T71" fmla="*/ 5 h 1806"/>
                <a:gd name="T72" fmla="*/ 123 w 1806"/>
                <a:gd name="T73" fmla="*/ 7 h 1806"/>
                <a:gd name="T74" fmla="*/ 133 w 1806"/>
                <a:gd name="T75" fmla="*/ 14 h 1806"/>
                <a:gd name="T76" fmla="*/ 138 w 1806"/>
                <a:gd name="T77" fmla="*/ 16 h 1806"/>
                <a:gd name="T78" fmla="*/ 140 w 1806"/>
                <a:gd name="T79" fmla="*/ 14 h 1806"/>
                <a:gd name="T80" fmla="*/ 145 w 1806"/>
                <a:gd name="T81" fmla="*/ 16 h 1806"/>
                <a:gd name="T82" fmla="*/ 147 w 1806"/>
                <a:gd name="T83" fmla="*/ 16 h 1806"/>
                <a:gd name="T84" fmla="*/ 150 w 1806"/>
                <a:gd name="T85" fmla="*/ 17 h 1806"/>
                <a:gd name="T86" fmla="*/ 152 w 1806"/>
                <a:gd name="T87" fmla="*/ 18 h 1806"/>
                <a:gd name="T88" fmla="*/ 155 w 1806"/>
                <a:gd name="T89" fmla="*/ 37 h 1806"/>
                <a:gd name="T90" fmla="*/ 146 w 1806"/>
                <a:gd name="T91" fmla="*/ 66 h 1806"/>
                <a:gd name="T92" fmla="*/ 143 w 1806"/>
                <a:gd name="T93" fmla="*/ 88 h 1806"/>
                <a:gd name="T94" fmla="*/ 144 w 1806"/>
                <a:gd name="T95" fmla="*/ 98 h 1806"/>
                <a:gd name="T96" fmla="*/ 137 w 1806"/>
                <a:gd name="T97" fmla="*/ 118 h 1806"/>
                <a:gd name="T98" fmla="*/ 132 w 1806"/>
                <a:gd name="T99" fmla="*/ 129 h 1806"/>
                <a:gd name="T100" fmla="*/ 124 w 1806"/>
                <a:gd name="T101" fmla="*/ 135 h 1806"/>
                <a:gd name="T102" fmla="*/ 119 w 1806"/>
                <a:gd name="T103" fmla="*/ 136 h 1806"/>
                <a:gd name="T104" fmla="*/ 116 w 1806"/>
                <a:gd name="T105" fmla="*/ 137 h 1806"/>
                <a:gd name="T106" fmla="*/ 112 w 1806"/>
                <a:gd name="T107" fmla="*/ 139 h 1806"/>
                <a:gd name="T108" fmla="*/ 112 w 1806"/>
                <a:gd name="T109" fmla="*/ 141 h 1806"/>
                <a:gd name="T110" fmla="*/ 116 w 1806"/>
                <a:gd name="T111" fmla="*/ 146 h 1806"/>
                <a:gd name="T112" fmla="*/ 116 w 1806"/>
                <a:gd name="T113" fmla="*/ 151 h 1806"/>
                <a:gd name="T114" fmla="*/ 113 w 1806"/>
                <a:gd name="T115" fmla="*/ 153 h 18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6"/>
                <a:gd name="T175" fmla="*/ 0 h 1806"/>
                <a:gd name="T176" fmla="*/ 1806 w 1806"/>
                <a:gd name="T177" fmla="*/ 1806 h 18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6" h="1806">
                  <a:moveTo>
                    <a:pt x="1260" y="1776"/>
                  </a:moveTo>
                  <a:lnTo>
                    <a:pt x="1254" y="1776"/>
                  </a:lnTo>
                  <a:lnTo>
                    <a:pt x="1248" y="1776"/>
                  </a:lnTo>
                  <a:lnTo>
                    <a:pt x="1242" y="1782"/>
                  </a:lnTo>
                  <a:lnTo>
                    <a:pt x="1236" y="1782"/>
                  </a:lnTo>
                  <a:lnTo>
                    <a:pt x="1230" y="1788"/>
                  </a:lnTo>
                  <a:lnTo>
                    <a:pt x="1224" y="1782"/>
                  </a:lnTo>
                  <a:lnTo>
                    <a:pt x="1218" y="1782"/>
                  </a:lnTo>
                  <a:lnTo>
                    <a:pt x="1218" y="1788"/>
                  </a:lnTo>
                  <a:lnTo>
                    <a:pt x="1212" y="1788"/>
                  </a:lnTo>
                  <a:lnTo>
                    <a:pt x="1206" y="1788"/>
                  </a:lnTo>
                  <a:lnTo>
                    <a:pt x="1206" y="1794"/>
                  </a:lnTo>
                  <a:lnTo>
                    <a:pt x="1200" y="1806"/>
                  </a:lnTo>
                  <a:lnTo>
                    <a:pt x="1194" y="1800"/>
                  </a:lnTo>
                  <a:lnTo>
                    <a:pt x="1194" y="1794"/>
                  </a:lnTo>
                  <a:lnTo>
                    <a:pt x="1194" y="1788"/>
                  </a:lnTo>
                  <a:lnTo>
                    <a:pt x="1188" y="1788"/>
                  </a:lnTo>
                  <a:lnTo>
                    <a:pt x="1188" y="1782"/>
                  </a:lnTo>
                  <a:lnTo>
                    <a:pt x="1188" y="1776"/>
                  </a:lnTo>
                  <a:lnTo>
                    <a:pt x="1194" y="1770"/>
                  </a:lnTo>
                  <a:lnTo>
                    <a:pt x="1194" y="1764"/>
                  </a:lnTo>
                  <a:lnTo>
                    <a:pt x="1194" y="1758"/>
                  </a:lnTo>
                  <a:lnTo>
                    <a:pt x="1194" y="1752"/>
                  </a:lnTo>
                  <a:lnTo>
                    <a:pt x="1200" y="1746"/>
                  </a:lnTo>
                  <a:lnTo>
                    <a:pt x="1200" y="1740"/>
                  </a:lnTo>
                  <a:lnTo>
                    <a:pt x="1200" y="1734"/>
                  </a:lnTo>
                  <a:lnTo>
                    <a:pt x="1188" y="1722"/>
                  </a:lnTo>
                  <a:lnTo>
                    <a:pt x="1188" y="1716"/>
                  </a:lnTo>
                  <a:lnTo>
                    <a:pt x="1194" y="1704"/>
                  </a:lnTo>
                  <a:lnTo>
                    <a:pt x="1194" y="1692"/>
                  </a:lnTo>
                  <a:lnTo>
                    <a:pt x="1200" y="1680"/>
                  </a:lnTo>
                  <a:lnTo>
                    <a:pt x="1200" y="1662"/>
                  </a:lnTo>
                  <a:lnTo>
                    <a:pt x="1200" y="1650"/>
                  </a:lnTo>
                  <a:lnTo>
                    <a:pt x="1206" y="1644"/>
                  </a:lnTo>
                  <a:lnTo>
                    <a:pt x="1206" y="1638"/>
                  </a:lnTo>
                  <a:lnTo>
                    <a:pt x="1206" y="1626"/>
                  </a:lnTo>
                  <a:lnTo>
                    <a:pt x="1206" y="1620"/>
                  </a:lnTo>
                  <a:lnTo>
                    <a:pt x="1206" y="1614"/>
                  </a:lnTo>
                  <a:lnTo>
                    <a:pt x="1200" y="1608"/>
                  </a:lnTo>
                  <a:lnTo>
                    <a:pt x="1200" y="1602"/>
                  </a:lnTo>
                  <a:lnTo>
                    <a:pt x="1200" y="1596"/>
                  </a:lnTo>
                  <a:lnTo>
                    <a:pt x="1200" y="1590"/>
                  </a:lnTo>
                  <a:lnTo>
                    <a:pt x="1200" y="1572"/>
                  </a:lnTo>
                  <a:lnTo>
                    <a:pt x="1200" y="1566"/>
                  </a:lnTo>
                  <a:lnTo>
                    <a:pt x="1200" y="1560"/>
                  </a:lnTo>
                  <a:lnTo>
                    <a:pt x="1194" y="1554"/>
                  </a:lnTo>
                  <a:lnTo>
                    <a:pt x="1188" y="1548"/>
                  </a:lnTo>
                  <a:lnTo>
                    <a:pt x="1188" y="1542"/>
                  </a:lnTo>
                  <a:lnTo>
                    <a:pt x="1176" y="1536"/>
                  </a:lnTo>
                  <a:lnTo>
                    <a:pt x="1176" y="1530"/>
                  </a:lnTo>
                  <a:lnTo>
                    <a:pt x="1170" y="1524"/>
                  </a:lnTo>
                  <a:lnTo>
                    <a:pt x="1170" y="1518"/>
                  </a:lnTo>
                  <a:lnTo>
                    <a:pt x="1164" y="1512"/>
                  </a:lnTo>
                  <a:lnTo>
                    <a:pt x="1158" y="1506"/>
                  </a:lnTo>
                  <a:lnTo>
                    <a:pt x="1152" y="1500"/>
                  </a:lnTo>
                  <a:lnTo>
                    <a:pt x="1146" y="1494"/>
                  </a:lnTo>
                  <a:lnTo>
                    <a:pt x="1140" y="1488"/>
                  </a:lnTo>
                  <a:lnTo>
                    <a:pt x="1134" y="1482"/>
                  </a:lnTo>
                  <a:lnTo>
                    <a:pt x="1128" y="1476"/>
                  </a:lnTo>
                  <a:lnTo>
                    <a:pt x="1122" y="1470"/>
                  </a:lnTo>
                  <a:lnTo>
                    <a:pt x="1116" y="1464"/>
                  </a:lnTo>
                  <a:lnTo>
                    <a:pt x="1110" y="1464"/>
                  </a:lnTo>
                  <a:lnTo>
                    <a:pt x="1104" y="1458"/>
                  </a:lnTo>
                  <a:lnTo>
                    <a:pt x="1098" y="1464"/>
                  </a:lnTo>
                  <a:lnTo>
                    <a:pt x="1092" y="1464"/>
                  </a:lnTo>
                  <a:lnTo>
                    <a:pt x="1086" y="1446"/>
                  </a:lnTo>
                  <a:lnTo>
                    <a:pt x="1086" y="1440"/>
                  </a:lnTo>
                  <a:lnTo>
                    <a:pt x="1080" y="1416"/>
                  </a:lnTo>
                  <a:lnTo>
                    <a:pt x="1068" y="1404"/>
                  </a:lnTo>
                  <a:lnTo>
                    <a:pt x="1062" y="1398"/>
                  </a:lnTo>
                  <a:lnTo>
                    <a:pt x="1056" y="1398"/>
                  </a:lnTo>
                  <a:lnTo>
                    <a:pt x="1050" y="1398"/>
                  </a:lnTo>
                  <a:lnTo>
                    <a:pt x="1044" y="1398"/>
                  </a:lnTo>
                  <a:lnTo>
                    <a:pt x="1044" y="1392"/>
                  </a:lnTo>
                  <a:lnTo>
                    <a:pt x="1038" y="1392"/>
                  </a:lnTo>
                  <a:lnTo>
                    <a:pt x="1032" y="1392"/>
                  </a:lnTo>
                  <a:lnTo>
                    <a:pt x="1020" y="1386"/>
                  </a:lnTo>
                  <a:lnTo>
                    <a:pt x="1014" y="1386"/>
                  </a:lnTo>
                  <a:lnTo>
                    <a:pt x="1014" y="1380"/>
                  </a:lnTo>
                  <a:lnTo>
                    <a:pt x="1008" y="1380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62"/>
                  </a:lnTo>
                  <a:lnTo>
                    <a:pt x="984" y="1356"/>
                  </a:lnTo>
                  <a:lnTo>
                    <a:pt x="978" y="1356"/>
                  </a:lnTo>
                  <a:lnTo>
                    <a:pt x="972" y="1356"/>
                  </a:lnTo>
                  <a:lnTo>
                    <a:pt x="966" y="1356"/>
                  </a:lnTo>
                  <a:lnTo>
                    <a:pt x="966" y="1350"/>
                  </a:lnTo>
                  <a:lnTo>
                    <a:pt x="948" y="1350"/>
                  </a:lnTo>
                  <a:lnTo>
                    <a:pt x="936" y="1344"/>
                  </a:lnTo>
                  <a:lnTo>
                    <a:pt x="930" y="1338"/>
                  </a:lnTo>
                  <a:lnTo>
                    <a:pt x="918" y="1332"/>
                  </a:lnTo>
                  <a:lnTo>
                    <a:pt x="900" y="1326"/>
                  </a:lnTo>
                  <a:lnTo>
                    <a:pt x="864" y="1332"/>
                  </a:lnTo>
                  <a:lnTo>
                    <a:pt x="828" y="1332"/>
                  </a:lnTo>
                  <a:lnTo>
                    <a:pt x="792" y="1314"/>
                  </a:lnTo>
                  <a:lnTo>
                    <a:pt x="780" y="1314"/>
                  </a:lnTo>
                  <a:lnTo>
                    <a:pt x="780" y="1308"/>
                  </a:lnTo>
                  <a:lnTo>
                    <a:pt x="756" y="1296"/>
                  </a:lnTo>
                  <a:lnTo>
                    <a:pt x="756" y="1278"/>
                  </a:lnTo>
                  <a:lnTo>
                    <a:pt x="768" y="1278"/>
                  </a:lnTo>
                  <a:lnTo>
                    <a:pt x="774" y="1272"/>
                  </a:lnTo>
                  <a:lnTo>
                    <a:pt x="780" y="1266"/>
                  </a:lnTo>
                  <a:lnTo>
                    <a:pt x="786" y="1260"/>
                  </a:lnTo>
                  <a:lnTo>
                    <a:pt x="792" y="1254"/>
                  </a:lnTo>
                  <a:lnTo>
                    <a:pt x="798" y="1242"/>
                  </a:lnTo>
                  <a:lnTo>
                    <a:pt x="804" y="1242"/>
                  </a:lnTo>
                  <a:lnTo>
                    <a:pt x="804" y="1206"/>
                  </a:lnTo>
                  <a:lnTo>
                    <a:pt x="804" y="1182"/>
                  </a:lnTo>
                  <a:lnTo>
                    <a:pt x="804" y="1158"/>
                  </a:lnTo>
                  <a:lnTo>
                    <a:pt x="804" y="1134"/>
                  </a:lnTo>
                  <a:lnTo>
                    <a:pt x="798" y="1116"/>
                  </a:lnTo>
                  <a:lnTo>
                    <a:pt x="792" y="1092"/>
                  </a:lnTo>
                  <a:lnTo>
                    <a:pt x="786" y="1062"/>
                  </a:lnTo>
                  <a:lnTo>
                    <a:pt x="768" y="1032"/>
                  </a:lnTo>
                  <a:lnTo>
                    <a:pt x="762" y="1032"/>
                  </a:lnTo>
                  <a:lnTo>
                    <a:pt x="762" y="1020"/>
                  </a:lnTo>
                  <a:lnTo>
                    <a:pt x="762" y="1014"/>
                  </a:lnTo>
                  <a:lnTo>
                    <a:pt x="756" y="1008"/>
                  </a:lnTo>
                  <a:lnTo>
                    <a:pt x="750" y="1002"/>
                  </a:lnTo>
                  <a:lnTo>
                    <a:pt x="738" y="1002"/>
                  </a:lnTo>
                  <a:lnTo>
                    <a:pt x="738" y="990"/>
                  </a:lnTo>
                  <a:lnTo>
                    <a:pt x="726" y="990"/>
                  </a:lnTo>
                  <a:lnTo>
                    <a:pt x="726" y="978"/>
                  </a:lnTo>
                  <a:lnTo>
                    <a:pt x="732" y="972"/>
                  </a:lnTo>
                  <a:lnTo>
                    <a:pt x="732" y="966"/>
                  </a:lnTo>
                  <a:lnTo>
                    <a:pt x="726" y="966"/>
                  </a:lnTo>
                  <a:lnTo>
                    <a:pt x="732" y="948"/>
                  </a:lnTo>
                  <a:lnTo>
                    <a:pt x="726" y="942"/>
                  </a:lnTo>
                  <a:lnTo>
                    <a:pt x="726" y="930"/>
                  </a:lnTo>
                  <a:lnTo>
                    <a:pt x="720" y="924"/>
                  </a:lnTo>
                  <a:lnTo>
                    <a:pt x="714" y="912"/>
                  </a:lnTo>
                  <a:lnTo>
                    <a:pt x="714" y="882"/>
                  </a:lnTo>
                  <a:lnTo>
                    <a:pt x="714" y="870"/>
                  </a:lnTo>
                  <a:lnTo>
                    <a:pt x="714" y="858"/>
                  </a:lnTo>
                  <a:lnTo>
                    <a:pt x="714" y="846"/>
                  </a:lnTo>
                  <a:lnTo>
                    <a:pt x="708" y="822"/>
                  </a:lnTo>
                  <a:lnTo>
                    <a:pt x="702" y="798"/>
                  </a:lnTo>
                  <a:lnTo>
                    <a:pt x="696" y="792"/>
                  </a:lnTo>
                  <a:lnTo>
                    <a:pt x="684" y="726"/>
                  </a:lnTo>
                  <a:lnTo>
                    <a:pt x="678" y="666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66" y="600"/>
                  </a:lnTo>
                  <a:lnTo>
                    <a:pt x="660" y="594"/>
                  </a:lnTo>
                  <a:lnTo>
                    <a:pt x="654" y="594"/>
                  </a:lnTo>
                  <a:lnTo>
                    <a:pt x="636" y="582"/>
                  </a:lnTo>
                  <a:lnTo>
                    <a:pt x="630" y="576"/>
                  </a:lnTo>
                  <a:lnTo>
                    <a:pt x="624" y="576"/>
                  </a:lnTo>
                  <a:lnTo>
                    <a:pt x="618" y="570"/>
                  </a:lnTo>
                  <a:lnTo>
                    <a:pt x="612" y="564"/>
                  </a:lnTo>
                  <a:lnTo>
                    <a:pt x="606" y="558"/>
                  </a:lnTo>
                  <a:lnTo>
                    <a:pt x="606" y="564"/>
                  </a:lnTo>
                  <a:lnTo>
                    <a:pt x="600" y="564"/>
                  </a:lnTo>
                  <a:lnTo>
                    <a:pt x="594" y="558"/>
                  </a:lnTo>
                  <a:lnTo>
                    <a:pt x="594" y="540"/>
                  </a:lnTo>
                  <a:lnTo>
                    <a:pt x="594" y="528"/>
                  </a:lnTo>
                  <a:lnTo>
                    <a:pt x="594" y="516"/>
                  </a:lnTo>
                  <a:lnTo>
                    <a:pt x="594" y="510"/>
                  </a:lnTo>
                  <a:lnTo>
                    <a:pt x="594" y="492"/>
                  </a:lnTo>
                  <a:lnTo>
                    <a:pt x="594" y="456"/>
                  </a:lnTo>
                  <a:lnTo>
                    <a:pt x="588" y="414"/>
                  </a:lnTo>
                  <a:lnTo>
                    <a:pt x="588" y="408"/>
                  </a:lnTo>
                  <a:lnTo>
                    <a:pt x="582" y="396"/>
                  </a:lnTo>
                  <a:lnTo>
                    <a:pt x="582" y="384"/>
                  </a:lnTo>
                  <a:lnTo>
                    <a:pt x="582" y="372"/>
                  </a:lnTo>
                  <a:lnTo>
                    <a:pt x="564" y="372"/>
                  </a:lnTo>
                  <a:lnTo>
                    <a:pt x="552" y="366"/>
                  </a:lnTo>
                  <a:lnTo>
                    <a:pt x="552" y="372"/>
                  </a:lnTo>
                  <a:lnTo>
                    <a:pt x="498" y="372"/>
                  </a:lnTo>
                  <a:lnTo>
                    <a:pt x="498" y="366"/>
                  </a:lnTo>
                  <a:lnTo>
                    <a:pt x="474" y="360"/>
                  </a:lnTo>
                  <a:lnTo>
                    <a:pt x="456" y="354"/>
                  </a:lnTo>
                  <a:lnTo>
                    <a:pt x="438" y="348"/>
                  </a:lnTo>
                  <a:lnTo>
                    <a:pt x="426" y="354"/>
                  </a:lnTo>
                  <a:lnTo>
                    <a:pt x="408" y="360"/>
                  </a:lnTo>
                  <a:lnTo>
                    <a:pt x="378" y="360"/>
                  </a:lnTo>
                  <a:lnTo>
                    <a:pt x="378" y="354"/>
                  </a:lnTo>
                  <a:lnTo>
                    <a:pt x="378" y="348"/>
                  </a:lnTo>
                  <a:lnTo>
                    <a:pt x="378" y="342"/>
                  </a:lnTo>
                  <a:lnTo>
                    <a:pt x="390" y="330"/>
                  </a:lnTo>
                  <a:lnTo>
                    <a:pt x="396" y="312"/>
                  </a:lnTo>
                  <a:lnTo>
                    <a:pt x="396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8"/>
                  </a:lnTo>
                  <a:lnTo>
                    <a:pt x="372" y="234"/>
                  </a:lnTo>
                  <a:lnTo>
                    <a:pt x="354" y="234"/>
                  </a:lnTo>
                  <a:lnTo>
                    <a:pt x="342" y="246"/>
                  </a:lnTo>
                  <a:lnTo>
                    <a:pt x="330" y="252"/>
                  </a:lnTo>
                  <a:lnTo>
                    <a:pt x="318" y="252"/>
                  </a:lnTo>
                  <a:lnTo>
                    <a:pt x="276" y="258"/>
                  </a:lnTo>
                  <a:lnTo>
                    <a:pt x="276" y="264"/>
                  </a:lnTo>
                  <a:lnTo>
                    <a:pt x="252" y="270"/>
                  </a:lnTo>
                  <a:lnTo>
                    <a:pt x="240" y="270"/>
                  </a:lnTo>
                  <a:lnTo>
                    <a:pt x="228" y="276"/>
                  </a:lnTo>
                  <a:lnTo>
                    <a:pt x="210" y="282"/>
                  </a:lnTo>
                  <a:lnTo>
                    <a:pt x="198" y="288"/>
                  </a:lnTo>
                  <a:lnTo>
                    <a:pt x="186" y="294"/>
                  </a:lnTo>
                  <a:lnTo>
                    <a:pt x="174" y="330"/>
                  </a:lnTo>
                  <a:lnTo>
                    <a:pt x="162" y="342"/>
                  </a:lnTo>
                  <a:lnTo>
                    <a:pt x="156" y="354"/>
                  </a:lnTo>
                  <a:lnTo>
                    <a:pt x="150" y="360"/>
                  </a:lnTo>
                  <a:lnTo>
                    <a:pt x="150" y="366"/>
                  </a:lnTo>
                  <a:lnTo>
                    <a:pt x="108" y="372"/>
                  </a:lnTo>
                  <a:lnTo>
                    <a:pt x="60" y="378"/>
                  </a:lnTo>
                  <a:lnTo>
                    <a:pt x="42" y="378"/>
                  </a:lnTo>
                  <a:lnTo>
                    <a:pt x="12" y="378"/>
                  </a:lnTo>
                  <a:lnTo>
                    <a:pt x="6" y="378"/>
                  </a:lnTo>
                  <a:lnTo>
                    <a:pt x="0" y="366"/>
                  </a:lnTo>
                  <a:lnTo>
                    <a:pt x="12" y="360"/>
                  </a:lnTo>
                  <a:lnTo>
                    <a:pt x="24" y="348"/>
                  </a:lnTo>
                  <a:lnTo>
                    <a:pt x="30" y="342"/>
                  </a:lnTo>
                  <a:lnTo>
                    <a:pt x="36" y="330"/>
                  </a:lnTo>
                  <a:lnTo>
                    <a:pt x="72" y="300"/>
                  </a:lnTo>
                  <a:lnTo>
                    <a:pt x="78" y="294"/>
                  </a:lnTo>
                  <a:lnTo>
                    <a:pt x="78" y="288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96" y="270"/>
                  </a:lnTo>
                  <a:lnTo>
                    <a:pt x="102" y="264"/>
                  </a:lnTo>
                  <a:lnTo>
                    <a:pt x="108" y="258"/>
                  </a:lnTo>
                  <a:lnTo>
                    <a:pt x="114" y="246"/>
                  </a:lnTo>
                  <a:lnTo>
                    <a:pt x="120" y="240"/>
                  </a:lnTo>
                  <a:lnTo>
                    <a:pt x="126" y="234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0" y="210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86" y="174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22" y="138"/>
                  </a:lnTo>
                  <a:lnTo>
                    <a:pt x="234" y="132"/>
                  </a:lnTo>
                  <a:lnTo>
                    <a:pt x="246" y="126"/>
                  </a:lnTo>
                  <a:lnTo>
                    <a:pt x="246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88" y="102"/>
                  </a:lnTo>
                  <a:lnTo>
                    <a:pt x="300" y="96"/>
                  </a:lnTo>
                  <a:lnTo>
                    <a:pt x="306" y="90"/>
                  </a:lnTo>
                  <a:lnTo>
                    <a:pt x="318" y="90"/>
                  </a:lnTo>
                  <a:lnTo>
                    <a:pt x="324" y="84"/>
                  </a:lnTo>
                  <a:lnTo>
                    <a:pt x="348" y="72"/>
                  </a:lnTo>
                  <a:lnTo>
                    <a:pt x="354" y="72"/>
                  </a:lnTo>
                  <a:lnTo>
                    <a:pt x="384" y="66"/>
                  </a:lnTo>
                  <a:lnTo>
                    <a:pt x="390" y="66"/>
                  </a:lnTo>
                  <a:lnTo>
                    <a:pt x="396" y="66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66"/>
                  </a:lnTo>
                  <a:lnTo>
                    <a:pt x="438" y="66"/>
                  </a:lnTo>
                  <a:lnTo>
                    <a:pt x="468" y="66"/>
                  </a:lnTo>
                  <a:lnTo>
                    <a:pt x="480" y="66"/>
                  </a:lnTo>
                  <a:lnTo>
                    <a:pt x="486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22" y="60"/>
                  </a:lnTo>
                  <a:lnTo>
                    <a:pt x="534" y="54"/>
                  </a:lnTo>
                  <a:lnTo>
                    <a:pt x="564" y="42"/>
                  </a:lnTo>
                  <a:lnTo>
                    <a:pt x="570" y="42"/>
                  </a:lnTo>
                  <a:lnTo>
                    <a:pt x="582" y="36"/>
                  </a:lnTo>
                  <a:lnTo>
                    <a:pt x="588" y="36"/>
                  </a:lnTo>
                  <a:lnTo>
                    <a:pt x="600" y="30"/>
                  </a:lnTo>
                  <a:lnTo>
                    <a:pt x="606" y="30"/>
                  </a:lnTo>
                  <a:lnTo>
                    <a:pt x="618" y="24"/>
                  </a:lnTo>
                  <a:lnTo>
                    <a:pt x="642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72" y="12"/>
                  </a:lnTo>
                  <a:lnTo>
                    <a:pt x="696" y="12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50" y="6"/>
                  </a:lnTo>
                  <a:lnTo>
                    <a:pt x="768" y="6"/>
                  </a:lnTo>
                  <a:lnTo>
                    <a:pt x="774" y="6"/>
                  </a:lnTo>
                  <a:lnTo>
                    <a:pt x="786" y="6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6" y="6"/>
                  </a:lnTo>
                  <a:lnTo>
                    <a:pt x="846" y="6"/>
                  </a:lnTo>
                  <a:lnTo>
                    <a:pt x="852" y="0"/>
                  </a:lnTo>
                  <a:lnTo>
                    <a:pt x="876" y="0"/>
                  </a:lnTo>
                  <a:lnTo>
                    <a:pt x="876" y="6"/>
                  </a:lnTo>
                  <a:lnTo>
                    <a:pt x="888" y="0"/>
                  </a:lnTo>
                  <a:lnTo>
                    <a:pt x="900" y="0"/>
                  </a:lnTo>
                  <a:lnTo>
                    <a:pt x="906" y="0"/>
                  </a:lnTo>
                  <a:lnTo>
                    <a:pt x="912" y="0"/>
                  </a:lnTo>
                  <a:lnTo>
                    <a:pt x="948" y="0"/>
                  </a:lnTo>
                  <a:lnTo>
                    <a:pt x="954" y="0"/>
                  </a:lnTo>
                  <a:lnTo>
                    <a:pt x="972" y="0"/>
                  </a:lnTo>
                  <a:lnTo>
                    <a:pt x="978" y="0"/>
                  </a:lnTo>
                  <a:lnTo>
                    <a:pt x="996" y="0"/>
                  </a:lnTo>
                  <a:lnTo>
                    <a:pt x="1032" y="0"/>
                  </a:lnTo>
                  <a:lnTo>
                    <a:pt x="1044" y="0"/>
                  </a:lnTo>
                  <a:lnTo>
                    <a:pt x="1050" y="0"/>
                  </a:lnTo>
                  <a:lnTo>
                    <a:pt x="1056" y="6"/>
                  </a:lnTo>
                  <a:lnTo>
                    <a:pt x="1056" y="0"/>
                  </a:lnTo>
                  <a:lnTo>
                    <a:pt x="1074" y="0"/>
                  </a:lnTo>
                  <a:lnTo>
                    <a:pt x="1098" y="6"/>
                  </a:lnTo>
                  <a:lnTo>
                    <a:pt x="1116" y="6"/>
                  </a:lnTo>
                  <a:lnTo>
                    <a:pt x="1140" y="12"/>
                  </a:lnTo>
                  <a:lnTo>
                    <a:pt x="1152" y="12"/>
                  </a:lnTo>
                  <a:lnTo>
                    <a:pt x="1158" y="12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6" y="12"/>
                  </a:lnTo>
                  <a:lnTo>
                    <a:pt x="1194" y="18"/>
                  </a:lnTo>
                  <a:lnTo>
                    <a:pt x="1206" y="18"/>
                  </a:lnTo>
                  <a:lnTo>
                    <a:pt x="1242" y="36"/>
                  </a:lnTo>
                  <a:lnTo>
                    <a:pt x="1248" y="36"/>
                  </a:lnTo>
                  <a:lnTo>
                    <a:pt x="1254" y="36"/>
                  </a:lnTo>
                  <a:lnTo>
                    <a:pt x="1260" y="42"/>
                  </a:lnTo>
                  <a:lnTo>
                    <a:pt x="1272" y="48"/>
                  </a:lnTo>
                  <a:lnTo>
                    <a:pt x="1278" y="48"/>
                  </a:lnTo>
                  <a:lnTo>
                    <a:pt x="1284" y="48"/>
                  </a:lnTo>
                  <a:lnTo>
                    <a:pt x="1290" y="54"/>
                  </a:lnTo>
                  <a:lnTo>
                    <a:pt x="1308" y="60"/>
                  </a:lnTo>
                  <a:lnTo>
                    <a:pt x="1326" y="60"/>
                  </a:lnTo>
                  <a:lnTo>
                    <a:pt x="1338" y="66"/>
                  </a:lnTo>
                  <a:lnTo>
                    <a:pt x="1344" y="66"/>
                  </a:lnTo>
                  <a:lnTo>
                    <a:pt x="1350" y="66"/>
                  </a:lnTo>
                  <a:lnTo>
                    <a:pt x="1356" y="66"/>
                  </a:lnTo>
                  <a:lnTo>
                    <a:pt x="1362" y="72"/>
                  </a:lnTo>
                  <a:lnTo>
                    <a:pt x="1368" y="72"/>
                  </a:lnTo>
                  <a:lnTo>
                    <a:pt x="1380" y="72"/>
                  </a:lnTo>
                  <a:lnTo>
                    <a:pt x="1386" y="72"/>
                  </a:lnTo>
                  <a:lnTo>
                    <a:pt x="1422" y="84"/>
                  </a:lnTo>
                  <a:lnTo>
                    <a:pt x="1428" y="84"/>
                  </a:lnTo>
                  <a:lnTo>
                    <a:pt x="1446" y="90"/>
                  </a:lnTo>
                  <a:lnTo>
                    <a:pt x="1458" y="102"/>
                  </a:lnTo>
                  <a:lnTo>
                    <a:pt x="1494" y="126"/>
                  </a:lnTo>
                  <a:lnTo>
                    <a:pt x="1500" y="132"/>
                  </a:lnTo>
                  <a:lnTo>
                    <a:pt x="1512" y="138"/>
                  </a:lnTo>
                  <a:lnTo>
                    <a:pt x="1512" y="144"/>
                  </a:lnTo>
                  <a:lnTo>
                    <a:pt x="1518" y="150"/>
                  </a:lnTo>
                  <a:lnTo>
                    <a:pt x="1530" y="156"/>
                  </a:lnTo>
                  <a:lnTo>
                    <a:pt x="1530" y="162"/>
                  </a:lnTo>
                  <a:lnTo>
                    <a:pt x="1548" y="168"/>
                  </a:lnTo>
                  <a:lnTo>
                    <a:pt x="1566" y="180"/>
                  </a:lnTo>
                  <a:lnTo>
                    <a:pt x="1578" y="186"/>
                  </a:lnTo>
                  <a:lnTo>
                    <a:pt x="1578" y="180"/>
                  </a:lnTo>
                  <a:lnTo>
                    <a:pt x="1584" y="186"/>
                  </a:lnTo>
                  <a:lnTo>
                    <a:pt x="1584" y="174"/>
                  </a:lnTo>
                  <a:lnTo>
                    <a:pt x="1590" y="174"/>
                  </a:lnTo>
                  <a:lnTo>
                    <a:pt x="1590" y="180"/>
                  </a:lnTo>
                  <a:lnTo>
                    <a:pt x="1596" y="180"/>
                  </a:lnTo>
                  <a:lnTo>
                    <a:pt x="1596" y="174"/>
                  </a:lnTo>
                  <a:lnTo>
                    <a:pt x="1602" y="174"/>
                  </a:lnTo>
                  <a:lnTo>
                    <a:pt x="1608" y="174"/>
                  </a:lnTo>
                  <a:lnTo>
                    <a:pt x="1614" y="180"/>
                  </a:lnTo>
                  <a:lnTo>
                    <a:pt x="1620" y="174"/>
                  </a:lnTo>
                  <a:lnTo>
                    <a:pt x="1614" y="168"/>
                  </a:lnTo>
                  <a:lnTo>
                    <a:pt x="1614" y="162"/>
                  </a:lnTo>
                  <a:lnTo>
                    <a:pt x="1620" y="162"/>
                  </a:lnTo>
                  <a:lnTo>
                    <a:pt x="1626" y="162"/>
                  </a:lnTo>
                  <a:lnTo>
                    <a:pt x="1632" y="162"/>
                  </a:lnTo>
                  <a:lnTo>
                    <a:pt x="1638" y="168"/>
                  </a:lnTo>
                  <a:lnTo>
                    <a:pt x="1644" y="168"/>
                  </a:lnTo>
                  <a:lnTo>
                    <a:pt x="1650" y="174"/>
                  </a:lnTo>
                  <a:lnTo>
                    <a:pt x="1656" y="168"/>
                  </a:lnTo>
                  <a:lnTo>
                    <a:pt x="1668" y="168"/>
                  </a:lnTo>
                  <a:lnTo>
                    <a:pt x="1674" y="174"/>
                  </a:lnTo>
                  <a:lnTo>
                    <a:pt x="1674" y="180"/>
                  </a:lnTo>
                  <a:lnTo>
                    <a:pt x="1674" y="186"/>
                  </a:lnTo>
                  <a:lnTo>
                    <a:pt x="1680" y="186"/>
                  </a:lnTo>
                  <a:lnTo>
                    <a:pt x="1680" y="192"/>
                  </a:lnTo>
                  <a:lnTo>
                    <a:pt x="1686" y="192"/>
                  </a:lnTo>
                  <a:lnTo>
                    <a:pt x="1686" y="186"/>
                  </a:lnTo>
                  <a:lnTo>
                    <a:pt x="1680" y="186"/>
                  </a:lnTo>
                  <a:lnTo>
                    <a:pt x="1686" y="180"/>
                  </a:lnTo>
                  <a:lnTo>
                    <a:pt x="1692" y="180"/>
                  </a:lnTo>
                  <a:lnTo>
                    <a:pt x="1698" y="180"/>
                  </a:lnTo>
                  <a:lnTo>
                    <a:pt x="1704" y="180"/>
                  </a:lnTo>
                  <a:lnTo>
                    <a:pt x="1704" y="186"/>
                  </a:lnTo>
                  <a:lnTo>
                    <a:pt x="1710" y="186"/>
                  </a:lnTo>
                  <a:lnTo>
                    <a:pt x="1716" y="186"/>
                  </a:lnTo>
                  <a:lnTo>
                    <a:pt x="1716" y="192"/>
                  </a:lnTo>
                  <a:lnTo>
                    <a:pt x="1716" y="198"/>
                  </a:lnTo>
                  <a:lnTo>
                    <a:pt x="1722" y="192"/>
                  </a:lnTo>
                  <a:lnTo>
                    <a:pt x="1722" y="186"/>
                  </a:lnTo>
                  <a:lnTo>
                    <a:pt x="1728" y="192"/>
                  </a:lnTo>
                  <a:lnTo>
                    <a:pt x="1734" y="192"/>
                  </a:lnTo>
                  <a:lnTo>
                    <a:pt x="1734" y="186"/>
                  </a:lnTo>
                  <a:lnTo>
                    <a:pt x="1740" y="186"/>
                  </a:lnTo>
                  <a:lnTo>
                    <a:pt x="1740" y="192"/>
                  </a:lnTo>
                  <a:lnTo>
                    <a:pt x="1746" y="192"/>
                  </a:lnTo>
                  <a:lnTo>
                    <a:pt x="1758" y="192"/>
                  </a:lnTo>
                  <a:lnTo>
                    <a:pt x="1764" y="192"/>
                  </a:lnTo>
                  <a:lnTo>
                    <a:pt x="1764" y="198"/>
                  </a:lnTo>
                  <a:lnTo>
                    <a:pt x="1758" y="204"/>
                  </a:lnTo>
                  <a:lnTo>
                    <a:pt x="1752" y="210"/>
                  </a:lnTo>
                  <a:lnTo>
                    <a:pt x="1746" y="216"/>
                  </a:lnTo>
                  <a:lnTo>
                    <a:pt x="1746" y="222"/>
                  </a:lnTo>
                  <a:lnTo>
                    <a:pt x="1734" y="228"/>
                  </a:lnTo>
                  <a:lnTo>
                    <a:pt x="1734" y="234"/>
                  </a:lnTo>
                  <a:lnTo>
                    <a:pt x="1734" y="258"/>
                  </a:lnTo>
                  <a:lnTo>
                    <a:pt x="1740" y="330"/>
                  </a:lnTo>
                  <a:lnTo>
                    <a:pt x="1746" y="372"/>
                  </a:lnTo>
                  <a:lnTo>
                    <a:pt x="1788" y="426"/>
                  </a:lnTo>
                  <a:lnTo>
                    <a:pt x="1806" y="438"/>
                  </a:lnTo>
                  <a:lnTo>
                    <a:pt x="1794" y="480"/>
                  </a:lnTo>
                  <a:lnTo>
                    <a:pt x="1770" y="516"/>
                  </a:lnTo>
                  <a:lnTo>
                    <a:pt x="1746" y="546"/>
                  </a:lnTo>
                  <a:lnTo>
                    <a:pt x="1716" y="570"/>
                  </a:lnTo>
                  <a:lnTo>
                    <a:pt x="1680" y="594"/>
                  </a:lnTo>
                  <a:lnTo>
                    <a:pt x="1668" y="630"/>
                  </a:lnTo>
                  <a:lnTo>
                    <a:pt x="1680" y="684"/>
                  </a:lnTo>
                  <a:lnTo>
                    <a:pt x="1686" y="756"/>
                  </a:lnTo>
                  <a:lnTo>
                    <a:pt x="1662" y="870"/>
                  </a:lnTo>
                  <a:lnTo>
                    <a:pt x="1656" y="888"/>
                  </a:lnTo>
                  <a:lnTo>
                    <a:pt x="1650" y="972"/>
                  </a:lnTo>
                  <a:lnTo>
                    <a:pt x="1656" y="978"/>
                  </a:lnTo>
                  <a:lnTo>
                    <a:pt x="1650" y="984"/>
                  </a:lnTo>
                  <a:lnTo>
                    <a:pt x="1650" y="990"/>
                  </a:lnTo>
                  <a:lnTo>
                    <a:pt x="1650" y="1002"/>
                  </a:lnTo>
                  <a:lnTo>
                    <a:pt x="1656" y="1008"/>
                  </a:lnTo>
                  <a:lnTo>
                    <a:pt x="1656" y="1014"/>
                  </a:lnTo>
                  <a:lnTo>
                    <a:pt x="1662" y="1026"/>
                  </a:lnTo>
                  <a:lnTo>
                    <a:pt x="1650" y="1032"/>
                  </a:lnTo>
                  <a:lnTo>
                    <a:pt x="1638" y="1044"/>
                  </a:lnTo>
                  <a:lnTo>
                    <a:pt x="1626" y="1080"/>
                  </a:lnTo>
                  <a:lnTo>
                    <a:pt x="1614" y="1116"/>
                  </a:lnTo>
                  <a:lnTo>
                    <a:pt x="1614" y="1128"/>
                  </a:lnTo>
                  <a:lnTo>
                    <a:pt x="1626" y="1134"/>
                  </a:lnTo>
                  <a:lnTo>
                    <a:pt x="1644" y="1134"/>
                  </a:lnTo>
                  <a:lnTo>
                    <a:pt x="1662" y="1134"/>
                  </a:lnTo>
                  <a:lnTo>
                    <a:pt x="1680" y="1140"/>
                  </a:lnTo>
                  <a:lnTo>
                    <a:pt x="1698" y="1170"/>
                  </a:lnTo>
                  <a:lnTo>
                    <a:pt x="1704" y="1194"/>
                  </a:lnTo>
                  <a:lnTo>
                    <a:pt x="1692" y="1206"/>
                  </a:lnTo>
                  <a:lnTo>
                    <a:pt x="1662" y="1242"/>
                  </a:lnTo>
                  <a:lnTo>
                    <a:pt x="1632" y="1266"/>
                  </a:lnTo>
                  <a:lnTo>
                    <a:pt x="1620" y="1314"/>
                  </a:lnTo>
                  <a:lnTo>
                    <a:pt x="1584" y="1356"/>
                  </a:lnTo>
                  <a:lnTo>
                    <a:pt x="1578" y="1356"/>
                  </a:lnTo>
                  <a:lnTo>
                    <a:pt x="1578" y="1362"/>
                  </a:lnTo>
                  <a:lnTo>
                    <a:pt x="1572" y="1410"/>
                  </a:lnTo>
                  <a:lnTo>
                    <a:pt x="1584" y="1452"/>
                  </a:lnTo>
                  <a:lnTo>
                    <a:pt x="1608" y="1476"/>
                  </a:lnTo>
                  <a:lnTo>
                    <a:pt x="1596" y="1476"/>
                  </a:lnTo>
                  <a:lnTo>
                    <a:pt x="1584" y="1482"/>
                  </a:lnTo>
                  <a:lnTo>
                    <a:pt x="1560" y="1482"/>
                  </a:lnTo>
                  <a:lnTo>
                    <a:pt x="1536" y="1482"/>
                  </a:lnTo>
                  <a:lnTo>
                    <a:pt x="1524" y="1482"/>
                  </a:lnTo>
                  <a:lnTo>
                    <a:pt x="1506" y="1500"/>
                  </a:lnTo>
                  <a:lnTo>
                    <a:pt x="1482" y="1530"/>
                  </a:lnTo>
                  <a:lnTo>
                    <a:pt x="1452" y="1542"/>
                  </a:lnTo>
                  <a:lnTo>
                    <a:pt x="1446" y="1542"/>
                  </a:lnTo>
                  <a:lnTo>
                    <a:pt x="1440" y="1542"/>
                  </a:lnTo>
                  <a:lnTo>
                    <a:pt x="1440" y="1548"/>
                  </a:lnTo>
                  <a:lnTo>
                    <a:pt x="1434" y="1548"/>
                  </a:lnTo>
                  <a:lnTo>
                    <a:pt x="1428" y="1548"/>
                  </a:lnTo>
                  <a:lnTo>
                    <a:pt x="1428" y="1554"/>
                  </a:lnTo>
                  <a:lnTo>
                    <a:pt x="1422" y="1560"/>
                  </a:lnTo>
                  <a:lnTo>
                    <a:pt x="1416" y="1560"/>
                  </a:lnTo>
                  <a:lnTo>
                    <a:pt x="1410" y="1566"/>
                  </a:lnTo>
                  <a:lnTo>
                    <a:pt x="1410" y="1560"/>
                  </a:lnTo>
                  <a:lnTo>
                    <a:pt x="1404" y="1560"/>
                  </a:lnTo>
                  <a:lnTo>
                    <a:pt x="1392" y="1560"/>
                  </a:lnTo>
                  <a:lnTo>
                    <a:pt x="1386" y="1560"/>
                  </a:lnTo>
                  <a:lnTo>
                    <a:pt x="1380" y="1566"/>
                  </a:lnTo>
                  <a:lnTo>
                    <a:pt x="1374" y="1560"/>
                  </a:lnTo>
                  <a:lnTo>
                    <a:pt x="1368" y="1566"/>
                  </a:lnTo>
                  <a:lnTo>
                    <a:pt x="1362" y="1566"/>
                  </a:lnTo>
                  <a:lnTo>
                    <a:pt x="1362" y="1572"/>
                  </a:lnTo>
                  <a:lnTo>
                    <a:pt x="1356" y="1572"/>
                  </a:lnTo>
                  <a:lnTo>
                    <a:pt x="1356" y="1578"/>
                  </a:lnTo>
                  <a:lnTo>
                    <a:pt x="1350" y="1578"/>
                  </a:lnTo>
                  <a:lnTo>
                    <a:pt x="1350" y="1572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32" y="1584"/>
                  </a:lnTo>
                  <a:lnTo>
                    <a:pt x="1326" y="1590"/>
                  </a:lnTo>
                  <a:lnTo>
                    <a:pt x="1320" y="1584"/>
                  </a:lnTo>
                  <a:lnTo>
                    <a:pt x="1314" y="1590"/>
                  </a:lnTo>
                  <a:lnTo>
                    <a:pt x="1308" y="1596"/>
                  </a:lnTo>
                  <a:lnTo>
                    <a:pt x="1302" y="1596"/>
                  </a:lnTo>
                  <a:lnTo>
                    <a:pt x="1296" y="1596"/>
                  </a:lnTo>
                  <a:lnTo>
                    <a:pt x="1290" y="1596"/>
                  </a:lnTo>
                  <a:lnTo>
                    <a:pt x="1284" y="1596"/>
                  </a:lnTo>
                  <a:lnTo>
                    <a:pt x="1278" y="1602"/>
                  </a:lnTo>
                  <a:lnTo>
                    <a:pt x="1266" y="1602"/>
                  </a:lnTo>
                  <a:lnTo>
                    <a:pt x="1272" y="1608"/>
                  </a:lnTo>
                  <a:lnTo>
                    <a:pt x="1278" y="1608"/>
                  </a:lnTo>
                  <a:lnTo>
                    <a:pt x="1284" y="1608"/>
                  </a:lnTo>
                  <a:lnTo>
                    <a:pt x="1290" y="1614"/>
                  </a:lnTo>
                  <a:lnTo>
                    <a:pt x="1296" y="1620"/>
                  </a:lnTo>
                  <a:lnTo>
                    <a:pt x="1302" y="1626"/>
                  </a:lnTo>
                  <a:lnTo>
                    <a:pt x="1308" y="1632"/>
                  </a:lnTo>
                  <a:lnTo>
                    <a:pt x="1314" y="1638"/>
                  </a:lnTo>
                  <a:lnTo>
                    <a:pt x="1314" y="1644"/>
                  </a:lnTo>
                  <a:lnTo>
                    <a:pt x="1320" y="1644"/>
                  </a:lnTo>
                  <a:lnTo>
                    <a:pt x="1320" y="1650"/>
                  </a:lnTo>
                  <a:lnTo>
                    <a:pt x="1326" y="1656"/>
                  </a:lnTo>
                  <a:lnTo>
                    <a:pt x="1332" y="1668"/>
                  </a:lnTo>
                  <a:lnTo>
                    <a:pt x="1338" y="1680"/>
                  </a:lnTo>
                  <a:lnTo>
                    <a:pt x="1338" y="1698"/>
                  </a:lnTo>
                  <a:lnTo>
                    <a:pt x="1350" y="1710"/>
                  </a:lnTo>
                  <a:lnTo>
                    <a:pt x="1350" y="1716"/>
                  </a:lnTo>
                  <a:lnTo>
                    <a:pt x="1350" y="1722"/>
                  </a:lnTo>
                  <a:lnTo>
                    <a:pt x="1350" y="1728"/>
                  </a:lnTo>
                  <a:lnTo>
                    <a:pt x="1356" y="1728"/>
                  </a:lnTo>
                  <a:lnTo>
                    <a:pt x="1356" y="1734"/>
                  </a:lnTo>
                  <a:lnTo>
                    <a:pt x="1350" y="1734"/>
                  </a:lnTo>
                  <a:lnTo>
                    <a:pt x="1344" y="1740"/>
                  </a:lnTo>
                  <a:lnTo>
                    <a:pt x="1338" y="1740"/>
                  </a:lnTo>
                  <a:lnTo>
                    <a:pt x="1332" y="1746"/>
                  </a:lnTo>
                  <a:lnTo>
                    <a:pt x="1326" y="1746"/>
                  </a:lnTo>
                  <a:lnTo>
                    <a:pt x="1326" y="1752"/>
                  </a:lnTo>
                  <a:lnTo>
                    <a:pt x="1320" y="1752"/>
                  </a:lnTo>
                  <a:lnTo>
                    <a:pt x="1320" y="1758"/>
                  </a:lnTo>
                  <a:lnTo>
                    <a:pt x="1314" y="1758"/>
                  </a:lnTo>
                  <a:lnTo>
                    <a:pt x="1308" y="1758"/>
                  </a:lnTo>
                  <a:lnTo>
                    <a:pt x="1302" y="1758"/>
                  </a:lnTo>
                  <a:lnTo>
                    <a:pt x="1296" y="1758"/>
                  </a:lnTo>
                  <a:lnTo>
                    <a:pt x="1290" y="1764"/>
                  </a:lnTo>
                  <a:lnTo>
                    <a:pt x="1284" y="1770"/>
                  </a:lnTo>
                  <a:lnTo>
                    <a:pt x="1278" y="1770"/>
                  </a:lnTo>
                  <a:lnTo>
                    <a:pt x="1272" y="1770"/>
                  </a:lnTo>
                  <a:lnTo>
                    <a:pt x="1266" y="1770"/>
                  </a:lnTo>
                  <a:lnTo>
                    <a:pt x="1266" y="1776"/>
                  </a:lnTo>
                  <a:lnTo>
                    <a:pt x="1260" y="177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4" name="Freeform 39">
              <a:extLst>
                <a:ext uri="{FF2B5EF4-FFF2-40B4-BE49-F238E27FC236}">
                  <a16:creationId xmlns:a16="http://schemas.microsoft.com/office/drawing/2014/main" id="{E01CDA8B-32C7-421A-B23E-968CAC7F78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2974" y="1759680"/>
              <a:ext cx="825155" cy="700024"/>
            </a:xfrm>
            <a:custGeom>
              <a:avLst/>
              <a:gdLst>
                <a:gd name="T0" fmla="*/ 60 w 1554"/>
                <a:gd name="T1" fmla="*/ 86 h 1320"/>
                <a:gd name="T2" fmla="*/ 66 w 1554"/>
                <a:gd name="T3" fmla="*/ 80 h 1320"/>
                <a:gd name="T4" fmla="*/ 61 w 1554"/>
                <a:gd name="T5" fmla="*/ 73 h 1320"/>
                <a:gd name="T6" fmla="*/ 57 w 1554"/>
                <a:gd name="T7" fmla="*/ 67 h 1320"/>
                <a:gd name="T8" fmla="*/ 60 w 1554"/>
                <a:gd name="T9" fmla="*/ 59 h 1320"/>
                <a:gd name="T10" fmla="*/ 56 w 1554"/>
                <a:gd name="T11" fmla="*/ 55 h 1320"/>
                <a:gd name="T12" fmla="*/ 45 w 1554"/>
                <a:gd name="T13" fmla="*/ 53 h 1320"/>
                <a:gd name="T14" fmla="*/ 42 w 1554"/>
                <a:gd name="T15" fmla="*/ 41 h 1320"/>
                <a:gd name="T16" fmla="*/ 37 w 1554"/>
                <a:gd name="T17" fmla="*/ 39 h 1320"/>
                <a:gd name="T18" fmla="*/ 31 w 1554"/>
                <a:gd name="T19" fmla="*/ 44 h 1320"/>
                <a:gd name="T20" fmla="*/ 37 w 1554"/>
                <a:gd name="T21" fmla="*/ 35 h 1320"/>
                <a:gd name="T22" fmla="*/ 30 w 1554"/>
                <a:gd name="T23" fmla="*/ 23 h 1320"/>
                <a:gd name="T24" fmla="*/ 21 w 1554"/>
                <a:gd name="T25" fmla="*/ 23 h 1320"/>
                <a:gd name="T26" fmla="*/ 15 w 1554"/>
                <a:gd name="T27" fmla="*/ 27 h 1320"/>
                <a:gd name="T28" fmla="*/ 11 w 1554"/>
                <a:gd name="T29" fmla="*/ 32 h 1320"/>
                <a:gd name="T30" fmla="*/ 6 w 1554"/>
                <a:gd name="T31" fmla="*/ 22 h 1320"/>
                <a:gd name="T32" fmla="*/ 3 w 1554"/>
                <a:gd name="T33" fmla="*/ 11 h 1320"/>
                <a:gd name="T34" fmla="*/ 24 w 1554"/>
                <a:gd name="T35" fmla="*/ 12 h 1320"/>
                <a:gd name="T36" fmla="*/ 33 w 1554"/>
                <a:gd name="T37" fmla="*/ 19 h 1320"/>
                <a:gd name="T38" fmla="*/ 49 w 1554"/>
                <a:gd name="T39" fmla="*/ 12 h 1320"/>
                <a:gd name="T40" fmla="*/ 58 w 1554"/>
                <a:gd name="T41" fmla="*/ 10 h 1320"/>
                <a:gd name="T42" fmla="*/ 68 w 1554"/>
                <a:gd name="T43" fmla="*/ 11 h 1320"/>
                <a:gd name="T44" fmla="*/ 79 w 1554"/>
                <a:gd name="T45" fmla="*/ 12 h 1320"/>
                <a:gd name="T46" fmla="*/ 96 w 1554"/>
                <a:gd name="T47" fmla="*/ 11 h 1320"/>
                <a:gd name="T48" fmla="*/ 107 w 1554"/>
                <a:gd name="T49" fmla="*/ 2 h 1320"/>
                <a:gd name="T50" fmla="*/ 117 w 1554"/>
                <a:gd name="T51" fmla="*/ 8 h 1320"/>
                <a:gd name="T52" fmla="*/ 126 w 1554"/>
                <a:gd name="T53" fmla="*/ 12 h 1320"/>
                <a:gd name="T54" fmla="*/ 134 w 1554"/>
                <a:gd name="T55" fmla="*/ 24 h 1320"/>
                <a:gd name="T56" fmla="*/ 133 w 1554"/>
                <a:gd name="T57" fmla="*/ 29 h 1320"/>
                <a:gd name="T58" fmla="*/ 129 w 1554"/>
                <a:gd name="T59" fmla="*/ 31 h 1320"/>
                <a:gd name="T60" fmla="*/ 125 w 1554"/>
                <a:gd name="T61" fmla="*/ 32 h 1320"/>
                <a:gd name="T62" fmla="*/ 115 w 1554"/>
                <a:gd name="T63" fmla="*/ 34 h 1320"/>
                <a:gd name="T64" fmla="*/ 113 w 1554"/>
                <a:gd name="T65" fmla="*/ 44 h 1320"/>
                <a:gd name="T66" fmla="*/ 111 w 1554"/>
                <a:gd name="T67" fmla="*/ 54 h 1320"/>
                <a:gd name="T68" fmla="*/ 107 w 1554"/>
                <a:gd name="T69" fmla="*/ 56 h 1320"/>
                <a:gd name="T70" fmla="*/ 102 w 1554"/>
                <a:gd name="T71" fmla="*/ 58 h 1320"/>
                <a:gd name="T72" fmla="*/ 99 w 1554"/>
                <a:gd name="T73" fmla="*/ 60 h 1320"/>
                <a:gd name="T74" fmla="*/ 93 w 1554"/>
                <a:gd name="T75" fmla="*/ 62 h 1320"/>
                <a:gd name="T76" fmla="*/ 87 w 1554"/>
                <a:gd name="T77" fmla="*/ 64 h 1320"/>
                <a:gd name="T78" fmla="*/ 84 w 1554"/>
                <a:gd name="T79" fmla="*/ 65 h 1320"/>
                <a:gd name="T80" fmla="*/ 81 w 1554"/>
                <a:gd name="T81" fmla="*/ 69 h 1320"/>
                <a:gd name="T82" fmla="*/ 83 w 1554"/>
                <a:gd name="T83" fmla="*/ 72 h 1320"/>
                <a:gd name="T84" fmla="*/ 92 w 1554"/>
                <a:gd name="T85" fmla="*/ 73 h 1320"/>
                <a:gd name="T86" fmla="*/ 93 w 1554"/>
                <a:gd name="T87" fmla="*/ 87 h 1320"/>
                <a:gd name="T88" fmla="*/ 104 w 1554"/>
                <a:gd name="T89" fmla="*/ 98 h 1320"/>
                <a:gd name="T90" fmla="*/ 108 w 1554"/>
                <a:gd name="T91" fmla="*/ 98 h 1320"/>
                <a:gd name="T92" fmla="*/ 112 w 1554"/>
                <a:gd name="T93" fmla="*/ 100 h 1320"/>
                <a:gd name="T94" fmla="*/ 118 w 1554"/>
                <a:gd name="T95" fmla="*/ 100 h 1320"/>
                <a:gd name="T96" fmla="*/ 122 w 1554"/>
                <a:gd name="T97" fmla="*/ 102 h 1320"/>
                <a:gd name="T98" fmla="*/ 118 w 1554"/>
                <a:gd name="T99" fmla="*/ 105 h 1320"/>
                <a:gd name="T100" fmla="*/ 114 w 1554"/>
                <a:gd name="T101" fmla="*/ 107 h 1320"/>
                <a:gd name="T102" fmla="*/ 113 w 1554"/>
                <a:gd name="T103" fmla="*/ 113 h 1320"/>
                <a:gd name="T104" fmla="*/ 104 w 1554"/>
                <a:gd name="T105" fmla="*/ 113 h 1320"/>
                <a:gd name="T106" fmla="*/ 93 w 1554"/>
                <a:gd name="T107" fmla="*/ 109 h 1320"/>
                <a:gd name="T108" fmla="*/ 96 w 1554"/>
                <a:gd name="T109" fmla="*/ 103 h 1320"/>
                <a:gd name="T110" fmla="*/ 95 w 1554"/>
                <a:gd name="T111" fmla="*/ 97 h 1320"/>
                <a:gd name="T112" fmla="*/ 87 w 1554"/>
                <a:gd name="T113" fmla="*/ 98 h 1320"/>
                <a:gd name="T114" fmla="*/ 81 w 1554"/>
                <a:gd name="T115" fmla="*/ 98 h 1320"/>
                <a:gd name="T116" fmla="*/ 78 w 1554"/>
                <a:gd name="T117" fmla="*/ 93 h 1320"/>
                <a:gd name="T118" fmla="*/ 65 w 1554"/>
                <a:gd name="T119" fmla="*/ 92 h 1320"/>
                <a:gd name="T120" fmla="*/ 59 w 1554"/>
                <a:gd name="T121" fmla="*/ 92 h 13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54"/>
                <a:gd name="T184" fmla="*/ 0 h 1320"/>
                <a:gd name="T185" fmla="*/ 1554 w 1554"/>
                <a:gd name="T186" fmla="*/ 1320 h 132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54" h="1320">
                  <a:moveTo>
                    <a:pt x="684" y="1068"/>
                  </a:moveTo>
                  <a:lnTo>
                    <a:pt x="684" y="1062"/>
                  </a:lnTo>
                  <a:lnTo>
                    <a:pt x="690" y="1056"/>
                  </a:lnTo>
                  <a:lnTo>
                    <a:pt x="690" y="1050"/>
                  </a:lnTo>
                  <a:lnTo>
                    <a:pt x="690" y="1044"/>
                  </a:lnTo>
                  <a:lnTo>
                    <a:pt x="690" y="1038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14"/>
                  </a:lnTo>
                  <a:lnTo>
                    <a:pt x="690" y="1008"/>
                  </a:lnTo>
                  <a:lnTo>
                    <a:pt x="696" y="996"/>
                  </a:lnTo>
                  <a:lnTo>
                    <a:pt x="714" y="996"/>
                  </a:lnTo>
                  <a:lnTo>
                    <a:pt x="714" y="990"/>
                  </a:lnTo>
                  <a:lnTo>
                    <a:pt x="732" y="984"/>
                  </a:lnTo>
                  <a:lnTo>
                    <a:pt x="744" y="978"/>
                  </a:lnTo>
                  <a:lnTo>
                    <a:pt x="762" y="966"/>
                  </a:lnTo>
                  <a:lnTo>
                    <a:pt x="762" y="960"/>
                  </a:lnTo>
                  <a:lnTo>
                    <a:pt x="768" y="954"/>
                  </a:lnTo>
                  <a:lnTo>
                    <a:pt x="774" y="948"/>
                  </a:lnTo>
                  <a:lnTo>
                    <a:pt x="774" y="942"/>
                  </a:lnTo>
                  <a:lnTo>
                    <a:pt x="774" y="924"/>
                  </a:lnTo>
                  <a:lnTo>
                    <a:pt x="768" y="918"/>
                  </a:lnTo>
                  <a:lnTo>
                    <a:pt x="756" y="918"/>
                  </a:lnTo>
                  <a:lnTo>
                    <a:pt x="744" y="918"/>
                  </a:lnTo>
                  <a:lnTo>
                    <a:pt x="732" y="924"/>
                  </a:lnTo>
                  <a:lnTo>
                    <a:pt x="726" y="912"/>
                  </a:lnTo>
                  <a:lnTo>
                    <a:pt x="720" y="912"/>
                  </a:lnTo>
                  <a:lnTo>
                    <a:pt x="720" y="900"/>
                  </a:lnTo>
                  <a:lnTo>
                    <a:pt x="720" y="870"/>
                  </a:lnTo>
                  <a:lnTo>
                    <a:pt x="696" y="876"/>
                  </a:lnTo>
                  <a:lnTo>
                    <a:pt x="690" y="852"/>
                  </a:lnTo>
                  <a:lnTo>
                    <a:pt x="702" y="852"/>
                  </a:lnTo>
                  <a:lnTo>
                    <a:pt x="702" y="840"/>
                  </a:lnTo>
                  <a:lnTo>
                    <a:pt x="708" y="834"/>
                  </a:lnTo>
                  <a:lnTo>
                    <a:pt x="702" y="822"/>
                  </a:lnTo>
                  <a:lnTo>
                    <a:pt x="660" y="822"/>
                  </a:lnTo>
                  <a:lnTo>
                    <a:pt x="654" y="822"/>
                  </a:lnTo>
                  <a:lnTo>
                    <a:pt x="642" y="822"/>
                  </a:lnTo>
                  <a:lnTo>
                    <a:pt x="642" y="810"/>
                  </a:lnTo>
                  <a:lnTo>
                    <a:pt x="642" y="798"/>
                  </a:lnTo>
                  <a:lnTo>
                    <a:pt x="642" y="792"/>
                  </a:lnTo>
                  <a:lnTo>
                    <a:pt x="648" y="780"/>
                  </a:lnTo>
                  <a:lnTo>
                    <a:pt x="654" y="774"/>
                  </a:lnTo>
                  <a:lnTo>
                    <a:pt x="660" y="774"/>
                  </a:lnTo>
                  <a:lnTo>
                    <a:pt x="672" y="762"/>
                  </a:lnTo>
                  <a:lnTo>
                    <a:pt x="672" y="756"/>
                  </a:lnTo>
                  <a:lnTo>
                    <a:pt x="678" y="750"/>
                  </a:lnTo>
                  <a:lnTo>
                    <a:pt x="684" y="750"/>
                  </a:lnTo>
                  <a:lnTo>
                    <a:pt x="690" y="744"/>
                  </a:lnTo>
                  <a:lnTo>
                    <a:pt x="696" y="732"/>
                  </a:lnTo>
                  <a:lnTo>
                    <a:pt x="696" y="726"/>
                  </a:lnTo>
                  <a:lnTo>
                    <a:pt x="702" y="714"/>
                  </a:lnTo>
                  <a:lnTo>
                    <a:pt x="696" y="708"/>
                  </a:lnTo>
                  <a:lnTo>
                    <a:pt x="690" y="690"/>
                  </a:lnTo>
                  <a:lnTo>
                    <a:pt x="696" y="678"/>
                  </a:lnTo>
                  <a:lnTo>
                    <a:pt x="708" y="672"/>
                  </a:lnTo>
                  <a:lnTo>
                    <a:pt x="708" y="660"/>
                  </a:lnTo>
                  <a:lnTo>
                    <a:pt x="702" y="660"/>
                  </a:lnTo>
                  <a:lnTo>
                    <a:pt x="696" y="660"/>
                  </a:lnTo>
                  <a:lnTo>
                    <a:pt x="690" y="654"/>
                  </a:lnTo>
                  <a:lnTo>
                    <a:pt x="684" y="654"/>
                  </a:lnTo>
                  <a:lnTo>
                    <a:pt x="690" y="606"/>
                  </a:lnTo>
                  <a:lnTo>
                    <a:pt x="660" y="606"/>
                  </a:lnTo>
                  <a:lnTo>
                    <a:pt x="660" y="612"/>
                  </a:lnTo>
                  <a:lnTo>
                    <a:pt x="648" y="612"/>
                  </a:lnTo>
                  <a:lnTo>
                    <a:pt x="642" y="636"/>
                  </a:lnTo>
                  <a:lnTo>
                    <a:pt x="636" y="636"/>
                  </a:lnTo>
                  <a:lnTo>
                    <a:pt x="630" y="648"/>
                  </a:lnTo>
                  <a:lnTo>
                    <a:pt x="612" y="648"/>
                  </a:lnTo>
                  <a:lnTo>
                    <a:pt x="606" y="636"/>
                  </a:lnTo>
                  <a:lnTo>
                    <a:pt x="600" y="630"/>
                  </a:lnTo>
                  <a:lnTo>
                    <a:pt x="588" y="606"/>
                  </a:lnTo>
                  <a:lnTo>
                    <a:pt x="552" y="606"/>
                  </a:lnTo>
                  <a:lnTo>
                    <a:pt x="552" y="612"/>
                  </a:lnTo>
                  <a:lnTo>
                    <a:pt x="540" y="612"/>
                  </a:lnTo>
                  <a:lnTo>
                    <a:pt x="540" y="606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16" y="612"/>
                  </a:lnTo>
                  <a:lnTo>
                    <a:pt x="516" y="582"/>
                  </a:lnTo>
                  <a:lnTo>
                    <a:pt x="522" y="576"/>
                  </a:lnTo>
                  <a:lnTo>
                    <a:pt x="528" y="576"/>
                  </a:lnTo>
                  <a:lnTo>
                    <a:pt x="528" y="552"/>
                  </a:lnTo>
                  <a:lnTo>
                    <a:pt x="522" y="540"/>
                  </a:lnTo>
                  <a:lnTo>
                    <a:pt x="510" y="528"/>
                  </a:lnTo>
                  <a:lnTo>
                    <a:pt x="486" y="510"/>
                  </a:lnTo>
                  <a:lnTo>
                    <a:pt x="480" y="498"/>
                  </a:lnTo>
                  <a:lnTo>
                    <a:pt x="480" y="474"/>
                  </a:lnTo>
                  <a:lnTo>
                    <a:pt x="492" y="468"/>
                  </a:lnTo>
                  <a:lnTo>
                    <a:pt x="486" y="450"/>
                  </a:lnTo>
                  <a:lnTo>
                    <a:pt x="474" y="456"/>
                  </a:lnTo>
                  <a:lnTo>
                    <a:pt x="468" y="456"/>
                  </a:lnTo>
                  <a:lnTo>
                    <a:pt x="462" y="456"/>
                  </a:lnTo>
                  <a:lnTo>
                    <a:pt x="456" y="468"/>
                  </a:lnTo>
                  <a:lnTo>
                    <a:pt x="456" y="474"/>
                  </a:lnTo>
                  <a:lnTo>
                    <a:pt x="450" y="480"/>
                  </a:lnTo>
                  <a:lnTo>
                    <a:pt x="444" y="450"/>
                  </a:lnTo>
                  <a:lnTo>
                    <a:pt x="438" y="450"/>
                  </a:lnTo>
                  <a:lnTo>
                    <a:pt x="432" y="450"/>
                  </a:lnTo>
                  <a:lnTo>
                    <a:pt x="420" y="450"/>
                  </a:lnTo>
                  <a:lnTo>
                    <a:pt x="420" y="456"/>
                  </a:lnTo>
                  <a:lnTo>
                    <a:pt x="414" y="456"/>
                  </a:lnTo>
                  <a:lnTo>
                    <a:pt x="408" y="468"/>
                  </a:lnTo>
                  <a:lnTo>
                    <a:pt x="402" y="468"/>
                  </a:lnTo>
                  <a:lnTo>
                    <a:pt x="396" y="474"/>
                  </a:lnTo>
                  <a:lnTo>
                    <a:pt x="390" y="492"/>
                  </a:lnTo>
                  <a:lnTo>
                    <a:pt x="384" y="504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54" y="510"/>
                  </a:lnTo>
                  <a:lnTo>
                    <a:pt x="360" y="480"/>
                  </a:lnTo>
                  <a:lnTo>
                    <a:pt x="360" y="474"/>
                  </a:lnTo>
                  <a:lnTo>
                    <a:pt x="378" y="456"/>
                  </a:lnTo>
                  <a:lnTo>
                    <a:pt x="384" y="450"/>
                  </a:lnTo>
                  <a:lnTo>
                    <a:pt x="396" y="444"/>
                  </a:lnTo>
                  <a:lnTo>
                    <a:pt x="402" y="438"/>
                  </a:lnTo>
                  <a:lnTo>
                    <a:pt x="408" y="438"/>
                  </a:lnTo>
                  <a:lnTo>
                    <a:pt x="408" y="426"/>
                  </a:lnTo>
                  <a:lnTo>
                    <a:pt x="414" y="420"/>
                  </a:lnTo>
                  <a:lnTo>
                    <a:pt x="426" y="420"/>
                  </a:lnTo>
                  <a:lnTo>
                    <a:pt x="426" y="408"/>
                  </a:lnTo>
                  <a:lnTo>
                    <a:pt x="420" y="390"/>
                  </a:lnTo>
                  <a:lnTo>
                    <a:pt x="408" y="384"/>
                  </a:lnTo>
                  <a:lnTo>
                    <a:pt x="378" y="378"/>
                  </a:lnTo>
                  <a:lnTo>
                    <a:pt x="354" y="366"/>
                  </a:lnTo>
                  <a:lnTo>
                    <a:pt x="342" y="360"/>
                  </a:lnTo>
                  <a:lnTo>
                    <a:pt x="342" y="348"/>
                  </a:lnTo>
                  <a:lnTo>
                    <a:pt x="336" y="330"/>
                  </a:lnTo>
                  <a:lnTo>
                    <a:pt x="348" y="306"/>
                  </a:lnTo>
                  <a:lnTo>
                    <a:pt x="360" y="294"/>
                  </a:lnTo>
                  <a:lnTo>
                    <a:pt x="360" y="282"/>
                  </a:lnTo>
                  <a:lnTo>
                    <a:pt x="342" y="270"/>
                  </a:lnTo>
                  <a:lnTo>
                    <a:pt x="342" y="264"/>
                  </a:lnTo>
                  <a:lnTo>
                    <a:pt x="330" y="264"/>
                  </a:lnTo>
                  <a:lnTo>
                    <a:pt x="312" y="270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88" y="270"/>
                  </a:lnTo>
                  <a:lnTo>
                    <a:pt x="282" y="270"/>
                  </a:lnTo>
                  <a:lnTo>
                    <a:pt x="276" y="264"/>
                  </a:lnTo>
                  <a:lnTo>
                    <a:pt x="270" y="264"/>
                  </a:lnTo>
                  <a:lnTo>
                    <a:pt x="252" y="270"/>
                  </a:lnTo>
                  <a:lnTo>
                    <a:pt x="246" y="270"/>
                  </a:lnTo>
                  <a:lnTo>
                    <a:pt x="240" y="270"/>
                  </a:lnTo>
                  <a:lnTo>
                    <a:pt x="228" y="270"/>
                  </a:lnTo>
                  <a:lnTo>
                    <a:pt x="216" y="276"/>
                  </a:lnTo>
                  <a:lnTo>
                    <a:pt x="210" y="270"/>
                  </a:lnTo>
                  <a:lnTo>
                    <a:pt x="204" y="270"/>
                  </a:lnTo>
                  <a:lnTo>
                    <a:pt x="198" y="276"/>
                  </a:lnTo>
                  <a:lnTo>
                    <a:pt x="192" y="276"/>
                  </a:lnTo>
                  <a:lnTo>
                    <a:pt x="186" y="282"/>
                  </a:lnTo>
                  <a:lnTo>
                    <a:pt x="180" y="288"/>
                  </a:lnTo>
                  <a:lnTo>
                    <a:pt x="174" y="300"/>
                  </a:lnTo>
                  <a:lnTo>
                    <a:pt x="168" y="306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8" y="330"/>
                  </a:lnTo>
                  <a:lnTo>
                    <a:pt x="162" y="336"/>
                  </a:lnTo>
                  <a:lnTo>
                    <a:pt x="156" y="342"/>
                  </a:lnTo>
                  <a:lnTo>
                    <a:pt x="156" y="348"/>
                  </a:lnTo>
                  <a:lnTo>
                    <a:pt x="156" y="354"/>
                  </a:lnTo>
                  <a:lnTo>
                    <a:pt x="150" y="366"/>
                  </a:lnTo>
                  <a:lnTo>
                    <a:pt x="150" y="372"/>
                  </a:lnTo>
                  <a:lnTo>
                    <a:pt x="144" y="366"/>
                  </a:lnTo>
                  <a:lnTo>
                    <a:pt x="132" y="366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20" y="348"/>
                  </a:lnTo>
                  <a:lnTo>
                    <a:pt x="102" y="330"/>
                  </a:lnTo>
                  <a:lnTo>
                    <a:pt x="96" y="318"/>
                  </a:lnTo>
                  <a:lnTo>
                    <a:pt x="96" y="282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0" y="258"/>
                  </a:lnTo>
                  <a:lnTo>
                    <a:pt x="84" y="252"/>
                  </a:lnTo>
                  <a:lnTo>
                    <a:pt x="66" y="258"/>
                  </a:lnTo>
                  <a:lnTo>
                    <a:pt x="60" y="246"/>
                  </a:lnTo>
                  <a:lnTo>
                    <a:pt x="30" y="252"/>
                  </a:lnTo>
                  <a:lnTo>
                    <a:pt x="18" y="246"/>
                  </a:lnTo>
                  <a:lnTo>
                    <a:pt x="0" y="240"/>
                  </a:lnTo>
                  <a:lnTo>
                    <a:pt x="0" y="234"/>
                  </a:lnTo>
                  <a:lnTo>
                    <a:pt x="0" y="210"/>
                  </a:lnTo>
                  <a:lnTo>
                    <a:pt x="6" y="204"/>
                  </a:lnTo>
                  <a:lnTo>
                    <a:pt x="18" y="192"/>
                  </a:lnTo>
                  <a:lnTo>
                    <a:pt x="18" y="144"/>
                  </a:lnTo>
                  <a:lnTo>
                    <a:pt x="24" y="126"/>
                  </a:lnTo>
                  <a:lnTo>
                    <a:pt x="36" y="126"/>
                  </a:lnTo>
                  <a:lnTo>
                    <a:pt x="54" y="120"/>
                  </a:lnTo>
                  <a:lnTo>
                    <a:pt x="54" y="126"/>
                  </a:lnTo>
                  <a:lnTo>
                    <a:pt x="132" y="114"/>
                  </a:lnTo>
                  <a:lnTo>
                    <a:pt x="144" y="120"/>
                  </a:lnTo>
                  <a:lnTo>
                    <a:pt x="150" y="132"/>
                  </a:lnTo>
                  <a:lnTo>
                    <a:pt x="180" y="126"/>
                  </a:lnTo>
                  <a:lnTo>
                    <a:pt x="210" y="120"/>
                  </a:lnTo>
                  <a:lnTo>
                    <a:pt x="240" y="120"/>
                  </a:lnTo>
                  <a:lnTo>
                    <a:pt x="258" y="120"/>
                  </a:lnTo>
                  <a:lnTo>
                    <a:pt x="270" y="126"/>
                  </a:lnTo>
                  <a:lnTo>
                    <a:pt x="276" y="132"/>
                  </a:lnTo>
                  <a:lnTo>
                    <a:pt x="282" y="138"/>
                  </a:lnTo>
                  <a:lnTo>
                    <a:pt x="282" y="156"/>
                  </a:lnTo>
                  <a:lnTo>
                    <a:pt x="288" y="186"/>
                  </a:lnTo>
                  <a:lnTo>
                    <a:pt x="312" y="192"/>
                  </a:lnTo>
                  <a:lnTo>
                    <a:pt x="318" y="198"/>
                  </a:lnTo>
                  <a:lnTo>
                    <a:pt x="324" y="204"/>
                  </a:lnTo>
                  <a:lnTo>
                    <a:pt x="330" y="210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66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86" y="210"/>
                  </a:lnTo>
                  <a:lnTo>
                    <a:pt x="498" y="198"/>
                  </a:lnTo>
                  <a:lnTo>
                    <a:pt x="504" y="174"/>
                  </a:lnTo>
                  <a:lnTo>
                    <a:pt x="516" y="162"/>
                  </a:lnTo>
                  <a:lnTo>
                    <a:pt x="516" y="138"/>
                  </a:lnTo>
                  <a:lnTo>
                    <a:pt x="522" y="132"/>
                  </a:lnTo>
                  <a:lnTo>
                    <a:pt x="564" y="132"/>
                  </a:lnTo>
                  <a:lnTo>
                    <a:pt x="564" y="114"/>
                  </a:lnTo>
                  <a:lnTo>
                    <a:pt x="582" y="114"/>
                  </a:lnTo>
                  <a:lnTo>
                    <a:pt x="594" y="114"/>
                  </a:lnTo>
                  <a:lnTo>
                    <a:pt x="606" y="114"/>
                  </a:lnTo>
                  <a:lnTo>
                    <a:pt x="612" y="114"/>
                  </a:lnTo>
                  <a:lnTo>
                    <a:pt x="630" y="114"/>
                  </a:lnTo>
                  <a:lnTo>
                    <a:pt x="636" y="114"/>
                  </a:lnTo>
                  <a:lnTo>
                    <a:pt x="648" y="114"/>
                  </a:lnTo>
                  <a:lnTo>
                    <a:pt x="654" y="114"/>
                  </a:lnTo>
                  <a:lnTo>
                    <a:pt x="660" y="120"/>
                  </a:lnTo>
                  <a:lnTo>
                    <a:pt x="672" y="120"/>
                  </a:lnTo>
                  <a:lnTo>
                    <a:pt x="684" y="120"/>
                  </a:lnTo>
                  <a:lnTo>
                    <a:pt x="690" y="120"/>
                  </a:lnTo>
                  <a:lnTo>
                    <a:pt x="702" y="120"/>
                  </a:lnTo>
                  <a:lnTo>
                    <a:pt x="708" y="120"/>
                  </a:lnTo>
                  <a:lnTo>
                    <a:pt x="726" y="126"/>
                  </a:lnTo>
                  <a:lnTo>
                    <a:pt x="732" y="126"/>
                  </a:lnTo>
                  <a:lnTo>
                    <a:pt x="738" y="126"/>
                  </a:lnTo>
                  <a:lnTo>
                    <a:pt x="750" y="126"/>
                  </a:lnTo>
                  <a:lnTo>
                    <a:pt x="756" y="126"/>
                  </a:lnTo>
                  <a:lnTo>
                    <a:pt x="768" y="126"/>
                  </a:lnTo>
                  <a:lnTo>
                    <a:pt x="780" y="126"/>
                  </a:lnTo>
                  <a:lnTo>
                    <a:pt x="786" y="120"/>
                  </a:lnTo>
                  <a:lnTo>
                    <a:pt x="792" y="120"/>
                  </a:lnTo>
                  <a:lnTo>
                    <a:pt x="810" y="120"/>
                  </a:lnTo>
                  <a:lnTo>
                    <a:pt x="822" y="120"/>
                  </a:lnTo>
                  <a:lnTo>
                    <a:pt x="846" y="126"/>
                  </a:lnTo>
                  <a:lnTo>
                    <a:pt x="858" y="126"/>
                  </a:lnTo>
                  <a:lnTo>
                    <a:pt x="870" y="132"/>
                  </a:lnTo>
                  <a:lnTo>
                    <a:pt x="882" y="132"/>
                  </a:lnTo>
                  <a:lnTo>
                    <a:pt x="894" y="132"/>
                  </a:lnTo>
                  <a:lnTo>
                    <a:pt x="900" y="132"/>
                  </a:lnTo>
                  <a:lnTo>
                    <a:pt x="912" y="132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36" y="132"/>
                  </a:lnTo>
                  <a:lnTo>
                    <a:pt x="960" y="132"/>
                  </a:lnTo>
                  <a:lnTo>
                    <a:pt x="966" y="144"/>
                  </a:lnTo>
                  <a:lnTo>
                    <a:pt x="972" y="144"/>
                  </a:lnTo>
                  <a:lnTo>
                    <a:pt x="1002" y="144"/>
                  </a:lnTo>
                  <a:lnTo>
                    <a:pt x="1020" y="144"/>
                  </a:lnTo>
                  <a:lnTo>
                    <a:pt x="1068" y="138"/>
                  </a:lnTo>
                  <a:lnTo>
                    <a:pt x="1110" y="132"/>
                  </a:lnTo>
                  <a:lnTo>
                    <a:pt x="1110" y="126"/>
                  </a:lnTo>
                  <a:lnTo>
                    <a:pt x="1116" y="120"/>
                  </a:lnTo>
                  <a:lnTo>
                    <a:pt x="1122" y="108"/>
                  </a:lnTo>
                  <a:lnTo>
                    <a:pt x="1134" y="96"/>
                  </a:lnTo>
                  <a:lnTo>
                    <a:pt x="1146" y="60"/>
                  </a:lnTo>
                  <a:lnTo>
                    <a:pt x="1158" y="54"/>
                  </a:lnTo>
                  <a:lnTo>
                    <a:pt x="1170" y="48"/>
                  </a:lnTo>
                  <a:lnTo>
                    <a:pt x="1188" y="42"/>
                  </a:lnTo>
                  <a:lnTo>
                    <a:pt x="1200" y="36"/>
                  </a:lnTo>
                  <a:lnTo>
                    <a:pt x="1212" y="36"/>
                  </a:lnTo>
                  <a:lnTo>
                    <a:pt x="1236" y="30"/>
                  </a:lnTo>
                  <a:lnTo>
                    <a:pt x="1236" y="24"/>
                  </a:lnTo>
                  <a:lnTo>
                    <a:pt x="1278" y="18"/>
                  </a:lnTo>
                  <a:lnTo>
                    <a:pt x="1290" y="18"/>
                  </a:lnTo>
                  <a:lnTo>
                    <a:pt x="1302" y="12"/>
                  </a:lnTo>
                  <a:lnTo>
                    <a:pt x="1314" y="0"/>
                  </a:lnTo>
                  <a:lnTo>
                    <a:pt x="1332" y="0"/>
                  </a:lnTo>
                  <a:lnTo>
                    <a:pt x="1338" y="24"/>
                  </a:lnTo>
                  <a:lnTo>
                    <a:pt x="1344" y="30"/>
                  </a:lnTo>
                  <a:lnTo>
                    <a:pt x="1350" y="42"/>
                  </a:lnTo>
                  <a:lnTo>
                    <a:pt x="1356" y="48"/>
                  </a:lnTo>
                  <a:lnTo>
                    <a:pt x="1356" y="78"/>
                  </a:lnTo>
                  <a:lnTo>
                    <a:pt x="1350" y="96"/>
                  </a:lnTo>
                  <a:lnTo>
                    <a:pt x="1338" y="108"/>
                  </a:lnTo>
                  <a:lnTo>
                    <a:pt x="1338" y="114"/>
                  </a:lnTo>
                  <a:lnTo>
                    <a:pt x="1338" y="120"/>
                  </a:lnTo>
                  <a:lnTo>
                    <a:pt x="1338" y="126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398" y="114"/>
                  </a:lnTo>
                  <a:lnTo>
                    <a:pt x="1416" y="120"/>
                  </a:lnTo>
                  <a:lnTo>
                    <a:pt x="1434" y="126"/>
                  </a:lnTo>
                  <a:lnTo>
                    <a:pt x="1458" y="132"/>
                  </a:lnTo>
                  <a:lnTo>
                    <a:pt x="1458" y="138"/>
                  </a:lnTo>
                  <a:lnTo>
                    <a:pt x="1512" y="138"/>
                  </a:lnTo>
                  <a:lnTo>
                    <a:pt x="1512" y="132"/>
                  </a:lnTo>
                  <a:lnTo>
                    <a:pt x="1524" y="138"/>
                  </a:lnTo>
                  <a:lnTo>
                    <a:pt x="1542" y="138"/>
                  </a:lnTo>
                  <a:lnTo>
                    <a:pt x="1542" y="150"/>
                  </a:lnTo>
                  <a:lnTo>
                    <a:pt x="1542" y="162"/>
                  </a:lnTo>
                  <a:lnTo>
                    <a:pt x="1548" y="174"/>
                  </a:lnTo>
                  <a:lnTo>
                    <a:pt x="1548" y="180"/>
                  </a:lnTo>
                  <a:lnTo>
                    <a:pt x="1554" y="222"/>
                  </a:lnTo>
                  <a:lnTo>
                    <a:pt x="1554" y="258"/>
                  </a:lnTo>
                  <a:lnTo>
                    <a:pt x="1554" y="276"/>
                  </a:lnTo>
                  <a:lnTo>
                    <a:pt x="1554" y="282"/>
                  </a:lnTo>
                  <a:lnTo>
                    <a:pt x="1554" y="294"/>
                  </a:lnTo>
                  <a:lnTo>
                    <a:pt x="1554" y="306"/>
                  </a:lnTo>
                  <a:lnTo>
                    <a:pt x="1554" y="324"/>
                  </a:lnTo>
                  <a:lnTo>
                    <a:pt x="1554" y="330"/>
                  </a:lnTo>
                  <a:lnTo>
                    <a:pt x="1548" y="330"/>
                  </a:lnTo>
                  <a:lnTo>
                    <a:pt x="1548" y="336"/>
                  </a:lnTo>
                  <a:lnTo>
                    <a:pt x="1548" y="342"/>
                  </a:lnTo>
                  <a:lnTo>
                    <a:pt x="1542" y="336"/>
                  </a:lnTo>
                  <a:lnTo>
                    <a:pt x="1542" y="330"/>
                  </a:lnTo>
                  <a:lnTo>
                    <a:pt x="1536" y="330"/>
                  </a:lnTo>
                  <a:lnTo>
                    <a:pt x="1530" y="330"/>
                  </a:lnTo>
                  <a:lnTo>
                    <a:pt x="1530" y="336"/>
                  </a:lnTo>
                  <a:lnTo>
                    <a:pt x="1536" y="342"/>
                  </a:lnTo>
                  <a:lnTo>
                    <a:pt x="1530" y="342"/>
                  </a:lnTo>
                  <a:lnTo>
                    <a:pt x="1518" y="348"/>
                  </a:lnTo>
                  <a:lnTo>
                    <a:pt x="1512" y="354"/>
                  </a:lnTo>
                  <a:lnTo>
                    <a:pt x="1506" y="354"/>
                  </a:lnTo>
                  <a:lnTo>
                    <a:pt x="1500" y="354"/>
                  </a:lnTo>
                  <a:lnTo>
                    <a:pt x="1494" y="354"/>
                  </a:lnTo>
                  <a:lnTo>
                    <a:pt x="1494" y="360"/>
                  </a:lnTo>
                  <a:lnTo>
                    <a:pt x="1488" y="360"/>
                  </a:lnTo>
                  <a:lnTo>
                    <a:pt x="1488" y="366"/>
                  </a:lnTo>
                  <a:lnTo>
                    <a:pt x="1488" y="372"/>
                  </a:lnTo>
                  <a:lnTo>
                    <a:pt x="1482" y="372"/>
                  </a:lnTo>
                  <a:lnTo>
                    <a:pt x="1476" y="372"/>
                  </a:lnTo>
                  <a:lnTo>
                    <a:pt x="1470" y="372"/>
                  </a:lnTo>
                  <a:lnTo>
                    <a:pt x="1470" y="378"/>
                  </a:lnTo>
                  <a:lnTo>
                    <a:pt x="1470" y="384"/>
                  </a:lnTo>
                  <a:lnTo>
                    <a:pt x="1470" y="390"/>
                  </a:lnTo>
                  <a:lnTo>
                    <a:pt x="1464" y="402"/>
                  </a:lnTo>
                  <a:lnTo>
                    <a:pt x="1446" y="402"/>
                  </a:lnTo>
                  <a:lnTo>
                    <a:pt x="1440" y="372"/>
                  </a:lnTo>
                  <a:lnTo>
                    <a:pt x="1410" y="372"/>
                  </a:lnTo>
                  <a:lnTo>
                    <a:pt x="1380" y="372"/>
                  </a:lnTo>
                  <a:lnTo>
                    <a:pt x="1374" y="372"/>
                  </a:lnTo>
                  <a:lnTo>
                    <a:pt x="1368" y="378"/>
                  </a:lnTo>
                  <a:lnTo>
                    <a:pt x="1362" y="378"/>
                  </a:lnTo>
                  <a:lnTo>
                    <a:pt x="1356" y="378"/>
                  </a:lnTo>
                  <a:lnTo>
                    <a:pt x="1350" y="384"/>
                  </a:lnTo>
                  <a:lnTo>
                    <a:pt x="1350" y="390"/>
                  </a:lnTo>
                  <a:lnTo>
                    <a:pt x="1344" y="390"/>
                  </a:lnTo>
                  <a:lnTo>
                    <a:pt x="1338" y="390"/>
                  </a:lnTo>
                  <a:lnTo>
                    <a:pt x="1332" y="390"/>
                  </a:lnTo>
                  <a:lnTo>
                    <a:pt x="1332" y="396"/>
                  </a:lnTo>
                  <a:lnTo>
                    <a:pt x="1332" y="390"/>
                  </a:lnTo>
                  <a:lnTo>
                    <a:pt x="1326" y="402"/>
                  </a:lnTo>
                  <a:lnTo>
                    <a:pt x="1320" y="402"/>
                  </a:lnTo>
                  <a:lnTo>
                    <a:pt x="1302" y="474"/>
                  </a:lnTo>
                  <a:lnTo>
                    <a:pt x="1308" y="480"/>
                  </a:lnTo>
                  <a:lnTo>
                    <a:pt x="1314" y="480"/>
                  </a:lnTo>
                  <a:lnTo>
                    <a:pt x="1308" y="498"/>
                  </a:lnTo>
                  <a:lnTo>
                    <a:pt x="1308" y="504"/>
                  </a:lnTo>
                  <a:lnTo>
                    <a:pt x="1314" y="510"/>
                  </a:lnTo>
                  <a:lnTo>
                    <a:pt x="1308" y="510"/>
                  </a:lnTo>
                  <a:lnTo>
                    <a:pt x="1308" y="516"/>
                  </a:lnTo>
                  <a:lnTo>
                    <a:pt x="1302" y="516"/>
                  </a:lnTo>
                  <a:lnTo>
                    <a:pt x="1296" y="510"/>
                  </a:lnTo>
                  <a:lnTo>
                    <a:pt x="1296" y="516"/>
                  </a:lnTo>
                  <a:lnTo>
                    <a:pt x="1290" y="540"/>
                  </a:lnTo>
                  <a:lnTo>
                    <a:pt x="1290" y="552"/>
                  </a:lnTo>
                  <a:lnTo>
                    <a:pt x="1284" y="558"/>
                  </a:lnTo>
                  <a:lnTo>
                    <a:pt x="1290" y="576"/>
                  </a:lnTo>
                  <a:lnTo>
                    <a:pt x="1290" y="600"/>
                  </a:lnTo>
                  <a:lnTo>
                    <a:pt x="1284" y="618"/>
                  </a:lnTo>
                  <a:lnTo>
                    <a:pt x="1290" y="624"/>
                  </a:lnTo>
                  <a:lnTo>
                    <a:pt x="1284" y="630"/>
                  </a:lnTo>
                  <a:lnTo>
                    <a:pt x="1278" y="630"/>
                  </a:lnTo>
                  <a:lnTo>
                    <a:pt x="1272" y="630"/>
                  </a:lnTo>
                  <a:lnTo>
                    <a:pt x="1266" y="636"/>
                  </a:lnTo>
                  <a:lnTo>
                    <a:pt x="1260" y="642"/>
                  </a:lnTo>
                  <a:lnTo>
                    <a:pt x="1260" y="636"/>
                  </a:lnTo>
                  <a:lnTo>
                    <a:pt x="1254" y="636"/>
                  </a:lnTo>
                  <a:lnTo>
                    <a:pt x="1248" y="636"/>
                  </a:lnTo>
                  <a:lnTo>
                    <a:pt x="1248" y="642"/>
                  </a:lnTo>
                  <a:lnTo>
                    <a:pt x="1242" y="642"/>
                  </a:lnTo>
                  <a:lnTo>
                    <a:pt x="1242" y="648"/>
                  </a:lnTo>
                  <a:lnTo>
                    <a:pt x="1236" y="654"/>
                  </a:lnTo>
                  <a:lnTo>
                    <a:pt x="1230" y="654"/>
                  </a:lnTo>
                  <a:lnTo>
                    <a:pt x="1224" y="654"/>
                  </a:lnTo>
                  <a:lnTo>
                    <a:pt x="1218" y="660"/>
                  </a:lnTo>
                  <a:lnTo>
                    <a:pt x="1212" y="660"/>
                  </a:lnTo>
                  <a:lnTo>
                    <a:pt x="1206" y="660"/>
                  </a:lnTo>
                  <a:lnTo>
                    <a:pt x="1200" y="660"/>
                  </a:lnTo>
                  <a:lnTo>
                    <a:pt x="1200" y="666"/>
                  </a:lnTo>
                  <a:lnTo>
                    <a:pt x="1194" y="666"/>
                  </a:lnTo>
                  <a:lnTo>
                    <a:pt x="1188" y="666"/>
                  </a:lnTo>
                  <a:lnTo>
                    <a:pt x="1182" y="672"/>
                  </a:lnTo>
                  <a:lnTo>
                    <a:pt x="1176" y="672"/>
                  </a:lnTo>
                  <a:lnTo>
                    <a:pt x="1170" y="672"/>
                  </a:lnTo>
                  <a:lnTo>
                    <a:pt x="1164" y="678"/>
                  </a:lnTo>
                  <a:lnTo>
                    <a:pt x="1170" y="678"/>
                  </a:lnTo>
                  <a:lnTo>
                    <a:pt x="1164" y="684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52" y="684"/>
                  </a:lnTo>
                  <a:lnTo>
                    <a:pt x="1152" y="690"/>
                  </a:lnTo>
                  <a:lnTo>
                    <a:pt x="1146" y="690"/>
                  </a:lnTo>
                  <a:lnTo>
                    <a:pt x="1140" y="690"/>
                  </a:lnTo>
                  <a:lnTo>
                    <a:pt x="1134" y="696"/>
                  </a:lnTo>
                  <a:lnTo>
                    <a:pt x="1128" y="696"/>
                  </a:lnTo>
                  <a:lnTo>
                    <a:pt x="1122" y="702"/>
                  </a:lnTo>
                  <a:lnTo>
                    <a:pt x="1116" y="702"/>
                  </a:lnTo>
                  <a:lnTo>
                    <a:pt x="1110" y="708"/>
                  </a:lnTo>
                  <a:lnTo>
                    <a:pt x="1104" y="708"/>
                  </a:lnTo>
                  <a:lnTo>
                    <a:pt x="1098" y="708"/>
                  </a:lnTo>
                  <a:lnTo>
                    <a:pt x="1092" y="708"/>
                  </a:lnTo>
                  <a:lnTo>
                    <a:pt x="1092" y="714"/>
                  </a:lnTo>
                  <a:lnTo>
                    <a:pt x="1086" y="720"/>
                  </a:lnTo>
                  <a:lnTo>
                    <a:pt x="1080" y="720"/>
                  </a:lnTo>
                  <a:lnTo>
                    <a:pt x="1074" y="720"/>
                  </a:lnTo>
                  <a:lnTo>
                    <a:pt x="1068" y="720"/>
                  </a:lnTo>
                  <a:lnTo>
                    <a:pt x="1062" y="720"/>
                  </a:lnTo>
                  <a:lnTo>
                    <a:pt x="1050" y="726"/>
                  </a:lnTo>
                  <a:lnTo>
                    <a:pt x="1044" y="726"/>
                  </a:lnTo>
                  <a:lnTo>
                    <a:pt x="1038" y="732"/>
                  </a:lnTo>
                  <a:lnTo>
                    <a:pt x="1026" y="732"/>
                  </a:lnTo>
                  <a:lnTo>
                    <a:pt x="1020" y="732"/>
                  </a:lnTo>
                  <a:lnTo>
                    <a:pt x="1014" y="738"/>
                  </a:lnTo>
                  <a:lnTo>
                    <a:pt x="1008" y="738"/>
                  </a:lnTo>
                  <a:lnTo>
                    <a:pt x="1002" y="738"/>
                  </a:lnTo>
                  <a:lnTo>
                    <a:pt x="996" y="738"/>
                  </a:lnTo>
                  <a:lnTo>
                    <a:pt x="990" y="738"/>
                  </a:lnTo>
                  <a:lnTo>
                    <a:pt x="990" y="732"/>
                  </a:lnTo>
                  <a:lnTo>
                    <a:pt x="984" y="732"/>
                  </a:lnTo>
                  <a:lnTo>
                    <a:pt x="978" y="738"/>
                  </a:lnTo>
                  <a:lnTo>
                    <a:pt x="978" y="744"/>
                  </a:lnTo>
                  <a:lnTo>
                    <a:pt x="984" y="744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8" y="756"/>
                  </a:lnTo>
                  <a:lnTo>
                    <a:pt x="972" y="756"/>
                  </a:lnTo>
                  <a:lnTo>
                    <a:pt x="972" y="762"/>
                  </a:lnTo>
                  <a:lnTo>
                    <a:pt x="966" y="768"/>
                  </a:lnTo>
                  <a:lnTo>
                    <a:pt x="966" y="762"/>
                  </a:lnTo>
                  <a:lnTo>
                    <a:pt x="960" y="762"/>
                  </a:lnTo>
                  <a:lnTo>
                    <a:pt x="954" y="768"/>
                  </a:lnTo>
                  <a:lnTo>
                    <a:pt x="954" y="774"/>
                  </a:lnTo>
                  <a:lnTo>
                    <a:pt x="948" y="774"/>
                  </a:lnTo>
                  <a:lnTo>
                    <a:pt x="948" y="780"/>
                  </a:lnTo>
                  <a:lnTo>
                    <a:pt x="948" y="786"/>
                  </a:lnTo>
                  <a:lnTo>
                    <a:pt x="942" y="786"/>
                  </a:lnTo>
                  <a:lnTo>
                    <a:pt x="942" y="792"/>
                  </a:lnTo>
                  <a:lnTo>
                    <a:pt x="936" y="792"/>
                  </a:lnTo>
                  <a:lnTo>
                    <a:pt x="942" y="798"/>
                  </a:lnTo>
                  <a:lnTo>
                    <a:pt x="942" y="804"/>
                  </a:lnTo>
                  <a:lnTo>
                    <a:pt x="942" y="810"/>
                  </a:lnTo>
                  <a:lnTo>
                    <a:pt x="948" y="810"/>
                  </a:lnTo>
                  <a:lnTo>
                    <a:pt x="942" y="816"/>
                  </a:lnTo>
                  <a:lnTo>
                    <a:pt x="948" y="816"/>
                  </a:lnTo>
                  <a:lnTo>
                    <a:pt x="948" y="822"/>
                  </a:lnTo>
                  <a:lnTo>
                    <a:pt x="954" y="822"/>
                  </a:lnTo>
                  <a:lnTo>
                    <a:pt x="960" y="828"/>
                  </a:lnTo>
                  <a:lnTo>
                    <a:pt x="960" y="834"/>
                  </a:lnTo>
                  <a:lnTo>
                    <a:pt x="966" y="834"/>
                  </a:lnTo>
                  <a:lnTo>
                    <a:pt x="960" y="840"/>
                  </a:lnTo>
                  <a:lnTo>
                    <a:pt x="966" y="846"/>
                  </a:lnTo>
                  <a:lnTo>
                    <a:pt x="966" y="840"/>
                  </a:lnTo>
                  <a:lnTo>
                    <a:pt x="972" y="840"/>
                  </a:lnTo>
                  <a:lnTo>
                    <a:pt x="990" y="840"/>
                  </a:lnTo>
                  <a:lnTo>
                    <a:pt x="1002" y="834"/>
                  </a:lnTo>
                  <a:lnTo>
                    <a:pt x="1020" y="828"/>
                  </a:lnTo>
                  <a:lnTo>
                    <a:pt x="1032" y="828"/>
                  </a:lnTo>
                  <a:lnTo>
                    <a:pt x="1050" y="828"/>
                  </a:lnTo>
                  <a:lnTo>
                    <a:pt x="1062" y="846"/>
                  </a:lnTo>
                  <a:lnTo>
                    <a:pt x="1074" y="876"/>
                  </a:lnTo>
                  <a:lnTo>
                    <a:pt x="1068" y="900"/>
                  </a:lnTo>
                  <a:lnTo>
                    <a:pt x="1074" y="912"/>
                  </a:lnTo>
                  <a:lnTo>
                    <a:pt x="1074" y="936"/>
                  </a:lnTo>
                  <a:lnTo>
                    <a:pt x="1068" y="942"/>
                  </a:lnTo>
                  <a:lnTo>
                    <a:pt x="1062" y="954"/>
                  </a:lnTo>
                  <a:lnTo>
                    <a:pt x="1056" y="978"/>
                  </a:lnTo>
                  <a:lnTo>
                    <a:pt x="1056" y="996"/>
                  </a:lnTo>
                  <a:lnTo>
                    <a:pt x="1068" y="990"/>
                  </a:lnTo>
                  <a:lnTo>
                    <a:pt x="1074" y="990"/>
                  </a:lnTo>
                  <a:lnTo>
                    <a:pt x="1074" y="1008"/>
                  </a:lnTo>
                  <a:lnTo>
                    <a:pt x="1080" y="1008"/>
                  </a:lnTo>
                  <a:lnTo>
                    <a:pt x="1092" y="1014"/>
                  </a:lnTo>
                  <a:lnTo>
                    <a:pt x="1110" y="1044"/>
                  </a:lnTo>
                  <a:lnTo>
                    <a:pt x="1110" y="1062"/>
                  </a:lnTo>
                  <a:lnTo>
                    <a:pt x="1128" y="1068"/>
                  </a:lnTo>
                  <a:lnTo>
                    <a:pt x="1128" y="1092"/>
                  </a:lnTo>
                  <a:lnTo>
                    <a:pt x="1134" y="1098"/>
                  </a:lnTo>
                  <a:lnTo>
                    <a:pt x="1158" y="1122"/>
                  </a:lnTo>
                  <a:lnTo>
                    <a:pt x="1188" y="1122"/>
                  </a:lnTo>
                  <a:lnTo>
                    <a:pt x="1188" y="1128"/>
                  </a:lnTo>
                  <a:lnTo>
                    <a:pt x="1200" y="1134"/>
                  </a:lnTo>
                  <a:lnTo>
                    <a:pt x="1206" y="1134"/>
                  </a:lnTo>
                  <a:lnTo>
                    <a:pt x="1206" y="1128"/>
                  </a:lnTo>
                  <a:lnTo>
                    <a:pt x="1212" y="1128"/>
                  </a:lnTo>
                  <a:lnTo>
                    <a:pt x="1218" y="1128"/>
                  </a:lnTo>
                  <a:lnTo>
                    <a:pt x="1224" y="1122"/>
                  </a:lnTo>
                  <a:lnTo>
                    <a:pt x="1224" y="1128"/>
                  </a:lnTo>
                  <a:lnTo>
                    <a:pt x="1230" y="1128"/>
                  </a:lnTo>
                  <a:lnTo>
                    <a:pt x="1236" y="1128"/>
                  </a:lnTo>
                  <a:lnTo>
                    <a:pt x="1236" y="1122"/>
                  </a:lnTo>
                  <a:lnTo>
                    <a:pt x="1242" y="1122"/>
                  </a:lnTo>
                  <a:lnTo>
                    <a:pt x="1248" y="1128"/>
                  </a:lnTo>
                  <a:lnTo>
                    <a:pt x="1254" y="1128"/>
                  </a:lnTo>
                  <a:lnTo>
                    <a:pt x="1260" y="1134"/>
                  </a:lnTo>
                  <a:lnTo>
                    <a:pt x="1260" y="1140"/>
                  </a:lnTo>
                  <a:lnTo>
                    <a:pt x="1266" y="1140"/>
                  </a:lnTo>
                  <a:lnTo>
                    <a:pt x="1272" y="1140"/>
                  </a:lnTo>
                  <a:lnTo>
                    <a:pt x="1278" y="1140"/>
                  </a:lnTo>
                  <a:lnTo>
                    <a:pt x="1284" y="1140"/>
                  </a:lnTo>
                  <a:lnTo>
                    <a:pt x="1290" y="1146"/>
                  </a:lnTo>
                  <a:lnTo>
                    <a:pt x="1290" y="1152"/>
                  </a:lnTo>
                  <a:lnTo>
                    <a:pt x="1296" y="1146"/>
                  </a:lnTo>
                  <a:lnTo>
                    <a:pt x="1296" y="1152"/>
                  </a:lnTo>
                  <a:lnTo>
                    <a:pt x="1308" y="1152"/>
                  </a:lnTo>
                  <a:lnTo>
                    <a:pt x="1314" y="1152"/>
                  </a:lnTo>
                  <a:lnTo>
                    <a:pt x="1320" y="1152"/>
                  </a:lnTo>
                  <a:lnTo>
                    <a:pt x="1332" y="1152"/>
                  </a:lnTo>
                  <a:lnTo>
                    <a:pt x="1338" y="1152"/>
                  </a:lnTo>
                  <a:lnTo>
                    <a:pt x="1344" y="1152"/>
                  </a:lnTo>
                  <a:lnTo>
                    <a:pt x="1344" y="1158"/>
                  </a:lnTo>
                  <a:lnTo>
                    <a:pt x="1350" y="1158"/>
                  </a:lnTo>
                  <a:lnTo>
                    <a:pt x="1356" y="1158"/>
                  </a:lnTo>
                  <a:lnTo>
                    <a:pt x="1362" y="1158"/>
                  </a:lnTo>
                  <a:lnTo>
                    <a:pt x="1368" y="1158"/>
                  </a:lnTo>
                  <a:lnTo>
                    <a:pt x="1374" y="1164"/>
                  </a:lnTo>
                  <a:lnTo>
                    <a:pt x="1380" y="1164"/>
                  </a:lnTo>
                  <a:lnTo>
                    <a:pt x="1386" y="1170"/>
                  </a:lnTo>
                  <a:lnTo>
                    <a:pt x="1392" y="1170"/>
                  </a:lnTo>
                  <a:lnTo>
                    <a:pt x="1398" y="1164"/>
                  </a:lnTo>
                  <a:lnTo>
                    <a:pt x="1404" y="1164"/>
                  </a:lnTo>
                  <a:lnTo>
                    <a:pt x="1410" y="1164"/>
                  </a:lnTo>
                  <a:lnTo>
                    <a:pt x="1416" y="1164"/>
                  </a:lnTo>
                  <a:lnTo>
                    <a:pt x="1416" y="1170"/>
                  </a:lnTo>
                  <a:lnTo>
                    <a:pt x="1422" y="1176"/>
                  </a:lnTo>
                  <a:lnTo>
                    <a:pt x="1416" y="1176"/>
                  </a:lnTo>
                  <a:lnTo>
                    <a:pt x="1416" y="1182"/>
                  </a:lnTo>
                  <a:lnTo>
                    <a:pt x="1410" y="1188"/>
                  </a:lnTo>
                  <a:lnTo>
                    <a:pt x="1404" y="1194"/>
                  </a:lnTo>
                  <a:lnTo>
                    <a:pt x="1404" y="1200"/>
                  </a:lnTo>
                  <a:lnTo>
                    <a:pt x="1404" y="1206"/>
                  </a:lnTo>
                  <a:lnTo>
                    <a:pt x="1398" y="1212"/>
                  </a:lnTo>
                  <a:lnTo>
                    <a:pt x="1398" y="1206"/>
                  </a:lnTo>
                  <a:lnTo>
                    <a:pt x="1392" y="1206"/>
                  </a:lnTo>
                  <a:lnTo>
                    <a:pt x="1386" y="1206"/>
                  </a:lnTo>
                  <a:lnTo>
                    <a:pt x="1380" y="1212"/>
                  </a:lnTo>
                  <a:lnTo>
                    <a:pt x="1374" y="1212"/>
                  </a:lnTo>
                  <a:lnTo>
                    <a:pt x="1368" y="1218"/>
                  </a:lnTo>
                  <a:lnTo>
                    <a:pt x="1362" y="1218"/>
                  </a:lnTo>
                  <a:lnTo>
                    <a:pt x="1362" y="1224"/>
                  </a:lnTo>
                  <a:lnTo>
                    <a:pt x="1356" y="1230"/>
                  </a:lnTo>
                  <a:lnTo>
                    <a:pt x="1350" y="1230"/>
                  </a:lnTo>
                  <a:lnTo>
                    <a:pt x="1344" y="1236"/>
                  </a:lnTo>
                  <a:lnTo>
                    <a:pt x="1338" y="1230"/>
                  </a:lnTo>
                  <a:lnTo>
                    <a:pt x="1332" y="1230"/>
                  </a:lnTo>
                  <a:lnTo>
                    <a:pt x="1326" y="1230"/>
                  </a:lnTo>
                  <a:lnTo>
                    <a:pt x="1320" y="1230"/>
                  </a:lnTo>
                  <a:lnTo>
                    <a:pt x="1314" y="1230"/>
                  </a:lnTo>
                  <a:lnTo>
                    <a:pt x="1296" y="1242"/>
                  </a:lnTo>
                  <a:lnTo>
                    <a:pt x="1296" y="1248"/>
                  </a:lnTo>
                  <a:lnTo>
                    <a:pt x="1290" y="1248"/>
                  </a:lnTo>
                  <a:lnTo>
                    <a:pt x="1290" y="1260"/>
                  </a:lnTo>
                  <a:lnTo>
                    <a:pt x="1278" y="1272"/>
                  </a:lnTo>
                  <a:lnTo>
                    <a:pt x="1278" y="1278"/>
                  </a:lnTo>
                  <a:lnTo>
                    <a:pt x="1278" y="1284"/>
                  </a:lnTo>
                  <a:lnTo>
                    <a:pt x="1278" y="1290"/>
                  </a:lnTo>
                  <a:lnTo>
                    <a:pt x="1284" y="1296"/>
                  </a:lnTo>
                  <a:lnTo>
                    <a:pt x="1302" y="1302"/>
                  </a:lnTo>
                  <a:lnTo>
                    <a:pt x="1308" y="1308"/>
                  </a:lnTo>
                  <a:lnTo>
                    <a:pt x="1308" y="1314"/>
                  </a:lnTo>
                  <a:lnTo>
                    <a:pt x="1302" y="1320"/>
                  </a:lnTo>
                  <a:lnTo>
                    <a:pt x="1278" y="1314"/>
                  </a:lnTo>
                  <a:lnTo>
                    <a:pt x="1266" y="1308"/>
                  </a:lnTo>
                  <a:lnTo>
                    <a:pt x="1260" y="1296"/>
                  </a:lnTo>
                  <a:lnTo>
                    <a:pt x="1236" y="1296"/>
                  </a:lnTo>
                  <a:lnTo>
                    <a:pt x="1224" y="1308"/>
                  </a:lnTo>
                  <a:lnTo>
                    <a:pt x="1218" y="1308"/>
                  </a:lnTo>
                  <a:lnTo>
                    <a:pt x="1218" y="1302"/>
                  </a:lnTo>
                  <a:lnTo>
                    <a:pt x="1212" y="1302"/>
                  </a:lnTo>
                  <a:lnTo>
                    <a:pt x="1206" y="1302"/>
                  </a:lnTo>
                  <a:lnTo>
                    <a:pt x="1170" y="1314"/>
                  </a:lnTo>
                  <a:lnTo>
                    <a:pt x="1134" y="1296"/>
                  </a:lnTo>
                  <a:lnTo>
                    <a:pt x="1122" y="1290"/>
                  </a:lnTo>
                  <a:lnTo>
                    <a:pt x="1104" y="1290"/>
                  </a:lnTo>
                  <a:lnTo>
                    <a:pt x="1098" y="1278"/>
                  </a:lnTo>
                  <a:lnTo>
                    <a:pt x="1092" y="1242"/>
                  </a:lnTo>
                  <a:lnTo>
                    <a:pt x="1086" y="1242"/>
                  </a:lnTo>
                  <a:lnTo>
                    <a:pt x="1086" y="1248"/>
                  </a:lnTo>
                  <a:lnTo>
                    <a:pt x="1086" y="1254"/>
                  </a:lnTo>
                  <a:lnTo>
                    <a:pt x="1080" y="1254"/>
                  </a:lnTo>
                  <a:lnTo>
                    <a:pt x="1080" y="1260"/>
                  </a:lnTo>
                  <a:lnTo>
                    <a:pt x="1074" y="1260"/>
                  </a:lnTo>
                  <a:lnTo>
                    <a:pt x="1068" y="1236"/>
                  </a:lnTo>
                  <a:lnTo>
                    <a:pt x="1068" y="1206"/>
                  </a:lnTo>
                  <a:lnTo>
                    <a:pt x="1080" y="1194"/>
                  </a:lnTo>
                  <a:lnTo>
                    <a:pt x="1086" y="1194"/>
                  </a:lnTo>
                  <a:lnTo>
                    <a:pt x="1092" y="1200"/>
                  </a:lnTo>
                  <a:lnTo>
                    <a:pt x="1098" y="1206"/>
                  </a:lnTo>
                  <a:lnTo>
                    <a:pt x="1104" y="1200"/>
                  </a:lnTo>
                  <a:lnTo>
                    <a:pt x="1104" y="1194"/>
                  </a:lnTo>
                  <a:lnTo>
                    <a:pt x="1110" y="1194"/>
                  </a:lnTo>
                  <a:lnTo>
                    <a:pt x="1110" y="1188"/>
                  </a:lnTo>
                  <a:lnTo>
                    <a:pt x="1116" y="1182"/>
                  </a:lnTo>
                  <a:lnTo>
                    <a:pt x="1110" y="1182"/>
                  </a:lnTo>
                  <a:lnTo>
                    <a:pt x="1110" y="1170"/>
                  </a:lnTo>
                  <a:lnTo>
                    <a:pt x="1110" y="1158"/>
                  </a:lnTo>
                  <a:lnTo>
                    <a:pt x="1110" y="1152"/>
                  </a:lnTo>
                  <a:lnTo>
                    <a:pt x="1104" y="1146"/>
                  </a:lnTo>
                  <a:lnTo>
                    <a:pt x="1098" y="1140"/>
                  </a:lnTo>
                  <a:lnTo>
                    <a:pt x="1098" y="1134"/>
                  </a:lnTo>
                  <a:lnTo>
                    <a:pt x="1098" y="1128"/>
                  </a:lnTo>
                  <a:lnTo>
                    <a:pt x="1092" y="1128"/>
                  </a:lnTo>
                  <a:lnTo>
                    <a:pt x="1092" y="1122"/>
                  </a:lnTo>
                  <a:lnTo>
                    <a:pt x="1092" y="1116"/>
                  </a:lnTo>
                  <a:lnTo>
                    <a:pt x="1092" y="1110"/>
                  </a:lnTo>
                  <a:lnTo>
                    <a:pt x="1056" y="1122"/>
                  </a:lnTo>
                  <a:lnTo>
                    <a:pt x="1038" y="1128"/>
                  </a:lnTo>
                  <a:lnTo>
                    <a:pt x="1032" y="1128"/>
                  </a:lnTo>
                  <a:lnTo>
                    <a:pt x="1026" y="1128"/>
                  </a:lnTo>
                  <a:lnTo>
                    <a:pt x="1020" y="1128"/>
                  </a:lnTo>
                  <a:lnTo>
                    <a:pt x="1014" y="1128"/>
                  </a:lnTo>
                  <a:lnTo>
                    <a:pt x="1014" y="1122"/>
                  </a:lnTo>
                  <a:lnTo>
                    <a:pt x="1008" y="1122"/>
                  </a:lnTo>
                  <a:lnTo>
                    <a:pt x="1002" y="1128"/>
                  </a:lnTo>
                  <a:lnTo>
                    <a:pt x="1002" y="1134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84" y="1140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66" y="1140"/>
                  </a:lnTo>
                  <a:lnTo>
                    <a:pt x="954" y="1140"/>
                  </a:lnTo>
                  <a:lnTo>
                    <a:pt x="954" y="1134"/>
                  </a:lnTo>
                  <a:lnTo>
                    <a:pt x="948" y="1134"/>
                  </a:lnTo>
                  <a:lnTo>
                    <a:pt x="942" y="1134"/>
                  </a:lnTo>
                  <a:lnTo>
                    <a:pt x="936" y="1134"/>
                  </a:lnTo>
                  <a:lnTo>
                    <a:pt x="930" y="1134"/>
                  </a:lnTo>
                  <a:lnTo>
                    <a:pt x="924" y="1134"/>
                  </a:lnTo>
                  <a:lnTo>
                    <a:pt x="918" y="1134"/>
                  </a:lnTo>
                  <a:lnTo>
                    <a:pt x="918" y="1128"/>
                  </a:lnTo>
                  <a:lnTo>
                    <a:pt x="918" y="1104"/>
                  </a:lnTo>
                  <a:lnTo>
                    <a:pt x="906" y="1104"/>
                  </a:lnTo>
                  <a:lnTo>
                    <a:pt x="900" y="1098"/>
                  </a:lnTo>
                  <a:lnTo>
                    <a:pt x="900" y="1092"/>
                  </a:lnTo>
                  <a:lnTo>
                    <a:pt x="900" y="1086"/>
                  </a:lnTo>
                  <a:lnTo>
                    <a:pt x="900" y="1080"/>
                  </a:lnTo>
                  <a:lnTo>
                    <a:pt x="894" y="1080"/>
                  </a:lnTo>
                  <a:lnTo>
                    <a:pt x="858" y="1074"/>
                  </a:lnTo>
                  <a:lnTo>
                    <a:pt x="852" y="1080"/>
                  </a:lnTo>
                  <a:lnTo>
                    <a:pt x="846" y="1086"/>
                  </a:lnTo>
                  <a:lnTo>
                    <a:pt x="840" y="1086"/>
                  </a:lnTo>
                  <a:lnTo>
                    <a:pt x="840" y="1092"/>
                  </a:lnTo>
                  <a:lnTo>
                    <a:pt x="834" y="1092"/>
                  </a:lnTo>
                  <a:lnTo>
                    <a:pt x="828" y="1098"/>
                  </a:lnTo>
                  <a:lnTo>
                    <a:pt x="822" y="1098"/>
                  </a:lnTo>
                  <a:lnTo>
                    <a:pt x="762" y="1074"/>
                  </a:lnTo>
                  <a:lnTo>
                    <a:pt x="756" y="1068"/>
                  </a:lnTo>
                  <a:lnTo>
                    <a:pt x="750" y="1068"/>
                  </a:lnTo>
                  <a:lnTo>
                    <a:pt x="744" y="1062"/>
                  </a:lnTo>
                  <a:lnTo>
                    <a:pt x="744" y="1068"/>
                  </a:lnTo>
                  <a:lnTo>
                    <a:pt x="744" y="1074"/>
                  </a:lnTo>
                  <a:lnTo>
                    <a:pt x="738" y="1074"/>
                  </a:lnTo>
                  <a:lnTo>
                    <a:pt x="738" y="1068"/>
                  </a:lnTo>
                  <a:lnTo>
                    <a:pt x="732" y="1068"/>
                  </a:lnTo>
                  <a:lnTo>
                    <a:pt x="726" y="1068"/>
                  </a:lnTo>
                  <a:lnTo>
                    <a:pt x="726" y="1074"/>
                  </a:lnTo>
                  <a:lnTo>
                    <a:pt x="720" y="1074"/>
                  </a:lnTo>
                  <a:lnTo>
                    <a:pt x="684" y="106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5" name="Freeform 40">
              <a:extLst>
                <a:ext uri="{FF2B5EF4-FFF2-40B4-BE49-F238E27FC236}">
                  <a16:creationId xmlns:a16="http://schemas.microsoft.com/office/drawing/2014/main" id="{37EC2F22-BDB9-4162-8FA4-08493F6898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3558" y="1520374"/>
              <a:ext cx="1057717" cy="1252440"/>
            </a:xfrm>
            <a:custGeom>
              <a:avLst/>
              <a:gdLst>
                <a:gd name="T0" fmla="*/ 98 w 1992"/>
                <a:gd name="T1" fmla="*/ 162 h 2358"/>
                <a:gd name="T2" fmla="*/ 93 w 1992"/>
                <a:gd name="T3" fmla="*/ 172 h 2358"/>
                <a:gd name="T4" fmla="*/ 82 w 1992"/>
                <a:gd name="T5" fmla="*/ 179 h 2358"/>
                <a:gd name="T6" fmla="*/ 70 w 1992"/>
                <a:gd name="T7" fmla="*/ 174 h 2358"/>
                <a:gd name="T8" fmla="*/ 62 w 1992"/>
                <a:gd name="T9" fmla="*/ 182 h 2358"/>
                <a:gd name="T10" fmla="*/ 45 w 1992"/>
                <a:gd name="T11" fmla="*/ 189 h 2358"/>
                <a:gd name="T12" fmla="*/ 24 w 1992"/>
                <a:gd name="T13" fmla="*/ 205 h 2358"/>
                <a:gd name="T14" fmla="*/ 17 w 1992"/>
                <a:gd name="T15" fmla="*/ 204 h 2358"/>
                <a:gd name="T16" fmla="*/ 7 w 1992"/>
                <a:gd name="T17" fmla="*/ 197 h 2358"/>
                <a:gd name="T18" fmla="*/ 1 w 1992"/>
                <a:gd name="T19" fmla="*/ 191 h 2358"/>
                <a:gd name="T20" fmla="*/ 4 w 1992"/>
                <a:gd name="T21" fmla="*/ 175 h 2358"/>
                <a:gd name="T22" fmla="*/ 7 w 1992"/>
                <a:gd name="T23" fmla="*/ 172 h 2358"/>
                <a:gd name="T24" fmla="*/ 11 w 1992"/>
                <a:gd name="T25" fmla="*/ 168 h 2358"/>
                <a:gd name="T26" fmla="*/ 5 w 1992"/>
                <a:gd name="T27" fmla="*/ 159 h 2358"/>
                <a:gd name="T28" fmla="*/ 10 w 1992"/>
                <a:gd name="T29" fmla="*/ 156 h 2358"/>
                <a:gd name="T30" fmla="*/ 15 w 1992"/>
                <a:gd name="T31" fmla="*/ 155 h 2358"/>
                <a:gd name="T32" fmla="*/ 24 w 1992"/>
                <a:gd name="T33" fmla="*/ 149 h 2358"/>
                <a:gd name="T34" fmla="*/ 38 w 1992"/>
                <a:gd name="T35" fmla="*/ 127 h 2358"/>
                <a:gd name="T36" fmla="*/ 38 w 1992"/>
                <a:gd name="T37" fmla="*/ 107 h 2358"/>
                <a:gd name="T38" fmla="*/ 45 w 1992"/>
                <a:gd name="T39" fmla="*/ 66 h 2358"/>
                <a:gd name="T40" fmla="*/ 47 w 1992"/>
                <a:gd name="T41" fmla="*/ 36 h 2358"/>
                <a:gd name="T42" fmla="*/ 51 w 1992"/>
                <a:gd name="T43" fmla="*/ 35 h 2358"/>
                <a:gd name="T44" fmla="*/ 55 w 1992"/>
                <a:gd name="T45" fmla="*/ 30 h 2358"/>
                <a:gd name="T46" fmla="*/ 56 w 1992"/>
                <a:gd name="T47" fmla="*/ 27 h 2358"/>
                <a:gd name="T48" fmla="*/ 60 w 1992"/>
                <a:gd name="T49" fmla="*/ 23 h 2358"/>
                <a:gd name="T50" fmla="*/ 63 w 1992"/>
                <a:gd name="T51" fmla="*/ 23 h 2358"/>
                <a:gd name="T52" fmla="*/ 70 w 1992"/>
                <a:gd name="T53" fmla="*/ 18 h 2358"/>
                <a:gd name="T54" fmla="*/ 71 w 1992"/>
                <a:gd name="T55" fmla="*/ 15 h 2358"/>
                <a:gd name="T56" fmla="*/ 72 w 1992"/>
                <a:gd name="T57" fmla="*/ 13 h 2358"/>
                <a:gd name="T58" fmla="*/ 77 w 1992"/>
                <a:gd name="T59" fmla="*/ 12 h 2358"/>
                <a:gd name="T60" fmla="*/ 83 w 1992"/>
                <a:gd name="T61" fmla="*/ 10 h 2358"/>
                <a:gd name="T62" fmla="*/ 87 w 1992"/>
                <a:gd name="T63" fmla="*/ 10 h 2358"/>
                <a:gd name="T64" fmla="*/ 89 w 1992"/>
                <a:gd name="T65" fmla="*/ 10 h 2358"/>
                <a:gd name="T66" fmla="*/ 93 w 1992"/>
                <a:gd name="T67" fmla="*/ 8 h 2358"/>
                <a:gd name="T68" fmla="*/ 95 w 1992"/>
                <a:gd name="T69" fmla="*/ 4 h 2358"/>
                <a:gd name="T70" fmla="*/ 99 w 1992"/>
                <a:gd name="T71" fmla="*/ 0 h 2358"/>
                <a:gd name="T72" fmla="*/ 111 w 1992"/>
                <a:gd name="T73" fmla="*/ 0 h 2358"/>
                <a:gd name="T74" fmla="*/ 121 w 1992"/>
                <a:gd name="T75" fmla="*/ 9 h 2358"/>
                <a:gd name="T76" fmla="*/ 128 w 1992"/>
                <a:gd name="T77" fmla="*/ 19 h 2358"/>
                <a:gd name="T78" fmla="*/ 138 w 1992"/>
                <a:gd name="T79" fmla="*/ 33 h 2358"/>
                <a:gd name="T80" fmla="*/ 142 w 1992"/>
                <a:gd name="T81" fmla="*/ 47 h 2358"/>
                <a:gd name="T82" fmla="*/ 145 w 1992"/>
                <a:gd name="T83" fmla="*/ 62 h 2358"/>
                <a:gd name="T84" fmla="*/ 145 w 1992"/>
                <a:gd name="T85" fmla="*/ 70 h 2358"/>
                <a:gd name="T86" fmla="*/ 147 w 1992"/>
                <a:gd name="T87" fmla="*/ 75 h 2358"/>
                <a:gd name="T88" fmla="*/ 153 w 1992"/>
                <a:gd name="T89" fmla="*/ 75 h 2358"/>
                <a:gd name="T90" fmla="*/ 160 w 1992"/>
                <a:gd name="T91" fmla="*/ 76 h 2358"/>
                <a:gd name="T92" fmla="*/ 164 w 1992"/>
                <a:gd name="T93" fmla="*/ 79 h 2358"/>
                <a:gd name="T94" fmla="*/ 168 w 1992"/>
                <a:gd name="T95" fmla="*/ 83 h 2358"/>
                <a:gd name="T96" fmla="*/ 172 w 1992"/>
                <a:gd name="T97" fmla="*/ 86 h 2358"/>
                <a:gd name="T98" fmla="*/ 170 w 1992"/>
                <a:gd name="T99" fmla="*/ 93 h 2358"/>
                <a:gd name="T100" fmla="*/ 170 w 1992"/>
                <a:gd name="T101" fmla="*/ 99 h 2358"/>
                <a:gd name="T102" fmla="*/ 169 w 1992"/>
                <a:gd name="T103" fmla="*/ 106 h 2358"/>
                <a:gd name="T104" fmla="*/ 166 w 1992"/>
                <a:gd name="T105" fmla="*/ 113 h 2358"/>
                <a:gd name="T106" fmla="*/ 170 w 1992"/>
                <a:gd name="T107" fmla="*/ 122 h 2358"/>
                <a:gd name="T108" fmla="*/ 159 w 1992"/>
                <a:gd name="T109" fmla="*/ 128 h 2358"/>
                <a:gd name="T110" fmla="*/ 148 w 1992"/>
                <a:gd name="T111" fmla="*/ 134 h 2358"/>
                <a:gd name="T112" fmla="*/ 139 w 1992"/>
                <a:gd name="T113" fmla="*/ 136 h 2358"/>
                <a:gd name="T114" fmla="*/ 132 w 1992"/>
                <a:gd name="T115" fmla="*/ 138 h 2358"/>
                <a:gd name="T116" fmla="*/ 128 w 1992"/>
                <a:gd name="T117" fmla="*/ 145 h 2358"/>
                <a:gd name="T118" fmla="*/ 124 w 1992"/>
                <a:gd name="T119" fmla="*/ 150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92"/>
                <a:gd name="T181" fmla="*/ 0 h 2358"/>
                <a:gd name="T182" fmla="*/ 1992 w 1992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92" h="2358">
                  <a:moveTo>
                    <a:pt x="1356" y="1782"/>
                  </a:moveTo>
                  <a:lnTo>
                    <a:pt x="1350" y="1788"/>
                  </a:lnTo>
                  <a:lnTo>
                    <a:pt x="1266" y="1788"/>
                  </a:lnTo>
                  <a:lnTo>
                    <a:pt x="1260" y="1800"/>
                  </a:lnTo>
                  <a:lnTo>
                    <a:pt x="1242" y="1806"/>
                  </a:lnTo>
                  <a:lnTo>
                    <a:pt x="1218" y="1812"/>
                  </a:lnTo>
                  <a:lnTo>
                    <a:pt x="1182" y="1812"/>
                  </a:lnTo>
                  <a:lnTo>
                    <a:pt x="1158" y="1806"/>
                  </a:lnTo>
                  <a:lnTo>
                    <a:pt x="1134" y="1800"/>
                  </a:lnTo>
                  <a:lnTo>
                    <a:pt x="1134" y="1806"/>
                  </a:lnTo>
                  <a:lnTo>
                    <a:pt x="1134" y="1830"/>
                  </a:lnTo>
                  <a:lnTo>
                    <a:pt x="1128" y="1842"/>
                  </a:lnTo>
                  <a:lnTo>
                    <a:pt x="1128" y="1854"/>
                  </a:lnTo>
                  <a:lnTo>
                    <a:pt x="1128" y="1860"/>
                  </a:lnTo>
                  <a:lnTo>
                    <a:pt x="1128" y="1866"/>
                  </a:lnTo>
                  <a:lnTo>
                    <a:pt x="1128" y="1872"/>
                  </a:lnTo>
                  <a:lnTo>
                    <a:pt x="1128" y="1884"/>
                  </a:lnTo>
                  <a:lnTo>
                    <a:pt x="1128" y="1890"/>
                  </a:lnTo>
                  <a:lnTo>
                    <a:pt x="1128" y="1896"/>
                  </a:lnTo>
                  <a:lnTo>
                    <a:pt x="1122" y="1902"/>
                  </a:lnTo>
                  <a:lnTo>
                    <a:pt x="1122" y="1920"/>
                  </a:lnTo>
                  <a:lnTo>
                    <a:pt x="1116" y="1920"/>
                  </a:lnTo>
                  <a:lnTo>
                    <a:pt x="1110" y="1926"/>
                  </a:lnTo>
                  <a:lnTo>
                    <a:pt x="1110" y="1932"/>
                  </a:lnTo>
                  <a:lnTo>
                    <a:pt x="1104" y="1938"/>
                  </a:lnTo>
                  <a:lnTo>
                    <a:pt x="1086" y="1962"/>
                  </a:lnTo>
                  <a:lnTo>
                    <a:pt x="1074" y="1974"/>
                  </a:lnTo>
                  <a:lnTo>
                    <a:pt x="1074" y="1980"/>
                  </a:lnTo>
                  <a:lnTo>
                    <a:pt x="1068" y="1986"/>
                  </a:lnTo>
                  <a:lnTo>
                    <a:pt x="1062" y="1998"/>
                  </a:lnTo>
                  <a:lnTo>
                    <a:pt x="1062" y="2004"/>
                  </a:lnTo>
                  <a:lnTo>
                    <a:pt x="1068" y="2004"/>
                  </a:lnTo>
                  <a:lnTo>
                    <a:pt x="1056" y="2034"/>
                  </a:lnTo>
                  <a:lnTo>
                    <a:pt x="1050" y="2076"/>
                  </a:lnTo>
                  <a:lnTo>
                    <a:pt x="1056" y="2100"/>
                  </a:lnTo>
                  <a:lnTo>
                    <a:pt x="1038" y="2106"/>
                  </a:lnTo>
                  <a:lnTo>
                    <a:pt x="1002" y="2106"/>
                  </a:lnTo>
                  <a:lnTo>
                    <a:pt x="978" y="2094"/>
                  </a:lnTo>
                  <a:lnTo>
                    <a:pt x="972" y="2082"/>
                  </a:lnTo>
                  <a:lnTo>
                    <a:pt x="966" y="2070"/>
                  </a:lnTo>
                  <a:lnTo>
                    <a:pt x="954" y="2064"/>
                  </a:lnTo>
                  <a:lnTo>
                    <a:pt x="942" y="2058"/>
                  </a:lnTo>
                  <a:lnTo>
                    <a:pt x="936" y="2058"/>
                  </a:lnTo>
                  <a:lnTo>
                    <a:pt x="918" y="2046"/>
                  </a:lnTo>
                  <a:lnTo>
                    <a:pt x="906" y="2028"/>
                  </a:lnTo>
                  <a:lnTo>
                    <a:pt x="900" y="2022"/>
                  </a:lnTo>
                  <a:lnTo>
                    <a:pt x="894" y="2022"/>
                  </a:lnTo>
                  <a:lnTo>
                    <a:pt x="882" y="2022"/>
                  </a:lnTo>
                  <a:lnTo>
                    <a:pt x="870" y="2016"/>
                  </a:lnTo>
                  <a:lnTo>
                    <a:pt x="864" y="2016"/>
                  </a:lnTo>
                  <a:lnTo>
                    <a:pt x="852" y="2010"/>
                  </a:lnTo>
                  <a:lnTo>
                    <a:pt x="846" y="2004"/>
                  </a:lnTo>
                  <a:lnTo>
                    <a:pt x="840" y="2004"/>
                  </a:lnTo>
                  <a:lnTo>
                    <a:pt x="828" y="1998"/>
                  </a:lnTo>
                  <a:lnTo>
                    <a:pt x="816" y="1998"/>
                  </a:lnTo>
                  <a:lnTo>
                    <a:pt x="810" y="1998"/>
                  </a:lnTo>
                  <a:lnTo>
                    <a:pt x="804" y="1998"/>
                  </a:lnTo>
                  <a:lnTo>
                    <a:pt x="798" y="1998"/>
                  </a:lnTo>
                  <a:lnTo>
                    <a:pt x="792" y="2004"/>
                  </a:lnTo>
                  <a:lnTo>
                    <a:pt x="786" y="2010"/>
                  </a:lnTo>
                  <a:lnTo>
                    <a:pt x="762" y="2010"/>
                  </a:lnTo>
                  <a:lnTo>
                    <a:pt x="756" y="2010"/>
                  </a:lnTo>
                  <a:lnTo>
                    <a:pt x="744" y="2022"/>
                  </a:lnTo>
                  <a:lnTo>
                    <a:pt x="738" y="2034"/>
                  </a:lnTo>
                  <a:lnTo>
                    <a:pt x="732" y="2040"/>
                  </a:lnTo>
                  <a:lnTo>
                    <a:pt x="732" y="2046"/>
                  </a:lnTo>
                  <a:lnTo>
                    <a:pt x="726" y="2058"/>
                  </a:lnTo>
                  <a:lnTo>
                    <a:pt x="720" y="2064"/>
                  </a:lnTo>
                  <a:lnTo>
                    <a:pt x="714" y="2070"/>
                  </a:lnTo>
                  <a:lnTo>
                    <a:pt x="708" y="2088"/>
                  </a:lnTo>
                  <a:lnTo>
                    <a:pt x="702" y="2100"/>
                  </a:lnTo>
                  <a:lnTo>
                    <a:pt x="690" y="2100"/>
                  </a:lnTo>
                  <a:lnTo>
                    <a:pt x="684" y="2094"/>
                  </a:lnTo>
                  <a:lnTo>
                    <a:pt x="666" y="2100"/>
                  </a:lnTo>
                  <a:lnTo>
                    <a:pt x="636" y="2106"/>
                  </a:lnTo>
                  <a:lnTo>
                    <a:pt x="636" y="2112"/>
                  </a:lnTo>
                  <a:lnTo>
                    <a:pt x="636" y="2118"/>
                  </a:lnTo>
                  <a:lnTo>
                    <a:pt x="636" y="2124"/>
                  </a:lnTo>
                  <a:lnTo>
                    <a:pt x="630" y="2124"/>
                  </a:lnTo>
                  <a:lnTo>
                    <a:pt x="630" y="2148"/>
                  </a:lnTo>
                  <a:lnTo>
                    <a:pt x="612" y="2160"/>
                  </a:lnTo>
                  <a:lnTo>
                    <a:pt x="576" y="2172"/>
                  </a:lnTo>
                  <a:lnTo>
                    <a:pt x="546" y="2172"/>
                  </a:lnTo>
                  <a:lnTo>
                    <a:pt x="516" y="2172"/>
                  </a:lnTo>
                  <a:lnTo>
                    <a:pt x="486" y="2172"/>
                  </a:lnTo>
                  <a:lnTo>
                    <a:pt x="462" y="2172"/>
                  </a:lnTo>
                  <a:lnTo>
                    <a:pt x="444" y="2196"/>
                  </a:lnTo>
                  <a:lnTo>
                    <a:pt x="432" y="2232"/>
                  </a:lnTo>
                  <a:lnTo>
                    <a:pt x="408" y="2238"/>
                  </a:lnTo>
                  <a:lnTo>
                    <a:pt x="390" y="2256"/>
                  </a:lnTo>
                  <a:lnTo>
                    <a:pt x="372" y="2274"/>
                  </a:lnTo>
                  <a:lnTo>
                    <a:pt x="360" y="2274"/>
                  </a:lnTo>
                  <a:lnTo>
                    <a:pt x="336" y="2328"/>
                  </a:lnTo>
                  <a:lnTo>
                    <a:pt x="324" y="2340"/>
                  </a:lnTo>
                  <a:lnTo>
                    <a:pt x="300" y="2346"/>
                  </a:lnTo>
                  <a:lnTo>
                    <a:pt x="294" y="2352"/>
                  </a:lnTo>
                  <a:lnTo>
                    <a:pt x="288" y="2352"/>
                  </a:lnTo>
                  <a:lnTo>
                    <a:pt x="282" y="2352"/>
                  </a:lnTo>
                  <a:lnTo>
                    <a:pt x="276" y="2352"/>
                  </a:lnTo>
                  <a:lnTo>
                    <a:pt x="270" y="2352"/>
                  </a:lnTo>
                  <a:lnTo>
                    <a:pt x="270" y="2346"/>
                  </a:lnTo>
                  <a:lnTo>
                    <a:pt x="264" y="2346"/>
                  </a:lnTo>
                  <a:lnTo>
                    <a:pt x="258" y="2352"/>
                  </a:lnTo>
                  <a:lnTo>
                    <a:pt x="252" y="2352"/>
                  </a:lnTo>
                  <a:lnTo>
                    <a:pt x="240" y="2352"/>
                  </a:lnTo>
                  <a:lnTo>
                    <a:pt x="228" y="2352"/>
                  </a:lnTo>
                  <a:lnTo>
                    <a:pt x="222" y="2352"/>
                  </a:lnTo>
                  <a:lnTo>
                    <a:pt x="216" y="2358"/>
                  </a:lnTo>
                  <a:lnTo>
                    <a:pt x="216" y="2352"/>
                  </a:lnTo>
                  <a:lnTo>
                    <a:pt x="210" y="2346"/>
                  </a:lnTo>
                  <a:lnTo>
                    <a:pt x="204" y="2346"/>
                  </a:lnTo>
                  <a:lnTo>
                    <a:pt x="198" y="2340"/>
                  </a:lnTo>
                  <a:lnTo>
                    <a:pt x="192" y="2340"/>
                  </a:lnTo>
                  <a:lnTo>
                    <a:pt x="186" y="2340"/>
                  </a:lnTo>
                  <a:lnTo>
                    <a:pt x="180" y="2340"/>
                  </a:lnTo>
                  <a:lnTo>
                    <a:pt x="174" y="2340"/>
                  </a:lnTo>
                  <a:lnTo>
                    <a:pt x="162" y="2328"/>
                  </a:lnTo>
                  <a:lnTo>
                    <a:pt x="156" y="2322"/>
                  </a:lnTo>
                  <a:lnTo>
                    <a:pt x="156" y="2316"/>
                  </a:lnTo>
                  <a:lnTo>
                    <a:pt x="156" y="2310"/>
                  </a:lnTo>
                  <a:lnTo>
                    <a:pt x="132" y="2286"/>
                  </a:lnTo>
                  <a:lnTo>
                    <a:pt x="120" y="2280"/>
                  </a:lnTo>
                  <a:lnTo>
                    <a:pt x="96" y="2274"/>
                  </a:lnTo>
                  <a:lnTo>
                    <a:pt x="84" y="2268"/>
                  </a:lnTo>
                  <a:lnTo>
                    <a:pt x="78" y="2268"/>
                  </a:lnTo>
                  <a:lnTo>
                    <a:pt x="78" y="2262"/>
                  </a:lnTo>
                  <a:lnTo>
                    <a:pt x="78" y="2256"/>
                  </a:lnTo>
                  <a:lnTo>
                    <a:pt x="78" y="2250"/>
                  </a:lnTo>
                  <a:lnTo>
                    <a:pt x="72" y="2250"/>
                  </a:lnTo>
                  <a:lnTo>
                    <a:pt x="66" y="2250"/>
                  </a:lnTo>
                  <a:lnTo>
                    <a:pt x="60" y="2250"/>
                  </a:lnTo>
                  <a:lnTo>
                    <a:pt x="48" y="2244"/>
                  </a:lnTo>
                  <a:lnTo>
                    <a:pt x="36" y="2238"/>
                  </a:lnTo>
                  <a:lnTo>
                    <a:pt x="36" y="2226"/>
                  </a:lnTo>
                  <a:lnTo>
                    <a:pt x="30" y="2226"/>
                  </a:lnTo>
                  <a:lnTo>
                    <a:pt x="30" y="2220"/>
                  </a:lnTo>
                  <a:lnTo>
                    <a:pt x="24" y="2208"/>
                  </a:lnTo>
                  <a:lnTo>
                    <a:pt x="18" y="2202"/>
                  </a:lnTo>
                  <a:lnTo>
                    <a:pt x="18" y="2196"/>
                  </a:lnTo>
                  <a:lnTo>
                    <a:pt x="12" y="2190"/>
                  </a:lnTo>
                  <a:lnTo>
                    <a:pt x="0" y="2190"/>
                  </a:lnTo>
                  <a:lnTo>
                    <a:pt x="6" y="2184"/>
                  </a:lnTo>
                  <a:lnTo>
                    <a:pt x="12" y="2178"/>
                  </a:lnTo>
                  <a:lnTo>
                    <a:pt x="18" y="2172"/>
                  </a:lnTo>
                  <a:lnTo>
                    <a:pt x="24" y="2166"/>
                  </a:lnTo>
                  <a:lnTo>
                    <a:pt x="30" y="2166"/>
                  </a:lnTo>
                  <a:lnTo>
                    <a:pt x="24" y="2160"/>
                  </a:lnTo>
                  <a:lnTo>
                    <a:pt x="30" y="2160"/>
                  </a:lnTo>
                  <a:lnTo>
                    <a:pt x="36" y="2154"/>
                  </a:lnTo>
                  <a:lnTo>
                    <a:pt x="36" y="2136"/>
                  </a:lnTo>
                  <a:lnTo>
                    <a:pt x="36" y="2118"/>
                  </a:lnTo>
                  <a:lnTo>
                    <a:pt x="48" y="2058"/>
                  </a:lnTo>
                  <a:lnTo>
                    <a:pt x="48" y="2022"/>
                  </a:lnTo>
                  <a:lnTo>
                    <a:pt x="48" y="2016"/>
                  </a:lnTo>
                  <a:lnTo>
                    <a:pt x="48" y="2010"/>
                  </a:lnTo>
                  <a:lnTo>
                    <a:pt x="48" y="2004"/>
                  </a:lnTo>
                  <a:lnTo>
                    <a:pt x="42" y="2004"/>
                  </a:lnTo>
                  <a:lnTo>
                    <a:pt x="42" y="1998"/>
                  </a:lnTo>
                  <a:lnTo>
                    <a:pt x="36" y="1992"/>
                  </a:lnTo>
                  <a:lnTo>
                    <a:pt x="42" y="1992"/>
                  </a:lnTo>
                  <a:lnTo>
                    <a:pt x="42" y="1986"/>
                  </a:lnTo>
                  <a:lnTo>
                    <a:pt x="48" y="1986"/>
                  </a:lnTo>
                  <a:lnTo>
                    <a:pt x="54" y="1986"/>
                  </a:lnTo>
                  <a:lnTo>
                    <a:pt x="60" y="1986"/>
                  </a:lnTo>
                  <a:lnTo>
                    <a:pt x="66" y="1980"/>
                  </a:lnTo>
                  <a:lnTo>
                    <a:pt x="72" y="1974"/>
                  </a:lnTo>
                  <a:lnTo>
                    <a:pt x="78" y="1974"/>
                  </a:lnTo>
                  <a:lnTo>
                    <a:pt x="84" y="1974"/>
                  </a:lnTo>
                  <a:lnTo>
                    <a:pt x="90" y="1974"/>
                  </a:lnTo>
                  <a:lnTo>
                    <a:pt x="96" y="1974"/>
                  </a:lnTo>
                  <a:lnTo>
                    <a:pt x="96" y="1968"/>
                  </a:lnTo>
                  <a:lnTo>
                    <a:pt x="102" y="1968"/>
                  </a:lnTo>
                  <a:lnTo>
                    <a:pt x="102" y="1962"/>
                  </a:lnTo>
                  <a:lnTo>
                    <a:pt x="108" y="1962"/>
                  </a:lnTo>
                  <a:lnTo>
                    <a:pt x="114" y="1956"/>
                  </a:lnTo>
                  <a:lnTo>
                    <a:pt x="120" y="1956"/>
                  </a:lnTo>
                  <a:lnTo>
                    <a:pt x="126" y="1950"/>
                  </a:lnTo>
                  <a:lnTo>
                    <a:pt x="132" y="1950"/>
                  </a:lnTo>
                  <a:lnTo>
                    <a:pt x="132" y="1944"/>
                  </a:lnTo>
                  <a:lnTo>
                    <a:pt x="126" y="1944"/>
                  </a:lnTo>
                  <a:lnTo>
                    <a:pt x="126" y="1938"/>
                  </a:lnTo>
                  <a:lnTo>
                    <a:pt x="126" y="1932"/>
                  </a:lnTo>
                  <a:lnTo>
                    <a:pt x="126" y="1926"/>
                  </a:lnTo>
                  <a:lnTo>
                    <a:pt x="114" y="1914"/>
                  </a:lnTo>
                  <a:lnTo>
                    <a:pt x="114" y="1896"/>
                  </a:lnTo>
                  <a:lnTo>
                    <a:pt x="108" y="1884"/>
                  </a:lnTo>
                  <a:lnTo>
                    <a:pt x="102" y="1872"/>
                  </a:lnTo>
                  <a:lnTo>
                    <a:pt x="96" y="1866"/>
                  </a:lnTo>
                  <a:lnTo>
                    <a:pt x="96" y="1860"/>
                  </a:lnTo>
                  <a:lnTo>
                    <a:pt x="90" y="1860"/>
                  </a:lnTo>
                  <a:lnTo>
                    <a:pt x="90" y="1854"/>
                  </a:lnTo>
                  <a:lnTo>
                    <a:pt x="84" y="1848"/>
                  </a:lnTo>
                  <a:lnTo>
                    <a:pt x="78" y="1842"/>
                  </a:lnTo>
                  <a:lnTo>
                    <a:pt x="72" y="1836"/>
                  </a:lnTo>
                  <a:lnTo>
                    <a:pt x="66" y="1830"/>
                  </a:lnTo>
                  <a:lnTo>
                    <a:pt x="60" y="1824"/>
                  </a:lnTo>
                  <a:lnTo>
                    <a:pt x="54" y="1824"/>
                  </a:lnTo>
                  <a:lnTo>
                    <a:pt x="48" y="1824"/>
                  </a:lnTo>
                  <a:lnTo>
                    <a:pt x="42" y="1818"/>
                  </a:lnTo>
                  <a:lnTo>
                    <a:pt x="54" y="1818"/>
                  </a:lnTo>
                  <a:lnTo>
                    <a:pt x="60" y="1812"/>
                  </a:lnTo>
                  <a:lnTo>
                    <a:pt x="66" y="1812"/>
                  </a:lnTo>
                  <a:lnTo>
                    <a:pt x="72" y="1812"/>
                  </a:lnTo>
                  <a:lnTo>
                    <a:pt x="78" y="1812"/>
                  </a:lnTo>
                  <a:lnTo>
                    <a:pt x="84" y="1812"/>
                  </a:lnTo>
                  <a:lnTo>
                    <a:pt x="90" y="1806"/>
                  </a:lnTo>
                  <a:lnTo>
                    <a:pt x="96" y="1800"/>
                  </a:lnTo>
                  <a:lnTo>
                    <a:pt x="102" y="1806"/>
                  </a:lnTo>
                  <a:lnTo>
                    <a:pt x="108" y="1800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26" y="1788"/>
                  </a:lnTo>
                  <a:lnTo>
                    <a:pt x="126" y="1794"/>
                  </a:lnTo>
                  <a:lnTo>
                    <a:pt x="132" y="1794"/>
                  </a:lnTo>
                  <a:lnTo>
                    <a:pt x="132" y="1788"/>
                  </a:lnTo>
                  <a:lnTo>
                    <a:pt x="138" y="1788"/>
                  </a:lnTo>
                  <a:lnTo>
                    <a:pt x="138" y="1782"/>
                  </a:lnTo>
                  <a:lnTo>
                    <a:pt x="144" y="1782"/>
                  </a:lnTo>
                  <a:lnTo>
                    <a:pt x="150" y="1776"/>
                  </a:lnTo>
                  <a:lnTo>
                    <a:pt x="156" y="1782"/>
                  </a:lnTo>
                  <a:lnTo>
                    <a:pt x="162" y="1776"/>
                  </a:lnTo>
                  <a:lnTo>
                    <a:pt x="168" y="1776"/>
                  </a:lnTo>
                  <a:lnTo>
                    <a:pt x="180" y="1776"/>
                  </a:lnTo>
                  <a:lnTo>
                    <a:pt x="186" y="1776"/>
                  </a:lnTo>
                  <a:lnTo>
                    <a:pt x="186" y="1782"/>
                  </a:lnTo>
                  <a:lnTo>
                    <a:pt x="192" y="1776"/>
                  </a:lnTo>
                  <a:lnTo>
                    <a:pt x="198" y="1776"/>
                  </a:lnTo>
                  <a:lnTo>
                    <a:pt x="204" y="1770"/>
                  </a:lnTo>
                  <a:lnTo>
                    <a:pt x="204" y="1764"/>
                  </a:lnTo>
                  <a:lnTo>
                    <a:pt x="210" y="1764"/>
                  </a:lnTo>
                  <a:lnTo>
                    <a:pt x="216" y="1764"/>
                  </a:lnTo>
                  <a:lnTo>
                    <a:pt x="216" y="1758"/>
                  </a:lnTo>
                  <a:lnTo>
                    <a:pt x="222" y="1758"/>
                  </a:lnTo>
                  <a:lnTo>
                    <a:pt x="228" y="1758"/>
                  </a:lnTo>
                  <a:lnTo>
                    <a:pt x="258" y="1746"/>
                  </a:lnTo>
                  <a:lnTo>
                    <a:pt x="282" y="1716"/>
                  </a:lnTo>
                  <a:lnTo>
                    <a:pt x="300" y="1698"/>
                  </a:lnTo>
                  <a:lnTo>
                    <a:pt x="312" y="1698"/>
                  </a:lnTo>
                  <a:lnTo>
                    <a:pt x="336" y="1698"/>
                  </a:lnTo>
                  <a:lnTo>
                    <a:pt x="360" y="1698"/>
                  </a:lnTo>
                  <a:lnTo>
                    <a:pt x="372" y="1692"/>
                  </a:lnTo>
                  <a:lnTo>
                    <a:pt x="384" y="1692"/>
                  </a:lnTo>
                  <a:lnTo>
                    <a:pt x="360" y="1668"/>
                  </a:lnTo>
                  <a:lnTo>
                    <a:pt x="348" y="1626"/>
                  </a:lnTo>
                  <a:lnTo>
                    <a:pt x="354" y="1578"/>
                  </a:lnTo>
                  <a:lnTo>
                    <a:pt x="354" y="1572"/>
                  </a:lnTo>
                  <a:lnTo>
                    <a:pt x="360" y="1572"/>
                  </a:lnTo>
                  <a:lnTo>
                    <a:pt x="396" y="1530"/>
                  </a:lnTo>
                  <a:lnTo>
                    <a:pt x="408" y="1482"/>
                  </a:lnTo>
                  <a:lnTo>
                    <a:pt x="438" y="1458"/>
                  </a:lnTo>
                  <a:lnTo>
                    <a:pt x="468" y="1422"/>
                  </a:lnTo>
                  <a:lnTo>
                    <a:pt x="480" y="1410"/>
                  </a:lnTo>
                  <a:lnTo>
                    <a:pt x="474" y="1386"/>
                  </a:lnTo>
                  <a:lnTo>
                    <a:pt x="456" y="1356"/>
                  </a:lnTo>
                  <a:lnTo>
                    <a:pt x="438" y="1350"/>
                  </a:lnTo>
                  <a:lnTo>
                    <a:pt x="420" y="1350"/>
                  </a:lnTo>
                  <a:lnTo>
                    <a:pt x="402" y="1350"/>
                  </a:lnTo>
                  <a:lnTo>
                    <a:pt x="390" y="1344"/>
                  </a:lnTo>
                  <a:lnTo>
                    <a:pt x="390" y="1332"/>
                  </a:lnTo>
                  <a:lnTo>
                    <a:pt x="402" y="1296"/>
                  </a:lnTo>
                  <a:lnTo>
                    <a:pt x="414" y="1260"/>
                  </a:lnTo>
                  <a:lnTo>
                    <a:pt x="426" y="1248"/>
                  </a:lnTo>
                  <a:lnTo>
                    <a:pt x="438" y="1242"/>
                  </a:lnTo>
                  <a:lnTo>
                    <a:pt x="432" y="1230"/>
                  </a:lnTo>
                  <a:lnTo>
                    <a:pt x="432" y="1224"/>
                  </a:lnTo>
                  <a:lnTo>
                    <a:pt x="426" y="1218"/>
                  </a:lnTo>
                  <a:lnTo>
                    <a:pt x="426" y="1206"/>
                  </a:lnTo>
                  <a:lnTo>
                    <a:pt x="426" y="1200"/>
                  </a:lnTo>
                  <a:lnTo>
                    <a:pt x="432" y="1194"/>
                  </a:lnTo>
                  <a:lnTo>
                    <a:pt x="426" y="1188"/>
                  </a:lnTo>
                  <a:lnTo>
                    <a:pt x="432" y="1104"/>
                  </a:lnTo>
                  <a:lnTo>
                    <a:pt x="438" y="1086"/>
                  </a:lnTo>
                  <a:lnTo>
                    <a:pt x="462" y="972"/>
                  </a:lnTo>
                  <a:lnTo>
                    <a:pt x="456" y="900"/>
                  </a:lnTo>
                  <a:lnTo>
                    <a:pt x="444" y="846"/>
                  </a:lnTo>
                  <a:lnTo>
                    <a:pt x="456" y="810"/>
                  </a:lnTo>
                  <a:lnTo>
                    <a:pt x="492" y="786"/>
                  </a:lnTo>
                  <a:lnTo>
                    <a:pt x="522" y="762"/>
                  </a:lnTo>
                  <a:lnTo>
                    <a:pt x="546" y="732"/>
                  </a:lnTo>
                  <a:lnTo>
                    <a:pt x="570" y="696"/>
                  </a:lnTo>
                  <a:lnTo>
                    <a:pt x="582" y="654"/>
                  </a:lnTo>
                  <a:lnTo>
                    <a:pt x="564" y="642"/>
                  </a:lnTo>
                  <a:lnTo>
                    <a:pt x="522" y="588"/>
                  </a:lnTo>
                  <a:lnTo>
                    <a:pt x="516" y="546"/>
                  </a:lnTo>
                  <a:lnTo>
                    <a:pt x="510" y="474"/>
                  </a:lnTo>
                  <a:lnTo>
                    <a:pt x="510" y="450"/>
                  </a:lnTo>
                  <a:lnTo>
                    <a:pt x="510" y="444"/>
                  </a:lnTo>
                  <a:lnTo>
                    <a:pt x="522" y="438"/>
                  </a:lnTo>
                  <a:lnTo>
                    <a:pt x="522" y="432"/>
                  </a:lnTo>
                  <a:lnTo>
                    <a:pt x="528" y="426"/>
                  </a:lnTo>
                  <a:lnTo>
                    <a:pt x="534" y="420"/>
                  </a:lnTo>
                  <a:lnTo>
                    <a:pt x="540" y="414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08"/>
                  </a:lnTo>
                  <a:lnTo>
                    <a:pt x="546" y="408"/>
                  </a:lnTo>
                  <a:lnTo>
                    <a:pt x="558" y="414"/>
                  </a:lnTo>
                  <a:lnTo>
                    <a:pt x="564" y="414"/>
                  </a:lnTo>
                  <a:lnTo>
                    <a:pt x="570" y="414"/>
                  </a:lnTo>
                  <a:lnTo>
                    <a:pt x="582" y="414"/>
                  </a:lnTo>
                  <a:lnTo>
                    <a:pt x="582" y="420"/>
                  </a:lnTo>
                  <a:lnTo>
                    <a:pt x="588" y="414"/>
                  </a:lnTo>
                  <a:lnTo>
                    <a:pt x="582" y="408"/>
                  </a:lnTo>
                  <a:lnTo>
                    <a:pt x="588" y="402"/>
                  </a:lnTo>
                  <a:lnTo>
                    <a:pt x="594" y="402"/>
                  </a:lnTo>
                  <a:lnTo>
                    <a:pt x="594" y="396"/>
                  </a:lnTo>
                  <a:lnTo>
                    <a:pt x="594" y="390"/>
                  </a:lnTo>
                  <a:lnTo>
                    <a:pt x="594" y="384"/>
                  </a:lnTo>
                  <a:lnTo>
                    <a:pt x="594" y="378"/>
                  </a:lnTo>
                  <a:lnTo>
                    <a:pt x="600" y="366"/>
                  </a:lnTo>
                  <a:lnTo>
                    <a:pt x="606" y="366"/>
                  </a:lnTo>
                  <a:lnTo>
                    <a:pt x="612" y="360"/>
                  </a:lnTo>
                  <a:lnTo>
                    <a:pt x="612" y="366"/>
                  </a:lnTo>
                  <a:lnTo>
                    <a:pt x="618" y="366"/>
                  </a:lnTo>
                  <a:lnTo>
                    <a:pt x="624" y="366"/>
                  </a:lnTo>
                  <a:lnTo>
                    <a:pt x="630" y="360"/>
                  </a:lnTo>
                  <a:lnTo>
                    <a:pt x="636" y="354"/>
                  </a:lnTo>
                  <a:lnTo>
                    <a:pt x="630" y="354"/>
                  </a:lnTo>
                  <a:lnTo>
                    <a:pt x="630" y="348"/>
                  </a:lnTo>
                  <a:lnTo>
                    <a:pt x="630" y="342"/>
                  </a:lnTo>
                  <a:lnTo>
                    <a:pt x="636" y="342"/>
                  </a:lnTo>
                  <a:lnTo>
                    <a:pt x="642" y="336"/>
                  </a:lnTo>
                  <a:lnTo>
                    <a:pt x="636" y="330"/>
                  </a:lnTo>
                  <a:lnTo>
                    <a:pt x="630" y="336"/>
                  </a:lnTo>
                  <a:lnTo>
                    <a:pt x="624" y="336"/>
                  </a:lnTo>
                  <a:lnTo>
                    <a:pt x="624" y="330"/>
                  </a:lnTo>
                  <a:lnTo>
                    <a:pt x="624" y="324"/>
                  </a:lnTo>
                  <a:lnTo>
                    <a:pt x="618" y="324"/>
                  </a:lnTo>
                  <a:lnTo>
                    <a:pt x="624" y="324"/>
                  </a:lnTo>
                  <a:lnTo>
                    <a:pt x="630" y="330"/>
                  </a:lnTo>
                  <a:lnTo>
                    <a:pt x="630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2" y="306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8" y="288"/>
                  </a:lnTo>
                  <a:lnTo>
                    <a:pt x="648" y="282"/>
                  </a:lnTo>
                  <a:lnTo>
                    <a:pt x="654" y="288"/>
                  </a:lnTo>
                  <a:lnTo>
                    <a:pt x="654" y="282"/>
                  </a:lnTo>
                  <a:lnTo>
                    <a:pt x="660" y="282"/>
                  </a:lnTo>
                  <a:lnTo>
                    <a:pt x="666" y="282"/>
                  </a:lnTo>
                  <a:lnTo>
                    <a:pt x="672" y="282"/>
                  </a:lnTo>
                  <a:lnTo>
                    <a:pt x="678" y="282"/>
                  </a:lnTo>
                  <a:lnTo>
                    <a:pt x="684" y="276"/>
                  </a:lnTo>
                  <a:lnTo>
                    <a:pt x="690" y="270"/>
                  </a:lnTo>
                  <a:lnTo>
                    <a:pt x="690" y="264"/>
                  </a:lnTo>
                  <a:lnTo>
                    <a:pt x="690" y="270"/>
                  </a:lnTo>
                  <a:lnTo>
                    <a:pt x="690" y="276"/>
                  </a:lnTo>
                  <a:lnTo>
                    <a:pt x="696" y="276"/>
                  </a:lnTo>
                  <a:lnTo>
                    <a:pt x="702" y="276"/>
                  </a:lnTo>
                  <a:lnTo>
                    <a:pt x="702" y="282"/>
                  </a:lnTo>
                  <a:lnTo>
                    <a:pt x="708" y="282"/>
                  </a:lnTo>
                  <a:lnTo>
                    <a:pt x="720" y="270"/>
                  </a:lnTo>
                  <a:lnTo>
                    <a:pt x="720" y="264"/>
                  </a:lnTo>
                  <a:lnTo>
                    <a:pt x="720" y="258"/>
                  </a:lnTo>
                  <a:lnTo>
                    <a:pt x="726" y="258"/>
                  </a:lnTo>
                  <a:lnTo>
                    <a:pt x="732" y="258"/>
                  </a:lnTo>
                  <a:lnTo>
                    <a:pt x="732" y="264"/>
                  </a:lnTo>
                  <a:lnTo>
                    <a:pt x="738" y="264"/>
                  </a:lnTo>
                  <a:lnTo>
                    <a:pt x="738" y="258"/>
                  </a:lnTo>
                  <a:lnTo>
                    <a:pt x="732" y="258"/>
                  </a:lnTo>
                  <a:lnTo>
                    <a:pt x="732" y="252"/>
                  </a:lnTo>
                  <a:lnTo>
                    <a:pt x="744" y="252"/>
                  </a:lnTo>
                  <a:lnTo>
                    <a:pt x="750" y="252"/>
                  </a:lnTo>
                  <a:lnTo>
                    <a:pt x="750" y="246"/>
                  </a:lnTo>
                  <a:lnTo>
                    <a:pt x="750" y="240"/>
                  </a:lnTo>
                  <a:lnTo>
                    <a:pt x="762" y="234"/>
                  </a:lnTo>
                  <a:lnTo>
                    <a:pt x="768" y="234"/>
                  </a:lnTo>
                  <a:lnTo>
                    <a:pt x="774" y="234"/>
                  </a:lnTo>
                  <a:lnTo>
                    <a:pt x="780" y="228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16"/>
                  </a:lnTo>
                  <a:lnTo>
                    <a:pt x="792" y="210"/>
                  </a:lnTo>
                  <a:lnTo>
                    <a:pt x="804" y="204"/>
                  </a:lnTo>
                  <a:lnTo>
                    <a:pt x="804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0" y="192"/>
                  </a:lnTo>
                  <a:lnTo>
                    <a:pt x="798" y="186"/>
                  </a:lnTo>
                  <a:lnTo>
                    <a:pt x="810" y="186"/>
                  </a:lnTo>
                  <a:lnTo>
                    <a:pt x="810" y="180"/>
                  </a:lnTo>
                  <a:lnTo>
                    <a:pt x="810" y="186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0" y="180"/>
                  </a:lnTo>
                  <a:lnTo>
                    <a:pt x="816" y="174"/>
                  </a:lnTo>
                  <a:lnTo>
                    <a:pt x="822" y="174"/>
                  </a:lnTo>
                  <a:lnTo>
                    <a:pt x="822" y="180"/>
                  </a:lnTo>
                  <a:lnTo>
                    <a:pt x="828" y="180"/>
                  </a:lnTo>
                  <a:lnTo>
                    <a:pt x="828" y="174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62"/>
                  </a:lnTo>
                  <a:lnTo>
                    <a:pt x="828" y="156"/>
                  </a:lnTo>
                  <a:lnTo>
                    <a:pt x="822" y="156"/>
                  </a:lnTo>
                  <a:lnTo>
                    <a:pt x="828" y="156"/>
                  </a:lnTo>
                  <a:lnTo>
                    <a:pt x="828" y="150"/>
                  </a:lnTo>
                  <a:lnTo>
                    <a:pt x="834" y="150"/>
                  </a:lnTo>
                  <a:lnTo>
                    <a:pt x="840" y="156"/>
                  </a:lnTo>
                  <a:lnTo>
                    <a:pt x="840" y="150"/>
                  </a:lnTo>
                  <a:lnTo>
                    <a:pt x="834" y="150"/>
                  </a:lnTo>
                  <a:lnTo>
                    <a:pt x="834" y="144"/>
                  </a:lnTo>
                  <a:lnTo>
                    <a:pt x="840" y="138"/>
                  </a:lnTo>
                  <a:lnTo>
                    <a:pt x="846" y="144"/>
                  </a:lnTo>
                  <a:lnTo>
                    <a:pt x="846" y="150"/>
                  </a:lnTo>
                  <a:lnTo>
                    <a:pt x="852" y="150"/>
                  </a:lnTo>
                  <a:lnTo>
                    <a:pt x="858" y="150"/>
                  </a:lnTo>
                  <a:lnTo>
                    <a:pt x="870" y="150"/>
                  </a:lnTo>
                  <a:lnTo>
                    <a:pt x="870" y="144"/>
                  </a:lnTo>
                  <a:lnTo>
                    <a:pt x="876" y="138"/>
                  </a:lnTo>
                  <a:lnTo>
                    <a:pt x="882" y="138"/>
                  </a:lnTo>
                  <a:lnTo>
                    <a:pt x="888" y="132"/>
                  </a:lnTo>
                  <a:lnTo>
                    <a:pt x="888" y="138"/>
                  </a:lnTo>
                  <a:lnTo>
                    <a:pt x="894" y="138"/>
                  </a:lnTo>
                  <a:lnTo>
                    <a:pt x="894" y="132"/>
                  </a:lnTo>
                  <a:lnTo>
                    <a:pt x="900" y="126"/>
                  </a:lnTo>
                  <a:lnTo>
                    <a:pt x="900" y="132"/>
                  </a:lnTo>
                  <a:lnTo>
                    <a:pt x="906" y="132"/>
                  </a:lnTo>
                  <a:lnTo>
                    <a:pt x="912" y="132"/>
                  </a:lnTo>
                  <a:lnTo>
                    <a:pt x="918" y="126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24" y="126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8" y="120"/>
                  </a:lnTo>
                  <a:lnTo>
                    <a:pt x="948" y="114"/>
                  </a:lnTo>
                  <a:lnTo>
                    <a:pt x="948" y="108"/>
                  </a:lnTo>
                  <a:lnTo>
                    <a:pt x="954" y="114"/>
                  </a:lnTo>
                  <a:lnTo>
                    <a:pt x="960" y="108"/>
                  </a:lnTo>
                  <a:lnTo>
                    <a:pt x="966" y="108"/>
                  </a:lnTo>
                  <a:lnTo>
                    <a:pt x="972" y="108"/>
                  </a:lnTo>
                  <a:lnTo>
                    <a:pt x="966" y="114"/>
                  </a:lnTo>
                  <a:lnTo>
                    <a:pt x="960" y="114"/>
                  </a:lnTo>
                  <a:lnTo>
                    <a:pt x="960" y="120"/>
                  </a:lnTo>
                  <a:lnTo>
                    <a:pt x="966" y="126"/>
                  </a:lnTo>
                  <a:lnTo>
                    <a:pt x="972" y="126"/>
                  </a:lnTo>
                  <a:lnTo>
                    <a:pt x="978" y="126"/>
                  </a:lnTo>
                  <a:lnTo>
                    <a:pt x="984" y="120"/>
                  </a:lnTo>
                  <a:lnTo>
                    <a:pt x="984" y="114"/>
                  </a:lnTo>
                  <a:lnTo>
                    <a:pt x="996" y="126"/>
                  </a:lnTo>
                  <a:lnTo>
                    <a:pt x="996" y="120"/>
                  </a:lnTo>
                  <a:lnTo>
                    <a:pt x="1002" y="120"/>
                  </a:lnTo>
                  <a:lnTo>
                    <a:pt x="996" y="114"/>
                  </a:lnTo>
                  <a:lnTo>
                    <a:pt x="1002" y="114"/>
                  </a:lnTo>
                  <a:lnTo>
                    <a:pt x="1008" y="114"/>
                  </a:lnTo>
                  <a:lnTo>
                    <a:pt x="1008" y="108"/>
                  </a:lnTo>
                  <a:lnTo>
                    <a:pt x="1014" y="108"/>
                  </a:lnTo>
                  <a:lnTo>
                    <a:pt x="1008" y="114"/>
                  </a:lnTo>
                  <a:lnTo>
                    <a:pt x="1008" y="120"/>
                  </a:lnTo>
                  <a:lnTo>
                    <a:pt x="1008" y="126"/>
                  </a:lnTo>
                  <a:lnTo>
                    <a:pt x="1014" y="126"/>
                  </a:lnTo>
                  <a:lnTo>
                    <a:pt x="1014" y="132"/>
                  </a:lnTo>
                  <a:lnTo>
                    <a:pt x="1020" y="132"/>
                  </a:lnTo>
                  <a:lnTo>
                    <a:pt x="1020" y="126"/>
                  </a:lnTo>
                  <a:lnTo>
                    <a:pt x="1020" y="120"/>
                  </a:lnTo>
                  <a:lnTo>
                    <a:pt x="1032" y="120"/>
                  </a:lnTo>
                  <a:lnTo>
                    <a:pt x="1038" y="120"/>
                  </a:lnTo>
                  <a:lnTo>
                    <a:pt x="1038" y="126"/>
                  </a:lnTo>
                  <a:lnTo>
                    <a:pt x="1044" y="132"/>
                  </a:lnTo>
                  <a:lnTo>
                    <a:pt x="1044" y="126"/>
                  </a:lnTo>
                  <a:lnTo>
                    <a:pt x="1050" y="120"/>
                  </a:lnTo>
                  <a:lnTo>
                    <a:pt x="1050" y="114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68" y="102"/>
                  </a:lnTo>
                  <a:lnTo>
                    <a:pt x="1074" y="96"/>
                  </a:lnTo>
                  <a:lnTo>
                    <a:pt x="1074" y="90"/>
                  </a:lnTo>
                  <a:lnTo>
                    <a:pt x="1068" y="90"/>
                  </a:lnTo>
                  <a:lnTo>
                    <a:pt x="1068" y="84"/>
                  </a:lnTo>
                  <a:lnTo>
                    <a:pt x="1080" y="84"/>
                  </a:lnTo>
                  <a:lnTo>
                    <a:pt x="1086" y="78"/>
                  </a:lnTo>
                  <a:lnTo>
                    <a:pt x="1086" y="72"/>
                  </a:lnTo>
                  <a:lnTo>
                    <a:pt x="1080" y="78"/>
                  </a:lnTo>
                  <a:lnTo>
                    <a:pt x="1080" y="72"/>
                  </a:lnTo>
                  <a:lnTo>
                    <a:pt x="1080" y="66"/>
                  </a:lnTo>
                  <a:lnTo>
                    <a:pt x="1074" y="66"/>
                  </a:lnTo>
                  <a:lnTo>
                    <a:pt x="1080" y="66"/>
                  </a:lnTo>
                  <a:lnTo>
                    <a:pt x="1080" y="60"/>
                  </a:lnTo>
                  <a:lnTo>
                    <a:pt x="1086" y="60"/>
                  </a:lnTo>
                  <a:lnTo>
                    <a:pt x="1086" y="54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2" y="42"/>
                  </a:lnTo>
                  <a:lnTo>
                    <a:pt x="1098" y="42"/>
                  </a:lnTo>
                  <a:lnTo>
                    <a:pt x="1104" y="36"/>
                  </a:lnTo>
                  <a:lnTo>
                    <a:pt x="1110" y="36"/>
                  </a:lnTo>
                  <a:lnTo>
                    <a:pt x="1110" y="30"/>
                  </a:lnTo>
                  <a:lnTo>
                    <a:pt x="1110" y="24"/>
                  </a:lnTo>
                  <a:lnTo>
                    <a:pt x="1116" y="24"/>
                  </a:lnTo>
                  <a:lnTo>
                    <a:pt x="1116" y="18"/>
                  </a:lnTo>
                  <a:lnTo>
                    <a:pt x="1122" y="18"/>
                  </a:lnTo>
                  <a:lnTo>
                    <a:pt x="1128" y="18"/>
                  </a:lnTo>
                  <a:lnTo>
                    <a:pt x="1134" y="12"/>
                  </a:lnTo>
                  <a:lnTo>
                    <a:pt x="1134" y="6"/>
                  </a:lnTo>
                  <a:lnTo>
                    <a:pt x="1140" y="6"/>
                  </a:lnTo>
                  <a:lnTo>
                    <a:pt x="1146" y="0"/>
                  </a:lnTo>
                  <a:lnTo>
                    <a:pt x="1152" y="0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70" y="0"/>
                  </a:lnTo>
                  <a:lnTo>
                    <a:pt x="1176" y="6"/>
                  </a:lnTo>
                  <a:lnTo>
                    <a:pt x="1182" y="6"/>
                  </a:lnTo>
                  <a:lnTo>
                    <a:pt x="1194" y="6"/>
                  </a:lnTo>
                  <a:lnTo>
                    <a:pt x="1200" y="6"/>
                  </a:lnTo>
                  <a:lnTo>
                    <a:pt x="1212" y="0"/>
                  </a:lnTo>
                  <a:lnTo>
                    <a:pt x="1212" y="6"/>
                  </a:lnTo>
                  <a:lnTo>
                    <a:pt x="1218" y="6"/>
                  </a:lnTo>
                  <a:lnTo>
                    <a:pt x="1266" y="6"/>
                  </a:lnTo>
                  <a:lnTo>
                    <a:pt x="1272" y="0"/>
                  </a:lnTo>
                  <a:lnTo>
                    <a:pt x="1278" y="6"/>
                  </a:lnTo>
                  <a:lnTo>
                    <a:pt x="1290" y="6"/>
                  </a:lnTo>
                  <a:lnTo>
                    <a:pt x="1296" y="6"/>
                  </a:lnTo>
                  <a:lnTo>
                    <a:pt x="1308" y="6"/>
                  </a:lnTo>
                  <a:lnTo>
                    <a:pt x="1314" y="6"/>
                  </a:lnTo>
                  <a:lnTo>
                    <a:pt x="1320" y="6"/>
                  </a:lnTo>
                  <a:lnTo>
                    <a:pt x="1326" y="12"/>
                  </a:lnTo>
                  <a:lnTo>
                    <a:pt x="1338" y="30"/>
                  </a:lnTo>
                  <a:lnTo>
                    <a:pt x="1344" y="36"/>
                  </a:lnTo>
                  <a:lnTo>
                    <a:pt x="1356" y="48"/>
                  </a:lnTo>
                  <a:lnTo>
                    <a:pt x="1362" y="60"/>
                  </a:lnTo>
                  <a:lnTo>
                    <a:pt x="1368" y="66"/>
                  </a:lnTo>
                  <a:lnTo>
                    <a:pt x="1374" y="72"/>
                  </a:lnTo>
                  <a:lnTo>
                    <a:pt x="1374" y="78"/>
                  </a:lnTo>
                  <a:lnTo>
                    <a:pt x="1398" y="108"/>
                  </a:lnTo>
                  <a:lnTo>
                    <a:pt x="1398" y="114"/>
                  </a:lnTo>
                  <a:lnTo>
                    <a:pt x="1404" y="114"/>
                  </a:lnTo>
                  <a:lnTo>
                    <a:pt x="1404" y="120"/>
                  </a:lnTo>
                  <a:lnTo>
                    <a:pt x="1410" y="132"/>
                  </a:lnTo>
                  <a:lnTo>
                    <a:pt x="1416" y="132"/>
                  </a:lnTo>
                  <a:lnTo>
                    <a:pt x="1416" y="138"/>
                  </a:lnTo>
                  <a:lnTo>
                    <a:pt x="1422" y="144"/>
                  </a:lnTo>
                  <a:lnTo>
                    <a:pt x="1428" y="150"/>
                  </a:lnTo>
                  <a:lnTo>
                    <a:pt x="1428" y="156"/>
                  </a:lnTo>
                  <a:lnTo>
                    <a:pt x="1458" y="192"/>
                  </a:lnTo>
                  <a:lnTo>
                    <a:pt x="1458" y="198"/>
                  </a:lnTo>
                  <a:lnTo>
                    <a:pt x="1464" y="204"/>
                  </a:lnTo>
                  <a:lnTo>
                    <a:pt x="1470" y="210"/>
                  </a:lnTo>
                  <a:lnTo>
                    <a:pt x="1476" y="216"/>
                  </a:lnTo>
                  <a:lnTo>
                    <a:pt x="1482" y="228"/>
                  </a:lnTo>
                  <a:lnTo>
                    <a:pt x="1488" y="234"/>
                  </a:lnTo>
                  <a:lnTo>
                    <a:pt x="1512" y="270"/>
                  </a:lnTo>
                  <a:lnTo>
                    <a:pt x="1512" y="276"/>
                  </a:lnTo>
                  <a:lnTo>
                    <a:pt x="1530" y="300"/>
                  </a:lnTo>
                  <a:lnTo>
                    <a:pt x="1536" y="306"/>
                  </a:lnTo>
                  <a:lnTo>
                    <a:pt x="1542" y="312"/>
                  </a:lnTo>
                  <a:lnTo>
                    <a:pt x="1542" y="318"/>
                  </a:lnTo>
                  <a:lnTo>
                    <a:pt x="1560" y="336"/>
                  </a:lnTo>
                  <a:lnTo>
                    <a:pt x="1566" y="348"/>
                  </a:lnTo>
                  <a:lnTo>
                    <a:pt x="1572" y="354"/>
                  </a:lnTo>
                  <a:lnTo>
                    <a:pt x="1578" y="360"/>
                  </a:lnTo>
                  <a:lnTo>
                    <a:pt x="1584" y="378"/>
                  </a:lnTo>
                  <a:lnTo>
                    <a:pt x="1590" y="378"/>
                  </a:lnTo>
                  <a:lnTo>
                    <a:pt x="1596" y="390"/>
                  </a:lnTo>
                  <a:lnTo>
                    <a:pt x="1602" y="396"/>
                  </a:lnTo>
                  <a:lnTo>
                    <a:pt x="1608" y="408"/>
                  </a:lnTo>
                  <a:lnTo>
                    <a:pt x="1614" y="408"/>
                  </a:lnTo>
                  <a:lnTo>
                    <a:pt x="1614" y="432"/>
                  </a:lnTo>
                  <a:lnTo>
                    <a:pt x="1620" y="438"/>
                  </a:lnTo>
                  <a:lnTo>
                    <a:pt x="1620" y="450"/>
                  </a:lnTo>
                  <a:lnTo>
                    <a:pt x="1620" y="462"/>
                  </a:lnTo>
                  <a:lnTo>
                    <a:pt x="1626" y="474"/>
                  </a:lnTo>
                  <a:lnTo>
                    <a:pt x="1626" y="480"/>
                  </a:lnTo>
                  <a:lnTo>
                    <a:pt x="1626" y="486"/>
                  </a:lnTo>
                  <a:lnTo>
                    <a:pt x="1632" y="522"/>
                  </a:lnTo>
                  <a:lnTo>
                    <a:pt x="1632" y="528"/>
                  </a:lnTo>
                  <a:lnTo>
                    <a:pt x="1632" y="534"/>
                  </a:lnTo>
                  <a:lnTo>
                    <a:pt x="1638" y="540"/>
                  </a:lnTo>
                  <a:lnTo>
                    <a:pt x="1638" y="558"/>
                  </a:lnTo>
                  <a:lnTo>
                    <a:pt x="1638" y="570"/>
                  </a:lnTo>
                  <a:lnTo>
                    <a:pt x="1644" y="582"/>
                  </a:lnTo>
                  <a:lnTo>
                    <a:pt x="1650" y="618"/>
                  </a:lnTo>
                  <a:lnTo>
                    <a:pt x="1650" y="624"/>
                  </a:lnTo>
                  <a:lnTo>
                    <a:pt x="1650" y="636"/>
                  </a:lnTo>
                  <a:lnTo>
                    <a:pt x="1656" y="642"/>
                  </a:lnTo>
                  <a:lnTo>
                    <a:pt x="1656" y="648"/>
                  </a:lnTo>
                  <a:lnTo>
                    <a:pt x="1656" y="654"/>
                  </a:lnTo>
                  <a:lnTo>
                    <a:pt x="1656" y="660"/>
                  </a:lnTo>
                  <a:lnTo>
                    <a:pt x="1662" y="696"/>
                  </a:lnTo>
                  <a:lnTo>
                    <a:pt x="1668" y="708"/>
                  </a:lnTo>
                  <a:lnTo>
                    <a:pt x="1668" y="714"/>
                  </a:lnTo>
                  <a:lnTo>
                    <a:pt x="1668" y="732"/>
                  </a:lnTo>
                  <a:lnTo>
                    <a:pt x="1668" y="744"/>
                  </a:lnTo>
                  <a:lnTo>
                    <a:pt x="1674" y="756"/>
                  </a:lnTo>
                  <a:lnTo>
                    <a:pt x="1680" y="762"/>
                  </a:lnTo>
                  <a:lnTo>
                    <a:pt x="1680" y="768"/>
                  </a:lnTo>
                  <a:lnTo>
                    <a:pt x="1680" y="774"/>
                  </a:lnTo>
                  <a:lnTo>
                    <a:pt x="1680" y="780"/>
                  </a:lnTo>
                  <a:lnTo>
                    <a:pt x="1674" y="786"/>
                  </a:lnTo>
                  <a:lnTo>
                    <a:pt x="1668" y="792"/>
                  </a:lnTo>
                  <a:lnTo>
                    <a:pt x="1668" y="798"/>
                  </a:lnTo>
                  <a:lnTo>
                    <a:pt x="1668" y="804"/>
                  </a:lnTo>
                  <a:lnTo>
                    <a:pt x="1674" y="804"/>
                  </a:lnTo>
                  <a:lnTo>
                    <a:pt x="1668" y="810"/>
                  </a:lnTo>
                  <a:lnTo>
                    <a:pt x="1674" y="810"/>
                  </a:lnTo>
                  <a:lnTo>
                    <a:pt x="1680" y="810"/>
                  </a:lnTo>
                  <a:lnTo>
                    <a:pt x="1680" y="816"/>
                  </a:lnTo>
                  <a:lnTo>
                    <a:pt x="1680" y="822"/>
                  </a:lnTo>
                  <a:lnTo>
                    <a:pt x="1674" y="822"/>
                  </a:lnTo>
                  <a:lnTo>
                    <a:pt x="1674" y="828"/>
                  </a:lnTo>
                  <a:lnTo>
                    <a:pt x="1668" y="828"/>
                  </a:lnTo>
                  <a:lnTo>
                    <a:pt x="1674" y="834"/>
                  </a:lnTo>
                  <a:lnTo>
                    <a:pt x="1668" y="834"/>
                  </a:lnTo>
                  <a:lnTo>
                    <a:pt x="1668" y="840"/>
                  </a:lnTo>
                  <a:lnTo>
                    <a:pt x="1674" y="840"/>
                  </a:lnTo>
                  <a:lnTo>
                    <a:pt x="1686" y="852"/>
                  </a:lnTo>
                  <a:lnTo>
                    <a:pt x="1692" y="858"/>
                  </a:lnTo>
                  <a:lnTo>
                    <a:pt x="1698" y="858"/>
                  </a:lnTo>
                  <a:lnTo>
                    <a:pt x="1698" y="864"/>
                  </a:lnTo>
                  <a:lnTo>
                    <a:pt x="1698" y="870"/>
                  </a:lnTo>
                  <a:lnTo>
                    <a:pt x="1704" y="864"/>
                  </a:lnTo>
                  <a:lnTo>
                    <a:pt x="1716" y="864"/>
                  </a:lnTo>
                  <a:lnTo>
                    <a:pt x="1722" y="864"/>
                  </a:lnTo>
                  <a:lnTo>
                    <a:pt x="1728" y="864"/>
                  </a:lnTo>
                  <a:lnTo>
                    <a:pt x="1734" y="864"/>
                  </a:lnTo>
                  <a:lnTo>
                    <a:pt x="1740" y="864"/>
                  </a:lnTo>
                  <a:lnTo>
                    <a:pt x="1746" y="876"/>
                  </a:lnTo>
                  <a:lnTo>
                    <a:pt x="1746" y="870"/>
                  </a:lnTo>
                  <a:lnTo>
                    <a:pt x="1740" y="864"/>
                  </a:lnTo>
                  <a:lnTo>
                    <a:pt x="1746" y="864"/>
                  </a:lnTo>
                  <a:lnTo>
                    <a:pt x="1752" y="870"/>
                  </a:lnTo>
                  <a:lnTo>
                    <a:pt x="1758" y="864"/>
                  </a:lnTo>
                  <a:lnTo>
                    <a:pt x="1764" y="864"/>
                  </a:lnTo>
                  <a:lnTo>
                    <a:pt x="1770" y="858"/>
                  </a:lnTo>
                  <a:lnTo>
                    <a:pt x="1782" y="864"/>
                  </a:lnTo>
                  <a:lnTo>
                    <a:pt x="1782" y="870"/>
                  </a:lnTo>
                  <a:lnTo>
                    <a:pt x="1788" y="864"/>
                  </a:lnTo>
                  <a:lnTo>
                    <a:pt x="1794" y="864"/>
                  </a:lnTo>
                  <a:lnTo>
                    <a:pt x="1800" y="870"/>
                  </a:lnTo>
                  <a:lnTo>
                    <a:pt x="1818" y="864"/>
                  </a:lnTo>
                  <a:lnTo>
                    <a:pt x="1824" y="870"/>
                  </a:lnTo>
                  <a:lnTo>
                    <a:pt x="1830" y="864"/>
                  </a:lnTo>
                  <a:lnTo>
                    <a:pt x="1836" y="864"/>
                  </a:lnTo>
                  <a:lnTo>
                    <a:pt x="1842" y="870"/>
                  </a:lnTo>
                  <a:lnTo>
                    <a:pt x="1842" y="876"/>
                  </a:lnTo>
                  <a:lnTo>
                    <a:pt x="1848" y="876"/>
                  </a:lnTo>
                  <a:lnTo>
                    <a:pt x="1848" y="870"/>
                  </a:lnTo>
                  <a:lnTo>
                    <a:pt x="1854" y="870"/>
                  </a:lnTo>
                  <a:lnTo>
                    <a:pt x="1860" y="870"/>
                  </a:lnTo>
                  <a:lnTo>
                    <a:pt x="1860" y="876"/>
                  </a:lnTo>
                  <a:lnTo>
                    <a:pt x="1866" y="876"/>
                  </a:lnTo>
                  <a:lnTo>
                    <a:pt x="1866" y="882"/>
                  </a:lnTo>
                  <a:lnTo>
                    <a:pt x="1872" y="882"/>
                  </a:lnTo>
                  <a:lnTo>
                    <a:pt x="1878" y="888"/>
                  </a:lnTo>
                  <a:lnTo>
                    <a:pt x="1890" y="888"/>
                  </a:lnTo>
                  <a:lnTo>
                    <a:pt x="1890" y="894"/>
                  </a:lnTo>
                  <a:lnTo>
                    <a:pt x="1890" y="900"/>
                  </a:lnTo>
                  <a:lnTo>
                    <a:pt x="1884" y="900"/>
                  </a:lnTo>
                  <a:lnTo>
                    <a:pt x="1884" y="906"/>
                  </a:lnTo>
                  <a:lnTo>
                    <a:pt x="1884" y="912"/>
                  </a:lnTo>
                  <a:lnTo>
                    <a:pt x="1890" y="912"/>
                  </a:lnTo>
                  <a:lnTo>
                    <a:pt x="1896" y="912"/>
                  </a:lnTo>
                  <a:lnTo>
                    <a:pt x="1902" y="912"/>
                  </a:lnTo>
                  <a:lnTo>
                    <a:pt x="1908" y="918"/>
                  </a:lnTo>
                  <a:lnTo>
                    <a:pt x="1908" y="924"/>
                  </a:lnTo>
                  <a:lnTo>
                    <a:pt x="1908" y="930"/>
                  </a:lnTo>
                  <a:lnTo>
                    <a:pt x="1908" y="936"/>
                  </a:lnTo>
                  <a:lnTo>
                    <a:pt x="1914" y="936"/>
                  </a:lnTo>
                  <a:lnTo>
                    <a:pt x="1914" y="942"/>
                  </a:lnTo>
                  <a:lnTo>
                    <a:pt x="1908" y="948"/>
                  </a:lnTo>
                  <a:lnTo>
                    <a:pt x="1914" y="948"/>
                  </a:lnTo>
                  <a:lnTo>
                    <a:pt x="1920" y="954"/>
                  </a:lnTo>
                  <a:lnTo>
                    <a:pt x="1926" y="954"/>
                  </a:lnTo>
                  <a:lnTo>
                    <a:pt x="1932" y="954"/>
                  </a:lnTo>
                  <a:lnTo>
                    <a:pt x="1938" y="954"/>
                  </a:lnTo>
                  <a:lnTo>
                    <a:pt x="1938" y="960"/>
                  </a:lnTo>
                  <a:lnTo>
                    <a:pt x="1944" y="966"/>
                  </a:lnTo>
                  <a:lnTo>
                    <a:pt x="1944" y="972"/>
                  </a:lnTo>
                  <a:lnTo>
                    <a:pt x="1944" y="978"/>
                  </a:lnTo>
                  <a:lnTo>
                    <a:pt x="1950" y="978"/>
                  </a:lnTo>
                  <a:lnTo>
                    <a:pt x="1950" y="984"/>
                  </a:lnTo>
                  <a:lnTo>
                    <a:pt x="1956" y="984"/>
                  </a:lnTo>
                  <a:lnTo>
                    <a:pt x="1962" y="984"/>
                  </a:lnTo>
                  <a:lnTo>
                    <a:pt x="1962" y="978"/>
                  </a:lnTo>
                  <a:lnTo>
                    <a:pt x="1968" y="978"/>
                  </a:lnTo>
                  <a:lnTo>
                    <a:pt x="1974" y="978"/>
                  </a:lnTo>
                  <a:lnTo>
                    <a:pt x="1980" y="972"/>
                  </a:lnTo>
                  <a:lnTo>
                    <a:pt x="1980" y="978"/>
                  </a:lnTo>
                  <a:lnTo>
                    <a:pt x="1980" y="984"/>
                  </a:lnTo>
                  <a:lnTo>
                    <a:pt x="1986" y="984"/>
                  </a:lnTo>
                  <a:lnTo>
                    <a:pt x="1992" y="990"/>
                  </a:lnTo>
                  <a:lnTo>
                    <a:pt x="1992" y="996"/>
                  </a:lnTo>
                  <a:lnTo>
                    <a:pt x="1992" y="1002"/>
                  </a:lnTo>
                  <a:lnTo>
                    <a:pt x="1974" y="1008"/>
                  </a:lnTo>
                  <a:lnTo>
                    <a:pt x="1974" y="1014"/>
                  </a:lnTo>
                  <a:lnTo>
                    <a:pt x="1974" y="1020"/>
                  </a:lnTo>
                  <a:lnTo>
                    <a:pt x="1974" y="1026"/>
                  </a:lnTo>
                  <a:lnTo>
                    <a:pt x="1968" y="1038"/>
                  </a:lnTo>
                  <a:lnTo>
                    <a:pt x="1968" y="1044"/>
                  </a:lnTo>
                  <a:lnTo>
                    <a:pt x="1974" y="1056"/>
                  </a:lnTo>
                  <a:lnTo>
                    <a:pt x="1968" y="1062"/>
                  </a:lnTo>
                  <a:lnTo>
                    <a:pt x="1962" y="1062"/>
                  </a:lnTo>
                  <a:lnTo>
                    <a:pt x="1956" y="1068"/>
                  </a:lnTo>
                  <a:lnTo>
                    <a:pt x="1956" y="1074"/>
                  </a:lnTo>
                  <a:lnTo>
                    <a:pt x="1956" y="1080"/>
                  </a:lnTo>
                  <a:lnTo>
                    <a:pt x="1956" y="1086"/>
                  </a:lnTo>
                  <a:lnTo>
                    <a:pt x="1956" y="1092"/>
                  </a:lnTo>
                  <a:lnTo>
                    <a:pt x="1962" y="1092"/>
                  </a:lnTo>
                  <a:lnTo>
                    <a:pt x="1962" y="1104"/>
                  </a:lnTo>
                  <a:lnTo>
                    <a:pt x="1968" y="1110"/>
                  </a:lnTo>
                  <a:lnTo>
                    <a:pt x="1968" y="1116"/>
                  </a:lnTo>
                  <a:lnTo>
                    <a:pt x="1974" y="1116"/>
                  </a:lnTo>
                  <a:lnTo>
                    <a:pt x="1974" y="1122"/>
                  </a:lnTo>
                  <a:lnTo>
                    <a:pt x="1980" y="1122"/>
                  </a:lnTo>
                  <a:lnTo>
                    <a:pt x="1974" y="1128"/>
                  </a:lnTo>
                  <a:lnTo>
                    <a:pt x="1968" y="1134"/>
                  </a:lnTo>
                  <a:lnTo>
                    <a:pt x="1962" y="1140"/>
                  </a:lnTo>
                  <a:lnTo>
                    <a:pt x="1962" y="1146"/>
                  </a:lnTo>
                  <a:lnTo>
                    <a:pt x="1968" y="1152"/>
                  </a:lnTo>
                  <a:lnTo>
                    <a:pt x="1968" y="1158"/>
                  </a:lnTo>
                  <a:lnTo>
                    <a:pt x="1962" y="1158"/>
                  </a:lnTo>
                  <a:lnTo>
                    <a:pt x="1962" y="1164"/>
                  </a:lnTo>
                  <a:lnTo>
                    <a:pt x="1956" y="1164"/>
                  </a:lnTo>
                  <a:lnTo>
                    <a:pt x="1956" y="1170"/>
                  </a:lnTo>
                  <a:lnTo>
                    <a:pt x="1944" y="1182"/>
                  </a:lnTo>
                  <a:lnTo>
                    <a:pt x="1944" y="1188"/>
                  </a:lnTo>
                  <a:lnTo>
                    <a:pt x="1950" y="1188"/>
                  </a:lnTo>
                  <a:lnTo>
                    <a:pt x="1944" y="1200"/>
                  </a:lnTo>
                  <a:lnTo>
                    <a:pt x="1944" y="1206"/>
                  </a:lnTo>
                  <a:lnTo>
                    <a:pt x="1944" y="1212"/>
                  </a:lnTo>
                  <a:lnTo>
                    <a:pt x="1944" y="1218"/>
                  </a:lnTo>
                  <a:lnTo>
                    <a:pt x="1944" y="1230"/>
                  </a:lnTo>
                  <a:lnTo>
                    <a:pt x="1944" y="1236"/>
                  </a:lnTo>
                  <a:lnTo>
                    <a:pt x="1944" y="1242"/>
                  </a:lnTo>
                  <a:lnTo>
                    <a:pt x="1938" y="1248"/>
                  </a:lnTo>
                  <a:lnTo>
                    <a:pt x="1938" y="1254"/>
                  </a:lnTo>
                  <a:lnTo>
                    <a:pt x="1932" y="1254"/>
                  </a:lnTo>
                  <a:lnTo>
                    <a:pt x="1926" y="1260"/>
                  </a:lnTo>
                  <a:lnTo>
                    <a:pt x="1920" y="1266"/>
                  </a:lnTo>
                  <a:lnTo>
                    <a:pt x="1914" y="1272"/>
                  </a:lnTo>
                  <a:lnTo>
                    <a:pt x="1908" y="1272"/>
                  </a:lnTo>
                  <a:lnTo>
                    <a:pt x="1908" y="1278"/>
                  </a:lnTo>
                  <a:lnTo>
                    <a:pt x="1914" y="1278"/>
                  </a:lnTo>
                  <a:lnTo>
                    <a:pt x="1914" y="1290"/>
                  </a:lnTo>
                  <a:lnTo>
                    <a:pt x="1920" y="1296"/>
                  </a:lnTo>
                  <a:lnTo>
                    <a:pt x="1938" y="1302"/>
                  </a:lnTo>
                  <a:lnTo>
                    <a:pt x="1944" y="1308"/>
                  </a:lnTo>
                  <a:lnTo>
                    <a:pt x="1950" y="1314"/>
                  </a:lnTo>
                  <a:lnTo>
                    <a:pt x="1956" y="1314"/>
                  </a:lnTo>
                  <a:lnTo>
                    <a:pt x="1962" y="1320"/>
                  </a:lnTo>
                  <a:lnTo>
                    <a:pt x="1962" y="1326"/>
                  </a:lnTo>
                  <a:lnTo>
                    <a:pt x="1968" y="1326"/>
                  </a:lnTo>
                  <a:lnTo>
                    <a:pt x="1968" y="1332"/>
                  </a:lnTo>
                  <a:lnTo>
                    <a:pt x="1968" y="1344"/>
                  </a:lnTo>
                  <a:lnTo>
                    <a:pt x="1968" y="1350"/>
                  </a:lnTo>
                  <a:lnTo>
                    <a:pt x="1968" y="1368"/>
                  </a:lnTo>
                  <a:lnTo>
                    <a:pt x="1962" y="1380"/>
                  </a:lnTo>
                  <a:lnTo>
                    <a:pt x="1968" y="1392"/>
                  </a:lnTo>
                  <a:lnTo>
                    <a:pt x="1962" y="1398"/>
                  </a:lnTo>
                  <a:lnTo>
                    <a:pt x="1956" y="1404"/>
                  </a:lnTo>
                  <a:lnTo>
                    <a:pt x="1950" y="1410"/>
                  </a:lnTo>
                  <a:lnTo>
                    <a:pt x="1944" y="1410"/>
                  </a:lnTo>
                  <a:lnTo>
                    <a:pt x="1932" y="1416"/>
                  </a:lnTo>
                  <a:lnTo>
                    <a:pt x="1926" y="1416"/>
                  </a:lnTo>
                  <a:lnTo>
                    <a:pt x="1896" y="1428"/>
                  </a:lnTo>
                  <a:lnTo>
                    <a:pt x="1884" y="1434"/>
                  </a:lnTo>
                  <a:lnTo>
                    <a:pt x="1878" y="1434"/>
                  </a:lnTo>
                  <a:lnTo>
                    <a:pt x="1866" y="1434"/>
                  </a:lnTo>
                  <a:lnTo>
                    <a:pt x="1854" y="1440"/>
                  </a:lnTo>
                  <a:lnTo>
                    <a:pt x="1848" y="1440"/>
                  </a:lnTo>
                  <a:lnTo>
                    <a:pt x="1842" y="1446"/>
                  </a:lnTo>
                  <a:lnTo>
                    <a:pt x="1842" y="1458"/>
                  </a:lnTo>
                  <a:lnTo>
                    <a:pt x="1836" y="1470"/>
                  </a:lnTo>
                  <a:lnTo>
                    <a:pt x="1830" y="1476"/>
                  </a:lnTo>
                  <a:lnTo>
                    <a:pt x="1824" y="1476"/>
                  </a:lnTo>
                  <a:lnTo>
                    <a:pt x="1806" y="1482"/>
                  </a:lnTo>
                  <a:lnTo>
                    <a:pt x="1800" y="1488"/>
                  </a:lnTo>
                  <a:lnTo>
                    <a:pt x="1794" y="1488"/>
                  </a:lnTo>
                  <a:lnTo>
                    <a:pt x="1788" y="1488"/>
                  </a:lnTo>
                  <a:lnTo>
                    <a:pt x="1776" y="1494"/>
                  </a:lnTo>
                  <a:lnTo>
                    <a:pt x="1764" y="1494"/>
                  </a:lnTo>
                  <a:lnTo>
                    <a:pt x="1758" y="1500"/>
                  </a:lnTo>
                  <a:lnTo>
                    <a:pt x="1746" y="1506"/>
                  </a:lnTo>
                  <a:lnTo>
                    <a:pt x="1728" y="1518"/>
                  </a:lnTo>
                  <a:lnTo>
                    <a:pt x="1716" y="1524"/>
                  </a:lnTo>
                  <a:lnTo>
                    <a:pt x="1710" y="1530"/>
                  </a:lnTo>
                  <a:lnTo>
                    <a:pt x="1704" y="1536"/>
                  </a:lnTo>
                  <a:lnTo>
                    <a:pt x="1698" y="1542"/>
                  </a:lnTo>
                  <a:lnTo>
                    <a:pt x="1692" y="1554"/>
                  </a:lnTo>
                  <a:lnTo>
                    <a:pt x="1686" y="1560"/>
                  </a:lnTo>
                  <a:lnTo>
                    <a:pt x="1680" y="1560"/>
                  </a:lnTo>
                  <a:lnTo>
                    <a:pt x="1674" y="1560"/>
                  </a:lnTo>
                  <a:lnTo>
                    <a:pt x="1656" y="1572"/>
                  </a:lnTo>
                  <a:lnTo>
                    <a:pt x="1650" y="1572"/>
                  </a:lnTo>
                  <a:lnTo>
                    <a:pt x="1644" y="1572"/>
                  </a:lnTo>
                  <a:lnTo>
                    <a:pt x="1638" y="1578"/>
                  </a:lnTo>
                  <a:lnTo>
                    <a:pt x="1632" y="1578"/>
                  </a:lnTo>
                  <a:lnTo>
                    <a:pt x="1626" y="1578"/>
                  </a:lnTo>
                  <a:lnTo>
                    <a:pt x="1620" y="1572"/>
                  </a:lnTo>
                  <a:lnTo>
                    <a:pt x="1614" y="1572"/>
                  </a:lnTo>
                  <a:lnTo>
                    <a:pt x="1608" y="1566"/>
                  </a:lnTo>
                  <a:lnTo>
                    <a:pt x="1602" y="1560"/>
                  </a:lnTo>
                  <a:lnTo>
                    <a:pt x="1596" y="1554"/>
                  </a:lnTo>
                  <a:lnTo>
                    <a:pt x="1590" y="1548"/>
                  </a:lnTo>
                  <a:lnTo>
                    <a:pt x="1578" y="1548"/>
                  </a:lnTo>
                  <a:lnTo>
                    <a:pt x="1572" y="1548"/>
                  </a:lnTo>
                  <a:lnTo>
                    <a:pt x="1566" y="1548"/>
                  </a:lnTo>
                  <a:lnTo>
                    <a:pt x="1554" y="1536"/>
                  </a:lnTo>
                  <a:lnTo>
                    <a:pt x="1548" y="1536"/>
                  </a:lnTo>
                  <a:lnTo>
                    <a:pt x="1542" y="1542"/>
                  </a:lnTo>
                  <a:lnTo>
                    <a:pt x="1536" y="1548"/>
                  </a:lnTo>
                  <a:lnTo>
                    <a:pt x="1536" y="1566"/>
                  </a:lnTo>
                  <a:lnTo>
                    <a:pt x="1530" y="1572"/>
                  </a:lnTo>
                  <a:lnTo>
                    <a:pt x="1524" y="1578"/>
                  </a:lnTo>
                  <a:lnTo>
                    <a:pt x="1518" y="1584"/>
                  </a:lnTo>
                  <a:lnTo>
                    <a:pt x="1512" y="1596"/>
                  </a:lnTo>
                  <a:lnTo>
                    <a:pt x="1506" y="1602"/>
                  </a:lnTo>
                  <a:lnTo>
                    <a:pt x="1506" y="1608"/>
                  </a:lnTo>
                  <a:lnTo>
                    <a:pt x="1506" y="1614"/>
                  </a:lnTo>
                  <a:lnTo>
                    <a:pt x="1500" y="1614"/>
                  </a:lnTo>
                  <a:lnTo>
                    <a:pt x="1500" y="1620"/>
                  </a:lnTo>
                  <a:lnTo>
                    <a:pt x="1500" y="1626"/>
                  </a:lnTo>
                  <a:lnTo>
                    <a:pt x="1494" y="1632"/>
                  </a:lnTo>
                  <a:lnTo>
                    <a:pt x="1488" y="1638"/>
                  </a:lnTo>
                  <a:lnTo>
                    <a:pt x="1482" y="1638"/>
                  </a:lnTo>
                  <a:lnTo>
                    <a:pt x="1482" y="1644"/>
                  </a:lnTo>
                  <a:lnTo>
                    <a:pt x="1482" y="1650"/>
                  </a:lnTo>
                  <a:lnTo>
                    <a:pt x="1482" y="1656"/>
                  </a:lnTo>
                  <a:lnTo>
                    <a:pt x="1476" y="1662"/>
                  </a:lnTo>
                  <a:lnTo>
                    <a:pt x="1470" y="1668"/>
                  </a:lnTo>
                  <a:lnTo>
                    <a:pt x="1464" y="1674"/>
                  </a:lnTo>
                  <a:lnTo>
                    <a:pt x="1464" y="1680"/>
                  </a:lnTo>
                  <a:lnTo>
                    <a:pt x="1458" y="1680"/>
                  </a:lnTo>
                  <a:lnTo>
                    <a:pt x="1452" y="1686"/>
                  </a:lnTo>
                  <a:lnTo>
                    <a:pt x="1446" y="1686"/>
                  </a:lnTo>
                  <a:lnTo>
                    <a:pt x="1440" y="1698"/>
                  </a:lnTo>
                  <a:lnTo>
                    <a:pt x="1440" y="1704"/>
                  </a:lnTo>
                  <a:lnTo>
                    <a:pt x="1434" y="1710"/>
                  </a:lnTo>
                  <a:lnTo>
                    <a:pt x="1434" y="1716"/>
                  </a:lnTo>
                  <a:lnTo>
                    <a:pt x="1428" y="1716"/>
                  </a:lnTo>
                  <a:lnTo>
                    <a:pt x="1428" y="1722"/>
                  </a:lnTo>
                  <a:lnTo>
                    <a:pt x="1428" y="1728"/>
                  </a:lnTo>
                  <a:lnTo>
                    <a:pt x="1422" y="1728"/>
                  </a:lnTo>
                  <a:lnTo>
                    <a:pt x="1422" y="1734"/>
                  </a:lnTo>
                  <a:lnTo>
                    <a:pt x="1416" y="1734"/>
                  </a:lnTo>
                  <a:lnTo>
                    <a:pt x="1410" y="1734"/>
                  </a:lnTo>
                  <a:lnTo>
                    <a:pt x="1392" y="1746"/>
                  </a:lnTo>
                  <a:lnTo>
                    <a:pt x="1386" y="1746"/>
                  </a:lnTo>
                  <a:lnTo>
                    <a:pt x="1368" y="1752"/>
                  </a:lnTo>
                  <a:lnTo>
                    <a:pt x="1362" y="1758"/>
                  </a:lnTo>
                  <a:lnTo>
                    <a:pt x="1362" y="1770"/>
                  </a:lnTo>
                  <a:lnTo>
                    <a:pt x="1356" y="178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</p:grpSp>
      <p:graphicFrame>
        <p:nvGraphicFramePr>
          <p:cNvPr id="357" name="Group 76">
            <a:extLst>
              <a:ext uri="{FF2B5EF4-FFF2-40B4-BE49-F238E27FC236}">
                <a16:creationId xmlns:a16="http://schemas.microsoft.com/office/drawing/2014/main" id="{57830D68-CF73-4A3E-9D36-141B03AADBF7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41338" y="3402013"/>
          <a:ext cx="3735387" cy="1827306"/>
        </p:xfrm>
        <a:graphic>
          <a:graphicData uri="http://schemas.openxmlformats.org/drawingml/2006/table">
            <a:tbl>
              <a:tblPr/>
              <a:tblGrid>
                <a:gridCol w="1316931">
                  <a:extLst>
                    <a:ext uri="{9D8B030D-6E8A-4147-A177-3AD203B41FA5}">
                      <a16:colId xmlns:a16="http://schemas.microsoft.com/office/drawing/2014/main" val="2027704273"/>
                    </a:ext>
                  </a:extLst>
                </a:gridCol>
                <a:gridCol w="603796">
                  <a:extLst>
                    <a:ext uri="{9D8B030D-6E8A-4147-A177-3AD203B41FA5}">
                      <a16:colId xmlns:a16="http://schemas.microsoft.com/office/drawing/2014/main" val="3432768286"/>
                    </a:ext>
                  </a:extLst>
                </a:gridCol>
                <a:gridCol w="744015">
                  <a:extLst>
                    <a:ext uri="{9D8B030D-6E8A-4147-A177-3AD203B41FA5}">
                      <a16:colId xmlns:a16="http://schemas.microsoft.com/office/drawing/2014/main" val="3730294207"/>
                    </a:ext>
                  </a:extLst>
                </a:gridCol>
                <a:gridCol w="1070645">
                  <a:extLst>
                    <a:ext uri="{9D8B030D-6E8A-4147-A177-3AD203B41FA5}">
                      <a16:colId xmlns:a16="http://schemas.microsoft.com/office/drawing/2014/main" val="2258321117"/>
                    </a:ext>
                  </a:extLst>
                </a:gridCol>
              </a:tblGrid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apital</a:t>
                      </a:r>
                      <a:endParaRPr kumimoji="0" lang="en-SG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292929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SG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Jalingo</a:t>
                      </a:r>
                      <a:endParaRPr kumimoji="0" lang="en-SG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703009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nd Are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56,282 km</a:t>
                      </a:r>
                      <a:r>
                        <a:rPr kumimoji="0" lang="en-US" altLang="en-US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603614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Population (2017E)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3,054,208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5 of 37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505851"/>
                  </a:ext>
                </a:extLst>
              </a:tr>
              <a:tr h="203024">
                <a:tc row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Dem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0-14: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,395,310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8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130093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5-64: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,573,408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58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387564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65+: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baseline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     </a:t>
                      </a: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 85,489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[4%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38801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bour force 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,165,289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17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797882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limate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ropical savanna  and subtropical high land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3942226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op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Mountainous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32899"/>
                  </a:ext>
                </a:extLst>
              </a:tr>
            </a:tbl>
          </a:graphicData>
        </a:graphic>
      </p:graphicFrame>
      <p:pic>
        <p:nvPicPr>
          <p:cNvPr id="23609" name="Picture 13">
            <a:extLst>
              <a:ext uri="{FF2B5EF4-FFF2-40B4-BE49-F238E27FC236}">
                <a16:creationId xmlns:a16="http://schemas.microsoft.com/office/drawing/2014/main" id="{952964D5-F0ED-4CAE-B71C-DB4A723FA5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0" y="3006725"/>
            <a:ext cx="1116013" cy="155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9" name="TextBox 378">
            <a:extLst>
              <a:ext uri="{FF2B5EF4-FFF2-40B4-BE49-F238E27FC236}">
                <a16:creationId xmlns:a16="http://schemas.microsoft.com/office/drawing/2014/main" id="{1B3FD4BF-4685-4C74-821F-10048D6246BF}"/>
              </a:ext>
            </a:extLst>
          </p:cNvPr>
          <p:cNvSpPr txBox="1"/>
          <p:nvPr/>
        </p:nvSpPr>
        <p:spPr>
          <a:xfrm>
            <a:off x="6124575" y="928688"/>
            <a:ext cx="3475038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mpetitive Advantages</a:t>
            </a: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455FE7A1-ADE5-4F7B-A489-00196671A53E}"/>
              </a:ext>
            </a:extLst>
          </p:cNvPr>
          <p:cNvSpPr/>
          <p:nvPr/>
        </p:nvSpPr>
        <p:spPr>
          <a:xfrm>
            <a:off x="4267248" y="1187511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5.8bn/$189.9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EBB25788-D073-4A78-9D6C-DF3836CFFFBB}"/>
              </a:ext>
            </a:extLst>
          </p:cNvPr>
          <p:cNvSpPr txBox="1"/>
          <p:nvPr/>
        </p:nvSpPr>
        <p:spPr>
          <a:xfrm>
            <a:off x="4267200" y="955675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GR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6F07DF39-553B-44F0-8864-1F897C2BD79A}"/>
              </a:ext>
            </a:extLst>
          </p:cNvPr>
          <p:cNvSpPr/>
          <p:nvPr/>
        </p:nvSpPr>
        <p:spPr>
          <a:xfrm>
            <a:off x="4267252" y="1809750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104.3bn/$315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2508695A-2D2C-45A3-80FE-9C2CB18200C2}"/>
              </a:ext>
            </a:extLst>
          </p:cNvPr>
          <p:cNvSpPr txBox="1"/>
          <p:nvPr/>
        </p:nvSpPr>
        <p:spPr>
          <a:xfrm>
            <a:off x="4267200" y="1576388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Budget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8)</a:t>
            </a: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86A33ABE-3AE3-40A7-A6A6-1B757A6A9B0F}"/>
              </a:ext>
            </a:extLst>
          </p:cNvPr>
          <p:cNvSpPr/>
          <p:nvPr/>
        </p:nvSpPr>
        <p:spPr>
          <a:xfrm>
            <a:off x="4256076" y="2667155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1.1trn /$3.6bn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1E919764-A18B-4532-A533-A84A31D7FEFE}"/>
              </a:ext>
            </a:extLst>
          </p:cNvPr>
          <p:cNvSpPr txBox="1"/>
          <p:nvPr/>
        </p:nvSpPr>
        <p:spPr>
          <a:xfrm>
            <a:off x="4256088" y="2185988"/>
            <a:ext cx="1811337" cy="50641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Household </a:t>
            </a:r>
          </a:p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nsumption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96" name="Plaque 95">
            <a:extLst>
              <a:ext uri="{FF2B5EF4-FFF2-40B4-BE49-F238E27FC236}">
                <a16:creationId xmlns:a16="http://schemas.microsoft.com/office/drawing/2014/main" id="{E3BE1182-17B4-4194-8641-F1EA2CCBB757}"/>
              </a:ext>
            </a:extLst>
          </p:cNvPr>
          <p:cNvSpPr/>
          <p:nvPr/>
        </p:nvSpPr>
        <p:spPr>
          <a:xfrm>
            <a:off x="5583996" y="2805162"/>
            <a:ext cx="483429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5 of 36</a:t>
            </a:r>
          </a:p>
        </p:txBody>
      </p:sp>
      <p:sp>
        <p:nvSpPr>
          <p:cNvPr id="99" name="Plaque 98">
            <a:extLst>
              <a:ext uri="{FF2B5EF4-FFF2-40B4-BE49-F238E27FC236}">
                <a16:creationId xmlns:a16="http://schemas.microsoft.com/office/drawing/2014/main" id="{8620E393-1C52-4CE1-9888-20922FA6DFEA}"/>
              </a:ext>
            </a:extLst>
          </p:cNvPr>
          <p:cNvSpPr/>
          <p:nvPr/>
        </p:nvSpPr>
        <p:spPr>
          <a:xfrm>
            <a:off x="5638800" y="1951087"/>
            <a:ext cx="428625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33 of 36</a:t>
            </a:r>
          </a:p>
        </p:txBody>
      </p:sp>
      <p:sp>
        <p:nvSpPr>
          <p:cNvPr id="100" name="Plaque 99">
            <a:extLst>
              <a:ext uri="{FF2B5EF4-FFF2-40B4-BE49-F238E27FC236}">
                <a16:creationId xmlns:a16="http://schemas.microsoft.com/office/drawing/2014/main" id="{3BFA6D28-9A42-4459-8BF1-090CE1B45216}"/>
              </a:ext>
            </a:extLst>
          </p:cNvPr>
          <p:cNvSpPr/>
          <p:nvPr/>
        </p:nvSpPr>
        <p:spPr>
          <a:xfrm>
            <a:off x="5638800" y="1333500"/>
            <a:ext cx="430213" cy="1539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latin typeface="Calibri" panose="020F0502020204030204" pitchFamily="34" charset="0"/>
                <a:cs typeface="Calibri" panose="020F0502020204030204" pitchFamily="34" charset="0"/>
              </a:rPr>
              <a:t>29 of 36</a:t>
            </a:r>
          </a:p>
        </p:txBody>
      </p:sp>
      <p:sp>
        <p:nvSpPr>
          <p:cNvPr id="101" name="Pentagon 19">
            <a:extLst>
              <a:ext uri="{FF2B5EF4-FFF2-40B4-BE49-F238E27FC236}">
                <a16:creationId xmlns:a16="http://schemas.microsoft.com/office/drawing/2014/main" id="{CCD74FA4-19D0-4356-90C9-B3B49BCC3F54}"/>
              </a:ext>
            </a:extLst>
          </p:cNvPr>
          <p:cNvSpPr>
            <a:spLocks/>
          </p:cNvSpPr>
          <p:nvPr/>
        </p:nvSpPr>
        <p:spPr bwMode="auto">
          <a:xfrm>
            <a:off x="688340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2 of 37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12EE735-1E43-4799-A46A-5D0787F375CE}"/>
              </a:ext>
            </a:extLst>
          </p:cNvPr>
          <p:cNvSpPr/>
          <p:nvPr/>
        </p:nvSpPr>
        <p:spPr>
          <a:xfrm>
            <a:off x="6880225" y="5726113"/>
            <a:ext cx="642938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Starting a Business</a:t>
            </a:r>
          </a:p>
        </p:txBody>
      </p:sp>
      <p:pic>
        <p:nvPicPr>
          <p:cNvPr id="23622" name="Picture 3">
            <a:extLst>
              <a:ext uri="{FF2B5EF4-FFF2-40B4-BE49-F238E27FC236}">
                <a16:creationId xmlns:a16="http://schemas.microsoft.com/office/drawing/2014/main" id="{53FAD0C6-8FFE-437B-B7E4-F2A938D3BE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350" y="5249863"/>
            <a:ext cx="41910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23" name="Freeform 15">
            <a:extLst>
              <a:ext uri="{FF2B5EF4-FFF2-40B4-BE49-F238E27FC236}">
                <a16:creationId xmlns:a16="http://schemas.microsoft.com/office/drawing/2014/main" id="{183A3C8B-011E-4D99-9165-3FF03A2D3207}"/>
              </a:ext>
            </a:extLst>
          </p:cNvPr>
          <p:cNvSpPr>
            <a:spLocks noEditPoints="1"/>
          </p:cNvSpPr>
          <p:nvPr/>
        </p:nvSpPr>
        <p:spPr bwMode="auto">
          <a:xfrm>
            <a:off x="9093200" y="5257800"/>
            <a:ext cx="276225" cy="347663"/>
          </a:xfrm>
          <a:custGeom>
            <a:avLst/>
            <a:gdLst>
              <a:gd name="T0" fmla="*/ 2147483646 w 3556"/>
              <a:gd name="T1" fmla="*/ 2147483646 h 3950"/>
              <a:gd name="T2" fmla="*/ 2147483646 w 3556"/>
              <a:gd name="T3" fmla="*/ 2147483646 h 3950"/>
              <a:gd name="T4" fmla="*/ 2147483646 w 3556"/>
              <a:gd name="T5" fmla="*/ 2147483646 h 3950"/>
              <a:gd name="T6" fmla="*/ 2147483646 w 3556"/>
              <a:gd name="T7" fmla="*/ 2147483646 h 3950"/>
              <a:gd name="T8" fmla="*/ 2147483646 w 3556"/>
              <a:gd name="T9" fmla="*/ 2147483646 h 3950"/>
              <a:gd name="T10" fmla="*/ 2147483646 w 3556"/>
              <a:gd name="T11" fmla="*/ 2147483646 h 3950"/>
              <a:gd name="T12" fmla="*/ 2147483646 w 3556"/>
              <a:gd name="T13" fmla="*/ 2147483646 h 3950"/>
              <a:gd name="T14" fmla="*/ 2147483646 w 3556"/>
              <a:gd name="T15" fmla="*/ 2147483646 h 3950"/>
              <a:gd name="T16" fmla="*/ 2147483646 w 3556"/>
              <a:gd name="T17" fmla="*/ 2147483646 h 3950"/>
              <a:gd name="T18" fmla="*/ 2147483646 w 3556"/>
              <a:gd name="T19" fmla="*/ 2147483646 h 3950"/>
              <a:gd name="T20" fmla="*/ 2147483646 w 3556"/>
              <a:gd name="T21" fmla="*/ 2147483646 h 3950"/>
              <a:gd name="T22" fmla="*/ 0 w 3556"/>
              <a:gd name="T23" fmla="*/ 2147483646 h 3950"/>
              <a:gd name="T24" fmla="*/ 2147483646 w 3556"/>
              <a:gd name="T25" fmla="*/ 2147483646 h 3950"/>
              <a:gd name="T26" fmla="*/ 2147483646 w 3556"/>
              <a:gd name="T27" fmla="*/ 2147483646 h 3950"/>
              <a:gd name="T28" fmla="*/ 2147483646 w 3556"/>
              <a:gd name="T29" fmla="*/ 2147483646 h 3950"/>
              <a:gd name="T30" fmla="*/ 2147483646 w 3556"/>
              <a:gd name="T31" fmla="*/ 2147483646 h 3950"/>
              <a:gd name="T32" fmla="*/ 2147483646 w 3556"/>
              <a:gd name="T33" fmla="*/ 2147483646 h 3950"/>
              <a:gd name="T34" fmla="*/ 2147483646 w 3556"/>
              <a:gd name="T35" fmla="*/ 2147483646 h 3950"/>
              <a:gd name="T36" fmla="*/ 2147483646 w 3556"/>
              <a:gd name="T37" fmla="*/ 2147483646 h 3950"/>
              <a:gd name="T38" fmla="*/ 2147483646 w 3556"/>
              <a:gd name="T39" fmla="*/ 2147483646 h 3950"/>
              <a:gd name="T40" fmla="*/ 2147483646 w 3556"/>
              <a:gd name="T41" fmla="*/ 2147483646 h 3950"/>
              <a:gd name="T42" fmla="*/ 2147483646 w 3556"/>
              <a:gd name="T43" fmla="*/ 2147483646 h 3950"/>
              <a:gd name="T44" fmla="*/ 2147483646 w 3556"/>
              <a:gd name="T45" fmla="*/ 2147483646 h 3950"/>
              <a:gd name="T46" fmla="*/ 2147483646 w 3556"/>
              <a:gd name="T47" fmla="*/ 2147483646 h 3950"/>
              <a:gd name="T48" fmla="*/ 2147483646 w 3556"/>
              <a:gd name="T49" fmla="*/ 2147483646 h 3950"/>
              <a:gd name="T50" fmla="*/ 2147483646 w 3556"/>
              <a:gd name="T51" fmla="*/ 2147483646 h 3950"/>
              <a:gd name="T52" fmla="*/ 2147483646 w 3556"/>
              <a:gd name="T53" fmla="*/ 2147483646 h 3950"/>
              <a:gd name="T54" fmla="*/ 2147483646 w 3556"/>
              <a:gd name="T55" fmla="*/ 2147483646 h 3950"/>
              <a:gd name="T56" fmla="*/ 2147483646 w 3556"/>
              <a:gd name="T57" fmla="*/ 2147483646 h 3950"/>
              <a:gd name="T58" fmla="*/ 2147483646 w 3556"/>
              <a:gd name="T59" fmla="*/ 2147483646 h 3950"/>
              <a:gd name="T60" fmla="*/ 2147483646 w 3556"/>
              <a:gd name="T61" fmla="*/ 2147483646 h 3950"/>
              <a:gd name="T62" fmla="*/ 2147483646 w 3556"/>
              <a:gd name="T63" fmla="*/ 2147483646 h 3950"/>
              <a:gd name="T64" fmla="*/ 2147483646 w 3556"/>
              <a:gd name="T65" fmla="*/ 2147483646 h 3950"/>
              <a:gd name="T66" fmla="*/ 2147483646 w 3556"/>
              <a:gd name="T67" fmla="*/ 2147483646 h 3950"/>
              <a:gd name="T68" fmla="*/ 2147483646 w 3556"/>
              <a:gd name="T69" fmla="*/ 2147483646 h 3950"/>
              <a:gd name="T70" fmla="*/ 2147483646 w 3556"/>
              <a:gd name="T71" fmla="*/ 2147483646 h 3950"/>
              <a:gd name="T72" fmla="*/ 2147483646 w 3556"/>
              <a:gd name="T73" fmla="*/ 2147483646 h 3950"/>
              <a:gd name="T74" fmla="*/ 2147483646 w 3556"/>
              <a:gd name="T75" fmla="*/ 2147483646 h 3950"/>
              <a:gd name="T76" fmla="*/ 2147483646 w 3556"/>
              <a:gd name="T77" fmla="*/ 2147483646 h 3950"/>
              <a:gd name="T78" fmla="*/ 2147483646 w 3556"/>
              <a:gd name="T79" fmla="*/ 2147483646 h 3950"/>
              <a:gd name="T80" fmla="*/ 2147483646 w 3556"/>
              <a:gd name="T81" fmla="*/ 0 h 3950"/>
              <a:gd name="T82" fmla="*/ 2147483646 w 3556"/>
              <a:gd name="T83" fmla="*/ 2147483646 h 3950"/>
              <a:gd name="T84" fmla="*/ 2147483646 w 3556"/>
              <a:gd name="T85" fmla="*/ 2147483646 h 3950"/>
              <a:gd name="T86" fmla="*/ 2147483646 w 3556"/>
              <a:gd name="T87" fmla="*/ 2147483646 h 395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556"/>
              <a:gd name="T133" fmla="*/ 0 h 3950"/>
              <a:gd name="T134" fmla="*/ 3556 w 3556"/>
              <a:gd name="T135" fmla="*/ 3950 h 395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556" h="3950">
                <a:moveTo>
                  <a:pt x="909" y="3917"/>
                </a:moveTo>
                <a:cubicBezTo>
                  <a:pt x="824" y="3832"/>
                  <a:pt x="894" y="3725"/>
                  <a:pt x="1036" y="3725"/>
                </a:cubicBezTo>
                <a:cubicBezTo>
                  <a:pt x="1119" y="3725"/>
                  <a:pt x="1129" y="3717"/>
                  <a:pt x="1129" y="3645"/>
                </a:cubicBezTo>
                <a:cubicBezTo>
                  <a:pt x="1129" y="3472"/>
                  <a:pt x="1135" y="3471"/>
                  <a:pt x="2192" y="3471"/>
                </a:cubicBezTo>
                <a:cubicBezTo>
                  <a:pt x="3086" y="3471"/>
                  <a:pt x="3155" y="3475"/>
                  <a:pt x="3199" y="3523"/>
                </a:cubicBezTo>
                <a:cubicBezTo>
                  <a:pt x="3225" y="3551"/>
                  <a:pt x="3246" y="3608"/>
                  <a:pt x="3246" y="3648"/>
                </a:cubicBezTo>
                <a:cubicBezTo>
                  <a:pt x="3246" y="3712"/>
                  <a:pt x="3259" y="3723"/>
                  <a:pt x="3349" y="3730"/>
                </a:cubicBezTo>
                <a:cubicBezTo>
                  <a:pt x="3470" y="3741"/>
                  <a:pt x="3530" y="3811"/>
                  <a:pt x="3482" y="3887"/>
                </a:cubicBezTo>
                <a:cubicBezTo>
                  <a:pt x="3453" y="3933"/>
                  <a:pt x="3356" y="3937"/>
                  <a:pt x="2197" y="3944"/>
                </a:cubicBezTo>
                <a:cubicBezTo>
                  <a:pt x="1245" y="3950"/>
                  <a:pt x="935" y="3943"/>
                  <a:pt x="909" y="3917"/>
                </a:cubicBezTo>
                <a:close/>
                <a:moveTo>
                  <a:pt x="87" y="3370"/>
                </a:moveTo>
                <a:cubicBezTo>
                  <a:pt x="24" y="3317"/>
                  <a:pt x="0" y="3272"/>
                  <a:pt x="0" y="3209"/>
                </a:cubicBezTo>
                <a:cubicBezTo>
                  <a:pt x="0" y="3132"/>
                  <a:pt x="86" y="3035"/>
                  <a:pt x="705" y="2414"/>
                </a:cubicBezTo>
                <a:lnTo>
                  <a:pt x="1411" y="1706"/>
                </a:lnTo>
                <a:lnTo>
                  <a:pt x="1235" y="1530"/>
                </a:lnTo>
                <a:lnTo>
                  <a:pt x="1059" y="1355"/>
                </a:lnTo>
                <a:lnTo>
                  <a:pt x="1510" y="903"/>
                </a:lnTo>
                <a:lnTo>
                  <a:pt x="1960" y="452"/>
                </a:lnTo>
                <a:lnTo>
                  <a:pt x="2135" y="624"/>
                </a:lnTo>
                <a:cubicBezTo>
                  <a:pt x="2305" y="793"/>
                  <a:pt x="2310" y="796"/>
                  <a:pt x="2374" y="751"/>
                </a:cubicBezTo>
                <a:cubicBezTo>
                  <a:pt x="2469" y="685"/>
                  <a:pt x="2547" y="695"/>
                  <a:pt x="2633" y="785"/>
                </a:cubicBezTo>
                <a:cubicBezTo>
                  <a:pt x="2720" y="875"/>
                  <a:pt x="2731" y="974"/>
                  <a:pt x="2662" y="1050"/>
                </a:cubicBezTo>
                <a:cubicBezTo>
                  <a:pt x="2616" y="1100"/>
                  <a:pt x="2624" y="1112"/>
                  <a:pt x="2823" y="1313"/>
                </a:cubicBezTo>
                <a:lnTo>
                  <a:pt x="3033" y="1524"/>
                </a:lnTo>
                <a:lnTo>
                  <a:pt x="2582" y="1975"/>
                </a:lnTo>
                <a:lnTo>
                  <a:pt x="2132" y="2427"/>
                </a:lnTo>
                <a:lnTo>
                  <a:pt x="1933" y="2229"/>
                </a:lnTo>
                <a:cubicBezTo>
                  <a:pt x="1824" y="2121"/>
                  <a:pt x="1722" y="2032"/>
                  <a:pt x="1707" y="2032"/>
                </a:cubicBezTo>
                <a:cubicBezTo>
                  <a:pt x="1693" y="2032"/>
                  <a:pt x="1362" y="2349"/>
                  <a:pt x="973" y="2737"/>
                </a:cubicBezTo>
                <a:cubicBezTo>
                  <a:pt x="584" y="3125"/>
                  <a:pt x="245" y="3443"/>
                  <a:pt x="220" y="3443"/>
                </a:cubicBezTo>
                <a:cubicBezTo>
                  <a:pt x="194" y="3443"/>
                  <a:pt x="135" y="3410"/>
                  <a:pt x="87" y="3370"/>
                </a:cubicBezTo>
                <a:close/>
                <a:moveTo>
                  <a:pt x="2258" y="2887"/>
                </a:moveTo>
                <a:cubicBezTo>
                  <a:pt x="2196" y="2865"/>
                  <a:pt x="2145" y="2792"/>
                  <a:pt x="2145" y="2725"/>
                </a:cubicBezTo>
                <a:cubicBezTo>
                  <a:pt x="2145" y="2686"/>
                  <a:pt x="2337" y="2474"/>
                  <a:pt x="2703" y="2109"/>
                </a:cubicBezTo>
                <a:cubicBezTo>
                  <a:pt x="3289" y="1523"/>
                  <a:pt x="3346" y="1485"/>
                  <a:pt x="3453" y="1604"/>
                </a:cubicBezTo>
                <a:cubicBezTo>
                  <a:pt x="3556" y="1717"/>
                  <a:pt x="3522" y="1766"/>
                  <a:pt x="2956" y="2331"/>
                </a:cubicBezTo>
                <a:cubicBezTo>
                  <a:pt x="2657" y="2630"/>
                  <a:pt x="2388" y="2880"/>
                  <a:pt x="2357" y="2888"/>
                </a:cubicBezTo>
                <a:cubicBezTo>
                  <a:pt x="2326" y="2895"/>
                  <a:pt x="2281" y="2895"/>
                  <a:pt x="2258" y="2887"/>
                </a:cubicBezTo>
                <a:close/>
                <a:moveTo>
                  <a:pt x="637" y="1282"/>
                </a:moveTo>
                <a:cubicBezTo>
                  <a:pt x="528" y="1172"/>
                  <a:pt x="568" y="1113"/>
                  <a:pt x="1137" y="544"/>
                </a:cubicBezTo>
                <a:cubicBezTo>
                  <a:pt x="1607" y="74"/>
                  <a:pt x="1693" y="0"/>
                  <a:pt x="1767" y="0"/>
                </a:cubicBezTo>
                <a:cubicBezTo>
                  <a:pt x="1862" y="0"/>
                  <a:pt x="1947" y="73"/>
                  <a:pt x="1947" y="156"/>
                </a:cubicBezTo>
                <a:cubicBezTo>
                  <a:pt x="1947" y="186"/>
                  <a:pt x="1715" y="442"/>
                  <a:pt x="1391" y="767"/>
                </a:cubicBezTo>
                <a:cubicBezTo>
                  <a:pt x="808" y="1353"/>
                  <a:pt x="749" y="1393"/>
                  <a:pt x="637" y="12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4" name="Group 118">
            <a:extLst>
              <a:ext uri="{FF2B5EF4-FFF2-40B4-BE49-F238E27FC236}">
                <a16:creationId xmlns:a16="http://schemas.microsoft.com/office/drawing/2014/main" id="{FB3D6A90-C4FD-433A-A1C1-A4B3864804A5}"/>
              </a:ext>
            </a:extLst>
          </p:cNvPr>
          <p:cNvGrpSpPr/>
          <p:nvPr/>
        </p:nvGrpSpPr>
        <p:grpSpPr>
          <a:xfrm>
            <a:off x="8409631" y="5248358"/>
            <a:ext cx="346498" cy="347472"/>
            <a:chOff x="1468138" y="5997240"/>
            <a:chExt cx="283642" cy="307072"/>
          </a:xfrm>
          <a:solidFill>
            <a:schemeClr val="bg1"/>
          </a:solidFill>
        </p:grpSpPr>
        <p:sp>
          <p:nvSpPr>
            <p:cNvPr id="120" name="Freeform 16">
              <a:extLst>
                <a:ext uri="{FF2B5EF4-FFF2-40B4-BE49-F238E27FC236}">
                  <a16:creationId xmlns:a16="http://schemas.microsoft.com/office/drawing/2014/main" id="{D6134FC8-4249-4088-8AE8-003C8AAC7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6136" y="6255221"/>
              <a:ext cx="26428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1 w 349"/>
                <a:gd name="T25" fmla="*/ 226 h 350"/>
                <a:gd name="T26" fmla="*/ 225 w 349"/>
                <a:gd name="T27" fmla="*/ 213 h 350"/>
                <a:gd name="T28" fmla="*/ 234 w 349"/>
                <a:gd name="T29" fmla="*/ 194 h 350"/>
                <a:gd name="T30" fmla="*/ 237 w 349"/>
                <a:gd name="T31" fmla="*/ 175 h 350"/>
                <a:gd name="T32" fmla="*/ 235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5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4 w 349"/>
                <a:gd name="T47" fmla="*/ 3 h 350"/>
                <a:gd name="T48" fmla="*/ 234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8 w 349"/>
                <a:gd name="T55" fmla="*/ 63 h 350"/>
                <a:gd name="T56" fmla="*/ 325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5 w 349"/>
                <a:gd name="T65" fmla="*/ 210 h 350"/>
                <a:gd name="T66" fmla="*/ 335 w 349"/>
                <a:gd name="T67" fmla="*/ 243 h 350"/>
                <a:gd name="T68" fmla="*/ 319 w 349"/>
                <a:gd name="T69" fmla="*/ 273 h 350"/>
                <a:gd name="T70" fmla="*/ 297 w 349"/>
                <a:gd name="T71" fmla="*/ 299 h 350"/>
                <a:gd name="T72" fmla="*/ 272 w 349"/>
                <a:gd name="T73" fmla="*/ 319 h 350"/>
                <a:gd name="T74" fmla="*/ 242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39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29 w 349"/>
                <a:gd name="T89" fmla="*/ 273 h 350"/>
                <a:gd name="T90" fmla="*/ 14 w 349"/>
                <a:gd name="T91" fmla="*/ 243 h 350"/>
                <a:gd name="T92" fmla="*/ 3 w 349"/>
                <a:gd name="T93" fmla="*/ 210 h 350"/>
                <a:gd name="T94" fmla="*/ 0 w 349"/>
                <a:gd name="T95" fmla="*/ 175 h 350"/>
                <a:gd name="T96" fmla="*/ 3 w 349"/>
                <a:gd name="T97" fmla="*/ 140 h 350"/>
                <a:gd name="T98" fmla="*/ 14 w 349"/>
                <a:gd name="T99" fmla="*/ 107 h 350"/>
                <a:gd name="T100" fmla="*/ 29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39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1" y="226"/>
                  </a:lnTo>
                  <a:lnTo>
                    <a:pt x="225" y="213"/>
                  </a:lnTo>
                  <a:lnTo>
                    <a:pt x="234" y="194"/>
                  </a:lnTo>
                  <a:lnTo>
                    <a:pt x="237" y="175"/>
                  </a:lnTo>
                  <a:lnTo>
                    <a:pt x="235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5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4" y="3"/>
                  </a:lnTo>
                  <a:lnTo>
                    <a:pt x="234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8" y="63"/>
                  </a:lnTo>
                  <a:lnTo>
                    <a:pt x="325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5" y="210"/>
                  </a:lnTo>
                  <a:lnTo>
                    <a:pt x="335" y="243"/>
                  </a:lnTo>
                  <a:lnTo>
                    <a:pt x="319" y="273"/>
                  </a:lnTo>
                  <a:lnTo>
                    <a:pt x="297" y="299"/>
                  </a:lnTo>
                  <a:lnTo>
                    <a:pt x="272" y="319"/>
                  </a:lnTo>
                  <a:lnTo>
                    <a:pt x="242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39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29" y="273"/>
                  </a:lnTo>
                  <a:lnTo>
                    <a:pt x="14" y="243"/>
                  </a:lnTo>
                  <a:lnTo>
                    <a:pt x="3" y="210"/>
                  </a:lnTo>
                  <a:lnTo>
                    <a:pt x="0" y="175"/>
                  </a:lnTo>
                  <a:lnTo>
                    <a:pt x="3" y="140"/>
                  </a:lnTo>
                  <a:lnTo>
                    <a:pt x="14" y="107"/>
                  </a:lnTo>
                  <a:lnTo>
                    <a:pt x="29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39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1" name="Freeform 17">
              <a:extLst>
                <a:ext uri="{FF2B5EF4-FFF2-40B4-BE49-F238E27FC236}">
                  <a16:creationId xmlns:a16="http://schemas.microsoft.com/office/drawing/2014/main" id="{67A5F0B0-C078-4A85-9E32-409FF0B3D5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2133" y="6255221"/>
              <a:ext cx="26656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2 w 349"/>
                <a:gd name="T25" fmla="*/ 226 h 350"/>
                <a:gd name="T26" fmla="*/ 226 w 349"/>
                <a:gd name="T27" fmla="*/ 213 h 350"/>
                <a:gd name="T28" fmla="*/ 235 w 349"/>
                <a:gd name="T29" fmla="*/ 194 h 350"/>
                <a:gd name="T30" fmla="*/ 237 w 349"/>
                <a:gd name="T31" fmla="*/ 175 h 350"/>
                <a:gd name="T32" fmla="*/ 236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7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5 w 349"/>
                <a:gd name="T47" fmla="*/ 3 h 350"/>
                <a:gd name="T48" fmla="*/ 235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9 w 349"/>
                <a:gd name="T55" fmla="*/ 63 h 350"/>
                <a:gd name="T56" fmla="*/ 326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6 w 349"/>
                <a:gd name="T65" fmla="*/ 210 h 350"/>
                <a:gd name="T66" fmla="*/ 336 w 349"/>
                <a:gd name="T67" fmla="*/ 243 h 350"/>
                <a:gd name="T68" fmla="*/ 319 w 349"/>
                <a:gd name="T69" fmla="*/ 273 h 350"/>
                <a:gd name="T70" fmla="*/ 298 w 349"/>
                <a:gd name="T71" fmla="*/ 299 h 350"/>
                <a:gd name="T72" fmla="*/ 272 w 349"/>
                <a:gd name="T73" fmla="*/ 319 h 350"/>
                <a:gd name="T74" fmla="*/ 243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40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30 w 349"/>
                <a:gd name="T89" fmla="*/ 273 h 350"/>
                <a:gd name="T90" fmla="*/ 14 w 349"/>
                <a:gd name="T91" fmla="*/ 243 h 350"/>
                <a:gd name="T92" fmla="*/ 4 w 349"/>
                <a:gd name="T93" fmla="*/ 210 h 350"/>
                <a:gd name="T94" fmla="*/ 0 w 349"/>
                <a:gd name="T95" fmla="*/ 175 h 350"/>
                <a:gd name="T96" fmla="*/ 4 w 349"/>
                <a:gd name="T97" fmla="*/ 140 h 350"/>
                <a:gd name="T98" fmla="*/ 14 w 349"/>
                <a:gd name="T99" fmla="*/ 107 h 350"/>
                <a:gd name="T100" fmla="*/ 30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40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7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7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5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19" y="273"/>
                  </a:lnTo>
                  <a:lnTo>
                    <a:pt x="298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2" name="Freeform 18">
              <a:extLst>
                <a:ext uri="{FF2B5EF4-FFF2-40B4-BE49-F238E27FC236}">
                  <a16:creationId xmlns:a16="http://schemas.microsoft.com/office/drawing/2014/main" id="{BF1784DA-3E40-44FD-998D-DB1DD379C0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8357" y="6255221"/>
              <a:ext cx="26428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7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1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7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8 w 350"/>
                <a:gd name="T31" fmla="*/ 175 h 350"/>
                <a:gd name="T32" fmla="*/ 236 w 350"/>
                <a:gd name="T33" fmla="*/ 158 h 350"/>
                <a:gd name="T34" fmla="*/ 229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7 w 350"/>
                <a:gd name="T53" fmla="*/ 41 h 350"/>
                <a:gd name="T54" fmla="*/ 309 w 350"/>
                <a:gd name="T55" fmla="*/ 63 h 350"/>
                <a:gd name="T56" fmla="*/ 326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2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7 w 350"/>
                <a:gd name="T85" fmla="*/ 319 h 350"/>
                <a:gd name="T86" fmla="*/ 51 w 350"/>
                <a:gd name="T87" fmla="*/ 299 h 350"/>
                <a:gd name="T88" fmla="*/ 30 w 350"/>
                <a:gd name="T89" fmla="*/ 273 h 350"/>
                <a:gd name="T90" fmla="*/ 14 w 350"/>
                <a:gd name="T91" fmla="*/ 243 h 350"/>
                <a:gd name="T92" fmla="*/ 4 w 350"/>
                <a:gd name="T93" fmla="*/ 210 h 350"/>
                <a:gd name="T94" fmla="*/ 0 w 350"/>
                <a:gd name="T95" fmla="*/ 175 h 350"/>
                <a:gd name="T96" fmla="*/ 4 w 350"/>
                <a:gd name="T97" fmla="*/ 140 h 350"/>
                <a:gd name="T98" fmla="*/ 14 w 350"/>
                <a:gd name="T99" fmla="*/ 107 h 350"/>
                <a:gd name="T100" fmla="*/ 30 w 350"/>
                <a:gd name="T101" fmla="*/ 78 h 350"/>
                <a:gd name="T102" fmla="*/ 51 w 350"/>
                <a:gd name="T103" fmla="*/ 52 h 350"/>
                <a:gd name="T104" fmla="*/ 77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8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3" name="Freeform 19">
              <a:extLst>
                <a:ext uri="{FF2B5EF4-FFF2-40B4-BE49-F238E27FC236}">
                  <a16:creationId xmlns:a16="http://schemas.microsoft.com/office/drawing/2014/main" id="{FF26547B-24B3-4108-8095-A2794E966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4353" y="6255221"/>
              <a:ext cx="26656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8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3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8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9 w 350"/>
                <a:gd name="T31" fmla="*/ 175 h 350"/>
                <a:gd name="T32" fmla="*/ 236 w 350"/>
                <a:gd name="T33" fmla="*/ 158 h 350"/>
                <a:gd name="T34" fmla="*/ 231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8 w 350"/>
                <a:gd name="T53" fmla="*/ 41 h 350"/>
                <a:gd name="T54" fmla="*/ 309 w 350"/>
                <a:gd name="T55" fmla="*/ 63 h 350"/>
                <a:gd name="T56" fmla="*/ 327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3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8 w 350"/>
                <a:gd name="T85" fmla="*/ 319 h 350"/>
                <a:gd name="T86" fmla="*/ 53 w 350"/>
                <a:gd name="T87" fmla="*/ 299 h 350"/>
                <a:gd name="T88" fmla="*/ 31 w 350"/>
                <a:gd name="T89" fmla="*/ 273 h 350"/>
                <a:gd name="T90" fmla="*/ 15 w 350"/>
                <a:gd name="T91" fmla="*/ 243 h 350"/>
                <a:gd name="T92" fmla="*/ 5 w 350"/>
                <a:gd name="T93" fmla="*/ 210 h 350"/>
                <a:gd name="T94" fmla="*/ 0 w 350"/>
                <a:gd name="T95" fmla="*/ 175 h 350"/>
                <a:gd name="T96" fmla="*/ 5 w 350"/>
                <a:gd name="T97" fmla="*/ 140 h 350"/>
                <a:gd name="T98" fmla="*/ 15 w 350"/>
                <a:gd name="T99" fmla="*/ 107 h 350"/>
                <a:gd name="T100" fmla="*/ 31 w 350"/>
                <a:gd name="T101" fmla="*/ 78 h 350"/>
                <a:gd name="T102" fmla="*/ 53 w 350"/>
                <a:gd name="T103" fmla="*/ 52 h 350"/>
                <a:gd name="T104" fmla="*/ 78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8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3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8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9" y="175"/>
                  </a:lnTo>
                  <a:lnTo>
                    <a:pt x="236" y="158"/>
                  </a:lnTo>
                  <a:lnTo>
                    <a:pt x="231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8" y="41"/>
                  </a:lnTo>
                  <a:lnTo>
                    <a:pt x="309" y="63"/>
                  </a:lnTo>
                  <a:lnTo>
                    <a:pt x="327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3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8" y="319"/>
                  </a:lnTo>
                  <a:lnTo>
                    <a:pt x="53" y="299"/>
                  </a:lnTo>
                  <a:lnTo>
                    <a:pt x="31" y="273"/>
                  </a:lnTo>
                  <a:lnTo>
                    <a:pt x="15" y="243"/>
                  </a:lnTo>
                  <a:lnTo>
                    <a:pt x="5" y="210"/>
                  </a:lnTo>
                  <a:lnTo>
                    <a:pt x="0" y="175"/>
                  </a:lnTo>
                  <a:lnTo>
                    <a:pt x="5" y="140"/>
                  </a:lnTo>
                  <a:lnTo>
                    <a:pt x="15" y="107"/>
                  </a:lnTo>
                  <a:lnTo>
                    <a:pt x="31" y="78"/>
                  </a:lnTo>
                  <a:lnTo>
                    <a:pt x="53" y="52"/>
                  </a:lnTo>
                  <a:lnTo>
                    <a:pt x="78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4" name="Freeform 20">
              <a:extLst>
                <a:ext uri="{FF2B5EF4-FFF2-40B4-BE49-F238E27FC236}">
                  <a16:creationId xmlns:a16="http://schemas.microsoft.com/office/drawing/2014/main" id="{6F553FA1-4728-401A-8C20-F18E165CA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80832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2 h 111"/>
                <a:gd name="T10" fmla="*/ 168 w 171"/>
                <a:gd name="T11" fmla="*/ 37 h 111"/>
                <a:gd name="T12" fmla="*/ 171 w 171"/>
                <a:gd name="T13" fmla="*/ 55 h 111"/>
                <a:gd name="T14" fmla="*/ 168 w 171"/>
                <a:gd name="T15" fmla="*/ 72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8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8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2 h 111"/>
                <a:gd name="T34" fmla="*/ 0 w 171"/>
                <a:gd name="T35" fmla="*/ 55 h 111"/>
                <a:gd name="T36" fmla="*/ 2 w 171"/>
                <a:gd name="T37" fmla="*/ 37 h 111"/>
                <a:gd name="T38" fmla="*/ 10 w 171"/>
                <a:gd name="T39" fmla="*/ 22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2"/>
                  </a:lnTo>
                  <a:lnTo>
                    <a:pt x="168" y="37"/>
                  </a:lnTo>
                  <a:lnTo>
                    <a:pt x="171" y="55"/>
                  </a:lnTo>
                  <a:lnTo>
                    <a:pt x="168" y="72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8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8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2"/>
                  </a:lnTo>
                  <a:lnTo>
                    <a:pt x="0" y="55"/>
                  </a:lnTo>
                  <a:lnTo>
                    <a:pt x="2" y="37"/>
                  </a:lnTo>
                  <a:lnTo>
                    <a:pt x="10" y="22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5" name="Freeform 21">
              <a:extLst>
                <a:ext uri="{FF2B5EF4-FFF2-40B4-BE49-F238E27FC236}">
                  <a16:creationId xmlns:a16="http://schemas.microsoft.com/office/drawing/2014/main" id="{2A783787-5E9B-43C9-9BF4-073950C97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95860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3 h 111"/>
                <a:gd name="T10" fmla="*/ 168 w 171"/>
                <a:gd name="T11" fmla="*/ 38 h 111"/>
                <a:gd name="T12" fmla="*/ 171 w 171"/>
                <a:gd name="T13" fmla="*/ 55 h 111"/>
                <a:gd name="T14" fmla="*/ 168 w 171"/>
                <a:gd name="T15" fmla="*/ 74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9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9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4 h 111"/>
                <a:gd name="T34" fmla="*/ 0 w 171"/>
                <a:gd name="T35" fmla="*/ 55 h 111"/>
                <a:gd name="T36" fmla="*/ 2 w 171"/>
                <a:gd name="T37" fmla="*/ 38 h 111"/>
                <a:gd name="T38" fmla="*/ 10 w 171"/>
                <a:gd name="T39" fmla="*/ 23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3"/>
                  </a:lnTo>
                  <a:lnTo>
                    <a:pt x="168" y="38"/>
                  </a:lnTo>
                  <a:lnTo>
                    <a:pt x="171" y="55"/>
                  </a:lnTo>
                  <a:lnTo>
                    <a:pt x="168" y="74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9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9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4"/>
                  </a:lnTo>
                  <a:lnTo>
                    <a:pt x="0" y="55"/>
                  </a:lnTo>
                  <a:lnTo>
                    <a:pt x="2" y="38"/>
                  </a:lnTo>
                  <a:lnTo>
                    <a:pt x="10" y="23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6" name="Freeform 22">
              <a:extLst>
                <a:ext uri="{FF2B5EF4-FFF2-40B4-BE49-F238E27FC236}">
                  <a16:creationId xmlns:a16="http://schemas.microsoft.com/office/drawing/2014/main" id="{6465D05A-ED22-49B3-924E-6DFC4C8C8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8138" y="5997240"/>
              <a:ext cx="283642" cy="307072"/>
            </a:xfrm>
            <a:custGeom>
              <a:avLst/>
              <a:gdLst>
                <a:gd name="T0" fmla="*/ 185 w 3736"/>
                <a:gd name="T1" fmla="*/ 3069 h 3678"/>
                <a:gd name="T2" fmla="*/ 125 w 3736"/>
                <a:gd name="T3" fmla="*/ 3352 h 3678"/>
                <a:gd name="T4" fmla="*/ 325 w 3736"/>
                <a:gd name="T5" fmla="*/ 3554 h 3678"/>
                <a:gd name="T6" fmla="*/ 2002 w 3736"/>
                <a:gd name="T7" fmla="*/ 3518 h 3678"/>
                <a:gd name="T8" fmla="*/ 2140 w 3736"/>
                <a:gd name="T9" fmla="*/ 3266 h 3678"/>
                <a:gd name="T10" fmla="*/ 2002 w 3736"/>
                <a:gd name="T11" fmla="*/ 3013 h 3678"/>
                <a:gd name="T12" fmla="*/ 943 w 3736"/>
                <a:gd name="T13" fmla="*/ 2853 h 3678"/>
                <a:gd name="T14" fmla="*/ 2970 w 3736"/>
                <a:gd name="T15" fmla="*/ 2765 h 3678"/>
                <a:gd name="T16" fmla="*/ 3240 w 3736"/>
                <a:gd name="T17" fmla="*/ 2787 h 3678"/>
                <a:gd name="T18" fmla="*/ 3506 w 3736"/>
                <a:gd name="T19" fmla="*/ 2599 h 3678"/>
                <a:gd name="T20" fmla="*/ 302 w 3736"/>
                <a:gd name="T21" fmla="*/ 2099 h 3678"/>
                <a:gd name="T22" fmla="*/ 333 w 3736"/>
                <a:gd name="T23" fmla="*/ 2613 h 3678"/>
                <a:gd name="T24" fmla="*/ 3524 w 3736"/>
                <a:gd name="T25" fmla="*/ 1966 h 3678"/>
                <a:gd name="T26" fmla="*/ 3542 w 3736"/>
                <a:gd name="T27" fmla="*/ 2077 h 3678"/>
                <a:gd name="T28" fmla="*/ 3622 w 3736"/>
                <a:gd name="T29" fmla="*/ 1998 h 3678"/>
                <a:gd name="T30" fmla="*/ 893 w 3736"/>
                <a:gd name="T31" fmla="*/ 1458 h 3678"/>
                <a:gd name="T32" fmla="*/ 1843 w 3736"/>
                <a:gd name="T33" fmla="*/ 2616 h 3678"/>
                <a:gd name="T34" fmla="*/ 1132 w 3736"/>
                <a:gd name="T35" fmla="*/ 2414 h 3678"/>
                <a:gd name="T36" fmla="*/ 954 w 3736"/>
                <a:gd name="T37" fmla="*/ 2256 h 3678"/>
                <a:gd name="T38" fmla="*/ 1082 w 3736"/>
                <a:gd name="T39" fmla="*/ 2271 h 3678"/>
                <a:gd name="T40" fmla="*/ 1271 w 3736"/>
                <a:gd name="T41" fmla="*/ 1557 h 3678"/>
                <a:gd name="T42" fmla="*/ 1360 w 3736"/>
                <a:gd name="T43" fmla="*/ 1601 h 3678"/>
                <a:gd name="T44" fmla="*/ 1958 w 3736"/>
                <a:gd name="T45" fmla="*/ 2171 h 3678"/>
                <a:gd name="T46" fmla="*/ 1525 w 3736"/>
                <a:gd name="T47" fmla="*/ 1457 h 3678"/>
                <a:gd name="T48" fmla="*/ 2749 w 3736"/>
                <a:gd name="T49" fmla="*/ 361 h 3678"/>
                <a:gd name="T50" fmla="*/ 3541 w 3736"/>
                <a:gd name="T51" fmla="*/ 1844 h 3678"/>
                <a:gd name="T52" fmla="*/ 1658 w 3736"/>
                <a:gd name="T53" fmla="*/ 1439 h 3678"/>
                <a:gd name="T54" fmla="*/ 2419 w 3736"/>
                <a:gd name="T55" fmla="*/ 427 h 3678"/>
                <a:gd name="T56" fmla="*/ 2498 w 3736"/>
                <a:gd name="T57" fmla="*/ 124 h 3678"/>
                <a:gd name="T58" fmla="*/ 2441 w 3736"/>
                <a:gd name="T59" fmla="*/ 287 h 3678"/>
                <a:gd name="T60" fmla="*/ 2599 w 3736"/>
                <a:gd name="T61" fmla="*/ 347 h 3678"/>
                <a:gd name="T62" fmla="*/ 2672 w 3736"/>
                <a:gd name="T63" fmla="*/ 256 h 3678"/>
                <a:gd name="T64" fmla="*/ 2625 w 3736"/>
                <a:gd name="T65" fmla="*/ 136 h 3678"/>
                <a:gd name="T66" fmla="*/ 2665 w 3736"/>
                <a:gd name="T67" fmla="*/ 28 h 3678"/>
                <a:gd name="T68" fmla="*/ 3734 w 3736"/>
                <a:gd name="T69" fmla="*/ 1986 h 3678"/>
                <a:gd name="T70" fmla="*/ 3646 w 3736"/>
                <a:gd name="T71" fmla="*/ 2170 h 3678"/>
                <a:gd name="T72" fmla="*/ 3580 w 3736"/>
                <a:gd name="T73" fmla="*/ 2724 h 3678"/>
                <a:gd name="T74" fmla="*/ 3180 w 3736"/>
                <a:gd name="T75" fmla="*/ 2918 h 3678"/>
                <a:gd name="T76" fmla="*/ 2865 w 3736"/>
                <a:gd name="T77" fmla="*/ 2826 h 3678"/>
                <a:gd name="T78" fmla="*/ 2459 w 3736"/>
                <a:gd name="T79" fmla="*/ 2397 h 3678"/>
                <a:gd name="T80" fmla="*/ 3431 w 3736"/>
                <a:gd name="T81" fmla="*/ 2200 h 3678"/>
                <a:gd name="T82" fmla="*/ 3506 w 3736"/>
                <a:gd name="T83" fmla="*/ 2183 h 3678"/>
                <a:gd name="T84" fmla="*/ 1983 w 3736"/>
                <a:gd name="T85" fmla="*/ 1926 h 3678"/>
                <a:gd name="T86" fmla="*/ 2073 w 3736"/>
                <a:gd name="T87" fmla="*/ 2433 h 3678"/>
                <a:gd name="T88" fmla="*/ 2059 w 3736"/>
                <a:gd name="T89" fmla="*/ 2469 h 3678"/>
                <a:gd name="T90" fmla="*/ 2043 w 3736"/>
                <a:gd name="T91" fmla="*/ 2482 h 3678"/>
                <a:gd name="T92" fmla="*/ 2024 w 3736"/>
                <a:gd name="T93" fmla="*/ 2489 h 3678"/>
                <a:gd name="T94" fmla="*/ 1942 w 3736"/>
                <a:gd name="T95" fmla="*/ 2705 h 3678"/>
                <a:gd name="T96" fmla="*/ 1890 w 3736"/>
                <a:gd name="T97" fmla="*/ 2857 h 3678"/>
                <a:gd name="T98" fmla="*/ 2177 w 3736"/>
                <a:gd name="T99" fmla="*/ 3030 h 3678"/>
                <a:gd name="T100" fmla="*/ 2238 w 3736"/>
                <a:gd name="T101" fmla="*/ 3367 h 3678"/>
                <a:gd name="T102" fmla="*/ 2032 w 3736"/>
                <a:gd name="T103" fmla="*/ 3630 h 3678"/>
                <a:gd name="T104" fmla="*/ 311 w 3736"/>
                <a:gd name="T105" fmla="*/ 3666 h 3678"/>
                <a:gd name="T106" fmla="*/ 49 w 3736"/>
                <a:gd name="T107" fmla="*/ 3460 h 3678"/>
                <a:gd name="T108" fmla="*/ 28 w 3736"/>
                <a:gd name="T109" fmla="*/ 3116 h 3678"/>
                <a:gd name="T110" fmla="*/ 263 w 3736"/>
                <a:gd name="T111" fmla="*/ 2882 h 3678"/>
                <a:gd name="T112" fmla="*/ 317 w 3736"/>
                <a:gd name="T113" fmla="*/ 2724 h 3678"/>
                <a:gd name="T114" fmla="*/ 178 w 3736"/>
                <a:gd name="T115" fmla="*/ 2553 h 3678"/>
                <a:gd name="T116" fmla="*/ 284 w 3736"/>
                <a:gd name="T117" fmla="*/ 1975 h 3678"/>
                <a:gd name="T118" fmla="*/ 740 w 3736"/>
                <a:gd name="T119" fmla="*/ 1477 h 3678"/>
                <a:gd name="T120" fmla="*/ 963 w 3736"/>
                <a:gd name="T121" fmla="*/ 1310 h 3678"/>
                <a:gd name="T122" fmla="*/ 2410 w 3736"/>
                <a:gd name="T123" fmla="*/ 48 h 3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6" h="3678">
                  <a:moveTo>
                    <a:pt x="413" y="2964"/>
                  </a:moveTo>
                  <a:lnTo>
                    <a:pt x="367" y="2968"/>
                  </a:lnTo>
                  <a:lnTo>
                    <a:pt x="325" y="2978"/>
                  </a:lnTo>
                  <a:lnTo>
                    <a:pt x="286" y="2993"/>
                  </a:lnTo>
                  <a:lnTo>
                    <a:pt x="248" y="3013"/>
                  </a:lnTo>
                  <a:lnTo>
                    <a:pt x="215" y="3039"/>
                  </a:lnTo>
                  <a:lnTo>
                    <a:pt x="185" y="3069"/>
                  </a:lnTo>
                  <a:lnTo>
                    <a:pt x="160" y="3102"/>
                  </a:lnTo>
                  <a:lnTo>
                    <a:pt x="139" y="3139"/>
                  </a:lnTo>
                  <a:lnTo>
                    <a:pt x="125" y="3179"/>
                  </a:lnTo>
                  <a:lnTo>
                    <a:pt x="114" y="3222"/>
                  </a:lnTo>
                  <a:lnTo>
                    <a:pt x="111" y="3266"/>
                  </a:lnTo>
                  <a:lnTo>
                    <a:pt x="114" y="3310"/>
                  </a:lnTo>
                  <a:lnTo>
                    <a:pt x="125" y="3352"/>
                  </a:lnTo>
                  <a:lnTo>
                    <a:pt x="139" y="3393"/>
                  </a:lnTo>
                  <a:lnTo>
                    <a:pt x="160" y="3430"/>
                  </a:lnTo>
                  <a:lnTo>
                    <a:pt x="185" y="3464"/>
                  </a:lnTo>
                  <a:lnTo>
                    <a:pt x="215" y="3493"/>
                  </a:lnTo>
                  <a:lnTo>
                    <a:pt x="248" y="3518"/>
                  </a:lnTo>
                  <a:lnTo>
                    <a:pt x="286" y="3538"/>
                  </a:lnTo>
                  <a:lnTo>
                    <a:pt x="325" y="3554"/>
                  </a:lnTo>
                  <a:lnTo>
                    <a:pt x="367" y="3563"/>
                  </a:lnTo>
                  <a:lnTo>
                    <a:pt x="413" y="3567"/>
                  </a:lnTo>
                  <a:lnTo>
                    <a:pt x="1838" y="3567"/>
                  </a:lnTo>
                  <a:lnTo>
                    <a:pt x="1882" y="3563"/>
                  </a:lnTo>
                  <a:lnTo>
                    <a:pt x="1925" y="3554"/>
                  </a:lnTo>
                  <a:lnTo>
                    <a:pt x="1965" y="3538"/>
                  </a:lnTo>
                  <a:lnTo>
                    <a:pt x="2002" y="3518"/>
                  </a:lnTo>
                  <a:lnTo>
                    <a:pt x="2035" y="3493"/>
                  </a:lnTo>
                  <a:lnTo>
                    <a:pt x="2065" y="3464"/>
                  </a:lnTo>
                  <a:lnTo>
                    <a:pt x="2091" y="3430"/>
                  </a:lnTo>
                  <a:lnTo>
                    <a:pt x="2111" y="3393"/>
                  </a:lnTo>
                  <a:lnTo>
                    <a:pt x="2126" y="3352"/>
                  </a:lnTo>
                  <a:lnTo>
                    <a:pt x="2136" y="3310"/>
                  </a:lnTo>
                  <a:lnTo>
                    <a:pt x="2140" y="3266"/>
                  </a:lnTo>
                  <a:lnTo>
                    <a:pt x="2136" y="3222"/>
                  </a:lnTo>
                  <a:lnTo>
                    <a:pt x="2126" y="3179"/>
                  </a:lnTo>
                  <a:lnTo>
                    <a:pt x="2111" y="3139"/>
                  </a:lnTo>
                  <a:lnTo>
                    <a:pt x="2091" y="3102"/>
                  </a:lnTo>
                  <a:lnTo>
                    <a:pt x="2065" y="3069"/>
                  </a:lnTo>
                  <a:lnTo>
                    <a:pt x="2035" y="3039"/>
                  </a:lnTo>
                  <a:lnTo>
                    <a:pt x="2002" y="3013"/>
                  </a:lnTo>
                  <a:lnTo>
                    <a:pt x="1965" y="2993"/>
                  </a:lnTo>
                  <a:lnTo>
                    <a:pt x="1925" y="2978"/>
                  </a:lnTo>
                  <a:lnTo>
                    <a:pt x="1882" y="2968"/>
                  </a:lnTo>
                  <a:lnTo>
                    <a:pt x="1838" y="2964"/>
                  </a:lnTo>
                  <a:lnTo>
                    <a:pt x="413" y="2964"/>
                  </a:lnTo>
                  <a:close/>
                  <a:moveTo>
                    <a:pt x="943" y="2727"/>
                  </a:moveTo>
                  <a:lnTo>
                    <a:pt x="943" y="2853"/>
                  </a:lnTo>
                  <a:lnTo>
                    <a:pt x="1307" y="2853"/>
                  </a:lnTo>
                  <a:lnTo>
                    <a:pt x="1307" y="2727"/>
                  </a:lnTo>
                  <a:lnTo>
                    <a:pt x="943" y="2727"/>
                  </a:lnTo>
                  <a:close/>
                  <a:moveTo>
                    <a:pt x="3407" y="2328"/>
                  </a:moveTo>
                  <a:lnTo>
                    <a:pt x="2754" y="2590"/>
                  </a:lnTo>
                  <a:lnTo>
                    <a:pt x="2936" y="2741"/>
                  </a:lnTo>
                  <a:lnTo>
                    <a:pt x="2970" y="2765"/>
                  </a:lnTo>
                  <a:lnTo>
                    <a:pt x="3005" y="2783"/>
                  </a:lnTo>
                  <a:lnTo>
                    <a:pt x="3042" y="2797"/>
                  </a:lnTo>
                  <a:lnTo>
                    <a:pt x="3081" y="2806"/>
                  </a:lnTo>
                  <a:lnTo>
                    <a:pt x="3121" y="2809"/>
                  </a:lnTo>
                  <a:lnTo>
                    <a:pt x="3161" y="2808"/>
                  </a:lnTo>
                  <a:lnTo>
                    <a:pt x="3201" y="2800"/>
                  </a:lnTo>
                  <a:lnTo>
                    <a:pt x="3240" y="2787"/>
                  </a:lnTo>
                  <a:lnTo>
                    <a:pt x="3429" y="2711"/>
                  </a:lnTo>
                  <a:lnTo>
                    <a:pt x="3452" y="2700"/>
                  </a:lnTo>
                  <a:lnTo>
                    <a:pt x="3470" y="2684"/>
                  </a:lnTo>
                  <a:lnTo>
                    <a:pt x="3485" y="2666"/>
                  </a:lnTo>
                  <a:lnTo>
                    <a:pt x="3496" y="2646"/>
                  </a:lnTo>
                  <a:lnTo>
                    <a:pt x="3504" y="2623"/>
                  </a:lnTo>
                  <a:lnTo>
                    <a:pt x="3506" y="2599"/>
                  </a:lnTo>
                  <a:lnTo>
                    <a:pt x="3504" y="2575"/>
                  </a:lnTo>
                  <a:lnTo>
                    <a:pt x="3497" y="2551"/>
                  </a:lnTo>
                  <a:lnTo>
                    <a:pt x="3407" y="2328"/>
                  </a:lnTo>
                  <a:close/>
                  <a:moveTo>
                    <a:pt x="353" y="2073"/>
                  </a:moveTo>
                  <a:lnTo>
                    <a:pt x="333" y="2076"/>
                  </a:lnTo>
                  <a:lnTo>
                    <a:pt x="315" y="2085"/>
                  </a:lnTo>
                  <a:lnTo>
                    <a:pt x="302" y="2099"/>
                  </a:lnTo>
                  <a:lnTo>
                    <a:pt x="292" y="2116"/>
                  </a:lnTo>
                  <a:lnTo>
                    <a:pt x="289" y="2136"/>
                  </a:lnTo>
                  <a:lnTo>
                    <a:pt x="289" y="2553"/>
                  </a:lnTo>
                  <a:lnTo>
                    <a:pt x="292" y="2572"/>
                  </a:lnTo>
                  <a:lnTo>
                    <a:pt x="302" y="2590"/>
                  </a:lnTo>
                  <a:lnTo>
                    <a:pt x="315" y="2604"/>
                  </a:lnTo>
                  <a:lnTo>
                    <a:pt x="333" y="2613"/>
                  </a:lnTo>
                  <a:lnTo>
                    <a:pt x="353" y="2616"/>
                  </a:lnTo>
                  <a:lnTo>
                    <a:pt x="713" y="2616"/>
                  </a:lnTo>
                  <a:lnTo>
                    <a:pt x="713" y="2073"/>
                  </a:lnTo>
                  <a:lnTo>
                    <a:pt x="353" y="2073"/>
                  </a:lnTo>
                  <a:close/>
                  <a:moveTo>
                    <a:pt x="3562" y="1955"/>
                  </a:moveTo>
                  <a:lnTo>
                    <a:pt x="3542" y="1957"/>
                  </a:lnTo>
                  <a:lnTo>
                    <a:pt x="3524" y="1966"/>
                  </a:lnTo>
                  <a:lnTo>
                    <a:pt x="3511" y="1980"/>
                  </a:lnTo>
                  <a:lnTo>
                    <a:pt x="3502" y="1998"/>
                  </a:lnTo>
                  <a:lnTo>
                    <a:pt x="3498" y="2017"/>
                  </a:lnTo>
                  <a:lnTo>
                    <a:pt x="3502" y="2038"/>
                  </a:lnTo>
                  <a:lnTo>
                    <a:pt x="3511" y="2055"/>
                  </a:lnTo>
                  <a:lnTo>
                    <a:pt x="3524" y="2068"/>
                  </a:lnTo>
                  <a:lnTo>
                    <a:pt x="3542" y="2077"/>
                  </a:lnTo>
                  <a:lnTo>
                    <a:pt x="3562" y="2081"/>
                  </a:lnTo>
                  <a:lnTo>
                    <a:pt x="3582" y="2077"/>
                  </a:lnTo>
                  <a:lnTo>
                    <a:pt x="3599" y="2068"/>
                  </a:lnTo>
                  <a:lnTo>
                    <a:pt x="3613" y="2055"/>
                  </a:lnTo>
                  <a:lnTo>
                    <a:pt x="3622" y="2038"/>
                  </a:lnTo>
                  <a:lnTo>
                    <a:pt x="3625" y="2017"/>
                  </a:lnTo>
                  <a:lnTo>
                    <a:pt x="3622" y="1998"/>
                  </a:lnTo>
                  <a:lnTo>
                    <a:pt x="3613" y="1980"/>
                  </a:lnTo>
                  <a:lnTo>
                    <a:pt x="3599" y="1966"/>
                  </a:lnTo>
                  <a:lnTo>
                    <a:pt x="3582" y="1957"/>
                  </a:lnTo>
                  <a:lnTo>
                    <a:pt x="3562" y="1955"/>
                  </a:lnTo>
                  <a:close/>
                  <a:moveTo>
                    <a:pt x="950" y="1428"/>
                  </a:moveTo>
                  <a:lnTo>
                    <a:pt x="921" y="1441"/>
                  </a:lnTo>
                  <a:lnTo>
                    <a:pt x="893" y="1458"/>
                  </a:lnTo>
                  <a:lnTo>
                    <a:pt x="871" y="1481"/>
                  </a:lnTo>
                  <a:lnTo>
                    <a:pt x="851" y="1507"/>
                  </a:lnTo>
                  <a:lnTo>
                    <a:pt x="837" y="1536"/>
                  </a:lnTo>
                  <a:lnTo>
                    <a:pt x="828" y="1568"/>
                  </a:lnTo>
                  <a:lnTo>
                    <a:pt x="824" y="1601"/>
                  </a:lnTo>
                  <a:lnTo>
                    <a:pt x="824" y="2616"/>
                  </a:lnTo>
                  <a:lnTo>
                    <a:pt x="1843" y="2616"/>
                  </a:lnTo>
                  <a:lnTo>
                    <a:pt x="1843" y="2489"/>
                  </a:lnTo>
                  <a:lnTo>
                    <a:pt x="1556" y="2489"/>
                  </a:lnTo>
                  <a:lnTo>
                    <a:pt x="1468" y="2487"/>
                  </a:lnTo>
                  <a:lnTo>
                    <a:pt x="1382" y="2478"/>
                  </a:lnTo>
                  <a:lnTo>
                    <a:pt x="1297" y="2462"/>
                  </a:lnTo>
                  <a:lnTo>
                    <a:pt x="1213" y="2441"/>
                  </a:lnTo>
                  <a:lnTo>
                    <a:pt x="1132" y="2414"/>
                  </a:lnTo>
                  <a:lnTo>
                    <a:pt x="1050" y="2382"/>
                  </a:lnTo>
                  <a:lnTo>
                    <a:pt x="1026" y="2369"/>
                  </a:lnTo>
                  <a:lnTo>
                    <a:pt x="1005" y="2352"/>
                  </a:lnTo>
                  <a:lnTo>
                    <a:pt x="985" y="2331"/>
                  </a:lnTo>
                  <a:lnTo>
                    <a:pt x="971" y="2309"/>
                  </a:lnTo>
                  <a:lnTo>
                    <a:pt x="960" y="2284"/>
                  </a:lnTo>
                  <a:lnTo>
                    <a:pt x="954" y="2256"/>
                  </a:lnTo>
                  <a:lnTo>
                    <a:pt x="950" y="2228"/>
                  </a:lnTo>
                  <a:lnTo>
                    <a:pt x="950" y="1428"/>
                  </a:lnTo>
                  <a:close/>
                  <a:moveTo>
                    <a:pt x="1062" y="1419"/>
                  </a:moveTo>
                  <a:lnTo>
                    <a:pt x="1062" y="2228"/>
                  </a:lnTo>
                  <a:lnTo>
                    <a:pt x="1065" y="2245"/>
                  </a:lnTo>
                  <a:lnTo>
                    <a:pt x="1071" y="2259"/>
                  </a:lnTo>
                  <a:lnTo>
                    <a:pt x="1082" y="2271"/>
                  </a:lnTo>
                  <a:lnTo>
                    <a:pt x="1095" y="2280"/>
                  </a:lnTo>
                  <a:lnTo>
                    <a:pt x="1171" y="2311"/>
                  </a:lnTo>
                  <a:lnTo>
                    <a:pt x="1248" y="2335"/>
                  </a:lnTo>
                  <a:lnTo>
                    <a:pt x="1248" y="1601"/>
                  </a:lnTo>
                  <a:lnTo>
                    <a:pt x="1251" y="1584"/>
                  </a:lnTo>
                  <a:lnTo>
                    <a:pt x="1259" y="1568"/>
                  </a:lnTo>
                  <a:lnTo>
                    <a:pt x="1271" y="1557"/>
                  </a:lnTo>
                  <a:lnTo>
                    <a:pt x="1286" y="1549"/>
                  </a:lnTo>
                  <a:lnTo>
                    <a:pt x="1304" y="1545"/>
                  </a:lnTo>
                  <a:lnTo>
                    <a:pt x="1321" y="1549"/>
                  </a:lnTo>
                  <a:lnTo>
                    <a:pt x="1337" y="1557"/>
                  </a:lnTo>
                  <a:lnTo>
                    <a:pt x="1348" y="1568"/>
                  </a:lnTo>
                  <a:lnTo>
                    <a:pt x="1356" y="1584"/>
                  </a:lnTo>
                  <a:lnTo>
                    <a:pt x="1360" y="1601"/>
                  </a:lnTo>
                  <a:lnTo>
                    <a:pt x="1360" y="2361"/>
                  </a:lnTo>
                  <a:lnTo>
                    <a:pt x="1424" y="2370"/>
                  </a:lnTo>
                  <a:lnTo>
                    <a:pt x="1490" y="2376"/>
                  </a:lnTo>
                  <a:lnTo>
                    <a:pt x="1556" y="2378"/>
                  </a:lnTo>
                  <a:lnTo>
                    <a:pt x="1961" y="2378"/>
                  </a:lnTo>
                  <a:lnTo>
                    <a:pt x="1961" y="2221"/>
                  </a:lnTo>
                  <a:lnTo>
                    <a:pt x="1958" y="2171"/>
                  </a:lnTo>
                  <a:lnTo>
                    <a:pt x="1949" y="2123"/>
                  </a:lnTo>
                  <a:lnTo>
                    <a:pt x="1936" y="2076"/>
                  </a:lnTo>
                  <a:lnTo>
                    <a:pt x="1915" y="2031"/>
                  </a:lnTo>
                  <a:lnTo>
                    <a:pt x="1890" y="1988"/>
                  </a:lnTo>
                  <a:lnTo>
                    <a:pt x="1566" y="1500"/>
                  </a:lnTo>
                  <a:lnTo>
                    <a:pt x="1547" y="1477"/>
                  </a:lnTo>
                  <a:lnTo>
                    <a:pt x="1525" y="1457"/>
                  </a:lnTo>
                  <a:lnTo>
                    <a:pt x="1500" y="1441"/>
                  </a:lnTo>
                  <a:lnTo>
                    <a:pt x="1473" y="1428"/>
                  </a:lnTo>
                  <a:lnTo>
                    <a:pt x="1445" y="1422"/>
                  </a:lnTo>
                  <a:lnTo>
                    <a:pt x="1414" y="1419"/>
                  </a:lnTo>
                  <a:lnTo>
                    <a:pt x="1062" y="1419"/>
                  </a:lnTo>
                  <a:close/>
                  <a:moveTo>
                    <a:pt x="2753" y="353"/>
                  </a:moveTo>
                  <a:lnTo>
                    <a:pt x="2749" y="361"/>
                  </a:lnTo>
                  <a:lnTo>
                    <a:pt x="2571" y="659"/>
                  </a:lnTo>
                  <a:lnTo>
                    <a:pt x="3419" y="1917"/>
                  </a:lnTo>
                  <a:lnTo>
                    <a:pt x="3437" y="1895"/>
                  </a:lnTo>
                  <a:lnTo>
                    <a:pt x="3460" y="1876"/>
                  </a:lnTo>
                  <a:lnTo>
                    <a:pt x="3485" y="1861"/>
                  </a:lnTo>
                  <a:lnTo>
                    <a:pt x="3512" y="1850"/>
                  </a:lnTo>
                  <a:lnTo>
                    <a:pt x="3541" y="1844"/>
                  </a:lnTo>
                  <a:lnTo>
                    <a:pt x="2753" y="353"/>
                  </a:lnTo>
                  <a:close/>
                  <a:moveTo>
                    <a:pt x="2334" y="320"/>
                  </a:moveTo>
                  <a:lnTo>
                    <a:pt x="1562" y="1348"/>
                  </a:lnTo>
                  <a:lnTo>
                    <a:pt x="1590" y="1366"/>
                  </a:lnTo>
                  <a:lnTo>
                    <a:pt x="1616" y="1387"/>
                  </a:lnTo>
                  <a:lnTo>
                    <a:pt x="1638" y="1411"/>
                  </a:lnTo>
                  <a:lnTo>
                    <a:pt x="1658" y="1439"/>
                  </a:lnTo>
                  <a:lnTo>
                    <a:pt x="1827" y="1690"/>
                  </a:lnTo>
                  <a:lnTo>
                    <a:pt x="2555" y="467"/>
                  </a:lnTo>
                  <a:lnTo>
                    <a:pt x="2551" y="467"/>
                  </a:lnTo>
                  <a:lnTo>
                    <a:pt x="2515" y="465"/>
                  </a:lnTo>
                  <a:lnTo>
                    <a:pt x="2481" y="457"/>
                  </a:lnTo>
                  <a:lnTo>
                    <a:pt x="2448" y="444"/>
                  </a:lnTo>
                  <a:lnTo>
                    <a:pt x="2419" y="427"/>
                  </a:lnTo>
                  <a:lnTo>
                    <a:pt x="2391" y="405"/>
                  </a:lnTo>
                  <a:lnTo>
                    <a:pt x="2369" y="380"/>
                  </a:lnTo>
                  <a:lnTo>
                    <a:pt x="2349" y="351"/>
                  </a:lnTo>
                  <a:lnTo>
                    <a:pt x="2334" y="320"/>
                  </a:lnTo>
                  <a:close/>
                  <a:moveTo>
                    <a:pt x="2551" y="111"/>
                  </a:moveTo>
                  <a:lnTo>
                    <a:pt x="2523" y="115"/>
                  </a:lnTo>
                  <a:lnTo>
                    <a:pt x="2498" y="124"/>
                  </a:lnTo>
                  <a:lnTo>
                    <a:pt x="2475" y="138"/>
                  </a:lnTo>
                  <a:lnTo>
                    <a:pt x="2456" y="157"/>
                  </a:lnTo>
                  <a:lnTo>
                    <a:pt x="2441" y="180"/>
                  </a:lnTo>
                  <a:lnTo>
                    <a:pt x="2432" y="205"/>
                  </a:lnTo>
                  <a:lnTo>
                    <a:pt x="2429" y="234"/>
                  </a:lnTo>
                  <a:lnTo>
                    <a:pt x="2432" y="262"/>
                  </a:lnTo>
                  <a:lnTo>
                    <a:pt x="2441" y="287"/>
                  </a:lnTo>
                  <a:lnTo>
                    <a:pt x="2456" y="311"/>
                  </a:lnTo>
                  <a:lnTo>
                    <a:pt x="2475" y="329"/>
                  </a:lnTo>
                  <a:lnTo>
                    <a:pt x="2498" y="344"/>
                  </a:lnTo>
                  <a:lnTo>
                    <a:pt x="2523" y="353"/>
                  </a:lnTo>
                  <a:lnTo>
                    <a:pt x="2551" y="356"/>
                  </a:lnTo>
                  <a:lnTo>
                    <a:pt x="2576" y="354"/>
                  </a:lnTo>
                  <a:lnTo>
                    <a:pt x="2599" y="347"/>
                  </a:lnTo>
                  <a:lnTo>
                    <a:pt x="2619" y="336"/>
                  </a:lnTo>
                  <a:lnTo>
                    <a:pt x="2638" y="321"/>
                  </a:lnTo>
                  <a:lnTo>
                    <a:pt x="2653" y="303"/>
                  </a:lnTo>
                  <a:lnTo>
                    <a:pt x="2656" y="298"/>
                  </a:lnTo>
                  <a:lnTo>
                    <a:pt x="2657" y="297"/>
                  </a:lnTo>
                  <a:lnTo>
                    <a:pt x="2666" y="278"/>
                  </a:lnTo>
                  <a:lnTo>
                    <a:pt x="2672" y="256"/>
                  </a:lnTo>
                  <a:lnTo>
                    <a:pt x="2674" y="234"/>
                  </a:lnTo>
                  <a:lnTo>
                    <a:pt x="2672" y="210"/>
                  </a:lnTo>
                  <a:lnTo>
                    <a:pt x="2665" y="187"/>
                  </a:lnTo>
                  <a:lnTo>
                    <a:pt x="2661" y="180"/>
                  </a:lnTo>
                  <a:lnTo>
                    <a:pt x="2658" y="174"/>
                  </a:lnTo>
                  <a:lnTo>
                    <a:pt x="2643" y="153"/>
                  </a:lnTo>
                  <a:lnTo>
                    <a:pt x="2625" y="136"/>
                  </a:lnTo>
                  <a:lnTo>
                    <a:pt x="2603" y="123"/>
                  </a:lnTo>
                  <a:lnTo>
                    <a:pt x="2579" y="115"/>
                  </a:lnTo>
                  <a:lnTo>
                    <a:pt x="2551" y="111"/>
                  </a:lnTo>
                  <a:close/>
                  <a:moveTo>
                    <a:pt x="2551" y="0"/>
                  </a:moveTo>
                  <a:lnTo>
                    <a:pt x="2591" y="3"/>
                  </a:lnTo>
                  <a:lnTo>
                    <a:pt x="2630" y="12"/>
                  </a:lnTo>
                  <a:lnTo>
                    <a:pt x="2665" y="28"/>
                  </a:lnTo>
                  <a:lnTo>
                    <a:pt x="2696" y="50"/>
                  </a:lnTo>
                  <a:lnTo>
                    <a:pt x="2724" y="75"/>
                  </a:lnTo>
                  <a:lnTo>
                    <a:pt x="2747" y="106"/>
                  </a:lnTo>
                  <a:lnTo>
                    <a:pt x="2766" y="138"/>
                  </a:lnTo>
                  <a:lnTo>
                    <a:pt x="3713" y="1930"/>
                  </a:lnTo>
                  <a:lnTo>
                    <a:pt x="3726" y="1957"/>
                  </a:lnTo>
                  <a:lnTo>
                    <a:pt x="3734" y="1986"/>
                  </a:lnTo>
                  <a:lnTo>
                    <a:pt x="3736" y="2017"/>
                  </a:lnTo>
                  <a:lnTo>
                    <a:pt x="3733" y="2050"/>
                  </a:lnTo>
                  <a:lnTo>
                    <a:pt x="3725" y="2080"/>
                  </a:lnTo>
                  <a:lnTo>
                    <a:pt x="3711" y="2108"/>
                  </a:lnTo>
                  <a:lnTo>
                    <a:pt x="3693" y="2132"/>
                  </a:lnTo>
                  <a:lnTo>
                    <a:pt x="3672" y="2153"/>
                  </a:lnTo>
                  <a:lnTo>
                    <a:pt x="3646" y="2170"/>
                  </a:lnTo>
                  <a:lnTo>
                    <a:pt x="3617" y="2183"/>
                  </a:lnTo>
                  <a:lnTo>
                    <a:pt x="3617" y="2612"/>
                  </a:lnTo>
                  <a:lnTo>
                    <a:pt x="3617" y="2620"/>
                  </a:lnTo>
                  <a:lnTo>
                    <a:pt x="3616" y="2626"/>
                  </a:lnTo>
                  <a:lnTo>
                    <a:pt x="3609" y="2660"/>
                  </a:lnTo>
                  <a:lnTo>
                    <a:pt x="3597" y="2693"/>
                  </a:lnTo>
                  <a:lnTo>
                    <a:pt x="3580" y="2724"/>
                  </a:lnTo>
                  <a:lnTo>
                    <a:pt x="3559" y="2752"/>
                  </a:lnTo>
                  <a:lnTo>
                    <a:pt x="3533" y="2777"/>
                  </a:lnTo>
                  <a:lnTo>
                    <a:pt x="3504" y="2799"/>
                  </a:lnTo>
                  <a:lnTo>
                    <a:pt x="3471" y="2815"/>
                  </a:lnTo>
                  <a:lnTo>
                    <a:pt x="3282" y="2891"/>
                  </a:lnTo>
                  <a:lnTo>
                    <a:pt x="3231" y="2908"/>
                  </a:lnTo>
                  <a:lnTo>
                    <a:pt x="3180" y="2918"/>
                  </a:lnTo>
                  <a:lnTo>
                    <a:pt x="3127" y="2920"/>
                  </a:lnTo>
                  <a:lnTo>
                    <a:pt x="3081" y="2918"/>
                  </a:lnTo>
                  <a:lnTo>
                    <a:pt x="3034" y="2910"/>
                  </a:lnTo>
                  <a:lnTo>
                    <a:pt x="2989" y="2896"/>
                  </a:lnTo>
                  <a:lnTo>
                    <a:pt x="2946" y="2878"/>
                  </a:lnTo>
                  <a:lnTo>
                    <a:pt x="2904" y="2855"/>
                  </a:lnTo>
                  <a:lnTo>
                    <a:pt x="2865" y="2826"/>
                  </a:lnTo>
                  <a:lnTo>
                    <a:pt x="2454" y="2487"/>
                  </a:lnTo>
                  <a:lnTo>
                    <a:pt x="2442" y="2474"/>
                  </a:lnTo>
                  <a:lnTo>
                    <a:pt x="2436" y="2458"/>
                  </a:lnTo>
                  <a:lnTo>
                    <a:pt x="2433" y="2441"/>
                  </a:lnTo>
                  <a:lnTo>
                    <a:pt x="2438" y="2424"/>
                  </a:lnTo>
                  <a:lnTo>
                    <a:pt x="2447" y="2409"/>
                  </a:lnTo>
                  <a:lnTo>
                    <a:pt x="2459" y="2397"/>
                  </a:lnTo>
                  <a:lnTo>
                    <a:pt x="2475" y="2390"/>
                  </a:lnTo>
                  <a:lnTo>
                    <a:pt x="2492" y="2388"/>
                  </a:lnTo>
                  <a:lnTo>
                    <a:pt x="2509" y="2393"/>
                  </a:lnTo>
                  <a:lnTo>
                    <a:pt x="2525" y="2402"/>
                  </a:lnTo>
                  <a:lnTo>
                    <a:pt x="2656" y="2509"/>
                  </a:lnTo>
                  <a:lnTo>
                    <a:pt x="3418" y="2203"/>
                  </a:lnTo>
                  <a:lnTo>
                    <a:pt x="3431" y="2200"/>
                  </a:lnTo>
                  <a:lnTo>
                    <a:pt x="3446" y="2200"/>
                  </a:lnTo>
                  <a:lnTo>
                    <a:pt x="3460" y="2204"/>
                  </a:lnTo>
                  <a:lnTo>
                    <a:pt x="3472" y="2211"/>
                  </a:lnTo>
                  <a:lnTo>
                    <a:pt x="3482" y="2221"/>
                  </a:lnTo>
                  <a:lnTo>
                    <a:pt x="3490" y="2235"/>
                  </a:lnTo>
                  <a:lnTo>
                    <a:pt x="3506" y="2275"/>
                  </a:lnTo>
                  <a:lnTo>
                    <a:pt x="3506" y="2183"/>
                  </a:lnTo>
                  <a:lnTo>
                    <a:pt x="3478" y="2170"/>
                  </a:lnTo>
                  <a:lnTo>
                    <a:pt x="3452" y="2152"/>
                  </a:lnTo>
                  <a:lnTo>
                    <a:pt x="3429" y="2131"/>
                  </a:lnTo>
                  <a:lnTo>
                    <a:pt x="3411" y="2106"/>
                  </a:lnTo>
                  <a:lnTo>
                    <a:pt x="2507" y="766"/>
                  </a:lnTo>
                  <a:lnTo>
                    <a:pt x="1895" y="1794"/>
                  </a:lnTo>
                  <a:lnTo>
                    <a:pt x="1983" y="1926"/>
                  </a:lnTo>
                  <a:lnTo>
                    <a:pt x="2010" y="1971"/>
                  </a:lnTo>
                  <a:lnTo>
                    <a:pt x="2032" y="2018"/>
                  </a:lnTo>
                  <a:lnTo>
                    <a:pt x="2050" y="2067"/>
                  </a:lnTo>
                  <a:lnTo>
                    <a:pt x="2063" y="2117"/>
                  </a:lnTo>
                  <a:lnTo>
                    <a:pt x="2069" y="2168"/>
                  </a:lnTo>
                  <a:lnTo>
                    <a:pt x="2073" y="2221"/>
                  </a:lnTo>
                  <a:lnTo>
                    <a:pt x="2073" y="2433"/>
                  </a:lnTo>
                  <a:lnTo>
                    <a:pt x="2072" y="2441"/>
                  </a:lnTo>
                  <a:lnTo>
                    <a:pt x="2069" y="2452"/>
                  </a:lnTo>
                  <a:lnTo>
                    <a:pt x="2066" y="2460"/>
                  </a:lnTo>
                  <a:lnTo>
                    <a:pt x="2064" y="2463"/>
                  </a:lnTo>
                  <a:lnTo>
                    <a:pt x="2063" y="2465"/>
                  </a:lnTo>
                  <a:lnTo>
                    <a:pt x="2060" y="2469"/>
                  </a:lnTo>
                  <a:lnTo>
                    <a:pt x="2059" y="2469"/>
                  </a:lnTo>
                  <a:lnTo>
                    <a:pt x="2058" y="2471"/>
                  </a:lnTo>
                  <a:lnTo>
                    <a:pt x="2056" y="2473"/>
                  </a:lnTo>
                  <a:lnTo>
                    <a:pt x="2055" y="2474"/>
                  </a:lnTo>
                  <a:lnTo>
                    <a:pt x="2052" y="2477"/>
                  </a:lnTo>
                  <a:lnTo>
                    <a:pt x="2050" y="2478"/>
                  </a:lnTo>
                  <a:lnTo>
                    <a:pt x="2048" y="2480"/>
                  </a:lnTo>
                  <a:lnTo>
                    <a:pt x="2043" y="2482"/>
                  </a:lnTo>
                  <a:lnTo>
                    <a:pt x="2039" y="2485"/>
                  </a:lnTo>
                  <a:lnTo>
                    <a:pt x="2039" y="2485"/>
                  </a:lnTo>
                  <a:lnTo>
                    <a:pt x="2035" y="2486"/>
                  </a:lnTo>
                  <a:lnTo>
                    <a:pt x="2033" y="2487"/>
                  </a:lnTo>
                  <a:lnTo>
                    <a:pt x="2031" y="2488"/>
                  </a:lnTo>
                  <a:lnTo>
                    <a:pt x="2027" y="2488"/>
                  </a:lnTo>
                  <a:lnTo>
                    <a:pt x="2024" y="2489"/>
                  </a:lnTo>
                  <a:lnTo>
                    <a:pt x="2023" y="2489"/>
                  </a:lnTo>
                  <a:lnTo>
                    <a:pt x="2019" y="2489"/>
                  </a:lnTo>
                  <a:lnTo>
                    <a:pt x="2017" y="2489"/>
                  </a:lnTo>
                  <a:lnTo>
                    <a:pt x="1954" y="2489"/>
                  </a:lnTo>
                  <a:lnTo>
                    <a:pt x="1954" y="2672"/>
                  </a:lnTo>
                  <a:lnTo>
                    <a:pt x="1950" y="2689"/>
                  </a:lnTo>
                  <a:lnTo>
                    <a:pt x="1942" y="2705"/>
                  </a:lnTo>
                  <a:lnTo>
                    <a:pt x="1931" y="2716"/>
                  </a:lnTo>
                  <a:lnTo>
                    <a:pt x="1915" y="2724"/>
                  </a:lnTo>
                  <a:lnTo>
                    <a:pt x="1898" y="2727"/>
                  </a:lnTo>
                  <a:lnTo>
                    <a:pt x="1418" y="2727"/>
                  </a:lnTo>
                  <a:lnTo>
                    <a:pt x="1418" y="2853"/>
                  </a:lnTo>
                  <a:lnTo>
                    <a:pt x="1838" y="2853"/>
                  </a:lnTo>
                  <a:lnTo>
                    <a:pt x="1890" y="2857"/>
                  </a:lnTo>
                  <a:lnTo>
                    <a:pt x="1940" y="2866"/>
                  </a:lnTo>
                  <a:lnTo>
                    <a:pt x="1988" y="2882"/>
                  </a:lnTo>
                  <a:lnTo>
                    <a:pt x="2032" y="2902"/>
                  </a:lnTo>
                  <a:lnTo>
                    <a:pt x="2074" y="2927"/>
                  </a:lnTo>
                  <a:lnTo>
                    <a:pt x="2112" y="2958"/>
                  </a:lnTo>
                  <a:lnTo>
                    <a:pt x="2146" y="2992"/>
                  </a:lnTo>
                  <a:lnTo>
                    <a:pt x="2177" y="3030"/>
                  </a:lnTo>
                  <a:lnTo>
                    <a:pt x="2202" y="3072"/>
                  </a:lnTo>
                  <a:lnTo>
                    <a:pt x="2222" y="3116"/>
                  </a:lnTo>
                  <a:lnTo>
                    <a:pt x="2238" y="3164"/>
                  </a:lnTo>
                  <a:lnTo>
                    <a:pt x="2247" y="3214"/>
                  </a:lnTo>
                  <a:lnTo>
                    <a:pt x="2251" y="3266"/>
                  </a:lnTo>
                  <a:lnTo>
                    <a:pt x="2247" y="3317"/>
                  </a:lnTo>
                  <a:lnTo>
                    <a:pt x="2238" y="3367"/>
                  </a:lnTo>
                  <a:lnTo>
                    <a:pt x="2222" y="3415"/>
                  </a:lnTo>
                  <a:lnTo>
                    <a:pt x="2202" y="3460"/>
                  </a:lnTo>
                  <a:lnTo>
                    <a:pt x="2177" y="3501"/>
                  </a:lnTo>
                  <a:lnTo>
                    <a:pt x="2146" y="3540"/>
                  </a:lnTo>
                  <a:lnTo>
                    <a:pt x="2112" y="3574"/>
                  </a:lnTo>
                  <a:lnTo>
                    <a:pt x="2074" y="3604"/>
                  </a:lnTo>
                  <a:lnTo>
                    <a:pt x="2032" y="3630"/>
                  </a:lnTo>
                  <a:lnTo>
                    <a:pt x="1988" y="3651"/>
                  </a:lnTo>
                  <a:lnTo>
                    <a:pt x="1940" y="3666"/>
                  </a:lnTo>
                  <a:lnTo>
                    <a:pt x="1890" y="3676"/>
                  </a:lnTo>
                  <a:lnTo>
                    <a:pt x="1838" y="3678"/>
                  </a:lnTo>
                  <a:lnTo>
                    <a:pt x="413" y="3678"/>
                  </a:lnTo>
                  <a:lnTo>
                    <a:pt x="360" y="3676"/>
                  </a:lnTo>
                  <a:lnTo>
                    <a:pt x="311" y="3666"/>
                  </a:lnTo>
                  <a:lnTo>
                    <a:pt x="263" y="3651"/>
                  </a:lnTo>
                  <a:lnTo>
                    <a:pt x="219" y="3630"/>
                  </a:lnTo>
                  <a:lnTo>
                    <a:pt x="177" y="3604"/>
                  </a:lnTo>
                  <a:lnTo>
                    <a:pt x="138" y="3574"/>
                  </a:lnTo>
                  <a:lnTo>
                    <a:pt x="104" y="3540"/>
                  </a:lnTo>
                  <a:lnTo>
                    <a:pt x="74" y="3501"/>
                  </a:lnTo>
                  <a:lnTo>
                    <a:pt x="49" y="3460"/>
                  </a:lnTo>
                  <a:lnTo>
                    <a:pt x="28" y="3415"/>
                  </a:lnTo>
                  <a:lnTo>
                    <a:pt x="12" y="3367"/>
                  </a:lnTo>
                  <a:lnTo>
                    <a:pt x="3" y="3317"/>
                  </a:lnTo>
                  <a:lnTo>
                    <a:pt x="0" y="3266"/>
                  </a:lnTo>
                  <a:lnTo>
                    <a:pt x="3" y="3214"/>
                  </a:lnTo>
                  <a:lnTo>
                    <a:pt x="12" y="3164"/>
                  </a:lnTo>
                  <a:lnTo>
                    <a:pt x="28" y="3116"/>
                  </a:lnTo>
                  <a:lnTo>
                    <a:pt x="49" y="3072"/>
                  </a:lnTo>
                  <a:lnTo>
                    <a:pt x="74" y="3030"/>
                  </a:lnTo>
                  <a:lnTo>
                    <a:pt x="104" y="2992"/>
                  </a:lnTo>
                  <a:lnTo>
                    <a:pt x="138" y="2958"/>
                  </a:lnTo>
                  <a:lnTo>
                    <a:pt x="177" y="2927"/>
                  </a:lnTo>
                  <a:lnTo>
                    <a:pt x="219" y="2902"/>
                  </a:lnTo>
                  <a:lnTo>
                    <a:pt x="263" y="2882"/>
                  </a:lnTo>
                  <a:lnTo>
                    <a:pt x="311" y="2866"/>
                  </a:lnTo>
                  <a:lnTo>
                    <a:pt x="360" y="2857"/>
                  </a:lnTo>
                  <a:lnTo>
                    <a:pt x="413" y="2853"/>
                  </a:lnTo>
                  <a:lnTo>
                    <a:pt x="832" y="2853"/>
                  </a:lnTo>
                  <a:lnTo>
                    <a:pt x="832" y="2727"/>
                  </a:lnTo>
                  <a:lnTo>
                    <a:pt x="353" y="2727"/>
                  </a:lnTo>
                  <a:lnTo>
                    <a:pt x="317" y="2724"/>
                  </a:lnTo>
                  <a:lnTo>
                    <a:pt x="284" y="2714"/>
                  </a:lnTo>
                  <a:lnTo>
                    <a:pt x="255" y="2698"/>
                  </a:lnTo>
                  <a:lnTo>
                    <a:pt x="229" y="2676"/>
                  </a:lnTo>
                  <a:lnTo>
                    <a:pt x="209" y="2650"/>
                  </a:lnTo>
                  <a:lnTo>
                    <a:pt x="192" y="2621"/>
                  </a:lnTo>
                  <a:lnTo>
                    <a:pt x="181" y="2588"/>
                  </a:lnTo>
                  <a:lnTo>
                    <a:pt x="178" y="2553"/>
                  </a:lnTo>
                  <a:lnTo>
                    <a:pt x="178" y="2136"/>
                  </a:lnTo>
                  <a:lnTo>
                    <a:pt x="181" y="2101"/>
                  </a:lnTo>
                  <a:lnTo>
                    <a:pt x="192" y="2068"/>
                  </a:lnTo>
                  <a:lnTo>
                    <a:pt x="209" y="2039"/>
                  </a:lnTo>
                  <a:lnTo>
                    <a:pt x="229" y="2013"/>
                  </a:lnTo>
                  <a:lnTo>
                    <a:pt x="255" y="1991"/>
                  </a:lnTo>
                  <a:lnTo>
                    <a:pt x="284" y="1975"/>
                  </a:lnTo>
                  <a:lnTo>
                    <a:pt x="317" y="1965"/>
                  </a:lnTo>
                  <a:lnTo>
                    <a:pt x="353" y="1962"/>
                  </a:lnTo>
                  <a:lnTo>
                    <a:pt x="713" y="1962"/>
                  </a:lnTo>
                  <a:lnTo>
                    <a:pt x="713" y="1601"/>
                  </a:lnTo>
                  <a:lnTo>
                    <a:pt x="717" y="1558"/>
                  </a:lnTo>
                  <a:lnTo>
                    <a:pt x="726" y="1517"/>
                  </a:lnTo>
                  <a:lnTo>
                    <a:pt x="740" y="1477"/>
                  </a:lnTo>
                  <a:lnTo>
                    <a:pt x="761" y="1442"/>
                  </a:lnTo>
                  <a:lnTo>
                    <a:pt x="785" y="1409"/>
                  </a:lnTo>
                  <a:lnTo>
                    <a:pt x="814" y="1380"/>
                  </a:lnTo>
                  <a:lnTo>
                    <a:pt x="847" y="1355"/>
                  </a:lnTo>
                  <a:lnTo>
                    <a:pt x="883" y="1335"/>
                  </a:lnTo>
                  <a:lnTo>
                    <a:pt x="922" y="1321"/>
                  </a:lnTo>
                  <a:lnTo>
                    <a:pt x="963" y="1310"/>
                  </a:lnTo>
                  <a:lnTo>
                    <a:pt x="1007" y="1308"/>
                  </a:lnTo>
                  <a:lnTo>
                    <a:pt x="1414" y="1308"/>
                  </a:lnTo>
                  <a:lnTo>
                    <a:pt x="1452" y="1310"/>
                  </a:lnTo>
                  <a:lnTo>
                    <a:pt x="2359" y="101"/>
                  </a:lnTo>
                  <a:lnTo>
                    <a:pt x="2359" y="101"/>
                  </a:lnTo>
                  <a:lnTo>
                    <a:pt x="2382" y="73"/>
                  </a:lnTo>
                  <a:lnTo>
                    <a:pt x="2410" y="48"/>
                  </a:lnTo>
                  <a:lnTo>
                    <a:pt x="2441" y="27"/>
                  </a:lnTo>
                  <a:lnTo>
                    <a:pt x="2475" y="12"/>
                  </a:lnTo>
                  <a:lnTo>
                    <a:pt x="2513" y="3"/>
                  </a:lnTo>
                  <a:lnTo>
                    <a:pt x="2551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</p:grpSp>
      <p:sp>
        <p:nvSpPr>
          <p:cNvPr id="23625" name="TextBox 158">
            <a:extLst>
              <a:ext uri="{FF2B5EF4-FFF2-40B4-BE49-F238E27FC236}">
                <a16:creationId xmlns:a16="http://schemas.microsoft.com/office/drawing/2014/main" id="{E039C87F-72AD-4054-B63A-554ACFFB9E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4663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6" name="TextBox 159">
            <a:extLst>
              <a:ext uri="{FF2B5EF4-FFF2-40B4-BE49-F238E27FC236}">
                <a16:creationId xmlns:a16="http://schemas.microsoft.com/office/drawing/2014/main" id="{C89D28E8-6E73-4458-A352-42A749EC09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3488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7" name="TextBox 127">
            <a:extLst>
              <a:ext uri="{FF2B5EF4-FFF2-40B4-BE49-F238E27FC236}">
                <a16:creationId xmlns:a16="http://schemas.microsoft.com/office/drawing/2014/main" id="{D2C4F5E9-E854-4896-8355-45DEC69063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7813" y="6378575"/>
            <a:ext cx="426243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Sources: National Bureau of Statistics, World Bank Report on Doing Business in Nigeria 2018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climate-data.org, State Government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Exchange rate= $1/N305 (Central Bank of Nigeria)</a:t>
            </a:r>
          </a:p>
        </p:txBody>
      </p:sp>
      <p:sp>
        <p:nvSpPr>
          <p:cNvPr id="23628" name="TextBox 128">
            <a:extLst>
              <a:ext uri="{FF2B5EF4-FFF2-40B4-BE49-F238E27FC236}">
                <a16:creationId xmlns:a16="http://schemas.microsoft.com/office/drawing/2014/main" id="{409BCC6F-A5F0-4C79-BB4A-38A1ABC14F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18122" y="3649889"/>
            <a:ext cx="50526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Cotton</a:t>
            </a:r>
          </a:p>
        </p:txBody>
      </p:sp>
      <p:sp>
        <p:nvSpPr>
          <p:cNvPr id="23629" name="TextBox 129">
            <a:extLst>
              <a:ext uri="{FF2B5EF4-FFF2-40B4-BE49-F238E27FC236}">
                <a16:creationId xmlns:a16="http://schemas.microsoft.com/office/drawing/2014/main" id="{489E7B41-20C9-4493-8E7D-07238EB8FA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89567" y="3654980"/>
            <a:ext cx="468398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dirty="0">
                <a:latin typeface="Calibri" panose="020F0502020204030204" pitchFamily="34" charset="0"/>
              </a:rPr>
              <a:t>Maize</a:t>
            </a:r>
            <a:endParaRPr lang="en-GB" altLang="en-US" sz="900" dirty="0">
              <a:latin typeface="Calibri" panose="020F0502020204030204" pitchFamily="34" charset="0"/>
            </a:endParaRPr>
          </a:p>
        </p:txBody>
      </p:sp>
      <p:sp>
        <p:nvSpPr>
          <p:cNvPr id="23630" name="TextBox 130">
            <a:extLst>
              <a:ext uri="{FF2B5EF4-FFF2-40B4-BE49-F238E27FC236}">
                <a16:creationId xmlns:a16="http://schemas.microsoft.com/office/drawing/2014/main" id="{048DE5D8-5309-42DA-9D97-2935A10CB7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31" name="TextBox 131">
            <a:extLst>
              <a:ext uri="{FF2B5EF4-FFF2-40B4-BE49-F238E27FC236}">
                <a16:creationId xmlns:a16="http://schemas.microsoft.com/office/drawing/2014/main" id="{FF8B6C80-43E2-43AF-A364-A31845F05C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5388" y="3656613"/>
            <a:ext cx="70403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Vegetables</a:t>
            </a:r>
          </a:p>
        </p:txBody>
      </p:sp>
      <p:sp>
        <p:nvSpPr>
          <p:cNvPr id="23632" name="TextBox 132">
            <a:extLst>
              <a:ext uri="{FF2B5EF4-FFF2-40B4-BE49-F238E27FC236}">
                <a16:creationId xmlns:a16="http://schemas.microsoft.com/office/drawing/2014/main" id="{A1C640C1-61D1-4BA5-8A76-E684397E8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46689" y="3650683"/>
            <a:ext cx="57579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Oil Palm</a:t>
            </a:r>
          </a:p>
        </p:txBody>
      </p:sp>
      <p:sp>
        <p:nvSpPr>
          <p:cNvPr id="23638" name="TextBox 141">
            <a:extLst>
              <a:ext uri="{FF2B5EF4-FFF2-40B4-BE49-F238E27FC236}">
                <a16:creationId xmlns:a16="http://schemas.microsoft.com/office/drawing/2014/main" id="{EE481231-8673-4FD7-B5CC-900AEE7A9F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8233" y="3652271"/>
            <a:ext cx="47160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Hydro</a:t>
            </a:r>
          </a:p>
        </p:txBody>
      </p:sp>
      <p:sp>
        <p:nvSpPr>
          <p:cNvPr id="23649" name="TextBox 165">
            <a:extLst>
              <a:ext uri="{FF2B5EF4-FFF2-40B4-BE49-F238E27FC236}">
                <a16:creationId xmlns:a16="http://schemas.microsoft.com/office/drawing/2014/main" id="{1242633E-9CB1-48ED-83F4-2223DFC7ED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81236" y="4459560"/>
            <a:ext cx="38023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dirty="0">
                <a:latin typeface="Calibri" panose="020F0502020204030204" pitchFamily="34" charset="0"/>
              </a:rPr>
              <a:t>Rice</a:t>
            </a:r>
            <a:endParaRPr lang="en-GB" altLang="en-US" sz="900" dirty="0">
              <a:latin typeface="Calibri" panose="020F0502020204030204" pitchFamily="34" charset="0"/>
            </a:endParaRPr>
          </a:p>
        </p:txBody>
      </p:sp>
      <p:sp>
        <p:nvSpPr>
          <p:cNvPr id="23650" name="TextBox 166">
            <a:extLst>
              <a:ext uri="{FF2B5EF4-FFF2-40B4-BE49-F238E27FC236}">
                <a16:creationId xmlns:a16="http://schemas.microsoft.com/office/drawing/2014/main" id="{6B51369B-8FA6-464A-B908-12B0FFE6B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04216" y="4458812"/>
            <a:ext cx="70083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dirty="0">
                <a:latin typeface="Calibri" panose="020F0502020204030204" pitchFamily="34" charset="0"/>
              </a:rPr>
              <a:t>Groundnut</a:t>
            </a:r>
            <a:endParaRPr lang="en-GB" altLang="en-US" sz="900" dirty="0">
              <a:latin typeface="Calibri" panose="020F0502020204030204" pitchFamily="34" charset="0"/>
            </a:endParaRPr>
          </a:p>
        </p:txBody>
      </p:sp>
      <p:sp>
        <p:nvSpPr>
          <p:cNvPr id="23651" name="TextBox 167">
            <a:extLst>
              <a:ext uri="{FF2B5EF4-FFF2-40B4-BE49-F238E27FC236}">
                <a16:creationId xmlns:a16="http://schemas.microsoft.com/office/drawing/2014/main" id="{4F9404E1-8339-401B-8B10-4C7D1A8CEC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20736" y="4457881"/>
            <a:ext cx="60785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dirty="0">
                <a:latin typeface="Calibri" panose="020F0502020204030204" pitchFamily="34" charset="0"/>
              </a:rPr>
              <a:t>Sorghum</a:t>
            </a:r>
            <a:endParaRPr lang="en-GB" altLang="en-US" sz="900" dirty="0">
              <a:latin typeface="Calibri" panose="020F0502020204030204" pitchFamily="34" charset="0"/>
            </a:endParaRPr>
          </a:p>
        </p:txBody>
      </p:sp>
      <p:sp>
        <p:nvSpPr>
          <p:cNvPr id="23652" name="TextBox 168">
            <a:extLst>
              <a:ext uri="{FF2B5EF4-FFF2-40B4-BE49-F238E27FC236}">
                <a16:creationId xmlns:a16="http://schemas.microsoft.com/office/drawing/2014/main" id="{1C04917D-B2C3-4C21-8CC2-A45C349B4B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65456" y="4457133"/>
            <a:ext cx="56778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Tourism</a:t>
            </a:r>
          </a:p>
        </p:txBody>
      </p:sp>
      <p:sp>
        <p:nvSpPr>
          <p:cNvPr id="23653" name="TextBox 169">
            <a:extLst>
              <a:ext uri="{FF2B5EF4-FFF2-40B4-BE49-F238E27FC236}">
                <a16:creationId xmlns:a16="http://schemas.microsoft.com/office/drawing/2014/main" id="{4BADA327-4F2D-4897-B7C0-4647A1484B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3926" y="4457973"/>
            <a:ext cx="51328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Fishing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8A28B48-1841-45BB-BFBC-EADE77B37C6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779712" y="2589213"/>
          <a:ext cx="1482725" cy="812800"/>
        </p:xfrm>
        <a:graphic>
          <a:graphicData uri="http://schemas.openxmlformats.org/drawingml/2006/table">
            <a:tbl>
              <a:tblPr/>
              <a:tblGrid>
                <a:gridCol w="11367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9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32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GB" sz="1000" b="1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Domestic</a:t>
                      </a:r>
                      <a:r>
                        <a:rPr lang="en-GB" sz="10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US" sz="1000" b="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International 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Railway</a:t>
                      </a:r>
                      <a:r>
                        <a:rPr lang="en-GB" sz="1000" b="1" kern="1200" baseline="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 Station</a:t>
                      </a:r>
                      <a:endParaRPr lang="en-GB" sz="1000" b="1" kern="1200" dirty="0">
                        <a:solidFill>
                          <a:srgbClr val="292929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32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Sea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7" name="TextBox 136">
            <a:extLst>
              <a:ext uri="{FF2B5EF4-FFF2-40B4-BE49-F238E27FC236}">
                <a16:creationId xmlns:a16="http://schemas.microsoft.com/office/drawing/2014/main" id="{2F4C4876-7073-4C13-A183-127A8909BDC0}"/>
              </a:ext>
            </a:extLst>
          </p:cNvPr>
          <p:cNvSpPr txBox="1"/>
          <p:nvPr/>
        </p:nvSpPr>
        <p:spPr>
          <a:xfrm>
            <a:off x="538163" y="5268913"/>
            <a:ext cx="373856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For further details</a:t>
            </a:r>
          </a:p>
        </p:txBody>
      </p:sp>
      <p:sp>
        <p:nvSpPr>
          <p:cNvPr id="23676" name="TextBox 156">
            <a:extLst>
              <a:ext uri="{FF2B5EF4-FFF2-40B4-BE49-F238E27FC236}">
                <a16:creationId xmlns:a16="http://schemas.microsoft.com/office/drawing/2014/main" id="{95D66AAF-6B48-4B9E-9E5B-F1BB063A89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6300" y="6342063"/>
            <a:ext cx="37306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Abbreviations: </a:t>
            </a:r>
            <a:r>
              <a:rPr lang="en-GB" altLang="en-US" sz="800" b="1" dirty="0">
                <a:latin typeface="Calibri" panose="020F0502020204030204" pitchFamily="34" charset="0"/>
              </a:rPr>
              <a:t>	NICPS</a:t>
            </a:r>
            <a:r>
              <a:rPr lang="en-GB" altLang="en-US" sz="800" dirty="0">
                <a:latin typeface="Calibri" panose="020F0502020204030204" pitchFamily="34" charset="0"/>
              </a:rPr>
              <a:t>: Nigerian Investment Certification Programme for States              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	</a:t>
            </a:r>
            <a:r>
              <a:rPr lang="en-GB" altLang="en-US" sz="800" b="1" dirty="0">
                <a:latin typeface="Calibri" panose="020F0502020204030204" pitchFamily="34" charset="0"/>
              </a:rPr>
              <a:t>IGR</a:t>
            </a:r>
            <a:r>
              <a:rPr lang="en-GB" altLang="en-US" sz="800" dirty="0">
                <a:latin typeface="Calibri" panose="020F0502020204030204" pitchFamily="34" charset="0"/>
              </a:rPr>
              <a:t>:     Internal Generated Revenue</a:t>
            </a:r>
          </a:p>
        </p:txBody>
      </p:sp>
      <p:sp>
        <p:nvSpPr>
          <p:cNvPr id="23678" name="TextBox 152">
            <a:extLst>
              <a:ext uri="{FF2B5EF4-FFF2-40B4-BE49-F238E27FC236}">
                <a16:creationId xmlns:a16="http://schemas.microsoft.com/office/drawing/2014/main" id="{BFAF6896-F732-45FC-AC47-950DF99D9E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4575" y="1091818"/>
            <a:ext cx="3446463" cy="1754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15888" indent="-11588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MY" sz="1200" dirty="0">
                <a:latin typeface="Calibri" panose="020F0502020204030204" pitchFamily="34" charset="0"/>
                <a:cs typeface="Calibri" pitchFamily="34" charset="0"/>
              </a:rPr>
              <a:t>Largest tea farm in Nigeri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MY" sz="1200" dirty="0">
                <a:latin typeface="Calibri" panose="020F0502020204030204" pitchFamily="34" charset="0"/>
                <a:cs typeface="Calibri" pitchFamily="34" charset="0"/>
              </a:rPr>
              <a:t>Endowed with mineral resources (zircon, muscovite, galena, cassiterite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MY" sz="1200" dirty="0">
                <a:latin typeface="Calibri" panose="020F0502020204030204" pitchFamily="34" charset="0"/>
                <a:cs typeface="Calibri" pitchFamily="34" charset="0"/>
              </a:rPr>
              <a:t>Abundant arable land (4 million hectares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>
                <a:latin typeface="Calibri" pitchFamily="34" charset="0"/>
                <a:cs typeface="Calibri" pitchFamily="34" charset="0"/>
              </a:rPr>
              <a:t>Endowed with diverse and rich topography for tourism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>
                <a:latin typeface="Calibri" pitchFamily="34" charset="0"/>
                <a:cs typeface="Calibri" pitchFamily="34" charset="0"/>
              </a:rPr>
              <a:t>Tourism (</a:t>
            </a:r>
            <a:r>
              <a:rPr lang="en-US" sz="1200" dirty="0" err="1">
                <a:latin typeface="Calibri" pitchFamily="34" charset="0"/>
                <a:cs typeface="Calibri" pitchFamily="34" charset="0"/>
              </a:rPr>
              <a:t>Chappal</a:t>
            </a:r>
            <a:r>
              <a:rPr lang="en-US" sz="1200" dirty="0">
                <a:latin typeface="Calibri" pitchFamily="34" charset="0"/>
                <a:cs typeface="Calibri" pitchFamily="34" charset="0"/>
              </a:rPr>
              <a:t> </a:t>
            </a:r>
            <a:r>
              <a:rPr lang="en-US" sz="1200" dirty="0" err="1">
                <a:latin typeface="Calibri" pitchFamily="34" charset="0"/>
                <a:cs typeface="Calibri" pitchFamily="34" charset="0"/>
              </a:rPr>
              <a:t>Waddi</a:t>
            </a:r>
            <a:r>
              <a:rPr lang="en-US" sz="1200" dirty="0">
                <a:latin typeface="Calibri" pitchFamily="34" charset="0"/>
                <a:cs typeface="Calibri" pitchFamily="34" charset="0"/>
              </a:rPr>
              <a:t> (7,936ft) highest point in Nigeria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>
                <a:latin typeface="Calibri" pitchFamily="34" charset="0"/>
                <a:cs typeface="Calibri" pitchFamily="34" charset="0"/>
              </a:rPr>
              <a:t>Exotic and </a:t>
            </a:r>
            <a:r>
              <a:rPr lang="en-US" sz="1200" dirty="0" err="1">
                <a:latin typeface="Calibri" pitchFamily="34" charset="0"/>
                <a:cs typeface="Calibri" pitchFamily="34" charset="0"/>
              </a:rPr>
              <a:t>favourable</a:t>
            </a:r>
            <a:r>
              <a:rPr lang="en-US" sz="1200" dirty="0">
                <a:latin typeface="Calibri" pitchFamily="34" charset="0"/>
                <a:cs typeface="Calibri" pitchFamily="34" charset="0"/>
              </a:rPr>
              <a:t> weather ranging from 15 ͦC</a:t>
            </a:r>
            <a:endParaRPr lang="en-GB" altLang="en-US" sz="1300" dirty="0">
              <a:latin typeface="Calibri" panose="020F0502020204030204" pitchFamily="34" charset="0"/>
              <a:cs typeface="Calibri" pitchFamily="34" charset="0"/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D4E23C6-26A0-4545-B8F7-7007C8EEBFE4}"/>
              </a:ext>
            </a:extLst>
          </p:cNvPr>
          <p:cNvSpPr txBox="1"/>
          <p:nvPr/>
        </p:nvSpPr>
        <p:spPr>
          <a:xfrm>
            <a:off x="4338638" y="5265738"/>
            <a:ext cx="247491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id you know?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132" name="Text Placeholder 42">
            <a:extLst>
              <a:ext uri="{FF2B5EF4-FFF2-40B4-BE49-F238E27FC236}">
                <a16:creationId xmlns:a16="http://schemas.microsoft.com/office/drawing/2014/main" id="{D510D0DC-1548-4249-8DB1-9A1055126D07}"/>
              </a:ext>
            </a:extLst>
          </p:cNvPr>
          <p:cNvSpPr txBox="1">
            <a:spLocks/>
          </p:cNvSpPr>
          <p:nvPr/>
        </p:nvSpPr>
        <p:spPr>
          <a:xfrm>
            <a:off x="522288" y="5511800"/>
            <a:ext cx="3733800" cy="701675"/>
          </a:xfrm>
          <a:prstGeom prst="rect">
            <a:avLst/>
          </a:prstGeom>
        </p:spPr>
        <p:txBody>
          <a:bodyPr lIns="36576" tIns="0" rIns="36576" bIns="0"/>
          <a:lstStyle>
            <a:lvl1pPr marL="0" indent="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/>
              <a:buNone/>
              <a:defRPr sz="800" b="1" baseline="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6575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93763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 charset="0"/>
              <a:buChar char="►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50950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619250" indent="-188913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0764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25336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29908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34480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NIGERIAN INVESTMENT PROMOTION COMMISSION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>
                <a:solidFill>
                  <a:schemeClr val="tx1"/>
                </a:solidFill>
                <a:hlinkClick r:id="rId7"/>
              </a:rPr>
              <a:t>statesco@nipc.gov.ng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endParaRPr lang="en-US" sz="5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MINISTRY COMMERCE, TRADE AND INDUSTRIES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>
                <a:solidFill>
                  <a:schemeClr val="tx1"/>
                </a:solidFill>
                <a:hlinkClick r:id="rId8"/>
              </a:rPr>
              <a:t>rabiuahmadbako@gmail.com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endParaRPr lang="en-US" sz="1000" b="0" kern="0" dirty="0">
              <a:solidFill>
                <a:schemeClr val="tx1"/>
              </a:solidFill>
            </a:endParaRPr>
          </a:p>
        </p:txBody>
      </p:sp>
      <p:sp>
        <p:nvSpPr>
          <p:cNvPr id="144" name="Oval 143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238751" y="3833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8" name="Oval 147">
            <a:extLst>
              <a:ext uri="{FF2B5EF4-FFF2-40B4-BE49-F238E27FC236}">
                <a16:creationId xmlns:a16="http://schemas.microsoft.com/office/drawing/2014/main" id="{FF015425-7997-4612-9D0E-1F6C433DFCC7}"/>
              </a:ext>
            </a:extLst>
          </p:cNvPr>
          <p:cNvSpPr/>
          <p:nvPr/>
        </p:nvSpPr>
        <p:spPr>
          <a:xfrm>
            <a:off x="6080877" y="3040856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2" name="Oval 151">
            <a:extLst>
              <a:ext uri="{FF2B5EF4-FFF2-40B4-BE49-F238E27FC236}">
                <a16:creationId xmlns:a16="http://schemas.microsoft.com/office/drawing/2014/main" id="{4C0B7457-CABD-4AC8-8A1A-1FD468581E4D}"/>
              </a:ext>
            </a:extLst>
          </p:cNvPr>
          <p:cNvSpPr/>
          <p:nvPr/>
        </p:nvSpPr>
        <p:spPr>
          <a:xfrm>
            <a:off x="6784796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3" name="Oval 152">
            <a:extLst>
              <a:ext uri="{FF2B5EF4-FFF2-40B4-BE49-F238E27FC236}">
                <a16:creationId xmlns:a16="http://schemas.microsoft.com/office/drawing/2014/main" id="{2D626A89-F50C-45A3-9271-5D3F2EEA9C83}"/>
              </a:ext>
            </a:extLst>
          </p:cNvPr>
          <p:cNvSpPr/>
          <p:nvPr/>
        </p:nvSpPr>
        <p:spPr>
          <a:xfrm>
            <a:off x="7518399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4" name="Oval 153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240713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5" name="Oval 154">
            <a:extLst>
              <a:ext uri="{FF2B5EF4-FFF2-40B4-BE49-F238E27FC236}">
                <a16:creationId xmlns:a16="http://schemas.microsoft.com/office/drawing/2014/main" id="{4D1FAA17-3EFF-404B-B4C4-B468BCE2E9A5}"/>
              </a:ext>
            </a:extLst>
          </p:cNvPr>
          <p:cNvSpPr/>
          <p:nvPr/>
        </p:nvSpPr>
        <p:spPr>
          <a:xfrm>
            <a:off x="6078265" y="3836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6" name="Oval 155">
            <a:extLst>
              <a:ext uri="{FF2B5EF4-FFF2-40B4-BE49-F238E27FC236}">
                <a16:creationId xmlns:a16="http://schemas.microsoft.com/office/drawing/2014/main" id="{E861211D-5D09-4577-8A09-FD96D972A5D4}"/>
              </a:ext>
            </a:extLst>
          </p:cNvPr>
          <p:cNvSpPr/>
          <p:nvPr/>
        </p:nvSpPr>
        <p:spPr>
          <a:xfrm>
            <a:off x="6780509" y="3833831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7" name="Oval 156">
            <a:extLst>
              <a:ext uri="{FF2B5EF4-FFF2-40B4-BE49-F238E27FC236}">
                <a16:creationId xmlns:a16="http://schemas.microsoft.com/office/drawing/2014/main" id="{3CBEFD1C-6360-47CD-AEDD-DFB49FC0E0C7}"/>
              </a:ext>
            </a:extLst>
          </p:cNvPr>
          <p:cNvSpPr/>
          <p:nvPr/>
        </p:nvSpPr>
        <p:spPr>
          <a:xfrm>
            <a:off x="7518603" y="3830834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8" name="Oval 157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953126" y="3843338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9" name="Oval 158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955088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27" name="Picture 126" descr="Maize.jpg"/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838116" y="3137548"/>
            <a:ext cx="499926" cy="488915"/>
          </a:xfrm>
          <a:prstGeom prst="rect">
            <a:avLst/>
          </a:prstGeom>
        </p:spPr>
      </p:pic>
      <p:pic>
        <p:nvPicPr>
          <p:cNvPr id="128" name="Picture 127" descr="sorghum etc.jpg">
            <a:extLst>
              <a:ext uri="{FF2B5EF4-FFF2-40B4-BE49-F238E27FC236}">
                <a16:creationId xmlns:a16="http://schemas.microsoft.com/office/drawing/2014/main" id="{5037288B-5D45-4265-9B58-C34F76F8830F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75394" b="66420"/>
          <a:stretch>
            <a:fillRect/>
          </a:stretch>
        </p:blipFill>
        <p:spPr>
          <a:xfrm>
            <a:off x="7653797" y="3797171"/>
            <a:ext cx="409242" cy="613863"/>
          </a:xfrm>
          <a:prstGeom prst="rect">
            <a:avLst/>
          </a:prstGeom>
        </p:spPr>
      </p:pic>
      <p:pic>
        <p:nvPicPr>
          <p:cNvPr id="131" name="Picture 130" descr="Power.jpg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12320" t="35282" r="71508" b="46256"/>
          <a:stretch>
            <a:fillRect/>
          </a:stretch>
        </p:blipFill>
        <p:spPr>
          <a:xfrm>
            <a:off x="6147103" y="3150766"/>
            <a:ext cx="485975" cy="388780"/>
          </a:xfrm>
          <a:prstGeom prst="rect">
            <a:avLst/>
          </a:prstGeom>
        </p:spPr>
      </p:pic>
      <p:pic>
        <p:nvPicPr>
          <p:cNvPr id="133" name="Picture 132">
            <a:extLst>
              <a:ext uri="{FF2B5EF4-FFF2-40B4-BE49-F238E27FC236}">
                <a16:creationId xmlns:a16="http://schemas.microsoft.com/office/drawing/2014/main" id="{5AB650D7-89DA-477A-88BC-FFA8C4088B02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05" t="22995" r="9464" b="16994"/>
          <a:stretch/>
        </p:blipFill>
        <p:spPr>
          <a:xfrm>
            <a:off x="7575640" y="3151246"/>
            <a:ext cx="516785" cy="377597"/>
          </a:xfrm>
          <a:prstGeom prst="rect">
            <a:avLst/>
          </a:prstGeom>
        </p:spPr>
      </p:pic>
      <p:pic>
        <p:nvPicPr>
          <p:cNvPr id="138" name="Picture 137">
            <a:extLst>
              <a:ext uri="{FF2B5EF4-FFF2-40B4-BE49-F238E27FC236}">
                <a16:creationId xmlns:a16="http://schemas.microsoft.com/office/drawing/2014/main" id="{2DCD7606-57A0-43F0-AD77-4722126C0F8D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0081" y="3930469"/>
            <a:ext cx="421959" cy="421959"/>
          </a:xfrm>
          <a:prstGeom prst="rect">
            <a:avLst/>
          </a:prstGeom>
        </p:spPr>
      </p:pic>
      <p:pic>
        <p:nvPicPr>
          <p:cNvPr id="140" name="Picture 3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0636" y="2983775"/>
            <a:ext cx="579896" cy="659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3" name="Picture 142" descr="cotton.jpg">
            <a:extLst>
              <a:ext uri="{FF2B5EF4-FFF2-40B4-BE49-F238E27FC236}">
                <a16:creationId xmlns:a16="http://schemas.microsoft.com/office/drawing/2014/main" id="{6147C0ED-4825-4743-A65E-465039E026CC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27119" t="7595" r="25217" b="55643"/>
          <a:stretch>
            <a:fillRect/>
          </a:stretch>
        </p:blipFill>
        <p:spPr>
          <a:xfrm>
            <a:off x="9028283" y="3045285"/>
            <a:ext cx="483732" cy="511553"/>
          </a:xfrm>
          <a:prstGeom prst="rect">
            <a:avLst/>
          </a:prstGeom>
        </p:spPr>
      </p:pic>
      <p:pic>
        <p:nvPicPr>
          <p:cNvPr id="145" name="Picture 3"/>
          <p:cNvPicPr>
            <a:picLocks noChangeAspect="1" noChangeArrowheads="1"/>
          </p:cNvPicPr>
          <p:nvPr/>
        </p:nvPicPr>
        <p:blipFill rotWithShape="1"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7" t="11059" r="50000" b="58904"/>
          <a:stretch/>
        </p:blipFill>
        <p:spPr bwMode="auto">
          <a:xfrm>
            <a:off x="6874618" y="3906587"/>
            <a:ext cx="461420" cy="4830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6" name="Picture 145" descr="rice.png"/>
          <p:cNvPicPr>
            <a:picLocks noChangeAspect="1"/>
          </p:cNvPicPr>
          <p:nvPr/>
        </p:nvPicPr>
        <p:blipFill>
          <a:blip r:embed="rId1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15867" r="20664"/>
          <a:stretch>
            <a:fillRect/>
          </a:stretch>
        </p:blipFill>
        <p:spPr>
          <a:xfrm>
            <a:off x="9007975" y="3891523"/>
            <a:ext cx="524341" cy="512146"/>
          </a:xfrm>
          <a:prstGeom prst="rect">
            <a:avLst/>
          </a:prstGeom>
        </p:spPr>
      </p:pic>
      <p:pic>
        <p:nvPicPr>
          <p:cNvPr id="147" name="Picture 146">
            <a:extLst>
              <a:ext uri="{FF2B5EF4-FFF2-40B4-BE49-F238E27FC236}">
                <a16:creationId xmlns:a16="http://schemas.microsoft.com/office/drawing/2014/main" id="{4B46F167-F671-4481-8707-DCA507B058A7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16" t="17956" b="25500"/>
          <a:stretch/>
        </p:blipFill>
        <p:spPr>
          <a:xfrm>
            <a:off x="6153017" y="3908235"/>
            <a:ext cx="512712" cy="457533"/>
          </a:xfrm>
          <a:prstGeom prst="rect">
            <a:avLst/>
          </a:prstGeom>
        </p:spPr>
      </p:pic>
      <p:sp>
        <p:nvSpPr>
          <p:cNvPr id="161" name="TextBox 160">
            <a:extLst>
              <a:ext uri="{FF2B5EF4-FFF2-40B4-BE49-F238E27FC236}">
                <a16:creationId xmlns:a16="http://schemas.microsoft.com/office/drawing/2014/main" id="{D0A41506-8873-4C2F-B45B-4459F0229CA3}"/>
              </a:ext>
            </a:extLst>
          </p:cNvPr>
          <p:cNvSpPr txBox="1"/>
          <p:nvPr/>
        </p:nvSpPr>
        <p:spPr>
          <a:xfrm>
            <a:off x="4374578" y="4541674"/>
            <a:ext cx="17988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te Investment Certification Process Not Started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276724" y="5428987"/>
            <a:ext cx="258234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Largest tea farm in Nigeria is located in Taraba </a:t>
            </a:r>
          </a:p>
        </p:txBody>
      </p:sp>
    </p:spTree>
    <p:extLst>
      <p:ext uri="{BB962C8B-B14F-4D97-AF65-F5344CB8AC3E}">
        <p14:creationId xmlns:p14="http://schemas.microsoft.com/office/powerpoint/2010/main" val="11930579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Pentagon 19">
            <a:extLst>
              <a:ext uri="{FF2B5EF4-FFF2-40B4-BE49-F238E27FC236}">
                <a16:creationId xmlns:a16="http://schemas.microsoft.com/office/drawing/2014/main" id="{CAD93C59-72A9-4F6D-A654-02B9F8A5EFF9}"/>
              </a:ext>
            </a:extLst>
          </p:cNvPr>
          <p:cNvSpPr>
            <a:spLocks/>
          </p:cNvSpPr>
          <p:nvPr/>
        </p:nvSpPr>
        <p:spPr bwMode="auto">
          <a:xfrm>
            <a:off x="756602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8 of 37</a:t>
            </a:r>
          </a:p>
        </p:txBody>
      </p:sp>
      <p:sp>
        <p:nvSpPr>
          <p:cNvPr id="376" name="Pentagon 19">
            <a:extLst>
              <a:ext uri="{FF2B5EF4-FFF2-40B4-BE49-F238E27FC236}">
                <a16:creationId xmlns:a16="http://schemas.microsoft.com/office/drawing/2014/main" id="{1BDC5465-6022-4404-B4D8-ED55CF961B8A}"/>
              </a:ext>
            </a:extLst>
          </p:cNvPr>
          <p:cNvSpPr>
            <a:spLocks/>
          </p:cNvSpPr>
          <p:nvPr/>
        </p:nvSpPr>
        <p:spPr bwMode="auto">
          <a:xfrm>
            <a:off x="824865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5 of 3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57F1EBC-D01A-4083-B657-63AFB1490839}"/>
              </a:ext>
            </a:extLst>
          </p:cNvPr>
          <p:cNvSpPr txBox="1"/>
          <p:nvPr/>
        </p:nvSpPr>
        <p:spPr>
          <a:xfrm>
            <a:off x="6122988" y="2749550"/>
            <a:ext cx="3475037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nvestment Opportunit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D251BD-538A-4F4F-847E-620EEDA298A0}"/>
              </a:ext>
            </a:extLst>
          </p:cNvPr>
          <p:cNvSpPr txBox="1"/>
          <p:nvPr/>
        </p:nvSpPr>
        <p:spPr>
          <a:xfrm>
            <a:off x="6881813" y="4632911"/>
            <a:ext cx="2697162" cy="33855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oing Business Ranking(2018)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1B8F13C-F732-4DA1-9250-DB02936E7688}"/>
              </a:ext>
            </a:extLst>
          </p:cNvPr>
          <p:cNvSpPr/>
          <p:nvPr/>
        </p:nvSpPr>
        <p:spPr>
          <a:xfrm>
            <a:off x="756602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Registering Propert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6BA1818-32ED-44D1-975C-958200BDD124}"/>
              </a:ext>
            </a:extLst>
          </p:cNvPr>
          <p:cNvSpPr/>
          <p:nvPr/>
        </p:nvSpPr>
        <p:spPr>
          <a:xfrm>
            <a:off x="8248650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Dealing with Construction Permits</a:t>
            </a:r>
          </a:p>
        </p:txBody>
      </p:sp>
      <p:sp>
        <p:nvSpPr>
          <p:cNvPr id="23560" name="TextBox 174">
            <a:extLst>
              <a:ext uri="{FF2B5EF4-FFF2-40B4-BE49-F238E27FC236}">
                <a16:creationId xmlns:a16="http://schemas.microsoft.com/office/drawing/2014/main" id="{1573FD4E-62B9-45E8-8F28-CED990ED2D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0B63A6C-2A5E-4CA3-BC66-4CBC6008BC9A}"/>
              </a:ext>
            </a:extLst>
          </p:cNvPr>
          <p:cNvSpPr/>
          <p:nvPr/>
        </p:nvSpPr>
        <p:spPr>
          <a:xfrm>
            <a:off x="893127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Enforcing Contracts</a:t>
            </a:r>
          </a:p>
        </p:txBody>
      </p:sp>
      <p:pic>
        <p:nvPicPr>
          <p:cNvPr id="23562" name="Picture 4">
            <a:extLst>
              <a:ext uri="{FF2B5EF4-FFF2-40B4-BE49-F238E27FC236}">
                <a16:creationId xmlns:a16="http://schemas.microsoft.com/office/drawing/2014/main" id="{7C8EEAB2-0239-4BB5-94B3-23E319AF1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513" y="5249863"/>
            <a:ext cx="439737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6" name="Pentagon 19">
            <a:extLst>
              <a:ext uri="{FF2B5EF4-FFF2-40B4-BE49-F238E27FC236}">
                <a16:creationId xmlns:a16="http://schemas.microsoft.com/office/drawing/2014/main" id="{5F8E9670-D71A-4765-B6B5-D711BC9AD6E1}"/>
              </a:ext>
            </a:extLst>
          </p:cNvPr>
          <p:cNvSpPr>
            <a:spLocks/>
          </p:cNvSpPr>
          <p:nvPr/>
        </p:nvSpPr>
        <p:spPr bwMode="auto">
          <a:xfrm>
            <a:off x="893127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7</a:t>
            </a:r>
            <a:r>
              <a:rPr lang="en-GB" sz="1000" baseline="3000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of 37</a:t>
            </a:r>
          </a:p>
        </p:txBody>
      </p:sp>
      <p:sp>
        <p:nvSpPr>
          <p:cNvPr id="23564" name="Title 3">
            <a:extLst>
              <a:ext uri="{FF2B5EF4-FFF2-40B4-BE49-F238E27FC236}">
                <a16:creationId xmlns:a16="http://schemas.microsoft.com/office/drawing/2014/main" id="{C62A749B-CFC7-4224-A789-D20A772AC33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77813" y="222250"/>
            <a:ext cx="8543925" cy="5619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en-GB" altLang="en-US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Yobe</a:t>
            </a:r>
            <a:r>
              <a:rPr lang="en-GB" alt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State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6882DF2C-9120-4A66-8487-575D9494F4D6}"/>
              </a:ext>
            </a:extLst>
          </p:cNvPr>
          <p:cNvSpPr txBox="1"/>
          <p:nvPr/>
        </p:nvSpPr>
        <p:spPr>
          <a:xfrm rot="16200000">
            <a:off x="-2290084" y="3478372"/>
            <a:ext cx="5303837" cy="2743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Pride of the Sahel</a:t>
            </a:r>
          </a:p>
        </p:txBody>
      </p:sp>
      <p:grpSp>
        <p:nvGrpSpPr>
          <p:cNvPr id="23566" name="Group 9">
            <a:extLst>
              <a:ext uri="{FF2B5EF4-FFF2-40B4-BE49-F238E27FC236}">
                <a16:creationId xmlns:a16="http://schemas.microsoft.com/office/drawing/2014/main" id="{5B6131BD-3CE3-4FC4-B13A-FA9B797C1EF5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41338" y="963613"/>
            <a:ext cx="2897187" cy="2319337"/>
            <a:chOff x="770228" y="1459989"/>
            <a:chExt cx="4081047" cy="3267527"/>
          </a:xfrm>
        </p:grpSpPr>
        <p:sp>
          <p:nvSpPr>
            <p:cNvPr id="299" name="Freeform 4">
              <a:extLst>
                <a:ext uri="{FF2B5EF4-FFF2-40B4-BE49-F238E27FC236}">
                  <a16:creationId xmlns:a16="http://schemas.microsoft.com/office/drawing/2014/main" id="{B6150C82-CBE5-48B4-B60C-C210BB7B26A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91538" y="4349548"/>
              <a:ext cx="418167" cy="377968"/>
            </a:xfrm>
            <a:custGeom>
              <a:avLst/>
              <a:gdLst>
                <a:gd name="T0" fmla="*/ 12 w 786"/>
                <a:gd name="T1" fmla="*/ 19 h 714"/>
                <a:gd name="T2" fmla="*/ 22 w 786"/>
                <a:gd name="T3" fmla="*/ 18 h 714"/>
                <a:gd name="T4" fmla="*/ 27 w 786"/>
                <a:gd name="T5" fmla="*/ 17 h 714"/>
                <a:gd name="T6" fmla="*/ 30 w 786"/>
                <a:gd name="T7" fmla="*/ 14 h 714"/>
                <a:gd name="T8" fmla="*/ 37 w 786"/>
                <a:gd name="T9" fmla="*/ 16 h 714"/>
                <a:gd name="T10" fmla="*/ 43 w 786"/>
                <a:gd name="T11" fmla="*/ 13 h 714"/>
                <a:gd name="T12" fmla="*/ 48 w 786"/>
                <a:gd name="T13" fmla="*/ 8 h 714"/>
                <a:gd name="T14" fmla="*/ 55 w 786"/>
                <a:gd name="T15" fmla="*/ 4 h 714"/>
                <a:gd name="T16" fmla="*/ 66 w 786"/>
                <a:gd name="T17" fmla="*/ 0 h 714"/>
                <a:gd name="T18" fmla="*/ 63 w 786"/>
                <a:gd name="T19" fmla="*/ 12 h 714"/>
                <a:gd name="T20" fmla="*/ 59 w 786"/>
                <a:gd name="T21" fmla="*/ 19 h 714"/>
                <a:gd name="T22" fmla="*/ 57 w 786"/>
                <a:gd name="T23" fmla="*/ 29 h 714"/>
                <a:gd name="T24" fmla="*/ 59 w 786"/>
                <a:gd name="T25" fmla="*/ 36 h 714"/>
                <a:gd name="T26" fmla="*/ 66 w 786"/>
                <a:gd name="T27" fmla="*/ 35 h 714"/>
                <a:gd name="T28" fmla="*/ 64 w 786"/>
                <a:gd name="T29" fmla="*/ 41 h 714"/>
                <a:gd name="T30" fmla="*/ 64 w 786"/>
                <a:gd name="T31" fmla="*/ 48 h 714"/>
                <a:gd name="T32" fmla="*/ 63 w 786"/>
                <a:gd name="T33" fmla="*/ 56 h 714"/>
                <a:gd name="T34" fmla="*/ 60 w 786"/>
                <a:gd name="T35" fmla="*/ 60 h 714"/>
                <a:gd name="T36" fmla="*/ 57 w 786"/>
                <a:gd name="T37" fmla="*/ 58 h 714"/>
                <a:gd name="T38" fmla="*/ 54 w 786"/>
                <a:gd name="T39" fmla="*/ 54 h 714"/>
                <a:gd name="T40" fmla="*/ 53 w 786"/>
                <a:gd name="T41" fmla="*/ 51 h 714"/>
                <a:gd name="T42" fmla="*/ 51 w 786"/>
                <a:gd name="T43" fmla="*/ 53 h 714"/>
                <a:gd name="T44" fmla="*/ 49 w 786"/>
                <a:gd name="T45" fmla="*/ 54 h 714"/>
                <a:gd name="T46" fmla="*/ 47 w 786"/>
                <a:gd name="T47" fmla="*/ 50 h 714"/>
                <a:gd name="T48" fmla="*/ 48 w 786"/>
                <a:gd name="T49" fmla="*/ 54 h 714"/>
                <a:gd name="T50" fmla="*/ 47 w 786"/>
                <a:gd name="T51" fmla="*/ 54 h 714"/>
                <a:gd name="T52" fmla="*/ 46 w 786"/>
                <a:gd name="T53" fmla="*/ 59 h 714"/>
                <a:gd name="T54" fmla="*/ 47 w 786"/>
                <a:gd name="T55" fmla="*/ 62 h 714"/>
                <a:gd name="T56" fmla="*/ 42 w 786"/>
                <a:gd name="T57" fmla="*/ 62 h 714"/>
                <a:gd name="T58" fmla="*/ 39 w 786"/>
                <a:gd name="T59" fmla="*/ 57 h 714"/>
                <a:gd name="T60" fmla="*/ 40 w 786"/>
                <a:gd name="T61" fmla="*/ 54 h 714"/>
                <a:gd name="T62" fmla="*/ 43 w 786"/>
                <a:gd name="T63" fmla="*/ 55 h 714"/>
                <a:gd name="T64" fmla="*/ 40 w 786"/>
                <a:gd name="T65" fmla="*/ 53 h 714"/>
                <a:gd name="T66" fmla="*/ 38 w 786"/>
                <a:gd name="T67" fmla="*/ 57 h 714"/>
                <a:gd name="T68" fmla="*/ 37 w 786"/>
                <a:gd name="T69" fmla="*/ 57 h 714"/>
                <a:gd name="T70" fmla="*/ 37 w 786"/>
                <a:gd name="T71" fmla="*/ 60 h 714"/>
                <a:gd name="T72" fmla="*/ 33 w 786"/>
                <a:gd name="T73" fmla="*/ 56 h 714"/>
                <a:gd name="T74" fmla="*/ 32 w 786"/>
                <a:gd name="T75" fmla="*/ 58 h 714"/>
                <a:gd name="T76" fmla="*/ 26 w 786"/>
                <a:gd name="T77" fmla="*/ 54 h 714"/>
                <a:gd name="T78" fmla="*/ 26 w 786"/>
                <a:gd name="T79" fmla="*/ 54 h 714"/>
                <a:gd name="T80" fmla="*/ 24 w 786"/>
                <a:gd name="T81" fmla="*/ 51 h 714"/>
                <a:gd name="T82" fmla="*/ 22 w 786"/>
                <a:gd name="T83" fmla="*/ 51 h 714"/>
                <a:gd name="T84" fmla="*/ 20 w 786"/>
                <a:gd name="T85" fmla="*/ 50 h 714"/>
                <a:gd name="T86" fmla="*/ 20 w 786"/>
                <a:gd name="T87" fmla="*/ 48 h 714"/>
                <a:gd name="T88" fmla="*/ 18 w 786"/>
                <a:gd name="T89" fmla="*/ 47 h 714"/>
                <a:gd name="T90" fmla="*/ 15 w 786"/>
                <a:gd name="T91" fmla="*/ 45 h 714"/>
                <a:gd name="T92" fmla="*/ 11 w 786"/>
                <a:gd name="T93" fmla="*/ 39 h 714"/>
                <a:gd name="T94" fmla="*/ 12 w 786"/>
                <a:gd name="T95" fmla="*/ 36 h 714"/>
                <a:gd name="T96" fmla="*/ 7 w 786"/>
                <a:gd name="T97" fmla="*/ 33 h 714"/>
                <a:gd name="T98" fmla="*/ 5 w 786"/>
                <a:gd name="T99" fmla="*/ 28 h 714"/>
                <a:gd name="T100" fmla="*/ 7 w 786"/>
                <a:gd name="T101" fmla="*/ 30 h 714"/>
                <a:gd name="T102" fmla="*/ 4 w 786"/>
                <a:gd name="T103" fmla="*/ 24 h 714"/>
                <a:gd name="T104" fmla="*/ 2 w 786"/>
                <a:gd name="T105" fmla="*/ 20 h 714"/>
                <a:gd name="T106" fmla="*/ 0 w 786"/>
                <a:gd name="T107" fmla="*/ 15 h 714"/>
                <a:gd name="T108" fmla="*/ 4 w 786"/>
                <a:gd name="T109" fmla="*/ 16 h 714"/>
                <a:gd name="T110" fmla="*/ 55 w 786"/>
                <a:gd name="T111" fmla="*/ 60 h 714"/>
                <a:gd name="T112" fmla="*/ 47 w 786"/>
                <a:gd name="T113" fmla="*/ 60 h 714"/>
                <a:gd name="T114" fmla="*/ 51 w 786"/>
                <a:gd name="T115" fmla="*/ 54 h 714"/>
                <a:gd name="T116" fmla="*/ 54 w 786"/>
                <a:gd name="T117" fmla="*/ 56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86"/>
                <a:gd name="T178" fmla="*/ 0 h 714"/>
                <a:gd name="T179" fmla="*/ 786 w 786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86" h="714">
                  <a:moveTo>
                    <a:pt x="54" y="186"/>
                  </a:moveTo>
                  <a:lnTo>
                    <a:pt x="54" y="192"/>
                  </a:lnTo>
                  <a:lnTo>
                    <a:pt x="72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204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20" y="210"/>
                  </a:lnTo>
                  <a:lnTo>
                    <a:pt x="126" y="210"/>
                  </a:lnTo>
                  <a:lnTo>
                    <a:pt x="132" y="210"/>
                  </a:lnTo>
                  <a:lnTo>
                    <a:pt x="132" y="216"/>
                  </a:lnTo>
                  <a:lnTo>
                    <a:pt x="138" y="222"/>
                  </a:lnTo>
                  <a:lnTo>
                    <a:pt x="150" y="222"/>
                  </a:lnTo>
                  <a:lnTo>
                    <a:pt x="162" y="234"/>
                  </a:lnTo>
                  <a:lnTo>
                    <a:pt x="168" y="240"/>
                  </a:lnTo>
                  <a:lnTo>
                    <a:pt x="180" y="240"/>
                  </a:lnTo>
                  <a:lnTo>
                    <a:pt x="186" y="228"/>
                  </a:lnTo>
                  <a:lnTo>
                    <a:pt x="210" y="234"/>
                  </a:lnTo>
                  <a:lnTo>
                    <a:pt x="222" y="228"/>
                  </a:lnTo>
                  <a:lnTo>
                    <a:pt x="228" y="216"/>
                  </a:lnTo>
                  <a:lnTo>
                    <a:pt x="234" y="210"/>
                  </a:lnTo>
                  <a:lnTo>
                    <a:pt x="240" y="216"/>
                  </a:lnTo>
                  <a:lnTo>
                    <a:pt x="246" y="210"/>
                  </a:lnTo>
                  <a:lnTo>
                    <a:pt x="252" y="210"/>
                  </a:lnTo>
                  <a:lnTo>
                    <a:pt x="258" y="210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192"/>
                  </a:lnTo>
                  <a:lnTo>
                    <a:pt x="270" y="192"/>
                  </a:lnTo>
                  <a:lnTo>
                    <a:pt x="276" y="192"/>
                  </a:lnTo>
                  <a:lnTo>
                    <a:pt x="282" y="192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192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198"/>
                  </a:lnTo>
                  <a:lnTo>
                    <a:pt x="312" y="198"/>
                  </a:lnTo>
                  <a:lnTo>
                    <a:pt x="312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24" y="186"/>
                  </a:lnTo>
                  <a:lnTo>
                    <a:pt x="318" y="180"/>
                  </a:lnTo>
                  <a:lnTo>
                    <a:pt x="324" y="180"/>
                  </a:lnTo>
                  <a:lnTo>
                    <a:pt x="330" y="186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74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54" y="144"/>
                  </a:lnTo>
                  <a:lnTo>
                    <a:pt x="360" y="144"/>
                  </a:lnTo>
                  <a:lnTo>
                    <a:pt x="372" y="156"/>
                  </a:lnTo>
                  <a:lnTo>
                    <a:pt x="372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96" y="168"/>
                  </a:lnTo>
                  <a:lnTo>
                    <a:pt x="396" y="174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26" y="186"/>
                  </a:lnTo>
                  <a:lnTo>
                    <a:pt x="432" y="186"/>
                  </a:lnTo>
                  <a:lnTo>
                    <a:pt x="438" y="180"/>
                  </a:lnTo>
                  <a:lnTo>
                    <a:pt x="438" y="168"/>
                  </a:lnTo>
                  <a:lnTo>
                    <a:pt x="438" y="162"/>
                  </a:lnTo>
                  <a:lnTo>
                    <a:pt x="444" y="156"/>
                  </a:lnTo>
                  <a:lnTo>
                    <a:pt x="450" y="156"/>
                  </a:lnTo>
                  <a:lnTo>
                    <a:pt x="456" y="150"/>
                  </a:lnTo>
                  <a:lnTo>
                    <a:pt x="462" y="156"/>
                  </a:lnTo>
                  <a:lnTo>
                    <a:pt x="468" y="162"/>
                  </a:lnTo>
                  <a:lnTo>
                    <a:pt x="474" y="162"/>
                  </a:lnTo>
                  <a:lnTo>
                    <a:pt x="486" y="162"/>
                  </a:lnTo>
                  <a:lnTo>
                    <a:pt x="492" y="156"/>
                  </a:lnTo>
                  <a:lnTo>
                    <a:pt x="498" y="150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28" y="126"/>
                  </a:lnTo>
                  <a:lnTo>
                    <a:pt x="522" y="120"/>
                  </a:lnTo>
                  <a:lnTo>
                    <a:pt x="522" y="114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28" y="102"/>
                  </a:lnTo>
                  <a:lnTo>
                    <a:pt x="534" y="96"/>
                  </a:lnTo>
                  <a:lnTo>
                    <a:pt x="552" y="96"/>
                  </a:lnTo>
                  <a:lnTo>
                    <a:pt x="570" y="102"/>
                  </a:lnTo>
                  <a:lnTo>
                    <a:pt x="582" y="96"/>
                  </a:lnTo>
                  <a:lnTo>
                    <a:pt x="582" y="90"/>
                  </a:lnTo>
                  <a:lnTo>
                    <a:pt x="582" y="78"/>
                  </a:lnTo>
                  <a:lnTo>
                    <a:pt x="582" y="72"/>
                  </a:lnTo>
                  <a:lnTo>
                    <a:pt x="582" y="66"/>
                  </a:lnTo>
                  <a:lnTo>
                    <a:pt x="594" y="60"/>
                  </a:lnTo>
                  <a:lnTo>
                    <a:pt x="600" y="60"/>
                  </a:lnTo>
                  <a:lnTo>
                    <a:pt x="606" y="54"/>
                  </a:lnTo>
                  <a:lnTo>
                    <a:pt x="618" y="48"/>
                  </a:lnTo>
                  <a:lnTo>
                    <a:pt x="618" y="42"/>
                  </a:lnTo>
                  <a:lnTo>
                    <a:pt x="624" y="42"/>
                  </a:lnTo>
                  <a:lnTo>
                    <a:pt x="636" y="48"/>
                  </a:lnTo>
                  <a:lnTo>
                    <a:pt x="648" y="54"/>
                  </a:lnTo>
                  <a:lnTo>
                    <a:pt x="660" y="54"/>
                  </a:lnTo>
                  <a:lnTo>
                    <a:pt x="666" y="60"/>
                  </a:lnTo>
                  <a:lnTo>
                    <a:pt x="672" y="54"/>
                  </a:lnTo>
                  <a:lnTo>
                    <a:pt x="684" y="48"/>
                  </a:lnTo>
                  <a:lnTo>
                    <a:pt x="708" y="42"/>
                  </a:lnTo>
                  <a:lnTo>
                    <a:pt x="714" y="42"/>
                  </a:lnTo>
                  <a:lnTo>
                    <a:pt x="720" y="36"/>
                  </a:lnTo>
                  <a:lnTo>
                    <a:pt x="720" y="30"/>
                  </a:lnTo>
                  <a:lnTo>
                    <a:pt x="714" y="12"/>
                  </a:lnTo>
                  <a:lnTo>
                    <a:pt x="708" y="0"/>
                  </a:lnTo>
                  <a:lnTo>
                    <a:pt x="738" y="6"/>
                  </a:lnTo>
                  <a:lnTo>
                    <a:pt x="756" y="6"/>
                  </a:lnTo>
                  <a:lnTo>
                    <a:pt x="762" y="42"/>
                  </a:lnTo>
                  <a:lnTo>
                    <a:pt x="738" y="72"/>
                  </a:lnTo>
                  <a:lnTo>
                    <a:pt x="750" y="90"/>
                  </a:lnTo>
                  <a:lnTo>
                    <a:pt x="762" y="96"/>
                  </a:lnTo>
                  <a:lnTo>
                    <a:pt x="756" y="102"/>
                  </a:lnTo>
                  <a:lnTo>
                    <a:pt x="750" y="108"/>
                  </a:lnTo>
                  <a:lnTo>
                    <a:pt x="750" y="114"/>
                  </a:lnTo>
                  <a:lnTo>
                    <a:pt x="750" y="120"/>
                  </a:lnTo>
                  <a:lnTo>
                    <a:pt x="750" y="126"/>
                  </a:lnTo>
                  <a:lnTo>
                    <a:pt x="750" y="132"/>
                  </a:lnTo>
                  <a:lnTo>
                    <a:pt x="738" y="132"/>
                  </a:lnTo>
                  <a:lnTo>
                    <a:pt x="732" y="138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14" y="144"/>
                  </a:lnTo>
                  <a:lnTo>
                    <a:pt x="714" y="150"/>
                  </a:lnTo>
                  <a:lnTo>
                    <a:pt x="720" y="156"/>
                  </a:lnTo>
                  <a:lnTo>
                    <a:pt x="720" y="162"/>
                  </a:lnTo>
                  <a:lnTo>
                    <a:pt x="714" y="162"/>
                  </a:lnTo>
                  <a:lnTo>
                    <a:pt x="708" y="168"/>
                  </a:lnTo>
                  <a:lnTo>
                    <a:pt x="708" y="180"/>
                  </a:lnTo>
                  <a:lnTo>
                    <a:pt x="708" y="192"/>
                  </a:lnTo>
                  <a:lnTo>
                    <a:pt x="696" y="198"/>
                  </a:lnTo>
                  <a:lnTo>
                    <a:pt x="696" y="204"/>
                  </a:lnTo>
                  <a:lnTo>
                    <a:pt x="684" y="210"/>
                  </a:lnTo>
                  <a:lnTo>
                    <a:pt x="684" y="216"/>
                  </a:lnTo>
                  <a:lnTo>
                    <a:pt x="684" y="222"/>
                  </a:lnTo>
                  <a:lnTo>
                    <a:pt x="678" y="228"/>
                  </a:lnTo>
                  <a:lnTo>
                    <a:pt x="678" y="234"/>
                  </a:lnTo>
                  <a:lnTo>
                    <a:pt x="672" y="240"/>
                  </a:lnTo>
                  <a:lnTo>
                    <a:pt x="672" y="252"/>
                  </a:lnTo>
                  <a:lnTo>
                    <a:pt x="672" y="258"/>
                  </a:lnTo>
                  <a:lnTo>
                    <a:pt x="666" y="264"/>
                  </a:lnTo>
                  <a:lnTo>
                    <a:pt x="678" y="264"/>
                  </a:lnTo>
                  <a:lnTo>
                    <a:pt x="684" y="276"/>
                  </a:lnTo>
                  <a:lnTo>
                    <a:pt x="684" y="288"/>
                  </a:lnTo>
                  <a:lnTo>
                    <a:pt x="672" y="300"/>
                  </a:lnTo>
                  <a:lnTo>
                    <a:pt x="660" y="318"/>
                  </a:lnTo>
                  <a:lnTo>
                    <a:pt x="660" y="336"/>
                  </a:lnTo>
                  <a:lnTo>
                    <a:pt x="654" y="342"/>
                  </a:lnTo>
                  <a:lnTo>
                    <a:pt x="660" y="354"/>
                  </a:lnTo>
                  <a:lnTo>
                    <a:pt x="660" y="366"/>
                  </a:lnTo>
                  <a:lnTo>
                    <a:pt x="666" y="378"/>
                  </a:lnTo>
                  <a:lnTo>
                    <a:pt x="672" y="390"/>
                  </a:lnTo>
                  <a:lnTo>
                    <a:pt x="678" y="396"/>
                  </a:lnTo>
                  <a:lnTo>
                    <a:pt x="684" y="390"/>
                  </a:lnTo>
                  <a:lnTo>
                    <a:pt x="690" y="390"/>
                  </a:lnTo>
                  <a:lnTo>
                    <a:pt x="690" y="396"/>
                  </a:lnTo>
                  <a:lnTo>
                    <a:pt x="684" y="396"/>
                  </a:lnTo>
                  <a:lnTo>
                    <a:pt x="684" y="402"/>
                  </a:lnTo>
                  <a:lnTo>
                    <a:pt x="684" y="408"/>
                  </a:lnTo>
                  <a:lnTo>
                    <a:pt x="678" y="414"/>
                  </a:lnTo>
                  <a:lnTo>
                    <a:pt x="684" y="414"/>
                  </a:lnTo>
                  <a:lnTo>
                    <a:pt x="684" y="420"/>
                  </a:lnTo>
                  <a:lnTo>
                    <a:pt x="684" y="426"/>
                  </a:lnTo>
                  <a:lnTo>
                    <a:pt x="690" y="420"/>
                  </a:lnTo>
                  <a:lnTo>
                    <a:pt x="696" y="420"/>
                  </a:lnTo>
                  <a:lnTo>
                    <a:pt x="696" y="426"/>
                  </a:lnTo>
                  <a:lnTo>
                    <a:pt x="690" y="426"/>
                  </a:lnTo>
                  <a:lnTo>
                    <a:pt x="696" y="426"/>
                  </a:lnTo>
                  <a:lnTo>
                    <a:pt x="708" y="426"/>
                  </a:lnTo>
                  <a:lnTo>
                    <a:pt x="726" y="414"/>
                  </a:lnTo>
                  <a:lnTo>
                    <a:pt x="732" y="408"/>
                  </a:lnTo>
                  <a:lnTo>
                    <a:pt x="744" y="402"/>
                  </a:lnTo>
                  <a:lnTo>
                    <a:pt x="756" y="402"/>
                  </a:lnTo>
                  <a:lnTo>
                    <a:pt x="768" y="402"/>
                  </a:lnTo>
                  <a:lnTo>
                    <a:pt x="786" y="408"/>
                  </a:lnTo>
                  <a:lnTo>
                    <a:pt x="786" y="414"/>
                  </a:lnTo>
                  <a:lnTo>
                    <a:pt x="774" y="420"/>
                  </a:lnTo>
                  <a:lnTo>
                    <a:pt x="774" y="426"/>
                  </a:lnTo>
                  <a:lnTo>
                    <a:pt x="768" y="432"/>
                  </a:lnTo>
                  <a:lnTo>
                    <a:pt x="762" y="438"/>
                  </a:lnTo>
                  <a:lnTo>
                    <a:pt x="756" y="438"/>
                  </a:lnTo>
                  <a:lnTo>
                    <a:pt x="756" y="444"/>
                  </a:lnTo>
                  <a:lnTo>
                    <a:pt x="756" y="450"/>
                  </a:lnTo>
                  <a:lnTo>
                    <a:pt x="762" y="450"/>
                  </a:lnTo>
                  <a:lnTo>
                    <a:pt x="750" y="456"/>
                  </a:lnTo>
                  <a:lnTo>
                    <a:pt x="738" y="468"/>
                  </a:lnTo>
                  <a:lnTo>
                    <a:pt x="726" y="480"/>
                  </a:lnTo>
                  <a:lnTo>
                    <a:pt x="726" y="486"/>
                  </a:lnTo>
                  <a:lnTo>
                    <a:pt x="732" y="486"/>
                  </a:lnTo>
                  <a:lnTo>
                    <a:pt x="732" y="492"/>
                  </a:lnTo>
                  <a:lnTo>
                    <a:pt x="732" y="504"/>
                  </a:lnTo>
                  <a:lnTo>
                    <a:pt x="738" y="504"/>
                  </a:lnTo>
                  <a:lnTo>
                    <a:pt x="744" y="510"/>
                  </a:lnTo>
                  <a:lnTo>
                    <a:pt x="738" y="522"/>
                  </a:lnTo>
                  <a:lnTo>
                    <a:pt x="744" y="528"/>
                  </a:lnTo>
                  <a:lnTo>
                    <a:pt x="756" y="534"/>
                  </a:lnTo>
                  <a:lnTo>
                    <a:pt x="756" y="540"/>
                  </a:lnTo>
                  <a:lnTo>
                    <a:pt x="744" y="552"/>
                  </a:lnTo>
                  <a:lnTo>
                    <a:pt x="738" y="552"/>
                  </a:lnTo>
                  <a:lnTo>
                    <a:pt x="738" y="558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64"/>
                  </a:lnTo>
                  <a:lnTo>
                    <a:pt x="744" y="576"/>
                  </a:lnTo>
                  <a:lnTo>
                    <a:pt x="738" y="588"/>
                  </a:lnTo>
                  <a:lnTo>
                    <a:pt x="738" y="594"/>
                  </a:lnTo>
                  <a:lnTo>
                    <a:pt x="738" y="600"/>
                  </a:lnTo>
                  <a:lnTo>
                    <a:pt x="738" y="606"/>
                  </a:lnTo>
                  <a:lnTo>
                    <a:pt x="732" y="612"/>
                  </a:lnTo>
                  <a:lnTo>
                    <a:pt x="726" y="624"/>
                  </a:lnTo>
                  <a:lnTo>
                    <a:pt x="726" y="636"/>
                  </a:lnTo>
                  <a:lnTo>
                    <a:pt x="726" y="648"/>
                  </a:lnTo>
                  <a:lnTo>
                    <a:pt x="738" y="654"/>
                  </a:lnTo>
                  <a:lnTo>
                    <a:pt x="750" y="660"/>
                  </a:lnTo>
                  <a:lnTo>
                    <a:pt x="750" y="666"/>
                  </a:lnTo>
                  <a:lnTo>
                    <a:pt x="750" y="678"/>
                  </a:lnTo>
                  <a:lnTo>
                    <a:pt x="744" y="678"/>
                  </a:lnTo>
                  <a:lnTo>
                    <a:pt x="738" y="684"/>
                  </a:lnTo>
                  <a:lnTo>
                    <a:pt x="732" y="684"/>
                  </a:lnTo>
                  <a:lnTo>
                    <a:pt x="720" y="678"/>
                  </a:lnTo>
                  <a:lnTo>
                    <a:pt x="714" y="684"/>
                  </a:lnTo>
                  <a:lnTo>
                    <a:pt x="708" y="684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0" y="690"/>
                  </a:lnTo>
                  <a:lnTo>
                    <a:pt x="690" y="684"/>
                  </a:lnTo>
                  <a:lnTo>
                    <a:pt x="690" y="690"/>
                  </a:lnTo>
                  <a:lnTo>
                    <a:pt x="684" y="690"/>
                  </a:lnTo>
                  <a:lnTo>
                    <a:pt x="684" y="684"/>
                  </a:lnTo>
                  <a:lnTo>
                    <a:pt x="678" y="684"/>
                  </a:lnTo>
                  <a:lnTo>
                    <a:pt x="672" y="678"/>
                  </a:lnTo>
                  <a:lnTo>
                    <a:pt x="672" y="672"/>
                  </a:lnTo>
                  <a:lnTo>
                    <a:pt x="678" y="672"/>
                  </a:lnTo>
                  <a:lnTo>
                    <a:pt x="672" y="672"/>
                  </a:lnTo>
                  <a:lnTo>
                    <a:pt x="666" y="672"/>
                  </a:lnTo>
                  <a:lnTo>
                    <a:pt x="660" y="672"/>
                  </a:lnTo>
                  <a:lnTo>
                    <a:pt x="654" y="672"/>
                  </a:lnTo>
                  <a:lnTo>
                    <a:pt x="654" y="666"/>
                  </a:lnTo>
                  <a:lnTo>
                    <a:pt x="648" y="666"/>
                  </a:lnTo>
                  <a:lnTo>
                    <a:pt x="642" y="660"/>
                  </a:lnTo>
                  <a:lnTo>
                    <a:pt x="642" y="654"/>
                  </a:lnTo>
                  <a:lnTo>
                    <a:pt x="642" y="648"/>
                  </a:lnTo>
                  <a:lnTo>
                    <a:pt x="636" y="648"/>
                  </a:lnTo>
                  <a:lnTo>
                    <a:pt x="630" y="648"/>
                  </a:lnTo>
                  <a:lnTo>
                    <a:pt x="624" y="648"/>
                  </a:lnTo>
                  <a:lnTo>
                    <a:pt x="624" y="642"/>
                  </a:lnTo>
                  <a:lnTo>
                    <a:pt x="618" y="636"/>
                  </a:lnTo>
                  <a:lnTo>
                    <a:pt x="624" y="636"/>
                  </a:lnTo>
                  <a:lnTo>
                    <a:pt x="624" y="630"/>
                  </a:lnTo>
                  <a:lnTo>
                    <a:pt x="618" y="630"/>
                  </a:lnTo>
                  <a:lnTo>
                    <a:pt x="618" y="624"/>
                  </a:lnTo>
                  <a:lnTo>
                    <a:pt x="618" y="618"/>
                  </a:lnTo>
                  <a:lnTo>
                    <a:pt x="618" y="612"/>
                  </a:lnTo>
                  <a:lnTo>
                    <a:pt x="618" y="606"/>
                  </a:lnTo>
                  <a:lnTo>
                    <a:pt x="624" y="606"/>
                  </a:lnTo>
                  <a:lnTo>
                    <a:pt x="624" y="600"/>
                  </a:lnTo>
                  <a:lnTo>
                    <a:pt x="618" y="600"/>
                  </a:lnTo>
                  <a:lnTo>
                    <a:pt x="618" y="594"/>
                  </a:lnTo>
                  <a:lnTo>
                    <a:pt x="618" y="588"/>
                  </a:lnTo>
                  <a:lnTo>
                    <a:pt x="618" y="582"/>
                  </a:lnTo>
                  <a:lnTo>
                    <a:pt x="612" y="582"/>
                  </a:lnTo>
                  <a:lnTo>
                    <a:pt x="606" y="582"/>
                  </a:lnTo>
                  <a:lnTo>
                    <a:pt x="612" y="582"/>
                  </a:lnTo>
                  <a:lnTo>
                    <a:pt x="612" y="588"/>
                  </a:lnTo>
                  <a:lnTo>
                    <a:pt x="612" y="594"/>
                  </a:lnTo>
                  <a:lnTo>
                    <a:pt x="618" y="594"/>
                  </a:lnTo>
                  <a:lnTo>
                    <a:pt x="618" y="600"/>
                  </a:lnTo>
                  <a:lnTo>
                    <a:pt x="618" y="606"/>
                  </a:lnTo>
                  <a:lnTo>
                    <a:pt x="618" y="612"/>
                  </a:lnTo>
                  <a:lnTo>
                    <a:pt x="612" y="612"/>
                  </a:lnTo>
                  <a:lnTo>
                    <a:pt x="612" y="618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94" y="612"/>
                  </a:lnTo>
                  <a:lnTo>
                    <a:pt x="588" y="606"/>
                  </a:lnTo>
                  <a:lnTo>
                    <a:pt x="588" y="612"/>
                  </a:lnTo>
                  <a:lnTo>
                    <a:pt x="594" y="612"/>
                  </a:lnTo>
                  <a:lnTo>
                    <a:pt x="594" y="618"/>
                  </a:lnTo>
                  <a:lnTo>
                    <a:pt x="588" y="618"/>
                  </a:lnTo>
                  <a:lnTo>
                    <a:pt x="588" y="624"/>
                  </a:lnTo>
                  <a:lnTo>
                    <a:pt x="582" y="624"/>
                  </a:lnTo>
                  <a:lnTo>
                    <a:pt x="582" y="630"/>
                  </a:lnTo>
                  <a:lnTo>
                    <a:pt x="576" y="630"/>
                  </a:lnTo>
                  <a:lnTo>
                    <a:pt x="576" y="636"/>
                  </a:lnTo>
                  <a:lnTo>
                    <a:pt x="570" y="636"/>
                  </a:lnTo>
                  <a:lnTo>
                    <a:pt x="570" y="642"/>
                  </a:lnTo>
                  <a:lnTo>
                    <a:pt x="564" y="642"/>
                  </a:lnTo>
                  <a:lnTo>
                    <a:pt x="564" y="636"/>
                  </a:lnTo>
                  <a:lnTo>
                    <a:pt x="564" y="630"/>
                  </a:lnTo>
                  <a:lnTo>
                    <a:pt x="564" y="624"/>
                  </a:lnTo>
                  <a:lnTo>
                    <a:pt x="564" y="618"/>
                  </a:lnTo>
                  <a:lnTo>
                    <a:pt x="570" y="612"/>
                  </a:lnTo>
                  <a:lnTo>
                    <a:pt x="564" y="606"/>
                  </a:lnTo>
                  <a:lnTo>
                    <a:pt x="564" y="600"/>
                  </a:lnTo>
                  <a:lnTo>
                    <a:pt x="564" y="594"/>
                  </a:lnTo>
                  <a:lnTo>
                    <a:pt x="558" y="594"/>
                  </a:lnTo>
                  <a:lnTo>
                    <a:pt x="558" y="588"/>
                  </a:lnTo>
                  <a:lnTo>
                    <a:pt x="552" y="582"/>
                  </a:lnTo>
                  <a:lnTo>
                    <a:pt x="552" y="576"/>
                  </a:lnTo>
                  <a:lnTo>
                    <a:pt x="552" y="570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6" y="582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58" y="588"/>
                  </a:lnTo>
                  <a:lnTo>
                    <a:pt x="558" y="594"/>
                  </a:lnTo>
                  <a:lnTo>
                    <a:pt x="558" y="600"/>
                  </a:lnTo>
                  <a:lnTo>
                    <a:pt x="558" y="606"/>
                  </a:lnTo>
                  <a:lnTo>
                    <a:pt x="552" y="612"/>
                  </a:lnTo>
                  <a:lnTo>
                    <a:pt x="558" y="612"/>
                  </a:lnTo>
                  <a:lnTo>
                    <a:pt x="558" y="618"/>
                  </a:lnTo>
                  <a:lnTo>
                    <a:pt x="558" y="624"/>
                  </a:lnTo>
                  <a:lnTo>
                    <a:pt x="558" y="630"/>
                  </a:lnTo>
                  <a:lnTo>
                    <a:pt x="552" y="630"/>
                  </a:lnTo>
                  <a:lnTo>
                    <a:pt x="552" y="624"/>
                  </a:lnTo>
                  <a:lnTo>
                    <a:pt x="546" y="624"/>
                  </a:lnTo>
                  <a:lnTo>
                    <a:pt x="546" y="618"/>
                  </a:lnTo>
                  <a:lnTo>
                    <a:pt x="546" y="612"/>
                  </a:lnTo>
                  <a:lnTo>
                    <a:pt x="540" y="612"/>
                  </a:lnTo>
                  <a:lnTo>
                    <a:pt x="534" y="612"/>
                  </a:lnTo>
                  <a:lnTo>
                    <a:pt x="528" y="612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28" y="618"/>
                  </a:lnTo>
                  <a:lnTo>
                    <a:pt x="534" y="618"/>
                  </a:lnTo>
                  <a:lnTo>
                    <a:pt x="540" y="618"/>
                  </a:lnTo>
                  <a:lnTo>
                    <a:pt x="540" y="624"/>
                  </a:lnTo>
                  <a:lnTo>
                    <a:pt x="546" y="624"/>
                  </a:lnTo>
                  <a:lnTo>
                    <a:pt x="546" y="630"/>
                  </a:lnTo>
                  <a:lnTo>
                    <a:pt x="552" y="630"/>
                  </a:lnTo>
                  <a:lnTo>
                    <a:pt x="552" y="636"/>
                  </a:lnTo>
                  <a:lnTo>
                    <a:pt x="546" y="642"/>
                  </a:lnTo>
                  <a:lnTo>
                    <a:pt x="546" y="648"/>
                  </a:lnTo>
                  <a:lnTo>
                    <a:pt x="540" y="648"/>
                  </a:lnTo>
                  <a:lnTo>
                    <a:pt x="540" y="654"/>
                  </a:lnTo>
                  <a:lnTo>
                    <a:pt x="540" y="660"/>
                  </a:lnTo>
                  <a:lnTo>
                    <a:pt x="534" y="666"/>
                  </a:lnTo>
                  <a:lnTo>
                    <a:pt x="534" y="672"/>
                  </a:lnTo>
                  <a:lnTo>
                    <a:pt x="534" y="678"/>
                  </a:lnTo>
                  <a:lnTo>
                    <a:pt x="534" y="684"/>
                  </a:lnTo>
                  <a:lnTo>
                    <a:pt x="534" y="678"/>
                  </a:lnTo>
                  <a:lnTo>
                    <a:pt x="528" y="678"/>
                  </a:lnTo>
                  <a:lnTo>
                    <a:pt x="528" y="684"/>
                  </a:lnTo>
                  <a:lnTo>
                    <a:pt x="522" y="690"/>
                  </a:lnTo>
                  <a:lnTo>
                    <a:pt x="528" y="690"/>
                  </a:lnTo>
                  <a:lnTo>
                    <a:pt x="528" y="684"/>
                  </a:lnTo>
                  <a:lnTo>
                    <a:pt x="534" y="684"/>
                  </a:lnTo>
                  <a:lnTo>
                    <a:pt x="534" y="690"/>
                  </a:lnTo>
                  <a:lnTo>
                    <a:pt x="534" y="696"/>
                  </a:lnTo>
                  <a:lnTo>
                    <a:pt x="540" y="696"/>
                  </a:lnTo>
                  <a:lnTo>
                    <a:pt x="540" y="702"/>
                  </a:lnTo>
                  <a:lnTo>
                    <a:pt x="540" y="708"/>
                  </a:lnTo>
                  <a:lnTo>
                    <a:pt x="534" y="708"/>
                  </a:lnTo>
                  <a:lnTo>
                    <a:pt x="528" y="708"/>
                  </a:lnTo>
                  <a:lnTo>
                    <a:pt x="522" y="708"/>
                  </a:lnTo>
                  <a:lnTo>
                    <a:pt x="516" y="708"/>
                  </a:lnTo>
                  <a:lnTo>
                    <a:pt x="510" y="708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2" y="708"/>
                  </a:lnTo>
                  <a:lnTo>
                    <a:pt x="486" y="714"/>
                  </a:lnTo>
                  <a:lnTo>
                    <a:pt x="480" y="708"/>
                  </a:lnTo>
                  <a:lnTo>
                    <a:pt x="474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68" y="714"/>
                  </a:lnTo>
                  <a:lnTo>
                    <a:pt x="456" y="714"/>
                  </a:lnTo>
                  <a:lnTo>
                    <a:pt x="450" y="714"/>
                  </a:lnTo>
                  <a:lnTo>
                    <a:pt x="450" y="708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50" y="690"/>
                  </a:lnTo>
                  <a:lnTo>
                    <a:pt x="450" y="684"/>
                  </a:lnTo>
                  <a:lnTo>
                    <a:pt x="450" y="678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56" y="660"/>
                  </a:lnTo>
                  <a:lnTo>
                    <a:pt x="462" y="660"/>
                  </a:lnTo>
                  <a:lnTo>
                    <a:pt x="462" y="654"/>
                  </a:lnTo>
                  <a:lnTo>
                    <a:pt x="456" y="654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48"/>
                  </a:lnTo>
                  <a:lnTo>
                    <a:pt x="444" y="648"/>
                  </a:lnTo>
                  <a:lnTo>
                    <a:pt x="444" y="642"/>
                  </a:lnTo>
                  <a:lnTo>
                    <a:pt x="444" y="636"/>
                  </a:lnTo>
                  <a:lnTo>
                    <a:pt x="450" y="636"/>
                  </a:lnTo>
                  <a:lnTo>
                    <a:pt x="450" y="630"/>
                  </a:lnTo>
                  <a:lnTo>
                    <a:pt x="456" y="630"/>
                  </a:lnTo>
                  <a:lnTo>
                    <a:pt x="462" y="630"/>
                  </a:lnTo>
                  <a:lnTo>
                    <a:pt x="462" y="624"/>
                  </a:lnTo>
                  <a:lnTo>
                    <a:pt x="468" y="624"/>
                  </a:lnTo>
                  <a:lnTo>
                    <a:pt x="474" y="624"/>
                  </a:lnTo>
                  <a:lnTo>
                    <a:pt x="474" y="618"/>
                  </a:lnTo>
                  <a:lnTo>
                    <a:pt x="480" y="618"/>
                  </a:lnTo>
                  <a:lnTo>
                    <a:pt x="486" y="618"/>
                  </a:lnTo>
                  <a:lnTo>
                    <a:pt x="486" y="624"/>
                  </a:lnTo>
                  <a:lnTo>
                    <a:pt x="486" y="636"/>
                  </a:lnTo>
                  <a:lnTo>
                    <a:pt x="486" y="642"/>
                  </a:lnTo>
                  <a:lnTo>
                    <a:pt x="486" y="648"/>
                  </a:lnTo>
                  <a:lnTo>
                    <a:pt x="492" y="648"/>
                  </a:lnTo>
                  <a:lnTo>
                    <a:pt x="492" y="642"/>
                  </a:lnTo>
                  <a:lnTo>
                    <a:pt x="498" y="636"/>
                  </a:lnTo>
                  <a:lnTo>
                    <a:pt x="492" y="636"/>
                  </a:lnTo>
                  <a:lnTo>
                    <a:pt x="492" y="630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6" y="618"/>
                  </a:lnTo>
                  <a:lnTo>
                    <a:pt x="486" y="612"/>
                  </a:lnTo>
                  <a:lnTo>
                    <a:pt x="486" y="606"/>
                  </a:lnTo>
                  <a:lnTo>
                    <a:pt x="480" y="606"/>
                  </a:lnTo>
                  <a:lnTo>
                    <a:pt x="480" y="612"/>
                  </a:lnTo>
                  <a:lnTo>
                    <a:pt x="474" y="618"/>
                  </a:lnTo>
                  <a:lnTo>
                    <a:pt x="468" y="618"/>
                  </a:lnTo>
                  <a:lnTo>
                    <a:pt x="462" y="618"/>
                  </a:lnTo>
                  <a:lnTo>
                    <a:pt x="462" y="612"/>
                  </a:lnTo>
                  <a:lnTo>
                    <a:pt x="456" y="612"/>
                  </a:lnTo>
                  <a:lnTo>
                    <a:pt x="456" y="618"/>
                  </a:lnTo>
                  <a:lnTo>
                    <a:pt x="462" y="618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30"/>
                  </a:lnTo>
                  <a:lnTo>
                    <a:pt x="444" y="630"/>
                  </a:lnTo>
                  <a:lnTo>
                    <a:pt x="444" y="636"/>
                  </a:lnTo>
                  <a:lnTo>
                    <a:pt x="444" y="642"/>
                  </a:lnTo>
                  <a:lnTo>
                    <a:pt x="444" y="654"/>
                  </a:lnTo>
                  <a:lnTo>
                    <a:pt x="444" y="660"/>
                  </a:lnTo>
                  <a:lnTo>
                    <a:pt x="438" y="660"/>
                  </a:lnTo>
                  <a:lnTo>
                    <a:pt x="432" y="660"/>
                  </a:lnTo>
                  <a:lnTo>
                    <a:pt x="432" y="654"/>
                  </a:lnTo>
                  <a:lnTo>
                    <a:pt x="438" y="654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48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26" y="660"/>
                  </a:lnTo>
                  <a:lnTo>
                    <a:pt x="432" y="666"/>
                  </a:lnTo>
                  <a:lnTo>
                    <a:pt x="432" y="672"/>
                  </a:lnTo>
                  <a:lnTo>
                    <a:pt x="438" y="672"/>
                  </a:lnTo>
                  <a:lnTo>
                    <a:pt x="438" y="678"/>
                  </a:lnTo>
                  <a:lnTo>
                    <a:pt x="444" y="678"/>
                  </a:lnTo>
                  <a:lnTo>
                    <a:pt x="444" y="684"/>
                  </a:lnTo>
                  <a:lnTo>
                    <a:pt x="438" y="690"/>
                  </a:lnTo>
                  <a:lnTo>
                    <a:pt x="438" y="696"/>
                  </a:lnTo>
                  <a:lnTo>
                    <a:pt x="438" y="702"/>
                  </a:lnTo>
                  <a:lnTo>
                    <a:pt x="432" y="702"/>
                  </a:lnTo>
                  <a:lnTo>
                    <a:pt x="426" y="702"/>
                  </a:lnTo>
                  <a:lnTo>
                    <a:pt x="426" y="696"/>
                  </a:lnTo>
                  <a:lnTo>
                    <a:pt x="414" y="696"/>
                  </a:lnTo>
                  <a:lnTo>
                    <a:pt x="402" y="696"/>
                  </a:lnTo>
                  <a:lnTo>
                    <a:pt x="402" y="690"/>
                  </a:lnTo>
                  <a:lnTo>
                    <a:pt x="396" y="690"/>
                  </a:lnTo>
                  <a:lnTo>
                    <a:pt x="390" y="690"/>
                  </a:lnTo>
                  <a:lnTo>
                    <a:pt x="384" y="690"/>
                  </a:lnTo>
                  <a:lnTo>
                    <a:pt x="384" y="684"/>
                  </a:lnTo>
                  <a:lnTo>
                    <a:pt x="384" y="678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390" y="660"/>
                  </a:lnTo>
                  <a:lnTo>
                    <a:pt x="390" y="654"/>
                  </a:lnTo>
                  <a:lnTo>
                    <a:pt x="384" y="648"/>
                  </a:lnTo>
                  <a:lnTo>
                    <a:pt x="384" y="642"/>
                  </a:lnTo>
                  <a:lnTo>
                    <a:pt x="378" y="636"/>
                  </a:lnTo>
                  <a:lnTo>
                    <a:pt x="378" y="642"/>
                  </a:lnTo>
                  <a:lnTo>
                    <a:pt x="378" y="648"/>
                  </a:lnTo>
                  <a:lnTo>
                    <a:pt x="372" y="648"/>
                  </a:lnTo>
                  <a:lnTo>
                    <a:pt x="378" y="654"/>
                  </a:lnTo>
                  <a:lnTo>
                    <a:pt x="378" y="660"/>
                  </a:lnTo>
                  <a:lnTo>
                    <a:pt x="378" y="666"/>
                  </a:lnTo>
                  <a:lnTo>
                    <a:pt x="372" y="672"/>
                  </a:lnTo>
                  <a:lnTo>
                    <a:pt x="378" y="672"/>
                  </a:lnTo>
                  <a:lnTo>
                    <a:pt x="378" y="678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54" y="666"/>
                  </a:lnTo>
                  <a:lnTo>
                    <a:pt x="354" y="660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0" y="654"/>
                  </a:lnTo>
                  <a:lnTo>
                    <a:pt x="324" y="648"/>
                  </a:lnTo>
                  <a:lnTo>
                    <a:pt x="318" y="648"/>
                  </a:lnTo>
                  <a:lnTo>
                    <a:pt x="318" y="642"/>
                  </a:lnTo>
                  <a:lnTo>
                    <a:pt x="312" y="642"/>
                  </a:lnTo>
                  <a:lnTo>
                    <a:pt x="306" y="636"/>
                  </a:lnTo>
                  <a:lnTo>
                    <a:pt x="300" y="636"/>
                  </a:lnTo>
                  <a:lnTo>
                    <a:pt x="300" y="630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0" y="618"/>
                  </a:lnTo>
                  <a:lnTo>
                    <a:pt x="306" y="612"/>
                  </a:lnTo>
                  <a:lnTo>
                    <a:pt x="300" y="612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294" y="612"/>
                  </a:lnTo>
                  <a:lnTo>
                    <a:pt x="288" y="618"/>
                  </a:lnTo>
                  <a:lnTo>
                    <a:pt x="288" y="612"/>
                  </a:lnTo>
                  <a:lnTo>
                    <a:pt x="288" y="618"/>
                  </a:lnTo>
                  <a:lnTo>
                    <a:pt x="294" y="618"/>
                  </a:lnTo>
                  <a:lnTo>
                    <a:pt x="300" y="624"/>
                  </a:lnTo>
                  <a:lnTo>
                    <a:pt x="294" y="624"/>
                  </a:lnTo>
                  <a:lnTo>
                    <a:pt x="288" y="624"/>
                  </a:lnTo>
                  <a:lnTo>
                    <a:pt x="282" y="61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70" y="600"/>
                  </a:lnTo>
                  <a:lnTo>
                    <a:pt x="270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82" y="588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594"/>
                  </a:lnTo>
                  <a:lnTo>
                    <a:pt x="264" y="600"/>
                  </a:lnTo>
                  <a:lnTo>
                    <a:pt x="264" y="594"/>
                  </a:lnTo>
                  <a:lnTo>
                    <a:pt x="270" y="594"/>
                  </a:lnTo>
                  <a:lnTo>
                    <a:pt x="270" y="588"/>
                  </a:lnTo>
                  <a:lnTo>
                    <a:pt x="264" y="594"/>
                  </a:lnTo>
                  <a:lnTo>
                    <a:pt x="258" y="594"/>
                  </a:lnTo>
                  <a:lnTo>
                    <a:pt x="258" y="588"/>
                  </a:lnTo>
                  <a:lnTo>
                    <a:pt x="252" y="588"/>
                  </a:lnTo>
                  <a:lnTo>
                    <a:pt x="246" y="588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52" y="588"/>
                  </a:lnTo>
                  <a:lnTo>
                    <a:pt x="252" y="594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46" y="594"/>
                  </a:lnTo>
                  <a:lnTo>
                    <a:pt x="246" y="588"/>
                  </a:lnTo>
                  <a:lnTo>
                    <a:pt x="240" y="588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2" y="570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64"/>
                  </a:lnTo>
                  <a:lnTo>
                    <a:pt x="234" y="564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34" y="558"/>
                  </a:lnTo>
                  <a:lnTo>
                    <a:pt x="228" y="558"/>
                  </a:lnTo>
                  <a:lnTo>
                    <a:pt x="222" y="558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2" y="564"/>
                  </a:lnTo>
                  <a:lnTo>
                    <a:pt x="222" y="558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04" y="546"/>
                  </a:lnTo>
                  <a:lnTo>
                    <a:pt x="204" y="540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10" y="540"/>
                  </a:lnTo>
                  <a:lnTo>
                    <a:pt x="210" y="534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8"/>
                  </a:lnTo>
                  <a:lnTo>
                    <a:pt x="174" y="516"/>
                  </a:lnTo>
                  <a:lnTo>
                    <a:pt x="168" y="510"/>
                  </a:lnTo>
                  <a:lnTo>
                    <a:pt x="162" y="504"/>
                  </a:lnTo>
                  <a:lnTo>
                    <a:pt x="156" y="498"/>
                  </a:lnTo>
                  <a:lnTo>
                    <a:pt x="156" y="492"/>
                  </a:lnTo>
                  <a:lnTo>
                    <a:pt x="150" y="486"/>
                  </a:lnTo>
                  <a:lnTo>
                    <a:pt x="144" y="480"/>
                  </a:lnTo>
                  <a:lnTo>
                    <a:pt x="144" y="474"/>
                  </a:lnTo>
                  <a:lnTo>
                    <a:pt x="138" y="474"/>
                  </a:lnTo>
                  <a:lnTo>
                    <a:pt x="138" y="468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26" y="450"/>
                  </a:lnTo>
                  <a:lnTo>
                    <a:pt x="126" y="444"/>
                  </a:lnTo>
                  <a:lnTo>
                    <a:pt x="114" y="438"/>
                  </a:lnTo>
                  <a:lnTo>
                    <a:pt x="114" y="432"/>
                  </a:lnTo>
                  <a:lnTo>
                    <a:pt x="114" y="426"/>
                  </a:lnTo>
                  <a:lnTo>
                    <a:pt x="114" y="432"/>
                  </a:lnTo>
                  <a:lnTo>
                    <a:pt x="120" y="432"/>
                  </a:lnTo>
                  <a:lnTo>
                    <a:pt x="120" y="438"/>
                  </a:lnTo>
                  <a:lnTo>
                    <a:pt x="120" y="444"/>
                  </a:lnTo>
                  <a:lnTo>
                    <a:pt x="126" y="444"/>
                  </a:lnTo>
                  <a:lnTo>
                    <a:pt x="126" y="438"/>
                  </a:lnTo>
                  <a:lnTo>
                    <a:pt x="120" y="438"/>
                  </a:lnTo>
                  <a:lnTo>
                    <a:pt x="126" y="432"/>
                  </a:lnTo>
                  <a:lnTo>
                    <a:pt x="126" y="426"/>
                  </a:lnTo>
                  <a:lnTo>
                    <a:pt x="132" y="420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08" y="414"/>
                  </a:lnTo>
                  <a:lnTo>
                    <a:pt x="102" y="414"/>
                  </a:lnTo>
                  <a:lnTo>
                    <a:pt x="102" y="408"/>
                  </a:lnTo>
                  <a:lnTo>
                    <a:pt x="96" y="402"/>
                  </a:lnTo>
                  <a:lnTo>
                    <a:pt x="96" y="396"/>
                  </a:lnTo>
                  <a:lnTo>
                    <a:pt x="96" y="390"/>
                  </a:lnTo>
                  <a:lnTo>
                    <a:pt x="90" y="390"/>
                  </a:lnTo>
                  <a:lnTo>
                    <a:pt x="90" y="384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78" y="372"/>
                  </a:lnTo>
                  <a:lnTo>
                    <a:pt x="78" y="366"/>
                  </a:lnTo>
                  <a:lnTo>
                    <a:pt x="78" y="360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6" y="348"/>
                  </a:lnTo>
                  <a:lnTo>
                    <a:pt x="66" y="342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6" y="336"/>
                  </a:lnTo>
                  <a:lnTo>
                    <a:pt x="66" y="342"/>
                  </a:lnTo>
                  <a:lnTo>
                    <a:pt x="72" y="348"/>
                  </a:lnTo>
                  <a:lnTo>
                    <a:pt x="78" y="354"/>
                  </a:lnTo>
                  <a:lnTo>
                    <a:pt x="84" y="360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0" y="360"/>
                  </a:lnTo>
                  <a:lnTo>
                    <a:pt x="84" y="360"/>
                  </a:lnTo>
                  <a:lnTo>
                    <a:pt x="84" y="354"/>
                  </a:lnTo>
                  <a:lnTo>
                    <a:pt x="78" y="348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66" y="330"/>
                  </a:lnTo>
                  <a:lnTo>
                    <a:pt x="66" y="324"/>
                  </a:lnTo>
                  <a:lnTo>
                    <a:pt x="60" y="318"/>
                  </a:lnTo>
                  <a:lnTo>
                    <a:pt x="60" y="312"/>
                  </a:lnTo>
                  <a:lnTo>
                    <a:pt x="54" y="306"/>
                  </a:lnTo>
                  <a:lnTo>
                    <a:pt x="54" y="300"/>
                  </a:lnTo>
                  <a:lnTo>
                    <a:pt x="54" y="294"/>
                  </a:lnTo>
                  <a:lnTo>
                    <a:pt x="48" y="288"/>
                  </a:lnTo>
                  <a:lnTo>
                    <a:pt x="48" y="294"/>
                  </a:lnTo>
                  <a:lnTo>
                    <a:pt x="48" y="288"/>
                  </a:lnTo>
                  <a:lnTo>
                    <a:pt x="48" y="282"/>
                  </a:lnTo>
                  <a:lnTo>
                    <a:pt x="48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18" y="216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62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68"/>
                  </a:lnTo>
                  <a:lnTo>
                    <a:pt x="42" y="168"/>
                  </a:lnTo>
                  <a:lnTo>
                    <a:pt x="42" y="174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86"/>
                  </a:lnTo>
                  <a:close/>
                  <a:moveTo>
                    <a:pt x="642" y="660"/>
                  </a:moveTo>
                  <a:lnTo>
                    <a:pt x="642" y="666"/>
                  </a:lnTo>
                  <a:lnTo>
                    <a:pt x="648" y="666"/>
                  </a:lnTo>
                  <a:lnTo>
                    <a:pt x="648" y="672"/>
                  </a:lnTo>
                  <a:lnTo>
                    <a:pt x="648" y="678"/>
                  </a:lnTo>
                  <a:lnTo>
                    <a:pt x="654" y="678"/>
                  </a:lnTo>
                  <a:lnTo>
                    <a:pt x="654" y="684"/>
                  </a:lnTo>
                  <a:lnTo>
                    <a:pt x="660" y="684"/>
                  </a:lnTo>
                  <a:lnTo>
                    <a:pt x="660" y="690"/>
                  </a:lnTo>
                  <a:lnTo>
                    <a:pt x="654" y="690"/>
                  </a:lnTo>
                  <a:lnTo>
                    <a:pt x="648" y="690"/>
                  </a:lnTo>
                  <a:lnTo>
                    <a:pt x="636" y="696"/>
                  </a:lnTo>
                  <a:lnTo>
                    <a:pt x="630" y="696"/>
                  </a:lnTo>
                  <a:lnTo>
                    <a:pt x="624" y="696"/>
                  </a:lnTo>
                  <a:lnTo>
                    <a:pt x="618" y="696"/>
                  </a:lnTo>
                  <a:lnTo>
                    <a:pt x="612" y="696"/>
                  </a:lnTo>
                  <a:lnTo>
                    <a:pt x="594" y="696"/>
                  </a:lnTo>
                  <a:lnTo>
                    <a:pt x="588" y="696"/>
                  </a:lnTo>
                  <a:lnTo>
                    <a:pt x="582" y="696"/>
                  </a:lnTo>
                  <a:lnTo>
                    <a:pt x="570" y="702"/>
                  </a:lnTo>
                  <a:lnTo>
                    <a:pt x="564" y="702"/>
                  </a:lnTo>
                  <a:lnTo>
                    <a:pt x="558" y="702"/>
                  </a:lnTo>
                  <a:lnTo>
                    <a:pt x="552" y="702"/>
                  </a:lnTo>
                  <a:lnTo>
                    <a:pt x="552" y="696"/>
                  </a:lnTo>
                  <a:lnTo>
                    <a:pt x="546" y="696"/>
                  </a:lnTo>
                  <a:lnTo>
                    <a:pt x="546" y="690"/>
                  </a:lnTo>
                  <a:lnTo>
                    <a:pt x="552" y="684"/>
                  </a:lnTo>
                  <a:lnTo>
                    <a:pt x="552" y="678"/>
                  </a:lnTo>
                  <a:lnTo>
                    <a:pt x="558" y="672"/>
                  </a:lnTo>
                  <a:lnTo>
                    <a:pt x="558" y="666"/>
                  </a:lnTo>
                  <a:lnTo>
                    <a:pt x="564" y="666"/>
                  </a:lnTo>
                  <a:lnTo>
                    <a:pt x="570" y="666"/>
                  </a:lnTo>
                  <a:lnTo>
                    <a:pt x="570" y="654"/>
                  </a:lnTo>
                  <a:lnTo>
                    <a:pt x="570" y="648"/>
                  </a:lnTo>
                  <a:lnTo>
                    <a:pt x="582" y="642"/>
                  </a:lnTo>
                  <a:lnTo>
                    <a:pt x="582" y="636"/>
                  </a:lnTo>
                  <a:lnTo>
                    <a:pt x="588" y="636"/>
                  </a:lnTo>
                  <a:lnTo>
                    <a:pt x="588" y="630"/>
                  </a:lnTo>
                  <a:lnTo>
                    <a:pt x="594" y="624"/>
                  </a:lnTo>
                  <a:lnTo>
                    <a:pt x="594" y="618"/>
                  </a:lnTo>
                  <a:lnTo>
                    <a:pt x="600" y="618"/>
                  </a:lnTo>
                  <a:lnTo>
                    <a:pt x="600" y="612"/>
                  </a:lnTo>
                  <a:lnTo>
                    <a:pt x="606" y="612"/>
                  </a:lnTo>
                  <a:lnTo>
                    <a:pt x="606" y="618"/>
                  </a:lnTo>
                  <a:lnTo>
                    <a:pt x="612" y="618"/>
                  </a:lnTo>
                  <a:lnTo>
                    <a:pt x="618" y="618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18" y="636"/>
                  </a:lnTo>
                  <a:lnTo>
                    <a:pt x="618" y="642"/>
                  </a:lnTo>
                  <a:lnTo>
                    <a:pt x="618" y="648"/>
                  </a:lnTo>
                  <a:lnTo>
                    <a:pt x="624" y="648"/>
                  </a:lnTo>
                  <a:lnTo>
                    <a:pt x="630" y="648"/>
                  </a:lnTo>
                  <a:lnTo>
                    <a:pt x="636" y="654"/>
                  </a:lnTo>
                  <a:lnTo>
                    <a:pt x="642" y="654"/>
                  </a:lnTo>
                  <a:lnTo>
                    <a:pt x="642" y="66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0" name="Freeform 5">
              <a:extLst>
                <a:ext uri="{FF2B5EF4-FFF2-40B4-BE49-F238E27FC236}">
                  <a16:creationId xmlns:a16="http://schemas.microsoft.com/office/drawing/2014/main" id="{5577BDCA-F2C7-42E0-A391-018D79AA29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0384" y="4231013"/>
              <a:ext cx="404750" cy="480848"/>
            </a:xfrm>
            <a:custGeom>
              <a:avLst/>
              <a:gdLst>
                <a:gd name="T0" fmla="*/ 9 w 762"/>
                <a:gd name="T1" fmla="*/ 58 h 900"/>
                <a:gd name="T2" fmla="*/ 4 w 762"/>
                <a:gd name="T3" fmla="*/ 56 h 900"/>
                <a:gd name="T4" fmla="*/ 0 w 762"/>
                <a:gd name="T5" fmla="*/ 49 h 900"/>
                <a:gd name="T6" fmla="*/ 4 w 762"/>
                <a:gd name="T7" fmla="*/ 36 h 900"/>
                <a:gd name="T8" fmla="*/ 8 w 762"/>
                <a:gd name="T9" fmla="*/ 28 h 900"/>
                <a:gd name="T10" fmla="*/ 7 w 762"/>
                <a:gd name="T11" fmla="*/ 13 h 900"/>
                <a:gd name="T12" fmla="*/ 15 w 762"/>
                <a:gd name="T13" fmla="*/ 0 h 900"/>
                <a:gd name="T14" fmla="*/ 16 w 762"/>
                <a:gd name="T15" fmla="*/ 13 h 900"/>
                <a:gd name="T16" fmla="*/ 31 w 762"/>
                <a:gd name="T17" fmla="*/ 28 h 900"/>
                <a:gd name="T18" fmla="*/ 49 w 762"/>
                <a:gd name="T19" fmla="*/ 33 h 900"/>
                <a:gd name="T20" fmla="*/ 42 w 762"/>
                <a:gd name="T21" fmla="*/ 48 h 900"/>
                <a:gd name="T22" fmla="*/ 51 w 762"/>
                <a:gd name="T23" fmla="*/ 48 h 900"/>
                <a:gd name="T24" fmla="*/ 61 w 762"/>
                <a:gd name="T25" fmla="*/ 51 h 900"/>
                <a:gd name="T26" fmla="*/ 63 w 762"/>
                <a:gd name="T27" fmla="*/ 60 h 900"/>
                <a:gd name="T28" fmla="*/ 63 w 762"/>
                <a:gd name="T29" fmla="*/ 66 h 900"/>
                <a:gd name="T30" fmla="*/ 65 w 762"/>
                <a:gd name="T31" fmla="*/ 69 h 900"/>
                <a:gd name="T32" fmla="*/ 66 w 762"/>
                <a:gd name="T33" fmla="*/ 72 h 900"/>
                <a:gd name="T34" fmla="*/ 56 w 762"/>
                <a:gd name="T35" fmla="*/ 73 h 900"/>
                <a:gd name="T36" fmla="*/ 55 w 762"/>
                <a:gd name="T37" fmla="*/ 69 h 900"/>
                <a:gd name="T38" fmla="*/ 57 w 762"/>
                <a:gd name="T39" fmla="*/ 67 h 900"/>
                <a:gd name="T40" fmla="*/ 55 w 762"/>
                <a:gd name="T41" fmla="*/ 65 h 900"/>
                <a:gd name="T42" fmla="*/ 53 w 762"/>
                <a:gd name="T43" fmla="*/ 68 h 900"/>
                <a:gd name="T44" fmla="*/ 49 w 762"/>
                <a:gd name="T45" fmla="*/ 68 h 900"/>
                <a:gd name="T46" fmla="*/ 44 w 762"/>
                <a:gd name="T47" fmla="*/ 63 h 900"/>
                <a:gd name="T48" fmla="*/ 40 w 762"/>
                <a:gd name="T49" fmla="*/ 59 h 900"/>
                <a:gd name="T50" fmla="*/ 38 w 762"/>
                <a:gd name="T51" fmla="*/ 57 h 900"/>
                <a:gd name="T52" fmla="*/ 43 w 762"/>
                <a:gd name="T53" fmla="*/ 62 h 900"/>
                <a:gd name="T54" fmla="*/ 43 w 762"/>
                <a:gd name="T55" fmla="*/ 66 h 900"/>
                <a:gd name="T56" fmla="*/ 41 w 762"/>
                <a:gd name="T57" fmla="*/ 71 h 900"/>
                <a:gd name="T58" fmla="*/ 37 w 762"/>
                <a:gd name="T59" fmla="*/ 69 h 900"/>
                <a:gd name="T60" fmla="*/ 35 w 762"/>
                <a:gd name="T61" fmla="*/ 64 h 900"/>
                <a:gd name="T62" fmla="*/ 31 w 762"/>
                <a:gd name="T63" fmla="*/ 57 h 900"/>
                <a:gd name="T64" fmla="*/ 30 w 762"/>
                <a:gd name="T65" fmla="*/ 62 h 900"/>
                <a:gd name="T66" fmla="*/ 29 w 762"/>
                <a:gd name="T67" fmla="*/ 61 h 900"/>
                <a:gd name="T68" fmla="*/ 31 w 762"/>
                <a:gd name="T69" fmla="*/ 66 h 900"/>
                <a:gd name="T70" fmla="*/ 33 w 762"/>
                <a:gd name="T71" fmla="*/ 72 h 900"/>
                <a:gd name="T72" fmla="*/ 32 w 762"/>
                <a:gd name="T73" fmla="*/ 76 h 900"/>
                <a:gd name="T74" fmla="*/ 28 w 762"/>
                <a:gd name="T75" fmla="*/ 75 h 900"/>
                <a:gd name="T76" fmla="*/ 24 w 762"/>
                <a:gd name="T77" fmla="*/ 69 h 900"/>
                <a:gd name="T78" fmla="*/ 24 w 762"/>
                <a:gd name="T79" fmla="*/ 62 h 900"/>
                <a:gd name="T80" fmla="*/ 23 w 762"/>
                <a:gd name="T81" fmla="*/ 62 h 900"/>
                <a:gd name="T82" fmla="*/ 23 w 762"/>
                <a:gd name="T83" fmla="*/ 68 h 900"/>
                <a:gd name="T84" fmla="*/ 25 w 762"/>
                <a:gd name="T85" fmla="*/ 77 h 900"/>
                <a:gd name="T86" fmla="*/ 17 w 762"/>
                <a:gd name="T87" fmla="*/ 74 h 900"/>
                <a:gd name="T88" fmla="*/ 17 w 762"/>
                <a:gd name="T89" fmla="*/ 67 h 900"/>
                <a:gd name="T90" fmla="*/ 16 w 762"/>
                <a:gd name="T91" fmla="*/ 67 h 900"/>
                <a:gd name="T92" fmla="*/ 15 w 762"/>
                <a:gd name="T93" fmla="*/ 71 h 900"/>
                <a:gd name="T94" fmla="*/ 12 w 762"/>
                <a:gd name="T95" fmla="*/ 68 h 900"/>
                <a:gd name="T96" fmla="*/ 15 w 762"/>
                <a:gd name="T97" fmla="*/ 72 h 900"/>
                <a:gd name="T98" fmla="*/ 17 w 762"/>
                <a:gd name="T99" fmla="*/ 77 h 900"/>
                <a:gd name="T100" fmla="*/ 11 w 762"/>
                <a:gd name="T101" fmla="*/ 77 h 900"/>
                <a:gd name="T102" fmla="*/ 10 w 762"/>
                <a:gd name="T103" fmla="*/ 69 h 900"/>
                <a:gd name="T104" fmla="*/ 11 w 762"/>
                <a:gd name="T105" fmla="*/ 72 h 900"/>
                <a:gd name="T106" fmla="*/ 9 w 762"/>
                <a:gd name="T107" fmla="*/ 78 h 900"/>
                <a:gd name="T108" fmla="*/ 43 w 762"/>
                <a:gd name="T109" fmla="*/ 71 h 900"/>
                <a:gd name="T110" fmla="*/ 51 w 762"/>
                <a:gd name="T111" fmla="*/ 69 h 900"/>
                <a:gd name="T112" fmla="*/ 43 w 762"/>
                <a:gd name="T113" fmla="*/ 76 h 900"/>
                <a:gd name="T114" fmla="*/ 36 w 762"/>
                <a:gd name="T115" fmla="*/ 65 h 900"/>
                <a:gd name="T116" fmla="*/ 38 w 762"/>
                <a:gd name="T117" fmla="*/ 72 h 900"/>
                <a:gd name="T118" fmla="*/ 34 w 762"/>
                <a:gd name="T119" fmla="*/ 69 h 900"/>
                <a:gd name="T120" fmla="*/ 29 w 762"/>
                <a:gd name="T121" fmla="*/ 64 h 900"/>
                <a:gd name="T122" fmla="*/ 32 w 762"/>
                <a:gd name="T123" fmla="*/ 66 h 9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900"/>
                <a:gd name="T188" fmla="*/ 762 w 762"/>
                <a:gd name="T189" fmla="*/ 900 h 90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900">
                  <a:moveTo>
                    <a:pt x="90" y="768"/>
                  </a:moveTo>
                  <a:lnTo>
                    <a:pt x="102" y="756"/>
                  </a:lnTo>
                  <a:lnTo>
                    <a:pt x="102" y="750"/>
                  </a:lnTo>
                  <a:lnTo>
                    <a:pt x="90" y="744"/>
                  </a:lnTo>
                  <a:lnTo>
                    <a:pt x="84" y="738"/>
                  </a:lnTo>
                  <a:lnTo>
                    <a:pt x="90" y="726"/>
                  </a:lnTo>
                  <a:lnTo>
                    <a:pt x="84" y="720"/>
                  </a:lnTo>
                  <a:lnTo>
                    <a:pt x="78" y="720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72" y="702"/>
                  </a:lnTo>
                  <a:lnTo>
                    <a:pt x="72" y="696"/>
                  </a:lnTo>
                  <a:lnTo>
                    <a:pt x="84" y="684"/>
                  </a:lnTo>
                  <a:lnTo>
                    <a:pt x="96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102" y="654"/>
                  </a:lnTo>
                  <a:lnTo>
                    <a:pt x="108" y="654"/>
                  </a:lnTo>
                  <a:lnTo>
                    <a:pt x="114" y="648"/>
                  </a:lnTo>
                  <a:lnTo>
                    <a:pt x="120" y="642"/>
                  </a:lnTo>
                  <a:lnTo>
                    <a:pt x="120" y="636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14" y="618"/>
                  </a:lnTo>
                  <a:lnTo>
                    <a:pt x="102" y="618"/>
                  </a:lnTo>
                  <a:lnTo>
                    <a:pt x="90" y="618"/>
                  </a:lnTo>
                  <a:lnTo>
                    <a:pt x="78" y="624"/>
                  </a:lnTo>
                  <a:lnTo>
                    <a:pt x="72" y="630"/>
                  </a:lnTo>
                  <a:lnTo>
                    <a:pt x="54" y="642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42" y="642"/>
                  </a:lnTo>
                  <a:lnTo>
                    <a:pt x="42" y="636"/>
                  </a:lnTo>
                  <a:lnTo>
                    <a:pt x="36" y="636"/>
                  </a:lnTo>
                  <a:lnTo>
                    <a:pt x="30" y="642"/>
                  </a:lnTo>
                  <a:lnTo>
                    <a:pt x="30" y="636"/>
                  </a:lnTo>
                  <a:lnTo>
                    <a:pt x="30" y="630"/>
                  </a:lnTo>
                  <a:lnTo>
                    <a:pt x="24" y="630"/>
                  </a:lnTo>
                  <a:lnTo>
                    <a:pt x="30" y="624"/>
                  </a:lnTo>
                  <a:lnTo>
                    <a:pt x="30" y="618"/>
                  </a:lnTo>
                  <a:lnTo>
                    <a:pt x="30" y="612"/>
                  </a:lnTo>
                  <a:lnTo>
                    <a:pt x="36" y="612"/>
                  </a:lnTo>
                  <a:lnTo>
                    <a:pt x="36" y="606"/>
                  </a:lnTo>
                  <a:lnTo>
                    <a:pt x="30" y="606"/>
                  </a:lnTo>
                  <a:lnTo>
                    <a:pt x="24" y="612"/>
                  </a:lnTo>
                  <a:lnTo>
                    <a:pt x="18" y="606"/>
                  </a:lnTo>
                  <a:lnTo>
                    <a:pt x="12" y="594"/>
                  </a:lnTo>
                  <a:lnTo>
                    <a:pt x="6" y="582"/>
                  </a:lnTo>
                  <a:lnTo>
                    <a:pt x="6" y="570"/>
                  </a:lnTo>
                  <a:lnTo>
                    <a:pt x="0" y="558"/>
                  </a:lnTo>
                  <a:lnTo>
                    <a:pt x="6" y="552"/>
                  </a:lnTo>
                  <a:lnTo>
                    <a:pt x="6" y="534"/>
                  </a:lnTo>
                  <a:lnTo>
                    <a:pt x="18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12" y="480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54" y="408"/>
                  </a:lnTo>
                  <a:lnTo>
                    <a:pt x="54" y="396"/>
                  </a:lnTo>
                  <a:lnTo>
                    <a:pt x="54" y="384"/>
                  </a:lnTo>
                  <a:lnTo>
                    <a:pt x="60" y="378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66"/>
                  </a:lnTo>
                  <a:lnTo>
                    <a:pt x="60" y="360"/>
                  </a:lnTo>
                  <a:lnTo>
                    <a:pt x="66" y="360"/>
                  </a:lnTo>
                  <a:lnTo>
                    <a:pt x="72" y="354"/>
                  </a:lnTo>
                  <a:lnTo>
                    <a:pt x="78" y="354"/>
                  </a:lnTo>
                  <a:lnTo>
                    <a:pt x="84" y="348"/>
                  </a:lnTo>
                  <a:lnTo>
                    <a:pt x="96" y="348"/>
                  </a:lnTo>
                  <a:lnTo>
                    <a:pt x="96" y="342"/>
                  </a:lnTo>
                  <a:lnTo>
                    <a:pt x="96" y="336"/>
                  </a:lnTo>
                  <a:lnTo>
                    <a:pt x="96" y="330"/>
                  </a:lnTo>
                  <a:lnTo>
                    <a:pt x="96" y="324"/>
                  </a:lnTo>
                  <a:lnTo>
                    <a:pt x="102" y="318"/>
                  </a:lnTo>
                  <a:lnTo>
                    <a:pt x="108" y="312"/>
                  </a:lnTo>
                  <a:lnTo>
                    <a:pt x="96" y="306"/>
                  </a:lnTo>
                  <a:lnTo>
                    <a:pt x="84" y="288"/>
                  </a:lnTo>
                  <a:lnTo>
                    <a:pt x="108" y="258"/>
                  </a:lnTo>
                  <a:lnTo>
                    <a:pt x="102" y="222"/>
                  </a:lnTo>
                  <a:lnTo>
                    <a:pt x="84" y="222"/>
                  </a:lnTo>
                  <a:lnTo>
                    <a:pt x="54" y="216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2"/>
                  </a:lnTo>
                  <a:lnTo>
                    <a:pt x="72" y="192"/>
                  </a:lnTo>
                  <a:lnTo>
                    <a:pt x="84" y="186"/>
                  </a:lnTo>
                  <a:lnTo>
                    <a:pt x="90" y="186"/>
                  </a:lnTo>
                  <a:lnTo>
                    <a:pt x="90" y="174"/>
                  </a:lnTo>
                  <a:lnTo>
                    <a:pt x="84" y="162"/>
                  </a:lnTo>
                  <a:lnTo>
                    <a:pt x="84" y="150"/>
                  </a:lnTo>
                  <a:lnTo>
                    <a:pt x="84" y="126"/>
                  </a:lnTo>
                  <a:lnTo>
                    <a:pt x="84" y="114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8" y="96"/>
                  </a:lnTo>
                  <a:lnTo>
                    <a:pt x="120" y="90"/>
                  </a:lnTo>
                  <a:lnTo>
                    <a:pt x="126" y="78"/>
                  </a:lnTo>
                  <a:lnTo>
                    <a:pt x="138" y="66"/>
                  </a:lnTo>
                  <a:lnTo>
                    <a:pt x="138" y="48"/>
                  </a:lnTo>
                  <a:lnTo>
                    <a:pt x="138" y="42"/>
                  </a:lnTo>
                  <a:lnTo>
                    <a:pt x="126" y="30"/>
                  </a:lnTo>
                  <a:lnTo>
                    <a:pt x="120" y="18"/>
                  </a:lnTo>
                  <a:lnTo>
                    <a:pt x="132" y="12"/>
                  </a:lnTo>
                  <a:lnTo>
                    <a:pt x="144" y="0"/>
                  </a:lnTo>
                  <a:lnTo>
                    <a:pt x="150" y="6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6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74" y="66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68" y="72"/>
                  </a:lnTo>
                  <a:lnTo>
                    <a:pt x="156" y="150"/>
                  </a:lnTo>
                  <a:lnTo>
                    <a:pt x="168" y="144"/>
                  </a:lnTo>
                  <a:lnTo>
                    <a:pt x="180" y="150"/>
                  </a:lnTo>
                  <a:lnTo>
                    <a:pt x="186" y="150"/>
                  </a:lnTo>
                  <a:lnTo>
                    <a:pt x="186" y="144"/>
                  </a:lnTo>
                  <a:lnTo>
                    <a:pt x="192" y="150"/>
                  </a:lnTo>
                  <a:lnTo>
                    <a:pt x="222" y="150"/>
                  </a:lnTo>
                  <a:lnTo>
                    <a:pt x="222" y="168"/>
                  </a:lnTo>
                  <a:lnTo>
                    <a:pt x="222" y="186"/>
                  </a:lnTo>
                  <a:lnTo>
                    <a:pt x="234" y="198"/>
                  </a:lnTo>
                  <a:lnTo>
                    <a:pt x="234" y="234"/>
                  </a:lnTo>
                  <a:lnTo>
                    <a:pt x="228" y="270"/>
                  </a:lnTo>
                  <a:lnTo>
                    <a:pt x="246" y="282"/>
                  </a:lnTo>
                  <a:lnTo>
                    <a:pt x="258" y="294"/>
                  </a:lnTo>
                  <a:lnTo>
                    <a:pt x="270" y="300"/>
                  </a:lnTo>
                  <a:lnTo>
                    <a:pt x="294" y="300"/>
                  </a:lnTo>
                  <a:lnTo>
                    <a:pt x="288" y="306"/>
                  </a:lnTo>
                  <a:lnTo>
                    <a:pt x="300" y="312"/>
                  </a:lnTo>
                  <a:lnTo>
                    <a:pt x="306" y="318"/>
                  </a:lnTo>
                  <a:lnTo>
                    <a:pt x="324" y="324"/>
                  </a:lnTo>
                  <a:lnTo>
                    <a:pt x="354" y="318"/>
                  </a:lnTo>
                  <a:lnTo>
                    <a:pt x="354" y="312"/>
                  </a:lnTo>
                  <a:lnTo>
                    <a:pt x="366" y="312"/>
                  </a:lnTo>
                  <a:lnTo>
                    <a:pt x="384" y="312"/>
                  </a:lnTo>
                  <a:lnTo>
                    <a:pt x="390" y="306"/>
                  </a:lnTo>
                  <a:lnTo>
                    <a:pt x="396" y="306"/>
                  </a:lnTo>
                  <a:lnTo>
                    <a:pt x="408" y="306"/>
                  </a:lnTo>
                  <a:lnTo>
                    <a:pt x="426" y="312"/>
                  </a:lnTo>
                  <a:lnTo>
                    <a:pt x="456" y="324"/>
                  </a:lnTo>
                  <a:lnTo>
                    <a:pt x="504" y="330"/>
                  </a:lnTo>
                  <a:lnTo>
                    <a:pt x="510" y="336"/>
                  </a:lnTo>
                  <a:lnTo>
                    <a:pt x="534" y="336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58" y="330"/>
                  </a:lnTo>
                  <a:lnTo>
                    <a:pt x="564" y="330"/>
                  </a:lnTo>
                  <a:lnTo>
                    <a:pt x="570" y="354"/>
                  </a:lnTo>
                  <a:lnTo>
                    <a:pt x="564" y="378"/>
                  </a:lnTo>
                  <a:lnTo>
                    <a:pt x="558" y="396"/>
                  </a:lnTo>
                  <a:lnTo>
                    <a:pt x="546" y="414"/>
                  </a:lnTo>
                  <a:lnTo>
                    <a:pt x="546" y="438"/>
                  </a:lnTo>
                  <a:lnTo>
                    <a:pt x="540" y="456"/>
                  </a:lnTo>
                  <a:lnTo>
                    <a:pt x="540" y="474"/>
                  </a:lnTo>
                  <a:lnTo>
                    <a:pt x="528" y="480"/>
                  </a:lnTo>
                  <a:lnTo>
                    <a:pt x="522" y="492"/>
                  </a:lnTo>
                  <a:lnTo>
                    <a:pt x="504" y="498"/>
                  </a:lnTo>
                  <a:lnTo>
                    <a:pt x="498" y="498"/>
                  </a:lnTo>
                  <a:lnTo>
                    <a:pt x="492" y="504"/>
                  </a:lnTo>
                  <a:lnTo>
                    <a:pt x="486" y="510"/>
                  </a:lnTo>
                  <a:lnTo>
                    <a:pt x="480" y="510"/>
                  </a:lnTo>
                  <a:lnTo>
                    <a:pt x="480" y="516"/>
                  </a:lnTo>
                  <a:lnTo>
                    <a:pt x="474" y="522"/>
                  </a:lnTo>
                  <a:lnTo>
                    <a:pt x="474" y="528"/>
                  </a:lnTo>
                  <a:lnTo>
                    <a:pt x="474" y="534"/>
                  </a:lnTo>
                  <a:lnTo>
                    <a:pt x="480" y="540"/>
                  </a:lnTo>
                  <a:lnTo>
                    <a:pt x="492" y="540"/>
                  </a:lnTo>
                  <a:lnTo>
                    <a:pt x="498" y="546"/>
                  </a:lnTo>
                  <a:lnTo>
                    <a:pt x="504" y="552"/>
                  </a:lnTo>
                  <a:lnTo>
                    <a:pt x="510" y="552"/>
                  </a:lnTo>
                  <a:lnTo>
                    <a:pt x="516" y="558"/>
                  </a:lnTo>
                  <a:lnTo>
                    <a:pt x="528" y="558"/>
                  </a:lnTo>
                  <a:lnTo>
                    <a:pt x="534" y="552"/>
                  </a:lnTo>
                  <a:lnTo>
                    <a:pt x="540" y="552"/>
                  </a:lnTo>
                  <a:lnTo>
                    <a:pt x="546" y="552"/>
                  </a:lnTo>
                  <a:lnTo>
                    <a:pt x="558" y="546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70" y="546"/>
                  </a:lnTo>
                  <a:lnTo>
                    <a:pt x="570" y="540"/>
                  </a:lnTo>
                  <a:lnTo>
                    <a:pt x="570" y="546"/>
                  </a:lnTo>
                  <a:lnTo>
                    <a:pt x="576" y="546"/>
                  </a:lnTo>
                  <a:lnTo>
                    <a:pt x="582" y="546"/>
                  </a:lnTo>
                  <a:lnTo>
                    <a:pt x="588" y="540"/>
                  </a:lnTo>
                  <a:lnTo>
                    <a:pt x="594" y="546"/>
                  </a:lnTo>
                  <a:lnTo>
                    <a:pt x="606" y="546"/>
                  </a:lnTo>
                  <a:lnTo>
                    <a:pt x="612" y="546"/>
                  </a:lnTo>
                  <a:lnTo>
                    <a:pt x="612" y="552"/>
                  </a:lnTo>
                  <a:lnTo>
                    <a:pt x="618" y="552"/>
                  </a:lnTo>
                  <a:lnTo>
                    <a:pt x="624" y="552"/>
                  </a:lnTo>
                  <a:lnTo>
                    <a:pt x="630" y="552"/>
                  </a:lnTo>
                  <a:lnTo>
                    <a:pt x="648" y="546"/>
                  </a:lnTo>
                  <a:lnTo>
                    <a:pt x="654" y="546"/>
                  </a:lnTo>
                  <a:lnTo>
                    <a:pt x="654" y="552"/>
                  </a:lnTo>
                  <a:lnTo>
                    <a:pt x="660" y="558"/>
                  </a:lnTo>
                  <a:lnTo>
                    <a:pt x="666" y="564"/>
                  </a:lnTo>
                  <a:lnTo>
                    <a:pt x="672" y="564"/>
                  </a:lnTo>
                  <a:lnTo>
                    <a:pt x="678" y="564"/>
                  </a:lnTo>
                  <a:lnTo>
                    <a:pt x="696" y="576"/>
                  </a:lnTo>
                  <a:lnTo>
                    <a:pt x="696" y="582"/>
                  </a:lnTo>
                  <a:lnTo>
                    <a:pt x="708" y="588"/>
                  </a:lnTo>
                  <a:lnTo>
                    <a:pt x="708" y="594"/>
                  </a:lnTo>
                  <a:lnTo>
                    <a:pt x="720" y="606"/>
                  </a:lnTo>
                  <a:lnTo>
                    <a:pt x="720" y="618"/>
                  </a:lnTo>
                  <a:lnTo>
                    <a:pt x="720" y="624"/>
                  </a:lnTo>
                  <a:lnTo>
                    <a:pt x="726" y="630"/>
                  </a:lnTo>
                  <a:lnTo>
                    <a:pt x="732" y="636"/>
                  </a:lnTo>
                  <a:lnTo>
                    <a:pt x="732" y="642"/>
                  </a:lnTo>
                  <a:lnTo>
                    <a:pt x="732" y="648"/>
                  </a:lnTo>
                  <a:lnTo>
                    <a:pt x="726" y="654"/>
                  </a:lnTo>
                  <a:lnTo>
                    <a:pt x="720" y="660"/>
                  </a:lnTo>
                  <a:lnTo>
                    <a:pt x="714" y="666"/>
                  </a:lnTo>
                  <a:lnTo>
                    <a:pt x="714" y="672"/>
                  </a:lnTo>
                  <a:lnTo>
                    <a:pt x="714" y="678"/>
                  </a:lnTo>
                  <a:lnTo>
                    <a:pt x="720" y="678"/>
                  </a:lnTo>
                  <a:lnTo>
                    <a:pt x="720" y="684"/>
                  </a:lnTo>
                  <a:lnTo>
                    <a:pt x="714" y="690"/>
                  </a:lnTo>
                  <a:lnTo>
                    <a:pt x="714" y="696"/>
                  </a:lnTo>
                  <a:lnTo>
                    <a:pt x="714" y="702"/>
                  </a:lnTo>
                  <a:lnTo>
                    <a:pt x="714" y="708"/>
                  </a:lnTo>
                  <a:lnTo>
                    <a:pt x="720" y="708"/>
                  </a:lnTo>
                  <a:lnTo>
                    <a:pt x="720" y="720"/>
                  </a:lnTo>
                  <a:lnTo>
                    <a:pt x="720" y="726"/>
                  </a:lnTo>
                  <a:lnTo>
                    <a:pt x="726" y="726"/>
                  </a:lnTo>
                  <a:lnTo>
                    <a:pt x="726" y="732"/>
                  </a:lnTo>
                  <a:lnTo>
                    <a:pt x="732" y="732"/>
                  </a:lnTo>
                  <a:lnTo>
                    <a:pt x="732" y="738"/>
                  </a:lnTo>
                  <a:lnTo>
                    <a:pt x="726" y="738"/>
                  </a:lnTo>
                  <a:lnTo>
                    <a:pt x="720" y="738"/>
                  </a:lnTo>
                  <a:lnTo>
                    <a:pt x="720" y="744"/>
                  </a:lnTo>
                  <a:lnTo>
                    <a:pt x="720" y="750"/>
                  </a:lnTo>
                  <a:lnTo>
                    <a:pt x="714" y="750"/>
                  </a:lnTo>
                  <a:lnTo>
                    <a:pt x="714" y="756"/>
                  </a:lnTo>
                  <a:lnTo>
                    <a:pt x="720" y="756"/>
                  </a:lnTo>
                  <a:lnTo>
                    <a:pt x="714" y="762"/>
                  </a:lnTo>
                  <a:lnTo>
                    <a:pt x="720" y="762"/>
                  </a:lnTo>
                  <a:lnTo>
                    <a:pt x="726" y="768"/>
                  </a:lnTo>
                  <a:lnTo>
                    <a:pt x="726" y="774"/>
                  </a:lnTo>
                  <a:lnTo>
                    <a:pt x="732" y="774"/>
                  </a:lnTo>
                  <a:lnTo>
                    <a:pt x="732" y="780"/>
                  </a:lnTo>
                  <a:lnTo>
                    <a:pt x="726" y="780"/>
                  </a:lnTo>
                  <a:lnTo>
                    <a:pt x="726" y="786"/>
                  </a:lnTo>
                  <a:lnTo>
                    <a:pt x="720" y="786"/>
                  </a:lnTo>
                  <a:lnTo>
                    <a:pt x="726" y="786"/>
                  </a:lnTo>
                  <a:lnTo>
                    <a:pt x="732" y="780"/>
                  </a:lnTo>
                  <a:lnTo>
                    <a:pt x="738" y="780"/>
                  </a:lnTo>
                  <a:lnTo>
                    <a:pt x="744" y="780"/>
                  </a:lnTo>
                  <a:lnTo>
                    <a:pt x="744" y="786"/>
                  </a:lnTo>
                  <a:lnTo>
                    <a:pt x="750" y="786"/>
                  </a:lnTo>
                  <a:lnTo>
                    <a:pt x="744" y="786"/>
                  </a:lnTo>
                  <a:lnTo>
                    <a:pt x="744" y="792"/>
                  </a:lnTo>
                  <a:lnTo>
                    <a:pt x="744" y="786"/>
                  </a:lnTo>
                  <a:lnTo>
                    <a:pt x="738" y="792"/>
                  </a:lnTo>
                  <a:lnTo>
                    <a:pt x="744" y="792"/>
                  </a:lnTo>
                  <a:lnTo>
                    <a:pt x="750" y="792"/>
                  </a:lnTo>
                  <a:lnTo>
                    <a:pt x="750" y="786"/>
                  </a:lnTo>
                  <a:lnTo>
                    <a:pt x="756" y="786"/>
                  </a:lnTo>
                  <a:lnTo>
                    <a:pt x="756" y="792"/>
                  </a:lnTo>
                  <a:lnTo>
                    <a:pt x="762" y="792"/>
                  </a:lnTo>
                  <a:lnTo>
                    <a:pt x="756" y="798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0" y="810"/>
                  </a:lnTo>
                  <a:lnTo>
                    <a:pt x="756" y="810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6" y="816"/>
                  </a:lnTo>
                  <a:lnTo>
                    <a:pt x="750" y="816"/>
                  </a:lnTo>
                  <a:lnTo>
                    <a:pt x="738" y="810"/>
                  </a:lnTo>
                  <a:lnTo>
                    <a:pt x="732" y="810"/>
                  </a:lnTo>
                  <a:lnTo>
                    <a:pt x="732" y="816"/>
                  </a:lnTo>
                  <a:lnTo>
                    <a:pt x="726" y="810"/>
                  </a:lnTo>
                  <a:lnTo>
                    <a:pt x="714" y="816"/>
                  </a:lnTo>
                  <a:lnTo>
                    <a:pt x="708" y="816"/>
                  </a:lnTo>
                  <a:lnTo>
                    <a:pt x="702" y="816"/>
                  </a:lnTo>
                  <a:lnTo>
                    <a:pt x="696" y="816"/>
                  </a:lnTo>
                  <a:lnTo>
                    <a:pt x="690" y="822"/>
                  </a:lnTo>
                  <a:lnTo>
                    <a:pt x="684" y="822"/>
                  </a:lnTo>
                  <a:lnTo>
                    <a:pt x="678" y="822"/>
                  </a:lnTo>
                  <a:lnTo>
                    <a:pt x="672" y="822"/>
                  </a:lnTo>
                  <a:lnTo>
                    <a:pt x="666" y="822"/>
                  </a:lnTo>
                  <a:lnTo>
                    <a:pt x="666" y="828"/>
                  </a:lnTo>
                  <a:lnTo>
                    <a:pt x="654" y="828"/>
                  </a:lnTo>
                  <a:lnTo>
                    <a:pt x="648" y="828"/>
                  </a:lnTo>
                  <a:lnTo>
                    <a:pt x="642" y="828"/>
                  </a:lnTo>
                  <a:lnTo>
                    <a:pt x="630" y="828"/>
                  </a:lnTo>
                  <a:lnTo>
                    <a:pt x="624" y="822"/>
                  </a:lnTo>
                  <a:lnTo>
                    <a:pt x="618" y="822"/>
                  </a:lnTo>
                  <a:lnTo>
                    <a:pt x="612" y="822"/>
                  </a:lnTo>
                  <a:lnTo>
                    <a:pt x="606" y="822"/>
                  </a:lnTo>
                  <a:lnTo>
                    <a:pt x="600" y="822"/>
                  </a:lnTo>
                  <a:lnTo>
                    <a:pt x="594" y="822"/>
                  </a:lnTo>
                  <a:lnTo>
                    <a:pt x="594" y="816"/>
                  </a:lnTo>
                  <a:lnTo>
                    <a:pt x="594" y="810"/>
                  </a:lnTo>
                  <a:lnTo>
                    <a:pt x="600" y="804"/>
                  </a:lnTo>
                  <a:lnTo>
                    <a:pt x="600" y="798"/>
                  </a:lnTo>
                  <a:lnTo>
                    <a:pt x="600" y="792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2" y="786"/>
                  </a:lnTo>
                  <a:lnTo>
                    <a:pt x="618" y="786"/>
                  </a:lnTo>
                  <a:lnTo>
                    <a:pt x="624" y="786"/>
                  </a:lnTo>
                  <a:lnTo>
                    <a:pt x="624" y="780"/>
                  </a:lnTo>
                  <a:lnTo>
                    <a:pt x="630" y="780"/>
                  </a:lnTo>
                  <a:lnTo>
                    <a:pt x="630" y="774"/>
                  </a:lnTo>
                  <a:lnTo>
                    <a:pt x="636" y="774"/>
                  </a:lnTo>
                  <a:lnTo>
                    <a:pt x="642" y="780"/>
                  </a:lnTo>
                  <a:lnTo>
                    <a:pt x="642" y="786"/>
                  </a:lnTo>
                  <a:lnTo>
                    <a:pt x="642" y="792"/>
                  </a:lnTo>
                  <a:lnTo>
                    <a:pt x="648" y="792"/>
                  </a:lnTo>
                  <a:lnTo>
                    <a:pt x="648" y="786"/>
                  </a:lnTo>
                  <a:lnTo>
                    <a:pt x="642" y="786"/>
                  </a:lnTo>
                  <a:lnTo>
                    <a:pt x="642" y="780"/>
                  </a:lnTo>
                  <a:lnTo>
                    <a:pt x="642" y="774"/>
                  </a:lnTo>
                  <a:lnTo>
                    <a:pt x="648" y="768"/>
                  </a:lnTo>
                  <a:lnTo>
                    <a:pt x="642" y="768"/>
                  </a:lnTo>
                  <a:lnTo>
                    <a:pt x="648" y="768"/>
                  </a:lnTo>
                  <a:lnTo>
                    <a:pt x="648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66" y="762"/>
                  </a:lnTo>
                  <a:lnTo>
                    <a:pt x="672" y="756"/>
                  </a:lnTo>
                  <a:lnTo>
                    <a:pt x="666" y="756"/>
                  </a:lnTo>
                  <a:lnTo>
                    <a:pt x="660" y="756"/>
                  </a:lnTo>
                  <a:lnTo>
                    <a:pt x="660" y="750"/>
                  </a:lnTo>
                  <a:lnTo>
                    <a:pt x="654" y="750"/>
                  </a:lnTo>
                  <a:lnTo>
                    <a:pt x="648" y="750"/>
                  </a:lnTo>
                  <a:lnTo>
                    <a:pt x="648" y="756"/>
                  </a:lnTo>
                  <a:lnTo>
                    <a:pt x="642" y="756"/>
                  </a:lnTo>
                  <a:lnTo>
                    <a:pt x="642" y="750"/>
                  </a:lnTo>
                  <a:lnTo>
                    <a:pt x="642" y="744"/>
                  </a:lnTo>
                  <a:lnTo>
                    <a:pt x="642" y="750"/>
                  </a:lnTo>
                  <a:lnTo>
                    <a:pt x="636" y="750"/>
                  </a:lnTo>
                  <a:lnTo>
                    <a:pt x="636" y="744"/>
                  </a:lnTo>
                  <a:lnTo>
                    <a:pt x="630" y="744"/>
                  </a:lnTo>
                  <a:lnTo>
                    <a:pt x="630" y="738"/>
                  </a:lnTo>
                  <a:lnTo>
                    <a:pt x="630" y="744"/>
                  </a:lnTo>
                  <a:lnTo>
                    <a:pt x="630" y="750"/>
                  </a:lnTo>
                  <a:lnTo>
                    <a:pt x="636" y="750"/>
                  </a:lnTo>
                  <a:lnTo>
                    <a:pt x="636" y="756"/>
                  </a:lnTo>
                  <a:lnTo>
                    <a:pt x="630" y="756"/>
                  </a:lnTo>
                  <a:lnTo>
                    <a:pt x="636" y="762"/>
                  </a:lnTo>
                  <a:lnTo>
                    <a:pt x="630" y="762"/>
                  </a:lnTo>
                  <a:lnTo>
                    <a:pt x="624" y="762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24" y="786"/>
                  </a:lnTo>
                  <a:lnTo>
                    <a:pt x="618" y="786"/>
                  </a:lnTo>
                  <a:lnTo>
                    <a:pt x="618" y="78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12" y="774"/>
                  </a:lnTo>
                  <a:lnTo>
                    <a:pt x="612" y="780"/>
                  </a:lnTo>
                  <a:lnTo>
                    <a:pt x="606" y="780"/>
                  </a:lnTo>
                  <a:lnTo>
                    <a:pt x="600" y="780"/>
                  </a:lnTo>
                  <a:lnTo>
                    <a:pt x="600" y="774"/>
                  </a:lnTo>
                  <a:lnTo>
                    <a:pt x="594" y="768"/>
                  </a:lnTo>
                  <a:lnTo>
                    <a:pt x="594" y="762"/>
                  </a:lnTo>
                  <a:lnTo>
                    <a:pt x="594" y="756"/>
                  </a:lnTo>
                  <a:lnTo>
                    <a:pt x="594" y="762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594" y="780"/>
                  </a:lnTo>
                  <a:lnTo>
                    <a:pt x="588" y="780"/>
                  </a:lnTo>
                  <a:lnTo>
                    <a:pt x="582" y="780"/>
                  </a:lnTo>
                  <a:lnTo>
                    <a:pt x="576" y="780"/>
                  </a:lnTo>
                  <a:lnTo>
                    <a:pt x="570" y="780"/>
                  </a:lnTo>
                  <a:lnTo>
                    <a:pt x="564" y="780"/>
                  </a:lnTo>
                  <a:lnTo>
                    <a:pt x="564" y="786"/>
                  </a:lnTo>
                  <a:lnTo>
                    <a:pt x="558" y="786"/>
                  </a:lnTo>
                  <a:lnTo>
                    <a:pt x="552" y="786"/>
                  </a:lnTo>
                  <a:lnTo>
                    <a:pt x="552" y="780"/>
                  </a:lnTo>
                  <a:lnTo>
                    <a:pt x="552" y="774"/>
                  </a:lnTo>
                  <a:lnTo>
                    <a:pt x="552" y="768"/>
                  </a:lnTo>
                  <a:lnTo>
                    <a:pt x="546" y="768"/>
                  </a:lnTo>
                  <a:lnTo>
                    <a:pt x="540" y="762"/>
                  </a:lnTo>
                  <a:lnTo>
                    <a:pt x="540" y="756"/>
                  </a:lnTo>
                  <a:lnTo>
                    <a:pt x="534" y="756"/>
                  </a:lnTo>
                  <a:lnTo>
                    <a:pt x="534" y="750"/>
                  </a:lnTo>
                  <a:lnTo>
                    <a:pt x="534" y="744"/>
                  </a:lnTo>
                  <a:lnTo>
                    <a:pt x="528" y="738"/>
                  </a:lnTo>
                  <a:lnTo>
                    <a:pt x="522" y="738"/>
                  </a:lnTo>
                  <a:lnTo>
                    <a:pt x="522" y="732"/>
                  </a:lnTo>
                  <a:lnTo>
                    <a:pt x="510" y="726"/>
                  </a:lnTo>
                  <a:lnTo>
                    <a:pt x="510" y="720"/>
                  </a:lnTo>
                  <a:lnTo>
                    <a:pt x="504" y="720"/>
                  </a:lnTo>
                  <a:lnTo>
                    <a:pt x="504" y="714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8" y="702"/>
                  </a:lnTo>
                  <a:lnTo>
                    <a:pt x="498" y="696"/>
                  </a:lnTo>
                  <a:lnTo>
                    <a:pt x="492" y="690"/>
                  </a:lnTo>
                  <a:lnTo>
                    <a:pt x="492" y="684"/>
                  </a:lnTo>
                  <a:lnTo>
                    <a:pt x="486" y="684"/>
                  </a:lnTo>
                  <a:lnTo>
                    <a:pt x="486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74" y="678"/>
                  </a:lnTo>
                  <a:lnTo>
                    <a:pt x="468" y="678"/>
                  </a:lnTo>
                  <a:lnTo>
                    <a:pt x="462" y="678"/>
                  </a:lnTo>
                  <a:lnTo>
                    <a:pt x="462" y="672"/>
                  </a:lnTo>
                  <a:lnTo>
                    <a:pt x="456" y="672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44" y="666"/>
                  </a:lnTo>
                  <a:lnTo>
                    <a:pt x="438" y="660"/>
                  </a:lnTo>
                  <a:lnTo>
                    <a:pt x="438" y="648"/>
                  </a:lnTo>
                  <a:lnTo>
                    <a:pt x="438" y="642"/>
                  </a:lnTo>
                  <a:lnTo>
                    <a:pt x="438" y="636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36"/>
                  </a:lnTo>
                  <a:lnTo>
                    <a:pt x="420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60"/>
                  </a:lnTo>
                  <a:lnTo>
                    <a:pt x="432" y="666"/>
                  </a:lnTo>
                  <a:lnTo>
                    <a:pt x="438" y="666"/>
                  </a:lnTo>
                  <a:lnTo>
                    <a:pt x="438" y="672"/>
                  </a:lnTo>
                  <a:lnTo>
                    <a:pt x="444" y="672"/>
                  </a:lnTo>
                  <a:lnTo>
                    <a:pt x="444" y="678"/>
                  </a:lnTo>
                  <a:lnTo>
                    <a:pt x="450" y="678"/>
                  </a:lnTo>
                  <a:lnTo>
                    <a:pt x="456" y="678"/>
                  </a:lnTo>
                  <a:lnTo>
                    <a:pt x="456" y="684"/>
                  </a:lnTo>
                  <a:lnTo>
                    <a:pt x="462" y="684"/>
                  </a:lnTo>
                  <a:lnTo>
                    <a:pt x="468" y="684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80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86" y="708"/>
                  </a:lnTo>
                  <a:lnTo>
                    <a:pt x="492" y="714"/>
                  </a:lnTo>
                  <a:lnTo>
                    <a:pt x="492" y="720"/>
                  </a:lnTo>
                  <a:lnTo>
                    <a:pt x="492" y="726"/>
                  </a:lnTo>
                  <a:lnTo>
                    <a:pt x="498" y="732"/>
                  </a:lnTo>
                  <a:lnTo>
                    <a:pt x="492" y="738"/>
                  </a:lnTo>
                  <a:lnTo>
                    <a:pt x="492" y="744"/>
                  </a:lnTo>
                  <a:lnTo>
                    <a:pt x="492" y="750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68" y="738"/>
                  </a:lnTo>
                  <a:lnTo>
                    <a:pt x="468" y="744"/>
                  </a:lnTo>
                  <a:lnTo>
                    <a:pt x="474" y="750"/>
                  </a:lnTo>
                  <a:lnTo>
                    <a:pt x="480" y="756"/>
                  </a:lnTo>
                  <a:lnTo>
                    <a:pt x="486" y="756"/>
                  </a:lnTo>
                  <a:lnTo>
                    <a:pt x="492" y="762"/>
                  </a:lnTo>
                  <a:lnTo>
                    <a:pt x="498" y="768"/>
                  </a:lnTo>
                  <a:lnTo>
                    <a:pt x="492" y="774"/>
                  </a:lnTo>
                  <a:lnTo>
                    <a:pt x="492" y="780"/>
                  </a:lnTo>
                  <a:lnTo>
                    <a:pt x="498" y="780"/>
                  </a:lnTo>
                  <a:lnTo>
                    <a:pt x="492" y="786"/>
                  </a:lnTo>
                  <a:lnTo>
                    <a:pt x="492" y="792"/>
                  </a:lnTo>
                  <a:lnTo>
                    <a:pt x="492" y="79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0" y="810"/>
                  </a:lnTo>
                  <a:lnTo>
                    <a:pt x="480" y="804"/>
                  </a:lnTo>
                  <a:lnTo>
                    <a:pt x="474" y="804"/>
                  </a:lnTo>
                  <a:lnTo>
                    <a:pt x="474" y="798"/>
                  </a:lnTo>
                  <a:lnTo>
                    <a:pt x="474" y="804"/>
                  </a:lnTo>
                  <a:lnTo>
                    <a:pt x="468" y="804"/>
                  </a:lnTo>
                  <a:lnTo>
                    <a:pt x="468" y="810"/>
                  </a:lnTo>
                  <a:lnTo>
                    <a:pt x="462" y="810"/>
                  </a:lnTo>
                  <a:lnTo>
                    <a:pt x="456" y="810"/>
                  </a:lnTo>
                  <a:lnTo>
                    <a:pt x="450" y="810"/>
                  </a:lnTo>
                  <a:lnTo>
                    <a:pt x="450" y="816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50" y="822"/>
                  </a:lnTo>
                  <a:lnTo>
                    <a:pt x="450" y="816"/>
                  </a:lnTo>
                  <a:lnTo>
                    <a:pt x="444" y="816"/>
                  </a:lnTo>
                  <a:lnTo>
                    <a:pt x="438" y="810"/>
                  </a:lnTo>
                  <a:lnTo>
                    <a:pt x="432" y="810"/>
                  </a:lnTo>
                  <a:lnTo>
                    <a:pt x="426" y="804"/>
                  </a:lnTo>
                  <a:lnTo>
                    <a:pt x="426" y="798"/>
                  </a:lnTo>
                  <a:lnTo>
                    <a:pt x="420" y="798"/>
                  </a:lnTo>
                  <a:lnTo>
                    <a:pt x="426" y="798"/>
                  </a:lnTo>
                  <a:lnTo>
                    <a:pt x="426" y="792"/>
                  </a:lnTo>
                  <a:lnTo>
                    <a:pt x="426" y="786"/>
                  </a:lnTo>
                  <a:lnTo>
                    <a:pt x="432" y="786"/>
                  </a:lnTo>
                  <a:lnTo>
                    <a:pt x="432" y="780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0" y="756"/>
                  </a:lnTo>
                  <a:lnTo>
                    <a:pt x="420" y="750"/>
                  </a:lnTo>
                  <a:lnTo>
                    <a:pt x="414" y="750"/>
                  </a:lnTo>
                  <a:lnTo>
                    <a:pt x="420" y="750"/>
                  </a:lnTo>
                  <a:lnTo>
                    <a:pt x="420" y="744"/>
                  </a:lnTo>
                  <a:lnTo>
                    <a:pt x="414" y="744"/>
                  </a:lnTo>
                  <a:lnTo>
                    <a:pt x="414" y="738"/>
                  </a:lnTo>
                  <a:lnTo>
                    <a:pt x="414" y="732"/>
                  </a:lnTo>
                  <a:lnTo>
                    <a:pt x="408" y="732"/>
                  </a:lnTo>
                  <a:lnTo>
                    <a:pt x="408" y="726"/>
                  </a:lnTo>
                  <a:lnTo>
                    <a:pt x="402" y="726"/>
                  </a:lnTo>
                  <a:lnTo>
                    <a:pt x="396" y="726"/>
                  </a:lnTo>
                  <a:lnTo>
                    <a:pt x="390" y="726"/>
                  </a:lnTo>
                  <a:lnTo>
                    <a:pt x="390" y="720"/>
                  </a:lnTo>
                  <a:lnTo>
                    <a:pt x="390" y="714"/>
                  </a:lnTo>
                  <a:lnTo>
                    <a:pt x="384" y="708"/>
                  </a:lnTo>
                  <a:lnTo>
                    <a:pt x="384" y="702"/>
                  </a:lnTo>
                  <a:lnTo>
                    <a:pt x="378" y="702"/>
                  </a:lnTo>
                  <a:lnTo>
                    <a:pt x="378" y="696"/>
                  </a:lnTo>
                  <a:lnTo>
                    <a:pt x="378" y="690"/>
                  </a:lnTo>
                  <a:lnTo>
                    <a:pt x="372" y="684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66" y="666"/>
                  </a:lnTo>
                  <a:lnTo>
                    <a:pt x="366" y="660"/>
                  </a:lnTo>
                  <a:lnTo>
                    <a:pt x="366" y="654"/>
                  </a:lnTo>
                  <a:lnTo>
                    <a:pt x="360" y="648"/>
                  </a:lnTo>
                  <a:lnTo>
                    <a:pt x="360" y="654"/>
                  </a:lnTo>
                  <a:lnTo>
                    <a:pt x="360" y="660"/>
                  </a:lnTo>
                  <a:lnTo>
                    <a:pt x="360" y="666"/>
                  </a:lnTo>
                  <a:lnTo>
                    <a:pt x="360" y="672"/>
                  </a:lnTo>
                  <a:lnTo>
                    <a:pt x="360" y="678"/>
                  </a:lnTo>
                  <a:lnTo>
                    <a:pt x="366" y="678"/>
                  </a:lnTo>
                  <a:lnTo>
                    <a:pt x="366" y="684"/>
                  </a:lnTo>
                  <a:lnTo>
                    <a:pt x="366" y="690"/>
                  </a:lnTo>
                  <a:lnTo>
                    <a:pt x="372" y="696"/>
                  </a:lnTo>
                  <a:lnTo>
                    <a:pt x="372" y="702"/>
                  </a:lnTo>
                  <a:lnTo>
                    <a:pt x="372" y="708"/>
                  </a:lnTo>
                  <a:lnTo>
                    <a:pt x="372" y="714"/>
                  </a:lnTo>
                  <a:lnTo>
                    <a:pt x="366" y="714"/>
                  </a:lnTo>
                  <a:lnTo>
                    <a:pt x="360" y="714"/>
                  </a:lnTo>
                  <a:lnTo>
                    <a:pt x="354" y="714"/>
                  </a:lnTo>
                  <a:lnTo>
                    <a:pt x="348" y="714"/>
                  </a:lnTo>
                  <a:lnTo>
                    <a:pt x="348" y="708"/>
                  </a:lnTo>
                  <a:lnTo>
                    <a:pt x="342" y="708"/>
                  </a:lnTo>
                  <a:lnTo>
                    <a:pt x="342" y="702"/>
                  </a:lnTo>
                  <a:lnTo>
                    <a:pt x="342" y="696"/>
                  </a:lnTo>
                  <a:lnTo>
                    <a:pt x="336" y="696"/>
                  </a:lnTo>
                  <a:lnTo>
                    <a:pt x="336" y="690"/>
                  </a:lnTo>
                  <a:lnTo>
                    <a:pt x="336" y="684"/>
                  </a:lnTo>
                  <a:lnTo>
                    <a:pt x="330" y="684"/>
                  </a:lnTo>
                  <a:lnTo>
                    <a:pt x="330" y="678"/>
                  </a:lnTo>
                  <a:lnTo>
                    <a:pt x="324" y="672"/>
                  </a:lnTo>
                  <a:lnTo>
                    <a:pt x="324" y="666"/>
                  </a:lnTo>
                  <a:lnTo>
                    <a:pt x="318" y="666"/>
                  </a:lnTo>
                  <a:lnTo>
                    <a:pt x="318" y="672"/>
                  </a:lnTo>
                  <a:lnTo>
                    <a:pt x="324" y="672"/>
                  </a:lnTo>
                  <a:lnTo>
                    <a:pt x="324" y="678"/>
                  </a:lnTo>
                  <a:lnTo>
                    <a:pt x="324" y="684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30" y="696"/>
                  </a:lnTo>
                  <a:lnTo>
                    <a:pt x="336" y="702"/>
                  </a:lnTo>
                  <a:lnTo>
                    <a:pt x="342" y="708"/>
                  </a:lnTo>
                  <a:lnTo>
                    <a:pt x="342" y="714"/>
                  </a:lnTo>
                  <a:lnTo>
                    <a:pt x="348" y="720"/>
                  </a:lnTo>
                  <a:lnTo>
                    <a:pt x="342" y="720"/>
                  </a:lnTo>
                  <a:lnTo>
                    <a:pt x="336" y="720"/>
                  </a:lnTo>
                  <a:lnTo>
                    <a:pt x="330" y="720"/>
                  </a:lnTo>
                  <a:lnTo>
                    <a:pt x="330" y="726"/>
                  </a:lnTo>
                  <a:lnTo>
                    <a:pt x="336" y="726"/>
                  </a:lnTo>
                  <a:lnTo>
                    <a:pt x="330" y="732"/>
                  </a:lnTo>
                  <a:lnTo>
                    <a:pt x="330" y="738"/>
                  </a:lnTo>
                  <a:lnTo>
                    <a:pt x="330" y="744"/>
                  </a:lnTo>
                  <a:lnTo>
                    <a:pt x="336" y="744"/>
                  </a:lnTo>
                  <a:lnTo>
                    <a:pt x="342" y="744"/>
                  </a:lnTo>
                  <a:lnTo>
                    <a:pt x="348" y="744"/>
                  </a:lnTo>
                  <a:lnTo>
                    <a:pt x="348" y="750"/>
                  </a:lnTo>
                  <a:lnTo>
                    <a:pt x="354" y="750"/>
                  </a:lnTo>
                  <a:lnTo>
                    <a:pt x="360" y="756"/>
                  </a:lnTo>
                  <a:lnTo>
                    <a:pt x="360" y="762"/>
                  </a:lnTo>
                  <a:lnTo>
                    <a:pt x="366" y="762"/>
                  </a:lnTo>
                  <a:lnTo>
                    <a:pt x="366" y="768"/>
                  </a:lnTo>
                  <a:lnTo>
                    <a:pt x="366" y="774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72" y="792"/>
                  </a:lnTo>
                  <a:lnTo>
                    <a:pt x="372" y="798"/>
                  </a:lnTo>
                  <a:lnTo>
                    <a:pt x="372" y="804"/>
                  </a:lnTo>
                  <a:lnTo>
                    <a:pt x="378" y="804"/>
                  </a:lnTo>
                  <a:lnTo>
                    <a:pt x="378" y="810"/>
                  </a:lnTo>
                  <a:lnTo>
                    <a:pt x="378" y="816"/>
                  </a:lnTo>
                  <a:lnTo>
                    <a:pt x="372" y="816"/>
                  </a:lnTo>
                  <a:lnTo>
                    <a:pt x="378" y="816"/>
                  </a:lnTo>
                  <a:lnTo>
                    <a:pt x="378" y="822"/>
                  </a:lnTo>
                  <a:lnTo>
                    <a:pt x="378" y="828"/>
                  </a:lnTo>
                  <a:lnTo>
                    <a:pt x="378" y="834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0" y="864"/>
                  </a:lnTo>
                  <a:lnTo>
                    <a:pt x="384" y="864"/>
                  </a:lnTo>
                  <a:lnTo>
                    <a:pt x="384" y="870"/>
                  </a:lnTo>
                  <a:lnTo>
                    <a:pt x="378" y="864"/>
                  </a:lnTo>
                  <a:lnTo>
                    <a:pt x="372" y="864"/>
                  </a:lnTo>
                  <a:lnTo>
                    <a:pt x="366" y="858"/>
                  </a:lnTo>
                  <a:lnTo>
                    <a:pt x="366" y="852"/>
                  </a:lnTo>
                  <a:lnTo>
                    <a:pt x="360" y="852"/>
                  </a:lnTo>
                  <a:lnTo>
                    <a:pt x="360" y="858"/>
                  </a:lnTo>
                  <a:lnTo>
                    <a:pt x="366" y="858"/>
                  </a:lnTo>
                  <a:lnTo>
                    <a:pt x="366" y="864"/>
                  </a:lnTo>
                  <a:lnTo>
                    <a:pt x="360" y="864"/>
                  </a:lnTo>
                  <a:lnTo>
                    <a:pt x="354" y="864"/>
                  </a:lnTo>
                  <a:lnTo>
                    <a:pt x="354" y="870"/>
                  </a:lnTo>
                  <a:lnTo>
                    <a:pt x="354" y="864"/>
                  </a:lnTo>
                  <a:lnTo>
                    <a:pt x="348" y="864"/>
                  </a:lnTo>
                  <a:lnTo>
                    <a:pt x="342" y="864"/>
                  </a:lnTo>
                  <a:lnTo>
                    <a:pt x="342" y="858"/>
                  </a:lnTo>
                  <a:lnTo>
                    <a:pt x="336" y="858"/>
                  </a:lnTo>
                  <a:lnTo>
                    <a:pt x="330" y="858"/>
                  </a:lnTo>
                  <a:lnTo>
                    <a:pt x="324" y="858"/>
                  </a:lnTo>
                  <a:lnTo>
                    <a:pt x="318" y="858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0" y="852"/>
                  </a:lnTo>
                  <a:lnTo>
                    <a:pt x="294" y="852"/>
                  </a:lnTo>
                  <a:lnTo>
                    <a:pt x="294" y="846"/>
                  </a:lnTo>
                  <a:lnTo>
                    <a:pt x="288" y="840"/>
                  </a:lnTo>
                  <a:lnTo>
                    <a:pt x="288" y="828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2" y="816"/>
                  </a:lnTo>
                  <a:lnTo>
                    <a:pt x="282" y="810"/>
                  </a:lnTo>
                  <a:lnTo>
                    <a:pt x="276" y="810"/>
                  </a:lnTo>
                  <a:lnTo>
                    <a:pt x="276" y="804"/>
                  </a:lnTo>
                  <a:lnTo>
                    <a:pt x="276" y="798"/>
                  </a:lnTo>
                  <a:lnTo>
                    <a:pt x="276" y="792"/>
                  </a:lnTo>
                  <a:lnTo>
                    <a:pt x="270" y="786"/>
                  </a:lnTo>
                  <a:lnTo>
                    <a:pt x="270" y="780"/>
                  </a:lnTo>
                  <a:lnTo>
                    <a:pt x="270" y="774"/>
                  </a:lnTo>
                  <a:lnTo>
                    <a:pt x="264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64" y="750"/>
                  </a:lnTo>
                  <a:lnTo>
                    <a:pt x="264" y="744"/>
                  </a:lnTo>
                  <a:lnTo>
                    <a:pt x="264" y="738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26"/>
                  </a:lnTo>
                  <a:lnTo>
                    <a:pt x="276" y="720"/>
                  </a:lnTo>
                  <a:lnTo>
                    <a:pt x="282" y="720"/>
                  </a:lnTo>
                  <a:lnTo>
                    <a:pt x="282" y="714"/>
                  </a:lnTo>
                  <a:lnTo>
                    <a:pt x="282" y="708"/>
                  </a:lnTo>
                  <a:lnTo>
                    <a:pt x="276" y="708"/>
                  </a:lnTo>
                  <a:lnTo>
                    <a:pt x="276" y="702"/>
                  </a:lnTo>
                  <a:lnTo>
                    <a:pt x="270" y="702"/>
                  </a:lnTo>
                  <a:lnTo>
                    <a:pt x="270" y="696"/>
                  </a:lnTo>
                  <a:lnTo>
                    <a:pt x="264" y="690"/>
                  </a:lnTo>
                  <a:lnTo>
                    <a:pt x="258" y="690"/>
                  </a:lnTo>
                  <a:lnTo>
                    <a:pt x="258" y="684"/>
                  </a:lnTo>
                  <a:lnTo>
                    <a:pt x="252" y="684"/>
                  </a:lnTo>
                  <a:lnTo>
                    <a:pt x="252" y="678"/>
                  </a:lnTo>
                  <a:lnTo>
                    <a:pt x="246" y="678"/>
                  </a:lnTo>
                  <a:lnTo>
                    <a:pt x="240" y="678"/>
                  </a:lnTo>
                  <a:lnTo>
                    <a:pt x="240" y="684"/>
                  </a:lnTo>
                  <a:lnTo>
                    <a:pt x="246" y="684"/>
                  </a:lnTo>
                  <a:lnTo>
                    <a:pt x="252" y="690"/>
                  </a:lnTo>
                  <a:lnTo>
                    <a:pt x="258" y="690"/>
                  </a:lnTo>
                  <a:lnTo>
                    <a:pt x="258" y="696"/>
                  </a:lnTo>
                  <a:lnTo>
                    <a:pt x="258" y="702"/>
                  </a:lnTo>
                  <a:lnTo>
                    <a:pt x="264" y="702"/>
                  </a:lnTo>
                  <a:lnTo>
                    <a:pt x="270" y="708"/>
                  </a:lnTo>
                  <a:lnTo>
                    <a:pt x="270" y="714"/>
                  </a:lnTo>
                  <a:lnTo>
                    <a:pt x="270" y="720"/>
                  </a:lnTo>
                  <a:lnTo>
                    <a:pt x="276" y="720"/>
                  </a:lnTo>
                  <a:lnTo>
                    <a:pt x="270" y="720"/>
                  </a:lnTo>
                  <a:lnTo>
                    <a:pt x="270" y="726"/>
                  </a:lnTo>
                  <a:lnTo>
                    <a:pt x="264" y="726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52" y="738"/>
                  </a:lnTo>
                  <a:lnTo>
                    <a:pt x="252" y="744"/>
                  </a:lnTo>
                  <a:lnTo>
                    <a:pt x="252" y="750"/>
                  </a:lnTo>
                  <a:lnTo>
                    <a:pt x="252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58" y="774"/>
                  </a:lnTo>
                  <a:lnTo>
                    <a:pt x="258" y="780"/>
                  </a:lnTo>
                  <a:lnTo>
                    <a:pt x="264" y="786"/>
                  </a:lnTo>
                  <a:lnTo>
                    <a:pt x="264" y="792"/>
                  </a:lnTo>
                  <a:lnTo>
                    <a:pt x="264" y="798"/>
                  </a:lnTo>
                  <a:lnTo>
                    <a:pt x="270" y="810"/>
                  </a:lnTo>
                  <a:lnTo>
                    <a:pt x="270" y="816"/>
                  </a:lnTo>
                  <a:lnTo>
                    <a:pt x="270" y="822"/>
                  </a:lnTo>
                  <a:lnTo>
                    <a:pt x="276" y="822"/>
                  </a:lnTo>
                  <a:lnTo>
                    <a:pt x="276" y="828"/>
                  </a:lnTo>
                  <a:lnTo>
                    <a:pt x="276" y="834"/>
                  </a:lnTo>
                  <a:lnTo>
                    <a:pt x="276" y="840"/>
                  </a:lnTo>
                  <a:lnTo>
                    <a:pt x="276" y="846"/>
                  </a:lnTo>
                  <a:lnTo>
                    <a:pt x="282" y="852"/>
                  </a:lnTo>
                  <a:lnTo>
                    <a:pt x="282" y="858"/>
                  </a:lnTo>
                  <a:lnTo>
                    <a:pt x="294" y="864"/>
                  </a:lnTo>
                  <a:lnTo>
                    <a:pt x="300" y="870"/>
                  </a:lnTo>
                  <a:lnTo>
                    <a:pt x="300" y="876"/>
                  </a:lnTo>
                  <a:lnTo>
                    <a:pt x="288" y="876"/>
                  </a:lnTo>
                  <a:lnTo>
                    <a:pt x="282" y="876"/>
                  </a:lnTo>
                  <a:lnTo>
                    <a:pt x="276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2" y="882"/>
                  </a:lnTo>
                  <a:lnTo>
                    <a:pt x="246" y="882"/>
                  </a:lnTo>
                  <a:lnTo>
                    <a:pt x="240" y="882"/>
                  </a:lnTo>
                  <a:lnTo>
                    <a:pt x="234" y="882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204" y="876"/>
                  </a:lnTo>
                  <a:lnTo>
                    <a:pt x="198" y="876"/>
                  </a:lnTo>
                  <a:lnTo>
                    <a:pt x="198" y="870"/>
                  </a:lnTo>
                  <a:lnTo>
                    <a:pt x="198" y="852"/>
                  </a:lnTo>
                  <a:lnTo>
                    <a:pt x="198" y="846"/>
                  </a:lnTo>
                  <a:lnTo>
                    <a:pt x="204" y="846"/>
                  </a:lnTo>
                  <a:lnTo>
                    <a:pt x="198" y="840"/>
                  </a:lnTo>
                  <a:lnTo>
                    <a:pt x="198" y="834"/>
                  </a:lnTo>
                  <a:lnTo>
                    <a:pt x="198" y="828"/>
                  </a:lnTo>
                  <a:lnTo>
                    <a:pt x="198" y="822"/>
                  </a:lnTo>
                  <a:lnTo>
                    <a:pt x="198" y="816"/>
                  </a:lnTo>
                  <a:lnTo>
                    <a:pt x="198" y="810"/>
                  </a:lnTo>
                  <a:lnTo>
                    <a:pt x="192" y="810"/>
                  </a:lnTo>
                  <a:lnTo>
                    <a:pt x="192" y="804"/>
                  </a:lnTo>
                  <a:lnTo>
                    <a:pt x="192" y="798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2" y="774"/>
                  </a:lnTo>
                  <a:lnTo>
                    <a:pt x="192" y="768"/>
                  </a:lnTo>
                  <a:lnTo>
                    <a:pt x="198" y="768"/>
                  </a:lnTo>
                  <a:lnTo>
                    <a:pt x="198" y="762"/>
                  </a:lnTo>
                  <a:lnTo>
                    <a:pt x="198" y="756"/>
                  </a:lnTo>
                  <a:lnTo>
                    <a:pt x="204" y="756"/>
                  </a:lnTo>
                  <a:lnTo>
                    <a:pt x="204" y="750"/>
                  </a:lnTo>
                  <a:lnTo>
                    <a:pt x="210" y="744"/>
                  </a:lnTo>
                  <a:lnTo>
                    <a:pt x="210" y="738"/>
                  </a:lnTo>
                  <a:lnTo>
                    <a:pt x="210" y="732"/>
                  </a:lnTo>
                  <a:lnTo>
                    <a:pt x="210" y="726"/>
                  </a:lnTo>
                  <a:lnTo>
                    <a:pt x="210" y="720"/>
                  </a:lnTo>
                  <a:lnTo>
                    <a:pt x="204" y="714"/>
                  </a:lnTo>
                  <a:lnTo>
                    <a:pt x="204" y="720"/>
                  </a:lnTo>
                  <a:lnTo>
                    <a:pt x="204" y="732"/>
                  </a:lnTo>
                  <a:lnTo>
                    <a:pt x="204" y="738"/>
                  </a:lnTo>
                  <a:lnTo>
                    <a:pt x="198" y="738"/>
                  </a:lnTo>
                  <a:lnTo>
                    <a:pt x="198" y="744"/>
                  </a:lnTo>
                  <a:lnTo>
                    <a:pt x="198" y="750"/>
                  </a:lnTo>
                  <a:lnTo>
                    <a:pt x="192" y="756"/>
                  </a:lnTo>
                  <a:lnTo>
                    <a:pt x="186" y="762"/>
                  </a:lnTo>
                  <a:lnTo>
                    <a:pt x="186" y="768"/>
                  </a:lnTo>
                  <a:lnTo>
                    <a:pt x="186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98"/>
                  </a:lnTo>
                  <a:lnTo>
                    <a:pt x="186" y="804"/>
                  </a:lnTo>
                  <a:lnTo>
                    <a:pt x="186" y="810"/>
                  </a:lnTo>
                  <a:lnTo>
                    <a:pt x="192" y="816"/>
                  </a:lnTo>
                  <a:lnTo>
                    <a:pt x="192" y="828"/>
                  </a:lnTo>
                  <a:lnTo>
                    <a:pt x="192" y="834"/>
                  </a:lnTo>
                  <a:lnTo>
                    <a:pt x="186" y="834"/>
                  </a:lnTo>
                  <a:lnTo>
                    <a:pt x="186" y="828"/>
                  </a:lnTo>
                  <a:lnTo>
                    <a:pt x="180" y="822"/>
                  </a:lnTo>
                  <a:lnTo>
                    <a:pt x="180" y="816"/>
                  </a:lnTo>
                  <a:lnTo>
                    <a:pt x="180" y="810"/>
                  </a:lnTo>
                  <a:lnTo>
                    <a:pt x="174" y="810"/>
                  </a:lnTo>
                  <a:lnTo>
                    <a:pt x="174" y="804"/>
                  </a:lnTo>
                  <a:lnTo>
                    <a:pt x="174" y="798"/>
                  </a:lnTo>
                  <a:lnTo>
                    <a:pt x="174" y="792"/>
                  </a:lnTo>
                  <a:lnTo>
                    <a:pt x="168" y="786"/>
                  </a:lnTo>
                  <a:lnTo>
                    <a:pt x="168" y="780"/>
                  </a:lnTo>
                  <a:lnTo>
                    <a:pt x="162" y="780"/>
                  </a:lnTo>
                  <a:lnTo>
                    <a:pt x="168" y="774"/>
                  </a:lnTo>
                  <a:lnTo>
                    <a:pt x="168" y="768"/>
                  </a:lnTo>
                  <a:lnTo>
                    <a:pt x="174" y="768"/>
                  </a:lnTo>
                  <a:lnTo>
                    <a:pt x="168" y="768"/>
                  </a:lnTo>
                  <a:lnTo>
                    <a:pt x="162" y="774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50" y="774"/>
                  </a:lnTo>
                  <a:lnTo>
                    <a:pt x="144" y="774"/>
                  </a:lnTo>
                  <a:lnTo>
                    <a:pt x="144" y="768"/>
                  </a:lnTo>
                  <a:lnTo>
                    <a:pt x="144" y="762"/>
                  </a:lnTo>
                  <a:lnTo>
                    <a:pt x="138" y="756"/>
                  </a:lnTo>
                  <a:lnTo>
                    <a:pt x="132" y="756"/>
                  </a:lnTo>
                  <a:lnTo>
                    <a:pt x="138" y="756"/>
                  </a:lnTo>
                  <a:lnTo>
                    <a:pt x="138" y="762"/>
                  </a:lnTo>
                  <a:lnTo>
                    <a:pt x="138" y="768"/>
                  </a:lnTo>
                  <a:lnTo>
                    <a:pt x="144" y="768"/>
                  </a:lnTo>
                  <a:lnTo>
                    <a:pt x="144" y="774"/>
                  </a:lnTo>
                  <a:lnTo>
                    <a:pt x="150" y="780"/>
                  </a:lnTo>
                  <a:lnTo>
                    <a:pt x="156" y="780"/>
                  </a:lnTo>
                  <a:lnTo>
                    <a:pt x="156" y="786"/>
                  </a:lnTo>
                  <a:lnTo>
                    <a:pt x="162" y="786"/>
                  </a:lnTo>
                  <a:lnTo>
                    <a:pt x="168" y="792"/>
                  </a:lnTo>
                  <a:lnTo>
                    <a:pt x="168" y="798"/>
                  </a:lnTo>
                  <a:lnTo>
                    <a:pt x="168" y="804"/>
                  </a:lnTo>
                  <a:lnTo>
                    <a:pt x="174" y="810"/>
                  </a:lnTo>
                  <a:lnTo>
                    <a:pt x="174" y="816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68" y="828"/>
                  </a:lnTo>
                  <a:lnTo>
                    <a:pt x="168" y="834"/>
                  </a:lnTo>
                  <a:lnTo>
                    <a:pt x="174" y="840"/>
                  </a:lnTo>
                  <a:lnTo>
                    <a:pt x="180" y="840"/>
                  </a:lnTo>
                  <a:lnTo>
                    <a:pt x="180" y="846"/>
                  </a:lnTo>
                  <a:lnTo>
                    <a:pt x="186" y="846"/>
                  </a:lnTo>
                  <a:lnTo>
                    <a:pt x="186" y="852"/>
                  </a:lnTo>
                  <a:lnTo>
                    <a:pt x="186" y="858"/>
                  </a:lnTo>
                  <a:lnTo>
                    <a:pt x="186" y="864"/>
                  </a:lnTo>
                  <a:lnTo>
                    <a:pt x="192" y="864"/>
                  </a:lnTo>
                  <a:lnTo>
                    <a:pt x="192" y="870"/>
                  </a:lnTo>
                  <a:lnTo>
                    <a:pt x="192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6" y="888"/>
                  </a:lnTo>
                  <a:lnTo>
                    <a:pt x="180" y="888"/>
                  </a:lnTo>
                  <a:lnTo>
                    <a:pt x="174" y="888"/>
                  </a:lnTo>
                  <a:lnTo>
                    <a:pt x="168" y="894"/>
                  </a:lnTo>
                  <a:lnTo>
                    <a:pt x="162" y="894"/>
                  </a:lnTo>
                  <a:lnTo>
                    <a:pt x="156" y="894"/>
                  </a:lnTo>
                  <a:lnTo>
                    <a:pt x="150" y="894"/>
                  </a:lnTo>
                  <a:lnTo>
                    <a:pt x="144" y="894"/>
                  </a:lnTo>
                  <a:lnTo>
                    <a:pt x="144" y="900"/>
                  </a:lnTo>
                  <a:lnTo>
                    <a:pt x="138" y="894"/>
                  </a:lnTo>
                  <a:lnTo>
                    <a:pt x="138" y="900"/>
                  </a:lnTo>
                  <a:lnTo>
                    <a:pt x="132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6" y="882"/>
                  </a:lnTo>
                  <a:lnTo>
                    <a:pt x="126" y="876"/>
                  </a:lnTo>
                  <a:lnTo>
                    <a:pt x="120" y="876"/>
                  </a:lnTo>
                  <a:lnTo>
                    <a:pt x="126" y="870"/>
                  </a:lnTo>
                  <a:lnTo>
                    <a:pt x="126" y="864"/>
                  </a:lnTo>
                  <a:lnTo>
                    <a:pt x="126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26" y="828"/>
                  </a:lnTo>
                  <a:lnTo>
                    <a:pt x="126" y="822"/>
                  </a:lnTo>
                  <a:lnTo>
                    <a:pt x="126" y="816"/>
                  </a:lnTo>
                  <a:lnTo>
                    <a:pt x="126" y="810"/>
                  </a:lnTo>
                  <a:lnTo>
                    <a:pt x="126" y="804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20" y="792"/>
                  </a:lnTo>
                  <a:lnTo>
                    <a:pt x="114" y="792"/>
                  </a:lnTo>
                  <a:lnTo>
                    <a:pt x="114" y="786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96" y="780"/>
                  </a:lnTo>
                  <a:lnTo>
                    <a:pt x="96" y="774"/>
                  </a:lnTo>
                  <a:lnTo>
                    <a:pt x="90" y="774"/>
                  </a:lnTo>
                  <a:lnTo>
                    <a:pt x="90" y="768"/>
                  </a:lnTo>
                  <a:close/>
                  <a:moveTo>
                    <a:pt x="96" y="780"/>
                  </a:moveTo>
                  <a:lnTo>
                    <a:pt x="102" y="780"/>
                  </a:lnTo>
                  <a:lnTo>
                    <a:pt x="102" y="786"/>
                  </a:lnTo>
                  <a:lnTo>
                    <a:pt x="108" y="786"/>
                  </a:lnTo>
                  <a:lnTo>
                    <a:pt x="114" y="792"/>
                  </a:lnTo>
                  <a:lnTo>
                    <a:pt x="120" y="798"/>
                  </a:lnTo>
                  <a:lnTo>
                    <a:pt x="120" y="804"/>
                  </a:lnTo>
                  <a:lnTo>
                    <a:pt x="126" y="810"/>
                  </a:lnTo>
                  <a:lnTo>
                    <a:pt x="126" y="816"/>
                  </a:lnTo>
                  <a:lnTo>
                    <a:pt x="126" y="822"/>
                  </a:lnTo>
                  <a:lnTo>
                    <a:pt x="120" y="828"/>
                  </a:lnTo>
                  <a:lnTo>
                    <a:pt x="120" y="840"/>
                  </a:lnTo>
                  <a:lnTo>
                    <a:pt x="120" y="852"/>
                  </a:lnTo>
                  <a:lnTo>
                    <a:pt x="120" y="858"/>
                  </a:lnTo>
                  <a:lnTo>
                    <a:pt x="120" y="864"/>
                  </a:lnTo>
                  <a:lnTo>
                    <a:pt x="120" y="870"/>
                  </a:lnTo>
                  <a:lnTo>
                    <a:pt x="114" y="870"/>
                  </a:lnTo>
                  <a:lnTo>
                    <a:pt x="108" y="870"/>
                  </a:lnTo>
                  <a:lnTo>
                    <a:pt x="108" y="876"/>
                  </a:lnTo>
                  <a:lnTo>
                    <a:pt x="114" y="876"/>
                  </a:lnTo>
                  <a:lnTo>
                    <a:pt x="120" y="876"/>
                  </a:lnTo>
                  <a:lnTo>
                    <a:pt x="120" y="882"/>
                  </a:lnTo>
                  <a:lnTo>
                    <a:pt x="114" y="888"/>
                  </a:lnTo>
                  <a:lnTo>
                    <a:pt x="120" y="888"/>
                  </a:lnTo>
                  <a:lnTo>
                    <a:pt x="120" y="894"/>
                  </a:lnTo>
                  <a:lnTo>
                    <a:pt x="114" y="894"/>
                  </a:lnTo>
                  <a:lnTo>
                    <a:pt x="108" y="894"/>
                  </a:lnTo>
                  <a:lnTo>
                    <a:pt x="96" y="894"/>
                  </a:lnTo>
                  <a:lnTo>
                    <a:pt x="96" y="882"/>
                  </a:lnTo>
                  <a:lnTo>
                    <a:pt x="96" y="876"/>
                  </a:lnTo>
                  <a:lnTo>
                    <a:pt x="84" y="870"/>
                  </a:lnTo>
                  <a:lnTo>
                    <a:pt x="72" y="864"/>
                  </a:lnTo>
                  <a:lnTo>
                    <a:pt x="72" y="852"/>
                  </a:lnTo>
                  <a:lnTo>
                    <a:pt x="72" y="840"/>
                  </a:lnTo>
                  <a:lnTo>
                    <a:pt x="78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90" y="792"/>
                  </a:lnTo>
                  <a:lnTo>
                    <a:pt x="96" y="780"/>
                  </a:lnTo>
                  <a:close/>
                  <a:moveTo>
                    <a:pt x="492" y="810"/>
                  </a:moveTo>
                  <a:lnTo>
                    <a:pt x="498" y="810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510" y="792"/>
                  </a:lnTo>
                  <a:lnTo>
                    <a:pt x="516" y="786"/>
                  </a:lnTo>
                  <a:lnTo>
                    <a:pt x="522" y="780"/>
                  </a:lnTo>
                  <a:lnTo>
                    <a:pt x="522" y="774"/>
                  </a:lnTo>
                  <a:lnTo>
                    <a:pt x="528" y="768"/>
                  </a:lnTo>
                  <a:lnTo>
                    <a:pt x="528" y="762"/>
                  </a:lnTo>
                  <a:lnTo>
                    <a:pt x="534" y="762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46" y="780"/>
                  </a:lnTo>
                  <a:lnTo>
                    <a:pt x="552" y="786"/>
                  </a:lnTo>
                  <a:lnTo>
                    <a:pt x="558" y="786"/>
                  </a:lnTo>
                  <a:lnTo>
                    <a:pt x="564" y="786"/>
                  </a:lnTo>
                  <a:lnTo>
                    <a:pt x="576" y="786"/>
                  </a:lnTo>
                  <a:lnTo>
                    <a:pt x="582" y="786"/>
                  </a:lnTo>
                  <a:lnTo>
                    <a:pt x="588" y="786"/>
                  </a:lnTo>
                  <a:lnTo>
                    <a:pt x="594" y="786"/>
                  </a:lnTo>
                  <a:lnTo>
                    <a:pt x="588" y="792"/>
                  </a:lnTo>
                  <a:lnTo>
                    <a:pt x="588" y="798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82" y="822"/>
                  </a:lnTo>
                  <a:lnTo>
                    <a:pt x="588" y="828"/>
                  </a:lnTo>
                  <a:lnTo>
                    <a:pt x="588" y="834"/>
                  </a:lnTo>
                  <a:lnTo>
                    <a:pt x="582" y="840"/>
                  </a:lnTo>
                  <a:lnTo>
                    <a:pt x="570" y="840"/>
                  </a:lnTo>
                  <a:lnTo>
                    <a:pt x="558" y="846"/>
                  </a:lnTo>
                  <a:lnTo>
                    <a:pt x="552" y="846"/>
                  </a:lnTo>
                  <a:lnTo>
                    <a:pt x="534" y="852"/>
                  </a:lnTo>
                  <a:lnTo>
                    <a:pt x="522" y="858"/>
                  </a:lnTo>
                  <a:lnTo>
                    <a:pt x="510" y="858"/>
                  </a:lnTo>
                  <a:lnTo>
                    <a:pt x="498" y="864"/>
                  </a:lnTo>
                  <a:lnTo>
                    <a:pt x="474" y="864"/>
                  </a:lnTo>
                  <a:lnTo>
                    <a:pt x="468" y="858"/>
                  </a:lnTo>
                  <a:lnTo>
                    <a:pt x="468" y="852"/>
                  </a:lnTo>
                  <a:lnTo>
                    <a:pt x="468" y="846"/>
                  </a:lnTo>
                  <a:lnTo>
                    <a:pt x="474" y="840"/>
                  </a:lnTo>
                  <a:lnTo>
                    <a:pt x="474" y="834"/>
                  </a:lnTo>
                  <a:lnTo>
                    <a:pt x="480" y="828"/>
                  </a:lnTo>
                  <a:lnTo>
                    <a:pt x="492" y="822"/>
                  </a:lnTo>
                  <a:lnTo>
                    <a:pt x="492" y="810"/>
                  </a:lnTo>
                  <a:close/>
                  <a:moveTo>
                    <a:pt x="384" y="720"/>
                  </a:moveTo>
                  <a:lnTo>
                    <a:pt x="384" y="726"/>
                  </a:lnTo>
                  <a:lnTo>
                    <a:pt x="390" y="726"/>
                  </a:lnTo>
                  <a:lnTo>
                    <a:pt x="396" y="726"/>
                  </a:lnTo>
                  <a:lnTo>
                    <a:pt x="402" y="732"/>
                  </a:lnTo>
                  <a:lnTo>
                    <a:pt x="408" y="732"/>
                  </a:lnTo>
                  <a:lnTo>
                    <a:pt x="414" y="732"/>
                  </a:lnTo>
                  <a:lnTo>
                    <a:pt x="414" y="738"/>
                  </a:lnTo>
                  <a:lnTo>
                    <a:pt x="414" y="744"/>
                  </a:lnTo>
                  <a:lnTo>
                    <a:pt x="414" y="750"/>
                  </a:lnTo>
                  <a:lnTo>
                    <a:pt x="414" y="756"/>
                  </a:lnTo>
                  <a:lnTo>
                    <a:pt x="414" y="762"/>
                  </a:lnTo>
                  <a:lnTo>
                    <a:pt x="420" y="768"/>
                  </a:lnTo>
                  <a:lnTo>
                    <a:pt x="420" y="774"/>
                  </a:lnTo>
                  <a:lnTo>
                    <a:pt x="426" y="780"/>
                  </a:lnTo>
                  <a:lnTo>
                    <a:pt x="426" y="786"/>
                  </a:lnTo>
                  <a:lnTo>
                    <a:pt x="420" y="786"/>
                  </a:lnTo>
                  <a:lnTo>
                    <a:pt x="420" y="792"/>
                  </a:lnTo>
                  <a:lnTo>
                    <a:pt x="420" y="798"/>
                  </a:lnTo>
                  <a:lnTo>
                    <a:pt x="420" y="804"/>
                  </a:lnTo>
                  <a:lnTo>
                    <a:pt x="426" y="804"/>
                  </a:lnTo>
                  <a:lnTo>
                    <a:pt x="426" y="810"/>
                  </a:lnTo>
                  <a:lnTo>
                    <a:pt x="426" y="816"/>
                  </a:lnTo>
                  <a:lnTo>
                    <a:pt x="432" y="816"/>
                  </a:lnTo>
                  <a:lnTo>
                    <a:pt x="438" y="816"/>
                  </a:lnTo>
                  <a:lnTo>
                    <a:pt x="438" y="822"/>
                  </a:lnTo>
                  <a:lnTo>
                    <a:pt x="432" y="822"/>
                  </a:lnTo>
                  <a:lnTo>
                    <a:pt x="426" y="828"/>
                  </a:lnTo>
                  <a:lnTo>
                    <a:pt x="420" y="828"/>
                  </a:lnTo>
                  <a:lnTo>
                    <a:pt x="414" y="828"/>
                  </a:lnTo>
                  <a:lnTo>
                    <a:pt x="408" y="828"/>
                  </a:lnTo>
                  <a:lnTo>
                    <a:pt x="402" y="828"/>
                  </a:lnTo>
                  <a:lnTo>
                    <a:pt x="402" y="822"/>
                  </a:lnTo>
                  <a:lnTo>
                    <a:pt x="396" y="822"/>
                  </a:lnTo>
                  <a:lnTo>
                    <a:pt x="402" y="822"/>
                  </a:lnTo>
                  <a:lnTo>
                    <a:pt x="402" y="816"/>
                  </a:lnTo>
                  <a:lnTo>
                    <a:pt x="396" y="816"/>
                  </a:lnTo>
                  <a:lnTo>
                    <a:pt x="396" y="810"/>
                  </a:lnTo>
                  <a:lnTo>
                    <a:pt x="396" y="804"/>
                  </a:lnTo>
                  <a:lnTo>
                    <a:pt x="390" y="798"/>
                  </a:lnTo>
                  <a:lnTo>
                    <a:pt x="390" y="792"/>
                  </a:lnTo>
                  <a:lnTo>
                    <a:pt x="390" y="786"/>
                  </a:lnTo>
                  <a:lnTo>
                    <a:pt x="390" y="780"/>
                  </a:lnTo>
                  <a:lnTo>
                    <a:pt x="390" y="774"/>
                  </a:lnTo>
                  <a:lnTo>
                    <a:pt x="390" y="768"/>
                  </a:lnTo>
                  <a:lnTo>
                    <a:pt x="390" y="762"/>
                  </a:lnTo>
                  <a:lnTo>
                    <a:pt x="384" y="756"/>
                  </a:lnTo>
                  <a:lnTo>
                    <a:pt x="384" y="750"/>
                  </a:lnTo>
                  <a:lnTo>
                    <a:pt x="384" y="744"/>
                  </a:lnTo>
                  <a:lnTo>
                    <a:pt x="378" y="744"/>
                  </a:lnTo>
                  <a:lnTo>
                    <a:pt x="384" y="744"/>
                  </a:lnTo>
                  <a:lnTo>
                    <a:pt x="384" y="738"/>
                  </a:lnTo>
                  <a:lnTo>
                    <a:pt x="378" y="738"/>
                  </a:lnTo>
                  <a:lnTo>
                    <a:pt x="378" y="732"/>
                  </a:lnTo>
                  <a:lnTo>
                    <a:pt x="378" y="726"/>
                  </a:lnTo>
                  <a:lnTo>
                    <a:pt x="378" y="720"/>
                  </a:lnTo>
                  <a:lnTo>
                    <a:pt x="384" y="720"/>
                  </a:lnTo>
                  <a:close/>
                  <a:moveTo>
                    <a:pt x="330" y="738"/>
                  </a:moveTo>
                  <a:lnTo>
                    <a:pt x="336" y="732"/>
                  </a:lnTo>
                  <a:lnTo>
                    <a:pt x="336" y="726"/>
                  </a:lnTo>
                  <a:lnTo>
                    <a:pt x="342" y="720"/>
                  </a:lnTo>
                  <a:lnTo>
                    <a:pt x="348" y="720"/>
                  </a:lnTo>
                  <a:lnTo>
                    <a:pt x="360" y="720"/>
                  </a:lnTo>
                  <a:lnTo>
                    <a:pt x="366" y="726"/>
                  </a:lnTo>
                  <a:lnTo>
                    <a:pt x="372" y="732"/>
                  </a:lnTo>
                  <a:lnTo>
                    <a:pt x="372" y="738"/>
                  </a:lnTo>
                  <a:lnTo>
                    <a:pt x="366" y="750"/>
                  </a:lnTo>
                  <a:lnTo>
                    <a:pt x="372" y="756"/>
                  </a:lnTo>
                  <a:lnTo>
                    <a:pt x="372" y="762"/>
                  </a:lnTo>
                  <a:lnTo>
                    <a:pt x="372" y="768"/>
                  </a:lnTo>
                  <a:lnTo>
                    <a:pt x="372" y="774"/>
                  </a:lnTo>
                  <a:lnTo>
                    <a:pt x="372" y="780"/>
                  </a:lnTo>
                  <a:lnTo>
                    <a:pt x="372" y="774"/>
                  </a:lnTo>
                  <a:lnTo>
                    <a:pt x="366" y="768"/>
                  </a:lnTo>
                  <a:lnTo>
                    <a:pt x="366" y="762"/>
                  </a:lnTo>
                  <a:lnTo>
                    <a:pt x="366" y="756"/>
                  </a:lnTo>
                  <a:lnTo>
                    <a:pt x="360" y="756"/>
                  </a:lnTo>
                  <a:lnTo>
                    <a:pt x="360" y="750"/>
                  </a:lnTo>
                  <a:lnTo>
                    <a:pt x="354" y="750"/>
                  </a:lnTo>
                  <a:lnTo>
                    <a:pt x="348" y="744"/>
                  </a:lnTo>
                  <a:lnTo>
                    <a:pt x="342" y="744"/>
                  </a:lnTo>
                  <a:lnTo>
                    <a:pt x="336" y="744"/>
                  </a:lnTo>
                  <a:lnTo>
                    <a:pt x="330" y="73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1" name="Freeform 6">
              <a:extLst>
                <a:ext uri="{FF2B5EF4-FFF2-40B4-BE49-F238E27FC236}">
                  <a16:creationId xmlns:a16="http://schemas.microsoft.com/office/drawing/2014/main" id="{0656C385-F30A-4AC8-AE9F-B1F66208B38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3123" y="4163918"/>
              <a:ext cx="266107" cy="248252"/>
            </a:xfrm>
            <a:custGeom>
              <a:avLst/>
              <a:gdLst>
                <a:gd name="T0" fmla="*/ 33 w 504"/>
                <a:gd name="T1" fmla="*/ 41 h 468"/>
                <a:gd name="T2" fmla="*/ 26 w 504"/>
                <a:gd name="T3" fmla="*/ 39 h 468"/>
                <a:gd name="T4" fmla="*/ 21 w 504"/>
                <a:gd name="T5" fmla="*/ 38 h 468"/>
                <a:gd name="T6" fmla="*/ 18 w 504"/>
                <a:gd name="T7" fmla="*/ 38 h 468"/>
                <a:gd name="T8" fmla="*/ 15 w 504"/>
                <a:gd name="T9" fmla="*/ 39 h 468"/>
                <a:gd name="T10" fmla="*/ 12 w 504"/>
                <a:gd name="T11" fmla="*/ 38 h 468"/>
                <a:gd name="T12" fmla="*/ 9 w 504"/>
                <a:gd name="T13" fmla="*/ 37 h 468"/>
                <a:gd name="T14" fmla="*/ 7 w 504"/>
                <a:gd name="T15" fmla="*/ 32 h 468"/>
                <a:gd name="T16" fmla="*/ 6 w 504"/>
                <a:gd name="T17" fmla="*/ 26 h 468"/>
                <a:gd name="T18" fmla="*/ 3 w 504"/>
                <a:gd name="T19" fmla="*/ 24 h 468"/>
                <a:gd name="T20" fmla="*/ 1 w 504"/>
                <a:gd name="T21" fmla="*/ 24 h 468"/>
                <a:gd name="T22" fmla="*/ 2 w 504"/>
                <a:gd name="T23" fmla="*/ 18 h 468"/>
                <a:gd name="T24" fmla="*/ 1 w 504"/>
                <a:gd name="T25" fmla="*/ 17 h 468"/>
                <a:gd name="T26" fmla="*/ 0 w 504"/>
                <a:gd name="T27" fmla="*/ 17 h 468"/>
                <a:gd name="T28" fmla="*/ 0 w 504"/>
                <a:gd name="T29" fmla="*/ 15 h 468"/>
                <a:gd name="T30" fmla="*/ 2 w 504"/>
                <a:gd name="T31" fmla="*/ 12 h 468"/>
                <a:gd name="T32" fmla="*/ 4 w 504"/>
                <a:gd name="T33" fmla="*/ 10 h 468"/>
                <a:gd name="T34" fmla="*/ 6 w 504"/>
                <a:gd name="T35" fmla="*/ 8 h 468"/>
                <a:gd name="T36" fmla="*/ 8 w 504"/>
                <a:gd name="T37" fmla="*/ 8 h 468"/>
                <a:gd name="T38" fmla="*/ 10 w 504"/>
                <a:gd name="T39" fmla="*/ 9 h 468"/>
                <a:gd name="T40" fmla="*/ 12 w 504"/>
                <a:gd name="T41" fmla="*/ 10 h 468"/>
                <a:gd name="T42" fmla="*/ 12 w 504"/>
                <a:gd name="T43" fmla="*/ 11 h 468"/>
                <a:gd name="T44" fmla="*/ 14 w 504"/>
                <a:gd name="T45" fmla="*/ 8 h 468"/>
                <a:gd name="T46" fmla="*/ 15 w 504"/>
                <a:gd name="T47" fmla="*/ 7 h 468"/>
                <a:gd name="T48" fmla="*/ 17 w 504"/>
                <a:gd name="T49" fmla="*/ 6 h 468"/>
                <a:gd name="T50" fmla="*/ 19 w 504"/>
                <a:gd name="T51" fmla="*/ 3 h 468"/>
                <a:gd name="T52" fmla="*/ 20 w 504"/>
                <a:gd name="T53" fmla="*/ 2 h 468"/>
                <a:gd name="T54" fmla="*/ 22 w 504"/>
                <a:gd name="T55" fmla="*/ 1 h 468"/>
                <a:gd name="T56" fmla="*/ 27 w 504"/>
                <a:gd name="T57" fmla="*/ 1 h 468"/>
                <a:gd name="T58" fmla="*/ 30 w 504"/>
                <a:gd name="T59" fmla="*/ 2 h 468"/>
                <a:gd name="T60" fmla="*/ 31 w 504"/>
                <a:gd name="T61" fmla="*/ 2 h 468"/>
                <a:gd name="T62" fmla="*/ 34 w 504"/>
                <a:gd name="T63" fmla="*/ 0 h 468"/>
                <a:gd name="T64" fmla="*/ 37 w 504"/>
                <a:gd name="T65" fmla="*/ 1 h 468"/>
                <a:gd name="T66" fmla="*/ 41 w 504"/>
                <a:gd name="T67" fmla="*/ 2 h 468"/>
                <a:gd name="T68" fmla="*/ 42 w 504"/>
                <a:gd name="T69" fmla="*/ 4 h 468"/>
                <a:gd name="T70" fmla="*/ 42 w 504"/>
                <a:gd name="T71" fmla="*/ 10 h 468"/>
                <a:gd name="T72" fmla="*/ 41 w 504"/>
                <a:gd name="T73" fmla="*/ 14 h 468"/>
                <a:gd name="T74" fmla="*/ 42 w 504"/>
                <a:gd name="T75" fmla="*/ 15 h 468"/>
                <a:gd name="T76" fmla="*/ 44 w 504"/>
                <a:gd name="T77" fmla="*/ 18 h 468"/>
                <a:gd name="T78" fmla="*/ 43 w 504"/>
                <a:gd name="T79" fmla="*/ 19 h 468"/>
                <a:gd name="T80" fmla="*/ 42 w 504"/>
                <a:gd name="T81" fmla="*/ 21 h 468"/>
                <a:gd name="T82" fmla="*/ 42 w 504"/>
                <a:gd name="T83" fmla="*/ 23 h 468"/>
                <a:gd name="T84" fmla="*/ 39 w 504"/>
                <a:gd name="T85" fmla="*/ 27 h 468"/>
                <a:gd name="T86" fmla="*/ 38 w 504"/>
                <a:gd name="T87" fmla="*/ 29 h 468"/>
                <a:gd name="T88" fmla="*/ 38 w 504"/>
                <a:gd name="T89" fmla="*/ 31 h 468"/>
                <a:gd name="T90" fmla="*/ 36 w 504"/>
                <a:gd name="T91" fmla="*/ 32 h 468"/>
                <a:gd name="T92" fmla="*/ 35 w 504"/>
                <a:gd name="T93" fmla="*/ 34 h 468"/>
                <a:gd name="T94" fmla="*/ 34 w 504"/>
                <a:gd name="T95" fmla="*/ 38 h 46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04"/>
                <a:gd name="T145" fmla="*/ 0 h 468"/>
                <a:gd name="T146" fmla="*/ 504 w 504"/>
                <a:gd name="T147" fmla="*/ 468 h 46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04" h="468">
                  <a:moveTo>
                    <a:pt x="390" y="456"/>
                  </a:moveTo>
                  <a:lnTo>
                    <a:pt x="384" y="468"/>
                  </a:lnTo>
                  <a:lnTo>
                    <a:pt x="378" y="468"/>
                  </a:lnTo>
                  <a:lnTo>
                    <a:pt x="354" y="468"/>
                  </a:lnTo>
                  <a:lnTo>
                    <a:pt x="348" y="462"/>
                  </a:lnTo>
                  <a:lnTo>
                    <a:pt x="300" y="456"/>
                  </a:lnTo>
                  <a:lnTo>
                    <a:pt x="270" y="444"/>
                  </a:lnTo>
                  <a:lnTo>
                    <a:pt x="252" y="438"/>
                  </a:lnTo>
                  <a:lnTo>
                    <a:pt x="240" y="438"/>
                  </a:lnTo>
                  <a:lnTo>
                    <a:pt x="234" y="438"/>
                  </a:lnTo>
                  <a:lnTo>
                    <a:pt x="228" y="444"/>
                  </a:lnTo>
                  <a:lnTo>
                    <a:pt x="210" y="444"/>
                  </a:lnTo>
                  <a:lnTo>
                    <a:pt x="198" y="444"/>
                  </a:lnTo>
                  <a:lnTo>
                    <a:pt x="198" y="450"/>
                  </a:lnTo>
                  <a:lnTo>
                    <a:pt x="168" y="456"/>
                  </a:lnTo>
                  <a:lnTo>
                    <a:pt x="150" y="450"/>
                  </a:lnTo>
                  <a:lnTo>
                    <a:pt x="144" y="444"/>
                  </a:lnTo>
                  <a:lnTo>
                    <a:pt x="132" y="438"/>
                  </a:lnTo>
                  <a:lnTo>
                    <a:pt x="138" y="432"/>
                  </a:lnTo>
                  <a:lnTo>
                    <a:pt x="114" y="432"/>
                  </a:lnTo>
                  <a:lnTo>
                    <a:pt x="102" y="426"/>
                  </a:lnTo>
                  <a:lnTo>
                    <a:pt x="90" y="414"/>
                  </a:lnTo>
                  <a:lnTo>
                    <a:pt x="72" y="402"/>
                  </a:lnTo>
                  <a:lnTo>
                    <a:pt x="78" y="366"/>
                  </a:lnTo>
                  <a:lnTo>
                    <a:pt x="78" y="330"/>
                  </a:lnTo>
                  <a:lnTo>
                    <a:pt x="66" y="318"/>
                  </a:lnTo>
                  <a:lnTo>
                    <a:pt x="66" y="300"/>
                  </a:lnTo>
                  <a:lnTo>
                    <a:pt x="66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30" y="282"/>
                  </a:lnTo>
                  <a:lnTo>
                    <a:pt x="24" y="282"/>
                  </a:lnTo>
                  <a:lnTo>
                    <a:pt x="12" y="276"/>
                  </a:lnTo>
                  <a:lnTo>
                    <a:pt x="0" y="282"/>
                  </a:lnTo>
                  <a:lnTo>
                    <a:pt x="12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2" y="198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6" y="180"/>
                  </a:lnTo>
                  <a:lnTo>
                    <a:pt x="12" y="186"/>
                  </a:lnTo>
                  <a:lnTo>
                    <a:pt x="18" y="138"/>
                  </a:lnTo>
                  <a:lnTo>
                    <a:pt x="24" y="126"/>
                  </a:lnTo>
                  <a:lnTo>
                    <a:pt x="30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20" y="102"/>
                  </a:lnTo>
                  <a:lnTo>
                    <a:pt x="126" y="108"/>
                  </a:lnTo>
                  <a:lnTo>
                    <a:pt x="126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0"/>
                  </a:lnTo>
                  <a:lnTo>
                    <a:pt x="156" y="96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16" y="42"/>
                  </a:lnTo>
                  <a:lnTo>
                    <a:pt x="222" y="36"/>
                  </a:lnTo>
                  <a:lnTo>
                    <a:pt x="228" y="36"/>
                  </a:lnTo>
                  <a:lnTo>
                    <a:pt x="228" y="30"/>
                  </a:lnTo>
                  <a:lnTo>
                    <a:pt x="228" y="24"/>
                  </a:lnTo>
                  <a:lnTo>
                    <a:pt x="246" y="18"/>
                  </a:lnTo>
                  <a:lnTo>
                    <a:pt x="252" y="18"/>
                  </a:lnTo>
                  <a:lnTo>
                    <a:pt x="258" y="12"/>
                  </a:lnTo>
                  <a:lnTo>
                    <a:pt x="270" y="6"/>
                  </a:lnTo>
                  <a:lnTo>
                    <a:pt x="288" y="6"/>
                  </a:lnTo>
                  <a:lnTo>
                    <a:pt x="312" y="12"/>
                  </a:lnTo>
                  <a:lnTo>
                    <a:pt x="324" y="12"/>
                  </a:lnTo>
                  <a:lnTo>
                    <a:pt x="336" y="18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14" y="12"/>
                  </a:lnTo>
                  <a:lnTo>
                    <a:pt x="426" y="12"/>
                  </a:lnTo>
                  <a:lnTo>
                    <a:pt x="444" y="18"/>
                  </a:lnTo>
                  <a:lnTo>
                    <a:pt x="462" y="18"/>
                  </a:lnTo>
                  <a:lnTo>
                    <a:pt x="474" y="18"/>
                  </a:lnTo>
                  <a:lnTo>
                    <a:pt x="480" y="18"/>
                  </a:lnTo>
                  <a:lnTo>
                    <a:pt x="486" y="36"/>
                  </a:lnTo>
                  <a:lnTo>
                    <a:pt x="480" y="42"/>
                  </a:lnTo>
                  <a:lnTo>
                    <a:pt x="480" y="54"/>
                  </a:lnTo>
                  <a:lnTo>
                    <a:pt x="486" y="78"/>
                  </a:lnTo>
                  <a:lnTo>
                    <a:pt x="486" y="114"/>
                  </a:lnTo>
                  <a:lnTo>
                    <a:pt x="486" y="150"/>
                  </a:lnTo>
                  <a:lnTo>
                    <a:pt x="468" y="150"/>
                  </a:lnTo>
                  <a:lnTo>
                    <a:pt x="474" y="162"/>
                  </a:lnTo>
                  <a:lnTo>
                    <a:pt x="480" y="162"/>
                  </a:lnTo>
                  <a:lnTo>
                    <a:pt x="486" y="174"/>
                  </a:lnTo>
                  <a:lnTo>
                    <a:pt x="492" y="174"/>
                  </a:lnTo>
                  <a:lnTo>
                    <a:pt x="492" y="192"/>
                  </a:lnTo>
                  <a:lnTo>
                    <a:pt x="498" y="198"/>
                  </a:lnTo>
                  <a:lnTo>
                    <a:pt x="504" y="204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8" y="222"/>
                  </a:lnTo>
                  <a:lnTo>
                    <a:pt x="492" y="228"/>
                  </a:lnTo>
                  <a:lnTo>
                    <a:pt x="492" y="234"/>
                  </a:lnTo>
                  <a:lnTo>
                    <a:pt x="492" y="240"/>
                  </a:lnTo>
                  <a:lnTo>
                    <a:pt x="486" y="246"/>
                  </a:lnTo>
                  <a:lnTo>
                    <a:pt x="486" y="258"/>
                  </a:lnTo>
                  <a:lnTo>
                    <a:pt x="480" y="264"/>
                  </a:lnTo>
                  <a:lnTo>
                    <a:pt x="474" y="276"/>
                  </a:lnTo>
                  <a:lnTo>
                    <a:pt x="468" y="288"/>
                  </a:lnTo>
                  <a:lnTo>
                    <a:pt x="456" y="306"/>
                  </a:lnTo>
                  <a:lnTo>
                    <a:pt x="456" y="312"/>
                  </a:lnTo>
                  <a:lnTo>
                    <a:pt x="444" y="318"/>
                  </a:lnTo>
                  <a:lnTo>
                    <a:pt x="432" y="336"/>
                  </a:lnTo>
                  <a:lnTo>
                    <a:pt x="432" y="342"/>
                  </a:lnTo>
                  <a:lnTo>
                    <a:pt x="432" y="348"/>
                  </a:lnTo>
                  <a:lnTo>
                    <a:pt x="432" y="354"/>
                  </a:lnTo>
                  <a:lnTo>
                    <a:pt x="426" y="366"/>
                  </a:lnTo>
                  <a:lnTo>
                    <a:pt x="420" y="366"/>
                  </a:lnTo>
                  <a:lnTo>
                    <a:pt x="420" y="372"/>
                  </a:lnTo>
                  <a:lnTo>
                    <a:pt x="414" y="378"/>
                  </a:lnTo>
                  <a:lnTo>
                    <a:pt x="414" y="390"/>
                  </a:lnTo>
                  <a:lnTo>
                    <a:pt x="408" y="390"/>
                  </a:lnTo>
                  <a:lnTo>
                    <a:pt x="408" y="402"/>
                  </a:lnTo>
                  <a:lnTo>
                    <a:pt x="402" y="414"/>
                  </a:lnTo>
                  <a:lnTo>
                    <a:pt x="396" y="438"/>
                  </a:lnTo>
                  <a:lnTo>
                    <a:pt x="396" y="444"/>
                  </a:lnTo>
                  <a:lnTo>
                    <a:pt x="390" y="45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11" name="Freeform 7">
              <a:extLst>
                <a:ext uri="{FF2B5EF4-FFF2-40B4-BE49-F238E27FC236}">
                  <a16:creationId xmlns:a16="http://schemas.microsoft.com/office/drawing/2014/main" id="{0D8DE62D-4554-4314-9F3A-7208D89B4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90838" y="4128134"/>
              <a:ext cx="283995" cy="411516"/>
            </a:xfrm>
            <a:custGeom>
              <a:avLst/>
              <a:gdLst>
                <a:gd name="T0" fmla="*/ 39 w 534"/>
                <a:gd name="T1" fmla="*/ 35 h 774"/>
                <a:gd name="T2" fmla="*/ 35 w 534"/>
                <a:gd name="T3" fmla="*/ 31 h 774"/>
                <a:gd name="T4" fmla="*/ 32 w 534"/>
                <a:gd name="T5" fmla="*/ 29 h 774"/>
                <a:gd name="T6" fmla="*/ 32 w 534"/>
                <a:gd name="T7" fmla="*/ 31 h 774"/>
                <a:gd name="T8" fmla="*/ 29 w 534"/>
                <a:gd name="T9" fmla="*/ 33 h 774"/>
                <a:gd name="T10" fmla="*/ 27 w 534"/>
                <a:gd name="T11" fmla="*/ 36 h 774"/>
                <a:gd name="T12" fmla="*/ 30 w 534"/>
                <a:gd name="T13" fmla="*/ 38 h 774"/>
                <a:gd name="T14" fmla="*/ 29 w 534"/>
                <a:gd name="T15" fmla="*/ 40 h 774"/>
                <a:gd name="T16" fmla="*/ 25 w 534"/>
                <a:gd name="T17" fmla="*/ 40 h 774"/>
                <a:gd name="T18" fmla="*/ 23 w 534"/>
                <a:gd name="T19" fmla="*/ 42 h 774"/>
                <a:gd name="T20" fmla="*/ 22 w 534"/>
                <a:gd name="T21" fmla="*/ 47 h 774"/>
                <a:gd name="T22" fmla="*/ 22 w 534"/>
                <a:gd name="T23" fmla="*/ 51 h 774"/>
                <a:gd name="T24" fmla="*/ 22 w 534"/>
                <a:gd name="T25" fmla="*/ 54 h 774"/>
                <a:gd name="T26" fmla="*/ 21 w 534"/>
                <a:gd name="T27" fmla="*/ 56 h 774"/>
                <a:gd name="T28" fmla="*/ 19 w 534"/>
                <a:gd name="T29" fmla="*/ 58 h 774"/>
                <a:gd name="T30" fmla="*/ 20 w 534"/>
                <a:gd name="T31" fmla="*/ 59 h 774"/>
                <a:gd name="T32" fmla="*/ 19 w 534"/>
                <a:gd name="T33" fmla="*/ 62 h 774"/>
                <a:gd name="T34" fmla="*/ 19 w 534"/>
                <a:gd name="T35" fmla="*/ 64 h 774"/>
                <a:gd name="T36" fmla="*/ 20 w 534"/>
                <a:gd name="T37" fmla="*/ 66 h 774"/>
                <a:gd name="T38" fmla="*/ 17 w 534"/>
                <a:gd name="T39" fmla="*/ 66 h 774"/>
                <a:gd name="T40" fmla="*/ 16 w 534"/>
                <a:gd name="T41" fmla="*/ 65 h 774"/>
                <a:gd name="T42" fmla="*/ 13 w 534"/>
                <a:gd name="T43" fmla="*/ 65 h 774"/>
                <a:gd name="T44" fmla="*/ 11 w 534"/>
                <a:gd name="T45" fmla="*/ 65 h 774"/>
                <a:gd name="T46" fmla="*/ 8 w 534"/>
                <a:gd name="T47" fmla="*/ 65 h 774"/>
                <a:gd name="T48" fmla="*/ 8 w 534"/>
                <a:gd name="T49" fmla="*/ 64 h 774"/>
                <a:gd name="T50" fmla="*/ 5 w 534"/>
                <a:gd name="T51" fmla="*/ 65 h 774"/>
                <a:gd name="T52" fmla="*/ 3 w 534"/>
                <a:gd name="T53" fmla="*/ 65 h 774"/>
                <a:gd name="T54" fmla="*/ 0 w 534"/>
                <a:gd name="T55" fmla="*/ 64 h 774"/>
                <a:gd name="T56" fmla="*/ 0 w 534"/>
                <a:gd name="T57" fmla="*/ 62 h 774"/>
                <a:gd name="T58" fmla="*/ 3 w 534"/>
                <a:gd name="T59" fmla="*/ 60 h 774"/>
                <a:gd name="T60" fmla="*/ 6 w 534"/>
                <a:gd name="T61" fmla="*/ 57 h 774"/>
                <a:gd name="T62" fmla="*/ 8 w 534"/>
                <a:gd name="T63" fmla="*/ 50 h 774"/>
                <a:gd name="T64" fmla="*/ 6 w 534"/>
                <a:gd name="T65" fmla="*/ 45 h 774"/>
                <a:gd name="T66" fmla="*/ 8 w 534"/>
                <a:gd name="T67" fmla="*/ 41 h 774"/>
                <a:gd name="T68" fmla="*/ 9 w 534"/>
                <a:gd name="T69" fmla="*/ 38 h 774"/>
                <a:gd name="T70" fmla="*/ 10 w 534"/>
                <a:gd name="T71" fmla="*/ 36 h 774"/>
                <a:gd name="T72" fmla="*/ 12 w 534"/>
                <a:gd name="T73" fmla="*/ 33 h 774"/>
                <a:gd name="T74" fmla="*/ 14 w 534"/>
                <a:gd name="T75" fmla="*/ 29 h 774"/>
                <a:gd name="T76" fmla="*/ 16 w 534"/>
                <a:gd name="T77" fmla="*/ 26 h 774"/>
                <a:gd name="T78" fmla="*/ 16 w 534"/>
                <a:gd name="T79" fmla="*/ 24 h 774"/>
                <a:gd name="T80" fmla="*/ 16 w 534"/>
                <a:gd name="T81" fmla="*/ 21 h 774"/>
                <a:gd name="T82" fmla="*/ 13 w 534"/>
                <a:gd name="T83" fmla="*/ 19 h 774"/>
                <a:gd name="T84" fmla="*/ 14 w 534"/>
                <a:gd name="T85" fmla="*/ 10 h 774"/>
                <a:gd name="T86" fmla="*/ 14 w 534"/>
                <a:gd name="T87" fmla="*/ 7 h 774"/>
                <a:gd name="T88" fmla="*/ 8 w 534"/>
                <a:gd name="T89" fmla="*/ 7 h 774"/>
                <a:gd name="T90" fmla="*/ 7 w 534"/>
                <a:gd name="T91" fmla="*/ 3 h 774"/>
                <a:gd name="T92" fmla="*/ 11 w 534"/>
                <a:gd name="T93" fmla="*/ 1 h 774"/>
                <a:gd name="T94" fmla="*/ 12 w 534"/>
                <a:gd name="T95" fmla="*/ 0 h 774"/>
                <a:gd name="T96" fmla="*/ 16 w 534"/>
                <a:gd name="T97" fmla="*/ 2 h 774"/>
                <a:gd name="T98" fmla="*/ 20 w 534"/>
                <a:gd name="T99" fmla="*/ 2 h 774"/>
                <a:gd name="T100" fmla="*/ 23 w 534"/>
                <a:gd name="T101" fmla="*/ 3 h 774"/>
                <a:gd name="T102" fmla="*/ 23 w 534"/>
                <a:gd name="T103" fmla="*/ 10 h 774"/>
                <a:gd name="T104" fmla="*/ 29 w 534"/>
                <a:gd name="T105" fmla="*/ 12 h 774"/>
                <a:gd name="T106" fmla="*/ 35 w 534"/>
                <a:gd name="T107" fmla="*/ 12 h 774"/>
                <a:gd name="T108" fmla="*/ 38 w 534"/>
                <a:gd name="T109" fmla="*/ 17 h 774"/>
                <a:gd name="T110" fmla="*/ 40 w 534"/>
                <a:gd name="T111" fmla="*/ 19 h 774"/>
                <a:gd name="T112" fmla="*/ 44 w 534"/>
                <a:gd name="T113" fmla="*/ 23 h 774"/>
                <a:gd name="T114" fmla="*/ 44 w 534"/>
                <a:gd name="T115" fmla="*/ 30 h 774"/>
                <a:gd name="T116" fmla="*/ 46 w 534"/>
                <a:gd name="T117" fmla="*/ 36 h 774"/>
                <a:gd name="T118" fmla="*/ 41 w 534"/>
                <a:gd name="T119" fmla="*/ 37 h 77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34"/>
                <a:gd name="T181" fmla="*/ 0 h 774"/>
                <a:gd name="T182" fmla="*/ 534 w 534"/>
                <a:gd name="T183" fmla="*/ 774 h 77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34" h="774">
                  <a:moveTo>
                    <a:pt x="462" y="426"/>
                  </a:moveTo>
                  <a:lnTo>
                    <a:pt x="462" y="414"/>
                  </a:lnTo>
                  <a:lnTo>
                    <a:pt x="450" y="402"/>
                  </a:lnTo>
                  <a:lnTo>
                    <a:pt x="444" y="396"/>
                  </a:lnTo>
                  <a:lnTo>
                    <a:pt x="420" y="396"/>
                  </a:lnTo>
                  <a:lnTo>
                    <a:pt x="408" y="390"/>
                  </a:lnTo>
                  <a:lnTo>
                    <a:pt x="402" y="366"/>
                  </a:lnTo>
                  <a:lnTo>
                    <a:pt x="390" y="354"/>
                  </a:lnTo>
                  <a:lnTo>
                    <a:pt x="384" y="336"/>
                  </a:lnTo>
                  <a:lnTo>
                    <a:pt x="378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8" y="348"/>
                  </a:lnTo>
                  <a:lnTo>
                    <a:pt x="360" y="354"/>
                  </a:lnTo>
                  <a:lnTo>
                    <a:pt x="360" y="390"/>
                  </a:lnTo>
                  <a:lnTo>
                    <a:pt x="348" y="390"/>
                  </a:lnTo>
                  <a:lnTo>
                    <a:pt x="342" y="384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90"/>
                  </a:lnTo>
                  <a:lnTo>
                    <a:pt x="312" y="402"/>
                  </a:lnTo>
                  <a:lnTo>
                    <a:pt x="306" y="420"/>
                  </a:lnTo>
                  <a:lnTo>
                    <a:pt x="324" y="414"/>
                  </a:lnTo>
                  <a:lnTo>
                    <a:pt x="330" y="414"/>
                  </a:lnTo>
                  <a:lnTo>
                    <a:pt x="336" y="420"/>
                  </a:lnTo>
                  <a:lnTo>
                    <a:pt x="336" y="432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6"/>
                  </a:lnTo>
                  <a:lnTo>
                    <a:pt x="318" y="456"/>
                  </a:lnTo>
                  <a:lnTo>
                    <a:pt x="300" y="456"/>
                  </a:lnTo>
                  <a:lnTo>
                    <a:pt x="288" y="462"/>
                  </a:lnTo>
                  <a:lnTo>
                    <a:pt x="276" y="462"/>
                  </a:lnTo>
                  <a:lnTo>
                    <a:pt x="270" y="462"/>
                  </a:lnTo>
                  <a:lnTo>
                    <a:pt x="270" y="468"/>
                  </a:lnTo>
                  <a:lnTo>
                    <a:pt x="252" y="468"/>
                  </a:lnTo>
                  <a:lnTo>
                    <a:pt x="258" y="480"/>
                  </a:lnTo>
                  <a:lnTo>
                    <a:pt x="258" y="492"/>
                  </a:lnTo>
                  <a:lnTo>
                    <a:pt x="258" y="498"/>
                  </a:lnTo>
                  <a:lnTo>
                    <a:pt x="258" y="510"/>
                  </a:lnTo>
                  <a:lnTo>
                    <a:pt x="252" y="540"/>
                  </a:lnTo>
                  <a:lnTo>
                    <a:pt x="246" y="564"/>
                  </a:lnTo>
                  <a:lnTo>
                    <a:pt x="246" y="570"/>
                  </a:lnTo>
                  <a:lnTo>
                    <a:pt x="252" y="576"/>
                  </a:lnTo>
                  <a:lnTo>
                    <a:pt x="246" y="582"/>
                  </a:lnTo>
                  <a:lnTo>
                    <a:pt x="252" y="600"/>
                  </a:lnTo>
                  <a:lnTo>
                    <a:pt x="258" y="606"/>
                  </a:lnTo>
                  <a:lnTo>
                    <a:pt x="258" y="612"/>
                  </a:lnTo>
                  <a:lnTo>
                    <a:pt x="252" y="618"/>
                  </a:lnTo>
                  <a:lnTo>
                    <a:pt x="246" y="624"/>
                  </a:lnTo>
                  <a:lnTo>
                    <a:pt x="246" y="630"/>
                  </a:lnTo>
                  <a:lnTo>
                    <a:pt x="246" y="636"/>
                  </a:lnTo>
                  <a:lnTo>
                    <a:pt x="240" y="642"/>
                  </a:lnTo>
                  <a:lnTo>
                    <a:pt x="234" y="654"/>
                  </a:lnTo>
                  <a:lnTo>
                    <a:pt x="228" y="654"/>
                  </a:lnTo>
                  <a:lnTo>
                    <a:pt x="222" y="660"/>
                  </a:lnTo>
                  <a:lnTo>
                    <a:pt x="216" y="666"/>
                  </a:lnTo>
                  <a:lnTo>
                    <a:pt x="210" y="666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22" y="684"/>
                  </a:lnTo>
                  <a:lnTo>
                    <a:pt x="222" y="690"/>
                  </a:lnTo>
                  <a:lnTo>
                    <a:pt x="222" y="696"/>
                  </a:lnTo>
                  <a:lnTo>
                    <a:pt x="222" y="702"/>
                  </a:lnTo>
                  <a:lnTo>
                    <a:pt x="216" y="708"/>
                  </a:lnTo>
                  <a:lnTo>
                    <a:pt x="210" y="720"/>
                  </a:lnTo>
                  <a:lnTo>
                    <a:pt x="216" y="732"/>
                  </a:lnTo>
                  <a:lnTo>
                    <a:pt x="210" y="732"/>
                  </a:lnTo>
                  <a:lnTo>
                    <a:pt x="216" y="738"/>
                  </a:lnTo>
                  <a:lnTo>
                    <a:pt x="216" y="744"/>
                  </a:lnTo>
                  <a:lnTo>
                    <a:pt x="222" y="750"/>
                  </a:lnTo>
                  <a:lnTo>
                    <a:pt x="228" y="756"/>
                  </a:lnTo>
                  <a:lnTo>
                    <a:pt x="222" y="762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04" y="762"/>
                  </a:lnTo>
                  <a:lnTo>
                    <a:pt x="198" y="762"/>
                  </a:lnTo>
                  <a:lnTo>
                    <a:pt x="192" y="762"/>
                  </a:lnTo>
                  <a:lnTo>
                    <a:pt x="186" y="756"/>
                  </a:lnTo>
                  <a:lnTo>
                    <a:pt x="180" y="750"/>
                  </a:lnTo>
                  <a:lnTo>
                    <a:pt x="180" y="744"/>
                  </a:lnTo>
                  <a:lnTo>
                    <a:pt x="174" y="744"/>
                  </a:lnTo>
                  <a:lnTo>
                    <a:pt x="156" y="750"/>
                  </a:lnTo>
                  <a:lnTo>
                    <a:pt x="150" y="750"/>
                  </a:lnTo>
                  <a:lnTo>
                    <a:pt x="144" y="750"/>
                  </a:lnTo>
                  <a:lnTo>
                    <a:pt x="138" y="750"/>
                  </a:lnTo>
                  <a:lnTo>
                    <a:pt x="138" y="744"/>
                  </a:lnTo>
                  <a:lnTo>
                    <a:pt x="132" y="744"/>
                  </a:lnTo>
                  <a:lnTo>
                    <a:pt x="120" y="744"/>
                  </a:lnTo>
                  <a:lnTo>
                    <a:pt x="114" y="738"/>
                  </a:lnTo>
                  <a:lnTo>
                    <a:pt x="108" y="744"/>
                  </a:lnTo>
                  <a:lnTo>
                    <a:pt x="102" y="744"/>
                  </a:lnTo>
                  <a:lnTo>
                    <a:pt x="96" y="744"/>
                  </a:lnTo>
                  <a:lnTo>
                    <a:pt x="96" y="738"/>
                  </a:lnTo>
                  <a:lnTo>
                    <a:pt x="96" y="744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44"/>
                  </a:lnTo>
                  <a:lnTo>
                    <a:pt x="72" y="750"/>
                  </a:lnTo>
                  <a:lnTo>
                    <a:pt x="66" y="750"/>
                  </a:lnTo>
                  <a:lnTo>
                    <a:pt x="60" y="750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0"/>
                  </a:lnTo>
                  <a:lnTo>
                    <a:pt x="30" y="750"/>
                  </a:lnTo>
                  <a:lnTo>
                    <a:pt x="24" y="744"/>
                  </a:lnTo>
                  <a:lnTo>
                    <a:pt x="18" y="738"/>
                  </a:lnTo>
                  <a:lnTo>
                    <a:pt x="6" y="738"/>
                  </a:lnTo>
                  <a:lnTo>
                    <a:pt x="0" y="732"/>
                  </a:lnTo>
                  <a:lnTo>
                    <a:pt x="0" y="726"/>
                  </a:lnTo>
                  <a:lnTo>
                    <a:pt x="0" y="720"/>
                  </a:lnTo>
                  <a:lnTo>
                    <a:pt x="6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8" y="702"/>
                  </a:lnTo>
                  <a:lnTo>
                    <a:pt x="24" y="696"/>
                  </a:lnTo>
                  <a:lnTo>
                    <a:pt x="30" y="696"/>
                  </a:lnTo>
                  <a:lnTo>
                    <a:pt x="48" y="690"/>
                  </a:lnTo>
                  <a:lnTo>
                    <a:pt x="54" y="678"/>
                  </a:lnTo>
                  <a:lnTo>
                    <a:pt x="66" y="672"/>
                  </a:lnTo>
                  <a:lnTo>
                    <a:pt x="66" y="654"/>
                  </a:lnTo>
                  <a:lnTo>
                    <a:pt x="72" y="636"/>
                  </a:lnTo>
                  <a:lnTo>
                    <a:pt x="72" y="612"/>
                  </a:lnTo>
                  <a:lnTo>
                    <a:pt x="84" y="594"/>
                  </a:lnTo>
                  <a:lnTo>
                    <a:pt x="90" y="576"/>
                  </a:lnTo>
                  <a:lnTo>
                    <a:pt x="96" y="552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72" y="522"/>
                  </a:lnTo>
                  <a:lnTo>
                    <a:pt x="78" y="510"/>
                  </a:lnTo>
                  <a:lnTo>
                    <a:pt x="78" y="504"/>
                  </a:lnTo>
                  <a:lnTo>
                    <a:pt x="84" y="480"/>
                  </a:lnTo>
                  <a:lnTo>
                    <a:pt x="90" y="468"/>
                  </a:lnTo>
                  <a:lnTo>
                    <a:pt x="90" y="456"/>
                  </a:lnTo>
                  <a:lnTo>
                    <a:pt x="96" y="456"/>
                  </a:lnTo>
                  <a:lnTo>
                    <a:pt x="96" y="444"/>
                  </a:lnTo>
                  <a:lnTo>
                    <a:pt x="102" y="438"/>
                  </a:lnTo>
                  <a:lnTo>
                    <a:pt x="102" y="432"/>
                  </a:lnTo>
                  <a:lnTo>
                    <a:pt x="108" y="432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14" y="408"/>
                  </a:lnTo>
                  <a:lnTo>
                    <a:pt x="114" y="402"/>
                  </a:lnTo>
                  <a:lnTo>
                    <a:pt x="126" y="384"/>
                  </a:lnTo>
                  <a:lnTo>
                    <a:pt x="138" y="378"/>
                  </a:lnTo>
                  <a:lnTo>
                    <a:pt x="138" y="372"/>
                  </a:lnTo>
                  <a:lnTo>
                    <a:pt x="150" y="354"/>
                  </a:lnTo>
                  <a:lnTo>
                    <a:pt x="156" y="342"/>
                  </a:lnTo>
                  <a:lnTo>
                    <a:pt x="162" y="330"/>
                  </a:lnTo>
                  <a:lnTo>
                    <a:pt x="168" y="324"/>
                  </a:lnTo>
                  <a:lnTo>
                    <a:pt x="168" y="312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74" y="294"/>
                  </a:lnTo>
                  <a:lnTo>
                    <a:pt x="180" y="288"/>
                  </a:lnTo>
                  <a:lnTo>
                    <a:pt x="180" y="276"/>
                  </a:lnTo>
                  <a:lnTo>
                    <a:pt x="186" y="276"/>
                  </a:lnTo>
                  <a:lnTo>
                    <a:pt x="186" y="270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40"/>
                  </a:lnTo>
                  <a:lnTo>
                    <a:pt x="168" y="240"/>
                  </a:lnTo>
                  <a:lnTo>
                    <a:pt x="162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68" y="216"/>
                  </a:lnTo>
                  <a:lnTo>
                    <a:pt x="168" y="180"/>
                  </a:lnTo>
                  <a:lnTo>
                    <a:pt x="168" y="144"/>
                  </a:lnTo>
                  <a:lnTo>
                    <a:pt x="162" y="120"/>
                  </a:lnTo>
                  <a:lnTo>
                    <a:pt x="162" y="108"/>
                  </a:lnTo>
                  <a:lnTo>
                    <a:pt x="168" y="102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44" y="84"/>
                  </a:lnTo>
                  <a:lnTo>
                    <a:pt x="126" y="84"/>
                  </a:lnTo>
                  <a:lnTo>
                    <a:pt x="108" y="78"/>
                  </a:lnTo>
                  <a:lnTo>
                    <a:pt x="96" y="78"/>
                  </a:lnTo>
                  <a:lnTo>
                    <a:pt x="78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8" y="36"/>
                  </a:lnTo>
                  <a:lnTo>
                    <a:pt x="96" y="24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56" y="0"/>
                  </a:lnTo>
                  <a:lnTo>
                    <a:pt x="156" y="6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18"/>
                  </a:lnTo>
                  <a:lnTo>
                    <a:pt x="198" y="18"/>
                  </a:lnTo>
                  <a:lnTo>
                    <a:pt x="210" y="18"/>
                  </a:lnTo>
                  <a:lnTo>
                    <a:pt x="222" y="18"/>
                  </a:lnTo>
                  <a:lnTo>
                    <a:pt x="234" y="12"/>
                  </a:lnTo>
                  <a:lnTo>
                    <a:pt x="252" y="18"/>
                  </a:lnTo>
                  <a:lnTo>
                    <a:pt x="252" y="24"/>
                  </a:lnTo>
                  <a:lnTo>
                    <a:pt x="258" y="36"/>
                  </a:lnTo>
                  <a:lnTo>
                    <a:pt x="258" y="66"/>
                  </a:lnTo>
                  <a:lnTo>
                    <a:pt x="252" y="84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82" y="126"/>
                  </a:lnTo>
                  <a:lnTo>
                    <a:pt x="294" y="132"/>
                  </a:lnTo>
                  <a:lnTo>
                    <a:pt x="306" y="138"/>
                  </a:lnTo>
                  <a:lnTo>
                    <a:pt x="324" y="138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60" y="144"/>
                  </a:lnTo>
                  <a:lnTo>
                    <a:pt x="396" y="144"/>
                  </a:lnTo>
                  <a:lnTo>
                    <a:pt x="408" y="150"/>
                  </a:lnTo>
                  <a:lnTo>
                    <a:pt x="414" y="180"/>
                  </a:lnTo>
                  <a:lnTo>
                    <a:pt x="420" y="186"/>
                  </a:lnTo>
                  <a:lnTo>
                    <a:pt x="426" y="192"/>
                  </a:lnTo>
                  <a:lnTo>
                    <a:pt x="426" y="198"/>
                  </a:lnTo>
                  <a:lnTo>
                    <a:pt x="432" y="198"/>
                  </a:lnTo>
                  <a:lnTo>
                    <a:pt x="438" y="210"/>
                  </a:lnTo>
                  <a:lnTo>
                    <a:pt x="450" y="216"/>
                  </a:lnTo>
                  <a:lnTo>
                    <a:pt x="468" y="228"/>
                  </a:lnTo>
                  <a:lnTo>
                    <a:pt x="492" y="234"/>
                  </a:lnTo>
                  <a:lnTo>
                    <a:pt x="492" y="246"/>
                  </a:lnTo>
                  <a:lnTo>
                    <a:pt x="492" y="270"/>
                  </a:lnTo>
                  <a:lnTo>
                    <a:pt x="486" y="294"/>
                  </a:lnTo>
                  <a:lnTo>
                    <a:pt x="486" y="312"/>
                  </a:lnTo>
                  <a:lnTo>
                    <a:pt x="486" y="330"/>
                  </a:lnTo>
                  <a:lnTo>
                    <a:pt x="492" y="348"/>
                  </a:lnTo>
                  <a:lnTo>
                    <a:pt x="498" y="360"/>
                  </a:lnTo>
                  <a:lnTo>
                    <a:pt x="510" y="366"/>
                  </a:lnTo>
                  <a:lnTo>
                    <a:pt x="516" y="384"/>
                  </a:lnTo>
                  <a:lnTo>
                    <a:pt x="522" y="414"/>
                  </a:lnTo>
                  <a:lnTo>
                    <a:pt x="528" y="414"/>
                  </a:lnTo>
                  <a:lnTo>
                    <a:pt x="534" y="426"/>
                  </a:lnTo>
                  <a:lnTo>
                    <a:pt x="528" y="432"/>
                  </a:lnTo>
                  <a:lnTo>
                    <a:pt x="468" y="426"/>
                  </a:lnTo>
                  <a:lnTo>
                    <a:pt x="462" y="4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3" name="Freeform 8">
              <a:extLst>
                <a:ext uri="{FF2B5EF4-FFF2-40B4-BE49-F238E27FC236}">
                  <a16:creationId xmlns:a16="http://schemas.microsoft.com/office/drawing/2014/main" id="{D473457C-872E-4E31-888A-D60FD52063A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98175" y="4307054"/>
              <a:ext cx="295177" cy="348894"/>
            </a:xfrm>
            <a:custGeom>
              <a:avLst/>
              <a:gdLst>
                <a:gd name="T0" fmla="*/ 3 w 552"/>
                <a:gd name="T1" fmla="*/ 46 h 660"/>
                <a:gd name="T2" fmla="*/ 4 w 552"/>
                <a:gd name="T3" fmla="*/ 42 h 660"/>
                <a:gd name="T4" fmla="*/ 2 w 552"/>
                <a:gd name="T5" fmla="*/ 38 h 660"/>
                <a:gd name="T6" fmla="*/ 0 w 552"/>
                <a:gd name="T7" fmla="*/ 34 h 660"/>
                <a:gd name="T8" fmla="*/ 2 w 552"/>
                <a:gd name="T9" fmla="*/ 30 h 660"/>
                <a:gd name="T10" fmla="*/ 3 w 552"/>
                <a:gd name="T11" fmla="*/ 27 h 660"/>
                <a:gd name="T12" fmla="*/ 5 w 552"/>
                <a:gd name="T13" fmla="*/ 23 h 660"/>
                <a:gd name="T14" fmla="*/ 5 w 552"/>
                <a:gd name="T15" fmla="*/ 15 h 660"/>
                <a:gd name="T16" fmla="*/ 6 w 552"/>
                <a:gd name="T17" fmla="*/ 11 h 660"/>
                <a:gd name="T18" fmla="*/ 11 w 552"/>
                <a:gd name="T19" fmla="*/ 9 h 660"/>
                <a:gd name="T20" fmla="*/ 10 w 552"/>
                <a:gd name="T21" fmla="*/ 5 h 660"/>
                <a:gd name="T22" fmla="*/ 12 w 552"/>
                <a:gd name="T23" fmla="*/ 1 h 660"/>
                <a:gd name="T24" fmla="*/ 16 w 552"/>
                <a:gd name="T25" fmla="*/ 2 h 660"/>
                <a:gd name="T26" fmla="*/ 23 w 552"/>
                <a:gd name="T27" fmla="*/ 8 h 660"/>
                <a:gd name="T28" fmla="*/ 23 w 552"/>
                <a:gd name="T29" fmla="*/ 11 h 660"/>
                <a:gd name="T30" fmla="*/ 27 w 552"/>
                <a:gd name="T31" fmla="*/ 12 h 660"/>
                <a:gd name="T32" fmla="*/ 29 w 552"/>
                <a:gd name="T33" fmla="*/ 17 h 660"/>
                <a:gd name="T34" fmla="*/ 31 w 552"/>
                <a:gd name="T35" fmla="*/ 15 h 660"/>
                <a:gd name="T36" fmla="*/ 33 w 552"/>
                <a:gd name="T37" fmla="*/ 17 h 660"/>
                <a:gd name="T38" fmla="*/ 36 w 552"/>
                <a:gd name="T39" fmla="*/ 23 h 660"/>
                <a:gd name="T40" fmla="*/ 41 w 552"/>
                <a:gd name="T41" fmla="*/ 33 h 660"/>
                <a:gd name="T42" fmla="*/ 43 w 552"/>
                <a:gd name="T43" fmla="*/ 36 h 660"/>
                <a:gd name="T44" fmla="*/ 43 w 552"/>
                <a:gd name="T45" fmla="*/ 37 h 660"/>
                <a:gd name="T46" fmla="*/ 41 w 552"/>
                <a:gd name="T47" fmla="*/ 35 h 660"/>
                <a:gd name="T48" fmla="*/ 43 w 552"/>
                <a:gd name="T49" fmla="*/ 37 h 660"/>
                <a:gd name="T50" fmla="*/ 44 w 552"/>
                <a:gd name="T51" fmla="*/ 39 h 660"/>
                <a:gd name="T52" fmla="*/ 47 w 552"/>
                <a:gd name="T53" fmla="*/ 41 h 660"/>
                <a:gd name="T54" fmla="*/ 47 w 552"/>
                <a:gd name="T55" fmla="*/ 44 h 660"/>
                <a:gd name="T56" fmla="*/ 48 w 552"/>
                <a:gd name="T57" fmla="*/ 46 h 660"/>
                <a:gd name="T58" fmla="*/ 47 w 552"/>
                <a:gd name="T59" fmla="*/ 46 h 660"/>
                <a:gd name="T60" fmla="*/ 44 w 552"/>
                <a:gd name="T61" fmla="*/ 46 h 660"/>
                <a:gd name="T62" fmla="*/ 47 w 552"/>
                <a:gd name="T63" fmla="*/ 47 h 660"/>
                <a:gd name="T64" fmla="*/ 47 w 552"/>
                <a:gd name="T65" fmla="*/ 49 h 660"/>
                <a:gd name="T66" fmla="*/ 47 w 552"/>
                <a:gd name="T67" fmla="*/ 52 h 660"/>
                <a:gd name="T68" fmla="*/ 46 w 552"/>
                <a:gd name="T69" fmla="*/ 53 h 660"/>
                <a:gd name="T70" fmla="*/ 43 w 552"/>
                <a:gd name="T71" fmla="*/ 54 h 660"/>
                <a:gd name="T72" fmla="*/ 37 w 552"/>
                <a:gd name="T73" fmla="*/ 54 h 660"/>
                <a:gd name="T74" fmla="*/ 30 w 552"/>
                <a:gd name="T75" fmla="*/ 54 h 660"/>
                <a:gd name="T76" fmla="*/ 29 w 552"/>
                <a:gd name="T77" fmla="*/ 53 h 660"/>
                <a:gd name="T78" fmla="*/ 27 w 552"/>
                <a:gd name="T79" fmla="*/ 53 h 660"/>
                <a:gd name="T80" fmla="*/ 29 w 552"/>
                <a:gd name="T81" fmla="*/ 53 h 660"/>
                <a:gd name="T82" fmla="*/ 28 w 552"/>
                <a:gd name="T83" fmla="*/ 54 h 660"/>
                <a:gd name="T84" fmla="*/ 24 w 552"/>
                <a:gd name="T85" fmla="*/ 54 h 660"/>
                <a:gd name="T86" fmla="*/ 20 w 552"/>
                <a:gd name="T87" fmla="*/ 55 h 660"/>
                <a:gd name="T88" fmla="*/ 15 w 552"/>
                <a:gd name="T89" fmla="*/ 56 h 660"/>
                <a:gd name="T90" fmla="*/ 12 w 552"/>
                <a:gd name="T91" fmla="*/ 56 h 660"/>
                <a:gd name="T92" fmla="*/ 11 w 552"/>
                <a:gd name="T93" fmla="*/ 57 h 660"/>
                <a:gd name="T94" fmla="*/ 9 w 552"/>
                <a:gd name="T95" fmla="*/ 57 h 660"/>
                <a:gd name="T96" fmla="*/ 7 w 552"/>
                <a:gd name="T97" fmla="*/ 56 h 660"/>
                <a:gd name="T98" fmla="*/ 5 w 552"/>
                <a:gd name="T99" fmla="*/ 55 h 660"/>
                <a:gd name="T100" fmla="*/ 7 w 552"/>
                <a:gd name="T101" fmla="*/ 54 h 660"/>
                <a:gd name="T102" fmla="*/ 5 w 552"/>
                <a:gd name="T103" fmla="*/ 54 h 660"/>
                <a:gd name="T104" fmla="*/ 5 w 552"/>
                <a:gd name="T105" fmla="*/ 53 h 660"/>
                <a:gd name="T106" fmla="*/ 4 w 552"/>
                <a:gd name="T107" fmla="*/ 49 h 660"/>
                <a:gd name="T108" fmla="*/ 45 w 552"/>
                <a:gd name="T109" fmla="*/ 38 h 66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52"/>
                <a:gd name="T166" fmla="*/ 0 h 660"/>
                <a:gd name="T167" fmla="*/ 552 w 552"/>
                <a:gd name="T168" fmla="*/ 660 h 66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52" h="660">
                  <a:moveTo>
                    <a:pt x="36" y="564"/>
                  </a:moveTo>
                  <a:lnTo>
                    <a:pt x="36" y="558"/>
                  </a:lnTo>
                  <a:lnTo>
                    <a:pt x="36" y="552"/>
                  </a:lnTo>
                  <a:lnTo>
                    <a:pt x="42" y="546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34"/>
                  </a:lnTo>
                  <a:lnTo>
                    <a:pt x="36" y="528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54" y="510"/>
                  </a:lnTo>
                  <a:lnTo>
                    <a:pt x="54" y="504"/>
                  </a:lnTo>
                  <a:lnTo>
                    <a:pt x="54" y="498"/>
                  </a:lnTo>
                  <a:lnTo>
                    <a:pt x="48" y="492"/>
                  </a:lnTo>
                  <a:lnTo>
                    <a:pt x="42" y="486"/>
                  </a:lnTo>
                  <a:lnTo>
                    <a:pt x="42" y="480"/>
                  </a:lnTo>
                  <a:lnTo>
                    <a:pt x="42" y="468"/>
                  </a:lnTo>
                  <a:lnTo>
                    <a:pt x="30" y="456"/>
                  </a:lnTo>
                  <a:lnTo>
                    <a:pt x="30" y="450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2"/>
                  </a:lnTo>
                  <a:lnTo>
                    <a:pt x="18" y="426"/>
                  </a:lnTo>
                  <a:lnTo>
                    <a:pt x="24" y="420"/>
                  </a:lnTo>
                  <a:lnTo>
                    <a:pt x="18" y="414"/>
                  </a:lnTo>
                  <a:lnTo>
                    <a:pt x="12" y="408"/>
                  </a:lnTo>
                  <a:lnTo>
                    <a:pt x="12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6" y="384"/>
                  </a:lnTo>
                  <a:lnTo>
                    <a:pt x="12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8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36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54" y="270"/>
                  </a:lnTo>
                  <a:lnTo>
                    <a:pt x="48" y="264"/>
                  </a:lnTo>
                  <a:lnTo>
                    <a:pt x="42" y="246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8" y="204"/>
                  </a:lnTo>
                  <a:lnTo>
                    <a:pt x="54" y="174"/>
                  </a:lnTo>
                  <a:lnTo>
                    <a:pt x="54" y="162"/>
                  </a:lnTo>
                  <a:lnTo>
                    <a:pt x="54" y="156"/>
                  </a:lnTo>
                  <a:lnTo>
                    <a:pt x="54" y="144"/>
                  </a:lnTo>
                  <a:lnTo>
                    <a:pt x="48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72" y="126"/>
                  </a:lnTo>
                  <a:lnTo>
                    <a:pt x="84" y="126"/>
                  </a:lnTo>
                  <a:lnTo>
                    <a:pt x="96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2" y="84"/>
                  </a:lnTo>
                  <a:lnTo>
                    <a:pt x="126" y="78"/>
                  </a:lnTo>
                  <a:lnTo>
                    <a:pt x="120" y="78"/>
                  </a:lnTo>
                  <a:lnTo>
                    <a:pt x="102" y="84"/>
                  </a:lnTo>
                  <a:lnTo>
                    <a:pt x="108" y="66"/>
                  </a:lnTo>
                  <a:lnTo>
                    <a:pt x="114" y="54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8" y="4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6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74" y="0"/>
                  </a:lnTo>
                  <a:lnTo>
                    <a:pt x="180" y="0"/>
                  </a:lnTo>
                  <a:lnTo>
                    <a:pt x="186" y="18"/>
                  </a:lnTo>
                  <a:lnTo>
                    <a:pt x="198" y="30"/>
                  </a:lnTo>
                  <a:lnTo>
                    <a:pt x="204" y="54"/>
                  </a:lnTo>
                  <a:lnTo>
                    <a:pt x="216" y="60"/>
                  </a:lnTo>
                  <a:lnTo>
                    <a:pt x="240" y="60"/>
                  </a:lnTo>
                  <a:lnTo>
                    <a:pt x="246" y="66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2" y="120"/>
                  </a:lnTo>
                  <a:lnTo>
                    <a:pt x="25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6" y="126"/>
                  </a:lnTo>
                  <a:lnTo>
                    <a:pt x="282" y="120"/>
                  </a:lnTo>
                  <a:lnTo>
                    <a:pt x="282" y="126"/>
                  </a:lnTo>
                  <a:lnTo>
                    <a:pt x="294" y="126"/>
                  </a:lnTo>
                  <a:lnTo>
                    <a:pt x="300" y="132"/>
                  </a:lnTo>
                  <a:lnTo>
                    <a:pt x="306" y="144"/>
                  </a:lnTo>
                  <a:lnTo>
                    <a:pt x="312" y="144"/>
                  </a:lnTo>
                  <a:lnTo>
                    <a:pt x="312" y="150"/>
                  </a:lnTo>
                  <a:lnTo>
                    <a:pt x="312" y="162"/>
                  </a:lnTo>
                  <a:lnTo>
                    <a:pt x="312" y="174"/>
                  </a:lnTo>
                  <a:lnTo>
                    <a:pt x="324" y="180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30" y="192"/>
                  </a:lnTo>
                  <a:lnTo>
                    <a:pt x="336" y="198"/>
                  </a:lnTo>
                  <a:lnTo>
                    <a:pt x="342" y="192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54" y="180"/>
                  </a:lnTo>
                  <a:lnTo>
                    <a:pt x="354" y="174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84" y="192"/>
                  </a:lnTo>
                  <a:lnTo>
                    <a:pt x="390" y="204"/>
                  </a:lnTo>
                  <a:lnTo>
                    <a:pt x="390" y="210"/>
                  </a:lnTo>
                  <a:lnTo>
                    <a:pt x="390" y="216"/>
                  </a:lnTo>
                  <a:lnTo>
                    <a:pt x="384" y="234"/>
                  </a:lnTo>
                  <a:lnTo>
                    <a:pt x="390" y="240"/>
                  </a:lnTo>
                  <a:lnTo>
                    <a:pt x="408" y="252"/>
                  </a:lnTo>
                  <a:lnTo>
                    <a:pt x="414" y="264"/>
                  </a:lnTo>
                  <a:lnTo>
                    <a:pt x="408" y="300"/>
                  </a:lnTo>
                  <a:lnTo>
                    <a:pt x="414" y="312"/>
                  </a:lnTo>
                  <a:lnTo>
                    <a:pt x="426" y="336"/>
                  </a:lnTo>
                  <a:lnTo>
                    <a:pt x="438" y="354"/>
                  </a:lnTo>
                  <a:lnTo>
                    <a:pt x="444" y="366"/>
                  </a:lnTo>
                  <a:lnTo>
                    <a:pt x="456" y="366"/>
                  </a:lnTo>
                  <a:lnTo>
                    <a:pt x="474" y="378"/>
                  </a:lnTo>
                  <a:lnTo>
                    <a:pt x="474" y="384"/>
                  </a:lnTo>
                  <a:lnTo>
                    <a:pt x="480" y="390"/>
                  </a:lnTo>
                  <a:lnTo>
                    <a:pt x="486" y="396"/>
                  </a:lnTo>
                  <a:lnTo>
                    <a:pt x="486" y="402"/>
                  </a:lnTo>
                  <a:lnTo>
                    <a:pt x="480" y="408"/>
                  </a:lnTo>
                  <a:lnTo>
                    <a:pt x="486" y="408"/>
                  </a:lnTo>
                  <a:lnTo>
                    <a:pt x="486" y="414"/>
                  </a:lnTo>
                  <a:lnTo>
                    <a:pt x="492" y="414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32"/>
                  </a:lnTo>
                  <a:lnTo>
                    <a:pt x="498" y="438"/>
                  </a:lnTo>
                  <a:lnTo>
                    <a:pt x="492" y="432"/>
                  </a:lnTo>
                  <a:lnTo>
                    <a:pt x="486" y="426"/>
                  </a:lnTo>
                  <a:lnTo>
                    <a:pt x="486" y="420"/>
                  </a:lnTo>
                  <a:lnTo>
                    <a:pt x="486" y="414"/>
                  </a:lnTo>
                  <a:lnTo>
                    <a:pt x="480" y="414"/>
                  </a:lnTo>
                  <a:lnTo>
                    <a:pt x="480" y="408"/>
                  </a:lnTo>
                  <a:lnTo>
                    <a:pt x="474" y="408"/>
                  </a:lnTo>
                  <a:lnTo>
                    <a:pt x="468" y="408"/>
                  </a:lnTo>
                  <a:lnTo>
                    <a:pt x="468" y="402"/>
                  </a:lnTo>
                  <a:lnTo>
                    <a:pt x="462" y="402"/>
                  </a:lnTo>
                  <a:lnTo>
                    <a:pt x="462" y="408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80" y="426"/>
                  </a:lnTo>
                  <a:lnTo>
                    <a:pt x="486" y="426"/>
                  </a:lnTo>
                  <a:lnTo>
                    <a:pt x="486" y="432"/>
                  </a:lnTo>
                  <a:lnTo>
                    <a:pt x="492" y="438"/>
                  </a:lnTo>
                  <a:lnTo>
                    <a:pt x="498" y="438"/>
                  </a:lnTo>
                  <a:lnTo>
                    <a:pt x="504" y="444"/>
                  </a:lnTo>
                  <a:lnTo>
                    <a:pt x="510" y="444"/>
                  </a:lnTo>
                  <a:lnTo>
                    <a:pt x="510" y="450"/>
                  </a:lnTo>
                  <a:lnTo>
                    <a:pt x="510" y="456"/>
                  </a:lnTo>
                  <a:lnTo>
                    <a:pt x="516" y="456"/>
                  </a:lnTo>
                  <a:lnTo>
                    <a:pt x="516" y="462"/>
                  </a:lnTo>
                  <a:lnTo>
                    <a:pt x="522" y="462"/>
                  </a:lnTo>
                  <a:lnTo>
                    <a:pt x="522" y="468"/>
                  </a:lnTo>
                  <a:lnTo>
                    <a:pt x="528" y="468"/>
                  </a:lnTo>
                  <a:lnTo>
                    <a:pt x="534" y="468"/>
                  </a:lnTo>
                  <a:lnTo>
                    <a:pt x="534" y="474"/>
                  </a:lnTo>
                  <a:lnTo>
                    <a:pt x="540" y="474"/>
                  </a:lnTo>
                  <a:lnTo>
                    <a:pt x="540" y="480"/>
                  </a:lnTo>
                  <a:lnTo>
                    <a:pt x="546" y="486"/>
                  </a:lnTo>
                  <a:lnTo>
                    <a:pt x="546" y="492"/>
                  </a:lnTo>
                  <a:lnTo>
                    <a:pt x="546" y="498"/>
                  </a:lnTo>
                  <a:lnTo>
                    <a:pt x="546" y="504"/>
                  </a:lnTo>
                  <a:lnTo>
                    <a:pt x="540" y="504"/>
                  </a:lnTo>
                  <a:lnTo>
                    <a:pt x="546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10"/>
                  </a:lnTo>
                  <a:lnTo>
                    <a:pt x="552" y="516"/>
                  </a:lnTo>
                  <a:lnTo>
                    <a:pt x="552" y="522"/>
                  </a:lnTo>
                  <a:lnTo>
                    <a:pt x="552" y="528"/>
                  </a:lnTo>
                  <a:lnTo>
                    <a:pt x="552" y="534"/>
                  </a:lnTo>
                  <a:lnTo>
                    <a:pt x="552" y="540"/>
                  </a:lnTo>
                  <a:lnTo>
                    <a:pt x="546" y="540"/>
                  </a:lnTo>
                  <a:lnTo>
                    <a:pt x="546" y="546"/>
                  </a:lnTo>
                  <a:lnTo>
                    <a:pt x="546" y="540"/>
                  </a:lnTo>
                  <a:lnTo>
                    <a:pt x="546" y="534"/>
                  </a:lnTo>
                  <a:lnTo>
                    <a:pt x="540" y="534"/>
                  </a:lnTo>
                  <a:lnTo>
                    <a:pt x="540" y="528"/>
                  </a:lnTo>
                  <a:lnTo>
                    <a:pt x="534" y="528"/>
                  </a:lnTo>
                  <a:lnTo>
                    <a:pt x="528" y="528"/>
                  </a:lnTo>
                  <a:lnTo>
                    <a:pt x="522" y="528"/>
                  </a:lnTo>
                  <a:lnTo>
                    <a:pt x="516" y="528"/>
                  </a:lnTo>
                  <a:lnTo>
                    <a:pt x="510" y="528"/>
                  </a:lnTo>
                  <a:lnTo>
                    <a:pt x="510" y="534"/>
                  </a:lnTo>
                  <a:lnTo>
                    <a:pt x="510" y="528"/>
                  </a:lnTo>
                  <a:lnTo>
                    <a:pt x="516" y="528"/>
                  </a:lnTo>
                  <a:lnTo>
                    <a:pt x="522" y="528"/>
                  </a:lnTo>
                  <a:lnTo>
                    <a:pt x="528" y="528"/>
                  </a:lnTo>
                  <a:lnTo>
                    <a:pt x="534" y="534"/>
                  </a:lnTo>
                  <a:lnTo>
                    <a:pt x="540" y="534"/>
                  </a:lnTo>
                  <a:lnTo>
                    <a:pt x="540" y="540"/>
                  </a:lnTo>
                  <a:lnTo>
                    <a:pt x="540" y="546"/>
                  </a:lnTo>
                  <a:lnTo>
                    <a:pt x="546" y="546"/>
                  </a:lnTo>
                  <a:lnTo>
                    <a:pt x="546" y="552"/>
                  </a:lnTo>
                  <a:lnTo>
                    <a:pt x="552" y="552"/>
                  </a:lnTo>
                  <a:lnTo>
                    <a:pt x="552" y="558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0" y="576"/>
                  </a:lnTo>
                  <a:lnTo>
                    <a:pt x="540" y="582"/>
                  </a:lnTo>
                  <a:lnTo>
                    <a:pt x="540" y="588"/>
                  </a:lnTo>
                  <a:lnTo>
                    <a:pt x="534" y="594"/>
                  </a:lnTo>
                  <a:lnTo>
                    <a:pt x="534" y="600"/>
                  </a:lnTo>
                  <a:lnTo>
                    <a:pt x="528" y="600"/>
                  </a:lnTo>
                  <a:lnTo>
                    <a:pt x="522" y="594"/>
                  </a:lnTo>
                  <a:lnTo>
                    <a:pt x="528" y="600"/>
                  </a:lnTo>
                  <a:lnTo>
                    <a:pt x="534" y="600"/>
                  </a:lnTo>
                  <a:lnTo>
                    <a:pt x="534" y="606"/>
                  </a:lnTo>
                  <a:lnTo>
                    <a:pt x="528" y="606"/>
                  </a:lnTo>
                  <a:lnTo>
                    <a:pt x="528" y="612"/>
                  </a:lnTo>
                  <a:lnTo>
                    <a:pt x="522" y="612"/>
                  </a:lnTo>
                  <a:lnTo>
                    <a:pt x="522" y="618"/>
                  </a:lnTo>
                  <a:lnTo>
                    <a:pt x="522" y="624"/>
                  </a:lnTo>
                  <a:lnTo>
                    <a:pt x="510" y="624"/>
                  </a:lnTo>
                  <a:lnTo>
                    <a:pt x="498" y="624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0" y="624"/>
                  </a:lnTo>
                  <a:lnTo>
                    <a:pt x="474" y="624"/>
                  </a:lnTo>
                  <a:lnTo>
                    <a:pt x="468" y="618"/>
                  </a:lnTo>
                  <a:lnTo>
                    <a:pt x="456" y="618"/>
                  </a:lnTo>
                  <a:lnTo>
                    <a:pt x="450" y="618"/>
                  </a:lnTo>
                  <a:lnTo>
                    <a:pt x="426" y="618"/>
                  </a:lnTo>
                  <a:lnTo>
                    <a:pt x="420" y="618"/>
                  </a:lnTo>
                  <a:lnTo>
                    <a:pt x="414" y="618"/>
                  </a:lnTo>
                  <a:lnTo>
                    <a:pt x="408" y="618"/>
                  </a:lnTo>
                  <a:lnTo>
                    <a:pt x="396" y="618"/>
                  </a:lnTo>
                  <a:lnTo>
                    <a:pt x="366" y="618"/>
                  </a:lnTo>
                  <a:lnTo>
                    <a:pt x="348" y="624"/>
                  </a:lnTo>
                  <a:lnTo>
                    <a:pt x="342" y="624"/>
                  </a:lnTo>
                  <a:lnTo>
                    <a:pt x="342" y="618"/>
                  </a:lnTo>
                  <a:lnTo>
                    <a:pt x="336" y="618"/>
                  </a:lnTo>
                  <a:lnTo>
                    <a:pt x="336" y="612"/>
                  </a:lnTo>
                  <a:lnTo>
                    <a:pt x="342" y="612"/>
                  </a:lnTo>
                  <a:lnTo>
                    <a:pt x="348" y="612"/>
                  </a:lnTo>
                  <a:lnTo>
                    <a:pt x="342" y="612"/>
                  </a:lnTo>
                  <a:lnTo>
                    <a:pt x="336" y="612"/>
                  </a:lnTo>
                  <a:lnTo>
                    <a:pt x="336" y="606"/>
                  </a:lnTo>
                  <a:lnTo>
                    <a:pt x="330" y="606"/>
                  </a:lnTo>
                  <a:lnTo>
                    <a:pt x="330" y="600"/>
                  </a:lnTo>
                  <a:lnTo>
                    <a:pt x="324" y="600"/>
                  </a:lnTo>
                  <a:lnTo>
                    <a:pt x="324" y="606"/>
                  </a:lnTo>
                  <a:lnTo>
                    <a:pt x="318" y="606"/>
                  </a:lnTo>
                  <a:lnTo>
                    <a:pt x="318" y="612"/>
                  </a:lnTo>
                  <a:lnTo>
                    <a:pt x="312" y="612"/>
                  </a:lnTo>
                  <a:lnTo>
                    <a:pt x="306" y="606"/>
                  </a:lnTo>
                  <a:lnTo>
                    <a:pt x="306" y="612"/>
                  </a:lnTo>
                  <a:lnTo>
                    <a:pt x="312" y="612"/>
                  </a:lnTo>
                  <a:lnTo>
                    <a:pt x="318" y="612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30" y="606"/>
                  </a:lnTo>
                  <a:lnTo>
                    <a:pt x="336" y="612"/>
                  </a:lnTo>
                  <a:lnTo>
                    <a:pt x="336" y="618"/>
                  </a:lnTo>
                  <a:lnTo>
                    <a:pt x="330" y="618"/>
                  </a:lnTo>
                  <a:lnTo>
                    <a:pt x="336" y="618"/>
                  </a:lnTo>
                  <a:lnTo>
                    <a:pt x="336" y="624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288" y="624"/>
                  </a:lnTo>
                  <a:lnTo>
                    <a:pt x="282" y="624"/>
                  </a:lnTo>
                  <a:lnTo>
                    <a:pt x="270" y="630"/>
                  </a:lnTo>
                  <a:lnTo>
                    <a:pt x="264" y="630"/>
                  </a:lnTo>
                  <a:lnTo>
                    <a:pt x="258" y="630"/>
                  </a:lnTo>
                  <a:lnTo>
                    <a:pt x="252" y="630"/>
                  </a:lnTo>
                  <a:lnTo>
                    <a:pt x="246" y="630"/>
                  </a:lnTo>
                  <a:lnTo>
                    <a:pt x="240" y="630"/>
                  </a:lnTo>
                  <a:lnTo>
                    <a:pt x="228" y="636"/>
                  </a:lnTo>
                  <a:lnTo>
                    <a:pt x="222" y="636"/>
                  </a:lnTo>
                  <a:lnTo>
                    <a:pt x="210" y="636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42"/>
                  </a:lnTo>
                  <a:lnTo>
                    <a:pt x="186" y="642"/>
                  </a:lnTo>
                  <a:lnTo>
                    <a:pt x="180" y="642"/>
                  </a:lnTo>
                  <a:lnTo>
                    <a:pt x="168" y="642"/>
                  </a:lnTo>
                  <a:lnTo>
                    <a:pt x="162" y="642"/>
                  </a:lnTo>
                  <a:lnTo>
                    <a:pt x="162" y="648"/>
                  </a:lnTo>
                  <a:lnTo>
                    <a:pt x="156" y="648"/>
                  </a:lnTo>
                  <a:lnTo>
                    <a:pt x="150" y="648"/>
                  </a:lnTo>
                  <a:lnTo>
                    <a:pt x="144" y="648"/>
                  </a:lnTo>
                  <a:lnTo>
                    <a:pt x="138" y="648"/>
                  </a:lnTo>
                  <a:lnTo>
                    <a:pt x="132" y="648"/>
                  </a:lnTo>
                  <a:lnTo>
                    <a:pt x="126" y="642"/>
                  </a:lnTo>
                  <a:lnTo>
                    <a:pt x="126" y="636"/>
                  </a:lnTo>
                  <a:lnTo>
                    <a:pt x="120" y="636"/>
                  </a:lnTo>
                  <a:lnTo>
                    <a:pt x="126" y="642"/>
                  </a:lnTo>
                  <a:lnTo>
                    <a:pt x="126" y="648"/>
                  </a:lnTo>
                  <a:lnTo>
                    <a:pt x="132" y="648"/>
                  </a:lnTo>
                  <a:lnTo>
                    <a:pt x="126" y="654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54"/>
                  </a:lnTo>
                  <a:lnTo>
                    <a:pt x="108" y="660"/>
                  </a:lnTo>
                  <a:lnTo>
                    <a:pt x="108" y="654"/>
                  </a:lnTo>
                  <a:lnTo>
                    <a:pt x="102" y="654"/>
                  </a:lnTo>
                  <a:lnTo>
                    <a:pt x="102" y="660"/>
                  </a:lnTo>
                  <a:lnTo>
                    <a:pt x="108" y="660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0" y="660"/>
                  </a:lnTo>
                  <a:lnTo>
                    <a:pt x="90" y="654"/>
                  </a:lnTo>
                  <a:lnTo>
                    <a:pt x="84" y="648"/>
                  </a:lnTo>
                  <a:lnTo>
                    <a:pt x="84" y="642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72" y="636"/>
                  </a:lnTo>
                  <a:lnTo>
                    <a:pt x="78" y="636"/>
                  </a:lnTo>
                  <a:lnTo>
                    <a:pt x="72" y="636"/>
                  </a:lnTo>
                  <a:lnTo>
                    <a:pt x="66" y="636"/>
                  </a:lnTo>
                  <a:lnTo>
                    <a:pt x="60" y="636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60" y="618"/>
                  </a:lnTo>
                  <a:lnTo>
                    <a:pt x="66" y="618"/>
                  </a:lnTo>
                  <a:lnTo>
                    <a:pt x="72" y="618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2" y="612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12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54" y="618"/>
                  </a:lnTo>
                  <a:lnTo>
                    <a:pt x="54" y="624"/>
                  </a:lnTo>
                  <a:lnTo>
                    <a:pt x="48" y="618"/>
                  </a:lnTo>
                  <a:lnTo>
                    <a:pt x="42" y="618"/>
                  </a:lnTo>
                  <a:lnTo>
                    <a:pt x="42" y="612"/>
                  </a:lnTo>
                  <a:lnTo>
                    <a:pt x="48" y="606"/>
                  </a:lnTo>
                  <a:lnTo>
                    <a:pt x="54" y="606"/>
                  </a:lnTo>
                  <a:lnTo>
                    <a:pt x="54" y="600"/>
                  </a:lnTo>
                  <a:lnTo>
                    <a:pt x="54" y="594"/>
                  </a:lnTo>
                  <a:lnTo>
                    <a:pt x="54" y="588"/>
                  </a:lnTo>
                  <a:lnTo>
                    <a:pt x="48" y="588"/>
                  </a:lnTo>
                  <a:lnTo>
                    <a:pt x="48" y="582"/>
                  </a:lnTo>
                  <a:lnTo>
                    <a:pt x="42" y="582"/>
                  </a:lnTo>
                  <a:lnTo>
                    <a:pt x="42" y="570"/>
                  </a:lnTo>
                  <a:lnTo>
                    <a:pt x="42" y="564"/>
                  </a:lnTo>
                  <a:lnTo>
                    <a:pt x="36" y="564"/>
                  </a:lnTo>
                  <a:close/>
                  <a:moveTo>
                    <a:pt x="498" y="420"/>
                  </a:moveTo>
                  <a:lnTo>
                    <a:pt x="504" y="426"/>
                  </a:lnTo>
                  <a:lnTo>
                    <a:pt x="510" y="432"/>
                  </a:lnTo>
                  <a:lnTo>
                    <a:pt x="516" y="432"/>
                  </a:lnTo>
                  <a:lnTo>
                    <a:pt x="516" y="438"/>
                  </a:lnTo>
                  <a:lnTo>
                    <a:pt x="510" y="438"/>
                  </a:lnTo>
                  <a:lnTo>
                    <a:pt x="504" y="438"/>
                  </a:lnTo>
                  <a:lnTo>
                    <a:pt x="504" y="432"/>
                  </a:lnTo>
                  <a:lnTo>
                    <a:pt x="498" y="432"/>
                  </a:lnTo>
                  <a:lnTo>
                    <a:pt x="498" y="426"/>
                  </a:lnTo>
                  <a:lnTo>
                    <a:pt x="498" y="4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4" name="Freeform 9">
              <a:extLst>
                <a:ext uri="{FF2B5EF4-FFF2-40B4-BE49-F238E27FC236}">
                  <a16:creationId xmlns:a16="http://schemas.microsoft.com/office/drawing/2014/main" id="{E0116D32-BD2E-45EA-B818-A3082585D5F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3055" y="2468650"/>
              <a:ext cx="800556" cy="1207710"/>
            </a:xfrm>
            <a:custGeom>
              <a:avLst/>
              <a:gdLst>
                <a:gd name="T0" fmla="*/ 24 w 1506"/>
                <a:gd name="T1" fmla="*/ 190 h 2274"/>
                <a:gd name="T2" fmla="*/ 25 w 1506"/>
                <a:gd name="T3" fmla="*/ 180 h 2274"/>
                <a:gd name="T4" fmla="*/ 21 w 1506"/>
                <a:gd name="T5" fmla="*/ 174 h 2274"/>
                <a:gd name="T6" fmla="*/ 17 w 1506"/>
                <a:gd name="T7" fmla="*/ 170 h 2274"/>
                <a:gd name="T8" fmla="*/ 12 w 1506"/>
                <a:gd name="T9" fmla="*/ 168 h 2274"/>
                <a:gd name="T10" fmla="*/ 10 w 1506"/>
                <a:gd name="T11" fmla="*/ 173 h 2274"/>
                <a:gd name="T12" fmla="*/ 7 w 1506"/>
                <a:gd name="T13" fmla="*/ 174 h 2274"/>
                <a:gd name="T14" fmla="*/ 0 w 1506"/>
                <a:gd name="T15" fmla="*/ 163 h 2274"/>
                <a:gd name="T16" fmla="*/ 16 w 1506"/>
                <a:gd name="T17" fmla="*/ 140 h 2274"/>
                <a:gd name="T18" fmla="*/ 19 w 1506"/>
                <a:gd name="T19" fmla="*/ 137 h 2274"/>
                <a:gd name="T20" fmla="*/ 24 w 1506"/>
                <a:gd name="T21" fmla="*/ 126 h 2274"/>
                <a:gd name="T22" fmla="*/ 23 w 1506"/>
                <a:gd name="T23" fmla="*/ 105 h 2274"/>
                <a:gd name="T24" fmla="*/ 14 w 1506"/>
                <a:gd name="T25" fmla="*/ 86 h 2274"/>
                <a:gd name="T26" fmla="*/ 8 w 1506"/>
                <a:gd name="T27" fmla="*/ 84 h 2274"/>
                <a:gd name="T28" fmla="*/ 5 w 1506"/>
                <a:gd name="T29" fmla="*/ 79 h 2274"/>
                <a:gd name="T30" fmla="*/ 16 w 1506"/>
                <a:gd name="T31" fmla="*/ 71 h 2274"/>
                <a:gd name="T32" fmla="*/ 28 w 1506"/>
                <a:gd name="T33" fmla="*/ 55 h 2274"/>
                <a:gd name="T34" fmla="*/ 29 w 1506"/>
                <a:gd name="T35" fmla="*/ 48 h 2274"/>
                <a:gd name="T36" fmla="*/ 35 w 1506"/>
                <a:gd name="T37" fmla="*/ 50 h 2274"/>
                <a:gd name="T38" fmla="*/ 42 w 1506"/>
                <a:gd name="T39" fmla="*/ 47 h 2274"/>
                <a:gd name="T40" fmla="*/ 63 w 1506"/>
                <a:gd name="T41" fmla="*/ 34 h 2274"/>
                <a:gd name="T42" fmla="*/ 74 w 1506"/>
                <a:gd name="T43" fmla="*/ 27 h 2274"/>
                <a:gd name="T44" fmla="*/ 81 w 1506"/>
                <a:gd name="T45" fmla="*/ 20 h 2274"/>
                <a:gd name="T46" fmla="*/ 89 w 1506"/>
                <a:gd name="T47" fmla="*/ 20 h 2274"/>
                <a:gd name="T48" fmla="*/ 98 w 1506"/>
                <a:gd name="T49" fmla="*/ 27 h 2274"/>
                <a:gd name="T50" fmla="*/ 106 w 1506"/>
                <a:gd name="T51" fmla="*/ 17 h 2274"/>
                <a:gd name="T52" fmla="*/ 111 w 1506"/>
                <a:gd name="T53" fmla="*/ 8 h 2274"/>
                <a:gd name="T54" fmla="*/ 121 w 1506"/>
                <a:gd name="T55" fmla="*/ 2 h 2274"/>
                <a:gd name="T56" fmla="*/ 129 w 1506"/>
                <a:gd name="T57" fmla="*/ 5 h 2274"/>
                <a:gd name="T58" fmla="*/ 125 w 1506"/>
                <a:gd name="T59" fmla="*/ 12 h 2274"/>
                <a:gd name="T60" fmla="*/ 122 w 1506"/>
                <a:gd name="T61" fmla="*/ 20 h 2274"/>
                <a:gd name="T62" fmla="*/ 122 w 1506"/>
                <a:gd name="T63" fmla="*/ 27 h 2274"/>
                <a:gd name="T64" fmla="*/ 120 w 1506"/>
                <a:gd name="T65" fmla="*/ 36 h 2274"/>
                <a:gd name="T66" fmla="*/ 116 w 1506"/>
                <a:gd name="T67" fmla="*/ 43 h 2274"/>
                <a:gd name="T68" fmla="*/ 109 w 1506"/>
                <a:gd name="T69" fmla="*/ 47 h 2274"/>
                <a:gd name="T70" fmla="*/ 108 w 1506"/>
                <a:gd name="T71" fmla="*/ 54 h 2274"/>
                <a:gd name="T72" fmla="*/ 106 w 1506"/>
                <a:gd name="T73" fmla="*/ 59 h 2274"/>
                <a:gd name="T74" fmla="*/ 109 w 1506"/>
                <a:gd name="T75" fmla="*/ 64 h 2274"/>
                <a:gd name="T76" fmla="*/ 106 w 1506"/>
                <a:gd name="T77" fmla="*/ 70 h 2274"/>
                <a:gd name="T78" fmla="*/ 105 w 1506"/>
                <a:gd name="T79" fmla="*/ 75 h 2274"/>
                <a:gd name="T80" fmla="*/ 101 w 1506"/>
                <a:gd name="T81" fmla="*/ 78 h 2274"/>
                <a:gd name="T82" fmla="*/ 92 w 1506"/>
                <a:gd name="T83" fmla="*/ 81 h 2274"/>
                <a:gd name="T84" fmla="*/ 85 w 1506"/>
                <a:gd name="T85" fmla="*/ 85 h 2274"/>
                <a:gd name="T86" fmla="*/ 87 w 1506"/>
                <a:gd name="T87" fmla="*/ 91 h 2274"/>
                <a:gd name="T88" fmla="*/ 86 w 1506"/>
                <a:gd name="T89" fmla="*/ 98 h 2274"/>
                <a:gd name="T90" fmla="*/ 86 w 1506"/>
                <a:gd name="T91" fmla="*/ 103 h 2274"/>
                <a:gd name="T92" fmla="*/ 82 w 1506"/>
                <a:gd name="T93" fmla="*/ 111 h 2274"/>
                <a:gd name="T94" fmla="*/ 81 w 1506"/>
                <a:gd name="T95" fmla="*/ 116 h 2274"/>
                <a:gd name="T96" fmla="*/ 78 w 1506"/>
                <a:gd name="T97" fmla="*/ 120 h 2274"/>
                <a:gd name="T98" fmla="*/ 76 w 1506"/>
                <a:gd name="T99" fmla="*/ 126 h 2274"/>
                <a:gd name="T100" fmla="*/ 68 w 1506"/>
                <a:gd name="T101" fmla="*/ 129 h 2274"/>
                <a:gd name="T102" fmla="*/ 62 w 1506"/>
                <a:gd name="T103" fmla="*/ 131 h 2274"/>
                <a:gd name="T104" fmla="*/ 58 w 1506"/>
                <a:gd name="T105" fmla="*/ 136 h 2274"/>
                <a:gd name="T106" fmla="*/ 51 w 1506"/>
                <a:gd name="T107" fmla="*/ 138 h 2274"/>
                <a:gd name="T108" fmla="*/ 51 w 1506"/>
                <a:gd name="T109" fmla="*/ 147 h 2274"/>
                <a:gd name="T110" fmla="*/ 49 w 1506"/>
                <a:gd name="T111" fmla="*/ 159 h 2274"/>
                <a:gd name="T112" fmla="*/ 48 w 1506"/>
                <a:gd name="T113" fmla="*/ 166 h 2274"/>
                <a:gd name="T114" fmla="*/ 41 w 1506"/>
                <a:gd name="T115" fmla="*/ 174 h 2274"/>
                <a:gd name="T116" fmla="*/ 39 w 1506"/>
                <a:gd name="T117" fmla="*/ 181 h 2274"/>
                <a:gd name="T118" fmla="*/ 37 w 1506"/>
                <a:gd name="T119" fmla="*/ 190 h 2274"/>
                <a:gd name="T120" fmla="*/ 29 w 1506"/>
                <a:gd name="T121" fmla="*/ 198 h 22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06"/>
                <a:gd name="T184" fmla="*/ 0 h 2274"/>
                <a:gd name="T185" fmla="*/ 1506 w 1506"/>
                <a:gd name="T186" fmla="*/ 2274 h 227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06" h="2274">
                  <a:moveTo>
                    <a:pt x="330" y="2274"/>
                  </a:moveTo>
                  <a:lnTo>
                    <a:pt x="318" y="2262"/>
                  </a:lnTo>
                  <a:lnTo>
                    <a:pt x="312" y="2238"/>
                  </a:lnTo>
                  <a:lnTo>
                    <a:pt x="312" y="2232"/>
                  </a:lnTo>
                  <a:lnTo>
                    <a:pt x="294" y="2214"/>
                  </a:lnTo>
                  <a:lnTo>
                    <a:pt x="288" y="2208"/>
                  </a:lnTo>
                  <a:lnTo>
                    <a:pt x="288" y="2202"/>
                  </a:lnTo>
                  <a:lnTo>
                    <a:pt x="276" y="2196"/>
                  </a:lnTo>
                  <a:lnTo>
                    <a:pt x="276" y="2190"/>
                  </a:lnTo>
                  <a:lnTo>
                    <a:pt x="282" y="2190"/>
                  </a:lnTo>
                  <a:lnTo>
                    <a:pt x="282" y="2184"/>
                  </a:lnTo>
                  <a:lnTo>
                    <a:pt x="276" y="2172"/>
                  </a:lnTo>
                  <a:lnTo>
                    <a:pt x="276" y="2166"/>
                  </a:lnTo>
                  <a:lnTo>
                    <a:pt x="282" y="2166"/>
                  </a:lnTo>
                  <a:lnTo>
                    <a:pt x="282" y="2154"/>
                  </a:lnTo>
                  <a:lnTo>
                    <a:pt x="276" y="2136"/>
                  </a:lnTo>
                  <a:lnTo>
                    <a:pt x="276" y="2112"/>
                  </a:lnTo>
                  <a:lnTo>
                    <a:pt x="282" y="2088"/>
                  </a:lnTo>
                  <a:lnTo>
                    <a:pt x="282" y="2082"/>
                  </a:lnTo>
                  <a:lnTo>
                    <a:pt x="282" y="2076"/>
                  </a:lnTo>
                  <a:lnTo>
                    <a:pt x="282" y="2070"/>
                  </a:lnTo>
                  <a:lnTo>
                    <a:pt x="288" y="2070"/>
                  </a:lnTo>
                  <a:lnTo>
                    <a:pt x="288" y="2064"/>
                  </a:lnTo>
                  <a:lnTo>
                    <a:pt x="282" y="2052"/>
                  </a:lnTo>
                  <a:lnTo>
                    <a:pt x="282" y="2046"/>
                  </a:lnTo>
                  <a:lnTo>
                    <a:pt x="276" y="2040"/>
                  </a:lnTo>
                  <a:lnTo>
                    <a:pt x="270" y="2034"/>
                  </a:lnTo>
                  <a:lnTo>
                    <a:pt x="264" y="2022"/>
                  </a:lnTo>
                  <a:lnTo>
                    <a:pt x="258" y="2022"/>
                  </a:lnTo>
                  <a:lnTo>
                    <a:pt x="258" y="2016"/>
                  </a:lnTo>
                  <a:lnTo>
                    <a:pt x="252" y="2016"/>
                  </a:lnTo>
                  <a:lnTo>
                    <a:pt x="246" y="2016"/>
                  </a:lnTo>
                  <a:lnTo>
                    <a:pt x="240" y="2010"/>
                  </a:lnTo>
                  <a:lnTo>
                    <a:pt x="234" y="2004"/>
                  </a:lnTo>
                  <a:lnTo>
                    <a:pt x="228" y="2004"/>
                  </a:lnTo>
                  <a:lnTo>
                    <a:pt x="228" y="1998"/>
                  </a:lnTo>
                  <a:lnTo>
                    <a:pt x="228" y="1992"/>
                  </a:lnTo>
                  <a:lnTo>
                    <a:pt x="222" y="1992"/>
                  </a:lnTo>
                  <a:lnTo>
                    <a:pt x="222" y="1986"/>
                  </a:lnTo>
                  <a:lnTo>
                    <a:pt x="216" y="1986"/>
                  </a:lnTo>
                  <a:lnTo>
                    <a:pt x="210" y="1980"/>
                  </a:lnTo>
                  <a:lnTo>
                    <a:pt x="216" y="1974"/>
                  </a:lnTo>
                  <a:lnTo>
                    <a:pt x="210" y="1968"/>
                  </a:lnTo>
                  <a:lnTo>
                    <a:pt x="198" y="1956"/>
                  </a:lnTo>
                  <a:lnTo>
                    <a:pt x="192" y="1956"/>
                  </a:lnTo>
                  <a:lnTo>
                    <a:pt x="186" y="1956"/>
                  </a:lnTo>
                  <a:lnTo>
                    <a:pt x="180" y="1944"/>
                  </a:lnTo>
                  <a:lnTo>
                    <a:pt x="180" y="1938"/>
                  </a:lnTo>
                  <a:lnTo>
                    <a:pt x="174" y="1932"/>
                  </a:lnTo>
                  <a:lnTo>
                    <a:pt x="168" y="1932"/>
                  </a:lnTo>
                  <a:lnTo>
                    <a:pt x="162" y="1932"/>
                  </a:lnTo>
                  <a:lnTo>
                    <a:pt x="150" y="1932"/>
                  </a:lnTo>
                  <a:lnTo>
                    <a:pt x="150" y="1926"/>
                  </a:lnTo>
                  <a:lnTo>
                    <a:pt x="150" y="1932"/>
                  </a:lnTo>
                  <a:lnTo>
                    <a:pt x="144" y="1932"/>
                  </a:lnTo>
                  <a:lnTo>
                    <a:pt x="138" y="1932"/>
                  </a:lnTo>
                  <a:lnTo>
                    <a:pt x="132" y="1932"/>
                  </a:lnTo>
                  <a:lnTo>
                    <a:pt x="132" y="1938"/>
                  </a:lnTo>
                  <a:lnTo>
                    <a:pt x="126" y="1944"/>
                  </a:lnTo>
                  <a:lnTo>
                    <a:pt x="126" y="1956"/>
                  </a:lnTo>
                  <a:lnTo>
                    <a:pt x="120" y="1968"/>
                  </a:lnTo>
                  <a:lnTo>
                    <a:pt x="120" y="1974"/>
                  </a:lnTo>
                  <a:lnTo>
                    <a:pt x="120" y="1980"/>
                  </a:lnTo>
                  <a:lnTo>
                    <a:pt x="126" y="1980"/>
                  </a:lnTo>
                  <a:lnTo>
                    <a:pt x="120" y="1986"/>
                  </a:lnTo>
                  <a:lnTo>
                    <a:pt x="120" y="1992"/>
                  </a:lnTo>
                  <a:lnTo>
                    <a:pt x="114" y="1992"/>
                  </a:lnTo>
                  <a:lnTo>
                    <a:pt x="114" y="1986"/>
                  </a:lnTo>
                  <a:lnTo>
                    <a:pt x="108" y="1992"/>
                  </a:lnTo>
                  <a:lnTo>
                    <a:pt x="108" y="1998"/>
                  </a:lnTo>
                  <a:lnTo>
                    <a:pt x="114" y="2004"/>
                  </a:lnTo>
                  <a:lnTo>
                    <a:pt x="108" y="2004"/>
                  </a:lnTo>
                  <a:lnTo>
                    <a:pt x="102" y="2010"/>
                  </a:lnTo>
                  <a:lnTo>
                    <a:pt x="102" y="2004"/>
                  </a:lnTo>
                  <a:lnTo>
                    <a:pt x="90" y="2004"/>
                  </a:lnTo>
                  <a:lnTo>
                    <a:pt x="84" y="2004"/>
                  </a:lnTo>
                  <a:lnTo>
                    <a:pt x="78" y="1998"/>
                  </a:lnTo>
                  <a:lnTo>
                    <a:pt x="78" y="1992"/>
                  </a:lnTo>
                  <a:lnTo>
                    <a:pt x="78" y="1986"/>
                  </a:lnTo>
                  <a:lnTo>
                    <a:pt x="72" y="1986"/>
                  </a:lnTo>
                  <a:lnTo>
                    <a:pt x="66" y="1980"/>
                  </a:lnTo>
                  <a:lnTo>
                    <a:pt x="66" y="1968"/>
                  </a:lnTo>
                  <a:lnTo>
                    <a:pt x="60" y="1956"/>
                  </a:lnTo>
                  <a:lnTo>
                    <a:pt x="60" y="1950"/>
                  </a:lnTo>
                  <a:lnTo>
                    <a:pt x="48" y="1944"/>
                  </a:lnTo>
                  <a:lnTo>
                    <a:pt x="30" y="1926"/>
                  </a:lnTo>
                  <a:lnTo>
                    <a:pt x="12" y="1890"/>
                  </a:lnTo>
                  <a:lnTo>
                    <a:pt x="6" y="1872"/>
                  </a:lnTo>
                  <a:lnTo>
                    <a:pt x="0" y="1854"/>
                  </a:lnTo>
                  <a:lnTo>
                    <a:pt x="6" y="1824"/>
                  </a:lnTo>
                  <a:lnTo>
                    <a:pt x="30" y="1794"/>
                  </a:lnTo>
                  <a:lnTo>
                    <a:pt x="66" y="1752"/>
                  </a:lnTo>
                  <a:lnTo>
                    <a:pt x="72" y="1752"/>
                  </a:lnTo>
                  <a:lnTo>
                    <a:pt x="78" y="1746"/>
                  </a:lnTo>
                  <a:lnTo>
                    <a:pt x="84" y="1746"/>
                  </a:lnTo>
                  <a:lnTo>
                    <a:pt x="90" y="1746"/>
                  </a:lnTo>
                  <a:lnTo>
                    <a:pt x="138" y="1674"/>
                  </a:lnTo>
                  <a:lnTo>
                    <a:pt x="186" y="1620"/>
                  </a:lnTo>
                  <a:lnTo>
                    <a:pt x="186" y="1614"/>
                  </a:lnTo>
                  <a:lnTo>
                    <a:pt x="186" y="1608"/>
                  </a:lnTo>
                  <a:lnTo>
                    <a:pt x="192" y="1608"/>
                  </a:lnTo>
                  <a:lnTo>
                    <a:pt x="192" y="1614"/>
                  </a:lnTo>
                  <a:lnTo>
                    <a:pt x="198" y="1614"/>
                  </a:lnTo>
                  <a:lnTo>
                    <a:pt x="198" y="1608"/>
                  </a:lnTo>
                  <a:lnTo>
                    <a:pt x="198" y="1602"/>
                  </a:lnTo>
                  <a:lnTo>
                    <a:pt x="204" y="1602"/>
                  </a:lnTo>
                  <a:lnTo>
                    <a:pt x="204" y="1596"/>
                  </a:lnTo>
                  <a:lnTo>
                    <a:pt x="210" y="1590"/>
                  </a:lnTo>
                  <a:lnTo>
                    <a:pt x="216" y="1590"/>
                  </a:lnTo>
                  <a:lnTo>
                    <a:pt x="216" y="1584"/>
                  </a:lnTo>
                  <a:lnTo>
                    <a:pt x="222" y="1584"/>
                  </a:lnTo>
                  <a:lnTo>
                    <a:pt x="228" y="1572"/>
                  </a:lnTo>
                  <a:lnTo>
                    <a:pt x="222" y="1572"/>
                  </a:lnTo>
                  <a:lnTo>
                    <a:pt x="228" y="1566"/>
                  </a:lnTo>
                  <a:lnTo>
                    <a:pt x="228" y="1560"/>
                  </a:lnTo>
                  <a:lnTo>
                    <a:pt x="252" y="1548"/>
                  </a:lnTo>
                  <a:lnTo>
                    <a:pt x="276" y="1530"/>
                  </a:lnTo>
                  <a:lnTo>
                    <a:pt x="282" y="1512"/>
                  </a:lnTo>
                  <a:lnTo>
                    <a:pt x="282" y="1506"/>
                  </a:lnTo>
                  <a:lnTo>
                    <a:pt x="282" y="1494"/>
                  </a:lnTo>
                  <a:lnTo>
                    <a:pt x="282" y="1452"/>
                  </a:lnTo>
                  <a:lnTo>
                    <a:pt x="288" y="1440"/>
                  </a:lnTo>
                  <a:lnTo>
                    <a:pt x="294" y="1440"/>
                  </a:lnTo>
                  <a:lnTo>
                    <a:pt x="294" y="1428"/>
                  </a:lnTo>
                  <a:lnTo>
                    <a:pt x="324" y="1368"/>
                  </a:lnTo>
                  <a:lnTo>
                    <a:pt x="330" y="1362"/>
                  </a:lnTo>
                  <a:lnTo>
                    <a:pt x="330" y="1356"/>
                  </a:lnTo>
                  <a:lnTo>
                    <a:pt x="360" y="1338"/>
                  </a:lnTo>
                  <a:lnTo>
                    <a:pt x="366" y="1296"/>
                  </a:lnTo>
                  <a:lnTo>
                    <a:pt x="354" y="1278"/>
                  </a:lnTo>
                  <a:lnTo>
                    <a:pt x="336" y="1230"/>
                  </a:lnTo>
                  <a:lnTo>
                    <a:pt x="270" y="1212"/>
                  </a:lnTo>
                  <a:lnTo>
                    <a:pt x="264" y="1212"/>
                  </a:lnTo>
                  <a:lnTo>
                    <a:pt x="252" y="1200"/>
                  </a:lnTo>
                  <a:lnTo>
                    <a:pt x="234" y="1188"/>
                  </a:lnTo>
                  <a:lnTo>
                    <a:pt x="222" y="1182"/>
                  </a:lnTo>
                  <a:lnTo>
                    <a:pt x="228" y="1104"/>
                  </a:lnTo>
                  <a:lnTo>
                    <a:pt x="228" y="1098"/>
                  </a:lnTo>
                  <a:lnTo>
                    <a:pt x="198" y="1038"/>
                  </a:lnTo>
                  <a:lnTo>
                    <a:pt x="192" y="1032"/>
                  </a:lnTo>
                  <a:lnTo>
                    <a:pt x="180" y="1020"/>
                  </a:lnTo>
                  <a:lnTo>
                    <a:pt x="168" y="996"/>
                  </a:lnTo>
                  <a:lnTo>
                    <a:pt x="162" y="990"/>
                  </a:lnTo>
                  <a:lnTo>
                    <a:pt x="156" y="990"/>
                  </a:lnTo>
                  <a:lnTo>
                    <a:pt x="150" y="990"/>
                  </a:lnTo>
                  <a:lnTo>
                    <a:pt x="132" y="990"/>
                  </a:lnTo>
                  <a:lnTo>
                    <a:pt x="120" y="984"/>
                  </a:lnTo>
                  <a:lnTo>
                    <a:pt x="120" y="990"/>
                  </a:lnTo>
                  <a:lnTo>
                    <a:pt x="114" y="990"/>
                  </a:lnTo>
                  <a:lnTo>
                    <a:pt x="102" y="984"/>
                  </a:lnTo>
                  <a:lnTo>
                    <a:pt x="96" y="984"/>
                  </a:lnTo>
                  <a:lnTo>
                    <a:pt x="96" y="978"/>
                  </a:lnTo>
                  <a:lnTo>
                    <a:pt x="90" y="978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84" y="960"/>
                  </a:lnTo>
                  <a:lnTo>
                    <a:pt x="84" y="954"/>
                  </a:lnTo>
                  <a:lnTo>
                    <a:pt x="78" y="948"/>
                  </a:lnTo>
                  <a:lnTo>
                    <a:pt x="72" y="948"/>
                  </a:lnTo>
                  <a:lnTo>
                    <a:pt x="72" y="942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06"/>
                  </a:lnTo>
                  <a:lnTo>
                    <a:pt x="60" y="888"/>
                  </a:lnTo>
                  <a:lnTo>
                    <a:pt x="54" y="882"/>
                  </a:lnTo>
                  <a:lnTo>
                    <a:pt x="60" y="882"/>
                  </a:lnTo>
                  <a:lnTo>
                    <a:pt x="72" y="876"/>
                  </a:lnTo>
                  <a:lnTo>
                    <a:pt x="78" y="876"/>
                  </a:lnTo>
                  <a:lnTo>
                    <a:pt x="90" y="870"/>
                  </a:lnTo>
                  <a:lnTo>
                    <a:pt x="90" y="864"/>
                  </a:lnTo>
                  <a:lnTo>
                    <a:pt x="96" y="840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80" y="822"/>
                  </a:lnTo>
                  <a:lnTo>
                    <a:pt x="204" y="798"/>
                  </a:lnTo>
                  <a:lnTo>
                    <a:pt x="222" y="786"/>
                  </a:lnTo>
                  <a:lnTo>
                    <a:pt x="252" y="780"/>
                  </a:lnTo>
                  <a:lnTo>
                    <a:pt x="264" y="762"/>
                  </a:lnTo>
                  <a:lnTo>
                    <a:pt x="276" y="762"/>
                  </a:lnTo>
                  <a:lnTo>
                    <a:pt x="288" y="744"/>
                  </a:lnTo>
                  <a:lnTo>
                    <a:pt x="306" y="738"/>
                  </a:lnTo>
                  <a:lnTo>
                    <a:pt x="318" y="732"/>
                  </a:lnTo>
                  <a:lnTo>
                    <a:pt x="324" y="648"/>
                  </a:lnTo>
                  <a:lnTo>
                    <a:pt x="324" y="636"/>
                  </a:lnTo>
                  <a:lnTo>
                    <a:pt x="324" y="630"/>
                  </a:lnTo>
                  <a:lnTo>
                    <a:pt x="330" y="624"/>
                  </a:lnTo>
                  <a:lnTo>
                    <a:pt x="324" y="618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24" y="588"/>
                  </a:lnTo>
                  <a:lnTo>
                    <a:pt x="318" y="576"/>
                  </a:lnTo>
                  <a:lnTo>
                    <a:pt x="318" y="570"/>
                  </a:lnTo>
                  <a:lnTo>
                    <a:pt x="324" y="570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30" y="558"/>
                  </a:lnTo>
                  <a:lnTo>
                    <a:pt x="336" y="558"/>
                  </a:lnTo>
                  <a:lnTo>
                    <a:pt x="342" y="558"/>
                  </a:lnTo>
                  <a:lnTo>
                    <a:pt x="348" y="558"/>
                  </a:lnTo>
                  <a:lnTo>
                    <a:pt x="354" y="564"/>
                  </a:lnTo>
                  <a:lnTo>
                    <a:pt x="360" y="564"/>
                  </a:lnTo>
                  <a:lnTo>
                    <a:pt x="366" y="570"/>
                  </a:lnTo>
                  <a:lnTo>
                    <a:pt x="366" y="576"/>
                  </a:lnTo>
                  <a:lnTo>
                    <a:pt x="372" y="570"/>
                  </a:lnTo>
                  <a:lnTo>
                    <a:pt x="378" y="570"/>
                  </a:lnTo>
                  <a:lnTo>
                    <a:pt x="390" y="570"/>
                  </a:lnTo>
                  <a:lnTo>
                    <a:pt x="402" y="570"/>
                  </a:lnTo>
                  <a:lnTo>
                    <a:pt x="408" y="570"/>
                  </a:lnTo>
                  <a:lnTo>
                    <a:pt x="414" y="564"/>
                  </a:lnTo>
                  <a:lnTo>
                    <a:pt x="420" y="564"/>
                  </a:lnTo>
                  <a:lnTo>
                    <a:pt x="420" y="570"/>
                  </a:lnTo>
                  <a:lnTo>
                    <a:pt x="426" y="570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44" y="570"/>
                  </a:lnTo>
                  <a:lnTo>
                    <a:pt x="450" y="564"/>
                  </a:lnTo>
                  <a:lnTo>
                    <a:pt x="474" y="558"/>
                  </a:lnTo>
                  <a:lnTo>
                    <a:pt x="486" y="54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40" y="474"/>
                  </a:lnTo>
                  <a:lnTo>
                    <a:pt x="558" y="456"/>
                  </a:lnTo>
                  <a:lnTo>
                    <a:pt x="582" y="450"/>
                  </a:lnTo>
                  <a:lnTo>
                    <a:pt x="594" y="414"/>
                  </a:lnTo>
                  <a:lnTo>
                    <a:pt x="612" y="390"/>
                  </a:lnTo>
                  <a:lnTo>
                    <a:pt x="636" y="390"/>
                  </a:lnTo>
                  <a:lnTo>
                    <a:pt x="666" y="390"/>
                  </a:lnTo>
                  <a:lnTo>
                    <a:pt x="696" y="390"/>
                  </a:lnTo>
                  <a:lnTo>
                    <a:pt x="726" y="390"/>
                  </a:lnTo>
                  <a:lnTo>
                    <a:pt x="762" y="378"/>
                  </a:lnTo>
                  <a:lnTo>
                    <a:pt x="780" y="366"/>
                  </a:lnTo>
                  <a:lnTo>
                    <a:pt x="780" y="342"/>
                  </a:lnTo>
                  <a:lnTo>
                    <a:pt x="786" y="342"/>
                  </a:lnTo>
                  <a:lnTo>
                    <a:pt x="786" y="336"/>
                  </a:lnTo>
                  <a:lnTo>
                    <a:pt x="786" y="330"/>
                  </a:lnTo>
                  <a:lnTo>
                    <a:pt x="786" y="324"/>
                  </a:lnTo>
                  <a:lnTo>
                    <a:pt x="816" y="318"/>
                  </a:lnTo>
                  <a:lnTo>
                    <a:pt x="834" y="312"/>
                  </a:lnTo>
                  <a:lnTo>
                    <a:pt x="840" y="318"/>
                  </a:lnTo>
                  <a:lnTo>
                    <a:pt x="852" y="318"/>
                  </a:lnTo>
                  <a:lnTo>
                    <a:pt x="858" y="306"/>
                  </a:lnTo>
                  <a:lnTo>
                    <a:pt x="864" y="288"/>
                  </a:lnTo>
                  <a:lnTo>
                    <a:pt x="870" y="282"/>
                  </a:lnTo>
                  <a:lnTo>
                    <a:pt x="876" y="276"/>
                  </a:lnTo>
                  <a:lnTo>
                    <a:pt x="882" y="264"/>
                  </a:lnTo>
                  <a:lnTo>
                    <a:pt x="882" y="258"/>
                  </a:lnTo>
                  <a:lnTo>
                    <a:pt x="888" y="252"/>
                  </a:lnTo>
                  <a:lnTo>
                    <a:pt x="894" y="240"/>
                  </a:lnTo>
                  <a:lnTo>
                    <a:pt x="906" y="228"/>
                  </a:lnTo>
                  <a:lnTo>
                    <a:pt x="912" y="228"/>
                  </a:lnTo>
                  <a:lnTo>
                    <a:pt x="936" y="228"/>
                  </a:lnTo>
                  <a:lnTo>
                    <a:pt x="942" y="222"/>
                  </a:lnTo>
                  <a:lnTo>
                    <a:pt x="948" y="216"/>
                  </a:lnTo>
                  <a:lnTo>
                    <a:pt x="954" y="216"/>
                  </a:lnTo>
                  <a:lnTo>
                    <a:pt x="960" y="216"/>
                  </a:lnTo>
                  <a:lnTo>
                    <a:pt x="966" y="216"/>
                  </a:lnTo>
                  <a:lnTo>
                    <a:pt x="978" y="216"/>
                  </a:lnTo>
                  <a:lnTo>
                    <a:pt x="990" y="222"/>
                  </a:lnTo>
                  <a:lnTo>
                    <a:pt x="996" y="222"/>
                  </a:lnTo>
                  <a:lnTo>
                    <a:pt x="1002" y="228"/>
                  </a:lnTo>
                  <a:lnTo>
                    <a:pt x="1014" y="234"/>
                  </a:lnTo>
                  <a:lnTo>
                    <a:pt x="1020" y="234"/>
                  </a:lnTo>
                  <a:lnTo>
                    <a:pt x="1032" y="240"/>
                  </a:lnTo>
                  <a:lnTo>
                    <a:pt x="1044" y="240"/>
                  </a:lnTo>
                  <a:lnTo>
                    <a:pt x="1050" y="240"/>
                  </a:lnTo>
                  <a:lnTo>
                    <a:pt x="1056" y="246"/>
                  </a:lnTo>
                  <a:lnTo>
                    <a:pt x="1068" y="264"/>
                  </a:lnTo>
                  <a:lnTo>
                    <a:pt x="1086" y="276"/>
                  </a:lnTo>
                  <a:lnTo>
                    <a:pt x="1092" y="276"/>
                  </a:lnTo>
                  <a:lnTo>
                    <a:pt x="1104" y="282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8" y="312"/>
                  </a:lnTo>
                  <a:lnTo>
                    <a:pt x="1152" y="324"/>
                  </a:lnTo>
                  <a:lnTo>
                    <a:pt x="1188" y="324"/>
                  </a:lnTo>
                  <a:lnTo>
                    <a:pt x="1206" y="318"/>
                  </a:lnTo>
                  <a:lnTo>
                    <a:pt x="1200" y="294"/>
                  </a:lnTo>
                  <a:lnTo>
                    <a:pt x="1206" y="252"/>
                  </a:lnTo>
                  <a:lnTo>
                    <a:pt x="1218" y="222"/>
                  </a:lnTo>
                  <a:lnTo>
                    <a:pt x="1212" y="222"/>
                  </a:lnTo>
                  <a:lnTo>
                    <a:pt x="1212" y="216"/>
                  </a:lnTo>
                  <a:lnTo>
                    <a:pt x="1218" y="204"/>
                  </a:lnTo>
                  <a:lnTo>
                    <a:pt x="1224" y="198"/>
                  </a:lnTo>
                  <a:lnTo>
                    <a:pt x="1224" y="192"/>
                  </a:lnTo>
                  <a:lnTo>
                    <a:pt x="1236" y="180"/>
                  </a:lnTo>
                  <a:lnTo>
                    <a:pt x="1254" y="156"/>
                  </a:lnTo>
                  <a:lnTo>
                    <a:pt x="1260" y="150"/>
                  </a:lnTo>
                  <a:lnTo>
                    <a:pt x="1260" y="144"/>
                  </a:lnTo>
                  <a:lnTo>
                    <a:pt x="1266" y="138"/>
                  </a:lnTo>
                  <a:lnTo>
                    <a:pt x="1272" y="138"/>
                  </a:lnTo>
                  <a:lnTo>
                    <a:pt x="1272" y="120"/>
                  </a:lnTo>
                  <a:lnTo>
                    <a:pt x="1278" y="114"/>
                  </a:lnTo>
                  <a:lnTo>
                    <a:pt x="1278" y="108"/>
                  </a:lnTo>
                  <a:lnTo>
                    <a:pt x="1278" y="102"/>
                  </a:lnTo>
                  <a:lnTo>
                    <a:pt x="1278" y="90"/>
                  </a:lnTo>
                  <a:lnTo>
                    <a:pt x="1278" y="84"/>
                  </a:lnTo>
                  <a:lnTo>
                    <a:pt x="1278" y="78"/>
                  </a:lnTo>
                  <a:lnTo>
                    <a:pt x="1278" y="72"/>
                  </a:lnTo>
                  <a:lnTo>
                    <a:pt x="1278" y="60"/>
                  </a:lnTo>
                  <a:lnTo>
                    <a:pt x="1284" y="48"/>
                  </a:lnTo>
                  <a:lnTo>
                    <a:pt x="1284" y="24"/>
                  </a:lnTo>
                  <a:lnTo>
                    <a:pt x="1284" y="18"/>
                  </a:lnTo>
                  <a:lnTo>
                    <a:pt x="1308" y="24"/>
                  </a:lnTo>
                  <a:lnTo>
                    <a:pt x="1332" y="30"/>
                  </a:lnTo>
                  <a:lnTo>
                    <a:pt x="1368" y="30"/>
                  </a:lnTo>
                  <a:lnTo>
                    <a:pt x="1392" y="24"/>
                  </a:lnTo>
                  <a:lnTo>
                    <a:pt x="1410" y="18"/>
                  </a:lnTo>
                  <a:lnTo>
                    <a:pt x="1416" y="6"/>
                  </a:lnTo>
                  <a:lnTo>
                    <a:pt x="1500" y="6"/>
                  </a:lnTo>
                  <a:lnTo>
                    <a:pt x="1506" y="0"/>
                  </a:lnTo>
                  <a:lnTo>
                    <a:pt x="1506" y="6"/>
                  </a:lnTo>
                  <a:lnTo>
                    <a:pt x="1506" y="18"/>
                  </a:lnTo>
                  <a:lnTo>
                    <a:pt x="1506" y="24"/>
                  </a:lnTo>
                  <a:lnTo>
                    <a:pt x="1500" y="30"/>
                  </a:lnTo>
                  <a:lnTo>
                    <a:pt x="1500" y="42"/>
                  </a:lnTo>
                  <a:lnTo>
                    <a:pt x="1494" y="54"/>
                  </a:lnTo>
                  <a:lnTo>
                    <a:pt x="1488" y="60"/>
                  </a:lnTo>
                  <a:lnTo>
                    <a:pt x="1482" y="60"/>
                  </a:lnTo>
                  <a:lnTo>
                    <a:pt x="1476" y="66"/>
                  </a:lnTo>
                  <a:lnTo>
                    <a:pt x="1476" y="72"/>
                  </a:lnTo>
                  <a:lnTo>
                    <a:pt x="1476" y="78"/>
                  </a:lnTo>
                  <a:lnTo>
                    <a:pt x="1470" y="78"/>
                  </a:lnTo>
                  <a:lnTo>
                    <a:pt x="1464" y="90"/>
                  </a:lnTo>
                  <a:lnTo>
                    <a:pt x="1458" y="96"/>
                  </a:lnTo>
                  <a:lnTo>
                    <a:pt x="1458" y="102"/>
                  </a:lnTo>
                  <a:lnTo>
                    <a:pt x="1452" y="120"/>
                  </a:lnTo>
                  <a:lnTo>
                    <a:pt x="1452" y="132"/>
                  </a:lnTo>
                  <a:lnTo>
                    <a:pt x="1446" y="144"/>
                  </a:lnTo>
                  <a:lnTo>
                    <a:pt x="1446" y="150"/>
                  </a:lnTo>
                  <a:lnTo>
                    <a:pt x="1440" y="150"/>
                  </a:lnTo>
                  <a:lnTo>
                    <a:pt x="1434" y="156"/>
                  </a:lnTo>
                  <a:lnTo>
                    <a:pt x="1428" y="168"/>
                  </a:lnTo>
                  <a:lnTo>
                    <a:pt x="1422" y="168"/>
                  </a:lnTo>
                  <a:lnTo>
                    <a:pt x="1416" y="174"/>
                  </a:lnTo>
                  <a:lnTo>
                    <a:pt x="1410" y="186"/>
                  </a:lnTo>
                  <a:lnTo>
                    <a:pt x="1410" y="204"/>
                  </a:lnTo>
                  <a:lnTo>
                    <a:pt x="1404" y="210"/>
                  </a:lnTo>
                  <a:lnTo>
                    <a:pt x="1404" y="216"/>
                  </a:lnTo>
                  <a:lnTo>
                    <a:pt x="1410" y="228"/>
                  </a:lnTo>
                  <a:lnTo>
                    <a:pt x="1410" y="234"/>
                  </a:lnTo>
                  <a:lnTo>
                    <a:pt x="1410" y="240"/>
                  </a:lnTo>
                  <a:lnTo>
                    <a:pt x="1416" y="252"/>
                  </a:lnTo>
                  <a:lnTo>
                    <a:pt x="1416" y="258"/>
                  </a:lnTo>
                  <a:lnTo>
                    <a:pt x="1422" y="264"/>
                  </a:lnTo>
                  <a:lnTo>
                    <a:pt x="1422" y="270"/>
                  </a:lnTo>
                  <a:lnTo>
                    <a:pt x="1422" y="282"/>
                  </a:lnTo>
                  <a:lnTo>
                    <a:pt x="1416" y="288"/>
                  </a:lnTo>
                  <a:lnTo>
                    <a:pt x="1410" y="294"/>
                  </a:lnTo>
                  <a:lnTo>
                    <a:pt x="1404" y="300"/>
                  </a:lnTo>
                  <a:lnTo>
                    <a:pt x="1404" y="306"/>
                  </a:lnTo>
                  <a:lnTo>
                    <a:pt x="1398" y="324"/>
                  </a:lnTo>
                  <a:lnTo>
                    <a:pt x="1404" y="330"/>
                  </a:lnTo>
                  <a:lnTo>
                    <a:pt x="1404" y="342"/>
                  </a:lnTo>
                  <a:lnTo>
                    <a:pt x="1392" y="354"/>
                  </a:lnTo>
                  <a:lnTo>
                    <a:pt x="1392" y="360"/>
                  </a:lnTo>
                  <a:lnTo>
                    <a:pt x="1392" y="372"/>
                  </a:lnTo>
                  <a:lnTo>
                    <a:pt x="1392" y="384"/>
                  </a:lnTo>
                  <a:lnTo>
                    <a:pt x="1392" y="396"/>
                  </a:lnTo>
                  <a:lnTo>
                    <a:pt x="1392" y="408"/>
                  </a:lnTo>
                  <a:lnTo>
                    <a:pt x="1386" y="414"/>
                  </a:lnTo>
                  <a:lnTo>
                    <a:pt x="1380" y="420"/>
                  </a:lnTo>
                  <a:lnTo>
                    <a:pt x="1380" y="426"/>
                  </a:lnTo>
                  <a:lnTo>
                    <a:pt x="1368" y="432"/>
                  </a:lnTo>
                  <a:lnTo>
                    <a:pt x="1362" y="444"/>
                  </a:lnTo>
                  <a:lnTo>
                    <a:pt x="1362" y="450"/>
                  </a:lnTo>
                  <a:lnTo>
                    <a:pt x="1362" y="462"/>
                  </a:lnTo>
                  <a:lnTo>
                    <a:pt x="1362" y="468"/>
                  </a:lnTo>
                  <a:lnTo>
                    <a:pt x="1362" y="474"/>
                  </a:lnTo>
                  <a:lnTo>
                    <a:pt x="1356" y="474"/>
                  </a:lnTo>
                  <a:lnTo>
                    <a:pt x="1350" y="480"/>
                  </a:lnTo>
                  <a:lnTo>
                    <a:pt x="1344" y="486"/>
                  </a:lnTo>
                  <a:lnTo>
                    <a:pt x="1338" y="498"/>
                  </a:lnTo>
                  <a:lnTo>
                    <a:pt x="1332" y="510"/>
                  </a:lnTo>
                  <a:lnTo>
                    <a:pt x="1320" y="510"/>
                  </a:lnTo>
                  <a:lnTo>
                    <a:pt x="1314" y="516"/>
                  </a:lnTo>
                  <a:lnTo>
                    <a:pt x="1302" y="522"/>
                  </a:lnTo>
                  <a:lnTo>
                    <a:pt x="1296" y="522"/>
                  </a:lnTo>
                  <a:lnTo>
                    <a:pt x="1284" y="516"/>
                  </a:lnTo>
                  <a:lnTo>
                    <a:pt x="1278" y="516"/>
                  </a:lnTo>
                  <a:lnTo>
                    <a:pt x="1272" y="522"/>
                  </a:lnTo>
                  <a:lnTo>
                    <a:pt x="1266" y="522"/>
                  </a:lnTo>
                  <a:lnTo>
                    <a:pt x="1266" y="528"/>
                  </a:lnTo>
                  <a:lnTo>
                    <a:pt x="1254" y="540"/>
                  </a:lnTo>
                  <a:lnTo>
                    <a:pt x="1248" y="546"/>
                  </a:lnTo>
                  <a:lnTo>
                    <a:pt x="1242" y="558"/>
                  </a:lnTo>
                  <a:lnTo>
                    <a:pt x="1230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30" y="594"/>
                  </a:lnTo>
                  <a:lnTo>
                    <a:pt x="1230" y="600"/>
                  </a:lnTo>
                  <a:lnTo>
                    <a:pt x="1236" y="606"/>
                  </a:lnTo>
                  <a:lnTo>
                    <a:pt x="1242" y="606"/>
                  </a:lnTo>
                  <a:lnTo>
                    <a:pt x="1242" y="612"/>
                  </a:lnTo>
                  <a:lnTo>
                    <a:pt x="1242" y="618"/>
                  </a:lnTo>
                  <a:lnTo>
                    <a:pt x="1242" y="624"/>
                  </a:lnTo>
                  <a:lnTo>
                    <a:pt x="1236" y="630"/>
                  </a:lnTo>
                  <a:lnTo>
                    <a:pt x="1230" y="642"/>
                  </a:lnTo>
                  <a:lnTo>
                    <a:pt x="1230" y="648"/>
                  </a:lnTo>
                  <a:lnTo>
                    <a:pt x="1218" y="654"/>
                  </a:lnTo>
                  <a:lnTo>
                    <a:pt x="1212" y="654"/>
                  </a:lnTo>
                  <a:lnTo>
                    <a:pt x="1212" y="660"/>
                  </a:lnTo>
                  <a:lnTo>
                    <a:pt x="1212" y="666"/>
                  </a:lnTo>
                  <a:lnTo>
                    <a:pt x="1212" y="672"/>
                  </a:lnTo>
                  <a:lnTo>
                    <a:pt x="1212" y="678"/>
                  </a:lnTo>
                  <a:lnTo>
                    <a:pt x="1218" y="684"/>
                  </a:lnTo>
                  <a:lnTo>
                    <a:pt x="1218" y="690"/>
                  </a:lnTo>
                  <a:lnTo>
                    <a:pt x="1224" y="696"/>
                  </a:lnTo>
                  <a:lnTo>
                    <a:pt x="1230" y="702"/>
                  </a:lnTo>
                  <a:lnTo>
                    <a:pt x="1236" y="696"/>
                  </a:lnTo>
                  <a:lnTo>
                    <a:pt x="1242" y="702"/>
                  </a:lnTo>
                  <a:lnTo>
                    <a:pt x="1248" y="708"/>
                  </a:lnTo>
                  <a:lnTo>
                    <a:pt x="1254" y="714"/>
                  </a:lnTo>
                  <a:lnTo>
                    <a:pt x="1254" y="720"/>
                  </a:lnTo>
                  <a:lnTo>
                    <a:pt x="1260" y="720"/>
                  </a:lnTo>
                  <a:lnTo>
                    <a:pt x="1254" y="732"/>
                  </a:lnTo>
                  <a:lnTo>
                    <a:pt x="1248" y="738"/>
                  </a:lnTo>
                  <a:lnTo>
                    <a:pt x="1242" y="744"/>
                  </a:lnTo>
                  <a:lnTo>
                    <a:pt x="1236" y="750"/>
                  </a:lnTo>
                  <a:lnTo>
                    <a:pt x="1236" y="756"/>
                  </a:lnTo>
                  <a:lnTo>
                    <a:pt x="1236" y="762"/>
                  </a:lnTo>
                  <a:lnTo>
                    <a:pt x="1236" y="768"/>
                  </a:lnTo>
                  <a:lnTo>
                    <a:pt x="1236" y="780"/>
                  </a:lnTo>
                  <a:lnTo>
                    <a:pt x="1230" y="780"/>
                  </a:lnTo>
                  <a:lnTo>
                    <a:pt x="1230" y="786"/>
                  </a:lnTo>
                  <a:lnTo>
                    <a:pt x="1230" y="792"/>
                  </a:lnTo>
                  <a:lnTo>
                    <a:pt x="1230" y="804"/>
                  </a:lnTo>
                  <a:lnTo>
                    <a:pt x="1224" y="810"/>
                  </a:lnTo>
                  <a:lnTo>
                    <a:pt x="1218" y="816"/>
                  </a:lnTo>
                  <a:lnTo>
                    <a:pt x="1224" y="822"/>
                  </a:lnTo>
                  <a:lnTo>
                    <a:pt x="1224" y="828"/>
                  </a:lnTo>
                  <a:lnTo>
                    <a:pt x="1218" y="834"/>
                  </a:lnTo>
                  <a:lnTo>
                    <a:pt x="1224" y="834"/>
                  </a:lnTo>
                  <a:lnTo>
                    <a:pt x="1224" y="840"/>
                  </a:lnTo>
                  <a:lnTo>
                    <a:pt x="1224" y="846"/>
                  </a:lnTo>
                  <a:lnTo>
                    <a:pt x="1224" y="852"/>
                  </a:lnTo>
                  <a:lnTo>
                    <a:pt x="1218" y="858"/>
                  </a:lnTo>
                  <a:lnTo>
                    <a:pt x="1218" y="870"/>
                  </a:lnTo>
                  <a:lnTo>
                    <a:pt x="1212" y="870"/>
                  </a:lnTo>
                  <a:lnTo>
                    <a:pt x="1212" y="876"/>
                  </a:lnTo>
                  <a:lnTo>
                    <a:pt x="1206" y="888"/>
                  </a:lnTo>
                  <a:lnTo>
                    <a:pt x="1200" y="882"/>
                  </a:lnTo>
                  <a:lnTo>
                    <a:pt x="1194" y="888"/>
                  </a:lnTo>
                  <a:lnTo>
                    <a:pt x="1188" y="894"/>
                  </a:lnTo>
                  <a:lnTo>
                    <a:pt x="1182" y="894"/>
                  </a:lnTo>
                  <a:lnTo>
                    <a:pt x="1182" y="900"/>
                  </a:lnTo>
                  <a:lnTo>
                    <a:pt x="1176" y="900"/>
                  </a:lnTo>
                  <a:lnTo>
                    <a:pt x="1170" y="894"/>
                  </a:lnTo>
                  <a:lnTo>
                    <a:pt x="1164" y="900"/>
                  </a:lnTo>
                  <a:lnTo>
                    <a:pt x="1158" y="900"/>
                  </a:lnTo>
                  <a:lnTo>
                    <a:pt x="1152" y="900"/>
                  </a:lnTo>
                  <a:lnTo>
                    <a:pt x="1140" y="900"/>
                  </a:lnTo>
                  <a:lnTo>
                    <a:pt x="1134" y="900"/>
                  </a:lnTo>
                  <a:lnTo>
                    <a:pt x="1128" y="906"/>
                  </a:lnTo>
                  <a:lnTo>
                    <a:pt x="1110" y="906"/>
                  </a:lnTo>
                  <a:lnTo>
                    <a:pt x="1104" y="906"/>
                  </a:lnTo>
                  <a:lnTo>
                    <a:pt x="1098" y="906"/>
                  </a:lnTo>
                  <a:lnTo>
                    <a:pt x="1092" y="912"/>
                  </a:lnTo>
                  <a:lnTo>
                    <a:pt x="1080" y="918"/>
                  </a:lnTo>
                  <a:lnTo>
                    <a:pt x="1068" y="930"/>
                  </a:lnTo>
                  <a:lnTo>
                    <a:pt x="1062" y="930"/>
                  </a:lnTo>
                  <a:lnTo>
                    <a:pt x="1056" y="930"/>
                  </a:lnTo>
                  <a:lnTo>
                    <a:pt x="1050" y="930"/>
                  </a:lnTo>
                  <a:lnTo>
                    <a:pt x="1050" y="936"/>
                  </a:lnTo>
                  <a:lnTo>
                    <a:pt x="1038" y="942"/>
                  </a:lnTo>
                  <a:lnTo>
                    <a:pt x="1032" y="948"/>
                  </a:lnTo>
                  <a:lnTo>
                    <a:pt x="1026" y="954"/>
                  </a:lnTo>
                  <a:lnTo>
                    <a:pt x="1020" y="960"/>
                  </a:lnTo>
                  <a:lnTo>
                    <a:pt x="1014" y="966"/>
                  </a:lnTo>
                  <a:lnTo>
                    <a:pt x="1002" y="966"/>
                  </a:lnTo>
                  <a:lnTo>
                    <a:pt x="990" y="978"/>
                  </a:lnTo>
                  <a:lnTo>
                    <a:pt x="984" y="978"/>
                  </a:lnTo>
                  <a:lnTo>
                    <a:pt x="978" y="984"/>
                  </a:lnTo>
                  <a:lnTo>
                    <a:pt x="972" y="984"/>
                  </a:lnTo>
                  <a:lnTo>
                    <a:pt x="978" y="990"/>
                  </a:lnTo>
                  <a:lnTo>
                    <a:pt x="972" y="996"/>
                  </a:lnTo>
                  <a:lnTo>
                    <a:pt x="978" y="1002"/>
                  </a:lnTo>
                  <a:lnTo>
                    <a:pt x="1002" y="1002"/>
                  </a:lnTo>
                  <a:lnTo>
                    <a:pt x="1002" y="1008"/>
                  </a:lnTo>
                  <a:lnTo>
                    <a:pt x="1008" y="1020"/>
                  </a:lnTo>
                  <a:lnTo>
                    <a:pt x="1002" y="1026"/>
                  </a:lnTo>
                  <a:lnTo>
                    <a:pt x="1002" y="1032"/>
                  </a:lnTo>
                  <a:lnTo>
                    <a:pt x="1002" y="1050"/>
                  </a:lnTo>
                  <a:lnTo>
                    <a:pt x="1002" y="1056"/>
                  </a:lnTo>
                  <a:lnTo>
                    <a:pt x="1008" y="1062"/>
                  </a:lnTo>
                  <a:lnTo>
                    <a:pt x="1008" y="1074"/>
                  </a:lnTo>
                  <a:lnTo>
                    <a:pt x="1008" y="1086"/>
                  </a:lnTo>
                  <a:lnTo>
                    <a:pt x="996" y="1092"/>
                  </a:lnTo>
                  <a:lnTo>
                    <a:pt x="996" y="1098"/>
                  </a:lnTo>
                  <a:lnTo>
                    <a:pt x="996" y="1104"/>
                  </a:lnTo>
                  <a:lnTo>
                    <a:pt x="990" y="1110"/>
                  </a:lnTo>
                  <a:lnTo>
                    <a:pt x="990" y="1116"/>
                  </a:lnTo>
                  <a:lnTo>
                    <a:pt x="996" y="1122"/>
                  </a:lnTo>
                  <a:lnTo>
                    <a:pt x="990" y="1128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96" y="1140"/>
                  </a:lnTo>
                  <a:lnTo>
                    <a:pt x="996" y="1146"/>
                  </a:lnTo>
                  <a:lnTo>
                    <a:pt x="996" y="1152"/>
                  </a:lnTo>
                  <a:lnTo>
                    <a:pt x="996" y="1158"/>
                  </a:lnTo>
                  <a:lnTo>
                    <a:pt x="996" y="1164"/>
                  </a:lnTo>
                  <a:lnTo>
                    <a:pt x="996" y="1170"/>
                  </a:lnTo>
                  <a:lnTo>
                    <a:pt x="996" y="1176"/>
                  </a:lnTo>
                  <a:lnTo>
                    <a:pt x="990" y="1182"/>
                  </a:lnTo>
                  <a:lnTo>
                    <a:pt x="990" y="1188"/>
                  </a:lnTo>
                  <a:lnTo>
                    <a:pt x="984" y="1200"/>
                  </a:lnTo>
                  <a:lnTo>
                    <a:pt x="990" y="1206"/>
                  </a:lnTo>
                  <a:lnTo>
                    <a:pt x="990" y="1212"/>
                  </a:lnTo>
                  <a:lnTo>
                    <a:pt x="990" y="1218"/>
                  </a:lnTo>
                  <a:lnTo>
                    <a:pt x="978" y="1230"/>
                  </a:lnTo>
                  <a:lnTo>
                    <a:pt x="972" y="1236"/>
                  </a:lnTo>
                  <a:lnTo>
                    <a:pt x="972" y="1242"/>
                  </a:lnTo>
                  <a:lnTo>
                    <a:pt x="966" y="1248"/>
                  </a:lnTo>
                  <a:lnTo>
                    <a:pt x="960" y="1260"/>
                  </a:lnTo>
                  <a:lnTo>
                    <a:pt x="954" y="1266"/>
                  </a:lnTo>
                  <a:lnTo>
                    <a:pt x="942" y="1278"/>
                  </a:lnTo>
                  <a:lnTo>
                    <a:pt x="936" y="1278"/>
                  </a:lnTo>
                  <a:lnTo>
                    <a:pt x="936" y="1284"/>
                  </a:lnTo>
                  <a:lnTo>
                    <a:pt x="936" y="1296"/>
                  </a:lnTo>
                  <a:lnTo>
                    <a:pt x="936" y="1302"/>
                  </a:lnTo>
                  <a:lnTo>
                    <a:pt x="942" y="1302"/>
                  </a:lnTo>
                  <a:lnTo>
                    <a:pt x="942" y="1308"/>
                  </a:lnTo>
                  <a:lnTo>
                    <a:pt x="936" y="1314"/>
                  </a:lnTo>
                  <a:lnTo>
                    <a:pt x="930" y="1320"/>
                  </a:lnTo>
                  <a:lnTo>
                    <a:pt x="930" y="1326"/>
                  </a:lnTo>
                  <a:lnTo>
                    <a:pt x="930" y="1332"/>
                  </a:lnTo>
                  <a:lnTo>
                    <a:pt x="936" y="1338"/>
                  </a:lnTo>
                  <a:lnTo>
                    <a:pt x="936" y="1344"/>
                  </a:lnTo>
                  <a:lnTo>
                    <a:pt x="942" y="1356"/>
                  </a:lnTo>
                  <a:lnTo>
                    <a:pt x="948" y="1368"/>
                  </a:lnTo>
                  <a:lnTo>
                    <a:pt x="942" y="1380"/>
                  </a:lnTo>
                  <a:lnTo>
                    <a:pt x="936" y="1386"/>
                  </a:lnTo>
                  <a:lnTo>
                    <a:pt x="930" y="1392"/>
                  </a:lnTo>
                  <a:lnTo>
                    <a:pt x="924" y="1392"/>
                  </a:lnTo>
                  <a:lnTo>
                    <a:pt x="918" y="1386"/>
                  </a:lnTo>
                  <a:lnTo>
                    <a:pt x="912" y="1386"/>
                  </a:lnTo>
                  <a:lnTo>
                    <a:pt x="906" y="1386"/>
                  </a:lnTo>
                  <a:lnTo>
                    <a:pt x="900" y="1386"/>
                  </a:lnTo>
                  <a:lnTo>
                    <a:pt x="900" y="1392"/>
                  </a:lnTo>
                  <a:lnTo>
                    <a:pt x="894" y="1392"/>
                  </a:lnTo>
                  <a:lnTo>
                    <a:pt x="888" y="1392"/>
                  </a:lnTo>
                  <a:lnTo>
                    <a:pt x="888" y="1398"/>
                  </a:lnTo>
                  <a:lnTo>
                    <a:pt x="882" y="1404"/>
                  </a:lnTo>
                  <a:lnTo>
                    <a:pt x="882" y="1416"/>
                  </a:lnTo>
                  <a:lnTo>
                    <a:pt x="882" y="1428"/>
                  </a:lnTo>
                  <a:lnTo>
                    <a:pt x="882" y="1434"/>
                  </a:lnTo>
                  <a:lnTo>
                    <a:pt x="870" y="1440"/>
                  </a:lnTo>
                  <a:lnTo>
                    <a:pt x="864" y="1452"/>
                  </a:lnTo>
                  <a:lnTo>
                    <a:pt x="870" y="1452"/>
                  </a:lnTo>
                  <a:lnTo>
                    <a:pt x="864" y="1458"/>
                  </a:lnTo>
                  <a:lnTo>
                    <a:pt x="858" y="1464"/>
                  </a:lnTo>
                  <a:lnTo>
                    <a:pt x="852" y="1464"/>
                  </a:lnTo>
                  <a:lnTo>
                    <a:pt x="846" y="1458"/>
                  </a:lnTo>
                  <a:lnTo>
                    <a:pt x="840" y="1458"/>
                  </a:lnTo>
                  <a:lnTo>
                    <a:pt x="828" y="1470"/>
                  </a:lnTo>
                  <a:lnTo>
                    <a:pt x="810" y="1482"/>
                  </a:lnTo>
                  <a:lnTo>
                    <a:pt x="804" y="1488"/>
                  </a:lnTo>
                  <a:lnTo>
                    <a:pt x="798" y="1488"/>
                  </a:lnTo>
                  <a:lnTo>
                    <a:pt x="792" y="1488"/>
                  </a:lnTo>
                  <a:lnTo>
                    <a:pt x="786" y="1488"/>
                  </a:lnTo>
                  <a:lnTo>
                    <a:pt x="768" y="1482"/>
                  </a:lnTo>
                  <a:lnTo>
                    <a:pt x="762" y="1476"/>
                  </a:lnTo>
                  <a:lnTo>
                    <a:pt x="744" y="1476"/>
                  </a:lnTo>
                  <a:lnTo>
                    <a:pt x="738" y="1476"/>
                  </a:lnTo>
                  <a:lnTo>
                    <a:pt x="732" y="1476"/>
                  </a:lnTo>
                  <a:lnTo>
                    <a:pt x="726" y="1482"/>
                  </a:lnTo>
                  <a:lnTo>
                    <a:pt x="726" y="1488"/>
                  </a:lnTo>
                  <a:lnTo>
                    <a:pt x="726" y="1494"/>
                  </a:lnTo>
                  <a:lnTo>
                    <a:pt x="726" y="1500"/>
                  </a:lnTo>
                  <a:lnTo>
                    <a:pt x="720" y="1500"/>
                  </a:lnTo>
                  <a:lnTo>
                    <a:pt x="720" y="1506"/>
                  </a:lnTo>
                  <a:lnTo>
                    <a:pt x="714" y="1512"/>
                  </a:lnTo>
                  <a:lnTo>
                    <a:pt x="714" y="1518"/>
                  </a:lnTo>
                  <a:lnTo>
                    <a:pt x="708" y="1518"/>
                  </a:lnTo>
                  <a:lnTo>
                    <a:pt x="708" y="1530"/>
                  </a:lnTo>
                  <a:lnTo>
                    <a:pt x="708" y="1536"/>
                  </a:lnTo>
                  <a:lnTo>
                    <a:pt x="708" y="1542"/>
                  </a:lnTo>
                  <a:lnTo>
                    <a:pt x="696" y="1554"/>
                  </a:lnTo>
                  <a:lnTo>
                    <a:pt x="690" y="1560"/>
                  </a:lnTo>
                  <a:lnTo>
                    <a:pt x="684" y="1566"/>
                  </a:lnTo>
                  <a:lnTo>
                    <a:pt x="672" y="1566"/>
                  </a:lnTo>
                  <a:lnTo>
                    <a:pt x="666" y="1566"/>
                  </a:lnTo>
                  <a:lnTo>
                    <a:pt x="660" y="1566"/>
                  </a:lnTo>
                  <a:lnTo>
                    <a:pt x="654" y="1572"/>
                  </a:lnTo>
                  <a:lnTo>
                    <a:pt x="654" y="1578"/>
                  </a:lnTo>
                  <a:lnTo>
                    <a:pt x="642" y="1578"/>
                  </a:lnTo>
                  <a:lnTo>
                    <a:pt x="630" y="1572"/>
                  </a:lnTo>
                  <a:lnTo>
                    <a:pt x="624" y="1572"/>
                  </a:lnTo>
                  <a:lnTo>
                    <a:pt x="618" y="1578"/>
                  </a:lnTo>
                  <a:lnTo>
                    <a:pt x="612" y="1584"/>
                  </a:lnTo>
                  <a:lnTo>
                    <a:pt x="606" y="1584"/>
                  </a:lnTo>
                  <a:lnTo>
                    <a:pt x="600" y="1590"/>
                  </a:lnTo>
                  <a:lnTo>
                    <a:pt x="594" y="1590"/>
                  </a:lnTo>
                  <a:lnTo>
                    <a:pt x="588" y="1590"/>
                  </a:lnTo>
                  <a:lnTo>
                    <a:pt x="582" y="1590"/>
                  </a:lnTo>
                  <a:lnTo>
                    <a:pt x="582" y="1596"/>
                  </a:lnTo>
                  <a:lnTo>
                    <a:pt x="576" y="1614"/>
                  </a:lnTo>
                  <a:lnTo>
                    <a:pt x="570" y="1632"/>
                  </a:lnTo>
                  <a:lnTo>
                    <a:pt x="570" y="1638"/>
                  </a:lnTo>
                  <a:lnTo>
                    <a:pt x="576" y="1644"/>
                  </a:lnTo>
                  <a:lnTo>
                    <a:pt x="576" y="1650"/>
                  </a:lnTo>
                  <a:lnTo>
                    <a:pt x="582" y="1662"/>
                  </a:lnTo>
                  <a:lnTo>
                    <a:pt x="582" y="1668"/>
                  </a:lnTo>
                  <a:lnTo>
                    <a:pt x="588" y="1692"/>
                  </a:lnTo>
                  <a:lnTo>
                    <a:pt x="594" y="1728"/>
                  </a:lnTo>
                  <a:lnTo>
                    <a:pt x="594" y="1752"/>
                  </a:lnTo>
                  <a:lnTo>
                    <a:pt x="594" y="1764"/>
                  </a:lnTo>
                  <a:lnTo>
                    <a:pt x="582" y="1770"/>
                  </a:lnTo>
                  <a:lnTo>
                    <a:pt x="582" y="1782"/>
                  </a:lnTo>
                  <a:lnTo>
                    <a:pt x="576" y="1788"/>
                  </a:lnTo>
                  <a:lnTo>
                    <a:pt x="570" y="1794"/>
                  </a:lnTo>
                  <a:lnTo>
                    <a:pt x="564" y="1806"/>
                  </a:lnTo>
                  <a:lnTo>
                    <a:pt x="564" y="1812"/>
                  </a:lnTo>
                  <a:lnTo>
                    <a:pt x="558" y="1812"/>
                  </a:lnTo>
                  <a:lnTo>
                    <a:pt x="564" y="1824"/>
                  </a:lnTo>
                  <a:lnTo>
                    <a:pt x="564" y="1830"/>
                  </a:lnTo>
                  <a:lnTo>
                    <a:pt x="564" y="1842"/>
                  </a:lnTo>
                  <a:lnTo>
                    <a:pt x="564" y="1848"/>
                  </a:lnTo>
                  <a:lnTo>
                    <a:pt x="564" y="1854"/>
                  </a:lnTo>
                  <a:lnTo>
                    <a:pt x="570" y="1860"/>
                  </a:lnTo>
                  <a:lnTo>
                    <a:pt x="570" y="1866"/>
                  </a:lnTo>
                  <a:lnTo>
                    <a:pt x="570" y="1872"/>
                  </a:lnTo>
                  <a:lnTo>
                    <a:pt x="570" y="1878"/>
                  </a:lnTo>
                  <a:lnTo>
                    <a:pt x="564" y="1890"/>
                  </a:lnTo>
                  <a:lnTo>
                    <a:pt x="558" y="1896"/>
                  </a:lnTo>
                  <a:lnTo>
                    <a:pt x="552" y="1908"/>
                  </a:lnTo>
                  <a:lnTo>
                    <a:pt x="546" y="1914"/>
                  </a:lnTo>
                  <a:lnTo>
                    <a:pt x="540" y="1920"/>
                  </a:lnTo>
                  <a:lnTo>
                    <a:pt x="534" y="1932"/>
                  </a:lnTo>
                  <a:lnTo>
                    <a:pt x="528" y="1944"/>
                  </a:lnTo>
                  <a:lnTo>
                    <a:pt x="516" y="1950"/>
                  </a:lnTo>
                  <a:lnTo>
                    <a:pt x="510" y="1956"/>
                  </a:lnTo>
                  <a:lnTo>
                    <a:pt x="498" y="1962"/>
                  </a:lnTo>
                  <a:lnTo>
                    <a:pt x="492" y="1974"/>
                  </a:lnTo>
                  <a:lnTo>
                    <a:pt x="486" y="1980"/>
                  </a:lnTo>
                  <a:lnTo>
                    <a:pt x="480" y="1998"/>
                  </a:lnTo>
                  <a:lnTo>
                    <a:pt x="474" y="2004"/>
                  </a:lnTo>
                  <a:lnTo>
                    <a:pt x="474" y="2010"/>
                  </a:lnTo>
                  <a:lnTo>
                    <a:pt x="474" y="2016"/>
                  </a:lnTo>
                  <a:lnTo>
                    <a:pt x="468" y="2016"/>
                  </a:lnTo>
                  <a:lnTo>
                    <a:pt x="468" y="2028"/>
                  </a:lnTo>
                  <a:lnTo>
                    <a:pt x="462" y="2034"/>
                  </a:lnTo>
                  <a:lnTo>
                    <a:pt x="456" y="2040"/>
                  </a:lnTo>
                  <a:lnTo>
                    <a:pt x="456" y="2052"/>
                  </a:lnTo>
                  <a:lnTo>
                    <a:pt x="450" y="2058"/>
                  </a:lnTo>
                  <a:lnTo>
                    <a:pt x="450" y="2070"/>
                  </a:lnTo>
                  <a:lnTo>
                    <a:pt x="450" y="2076"/>
                  </a:lnTo>
                  <a:lnTo>
                    <a:pt x="450" y="2082"/>
                  </a:lnTo>
                  <a:lnTo>
                    <a:pt x="444" y="2088"/>
                  </a:lnTo>
                  <a:lnTo>
                    <a:pt x="438" y="2094"/>
                  </a:lnTo>
                  <a:lnTo>
                    <a:pt x="444" y="2100"/>
                  </a:lnTo>
                  <a:lnTo>
                    <a:pt x="444" y="2124"/>
                  </a:lnTo>
                  <a:lnTo>
                    <a:pt x="444" y="2142"/>
                  </a:lnTo>
                  <a:lnTo>
                    <a:pt x="444" y="2160"/>
                  </a:lnTo>
                  <a:lnTo>
                    <a:pt x="450" y="2166"/>
                  </a:lnTo>
                  <a:lnTo>
                    <a:pt x="456" y="2178"/>
                  </a:lnTo>
                  <a:lnTo>
                    <a:pt x="438" y="2184"/>
                  </a:lnTo>
                  <a:lnTo>
                    <a:pt x="432" y="2184"/>
                  </a:lnTo>
                  <a:lnTo>
                    <a:pt x="426" y="2190"/>
                  </a:lnTo>
                  <a:lnTo>
                    <a:pt x="408" y="2190"/>
                  </a:lnTo>
                  <a:lnTo>
                    <a:pt x="402" y="2196"/>
                  </a:lnTo>
                  <a:lnTo>
                    <a:pt x="396" y="2196"/>
                  </a:lnTo>
                  <a:lnTo>
                    <a:pt x="384" y="2208"/>
                  </a:lnTo>
                  <a:lnTo>
                    <a:pt x="378" y="2220"/>
                  </a:lnTo>
                  <a:lnTo>
                    <a:pt x="366" y="2232"/>
                  </a:lnTo>
                  <a:lnTo>
                    <a:pt x="366" y="2238"/>
                  </a:lnTo>
                  <a:lnTo>
                    <a:pt x="360" y="2238"/>
                  </a:lnTo>
                  <a:lnTo>
                    <a:pt x="360" y="2244"/>
                  </a:lnTo>
                  <a:lnTo>
                    <a:pt x="354" y="2244"/>
                  </a:lnTo>
                  <a:lnTo>
                    <a:pt x="330" y="227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5" name="Freeform 10">
              <a:extLst>
                <a:ext uri="{FF2B5EF4-FFF2-40B4-BE49-F238E27FC236}">
                  <a16:creationId xmlns:a16="http://schemas.microsoft.com/office/drawing/2014/main" id="{3AD2FC58-3490-4B7F-A8BE-621F3CDD69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1996" y="1931890"/>
              <a:ext cx="805029" cy="1037736"/>
            </a:xfrm>
            <a:custGeom>
              <a:avLst/>
              <a:gdLst>
                <a:gd name="T0" fmla="*/ 124 w 1512"/>
                <a:gd name="T1" fmla="*/ 76 h 1956"/>
                <a:gd name="T2" fmla="*/ 120 w 1512"/>
                <a:gd name="T3" fmla="*/ 80 h 1956"/>
                <a:gd name="T4" fmla="*/ 106 w 1512"/>
                <a:gd name="T5" fmla="*/ 84 h 1956"/>
                <a:gd name="T6" fmla="*/ 105 w 1512"/>
                <a:gd name="T7" fmla="*/ 91 h 1956"/>
                <a:gd name="T8" fmla="*/ 101 w 1512"/>
                <a:gd name="T9" fmla="*/ 99 h 1956"/>
                <a:gd name="T10" fmla="*/ 105 w 1512"/>
                <a:gd name="T11" fmla="*/ 107 h 1956"/>
                <a:gd name="T12" fmla="*/ 119 w 1512"/>
                <a:gd name="T13" fmla="*/ 116 h 1956"/>
                <a:gd name="T14" fmla="*/ 121 w 1512"/>
                <a:gd name="T15" fmla="*/ 128 h 1956"/>
                <a:gd name="T16" fmla="*/ 112 w 1512"/>
                <a:gd name="T17" fmla="*/ 136 h 1956"/>
                <a:gd name="T18" fmla="*/ 119 w 1512"/>
                <a:gd name="T19" fmla="*/ 143 h 1956"/>
                <a:gd name="T20" fmla="*/ 126 w 1512"/>
                <a:gd name="T21" fmla="*/ 148 h 1956"/>
                <a:gd name="T22" fmla="*/ 126 w 1512"/>
                <a:gd name="T23" fmla="*/ 160 h 1956"/>
                <a:gd name="T24" fmla="*/ 104 w 1512"/>
                <a:gd name="T25" fmla="*/ 170 h 1956"/>
                <a:gd name="T26" fmla="*/ 99 w 1512"/>
                <a:gd name="T27" fmla="*/ 164 h 1956"/>
                <a:gd name="T28" fmla="*/ 73 w 1512"/>
                <a:gd name="T29" fmla="*/ 152 h 1956"/>
                <a:gd name="T30" fmla="*/ 56 w 1512"/>
                <a:gd name="T31" fmla="*/ 165 h 1956"/>
                <a:gd name="T32" fmla="*/ 33 w 1512"/>
                <a:gd name="T33" fmla="*/ 162 h 1956"/>
                <a:gd name="T34" fmla="*/ 25 w 1512"/>
                <a:gd name="T35" fmla="*/ 155 h 1956"/>
                <a:gd name="T36" fmla="*/ 31 w 1512"/>
                <a:gd name="T37" fmla="*/ 142 h 1956"/>
                <a:gd name="T38" fmla="*/ 24 w 1512"/>
                <a:gd name="T39" fmla="*/ 137 h 1956"/>
                <a:gd name="T40" fmla="*/ 14 w 1512"/>
                <a:gd name="T41" fmla="*/ 136 h 1956"/>
                <a:gd name="T42" fmla="*/ 11 w 1512"/>
                <a:gd name="T43" fmla="*/ 125 h 1956"/>
                <a:gd name="T44" fmla="*/ 3 w 1512"/>
                <a:gd name="T45" fmla="*/ 116 h 1956"/>
                <a:gd name="T46" fmla="*/ 2 w 1512"/>
                <a:gd name="T47" fmla="*/ 106 h 1956"/>
                <a:gd name="T48" fmla="*/ 5 w 1512"/>
                <a:gd name="T49" fmla="*/ 101 h 1956"/>
                <a:gd name="T50" fmla="*/ 2 w 1512"/>
                <a:gd name="T51" fmla="*/ 95 h 1956"/>
                <a:gd name="T52" fmla="*/ 1 w 1512"/>
                <a:gd name="T53" fmla="*/ 88 h 1956"/>
                <a:gd name="T54" fmla="*/ 4 w 1512"/>
                <a:gd name="T55" fmla="*/ 80 h 1956"/>
                <a:gd name="T56" fmla="*/ 12 w 1512"/>
                <a:gd name="T57" fmla="*/ 73 h 1956"/>
                <a:gd name="T58" fmla="*/ 16 w 1512"/>
                <a:gd name="T59" fmla="*/ 68 h 1956"/>
                <a:gd name="T60" fmla="*/ 22 w 1512"/>
                <a:gd name="T61" fmla="*/ 66 h 1956"/>
                <a:gd name="T62" fmla="*/ 32 w 1512"/>
                <a:gd name="T63" fmla="*/ 65 h 1956"/>
                <a:gd name="T64" fmla="*/ 45 w 1512"/>
                <a:gd name="T65" fmla="*/ 66 h 1956"/>
                <a:gd name="T66" fmla="*/ 50 w 1512"/>
                <a:gd name="T67" fmla="*/ 70 h 1956"/>
                <a:gd name="T68" fmla="*/ 55 w 1512"/>
                <a:gd name="T69" fmla="*/ 70 h 1956"/>
                <a:gd name="T70" fmla="*/ 63 w 1512"/>
                <a:gd name="T71" fmla="*/ 71 h 1956"/>
                <a:gd name="T72" fmla="*/ 61 w 1512"/>
                <a:gd name="T73" fmla="*/ 75 h 1956"/>
                <a:gd name="T74" fmla="*/ 66 w 1512"/>
                <a:gd name="T75" fmla="*/ 84 h 1956"/>
                <a:gd name="T76" fmla="*/ 81 w 1512"/>
                <a:gd name="T77" fmla="*/ 85 h 1956"/>
                <a:gd name="T78" fmla="*/ 83 w 1512"/>
                <a:gd name="T79" fmla="*/ 79 h 1956"/>
                <a:gd name="T80" fmla="*/ 89 w 1512"/>
                <a:gd name="T81" fmla="*/ 77 h 1956"/>
                <a:gd name="T82" fmla="*/ 89 w 1512"/>
                <a:gd name="T83" fmla="*/ 73 h 1956"/>
                <a:gd name="T84" fmla="*/ 83 w 1512"/>
                <a:gd name="T85" fmla="*/ 72 h 1956"/>
                <a:gd name="T86" fmla="*/ 77 w 1512"/>
                <a:gd name="T87" fmla="*/ 70 h 1956"/>
                <a:gd name="T88" fmla="*/ 71 w 1512"/>
                <a:gd name="T89" fmla="*/ 70 h 1956"/>
                <a:gd name="T90" fmla="*/ 59 w 1512"/>
                <a:gd name="T91" fmla="*/ 58 h 1956"/>
                <a:gd name="T92" fmla="*/ 54 w 1512"/>
                <a:gd name="T93" fmla="*/ 45 h 1956"/>
                <a:gd name="T94" fmla="*/ 49 w 1512"/>
                <a:gd name="T95" fmla="*/ 42 h 1956"/>
                <a:gd name="T96" fmla="*/ 51 w 1512"/>
                <a:gd name="T97" fmla="*/ 39 h 1956"/>
                <a:gd name="T98" fmla="*/ 55 w 1512"/>
                <a:gd name="T99" fmla="*/ 36 h 1956"/>
                <a:gd name="T100" fmla="*/ 63 w 1512"/>
                <a:gd name="T101" fmla="*/ 34 h 1956"/>
                <a:gd name="T102" fmla="*/ 68 w 1512"/>
                <a:gd name="T103" fmla="*/ 32 h 1956"/>
                <a:gd name="T104" fmla="*/ 73 w 1512"/>
                <a:gd name="T105" fmla="*/ 29 h 1956"/>
                <a:gd name="T106" fmla="*/ 78 w 1512"/>
                <a:gd name="T107" fmla="*/ 27 h 1956"/>
                <a:gd name="T108" fmla="*/ 81 w 1512"/>
                <a:gd name="T109" fmla="*/ 17 h 1956"/>
                <a:gd name="T110" fmla="*/ 84 w 1512"/>
                <a:gd name="T111" fmla="*/ 6 h 1956"/>
                <a:gd name="T112" fmla="*/ 95 w 1512"/>
                <a:gd name="T113" fmla="*/ 6 h 1956"/>
                <a:gd name="T114" fmla="*/ 99 w 1512"/>
                <a:gd name="T115" fmla="*/ 3 h 1956"/>
                <a:gd name="T116" fmla="*/ 103 w 1512"/>
                <a:gd name="T117" fmla="*/ 0 h 1956"/>
                <a:gd name="T118" fmla="*/ 110 w 1512"/>
                <a:gd name="T119" fmla="*/ 4 h 1956"/>
                <a:gd name="T120" fmla="*/ 114 w 1512"/>
                <a:gd name="T121" fmla="*/ 33 h 1956"/>
                <a:gd name="T122" fmla="*/ 117 w 1512"/>
                <a:gd name="T123" fmla="*/ 41 h 1956"/>
                <a:gd name="T124" fmla="*/ 119 w 1512"/>
                <a:gd name="T125" fmla="*/ 62 h 195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12"/>
                <a:gd name="T190" fmla="*/ 0 h 1956"/>
                <a:gd name="T191" fmla="*/ 1512 w 1512"/>
                <a:gd name="T192" fmla="*/ 1956 h 195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12" h="1956">
                  <a:moveTo>
                    <a:pt x="1512" y="780"/>
                  </a:moveTo>
                  <a:lnTo>
                    <a:pt x="1482" y="786"/>
                  </a:lnTo>
                  <a:lnTo>
                    <a:pt x="1476" y="792"/>
                  </a:lnTo>
                  <a:lnTo>
                    <a:pt x="1476" y="798"/>
                  </a:lnTo>
                  <a:lnTo>
                    <a:pt x="1476" y="804"/>
                  </a:lnTo>
                  <a:lnTo>
                    <a:pt x="1476" y="816"/>
                  </a:lnTo>
                  <a:lnTo>
                    <a:pt x="1470" y="834"/>
                  </a:lnTo>
                  <a:lnTo>
                    <a:pt x="1464" y="840"/>
                  </a:lnTo>
                  <a:lnTo>
                    <a:pt x="1452" y="852"/>
                  </a:lnTo>
                  <a:lnTo>
                    <a:pt x="1440" y="864"/>
                  </a:lnTo>
                  <a:lnTo>
                    <a:pt x="1434" y="864"/>
                  </a:lnTo>
                  <a:lnTo>
                    <a:pt x="1434" y="870"/>
                  </a:lnTo>
                  <a:lnTo>
                    <a:pt x="1422" y="876"/>
                  </a:lnTo>
                  <a:lnTo>
                    <a:pt x="1410" y="894"/>
                  </a:lnTo>
                  <a:lnTo>
                    <a:pt x="1404" y="894"/>
                  </a:lnTo>
                  <a:lnTo>
                    <a:pt x="1404" y="900"/>
                  </a:lnTo>
                  <a:lnTo>
                    <a:pt x="1404" y="906"/>
                  </a:lnTo>
                  <a:lnTo>
                    <a:pt x="1410" y="918"/>
                  </a:lnTo>
                  <a:lnTo>
                    <a:pt x="1404" y="918"/>
                  </a:lnTo>
                  <a:lnTo>
                    <a:pt x="1392" y="924"/>
                  </a:lnTo>
                  <a:lnTo>
                    <a:pt x="1386" y="924"/>
                  </a:lnTo>
                  <a:lnTo>
                    <a:pt x="1380" y="924"/>
                  </a:lnTo>
                  <a:lnTo>
                    <a:pt x="1380" y="930"/>
                  </a:lnTo>
                  <a:lnTo>
                    <a:pt x="1374" y="930"/>
                  </a:lnTo>
                  <a:lnTo>
                    <a:pt x="1374" y="924"/>
                  </a:lnTo>
                  <a:lnTo>
                    <a:pt x="1374" y="918"/>
                  </a:lnTo>
                  <a:lnTo>
                    <a:pt x="1368" y="912"/>
                  </a:lnTo>
                  <a:lnTo>
                    <a:pt x="1368" y="906"/>
                  </a:lnTo>
                  <a:lnTo>
                    <a:pt x="1368" y="900"/>
                  </a:lnTo>
                  <a:lnTo>
                    <a:pt x="1368" y="894"/>
                  </a:lnTo>
                  <a:lnTo>
                    <a:pt x="1362" y="894"/>
                  </a:lnTo>
                  <a:lnTo>
                    <a:pt x="1326" y="894"/>
                  </a:lnTo>
                  <a:lnTo>
                    <a:pt x="1302" y="906"/>
                  </a:lnTo>
                  <a:lnTo>
                    <a:pt x="1284" y="918"/>
                  </a:lnTo>
                  <a:lnTo>
                    <a:pt x="1284" y="924"/>
                  </a:lnTo>
                  <a:lnTo>
                    <a:pt x="1278" y="930"/>
                  </a:lnTo>
                  <a:lnTo>
                    <a:pt x="1266" y="930"/>
                  </a:lnTo>
                  <a:lnTo>
                    <a:pt x="1236" y="954"/>
                  </a:lnTo>
                  <a:lnTo>
                    <a:pt x="1212" y="972"/>
                  </a:lnTo>
                  <a:lnTo>
                    <a:pt x="1218" y="996"/>
                  </a:lnTo>
                  <a:lnTo>
                    <a:pt x="1224" y="1008"/>
                  </a:lnTo>
                  <a:lnTo>
                    <a:pt x="1236" y="1014"/>
                  </a:lnTo>
                  <a:lnTo>
                    <a:pt x="1242" y="1026"/>
                  </a:lnTo>
                  <a:lnTo>
                    <a:pt x="1248" y="1038"/>
                  </a:lnTo>
                  <a:lnTo>
                    <a:pt x="1260" y="1050"/>
                  </a:lnTo>
                  <a:lnTo>
                    <a:pt x="1260" y="1056"/>
                  </a:lnTo>
                  <a:lnTo>
                    <a:pt x="1260" y="1074"/>
                  </a:lnTo>
                  <a:lnTo>
                    <a:pt x="1254" y="1074"/>
                  </a:lnTo>
                  <a:lnTo>
                    <a:pt x="1236" y="1056"/>
                  </a:lnTo>
                  <a:lnTo>
                    <a:pt x="1224" y="1050"/>
                  </a:lnTo>
                  <a:lnTo>
                    <a:pt x="1212" y="1050"/>
                  </a:lnTo>
                  <a:lnTo>
                    <a:pt x="1206" y="1050"/>
                  </a:lnTo>
                  <a:lnTo>
                    <a:pt x="1200" y="1056"/>
                  </a:lnTo>
                  <a:lnTo>
                    <a:pt x="1194" y="1062"/>
                  </a:lnTo>
                  <a:lnTo>
                    <a:pt x="1188" y="1068"/>
                  </a:lnTo>
                  <a:lnTo>
                    <a:pt x="1188" y="1074"/>
                  </a:lnTo>
                  <a:lnTo>
                    <a:pt x="1176" y="1086"/>
                  </a:lnTo>
                  <a:lnTo>
                    <a:pt x="1170" y="1086"/>
                  </a:lnTo>
                  <a:lnTo>
                    <a:pt x="1170" y="1092"/>
                  </a:lnTo>
                  <a:lnTo>
                    <a:pt x="1164" y="1098"/>
                  </a:lnTo>
                  <a:lnTo>
                    <a:pt x="1158" y="1110"/>
                  </a:lnTo>
                  <a:lnTo>
                    <a:pt x="1152" y="1116"/>
                  </a:lnTo>
                  <a:lnTo>
                    <a:pt x="1152" y="1122"/>
                  </a:lnTo>
                  <a:lnTo>
                    <a:pt x="1146" y="1128"/>
                  </a:lnTo>
                  <a:lnTo>
                    <a:pt x="1152" y="1140"/>
                  </a:lnTo>
                  <a:lnTo>
                    <a:pt x="1158" y="1140"/>
                  </a:lnTo>
                  <a:lnTo>
                    <a:pt x="1164" y="1146"/>
                  </a:lnTo>
                  <a:lnTo>
                    <a:pt x="1164" y="1152"/>
                  </a:lnTo>
                  <a:lnTo>
                    <a:pt x="1170" y="1164"/>
                  </a:lnTo>
                  <a:lnTo>
                    <a:pt x="1164" y="1176"/>
                  </a:lnTo>
                  <a:lnTo>
                    <a:pt x="1170" y="1182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82" y="1218"/>
                  </a:lnTo>
                  <a:lnTo>
                    <a:pt x="1188" y="1218"/>
                  </a:lnTo>
                  <a:lnTo>
                    <a:pt x="1194" y="1218"/>
                  </a:lnTo>
                  <a:lnTo>
                    <a:pt x="1194" y="1224"/>
                  </a:lnTo>
                  <a:lnTo>
                    <a:pt x="1200" y="1230"/>
                  </a:lnTo>
                  <a:lnTo>
                    <a:pt x="1200" y="1248"/>
                  </a:lnTo>
                  <a:lnTo>
                    <a:pt x="1212" y="1266"/>
                  </a:lnTo>
                  <a:lnTo>
                    <a:pt x="1218" y="1278"/>
                  </a:lnTo>
                  <a:lnTo>
                    <a:pt x="1224" y="1284"/>
                  </a:lnTo>
                  <a:lnTo>
                    <a:pt x="1236" y="1296"/>
                  </a:lnTo>
                  <a:lnTo>
                    <a:pt x="1242" y="1302"/>
                  </a:lnTo>
                  <a:lnTo>
                    <a:pt x="1242" y="1308"/>
                  </a:lnTo>
                  <a:lnTo>
                    <a:pt x="1272" y="1308"/>
                  </a:lnTo>
                  <a:lnTo>
                    <a:pt x="1296" y="1314"/>
                  </a:lnTo>
                  <a:lnTo>
                    <a:pt x="1320" y="1320"/>
                  </a:lnTo>
                  <a:lnTo>
                    <a:pt x="1338" y="1320"/>
                  </a:lnTo>
                  <a:lnTo>
                    <a:pt x="1356" y="1332"/>
                  </a:lnTo>
                  <a:lnTo>
                    <a:pt x="1368" y="1344"/>
                  </a:lnTo>
                  <a:lnTo>
                    <a:pt x="1374" y="1362"/>
                  </a:lnTo>
                  <a:lnTo>
                    <a:pt x="1368" y="1362"/>
                  </a:lnTo>
                  <a:lnTo>
                    <a:pt x="1368" y="1398"/>
                  </a:lnTo>
                  <a:lnTo>
                    <a:pt x="1368" y="1410"/>
                  </a:lnTo>
                  <a:lnTo>
                    <a:pt x="1368" y="1428"/>
                  </a:lnTo>
                  <a:lnTo>
                    <a:pt x="1368" y="1434"/>
                  </a:lnTo>
                  <a:lnTo>
                    <a:pt x="1368" y="1440"/>
                  </a:lnTo>
                  <a:lnTo>
                    <a:pt x="1374" y="1446"/>
                  </a:lnTo>
                  <a:lnTo>
                    <a:pt x="1374" y="1452"/>
                  </a:lnTo>
                  <a:lnTo>
                    <a:pt x="1380" y="1458"/>
                  </a:lnTo>
                  <a:lnTo>
                    <a:pt x="1386" y="1464"/>
                  </a:lnTo>
                  <a:lnTo>
                    <a:pt x="1386" y="1470"/>
                  </a:lnTo>
                  <a:lnTo>
                    <a:pt x="1380" y="1476"/>
                  </a:lnTo>
                  <a:lnTo>
                    <a:pt x="1374" y="1482"/>
                  </a:lnTo>
                  <a:lnTo>
                    <a:pt x="1362" y="1500"/>
                  </a:lnTo>
                  <a:lnTo>
                    <a:pt x="1362" y="1506"/>
                  </a:lnTo>
                  <a:lnTo>
                    <a:pt x="1362" y="1512"/>
                  </a:lnTo>
                  <a:lnTo>
                    <a:pt x="1362" y="1518"/>
                  </a:lnTo>
                  <a:lnTo>
                    <a:pt x="1362" y="1524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38" y="1548"/>
                  </a:lnTo>
                  <a:lnTo>
                    <a:pt x="1296" y="1548"/>
                  </a:lnTo>
                  <a:lnTo>
                    <a:pt x="1290" y="1554"/>
                  </a:lnTo>
                  <a:lnTo>
                    <a:pt x="1284" y="1560"/>
                  </a:lnTo>
                  <a:lnTo>
                    <a:pt x="1284" y="1566"/>
                  </a:lnTo>
                  <a:lnTo>
                    <a:pt x="1290" y="1578"/>
                  </a:lnTo>
                  <a:lnTo>
                    <a:pt x="1296" y="1590"/>
                  </a:lnTo>
                  <a:lnTo>
                    <a:pt x="1302" y="1590"/>
                  </a:lnTo>
                  <a:lnTo>
                    <a:pt x="1308" y="1596"/>
                  </a:lnTo>
                  <a:lnTo>
                    <a:pt x="1320" y="1602"/>
                  </a:lnTo>
                  <a:lnTo>
                    <a:pt x="1326" y="1602"/>
                  </a:lnTo>
                  <a:lnTo>
                    <a:pt x="1326" y="1608"/>
                  </a:lnTo>
                  <a:lnTo>
                    <a:pt x="1332" y="1614"/>
                  </a:lnTo>
                  <a:lnTo>
                    <a:pt x="1344" y="1620"/>
                  </a:lnTo>
                  <a:lnTo>
                    <a:pt x="1356" y="1626"/>
                  </a:lnTo>
                  <a:lnTo>
                    <a:pt x="1356" y="1632"/>
                  </a:lnTo>
                  <a:lnTo>
                    <a:pt x="1356" y="1638"/>
                  </a:lnTo>
                  <a:lnTo>
                    <a:pt x="1362" y="1644"/>
                  </a:lnTo>
                  <a:lnTo>
                    <a:pt x="1368" y="1644"/>
                  </a:lnTo>
                  <a:lnTo>
                    <a:pt x="1380" y="1650"/>
                  </a:lnTo>
                  <a:lnTo>
                    <a:pt x="1386" y="1650"/>
                  </a:lnTo>
                  <a:lnTo>
                    <a:pt x="1386" y="1656"/>
                  </a:lnTo>
                  <a:lnTo>
                    <a:pt x="1392" y="1656"/>
                  </a:lnTo>
                  <a:lnTo>
                    <a:pt x="1398" y="1662"/>
                  </a:lnTo>
                  <a:lnTo>
                    <a:pt x="1410" y="1674"/>
                  </a:lnTo>
                  <a:lnTo>
                    <a:pt x="1428" y="1680"/>
                  </a:lnTo>
                  <a:lnTo>
                    <a:pt x="1428" y="1686"/>
                  </a:lnTo>
                  <a:lnTo>
                    <a:pt x="1428" y="1698"/>
                  </a:lnTo>
                  <a:lnTo>
                    <a:pt x="1434" y="1704"/>
                  </a:lnTo>
                  <a:lnTo>
                    <a:pt x="1434" y="1710"/>
                  </a:lnTo>
                  <a:lnTo>
                    <a:pt x="1440" y="1710"/>
                  </a:lnTo>
                  <a:lnTo>
                    <a:pt x="1446" y="1710"/>
                  </a:lnTo>
                  <a:lnTo>
                    <a:pt x="1446" y="1716"/>
                  </a:lnTo>
                  <a:lnTo>
                    <a:pt x="1440" y="1722"/>
                  </a:lnTo>
                  <a:lnTo>
                    <a:pt x="1440" y="1728"/>
                  </a:lnTo>
                  <a:lnTo>
                    <a:pt x="1440" y="1734"/>
                  </a:lnTo>
                  <a:lnTo>
                    <a:pt x="1440" y="1740"/>
                  </a:lnTo>
                  <a:lnTo>
                    <a:pt x="1440" y="1746"/>
                  </a:lnTo>
                  <a:lnTo>
                    <a:pt x="1440" y="1788"/>
                  </a:lnTo>
                  <a:lnTo>
                    <a:pt x="1440" y="1800"/>
                  </a:lnTo>
                  <a:lnTo>
                    <a:pt x="1440" y="1806"/>
                  </a:lnTo>
                  <a:lnTo>
                    <a:pt x="1440" y="1836"/>
                  </a:lnTo>
                  <a:lnTo>
                    <a:pt x="1440" y="1848"/>
                  </a:lnTo>
                  <a:lnTo>
                    <a:pt x="1446" y="1848"/>
                  </a:lnTo>
                  <a:lnTo>
                    <a:pt x="1446" y="1854"/>
                  </a:lnTo>
                  <a:lnTo>
                    <a:pt x="1452" y="1848"/>
                  </a:lnTo>
                  <a:lnTo>
                    <a:pt x="1458" y="1854"/>
                  </a:lnTo>
                  <a:lnTo>
                    <a:pt x="1452" y="1860"/>
                  </a:lnTo>
                  <a:lnTo>
                    <a:pt x="1452" y="1866"/>
                  </a:lnTo>
                  <a:lnTo>
                    <a:pt x="1458" y="1872"/>
                  </a:lnTo>
                  <a:lnTo>
                    <a:pt x="1464" y="1884"/>
                  </a:lnTo>
                  <a:lnTo>
                    <a:pt x="1428" y="1878"/>
                  </a:lnTo>
                  <a:lnTo>
                    <a:pt x="1356" y="1890"/>
                  </a:lnTo>
                  <a:lnTo>
                    <a:pt x="1296" y="1926"/>
                  </a:lnTo>
                  <a:lnTo>
                    <a:pt x="1266" y="1944"/>
                  </a:lnTo>
                  <a:lnTo>
                    <a:pt x="1224" y="1944"/>
                  </a:lnTo>
                  <a:lnTo>
                    <a:pt x="1188" y="1956"/>
                  </a:lnTo>
                  <a:lnTo>
                    <a:pt x="1188" y="1950"/>
                  </a:lnTo>
                  <a:lnTo>
                    <a:pt x="1176" y="1944"/>
                  </a:lnTo>
                  <a:lnTo>
                    <a:pt x="1176" y="1938"/>
                  </a:lnTo>
                  <a:lnTo>
                    <a:pt x="1170" y="1938"/>
                  </a:lnTo>
                  <a:lnTo>
                    <a:pt x="1164" y="1932"/>
                  </a:lnTo>
                  <a:lnTo>
                    <a:pt x="1158" y="1926"/>
                  </a:lnTo>
                  <a:lnTo>
                    <a:pt x="1158" y="1920"/>
                  </a:lnTo>
                  <a:lnTo>
                    <a:pt x="1152" y="1920"/>
                  </a:lnTo>
                  <a:lnTo>
                    <a:pt x="1146" y="1914"/>
                  </a:lnTo>
                  <a:lnTo>
                    <a:pt x="1146" y="1908"/>
                  </a:lnTo>
                  <a:lnTo>
                    <a:pt x="1140" y="1908"/>
                  </a:lnTo>
                  <a:lnTo>
                    <a:pt x="1134" y="1902"/>
                  </a:lnTo>
                  <a:lnTo>
                    <a:pt x="1134" y="1896"/>
                  </a:lnTo>
                  <a:lnTo>
                    <a:pt x="1116" y="1896"/>
                  </a:lnTo>
                  <a:lnTo>
                    <a:pt x="1104" y="1884"/>
                  </a:lnTo>
                  <a:lnTo>
                    <a:pt x="1092" y="1860"/>
                  </a:lnTo>
                  <a:lnTo>
                    <a:pt x="1068" y="1854"/>
                  </a:lnTo>
                  <a:lnTo>
                    <a:pt x="1032" y="1842"/>
                  </a:lnTo>
                  <a:lnTo>
                    <a:pt x="1008" y="1836"/>
                  </a:lnTo>
                  <a:lnTo>
                    <a:pt x="978" y="1824"/>
                  </a:lnTo>
                  <a:lnTo>
                    <a:pt x="942" y="1818"/>
                  </a:lnTo>
                  <a:lnTo>
                    <a:pt x="924" y="1806"/>
                  </a:lnTo>
                  <a:lnTo>
                    <a:pt x="906" y="1788"/>
                  </a:lnTo>
                  <a:lnTo>
                    <a:pt x="894" y="1776"/>
                  </a:lnTo>
                  <a:lnTo>
                    <a:pt x="864" y="1758"/>
                  </a:lnTo>
                  <a:lnTo>
                    <a:pt x="834" y="1752"/>
                  </a:lnTo>
                  <a:lnTo>
                    <a:pt x="798" y="1746"/>
                  </a:lnTo>
                  <a:lnTo>
                    <a:pt x="792" y="1806"/>
                  </a:lnTo>
                  <a:lnTo>
                    <a:pt x="798" y="1812"/>
                  </a:lnTo>
                  <a:lnTo>
                    <a:pt x="810" y="1830"/>
                  </a:lnTo>
                  <a:lnTo>
                    <a:pt x="792" y="1842"/>
                  </a:lnTo>
                  <a:lnTo>
                    <a:pt x="768" y="1842"/>
                  </a:lnTo>
                  <a:lnTo>
                    <a:pt x="708" y="1848"/>
                  </a:lnTo>
                  <a:lnTo>
                    <a:pt x="690" y="1860"/>
                  </a:lnTo>
                  <a:lnTo>
                    <a:pt x="690" y="1866"/>
                  </a:lnTo>
                  <a:lnTo>
                    <a:pt x="678" y="1878"/>
                  </a:lnTo>
                  <a:lnTo>
                    <a:pt x="660" y="1884"/>
                  </a:lnTo>
                  <a:lnTo>
                    <a:pt x="660" y="1902"/>
                  </a:lnTo>
                  <a:lnTo>
                    <a:pt x="642" y="1902"/>
                  </a:lnTo>
                  <a:lnTo>
                    <a:pt x="582" y="1914"/>
                  </a:lnTo>
                  <a:lnTo>
                    <a:pt x="534" y="1908"/>
                  </a:lnTo>
                  <a:lnTo>
                    <a:pt x="510" y="1908"/>
                  </a:lnTo>
                  <a:lnTo>
                    <a:pt x="510" y="1896"/>
                  </a:lnTo>
                  <a:lnTo>
                    <a:pt x="492" y="1896"/>
                  </a:lnTo>
                  <a:lnTo>
                    <a:pt x="486" y="1902"/>
                  </a:lnTo>
                  <a:lnTo>
                    <a:pt x="474" y="1908"/>
                  </a:lnTo>
                  <a:lnTo>
                    <a:pt x="450" y="1908"/>
                  </a:lnTo>
                  <a:lnTo>
                    <a:pt x="432" y="1902"/>
                  </a:lnTo>
                  <a:lnTo>
                    <a:pt x="426" y="1896"/>
                  </a:lnTo>
                  <a:lnTo>
                    <a:pt x="402" y="1884"/>
                  </a:lnTo>
                  <a:lnTo>
                    <a:pt x="390" y="1872"/>
                  </a:lnTo>
                  <a:lnTo>
                    <a:pt x="384" y="1872"/>
                  </a:lnTo>
                  <a:lnTo>
                    <a:pt x="378" y="1872"/>
                  </a:lnTo>
                  <a:lnTo>
                    <a:pt x="378" y="1866"/>
                  </a:lnTo>
                  <a:lnTo>
                    <a:pt x="372" y="1860"/>
                  </a:lnTo>
                  <a:lnTo>
                    <a:pt x="372" y="1854"/>
                  </a:lnTo>
                  <a:lnTo>
                    <a:pt x="366" y="1842"/>
                  </a:lnTo>
                  <a:lnTo>
                    <a:pt x="366" y="1836"/>
                  </a:lnTo>
                  <a:lnTo>
                    <a:pt x="348" y="1830"/>
                  </a:lnTo>
                  <a:lnTo>
                    <a:pt x="348" y="1806"/>
                  </a:lnTo>
                  <a:lnTo>
                    <a:pt x="348" y="1800"/>
                  </a:lnTo>
                  <a:lnTo>
                    <a:pt x="348" y="1782"/>
                  </a:lnTo>
                  <a:lnTo>
                    <a:pt x="336" y="1788"/>
                  </a:lnTo>
                  <a:lnTo>
                    <a:pt x="312" y="1794"/>
                  </a:lnTo>
                  <a:lnTo>
                    <a:pt x="288" y="1788"/>
                  </a:lnTo>
                  <a:lnTo>
                    <a:pt x="264" y="1758"/>
                  </a:lnTo>
                  <a:lnTo>
                    <a:pt x="270" y="1758"/>
                  </a:lnTo>
                  <a:lnTo>
                    <a:pt x="270" y="1752"/>
                  </a:lnTo>
                  <a:lnTo>
                    <a:pt x="276" y="1752"/>
                  </a:lnTo>
                  <a:lnTo>
                    <a:pt x="282" y="1746"/>
                  </a:lnTo>
                  <a:lnTo>
                    <a:pt x="300" y="1746"/>
                  </a:lnTo>
                  <a:lnTo>
                    <a:pt x="312" y="1746"/>
                  </a:lnTo>
                  <a:lnTo>
                    <a:pt x="336" y="1710"/>
                  </a:lnTo>
                  <a:lnTo>
                    <a:pt x="342" y="1692"/>
                  </a:lnTo>
                  <a:lnTo>
                    <a:pt x="348" y="1680"/>
                  </a:lnTo>
                  <a:lnTo>
                    <a:pt x="342" y="1650"/>
                  </a:lnTo>
                  <a:lnTo>
                    <a:pt x="354" y="1644"/>
                  </a:lnTo>
                  <a:lnTo>
                    <a:pt x="354" y="1638"/>
                  </a:lnTo>
                  <a:lnTo>
                    <a:pt x="360" y="1632"/>
                  </a:lnTo>
                  <a:lnTo>
                    <a:pt x="354" y="1626"/>
                  </a:lnTo>
                  <a:lnTo>
                    <a:pt x="348" y="1626"/>
                  </a:lnTo>
                  <a:lnTo>
                    <a:pt x="348" y="1620"/>
                  </a:lnTo>
                  <a:lnTo>
                    <a:pt x="342" y="1620"/>
                  </a:lnTo>
                  <a:lnTo>
                    <a:pt x="348" y="1614"/>
                  </a:lnTo>
                  <a:lnTo>
                    <a:pt x="324" y="1566"/>
                  </a:lnTo>
                  <a:lnTo>
                    <a:pt x="318" y="1566"/>
                  </a:lnTo>
                  <a:lnTo>
                    <a:pt x="306" y="1572"/>
                  </a:lnTo>
                  <a:lnTo>
                    <a:pt x="300" y="1572"/>
                  </a:lnTo>
                  <a:lnTo>
                    <a:pt x="294" y="1578"/>
                  </a:lnTo>
                  <a:lnTo>
                    <a:pt x="288" y="1584"/>
                  </a:lnTo>
                  <a:lnTo>
                    <a:pt x="282" y="1584"/>
                  </a:lnTo>
                  <a:lnTo>
                    <a:pt x="282" y="1578"/>
                  </a:lnTo>
                  <a:lnTo>
                    <a:pt x="276" y="1578"/>
                  </a:lnTo>
                  <a:lnTo>
                    <a:pt x="270" y="1578"/>
                  </a:lnTo>
                  <a:lnTo>
                    <a:pt x="264" y="1578"/>
                  </a:lnTo>
                  <a:lnTo>
                    <a:pt x="258" y="1578"/>
                  </a:lnTo>
                  <a:lnTo>
                    <a:pt x="252" y="1578"/>
                  </a:lnTo>
                  <a:lnTo>
                    <a:pt x="252" y="1584"/>
                  </a:lnTo>
                  <a:lnTo>
                    <a:pt x="246" y="1584"/>
                  </a:lnTo>
                  <a:lnTo>
                    <a:pt x="210" y="1584"/>
                  </a:lnTo>
                  <a:lnTo>
                    <a:pt x="204" y="1584"/>
                  </a:lnTo>
                  <a:lnTo>
                    <a:pt x="192" y="1584"/>
                  </a:lnTo>
                  <a:lnTo>
                    <a:pt x="168" y="1596"/>
                  </a:lnTo>
                  <a:lnTo>
                    <a:pt x="156" y="1572"/>
                  </a:lnTo>
                  <a:lnTo>
                    <a:pt x="156" y="1566"/>
                  </a:lnTo>
                  <a:lnTo>
                    <a:pt x="156" y="1560"/>
                  </a:lnTo>
                  <a:lnTo>
                    <a:pt x="162" y="1548"/>
                  </a:lnTo>
                  <a:lnTo>
                    <a:pt x="162" y="1542"/>
                  </a:lnTo>
                  <a:lnTo>
                    <a:pt x="162" y="1536"/>
                  </a:lnTo>
                  <a:lnTo>
                    <a:pt x="168" y="1530"/>
                  </a:lnTo>
                  <a:lnTo>
                    <a:pt x="168" y="1524"/>
                  </a:lnTo>
                  <a:lnTo>
                    <a:pt x="168" y="1518"/>
                  </a:lnTo>
                  <a:lnTo>
                    <a:pt x="174" y="1518"/>
                  </a:lnTo>
                  <a:lnTo>
                    <a:pt x="174" y="1506"/>
                  </a:lnTo>
                  <a:lnTo>
                    <a:pt x="156" y="1470"/>
                  </a:lnTo>
                  <a:lnTo>
                    <a:pt x="138" y="1464"/>
                  </a:lnTo>
                  <a:lnTo>
                    <a:pt x="126" y="1446"/>
                  </a:lnTo>
                  <a:lnTo>
                    <a:pt x="126" y="1440"/>
                  </a:lnTo>
                  <a:lnTo>
                    <a:pt x="126" y="1434"/>
                  </a:lnTo>
                  <a:lnTo>
                    <a:pt x="120" y="1428"/>
                  </a:lnTo>
                  <a:lnTo>
                    <a:pt x="126" y="1398"/>
                  </a:lnTo>
                  <a:lnTo>
                    <a:pt x="120" y="1374"/>
                  </a:lnTo>
                  <a:lnTo>
                    <a:pt x="60" y="1374"/>
                  </a:lnTo>
                  <a:lnTo>
                    <a:pt x="60" y="1368"/>
                  </a:lnTo>
                  <a:lnTo>
                    <a:pt x="54" y="1362"/>
                  </a:lnTo>
                  <a:lnTo>
                    <a:pt x="48" y="1356"/>
                  </a:lnTo>
                  <a:lnTo>
                    <a:pt x="42" y="1356"/>
                  </a:lnTo>
                  <a:lnTo>
                    <a:pt x="42" y="1350"/>
                  </a:lnTo>
                  <a:lnTo>
                    <a:pt x="36" y="1344"/>
                  </a:lnTo>
                  <a:lnTo>
                    <a:pt x="36" y="1338"/>
                  </a:lnTo>
                  <a:lnTo>
                    <a:pt x="30" y="1332"/>
                  </a:lnTo>
                  <a:lnTo>
                    <a:pt x="30" y="1326"/>
                  </a:lnTo>
                  <a:lnTo>
                    <a:pt x="18" y="1326"/>
                  </a:lnTo>
                  <a:lnTo>
                    <a:pt x="18" y="1320"/>
                  </a:lnTo>
                  <a:lnTo>
                    <a:pt x="18" y="1326"/>
                  </a:lnTo>
                  <a:lnTo>
                    <a:pt x="6" y="1320"/>
                  </a:lnTo>
                  <a:lnTo>
                    <a:pt x="0" y="1314"/>
                  </a:lnTo>
                  <a:lnTo>
                    <a:pt x="12" y="1266"/>
                  </a:lnTo>
                  <a:lnTo>
                    <a:pt x="6" y="1242"/>
                  </a:lnTo>
                  <a:lnTo>
                    <a:pt x="12" y="1236"/>
                  </a:lnTo>
                  <a:lnTo>
                    <a:pt x="12" y="1230"/>
                  </a:lnTo>
                  <a:lnTo>
                    <a:pt x="18" y="1230"/>
                  </a:lnTo>
                  <a:lnTo>
                    <a:pt x="18" y="1224"/>
                  </a:lnTo>
                  <a:lnTo>
                    <a:pt x="24" y="1218"/>
                  </a:lnTo>
                  <a:lnTo>
                    <a:pt x="24" y="1212"/>
                  </a:lnTo>
                  <a:lnTo>
                    <a:pt x="30" y="1212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48" y="1188"/>
                  </a:lnTo>
                  <a:lnTo>
                    <a:pt x="48" y="1182"/>
                  </a:lnTo>
                  <a:lnTo>
                    <a:pt x="48" y="1176"/>
                  </a:lnTo>
                  <a:lnTo>
                    <a:pt x="48" y="1170"/>
                  </a:lnTo>
                  <a:lnTo>
                    <a:pt x="54" y="1170"/>
                  </a:lnTo>
                  <a:lnTo>
                    <a:pt x="60" y="1164"/>
                  </a:lnTo>
                  <a:lnTo>
                    <a:pt x="60" y="1158"/>
                  </a:lnTo>
                  <a:lnTo>
                    <a:pt x="66" y="1152"/>
                  </a:lnTo>
                  <a:lnTo>
                    <a:pt x="60" y="1140"/>
                  </a:lnTo>
                  <a:lnTo>
                    <a:pt x="60" y="1134"/>
                  </a:lnTo>
                  <a:lnTo>
                    <a:pt x="54" y="1134"/>
                  </a:lnTo>
                  <a:lnTo>
                    <a:pt x="54" y="1128"/>
                  </a:lnTo>
                  <a:lnTo>
                    <a:pt x="48" y="1122"/>
                  </a:lnTo>
                  <a:lnTo>
                    <a:pt x="48" y="1116"/>
                  </a:lnTo>
                  <a:lnTo>
                    <a:pt x="48" y="1110"/>
                  </a:lnTo>
                  <a:lnTo>
                    <a:pt x="42" y="1104"/>
                  </a:lnTo>
                  <a:lnTo>
                    <a:pt x="42" y="1098"/>
                  </a:lnTo>
                  <a:lnTo>
                    <a:pt x="36" y="1092"/>
                  </a:lnTo>
                  <a:lnTo>
                    <a:pt x="30" y="1092"/>
                  </a:lnTo>
                  <a:lnTo>
                    <a:pt x="24" y="1092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18" y="1080"/>
                  </a:lnTo>
                  <a:lnTo>
                    <a:pt x="18" y="1074"/>
                  </a:lnTo>
                  <a:lnTo>
                    <a:pt x="12" y="1068"/>
                  </a:lnTo>
                  <a:lnTo>
                    <a:pt x="6" y="1068"/>
                  </a:lnTo>
                  <a:lnTo>
                    <a:pt x="12" y="1056"/>
                  </a:lnTo>
                  <a:lnTo>
                    <a:pt x="6" y="1056"/>
                  </a:lnTo>
                  <a:lnTo>
                    <a:pt x="6" y="1050"/>
                  </a:lnTo>
                  <a:lnTo>
                    <a:pt x="6" y="1044"/>
                  </a:lnTo>
                  <a:lnTo>
                    <a:pt x="6" y="1026"/>
                  </a:lnTo>
                  <a:lnTo>
                    <a:pt x="12" y="1020"/>
                  </a:lnTo>
                  <a:lnTo>
                    <a:pt x="12" y="1014"/>
                  </a:lnTo>
                  <a:lnTo>
                    <a:pt x="18" y="1014"/>
                  </a:lnTo>
                  <a:lnTo>
                    <a:pt x="18" y="1008"/>
                  </a:lnTo>
                  <a:lnTo>
                    <a:pt x="18" y="1002"/>
                  </a:lnTo>
                  <a:lnTo>
                    <a:pt x="18" y="990"/>
                  </a:lnTo>
                  <a:lnTo>
                    <a:pt x="12" y="972"/>
                  </a:lnTo>
                  <a:lnTo>
                    <a:pt x="18" y="954"/>
                  </a:lnTo>
                  <a:lnTo>
                    <a:pt x="18" y="948"/>
                  </a:lnTo>
                  <a:lnTo>
                    <a:pt x="24" y="948"/>
                  </a:lnTo>
                  <a:lnTo>
                    <a:pt x="24" y="930"/>
                  </a:lnTo>
                  <a:lnTo>
                    <a:pt x="30" y="930"/>
                  </a:lnTo>
                  <a:lnTo>
                    <a:pt x="36" y="918"/>
                  </a:lnTo>
                  <a:lnTo>
                    <a:pt x="42" y="918"/>
                  </a:lnTo>
                  <a:lnTo>
                    <a:pt x="48" y="918"/>
                  </a:lnTo>
                  <a:lnTo>
                    <a:pt x="78" y="912"/>
                  </a:lnTo>
                  <a:lnTo>
                    <a:pt x="90" y="894"/>
                  </a:lnTo>
                  <a:lnTo>
                    <a:pt x="96" y="894"/>
                  </a:lnTo>
                  <a:lnTo>
                    <a:pt x="102" y="888"/>
                  </a:lnTo>
                  <a:lnTo>
                    <a:pt x="102" y="882"/>
                  </a:lnTo>
                  <a:lnTo>
                    <a:pt x="114" y="870"/>
                  </a:lnTo>
                  <a:lnTo>
                    <a:pt x="120" y="864"/>
                  </a:lnTo>
                  <a:lnTo>
                    <a:pt x="120" y="852"/>
                  </a:lnTo>
                  <a:lnTo>
                    <a:pt x="120" y="846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32" y="840"/>
                  </a:lnTo>
                  <a:lnTo>
                    <a:pt x="138" y="840"/>
                  </a:lnTo>
                  <a:lnTo>
                    <a:pt x="138" y="834"/>
                  </a:lnTo>
                  <a:lnTo>
                    <a:pt x="144" y="834"/>
                  </a:lnTo>
                  <a:lnTo>
                    <a:pt x="144" y="828"/>
                  </a:lnTo>
                  <a:lnTo>
                    <a:pt x="150" y="828"/>
                  </a:lnTo>
                  <a:lnTo>
                    <a:pt x="156" y="822"/>
                  </a:lnTo>
                  <a:lnTo>
                    <a:pt x="162" y="816"/>
                  </a:lnTo>
                  <a:lnTo>
                    <a:pt x="162" y="822"/>
                  </a:lnTo>
                  <a:lnTo>
                    <a:pt x="162" y="816"/>
                  </a:lnTo>
                  <a:lnTo>
                    <a:pt x="162" y="810"/>
                  </a:lnTo>
                  <a:lnTo>
                    <a:pt x="168" y="810"/>
                  </a:lnTo>
                  <a:lnTo>
                    <a:pt x="174" y="804"/>
                  </a:lnTo>
                  <a:lnTo>
                    <a:pt x="180" y="798"/>
                  </a:lnTo>
                  <a:lnTo>
                    <a:pt x="180" y="786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8" y="780"/>
                  </a:lnTo>
                  <a:lnTo>
                    <a:pt x="204" y="774"/>
                  </a:lnTo>
                  <a:lnTo>
                    <a:pt x="210" y="774"/>
                  </a:lnTo>
                  <a:lnTo>
                    <a:pt x="216" y="768"/>
                  </a:lnTo>
                  <a:lnTo>
                    <a:pt x="222" y="762"/>
                  </a:lnTo>
                  <a:lnTo>
                    <a:pt x="228" y="762"/>
                  </a:lnTo>
                  <a:lnTo>
                    <a:pt x="228" y="768"/>
                  </a:lnTo>
                  <a:lnTo>
                    <a:pt x="234" y="768"/>
                  </a:lnTo>
                  <a:lnTo>
                    <a:pt x="240" y="762"/>
                  </a:lnTo>
                  <a:lnTo>
                    <a:pt x="252" y="762"/>
                  </a:lnTo>
                  <a:lnTo>
                    <a:pt x="264" y="768"/>
                  </a:lnTo>
                  <a:lnTo>
                    <a:pt x="294" y="756"/>
                  </a:lnTo>
                  <a:lnTo>
                    <a:pt x="294" y="750"/>
                  </a:lnTo>
                  <a:lnTo>
                    <a:pt x="300" y="750"/>
                  </a:lnTo>
                  <a:lnTo>
                    <a:pt x="306" y="744"/>
                  </a:lnTo>
                  <a:lnTo>
                    <a:pt x="342" y="750"/>
                  </a:lnTo>
                  <a:lnTo>
                    <a:pt x="348" y="750"/>
                  </a:lnTo>
                  <a:lnTo>
                    <a:pt x="348" y="744"/>
                  </a:lnTo>
                  <a:lnTo>
                    <a:pt x="354" y="744"/>
                  </a:lnTo>
                  <a:lnTo>
                    <a:pt x="360" y="744"/>
                  </a:lnTo>
                  <a:lnTo>
                    <a:pt x="360" y="750"/>
                  </a:lnTo>
                  <a:lnTo>
                    <a:pt x="366" y="750"/>
                  </a:lnTo>
                  <a:lnTo>
                    <a:pt x="366" y="744"/>
                  </a:lnTo>
                  <a:lnTo>
                    <a:pt x="366" y="738"/>
                  </a:lnTo>
                  <a:lnTo>
                    <a:pt x="372" y="744"/>
                  </a:lnTo>
                  <a:lnTo>
                    <a:pt x="378" y="744"/>
                  </a:lnTo>
                  <a:lnTo>
                    <a:pt x="384" y="750"/>
                  </a:lnTo>
                  <a:lnTo>
                    <a:pt x="444" y="774"/>
                  </a:lnTo>
                  <a:lnTo>
                    <a:pt x="450" y="774"/>
                  </a:lnTo>
                  <a:lnTo>
                    <a:pt x="456" y="768"/>
                  </a:lnTo>
                  <a:lnTo>
                    <a:pt x="462" y="768"/>
                  </a:lnTo>
                  <a:lnTo>
                    <a:pt x="462" y="762"/>
                  </a:lnTo>
                  <a:lnTo>
                    <a:pt x="468" y="762"/>
                  </a:lnTo>
                  <a:lnTo>
                    <a:pt x="474" y="756"/>
                  </a:lnTo>
                  <a:lnTo>
                    <a:pt x="480" y="750"/>
                  </a:lnTo>
                  <a:lnTo>
                    <a:pt x="516" y="756"/>
                  </a:lnTo>
                  <a:lnTo>
                    <a:pt x="522" y="756"/>
                  </a:lnTo>
                  <a:lnTo>
                    <a:pt x="522" y="762"/>
                  </a:lnTo>
                  <a:lnTo>
                    <a:pt x="522" y="768"/>
                  </a:lnTo>
                  <a:lnTo>
                    <a:pt x="522" y="774"/>
                  </a:lnTo>
                  <a:lnTo>
                    <a:pt x="528" y="780"/>
                  </a:lnTo>
                  <a:lnTo>
                    <a:pt x="540" y="780"/>
                  </a:lnTo>
                  <a:lnTo>
                    <a:pt x="540" y="804"/>
                  </a:lnTo>
                  <a:lnTo>
                    <a:pt x="540" y="810"/>
                  </a:lnTo>
                  <a:lnTo>
                    <a:pt x="546" y="810"/>
                  </a:lnTo>
                  <a:lnTo>
                    <a:pt x="552" y="810"/>
                  </a:lnTo>
                  <a:lnTo>
                    <a:pt x="558" y="810"/>
                  </a:lnTo>
                  <a:lnTo>
                    <a:pt x="564" y="810"/>
                  </a:lnTo>
                  <a:lnTo>
                    <a:pt x="570" y="810"/>
                  </a:lnTo>
                  <a:lnTo>
                    <a:pt x="576" y="810"/>
                  </a:lnTo>
                  <a:lnTo>
                    <a:pt x="576" y="816"/>
                  </a:lnTo>
                  <a:lnTo>
                    <a:pt x="588" y="816"/>
                  </a:lnTo>
                  <a:lnTo>
                    <a:pt x="594" y="816"/>
                  </a:lnTo>
                  <a:lnTo>
                    <a:pt x="600" y="822"/>
                  </a:lnTo>
                  <a:lnTo>
                    <a:pt x="606" y="816"/>
                  </a:lnTo>
                  <a:lnTo>
                    <a:pt x="612" y="816"/>
                  </a:lnTo>
                  <a:lnTo>
                    <a:pt x="612" y="810"/>
                  </a:lnTo>
                  <a:lnTo>
                    <a:pt x="624" y="810"/>
                  </a:lnTo>
                  <a:lnTo>
                    <a:pt x="624" y="804"/>
                  </a:lnTo>
                  <a:lnTo>
                    <a:pt x="630" y="798"/>
                  </a:lnTo>
                  <a:lnTo>
                    <a:pt x="636" y="798"/>
                  </a:lnTo>
                  <a:lnTo>
                    <a:pt x="636" y="804"/>
                  </a:lnTo>
                  <a:lnTo>
                    <a:pt x="642" y="804"/>
                  </a:lnTo>
                  <a:lnTo>
                    <a:pt x="648" y="804"/>
                  </a:lnTo>
                  <a:lnTo>
                    <a:pt x="654" y="804"/>
                  </a:lnTo>
                  <a:lnTo>
                    <a:pt x="660" y="804"/>
                  </a:lnTo>
                  <a:lnTo>
                    <a:pt x="678" y="798"/>
                  </a:lnTo>
                  <a:lnTo>
                    <a:pt x="714" y="786"/>
                  </a:lnTo>
                  <a:lnTo>
                    <a:pt x="714" y="792"/>
                  </a:lnTo>
                  <a:lnTo>
                    <a:pt x="714" y="798"/>
                  </a:lnTo>
                  <a:lnTo>
                    <a:pt x="714" y="804"/>
                  </a:lnTo>
                  <a:lnTo>
                    <a:pt x="720" y="804"/>
                  </a:lnTo>
                  <a:lnTo>
                    <a:pt x="720" y="810"/>
                  </a:lnTo>
                  <a:lnTo>
                    <a:pt x="720" y="816"/>
                  </a:lnTo>
                  <a:lnTo>
                    <a:pt x="726" y="822"/>
                  </a:lnTo>
                  <a:lnTo>
                    <a:pt x="732" y="828"/>
                  </a:lnTo>
                  <a:lnTo>
                    <a:pt x="732" y="834"/>
                  </a:lnTo>
                  <a:lnTo>
                    <a:pt x="732" y="846"/>
                  </a:lnTo>
                  <a:lnTo>
                    <a:pt x="732" y="858"/>
                  </a:lnTo>
                  <a:lnTo>
                    <a:pt x="738" y="858"/>
                  </a:lnTo>
                  <a:lnTo>
                    <a:pt x="732" y="864"/>
                  </a:lnTo>
                  <a:lnTo>
                    <a:pt x="732" y="870"/>
                  </a:lnTo>
                  <a:lnTo>
                    <a:pt x="726" y="870"/>
                  </a:lnTo>
                  <a:lnTo>
                    <a:pt x="726" y="876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0" y="882"/>
                  </a:lnTo>
                  <a:lnTo>
                    <a:pt x="690" y="912"/>
                  </a:lnTo>
                  <a:lnTo>
                    <a:pt x="696" y="936"/>
                  </a:lnTo>
                  <a:lnTo>
                    <a:pt x="702" y="936"/>
                  </a:lnTo>
                  <a:lnTo>
                    <a:pt x="702" y="930"/>
                  </a:lnTo>
                  <a:lnTo>
                    <a:pt x="708" y="930"/>
                  </a:lnTo>
                  <a:lnTo>
                    <a:pt x="708" y="924"/>
                  </a:lnTo>
                  <a:lnTo>
                    <a:pt x="708" y="918"/>
                  </a:lnTo>
                  <a:lnTo>
                    <a:pt x="714" y="918"/>
                  </a:lnTo>
                  <a:lnTo>
                    <a:pt x="720" y="954"/>
                  </a:lnTo>
                  <a:lnTo>
                    <a:pt x="726" y="966"/>
                  </a:lnTo>
                  <a:lnTo>
                    <a:pt x="744" y="966"/>
                  </a:lnTo>
                  <a:lnTo>
                    <a:pt x="756" y="972"/>
                  </a:lnTo>
                  <a:lnTo>
                    <a:pt x="792" y="990"/>
                  </a:lnTo>
                  <a:lnTo>
                    <a:pt x="828" y="978"/>
                  </a:lnTo>
                  <a:lnTo>
                    <a:pt x="834" y="978"/>
                  </a:lnTo>
                  <a:lnTo>
                    <a:pt x="840" y="978"/>
                  </a:lnTo>
                  <a:lnTo>
                    <a:pt x="840" y="984"/>
                  </a:lnTo>
                  <a:lnTo>
                    <a:pt x="846" y="984"/>
                  </a:lnTo>
                  <a:lnTo>
                    <a:pt x="858" y="972"/>
                  </a:lnTo>
                  <a:lnTo>
                    <a:pt x="882" y="972"/>
                  </a:lnTo>
                  <a:lnTo>
                    <a:pt x="888" y="984"/>
                  </a:lnTo>
                  <a:lnTo>
                    <a:pt x="900" y="990"/>
                  </a:lnTo>
                  <a:lnTo>
                    <a:pt x="924" y="996"/>
                  </a:lnTo>
                  <a:lnTo>
                    <a:pt x="930" y="990"/>
                  </a:lnTo>
                  <a:lnTo>
                    <a:pt x="930" y="984"/>
                  </a:lnTo>
                  <a:lnTo>
                    <a:pt x="924" y="978"/>
                  </a:lnTo>
                  <a:lnTo>
                    <a:pt x="906" y="972"/>
                  </a:lnTo>
                  <a:lnTo>
                    <a:pt x="900" y="966"/>
                  </a:lnTo>
                  <a:lnTo>
                    <a:pt x="900" y="960"/>
                  </a:lnTo>
                  <a:lnTo>
                    <a:pt x="900" y="954"/>
                  </a:lnTo>
                  <a:lnTo>
                    <a:pt x="900" y="948"/>
                  </a:lnTo>
                  <a:lnTo>
                    <a:pt x="912" y="936"/>
                  </a:lnTo>
                  <a:lnTo>
                    <a:pt x="912" y="924"/>
                  </a:lnTo>
                  <a:lnTo>
                    <a:pt x="918" y="924"/>
                  </a:lnTo>
                  <a:lnTo>
                    <a:pt x="918" y="918"/>
                  </a:lnTo>
                  <a:lnTo>
                    <a:pt x="936" y="906"/>
                  </a:lnTo>
                  <a:lnTo>
                    <a:pt x="942" y="906"/>
                  </a:lnTo>
                  <a:lnTo>
                    <a:pt x="948" y="906"/>
                  </a:lnTo>
                  <a:lnTo>
                    <a:pt x="954" y="906"/>
                  </a:lnTo>
                  <a:lnTo>
                    <a:pt x="960" y="906"/>
                  </a:lnTo>
                  <a:lnTo>
                    <a:pt x="966" y="912"/>
                  </a:lnTo>
                  <a:lnTo>
                    <a:pt x="972" y="906"/>
                  </a:lnTo>
                  <a:lnTo>
                    <a:pt x="978" y="906"/>
                  </a:lnTo>
                  <a:lnTo>
                    <a:pt x="984" y="900"/>
                  </a:lnTo>
                  <a:lnTo>
                    <a:pt x="984" y="894"/>
                  </a:lnTo>
                  <a:lnTo>
                    <a:pt x="990" y="894"/>
                  </a:lnTo>
                  <a:lnTo>
                    <a:pt x="996" y="888"/>
                  </a:lnTo>
                  <a:lnTo>
                    <a:pt x="1002" y="888"/>
                  </a:lnTo>
                  <a:lnTo>
                    <a:pt x="1008" y="882"/>
                  </a:lnTo>
                  <a:lnTo>
                    <a:pt x="1014" y="882"/>
                  </a:lnTo>
                  <a:lnTo>
                    <a:pt x="1020" y="882"/>
                  </a:lnTo>
                  <a:lnTo>
                    <a:pt x="1020" y="888"/>
                  </a:lnTo>
                  <a:lnTo>
                    <a:pt x="1026" y="882"/>
                  </a:lnTo>
                  <a:lnTo>
                    <a:pt x="1026" y="876"/>
                  </a:lnTo>
                  <a:lnTo>
                    <a:pt x="1026" y="870"/>
                  </a:lnTo>
                  <a:lnTo>
                    <a:pt x="1032" y="864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44" y="852"/>
                  </a:lnTo>
                  <a:lnTo>
                    <a:pt x="1038" y="846"/>
                  </a:lnTo>
                  <a:lnTo>
                    <a:pt x="1038" y="840"/>
                  </a:lnTo>
                  <a:lnTo>
                    <a:pt x="1032" y="840"/>
                  </a:lnTo>
                  <a:lnTo>
                    <a:pt x="1026" y="840"/>
                  </a:lnTo>
                  <a:lnTo>
                    <a:pt x="1020" y="840"/>
                  </a:lnTo>
                  <a:lnTo>
                    <a:pt x="1014" y="846"/>
                  </a:lnTo>
                  <a:lnTo>
                    <a:pt x="1008" y="846"/>
                  </a:lnTo>
                  <a:lnTo>
                    <a:pt x="1002" y="840"/>
                  </a:lnTo>
                  <a:lnTo>
                    <a:pt x="996" y="840"/>
                  </a:lnTo>
                  <a:lnTo>
                    <a:pt x="990" y="834"/>
                  </a:lnTo>
                  <a:lnTo>
                    <a:pt x="984" y="834"/>
                  </a:lnTo>
                  <a:lnTo>
                    <a:pt x="978" y="834"/>
                  </a:lnTo>
                  <a:lnTo>
                    <a:pt x="972" y="834"/>
                  </a:lnTo>
                  <a:lnTo>
                    <a:pt x="966" y="834"/>
                  </a:lnTo>
                  <a:lnTo>
                    <a:pt x="966" y="828"/>
                  </a:lnTo>
                  <a:lnTo>
                    <a:pt x="960" y="828"/>
                  </a:lnTo>
                  <a:lnTo>
                    <a:pt x="954" y="828"/>
                  </a:lnTo>
                  <a:lnTo>
                    <a:pt x="942" y="828"/>
                  </a:lnTo>
                  <a:lnTo>
                    <a:pt x="936" y="828"/>
                  </a:lnTo>
                  <a:lnTo>
                    <a:pt x="930" y="828"/>
                  </a:lnTo>
                  <a:lnTo>
                    <a:pt x="918" y="828"/>
                  </a:lnTo>
                  <a:lnTo>
                    <a:pt x="918" y="822"/>
                  </a:lnTo>
                  <a:lnTo>
                    <a:pt x="912" y="828"/>
                  </a:lnTo>
                  <a:lnTo>
                    <a:pt x="912" y="822"/>
                  </a:lnTo>
                  <a:lnTo>
                    <a:pt x="906" y="816"/>
                  </a:lnTo>
                  <a:lnTo>
                    <a:pt x="900" y="816"/>
                  </a:lnTo>
                  <a:lnTo>
                    <a:pt x="894" y="816"/>
                  </a:lnTo>
                  <a:lnTo>
                    <a:pt x="888" y="816"/>
                  </a:lnTo>
                  <a:lnTo>
                    <a:pt x="882" y="816"/>
                  </a:lnTo>
                  <a:lnTo>
                    <a:pt x="882" y="810"/>
                  </a:lnTo>
                  <a:lnTo>
                    <a:pt x="876" y="804"/>
                  </a:lnTo>
                  <a:lnTo>
                    <a:pt x="870" y="804"/>
                  </a:lnTo>
                  <a:lnTo>
                    <a:pt x="864" y="798"/>
                  </a:lnTo>
                  <a:lnTo>
                    <a:pt x="858" y="798"/>
                  </a:lnTo>
                  <a:lnTo>
                    <a:pt x="858" y="804"/>
                  </a:lnTo>
                  <a:lnTo>
                    <a:pt x="852" y="804"/>
                  </a:lnTo>
                  <a:lnTo>
                    <a:pt x="846" y="804"/>
                  </a:lnTo>
                  <a:lnTo>
                    <a:pt x="846" y="798"/>
                  </a:lnTo>
                  <a:lnTo>
                    <a:pt x="840" y="804"/>
                  </a:lnTo>
                  <a:lnTo>
                    <a:pt x="834" y="804"/>
                  </a:lnTo>
                  <a:lnTo>
                    <a:pt x="828" y="804"/>
                  </a:lnTo>
                  <a:lnTo>
                    <a:pt x="828" y="810"/>
                  </a:lnTo>
                  <a:lnTo>
                    <a:pt x="822" y="810"/>
                  </a:lnTo>
                  <a:lnTo>
                    <a:pt x="810" y="804"/>
                  </a:lnTo>
                  <a:lnTo>
                    <a:pt x="810" y="798"/>
                  </a:lnTo>
                  <a:lnTo>
                    <a:pt x="780" y="798"/>
                  </a:lnTo>
                  <a:lnTo>
                    <a:pt x="756" y="774"/>
                  </a:lnTo>
                  <a:lnTo>
                    <a:pt x="750" y="768"/>
                  </a:lnTo>
                  <a:lnTo>
                    <a:pt x="750" y="744"/>
                  </a:lnTo>
                  <a:lnTo>
                    <a:pt x="732" y="738"/>
                  </a:lnTo>
                  <a:lnTo>
                    <a:pt x="732" y="720"/>
                  </a:lnTo>
                  <a:lnTo>
                    <a:pt x="714" y="690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6" y="666"/>
                  </a:lnTo>
                  <a:lnTo>
                    <a:pt x="690" y="666"/>
                  </a:lnTo>
                  <a:lnTo>
                    <a:pt x="678" y="672"/>
                  </a:lnTo>
                  <a:lnTo>
                    <a:pt x="678" y="654"/>
                  </a:lnTo>
                  <a:lnTo>
                    <a:pt x="684" y="630"/>
                  </a:lnTo>
                  <a:lnTo>
                    <a:pt x="690" y="618"/>
                  </a:lnTo>
                  <a:lnTo>
                    <a:pt x="696" y="612"/>
                  </a:lnTo>
                  <a:lnTo>
                    <a:pt x="696" y="588"/>
                  </a:lnTo>
                  <a:lnTo>
                    <a:pt x="690" y="576"/>
                  </a:lnTo>
                  <a:lnTo>
                    <a:pt x="696" y="552"/>
                  </a:lnTo>
                  <a:lnTo>
                    <a:pt x="684" y="522"/>
                  </a:lnTo>
                  <a:lnTo>
                    <a:pt x="672" y="504"/>
                  </a:lnTo>
                  <a:lnTo>
                    <a:pt x="654" y="504"/>
                  </a:lnTo>
                  <a:lnTo>
                    <a:pt x="642" y="504"/>
                  </a:lnTo>
                  <a:lnTo>
                    <a:pt x="624" y="510"/>
                  </a:lnTo>
                  <a:lnTo>
                    <a:pt x="612" y="516"/>
                  </a:lnTo>
                  <a:lnTo>
                    <a:pt x="594" y="516"/>
                  </a:lnTo>
                  <a:lnTo>
                    <a:pt x="588" y="516"/>
                  </a:lnTo>
                  <a:lnTo>
                    <a:pt x="588" y="522"/>
                  </a:lnTo>
                  <a:lnTo>
                    <a:pt x="582" y="516"/>
                  </a:lnTo>
                  <a:lnTo>
                    <a:pt x="588" y="510"/>
                  </a:lnTo>
                  <a:lnTo>
                    <a:pt x="582" y="510"/>
                  </a:lnTo>
                  <a:lnTo>
                    <a:pt x="582" y="504"/>
                  </a:lnTo>
                  <a:lnTo>
                    <a:pt x="576" y="498"/>
                  </a:lnTo>
                  <a:lnTo>
                    <a:pt x="570" y="498"/>
                  </a:lnTo>
                  <a:lnTo>
                    <a:pt x="570" y="492"/>
                  </a:lnTo>
                  <a:lnTo>
                    <a:pt x="564" y="492"/>
                  </a:lnTo>
                  <a:lnTo>
                    <a:pt x="570" y="486"/>
                  </a:lnTo>
                  <a:lnTo>
                    <a:pt x="564" y="486"/>
                  </a:lnTo>
                  <a:lnTo>
                    <a:pt x="564" y="480"/>
                  </a:lnTo>
                  <a:lnTo>
                    <a:pt x="564" y="474"/>
                  </a:lnTo>
                  <a:lnTo>
                    <a:pt x="558" y="468"/>
                  </a:lnTo>
                  <a:lnTo>
                    <a:pt x="564" y="468"/>
                  </a:lnTo>
                  <a:lnTo>
                    <a:pt x="564" y="462"/>
                  </a:lnTo>
                  <a:lnTo>
                    <a:pt x="570" y="462"/>
                  </a:lnTo>
                  <a:lnTo>
                    <a:pt x="570" y="456"/>
                  </a:lnTo>
                  <a:lnTo>
                    <a:pt x="570" y="450"/>
                  </a:lnTo>
                  <a:lnTo>
                    <a:pt x="576" y="450"/>
                  </a:lnTo>
                  <a:lnTo>
                    <a:pt x="576" y="444"/>
                  </a:lnTo>
                  <a:lnTo>
                    <a:pt x="582" y="438"/>
                  </a:lnTo>
                  <a:lnTo>
                    <a:pt x="588" y="438"/>
                  </a:lnTo>
                  <a:lnTo>
                    <a:pt x="588" y="444"/>
                  </a:lnTo>
                  <a:lnTo>
                    <a:pt x="594" y="438"/>
                  </a:lnTo>
                  <a:lnTo>
                    <a:pt x="594" y="432"/>
                  </a:lnTo>
                  <a:lnTo>
                    <a:pt x="600" y="432"/>
                  </a:lnTo>
                  <a:lnTo>
                    <a:pt x="600" y="426"/>
                  </a:lnTo>
                  <a:lnTo>
                    <a:pt x="600" y="420"/>
                  </a:lnTo>
                  <a:lnTo>
                    <a:pt x="606" y="420"/>
                  </a:lnTo>
                  <a:lnTo>
                    <a:pt x="600" y="420"/>
                  </a:lnTo>
                  <a:lnTo>
                    <a:pt x="600" y="414"/>
                  </a:lnTo>
                  <a:lnTo>
                    <a:pt x="606" y="408"/>
                  </a:lnTo>
                  <a:lnTo>
                    <a:pt x="612" y="408"/>
                  </a:lnTo>
                  <a:lnTo>
                    <a:pt x="612" y="414"/>
                  </a:lnTo>
                  <a:lnTo>
                    <a:pt x="618" y="414"/>
                  </a:lnTo>
                  <a:lnTo>
                    <a:pt x="624" y="414"/>
                  </a:lnTo>
                  <a:lnTo>
                    <a:pt x="630" y="414"/>
                  </a:lnTo>
                  <a:lnTo>
                    <a:pt x="636" y="414"/>
                  </a:lnTo>
                  <a:lnTo>
                    <a:pt x="642" y="408"/>
                  </a:lnTo>
                  <a:lnTo>
                    <a:pt x="648" y="408"/>
                  </a:lnTo>
                  <a:lnTo>
                    <a:pt x="660" y="408"/>
                  </a:lnTo>
                  <a:lnTo>
                    <a:pt x="666" y="402"/>
                  </a:lnTo>
                  <a:lnTo>
                    <a:pt x="672" y="402"/>
                  </a:lnTo>
                  <a:lnTo>
                    <a:pt x="684" y="396"/>
                  </a:lnTo>
                  <a:lnTo>
                    <a:pt x="690" y="396"/>
                  </a:lnTo>
                  <a:lnTo>
                    <a:pt x="696" y="396"/>
                  </a:lnTo>
                  <a:lnTo>
                    <a:pt x="702" y="396"/>
                  </a:lnTo>
                  <a:lnTo>
                    <a:pt x="708" y="396"/>
                  </a:lnTo>
                  <a:lnTo>
                    <a:pt x="714" y="390"/>
                  </a:lnTo>
                  <a:lnTo>
                    <a:pt x="714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32" y="384"/>
                  </a:lnTo>
                  <a:lnTo>
                    <a:pt x="738" y="378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56" y="372"/>
                  </a:lnTo>
                  <a:lnTo>
                    <a:pt x="762" y="366"/>
                  </a:lnTo>
                  <a:lnTo>
                    <a:pt x="768" y="366"/>
                  </a:lnTo>
                  <a:lnTo>
                    <a:pt x="774" y="366"/>
                  </a:lnTo>
                  <a:lnTo>
                    <a:pt x="774" y="360"/>
                  </a:lnTo>
                  <a:lnTo>
                    <a:pt x="780" y="366"/>
                  </a:lnTo>
                  <a:lnTo>
                    <a:pt x="786" y="366"/>
                  </a:lnTo>
                  <a:lnTo>
                    <a:pt x="786" y="360"/>
                  </a:lnTo>
                  <a:lnTo>
                    <a:pt x="792" y="354"/>
                  </a:lnTo>
                  <a:lnTo>
                    <a:pt x="786" y="354"/>
                  </a:lnTo>
                  <a:lnTo>
                    <a:pt x="792" y="348"/>
                  </a:lnTo>
                  <a:lnTo>
                    <a:pt x="798" y="348"/>
                  </a:lnTo>
                  <a:lnTo>
                    <a:pt x="804" y="348"/>
                  </a:lnTo>
                  <a:lnTo>
                    <a:pt x="810" y="342"/>
                  </a:lnTo>
                  <a:lnTo>
                    <a:pt x="816" y="342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28" y="336"/>
                  </a:lnTo>
                  <a:lnTo>
                    <a:pt x="834" y="336"/>
                  </a:lnTo>
                  <a:lnTo>
                    <a:pt x="840" y="336"/>
                  </a:lnTo>
                  <a:lnTo>
                    <a:pt x="846" y="330"/>
                  </a:lnTo>
                  <a:lnTo>
                    <a:pt x="852" y="330"/>
                  </a:lnTo>
                  <a:lnTo>
                    <a:pt x="858" y="330"/>
                  </a:lnTo>
                  <a:lnTo>
                    <a:pt x="864" y="324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0" y="312"/>
                  </a:lnTo>
                  <a:lnTo>
                    <a:pt x="876" y="312"/>
                  </a:lnTo>
                  <a:lnTo>
                    <a:pt x="882" y="312"/>
                  </a:lnTo>
                  <a:lnTo>
                    <a:pt x="882" y="318"/>
                  </a:lnTo>
                  <a:lnTo>
                    <a:pt x="888" y="312"/>
                  </a:lnTo>
                  <a:lnTo>
                    <a:pt x="894" y="306"/>
                  </a:lnTo>
                  <a:lnTo>
                    <a:pt x="900" y="306"/>
                  </a:lnTo>
                  <a:lnTo>
                    <a:pt x="906" y="306"/>
                  </a:lnTo>
                  <a:lnTo>
                    <a:pt x="912" y="300"/>
                  </a:lnTo>
                  <a:lnTo>
                    <a:pt x="906" y="294"/>
                  </a:lnTo>
                  <a:lnTo>
                    <a:pt x="912" y="276"/>
                  </a:lnTo>
                  <a:lnTo>
                    <a:pt x="912" y="252"/>
                  </a:lnTo>
                  <a:lnTo>
                    <a:pt x="906" y="234"/>
                  </a:lnTo>
                  <a:lnTo>
                    <a:pt x="912" y="228"/>
                  </a:lnTo>
                  <a:lnTo>
                    <a:pt x="912" y="216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24" y="192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36" y="186"/>
                  </a:lnTo>
                  <a:lnTo>
                    <a:pt x="930" y="180"/>
                  </a:lnTo>
                  <a:lnTo>
                    <a:pt x="930" y="174"/>
                  </a:lnTo>
                  <a:lnTo>
                    <a:pt x="936" y="156"/>
                  </a:lnTo>
                  <a:lnTo>
                    <a:pt x="930" y="156"/>
                  </a:lnTo>
                  <a:lnTo>
                    <a:pt x="924" y="150"/>
                  </a:lnTo>
                  <a:lnTo>
                    <a:pt x="942" y="78"/>
                  </a:lnTo>
                  <a:lnTo>
                    <a:pt x="948" y="78"/>
                  </a:lnTo>
                  <a:lnTo>
                    <a:pt x="954" y="66"/>
                  </a:lnTo>
                  <a:lnTo>
                    <a:pt x="954" y="72"/>
                  </a:lnTo>
                  <a:lnTo>
                    <a:pt x="954" y="66"/>
                  </a:lnTo>
                  <a:lnTo>
                    <a:pt x="960" y="66"/>
                  </a:lnTo>
                  <a:lnTo>
                    <a:pt x="966" y="66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54"/>
                  </a:lnTo>
                  <a:lnTo>
                    <a:pt x="990" y="54"/>
                  </a:lnTo>
                  <a:lnTo>
                    <a:pt x="996" y="48"/>
                  </a:lnTo>
                  <a:lnTo>
                    <a:pt x="1002" y="48"/>
                  </a:lnTo>
                  <a:lnTo>
                    <a:pt x="1032" y="48"/>
                  </a:lnTo>
                  <a:lnTo>
                    <a:pt x="1062" y="48"/>
                  </a:lnTo>
                  <a:lnTo>
                    <a:pt x="1068" y="78"/>
                  </a:lnTo>
                  <a:lnTo>
                    <a:pt x="1086" y="78"/>
                  </a:lnTo>
                  <a:lnTo>
                    <a:pt x="1092" y="66"/>
                  </a:lnTo>
                  <a:lnTo>
                    <a:pt x="1092" y="60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8" y="48"/>
                  </a:lnTo>
                  <a:lnTo>
                    <a:pt x="1104" y="48"/>
                  </a:lnTo>
                  <a:lnTo>
                    <a:pt x="1110" y="48"/>
                  </a:lnTo>
                  <a:lnTo>
                    <a:pt x="1110" y="42"/>
                  </a:lnTo>
                  <a:lnTo>
                    <a:pt x="1110" y="36"/>
                  </a:lnTo>
                  <a:lnTo>
                    <a:pt x="1116" y="36"/>
                  </a:lnTo>
                  <a:lnTo>
                    <a:pt x="1116" y="30"/>
                  </a:lnTo>
                  <a:lnTo>
                    <a:pt x="1122" y="30"/>
                  </a:lnTo>
                  <a:lnTo>
                    <a:pt x="1128" y="30"/>
                  </a:lnTo>
                  <a:lnTo>
                    <a:pt x="1134" y="30"/>
                  </a:lnTo>
                  <a:lnTo>
                    <a:pt x="1140" y="24"/>
                  </a:lnTo>
                  <a:lnTo>
                    <a:pt x="1152" y="18"/>
                  </a:lnTo>
                  <a:lnTo>
                    <a:pt x="1158" y="18"/>
                  </a:lnTo>
                  <a:lnTo>
                    <a:pt x="1152" y="12"/>
                  </a:lnTo>
                  <a:lnTo>
                    <a:pt x="1152" y="6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8"/>
                  </a:lnTo>
                  <a:lnTo>
                    <a:pt x="1170" y="12"/>
                  </a:lnTo>
                  <a:lnTo>
                    <a:pt x="1170" y="6"/>
                  </a:lnTo>
                  <a:lnTo>
                    <a:pt x="1176" y="6"/>
                  </a:lnTo>
                  <a:lnTo>
                    <a:pt x="1176" y="0"/>
                  </a:lnTo>
                  <a:lnTo>
                    <a:pt x="1182" y="6"/>
                  </a:lnTo>
                  <a:lnTo>
                    <a:pt x="1188" y="6"/>
                  </a:lnTo>
                  <a:lnTo>
                    <a:pt x="1188" y="0"/>
                  </a:lnTo>
                  <a:lnTo>
                    <a:pt x="1194" y="6"/>
                  </a:lnTo>
                  <a:lnTo>
                    <a:pt x="1200" y="12"/>
                  </a:lnTo>
                  <a:lnTo>
                    <a:pt x="1206" y="18"/>
                  </a:lnTo>
                  <a:lnTo>
                    <a:pt x="1212" y="18"/>
                  </a:lnTo>
                  <a:lnTo>
                    <a:pt x="1218" y="24"/>
                  </a:lnTo>
                  <a:lnTo>
                    <a:pt x="1236" y="36"/>
                  </a:lnTo>
                  <a:lnTo>
                    <a:pt x="1242" y="36"/>
                  </a:lnTo>
                  <a:lnTo>
                    <a:pt x="1248" y="42"/>
                  </a:lnTo>
                  <a:lnTo>
                    <a:pt x="1248" y="48"/>
                  </a:lnTo>
                  <a:lnTo>
                    <a:pt x="1260" y="48"/>
                  </a:lnTo>
                  <a:lnTo>
                    <a:pt x="1260" y="108"/>
                  </a:lnTo>
                  <a:lnTo>
                    <a:pt x="1266" y="168"/>
                  </a:lnTo>
                  <a:lnTo>
                    <a:pt x="1278" y="234"/>
                  </a:lnTo>
                  <a:lnTo>
                    <a:pt x="1284" y="240"/>
                  </a:lnTo>
                  <a:lnTo>
                    <a:pt x="1290" y="264"/>
                  </a:lnTo>
                  <a:lnTo>
                    <a:pt x="1296" y="288"/>
                  </a:lnTo>
                  <a:lnTo>
                    <a:pt x="1296" y="300"/>
                  </a:lnTo>
                  <a:lnTo>
                    <a:pt x="1296" y="312"/>
                  </a:lnTo>
                  <a:lnTo>
                    <a:pt x="1296" y="324"/>
                  </a:lnTo>
                  <a:lnTo>
                    <a:pt x="1296" y="354"/>
                  </a:lnTo>
                  <a:lnTo>
                    <a:pt x="1302" y="366"/>
                  </a:lnTo>
                  <a:lnTo>
                    <a:pt x="1308" y="372"/>
                  </a:lnTo>
                  <a:lnTo>
                    <a:pt x="1308" y="384"/>
                  </a:lnTo>
                  <a:lnTo>
                    <a:pt x="1314" y="390"/>
                  </a:lnTo>
                  <a:lnTo>
                    <a:pt x="1308" y="408"/>
                  </a:lnTo>
                  <a:lnTo>
                    <a:pt x="1314" y="408"/>
                  </a:lnTo>
                  <a:lnTo>
                    <a:pt x="1314" y="414"/>
                  </a:lnTo>
                  <a:lnTo>
                    <a:pt x="1308" y="420"/>
                  </a:lnTo>
                  <a:lnTo>
                    <a:pt x="1308" y="432"/>
                  </a:lnTo>
                  <a:lnTo>
                    <a:pt x="1320" y="432"/>
                  </a:lnTo>
                  <a:lnTo>
                    <a:pt x="1320" y="444"/>
                  </a:lnTo>
                  <a:lnTo>
                    <a:pt x="1332" y="444"/>
                  </a:lnTo>
                  <a:lnTo>
                    <a:pt x="1338" y="450"/>
                  </a:lnTo>
                  <a:lnTo>
                    <a:pt x="1344" y="456"/>
                  </a:lnTo>
                  <a:lnTo>
                    <a:pt x="1344" y="462"/>
                  </a:lnTo>
                  <a:lnTo>
                    <a:pt x="1344" y="474"/>
                  </a:lnTo>
                  <a:lnTo>
                    <a:pt x="1350" y="474"/>
                  </a:lnTo>
                  <a:lnTo>
                    <a:pt x="1368" y="504"/>
                  </a:lnTo>
                  <a:lnTo>
                    <a:pt x="1374" y="534"/>
                  </a:lnTo>
                  <a:lnTo>
                    <a:pt x="1380" y="558"/>
                  </a:lnTo>
                  <a:lnTo>
                    <a:pt x="1386" y="576"/>
                  </a:lnTo>
                  <a:lnTo>
                    <a:pt x="1386" y="600"/>
                  </a:lnTo>
                  <a:lnTo>
                    <a:pt x="1386" y="624"/>
                  </a:lnTo>
                  <a:lnTo>
                    <a:pt x="1386" y="648"/>
                  </a:lnTo>
                  <a:lnTo>
                    <a:pt x="1386" y="684"/>
                  </a:lnTo>
                  <a:lnTo>
                    <a:pt x="1380" y="684"/>
                  </a:lnTo>
                  <a:lnTo>
                    <a:pt x="1374" y="696"/>
                  </a:lnTo>
                  <a:lnTo>
                    <a:pt x="1368" y="702"/>
                  </a:lnTo>
                  <a:lnTo>
                    <a:pt x="1362" y="708"/>
                  </a:lnTo>
                  <a:lnTo>
                    <a:pt x="1356" y="714"/>
                  </a:lnTo>
                  <a:lnTo>
                    <a:pt x="1350" y="720"/>
                  </a:lnTo>
                  <a:lnTo>
                    <a:pt x="1338" y="720"/>
                  </a:lnTo>
                  <a:lnTo>
                    <a:pt x="1338" y="738"/>
                  </a:lnTo>
                  <a:lnTo>
                    <a:pt x="1362" y="750"/>
                  </a:lnTo>
                  <a:lnTo>
                    <a:pt x="1362" y="756"/>
                  </a:lnTo>
                  <a:lnTo>
                    <a:pt x="1374" y="756"/>
                  </a:lnTo>
                  <a:lnTo>
                    <a:pt x="1410" y="774"/>
                  </a:lnTo>
                  <a:lnTo>
                    <a:pt x="1446" y="774"/>
                  </a:lnTo>
                  <a:lnTo>
                    <a:pt x="1482" y="768"/>
                  </a:lnTo>
                  <a:lnTo>
                    <a:pt x="1500" y="774"/>
                  </a:lnTo>
                  <a:lnTo>
                    <a:pt x="1512" y="78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6" name="Freeform 11">
              <a:extLst>
                <a:ext uri="{FF2B5EF4-FFF2-40B4-BE49-F238E27FC236}">
                  <a16:creationId xmlns:a16="http://schemas.microsoft.com/office/drawing/2014/main" id="{1FF8E66F-B850-456A-B132-C45FEEDE95C6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2475" y="2345643"/>
              <a:ext cx="445003" cy="603855"/>
            </a:xfrm>
            <a:custGeom>
              <a:avLst/>
              <a:gdLst>
                <a:gd name="T0" fmla="*/ 47 w 840"/>
                <a:gd name="T1" fmla="*/ 98 h 1134"/>
                <a:gd name="T2" fmla="*/ 41 w 840"/>
                <a:gd name="T3" fmla="*/ 98 h 1134"/>
                <a:gd name="T4" fmla="*/ 37 w 840"/>
                <a:gd name="T5" fmla="*/ 98 h 1134"/>
                <a:gd name="T6" fmla="*/ 29 w 840"/>
                <a:gd name="T7" fmla="*/ 97 h 1134"/>
                <a:gd name="T8" fmla="*/ 27 w 840"/>
                <a:gd name="T9" fmla="*/ 94 h 1134"/>
                <a:gd name="T10" fmla="*/ 26 w 840"/>
                <a:gd name="T11" fmla="*/ 93 h 1134"/>
                <a:gd name="T12" fmla="*/ 26 w 840"/>
                <a:gd name="T13" fmla="*/ 83 h 1134"/>
                <a:gd name="T14" fmla="*/ 26 w 840"/>
                <a:gd name="T15" fmla="*/ 81 h 1134"/>
                <a:gd name="T16" fmla="*/ 23 w 840"/>
                <a:gd name="T17" fmla="*/ 77 h 1134"/>
                <a:gd name="T18" fmla="*/ 19 w 840"/>
                <a:gd name="T19" fmla="*/ 75 h 1134"/>
                <a:gd name="T20" fmla="*/ 16 w 840"/>
                <a:gd name="T21" fmla="*/ 72 h 1134"/>
                <a:gd name="T22" fmla="*/ 13 w 840"/>
                <a:gd name="T23" fmla="*/ 70 h 1134"/>
                <a:gd name="T24" fmla="*/ 17 w 840"/>
                <a:gd name="T25" fmla="*/ 67 h 1134"/>
                <a:gd name="T26" fmla="*/ 19 w 840"/>
                <a:gd name="T27" fmla="*/ 63 h 1134"/>
                <a:gd name="T28" fmla="*/ 20 w 840"/>
                <a:gd name="T29" fmla="*/ 59 h 1134"/>
                <a:gd name="T30" fmla="*/ 19 w 840"/>
                <a:gd name="T31" fmla="*/ 55 h 1134"/>
                <a:gd name="T32" fmla="*/ 17 w 840"/>
                <a:gd name="T33" fmla="*/ 47 h 1134"/>
                <a:gd name="T34" fmla="*/ 8 w 840"/>
                <a:gd name="T35" fmla="*/ 45 h 1134"/>
                <a:gd name="T36" fmla="*/ 4 w 840"/>
                <a:gd name="T37" fmla="*/ 39 h 1134"/>
                <a:gd name="T38" fmla="*/ 2 w 840"/>
                <a:gd name="T39" fmla="*/ 35 h 1134"/>
                <a:gd name="T40" fmla="*/ 0 w 840"/>
                <a:gd name="T41" fmla="*/ 31 h 1134"/>
                <a:gd name="T42" fmla="*/ 2 w 840"/>
                <a:gd name="T43" fmla="*/ 27 h 1134"/>
                <a:gd name="T44" fmla="*/ 5 w 840"/>
                <a:gd name="T45" fmla="*/ 24 h 1134"/>
                <a:gd name="T46" fmla="*/ 10 w 840"/>
                <a:gd name="T47" fmla="*/ 26 h 1134"/>
                <a:gd name="T48" fmla="*/ 7 w 840"/>
                <a:gd name="T49" fmla="*/ 20 h 1134"/>
                <a:gd name="T50" fmla="*/ 12 w 840"/>
                <a:gd name="T51" fmla="*/ 12 h 1134"/>
                <a:gd name="T52" fmla="*/ 19 w 840"/>
                <a:gd name="T53" fmla="*/ 10 h 1134"/>
                <a:gd name="T54" fmla="*/ 20 w 840"/>
                <a:gd name="T55" fmla="*/ 13 h 1134"/>
                <a:gd name="T56" fmla="*/ 22 w 840"/>
                <a:gd name="T57" fmla="*/ 11 h 1134"/>
                <a:gd name="T58" fmla="*/ 25 w 840"/>
                <a:gd name="T59" fmla="*/ 7 h 1134"/>
                <a:gd name="T60" fmla="*/ 29 w 840"/>
                <a:gd name="T61" fmla="*/ 2 h 1134"/>
                <a:gd name="T62" fmla="*/ 33 w 840"/>
                <a:gd name="T63" fmla="*/ 1 h 1134"/>
                <a:gd name="T64" fmla="*/ 37 w 840"/>
                <a:gd name="T65" fmla="*/ 2 h 1134"/>
                <a:gd name="T66" fmla="*/ 39 w 840"/>
                <a:gd name="T67" fmla="*/ 4 h 1134"/>
                <a:gd name="T68" fmla="*/ 43 w 840"/>
                <a:gd name="T69" fmla="*/ 5 h 1134"/>
                <a:gd name="T70" fmla="*/ 46 w 840"/>
                <a:gd name="T71" fmla="*/ 11 h 1134"/>
                <a:gd name="T72" fmla="*/ 49 w 840"/>
                <a:gd name="T73" fmla="*/ 12 h 1134"/>
                <a:gd name="T74" fmla="*/ 52 w 840"/>
                <a:gd name="T75" fmla="*/ 15 h 1134"/>
                <a:gd name="T76" fmla="*/ 54 w 840"/>
                <a:gd name="T77" fmla="*/ 18 h 1134"/>
                <a:gd name="T78" fmla="*/ 55 w 840"/>
                <a:gd name="T79" fmla="*/ 22 h 1134"/>
                <a:gd name="T80" fmla="*/ 56 w 840"/>
                <a:gd name="T81" fmla="*/ 26 h 1134"/>
                <a:gd name="T82" fmla="*/ 55 w 840"/>
                <a:gd name="T83" fmla="*/ 32 h 1134"/>
                <a:gd name="T84" fmla="*/ 55 w 840"/>
                <a:gd name="T85" fmla="*/ 36 h 1134"/>
                <a:gd name="T86" fmla="*/ 54 w 840"/>
                <a:gd name="T87" fmla="*/ 39 h 1134"/>
                <a:gd name="T88" fmla="*/ 56 w 840"/>
                <a:gd name="T89" fmla="*/ 39 h 1134"/>
                <a:gd name="T90" fmla="*/ 58 w 840"/>
                <a:gd name="T91" fmla="*/ 39 h 1134"/>
                <a:gd name="T92" fmla="*/ 61 w 840"/>
                <a:gd name="T93" fmla="*/ 39 h 1134"/>
                <a:gd name="T94" fmla="*/ 60 w 840"/>
                <a:gd name="T95" fmla="*/ 49 h 1134"/>
                <a:gd name="T96" fmla="*/ 59 w 840"/>
                <a:gd name="T97" fmla="*/ 53 h 1134"/>
                <a:gd name="T98" fmla="*/ 59 w 840"/>
                <a:gd name="T99" fmla="*/ 56 h 1134"/>
                <a:gd name="T100" fmla="*/ 60 w 840"/>
                <a:gd name="T101" fmla="*/ 59 h 1134"/>
                <a:gd name="T102" fmla="*/ 64 w 840"/>
                <a:gd name="T103" fmla="*/ 61 h 1134"/>
                <a:gd name="T104" fmla="*/ 69 w 840"/>
                <a:gd name="T105" fmla="*/ 63 h 1134"/>
                <a:gd name="T106" fmla="*/ 72 w 840"/>
                <a:gd name="T107" fmla="*/ 69 h 1134"/>
                <a:gd name="T108" fmla="*/ 72 w 840"/>
                <a:gd name="T109" fmla="*/ 73 h 1134"/>
                <a:gd name="T110" fmla="*/ 72 w 840"/>
                <a:gd name="T111" fmla="*/ 83 h 1134"/>
                <a:gd name="T112" fmla="*/ 63 w 840"/>
                <a:gd name="T113" fmla="*/ 88 h 1134"/>
                <a:gd name="T114" fmla="*/ 52 w 840"/>
                <a:gd name="T115" fmla="*/ 95 h 11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40"/>
                <a:gd name="T175" fmla="*/ 0 h 1134"/>
                <a:gd name="T176" fmla="*/ 840 w 840"/>
                <a:gd name="T177" fmla="*/ 1134 h 11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40" h="1134">
                  <a:moveTo>
                    <a:pt x="564" y="1110"/>
                  </a:moveTo>
                  <a:lnTo>
                    <a:pt x="564" y="1104"/>
                  </a:lnTo>
                  <a:lnTo>
                    <a:pt x="558" y="1104"/>
                  </a:lnTo>
                  <a:lnTo>
                    <a:pt x="552" y="1110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28" y="1128"/>
                  </a:lnTo>
                  <a:lnTo>
                    <a:pt x="498" y="1128"/>
                  </a:lnTo>
                  <a:lnTo>
                    <a:pt x="492" y="1128"/>
                  </a:lnTo>
                  <a:lnTo>
                    <a:pt x="486" y="1128"/>
                  </a:lnTo>
                  <a:lnTo>
                    <a:pt x="480" y="1128"/>
                  </a:lnTo>
                  <a:lnTo>
                    <a:pt x="474" y="1134"/>
                  </a:lnTo>
                  <a:lnTo>
                    <a:pt x="468" y="1134"/>
                  </a:lnTo>
                  <a:lnTo>
                    <a:pt x="462" y="1134"/>
                  </a:lnTo>
                  <a:lnTo>
                    <a:pt x="456" y="1134"/>
                  </a:lnTo>
                  <a:lnTo>
                    <a:pt x="456" y="1128"/>
                  </a:lnTo>
                  <a:lnTo>
                    <a:pt x="450" y="1122"/>
                  </a:lnTo>
                  <a:lnTo>
                    <a:pt x="426" y="1128"/>
                  </a:lnTo>
                  <a:lnTo>
                    <a:pt x="414" y="1128"/>
                  </a:lnTo>
                  <a:lnTo>
                    <a:pt x="348" y="1134"/>
                  </a:lnTo>
                  <a:lnTo>
                    <a:pt x="348" y="1128"/>
                  </a:lnTo>
                  <a:lnTo>
                    <a:pt x="342" y="1128"/>
                  </a:lnTo>
                  <a:lnTo>
                    <a:pt x="336" y="1122"/>
                  </a:lnTo>
                  <a:lnTo>
                    <a:pt x="330" y="1122"/>
                  </a:lnTo>
                  <a:lnTo>
                    <a:pt x="324" y="1116"/>
                  </a:lnTo>
                  <a:lnTo>
                    <a:pt x="324" y="1110"/>
                  </a:lnTo>
                  <a:lnTo>
                    <a:pt x="318" y="1110"/>
                  </a:lnTo>
                  <a:lnTo>
                    <a:pt x="318" y="1104"/>
                  </a:lnTo>
                  <a:lnTo>
                    <a:pt x="312" y="1092"/>
                  </a:lnTo>
                  <a:lnTo>
                    <a:pt x="306" y="1086"/>
                  </a:lnTo>
                  <a:lnTo>
                    <a:pt x="306" y="1080"/>
                  </a:lnTo>
                  <a:lnTo>
                    <a:pt x="312" y="1074"/>
                  </a:lnTo>
                  <a:lnTo>
                    <a:pt x="306" y="1068"/>
                  </a:lnTo>
                  <a:lnTo>
                    <a:pt x="300" y="1074"/>
                  </a:lnTo>
                  <a:lnTo>
                    <a:pt x="300" y="1068"/>
                  </a:lnTo>
                  <a:lnTo>
                    <a:pt x="294" y="1068"/>
                  </a:lnTo>
                  <a:lnTo>
                    <a:pt x="294" y="1056"/>
                  </a:lnTo>
                  <a:lnTo>
                    <a:pt x="294" y="1026"/>
                  </a:lnTo>
                  <a:lnTo>
                    <a:pt x="294" y="1020"/>
                  </a:lnTo>
                  <a:lnTo>
                    <a:pt x="294" y="1008"/>
                  </a:lnTo>
                  <a:lnTo>
                    <a:pt x="294" y="966"/>
                  </a:lnTo>
                  <a:lnTo>
                    <a:pt x="294" y="960"/>
                  </a:lnTo>
                  <a:lnTo>
                    <a:pt x="294" y="954"/>
                  </a:lnTo>
                  <a:lnTo>
                    <a:pt x="294" y="948"/>
                  </a:lnTo>
                  <a:lnTo>
                    <a:pt x="294" y="942"/>
                  </a:lnTo>
                  <a:lnTo>
                    <a:pt x="300" y="936"/>
                  </a:lnTo>
                  <a:lnTo>
                    <a:pt x="300" y="930"/>
                  </a:lnTo>
                  <a:lnTo>
                    <a:pt x="294" y="930"/>
                  </a:lnTo>
                  <a:lnTo>
                    <a:pt x="288" y="930"/>
                  </a:lnTo>
                  <a:lnTo>
                    <a:pt x="288" y="924"/>
                  </a:lnTo>
                  <a:lnTo>
                    <a:pt x="282" y="918"/>
                  </a:lnTo>
                  <a:lnTo>
                    <a:pt x="282" y="906"/>
                  </a:lnTo>
                  <a:lnTo>
                    <a:pt x="282" y="900"/>
                  </a:lnTo>
                  <a:lnTo>
                    <a:pt x="264" y="894"/>
                  </a:lnTo>
                  <a:lnTo>
                    <a:pt x="252" y="882"/>
                  </a:lnTo>
                  <a:lnTo>
                    <a:pt x="246" y="876"/>
                  </a:lnTo>
                  <a:lnTo>
                    <a:pt x="240" y="876"/>
                  </a:lnTo>
                  <a:lnTo>
                    <a:pt x="240" y="870"/>
                  </a:lnTo>
                  <a:lnTo>
                    <a:pt x="234" y="870"/>
                  </a:lnTo>
                  <a:lnTo>
                    <a:pt x="222" y="864"/>
                  </a:lnTo>
                  <a:lnTo>
                    <a:pt x="216" y="864"/>
                  </a:lnTo>
                  <a:lnTo>
                    <a:pt x="210" y="858"/>
                  </a:lnTo>
                  <a:lnTo>
                    <a:pt x="210" y="852"/>
                  </a:lnTo>
                  <a:lnTo>
                    <a:pt x="210" y="846"/>
                  </a:lnTo>
                  <a:lnTo>
                    <a:pt x="198" y="840"/>
                  </a:lnTo>
                  <a:lnTo>
                    <a:pt x="186" y="834"/>
                  </a:lnTo>
                  <a:lnTo>
                    <a:pt x="180" y="828"/>
                  </a:lnTo>
                  <a:lnTo>
                    <a:pt x="180" y="822"/>
                  </a:lnTo>
                  <a:lnTo>
                    <a:pt x="174" y="822"/>
                  </a:lnTo>
                  <a:lnTo>
                    <a:pt x="162" y="816"/>
                  </a:lnTo>
                  <a:lnTo>
                    <a:pt x="156" y="810"/>
                  </a:lnTo>
                  <a:lnTo>
                    <a:pt x="150" y="810"/>
                  </a:lnTo>
                  <a:lnTo>
                    <a:pt x="144" y="798"/>
                  </a:lnTo>
                  <a:lnTo>
                    <a:pt x="138" y="786"/>
                  </a:lnTo>
                  <a:lnTo>
                    <a:pt x="138" y="780"/>
                  </a:lnTo>
                  <a:lnTo>
                    <a:pt x="144" y="774"/>
                  </a:lnTo>
                  <a:lnTo>
                    <a:pt x="150" y="768"/>
                  </a:lnTo>
                  <a:lnTo>
                    <a:pt x="192" y="768"/>
                  </a:lnTo>
                  <a:lnTo>
                    <a:pt x="210" y="762"/>
                  </a:lnTo>
                  <a:lnTo>
                    <a:pt x="216" y="756"/>
                  </a:lnTo>
                  <a:lnTo>
                    <a:pt x="216" y="744"/>
                  </a:lnTo>
                  <a:lnTo>
                    <a:pt x="216" y="738"/>
                  </a:lnTo>
                  <a:lnTo>
                    <a:pt x="216" y="732"/>
                  </a:lnTo>
                  <a:lnTo>
                    <a:pt x="216" y="726"/>
                  </a:lnTo>
                  <a:lnTo>
                    <a:pt x="216" y="720"/>
                  </a:lnTo>
                  <a:lnTo>
                    <a:pt x="228" y="702"/>
                  </a:lnTo>
                  <a:lnTo>
                    <a:pt x="234" y="696"/>
                  </a:lnTo>
                  <a:lnTo>
                    <a:pt x="240" y="690"/>
                  </a:lnTo>
                  <a:lnTo>
                    <a:pt x="240" y="684"/>
                  </a:lnTo>
                  <a:lnTo>
                    <a:pt x="234" y="678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0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22" y="630"/>
                  </a:lnTo>
                  <a:lnTo>
                    <a:pt x="222" y="618"/>
                  </a:lnTo>
                  <a:lnTo>
                    <a:pt x="222" y="582"/>
                  </a:lnTo>
                  <a:lnTo>
                    <a:pt x="228" y="582"/>
                  </a:lnTo>
                  <a:lnTo>
                    <a:pt x="222" y="564"/>
                  </a:lnTo>
                  <a:lnTo>
                    <a:pt x="210" y="552"/>
                  </a:lnTo>
                  <a:lnTo>
                    <a:pt x="192" y="540"/>
                  </a:lnTo>
                  <a:lnTo>
                    <a:pt x="174" y="540"/>
                  </a:lnTo>
                  <a:lnTo>
                    <a:pt x="150" y="534"/>
                  </a:lnTo>
                  <a:lnTo>
                    <a:pt x="126" y="528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90" y="516"/>
                  </a:lnTo>
                  <a:lnTo>
                    <a:pt x="78" y="504"/>
                  </a:lnTo>
                  <a:lnTo>
                    <a:pt x="72" y="498"/>
                  </a:lnTo>
                  <a:lnTo>
                    <a:pt x="66" y="486"/>
                  </a:lnTo>
                  <a:lnTo>
                    <a:pt x="54" y="468"/>
                  </a:lnTo>
                  <a:lnTo>
                    <a:pt x="54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42" y="438"/>
                  </a:lnTo>
                  <a:lnTo>
                    <a:pt x="36" y="438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24" y="384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2" y="360"/>
                  </a:lnTo>
                  <a:lnTo>
                    <a:pt x="6" y="360"/>
                  </a:lnTo>
                  <a:lnTo>
                    <a:pt x="0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0"/>
                  </a:lnTo>
                  <a:lnTo>
                    <a:pt x="18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8" y="270"/>
                  </a:lnTo>
                  <a:lnTo>
                    <a:pt x="90" y="276"/>
                  </a:lnTo>
                  <a:lnTo>
                    <a:pt x="108" y="294"/>
                  </a:lnTo>
                  <a:lnTo>
                    <a:pt x="114" y="294"/>
                  </a:lnTo>
                  <a:lnTo>
                    <a:pt x="114" y="276"/>
                  </a:lnTo>
                  <a:lnTo>
                    <a:pt x="114" y="270"/>
                  </a:lnTo>
                  <a:lnTo>
                    <a:pt x="102" y="258"/>
                  </a:lnTo>
                  <a:lnTo>
                    <a:pt x="96" y="246"/>
                  </a:lnTo>
                  <a:lnTo>
                    <a:pt x="90" y="234"/>
                  </a:lnTo>
                  <a:lnTo>
                    <a:pt x="78" y="228"/>
                  </a:lnTo>
                  <a:lnTo>
                    <a:pt x="72" y="216"/>
                  </a:lnTo>
                  <a:lnTo>
                    <a:pt x="66" y="192"/>
                  </a:lnTo>
                  <a:lnTo>
                    <a:pt x="90" y="174"/>
                  </a:lnTo>
                  <a:lnTo>
                    <a:pt x="120" y="150"/>
                  </a:lnTo>
                  <a:lnTo>
                    <a:pt x="132" y="150"/>
                  </a:lnTo>
                  <a:lnTo>
                    <a:pt x="138" y="144"/>
                  </a:lnTo>
                  <a:lnTo>
                    <a:pt x="138" y="138"/>
                  </a:lnTo>
                  <a:lnTo>
                    <a:pt x="156" y="126"/>
                  </a:lnTo>
                  <a:lnTo>
                    <a:pt x="180" y="114"/>
                  </a:lnTo>
                  <a:lnTo>
                    <a:pt x="216" y="114"/>
                  </a:lnTo>
                  <a:lnTo>
                    <a:pt x="222" y="114"/>
                  </a:lnTo>
                  <a:lnTo>
                    <a:pt x="222" y="120"/>
                  </a:lnTo>
                  <a:lnTo>
                    <a:pt x="222" y="126"/>
                  </a:lnTo>
                  <a:lnTo>
                    <a:pt x="222" y="132"/>
                  </a:lnTo>
                  <a:lnTo>
                    <a:pt x="228" y="138"/>
                  </a:lnTo>
                  <a:lnTo>
                    <a:pt x="228" y="144"/>
                  </a:lnTo>
                  <a:lnTo>
                    <a:pt x="228" y="150"/>
                  </a:lnTo>
                  <a:lnTo>
                    <a:pt x="234" y="150"/>
                  </a:lnTo>
                  <a:lnTo>
                    <a:pt x="234" y="144"/>
                  </a:lnTo>
                  <a:lnTo>
                    <a:pt x="240" y="144"/>
                  </a:lnTo>
                  <a:lnTo>
                    <a:pt x="246" y="144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58" y="126"/>
                  </a:lnTo>
                  <a:lnTo>
                    <a:pt x="258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76" y="96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6" y="72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36"/>
                  </a:lnTo>
                  <a:lnTo>
                    <a:pt x="330" y="24"/>
                  </a:lnTo>
                  <a:lnTo>
                    <a:pt x="330" y="18"/>
                  </a:lnTo>
                  <a:lnTo>
                    <a:pt x="330" y="12"/>
                  </a:lnTo>
                  <a:lnTo>
                    <a:pt x="336" y="6"/>
                  </a:lnTo>
                  <a:lnTo>
                    <a:pt x="366" y="0"/>
                  </a:lnTo>
                  <a:lnTo>
                    <a:pt x="372" y="6"/>
                  </a:lnTo>
                  <a:lnTo>
                    <a:pt x="384" y="12"/>
                  </a:lnTo>
                  <a:lnTo>
                    <a:pt x="402" y="12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18"/>
                  </a:lnTo>
                  <a:lnTo>
                    <a:pt x="420" y="18"/>
                  </a:lnTo>
                  <a:lnTo>
                    <a:pt x="426" y="24"/>
                  </a:lnTo>
                  <a:lnTo>
                    <a:pt x="432" y="30"/>
                  </a:lnTo>
                  <a:lnTo>
                    <a:pt x="438" y="36"/>
                  </a:lnTo>
                  <a:lnTo>
                    <a:pt x="444" y="42"/>
                  </a:lnTo>
                  <a:lnTo>
                    <a:pt x="450" y="42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16" y="78"/>
                  </a:lnTo>
                  <a:lnTo>
                    <a:pt x="522" y="102"/>
                  </a:lnTo>
                  <a:lnTo>
                    <a:pt x="522" y="108"/>
                  </a:lnTo>
                  <a:lnTo>
                    <a:pt x="528" y="126"/>
                  </a:lnTo>
                  <a:lnTo>
                    <a:pt x="534" y="126"/>
                  </a:lnTo>
                  <a:lnTo>
                    <a:pt x="540" y="120"/>
                  </a:lnTo>
                  <a:lnTo>
                    <a:pt x="546" y="126"/>
                  </a:lnTo>
                  <a:lnTo>
                    <a:pt x="552" y="126"/>
                  </a:lnTo>
                  <a:lnTo>
                    <a:pt x="558" y="132"/>
                  </a:lnTo>
                  <a:lnTo>
                    <a:pt x="564" y="138"/>
                  </a:lnTo>
                  <a:lnTo>
                    <a:pt x="570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594" y="168"/>
                  </a:lnTo>
                  <a:lnTo>
                    <a:pt x="600" y="174"/>
                  </a:lnTo>
                  <a:lnTo>
                    <a:pt x="606" y="180"/>
                  </a:lnTo>
                  <a:lnTo>
                    <a:pt x="606" y="186"/>
                  </a:lnTo>
                  <a:lnTo>
                    <a:pt x="612" y="192"/>
                  </a:lnTo>
                  <a:lnTo>
                    <a:pt x="612" y="198"/>
                  </a:lnTo>
                  <a:lnTo>
                    <a:pt x="624" y="204"/>
                  </a:lnTo>
                  <a:lnTo>
                    <a:pt x="624" y="210"/>
                  </a:lnTo>
                  <a:lnTo>
                    <a:pt x="630" y="216"/>
                  </a:lnTo>
                  <a:lnTo>
                    <a:pt x="636" y="222"/>
                  </a:lnTo>
                  <a:lnTo>
                    <a:pt x="636" y="228"/>
                  </a:lnTo>
                  <a:lnTo>
                    <a:pt x="636" y="234"/>
                  </a:lnTo>
                  <a:lnTo>
                    <a:pt x="636" y="252"/>
                  </a:lnTo>
                  <a:lnTo>
                    <a:pt x="636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42" y="276"/>
                  </a:lnTo>
                  <a:lnTo>
                    <a:pt x="642" y="282"/>
                  </a:lnTo>
                  <a:lnTo>
                    <a:pt x="642" y="288"/>
                  </a:lnTo>
                  <a:lnTo>
                    <a:pt x="642" y="300"/>
                  </a:lnTo>
                  <a:lnTo>
                    <a:pt x="642" y="306"/>
                  </a:lnTo>
                  <a:lnTo>
                    <a:pt x="636" y="312"/>
                  </a:lnTo>
                  <a:lnTo>
                    <a:pt x="636" y="324"/>
                  </a:lnTo>
                  <a:lnTo>
                    <a:pt x="636" y="342"/>
                  </a:lnTo>
                  <a:lnTo>
                    <a:pt x="630" y="354"/>
                  </a:lnTo>
                  <a:lnTo>
                    <a:pt x="630" y="366"/>
                  </a:lnTo>
                  <a:lnTo>
                    <a:pt x="624" y="378"/>
                  </a:lnTo>
                  <a:lnTo>
                    <a:pt x="624" y="384"/>
                  </a:lnTo>
                  <a:lnTo>
                    <a:pt x="636" y="396"/>
                  </a:lnTo>
                  <a:lnTo>
                    <a:pt x="636" y="402"/>
                  </a:lnTo>
                  <a:lnTo>
                    <a:pt x="636" y="408"/>
                  </a:lnTo>
                  <a:lnTo>
                    <a:pt x="630" y="414"/>
                  </a:lnTo>
                  <a:lnTo>
                    <a:pt x="630" y="420"/>
                  </a:lnTo>
                  <a:lnTo>
                    <a:pt x="630" y="426"/>
                  </a:lnTo>
                  <a:lnTo>
                    <a:pt x="630" y="432"/>
                  </a:lnTo>
                  <a:lnTo>
                    <a:pt x="624" y="438"/>
                  </a:lnTo>
                  <a:lnTo>
                    <a:pt x="624" y="444"/>
                  </a:lnTo>
                  <a:lnTo>
                    <a:pt x="624" y="450"/>
                  </a:lnTo>
                  <a:lnTo>
                    <a:pt x="630" y="450"/>
                  </a:lnTo>
                  <a:lnTo>
                    <a:pt x="630" y="456"/>
                  </a:lnTo>
                  <a:lnTo>
                    <a:pt x="630" y="462"/>
                  </a:lnTo>
                  <a:lnTo>
                    <a:pt x="636" y="468"/>
                  </a:lnTo>
                  <a:lnTo>
                    <a:pt x="642" y="456"/>
                  </a:lnTo>
                  <a:lnTo>
                    <a:pt x="642" y="450"/>
                  </a:lnTo>
                  <a:lnTo>
                    <a:pt x="648" y="450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60" y="444"/>
                  </a:lnTo>
                  <a:lnTo>
                    <a:pt x="666" y="450"/>
                  </a:lnTo>
                  <a:lnTo>
                    <a:pt x="672" y="444"/>
                  </a:lnTo>
                  <a:lnTo>
                    <a:pt x="678" y="444"/>
                  </a:lnTo>
                  <a:lnTo>
                    <a:pt x="684" y="438"/>
                  </a:lnTo>
                  <a:lnTo>
                    <a:pt x="690" y="438"/>
                  </a:lnTo>
                  <a:lnTo>
                    <a:pt x="696" y="438"/>
                  </a:lnTo>
                  <a:lnTo>
                    <a:pt x="702" y="444"/>
                  </a:lnTo>
                  <a:lnTo>
                    <a:pt x="702" y="450"/>
                  </a:lnTo>
                  <a:lnTo>
                    <a:pt x="708" y="450"/>
                  </a:lnTo>
                  <a:lnTo>
                    <a:pt x="708" y="456"/>
                  </a:lnTo>
                  <a:lnTo>
                    <a:pt x="708" y="462"/>
                  </a:lnTo>
                  <a:lnTo>
                    <a:pt x="708" y="468"/>
                  </a:lnTo>
                  <a:lnTo>
                    <a:pt x="708" y="504"/>
                  </a:lnTo>
                  <a:lnTo>
                    <a:pt x="696" y="564"/>
                  </a:lnTo>
                  <a:lnTo>
                    <a:pt x="696" y="582"/>
                  </a:lnTo>
                  <a:lnTo>
                    <a:pt x="696" y="600"/>
                  </a:lnTo>
                  <a:lnTo>
                    <a:pt x="690" y="606"/>
                  </a:lnTo>
                  <a:lnTo>
                    <a:pt x="684" y="606"/>
                  </a:lnTo>
                  <a:lnTo>
                    <a:pt x="690" y="612"/>
                  </a:lnTo>
                  <a:lnTo>
                    <a:pt x="684" y="612"/>
                  </a:lnTo>
                  <a:lnTo>
                    <a:pt x="678" y="618"/>
                  </a:lnTo>
                  <a:lnTo>
                    <a:pt x="672" y="624"/>
                  </a:lnTo>
                  <a:lnTo>
                    <a:pt x="666" y="630"/>
                  </a:lnTo>
                  <a:lnTo>
                    <a:pt x="660" y="636"/>
                  </a:lnTo>
                  <a:lnTo>
                    <a:pt x="672" y="636"/>
                  </a:lnTo>
                  <a:lnTo>
                    <a:pt x="678" y="642"/>
                  </a:lnTo>
                  <a:lnTo>
                    <a:pt x="678" y="648"/>
                  </a:lnTo>
                  <a:lnTo>
                    <a:pt x="684" y="654"/>
                  </a:lnTo>
                  <a:lnTo>
                    <a:pt x="690" y="666"/>
                  </a:lnTo>
                  <a:lnTo>
                    <a:pt x="690" y="672"/>
                  </a:lnTo>
                  <a:lnTo>
                    <a:pt x="696" y="672"/>
                  </a:lnTo>
                  <a:lnTo>
                    <a:pt x="696" y="684"/>
                  </a:lnTo>
                  <a:lnTo>
                    <a:pt x="708" y="690"/>
                  </a:lnTo>
                  <a:lnTo>
                    <a:pt x="720" y="696"/>
                  </a:lnTo>
                  <a:lnTo>
                    <a:pt x="726" y="696"/>
                  </a:lnTo>
                  <a:lnTo>
                    <a:pt x="732" y="696"/>
                  </a:lnTo>
                  <a:lnTo>
                    <a:pt x="738" y="696"/>
                  </a:lnTo>
                  <a:lnTo>
                    <a:pt x="738" y="702"/>
                  </a:lnTo>
                  <a:lnTo>
                    <a:pt x="738" y="708"/>
                  </a:lnTo>
                  <a:lnTo>
                    <a:pt x="738" y="714"/>
                  </a:lnTo>
                  <a:lnTo>
                    <a:pt x="744" y="714"/>
                  </a:lnTo>
                  <a:lnTo>
                    <a:pt x="756" y="720"/>
                  </a:lnTo>
                  <a:lnTo>
                    <a:pt x="780" y="726"/>
                  </a:lnTo>
                  <a:lnTo>
                    <a:pt x="792" y="732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22" y="774"/>
                  </a:lnTo>
                  <a:lnTo>
                    <a:pt x="834" y="786"/>
                  </a:lnTo>
                  <a:lnTo>
                    <a:pt x="834" y="792"/>
                  </a:lnTo>
                  <a:lnTo>
                    <a:pt x="834" y="798"/>
                  </a:lnTo>
                  <a:lnTo>
                    <a:pt x="828" y="798"/>
                  </a:lnTo>
                  <a:lnTo>
                    <a:pt x="828" y="804"/>
                  </a:lnTo>
                  <a:lnTo>
                    <a:pt x="834" y="816"/>
                  </a:lnTo>
                  <a:lnTo>
                    <a:pt x="834" y="834"/>
                  </a:lnTo>
                  <a:lnTo>
                    <a:pt x="834" y="840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34" y="858"/>
                  </a:lnTo>
                  <a:lnTo>
                    <a:pt x="834" y="864"/>
                  </a:lnTo>
                  <a:lnTo>
                    <a:pt x="834" y="876"/>
                  </a:lnTo>
                  <a:lnTo>
                    <a:pt x="828" y="960"/>
                  </a:lnTo>
                  <a:lnTo>
                    <a:pt x="816" y="966"/>
                  </a:lnTo>
                  <a:lnTo>
                    <a:pt x="798" y="972"/>
                  </a:lnTo>
                  <a:lnTo>
                    <a:pt x="786" y="990"/>
                  </a:lnTo>
                  <a:lnTo>
                    <a:pt x="774" y="990"/>
                  </a:lnTo>
                  <a:lnTo>
                    <a:pt x="762" y="1008"/>
                  </a:lnTo>
                  <a:lnTo>
                    <a:pt x="732" y="1014"/>
                  </a:lnTo>
                  <a:lnTo>
                    <a:pt x="714" y="1026"/>
                  </a:lnTo>
                  <a:lnTo>
                    <a:pt x="690" y="1050"/>
                  </a:lnTo>
                  <a:lnTo>
                    <a:pt x="654" y="1056"/>
                  </a:lnTo>
                  <a:lnTo>
                    <a:pt x="630" y="1056"/>
                  </a:lnTo>
                  <a:lnTo>
                    <a:pt x="606" y="1068"/>
                  </a:lnTo>
                  <a:lnTo>
                    <a:pt x="600" y="1092"/>
                  </a:lnTo>
                  <a:lnTo>
                    <a:pt x="600" y="1098"/>
                  </a:lnTo>
                  <a:lnTo>
                    <a:pt x="588" y="1104"/>
                  </a:lnTo>
                  <a:lnTo>
                    <a:pt x="582" y="1104"/>
                  </a:lnTo>
                  <a:lnTo>
                    <a:pt x="570" y="1110"/>
                  </a:lnTo>
                  <a:lnTo>
                    <a:pt x="564" y="111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7" name="Freeform 12">
              <a:extLst>
                <a:ext uri="{FF2B5EF4-FFF2-40B4-BE49-F238E27FC236}">
                  <a16:creationId xmlns:a16="http://schemas.microsoft.com/office/drawing/2014/main" id="{6C93C114-E5D0-49BB-A44C-A127CE01CFE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810" y="2271838"/>
              <a:ext cx="923547" cy="845397"/>
            </a:xfrm>
            <a:custGeom>
              <a:avLst/>
              <a:gdLst>
                <a:gd name="T0" fmla="*/ 138 w 1740"/>
                <a:gd name="T1" fmla="*/ 134 h 1590"/>
                <a:gd name="T2" fmla="*/ 128 w 1740"/>
                <a:gd name="T3" fmla="*/ 131 h 1590"/>
                <a:gd name="T4" fmla="*/ 121 w 1740"/>
                <a:gd name="T5" fmla="*/ 130 h 1590"/>
                <a:gd name="T6" fmla="*/ 119 w 1740"/>
                <a:gd name="T7" fmla="*/ 134 h 1590"/>
                <a:gd name="T8" fmla="*/ 110 w 1740"/>
                <a:gd name="T9" fmla="*/ 132 h 1590"/>
                <a:gd name="T10" fmla="*/ 111 w 1740"/>
                <a:gd name="T11" fmla="*/ 127 h 1590"/>
                <a:gd name="T12" fmla="*/ 103 w 1740"/>
                <a:gd name="T13" fmla="*/ 117 h 1590"/>
                <a:gd name="T14" fmla="*/ 93 w 1740"/>
                <a:gd name="T15" fmla="*/ 123 h 1590"/>
                <a:gd name="T16" fmla="*/ 80 w 1740"/>
                <a:gd name="T17" fmla="*/ 118 h 1590"/>
                <a:gd name="T18" fmla="*/ 66 w 1740"/>
                <a:gd name="T19" fmla="*/ 117 h 1590"/>
                <a:gd name="T20" fmla="*/ 66 w 1740"/>
                <a:gd name="T21" fmla="*/ 110 h 1590"/>
                <a:gd name="T22" fmla="*/ 69 w 1740"/>
                <a:gd name="T23" fmla="*/ 107 h 1590"/>
                <a:gd name="T24" fmla="*/ 68 w 1740"/>
                <a:gd name="T25" fmla="*/ 102 h 1590"/>
                <a:gd name="T26" fmla="*/ 68 w 1740"/>
                <a:gd name="T27" fmla="*/ 96 h 1590"/>
                <a:gd name="T28" fmla="*/ 67 w 1740"/>
                <a:gd name="T29" fmla="*/ 82 h 1590"/>
                <a:gd name="T30" fmla="*/ 58 w 1740"/>
                <a:gd name="T31" fmla="*/ 82 h 1590"/>
                <a:gd name="T32" fmla="*/ 52 w 1740"/>
                <a:gd name="T33" fmla="*/ 82 h 1590"/>
                <a:gd name="T34" fmla="*/ 46 w 1740"/>
                <a:gd name="T35" fmla="*/ 80 h 1590"/>
                <a:gd name="T36" fmla="*/ 45 w 1740"/>
                <a:gd name="T37" fmla="*/ 74 h 1590"/>
                <a:gd name="T38" fmla="*/ 52 w 1740"/>
                <a:gd name="T39" fmla="*/ 70 h 1590"/>
                <a:gd name="T40" fmla="*/ 52 w 1740"/>
                <a:gd name="T41" fmla="*/ 64 h 1590"/>
                <a:gd name="T42" fmla="*/ 42 w 1740"/>
                <a:gd name="T43" fmla="*/ 53 h 1590"/>
                <a:gd name="T44" fmla="*/ 35 w 1740"/>
                <a:gd name="T45" fmla="*/ 52 h 1590"/>
                <a:gd name="T46" fmla="*/ 20 w 1740"/>
                <a:gd name="T47" fmla="*/ 51 h 1590"/>
                <a:gd name="T48" fmla="*/ 17 w 1740"/>
                <a:gd name="T49" fmla="*/ 56 h 1590"/>
                <a:gd name="T50" fmla="*/ 11 w 1740"/>
                <a:gd name="T51" fmla="*/ 61 h 1590"/>
                <a:gd name="T52" fmla="*/ 7 w 1740"/>
                <a:gd name="T53" fmla="*/ 63 h 1590"/>
                <a:gd name="T54" fmla="*/ 0 w 1740"/>
                <a:gd name="T55" fmla="*/ 55 h 1590"/>
                <a:gd name="T56" fmla="*/ 2 w 1740"/>
                <a:gd name="T57" fmla="*/ 50 h 1590"/>
                <a:gd name="T58" fmla="*/ 0 w 1740"/>
                <a:gd name="T59" fmla="*/ 44 h 1590"/>
                <a:gd name="T60" fmla="*/ 2 w 1740"/>
                <a:gd name="T61" fmla="*/ 38 h 1590"/>
                <a:gd name="T62" fmla="*/ 7 w 1740"/>
                <a:gd name="T63" fmla="*/ 35 h 1590"/>
                <a:gd name="T64" fmla="*/ 11 w 1740"/>
                <a:gd name="T65" fmla="*/ 30 h 1590"/>
                <a:gd name="T66" fmla="*/ 21 w 1740"/>
                <a:gd name="T67" fmla="*/ 26 h 1590"/>
                <a:gd name="T68" fmla="*/ 29 w 1740"/>
                <a:gd name="T69" fmla="*/ 25 h 1590"/>
                <a:gd name="T70" fmla="*/ 35 w 1740"/>
                <a:gd name="T71" fmla="*/ 21 h 1590"/>
                <a:gd name="T72" fmla="*/ 36 w 1740"/>
                <a:gd name="T73" fmla="*/ 16 h 1590"/>
                <a:gd name="T74" fmla="*/ 41 w 1740"/>
                <a:gd name="T75" fmla="*/ 11 h 1590"/>
                <a:gd name="T76" fmla="*/ 51 w 1740"/>
                <a:gd name="T77" fmla="*/ 9 h 1590"/>
                <a:gd name="T78" fmla="*/ 59 w 1740"/>
                <a:gd name="T79" fmla="*/ 21 h 1590"/>
                <a:gd name="T80" fmla="*/ 65 w 1740"/>
                <a:gd name="T81" fmla="*/ 13 h 1590"/>
                <a:gd name="T82" fmla="*/ 73 w 1740"/>
                <a:gd name="T83" fmla="*/ 8 h 1590"/>
                <a:gd name="T84" fmla="*/ 82 w 1740"/>
                <a:gd name="T85" fmla="*/ 12 h 1590"/>
                <a:gd name="T86" fmla="*/ 88 w 1740"/>
                <a:gd name="T87" fmla="*/ 12 h 1590"/>
                <a:gd name="T88" fmla="*/ 99 w 1740"/>
                <a:gd name="T89" fmla="*/ 7 h 1590"/>
                <a:gd name="T90" fmla="*/ 114 w 1740"/>
                <a:gd name="T91" fmla="*/ 0 h 1590"/>
                <a:gd name="T92" fmla="*/ 117 w 1740"/>
                <a:gd name="T93" fmla="*/ 10 h 1590"/>
                <a:gd name="T94" fmla="*/ 132 w 1740"/>
                <a:gd name="T95" fmla="*/ 17 h 1590"/>
                <a:gd name="T96" fmla="*/ 140 w 1740"/>
                <a:gd name="T97" fmla="*/ 25 h 1590"/>
                <a:gd name="T98" fmla="*/ 140 w 1740"/>
                <a:gd name="T99" fmla="*/ 33 h 1590"/>
                <a:gd name="T100" fmla="*/ 140 w 1740"/>
                <a:gd name="T101" fmla="*/ 44 h 1590"/>
                <a:gd name="T102" fmla="*/ 138 w 1740"/>
                <a:gd name="T103" fmla="*/ 48 h 1590"/>
                <a:gd name="T104" fmla="*/ 141 w 1740"/>
                <a:gd name="T105" fmla="*/ 49 h 1590"/>
                <a:gd name="T106" fmla="*/ 146 w 1740"/>
                <a:gd name="T107" fmla="*/ 50 h 1590"/>
                <a:gd name="T108" fmla="*/ 149 w 1740"/>
                <a:gd name="T109" fmla="*/ 59 h 1590"/>
                <a:gd name="T110" fmla="*/ 148 w 1740"/>
                <a:gd name="T111" fmla="*/ 67 h 1590"/>
                <a:gd name="T112" fmla="*/ 141 w 1740"/>
                <a:gd name="T113" fmla="*/ 78 h 1590"/>
                <a:gd name="T114" fmla="*/ 141 w 1740"/>
                <a:gd name="T115" fmla="*/ 91 h 1590"/>
                <a:gd name="T116" fmla="*/ 138 w 1740"/>
                <a:gd name="T117" fmla="*/ 102 h 1590"/>
                <a:gd name="T118" fmla="*/ 138 w 1740"/>
                <a:gd name="T119" fmla="*/ 110 h 1590"/>
                <a:gd name="T120" fmla="*/ 144 w 1740"/>
                <a:gd name="T121" fmla="*/ 118 h 1590"/>
                <a:gd name="T122" fmla="*/ 143 w 1740"/>
                <a:gd name="T123" fmla="*/ 125 h 159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740"/>
                <a:gd name="T187" fmla="*/ 0 h 1590"/>
                <a:gd name="T188" fmla="*/ 1740 w 1740"/>
                <a:gd name="T189" fmla="*/ 1590 h 159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740" h="1590">
                  <a:moveTo>
                    <a:pt x="1638" y="1458"/>
                  </a:moveTo>
                  <a:lnTo>
                    <a:pt x="1638" y="1482"/>
                  </a:lnTo>
                  <a:lnTo>
                    <a:pt x="1638" y="1500"/>
                  </a:lnTo>
                  <a:lnTo>
                    <a:pt x="1626" y="1500"/>
                  </a:lnTo>
                  <a:lnTo>
                    <a:pt x="1620" y="1500"/>
                  </a:lnTo>
                  <a:lnTo>
                    <a:pt x="1614" y="1500"/>
                  </a:lnTo>
                  <a:lnTo>
                    <a:pt x="1614" y="1506"/>
                  </a:lnTo>
                  <a:lnTo>
                    <a:pt x="1614" y="1512"/>
                  </a:lnTo>
                  <a:lnTo>
                    <a:pt x="1620" y="1518"/>
                  </a:lnTo>
                  <a:lnTo>
                    <a:pt x="1614" y="1524"/>
                  </a:lnTo>
                  <a:lnTo>
                    <a:pt x="1590" y="1536"/>
                  </a:lnTo>
                  <a:lnTo>
                    <a:pt x="1584" y="1566"/>
                  </a:lnTo>
                  <a:lnTo>
                    <a:pt x="1578" y="1590"/>
                  </a:lnTo>
                  <a:lnTo>
                    <a:pt x="1548" y="1590"/>
                  </a:lnTo>
                  <a:lnTo>
                    <a:pt x="1542" y="1584"/>
                  </a:lnTo>
                  <a:lnTo>
                    <a:pt x="1542" y="1572"/>
                  </a:lnTo>
                  <a:lnTo>
                    <a:pt x="1536" y="1566"/>
                  </a:lnTo>
                  <a:lnTo>
                    <a:pt x="1536" y="1554"/>
                  </a:lnTo>
                  <a:lnTo>
                    <a:pt x="1536" y="1548"/>
                  </a:lnTo>
                  <a:lnTo>
                    <a:pt x="1506" y="1530"/>
                  </a:lnTo>
                  <a:lnTo>
                    <a:pt x="1488" y="1506"/>
                  </a:lnTo>
                  <a:lnTo>
                    <a:pt x="1464" y="1500"/>
                  </a:lnTo>
                  <a:lnTo>
                    <a:pt x="1470" y="1494"/>
                  </a:lnTo>
                  <a:lnTo>
                    <a:pt x="1470" y="1488"/>
                  </a:lnTo>
                  <a:lnTo>
                    <a:pt x="1470" y="1482"/>
                  </a:lnTo>
                  <a:lnTo>
                    <a:pt x="1428" y="1464"/>
                  </a:lnTo>
                  <a:lnTo>
                    <a:pt x="1404" y="1470"/>
                  </a:lnTo>
                  <a:lnTo>
                    <a:pt x="1398" y="1470"/>
                  </a:lnTo>
                  <a:lnTo>
                    <a:pt x="1392" y="1476"/>
                  </a:lnTo>
                  <a:lnTo>
                    <a:pt x="1386" y="1476"/>
                  </a:lnTo>
                  <a:lnTo>
                    <a:pt x="1386" y="1482"/>
                  </a:lnTo>
                  <a:lnTo>
                    <a:pt x="1392" y="1482"/>
                  </a:lnTo>
                  <a:lnTo>
                    <a:pt x="1386" y="1488"/>
                  </a:lnTo>
                  <a:lnTo>
                    <a:pt x="1386" y="1494"/>
                  </a:lnTo>
                  <a:lnTo>
                    <a:pt x="1380" y="1494"/>
                  </a:lnTo>
                  <a:lnTo>
                    <a:pt x="1380" y="1500"/>
                  </a:lnTo>
                  <a:lnTo>
                    <a:pt x="1380" y="1512"/>
                  </a:lnTo>
                  <a:lnTo>
                    <a:pt x="1380" y="1518"/>
                  </a:lnTo>
                  <a:lnTo>
                    <a:pt x="1380" y="1524"/>
                  </a:lnTo>
                  <a:lnTo>
                    <a:pt x="1380" y="1530"/>
                  </a:lnTo>
                  <a:lnTo>
                    <a:pt x="1374" y="1536"/>
                  </a:lnTo>
                  <a:lnTo>
                    <a:pt x="1374" y="1542"/>
                  </a:lnTo>
                  <a:lnTo>
                    <a:pt x="1368" y="1542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44" y="1554"/>
                  </a:lnTo>
                  <a:lnTo>
                    <a:pt x="1332" y="1560"/>
                  </a:lnTo>
                  <a:lnTo>
                    <a:pt x="1302" y="1554"/>
                  </a:lnTo>
                  <a:lnTo>
                    <a:pt x="1290" y="1554"/>
                  </a:lnTo>
                  <a:lnTo>
                    <a:pt x="1278" y="1542"/>
                  </a:lnTo>
                  <a:lnTo>
                    <a:pt x="1272" y="1530"/>
                  </a:lnTo>
                  <a:lnTo>
                    <a:pt x="1272" y="1524"/>
                  </a:lnTo>
                  <a:lnTo>
                    <a:pt x="1272" y="1518"/>
                  </a:lnTo>
                  <a:lnTo>
                    <a:pt x="1266" y="1518"/>
                  </a:lnTo>
                  <a:lnTo>
                    <a:pt x="1266" y="1512"/>
                  </a:lnTo>
                  <a:lnTo>
                    <a:pt x="1266" y="1506"/>
                  </a:lnTo>
                  <a:lnTo>
                    <a:pt x="1272" y="1506"/>
                  </a:lnTo>
                  <a:lnTo>
                    <a:pt x="1272" y="1500"/>
                  </a:lnTo>
                  <a:lnTo>
                    <a:pt x="1278" y="1500"/>
                  </a:lnTo>
                  <a:lnTo>
                    <a:pt x="1278" y="1494"/>
                  </a:lnTo>
                  <a:lnTo>
                    <a:pt x="1278" y="1488"/>
                  </a:lnTo>
                  <a:lnTo>
                    <a:pt x="1284" y="1488"/>
                  </a:lnTo>
                  <a:lnTo>
                    <a:pt x="1284" y="1482"/>
                  </a:lnTo>
                  <a:lnTo>
                    <a:pt x="1290" y="1476"/>
                  </a:lnTo>
                  <a:lnTo>
                    <a:pt x="1284" y="1470"/>
                  </a:lnTo>
                  <a:lnTo>
                    <a:pt x="1278" y="1458"/>
                  </a:lnTo>
                  <a:lnTo>
                    <a:pt x="1278" y="1452"/>
                  </a:lnTo>
                  <a:lnTo>
                    <a:pt x="1260" y="1428"/>
                  </a:lnTo>
                  <a:lnTo>
                    <a:pt x="1254" y="1416"/>
                  </a:lnTo>
                  <a:lnTo>
                    <a:pt x="1254" y="1410"/>
                  </a:lnTo>
                  <a:lnTo>
                    <a:pt x="1248" y="1398"/>
                  </a:lnTo>
                  <a:lnTo>
                    <a:pt x="1242" y="1398"/>
                  </a:lnTo>
                  <a:lnTo>
                    <a:pt x="1236" y="1398"/>
                  </a:lnTo>
                  <a:lnTo>
                    <a:pt x="1218" y="1386"/>
                  </a:lnTo>
                  <a:lnTo>
                    <a:pt x="1212" y="1362"/>
                  </a:lnTo>
                  <a:lnTo>
                    <a:pt x="1200" y="1344"/>
                  </a:lnTo>
                  <a:lnTo>
                    <a:pt x="1188" y="1338"/>
                  </a:lnTo>
                  <a:lnTo>
                    <a:pt x="1164" y="1338"/>
                  </a:lnTo>
                  <a:lnTo>
                    <a:pt x="1158" y="1344"/>
                  </a:lnTo>
                  <a:lnTo>
                    <a:pt x="1152" y="1350"/>
                  </a:lnTo>
                  <a:lnTo>
                    <a:pt x="1152" y="1356"/>
                  </a:lnTo>
                  <a:lnTo>
                    <a:pt x="1140" y="1362"/>
                  </a:lnTo>
                  <a:lnTo>
                    <a:pt x="1134" y="1380"/>
                  </a:lnTo>
                  <a:lnTo>
                    <a:pt x="1116" y="1398"/>
                  </a:lnTo>
                  <a:lnTo>
                    <a:pt x="1110" y="1416"/>
                  </a:lnTo>
                  <a:lnTo>
                    <a:pt x="1086" y="1416"/>
                  </a:lnTo>
                  <a:lnTo>
                    <a:pt x="1080" y="1410"/>
                  </a:lnTo>
                  <a:lnTo>
                    <a:pt x="1074" y="1410"/>
                  </a:lnTo>
                  <a:lnTo>
                    <a:pt x="1074" y="1404"/>
                  </a:lnTo>
                  <a:lnTo>
                    <a:pt x="1062" y="1404"/>
                  </a:lnTo>
                  <a:lnTo>
                    <a:pt x="1062" y="1380"/>
                  </a:lnTo>
                  <a:lnTo>
                    <a:pt x="1038" y="1380"/>
                  </a:lnTo>
                  <a:lnTo>
                    <a:pt x="1026" y="1350"/>
                  </a:lnTo>
                  <a:lnTo>
                    <a:pt x="996" y="1326"/>
                  </a:lnTo>
                  <a:lnTo>
                    <a:pt x="966" y="1314"/>
                  </a:lnTo>
                  <a:lnTo>
                    <a:pt x="954" y="1320"/>
                  </a:lnTo>
                  <a:lnTo>
                    <a:pt x="942" y="1338"/>
                  </a:lnTo>
                  <a:lnTo>
                    <a:pt x="930" y="1338"/>
                  </a:lnTo>
                  <a:lnTo>
                    <a:pt x="924" y="1350"/>
                  </a:lnTo>
                  <a:lnTo>
                    <a:pt x="906" y="1356"/>
                  </a:lnTo>
                  <a:lnTo>
                    <a:pt x="846" y="1356"/>
                  </a:lnTo>
                  <a:lnTo>
                    <a:pt x="834" y="1368"/>
                  </a:lnTo>
                  <a:lnTo>
                    <a:pt x="810" y="1362"/>
                  </a:lnTo>
                  <a:lnTo>
                    <a:pt x="792" y="1362"/>
                  </a:lnTo>
                  <a:lnTo>
                    <a:pt x="780" y="1368"/>
                  </a:lnTo>
                  <a:lnTo>
                    <a:pt x="762" y="1368"/>
                  </a:lnTo>
                  <a:lnTo>
                    <a:pt x="762" y="1362"/>
                  </a:lnTo>
                  <a:lnTo>
                    <a:pt x="750" y="1362"/>
                  </a:lnTo>
                  <a:lnTo>
                    <a:pt x="750" y="1338"/>
                  </a:lnTo>
                  <a:lnTo>
                    <a:pt x="762" y="1338"/>
                  </a:lnTo>
                  <a:lnTo>
                    <a:pt x="762" y="1326"/>
                  </a:lnTo>
                  <a:lnTo>
                    <a:pt x="762" y="1314"/>
                  </a:lnTo>
                  <a:lnTo>
                    <a:pt x="732" y="1314"/>
                  </a:lnTo>
                  <a:lnTo>
                    <a:pt x="726" y="1308"/>
                  </a:lnTo>
                  <a:lnTo>
                    <a:pt x="732" y="1284"/>
                  </a:lnTo>
                  <a:lnTo>
                    <a:pt x="732" y="1278"/>
                  </a:lnTo>
                  <a:lnTo>
                    <a:pt x="738" y="1272"/>
                  </a:lnTo>
                  <a:lnTo>
                    <a:pt x="738" y="1266"/>
                  </a:lnTo>
                  <a:lnTo>
                    <a:pt x="744" y="1266"/>
                  </a:lnTo>
                  <a:lnTo>
                    <a:pt x="750" y="1272"/>
                  </a:lnTo>
                  <a:lnTo>
                    <a:pt x="756" y="1266"/>
                  </a:lnTo>
                  <a:lnTo>
                    <a:pt x="762" y="1266"/>
                  </a:lnTo>
                  <a:lnTo>
                    <a:pt x="768" y="1260"/>
                  </a:lnTo>
                  <a:lnTo>
                    <a:pt x="774" y="1260"/>
                  </a:lnTo>
                  <a:lnTo>
                    <a:pt x="780" y="1254"/>
                  </a:lnTo>
                  <a:lnTo>
                    <a:pt x="774" y="1254"/>
                  </a:lnTo>
                  <a:lnTo>
                    <a:pt x="768" y="1254"/>
                  </a:lnTo>
                  <a:lnTo>
                    <a:pt x="774" y="1248"/>
                  </a:lnTo>
                  <a:lnTo>
                    <a:pt x="774" y="1242"/>
                  </a:lnTo>
                  <a:lnTo>
                    <a:pt x="780" y="1236"/>
                  </a:lnTo>
                  <a:lnTo>
                    <a:pt x="786" y="1236"/>
                  </a:lnTo>
                  <a:lnTo>
                    <a:pt x="792" y="1230"/>
                  </a:lnTo>
                  <a:lnTo>
                    <a:pt x="792" y="1236"/>
                  </a:lnTo>
                  <a:lnTo>
                    <a:pt x="798" y="1236"/>
                  </a:lnTo>
                  <a:lnTo>
                    <a:pt x="798" y="1230"/>
                  </a:lnTo>
                  <a:lnTo>
                    <a:pt x="804" y="1230"/>
                  </a:lnTo>
                  <a:lnTo>
                    <a:pt x="804" y="1218"/>
                  </a:lnTo>
                  <a:lnTo>
                    <a:pt x="804" y="1206"/>
                  </a:lnTo>
                  <a:lnTo>
                    <a:pt x="792" y="1188"/>
                  </a:lnTo>
                  <a:lnTo>
                    <a:pt x="768" y="1182"/>
                  </a:lnTo>
                  <a:lnTo>
                    <a:pt x="768" y="1170"/>
                  </a:lnTo>
                  <a:lnTo>
                    <a:pt x="774" y="1170"/>
                  </a:lnTo>
                  <a:lnTo>
                    <a:pt x="780" y="1170"/>
                  </a:lnTo>
                  <a:lnTo>
                    <a:pt x="786" y="1170"/>
                  </a:lnTo>
                  <a:lnTo>
                    <a:pt x="780" y="1152"/>
                  </a:lnTo>
                  <a:lnTo>
                    <a:pt x="780" y="1146"/>
                  </a:lnTo>
                  <a:lnTo>
                    <a:pt x="744" y="1140"/>
                  </a:lnTo>
                  <a:lnTo>
                    <a:pt x="732" y="1128"/>
                  </a:lnTo>
                  <a:lnTo>
                    <a:pt x="720" y="1122"/>
                  </a:lnTo>
                  <a:lnTo>
                    <a:pt x="732" y="1116"/>
                  </a:lnTo>
                  <a:lnTo>
                    <a:pt x="750" y="1104"/>
                  </a:lnTo>
                  <a:lnTo>
                    <a:pt x="756" y="1116"/>
                  </a:lnTo>
                  <a:lnTo>
                    <a:pt x="774" y="1116"/>
                  </a:lnTo>
                  <a:lnTo>
                    <a:pt x="780" y="1104"/>
                  </a:lnTo>
                  <a:lnTo>
                    <a:pt x="780" y="1080"/>
                  </a:lnTo>
                  <a:lnTo>
                    <a:pt x="786" y="1080"/>
                  </a:lnTo>
                  <a:lnTo>
                    <a:pt x="786" y="1074"/>
                  </a:lnTo>
                  <a:lnTo>
                    <a:pt x="792" y="1074"/>
                  </a:lnTo>
                  <a:lnTo>
                    <a:pt x="786" y="1068"/>
                  </a:lnTo>
                  <a:lnTo>
                    <a:pt x="786" y="1062"/>
                  </a:lnTo>
                  <a:lnTo>
                    <a:pt x="786" y="1056"/>
                  </a:lnTo>
                  <a:lnTo>
                    <a:pt x="792" y="1050"/>
                  </a:lnTo>
                  <a:lnTo>
                    <a:pt x="786" y="1020"/>
                  </a:lnTo>
                  <a:lnTo>
                    <a:pt x="780" y="960"/>
                  </a:lnTo>
                  <a:lnTo>
                    <a:pt x="768" y="942"/>
                  </a:lnTo>
                  <a:lnTo>
                    <a:pt x="732" y="936"/>
                  </a:lnTo>
                  <a:lnTo>
                    <a:pt x="732" y="942"/>
                  </a:lnTo>
                  <a:lnTo>
                    <a:pt x="726" y="942"/>
                  </a:lnTo>
                  <a:lnTo>
                    <a:pt x="720" y="936"/>
                  </a:lnTo>
                  <a:lnTo>
                    <a:pt x="714" y="942"/>
                  </a:lnTo>
                  <a:lnTo>
                    <a:pt x="708" y="942"/>
                  </a:lnTo>
                  <a:lnTo>
                    <a:pt x="702" y="942"/>
                  </a:lnTo>
                  <a:lnTo>
                    <a:pt x="690" y="936"/>
                  </a:lnTo>
                  <a:lnTo>
                    <a:pt x="684" y="936"/>
                  </a:lnTo>
                  <a:lnTo>
                    <a:pt x="678" y="936"/>
                  </a:lnTo>
                  <a:lnTo>
                    <a:pt x="672" y="936"/>
                  </a:lnTo>
                  <a:lnTo>
                    <a:pt x="666" y="942"/>
                  </a:lnTo>
                  <a:lnTo>
                    <a:pt x="660" y="942"/>
                  </a:lnTo>
                  <a:lnTo>
                    <a:pt x="654" y="942"/>
                  </a:lnTo>
                  <a:lnTo>
                    <a:pt x="648" y="942"/>
                  </a:lnTo>
                  <a:lnTo>
                    <a:pt x="642" y="936"/>
                  </a:lnTo>
                  <a:lnTo>
                    <a:pt x="636" y="936"/>
                  </a:lnTo>
                  <a:lnTo>
                    <a:pt x="630" y="930"/>
                  </a:lnTo>
                  <a:lnTo>
                    <a:pt x="618" y="930"/>
                  </a:lnTo>
                  <a:lnTo>
                    <a:pt x="612" y="930"/>
                  </a:lnTo>
                  <a:lnTo>
                    <a:pt x="606" y="936"/>
                  </a:lnTo>
                  <a:lnTo>
                    <a:pt x="600" y="942"/>
                  </a:lnTo>
                  <a:lnTo>
                    <a:pt x="600" y="936"/>
                  </a:lnTo>
                  <a:lnTo>
                    <a:pt x="594" y="930"/>
                  </a:lnTo>
                  <a:lnTo>
                    <a:pt x="588" y="930"/>
                  </a:lnTo>
                  <a:lnTo>
                    <a:pt x="582" y="930"/>
                  </a:lnTo>
                  <a:lnTo>
                    <a:pt x="576" y="930"/>
                  </a:lnTo>
                  <a:lnTo>
                    <a:pt x="564" y="936"/>
                  </a:lnTo>
                  <a:lnTo>
                    <a:pt x="558" y="936"/>
                  </a:lnTo>
                  <a:lnTo>
                    <a:pt x="546" y="924"/>
                  </a:lnTo>
                  <a:lnTo>
                    <a:pt x="540" y="924"/>
                  </a:lnTo>
                  <a:lnTo>
                    <a:pt x="534" y="918"/>
                  </a:lnTo>
                  <a:lnTo>
                    <a:pt x="528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6" y="918"/>
                  </a:lnTo>
                  <a:lnTo>
                    <a:pt x="516" y="912"/>
                  </a:lnTo>
                  <a:lnTo>
                    <a:pt x="510" y="894"/>
                  </a:lnTo>
                  <a:lnTo>
                    <a:pt x="510" y="882"/>
                  </a:lnTo>
                  <a:lnTo>
                    <a:pt x="510" y="876"/>
                  </a:lnTo>
                  <a:lnTo>
                    <a:pt x="516" y="870"/>
                  </a:lnTo>
                  <a:lnTo>
                    <a:pt x="510" y="864"/>
                  </a:lnTo>
                  <a:lnTo>
                    <a:pt x="516" y="858"/>
                  </a:lnTo>
                  <a:lnTo>
                    <a:pt x="522" y="858"/>
                  </a:lnTo>
                  <a:lnTo>
                    <a:pt x="528" y="858"/>
                  </a:lnTo>
                  <a:lnTo>
                    <a:pt x="522" y="852"/>
                  </a:lnTo>
                  <a:lnTo>
                    <a:pt x="528" y="852"/>
                  </a:lnTo>
                  <a:lnTo>
                    <a:pt x="528" y="846"/>
                  </a:lnTo>
                  <a:lnTo>
                    <a:pt x="552" y="846"/>
                  </a:lnTo>
                  <a:lnTo>
                    <a:pt x="558" y="840"/>
                  </a:lnTo>
                  <a:lnTo>
                    <a:pt x="564" y="828"/>
                  </a:lnTo>
                  <a:lnTo>
                    <a:pt x="570" y="816"/>
                  </a:lnTo>
                  <a:lnTo>
                    <a:pt x="582" y="810"/>
                  </a:lnTo>
                  <a:lnTo>
                    <a:pt x="588" y="804"/>
                  </a:lnTo>
                  <a:lnTo>
                    <a:pt x="594" y="804"/>
                  </a:lnTo>
                  <a:lnTo>
                    <a:pt x="594" y="792"/>
                  </a:lnTo>
                  <a:lnTo>
                    <a:pt x="600" y="786"/>
                  </a:lnTo>
                  <a:lnTo>
                    <a:pt x="606" y="780"/>
                  </a:lnTo>
                  <a:lnTo>
                    <a:pt x="612" y="774"/>
                  </a:lnTo>
                  <a:lnTo>
                    <a:pt x="618" y="774"/>
                  </a:lnTo>
                  <a:lnTo>
                    <a:pt x="618" y="768"/>
                  </a:lnTo>
                  <a:lnTo>
                    <a:pt x="618" y="762"/>
                  </a:lnTo>
                  <a:lnTo>
                    <a:pt x="624" y="756"/>
                  </a:lnTo>
                  <a:lnTo>
                    <a:pt x="618" y="750"/>
                  </a:lnTo>
                  <a:lnTo>
                    <a:pt x="618" y="744"/>
                  </a:lnTo>
                  <a:lnTo>
                    <a:pt x="600" y="738"/>
                  </a:lnTo>
                  <a:lnTo>
                    <a:pt x="558" y="744"/>
                  </a:lnTo>
                  <a:lnTo>
                    <a:pt x="552" y="732"/>
                  </a:lnTo>
                  <a:lnTo>
                    <a:pt x="546" y="720"/>
                  </a:lnTo>
                  <a:lnTo>
                    <a:pt x="564" y="702"/>
                  </a:lnTo>
                  <a:lnTo>
                    <a:pt x="570" y="684"/>
                  </a:lnTo>
                  <a:lnTo>
                    <a:pt x="564" y="648"/>
                  </a:lnTo>
                  <a:lnTo>
                    <a:pt x="534" y="624"/>
                  </a:lnTo>
                  <a:lnTo>
                    <a:pt x="504" y="612"/>
                  </a:lnTo>
                  <a:lnTo>
                    <a:pt x="498" y="606"/>
                  </a:lnTo>
                  <a:lnTo>
                    <a:pt x="492" y="600"/>
                  </a:lnTo>
                  <a:lnTo>
                    <a:pt x="486" y="606"/>
                  </a:lnTo>
                  <a:lnTo>
                    <a:pt x="480" y="558"/>
                  </a:lnTo>
                  <a:lnTo>
                    <a:pt x="462" y="546"/>
                  </a:lnTo>
                  <a:lnTo>
                    <a:pt x="408" y="540"/>
                  </a:lnTo>
                  <a:lnTo>
                    <a:pt x="408" y="546"/>
                  </a:lnTo>
                  <a:lnTo>
                    <a:pt x="408" y="558"/>
                  </a:lnTo>
                  <a:lnTo>
                    <a:pt x="408" y="564"/>
                  </a:lnTo>
                  <a:lnTo>
                    <a:pt x="408" y="570"/>
                  </a:lnTo>
                  <a:lnTo>
                    <a:pt x="414" y="582"/>
                  </a:lnTo>
                  <a:lnTo>
                    <a:pt x="408" y="594"/>
                  </a:lnTo>
                  <a:lnTo>
                    <a:pt x="414" y="594"/>
                  </a:lnTo>
                  <a:lnTo>
                    <a:pt x="408" y="600"/>
                  </a:lnTo>
                  <a:lnTo>
                    <a:pt x="348" y="600"/>
                  </a:lnTo>
                  <a:lnTo>
                    <a:pt x="324" y="600"/>
                  </a:lnTo>
                  <a:lnTo>
                    <a:pt x="324" y="612"/>
                  </a:lnTo>
                  <a:lnTo>
                    <a:pt x="306" y="618"/>
                  </a:lnTo>
                  <a:lnTo>
                    <a:pt x="312" y="618"/>
                  </a:lnTo>
                  <a:lnTo>
                    <a:pt x="294" y="588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76"/>
                  </a:lnTo>
                  <a:lnTo>
                    <a:pt x="240" y="582"/>
                  </a:lnTo>
                  <a:lnTo>
                    <a:pt x="234" y="582"/>
                  </a:lnTo>
                  <a:lnTo>
                    <a:pt x="228" y="588"/>
                  </a:lnTo>
                  <a:lnTo>
                    <a:pt x="222" y="588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8" y="600"/>
                  </a:lnTo>
                  <a:lnTo>
                    <a:pt x="192" y="612"/>
                  </a:lnTo>
                  <a:lnTo>
                    <a:pt x="192" y="618"/>
                  </a:lnTo>
                  <a:lnTo>
                    <a:pt x="198" y="624"/>
                  </a:lnTo>
                  <a:lnTo>
                    <a:pt x="192" y="624"/>
                  </a:lnTo>
                  <a:lnTo>
                    <a:pt x="192" y="630"/>
                  </a:lnTo>
                  <a:lnTo>
                    <a:pt x="192" y="642"/>
                  </a:lnTo>
                  <a:lnTo>
                    <a:pt x="180" y="648"/>
                  </a:lnTo>
                  <a:lnTo>
                    <a:pt x="174" y="654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6"/>
                  </a:lnTo>
                  <a:lnTo>
                    <a:pt x="156" y="672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90"/>
                  </a:lnTo>
                  <a:lnTo>
                    <a:pt x="132" y="690"/>
                  </a:lnTo>
                  <a:lnTo>
                    <a:pt x="126" y="702"/>
                  </a:lnTo>
                  <a:lnTo>
                    <a:pt x="132" y="708"/>
                  </a:lnTo>
                  <a:lnTo>
                    <a:pt x="126" y="708"/>
                  </a:lnTo>
                  <a:lnTo>
                    <a:pt x="120" y="708"/>
                  </a:lnTo>
                  <a:lnTo>
                    <a:pt x="114" y="708"/>
                  </a:lnTo>
                  <a:lnTo>
                    <a:pt x="108" y="708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78" y="720"/>
                  </a:lnTo>
                  <a:lnTo>
                    <a:pt x="72" y="720"/>
                  </a:lnTo>
                  <a:lnTo>
                    <a:pt x="66" y="720"/>
                  </a:lnTo>
                  <a:lnTo>
                    <a:pt x="54" y="732"/>
                  </a:lnTo>
                  <a:lnTo>
                    <a:pt x="48" y="702"/>
                  </a:lnTo>
                  <a:lnTo>
                    <a:pt x="36" y="666"/>
                  </a:lnTo>
                  <a:lnTo>
                    <a:pt x="0" y="660"/>
                  </a:lnTo>
                  <a:lnTo>
                    <a:pt x="6" y="660"/>
                  </a:lnTo>
                  <a:lnTo>
                    <a:pt x="6" y="654"/>
                  </a:lnTo>
                  <a:lnTo>
                    <a:pt x="6" y="648"/>
                  </a:lnTo>
                  <a:lnTo>
                    <a:pt x="6" y="642"/>
                  </a:lnTo>
                  <a:lnTo>
                    <a:pt x="6" y="624"/>
                  </a:lnTo>
                  <a:lnTo>
                    <a:pt x="6" y="612"/>
                  </a:lnTo>
                  <a:lnTo>
                    <a:pt x="6" y="606"/>
                  </a:lnTo>
                  <a:lnTo>
                    <a:pt x="12" y="612"/>
                  </a:lnTo>
                  <a:lnTo>
                    <a:pt x="18" y="606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30" y="594"/>
                  </a:lnTo>
                  <a:lnTo>
                    <a:pt x="30" y="588"/>
                  </a:lnTo>
                  <a:lnTo>
                    <a:pt x="30" y="582"/>
                  </a:lnTo>
                  <a:lnTo>
                    <a:pt x="24" y="576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18" y="558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36" y="528"/>
                  </a:lnTo>
                  <a:lnTo>
                    <a:pt x="30" y="522"/>
                  </a:lnTo>
                  <a:lnTo>
                    <a:pt x="24" y="522"/>
                  </a:lnTo>
                  <a:lnTo>
                    <a:pt x="18" y="510"/>
                  </a:lnTo>
                  <a:lnTo>
                    <a:pt x="12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8" y="474"/>
                  </a:lnTo>
                  <a:lnTo>
                    <a:pt x="12" y="468"/>
                  </a:lnTo>
                  <a:lnTo>
                    <a:pt x="12" y="462"/>
                  </a:lnTo>
                  <a:lnTo>
                    <a:pt x="18" y="456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0" y="420"/>
                  </a:lnTo>
                  <a:lnTo>
                    <a:pt x="30" y="414"/>
                  </a:lnTo>
                  <a:lnTo>
                    <a:pt x="48" y="414"/>
                  </a:lnTo>
                  <a:lnTo>
                    <a:pt x="54" y="408"/>
                  </a:lnTo>
                  <a:lnTo>
                    <a:pt x="60" y="402"/>
                  </a:lnTo>
                  <a:lnTo>
                    <a:pt x="66" y="402"/>
                  </a:lnTo>
                  <a:lnTo>
                    <a:pt x="72" y="402"/>
                  </a:lnTo>
                  <a:lnTo>
                    <a:pt x="78" y="408"/>
                  </a:lnTo>
                  <a:lnTo>
                    <a:pt x="84" y="396"/>
                  </a:lnTo>
                  <a:lnTo>
                    <a:pt x="90" y="390"/>
                  </a:lnTo>
                  <a:lnTo>
                    <a:pt x="90" y="378"/>
                  </a:lnTo>
                  <a:lnTo>
                    <a:pt x="96" y="372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8" y="354"/>
                  </a:lnTo>
                  <a:lnTo>
                    <a:pt x="114" y="348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32" y="336"/>
                  </a:lnTo>
                  <a:lnTo>
                    <a:pt x="132" y="330"/>
                  </a:lnTo>
                  <a:lnTo>
                    <a:pt x="138" y="324"/>
                  </a:lnTo>
                  <a:lnTo>
                    <a:pt x="138" y="318"/>
                  </a:lnTo>
                  <a:lnTo>
                    <a:pt x="144" y="306"/>
                  </a:lnTo>
                  <a:lnTo>
                    <a:pt x="156" y="306"/>
                  </a:lnTo>
                  <a:lnTo>
                    <a:pt x="186" y="300"/>
                  </a:lnTo>
                  <a:lnTo>
                    <a:pt x="198" y="300"/>
                  </a:lnTo>
                  <a:lnTo>
                    <a:pt x="210" y="300"/>
                  </a:lnTo>
                  <a:lnTo>
                    <a:pt x="222" y="300"/>
                  </a:lnTo>
                  <a:lnTo>
                    <a:pt x="246" y="300"/>
                  </a:lnTo>
                  <a:lnTo>
                    <a:pt x="264" y="312"/>
                  </a:lnTo>
                  <a:lnTo>
                    <a:pt x="270" y="312"/>
                  </a:lnTo>
                  <a:lnTo>
                    <a:pt x="282" y="306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300" y="306"/>
                  </a:lnTo>
                  <a:lnTo>
                    <a:pt x="312" y="306"/>
                  </a:lnTo>
                  <a:lnTo>
                    <a:pt x="318" y="300"/>
                  </a:lnTo>
                  <a:lnTo>
                    <a:pt x="324" y="300"/>
                  </a:lnTo>
                  <a:lnTo>
                    <a:pt x="330" y="294"/>
                  </a:lnTo>
                  <a:lnTo>
                    <a:pt x="336" y="288"/>
                  </a:lnTo>
                  <a:lnTo>
                    <a:pt x="354" y="288"/>
                  </a:lnTo>
                  <a:lnTo>
                    <a:pt x="360" y="288"/>
                  </a:lnTo>
                  <a:lnTo>
                    <a:pt x="366" y="282"/>
                  </a:lnTo>
                  <a:lnTo>
                    <a:pt x="372" y="282"/>
                  </a:lnTo>
                  <a:lnTo>
                    <a:pt x="378" y="282"/>
                  </a:lnTo>
                  <a:lnTo>
                    <a:pt x="384" y="276"/>
                  </a:lnTo>
                  <a:lnTo>
                    <a:pt x="384" y="270"/>
                  </a:lnTo>
                  <a:lnTo>
                    <a:pt x="390" y="264"/>
                  </a:lnTo>
                  <a:lnTo>
                    <a:pt x="402" y="258"/>
                  </a:lnTo>
                  <a:lnTo>
                    <a:pt x="402" y="252"/>
                  </a:lnTo>
                  <a:lnTo>
                    <a:pt x="402" y="246"/>
                  </a:lnTo>
                  <a:lnTo>
                    <a:pt x="408" y="234"/>
                  </a:lnTo>
                  <a:lnTo>
                    <a:pt x="414" y="234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14" y="216"/>
                  </a:lnTo>
                  <a:lnTo>
                    <a:pt x="414" y="210"/>
                  </a:lnTo>
                  <a:lnTo>
                    <a:pt x="420" y="210"/>
                  </a:lnTo>
                  <a:lnTo>
                    <a:pt x="414" y="198"/>
                  </a:lnTo>
                  <a:lnTo>
                    <a:pt x="414" y="192"/>
                  </a:lnTo>
                  <a:lnTo>
                    <a:pt x="420" y="192"/>
                  </a:lnTo>
                  <a:lnTo>
                    <a:pt x="420" y="186"/>
                  </a:lnTo>
                  <a:lnTo>
                    <a:pt x="420" y="174"/>
                  </a:lnTo>
                  <a:lnTo>
                    <a:pt x="420" y="168"/>
                  </a:lnTo>
                  <a:lnTo>
                    <a:pt x="426" y="162"/>
                  </a:lnTo>
                  <a:lnTo>
                    <a:pt x="432" y="156"/>
                  </a:lnTo>
                  <a:lnTo>
                    <a:pt x="438" y="144"/>
                  </a:lnTo>
                  <a:lnTo>
                    <a:pt x="444" y="144"/>
                  </a:lnTo>
                  <a:lnTo>
                    <a:pt x="450" y="138"/>
                  </a:lnTo>
                  <a:lnTo>
                    <a:pt x="456" y="138"/>
                  </a:lnTo>
                  <a:lnTo>
                    <a:pt x="462" y="132"/>
                  </a:lnTo>
                  <a:lnTo>
                    <a:pt x="462" y="126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0"/>
                  </a:lnTo>
                  <a:lnTo>
                    <a:pt x="486" y="108"/>
                  </a:lnTo>
                  <a:lnTo>
                    <a:pt x="492" y="108"/>
                  </a:lnTo>
                  <a:lnTo>
                    <a:pt x="498" y="102"/>
                  </a:lnTo>
                  <a:lnTo>
                    <a:pt x="504" y="96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40" y="102"/>
                  </a:lnTo>
                  <a:lnTo>
                    <a:pt x="552" y="108"/>
                  </a:lnTo>
                  <a:lnTo>
                    <a:pt x="582" y="102"/>
                  </a:lnTo>
                  <a:lnTo>
                    <a:pt x="594" y="126"/>
                  </a:lnTo>
                  <a:lnTo>
                    <a:pt x="594" y="144"/>
                  </a:lnTo>
                  <a:lnTo>
                    <a:pt x="588" y="156"/>
                  </a:lnTo>
                  <a:lnTo>
                    <a:pt x="588" y="168"/>
                  </a:lnTo>
                  <a:lnTo>
                    <a:pt x="582" y="180"/>
                  </a:lnTo>
                  <a:lnTo>
                    <a:pt x="570" y="192"/>
                  </a:lnTo>
                  <a:lnTo>
                    <a:pt x="594" y="192"/>
                  </a:lnTo>
                  <a:lnTo>
                    <a:pt x="618" y="198"/>
                  </a:lnTo>
                  <a:lnTo>
                    <a:pt x="642" y="210"/>
                  </a:lnTo>
                  <a:lnTo>
                    <a:pt x="660" y="234"/>
                  </a:lnTo>
                  <a:lnTo>
                    <a:pt x="678" y="246"/>
                  </a:lnTo>
                  <a:lnTo>
                    <a:pt x="684" y="252"/>
                  </a:lnTo>
                  <a:lnTo>
                    <a:pt x="702" y="252"/>
                  </a:lnTo>
                  <a:lnTo>
                    <a:pt x="732" y="234"/>
                  </a:lnTo>
                  <a:lnTo>
                    <a:pt x="732" y="222"/>
                  </a:lnTo>
                  <a:lnTo>
                    <a:pt x="720" y="216"/>
                  </a:lnTo>
                  <a:lnTo>
                    <a:pt x="714" y="198"/>
                  </a:lnTo>
                  <a:lnTo>
                    <a:pt x="714" y="174"/>
                  </a:lnTo>
                  <a:lnTo>
                    <a:pt x="720" y="162"/>
                  </a:lnTo>
                  <a:lnTo>
                    <a:pt x="726" y="162"/>
                  </a:lnTo>
                  <a:lnTo>
                    <a:pt x="732" y="156"/>
                  </a:lnTo>
                  <a:lnTo>
                    <a:pt x="744" y="150"/>
                  </a:lnTo>
                  <a:lnTo>
                    <a:pt x="774" y="162"/>
                  </a:lnTo>
                  <a:lnTo>
                    <a:pt x="786" y="162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16" y="150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2" y="132"/>
                  </a:lnTo>
                  <a:lnTo>
                    <a:pt x="822" y="114"/>
                  </a:lnTo>
                  <a:lnTo>
                    <a:pt x="828" y="108"/>
                  </a:lnTo>
                  <a:lnTo>
                    <a:pt x="834" y="96"/>
                  </a:lnTo>
                  <a:lnTo>
                    <a:pt x="846" y="96"/>
                  </a:lnTo>
                  <a:lnTo>
                    <a:pt x="858" y="90"/>
                  </a:lnTo>
                  <a:lnTo>
                    <a:pt x="870" y="84"/>
                  </a:lnTo>
                  <a:lnTo>
                    <a:pt x="888" y="84"/>
                  </a:lnTo>
                  <a:lnTo>
                    <a:pt x="894" y="90"/>
                  </a:lnTo>
                  <a:lnTo>
                    <a:pt x="894" y="102"/>
                  </a:lnTo>
                  <a:lnTo>
                    <a:pt x="900" y="102"/>
                  </a:lnTo>
                  <a:lnTo>
                    <a:pt x="906" y="114"/>
                  </a:lnTo>
                  <a:lnTo>
                    <a:pt x="930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54" y="138"/>
                  </a:lnTo>
                  <a:lnTo>
                    <a:pt x="966" y="144"/>
                  </a:lnTo>
                  <a:lnTo>
                    <a:pt x="966" y="150"/>
                  </a:lnTo>
                  <a:lnTo>
                    <a:pt x="972" y="150"/>
                  </a:lnTo>
                  <a:lnTo>
                    <a:pt x="978" y="150"/>
                  </a:lnTo>
                  <a:lnTo>
                    <a:pt x="978" y="144"/>
                  </a:lnTo>
                  <a:lnTo>
                    <a:pt x="984" y="144"/>
                  </a:lnTo>
                  <a:lnTo>
                    <a:pt x="990" y="138"/>
                  </a:lnTo>
                  <a:lnTo>
                    <a:pt x="996" y="138"/>
                  </a:lnTo>
                  <a:lnTo>
                    <a:pt x="1002" y="138"/>
                  </a:lnTo>
                  <a:lnTo>
                    <a:pt x="1008" y="138"/>
                  </a:lnTo>
                  <a:lnTo>
                    <a:pt x="1026" y="132"/>
                  </a:lnTo>
                  <a:lnTo>
                    <a:pt x="1044" y="126"/>
                  </a:lnTo>
                  <a:lnTo>
                    <a:pt x="1056" y="120"/>
                  </a:lnTo>
                  <a:lnTo>
                    <a:pt x="1062" y="108"/>
                  </a:lnTo>
                  <a:lnTo>
                    <a:pt x="1056" y="102"/>
                  </a:lnTo>
                  <a:lnTo>
                    <a:pt x="1062" y="96"/>
                  </a:lnTo>
                  <a:lnTo>
                    <a:pt x="1074" y="90"/>
                  </a:lnTo>
                  <a:lnTo>
                    <a:pt x="1080" y="84"/>
                  </a:lnTo>
                  <a:lnTo>
                    <a:pt x="1128" y="84"/>
                  </a:lnTo>
                  <a:lnTo>
                    <a:pt x="1134" y="84"/>
                  </a:lnTo>
                  <a:lnTo>
                    <a:pt x="1140" y="78"/>
                  </a:lnTo>
                  <a:lnTo>
                    <a:pt x="1152" y="72"/>
                  </a:lnTo>
                  <a:lnTo>
                    <a:pt x="1164" y="66"/>
                  </a:lnTo>
                  <a:lnTo>
                    <a:pt x="1170" y="60"/>
                  </a:lnTo>
                  <a:lnTo>
                    <a:pt x="1188" y="48"/>
                  </a:lnTo>
                  <a:lnTo>
                    <a:pt x="1200" y="36"/>
                  </a:lnTo>
                  <a:lnTo>
                    <a:pt x="1218" y="24"/>
                  </a:lnTo>
                  <a:lnTo>
                    <a:pt x="1248" y="24"/>
                  </a:lnTo>
                  <a:lnTo>
                    <a:pt x="1272" y="24"/>
                  </a:lnTo>
                  <a:lnTo>
                    <a:pt x="1284" y="12"/>
                  </a:lnTo>
                  <a:lnTo>
                    <a:pt x="1302" y="0"/>
                  </a:lnTo>
                  <a:lnTo>
                    <a:pt x="1314" y="0"/>
                  </a:lnTo>
                  <a:lnTo>
                    <a:pt x="1326" y="18"/>
                  </a:lnTo>
                  <a:lnTo>
                    <a:pt x="1338" y="30"/>
                  </a:lnTo>
                  <a:lnTo>
                    <a:pt x="1338" y="54"/>
                  </a:lnTo>
                  <a:lnTo>
                    <a:pt x="1332" y="72"/>
                  </a:lnTo>
                  <a:lnTo>
                    <a:pt x="1326" y="72"/>
                  </a:lnTo>
                  <a:lnTo>
                    <a:pt x="1326" y="78"/>
                  </a:lnTo>
                  <a:lnTo>
                    <a:pt x="1326" y="102"/>
                  </a:lnTo>
                  <a:lnTo>
                    <a:pt x="1332" y="102"/>
                  </a:lnTo>
                  <a:lnTo>
                    <a:pt x="1332" y="108"/>
                  </a:lnTo>
                  <a:lnTo>
                    <a:pt x="1344" y="114"/>
                  </a:lnTo>
                  <a:lnTo>
                    <a:pt x="1350" y="114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404" y="132"/>
                  </a:lnTo>
                  <a:lnTo>
                    <a:pt x="1404" y="138"/>
                  </a:lnTo>
                  <a:lnTo>
                    <a:pt x="1410" y="150"/>
                  </a:lnTo>
                  <a:lnTo>
                    <a:pt x="1416" y="162"/>
                  </a:lnTo>
                  <a:lnTo>
                    <a:pt x="1428" y="168"/>
                  </a:lnTo>
                  <a:lnTo>
                    <a:pt x="1440" y="180"/>
                  </a:lnTo>
                  <a:lnTo>
                    <a:pt x="1476" y="174"/>
                  </a:lnTo>
                  <a:lnTo>
                    <a:pt x="1494" y="174"/>
                  </a:lnTo>
                  <a:lnTo>
                    <a:pt x="1512" y="192"/>
                  </a:lnTo>
                  <a:lnTo>
                    <a:pt x="1518" y="204"/>
                  </a:lnTo>
                  <a:lnTo>
                    <a:pt x="1530" y="216"/>
                  </a:lnTo>
                  <a:lnTo>
                    <a:pt x="1548" y="228"/>
                  </a:lnTo>
                  <a:lnTo>
                    <a:pt x="1548" y="234"/>
                  </a:lnTo>
                  <a:lnTo>
                    <a:pt x="1542" y="246"/>
                  </a:lnTo>
                  <a:lnTo>
                    <a:pt x="1560" y="246"/>
                  </a:lnTo>
                  <a:lnTo>
                    <a:pt x="1560" y="252"/>
                  </a:lnTo>
                  <a:lnTo>
                    <a:pt x="1566" y="258"/>
                  </a:lnTo>
                  <a:lnTo>
                    <a:pt x="1578" y="270"/>
                  </a:lnTo>
                  <a:lnTo>
                    <a:pt x="1596" y="270"/>
                  </a:lnTo>
                  <a:lnTo>
                    <a:pt x="1602" y="288"/>
                  </a:lnTo>
                  <a:lnTo>
                    <a:pt x="1608" y="306"/>
                  </a:lnTo>
                  <a:lnTo>
                    <a:pt x="1608" y="318"/>
                  </a:lnTo>
                  <a:lnTo>
                    <a:pt x="1608" y="324"/>
                  </a:lnTo>
                  <a:lnTo>
                    <a:pt x="1614" y="330"/>
                  </a:lnTo>
                  <a:lnTo>
                    <a:pt x="1614" y="336"/>
                  </a:lnTo>
                  <a:lnTo>
                    <a:pt x="1614" y="342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08" y="390"/>
                  </a:lnTo>
                  <a:lnTo>
                    <a:pt x="1602" y="390"/>
                  </a:lnTo>
                  <a:lnTo>
                    <a:pt x="1602" y="396"/>
                  </a:lnTo>
                  <a:lnTo>
                    <a:pt x="1584" y="420"/>
                  </a:lnTo>
                  <a:lnTo>
                    <a:pt x="1584" y="426"/>
                  </a:lnTo>
                  <a:lnTo>
                    <a:pt x="1602" y="474"/>
                  </a:lnTo>
                  <a:lnTo>
                    <a:pt x="1608" y="480"/>
                  </a:lnTo>
                  <a:lnTo>
                    <a:pt x="1608" y="486"/>
                  </a:lnTo>
                  <a:lnTo>
                    <a:pt x="1614" y="486"/>
                  </a:lnTo>
                  <a:lnTo>
                    <a:pt x="1608" y="504"/>
                  </a:lnTo>
                  <a:lnTo>
                    <a:pt x="1572" y="504"/>
                  </a:lnTo>
                  <a:lnTo>
                    <a:pt x="1560" y="510"/>
                  </a:lnTo>
                  <a:lnTo>
                    <a:pt x="1554" y="522"/>
                  </a:lnTo>
                  <a:lnTo>
                    <a:pt x="1560" y="552"/>
                  </a:lnTo>
                  <a:lnTo>
                    <a:pt x="1566" y="552"/>
                  </a:lnTo>
                  <a:lnTo>
                    <a:pt x="1566" y="558"/>
                  </a:lnTo>
                  <a:lnTo>
                    <a:pt x="1572" y="558"/>
                  </a:lnTo>
                  <a:lnTo>
                    <a:pt x="1578" y="558"/>
                  </a:lnTo>
                  <a:lnTo>
                    <a:pt x="1578" y="552"/>
                  </a:lnTo>
                  <a:lnTo>
                    <a:pt x="1584" y="552"/>
                  </a:lnTo>
                  <a:lnTo>
                    <a:pt x="1590" y="552"/>
                  </a:lnTo>
                  <a:lnTo>
                    <a:pt x="1590" y="546"/>
                  </a:lnTo>
                  <a:lnTo>
                    <a:pt x="1596" y="546"/>
                  </a:lnTo>
                  <a:lnTo>
                    <a:pt x="1602" y="552"/>
                  </a:lnTo>
                  <a:lnTo>
                    <a:pt x="1602" y="546"/>
                  </a:lnTo>
                  <a:lnTo>
                    <a:pt x="1608" y="546"/>
                  </a:lnTo>
                  <a:lnTo>
                    <a:pt x="1608" y="552"/>
                  </a:lnTo>
                  <a:lnTo>
                    <a:pt x="1614" y="552"/>
                  </a:lnTo>
                  <a:lnTo>
                    <a:pt x="1614" y="546"/>
                  </a:lnTo>
                  <a:lnTo>
                    <a:pt x="1620" y="552"/>
                  </a:lnTo>
                  <a:lnTo>
                    <a:pt x="1626" y="552"/>
                  </a:lnTo>
                  <a:lnTo>
                    <a:pt x="1626" y="558"/>
                  </a:lnTo>
                  <a:lnTo>
                    <a:pt x="1632" y="558"/>
                  </a:lnTo>
                  <a:lnTo>
                    <a:pt x="1638" y="558"/>
                  </a:lnTo>
                  <a:lnTo>
                    <a:pt x="1644" y="558"/>
                  </a:lnTo>
                  <a:lnTo>
                    <a:pt x="1650" y="558"/>
                  </a:lnTo>
                  <a:lnTo>
                    <a:pt x="1650" y="564"/>
                  </a:lnTo>
                  <a:lnTo>
                    <a:pt x="1656" y="564"/>
                  </a:lnTo>
                  <a:lnTo>
                    <a:pt x="1662" y="564"/>
                  </a:lnTo>
                  <a:lnTo>
                    <a:pt x="1668" y="564"/>
                  </a:lnTo>
                  <a:lnTo>
                    <a:pt x="1668" y="570"/>
                  </a:lnTo>
                  <a:lnTo>
                    <a:pt x="1674" y="570"/>
                  </a:lnTo>
                  <a:lnTo>
                    <a:pt x="1680" y="570"/>
                  </a:lnTo>
                  <a:lnTo>
                    <a:pt x="1686" y="576"/>
                  </a:lnTo>
                  <a:lnTo>
                    <a:pt x="1686" y="582"/>
                  </a:lnTo>
                  <a:lnTo>
                    <a:pt x="1710" y="588"/>
                  </a:lnTo>
                  <a:lnTo>
                    <a:pt x="1710" y="594"/>
                  </a:lnTo>
                  <a:lnTo>
                    <a:pt x="1704" y="600"/>
                  </a:lnTo>
                  <a:lnTo>
                    <a:pt x="1710" y="624"/>
                  </a:lnTo>
                  <a:lnTo>
                    <a:pt x="1698" y="672"/>
                  </a:lnTo>
                  <a:lnTo>
                    <a:pt x="1704" y="678"/>
                  </a:lnTo>
                  <a:lnTo>
                    <a:pt x="1716" y="684"/>
                  </a:lnTo>
                  <a:lnTo>
                    <a:pt x="1716" y="678"/>
                  </a:lnTo>
                  <a:lnTo>
                    <a:pt x="1716" y="684"/>
                  </a:lnTo>
                  <a:lnTo>
                    <a:pt x="1728" y="684"/>
                  </a:lnTo>
                  <a:lnTo>
                    <a:pt x="1728" y="690"/>
                  </a:lnTo>
                  <a:lnTo>
                    <a:pt x="1734" y="696"/>
                  </a:lnTo>
                  <a:lnTo>
                    <a:pt x="1734" y="702"/>
                  </a:lnTo>
                  <a:lnTo>
                    <a:pt x="1740" y="708"/>
                  </a:lnTo>
                  <a:lnTo>
                    <a:pt x="1740" y="714"/>
                  </a:lnTo>
                  <a:lnTo>
                    <a:pt x="1710" y="714"/>
                  </a:lnTo>
                  <a:lnTo>
                    <a:pt x="1710" y="756"/>
                  </a:lnTo>
                  <a:lnTo>
                    <a:pt x="1704" y="762"/>
                  </a:lnTo>
                  <a:lnTo>
                    <a:pt x="1698" y="762"/>
                  </a:lnTo>
                  <a:lnTo>
                    <a:pt x="1698" y="768"/>
                  </a:lnTo>
                  <a:lnTo>
                    <a:pt x="1698" y="774"/>
                  </a:lnTo>
                  <a:lnTo>
                    <a:pt x="1692" y="780"/>
                  </a:lnTo>
                  <a:lnTo>
                    <a:pt x="1692" y="786"/>
                  </a:lnTo>
                  <a:lnTo>
                    <a:pt x="1686" y="786"/>
                  </a:lnTo>
                  <a:lnTo>
                    <a:pt x="1668" y="798"/>
                  </a:lnTo>
                  <a:lnTo>
                    <a:pt x="1662" y="810"/>
                  </a:lnTo>
                  <a:lnTo>
                    <a:pt x="1650" y="810"/>
                  </a:lnTo>
                  <a:lnTo>
                    <a:pt x="1644" y="816"/>
                  </a:lnTo>
                  <a:lnTo>
                    <a:pt x="1638" y="816"/>
                  </a:lnTo>
                  <a:lnTo>
                    <a:pt x="1626" y="852"/>
                  </a:lnTo>
                  <a:lnTo>
                    <a:pt x="1620" y="888"/>
                  </a:lnTo>
                  <a:lnTo>
                    <a:pt x="1626" y="888"/>
                  </a:lnTo>
                  <a:lnTo>
                    <a:pt x="1638" y="912"/>
                  </a:lnTo>
                  <a:lnTo>
                    <a:pt x="1644" y="918"/>
                  </a:lnTo>
                  <a:lnTo>
                    <a:pt x="1650" y="966"/>
                  </a:lnTo>
                  <a:lnTo>
                    <a:pt x="1626" y="972"/>
                  </a:lnTo>
                  <a:lnTo>
                    <a:pt x="1608" y="978"/>
                  </a:lnTo>
                  <a:lnTo>
                    <a:pt x="1614" y="984"/>
                  </a:lnTo>
                  <a:lnTo>
                    <a:pt x="1620" y="984"/>
                  </a:lnTo>
                  <a:lnTo>
                    <a:pt x="1620" y="1020"/>
                  </a:lnTo>
                  <a:lnTo>
                    <a:pt x="1614" y="1038"/>
                  </a:lnTo>
                  <a:lnTo>
                    <a:pt x="1620" y="1044"/>
                  </a:lnTo>
                  <a:lnTo>
                    <a:pt x="1626" y="1056"/>
                  </a:lnTo>
                  <a:lnTo>
                    <a:pt x="1626" y="1074"/>
                  </a:lnTo>
                  <a:lnTo>
                    <a:pt x="1620" y="1080"/>
                  </a:lnTo>
                  <a:lnTo>
                    <a:pt x="1620" y="1104"/>
                  </a:lnTo>
                  <a:lnTo>
                    <a:pt x="1620" y="1110"/>
                  </a:lnTo>
                  <a:lnTo>
                    <a:pt x="1614" y="1116"/>
                  </a:lnTo>
                  <a:lnTo>
                    <a:pt x="1608" y="1140"/>
                  </a:lnTo>
                  <a:lnTo>
                    <a:pt x="1602" y="1146"/>
                  </a:lnTo>
                  <a:lnTo>
                    <a:pt x="1602" y="1164"/>
                  </a:lnTo>
                  <a:lnTo>
                    <a:pt x="1596" y="1170"/>
                  </a:lnTo>
                  <a:lnTo>
                    <a:pt x="1590" y="1164"/>
                  </a:lnTo>
                  <a:lnTo>
                    <a:pt x="1584" y="1164"/>
                  </a:lnTo>
                  <a:lnTo>
                    <a:pt x="1578" y="1164"/>
                  </a:lnTo>
                  <a:lnTo>
                    <a:pt x="1578" y="1188"/>
                  </a:lnTo>
                  <a:lnTo>
                    <a:pt x="1584" y="1194"/>
                  </a:lnTo>
                  <a:lnTo>
                    <a:pt x="1590" y="1194"/>
                  </a:lnTo>
                  <a:lnTo>
                    <a:pt x="1590" y="1212"/>
                  </a:lnTo>
                  <a:lnTo>
                    <a:pt x="1584" y="1212"/>
                  </a:lnTo>
                  <a:lnTo>
                    <a:pt x="1584" y="1224"/>
                  </a:lnTo>
                  <a:lnTo>
                    <a:pt x="1578" y="1224"/>
                  </a:lnTo>
                  <a:lnTo>
                    <a:pt x="1578" y="1236"/>
                  </a:lnTo>
                  <a:lnTo>
                    <a:pt x="1584" y="1254"/>
                  </a:lnTo>
                  <a:lnTo>
                    <a:pt x="1584" y="1260"/>
                  </a:lnTo>
                  <a:lnTo>
                    <a:pt x="1590" y="1260"/>
                  </a:lnTo>
                  <a:lnTo>
                    <a:pt x="1590" y="1266"/>
                  </a:lnTo>
                  <a:lnTo>
                    <a:pt x="1596" y="1284"/>
                  </a:lnTo>
                  <a:lnTo>
                    <a:pt x="1602" y="1278"/>
                  </a:lnTo>
                  <a:lnTo>
                    <a:pt x="1608" y="1284"/>
                  </a:lnTo>
                  <a:lnTo>
                    <a:pt x="1632" y="1350"/>
                  </a:lnTo>
                  <a:lnTo>
                    <a:pt x="1638" y="1356"/>
                  </a:lnTo>
                  <a:lnTo>
                    <a:pt x="1644" y="1356"/>
                  </a:lnTo>
                  <a:lnTo>
                    <a:pt x="1650" y="1356"/>
                  </a:lnTo>
                  <a:lnTo>
                    <a:pt x="1656" y="1356"/>
                  </a:lnTo>
                  <a:lnTo>
                    <a:pt x="1662" y="1362"/>
                  </a:lnTo>
                  <a:lnTo>
                    <a:pt x="1668" y="1356"/>
                  </a:lnTo>
                  <a:lnTo>
                    <a:pt x="1668" y="1380"/>
                  </a:lnTo>
                  <a:lnTo>
                    <a:pt x="1662" y="1392"/>
                  </a:lnTo>
                  <a:lnTo>
                    <a:pt x="1656" y="1404"/>
                  </a:lnTo>
                  <a:lnTo>
                    <a:pt x="1656" y="1410"/>
                  </a:lnTo>
                  <a:lnTo>
                    <a:pt x="1656" y="1416"/>
                  </a:lnTo>
                  <a:lnTo>
                    <a:pt x="1650" y="1422"/>
                  </a:lnTo>
                  <a:lnTo>
                    <a:pt x="1650" y="1428"/>
                  </a:lnTo>
                  <a:lnTo>
                    <a:pt x="1644" y="1428"/>
                  </a:lnTo>
                  <a:lnTo>
                    <a:pt x="1644" y="1434"/>
                  </a:lnTo>
                  <a:lnTo>
                    <a:pt x="1638" y="1434"/>
                  </a:lnTo>
                  <a:lnTo>
                    <a:pt x="1638" y="1440"/>
                  </a:lnTo>
                  <a:lnTo>
                    <a:pt x="1632" y="1440"/>
                  </a:lnTo>
                  <a:lnTo>
                    <a:pt x="1638" y="145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8" name="Freeform 13">
              <a:extLst>
                <a:ext uri="{FF2B5EF4-FFF2-40B4-BE49-F238E27FC236}">
                  <a16:creationId xmlns:a16="http://schemas.microsoft.com/office/drawing/2014/main" id="{66308D9B-1739-4227-AAC3-BB866CD1F5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63374" y="2969626"/>
              <a:ext cx="330956" cy="357840"/>
            </a:xfrm>
            <a:custGeom>
              <a:avLst/>
              <a:gdLst>
                <a:gd name="T0" fmla="*/ 11 w 624"/>
                <a:gd name="T1" fmla="*/ 59 h 672"/>
                <a:gd name="T2" fmla="*/ 4 w 624"/>
                <a:gd name="T3" fmla="*/ 58 h 672"/>
                <a:gd name="T4" fmla="*/ 3 w 624"/>
                <a:gd name="T5" fmla="*/ 58 h 672"/>
                <a:gd name="T6" fmla="*/ 2 w 624"/>
                <a:gd name="T7" fmla="*/ 11 h 672"/>
                <a:gd name="T8" fmla="*/ 13 w 624"/>
                <a:gd name="T9" fmla="*/ 11 h 672"/>
                <a:gd name="T10" fmla="*/ 14 w 624"/>
                <a:gd name="T11" fmla="*/ 11 h 672"/>
                <a:gd name="T12" fmla="*/ 15 w 624"/>
                <a:gd name="T13" fmla="*/ 12 h 672"/>
                <a:gd name="T14" fmla="*/ 18 w 624"/>
                <a:gd name="T15" fmla="*/ 14 h 672"/>
                <a:gd name="T16" fmla="*/ 21 w 624"/>
                <a:gd name="T17" fmla="*/ 16 h 672"/>
                <a:gd name="T18" fmla="*/ 22 w 624"/>
                <a:gd name="T19" fmla="*/ 18 h 672"/>
                <a:gd name="T20" fmla="*/ 23 w 624"/>
                <a:gd name="T21" fmla="*/ 19 h 672"/>
                <a:gd name="T22" fmla="*/ 24 w 624"/>
                <a:gd name="T23" fmla="*/ 19 h 672"/>
                <a:gd name="T24" fmla="*/ 26 w 624"/>
                <a:gd name="T25" fmla="*/ 19 h 672"/>
                <a:gd name="T26" fmla="*/ 27 w 624"/>
                <a:gd name="T27" fmla="*/ 18 h 672"/>
                <a:gd name="T28" fmla="*/ 29 w 624"/>
                <a:gd name="T29" fmla="*/ 15 h 672"/>
                <a:gd name="T30" fmla="*/ 30 w 624"/>
                <a:gd name="T31" fmla="*/ 14 h 672"/>
                <a:gd name="T32" fmla="*/ 31 w 624"/>
                <a:gd name="T33" fmla="*/ 12 h 672"/>
                <a:gd name="T34" fmla="*/ 32 w 624"/>
                <a:gd name="T35" fmla="*/ 12 h 672"/>
                <a:gd name="T36" fmla="*/ 33 w 624"/>
                <a:gd name="T37" fmla="*/ 10 h 672"/>
                <a:gd name="T38" fmla="*/ 34 w 624"/>
                <a:gd name="T39" fmla="*/ 8 h 672"/>
                <a:gd name="T40" fmla="*/ 34 w 624"/>
                <a:gd name="T41" fmla="*/ 6 h 672"/>
                <a:gd name="T42" fmla="*/ 35 w 624"/>
                <a:gd name="T43" fmla="*/ 4 h 672"/>
                <a:gd name="T44" fmla="*/ 42 w 624"/>
                <a:gd name="T45" fmla="*/ 3 h 672"/>
                <a:gd name="T46" fmla="*/ 44 w 624"/>
                <a:gd name="T47" fmla="*/ 2 h 672"/>
                <a:gd name="T48" fmla="*/ 46 w 624"/>
                <a:gd name="T49" fmla="*/ 0 h 672"/>
                <a:gd name="T50" fmla="*/ 51 w 624"/>
                <a:gd name="T51" fmla="*/ 3 h 672"/>
                <a:gd name="T52" fmla="*/ 54 w 624"/>
                <a:gd name="T53" fmla="*/ 6 h 672"/>
                <a:gd name="T54" fmla="*/ 54 w 624"/>
                <a:gd name="T55" fmla="*/ 8 h 672"/>
                <a:gd name="T56" fmla="*/ 52 w 624"/>
                <a:gd name="T57" fmla="*/ 9 h 672"/>
                <a:gd name="T58" fmla="*/ 49 w 624"/>
                <a:gd name="T59" fmla="*/ 11 h 672"/>
                <a:gd name="T60" fmla="*/ 48 w 624"/>
                <a:gd name="T61" fmla="*/ 14 h 672"/>
                <a:gd name="T62" fmla="*/ 46 w 624"/>
                <a:gd name="T63" fmla="*/ 22 h 672"/>
                <a:gd name="T64" fmla="*/ 45 w 624"/>
                <a:gd name="T65" fmla="*/ 39 h 672"/>
                <a:gd name="T66" fmla="*/ 43 w 624"/>
                <a:gd name="T67" fmla="*/ 43 h 672"/>
                <a:gd name="T68" fmla="*/ 39 w 624"/>
                <a:gd name="T69" fmla="*/ 50 h 672"/>
                <a:gd name="T70" fmla="*/ 36 w 624"/>
                <a:gd name="T71" fmla="*/ 53 h 672"/>
                <a:gd name="T72" fmla="*/ 32 w 624"/>
                <a:gd name="T73" fmla="*/ 56 h 672"/>
                <a:gd name="T74" fmla="*/ 30 w 624"/>
                <a:gd name="T75" fmla="*/ 58 h 672"/>
                <a:gd name="T76" fmla="*/ 20 w 624"/>
                <a:gd name="T77" fmla="*/ 59 h 672"/>
                <a:gd name="T78" fmla="*/ 15 w 624"/>
                <a:gd name="T79" fmla="*/ 59 h 67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24"/>
                <a:gd name="T121" fmla="*/ 0 h 672"/>
                <a:gd name="T122" fmla="*/ 624 w 624"/>
                <a:gd name="T123" fmla="*/ 672 h 67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24" h="672">
                  <a:moveTo>
                    <a:pt x="168" y="672"/>
                  </a:moveTo>
                  <a:lnTo>
                    <a:pt x="132" y="672"/>
                  </a:lnTo>
                  <a:lnTo>
                    <a:pt x="72" y="666"/>
                  </a:lnTo>
                  <a:lnTo>
                    <a:pt x="42" y="666"/>
                  </a:lnTo>
                  <a:lnTo>
                    <a:pt x="36" y="666"/>
                  </a:lnTo>
                  <a:lnTo>
                    <a:pt x="30" y="660"/>
                  </a:lnTo>
                  <a:lnTo>
                    <a:pt x="0" y="660"/>
                  </a:lnTo>
                  <a:lnTo>
                    <a:pt x="24" y="120"/>
                  </a:lnTo>
                  <a:lnTo>
                    <a:pt x="60" y="120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62" y="120"/>
                  </a:lnTo>
                  <a:lnTo>
                    <a:pt x="168" y="120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10" y="156"/>
                  </a:lnTo>
                  <a:lnTo>
                    <a:pt x="222" y="174"/>
                  </a:lnTo>
                  <a:lnTo>
                    <a:pt x="240" y="186"/>
                  </a:lnTo>
                  <a:lnTo>
                    <a:pt x="252" y="198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216"/>
                  </a:lnTo>
                  <a:lnTo>
                    <a:pt x="270" y="216"/>
                  </a:lnTo>
                  <a:lnTo>
                    <a:pt x="282" y="222"/>
                  </a:lnTo>
                  <a:lnTo>
                    <a:pt x="288" y="222"/>
                  </a:lnTo>
                  <a:lnTo>
                    <a:pt x="294" y="216"/>
                  </a:lnTo>
                  <a:lnTo>
                    <a:pt x="294" y="210"/>
                  </a:lnTo>
                  <a:lnTo>
                    <a:pt x="312" y="204"/>
                  </a:lnTo>
                  <a:lnTo>
                    <a:pt x="330" y="186"/>
                  </a:lnTo>
                  <a:lnTo>
                    <a:pt x="336" y="174"/>
                  </a:lnTo>
                  <a:lnTo>
                    <a:pt x="342" y="162"/>
                  </a:lnTo>
                  <a:lnTo>
                    <a:pt x="342" y="156"/>
                  </a:lnTo>
                  <a:lnTo>
                    <a:pt x="348" y="150"/>
                  </a:lnTo>
                  <a:lnTo>
                    <a:pt x="354" y="144"/>
                  </a:lnTo>
                  <a:lnTo>
                    <a:pt x="360" y="138"/>
                  </a:lnTo>
                  <a:lnTo>
                    <a:pt x="366" y="132"/>
                  </a:lnTo>
                  <a:lnTo>
                    <a:pt x="372" y="114"/>
                  </a:lnTo>
                  <a:lnTo>
                    <a:pt x="378" y="114"/>
                  </a:lnTo>
                  <a:lnTo>
                    <a:pt x="378" y="96"/>
                  </a:lnTo>
                  <a:lnTo>
                    <a:pt x="390" y="96"/>
                  </a:lnTo>
                  <a:lnTo>
                    <a:pt x="396" y="84"/>
                  </a:lnTo>
                  <a:lnTo>
                    <a:pt x="396" y="72"/>
                  </a:lnTo>
                  <a:lnTo>
                    <a:pt x="396" y="54"/>
                  </a:lnTo>
                  <a:lnTo>
                    <a:pt x="408" y="42"/>
                  </a:lnTo>
                  <a:lnTo>
                    <a:pt x="468" y="42"/>
                  </a:lnTo>
                  <a:lnTo>
                    <a:pt x="486" y="36"/>
                  </a:lnTo>
                  <a:lnTo>
                    <a:pt x="492" y="24"/>
                  </a:lnTo>
                  <a:lnTo>
                    <a:pt x="504" y="24"/>
                  </a:lnTo>
                  <a:lnTo>
                    <a:pt x="516" y="6"/>
                  </a:lnTo>
                  <a:lnTo>
                    <a:pt x="528" y="0"/>
                  </a:lnTo>
                  <a:lnTo>
                    <a:pt x="558" y="12"/>
                  </a:lnTo>
                  <a:lnTo>
                    <a:pt x="588" y="36"/>
                  </a:lnTo>
                  <a:lnTo>
                    <a:pt x="600" y="66"/>
                  </a:lnTo>
                  <a:lnTo>
                    <a:pt x="624" y="66"/>
                  </a:lnTo>
                  <a:lnTo>
                    <a:pt x="624" y="90"/>
                  </a:lnTo>
                  <a:lnTo>
                    <a:pt x="618" y="90"/>
                  </a:lnTo>
                  <a:lnTo>
                    <a:pt x="618" y="96"/>
                  </a:lnTo>
                  <a:lnTo>
                    <a:pt x="600" y="102"/>
                  </a:lnTo>
                  <a:lnTo>
                    <a:pt x="588" y="108"/>
                  </a:lnTo>
                  <a:lnTo>
                    <a:pt x="570" y="120"/>
                  </a:lnTo>
                  <a:lnTo>
                    <a:pt x="564" y="138"/>
                  </a:lnTo>
                  <a:lnTo>
                    <a:pt x="558" y="162"/>
                  </a:lnTo>
                  <a:lnTo>
                    <a:pt x="540" y="210"/>
                  </a:lnTo>
                  <a:lnTo>
                    <a:pt x="528" y="252"/>
                  </a:lnTo>
                  <a:lnTo>
                    <a:pt x="528" y="402"/>
                  </a:lnTo>
                  <a:lnTo>
                    <a:pt x="522" y="444"/>
                  </a:lnTo>
                  <a:lnTo>
                    <a:pt x="510" y="468"/>
                  </a:lnTo>
                  <a:lnTo>
                    <a:pt x="498" y="498"/>
                  </a:lnTo>
                  <a:lnTo>
                    <a:pt x="474" y="534"/>
                  </a:lnTo>
                  <a:lnTo>
                    <a:pt x="456" y="570"/>
                  </a:lnTo>
                  <a:lnTo>
                    <a:pt x="444" y="576"/>
                  </a:lnTo>
                  <a:lnTo>
                    <a:pt x="420" y="606"/>
                  </a:lnTo>
                  <a:lnTo>
                    <a:pt x="390" y="624"/>
                  </a:lnTo>
                  <a:lnTo>
                    <a:pt x="372" y="642"/>
                  </a:lnTo>
                  <a:lnTo>
                    <a:pt x="366" y="654"/>
                  </a:lnTo>
                  <a:lnTo>
                    <a:pt x="342" y="660"/>
                  </a:lnTo>
                  <a:lnTo>
                    <a:pt x="300" y="666"/>
                  </a:lnTo>
                  <a:lnTo>
                    <a:pt x="234" y="672"/>
                  </a:lnTo>
                  <a:lnTo>
                    <a:pt x="192" y="672"/>
                  </a:lnTo>
                  <a:lnTo>
                    <a:pt x="168" y="67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9" name="Freeform 14">
              <a:extLst>
                <a:ext uri="{FF2B5EF4-FFF2-40B4-BE49-F238E27FC236}">
                  <a16:creationId xmlns:a16="http://schemas.microsoft.com/office/drawing/2014/main" id="{2EA1E999-9CDF-4391-8BC9-7DE71AF9C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0460" y="2983045"/>
              <a:ext cx="905658" cy="561362"/>
            </a:xfrm>
            <a:custGeom>
              <a:avLst/>
              <a:gdLst>
                <a:gd name="T0" fmla="*/ 31 w 1704"/>
                <a:gd name="T1" fmla="*/ 78 h 1056"/>
                <a:gd name="T2" fmla="*/ 23 w 1704"/>
                <a:gd name="T3" fmla="*/ 78 h 1056"/>
                <a:gd name="T4" fmla="*/ 11 w 1704"/>
                <a:gd name="T5" fmla="*/ 79 h 1056"/>
                <a:gd name="T6" fmla="*/ 1 w 1704"/>
                <a:gd name="T7" fmla="*/ 81 h 1056"/>
                <a:gd name="T8" fmla="*/ 0 w 1704"/>
                <a:gd name="T9" fmla="*/ 62 h 1056"/>
                <a:gd name="T10" fmla="*/ 9 w 1704"/>
                <a:gd name="T11" fmla="*/ 56 h 1056"/>
                <a:gd name="T12" fmla="*/ 27 w 1704"/>
                <a:gd name="T13" fmla="*/ 48 h 1056"/>
                <a:gd name="T14" fmla="*/ 35 w 1704"/>
                <a:gd name="T15" fmla="*/ 20 h 1056"/>
                <a:gd name="T16" fmla="*/ 43 w 1704"/>
                <a:gd name="T17" fmla="*/ 6 h 1056"/>
                <a:gd name="T18" fmla="*/ 47 w 1704"/>
                <a:gd name="T19" fmla="*/ 7 h 1056"/>
                <a:gd name="T20" fmla="*/ 52 w 1704"/>
                <a:gd name="T21" fmla="*/ 0 h 1056"/>
                <a:gd name="T22" fmla="*/ 59 w 1704"/>
                <a:gd name="T23" fmla="*/ 5 h 1056"/>
                <a:gd name="T24" fmla="*/ 63 w 1704"/>
                <a:gd name="T25" fmla="*/ 12 h 1056"/>
                <a:gd name="T26" fmla="*/ 62 w 1704"/>
                <a:gd name="T27" fmla="*/ 15 h 1056"/>
                <a:gd name="T28" fmla="*/ 62 w 1704"/>
                <a:gd name="T29" fmla="*/ 18 h 1056"/>
                <a:gd name="T30" fmla="*/ 70 w 1704"/>
                <a:gd name="T31" fmla="*/ 18 h 1056"/>
                <a:gd name="T32" fmla="*/ 71 w 1704"/>
                <a:gd name="T33" fmla="*/ 14 h 1056"/>
                <a:gd name="T34" fmla="*/ 72 w 1704"/>
                <a:gd name="T35" fmla="*/ 12 h 1056"/>
                <a:gd name="T36" fmla="*/ 78 w 1704"/>
                <a:gd name="T37" fmla="*/ 14 h 1056"/>
                <a:gd name="T38" fmla="*/ 85 w 1704"/>
                <a:gd name="T39" fmla="*/ 21 h 1056"/>
                <a:gd name="T40" fmla="*/ 91 w 1704"/>
                <a:gd name="T41" fmla="*/ 15 h 1056"/>
                <a:gd name="T42" fmla="*/ 93 w 1704"/>
                <a:gd name="T43" fmla="*/ 10 h 1056"/>
                <a:gd name="T44" fmla="*/ 101 w 1704"/>
                <a:gd name="T45" fmla="*/ 14 h 1056"/>
                <a:gd name="T46" fmla="*/ 103 w 1704"/>
                <a:gd name="T47" fmla="*/ 19 h 1056"/>
                <a:gd name="T48" fmla="*/ 115 w 1704"/>
                <a:gd name="T49" fmla="*/ 20 h 1056"/>
                <a:gd name="T50" fmla="*/ 118 w 1704"/>
                <a:gd name="T51" fmla="*/ 23 h 1056"/>
                <a:gd name="T52" fmla="*/ 117 w 1704"/>
                <a:gd name="T53" fmla="*/ 27 h 1056"/>
                <a:gd name="T54" fmla="*/ 111 w 1704"/>
                <a:gd name="T55" fmla="*/ 33 h 1056"/>
                <a:gd name="T56" fmla="*/ 108 w 1704"/>
                <a:gd name="T57" fmla="*/ 36 h 1056"/>
                <a:gd name="T58" fmla="*/ 109 w 1704"/>
                <a:gd name="T59" fmla="*/ 40 h 1056"/>
                <a:gd name="T60" fmla="*/ 111 w 1704"/>
                <a:gd name="T61" fmla="*/ 43 h 1056"/>
                <a:gd name="T62" fmla="*/ 113 w 1704"/>
                <a:gd name="T63" fmla="*/ 50 h 1056"/>
                <a:gd name="T64" fmla="*/ 121 w 1704"/>
                <a:gd name="T65" fmla="*/ 55 h 1056"/>
                <a:gd name="T66" fmla="*/ 132 w 1704"/>
                <a:gd name="T67" fmla="*/ 52 h 1056"/>
                <a:gd name="T68" fmla="*/ 148 w 1704"/>
                <a:gd name="T69" fmla="*/ 58 h 1056"/>
                <a:gd name="T70" fmla="*/ 148 w 1704"/>
                <a:gd name="T71" fmla="*/ 61 h 1056"/>
                <a:gd name="T72" fmla="*/ 148 w 1704"/>
                <a:gd name="T73" fmla="*/ 64 h 1056"/>
                <a:gd name="T74" fmla="*/ 135 w 1704"/>
                <a:gd name="T75" fmla="*/ 61 h 1056"/>
                <a:gd name="T76" fmla="*/ 135 w 1704"/>
                <a:gd name="T77" fmla="*/ 66 h 1056"/>
                <a:gd name="T78" fmla="*/ 137 w 1704"/>
                <a:gd name="T79" fmla="*/ 71 h 1056"/>
                <a:gd name="T80" fmla="*/ 136 w 1704"/>
                <a:gd name="T81" fmla="*/ 79 h 1056"/>
                <a:gd name="T82" fmla="*/ 126 w 1704"/>
                <a:gd name="T83" fmla="*/ 84 h 1056"/>
                <a:gd name="T84" fmla="*/ 121 w 1704"/>
                <a:gd name="T85" fmla="*/ 79 h 1056"/>
                <a:gd name="T86" fmla="*/ 117 w 1704"/>
                <a:gd name="T87" fmla="*/ 75 h 1056"/>
                <a:gd name="T88" fmla="*/ 98 w 1704"/>
                <a:gd name="T89" fmla="*/ 74 h 1056"/>
                <a:gd name="T90" fmla="*/ 81 w 1704"/>
                <a:gd name="T91" fmla="*/ 75 h 1056"/>
                <a:gd name="T92" fmla="*/ 83 w 1704"/>
                <a:gd name="T93" fmla="*/ 88 h 1056"/>
                <a:gd name="T94" fmla="*/ 82 w 1704"/>
                <a:gd name="T95" fmla="*/ 91 h 1056"/>
                <a:gd name="T96" fmla="*/ 77 w 1704"/>
                <a:gd name="T97" fmla="*/ 90 h 1056"/>
                <a:gd name="T98" fmla="*/ 73 w 1704"/>
                <a:gd name="T99" fmla="*/ 86 h 1056"/>
                <a:gd name="T100" fmla="*/ 68 w 1704"/>
                <a:gd name="T101" fmla="*/ 85 h 1056"/>
                <a:gd name="T102" fmla="*/ 64 w 1704"/>
                <a:gd name="T103" fmla="*/ 83 h 1056"/>
                <a:gd name="T104" fmla="*/ 57 w 1704"/>
                <a:gd name="T105" fmla="*/ 81 h 1056"/>
                <a:gd name="T106" fmla="*/ 52 w 1704"/>
                <a:gd name="T107" fmla="*/ 80 h 1056"/>
                <a:gd name="T108" fmla="*/ 50 w 1704"/>
                <a:gd name="T109" fmla="*/ 80 h 1056"/>
                <a:gd name="T110" fmla="*/ 46 w 1704"/>
                <a:gd name="T111" fmla="*/ 79 h 1056"/>
                <a:gd name="T112" fmla="*/ 41 w 1704"/>
                <a:gd name="T113" fmla="*/ 78 h 10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04"/>
                <a:gd name="T172" fmla="*/ 0 h 1056"/>
                <a:gd name="T173" fmla="*/ 1704 w 1704"/>
                <a:gd name="T174" fmla="*/ 1056 h 10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04" h="1056">
                  <a:moveTo>
                    <a:pt x="450" y="888"/>
                  </a:moveTo>
                  <a:lnTo>
                    <a:pt x="420" y="888"/>
                  </a:lnTo>
                  <a:lnTo>
                    <a:pt x="414" y="888"/>
                  </a:lnTo>
                  <a:lnTo>
                    <a:pt x="396" y="888"/>
                  </a:lnTo>
                  <a:lnTo>
                    <a:pt x="372" y="888"/>
                  </a:lnTo>
                  <a:lnTo>
                    <a:pt x="366" y="888"/>
                  </a:lnTo>
                  <a:lnTo>
                    <a:pt x="360" y="888"/>
                  </a:lnTo>
                  <a:lnTo>
                    <a:pt x="348" y="888"/>
                  </a:lnTo>
                  <a:lnTo>
                    <a:pt x="330" y="894"/>
                  </a:lnTo>
                  <a:lnTo>
                    <a:pt x="324" y="894"/>
                  </a:lnTo>
                  <a:lnTo>
                    <a:pt x="312" y="888"/>
                  </a:lnTo>
                  <a:lnTo>
                    <a:pt x="300" y="888"/>
                  </a:lnTo>
                  <a:lnTo>
                    <a:pt x="282" y="888"/>
                  </a:lnTo>
                  <a:lnTo>
                    <a:pt x="270" y="888"/>
                  </a:lnTo>
                  <a:lnTo>
                    <a:pt x="240" y="882"/>
                  </a:lnTo>
                  <a:lnTo>
                    <a:pt x="222" y="882"/>
                  </a:lnTo>
                  <a:lnTo>
                    <a:pt x="198" y="882"/>
                  </a:lnTo>
                  <a:lnTo>
                    <a:pt x="174" y="894"/>
                  </a:lnTo>
                  <a:lnTo>
                    <a:pt x="162" y="900"/>
                  </a:lnTo>
                  <a:lnTo>
                    <a:pt x="144" y="906"/>
                  </a:lnTo>
                  <a:lnTo>
                    <a:pt x="126" y="912"/>
                  </a:lnTo>
                  <a:lnTo>
                    <a:pt x="102" y="924"/>
                  </a:lnTo>
                  <a:lnTo>
                    <a:pt x="78" y="930"/>
                  </a:lnTo>
                  <a:lnTo>
                    <a:pt x="72" y="936"/>
                  </a:lnTo>
                  <a:lnTo>
                    <a:pt x="30" y="954"/>
                  </a:lnTo>
                  <a:lnTo>
                    <a:pt x="12" y="966"/>
                  </a:lnTo>
                  <a:lnTo>
                    <a:pt x="12" y="954"/>
                  </a:lnTo>
                  <a:lnTo>
                    <a:pt x="12" y="930"/>
                  </a:lnTo>
                  <a:lnTo>
                    <a:pt x="12" y="894"/>
                  </a:lnTo>
                  <a:lnTo>
                    <a:pt x="30" y="828"/>
                  </a:lnTo>
                  <a:lnTo>
                    <a:pt x="36" y="798"/>
                  </a:lnTo>
                  <a:lnTo>
                    <a:pt x="18" y="774"/>
                  </a:lnTo>
                  <a:lnTo>
                    <a:pt x="18" y="756"/>
                  </a:lnTo>
                  <a:lnTo>
                    <a:pt x="6" y="738"/>
                  </a:lnTo>
                  <a:lnTo>
                    <a:pt x="0" y="714"/>
                  </a:lnTo>
                  <a:lnTo>
                    <a:pt x="12" y="678"/>
                  </a:lnTo>
                  <a:lnTo>
                    <a:pt x="18" y="678"/>
                  </a:lnTo>
                  <a:lnTo>
                    <a:pt x="24" y="672"/>
                  </a:lnTo>
                  <a:lnTo>
                    <a:pt x="30" y="666"/>
                  </a:lnTo>
                  <a:lnTo>
                    <a:pt x="42" y="648"/>
                  </a:lnTo>
                  <a:lnTo>
                    <a:pt x="66" y="648"/>
                  </a:lnTo>
                  <a:lnTo>
                    <a:pt x="108" y="648"/>
                  </a:lnTo>
                  <a:lnTo>
                    <a:pt x="174" y="642"/>
                  </a:lnTo>
                  <a:lnTo>
                    <a:pt x="216" y="636"/>
                  </a:lnTo>
                  <a:lnTo>
                    <a:pt x="240" y="630"/>
                  </a:lnTo>
                  <a:lnTo>
                    <a:pt x="246" y="618"/>
                  </a:lnTo>
                  <a:lnTo>
                    <a:pt x="264" y="600"/>
                  </a:lnTo>
                  <a:lnTo>
                    <a:pt x="294" y="582"/>
                  </a:lnTo>
                  <a:lnTo>
                    <a:pt x="318" y="552"/>
                  </a:lnTo>
                  <a:lnTo>
                    <a:pt x="330" y="546"/>
                  </a:lnTo>
                  <a:lnTo>
                    <a:pt x="348" y="510"/>
                  </a:lnTo>
                  <a:lnTo>
                    <a:pt x="372" y="474"/>
                  </a:lnTo>
                  <a:lnTo>
                    <a:pt x="384" y="444"/>
                  </a:lnTo>
                  <a:lnTo>
                    <a:pt x="396" y="420"/>
                  </a:lnTo>
                  <a:lnTo>
                    <a:pt x="402" y="378"/>
                  </a:lnTo>
                  <a:lnTo>
                    <a:pt x="402" y="228"/>
                  </a:lnTo>
                  <a:lnTo>
                    <a:pt x="414" y="186"/>
                  </a:lnTo>
                  <a:lnTo>
                    <a:pt x="432" y="138"/>
                  </a:lnTo>
                  <a:lnTo>
                    <a:pt x="438" y="114"/>
                  </a:lnTo>
                  <a:lnTo>
                    <a:pt x="444" y="96"/>
                  </a:lnTo>
                  <a:lnTo>
                    <a:pt x="462" y="84"/>
                  </a:lnTo>
                  <a:lnTo>
                    <a:pt x="474" y="78"/>
                  </a:lnTo>
                  <a:lnTo>
                    <a:pt x="492" y="72"/>
                  </a:lnTo>
                  <a:lnTo>
                    <a:pt x="492" y="66"/>
                  </a:lnTo>
                  <a:lnTo>
                    <a:pt x="498" y="66"/>
                  </a:lnTo>
                  <a:lnTo>
                    <a:pt x="510" y="66"/>
                  </a:lnTo>
                  <a:lnTo>
                    <a:pt x="510" y="72"/>
                  </a:lnTo>
                  <a:lnTo>
                    <a:pt x="516" y="72"/>
                  </a:lnTo>
                  <a:lnTo>
                    <a:pt x="522" y="78"/>
                  </a:lnTo>
                  <a:lnTo>
                    <a:pt x="546" y="78"/>
                  </a:lnTo>
                  <a:lnTo>
                    <a:pt x="552" y="60"/>
                  </a:lnTo>
                  <a:lnTo>
                    <a:pt x="570" y="42"/>
                  </a:lnTo>
                  <a:lnTo>
                    <a:pt x="576" y="24"/>
                  </a:lnTo>
                  <a:lnTo>
                    <a:pt x="588" y="18"/>
                  </a:lnTo>
                  <a:lnTo>
                    <a:pt x="588" y="12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624" y="0"/>
                  </a:lnTo>
                  <a:lnTo>
                    <a:pt x="636" y="6"/>
                  </a:lnTo>
                  <a:lnTo>
                    <a:pt x="648" y="24"/>
                  </a:lnTo>
                  <a:lnTo>
                    <a:pt x="654" y="48"/>
                  </a:lnTo>
                  <a:lnTo>
                    <a:pt x="672" y="60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0" y="72"/>
                  </a:lnTo>
                  <a:lnTo>
                    <a:pt x="690" y="78"/>
                  </a:lnTo>
                  <a:lnTo>
                    <a:pt x="696" y="90"/>
                  </a:lnTo>
                  <a:lnTo>
                    <a:pt x="714" y="114"/>
                  </a:lnTo>
                  <a:lnTo>
                    <a:pt x="714" y="120"/>
                  </a:lnTo>
                  <a:lnTo>
                    <a:pt x="720" y="132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20" y="150"/>
                  </a:lnTo>
                  <a:lnTo>
                    <a:pt x="714" y="150"/>
                  </a:lnTo>
                  <a:lnTo>
                    <a:pt x="714" y="156"/>
                  </a:lnTo>
                  <a:lnTo>
                    <a:pt x="714" y="162"/>
                  </a:lnTo>
                  <a:lnTo>
                    <a:pt x="708" y="162"/>
                  </a:lnTo>
                  <a:lnTo>
                    <a:pt x="708" y="168"/>
                  </a:lnTo>
                  <a:lnTo>
                    <a:pt x="702" y="168"/>
                  </a:lnTo>
                  <a:lnTo>
                    <a:pt x="702" y="174"/>
                  </a:lnTo>
                  <a:lnTo>
                    <a:pt x="702" y="180"/>
                  </a:lnTo>
                  <a:lnTo>
                    <a:pt x="708" y="180"/>
                  </a:lnTo>
                  <a:lnTo>
                    <a:pt x="708" y="186"/>
                  </a:lnTo>
                  <a:lnTo>
                    <a:pt x="708" y="192"/>
                  </a:lnTo>
                  <a:lnTo>
                    <a:pt x="714" y="204"/>
                  </a:lnTo>
                  <a:lnTo>
                    <a:pt x="726" y="216"/>
                  </a:lnTo>
                  <a:lnTo>
                    <a:pt x="738" y="216"/>
                  </a:lnTo>
                  <a:lnTo>
                    <a:pt x="768" y="222"/>
                  </a:lnTo>
                  <a:lnTo>
                    <a:pt x="780" y="216"/>
                  </a:lnTo>
                  <a:lnTo>
                    <a:pt x="792" y="204"/>
                  </a:lnTo>
                  <a:lnTo>
                    <a:pt x="798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6" y="192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6" y="174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22" y="156"/>
                  </a:lnTo>
                  <a:lnTo>
                    <a:pt x="822" y="150"/>
                  </a:lnTo>
                  <a:lnTo>
                    <a:pt x="828" y="144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8" y="138"/>
                  </a:lnTo>
                  <a:lnTo>
                    <a:pt x="834" y="132"/>
                  </a:lnTo>
                  <a:lnTo>
                    <a:pt x="840" y="132"/>
                  </a:lnTo>
                  <a:lnTo>
                    <a:pt x="864" y="126"/>
                  </a:lnTo>
                  <a:lnTo>
                    <a:pt x="906" y="144"/>
                  </a:lnTo>
                  <a:lnTo>
                    <a:pt x="906" y="150"/>
                  </a:lnTo>
                  <a:lnTo>
                    <a:pt x="906" y="156"/>
                  </a:lnTo>
                  <a:lnTo>
                    <a:pt x="900" y="162"/>
                  </a:lnTo>
                  <a:lnTo>
                    <a:pt x="924" y="168"/>
                  </a:lnTo>
                  <a:lnTo>
                    <a:pt x="942" y="192"/>
                  </a:lnTo>
                  <a:lnTo>
                    <a:pt x="972" y="210"/>
                  </a:lnTo>
                  <a:lnTo>
                    <a:pt x="972" y="216"/>
                  </a:lnTo>
                  <a:lnTo>
                    <a:pt x="972" y="228"/>
                  </a:lnTo>
                  <a:lnTo>
                    <a:pt x="978" y="234"/>
                  </a:lnTo>
                  <a:lnTo>
                    <a:pt x="978" y="246"/>
                  </a:lnTo>
                  <a:lnTo>
                    <a:pt x="984" y="252"/>
                  </a:lnTo>
                  <a:lnTo>
                    <a:pt x="1014" y="252"/>
                  </a:lnTo>
                  <a:lnTo>
                    <a:pt x="1020" y="228"/>
                  </a:lnTo>
                  <a:lnTo>
                    <a:pt x="1026" y="198"/>
                  </a:lnTo>
                  <a:lnTo>
                    <a:pt x="1050" y="186"/>
                  </a:lnTo>
                  <a:lnTo>
                    <a:pt x="1056" y="180"/>
                  </a:lnTo>
                  <a:lnTo>
                    <a:pt x="1050" y="174"/>
                  </a:lnTo>
                  <a:lnTo>
                    <a:pt x="1050" y="168"/>
                  </a:lnTo>
                  <a:lnTo>
                    <a:pt x="1050" y="162"/>
                  </a:lnTo>
                  <a:lnTo>
                    <a:pt x="1056" y="162"/>
                  </a:lnTo>
                  <a:lnTo>
                    <a:pt x="1062" y="162"/>
                  </a:lnTo>
                  <a:lnTo>
                    <a:pt x="1074" y="162"/>
                  </a:lnTo>
                  <a:lnTo>
                    <a:pt x="1074" y="144"/>
                  </a:lnTo>
                  <a:lnTo>
                    <a:pt x="1074" y="120"/>
                  </a:lnTo>
                  <a:lnTo>
                    <a:pt x="1092" y="120"/>
                  </a:lnTo>
                  <a:lnTo>
                    <a:pt x="1098" y="126"/>
                  </a:lnTo>
                  <a:lnTo>
                    <a:pt x="1134" y="132"/>
                  </a:lnTo>
                  <a:lnTo>
                    <a:pt x="1146" y="132"/>
                  </a:lnTo>
                  <a:lnTo>
                    <a:pt x="1158" y="150"/>
                  </a:lnTo>
                  <a:lnTo>
                    <a:pt x="1158" y="156"/>
                  </a:lnTo>
                  <a:lnTo>
                    <a:pt x="1158" y="162"/>
                  </a:lnTo>
                  <a:lnTo>
                    <a:pt x="1158" y="180"/>
                  </a:lnTo>
                  <a:lnTo>
                    <a:pt x="1158" y="186"/>
                  </a:lnTo>
                  <a:lnTo>
                    <a:pt x="1164" y="192"/>
                  </a:lnTo>
                  <a:lnTo>
                    <a:pt x="1176" y="198"/>
                  </a:lnTo>
                  <a:lnTo>
                    <a:pt x="1182" y="198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8"/>
                  </a:lnTo>
                  <a:lnTo>
                    <a:pt x="1188" y="234"/>
                  </a:lnTo>
                  <a:lnTo>
                    <a:pt x="1212" y="234"/>
                  </a:lnTo>
                  <a:lnTo>
                    <a:pt x="1242" y="234"/>
                  </a:lnTo>
                  <a:lnTo>
                    <a:pt x="1248" y="234"/>
                  </a:lnTo>
                  <a:lnTo>
                    <a:pt x="1278" y="240"/>
                  </a:lnTo>
                  <a:lnTo>
                    <a:pt x="1320" y="234"/>
                  </a:lnTo>
                  <a:lnTo>
                    <a:pt x="1332" y="228"/>
                  </a:lnTo>
                  <a:lnTo>
                    <a:pt x="1344" y="228"/>
                  </a:lnTo>
                  <a:lnTo>
                    <a:pt x="1350" y="234"/>
                  </a:lnTo>
                  <a:lnTo>
                    <a:pt x="1350" y="240"/>
                  </a:lnTo>
                  <a:lnTo>
                    <a:pt x="1356" y="246"/>
                  </a:lnTo>
                  <a:lnTo>
                    <a:pt x="1350" y="252"/>
                  </a:lnTo>
                  <a:lnTo>
                    <a:pt x="1356" y="264"/>
                  </a:lnTo>
                  <a:lnTo>
                    <a:pt x="1356" y="270"/>
                  </a:lnTo>
                  <a:lnTo>
                    <a:pt x="1356" y="276"/>
                  </a:lnTo>
                  <a:lnTo>
                    <a:pt x="1356" y="282"/>
                  </a:lnTo>
                  <a:lnTo>
                    <a:pt x="1356" y="288"/>
                  </a:lnTo>
                  <a:lnTo>
                    <a:pt x="1350" y="294"/>
                  </a:lnTo>
                  <a:lnTo>
                    <a:pt x="1344" y="300"/>
                  </a:lnTo>
                  <a:lnTo>
                    <a:pt x="1344" y="306"/>
                  </a:lnTo>
                  <a:lnTo>
                    <a:pt x="1338" y="312"/>
                  </a:lnTo>
                  <a:lnTo>
                    <a:pt x="1326" y="342"/>
                  </a:lnTo>
                  <a:lnTo>
                    <a:pt x="1320" y="348"/>
                  </a:lnTo>
                  <a:lnTo>
                    <a:pt x="1314" y="354"/>
                  </a:lnTo>
                  <a:lnTo>
                    <a:pt x="1290" y="354"/>
                  </a:lnTo>
                  <a:lnTo>
                    <a:pt x="1284" y="360"/>
                  </a:lnTo>
                  <a:lnTo>
                    <a:pt x="1278" y="378"/>
                  </a:lnTo>
                  <a:lnTo>
                    <a:pt x="1278" y="384"/>
                  </a:lnTo>
                  <a:lnTo>
                    <a:pt x="1272" y="390"/>
                  </a:lnTo>
                  <a:lnTo>
                    <a:pt x="1266" y="396"/>
                  </a:lnTo>
                  <a:lnTo>
                    <a:pt x="1260" y="396"/>
                  </a:lnTo>
                  <a:lnTo>
                    <a:pt x="1248" y="402"/>
                  </a:lnTo>
                  <a:lnTo>
                    <a:pt x="1242" y="408"/>
                  </a:lnTo>
                  <a:lnTo>
                    <a:pt x="1242" y="414"/>
                  </a:lnTo>
                  <a:lnTo>
                    <a:pt x="1242" y="420"/>
                  </a:lnTo>
                  <a:lnTo>
                    <a:pt x="1236" y="432"/>
                  </a:lnTo>
                  <a:lnTo>
                    <a:pt x="1242" y="432"/>
                  </a:lnTo>
                  <a:lnTo>
                    <a:pt x="1242" y="444"/>
                  </a:lnTo>
                  <a:lnTo>
                    <a:pt x="1242" y="456"/>
                  </a:lnTo>
                  <a:lnTo>
                    <a:pt x="1248" y="456"/>
                  </a:lnTo>
                  <a:lnTo>
                    <a:pt x="1254" y="462"/>
                  </a:lnTo>
                  <a:lnTo>
                    <a:pt x="1248" y="468"/>
                  </a:lnTo>
                  <a:lnTo>
                    <a:pt x="1254" y="468"/>
                  </a:lnTo>
                  <a:lnTo>
                    <a:pt x="1266" y="474"/>
                  </a:lnTo>
                  <a:lnTo>
                    <a:pt x="1266" y="480"/>
                  </a:lnTo>
                  <a:lnTo>
                    <a:pt x="1266" y="486"/>
                  </a:lnTo>
                  <a:lnTo>
                    <a:pt x="1272" y="486"/>
                  </a:lnTo>
                  <a:lnTo>
                    <a:pt x="1272" y="492"/>
                  </a:lnTo>
                  <a:lnTo>
                    <a:pt x="1290" y="510"/>
                  </a:lnTo>
                  <a:lnTo>
                    <a:pt x="1296" y="516"/>
                  </a:lnTo>
                  <a:lnTo>
                    <a:pt x="1302" y="540"/>
                  </a:lnTo>
                  <a:lnTo>
                    <a:pt x="1302" y="546"/>
                  </a:lnTo>
                  <a:lnTo>
                    <a:pt x="1302" y="558"/>
                  </a:lnTo>
                  <a:lnTo>
                    <a:pt x="1302" y="570"/>
                  </a:lnTo>
                  <a:lnTo>
                    <a:pt x="1302" y="576"/>
                  </a:lnTo>
                  <a:lnTo>
                    <a:pt x="1344" y="570"/>
                  </a:lnTo>
                  <a:lnTo>
                    <a:pt x="1350" y="582"/>
                  </a:lnTo>
                  <a:lnTo>
                    <a:pt x="1368" y="594"/>
                  </a:lnTo>
                  <a:lnTo>
                    <a:pt x="1374" y="600"/>
                  </a:lnTo>
                  <a:lnTo>
                    <a:pt x="1380" y="600"/>
                  </a:lnTo>
                  <a:lnTo>
                    <a:pt x="1380" y="618"/>
                  </a:lnTo>
                  <a:lnTo>
                    <a:pt x="1386" y="624"/>
                  </a:lnTo>
                  <a:lnTo>
                    <a:pt x="1404" y="624"/>
                  </a:lnTo>
                  <a:lnTo>
                    <a:pt x="1410" y="612"/>
                  </a:lnTo>
                  <a:lnTo>
                    <a:pt x="1428" y="606"/>
                  </a:lnTo>
                  <a:lnTo>
                    <a:pt x="1488" y="606"/>
                  </a:lnTo>
                  <a:lnTo>
                    <a:pt x="1506" y="606"/>
                  </a:lnTo>
                  <a:lnTo>
                    <a:pt x="1512" y="600"/>
                  </a:lnTo>
                  <a:lnTo>
                    <a:pt x="1524" y="594"/>
                  </a:lnTo>
                  <a:lnTo>
                    <a:pt x="1554" y="594"/>
                  </a:lnTo>
                  <a:lnTo>
                    <a:pt x="1578" y="606"/>
                  </a:lnTo>
                  <a:lnTo>
                    <a:pt x="1596" y="624"/>
                  </a:lnTo>
                  <a:lnTo>
                    <a:pt x="1650" y="642"/>
                  </a:lnTo>
                  <a:lnTo>
                    <a:pt x="1686" y="648"/>
                  </a:lnTo>
                  <a:lnTo>
                    <a:pt x="1698" y="654"/>
                  </a:lnTo>
                  <a:lnTo>
                    <a:pt x="1698" y="660"/>
                  </a:lnTo>
                  <a:lnTo>
                    <a:pt x="1692" y="666"/>
                  </a:lnTo>
                  <a:lnTo>
                    <a:pt x="1692" y="672"/>
                  </a:lnTo>
                  <a:lnTo>
                    <a:pt x="1698" y="678"/>
                  </a:lnTo>
                  <a:lnTo>
                    <a:pt x="1698" y="684"/>
                  </a:lnTo>
                  <a:lnTo>
                    <a:pt x="1692" y="684"/>
                  </a:lnTo>
                  <a:lnTo>
                    <a:pt x="1692" y="690"/>
                  </a:lnTo>
                  <a:lnTo>
                    <a:pt x="1698" y="696"/>
                  </a:lnTo>
                  <a:lnTo>
                    <a:pt x="1698" y="702"/>
                  </a:lnTo>
                  <a:lnTo>
                    <a:pt x="1698" y="708"/>
                  </a:lnTo>
                  <a:lnTo>
                    <a:pt x="1704" y="714"/>
                  </a:lnTo>
                  <a:lnTo>
                    <a:pt x="1704" y="720"/>
                  </a:lnTo>
                  <a:lnTo>
                    <a:pt x="1704" y="726"/>
                  </a:lnTo>
                  <a:lnTo>
                    <a:pt x="1704" y="732"/>
                  </a:lnTo>
                  <a:lnTo>
                    <a:pt x="1704" y="738"/>
                  </a:lnTo>
                  <a:lnTo>
                    <a:pt x="1698" y="726"/>
                  </a:lnTo>
                  <a:lnTo>
                    <a:pt x="1668" y="720"/>
                  </a:lnTo>
                  <a:lnTo>
                    <a:pt x="1626" y="714"/>
                  </a:lnTo>
                  <a:lnTo>
                    <a:pt x="1614" y="708"/>
                  </a:lnTo>
                  <a:lnTo>
                    <a:pt x="1578" y="696"/>
                  </a:lnTo>
                  <a:lnTo>
                    <a:pt x="1566" y="696"/>
                  </a:lnTo>
                  <a:lnTo>
                    <a:pt x="1548" y="702"/>
                  </a:lnTo>
                  <a:lnTo>
                    <a:pt x="1542" y="714"/>
                  </a:lnTo>
                  <a:lnTo>
                    <a:pt x="1536" y="732"/>
                  </a:lnTo>
                  <a:lnTo>
                    <a:pt x="1530" y="750"/>
                  </a:lnTo>
                  <a:lnTo>
                    <a:pt x="1536" y="750"/>
                  </a:lnTo>
                  <a:lnTo>
                    <a:pt x="1542" y="756"/>
                  </a:lnTo>
                  <a:lnTo>
                    <a:pt x="1542" y="762"/>
                  </a:lnTo>
                  <a:lnTo>
                    <a:pt x="1548" y="762"/>
                  </a:lnTo>
                  <a:lnTo>
                    <a:pt x="1554" y="762"/>
                  </a:lnTo>
                  <a:lnTo>
                    <a:pt x="1554" y="768"/>
                  </a:lnTo>
                  <a:lnTo>
                    <a:pt x="1560" y="774"/>
                  </a:lnTo>
                  <a:lnTo>
                    <a:pt x="1566" y="774"/>
                  </a:lnTo>
                  <a:lnTo>
                    <a:pt x="1584" y="792"/>
                  </a:lnTo>
                  <a:lnTo>
                    <a:pt x="1584" y="810"/>
                  </a:lnTo>
                  <a:lnTo>
                    <a:pt x="1572" y="816"/>
                  </a:lnTo>
                  <a:lnTo>
                    <a:pt x="1578" y="834"/>
                  </a:lnTo>
                  <a:lnTo>
                    <a:pt x="1578" y="846"/>
                  </a:lnTo>
                  <a:lnTo>
                    <a:pt x="1584" y="858"/>
                  </a:lnTo>
                  <a:lnTo>
                    <a:pt x="1590" y="864"/>
                  </a:lnTo>
                  <a:lnTo>
                    <a:pt x="1590" y="876"/>
                  </a:lnTo>
                  <a:lnTo>
                    <a:pt x="1578" y="888"/>
                  </a:lnTo>
                  <a:lnTo>
                    <a:pt x="1560" y="906"/>
                  </a:lnTo>
                  <a:lnTo>
                    <a:pt x="1536" y="930"/>
                  </a:lnTo>
                  <a:lnTo>
                    <a:pt x="1530" y="930"/>
                  </a:lnTo>
                  <a:lnTo>
                    <a:pt x="1506" y="942"/>
                  </a:lnTo>
                  <a:lnTo>
                    <a:pt x="1488" y="948"/>
                  </a:lnTo>
                  <a:lnTo>
                    <a:pt x="1476" y="954"/>
                  </a:lnTo>
                  <a:lnTo>
                    <a:pt x="1458" y="960"/>
                  </a:lnTo>
                  <a:lnTo>
                    <a:pt x="1452" y="966"/>
                  </a:lnTo>
                  <a:lnTo>
                    <a:pt x="1446" y="966"/>
                  </a:lnTo>
                  <a:lnTo>
                    <a:pt x="1434" y="972"/>
                  </a:lnTo>
                  <a:lnTo>
                    <a:pt x="1434" y="954"/>
                  </a:lnTo>
                  <a:lnTo>
                    <a:pt x="1422" y="942"/>
                  </a:lnTo>
                  <a:lnTo>
                    <a:pt x="1398" y="924"/>
                  </a:lnTo>
                  <a:lnTo>
                    <a:pt x="1398" y="912"/>
                  </a:lnTo>
                  <a:lnTo>
                    <a:pt x="1398" y="906"/>
                  </a:lnTo>
                  <a:lnTo>
                    <a:pt x="1398" y="900"/>
                  </a:lnTo>
                  <a:lnTo>
                    <a:pt x="1380" y="900"/>
                  </a:lnTo>
                  <a:lnTo>
                    <a:pt x="1380" y="894"/>
                  </a:lnTo>
                  <a:lnTo>
                    <a:pt x="1368" y="888"/>
                  </a:lnTo>
                  <a:lnTo>
                    <a:pt x="1362" y="882"/>
                  </a:lnTo>
                  <a:lnTo>
                    <a:pt x="1356" y="876"/>
                  </a:lnTo>
                  <a:lnTo>
                    <a:pt x="1350" y="864"/>
                  </a:lnTo>
                  <a:lnTo>
                    <a:pt x="1344" y="858"/>
                  </a:lnTo>
                  <a:lnTo>
                    <a:pt x="1314" y="870"/>
                  </a:lnTo>
                  <a:lnTo>
                    <a:pt x="1272" y="876"/>
                  </a:lnTo>
                  <a:lnTo>
                    <a:pt x="1218" y="870"/>
                  </a:lnTo>
                  <a:lnTo>
                    <a:pt x="1200" y="864"/>
                  </a:lnTo>
                  <a:lnTo>
                    <a:pt x="1182" y="864"/>
                  </a:lnTo>
                  <a:lnTo>
                    <a:pt x="1134" y="858"/>
                  </a:lnTo>
                  <a:lnTo>
                    <a:pt x="1110" y="840"/>
                  </a:lnTo>
                  <a:lnTo>
                    <a:pt x="1086" y="828"/>
                  </a:lnTo>
                  <a:lnTo>
                    <a:pt x="1044" y="816"/>
                  </a:lnTo>
                  <a:lnTo>
                    <a:pt x="1014" y="816"/>
                  </a:lnTo>
                  <a:lnTo>
                    <a:pt x="990" y="822"/>
                  </a:lnTo>
                  <a:lnTo>
                    <a:pt x="948" y="858"/>
                  </a:lnTo>
                  <a:lnTo>
                    <a:pt x="930" y="864"/>
                  </a:lnTo>
                  <a:lnTo>
                    <a:pt x="924" y="876"/>
                  </a:lnTo>
                  <a:lnTo>
                    <a:pt x="918" y="906"/>
                  </a:lnTo>
                  <a:lnTo>
                    <a:pt x="924" y="930"/>
                  </a:lnTo>
                  <a:lnTo>
                    <a:pt x="948" y="984"/>
                  </a:lnTo>
                  <a:lnTo>
                    <a:pt x="954" y="1008"/>
                  </a:lnTo>
                  <a:lnTo>
                    <a:pt x="948" y="1014"/>
                  </a:lnTo>
                  <a:lnTo>
                    <a:pt x="954" y="1014"/>
                  </a:lnTo>
                  <a:lnTo>
                    <a:pt x="954" y="1032"/>
                  </a:lnTo>
                  <a:lnTo>
                    <a:pt x="966" y="1044"/>
                  </a:lnTo>
                  <a:lnTo>
                    <a:pt x="960" y="1056"/>
                  </a:lnTo>
                  <a:lnTo>
                    <a:pt x="954" y="1056"/>
                  </a:lnTo>
                  <a:lnTo>
                    <a:pt x="948" y="1056"/>
                  </a:lnTo>
                  <a:lnTo>
                    <a:pt x="942" y="1056"/>
                  </a:lnTo>
                  <a:lnTo>
                    <a:pt x="936" y="1050"/>
                  </a:lnTo>
                  <a:lnTo>
                    <a:pt x="930" y="1044"/>
                  </a:lnTo>
                  <a:lnTo>
                    <a:pt x="924" y="1044"/>
                  </a:lnTo>
                  <a:lnTo>
                    <a:pt x="918" y="1038"/>
                  </a:lnTo>
                  <a:lnTo>
                    <a:pt x="912" y="1038"/>
                  </a:lnTo>
                  <a:lnTo>
                    <a:pt x="906" y="1032"/>
                  </a:lnTo>
                  <a:lnTo>
                    <a:pt x="900" y="1032"/>
                  </a:lnTo>
                  <a:lnTo>
                    <a:pt x="888" y="1026"/>
                  </a:lnTo>
                  <a:lnTo>
                    <a:pt x="882" y="1026"/>
                  </a:lnTo>
                  <a:lnTo>
                    <a:pt x="876" y="1026"/>
                  </a:lnTo>
                  <a:lnTo>
                    <a:pt x="864" y="1014"/>
                  </a:lnTo>
                  <a:lnTo>
                    <a:pt x="846" y="1008"/>
                  </a:lnTo>
                  <a:lnTo>
                    <a:pt x="840" y="996"/>
                  </a:lnTo>
                  <a:lnTo>
                    <a:pt x="840" y="990"/>
                  </a:lnTo>
                  <a:lnTo>
                    <a:pt x="834" y="990"/>
                  </a:lnTo>
                  <a:lnTo>
                    <a:pt x="828" y="990"/>
                  </a:lnTo>
                  <a:lnTo>
                    <a:pt x="816" y="990"/>
                  </a:lnTo>
                  <a:lnTo>
                    <a:pt x="810" y="990"/>
                  </a:lnTo>
                  <a:lnTo>
                    <a:pt x="804" y="984"/>
                  </a:lnTo>
                  <a:lnTo>
                    <a:pt x="792" y="978"/>
                  </a:lnTo>
                  <a:lnTo>
                    <a:pt x="786" y="972"/>
                  </a:lnTo>
                  <a:lnTo>
                    <a:pt x="780" y="972"/>
                  </a:lnTo>
                  <a:lnTo>
                    <a:pt x="768" y="966"/>
                  </a:lnTo>
                  <a:lnTo>
                    <a:pt x="762" y="966"/>
                  </a:lnTo>
                  <a:lnTo>
                    <a:pt x="756" y="966"/>
                  </a:lnTo>
                  <a:lnTo>
                    <a:pt x="750" y="966"/>
                  </a:lnTo>
                  <a:lnTo>
                    <a:pt x="744" y="966"/>
                  </a:lnTo>
                  <a:lnTo>
                    <a:pt x="738" y="960"/>
                  </a:lnTo>
                  <a:lnTo>
                    <a:pt x="732" y="954"/>
                  </a:lnTo>
                  <a:lnTo>
                    <a:pt x="720" y="954"/>
                  </a:lnTo>
                  <a:lnTo>
                    <a:pt x="714" y="948"/>
                  </a:lnTo>
                  <a:lnTo>
                    <a:pt x="708" y="948"/>
                  </a:lnTo>
                  <a:lnTo>
                    <a:pt x="696" y="948"/>
                  </a:lnTo>
                  <a:lnTo>
                    <a:pt x="684" y="942"/>
                  </a:lnTo>
                  <a:lnTo>
                    <a:pt x="678" y="936"/>
                  </a:lnTo>
                  <a:lnTo>
                    <a:pt x="660" y="930"/>
                  </a:lnTo>
                  <a:lnTo>
                    <a:pt x="642" y="924"/>
                  </a:lnTo>
                  <a:lnTo>
                    <a:pt x="636" y="924"/>
                  </a:lnTo>
                  <a:lnTo>
                    <a:pt x="630" y="924"/>
                  </a:lnTo>
                  <a:lnTo>
                    <a:pt x="618" y="924"/>
                  </a:lnTo>
                  <a:lnTo>
                    <a:pt x="618" y="918"/>
                  </a:lnTo>
                  <a:lnTo>
                    <a:pt x="606" y="918"/>
                  </a:lnTo>
                  <a:lnTo>
                    <a:pt x="600" y="918"/>
                  </a:lnTo>
                  <a:lnTo>
                    <a:pt x="594" y="918"/>
                  </a:lnTo>
                  <a:lnTo>
                    <a:pt x="594" y="912"/>
                  </a:lnTo>
                  <a:lnTo>
                    <a:pt x="588" y="912"/>
                  </a:lnTo>
                  <a:lnTo>
                    <a:pt x="582" y="912"/>
                  </a:lnTo>
                  <a:lnTo>
                    <a:pt x="582" y="918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58" y="918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12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00"/>
                  </a:lnTo>
                  <a:lnTo>
                    <a:pt x="516" y="900"/>
                  </a:lnTo>
                  <a:lnTo>
                    <a:pt x="510" y="900"/>
                  </a:lnTo>
                  <a:lnTo>
                    <a:pt x="486" y="894"/>
                  </a:lnTo>
                  <a:lnTo>
                    <a:pt x="474" y="888"/>
                  </a:lnTo>
                  <a:lnTo>
                    <a:pt x="468" y="888"/>
                  </a:lnTo>
                  <a:lnTo>
                    <a:pt x="450" y="88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0" name="Freeform 15">
              <a:extLst>
                <a:ext uri="{FF2B5EF4-FFF2-40B4-BE49-F238E27FC236}">
                  <a16:creationId xmlns:a16="http://schemas.microsoft.com/office/drawing/2014/main" id="{8B991D7A-45C6-40F6-A035-24DFC733305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382" y="2652043"/>
              <a:ext cx="724526" cy="695552"/>
            </a:xfrm>
            <a:custGeom>
              <a:avLst/>
              <a:gdLst>
                <a:gd name="T0" fmla="*/ 44 w 1362"/>
                <a:gd name="T1" fmla="*/ 106 h 1308"/>
                <a:gd name="T2" fmla="*/ 32 w 1362"/>
                <a:gd name="T3" fmla="*/ 109 h 1308"/>
                <a:gd name="T4" fmla="*/ 25 w 1362"/>
                <a:gd name="T5" fmla="*/ 105 h 1308"/>
                <a:gd name="T6" fmla="*/ 22 w 1362"/>
                <a:gd name="T7" fmla="*/ 97 h 1308"/>
                <a:gd name="T8" fmla="*/ 21 w 1362"/>
                <a:gd name="T9" fmla="*/ 95 h 1308"/>
                <a:gd name="T10" fmla="*/ 20 w 1362"/>
                <a:gd name="T11" fmla="*/ 90 h 1308"/>
                <a:gd name="T12" fmla="*/ 23 w 1362"/>
                <a:gd name="T13" fmla="*/ 87 h 1308"/>
                <a:gd name="T14" fmla="*/ 29 w 1362"/>
                <a:gd name="T15" fmla="*/ 81 h 1308"/>
                <a:gd name="T16" fmla="*/ 30 w 1362"/>
                <a:gd name="T17" fmla="*/ 78 h 1308"/>
                <a:gd name="T18" fmla="*/ 27 w 1362"/>
                <a:gd name="T19" fmla="*/ 75 h 1308"/>
                <a:gd name="T20" fmla="*/ 15 w 1362"/>
                <a:gd name="T21" fmla="*/ 73 h 1308"/>
                <a:gd name="T22" fmla="*/ 12 w 1362"/>
                <a:gd name="T23" fmla="*/ 69 h 1308"/>
                <a:gd name="T24" fmla="*/ 5 w 1362"/>
                <a:gd name="T25" fmla="*/ 65 h 1308"/>
                <a:gd name="T26" fmla="*/ 6 w 1362"/>
                <a:gd name="T27" fmla="*/ 62 h 1308"/>
                <a:gd name="T28" fmla="*/ 7 w 1362"/>
                <a:gd name="T29" fmla="*/ 56 h 1308"/>
                <a:gd name="T30" fmla="*/ 2 w 1362"/>
                <a:gd name="T31" fmla="*/ 49 h 1308"/>
                <a:gd name="T32" fmla="*/ 0 w 1362"/>
                <a:gd name="T33" fmla="*/ 44 h 1308"/>
                <a:gd name="T34" fmla="*/ 0 w 1362"/>
                <a:gd name="T35" fmla="*/ 39 h 1308"/>
                <a:gd name="T36" fmla="*/ 3 w 1362"/>
                <a:gd name="T37" fmla="*/ 35 h 1308"/>
                <a:gd name="T38" fmla="*/ 3 w 1362"/>
                <a:gd name="T39" fmla="*/ 28 h 1308"/>
                <a:gd name="T40" fmla="*/ 6 w 1362"/>
                <a:gd name="T41" fmla="*/ 18 h 1308"/>
                <a:gd name="T42" fmla="*/ 6 w 1362"/>
                <a:gd name="T43" fmla="*/ 8 h 1308"/>
                <a:gd name="T44" fmla="*/ 10 w 1362"/>
                <a:gd name="T45" fmla="*/ 5 h 1308"/>
                <a:gd name="T46" fmla="*/ 15 w 1362"/>
                <a:gd name="T47" fmla="*/ 0 h 1308"/>
                <a:gd name="T48" fmla="*/ 21 w 1362"/>
                <a:gd name="T49" fmla="*/ 7 h 1308"/>
                <a:gd name="T50" fmla="*/ 25 w 1362"/>
                <a:gd name="T51" fmla="*/ 15 h 1308"/>
                <a:gd name="T52" fmla="*/ 24 w 1362"/>
                <a:gd name="T53" fmla="*/ 19 h 1308"/>
                <a:gd name="T54" fmla="*/ 32 w 1362"/>
                <a:gd name="T55" fmla="*/ 19 h 1308"/>
                <a:gd name="T56" fmla="*/ 35 w 1362"/>
                <a:gd name="T57" fmla="*/ 20 h 1308"/>
                <a:gd name="T58" fmla="*/ 40 w 1362"/>
                <a:gd name="T59" fmla="*/ 23 h 1308"/>
                <a:gd name="T60" fmla="*/ 40 w 1362"/>
                <a:gd name="T61" fmla="*/ 26 h 1308"/>
                <a:gd name="T62" fmla="*/ 34 w 1362"/>
                <a:gd name="T63" fmla="*/ 35 h 1308"/>
                <a:gd name="T64" fmla="*/ 41 w 1362"/>
                <a:gd name="T65" fmla="*/ 37 h 1308"/>
                <a:gd name="T66" fmla="*/ 43 w 1362"/>
                <a:gd name="T67" fmla="*/ 44 h 1308"/>
                <a:gd name="T68" fmla="*/ 48 w 1362"/>
                <a:gd name="T69" fmla="*/ 47 h 1308"/>
                <a:gd name="T70" fmla="*/ 57 w 1362"/>
                <a:gd name="T71" fmla="*/ 48 h 1308"/>
                <a:gd name="T72" fmla="*/ 70 w 1362"/>
                <a:gd name="T73" fmla="*/ 44 h 1308"/>
                <a:gd name="T74" fmla="*/ 80 w 1362"/>
                <a:gd name="T75" fmla="*/ 34 h 1308"/>
                <a:gd name="T76" fmla="*/ 95 w 1362"/>
                <a:gd name="T77" fmla="*/ 41 h 1308"/>
                <a:gd name="T78" fmla="*/ 109 w 1362"/>
                <a:gd name="T79" fmla="*/ 47 h 1308"/>
                <a:gd name="T80" fmla="*/ 111 w 1362"/>
                <a:gd name="T81" fmla="*/ 50 h 1308"/>
                <a:gd name="T82" fmla="*/ 113 w 1362"/>
                <a:gd name="T83" fmla="*/ 53 h 1308"/>
                <a:gd name="T84" fmla="*/ 113 w 1362"/>
                <a:gd name="T85" fmla="*/ 55 h 1308"/>
                <a:gd name="T86" fmla="*/ 113 w 1362"/>
                <a:gd name="T87" fmla="*/ 59 h 1308"/>
                <a:gd name="T88" fmla="*/ 113 w 1362"/>
                <a:gd name="T89" fmla="*/ 62 h 1308"/>
                <a:gd name="T90" fmla="*/ 115 w 1362"/>
                <a:gd name="T91" fmla="*/ 65 h 1308"/>
                <a:gd name="T92" fmla="*/ 115 w 1362"/>
                <a:gd name="T93" fmla="*/ 67 h 1308"/>
                <a:gd name="T94" fmla="*/ 116 w 1362"/>
                <a:gd name="T95" fmla="*/ 69 h 1308"/>
                <a:gd name="T96" fmla="*/ 116 w 1362"/>
                <a:gd name="T97" fmla="*/ 71 h 1308"/>
                <a:gd name="T98" fmla="*/ 118 w 1362"/>
                <a:gd name="T99" fmla="*/ 75 h 1308"/>
                <a:gd name="T100" fmla="*/ 116 w 1362"/>
                <a:gd name="T101" fmla="*/ 77 h 1308"/>
                <a:gd name="T102" fmla="*/ 116 w 1362"/>
                <a:gd name="T103" fmla="*/ 79 h 1308"/>
                <a:gd name="T104" fmla="*/ 101 w 1362"/>
                <a:gd name="T105" fmla="*/ 87 h 1308"/>
                <a:gd name="T106" fmla="*/ 85 w 1362"/>
                <a:gd name="T107" fmla="*/ 103 h 1308"/>
                <a:gd name="T108" fmla="*/ 67 w 1362"/>
                <a:gd name="T109" fmla="*/ 114 h 130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62"/>
                <a:gd name="T166" fmla="*/ 0 h 1308"/>
                <a:gd name="T167" fmla="*/ 1362 w 1362"/>
                <a:gd name="T168" fmla="*/ 1308 h 130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62" h="1308">
                  <a:moveTo>
                    <a:pt x="684" y="1278"/>
                  </a:moveTo>
                  <a:lnTo>
                    <a:pt x="672" y="1272"/>
                  </a:lnTo>
                  <a:lnTo>
                    <a:pt x="636" y="1266"/>
                  </a:lnTo>
                  <a:lnTo>
                    <a:pt x="582" y="1248"/>
                  </a:lnTo>
                  <a:lnTo>
                    <a:pt x="564" y="1230"/>
                  </a:lnTo>
                  <a:lnTo>
                    <a:pt x="540" y="1218"/>
                  </a:lnTo>
                  <a:lnTo>
                    <a:pt x="510" y="1218"/>
                  </a:lnTo>
                  <a:lnTo>
                    <a:pt x="498" y="1224"/>
                  </a:lnTo>
                  <a:lnTo>
                    <a:pt x="492" y="1230"/>
                  </a:lnTo>
                  <a:lnTo>
                    <a:pt x="474" y="1230"/>
                  </a:lnTo>
                  <a:lnTo>
                    <a:pt x="414" y="1230"/>
                  </a:lnTo>
                  <a:lnTo>
                    <a:pt x="396" y="1236"/>
                  </a:lnTo>
                  <a:lnTo>
                    <a:pt x="390" y="1248"/>
                  </a:lnTo>
                  <a:lnTo>
                    <a:pt x="372" y="1248"/>
                  </a:lnTo>
                  <a:lnTo>
                    <a:pt x="366" y="1242"/>
                  </a:lnTo>
                  <a:lnTo>
                    <a:pt x="366" y="1224"/>
                  </a:lnTo>
                  <a:lnTo>
                    <a:pt x="360" y="1224"/>
                  </a:lnTo>
                  <a:lnTo>
                    <a:pt x="354" y="1218"/>
                  </a:lnTo>
                  <a:lnTo>
                    <a:pt x="336" y="1206"/>
                  </a:lnTo>
                  <a:lnTo>
                    <a:pt x="330" y="1194"/>
                  </a:lnTo>
                  <a:lnTo>
                    <a:pt x="288" y="1200"/>
                  </a:lnTo>
                  <a:lnTo>
                    <a:pt x="288" y="1194"/>
                  </a:lnTo>
                  <a:lnTo>
                    <a:pt x="288" y="1182"/>
                  </a:lnTo>
                  <a:lnTo>
                    <a:pt x="288" y="1170"/>
                  </a:lnTo>
                  <a:lnTo>
                    <a:pt x="288" y="1164"/>
                  </a:lnTo>
                  <a:lnTo>
                    <a:pt x="282" y="1140"/>
                  </a:lnTo>
                  <a:lnTo>
                    <a:pt x="276" y="1134"/>
                  </a:lnTo>
                  <a:lnTo>
                    <a:pt x="258" y="1116"/>
                  </a:lnTo>
                  <a:lnTo>
                    <a:pt x="258" y="1110"/>
                  </a:lnTo>
                  <a:lnTo>
                    <a:pt x="252" y="1110"/>
                  </a:lnTo>
                  <a:lnTo>
                    <a:pt x="252" y="1104"/>
                  </a:lnTo>
                  <a:lnTo>
                    <a:pt x="252" y="1098"/>
                  </a:lnTo>
                  <a:lnTo>
                    <a:pt x="240" y="1092"/>
                  </a:lnTo>
                  <a:lnTo>
                    <a:pt x="234" y="1092"/>
                  </a:lnTo>
                  <a:lnTo>
                    <a:pt x="240" y="1086"/>
                  </a:lnTo>
                  <a:lnTo>
                    <a:pt x="234" y="1080"/>
                  </a:lnTo>
                  <a:lnTo>
                    <a:pt x="228" y="1080"/>
                  </a:lnTo>
                  <a:lnTo>
                    <a:pt x="228" y="1068"/>
                  </a:lnTo>
                  <a:lnTo>
                    <a:pt x="228" y="1056"/>
                  </a:lnTo>
                  <a:lnTo>
                    <a:pt x="222" y="1056"/>
                  </a:lnTo>
                  <a:lnTo>
                    <a:pt x="228" y="1044"/>
                  </a:lnTo>
                  <a:lnTo>
                    <a:pt x="228" y="1038"/>
                  </a:lnTo>
                  <a:lnTo>
                    <a:pt x="228" y="1032"/>
                  </a:lnTo>
                  <a:lnTo>
                    <a:pt x="234" y="1026"/>
                  </a:lnTo>
                  <a:lnTo>
                    <a:pt x="246" y="1020"/>
                  </a:lnTo>
                  <a:lnTo>
                    <a:pt x="252" y="1020"/>
                  </a:lnTo>
                  <a:lnTo>
                    <a:pt x="258" y="1014"/>
                  </a:lnTo>
                  <a:lnTo>
                    <a:pt x="264" y="1008"/>
                  </a:lnTo>
                  <a:lnTo>
                    <a:pt x="264" y="1002"/>
                  </a:lnTo>
                  <a:lnTo>
                    <a:pt x="270" y="984"/>
                  </a:lnTo>
                  <a:lnTo>
                    <a:pt x="276" y="978"/>
                  </a:lnTo>
                  <a:lnTo>
                    <a:pt x="300" y="978"/>
                  </a:lnTo>
                  <a:lnTo>
                    <a:pt x="306" y="972"/>
                  </a:lnTo>
                  <a:lnTo>
                    <a:pt x="312" y="966"/>
                  </a:lnTo>
                  <a:lnTo>
                    <a:pt x="324" y="936"/>
                  </a:lnTo>
                  <a:lnTo>
                    <a:pt x="330" y="930"/>
                  </a:lnTo>
                  <a:lnTo>
                    <a:pt x="330" y="924"/>
                  </a:lnTo>
                  <a:lnTo>
                    <a:pt x="336" y="918"/>
                  </a:lnTo>
                  <a:lnTo>
                    <a:pt x="342" y="912"/>
                  </a:lnTo>
                  <a:lnTo>
                    <a:pt x="342" y="906"/>
                  </a:lnTo>
                  <a:lnTo>
                    <a:pt x="342" y="900"/>
                  </a:lnTo>
                  <a:lnTo>
                    <a:pt x="342" y="894"/>
                  </a:lnTo>
                  <a:lnTo>
                    <a:pt x="342" y="888"/>
                  </a:lnTo>
                  <a:lnTo>
                    <a:pt x="336" y="876"/>
                  </a:lnTo>
                  <a:lnTo>
                    <a:pt x="342" y="870"/>
                  </a:lnTo>
                  <a:lnTo>
                    <a:pt x="336" y="864"/>
                  </a:lnTo>
                  <a:lnTo>
                    <a:pt x="336" y="858"/>
                  </a:lnTo>
                  <a:lnTo>
                    <a:pt x="330" y="852"/>
                  </a:lnTo>
                  <a:lnTo>
                    <a:pt x="318" y="852"/>
                  </a:lnTo>
                  <a:lnTo>
                    <a:pt x="306" y="858"/>
                  </a:lnTo>
                  <a:lnTo>
                    <a:pt x="264" y="864"/>
                  </a:lnTo>
                  <a:lnTo>
                    <a:pt x="234" y="858"/>
                  </a:lnTo>
                  <a:lnTo>
                    <a:pt x="228" y="858"/>
                  </a:lnTo>
                  <a:lnTo>
                    <a:pt x="198" y="858"/>
                  </a:lnTo>
                  <a:lnTo>
                    <a:pt x="174" y="858"/>
                  </a:lnTo>
                  <a:lnTo>
                    <a:pt x="168" y="852"/>
                  </a:lnTo>
                  <a:lnTo>
                    <a:pt x="168" y="840"/>
                  </a:lnTo>
                  <a:lnTo>
                    <a:pt x="168" y="834"/>
                  </a:lnTo>
                  <a:lnTo>
                    <a:pt x="168" y="822"/>
                  </a:lnTo>
                  <a:lnTo>
                    <a:pt x="162" y="822"/>
                  </a:lnTo>
                  <a:lnTo>
                    <a:pt x="150" y="816"/>
                  </a:lnTo>
                  <a:lnTo>
                    <a:pt x="144" y="810"/>
                  </a:lnTo>
                  <a:lnTo>
                    <a:pt x="144" y="804"/>
                  </a:lnTo>
                  <a:lnTo>
                    <a:pt x="144" y="786"/>
                  </a:lnTo>
                  <a:lnTo>
                    <a:pt x="144" y="780"/>
                  </a:lnTo>
                  <a:lnTo>
                    <a:pt x="144" y="774"/>
                  </a:lnTo>
                  <a:lnTo>
                    <a:pt x="132" y="756"/>
                  </a:lnTo>
                  <a:lnTo>
                    <a:pt x="120" y="756"/>
                  </a:lnTo>
                  <a:lnTo>
                    <a:pt x="84" y="750"/>
                  </a:lnTo>
                  <a:lnTo>
                    <a:pt x="78" y="744"/>
                  </a:lnTo>
                  <a:lnTo>
                    <a:pt x="60" y="744"/>
                  </a:lnTo>
                  <a:lnTo>
                    <a:pt x="54" y="726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66" y="720"/>
                  </a:lnTo>
                  <a:lnTo>
                    <a:pt x="66" y="714"/>
                  </a:lnTo>
                  <a:lnTo>
                    <a:pt x="72" y="714"/>
                  </a:lnTo>
                  <a:lnTo>
                    <a:pt x="72" y="708"/>
                  </a:lnTo>
                  <a:lnTo>
                    <a:pt x="78" y="702"/>
                  </a:lnTo>
                  <a:lnTo>
                    <a:pt x="78" y="696"/>
                  </a:lnTo>
                  <a:lnTo>
                    <a:pt x="78" y="690"/>
                  </a:lnTo>
                  <a:lnTo>
                    <a:pt x="84" y="678"/>
                  </a:lnTo>
                  <a:lnTo>
                    <a:pt x="90" y="666"/>
                  </a:lnTo>
                  <a:lnTo>
                    <a:pt x="90" y="642"/>
                  </a:lnTo>
                  <a:lnTo>
                    <a:pt x="84" y="648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66" y="642"/>
                  </a:lnTo>
                  <a:lnTo>
                    <a:pt x="60" y="642"/>
                  </a:lnTo>
                  <a:lnTo>
                    <a:pt x="54" y="636"/>
                  </a:lnTo>
                  <a:lnTo>
                    <a:pt x="30" y="570"/>
                  </a:lnTo>
                  <a:lnTo>
                    <a:pt x="24" y="564"/>
                  </a:lnTo>
                  <a:lnTo>
                    <a:pt x="18" y="570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6"/>
                  </a:lnTo>
                  <a:lnTo>
                    <a:pt x="6" y="540"/>
                  </a:lnTo>
                  <a:lnTo>
                    <a:pt x="0" y="522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2" y="480"/>
                  </a:lnTo>
                  <a:lnTo>
                    <a:pt x="6" y="480"/>
                  </a:lnTo>
                  <a:lnTo>
                    <a:pt x="0" y="474"/>
                  </a:lnTo>
                  <a:lnTo>
                    <a:pt x="0" y="450"/>
                  </a:lnTo>
                  <a:lnTo>
                    <a:pt x="6" y="450"/>
                  </a:lnTo>
                  <a:lnTo>
                    <a:pt x="12" y="450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32"/>
                  </a:lnTo>
                  <a:lnTo>
                    <a:pt x="30" y="426"/>
                  </a:lnTo>
                  <a:lnTo>
                    <a:pt x="36" y="402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2" y="366"/>
                  </a:lnTo>
                  <a:lnTo>
                    <a:pt x="48" y="360"/>
                  </a:lnTo>
                  <a:lnTo>
                    <a:pt x="48" y="342"/>
                  </a:lnTo>
                  <a:lnTo>
                    <a:pt x="42" y="330"/>
                  </a:lnTo>
                  <a:lnTo>
                    <a:pt x="36" y="324"/>
                  </a:lnTo>
                  <a:lnTo>
                    <a:pt x="42" y="306"/>
                  </a:lnTo>
                  <a:lnTo>
                    <a:pt x="42" y="270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48" y="258"/>
                  </a:lnTo>
                  <a:lnTo>
                    <a:pt x="72" y="252"/>
                  </a:lnTo>
                  <a:lnTo>
                    <a:pt x="66" y="204"/>
                  </a:lnTo>
                  <a:lnTo>
                    <a:pt x="60" y="198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8" y="13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84" y="96"/>
                  </a:lnTo>
                  <a:lnTo>
                    <a:pt x="90" y="84"/>
                  </a:lnTo>
                  <a:lnTo>
                    <a:pt x="108" y="72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20" y="60"/>
                  </a:lnTo>
                  <a:lnTo>
                    <a:pt x="120" y="54"/>
                  </a:lnTo>
                  <a:lnTo>
                    <a:pt x="120" y="48"/>
                  </a:lnTo>
                  <a:lnTo>
                    <a:pt x="126" y="48"/>
                  </a:lnTo>
                  <a:lnTo>
                    <a:pt x="132" y="42"/>
                  </a:lnTo>
                  <a:lnTo>
                    <a:pt x="132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240" y="18"/>
                  </a:lnTo>
                  <a:lnTo>
                    <a:pt x="246" y="42"/>
                  </a:lnTo>
                  <a:lnTo>
                    <a:pt x="240" y="72"/>
                  </a:lnTo>
                  <a:lnTo>
                    <a:pt x="246" y="78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8" y="108"/>
                  </a:lnTo>
                  <a:lnTo>
                    <a:pt x="276" y="114"/>
                  </a:lnTo>
                  <a:lnTo>
                    <a:pt x="294" y="150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82" y="186"/>
                  </a:lnTo>
                  <a:lnTo>
                    <a:pt x="282" y="192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76" y="216"/>
                  </a:lnTo>
                  <a:lnTo>
                    <a:pt x="288" y="240"/>
                  </a:lnTo>
                  <a:lnTo>
                    <a:pt x="312" y="228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66" y="228"/>
                  </a:lnTo>
                  <a:lnTo>
                    <a:pt x="372" y="228"/>
                  </a:lnTo>
                  <a:lnTo>
                    <a:pt x="372" y="222"/>
                  </a:lnTo>
                  <a:lnTo>
                    <a:pt x="378" y="222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6" y="222"/>
                  </a:lnTo>
                  <a:lnTo>
                    <a:pt x="402" y="222"/>
                  </a:lnTo>
                  <a:lnTo>
                    <a:pt x="402" y="228"/>
                  </a:lnTo>
                  <a:lnTo>
                    <a:pt x="408" y="228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26" y="216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68" y="258"/>
                  </a:lnTo>
                  <a:lnTo>
                    <a:pt x="462" y="264"/>
                  </a:lnTo>
                  <a:lnTo>
                    <a:pt x="468" y="264"/>
                  </a:lnTo>
                  <a:lnTo>
                    <a:pt x="468" y="270"/>
                  </a:lnTo>
                  <a:lnTo>
                    <a:pt x="474" y="270"/>
                  </a:lnTo>
                  <a:lnTo>
                    <a:pt x="480" y="276"/>
                  </a:lnTo>
                  <a:lnTo>
                    <a:pt x="474" y="282"/>
                  </a:lnTo>
                  <a:lnTo>
                    <a:pt x="474" y="288"/>
                  </a:lnTo>
                  <a:lnTo>
                    <a:pt x="462" y="294"/>
                  </a:lnTo>
                  <a:lnTo>
                    <a:pt x="468" y="324"/>
                  </a:lnTo>
                  <a:lnTo>
                    <a:pt x="462" y="336"/>
                  </a:lnTo>
                  <a:lnTo>
                    <a:pt x="456" y="354"/>
                  </a:lnTo>
                  <a:lnTo>
                    <a:pt x="432" y="390"/>
                  </a:lnTo>
                  <a:lnTo>
                    <a:pt x="420" y="390"/>
                  </a:lnTo>
                  <a:lnTo>
                    <a:pt x="402" y="390"/>
                  </a:lnTo>
                  <a:lnTo>
                    <a:pt x="396" y="396"/>
                  </a:lnTo>
                  <a:lnTo>
                    <a:pt x="390" y="396"/>
                  </a:lnTo>
                  <a:lnTo>
                    <a:pt x="390" y="402"/>
                  </a:lnTo>
                  <a:lnTo>
                    <a:pt x="384" y="402"/>
                  </a:lnTo>
                  <a:lnTo>
                    <a:pt x="408" y="432"/>
                  </a:lnTo>
                  <a:lnTo>
                    <a:pt x="432" y="438"/>
                  </a:lnTo>
                  <a:lnTo>
                    <a:pt x="456" y="432"/>
                  </a:lnTo>
                  <a:lnTo>
                    <a:pt x="468" y="426"/>
                  </a:lnTo>
                  <a:lnTo>
                    <a:pt x="468" y="444"/>
                  </a:lnTo>
                  <a:lnTo>
                    <a:pt x="468" y="450"/>
                  </a:lnTo>
                  <a:lnTo>
                    <a:pt x="468" y="474"/>
                  </a:lnTo>
                  <a:lnTo>
                    <a:pt x="486" y="480"/>
                  </a:lnTo>
                  <a:lnTo>
                    <a:pt x="486" y="486"/>
                  </a:lnTo>
                  <a:lnTo>
                    <a:pt x="492" y="498"/>
                  </a:lnTo>
                  <a:lnTo>
                    <a:pt x="492" y="504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504" y="516"/>
                  </a:lnTo>
                  <a:lnTo>
                    <a:pt x="510" y="516"/>
                  </a:lnTo>
                  <a:lnTo>
                    <a:pt x="522" y="528"/>
                  </a:lnTo>
                  <a:lnTo>
                    <a:pt x="546" y="540"/>
                  </a:lnTo>
                  <a:lnTo>
                    <a:pt x="552" y="546"/>
                  </a:lnTo>
                  <a:lnTo>
                    <a:pt x="570" y="552"/>
                  </a:lnTo>
                  <a:lnTo>
                    <a:pt x="594" y="552"/>
                  </a:lnTo>
                  <a:lnTo>
                    <a:pt x="606" y="546"/>
                  </a:lnTo>
                  <a:lnTo>
                    <a:pt x="612" y="540"/>
                  </a:lnTo>
                  <a:lnTo>
                    <a:pt x="630" y="540"/>
                  </a:lnTo>
                  <a:lnTo>
                    <a:pt x="630" y="552"/>
                  </a:lnTo>
                  <a:lnTo>
                    <a:pt x="654" y="552"/>
                  </a:lnTo>
                  <a:lnTo>
                    <a:pt x="702" y="558"/>
                  </a:lnTo>
                  <a:lnTo>
                    <a:pt x="762" y="546"/>
                  </a:lnTo>
                  <a:lnTo>
                    <a:pt x="780" y="546"/>
                  </a:lnTo>
                  <a:lnTo>
                    <a:pt x="780" y="528"/>
                  </a:lnTo>
                  <a:lnTo>
                    <a:pt x="798" y="522"/>
                  </a:lnTo>
                  <a:lnTo>
                    <a:pt x="810" y="510"/>
                  </a:lnTo>
                  <a:lnTo>
                    <a:pt x="810" y="504"/>
                  </a:lnTo>
                  <a:lnTo>
                    <a:pt x="828" y="492"/>
                  </a:lnTo>
                  <a:lnTo>
                    <a:pt x="888" y="486"/>
                  </a:lnTo>
                  <a:lnTo>
                    <a:pt x="912" y="486"/>
                  </a:lnTo>
                  <a:lnTo>
                    <a:pt x="930" y="474"/>
                  </a:lnTo>
                  <a:lnTo>
                    <a:pt x="918" y="456"/>
                  </a:lnTo>
                  <a:lnTo>
                    <a:pt x="912" y="450"/>
                  </a:lnTo>
                  <a:lnTo>
                    <a:pt x="918" y="390"/>
                  </a:lnTo>
                  <a:lnTo>
                    <a:pt x="954" y="396"/>
                  </a:lnTo>
                  <a:lnTo>
                    <a:pt x="984" y="402"/>
                  </a:lnTo>
                  <a:lnTo>
                    <a:pt x="1014" y="420"/>
                  </a:lnTo>
                  <a:lnTo>
                    <a:pt x="1026" y="432"/>
                  </a:lnTo>
                  <a:lnTo>
                    <a:pt x="1044" y="450"/>
                  </a:lnTo>
                  <a:lnTo>
                    <a:pt x="1062" y="462"/>
                  </a:lnTo>
                  <a:lnTo>
                    <a:pt x="1098" y="468"/>
                  </a:lnTo>
                  <a:lnTo>
                    <a:pt x="1128" y="480"/>
                  </a:lnTo>
                  <a:lnTo>
                    <a:pt x="1152" y="486"/>
                  </a:lnTo>
                  <a:lnTo>
                    <a:pt x="1188" y="498"/>
                  </a:lnTo>
                  <a:lnTo>
                    <a:pt x="1212" y="504"/>
                  </a:lnTo>
                  <a:lnTo>
                    <a:pt x="1224" y="528"/>
                  </a:lnTo>
                  <a:lnTo>
                    <a:pt x="1236" y="540"/>
                  </a:lnTo>
                  <a:lnTo>
                    <a:pt x="1254" y="540"/>
                  </a:lnTo>
                  <a:lnTo>
                    <a:pt x="1254" y="546"/>
                  </a:lnTo>
                  <a:lnTo>
                    <a:pt x="1260" y="552"/>
                  </a:lnTo>
                  <a:lnTo>
                    <a:pt x="1266" y="552"/>
                  </a:lnTo>
                  <a:lnTo>
                    <a:pt x="1266" y="558"/>
                  </a:lnTo>
                  <a:lnTo>
                    <a:pt x="1272" y="564"/>
                  </a:lnTo>
                  <a:lnTo>
                    <a:pt x="1278" y="564"/>
                  </a:lnTo>
                  <a:lnTo>
                    <a:pt x="1278" y="570"/>
                  </a:lnTo>
                  <a:lnTo>
                    <a:pt x="1284" y="576"/>
                  </a:lnTo>
                  <a:lnTo>
                    <a:pt x="1290" y="582"/>
                  </a:lnTo>
                  <a:lnTo>
                    <a:pt x="1296" y="582"/>
                  </a:lnTo>
                  <a:lnTo>
                    <a:pt x="1296" y="588"/>
                  </a:lnTo>
                  <a:lnTo>
                    <a:pt x="1308" y="594"/>
                  </a:lnTo>
                  <a:lnTo>
                    <a:pt x="1308" y="600"/>
                  </a:lnTo>
                  <a:lnTo>
                    <a:pt x="1308" y="606"/>
                  </a:lnTo>
                  <a:lnTo>
                    <a:pt x="1314" y="612"/>
                  </a:lnTo>
                  <a:lnTo>
                    <a:pt x="1308" y="618"/>
                  </a:lnTo>
                  <a:lnTo>
                    <a:pt x="1314" y="618"/>
                  </a:lnTo>
                  <a:lnTo>
                    <a:pt x="1314" y="624"/>
                  </a:lnTo>
                  <a:lnTo>
                    <a:pt x="1308" y="624"/>
                  </a:lnTo>
                  <a:lnTo>
                    <a:pt x="1302" y="630"/>
                  </a:lnTo>
                  <a:lnTo>
                    <a:pt x="1302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296" y="654"/>
                  </a:lnTo>
                  <a:lnTo>
                    <a:pt x="1302" y="660"/>
                  </a:lnTo>
                  <a:lnTo>
                    <a:pt x="1302" y="666"/>
                  </a:lnTo>
                  <a:lnTo>
                    <a:pt x="1308" y="666"/>
                  </a:lnTo>
                  <a:lnTo>
                    <a:pt x="1308" y="672"/>
                  </a:lnTo>
                  <a:lnTo>
                    <a:pt x="1308" y="678"/>
                  </a:lnTo>
                  <a:lnTo>
                    <a:pt x="1308" y="684"/>
                  </a:lnTo>
                  <a:lnTo>
                    <a:pt x="1308" y="690"/>
                  </a:lnTo>
                  <a:lnTo>
                    <a:pt x="1302" y="696"/>
                  </a:lnTo>
                  <a:lnTo>
                    <a:pt x="1302" y="702"/>
                  </a:lnTo>
                  <a:lnTo>
                    <a:pt x="1308" y="702"/>
                  </a:lnTo>
                  <a:lnTo>
                    <a:pt x="1302" y="708"/>
                  </a:lnTo>
                  <a:lnTo>
                    <a:pt x="1308" y="714"/>
                  </a:lnTo>
                  <a:lnTo>
                    <a:pt x="1308" y="720"/>
                  </a:lnTo>
                  <a:lnTo>
                    <a:pt x="1308" y="726"/>
                  </a:lnTo>
                  <a:lnTo>
                    <a:pt x="1308" y="732"/>
                  </a:lnTo>
                  <a:lnTo>
                    <a:pt x="1314" y="732"/>
                  </a:lnTo>
                  <a:lnTo>
                    <a:pt x="1314" y="738"/>
                  </a:lnTo>
                  <a:lnTo>
                    <a:pt x="1320" y="744"/>
                  </a:lnTo>
                  <a:lnTo>
                    <a:pt x="1326" y="750"/>
                  </a:lnTo>
                  <a:lnTo>
                    <a:pt x="1320" y="750"/>
                  </a:lnTo>
                  <a:lnTo>
                    <a:pt x="1320" y="756"/>
                  </a:lnTo>
                  <a:lnTo>
                    <a:pt x="1314" y="756"/>
                  </a:lnTo>
                  <a:lnTo>
                    <a:pt x="1314" y="762"/>
                  </a:lnTo>
                  <a:lnTo>
                    <a:pt x="1314" y="768"/>
                  </a:lnTo>
                  <a:lnTo>
                    <a:pt x="1320" y="768"/>
                  </a:lnTo>
                  <a:lnTo>
                    <a:pt x="1320" y="762"/>
                  </a:lnTo>
                  <a:lnTo>
                    <a:pt x="1320" y="768"/>
                  </a:lnTo>
                  <a:lnTo>
                    <a:pt x="1326" y="774"/>
                  </a:lnTo>
                  <a:lnTo>
                    <a:pt x="1332" y="774"/>
                  </a:lnTo>
                  <a:lnTo>
                    <a:pt x="1332" y="780"/>
                  </a:lnTo>
                  <a:lnTo>
                    <a:pt x="1332" y="786"/>
                  </a:lnTo>
                  <a:lnTo>
                    <a:pt x="1332" y="792"/>
                  </a:lnTo>
                  <a:lnTo>
                    <a:pt x="1338" y="786"/>
                  </a:lnTo>
                  <a:lnTo>
                    <a:pt x="1338" y="792"/>
                  </a:lnTo>
                  <a:lnTo>
                    <a:pt x="1344" y="798"/>
                  </a:lnTo>
                  <a:lnTo>
                    <a:pt x="1344" y="804"/>
                  </a:lnTo>
                  <a:lnTo>
                    <a:pt x="1344" y="810"/>
                  </a:lnTo>
                  <a:lnTo>
                    <a:pt x="1344" y="816"/>
                  </a:lnTo>
                  <a:lnTo>
                    <a:pt x="1344" y="822"/>
                  </a:lnTo>
                  <a:lnTo>
                    <a:pt x="1338" y="828"/>
                  </a:lnTo>
                  <a:lnTo>
                    <a:pt x="1332" y="828"/>
                  </a:lnTo>
                  <a:lnTo>
                    <a:pt x="1338" y="840"/>
                  </a:lnTo>
                  <a:lnTo>
                    <a:pt x="1344" y="846"/>
                  </a:lnTo>
                  <a:lnTo>
                    <a:pt x="1344" y="852"/>
                  </a:lnTo>
                  <a:lnTo>
                    <a:pt x="1350" y="852"/>
                  </a:lnTo>
                  <a:lnTo>
                    <a:pt x="1356" y="858"/>
                  </a:lnTo>
                  <a:lnTo>
                    <a:pt x="1362" y="858"/>
                  </a:lnTo>
                  <a:lnTo>
                    <a:pt x="1362" y="870"/>
                  </a:lnTo>
                  <a:lnTo>
                    <a:pt x="1356" y="870"/>
                  </a:lnTo>
                  <a:lnTo>
                    <a:pt x="1356" y="876"/>
                  </a:lnTo>
                  <a:lnTo>
                    <a:pt x="1350" y="876"/>
                  </a:lnTo>
                  <a:lnTo>
                    <a:pt x="1344" y="876"/>
                  </a:lnTo>
                  <a:lnTo>
                    <a:pt x="1344" y="882"/>
                  </a:lnTo>
                  <a:lnTo>
                    <a:pt x="1338" y="882"/>
                  </a:lnTo>
                  <a:lnTo>
                    <a:pt x="1338" y="888"/>
                  </a:lnTo>
                  <a:lnTo>
                    <a:pt x="1338" y="894"/>
                  </a:lnTo>
                  <a:lnTo>
                    <a:pt x="1344" y="900"/>
                  </a:lnTo>
                  <a:lnTo>
                    <a:pt x="1344" y="906"/>
                  </a:lnTo>
                  <a:lnTo>
                    <a:pt x="1338" y="906"/>
                  </a:lnTo>
                  <a:lnTo>
                    <a:pt x="1332" y="912"/>
                  </a:lnTo>
                  <a:lnTo>
                    <a:pt x="1332" y="918"/>
                  </a:lnTo>
                  <a:lnTo>
                    <a:pt x="1326" y="918"/>
                  </a:lnTo>
                  <a:lnTo>
                    <a:pt x="1332" y="924"/>
                  </a:lnTo>
                  <a:lnTo>
                    <a:pt x="1284" y="942"/>
                  </a:lnTo>
                  <a:lnTo>
                    <a:pt x="1236" y="948"/>
                  </a:lnTo>
                  <a:lnTo>
                    <a:pt x="1194" y="966"/>
                  </a:lnTo>
                  <a:lnTo>
                    <a:pt x="1170" y="1002"/>
                  </a:lnTo>
                  <a:lnTo>
                    <a:pt x="1134" y="1020"/>
                  </a:lnTo>
                  <a:lnTo>
                    <a:pt x="1116" y="1032"/>
                  </a:lnTo>
                  <a:lnTo>
                    <a:pt x="1098" y="1050"/>
                  </a:lnTo>
                  <a:lnTo>
                    <a:pt x="1074" y="1074"/>
                  </a:lnTo>
                  <a:lnTo>
                    <a:pt x="1008" y="1134"/>
                  </a:lnTo>
                  <a:lnTo>
                    <a:pt x="990" y="1158"/>
                  </a:lnTo>
                  <a:lnTo>
                    <a:pt x="978" y="1182"/>
                  </a:lnTo>
                  <a:lnTo>
                    <a:pt x="960" y="1194"/>
                  </a:lnTo>
                  <a:lnTo>
                    <a:pt x="942" y="1212"/>
                  </a:lnTo>
                  <a:lnTo>
                    <a:pt x="912" y="1242"/>
                  </a:lnTo>
                  <a:lnTo>
                    <a:pt x="888" y="1254"/>
                  </a:lnTo>
                  <a:lnTo>
                    <a:pt x="864" y="1278"/>
                  </a:lnTo>
                  <a:lnTo>
                    <a:pt x="828" y="1296"/>
                  </a:lnTo>
                  <a:lnTo>
                    <a:pt x="774" y="1308"/>
                  </a:lnTo>
                  <a:lnTo>
                    <a:pt x="732" y="1302"/>
                  </a:lnTo>
                  <a:lnTo>
                    <a:pt x="702" y="1284"/>
                  </a:lnTo>
                  <a:lnTo>
                    <a:pt x="684" y="12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1" name="Freeform 16">
              <a:extLst>
                <a:ext uri="{FF2B5EF4-FFF2-40B4-BE49-F238E27FC236}">
                  <a16:creationId xmlns:a16="http://schemas.microsoft.com/office/drawing/2014/main" id="{D8D8591A-D9DB-4301-BEBD-D8F5A26DA9E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3001" y="2929369"/>
              <a:ext cx="914601" cy="1037736"/>
            </a:xfrm>
            <a:custGeom>
              <a:avLst/>
              <a:gdLst>
                <a:gd name="T0" fmla="*/ 144 w 1722"/>
                <a:gd name="T1" fmla="*/ 131 h 1956"/>
                <a:gd name="T2" fmla="*/ 142 w 1722"/>
                <a:gd name="T3" fmla="*/ 139 h 1956"/>
                <a:gd name="T4" fmla="*/ 137 w 1722"/>
                <a:gd name="T5" fmla="*/ 143 h 1956"/>
                <a:gd name="T6" fmla="*/ 133 w 1722"/>
                <a:gd name="T7" fmla="*/ 147 h 1956"/>
                <a:gd name="T8" fmla="*/ 132 w 1722"/>
                <a:gd name="T9" fmla="*/ 152 h 1956"/>
                <a:gd name="T10" fmla="*/ 130 w 1722"/>
                <a:gd name="T11" fmla="*/ 159 h 1956"/>
                <a:gd name="T12" fmla="*/ 127 w 1722"/>
                <a:gd name="T13" fmla="*/ 164 h 1956"/>
                <a:gd name="T14" fmla="*/ 123 w 1722"/>
                <a:gd name="T15" fmla="*/ 168 h 1956"/>
                <a:gd name="T16" fmla="*/ 117 w 1722"/>
                <a:gd name="T17" fmla="*/ 169 h 1956"/>
                <a:gd name="T18" fmla="*/ 110 w 1722"/>
                <a:gd name="T19" fmla="*/ 168 h 1956"/>
                <a:gd name="T20" fmla="*/ 104 w 1722"/>
                <a:gd name="T21" fmla="*/ 166 h 1956"/>
                <a:gd name="T22" fmla="*/ 101 w 1722"/>
                <a:gd name="T23" fmla="*/ 159 h 1956"/>
                <a:gd name="T24" fmla="*/ 95 w 1722"/>
                <a:gd name="T25" fmla="*/ 156 h 1956"/>
                <a:gd name="T26" fmla="*/ 89 w 1722"/>
                <a:gd name="T27" fmla="*/ 151 h 1956"/>
                <a:gd name="T28" fmla="*/ 87 w 1722"/>
                <a:gd name="T29" fmla="*/ 144 h 1956"/>
                <a:gd name="T30" fmla="*/ 82 w 1722"/>
                <a:gd name="T31" fmla="*/ 141 h 1956"/>
                <a:gd name="T32" fmla="*/ 76 w 1722"/>
                <a:gd name="T33" fmla="*/ 134 h 1956"/>
                <a:gd name="T34" fmla="*/ 74 w 1722"/>
                <a:gd name="T35" fmla="*/ 143 h 1956"/>
                <a:gd name="T36" fmla="*/ 68 w 1722"/>
                <a:gd name="T37" fmla="*/ 147 h 1956"/>
                <a:gd name="T38" fmla="*/ 54 w 1722"/>
                <a:gd name="T39" fmla="*/ 144 h 1956"/>
                <a:gd name="T40" fmla="*/ 51 w 1722"/>
                <a:gd name="T41" fmla="*/ 142 h 1956"/>
                <a:gd name="T42" fmla="*/ 42 w 1722"/>
                <a:gd name="T43" fmla="*/ 151 h 1956"/>
                <a:gd name="T44" fmla="*/ 33 w 1722"/>
                <a:gd name="T45" fmla="*/ 154 h 1956"/>
                <a:gd name="T46" fmla="*/ 31 w 1722"/>
                <a:gd name="T47" fmla="*/ 159 h 1956"/>
                <a:gd name="T48" fmla="*/ 29 w 1722"/>
                <a:gd name="T49" fmla="*/ 166 h 1956"/>
                <a:gd name="T50" fmla="*/ 25 w 1722"/>
                <a:gd name="T51" fmla="*/ 169 h 1956"/>
                <a:gd name="T52" fmla="*/ 27 w 1722"/>
                <a:gd name="T53" fmla="*/ 154 h 1956"/>
                <a:gd name="T54" fmla="*/ 37 w 1722"/>
                <a:gd name="T55" fmla="*/ 133 h 1956"/>
                <a:gd name="T56" fmla="*/ 36 w 1722"/>
                <a:gd name="T57" fmla="*/ 109 h 1956"/>
                <a:gd name="T58" fmla="*/ 27 w 1722"/>
                <a:gd name="T59" fmla="*/ 101 h 1956"/>
                <a:gd name="T60" fmla="*/ 5 w 1722"/>
                <a:gd name="T61" fmla="*/ 98 h 1956"/>
                <a:gd name="T62" fmla="*/ 2 w 1722"/>
                <a:gd name="T63" fmla="*/ 93 h 1956"/>
                <a:gd name="T64" fmla="*/ 12 w 1722"/>
                <a:gd name="T65" fmla="*/ 82 h 1956"/>
                <a:gd name="T66" fmla="*/ 9 w 1722"/>
                <a:gd name="T67" fmla="*/ 74 h 1956"/>
                <a:gd name="T68" fmla="*/ 23 w 1722"/>
                <a:gd name="T69" fmla="*/ 72 h 1956"/>
                <a:gd name="T70" fmla="*/ 22 w 1722"/>
                <a:gd name="T71" fmla="*/ 67 h 1956"/>
                <a:gd name="T72" fmla="*/ 48 w 1722"/>
                <a:gd name="T73" fmla="*/ 57 h 1956"/>
                <a:gd name="T74" fmla="*/ 78 w 1722"/>
                <a:gd name="T75" fmla="*/ 34 h 1956"/>
                <a:gd name="T76" fmla="*/ 81 w 1722"/>
                <a:gd name="T77" fmla="*/ 31 h 1956"/>
                <a:gd name="T78" fmla="*/ 80 w 1722"/>
                <a:gd name="T79" fmla="*/ 26 h 1956"/>
                <a:gd name="T80" fmla="*/ 78 w 1722"/>
                <a:gd name="T81" fmla="*/ 21 h 1956"/>
                <a:gd name="T82" fmla="*/ 77 w 1722"/>
                <a:gd name="T83" fmla="*/ 18 h 1956"/>
                <a:gd name="T84" fmla="*/ 77 w 1722"/>
                <a:gd name="T85" fmla="*/ 12 h 1956"/>
                <a:gd name="T86" fmla="*/ 77 w 1722"/>
                <a:gd name="T87" fmla="*/ 7 h 1956"/>
                <a:gd name="T88" fmla="*/ 102 w 1722"/>
                <a:gd name="T89" fmla="*/ 2 h 1956"/>
                <a:gd name="T90" fmla="*/ 115 w 1722"/>
                <a:gd name="T91" fmla="*/ 3 h 1956"/>
                <a:gd name="T92" fmla="*/ 123 w 1722"/>
                <a:gd name="T93" fmla="*/ 3 h 1956"/>
                <a:gd name="T94" fmla="*/ 125 w 1722"/>
                <a:gd name="T95" fmla="*/ 9 h 1956"/>
                <a:gd name="T96" fmla="*/ 133 w 1722"/>
                <a:gd name="T97" fmla="*/ 13 h 1956"/>
                <a:gd name="T98" fmla="*/ 149 w 1722"/>
                <a:gd name="T99" fmla="*/ 37 h 1956"/>
                <a:gd name="T100" fmla="*/ 141 w 1722"/>
                <a:gd name="T101" fmla="*/ 57 h 1956"/>
                <a:gd name="T102" fmla="*/ 135 w 1722"/>
                <a:gd name="T103" fmla="*/ 63 h 1956"/>
                <a:gd name="T104" fmla="*/ 124 w 1722"/>
                <a:gd name="T105" fmla="*/ 77 h 1956"/>
                <a:gd name="T106" fmla="*/ 123 w 1722"/>
                <a:gd name="T107" fmla="*/ 96 h 1956"/>
                <a:gd name="T108" fmla="*/ 127 w 1722"/>
                <a:gd name="T109" fmla="*/ 97 h 1956"/>
                <a:gd name="T110" fmla="*/ 129 w 1722"/>
                <a:gd name="T111" fmla="*/ 92 h 1956"/>
                <a:gd name="T112" fmla="*/ 134 w 1722"/>
                <a:gd name="T113" fmla="*/ 94 h 1956"/>
                <a:gd name="T114" fmla="*/ 138 w 1722"/>
                <a:gd name="T115" fmla="*/ 99 h 1956"/>
                <a:gd name="T116" fmla="*/ 142 w 1722"/>
                <a:gd name="T117" fmla="*/ 104 h 1956"/>
                <a:gd name="T118" fmla="*/ 141 w 1722"/>
                <a:gd name="T119" fmla="*/ 115 h 19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722"/>
                <a:gd name="T181" fmla="*/ 0 h 1956"/>
                <a:gd name="T182" fmla="*/ 1722 w 1722"/>
                <a:gd name="T183" fmla="*/ 1956 h 19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722" h="1956">
                  <a:moveTo>
                    <a:pt x="1686" y="1404"/>
                  </a:moveTo>
                  <a:lnTo>
                    <a:pt x="1680" y="1416"/>
                  </a:lnTo>
                  <a:lnTo>
                    <a:pt x="1674" y="1422"/>
                  </a:lnTo>
                  <a:lnTo>
                    <a:pt x="1674" y="1428"/>
                  </a:lnTo>
                  <a:lnTo>
                    <a:pt x="1668" y="1428"/>
                  </a:lnTo>
                  <a:lnTo>
                    <a:pt x="1668" y="1434"/>
                  </a:lnTo>
                  <a:lnTo>
                    <a:pt x="1662" y="1446"/>
                  </a:lnTo>
                  <a:lnTo>
                    <a:pt x="1656" y="1464"/>
                  </a:lnTo>
                  <a:lnTo>
                    <a:pt x="1656" y="1476"/>
                  </a:lnTo>
                  <a:lnTo>
                    <a:pt x="1656" y="1488"/>
                  </a:lnTo>
                  <a:lnTo>
                    <a:pt x="1662" y="1500"/>
                  </a:lnTo>
                  <a:lnTo>
                    <a:pt x="1662" y="1506"/>
                  </a:lnTo>
                  <a:lnTo>
                    <a:pt x="1662" y="1524"/>
                  </a:lnTo>
                  <a:lnTo>
                    <a:pt x="1668" y="1542"/>
                  </a:lnTo>
                  <a:lnTo>
                    <a:pt x="1674" y="1560"/>
                  </a:lnTo>
                  <a:lnTo>
                    <a:pt x="1680" y="1578"/>
                  </a:lnTo>
                  <a:lnTo>
                    <a:pt x="1686" y="1578"/>
                  </a:lnTo>
                  <a:lnTo>
                    <a:pt x="1686" y="1584"/>
                  </a:lnTo>
                  <a:lnTo>
                    <a:pt x="1686" y="1590"/>
                  </a:lnTo>
                  <a:lnTo>
                    <a:pt x="1686" y="1596"/>
                  </a:lnTo>
                  <a:lnTo>
                    <a:pt x="1680" y="1596"/>
                  </a:lnTo>
                  <a:lnTo>
                    <a:pt x="1674" y="1602"/>
                  </a:lnTo>
                  <a:lnTo>
                    <a:pt x="1662" y="1602"/>
                  </a:lnTo>
                  <a:lnTo>
                    <a:pt x="1638" y="1596"/>
                  </a:lnTo>
                  <a:lnTo>
                    <a:pt x="1632" y="1596"/>
                  </a:lnTo>
                  <a:lnTo>
                    <a:pt x="1626" y="1602"/>
                  </a:lnTo>
                  <a:lnTo>
                    <a:pt x="1620" y="1602"/>
                  </a:lnTo>
                  <a:lnTo>
                    <a:pt x="1614" y="1602"/>
                  </a:lnTo>
                  <a:lnTo>
                    <a:pt x="1602" y="1602"/>
                  </a:lnTo>
                  <a:lnTo>
                    <a:pt x="1602" y="1608"/>
                  </a:lnTo>
                  <a:lnTo>
                    <a:pt x="1602" y="1620"/>
                  </a:lnTo>
                  <a:lnTo>
                    <a:pt x="1596" y="1620"/>
                  </a:lnTo>
                  <a:lnTo>
                    <a:pt x="1590" y="1620"/>
                  </a:lnTo>
                  <a:lnTo>
                    <a:pt x="1584" y="1626"/>
                  </a:lnTo>
                  <a:lnTo>
                    <a:pt x="1584" y="1632"/>
                  </a:lnTo>
                  <a:lnTo>
                    <a:pt x="1578" y="1644"/>
                  </a:lnTo>
                  <a:lnTo>
                    <a:pt x="1572" y="1644"/>
                  </a:lnTo>
                  <a:lnTo>
                    <a:pt x="1566" y="1644"/>
                  </a:lnTo>
                  <a:lnTo>
                    <a:pt x="1566" y="1650"/>
                  </a:lnTo>
                  <a:lnTo>
                    <a:pt x="1560" y="1650"/>
                  </a:lnTo>
                  <a:lnTo>
                    <a:pt x="1554" y="1650"/>
                  </a:lnTo>
                  <a:lnTo>
                    <a:pt x="1548" y="1650"/>
                  </a:lnTo>
                  <a:lnTo>
                    <a:pt x="1548" y="1656"/>
                  </a:lnTo>
                  <a:lnTo>
                    <a:pt x="1542" y="1668"/>
                  </a:lnTo>
                  <a:lnTo>
                    <a:pt x="1542" y="1674"/>
                  </a:lnTo>
                  <a:lnTo>
                    <a:pt x="1542" y="1692"/>
                  </a:lnTo>
                  <a:lnTo>
                    <a:pt x="1536" y="1698"/>
                  </a:lnTo>
                  <a:lnTo>
                    <a:pt x="1530" y="1698"/>
                  </a:lnTo>
                  <a:lnTo>
                    <a:pt x="1524" y="1698"/>
                  </a:lnTo>
                  <a:lnTo>
                    <a:pt x="1518" y="1704"/>
                  </a:lnTo>
                  <a:lnTo>
                    <a:pt x="1512" y="1710"/>
                  </a:lnTo>
                  <a:lnTo>
                    <a:pt x="1506" y="1722"/>
                  </a:lnTo>
                  <a:lnTo>
                    <a:pt x="1500" y="1728"/>
                  </a:lnTo>
                  <a:lnTo>
                    <a:pt x="1500" y="1734"/>
                  </a:lnTo>
                  <a:lnTo>
                    <a:pt x="1512" y="1734"/>
                  </a:lnTo>
                  <a:lnTo>
                    <a:pt x="1518" y="1740"/>
                  </a:lnTo>
                  <a:lnTo>
                    <a:pt x="1518" y="1746"/>
                  </a:lnTo>
                  <a:lnTo>
                    <a:pt x="1518" y="1752"/>
                  </a:lnTo>
                  <a:lnTo>
                    <a:pt x="1518" y="1758"/>
                  </a:lnTo>
                  <a:lnTo>
                    <a:pt x="1524" y="1758"/>
                  </a:lnTo>
                  <a:lnTo>
                    <a:pt x="1524" y="1764"/>
                  </a:lnTo>
                  <a:lnTo>
                    <a:pt x="1530" y="1770"/>
                  </a:lnTo>
                  <a:lnTo>
                    <a:pt x="1518" y="1770"/>
                  </a:lnTo>
                  <a:lnTo>
                    <a:pt x="1512" y="1782"/>
                  </a:lnTo>
                  <a:lnTo>
                    <a:pt x="1512" y="1788"/>
                  </a:lnTo>
                  <a:lnTo>
                    <a:pt x="1518" y="1788"/>
                  </a:lnTo>
                  <a:lnTo>
                    <a:pt x="1524" y="1800"/>
                  </a:lnTo>
                  <a:lnTo>
                    <a:pt x="1524" y="1806"/>
                  </a:lnTo>
                  <a:lnTo>
                    <a:pt x="1518" y="1812"/>
                  </a:lnTo>
                  <a:lnTo>
                    <a:pt x="1512" y="1818"/>
                  </a:lnTo>
                  <a:lnTo>
                    <a:pt x="1506" y="1818"/>
                  </a:lnTo>
                  <a:lnTo>
                    <a:pt x="1500" y="1824"/>
                  </a:lnTo>
                  <a:lnTo>
                    <a:pt x="1500" y="1836"/>
                  </a:lnTo>
                  <a:lnTo>
                    <a:pt x="1500" y="1842"/>
                  </a:lnTo>
                  <a:lnTo>
                    <a:pt x="1500" y="1848"/>
                  </a:lnTo>
                  <a:lnTo>
                    <a:pt x="1500" y="1854"/>
                  </a:lnTo>
                  <a:lnTo>
                    <a:pt x="1494" y="1860"/>
                  </a:lnTo>
                  <a:lnTo>
                    <a:pt x="1488" y="1860"/>
                  </a:lnTo>
                  <a:lnTo>
                    <a:pt x="1488" y="1866"/>
                  </a:lnTo>
                  <a:lnTo>
                    <a:pt x="1482" y="1872"/>
                  </a:lnTo>
                  <a:lnTo>
                    <a:pt x="1482" y="1878"/>
                  </a:lnTo>
                  <a:lnTo>
                    <a:pt x="1482" y="1884"/>
                  </a:lnTo>
                  <a:lnTo>
                    <a:pt x="1476" y="1890"/>
                  </a:lnTo>
                  <a:lnTo>
                    <a:pt x="1470" y="1890"/>
                  </a:lnTo>
                  <a:lnTo>
                    <a:pt x="1470" y="1896"/>
                  </a:lnTo>
                  <a:lnTo>
                    <a:pt x="1464" y="1896"/>
                  </a:lnTo>
                  <a:lnTo>
                    <a:pt x="1458" y="1896"/>
                  </a:lnTo>
                  <a:lnTo>
                    <a:pt x="1452" y="1896"/>
                  </a:lnTo>
                  <a:lnTo>
                    <a:pt x="1440" y="1890"/>
                  </a:lnTo>
                  <a:lnTo>
                    <a:pt x="1434" y="1896"/>
                  </a:lnTo>
                  <a:lnTo>
                    <a:pt x="1428" y="1896"/>
                  </a:lnTo>
                  <a:lnTo>
                    <a:pt x="1422" y="1896"/>
                  </a:lnTo>
                  <a:lnTo>
                    <a:pt x="1422" y="1902"/>
                  </a:lnTo>
                  <a:lnTo>
                    <a:pt x="1416" y="1902"/>
                  </a:lnTo>
                  <a:lnTo>
                    <a:pt x="1422" y="1914"/>
                  </a:lnTo>
                  <a:lnTo>
                    <a:pt x="1422" y="1932"/>
                  </a:lnTo>
                  <a:lnTo>
                    <a:pt x="1416" y="1938"/>
                  </a:lnTo>
                  <a:lnTo>
                    <a:pt x="1422" y="1938"/>
                  </a:lnTo>
                  <a:lnTo>
                    <a:pt x="1404" y="1938"/>
                  </a:lnTo>
                  <a:lnTo>
                    <a:pt x="1392" y="1944"/>
                  </a:lnTo>
                  <a:lnTo>
                    <a:pt x="1386" y="1944"/>
                  </a:lnTo>
                  <a:lnTo>
                    <a:pt x="1374" y="1944"/>
                  </a:lnTo>
                  <a:lnTo>
                    <a:pt x="1368" y="1950"/>
                  </a:lnTo>
                  <a:lnTo>
                    <a:pt x="1374" y="1956"/>
                  </a:lnTo>
                  <a:lnTo>
                    <a:pt x="1368" y="1956"/>
                  </a:lnTo>
                  <a:lnTo>
                    <a:pt x="1356" y="1956"/>
                  </a:lnTo>
                  <a:lnTo>
                    <a:pt x="1350" y="1956"/>
                  </a:lnTo>
                  <a:lnTo>
                    <a:pt x="1350" y="1950"/>
                  </a:lnTo>
                  <a:lnTo>
                    <a:pt x="1344" y="1944"/>
                  </a:lnTo>
                  <a:lnTo>
                    <a:pt x="1332" y="1938"/>
                  </a:lnTo>
                  <a:lnTo>
                    <a:pt x="1326" y="1938"/>
                  </a:lnTo>
                  <a:lnTo>
                    <a:pt x="1320" y="1938"/>
                  </a:lnTo>
                  <a:lnTo>
                    <a:pt x="1314" y="1944"/>
                  </a:lnTo>
                  <a:lnTo>
                    <a:pt x="1308" y="1944"/>
                  </a:lnTo>
                  <a:lnTo>
                    <a:pt x="1302" y="1944"/>
                  </a:lnTo>
                  <a:lnTo>
                    <a:pt x="1296" y="1938"/>
                  </a:lnTo>
                  <a:lnTo>
                    <a:pt x="1284" y="1938"/>
                  </a:lnTo>
                  <a:lnTo>
                    <a:pt x="1278" y="1938"/>
                  </a:lnTo>
                  <a:lnTo>
                    <a:pt x="1272" y="1938"/>
                  </a:lnTo>
                  <a:lnTo>
                    <a:pt x="1266" y="1932"/>
                  </a:lnTo>
                  <a:lnTo>
                    <a:pt x="1260" y="1932"/>
                  </a:lnTo>
                  <a:lnTo>
                    <a:pt x="1254" y="1920"/>
                  </a:lnTo>
                  <a:lnTo>
                    <a:pt x="1248" y="1920"/>
                  </a:lnTo>
                  <a:lnTo>
                    <a:pt x="1242" y="1920"/>
                  </a:lnTo>
                  <a:lnTo>
                    <a:pt x="1236" y="1926"/>
                  </a:lnTo>
                  <a:lnTo>
                    <a:pt x="1236" y="1932"/>
                  </a:lnTo>
                  <a:lnTo>
                    <a:pt x="1230" y="1932"/>
                  </a:lnTo>
                  <a:lnTo>
                    <a:pt x="1224" y="1932"/>
                  </a:lnTo>
                  <a:lnTo>
                    <a:pt x="1218" y="1938"/>
                  </a:lnTo>
                  <a:lnTo>
                    <a:pt x="1212" y="1932"/>
                  </a:lnTo>
                  <a:lnTo>
                    <a:pt x="1206" y="1926"/>
                  </a:lnTo>
                  <a:lnTo>
                    <a:pt x="1206" y="1908"/>
                  </a:lnTo>
                  <a:lnTo>
                    <a:pt x="1206" y="1884"/>
                  </a:lnTo>
                  <a:lnTo>
                    <a:pt x="1206" y="1866"/>
                  </a:lnTo>
                  <a:lnTo>
                    <a:pt x="1212" y="1848"/>
                  </a:lnTo>
                  <a:lnTo>
                    <a:pt x="1212" y="1842"/>
                  </a:lnTo>
                  <a:lnTo>
                    <a:pt x="1206" y="1836"/>
                  </a:lnTo>
                  <a:lnTo>
                    <a:pt x="1200" y="1830"/>
                  </a:lnTo>
                  <a:lnTo>
                    <a:pt x="1194" y="1824"/>
                  </a:lnTo>
                  <a:lnTo>
                    <a:pt x="1188" y="1824"/>
                  </a:lnTo>
                  <a:lnTo>
                    <a:pt x="1182" y="1824"/>
                  </a:lnTo>
                  <a:lnTo>
                    <a:pt x="1176" y="1824"/>
                  </a:lnTo>
                  <a:lnTo>
                    <a:pt x="1170" y="1818"/>
                  </a:lnTo>
                  <a:lnTo>
                    <a:pt x="1164" y="1830"/>
                  </a:lnTo>
                  <a:lnTo>
                    <a:pt x="1152" y="1836"/>
                  </a:lnTo>
                  <a:lnTo>
                    <a:pt x="1146" y="1842"/>
                  </a:lnTo>
                  <a:lnTo>
                    <a:pt x="1140" y="1842"/>
                  </a:lnTo>
                  <a:lnTo>
                    <a:pt x="1134" y="1842"/>
                  </a:lnTo>
                  <a:lnTo>
                    <a:pt x="1128" y="1842"/>
                  </a:lnTo>
                  <a:lnTo>
                    <a:pt x="1116" y="1836"/>
                  </a:lnTo>
                  <a:lnTo>
                    <a:pt x="1110" y="1842"/>
                  </a:lnTo>
                  <a:lnTo>
                    <a:pt x="1092" y="1830"/>
                  </a:lnTo>
                  <a:lnTo>
                    <a:pt x="1092" y="1824"/>
                  </a:lnTo>
                  <a:lnTo>
                    <a:pt x="1092" y="1806"/>
                  </a:lnTo>
                  <a:lnTo>
                    <a:pt x="1092" y="1800"/>
                  </a:lnTo>
                  <a:lnTo>
                    <a:pt x="1092" y="1794"/>
                  </a:lnTo>
                  <a:lnTo>
                    <a:pt x="1086" y="1788"/>
                  </a:lnTo>
                  <a:lnTo>
                    <a:pt x="1080" y="1794"/>
                  </a:lnTo>
                  <a:lnTo>
                    <a:pt x="1074" y="1788"/>
                  </a:lnTo>
                  <a:lnTo>
                    <a:pt x="1068" y="1770"/>
                  </a:lnTo>
                  <a:lnTo>
                    <a:pt x="1056" y="1764"/>
                  </a:lnTo>
                  <a:lnTo>
                    <a:pt x="1050" y="1764"/>
                  </a:lnTo>
                  <a:lnTo>
                    <a:pt x="1044" y="1764"/>
                  </a:lnTo>
                  <a:lnTo>
                    <a:pt x="1038" y="1758"/>
                  </a:lnTo>
                  <a:lnTo>
                    <a:pt x="1032" y="1752"/>
                  </a:lnTo>
                  <a:lnTo>
                    <a:pt x="1032" y="1746"/>
                  </a:lnTo>
                  <a:lnTo>
                    <a:pt x="1032" y="1740"/>
                  </a:lnTo>
                  <a:lnTo>
                    <a:pt x="1032" y="1734"/>
                  </a:lnTo>
                  <a:lnTo>
                    <a:pt x="1026" y="1734"/>
                  </a:lnTo>
                  <a:lnTo>
                    <a:pt x="1032" y="1728"/>
                  </a:lnTo>
                  <a:lnTo>
                    <a:pt x="1032" y="1722"/>
                  </a:lnTo>
                  <a:lnTo>
                    <a:pt x="1044" y="1686"/>
                  </a:lnTo>
                  <a:lnTo>
                    <a:pt x="1044" y="1680"/>
                  </a:lnTo>
                  <a:lnTo>
                    <a:pt x="1032" y="1674"/>
                  </a:lnTo>
                  <a:lnTo>
                    <a:pt x="1026" y="1674"/>
                  </a:lnTo>
                  <a:lnTo>
                    <a:pt x="1026" y="1668"/>
                  </a:lnTo>
                  <a:lnTo>
                    <a:pt x="1020" y="1662"/>
                  </a:lnTo>
                  <a:lnTo>
                    <a:pt x="1014" y="1668"/>
                  </a:lnTo>
                  <a:lnTo>
                    <a:pt x="1008" y="1662"/>
                  </a:lnTo>
                  <a:lnTo>
                    <a:pt x="1002" y="1662"/>
                  </a:lnTo>
                  <a:lnTo>
                    <a:pt x="1002" y="1668"/>
                  </a:lnTo>
                  <a:lnTo>
                    <a:pt x="996" y="1668"/>
                  </a:lnTo>
                  <a:lnTo>
                    <a:pt x="996" y="1662"/>
                  </a:lnTo>
                  <a:lnTo>
                    <a:pt x="984" y="1662"/>
                  </a:lnTo>
                  <a:lnTo>
                    <a:pt x="984" y="1656"/>
                  </a:lnTo>
                  <a:lnTo>
                    <a:pt x="978" y="1650"/>
                  </a:lnTo>
                  <a:lnTo>
                    <a:pt x="978" y="1644"/>
                  </a:lnTo>
                  <a:lnTo>
                    <a:pt x="966" y="1650"/>
                  </a:lnTo>
                  <a:lnTo>
                    <a:pt x="960" y="1638"/>
                  </a:lnTo>
                  <a:lnTo>
                    <a:pt x="954" y="1632"/>
                  </a:lnTo>
                  <a:lnTo>
                    <a:pt x="948" y="1632"/>
                  </a:lnTo>
                  <a:lnTo>
                    <a:pt x="942" y="1626"/>
                  </a:lnTo>
                  <a:lnTo>
                    <a:pt x="942" y="1614"/>
                  </a:lnTo>
                  <a:lnTo>
                    <a:pt x="930" y="1608"/>
                  </a:lnTo>
                  <a:lnTo>
                    <a:pt x="924" y="1614"/>
                  </a:lnTo>
                  <a:lnTo>
                    <a:pt x="912" y="1608"/>
                  </a:lnTo>
                  <a:lnTo>
                    <a:pt x="888" y="1590"/>
                  </a:lnTo>
                  <a:lnTo>
                    <a:pt x="894" y="1578"/>
                  </a:lnTo>
                  <a:lnTo>
                    <a:pt x="894" y="1572"/>
                  </a:lnTo>
                  <a:lnTo>
                    <a:pt x="894" y="1566"/>
                  </a:lnTo>
                  <a:lnTo>
                    <a:pt x="894" y="1548"/>
                  </a:lnTo>
                  <a:lnTo>
                    <a:pt x="888" y="1548"/>
                  </a:lnTo>
                  <a:lnTo>
                    <a:pt x="882" y="1542"/>
                  </a:lnTo>
                  <a:lnTo>
                    <a:pt x="876" y="1542"/>
                  </a:lnTo>
                  <a:lnTo>
                    <a:pt x="876" y="1536"/>
                  </a:lnTo>
                  <a:lnTo>
                    <a:pt x="870" y="1542"/>
                  </a:lnTo>
                  <a:lnTo>
                    <a:pt x="870" y="1554"/>
                  </a:lnTo>
                  <a:lnTo>
                    <a:pt x="870" y="1566"/>
                  </a:lnTo>
                  <a:lnTo>
                    <a:pt x="870" y="1578"/>
                  </a:lnTo>
                  <a:lnTo>
                    <a:pt x="870" y="1584"/>
                  </a:lnTo>
                  <a:lnTo>
                    <a:pt x="864" y="1584"/>
                  </a:lnTo>
                  <a:lnTo>
                    <a:pt x="870" y="1602"/>
                  </a:lnTo>
                  <a:lnTo>
                    <a:pt x="864" y="1608"/>
                  </a:lnTo>
                  <a:lnTo>
                    <a:pt x="870" y="1614"/>
                  </a:lnTo>
                  <a:lnTo>
                    <a:pt x="864" y="1644"/>
                  </a:lnTo>
                  <a:lnTo>
                    <a:pt x="858" y="1650"/>
                  </a:lnTo>
                  <a:lnTo>
                    <a:pt x="858" y="1656"/>
                  </a:lnTo>
                  <a:lnTo>
                    <a:pt x="852" y="1662"/>
                  </a:lnTo>
                  <a:lnTo>
                    <a:pt x="852" y="1680"/>
                  </a:lnTo>
                  <a:lnTo>
                    <a:pt x="846" y="1686"/>
                  </a:lnTo>
                  <a:lnTo>
                    <a:pt x="834" y="1692"/>
                  </a:lnTo>
                  <a:lnTo>
                    <a:pt x="828" y="1692"/>
                  </a:lnTo>
                  <a:lnTo>
                    <a:pt x="822" y="1698"/>
                  </a:lnTo>
                  <a:lnTo>
                    <a:pt x="822" y="1704"/>
                  </a:lnTo>
                  <a:lnTo>
                    <a:pt x="816" y="1704"/>
                  </a:lnTo>
                  <a:lnTo>
                    <a:pt x="804" y="1692"/>
                  </a:lnTo>
                  <a:lnTo>
                    <a:pt x="786" y="1698"/>
                  </a:lnTo>
                  <a:lnTo>
                    <a:pt x="780" y="1698"/>
                  </a:lnTo>
                  <a:lnTo>
                    <a:pt x="756" y="1698"/>
                  </a:lnTo>
                  <a:lnTo>
                    <a:pt x="744" y="1698"/>
                  </a:lnTo>
                  <a:lnTo>
                    <a:pt x="738" y="1698"/>
                  </a:lnTo>
                  <a:lnTo>
                    <a:pt x="732" y="1704"/>
                  </a:lnTo>
                  <a:lnTo>
                    <a:pt x="726" y="1704"/>
                  </a:lnTo>
                  <a:lnTo>
                    <a:pt x="678" y="1710"/>
                  </a:lnTo>
                  <a:lnTo>
                    <a:pt x="642" y="1710"/>
                  </a:lnTo>
                  <a:lnTo>
                    <a:pt x="618" y="1680"/>
                  </a:lnTo>
                  <a:lnTo>
                    <a:pt x="618" y="1674"/>
                  </a:lnTo>
                  <a:lnTo>
                    <a:pt x="618" y="1668"/>
                  </a:lnTo>
                  <a:lnTo>
                    <a:pt x="624" y="1662"/>
                  </a:lnTo>
                  <a:lnTo>
                    <a:pt x="624" y="1656"/>
                  </a:lnTo>
                  <a:lnTo>
                    <a:pt x="624" y="1650"/>
                  </a:lnTo>
                  <a:lnTo>
                    <a:pt x="618" y="1650"/>
                  </a:lnTo>
                  <a:lnTo>
                    <a:pt x="618" y="1644"/>
                  </a:lnTo>
                  <a:lnTo>
                    <a:pt x="618" y="1638"/>
                  </a:lnTo>
                  <a:lnTo>
                    <a:pt x="618" y="1632"/>
                  </a:lnTo>
                  <a:lnTo>
                    <a:pt x="618" y="1626"/>
                  </a:lnTo>
                  <a:lnTo>
                    <a:pt x="612" y="1626"/>
                  </a:lnTo>
                  <a:lnTo>
                    <a:pt x="612" y="1620"/>
                  </a:lnTo>
                  <a:lnTo>
                    <a:pt x="606" y="1614"/>
                  </a:lnTo>
                  <a:lnTo>
                    <a:pt x="594" y="1626"/>
                  </a:lnTo>
                  <a:lnTo>
                    <a:pt x="594" y="1632"/>
                  </a:lnTo>
                  <a:lnTo>
                    <a:pt x="588" y="1638"/>
                  </a:lnTo>
                  <a:lnTo>
                    <a:pt x="582" y="1638"/>
                  </a:lnTo>
                  <a:lnTo>
                    <a:pt x="564" y="1656"/>
                  </a:lnTo>
                  <a:lnTo>
                    <a:pt x="558" y="1662"/>
                  </a:lnTo>
                  <a:lnTo>
                    <a:pt x="552" y="1662"/>
                  </a:lnTo>
                  <a:lnTo>
                    <a:pt x="540" y="1674"/>
                  </a:lnTo>
                  <a:lnTo>
                    <a:pt x="534" y="1680"/>
                  </a:lnTo>
                  <a:lnTo>
                    <a:pt x="522" y="1692"/>
                  </a:lnTo>
                  <a:lnTo>
                    <a:pt x="516" y="1704"/>
                  </a:lnTo>
                  <a:lnTo>
                    <a:pt x="510" y="1704"/>
                  </a:lnTo>
                  <a:lnTo>
                    <a:pt x="504" y="1704"/>
                  </a:lnTo>
                  <a:lnTo>
                    <a:pt x="486" y="1722"/>
                  </a:lnTo>
                  <a:lnTo>
                    <a:pt x="480" y="1740"/>
                  </a:lnTo>
                  <a:lnTo>
                    <a:pt x="474" y="1740"/>
                  </a:lnTo>
                  <a:lnTo>
                    <a:pt x="468" y="1746"/>
                  </a:lnTo>
                  <a:lnTo>
                    <a:pt x="456" y="1758"/>
                  </a:lnTo>
                  <a:lnTo>
                    <a:pt x="444" y="1770"/>
                  </a:lnTo>
                  <a:lnTo>
                    <a:pt x="438" y="1782"/>
                  </a:lnTo>
                  <a:lnTo>
                    <a:pt x="426" y="1788"/>
                  </a:lnTo>
                  <a:lnTo>
                    <a:pt x="420" y="1788"/>
                  </a:lnTo>
                  <a:lnTo>
                    <a:pt x="420" y="1782"/>
                  </a:lnTo>
                  <a:lnTo>
                    <a:pt x="414" y="1782"/>
                  </a:lnTo>
                  <a:lnTo>
                    <a:pt x="390" y="1782"/>
                  </a:lnTo>
                  <a:lnTo>
                    <a:pt x="390" y="1776"/>
                  </a:lnTo>
                  <a:lnTo>
                    <a:pt x="384" y="1776"/>
                  </a:lnTo>
                  <a:lnTo>
                    <a:pt x="378" y="1776"/>
                  </a:lnTo>
                  <a:lnTo>
                    <a:pt x="372" y="1776"/>
                  </a:lnTo>
                  <a:lnTo>
                    <a:pt x="366" y="1770"/>
                  </a:lnTo>
                  <a:lnTo>
                    <a:pt x="366" y="1776"/>
                  </a:lnTo>
                  <a:lnTo>
                    <a:pt x="360" y="1788"/>
                  </a:lnTo>
                  <a:lnTo>
                    <a:pt x="360" y="1794"/>
                  </a:lnTo>
                  <a:lnTo>
                    <a:pt x="360" y="1800"/>
                  </a:lnTo>
                  <a:lnTo>
                    <a:pt x="354" y="1806"/>
                  </a:lnTo>
                  <a:lnTo>
                    <a:pt x="354" y="1812"/>
                  </a:lnTo>
                  <a:lnTo>
                    <a:pt x="354" y="1824"/>
                  </a:lnTo>
                  <a:lnTo>
                    <a:pt x="348" y="1830"/>
                  </a:lnTo>
                  <a:lnTo>
                    <a:pt x="354" y="1836"/>
                  </a:lnTo>
                  <a:lnTo>
                    <a:pt x="348" y="1842"/>
                  </a:lnTo>
                  <a:lnTo>
                    <a:pt x="354" y="1848"/>
                  </a:lnTo>
                  <a:lnTo>
                    <a:pt x="348" y="1854"/>
                  </a:lnTo>
                  <a:lnTo>
                    <a:pt x="354" y="1854"/>
                  </a:lnTo>
                  <a:lnTo>
                    <a:pt x="348" y="1860"/>
                  </a:lnTo>
                  <a:lnTo>
                    <a:pt x="348" y="1866"/>
                  </a:lnTo>
                  <a:lnTo>
                    <a:pt x="342" y="1866"/>
                  </a:lnTo>
                  <a:lnTo>
                    <a:pt x="342" y="1872"/>
                  </a:lnTo>
                  <a:lnTo>
                    <a:pt x="342" y="1878"/>
                  </a:lnTo>
                  <a:lnTo>
                    <a:pt x="342" y="1884"/>
                  </a:lnTo>
                  <a:lnTo>
                    <a:pt x="336" y="1896"/>
                  </a:lnTo>
                  <a:lnTo>
                    <a:pt x="330" y="1914"/>
                  </a:lnTo>
                  <a:lnTo>
                    <a:pt x="324" y="1920"/>
                  </a:lnTo>
                  <a:lnTo>
                    <a:pt x="324" y="1926"/>
                  </a:lnTo>
                  <a:lnTo>
                    <a:pt x="318" y="1944"/>
                  </a:lnTo>
                  <a:lnTo>
                    <a:pt x="318" y="1950"/>
                  </a:lnTo>
                  <a:lnTo>
                    <a:pt x="312" y="1956"/>
                  </a:lnTo>
                  <a:lnTo>
                    <a:pt x="312" y="1950"/>
                  </a:lnTo>
                  <a:lnTo>
                    <a:pt x="306" y="1950"/>
                  </a:lnTo>
                  <a:lnTo>
                    <a:pt x="306" y="1956"/>
                  </a:lnTo>
                  <a:lnTo>
                    <a:pt x="300" y="1950"/>
                  </a:lnTo>
                  <a:lnTo>
                    <a:pt x="294" y="1956"/>
                  </a:lnTo>
                  <a:lnTo>
                    <a:pt x="288" y="1950"/>
                  </a:lnTo>
                  <a:lnTo>
                    <a:pt x="288" y="1944"/>
                  </a:lnTo>
                  <a:lnTo>
                    <a:pt x="282" y="1938"/>
                  </a:lnTo>
                  <a:lnTo>
                    <a:pt x="282" y="1932"/>
                  </a:lnTo>
                  <a:lnTo>
                    <a:pt x="282" y="1890"/>
                  </a:lnTo>
                  <a:lnTo>
                    <a:pt x="288" y="1860"/>
                  </a:lnTo>
                  <a:lnTo>
                    <a:pt x="294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300" y="1818"/>
                  </a:lnTo>
                  <a:lnTo>
                    <a:pt x="306" y="1794"/>
                  </a:lnTo>
                  <a:lnTo>
                    <a:pt x="306" y="1788"/>
                  </a:lnTo>
                  <a:lnTo>
                    <a:pt x="306" y="1782"/>
                  </a:lnTo>
                  <a:lnTo>
                    <a:pt x="312" y="1776"/>
                  </a:lnTo>
                  <a:lnTo>
                    <a:pt x="306" y="1776"/>
                  </a:lnTo>
                  <a:lnTo>
                    <a:pt x="312" y="1770"/>
                  </a:lnTo>
                  <a:lnTo>
                    <a:pt x="312" y="1740"/>
                  </a:lnTo>
                  <a:lnTo>
                    <a:pt x="318" y="1722"/>
                  </a:lnTo>
                  <a:lnTo>
                    <a:pt x="312" y="1722"/>
                  </a:lnTo>
                  <a:lnTo>
                    <a:pt x="300" y="1716"/>
                  </a:lnTo>
                  <a:lnTo>
                    <a:pt x="306" y="1716"/>
                  </a:lnTo>
                  <a:lnTo>
                    <a:pt x="312" y="1710"/>
                  </a:lnTo>
                  <a:lnTo>
                    <a:pt x="324" y="1674"/>
                  </a:lnTo>
                  <a:lnTo>
                    <a:pt x="366" y="1590"/>
                  </a:lnTo>
                  <a:lnTo>
                    <a:pt x="408" y="1548"/>
                  </a:lnTo>
                  <a:lnTo>
                    <a:pt x="426" y="1530"/>
                  </a:lnTo>
                  <a:lnTo>
                    <a:pt x="432" y="1500"/>
                  </a:lnTo>
                  <a:lnTo>
                    <a:pt x="426" y="1494"/>
                  </a:lnTo>
                  <a:lnTo>
                    <a:pt x="426" y="1482"/>
                  </a:lnTo>
                  <a:lnTo>
                    <a:pt x="432" y="1464"/>
                  </a:lnTo>
                  <a:lnTo>
                    <a:pt x="438" y="1428"/>
                  </a:lnTo>
                  <a:lnTo>
                    <a:pt x="462" y="1398"/>
                  </a:lnTo>
                  <a:lnTo>
                    <a:pt x="468" y="1362"/>
                  </a:lnTo>
                  <a:lnTo>
                    <a:pt x="462" y="1314"/>
                  </a:lnTo>
                  <a:lnTo>
                    <a:pt x="444" y="1284"/>
                  </a:lnTo>
                  <a:lnTo>
                    <a:pt x="432" y="1260"/>
                  </a:lnTo>
                  <a:lnTo>
                    <a:pt x="426" y="1260"/>
                  </a:lnTo>
                  <a:lnTo>
                    <a:pt x="420" y="1254"/>
                  </a:lnTo>
                  <a:lnTo>
                    <a:pt x="408" y="1260"/>
                  </a:lnTo>
                  <a:lnTo>
                    <a:pt x="402" y="1260"/>
                  </a:lnTo>
                  <a:lnTo>
                    <a:pt x="402" y="1254"/>
                  </a:lnTo>
                  <a:lnTo>
                    <a:pt x="396" y="1254"/>
                  </a:lnTo>
                  <a:lnTo>
                    <a:pt x="396" y="1248"/>
                  </a:lnTo>
                  <a:lnTo>
                    <a:pt x="384" y="1248"/>
                  </a:lnTo>
                  <a:lnTo>
                    <a:pt x="372" y="1230"/>
                  </a:lnTo>
                  <a:lnTo>
                    <a:pt x="360" y="1212"/>
                  </a:lnTo>
                  <a:lnTo>
                    <a:pt x="348" y="1188"/>
                  </a:lnTo>
                  <a:lnTo>
                    <a:pt x="324" y="1170"/>
                  </a:lnTo>
                  <a:lnTo>
                    <a:pt x="318" y="1170"/>
                  </a:lnTo>
                  <a:lnTo>
                    <a:pt x="312" y="1158"/>
                  </a:lnTo>
                  <a:lnTo>
                    <a:pt x="312" y="1152"/>
                  </a:lnTo>
                  <a:lnTo>
                    <a:pt x="306" y="1146"/>
                  </a:lnTo>
                  <a:lnTo>
                    <a:pt x="270" y="1122"/>
                  </a:lnTo>
                  <a:lnTo>
                    <a:pt x="240" y="1122"/>
                  </a:lnTo>
                  <a:lnTo>
                    <a:pt x="180" y="1116"/>
                  </a:lnTo>
                  <a:lnTo>
                    <a:pt x="174" y="1122"/>
                  </a:lnTo>
                  <a:lnTo>
                    <a:pt x="174" y="1128"/>
                  </a:lnTo>
                  <a:lnTo>
                    <a:pt x="168" y="1122"/>
                  </a:lnTo>
                  <a:lnTo>
                    <a:pt x="162" y="1116"/>
                  </a:lnTo>
                  <a:lnTo>
                    <a:pt x="144" y="1122"/>
                  </a:lnTo>
                  <a:lnTo>
                    <a:pt x="120" y="1122"/>
                  </a:lnTo>
                  <a:lnTo>
                    <a:pt x="54" y="1134"/>
                  </a:lnTo>
                  <a:lnTo>
                    <a:pt x="24" y="1152"/>
                  </a:lnTo>
                  <a:lnTo>
                    <a:pt x="6" y="1146"/>
                  </a:lnTo>
                  <a:lnTo>
                    <a:pt x="0" y="1134"/>
                  </a:lnTo>
                  <a:lnTo>
                    <a:pt x="0" y="1128"/>
                  </a:lnTo>
                  <a:lnTo>
                    <a:pt x="18" y="1110"/>
                  </a:lnTo>
                  <a:lnTo>
                    <a:pt x="24" y="1104"/>
                  </a:lnTo>
                  <a:lnTo>
                    <a:pt x="24" y="1098"/>
                  </a:lnTo>
                  <a:lnTo>
                    <a:pt x="30" y="1086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24" y="1074"/>
                  </a:lnTo>
                  <a:lnTo>
                    <a:pt x="18" y="1068"/>
                  </a:lnTo>
                  <a:lnTo>
                    <a:pt x="24" y="1062"/>
                  </a:lnTo>
                  <a:lnTo>
                    <a:pt x="42" y="1056"/>
                  </a:lnTo>
                  <a:lnTo>
                    <a:pt x="54" y="1050"/>
                  </a:lnTo>
                  <a:lnTo>
                    <a:pt x="72" y="1044"/>
                  </a:lnTo>
                  <a:lnTo>
                    <a:pt x="96" y="1032"/>
                  </a:lnTo>
                  <a:lnTo>
                    <a:pt x="102" y="1032"/>
                  </a:lnTo>
                  <a:lnTo>
                    <a:pt x="126" y="1008"/>
                  </a:lnTo>
                  <a:lnTo>
                    <a:pt x="144" y="990"/>
                  </a:lnTo>
                  <a:lnTo>
                    <a:pt x="156" y="978"/>
                  </a:lnTo>
                  <a:lnTo>
                    <a:pt x="156" y="966"/>
                  </a:lnTo>
                  <a:lnTo>
                    <a:pt x="150" y="960"/>
                  </a:lnTo>
                  <a:lnTo>
                    <a:pt x="144" y="948"/>
                  </a:lnTo>
                  <a:lnTo>
                    <a:pt x="144" y="936"/>
                  </a:lnTo>
                  <a:lnTo>
                    <a:pt x="138" y="918"/>
                  </a:lnTo>
                  <a:lnTo>
                    <a:pt x="150" y="912"/>
                  </a:lnTo>
                  <a:lnTo>
                    <a:pt x="150" y="894"/>
                  </a:lnTo>
                  <a:lnTo>
                    <a:pt x="132" y="876"/>
                  </a:lnTo>
                  <a:lnTo>
                    <a:pt x="126" y="876"/>
                  </a:lnTo>
                  <a:lnTo>
                    <a:pt x="120" y="870"/>
                  </a:lnTo>
                  <a:lnTo>
                    <a:pt x="120" y="864"/>
                  </a:lnTo>
                  <a:lnTo>
                    <a:pt x="114" y="864"/>
                  </a:lnTo>
                  <a:lnTo>
                    <a:pt x="108" y="864"/>
                  </a:lnTo>
                  <a:lnTo>
                    <a:pt x="108" y="858"/>
                  </a:lnTo>
                  <a:lnTo>
                    <a:pt x="102" y="852"/>
                  </a:lnTo>
                  <a:lnTo>
                    <a:pt x="96" y="852"/>
                  </a:lnTo>
                  <a:lnTo>
                    <a:pt x="102" y="834"/>
                  </a:lnTo>
                  <a:lnTo>
                    <a:pt x="108" y="816"/>
                  </a:lnTo>
                  <a:lnTo>
                    <a:pt x="114" y="804"/>
                  </a:lnTo>
                  <a:lnTo>
                    <a:pt x="132" y="798"/>
                  </a:lnTo>
                  <a:lnTo>
                    <a:pt x="144" y="798"/>
                  </a:lnTo>
                  <a:lnTo>
                    <a:pt x="180" y="810"/>
                  </a:lnTo>
                  <a:lnTo>
                    <a:pt x="192" y="816"/>
                  </a:lnTo>
                  <a:lnTo>
                    <a:pt x="234" y="822"/>
                  </a:lnTo>
                  <a:lnTo>
                    <a:pt x="264" y="828"/>
                  </a:lnTo>
                  <a:lnTo>
                    <a:pt x="270" y="840"/>
                  </a:lnTo>
                  <a:lnTo>
                    <a:pt x="270" y="834"/>
                  </a:lnTo>
                  <a:lnTo>
                    <a:pt x="270" y="828"/>
                  </a:lnTo>
                  <a:lnTo>
                    <a:pt x="270" y="822"/>
                  </a:lnTo>
                  <a:lnTo>
                    <a:pt x="270" y="816"/>
                  </a:lnTo>
                  <a:lnTo>
                    <a:pt x="264" y="810"/>
                  </a:lnTo>
                  <a:lnTo>
                    <a:pt x="264" y="804"/>
                  </a:lnTo>
                  <a:lnTo>
                    <a:pt x="264" y="798"/>
                  </a:lnTo>
                  <a:lnTo>
                    <a:pt x="258" y="792"/>
                  </a:lnTo>
                  <a:lnTo>
                    <a:pt x="258" y="786"/>
                  </a:lnTo>
                  <a:lnTo>
                    <a:pt x="264" y="786"/>
                  </a:lnTo>
                  <a:lnTo>
                    <a:pt x="264" y="780"/>
                  </a:lnTo>
                  <a:lnTo>
                    <a:pt x="258" y="774"/>
                  </a:lnTo>
                  <a:lnTo>
                    <a:pt x="258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82" y="762"/>
                  </a:lnTo>
                  <a:lnTo>
                    <a:pt x="312" y="780"/>
                  </a:lnTo>
                  <a:lnTo>
                    <a:pt x="354" y="786"/>
                  </a:lnTo>
                  <a:lnTo>
                    <a:pt x="408" y="774"/>
                  </a:lnTo>
                  <a:lnTo>
                    <a:pt x="444" y="756"/>
                  </a:lnTo>
                  <a:lnTo>
                    <a:pt x="468" y="732"/>
                  </a:lnTo>
                  <a:lnTo>
                    <a:pt x="492" y="720"/>
                  </a:lnTo>
                  <a:lnTo>
                    <a:pt x="522" y="690"/>
                  </a:lnTo>
                  <a:lnTo>
                    <a:pt x="540" y="672"/>
                  </a:lnTo>
                  <a:lnTo>
                    <a:pt x="558" y="660"/>
                  </a:lnTo>
                  <a:lnTo>
                    <a:pt x="570" y="636"/>
                  </a:lnTo>
                  <a:lnTo>
                    <a:pt x="588" y="612"/>
                  </a:lnTo>
                  <a:lnTo>
                    <a:pt x="654" y="552"/>
                  </a:lnTo>
                  <a:lnTo>
                    <a:pt x="678" y="528"/>
                  </a:lnTo>
                  <a:lnTo>
                    <a:pt x="696" y="510"/>
                  </a:lnTo>
                  <a:lnTo>
                    <a:pt x="714" y="498"/>
                  </a:lnTo>
                  <a:lnTo>
                    <a:pt x="750" y="480"/>
                  </a:lnTo>
                  <a:lnTo>
                    <a:pt x="774" y="444"/>
                  </a:lnTo>
                  <a:lnTo>
                    <a:pt x="816" y="426"/>
                  </a:lnTo>
                  <a:lnTo>
                    <a:pt x="864" y="420"/>
                  </a:lnTo>
                  <a:lnTo>
                    <a:pt x="912" y="402"/>
                  </a:lnTo>
                  <a:lnTo>
                    <a:pt x="906" y="396"/>
                  </a:lnTo>
                  <a:lnTo>
                    <a:pt x="912" y="396"/>
                  </a:lnTo>
                  <a:lnTo>
                    <a:pt x="912" y="390"/>
                  </a:lnTo>
                  <a:lnTo>
                    <a:pt x="918" y="384"/>
                  </a:lnTo>
                  <a:lnTo>
                    <a:pt x="924" y="384"/>
                  </a:lnTo>
                  <a:lnTo>
                    <a:pt x="924" y="378"/>
                  </a:lnTo>
                  <a:lnTo>
                    <a:pt x="918" y="372"/>
                  </a:lnTo>
                  <a:lnTo>
                    <a:pt x="918" y="366"/>
                  </a:lnTo>
                  <a:lnTo>
                    <a:pt x="918" y="360"/>
                  </a:lnTo>
                  <a:lnTo>
                    <a:pt x="924" y="360"/>
                  </a:lnTo>
                  <a:lnTo>
                    <a:pt x="924" y="354"/>
                  </a:lnTo>
                  <a:lnTo>
                    <a:pt x="930" y="354"/>
                  </a:lnTo>
                  <a:lnTo>
                    <a:pt x="936" y="354"/>
                  </a:lnTo>
                  <a:lnTo>
                    <a:pt x="936" y="348"/>
                  </a:lnTo>
                  <a:lnTo>
                    <a:pt x="942" y="348"/>
                  </a:lnTo>
                  <a:lnTo>
                    <a:pt x="942" y="336"/>
                  </a:lnTo>
                  <a:lnTo>
                    <a:pt x="936" y="336"/>
                  </a:lnTo>
                  <a:lnTo>
                    <a:pt x="930" y="330"/>
                  </a:lnTo>
                  <a:lnTo>
                    <a:pt x="924" y="330"/>
                  </a:lnTo>
                  <a:lnTo>
                    <a:pt x="924" y="324"/>
                  </a:lnTo>
                  <a:lnTo>
                    <a:pt x="918" y="318"/>
                  </a:lnTo>
                  <a:lnTo>
                    <a:pt x="912" y="306"/>
                  </a:lnTo>
                  <a:lnTo>
                    <a:pt x="918" y="306"/>
                  </a:lnTo>
                  <a:lnTo>
                    <a:pt x="924" y="300"/>
                  </a:lnTo>
                  <a:lnTo>
                    <a:pt x="924" y="294"/>
                  </a:lnTo>
                  <a:lnTo>
                    <a:pt x="924" y="288"/>
                  </a:lnTo>
                  <a:lnTo>
                    <a:pt x="924" y="282"/>
                  </a:lnTo>
                  <a:lnTo>
                    <a:pt x="924" y="276"/>
                  </a:lnTo>
                  <a:lnTo>
                    <a:pt x="918" y="270"/>
                  </a:lnTo>
                  <a:lnTo>
                    <a:pt x="918" y="264"/>
                  </a:lnTo>
                  <a:lnTo>
                    <a:pt x="912" y="270"/>
                  </a:lnTo>
                  <a:lnTo>
                    <a:pt x="912" y="264"/>
                  </a:lnTo>
                  <a:lnTo>
                    <a:pt x="912" y="258"/>
                  </a:lnTo>
                  <a:lnTo>
                    <a:pt x="912" y="252"/>
                  </a:lnTo>
                  <a:lnTo>
                    <a:pt x="906" y="252"/>
                  </a:lnTo>
                  <a:lnTo>
                    <a:pt x="900" y="246"/>
                  </a:lnTo>
                  <a:lnTo>
                    <a:pt x="900" y="240"/>
                  </a:lnTo>
                  <a:lnTo>
                    <a:pt x="900" y="246"/>
                  </a:lnTo>
                  <a:lnTo>
                    <a:pt x="894" y="246"/>
                  </a:lnTo>
                  <a:lnTo>
                    <a:pt x="894" y="240"/>
                  </a:lnTo>
                  <a:lnTo>
                    <a:pt x="894" y="234"/>
                  </a:lnTo>
                  <a:lnTo>
                    <a:pt x="900" y="234"/>
                  </a:lnTo>
                  <a:lnTo>
                    <a:pt x="900" y="228"/>
                  </a:lnTo>
                  <a:lnTo>
                    <a:pt x="906" y="228"/>
                  </a:lnTo>
                  <a:lnTo>
                    <a:pt x="900" y="222"/>
                  </a:lnTo>
                  <a:lnTo>
                    <a:pt x="894" y="216"/>
                  </a:lnTo>
                  <a:lnTo>
                    <a:pt x="894" y="210"/>
                  </a:lnTo>
                  <a:lnTo>
                    <a:pt x="888" y="210"/>
                  </a:lnTo>
                  <a:lnTo>
                    <a:pt x="888" y="204"/>
                  </a:lnTo>
                  <a:lnTo>
                    <a:pt x="888" y="198"/>
                  </a:lnTo>
                  <a:lnTo>
                    <a:pt x="888" y="192"/>
                  </a:lnTo>
                  <a:lnTo>
                    <a:pt x="882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82" y="174"/>
                  </a:lnTo>
                  <a:lnTo>
                    <a:pt x="888" y="168"/>
                  </a:lnTo>
                  <a:lnTo>
                    <a:pt x="888" y="162"/>
                  </a:lnTo>
                  <a:lnTo>
                    <a:pt x="888" y="156"/>
                  </a:lnTo>
                  <a:lnTo>
                    <a:pt x="888" y="150"/>
                  </a:lnTo>
                  <a:lnTo>
                    <a:pt x="888" y="144"/>
                  </a:lnTo>
                  <a:lnTo>
                    <a:pt x="882" y="144"/>
                  </a:lnTo>
                  <a:lnTo>
                    <a:pt x="882" y="138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76" y="120"/>
                  </a:lnTo>
                  <a:lnTo>
                    <a:pt x="882" y="114"/>
                  </a:lnTo>
                  <a:lnTo>
                    <a:pt x="882" y="108"/>
                  </a:lnTo>
                  <a:lnTo>
                    <a:pt x="888" y="102"/>
                  </a:lnTo>
                  <a:lnTo>
                    <a:pt x="894" y="102"/>
                  </a:lnTo>
                  <a:lnTo>
                    <a:pt x="894" y="96"/>
                  </a:lnTo>
                  <a:lnTo>
                    <a:pt x="888" y="96"/>
                  </a:lnTo>
                  <a:lnTo>
                    <a:pt x="894" y="90"/>
                  </a:lnTo>
                  <a:lnTo>
                    <a:pt x="888" y="84"/>
                  </a:lnTo>
                  <a:lnTo>
                    <a:pt x="888" y="78"/>
                  </a:lnTo>
                  <a:lnTo>
                    <a:pt x="924" y="66"/>
                  </a:lnTo>
                  <a:lnTo>
                    <a:pt x="966" y="66"/>
                  </a:lnTo>
                  <a:lnTo>
                    <a:pt x="996" y="48"/>
                  </a:lnTo>
                  <a:lnTo>
                    <a:pt x="1056" y="12"/>
                  </a:lnTo>
                  <a:lnTo>
                    <a:pt x="1128" y="0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0" y="18"/>
                  </a:lnTo>
                  <a:lnTo>
                    <a:pt x="1176" y="24"/>
                  </a:lnTo>
                  <a:lnTo>
                    <a:pt x="1182" y="24"/>
                  </a:lnTo>
                  <a:lnTo>
                    <a:pt x="1188" y="30"/>
                  </a:lnTo>
                  <a:lnTo>
                    <a:pt x="1194" y="30"/>
                  </a:lnTo>
                  <a:lnTo>
                    <a:pt x="1194" y="36"/>
                  </a:lnTo>
                  <a:lnTo>
                    <a:pt x="1260" y="30"/>
                  </a:lnTo>
                  <a:lnTo>
                    <a:pt x="1272" y="30"/>
                  </a:lnTo>
                  <a:lnTo>
                    <a:pt x="1296" y="24"/>
                  </a:lnTo>
                  <a:lnTo>
                    <a:pt x="1302" y="30"/>
                  </a:lnTo>
                  <a:lnTo>
                    <a:pt x="1302" y="36"/>
                  </a:lnTo>
                  <a:lnTo>
                    <a:pt x="1308" y="36"/>
                  </a:lnTo>
                  <a:lnTo>
                    <a:pt x="1314" y="36"/>
                  </a:lnTo>
                  <a:lnTo>
                    <a:pt x="1320" y="36"/>
                  </a:lnTo>
                  <a:lnTo>
                    <a:pt x="1326" y="30"/>
                  </a:lnTo>
                  <a:lnTo>
                    <a:pt x="1332" y="30"/>
                  </a:lnTo>
                  <a:lnTo>
                    <a:pt x="1338" y="30"/>
                  </a:lnTo>
                  <a:lnTo>
                    <a:pt x="1344" y="30"/>
                  </a:lnTo>
                  <a:lnTo>
                    <a:pt x="1374" y="30"/>
                  </a:lnTo>
                  <a:lnTo>
                    <a:pt x="1386" y="30"/>
                  </a:lnTo>
                  <a:lnTo>
                    <a:pt x="1392" y="24"/>
                  </a:lnTo>
                  <a:lnTo>
                    <a:pt x="1398" y="12"/>
                  </a:lnTo>
                  <a:lnTo>
                    <a:pt x="1404" y="6"/>
                  </a:lnTo>
                  <a:lnTo>
                    <a:pt x="1410" y="6"/>
                  </a:lnTo>
                  <a:lnTo>
                    <a:pt x="1410" y="12"/>
                  </a:lnTo>
                  <a:lnTo>
                    <a:pt x="1416" y="18"/>
                  </a:lnTo>
                  <a:lnTo>
                    <a:pt x="1416" y="36"/>
                  </a:lnTo>
                  <a:lnTo>
                    <a:pt x="1434" y="54"/>
                  </a:lnTo>
                  <a:lnTo>
                    <a:pt x="1434" y="60"/>
                  </a:lnTo>
                  <a:lnTo>
                    <a:pt x="1434" y="66"/>
                  </a:lnTo>
                  <a:lnTo>
                    <a:pt x="1434" y="72"/>
                  </a:lnTo>
                  <a:lnTo>
                    <a:pt x="1428" y="72"/>
                  </a:lnTo>
                  <a:lnTo>
                    <a:pt x="1428" y="78"/>
                  </a:lnTo>
                  <a:lnTo>
                    <a:pt x="1434" y="78"/>
                  </a:lnTo>
                  <a:lnTo>
                    <a:pt x="1440" y="84"/>
                  </a:lnTo>
                  <a:lnTo>
                    <a:pt x="1440" y="90"/>
                  </a:lnTo>
                  <a:lnTo>
                    <a:pt x="1440" y="96"/>
                  </a:lnTo>
                  <a:lnTo>
                    <a:pt x="1446" y="96"/>
                  </a:lnTo>
                  <a:lnTo>
                    <a:pt x="1446" y="108"/>
                  </a:lnTo>
                  <a:lnTo>
                    <a:pt x="1452" y="108"/>
                  </a:lnTo>
                  <a:lnTo>
                    <a:pt x="1452" y="114"/>
                  </a:lnTo>
                  <a:lnTo>
                    <a:pt x="1458" y="114"/>
                  </a:lnTo>
                  <a:lnTo>
                    <a:pt x="1470" y="120"/>
                  </a:lnTo>
                  <a:lnTo>
                    <a:pt x="1476" y="120"/>
                  </a:lnTo>
                  <a:lnTo>
                    <a:pt x="1476" y="114"/>
                  </a:lnTo>
                  <a:lnTo>
                    <a:pt x="1488" y="120"/>
                  </a:lnTo>
                  <a:lnTo>
                    <a:pt x="1506" y="120"/>
                  </a:lnTo>
                  <a:lnTo>
                    <a:pt x="1512" y="120"/>
                  </a:lnTo>
                  <a:lnTo>
                    <a:pt x="1518" y="120"/>
                  </a:lnTo>
                  <a:lnTo>
                    <a:pt x="1524" y="126"/>
                  </a:lnTo>
                  <a:lnTo>
                    <a:pt x="1536" y="150"/>
                  </a:lnTo>
                  <a:lnTo>
                    <a:pt x="1548" y="162"/>
                  </a:lnTo>
                  <a:lnTo>
                    <a:pt x="1554" y="168"/>
                  </a:lnTo>
                  <a:lnTo>
                    <a:pt x="1584" y="228"/>
                  </a:lnTo>
                  <a:lnTo>
                    <a:pt x="1584" y="234"/>
                  </a:lnTo>
                  <a:lnTo>
                    <a:pt x="1578" y="312"/>
                  </a:lnTo>
                  <a:lnTo>
                    <a:pt x="1590" y="318"/>
                  </a:lnTo>
                  <a:lnTo>
                    <a:pt x="1608" y="330"/>
                  </a:lnTo>
                  <a:lnTo>
                    <a:pt x="1620" y="342"/>
                  </a:lnTo>
                  <a:lnTo>
                    <a:pt x="1626" y="342"/>
                  </a:lnTo>
                  <a:lnTo>
                    <a:pt x="1692" y="360"/>
                  </a:lnTo>
                  <a:lnTo>
                    <a:pt x="1710" y="408"/>
                  </a:lnTo>
                  <a:lnTo>
                    <a:pt x="1722" y="426"/>
                  </a:lnTo>
                  <a:lnTo>
                    <a:pt x="1716" y="468"/>
                  </a:lnTo>
                  <a:lnTo>
                    <a:pt x="1686" y="486"/>
                  </a:lnTo>
                  <a:lnTo>
                    <a:pt x="1686" y="492"/>
                  </a:lnTo>
                  <a:lnTo>
                    <a:pt x="1680" y="498"/>
                  </a:lnTo>
                  <a:lnTo>
                    <a:pt x="1650" y="558"/>
                  </a:lnTo>
                  <a:lnTo>
                    <a:pt x="1650" y="570"/>
                  </a:lnTo>
                  <a:lnTo>
                    <a:pt x="1644" y="570"/>
                  </a:lnTo>
                  <a:lnTo>
                    <a:pt x="1638" y="582"/>
                  </a:lnTo>
                  <a:lnTo>
                    <a:pt x="1638" y="624"/>
                  </a:lnTo>
                  <a:lnTo>
                    <a:pt x="1638" y="636"/>
                  </a:lnTo>
                  <a:lnTo>
                    <a:pt x="1638" y="642"/>
                  </a:lnTo>
                  <a:lnTo>
                    <a:pt x="1632" y="660"/>
                  </a:lnTo>
                  <a:lnTo>
                    <a:pt x="1608" y="678"/>
                  </a:lnTo>
                  <a:lnTo>
                    <a:pt x="1584" y="690"/>
                  </a:lnTo>
                  <a:lnTo>
                    <a:pt x="1584" y="696"/>
                  </a:lnTo>
                  <a:lnTo>
                    <a:pt x="1578" y="702"/>
                  </a:lnTo>
                  <a:lnTo>
                    <a:pt x="1584" y="702"/>
                  </a:lnTo>
                  <a:lnTo>
                    <a:pt x="1578" y="714"/>
                  </a:lnTo>
                  <a:lnTo>
                    <a:pt x="1572" y="714"/>
                  </a:lnTo>
                  <a:lnTo>
                    <a:pt x="1572" y="720"/>
                  </a:lnTo>
                  <a:lnTo>
                    <a:pt x="1566" y="720"/>
                  </a:lnTo>
                  <a:lnTo>
                    <a:pt x="1560" y="726"/>
                  </a:lnTo>
                  <a:lnTo>
                    <a:pt x="1560" y="732"/>
                  </a:lnTo>
                  <a:lnTo>
                    <a:pt x="1554" y="732"/>
                  </a:lnTo>
                  <a:lnTo>
                    <a:pt x="1554" y="738"/>
                  </a:lnTo>
                  <a:lnTo>
                    <a:pt x="1554" y="744"/>
                  </a:lnTo>
                  <a:lnTo>
                    <a:pt x="1548" y="744"/>
                  </a:lnTo>
                  <a:lnTo>
                    <a:pt x="1548" y="738"/>
                  </a:lnTo>
                  <a:lnTo>
                    <a:pt x="1542" y="738"/>
                  </a:lnTo>
                  <a:lnTo>
                    <a:pt x="1542" y="744"/>
                  </a:lnTo>
                  <a:lnTo>
                    <a:pt x="1542" y="750"/>
                  </a:lnTo>
                  <a:lnTo>
                    <a:pt x="1494" y="804"/>
                  </a:lnTo>
                  <a:lnTo>
                    <a:pt x="1446" y="876"/>
                  </a:lnTo>
                  <a:lnTo>
                    <a:pt x="1440" y="876"/>
                  </a:lnTo>
                  <a:lnTo>
                    <a:pt x="1434" y="876"/>
                  </a:lnTo>
                  <a:lnTo>
                    <a:pt x="1428" y="882"/>
                  </a:lnTo>
                  <a:lnTo>
                    <a:pt x="1422" y="882"/>
                  </a:lnTo>
                  <a:lnTo>
                    <a:pt x="1386" y="924"/>
                  </a:lnTo>
                  <a:lnTo>
                    <a:pt x="1362" y="954"/>
                  </a:lnTo>
                  <a:lnTo>
                    <a:pt x="1356" y="984"/>
                  </a:lnTo>
                  <a:lnTo>
                    <a:pt x="1362" y="1002"/>
                  </a:lnTo>
                  <a:lnTo>
                    <a:pt x="1368" y="1020"/>
                  </a:lnTo>
                  <a:lnTo>
                    <a:pt x="1386" y="1056"/>
                  </a:lnTo>
                  <a:lnTo>
                    <a:pt x="1404" y="1074"/>
                  </a:lnTo>
                  <a:lnTo>
                    <a:pt x="1416" y="1080"/>
                  </a:lnTo>
                  <a:lnTo>
                    <a:pt x="1416" y="1086"/>
                  </a:lnTo>
                  <a:lnTo>
                    <a:pt x="1422" y="1098"/>
                  </a:lnTo>
                  <a:lnTo>
                    <a:pt x="1422" y="1110"/>
                  </a:lnTo>
                  <a:lnTo>
                    <a:pt x="1428" y="1116"/>
                  </a:lnTo>
                  <a:lnTo>
                    <a:pt x="1434" y="1116"/>
                  </a:lnTo>
                  <a:lnTo>
                    <a:pt x="1434" y="1122"/>
                  </a:lnTo>
                  <a:lnTo>
                    <a:pt x="1434" y="1128"/>
                  </a:lnTo>
                  <a:lnTo>
                    <a:pt x="1440" y="1134"/>
                  </a:lnTo>
                  <a:lnTo>
                    <a:pt x="1446" y="1134"/>
                  </a:lnTo>
                  <a:lnTo>
                    <a:pt x="1458" y="1134"/>
                  </a:lnTo>
                  <a:lnTo>
                    <a:pt x="1458" y="1140"/>
                  </a:lnTo>
                  <a:lnTo>
                    <a:pt x="1464" y="1134"/>
                  </a:lnTo>
                  <a:lnTo>
                    <a:pt x="1470" y="1134"/>
                  </a:lnTo>
                  <a:lnTo>
                    <a:pt x="1464" y="1128"/>
                  </a:lnTo>
                  <a:lnTo>
                    <a:pt x="1464" y="1122"/>
                  </a:lnTo>
                  <a:lnTo>
                    <a:pt x="1470" y="1116"/>
                  </a:lnTo>
                  <a:lnTo>
                    <a:pt x="1470" y="1122"/>
                  </a:lnTo>
                  <a:lnTo>
                    <a:pt x="1476" y="1122"/>
                  </a:lnTo>
                  <a:lnTo>
                    <a:pt x="1476" y="1116"/>
                  </a:lnTo>
                  <a:lnTo>
                    <a:pt x="1482" y="1110"/>
                  </a:lnTo>
                  <a:lnTo>
                    <a:pt x="1476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82" y="1086"/>
                  </a:lnTo>
                  <a:lnTo>
                    <a:pt x="1482" y="1074"/>
                  </a:lnTo>
                  <a:lnTo>
                    <a:pt x="1488" y="1068"/>
                  </a:lnTo>
                  <a:lnTo>
                    <a:pt x="1488" y="1062"/>
                  </a:lnTo>
                  <a:lnTo>
                    <a:pt x="1494" y="1062"/>
                  </a:lnTo>
                  <a:lnTo>
                    <a:pt x="1500" y="1062"/>
                  </a:lnTo>
                  <a:lnTo>
                    <a:pt x="1506" y="1062"/>
                  </a:lnTo>
                  <a:lnTo>
                    <a:pt x="1506" y="1056"/>
                  </a:lnTo>
                  <a:lnTo>
                    <a:pt x="1506" y="1062"/>
                  </a:lnTo>
                  <a:lnTo>
                    <a:pt x="1518" y="1062"/>
                  </a:lnTo>
                  <a:lnTo>
                    <a:pt x="1524" y="1062"/>
                  </a:lnTo>
                  <a:lnTo>
                    <a:pt x="1530" y="1062"/>
                  </a:lnTo>
                  <a:lnTo>
                    <a:pt x="1536" y="1068"/>
                  </a:lnTo>
                  <a:lnTo>
                    <a:pt x="1536" y="1074"/>
                  </a:lnTo>
                  <a:lnTo>
                    <a:pt x="1542" y="1086"/>
                  </a:lnTo>
                  <a:lnTo>
                    <a:pt x="1548" y="1086"/>
                  </a:lnTo>
                  <a:lnTo>
                    <a:pt x="1554" y="1086"/>
                  </a:lnTo>
                  <a:lnTo>
                    <a:pt x="1566" y="1098"/>
                  </a:lnTo>
                  <a:lnTo>
                    <a:pt x="1572" y="1104"/>
                  </a:lnTo>
                  <a:lnTo>
                    <a:pt x="1566" y="1110"/>
                  </a:lnTo>
                  <a:lnTo>
                    <a:pt x="1572" y="1116"/>
                  </a:lnTo>
                  <a:lnTo>
                    <a:pt x="1578" y="1116"/>
                  </a:lnTo>
                  <a:lnTo>
                    <a:pt x="1578" y="1122"/>
                  </a:lnTo>
                  <a:lnTo>
                    <a:pt x="1584" y="1122"/>
                  </a:lnTo>
                  <a:lnTo>
                    <a:pt x="1584" y="1128"/>
                  </a:lnTo>
                  <a:lnTo>
                    <a:pt x="1584" y="1134"/>
                  </a:lnTo>
                  <a:lnTo>
                    <a:pt x="1590" y="1134"/>
                  </a:lnTo>
                  <a:lnTo>
                    <a:pt x="1596" y="1140"/>
                  </a:lnTo>
                  <a:lnTo>
                    <a:pt x="1602" y="1146"/>
                  </a:lnTo>
                  <a:lnTo>
                    <a:pt x="1608" y="1146"/>
                  </a:lnTo>
                  <a:lnTo>
                    <a:pt x="1614" y="1146"/>
                  </a:lnTo>
                  <a:lnTo>
                    <a:pt x="1614" y="1152"/>
                  </a:lnTo>
                  <a:lnTo>
                    <a:pt x="1620" y="1152"/>
                  </a:lnTo>
                  <a:lnTo>
                    <a:pt x="1626" y="1164"/>
                  </a:lnTo>
                  <a:lnTo>
                    <a:pt x="1632" y="1170"/>
                  </a:lnTo>
                  <a:lnTo>
                    <a:pt x="1638" y="1176"/>
                  </a:lnTo>
                  <a:lnTo>
                    <a:pt x="1638" y="1182"/>
                  </a:lnTo>
                  <a:lnTo>
                    <a:pt x="1644" y="1194"/>
                  </a:lnTo>
                  <a:lnTo>
                    <a:pt x="1644" y="1200"/>
                  </a:lnTo>
                  <a:lnTo>
                    <a:pt x="1638" y="1200"/>
                  </a:lnTo>
                  <a:lnTo>
                    <a:pt x="1638" y="1206"/>
                  </a:lnTo>
                  <a:lnTo>
                    <a:pt x="1638" y="1212"/>
                  </a:lnTo>
                  <a:lnTo>
                    <a:pt x="1638" y="1218"/>
                  </a:lnTo>
                  <a:lnTo>
                    <a:pt x="1632" y="1242"/>
                  </a:lnTo>
                  <a:lnTo>
                    <a:pt x="1632" y="1266"/>
                  </a:lnTo>
                  <a:lnTo>
                    <a:pt x="1638" y="1284"/>
                  </a:lnTo>
                  <a:lnTo>
                    <a:pt x="1638" y="1296"/>
                  </a:lnTo>
                  <a:lnTo>
                    <a:pt x="1632" y="1296"/>
                  </a:lnTo>
                  <a:lnTo>
                    <a:pt x="1632" y="1302"/>
                  </a:lnTo>
                  <a:lnTo>
                    <a:pt x="1638" y="1314"/>
                  </a:lnTo>
                  <a:lnTo>
                    <a:pt x="1638" y="1320"/>
                  </a:lnTo>
                  <a:lnTo>
                    <a:pt x="1632" y="1320"/>
                  </a:lnTo>
                  <a:lnTo>
                    <a:pt x="1632" y="1326"/>
                  </a:lnTo>
                  <a:lnTo>
                    <a:pt x="1644" y="1332"/>
                  </a:lnTo>
                  <a:lnTo>
                    <a:pt x="1644" y="1338"/>
                  </a:lnTo>
                  <a:lnTo>
                    <a:pt x="1650" y="1344"/>
                  </a:lnTo>
                  <a:lnTo>
                    <a:pt x="1668" y="1362"/>
                  </a:lnTo>
                  <a:lnTo>
                    <a:pt x="1668" y="1368"/>
                  </a:lnTo>
                  <a:lnTo>
                    <a:pt x="1674" y="1392"/>
                  </a:lnTo>
                  <a:lnTo>
                    <a:pt x="1686" y="140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2" name="Freeform 17">
              <a:extLst>
                <a:ext uri="{FF2B5EF4-FFF2-40B4-BE49-F238E27FC236}">
                  <a16:creationId xmlns:a16="http://schemas.microsoft.com/office/drawing/2014/main" id="{9F9DF7AF-2203-4CCB-AF1B-32CDAF87CC5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416927"/>
              <a:ext cx="816209" cy="574781"/>
            </a:xfrm>
            <a:custGeom>
              <a:avLst/>
              <a:gdLst>
                <a:gd name="T0" fmla="*/ 115 w 1536"/>
                <a:gd name="T1" fmla="*/ 89 h 1080"/>
                <a:gd name="T2" fmla="*/ 113 w 1536"/>
                <a:gd name="T3" fmla="*/ 92 h 1080"/>
                <a:gd name="T4" fmla="*/ 107 w 1536"/>
                <a:gd name="T5" fmla="*/ 93 h 1080"/>
                <a:gd name="T6" fmla="*/ 108 w 1536"/>
                <a:gd name="T7" fmla="*/ 90 h 1080"/>
                <a:gd name="T8" fmla="*/ 105 w 1536"/>
                <a:gd name="T9" fmla="*/ 87 h 1080"/>
                <a:gd name="T10" fmla="*/ 102 w 1536"/>
                <a:gd name="T11" fmla="*/ 85 h 1080"/>
                <a:gd name="T12" fmla="*/ 89 w 1536"/>
                <a:gd name="T13" fmla="*/ 80 h 1080"/>
                <a:gd name="T14" fmla="*/ 85 w 1536"/>
                <a:gd name="T15" fmla="*/ 82 h 1080"/>
                <a:gd name="T16" fmla="*/ 82 w 1536"/>
                <a:gd name="T17" fmla="*/ 80 h 1080"/>
                <a:gd name="T18" fmla="*/ 80 w 1536"/>
                <a:gd name="T19" fmla="*/ 75 h 1080"/>
                <a:gd name="T20" fmla="*/ 75 w 1536"/>
                <a:gd name="T21" fmla="*/ 72 h 1080"/>
                <a:gd name="T22" fmla="*/ 61 w 1536"/>
                <a:gd name="T23" fmla="*/ 70 h 1080"/>
                <a:gd name="T24" fmla="*/ 62 w 1536"/>
                <a:gd name="T25" fmla="*/ 72 h 1080"/>
                <a:gd name="T26" fmla="*/ 58 w 1536"/>
                <a:gd name="T27" fmla="*/ 75 h 1080"/>
                <a:gd name="T28" fmla="*/ 49 w 1536"/>
                <a:gd name="T29" fmla="*/ 76 h 1080"/>
                <a:gd name="T30" fmla="*/ 41 w 1536"/>
                <a:gd name="T31" fmla="*/ 79 h 1080"/>
                <a:gd name="T32" fmla="*/ 41 w 1536"/>
                <a:gd name="T33" fmla="*/ 77 h 1080"/>
                <a:gd name="T34" fmla="*/ 39 w 1536"/>
                <a:gd name="T35" fmla="*/ 74 h 1080"/>
                <a:gd name="T36" fmla="*/ 28 w 1536"/>
                <a:gd name="T37" fmla="*/ 78 h 1080"/>
                <a:gd name="T38" fmla="*/ 18 w 1536"/>
                <a:gd name="T39" fmla="*/ 85 h 1080"/>
                <a:gd name="T40" fmla="*/ 18 w 1536"/>
                <a:gd name="T41" fmla="*/ 77 h 1080"/>
                <a:gd name="T42" fmla="*/ 19 w 1536"/>
                <a:gd name="T43" fmla="*/ 69 h 1080"/>
                <a:gd name="T44" fmla="*/ 16 w 1536"/>
                <a:gd name="T45" fmla="*/ 69 h 1080"/>
                <a:gd name="T46" fmla="*/ 11 w 1536"/>
                <a:gd name="T47" fmla="*/ 69 h 1080"/>
                <a:gd name="T48" fmla="*/ 5 w 1536"/>
                <a:gd name="T49" fmla="*/ 68 h 1080"/>
                <a:gd name="T50" fmla="*/ 1 w 1536"/>
                <a:gd name="T51" fmla="*/ 63 h 1080"/>
                <a:gd name="T52" fmla="*/ 3 w 1536"/>
                <a:gd name="T53" fmla="*/ 59 h 1080"/>
                <a:gd name="T54" fmla="*/ 9 w 1536"/>
                <a:gd name="T55" fmla="*/ 54 h 1080"/>
                <a:gd name="T56" fmla="*/ 15 w 1536"/>
                <a:gd name="T57" fmla="*/ 47 h 1080"/>
                <a:gd name="T58" fmla="*/ 17 w 1536"/>
                <a:gd name="T59" fmla="*/ 40 h 1080"/>
                <a:gd name="T60" fmla="*/ 12 w 1536"/>
                <a:gd name="T61" fmla="*/ 33 h 1080"/>
                <a:gd name="T62" fmla="*/ 10 w 1536"/>
                <a:gd name="T63" fmla="*/ 21 h 1080"/>
                <a:gd name="T64" fmla="*/ 6 w 1536"/>
                <a:gd name="T65" fmla="*/ 14 h 1080"/>
                <a:gd name="T66" fmla="*/ 7 w 1536"/>
                <a:gd name="T67" fmla="*/ 9 h 1080"/>
                <a:gd name="T68" fmla="*/ 12 w 1536"/>
                <a:gd name="T69" fmla="*/ 7 h 1080"/>
                <a:gd name="T70" fmla="*/ 16 w 1536"/>
                <a:gd name="T71" fmla="*/ 8 h 1080"/>
                <a:gd name="T72" fmla="*/ 19 w 1536"/>
                <a:gd name="T73" fmla="*/ 8 h 1080"/>
                <a:gd name="T74" fmla="*/ 22 w 1536"/>
                <a:gd name="T75" fmla="*/ 9 h 1080"/>
                <a:gd name="T76" fmla="*/ 29 w 1536"/>
                <a:gd name="T77" fmla="*/ 12 h 1080"/>
                <a:gd name="T78" fmla="*/ 33 w 1536"/>
                <a:gd name="T79" fmla="*/ 13 h 1080"/>
                <a:gd name="T80" fmla="*/ 38 w 1536"/>
                <a:gd name="T81" fmla="*/ 15 h 1080"/>
                <a:gd name="T82" fmla="*/ 42 w 1536"/>
                <a:gd name="T83" fmla="*/ 17 h 1080"/>
                <a:gd name="T84" fmla="*/ 47 w 1536"/>
                <a:gd name="T85" fmla="*/ 19 h 1080"/>
                <a:gd name="T86" fmla="*/ 51 w 1536"/>
                <a:gd name="T87" fmla="*/ 21 h 1080"/>
                <a:gd name="T88" fmla="*/ 50 w 1536"/>
                <a:gd name="T89" fmla="*/ 15 h 1080"/>
                <a:gd name="T90" fmla="*/ 56 w 1536"/>
                <a:gd name="T91" fmla="*/ 0 h 1080"/>
                <a:gd name="T92" fmla="*/ 74 w 1536"/>
                <a:gd name="T93" fmla="*/ 5 h 1080"/>
                <a:gd name="T94" fmla="*/ 87 w 1536"/>
                <a:gd name="T95" fmla="*/ 6 h 1080"/>
                <a:gd name="T96" fmla="*/ 92 w 1536"/>
                <a:gd name="T97" fmla="*/ 11 h 1080"/>
                <a:gd name="T98" fmla="*/ 95 w 1536"/>
                <a:gd name="T99" fmla="*/ 15 h 1080"/>
                <a:gd name="T100" fmla="*/ 93 w 1536"/>
                <a:gd name="T101" fmla="*/ 20 h 1080"/>
                <a:gd name="T102" fmla="*/ 108 w 1536"/>
                <a:gd name="T103" fmla="*/ 18 h 1080"/>
                <a:gd name="T104" fmla="*/ 120 w 1536"/>
                <a:gd name="T105" fmla="*/ 21 h 1080"/>
                <a:gd name="T106" fmla="*/ 127 w 1536"/>
                <a:gd name="T107" fmla="*/ 29 h 1080"/>
                <a:gd name="T108" fmla="*/ 130 w 1536"/>
                <a:gd name="T109" fmla="*/ 30 h 1080"/>
                <a:gd name="T110" fmla="*/ 130 w 1536"/>
                <a:gd name="T111" fmla="*/ 49 h 1080"/>
                <a:gd name="T112" fmla="*/ 120 w 1536"/>
                <a:gd name="T113" fmla="*/ 69 h 1080"/>
                <a:gd name="T114" fmla="*/ 119 w 1536"/>
                <a:gd name="T115" fmla="*/ 74 h 1080"/>
                <a:gd name="T116" fmla="*/ 118 w 1536"/>
                <a:gd name="T117" fmla="*/ 80 h 108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536"/>
                <a:gd name="T178" fmla="*/ 0 h 1080"/>
                <a:gd name="T179" fmla="*/ 1536 w 1536"/>
                <a:gd name="T180" fmla="*/ 1080 h 108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536" h="1080">
                  <a:moveTo>
                    <a:pt x="1350" y="1020"/>
                  </a:moveTo>
                  <a:lnTo>
                    <a:pt x="1350" y="1026"/>
                  </a:lnTo>
                  <a:lnTo>
                    <a:pt x="1344" y="1026"/>
                  </a:lnTo>
                  <a:lnTo>
                    <a:pt x="1338" y="1032"/>
                  </a:lnTo>
                  <a:lnTo>
                    <a:pt x="1332" y="1026"/>
                  </a:lnTo>
                  <a:lnTo>
                    <a:pt x="1326" y="1026"/>
                  </a:lnTo>
                  <a:lnTo>
                    <a:pt x="1320" y="1020"/>
                  </a:lnTo>
                  <a:lnTo>
                    <a:pt x="1314" y="1026"/>
                  </a:lnTo>
                  <a:lnTo>
                    <a:pt x="1314" y="1032"/>
                  </a:lnTo>
                  <a:lnTo>
                    <a:pt x="1308" y="1038"/>
                  </a:lnTo>
                  <a:lnTo>
                    <a:pt x="1308" y="1044"/>
                  </a:lnTo>
                  <a:lnTo>
                    <a:pt x="1308" y="1050"/>
                  </a:lnTo>
                  <a:lnTo>
                    <a:pt x="1308" y="1056"/>
                  </a:lnTo>
                  <a:lnTo>
                    <a:pt x="1308" y="1062"/>
                  </a:lnTo>
                  <a:lnTo>
                    <a:pt x="1296" y="1068"/>
                  </a:lnTo>
                  <a:lnTo>
                    <a:pt x="1284" y="1074"/>
                  </a:lnTo>
                  <a:lnTo>
                    <a:pt x="1272" y="1080"/>
                  </a:lnTo>
                  <a:lnTo>
                    <a:pt x="1260" y="1080"/>
                  </a:lnTo>
                  <a:lnTo>
                    <a:pt x="1254" y="1074"/>
                  </a:lnTo>
                  <a:lnTo>
                    <a:pt x="1236" y="1074"/>
                  </a:lnTo>
                  <a:lnTo>
                    <a:pt x="1230" y="1074"/>
                  </a:lnTo>
                  <a:lnTo>
                    <a:pt x="1236" y="1074"/>
                  </a:lnTo>
                  <a:lnTo>
                    <a:pt x="1236" y="1068"/>
                  </a:lnTo>
                  <a:lnTo>
                    <a:pt x="1236" y="1062"/>
                  </a:lnTo>
                  <a:lnTo>
                    <a:pt x="1236" y="1056"/>
                  </a:lnTo>
                  <a:lnTo>
                    <a:pt x="1242" y="1050"/>
                  </a:lnTo>
                  <a:lnTo>
                    <a:pt x="1242" y="1044"/>
                  </a:lnTo>
                  <a:lnTo>
                    <a:pt x="1242" y="1038"/>
                  </a:lnTo>
                  <a:lnTo>
                    <a:pt x="1248" y="1032"/>
                  </a:lnTo>
                  <a:lnTo>
                    <a:pt x="1236" y="1026"/>
                  </a:lnTo>
                  <a:lnTo>
                    <a:pt x="1218" y="1020"/>
                  </a:lnTo>
                  <a:lnTo>
                    <a:pt x="1224" y="1014"/>
                  </a:lnTo>
                  <a:lnTo>
                    <a:pt x="1218" y="1008"/>
                  </a:lnTo>
                  <a:lnTo>
                    <a:pt x="1218" y="1002"/>
                  </a:lnTo>
                  <a:lnTo>
                    <a:pt x="1212" y="1008"/>
                  </a:lnTo>
                  <a:lnTo>
                    <a:pt x="1206" y="1002"/>
                  </a:lnTo>
                  <a:lnTo>
                    <a:pt x="1212" y="1002"/>
                  </a:lnTo>
                  <a:lnTo>
                    <a:pt x="1212" y="996"/>
                  </a:lnTo>
                  <a:lnTo>
                    <a:pt x="1200" y="990"/>
                  </a:lnTo>
                  <a:lnTo>
                    <a:pt x="1200" y="984"/>
                  </a:lnTo>
                  <a:lnTo>
                    <a:pt x="1188" y="984"/>
                  </a:lnTo>
                  <a:lnTo>
                    <a:pt x="1176" y="978"/>
                  </a:lnTo>
                  <a:lnTo>
                    <a:pt x="1164" y="960"/>
                  </a:lnTo>
                  <a:lnTo>
                    <a:pt x="1152" y="936"/>
                  </a:lnTo>
                  <a:lnTo>
                    <a:pt x="1146" y="936"/>
                  </a:lnTo>
                  <a:lnTo>
                    <a:pt x="1128" y="900"/>
                  </a:lnTo>
                  <a:lnTo>
                    <a:pt x="1038" y="912"/>
                  </a:lnTo>
                  <a:lnTo>
                    <a:pt x="1038" y="918"/>
                  </a:lnTo>
                  <a:lnTo>
                    <a:pt x="1032" y="924"/>
                  </a:lnTo>
                  <a:lnTo>
                    <a:pt x="1026" y="918"/>
                  </a:lnTo>
                  <a:lnTo>
                    <a:pt x="1020" y="924"/>
                  </a:lnTo>
                  <a:lnTo>
                    <a:pt x="1008" y="936"/>
                  </a:lnTo>
                  <a:lnTo>
                    <a:pt x="990" y="936"/>
                  </a:lnTo>
                  <a:lnTo>
                    <a:pt x="990" y="942"/>
                  </a:lnTo>
                  <a:lnTo>
                    <a:pt x="996" y="942"/>
                  </a:lnTo>
                  <a:lnTo>
                    <a:pt x="984" y="948"/>
                  </a:lnTo>
                  <a:lnTo>
                    <a:pt x="972" y="948"/>
                  </a:lnTo>
                  <a:lnTo>
                    <a:pt x="960" y="948"/>
                  </a:lnTo>
                  <a:lnTo>
                    <a:pt x="948" y="942"/>
                  </a:lnTo>
                  <a:lnTo>
                    <a:pt x="948" y="936"/>
                  </a:lnTo>
                  <a:lnTo>
                    <a:pt x="942" y="936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30" y="924"/>
                  </a:lnTo>
                  <a:lnTo>
                    <a:pt x="936" y="918"/>
                  </a:lnTo>
                  <a:lnTo>
                    <a:pt x="918" y="918"/>
                  </a:lnTo>
                  <a:lnTo>
                    <a:pt x="918" y="900"/>
                  </a:lnTo>
                  <a:lnTo>
                    <a:pt x="924" y="900"/>
                  </a:lnTo>
                  <a:lnTo>
                    <a:pt x="924" y="894"/>
                  </a:lnTo>
                  <a:lnTo>
                    <a:pt x="924" y="870"/>
                  </a:lnTo>
                  <a:lnTo>
                    <a:pt x="924" y="864"/>
                  </a:lnTo>
                  <a:lnTo>
                    <a:pt x="918" y="858"/>
                  </a:lnTo>
                  <a:lnTo>
                    <a:pt x="918" y="852"/>
                  </a:lnTo>
                  <a:lnTo>
                    <a:pt x="906" y="840"/>
                  </a:lnTo>
                  <a:lnTo>
                    <a:pt x="894" y="834"/>
                  </a:lnTo>
                  <a:lnTo>
                    <a:pt x="876" y="822"/>
                  </a:lnTo>
                  <a:lnTo>
                    <a:pt x="870" y="828"/>
                  </a:lnTo>
                  <a:lnTo>
                    <a:pt x="858" y="816"/>
                  </a:lnTo>
                  <a:lnTo>
                    <a:pt x="810" y="798"/>
                  </a:lnTo>
                  <a:lnTo>
                    <a:pt x="774" y="792"/>
                  </a:lnTo>
                  <a:lnTo>
                    <a:pt x="732" y="798"/>
                  </a:lnTo>
                  <a:lnTo>
                    <a:pt x="726" y="804"/>
                  </a:lnTo>
                  <a:lnTo>
                    <a:pt x="714" y="810"/>
                  </a:lnTo>
                  <a:lnTo>
                    <a:pt x="702" y="810"/>
                  </a:lnTo>
                  <a:lnTo>
                    <a:pt x="690" y="810"/>
                  </a:lnTo>
                  <a:lnTo>
                    <a:pt x="696" y="816"/>
                  </a:lnTo>
                  <a:lnTo>
                    <a:pt x="696" y="822"/>
                  </a:lnTo>
                  <a:lnTo>
                    <a:pt x="702" y="822"/>
                  </a:lnTo>
                  <a:lnTo>
                    <a:pt x="708" y="822"/>
                  </a:lnTo>
                  <a:lnTo>
                    <a:pt x="708" y="828"/>
                  </a:lnTo>
                  <a:lnTo>
                    <a:pt x="708" y="834"/>
                  </a:lnTo>
                  <a:lnTo>
                    <a:pt x="714" y="834"/>
                  </a:lnTo>
                  <a:lnTo>
                    <a:pt x="708" y="846"/>
                  </a:lnTo>
                  <a:lnTo>
                    <a:pt x="708" y="852"/>
                  </a:lnTo>
                  <a:lnTo>
                    <a:pt x="702" y="852"/>
                  </a:lnTo>
                  <a:lnTo>
                    <a:pt x="696" y="858"/>
                  </a:lnTo>
                  <a:lnTo>
                    <a:pt x="690" y="864"/>
                  </a:lnTo>
                  <a:lnTo>
                    <a:pt x="666" y="870"/>
                  </a:lnTo>
                  <a:lnTo>
                    <a:pt x="660" y="876"/>
                  </a:lnTo>
                  <a:lnTo>
                    <a:pt x="642" y="876"/>
                  </a:lnTo>
                  <a:lnTo>
                    <a:pt x="606" y="882"/>
                  </a:lnTo>
                  <a:lnTo>
                    <a:pt x="588" y="882"/>
                  </a:lnTo>
                  <a:lnTo>
                    <a:pt x="582" y="876"/>
                  </a:lnTo>
                  <a:lnTo>
                    <a:pt x="576" y="876"/>
                  </a:lnTo>
                  <a:lnTo>
                    <a:pt x="564" y="876"/>
                  </a:lnTo>
                  <a:lnTo>
                    <a:pt x="552" y="882"/>
                  </a:lnTo>
                  <a:lnTo>
                    <a:pt x="540" y="894"/>
                  </a:lnTo>
                  <a:lnTo>
                    <a:pt x="534" y="906"/>
                  </a:lnTo>
                  <a:lnTo>
                    <a:pt x="528" y="912"/>
                  </a:lnTo>
                  <a:lnTo>
                    <a:pt x="516" y="924"/>
                  </a:lnTo>
                  <a:lnTo>
                    <a:pt x="486" y="930"/>
                  </a:lnTo>
                  <a:lnTo>
                    <a:pt x="474" y="912"/>
                  </a:lnTo>
                  <a:lnTo>
                    <a:pt x="474" y="906"/>
                  </a:lnTo>
                  <a:lnTo>
                    <a:pt x="468" y="906"/>
                  </a:lnTo>
                  <a:lnTo>
                    <a:pt x="468" y="900"/>
                  </a:lnTo>
                  <a:lnTo>
                    <a:pt x="462" y="894"/>
                  </a:lnTo>
                  <a:lnTo>
                    <a:pt x="456" y="894"/>
                  </a:lnTo>
                  <a:lnTo>
                    <a:pt x="462" y="888"/>
                  </a:lnTo>
                  <a:lnTo>
                    <a:pt x="468" y="888"/>
                  </a:lnTo>
                  <a:lnTo>
                    <a:pt x="462" y="882"/>
                  </a:lnTo>
                  <a:lnTo>
                    <a:pt x="462" y="876"/>
                  </a:lnTo>
                  <a:lnTo>
                    <a:pt x="456" y="870"/>
                  </a:lnTo>
                  <a:lnTo>
                    <a:pt x="456" y="864"/>
                  </a:lnTo>
                  <a:lnTo>
                    <a:pt x="450" y="858"/>
                  </a:lnTo>
                  <a:lnTo>
                    <a:pt x="444" y="858"/>
                  </a:lnTo>
                  <a:lnTo>
                    <a:pt x="444" y="852"/>
                  </a:lnTo>
                  <a:lnTo>
                    <a:pt x="438" y="852"/>
                  </a:lnTo>
                  <a:lnTo>
                    <a:pt x="438" y="858"/>
                  </a:lnTo>
                  <a:lnTo>
                    <a:pt x="402" y="870"/>
                  </a:lnTo>
                  <a:lnTo>
                    <a:pt x="390" y="882"/>
                  </a:lnTo>
                  <a:lnTo>
                    <a:pt x="384" y="900"/>
                  </a:lnTo>
                  <a:lnTo>
                    <a:pt x="342" y="900"/>
                  </a:lnTo>
                  <a:lnTo>
                    <a:pt x="324" y="900"/>
                  </a:lnTo>
                  <a:lnTo>
                    <a:pt x="294" y="906"/>
                  </a:lnTo>
                  <a:lnTo>
                    <a:pt x="282" y="948"/>
                  </a:lnTo>
                  <a:lnTo>
                    <a:pt x="282" y="978"/>
                  </a:lnTo>
                  <a:lnTo>
                    <a:pt x="270" y="1008"/>
                  </a:lnTo>
                  <a:lnTo>
                    <a:pt x="240" y="1014"/>
                  </a:lnTo>
                  <a:lnTo>
                    <a:pt x="216" y="996"/>
                  </a:lnTo>
                  <a:lnTo>
                    <a:pt x="204" y="984"/>
                  </a:lnTo>
                  <a:lnTo>
                    <a:pt x="192" y="966"/>
                  </a:lnTo>
                  <a:lnTo>
                    <a:pt x="186" y="948"/>
                  </a:lnTo>
                  <a:lnTo>
                    <a:pt x="174" y="948"/>
                  </a:lnTo>
                  <a:lnTo>
                    <a:pt x="174" y="936"/>
                  </a:lnTo>
                  <a:lnTo>
                    <a:pt x="186" y="924"/>
                  </a:lnTo>
                  <a:lnTo>
                    <a:pt x="198" y="906"/>
                  </a:lnTo>
                  <a:lnTo>
                    <a:pt x="204" y="888"/>
                  </a:lnTo>
                  <a:lnTo>
                    <a:pt x="222" y="870"/>
                  </a:lnTo>
                  <a:lnTo>
                    <a:pt x="234" y="858"/>
                  </a:lnTo>
                  <a:lnTo>
                    <a:pt x="234" y="852"/>
                  </a:lnTo>
                  <a:lnTo>
                    <a:pt x="222" y="852"/>
                  </a:lnTo>
                  <a:lnTo>
                    <a:pt x="228" y="810"/>
                  </a:lnTo>
                  <a:lnTo>
                    <a:pt x="222" y="798"/>
                  </a:lnTo>
                  <a:lnTo>
                    <a:pt x="216" y="798"/>
                  </a:lnTo>
                  <a:lnTo>
                    <a:pt x="216" y="792"/>
                  </a:lnTo>
                  <a:lnTo>
                    <a:pt x="210" y="792"/>
                  </a:lnTo>
                  <a:lnTo>
                    <a:pt x="204" y="798"/>
                  </a:lnTo>
                  <a:lnTo>
                    <a:pt x="204" y="792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0" y="786"/>
                  </a:lnTo>
                  <a:lnTo>
                    <a:pt x="174" y="792"/>
                  </a:lnTo>
                  <a:lnTo>
                    <a:pt x="162" y="792"/>
                  </a:lnTo>
                  <a:lnTo>
                    <a:pt x="156" y="792"/>
                  </a:lnTo>
                  <a:lnTo>
                    <a:pt x="156" y="798"/>
                  </a:lnTo>
                  <a:lnTo>
                    <a:pt x="138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6" y="804"/>
                  </a:lnTo>
                  <a:lnTo>
                    <a:pt x="102" y="810"/>
                  </a:lnTo>
                  <a:lnTo>
                    <a:pt x="90" y="810"/>
                  </a:lnTo>
                  <a:lnTo>
                    <a:pt x="72" y="798"/>
                  </a:lnTo>
                  <a:lnTo>
                    <a:pt x="66" y="780"/>
                  </a:lnTo>
                  <a:lnTo>
                    <a:pt x="60" y="780"/>
                  </a:lnTo>
                  <a:lnTo>
                    <a:pt x="60" y="768"/>
                  </a:lnTo>
                  <a:lnTo>
                    <a:pt x="54" y="768"/>
                  </a:lnTo>
                  <a:lnTo>
                    <a:pt x="24" y="756"/>
                  </a:lnTo>
                  <a:lnTo>
                    <a:pt x="18" y="744"/>
                  </a:lnTo>
                  <a:lnTo>
                    <a:pt x="12" y="738"/>
                  </a:lnTo>
                  <a:lnTo>
                    <a:pt x="18" y="732"/>
                  </a:lnTo>
                  <a:lnTo>
                    <a:pt x="12" y="726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8" y="696"/>
                  </a:lnTo>
                  <a:lnTo>
                    <a:pt x="24" y="708"/>
                  </a:lnTo>
                  <a:lnTo>
                    <a:pt x="36" y="702"/>
                  </a:lnTo>
                  <a:lnTo>
                    <a:pt x="36" y="678"/>
                  </a:lnTo>
                  <a:lnTo>
                    <a:pt x="36" y="660"/>
                  </a:lnTo>
                  <a:lnTo>
                    <a:pt x="42" y="654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72" y="624"/>
                  </a:lnTo>
                  <a:lnTo>
                    <a:pt x="90" y="618"/>
                  </a:lnTo>
                  <a:lnTo>
                    <a:pt x="102" y="618"/>
                  </a:lnTo>
                  <a:lnTo>
                    <a:pt x="114" y="612"/>
                  </a:lnTo>
                  <a:lnTo>
                    <a:pt x="138" y="606"/>
                  </a:lnTo>
                  <a:lnTo>
                    <a:pt x="144" y="606"/>
                  </a:lnTo>
                  <a:lnTo>
                    <a:pt x="150" y="594"/>
                  </a:lnTo>
                  <a:lnTo>
                    <a:pt x="156" y="576"/>
                  </a:lnTo>
                  <a:lnTo>
                    <a:pt x="168" y="552"/>
                  </a:lnTo>
                  <a:lnTo>
                    <a:pt x="168" y="540"/>
                  </a:lnTo>
                  <a:lnTo>
                    <a:pt x="180" y="522"/>
                  </a:lnTo>
                  <a:lnTo>
                    <a:pt x="186" y="498"/>
                  </a:lnTo>
                  <a:lnTo>
                    <a:pt x="198" y="480"/>
                  </a:lnTo>
                  <a:lnTo>
                    <a:pt x="204" y="486"/>
                  </a:lnTo>
                  <a:lnTo>
                    <a:pt x="210" y="480"/>
                  </a:lnTo>
                  <a:lnTo>
                    <a:pt x="204" y="474"/>
                  </a:lnTo>
                  <a:lnTo>
                    <a:pt x="198" y="462"/>
                  </a:lnTo>
                  <a:lnTo>
                    <a:pt x="192" y="456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50"/>
                  </a:lnTo>
                  <a:lnTo>
                    <a:pt x="132" y="426"/>
                  </a:lnTo>
                  <a:lnTo>
                    <a:pt x="132" y="396"/>
                  </a:lnTo>
                  <a:lnTo>
                    <a:pt x="132" y="378"/>
                  </a:lnTo>
                  <a:lnTo>
                    <a:pt x="126" y="348"/>
                  </a:lnTo>
                  <a:lnTo>
                    <a:pt x="132" y="312"/>
                  </a:lnTo>
                  <a:lnTo>
                    <a:pt x="126" y="288"/>
                  </a:lnTo>
                  <a:lnTo>
                    <a:pt x="138" y="282"/>
                  </a:lnTo>
                  <a:lnTo>
                    <a:pt x="126" y="264"/>
                  </a:lnTo>
                  <a:lnTo>
                    <a:pt x="126" y="258"/>
                  </a:lnTo>
                  <a:lnTo>
                    <a:pt x="120" y="246"/>
                  </a:lnTo>
                  <a:lnTo>
                    <a:pt x="126" y="234"/>
                  </a:lnTo>
                  <a:lnTo>
                    <a:pt x="114" y="228"/>
                  </a:lnTo>
                  <a:lnTo>
                    <a:pt x="114" y="222"/>
                  </a:lnTo>
                  <a:lnTo>
                    <a:pt x="96" y="204"/>
                  </a:lnTo>
                  <a:lnTo>
                    <a:pt x="84" y="180"/>
                  </a:lnTo>
                  <a:lnTo>
                    <a:pt x="78" y="168"/>
                  </a:lnTo>
                  <a:lnTo>
                    <a:pt x="72" y="162"/>
                  </a:lnTo>
                  <a:lnTo>
                    <a:pt x="66" y="144"/>
                  </a:lnTo>
                  <a:lnTo>
                    <a:pt x="60" y="138"/>
                  </a:lnTo>
                  <a:lnTo>
                    <a:pt x="66" y="126"/>
                  </a:lnTo>
                  <a:lnTo>
                    <a:pt x="66" y="114"/>
                  </a:lnTo>
                  <a:lnTo>
                    <a:pt x="72" y="114"/>
                  </a:lnTo>
                  <a:lnTo>
                    <a:pt x="72" y="108"/>
                  </a:lnTo>
                  <a:lnTo>
                    <a:pt x="78" y="102"/>
                  </a:lnTo>
                  <a:lnTo>
                    <a:pt x="78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120" y="78"/>
                  </a:lnTo>
                  <a:lnTo>
                    <a:pt x="144" y="84"/>
                  </a:lnTo>
                  <a:lnTo>
                    <a:pt x="150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74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92" y="102"/>
                  </a:lnTo>
                  <a:lnTo>
                    <a:pt x="198" y="96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16" y="96"/>
                  </a:lnTo>
                  <a:lnTo>
                    <a:pt x="222" y="96"/>
                  </a:lnTo>
                  <a:lnTo>
                    <a:pt x="228" y="96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94" y="114"/>
                  </a:lnTo>
                  <a:lnTo>
                    <a:pt x="312" y="120"/>
                  </a:lnTo>
                  <a:lnTo>
                    <a:pt x="318" y="126"/>
                  </a:lnTo>
                  <a:lnTo>
                    <a:pt x="330" y="132"/>
                  </a:lnTo>
                  <a:lnTo>
                    <a:pt x="342" y="132"/>
                  </a:lnTo>
                  <a:lnTo>
                    <a:pt x="348" y="132"/>
                  </a:lnTo>
                  <a:lnTo>
                    <a:pt x="354" y="138"/>
                  </a:lnTo>
                  <a:lnTo>
                    <a:pt x="366" y="138"/>
                  </a:lnTo>
                  <a:lnTo>
                    <a:pt x="372" y="144"/>
                  </a:lnTo>
                  <a:lnTo>
                    <a:pt x="378" y="150"/>
                  </a:lnTo>
                  <a:lnTo>
                    <a:pt x="384" y="150"/>
                  </a:lnTo>
                  <a:lnTo>
                    <a:pt x="390" y="150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14" y="156"/>
                  </a:lnTo>
                  <a:lnTo>
                    <a:pt x="420" y="156"/>
                  </a:lnTo>
                  <a:lnTo>
                    <a:pt x="426" y="162"/>
                  </a:lnTo>
                  <a:lnTo>
                    <a:pt x="438" y="168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62" y="174"/>
                  </a:lnTo>
                  <a:lnTo>
                    <a:pt x="468" y="174"/>
                  </a:lnTo>
                  <a:lnTo>
                    <a:pt x="474" y="174"/>
                  </a:lnTo>
                  <a:lnTo>
                    <a:pt x="474" y="180"/>
                  </a:lnTo>
                  <a:lnTo>
                    <a:pt x="480" y="192"/>
                  </a:lnTo>
                  <a:lnTo>
                    <a:pt x="498" y="198"/>
                  </a:lnTo>
                  <a:lnTo>
                    <a:pt x="510" y="210"/>
                  </a:lnTo>
                  <a:lnTo>
                    <a:pt x="516" y="210"/>
                  </a:lnTo>
                  <a:lnTo>
                    <a:pt x="522" y="210"/>
                  </a:lnTo>
                  <a:lnTo>
                    <a:pt x="534" y="216"/>
                  </a:lnTo>
                  <a:lnTo>
                    <a:pt x="540" y="216"/>
                  </a:lnTo>
                  <a:lnTo>
                    <a:pt x="546" y="222"/>
                  </a:lnTo>
                  <a:lnTo>
                    <a:pt x="552" y="222"/>
                  </a:lnTo>
                  <a:lnTo>
                    <a:pt x="558" y="228"/>
                  </a:lnTo>
                  <a:lnTo>
                    <a:pt x="564" y="228"/>
                  </a:lnTo>
                  <a:lnTo>
                    <a:pt x="570" y="234"/>
                  </a:lnTo>
                  <a:lnTo>
                    <a:pt x="576" y="240"/>
                  </a:lnTo>
                  <a:lnTo>
                    <a:pt x="582" y="240"/>
                  </a:lnTo>
                  <a:lnTo>
                    <a:pt x="588" y="240"/>
                  </a:lnTo>
                  <a:lnTo>
                    <a:pt x="594" y="240"/>
                  </a:lnTo>
                  <a:lnTo>
                    <a:pt x="600" y="228"/>
                  </a:lnTo>
                  <a:lnTo>
                    <a:pt x="588" y="216"/>
                  </a:lnTo>
                  <a:lnTo>
                    <a:pt x="588" y="198"/>
                  </a:lnTo>
                  <a:lnTo>
                    <a:pt x="582" y="198"/>
                  </a:lnTo>
                  <a:lnTo>
                    <a:pt x="588" y="192"/>
                  </a:lnTo>
                  <a:lnTo>
                    <a:pt x="582" y="168"/>
                  </a:lnTo>
                  <a:lnTo>
                    <a:pt x="558" y="114"/>
                  </a:lnTo>
                  <a:lnTo>
                    <a:pt x="552" y="90"/>
                  </a:lnTo>
                  <a:lnTo>
                    <a:pt x="558" y="60"/>
                  </a:lnTo>
                  <a:lnTo>
                    <a:pt x="564" y="48"/>
                  </a:lnTo>
                  <a:lnTo>
                    <a:pt x="582" y="42"/>
                  </a:lnTo>
                  <a:lnTo>
                    <a:pt x="624" y="6"/>
                  </a:lnTo>
                  <a:lnTo>
                    <a:pt x="648" y="0"/>
                  </a:lnTo>
                  <a:lnTo>
                    <a:pt x="678" y="0"/>
                  </a:lnTo>
                  <a:lnTo>
                    <a:pt x="720" y="12"/>
                  </a:lnTo>
                  <a:lnTo>
                    <a:pt x="744" y="24"/>
                  </a:lnTo>
                  <a:lnTo>
                    <a:pt x="768" y="42"/>
                  </a:lnTo>
                  <a:lnTo>
                    <a:pt x="816" y="48"/>
                  </a:lnTo>
                  <a:lnTo>
                    <a:pt x="834" y="48"/>
                  </a:lnTo>
                  <a:lnTo>
                    <a:pt x="852" y="54"/>
                  </a:lnTo>
                  <a:lnTo>
                    <a:pt x="906" y="60"/>
                  </a:lnTo>
                  <a:lnTo>
                    <a:pt x="948" y="54"/>
                  </a:lnTo>
                  <a:lnTo>
                    <a:pt x="978" y="42"/>
                  </a:lnTo>
                  <a:lnTo>
                    <a:pt x="984" y="48"/>
                  </a:lnTo>
                  <a:lnTo>
                    <a:pt x="990" y="60"/>
                  </a:lnTo>
                  <a:lnTo>
                    <a:pt x="996" y="66"/>
                  </a:lnTo>
                  <a:lnTo>
                    <a:pt x="1002" y="72"/>
                  </a:lnTo>
                  <a:lnTo>
                    <a:pt x="1014" y="78"/>
                  </a:lnTo>
                  <a:lnTo>
                    <a:pt x="1014" y="84"/>
                  </a:lnTo>
                  <a:lnTo>
                    <a:pt x="1032" y="84"/>
                  </a:lnTo>
                  <a:lnTo>
                    <a:pt x="1032" y="90"/>
                  </a:lnTo>
                  <a:lnTo>
                    <a:pt x="1032" y="96"/>
                  </a:lnTo>
                  <a:lnTo>
                    <a:pt x="1032" y="108"/>
                  </a:lnTo>
                  <a:lnTo>
                    <a:pt x="1056" y="126"/>
                  </a:lnTo>
                  <a:lnTo>
                    <a:pt x="1068" y="138"/>
                  </a:lnTo>
                  <a:lnTo>
                    <a:pt x="1068" y="156"/>
                  </a:lnTo>
                  <a:lnTo>
                    <a:pt x="1080" y="150"/>
                  </a:lnTo>
                  <a:lnTo>
                    <a:pt x="1086" y="150"/>
                  </a:lnTo>
                  <a:lnTo>
                    <a:pt x="1092" y="156"/>
                  </a:lnTo>
                  <a:lnTo>
                    <a:pt x="1092" y="162"/>
                  </a:lnTo>
                  <a:lnTo>
                    <a:pt x="1092" y="168"/>
                  </a:lnTo>
                  <a:lnTo>
                    <a:pt x="1098" y="168"/>
                  </a:lnTo>
                  <a:lnTo>
                    <a:pt x="1092" y="180"/>
                  </a:lnTo>
                  <a:lnTo>
                    <a:pt x="1092" y="186"/>
                  </a:lnTo>
                  <a:lnTo>
                    <a:pt x="1086" y="192"/>
                  </a:lnTo>
                  <a:lnTo>
                    <a:pt x="1068" y="210"/>
                  </a:lnTo>
                  <a:lnTo>
                    <a:pt x="1068" y="216"/>
                  </a:lnTo>
                  <a:lnTo>
                    <a:pt x="1074" y="228"/>
                  </a:lnTo>
                  <a:lnTo>
                    <a:pt x="1092" y="234"/>
                  </a:lnTo>
                  <a:lnTo>
                    <a:pt x="1122" y="216"/>
                  </a:lnTo>
                  <a:lnTo>
                    <a:pt x="1188" y="204"/>
                  </a:lnTo>
                  <a:lnTo>
                    <a:pt x="1212" y="204"/>
                  </a:lnTo>
                  <a:lnTo>
                    <a:pt x="1230" y="198"/>
                  </a:lnTo>
                  <a:lnTo>
                    <a:pt x="1236" y="204"/>
                  </a:lnTo>
                  <a:lnTo>
                    <a:pt x="1242" y="210"/>
                  </a:lnTo>
                  <a:lnTo>
                    <a:pt x="1242" y="204"/>
                  </a:lnTo>
                  <a:lnTo>
                    <a:pt x="1248" y="198"/>
                  </a:lnTo>
                  <a:lnTo>
                    <a:pt x="1308" y="204"/>
                  </a:lnTo>
                  <a:lnTo>
                    <a:pt x="1338" y="204"/>
                  </a:lnTo>
                  <a:lnTo>
                    <a:pt x="1374" y="228"/>
                  </a:lnTo>
                  <a:lnTo>
                    <a:pt x="1380" y="234"/>
                  </a:lnTo>
                  <a:lnTo>
                    <a:pt x="1380" y="240"/>
                  </a:lnTo>
                  <a:lnTo>
                    <a:pt x="1386" y="252"/>
                  </a:lnTo>
                  <a:lnTo>
                    <a:pt x="1392" y="252"/>
                  </a:lnTo>
                  <a:lnTo>
                    <a:pt x="1416" y="270"/>
                  </a:lnTo>
                  <a:lnTo>
                    <a:pt x="1428" y="294"/>
                  </a:lnTo>
                  <a:lnTo>
                    <a:pt x="1440" y="312"/>
                  </a:lnTo>
                  <a:lnTo>
                    <a:pt x="1452" y="330"/>
                  </a:lnTo>
                  <a:lnTo>
                    <a:pt x="1464" y="330"/>
                  </a:lnTo>
                  <a:lnTo>
                    <a:pt x="1464" y="336"/>
                  </a:lnTo>
                  <a:lnTo>
                    <a:pt x="1470" y="336"/>
                  </a:lnTo>
                  <a:lnTo>
                    <a:pt x="1470" y="342"/>
                  </a:lnTo>
                  <a:lnTo>
                    <a:pt x="1476" y="342"/>
                  </a:lnTo>
                  <a:lnTo>
                    <a:pt x="1488" y="336"/>
                  </a:lnTo>
                  <a:lnTo>
                    <a:pt x="1494" y="342"/>
                  </a:lnTo>
                  <a:lnTo>
                    <a:pt x="1500" y="342"/>
                  </a:lnTo>
                  <a:lnTo>
                    <a:pt x="1512" y="366"/>
                  </a:lnTo>
                  <a:lnTo>
                    <a:pt x="1530" y="396"/>
                  </a:lnTo>
                  <a:lnTo>
                    <a:pt x="1536" y="444"/>
                  </a:lnTo>
                  <a:lnTo>
                    <a:pt x="1530" y="480"/>
                  </a:lnTo>
                  <a:lnTo>
                    <a:pt x="1506" y="510"/>
                  </a:lnTo>
                  <a:lnTo>
                    <a:pt x="1500" y="546"/>
                  </a:lnTo>
                  <a:lnTo>
                    <a:pt x="1494" y="564"/>
                  </a:lnTo>
                  <a:lnTo>
                    <a:pt x="1494" y="576"/>
                  </a:lnTo>
                  <a:lnTo>
                    <a:pt x="1500" y="582"/>
                  </a:lnTo>
                  <a:lnTo>
                    <a:pt x="1494" y="612"/>
                  </a:lnTo>
                  <a:lnTo>
                    <a:pt x="1476" y="630"/>
                  </a:lnTo>
                  <a:lnTo>
                    <a:pt x="1434" y="672"/>
                  </a:lnTo>
                  <a:lnTo>
                    <a:pt x="1392" y="756"/>
                  </a:lnTo>
                  <a:lnTo>
                    <a:pt x="1380" y="792"/>
                  </a:lnTo>
                  <a:lnTo>
                    <a:pt x="1374" y="798"/>
                  </a:lnTo>
                  <a:lnTo>
                    <a:pt x="1368" y="798"/>
                  </a:lnTo>
                  <a:lnTo>
                    <a:pt x="1380" y="804"/>
                  </a:lnTo>
                  <a:lnTo>
                    <a:pt x="1386" y="804"/>
                  </a:lnTo>
                  <a:lnTo>
                    <a:pt x="1380" y="822"/>
                  </a:lnTo>
                  <a:lnTo>
                    <a:pt x="1380" y="852"/>
                  </a:lnTo>
                  <a:lnTo>
                    <a:pt x="1374" y="858"/>
                  </a:lnTo>
                  <a:lnTo>
                    <a:pt x="1380" y="858"/>
                  </a:lnTo>
                  <a:lnTo>
                    <a:pt x="1374" y="864"/>
                  </a:lnTo>
                  <a:lnTo>
                    <a:pt x="1374" y="870"/>
                  </a:lnTo>
                  <a:lnTo>
                    <a:pt x="1374" y="876"/>
                  </a:lnTo>
                  <a:lnTo>
                    <a:pt x="1368" y="900"/>
                  </a:lnTo>
                  <a:lnTo>
                    <a:pt x="1362" y="906"/>
                  </a:lnTo>
                  <a:lnTo>
                    <a:pt x="1362" y="918"/>
                  </a:lnTo>
                  <a:lnTo>
                    <a:pt x="1362" y="924"/>
                  </a:lnTo>
                  <a:lnTo>
                    <a:pt x="1356" y="942"/>
                  </a:lnTo>
                  <a:lnTo>
                    <a:pt x="1350" y="972"/>
                  </a:lnTo>
                  <a:lnTo>
                    <a:pt x="1350" y="1014"/>
                  </a:lnTo>
                  <a:lnTo>
                    <a:pt x="1350" y="10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3" name="Freeform 18">
              <a:extLst>
                <a:ext uri="{FF2B5EF4-FFF2-40B4-BE49-F238E27FC236}">
                  <a16:creationId xmlns:a16="http://schemas.microsoft.com/office/drawing/2014/main" id="{EC11F2E0-3C06-46E2-8AD2-66EBE00FFE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32346" y="3837389"/>
              <a:ext cx="556811" cy="818559"/>
            </a:xfrm>
            <a:custGeom>
              <a:avLst/>
              <a:gdLst>
                <a:gd name="T0" fmla="*/ 12 w 1044"/>
                <a:gd name="T1" fmla="*/ 95 h 1542"/>
                <a:gd name="T2" fmla="*/ 7 w 1044"/>
                <a:gd name="T3" fmla="*/ 93 h 1542"/>
                <a:gd name="T4" fmla="*/ 0 w 1044"/>
                <a:gd name="T5" fmla="*/ 88 h 1542"/>
                <a:gd name="T6" fmla="*/ 3 w 1044"/>
                <a:gd name="T7" fmla="*/ 74 h 1542"/>
                <a:gd name="T8" fmla="*/ 4 w 1044"/>
                <a:gd name="T9" fmla="*/ 59 h 1542"/>
                <a:gd name="T10" fmla="*/ 7 w 1044"/>
                <a:gd name="T11" fmla="*/ 52 h 1542"/>
                <a:gd name="T12" fmla="*/ 20 w 1044"/>
                <a:gd name="T13" fmla="*/ 50 h 1542"/>
                <a:gd name="T14" fmla="*/ 24 w 1044"/>
                <a:gd name="T15" fmla="*/ 46 h 1542"/>
                <a:gd name="T16" fmla="*/ 29 w 1044"/>
                <a:gd name="T17" fmla="*/ 33 h 1542"/>
                <a:gd name="T18" fmla="*/ 32 w 1044"/>
                <a:gd name="T19" fmla="*/ 26 h 1542"/>
                <a:gd name="T20" fmla="*/ 30 w 1044"/>
                <a:gd name="T21" fmla="*/ 20 h 1542"/>
                <a:gd name="T22" fmla="*/ 26 w 1044"/>
                <a:gd name="T23" fmla="*/ 17 h 1542"/>
                <a:gd name="T24" fmla="*/ 28 w 1044"/>
                <a:gd name="T25" fmla="*/ 12 h 1542"/>
                <a:gd name="T26" fmla="*/ 44 w 1044"/>
                <a:gd name="T27" fmla="*/ 5 h 1542"/>
                <a:gd name="T28" fmla="*/ 57 w 1044"/>
                <a:gd name="T29" fmla="*/ 2 h 1542"/>
                <a:gd name="T30" fmla="*/ 65 w 1044"/>
                <a:gd name="T31" fmla="*/ 12 h 1542"/>
                <a:gd name="T32" fmla="*/ 81 w 1044"/>
                <a:gd name="T33" fmla="*/ 9 h 1542"/>
                <a:gd name="T34" fmla="*/ 91 w 1044"/>
                <a:gd name="T35" fmla="*/ 20 h 1542"/>
                <a:gd name="T36" fmla="*/ 89 w 1044"/>
                <a:gd name="T37" fmla="*/ 28 h 1542"/>
                <a:gd name="T38" fmla="*/ 83 w 1044"/>
                <a:gd name="T39" fmla="*/ 33 h 1542"/>
                <a:gd name="T40" fmla="*/ 74 w 1044"/>
                <a:gd name="T41" fmla="*/ 42 h 1542"/>
                <a:gd name="T42" fmla="*/ 58 w 1044"/>
                <a:gd name="T43" fmla="*/ 57 h 1542"/>
                <a:gd name="T44" fmla="*/ 54 w 1044"/>
                <a:gd name="T45" fmla="*/ 65 h 1542"/>
                <a:gd name="T46" fmla="*/ 59 w 1044"/>
                <a:gd name="T47" fmla="*/ 74 h 1542"/>
                <a:gd name="T48" fmla="*/ 55 w 1044"/>
                <a:gd name="T49" fmla="*/ 84 h 1542"/>
                <a:gd name="T50" fmla="*/ 52 w 1044"/>
                <a:gd name="T51" fmla="*/ 98 h 1542"/>
                <a:gd name="T52" fmla="*/ 47 w 1044"/>
                <a:gd name="T53" fmla="*/ 105 h 1542"/>
                <a:gd name="T54" fmla="*/ 42 w 1044"/>
                <a:gd name="T55" fmla="*/ 111 h 1542"/>
                <a:gd name="T56" fmla="*/ 43 w 1044"/>
                <a:gd name="T57" fmla="*/ 120 h 1542"/>
                <a:gd name="T58" fmla="*/ 45 w 1044"/>
                <a:gd name="T59" fmla="*/ 125 h 1542"/>
                <a:gd name="T60" fmla="*/ 44 w 1044"/>
                <a:gd name="T61" fmla="*/ 130 h 1542"/>
                <a:gd name="T62" fmla="*/ 45 w 1044"/>
                <a:gd name="T63" fmla="*/ 131 h 1542"/>
                <a:gd name="T64" fmla="*/ 48 w 1044"/>
                <a:gd name="T65" fmla="*/ 133 h 1542"/>
                <a:gd name="T66" fmla="*/ 39 w 1044"/>
                <a:gd name="T67" fmla="*/ 133 h 1542"/>
                <a:gd name="T68" fmla="*/ 42 w 1044"/>
                <a:gd name="T69" fmla="*/ 132 h 1542"/>
                <a:gd name="T70" fmla="*/ 38 w 1044"/>
                <a:gd name="T71" fmla="*/ 133 h 1542"/>
                <a:gd name="T72" fmla="*/ 37 w 1044"/>
                <a:gd name="T73" fmla="*/ 129 h 1542"/>
                <a:gd name="T74" fmla="*/ 40 w 1044"/>
                <a:gd name="T75" fmla="*/ 125 h 1542"/>
                <a:gd name="T76" fmla="*/ 40 w 1044"/>
                <a:gd name="T77" fmla="*/ 120 h 1542"/>
                <a:gd name="T78" fmla="*/ 40 w 1044"/>
                <a:gd name="T79" fmla="*/ 117 h 1542"/>
                <a:gd name="T80" fmla="*/ 37 w 1044"/>
                <a:gd name="T81" fmla="*/ 120 h 1542"/>
                <a:gd name="T82" fmla="*/ 34 w 1044"/>
                <a:gd name="T83" fmla="*/ 122 h 1542"/>
                <a:gd name="T84" fmla="*/ 36 w 1044"/>
                <a:gd name="T85" fmla="*/ 120 h 1542"/>
                <a:gd name="T86" fmla="*/ 30 w 1044"/>
                <a:gd name="T87" fmla="*/ 120 h 1542"/>
                <a:gd name="T88" fmla="*/ 31 w 1044"/>
                <a:gd name="T89" fmla="*/ 113 h 1542"/>
                <a:gd name="T90" fmla="*/ 29 w 1044"/>
                <a:gd name="T91" fmla="*/ 112 h 1542"/>
                <a:gd name="T92" fmla="*/ 31 w 1044"/>
                <a:gd name="T93" fmla="*/ 117 h 1542"/>
                <a:gd name="T94" fmla="*/ 27 w 1044"/>
                <a:gd name="T95" fmla="*/ 116 h 1542"/>
                <a:gd name="T96" fmla="*/ 25 w 1044"/>
                <a:gd name="T97" fmla="*/ 112 h 1542"/>
                <a:gd name="T98" fmla="*/ 21 w 1044"/>
                <a:gd name="T99" fmla="*/ 109 h 1542"/>
                <a:gd name="T100" fmla="*/ 21 w 1044"/>
                <a:gd name="T101" fmla="*/ 113 h 1542"/>
                <a:gd name="T102" fmla="*/ 40 w 1044"/>
                <a:gd name="T103" fmla="*/ 120 h 1542"/>
                <a:gd name="T104" fmla="*/ 40 w 1044"/>
                <a:gd name="T105" fmla="*/ 121 h 1542"/>
                <a:gd name="T106" fmla="*/ 40 w 1044"/>
                <a:gd name="T107" fmla="*/ 116 h 1542"/>
                <a:gd name="T108" fmla="*/ 38 w 1044"/>
                <a:gd name="T109" fmla="*/ 120 h 1542"/>
                <a:gd name="T110" fmla="*/ 23 w 1044"/>
                <a:gd name="T111" fmla="*/ 110 h 1542"/>
                <a:gd name="T112" fmla="*/ 37 w 1044"/>
                <a:gd name="T113" fmla="*/ 124 h 1542"/>
                <a:gd name="T114" fmla="*/ 40 w 1044"/>
                <a:gd name="T115" fmla="*/ 125 h 1542"/>
                <a:gd name="T116" fmla="*/ 38 w 1044"/>
                <a:gd name="T117" fmla="*/ 128 h 1542"/>
                <a:gd name="T118" fmla="*/ 25 w 1044"/>
                <a:gd name="T119" fmla="*/ 117 h 1542"/>
                <a:gd name="T120" fmla="*/ 27 w 1044"/>
                <a:gd name="T121" fmla="*/ 127 h 1542"/>
                <a:gd name="T122" fmla="*/ 24 w 1044"/>
                <a:gd name="T123" fmla="*/ 113 h 15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4"/>
                <a:gd name="T187" fmla="*/ 0 h 1542"/>
                <a:gd name="T188" fmla="*/ 1044 w 1044"/>
                <a:gd name="T189" fmla="*/ 1542 h 154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4" h="1542">
                  <a:moveTo>
                    <a:pt x="234" y="1278"/>
                  </a:moveTo>
                  <a:lnTo>
                    <a:pt x="228" y="1272"/>
                  </a:lnTo>
                  <a:lnTo>
                    <a:pt x="222" y="1266"/>
                  </a:lnTo>
                  <a:lnTo>
                    <a:pt x="222" y="1260"/>
                  </a:lnTo>
                  <a:lnTo>
                    <a:pt x="204" y="1248"/>
                  </a:lnTo>
                  <a:lnTo>
                    <a:pt x="192" y="1248"/>
                  </a:lnTo>
                  <a:lnTo>
                    <a:pt x="186" y="1236"/>
                  </a:lnTo>
                  <a:lnTo>
                    <a:pt x="174" y="1218"/>
                  </a:lnTo>
                  <a:lnTo>
                    <a:pt x="162" y="1194"/>
                  </a:lnTo>
                  <a:lnTo>
                    <a:pt x="156" y="1182"/>
                  </a:lnTo>
                  <a:lnTo>
                    <a:pt x="162" y="1146"/>
                  </a:lnTo>
                  <a:lnTo>
                    <a:pt x="156" y="1134"/>
                  </a:lnTo>
                  <a:lnTo>
                    <a:pt x="138" y="1122"/>
                  </a:lnTo>
                  <a:lnTo>
                    <a:pt x="132" y="1116"/>
                  </a:lnTo>
                  <a:lnTo>
                    <a:pt x="138" y="1098"/>
                  </a:lnTo>
                  <a:lnTo>
                    <a:pt x="138" y="1092"/>
                  </a:lnTo>
                  <a:lnTo>
                    <a:pt x="138" y="1086"/>
                  </a:lnTo>
                  <a:lnTo>
                    <a:pt x="132" y="1074"/>
                  </a:lnTo>
                  <a:lnTo>
                    <a:pt x="126" y="1074"/>
                  </a:lnTo>
                  <a:lnTo>
                    <a:pt x="126" y="1068"/>
                  </a:lnTo>
                  <a:lnTo>
                    <a:pt x="120" y="1062"/>
                  </a:lnTo>
                  <a:lnTo>
                    <a:pt x="120" y="1056"/>
                  </a:lnTo>
                  <a:lnTo>
                    <a:pt x="114" y="1050"/>
                  </a:lnTo>
                  <a:lnTo>
                    <a:pt x="108" y="1050"/>
                  </a:lnTo>
                  <a:lnTo>
                    <a:pt x="102" y="1056"/>
                  </a:lnTo>
                  <a:lnTo>
                    <a:pt x="102" y="1062"/>
                  </a:lnTo>
                  <a:lnTo>
                    <a:pt x="96" y="1062"/>
                  </a:lnTo>
                  <a:lnTo>
                    <a:pt x="96" y="1068"/>
                  </a:lnTo>
                  <a:lnTo>
                    <a:pt x="96" y="1074"/>
                  </a:lnTo>
                  <a:lnTo>
                    <a:pt x="90" y="1074"/>
                  </a:lnTo>
                  <a:lnTo>
                    <a:pt x="84" y="1080"/>
                  </a:lnTo>
                  <a:lnTo>
                    <a:pt x="78" y="1074"/>
                  </a:lnTo>
                  <a:lnTo>
                    <a:pt x="72" y="1074"/>
                  </a:lnTo>
                  <a:lnTo>
                    <a:pt x="72" y="1068"/>
                  </a:lnTo>
                  <a:lnTo>
                    <a:pt x="72" y="1062"/>
                  </a:lnTo>
                  <a:lnTo>
                    <a:pt x="60" y="1056"/>
                  </a:lnTo>
                  <a:lnTo>
                    <a:pt x="60" y="1044"/>
                  </a:lnTo>
                  <a:lnTo>
                    <a:pt x="60" y="1032"/>
                  </a:lnTo>
                  <a:lnTo>
                    <a:pt x="60" y="1026"/>
                  </a:lnTo>
                  <a:lnTo>
                    <a:pt x="54" y="1026"/>
                  </a:lnTo>
                  <a:lnTo>
                    <a:pt x="48" y="1014"/>
                  </a:lnTo>
                  <a:lnTo>
                    <a:pt x="42" y="1008"/>
                  </a:lnTo>
                  <a:lnTo>
                    <a:pt x="30" y="1008"/>
                  </a:lnTo>
                  <a:lnTo>
                    <a:pt x="30" y="1002"/>
                  </a:lnTo>
                  <a:lnTo>
                    <a:pt x="24" y="1008"/>
                  </a:lnTo>
                  <a:lnTo>
                    <a:pt x="12" y="1008"/>
                  </a:lnTo>
                  <a:lnTo>
                    <a:pt x="6" y="1008"/>
                  </a:lnTo>
                  <a:lnTo>
                    <a:pt x="0" y="1008"/>
                  </a:lnTo>
                  <a:lnTo>
                    <a:pt x="0" y="1002"/>
                  </a:lnTo>
                  <a:lnTo>
                    <a:pt x="6" y="990"/>
                  </a:lnTo>
                  <a:lnTo>
                    <a:pt x="6" y="984"/>
                  </a:lnTo>
                  <a:lnTo>
                    <a:pt x="0" y="978"/>
                  </a:lnTo>
                  <a:lnTo>
                    <a:pt x="6" y="972"/>
                  </a:lnTo>
                  <a:lnTo>
                    <a:pt x="12" y="972"/>
                  </a:lnTo>
                  <a:lnTo>
                    <a:pt x="72" y="978"/>
                  </a:lnTo>
                  <a:lnTo>
                    <a:pt x="78" y="972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30"/>
                  </a:lnTo>
                  <a:lnTo>
                    <a:pt x="54" y="912"/>
                  </a:lnTo>
                  <a:lnTo>
                    <a:pt x="42" y="906"/>
                  </a:lnTo>
                  <a:lnTo>
                    <a:pt x="36" y="894"/>
                  </a:lnTo>
                  <a:lnTo>
                    <a:pt x="30" y="876"/>
                  </a:lnTo>
                  <a:lnTo>
                    <a:pt x="30" y="858"/>
                  </a:lnTo>
                  <a:lnTo>
                    <a:pt x="30" y="840"/>
                  </a:lnTo>
                  <a:lnTo>
                    <a:pt x="36" y="816"/>
                  </a:lnTo>
                  <a:lnTo>
                    <a:pt x="36" y="792"/>
                  </a:lnTo>
                  <a:lnTo>
                    <a:pt x="36" y="780"/>
                  </a:lnTo>
                  <a:lnTo>
                    <a:pt x="12" y="774"/>
                  </a:lnTo>
                  <a:lnTo>
                    <a:pt x="24" y="756"/>
                  </a:lnTo>
                  <a:lnTo>
                    <a:pt x="24" y="744"/>
                  </a:lnTo>
                  <a:lnTo>
                    <a:pt x="30" y="738"/>
                  </a:lnTo>
                  <a:lnTo>
                    <a:pt x="30" y="732"/>
                  </a:lnTo>
                  <a:lnTo>
                    <a:pt x="36" y="720"/>
                  </a:lnTo>
                  <a:lnTo>
                    <a:pt x="42" y="714"/>
                  </a:lnTo>
                  <a:lnTo>
                    <a:pt x="54" y="708"/>
                  </a:lnTo>
                  <a:lnTo>
                    <a:pt x="60" y="702"/>
                  </a:lnTo>
                  <a:lnTo>
                    <a:pt x="48" y="690"/>
                  </a:lnTo>
                  <a:lnTo>
                    <a:pt x="48" y="684"/>
                  </a:lnTo>
                  <a:lnTo>
                    <a:pt x="48" y="678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66"/>
                  </a:lnTo>
                  <a:lnTo>
                    <a:pt x="72" y="654"/>
                  </a:lnTo>
                  <a:lnTo>
                    <a:pt x="72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84" y="630"/>
                  </a:lnTo>
                  <a:lnTo>
                    <a:pt x="90" y="630"/>
                  </a:lnTo>
                  <a:lnTo>
                    <a:pt x="96" y="630"/>
                  </a:lnTo>
                  <a:lnTo>
                    <a:pt x="96" y="624"/>
                  </a:lnTo>
                  <a:lnTo>
                    <a:pt x="90" y="624"/>
                  </a:lnTo>
                  <a:lnTo>
                    <a:pt x="84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90" y="600"/>
                  </a:lnTo>
                  <a:lnTo>
                    <a:pt x="84" y="600"/>
                  </a:lnTo>
                  <a:lnTo>
                    <a:pt x="78" y="594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126" y="564"/>
                  </a:lnTo>
                  <a:lnTo>
                    <a:pt x="144" y="564"/>
                  </a:lnTo>
                  <a:lnTo>
                    <a:pt x="156" y="582"/>
                  </a:lnTo>
                  <a:lnTo>
                    <a:pt x="162" y="600"/>
                  </a:lnTo>
                  <a:lnTo>
                    <a:pt x="180" y="588"/>
                  </a:lnTo>
                  <a:lnTo>
                    <a:pt x="192" y="588"/>
                  </a:lnTo>
                  <a:lnTo>
                    <a:pt x="198" y="588"/>
                  </a:lnTo>
                  <a:lnTo>
                    <a:pt x="210" y="582"/>
                  </a:lnTo>
                  <a:lnTo>
                    <a:pt x="216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58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46" y="558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58" y="570"/>
                  </a:lnTo>
                  <a:lnTo>
                    <a:pt x="264" y="570"/>
                  </a:lnTo>
                  <a:lnTo>
                    <a:pt x="270" y="564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46"/>
                  </a:lnTo>
                  <a:lnTo>
                    <a:pt x="276" y="540"/>
                  </a:lnTo>
                  <a:lnTo>
                    <a:pt x="276" y="534"/>
                  </a:lnTo>
                  <a:lnTo>
                    <a:pt x="276" y="528"/>
                  </a:lnTo>
                  <a:lnTo>
                    <a:pt x="282" y="528"/>
                  </a:lnTo>
                  <a:lnTo>
                    <a:pt x="282" y="522"/>
                  </a:lnTo>
                  <a:lnTo>
                    <a:pt x="282" y="516"/>
                  </a:lnTo>
                  <a:lnTo>
                    <a:pt x="282" y="510"/>
                  </a:lnTo>
                  <a:lnTo>
                    <a:pt x="282" y="504"/>
                  </a:lnTo>
                  <a:lnTo>
                    <a:pt x="282" y="492"/>
                  </a:lnTo>
                  <a:lnTo>
                    <a:pt x="288" y="486"/>
                  </a:lnTo>
                  <a:lnTo>
                    <a:pt x="300" y="480"/>
                  </a:lnTo>
                  <a:lnTo>
                    <a:pt x="306" y="462"/>
                  </a:lnTo>
                  <a:lnTo>
                    <a:pt x="318" y="444"/>
                  </a:lnTo>
                  <a:lnTo>
                    <a:pt x="330" y="444"/>
                  </a:lnTo>
                  <a:lnTo>
                    <a:pt x="330" y="432"/>
                  </a:lnTo>
                  <a:lnTo>
                    <a:pt x="342" y="432"/>
                  </a:lnTo>
                  <a:lnTo>
                    <a:pt x="354" y="402"/>
                  </a:lnTo>
                  <a:lnTo>
                    <a:pt x="348" y="390"/>
                  </a:lnTo>
                  <a:lnTo>
                    <a:pt x="336" y="384"/>
                  </a:lnTo>
                  <a:lnTo>
                    <a:pt x="336" y="360"/>
                  </a:lnTo>
                  <a:lnTo>
                    <a:pt x="336" y="354"/>
                  </a:lnTo>
                  <a:lnTo>
                    <a:pt x="336" y="342"/>
                  </a:lnTo>
                  <a:lnTo>
                    <a:pt x="342" y="336"/>
                  </a:lnTo>
                  <a:lnTo>
                    <a:pt x="342" y="324"/>
                  </a:lnTo>
                  <a:lnTo>
                    <a:pt x="372" y="324"/>
                  </a:lnTo>
                  <a:lnTo>
                    <a:pt x="378" y="324"/>
                  </a:lnTo>
                  <a:lnTo>
                    <a:pt x="378" y="318"/>
                  </a:lnTo>
                  <a:lnTo>
                    <a:pt x="372" y="312"/>
                  </a:lnTo>
                  <a:lnTo>
                    <a:pt x="378" y="312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84" y="300"/>
                  </a:lnTo>
                  <a:lnTo>
                    <a:pt x="384" y="294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66" y="294"/>
                  </a:lnTo>
                  <a:lnTo>
                    <a:pt x="366" y="288"/>
                  </a:lnTo>
                  <a:lnTo>
                    <a:pt x="372" y="288"/>
                  </a:lnTo>
                  <a:lnTo>
                    <a:pt x="372" y="282"/>
                  </a:lnTo>
                  <a:lnTo>
                    <a:pt x="366" y="276"/>
                  </a:lnTo>
                  <a:lnTo>
                    <a:pt x="360" y="270"/>
                  </a:lnTo>
                  <a:lnTo>
                    <a:pt x="360" y="264"/>
                  </a:lnTo>
                  <a:lnTo>
                    <a:pt x="354" y="264"/>
                  </a:lnTo>
                  <a:lnTo>
                    <a:pt x="348" y="258"/>
                  </a:lnTo>
                  <a:lnTo>
                    <a:pt x="354" y="258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40"/>
                  </a:lnTo>
                  <a:lnTo>
                    <a:pt x="354" y="240"/>
                  </a:lnTo>
                  <a:lnTo>
                    <a:pt x="342" y="234"/>
                  </a:lnTo>
                  <a:lnTo>
                    <a:pt x="342" y="228"/>
                  </a:lnTo>
                  <a:lnTo>
                    <a:pt x="348" y="228"/>
                  </a:lnTo>
                  <a:lnTo>
                    <a:pt x="342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6" y="216"/>
                  </a:lnTo>
                  <a:lnTo>
                    <a:pt x="330" y="222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24" y="210"/>
                  </a:lnTo>
                  <a:lnTo>
                    <a:pt x="318" y="210"/>
                  </a:lnTo>
                  <a:lnTo>
                    <a:pt x="318" y="204"/>
                  </a:lnTo>
                  <a:lnTo>
                    <a:pt x="312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294" y="192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300" y="174"/>
                  </a:lnTo>
                  <a:lnTo>
                    <a:pt x="300" y="168"/>
                  </a:lnTo>
                  <a:lnTo>
                    <a:pt x="300" y="162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88" y="150"/>
                  </a:lnTo>
                  <a:lnTo>
                    <a:pt x="288" y="144"/>
                  </a:lnTo>
                  <a:lnTo>
                    <a:pt x="282" y="144"/>
                  </a:lnTo>
                  <a:lnTo>
                    <a:pt x="282" y="138"/>
                  </a:lnTo>
                  <a:lnTo>
                    <a:pt x="312" y="132"/>
                  </a:lnTo>
                  <a:lnTo>
                    <a:pt x="324" y="120"/>
                  </a:lnTo>
                  <a:lnTo>
                    <a:pt x="330" y="114"/>
                  </a:lnTo>
                  <a:lnTo>
                    <a:pt x="336" y="102"/>
                  </a:lnTo>
                  <a:lnTo>
                    <a:pt x="348" y="90"/>
                  </a:lnTo>
                  <a:lnTo>
                    <a:pt x="360" y="84"/>
                  </a:lnTo>
                  <a:lnTo>
                    <a:pt x="372" y="84"/>
                  </a:lnTo>
                  <a:lnTo>
                    <a:pt x="378" y="84"/>
                  </a:lnTo>
                  <a:lnTo>
                    <a:pt x="384" y="90"/>
                  </a:lnTo>
                  <a:lnTo>
                    <a:pt x="402" y="90"/>
                  </a:lnTo>
                  <a:lnTo>
                    <a:pt x="438" y="84"/>
                  </a:lnTo>
                  <a:lnTo>
                    <a:pt x="456" y="84"/>
                  </a:lnTo>
                  <a:lnTo>
                    <a:pt x="462" y="78"/>
                  </a:lnTo>
                  <a:lnTo>
                    <a:pt x="486" y="72"/>
                  </a:lnTo>
                  <a:lnTo>
                    <a:pt x="492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04" y="54"/>
                  </a:lnTo>
                  <a:lnTo>
                    <a:pt x="510" y="42"/>
                  </a:lnTo>
                  <a:lnTo>
                    <a:pt x="504" y="42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498" y="30"/>
                  </a:lnTo>
                  <a:lnTo>
                    <a:pt x="492" y="30"/>
                  </a:lnTo>
                  <a:lnTo>
                    <a:pt x="492" y="24"/>
                  </a:lnTo>
                  <a:lnTo>
                    <a:pt x="486" y="18"/>
                  </a:lnTo>
                  <a:lnTo>
                    <a:pt x="498" y="18"/>
                  </a:lnTo>
                  <a:lnTo>
                    <a:pt x="510" y="18"/>
                  </a:lnTo>
                  <a:lnTo>
                    <a:pt x="522" y="12"/>
                  </a:lnTo>
                  <a:lnTo>
                    <a:pt x="528" y="6"/>
                  </a:lnTo>
                  <a:lnTo>
                    <a:pt x="570" y="0"/>
                  </a:lnTo>
                  <a:lnTo>
                    <a:pt x="606" y="6"/>
                  </a:lnTo>
                  <a:lnTo>
                    <a:pt x="654" y="24"/>
                  </a:lnTo>
                  <a:lnTo>
                    <a:pt x="666" y="36"/>
                  </a:lnTo>
                  <a:lnTo>
                    <a:pt x="672" y="30"/>
                  </a:lnTo>
                  <a:lnTo>
                    <a:pt x="690" y="42"/>
                  </a:lnTo>
                  <a:lnTo>
                    <a:pt x="702" y="48"/>
                  </a:lnTo>
                  <a:lnTo>
                    <a:pt x="714" y="60"/>
                  </a:lnTo>
                  <a:lnTo>
                    <a:pt x="714" y="66"/>
                  </a:lnTo>
                  <a:lnTo>
                    <a:pt x="720" y="72"/>
                  </a:lnTo>
                  <a:lnTo>
                    <a:pt x="720" y="78"/>
                  </a:lnTo>
                  <a:lnTo>
                    <a:pt x="720" y="102"/>
                  </a:lnTo>
                  <a:lnTo>
                    <a:pt x="720" y="108"/>
                  </a:lnTo>
                  <a:lnTo>
                    <a:pt x="714" y="108"/>
                  </a:lnTo>
                  <a:lnTo>
                    <a:pt x="714" y="126"/>
                  </a:lnTo>
                  <a:lnTo>
                    <a:pt x="732" y="126"/>
                  </a:lnTo>
                  <a:lnTo>
                    <a:pt x="726" y="132"/>
                  </a:lnTo>
                  <a:lnTo>
                    <a:pt x="738" y="132"/>
                  </a:lnTo>
                  <a:lnTo>
                    <a:pt x="738" y="138"/>
                  </a:lnTo>
                  <a:lnTo>
                    <a:pt x="738" y="144"/>
                  </a:lnTo>
                  <a:lnTo>
                    <a:pt x="744" y="144"/>
                  </a:lnTo>
                  <a:lnTo>
                    <a:pt x="744" y="150"/>
                  </a:lnTo>
                  <a:lnTo>
                    <a:pt x="756" y="156"/>
                  </a:lnTo>
                  <a:lnTo>
                    <a:pt x="768" y="156"/>
                  </a:lnTo>
                  <a:lnTo>
                    <a:pt x="780" y="156"/>
                  </a:lnTo>
                  <a:lnTo>
                    <a:pt x="792" y="150"/>
                  </a:lnTo>
                  <a:lnTo>
                    <a:pt x="786" y="150"/>
                  </a:lnTo>
                  <a:lnTo>
                    <a:pt x="786" y="144"/>
                  </a:lnTo>
                  <a:lnTo>
                    <a:pt x="804" y="144"/>
                  </a:lnTo>
                  <a:lnTo>
                    <a:pt x="816" y="132"/>
                  </a:lnTo>
                  <a:lnTo>
                    <a:pt x="822" y="126"/>
                  </a:lnTo>
                  <a:lnTo>
                    <a:pt x="828" y="132"/>
                  </a:lnTo>
                  <a:lnTo>
                    <a:pt x="834" y="126"/>
                  </a:lnTo>
                  <a:lnTo>
                    <a:pt x="834" y="120"/>
                  </a:lnTo>
                  <a:lnTo>
                    <a:pt x="924" y="108"/>
                  </a:lnTo>
                  <a:lnTo>
                    <a:pt x="942" y="144"/>
                  </a:lnTo>
                  <a:lnTo>
                    <a:pt x="948" y="144"/>
                  </a:lnTo>
                  <a:lnTo>
                    <a:pt x="960" y="168"/>
                  </a:lnTo>
                  <a:lnTo>
                    <a:pt x="972" y="186"/>
                  </a:lnTo>
                  <a:lnTo>
                    <a:pt x="984" y="192"/>
                  </a:lnTo>
                  <a:lnTo>
                    <a:pt x="996" y="192"/>
                  </a:lnTo>
                  <a:lnTo>
                    <a:pt x="996" y="198"/>
                  </a:lnTo>
                  <a:lnTo>
                    <a:pt x="1008" y="204"/>
                  </a:lnTo>
                  <a:lnTo>
                    <a:pt x="1008" y="210"/>
                  </a:lnTo>
                  <a:lnTo>
                    <a:pt x="1002" y="210"/>
                  </a:lnTo>
                  <a:lnTo>
                    <a:pt x="1008" y="216"/>
                  </a:lnTo>
                  <a:lnTo>
                    <a:pt x="1014" y="210"/>
                  </a:lnTo>
                  <a:lnTo>
                    <a:pt x="1014" y="216"/>
                  </a:lnTo>
                  <a:lnTo>
                    <a:pt x="1020" y="222"/>
                  </a:lnTo>
                  <a:lnTo>
                    <a:pt x="1014" y="228"/>
                  </a:lnTo>
                  <a:lnTo>
                    <a:pt x="1032" y="234"/>
                  </a:lnTo>
                  <a:lnTo>
                    <a:pt x="1044" y="240"/>
                  </a:lnTo>
                  <a:lnTo>
                    <a:pt x="1038" y="246"/>
                  </a:lnTo>
                  <a:lnTo>
                    <a:pt x="1038" y="252"/>
                  </a:lnTo>
                  <a:lnTo>
                    <a:pt x="1038" y="258"/>
                  </a:lnTo>
                  <a:lnTo>
                    <a:pt x="1032" y="264"/>
                  </a:lnTo>
                  <a:lnTo>
                    <a:pt x="1032" y="270"/>
                  </a:lnTo>
                  <a:lnTo>
                    <a:pt x="1032" y="276"/>
                  </a:lnTo>
                  <a:lnTo>
                    <a:pt x="1032" y="282"/>
                  </a:lnTo>
                  <a:lnTo>
                    <a:pt x="1026" y="282"/>
                  </a:lnTo>
                  <a:lnTo>
                    <a:pt x="1026" y="288"/>
                  </a:lnTo>
                  <a:lnTo>
                    <a:pt x="1026" y="294"/>
                  </a:lnTo>
                  <a:lnTo>
                    <a:pt x="1026" y="300"/>
                  </a:lnTo>
                  <a:lnTo>
                    <a:pt x="1026" y="306"/>
                  </a:lnTo>
                  <a:lnTo>
                    <a:pt x="1020" y="318"/>
                  </a:lnTo>
                  <a:lnTo>
                    <a:pt x="1020" y="324"/>
                  </a:lnTo>
                  <a:lnTo>
                    <a:pt x="1014" y="324"/>
                  </a:lnTo>
                  <a:lnTo>
                    <a:pt x="1014" y="330"/>
                  </a:lnTo>
                  <a:lnTo>
                    <a:pt x="1014" y="336"/>
                  </a:lnTo>
                  <a:lnTo>
                    <a:pt x="1008" y="366"/>
                  </a:lnTo>
                  <a:lnTo>
                    <a:pt x="1002" y="366"/>
                  </a:lnTo>
                  <a:lnTo>
                    <a:pt x="984" y="354"/>
                  </a:lnTo>
                  <a:lnTo>
                    <a:pt x="978" y="354"/>
                  </a:lnTo>
                  <a:lnTo>
                    <a:pt x="972" y="354"/>
                  </a:lnTo>
                  <a:lnTo>
                    <a:pt x="966" y="348"/>
                  </a:lnTo>
                  <a:lnTo>
                    <a:pt x="954" y="348"/>
                  </a:lnTo>
                  <a:lnTo>
                    <a:pt x="948" y="348"/>
                  </a:lnTo>
                  <a:lnTo>
                    <a:pt x="948" y="360"/>
                  </a:lnTo>
                  <a:lnTo>
                    <a:pt x="948" y="366"/>
                  </a:lnTo>
                  <a:lnTo>
                    <a:pt x="948" y="372"/>
                  </a:lnTo>
                  <a:lnTo>
                    <a:pt x="948" y="378"/>
                  </a:lnTo>
                  <a:lnTo>
                    <a:pt x="948" y="384"/>
                  </a:lnTo>
                  <a:lnTo>
                    <a:pt x="942" y="384"/>
                  </a:lnTo>
                  <a:lnTo>
                    <a:pt x="942" y="390"/>
                  </a:lnTo>
                  <a:lnTo>
                    <a:pt x="936" y="390"/>
                  </a:lnTo>
                  <a:lnTo>
                    <a:pt x="942" y="390"/>
                  </a:lnTo>
                  <a:lnTo>
                    <a:pt x="936" y="396"/>
                  </a:lnTo>
                  <a:lnTo>
                    <a:pt x="930" y="402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2" y="432"/>
                  </a:lnTo>
                  <a:lnTo>
                    <a:pt x="900" y="450"/>
                  </a:lnTo>
                  <a:lnTo>
                    <a:pt x="894" y="456"/>
                  </a:lnTo>
                  <a:lnTo>
                    <a:pt x="888" y="456"/>
                  </a:lnTo>
                  <a:lnTo>
                    <a:pt x="882" y="456"/>
                  </a:lnTo>
                  <a:lnTo>
                    <a:pt x="876" y="456"/>
                  </a:lnTo>
                  <a:lnTo>
                    <a:pt x="864" y="462"/>
                  </a:lnTo>
                  <a:lnTo>
                    <a:pt x="852" y="474"/>
                  </a:lnTo>
                  <a:lnTo>
                    <a:pt x="846" y="480"/>
                  </a:lnTo>
                  <a:lnTo>
                    <a:pt x="840" y="486"/>
                  </a:lnTo>
                  <a:lnTo>
                    <a:pt x="834" y="498"/>
                  </a:lnTo>
                  <a:lnTo>
                    <a:pt x="828" y="510"/>
                  </a:lnTo>
                  <a:lnTo>
                    <a:pt x="816" y="522"/>
                  </a:lnTo>
                  <a:lnTo>
                    <a:pt x="798" y="540"/>
                  </a:lnTo>
                  <a:lnTo>
                    <a:pt x="780" y="558"/>
                  </a:lnTo>
                  <a:lnTo>
                    <a:pt x="774" y="558"/>
                  </a:lnTo>
                  <a:lnTo>
                    <a:pt x="756" y="576"/>
                  </a:lnTo>
                  <a:lnTo>
                    <a:pt x="732" y="600"/>
                  </a:lnTo>
                  <a:lnTo>
                    <a:pt x="726" y="600"/>
                  </a:lnTo>
                  <a:lnTo>
                    <a:pt x="720" y="606"/>
                  </a:lnTo>
                  <a:lnTo>
                    <a:pt x="714" y="612"/>
                  </a:lnTo>
                  <a:lnTo>
                    <a:pt x="690" y="630"/>
                  </a:lnTo>
                  <a:lnTo>
                    <a:pt x="678" y="636"/>
                  </a:lnTo>
                  <a:lnTo>
                    <a:pt x="672" y="642"/>
                  </a:lnTo>
                  <a:lnTo>
                    <a:pt x="660" y="660"/>
                  </a:lnTo>
                  <a:lnTo>
                    <a:pt x="642" y="666"/>
                  </a:lnTo>
                  <a:lnTo>
                    <a:pt x="636" y="678"/>
                  </a:lnTo>
                  <a:lnTo>
                    <a:pt x="630" y="678"/>
                  </a:lnTo>
                  <a:lnTo>
                    <a:pt x="630" y="684"/>
                  </a:lnTo>
                  <a:lnTo>
                    <a:pt x="630" y="690"/>
                  </a:lnTo>
                  <a:lnTo>
                    <a:pt x="636" y="696"/>
                  </a:lnTo>
                  <a:lnTo>
                    <a:pt x="642" y="696"/>
                  </a:lnTo>
                  <a:lnTo>
                    <a:pt x="648" y="702"/>
                  </a:lnTo>
                  <a:lnTo>
                    <a:pt x="648" y="708"/>
                  </a:lnTo>
                  <a:lnTo>
                    <a:pt x="642" y="708"/>
                  </a:lnTo>
                  <a:lnTo>
                    <a:pt x="636" y="714"/>
                  </a:lnTo>
                  <a:lnTo>
                    <a:pt x="636" y="720"/>
                  </a:lnTo>
                  <a:lnTo>
                    <a:pt x="642" y="726"/>
                  </a:lnTo>
                  <a:lnTo>
                    <a:pt x="636" y="738"/>
                  </a:lnTo>
                  <a:lnTo>
                    <a:pt x="618" y="756"/>
                  </a:lnTo>
                  <a:lnTo>
                    <a:pt x="612" y="750"/>
                  </a:lnTo>
                  <a:lnTo>
                    <a:pt x="612" y="756"/>
                  </a:lnTo>
                  <a:lnTo>
                    <a:pt x="618" y="762"/>
                  </a:lnTo>
                  <a:lnTo>
                    <a:pt x="618" y="768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36" y="786"/>
                  </a:lnTo>
                  <a:lnTo>
                    <a:pt x="642" y="792"/>
                  </a:lnTo>
                  <a:lnTo>
                    <a:pt x="642" y="798"/>
                  </a:lnTo>
                  <a:lnTo>
                    <a:pt x="648" y="804"/>
                  </a:lnTo>
                  <a:lnTo>
                    <a:pt x="654" y="810"/>
                  </a:lnTo>
                  <a:lnTo>
                    <a:pt x="660" y="816"/>
                  </a:lnTo>
                  <a:lnTo>
                    <a:pt x="666" y="816"/>
                  </a:lnTo>
                  <a:lnTo>
                    <a:pt x="666" y="822"/>
                  </a:lnTo>
                  <a:lnTo>
                    <a:pt x="672" y="828"/>
                  </a:lnTo>
                  <a:lnTo>
                    <a:pt x="672" y="840"/>
                  </a:lnTo>
                  <a:lnTo>
                    <a:pt x="672" y="846"/>
                  </a:lnTo>
                  <a:lnTo>
                    <a:pt x="666" y="852"/>
                  </a:lnTo>
                  <a:lnTo>
                    <a:pt x="660" y="864"/>
                  </a:lnTo>
                  <a:lnTo>
                    <a:pt x="654" y="876"/>
                  </a:lnTo>
                  <a:lnTo>
                    <a:pt x="648" y="882"/>
                  </a:lnTo>
                  <a:lnTo>
                    <a:pt x="642" y="888"/>
                  </a:lnTo>
                  <a:lnTo>
                    <a:pt x="642" y="894"/>
                  </a:lnTo>
                  <a:lnTo>
                    <a:pt x="642" y="906"/>
                  </a:lnTo>
                  <a:lnTo>
                    <a:pt x="630" y="918"/>
                  </a:lnTo>
                  <a:lnTo>
                    <a:pt x="630" y="924"/>
                  </a:lnTo>
                  <a:lnTo>
                    <a:pt x="624" y="930"/>
                  </a:lnTo>
                  <a:lnTo>
                    <a:pt x="630" y="936"/>
                  </a:lnTo>
                  <a:lnTo>
                    <a:pt x="630" y="942"/>
                  </a:lnTo>
                  <a:lnTo>
                    <a:pt x="630" y="948"/>
                  </a:lnTo>
                  <a:lnTo>
                    <a:pt x="630" y="954"/>
                  </a:lnTo>
                  <a:lnTo>
                    <a:pt x="630" y="960"/>
                  </a:lnTo>
                  <a:lnTo>
                    <a:pt x="624" y="966"/>
                  </a:lnTo>
                  <a:lnTo>
                    <a:pt x="618" y="990"/>
                  </a:lnTo>
                  <a:lnTo>
                    <a:pt x="618" y="1008"/>
                  </a:lnTo>
                  <a:lnTo>
                    <a:pt x="612" y="1026"/>
                  </a:lnTo>
                  <a:lnTo>
                    <a:pt x="612" y="1038"/>
                  </a:lnTo>
                  <a:lnTo>
                    <a:pt x="612" y="1050"/>
                  </a:lnTo>
                  <a:lnTo>
                    <a:pt x="612" y="1056"/>
                  </a:lnTo>
                  <a:lnTo>
                    <a:pt x="612" y="1062"/>
                  </a:lnTo>
                  <a:lnTo>
                    <a:pt x="612" y="1068"/>
                  </a:lnTo>
                  <a:lnTo>
                    <a:pt x="612" y="1086"/>
                  </a:lnTo>
                  <a:lnTo>
                    <a:pt x="612" y="1092"/>
                  </a:lnTo>
                  <a:lnTo>
                    <a:pt x="606" y="1098"/>
                  </a:lnTo>
                  <a:lnTo>
                    <a:pt x="600" y="1110"/>
                  </a:lnTo>
                  <a:lnTo>
                    <a:pt x="600" y="1116"/>
                  </a:lnTo>
                  <a:lnTo>
                    <a:pt x="594" y="1122"/>
                  </a:lnTo>
                  <a:lnTo>
                    <a:pt x="594" y="1128"/>
                  </a:lnTo>
                  <a:lnTo>
                    <a:pt x="588" y="1134"/>
                  </a:lnTo>
                  <a:lnTo>
                    <a:pt x="582" y="1140"/>
                  </a:lnTo>
                  <a:lnTo>
                    <a:pt x="570" y="1140"/>
                  </a:lnTo>
                  <a:lnTo>
                    <a:pt x="564" y="1146"/>
                  </a:lnTo>
                  <a:lnTo>
                    <a:pt x="570" y="1146"/>
                  </a:lnTo>
                  <a:lnTo>
                    <a:pt x="564" y="1152"/>
                  </a:lnTo>
                  <a:lnTo>
                    <a:pt x="558" y="1158"/>
                  </a:lnTo>
                  <a:lnTo>
                    <a:pt x="552" y="1164"/>
                  </a:lnTo>
                  <a:lnTo>
                    <a:pt x="552" y="1170"/>
                  </a:lnTo>
                  <a:lnTo>
                    <a:pt x="546" y="1176"/>
                  </a:lnTo>
                  <a:lnTo>
                    <a:pt x="546" y="1182"/>
                  </a:lnTo>
                  <a:lnTo>
                    <a:pt x="546" y="1188"/>
                  </a:lnTo>
                  <a:lnTo>
                    <a:pt x="540" y="1188"/>
                  </a:lnTo>
                  <a:lnTo>
                    <a:pt x="540" y="1194"/>
                  </a:lnTo>
                  <a:lnTo>
                    <a:pt x="528" y="1206"/>
                  </a:lnTo>
                  <a:lnTo>
                    <a:pt x="528" y="1212"/>
                  </a:lnTo>
                  <a:lnTo>
                    <a:pt x="534" y="1212"/>
                  </a:lnTo>
                  <a:lnTo>
                    <a:pt x="540" y="1218"/>
                  </a:lnTo>
                  <a:lnTo>
                    <a:pt x="534" y="1218"/>
                  </a:lnTo>
                  <a:lnTo>
                    <a:pt x="528" y="1218"/>
                  </a:lnTo>
                  <a:lnTo>
                    <a:pt x="528" y="1224"/>
                  </a:lnTo>
                  <a:lnTo>
                    <a:pt x="522" y="1230"/>
                  </a:lnTo>
                  <a:lnTo>
                    <a:pt x="516" y="1236"/>
                  </a:lnTo>
                  <a:lnTo>
                    <a:pt x="522" y="1236"/>
                  </a:lnTo>
                  <a:lnTo>
                    <a:pt x="516" y="1242"/>
                  </a:lnTo>
                  <a:lnTo>
                    <a:pt x="510" y="1242"/>
                  </a:lnTo>
                  <a:lnTo>
                    <a:pt x="504" y="1248"/>
                  </a:lnTo>
                  <a:lnTo>
                    <a:pt x="510" y="1260"/>
                  </a:lnTo>
                  <a:lnTo>
                    <a:pt x="504" y="1266"/>
                  </a:lnTo>
                  <a:lnTo>
                    <a:pt x="492" y="1266"/>
                  </a:lnTo>
                  <a:lnTo>
                    <a:pt x="486" y="1272"/>
                  </a:lnTo>
                  <a:lnTo>
                    <a:pt x="486" y="1278"/>
                  </a:lnTo>
                  <a:lnTo>
                    <a:pt x="480" y="1278"/>
                  </a:lnTo>
                  <a:lnTo>
                    <a:pt x="480" y="1284"/>
                  </a:lnTo>
                  <a:lnTo>
                    <a:pt x="480" y="1290"/>
                  </a:lnTo>
                  <a:lnTo>
                    <a:pt x="480" y="1296"/>
                  </a:lnTo>
                  <a:lnTo>
                    <a:pt x="492" y="1302"/>
                  </a:lnTo>
                  <a:lnTo>
                    <a:pt x="492" y="1308"/>
                  </a:lnTo>
                  <a:lnTo>
                    <a:pt x="492" y="1320"/>
                  </a:lnTo>
                  <a:lnTo>
                    <a:pt x="492" y="1332"/>
                  </a:lnTo>
                  <a:lnTo>
                    <a:pt x="498" y="1344"/>
                  </a:lnTo>
                  <a:lnTo>
                    <a:pt x="498" y="1350"/>
                  </a:lnTo>
                  <a:lnTo>
                    <a:pt x="498" y="1356"/>
                  </a:lnTo>
                  <a:lnTo>
                    <a:pt x="504" y="1362"/>
                  </a:lnTo>
                  <a:lnTo>
                    <a:pt x="498" y="1362"/>
                  </a:lnTo>
                  <a:lnTo>
                    <a:pt x="498" y="1368"/>
                  </a:lnTo>
                  <a:lnTo>
                    <a:pt x="492" y="1368"/>
                  </a:lnTo>
                  <a:lnTo>
                    <a:pt x="492" y="1374"/>
                  </a:lnTo>
                  <a:lnTo>
                    <a:pt x="492" y="1380"/>
                  </a:lnTo>
                  <a:lnTo>
                    <a:pt x="498" y="1380"/>
                  </a:lnTo>
                  <a:lnTo>
                    <a:pt x="504" y="1380"/>
                  </a:lnTo>
                  <a:lnTo>
                    <a:pt x="498" y="1386"/>
                  </a:lnTo>
                  <a:lnTo>
                    <a:pt x="498" y="1392"/>
                  </a:lnTo>
                  <a:lnTo>
                    <a:pt x="498" y="1398"/>
                  </a:lnTo>
                  <a:lnTo>
                    <a:pt x="498" y="1404"/>
                  </a:lnTo>
                  <a:lnTo>
                    <a:pt x="498" y="1410"/>
                  </a:lnTo>
                  <a:lnTo>
                    <a:pt x="498" y="1416"/>
                  </a:lnTo>
                  <a:lnTo>
                    <a:pt x="492" y="1416"/>
                  </a:lnTo>
                  <a:lnTo>
                    <a:pt x="498" y="1416"/>
                  </a:lnTo>
                  <a:lnTo>
                    <a:pt x="504" y="1416"/>
                  </a:lnTo>
                  <a:lnTo>
                    <a:pt x="504" y="1422"/>
                  </a:lnTo>
                  <a:lnTo>
                    <a:pt x="510" y="1428"/>
                  </a:lnTo>
                  <a:lnTo>
                    <a:pt x="510" y="1434"/>
                  </a:lnTo>
                  <a:lnTo>
                    <a:pt x="510" y="1440"/>
                  </a:lnTo>
                  <a:lnTo>
                    <a:pt x="516" y="1446"/>
                  </a:lnTo>
                  <a:lnTo>
                    <a:pt x="516" y="1452"/>
                  </a:lnTo>
                  <a:lnTo>
                    <a:pt x="516" y="1458"/>
                  </a:lnTo>
                  <a:lnTo>
                    <a:pt x="516" y="1464"/>
                  </a:lnTo>
                  <a:lnTo>
                    <a:pt x="516" y="1482"/>
                  </a:lnTo>
                  <a:lnTo>
                    <a:pt x="516" y="1488"/>
                  </a:lnTo>
                  <a:lnTo>
                    <a:pt x="522" y="1488"/>
                  </a:lnTo>
                  <a:lnTo>
                    <a:pt x="522" y="1494"/>
                  </a:lnTo>
                  <a:lnTo>
                    <a:pt x="522" y="1500"/>
                  </a:lnTo>
                  <a:lnTo>
                    <a:pt x="516" y="1506"/>
                  </a:lnTo>
                  <a:lnTo>
                    <a:pt x="510" y="1500"/>
                  </a:lnTo>
                  <a:lnTo>
                    <a:pt x="504" y="1500"/>
                  </a:lnTo>
                  <a:lnTo>
                    <a:pt x="504" y="1494"/>
                  </a:lnTo>
                  <a:lnTo>
                    <a:pt x="504" y="1488"/>
                  </a:lnTo>
                  <a:lnTo>
                    <a:pt x="504" y="1482"/>
                  </a:lnTo>
                  <a:lnTo>
                    <a:pt x="504" y="1488"/>
                  </a:lnTo>
                  <a:lnTo>
                    <a:pt x="504" y="1494"/>
                  </a:lnTo>
                  <a:lnTo>
                    <a:pt x="504" y="1500"/>
                  </a:lnTo>
                  <a:lnTo>
                    <a:pt x="498" y="1500"/>
                  </a:lnTo>
                  <a:lnTo>
                    <a:pt x="492" y="1500"/>
                  </a:lnTo>
                  <a:lnTo>
                    <a:pt x="492" y="1494"/>
                  </a:lnTo>
                  <a:lnTo>
                    <a:pt x="492" y="1488"/>
                  </a:lnTo>
                  <a:lnTo>
                    <a:pt x="492" y="1494"/>
                  </a:lnTo>
                  <a:lnTo>
                    <a:pt x="492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00"/>
                  </a:lnTo>
                  <a:lnTo>
                    <a:pt x="510" y="1500"/>
                  </a:lnTo>
                  <a:lnTo>
                    <a:pt x="510" y="1506"/>
                  </a:lnTo>
                  <a:lnTo>
                    <a:pt x="516" y="1506"/>
                  </a:lnTo>
                  <a:lnTo>
                    <a:pt x="510" y="1506"/>
                  </a:lnTo>
                  <a:lnTo>
                    <a:pt x="510" y="1512"/>
                  </a:lnTo>
                  <a:lnTo>
                    <a:pt x="516" y="1506"/>
                  </a:lnTo>
                  <a:lnTo>
                    <a:pt x="522" y="1506"/>
                  </a:lnTo>
                  <a:lnTo>
                    <a:pt x="528" y="1506"/>
                  </a:lnTo>
                  <a:lnTo>
                    <a:pt x="528" y="1500"/>
                  </a:lnTo>
                  <a:lnTo>
                    <a:pt x="534" y="1500"/>
                  </a:lnTo>
                  <a:lnTo>
                    <a:pt x="534" y="1506"/>
                  </a:lnTo>
                  <a:lnTo>
                    <a:pt x="540" y="1512"/>
                  </a:lnTo>
                  <a:lnTo>
                    <a:pt x="540" y="1518"/>
                  </a:lnTo>
                  <a:lnTo>
                    <a:pt x="546" y="1518"/>
                  </a:lnTo>
                  <a:lnTo>
                    <a:pt x="540" y="1518"/>
                  </a:lnTo>
                  <a:lnTo>
                    <a:pt x="540" y="1524"/>
                  </a:lnTo>
                  <a:lnTo>
                    <a:pt x="534" y="1524"/>
                  </a:lnTo>
                  <a:lnTo>
                    <a:pt x="540" y="1524"/>
                  </a:lnTo>
                  <a:lnTo>
                    <a:pt x="546" y="1524"/>
                  </a:lnTo>
                  <a:lnTo>
                    <a:pt x="546" y="1530"/>
                  </a:lnTo>
                  <a:lnTo>
                    <a:pt x="540" y="1530"/>
                  </a:lnTo>
                  <a:lnTo>
                    <a:pt x="540" y="1536"/>
                  </a:lnTo>
                  <a:lnTo>
                    <a:pt x="534" y="1542"/>
                  </a:lnTo>
                  <a:lnTo>
                    <a:pt x="528" y="1542"/>
                  </a:lnTo>
                  <a:lnTo>
                    <a:pt x="522" y="1542"/>
                  </a:lnTo>
                  <a:lnTo>
                    <a:pt x="516" y="1542"/>
                  </a:lnTo>
                  <a:lnTo>
                    <a:pt x="510" y="1542"/>
                  </a:lnTo>
                  <a:lnTo>
                    <a:pt x="504" y="1542"/>
                  </a:lnTo>
                  <a:lnTo>
                    <a:pt x="492" y="1542"/>
                  </a:lnTo>
                  <a:lnTo>
                    <a:pt x="486" y="1536"/>
                  </a:lnTo>
                  <a:lnTo>
                    <a:pt x="480" y="1536"/>
                  </a:lnTo>
                  <a:lnTo>
                    <a:pt x="468" y="1536"/>
                  </a:lnTo>
                  <a:lnTo>
                    <a:pt x="468" y="1542"/>
                  </a:lnTo>
                  <a:lnTo>
                    <a:pt x="462" y="1542"/>
                  </a:lnTo>
                  <a:lnTo>
                    <a:pt x="456" y="1542"/>
                  </a:lnTo>
                  <a:lnTo>
                    <a:pt x="450" y="1542"/>
                  </a:lnTo>
                  <a:lnTo>
                    <a:pt x="444" y="1542"/>
                  </a:lnTo>
                  <a:lnTo>
                    <a:pt x="444" y="1536"/>
                  </a:lnTo>
                  <a:lnTo>
                    <a:pt x="450" y="1536"/>
                  </a:lnTo>
                  <a:lnTo>
                    <a:pt x="456" y="1536"/>
                  </a:lnTo>
                  <a:lnTo>
                    <a:pt x="450" y="1536"/>
                  </a:lnTo>
                  <a:lnTo>
                    <a:pt x="444" y="1536"/>
                  </a:lnTo>
                  <a:lnTo>
                    <a:pt x="444" y="1530"/>
                  </a:lnTo>
                  <a:lnTo>
                    <a:pt x="450" y="1530"/>
                  </a:lnTo>
                  <a:lnTo>
                    <a:pt x="456" y="1524"/>
                  </a:lnTo>
                  <a:lnTo>
                    <a:pt x="456" y="1518"/>
                  </a:lnTo>
                  <a:lnTo>
                    <a:pt x="462" y="1518"/>
                  </a:lnTo>
                  <a:lnTo>
                    <a:pt x="462" y="1524"/>
                  </a:lnTo>
                  <a:lnTo>
                    <a:pt x="468" y="1524"/>
                  </a:lnTo>
                  <a:lnTo>
                    <a:pt x="474" y="1524"/>
                  </a:lnTo>
                  <a:lnTo>
                    <a:pt x="474" y="1518"/>
                  </a:lnTo>
                  <a:lnTo>
                    <a:pt x="480" y="1518"/>
                  </a:lnTo>
                  <a:lnTo>
                    <a:pt x="474" y="1518"/>
                  </a:lnTo>
                  <a:lnTo>
                    <a:pt x="474" y="1524"/>
                  </a:lnTo>
                  <a:lnTo>
                    <a:pt x="468" y="1524"/>
                  </a:lnTo>
                  <a:lnTo>
                    <a:pt x="462" y="1518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62" y="1512"/>
                  </a:lnTo>
                  <a:lnTo>
                    <a:pt x="462" y="1506"/>
                  </a:lnTo>
                  <a:lnTo>
                    <a:pt x="456" y="1506"/>
                  </a:lnTo>
                  <a:lnTo>
                    <a:pt x="456" y="1512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50" y="1518"/>
                  </a:lnTo>
                  <a:lnTo>
                    <a:pt x="444" y="1518"/>
                  </a:lnTo>
                  <a:lnTo>
                    <a:pt x="444" y="1524"/>
                  </a:lnTo>
                  <a:lnTo>
                    <a:pt x="438" y="1524"/>
                  </a:lnTo>
                  <a:lnTo>
                    <a:pt x="438" y="1530"/>
                  </a:lnTo>
                  <a:lnTo>
                    <a:pt x="432" y="1530"/>
                  </a:lnTo>
                  <a:lnTo>
                    <a:pt x="432" y="1536"/>
                  </a:lnTo>
                  <a:lnTo>
                    <a:pt x="426" y="1530"/>
                  </a:lnTo>
                  <a:lnTo>
                    <a:pt x="420" y="1530"/>
                  </a:lnTo>
                  <a:lnTo>
                    <a:pt x="414" y="1530"/>
                  </a:lnTo>
                  <a:lnTo>
                    <a:pt x="414" y="1524"/>
                  </a:lnTo>
                  <a:lnTo>
                    <a:pt x="408" y="1518"/>
                  </a:lnTo>
                  <a:lnTo>
                    <a:pt x="414" y="1512"/>
                  </a:lnTo>
                  <a:lnTo>
                    <a:pt x="408" y="1512"/>
                  </a:lnTo>
                  <a:lnTo>
                    <a:pt x="408" y="1506"/>
                  </a:lnTo>
                  <a:lnTo>
                    <a:pt x="408" y="1500"/>
                  </a:lnTo>
                  <a:lnTo>
                    <a:pt x="408" y="1494"/>
                  </a:lnTo>
                  <a:lnTo>
                    <a:pt x="408" y="1488"/>
                  </a:lnTo>
                  <a:lnTo>
                    <a:pt x="408" y="1494"/>
                  </a:lnTo>
                  <a:lnTo>
                    <a:pt x="414" y="1494"/>
                  </a:lnTo>
                  <a:lnTo>
                    <a:pt x="420" y="1494"/>
                  </a:lnTo>
                  <a:lnTo>
                    <a:pt x="420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82"/>
                  </a:lnTo>
                  <a:lnTo>
                    <a:pt x="426" y="1476"/>
                  </a:lnTo>
                  <a:lnTo>
                    <a:pt x="432" y="1476"/>
                  </a:lnTo>
                  <a:lnTo>
                    <a:pt x="432" y="1470"/>
                  </a:lnTo>
                  <a:lnTo>
                    <a:pt x="438" y="1470"/>
                  </a:lnTo>
                  <a:lnTo>
                    <a:pt x="444" y="1464"/>
                  </a:lnTo>
                  <a:lnTo>
                    <a:pt x="450" y="1458"/>
                  </a:lnTo>
                  <a:lnTo>
                    <a:pt x="456" y="1458"/>
                  </a:lnTo>
                  <a:lnTo>
                    <a:pt x="462" y="1452"/>
                  </a:lnTo>
                  <a:lnTo>
                    <a:pt x="468" y="1452"/>
                  </a:lnTo>
                  <a:lnTo>
                    <a:pt x="468" y="1446"/>
                  </a:lnTo>
                  <a:lnTo>
                    <a:pt x="462" y="1440"/>
                  </a:lnTo>
                  <a:lnTo>
                    <a:pt x="456" y="1434"/>
                  </a:lnTo>
                  <a:lnTo>
                    <a:pt x="456" y="1428"/>
                  </a:lnTo>
                  <a:lnTo>
                    <a:pt x="456" y="1422"/>
                  </a:lnTo>
                  <a:lnTo>
                    <a:pt x="456" y="1416"/>
                  </a:lnTo>
                  <a:lnTo>
                    <a:pt x="450" y="1410"/>
                  </a:lnTo>
                  <a:lnTo>
                    <a:pt x="444" y="1410"/>
                  </a:lnTo>
                  <a:lnTo>
                    <a:pt x="450" y="1410"/>
                  </a:lnTo>
                  <a:lnTo>
                    <a:pt x="450" y="1404"/>
                  </a:lnTo>
                  <a:lnTo>
                    <a:pt x="456" y="1404"/>
                  </a:lnTo>
                  <a:lnTo>
                    <a:pt x="462" y="1404"/>
                  </a:lnTo>
                  <a:lnTo>
                    <a:pt x="468" y="1398"/>
                  </a:lnTo>
                  <a:lnTo>
                    <a:pt x="462" y="1398"/>
                  </a:lnTo>
                  <a:lnTo>
                    <a:pt x="462" y="1392"/>
                  </a:lnTo>
                  <a:lnTo>
                    <a:pt x="456" y="1392"/>
                  </a:lnTo>
                  <a:lnTo>
                    <a:pt x="456" y="1386"/>
                  </a:lnTo>
                  <a:lnTo>
                    <a:pt x="462" y="1386"/>
                  </a:lnTo>
                  <a:lnTo>
                    <a:pt x="468" y="1386"/>
                  </a:lnTo>
                  <a:lnTo>
                    <a:pt x="474" y="1386"/>
                  </a:lnTo>
                  <a:lnTo>
                    <a:pt x="468" y="1386"/>
                  </a:lnTo>
                  <a:lnTo>
                    <a:pt x="462" y="1386"/>
                  </a:lnTo>
                  <a:lnTo>
                    <a:pt x="456" y="1380"/>
                  </a:lnTo>
                  <a:lnTo>
                    <a:pt x="456" y="1374"/>
                  </a:lnTo>
                  <a:lnTo>
                    <a:pt x="462" y="1374"/>
                  </a:lnTo>
                  <a:lnTo>
                    <a:pt x="462" y="1368"/>
                  </a:lnTo>
                  <a:lnTo>
                    <a:pt x="456" y="1374"/>
                  </a:lnTo>
                  <a:lnTo>
                    <a:pt x="456" y="1368"/>
                  </a:lnTo>
                  <a:lnTo>
                    <a:pt x="456" y="1362"/>
                  </a:lnTo>
                  <a:lnTo>
                    <a:pt x="450" y="1362"/>
                  </a:lnTo>
                  <a:lnTo>
                    <a:pt x="450" y="1356"/>
                  </a:lnTo>
                  <a:lnTo>
                    <a:pt x="450" y="1350"/>
                  </a:lnTo>
                  <a:lnTo>
                    <a:pt x="450" y="1344"/>
                  </a:lnTo>
                  <a:lnTo>
                    <a:pt x="456" y="1344"/>
                  </a:lnTo>
                  <a:lnTo>
                    <a:pt x="456" y="1338"/>
                  </a:lnTo>
                  <a:lnTo>
                    <a:pt x="462" y="1338"/>
                  </a:lnTo>
                  <a:lnTo>
                    <a:pt x="462" y="1332"/>
                  </a:lnTo>
                  <a:lnTo>
                    <a:pt x="456" y="1332"/>
                  </a:lnTo>
                  <a:lnTo>
                    <a:pt x="456" y="1326"/>
                  </a:lnTo>
                  <a:lnTo>
                    <a:pt x="450" y="1326"/>
                  </a:lnTo>
                  <a:lnTo>
                    <a:pt x="444" y="1326"/>
                  </a:lnTo>
                  <a:lnTo>
                    <a:pt x="444" y="1332"/>
                  </a:lnTo>
                  <a:lnTo>
                    <a:pt x="438" y="1332"/>
                  </a:lnTo>
                  <a:lnTo>
                    <a:pt x="438" y="1338"/>
                  </a:lnTo>
                  <a:lnTo>
                    <a:pt x="432" y="1338"/>
                  </a:lnTo>
                  <a:lnTo>
                    <a:pt x="432" y="1344"/>
                  </a:lnTo>
                  <a:lnTo>
                    <a:pt x="432" y="1350"/>
                  </a:lnTo>
                  <a:lnTo>
                    <a:pt x="426" y="1356"/>
                  </a:lnTo>
                  <a:lnTo>
                    <a:pt x="426" y="1368"/>
                  </a:lnTo>
                  <a:lnTo>
                    <a:pt x="426" y="1374"/>
                  </a:lnTo>
                  <a:lnTo>
                    <a:pt x="426" y="1380"/>
                  </a:lnTo>
                  <a:lnTo>
                    <a:pt x="432" y="1386"/>
                  </a:lnTo>
                  <a:lnTo>
                    <a:pt x="432" y="1392"/>
                  </a:lnTo>
                  <a:lnTo>
                    <a:pt x="432" y="1398"/>
                  </a:lnTo>
                  <a:lnTo>
                    <a:pt x="426" y="1398"/>
                  </a:lnTo>
                  <a:lnTo>
                    <a:pt x="420" y="1398"/>
                  </a:lnTo>
                  <a:lnTo>
                    <a:pt x="414" y="1398"/>
                  </a:lnTo>
                  <a:lnTo>
                    <a:pt x="420" y="1398"/>
                  </a:lnTo>
                  <a:lnTo>
                    <a:pt x="414" y="1404"/>
                  </a:lnTo>
                  <a:lnTo>
                    <a:pt x="420" y="1404"/>
                  </a:lnTo>
                  <a:lnTo>
                    <a:pt x="414" y="1404"/>
                  </a:lnTo>
                  <a:lnTo>
                    <a:pt x="408" y="1404"/>
                  </a:lnTo>
                  <a:lnTo>
                    <a:pt x="402" y="1410"/>
                  </a:lnTo>
                  <a:lnTo>
                    <a:pt x="402" y="1404"/>
                  </a:lnTo>
                  <a:lnTo>
                    <a:pt x="396" y="1404"/>
                  </a:lnTo>
                  <a:lnTo>
                    <a:pt x="390" y="1404"/>
                  </a:lnTo>
                  <a:lnTo>
                    <a:pt x="384" y="1404"/>
                  </a:lnTo>
                  <a:lnTo>
                    <a:pt x="384" y="1398"/>
                  </a:lnTo>
                  <a:lnTo>
                    <a:pt x="384" y="1392"/>
                  </a:lnTo>
                  <a:lnTo>
                    <a:pt x="390" y="1392"/>
                  </a:lnTo>
                  <a:lnTo>
                    <a:pt x="390" y="1386"/>
                  </a:lnTo>
                  <a:lnTo>
                    <a:pt x="390" y="1380"/>
                  </a:lnTo>
                  <a:lnTo>
                    <a:pt x="396" y="1380"/>
                  </a:lnTo>
                  <a:lnTo>
                    <a:pt x="402" y="1380"/>
                  </a:lnTo>
                  <a:lnTo>
                    <a:pt x="408" y="1380"/>
                  </a:lnTo>
                  <a:lnTo>
                    <a:pt x="408" y="1374"/>
                  </a:lnTo>
                  <a:lnTo>
                    <a:pt x="414" y="1374"/>
                  </a:lnTo>
                  <a:lnTo>
                    <a:pt x="414" y="1368"/>
                  </a:lnTo>
                  <a:lnTo>
                    <a:pt x="414" y="1362"/>
                  </a:lnTo>
                  <a:lnTo>
                    <a:pt x="414" y="1368"/>
                  </a:lnTo>
                  <a:lnTo>
                    <a:pt x="414" y="1374"/>
                  </a:lnTo>
                  <a:lnTo>
                    <a:pt x="408" y="1374"/>
                  </a:lnTo>
                  <a:lnTo>
                    <a:pt x="402" y="1380"/>
                  </a:lnTo>
                  <a:lnTo>
                    <a:pt x="396" y="1380"/>
                  </a:lnTo>
                  <a:lnTo>
                    <a:pt x="396" y="1374"/>
                  </a:lnTo>
                  <a:lnTo>
                    <a:pt x="390" y="1374"/>
                  </a:lnTo>
                  <a:lnTo>
                    <a:pt x="390" y="1368"/>
                  </a:lnTo>
                  <a:lnTo>
                    <a:pt x="384" y="1368"/>
                  </a:lnTo>
                  <a:lnTo>
                    <a:pt x="384" y="1374"/>
                  </a:lnTo>
                  <a:lnTo>
                    <a:pt x="378" y="1374"/>
                  </a:lnTo>
                  <a:lnTo>
                    <a:pt x="378" y="1380"/>
                  </a:lnTo>
                  <a:lnTo>
                    <a:pt x="372" y="1380"/>
                  </a:lnTo>
                  <a:lnTo>
                    <a:pt x="366" y="1386"/>
                  </a:lnTo>
                  <a:lnTo>
                    <a:pt x="360" y="1386"/>
                  </a:lnTo>
                  <a:lnTo>
                    <a:pt x="354" y="1386"/>
                  </a:lnTo>
                  <a:lnTo>
                    <a:pt x="354" y="1380"/>
                  </a:lnTo>
                  <a:lnTo>
                    <a:pt x="348" y="1380"/>
                  </a:lnTo>
                  <a:lnTo>
                    <a:pt x="342" y="1380"/>
                  </a:lnTo>
                  <a:lnTo>
                    <a:pt x="342" y="1374"/>
                  </a:lnTo>
                  <a:lnTo>
                    <a:pt x="336" y="1368"/>
                  </a:lnTo>
                  <a:lnTo>
                    <a:pt x="342" y="1368"/>
                  </a:lnTo>
                  <a:lnTo>
                    <a:pt x="342" y="1362"/>
                  </a:lnTo>
                  <a:lnTo>
                    <a:pt x="348" y="1362"/>
                  </a:lnTo>
                  <a:lnTo>
                    <a:pt x="354" y="1362"/>
                  </a:lnTo>
                  <a:lnTo>
                    <a:pt x="354" y="1356"/>
                  </a:lnTo>
                  <a:lnTo>
                    <a:pt x="348" y="1356"/>
                  </a:lnTo>
                  <a:lnTo>
                    <a:pt x="348" y="1350"/>
                  </a:lnTo>
                  <a:lnTo>
                    <a:pt x="348" y="1344"/>
                  </a:lnTo>
                  <a:lnTo>
                    <a:pt x="354" y="1338"/>
                  </a:lnTo>
                  <a:lnTo>
                    <a:pt x="354" y="1332"/>
                  </a:lnTo>
                  <a:lnTo>
                    <a:pt x="354" y="1326"/>
                  </a:lnTo>
                  <a:lnTo>
                    <a:pt x="354" y="1320"/>
                  </a:lnTo>
                  <a:lnTo>
                    <a:pt x="354" y="1314"/>
                  </a:lnTo>
                  <a:lnTo>
                    <a:pt x="354" y="1308"/>
                  </a:lnTo>
                  <a:lnTo>
                    <a:pt x="348" y="1308"/>
                  </a:lnTo>
                  <a:lnTo>
                    <a:pt x="348" y="1302"/>
                  </a:lnTo>
                  <a:lnTo>
                    <a:pt x="342" y="1296"/>
                  </a:lnTo>
                  <a:lnTo>
                    <a:pt x="336" y="1296"/>
                  </a:lnTo>
                  <a:lnTo>
                    <a:pt x="336" y="1290"/>
                  </a:lnTo>
                  <a:lnTo>
                    <a:pt x="330" y="1290"/>
                  </a:lnTo>
                  <a:lnTo>
                    <a:pt x="324" y="1290"/>
                  </a:lnTo>
                  <a:lnTo>
                    <a:pt x="324" y="1284"/>
                  </a:lnTo>
                  <a:lnTo>
                    <a:pt x="318" y="1284"/>
                  </a:lnTo>
                  <a:lnTo>
                    <a:pt x="318" y="1278"/>
                  </a:lnTo>
                  <a:lnTo>
                    <a:pt x="312" y="1278"/>
                  </a:lnTo>
                  <a:lnTo>
                    <a:pt x="312" y="1272"/>
                  </a:lnTo>
                  <a:lnTo>
                    <a:pt x="312" y="1278"/>
                  </a:lnTo>
                  <a:lnTo>
                    <a:pt x="318" y="1284"/>
                  </a:lnTo>
                  <a:lnTo>
                    <a:pt x="324" y="1290"/>
                  </a:lnTo>
                  <a:lnTo>
                    <a:pt x="330" y="1290"/>
                  </a:lnTo>
                  <a:lnTo>
                    <a:pt x="330" y="1296"/>
                  </a:lnTo>
                  <a:lnTo>
                    <a:pt x="336" y="1296"/>
                  </a:lnTo>
                  <a:lnTo>
                    <a:pt x="336" y="1302"/>
                  </a:lnTo>
                  <a:lnTo>
                    <a:pt x="342" y="1302"/>
                  </a:lnTo>
                  <a:lnTo>
                    <a:pt x="348" y="1302"/>
                  </a:lnTo>
                  <a:lnTo>
                    <a:pt x="348" y="1308"/>
                  </a:lnTo>
                  <a:lnTo>
                    <a:pt x="348" y="1314"/>
                  </a:lnTo>
                  <a:lnTo>
                    <a:pt x="354" y="1314"/>
                  </a:lnTo>
                  <a:lnTo>
                    <a:pt x="354" y="1320"/>
                  </a:lnTo>
                  <a:lnTo>
                    <a:pt x="354" y="1326"/>
                  </a:lnTo>
                  <a:lnTo>
                    <a:pt x="348" y="1326"/>
                  </a:lnTo>
                  <a:lnTo>
                    <a:pt x="348" y="1332"/>
                  </a:lnTo>
                  <a:lnTo>
                    <a:pt x="348" y="1338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2" y="1350"/>
                  </a:lnTo>
                  <a:lnTo>
                    <a:pt x="336" y="1350"/>
                  </a:lnTo>
                  <a:lnTo>
                    <a:pt x="330" y="1350"/>
                  </a:lnTo>
                  <a:lnTo>
                    <a:pt x="330" y="1356"/>
                  </a:lnTo>
                  <a:lnTo>
                    <a:pt x="330" y="1350"/>
                  </a:lnTo>
                  <a:lnTo>
                    <a:pt x="324" y="1350"/>
                  </a:lnTo>
                  <a:lnTo>
                    <a:pt x="318" y="1344"/>
                  </a:lnTo>
                  <a:lnTo>
                    <a:pt x="318" y="1350"/>
                  </a:lnTo>
                  <a:lnTo>
                    <a:pt x="312" y="1344"/>
                  </a:lnTo>
                  <a:lnTo>
                    <a:pt x="312" y="1338"/>
                  </a:lnTo>
                  <a:lnTo>
                    <a:pt x="306" y="1338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6" y="1326"/>
                  </a:lnTo>
                  <a:lnTo>
                    <a:pt x="306" y="1320"/>
                  </a:lnTo>
                  <a:lnTo>
                    <a:pt x="306" y="1326"/>
                  </a:lnTo>
                  <a:lnTo>
                    <a:pt x="312" y="1326"/>
                  </a:lnTo>
                  <a:lnTo>
                    <a:pt x="312" y="1320"/>
                  </a:lnTo>
                  <a:lnTo>
                    <a:pt x="306" y="1320"/>
                  </a:lnTo>
                  <a:lnTo>
                    <a:pt x="300" y="1320"/>
                  </a:lnTo>
                  <a:lnTo>
                    <a:pt x="294" y="1320"/>
                  </a:lnTo>
                  <a:lnTo>
                    <a:pt x="294" y="1314"/>
                  </a:lnTo>
                  <a:lnTo>
                    <a:pt x="288" y="1314"/>
                  </a:lnTo>
                  <a:lnTo>
                    <a:pt x="288" y="1308"/>
                  </a:lnTo>
                  <a:lnTo>
                    <a:pt x="288" y="1302"/>
                  </a:lnTo>
                  <a:lnTo>
                    <a:pt x="294" y="1302"/>
                  </a:lnTo>
                  <a:lnTo>
                    <a:pt x="294" y="1296"/>
                  </a:lnTo>
                  <a:lnTo>
                    <a:pt x="288" y="1296"/>
                  </a:lnTo>
                  <a:lnTo>
                    <a:pt x="288" y="1290"/>
                  </a:lnTo>
                  <a:lnTo>
                    <a:pt x="288" y="1296"/>
                  </a:lnTo>
                  <a:lnTo>
                    <a:pt x="294" y="1302"/>
                  </a:lnTo>
                  <a:lnTo>
                    <a:pt x="288" y="1302"/>
                  </a:lnTo>
                  <a:lnTo>
                    <a:pt x="282" y="1296"/>
                  </a:lnTo>
                  <a:lnTo>
                    <a:pt x="276" y="1296"/>
                  </a:lnTo>
                  <a:lnTo>
                    <a:pt x="276" y="1290"/>
                  </a:lnTo>
                  <a:lnTo>
                    <a:pt x="270" y="1290"/>
                  </a:lnTo>
                  <a:lnTo>
                    <a:pt x="264" y="1284"/>
                  </a:lnTo>
                  <a:lnTo>
                    <a:pt x="264" y="1278"/>
                  </a:lnTo>
                  <a:lnTo>
                    <a:pt x="264" y="1272"/>
                  </a:lnTo>
                  <a:lnTo>
                    <a:pt x="264" y="1266"/>
                  </a:lnTo>
                  <a:lnTo>
                    <a:pt x="258" y="1266"/>
                  </a:lnTo>
                  <a:lnTo>
                    <a:pt x="252" y="1266"/>
                  </a:lnTo>
                  <a:lnTo>
                    <a:pt x="246" y="1260"/>
                  </a:lnTo>
                  <a:lnTo>
                    <a:pt x="240" y="1254"/>
                  </a:lnTo>
                  <a:lnTo>
                    <a:pt x="240" y="1260"/>
                  </a:lnTo>
                  <a:lnTo>
                    <a:pt x="240" y="1266"/>
                  </a:lnTo>
                  <a:lnTo>
                    <a:pt x="240" y="1272"/>
                  </a:lnTo>
                  <a:lnTo>
                    <a:pt x="246" y="1272"/>
                  </a:lnTo>
                  <a:lnTo>
                    <a:pt x="246" y="1278"/>
                  </a:lnTo>
                  <a:lnTo>
                    <a:pt x="246" y="1284"/>
                  </a:lnTo>
                  <a:lnTo>
                    <a:pt x="252" y="1284"/>
                  </a:lnTo>
                  <a:lnTo>
                    <a:pt x="252" y="1290"/>
                  </a:lnTo>
                  <a:lnTo>
                    <a:pt x="258" y="1296"/>
                  </a:lnTo>
                  <a:lnTo>
                    <a:pt x="264" y="1302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58" y="1314"/>
                  </a:lnTo>
                  <a:lnTo>
                    <a:pt x="258" y="1308"/>
                  </a:lnTo>
                  <a:lnTo>
                    <a:pt x="252" y="1308"/>
                  </a:lnTo>
                  <a:lnTo>
                    <a:pt x="252" y="1302"/>
                  </a:lnTo>
                  <a:lnTo>
                    <a:pt x="246" y="1302"/>
                  </a:lnTo>
                  <a:lnTo>
                    <a:pt x="246" y="1296"/>
                  </a:lnTo>
                  <a:lnTo>
                    <a:pt x="240" y="1296"/>
                  </a:lnTo>
                  <a:lnTo>
                    <a:pt x="240" y="1290"/>
                  </a:lnTo>
                  <a:lnTo>
                    <a:pt x="234" y="1284"/>
                  </a:lnTo>
                  <a:lnTo>
                    <a:pt x="234" y="1278"/>
                  </a:lnTo>
                  <a:close/>
                  <a:moveTo>
                    <a:pt x="444" y="1332"/>
                  </a:moveTo>
                  <a:lnTo>
                    <a:pt x="450" y="1326"/>
                  </a:lnTo>
                  <a:lnTo>
                    <a:pt x="456" y="1326"/>
                  </a:lnTo>
                  <a:lnTo>
                    <a:pt x="456" y="1332"/>
                  </a:lnTo>
                  <a:lnTo>
                    <a:pt x="456" y="1338"/>
                  </a:lnTo>
                  <a:lnTo>
                    <a:pt x="450" y="1338"/>
                  </a:lnTo>
                  <a:lnTo>
                    <a:pt x="444" y="1338"/>
                  </a:lnTo>
                  <a:lnTo>
                    <a:pt x="444" y="1332"/>
                  </a:lnTo>
                  <a:close/>
                  <a:moveTo>
                    <a:pt x="444" y="1368"/>
                  </a:moveTo>
                  <a:lnTo>
                    <a:pt x="456" y="1368"/>
                  </a:lnTo>
                  <a:lnTo>
                    <a:pt x="456" y="1374"/>
                  </a:lnTo>
                  <a:lnTo>
                    <a:pt x="444" y="1374"/>
                  </a:lnTo>
                  <a:lnTo>
                    <a:pt x="444" y="1368"/>
                  </a:lnTo>
                  <a:close/>
                  <a:moveTo>
                    <a:pt x="444" y="1386"/>
                  </a:moveTo>
                  <a:lnTo>
                    <a:pt x="444" y="1380"/>
                  </a:lnTo>
                  <a:lnTo>
                    <a:pt x="444" y="1374"/>
                  </a:lnTo>
                  <a:lnTo>
                    <a:pt x="444" y="1380"/>
                  </a:lnTo>
                  <a:lnTo>
                    <a:pt x="450" y="1380"/>
                  </a:lnTo>
                  <a:lnTo>
                    <a:pt x="456" y="1380"/>
                  </a:lnTo>
                  <a:lnTo>
                    <a:pt x="456" y="1386"/>
                  </a:lnTo>
                  <a:lnTo>
                    <a:pt x="456" y="1392"/>
                  </a:lnTo>
                  <a:lnTo>
                    <a:pt x="462" y="1392"/>
                  </a:lnTo>
                  <a:lnTo>
                    <a:pt x="462" y="1398"/>
                  </a:lnTo>
                  <a:lnTo>
                    <a:pt x="462" y="1404"/>
                  </a:lnTo>
                  <a:lnTo>
                    <a:pt x="456" y="1404"/>
                  </a:lnTo>
                  <a:lnTo>
                    <a:pt x="450" y="1404"/>
                  </a:lnTo>
                  <a:lnTo>
                    <a:pt x="450" y="1398"/>
                  </a:lnTo>
                  <a:lnTo>
                    <a:pt x="444" y="1398"/>
                  </a:lnTo>
                  <a:lnTo>
                    <a:pt x="444" y="1392"/>
                  </a:lnTo>
                  <a:lnTo>
                    <a:pt x="444" y="1386"/>
                  </a:lnTo>
                  <a:close/>
                  <a:moveTo>
                    <a:pt x="438" y="1362"/>
                  </a:moveTo>
                  <a:lnTo>
                    <a:pt x="444" y="1356"/>
                  </a:lnTo>
                  <a:lnTo>
                    <a:pt x="450" y="1356"/>
                  </a:lnTo>
                  <a:lnTo>
                    <a:pt x="450" y="1362"/>
                  </a:lnTo>
                  <a:lnTo>
                    <a:pt x="450" y="1368"/>
                  </a:lnTo>
                  <a:lnTo>
                    <a:pt x="444" y="1368"/>
                  </a:lnTo>
                  <a:lnTo>
                    <a:pt x="444" y="1362"/>
                  </a:lnTo>
                  <a:lnTo>
                    <a:pt x="438" y="1362"/>
                  </a:lnTo>
                  <a:close/>
                  <a:moveTo>
                    <a:pt x="438" y="1350"/>
                  </a:moveTo>
                  <a:lnTo>
                    <a:pt x="438" y="1344"/>
                  </a:lnTo>
                  <a:lnTo>
                    <a:pt x="438" y="1338"/>
                  </a:lnTo>
                  <a:lnTo>
                    <a:pt x="444" y="1338"/>
                  </a:lnTo>
                  <a:lnTo>
                    <a:pt x="450" y="1338"/>
                  </a:lnTo>
                  <a:lnTo>
                    <a:pt x="456" y="1338"/>
                  </a:lnTo>
                  <a:lnTo>
                    <a:pt x="450" y="1344"/>
                  </a:lnTo>
                  <a:lnTo>
                    <a:pt x="444" y="1350"/>
                  </a:lnTo>
                  <a:lnTo>
                    <a:pt x="438" y="1350"/>
                  </a:lnTo>
                  <a:close/>
                  <a:moveTo>
                    <a:pt x="432" y="1380"/>
                  </a:moveTo>
                  <a:lnTo>
                    <a:pt x="432" y="1368"/>
                  </a:lnTo>
                  <a:lnTo>
                    <a:pt x="432" y="1362"/>
                  </a:lnTo>
                  <a:lnTo>
                    <a:pt x="432" y="1356"/>
                  </a:lnTo>
                  <a:lnTo>
                    <a:pt x="438" y="1356"/>
                  </a:lnTo>
                  <a:lnTo>
                    <a:pt x="438" y="1362"/>
                  </a:lnTo>
                  <a:lnTo>
                    <a:pt x="438" y="1368"/>
                  </a:lnTo>
                  <a:lnTo>
                    <a:pt x="438" y="1374"/>
                  </a:lnTo>
                  <a:lnTo>
                    <a:pt x="438" y="1380"/>
                  </a:lnTo>
                  <a:lnTo>
                    <a:pt x="438" y="1386"/>
                  </a:lnTo>
                  <a:lnTo>
                    <a:pt x="438" y="1380"/>
                  </a:lnTo>
                  <a:lnTo>
                    <a:pt x="432" y="1380"/>
                  </a:lnTo>
                  <a:close/>
                  <a:moveTo>
                    <a:pt x="246" y="1272"/>
                  </a:moveTo>
                  <a:lnTo>
                    <a:pt x="252" y="1272"/>
                  </a:lnTo>
                  <a:lnTo>
                    <a:pt x="252" y="1278"/>
                  </a:lnTo>
                  <a:lnTo>
                    <a:pt x="246" y="1278"/>
                  </a:lnTo>
                  <a:lnTo>
                    <a:pt x="246" y="1272"/>
                  </a:lnTo>
                  <a:close/>
                  <a:moveTo>
                    <a:pt x="426" y="1416"/>
                  </a:moveTo>
                  <a:lnTo>
                    <a:pt x="432" y="1410"/>
                  </a:lnTo>
                  <a:lnTo>
                    <a:pt x="438" y="1410"/>
                  </a:lnTo>
                  <a:lnTo>
                    <a:pt x="438" y="1416"/>
                  </a:lnTo>
                  <a:lnTo>
                    <a:pt x="438" y="1422"/>
                  </a:lnTo>
                  <a:lnTo>
                    <a:pt x="432" y="1422"/>
                  </a:lnTo>
                  <a:lnTo>
                    <a:pt x="426" y="1422"/>
                  </a:lnTo>
                  <a:lnTo>
                    <a:pt x="426" y="1416"/>
                  </a:lnTo>
                  <a:close/>
                  <a:moveTo>
                    <a:pt x="246" y="1266"/>
                  </a:moveTo>
                  <a:lnTo>
                    <a:pt x="252" y="1266"/>
                  </a:lnTo>
                  <a:lnTo>
                    <a:pt x="258" y="1272"/>
                  </a:lnTo>
                  <a:lnTo>
                    <a:pt x="258" y="1278"/>
                  </a:lnTo>
                  <a:lnTo>
                    <a:pt x="258" y="1284"/>
                  </a:lnTo>
                  <a:lnTo>
                    <a:pt x="252" y="1284"/>
                  </a:lnTo>
                  <a:lnTo>
                    <a:pt x="252" y="1278"/>
                  </a:lnTo>
                  <a:lnTo>
                    <a:pt x="252" y="1272"/>
                  </a:lnTo>
                  <a:lnTo>
                    <a:pt x="252" y="1266"/>
                  </a:lnTo>
                  <a:lnTo>
                    <a:pt x="246" y="1266"/>
                  </a:lnTo>
                  <a:close/>
                  <a:moveTo>
                    <a:pt x="408" y="1458"/>
                  </a:moveTo>
                  <a:lnTo>
                    <a:pt x="408" y="1452"/>
                  </a:lnTo>
                  <a:lnTo>
                    <a:pt x="414" y="1452"/>
                  </a:lnTo>
                  <a:lnTo>
                    <a:pt x="414" y="1446"/>
                  </a:lnTo>
                  <a:lnTo>
                    <a:pt x="414" y="1440"/>
                  </a:lnTo>
                  <a:lnTo>
                    <a:pt x="420" y="1440"/>
                  </a:lnTo>
                  <a:lnTo>
                    <a:pt x="420" y="1434"/>
                  </a:lnTo>
                  <a:lnTo>
                    <a:pt x="420" y="1428"/>
                  </a:lnTo>
                  <a:lnTo>
                    <a:pt x="420" y="1422"/>
                  </a:lnTo>
                  <a:lnTo>
                    <a:pt x="426" y="1422"/>
                  </a:lnTo>
                  <a:lnTo>
                    <a:pt x="432" y="1428"/>
                  </a:lnTo>
                  <a:lnTo>
                    <a:pt x="438" y="1428"/>
                  </a:lnTo>
                  <a:lnTo>
                    <a:pt x="438" y="1434"/>
                  </a:lnTo>
                  <a:lnTo>
                    <a:pt x="438" y="1428"/>
                  </a:lnTo>
                  <a:lnTo>
                    <a:pt x="438" y="1422"/>
                  </a:lnTo>
                  <a:lnTo>
                    <a:pt x="444" y="1416"/>
                  </a:lnTo>
                  <a:lnTo>
                    <a:pt x="444" y="1410"/>
                  </a:lnTo>
                  <a:lnTo>
                    <a:pt x="450" y="1416"/>
                  </a:lnTo>
                  <a:lnTo>
                    <a:pt x="456" y="1416"/>
                  </a:lnTo>
                  <a:lnTo>
                    <a:pt x="456" y="1422"/>
                  </a:lnTo>
                  <a:lnTo>
                    <a:pt x="456" y="1428"/>
                  </a:lnTo>
                  <a:lnTo>
                    <a:pt x="456" y="1434"/>
                  </a:lnTo>
                  <a:lnTo>
                    <a:pt x="456" y="1440"/>
                  </a:lnTo>
                  <a:lnTo>
                    <a:pt x="462" y="1440"/>
                  </a:lnTo>
                  <a:lnTo>
                    <a:pt x="462" y="1446"/>
                  </a:lnTo>
                  <a:lnTo>
                    <a:pt x="462" y="1452"/>
                  </a:lnTo>
                  <a:lnTo>
                    <a:pt x="456" y="1452"/>
                  </a:lnTo>
                  <a:lnTo>
                    <a:pt x="450" y="1452"/>
                  </a:lnTo>
                  <a:lnTo>
                    <a:pt x="444" y="1446"/>
                  </a:lnTo>
                  <a:lnTo>
                    <a:pt x="444" y="1452"/>
                  </a:lnTo>
                  <a:lnTo>
                    <a:pt x="450" y="1452"/>
                  </a:lnTo>
                  <a:lnTo>
                    <a:pt x="450" y="1458"/>
                  </a:lnTo>
                  <a:lnTo>
                    <a:pt x="444" y="1458"/>
                  </a:lnTo>
                  <a:lnTo>
                    <a:pt x="438" y="1464"/>
                  </a:lnTo>
                  <a:lnTo>
                    <a:pt x="438" y="1458"/>
                  </a:lnTo>
                  <a:lnTo>
                    <a:pt x="432" y="1458"/>
                  </a:lnTo>
                  <a:lnTo>
                    <a:pt x="426" y="1458"/>
                  </a:lnTo>
                  <a:lnTo>
                    <a:pt x="432" y="1458"/>
                  </a:lnTo>
                  <a:lnTo>
                    <a:pt x="438" y="1464"/>
                  </a:lnTo>
                  <a:lnTo>
                    <a:pt x="432" y="1464"/>
                  </a:lnTo>
                  <a:lnTo>
                    <a:pt x="432" y="1470"/>
                  </a:lnTo>
                  <a:lnTo>
                    <a:pt x="426" y="1470"/>
                  </a:lnTo>
                  <a:lnTo>
                    <a:pt x="420" y="1476"/>
                  </a:lnTo>
                  <a:lnTo>
                    <a:pt x="420" y="1470"/>
                  </a:lnTo>
                  <a:lnTo>
                    <a:pt x="414" y="1470"/>
                  </a:lnTo>
                  <a:lnTo>
                    <a:pt x="414" y="1464"/>
                  </a:lnTo>
                  <a:lnTo>
                    <a:pt x="414" y="1458"/>
                  </a:lnTo>
                  <a:lnTo>
                    <a:pt x="408" y="1458"/>
                  </a:lnTo>
                  <a:close/>
                  <a:moveTo>
                    <a:pt x="270" y="1326"/>
                  </a:moveTo>
                  <a:lnTo>
                    <a:pt x="270" y="1320"/>
                  </a:lnTo>
                  <a:lnTo>
                    <a:pt x="276" y="1320"/>
                  </a:lnTo>
                  <a:lnTo>
                    <a:pt x="282" y="1326"/>
                  </a:lnTo>
                  <a:lnTo>
                    <a:pt x="288" y="1326"/>
                  </a:lnTo>
                  <a:lnTo>
                    <a:pt x="288" y="1332"/>
                  </a:lnTo>
                  <a:lnTo>
                    <a:pt x="288" y="1338"/>
                  </a:lnTo>
                  <a:lnTo>
                    <a:pt x="288" y="1344"/>
                  </a:lnTo>
                  <a:lnTo>
                    <a:pt x="282" y="1344"/>
                  </a:lnTo>
                  <a:lnTo>
                    <a:pt x="282" y="1338"/>
                  </a:lnTo>
                  <a:lnTo>
                    <a:pt x="276" y="1338"/>
                  </a:lnTo>
                  <a:lnTo>
                    <a:pt x="276" y="1332"/>
                  </a:lnTo>
                  <a:lnTo>
                    <a:pt x="270" y="1332"/>
                  </a:lnTo>
                  <a:lnTo>
                    <a:pt x="270" y="1326"/>
                  </a:lnTo>
                  <a:close/>
                  <a:moveTo>
                    <a:pt x="288" y="1458"/>
                  </a:moveTo>
                  <a:lnTo>
                    <a:pt x="294" y="1458"/>
                  </a:lnTo>
                  <a:lnTo>
                    <a:pt x="294" y="1452"/>
                  </a:lnTo>
                  <a:lnTo>
                    <a:pt x="294" y="1446"/>
                  </a:lnTo>
                  <a:lnTo>
                    <a:pt x="300" y="1446"/>
                  </a:lnTo>
                  <a:lnTo>
                    <a:pt x="300" y="1440"/>
                  </a:lnTo>
                  <a:lnTo>
                    <a:pt x="306" y="1440"/>
                  </a:lnTo>
                  <a:lnTo>
                    <a:pt x="306" y="1446"/>
                  </a:lnTo>
                  <a:lnTo>
                    <a:pt x="312" y="1452"/>
                  </a:lnTo>
                  <a:lnTo>
                    <a:pt x="306" y="1452"/>
                  </a:lnTo>
                  <a:lnTo>
                    <a:pt x="306" y="1458"/>
                  </a:lnTo>
                  <a:lnTo>
                    <a:pt x="312" y="1464"/>
                  </a:lnTo>
                  <a:lnTo>
                    <a:pt x="306" y="1464"/>
                  </a:lnTo>
                  <a:lnTo>
                    <a:pt x="306" y="1470"/>
                  </a:lnTo>
                  <a:lnTo>
                    <a:pt x="300" y="1476"/>
                  </a:lnTo>
                  <a:lnTo>
                    <a:pt x="294" y="1476"/>
                  </a:lnTo>
                  <a:lnTo>
                    <a:pt x="294" y="1470"/>
                  </a:lnTo>
                  <a:lnTo>
                    <a:pt x="288" y="1470"/>
                  </a:lnTo>
                  <a:lnTo>
                    <a:pt x="288" y="1464"/>
                  </a:lnTo>
                  <a:lnTo>
                    <a:pt x="288" y="1458"/>
                  </a:lnTo>
                  <a:close/>
                  <a:moveTo>
                    <a:pt x="270" y="1296"/>
                  </a:moveTo>
                  <a:lnTo>
                    <a:pt x="276" y="1296"/>
                  </a:lnTo>
                  <a:lnTo>
                    <a:pt x="282" y="1296"/>
                  </a:lnTo>
                  <a:lnTo>
                    <a:pt x="288" y="1296"/>
                  </a:lnTo>
                  <a:lnTo>
                    <a:pt x="288" y="1302"/>
                  </a:lnTo>
                  <a:lnTo>
                    <a:pt x="282" y="1308"/>
                  </a:lnTo>
                  <a:lnTo>
                    <a:pt x="276" y="1308"/>
                  </a:lnTo>
                  <a:lnTo>
                    <a:pt x="276" y="1302"/>
                  </a:lnTo>
                  <a:lnTo>
                    <a:pt x="270" y="12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4" name="Freeform 19">
              <a:extLst>
                <a:ext uri="{FF2B5EF4-FFF2-40B4-BE49-F238E27FC236}">
                  <a16:creationId xmlns:a16="http://schemas.microsoft.com/office/drawing/2014/main" id="{5B9020B8-E1C1-4611-A248-9642BBD69C9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7043" y="3765821"/>
              <a:ext cx="333193" cy="398097"/>
            </a:xfrm>
            <a:custGeom>
              <a:avLst/>
              <a:gdLst>
                <a:gd name="T0" fmla="*/ 30 w 624"/>
                <a:gd name="T1" fmla="*/ 61 h 750"/>
                <a:gd name="T2" fmla="*/ 27 w 624"/>
                <a:gd name="T3" fmla="*/ 62 h 750"/>
                <a:gd name="T4" fmla="*/ 23 w 624"/>
                <a:gd name="T5" fmla="*/ 59 h 750"/>
                <a:gd name="T6" fmla="*/ 20 w 624"/>
                <a:gd name="T7" fmla="*/ 58 h 750"/>
                <a:gd name="T8" fmla="*/ 19 w 624"/>
                <a:gd name="T9" fmla="*/ 56 h 750"/>
                <a:gd name="T10" fmla="*/ 17 w 624"/>
                <a:gd name="T11" fmla="*/ 55 h 750"/>
                <a:gd name="T12" fmla="*/ 16 w 624"/>
                <a:gd name="T13" fmla="*/ 51 h 750"/>
                <a:gd name="T14" fmla="*/ 14 w 624"/>
                <a:gd name="T15" fmla="*/ 48 h 750"/>
                <a:gd name="T16" fmla="*/ 12 w 624"/>
                <a:gd name="T17" fmla="*/ 46 h 750"/>
                <a:gd name="T18" fmla="*/ 12 w 624"/>
                <a:gd name="T19" fmla="*/ 44 h 750"/>
                <a:gd name="T20" fmla="*/ 11 w 624"/>
                <a:gd name="T21" fmla="*/ 41 h 750"/>
                <a:gd name="T22" fmla="*/ 8 w 624"/>
                <a:gd name="T23" fmla="*/ 38 h 750"/>
                <a:gd name="T24" fmla="*/ 6 w 624"/>
                <a:gd name="T25" fmla="*/ 38 h 750"/>
                <a:gd name="T26" fmla="*/ 6 w 624"/>
                <a:gd name="T27" fmla="*/ 35 h 750"/>
                <a:gd name="T28" fmla="*/ 7 w 624"/>
                <a:gd name="T29" fmla="*/ 31 h 750"/>
                <a:gd name="T30" fmla="*/ 10 w 624"/>
                <a:gd name="T31" fmla="*/ 27 h 750"/>
                <a:gd name="T32" fmla="*/ 8 w 624"/>
                <a:gd name="T33" fmla="*/ 23 h 750"/>
                <a:gd name="T34" fmla="*/ 6 w 624"/>
                <a:gd name="T35" fmla="*/ 23 h 750"/>
                <a:gd name="T36" fmla="*/ 3 w 624"/>
                <a:gd name="T37" fmla="*/ 22 h 750"/>
                <a:gd name="T38" fmla="*/ 0 w 624"/>
                <a:gd name="T39" fmla="*/ 22 h 750"/>
                <a:gd name="T40" fmla="*/ 0 w 624"/>
                <a:gd name="T41" fmla="*/ 19 h 750"/>
                <a:gd name="T42" fmla="*/ 1 w 624"/>
                <a:gd name="T43" fmla="*/ 18 h 750"/>
                <a:gd name="T44" fmla="*/ 2 w 624"/>
                <a:gd name="T45" fmla="*/ 14 h 750"/>
                <a:gd name="T46" fmla="*/ 4 w 624"/>
                <a:gd name="T47" fmla="*/ 17 h 750"/>
                <a:gd name="T48" fmla="*/ 6 w 624"/>
                <a:gd name="T49" fmla="*/ 17 h 750"/>
                <a:gd name="T50" fmla="*/ 7 w 624"/>
                <a:gd name="T51" fmla="*/ 17 h 750"/>
                <a:gd name="T52" fmla="*/ 9 w 624"/>
                <a:gd name="T53" fmla="*/ 15 h 750"/>
                <a:gd name="T54" fmla="*/ 10 w 624"/>
                <a:gd name="T55" fmla="*/ 14 h 750"/>
                <a:gd name="T56" fmla="*/ 11 w 624"/>
                <a:gd name="T57" fmla="*/ 12 h 750"/>
                <a:gd name="T58" fmla="*/ 13 w 624"/>
                <a:gd name="T59" fmla="*/ 12 h 750"/>
                <a:gd name="T60" fmla="*/ 18 w 624"/>
                <a:gd name="T61" fmla="*/ 10 h 750"/>
                <a:gd name="T62" fmla="*/ 22 w 624"/>
                <a:gd name="T63" fmla="*/ 4 h 750"/>
                <a:gd name="T64" fmla="*/ 24 w 624"/>
                <a:gd name="T65" fmla="*/ 4 h 750"/>
                <a:gd name="T66" fmla="*/ 26 w 624"/>
                <a:gd name="T67" fmla="*/ 2 h 750"/>
                <a:gd name="T68" fmla="*/ 29 w 624"/>
                <a:gd name="T69" fmla="*/ 0 h 750"/>
                <a:gd name="T70" fmla="*/ 32 w 624"/>
                <a:gd name="T71" fmla="*/ 2 h 750"/>
                <a:gd name="T72" fmla="*/ 34 w 624"/>
                <a:gd name="T73" fmla="*/ 5 h 750"/>
                <a:gd name="T74" fmla="*/ 35 w 624"/>
                <a:gd name="T75" fmla="*/ 8 h 750"/>
                <a:gd name="T76" fmla="*/ 39 w 624"/>
                <a:gd name="T77" fmla="*/ 11 h 750"/>
                <a:gd name="T78" fmla="*/ 42 w 624"/>
                <a:gd name="T79" fmla="*/ 14 h 750"/>
                <a:gd name="T80" fmla="*/ 46 w 624"/>
                <a:gd name="T81" fmla="*/ 12 h 750"/>
                <a:gd name="T82" fmla="*/ 49 w 624"/>
                <a:gd name="T83" fmla="*/ 12 h 750"/>
                <a:gd name="T84" fmla="*/ 51 w 624"/>
                <a:gd name="T85" fmla="*/ 12 h 750"/>
                <a:gd name="T86" fmla="*/ 53 w 624"/>
                <a:gd name="T87" fmla="*/ 12 h 750"/>
                <a:gd name="T88" fmla="*/ 53 w 624"/>
                <a:gd name="T89" fmla="*/ 17 h 750"/>
                <a:gd name="T90" fmla="*/ 51 w 624"/>
                <a:gd name="T91" fmla="*/ 20 h 750"/>
                <a:gd name="T92" fmla="*/ 49 w 624"/>
                <a:gd name="T93" fmla="*/ 26 h 750"/>
                <a:gd name="T94" fmla="*/ 47 w 624"/>
                <a:gd name="T95" fmla="*/ 26 h 750"/>
                <a:gd name="T96" fmla="*/ 44 w 624"/>
                <a:gd name="T97" fmla="*/ 26 h 750"/>
                <a:gd name="T98" fmla="*/ 43 w 624"/>
                <a:gd name="T99" fmla="*/ 27 h 750"/>
                <a:gd name="T100" fmla="*/ 45 w 624"/>
                <a:gd name="T101" fmla="*/ 32 h 750"/>
                <a:gd name="T102" fmla="*/ 44 w 624"/>
                <a:gd name="T103" fmla="*/ 43 h 750"/>
                <a:gd name="T104" fmla="*/ 44 w 624"/>
                <a:gd name="T105" fmla="*/ 47 h 750"/>
                <a:gd name="T106" fmla="*/ 44 w 624"/>
                <a:gd name="T107" fmla="*/ 54 h 750"/>
                <a:gd name="T108" fmla="*/ 41 w 624"/>
                <a:gd name="T109" fmla="*/ 60 h 750"/>
                <a:gd name="T110" fmla="*/ 42 w 624"/>
                <a:gd name="T111" fmla="*/ 62 h 750"/>
                <a:gd name="T112" fmla="*/ 43 w 624"/>
                <a:gd name="T113" fmla="*/ 65 h 750"/>
                <a:gd name="T114" fmla="*/ 39 w 624"/>
                <a:gd name="T115" fmla="*/ 63 h 750"/>
                <a:gd name="T116" fmla="*/ 35 w 624"/>
                <a:gd name="T117" fmla="*/ 62 h 75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24"/>
                <a:gd name="T178" fmla="*/ 0 h 750"/>
                <a:gd name="T179" fmla="*/ 624 w 624"/>
                <a:gd name="T180" fmla="*/ 750 h 75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24" h="750">
                  <a:moveTo>
                    <a:pt x="390" y="702"/>
                  </a:moveTo>
                  <a:lnTo>
                    <a:pt x="372" y="696"/>
                  </a:lnTo>
                  <a:lnTo>
                    <a:pt x="360" y="702"/>
                  </a:lnTo>
                  <a:lnTo>
                    <a:pt x="348" y="702"/>
                  </a:lnTo>
                  <a:lnTo>
                    <a:pt x="336" y="702"/>
                  </a:lnTo>
                  <a:lnTo>
                    <a:pt x="330" y="702"/>
                  </a:lnTo>
                  <a:lnTo>
                    <a:pt x="318" y="708"/>
                  </a:lnTo>
                  <a:lnTo>
                    <a:pt x="306" y="708"/>
                  </a:lnTo>
                  <a:lnTo>
                    <a:pt x="294" y="690"/>
                  </a:lnTo>
                  <a:lnTo>
                    <a:pt x="294" y="684"/>
                  </a:lnTo>
                  <a:lnTo>
                    <a:pt x="276" y="684"/>
                  </a:lnTo>
                  <a:lnTo>
                    <a:pt x="270" y="678"/>
                  </a:lnTo>
                  <a:lnTo>
                    <a:pt x="240" y="672"/>
                  </a:lnTo>
                  <a:lnTo>
                    <a:pt x="234" y="672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6"/>
                  </a:lnTo>
                  <a:lnTo>
                    <a:pt x="216" y="660"/>
                  </a:lnTo>
                  <a:lnTo>
                    <a:pt x="216" y="654"/>
                  </a:lnTo>
                  <a:lnTo>
                    <a:pt x="216" y="642"/>
                  </a:lnTo>
                  <a:lnTo>
                    <a:pt x="210" y="642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36"/>
                  </a:lnTo>
                  <a:lnTo>
                    <a:pt x="192" y="624"/>
                  </a:lnTo>
                  <a:lnTo>
                    <a:pt x="186" y="612"/>
                  </a:lnTo>
                  <a:lnTo>
                    <a:pt x="186" y="600"/>
                  </a:lnTo>
                  <a:lnTo>
                    <a:pt x="186" y="588"/>
                  </a:lnTo>
                  <a:lnTo>
                    <a:pt x="180" y="582"/>
                  </a:lnTo>
                  <a:lnTo>
                    <a:pt x="180" y="570"/>
                  </a:lnTo>
                  <a:lnTo>
                    <a:pt x="174" y="558"/>
                  </a:lnTo>
                  <a:lnTo>
                    <a:pt x="162" y="558"/>
                  </a:lnTo>
                  <a:lnTo>
                    <a:pt x="144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38" y="534"/>
                  </a:lnTo>
                  <a:lnTo>
                    <a:pt x="138" y="528"/>
                  </a:lnTo>
                  <a:lnTo>
                    <a:pt x="132" y="522"/>
                  </a:lnTo>
                  <a:lnTo>
                    <a:pt x="144" y="522"/>
                  </a:lnTo>
                  <a:lnTo>
                    <a:pt x="144" y="510"/>
                  </a:lnTo>
                  <a:lnTo>
                    <a:pt x="144" y="504"/>
                  </a:lnTo>
                  <a:lnTo>
                    <a:pt x="138" y="492"/>
                  </a:lnTo>
                  <a:lnTo>
                    <a:pt x="138" y="474"/>
                  </a:lnTo>
                  <a:lnTo>
                    <a:pt x="126" y="468"/>
                  </a:lnTo>
                  <a:lnTo>
                    <a:pt x="120" y="456"/>
                  </a:lnTo>
                  <a:lnTo>
                    <a:pt x="114" y="450"/>
                  </a:lnTo>
                  <a:lnTo>
                    <a:pt x="108" y="438"/>
                  </a:lnTo>
                  <a:lnTo>
                    <a:pt x="96" y="432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60" y="426"/>
                  </a:lnTo>
                  <a:lnTo>
                    <a:pt x="66" y="420"/>
                  </a:lnTo>
                  <a:lnTo>
                    <a:pt x="66" y="408"/>
                  </a:lnTo>
                  <a:lnTo>
                    <a:pt x="72" y="408"/>
                  </a:lnTo>
                  <a:lnTo>
                    <a:pt x="72" y="384"/>
                  </a:lnTo>
                  <a:lnTo>
                    <a:pt x="72" y="366"/>
                  </a:lnTo>
                  <a:lnTo>
                    <a:pt x="78" y="354"/>
                  </a:lnTo>
                  <a:lnTo>
                    <a:pt x="84" y="354"/>
                  </a:lnTo>
                  <a:lnTo>
                    <a:pt x="90" y="348"/>
                  </a:lnTo>
                  <a:lnTo>
                    <a:pt x="102" y="336"/>
                  </a:lnTo>
                  <a:lnTo>
                    <a:pt x="114" y="324"/>
                  </a:lnTo>
                  <a:lnTo>
                    <a:pt x="120" y="312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20" y="276"/>
                  </a:lnTo>
                  <a:lnTo>
                    <a:pt x="96" y="270"/>
                  </a:lnTo>
                  <a:lnTo>
                    <a:pt x="84" y="270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72" y="264"/>
                  </a:lnTo>
                  <a:lnTo>
                    <a:pt x="60" y="252"/>
                  </a:lnTo>
                  <a:lnTo>
                    <a:pt x="42" y="252"/>
                  </a:lnTo>
                  <a:lnTo>
                    <a:pt x="42" y="258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18" y="252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42" y="156"/>
                  </a:lnTo>
                  <a:lnTo>
                    <a:pt x="48" y="198"/>
                  </a:lnTo>
                  <a:lnTo>
                    <a:pt x="48" y="204"/>
                  </a:lnTo>
                  <a:lnTo>
                    <a:pt x="54" y="198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204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192"/>
                  </a:lnTo>
                  <a:lnTo>
                    <a:pt x="96" y="186"/>
                  </a:lnTo>
                  <a:lnTo>
                    <a:pt x="102" y="180"/>
                  </a:lnTo>
                  <a:lnTo>
                    <a:pt x="102" y="174"/>
                  </a:lnTo>
                  <a:lnTo>
                    <a:pt x="108" y="168"/>
                  </a:lnTo>
                  <a:lnTo>
                    <a:pt x="108" y="162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0"/>
                  </a:lnTo>
                  <a:lnTo>
                    <a:pt x="132" y="144"/>
                  </a:lnTo>
                  <a:lnTo>
                    <a:pt x="138" y="138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0" y="132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74" y="126"/>
                  </a:lnTo>
                  <a:lnTo>
                    <a:pt x="204" y="120"/>
                  </a:lnTo>
                  <a:lnTo>
                    <a:pt x="210" y="78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54"/>
                  </a:lnTo>
                  <a:lnTo>
                    <a:pt x="276" y="54"/>
                  </a:lnTo>
                  <a:lnTo>
                    <a:pt x="276" y="48"/>
                  </a:lnTo>
                  <a:lnTo>
                    <a:pt x="282" y="48"/>
                  </a:lnTo>
                  <a:lnTo>
                    <a:pt x="288" y="42"/>
                  </a:lnTo>
                  <a:lnTo>
                    <a:pt x="294" y="42"/>
                  </a:lnTo>
                  <a:lnTo>
                    <a:pt x="294" y="18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0"/>
                  </a:lnTo>
                  <a:lnTo>
                    <a:pt x="336" y="0"/>
                  </a:lnTo>
                  <a:lnTo>
                    <a:pt x="342" y="0"/>
                  </a:lnTo>
                  <a:lnTo>
                    <a:pt x="354" y="6"/>
                  </a:lnTo>
                  <a:lnTo>
                    <a:pt x="366" y="18"/>
                  </a:lnTo>
                  <a:lnTo>
                    <a:pt x="378" y="36"/>
                  </a:lnTo>
                  <a:lnTo>
                    <a:pt x="390" y="42"/>
                  </a:lnTo>
                  <a:lnTo>
                    <a:pt x="390" y="48"/>
                  </a:lnTo>
                  <a:lnTo>
                    <a:pt x="396" y="60"/>
                  </a:lnTo>
                  <a:lnTo>
                    <a:pt x="402" y="72"/>
                  </a:lnTo>
                  <a:lnTo>
                    <a:pt x="408" y="78"/>
                  </a:lnTo>
                  <a:lnTo>
                    <a:pt x="402" y="84"/>
                  </a:lnTo>
                  <a:lnTo>
                    <a:pt x="408" y="90"/>
                  </a:lnTo>
                  <a:lnTo>
                    <a:pt x="414" y="102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50" y="126"/>
                  </a:lnTo>
                  <a:lnTo>
                    <a:pt x="456" y="126"/>
                  </a:lnTo>
                  <a:lnTo>
                    <a:pt x="462" y="144"/>
                  </a:lnTo>
                  <a:lnTo>
                    <a:pt x="480" y="156"/>
                  </a:lnTo>
                  <a:lnTo>
                    <a:pt x="492" y="156"/>
                  </a:lnTo>
                  <a:lnTo>
                    <a:pt x="516" y="150"/>
                  </a:lnTo>
                  <a:lnTo>
                    <a:pt x="516" y="144"/>
                  </a:lnTo>
                  <a:lnTo>
                    <a:pt x="516" y="138"/>
                  </a:lnTo>
                  <a:lnTo>
                    <a:pt x="528" y="138"/>
                  </a:lnTo>
                  <a:lnTo>
                    <a:pt x="546" y="144"/>
                  </a:lnTo>
                  <a:lnTo>
                    <a:pt x="546" y="138"/>
                  </a:lnTo>
                  <a:lnTo>
                    <a:pt x="552" y="138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76" y="138"/>
                  </a:lnTo>
                  <a:lnTo>
                    <a:pt x="582" y="138"/>
                  </a:lnTo>
                  <a:lnTo>
                    <a:pt x="588" y="138"/>
                  </a:lnTo>
                  <a:lnTo>
                    <a:pt x="594" y="138"/>
                  </a:lnTo>
                  <a:lnTo>
                    <a:pt x="594" y="144"/>
                  </a:lnTo>
                  <a:lnTo>
                    <a:pt x="600" y="138"/>
                  </a:lnTo>
                  <a:lnTo>
                    <a:pt x="606" y="138"/>
                  </a:lnTo>
                  <a:lnTo>
                    <a:pt x="606" y="144"/>
                  </a:lnTo>
                  <a:lnTo>
                    <a:pt x="612" y="144"/>
                  </a:lnTo>
                  <a:lnTo>
                    <a:pt x="618" y="156"/>
                  </a:lnTo>
                  <a:lnTo>
                    <a:pt x="612" y="198"/>
                  </a:lnTo>
                  <a:lnTo>
                    <a:pt x="624" y="198"/>
                  </a:lnTo>
                  <a:lnTo>
                    <a:pt x="624" y="204"/>
                  </a:lnTo>
                  <a:lnTo>
                    <a:pt x="612" y="216"/>
                  </a:lnTo>
                  <a:lnTo>
                    <a:pt x="594" y="234"/>
                  </a:lnTo>
                  <a:lnTo>
                    <a:pt x="588" y="252"/>
                  </a:lnTo>
                  <a:lnTo>
                    <a:pt x="576" y="270"/>
                  </a:lnTo>
                  <a:lnTo>
                    <a:pt x="564" y="282"/>
                  </a:lnTo>
                  <a:lnTo>
                    <a:pt x="564" y="294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8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34" y="294"/>
                  </a:lnTo>
                  <a:lnTo>
                    <a:pt x="522" y="300"/>
                  </a:lnTo>
                  <a:lnTo>
                    <a:pt x="510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498" y="324"/>
                  </a:lnTo>
                  <a:lnTo>
                    <a:pt x="504" y="336"/>
                  </a:lnTo>
                  <a:lnTo>
                    <a:pt x="510" y="348"/>
                  </a:lnTo>
                  <a:lnTo>
                    <a:pt x="516" y="366"/>
                  </a:lnTo>
                  <a:lnTo>
                    <a:pt x="522" y="432"/>
                  </a:lnTo>
                  <a:lnTo>
                    <a:pt x="522" y="456"/>
                  </a:lnTo>
                  <a:lnTo>
                    <a:pt x="504" y="492"/>
                  </a:lnTo>
                  <a:lnTo>
                    <a:pt x="504" y="498"/>
                  </a:lnTo>
                  <a:lnTo>
                    <a:pt x="498" y="504"/>
                  </a:lnTo>
                  <a:lnTo>
                    <a:pt x="498" y="522"/>
                  </a:lnTo>
                  <a:lnTo>
                    <a:pt x="504" y="534"/>
                  </a:lnTo>
                  <a:lnTo>
                    <a:pt x="510" y="546"/>
                  </a:lnTo>
                  <a:lnTo>
                    <a:pt x="516" y="558"/>
                  </a:lnTo>
                  <a:lnTo>
                    <a:pt x="516" y="588"/>
                  </a:lnTo>
                  <a:lnTo>
                    <a:pt x="516" y="600"/>
                  </a:lnTo>
                  <a:lnTo>
                    <a:pt x="510" y="618"/>
                  </a:lnTo>
                  <a:lnTo>
                    <a:pt x="504" y="636"/>
                  </a:lnTo>
                  <a:lnTo>
                    <a:pt x="504" y="642"/>
                  </a:lnTo>
                  <a:lnTo>
                    <a:pt x="474" y="654"/>
                  </a:lnTo>
                  <a:lnTo>
                    <a:pt x="474" y="690"/>
                  </a:lnTo>
                  <a:lnTo>
                    <a:pt x="474" y="696"/>
                  </a:lnTo>
                  <a:lnTo>
                    <a:pt x="480" y="702"/>
                  </a:lnTo>
                  <a:lnTo>
                    <a:pt x="486" y="708"/>
                  </a:lnTo>
                  <a:lnTo>
                    <a:pt x="492" y="708"/>
                  </a:lnTo>
                  <a:lnTo>
                    <a:pt x="498" y="726"/>
                  </a:lnTo>
                  <a:lnTo>
                    <a:pt x="504" y="726"/>
                  </a:lnTo>
                  <a:lnTo>
                    <a:pt x="504" y="738"/>
                  </a:lnTo>
                  <a:lnTo>
                    <a:pt x="498" y="744"/>
                  </a:lnTo>
                  <a:lnTo>
                    <a:pt x="486" y="750"/>
                  </a:lnTo>
                  <a:lnTo>
                    <a:pt x="474" y="744"/>
                  </a:lnTo>
                  <a:lnTo>
                    <a:pt x="462" y="744"/>
                  </a:lnTo>
                  <a:lnTo>
                    <a:pt x="456" y="732"/>
                  </a:lnTo>
                  <a:lnTo>
                    <a:pt x="444" y="732"/>
                  </a:lnTo>
                  <a:lnTo>
                    <a:pt x="432" y="726"/>
                  </a:lnTo>
                  <a:lnTo>
                    <a:pt x="420" y="720"/>
                  </a:lnTo>
                  <a:lnTo>
                    <a:pt x="408" y="708"/>
                  </a:lnTo>
                  <a:lnTo>
                    <a:pt x="402" y="708"/>
                  </a:lnTo>
                  <a:lnTo>
                    <a:pt x="390" y="70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5" name="Freeform 20">
              <a:extLst>
                <a:ext uri="{FF2B5EF4-FFF2-40B4-BE49-F238E27FC236}">
                  <a16:creationId xmlns:a16="http://schemas.microsoft.com/office/drawing/2014/main" id="{B8342C3B-ECEC-465F-AAFF-4815B8AC392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870937"/>
              <a:ext cx="313067" cy="377968"/>
            </a:xfrm>
            <a:custGeom>
              <a:avLst/>
              <a:gdLst>
                <a:gd name="T0" fmla="*/ 15 w 588"/>
                <a:gd name="T1" fmla="*/ 59 h 714"/>
                <a:gd name="T2" fmla="*/ 14 w 588"/>
                <a:gd name="T3" fmla="*/ 58 h 714"/>
                <a:gd name="T4" fmla="*/ 9 w 588"/>
                <a:gd name="T5" fmla="*/ 54 h 714"/>
                <a:gd name="T6" fmla="*/ 4 w 588"/>
                <a:gd name="T7" fmla="*/ 54 h 714"/>
                <a:gd name="T8" fmla="*/ 0 w 588"/>
                <a:gd name="T9" fmla="*/ 50 h 714"/>
                <a:gd name="T10" fmla="*/ 0 w 588"/>
                <a:gd name="T11" fmla="*/ 44 h 714"/>
                <a:gd name="T12" fmla="*/ 4 w 588"/>
                <a:gd name="T13" fmla="*/ 46 h 714"/>
                <a:gd name="T14" fmla="*/ 7 w 588"/>
                <a:gd name="T15" fmla="*/ 47 h 714"/>
                <a:gd name="T16" fmla="*/ 10 w 588"/>
                <a:gd name="T17" fmla="*/ 46 h 714"/>
                <a:gd name="T18" fmla="*/ 8 w 588"/>
                <a:gd name="T19" fmla="*/ 44 h 714"/>
                <a:gd name="T20" fmla="*/ 10 w 588"/>
                <a:gd name="T21" fmla="*/ 39 h 714"/>
                <a:gd name="T22" fmla="*/ 11 w 588"/>
                <a:gd name="T23" fmla="*/ 34 h 714"/>
                <a:gd name="T24" fmla="*/ 9 w 588"/>
                <a:gd name="T25" fmla="*/ 28 h 714"/>
                <a:gd name="T26" fmla="*/ 11 w 588"/>
                <a:gd name="T27" fmla="*/ 22 h 714"/>
                <a:gd name="T28" fmla="*/ 10 w 588"/>
                <a:gd name="T29" fmla="*/ 12 h 714"/>
                <a:gd name="T30" fmla="*/ 9 w 588"/>
                <a:gd name="T31" fmla="*/ 9 h 714"/>
                <a:gd name="T32" fmla="*/ 12 w 588"/>
                <a:gd name="T33" fmla="*/ 8 h 714"/>
                <a:gd name="T34" fmla="*/ 14 w 588"/>
                <a:gd name="T35" fmla="*/ 7 h 714"/>
                <a:gd name="T36" fmla="*/ 17 w 588"/>
                <a:gd name="T37" fmla="*/ 10 h 714"/>
                <a:gd name="T38" fmla="*/ 23 w 588"/>
                <a:gd name="T39" fmla="*/ 14 h 714"/>
                <a:gd name="T40" fmla="*/ 28 w 588"/>
                <a:gd name="T41" fmla="*/ 4 h 714"/>
                <a:gd name="T42" fmla="*/ 35 w 588"/>
                <a:gd name="T43" fmla="*/ 2 h 714"/>
                <a:gd name="T44" fmla="*/ 38 w 588"/>
                <a:gd name="T45" fmla="*/ 0 h 714"/>
                <a:gd name="T46" fmla="*/ 40 w 588"/>
                <a:gd name="T47" fmla="*/ 2 h 714"/>
                <a:gd name="T48" fmla="*/ 39 w 588"/>
                <a:gd name="T49" fmla="*/ 4 h 714"/>
                <a:gd name="T50" fmla="*/ 41 w 588"/>
                <a:gd name="T51" fmla="*/ 5 h 714"/>
                <a:gd name="T52" fmla="*/ 42 w 588"/>
                <a:gd name="T53" fmla="*/ 7 h 714"/>
                <a:gd name="T54" fmla="*/ 43 w 588"/>
                <a:gd name="T55" fmla="*/ 9 h 714"/>
                <a:gd name="T56" fmla="*/ 43 w 588"/>
                <a:gd name="T57" fmla="*/ 10 h 714"/>
                <a:gd name="T58" fmla="*/ 43 w 588"/>
                <a:gd name="T59" fmla="*/ 12 h 714"/>
                <a:gd name="T60" fmla="*/ 44 w 588"/>
                <a:gd name="T61" fmla="*/ 12 h 714"/>
                <a:gd name="T62" fmla="*/ 46 w 588"/>
                <a:gd name="T63" fmla="*/ 13 h 714"/>
                <a:gd name="T64" fmla="*/ 47 w 588"/>
                <a:gd name="T65" fmla="*/ 14 h 714"/>
                <a:gd name="T66" fmla="*/ 48 w 588"/>
                <a:gd name="T67" fmla="*/ 15 h 714"/>
                <a:gd name="T68" fmla="*/ 49 w 588"/>
                <a:gd name="T69" fmla="*/ 15 h 714"/>
                <a:gd name="T70" fmla="*/ 48 w 588"/>
                <a:gd name="T71" fmla="*/ 17 h 714"/>
                <a:gd name="T72" fmla="*/ 49 w 588"/>
                <a:gd name="T73" fmla="*/ 19 h 714"/>
                <a:gd name="T74" fmla="*/ 49 w 588"/>
                <a:gd name="T75" fmla="*/ 20 h 714"/>
                <a:gd name="T76" fmla="*/ 51 w 588"/>
                <a:gd name="T77" fmla="*/ 21 h 714"/>
                <a:gd name="T78" fmla="*/ 50 w 588"/>
                <a:gd name="T79" fmla="*/ 22 h 714"/>
                <a:gd name="T80" fmla="*/ 47 w 588"/>
                <a:gd name="T81" fmla="*/ 23 h 714"/>
                <a:gd name="T82" fmla="*/ 47 w 588"/>
                <a:gd name="T83" fmla="*/ 26 h 714"/>
                <a:gd name="T84" fmla="*/ 47 w 588"/>
                <a:gd name="T85" fmla="*/ 32 h 714"/>
                <a:gd name="T86" fmla="*/ 44 w 588"/>
                <a:gd name="T87" fmla="*/ 35 h 714"/>
                <a:gd name="T88" fmla="*/ 42 w 588"/>
                <a:gd name="T89" fmla="*/ 39 h 714"/>
                <a:gd name="T90" fmla="*/ 42 w 588"/>
                <a:gd name="T91" fmla="*/ 41 h 714"/>
                <a:gd name="T92" fmla="*/ 42 w 588"/>
                <a:gd name="T93" fmla="*/ 42 h 714"/>
                <a:gd name="T94" fmla="*/ 41 w 588"/>
                <a:gd name="T95" fmla="*/ 44 h 714"/>
                <a:gd name="T96" fmla="*/ 39 w 588"/>
                <a:gd name="T97" fmla="*/ 43 h 714"/>
                <a:gd name="T98" fmla="*/ 37 w 588"/>
                <a:gd name="T99" fmla="*/ 44 h 714"/>
                <a:gd name="T100" fmla="*/ 35 w 588"/>
                <a:gd name="T101" fmla="*/ 46 h 714"/>
                <a:gd name="T102" fmla="*/ 31 w 588"/>
                <a:gd name="T103" fmla="*/ 45 h 714"/>
                <a:gd name="T104" fmla="*/ 24 w 588"/>
                <a:gd name="T105" fmla="*/ 45 h 714"/>
                <a:gd name="T106" fmla="*/ 25 w 588"/>
                <a:gd name="T107" fmla="*/ 47 h 714"/>
                <a:gd name="T108" fmla="*/ 25 w 588"/>
                <a:gd name="T109" fmla="*/ 49 h 714"/>
                <a:gd name="T110" fmla="*/ 25 w 588"/>
                <a:gd name="T111" fmla="*/ 50 h 714"/>
                <a:gd name="T112" fmla="*/ 24 w 588"/>
                <a:gd name="T113" fmla="*/ 51 h 714"/>
                <a:gd name="T114" fmla="*/ 22 w 588"/>
                <a:gd name="T115" fmla="*/ 53 h 714"/>
                <a:gd name="T116" fmla="*/ 23 w 588"/>
                <a:gd name="T117" fmla="*/ 56 h 714"/>
                <a:gd name="T118" fmla="*/ 20 w 588"/>
                <a:gd name="T119" fmla="*/ 58 h 714"/>
                <a:gd name="T120" fmla="*/ 19 w 588"/>
                <a:gd name="T121" fmla="*/ 62 h 7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8"/>
                <a:gd name="T184" fmla="*/ 0 h 714"/>
                <a:gd name="T185" fmla="*/ 588 w 588"/>
                <a:gd name="T186" fmla="*/ 714 h 7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8" h="714">
                  <a:moveTo>
                    <a:pt x="216" y="714"/>
                  </a:moveTo>
                  <a:lnTo>
                    <a:pt x="198" y="702"/>
                  </a:lnTo>
                  <a:lnTo>
                    <a:pt x="186" y="696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74" y="678"/>
                  </a:lnTo>
                  <a:lnTo>
                    <a:pt x="168" y="672"/>
                  </a:lnTo>
                  <a:lnTo>
                    <a:pt x="162" y="666"/>
                  </a:lnTo>
                  <a:lnTo>
                    <a:pt x="156" y="636"/>
                  </a:lnTo>
                  <a:lnTo>
                    <a:pt x="144" y="630"/>
                  </a:lnTo>
                  <a:lnTo>
                    <a:pt x="108" y="630"/>
                  </a:lnTo>
                  <a:lnTo>
                    <a:pt x="102" y="624"/>
                  </a:lnTo>
                  <a:lnTo>
                    <a:pt x="96" y="624"/>
                  </a:lnTo>
                  <a:lnTo>
                    <a:pt x="72" y="624"/>
                  </a:lnTo>
                  <a:lnTo>
                    <a:pt x="54" y="624"/>
                  </a:lnTo>
                  <a:lnTo>
                    <a:pt x="42" y="618"/>
                  </a:lnTo>
                  <a:lnTo>
                    <a:pt x="30" y="612"/>
                  </a:lnTo>
                  <a:lnTo>
                    <a:pt x="6" y="606"/>
                  </a:lnTo>
                  <a:lnTo>
                    <a:pt x="0" y="606"/>
                  </a:lnTo>
                  <a:lnTo>
                    <a:pt x="0" y="570"/>
                  </a:lnTo>
                  <a:lnTo>
                    <a:pt x="6" y="552"/>
                  </a:lnTo>
                  <a:lnTo>
                    <a:pt x="6" y="522"/>
                  </a:lnTo>
                  <a:lnTo>
                    <a:pt x="0" y="510"/>
                  </a:lnTo>
                  <a:lnTo>
                    <a:pt x="0" y="504"/>
                  </a:lnTo>
                  <a:lnTo>
                    <a:pt x="12" y="510"/>
                  </a:lnTo>
                  <a:lnTo>
                    <a:pt x="18" y="510"/>
                  </a:lnTo>
                  <a:lnTo>
                    <a:pt x="30" y="522"/>
                  </a:lnTo>
                  <a:lnTo>
                    <a:pt x="42" y="528"/>
                  </a:lnTo>
                  <a:lnTo>
                    <a:pt x="54" y="534"/>
                  </a:lnTo>
                  <a:lnTo>
                    <a:pt x="66" y="534"/>
                  </a:lnTo>
                  <a:lnTo>
                    <a:pt x="72" y="546"/>
                  </a:lnTo>
                  <a:lnTo>
                    <a:pt x="84" y="546"/>
                  </a:lnTo>
                  <a:lnTo>
                    <a:pt x="96" y="552"/>
                  </a:lnTo>
                  <a:lnTo>
                    <a:pt x="108" y="546"/>
                  </a:lnTo>
                  <a:lnTo>
                    <a:pt x="114" y="540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90" y="504"/>
                  </a:lnTo>
                  <a:lnTo>
                    <a:pt x="84" y="498"/>
                  </a:lnTo>
                  <a:lnTo>
                    <a:pt x="84" y="492"/>
                  </a:lnTo>
                  <a:lnTo>
                    <a:pt x="84" y="456"/>
                  </a:lnTo>
                  <a:lnTo>
                    <a:pt x="114" y="444"/>
                  </a:lnTo>
                  <a:lnTo>
                    <a:pt x="114" y="438"/>
                  </a:lnTo>
                  <a:lnTo>
                    <a:pt x="120" y="420"/>
                  </a:lnTo>
                  <a:lnTo>
                    <a:pt x="126" y="402"/>
                  </a:lnTo>
                  <a:lnTo>
                    <a:pt x="126" y="390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14" y="336"/>
                  </a:lnTo>
                  <a:lnTo>
                    <a:pt x="108" y="324"/>
                  </a:lnTo>
                  <a:lnTo>
                    <a:pt x="108" y="306"/>
                  </a:lnTo>
                  <a:lnTo>
                    <a:pt x="114" y="300"/>
                  </a:lnTo>
                  <a:lnTo>
                    <a:pt x="114" y="294"/>
                  </a:lnTo>
                  <a:lnTo>
                    <a:pt x="132" y="258"/>
                  </a:lnTo>
                  <a:lnTo>
                    <a:pt x="132" y="234"/>
                  </a:lnTo>
                  <a:lnTo>
                    <a:pt x="126" y="168"/>
                  </a:lnTo>
                  <a:lnTo>
                    <a:pt x="120" y="150"/>
                  </a:lnTo>
                  <a:lnTo>
                    <a:pt x="114" y="138"/>
                  </a:lnTo>
                  <a:lnTo>
                    <a:pt x="108" y="126"/>
                  </a:lnTo>
                  <a:lnTo>
                    <a:pt x="108" y="120"/>
                  </a:lnTo>
                  <a:lnTo>
                    <a:pt x="108" y="114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20" y="96"/>
                  </a:lnTo>
                  <a:lnTo>
                    <a:pt x="132" y="102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56" y="90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96"/>
                  </a:lnTo>
                  <a:lnTo>
                    <a:pt x="186" y="96"/>
                  </a:lnTo>
                  <a:lnTo>
                    <a:pt x="192" y="114"/>
                  </a:lnTo>
                  <a:lnTo>
                    <a:pt x="204" y="132"/>
                  </a:lnTo>
                  <a:lnTo>
                    <a:pt x="216" y="144"/>
                  </a:lnTo>
                  <a:lnTo>
                    <a:pt x="240" y="162"/>
                  </a:lnTo>
                  <a:lnTo>
                    <a:pt x="270" y="156"/>
                  </a:lnTo>
                  <a:lnTo>
                    <a:pt x="282" y="126"/>
                  </a:lnTo>
                  <a:lnTo>
                    <a:pt x="282" y="96"/>
                  </a:lnTo>
                  <a:lnTo>
                    <a:pt x="294" y="54"/>
                  </a:lnTo>
                  <a:lnTo>
                    <a:pt x="324" y="48"/>
                  </a:lnTo>
                  <a:lnTo>
                    <a:pt x="342" y="48"/>
                  </a:lnTo>
                  <a:lnTo>
                    <a:pt x="384" y="48"/>
                  </a:lnTo>
                  <a:lnTo>
                    <a:pt x="390" y="30"/>
                  </a:lnTo>
                  <a:lnTo>
                    <a:pt x="402" y="18"/>
                  </a:lnTo>
                  <a:lnTo>
                    <a:pt x="438" y="6"/>
                  </a:lnTo>
                  <a:lnTo>
                    <a:pt x="438" y="0"/>
                  </a:lnTo>
                  <a:lnTo>
                    <a:pt x="444" y="0"/>
                  </a:lnTo>
                  <a:lnTo>
                    <a:pt x="444" y="6"/>
                  </a:lnTo>
                  <a:lnTo>
                    <a:pt x="450" y="6"/>
                  </a:lnTo>
                  <a:lnTo>
                    <a:pt x="456" y="12"/>
                  </a:lnTo>
                  <a:lnTo>
                    <a:pt x="456" y="18"/>
                  </a:lnTo>
                  <a:lnTo>
                    <a:pt x="462" y="24"/>
                  </a:lnTo>
                  <a:lnTo>
                    <a:pt x="462" y="30"/>
                  </a:lnTo>
                  <a:lnTo>
                    <a:pt x="468" y="36"/>
                  </a:lnTo>
                  <a:lnTo>
                    <a:pt x="462" y="36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74" y="60"/>
                  </a:lnTo>
                  <a:lnTo>
                    <a:pt x="486" y="78"/>
                  </a:lnTo>
                  <a:lnTo>
                    <a:pt x="486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8" y="102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498" y="114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504" y="126"/>
                  </a:lnTo>
                  <a:lnTo>
                    <a:pt x="498" y="132"/>
                  </a:lnTo>
                  <a:lnTo>
                    <a:pt x="504" y="138"/>
                  </a:lnTo>
                  <a:lnTo>
                    <a:pt x="504" y="132"/>
                  </a:lnTo>
                  <a:lnTo>
                    <a:pt x="510" y="132"/>
                  </a:lnTo>
                  <a:lnTo>
                    <a:pt x="510" y="138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56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6" y="168"/>
                  </a:lnTo>
                  <a:lnTo>
                    <a:pt x="552" y="168"/>
                  </a:lnTo>
                  <a:lnTo>
                    <a:pt x="546" y="168"/>
                  </a:lnTo>
                  <a:lnTo>
                    <a:pt x="546" y="174"/>
                  </a:lnTo>
                  <a:lnTo>
                    <a:pt x="558" y="180"/>
                  </a:lnTo>
                  <a:lnTo>
                    <a:pt x="564" y="180"/>
                  </a:lnTo>
                  <a:lnTo>
                    <a:pt x="564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52" y="198"/>
                  </a:lnTo>
                  <a:lnTo>
                    <a:pt x="558" y="204"/>
                  </a:lnTo>
                  <a:lnTo>
                    <a:pt x="564" y="204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22"/>
                  </a:lnTo>
                  <a:lnTo>
                    <a:pt x="576" y="228"/>
                  </a:lnTo>
                  <a:lnTo>
                    <a:pt x="570" y="228"/>
                  </a:lnTo>
                  <a:lnTo>
                    <a:pt x="570" y="234"/>
                  </a:lnTo>
                  <a:lnTo>
                    <a:pt x="576" y="234"/>
                  </a:lnTo>
                  <a:lnTo>
                    <a:pt x="582" y="234"/>
                  </a:lnTo>
                  <a:lnTo>
                    <a:pt x="588" y="234"/>
                  </a:lnTo>
                  <a:lnTo>
                    <a:pt x="588" y="240"/>
                  </a:lnTo>
                  <a:lnTo>
                    <a:pt x="588" y="246"/>
                  </a:lnTo>
                  <a:lnTo>
                    <a:pt x="588" y="252"/>
                  </a:lnTo>
                  <a:lnTo>
                    <a:pt x="582" y="252"/>
                  </a:lnTo>
                  <a:lnTo>
                    <a:pt x="576" y="252"/>
                  </a:lnTo>
                  <a:lnTo>
                    <a:pt x="582" y="258"/>
                  </a:lnTo>
                  <a:lnTo>
                    <a:pt x="582" y="264"/>
                  </a:lnTo>
                  <a:lnTo>
                    <a:pt x="576" y="264"/>
                  </a:lnTo>
                  <a:lnTo>
                    <a:pt x="546" y="264"/>
                  </a:lnTo>
                  <a:lnTo>
                    <a:pt x="546" y="276"/>
                  </a:lnTo>
                  <a:lnTo>
                    <a:pt x="540" y="282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40" y="324"/>
                  </a:lnTo>
                  <a:lnTo>
                    <a:pt x="552" y="330"/>
                  </a:lnTo>
                  <a:lnTo>
                    <a:pt x="558" y="342"/>
                  </a:lnTo>
                  <a:lnTo>
                    <a:pt x="546" y="372"/>
                  </a:lnTo>
                  <a:lnTo>
                    <a:pt x="534" y="372"/>
                  </a:lnTo>
                  <a:lnTo>
                    <a:pt x="534" y="384"/>
                  </a:lnTo>
                  <a:lnTo>
                    <a:pt x="522" y="384"/>
                  </a:lnTo>
                  <a:lnTo>
                    <a:pt x="510" y="402"/>
                  </a:lnTo>
                  <a:lnTo>
                    <a:pt x="504" y="420"/>
                  </a:lnTo>
                  <a:lnTo>
                    <a:pt x="492" y="426"/>
                  </a:lnTo>
                  <a:lnTo>
                    <a:pt x="486" y="432"/>
                  </a:lnTo>
                  <a:lnTo>
                    <a:pt x="486" y="444"/>
                  </a:lnTo>
                  <a:lnTo>
                    <a:pt x="486" y="450"/>
                  </a:lnTo>
                  <a:lnTo>
                    <a:pt x="486" y="456"/>
                  </a:lnTo>
                  <a:lnTo>
                    <a:pt x="486" y="462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80" y="474"/>
                  </a:lnTo>
                  <a:lnTo>
                    <a:pt x="480" y="480"/>
                  </a:lnTo>
                  <a:lnTo>
                    <a:pt x="480" y="486"/>
                  </a:lnTo>
                  <a:lnTo>
                    <a:pt x="480" y="492"/>
                  </a:lnTo>
                  <a:lnTo>
                    <a:pt x="480" y="498"/>
                  </a:lnTo>
                  <a:lnTo>
                    <a:pt x="474" y="504"/>
                  </a:lnTo>
                  <a:lnTo>
                    <a:pt x="468" y="510"/>
                  </a:lnTo>
                  <a:lnTo>
                    <a:pt x="462" y="510"/>
                  </a:lnTo>
                  <a:lnTo>
                    <a:pt x="456" y="504"/>
                  </a:lnTo>
                  <a:lnTo>
                    <a:pt x="456" y="498"/>
                  </a:lnTo>
                  <a:lnTo>
                    <a:pt x="450" y="498"/>
                  </a:lnTo>
                  <a:lnTo>
                    <a:pt x="444" y="498"/>
                  </a:lnTo>
                  <a:lnTo>
                    <a:pt x="438" y="498"/>
                  </a:lnTo>
                  <a:lnTo>
                    <a:pt x="432" y="498"/>
                  </a:lnTo>
                  <a:lnTo>
                    <a:pt x="426" y="504"/>
                  </a:lnTo>
                  <a:lnTo>
                    <a:pt x="426" y="510"/>
                  </a:lnTo>
                  <a:lnTo>
                    <a:pt x="420" y="516"/>
                  </a:lnTo>
                  <a:lnTo>
                    <a:pt x="414" y="522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84" y="528"/>
                  </a:lnTo>
                  <a:lnTo>
                    <a:pt x="366" y="540"/>
                  </a:lnTo>
                  <a:lnTo>
                    <a:pt x="360" y="522"/>
                  </a:lnTo>
                  <a:lnTo>
                    <a:pt x="348" y="504"/>
                  </a:lnTo>
                  <a:lnTo>
                    <a:pt x="330" y="504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34"/>
                  </a:lnTo>
                  <a:lnTo>
                    <a:pt x="288" y="540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2" y="540"/>
                  </a:lnTo>
                  <a:lnTo>
                    <a:pt x="282" y="546"/>
                  </a:lnTo>
                  <a:lnTo>
                    <a:pt x="288" y="552"/>
                  </a:lnTo>
                  <a:lnTo>
                    <a:pt x="294" y="564"/>
                  </a:lnTo>
                  <a:lnTo>
                    <a:pt x="300" y="564"/>
                  </a:lnTo>
                  <a:lnTo>
                    <a:pt x="300" y="570"/>
                  </a:lnTo>
                  <a:lnTo>
                    <a:pt x="294" y="570"/>
                  </a:lnTo>
                  <a:lnTo>
                    <a:pt x="288" y="570"/>
                  </a:lnTo>
                  <a:lnTo>
                    <a:pt x="288" y="576"/>
                  </a:lnTo>
                  <a:lnTo>
                    <a:pt x="288" y="582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606"/>
                  </a:lnTo>
                  <a:lnTo>
                    <a:pt x="264" y="612"/>
                  </a:lnTo>
                  <a:lnTo>
                    <a:pt x="258" y="612"/>
                  </a:lnTo>
                  <a:lnTo>
                    <a:pt x="252" y="612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52" y="630"/>
                  </a:lnTo>
                  <a:lnTo>
                    <a:pt x="264" y="642"/>
                  </a:lnTo>
                  <a:lnTo>
                    <a:pt x="258" y="648"/>
                  </a:lnTo>
                  <a:lnTo>
                    <a:pt x="246" y="654"/>
                  </a:lnTo>
                  <a:lnTo>
                    <a:pt x="240" y="660"/>
                  </a:lnTo>
                  <a:lnTo>
                    <a:pt x="234" y="672"/>
                  </a:lnTo>
                  <a:lnTo>
                    <a:pt x="234" y="678"/>
                  </a:lnTo>
                  <a:lnTo>
                    <a:pt x="228" y="684"/>
                  </a:lnTo>
                  <a:lnTo>
                    <a:pt x="228" y="696"/>
                  </a:lnTo>
                  <a:lnTo>
                    <a:pt x="216" y="71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6" name="Freeform 21">
              <a:extLst>
                <a:ext uri="{FF2B5EF4-FFF2-40B4-BE49-F238E27FC236}">
                  <a16:creationId xmlns:a16="http://schemas.microsoft.com/office/drawing/2014/main" id="{DCB1E808-522D-4C19-B741-CC5DD56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4178" y="3866464"/>
              <a:ext cx="250453" cy="371259"/>
            </a:xfrm>
            <a:custGeom>
              <a:avLst/>
              <a:gdLst>
                <a:gd name="T0" fmla="*/ 0 w 468"/>
                <a:gd name="T1" fmla="*/ 61 h 696"/>
                <a:gd name="T2" fmla="*/ 1 w 468"/>
                <a:gd name="T3" fmla="*/ 58 h 696"/>
                <a:gd name="T4" fmla="*/ 2 w 468"/>
                <a:gd name="T5" fmla="*/ 54 h 696"/>
                <a:gd name="T6" fmla="*/ 3 w 468"/>
                <a:gd name="T7" fmla="*/ 51 h 696"/>
                <a:gd name="T8" fmla="*/ 4 w 468"/>
                <a:gd name="T9" fmla="*/ 48 h 696"/>
                <a:gd name="T10" fmla="*/ 6 w 468"/>
                <a:gd name="T11" fmla="*/ 44 h 696"/>
                <a:gd name="T12" fmla="*/ 5 w 468"/>
                <a:gd name="T13" fmla="*/ 41 h 696"/>
                <a:gd name="T14" fmla="*/ 7 w 468"/>
                <a:gd name="T15" fmla="*/ 38 h 696"/>
                <a:gd name="T16" fmla="*/ 8 w 468"/>
                <a:gd name="T17" fmla="*/ 36 h 696"/>
                <a:gd name="T18" fmla="*/ 7 w 468"/>
                <a:gd name="T19" fmla="*/ 33 h 696"/>
                <a:gd name="T20" fmla="*/ 6 w 468"/>
                <a:gd name="T21" fmla="*/ 29 h 696"/>
                <a:gd name="T22" fmla="*/ 4 w 468"/>
                <a:gd name="T23" fmla="*/ 22 h 696"/>
                <a:gd name="T24" fmla="*/ 2 w 468"/>
                <a:gd name="T25" fmla="*/ 14 h 696"/>
                <a:gd name="T26" fmla="*/ 12 w 468"/>
                <a:gd name="T27" fmla="*/ 11 h 696"/>
                <a:gd name="T28" fmla="*/ 14 w 468"/>
                <a:gd name="T29" fmla="*/ 2 h 696"/>
                <a:gd name="T30" fmla="*/ 16 w 468"/>
                <a:gd name="T31" fmla="*/ 0 h 696"/>
                <a:gd name="T32" fmla="*/ 17 w 468"/>
                <a:gd name="T33" fmla="*/ 0 h 696"/>
                <a:gd name="T34" fmla="*/ 18 w 468"/>
                <a:gd name="T35" fmla="*/ 1 h 696"/>
                <a:gd name="T36" fmla="*/ 17 w 468"/>
                <a:gd name="T37" fmla="*/ 2 h 696"/>
                <a:gd name="T38" fmla="*/ 17 w 468"/>
                <a:gd name="T39" fmla="*/ 4 h 696"/>
                <a:gd name="T40" fmla="*/ 17 w 468"/>
                <a:gd name="T41" fmla="*/ 6 h 696"/>
                <a:gd name="T42" fmla="*/ 20 w 468"/>
                <a:gd name="T43" fmla="*/ 6 h 696"/>
                <a:gd name="T44" fmla="*/ 22 w 468"/>
                <a:gd name="T45" fmla="*/ 5 h 696"/>
                <a:gd name="T46" fmla="*/ 24 w 468"/>
                <a:gd name="T47" fmla="*/ 7 h 696"/>
                <a:gd name="T48" fmla="*/ 28 w 468"/>
                <a:gd name="T49" fmla="*/ 7 h 696"/>
                <a:gd name="T50" fmla="*/ 28 w 468"/>
                <a:gd name="T51" fmla="*/ 11 h 696"/>
                <a:gd name="T52" fmla="*/ 25 w 468"/>
                <a:gd name="T53" fmla="*/ 14 h 696"/>
                <a:gd name="T54" fmla="*/ 23 w 468"/>
                <a:gd name="T55" fmla="*/ 15 h 696"/>
                <a:gd name="T56" fmla="*/ 23 w 468"/>
                <a:gd name="T57" fmla="*/ 19 h 696"/>
                <a:gd name="T58" fmla="*/ 23 w 468"/>
                <a:gd name="T59" fmla="*/ 21 h 696"/>
                <a:gd name="T60" fmla="*/ 24 w 468"/>
                <a:gd name="T61" fmla="*/ 21 h 696"/>
                <a:gd name="T62" fmla="*/ 27 w 468"/>
                <a:gd name="T63" fmla="*/ 23 h 696"/>
                <a:gd name="T64" fmla="*/ 29 w 468"/>
                <a:gd name="T65" fmla="*/ 24 h 696"/>
                <a:gd name="T66" fmla="*/ 29 w 468"/>
                <a:gd name="T67" fmla="*/ 28 h 696"/>
                <a:gd name="T68" fmla="*/ 29 w 468"/>
                <a:gd name="T69" fmla="*/ 29 h 696"/>
                <a:gd name="T70" fmla="*/ 29 w 468"/>
                <a:gd name="T71" fmla="*/ 32 h 696"/>
                <a:gd name="T72" fmla="*/ 32 w 468"/>
                <a:gd name="T73" fmla="*/ 32 h 696"/>
                <a:gd name="T74" fmla="*/ 33 w 468"/>
                <a:gd name="T75" fmla="*/ 35 h 696"/>
                <a:gd name="T76" fmla="*/ 34 w 468"/>
                <a:gd name="T77" fmla="*/ 38 h 696"/>
                <a:gd name="T78" fmla="*/ 35 w 468"/>
                <a:gd name="T79" fmla="*/ 39 h 696"/>
                <a:gd name="T80" fmla="*/ 36 w 468"/>
                <a:gd name="T81" fmla="*/ 40 h 696"/>
                <a:gd name="T82" fmla="*/ 37 w 468"/>
                <a:gd name="T83" fmla="*/ 41 h 696"/>
                <a:gd name="T84" fmla="*/ 38 w 468"/>
                <a:gd name="T85" fmla="*/ 42 h 696"/>
                <a:gd name="T86" fmla="*/ 41 w 468"/>
                <a:gd name="T87" fmla="*/ 44 h 696"/>
                <a:gd name="T88" fmla="*/ 40 w 468"/>
                <a:gd name="T89" fmla="*/ 44 h 696"/>
                <a:gd name="T90" fmla="*/ 37 w 468"/>
                <a:gd name="T91" fmla="*/ 45 h 696"/>
                <a:gd name="T92" fmla="*/ 36 w 468"/>
                <a:gd name="T93" fmla="*/ 48 h 696"/>
                <a:gd name="T94" fmla="*/ 34 w 468"/>
                <a:gd name="T95" fmla="*/ 49 h 696"/>
                <a:gd name="T96" fmla="*/ 32 w 468"/>
                <a:gd name="T97" fmla="*/ 51 h 696"/>
                <a:gd name="T98" fmla="*/ 31 w 468"/>
                <a:gd name="T99" fmla="*/ 51 h 696"/>
                <a:gd name="T100" fmla="*/ 26 w 468"/>
                <a:gd name="T101" fmla="*/ 49 h 696"/>
                <a:gd name="T102" fmla="*/ 23 w 468"/>
                <a:gd name="T103" fmla="*/ 51 h 696"/>
                <a:gd name="T104" fmla="*/ 21 w 468"/>
                <a:gd name="T105" fmla="*/ 51 h 696"/>
                <a:gd name="T106" fmla="*/ 20 w 468"/>
                <a:gd name="T107" fmla="*/ 52 h 696"/>
                <a:gd name="T108" fmla="*/ 17 w 468"/>
                <a:gd name="T109" fmla="*/ 55 h 696"/>
                <a:gd name="T110" fmla="*/ 15 w 468"/>
                <a:gd name="T111" fmla="*/ 56 h 696"/>
                <a:gd name="T112" fmla="*/ 15 w 468"/>
                <a:gd name="T113" fmla="*/ 59 h 696"/>
                <a:gd name="T114" fmla="*/ 14 w 468"/>
                <a:gd name="T115" fmla="*/ 59 h 696"/>
                <a:gd name="T116" fmla="*/ 12 w 468"/>
                <a:gd name="T117" fmla="*/ 59 h 696"/>
                <a:gd name="T118" fmla="*/ 11 w 468"/>
                <a:gd name="T119" fmla="*/ 57 h 696"/>
                <a:gd name="T120" fmla="*/ 9 w 468"/>
                <a:gd name="T121" fmla="*/ 57 h 696"/>
                <a:gd name="T122" fmla="*/ 6 w 468"/>
                <a:gd name="T123" fmla="*/ 58 h 696"/>
                <a:gd name="T124" fmla="*/ 4 w 468"/>
                <a:gd name="T125" fmla="*/ 60 h 69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8"/>
                <a:gd name="T190" fmla="*/ 0 h 696"/>
                <a:gd name="T191" fmla="*/ 468 w 468"/>
                <a:gd name="T192" fmla="*/ 696 h 69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8" h="696">
                  <a:moveTo>
                    <a:pt x="30" y="696"/>
                  </a:moveTo>
                  <a:lnTo>
                    <a:pt x="18" y="696"/>
                  </a:lnTo>
                  <a:lnTo>
                    <a:pt x="6" y="696"/>
                  </a:lnTo>
                  <a:lnTo>
                    <a:pt x="0" y="690"/>
                  </a:lnTo>
                  <a:lnTo>
                    <a:pt x="6" y="678"/>
                  </a:lnTo>
                  <a:lnTo>
                    <a:pt x="12" y="666"/>
                  </a:lnTo>
                  <a:lnTo>
                    <a:pt x="18" y="654"/>
                  </a:lnTo>
                  <a:lnTo>
                    <a:pt x="18" y="642"/>
                  </a:lnTo>
                  <a:lnTo>
                    <a:pt x="18" y="618"/>
                  </a:lnTo>
                  <a:lnTo>
                    <a:pt x="24" y="606"/>
                  </a:lnTo>
                  <a:lnTo>
                    <a:pt x="30" y="594"/>
                  </a:lnTo>
                  <a:lnTo>
                    <a:pt x="30" y="582"/>
                  </a:lnTo>
                  <a:lnTo>
                    <a:pt x="36" y="576"/>
                  </a:lnTo>
                  <a:lnTo>
                    <a:pt x="42" y="564"/>
                  </a:lnTo>
                  <a:lnTo>
                    <a:pt x="48" y="546"/>
                  </a:lnTo>
                  <a:lnTo>
                    <a:pt x="48" y="528"/>
                  </a:lnTo>
                  <a:lnTo>
                    <a:pt x="60" y="516"/>
                  </a:lnTo>
                  <a:lnTo>
                    <a:pt x="66" y="504"/>
                  </a:lnTo>
                  <a:lnTo>
                    <a:pt x="66" y="492"/>
                  </a:lnTo>
                  <a:lnTo>
                    <a:pt x="60" y="480"/>
                  </a:lnTo>
                  <a:lnTo>
                    <a:pt x="54" y="468"/>
                  </a:lnTo>
                  <a:lnTo>
                    <a:pt x="60" y="456"/>
                  </a:lnTo>
                  <a:lnTo>
                    <a:pt x="72" y="450"/>
                  </a:lnTo>
                  <a:lnTo>
                    <a:pt x="84" y="438"/>
                  </a:lnTo>
                  <a:lnTo>
                    <a:pt x="90" y="426"/>
                  </a:lnTo>
                  <a:lnTo>
                    <a:pt x="90" y="420"/>
                  </a:lnTo>
                  <a:lnTo>
                    <a:pt x="90" y="408"/>
                  </a:lnTo>
                  <a:lnTo>
                    <a:pt x="90" y="402"/>
                  </a:lnTo>
                  <a:lnTo>
                    <a:pt x="84" y="396"/>
                  </a:lnTo>
                  <a:lnTo>
                    <a:pt x="78" y="378"/>
                  </a:lnTo>
                  <a:lnTo>
                    <a:pt x="72" y="360"/>
                  </a:lnTo>
                  <a:lnTo>
                    <a:pt x="66" y="348"/>
                  </a:lnTo>
                  <a:lnTo>
                    <a:pt x="72" y="336"/>
                  </a:lnTo>
                  <a:lnTo>
                    <a:pt x="66" y="306"/>
                  </a:lnTo>
                  <a:lnTo>
                    <a:pt x="54" y="276"/>
                  </a:lnTo>
                  <a:lnTo>
                    <a:pt x="42" y="252"/>
                  </a:lnTo>
                  <a:lnTo>
                    <a:pt x="36" y="222"/>
                  </a:lnTo>
                  <a:lnTo>
                    <a:pt x="30" y="192"/>
                  </a:lnTo>
                  <a:lnTo>
                    <a:pt x="24" y="162"/>
                  </a:lnTo>
                  <a:lnTo>
                    <a:pt x="42" y="174"/>
                  </a:lnTo>
                  <a:lnTo>
                    <a:pt x="120" y="138"/>
                  </a:lnTo>
                  <a:lnTo>
                    <a:pt x="132" y="126"/>
                  </a:lnTo>
                  <a:lnTo>
                    <a:pt x="120" y="54"/>
                  </a:lnTo>
                  <a:lnTo>
                    <a:pt x="156" y="30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0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8" y="18"/>
                  </a:lnTo>
                  <a:lnTo>
                    <a:pt x="198" y="24"/>
                  </a:lnTo>
                  <a:lnTo>
                    <a:pt x="198" y="30"/>
                  </a:lnTo>
                  <a:lnTo>
                    <a:pt x="198" y="42"/>
                  </a:lnTo>
                  <a:lnTo>
                    <a:pt x="198" y="48"/>
                  </a:lnTo>
                  <a:lnTo>
                    <a:pt x="192" y="60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28" y="60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34" y="60"/>
                  </a:lnTo>
                  <a:lnTo>
                    <a:pt x="252" y="60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312" y="84"/>
                  </a:lnTo>
                  <a:lnTo>
                    <a:pt x="318" y="96"/>
                  </a:lnTo>
                  <a:lnTo>
                    <a:pt x="318" y="102"/>
                  </a:lnTo>
                  <a:lnTo>
                    <a:pt x="312" y="120"/>
                  </a:lnTo>
                  <a:lnTo>
                    <a:pt x="306" y="132"/>
                  </a:lnTo>
                  <a:lnTo>
                    <a:pt x="294" y="144"/>
                  </a:lnTo>
                  <a:lnTo>
                    <a:pt x="282" y="156"/>
                  </a:lnTo>
                  <a:lnTo>
                    <a:pt x="276" y="162"/>
                  </a:lnTo>
                  <a:lnTo>
                    <a:pt x="270" y="162"/>
                  </a:lnTo>
                  <a:lnTo>
                    <a:pt x="264" y="174"/>
                  </a:lnTo>
                  <a:lnTo>
                    <a:pt x="264" y="192"/>
                  </a:lnTo>
                  <a:lnTo>
                    <a:pt x="264" y="216"/>
                  </a:lnTo>
                  <a:lnTo>
                    <a:pt x="258" y="216"/>
                  </a:lnTo>
                  <a:lnTo>
                    <a:pt x="258" y="228"/>
                  </a:lnTo>
                  <a:lnTo>
                    <a:pt x="252" y="234"/>
                  </a:lnTo>
                  <a:lnTo>
                    <a:pt x="258" y="240"/>
                  </a:lnTo>
                  <a:lnTo>
                    <a:pt x="264" y="240"/>
                  </a:lnTo>
                  <a:lnTo>
                    <a:pt x="270" y="240"/>
                  </a:lnTo>
                  <a:lnTo>
                    <a:pt x="276" y="240"/>
                  </a:lnTo>
                  <a:lnTo>
                    <a:pt x="288" y="240"/>
                  </a:lnTo>
                  <a:lnTo>
                    <a:pt x="300" y="246"/>
                  </a:lnTo>
                  <a:lnTo>
                    <a:pt x="306" y="258"/>
                  </a:lnTo>
                  <a:lnTo>
                    <a:pt x="312" y="264"/>
                  </a:lnTo>
                  <a:lnTo>
                    <a:pt x="318" y="276"/>
                  </a:lnTo>
                  <a:lnTo>
                    <a:pt x="330" y="282"/>
                  </a:lnTo>
                  <a:lnTo>
                    <a:pt x="330" y="300"/>
                  </a:lnTo>
                  <a:lnTo>
                    <a:pt x="336" y="312"/>
                  </a:lnTo>
                  <a:lnTo>
                    <a:pt x="336" y="318"/>
                  </a:lnTo>
                  <a:lnTo>
                    <a:pt x="336" y="330"/>
                  </a:lnTo>
                  <a:lnTo>
                    <a:pt x="324" y="330"/>
                  </a:lnTo>
                  <a:lnTo>
                    <a:pt x="330" y="336"/>
                  </a:lnTo>
                  <a:lnTo>
                    <a:pt x="330" y="342"/>
                  </a:lnTo>
                  <a:lnTo>
                    <a:pt x="336" y="348"/>
                  </a:lnTo>
                  <a:lnTo>
                    <a:pt x="330" y="360"/>
                  </a:lnTo>
                  <a:lnTo>
                    <a:pt x="336" y="372"/>
                  </a:lnTo>
                  <a:lnTo>
                    <a:pt x="354" y="366"/>
                  </a:lnTo>
                  <a:lnTo>
                    <a:pt x="366" y="366"/>
                  </a:lnTo>
                  <a:lnTo>
                    <a:pt x="372" y="378"/>
                  </a:lnTo>
                  <a:lnTo>
                    <a:pt x="372" y="390"/>
                  </a:lnTo>
                  <a:lnTo>
                    <a:pt x="378" y="396"/>
                  </a:lnTo>
                  <a:lnTo>
                    <a:pt x="378" y="408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44"/>
                  </a:lnTo>
                  <a:lnTo>
                    <a:pt x="390" y="444"/>
                  </a:lnTo>
                  <a:lnTo>
                    <a:pt x="396" y="444"/>
                  </a:lnTo>
                  <a:lnTo>
                    <a:pt x="402" y="450"/>
                  </a:lnTo>
                  <a:lnTo>
                    <a:pt x="408" y="450"/>
                  </a:lnTo>
                  <a:lnTo>
                    <a:pt x="408" y="462"/>
                  </a:lnTo>
                  <a:lnTo>
                    <a:pt x="408" y="468"/>
                  </a:lnTo>
                  <a:lnTo>
                    <a:pt x="414" y="474"/>
                  </a:lnTo>
                  <a:lnTo>
                    <a:pt x="420" y="474"/>
                  </a:lnTo>
                  <a:lnTo>
                    <a:pt x="420" y="480"/>
                  </a:lnTo>
                  <a:lnTo>
                    <a:pt x="426" y="480"/>
                  </a:lnTo>
                  <a:lnTo>
                    <a:pt x="432" y="480"/>
                  </a:lnTo>
                  <a:lnTo>
                    <a:pt x="462" y="486"/>
                  </a:lnTo>
                  <a:lnTo>
                    <a:pt x="468" y="492"/>
                  </a:lnTo>
                  <a:lnTo>
                    <a:pt x="468" y="498"/>
                  </a:lnTo>
                  <a:lnTo>
                    <a:pt x="462" y="498"/>
                  </a:lnTo>
                  <a:lnTo>
                    <a:pt x="456" y="498"/>
                  </a:lnTo>
                  <a:lnTo>
                    <a:pt x="456" y="504"/>
                  </a:lnTo>
                  <a:lnTo>
                    <a:pt x="456" y="510"/>
                  </a:lnTo>
                  <a:lnTo>
                    <a:pt x="450" y="516"/>
                  </a:lnTo>
                  <a:lnTo>
                    <a:pt x="426" y="516"/>
                  </a:lnTo>
                  <a:lnTo>
                    <a:pt x="408" y="528"/>
                  </a:lnTo>
                  <a:lnTo>
                    <a:pt x="408" y="546"/>
                  </a:lnTo>
                  <a:lnTo>
                    <a:pt x="414" y="552"/>
                  </a:lnTo>
                  <a:lnTo>
                    <a:pt x="408" y="558"/>
                  </a:lnTo>
                  <a:lnTo>
                    <a:pt x="402" y="564"/>
                  </a:lnTo>
                  <a:lnTo>
                    <a:pt x="384" y="564"/>
                  </a:lnTo>
                  <a:lnTo>
                    <a:pt x="372" y="564"/>
                  </a:lnTo>
                  <a:lnTo>
                    <a:pt x="372" y="576"/>
                  </a:lnTo>
                  <a:lnTo>
                    <a:pt x="366" y="576"/>
                  </a:lnTo>
                  <a:lnTo>
                    <a:pt x="366" y="582"/>
                  </a:lnTo>
                  <a:lnTo>
                    <a:pt x="360" y="582"/>
                  </a:lnTo>
                  <a:lnTo>
                    <a:pt x="348" y="576"/>
                  </a:lnTo>
                  <a:lnTo>
                    <a:pt x="336" y="570"/>
                  </a:lnTo>
                  <a:lnTo>
                    <a:pt x="324" y="570"/>
                  </a:lnTo>
                  <a:lnTo>
                    <a:pt x="300" y="564"/>
                  </a:lnTo>
                  <a:lnTo>
                    <a:pt x="282" y="564"/>
                  </a:lnTo>
                  <a:lnTo>
                    <a:pt x="270" y="570"/>
                  </a:lnTo>
                  <a:lnTo>
                    <a:pt x="264" y="576"/>
                  </a:lnTo>
                  <a:lnTo>
                    <a:pt x="258" y="576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34" y="594"/>
                  </a:lnTo>
                  <a:lnTo>
                    <a:pt x="228" y="600"/>
                  </a:lnTo>
                  <a:lnTo>
                    <a:pt x="210" y="618"/>
                  </a:lnTo>
                  <a:lnTo>
                    <a:pt x="210" y="624"/>
                  </a:lnTo>
                  <a:lnTo>
                    <a:pt x="192" y="630"/>
                  </a:lnTo>
                  <a:lnTo>
                    <a:pt x="186" y="630"/>
                  </a:lnTo>
                  <a:lnTo>
                    <a:pt x="180" y="636"/>
                  </a:lnTo>
                  <a:lnTo>
                    <a:pt x="174" y="642"/>
                  </a:lnTo>
                  <a:lnTo>
                    <a:pt x="168" y="642"/>
                  </a:lnTo>
                  <a:lnTo>
                    <a:pt x="168" y="654"/>
                  </a:lnTo>
                  <a:lnTo>
                    <a:pt x="168" y="678"/>
                  </a:lnTo>
                  <a:lnTo>
                    <a:pt x="162" y="684"/>
                  </a:lnTo>
                  <a:lnTo>
                    <a:pt x="156" y="684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72"/>
                  </a:lnTo>
                  <a:lnTo>
                    <a:pt x="138" y="672"/>
                  </a:lnTo>
                  <a:lnTo>
                    <a:pt x="138" y="666"/>
                  </a:lnTo>
                  <a:lnTo>
                    <a:pt x="132" y="660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48"/>
                  </a:lnTo>
                  <a:lnTo>
                    <a:pt x="102" y="654"/>
                  </a:lnTo>
                  <a:lnTo>
                    <a:pt x="90" y="654"/>
                  </a:lnTo>
                  <a:lnTo>
                    <a:pt x="84" y="654"/>
                  </a:lnTo>
                  <a:lnTo>
                    <a:pt x="72" y="660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36" y="684"/>
                  </a:lnTo>
                  <a:lnTo>
                    <a:pt x="30" y="6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7" name="Freeform 22">
              <a:extLst>
                <a:ext uri="{FF2B5EF4-FFF2-40B4-BE49-F238E27FC236}">
                  <a16:creationId xmlns:a16="http://schemas.microsoft.com/office/drawing/2014/main" id="{2F7A477D-6CF8-44B3-8B32-64EE03DC4D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2895" y="3967106"/>
              <a:ext cx="610479" cy="507686"/>
            </a:xfrm>
            <a:custGeom>
              <a:avLst/>
              <a:gdLst>
                <a:gd name="T0" fmla="*/ 87 w 1146"/>
                <a:gd name="T1" fmla="*/ 56 h 954"/>
                <a:gd name="T2" fmla="*/ 83 w 1146"/>
                <a:gd name="T3" fmla="*/ 66 h 954"/>
                <a:gd name="T4" fmla="*/ 74 w 1146"/>
                <a:gd name="T5" fmla="*/ 69 h 954"/>
                <a:gd name="T6" fmla="*/ 67 w 1146"/>
                <a:gd name="T7" fmla="*/ 75 h 954"/>
                <a:gd name="T8" fmla="*/ 59 w 1146"/>
                <a:gd name="T9" fmla="*/ 78 h 954"/>
                <a:gd name="T10" fmla="*/ 52 w 1146"/>
                <a:gd name="T11" fmla="*/ 77 h 954"/>
                <a:gd name="T12" fmla="*/ 48 w 1146"/>
                <a:gd name="T13" fmla="*/ 79 h 954"/>
                <a:gd name="T14" fmla="*/ 41 w 1146"/>
                <a:gd name="T15" fmla="*/ 82 h 954"/>
                <a:gd name="T16" fmla="*/ 29 w 1146"/>
                <a:gd name="T17" fmla="*/ 78 h 954"/>
                <a:gd name="T18" fmla="*/ 28 w 1146"/>
                <a:gd name="T19" fmla="*/ 76 h 954"/>
                <a:gd name="T20" fmla="*/ 28 w 1146"/>
                <a:gd name="T21" fmla="*/ 72 h 954"/>
                <a:gd name="T22" fmla="*/ 28 w 1146"/>
                <a:gd name="T23" fmla="*/ 74 h 954"/>
                <a:gd name="T24" fmla="*/ 21 w 1146"/>
                <a:gd name="T25" fmla="*/ 74 h 954"/>
                <a:gd name="T26" fmla="*/ 20 w 1146"/>
                <a:gd name="T27" fmla="*/ 67 h 954"/>
                <a:gd name="T28" fmla="*/ 23 w 1146"/>
                <a:gd name="T29" fmla="*/ 64 h 954"/>
                <a:gd name="T30" fmla="*/ 28 w 1146"/>
                <a:gd name="T31" fmla="*/ 65 h 954"/>
                <a:gd name="T32" fmla="*/ 32 w 1146"/>
                <a:gd name="T33" fmla="*/ 62 h 954"/>
                <a:gd name="T34" fmla="*/ 31 w 1146"/>
                <a:gd name="T35" fmla="*/ 56 h 954"/>
                <a:gd name="T36" fmla="*/ 36 w 1146"/>
                <a:gd name="T37" fmla="*/ 54 h 954"/>
                <a:gd name="T38" fmla="*/ 38 w 1146"/>
                <a:gd name="T39" fmla="*/ 54 h 954"/>
                <a:gd name="T40" fmla="*/ 32 w 1146"/>
                <a:gd name="T41" fmla="*/ 54 h 954"/>
                <a:gd name="T42" fmla="*/ 29 w 1146"/>
                <a:gd name="T43" fmla="*/ 59 h 954"/>
                <a:gd name="T44" fmla="*/ 26 w 1146"/>
                <a:gd name="T45" fmla="*/ 59 h 954"/>
                <a:gd name="T46" fmla="*/ 25 w 1146"/>
                <a:gd name="T47" fmla="*/ 61 h 954"/>
                <a:gd name="T48" fmla="*/ 20 w 1146"/>
                <a:gd name="T49" fmla="*/ 61 h 954"/>
                <a:gd name="T50" fmla="*/ 11 w 1146"/>
                <a:gd name="T51" fmla="*/ 54 h 954"/>
                <a:gd name="T52" fmla="*/ 14 w 1146"/>
                <a:gd name="T53" fmla="*/ 50 h 954"/>
                <a:gd name="T54" fmla="*/ 21 w 1146"/>
                <a:gd name="T55" fmla="*/ 51 h 954"/>
                <a:gd name="T56" fmla="*/ 24 w 1146"/>
                <a:gd name="T57" fmla="*/ 50 h 954"/>
                <a:gd name="T58" fmla="*/ 28 w 1146"/>
                <a:gd name="T59" fmla="*/ 48 h 954"/>
                <a:gd name="T60" fmla="*/ 30 w 1146"/>
                <a:gd name="T61" fmla="*/ 49 h 954"/>
                <a:gd name="T62" fmla="*/ 26 w 1146"/>
                <a:gd name="T63" fmla="*/ 47 h 954"/>
                <a:gd name="T64" fmla="*/ 20 w 1146"/>
                <a:gd name="T65" fmla="*/ 50 h 954"/>
                <a:gd name="T66" fmla="*/ 20 w 1146"/>
                <a:gd name="T67" fmla="*/ 44 h 954"/>
                <a:gd name="T68" fmla="*/ 19 w 1146"/>
                <a:gd name="T69" fmla="*/ 46 h 954"/>
                <a:gd name="T70" fmla="*/ 15 w 1146"/>
                <a:gd name="T71" fmla="*/ 49 h 954"/>
                <a:gd name="T72" fmla="*/ 8 w 1146"/>
                <a:gd name="T73" fmla="*/ 48 h 954"/>
                <a:gd name="T74" fmla="*/ 6 w 1146"/>
                <a:gd name="T75" fmla="*/ 41 h 954"/>
                <a:gd name="T76" fmla="*/ 10 w 1146"/>
                <a:gd name="T77" fmla="*/ 41 h 954"/>
                <a:gd name="T78" fmla="*/ 9 w 1146"/>
                <a:gd name="T79" fmla="*/ 39 h 954"/>
                <a:gd name="T80" fmla="*/ 14 w 1146"/>
                <a:gd name="T81" fmla="*/ 35 h 954"/>
                <a:gd name="T82" fmla="*/ 19 w 1146"/>
                <a:gd name="T83" fmla="*/ 32 h 954"/>
                <a:gd name="T84" fmla="*/ 20 w 1146"/>
                <a:gd name="T85" fmla="*/ 29 h 954"/>
                <a:gd name="T86" fmla="*/ 27 w 1146"/>
                <a:gd name="T87" fmla="*/ 27 h 954"/>
                <a:gd name="T88" fmla="*/ 33 w 1146"/>
                <a:gd name="T89" fmla="*/ 28 h 954"/>
                <a:gd name="T90" fmla="*/ 44 w 1146"/>
                <a:gd name="T91" fmla="*/ 27 h 954"/>
                <a:gd name="T92" fmla="*/ 52 w 1146"/>
                <a:gd name="T93" fmla="*/ 41 h 954"/>
                <a:gd name="T94" fmla="*/ 61 w 1146"/>
                <a:gd name="T95" fmla="*/ 40 h 954"/>
                <a:gd name="T96" fmla="*/ 69 w 1146"/>
                <a:gd name="T97" fmla="*/ 34 h 954"/>
                <a:gd name="T98" fmla="*/ 62 w 1146"/>
                <a:gd name="T99" fmla="*/ 12 h 954"/>
                <a:gd name="T100" fmla="*/ 74 w 1146"/>
                <a:gd name="T101" fmla="*/ 8 h 954"/>
                <a:gd name="T102" fmla="*/ 87 w 1146"/>
                <a:gd name="T103" fmla="*/ 1 h 954"/>
                <a:gd name="T104" fmla="*/ 99 w 1146"/>
                <a:gd name="T105" fmla="*/ 12 h 954"/>
                <a:gd name="T106" fmla="*/ 98 w 1146"/>
                <a:gd name="T107" fmla="*/ 27 h 954"/>
                <a:gd name="T108" fmla="*/ 16 w 1146"/>
                <a:gd name="T109" fmla="*/ 33 h 954"/>
                <a:gd name="T110" fmla="*/ 11 w 1146"/>
                <a:gd name="T111" fmla="*/ 36 h 954"/>
                <a:gd name="T112" fmla="*/ 5 w 1146"/>
                <a:gd name="T113" fmla="*/ 41 h 954"/>
                <a:gd name="T114" fmla="*/ 2 w 1146"/>
                <a:gd name="T115" fmla="*/ 36 h 954"/>
                <a:gd name="T116" fmla="*/ 5 w 1146"/>
                <a:gd name="T117" fmla="*/ 26 h 954"/>
                <a:gd name="T118" fmla="*/ 10 w 1146"/>
                <a:gd name="T119" fmla="*/ 20 h 954"/>
                <a:gd name="T120" fmla="*/ 13 w 1146"/>
                <a:gd name="T121" fmla="*/ 20 h 954"/>
                <a:gd name="T122" fmla="*/ 15 w 1146"/>
                <a:gd name="T123" fmla="*/ 27 h 95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46"/>
                <a:gd name="T187" fmla="*/ 0 h 954"/>
                <a:gd name="T188" fmla="*/ 1146 w 1146"/>
                <a:gd name="T189" fmla="*/ 954 h 95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46" h="954">
                  <a:moveTo>
                    <a:pt x="1056" y="498"/>
                  </a:moveTo>
                  <a:lnTo>
                    <a:pt x="1044" y="510"/>
                  </a:lnTo>
                  <a:lnTo>
                    <a:pt x="1032" y="516"/>
                  </a:lnTo>
                  <a:lnTo>
                    <a:pt x="1038" y="528"/>
                  </a:lnTo>
                  <a:lnTo>
                    <a:pt x="1050" y="540"/>
                  </a:lnTo>
                  <a:lnTo>
                    <a:pt x="1050" y="546"/>
                  </a:lnTo>
                  <a:lnTo>
                    <a:pt x="1050" y="564"/>
                  </a:lnTo>
                  <a:lnTo>
                    <a:pt x="1038" y="576"/>
                  </a:lnTo>
                  <a:lnTo>
                    <a:pt x="1032" y="588"/>
                  </a:lnTo>
                  <a:lnTo>
                    <a:pt x="1020" y="594"/>
                  </a:lnTo>
                  <a:lnTo>
                    <a:pt x="1008" y="594"/>
                  </a:lnTo>
                  <a:lnTo>
                    <a:pt x="1002" y="600"/>
                  </a:lnTo>
                  <a:lnTo>
                    <a:pt x="996" y="612"/>
                  </a:lnTo>
                  <a:lnTo>
                    <a:pt x="996" y="624"/>
                  </a:lnTo>
                  <a:lnTo>
                    <a:pt x="996" y="648"/>
                  </a:lnTo>
                  <a:lnTo>
                    <a:pt x="996" y="660"/>
                  </a:lnTo>
                  <a:lnTo>
                    <a:pt x="1002" y="672"/>
                  </a:lnTo>
                  <a:lnTo>
                    <a:pt x="1002" y="684"/>
                  </a:lnTo>
                  <a:lnTo>
                    <a:pt x="996" y="684"/>
                  </a:lnTo>
                  <a:lnTo>
                    <a:pt x="984" y="690"/>
                  </a:lnTo>
                  <a:lnTo>
                    <a:pt x="972" y="690"/>
                  </a:lnTo>
                  <a:lnTo>
                    <a:pt x="966" y="696"/>
                  </a:lnTo>
                  <a:lnTo>
                    <a:pt x="966" y="702"/>
                  </a:lnTo>
                  <a:lnTo>
                    <a:pt x="966" y="714"/>
                  </a:lnTo>
                  <a:lnTo>
                    <a:pt x="972" y="726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2" y="756"/>
                  </a:lnTo>
                  <a:lnTo>
                    <a:pt x="966" y="756"/>
                  </a:lnTo>
                  <a:lnTo>
                    <a:pt x="942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18" y="768"/>
                  </a:lnTo>
                  <a:lnTo>
                    <a:pt x="906" y="768"/>
                  </a:lnTo>
                  <a:lnTo>
                    <a:pt x="894" y="762"/>
                  </a:lnTo>
                  <a:lnTo>
                    <a:pt x="882" y="756"/>
                  </a:lnTo>
                  <a:lnTo>
                    <a:pt x="876" y="756"/>
                  </a:lnTo>
                  <a:lnTo>
                    <a:pt x="876" y="762"/>
                  </a:lnTo>
                  <a:lnTo>
                    <a:pt x="864" y="768"/>
                  </a:lnTo>
                  <a:lnTo>
                    <a:pt x="858" y="774"/>
                  </a:lnTo>
                  <a:lnTo>
                    <a:pt x="852" y="774"/>
                  </a:lnTo>
                  <a:lnTo>
                    <a:pt x="840" y="780"/>
                  </a:lnTo>
                  <a:lnTo>
                    <a:pt x="840" y="786"/>
                  </a:lnTo>
                  <a:lnTo>
                    <a:pt x="840" y="792"/>
                  </a:lnTo>
                  <a:lnTo>
                    <a:pt x="840" y="804"/>
                  </a:lnTo>
                  <a:lnTo>
                    <a:pt x="840" y="810"/>
                  </a:lnTo>
                  <a:lnTo>
                    <a:pt x="828" y="816"/>
                  </a:lnTo>
                  <a:lnTo>
                    <a:pt x="810" y="810"/>
                  </a:lnTo>
                  <a:lnTo>
                    <a:pt x="792" y="810"/>
                  </a:lnTo>
                  <a:lnTo>
                    <a:pt x="786" y="816"/>
                  </a:lnTo>
                  <a:lnTo>
                    <a:pt x="780" y="816"/>
                  </a:lnTo>
                  <a:lnTo>
                    <a:pt x="780" y="822"/>
                  </a:lnTo>
                  <a:lnTo>
                    <a:pt x="780" y="828"/>
                  </a:lnTo>
                  <a:lnTo>
                    <a:pt x="780" y="834"/>
                  </a:lnTo>
                  <a:lnTo>
                    <a:pt x="786" y="840"/>
                  </a:lnTo>
                  <a:lnTo>
                    <a:pt x="786" y="846"/>
                  </a:lnTo>
                  <a:lnTo>
                    <a:pt x="786" y="852"/>
                  </a:lnTo>
                  <a:lnTo>
                    <a:pt x="780" y="858"/>
                  </a:lnTo>
                  <a:lnTo>
                    <a:pt x="768" y="858"/>
                  </a:lnTo>
                  <a:lnTo>
                    <a:pt x="762" y="864"/>
                  </a:lnTo>
                  <a:lnTo>
                    <a:pt x="756" y="864"/>
                  </a:lnTo>
                  <a:lnTo>
                    <a:pt x="750" y="870"/>
                  </a:lnTo>
                  <a:lnTo>
                    <a:pt x="744" y="876"/>
                  </a:lnTo>
                  <a:lnTo>
                    <a:pt x="732" y="876"/>
                  </a:lnTo>
                  <a:lnTo>
                    <a:pt x="726" y="876"/>
                  </a:lnTo>
                  <a:lnTo>
                    <a:pt x="720" y="870"/>
                  </a:lnTo>
                  <a:lnTo>
                    <a:pt x="714" y="864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6" y="876"/>
                  </a:lnTo>
                  <a:lnTo>
                    <a:pt x="696" y="882"/>
                  </a:lnTo>
                  <a:lnTo>
                    <a:pt x="696" y="894"/>
                  </a:lnTo>
                  <a:lnTo>
                    <a:pt x="690" y="900"/>
                  </a:lnTo>
                  <a:lnTo>
                    <a:pt x="684" y="900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54" y="888"/>
                  </a:lnTo>
                  <a:lnTo>
                    <a:pt x="654" y="882"/>
                  </a:lnTo>
                  <a:lnTo>
                    <a:pt x="642" y="876"/>
                  </a:lnTo>
                  <a:lnTo>
                    <a:pt x="636" y="876"/>
                  </a:lnTo>
                  <a:lnTo>
                    <a:pt x="630" y="876"/>
                  </a:lnTo>
                  <a:lnTo>
                    <a:pt x="630" y="870"/>
                  </a:lnTo>
                  <a:lnTo>
                    <a:pt x="618" y="858"/>
                  </a:lnTo>
                  <a:lnTo>
                    <a:pt x="612" y="858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06" y="876"/>
                  </a:lnTo>
                  <a:lnTo>
                    <a:pt x="606" y="882"/>
                  </a:lnTo>
                  <a:lnTo>
                    <a:pt x="606" y="888"/>
                  </a:lnTo>
                  <a:lnTo>
                    <a:pt x="600" y="894"/>
                  </a:lnTo>
                  <a:lnTo>
                    <a:pt x="594" y="894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76" y="894"/>
                  </a:lnTo>
                  <a:lnTo>
                    <a:pt x="582" y="900"/>
                  </a:lnTo>
                  <a:lnTo>
                    <a:pt x="576" y="906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64" y="918"/>
                  </a:lnTo>
                  <a:lnTo>
                    <a:pt x="558" y="918"/>
                  </a:lnTo>
                  <a:lnTo>
                    <a:pt x="558" y="912"/>
                  </a:lnTo>
                  <a:lnTo>
                    <a:pt x="552" y="906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06"/>
                  </a:lnTo>
                  <a:lnTo>
                    <a:pt x="534" y="906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0" y="924"/>
                  </a:lnTo>
                  <a:lnTo>
                    <a:pt x="504" y="924"/>
                  </a:lnTo>
                  <a:lnTo>
                    <a:pt x="498" y="930"/>
                  </a:lnTo>
                  <a:lnTo>
                    <a:pt x="492" y="924"/>
                  </a:lnTo>
                  <a:lnTo>
                    <a:pt x="486" y="930"/>
                  </a:lnTo>
                  <a:lnTo>
                    <a:pt x="480" y="942"/>
                  </a:lnTo>
                  <a:lnTo>
                    <a:pt x="468" y="948"/>
                  </a:lnTo>
                  <a:lnTo>
                    <a:pt x="444" y="942"/>
                  </a:lnTo>
                  <a:lnTo>
                    <a:pt x="438" y="954"/>
                  </a:lnTo>
                  <a:lnTo>
                    <a:pt x="426" y="954"/>
                  </a:lnTo>
                  <a:lnTo>
                    <a:pt x="420" y="948"/>
                  </a:lnTo>
                  <a:lnTo>
                    <a:pt x="408" y="936"/>
                  </a:lnTo>
                  <a:lnTo>
                    <a:pt x="396" y="936"/>
                  </a:lnTo>
                  <a:lnTo>
                    <a:pt x="390" y="930"/>
                  </a:lnTo>
                  <a:lnTo>
                    <a:pt x="390" y="924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66" y="924"/>
                  </a:lnTo>
                  <a:lnTo>
                    <a:pt x="360" y="924"/>
                  </a:lnTo>
                  <a:lnTo>
                    <a:pt x="348" y="918"/>
                  </a:lnTo>
                  <a:lnTo>
                    <a:pt x="342" y="906"/>
                  </a:lnTo>
                  <a:lnTo>
                    <a:pt x="336" y="906"/>
                  </a:lnTo>
                  <a:lnTo>
                    <a:pt x="330" y="906"/>
                  </a:lnTo>
                  <a:lnTo>
                    <a:pt x="312" y="906"/>
                  </a:lnTo>
                  <a:lnTo>
                    <a:pt x="312" y="900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888"/>
                  </a:lnTo>
                  <a:lnTo>
                    <a:pt x="312" y="882"/>
                  </a:lnTo>
                  <a:lnTo>
                    <a:pt x="306" y="876"/>
                  </a:lnTo>
                  <a:lnTo>
                    <a:pt x="312" y="876"/>
                  </a:lnTo>
                  <a:lnTo>
                    <a:pt x="312" y="870"/>
                  </a:lnTo>
                  <a:lnTo>
                    <a:pt x="318" y="876"/>
                  </a:lnTo>
                  <a:lnTo>
                    <a:pt x="318" y="870"/>
                  </a:lnTo>
                  <a:lnTo>
                    <a:pt x="324" y="876"/>
                  </a:lnTo>
                  <a:lnTo>
                    <a:pt x="330" y="876"/>
                  </a:lnTo>
                  <a:lnTo>
                    <a:pt x="336" y="876"/>
                  </a:lnTo>
                  <a:lnTo>
                    <a:pt x="342" y="876"/>
                  </a:lnTo>
                  <a:lnTo>
                    <a:pt x="336" y="876"/>
                  </a:lnTo>
                  <a:lnTo>
                    <a:pt x="330" y="870"/>
                  </a:lnTo>
                  <a:lnTo>
                    <a:pt x="324" y="870"/>
                  </a:lnTo>
                  <a:lnTo>
                    <a:pt x="318" y="870"/>
                  </a:lnTo>
                  <a:lnTo>
                    <a:pt x="312" y="870"/>
                  </a:lnTo>
                  <a:lnTo>
                    <a:pt x="318" y="864"/>
                  </a:lnTo>
                  <a:lnTo>
                    <a:pt x="318" y="858"/>
                  </a:lnTo>
                  <a:lnTo>
                    <a:pt x="318" y="852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6" y="846"/>
                  </a:lnTo>
                  <a:lnTo>
                    <a:pt x="312" y="828"/>
                  </a:lnTo>
                  <a:lnTo>
                    <a:pt x="312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06" y="816"/>
                  </a:lnTo>
                  <a:lnTo>
                    <a:pt x="306" y="810"/>
                  </a:lnTo>
                  <a:lnTo>
                    <a:pt x="306" y="816"/>
                  </a:lnTo>
                  <a:lnTo>
                    <a:pt x="312" y="822"/>
                  </a:lnTo>
                  <a:lnTo>
                    <a:pt x="306" y="822"/>
                  </a:lnTo>
                  <a:lnTo>
                    <a:pt x="306" y="828"/>
                  </a:lnTo>
                  <a:lnTo>
                    <a:pt x="306" y="834"/>
                  </a:lnTo>
                  <a:lnTo>
                    <a:pt x="300" y="840"/>
                  </a:lnTo>
                  <a:lnTo>
                    <a:pt x="300" y="846"/>
                  </a:lnTo>
                  <a:lnTo>
                    <a:pt x="306" y="852"/>
                  </a:lnTo>
                  <a:lnTo>
                    <a:pt x="306" y="858"/>
                  </a:lnTo>
                  <a:lnTo>
                    <a:pt x="312" y="858"/>
                  </a:lnTo>
                  <a:lnTo>
                    <a:pt x="312" y="864"/>
                  </a:lnTo>
                  <a:lnTo>
                    <a:pt x="306" y="864"/>
                  </a:lnTo>
                  <a:lnTo>
                    <a:pt x="300" y="864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82" y="870"/>
                  </a:lnTo>
                  <a:lnTo>
                    <a:pt x="276" y="870"/>
                  </a:lnTo>
                  <a:lnTo>
                    <a:pt x="270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8" y="870"/>
                  </a:lnTo>
                  <a:lnTo>
                    <a:pt x="252" y="870"/>
                  </a:lnTo>
                  <a:lnTo>
                    <a:pt x="252" y="864"/>
                  </a:lnTo>
                  <a:lnTo>
                    <a:pt x="246" y="858"/>
                  </a:lnTo>
                  <a:lnTo>
                    <a:pt x="246" y="852"/>
                  </a:lnTo>
                  <a:lnTo>
                    <a:pt x="246" y="846"/>
                  </a:lnTo>
                  <a:lnTo>
                    <a:pt x="246" y="840"/>
                  </a:lnTo>
                  <a:lnTo>
                    <a:pt x="246" y="834"/>
                  </a:lnTo>
                  <a:lnTo>
                    <a:pt x="246" y="828"/>
                  </a:lnTo>
                  <a:lnTo>
                    <a:pt x="246" y="822"/>
                  </a:lnTo>
                  <a:lnTo>
                    <a:pt x="240" y="816"/>
                  </a:lnTo>
                  <a:lnTo>
                    <a:pt x="240" y="810"/>
                  </a:lnTo>
                  <a:lnTo>
                    <a:pt x="240" y="804"/>
                  </a:lnTo>
                  <a:lnTo>
                    <a:pt x="240" y="798"/>
                  </a:lnTo>
                  <a:lnTo>
                    <a:pt x="234" y="798"/>
                  </a:lnTo>
                  <a:lnTo>
                    <a:pt x="234" y="792"/>
                  </a:lnTo>
                  <a:lnTo>
                    <a:pt x="234" y="786"/>
                  </a:lnTo>
                  <a:lnTo>
                    <a:pt x="234" y="780"/>
                  </a:lnTo>
                  <a:lnTo>
                    <a:pt x="228" y="780"/>
                  </a:lnTo>
                  <a:lnTo>
                    <a:pt x="228" y="774"/>
                  </a:lnTo>
                  <a:lnTo>
                    <a:pt x="228" y="768"/>
                  </a:lnTo>
                  <a:lnTo>
                    <a:pt x="222" y="762"/>
                  </a:lnTo>
                  <a:lnTo>
                    <a:pt x="222" y="756"/>
                  </a:lnTo>
                  <a:lnTo>
                    <a:pt x="222" y="750"/>
                  </a:lnTo>
                  <a:lnTo>
                    <a:pt x="222" y="744"/>
                  </a:lnTo>
                  <a:lnTo>
                    <a:pt x="222" y="738"/>
                  </a:lnTo>
                  <a:lnTo>
                    <a:pt x="216" y="732"/>
                  </a:lnTo>
                  <a:lnTo>
                    <a:pt x="222" y="732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32"/>
                  </a:lnTo>
                  <a:lnTo>
                    <a:pt x="246" y="732"/>
                  </a:lnTo>
                  <a:lnTo>
                    <a:pt x="246" y="738"/>
                  </a:lnTo>
                  <a:lnTo>
                    <a:pt x="252" y="738"/>
                  </a:lnTo>
                  <a:lnTo>
                    <a:pt x="258" y="738"/>
                  </a:lnTo>
                  <a:lnTo>
                    <a:pt x="258" y="732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8" y="732"/>
                  </a:lnTo>
                  <a:lnTo>
                    <a:pt x="294" y="732"/>
                  </a:lnTo>
                  <a:lnTo>
                    <a:pt x="300" y="732"/>
                  </a:lnTo>
                  <a:lnTo>
                    <a:pt x="300" y="738"/>
                  </a:lnTo>
                  <a:lnTo>
                    <a:pt x="306" y="738"/>
                  </a:lnTo>
                  <a:lnTo>
                    <a:pt x="306" y="744"/>
                  </a:lnTo>
                  <a:lnTo>
                    <a:pt x="306" y="750"/>
                  </a:lnTo>
                  <a:lnTo>
                    <a:pt x="312" y="750"/>
                  </a:lnTo>
                  <a:lnTo>
                    <a:pt x="312" y="756"/>
                  </a:lnTo>
                  <a:lnTo>
                    <a:pt x="318" y="756"/>
                  </a:lnTo>
                  <a:lnTo>
                    <a:pt x="318" y="750"/>
                  </a:lnTo>
                  <a:lnTo>
                    <a:pt x="312" y="750"/>
                  </a:lnTo>
                  <a:lnTo>
                    <a:pt x="312" y="744"/>
                  </a:lnTo>
                  <a:lnTo>
                    <a:pt x="318" y="738"/>
                  </a:lnTo>
                  <a:lnTo>
                    <a:pt x="324" y="738"/>
                  </a:lnTo>
                  <a:lnTo>
                    <a:pt x="330" y="738"/>
                  </a:lnTo>
                  <a:lnTo>
                    <a:pt x="336" y="738"/>
                  </a:lnTo>
                  <a:lnTo>
                    <a:pt x="342" y="738"/>
                  </a:lnTo>
                  <a:lnTo>
                    <a:pt x="348" y="732"/>
                  </a:lnTo>
                  <a:lnTo>
                    <a:pt x="354" y="732"/>
                  </a:lnTo>
                  <a:lnTo>
                    <a:pt x="360" y="732"/>
                  </a:lnTo>
                  <a:lnTo>
                    <a:pt x="360" y="726"/>
                  </a:lnTo>
                  <a:lnTo>
                    <a:pt x="366" y="726"/>
                  </a:lnTo>
                  <a:lnTo>
                    <a:pt x="366" y="720"/>
                  </a:lnTo>
                  <a:lnTo>
                    <a:pt x="366" y="714"/>
                  </a:lnTo>
                  <a:lnTo>
                    <a:pt x="360" y="708"/>
                  </a:lnTo>
                  <a:lnTo>
                    <a:pt x="354" y="708"/>
                  </a:lnTo>
                  <a:lnTo>
                    <a:pt x="348" y="702"/>
                  </a:lnTo>
                  <a:lnTo>
                    <a:pt x="354" y="702"/>
                  </a:lnTo>
                  <a:lnTo>
                    <a:pt x="354" y="696"/>
                  </a:lnTo>
                  <a:lnTo>
                    <a:pt x="348" y="696"/>
                  </a:lnTo>
                  <a:lnTo>
                    <a:pt x="348" y="690"/>
                  </a:lnTo>
                  <a:lnTo>
                    <a:pt x="342" y="690"/>
                  </a:lnTo>
                  <a:lnTo>
                    <a:pt x="342" y="684"/>
                  </a:lnTo>
                  <a:lnTo>
                    <a:pt x="342" y="678"/>
                  </a:lnTo>
                  <a:lnTo>
                    <a:pt x="342" y="666"/>
                  </a:lnTo>
                  <a:lnTo>
                    <a:pt x="342" y="660"/>
                  </a:lnTo>
                  <a:lnTo>
                    <a:pt x="348" y="654"/>
                  </a:lnTo>
                  <a:lnTo>
                    <a:pt x="348" y="642"/>
                  </a:lnTo>
                  <a:lnTo>
                    <a:pt x="354" y="642"/>
                  </a:lnTo>
                  <a:lnTo>
                    <a:pt x="360" y="642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66" y="642"/>
                  </a:lnTo>
                  <a:lnTo>
                    <a:pt x="372" y="642"/>
                  </a:lnTo>
                  <a:lnTo>
                    <a:pt x="378" y="642"/>
                  </a:lnTo>
                  <a:lnTo>
                    <a:pt x="384" y="642"/>
                  </a:lnTo>
                  <a:lnTo>
                    <a:pt x="390" y="642"/>
                  </a:lnTo>
                  <a:lnTo>
                    <a:pt x="396" y="642"/>
                  </a:lnTo>
                  <a:lnTo>
                    <a:pt x="396" y="636"/>
                  </a:lnTo>
                  <a:lnTo>
                    <a:pt x="402" y="636"/>
                  </a:lnTo>
                  <a:lnTo>
                    <a:pt x="408" y="636"/>
                  </a:lnTo>
                  <a:lnTo>
                    <a:pt x="402" y="636"/>
                  </a:lnTo>
                  <a:lnTo>
                    <a:pt x="402" y="630"/>
                  </a:lnTo>
                  <a:lnTo>
                    <a:pt x="408" y="630"/>
                  </a:lnTo>
                  <a:lnTo>
                    <a:pt x="408" y="624"/>
                  </a:lnTo>
                  <a:lnTo>
                    <a:pt x="408" y="618"/>
                  </a:lnTo>
                  <a:lnTo>
                    <a:pt x="414" y="618"/>
                  </a:lnTo>
                  <a:lnTo>
                    <a:pt x="420" y="618"/>
                  </a:lnTo>
                  <a:lnTo>
                    <a:pt x="426" y="624"/>
                  </a:lnTo>
                  <a:lnTo>
                    <a:pt x="432" y="624"/>
                  </a:lnTo>
                  <a:lnTo>
                    <a:pt x="438" y="624"/>
                  </a:lnTo>
                  <a:lnTo>
                    <a:pt x="438" y="618"/>
                  </a:lnTo>
                  <a:lnTo>
                    <a:pt x="444" y="618"/>
                  </a:lnTo>
                  <a:lnTo>
                    <a:pt x="450" y="618"/>
                  </a:lnTo>
                  <a:lnTo>
                    <a:pt x="444" y="618"/>
                  </a:lnTo>
                  <a:lnTo>
                    <a:pt x="438" y="618"/>
                  </a:lnTo>
                  <a:lnTo>
                    <a:pt x="438" y="612"/>
                  </a:lnTo>
                  <a:lnTo>
                    <a:pt x="438" y="618"/>
                  </a:lnTo>
                  <a:lnTo>
                    <a:pt x="432" y="624"/>
                  </a:lnTo>
                  <a:lnTo>
                    <a:pt x="426" y="618"/>
                  </a:lnTo>
                  <a:lnTo>
                    <a:pt x="420" y="612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402" y="624"/>
                  </a:lnTo>
                  <a:lnTo>
                    <a:pt x="396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78" y="630"/>
                  </a:lnTo>
                  <a:lnTo>
                    <a:pt x="378" y="636"/>
                  </a:lnTo>
                  <a:lnTo>
                    <a:pt x="372" y="630"/>
                  </a:lnTo>
                  <a:lnTo>
                    <a:pt x="366" y="630"/>
                  </a:lnTo>
                  <a:lnTo>
                    <a:pt x="360" y="630"/>
                  </a:lnTo>
                  <a:lnTo>
                    <a:pt x="354" y="630"/>
                  </a:lnTo>
                  <a:lnTo>
                    <a:pt x="354" y="636"/>
                  </a:lnTo>
                  <a:lnTo>
                    <a:pt x="348" y="636"/>
                  </a:lnTo>
                  <a:lnTo>
                    <a:pt x="348" y="642"/>
                  </a:lnTo>
                  <a:lnTo>
                    <a:pt x="342" y="642"/>
                  </a:lnTo>
                  <a:lnTo>
                    <a:pt x="342" y="648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6" y="660"/>
                  </a:lnTo>
                  <a:lnTo>
                    <a:pt x="336" y="666"/>
                  </a:lnTo>
                  <a:lnTo>
                    <a:pt x="330" y="672"/>
                  </a:lnTo>
                  <a:lnTo>
                    <a:pt x="330" y="678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24" y="696"/>
                  </a:lnTo>
                  <a:lnTo>
                    <a:pt x="324" y="702"/>
                  </a:lnTo>
                  <a:lnTo>
                    <a:pt x="318" y="702"/>
                  </a:lnTo>
                  <a:lnTo>
                    <a:pt x="318" y="708"/>
                  </a:lnTo>
                  <a:lnTo>
                    <a:pt x="312" y="708"/>
                  </a:lnTo>
                  <a:lnTo>
                    <a:pt x="312" y="702"/>
                  </a:lnTo>
                  <a:lnTo>
                    <a:pt x="306" y="702"/>
                  </a:lnTo>
                  <a:lnTo>
                    <a:pt x="300" y="702"/>
                  </a:lnTo>
                  <a:lnTo>
                    <a:pt x="294" y="696"/>
                  </a:lnTo>
                  <a:lnTo>
                    <a:pt x="288" y="696"/>
                  </a:lnTo>
                  <a:lnTo>
                    <a:pt x="282" y="690"/>
                  </a:lnTo>
                  <a:lnTo>
                    <a:pt x="288" y="684"/>
                  </a:lnTo>
                  <a:lnTo>
                    <a:pt x="294" y="684"/>
                  </a:lnTo>
                  <a:lnTo>
                    <a:pt x="294" y="678"/>
                  </a:lnTo>
                  <a:lnTo>
                    <a:pt x="300" y="678"/>
                  </a:lnTo>
                  <a:lnTo>
                    <a:pt x="294" y="678"/>
                  </a:lnTo>
                  <a:lnTo>
                    <a:pt x="294" y="672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94" y="672"/>
                  </a:lnTo>
                  <a:lnTo>
                    <a:pt x="288" y="678"/>
                  </a:lnTo>
                  <a:lnTo>
                    <a:pt x="282" y="684"/>
                  </a:lnTo>
                  <a:lnTo>
                    <a:pt x="282" y="678"/>
                  </a:lnTo>
                  <a:lnTo>
                    <a:pt x="276" y="678"/>
                  </a:lnTo>
                  <a:lnTo>
                    <a:pt x="282" y="684"/>
                  </a:lnTo>
                  <a:lnTo>
                    <a:pt x="282" y="690"/>
                  </a:lnTo>
                  <a:lnTo>
                    <a:pt x="282" y="696"/>
                  </a:lnTo>
                  <a:lnTo>
                    <a:pt x="288" y="702"/>
                  </a:lnTo>
                  <a:lnTo>
                    <a:pt x="294" y="708"/>
                  </a:lnTo>
                  <a:lnTo>
                    <a:pt x="294" y="714"/>
                  </a:lnTo>
                  <a:lnTo>
                    <a:pt x="288" y="714"/>
                  </a:lnTo>
                  <a:lnTo>
                    <a:pt x="282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64" y="714"/>
                  </a:lnTo>
                  <a:lnTo>
                    <a:pt x="258" y="714"/>
                  </a:lnTo>
                  <a:lnTo>
                    <a:pt x="252" y="714"/>
                  </a:lnTo>
                  <a:lnTo>
                    <a:pt x="246" y="714"/>
                  </a:lnTo>
                  <a:lnTo>
                    <a:pt x="240" y="714"/>
                  </a:lnTo>
                  <a:lnTo>
                    <a:pt x="240" y="708"/>
                  </a:lnTo>
                  <a:lnTo>
                    <a:pt x="234" y="708"/>
                  </a:lnTo>
                  <a:lnTo>
                    <a:pt x="228" y="708"/>
                  </a:lnTo>
                  <a:lnTo>
                    <a:pt x="222" y="702"/>
                  </a:lnTo>
                  <a:lnTo>
                    <a:pt x="216" y="702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2" y="690"/>
                  </a:lnTo>
                  <a:lnTo>
                    <a:pt x="186" y="690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68" y="684"/>
                  </a:lnTo>
                  <a:lnTo>
                    <a:pt x="168" y="678"/>
                  </a:lnTo>
                  <a:lnTo>
                    <a:pt x="156" y="672"/>
                  </a:lnTo>
                  <a:lnTo>
                    <a:pt x="150" y="660"/>
                  </a:lnTo>
                  <a:lnTo>
                    <a:pt x="126" y="630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12"/>
                  </a:lnTo>
                  <a:lnTo>
                    <a:pt x="126" y="606"/>
                  </a:lnTo>
                  <a:lnTo>
                    <a:pt x="126" y="600"/>
                  </a:lnTo>
                  <a:lnTo>
                    <a:pt x="132" y="594"/>
                  </a:lnTo>
                  <a:lnTo>
                    <a:pt x="138" y="594"/>
                  </a:lnTo>
                  <a:lnTo>
                    <a:pt x="144" y="588"/>
                  </a:lnTo>
                  <a:lnTo>
                    <a:pt x="144" y="582"/>
                  </a:lnTo>
                  <a:lnTo>
                    <a:pt x="150" y="582"/>
                  </a:lnTo>
                  <a:lnTo>
                    <a:pt x="150" y="576"/>
                  </a:lnTo>
                  <a:lnTo>
                    <a:pt x="156" y="576"/>
                  </a:lnTo>
                  <a:lnTo>
                    <a:pt x="156" y="582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8" y="576"/>
                  </a:lnTo>
                  <a:lnTo>
                    <a:pt x="174" y="576"/>
                  </a:lnTo>
                  <a:lnTo>
                    <a:pt x="180" y="582"/>
                  </a:lnTo>
                  <a:lnTo>
                    <a:pt x="192" y="582"/>
                  </a:lnTo>
                  <a:lnTo>
                    <a:pt x="198" y="582"/>
                  </a:lnTo>
                  <a:lnTo>
                    <a:pt x="204" y="582"/>
                  </a:lnTo>
                  <a:lnTo>
                    <a:pt x="210" y="582"/>
                  </a:lnTo>
                  <a:lnTo>
                    <a:pt x="216" y="588"/>
                  </a:lnTo>
                  <a:lnTo>
                    <a:pt x="222" y="588"/>
                  </a:lnTo>
                  <a:lnTo>
                    <a:pt x="234" y="588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46" y="594"/>
                  </a:lnTo>
                  <a:lnTo>
                    <a:pt x="252" y="588"/>
                  </a:lnTo>
                  <a:lnTo>
                    <a:pt x="258" y="588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52" y="600"/>
                  </a:lnTo>
                  <a:lnTo>
                    <a:pt x="246" y="600"/>
                  </a:lnTo>
                  <a:lnTo>
                    <a:pt x="246" y="606"/>
                  </a:lnTo>
                  <a:lnTo>
                    <a:pt x="246" y="600"/>
                  </a:lnTo>
                  <a:lnTo>
                    <a:pt x="252" y="600"/>
                  </a:lnTo>
                  <a:lnTo>
                    <a:pt x="258" y="594"/>
                  </a:lnTo>
                  <a:lnTo>
                    <a:pt x="264" y="594"/>
                  </a:lnTo>
                  <a:lnTo>
                    <a:pt x="264" y="588"/>
                  </a:lnTo>
                  <a:lnTo>
                    <a:pt x="270" y="588"/>
                  </a:lnTo>
                  <a:lnTo>
                    <a:pt x="270" y="582"/>
                  </a:lnTo>
                  <a:lnTo>
                    <a:pt x="270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76" y="564"/>
                  </a:lnTo>
                  <a:lnTo>
                    <a:pt x="270" y="558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58"/>
                  </a:lnTo>
                  <a:lnTo>
                    <a:pt x="282" y="558"/>
                  </a:lnTo>
                  <a:lnTo>
                    <a:pt x="288" y="558"/>
                  </a:lnTo>
                  <a:lnTo>
                    <a:pt x="294" y="558"/>
                  </a:lnTo>
                  <a:lnTo>
                    <a:pt x="300" y="558"/>
                  </a:lnTo>
                  <a:lnTo>
                    <a:pt x="306" y="558"/>
                  </a:lnTo>
                  <a:lnTo>
                    <a:pt x="312" y="558"/>
                  </a:lnTo>
                  <a:lnTo>
                    <a:pt x="318" y="558"/>
                  </a:lnTo>
                  <a:lnTo>
                    <a:pt x="318" y="564"/>
                  </a:lnTo>
                  <a:lnTo>
                    <a:pt x="324" y="564"/>
                  </a:lnTo>
                  <a:lnTo>
                    <a:pt x="324" y="570"/>
                  </a:lnTo>
                  <a:lnTo>
                    <a:pt x="330" y="570"/>
                  </a:lnTo>
                  <a:lnTo>
                    <a:pt x="336" y="570"/>
                  </a:lnTo>
                  <a:lnTo>
                    <a:pt x="342" y="570"/>
                  </a:lnTo>
                  <a:lnTo>
                    <a:pt x="348" y="570"/>
                  </a:lnTo>
                  <a:lnTo>
                    <a:pt x="354" y="570"/>
                  </a:lnTo>
                  <a:lnTo>
                    <a:pt x="360" y="570"/>
                  </a:lnTo>
                  <a:lnTo>
                    <a:pt x="366" y="570"/>
                  </a:lnTo>
                  <a:lnTo>
                    <a:pt x="360" y="570"/>
                  </a:lnTo>
                  <a:lnTo>
                    <a:pt x="360" y="564"/>
                  </a:lnTo>
                  <a:lnTo>
                    <a:pt x="354" y="564"/>
                  </a:lnTo>
                  <a:lnTo>
                    <a:pt x="348" y="564"/>
                  </a:lnTo>
                  <a:lnTo>
                    <a:pt x="342" y="564"/>
                  </a:lnTo>
                  <a:lnTo>
                    <a:pt x="342" y="570"/>
                  </a:lnTo>
                  <a:lnTo>
                    <a:pt x="336" y="564"/>
                  </a:lnTo>
                  <a:lnTo>
                    <a:pt x="336" y="570"/>
                  </a:lnTo>
                  <a:lnTo>
                    <a:pt x="336" y="564"/>
                  </a:lnTo>
                  <a:lnTo>
                    <a:pt x="330" y="564"/>
                  </a:lnTo>
                  <a:lnTo>
                    <a:pt x="324" y="558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18" y="558"/>
                  </a:lnTo>
                  <a:lnTo>
                    <a:pt x="312" y="552"/>
                  </a:lnTo>
                  <a:lnTo>
                    <a:pt x="312" y="558"/>
                  </a:lnTo>
                  <a:lnTo>
                    <a:pt x="312" y="552"/>
                  </a:lnTo>
                  <a:lnTo>
                    <a:pt x="306" y="552"/>
                  </a:lnTo>
                  <a:lnTo>
                    <a:pt x="300" y="546"/>
                  </a:lnTo>
                  <a:lnTo>
                    <a:pt x="294" y="546"/>
                  </a:lnTo>
                  <a:lnTo>
                    <a:pt x="288" y="546"/>
                  </a:lnTo>
                  <a:lnTo>
                    <a:pt x="282" y="546"/>
                  </a:lnTo>
                  <a:lnTo>
                    <a:pt x="276" y="546"/>
                  </a:lnTo>
                  <a:lnTo>
                    <a:pt x="276" y="552"/>
                  </a:lnTo>
                  <a:lnTo>
                    <a:pt x="270" y="552"/>
                  </a:lnTo>
                  <a:lnTo>
                    <a:pt x="270" y="558"/>
                  </a:lnTo>
                  <a:lnTo>
                    <a:pt x="270" y="564"/>
                  </a:lnTo>
                  <a:lnTo>
                    <a:pt x="264" y="570"/>
                  </a:lnTo>
                  <a:lnTo>
                    <a:pt x="258" y="576"/>
                  </a:lnTo>
                  <a:lnTo>
                    <a:pt x="258" y="582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34" y="576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16" y="552"/>
                  </a:lnTo>
                  <a:lnTo>
                    <a:pt x="216" y="546"/>
                  </a:lnTo>
                  <a:lnTo>
                    <a:pt x="216" y="540"/>
                  </a:lnTo>
                  <a:lnTo>
                    <a:pt x="222" y="534"/>
                  </a:lnTo>
                  <a:lnTo>
                    <a:pt x="222" y="528"/>
                  </a:lnTo>
                  <a:lnTo>
                    <a:pt x="228" y="522"/>
                  </a:lnTo>
                  <a:lnTo>
                    <a:pt x="228" y="516"/>
                  </a:lnTo>
                  <a:lnTo>
                    <a:pt x="228" y="510"/>
                  </a:lnTo>
                  <a:lnTo>
                    <a:pt x="234" y="510"/>
                  </a:lnTo>
                  <a:lnTo>
                    <a:pt x="240" y="516"/>
                  </a:lnTo>
                  <a:lnTo>
                    <a:pt x="246" y="522"/>
                  </a:lnTo>
                  <a:lnTo>
                    <a:pt x="246" y="516"/>
                  </a:lnTo>
                  <a:lnTo>
                    <a:pt x="240" y="516"/>
                  </a:lnTo>
                  <a:lnTo>
                    <a:pt x="240" y="510"/>
                  </a:lnTo>
                  <a:lnTo>
                    <a:pt x="234" y="510"/>
                  </a:lnTo>
                  <a:lnTo>
                    <a:pt x="234" y="504"/>
                  </a:lnTo>
                  <a:lnTo>
                    <a:pt x="228" y="504"/>
                  </a:lnTo>
                  <a:lnTo>
                    <a:pt x="222" y="504"/>
                  </a:lnTo>
                  <a:lnTo>
                    <a:pt x="222" y="498"/>
                  </a:lnTo>
                  <a:lnTo>
                    <a:pt x="222" y="504"/>
                  </a:lnTo>
                  <a:lnTo>
                    <a:pt x="222" y="510"/>
                  </a:lnTo>
                  <a:lnTo>
                    <a:pt x="222" y="516"/>
                  </a:lnTo>
                  <a:lnTo>
                    <a:pt x="216" y="522"/>
                  </a:lnTo>
                  <a:lnTo>
                    <a:pt x="216" y="528"/>
                  </a:lnTo>
                  <a:lnTo>
                    <a:pt x="210" y="528"/>
                  </a:lnTo>
                  <a:lnTo>
                    <a:pt x="216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04" y="546"/>
                  </a:lnTo>
                  <a:lnTo>
                    <a:pt x="204" y="552"/>
                  </a:lnTo>
                  <a:lnTo>
                    <a:pt x="204" y="558"/>
                  </a:lnTo>
                  <a:lnTo>
                    <a:pt x="204" y="564"/>
                  </a:lnTo>
                  <a:lnTo>
                    <a:pt x="198" y="570"/>
                  </a:lnTo>
                  <a:lnTo>
                    <a:pt x="192" y="564"/>
                  </a:lnTo>
                  <a:lnTo>
                    <a:pt x="186" y="564"/>
                  </a:lnTo>
                  <a:lnTo>
                    <a:pt x="180" y="564"/>
                  </a:lnTo>
                  <a:lnTo>
                    <a:pt x="174" y="564"/>
                  </a:lnTo>
                  <a:lnTo>
                    <a:pt x="168" y="564"/>
                  </a:lnTo>
                  <a:lnTo>
                    <a:pt x="162" y="564"/>
                  </a:lnTo>
                  <a:lnTo>
                    <a:pt x="156" y="570"/>
                  </a:lnTo>
                  <a:lnTo>
                    <a:pt x="150" y="570"/>
                  </a:lnTo>
                  <a:lnTo>
                    <a:pt x="150" y="564"/>
                  </a:lnTo>
                  <a:lnTo>
                    <a:pt x="150" y="570"/>
                  </a:lnTo>
                  <a:lnTo>
                    <a:pt x="150" y="576"/>
                  </a:lnTo>
                  <a:lnTo>
                    <a:pt x="144" y="576"/>
                  </a:lnTo>
                  <a:lnTo>
                    <a:pt x="138" y="576"/>
                  </a:lnTo>
                  <a:lnTo>
                    <a:pt x="132" y="582"/>
                  </a:lnTo>
                  <a:lnTo>
                    <a:pt x="126" y="582"/>
                  </a:lnTo>
                  <a:lnTo>
                    <a:pt x="120" y="582"/>
                  </a:lnTo>
                  <a:lnTo>
                    <a:pt x="114" y="576"/>
                  </a:lnTo>
                  <a:lnTo>
                    <a:pt x="108" y="564"/>
                  </a:lnTo>
                  <a:lnTo>
                    <a:pt x="102" y="558"/>
                  </a:lnTo>
                  <a:lnTo>
                    <a:pt x="96" y="552"/>
                  </a:lnTo>
                  <a:lnTo>
                    <a:pt x="90" y="546"/>
                  </a:lnTo>
                  <a:lnTo>
                    <a:pt x="90" y="540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2"/>
                  </a:lnTo>
                  <a:lnTo>
                    <a:pt x="78" y="516"/>
                  </a:lnTo>
                  <a:lnTo>
                    <a:pt x="72" y="510"/>
                  </a:lnTo>
                  <a:lnTo>
                    <a:pt x="66" y="504"/>
                  </a:lnTo>
                  <a:lnTo>
                    <a:pt x="66" y="498"/>
                  </a:lnTo>
                  <a:lnTo>
                    <a:pt x="66" y="492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6" y="474"/>
                  </a:lnTo>
                  <a:lnTo>
                    <a:pt x="72" y="474"/>
                  </a:lnTo>
                  <a:lnTo>
                    <a:pt x="72" y="468"/>
                  </a:lnTo>
                  <a:lnTo>
                    <a:pt x="78" y="462"/>
                  </a:lnTo>
                  <a:lnTo>
                    <a:pt x="78" y="456"/>
                  </a:lnTo>
                  <a:lnTo>
                    <a:pt x="84" y="456"/>
                  </a:lnTo>
                  <a:lnTo>
                    <a:pt x="84" y="450"/>
                  </a:lnTo>
                  <a:lnTo>
                    <a:pt x="84" y="444"/>
                  </a:lnTo>
                  <a:lnTo>
                    <a:pt x="90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02" y="450"/>
                  </a:lnTo>
                  <a:lnTo>
                    <a:pt x="108" y="450"/>
                  </a:lnTo>
                  <a:lnTo>
                    <a:pt x="108" y="456"/>
                  </a:lnTo>
                  <a:lnTo>
                    <a:pt x="108" y="462"/>
                  </a:lnTo>
                  <a:lnTo>
                    <a:pt x="114" y="462"/>
                  </a:lnTo>
                  <a:lnTo>
                    <a:pt x="114" y="468"/>
                  </a:lnTo>
                  <a:lnTo>
                    <a:pt x="114" y="474"/>
                  </a:lnTo>
                  <a:lnTo>
                    <a:pt x="114" y="480"/>
                  </a:lnTo>
                  <a:lnTo>
                    <a:pt x="114" y="486"/>
                  </a:lnTo>
                  <a:lnTo>
                    <a:pt x="120" y="486"/>
                  </a:lnTo>
                  <a:lnTo>
                    <a:pt x="126" y="486"/>
                  </a:lnTo>
                  <a:lnTo>
                    <a:pt x="132" y="486"/>
                  </a:lnTo>
                  <a:lnTo>
                    <a:pt x="126" y="480"/>
                  </a:lnTo>
                  <a:lnTo>
                    <a:pt x="120" y="480"/>
                  </a:lnTo>
                  <a:lnTo>
                    <a:pt x="114" y="480"/>
                  </a:lnTo>
                  <a:lnTo>
                    <a:pt x="120" y="480"/>
                  </a:lnTo>
                  <a:lnTo>
                    <a:pt x="120" y="474"/>
                  </a:lnTo>
                  <a:lnTo>
                    <a:pt x="120" y="468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108" y="450"/>
                  </a:lnTo>
                  <a:lnTo>
                    <a:pt x="108" y="444"/>
                  </a:lnTo>
                  <a:lnTo>
                    <a:pt x="114" y="438"/>
                  </a:lnTo>
                  <a:lnTo>
                    <a:pt x="120" y="438"/>
                  </a:lnTo>
                  <a:lnTo>
                    <a:pt x="120" y="432"/>
                  </a:lnTo>
                  <a:lnTo>
                    <a:pt x="132" y="426"/>
                  </a:lnTo>
                  <a:lnTo>
                    <a:pt x="138" y="420"/>
                  </a:lnTo>
                  <a:lnTo>
                    <a:pt x="144" y="420"/>
                  </a:lnTo>
                  <a:lnTo>
                    <a:pt x="144" y="414"/>
                  </a:lnTo>
                  <a:lnTo>
                    <a:pt x="144" y="420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6" y="414"/>
                  </a:lnTo>
                  <a:lnTo>
                    <a:pt x="162" y="414"/>
                  </a:lnTo>
                  <a:lnTo>
                    <a:pt x="162" y="408"/>
                  </a:lnTo>
                  <a:lnTo>
                    <a:pt x="168" y="408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86" y="396"/>
                  </a:lnTo>
                  <a:lnTo>
                    <a:pt x="186" y="390"/>
                  </a:lnTo>
                  <a:lnTo>
                    <a:pt x="192" y="390"/>
                  </a:lnTo>
                  <a:lnTo>
                    <a:pt x="198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210" y="378"/>
                  </a:lnTo>
                  <a:lnTo>
                    <a:pt x="210" y="372"/>
                  </a:lnTo>
                  <a:lnTo>
                    <a:pt x="216" y="372"/>
                  </a:lnTo>
                  <a:lnTo>
                    <a:pt x="222" y="366"/>
                  </a:lnTo>
                  <a:lnTo>
                    <a:pt x="228" y="360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6" y="348"/>
                  </a:lnTo>
                  <a:lnTo>
                    <a:pt x="252" y="348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0" y="342"/>
                  </a:lnTo>
                  <a:lnTo>
                    <a:pt x="234" y="342"/>
                  </a:lnTo>
                  <a:lnTo>
                    <a:pt x="228" y="336"/>
                  </a:lnTo>
                  <a:lnTo>
                    <a:pt x="222" y="336"/>
                  </a:lnTo>
                  <a:lnTo>
                    <a:pt x="216" y="336"/>
                  </a:lnTo>
                  <a:lnTo>
                    <a:pt x="222" y="324"/>
                  </a:lnTo>
                  <a:lnTo>
                    <a:pt x="222" y="318"/>
                  </a:lnTo>
                  <a:lnTo>
                    <a:pt x="222" y="312"/>
                  </a:lnTo>
                  <a:lnTo>
                    <a:pt x="234" y="318"/>
                  </a:lnTo>
                  <a:lnTo>
                    <a:pt x="246" y="318"/>
                  </a:lnTo>
                  <a:lnTo>
                    <a:pt x="258" y="318"/>
                  </a:lnTo>
                  <a:lnTo>
                    <a:pt x="270" y="312"/>
                  </a:lnTo>
                  <a:lnTo>
                    <a:pt x="276" y="312"/>
                  </a:lnTo>
                  <a:lnTo>
                    <a:pt x="288" y="324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94" y="306"/>
                  </a:lnTo>
                  <a:lnTo>
                    <a:pt x="300" y="300"/>
                  </a:lnTo>
                  <a:lnTo>
                    <a:pt x="306" y="306"/>
                  </a:lnTo>
                  <a:lnTo>
                    <a:pt x="312" y="318"/>
                  </a:lnTo>
                  <a:lnTo>
                    <a:pt x="318" y="312"/>
                  </a:lnTo>
                  <a:lnTo>
                    <a:pt x="324" y="312"/>
                  </a:lnTo>
                  <a:lnTo>
                    <a:pt x="330" y="312"/>
                  </a:lnTo>
                  <a:lnTo>
                    <a:pt x="342" y="306"/>
                  </a:lnTo>
                  <a:lnTo>
                    <a:pt x="348" y="306"/>
                  </a:lnTo>
                  <a:lnTo>
                    <a:pt x="348" y="312"/>
                  </a:lnTo>
                  <a:lnTo>
                    <a:pt x="348" y="318"/>
                  </a:lnTo>
                  <a:lnTo>
                    <a:pt x="354" y="318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60" y="336"/>
                  </a:lnTo>
                  <a:lnTo>
                    <a:pt x="366" y="330"/>
                  </a:lnTo>
                  <a:lnTo>
                    <a:pt x="378" y="324"/>
                  </a:lnTo>
                  <a:lnTo>
                    <a:pt x="384" y="324"/>
                  </a:lnTo>
                  <a:lnTo>
                    <a:pt x="384" y="318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6"/>
                  </a:lnTo>
                  <a:lnTo>
                    <a:pt x="402" y="306"/>
                  </a:lnTo>
                  <a:lnTo>
                    <a:pt x="408" y="306"/>
                  </a:lnTo>
                  <a:lnTo>
                    <a:pt x="414" y="300"/>
                  </a:lnTo>
                  <a:lnTo>
                    <a:pt x="420" y="300"/>
                  </a:lnTo>
                  <a:lnTo>
                    <a:pt x="426" y="300"/>
                  </a:lnTo>
                  <a:lnTo>
                    <a:pt x="432" y="300"/>
                  </a:lnTo>
                  <a:lnTo>
                    <a:pt x="444" y="288"/>
                  </a:lnTo>
                  <a:lnTo>
                    <a:pt x="450" y="294"/>
                  </a:lnTo>
                  <a:lnTo>
                    <a:pt x="468" y="300"/>
                  </a:lnTo>
                  <a:lnTo>
                    <a:pt x="498" y="312"/>
                  </a:lnTo>
                  <a:lnTo>
                    <a:pt x="504" y="324"/>
                  </a:lnTo>
                  <a:lnTo>
                    <a:pt x="516" y="330"/>
                  </a:lnTo>
                  <a:lnTo>
                    <a:pt x="516" y="336"/>
                  </a:lnTo>
                  <a:lnTo>
                    <a:pt x="540" y="342"/>
                  </a:lnTo>
                  <a:lnTo>
                    <a:pt x="558" y="372"/>
                  </a:lnTo>
                  <a:lnTo>
                    <a:pt x="594" y="384"/>
                  </a:lnTo>
                  <a:lnTo>
                    <a:pt x="606" y="402"/>
                  </a:lnTo>
                  <a:lnTo>
                    <a:pt x="600" y="420"/>
                  </a:lnTo>
                  <a:lnTo>
                    <a:pt x="588" y="444"/>
                  </a:lnTo>
                  <a:lnTo>
                    <a:pt x="588" y="450"/>
                  </a:lnTo>
                  <a:lnTo>
                    <a:pt x="588" y="456"/>
                  </a:lnTo>
                  <a:lnTo>
                    <a:pt x="594" y="456"/>
                  </a:lnTo>
                  <a:lnTo>
                    <a:pt x="594" y="462"/>
                  </a:lnTo>
                  <a:lnTo>
                    <a:pt x="594" y="468"/>
                  </a:lnTo>
                  <a:lnTo>
                    <a:pt x="594" y="474"/>
                  </a:lnTo>
                  <a:lnTo>
                    <a:pt x="600" y="474"/>
                  </a:lnTo>
                  <a:lnTo>
                    <a:pt x="606" y="480"/>
                  </a:lnTo>
                  <a:lnTo>
                    <a:pt x="606" y="486"/>
                  </a:lnTo>
                  <a:lnTo>
                    <a:pt x="612" y="486"/>
                  </a:lnTo>
                  <a:lnTo>
                    <a:pt x="618" y="486"/>
                  </a:lnTo>
                  <a:lnTo>
                    <a:pt x="624" y="486"/>
                  </a:lnTo>
                  <a:lnTo>
                    <a:pt x="636" y="486"/>
                  </a:lnTo>
                  <a:lnTo>
                    <a:pt x="642" y="486"/>
                  </a:lnTo>
                  <a:lnTo>
                    <a:pt x="648" y="480"/>
                  </a:lnTo>
                  <a:lnTo>
                    <a:pt x="654" y="474"/>
                  </a:lnTo>
                  <a:lnTo>
                    <a:pt x="660" y="468"/>
                  </a:lnTo>
                  <a:lnTo>
                    <a:pt x="666" y="468"/>
                  </a:lnTo>
                  <a:lnTo>
                    <a:pt x="684" y="468"/>
                  </a:lnTo>
                  <a:lnTo>
                    <a:pt x="696" y="468"/>
                  </a:lnTo>
                  <a:lnTo>
                    <a:pt x="696" y="462"/>
                  </a:lnTo>
                  <a:lnTo>
                    <a:pt x="702" y="456"/>
                  </a:lnTo>
                  <a:lnTo>
                    <a:pt x="708" y="450"/>
                  </a:lnTo>
                  <a:lnTo>
                    <a:pt x="714" y="450"/>
                  </a:lnTo>
                  <a:lnTo>
                    <a:pt x="720" y="450"/>
                  </a:lnTo>
                  <a:lnTo>
                    <a:pt x="720" y="438"/>
                  </a:lnTo>
                  <a:lnTo>
                    <a:pt x="726" y="432"/>
                  </a:lnTo>
                  <a:lnTo>
                    <a:pt x="738" y="420"/>
                  </a:lnTo>
                  <a:lnTo>
                    <a:pt x="744" y="420"/>
                  </a:lnTo>
                  <a:lnTo>
                    <a:pt x="750" y="414"/>
                  </a:lnTo>
                  <a:lnTo>
                    <a:pt x="762" y="408"/>
                  </a:lnTo>
                  <a:lnTo>
                    <a:pt x="768" y="408"/>
                  </a:lnTo>
                  <a:lnTo>
                    <a:pt x="768" y="402"/>
                  </a:lnTo>
                  <a:lnTo>
                    <a:pt x="780" y="396"/>
                  </a:lnTo>
                  <a:lnTo>
                    <a:pt x="786" y="396"/>
                  </a:lnTo>
                  <a:lnTo>
                    <a:pt x="786" y="390"/>
                  </a:lnTo>
                  <a:lnTo>
                    <a:pt x="792" y="384"/>
                  </a:lnTo>
                  <a:lnTo>
                    <a:pt x="792" y="378"/>
                  </a:lnTo>
                  <a:lnTo>
                    <a:pt x="798" y="366"/>
                  </a:lnTo>
                  <a:lnTo>
                    <a:pt x="804" y="360"/>
                  </a:lnTo>
                  <a:lnTo>
                    <a:pt x="816" y="342"/>
                  </a:lnTo>
                  <a:lnTo>
                    <a:pt x="816" y="312"/>
                  </a:lnTo>
                  <a:lnTo>
                    <a:pt x="804" y="300"/>
                  </a:lnTo>
                  <a:lnTo>
                    <a:pt x="798" y="288"/>
                  </a:lnTo>
                  <a:lnTo>
                    <a:pt x="762" y="264"/>
                  </a:lnTo>
                  <a:lnTo>
                    <a:pt x="738" y="234"/>
                  </a:lnTo>
                  <a:lnTo>
                    <a:pt x="738" y="222"/>
                  </a:lnTo>
                  <a:lnTo>
                    <a:pt x="744" y="210"/>
                  </a:lnTo>
                  <a:lnTo>
                    <a:pt x="732" y="174"/>
                  </a:lnTo>
                  <a:lnTo>
                    <a:pt x="714" y="156"/>
                  </a:lnTo>
                  <a:lnTo>
                    <a:pt x="708" y="144"/>
                  </a:lnTo>
                  <a:lnTo>
                    <a:pt x="714" y="126"/>
                  </a:lnTo>
                  <a:lnTo>
                    <a:pt x="720" y="114"/>
                  </a:lnTo>
                  <a:lnTo>
                    <a:pt x="732" y="102"/>
                  </a:lnTo>
                  <a:lnTo>
                    <a:pt x="744" y="102"/>
                  </a:lnTo>
                  <a:lnTo>
                    <a:pt x="762" y="108"/>
                  </a:lnTo>
                  <a:lnTo>
                    <a:pt x="774" y="114"/>
                  </a:lnTo>
                  <a:lnTo>
                    <a:pt x="780" y="138"/>
                  </a:lnTo>
                  <a:lnTo>
                    <a:pt x="786" y="144"/>
                  </a:lnTo>
                  <a:lnTo>
                    <a:pt x="798" y="138"/>
                  </a:lnTo>
                  <a:lnTo>
                    <a:pt x="804" y="132"/>
                  </a:lnTo>
                  <a:lnTo>
                    <a:pt x="816" y="120"/>
                  </a:lnTo>
                  <a:lnTo>
                    <a:pt x="816" y="108"/>
                  </a:lnTo>
                  <a:lnTo>
                    <a:pt x="828" y="102"/>
                  </a:lnTo>
                  <a:lnTo>
                    <a:pt x="828" y="96"/>
                  </a:lnTo>
                  <a:lnTo>
                    <a:pt x="840" y="96"/>
                  </a:lnTo>
                  <a:lnTo>
                    <a:pt x="840" y="84"/>
                  </a:lnTo>
                  <a:lnTo>
                    <a:pt x="852" y="90"/>
                  </a:lnTo>
                  <a:lnTo>
                    <a:pt x="852" y="96"/>
                  </a:lnTo>
                  <a:lnTo>
                    <a:pt x="870" y="90"/>
                  </a:lnTo>
                  <a:lnTo>
                    <a:pt x="894" y="78"/>
                  </a:lnTo>
                  <a:lnTo>
                    <a:pt x="912" y="78"/>
                  </a:lnTo>
                  <a:lnTo>
                    <a:pt x="942" y="66"/>
                  </a:lnTo>
                  <a:lnTo>
                    <a:pt x="942" y="60"/>
                  </a:lnTo>
                  <a:lnTo>
                    <a:pt x="954" y="48"/>
                  </a:lnTo>
                  <a:lnTo>
                    <a:pt x="966" y="30"/>
                  </a:lnTo>
                  <a:lnTo>
                    <a:pt x="978" y="30"/>
                  </a:lnTo>
                  <a:lnTo>
                    <a:pt x="978" y="24"/>
                  </a:lnTo>
                  <a:lnTo>
                    <a:pt x="984" y="12"/>
                  </a:lnTo>
                  <a:lnTo>
                    <a:pt x="990" y="12"/>
                  </a:lnTo>
                  <a:lnTo>
                    <a:pt x="996" y="12"/>
                  </a:lnTo>
                  <a:lnTo>
                    <a:pt x="1014" y="6"/>
                  </a:lnTo>
                  <a:lnTo>
                    <a:pt x="1026" y="6"/>
                  </a:lnTo>
                  <a:lnTo>
                    <a:pt x="1044" y="6"/>
                  </a:lnTo>
                  <a:lnTo>
                    <a:pt x="1050" y="6"/>
                  </a:lnTo>
                  <a:lnTo>
                    <a:pt x="1056" y="6"/>
                  </a:lnTo>
                  <a:lnTo>
                    <a:pt x="1062" y="6"/>
                  </a:lnTo>
                  <a:lnTo>
                    <a:pt x="1068" y="6"/>
                  </a:lnTo>
                  <a:lnTo>
                    <a:pt x="1074" y="6"/>
                  </a:lnTo>
                  <a:lnTo>
                    <a:pt x="1080" y="6"/>
                  </a:lnTo>
                  <a:lnTo>
                    <a:pt x="1086" y="0"/>
                  </a:lnTo>
                  <a:lnTo>
                    <a:pt x="1092" y="30"/>
                  </a:lnTo>
                  <a:lnTo>
                    <a:pt x="1098" y="60"/>
                  </a:lnTo>
                  <a:lnTo>
                    <a:pt x="1110" y="84"/>
                  </a:lnTo>
                  <a:lnTo>
                    <a:pt x="1122" y="114"/>
                  </a:lnTo>
                  <a:lnTo>
                    <a:pt x="1128" y="144"/>
                  </a:lnTo>
                  <a:lnTo>
                    <a:pt x="1122" y="156"/>
                  </a:lnTo>
                  <a:lnTo>
                    <a:pt x="1128" y="168"/>
                  </a:lnTo>
                  <a:lnTo>
                    <a:pt x="1134" y="186"/>
                  </a:lnTo>
                  <a:lnTo>
                    <a:pt x="1140" y="204"/>
                  </a:lnTo>
                  <a:lnTo>
                    <a:pt x="1146" y="210"/>
                  </a:lnTo>
                  <a:lnTo>
                    <a:pt x="1146" y="216"/>
                  </a:lnTo>
                  <a:lnTo>
                    <a:pt x="1146" y="228"/>
                  </a:lnTo>
                  <a:lnTo>
                    <a:pt x="1146" y="234"/>
                  </a:lnTo>
                  <a:lnTo>
                    <a:pt x="1140" y="246"/>
                  </a:lnTo>
                  <a:lnTo>
                    <a:pt x="1128" y="258"/>
                  </a:lnTo>
                  <a:lnTo>
                    <a:pt x="1116" y="264"/>
                  </a:lnTo>
                  <a:lnTo>
                    <a:pt x="1110" y="276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2" y="312"/>
                  </a:lnTo>
                  <a:lnTo>
                    <a:pt x="1116" y="324"/>
                  </a:lnTo>
                  <a:lnTo>
                    <a:pt x="1104" y="336"/>
                  </a:lnTo>
                  <a:lnTo>
                    <a:pt x="1104" y="354"/>
                  </a:lnTo>
                  <a:lnTo>
                    <a:pt x="1098" y="372"/>
                  </a:lnTo>
                  <a:lnTo>
                    <a:pt x="1092" y="384"/>
                  </a:lnTo>
                  <a:lnTo>
                    <a:pt x="1086" y="390"/>
                  </a:lnTo>
                  <a:lnTo>
                    <a:pt x="1086" y="402"/>
                  </a:lnTo>
                  <a:lnTo>
                    <a:pt x="1080" y="414"/>
                  </a:lnTo>
                  <a:lnTo>
                    <a:pt x="1074" y="426"/>
                  </a:lnTo>
                  <a:lnTo>
                    <a:pt x="1074" y="450"/>
                  </a:lnTo>
                  <a:lnTo>
                    <a:pt x="1074" y="462"/>
                  </a:lnTo>
                  <a:lnTo>
                    <a:pt x="1068" y="474"/>
                  </a:lnTo>
                  <a:lnTo>
                    <a:pt x="1062" y="486"/>
                  </a:lnTo>
                  <a:lnTo>
                    <a:pt x="1056" y="498"/>
                  </a:lnTo>
                  <a:close/>
                  <a:moveTo>
                    <a:pt x="186" y="378"/>
                  </a:moveTo>
                  <a:lnTo>
                    <a:pt x="186" y="384"/>
                  </a:lnTo>
                  <a:lnTo>
                    <a:pt x="180" y="390"/>
                  </a:lnTo>
                  <a:lnTo>
                    <a:pt x="174" y="396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14"/>
                  </a:lnTo>
                  <a:lnTo>
                    <a:pt x="126" y="414"/>
                  </a:lnTo>
                  <a:lnTo>
                    <a:pt x="120" y="414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2" y="426"/>
                  </a:lnTo>
                  <a:lnTo>
                    <a:pt x="102" y="432"/>
                  </a:lnTo>
                  <a:lnTo>
                    <a:pt x="96" y="432"/>
                  </a:lnTo>
                  <a:lnTo>
                    <a:pt x="90" y="432"/>
                  </a:lnTo>
                  <a:lnTo>
                    <a:pt x="84" y="438"/>
                  </a:lnTo>
                  <a:lnTo>
                    <a:pt x="78" y="438"/>
                  </a:lnTo>
                  <a:lnTo>
                    <a:pt x="78" y="444"/>
                  </a:lnTo>
                  <a:lnTo>
                    <a:pt x="72" y="444"/>
                  </a:lnTo>
                  <a:lnTo>
                    <a:pt x="72" y="450"/>
                  </a:lnTo>
                  <a:lnTo>
                    <a:pt x="66" y="456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48" y="468"/>
                  </a:lnTo>
                  <a:lnTo>
                    <a:pt x="42" y="468"/>
                  </a:lnTo>
                  <a:lnTo>
                    <a:pt x="42" y="462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8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0" y="396"/>
                  </a:lnTo>
                  <a:lnTo>
                    <a:pt x="6" y="384"/>
                  </a:lnTo>
                  <a:lnTo>
                    <a:pt x="18" y="372"/>
                  </a:lnTo>
                  <a:lnTo>
                    <a:pt x="30" y="348"/>
                  </a:lnTo>
                  <a:lnTo>
                    <a:pt x="30" y="342"/>
                  </a:lnTo>
                  <a:lnTo>
                    <a:pt x="42" y="330"/>
                  </a:lnTo>
                  <a:lnTo>
                    <a:pt x="42" y="324"/>
                  </a:lnTo>
                  <a:lnTo>
                    <a:pt x="48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60" y="282"/>
                  </a:lnTo>
                  <a:lnTo>
                    <a:pt x="60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2" y="258"/>
                  </a:lnTo>
                  <a:lnTo>
                    <a:pt x="84" y="246"/>
                  </a:lnTo>
                  <a:lnTo>
                    <a:pt x="90" y="234"/>
                  </a:lnTo>
                  <a:lnTo>
                    <a:pt x="96" y="234"/>
                  </a:lnTo>
                  <a:lnTo>
                    <a:pt x="96" y="228"/>
                  </a:lnTo>
                  <a:lnTo>
                    <a:pt x="102" y="222"/>
                  </a:lnTo>
                  <a:lnTo>
                    <a:pt x="102" y="228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14" y="228"/>
                  </a:lnTo>
                  <a:lnTo>
                    <a:pt x="114" y="234"/>
                  </a:lnTo>
                  <a:lnTo>
                    <a:pt x="120" y="228"/>
                  </a:lnTo>
                  <a:lnTo>
                    <a:pt x="120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26" y="228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8" y="234"/>
                  </a:lnTo>
                  <a:lnTo>
                    <a:pt x="144" y="234"/>
                  </a:lnTo>
                  <a:lnTo>
                    <a:pt x="144" y="228"/>
                  </a:lnTo>
                  <a:lnTo>
                    <a:pt x="150" y="228"/>
                  </a:lnTo>
                  <a:lnTo>
                    <a:pt x="156" y="228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46"/>
                  </a:lnTo>
                  <a:lnTo>
                    <a:pt x="162" y="240"/>
                  </a:lnTo>
                  <a:lnTo>
                    <a:pt x="162" y="246"/>
                  </a:lnTo>
                  <a:lnTo>
                    <a:pt x="162" y="258"/>
                  </a:lnTo>
                  <a:lnTo>
                    <a:pt x="162" y="264"/>
                  </a:lnTo>
                  <a:lnTo>
                    <a:pt x="156" y="270"/>
                  </a:lnTo>
                  <a:lnTo>
                    <a:pt x="162" y="270"/>
                  </a:lnTo>
                  <a:lnTo>
                    <a:pt x="162" y="282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86" y="288"/>
                  </a:lnTo>
                  <a:lnTo>
                    <a:pt x="186" y="294"/>
                  </a:lnTo>
                  <a:lnTo>
                    <a:pt x="180" y="300"/>
                  </a:lnTo>
                  <a:lnTo>
                    <a:pt x="174" y="318"/>
                  </a:lnTo>
                  <a:lnTo>
                    <a:pt x="174" y="324"/>
                  </a:lnTo>
                  <a:lnTo>
                    <a:pt x="168" y="330"/>
                  </a:lnTo>
                  <a:lnTo>
                    <a:pt x="168" y="342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74" y="360"/>
                  </a:lnTo>
                  <a:lnTo>
                    <a:pt x="180" y="366"/>
                  </a:lnTo>
                  <a:lnTo>
                    <a:pt x="186" y="3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8" name="Freeform 23">
              <a:extLst>
                <a:ext uri="{FF2B5EF4-FFF2-40B4-BE49-F238E27FC236}">
                  <a16:creationId xmlns:a16="http://schemas.microsoft.com/office/drawing/2014/main" id="{A539A33E-3F6E-4AF7-BD88-1853165307F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6312" y="3604793"/>
              <a:ext cx="581410" cy="621747"/>
            </a:xfrm>
            <a:custGeom>
              <a:avLst/>
              <a:gdLst>
                <a:gd name="T0" fmla="*/ 90 w 1092"/>
                <a:gd name="T1" fmla="*/ 60 h 1170"/>
                <a:gd name="T2" fmla="*/ 83 w 1092"/>
                <a:gd name="T3" fmla="*/ 62 h 1170"/>
                <a:gd name="T4" fmla="*/ 72 w 1092"/>
                <a:gd name="T5" fmla="*/ 68 h 1170"/>
                <a:gd name="T6" fmla="*/ 68 w 1092"/>
                <a:gd name="T7" fmla="*/ 71 h 1170"/>
                <a:gd name="T8" fmla="*/ 61 w 1092"/>
                <a:gd name="T9" fmla="*/ 69 h 1170"/>
                <a:gd name="T10" fmla="*/ 64 w 1092"/>
                <a:gd name="T11" fmla="*/ 82 h 1170"/>
                <a:gd name="T12" fmla="*/ 67 w 1092"/>
                <a:gd name="T13" fmla="*/ 93 h 1170"/>
                <a:gd name="T14" fmla="*/ 62 w 1092"/>
                <a:gd name="T15" fmla="*/ 96 h 1170"/>
                <a:gd name="T16" fmla="*/ 59 w 1092"/>
                <a:gd name="T17" fmla="*/ 99 h 1170"/>
                <a:gd name="T18" fmla="*/ 53 w 1092"/>
                <a:gd name="T19" fmla="*/ 101 h 1170"/>
                <a:gd name="T20" fmla="*/ 50 w 1092"/>
                <a:gd name="T21" fmla="*/ 100 h 1170"/>
                <a:gd name="T22" fmla="*/ 50 w 1092"/>
                <a:gd name="T23" fmla="*/ 93 h 1170"/>
                <a:gd name="T24" fmla="*/ 37 w 1092"/>
                <a:gd name="T25" fmla="*/ 85 h 1170"/>
                <a:gd name="T26" fmla="*/ 32 w 1092"/>
                <a:gd name="T27" fmla="*/ 86 h 1170"/>
                <a:gd name="T28" fmla="*/ 29 w 1092"/>
                <a:gd name="T29" fmla="*/ 88 h 1170"/>
                <a:gd name="T30" fmla="*/ 27 w 1092"/>
                <a:gd name="T31" fmla="*/ 86 h 1170"/>
                <a:gd name="T32" fmla="*/ 23 w 1092"/>
                <a:gd name="T33" fmla="*/ 87 h 1170"/>
                <a:gd name="T34" fmla="*/ 17 w 1092"/>
                <a:gd name="T35" fmla="*/ 87 h 1170"/>
                <a:gd name="T36" fmla="*/ 18 w 1092"/>
                <a:gd name="T37" fmla="*/ 89 h 1170"/>
                <a:gd name="T38" fmla="*/ 16 w 1092"/>
                <a:gd name="T39" fmla="*/ 92 h 1170"/>
                <a:gd name="T40" fmla="*/ 12 w 1092"/>
                <a:gd name="T41" fmla="*/ 89 h 1170"/>
                <a:gd name="T42" fmla="*/ 13 w 1092"/>
                <a:gd name="T43" fmla="*/ 84 h 1170"/>
                <a:gd name="T44" fmla="*/ 12 w 1092"/>
                <a:gd name="T45" fmla="*/ 80 h 1170"/>
                <a:gd name="T46" fmla="*/ 10 w 1092"/>
                <a:gd name="T47" fmla="*/ 80 h 1170"/>
                <a:gd name="T48" fmla="*/ 8 w 1092"/>
                <a:gd name="T49" fmla="*/ 79 h 1170"/>
                <a:gd name="T50" fmla="*/ 6 w 1092"/>
                <a:gd name="T51" fmla="*/ 78 h 1170"/>
                <a:gd name="T52" fmla="*/ 6 w 1092"/>
                <a:gd name="T53" fmla="*/ 77 h 1170"/>
                <a:gd name="T54" fmla="*/ 4 w 1092"/>
                <a:gd name="T55" fmla="*/ 75 h 1170"/>
                <a:gd name="T56" fmla="*/ 0 w 1092"/>
                <a:gd name="T57" fmla="*/ 72 h 1170"/>
                <a:gd name="T58" fmla="*/ 0 w 1092"/>
                <a:gd name="T59" fmla="*/ 69 h 1170"/>
                <a:gd name="T60" fmla="*/ 3 w 1092"/>
                <a:gd name="T61" fmla="*/ 67 h 1170"/>
                <a:gd name="T62" fmla="*/ 6 w 1092"/>
                <a:gd name="T63" fmla="*/ 62 h 1170"/>
                <a:gd name="T64" fmla="*/ 8 w 1092"/>
                <a:gd name="T65" fmla="*/ 58 h 1170"/>
                <a:gd name="T66" fmla="*/ 5 w 1092"/>
                <a:gd name="T67" fmla="*/ 54 h 1170"/>
                <a:gd name="T68" fmla="*/ 6 w 1092"/>
                <a:gd name="T69" fmla="*/ 50 h 1170"/>
                <a:gd name="T70" fmla="*/ 8 w 1092"/>
                <a:gd name="T71" fmla="*/ 46 h 1170"/>
                <a:gd name="T72" fmla="*/ 10 w 1092"/>
                <a:gd name="T73" fmla="*/ 43 h 1170"/>
                <a:gd name="T74" fmla="*/ 14 w 1092"/>
                <a:gd name="T75" fmla="*/ 38 h 1170"/>
                <a:gd name="T76" fmla="*/ 31 w 1092"/>
                <a:gd name="T77" fmla="*/ 40 h 1170"/>
                <a:gd name="T78" fmla="*/ 30 w 1092"/>
                <a:gd name="T79" fmla="*/ 46 h 1170"/>
                <a:gd name="T80" fmla="*/ 36 w 1092"/>
                <a:gd name="T81" fmla="*/ 47 h 1170"/>
                <a:gd name="T82" fmla="*/ 41 w 1092"/>
                <a:gd name="T83" fmla="*/ 44 h 1170"/>
                <a:gd name="T84" fmla="*/ 43 w 1092"/>
                <a:gd name="T85" fmla="*/ 39 h 1170"/>
                <a:gd name="T86" fmla="*/ 44 w 1092"/>
                <a:gd name="T87" fmla="*/ 35 h 1170"/>
                <a:gd name="T88" fmla="*/ 44 w 1092"/>
                <a:gd name="T89" fmla="*/ 29 h 1170"/>
                <a:gd name="T90" fmla="*/ 48 w 1092"/>
                <a:gd name="T91" fmla="*/ 24 h 1170"/>
                <a:gd name="T92" fmla="*/ 49 w 1092"/>
                <a:gd name="T93" fmla="*/ 19 h 1170"/>
                <a:gd name="T94" fmla="*/ 51 w 1092"/>
                <a:gd name="T95" fmla="*/ 14 h 1170"/>
                <a:gd name="T96" fmla="*/ 54 w 1092"/>
                <a:gd name="T97" fmla="*/ 10 h 1170"/>
                <a:gd name="T98" fmla="*/ 53 w 1092"/>
                <a:gd name="T99" fmla="*/ 7 h 1170"/>
                <a:gd name="T100" fmla="*/ 55 w 1092"/>
                <a:gd name="T101" fmla="*/ 3 h 1170"/>
                <a:gd name="T102" fmla="*/ 58 w 1092"/>
                <a:gd name="T103" fmla="*/ 0 h 1170"/>
                <a:gd name="T104" fmla="*/ 65 w 1092"/>
                <a:gd name="T105" fmla="*/ 2 h 1170"/>
                <a:gd name="T106" fmla="*/ 61 w 1092"/>
                <a:gd name="T107" fmla="*/ 6 h 1170"/>
                <a:gd name="T108" fmla="*/ 67 w 1092"/>
                <a:gd name="T109" fmla="*/ 7 h 1170"/>
                <a:gd name="T110" fmla="*/ 71 w 1092"/>
                <a:gd name="T111" fmla="*/ 6 h 1170"/>
                <a:gd name="T112" fmla="*/ 75 w 1092"/>
                <a:gd name="T113" fmla="*/ 9 h 1170"/>
                <a:gd name="T114" fmla="*/ 82 w 1092"/>
                <a:gd name="T115" fmla="*/ 12 h 1170"/>
                <a:gd name="T116" fmla="*/ 84 w 1092"/>
                <a:gd name="T117" fmla="*/ 17 h 1170"/>
                <a:gd name="T118" fmla="*/ 94 w 1092"/>
                <a:gd name="T119" fmla="*/ 23 h 1170"/>
                <a:gd name="T120" fmla="*/ 94 w 1092"/>
                <a:gd name="T121" fmla="*/ 34 h 1170"/>
                <a:gd name="T122" fmla="*/ 90 w 1092"/>
                <a:gd name="T123" fmla="*/ 41 h 1170"/>
                <a:gd name="T124" fmla="*/ 91 w 1092"/>
                <a:gd name="T125" fmla="*/ 51 h 11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92"/>
                <a:gd name="T190" fmla="*/ 0 h 1170"/>
                <a:gd name="T191" fmla="*/ 1092 w 1092"/>
                <a:gd name="T192" fmla="*/ 1170 h 117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92" h="1170">
                  <a:moveTo>
                    <a:pt x="1056" y="654"/>
                  </a:moveTo>
                  <a:lnTo>
                    <a:pt x="1062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0"/>
                  </a:lnTo>
                  <a:lnTo>
                    <a:pt x="1038" y="690"/>
                  </a:lnTo>
                  <a:lnTo>
                    <a:pt x="1032" y="690"/>
                  </a:lnTo>
                  <a:lnTo>
                    <a:pt x="1026" y="690"/>
                  </a:lnTo>
                  <a:lnTo>
                    <a:pt x="1020" y="690"/>
                  </a:lnTo>
                  <a:lnTo>
                    <a:pt x="1002" y="690"/>
                  </a:lnTo>
                  <a:lnTo>
                    <a:pt x="990" y="690"/>
                  </a:lnTo>
                  <a:lnTo>
                    <a:pt x="972" y="696"/>
                  </a:lnTo>
                  <a:lnTo>
                    <a:pt x="966" y="696"/>
                  </a:lnTo>
                  <a:lnTo>
                    <a:pt x="960" y="696"/>
                  </a:lnTo>
                  <a:lnTo>
                    <a:pt x="954" y="708"/>
                  </a:lnTo>
                  <a:lnTo>
                    <a:pt x="954" y="714"/>
                  </a:lnTo>
                  <a:lnTo>
                    <a:pt x="942" y="714"/>
                  </a:lnTo>
                  <a:lnTo>
                    <a:pt x="930" y="732"/>
                  </a:lnTo>
                  <a:lnTo>
                    <a:pt x="918" y="744"/>
                  </a:lnTo>
                  <a:lnTo>
                    <a:pt x="918" y="750"/>
                  </a:lnTo>
                  <a:lnTo>
                    <a:pt x="888" y="762"/>
                  </a:lnTo>
                  <a:lnTo>
                    <a:pt x="870" y="762"/>
                  </a:lnTo>
                  <a:lnTo>
                    <a:pt x="846" y="774"/>
                  </a:lnTo>
                  <a:lnTo>
                    <a:pt x="828" y="780"/>
                  </a:lnTo>
                  <a:lnTo>
                    <a:pt x="828" y="774"/>
                  </a:lnTo>
                  <a:lnTo>
                    <a:pt x="816" y="768"/>
                  </a:lnTo>
                  <a:lnTo>
                    <a:pt x="816" y="780"/>
                  </a:lnTo>
                  <a:lnTo>
                    <a:pt x="804" y="780"/>
                  </a:lnTo>
                  <a:lnTo>
                    <a:pt x="804" y="786"/>
                  </a:lnTo>
                  <a:lnTo>
                    <a:pt x="792" y="792"/>
                  </a:lnTo>
                  <a:lnTo>
                    <a:pt x="792" y="804"/>
                  </a:lnTo>
                  <a:lnTo>
                    <a:pt x="780" y="816"/>
                  </a:lnTo>
                  <a:lnTo>
                    <a:pt x="774" y="822"/>
                  </a:lnTo>
                  <a:lnTo>
                    <a:pt x="762" y="828"/>
                  </a:lnTo>
                  <a:lnTo>
                    <a:pt x="756" y="822"/>
                  </a:lnTo>
                  <a:lnTo>
                    <a:pt x="750" y="798"/>
                  </a:lnTo>
                  <a:lnTo>
                    <a:pt x="738" y="792"/>
                  </a:lnTo>
                  <a:lnTo>
                    <a:pt x="720" y="786"/>
                  </a:lnTo>
                  <a:lnTo>
                    <a:pt x="708" y="786"/>
                  </a:lnTo>
                  <a:lnTo>
                    <a:pt x="696" y="798"/>
                  </a:lnTo>
                  <a:lnTo>
                    <a:pt x="690" y="810"/>
                  </a:lnTo>
                  <a:lnTo>
                    <a:pt x="684" y="828"/>
                  </a:lnTo>
                  <a:lnTo>
                    <a:pt x="690" y="840"/>
                  </a:lnTo>
                  <a:lnTo>
                    <a:pt x="708" y="858"/>
                  </a:lnTo>
                  <a:lnTo>
                    <a:pt x="720" y="894"/>
                  </a:lnTo>
                  <a:lnTo>
                    <a:pt x="714" y="906"/>
                  </a:lnTo>
                  <a:lnTo>
                    <a:pt x="714" y="918"/>
                  </a:lnTo>
                  <a:lnTo>
                    <a:pt x="738" y="948"/>
                  </a:lnTo>
                  <a:lnTo>
                    <a:pt x="774" y="972"/>
                  </a:lnTo>
                  <a:lnTo>
                    <a:pt x="780" y="984"/>
                  </a:lnTo>
                  <a:lnTo>
                    <a:pt x="792" y="996"/>
                  </a:lnTo>
                  <a:lnTo>
                    <a:pt x="792" y="1026"/>
                  </a:lnTo>
                  <a:lnTo>
                    <a:pt x="780" y="1044"/>
                  </a:lnTo>
                  <a:lnTo>
                    <a:pt x="774" y="1050"/>
                  </a:lnTo>
                  <a:lnTo>
                    <a:pt x="768" y="1062"/>
                  </a:lnTo>
                  <a:lnTo>
                    <a:pt x="768" y="1068"/>
                  </a:lnTo>
                  <a:lnTo>
                    <a:pt x="762" y="1074"/>
                  </a:lnTo>
                  <a:lnTo>
                    <a:pt x="762" y="1080"/>
                  </a:lnTo>
                  <a:lnTo>
                    <a:pt x="756" y="1080"/>
                  </a:lnTo>
                  <a:lnTo>
                    <a:pt x="744" y="1086"/>
                  </a:lnTo>
                  <a:lnTo>
                    <a:pt x="744" y="1092"/>
                  </a:lnTo>
                  <a:lnTo>
                    <a:pt x="738" y="1092"/>
                  </a:lnTo>
                  <a:lnTo>
                    <a:pt x="726" y="1098"/>
                  </a:lnTo>
                  <a:lnTo>
                    <a:pt x="720" y="1104"/>
                  </a:lnTo>
                  <a:lnTo>
                    <a:pt x="714" y="1104"/>
                  </a:lnTo>
                  <a:lnTo>
                    <a:pt x="702" y="1116"/>
                  </a:lnTo>
                  <a:lnTo>
                    <a:pt x="696" y="1122"/>
                  </a:lnTo>
                  <a:lnTo>
                    <a:pt x="696" y="1134"/>
                  </a:lnTo>
                  <a:lnTo>
                    <a:pt x="690" y="1134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72" y="1146"/>
                  </a:lnTo>
                  <a:lnTo>
                    <a:pt x="672" y="1152"/>
                  </a:lnTo>
                  <a:lnTo>
                    <a:pt x="660" y="1152"/>
                  </a:lnTo>
                  <a:lnTo>
                    <a:pt x="642" y="1152"/>
                  </a:lnTo>
                  <a:lnTo>
                    <a:pt x="636" y="1152"/>
                  </a:lnTo>
                  <a:lnTo>
                    <a:pt x="630" y="1158"/>
                  </a:lnTo>
                  <a:lnTo>
                    <a:pt x="624" y="1164"/>
                  </a:lnTo>
                  <a:lnTo>
                    <a:pt x="618" y="1170"/>
                  </a:lnTo>
                  <a:lnTo>
                    <a:pt x="612" y="1170"/>
                  </a:lnTo>
                  <a:lnTo>
                    <a:pt x="600" y="1170"/>
                  </a:lnTo>
                  <a:lnTo>
                    <a:pt x="594" y="1170"/>
                  </a:lnTo>
                  <a:lnTo>
                    <a:pt x="588" y="1170"/>
                  </a:lnTo>
                  <a:lnTo>
                    <a:pt x="582" y="1170"/>
                  </a:lnTo>
                  <a:lnTo>
                    <a:pt x="582" y="1164"/>
                  </a:lnTo>
                  <a:lnTo>
                    <a:pt x="576" y="1158"/>
                  </a:lnTo>
                  <a:lnTo>
                    <a:pt x="570" y="1158"/>
                  </a:lnTo>
                  <a:lnTo>
                    <a:pt x="570" y="1152"/>
                  </a:lnTo>
                  <a:lnTo>
                    <a:pt x="570" y="1146"/>
                  </a:lnTo>
                  <a:lnTo>
                    <a:pt x="570" y="1140"/>
                  </a:lnTo>
                  <a:lnTo>
                    <a:pt x="564" y="1140"/>
                  </a:lnTo>
                  <a:lnTo>
                    <a:pt x="564" y="1134"/>
                  </a:lnTo>
                  <a:lnTo>
                    <a:pt x="564" y="1128"/>
                  </a:lnTo>
                  <a:lnTo>
                    <a:pt x="576" y="1104"/>
                  </a:lnTo>
                  <a:lnTo>
                    <a:pt x="582" y="1086"/>
                  </a:lnTo>
                  <a:lnTo>
                    <a:pt x="570" y="1068"/>
                  </a:lnTo>
                  <a:lnTo>
                    <a:pt x="534" y="1056"/>
                  </a:lnTo>
                  <a:lnTo>
                    <a:pt x="516" y="1026"/>
                  </a:lnTo>
                  <a:lnTo>
                    <a:pt x="492" y="1020"/>
                  </a:lnTo>
                  <a:lnTo>
                    <a:pt x="492" y="1014"/>
                  </a:lnTo>
                  <a:lnTo>
                    <a:pt x="480" y="1008"/>
                  </a:lnTo>
                  <a:lnTo>
                    <a:pt x="474" y="996"/>
                  </a:lnTo>
                  <a:lnTo>
                    <a:pt x="444" y="984"/>
                  </a:lnTo>
                  <a:lnTo>
                    <a:pt x="426" y="978"/>
                  </a:lnTo>
                  <a:lnTo>
                    <a:pt x="420" y="972"/>
                  </a:lnTo>
                  <a:lnTo>
                    <a:pt x="408" y="984"/>
                  </a:lnTo>
                  <a:lnTo>
                    <a:pt x="402" y="984"/>
                  </a:lnTo>
                  <a:lnTo>
                    <a:pt x="396" y="984"/>
                  </a:lnTo>
                  <a:lnTo>
                    <a:pt x="390" y="984"/>
                  </a:lnTo>
                  <a:lnTo>
                    <a:pt x="384" y="990"/>
                  </a:lnTo>
                  <a:lnTo>
                    <a:pt x="378" y="990"/>
                  </a:lnTo>
                  <a:lnTo>
                    <a:pt x="372" y="990"/>
                  </a:lnTo>
                  <a:lnTo>
                    <a:pt x="372" y="996"/>
                  </a:lnTo>
                  <a:lnTo>
                    <a:pt x="366" y="996"/>
                  </a:lnTo>
                  <a:lnTo>
                    <a:pt x="360" y="1002"/>
                  </a:lnTo>
                  <a:lnTo>
                    <a:pt x="360" y="1008"/>
                  </a:lnTo>
                  <a:lnTo>
                    <a:pt x="354" y="1008"/>
                  </a:lnTo>
                  <a:lnTo>
                    <a:pt x="342" y="1014"/>
                  </a:lnTo>
                  <a:lnTo>
                    <a:pt x="336" y="1020"/>
                  </a:lnTo>
                  <a:lnTo>
                    <a:pt x="336" y="1014"/>
                  </a:lnTo>
                  <a:lnTo>
                    <a:pt x="330" y="1014"/>
                  </a:lnTo>
                  <a:lnTo>
                    <a:pt x="330" y="1008"/>
                  </a:lnTo>
                  <a:lnTo>
                    <a:pt x="330" y="1002"/>
                  </a:lnTo>
                  <a:lnTo>
                    <a:pt x="324" y="1002"/>
                  </a:lnTo>
                  <a:lnTo>
                    <a:pt x="324" y="996"/>
                  </a:lnTo>
                  <a:lnTo>
                    <a:pt x="324" y="990"/>
                  </a:lnTo>
                  <a:lnTo>
                    <a:pt x="318" y="990"/>
                  </a:lnTo>
                  <a:lnTo>
                    <a:pt x="306" y="996"/>
                  </a:lnTo>
                  <a:lnTo>
                    <a:pt x="300" y="996"/>
                  </a:lnTo>
                  <a:lnTo>
                    <a:pt x="294" y="996"/>
                  </a:lnTo>
                  <a:lnTo>
                    <a:pt x="288" y="1002"/>
                  </a:lnTo>
                  <a:lnTo>
                    <a:pt x="282" y="990"/>
                  </a:lnTo>
                  <a:lnTo>
                    <a:pt x="276" y="984"/>
                  </a:lnTo>
                  <a:lnTo>
                    <a:pt x="270" y="990"/>
                  </a:lnTo>
                  <a:lnTo>
                    <a:pt x="270" y="996"/>
                  </a:lnTo>
                  <a:lnTo>
                    <a:pt x="270" y="1002"/>
                  </a:lnTo>
                  <a:lnTo>
                    <a:pt x="264" y="1008"/>
                  </a:lnTo>
                  <a:lnTo>
                    <a:pt x="252" y="996"/>
                  </a:lnTo>
                  <a:lnTo>
                    <a:pt x="246" y="996"/>
                  </a:lnTo>
                  <a:lnTo>
                    <a:pt x="234" y="1002"/>
                  </a:lnTo>
                  <a:lnTo>
                    <a:pt x="222" y="1002"/>
                  </a:lnTo>
                  <a:lnTo>
                    <a:pt x="210" y="1002"/>
                  </a:lnTo>
                  <a:lnTo>
                    <a:pt x="198" y="996"/>
                  </a:lnTo>
                  <a:lnTo>
                    <a:pt x="198" y="1002"/>
                  </a:lnTo>
                  <a:lnTo>
                    <a:pt x="198" y="1008"/>
                  </a:lnTo>
                  <a:lnTo>
                    <a:pt x="192" y="1020"/>
                  </a:lnTo>
                  <a:lnTo>
                    <a:pt x="198" y="1020"/>
                  </a:lnTo>
                  <a:lnTo>
                    <a:pt x="204" y="1020"/>
                  </a:lnTo>
                  <a:lnTo>
                    <a:pt x="210" y="1026"/>
                  </a:lnTo>
                  <a:lnTo>
                    <a:pt x="216" y="1026"/>
                  </a:lnTo>
                  <a:lnTo>
                    <a:pt x="216" y="1032"/>
                  </a:lnTo>
                  <a:lnTo>
                    <a:pt x="210" y="1032"/>
                  </a:lnTo>
                  <a:lnTo>
                    <a:pt x="210" y="1038"/>
                  </a:lnTo>
                  <a:lnTo>
                    <a:pt x="204" y="1038"/>
                  </a:lnTo>
                  <a:lnTo>
                    <a:pt x="204" y="1044"/>
                  </a:lnTo>
                  <a:lnTo>
                    <a:pt x="198" y="1044"/>
                  </a:lnTo>
                  <a:lnTo>
                    <a:pt x="192" y="1044"/>
                  </a:lnTo>
                  <a:lnTo>
                    <a:pt x="186" y="1050"/>
                  </a:lnTo>
                  <a:lnTo>
                    <a:pt x="186" y="1056"/>
                  </a:lnTo>
                  <a:lnTo>
                    <a:pt x="180" y="1056"/>
                  </a:lnTo>
                  <a:lnTo>
                    <a:pt x="180" y="1062"/>
                  </a:lnTo>
                  <a:lnTo>
                    <a:pt x="174" y="1062"/>
                  </a:lnTo>
                  <a:lnTo>
                    <a:pt x="168" y="1062"/>
                  </a:lnTo>
                  <a:lnTo>
                    <a:pt x="162" y="1062"/>
                  </a:lnTo>
                  <a:lnTo>
                    <a:pt x="156" y="1050"/>
                  </a:lnTo>
                  <a:lnTo>
                    <a:pt x="150" y="1044"/>
                  </a:lnTo>
                  <a:lnTo>
                    <a:pt x="150" y="1038"/>
                  </a:lnTo>
                  <a:lnTo>
                    <a:pt x="144" y="1032"/>
                  </a:lnTo>
                  <a:lnTo>
                    <a:pt x="144" y="1026"/>
                  </a:lnTo>
                  <a:lnTo>
                    <a:pt x="144" y="1014"/>
                  </a:lnTo>
                  <a:lnTo>
                    <a:pt x="150" y="1008"/>
                  </a:lnTo>
                  <a:lnTo>
                    <a:pt x="150" y="1002"/>
                  </a:lnTo>
                  <a:lnTo>
                    <a:pt x="156" y="984"/>
                  </a:lnTo>
                  <a:lnTo>
                    <a:pt x="162" y="978"/>
                  </a:lnTo>
                  <a:lnTo>
                    <a:pt x="162" y="972"/>
                  </a:lnTo>
                  <a:lnTo>
                    <a:pt x="150" y="966"/>
                  </a:lnTo>
                  <a:lnTo>
                    <a:pt x="144" y="966"/>
                  </a:lnTo>
                  <a:lnTo>
                    <a:pt x="138" y="966"/>
                  </a:lnTo>
                  <a:lnTo>
                    <a:pt x="138" y="954"/>
                  </a:lnTo>
                  <a:lnTo>
                    <a:pt x="132" y="954"/>
                  </a:lnTo>
                  <a:lnTo>
                    <a:pt x="138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8" y="924"/>
                  </a:lnTo>
                  <a:lnTo>
                    <a:pt x="132" y="930"/>
                  </a:lnTo>
                  <a:lnTo>
                    <a:pt x="132" y="924"/>
                  </a:lnTo>
                  <a:lnTo>
                    <a:pt x="126" y="918"/>
                  </a:lnTo>
                  <a:lnTo>
                    <a:pt x="132" y="918"/>
                  </a:lnTo>
                  <a:lnTo>
                    <a:pt x="132" y="912"/>
                  </a:lnTo>
                  <a:lnTo>
                    <a:pt x="126" y="912"/>
                  </a:lnTo>
                  <a:lnTo>
                    <a:pt x="120" y="912"/>
                  </a:lnTo>
                  <a:lnTo>
                    <a:pt x="120" y="918"/>
                  </a:lnTo>
                  <a:lnTo>
                    <a:pt x="114" y="918"/>
                  </a:lnTo>
                  <a:lnTo>
                    <a:pt x="114" y="912"/>
                  </a:lnTo>
                  <a:lnTo>
                    <a:pt x="108" y="912"/>
                  </a:lnTo>
                  <a:lnTo>
                    <a:pt x="102" y="912"/>
                  </a:lnTo>
                  <a:lnTo>
                    <a:pt x="108" y="906"/>
                  </a:lnTo>
                  <a:lnTo>
                    <a:pt x="102" y="906"/>
                  </a:lnTo>
                  <a:lnTo>
                    <a:pt x="96" y="906"/>
                  </a:lnTo>
                  <a:lnTo>
                    <a:pt x="96" y="912"/>
                  </a:lnTo>
                  <a:lnTo>
                    <a:pt x="90" y="918"/>
                  </a:lnTo>
                  <a:lnTo>
                    <a:pt x="90" y="912"/>
                  </a:lnTo>
                  <a:lnTo>
                    <a:pt x="84" y="912"/>
                  </a:lnTo>
                  <a:lnTo>
                    <a:pt x="84" y="918"/>
                  </a:lnTo>
                  <a:lnTo>
                    <a:pt x="78" y="918"/>
                  </a:lnTo>
                  <a:lnTo>
                    <a:pt x="78" y="912"/>
                  </a:lnTo>
                  <a:lnTo>
                    <a:pt x="78" y="906"/>
                  </a:lnTo>
                  <a:lnTo>
                    <a:pt x="72" y="900"/>
                  </a:lnTo>
                  <a:lnTo>
                    <a:pt x="78" y="900"/>
                  </a:lnTo>
                  <a:lnTo>
                    <a:pt x="72" y="900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8" y="888"/>
                  </a:lnTo>
                  <a:lnTo>
                    <a:pt x="72" y="888"/>
                  </a:lnTo>
                  <a:lnTo>
                    <a:pt x="72" y="882"/>
                  </a:lnTo>
                  <a:lnTo>
                    <a:pt x="66" y="876"/>
                  </a:lnTo>
                  <a:lnTo>
                    <a:pt x="60" y="882"/>
                  </a:lnTo>
                  <a:lnTo>
                    <a:pt x="54" y="876"/>
                  </a:lnTo>
                  <a:lnTo>
                    <a:pt x="54" y="882"/>
                  </a:lnTo>
                  <a:lnTo>
                    <a:pt x="48" y="882"/>
                  </a:lnTo>
                  <a:lnTo>
                    <a:pt x="42" y="870"/>
                  </a:lnTo>
                  <a:lnTo>
                    <a:pt x="42" y="864"/>
                  </a:lnTo>
                  <a:lnTo>
                    <a:pt x="36" y="858"/>
                  </a:lnTo>
                  <a:lnTo>
                    <a:pt x="36" y="852"/>
                  </a:lnTo>
                  <a:lnTo>
                    <a:pt x="30" y="852"/>
                  </a:lnTo>
                  <a:lnTo>
                    <a:pt x="30" y="846"/>
                  </a:lnTo>
                  <a:lnTo>
                    <a:pt x="24" y="846"/>
                  </a:lnTo>
                  <a:lnTo>
                    <a:pt x="18" y="840"/>
                  </a:lnTo>
                  <a:lnTo>
                    <a:pt x="12" y="834"/>
                  </a:lnTo>
                  <a:lnTo>
                    <a:pt x="0" y="828"/>
                  </a:lnTo>
                  <a:lnTo>
                    <a:pt x="0" y="822"/>
                  </a:lnTo>
                  <a:lnTo>
                    <a:pt x="0" y="816"/>
                  </a:lnTo>
                  <a:lnTo>
                    <a:pt x="0" y="810"/>
                  </a:lnTo>
                  <a:lnTo>
                    <a:pt x="6" y="804"/>
                  </a:lnTo>
                  <a:lnTo>
                    <a:pt x="12" y="804"/>
                  </a:lnTo>
                  <a:lnTo>
                    <a:pt x="12" y="798"/>
                  </a:lnTo>
                  <a:lnTo>
                    <a:pt x="12" y="792"/>
                  </a:lnTo>
                  <a:lnTo>
                    <a:pt x="6" y="792"/>
                  </a:lnTo>
                  <a:lnTo>
                    <a:pt x="6" y="786"/>
                  </a:lnTo>
                  <a:lnTo>
                    <a:pt x="6" y="780"/>
                  </a:lnTo>
                  <a:lnTo>
                    <a:pt x="18" y="780"/>
                  </a:lnTo>
                  <a:lnTo>
                    <a:pt x="18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0" y="774"/>
                  </a:lnTo>
                  <a:lnTo>
                    <a:pt x="36" y="768"/>
                  </a:lnTo>
                  <a:lnTo>
                    <a:pt x="42" y="768"/>
                  </a:lnTo>
                  <a:lnTo>
                    <a:pt x="60" y="750"/>
                  </a:lnTo>
                  <a:lnTo>
                    <a:pt x="60" y="744"/>
                  </a:lnTo>
                  <a:lnTo>
                    <a:pt x="54" y="738"/>
                  </a:lnTo>
                  <a:lnTo>
                    <a:pt x="60" y="732"/>
                  </a:lnTo>
                  <a:lnTo>
                    <a:pt x="54" y="732"/>
                  </a:lnTo>
                  <a:lnTo>
                    <a:pt x="60" y="726"/>
                  </a:lnTo>
                  <a:lnTo>
                    <a:pt x="66" y="720"/>
                  </a:lnTo>
                  <a:lnTo>
                    <a:pt x="72" y="714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84" y="696"/>
                  </a:lnTo>
                  <a:lnTo>
                    <a:pt x="90" y="684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66"/>
                  </a:lnTo>
                  <a:lnTo>
                    <a:pt x="90" y="660"/>
                  </a:lnTo>
                  <a:lnTo>
                    <a:pt x="84" y="654"/>
                  </a:lnTo>
                  <a:lnTo>
                    <a:pt x="84" y="648"/>
                  </a:lnTo>
                  <a:lnTo>
                    <a:pt x="78" y="636"/>
                  </a:lnTo>
                  <a:lnTo>
                    <a:pt x="66" y="630"/>
                  </a:lnTo>
                  <a:lnTo>
                    <a:pt x="66" y="624"/>
                  </a:lnTo>
                  <a:lnTo>
                    <a:pt x="60" y="624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60" y="600"/>
                  </a:lnTo>
                  <a:lnTo>
                    <a:pt x="66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6" y="588"/>
                  </a:lnTo>
                  <a:lnTo>
                    <a:pt x="66" y="582"/>
                  </a:lnTo>
                  <a:lnTo>
                    <a:pt x="72" y="582"/>
                  </a:lnTo>
                  <a:lnTo>
                    <a:pt x="78" y="576"/>
                  </a:lnTo>
                  <a:lnTo>
                    <a:pt x="72" y="576"/>
                  </a:lnTo>
                  <a:lnTo>
                    <a:pt x="66" y="570"/>
                  </a:lnTo>
                  <a:lnTo>
                    <a:pt x="72" y="564"/>
                  </a:lnTo>
                  <a:lnTo>
                    <a:pt x="78" y="558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90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102" y="516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0" y="504"/>
                  </a:lnTo>
                  <a:lnTo>
                    <a:pt x="120" y="498"/>
                  </a:lnTo>
                  <a:lnTo>
                    <a:pt x="120" y="492"/>
                  </a:lnTo>
                  <a:lnTo>
                    <a:pt x="126" y="480"/>
                  </a:lnTo>
                  <a:lnTo>
                    <a:pt x="132" y="474"/>
                  </a:lnTo>
                  <a:lnTo>
                    <a:pt x="132" y="468"/>
                  </a:lnTo>
                  <a:lnTo>
                    <a:pt x="138" y="462"/>
                  </a:lnTo>
                  <a:lnTo>
                    <a:pt x="138" y="456"/>
                  </a:lnTo>
                  <a:lnTo>
                    <a:pt x="138" y="450"/>
                  </a:lnTo>
                  <a:lnTo>
                    <a:pt x="144" y="444"/>
                  </a:lnTo>
                  <a:lnTo>
                    <a:pt x="162" y="438"/>
                  </a:lnTo>
                  <a:lnTo>
                    <a:pt x="186" y="438"/>
                  </a:lnTo>
                  <a:lnTo>
                    <a:pt x="210" y="444"/>
                  </a:lnTo>
                  <a:lnTo>
                    <a:pt x="276" y="450"/>
                  </a:lnTo>
                  <a:lnTo>
                    <a:pt x="342" y="450"/>
                  </a:lnTo>
                  <a:lnTo>
                    <a:pt x="348" y="450"/>
                  </a:lnTo>
                  <a:lnTo>
                    <a:pt x="354" y="450"/>
                  </a:lnTo>
                  <a:lnTo>
                    <a:pt x="360" y="456"/>
                  </a:lnTo>
                  <a:lnTo>
                    <a:pt x="354" y="462"/>
                  </a:lnTo>
                  <a:lnTo>
                    <a:pt x="354" y="468"/>
                  </a:lnTo>
                  <a:lnTo>
                    <a:pt x="354" y="474"/>
                  </a:lnTo>
                  <a:lnTo>
                    <a:pt x="348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48" y="498"/>
                  </a:lnTo>
                  <a:lnTo>
                    <a:pt x="342" y="510"/>
                  </a:lnTo>
                  <a:lnTo>
                    <a:pt x="348" y="528"/>
                  </a:lnTo>
                  <a:lnTo>
                    <a:pt x="348" y="534"/>
                  </a:lnTo>
                  <a:lnTo>
                    <a:pt x="354" y="552"/>
                  </a:lnTo>
                  <a:lnTo>
                    <a:pt x="366" y="546"/>
                  </a:lnTo>
                  <a:lnTo>
                    <a:pt x="372" y="540"/>
                  </a:lnTo>
                  <a:lnTo>
                    <a:pt x="384" y="540"/>
                  </a:lnTo>
                  <a:lnTo>
                    <a:pt x="396" y="534"/>
                  </a:lnTo>
                  <a:lnTo>
                    <a:pt x="402" y="534"/>
                  </a:lnTo>
                  <a:lnTo>
                    <a:pt x="414" y="546"/>
                  </a:lnTo>
                  <a:lnTo>
                    <a:pt x="432" y="540"/>
                  </a:lnTo>
                  <a:lnTo>
                    <a:pt x="450" y="534"/>
                  </a:lnTo>
                  <a:lnTo>
                    <a:pt x="450" y="528"/>
                  </a:lnTo>
                  <a:lnTo>
                    <a:pt x="456" y="528"/>
                  </a:lnTo>
                  <a:lnTo>
                    <a:pt x="456" y="522"/>
                  </a:lnTo>
                  <a:lnTo>
                    <a:pt x="456" y="516"/>
                  </a:lnTo>
                  <a:lnTo>
                    <a:pt x="462" y="516"/>
                  </a:lnTo>
                  <a:lnTo>
                    <a:pt x="468" y="510"/>
                  </a:lnTo>
                  <a:lnTo>
                    <a:pt x="468" y="504"/>
                  </a:lnTo>
                  <a:lnTo>
                    <a:pt x="474" y="504"/>
                  </a:lnTo>
                  <a:lnTo>
                    <a:pt x="480" y="504"/>
                  </a:lnTo>
                  <a:lnTo>
                    <a:pt x="486" y="498"/>
                  </a:lnTo>
                  <a:lnTo>
                    <a:pt x="492" y="498"/>
                  </a:lnTo>
                  <a:lnTo>
                    <a:pt x="486" y="480"/>
                  </a:lnTo>
                  <a:lnTo>
                    <a:pt x="492" y="462"/>
                  </a:lnTo>
                  <a:lnTo>
                    <a:pt x="498" y="444"/>
                  </a:lnTo>
                  <a:lnTo>
                    <a:pt x="498" y="426"/>
                  </a:lnTo>
                  <a:lnTo>
                    <a:pt x="498" y="420"/>
                  </a:lnTo>
                  <a:lnTo>
                    <a:pt x="504" y="426"/>
                  </a:lnTo>
                  <a:lnTo>
                    <a:pt x="504" y="420"/>
                  </a:lnTo>
                  <a:lnTo>
                    <a:pt x="510" y="420"/>
                  </a:lnTo>
                  <a:lnTo>
                    <a:pt x="510" y="414"/>
                  </a:lnTo>
                  <a:lnTo>
                    <a:pt x="510" y="408"/>
                  </a:lnTo>
                  <a:lnTo>
                    <a:pt x="504" y="402"/>
                  </a:lnTo>
                  <a:lnTo>
                    <a:pt x="504" y="396"/>
                  </a:lnTo>
                  <a:lnTo>
                    <a:pt x="504" y="384"/>
                  </a:lnTo>
                  <a:lnTo>
                    <a:pt x="504" y="378"/>
                  </a:lnTo>
                  <a:lnTo>
                    <a:pt x="504" y="360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510" y="348"/>
                  </a:lnTo>
                  <a:lnTo>
                    <a:pt x="510" y="336"/>
                  </a:lnTo>
                  <a:lnTo>
                    <a:pt x="516" y="330"/>
                  </a:lnTo>
                  <a:lnTo>
                    <a:pt x="522" y="324"/>
                  </a:lnTo>
                  <a:lnTo>
                    <a:pt x="528" y="318"/>
                  </a:lnTo>
                  <a:lnTo>
                    <a:pt x="534" y="312"/>
                  </a:lnTo>
                  <a:lnTo>
                    <a:pt x="534" y="300"/>
                  </a:lnTo>
                  <a:lnTo>
                    <a:pt x="540" y="294"/>
                  </a:lnTo>
                  <a:lnTo>
                    <a:pt x="546" y="288"/>
                  </a:lnTo>
                  <a:lnTo>
                    <a:pt x="552" y="276"/>
                  </a:lnTo>
                  <a:lnTo>
                    <a:pt x="558" y="264"/>
                  </a:lnTo>
                  <a:lnTo>
                    <a:pt x="558" y="258"/>
                  </a:lnTo>
                  <a:lnTo>
                    <a:pt x="558" y="252"/>
                  </a:lnTo>
                  <a:lnTo>
                    <a:pt x="558" y="246"/>
                  </a:lnTo>
                  <a:lnTo>
                    <a:pt x="564" y="246"/>
                  </a:lnTo>
                  <a:lnTo>
                    <a:pt x="564" y="240"/>
                  </a:lnTo>
                  <a:lnTo>
                    <a:pt x="570" y="234"/>
                  </a:lnTo>
                  <a:lnTo>
                    <a:pt x="564" y="216"/>
                  </a:lnTo>
                  <a:lnTo>
                    <a:pt x="564" y="210"/>
                  </a:lnTo>
                  <a:lnTo>
                    <a:pt x="570" y="210"/>
                  </a:lnTo>
                  <a:lnTo>
                    <a:pt x="570" y="204"/>
                  </a:lnTo>
                  <a:lnTo>
                    <a:pt x="570" y="198"/>
                  </a:lnTo>
                  <a:lnTo>
                    <a:pt x="582" y="180"/>
                  </a:lnTo>
                  <a:lnTo>
                    <a:pt x="582" y="174"/>
                  </a:lnTo>
                  <a:lnTo>
                    <a:pt x="582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606" y="150"/>
                  </a:lnTo>
                  <a:lnTo>
                    <a:pt x="612" y="150"/>
                  </a:lnTo>
                  <a:lnTo>
                    <a:pt x="618" y="150"/>
                  </a:lnTo>
                  <a:lnTo>
                    <a:pt x="624" y="138"/>
                  </a:lnTo>
                  <a:lnTo>
                    <a:pt x="618" y="132"/>
                  </a:lnTo>
                  <a:lnTo>
                    <a:pt x="618" y="126"/>
                  </a:lnTo>
                  <a:lnTo>
                    <a:pt x="618" y="120"/>
                  </a:lnTo>
                  <a:lnTo>
                    <a:pt x="618" y="114"/>
                  </a:lnTo>
                  <a:lnTo>
                    <a:pt x="612" y="108"/>
                  </a:lnTo>
                  <a:lnTo>
                    <a:pt x="612" y="102"/>
                  </a:lnTo>
                  <a:lnTo>
                    <a:pt x="618" y="90"/>
                  </a:lnTo>
                  <a:lnTo>
                    <a:pt x="624" y="84"/>
                  </a:lnTo>
                  <a:lnTo>
                    <a:pt x="618" y="84"/>
                  </a:lnTo>
                  <a:lnTo>
                    <a:pt x="618" y="78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0" y="72"/>
                  </a:lnTo>
                  <a:lnTo>
                    <a:pt x="600" y="66"/>
                  </a:lnTo>
                  <a:lnTo>
                    <a:pt x="600" y="60"/>
                  </a:lnTo>
                  <a:lnTo>
                    <a:pt x="600" y="48"/>
                  </a:lnTo>
                  <a:lnTo>
                    <a:pt x="612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36"/>
                  </a:lnTo>
                  <a:lnTo>
                    <a:pt x="630" y="30"/>
                  </a:lnTo>
                  <a:lnTo>
                    <a:pt x="636" y="24"/>
                  </a:lnTo>
                  <a:lnTo>
                    <a:pt x="642" y="24"/>
                  </a:lnTo>
                  <a:lnTo>
                    <a:pt x="648" y="24"/>
                  </a:lnTo>
                  <a:lnTo>
                    <a:pt x="648" y="18"/>
                  </a:lnTo>
                  <a:lnTo>
                    <a:pt x="654" y="12"/>
                  </a:lnTo>
                  <a:lnTo>
                    <a:pt x="660" y="0"/>
                  </a:lnTo>
                  <a:lnTo>
                    <a:pt x="678" y="0"/>
                  </a:lnTo>
                  <a:lnTo>
                    <a:pt x="696" y="0"/>
                  </a:lnTo>
                  <a:lnTo>
                    <a:pt x="702" y="0"/>
                  </a:lnTo>
                  <a:lnTo>
                    <a:pt x="714" y="0"/>
                  </a:lnTo>
                  <a:lnTo>
                    <a:pt x="720" y="6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44" y="24"/>
                  </a:lnTo>
                  <a:lnTo>
                    <a:pt x="744" y="30"/>
                  </a:lnTo>
                  <a:lnTo>
                    <a:pt x="732" y="42"/>
                  </a:lnTo>
                  <a:lnTo>
                    <a:pt x="726" y="42"/>
                  </a:lnTo>
                  <a:lnTo>
                    <a:pt x="720" y="42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54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90"/>
                  </a:lnTo>
                  <a:lnTo>
                    <a:pt x="726" y="84"/>
                  </a:lnTo>
                  <a:lnTo>
                    <a:pt x="738" y="84"/>
                  </a:lnTo>
                  <a:lnTo>
                    <a:pt x="750" y="96"/>
                  </a:lnTo>
                  <a:lnTo>
                    <a:pt x="768" y="96"/>
                  </a:lnTo>
                  <a:lnTo>
                    <a:pt x="768" y="90"/>
                  </a:lnTo>
                  <a:lnTo>
                    <a:pt x="774" y="84"/>
                  </a:lnTo>
                  <a:lnTo>
                    <a:pt x="780" y="78"/>
                  </a:lnTo>
                  <a:lnTo>
                    <a:pt x="786" y="78"/>
                  </a:lnTo>
                  <a:lnTo>
                    <a:pt x="792" y="72"/>
                  </a:lnTo>
                  <a:lnTo>
                    <a:pt x="804" y="72"/>
                  </a:lnTo>
                  <a:lnTo>
                    <a:pt x="804" y="66"/>
                  </a:lnTo>
                  <a:lnTo>
                    <a:pt x="810" y="66"/>
                  </a:lnTo>
                  <a:lnTo>
                    <a:pt x="810" y="72"/>
                  </a:lnTo>
                  <a:lnTo>
                    <a:pt x="816" y="66"/>
                  </a:lnTo>
                  <a:lnTo>
                    <a:pt x="828" y="66"/>
                  </a:lnTo>
                  <a:lnTo>
                    <a:pt x="834" y="72"/>
                  </a:lnTo>
                  <a:lnTo>
                    <a:pt x="840" y="72"/>
                  </a:lnTo>
                  <a:lnTo>
                    <a:pt x="840" y="78"/>
                  </a:lnTo>
                  <a:lnTo>
                    <a:pt x="840" y="84"/>
                  </a:lnTo>
                  <a:lnTo>
                    <a:pt x="852" y="84"/>
                  </a:lnTo>
                  <a:lnTo>
                    <a:pt x="858" y="96"/>
                  </a:lnTo>
                  <a:lnTo>
                    <a:pt x="864" y="108"/>
                  </a:lnTo>
                  <a:lnTo>
                    <a:pt x="876" y="114"/>
                  </a:lnTo>
                  <a:lnTo>
                    <a:pt x="894" y="114"/>
                  </a:lnTo>
                  <a:lnTo>
                    <a:pt x="906" y="114"/>
                  </a:lnTo>
                  <a:lnTo>
                    <a:pt x="906" y="126"/>
                  </a:lnTo>
                  <a:lnTo>
                    <a:pt x="912" y="144"/>
                  </a:lnTo>
                  <a:lnTo>
                    <a:pt x="930" y="138"/>
                  </a:lnTo>
                  <a:lnTo>
                    <a:pt x="936" y="138"/>
                  </a:lnTo>
                  <a:lnTo>
                    <a:pt x="942" y="144"/>
                  </a:lnTo>
                  <a:lnTo>
                    <a:pt x="948" y="150"/>
                  </a:lnTo>
                  <a:lnTo>
                    <a:pt x="954" y="156"/>
                  </a:lnTo>
                  <a:lnTo>
                    <a:pt x="954" y="168"/>
                  </a:lnTo>
                  <a:lnTo>
                    <a:pt x="954" y="174"/>
                  </a:lnTo>
                  <a:lnTo>
                    <a:pt x="960" y="180"/>
                  </a:lnTo>
                  <a:lnTo>
                    <a:pt x="966" y="186"/>
                  </a:lnTo>
                  <a:lnTo>
                    <a:pt x="960" y="186"/>
                  </a:lnTo>
                  <a:lnTo>
                    <a:pt x="966" y="192"/>
                  </a:lnTo>
                  <a:lnTo>
                    <a:pt x="966" y="198"/>
                  </a:lnTo>
                  <a:lnTo>
                    <a:pt x="978" y="204"/>
                  </a:lnTo>
                  <a:lnTo>
                    <a:pt x="1050" y="186"/>
                  </a:lnTo>
                  <a:lnTo>
                    <a:pt x="1056" y="198"/>
                  </a:lnTo>
                  <a:lnTo>
                    <a:pt x="1068" y="210"/>
                  </a:lnTo>
                  <a:lnTo>
                    <a:pt x="1074" y="216"/>
                  </a:lnTo>
                  <a:lnTo>
                    <a:pt x="1080" y="252"/>
                  </a:lnTo>
                  <a:lnTo>
                    <a:pt x="1086" y="270"/>
                  </a:lnTo>
                  <a:lnTo>
                    <a:pt x="1092" y="282"/>
                  </a:lnTo>
                  <a:lnTo>
                    <a:pt x="1086" y="300"/>
                  </a:lnTo>
                  <a:lnTo>
                    <a:pt x="1074" y="330"/>
                  </a:lnTo>
                  <a:lnTo>
                    <a:pt x="1068" y="336"/>
                  </a:lnTo>
                  <a:lnTo>
                    <a:pt x="1062" y="348"/>
                  </a:lnTo>
                  <a:lnTo>
                    <a:pt x="1062" y="360"/>
                  </a:lnTo>
                  <a:lnTo>
                    <a:pt x="1068" y="378"/>
                  </a:lnTo>
                  <a:lnTo>
                    <a:pt x="1074" y="390"/>
                  </a:lnTo>
                  <a:lnTo>
                    <a:pt x="1068" y="396"/>
                  </a:lnTo>
                  <a:lnTo>
                    <a:pt x="1068" y="408"/>
                  </a:lnTo>
                  <a:lnTo>
                    <a:pt x="1062" y="414"/>
                  </a:lnTo>
                  <a:lnTo>
                    <a:pt x="1050" y="432"/>
                  </a:lnTo>
                  <a:lnTo>
                    <a:pt x="1044" y="450"/>
                  </a:lnTo>
                  <a:lnTo>
                    <a:pt x="1038" y="456"/>
                  </a:lnTo>
                  <a:lnTo>
                    <a:pt x="1026" y="468"/>
                  </a:lnTo>
                  <a:lnTo>
                    <a:pt x="1026" y="474"/>
                  </a:lnTo>
                  <a:lnTo>
                    <a:pt x="1026" y="480"/>
                  </a:lnTo>
                  <a:lnTo>
                    <a:pt x="1032" y="492"/>
                  </a:lnTo>
                  <a:lnTo>
                    <a:pt x="1044" y="504"/>
                  </a:lnTo>
                  <a:lnTo>
                    <a:pt x="1044" y="516"/>
                  </a:lnTo>
                  <a:lnTo>
                    <a:pt x="1038" y="528"/>
                  </a:lnTo>
                  <a:lnTo>
                    <a:pt x="1032" y="546"/>
                  </a:lnTo>
                  <a:lnTo>
                    <a:pt x="1032" y="570"/>
                  </a:lnTo>
                  <a:lnTo>
                    <a:pt x="1050" y="594"/>
                  </a:lnTo>
                  <a:lnTo>
                    <a:pt x="1056" y="624"/>
                  </a:lnTo>
                  <a:lnTo>
                    <a:pt x="1056" y="65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9" name="Freeform 24">
              <a:extLst>
                <a:ext uri="{FF2B5EF4-FFF2-40B4-BE49-F238E27FC236}">
                  <a16:creationId xmlns:a16="http://schemas.microsoft.com/office/drawing/2014/main" id="{CAE689DA-332A-4F73-BDE6-8865C9170AA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84829" y="3213406"/>
              <a:ext cx="851989" cy="744754"/>
            </a:xfrm>
            <a:custGeom>
              <a:avLst/>
              <a:gdLst>
                <a:gd name="T0" fmla="*/ 116 w 1602"/>
                <a:gd name="T1" fmla="*/ 91 h 1404"/>
                <a:gd name="T2" fmla="*/ 111 w 1602"/>
                <a:gd name="T3" fmla="*/ 95 h 1404"/>
                <a:gd name="T4" fmla="*/ 102 w 1602"/>
                <a:gd name="T5" fmla="*/ 101 h 1404"/>
                <a:gd name="T6" fmla="*/ 99 w 1602"/>
                <a:gd name="T7" fmla="*/ 103 h 1404"/>
                <a:gd name="T8" fmla="*/ 96 w 1602"/>
                <a:gd name="T9" fmla="*/ 106 h 1404"/>
                <a:gd name="T10" fmla="*/ 93 w 1602"/>
                <a:gd name="T11" fmla="*/ 108 h 1404"/>
                <a:gd name="T12" fmla="*/ 88 w 1602"/>
                <a:gd name="T13" fmla="*/ 106 h 1404"/>
                <a:gd name="T14" fmla="*/ 86 w 1602"/>
                <a:gd name="T15" fmla="*/ 108 h 1404"/>
                <a:gd name="T16" fmla="*/ 81 w 1602"/>
                <a:gd name="T17" fmla="*/ 119 h 1404"/>
                <a:gd name="T18" fmla="*/ 71 w 1602"/>
                <a:gd name="T19" fmla="*/ 109 h 1404"/>
                <a:gd name="T20" fmla="*/ 72 w 1602"/>
                <a:gd name="T21" fmla="*/ 101 h 1404"/>
                <a:gd name="T22" fmla="*/ 74 w 1602"/>
                <a:gd name="T23" fmla="*/ 93 h 1404"/>
                <a:gd name="T24" fmla="*/ 73 w 1602"/>
                <a:gd name="T25" fmla="*/ 82 h 1404"/>
                <a:gd name="T26" fmla="*/ 64 w 1602"/>
                <a:gd name="T27" fmla="*/ 79 h 1404"/>
                <a:gd name="T28" fmla="*/ 59 w 1602"/>
                <a:gd name="T29" fmla="*/ 75 h 1404"/>
                <a:gd name="T30" fmla="*/ 54 w 1602"/>
                <a:gd name="T31" fmla="*/ 71 h 1404"/>
                <a:gd name="T32" fmla="*/ 51 w 1602"/>
                <a:gd name="T33" fmla="*/ 70 h 1404"/>
                <a:gd name="T34" fmla="*/ 45 w 1602"/>
                <a:gd name="T35" fmla="*/ 71 h 1404"/>
                <a:gd name="T36" fmla="*/ 43 w 1602"/>
                <a:gd name="T37" fmla="*/ 68 h 1404"/>
                <a:gd name="T38" fmla="*/ 43 w 1602"/>
                <a:gd name="T39" fmla="*/ 64 h 1404"/>
                <a:gd name="T40" fmla="*/ 36 w 1602"/>
                <a:gd name="T41" fmla="*/ 66 h 1404"/>
                <a:gd name="T42" fmla="*/ 31 w 1602"/>
                <a:gd name="T43" fmla="*/ 55 h 1404"/>
                <a:gd name="T44" fmla="*/ 25 w 1602"/>
                <a:gd name="T45" fmla="*/ 53 h 1404"/>
                <a:gd name="T46" fmla="*/ 19 w 1602"/>
                <a:gd name="T47" fmla="*/ 51 h 1404"/>
                <a:gd name="T48" fmla="*/ 17 w 1602"/>
                <a:gd name="T49" fmla="*/ 43 h 1404"/>
                <a:gd name="T50" fmla="*/ 17 w 1602"/>
                <a:gd name="T51" fmla="*/ 39 h 1404"/>
                <a:gd name="T52" fmla="*/ 12 w 1602"/>
                <a:gd name="T53" fmla="*/ 39 h 1404"/>
                <a:gd name="T54" fmla="*/ 10 w 1602"/>
                <a:gd name="T55" fmla="*/ 35 h 1404"/>
                <a:gd name="T56" fmla="*/ 5 w 1602"/>
                <a:gd name="T57" fmla="*/ 30 h 1404"/>
                <a:gd name="T58" fmla="*/ 3 w 1602"/>
                <a:gd name="T59" fmla="*/ 27 h 1404"/>
                <a:gd name="T60" fmla="*/ 2 w 1602"/>
                <a:gd name="T61" fmla="*/ 25 h 1404"/>
                <a:gd name="T62" fmla="*/ 0 w 1602"/>
                <a:gd name="T63" fmla="*/ 22 h 1404"/>
                <a:gd name="T64" fmla="*/ 8 w 1602"/>
                <a:gd name="T65" fmla="*/ 14 h 1404"/>
                <a:gd name="T66" fmla="*/ 16 w 1602"/>
                <a:gd name="T67" fmla="*/ 16 h 1404"/>
                <a:gd name="T68" fmla="*/ 31 w 1602"/>
                <a:gd name="T69" fmla="*/ 18 h 1404"/>
                <a:gd name="T70" fmla="*/ 43 w 1602"/>
                <a:gd name="T71" fmla="*/ 17 h 1404"/>
                <a:gd name="T72" fmla="*/ 47 w 1602"/>
                <a:gd name="T73" fmla="*/ 6 h 1404"/>
                <a:gd name="T74" fmla="*/ 52 w 1602"/>
                <a:gd name="T75" fmla="*/ 0 h 1404"/>
                <a:gd name="T76" fmla="*/ 55 w 1602"/>
                <a:gd name="T77" fmla="*/ 3 h 1404"/>
                <a:gd name="T78" fmla="*/ 59 w 1602"/>
                <a:gd name="T79" fmla="*/ 9 h 1404"/>
                <a:gd name="T80" fmla="*/ 62 w 1602"/>
                <a:gd name="T81" fmla="*/ 16 h 1404"/>
                <a:gd name="T82" fmla="*/ 66 w 1602"/>
                <a:gd name="T83" fmla="*/ 20 h 1404"/>
                <a:gd name="T84" fmla="*/ 70 w 1602"/>
                <a:gd name="T85" fmla="*/ 25 h 1404"/>
                <a:gd name="T86" fmla="*/ 74 w 1602"/>
                <a:gd name="T87" fmla="*/ 30 h 1404"/>
                <a:gd name="T88" fmla="*/ 76 w 1602"/>
                <a:gd name="T89" fmla="*/ 27 h 1404"/>
                <a:gd name="T90" fmla="*/ 78 w 1602"/>
                <a:gd name="T91" fmla="*/ 27 h 1404"/>
                <a:gd name="T92" fmla="*/ 78 w 1602"/>
                <a:gd name="T93" fmla="*/ 23 h 1404"/>
                <a:gd name="T94" fmla="*/ 82 w 1602"/>
                <a:gd name="T95" fmla="*/ 20 h 1404"/>
                <a:gd name="T96" fmla="*/ 82 w 1602"/>
                <a:gd name="T97" fmla="*/ 18 h 1404"/>
                <a:gd name="T98" fmla="*/ 90 w 1602"/>
                <a:gd name="T99" fmla="*/ 24 h 1404"/>
                <a:gd name="T100" fmla="*/ 90 w 1602"/>
                <a:gd name="T101" fmla="*/ 45 h 1404"/>
                <a:gd name="T102" fmla="*/ 104 w 1602"/>
                <a:gd name="T103" fmla="*/ 41 h 1404"/>
                <a:gd name="T104" fmla="*/ 117 w 1602"/>
                <a:gd name="T105" fmla="*/ 39 h 1404"/>
                <a:gd name="T106" fmla="*/ 125 w 1602"/>
                <a:gd name="T107" fmla="*/ 39 h 1404"/>
                <a:gd name="T108" fmla="*/ 127 w 1602"/>
                <a:gd name="T109" fmla="*/ 43 h 1404"/>
                <a:gd name="T110" fmla="*/ 131 w 1602"/>
                <a:gd name="T111" fmla="*/ 53 h 1404"/>
                <a:gd name="T112" fmla="*/ 133 w 1602"/>
                <a:gd name="T113" fmla="*/ 60 h 1404"/>
                <a:gd name="T114" fmla="*/ 138 w 1602"/>
                <a:gd name="T115" fmla="*/ 73 h 1404"/>
                <a:gd name="T116" fmla="*/ 136 w 1602"/>
                <a:gd name="T117" fmla="*/ 80 h 1404"/>
                <a:gd name="T118" fmla="*/ 129 w 1602"/>
                <a:gd name="T119" fmla="*/ 87 h 1404"/>
                <a:gd name="T120" fmla="*/ 123 w 1602"/>
                <a:gd name="T121" fmla="*/ 95 h 14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02"/>
                <a:gd name="T184" fmla="*/ 0 h 1404"/>
                <a:gd name="T185" fmla="*/ 1602 w 1602"/>
                <a:gd name="T186" fmla="*/ 1404 h 14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02" h="1404">
                  <a:moveTo>
                    <a:pt x="1392" y="1080"/>
                  </a:moveTo>
                  <a:lnTo>
                    <a:pt x="1380" y="1074"/>
                  </a:lnTo>
                  <a:lnTo>
                    <a:pt x="1368" y="1056"/>
                  </a:lnTo>
                  <a:lnTo>
                    <a:pt x="1356" y="1044"/>
                  </a:lnTo>
                  <a:lnTo>
                    <a:pt x="1344" y="1038"/>
                  </a:lnTo>
                  <a:lnTo>
                    <a:pt x="1338" y="1038"/>
                  </a:lnTo>
                  <a:lnTo>
                    <a:pt x="1332" y="1038"/>
                  </a:lnTo>
                  <a:lnTo>
                    <a:pt x="1326" y="1044"/>
                  </a:lnTo>
                  <a:lnTo>
                    <a:pt x="1320" y="1044"/>
                  </a:lnTo>
                  <a:lnTo>
                    <a:pt x="1314" y="1044"/>
                  </a:lnTo>
                  <a:lnTo>
                    <a:pt x="1296" y="1056"/>
                  </a:lnTo>
                  <a:lnTo>
                    <a:pt x="1296" y="1080"/>
                  </a:lnTo>
                  <a:lnTo>
                    <a:pt x="1290" y="1080"/>
                  </a:lnTo>
                  <a:lnTo>
                    <a:pt x="1284" y="1086"/>
                  </a:lnTo>
                  <a:lnTo>
                    <a:pt x="1278" y="1086"/>
                  </a:lnTo>
                  <a:lnTo>
                    <a:pt x="1278" y="1092"/>
                  </a:lnTo>
                  <a:lnTo>
                    <a:pt x="1272" y="1092"/>
                  </a:lnTo>
                  <a:lnTo>
                    <a:pt x="1266" y="1086"/>
                  </a:lnTo>
                  <a:lnTo>
                    <a:pt x="1260" y="1086"/>
                  </a:lnTo>
                  <a:lnTo>
                    <a:pt x="1260" y="1098"/>
                  </a:lnTo>
                  <a:lnTo>
                    <a:pt x="1248" y="1098"/>
                  </a:lnTo>
                  <a:lnTo>
                    <a:pt x="1212" y="1116"/>
                  </a:lnTo>
                  <a:lnTo>
                    <a:pt x="1206" y="1158"/>
                  </a:lnTo>
                  <a:lnTo>
                    <a:pt x="1176" y="1164"/>
                  </a:lnTo>
                  <a:lnTo>
                    <a:pt x="1158" y="1164"/>
                  </a:lnTo>
                  <a:lnTo>
                    <a:pt x="1152" y="1164"/>
                  </a:lnTo>
                  <a:lnTo>
                    <a:pt x="1152" y="1170"/>
                  </a:lnTo>
                  <a:lnTo>
                    <a:pt x="1152" y="1176"/>
                  </a:lnTo>
                  <a:lnTo>
                    <a:pt x="1146" y="1176"/>
                  </a:lnTo>
                  <a:lnTo>
                    <a:pt x="1140" y="1176"/>
                  </a:lnTo>
                  <a:lnTo>
                    <a:pt x="1134" y="1182"/>
                  </a:lnTo>
                  <a:lnTo>
                    <a:pt x="1134" y="1188"/>
                  </a:lnTo>
                  <a:lnTo>
                    <a:pt x="1128" y="1194"/>
                  </a:lnTo>
                  <a:lnTo>
                    <a:pt x="1122" y="1194"/>
                  </a:lnTo>
                  <a:lnTo>
                    <a:pt x="1116" y="1194"/>
                  </a:lnTo>
                  <a:lnTo>
                    <a:pt x="1110" y="1200"/>
                  </a:lnTo>
                  <a:lnTo>
                    <a:pt x="1110" y="1206"/>
                  </a:lnTo>
                  <a:lnTo>
                    <a:pt x="1104" y="1212"/>
                  </a:lnTo>
                  <a:lnTo>
                    <a:pt x="1104" y="1218"/>
                  </a:lnTo>
                  <a:lnTo>
                    <a:pt x="1098" y="1224"/>
                  </a:lnTo>
                  <a:lnTo>
                    <a:pt x="1092" y="1230"/>
                  </a:lnTo>
                  <a:lnTo>
                    <a:pt x="1086" y="1230"/>
                  </a:lnTo>
                  <a:lnTo>
                    <a:pt x="1080" y="1230"/>
                  </a:lnTo>
                  <a:lnTo>
                    <a:pt x="1080" y="1242"/>
                  </a:lnTo>
                  <a:lnTo>
                    <a:pt x="1074" y="1242"/>
                  </a:lnTo>
                  <a:lnTo>
                    <a:pt x="1068" y="1242"/>
                  </a:lnTo>
                  <a:lnTo>
                    <a:pt x="1068" y="1236"/>
                  </a:lnTo>
                  <a:lnTo>
                    <a:pt x="1062" y="1242"/>
                  </a:lnTo>
                  <a:lnTo>
                    <a:pt x="1056" y="1236"/>
                  </a:lnTo>
                  <a:lnTo>
                    <a:pt x="1050" y="1242"/>
                  </a:lnTo>
                  <a:lnTo>
                    <a:pt x="1050" y="1236"/>
                  </a:lnTo>
                  <a:lnTo>
                    <a:pt x="1044" y="1194"/>
                  </a:lnTo>
                  <a:lnTo>
                    <a:pt x="1032" y="1194"/>
                  </a:lnTo>
                  <a:lnTo>
                    <a:pt x="1032" y="1200"/>
                  </a:lnTo>
                  <a:lnTo>
                    <a:pt x="1026" y="1200"/>
                  </a:lnTo>
                  <a:lnTo>
                    <a:pt x="1014" y="1218"/>
                  </a:lnTo>
                  <a:lnTo>
                    <a:pt x="1014" y="1224"/>
                  </a:lnTo>
                  <a:lnTo>
                    <a:pt x="1014" y="1236"/>
                  </a:lnTo>
                  <a:lnTo>
                    <a:pt x="1014" y="1242"/>
                  </a:lnTo>
                  <a:lnTo>
                    <a:pt x="1008" y="1242"/>
                  </a:lnTo>
                  <a:lnTo>
                    <a:pt x="1002" y="1236"/>
                  </a:lnTo>
                  <a:lnTo>
                    <a:pt x="1002" y="1230"/>
                  </a:lnTo>
                  <a:lnTo>
                    <a:pt x="996" y="1236"/>
                  </a:lnTo>
                  <a:lnTo>
                    <a:pt x="990" y="1236"/>
                  </a:lnTo>
                  <a:lnTo>
                    <a:pt x="990" y="1230"/>
                  </a:lnTo>
                  <a:lnTo>
                    <a:pt x="984" y="1236"/>
                  </a:lnTo>
                  <a:lnTo>
                    <a:pt x="978" y="1248"/>
                  </a:lnTo>
                  <a:lnTo>
                    <a:pt x="972" y="1254"/>
                  </a:lnTo>
                  <a:lnTo>
                    <a:pt x="966" y="1260"/>
                  </a:lnTo>
                  <a:lnTo>
                    <a:pt x="930" y="1284"/>
                  </a:lnTo>
                  <a:lnTo>
                    <a:pt x="942" y="1356"/>
                  </a:lnTo>
                  <a:lnTo>
                    <a:pt x="930" y="1368"/>
                  </a:lnTo>
                  <a:lnTo>
                    <a:pt x="852" y="1404"/>
                  </a:lnTo>
                  <a:lnTo>
                    <a:pt x="834" y="1392"/>
                  </a:lnTo>
                  <a:lnTo>
                    <a:pt x="834" y="1362"/>
                  </a:lnTo>
                  <a:lnTo>
                    <a:pt x="828" y="1332"/>
                  </a:lnTo>
                  <a:lnTo>
                    <a:pt x="810" y="1308"/>
                  </a:lnTo>
                  <a:lnTo>
                    <a:pt x="810" y="1284"/>
                  </a:lnTo>
                  <a:lnTo>
                    <a:pt x="816" y="1266"/>
                  </a:lnTo>
                  <a:lnTo>
                    <a:pt x="822" y="1254"/>
                  </a:lnTo>
                  <a:lnTo>
                    <a:pt x="822" y="1242"/>
                  </a:lnTo>
                  <a:lnTo>
                    <a:pt x="810" y="1230"/>
                  </a:lnTo>
                  <a:lnTo>
                    <a:pt x="804" y="1218"/>
                  </a:lnTo>
                  <a:lnTo>
                    <a:pt x="804" y="1212"/>
                  </a:lnTo>
                  <a:lnTo>
                    <a:pt x="804" y="1206"/>
                  </a:lnTo>
                  <a:lnTo>
                    <a:pt x="816" y="1194"/>
                  </a:lnTo>
                  <a:lnTo>
                    <a:pt x="822" y="1188"/>
                  </a:lnTo>
                  <a:lnTo>
                    <a:pt x="828" y="1170"/>
                  </a:lnTo>
                  <a:lnTo>
                    <a:pt x="840" y="1152"/>
                  </a:lnTo>
                  <a:lnTo>
                    <a:pt x="846" y="1146"/>
                  </a:lnTo>
                  <a:lnTo>
                    <a:pt x="846" y="1134"/>
                  </a:lnTo>
                  <a:lnTo>
                    <a:pt x="852" y="1128"/>
                  </a:lnTo>
                  <a:lnTo>
                    <a:pt x="846" y="1116"/>
                  </a:lnTo>
                  <a:lnTo>
                    <a:pt x="840" y="1098"/>
                  </a:lnTo>
                  <a:lnTo>
                    <a:pt x="840" y="1086"/>
                  </a:lnTo>
                  <a:lnTo>
                    <a:pt x="846" y="1074"/>
                  </a:lnTo>
                  <a:lnTo>
                    <a:pt x="852" y="1068"/>
                  </a:lnTo>
                  <a:lnTo>
                    <a:pt x="864" y="1038"/>
                  </a:lnTo>
                  <a:lnTo>
                    <a:pt x="870" y="1020"/>
                  </a:lnTo>
                  <a:lnTo>
                    <a:pt x="864" y="1008"/>
                  </a:lnTo>
                  <a:lnTo>
                    <a:pt x="858" y="990"/>
                  </a:lnTo>
                  <a:lnTo>
                    <a:pt x="852" y="954"/>
                  </a:lnTo>
                  <a:lnTo>
                    <a:pt x="846" y="948"/>
                  </a:lnTo>
                  <a:lnTo>
                    <a:pt x="834" y="936"/>
                  </a:lnTo>
                  <a:lnTo>
                    <a:pt x="828" y="924"/>
                  </a:lnTo>
                  <a:lnTo>
                    <a:pt x="756" y="942"/>
                  </a:lnTo>
                  <a:lnTo>
                    <a:pt x="744" y="936"/>
                  </a:lnTo>
                  <a:lnTo>
                    <a:pt x="744" y="930"/>
                  </a:lnTo>
                  <a:lnTo>
                    <a:pt x="738" y="924"/>
                  </a:lnTo>
                  <a:lnTo>
                    <a:pt x="744" y="924"/>
                  </a:lnTo>
                  <a:lnTo>
                    <a:pt x="738" y="918"/>
                  </a:lnTo>
                  <a:lnTo>
                    <a:pt x="732" y="912"/>
                  </a:lnTo>
                  <a:lnTo>
                    <a:pt x="732" y="906"/>
                  </a:lnTo>
                  <a:lnTo>
                    <a:pt x="732" y="894"/>
                  </a:lnTo>
                  <a:lnTo>
                    <a:pt x="726" y="888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6"/>
                  </a:lnTo>
                  <a:lnTo>
                    <a:pt x="690" y="882"/>
                  </a:lnTo>
                  <a:lnTo>
                    <a:pt x="684" y="864"/>
                  </a:lnTo>
                  <a:lnTo>
                    <a:pt x="684" y="852"/>
                  </a:lnTo>
                  <a:lnTo>
                    <a:pt x="672" y="852"/>
                  </a:lnTo>
                  <a:lnTo>
                    <a:pt x="654" y="852"/>
                  </a:lnTo>
                  <a:lnTo>
                    <a:pt x="642" y="846"/>
                  </a:lnTo>
                  <a:lnTo>
                    <a:pt x="636" y="834"/>
                  </a:lnTo>
                  <a:lnTo>
                    <a:pt x="630" y="822"/>
                  </a:lnTo>
                  <a:lnTo>
                    <a:pt x="618" y="822"/>
                  </a:lnTo>
                  <a:lnTo>
                    <a:pt x="618" y="816"/>
                  </a:lnTo>
                  <a:lnTo>
                    <a:pt x="618" y="810"/>
                  </a:lnTo>
                  <a:lnTo>
                    <a:pt x="612" y="810"/>
                  </a:lnTo>
                  <a:lnTo>
                    <a:pt x="606" y="804"/>
                  </a:lnTo>
                  <a:lnTo>
                    <a:pt x="594" y="804"/>
                  </a:lnTo>
                  <a:lnTo>
                    <a:pt x="588" y="810"/>
                  </a:lnTo>
                  <a:lnTo>
                    <a:pt x="588" y="804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70" y="810"/>
                  </a:lnTo>
                  <a:lnTo>
                    <a:pt x="564" y="816"/>
                  </a:lnTo>
                  <a:lnTo>
                    <a:pt x="558" y="816"/>
                  </a:lnTo>
                  <a:lnTo>
                    <a:pt x="552" y="822"/>
                  </a:lnTo>
                  <a:lnTo>
                    <a:pt x="546" y="828"/>
                  </a:lnTo>
                  <a:lnTo>
                    <a:pt x="546" y="834"/>
                  </a:lnTo>
                  <a:lnTo>
                    <a:pt x="528" y="834"/>
                  </a:lnTo>
                  <a:lnTo>
                    <a:pt x="516" y="822"/>
                  </a:lnTo>
                  <a:lnTo>
                    <a:pt x="504" y="822"/>
                  </a:lnTo>
                  <a:lnTo>
                    <a:pt x="492" y="82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6" y="792"/>
                  </a:lnTo>
                  <a:lnTo>
                    <a:pt x="492" y="786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504" y="780"/>
                  </a:lnTo>
                  <a:lnTo>
                    <a:pt x="510" y="780"/>
                  </a:lnTo>
                  <a:lnTo>
                    <a:pt x="522" y="768"/>
                  </a:lnTo>
                  <a:lnTo>
                    <a:pt x="522" y="762"/>
                  </a:lnTo>
                  <a:lnTo>
                    <a:pt x="504" y="756"/>
                  </a:lnTo>
                  <a:lnTo>
                    <a:pt x="498" y="756"/>
                  </a:lnTo>
                  <a:lnTo>
                    <a:pt x="498" y="744"/>
                  </a:lnTo>
                  <a:lnTo>
                    <a:pt x="492" y="738"/>
                  </a:lnTo>
                  <a:lnTo>
                    <a:pt x="480" y="738"/>
                  </a:lnTo>
                  <a:lnTo>
                    <a:pt x="474" y="738"/>
                  </a:lnTo>
                  <a:lnTo>
                    <a:pt x="456" y="738"/>
                  </a:lnTo>
                  <a:lnTo>
                    <a:pt x="438" y="738"/>
                  </a:lnTo>
                  <a:lnTo>
                    <a:pt x="432" y="750"/>
                  </a:lnTo>
                  <a:lnTo>
                    <a:pt x="426" y="756"/>
                  </a:lnTo>
                  <a:lnTo>
                    <a:pt x="426" y="762"/>
                  </a:lnTo>
                  <a:lnTo>
                    <a:pt x="420" y="762"/>
                  </a:lnTo>
                  <a:lnTo>
                    <a:pt x="408" y="744"/>
                  </a:lnTo>
                  <a:lnTo>
                    <a:pt x="408" y="732"/>
                  </a:lnTo>
                  <a:lnTo>
                    <a:pt x="390" y="714"/>
                  </a:lnTo>
                  <a:lnTo>
                    <a:pt x="384" y="702"/>
                  </a:lnTo>
                  <a:lnTo>
                    <a:pt x="384" y="690"/>
                  </a:lnTo>
                  <a:lnTo>
                    <a:pt x="372" y="690"/>
                  </a:lnTo>
                  <a:lnTo>
                    <a:pt x="366" y="660"/>
                  </a:lnTo>
                  <a:lnTo>
                    <a:pt x="354" y="630"/>
                  </a:lnTo>
                  <a:lnTo>
                    <a:pt x="348" y="630"/>
                  </a:lnTo>
                  <a:lnTo>
                    <a:pt x="336" y="630"/>
                  </a:lnTo>
                  <a:lnTo>
                    <a:pt x="330" y="630"/>
                  </a:lnTo>
                  <a:lnTo>
                    <a:pt x="318" y="630"/>
                  </a:lnTo>
                  <a:lnTo>
                    <a:pt x="312" y="624"/>
                  </a:lnTo>
                  <a:lnTo>
                    <a:pt x="306" y="624"/>
                  </a:lnTo>
                  <a:lnTo>
                    <a:pt x="294" y="618"/>
                  </a:lnTo>
                  <a:lnTo>
                    <a:pt x="288" y="612"/>
                  </a:lnTo>
                  <a:lnTo>
                    <a:pt x="276" y="600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58" y="588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8"/>
                  </a:lnTo>
                  <a:lnTo>
                    <a:pt x="216" y="582"/>
                  </a:lnTo>
                  <a:lnTo>
                    <a:pt x="210" y="588"/>
                  </a:lnTo>
                  <a:lnTo>
                    <a:pt x="198" y="582"/>
                  </a:lnTo>
                  <a:lnTo>
                    <a:pt x="180" y="582"/>
                  </a:lnTo>
                  <a:lnTo>
                    <a:pt x="174" y="552"/>
                  </a:lnTo>
                  <a:lnTo>
                    <a:pt x="168" y="504"/>
                  </a:lnTo>
                  <a:lnTo>
                    <a:pt x="186" y="504"/>
                  </a:lnTo>
                  <a:lnTo>
                    <a:pt x="192" y="504"/>
                  </a:lnTo>
                  <a:lnTo>
                    <a:pt x="192" y="498"/>
                  </a:lnTo>
                  <a:lnTo>
                    <a:pt x="192" y="492"/>
                  </a:lnTo>
                  <a:lnTo>
                    <a:pt x="192" y="486"/>
                  </a:lnTo>
                  <a:lnTo>
                    <a:pt x="198" y="486"/>
                  </a:lnTo>
                  <a:lnTo>
                    <a:pt x="198" y="480"/>
                  </a:lnTo>
                  <a:lnTo>
                    <a:pt x="204" y="474"/>
                  </a:lnTo>
                  <a:lnTo>
                    <a:pt x="210" y="468"/>
                  </a:lnTo>
                  <a:lnTo>
                    <a:pt x="198" y="462"/>
                  </a:lnTo>
                  <a:lnTo>
                    <a:pt x="192" y="444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32"/>
                  </a:lnTo>
                  <a:lnTo>
                    <a:pt x="168" y="438"/>
                  </a:lnTo>
                  <a:lnTo>
                    <a:pt x="150" y="450"/>
                  </a:lnTo>
                  <a:lnTo>
                    <a:pt x="144" y="456"/>
                  </a:lnTo>
                  <a:lnTo>
                    <a:pt x="132" y="456"/>
                  </a:lnTo>
                  <a:lnTo>
                    <a:pt x="126" y="468"/>
                  </a:lnTo>
                  <a:lnTo>
                    <a:pt x="114" y="468"/>
                  </a:lnTo>
                  <a:lnTo>
                    <a:pt x="108" y="468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14"/>
                  </a:lnTo>
                  <a:lnTo>
                    <a:pt x="108" y="396"/>
                  </a:lnTo>
                  <a:lnTo>
                    <a:pt x="120" y="396"/>
                  </a:lnTo>
                  <a:lnTo>
                    <a:pt x="126" y="384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84" y="354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0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60" y="318"/>
                  </a:lnTo>
                  <a:lnTo>
                    <a:pt x="42" y="324"/>
                  </a:lnTo>
                  <a:lnTo>
                    <a:pt x="36" y="318"/>
                  </a:lnTo>
                  <a:lnTo>
                    <a:pt x="36" y="312"/>
                  </a:lnTo>
                  <a:lnTo>
                    <a:pt x="36" y="306"/>
                  </a:lnTo>
                  <a:lnTo>
                    <a:pt x="36" y="300"/>
                  </a:lnTo>
                  <a:lnTo>
                    <a:pt x="30" y="300"/>
                  </a:lnTo>
                  <a:lnTo>
                    <a:pt x="30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24" y="276"/>
                  </a:lnTo>
                  <a:lnTo>
                    <a:pt x="18" y="276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18" y="234"/>
                  </a:lnTo>
                  <a:lnTo>
                    <a:pt x="30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42" y="192"/>
                  </a:lnTo>
                  <a:lnTo>
                    <a:pt x="66" y="186"/>
                  </a:lnTo>
                  <a:lnTo>
                    <a:pt x="90" y="156"/>
                  </a:lnTo>
                  <a:lnTo>
                    <a:pt x="102" y="144"/>
                  </a:lnTo>
                  <a:lnTo>
                    <a:pt x="138" y="150"/>
                  </a:lnTo>
                  <a:lnTo>
                    <a:pt x="162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0" y="180"/>
                  </a:lnTo>
                  <a:lnTo>
                    <a:pt x="174" y="180"/>
                  </a:lnTo>
                  <a:lnTo>
                    <a:pt x="180" y="186"/>
                  </a:lnTo>
                  <a:lnTo>
                    <a:pt x="186" y="186"/>
                  </a:lnTo>
                  <a:lnTo>
                    <a:pt x="198" y="192"/>
                  </a:lnTo>
                  <a:lnTo>
                    <a:pt x="216" y="198"/>
                  </a:lnTo>
                  <a:lnTo>
                    <a:pt x="252" y="204"/>
                  </a:lnTo>
                  <a:lnTo>
                    <a:pt x="258" y="210"/>
                  </a:lnTo>
                  <a:lnTo>
                    <a:pt x="306" y="216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84" y="210"/>
                  </a:lnTo>
                  <a:lnTo>
                    <a:pt x="408" y="222"/>
                  </a:lnTo>
                  <a:lnTo>
                    <a:pt x="438" y="228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86" y="222"/>
                  </a:lnTo>
                  <a:lnTo>
                    <a:pt x="492" y="210"/>
                  </a:lnTo>
                  <a:lnTo>
                    <a:pt x="492" y="198"/>
                  </a:lnTo>
                  <a:lnTo>
                    <a:pt x="486" y="180"/>
                  </a:lnTo>
                  <a:lnTo>
                    <a:pt x="492" y="162"/>
                  </a:lnTo>
                  <a:lnTo>
                    <a:pt x="510" y="96"/>
                  </a:lnTo>
                  <a:lnTo>
                    <a:pt x="516" y="84"/>
                  </a:lnTo>
                  <a:lnTo>
                    <a:pt x="522" y="84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34" y="72"/>
                  </a:lnTo>
                  <a:lnTo>
                    <a:pt x="534" y="60"/>
                  </a:lnTo>
                  <a:lnTo>
                    <a:pt x="540" y="36"/>
                  </a:lnTo>
                  <a:lnTo>
                    <a:pt x="546" y="6"/>
                  </a:lnTo>
                  <a:lnTo>
                    <a:pt x="558" y="6"/>
                  </a:lnTo>
                  <a:lnTo>
                    <a:pt x="564" y="0"/>
                  </a:lnTo>
                  <a:lnTo>
                    <a:pt x="582" y="0"/>
                  </a:lnTo>
                  <a:lnTo>
                    <a:pt x="588" y="0"/>
                  </a:lnTo>
                  <a:lnTo>
                    <a:pt x="594" y="6"/>
                  </a:lnTo>
                  <a:lnTo>
                    <a:pt x="600" y="12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24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36" y="36"/>
                  </a:lnTo>
                  <a:lnTo>
                    <a:pt x="642" y="36"/>
                  </a:lnTo>
                  <a:lnTo>
                    <a:pt x="642" y="42"/>
                  </a:lnTo>
                  <a:lnTo>
                    <a:pt x="648" y="54"/>
                  </a:lnTo>
                  <a:lnTo>
                    <a:pt x="660" y="72"/>
                  </a:lnTo>
                  <a:lnTo>
                    <a:pt x="666" y="78"/>
                  </a:lnTo>
                  <a:lnTo>
                    <a:pt x="672" y="90"/>
                  </a:lnTo>
                  <a:lnTo>
                    <a:pt x="678" y="102"/>
                  </a:lnTo>
                  <a:lnTo>
                    <a:pt x="678" y="114"/>
                  </a:lnTo>
                  <a:lnTo>
                    <a:pt x="684" y="132"/>
                  </a:lnTo>
                  <a:lnTo>
                    <a:pt x="684" y="144"/>
                  </a:lnTo>
                  <a:lnTo>
                    <a:pt x="690" y="162"/>
                  </a:lnTo>
                  <a:lnTo>
                    <a:pt x="696" y="168"/>
                  </a:lnTo>
                  <a:lnTo>
                    <a:pt x="696" y="180"/>
                  </a:lnTo>
                  <a:lnTo>
                    <a:pt x="702" y="186"/>
                  </a:lnTo>
                  <a:lnTo>
                    <a:pt x="708" y="186"/>
                  </a:lnTo>
                  <a:lnTo>
                    <a:pt x="714" y="198"/>
                  </a:lnTo>
                  <a:lnTo>
                    <a:pt x="720" y="198"/>
                  </a:lnTo>
                  <a:lnTo>
                    <a:pt x="732" y="204"/>
                  </a:lnTo>
                  <a:lnTo>
                    <a:pt x="738" y="210"/>
                  </a:lnTo>
                  <a:lnTo>
                    <a:pt x="738" y="216"/>
                  </a:lnTo>
                  <a:lnTo>
                    <a:pt x="744" y="222"/>
                  </a:lnTo>
                  <a:lnTo>
                    <a:pt x="750" y="228"/>
                  </a:lnTo>
                  <a:lnTo>
                    <a:pt x="756" y="228"/>
                  </a:lnTo>
                  <a:lnTo>
                    <a:pt x="768" y="240"/>
                  </a:lnTo>
                  <a:lnTo>
                    <a:pt x="774" y="252"/>
                  </a:lnTo>
                  <a:lnTo>
                    <a:pt x="780" y="258"/>
                  </a:lnTo>
                  <a:lnTo>
                    <a:pt x="786" y="258"/>
                  </a:lnTo>
                  <a:lnTo>
                    <a:pt x="798" y="264"/>
                  </a:lnTo>
                  <a:lnTo>
                    <a:pt x="798" y="270"/>
                  </a:lnTo>
                  <a:lnTo>
                    <a:pt x="798" y="276"/>
                  </a:lnTo>
                  <a:lnTo>
                    <a:pt x="810" y="288"/>
                  </a:lnTo>
                  <a:lnTo>
                    <a:pt x="816" y="288"/>
                  </a:lnTo>
                  <a:lnTo>
                    <a:pt x="816" y="300"/>
                  </a:lnTo>
                  <a:lnTo>
                    <a:pt x="816" y="306"/>
                  </a:lnTo>
                  <a:lnTo>
                    <a:pt x="822" y="318"/>
                  </a:lnTo>
                  <a:lnTo>
                    <a:pt x="828" y="324"/>
                  </a:lnTo>
                  <a:lnTo>
                    <a:pt x="834" y="330"/>
                  </a:lnTo>
                  <a:lnTo>
                    <a:pt x="846" y="336"/>
                  </a:lnTo>
                  <a:lnTo>
                    <a:pt x="846" y="342"/>
                  </a:lnTo>
                  <a:lnTo>
                    <a:pt x="852" y="348"/>
                  </a:lnTo>
                  <a:lnTo>
                    <a:pt x="852" y="354"/>
                  </a:lnTo>
                  <a:lnTo>
                    <a:pt x="858" y="354"/>
                  </a:lnTo>
                  <a:lnTo>
                    <a:pt x="858" y="348"/>
                  </a:lnTo>
                  <a:lnTo>
                    <a:pt x="864" y="342"/>
                  </a:lnTo>
                  <a:lnTo>
                    <a:pt x="864" y="336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76" y="306"/>
                  </a:lnTo>
                  <a:lnTo>
                    <a:pt x="870" y="300"/>
                  </a:lnTo>
                  <a:lnTo>
                    <a:pt x="870" y="294"/>
                  </a:lnTo>
                  <a:lnTo>
                    <a:pt x="876" y="294"/>
                  </a:lnTo>
                  <a:lnTo>
                    <a:pt x="882" y="300"/>
                  </a:lnTo>
                  <a:lnTo>
                    <a:pt x="888" y="300"/>
                  </a:lnTo>
                  <a:lnTo>
                    <a:pt x="888" y="306"/>
                  </a:lnTo>
                  <a:lnTo>
                    <a:pt x="894" y="300"/>
                  </a:lnTo>
                  <a:lnTo>
                    <a:pt x="900" y="294"/>
                  </a:lnTo>
                  <a:lnTo>
                    <a:pt x="894" y="288"/>
                  </a:lnTo>
                  <a:lnTo>
                    <a:pt x="888" y="282"/>
                  </a:lnTo>
                  <a:lnTo>
                    <a:pt x="888" y="276"/>
                  </a:lnTo>
                  <a:lnTo>
                    <a:pt x="894" y="276"/>
                  </a:lnTo>
                  <a:lnTo>
                    <a:pt x="900" y="276"/>
                  </a:lnTo>
                  <a:lnTo>
                    <a:pt x="900" y="270"/>
                  </a:lnTo>
                  <a:lnTo>
                    <a:pt x="906" y="264"/>
                  </a:lnTo>
                  <a:lnTo>
                    <a:pt x="906" y="258"/>
                  </a:lnTo>
                  <a:lnTo>
                    <a:pt x="918" y="264"/>
                  </a:lnTo>
                  <a:lnTo>
                    <a:pt x="918" y="258"/>
                  </a:lnTo>
                  <a:lnTo>
                    <a:pt x="924" y="252"/>
                  </a:lnTo>
                  <a:lnTo>
                    <a:pt x="930" y="252"/>
                  </a:lnTo>
                  <a:lnTo>
                    <a:pt x="930" y="246"/>
                  </a:lnTo>
                  <a:lnTo>
                    <a:pt x="936" y="234"/>
                  </a:lnTo>
                  <a:lnTo>
                    <a:pt x="942" y="228"/>
                  </a:lnTo>
                  <a:lnTo>
                    <a:pt x="942" y="222"/>
                  </a:lnTo>
                  <a:lnTo>
                    <a:pt x="948" y="222"/>
                  </a:lnTo>
                  <a:lnTo>
                    <a:pt x="948" y="216"/>
                  </a:lnTo>
                  <a:lnTo>
                    <a:pt x="942" y="216"/>
                  </a:lnTo>
                  <a:lnTo>
                    <a:pt x="936" y="216"/>
                  </a:lnTo>
                  <a:lnTo>
                    <a:pt x="936" y="210"/>
                  </a:lnTo>
                  <a:lnTo>
                    <a:pt x="942" y="210"/>
                  </a:lnTo>
                  <a:lnTo>
                    <a:pt x="972" y="210"/>
                  </a:lnTo>
                  <a:lnTo>
                    <a:pt x="1032" y="216"/>
                  </a:lnTo>
                  <a:lnTo>
                    <a:pt x="1068" y="216"/>
                  </a:lnTo>
                  <a:lnTo>
                    <a:pt x="1056" y="234"/>
                  </a:lnTo>
                  <a:lnTo>
                    <a:pt x="1050" y="240"/>
                  </a:lnTo>
                  <a:lnTo>
                    <a:pt x="1044" y="246"/>
                  </a:lnTo>
                  <a:lnTo>
                    <a:pt x="1038" y="246"/>
                  </a:lnTo>
                  <a:lnTo>
                    <a:pt x="1026" y="282"/>
                  </a:lnTo>
                  <a:lnTo>
                    <a:pt x="1032" y="306"/>
                  </a:lnTo>
                  <a:lnTo>
                    <a:pt x="1044" y="324"/>
                  </a:lnTo>
                  <a:lnTo>
                    <a:pt x="1044" y="342"/>
                  </a:lnTo>
                  <a:lnTo>
                    <a:pt x="1062" y="366"/>
                  </a:lnTo>
                  <a:lnTo>
                    <a:pt x="1056" y="396"/>
                  </a:lnTo>
                  <a:lnTo>
                    <a:pt x="1038" y="462"/>
                  </a:lnTo>
                  <a:lnTo>
                    <a:pt x="1038" y="498"/>
                  </a:lnTo>
                  <a:lnTo>
                    <a:pt x="1038" y="522"/>
                  </a:lnTo>
                  <a:lnTo>
                    <a:pt x="1038" y="534"/>
                  </a:lnTo>
                  <a:lnTo>
                    <a:pt x="1056" y="522"/>
                  </a:lnTo>
                  <a:lnTo>
                    <a:pt x="1098" y="504"/>
                  </a:lnTo>
                  <a:lnTo>
                    <a:pt x="1104" y="498"/>
                  </a:lnTo>
                  <a:lnTo>
                    <a:pt x="1128" y="492"/>
                  </a:lnTo>
                  <a:lnTo>
                    <a:pt x="1152" y="480"/>
                  </a:lnTo>
                  <a:lnTo>
                    <a:pt x="1170" y="474"/>
                  </a:lnTo>
                  <a:lnTo>
                    <a:pt x="1188" y="468"/>
                  </a:lnTo>
                  <a:lnTo>
                    <a:pt x="1200" y="462"/>
                  </a:lnTo>
                  <a:lnTo>
                    <a:pt x="1224" y="450"/>
                  </a:lnTo>
                  <a:lnTo>
                    <a:pt x="1248" y="450"/>
                  </a:lnTo>
                  <a:lnTo>
                    <a:pt x="1266" y="450"/>
                  </a:lnTo>
                  <a:lnTo>
                    <a:pt x="1296" y="456"/>
                  </a:lnTo>
                  <a:lnTo>
                    <a:pt x="1308" y="456"/>
                  </a:lnTo>
                  <a:lnTo>
                    <a:pt x="1326" y="456"/>
                  </a:lnTo>
                  <a:lnTo>
                    <a:pt x="1338" y="456"/>
                  </a:lnTo>
                  <a:lnTo>
                    <a:pt x="1350" y="462"/>
                  </a:lnTo>
                  <a:lnTo>
                    <a:pt x="1356" y="462"/>
                  </a:lnTo>
                  <a:lnTo>
                    <a:pt x="1374" y="456"/>
                  </a:lnTo>
                  <a:lnTo>
                    <a:pt x="1386" y="456"/>
                  </a:lnTo>
                  <a:lnTo>
                    <a:pt x="1392" y="456"/>
                  </a:lnTo>
                  <a:lnTo>
                    <a:pt x="1398" y="456"/>
                  </a:lnTo>
                  <a:lnTo>
                    <a:pt x="1422" y="456"/>
                  </a:lnTo>
                  <a:lnTo>
                    <a:pt x="1440" y="456"/>
                  </a:lnTo>
                  <a:lnTo>
                    <a:pt x="1446" y="456"/>
                  </a:lnTo>
                  <a:lnTo>
                    <a:pt x="1476" y="456"/>
                  </a:lnTo>
                  <a:lnTo>
                    <a:pt x="1470" y="468"/>
                  </a:lnTo>
                  <a:lnTo>
                    <a:pt x="1470" y="474"/>
                  </a:lnTo>
                  <a:lnTo>
                    <a:pt x="1470" y="486"/>
                  </a:lnTo>
                  <a:lnTo>
                    <a:pt x="1464" y="492"/>
                  </a:lnTo>
                  <a:lnTo>
                    <a:pt x="1464" y="498"/>
                  </a:lnTo>
                  <a:lnTo>
                    <a:pt x="1458" y="498"/>
                  </a:lnTo>
                  <a:lnTo>
                    <a:pt x="1458" y="510"/>
                  </a:lnTo>
                  <a:lnTo>
                    <a:pt x="1452" y="522"/>
                  </a:lnTo>
                  <a:lnTo>
                    <a:pt x="1458" y="528"/>
                  </a:lnTo>
                  <a:lnTo>
                    <a:pt x="1464" y="546"/>
                  </a:lnTo>
                  <a:lnTo>
                    <a:pt x="1470" y="552"/>
                  </a:lnTo>
                  <a:lnTo>
                    <a:pt x="1476" y="564"/>
                  </a:lnTo>
                  <a:lnTo>
                    <a:pt x="1488" y="588"/>
                  </a:lnTo>
                  <a:lnTo>
                    <a:pt x="1506" y="606"/>
                  </a:lnTo>
                  <a:lnTo>
                    <a:pt x="1506" y="612"/>
                  </a:lnTo>
                  <a:lnTo>
                    <a:pt x="1518" y="618"/>
                  </a:lnTo>
                  <a:lnTo>
                    <a:pt x="1512" y="630"/>
                  </a:lnTo>
                  <a:lnTo>
                    <a:pt x="1518" y="642"/>
                  </a:lnTo>
                  <a:lnTo>
                    <a:pt x="1518" y="648"/>
                  </a:lnTo>
                  <a:lnTo>
                    <a:pt x="1530" y="666"/>
                  </a:lnTo>
                  <a:lnTo>
                    <a:pt x="1518" y="672"/>
                  </a:lnTo>
                  <a:lnTo>
                    <a:pt x="1524" y="696"/>
                  </a:lnTo>
                  <a:lnTo>
                    <a:pt x="1518" y="732"/>
                  </a:lnTo>
                  <a:lnTo>
                    <a:pt x="1524" y="762"/>
                  </a:lnTo>
                  <a:lnTo>
                    <a:pt x="1524" y="780"/>
                  </a:lnTo>
                  <a:lnTo>
                    <a:pt x="1524" y="810"/>
                  </a:lnTo>
                  <a:lnTo>
                    <a:pt x="1530" y="834"/>
                  </a:lnTo>
                  <a:lnTo>
                    <a:pt x="1536" y="846"/>
                  </a:lnTo>
                  <a:lnTo>
                    <a:pt x="1542" y="846"/>
                  </a:lnTo>
                  <a:lnTo>
                    <a:pt x="1584" y="840"/>
                  </a:lnTo>
                  <a:lnTo>
                    <a:pt x="1590" y="846"/>
                  </a:lnTo>
                  <a:lnTo>
                    <a:pt x="1596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90" y="864"/>
                  </a:lnTo>
                  <a:lnTo>
                    <a:pt x="1578" y="882"/>
                  </a:lnTo>
                  <a:lnTo>
                    <a:pt x="1572" y="906"/>
                  </a:lnTo>
                  <a:lnTo>
                    <a:pt x="1560" y="924"/>
                  </a:lnTo>
                  <a:lnTo>
                    <a:pt x="1560" y="936"/>
                  </a:lnTo>
                  <a:lnTo>
                    <a:pt x="1548" y="960"/>
                  </a:lnTo>
                  <a:lnTo>
                    <a:pt x="1542" y="978"/>
                  </a:lnTo>
                  <a:lnTo>
                    <a:pt x="1536" y="990"/>
                  </a:lnTo>
                  <a:lnTo>
                    <a:pt x="1530" y="990"/>
                  </a:lnTo>
                  <a:lnTo>
                    <a:pt x="1506" y="996"/>
                  </a:lnTo>
                  <a:lnTo>
                    <a:pt x="1494" y="1002"/>
                  </a:lnTo>
                  <a:lnTo>
                    <a:pt x="1482" y="1002"/>
                  </a:lnTo>
                  <a:lnTo>
                    <a:pt x="1464" y="1008"/>
                  </a:lnTo>
                  <a:lnTo>
                    <a:pt x="1446" y="1026"/>
                  </a:lnTo>
                  <a:lnTo>
                    <a:pt x="1440" y="1026"/>
                  </a:lnTo>
                  <a:lnTo>
                    <a:pt x="1434" y="1038"/>
                  </a:lnTo>
                  <a:lnTo>
                    <a:pt x="1428" y="1044"/>
                  </a:lnTo>
                  <a:lnTo>
                    <a:pt x="1428" y="1062"/>
                  </a:lnTo>
                  <a:lnTo>
                    <a:pt x="1428" y="1086"/>
                  </a:lnTo>
                  <a:lnTo>
                    <a:pt x="1416" y="1092"/>
                  </a:lnTo>
                  <a:lnTo>
                    <a:pt x="1410" y="1080"/>
                  </a:lnTo>
                  <a:lnTo>
                    <a:pt x="1392" y="10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0" name="Freeform 25">
              <a:extLst>
                <a:ext uri="{FF2B5EF4-FFF2-40B4-BE49-F238E27FC236}">
                  <a16:creationId xmlns:a16="http://schemas.microsoft.com/office/drawing/2014/main" id="{39FDFF90-5ACF-4D65-81AD-C44D2CBE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70228" y="3063559"/>
              <a:ext cx="644023" cy="704498"/>
            </a:xfrm>
            <a:custGeom>
              <a:avLst/>
              <a:gdLst>
                <a:gd name="T0" fmla="*/ 74 w 1212"/>
                <a:gd name="T1" fmla="*/ 113 h 1326"/>
                <a:gd name="T2" fmla="*/ 60 w 1212"/>
                <a:gd name="T3" fmla="*/ 116 h 1326"/>
                <a:gd name="T4" fmla="*/ 62 w 1212"/>
                <a:gd name="T5" fmla="*/ 110 h 1326"/>
                <a:gd name="T6" fmla="*/ 60 w 1212"/>
                <a:gd name="T7" fmla="*/ 105 h 1326"/>
                <a:gd name="T8" fmla="*/ 52 w 1212"/>
                <a:gd name="T9" fmla="*/ 96 h 1326"/>
                <a:gd name="T10" fmla="*/ 47 w 1212"/>
                <a:gd name="T11" fmla="*/ 98 h 1326"/>
                <a:gd name="T12" fmla="*/ 44 w 1212"/>
                <a:gd name="T13" fmla="*/ 93 h 1326"/>
                <a:gd name="T14" fmla="*/ 40 w 1212"/>
                <a:gd name="T15" fmla="*/ 96 h 1326"/>
                <a:gd name="T16" fmla="*/ 35 w 1212"/>
                <a:gd name="T17" fmla="*/ 102 h 1326"/>
                <a:gd name="T18" fmla="*/ 27 w 1212"/>
                <a:gd name="T19" fmla="*/ 100 h 1326"/>
                <a:gd name="T20" fmla="*/ 23 w 1212"/>
                <a:gd name="T21" fmla="*/ 96 h 1326"/>
                <a:gd name="T22" fmla="*/ 20 w 1212"/>
                <a:gd name="T23" fmla="*/ 90 h 1326"/>
                <a:gd name="T24" fmla="*/ 18 w 1212"/>
                <a:gd name="T25" fmla="*/ 89 h 1326"/>
                <a:gd name="T26" fmla="*/ 18 w 1212"/>
                <a:gd name="T27" fmla="*/ 85 h 1326"/>
                <a:gd name="T28" fmla="*/ 19 w 1212"/>
                <a:gd name="T29" fmla="*/ 83 h 1326"/>
                <a:gd name="T30" fmla="*/ 19 w 1212"/>
                <a:gd name="T31" fmla="*/ 82 h 1326"/>
                <a:gd name="T32" fmla="*/ 20 w 1212"/>
                <a:gd name="T33" fmla="*/ 79 h 1326"/>
                <a:gd name="T34" fmla="*/ 19 w 1212"/>
                <a:gd name="T35" fmla="*/ 75 h 1326"/>
                <a:gd name="T36" fmla="*/ 17 w 1212"/>
                <a:gd name="T37" fmla="*/ 77 h 1326"/>
                <a:gd name="T38" fmla="*/ 14 w 1212"/>
                <a:gd name="T39" fmla="*/ 76 h 1326"/>
                <a:gd name="T40" fmla="*/ 12 w 1212"/>
                <a:gd name="T41" fmla="*/ 71 h 1326"/>
                <a:gd name="T42" fmla="*/ 8 w 1212"/>
                <a:gd name="T43" fmla="*/ 69 h 1326"/>
                <a:gd name="T44" fmla="*/ 0 w 1212"/>
                <a:gd name="T45" fmla="*/ 72 h 1326"/>
                <a:gd name="T46" fmla="*/ 2 w 1212"/>
                <a:gd name="T47" fmla="*/ 67 h 1326"/>
                <a:gd name="T48" fmla="*/ 3 w 1212"/>
                <a:gd name="T49" fmla="*/ 61 h 1326"/>
                <a:gd name="T50" fmla="*/ 4 w 1212"/>
                <a:gd name="T51" fmla="*/ 56 h 1326"/>
                <a:gd name="T52" fmla="*/ 4 w 1212"/>
                <a:gd name="T53" fmla="*/ 52 h 1326"/>
                <a:gd name="T54" fmla="*/ 2 w 1212"/>
                <a:gd name="T55" fmla="*/ 47 h 1326"/>
                <a:gd name="T56" fmla="*/ 2 w 1212"/>
                <a:gd name="T57" fmla="*/ 42 h 1326"/>
                <a:gd name="T58" fmla="*/ 5 w 1212"/>
                <a:gd name="T59" fmla="*/ 39 h 1326"/>
                <a:gd name="T60" fmla="*/ 5 w 1212"/>
                <a:gd name="T61" fmla="*/ 35 h 1326"/>
                <a:gd name="T62" fmla="*/ 7 w 1212"/>
                <a:gd name="T63" fmla="*/ 31 h 1326"/>
                <a:gd name="T64" fmla="*/ 14 w 1212"/>
                <a:gd name="T65" fmla="*/ 31 h 1326"/>
                <a:gd name="T66" fmla="*/ 18 w 1212"/>
                <a:gd name="T67" fmla="*/ 27 h 1326"/>
                <a:gd name="T68" fmla="*/ 22 w 1212"/>
                <a:gd name="T69" fmla="*/ 24 h 1326"/>
                <a:gd name="T70" fmla="*/ 27 w 1212"/>
                <a:gd name="T71" fmla="*/ 20 h 1326"/>
                <a:gd name="T72" fmla="*/ 35 w 1212"/>
                <a:gd name="T73" fmla="*/ 21 h 1326"/>
                <a:gd name="T74" fmla="*/ 61 w 1212"/>
                <a:gd name="T75" fmla="*/ 8 h 1326"/>
                <a:gd name="T76" fmla="*/ 73 w 1212"/>
                <a:gd name="T77" fmla="*/ 4 h 1326"/>
                <a:gd name="T78" fmla="*/ 86 w 1212"/>
                <a:gd name="T79" fmla="*/ 12 h 1326"/>
                <a:gd name="T80" fmla="*/ 92 w 1212"/>
                <a:gd name="T81" fmla="*/ 13 h 1326"/>
                <a:gd name="T82" fmla="*/ 86 w 1212"/>
                <a:gd name="T83" fmla="*/ 18 h 1326"/>
                <a:gd name="T84" fmla="*/ 88 w 1212"/>
                <a:gd name="T85" fmla="*/ 33 h 1326"/>
                <a:gd name="T86" fmla="*/ 97 w 1212"/>
                <a:gd name="T87" fmla="*/ 49 h 1326"/>
                <a:gd name="T88" fmla="*/ 102 w 1212"/>
                <a:gd name="T89" fmla="*/ 57 h 1326"/>
                <a:gd name="T90" fmla="*/ 104 w 1212"/>
                <a:gd name="T91" fmla="*/ 67 h 1326"/>
                <a:gd name="T92" fmla="*/ 101 w 1212"/>
                <a:gd name="T93" fmla="*/ 69 h 1326"/>
                <a:gd name="T94" fmla="*/ 97 w 1212"/>
                <a:gd name="T95" fmla="*/ 69 h 1326"/>
                <a:gd name="T96" fmla="*/ 96 w 1212"/>
                <a:gd name="T97" fmla="*/ 71 h 1326"/>
                <a:gd name="T98" fmla="*/ 93 w 1212"/>
                <a:gd name="T99" fmla="*/ 70 h 1326"/>
                <a:gd name="T100" fmla="*/ 86 w 1212"/>
                <a:gd name="T101" fmla="*/ 69 h 1326"/>
                <a:gd name="T102" fmla="*/ 82 w 1212"/>
                <a:gd name="T103" fmla="*/ 73 h 1326"/>
                <a:gd name="T104" fmla="*/ 79 w 1212"/>
                <a:gd name="T105" fmla="*/ 74 h 1326"/>
                <a:gd name="T106" fmla="*/ 78 w 1212"/>
                <a:gd name="T107" fmla="*/ 79 h 1326"/>
                <a:gd name="T108" fmla="*/ 78 w 1212"/>
                <a:gd name="T109" fmla="*/ 83 h 1326"/>
                <a:gd name="T110" fmla="*/ 82 w 1212"/>
                <a:gd name="T111" fmla="*/ 87 h 1326"/>
                <a:gd name="T112" fmla="*/ 83 w 1212"/>
                <a:gd name="T113" fmla="*/ 90 h 1326"/>
                <a:gd name="T114" fmla="*/ 82 w 1212"/>
                <a:gd name="T115" fmla="*/ 94 h 1326"/>
                <a:gd name="T116" fmla="*/ 82 w 1212"/>
                <a:gd name="T117" fmla="*/ 98 h 1326"/>
                <a:gd name="T118" fmla="*/ 82 w 1212"/>
                <a:gd name="T119" fmla="*/ 104 h 1326"/>
                <a:gd name="T120" fmla="*/ 78 w 1212"/>
                <a:gd name="T121" fmla="*/ 110 h 132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12"/>
                <a:gd name="T184" fmla="*/ 0 h 1326"/>
                <a:gd name="T185" fmla="*/ 1212 w 1212"/>
                <a:gd name="T186" fmla="*/ 1326 h 132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12" h="1326">
                  <a:moveTo>
                    <a:pt x="906" y="1290"/>
                  </a:moveTo>
                  <a:lnTo>
                    <a:pt x="906" y="1296"/>
                  </a:lnTo>
                  <a:lnTo>
                    <a:pt x="900" y="1296"/>
                  </a:lnTo>
                  <a:lnTo>
                    <a:pt x="876" y="1290"/>
                  </a:lnTo>
                  <a:lnTo>
                    <a:pt x="870" y="1290"/>
                  </a:lnTo>
                  <a:lnTo>
                    <a:pt x="864" y="1296"/>
                  </a:lnTo>
                  <a:lnTo>
                    <a:pt x="852" y="1296"/>
                  </a:lnTo>
                  <a:lnTo>
                    <a:pt x="840" y="1302"/>
                  </a:lnTo>
                  <a:lnTo>
                    <a:pt x="834" y="1308"/>
                  </a:lnTo>
                  <a:lnTo>
                    <a:pt x="822" y="1320"/>
                  </a:lnTo>
                  <a:lnTo>
                    <a:pt x="816" y="1320"/>
                  </a:lnTo>
                  <a:lnTo>
                    <a:pt x="732" y="1320"/>
                  </a:lnTo>
                  <a:lnTo>
                    <a:pt x="696" y="1320"/>
                  </a:lnTo>
                  <a:lnTo>
                    <a:pt x="690" y="1326"/>
                  </a:lnTo>
                  <a:lnTo>
                    <a:pt x="678" y="1326"/>
                  </a:lnTo>
                  <a:lnTo>
                    <a:pt x="672" y="1308"/>
                  </a:lnTo>
                  <a:lnTo>
                    <a:pt x="696" y="1302"/>
                  </a:lnTo>
                  <a:lnTo>
                    <a:pt x="708" y="1296"/>
                  </a:lnTo>
                  <a:lnTo>
                    <a:pt x="720" y="1284"/>
                  </a:lnTo>
                  <a:lnTo>
                    <a:pt x="714" y="1278"/>
                  </a:lnTo>
                  <a:lnTo>
                    <a:pt x="714" y="1266"/>
                  </a:lnTo>
                  <a:lnTo>
                    <a:pt x="708" y="1260"/>
                  </a:lnTo>
                  <a:lnTo>
                    <a:pt x="708" y="1254"/>
                  </a:lnTo>
                  <a:lnTo>
                    <a:pt x="708" y="1248"/>
                  </a:lnTo>
                  <a:lnTo>
                    <a:pt x="702" y="1236"/>
                  </a:lnTo>
                  <a:lnTo>
                    <a:pt x="702" y="1230"/>
                  </a:lnTo>
                  <a:lnTo>
                    <a:pt x="702" y="1218"/>
                  </a:lnTo>
                  <a:lnTo>
                    <a:pt x="696" y="1200"/>
                  </a:lnTo>
                  <a:lnTo>
                    <a:pt x="696" y="1182"/>
                  </a:lnTo>
                  <a:lnTo>
                    <a:pt x="666" y="1182"/>
                  </a:lnTo>
                  <a:lnTo>
                    <a:pt x="672" y="1134"/>
                  </a:lnTo>
                  <a:lnTo>
                    <a:pt x="666" y="1128"/>
                  </a:lnTo>
                  <a:lnTo>
                    <a:pt x="660" y="1092"/>
                  </a:lnTo>
                  <a:lnTo>
                    <a:pt x="654" y="1098"/>
                  </a:lnTo>
                  <a:lnTo>
                    <a:pt x="594" y="1098"/>
                  </a:lnTo>
                  <a:lnTo>
                    <a:pt x="576" y="1098"/>
                  </a:lnTo>
                  <a:lnTo>
                    <a:pt x="570" y="1104"/>
                  </a:lnTo>
                  <a:lnTo>
                    <a:pt x="564" y="1110"/>
                  </a:lnTo>
                  <a:lnTo>
                    <a:pt x="558" y="1110"/>
                  </a:lnTo>
                  <a:lnTo>
                    <a:pt x="552" y="1110"/>
                  </a:lnTo>
                  <a:lnTo>
                    <a:pt x="546" y="1110"/>
                  </a:lnTo>
                  <a:lnTo>
                    <a:pt x="546" y="1116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10" y="1128"/>
                  </a:lnTo>
                  <a:lnTo>
                    <a:pt x="522" y="1104"/>
                  </a:lnTo>
                  <a:lnTo>
                    <a:pt x="510" y="1098"/>
                  </a:lnTo>
                  <a:lnTo>
                    <a:pt x="510" y="1074"/>
                  </a:lnTo>
                  <a:lnTo>
                    <a:pt x="504" y="1068"/>
                  </a:lnTo>
                  <a:lnTo>
                    <a:pt x="498" y="1068"/>
                  </a:lnTo>
                  <a:lnTo>
                    <a:pt x="492" y="1068"/>
                  </a:lnTo>
                  <a:lnTo>
                    <a:pt x="474" y="1080"/>
                  </a:lnTo>
                  <a:lnTo>
                    <a:pt x="474" y="1086"/>
                  </a:lnTo>
                  <a:lnTo>
                    <a:pt x="474" y="1092"/>
                  </a:lnTo>
                  <a:lnTo>
                    <a:pt x="468" y="1098"/>
                  </a:lnTo>
                  <a:lnTo>
                    <a:pt x="462" y="1104"/>
                  </a:lnTo>
                  <a:lnTo>
                    <a:pt x="456" y="1110"/>
                  </a:lnTo>
                  <a:lnTo>
                    <a:pt x="456" y="1122"/>
                  </a:lnTo>
                  <a:lnTo>
                    <a:pt x="456" y="1128"/>
                  </a:lnTo>
                  <a:lnTo>
                    <a:pt x="450" y="1140"/>
                  </a:lnTo>
                  <a:lnTo>
                    <a:pt x="444" y="1146"/>
                  </a:lnTo>
                  <a:lnTo>
                    <a:pt x="426" y="1170"/>
                  </a:lnTo>
                  <a:lnTo>
                    <a:pt x="408" y="1176"/>
                  </a:lnTo>
                  <a:lnTo>
                    <a:pt x="402" y="1170"/>
                  </a:lnTo>
                  <a:lnTo>
                    <a:pt x="396" y="1170"/>
                  </a:lnTo>
                  <a:lnTo>
                    <a:pt x="396" y="1158"/>
                  </a:lnTo>
                  <a:lnTo>
                    <a:pt x="384" y="1152"/>
                  </a:lnTo>
                  <a:lnTo>
                    <a:pt x="372" y="1140"/>
                  </a:lnTo>
                  <a:lnTo>
                    <a:pt x="354" y="1140"/>
                  </a:lnTo>
                  <a:lnTo>
                    <a:pt x="306" y="1146"/>
                  </a:lnTo>
                  <a:lnTo>
                    <a:pt x="294" y="1134"/>
                  </a:lnTo>
                  <a:lnTo>
                    <a:pt x="294" y="1128"/>
                  </a:lnTo>
                  <a:lnTo>
                    <a:pt x="288" y="1122"/>
                  </a:lnTo>
                  <a:lnTo>
                    <a:pt x="276" y="1122"/>
                  </a:lnTo>
                  <a:lnTo>
                    <a:pt x="276" y="1110"/>
                  </a:lnTo>
                  <a:lnTo>
                    <a:pt x="276" y="1104"/>
                  </a:lnTo>
                  <a:lnTo>
                    <a:pt x="270" y="1098"/>
                  </a:lnTo>
                  <a:lnTo>
                    <a:pt x="264" y="1086"/>
                  </a:lnTo>
                  <a:lnTo>
                    <a:pt x="264" y="1074"/>
                  </a:lnTo>
                  <a:lnTo>
                    <a:pt x="258" y="1068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34" y="1038"/>
                  </a:lnTo>
                  <a:lnTo>
                    <a:pt x="228" y="1038"/>
                  </a:lnTo>
                  <a:lnTo>
                    <a:pt x="222" y="1038"/>
                  </a:lnTo>
                  <a:lnTo>
                    <a:pt x="216" y="1038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0"/>
                  </a:lnTo>
                  <a:lnTo>
                    <a:pt x="204" y="1014"/>
                  </a:lnTo>
                  <a:lnTo>
                    <a:pt x="204" y="1008"/>
                  </a:lnTo>
                  <a:lnTo>
                    <a:pt x="198" y="1002"/>
                  </a:lnTo>
                  <a:lnTo>
                    <a:pt x="198" y="996"/>
                  </a:lnTo>
                  <a:lnTo>
                    <a:pt x="198" y="990"/>
                  </a:lnTo>
                  <a:lnTo>
                    <a:pt x="204" y="990"/>
                  </a:lnTo>
                  <a:lnTo>
                    <a:pt x="204" y="984"/>
                  </a:lnTo>
                  <a:lnTo>
                    <a:pt x="210" y="978"/>
                  </a:lnTo>
                  <a:lnTo>
                    <a:pt x="210" y="972"/>
                  </a:lnTo>
                  <a:lnTo>
                    <a:pt x="210" y="966"/>
                  </a:lnTo>
                  <a:lnTo>
                    <a:pt x="216" y="960"/>
                  </a:lnTo>
                  <a:lnTo>
                    <a:pt x="216" y="954"/>
                  </a:lnTo>
                  <a:lnTo>
                    <a:pt x="210" y="954"/>
                  </a:lnTo>
                  <a:lnTo>
                    <a:pt x="204" y="954"/>
                  </a:lnTo>
                  <a:lnTo>
                    <a:pt x="216" y="954"/>
                  </a:lnTo>
                  <a:lnTo>
                    <a:pt x="216" y="948"/>
                  </a:lnTo>
                  <a:lnTo>
                    <a:pt x="210" y="948"/>
                  </a:lnTo>
                  <a:lnTo>
                    <a:pt x="210" y="942"/>
                  </a:lnTo>
                  <a:lnTo>
                    <a:pt x="216" y="942"/>
                  </a:lnTo>
                  <a:lnTo>
                    <a:pt x="222" y="942"/>
                  </a:lnTo>
                  <a:lnTo>
                    <a:pt x="222" y="936"/>
                  </a:lnTo>
                  <a:lnTo>
                    <a:pt x="216" y="936"/>
                  </a:lnTo>
                  <a:lnTo>
                    <a:pt x="210" y="936"/>
                  </a:lnTo>
                  <a:lnTo>
                    <a:pt x="210" y="930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22" y="918"/>
                  </a:lnTo>
                  <a:lnTo>
                    <a:pt x="228" y="912"/>
                  </a:lnTo>
                  <a:lnTo>
                    <a:pt x="228" y="906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2" y="888"/>
                  </a:lnTo>
                  <a:lnTo>
                    <a:pt x="222" y="882"/>
                  </a:lnTo>
                  <a:lnTo>
                    <a:pt x="222" y="876"/>
                  </a:lnTo>
                  <a:lnTo>
                    <a:pt x="222" y="858"/>
                  </a:lnTo>
                  <a:lnTo>
                    <a:pt x="216" y="858"/>
                  </a:lnTo>
                  <a:lnTo>
                    <a:pt x="216" y="852"/>
                  </a:lnTo>
                  <a:lnTo>
                    <a:pt x="210" y="852"/>
                  </a:lnTo>
                  <a:lnTo>
                    <a:pt x="210" y="840"/>
                  </a:lnTo>
                  <a:lnTo>
                    <a:pt x="198" y="840"/>
                  </a:lnTo>
                  <a:lnTo>
                    <a:pt x="198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0" y="894"/>
                  </a:lnTo>
                  <a:lnTo>
                    <a:pt x="180" y="906"/>
                  </a:lnTo>
                  <a:lnTo>
                    <a:pt x="156" y="912"/>
                  </a:lnTo>
                  <a:lnTo>
                    <a:pt x="156" y="894"/>
                  </a:lnTo>
                  <a:lnTo>
                    <a:pt x="156" y="882"/>
                  </a:lnTo>
                  <a:lnTo>
                    <a:pt x="156" y="876"/>
                  </a:lnTo>
                  <a:lnTo>
                    <a:pt x="150" y="876"/>
                  </a:lnTo>
                  <a:lnTo>
                    <a:pt x="144" y="876"/>
                  </a:lnTo>
                  <a:lnTo>
                    <a:pt x="138" y="870"/>
                  </a:lnTo>
                  <a:lnTo>
                    <a:pt x="132" y="864"/>
                  </a:lnTo>
                  <a:lnTo>
                    <a:pt x="138" y="840"/>
                  </a:lnTo>
                  <a:lnTo>
                    <a:pt x="132" y="840"/>
                  </a:lnTo>
                  <a:lnTo>
                    <a:pt x="138" y="810"/>
                  </a:lnTo>
                  <a:lnTo>
                    <a:pt x="144" y="804"/>
                  </a:lnTo>
                  <a:lnTo>
                    <a:pt x="144" y="798"/>
                  </a:lnTo>
                  <a:lnTo>
                    <a:pt x="156" y="798"/>
                  </a:lnTo>
                  <a:lnTo>
                    <a:pt x="156" y="792"/>
                  </a:lnTo>
                  <a:lnTo>
                    <a:pt x="120" y="792"/>
                  </a:lnTo>
                  <a:lnTo>
                    <a:pt x="108" y="786"/>
                  </a:lnTo>
                  <a:lnTo>
                    <a:pt x="96" y="786"/>
                  </a:lnTo>
                  <a:lnTo>
                    <a:pt x="96" y="780"/>
                  </a:lnTo>
                  <a:lnTo>
                    <a:pt x="78" y="780"/>
                  </a:lnTo>
                  <a:lnTo>
                    <a:pt x="72" y="804"/>
                  </a:lnTo>
                  <a:lnTo>
                    <a:pt x="60" y="816"/>
                  </a:lnTo>
                  <a:lnTo>
                    <a:pt x="36" y="828"/>
                  </a:lnTo>
                  <a:lnTo>
                    <a:pt x="18" y="840"/>
                  </a:lnTo>
                  <a:lnTo>
                    <a:pt x="0" y="822"/>
                  </a:lnTo>
                  <a:lnTo>
                    <a:pt x="6" y="816"/>
                  </a:lnTo>
                  <a:lnTo>
                    <a:pt x="12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18" y="786"/>
                  </a:lnTo>
                  <a:lnTo>
                    <a:pt x="24" y="780"/>
                  </a:lnTo>
                  <a:lnTo>
                    <a:pt x="24" y="768"/>
                  </a:lnTo>
                  <a:lnTo>
                    <a:pt x="24" y="762"/>
                  </a:lnTo>
                  <a:lnTo>
                    <a:pt x="24" y="750"/>
                  </a:lnTo>
                  <a:lnTo>
                    <a:pt x="36" y="714"/>
                  </a:lnTo>
                  <a:lnTo>
                    <a:pt x="36" y="708"/>
                  </a:lnTo>
                  <a:lnTo>
                    <a:pt x="42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6" y="690"/>
                  </a:lnTo>
                  <a:lnTo>
                    <a:pt x="42" y="684"/>
                  </a:lnTo>
                  <a:lnTo>
                    <a:pt x="42" y="672"/>
                  </a:lnTo>
                  <a:lnTo>
                    <a:pt x="42" y="666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48" y="648"/>
                  </a:lnTo>
                  <a:lnTo>
                    <a:pt x="54" y="642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54" y="612"/>
                  </a:lnTo>
                  <a:lnTo>
                    <a:pt x="48" y="606"/>
                  </a:lnTo>
                  <a:lnTo>
                    <a:pt x="48" y="600"/>
                  </a:lnTo>
                  <a:lnTo>
                    <a:pt x="42" y="600"/>
                  </a:lnTo>
                  <a:lnTo>
                    <a:pt x="36" y="594"/>
                  </a:lnTo>
                  <a:lnTo>
                    <a:pt x="36" y="588"/>
                  </a:lnTo>
                  <a:lnTo>
                    <a:pt x="30" y="582"/>
                  </a:lnTo>
                  <a:lnTo>
                    <a:pt x="30" y="570"/>
                  </a:lnTo>
                  <a:lnTo>
                    <a:pt x="18" y="552"/>
                  </a:lnTo>
                  <a:lnTo>
                    <a:pt x="18" y="546"/>
                  </a:lnTo>
                  <a:lnTo>
                    <a:pt x="18" y="540"/>
                  </a:lnTo>
                  <a:lnTo>
                    <a:pt x="18" y="528"/>
                  </a:lnTo>
                  <a:lnTo>
                    <a:pt x="18" y="522"/>
                  </a:lnTo>
                  <a:lnTo>
                    <a:pt x="24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30" y="474"/>
                  </a:lnTo>
                  <a:lnTo>
                    <a:pt x="36" y="474"/>
                  </a:lnTo>
                  <a:lnTo>
                    <a:pt x="42" y="468"/>
                  </a:lnTo>
                  <a:lnTo>
                    <a:pt x="48" y="468"/>
                  </a:lnTo>
                  <a:lnTo>
                    <a:pt x="48" y="462"/>
                  </a:lnTo>
                  <a:lnTo>
                    <a:pt x="48" y="456"/>
                  </a:lnTo>
                  <a:lnTo>
                    <a:pt x="54" y="450"/>
                  </a:lnTo>
                  <a:lnTo>
                    <a:pt x="60" y="438"/>
                  </a:lnTo>
                  <a:lnTo>
                    <a:pt x="54" y="438"/>
                  </a:lnTo>
                  <a:lnTo>
                    <a:pt x="54" y="432"/>
                  </a:ln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54" y="402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6" y="384"/>
                  </a:lnTo>
                  <a:lnTo>
                    <a:pt x="72" y="372"/>
                  </a:lnTo>
                  <a:lnTo>
                    <a:pt x="78" y="366"/>
                  </a:lnTo>
                  <a:lnTo>
                    <a:pt x="84" y="360"/>
                  </a:lnTo>
                  <a:lnTo>
                    <a:pt x="102" y="360"/>
                  </a:lnTo>
                  <a:lnTo>
                    <a:pt x="114" y="36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8" y="360"/>
                  </a:lnTo>
                  <a:lnTo>
                    <a:pt x="156" y="360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74" y="342"/>
                  </a:lnTo>
                  <a:lnTo>
                    <a:pt x="180" y="342"/>
                  </a:lnTo>
                  <a:lnTo>
                    <a:pt x="186" y="336"/>
                  </a:lnTo>
                  <a:lnTo>
                    <a:pt x="192" y="330"/>
                  </a:lnTo>
                  <a:lnTo>
                    <a:pt x="204" y="312"/>
                  </a:lnTo>
                  <a:lnTo>
                    <a:pt x="210" y="312"/>
                  </a:lnTo>
                  <a:lnTo>
                    <a:pt x="216" y="306"/>
                  </a:lnTo>
                  <a:lnTo>
                    <a:pt x="216" y="300"/>
                  </a:lnTo>
                  <a:lnTo>
                    <a:pt x="222" y="288"/>
                  </a:lnTo>
                  <a:lnTo>
                    <a:pt x="234" y="288"/>
                  </a:lnTo>
                  <a:lnTo>
                    <a:pt x="240" y="282"/>
                  </a:lnTo>
                  <a:lnTo>
                    <a:pt x="246" y="282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70" y="270"/>
                  </a:lnTo>
                  <a:lnTo>
                    <a:pt x="276" y="264"/>
                  </a:lnTo>
                  <a:lnTo>
                    <a:pt x="282" y="26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8" y="234"/>
                  </a:lnTo>
                  <a:lnTo>
                    <a:pt x="330" y="234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72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14" y="240"/>
                  </a:lnTo>
                  <a:lnTo>
                    <a:pt x="444" y="216"/>
                  </a:lnTo>
                  <a:lnTo>
                    <a:pt x="480" y="204"/>
                  </a:lnTo>
                  <a:lnTo>
                    <a:pt x="600" y="150"/>
                  </a:lnTo>
                  <a:lnTo>
                    <a:pt x="648" y="126"/>
                  </a:lnTo>
                  <a:lnTo>
                    <a:pt x="702" y="96"/>
                  </a:lnTo>
                  <a:lnTo>
                    <a:pt x="708" y="54"/>
                  </a:lnTo>
                  <a:lnTo>
                    <a:pt x="720" y="24"/>
                  </a:lnTo>
                  <a:lnTo>
                    <a:pt x="738" y="12"/>
                  </a:lnTo>
                  <a:lnTo>
                    <a:pt x="768" y="0"/>
                  </a:lnTo>
                  <a:lnTo>
                    <a:pt x="792" y="6"/>
                  </a:lnTo>
                  <a:lnTo>
                    <a:pt x="804" y="12"/>
                  </a:lnTo>
                  <a:lnTo>
                    <a:pt x="834" y="48"/>
                  </a:lnTo>
                  <a:lnTo>
                    <a:pt x="834" y="60"/>
                  </a:lnTo>
                  <a:lnTo>
                    <a:pt x="852" y="84"/>
                  </a:lnTo>
                  <a:lnTo>
                    <a:pt x="864" y="96"/>
                  </a:lnTo>
                  <a:lnTo>
                    <a:pt x="888" y="102"/>
                  </a:lnTo>
                  <a:lnTo>
                    <a:pt x="978" y="120"/>
                  </a:lnTo>
                  <a:lnTo>
                    <a:pt x="984" y="126"/>
                  </a:lnTo>
                  <a:lnTo>
                    <a:pt x="984" y="132"/>
                  </a:lnTo>
                  <a:lnTo>
                    <a:pt x="996" y="138"/>
                  </a:lnTo>
                  <a:lnTo>
                    <a:pt x="1038" y="126"/>
                  </a:lnTo>
                  <a:lnTo>
                    <a:pt x="1056" y="114"/>
                  </a:lnTo>
                  <a:lnTo>
                    <a:pt x="1068" y="126"/>
                  </a:lnTo>
                  <a:lnTo>
                    <a:pt x="1074" y="132"/>
                  </a:lnTo>
                  <a:lnTo>
                    <a:pt x="1068" y="138"/>
                  </a:lnTo>
                  <a:lnTo>
                    <a:pt x="1056" y="150"/>
                  </a:lnTo>
                  <a:lnTo>
                    <a:pt x="1038" y="162"/>
                  </a:lnTo>
                  <a:lnTo>
                    <a:pt x="1038" y="168"/>
                  </a:lnTo>
                  <a:lnTo>
                    <a:pt x="1020" y="174"/>
                  </a:lnTo>
                  <a:lnTo>
                    <a:pt x="1014" y="180"/>
                  </a:lnTo>
                  <a:lnTo>
                    <a:pt x="1008" y="186"/>
                  </a:lnTo>
                  <a:lnTo>
                    <a:pt x="1002" y="198"/>
                  </a:lnTo>
                  <a:lnTo>
                    <a:pt x="984" y="204"/>
                  </a:lnTo>
                  <a:lnTo>
                    <a:pt x="984" y="246"/>
                  </a:lnTo>
                  <a:lnTo>
                    <a:pt x="978" y="270"/>
                  </a:lnTo>
                  <a:lnTo>
                    <a:pt x="990" y="306"/>
                  </a:lnTo>
                  <a:lnTo>
                    <a:pt x="990" y="324"/>
                  </a:lnTo>
                  <a:lnTo>
                    <a:pt x="1002" y="336"/>
                  </a:lnTo>
                  <a:lnTo>
                    <a:pt x="1020" y="372"/>
                  </a:lnTo>
                  <a:lnTo>
                    <a:pt x="1014" y="378"/>
                  </a:lnTo>
                  <a:lnTo>
                    <a:pt x="1014" y="384"/>
                  </a:lnTo>
                  <a:lnTo>
                    <a:pt x="1020" y="384"/>
                  </a:lnTo>
                  <a:lnTo>
                    <a:pt x="1020" y="396"/>
                  </a:lnTo>
                  <a:lnTo>
                    <a:pt x="1062" y="468"/>
                  </a:lnTo>
                  <a:lnTo>
                    <a:pt x="1092" y="522"/>
                  </a:lnTo>
                  <a:lnTo>
                    <a:pt x="1110" y="546"/>
                  </a:lnTo>
                  <a:lnTo>
                    <a:pt x="1122" y="564"/>
                  </a:lnTo>
                  <a:lnTo>
                    <a:pt x="1134" y="576"/>
                  </a:lnTo>
                  <a:lnTo>
                    <a:pt x="1146" y="582"/>
                  </a:lnTo>
                  <a:lnTo>
                    <a:pt x="1146" y="588"/>
                  </a:lnTo>
                  <a:lnTo>
                    <a:pt x="1164" y="600"/>
                  </a:lnTo>
                  <a:lnTo>
                    <a:pt x="1170" y="612"/>
                  </a:lnTo>
                  <a:lnTo>
                    <a:pt x="1170" y="624"/>
                  </a:lnTo>
                  <a:lnTo>
                    <a:pt x="1176" y="654"/>
                  </a:lnTo>
                  <a:lnTo>
                    <a:pt x="1176" y="666"/>
                  </a:lnTo>
                  <a:lnTo>
                    <a:pt x="1182" y="684"/>
                  </a:lnTo>
                  <a:lnTo>
                    <a:pt x="1194" y="696"/>
                  </a:lnTo>
                  <a:lnTo>
                    <a:pt x="1212" y="696"/>
                  </a:lnTo>
                  <a:lnTo>
                    <a:pt x="1206" y="762"/>
                  </a:lnTo>
                  <a:lnTo>
                    <a:pt x="1200" y="768"/>
                  </a:lnTo>
                  <a:lnTo>
                    <a:pt x="1194" y="768"/>
                  </a:lnTo>
                  <a:lnTo>
                    <a:pt x="1194" y="774"/>
                  </a:lnTo>
                  <a:lnTo>
                    <a:pt x="1188" y="774"/>
                  </a:lnTo>
                  <a:lnTo>
                    <a:pt x="1182" y="780"/>
                  </a:lnTo>
                  <a:lnTo>
                    <a:pt x="1176" y="780"/>
                  </a:lnTo>
                  <a:lnTo>
                    <a:pt x="1170" y="780"/>
                  </a:lnTo>
                  <a:lnTo>
                    <a:pt x="1164" y="786"/>
                  </a:lnTo>
                  <a:lnTo>
                    <a:pt x="1158" y="786"/>
                  </a:lnTo>
                  <a:lnTo>
                    <a:pt x="1152" y="786"/>
                  </a:lnTo>
                  <a:lnTo>
                    <a:pt x="1140" y="786"/>
                  </a:lnTo>
                  <a:lnTo>
                    <a:pt x="1134" y="786"/>
                  </a:lnTo>
                  <a:lnTo>
                    <a:pt x="1134" y="780"/>
                  </a:lnTo>
                  <a:lnTo>
                    <a:pt x="1122" y="780"/>
                  </a:lnTo>
                  <a:lnTo>
                    <a:pt x="1116" y="786"/>
                  </a:lnTo>
                  <a:lnTo>
                    <a:pt x="1116" y="792"/>
                  </a:lnTo>
                  <a:lnTo>
                    <a:pt x="1122" y="804"/>
                  </a:lnTo>
                  <a:lnTo>
                    <a:pt x="1128" y="804"/>
                  </a:lnTo>
                  <a:lnTo>
                    <a:pt x="1128" y="816"/>
                  </a:lnTo>
                  <a:lnTo>
                    <a:pt x="1122" y="822"/>
                  </a:lnTo>
                  <a:lnTo>
                    <a:pt x="1116" y="816"/>
                  </a:lnTo>
                  <a:lnTo>
                    <a:pt x="1110" y="816"/>
                  </a:lnTo>
                  <a:lnTo>
                    <a:pt x="1104" y="816"/>
                  </a:lnTo>
                  <a:lnTo>
                    <a:pt x="1098" y="816"/>
                  </a:lnTo>
                  <a:lnTo>
                    <a:pt x="1098" y="822"/>
                  </a:lnTo>
                  <a:lnTo>
                    <a:pt x="1092" y="834"/>
                  </a:lnTo>
                  <a:lnTo>
                    <a:pt x="1092" y="840"/>
                  </a:lnTo>
                  <a:lnTo>
                    <a:pt x="1074" y="840"/>
                  </a:lnTo>
                  <a:lnTo>
                    <a:pt x="1074" y="828"/>
                  </a:lnTo>
                  <a:lnTo>
                    <a:pt x="1062" y="804"/>
                  </a:lnTo>
                  <a:lnTo>
                    <a:pt x="1056" y="792"/>
                  </a:lnTo>
                  <a:lnTo>
                    <a:pt x="1056" y="786"/>
                  </a:lnTo>
                  <a:lnTo>
                    <a:pt x="1026" y="780"/>
                  </a:lnTo>
                  <a:lnTo>
                    <a:pt x="1026" y="768"/>
                  </a:lnTo>
                  <a:lnTo>
                    <a:pt x="1008" y="768"/>
                  </a:lnTo>
                  <a:lnTo>
                    <a:pt x="1002" y="780"/>
                  </a:lnTo>
                  <a:lnTo>
                    <a:pt x="996" y="792"/>
                  </a:lnTo>
                  <a:lnTo>
                    <a:pt x="978" y="798"/>
                  </a:lnTo>
                  <a:lnTo>
                    <a:pt x="972" y="810"/>
                  </a:lnTo>
                  <a:lnTo>
                    <a:pt x="972" y="822"/>
                  </a:lnTo>
                  <a:lnTo>
                    <a:pt x="978" y="828"/>
                  </a:lnTo>
                  <a:lnTo>
                    <a:pt x="978" y="834"/>
                  </a:lnTo>
                  <a:lnTo>
                    <a:pt x="960" y="840"/>
                  </a:lnTo>
                  <a:lnTo>
                    <a:pt x="936" y="840"/>
                  </a:lnTo>
                  <a:lnTo>
                    <a:pt x="918" y="846"/>
                  </a:lnTo>
                  <a:lnTo>
                    <a:pt x="912" y="840"/>
                  </a:lnTo>
                  <a:lnTo>
                    <a:pt x="912" y="834"/>
                  </a:lnTo>
                  <a:lnTo>
                    <a:pt x="906" y="834"/>
                  </a:lnTo>
                  <a:lnTo>
                    <a:pt x="906" y="840"/>
                  </a:lnTo>
                  <a:lnTo>
                    <a:pt x="900" y="846"/>
                  </a:lnTo>
                  <a:lnTo>
                    <a:pt x="906" y="852"/>
                  </a:lnTo>
                  <a:lnTo>
                    <a:pt x="900" y="864"/>
                  </a:lnTo>
                  <a:lnTo>
                    <a:pt x="900" y="876"/>
                  </a:lnTo>
                  <a:lnTo>
                    <a:pt x="900" y="882"/>
                  </a:lnTo>
                  <a:lnTo>
                    <a:pt x="894" y="888"/>
                  </a:lnTo>
                  <a:lnTo>
                    <a:pt x="900" y="900"/>
                  </a:lnTo>
                  <a:lnTo>
                    <a:pt x="900" y="906"/>
                  </a:lnTo>
                  <a:lnTo>
                    <a:pt x="894" y="906"/>
                  </a:lnTo>
                  <a:lnTo>
                    <a:pt x="894" y="912"/>
                  </a:lnTo>
                  <a:lnTo>
                    <a:pt x="900" y="918"/>
                  </a:lnTo>
                  <a:lnTo>
                    <a:pt x="900" y="924"/>
                  </a:lnTo>
                  <a:lnTo>
                    <a:pt x="900" y="948"/>
                  </a:lnTo>
                  <a:lnTo>
                    <a:pt x="888" y="948"/>
                  </a:lnTo>
                  <a:lnTo>
                    <a:pt x="888" y="954"/>
                  </a:lnTo>
                  <a:lnTo>
                    <a:pt x="894" y="954"/>
                  </a:lnTo>
                  <a:lnTo>
                    <a:pt x="900" y="960"/>
                  </a:lnTo>
                  <a:lnTo>
                    <a:pt x="900" y="972"/>
                  </a:lnTo>
                  <a:lnTo>
                    <a:pt x="906" y="984"/>
                  </a:lnTo>
                  <a:lnTo>
                    <a:pt x="912" y="984"/>
                  </a:lnTo>
                  <a:lnTo>
                    <a:pt x="918" y="990"/>
                  </a:lnTo>
                  <a:lnTo>
                    <a:pt x="936" y="990"/>
                  </a:lnTo>
                  <a:lnTo>
                    <a:pt x="936" y="996"/>
                  </a:lnTo>
                  <a:lnTo>
                    <a:pt x="942" y="996"/>
                  </a:lnTo>
                  <a:lnTo>
                    <a:pt x="942" y="1002"/>
                  </a:lnTo>
                  <a:lnTo>
                    <a:pt x="942" y="1008"/>
                  </a:lnTo>
                  <a:lnTo>
                    <a:pt x="948" y="1008"/>
                  </a:lnTo>
                  <a:lnTo>
                    <a:pt x="948" y="1014"/>
                  </a:lnTo>
                  <a:lnTo>
                    <a:pt x="948" y="1020"/>
                  </a:lnTo>
                  <a:lnTo>
                    <a:pt x="954" y="1032"/>
                  </a:lnTo>
                  <a:lnTo>
                    <a:pt x="948" y="1038"/>
                  </a:lnTo>
                  <a:lnTo>
                    <a:pt x="954" y="1044"/>
                  </a:lnTo>
                  <a:lnTo>
                    <a:pt x="954" y="1056"/>
                  </a:lnTo>
                  <a:lnTo>
                    <a:pt x="960" y="1056"/>
                  </a:lnTo>
                  <a:lnTo>
                    <a:pt x="960" y="1062"/>
                  </a:lnTo>
                  <a:lnTo>
                    <a:pt x="954" y="1068"/>
                  </a:lnTo>
                  <a:lnTo>
                    <a:pt x="948" y="1074"/>
                  </a:lnTo>
                  <a:lnTo>
                    <a:pt x="948" y="1080"/>
                  </a:lnTo>
                  <a:lnTo>
                    <a:pt x="948" y="1086"/>
                  </a:lnTo>
                  <a:lnTo>
                    <a:pt x="942" y="1092"/>
                  </a:lnTo>
                  <a:lnTo>
                    <a:pt x="942" y="1098"/>
                  </a:lnTo>
                  <a:lnTo>
                    <a:pt x="942" y="1104"/>
                  </a:lnTo>
                  <a:lnTo>
                    <a:pt x="942" y="1110"/>
                  </a:lnTo>
                  <a:lnTo>
                    <a:pt x="936" y="1116"/>
                  </a:lnTo>
                  <a:lnTo>
                    <a:pt x="936" y="1122"/>
                  </a:lnTo>
                  <a:lnTo>
                    <a:pt x="936" y="1128"/>
                  </a:lnTo>
                  <a:lnTo>
                    <a:pt x="936" y="1134"/>
                  </a:lnTo>
                  <a:lnTo>
                    <a:pt x="942" y="1146"/>
                  </a:lnTo>
                  <a:lnTo>
                    <a:pt x="936" y="1158"/>
                  </a:lnTo>
                  <a:lnTo>
                    <a:pt x="936" y="1170"/>
                  </a:lnTo>
                  <a:lnTo>
                    <a:pt x="936" y="1194"/>
                  </a:lnTo>
                  <a:lnTo>
                    <a:pt x="930" y="1200"/>
                  </a:lnTo>
                  <a:lnTo>
                    <a:pt x="930" y="1212"/>
                  </a:lnTo>
                  <a:lnTo>
                    <a:pt x="918" y="1218"/>
                  </a:lnTo>
                  <a:lnTo>
                    <a:pt x="918" y="1230"/>
                  </a:lnTo>
                  <a:lnTo>
                    <a:pt x="906" y="1230"/>
                  </a:lnTo>
                  <a:lnTo>
                    <a:pt x="900" y="1254"/>
                  </a:lnTo>
                  <a:lnTo>
                    <a:pt x="900" y="1260"/>
                  </a:lnTo>
                  <a:lnTo>
                    <a:pt x="900" y="1266"/>
                  </a:lnTo>
                  <a:lnTo>
                    <a:pt x="900" y="1272"/>
                  </a:lnTo>
                  <a:lnTo>
                    <a:pt x="900" y="1278"/>
                  </a:lnTo>
                  <a:lnTo>
                    <a:pt x="900" y="1284"/>
                  </a:lnTo>
                  <a:lnTo>
                    <a:pt x="906" y="129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1" name="Freeform 26">
              <a:extLst>
                <a:ext uri="{FF2B5EF4-FFF2-40B4-BE49-F238E27FC236}">
                  <a16:creationId xmlns:a16="http://schemas.microsoft.com/office/drawing/2014/main" id="{25725EFE-FE00-49A8-A87A-6752B785C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79173" y="3477313"/>
              <a:ext cx="650731" cy="559125"/>
            </a:xfrm>
            <a:custGeom>
              <a:avLst/>
              <a:gdLst>
                <a:gd name="T0" fmla="*/ 95 w 1224"/>
                <a:gd name="T1" fmla="*/ 89 h 1050"/>
                <a:gd name="T2" fmla="*/ 90 w 1224"/>
                <a:gd name="T3" fmla="*/ 84 h 1050"/>
                <a:gd name="T4" fmla="*/ 84 w 1224"/>
                <a:gd name="T5" fmla="*/ 83 h 1050"/>
                <a:gd name="T6" fmla="*/ 82 w 1224"/>
                <a:gd name="T7" fmla="*/ 80 h 1050"/>
                <a:gd name="T8" fmla="*/ 85 w 1224"/>
                <a:gd name="T9" fmla="*/ 77 h 1050"/>
                <a:gd name="T10" fmla="*/ 81 w 1224"/>
                <a:gd name="T11" fmla="*/ 76 h 1050"/>
                <a:gd name="T12" fmla="*/ 77 w 1224"/>
                <a:gd name="T13" fmla="*/ 77 h 1050"/>
                <a:gd name="T14" fmla="*/ 78 w 1224"/>
                <a:gd name="T15" fmla="*/ 73 h 1050"/>
                <a:gd name="T16" fmla="*/ 59 w 1224"/>
                <a:gd name="T17" fmla="*/ 71 h 1050"/>
                <a:gd name="T18" fmla="*/ 41 w 1224"/>
                <a:gd name="T19" fmla="*/ 73 h 1050"/>
                <a:gd name="T20" fmla="*/ 33 w 1224"/>
                <a:gd name="T21" fmla="*/ 71 h 1050"/>
                <a:gd name="T22" fmla="*/ 30 w 1224"/>
                <a:gd name="T23" fmla="*/ 75 h 1050"/>
                <a:gd name="T24" fmla="*/ 27 w 1224"/>
                <a:gd name="T25" fmla="*/ 80 h 1050"/>
                <a:gd name="T26" fmla="*/ 12 w 1224"/>
                <a:gd name="T27" fmla="*/ 81 h 1050"/>
                <a:gd name="T28" fmla="*/ 9 w 1224"/>
                <a:gd name="T29" fmla="*/ 84 h 1050"/>
                <a:gd name="T30" fmla="*/ 6 w 1224"/>
                <a:gd name="T31" fmla="*/ 83 h 1050"/>
                <a:gd name="T32" fmla="*/ 1 w 1224"/>
                <a:gd name="T33" fmla="*/ 83 h 1050"/>
                <a:gd name="T34" fmla="*/ 3 w 1224"/>
                <a:gd name="T35" fmla="*/ 77 h 1050"/>
                <a:gd name="T36" fmla="*/ 5 w 1224"/>
                <a:gd name="T37" fmla="*/ 70 h 1050"/>
                <a:gd name="T38" fmla="*/ 2 w 1224"/>
                <a:gd name="T39" fmla="*/ 65 h 1050"/>
                <a:gd name="T40" fmla="*/ 3 w 1224"/>
                <a:gd name="T41" fmla="*/ 58 h 1050"/>
                <a:gd name="T42" fmla="*/ 4 w 1224"/>
                <a:gd name="T43" fmla="*/ 51 h 1050"/>
                <a:gd name="T44" fmla="*/ 3 w 1224"/>
                <a:gd name="T45" fmla="*/ 47 h 1050"/>
                <a:gd name="T46" fmla="*/ 4 w 1224"/>
                <a:gd name="T47" fmla="*/ 39 h 1050"/>
                <a:gd name="T48" fmla="*/ 6 w 1224"/>
                <a:gd name="T49" fmla="*/ 29 h 1050"/>
                <a:gd name="T50" fmla="*/ 3 w 1224"/>
                <a:gd name="T51" fmla="*/ 22 h 1050"/>
                <a:gd name="T52" fmla="*/ 2 w 1224"/>
                <a:gd name="T53" fmla="*/ 14 h 1050"/>
                <a:gd name="T54" fmla="*/ 0 w 1224"/>
                <a:gd name="T55" fmla="*/ 6 h 1050"/>
                <a:gd name="T56" fmla="*/ 9 w 1224"/>
                <a:gd name="T57" fmla="*/ 1 h 1050"/>
                <a:gd name="T58" fmla="*/ 11 w 1224"/>
                <a:gd name="T59" fmla="*/ 8 h 1050"/>
                <a:gd name="T60" fmla="*/ 15 w 1224"/>
                <a:gd name="T61" fmla="*/ 9 h 1050"/>
                <a:gd name="T62" fmla="*/ 18 w 1224"/>
                <a:gd name="T63" fmla="*/ 8 h 1050"/>
                <a:gd name="T64" fmla="*/ 18 w 1224"/>
                <a:gd name="T65" fmla="*/ 13 h 1050"/>
                <a:gd name="T66" fmla="*/ 17 w 1224"/>
                <a:gd name="T67" fmla="*/ 15 h 1050"/>
                <a:gd name="T68" fmla="*/ 17 w 1224"/>
                <a:gd name="T69" fmla="*/ 17 h 1050"/>
                <a:gd name="T70" fmla="*/ 17 w 1224"/>
                <a:gd name="T71" fmla="*/ 21 h 1050"/>
                <a:gd name="T72" fmla="*/ 21 w 1224"/>
                <a:gd name="T73" fmla="*/ 25 h 1050"/>
                <a:gd name="T74" fmla="*/ 24 w 1224"/>
                <a:gd name="T75" fmla="*/ 31 h 1050"/>
                <a:gd name="T76" fmla="*/ 35 w 1224"/>
                <a:gd name="T77" fmla="*/ 34 h 1050"/>
                <a:gd name="T78" fmla="*/ 40 w 1224"/>
                <a:gd name="T79" fmla="*/ 27 h 1050"/>
                <a:gd name="T80" fmla="*/ 46 w 1224"/>
                <a:gd name="T81" fmla="*/ 30 h 1050"/>
                <a:gd name="T82" fmla="*/ 51 w 1224"/>
                <a:gd name="T83" fmla="*/ 27 h 1050"/>
                <a:gd name="T84" fmla="*/ 59 w 1224"/>
                <a:gd name="T85" fmla="*/ 39 h 1050"/>
                <a:gd name="T86" fmla="*/ 59 w 1224"/>
                <a:gd name="T87" fmla="*/ 45 h 1050"/>
                <a:gd name="T88" fmla="*/ 72 w 1224"/>
                <a:gd name="T89" fmla="*/ 45 h 1050"/>
                <a:gd name="T90" fmla="*/ 79 w 1224"/>
                <a:gd name="T91" fmla="*/ 44 h 1050"/>
                <a:gd name="T92" fmla="*/ 87 w 1224"/>
                <a:gd name="T93" fmla="*/ 48 h 1050"/>
                <a:gd name="T94" fmla="*/ 93 w 1224"/>
                <a:gd name="T95" fmla="*/ 50 h 1050"/>
                <a:gd name="T96" fmla="*/ 98 w 1224"/>
                <a:gd name="T97" fmla="*/ 51 h 1050"/>
                <a:gd name="T98" fmla="*/ 106 w 1224"/>
                <a:gd name="T99" fmla="*/ 50 h 1050"/>
                <a:gd name="T100" fmla="*/ 104 w 1224"/>
                <a:gd name="T101" fmla="*/ 54 h 1050"/>
                <a:gd name="T102" fmla="*/ 104 w 1224"/>
                <a:gd name="T103" fmla="*/ 60 h 1050"/>
                <a:gd name="T104" fmla="*/ 101 w 1224"/>
                <a:gd name="T105" fmla="*/ 63 h 1050"/>
                <a:gd name="T106" fmla="*/ 98 w 1224"/>
                <a:gd name="T107" fmla="*/ 66 h 1050"/>
                <a:gd name="T108" fmla="*/ 95 w 1224"/>
                <a:gd name="T109" fmla="*/ 68 h 1050"/>
                <a:gd name="T110" fmla="*/ 93 w 1224"/>
                <a:gd name="T111" fmla="*/ 72 h 1050"/>
                <a:gd name="T112" fmla="*/ 98 w 1224"/>
                <a:gd name="T113" fmla="*/ 75 h 1050"/>
                <a:gd name="T114" fmla="*/ 102 w 1224"/>
                <a:gd name="T115" fmla="*/ 77 h 1050"/>
                <a:gd name="T116" fmla="*/ 107 w 1224"/>
                <a:gd name="T117" fmla="*/ 76 h 1050"/>
                <a:gd name="T118" fmla="*/ 104 w 1224"/>
                <a:gd name="T119" fmla="*/ 84 h 1050"/>
                <a:gd name="T120" fmla="*/ 103 w 1224"/>
                <a:gd name="T121" fmla="*/ 87 h 1050"/>
                <a:gd name="T122" fmla="*/ 104 w 1224"/>
                <a:gd name="T123" fmla="*/ 91 h 105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24"/>
                <a:gd name="T187" fmla="*/ 0 h 1050"/>
                <a:gd name="T188" fmla="*/ 1224 w 1224"/>
                <a:gd name="T189" fmla="*/ 1050 h 105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24" h="1050">
                  <a:moveTo>
                    <a:pt x="1128" y="1032"/>
                  </a:moveTo>
                  <a:lnTo>
                    <a:pt x="1122" y="1026"/>
                  </a:lnTo>
                  <a:lnTo>
                    <a:pt x="1116" y="1026"/>
                  </a:lnTo>
                  <a:lnTo>
                    <a:pt x="1110" y="1026"/>
                  </a:lnTo>
                  <a:lnTo>
                    <a:pt x="1104" y="1026"/>
                  </a:lnTo>
                  <a:lnTo>
                    <a:pt x="1104" y="1020"/>
                  </a:lnTo>
                  <a:lnTo>
                    <a:pt x="1098" y="1020"/>
                  </a:lnTo>
                  <a:lnTo>
                    <a:pt x="1092" y="1020"/>
                  </a:lnTo>
                  <a:lnTo>
                    <a:pt x="1086" y="1020"/>
                  </a:lnTo>
                  <a:lnTo>
                    <a:pt x="1080" y="1014"/>
                  </a:lnTo>
                  <a:lnTo>
                    <a:pt x="1068" y="1014"/>
                  </a:lnTo>
                  <a:lnTo>
                    <a:pt x="1062" y="1014"/>
                  </a:lnTo>
                  <a:lnTo>
                    <a:pt x="1062" y="1008"/>
                  </a:lnTo>
                  <a:lnTo>
                    <a:pt x="1062" y="990"/>
                  </a:lnTo>
                  <a:lnTo>
                    <a:pt x="1062" y="984"/>
                  </a:lnTo>
                  <a:lnTo>
                    <a:pt x="1062" y="972"/>
                  </a:lnTo>
                  <a:lnTo>
                    <a:pt x="1044" y="966"/>
                  </a:lnTo>
                  <a:lnTo>
                    <a:pt x="1026" y="966"/>
                  </a:lnTo>
                  <a:lnTo>
                    <a:pt x="1014" y="966"/>
                  </a:lnTo>
                  <a:lnTo>
                    <a:pt x="996" y="966"/>
                  </a:lnTo>
                  <a:lnTo>
                    <a:pt x="996" y="972"/>
                  </a:lnTo>
                  <a:lnTo>
                    <a:pt x="990" y="972"/>
                  </a:lnTo>
                  <a:lnTo>
                    <a:pt x="984" y="966"/>
                  </a:lnTo>
                  <a:lnTo>
                    <a:pt x="978" y="966"/>
                  </a:lnTo>
                  <a:lnTo>
                    <a:pt x="978" y="960"/>
                  </a:lnTo>
                  <a:lnTo>
                    <a:pt x="972" y="954"/>
                  </a:lnTo>
                  <a:lnTo>
                    <a:pt x="966" y="954"/>
                  </a:lnTo>
                  <a:lnTo>
                    <a:pt x="960" y="954"/>
                  </a:lnTo>
                  <a:lnTo>
                    <a:pt x="954" y="954"/>
                  </a:lnTo>
                  <a:lnTo>
                    <a:pt x="954" y="948"/>
                  </a:lnTo>
                  <a:lnTo>
                    <a:pt x="942" y="942"/>
                  </a:lnTo>
                  <a:lnTo>
                    <a:pt x="936" y="942"/>
                  </a:lnTo>
                  <a:lnTo>
                    <a:pt x="936" y="936"/>
                  </a:lnTo>
                  <a:lnTo>
                    <a:pt x="936" y="930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42" y="918"/>
                  </a:lnTo>
                  <a:lnTo>
                    <a:pt x="948" y="918"/>
                  </a:lnTo>
                  <a:lnTo>
                    <a:pt x="960" y="918"/>
                  </a:lnTo>
                  <a:lnTo>
                    <a:pt x="966" y="912"/>
                  </a:lnTo>
                  <a:lnTo>
                    <a:pt x="978" y="906"/>
                  </a:lnTo>
                  <a:lnTo>
                    <a:pt x="978" y="900"/>
                  </a:lnTo>
                  <a:lnTo>
                    <a:pt x="978" y="894"/>
                  </a:lnTo>
                  <a:lnTo>
                    <a:pt x="978" y="888"/>
                  </a:lnTo>
                  <a:lnTo>
                    <a:pt x="972" y="888"/>
                  </a:lnTo>
                  <a:lnTo>
                    <a:pt x="978" y="888"/>
                  </a:lnTo>
                  <a:lnTo>
                    <a:pt x="978" y="882"/>
                  </a:lnTo>
                  <a:lnTo>
                    <a:pt x="972" y="876"/>
                  </a:lnTo>
                  <a:lnTo>
                    <a:pt x="966" y="870"/>
                  </a:lnTo>
                  <a:lnTo>
                    <a:pt x="954" y="876"/>
                  </a:lnTo>
                  <a:lnTo>
                    <a:pt x="948" y="876"/>
                  </a:lnTo>
                  <a:lnTo>
                    <a:pt x="942" y="870"/>
                  </a:lnTo>
                  <a:lnTo>
                    <a:pt x="936" y="876"/>
                  </a:lnTo>
                  <a:lnTo>
                    <a:pt x="930" y="876"/>
                  </a:lnTo>
                  <a:lnTo>
                    <a:pt x="924" y="882"/>
                  </a:lnTo>
                  <a:lnTo>
                    <a:pt x="912" y="888"/>
                  </a:lnTo>
                  <a:lnTo>
                    <a:pt x="906" y="894"/>
                  </a:lnTo>
                  <a:lnTo>
                    <a:pt x="900" y="900"/>
                  </a:lnTo>
                  <a:lnTo>
                    <a:pt x="894" y="888"/>
                  </a:lnTo>
                  <a:lnTo>
                    <a:pt x="888" y="894"/>
                  </a:lnTo>
                  <a:lnTo>
                    <a:pt x="882" y="888"/>
                  </a:lnTo>
                  <a:lnTo>
                    <a:pt x="876" y="894"/>
                  </a:lnTo>
                  <a:lnTo>
                    <a:pt x="876" y="888"/>
                  </a:lnTo>
                  <a:lnTo>
                    <a:pt x="876" y="882"/>
                  </a:lnTo>
                  <a:lnTo>
                    <a:pt x="876" y="876"/>
                  </a:lnTo>
                  <a:lnTo>
                    <a:pt x="870" y="858"/>
                  </a:lnTo>
                  <a:lnTo>
                    <a:pt x="864" y="858"/>
                  </a:lnTo>
                  <a:lnTo>
                    <a:pt x="870" y="852"/>
                  </a:lnTo>
                  <a:lnTo>
                    <a:pt x="870" y="846"/>
                  </a:lnTo>
                  <a:lnTo>
                    <a:pt x="876" y="846"/>
                  </a:lnTo>
                  <a:lnTo>
                    <a:pt x="882" y="846"/>
                  </a:lnTo>
                  <a:lnTo>
                    <a:pt x="888" y="840"/>
                  </a:lnTo>
                  <a:lnTo>
                    <a:pt x="894" y="834"/>
                  </a:lnTo>
                  <a:lnTo>
                    <a:pt x="894" y="828"/>
                  </a:lnTo>
                  <a:lnTo>
                    <a:pt x="894" y="816"/>
                  </a:lnTo>
                  <a:lnTo>
                    <a:pt x="858" y="810"/>
                  </a:lnTo>
                  <a:lnTo>
                    <a:pt x="858" y="816"/>
                  </a:lnTo>
                  <a:lnTo>
                    <a:pt x="852" y="816"/>
                  </a:lnTo>
                  <a:lnTo>
                    <a:pt x="780" y="816"/>
                  </a:lnTo>
                  <a:lnTo>
                    <a:pt x="750" y="816"/>
                  </a:lnTo>
                  <a:lnTo>
                    <a:pt x="684" y="816"/>
                  </a:lnTo>
                  <a:lnTo>
                    <a:pt x="636" y="816"/>
                  </a:lnTo>
                  <a:lnTo>
                    <a:pt x="612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0" y="816"/>
                  </a:lnTo>
                  <a:lnTo>
                    <a:pt x="480" y="822"/>
                  </a:lnTo>
                  <a:lnTo>
                    <a:pt x="480" y="834"/>
                  </a:lnTo>
                  <a:lnTo>
                    <a:pt x="474" y="840"/>
                  </a:lnTo>
                  <a:lnTo>
                    <a:pt x="468" y="840"/>
                  </a:lnTo>
                  <a:lnTo>
                    <a:pt x="432" y="840"/>
                  </a:lnTo>
                  <a:lnTo>
                    <a:pt x="426" y="834"/>
                  </a:lnTo>
                  <a:lnTo>
                    <a:pt x="420" y="834"/>
                  </a:lnTo>
                  <a:lnTo>
                    <a:pt x="420" y="828"/>
                  </a:lnTo>
                  <a:lnTo>
                    <a:pt x="414" y="822"/>
                  </a:lnTo>
                  <a:lnTo>
                    <a:pt x="408" y="822"/>
                  </a:lnTo>
                  <a:lnTo>
                    <a:pt x="396" y="822"/>
                  </a:lnTo>
                  <a:lnTo>
                    <a:pt x="396" y="816"/>
                  </a:lnTo>
                  <a:lnTo>
                    <a:pt x="384" y="816"/>
                  </a:lnTo>
                  <a:lnTo>
                    <a:pt x="372" y="810"/>
                  </a:lnTo>
                  <a:lnTo>
                    <a:pt x="372" y="804"/>
                  </a:lnTo>
                  <a:lnTo>
                    <a:pt x="366" y="804"/>
                  </a:lnTo>
                  <a:lnTo>
                    <a:pt x="360" y="804"/>
                  </a:lnTo>
                  <a:lnTo>
                    <a:pt x="348" y="828"/>
                  </a:lnTo>
                  <a:lnTo>
                    <a:pt x="348" y="834"/>
                  </a:lnTo>
                  <a:lnTo>
                    <a:pt x="348" y="852"/>
                  </a:lnTo>
                  <a:lnTo>
                    <a:pt x="348" y="858"/>
                  </a:lnTo>
                  <a:lnTo>
                    <a:pt x="342" y="864"/>
                  </a:lnTo>
                  <a:lnTo>
                    <a:pt x="342" y="870"/>
                  </a:lnTo>
                  <a:lnTo>
                    <a:pt x="330" y="876"/>
                  </a:lnTo>
                  <a:lnTo>
                    <a:pt x="324" y="888"/>
                  </a:lnTo>
                  <a:lnTo>
                    <a:pt x="324" y="894"/>
                  </a:lnTo>
                  <a:lnTo>
                    <a:pt x="330" y="900"/>
                  </a:lnTo>
                  <a:lnTo>
                    <a:pt x="330" y="906"/>
                  </a:lnTo>
                  <a:lnTo>
                    <a:pt x="324" y="906"/>
                  </a:lnTo>
                  <a:lnTo>
                    <a:pt x="318" y="912"/>
                  </a:lnTo>
                  <a:lnTo>
                    <a:pt x="312" y="918"/>
                  </a:lnTo>
                  <a:lnTo>
                    <a:pt x="306" y="924"/>
                  </a:lnTo>
                  <a:lnTo>
                    <a:pt x="288" y="924"/>
                  </a:lnTo>
                  <a:lnTo>
                    <a:pt x="282" y="924"/>
                  </a:lnTo>
                  <a:lnTo>
                    <a:pt x="276" y="930"/>
                  </a:lnTo>
                  <a:lnTo>
                    <a:pt x="270" y="930"/>
                  </a:lnTo>
                  <a:lnTo>
                    <a:pt x="264" y="930"/>
                  </a:lnTo>
                  <a:lnTo>
                    <a:pt x="198" y="930"/>
                  </a:lnTo>
                  <a:lnTo>
                    <a:pt x="132" y="930"/>
                  </a:lnTo>
                  <a:lnTo>
                    <a:pt x="132" y="936"/>
                  </a:lnTo>
                  <a:lnTo>
                    <a:pt x="132" y="942"/>
                  </a:lnTo>
                  <a:lnTo>
                    <a:pt x="132" y="948"/>
                  </a:lnTo>
                  <a:lnTo>
                    <a:pt x="126" y="948"/>
                  </a:lnTo>
                  <a:lnTo>
                    <a:pt x="120" y="948"/>
                  </a:lnTo>
                  <a:lnTo>
                    <a:pt x="120" y="954"/>
                  </a:lnTo>
                  <a:lnTo>
                    <a:pt x="114" y="954"/>
                  </a:lnTo>
                  <a:lnTo>
                    <a:pt x="114" y="960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02" y="966"/>
                  </a:lnTo>
                  <a:lnTo>
                    <a:pt x="102" y="972"/>
                  </a:lnTo>
                  <a:lnTo>
                    <a:pt x="96" y="972"/>
                  </a:lnTo>
                  <a:lnTo>
                    <a:pt x="96" y="966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78" y="960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60"/>
                  </a:lnTo>
                  <a:lnTo>
                    <a:pt x="54" y="966"/>
                  </a:lnTo>
                  <a:lnTo>
                    <a:pt x="48" y="966"/>
                  </a:lnTo>
                  <a:lnTo>
                    <a:pt x="42" y="966"/>
                  </a:lnTo>
                  <a:lnTo>
                    <a:pt x="36" y="966"/>
                  </a:lnTo>
                  <a:lnTo>
                    <a:pt x="30" y="966"/>
                  </a:lnTo>
                  <a:lnTo>
                    <a:pt x="24" y="960"/>
                  </a:lnTo>
                  <a:lnTo>
                    <a:pt x="18" y="960"/>
                  </a:lnTo>
                  <a:lnTo>
                    <a:pt x="12" y="960"/>
                  </a:lnTo>
                  <a:lnTo>
                    <a:pt x="12" y="948"/>
                  </a:lnTo>
                  <a:lnTo>
                    <a:pt x="18" y="942"/>
                  </a:lnTo>
                  <a:lnTo>
                    <a:pt x="18" y="936"/>
                  </a:lnTo>
                  <a:lnTo>
                    <a:pt x="18" y="930"/>
                  </a:lnTo>
                  <a:lnTo>
                    <a:pt x="18" y="924"/>
                  </a:lnTo>
                  <a:lnTo>
                    <a:pt x="18" y="912"/>
                  </a:lnTo>
                  <a:lnTo>
                    <a:pt x="24" y="906"/>
                  </a:lnTo>
                  <a:lnTo>
                    <a:pt x="30" y="900"/>
                  </a:lnTo>
                  <a:lnTo>
                    <a:pt x="36" y="894"/>
                  </a:lnTo>
                  <a:lnTo>
                    <a:pt x="36" y="882"/>
                  </a:lnTo>
                  <a:lnTo>
                    <a:pt x="30" y="876"/>
                  </a:lnTo>
                  <a:lnTo>
                    <a:pt x="30" y="870"/>
                  </a:lnTo>
                  <a:lnTo>
                    <a:pt x="24" y="858"/>
                  </a:lnTo>
                  <a:lnTo>
                    <a:pt x="24" y="846"/>
                  </a:lnTo>
                  <a:lnTo>
                    <a:pt x="36" y="822"/>
                  </a:lnTo>
                  <a:lnTo>
                    <a:pt x="42" y="816"/>
                  </a:lnTo>
                  <a:lnTo>
                    <a:pt x="48" y="816"/>
                  </a:lnTo>
                  <a:lnTo>
                    <a:pt x="60" y="804"/>
                  </a:lnTo>
                  <a:lnTo>
                    <a:pt x="60" y="786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54" y="762"/>
                  </a:lnTo>
                  <a:lnTo>
                    <a:pt x="42" y="762"/>
                  </a:lnTo>
                  <a:lnTo>
                    <a:pt x="36" y="762"/>
                  </a:lnTo>
                  <a:lnTo>
                    <a:pt x="30" y="762"/>
                  </a:lnTo>
                  <a:lnTo>
                    <a:pt x="30" y="756"/>
                  </a:lnTo>
                  <a:lnTo>
                    <a:pt x="24" y="750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702"/>
                  </a:lnTo>
                  <a:lnTo>
                    <a:pt x="36" y="684"/>
                  </a:lnTo>
                  <a:lnTo>
                    <a:pt x="36" y="678"/>
                  </a:lnTo>
                  <a:lnTo>
                    <a:pt x="36" y="666"/>
                  </a:lnTo>
                  <a:lnTo>
                    <a:pt x="36" y="654"/>
                  </a:lnTo>
                  <a:lnTo>
                    <a:pt x="18" y="654"/>
                  </a:lnTo>
                  <a:lnTo>
                    <a:pt x="18" y="648"/>
                  </a:lnTo>
                  <a:lnTo>
                    <a:pt x="18" y="618"/>
                  </a:lnTo>
                  <a:lnTo>
                    <a:pt x="18" y="612"/>
                  </a:lnTo>
                  <a:lnTo>
                    <a:pt x="24" y="612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54" y="588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76"/>
                  </a:lnTo>
                  <a:lnTo>
                    <a:pt x="48" y="564"/>
                  </a:lnTo>
                  <a:lnTo>
                    <a:pt x="42" y="564"/>
                  </a:lnTo>
                  <a:lnTo>
                    <a:pt x="36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6" y="540"/>
                  </a:lnTo>
                  <a:lnTo>
                    <a:pt x="48" y="534"/>
                  </a:lnTo>
                  <a:lnTo>
                    <a:pt x="54" y="528"/>
                  </a:lnTo>
                  <a:lnTo>
                    <a:pt x="60" y="504"/>
                  </a:lnTo>
                  <a:lnTo>
                    <a:pt x="60" y="492"/>
                  </a:lnTo>
                  <a:lnTo>
                    <a:pt x="54" y="492"/>
                  </a:lnTo>
                  <a:lnTo>
                    <a:pt x="54" y="480"/>
                  </a:lnTo>
                  <a:lnTo>
                    <a:pt x="48" y="456"/>
                  </a:lnTo>
                  <a:lnTo>
                    <a:pt x="42" y="450"/>
                  </a:lnTo>
                  <a:lnTo>
                    <a:pt x="36" y="444"/>
                  </a:lnTo>
                  <a:lnTo>
                    <a:pt x="36" y="420"/>
                  </a:lnTo>
                  <a:lnTo>
                    <a:pt x="36" y="408"/>
                  </a:lnTo>
                  <a:lnTo>
                    <a:pt x="36" y="37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60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6" y="300"/>
                  </a:lnTo>
                  <a:lnTo>
                    <a:pt x="60" y="294"/>
                  </a:lnTo>
                  <a:lnTo>
                    <a:pt x="60" y="288"/>
                  </a:lnTo>
                  <a:lnTo>
                    <a:pt x="54" y="282"/>
                  </a:lnTo>
                  <a:lnTo>
                    <a:pt x="42" y="276"/>
                  </a:lnTo>
                  <a:lnTo>
                    <a:pt x="36" y="276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0" y="252"/>
                  </a:lnTo>
                  <a:lnTo>
                    <a:pt x="24" y="246"/>
                  </a:lnTo>
                  <a:lnTo>
                    <a:pt x="24" y="240"/>
                  </a:lnTo>
                  <a:lnTo>
                    <a:pt x="24" y="228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62"/>
                  </a:lnTo>
                  <a:lnTo>
                    <a:pt x="24" y="144"/>
                  </a:lnTo>
                  <a:lnTo>
                    <a:pt x="24" y="132"/>
                  </a:lnTo>
                  <a:lnTo>
                    <a:pt x="24" y="114"/>
                  </a:lnTo>
                  <a:lnTo>
                    <a:pt x="24" y="102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18" y="48"/>
                  </a:lnTo>
                  <a:lnTo>
                    <a:pt x="42" y="36"/>
                  </a:lnTo>
                  <a:lnTo>
                    <a:pt x="54" y="24"/>
                  </a:lnTo>
                  <a:lnTo>
                    <a:pt x="60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10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14" y="60"/>
                  </a:lnTo>
                  <a:lnTo>
                    <a:pt x="120" y="60"/>
                  </a:lnTo>
                  <a:lnTo>
                    <a:pt x="114" y="84"/>
                  </a:lnTo>
                  <a:lnTo>
                    <a:pt x="120" y="90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38" y="114"/>
                  </a:lnTo>
                  <a:lnTo>
                    <a:pt x="138" y="132"/>
                  </a:lnTo>
                  <a:lnTo>
                    <a:pt x="162" y="126"/>
                  </a:lnTo>
                  <a:lnTo>
                    <a:pt x="162" y="114"/>
                  </a:lnTo>
                  <a:lnTo>
                    <a:pt x="174" y="108"/>
                  </a:lnTo>
                  <a:lnTo>
                    <a:pt x="174" y="102"/>
                  </a:lnTo>
                  <a:lnTo>
                    <a:pt x="180" y="96"/>
                  </a:lnTo>
                  <a:lnTo>
                    <a:pt x="180" y="60"/>
                  </a:lnTo>
                  <a:lnTo>
                    <a:pt x="192" y="60"/>
                  </a:lnTo>
                  <a:lnTo>
                    <a:pt x="192" y="72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04" y="108"/>
                  </a:lnTo>
                  <a:lnTo>
                    <a:pt x="204" y="114"/>
                  </a:lnTo>
                  <a:lnTo>
                    <a:pt x="204" y="120"/>
                  </a:lnTo>
                  <a:lnTo>
                    <a:pt x="204" y="126"/>
                  </a:lnTo>
                  <a:lnTo>
                    <a:pt x="210" y="126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8" y="174"/>
                  </a:lnTo>
                  <a:lnTo>
                    <a:pt x="198" y="180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86" y="204"/>
                  </a:lnTo>
                  <a:lnTo>
                    <a:pt x="186" y="210"/>
                  </a:lnTo>
                  <a:lnTo>
                    <a:pt x="180" y="210"/>
                  </a:lnTo>
                  <a:lnTo>
                    <a:pt x="180" y="216"/>
                  </a:lnTo>
                  <a:lnTo>
                    <a:pt x="180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92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8" y="258"/>
                  </a:lnTo>
                  <a:lnTo>
                    <a:pt x="204" y="258"/>
                  </a:lnTo>
                  <a:lnTo>
                    <a:pt x="210" y="258"/>
                  </a:lnTo>
                  <a:lnTo>
                    <a:pt x="216" y="258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34" y="276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46" y="306"/>
                  </a:lnTo>
                  <a:lnTo>
                    <a:pt x="252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42"/>
                  </a:lnTo>
                  <a:lnTo>
                    <a:pt x="270" y="342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88" y="366"/>
                  </a:lnTo>
                  <a:lnTo>
                    <a:pt x="336" y="360"/>
                  </a:lnTo>
                  <a:lnTo>
                    <a:pt x="354" y="360"/>
                  </a:lnTo>
                  <a:lnTo>
                    <a:pt x="366" y="372"/>
                  </a:lnTo>
                  <a:lnTo>
                    <a:pt x="378" y="378"/>
                  </a:lnTo>
                  <a:lnTo>
                    <a:pt x="378" y="390"/>
                  </a:lnTo>
                  <a:lnTo>
                    <a:pt x="384" y="390"/>
                  </a:lnTo>
                  <a:lnTo>
                    <a:pt x="390" y="396"/>
                  </a:lnTo>
                  <a:lnTo>
                    <a:pt x="408" y="390"/>
                  </a:lnTo>
                  <a:lnTo>
                    <a:pt x="426" y="366"/>
                  </a:lnTo>
                  <a:lnTo>
                    <a:pt x="432" y="360"/>
                  </a:lnTo>
                  <a:lnTo>
                    <a:pt x="438" y="348"/>
                  </a:lnTo>
                  <a:lnTo>
                    <a:pt x="438" y="342"/>
                  </a:lnTo>
                  <a:lnTo>
                    <a:pt x="438" y="330"/>
                  </a:lnTo>
                  <a:lnTo>
                    <a:pt x="444" y="324"/>
                  </a:lnTo>
                  <a:lnTo>
                    <a:pt x="450" y="318"/>
                  </a:lnTo>
                  <a:lnTo>
                    <a:pt x="456" y="312"/>
                  </a:lnTo>
                  <a:lnTo>
                    <a:pt x="456" y="306"/>
                  </a:lnTo>
                  <a:lnTo>
                    <a:pt x="456" y="300"/>
                  </a:lnTo>
                  <a:lnTo>
                    <a:pt x="474" y="288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92" y="294"/>
                  </a:lnTo>
                  <a:lnTo>
                    <a:pt x="492" y="318"/>
                  </a:lnTo>
                  <a:lnTo>
                    <a:pt x="504" y="324"/>
                  </a:lnTo>
                  <a:lnTo>
                    <a:pt x="492" y="348"/>
                  </a:lnTo>
                  <a:lnTo>
                    <a:pt x="522" y="348"/>
                  </a:lnTo>
                  <a:lnTo>
                    <a:pt x="528" y="342"/>
                  </a:lnTo>
                  <a:lnTo>
                    <a:pt x="528" y="336"/>
                  </a:lnTo>
                  <a:lnTo>
                    <a:pt x="528" y="330"/>
                  </a:lnTo>
                  <a:lnTo>
                    <a:pt x="534" y="330"/>
                  </a:lnTo>
                  <a:lnTo>
                    <a:pt x="540" y="330"/>
                  </a:lnTo>
                  <a:lnTo>
                    <a:pt x="546" y="330"/>
                  </a:lnTo>
                  <a:lnTo>
                    <a:pt x="552" y="324"/>
                  </a:lnTo>
                  <a:lnTo>
                    <a:pt x="558" y="318"/>
                  </a:lnTo>
                  <a:lnTo>
                    <a:pt x="576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8" y="348"/>
                  </a:lnTo>
                  <a:lnTo>
                    <a:pt x="654" y="354"/>
                  </a:lnTo>
                  <a:lnTo>
                    <a:pt x="648" y="402"/>
                  </a:lnTo>
                  <a:lnTo>
                    <a:pt x="678" y="402"/>
                  </a:lnTo>
                  <a:lnTo>
                    <a:pt x="678" y="420"/>
                  </a:lnTo>
                  <a:lnTo>
                    <a:pt x="684" y="438"/>
                  </a:lnTo>
                  <a:lnTo>
                    <a:pt x="684" y="450"/>
                  </a:lnTo>
                  <a:lnTo>
                    <a:pt x="684" y="456"/>
                  </a:lnTo>
                  <a:lnTo>
                    <a:pt x="690" y="468"/>
                  </a:lnTo>
                  <a:lnTo>
                    <a:pt x="690" y="474"/>
                  </a:lnTo>
                  <a:lnTo>
                    <a:pt x="690" y="480"/>
                  </a:lnTo>
                  <a:lnTo>
                    <a:pt x="696" y="486"/>
                  </a:lnTo>
                  <a:lnTo>
                    <a:pt x="696" y="498"/>
                  </a:lnTo>
                  <a:lnTo>
                    <a:pt x="702" y="504"/>
                  </a:lnTo>
                  <a:lnTo>
                    <a:pt x="690" y="516"/>
                  </a:lnTo>
                  <a:lnTo>
                    <a:pt x="678" y="522"/>
                  </a:lnTo>
                  <a:lnTo>
                    <a:pt x="654" y="528"/>
                  </a:lnTo>
                  <a:lnTo>
                    <a:pt x="660" y="546"/>
                  </a:lnTo>
                  <a:lnTo>
                    <a:pt x="672" y="546"/>
                  </a:lnTo>
                  <a:lnTo>
                    <a:pt x="678" y="540"/>
                  </a:lnTo>
                  <a:lnTo>
                    <a:pt x="714" y="540"/>
                  </a:lnTo>
                  <a:lnTo>
                    <a:pt x="798" y="540"/>
                  </a:lnTo>
                  <a:lnTo>
                    <a:pt x="804" y="540"/>
                  </a:lnTo>
                  <a:lnTo>
                    <a:pt x="816" y="528"/>
                  </a:lnTo>
                  <a:lnTo>
                    <a:pt x="822" y="522"/>
                  </a:lnTo>
                  <a:lnTo>
                    <a:pt x="834" y="516"/>
                  </a:lnTo>
                  <a:lnTo>
                    <a:pt x="846" y="516"/>
                  </a:lnTo>
                  <a:lnTo>
                    <a:pt x="852" y="510"/>
                  </a:lnTo>
                  <a:lnTo>
                    <a:pt x="858" y="510"/>
                  </a:lnTo>
                  <a:lnTo>
                    <a:pt x="882" y="516"/>
                  </a:lnTo>
                  <a:lnTo>
                    <a:pt x="888" y="516"/>
                  </a:lnTo>
                  <a:lnTo>
                    <a:pt x="888" y="510"/>
                  </a:lnTo>
                  <a:lnTo>
                    <a:pt x="894" y="510"/>
                  </a:lnTo>
                  <a:lnTo>
                    <a:pt x="906" y="504"/>
                  </a:lnTo>
                  <a:lnTo>
                    <a:pt x="918" y="498"/>
                  </a:lnTo>
                  <a:lnTo>
                    <a:pt x="930" y="492"/>
                  </a:lnTo>
                  <a:lnTo>
                    <a:pt x="936" y="492"/>
                  </a:lnTo>
                  <a:lnTo>
                    <a:pt x="948" y="492"/>
                  </a:lnTo>
                  <a:lnTo>
                    <a:pt x="954" y="528"/>
                  </a:lnTo>
                  <a:lnTo>
                    <a:pt x="954" y="564"/>
                  </a:lnTo>
                  <a:lnTo>
                    <a:pt x="972" y="564"/>
                  </a:lnTo>
                  <a:lnTo>
                    <a:pt x="978" y="558"/>
                  </a:lnTo>
                  <a:lnTo>
                    <a:pt x="990" y="552"/>
                  </a:lnTo>
                  <a:lnTo>
                    <a:pt x="1002" y="540"/>
                  </a:lnTo>
                  <a:lnTo>
                    <a:pt x="1026" y="534"/>
                  </a:lnTo>
                  <a:lnTo>
                    <a:pt x="1032" y="540"/>
                  </a:lnTo>
                  <a:lnTo>
                    <a:pt x="1044" y="546"/>
                  </a:lnTo>
                  <a:lnTo>
                    <a:pt x="1062" y="552"/>
                  </a:lnTo>
                  <a:lnTo>
                    <a:pt x="1068" y="552"/>
                  </a:lnTo>
                  <a:lnTo>
                    <a:pt x="1068" y="570"/>
                  </a:lnTo>
                  <a:lnTo>
                    <a:pt x="1068" y="576"/>
                  </a:lnTo>
                  <a:lnTo>
                    <a:pt x="1068" y="582"/>
                  </a:lnTo>
                  <a:lnTo>
                    <a:pt x="1068" y="588"/>
                  </a:lnTo>
                  <a:lnTo>
                    <a:pt x="1068" y="594"/>
                  </a:lnTo>
                  <a:lnTo>
                    <a:pt x="1080" y="600"/>
                  </a:lnTo>
                  <a:lnTo>
                    <a:pt x="1086" y="606"/>
                  </a:lnTo>
                  <a:lnTo>
                    <a:pt x="1092" y="594"/>
                  </a:lnTo>
                  <a:lnTo>
                    <a:pt x="1104" y="588"/>
                  </a:lnTo>
                  <a:lnTo>
                    <a:pt x="1116" y="588"/>
                  </a:lnTo>
                  <a:lnTo>
                    <a:pt x="1122" y="588"/>
                  </a:lnTo>
                  <a:lnTo>
                    <a:pt x="1122" y="594"/>
                  </a:lnTo>
                  <a:lnTo>
                    <a:pt x="1128" y="594"/>
                  </a:lnTo>
                  <a:lnTo>
                    <a:pt x="1134" y="594"/>
                  </a:lnTo>
                  <a:lnTo>
                    <a:pt x="1140" y="594"/>
                  </a:lnTo>
                  <a:lnTo>
                    <a:pt x="1146" y="588"/>
                  </a:lnTo>
                  <a:lnTo>
                    <a:pt x="1158" y="582"/>
                  </a:lnTo>
                  <a:lnTo>
                    <a:pt x="1164" y="576"/>
                  </a:lnTo>
                  <a:lnTo>
                    <a:pt x="1176" y="576"/>
                  </a:lnTo>
                  <a:lnTo>
                    <a:pt x="1194" y="576"/>
                  </a:lnTo>
                  <a:lnTo>
                    <a:pt x="1218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24" y="594"/>
                  </a:lnTo>
                  <a:lnTo>
                    <a:pt x="1212" y="600"/>
                  </a:lnTo>
                  <a:lnTo>
                    <a:pt x="1206" y="606"/>
                  </a:lnTo>
                  <a:lnTo>
                    <a:pt x="1200" y="606"/>
                  </a:lnTo>
                  <a:lnTo>
                    <a:pt x="1200" y="612"/>
                  </a:lnTo>
                  <a:lnTo>
                    <a:pt x="1194" y="612"/>
                  </a:lnTo>
                  <a:lnTo>
                    <a:pt x="1194" y="618"/>
                  </a:lnTo>
                  <a:lnTo>
                    <a:pt x="1194" y="624"/>
                  </a:lnTo>
                  <a:lnTo>
                    <a:pt x="1194" y="630"/>
                  </a:lnTo>
                  <a:lnTo>
                    <a:pt x="1194" y="648"/>
                  </a:lnTo>
                  <a:lnTo>
                    <a:pt x="1194" y="660"/>
                  </a:lnTo>
                  <a:lnTo>
                    <a:pt x="1194" y="666"/>
                  </a:lnTo>
                  <a:lnTo>
                    <a:pt x="1194" y="672"/>
                  </a:lnTo>
                  <a:lnTo>
                    <a:pt x="1194" y="678"/>
                  </a:lnTo>
                  <a:lnTo>
                    <a:pt x="1188" y="684"/>
                  </a:lnTo>
                  <a:lnTo>
                    <a:pt x="1188" y="690"/>
                  </a:lnTo>
                  <a:lnTo>
                    <a:pt x="1188" y="696"/>
                  </a:lnTo>
                  <a:lnTo>
                    <a:pt x="1188" y="702"/>
                  </a:lnTo>
                  <a:lnTo>
                    <a:pt x="1188" y="708"/>
                  </a:lnTo>
                  <a:lnTo>
                    <a:pt x="1188" y="714"/>
                  </a:lnTo>
                  <a:lnTo>
                    <a:pt x="1182" y="720"/>
                  </a:lnTo>
                  <a:lnTo>
                    <a:pt x="1170" y="720"/>
                  </a:lnTo>
                  <a:lnTo>
                    <a:pt x="1158" y="726"/>
                  </a:lnTo>
                  <a:lnTo>
                    <a:pt x="1152" y="726"/>
                  </a:lnTo>
                  <a:lnTo>
                    <a:pt x="1152" y="732"/>
                  </a:lnTo>
                  <a:lnTo>
                    <a:pt x="1146" y="738"/>
                  </a:lnTo>
                  <a:lnTo>
                    <a:pt x="1140" y="738"/>
                  </a:lnTo>
                  <a:lnTo>
                    <a:pt x="1140" y="744"/>
                  </a:lnTo>
                  <a:lnTo>
                    <a:pt x="1134" y="744"/>
                  </a:lnTo>
                  <a:lnTo>
                    <a:pt x="1128" y="744"/>
                  </a:lnTo>
                  <a:lnTo>
                    <a:pt x="1122" y="750"/>
                  </a:lnTo>
                  <a:lnTo>
                    <a:pt x="1128" y="750"/>
                  </a:lnTo>
                  <a:lnTo>
                    <a:pt x="1122" y="756"/>
                  </a:lnTo>
                  <a:lnTo>
                    <a:pt x="1116" y="756"/>
                  </a:lnTo>
                  <a:lnTo>
                    <a:pt x="1110" y="762"/>
                  </a:lnTo>
                  <a:lnTo>
                    <a:pt x="1104" y="762"/>
                  </a:lnTo>
                  <a:lnTo>
                    <a:pt x="1104" y="768"/>
                  </a:lnTo>
                  <a:lnTo>
                    <a:pt x="1098" y="768"/>
                  </a:lnTo>
                  <a:lnTo>
                    <a:pt x="1098" y="774"/>
                  </a:lnTo>
                  <a:lnTo>
                    <a:pt x="1092" y="774"/>
                  </a:lnTo>
                  <a:lnTo>
                    <a:pt x="1092" y="780"/>
                  </a:lnTo>
                  <a:lnTo>
                    <a:pt x="1086" y="780"/>
                  </a:lnTo>
                  <a:lnTo>
                    <a:pt x="1086" y="786"/>
                  </a:lnTo>
                  <a:lnTo>
                    <a:pt x="1080" y="786"/>
                  </a:lnTo>
                  <a:lnTo>
                    <a:pt x="1080" y="792"/>
                  </a:lnTo>
                  <a:lnTo>
                    <a:pt x="1080" y="798"/>
                  </a:lnTo>
                  <a:lnTo>
                    <a:pt x="1080" y="804"/>
                  </a:lnTo>
                  <a:lnTo>
                    <a:pt x="1086" y="810"/>
                  </a:lnTo>
                  <a:lnTo>
                    <a:pt x="1080" y="816"/>
                  </a:lnTo>
                  <a:lnTo>
                    <a:pt x="1080" y="822"/>
                  </a:lnTo>
                  <a:lnTo>
                    <a:pt x="1074" y="822"/>
                  </a:lnTo>
                  <a:lnTo>
                    <a:pt x="1068" y="828"/>
                  </a:lnTo>
                  <a:lnTo>
                    <a:pt x="1074" y="828"/>
                  </a:lnTo>
                  <a:lnTo>
                    <a:pt x="1074" y="834"/>
                  </a:lnTo>
                  <a:lnTo>
                    <a:pt x="1080" y="846"/>
                  </a:lnTo>
                  <a:lnTo>
                    <a:pt x="1086" y="846"/>
                  </a:lnTo>
                  <a:lnTo>
                    <a:pt x="1092" y="852"/>
                  </a:lnTo>
                  <a:lnTo>
                    <a:pt x="1092" y="858"/>
                  </a:lnTo>
                  <a:lnTo>
                    <a:pt x="1098" y="858"/>
                  </a:lnTo>
                  <a:lnTo>
                    <a:pt x="1110" y="864"/>
                  </a:lnTo>
                  <a:lnTo>
                    <a:pt x="1116" y="864"/>
                  </a:lnTo>
                  <a:lnTo>
                    <a:pt x="1122" y="864"/>
                  </a:lnTo>
                  <a:lnTo>
                    <a:pt x="1128" y="864"/>
                  </a:lnTo>
                  <a:lnTo>
                    <a:pt x="1134" y="876"/>
                  </a:lnTo>
                  <a:lnTo>
                    <a:pt x="1140" y="882"/>
                  </a:lnTo>
                  <a:lnTo>
                    <a:pt x="1140" y="888"/>
                  </a:lnTo>
                  <a:lnTo>
                    <a:pt x="1152" y="918"/>
                  </a:lnTo>
                  <a:lnTo>
                    <a:pt x="1158" y="894"/>
                  </a:lnTo>
                  <a:lnTo>
                    <a:pt x="1164" y="888"/>
                  </a:lnTo>
                  <a:lnTo>
                    <a:pt x="1164" y="882"/>
                  </a:lnTo>
                  <a:lnTo>
                    <a:pt x="1176" y="864"/>
                  </a:lnTo>
                  <a:lnTo>
                    <a:pt x="1182" y="858"/>
                  </a:lnTo>
                  <a:lnTo>
                    <a:pt x="1188" y="846"/>
                  </a:lnTo>
                  <a:lnTo>
                    <a:pt x="1200" y="840"/>
                  </a:lnTo>
                  <a:lnTo>
                    <a:pt x="1212" y="840"/>
                  </a:lnTo>
                  <a:lnTo>
                    <a:pt x="1218" y="846"/>
                  </a:lnTo>
                  <a:lnTo>
                    <a:pt x="1224" y="858"/>
                  </a:lnTo>
                  <a:lnTo>
                    <a:pt x="1224" y="864"/>
                  </a:lnTo>
                  <a:lnTo>
                    <a:pt x="1224" y="876"/>
                  </a:lnTo>
                  <a:lnTo>
                    <a:pt x="1212" y="912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00" y="930"/>
                  </a:lnTo>
                  <a:lnTo>
                    <a:pt x="1200" y="942"/>
                  </a:lnTo>
                  <a:lnTo>
                    <a:pt x="1194" y="948"/>
                  </a:lnTo>
                  <a:lnTo>
                    <a:pt x="1194" y="960"/>
                  </a:lnTo>
                  <a:lnTo>
                    <a:pt x="1194" y="966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70" y="984"/>
                  </a:lnTo>
                  <a:lnTo>
                    <a:pt x="1164" y="984"/>
                  </a:lnTo>
                  <a:lnTo>
                    <a:pt x="1158" y="984"/>
                  </a:lnTo>
                  <a:lnTo>
                    <a:pt x="1146" y="984"/>
                  </a:lnTo>
                  <a:lnTo>
                    <a:pt x="1140" y="990"/>
                  </a:lnTo>
                  <a:lnTo>
                    <a:pt x="1140" y="996"/>
                  </a:lnTo>
                  <a:lnTo>
                    <a:pt x="1152" y="996"/>
                  </a:lnTo>
                  <a:lnTo>
                    <a:pt x="1176" y="1002"/>
                  </a:lnTo>
                  <a:lnTo>
                    <a:pt x="1194" y="1008"/>
                  </a:lnTo>
                  <a:lnTo>
                    <a:pt x="1206" y="1008"/>
                  </a:lnTo>
                  <a:lnTo>
                    <a:pt x="1218" y="1014"/>
                  </a:lnTo>
                  <a:lnTo>
                    <a:pt x="1212" y="1038"/>
                  </a:lnTo>
                  <a:lnTo>
                    <a:pt x="1212" y="1044"/>
                  </a:lnTo>
                  <a:lnTo>
                    <a:pt x="1206" y="1044"/>
                  </a:lnTo>
                  <a:lnTo>
                    <a:pt x="1206" y="1050"/>
                  </a:lnTo>
                  <a:lnTo>
                    <a:pt x="1194" y="1050"/>
                  </a:lnTo>
                  <a:lnTo>
                    <a:pt x="1188" y="1044"/>
                  </a:lnTo>
                  <a:lnTo>
                    <a:pt x="1158" y="1020"/>
                  </a:lnTo>
                  <a:lnTo>
                    <a:pt x="1152" y="1020"/>
                  </a:lnTo>
                  <a:lnTo>
                    <a:pt x="1140" y="1020"/>
                  </a:lnTo>
                  <a:lnTo>
                    <a:pt x="1134" y="1020"/>
                  </a:lnTo>
                  <a:lnTo>
                    <a:pt x="1134" y="1026"/>
                  </a:lnTo>
                  <a:lnTo>
                    <a:pt x="1134" y="1032"/>
                  </a:lnTo>
                  <a:lnTo>
                    <a:pt x="1128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2" name="Freeform 27">
              <a:extLst>
                <a:ext uri="{FF2B5EF4-FFF2-40B4-BE49-F238E27FC236}">
                  <a16:creationId xmlns:a16="http://schemas.microsoft.com/office/drawing/2014/main" id="{CE95C9DF-B651-4085-946F-65424BC51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2063" y="3421400"/>
              <a:ext cx="342138" cy="377969"/>
            </a:xfrm>
            <a:custGeom>
              <a:avLst/>
              <a:gdLst>
                <a:gd name="T0" fmla="*/ 43 w 642"/>
                <a:gd name="T1" fmla="*/ 41 h 708"/>
                <a:gd name="T2" fmla="*/ 39 w 642"/>
                <a:gd name="T3" fmla="*/ 41 h 708"/>
                <a:gd name="T4" fmla="*/ 38 w 642"/>
                <a:gd name="T5" fmla="*/ 47 h 708"/>
                <a:gd name="T6" fmla="*/ 38 w 642"/>
                <a:gd name="T7" fmla="*/ 49 h 708"/>
                <a:gd name="T8" fmla="*/ 38 w 642"/>
                <a:gd name="T9" fmla="*/ 50 h 708"/>
                <a:gd name="T10" fmla="*/ 36 w 642"/>
                <a:gd name="T11" fmla="*/ 52 h 708"/>
                <a:gd name="T12" fmla="*/ 35 w 642"/>
                <a:gd name="T13" fmla="*/ 53 h 708"/>
                <a:gd name="T14" fmla="*/ 33 w 642"/>
                <a:gd name="T15" fmla="*/ 55 h 708"/>
                <a:gd name="T16" fmla="*/ 32 w 642"/>
                <a:gd name="T17" fmla="*/ 56 h 708"/>
                <a:gd name="T18" fmla="*/ 31 w 642"/>
                <a:gd name="T19" fmla="*/ 59 h 708"/>
                <a:gd name="T20" fmla="*/ 26 w 642"/>
                <a:gd name="T21" fmla="*/ 59 h 708"/>
                <a:gd name="T22" fmla="*/ 23 w 642"/>
                <a:gd name="T23" fmla="*/ 61 h 708"/>
                <a:gd name="T24" fmla="*/ 20 w 642"/>
                <a:gd name="T25" fmla="*/ 61 h 708"/>
                <a:gd name="T26" fmla="*/ 17 w 642"/>
                <a:gd name="T27" fmla="*/ 59 h 708"/>
                <a:gd name="T28" fmla="*/ 15 w 642"/>
                <a:gd name="T29" fmla="*/ 56 h 708"/>
                <a:gd name="T30" fmla="*/ 9 w 642"/>
                <a:gd name="T31" fmla="*/ 58 h 708"/>
                <a:gd name="T32" fmla="*/ 6 w 642"/>
                <a:gd name="T33" fmla="*/ 52 h 708"/>
                <a:gd name="T34" fmla="*/ 2 w 642"/>
                <a:gd name="T35" fmla="*/ 53 h 708"/>
                <a:gd name="T36" fmla="*/ 1 w 642"/>
                <a:gd name="T37" fmla="*/ 51 h 708"/>
                <a:gd name="T38" fmla="*/ 4 w 642"/>
                <a:gd name="T39" fmla="*/ 47 h 708"/>
                <a:gd name="T40" fmla="*/ 5 w 642"/>
                <a:gd name="T41" fmla="*/ 41 h 708"/>
                <a:gd name="T42" fmla="*/ 5 w 642"/>
                <a:gd name="T43" fmla="*/ 38 h 708"/>
                <a:gd name="T44" fmla="*/ 5 w 642"/>
                <a:gd name="T45" fmla="*/ 35 h 708"/>
                <a:gd name="T46" fmla="*/ 6 w 642"/>
                <a:gd name="T47" fmla="*/ 33 h 708"/>
                <a:gd name="T48" fmla="*/ 5 w 642"/>
                <a:gd name="T49" fmla="*/ 29 h 708"/>
                <a:gd name="T50" fmla="*/ 4 w 642"/>
                <a:gd name="T51" fmla="*/ 28 h 708"/>
                <a:gd name="T52" fmla="*/ 1 w 642"/>
                <a:gd name="T53" fmla="*/ 26 h 708"/>
                <a:gd name="T54" fmla="*/ 1 w 642"/>
                <a:gd name="T55" fmla="*/ 24 h 708"/>
                <a:gd name="T56" fmla="*/ 1 w 642"/>
                <a:gd name="T57" fmla="*/ 20 h 708"/>
                <a:gd name="T58" fmla="*/ 1 w 642"/>
                <a:gd name="T59" fmla="*/ 16 h 708"/>
                <a:gd name="T60" fmla="*/ 2 w 642"/>
                <a:gd name="T61" fmla="*/ 14 h 708"/>
                <a:gd name="T62" fmla="*/ 8 w 642"/>
                <a:gd name="T63" fmla="*/ 14 h 708"/>
                <a:gd name="T64" fmla="*/ 9 w 642"/>
                <a:gd name="T65" fmla="*/ 10 h 708"/>
                <a:gd name="T66" fmla="*/ 15 w 642"/>
                <a:gd name="T67" fmla="*/ 9 h 708"/>
                <a:gd name="T68" fmla="*/ 18 w 642"/>
                <a:gd name="T69" fmla="*/ 14 h 708"/>
                <a:gd name="T70" fmla="*/ 20 w 642"/>
                <a:gd name="T71" fmla="*/ 12 h 708"/>
                <a:gd name="T72" fmla="*/ 20 w 642"/>
                <a:gd name="T73" fmla="*/ 11 h 708"/>
                <a:gd name="T74" fmla="*/ 21 w 642"/>
                <a:gd name="T75" fmla="*/ 9 h 708"/>
                <a:gd name="T76" fmla="*/ 24 w 642"/>
                <a:gd name="T77" fmla="*/ 9 h 708"/>
                <a:gd name="T78" fmla="*/ 27 w 642"/>
                <a:gd name="T79" fmla="*/ 8 h 708"/>
                <a:gd name="T80" fmla="*/ 33 w 642"/>
                <a:gd name="T81" fmla="*/ 2 h 708"/>
                <a:gd name="T82" fmla="*/ 42 w 642"/>
                <a:gd name="T83" fmla="*/ 2 h 708"/>
                <a:gd name="T84" fmla="*/ 49 w 642"/>
                <a:gd name="T85" fmla="*/ 1 h 708"/>
                <a:gd name="T86" fmla="*/ 53 w 642"/>
                <a:gd name="T87" fmla="*/ 4 h 708"/>
                <a:gd name="T88" fmla="*/ 55 w 642"/>
                <a:gd name="T89" fmla="*/ 4 h 708"/>
                <a:gd name="T90" fmla="*/ 55 w 642"/>
                <a:gd name="T91" fmla="*/ 7 h 708"/>
                <a:gd name="T92" fmla="*/ 52 w 642"/>
                <a:gd name="T93" fmla="*/ 9 h 708"/>
                <a:gd name="T94" fmla="*/ 49 w 642"/>
                <a:gd name="T95" fmla="*/ 12 h 708"/>
                <a:gd name="T96" fmla="*/ 47 w 642"/>
                <a:gd name="T97" fmla="*/ 14 h 708"/>
                <a:gd name="T98" fmla="*/ 47 w 642"/>
                <a:gd name="T99" fmla="*/ 17 h 708"/>
                <a:gd name="T100" fmla="*/ 45 w 642"/>
                <a:gd name="T101" fmla="*/ 26 h 708"/>
                <a:gd name="T102" fmla="*/ 50 w 642"/>
                <a:gd name="T103" fmla="*/ 37 h 70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42"/>
                <a:gd name="T157" fmla="*/ 0 h 708"/>
                <a:gd name="T158" fmla="*/ 642 w 642"/>
                <a:gd name="T159" fmla="*/ 708 h 70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42" h="708">
                  <a:moveTo>
                    <a:pt x="576" y="468"/>
                  </a:moveTo>
                  <a:lnTo>
                    <a:pt x="564" y="468"/>
                  </a:lnTo>
                  <a:lnTo>
                    <a:pt x="516" y="468"/>
                  </a:lnTo>
                  <a:lnTo>
                    <a:pt x="498" y="474"/>
                  </a:lnTo>
                  <a:lnTo>
                    <a:pt x="492" y="468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68" y="474"/>
                  </a:lnTo>
                  <a:lnTo>
                    <a:pt x="456" y="468"/>
                  </a:lnTo>
                  <a:lnTo>
                    <a:pt x="444" y="474"/>
                  </a:lnTo>
                  <a:lnTo>
                    <a:pt x="438" y="492"/>
                  </a:lnTo>
                  <a:lnTo>
                    <a:pt x="438" y="504"/>
                  </a:lnTo>
                  <a:lnTo>
                    <a:pt x="432" y="516"/>
                  </a:lnTo>
                  <a:lnTo>
                    <a:pt x="432" y="528"/>
                  </a:lnTo>
                  <a:lnTo>
                    <a:pt x="432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52"/>
                  </a:lnTo>
                  <a:lnTo>
                    <a:pt x="432" y="558"/>
                  </a:lnTo>
                  <a:lnTo>
                    <a:pt x="438" y="564"/>
                  </a:lnTo>
                  <a:lnTo>
                    <a:pt x="444" y="564"/>
                  </a:lnTo>
                  <a:lnTo>
                    <a:pt x="438" y="564"/>
                  </a:lnTo>
                  <a:lnTo>
                    <a:pt x="438" y="570"/>
                  </a:lnTo>
                  <a:lnTo>
                    <a:pt x="432" y="570"/>
                  </a:lnTo>
                  <a:lnTo>
                    <a:pt x="432" y="576"/>
                  </a:lnTo>
                  <a:lnTo>
                    <a:pt x="426" y="588"/>
                  </a:lnTo>
                  <a:lnTo>
                    <a:pt x="420" y="594"/>
                  </a:lnTo>
                  <a:lnTo>
                    <a:pt x="420" y="600"/>
                  </a:lnTo>
                  <a:lnTo>
                    <a:pt x="414" y="600"/>
                  </a:lnTo>
                  <a:lnTo>
                    <a:pt x="414" y="606"/>
                  </a:lnTo>
                  <a:lnTo>
                    <a:pt x="408" y="606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396" y="612"/>
                  </a:lnTo>
                  <a:lnTo>
                    <a:pt x="390" y="612"/>
                  </a:lnTo>
                  <a:lnTo>
                    <a:pt x="390" y="618"/>
                  </a:lnTo>
                  <a:lnTo>
                    <a:pt x="384" y="618"/>
                  </a:lnTo>
                  <a:lnTo>
                    <a:pt x="378" y="618"/>
                  </a:lnTo>
                  <a:lnTo>
                    <a:pt x="378" y="624"/>
                  </a:lnTo>
                  <a:lnTo>
                    <a:pt x="384" y="630"/>
                  </a:lnTo>
                  <a:lnTo>
                    <a:pt x="384" y="636"/>
                  </a:lnTo>
                  <a:lnTo>
                    <a:pt x="378" y="630"/>
                  </a:lnTo>
                  <a:lnTo>
                    <a:pt x="372" y="636"/>
                  </a:lnTo>
                  <a:lnTo>
                    <a:pt x="372" y="642"/>
                  </a:lnTo>
                  <a:lnTo>
                    <a:pt x="366" y="642"/>
                  </a:lnTo>
                  <a:lnTo>
                    <a:pt x="360" y="654"/>
                  </a:lnTo>
                  <a:lnTo>
                    <a:pt x="354" y="666"/>
                  </a:lnTo>
                  <a:lnTo>
                    <a:pt x="354" y="672"/>
                  </a:lnTo>
                  <a:lnTo>
                    <a:pt x="354" y="678"/>
                  </a:lnTo>
                  <a:lnTo>
                    <a:pt x="354" y="684"/>
                  </a:lnTo>
                  <a:lnTo>
                    <a:pt x="348" y="678"/>
                  </a:lnTo>
                  <a:lnTo>
                    <a:pt x="324" y="678"/>
                  </a:lnTo>
                  <a:lnTo>
                    <a:pt x="306" y="678"/>
                  </a:lnTo>
                  <a:lnTo>
                    <a:pt x="294" y="678"/>
                  </a:lnTo>
                  <a:lnTo>
                    <a:pt x="288" y="684"/>
                  </a:lnTo>
                  <a:lnTo>
                    <a:pt x="276" y="690"/>
                  </a:lnTo>
                  <a:lnTo>
                    <a:pt x="270" y="696"/>
                  </a:lnTo>
                  <a:lnTo>
                    <a:pt x="264" y="696"/>
                  </a:lnTo>
                  <a:lnTo>
                    <a:pt x="258" y="696"/>
                  </a:lnTo>
                  <a:lnTo>
                    <a:pt x="252" y="696"/>
                  </a:lnTo>
                  <a:lnTo>
                    <a:pt x="252" y="690"/>
                  </a:lnTo>
                  <a:lnTo>
                    <a:pt x="246" y="690"/>
                  </a:lnTo>
                  <a:lnTo>
                    <a:pt x="234" y="690"/>
                  </a:lnTo>
                  <a:lnTo>
                    <a:pt x="222" y="696"/>
                  </a:lnTo>
                  <a:lnTo>
                    <a:pt x="216" y="708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8" y="690"/>
                  </a:lnTo>
                  <a:lnTo>
                    <a:pt x="198" y="684"/>
                  </a:lnTo>
                  <a:lnTo>
                    <a:pt x="198" y="678"/>
                  </a:lnTo>
                  <a:lnTo>
                    <a:pt x="198" y="672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74" y="648"/>
                  </a:lnTo>
                  <a:lnTo>
                    <a:pt x="162" y="642"/>
                  </a:lnTo>
                  <a:lnTo>
                    <a:pt x="156" y="636"/>
                  </a:lnTo>
                  <a:lnTo>
                    <a:pt x="132" y="642"/>
                  </a:lnTo>
                  <a:lnTo>
                    <a:pt x="120" y="654"/>
                  </a:lnTo>
                  <a:lnTo>
                    <a:pt x="108" y="660"/>
                  </a:lnTo>
                  <a:lnTo>
                    <a:pt x="102" y="666"/>
                  </a:lnTo>
                  <a:lnTo>
                    <a:pt x="84" y="666"/>
                  </a:lnTo>
                  <a:lnTo>
                    <a:pt x="84" y="630"/>
                  </a:lnTo>
                  <a:lnTo>
                    <a:pt x="78" y="594"/>
                  </a:lnTo>
                  <a:lnTo>
                    <a:pt x="66" y="594"/>
                  </a:lnTo>
                  <a:lnTo>
                    <a:pt x="60" y="594"/>
                  </a:lnTo>
                  <a:lnTo>
                    <a:pt x="48" y="600"/>
                  </a:lnTo>
                  <a:lnTo>
                    <a:pt x="36" y="606"/>
                  </a:lnTo>
                  <a:lnTo>
                    <a:pt x="24" y="612"/>
                  </a:lnTo>
                  <a:lnTo>
                    <a:pt x="18" y="612"/>
                  </a:lnTo>
                  <a:lnTo>
                    <a:pt x="12" y="606"/>
                  </a:lnTo>
                  <a:lnTo>
                    <a:pt x="12" y="600"/>
                  </a:lnTo>
                  <a:lnTo>
                    <a:pt x="12" y="594"/>
                  </a:lnTo>
                  <a:lnTo>
                    <a:pt x="12" y="588"/>
                  </a:lnTo>
                  <a:lnTo>
                    <a:pt x="12" y="582"/>
                  </a:lnTo>
                  <a:lnTo>
                    <a:pt x="12" y="576"/>
                  </a:lnTo>
                  <a:lnTo>
                    <a:pt x="18" y="552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42" y="534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48" y="492"/>
                  </a:lnTo>
                  <a:lnTo>
                    <a:pt x="48" y="480"/>
                  </a:lnTo>
                  <a:lnTo>
                    <a:pt x="54" y="468"/>
                  </a:lnTo>
                  <a:lnTo>
                    <a:pt x="48" y="456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66" y="390"/>
                  </a:lnTo>
                  <a:lnTo>
                    <a:pt x="72" y="384"/>
                  </a:lnTo>
                  <a:lnTo>
                    <a:pt x="72" y="378"/>
                  </a:lnTo>
                  <a:lnTo>
                    <a:pt x="66" y="378"/>
                  </a:lnTo>
                  <a:lnTo>
                    <a:pt x="66" y="366"/>
                  </a:lnTo>
                  <a:lnTo>
                    <a:pt x="60" y="360"/>
                  </a:lnTo>
                  <a:lnTo>
                    <a:pt x="66" y="354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48" y="312"/>
                  </a:lnTo>
                  <a:lnTo>
                    <a:pt x="30" y="312"/>
                  </a:lnTo>
                  <a:lnTo>
                    <a:pt x="24" y="306"/>
                  </a:lnTo>
                  <a:lnTo>
                    <a:pt x="18" y="306"/>
                  </a:lnTo>
                  <a:lnTo>
                    <a:pt x="12" y="294"/>
                  </a:lnTo>
                  <a:lnTo>
                    <a:pt x="12" y="282"/>
                  </a:lnTo>
                  <a:lnTo>
                    <a:pt x="6" y="276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12" y="270"/>
                  </a:lnTo>
                  <a:lnTo>
                    <a:pt x="12" y="246"/>
                  </a:lnTo>
                  <a:lnTo>
                    <a:pt x="12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8" y="174"/>
                  </a:lnTo>
                  <a:lnTo>
                    <a:pt x="12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48" y="162"/>
                  </a:lnTo>
                  <a:lnTo>
                    <a:pt x="72" y="162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84" y="132"/>
                  </a:lnTo>
                  <a:lnTo>
                    <a:pt x="90" y="120"/>
                  </a:lnTo>
                  <a:lnTo>
                    <a:pt x="108" y="114"/>
                  </a:lnTo>
                  <a:lnTo>
                    <a:pt x="114" y="102"/>
                  </a:lnTo>
                  <a:lnTo>
                    <a:pt x="120" y="90"/>
                  </a:lnTo>
                  <a:lnTo>
                    <a:pt x="138" y="90"/>
                  </a:lnTo>
                  <a:lnTo>
                    <a:pt x="138" y="102"/>
                  </a:lnTo>
                  <a:lnTo>
                    <a:pt x="168" y="108"/>
                  </a:lnTo>
                  <a:lnTo>
                    <a:pt x="168" y="114"/>
                  </a:lnTo>
                  <a:lnTo>
                    <a:pt x="174" y="126"/>
                  </a:lnTo>
                  <a:lnTo>
                    <a:pt x="186" y="150"/>
                  </a:lnTo>
                  <a:lnTo>
                    <a:pt x="186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34" y="144"/>
                  </a:lnTo>
                  <a:lnTo>
                    <a:pt x="240" y="138"/>
                  </a:lnTo>
                  <a:lnTo>
                    <a:pt x="240" y="126"/>
                  </a:lnTo>
                  <a:lnTo>
                    <a:pt x="234" y="126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34" y="102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82" y="102"/>
                  </a:lnTo>
                  <a:lnTo>
                    <a:pt x="288" y="102"/>
                  </a:lnTo>
                  <a:lnTo>
                    <a:pt x="294" y="102"/>
                  </a:lnTo>
                  <a:lnTo>
                    <a:pt x="300" y="96"/>
                  </a:lnTo>
                  <a:lnTo>
                    <a:pt x="306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84"/>
                  </a:lnTo>
                  <a:lnTo>
                    <a:pt x="324" y="18"/>
                  </a:lnTo>
                  <a:lnTo>
                    <a:pt x="360" y="18"/>
                  </a:lnTo>
                  <a:lnTo>
                    <a:pt x="378" y="18"/>
                  </a:lnTo>
                  <a:lnTo>
                    <a:pt x="378" y="30"/>
                  </a:lnTo>
                  <a:lnTo>
                    <a:pt x="390" y="30"/>
                  </a:lnTo>
                  <a:lnTo>
                    <a:pt x="432" y="30"/>
                  </a:lnTo>
                  <a:lnTo>
                    <a:pt x="456" y="24"/>
                  </a:lnTo>
                  <a:lnTo>
                    <a:pt x="480" y="24"/>
                  </a:lnTo>
                  <a:lnTo>
                    <a:pt x="498" y="30"/>
                  </a:lnTo>
                  <a:lnTo>
                    <a:pt x="522" y="18"/>
                  </a:lnTo>
                  <a:lnTo>
                    <a:pt x="528" y="0"/>
                  </a:lnTo>
                  <a:lnTo>
                    <a:pt x="558" y="6"/>
                  </a:lnTo>
                  <a:lnTo>
                    <a:pt x="558" y="12"/>
                  </a:lnTo>
                  <a:lnTo>
                    <a:pt x="570" y="18"/>
                  </a:lnTo>
                  <a:lnTo>
                    <a:pt x="576" y="24"/>
                  </a:lnTo>
                  <a:lnTo>
                    <a:pt x="588" y="36"/>
                  </a:lnTo>
                  <a:lnTo>
                    <a:pt x="594" y="48"/>
                  </a:lnTo>
                  <a:lnTo>
                    <a:pt x="606" y="48"/>
                  </a:lnTo>
                  <a:lnTo>
                    <a:pt x="606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42"/>
                  </a:lnTo>
                  <a:lnTo>
                    <a:pt x="636" y="42"/>
                  </a:lnTo>
                  <a:lnTo>
                    <a:pt x="636" y="48"/>
                  </a:lnTo>
                  <a:lnTo>
                    <a:pt x="642" y="54"/>
                  </a:lnTo>
                  <a:lnTo>
                    <a:pt x="636" y="60"/>
                  </a:lnTo>
                  <a:lnTo>
                    <a:pt x="636" y="66"/>
                  </a:lnTo>
                  <a:lnTo>
                    <a:pt x="636" y="78"/>
                  </a:lnTo>
                  <a:lnTo>
                    <a:pt x="624" y="84"/>
                  </a:lnTo>
                  <a:lnTo>
                    <a:pt x="618" y="90"/>
                  </a:lnTo>
                  <a:lnTo>
                    <a:pt x="612" y="90"/>
                  </a:lnTo>
                  <a:lnTo>
                    <a:pt x="600" y="102"/>
                  </a:lnTo>
                  <a:lnTo>
                    <a:pt x="594" y="108"/>
                  </a:lnTo>
                  <a:lnTo>
                    <a:pt x="582" y="114"/>
                  </a:lnTo>
                  <a:lnTo>
                    <a:pt x="570" y="132"/>
                  </a:lnTo>
                  <a:lnTo>
                    <a:pt x="564" y="132"/>
                  </a:lnTo>
                  <a:lnTo>
                    <a:pt x="564" y="138"/>
                  </a:lnTo>
                  <a:lnTo>
                    <a:pt x="558" y="144"/>
                  </a:lnTo>
                  <a:lnTo>
                    <a:pt x="558" y="150"/>
                  </a:lnTo>
                  <a:lnTo>
                    <a:pt x="552" y="150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0" y="162"/>
                  </a:lnTo>
                  <a:lnTo>
                    <a:pt x="534" y="168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6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28" y="234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16" y="294"/>
                  </a:lnTo>
                  <a:lnTo>
                    <a:pt x="516" y="312"/>
                  </a:lnTo>
                  <a:lnTo>
                    <a:pt x="528" y="318"/>
                  </a:lnTo>
                  <a:lnTo>
                    <a:pt x="540" y="360"/>
                  </a:lnTo>
                  <a:lnTo>
                    <a:pt x="558" y="408"/>
                  </a:lnTo>
                  <a:lnTo>
                    <a:pt x="570" y="426"/>
                  </a:lnTo>
                  <a:lnTo>
                    <a:pt x="576" y="432"/>
                  </a:lnTo>
                  <a:lnTo>
                    <a:pt x="576" y="438"/>
                  </a:lnTo>
                  <a:lnTo>
                    <a:pt x="576" y="444"/>
                  </a:lnTo>
                  <a:lnTo>
                    <a:pt x="576" y="46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3" name="Freeform 28">
              <a:extLst>
                <a:ext uri="{FF2B5EF4-FFF2-40B4-BE49-F238E27FC236}">
                  <a16:creationId xmlns:a16="http://schemas.microsoft.com/office/drawing/2014/main" id="{CF9B4F31-BF73-448E-83AA-188F6CF1BDC5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4879" y="3432583"/>
              <a:ext cx="324248" cy="270616"/>
            </a:xfrm>
            <a:custGeom>
              <a:avLst/>
              <a:gdLst>
                <a:gd name="T0" fmla="*/ 5 w 606"/>
                <a:gd name="T1" fmla="*/ 36 h 510"/>
                <a:gd name="T2" fmla="*/ 4 w 606"/>
                <a:gd name="T3" fmla="*/ 34 h 510"/>
                <a:gd name="T4" fmla="*/ 0 w 606"/>
                <a:gd name="T5" fmla="*/ 25 h 510"/>
                <a:gd name="T6" fmla="*/ 1 w 606"/>
                <a:gd name="T7" fmla="*/ 20 h 510"/>
                <a:gd name="T8" fmla="*/ 2 w 606"/>
                <a:gd name="T9" fmla="*/ 15 h 510"/>
                <a:gd name="T10" fmla="*/ 2 w 606"/>
                <a:gd name="T11" fmla="*/ 13 h 510"/>
                <a:gd name="T12" fmla="*/ 3 w 606"/>
                <a:gd name="T13" fmla="*/ 12 h 510"/>
                <a:gd name="T14" fmla="*/ 4 w 606"/>
                <a:gd name="T15" fmla="*/ 11 h 510"/>
                <a:gd name="T16" fmla="*/ 4 w 606"/>
                <a:gd name="T17" fmla="*/ 10 h 510"/>
                <a:gd name="T18" fmla="*/ 7 w 606"/>
                <a:gd name="T19" fmla="*/ 8 h 510"/>
                <a:gd name="T20" fmla="*/ 9 w 606"/>
                <a:gd name="T21" fmla="*/ 6 h 510"/>
                <a:gd name="T22" fmla="*/ 11 w 606"/>
                <a:gd name="T23" fmla="*/ 4 h 510"/>
                <a:gd name="T24" fmla="*/ 12 w 606"/>
                <a:gd name="T25" fmla="*/ 3 h 510"/>
                <a:gd name="T26" fmla="*/ 13 w 606"/>
                <a:gd name="T27" fmla="*/ 4 h 510"/>
                <a:gd name="T28" fmla="*/ 15 w 606"/>
                <a:gd name="T29" fmla="*/ 2 h 510"/>
                <a:gd name="T30" fmla="*/ 17 w 606"/>
                <a:gd name="T31" fmla="*/ 2 h 510"/>
                <a:gd name="T32" fmla="*/ 19 w 606"/>
                <a:gd name="T33" fmla="*/ 5 h 510"/>
                <a:gd name="T34" fmla="*/ 22 w 606"/>
                <a:gd name="T35" fmla="*/ 5 h 510"/>
                <a:gd name="T36" fmla="*/ 25 w 606"/>
                <a:gd name="T37" fmla="*/ 6 h 510"/>
                <a:gd name="T38" fmla="*/ 29 w 606"/>
                <a:gd name="T39" fmla="*/ 1 h 510"/>
                <a:gd name="T40" fmla="*/ 38 w 606"/>
                <a:gd name="T41" fmla="*/ 0 h 510"/>
                <a:gd name="T42" fmla="*/ 38 w 606"/>
                <a:gd name="T43" fmla="*/ 5 h 510"/>
                <a:gd name="T44" fmla="*/ 41 w 606"/>
                <a:gd name="T45" fmla="*/ 4 h 510"/>
                <a:gd name="T46" fmla="*/ 45 w 606"/>
                <a:gd name="T47" fmla="*/ 2 h 510"/>
                <a:gd name="T48" fmla="*/ 46 w 606"/>
                <a:gd name="T49" fmla="*/ 2 h 510"/>
                <a:gd name="T50" fmla="*/ 47 w 606"/>
                <a:gd name="T51" fmla="*/ 5 h 510"/>
                <a:gd name="T52" fmla="*/ 45 w 606"/>
                <a:gd name="T53" fmla="*/ 6 h 510"/>
                <a:gd name="T54" fmla="*/ 45 w 606"/>
                <a:gd name="T55" fmla="*/ 7 h 510"/>
                <a:gd name="T56" fmla="*/ 43 w 606"/>
                <a:gd name="T57" fmla="*/ 8 h 510"/>
                <a:gd name="T58" fmla="*/ 45 w 606"/>
                <a:gd name="T59" fmla="*/ 15 h 510"/>
                <a:gd name="T60" fmla="*/ 49 w 606"/>
                <a:gd name="T61" fmla="*/ 15 h 510"/>
                <a:gd name="T62" fmla="*/ 51 w 606"/>
                <a:gd name="T63" fmla="*/ 15 h 510"/>
                <a:gd name="T64" fmla="*/ 53 w 606"/>
                <a:gd name="T65" fmla="*/ 16 h 510"/>
                <a:gd name="T66" fmla="*/ 52 w 606"/>
                <a:gd name="T67" fmla="*/ 20 h 510"/>
                <a:gd name="T68" fmla="*/ 48 w 606"/>
                <a:gd name="T69" fmla="*/ 23 h 510"/>
                <a:gd name="T70" fmla="*/ 45 w 606"/>
                <a:gd name="T71" fmla="*/ 25 h 510"/>
                <a:gd name="T72" fmla="*/ 44 w 606"/>
                <a:gd name="T73" fmla="*/ 28 h 510"/>
                <a:gd name="T74" fmla="*/ 43 w 606"/>
                <a:gd name="T75" fmla="*/ 33 h 510"/>
                <a:gd name="T76" fmla="*/ 39 w 606"/>
                <a:gd name="T77" fmla="*/ 38 h 510"/>
                <a:gd name="T78" fmla="*/ 37 w 606"/>
                <a:gd name="T79" fmla="*/ 41 h 510"/>
                <a:gd name="T80" fmla="*/ 31 w 606"/>
                <a:gd name="T81" fmla="*/ 44 h 510"/>
                <a:gd name="T82" fmla="*/ 28 w 606"/>
                <a:gd name="T83" fmla="*/ 43 h 510"/>
                <a:gd name="T84" fmla="*/ 28 w 606"/>
                <a:gd name="T85" fmla="*/ 41 h 510"/>
                <a:gd name="T86" fmla="*/ 28 w 606"/>
                <a:gd name="T87" fmla="*/ 40 h 510"/>
                <a:gd name="T88" fmla="*/ 27 w 606"/>
                <a:gd name="T89" fmla="*/ 38 h 510"/>
                <a:gd name="T90" fmla="*/ 27 w 606"/>
                <a:gd name="T91" fmla="*/ 36 h 510"/>
                <a:gd name="T92" fmla="*/ 24 w 606"/>
                <a:gd name="T93" fmla="*/ 35 h 510"/>
                <a:gd name="T94" fmla="*/ 16 w 606"/>
                <a:gd name="T95" fmla="*/ 34 h 510"/>
                <a:gd name="T96" fmla="*/ 13 w 606"/>
                <a:gd name="T97" fmla="*/ 34 h 510"/>
                <a:gd name="T98" fmla="*/ 9 w 606"/>
                <a:gd name="T99" fmla="*/ 36 h 510"/>
                <a:gd name="T100" fmla="*/ 8 w 606"/>
                <a:gd name="T101" fmla="*/ 38 h 510"/>
                <a:gd name="T102" fmla="*/ 7 w 606"/>
                <a:gd name="T103" fmla="*/ 39 h 51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06"/>
                <a:gd name="T157" fmla="*/ 0 h 510"/>
                <a:gd name="T158" fmla="*/ 606 w 606"/>
                <a:gd name="T159" fmla="*/ 510 h 51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06" h="510">
                  <a:moveTo>
                    <a:pt x="60" y="450"/>
                  </a:move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42" y="390"/>
                  </a:lnTo>
                  <a:lnTo>
                    <a:pt x="24" y="342"/>
                  </a:lnTo>
                  <a:lnTo>
                    <a:pt x="12" y="300"/>
                  </a:lnTo>
                  <a:lnTo>
                    <a:pt x="0" y="294"/>
                  </a:lnTo>
                  <a:lnTo>
                    <a:pt x="0" y="276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24" y="192"/>
                  </a:lnTo>
                  <a:lnTo>
                    <a:pt x="24" y="180"/>
                  </a:lnTo>
                  <a:lnTo>
                    <a:pt x="24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6" y="96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108" y="66"/>
                  </a:lnTo>
                  <a:lnTo>
                    <a:pt x="120" y="60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36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62" y="36"/>
                  </a:lnTo>
                  <a:lnTo>
                    <a:pt x="162" y="30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0" y="54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46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76" y="66"/>
                  </a:lnTo>
                  <a:lnTo>
                    <a:pt x="312" y="66"/>
                  </a:lnTo>
                  <a:lnTo>
                    <a:pt x="318" y="60"/>
                  </a:lnTo>
                  <a:lnTo>
                    <a:pt x="330" y="12"/>
                  </a:lnTo>
                  <a:lnTo>
                    <a:pt x="414" y="6"/>
                  </a:lnTo>
                  <a:lnTo>
                    <a:pt x="420" y="0"/>
                  </a:lnTo>
                  <a:lnTo>
                    <a:pt x="426" y="6"/>
                  </a:lnTo>
                  <a:lnTo>
                    <a:pt x="426" y="12"/>
                  </a:lnTo>
                  <a:lnTo>
                    <a:pt x="426" y="54"/>
                  </a:lnTo>
                  <a:lnTo>
                    <a:pt x="432" y="54"/>
                  </a:lnTo>
                  <a:lnTo>
                    <a:pt x="444" y="54"/>
                  </a:lnTo>
                  <a:lnTo>
                    <a:pt x="450" y="42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86" y="24"/>
                  </a:lnTo>
                  <a:lnTo>
                    <a:pt x="504" y="18"/>
                  </a:lnTo>
                  <a:lnTo>
                    <a:pt x="510" y="12"/>
                  </a:lnTo>
                  <a:lnTo>
                    <a:pt x="516" y="18"/>
                  </a:lnTo>
                  <a:lnTo>
                    <a:pt x="522" y="24"/>
                  </a:lnTo>
                  <a:lnTo>
                    <a:pt x="510" y="30"/>
                  </a:lnTo>
                  <a:lnTo>
                    <a:pt x="516" y="48"/>
                  </a:lnTo>
                  <a:lnTo>
                    <a:pt x="528" y="54"/>
                  </a:lnTo>
                  <a:lnTo>
                    <a:pt x="522" y="60"/>
                  </a:lnTo>
                  <a:lnTo>
                    <a:pt x="516" y="66"/>
                  </a:lnTo>
                  <a:lnTo>
                    <a:pt x="516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0" y="84"/>
                  </a:lnTo>
                  <a:lnTo>
                    <a:pt x="510" y="90"/>
                  </a:lnTo>
                  <a:lnTo>
                    <a:pt x="504" y="90"/>
                  </a:lnTo>
                  <a:lnTo>
                    <a:pt x="486" y="90"/>
                  </a:lnTo>
                  <a:lnTo>
                    <a:pt x="492" y="138"/>
                  </a:lnTo>
                  <a:lnTo>
                    <a:pt x="498" y="168"/>
                  </a:lnTo>
                  <a:lnTo>
                    <a:pt x="516" y="168"/>
                  </a:lnTo>
                  <a:lnTo>
                    <a:pt x="528" y="174"/>
                  </a:lnTo>
                  <a:lnTo>
                    <a:pt x="534" y="168"/>
                  </a:lnTo>
                  <a:lnTo>
                    <a:pt x="558" y="174"/>
                  </a:lnTo>
                  <a:lnTo>
                    <a:pt x="564" y="168"/>
                  </a:lnTo>
                  <a:lnTo>
                    <a:pt x="570" y="168"/>
                  </a:lnTo>
                  <a:lnTo>
                    <a:pt x="576" y="174"/>
                  </a:lnTo>
                  <a:lnTo>
                    <a:pt x="588" y="168"/>
                  </a:lnTo>
                  <a:lnTo>
                    <a:pt x="594" y="168"/>
                  </a:lnTo>
                  <a:lnTo>
                    <a:pt x="594" y="186"/>
                  </a:lnTo>
                  <a:lnTo>
                    <a:pt x="606" y="198"/>
                  </a:lnTo>
                  <a:lnTo>
                    <a:pt x="600" y="210"/>
                  </a:lnTo>
                  <a:lnTo>
                    <a:pt x="588" y="234"/>
                  </a:lnTo>
                  <a:lnTo>
                    <a:pt x="564" y="246"/>
                  </a:lnTo>
                  <a:lnTo>
                    <a:pt x="546" y="258"/>
                  </a:lnTo>
                  <a:lnTo>
                    <a:pt x="540" y="270"/>
                  </a:lnTo>
                  <a:lnTo>
                    <a:pt x="534" y="294"/>
                  </a:lnTo>
                  <a:lnTo>
                    <a:pt x="528" y="300"/>
                  </a:lnTo>
                  <a:lnTo>
                    <a:pt x="516" y="294"/>
                  </a:lnTo>
                  <a:lnTo>
                    <a:pt x="510" y="300"/>
                  </a:lnTo>
                  <a:lnTo>
                    <a:pt x="498" y="318"/>
                  </a:lnTo>
                  <a:lnTo>
                    <a:pt x="492" y="324"/>
                  </a:lnTo>
                  <a:lnTo>
                    <a:pt x="486" y="336"/>
                  </a:lnTo>
                  <a:lnTo>
                    <a:pt x="486" y="354"/>
                  </a:lnTo>
                  <a:lnTo>
                    <a:pt x="486" y="384"/>
                  </a:lnTo>
                  <a:lnTo>
                    <a:pt x="474" y="408"/>
                  </a:lnTo>
                  <a:lnTo>
                    <a:pt x="450" y="426"/>
                  </a:lnTo>
                  <a:lnTo>
                    <a:pt x="444" y="444"/>
                  </a:lnTo>
                  <a:lnTo>
                    <a:pt x="426" y="474"/>
                  </a:lnTo>
                  <a:lnTo>
                    <a:pt x="420" y="486"/>
                  </a:lnTo>
                  <a:lnTo>
                    <a:pt x="414" y="486"/>
                  </a:lnTo>
                  <a:lnTo>
                    <a:pt x="414" y="498"/>
                  </a:lnTo>
                  <a:lnTo>
                    <a:pt x="378" y="504"/>
                  </a:lnTo>
                  <a:lnTo>
                    <a:pt x="348" y="510"/>
                  </a:lnTo>
                  <a:lnTo>
                    <a:pt x="330" y="510"/>
                  </a:lnTo>
                  <a:lnTo>
                    <a:pt x="324" y="504"/>
                  </a:lnTo>
                  <a:lnTo>
                    <a:pt x="318" y="504"/>
                  </a:lnTo>
                  <a:lnTo>
                    <a:pt x="312" y="504"/>
                  </a:lnTo>
                  <a:lnTo>
                    <a:pt x="312" y="498"/>
                  </a:lnTo>
                  <a:lnTo>
                    <a:pt x="312" y="486"/>
                  </a:lnTo>
                  <a:lnTo>
                    <a:pt x="312" y="480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56"/>
                  </a:lnTo>
                  <a:lnTo>
                    <a:pt x="312" y="450"/>
                  </a:lnTo>
                  <a:lnTo>
                    <a:pt x="306" y="444"/>
                  </a:lnTo>
                  <a:lnTo>
                    <a:pt x="306" y="438"/>
                  </a:lnTo>
                  <a:lnTo>
                    <a:pt x="300" y="426"/>
                  </a:lnTo>
                  <a:lnTo>
                    <a:pt x="300" y="420"/>
                  </a:lnTo>
                  <a:lnTo>
                    <a:pt x="294" y="414"/>
                  </a:lnTo>
                  <a:lnTo>
                    <a:pt x="294" y="408"/>
                  </a:lnTo>
                  <a:lnTo>
                    <a:pt x="270" y="408"/>
                  </a:lnTo>
                  <a:lnTo>
                    <a:pt x="246" y="408"/>
                  </a:lnTo>
                  <a:lnTo>
                    <a:pt x="222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56" y="402"/>
                  </a:lnTo>
                  <a:lnTo>
                    <a:pt x="144" y="396"/>
                  </a:lnTo>
                  <a:lnTo>
                    <a:pt x="126" y="396"/>
                  </a:lnTo>
                  <a:lnTo>
                    <a:pt x="108" y="408"/>
                  </a:lnTo>
                  <a:lnTo>
                    <a:pt x="102" y="414"/>
                  </a:lnTo>
                  <a:lnTo>
                    <a:pt x="102" y="420"/>
                  </a:lnTo>
                  <a:lnTo>
                    <a:pt x="96" y="426"/>
                  </a:lnTo>
                  <a:lnTo>
                    <a:pt x="96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78" y="450"/>
                  </a:lnTo>
                  <a:lnTo>
                    <a:pt x="60" y="45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4" name="Freeform 29">
              <a:extLst>
                <a:ext uri="{FF2B5EF4-FFF2-40B4-BE49-F238E27FC236}">
                  <a16:creationId xmlns:a16="http://schemas.microsoft.com/office/drawing/2014/main" id="{B6AC2B96-1504-4082-8778-17130FDA021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401" y="3537698"/>
              <a:ext cx="559048" cy="641876"/>
            </a:xfrm>
            <a:custGeom>
              <a:avLst/>
              <a:gdLst>
                <a:gd name="T0" fmla="*/ 39 w 1056"/>
                <a:gd name="T1" fmla="*/ 94 h 1206"/>
                <a:gd name="T2" fmla="*/ 35 w 1056"/>
                <a:gd name="T3" fmla="*/ 103 h 1206"/>
                <a:gd name="T4" fmla="*/ 29 w 1056"/>
                <a:gd name="T5" fmla="*/ 99 h 1206"/>
                <a:gd name="T6" fmla="*/ 23 w 1056"/>
                <a:gd name="T7" fmla="*/ 94 h 1206"/>
                <a:gd name="T8" fmla="*/ 21 w 1056"/>
                <a:gd name="T9" fmla="*/ 91 h 1206"/>
                <a:gd name="T10" fmla="*/ 18 w 1056"/>
                <a:gd name="T11" fmla="*/ 89 h 1206"/>
                <a:gd name="T12" fmla="*/ 15 w 1056"/>
                <a:gd name="T13" fmla="*/ 86 h 1206"/>
                <a:gd name="T14" fmla="*/ 11 w 1056"/>
                <a:gd name="T15" fmla="*/ 83 h 1206"/>
                <a:gd name="T16" fmla="*/ 8 w 1056"/>
                <a:gd name="T17" fmla="*/ 81 h 1206"/>
                <a:gd name="T18" fmla="*/ 6 w 1056"/>
                <a:gd name="T19" fmla="*/ 79 h 1206"/>
                <a:gd name="T20" fmla="*/ 13 w 1056"/>
                <a:gd name="T21" fmla="*/ 78 h 1206"/>
                <a:gd name="T22" fmla="*/ 8 w 1056"/>
                <a:gd name="T23" fmla="*/ 75 h 1206"/>
                <a:gd name="T24" fmla="*/ 13 w 1056"/>
                <a:gd name="T25" fmla="*/ 71 h 1206"/>
                <a:gd name="T26" fmla="*/ 10 w 1056"/>
                <a:gd name="T27" fmla="*/ 63 h 1206"/>
                <a:gd name="T28" fmla="*/ 6 w 1056"/>
                <a:gd name="T29" fmla="*/ 66 h 1206"/>
                <a:gd name="T30" fmla="*/ 1 w 1056"/>
                <a:gd name="T31" fmla="*/ 63 h 1206"/>
                <a:gd name="T32" fmla="*/ 1 w 1056"/>
                <a:gd name="T33" fmla="*/ 59 h 1206"/>
                <a:gd name="T34" fmla="*/ 3 w 1056"/>
                <a:gd name="T35" fmla="*/ 57 h 1206"/>
                <a:gd name="T36" fmla="*/ 6 w 1056"/>
                <a:gd name="T37" fmla="*/ 55 h 1206"/>
                <a:gd name="T38" fmla="*/ 10 w 1056"/>
                <a:gd name="T39" fmla="*/ 51 h 1206"/>
                <a:gd name="T40" fmla="*/ 11 w 1056"/>
                <a:gd name="T41" fmla="*/ 46 h 1206"/>
                <a:gd name="T42" fmla="*/ 14 w 1056"/>
                <a:gd name="T43" fmla="*/ 42 h 1206"/>
                <a:gd name="T44" fmla="*/ 15 w 1056"/>
                <a:gd name="T45" fmla="*/ 36 h 1206"/>
                <a:gd name="T46" fmla="*/ 17 w 1056"/>
                <a:gd name="T47" fmla="*/ 34 h 1206"/>
                <a:gd name="T48" fmla="*/ 20 w 1056"/>
                <a:gd name="T49" fmla="*/ 31 h 1206"/>
                <a:gd name="T50" fmla="*/ 21 w 1056"/>
                <a:gd name="T51" fmla="*/ 29 h 1206"/>
                <a:gd name="T52" fmla="*/ 23 w 1056"/>
                <a:gd name="T53" fmla="*/ 22 h 1206"/>
                <a:gd name="T54" fmla="*/ 35 w 1056"/>
                <a:gd name="T55" fmla="*/ 22 h 1206"/>
                <a:gd name="T56" fmla="*/ 41 w 1056"/>
                <a:gd name="T57" fmla="*/ 18 h 1206"/>
                <a:gd name="T58" fmla="*/ 54 w 1056"/>
                <a:gd name="T59" fmla="*/ 20 h 1206"/>
                <a:gd name="T60" fmla="*/ 54 w 1056"/>
                <a:gd name="T61" fmla="*/ 26 h 1206"/>
                <a:gd name="T62" fmla="*/ 64 w 1056"/>
                <a:gd name="T63" fmla="*/ 25 h 1206"/>
                <a:gd name="T64" fmla="*/ 71 w 1056"/>
                <a:gd name="T65" fmla="*/ 10 h 1206"/>
                <a:gd name="T66" fmla="*/ 80 w 1056"/>
                <a:gd name="T67" fmla="*/ 1 h 1206"/>
                <a:gd name="T68" fmla="*/ 86 w 1056"/>
                <a:gd name="T69" fmla="*/ 2 h 1206"/>
                <a:gd name="T70" fmla="*/ 91 w 1056"/>
                <a:gd name="T71" fmla="*/ 13 h 1206"/>
                <a:gd name="T72" fmla="*/ 88 w 1056"/>
                <a:gd name="T73" fmla="*/ 17 h 1206"/>
                <a:gd name="T74" fmla="*/ 89 w 1056"/>
                <a:gd name="T75" fmla="*/ 21 h 1206"/>
                <a:gd name="T76" fmla="*/ 86 w 1056"/>
                <a:gd name="T77" fmla="*/ 25 h 1206"/>
                <a:gd name="T78" fmla="*/ 85 w 1056"/>
                <a:gd name="T79" fmla="*/ 31 h 1206"/>
                <a:gd name="T80" fmla="*/ 83 w 1056"/>
                <a:gd name="T81" fmla="*/ 36 h 1206"/>
                <a:gd name="T82" fmla="*/ 80 w 1056"/>
                <a:gd name="T83" fmla="*/ 42 h 1206"/>
                <a:gd name="T84" fmla="*/ 80 w 1056"/>
                <a:gd name="T85" fmla="*/ 47 h 1206"/>
                <a:gd name="T86" fmla="*/ 77 w 1056"/>
                <a:gd name="T87" fmla="*/ 55 h 1206"/>
                <a:gd name="T88" fmla="*/ 75 w 1056"/>
                <a:gd name="T89" fmla="*/ 57 h 1206"/>
                <a:gd name="T90" fmla="*/ 66 w 1056"/>
                <a:gd name="T91" fmla="*/ 57 h 1206"/>
                <a:gd name="T92" fmla="*/ 66 w 1056"/>
                <a:gd name="T93" fmla="*/ 51 h 1206"/>
                <a:gd name="T94" fmla="*/ 48 w 1056"/>
                <a:gd name="T95" fmla="*/ 50 h 1206"/>
                <a:gd name="T96" fmla="*/ 46 w 1056"/>
                <a:gd name="T97" fmla="*/ 55 h 1206"/>
                <a:gd name="T98" fmla="*/ 42 w 1056"/>
                <a:gd name="T99" fmla="*/ 59 h 1206"/>
                <a:gd name="T100" fmla="*/ 41 w 1056"/>
                <a:gd name="T101" fmla="*/ 62 h 1206"/>
                <a:gd name="T102" fmla="*/ 43 w 1056"/>
                <a:gd name="T103" fmla="*/ 67 h 1206"/>
                <a:gd name="T104" fmla="*/ 42 w 1056"/>
                <a:gd name="T105" fmla="*/ 72 h 1206"/>
                <a:gd name="T106" fmla="*/ 39 w 1056"/>
                <a:gd name="T107" fmla="*/ 77 h 1206"/>
                <a:gd name="T108" fmla="*/ 36 w 1056"/>
                <a:gd name="T109" fmla="*/ 80 h 1206"/>
                <a:gd name="T110" fmla="*/ 37 w 1056"/>
                <a:gd name="T111" fmla="*/ 83 h 1206"/>
                <a:gd name="T112" fmla="*/ 40 w 1056"/>
                <a:gd name="T113" fmla="*/ 87 h 1206"/>
                <a:gd name="T114" fmla="*/ 42 w 1056"/>
                <a:gd name="T115" fmla="*/ 89 h 12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56"/>
                <a:gd name="T175" fmla="*/ 0 h 1206"/>
                <a:gd name="T176" fmla="*/ 1056 w 1056"/>
                <a:gd name="T177" fmla="*/ 1206 h 12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56" h="1206">
                  <a:moveTo>
                    <a:pt x="492" y="1032"/>
                  </a:moveTo>
                  <a:lnTo>
                    <a:pt x="486" y="1038"/>
                  </a:lnTo>
                  <a:lnTo>
                    <a:pt x="486" y="1044"/>
                  </a:lnTo>
                  <a:lnTo>
                    <a:pt x="480" y="1044"/>
                  </a:lnTo>
                  <a:lnTo>
                    <a:pt x="474" y="1056"/>
                  </a:lnTo>
                  <a:lnTo>
                    <a:pt x="462" y="1068"/>
                  </a:lnTo>
                  <a:lnTo>
                    <a:pt x="456" y="1080"/>
                  </a:lnTo>
                  <a:lnTo>
                    <a:pt x="450" y="1080"/>
                  </a:lnTo>
                  <a:lnTo>
                    <a:pt x="450" y="1086"/>
                  </a:lnTo>
                  <a:lnTo>
                    <a:pt x="450" y="1092"/>
                  </a:lnTo>
                  <a:lnTo>
                    <a:pt x="444" y="1104"/>
                  </a:lnTo>
                  <a:lnTo>
                    <a:pt x="444" y="1116"/>
                  </a:lnTo>
                  <a:lnTo>
                    <a:pt x="438" y="1128"/>
                  </a:lnTo>
                  <a:lnTo>
                    <a:pt x="432" y="1134"/>
                  </a:lnTo>
                  <a:lnTo>
                    <a:pt x="432" y="1140"/>
                  </a:lnTo>
                  <a:lnTo>
                    <a:pt x="420" y="1152"/>
                  </a:lnTo>
                  <a:lnTo>
                    <a:pt x="420" y="1158"/>
                  </a:lnTo>
                  <a:lnTo>
                    <a:pt x="408" y="1182"/>
                  </a:lnTo>
                  <a:lnTo>
                    <a:pt x="396" y="1194"/>
                  </a:lnTo>
                  <a:lnTo>
                    <a:pt x="390" y="1206"/>
                  </a:lnTo>
                  <a:lnTo>
                    <a:pt x="390" y="1200"/>
                  </a:lnTo>
                  <a:lnTo>
                    <a:pt x="384" y="1194"/>
                  </a:lnTo>
                  <a:lnTo>
                    <a:pt x="378" y="1188"/>
                  </a:lnTo>
                  <a:lnTo>
                    <a:pt x="366" y="1176"/>
                  </a:lnTo>
                  <a:lnTo>
                    <a:pt x="366" y="1170"/>
                  </a:lnTo>
                  <a:lnTo>
                    <a:pt x="348" y="1152"/>
                  </a:lnTo>
                  <a:lnTo>
                    <a:pt x="336" y="1140"/>
                  </a:lnTo>
                  <a:lnTo>
                    <a:pt x="330" y="1134"/>
                  </a:lnTo>
                  <a:lnTo>
                    <a:pt x="324" y="1128"/>
                  </a:lnTo>
                  <a:lnTo>
                    <a:pt x="318" y="1122"/>
                  </a:lnTo>
                  <a:lnTo>
                    <a:pt x="312" y="1116"/>
                  </a:lnTo>
                  <a:lnTo>
                    <a:pt x="306" y="1110"/>
                  </a:lnTo>
                  <a:lnTo>
                    <a:pt x="300" y="1104"/>
                  </a:lnTo>
                  <a:lnTo>
                    <a:pt x="294" y="1098"/>
                  </a:lnTo>
                  <a:lnTo>
                    <a:pt x="276" y="1080"/>
                  </a:lnTo>
                  <a:lnTo>
                    <a:pt x="270" y="1080"/>
                  </a:lnTo>
                  <a:lnTo>
                    <a:pt x="270" y="1074"/>
                  </a:lnTo>
                  <a:lnTo>
                    <a:pt x="264" y="1068"/>
                  </a:lnTo>
                  <a:lnTo>
                    <a:pt x="258" y="1062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40" y="1050"/>
                  </a:lnTo>
                  <a:lnTo>
                    <a:pt x="234" y="1044"/>
                  </a:lnTo>
                  <a:lnTo>
                    <a:pt x="228" y="1044"/>
                  </a:lnTo>
                  <a:lnTo>
                    <a:pt x="222" y="1038"/>
                  </a:lnTo>
                  <a:lnTo>
                    <a:pt x="222" y="1032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6"/>
                  </a:lnTo>
                  <a:lnTo>
                    <a:pt x="204" y="1020"/>
                  </a:lnTo>
                  <a:lnTo>
                    <a:pt x="204" y="1014"/>
                  </a:lnTo>
                  <a:lnTo>
                    <a:pt x="198" y="1014"/>
                  </a:lnTo>
                  <a:lnTo>
                    <a:pt x="192" y="1014"/>
                  </a:lnTo>
                  <a:lnTo>
                    <a:pt x="192" y="1008"/>
                  </a:lnTo>
                  <a:lnTo>
                    <a:pt x="186" y="1008"/>
                  </a:lnTo>
                  <a:lnTo>
                    <a:pt x="186" y="1002"/>
                  </a:lnTo>
                  <a:lnTo>
                    <a:pt x="180" y="1002"/>
                  </a:lnTo>
                  <a:lnTo>
                    <a:pt x="174" y="996"/>
                  </a:lnTo>
                  <a:lnTo>
                    <a:pt x="168" y="996"/>
                  </a:lnTo>
                  <a:lnTo>
                    <a:pt x="168" y="990"/>
                  </a:lnTo>
                  <a:lnTo>
                    <a:pt x="162" y="990"/>
                  </a:lnTo>
                  <a:lnTo>
                    <a:pt x="162" y="984"/>
                  </a:lnTo>
                  <a:lnTo>
                    <a:pt x="150" y="978"/>
                  </a:lnTo>
                  <a:lnTo>
                    <a:pt x="144" y="972"/>
                  </a:lnTo>
                  <a:lnTo>
                    <a:pt x="138" y="972"/>
                  </a:lnTo>
                  <a:lnTo>
                    <a:pt x="138" y="966"/>
                  </a:lnTo>
                  <a:lnTo>
                    <a:pt x="132" y="966"/>
                  </a:lnTo>
                  <a:lnTo>
                    <a:pt x="126" y="960"/>
                  </a:lnTo>
                  <a:lnTo>
                    <a:pt x="126" y="954"/>
                  </a:lnTo>
                  <a:lnTo>
                    <a:pt x="120" y="954"/>
                  </a:lnTo>
                  <a:lnTo>
                    <a:pt x="114" y="948"/>
                  </a:lnTo>
                  <a:lnTo>
                    <a:pt x="108" y="948"/>
                  </a:lnTo>
                  <a:lnTo>
                    <a:pt x="108" y="942"/>
                  </a:lnTo>
                  <a:lnTo>
                    <a:pt x="102" y="942"/>
                  </a:lnTo>
                  <a:lnTo>
                    <a:pt x="96" y="942"/>
                  </a:lnTo>
                  <a:lnTo>
                    <a:pt x="96" y="936"/>
                  </a:lnTo>
                  <a:lnTo>
                    <a:pt x="90" y="936"/>
                  </a:lnTo>
                  <a:lnTo>
                    <a:pt x="90" y="930"/>
                  </a:lnTo>
                  <a:lnTo>
                    <a:pt x="84" y="930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18"/>
                  </a:lnTo>
                  <a:lnTo>
                    <a:pt x="66" y="918"/>
                  </a:lnTo>
                  <a:lnTo>
                    <a:pt x="66" y="912"/>
                  </a:lnTo>
                  <a:lnTo>
                    <a:pt x="66" y="906"/>
                  </a:lnTo>
                  <a:lnTo>
                    <a:pt x="72" y="906"/>
                  </a:lnTo>
                  <a:lnTo>
                    <a:pt x="84" y="906"/>
                  </a:lnTo>
                  <a:lnTo>
                    <a:pt x="90" y="906"/>
                  </a:lnTo>
                  <a:lnTo>
                    <a:pt x="120" y="930"/>
                  </a:lnTo>
                  <a:lnTo>
                    <a:pt x="126" y="936"/>
                  </a:lnTo>
                  <a:lnTo>
                    <a:pt x="138" y="936"/>
                  </a:lnTo>
                  <a:lnTo>
                    <a:pt x="138" y="930"/>
                  </a:lnTo>
                  <a:lnTo>
                    <a:pt x="144" y="930"/>
                  </a:lnTo>
                  <a:lnTo>
                    <a:pt x="144" y="924"/>
                  </a:lnTo>
                  <a:lnTo>
                    <a:pt x="150" y="900"/>
                  </a:lnTo>
                  <a:lnTo>
                    <a:pt x="138" y="894"/>
                  </a:lnTo>
                  <a:lnTo>
                    <a:pt x="126" y="894"/>
                  </a:lnTo>
                  <a:lnTo>
                    <a:pt x="108" y="888"/>
                  </a:lnTo>
                  <a:lnTo>
                    <a:pt x="84" y="882"/>
                  </a:lnTo>
                  <a:lnTo>
                    <a:pt x="72" y="882"/>
                  </a:lnTo>
                  <a:lnTo>
                    <a:pt x="72" y="876"/>
                  </a:lnTo>
                  <a:lnTo>
                    <a:pt x="78" y="870"/>
                  </a:lnTo>
                  <a:lnTo>
                    <a:pt x="90" y="870"/>
                  </a:lnTo>
                  <a:lnTo>
                    <a:pt x="96" y="870"/>
                  </a:lnTo>
                  <a:lnTo>
                    <a:pt x="102" y="870"/>
                  </a:lnTo>
                  <a:lnTo>
                    <a:pt x="114" y="870"/>
                  </a:lnTo>
                  <a:lnTo>
                    <a:pt x="120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34"/>
                  </a:lnTo>
                  <a:lnTo>
                    <a:pt x="132" y="828"/>
                  </a:lnTo>
                  <a:lnTo>
                    <a:pt x="132" y="816"/>
                  </a:lnTo>
                  <a:lnTo>
                    <a:pt x="150" y="816"/>
                  </a:lnTo>
                  <a:lnTo>
                    <a:pt x="150" y="804"/>
                  </a:lnTo>
                  <a:lnTo>
                    <a:pt x="144" y="798"/>
                  </a:lnTo>
                  <a:lnTo>
                    <a:pt x="156" y="762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32"/>
                  </a:lnTo>
                  <a:lnTo>
                    <a:pt x="144" y="726"/>
                  </a:lnTo>
                  <a:lnTo>
                    <a:pt x="132" y="726"/>
                  </a:lnTo>
                  <a:lnTo>
                    <a:pt x="120" y="732"/>
                  </a:lnTo>
                  <a:lnTo>
                    <a:pt x="114" y="744"/>
                  </a:lnTo>
                  <a:lnTo>
                    <a:pt x="108" y="750"/>
                  </a:lnTo>
                  <a:lnTo>
                    <a:pt x="96" y="768"/>
                  </a:lnTo>
                  <a:lnTo>
                    <a:pt x="96" y="774"/>
                  </a:lnTo>
                  <a:lnTo>
                    <a:pt x="90" y="780"/>
                  </a:lnTo>
                  <a:lnTo>
                    <a:pt x="84" y="804"/>
                  </a:lnTo>
                  <a:lnTo>
                    <a:pt x="72" y="774"/>
                  </a:lnTo>
                  <a:lnTo>
                    <a:pt x="72" y="768"/>
                  </a:lnTo>
                  <a:lnTo>
                    <a:pt x="66" y="762"/>
                  </a:lnTo>
                  <a:lnTo>
                    <a:pt x="60" y="750"/>
                  </a:lnTo>
                  <a:lnTo>
                    <a:pt x="54" y="750"/>
                  </a:lnTo>
                  <a:lnTo>
                    <a:pt x="48" y="750"/>
                  </a:lnTo>
                  <a:lnTo>
                    <a:pt x="42" y="750"/>
                  </a:lnTo>
                  <a:lnTo>
                    <a:pt x="30" y="744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12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2" y="702"/>
                  </a:lnTo>
                  <a:lnTo>
                    <a:pt x="18" y="696"/>
                  </a:lnTo>
                  <a:lnTo>
                    <a:pt x="12" y="690"/>
                  </a:lnTo>
                  <a:lnTo>
                    <a:pt x="12" y="684"/>
                  </a:lnTo>
                  <a:lnTo>
                    <a:pt x="12" y="678"/>
                  </a:lnTo>
                  <a:lnTo>
                    <a:pt x="12" y="672"/>
                  </a:lnTo>
                  <a:lnTo>
                    <a:pt x="18" y="672"/>
                  </a:lnTo>
                  <a:lnTo>
                    <a:pt x="18" y="666"/>
                  </a:lnTo>
                  <a:lnTo>
                    <a:pt x="24" y="666"/>
                  </a:lnTo>
                  <a:lnTo>
                    <a:pt x="24" y="660"/>
                  </a:lnTo>
                  <a:lnTo>
                    <a:pt x="30" y="660"/>
                  </a:lnTo>
                  <a:lnTo>
                    <a:pt x="30" y="654"/>
                  </a:lnTo>
                  <a:lnTo>
                    <a:pt x="36" y="654"/>
                  </a:lnTo>
                  <a:lnTo>
                    <a:pt x="36" y="648"/>
                  </a:lnTo>
                  <a:lnTo>
                    <a:pt x="42" y="648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60" y="630"/>
                  </a:lnTo>
                  <a:lnTo>
                    <a:pt x="66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78" y="624"/>
                  </a:lnTo>
                  <a:lnTo>
                    <a:pt x="84" y="618"/>
                  </a:lnTo>
                  <a:lnTo>
                    <a:pt x="84" y="612"/>
                  </a:lnTo>
                  <a:lnTo>
                    <a:pt x="90" y="612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20" y="588"/>
                  </a:lnTo>
                  <a:lnTo>
                    <a:pt x="120" y="582"/>
                  </a:lnTo>
                  <a:lnTo>
                    <a:pt x="120" y="576"/>
                  </a:lnTo>
                  <a:lnTo>
                    <a:pt x="120" y="570"/>
                  </a:lnTo>
                  <a:lnTo>
                    <a:pt x="126" y="564"/>
                  </a:lnTo>
                  <a:lnTo>
                    <a:pt x="126" y="558"/>
                  </a:lnTo>
                  <a:lnTo>
                    <a:pt x="126" y="552"/>
                  </a:lnTo>
                  <a:lnTo>
                    <a:pt x="126" y="546"/>
                  </a:lnTo>
                  <a:lnTo>
                    <a:pt x="126" y="534"/>
                  </a:lnTo>
                  <a:lnTo>
                    <a:pt x="126" y="516"/>
                  </a:lnTo>
                  <a:lnTo>
                    <a:pt x="126" y="510"/>
                  </a:lnTo>
                  <a:lnTo>
                    <a:pt x="126" y="504"/>
                  </a:lnTo>
                  <a:lnTo>
                    <a:pt x="126" y="498"/>
                  </a:lnTo>
                  <a:lnTo>
                    <a:pt x="132" y="498"/>
                  </a:lnTo>
                  <a:lnTo>
                    <a:pt x="132" y="492"/>
                  </a:lnTo>
                  <a:lnTo>
                    <a:pt x="138" y="492"/>
                  </a:lnTo>
                  <a:lnTo>
                    <a:pt x="144" y="486"/>
                  </a:lnTo>
                  <a:lnTo>
                    <a:pt x="156" y="480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6" y="462"/>
                  </a:lnTo>
                  <a:lnTo>
                    <a:pt x="156" y="456"/>
                  </a:lnTo>
                  <a:lnTo>
                    <a:pt x="156" y="450"/>
                  </a:lnTo>
                  <a:lnTo>
                    <a:pt x="162" y="438"/>
                  </a:lnTo>
                  <a:lnTo>
                    <a:pt x="168" y="426"/>
                  </a:lnTo>
                  <a:lnTo>
                    <a:pt x="174" y="426"/>
                  </a:lnTo>
                  <a:lnTo>
                    <a:pt x="174" y="420"/>
                  </a:lnTo>
                  <a:lnTo>
                    <a:pt x="180" y="414"/>
                  </a:lnTo>
                  <a:lnTo>
                    <a:pt x="186" y="420"/>
                  </a:lnTo>
                  <a:lnTo>
                    <a:pt x="186" y="414"/>
                  </a:lnTo>
                  <a:lnTo>
                    <a:pt x="180" y="408"/>
                  </a:lnTo>
                  <a:lnTo>
                    <a:pt x="180" y="402"/>
                  </a:lnTo>
                  <a:lnTo>
                    <a:pt x="186" y="402"/>
                  </a:lnTo>
                  <a:lnTo>
                    <a:pt x="192" y="402"/>
                  </a:lnTo>
                  <a:lnTo>
                    <a:pt x="192" y="396"/>
                  </a:lnTo>
                  <a:lnTo>
                    <a:pt x="198" y="396"/>
                  </a:lnTo>
                  <a:lnTo>
                    <a:pt x="204" y="396"/>
                  </a:lnTo>
                  <a:lnTo>
                    <a:pt x="210" y="396"/>
                  </a:lnTo>
                  <a:lnTo>
                    <a:pt x="210" y="390"/>
                  </a:lnTo>
                  <a:lnTo>
                    <a:pt x="216" y="390"/>
                  </a:lnTo>
                  <a:lnTo>
                    <a:pt x="216" y="384"/>
                  </a:lnTo>
                  <a:lnTo>
                    <a:pt x="222" y="384"/>
                  </a:lnTo>
                  <a:lnTo>
                    <a:pt x="222" y="378"/>
                  </a:lnTo>
                  <a:lnTo>
                    <a:pt x="228" y="372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0" y="348"/>
                  </a:lnTo>
                  <a:lnTo>
                    <a:pt x="234" y="342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46" y="330"/>
                  </a:lnTo>
                  <a:lnTo>
                    <a:pt x="246" y="324"/>
                  </a:lnTo>
                  <a:lnTo>
                    <a:pt x="234" y="318"/>
                  </a:lnTo>
                  <a:lnTo>
                    <a:pt x="234" y="312"/>
                  </a:lnTo>
                  <a:lnTo>
                    <a:pt x="234" y="300"/>
                  </a:lnTo>
                  <a:lnTo>
                    <a:pt x="240" y="288"/>
                  </a:lnTo>
                  <a:lnTo>
                    <a:pt x="240" y="276"/>
                  </a:lnTo>
                  <a:lnTo>
                    <a:pt x="246" y="258"/>
                  </a:lnTo>
                  <a:lnTo>
                    <a:pt x="258" y="252"/>
                  </a:lnTo>
                  <a:lnTo>
                    <a:pt x="270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294" y="252"/>
                  </a:lnTo>
                  <a:lnTo>
                    <a:pt x="300" y="258"/>
                  </a:lnTo>
                  <a:lnTo>
                    <a:pt x="318" y="252"/>
                  </a:lnTo>
                  <a:lnTo>
                    <a:pt x="366" y="252"/>
                  </a:lnTo>
                  <a:lnTo>
                    <a:pt x="378" y="252"/>
                  </a:lnTo>
                  <a:lnTo>
                    <a:pt x="396" y="252"/>
                  </a:lnTo>
                  <a:lnTo>
                    <a:pt x="408" y="252"/>
                  </a:lnTo>
                  <a:lnTo>
                    <a:pt x="408" y="246"/>
                  </a:lnTo>
                  <a:lnTo>
                    <a:pt x="414" y="240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20" y="216"/>
                  </a:lnTo>
                  <a:lnTo>
                    <a:pt x="426" y="210"/>
                  </a:lnTo>
                  <a:lnTo>
                    <a:pt x="444" y="198"/>
                  </a:lnTo>
                  <a:lnTo>
                    <a:pt x="462" y="198"/>
                  </a:lnTo>
                  <a:lnTo>
                    <a:pt x="474" y="204"/>
                  </a:lnTo>
                  <a:lnTo>
                    <a:pt x="498" y="198"/>
                  </a:lnTo>
                  <a:lnTo>
                    <a:pt x="498" y="204"/>
                  </a:lnTo>
                  <a:lnTo>
                    <a:pt x="540" y="210"/>
                  </a:lnTo>
                  <a:lnTo>
                    <a:pt x="564" y="210"/>
                  </a:lnTo>
                  <a:lnTo>
                    <a:pt x="588" y="210"/>
                  </a:lnTo>
                  <a:lnTo>
                    <a:pt x="612" y="210"/>
                  </a:lnTo>
                  <a:lnTo>
                    <a:pt x="612" y="216"/>
                  </a:lnTo>
                  <a:lnTo>
                    <a:pt x="618" y="222"/>
                  </a:lnTo>
                  <a:lnTo>
                    <a:pt x="618" y="228"/>
                  </a:lnTo>
                  <a:lnTo>
                    <a:pt x="624" y="240"/>
                  </a:lnTo>
                  <a:lnTo>
                    <a:pt x="624" y="246"/>
                  </a:lnTo>
                  <a:lnTo>
                    <a:pt x="630" y="252"/>
                  </a:lnTo>
                  <a:lnTo>
                    <a:pt x="630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0" y="282"/>
                  </a:lnTo>
                  <a:lnTo>
                    <a:pt x="630" y="288"/>
                  </a:lnTo>
                  <a:lnTo>
                    <a:pt x="630" y="300"/>
                  </a:lnTo>
                  <a:lnTo>
                    <a:pt x="630" y="306"/>
                  </a:lnTo>
                  <a:lnTo>
                    <a:pt x="636" y="306"/>
                  </a:lnTo>
                  <a:lnTo>
                    <a:pt x="642" y="306"/>
                  </a:lnTo>
                  <a:lnTo>
                    <a:pt x="648" y="312"/>
                  </a:lnTo>
                  <a:lnTo>
                    <a:pt x="666" y="312"/>
                  </a:lnTo>
                  <a:lnTo>
                    <a:pt x="696" y="306"/>
                  </a:lnTo>
                  <a:lnTo>
                    <a:pt x="732" y="300"/>
                  </a:lnTo>
                  <a:lnTo>
                    <a:pt x="732" y="288"/>
                  </a:lnTo>
                  <a:lnTo>
                    <a:pt x="738" y="288"/>
                  </a:lnTo>
                  <a:lnTo>
                    <a:pt x="744" y="276"/>
                  </a:lnTo>
                  <a:lnTo>
                    <a:pt x="762" y="246"/>
                  </a:lnTo>
                  <a:lnTo>
                    <a:pt x="768" y="228"/>
                  </a:lnTo>
                  <a:lnTo>
                    <a:pt x="792" y="210"/>
                  </a:lnTo>
                  <a:lnTo>
                    <a:pt x="804" y="186"/>
                  </a:lnTo>
                  <a:lnTo>
                    <a:pt x="804" y="156"/>
                  </a:lnTo>
                  <a:lnTo>
                    <a:pt x="804" y="138"/>
                  </a:lnTo>
                  <a:lnTo>
                    <a:pt x="810" y="126"/>
                  </a:lnTo>
                  <a:lnTo>
                    <a:pt x="816" y="120"/>
                  </a:lnTo>
                  <a:lnTo>
                    <a:pt x="828" y="102"/>
                  </a:lnTo>
                  <a:lnTo>
                    <a:pt x="834" y="96"/>
                  </a:lnTo>
                  <a:lnTo>
                    <a:pt x="846" y="102"/>
                  </a:lnTo>
                  <a:lnTo>
                    <a:pt x="852" y="96"/>
                  </a:lnTo>
                  <a:lnTo>
                    <a:pt x="858" y="72"/>
                  </a:lnTo>
                  <a:lnTo>
                    <a:pt x="864" y="60"/>
                  </a:lnTo>
                  <a:lnTo>
                    <a:pt x="882" y="48"/>
                  </a:lnTo>
                  <a:lnTo>
                    <a:pt x="906" y="36"/>
                  </a:lnTo>
                  <a:lnTo>
                    <a:pt x="918" y="12"/>
                  </a:lnTo>
                  <a:lnTo>
                    <a:pt x="924" y="0"/>
                  </a:lnTo>
                  <a:lnTo>
                    <a:pt x="930" y="6"/>
                  </a:lnTo>
                  <a:lnTo>
                    <a:pt x="942" y="12"/>
                  </a:lnTo>
                  <a:lnTo>
                    <a:pt x="948" y="12"/>
                  </a:lnTo>
                  <a:lnTo>
                    <a:pt x="954" y="18"/>
                  </a:lnTo>
                  <a:lnTo>
                    <a:pt x="966" y="18"/>
                  </a:lnTo>
                  <a:lnTo>
                    <a:pt x="972" y="18"/>
                  </a:lnTo>
                  <a:lnTo>
                    <a:pt x="984" y="18"/>
                  </a:lnTo>
                  <a:lnTo>
                    <a:pt x="990" y="18"/>
                  </a:lnTo>
                  <a:lnTo>
                    <a:pt x="1002" y="48"/>
                  </a:lnTo>
                  <a:lnTo>
                    <a:pt x="1008" y="78"/>
                  </a:lnTo>
                  <a:lnTo>
                    <a:pt x="1020" y="78"/>
                  </a:lnTo>
                  <a:lnTo>
                    <a:pt x="1020" y="90"/>
                  </a:lnTo>
                  <a:lnTo>
                    <a:pt x="1026" y="102"/>
                  </a:lnTo>
                  <a:lnTo>
                    <a:pt x="1044" y="120"/>
                  </a:lnTo>
                  <a:lnTo>
                    <a:pt x="1044" y="132"/>
                  </a:lnTo>
                  <a:lnTo>
                    <a:pt x="1056" y="150"/>
                  </a:lnTo>
                  <a:lnTo>
                    <a:pt x="1050" y="150"/>
                  </a:lnTo>
                  <a:lnTo>
                    <a:pt x="1044" y="156"/>
                  </a:lnTo>
                  <a:lnTo>
                    <a:pt x="1044" y="162"/>
                  </a:lnTo>
                  <a:lnTo>
                    <a:pt x="1038" y="162"/>
                  </a:lnTo>
                  <a:lnTo>
                    <a:pt x="1032" y="162"/>
                  </a:lnTo>
                  <a:lnTo>
                    <a:pt x="1026" y="168"/>
                  </a:lnTo>
                  <a:lnTo>
                    <a:pt x="1014" y="174"/>
                  </a:lnTo>
                  <a:lnTo>
                    <a:pt x="1014" y="186"/>
                  </a:lnTo>
                  <a:lnTo>
                    <a:pt x="1014" y="192"/>
                  </a:lnTo>
                  <a:lnTo>
                    <a:pt x="1014" y="198"/>
                  </a:lnTo>
                  <a:lnTo>
                    <a:pt x="1020" y="204"/>
                  </a:lnTo>
                  <a:lnTo>
                    <a:pt x="1026" y="204"/>
                  </a:lnTo>
                  <a:lnTo>
                    <a:pt x="1032" y="204"/>
                  </a:lnTo>
                  <a:lnTo>
                    <a:pt x="1032" y="210"/>
                  </a:lnTo>
                  <a:lnTo>
                    <a:pt x="1038" y="210"/>
                  </a:lnTo>
                  <a:lnTo>
                    <a:pt x="1032" y="216"/>
                  </a:lnTo>
                  <a:lnTo>
                    <a:pt x="1026" y="228"/>
                  </a:lnTo>
                  <a:lnTo>
                    <a:pt x="1026" y="234"/>
                  </a:lnTo>
                  <a:lnTo>
                    <a:pt x="1032" y="240"/>
                  </a:lnTo>
                  <a:lnTo>
                    <a:pt x="1032" y="246"/>
                  </a:lnTo>
                  <a:lnTo>
                    <a:pt x="1032" y="252"/>
                  </a:lnTo>
                  <a:lnTo>
                    <a:pt x="1032" y="258"/>
                  </a:lnTo>
                  <a:lnTo>
                    <a:pt x="1038" y="264"/>
                  </a:lnTo>
                  <a:lnTo>
                    <a:pt x="1032" y="276"/>
                  </a:lnTo>
                  <a:lnTo>
                    <a:pt x="1026" y="276"/>
                  </a:lnTo>
                  <a:lnTo>
                    <a:pt x="1020" y="276"/>
                  </a:lnTo>
                  <a:lnTo>
                    <a:pt x="996" y="282"/>
                  </a:lnTo>
                  <a:lnTo>
                    <a:pt x="996" y="288"/>
                  </a:lnTo>
                  <a:lnTo>
                    <a:pt x="996" y="294"/>
                  </a:lnTo>
                  <a:lnTo>
                    <a:pt x="996" y="300"/>
                  </a:lnTo>
                  <a:lnTo>
                    <a:pt x="996" y="306"/>
                  </a:lnTo>
                  <a:lnTo>
                    <a:pt x="984" y="324"/>
                  </a:lnTo>
                  <a:lnTo>
                    <a:pt x="984" y="330"/>
                  </a:lnTo>
                  <a:lnTo>
                    <a:pt x="984" y="336"/>
                  </a:lnTo>
                  <a:lnTo>
                    <a:pt x="978" y="336"/>
                  </a:lnTo>
                  <a:lnTo>
                    <a:pt x="978" y="342"/>
                  </a:lnTo>
                  <a:lnTo>
                    <a:pt x="984" y="360"/>
                  </a:lnTo>
                  <a:lnTo>
                    <a:pt x="978" y="366"/>
                  </a:lnTo>
                  <a:lnTo>
                    <a:pt x="978" y="372"/>
                  </a:lnTo>
                  <a:lnTo>
                    <a:pt x="972" y="372"/>
                  </a:lnTo>
                  <a:lnTo>
                    <a:pt x="972" y="378"/>
                  </a:lnTo>
                  <a:lnTo>
                    <a:pt x="972" y="384"/>
                  </a:lnTo>
                  <a:lnTo>
                    <a:pt x="972" y="390"/>
                  </a:lnTo>
                  <a:lnTo>
                    <a:pt x="966" y="402"/>
                  </a:lnTo>
                  <a:lnTo>
                    <a:pt x="960" y="414"/>
                  </a:lnTo>
                  <a:lnTo>
                    <a:pt x="954" y="420"/>
                  </a:lnTo>
                  <a:lnTo>
                    <a:pt x="948" y="426"/>
                  </a:lnTo>
                  <a:lnTo>
                    <a:pt x="948" y="438"/>
                  </a:lnTo>
                  <a:lnTo>
                    <a:pt x="942" y="444"/>
                  </a:lnTo>
                  <a:lnTo>
                    <a:pt x="936" y="450"/>
                  </a:lnTo>
                  <a:lnTo>
                    <a:pt x="930" y="456"/>
                  </a:lnTo>
                  <a:lnTo>
                    <a:pt x="924" y="462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18" y="522"/>
                  </a:lnTo>
                  <a:lnTo>
                    <a:pt x="918" y="528"/>
                  </a:lnTo>
                  <a:lnTo>
                    <a:pt x="924" y="534"/>
                  </a:lnTo>
                  <a:lnTo>
                    <a:pt x="924" y="540"/>
                  </a:lnTo>
                  <a:lnTo>
                    <a:pt x="924" y="546"/>
                  </a:lnTo>
                  <a:lnTo>
                    <a:pt x="918" y="546"/>
                  </a:lnTo>
                  <a:lnTo>
                    <a:pt x="918" y="552"/>
                  </a:lnTo>
                  <a:lnTo>
                    <a:pt x="912" y="546"/>
                  </a:lnTo>
                  <a:lnTo>
                    <a:pt x="912" y="552"/>
                  </a:lnTo>
                  <a:lnTo>
                    <a:pt x="912" y="570"/>
                  </a:lnTo>
                  <a:lnTo>
                    <a:pt x="906" y="588"/>
                  </a:lnTo>
                  <a:lnTo>
                    <a:pt x="900" y="606"/>
                  </a:lnTo>
                  <a:lnTo>
                    <a:pt x="906" y="624"/>
                  </a:lnTo>
                  <a:lnTo>
                    <a:pt x="900" y="624"/>
                  </a:lnTo>
                  <a:lnTo>
                    <a:pt x="894" y="630"/>
                  </a:lnTo>
                  <a:lnTo>
                    <a:pt x="888" y="630"/>
                  </a:lnTo>
                  <a:lnTo>
                    <a:pt x="882" y="630"/>
                  </a:lnTo>
                  <a:lnTo>
                    <a:pt x="882" y="636"/>
                  </a:lnTo>
                  <a:lnTo>
                    <a:pt x="876" y="642"/>
                  </a:lnTo>
                  <a:lnTo>
                    <a:pt x="870" y="642"/>
                  </a:lnTo>
                  <a:lnTo>
                    <a:pt x="870" y="648"/>
                  </a:lnTo>
                  <a:lnTo>
                    <a:pt x="870" y="654"/>
                  </a:lnTo>
                  <a:lnTo>
                    <a:pt x="864" y="654"/>
                  </a:lnTo>
                  <a:lnTo>
                    <a:pt x="864" y="660"/>
                  </a:lnTo>
                  <a:lnTo>
                    <a:pt x="846" y="666"/>
                  </a:lnTo>
                  <a:lnTo>
                    <a:pt x="828" y="672"/>
                  </a:lnTo>
                  <a:lnTo>
                    <a:pt x="816" y="660"/>
                  </a:lnTo>
                  <a:lnTo>
                    <a:pt x="810" y="660"/>
                  </a:lnTo>
                  <a:lnTo>
                    <a:pt x="798" y="666"/>
                  </a:lnTo>
                  <a:lnTo>
                    <a:pt x="786" y="666"/>
                  </a:lnTo>
                  <a:lnTo>
                    <a:pt x="780" y="672"/>
                  </a:lnTo>
                  <a:lnTo>
                    <a:pt x="768" y="678"/>
                  </a:lnTo>
                  <a:lnTo>
                    <a:pt x="762" y="660"/>
                  </a:lnTo>
                  <a:lnTo>
                    <a:pt x="762" y="654"/>
                  </a:lnTo>
                  <a:lnTo>
                    <a:pt x="756" y="636"/>
                  </a:lnTo>
                  <a:lnTo>
                    <a:pt x="762" y="624"/>
                  </a:lnTo>
                  <a:lnTo>
                    <a:pt x="756" y="606"/>
                  </a:lnTo>
                  <a:lnTo>
                    <a:pt x="756" y="600"/>
                  </a:lnTo>
                  <a:lnTo>
                    <a:pt x="762" y="594"/>
                  </a:lnTo>
                  <a:lnTo>
                    <a:pt x="768" y="600"/>
                  </a:lnTo>
                  <a:lnTo>
                    <a:pt x="768" y="594"/>
                  </a:lnTo>
                  <a:lnTo>
                    <a:pt x="768" y="588"/>
                  </a:lnTo>
                  <a:lnTo>
                    <a:pt x="774" y="582"/>
                  </a:lnTo>
                  <a:lnTo>
                    <a:pt x="768" y="576"/>
                  </a:lnTo>
                  <a:lnTo>
                    <a:pt x="762" y="576"/>
                  </a:lnTo>
                  <a:lnTo>
                    <a:pt x="756" y="576"/>
                  </a:lnTo>
                  <a:lnTo>
                    <a:pt x="690" y="576"/>
                  </a:lnTo>
                  <a:lnTo>
                    <a:pt x="624" y="570"/>
                  </a:lnTo>
                  <a:lnTo>
                    <a:pt x="600" y="564"/>
                  </a:lnTo>
                  <a:lnTo>
                    <a:pt x="576" y="564"/>
                  </a:lnTo>
                  <a:lnTo>
                    <a:pt x="558" y="570"/>
                  </a:lnTo>
                  <a:lnTo>
                    <a:pt x="552" y="576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46" y="594"/>
                  </a:lnTo>
                  <a:lnTo>
                    <a:pt x="546" y="600"/>
                  </a:lnTo>
                  <a:lnTo>
                    <a:pt x="540" y="606"/>
                  </a:lnTo>
                  <a:lnTo>
                    <a:pt x="534" y="618"/>
                  </a:lnTo>
                  <a:lnTo>
                    <a:pt x="534" y="624"/>
                  </a:lnTo>
                  <a:lnTo>
                    <a:pt x="534" y="630"/>
                  </a:lnTo>
                  <a:lnTo>
                    <a:pt x="534" y="636"/>
                  </a:lnTo>
                  <a:lnTo>
                    <a:pt x="528" y="636"/>
                  </a:lnTo>
                  <a:lnTo>
                    <a:pt x="516" y="642"/>
                  </a:lnTo>
                  <a:lnTo>
                    <a:pt x="516" y="648"/>
                  </a:lnTo>
                  <a:lnTo>
                    <a:pt x="510" y="648"/>
                  </a:lnTo>
                  <a:lnTo>
                    <a:pt x="504" y="654"/>
                  </a:lnTo>
                  <a:lnTo>
                    <a:pt x="492" y="666"/>
                  </a:lnTo>
                  <a:lnTo>
                    <a:pt x="492" y="672"/>
                  </a:lnTo>
                  <a:lnTo>
                    <a:pt x="492" y="684"/>
                  </a:lnTo>
                  <a:lnTo>
                    <a:pt x="486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92" y="702"/>
                  </a:lnTo>
                  <a:lnTo>
                    <a:pt x="486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74" y="720"/>
                  </a:lnTo>
                  <a:lnTo>
                    <a:pt x="480" y="726"/>
                  </a:lnTo>
                  <a:lnTo>
                    <a:pt x="474" y="726"/>
                  </a:lnTo>
                  <a:lnTo>
                    <a:pt x="474" y="738"/>
                  </a:lnTo>
                  <a:lnTo>
                    <a:pt x="474" y="744"/>
                  </a:lnTo>
                  <a:lnTo>
                    <a:pt x="474" y="750"/>
                  </a:lnTo>
                  <a:lnTo>
                    <a:pt x="480" y="750"/>
                  </a:lnTo>
                  <a:lnTo>
                    <a:pt x="480" y="756"/>
                  </a:lnTo>
                  <a:lnTo>
                    <a:pt x="492" y="762"/>
                  </a:lnTo>
                  <a:lnTo>
                    <a:pt x="498" y="774"/>
                  </a:lnTo>
                  <a:lnTo>
                    <a:pt x="498" y="780"/>
                  </a:lnTo>
                  <a:lnTo>
                    <a:pt x="504" y="786"/>
                  </a:lnTo>
                  <a:lnTo>
                    <a:pt x="510" y="792"/>
                  </a:lnTo>
                  <a:lnTo>
                    <a:pt x="504" y="798"/>
                  </a:lnTo>
                  <a:lnTo>
                    <a:pt x="504" y="804"/>
                  </a:lnTo>
                  <a:lnTo>
                    <a:pt x="504" y="810"/>
                  </a:lnTo>
                  <a:lnTo>
                    <a:pt x="498" y="822"/>
                  </a:lnTo>
                  <a:lnTo>
                    <a:pt x="492" y="828"/>
                  </a:lnTo>
                  <a:lnTo>
                    <a:pt x="492" y="834"/>
                  </a:lnTo>
                  <a:lnTo>
                    <a:pt x="486" y="840"/>
                  </a:lnTo>
                  <a:lnTo>
                    <a:pt x="480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74" y="858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876"/>
                  </a:lnTo>
                  <a:lnTo>
                    <a:pt x="456" y="894"/>
                  </a:lnTo>
                  <a:lnTo>
                    <a:pt x="450" y="894"/>
                  </a:lnTo>
                  <a:lnTo>
                    <a:pt x="444" y="900"/>
                  </a:lnTo>
                  <a:lnTo>
                    <a:pt x="444" y="894"/>
                  </a:lnTo>
                  <a:lnTo>
                    <a:pt x="438" y="894"/>
                  </a:lnTo>
                  <a:lnTo>
                    <a:pt x="432" y="900"/>
                  </a:lnTo>
                  <a:lnTo>
                    <a:pt x="432" y="906"/>
                  </a:lnTo>
                  <a:lnTo>
                    <a:pt x="420" y="906"/>
                  </a:lnTo>
                  <a:lnTo>
                    <a:pt x="420" y="912"/>
                  </a:lnTo>
                  <a:lnTo>
                    <a:pt x="420" y="918"/>
                  </a:lnTo>
                  <a:lnTo>
                    <a:pt x="426" y="918"/>
                  </a:lnTo>
                  <a:lnTo>
                    <a:pt x="426" y="924"/>
                  </a:lnTo>
                  <a:lnTo>
                    <a:pt x="426" y="930"/>
                  </a:lnTo>
                  <a:lnTo>
                    <a:pt x="420" y="930"/>
                  </a:lnTo>
                  <a:lnTo>
                    <a:pt x="414" y="936"/>
                  </a:lnTo>
                  <a:lnTo>
                    <a:pt x="414" y="942"/>
                  </a:lnTo>
                  <a:lnTo>
                    <a:pt x="414" y="948"/>
                  </a:lnTo>
                  <a:lnTo>
                    <a:pt x="414" y="954"/>
                  </a:lnTo>
                  <a:lnTo>
                    <a:pt x="426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44" y="972"/>
                  </a:lnTo>
                  <a:lnTo>
                    <a:pt x="444" y="978"/>
                  </a:lnTo>
                  <a:lnTo>
                    <a:pt x="450" y="978"/>
                  </a:lnTo>
                  <a:lnTo>
                    <a:pt x="450" y="984"/>
                  </a:lnTo>
                  <a:lnTo>
                    <a:pt x="456" y="990"/>
                  </a:lnTo>
                  <a:lnTo>
                    <a:pt x="456" y="996"/>
                  </a:lnTo>
                  <a:lnTo>
                    <a:pt x="462" y="1008"/>
                  </a:lnTo>
                  <a:lnTo>
                    <a:pt x="468" y="1008"/>
                  </a:lnTo>
                  <a:lnTo>
                    <a:pt x="468" y="1002"/>
                  </a:lnTo>
                  <a:lnTo>
                    <a:pt x="474" y="1008"/>
                  </a:lnTo>
                  <a:lnTo>
                    <a:pt x="480" y="1002"/>
                  </a:lnTo>
                  <a:lnTo>
                    <a:pt x="486" y="1008"/>
                  </a:lnTo>
                  <a:lnTo>
                    <a:pt x="486" y="1014"/>
                  </a:lnTo>
                  <a:lnTo>
                    <a:pt x="492" y="1014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86" y="1026"/>
                  </a:lnTo>
                  <a:lnTo>
                    <a:pt x="492" y="1026"/>
                  </a:lnTo>
                  <a:lnTo>
                    <a:pt x="486" y="1026"/>
                  </a:lnTo>
                  <a:lnTo>
                    <a:pt x="492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5" name="Freeform 30">
              <a:extLst>
                <a:ext uri="{FF2B5EF4-FFF2-40B4-BE49-F238E27FC236}">
                  <a16:creationId xmlns:a16="http://schemas.microsoft.com/office/drawing/2014/main" id="{85C7B827-0C1A-4D72-AEBD-F01CFE7EC12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3645" y="3904484"/>
              <a:ext cx="559048" cy="111825"/>
            </a:xfrm>
            <a:custGeom>
              <a:avLst/>
              <a:gdLst>
                <a:gd name="T0" fmla="*/ 69 w 1056"/>
                <a:gd name="T1" fmla="*/ 7 h 210"/>
                <a:gd name="T2" fmla="*/ 63 w 1056"/>
                <a:gd name="T3" fmla="*/ 5 h 210"/>
                <a:gd name="T4" fmla="*/ 57 w 1056"/>
                <a:gd name="T5" fmla="*/ 5 h 210"/>
                <a:gd name="T6" fmla="*/ 54 w 1056"/>
                <a:gd name="T7" fmla="*/ 6 h 210"/>
                <a:gd name="T8" fmla="*/ 51 w 1056"/>
                <a:gd name="T9" fmla="*/ 7 h 210"/>
                <a:gd name="T10" fmla="*/ 46 w 1056"/>
                <a:gd name="T11" fmla="*/ 9 h 210"/>
                <a:gd name="T12" fmla="*/ 42 w 1056"/>
                <a:gd name="T13" fmla="*/ 8 h 210"/>
                <a:gd name="T14" fmla="*/ 42 w 1056"/>
                <a:gd name="T15" fmla="*/ 5 h 210"/>
                <a:gd name="T16" fmla="*/ 41 w 1056"/>
                <a:gd name="T17" fmla="*/ 7 h 210"/>
                <a:gd name="T18" fmla="*/ 38 w 1056"/>
                <a:gd name="T19" fmla="*/ 10 h 210"/>
                <a:gd name="T20" fmla="*/ 37 w 1056"/>
                <a:gd name="T21" fmla="*/ 12 h 210"/>
                <a:gd name="T22" fmla="*/ 37 w 1056"/>
                <a:gd name="T23" fmla="*/ 15 h 210"/>
                <a:gd name="T24" fmla="*/ 37 w 1056"/>
                <a:gd name="T25" fmla="*/ 16 h 210"/>
                <a:gd name="T26" fmla="*/ 38 w 1056"/>
                <a:gd name="T27" fmla="*/ 16 h 210"/>
                <a:gd name="T28" fmla="*/ 34 w 1056"/>
                <a:gd name="T29" fmla="*/ 16 h 210"/>
                <a:gd name="T30" fmla="*/ 26 w 1056"/>
                <a:gd name="T31" fmla="*/ 16 h 210"/>
                <a:gd name="T32" fmla="*/ 20 w 1056"/>
                <a:gd name="T33" fmla="*/ 17 h 210"/>
                <a:gd name="T34" fmla="*/ 13 w 1056"/>
                <a:gd name="T35" fmla="*/ 17 h 210"/>
                <a:gd name="T36" fmla="*/ 6 w 1056"/>
                <a:gd name="T37" fmla="*/ 17 h 210"/>
                <a:gd name="T38" fmla="*/ 1 w 1056"/>
                <a:gd name="T39" fmla="*/ 18 h 210"/>
                <a:gd name="T40" fmla="*/ 3 w 1056"/>
                <a:gd name="T41" fmla="*/ 14 h 210"/>
                <a:gd name="T42" fmla="*/ 8 w 1056"/>
                <a:gd name="T43" fmla="*/ 15 h 210"/>
                <a:gd name="T44" fmla="*/ 11 w 1056"/>
                <a:gd name="T45" fmla="*/ 12 h 210"/>
                <a:gd name="T46" fmla="*/ 26 w 1056"/>
                <a:gd name="T47" fmla="*/ 10 h 210"/>
                <a:gd name="T48" fmla="*/ 29 w 1056"/>
                <a:gd name="T49" fmla="*/ 5 h 210"/>
                <a:gd name="T50" fmla="*/ 34 w 1056"/>
                <a:gd name="T51" fmla="*/ 1 h 210"/>
                <a:gd name="T52" fmla="*/ 41 w 1056"/>
                <a:gd name="T53" fmla="*/ 3 h 210"/>
                <a:gd name="T54" fmla="*/ 73 w 1056"/>
                <a:gd name="T55" fmla="*/ 1 h 210"/>
                <a:gd name="T56" fmla="*/ 75 w 1056"/>
                <a:gd name="T57" fmla="*/ 4 h 210"/>
                <a:gd name="T58" fmla="*/ 85 w 1056"/>
                <a:gd name="T59" fmla="*/ 15 h 210"/>
                <a:gd name="T60" fmla="*/ 91 w 1056"/>
                <a:gd name="T61" fmla="*/ 18 h 210"/>
                <a:gd name="T62" fmla="*/ 85 w 1056"/>
                <a:gd name="T63" fmla="*/ 18 h 210"/>
                <a:gd name="T64" fmla="*/ 79 w 1056"/>
                <a:gd name="T65" fmla="*/ 16 h 210"/>
                <a:gd name="T66" fmla="*/ 74 w 1056"/>
                <a:gd name="T67" fmla="*/ 16 h 210"/>
                <a:gd name="T68" fmla="*/ 69 w 1056"/>
                <a:gd name="T69" fmla="*/ 15 h 210"/>
                <a:gd name="T70" fmla="*/ 65 w 1056"/>
                <a:gd name="T71" fmla="*/ 14 h 210"/>
                <a:gd name="T72" fmla="*/ 59 w 1056"/>
                <a:gd name="T73" fmla="*/ 15 h 210"/>
                <a:gd name="T74" fmla="*/ 54 w 1056"/>
                <a:gd name="T75" fmla="*/ 15 h 210"/>
                <a:gd name="T76" fmla="*/ 49 w 1056"/>
                <a:gd name="T77" fmla="*/ 15 h 210"/>
                <a:gd name="T78" fmla="*/ 42 w 1056"/>
                <a:gd name="T79" fmla="*/ 15 h 210"/>
                <a:gd name="T80" fmla="*/ 38 w 1056"/>
                <a:gd name="T81" fmla="*/ 16 h 210"/>
                <a:gd name="T82" fmla="*/ 41 w 1056"/>
                <a:gd name="T83" fmla="*/ 14 h 210"/>
                <a:gd name="T84" fmla="*/ 42 w 1056"/>
                <a:gd name="T85" fmla="*/ 13 h 210"/>
                <a:gd name="T86" fmla="*/ 45 w 1056"/>
                <a:gd name="T87" fmla="*/ 13 h 210"/>
                <a:gd name="T88" fmla="*/ 48 w 1056"/>
                <a:gd name="T89" fmla="*/ 12 h 210"/>
                <a:gd name="T90" fmla="*/ 51 w 1056"/>
                <a:gd name="T91" fmla="*/ 11 h 210"/>
                <a:gd name="T92" fmla="*/ 54 w 1056"/>
                <a:gd name="T93" fmla="*/ 9 h 210"/>
                <a:gd name="T94" fmla="*/ 57 w 1056"/>
                <a:gd name="T95" fmla="*/ 8 h 210"/>
                <a:gd name="T96" fmla="*/ 60 w 1056"/>
                <a:gd name="T97" fmla="*/ 5 h 210"/>
                <a:gd name="T98" fmla="*/ 65 w 1056"/>
                <a:gd name="T99" fmla="*/ 5 h 210"/>
                <a:gd name="T100" fmla="*/ 72 w 1056"/>
                <a:gd name="T101" fmla="*/ 7 h 210"/>
                <a:gd name="T102" fmla="*/ 77 w 1056"/>
                <a:gd name="T103" fmla="*/ 11 h 210"/>
                <a:gd name="T104" fmla="*/ 69 w 1056"/>
                <a:gd name="T105" fmla="*/ 10 h 210"/>
                <a:gd name="T106" fmla="*/ 72 w 1056"/>
                <a:gd name="T107" fmla="*/ 12 h 210"/>
                <a:gd name="T108" fmla="*/ 78 w 1056"/>
                <a:gd name="T109" fmla="*/ 15 h 210"/>
                <a:gd name="T110" fmla="*/ 84 w 1056"/>
                <a:gd name="T111" fmla="*/ 14 h 210"/>
                <a:gd name="T112" fmla="*/ 84 w 1056"/>
                <a:gd name="T113" fmla="*/ 14 h 210"/>
                <a:gd name="T114" fmla="*/ 78 w 1056"/>
                <a:gd name="T115" fmla="*/ 13 h 210"/>
                <a:gd name="T116" fmla="*/ 76 w 1056"/>
                <a:gd name="T117" fmla="*/ 14 h 210"/>
                <a:gd name="T118" fmla="*/ 38 w 1056"/>
                <a:gd name="T119" fmla="*/ 12 h 210"/>
                <a:gd name="T120" fmla="*/ 41 w 1056"/>
                <a:gd name="T121" fmla="*/ 12 h 210"/>
                <a:gd name="T122" fmla="*/ 40 w 1056"/>
                <a:gd name="T123" fmla="*/ 14 h 2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6"/>
                <a:gd name="T187" fmla="*/ 0 h 210"/>
                <a:gd name="T188" fmla="*/ 1056 w 1056"/>
                <a:gd name="T189" fmla="*/ 210 h 21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6" h="210">
                  <a:moveTo>
                    <a:pt x="870" y="90"/>
                  </a:moveTo>
                  <a:lnTo>
                    <a:pt x="864" y="90"/>
                  </a:lnTo>
                  <a:lnTo>
                    <a:pt x="852" y="84"/>
                  </a:lnTo>
                  <a:lnTo>
                    <a:pt x="846" y="84"/>
                  </a:lnTo>
                  <a:lnTo>
                    <a:pt x="846" y="78"/>
                  </a:lnTo>
                  <a:lnTo>
                    <a:pt x="840" y="78"/>
                  </a:lnTo>
                  <a:lnTo>
                    <a:pt x="834" y="78"/>
                  </a:lnTo>
                  <a:lnTo>
                    <a:pt x="834" y="72"/>
                  </a:lnTo>
                  <a:lnTo>
                    <a:pt x="804" y="78"/>
                  </a:lnTo>
                  <a:lnTo>
                    <a:pt x="798" y="78"/>
                  </a:lnTo>
                  <a:lnTo>
                    <a:pt x="792" y="72"/>
                  </a:lnTo>
                  <a:lnTo>
                    <a:pt x="780" y="60"/>
                  </a:lnTo>
                  <a:lnTo>
                    <a:pt x="768" y="54"/>
                  </a:lnTo>
                  <a:lnTo>
                    <a:pt x="756" y="54"/>
                  </a:lnTo>
                  <a:lnTo>
                    <a:pt x="750" y="54"/>
                  </a:lnTo>
                  <a:lnTo>
                    <a:pt x="750" y="48"/>
                  </a:lnTo>
                  <a:lnTo>
                    <a:pt x="744" y="48"/>
                  </a:lnTo>
                  <a:lnTo>
                    <a:pt x="738" y="48"/>
                  </a:lnTo>
                  <a:lnTo>
                    <a:pt x="732" y="48"/>
                  </a:lnTo>
                  <a:lnTo>
                    <a:pt x="732" y="54"/>
                  </a:lnTo>
                  <a:lnTo>
                    <a:pt x="726" y="48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48"/>
                  </a:lnTo>
                  <a:lnTo>
                    <a:pt x="702" y="48"/>
                  </a:lnTo>
                  <a:lnTo>
                    <a:pt x="696" y="48"/>
                  </a:lnTo>
                  <a:lnTo>
                    <a:pt x="684" y="48"/>
                  </a:lnTo>
                  <a:lnTo>
                    <a:pt x="678" y="48"/>
                  </a:lnTo>
                  <a:lnTo>
                    <a:pt x="672" y="48"/>
                  </a:lnTo>
                  <a:lnTo>
                    <a:pt x="666" y="54"/>
                  </a:lnTo>
                  <a:lnTo>
                    <a:pt x="660" y="54"/>
                  </a:lnTo>
                  <a:lnTo>
                    <a:pt x="660" y="48"/>
                  </a:lnTo>
                  <a:lnTo>
                    <a:pt x="654" y="48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42" y="54"/>
                  </a:lnTo>
                  <a:lnTo>
                    <a:pt x="63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30" y="66"/>
                  </a:lnTo>
                  <a:lnTo>
                    <a:pt x="624" y="66"/>
                  </a:lnTo>
                  <a:lnTo>
                    <a:pt x="618" y="66"/>
                  </a:lnTo>
                  <a:lnTo>
                    <a:pt x="618" y="72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6" y="84"/>
                  </a:lnTo>
                  <a:lnTo>
                    <a:pt x="600" y="84"/>
                  </a:lnTo>
                  <a:lnTo>
                    <a:pt x="594" y="90"/>
                  </a:lnTo>
                  <a:lnTo>
                    <a:pt x="588" y="90"/>
                  </a:lnTo>
                  <a:lnTo>
                    <a:pt x="588" y="84"/>
                  </a:lnTo>
                  <a:lnTo>
                    <a:pt x="582" y="84"/>
                  </a:lnTo>
                  <a:lnTo>
                    <a:pt x="576" y="84"/>
                  </a:lnTo>
                  <a:lnTo>
                    <a:pt x="570" y="84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58" y="96"/>
                  </a:lnTo>
                  <a:lnTo>
                    <a:pt x="552" y="96"/>
                  </a:lnTo>
                  <a:lnTo>
                    <a:pt x="546" y="102"/>
                  </a:lnTo>
                  <a:lnTo>
                    <a:pt x="540" y="102"/>
                  </a:lnTo>
                  <a:lnTo>
                    <a:pt x="534" y="102"/>
                  </a:lnTo>
                  <a:lnTo>
                    <a:pt x="528" y="102"/>
                  </a:lnTo>
                  <a:lnTo>
                    <a:pt x="528" y="108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16" y="102"/>
                  </a:lnTo>
                  <a:lnTo>
                    <a:pt x="510" y="102"/>
                  </a:lnTo>
                  <a:lnTo>
                    <a:pt x="504" y="102"/>
                  </a:lnTo>
                  <a:lnTo>
                    <a:pt x="498" y="102"/>
                  </a:lnTo>
                  <a:lnTo>
                    <a:pt x="498" y="96"/>
                  </a:lnTo>
                  <a:lnTo>
                    <a:pt x="492" y="96"/>
                  </a:lnTo>
                  <a:lnTo>
                    <a:pt x="492" y="90"/>
                  </a:lnTo>
                  <a:lnTo>
                    <a:pt x="492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498" y="66"/>
                  </a:lnTo>
                  <a:lnTo>
                    <a:pt x="504" y="60"/>
                  </a:lnTo>
                  <a:lnTo>
                    <a:pt x="498" y="60"/>
                  </a:lnTo>
                  <a:lnTo>
                    <a:pt x="498" y="54"/>
                  </a:lnTo>
                  <a:lnTo>
                    <a:pt x="492" y="54"/>
                  </a:lnTo>
                  <a:lnTo>
                    <a:pt x="492" y="60"/>
                  </a:lnTo>
                  <a:lnTo>
                    <a:pt x="486" y="60"/>
                  </a:lnTo>
                  <a:lnTo>
                    <a:pt x="486" y="66"/>
                  </a:lnTo>
                  <a:lnTo>
                    <a:pt x="480" y="66"/>
                  </a:lnTo>
                  <a:lnTo>
                    <a:pt x="474" y="72"/>
                  </a:lnTo>
                  <a:lnTo>
                    <a:pt x="474" y="66"/>
                  </a:lnTo>
                  <a:lnTo>
                    <a:pt x="474" y="72"/>
                  </a:lnTo>
                  <a:lnTo>
                    <a:pt x="468" y="72"/>
                  </a:lnTo>
                  <a:lnTo>
                    <a:pt x="468" y="78"/>
                  </a:lnTo>
                  <a:lnTo>
                    <a:pt x="468" y="84"/>
                  </a:lnTo>
                  <a:lnTo>
                    <a:pt x="462" y="90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0" y="84"/>
                  </a:lnTo>
                  <a:lnTo>
                    <a:pt x="450" y="90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44" y="102"/>
                  </a:lnTo>
                  <a:lnTo>
                    <a:pt x="444" y="108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38" y="126"/>
                  </a:lnTo>
                  <a:lnTo>
                    <a:pt x="438" y="132"/>
                  </a:lnTo>
                  <a:lnTo>
                    <a:pt x="438" y="138"/>
                  </a:lnTo>
                  <a:lnTo>
                    <a:pt x="438" y="144"/>
                  </a:lnTo>
                  <a:lnTo>
                    <a:pt x="432" y="144"/>
                  </a:lnTo>
                  <a:lnTo>
                    <a:pt x="432" y="150"/>
                  </a:lnTo>
                  <a:lnTo>
                    <a:pt x="432" y="144"/>
                  </a:lnTo>
                  <a:lnTo>
                    <a:pt x="426" y="144"/>
                  </a:lnTo>
                  <a:lnTo>
                    <a:pt x="426" y="150"/>
                  </a:lnTo>
                  <a:lnTo>
                    <a:pt x="426" y="156"/>
                  </a:lnTo>
                  <a:lnTo>
                    <a:pt x="432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2"/>
                  </a:lnTo>
                  <a:lnTo>
                    <a:pt x="432" y="168"/>
                  </a:lnTo>
                  <a:lnTo>
                    <a:pt x="426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44" y="168"/>
                  </a:lnTo>
                  <a:lnTo>
                    <a:pt x="444" y="174"/>
                  </a:lnTo>
                  <a:lnTo>
                    <a:pt x="444" y="180"/>
                  </a:lnTo>
                  <a:lnTo>
                    <a:pt x="444" y="186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2" y="192"/>
                  </a:lnTo>
                  <a:lnTo>
                    <a:pt x="426" y="192"/>
                  </a:lnTo>
                  <a:lnTo>
                    <a:pt x="420" y="186"/>
                  </a:lnTo>
                  <a:lnTo>
                    <a:pt x="414" y="186"/>
                  </a:lnTo>
                  <a:lnTo>
                    <a:pt x="408" y="186"/>
                  </a:lnTo>
                  <a:lnTo>
                    <a:pt x="402" y="186"/>
                  </a:lnTo>
                  <a:lnTo>
                    <a:pt x="396" y="186"/>
                  </a:lnTo>
                  <a:lnTo>
                    <a:pt x="390" y="186"/>
                  </a:lnTo>
                  <a:lnTo>
                    <a:pt x="384" y="186"/>
                  </a:lnTo>
                  <a:lnTo>
                    <a:pt x="378" y="186"/>
                  </a:lnTo>
                  <a:lnTo>
                    <a:pt x="372" y="186"/>
                  </a:lnTo>
                  <a:lnTo>
                    <a:pt x="354" y="186"/>
                  </a:lnTo>
                  <a:lnTo>
                    <a:pt x="342" y="186"/>
                  </a:lnTo>
                  <a:lnTo>
                    <a:pt x="324" y="186"/>
                  </a:lnTo>
                  <a:lnTo>
                    <a:pt x="312" y="186"/>
                  </a:lnTo>
                  <a:lnTo>
                    <a:pt x="306" y="186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82" y="186"/>
                  </a:lnTo>
                  <a:lnTo>
                    <a:pt x="270" y="186"/>
                  </a:lnTo>
                  <a:lnTo>
                    <a:pt x="264" y="186"/>
                  </a:lnTo>
                  <a:lnTo>
                    <a:pt x="258" y="192"/>
                  </a:lnTo>
                  <a:lnTo>
                    <a:pt x="258" y="186"/>
                  </a:lnTo>
                  <a:lnTo>
                    <a:pt x="246" y="186"/>
                  </a:lnTo>
                  <a:lnTo>
                    <a:pt x="240" y="186"/>
                  </a:lnTo>
                  <a:lnTo>
                    <a:pt x="234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2"/>
                  </a:lnTo>
                  <a:lnTo>
                    <a:pt x="204" y="192"/>
                  </a:lnTo>
                  <a:lnTo>
                    <a:pt x="198" y="192"/>
                  </a:lnTo>
                  <a:lnTo>
                    <a:pt x="192" y="192"/>
                  </a:lnTo>
                  <a:lnTo>
                    <a:pt x="180" y="192"/>
                  </a:lnTo>
                  <a:lnTo>
                    <a:pt x="168" y="192"/>
                  </a:lnTo>
                  <a:lnTo>
                    <a:pt x="162" y="192"/>
                  </a:lnTo>
                  <a:lnTo>
                    <a:pt x="150" y="192"/>
                  </a:lnTo>
                  <a:lnTo>
                    <a:pt x="138" y="192"/>
                  </a:lnTo>
                  <a:lnTo>
                    <a:pt x="132" y="192"/>
                  </a:lnTo>
                  <a:lnTo>
                    <a:pt x="120" y="192"/>
                  </a:lnTo>
                  <a:lnTo>
                    <a:pt x="114" y="192"/>
                  </a:lnTo>
                  <a:lnTo>
                    <a:pt x="108" y="192"/>
                  </a:lnTo>
                  <a:lnTo>
                    <a:pt x="102" y="192"/>
                  </a:lnTo>
                  <a:lnTo>
                    <a:pt x="90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2" y="198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36" y="198"/>
                  </a:lnTo>
                  <a:lnTo>
                    <a:pt x="30" y="204"/>
                  </a:lnTo>
                  <a:lnTo>
                    <a:pt x="24" y="204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6" y="210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54" y="156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56"/>
                  </a:lnTo>
                  <a:lnTo>
                    <a:pt x="78" y="162"/>
                  </a:lnTo>
                  <a:lnTo>
                    <a:pt x="84" y="162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9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0" y="126"/>
                  </a:lnTo>
                  <a:lnTo>
                    <a:pt x="276" y="120"/>
                  </a:lnTo>
                  <a:lnTo>
                    <a:pt x="282" y="120"/>
                  </a:lnTo>
                  <a:lnTo>
                    <a:pt x="300" y="120"/>
                  </a:lnTo>
                  <a:lnTo>
                    <a:pt x="306" y="114"/>
                  </a:lnTo>
                  <a:lnTo>
                    <a:pt x="312" y="108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8"/>
                  </a:lnTo>
                  <a:lnTo>
                    <a:pt x="342" y="30"/>
                  </a:lnTo>
                  <a:lnTo>
                    <a:pt x="342" y="24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8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24"/>
                  </a:lnTo>
                  <a:lnTo>
                    <a:pt x="414" y="30"/>
                  </a:lnTo>
                  <a:lnTo>
                    <a:pt x="420" y="30"/>
                  </a:lnTo>
                  <a:lnTo>
                    <a:pt x="42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74" y="30"/>
                  </a:lnTo>
                  <a:lnTo>
                    <a:pt x="474" y="18"/>
                  </a:lnTo>
                  <a:lnTo>
                    <a:pt x="474" y="12"/>
                  </a:lnTo>
                  <a:lnTo>
                    <a:pt x="480" y="12"/>
                  </a:lnTo>
                  <a:lnTo>
                    <a:pt x="486" y="12"/>
                  </a:lnTo>
                  <a:lnTo>
                    <a:pt x="606" y="12"/>
                  </a:lnTo>
                  <a:lnTo>
                    <a:pt x="630" y="12"/>
                  </a:lnTo>
                  <a:lnTo>
                    <a:pt x="678" y="12"/>
                  </a:lnTo>
                  <a:lnTo>
                    <a:pt x="744" y="12"/>
                  </a:lnTo>
                  <a:lnTo>
                    <a:pt x="774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2" y="6"/>
                  </a:lnTo>
                  <a:lnTo>
                    <a:pt x="888" y="12"/>
                  </a:lnTo>
                  <a:lnTo>
                    <a:pt x="888" y="24"/>
                  </a:lnTo>
                  <a:lnTo>
                    <a:pt x="888" y="30"/>
                  </a:lnTo>
                  <a:lnTo>
                    <a:pt x="882" y="36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64" y="42"/>
                  </a:lnTo>
                  <a:lnTo>
                    <a:pt x="864" y="48"/>
                  </a:lnTo>
                  <a:lnTo>
                    <a:pt x="858" y="54"/>
                  </a:lnTo>
                  <a:lnTo>
                    <a:pt x="864" y="54"/>
                  </a:lnTo>
                  <a:lnTo>
                    <a:pt x="870" y="72"/>
                  </a:lnTo>
                  <a:lnTo>
                    <a:pt x="870" y="78"/>
                  </a:lnTo>
                  <a:lnTo>
                    <a:pt x="870" y="84"/>
                  </a:lnTo>
                  <a:lnTo>
                    <a:pt x="870" y="90"/>
                  </a:lnTo>
                  <a:close/>
                  <a:moveTo>
                    <a:pt x="972" y="156"/>
                  </a:moveTo>
                  <a:lnTo>
                    <a:pt x="972" y="162"/>
                  </a:lnTo>
                  <a:lnTo>
                    <a:pt x="978" y="162"/>
                  </a:lnTo>
                  <a:lnTo>
                    <a:pt x="984" y="168"/>
                  </a:lnTo>
                  <a:lnTo>
                    <a:pt x="990" y="168"/>
                  </a:lnTo>
                  <a:lnTo>
                    <a:pt x="990" y="162"/>
                  </a:lnTo>
                  <a:lnTo>
                    <a:pt x="1008" y="162"/>
                  </a:lnTo>
                  <a:lnTo>
                    <a:pt x="1020" y="162"/>
                  </a:lnTo>
                  <a:lnTo>
                    <a:pt x="1038" y="162"/>
                  </a:lnTo>
                  <a:lnTo>
                    <a:pt x="1056" y="168"/>
                  </a:lnTo>
                  <a:lnTo>
                    <a:pt x="1056" y="180"/>
                  </a:lnTo>
                  <a:lnTo>
                    <a:pt x="1056" y="186"/>
                  </a:lnTo>
                  <a:lnTo>
                    <a:pt x="1056" y="204"/>
                  </a:lnTo>
                  <a:lnTo>
                    <a:pt x="1050" y="204"/>
                  </a:lnTo>
                  <a:lnTo>
                    <a:pt x="1044" y="204"/>
                  </a:lnTo>
                  <a:lnTo>
                    <a:pt x="1038" y="204"/>
                  </a:lnTo>
                  <a:lnTo>
                    <a:pt x="1032" y="204"/>
                  </a:lnTo>
                  <a:lnTo>
                    <a:pt x="1026" y="204"/>
                  </a:lnTo>
                  <a:lnTo>
                    <a:pt x="1020" y="204"/>
                  </a:lnTo>
                  <a:lnTo>
                    <a:pt x="1014" y="204"/>
                  </a:lnTo>
                  <a:lnTo>
                    <a:pt x="1008" y="204"/>
                  </a:lnTo>
                  <a:lnTo>
                    <a:pt x="1002" y="204"/>
                  </a:lnTo>
                  <a:lnTo>
                    <a:pt x="996" y="204"/>
                  </a:lnTo>
                  <a:lnTo>
                    <a:pt x="984" y="204"/>
                  </a:lnTo>
                  <a:lnTo>
                    <a:pt x="984" y="198"/>
                  </a:lnTo>
                  <a:lnTo>
                    <a:pt x="978" y="198"/>
                  </a:lnTo>
                  <a:lnTo>
                    <a:pt x="966" y="198"/>
                  </a:lnTo>
                  <a:lnTo>
                    <a:pt x="948" y="192"/>
                  </a:lnTo>
                  <a:lnTo>
                    <a:pt x="942" y="192"/>
                  </a:lnTo>
                  <a:lnTo>
                    <a:pt x="936" y="192"/>
                  </a:lnTo>
                  <a:lnTo>
                    <a:pt x="924" y="192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12" y="186"/>
                  </a:lnTo>
                  <a:lnTo>
                    <a:pt x="906" y="186"/>
                  </a:lnTo>
                  <a:lnTo>
                    <a:pt x="900" y="186"/>
                  </a:lnTo>
                  <a:lnTo>
                    <a:pt x="894" y="186"/>
                  </a:lnTo>
                  <a:lnTo>
                    <a:pt x="888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76" y="180"/>
                  </a:lnTo>
                  <a:lnTo>
                    <a:pt x="870" y="180"/>
                  </a:lnTo>
                  <a:lnTo>
                    <a:pt x="864" y="180"/>
                  </a:lnTo>
                  <a:lnTo>
                    <a:pt x="858" y="180"/>
                  </a:lnTo>
                  <a:lnTo>
                    <a:pt x="852" y="180"/>
                  </a:lnTo>
                  <a:lnTo>
                    <a:pt x="852" y="174"/>
                  </a:lnTo>
                  <a:lnTo>
                    <a:pt x="846" y="174"/>
                  </a:lnTo>
                  <a:lnTo>
                    <a:pt x="840" y="174"/>
                  </a:lnTo>
                  <a:lnTo>
                    <a:pt x="834" y="174"/>
                  </a:lnTo>
                  <a:lnTo>
                    <a:pt x="828" y="174"/>
                  </a:lnTo>
                  <a:lnTo>
                    <a:pt x="822" y="174"/>
                  </a:lnTo>
                  <a:lnTo>
                    <a:pt x="816" y="174"/>
                  </a:lnTo>
                  <a:lnTo>
                    <a:pt x="810" y="168"/>
                  </a:lnTo>
                  <a:lnTo>
                    <a:pt x="804" y="168"/>
                  </a:lnTo>
                  <a:lnTo>
                    <a:pt x="798" y="168"/>
                  </a:lnTo>
                  <a:lnTo>
                    <a:pt x="792" y="168"/>
                  </a:lnTo>
                  <a:lnTo>
                    <a:pt x="786" y="168"/>
                  </a:lnTo>
                  <a:lnTo>
                    <a:pt x="780" y="168"/>
                  </a:lnTo>
                  <a:lnTo>
                    <a:pt x="774" y="168"/>
                  </a:lnTo>
                  <a:lnTo>
                    <a:pt x="768" y="168"/>
                  </a:lnTo>
                  <a:lnTo>
                    <a:pt x="762" y="168"/>
                  </a:lnTo>
                  <a:lnTo>
                    <a:pt x="756" y="168"/>
                  </a:lnTo>
                  <a:lnTo>
                    <a:pt x="750" y="168"/>
                  </a:lnTo>
                  <a:lnTo>
                    <a:pt x="750" y="162"/>
                  </a:lnTo>
                  <a:lnTo>
                    <a:pt x="744" y="168"/>
                  </a:lnTo>
                  <a:lnTo>
                    <a:pt x="738" y="162"/>
                  </a:lnTo>
                  <a:lnTo>
                    <a:pt x="732" y="162"/>
                  </a:lnTo>
                  <a:lnTo>
                    <a:pt x="726" y="162"/>
                  </a:lnTo>
                  <a:lnTo>
                    <a:pt x="714" y="162"/>
                  </a:lnTo>
                  <a:lnTo>
                    <a:pt x="702" y="162"/>
                  </a:lnTo>
                  <a:lnTo>
                    <a:pt x="696" y="168"/>
                  </a:lnTo>
                  <a:lnTo>
                    <a:pt x="690" y="168"/>
                  </a:lnTo>
                  <a:lnTo>
                    <a:pt x="684" y="168"/>
                  </a:lnTo>
                  <a:lnTo>
                    <a:pt x="678" y="168"/>
                  </a:lnTo>
                  <a:lnTo>
                    <a:pt x="672" y="168"/>
                  </a:lnTo>
                  <a:lnTo>
                    <a:pt x="666" y="168"/>
                  </a:lnTo>
                  <a:lnTo>
                    <a:pt x="660" y="168"/>
                  </a:lnTo>
                  <a:lnTo>
                    <a:pt x="654" y="168"/>
                  </a:lnTo>
                  <a:lnTo>
                    <a:pt x="648" y="174"/>
                  </a:lnTo>
                  <a:lnTo>
                    <a:pt x="648" y="168"/>
                  </a:lnTo>
                  <a:lnTo>
                    <a:pt x="642" y="174"/>
                  </a:lnTo>
                  <a:lnTo>
                    <a:pt x="636" y="174"/>
                  </a:lnTo>
                  <a:lnTo>
                    <a:pt x="630" y="174"/>
                  </a:lnTo>
                  <a:lnTo>
                    <a:pt x="624" y="174"/>
                  </a:lnTo>
                  <a:lnTo>
                    <a:pt x="618" y="174"/>
                  </a:lnTo>
                  <a:lnTo>
                    <a:pt x="612" y="174"/>
                  </a:lnTo>
                  <a:lnTo>
                    <a:pt x="606" y="174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74"/>
                  </a:lnTo>
                  <a:lnTo>
                    <a:pt x="582" y="174"/>
                  </a:lnTo>
                  <a:lnTo>
                    <a:pt x="576" y="174"/>
                  </a:lnTo>
                  <a:lnTo>
                    <a:pt x="570" y="174"/>
                  </a:lnTo>
                  <a:lnTo>
                    <a:pt x="564" y="174"/>
                  </a:lnTo>
                  <a:lnTo>
                    <a:pt x="558" y="174"/>
                  </a:lnTo>
                  <a:lnTo>
                    <a:pt x="552" y="174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0" y="174"/>
                  </a:lnTo>
                  <a:lnTo>
                    <a:pt x="504" y="174"/>
                  </a:lnTo>
                  <a:lnTo>
                    <a:pt x="498" y="174"/>
                  </a:lnTo>
                  <a:lnTo>
                    <a:pt x="492" y="174"/>
                  </a:lnTo>
                  <a:lnTo>
                    <a:pt x="486" y="174"/>
                  </a:lnTo>
                  <a:lnTo>
                    <a:pt x="480" y="174"/>
                  </a:lnTo>
                  <a:lnTo>
                    <a:pt x="474" y="174"/>
                  </a:lnTo>
                  <a:lnTo>
                    <a:pt x="468" y="174"/>
                  </a:lnTo>
                  <a:lnTo>
                    <a:pt x="462" y="174"/>
                  </a:lnTo>
                  <a:lnTo>
                    <a:pt x="456" y="174"/>
                  </a:lnTo>
                  <a:lnTo>
                    <a:pt x="450" y="180"/>
                  </a:lnTo>
                  <a:lnTo>
                    <a:pt x="450" y="186"/>
                  </a:lnTo>
                  <a:lnTo>
                    <a:pt x="450" y="192"/>
                  </a:lnTo>
                  <a:lnTo>
                    <a:pt x="444" y="192"/>
                  </a:lnTo>
                  <a:lnTo>
                    <a:pt x="444" y="186"/>
                  </a:lnTo>
                  <a:lnTo>
                    <a:pt x="444" y="180"/>
                  </a:lnTo>
                  <a:lnTo>
                    <a:pt x="450" y="180"/>
                  </a:lnTo>
                  <a:lnTo>
                    <a:pt x="450" y="174"/>
                  </a:lnTo>
                  <a:lnTo>
                    <a:pt x="450" y="168"/>
                  </a:lnTo>
                  <a:lnTo>
                    <a:pt x="450" y="162"/>
                  </a:lnTo>
                  <a:lnTo>
                    <a:pt x="456" y="162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62" y="162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74" y="168"/>
                  </a:lnTo>
                  <a:lnTo>
                    <a:pt x="480" y="168"/>
                  </a:lnTo>
                  <a:lnTo>
                    <a:pt x="480" y="162"/>
                  </a:lnTo>
                  <a:lnTo>
                    <a:pt x="480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56"/>
                  </a:lnTo>
                  <a:lnTo>
                    <a:pt x="492" y="156"/>
                  </a:lnTo>
                  <a:lnTo>
                    <a:pt x="486" y="150"/>
                  </a:lnTo>
                  <a:lnTo>
                    <a:pt x="492" y="150"/>
                  </a:lnTo>
                  <a:lnTo>
                    <a:pt x="498" y="150"/>
                  </a:lnTo>
                  <a:lnTo>
                    <a:pt x="498" y="156"/>
                  </a:lnTo>
                  <a:lnTo>
                    <a:pt x="504" y="156"/>
                  </a:lnTo>
                  <a:lnTo>
                    <a:pt x="504" y="162"/>
                  </a:lnTo>
                  <a:lnTo>
                    <a:pt x="504" y="156"/>
                  </a:lnTo>
                  <a:lnTo>
                    <a:pt x="510" y="156"/>
                  </a:lnTo>
                  <a:lnTo>
                    <a:pt x="510" y="150"/>
                  </a:lnTo>
                  <a:lnTo>
                    <a:pt x="516" y="150"/>
                  </a:lnTo>
                  <a:lnTo>
                    <a:pt x="522" y="150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28" y="150"/>
                  </a:lnTo>
                  <a:lnTo>
                    <a:pt x="528" y="144"/>
                  </a:lnTo>
                  <a:lnTo>
                    <a:pt x="540" y="144"/>
                  </a:lnTo>
                  <a:lnTo>
                    <a:pt x="546" y="144"/>
                  </a:lnTo>
                  <a:lnTo>
                    <a:pt x="552" y="138"/>
                  </a:lnTo>
                  <a:lnTo>
                    <a:pt x="552" y="132"/>
                  </a:lnTo>
                  <a:lnTo>
                    <a:pt x="558" y="132"/>
                  </a:lnTo>
                  <a:lnTo>
                    <a:pt x="558" y="126"/>
                  </a:lnTo>
                  <a:lnTo>
                    <a:pt x="558" y="120"/>
                  </a:lnTo>
                  <a:lnTo>
                    <a:pt x="558" y="114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6" y="114"/>
                  </a:lnTo>
                  <a:lnTo>
                    <a:pt x="582" y="120"/>
                  </a:lnTo>
                  <a:lnTo>
                    <a:pt x="588" y="120"/>
                  </a:lnTo>
                  <a:lnTo>
                    <a:pt x="588" y="126"/>
                  </a:lnTo>
                  <a:lnTo>
                    <a:pt x="588" y="120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600" y="114"/>
                  </a:lnTo>
                  <a:lnTo>
                    <a:pt x="606" y="114"/>
                  </a:lnTo>
                  <a:lnTo>
                    <a:pt x="618" y="114"/>
                  </a:lnTo>
                  <a:lnTo>
                    <a:pt x="618" y="108"/>
                  </a:lnTo>
                  <a:lnTo>
                    <a:pt x="624" y="108"/>
                  </a:lnTo>
                  <a:lnTo>
                    <a:pt x="624" y="102"/>
                  </a:lnTo>
                  <a:lnTo>
                    <a:pt x="630" y="102"/>
                  </a:lnTo>
                  <a:lnTo>
                    <a:pt x="636" y="102"/>
                  </a:lnTo>
                  <a:lnTo>
                    <a:pt x="636" y="108"/>
                  </a:lnTo>
                  <a:lnTo>
                    <a:pt x="642" y="108"/>
                  </a:lnTo>
                  <a:lnTo>
                    <a:pt x="648" y="108"/>
                  </a:lnTo>
                  <a:lnTo>
                    <a:pt x="648" y="102"/>
                  </a:lnTo>
                  <a:lnTo>
                    <a:pt x="654" y="102"/>
                  </a:lnTo>
                  <a:lnTo>
                    <a:pt x="660" y="102"/>
                  </a:lnTo>
                  <a:lnTo>
                    <a:pt x="660" y="96"/>
                  </a:lnTo>
                  <a:lnTo>
                    <a:pt x="660" y="90"/>
                  </a:lnTo>
                  <a:lnTo>
                    <a:pt x="666" y="90"/>
                  </a:lnTo>
                  <a:lnTo>
                    <a:pt x="666" y="84"/>
                  </a:lnTo>
                  <a:lnTo>
                    <a:pt x="672" y="78"/>
                  </a:lnTo>
                  <a:lnTo>
                    <a:pt x="672" y="72"/>
                  </a:lnTo>
                  <a:lnTo>
                    <a:pt x="678" y="66"/>
                  </a:lnTo>
                  <a:lnTo>
                    <a:pt x="684" y="66"/>
                  </a:lnTo>
                  <a:lnTo>
                    <a:pt x="684" y="60"/>
                  </a:lnTo>
                  <a:lnTo>
                    <a:pt x="690" y="60"/>
                  </a:lnTo>
                  <a:lnTo>
                    <a:pt x="696" y="60"/>
                  </a:lnTo>
                  <a:lnTo>
                    <a:pt x="702" y="60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66"/>
                  </a:lnTo>
                  <a:lnTo>
                    <a:pt x="720" y="66"/>
                  </a:lnTo>
                  <a:lnTo>
                    <a:pt x="720" y="60"/>
                  </a:lnTo>
                  <a:lnTo>
                    <a:pt x="726" y="60"/>
                  </a:lnTo>
                  <a:lnTo>
                    <a:pt x="732" y="60"/>
                  </a:lnTo>
                  <a:lnTo>
                    <a:pt x="744" y="60"/>
                  </a:lnTo>
                  <a:lnTo>
                    <a:pt x="750" y="54"/>
                  </a:lnTo>
                  <a:lnTo>
                    <a:pt x="762" y="60"/>
                  </a:lnTo>
                  <a:lnTo>
                    <a:pt x="774" y="60"/>
                  </a:lnTo>
                  <a:lnTo>
                    <a:pt x="774" y="66"/>
                  </a:lnTo>
                  <a:lnTo>
                    <a:pt x="780" y="72"/>
                  </a:lnTo>
                  <a:lnTo>
                    <a:pt x="786" y="78"/>
                  </a:lnTo>
                  <a:lnTo>
                    <a:pt x="792" y="78"/>
                  </a:lnTo>
                  <a:lnTo>
                    <a:pt x="810" y="84"/>
                  </a:lnTo>
                  <a:lnTo>
                    <a:pt x="822" y="84"/>
                  </a:lnTo>
                  <a:lnTo>
                    <a:pt x="828" y="84"/>
                  </a:lnTo>
                  <a:lnTo>
                    <a:pt x="834" y="84"/>
                  </a:lnTo>
                  <a:lnTo>
                    <a:pt x="840" y="96"/>
                  </a:lnTo>
                  <a:lnTo>
                    <a:pt x="846" y="102"/>
                  </a:lnTo>
                  <a:lnTo>
                    <a:pt x="858" y="102"/>
                  </a:lnTo>
                  <a:lnTo>
                    <a:pt x="864" y="102"/>
                  </a:lnTo>
                  <a:lnTo>
                    <a:pt x="876" y="96"/>
                  </a:lnTo>
                  <a:lnTo>
                    <a:pt x="882" y="102"/>
                  </a:lnTo>
                  <a:lnTo>
                    <a:pt x="888" y="108"/>
                  </a:lnTo>
                  <a:lnTo>
                    <a:pt x="888" y="114"/>
                  </a:lnTo>
                  <a:lnTo>
                    <a:pt x="888" y="120"/>
                  </a:lnTo>
                  <a:lnTo>
                    <a:pt x="888" y="126"/>
                  </a:lnTo>
                  <a:lnTo>
                    <a:pt x="888" y="132"/>
                  </a:lnTo>
                  <a:lnTo>
                    <a:pt x="882" y="132"/>
                  </a:lnTo>
                  <a:lnTo>
                    <a:pt x="864" y="126"/>
                  </a:lnTo>
                  <a:lnTo>
                    <a:pt x="852" y="120"/>
                  </a:lnTo>
                  <a:lnTo>
                    <a:pt x="840" y="126"/>
                  </a:lnTo>
                  <a:lnTo>
                    <a:pt x="834" y="120"/>
                  </a:lnTo>
                  <a:lnTo>
                    <a:pt x="828" y="120"/>
                  </a:lnTo>
                  <a:lnTo>
                    <a:pt x="822" y="120"/>
                  </a:lnTo>
                  <a:lnTo>
                    <a:pt x="810" y="114"/>
                  </a:lnTo>
                  <a:lnTo>
                    <a:pt x="804" y="114"/>
                  </a:lnTo>
                  <a:lnTo>
                    <a:pt x="798" y="114"/>
                  </a:lnTo>
                  <a:lnTo>
                    <a:pt x="792" y="114"/>
                  </a:lnTo>
                  <a:lnTo>
                    <a:pt x="786" y="114"/>
                  </a:lnTo>
                  <a:lnTo>
                    <a:pt x="780" y="114"/>
                  </a:lnTo>
                  <a:lnTo>
                    <a:pt x="780" y="126"/>
                  </a:lnTo>
                  <a:lnTo>
                    <a:pt x="786" y="126"/>
                  </a:lnTo>
                  <a:lnTo>
                    <a:pt x="798" y="126"/>
                  </a:lnTo>
                  <a:lnTo>
                    <a:pt x="804" y="126"/>
                  </a:lnTo>
                  <a:lnTo>
                    <a:pt x="822" y="132"/>
                  </a:lnTo>
                  <a:lnTo>
                    <a:pt x="828" y="132"/>
                  </a:lnTo>
                  <a:lnTo>
                    <a:pt x="834" y="132"/>
                  </a:lnTo>
                  <a:lnTo>
                    <a:pt x="840" y="144"/>
                  </a:lnTo>
                  <a:lnTo>
                    <a:pt x="846" y="150"/>
                  </a:lnTo>
                  <a:lnTo>
                    <a:pt x="858" y="150"/>
                  </a:lnTo>
                  <a:lnTo>
                    <a:pt x="864" y="162"/>
                  </a:lnTo>
                  <a:lnTo>
                    <a:pt x="870" y="162"/>
                  </a:lnTo>
                  <a:lnTo>
                    <a:pt x="876" y="168"/>
                  </a:lnTo>
                  <a:lnTo>
                    <a:pt x="888" y="168"/>
                  </a:lnTo>
                  <a:lnTo>
                    <a:pt x="894" y="174"/>
                  </a:lnTo>
                  <a:lnTo>
                    <a:pt x="900" y="174"/>
                  </a:lnTo>
                  <a:lnTo>
                    <a:pt x="918" y="174"/>
                  </a:lnTo>
                  <a:lnTo>
                    <a:pt x="924" y="174"/>
                  </a:lnTo>
                  <a:lnTo>
                    <a:pt x="930" y="174"/>
                  </a:lnTo>
                  <a:lnTo>
                    <a:pt x="942" y="174"/>
                  </a:lnTo>
                  <a:lnTo>
                    <a:pt x="954" y="174"/>
                  </a:lnTo>
                  <a:lnTo>
                    <a:pt x="960" y="174"/>
                  </a:lnTo>
                  <a:lnTo>
                    <a:pt x="966" y="174"/>
                  </a:lnTo>
                  <a:lnTo>
                    <a:pt x="966" y="168"/>
                  </a:lnTo>
                  <a:lnTo>
                    <a:pt x="972" y="162"/>
                  </a:lnTo>
                  <a:lnTo>
                    <a:pt x="972" y="156"/>
                  </a:lnTo>
                  <a:close/>
                  <a:moveTo>
                    <a:pt x="942" y="174"/>
                  </a:moveTo>
                  <a:lnTo>
                    <a:pt x="936" y="174"/>
                  </a:lnTo>
                  <a:lnTo>
                    <a:pt x="936" y="168"/>
                  </a:lnTo>
                  <a:lnTo>
                    <a:pt x="936" y="162"/>
                  </a:lnTo>
                  <a:lnTo>
                    <a:pt x="948" y="162"/>
                  </a:lnTo>
                  <a:lnTo>
                    <a:pt x="948" y="156"/>
                  </a:lnTo>
                  <a:lnTo>
                    <a:pt x="954" y="156"/>
                  </a:lnTo>
                  <a:lnTo>
                    <a:pt x="960" y="156"/>
                  </a:lnTo>
                  <a:lnTo>
                    <a:pt x="966" y="156"/>
                  </a:lnTo>
                  <a:lnTo>
                    <a:pt x="966" y="162"/>
                  </a:lnTo>
                  <a:lnTo>
                    <a:pt x="960" y="168"/>
                  </a:lnTo>
                  <a:lnTo>
                    <a:pt x="942" y="174"/>
                  </a:lnTo>
                  <a:close/>
                  <a:moveTo>
                    <a:pt x="900" y="168"/>
                  </a:moveTo>
                  <a:lnTo>
                    <a:pt x="894" y="168"/>
                  </a:lnTo>
                  <a:lnTo>
                    <a:pt x="882" y="156"/>
                  </a:lnTo>
                  <a:lnTo>
                    <a:pt x="882" y="150"/>
                  </a:lnTo>
                  <a:lnTo>
                    <a:pt x="888" y="156"/>
                  </a:lnTo>
                  <a:lnTo>
                    <a:pt x="894" y="150"/>
                  </a:lnTo>
                  <a:lnTo>
                    <a:pt x="900" y="150"/>
                  </a:lnTo>
                  <a:lnTo>
                    <a:pt x="906" y="150"/>
                  </a:lnTo>
                  <a:lnTo>
                    <a:pt x="912" y="150"/>
                  </a:lnTo>
                  <a:lnTo>
                    <a:pt x="924" y="150"/>
                  </a:lnTo>
                  <a:lnTo>
                    <a:pt x="924" y="156"/>
                  </a:lnTo>
                  <a:lnTo>
                    <a:pt x="924" y="162"/>
                  </a:lnTo>
                  <a:lnTo>
                    <a:pt x="924" y="168"/>
                  </a:lnTo>
                  <a:lnTo>
                    <a:pt x="918" y="168"/>
                  </a:lnTo>
                  <a:lnTo>
                    <a:pt x="906" y="168"/>
                  </a:lnTo>
                  <a:lnTo>
                    <a:pt x="900" y="168"/>
                  </a:lnTo>
                  <a:close/>
                  <a:moveTo>
                    <a:pt x="870" y="162"/>
                  </a:moveTo>
                  <a:lnTo>
                    <a:pt x="876" y="162"/>
                  </a:lnTo>
                  <a:lnTo>
                    <a:pt x="876" y="168"/>
                  </a:lnTo>
                  <a:lnTo>
                    <a:pt x="870" y="168"/>
                  </a:lnTo>
                  <a:lnTo>
                    <a:pt x="870" y="162"/>
                  </a:lnTo>
                  <a:close/>
                  <a:moveTo>
                    <a:pt x="450" y="162"/>
                  </a:moveTo>
                  <a:lnTo>
                    <a:pt x="444" y="162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2" y="150"/>
                  </a:lnTo>
                  <a:lnTo>
                    <a:pt x="438" y="150"/>
                  </a:lnTo>
                  <a:lnTo>
                    <a:pt x="438" y="144"/>
                  </a:lnTo>
                  <a:lnTo>
                    <a:pt x="438" y="150"/>
                  </a:lnTo>
                  <a:lnTo>
                    <a:pt x="444" y="150"/>
                  </a:lnTo>
                  <a:lnTo>
                    <a:pt x="450" y="150"/>
                  </a:lnTo>
                  <a:lnTo>
                    <a:pt x="450" y="156"/>
                  </a:lnTo>
                  <a:lnTo>
                    <a:pt x="456" y="156"/>
                  </a:lnTo>
                  <a:lnTo>
                    <a:pt x="456" y="150"/>
                  </a:lnTo>
                  <a:lnTo>
                    <a:pt x="456" y="156"/>
                  </a:lnTo>
                  <a:lnTo>
                    <a:pt x="462" y="150"/>
                  </a:lnTo>
                  <a:lnTo>
                    <a:pt x="462" y="144"/>
                  </a:lnTo>
                  <a:lnTo>
                    <a:pt x="468" y="144"/>
                  </a:lnTo>
                  <a:lnTo>
                    <a:pt x="468" y="150"/>
                  </a:lnTo>
                  <a:lnTo>
                    <a:pt x="474" y="150"/>
                  </a:lnTo>
                  <a:lnTo>
                    <a:pt x="480" y="150"/>
                  </a:lnTo>
                  <a:lnTo>
                    <a:pt x="480" y="156"/>
                  </a:lnTo>
                  <a:lnTo>
                    <a:pt x="480" y="162"/>
                  </a:lnTo>
                  <a:lnTo>
                    <a:pt x="474" y="162"/>
                  </a:lnTo>
                  <a:lnTo>
                    <a:pt x="474" y="168"/>
                  </a:lnTo>
                  <a:lnTo>
                    <a:pt x="474" y="162"/>
                  </a:lnTo>
                  <a:lnTo>
                    <a:pt x="468" y="162"/>
                  </a:lnTo>
                  <a:lnTo>
                    <a:pt x="462" y="162"/>
                  </a:lnTo>
                  <a:lnTo>
                    <a:pt x="456" y="162"/>
                  </a:lnTo>
                  <a:lnTo>
                    <a:pt x="450" y="16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6" name="Freeform 31">
              <a:extLst>
                <a:ext uri="{FF2B5EF4-FFF2-40B4-BE49-F238E27FC236}">
                  <a16:creationId xmlns:a16="http://schemas.microsoft.com/office/drawing/2014/main" id="{0989F057-38E8-4AA5-8B73-27F6355E235C}"/>
                </a:ext>
              </a:extLst>
            </p:cNvPr>
            <p:cNvSpPr>
              <a:spLocks/>
            </p:cNvSpPr>
            <p:nvPr/>
          </p:nvSpPr>
          <p:spPr bwMode="gray">
            <a:xfrm>
              <a:off x="792590" y="2728084"/>
              <a:ext cx="1182944" cy="740282"/>
            </a:xfrm>
            <a:custGeom>
              <a:avLst/>
              <a:gdLst>
                <a:gd name="T0" fmla="*/ 138 w 2226"/>
                <a:gd name="T1" fmla="*/ 121 h 1392"/>
                <a:gd name="T2" fmla="*/ 133 w 2226"/>
                <a:gd name="T3" fmla="*/ 119 h 1392"/>
                <a:gd name="T4" fmla="*/ 128 w 2226"/>
                <a:gd name="T5" fmla="*/ 117 h 1392"/>
                <a:gd name="T6" fmla="*/ 119 w 2226"/>
                <a:gd name="T7" fmla="*/ 116 h 1392"/>
                <a:gd name="T8" fmla="*/ 101 w 2226"/>
                <a:gd name="T9" fmla="*/ 116 h 1392"/>
                <a:gd name="T10" fmla="*/ 94 w 2226"/>
                <a:gd name="T11" fmla="*/ 104 h 1392"/>
                <a:gd name="T12" fmla="*/ 82 w 2226"/>
                <a:gd name="T13" fmla="*/ 83 h 1392"/>
                <a:gd name="T14" fmla="*/ 87 w 2226"/>
                <a:gd name="T15" fmla="*/ 69 h 1392"/>
                <a:gd name="T16" fmla="*/ 82 w 2226"/>
                <a:gd name="T17" fmla="*/ 65 h 1392"/>
                <a:gd name="T18" fmla="*/ 59 w 2226"/>
                <a:gd name="T19" fmla="*/ 57 h 1392"/>
                <a:gd name="T20" fmla="*/ 29 w 2226"/>
                <a:gd name="T21" fmla="*/ 77 h 1392"/>
                <a:gd name="T22" fmla="*/ 20 w 2226"/>
                <a:gd name="T23" fmla="*/ 78 h 1392"/>
                <a:gd name="T24" fmla="*/ 15 w 2226"/>
                <a:gd name="T25" fmla="*/ 82 h 1392"/>
                <a:gd name="T26" fmla="*/ 8 w 2226"/>
                <a:gd name="T27" fmla="*/ 86 h 1392"/>
                <a:gd name="T28" fmla="*/ 1 w 2226"/>
                <a:gd name="T29" fmla="*/ 88 h 1392"/>
                <a:gd name="T30" fmla="*/ 0 w 2226"/>
                <a:gd name="T31" fmla="*/ 82 h 1392"/>
                <a:gd name="T32" fmla="*/ 0 w 2226"/>
                <a:gd name="T33" fmla="*/ 76 h 1392"/>
                <a:gd name="T34" fmla="*/ 2 w 2226"/>
                <a:gd name="T35" fmla="*/ 70 h 1392"/>
                <a:gd name="T36" fmla="*/ 3 w 2226"/>
                <a:gd name="T37" fmla="*/ 65 h 1392"/>
                <a:gd name="T38" fmla="*/ 2 w 2226"/>
                <a:gd name="T39" fmla="*/ 63 h 1392"/>
                <a:gd name="T40" fmla="*/ 9 w 2226"/>
                <a:gd name="T41" fmla="*/ 60 h 1392"/>
                <a:gd name="T42" fmla="*/ 17 w 2226"/>
                <a:gd name="T43" fmla="*/ 59 h 1392"/>
                <a:gd name="T44" fmla="*/ 22 w 2226"/>
                <a:gd name="T45" fmla="*/ 51 h 1392"/>
                <a:gd name="T46" fmla="*/ 23 w 2226"/>
                <a:gd name="T47" fmla="*/ 43 h 1392"/>
                <a:gd name="T48" fmla="*/ 27 w 2226"/>
                <a:gd name="T49" fmla="*/ 34 h 1392"/>
                <a:gd name="T50" fmla="*/ 30 w 2226"/>
                <a:gd name="T51" fmla="*/ 27 h 1392"/>
                <a:gd name="T52" fmla="*/ 33 w 2226"/>
                <a:gd name="T53" fmla="*/ 22 h 1392"/>
                <a:gd name="T54" fmla="*/ 42 w 2226"/>
                <a:gd name="T55" fmla="*/ 17 h 1392"/>
                <a:gd name="T56" fmla="*/ 47 w 2226"/>
                <a:gd name="T57" fmla="*/ 14 h 1392"/>
                <a:gd name="T58" fmla="*/ 49 w 2226"/>
                <a:gd name="T59" fmla="*/ 5 h 1392"/>
                <a:gd name="T60" fmla="*/ 53 w 2226"/>
                <a:gd name="T61" fmla="*/ 0 h 1392"/>
                <a:gd name="T62" fmla="*/ 55 w 2226"/>
                <a:gd name="T63" fmla="*/ 4 h 1392"/>
                <a:gd name="T64" fmla="*/ 59 w 2226"/>
                <a:gd name="T65" fmla="*/ 7 h 1392"/>
                <a:gd name="T66" fmla="*/ 63 w 2226"/>
                <a:gd name="T67" fmla="*/ 7 h 1392"/>
                <a:gd name="T68" fmla="*/ 66 w 2226"/>
                <a:gd name="T69" fmla="*/ 9 h 1392"/>
                <a:gd name="T70" fmla="*/ 67 w 2226"/>
                <a:gd name="T71" fmla="*/ 12 h 1392"/>
                <a:gd name="T72" fmla="*/ 67 w 2226"/>
                <a:gd name="T73" fmla="*/ 13 h 1392"/>
                <a:gd name="T74" fmla="*/ 70 w 2226"/>
                <a:gd name="T75" fmla="*/ 15 h 1392"/>
                <a:gd name="T76" fmla="*/ 74 w 2226"/>
                <a:gd name="T77" fmla="*/ 17 h 1392"/>
                <a:gd name="T78" fmla="*/ 78 w 2226"/>
                <a:gd name="T79" fmla="*/ 18 h 1392"/>
                <a:gd name="T80" fmla="*/ 97 w 2226"/>
                <a:gd name="T81" fmla="*/ 40 h 1392"/>
                <a:gd name="T82" fmla="*/ 102 w 2226"/>
                <a:gd name="T83" fmla="*/ 44 h 1392"/>
                <a:gd name="T84" fmla="*/ 110 w 2226"/>
                <a:gd name="T85" fmla="*/ 49 h 1392"/>
                <a:gd name="T86" fmla="*/ 113 w 2226"/>
                <a:gd name="T87" fmla="*/ 53 h 1392"/>
                <a:gd name="T88" fmla="*/ 118 w 2226"/>
                <a:gd name="T89" fmla="*/ 57 h 1392"/>
                <a:gd name="T90" fmla="*/ 124 w 2226"/>
                <a:gd name="T91" fmla="*/ 54 h 1392"/>
                <a:gd name="T92" fmla="*/ 133 w 2226"/>
                <a:gd name="T93" fmla="*/ 58 h 1392"/>
                <a:gd name="T94" fmla="*/ 137 w 2226"/>
                <a:gd name="T95" fmla="*/ 64 h 1392"/>
                <a:gd name="T96" fmla="*/ 145 w 2226"/>
                <a:gd name="T97" fmla="*/ 65 h 1392"/>
                <a:gd name="T98" fmla="*/ 152 w 2226"/>
                <a:gd name="T99" fmla="*/ 67 h 1392"/>
                <a:gd name="T100" fmla="*/ 161 w 2226"/>
                <a:gd name="T101" fmla="*/ 72 h 1392"/>
                <a:gd name="T102" fmla="*/ 168 w 2226"/>
                <a:gd name="T103" fmla="*/ 76 h 1392"/>
                <a:gd name="T104" fmla="*/ 177 w 2226"/>
                <a:gd name="T105" fmla="*/ 78 h 1392"/>
                <a:gd name="T106" fmla="*/ 184 w 2226"/>
                <a:gd name="T107" fmla="*/ 78 h 1392"/>
                <a:gd name="T108" fmla="*/ 190 w 2226"/>
                <a:gd name="T109" fmla="*/ 81 h 1392"/>
                <a:gd name="T110" fmla="*/ 192 w 2226"/>
                <a:gd name="T111" fmla="*/ 86 h 1392"/>
                <a:gd name="T112" fmla="*/ 187 w 2226"/>
                <a:gd name="T113" fmla="*/ 99 h 1392"/>
                <a:gd name="T114" fmla="*/ 165 w 2226"/>
                <a:gd name="T115" fmla="*/ 97 h 1392"/>
                <a:gd name="T116" fmla="*/ 155 w 2226"/>
                <a:gd name="T117" fmla="*/ 92 h 1392"/>
                <a:gd name="T118" fmla="*/ 146 w 2226"/>
                <a:gd name="T119" fmla="*/ 102 h 1392"/>
                <a:gd name="T120" fmla="*/ 149 w 2226"/>
                <a:gd name="T121" fmla="*/ 106 h 1392"/>
                <a:gd name="T122" fmla="*/ 151 w 2226"/>
                <a:gd name="T123" fmla="*/ 108 h 1392"/>
                <a:gd name="T124" fmla="*/ 157 w 2226"/>
                <a:gd name="T125" fmla="*/ 113 h 13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1392"/>
                <a:gd name="T191" fmla="*/ 2226 w 2226"/>
                <a:gd name="T192" fmla="*/ 1392 h 13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1392">
                  <a:moveTo>
                    <a:pt x="1782" y="1326"/>
                  </a:moveTo>
                  <a:lnTo>
                    <a:pt x="1776" y="1332"/>
                  </a:lnTo>
                  <a:lnTo>
                    <a:pt x="1692" y="1338"/>
                  </a:lnTo>
                  <a:lnTo>
                    <a:pt x="1680" y="1386"/>
                  </a:lnTo>
                  <a:lnTo>
                    <a:pt x="1674" y="1392"/>
                  </a:lnTo>
                  <a:lnTo>
                    <a:pt x="1638" y="1392"/>
                  </a:lnTo>
                  <a:lnTo>
                    <a:pt x="1620" y="1392"/>
                  </a:lnTo>
                  <a:lnTo>
                    <a:pt x="1614" y="1392"/>
                  </a:lnTo>
                  <a:lnTo>
                    <a:pt x="1608" y="1386"/>
                  </a:lnTo>
                  <a:lnTo>
                    <a:pt x="1584" y="1386"/>
                  </a:lnTo>
                  <a:lnTo>
                    <a:pt x="1578" y="1386"/>
                  </a:lnTo>
                  <a:lnTo>
                    <a:pt x="1572" y="1380"/>
                  </a:lnTo>
                  <a:lnTo>
                    <a:pt x="1578" y="1356"/>
                  </a:lnTo>
                  <a:lnTo>
                    <a:pt x="1572" y="1356"/>
                  </a:lnTo>
                  <a:lnTo>
                    <a:pt x="1560" y="1350"/>
                  </a:lnTo>
                  <a:lnTo>
                    <a:pt x="1554" y="1350"/>
                  </a:lnTo>
                  <a:lnTo>
                    <a:pt x="1542" y="1350"/>
                  </a:lnTo>
                  <a:lnTo>
                    <a:pt x="1530" y="1350"/>
                  </a:lnTo>
                  <a:lnTo>
                    <a:pt x="1524" y="1356"/>
                  </a:lnTo>
                  <a:lnTo>
                    <a:pt x="1524" y="1362"/>
                  </a:lnTo>
                  <a:lnTo>
                    <a:pt x="1512" y="1374"/>
                  </a:lnTo>
                  <a:lnTo>
                    <a:pt x="1506" y="1374"/>
                  </a:lnTo>
                  <a:lnTo>
                    <a:pt x="1500" y="1368"/>
                  </a:lnTo>
                  <a:lnTo>
                    <a:pt x="1500" y="1362"/>
                  </a:lnTo>
                  <a:lnTo>
                    <a:pt x="1488" y="1362"/>
                  </a:lnTo>
                  <a:lnTo>
                    <a:pt x="1482" y="1356"/>
                  </a:lnTo>
                  <a:lnTo>
                    <a:pt x="1482" y="1350"/>
                  </a:lnTo>
                  <a:lnTo>
                    <a:pt x="1476" y="1350"/>
                  </a:lnTo>
                  <a:lnTo>
                    <a:pt x="1470" y="1344"/>
                  </a:lnTo>
                  <a:lnTo>
                    <a:pt x="1464" y="1344"/>
                  </a:lnTo>
                  <a:lnTo>
                    <a:pt x="1452" y="1350"/>
                  </a:lnTo>
                  <a:lnTo>
                    <a:pt x="1452" y="1356"/>
                  </a:lnTo>
                  <a:lnTo>
                    <a:pt x="1440" y="1356"/>
                  </a:lnTo>
                  <a:lnTo>
                    <a:pt x="1434" y="1344"/>
                  </a:lnTo>
                  <a:lnTo>
                    <a:pt x="1422" y="1332"/>
                  </a:lnTo>
                  <a:lnTo>
                    <a:pt x="1416" y="1326"/>
                  </a:lnTo>
                  <a:lnTo>
                    <a:pt x="1404" y="1320"/>
                  </a:lnTo>
                  <a:lnTo>
                    <a:pt x="1404" y="1314"/>
                  </a:lnTo>
                  <a:lnTo>
                    <a:pt x="1374" y="1308"/>
                  </a:lnTo>
                  <a:lnTo>
                    <a:pt x="1368" y="1326"/>
                  </a:lnTo>
                  <a:lnTo>
                    <a:pt x="1344" y="1338"/>
                  </a:lnTo>
                  <a:lnTo>
                    <a:pt x="1326" y="1332"/>
                  </a:lnTo>
                  <a:lnTo>
                    <a:pt x="1302" y="1332"/>
                  </a:lnTo>
                  <a:lnTo>
                    <a:pt x="1278" y="1338"/>
                  </a:lnTo>
                  <a:lnTo>
                    <a:pt x="1236" y="1338"/>
                  </a:lnTo>
                  <a:lnTo>
                    <a:pt x="1224" y="1338"/>
                  </a:lnTo>
                  <a:lnTo>
                    <a:pt x="1224" y="1326"/>
                  </a:lnTo>
                  <a:lnTo>
                    <a:pt x="1206" y="1326"/>
                  </a:lnTo>
                  <a:lnTo>
                    <a:pt x="1170" y="1326"/>
                  </a:lnTo>
                  <a:lnTo>
                    <a:pt x="1152" y="1326"/>
                  </a:lnTo>
                  <a:lnTo>
                    <a:pt x="1140" y="1314"/>
                  </a:lnTo>
                  <a:lnTo>
                    <a:pt x="1134" y="1296"/>
                  </a:lnTo>
                  <a:lnTo>
                    <a:pt x="1134" y="1284"/>
                  </a:lnTo>
                  <a:lnTo>
                    <a:pt x="1128" y="1254"/>
                  </a:lnTo>
                  <a:lnTo>
                    <a:pt x="1128" y="1242"/>
                  </a:lnTo>
                  <a:lnTo>
                    <a:pt x="1122" y="1230"/>
                  </a:lnTo>
                  <a:lnTo>
                    <a:pt x="1104" y="1218"/>
                  </a:lnTo>
                  <a:lnTo>
                    <a:pt x="1104" y="1212"/>
                  </a:lnTo>
                  <a:lnTo>
                    <a:pt x="1092" y="1206"/>
                  </a:lnTo>
                  <a:lnTo>
                    <a:pt x="1080" y="1194"/>
                  </a:lnTo>
                  <a:lnTo>
                    <a:pt x="1068" y="1176"/>
                  </a:lnTo>
                  <a:lnTo>
                    <a:pt x="1050" y="1152"/>
                  </a:lnTo>
                  <a:lnTo>
                    <a:pt x="1020" y="1098"/>
                  </a:lnTo>
                  <a:lnTo>
                    <a:pt x="978" y="1026"/>
                  </a:lnTo>
                  <a:lnTo>
                    <a:pt x="978" y="1014"/>
                  </a:lnTo>
                  <a:lnTo>
                    <a:pt x="972" y="1014"/>
                  </a:lnTo>
                  <a:lnTo>
                    <a:pt x="972" y="1008"/>
                  </a:lnTo>
                  <a:lnTo>
                    <a:pt x="978" y="1002"/>
                  </a:lnTo>
                  <a:lnTo>
                    <a:pt x="960" y="966"/>
                  </a:lnTo>
                  <a:lnTo>
                    <a:pt x="948" y="954"/>
                  </a:lnTo>
                  <a:lnTo>
                    <a:pt x="948" y="936"/>
                  </a:lnTo>
                  <a:lnTo>
                    <a:pt x="936" y="900"/>
                  </a:lnTo>
                  <a:lnTo>
                    <a:pt x="942" y="876"/>
                  </a:lnTo>
                  <a:lnTo>
                    <a:pt x="942" y="834"/>
                  </a:lnTo>
                  <a:lnTo>
                    <a:pt x="960" y="828"/>
                  </a:lnTo>
                  <a:lnTo>
                    <a:pt x="966" y="816"/>
                  </a:lnTo>
                  <a:lnTo>
                    <a:pt x="972" y="810"/>
                  </a:lnTo>
                  <a:lnTo>
                    <a:pt x="978" y="804"/>
                  </a:lnTo>
                  <a:lnTo>
                    <a:pt x="996" y="798"/>
                  </a:lnTo>
                  <a:lnTo>
                    <a:pt x="996" y="792"/>
                  </a:lnTo>
                  <a:lnTo>
                    <a:pt x="1014" y="780"/>
                  </a:lnTo>
                  <a:lnTo>
                    <a:pt x="1026" y="768"/>
                  </a:lnTo>
                  <a:lnTo>
                    <a:pt x="1032" y="762"/>
                  </a:lnTo>
                  <a:lnTo>
                    <a:pt x="1026" y="756"/>
                  </a:lnTo>
                  <a:lnTo>
                    <a:pt x="1014" y="744"/>
                  </a:lnTo>
                  <a:lnTo>
                    <a:pt x="996" y="756"/>
                  </a:lnTo>
                  <a:lnTo>
                    <a:pt x="954" y="768"/>
                  </a:lnTo>
                  <a:lnTo>
                    <a:pt x="942" y="762"/>
                  </a:lnTo>
                  <a:lnTo>
                    <a:pt x="942" y="756"/>
                  </a:lnTo>
                  <a:lnTo>
                    <a:pt x="936" y="750"/>
                  </a:lnTo>
                  <a:lnTo>
                    <a:pt x="846" y="732"/>
                  </a:lnTo>
                  <a:lnTo>
                    <a:pt x="822" y="726"/>
                  </a:lnTo>
                  <a:lnTo>
                    <a:pt x="810" y="714"/>
                  </a:lnTo>
                  <a:lnTo>
                    <a:pt x="792" y="690"/>
                  </a:lnTo>
                  <a:lnTo>
                    <a:pt x="792" y="678"/>
                  </a:lnTo>
                  <a:lnTo>
                    <a:pt x="762" y="642"/>
                  </a:lnTo>
                  <a:lnTo>
                    <a:pt x="750" y="636"/>
                  </a:lnTo>
                  <a:lnTo>
                    <a:pt x="726" y="630"/>
                  </a:lnTo>
                  <a:lnTo>
                    <a:pt x="696" y="642"/>
                  </a:lnTo>
                  <a:lnTo>
                    <a:pt x="678" y="654"/>
                  </a:lnTo>
                  <a:lnTo>
                    <a:pt x="666" y="684"/>
                  </a:lnTo>
                  <a:lnTo>
                    <a:pt x="660" y="726"/>
                  </a:lnTo>
                  <a:lnTo>
                    <a:pt x="606" y="756"/>
                  </a:lnTo>
                  <a:lnTo>
                    <a:pt x="558" y="780"/>
                  </a:lnTo>
                  <a:lnTo>
                    <a:pt x="438" y="834"/>
                  </a:lnTo>
                  <a:lnTo>
                    <a:pt x="402" y="846"/>
                  </a:lnTo>
                  <a:lnTo>
                    <a:pt x="372" y="870"/>
                  </a:lnTo>
                  <a:lnTo>
                    <a:pt x="360" y="876"/>
                  </a:lnTo>
                  <a:lnTo>
                    <a:pt x="354" y="876"/>
                  </a:lnTo>
                  <a:lnTo>
                    <a:pt x="330" y="882"/>
                  </a:lnTo>
                  <a:lnTo>
                    <a:pt x="306" y="882"/>
                  </a:lnTo>
                  <a:lnTo>
                    <a:pt x="300" y="876"/>
                  </a:lnTo>
                  <a:lnTo>
                    <a:pt x="294" y="876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76" y="864"/>
                  </a:lnTo>
                  <a:lnTo>
                    <a:pt x="270" y="870"/>
                  </a:lnTo>
                  <a:lnTo>
                    <a:pt x="264" y="870"/>
                  </a:lnTo>
                  <a:lnTo>
                    <a:pt x="240" y="894"/>
                  </a:lnTo>
                  <a:lnTo>
                    <a:pt x="234" y="894"/>
                  </a:lnTo>
                  <a:lnTo>
                    <a:pt x="228" y="900"/>
                  </a:lnTo>
                  <a:lnTo>
                    <a:pt x="222" y="906"/>
                  </a:lnTo>
                  <a:lnTo>
                    <a:pt x="210" y="912"/>
                  </a:lnTo>
                  <a:lnTo>
                    <a:pt x="204" y="912"/>
                  </a:lnTo>
                  <a:lnTo>
                    <a:pt x="198" y="912"/>
                  </a:lnTo>
                  <a:lnTo>
                    <a:pt x="192" y="918"/>
                  </a:lnTo>
                  <a:lnTo>
                    <a:pt x="180" y="918"/>
                  </a:lnTo>
                  <a:lnTo>
                    <a:pt x="174" y="930"/>
                  </a:lnTo>
                  <a:lnTo>
                    <a:pt x="174" y="936"/>
                  </a:lnTo>
                  <a:lnTo>
                    <a:pt x="168" y="942"/>
                  </a:lnTo>
                  <a:lnTo>
                    <a:pt x="162" y="942"/>
                  </a:lnTo>
                  <a:lnTo>
                    <a:pt x="150" y="960"/>
                  </a:lnTo>
                  <a:lnTo>
                    <a:pt x="144" y="966"/>
                  </a:lnTo>
                  <a:lnTo>
                    <a:pt x="138" y="972"/>
                  </a:lnTo>
                  <a:lnTo>
                    <a:pt x="132" y="972"/>
                  </a:lnTo>
                  <a:lnTo>
                    <a:pt x="126" y="984"/>
                  </a:lnTo>
                  <a:lnTo>
                    <a:pt x="120" y="984"/>
                  </a:lnTo>
                  <a:lnTo>
                    <a:pt x="114" y="990"/>
                  </a:lnTo>
                  <a:lnTo>
                    <a:pt x="96" y="990"/>
                  </a:lnTo>
                  <a:lnTo>
                    <a:pt x="90" y="990"/>
                  </a:lnTo>
                  <a:lnTo>
                    <a:pt x="78" y="990"/>
                  </a:lnTo>
                  <a:lnTo>
                    <a:pt x="72" y="990"/>
                  </a:lnTo>
                  <a:lnTo>
                    <a:pt x="60" y="990"/>
                  </a:lnTo>
                  <a:lnTo>
                    <a:pt x="42" y="990"/>
                  </a:lnTo>
                  <a:lnTo>
                    <a:pt x="36" y="996"/>
                  </a:lnTo>
                  <a:lnTo>
                    <a:pt x="30" y="1002"/>
                  </a:lnTo>
                  <a:lnTo>
                    <a:pt x="24" y="1014"/>
                  </a:lnTo>
                  <a:lnTo>
                    <a:pt x="24" y="1020"/>
                  </a:lnTo>
                  <a:lnTo>
                    <a:pt x="18" y="1020"/>
                  </a:lnTo>
                  <a:lnTo>
                    <a:pt x="12" y="1014"/>
                  </a:lnTo>
                  <a:lnTo>
                    <a:pt x="12" y="1008"/>
                  </a:lnTo>
                  <a:lnTo>
                    <a:pt x="12" y="990"/>
                  </a:lnTo>
                  <a:lnTo>
                    <a:pt x="12" y="984"/>
                  </a:lnTo>
                  <a:lnTo>
                    <a:pt x="12" y="972"/>
                  </a:lnTo>
                  <a:lnTo>
                    <a:pt x="12" y="966"/>
                  </a:lnTo>
                  <a:lnTo>
                    <a:pt x="6" y="966"/>
                  </a:lnTo>
                  <a:lnTo>
                    <a:pt x="6" y="960"/>
                  </a:lnTo>
                  <a:lnTo>
                    <a:pt x="6" y="954"/>
                  </a:lnTo>
                  <a:lnTo>
                    <a:pt x="6" y="948"/>
                  </a:lnTo>
                  <a:lnTo>
                    <a:pt x="6" y="942"/>
                  </a:lnTo>
                  <a:lnTo>
                    <a:pt x="12" y="930"/>
                  </a:lnTo>
                  <a:lnTo>
                    <a:pt x="6" y="924"/>
                  </a:lnTo>
                  <a:lnTo>
                    <a:pt x="6" y="918"/>
                  </a:lnTo>
                  <a:lnTo>
                    <a:pt x="6" y="912"/>
                  </a:lnTo>
                  <a:lnTo>
                    <a:pt x="6" y="906"/>
                  </a:lnTo>
                  <a:lnTo>
                    <a:pt x="6" y="900"/>
                  </a:lnTo>
                  <a:lnTo>
                    <a:pt x="0" y="894"/>
                  </a:lnTo>
                  <a:lnTo>
                    <a:pt x="0" y="888"/>
                  </a:lnTo>
                  <a:lnTo>
                    <a:pt x="0" y="882"/>
                  </a:lnTo>
                  <a:lnTo>
                    <a:pt x="6" y="876"/>
                  </a:lnTo>
                  <a:lnTo>
                    <a:pt x="6" y="870"/>
                  </a:lnTo>
                  <a:lnTo>
                    <a:pt x="18" y="864"/>
                  </a:lnTo>
                  <a:lnTo>
                    <a:pt x="18" y="858"/>
                  </a:lnTo>
                  <a:lnTo>
                    <a:pt x="18" y="846"/>
                  </a:lnTo>
                  <a:lnTo>
                    <a:pt x="18" y="834"/>
                  </a:lnTo>
                  <a:lnTo>
                    <a:pt x="18" y="828"/>
                  </a:lnTo>
                  <a:lnTo>
                    <a:pt x="24" y="828"/>
                  </a:lnTo>
                  <a:lnTo>
                    <a:pt x="24" y="810"/>
                  </a:lnTo>
                  <a:lnTo>
                    <a:pt x="24" y="804"/>
                  </a:lnTo>
                  <a:lnTo>
                    <a:pt x="18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24" y="792"/>
                  </a:lnTo>
                  <a:lnTo>
                    <a:pt x="30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6" y="762"/>
                  </a:lnTo>
                  <a:lnTo>
                    <a:pt x="36" y="756"/>
                  </a:lnTo>
                  <a:lnTo>
                    <a:pt x="30" y="756"/>
                  </a:lnTo>
                  <a:lnTo>
                    <a:pt x="30" y="750"/>
                  </a:lnTo>
                  <a:lnTo>
                    <a:pt x="36" y="750"/>
                  </a:lnTo>
                  <a:lnTo>
                    <a:pt x="36" y="744"/>
                  </a:lnTo>
                  <a:lnTo>
                    <a:pt x="30" y="744"/>
                  </a:lnTo>
                  <a:lnTo>
                    <a:pt x="30" y="738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0" y="732"/>
                  </a:lnTo>
                  <a:lnTo>
                    <a:pt x="36" y="726"/>
                  </a:lnTo>
                  <a:lnTo>
                    <a:pt x="30" y="726"/>
                  </a:lnTo>
                  <a:lnTo>
                    <a:pt x="24" y="726"/>
                  </a:lnTo>
                  <a:lnTo>
                    <a:pt x="30" y="720"/>
                  </a:lnTo>
                  <a:lnTo>
                    <a:pt x="30" y="714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696"/>
                  </a:lnTo>
                  <a:lnTo>
                    <a:pt x="66" y="702"/>
                  </a:lnTo>
                  <a:lnTo>
                    <a:pt x="78" y="702"/>
                  </a:lnTo>
                  <a:lnTo>
                    <a:pt x="84" y="702"/>
                  </a:lnTo>
                  <a:lnTo>
                    <a:pt x="96" y="696"/>
                  </a:lnTo>
                  <a:lnTo>
                    <a:pt x="102" y="690"/>
                  </a:lnTo>
                  <a:lnTo>
                    <a:pt x="102" y="684"/>
                  </a:lnTo>
                  <a:lnTo>
                    <a:pt x="114" y="684"/>
                  </a:lnTo>
                  <a:lnTo>
                    <a:pt x="144" y="684"/>
                  </a:lnTo>
                  <a:lnTo>
                    <a:pt x="150" y="690"/>
                  </a:lnTo>
                  <a:lnTo>
                    <a:pt x="162" y="696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6" y="690"/>
                  </a:lnTo>
                  <a:lnTo>
                    <a:pt x="192" y="690"/>
                  </a:lnTo>
                  <a:lnTo>
                    <a:pt x="198" y="684"/>
                  </a:lnTo>
                  <a:lnTo>
                    <a:pt x="204" y="684"/>
                  </a:lnTo>
                  <a:lnTo>
                    <a:pt x="210" y="684"/>
                  </a:lnTo>
                  <a:lnTo>
                    <a:pt x="222" y="678"/>
                  </a:lnTo>
                  <a:lnTo>
                    <a:pt x="228" y="678"/>
                  </a:lnTo>
                  <a:lnTo>
                    <a:pt x="228" y="660"/>
                  </a:lnTo>
                  <a:lnTo>
                    <a:pt x="234" y="642"/>
                  </a:lnTo>
                  <a:lnTo>
                    <a:pt x="246" y="618"/>
                  </a:lnTo>
                  <a:lnTo>
                    <a:pt x="252" y="618"/>
                  </a:lnTo>
                  <a:lnTo>
                    <a:pt x="252" y="600"/>
                  </a:lnTo>
                  <a:lnTo>
                    <a:pt x="252" y="588"/>
                  </a:lnTo>
                  <a:lnTo>
                    <a:pt x="252" y="582"/>
                  </a:lnTo>
                  <a:lnTo>
                    <a:pt x="258" y="576"/>
                  </a:lnTo>
                  <a:lnTo>
                    <a:pt x="270" y="564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70" y="522"/>
                  </a:lnTo>
                  <a:lnTo>
                    <a:pt x="270" y="510"/>
                  </a:lnTo>
                  <a:lnTo>
                    <a:pt x="270" y="498"/>
                  </a:lnTo>
                  <a:lnTo>
                    <a:pt x="258" y="468"/>
                  </a:lnTo>
                  <a:lnTo>
                    <a:pt x="252" y="456"/>
                  </a:lnTo>
                  <a:lnTo>
                    <a:pt x="258" y="444"/>
                  </a:lnTo>
                  <a:lnTo>
                    <a:pt x="264" y="432"/>
                  </a:lnTo>
                  <a:lnTo>
                    <a:pt x="270" y="426"/>
                  </a:lnTo>
                  <a:lnTo>
                    <a:pt x="276" y="420"/>
                  </a:lnTo>
                  <a:lnTo>
                    <a:pt x="288" y="420"/>
                  </a:lnTo>
                  <a:lnTo>
                    <a:pt x="288" y="414"/>
                  </a:lnTo>
                  <a:lnTo>
                    <a:pt x="294" y="414"/>
                  </a:lnTo>
                  <a:lnTo>
                    <a:pt x="306" y="390"/>
                  </a:lnTo>
                  <a:lnTo>
                    <a:pt x="312" y="384"/>
                  </a:lnTo>
                  <a:lnTo>
                    <a:pt x="318" y="378"/>
                  </a:lnTo>
                  <a:lnTo>
                    <a:pt x="318" y="372"/>
                  </a:lnTo>
                  <a:lnTo>
                    <a:pt x="324" y="366"/>
                  </a:lnTo>
                  <a:lnTo>
                    <a:pt x="330" y="354"/>
                  </a:lnTo>
                  <a:lnTo>
                    <a:pt x="336" y="348"/>
                  </a:lnTo>
                  <a:lnTo>
                    <a:pt x="336" y="330"/>
                  </a:lnTo>
                  <a:lnTo>
                    <a:pt x="342" y="324"/>
                  </a:lnTo>
                  <a:lnTo>
                    <a:pt x="342" y="318"/>
                  </a:lnTo>
                  <a:lnTo>
                    <a:pt x="348" y="318"/>
                  </a:lnTo>
                  <a:lnTo>
                    <a:pt x="360" y="318"/>
                  </a:lnTo>
                  <a:lnTo>
                    <a:pt x="372" y="318"/>
                  </a:lnTo>
                  <a:lnTo>
                    <a:pt x="384" y="306"/>
                  </a:lnTo>
                  <a:lnTo>
                    <a:pt x="396" y="300"/>
                  </a:lnTo>
                  <a:lnTo>
                    <a:pt x="396" y="294"/>
                  </a:lnTo>
                  <a:lnTo>
                    <a:pt x="396" y="288"/>
                  </a:lnTo>
                  <a:lnTo>
                    <a:pt x="390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2"/>
                  </a:lnTo>
                  <a:lnTo>
                    <a:pt x="378" y="246"/>
                  </a:lnTo>
                  <a:lnTo>
                    <a:pt x="384" y="228"/>
                  </a:lnTo>
                  <a:lnTo>
                    <a:pt x="390" y="216"/>
                  </a:lnTo>
                  <a:lnTo>
                    <a:pt x="402" y="210"/>
                  </a:lnTo>
                  <a:lnTo>
                    <a:pt x="408" y="210"/>
                  </a:lnTo>
                  <a:lnTo>
                    <a:pt x="420" y="204"/>
                  </a:lnTo>
                  <a:lnTo>
                    <a:pt x="444" y="198"/>
                  </a:lnTo>
                  <a:lnTo>
                    <a:pt x="462" y="192"/>
                  </a:lnTo>
                  <a:lnTo>
                    <a:pt x="474" y="186"/>
                  </a:lnTo>
                  <a:lnTo>
                    <a:pt x="480" y="192"/>
                  </a:lnTo>
                  <a:lnTo>
                    <a:pt x="492" y="192"/>
                  </a:lnTo>
                  <a:lnTo>
                    <a:pt x="498" y="192"/>
                  </a:lnTo>
                  <a:lnTo>
                    <a:pt x="504" y="192"/>
                  </a:lnTo>
                  <a:lnTo>
                    <a:pt x="510" y="192"/>
                  </a:lnTo>
                  <a:lnTo>
                    <a:pt x="516" y="186"/>
                  </a:lnTo>
                  <a:lnTo>
                    <a:pt x="522" y="180"/>
                  </a:lnTo>
                  <a:lnTo>
                    <a:pt x="522" y="174"/>
                  </a:lnTo>
                  <a:lnTo>
                    <a:pt x="528" y="168"/>
                  </a:lnTo>
                  <a:lnTo>
                    <a:pt x="534" y="168"/>
                  </a:lnTo>
                  <a:lnTo>
                    <a:pt x="534" y="156"/>
                  </a:lnTo>
                  <a:lnTo>
                    <a:pt x="534" y="150"/>
                  </a:lnTo>
                  <a:lnTo>
                    <a:pt x="552" y="138"/>
                  </a:lnTo>
                  <a:lnTo>
                    <a:pt x="558" y="126"/>
                  </a:lnTo>
                  <a:lnTo>
                    <a:pt x="558" y="114"/>
                  </a:lnTo>
                  <a:lnTo>
                    <a:pt x="564" y="102"/>
                  </a:lnTo>
                  <a:lnTo>
                    <a:pt x="564" y="96"/>
                  </a:lnTo>
                  <a:lnTo>
                    <a:pt x="564" y="90"/>
                  </a:lnTo>
                  <a:lnTo>
                    <a:pt x="564" y="72"/>
                  </a:lnTo>
                  <a:lnTo>
                    <a:pt x="564" y="60"/>
                  </a:lnTo>
                  <a:lnTo>
                    <a:pt x="564" y="54"/>
                  </a:lnTo>
                  <a:lnTo>
                    <a:pt x="570" y="42"/>
                  </a:lnTo>
                  <a:lnTo>
                    <a:pt x="576" y="42"/>
                  </a:lnTo>
                  <a:lnTo>
                    <a:pt x="582" y="36"/>
                  </a:lnTo>
                  <a:lnTo>
                    <a:pt x="594" y="36"/>
                  </a:lnTo>
                  <a:lnTo>
                    <a:pt x="594" y="30"/>
                  </a:lnTo>
                  <a:lnTo>
                    <a:pt x="600" y="24"/>
                  </a:lnTo>
                  <a:lnTo>
                    <a:pt x="600" y="12"/>
                  </a:lnTo>
                  <a:lnTo>
                    <a:pt x="606" y="6"/>
                  </a:lnTo>
                  <a:lnTo>
                    <a:pt x="606" y="0"/>
                  </a:lnTo>
                  <a:lnTo>
                    <a:pt x="612" y="0"/>
                  </a:lnTo>
                  <a:lnTo>
                    <a:pt x="618" y="0"/>
                  </a:lnTo>
                  <a:lnTo>
                    <a:pt x="624" y="6"/>
                  </a:lnTo>
                  <a:lnTo>
                    <a:pt x="624" y="12"/>
                  </a:lnTo>
                  <a:lnTo>
                    <a:pt x="624" y="18"/>
                  </a:lnTo>
                  <a:lnTo>
                    <a:pt x="624" y="24"/>
                  </a:lnTo>
                  <a:lnTo>
                    <a:pt x="624" y="30"/>
                  </a:lnTo>
                  <a:lnTo>
                    <a:pt x="630" y="30"/>
                  </a:lnTo>
                  <a:lnTo>
                    <a:pt x="630" y="36"/>
                  </a:lnTo>
                  <a:lnTo>
                    <a:pt x="630" y="42"/>
                  </a:lnTo>
                  <a:lnTo>
                    <a:pt x="630" y="48"/>
                  </a:lnTo>
                  <a:lnTo>
                    <a:pt x="636" y="54"/>
                  </a:lnTo>
                  <a:lnTo>
                    <a:pt x="642" y="48"/>
                  </a:lnTo>
                  <a:lnTo>
                    <a:pt x="648" y="48"/>
                  </a:lnTo>
                  <a:lnTo>
                    <a:pt x="648" y="60"/>
                  </a:lnTo>
                  <a:lnTo>
                    <a:pt x="654" y="66"/>
                  </a:lnTo>
                  <a:lnTo>
                    <a:pt x="660" y="72"/>
                  </a:lnTo>
                  <a:lnTo>
                    <a:pt x="666" y="72"/>
                  </a:lnTo>
                  <a:lnTo>
                    <a:pt x="666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72" y="66"/>
                  </a:lnTo>
                  <a:lnTo>
                    <a:pt x="678" y="66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6" y="66"/>
                  </a:lnTo>
                  <a:lnTo>
                    <a:pt x="696" y="72"/>
                  </a:lnTo>
                  <a:lnTo>
                    <a:pt x="702" y="72"/>
                  </a:lnTo>
                  <a:lnTo>
                    <a:pt x="708" y="72"/>
                  </a:lnTo>
                  <a:lnTo>
                    <a:pt x="720" y="66"/>
                  </a:lnTo>
                  <a:lnTo>
                    <a:pt x="726" y="78"/>
                  </a:lnTo>
                  <a:lnTo>
                    <a:pt x="744" y="84"/>
                  </a:lnTo>
                  <a:lnTo>
                    <a:pt x="744" y="90"/>
                  </a:lnTo>
                  <a:lnTo>
                    <a:pt x="744" y="96"/>
                  </a:lnTo>
                  <a:lnTo>
                    <a:pt x="738" y="96"/>
                  </a:lnTo>
                  <a:lnTo>
                    <a:pt x="738" y="102"/>
                  </a:lnTo>
                  <a:lnTo>
                    <a:pt x="732" y="102"/>
                  </a:lnTo>
                  <a:lnTo>
                    <a:pt x="732" y="108"/>
                  </a:lnTo>
                  <a:lnTo>
                    <a:pt x="738" y="108"/>
                  </a:lnTo>
                  <a:lnTo>
                    <a:pt x="744" y="114"/>
                  </a:lnTo>
                  <a:lnTo>
                    <a:pt x="750" y="108"/>
                  </a:lnTo>
                  <a:lnTo>
                    <a:pt x="756" y="108"/>
                  </a:lnTo>
                  <a:lnTo>
                    <a:pt x="762" y="108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80" y="120"/>
                  </a:lnTo>
                  <a:lnTo>
                    <a:pt x="774" y="120"/>
                  </a:lnTo>
                  <a:lnTo>
                    <a:pt x="768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74" y="138"/>
                  </a:lnTo>
                  <a:lnTo>
                    <a:pt x="774" y="132"/>
                  </a:lnTo>
                  <a:lnTo>
                    <a:pt x="780" y="132"/>
                  </a:lnTo>
                  <a:lnTo>
                    <a:pt x="786" y="132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44"/>
                  </a:lnTo>
                  <a:lnTo>
                    <a:pt x="786" y="150"/>
                  </a:lnTo>
                  <a:lnTo>
                    <a:pt x="780" y="150"/>
                  </a:lnTo>
                  <a:lnTo>
                    <a:pt x="774" y="150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74" y="162"/>
                  </a:lnTo>
                  <a:lnTo>
                    <a:pt x="780" y="162"/>
                  </a:lnTo>
                  <a:lnTo>
                    <a:pt x="786" y="168"/>
                  </a:lnTo>
                  <a:lnTo>
                    <a:pt x="792" y="162"/>
                  </a:lnTo>
                  <a:lnTo>
                    <a:pt x="798" y="168"/>
                  </a:lnTo>
                  <a:lnTo>
                    <a:pt x="798" y="174"/>
                  </a:lnTo>
                  <a:lnTo>
                    <a:pt x="804" y="168"/>
                  </a:lnTo>
                  <a:lnTo>
                    <a:pt x="810" y="168"/>
                  </a:lnTo>
                  <a:lnTo>
                    <a:pt x="810" y="174"/>
                  </a:lnTo>
                  <a:lnTo>
                    <a:pt x="816" y="168"/>
                  </a:lnTo>
                  <a:lnTo>
                    <a:pt x="822" y="162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74"/>
                  </a:lnTo>
                  <a:lnTo>
                    <a:pt x="834" y="192"/>
                  </a:lnTo>
                  <a:lnTo>
                    <a:pt x="834" y="198"/>
                  </a:lnTo>
                  <a:lnTo>
                    <a:pt x="840" y="192"/>
                  </a:lnTo>
                  <a:lnTo>
                    <a:pt x="846" y="192"/>
                  </a:lnTo>
                  <a:lnTo>
                    <a:pt x="852" y="186"/>
                  </a:lnTo>
                  <a:lnTo>
                    <a:pt x="858" y="192"/>
                  </a:lnTo>
                  <a:lnTo>
                    <a:pt x="864" y="192"/>
                  </a:lnTo>
                  <a:lnTo>
                    <a:pt x="870" y="198"/>
                  </a:lnTo>
                  <a:lnTo>
                    <a:pt x="876" y="180"/>
                  </a:lnTo>
                  <a:lnTo>
                    <a:pt x="882" y="180"/>
                  </a:lnTo>
                  <a:lnTo>
                    <a:pt x="888" y="180"/>
                  </a:lnTo>
                  <a:lnTo>
                    <a:pt x="894" y="186"/>
                  </a:lnTo>
                  <a:lnTo>
                    <a:pt x="888" y="198"/>
                  </a:lnTo>
                  <a:lnTo>
                    <a:pt x="894" y="204"/>
                  </a:lnTo>
                  <a:lnTo>
                    <a:pt x="906" y="210"/>
                  </a:lnTo>
                  <a:lnTo>
                    <a:pt x="918" y="246"/>
                  </a:lnTo>
                  <a:lnTo>
                    <a:pt x="930" y="258"/>
                  </a:lnTo>
                  <a:lnTo>
                    <a:pt x="942" y="282"/>
                  </a:lnTo>
                  <a:lnTo>
                    <a:pt x="966" y="288"/>
                  </a:lnTo>
                  <a:lnTo>
                    <a:pt x="972" y="300"/>
                  </a:lnTo>
                  <a:lnTo>
                    <a:pt x="972" y="318"/>
                  </a:lnTo>
                  <a:lnTo>
                    <a:pt x="996" y="336"/>
                  </a:lnTo>
                  <a:lnTo>
                    <a:pt x="1050" y="390"/>
                  </a:lnTo>
                  <a:lnTo>
                    <a:pt x="1116" y="462"/>
                  </a:lnTo>
                  <a:lnTo>
                    <a:pt x="1122" y="468"/>
                  </a:lnTo>
                  <a:lnTo>
                    <a:pt x="1128" y="474"/>
                  </a:lnTo>
                  <a:lnTo>
                    <a:pt x="1140" y="474"/>
                  </a:lnTo>
                  <a:lnTo>
                    <a:pt x="1152" y="486"/>
                  </a:lnTo>
                  <a:lnTo>
                    <a:pt x="1152" y="492"/>
                  </a:lnTo>
                  <a:lnTo>
                    <a:pt x="1158" y="492"/>
                  </a:lnTo>
                  <a:lnTo>
                    <a:pt x="1164" y="492"/>
                  </a:lnTo>
                  <a:lnTo>
                    <a:pt x="1170" y="504"/>
                  </a:lnTo>
                  <a:lnTo>
                    <a:pt x="1176" y="504"/>
                  </a:lnTo>
                  <a:lnTo>
                    <a:pt x="1176" y="510"/>
                  </a:lnTo>
                  <a:lnTo>
                    <a:pt x="1200" y="516"/>
                  </a:lnTo>
                  <a:lnTo>
                    <a:pt x="1200" y="522"/>
                  </a:lnTo>
                  <a:lnTo>
                    <a:pt x="1212" y="534"/>
                  </a:lnTo>
                  <a:lnTo>
                    <a:pt x="1218" y="540"/>
                  </a:lnTo>
                  <a:lnTo>
                    <a:pt x="1224" y="552"/>
                  </a:lnTo>
                  <a:lnTo>
                    <a:pt x="1230" y="552"/>
                  </a:lnTo>
                  <a:lnTo>
                    <a:pt x="1242" y="552"/>
                  </a:lnTo>
                  <a:lnTo>
                    <a:pt x="1248" y="558"/>
                  </a:lnTo>
                  <a:lnTo>
                    <a:pt x="1254" y="558"/>
                  </a:lnTo>
                  <a:lnTo>
                    <a:pt x="1260" y="564"/>
                  </a:lnTo>
                  <a:lnTo>
                    <a:pt x="1266" y="564"/>
                  </a:lnTo>
                  <a:lnTo>
                    <a:pt x="1272" y="564"/>
                  </a:lnTo>
                  <a:lnTo>
                    <a:pt x="1284" y="564"/>
                  </a:lnTo>
                  <a:lnTo>
                    <a:pt x="1290" y="570"/>
                  </a:lnTo>
                  <a:lnTo>
                    <a:pt x="1296" y="576"/>
                  </a:lnTo>
                  <a:lnTo>
                    <a:pt x="1302" y="588"/>
                  </a:lnTo>
                  <a:lnTo>
                    <a:pt x="1296" y="594"/>
                  </a:lnTo>
                  <a:lnTo>
                    <a:pt x="1296" y="600"/>
                  </a:lnTo>
                  <a:lnTo>
                    <a:pt x="1296" y="606"/>
                  </a:lnTo>
                  <a:lnTo>
                    <a:pt x="1290" y="612"/>
                  </a:lnTo>
                  <a:lnTo>
                    <a:pt x="1290" y="624"/>
                  </a:lnTo>
                  <a:lnTo>
                    <a:pt x="1290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308" y="654"/>
                  </a:lnTo>
                  <a:lnTo>
                    <a:pt x="1320" y="654"/>
                  </a:lnTo>
                  <a:lnTo>
                    <a:pt x="1326" y="660"/>
                  </a:lnTo>
                  <a:lnTo>
                    <a:pt x="1338" y="654"/>
                  </a:lnTo>
                  <a:lnTo>
                    <a:pt x="1344" y="654"/>
                  </a:lnTo>
                  <a:lnTo>
                    <a:pt x="1356" y="654"/>
                  </a:lnTo>
                  <a:lnTo>
                    <a:pt x="1362" y="648"/>
                  </a:lnTo>
                  <a:lnTo>
                    <a:pt x="1368" y="642"/>
                  </a:lnTo>
                  <a:lnTo>
                    <a:pt x="1374" y="636"/>
                  </a:lnTo>
                  <a:lnTo>
                    <a:pt x="1380" y="636"/>
                  </a:lnTo>
                  <a:lnTo>
                    <a:pt x="1392" y="636"/>
                  </a:lnTo>
                  <a:lnTo>
                    <a:pt x="1398" y="636"/>
                  </a:lnTo>
                  <a:lnTo>
                    <a:pt x="1404" y="636"/>
                  </a:lnTo>
                  <a:lnTo>
                    <a:pt x="1410" y="630"/>
                  </a:lnTo>
                  <a:lnTo>
                    <a:pt x="1410" y="624"/>
                  </a:lnTo>
                  <a:lnTo>
                    <a:pt x="1422" y="618"/>
                  </a:lnTo>
                  <a:lnTo>
                    <a:pt x="1428" y="618"/>
                  </a:lnTo>
                  <a:lnTo>
                    <a:pt x="1440" y="612"/>
                  </a:lnTo>
                  <a:lnTo>
                    <a:pt x="1446" y="612"/>
                  </a:lnTo>
                  <a:lnTo>
                    <a:pt x="1458" y="612"/>
                  </a:lnTo>
                  <a:lnTo>
                    <a:pt x="1470" y="624"/>
                  </a:lnTo>
                  <a:lnTo>
                    <a:pt x="1488" y="642"/>
                  </a:lnTo>
                  <a:lnTo>
                    <a:pt x="1500" y="648"/>
                  </a:lnTo>
                  <a:lnTo>
                    <a:pt x="1512" y="654"/>
                  </a:lnTo>
                  <a:lnTo>
                    <a:pt x="1518" y="660"/>
                  </a:lnTo>
                  <a:lnTo>
                    <a:pt x="1524" y="660"/>
                  </a:lnTo>
                  <a:lnTo>
                    <a:pt x="1530" y="660"/>
                  </a:lnTo>
                  <a:lnTo>
                    <a:pt x="1536" y="666"/>
                  </a:lnTo>
                  <a:lnTo>
                    <a:pt x="1542" y="672"/>
                  </a:lnTo>
                  <a:lnTo>
                    <a:pt x="1548" y="672"/>
                  </a:lnTo>
                  <a:lnTo>
                    <a:pt x="1554" y="684"/>
                  </a:lnTo>
                  <a:lnTo>
                    <a:pt x="1554" y="690"/>
                  </a:lnTo>
                  <a:lnTo>
                    <a:pt x="1566" y="702"/>
                  </a:lnTo>
                  <a:lnTo>
                    <a:pt x="1572" y="720"/>
                  </a:lnTo>
                  <a:lnTo>
                    <a:pt x="1572" y="726"/>
                  </a:lnTo>
                  <a:lnTo>
                    <a:pt x="1578" y="732"/>
                  </a:lnTo>
                  <a:lnTo>
                    <a:pt x="1584" y="738"/>
                  </a:lnTo>
                  <a:lnTo>
                    <a:pt x="1590" y="738"/>
                  </a:lnTo>
                  <a:lnTo>
                    <a:pt x="1596" y="738"/>
                  </a:lnTo>
                  <a:lnTo>
                    <a:pt x="1602" y="744"/>
                  </a:lnTo>
                  <a:lnTo>
                    <a:pt x="1608" y="744"/>
                  </a:lnTo>
                  <a:lnTo>
                    <a:pt x="1614" y="744"/>
                  </a:lnTo>
                  <a:lnTo>
                    <a:pt x="1626" y="744"/>
                  </a:lnTo>
                  <a:lnTo>
                    <a:pt x="1638" y="744"/>
                  </a:lnTo>
                  <a:lnTo>
                    <a:pt x="1650" y="744"/>
                  </a:lnTo>
                  <a:lnTo>
                    <a:pt x="1662" y="744"/>
                  </a:lnTo>
                  <a:lnTo>
                    <a:pt x="1668" y="744"/>
                  </a:lnTo>
                  <a:lnTo>
                    <a:pt x="1674" y="744"/>
                  </a:lnTo>
                  <a:lnTo>
                    <a:pt x="1686" y="744"/>
                  </a:lnTo>
                  <a:lnTo>
                    <a:pt x="1698" y="750"/>
                  </a:lnTo>
                  <a:lnTo>
                    <a:pt x="1704" y="750"/>
                  </a:lnTo>
                  <a:lnTo>
                    <a:pt x="1716" y="756"/>
                  </a:lnTo>
                  <a:lnTo>
                    <a:pt x="1722" y="756"/>
                  </a:lnTo>
                  <a:lnTo>
                    <a:pt x="1728" y="756"/>
                  </a:lnTo>
                  <a:lnTo>
                    <a:pt x="1734" y="762"/>
                  </a:lnTo>
                  <a:lnTo>
                    <a:pt x="1740" y="768"/>
                  </a:lnTo>
                  <a:lnTo>
                    <a:pt x="1758" y="780"/>
                  </a:lnTo>
                  <a:lnTo>
                    <a:pt x="1770" y="780"/>
                  </a:lnTo>
                  <a:lnTo>
                    <a:pt x="1776" y="780"/>
                  </a:lnTo>
                  <a:lnTo>
                    <a:pt x="1782" y="780"/>
                  </a:lnTo>
                  <a:lnTo>
                    <a:pt x="1800" y="798"/>
                  </a:lnTo>
                  <a:lnTo>
                    <a:pt x="1818" y="810"/>
                  </a:lnTo>
                  <a:lnTo>
                    <a:pt x="1830" y="816"/>
                  </a:lnTo>
                  <a:lnTo>
                    <a:pt x="1836" y="822"/>
                  </a:lnTo>
                  <a:lnTo>
                    <a:pt x="1836" y="828"/>
                  </a:lnTo>
                  <a:lnTo>
                    <a:pt x="1842" y="828"/>
                  </a:lnTo>
                  <a:lnTo>
                    <a:pt x="1848" y="834"/>
                  </a:lnTo>
                  <a:lnTo>
                    <a:pt x="1854" y="840"/>
                  </a:lnTo>
                  <a:lnTo>
                    <a:pt x="1860" y="846"/>
                  </a:lnTo>
                  <a:lnTo>
                    <a:pt x="1872" y="852"/>
                  </a:lnTo>
                  <a:lnTo>
                    <a:pt x="1884" y="852"/>
                  </a:lnTo>
                  <a:lnTo>
                    <a:pt x="1896" y="852"/>
                  </a:lnTo>
                  <a:lnTo>
                    <a:pt x="1902" y="846"/>
                  </a:lnTo>
                  <a:lnTo>
                    <a:pt x="1908" y="852"/>
                  </a:lnTo>
                  <a:lnTo>
                    <a:pt x="1920" y="858"/>
                  </a:lnTo>
                  <a:lnTo>
                    <a:pt x="1926" y="870"/>
                  </a:lnTo>
                  <a:lnTo>
                    <a:pt x="1938" y="888"/>
                  </a:lnTo>
                  <a:lnTo>
                    <a:pt x="1944" y="900"/>
                  </a:lnTo>
                  <a:lnTo>
                    <a:pt x="1950" y="900"/>
                  </a:lnTo>
                  <a:lnTo>
                    <a:pt x="1962" y="906"/>
                  </a:lnTo>
                  <a:lnTo>
                    <a:pt x="1968" y="906"/>
                  </a:lnTo>
                  <a:lnTo>
                    <a:pt x="1980" y="906"/>
                  </a:lnTo>
                  <a:lnTo>
                    <a:pt x="1998" y="906"/>
                  </a:lnTo>
                  <a:lnTo>
                    <a:pt x="2010" y="900"/>
                  </a:lnTo>
                  <a:lnTo>
                    <a:pt x="2022" y="900"/>
                  </a:lnTo>
                  <a:lnTo>
                    <a:pt x="2028" y="900"/>
                  </a:lnTo>
                  <a:lnTo>
                    <a:pt x="2034" y="906"/>
                  </a:lnTo>
                  <a:lnTo>
                    <a:pt x="2046" y="906"/>
                  </a:lnTo>
                  <a:lnTo>
                    <a:pt x="2052" y="900"/>
                  </a:lnTo>
                  <a:lnTo>
                    <a:pt x="2058" y="900"/>
                  </a:lnTo>
                  <a:lnTo>
                    <a:pt x="2064" y="900"/>
                  </a:lnTo>
                  <a:lnTo>
                    <a:pt x="2070" y="900"/>
                  </a:lnTo>
                  <a:lnTo>
                    <a:pt x="2076" y="900"/>
                  </a:lnTo>
                  <a:lnTo>
                    <a:pt x="2076" y="906"/>
                  </a:lnTo>
                  <a:lnTo>
                    <a:pt x="2088" y="906"/>
                  </a:lnTo>
                  <a:lnTo>
                    <a:pt x="2106" y="900"/>
                  </a:lnTo>
                  <a:lnTo>
                    <a:pt x="2118" y="900"/>
                  </a:lnTo>
                  <a:lnTo>
                    <a:pt x="2130" y="900"/>
                  </a:lnTo>
                  <a:lnTo>
                    <a:pt x="2142" y="900"/>
                  </a:lnTo>
                  <a:lnTo>
                    <a:pt x="2148" y="906"/>
                  </a:lnTo>
                  <a:lnTo>
                    <a:pt x="2154" y="906"/>
                  </a:lnTo>
                  <a:lnTo>
                    <a:pt x="2160" y="906"/>
                  </a:lnTo>
                  <a:lnTo>
                    <a:pt x="2166" y="906"/>
                  </a:lnTo>
                  <a:lnTo>
                    <a:pt x="2178" y="918"/>
                  </a:lnTo>
                  <a:lnTo>
                    <a:pt x="2178" y="924"/>
                  </a:lnTo>
                  <a:lnTo>
                    <a:pt x="2184" y="924"/>
                  </a:lnTo>
                  <a:lnTo>
                    <a:pt x="2190" y="924"/>
                  </a:lnTo>
                  <a:lnTo>
                    <a:pt x="2196" y="924"/>
                  </a:lnTo>
                  <a:lnTo>
                    <a:pt x="2202" y="918"/>
                  </a:lnTo>
                  <a:lnTo>
                    <a:pt x="2208" y="918"/>
                  </a:lnTo>
                  <a:lnTo>
                    <a:pt x="2214" y="918"/>
                  </a:lnTo>
                  <a:lnTo>
                    <a:pt x="2226" y="918"/>
                  </a:lnTo>
                  <a:lnTo>
                    <a:pt x="2220" y="948"/>
                  </a:lnTo>
                  <a:lnTo>
                    <a:pt x="2214" y="972"/>
                  </a:lnTo>
                  <a:lnTo>
                    <a:pt x="2214" y="984"/>
                  </a:lnTo>
                  <a:lnTo>
                    <a:pt x="2208" y="990"/>
                  </a:lnTo>
                  <a:lnTo>
                    <a:pt x="2208" y="996"/>
                  </a:lnTo>
                  <a:lnTo>
                    <a:pt x="2202" y="996"/>
                  </a:lnTo>
                  <a:lnTo>
                    <a:pt x="2196" y="996"/>
                  </a:lnTo>
                  <a:lnTo>
                    <a:pt x="2190" y="1008"/>
                  </a:lnTo>
                  <a:lnTo>
                    <a:pt x="2172" y="1074"/>
                  </a:lnTo>
                  <a:lnTo>
                    <a:pt x="2166" y="1092"/>
                  </a:lnTo>
                  <a:lnTo>
                    <a:pt x="2172" y="1110"/>
                  </a:lnTo>
                  <a:lnTo>
                    <a:pt x="2172" y="1122"/>
                  </a:lnTo>
                  <a:lnTo>
                    <a:pt x="2166" y="1134"/>
                  </a:lnTo>
                  <a:lnTo>
                    <a:pt x="2148" y="1140"/>
                  </a:lnTo>
                  <a:lnTo>
                    <a:pt x="2148" y="1134"/>
                  </a:lnTo>
                  <a:lnTo>
                    <a:pt x="2118" y="1140"/>
                  </a:lnTo>
                  <a:lnTo>
                    <a:pt x="2088" y="1134"/>
                  </a:lnTo>
                  <a:lnTo>
                    <a:pt x="2064" y="1122"/>
                  </a:lnTo>
                  <a:lnTo>
                    <a:pt x="2034" y="1122"/>
                  </a:lnTo>
                  <a:lnTo>
                    <a:pt x="2022" y="1128"/>
                  </a:lnTo>
                  <a:lnTo>
                    <a:pt x="1986" y="1128"/>
                  </a:lnTo>
                  <a:lnTo>
                    <a:pt x="1938" y="1122"/>
                  </a:lnTo>
                  <a:lnTo>
                    <a:pt x="1932" y="1116"/>
                  </a:lnTo>
                  <a:lnTo>
                    <a:pt x="1896" y="1110"/>
                  </a:lnTo>
                  <a:lnTo>
                    <a:pt x="1878" y="1104"/>
                  </a:lnTo>
                  <a:lnTo>
                    <a:pt x="1866" y="1098"/>
                  </a:lnTo>
                  <a:lnTo>
                    <a:pt x="1860" y="1098"/>
                  </a:lnTo>
                  <a:lnTo>
                    <a:pt x="1854" y="1092"/>
                  </a:lnTo>
                  <a:lnTo>
                    <a:pt x="1860" y="1092"/>
                  </a:lnTo>
                  <a:lnTo>
                    <a:pt x="1860" y="1086"/>
                  </a:lnTo>
                  <a:lnTo>
                    <a:pt x="1854" y="1086"/>
                  </a:lnTo>
                  <a:lnTo>
                    <a:pt x="1842" y="1080"/>
                  </a:lnTo>
                  <a:lnTo>
                    <a:pt x="1818" y="1062"/>
                  </a:lnTo>
                  <a:lnTo>
                    <a:pt x="1782" y="1056"/>
                  </a:lnTo>
                  <a:lnTo>
                    <a:pt x="1770" y="1068"/>
                  </a:lnTo>
                  <a:lnTo>
                    <a:pt x="1746" y="1098"/>
                  </a:lnTo>
                  <a:lnTo>
                    <a:pt x="1722" y="1104"/>
                  </a:lnTo>
                  <a:lnTo>
                    <a:pt x="1710" y="1122"/>
                  </a:lnTo>
                  <a:lnTo>
                    <a:pt x="1710" y="1128"/>
                  </a:lnTo>
                  <a:lnTo>
                    <a:pt x="1710" y="1140"/>
                  </a:lnTo>
                  <a:lnTo>
                    <a:pt x="1698" y="1146"/>
                  </a:lnTo>
                  <a:lnTo>
                    <a:pt x="1686" y="1152"/>
                  </a:lnTo>
                  <a:lnTo>
                    <a:pt x="1680" y="1164"/>
                  </a:lnTo>
                  <a:lnTo>
                    <a:pt x="1680" y="1170"/>
                  </a:lnTo>
                  <a:lnTo>
                    <a:pt x="1686" y="1170"/>
                  </a:lnTo>
                  <a:lnTo>
                    <a:pt x="1686" y="1176"/>
                  </a:lnTo>
                  <a:lnTo>
                    <a:pt x="1698" y="1188"/>
                  </a:lnTo>
                  <a:lnTo>
                    <a:pt x="1704" y="1188"/>
                  </a:lnTo>
                  <a:lnTo>
                    <a:pt x="1698" y="1194"/>
                  </a:lnTo>
                  <a:lnTo>
                    <a:pt x="1704" y="1194"/>
                  </a:lnTo>
                  <a:lnTo>
                    <a:pt x="1704" y="1200"/>
                  </a:lnTo>
                  <a:lnTo>
                    <a:pt x="1704" y="1206"/>
                  </a:lnTo>
                  <a:lnTo>
                    <a:pt x="1704" y="1212"/>
                  </a:lnTo>
                  <a:lnTo>
                    <a:pt x="1704" y="1218"/>
                  </a:lnTo>
                  <a:lnTo>
                    <a:pt x="1710" y="1218"/>
                  </a:lnTo>
                  <a:lnTo>
                    <a:pt x="1710" y="1212"/>
                  </a:lnTo>
                  <a:lnTo>
                    <a:pt x="1716" y="1212"/>
                  </a:lnTo>
                  <a:lnTo>
                    <a:pt x="1716" y="1218"/>
                  </a:lnTo>
                  <a:lnTo>
                    <a:pt x="1716" y="1224"/>
                  </a:lnTo>
                  <a:lnTo>
                    <a:pt x="1716" y="1230"/>
                  </a:lnTo>
                  <a:lnTo>
                    <a:pt x="1722" y="1236"/>
                  </a:lnTo>
                  <a:lnTo>
                    <a:pt x="1740" y="1230"/>
                  </a:lnTo>
                  <a:lnTo>
                    <a:pt x="1734" y="1236"/>
                  </a:lnTo>
                  <a:lnTo>
                    <a:pt x="1734" y="1242"/>
                  </a:lnTo>
                  <a:lnTo>
                    <a:pt x="1734" y="1248"/>
                  </a:lnTo>
                  <a:lnTo>
                    <a:pt x="1734" y="1254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52" y="1266"/>
                  </a:lnTo>
                  <a:lnTo>
                    <a:pt x="1764" y="1266"/>
                  </a:lnTo>
                  <a:lnTo>
                    <a:pt x="1788" y="1260"/>
                  </a:lnTo>
                  <a:lnTo>
                    <a:pt x="1800" y="1260"/>
                  </a:lnTo>
                  <a:lnTo>
                    <a:pt x="1806" y="1272"/>
                  </a:lnTo>
                  <a:lnTo>
                    <a:pt x="1806" y="1296"/>
                  </a:lnTo>
                  <a:lnTo>
                    <a:pt x="1800" y="1308"/>
                  </a:lnTo>
                  <a:lnTo>
                    <a:pt x="1788" y="1308"/>
                  </a:lnTo>
                  <a:lnTo>
                    <a:pt x="1782" y="13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7" name="Freeform 32">
              <a:extLst>
                <a:ext uri="{FF2B5EF4-FFF2-40B4-BE49-F238E27FC236}">
                  <a16:creationId xmlns:a16="http://schemas.microsoft.com/office/drawing/2014/main" id="{1EF84438-BF7A-47D2-9156-E231EA2A279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3295" y="2316568"/>
              <a:ext cx="1290281" cy="1084704"/>
            </a:xfrm>
            <a:custGeom>
              <a:avLst/>
              <a:gdLst>
                <a:gd name="T0" fmla="*/ 177 w 2430"/>
                <a:gd name="T1" fmla="*/ 169 h 2040"/>
                <a:gd name="T2" fmla="*/ 174 w 2430"/>
                <a:gd name="T3" fmla="*/ 173 h 2040"/>
                <a:gd name="T4" fmla="*/ 169 w 2430"/>
                <a:gd name="T5" fmla="*/ 171 h 2040"/>
                <a:gd name="T6" fmla="*/ 160 w 2430"/>
                <a:gd name="T7" fmla="*/ 163 h 2040"/>
                <a:gd name="T8" fmla="*/ 154 w 2430"/>
                <a:gd name="T9" fmla="*/ 149 h 2040"/>
                <a:gd name="T10" fmla="*/ 144 w 2430"/>
                <a:gd name="T11" fmla="*/ 147 h 2040"/>
                <a:gd name="T12" fmla="*/ 133 w 2430"/>
                <a:gd name="T13" fmla="*/ 146 h 2040"/>
                <a:gd name="T14" fmla="*/ 121 w 2430"/>
                <a:gd name="T15" fmla="*/ 145 h 2040"/>
                <a:gd name="T16" fmla="*/ 110 w 2430"/>
                <a:gd name="T17" fmla="*/ 137 h 2040"/>
                <a:gd name="T18" fmla="*/ 97 w 2430"/>
                <a:gd name="T19" fmla="*/ 131 h 2040"/>
                <a:gd name="T20" fmla="*/ 87 w 2430"/>
                <a:gd name="T21" fmla="*/ 125 h 2040"/>
                <a:gd name="T22" fmla="*/ 75 w 2430"/>
                <a:gd name="T23" fmla="*/ 122 h 2040"/>
                <a:gd name="T24" fmla="*/ 65 w 2430"/>
                <a:gd name="T25" fmla="*/ 122 h 2040"/>
                <a:gd name="T26" fmla="*/ 59 w 2430"/>
                <a:gd name="T27" fmla="*/ 115 h 2040"/>
                <a:gd name="T28" fmla="*/ 50 w 2430"/>
                <a:gd name="T29" fmla="*/ 107 h 2040"/>
                <a:gd name="T30" fmla="*/ 28 w 2430"/>
                <a:gd name="T31" fmla="*/ 84 h 2040"/>
                <a:gd name="T32" fmla="*/ 22 w 2430"/>
                <a:gd name="T33" fmla="*/ 82 h 2040"/>
                <a:gd name="T34" fmla="*/ 20 w 2430"/>
                <a:gd name="T35" fmla="*/ 79 h 2040"/>
                <a:gd name="T36" fmla="*/ 16 w 2430"/>
                <a:gd name="T37" fmla="*/ 76 h 2040"/>
                <a:gd name="T38" fmla="*/ 11 w 2430"/>
                <a:gd name="T39" fmla="*/ 74 h 2040"/>
                <a:gd name="T40" fmla="*/ 7 w 2430"/>
                <a:gd name="T41" fmla="*/ 69 h 2040"/>
                <a:gd name="T42" fmla="*/ 0 w 2430"/>
                <a:gd name="T43" fmla="*/ 60 h 2040"/>
                <a:gd name="T44" fmla="*/ 10 w 2430"/>
                <a:gd name="T45" fmla="*/ 53 h 2040"/>
                <a:gd name="T46" fmla="*/ 15 w 2430"/>
                <a:gd name="T47" fmla="*/ 40 h 2040"/>
                <a:gd name="T48" fmla="*/ 9 w 2430"/>
                <a:gd name="T49" fmla="*/ 29 h 2040"/>
                <a:gd name="T50" fmla="*/ 7 w 2430"/>
                <a:gd name="T51" fmla="*/ 16 h 2040"/>
                <a:gd name="T52" fmla="*/ 18 w 2430"/>
                <a:gd name="T53" fmla="*/ 21 h 2040"/>
                <a:gd name="T54" fmla="*/ 48 w 2430"/>
                <a:gd name="T55" fmla="*/ 27 h 2040"/>
                <a:gd name="T56" fmla="*/ 62 w 2430"/>
                <a:gd name="T57" fmla="*/ 25 h 2040"/>
                <a:gd name="T58" fmla="*/ 59 w 2430"/>
                <a:gd name="T59" fmla="*/ 42 h 2040"/>
                <a:gd name="T60" fmla="*/ 54 w 2430"/>
                <a:gd name="T61" fmla="*/ 65 h 2040"/>
                <a:gd name="T62" fmla="*/ 65 w 2430"/>
                <a:gd name="T63" fmla="*/ 60 h 2040"/>
                <a:gd name="T64" fmla="*/ 68 w 2430"/>
                <a:gd name="T65" fmla="*/ 40 h 2040"/>
                <a:gd name="T66" fmla="*/ 75 w 2430"/>
                <a:gd name="T67" fmla="*/ 36 h 2040"/>
                <a:gd name="T68" fmla="*/ 83 w 2430"/>
                <a:gd name="T69" fmla="*/ 29 h 2040"/>
                <a:gd name="T70" fmla="*/ 81 w 2430"/>
                <a:gd name="T71" fmla="*/ 17 h 2040"/>
                <a:gd name="T72" fmla="*/ 66 w 2430"/>
                <a:gd name="T73" fmla="*/ 7 h 2040"/>
                <a:gd name="T74" fmla="*/ 80 w 2430"/>
                <a:gd name="T75" fmla="*/ 5 h 2040"/>
                <a:gd name="T76" fmla="*/ 89 w 2430"/>
                <a:gd name="T77" fmla="*/ 1 h 2040"/>
                <a:gd name="T78" fmla="*/ 101 w 2430"/>
                <a:gd name="T79" fmla="*/ 10 h 2040"/>
                <a:gd name="T80" fmla="*/ 103 w 2430"/>
                <a:gd name="T81" fmla="*/ 18 h 2040"/>
                <a:gd name="T82" fmla="*/ 110 w 2430"/>
                <a:gd name="T83" fmla="*/ 23 h 2040"/>
                <a:gd name="T84" fmla="*/ 121 w 2430"/>
                <a:gd name="T85" fmla="*/ 20 h 2040"/>
                <a:gd name="T86" fmla="*/ 129 w 2430"/>
                <a:gd name="T87" fmla="*/ 15 h 2040"/>
                <a:gd name="T88" fmla="*/ 142 w 2430"/>
                <a:gd name="T89" fmla="*/ 23 h 2040"/>
                <a:gd name="T90" fmla="*/ 141 w 2430"/>
                <a:gd name="T91" fmla="*/ 30 h 2040"/>
                <a:gd name="T92" fmla="*/ 140 w 2430"/>
                <a:gd name="T93" fmla="*/ 38 h 2040"/>
                <a:gd name="T94" fmla="*/ 139 w 2430"/>
                <a:gd name="T95" fmla="*/ 46 h 2040"/>
                <a:gd name="T96" fmla="*/ 147 w 2430"/>
                <a:gd name="T97" fmla="*/ 54 h 2040"/>
                <a:gd name="T98" fmla="*/ 152 w 2430"/>
                <a:gd name="T99" fmla="*/ 50 h 2040"/>
                <a:gd name="T100" fmla="*/ 159 w 2430"/>
                <a:gd name="T101" fmla="*/ 43 h 2040"/>
                <a:gd name="T102" fmla="*/ 174 w 2430"/>
                <a:gd name="T103" fmla="*/ 41 h 2040"/>
                <a:gd name="T104" fmla="*/ 190 w 2430"/>
                <a:gd name="T105" fmla="*/ 57 h 2040"/>
                <a:gd name="T106" fmla="*/ 187 w 2430"/>
                <a:gd name="T107" fmla="*/ 66 h 2040"/>
                <a:gd name="T108" fmla="*/ 183 w 2430"/>
                <a:gd name="T109" fmla="*/ 72 h 2040"/>
                <a:gd name="T110" fmla="*/ 194 w 2430"/>
                <a:gd name="T111" fmla="*/ 73 h 2040"/>
                <a:gd name="T112" fmla="*/ 202 w 2430"/>
                <a:gd name="T113" fmla="*/ 74 h 2040"/>
                <a:gd name="T114" fmla="*/ 204 w 2430"/>
                <a:gd name="T115" fmla="*/ 89 h 2040"/>
                <a:gd name="T116" fmla="*/ 208 w 2430"/>
                <a:gd name="T117" fmla="*/ 99 h 2040"/>
                <a:gd name="T118" fmla="*/ 203 w 2430"/>
                <a:gd name="T119" fmla="*/ 103 h 2040"/>
                <a:gd name="T120" fmla="*/ 209 w 2430"/>
                <a:gd name="T121" fmla="*/ 111 h 2040"/>
                <a:gd name="T122" fmla="*/ 204 w 2430"/>
                <a:gd name="T123" fmla="*/ 124 h 2040"/>
                <a:gd name="T124" fmla="*/ 190 w 2430"/>
                <a:gd name="T125" fmla="*/ 117 h 20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30"/>
                <a:gd name="T190" fmla="*/ 0 h 2040"/>
                <a:gd name="T191" fmla="*/ 2430 w 2430"/>
                <a:gd name="T192" fmla="*/ 2040 h 20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30" h="2040">
                  <a:moveTo>
                    <a:pt x="2076" y="1896"/>
                  </a:moveTo>
                  <a:lnTo>
                    <a:pt x="2070" y="1896"/>
                  </a:lnTo>
                  <a:lnTo>
                    <a:pt x="2070" y="1902"/>
                  </a:lnTo>
                  <a:lnTo>
                    <a:pt x="2076" y="1902"/>
                  </a:lnTo>
                  <a:lnTo>
                    <a:pt x="2082" y="1902"/>
                  </a:lnTo>
                  <a:lnTo>
                    <a:pt x="2082" y="1908"/>
                  </a:lnTo>
                  <a:lnTo>
                    <a:pt x="2076" y="1908"/>
                  </a:lnTo>
                  <a:lnTo>
                    <a:pt x="2076" y="1914"/>
                  </a:lnTo>
                  <a:lnTo>
                    <a:pt x="2070" y="1920"/>
                  </a:lnTo>
                  <a:lnTo>
                    <a:pt x="2064" y="1932"/>
                  </a:lnTo>
                  <a:lnTo>
                    <a:pt x="2064" y="1938"/>
                  </a:lnTo>
                  <a:lnTo>
                    <a:pt x="2058" y="1938"/>
                  </a:lnTo>
                  <a:lnTo>
                    <a:pt x="2052" y="1944"/>
                  </a:lnTo>
                  <a:lnTo>
                    <a:pt x="2052" y="1950"/>
                  </a:lnTo>
                  <a:lnTo>
                    <a:pt x="2040" y="1944"/>
                  </a:lnTo>
                  <a:lnTo>
                    <a:pt x="2040" y="1950"/>
                  </a:lnTo>
                  <a:lnTo>
                    <a:pt x="2034" y="1956"/>
                  </a:lnTo>
                  <a:lnTo>
                    <a:pt x="2034" y="1962"/>
                  </a:lnTo>
                  <a:lnTo>
                    <a:pt x="2028" y="1962"/>
                  </a:lnTo>
                  <a:lnTo>
                    <a:pt x="2022" y="1962"/>
                  </a:lnTo>
                  <a:lnTo>
                    <a:pt x="2022" y="1968"/>
                  </a:lnTo>
                  <a:lnTo>
                    <a:pt x="2028" y="1974"/>
                  </a:lnTo>
                  <a:lnTo>
                    <a:pt x="2034" y="1980"/>
                  </a:lnTo>
                  <a:lnTo>
                    <a:pt x="2028" y="1986"/>
                  </a:lnTo>
                  <a:lnTo>
                    <a:pt x="2022" y="1992"/>
                  </a:lnTo>
                  <a:lnTo>
                    <a:pt x="2022" y="1986"/>
                  </a:lnTo>
                  <a:lnTo>
                    <a:pt x="2016" y="1986"/>
                  </a:lnTo>
                  <a:lnTo>
                    <a:pt x="2010" y="1980"/>
                  </a:lnTo>
                  <a:lnTo>
                    <a:pt x="2004" y="1980"/>
                  </a:lnTo>
                  <a:lnTo>
                    <a:pt x="2004" y="1986"/>
                  </a:lnTo>
                  <a:lnTo>
                    <a:pt x="2010" y="1992"/>
                  </a:lnTo>
                  <a:lnTo>
                    <a:pt x="2010" y="1998"/>
                  </a:lnTo>
                  <a:lnTo>
                    <a:pt x="2004" y="2004"/>
                  </a:lnTo>
                  <a:lnTo>
                    <a:pt x="1998" y="2004"/>
                  </a:lnTo>
                  <a:lnTo>
                    <a:pt x="1998" y="2022"/>
                  </a:lnTo>
                  <a:lnTo>
                    <a:pt x="1998" y="2028"/>
                  </a:lnTo>
                  <a:lnTo>
                    <a:pt x="1992" y="2034"/>
                  </a:lnTo>
                  <a:lnTo>
                    <a:pt x="1992" y="2040"/>
                  </a:lnTo>
                  <a:lnTo>
                    <a:pt x="1986" y="2040"/>
                  </a:lnTo>
                  <a:lnTo>
                    <a:pt x="1986" y="2034"/>
                  </a:lnTo>
                  <a:lnTo>
                    <a:pt x="1980" y="2028"/>
                  </a:lnTo>
                  <a:lnTo>
                    <a:pt x="1980" y="2022"/>
                  </a:lnTo>
                  <a:lnTo>
                    <a:pt x="1968" y="2016"/>
                  </a:lnTo>
                  <a:lnTo>
                    <a:pt x="1962" y="2010"/>
                  </a:lnTo>
                  <a:lnTo>
                    <a:pt x="1956" y="2004"/>
                  </a:lnTo>
                  <a:lnTo>
                    <a:pt x="1950" y="1992"/>
                  </a:lnTo>
                  <a:lnTo>
                    <a:pt x="1950" y="1986"/>
                  </a:lnTo>
                  <a:lnTo>
                    <a:pt x="1950" y="1974"/>
                  </a:lnTo>
                  <a:lnTo>
                    <a:pt x="1944" y="1974"/>
                  </a:lnTo>
                  <a:lnTo>
                    <a:pt x="1932" y="1962"/>
                  </a:lnTo>
                  <a:lnTo>
                    <a:pt x="1932" y="1956"/>
                  </a:lnTo>
                  <a:lnTo>
                    <a:pt x="1932" y="1950"/>
                  </a:lnTo>
                  <a:lnTo>
                    <a:pt x="1920" y="1944"/>
                  </a:lnTo>
                  <a:lnTo>
                    <a:pt x="1914" y="1944"/>
                  </a:lnTo>
                  <a:lnTo>
                    <a:pt x="1908" y="1938"/>
                  </a:lnTo>
                  <a:lnTo>
                    <a:pt x="1902" y="1926"/>
                  </a:lnTo>
                  <a:lnTo>
                    <a:pt x="1890" y="1914"/>
                  </a:lnTo>
                  <a:lnTo>
                    <a:pt x="1884" y="1914"/>
                  </a:lnTo>
                  <a:lnTo>
                    <a:pt x="1878" y="1908"/>
                  </a:lnTo>
                  <a:lnTo>
                    <a:pt x="1872" y="1902"/>
                  </a:lnTo>
                  <a:lnTo>
                    <a:pt x="1872" y="1896"/>
                  </a:lnTo>
                  <a:lnTo>
                    <a:pt x="1866" y="1890"/>
                  </a:lnTo>
                  <a:lnTo>
                    <a:pt x="1854" y="1884"/>
                  </a:lnTo>
                  <a:lnTo>
                    <a:pt x="1848" y="1884"/>
                  </a:lnTo>
                  <a:lnTo>
                    <a:pt x="1842" y="1872"/>
                  </a:lnTo>
                  <a:lnTo>
                    <a:pt x="1836" y="1872"/>
                  </a:lnTo>
                  <a:lnTo>
                    <a:pt x="1830" y="1866"/>
                  </a:lnTo>
                  <a:lnTo>
                    <a:pt x="1830" y="1854"/>
                  </a:lnTo>
                  <a:lnTo>
                    <a:pt x="1824" y="1848"/>
                  </a:lnTo>
                  <a:lnTo>
                    <a:pt x="1818" y="1830"/>
                  </a:lnTo>
                  <a:lnTo>
                    <a:pt x="1818" y="1818"/>
                  </a:lnTo>
                  <a:lnTo>
                    <a:pt x="1812" y="1800"/>
                  </a:lnTo>
                  <a:lnTo>
                    <a:pt x="1812" y="1788"/>
                  </a:lnTo>
                  <a:lnTo>
                    <a:pt x="1806" y="1776"/>
                  </a:lnTo>
                  <a:lnTo>
                    <a:pt x="1800" y="1764"/>
                  </a:lnTo>
                  <a:lnTo>
                    <a:pt x="1794" y="1758"/>
                  </a:lnTo>
                  <a:lnTo>
                    <a:pt x="1782" y="1740"/>
                  </a:lnTo>
                  <a:lnTo>
                    <a:pt x="1776" y="1728"/>
                  </a:lnTo>
                  <a:lnTo>
                    <a:pt x="1776" y="1722"/>
                  </a:lnTo>
                  <a:lnTo>
                    <a:pt x="1770" y="1722"/>
                  </a:lnTo>
                  <a:lnTo>
                    <a:pt x="1770" y="1716"/>
                  </a:lnTo>
                  <a:lnTo>
                    <a:pt x="1764" y="1716"/>
                  </a:lnTo>
                  <a:lnTo>
                    <a:pt x="1758" y="1710"/>
                  </a:lnTo>
                  <a:lnTo>
                    <a:pt x="1752" y="1704"/>
                  </a:lnTo>
                  <a:lnTo>
                    <a:pt x="1746" y="1704"/>
                  </a:lnTo>
                  <a:lnTo>
                    <a:pt x="1740" y="1704"/>
                  </a:lnTo>
                  <a:lnTo>
                    <a:pt x="1734" y="1704"/>
                  </a:lnTo>
                  <a:lnTo>
                    <a:pt x="1734" y="1698"/>
                  </a:lnTo>
                  <a:lnTo>
                    <a:pt x="1728" y="1692"/>
                  </a:lnTo>
                  <a:lnTo>
                    <a:pt x="1722" y="1686"/>
                  </a:lnTo>
                  <a:lnTo>
                    <a:pt x="1716" y="1686"/>
                  </a:lnTo>
                  <a:lnTo>
                    <a:pt x="1698" y="1686"/>
                  </a:lnTo>
                  <a:lnTo>
                    <a:pt x="1692" y="1692"/>
                  </a:lnTo>
                  <a:lnTo>
                    <a:pt x="1680" y="1692"/>
                  </a:lnTo>
                  <a:lnTo>
                    <a:pt x="1668" y="1692"/>
                  </a:lnTo>
                  <a:lnTo>
                    <a:pt x="1662" y="1692"/>
                  </a:lnTo>
                  <a:lnTo>
                    <a:pt x="1656" y="1692"/>
                  </a:lnTo>
                  <a:lnTo>
                    <a:pt x="1650" y="1698"/>
                  </a:lnTo>
                  <a:lnTo>
                    <a:pt x="1644" y="1698"/>
                  </a:lnTo>
                  <a:lnTo>
                    <a:pt x="1638" y="1698"/>
                  </a:lnTo>
                  <a:lnTo>
                    <a:pt x="1632" y="1698"/>
                  </a:lnTo>
                  <a:lnTo>
                    <a:pt x="1632" y="1692"/>
                  </a:lnTo>
                  <a:lnTo>
                    <a:pt x="1620" y="1680"/>
                  </a:lnTo>
                  <a:lnTo>
                    <a:pt x="1614" y="1680"/>
                  </a:lnTo>
                  <a:lnTo>
                    <a:pt x="1608" y="1680"/>
                  </a:lnTo>
                  <a:lnTo>
                    <a:pt x="1602" y="1680"/>
                  </a:lnTo>
                  <a:lnTo>
                    <a:pt x="1596" y="1674"/>
                  </a:lnTo>
                  <a:lnTo>
                    <a:pt x="1584" y="1674"/>
                  </a:lnTo>
                  <a:lnTo>
                    <a:pt x="1572" y="1674"/>
                  </a:lnTo>
                  <a:lnTo>
                    <a:pt x="1560" y="1674"/>
                  </a:lnTo>
                  <a:lnTo>
                    <a:pt x="1542" y="1680"/>
                  </a:lnTo>
                  <a:lnTo>
                    <a:pt x="1530" y="1680"/>
                  </a:lnTo>
                  <a:lnTo>
                    <a:pt x="1530" y="1674"/>
                  </a:lnTo>
                  <a:lnTo>
                    <a:pt x="1524" y="1674"/>
                  </a:lnTo>
                  <a:lnTo>
                    <a:pt x="1518" y="1674"/>
                  </a:lnTo>
                  <a:lnTo>
                    <a:pt x="1512" y="1674"/>
                  </a:lnTo>
                  <a:lnTo>
                    <a:pt x="1506" y="1674"/>
                  </a:lnTo>
                  <a:lnTo>
                    <a:pt x="1500" y="1680"/>
                  </a:lnTo>
                  <a:lnTo>
                    <a:pt x="1488" y="1680"/>
                  </a:lnTo>
                  <a:lnTo>
                    <a:pt x="1482" y="1674"/>
                  </a:lnTo>
                  <a:lnTo>
                    <a:pt x="1476" y="1674"/>
                  </a:lnTo>
                  <a:lnTo>
                    <a:pt x="1464" y="1674"/>
                  </a:lnTo>
                  <a:lnTo>
                    <a:pt x="1452" y="1680"/>
                  </a:lnTo>
                  <a:lnTo>
                    <a:pt x="1434" y="1680"/>
                  </a:lnTo>
                  <a:lnTo>
                    <a:pt x="1422" y="1680"/>
                  </a:lnTo>
                  <a:lnTo>
                    <a:pt x="1416" y="1680"/>
                  </a:lnTo>
                  <a:lnTo>
                    <a:pt x="1404" y="1674"/>
                  </a:lnTo>
                  <a:lnTo>
                    <a:pt x="1398" y="1674"/>
                  </a:lnTo>
                  <a:lnTo>
                    <a:pt x="1392" y="1662"/>
                  </a:lnTo>
                  <a:lnTo>
                    <a:pt x="1380" y="1644"/>
                  </a:lnTo>
                  <a:lnTo>
                    <a:pt x="1374" y="1632"/>
                  </a:lnTo>
                  <a:lnTo>
                    <a:pt x="1362" y="1626"/>
                  </a:lnTo>
                  <a:lnTo>
                    <a:pt x="1356" y="1620"/>
                  </a:lnTo>
                  <a:lnTo>
                    <a:pt x="1350" y="1626"/>
                  </a:lnTo>
                  <a:lnTo>
                    <a:pt x="1338" y="1626"/>
                  </a:lnTo>
                  <a:lnTo>
                    <a:pt x="1326" y="1626"/>
                  </a:lnTo>
                  <a:lnTo>
                    <a:pt x="1314" y="1620"/>
                  </a:lnTo>
                  <a:lnTo>
                    <a:pt x="1308" y="1614"/>
                  </a:lnTo>
                  <a:lnTo>
                    <a:pt x="1302" y="1608"/>
                  </a:lnTo>
                  <a:lnTo>
                    <a:pt x="1296" y="1602"/>
                  </a:lnTo>
                  <a:lnTo>
                    <a:pt x="1290" y="1602"/>
                  </a:lnTo>
                  <a:lnTo>
                    <a:pt x="1290" y="1596"/>
                  </a:lnTo>
                  <a:lnTo>
                    <a:pt x="1284" y="1590"/>
                  </a:lnTo>
                  <a:lnTo>
                    <a:pt x="1272" y="1584"/>
                  </a:lnTo>
                  <a:lnTo>
                    <a:pt x="1254" y="1572"/>
                  </a:lnTo>
                  <a:lnTo>
                    <a:pt x="1236" y="1554"/>
                  </a:lnTo>
                  <a:lnTo>
                    <a:pt x="1230" y="1554"/>
                  </a:lnTo>
                  <a:lnTo>
                    <a:pt x="1224" y="1554"/>
                  </a:lnTo>
                  <a:lnTo>
                    <a:pt x="1212" y="1554"/>
                  </a:lnTo>
                  <a:lnTo>
                    <a:pt x="1194" y="1542"/>
                  </a:lnTo>
                  <a:lnTo>
                    <a:pt x="1188" y="1536"/>
                  </a:lnTo>
                  <a:lnTo>
                    <a:pt x="1182" y="1530"/>
                  </a:lnTo>
                  <a:lnTo>
                    <a:pt x="1176" y="1530"/>
                  </a:lnTo>
                  <a:lnTo>
                    <a:pt x="1170" y="1530"/>
                  </a:lnTo>
                  <a:lnTo>
                    <a:pt x="1158" y="1524"/>
                  </a:lnTo>
                  <a:lnTo>
                    <a:pt x="1152" y="1524"/>
                  </a:lnTo>
                  <a:lnTo>
                    <a:pt x="1140" y="1518"/>
                  </a:lnTo>
                  <a:lnTo>
                    <a:pt x="1128" y="1518"/>
                  </a:lnTo>
                  <a:lnTo>
                    <a:pt x="1122" y="1518"/>
                  </a:lnTo>
                  <a:lnTo>
                    <a:pt x="1116" y="1518"/>
                  </a:lnTo>
                  <a:lnTo>
                    <a:pt x="1104" y="1518"/>
                  </a:lnTo>
                  <a:lnTo>
                    <a:pt x="1092" y="1518"/>
                  </a:lnTo>
                  <a:lnTo>
                    <a:pt x="1080" y="1518"/>
                  </a:lnTo>
                  <a:lnTo>
                    <a:pt x="1068" y="1518"/>
                  </a:lnTo>
                  <a:lnTo>
                    <a:pt x="1062" y="1518"/>
                  </a:lnTo>
                  <a:lnTo>
                    <a:pt x="1056" y="1518"/>
                  </a:lnTo>
                  <a:lnTo>
                    <a:pt x="1050" y="1512"/>
                  </a:lnTo>
                  <a:lnTo>
                    <a:pt x="1044" y="1512"/>
                  </a:lnTo>
                  <a:lnTo>
                    <a:pt x="1038" y="1512"/>
                  </a:lnTo>
                  <a:lnTo>
                    <a:pt x="1032" y="1506"/>
                  </a:lnTo>
                  <a:lnTo>
                    <a:pt x="1026" y="1500"/>
                  </a:lnTo>
                  <a:lnTo>
                    <a:pt x="1026" y="1494"/>
                  </a:lnTo>
                  <a:lnTo>
                    <a:pt x="1020" y="1476"/>
                  </a:lnTo>
                  <a:lnTo>
                    <a:pt x="1008" y="1464"/>
                  </a:lnTo>
                  <a:lnTo>
                    <a:pt x="1008" y="1458"/>
                  </a:lnTo>
                  <a:lnTo>
                    <a:pt x="1002" y="1446"/>
                  </a:lnTo>
                  <a:lnTo>
                    <a:pt x="996" y="1446"/>
                  </a:lnTo>
                  <a:lnTo>
                    <a:pt x="990" y="1440"/>
                  </a:lnTo>
                  <a:lnTo>
                    <a:pt x="984" y="1434"/>
                  </a:lnTo>
                  <a:lnTo>
                    <a:pt x="978" y="1434"/>
                  </a:lnTo>
                  <a:lnTo>
                    <a:pt x="972" y="1434"/>
                  </a:lnTo>
                  <a:lnTo>
                    <a:pt x="966" y="1428"/>
                  </a:lnTo>
                  <a:lnTo>
                    <a:pt x="954" y="1422"/>
                  </a:lnTo>
                  <a:lnTo>
                    <a:pt x="942" y="1416"/>
                  </a:lnTo>
                  <a:lnTo>
                    <a:pt x="924" y="1398"/>
                  </a:lnTo>
                  <a:lnTo>
                    <a:pt x="912" y="1386"/>
                  </a:lnTo>
                  <a:lnTo>
                    <a:pt x="900" y="1386"/>
                  </a:lnTo>
                  <a:lnTo>
                    <a:pt x="894" y="1386"/>
                  </a:lnTo>
                  <a:lnTo>
                    <a:pt x="882" y="1392"/>
                  </a:lnTo>
                  <a:lnTo>
                    <a:pt x="876" y="1392"/>
                  </a:lnTo>
                  <a:lnTo>
                    <a:pt x="864" y="1398"/>
                  </a:lnTo>
                  <a:lnTo>
                    <a:pt x="864" y="1404"/>
                  </a:lnTo>
                  <a:lnTo>
                    <a:pt x="858" y="1410"/>
                  </a:lnTo>
                  <a:lnTo>
                    <a:pt x="852" y="1410"/>
                  </a:lnTo>
                  <a:lnTo>
                    <a:pt x="846" y="1410"/>
                  </a:lnTo>
                  <a:lnTo>
                    <a:pt x="834" y="1410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10" y="1428"/>
                  </a:lnTo>
                  <a:lnTo>
                    <a:pt x="798" y="1428"/>
                  </a:lnTo>
                  <a:lnTo>
                    <a:pt x="792" y="1428"/>
                  </a:lnTo>
                  <a:lnTo>
                    <a:pt x="780" y="1434"/>
                  </a:lnTo>
                  <a:lnTo>
                    <a:pt x="774" y="1428"/>
                  </a:lnTo>
                  <a:lnTo>
                    <a:pt x="762" y="1428"/>
                  </a:lnTo>
                  <a:lnTo>
                    <a:pt x="756" y="1422"/>
                  </a:lnTo>
                  <a:lnTo>
                    <a:pt x="750" y="1416"/>
                  </a:lnTo>
                  <a:lnTo>
                    <a:pt x="744" y="1410"/>
                  </a:lnTo>
                  <a:lnTo>
                    <a:pt x="744" y="1398"/>
                  </a:lnTo>
                  <a:lnTo>
                    <a:pt x="744" y="1386"/>
                  </a:lnTo>
                  <a:lnTo>
                    <a:pt x="750" y="1380"/>
                  </a:lnTo>
                  <a:lnTo>
                    <a:pt x="750" y="1374"/>
                  </a:lnTo>
                  <a:lnTo>
                    <a:pt x="750" y="1368"/>
                  </a:lnTo>
                  <a:lnTo>
                    <a:pt x="756" y="1362"/>
                  </a:lnTo>
                  <a:lnTo>
                    <a:pt x="750" y="1350"/>
                  </a:lnTo>
                  <a:lnTo>
                    <a:pt x="744" y="1344"/>
                  </a:lnTo>
                  <a:lnTo>
                    <a:pt x="738" y="1338"/>
                  </a:lnTo>
                  <a:lnTo>
                    <a:pt x="726" y="1338"/>
                  </a:lnTo>
                  <a:lnTo>
                    <a:pt x="720" y="1338"/>
                  </a:lnTo>
                  <a:lnTo>
                    <a:pt x="714" y="1338"/>
                  </a:lnTo>
                  <a:lnTo>
                    <a:pt x="708" y="1332"/>
                  </a:lnTo>
                  <a:lnTo>
                    <a:pt x="702" y="1332"/>
                  </a:lnTo>
                  <a:lnTo>
                    <a:pt x="696" y="1326"/>
                  </a:lnTo>
                  <a:lnTo>
                    <a:pt x="684" y="1326"/>
                  </a:lnTo>
                  <a:lnTo>
                    <a:pt x="678" y="1326"/>
                  </a:lnTo>
                  <a:lnTo>
                    <a:pt x="672" y="1314"/>
                  </a:lnTo>
                  <a:lnTo>
                    <a:pt x="666" y="1308"/>
                  </a:lnTo>
                  <a:lnTo>
                    <a:pt x="654" y="1296"/>
                  </a:lnTo>
                  <a:lnTo>
                    <a:pt x="654" y="1290"/>
                  </a:lnTo>
                  <a:lnTo>
                    <a:pt x="630" y="1284"/>
                  </a:lnTo>
                  <a:lnTo>
                    <a:pt x="630" y="1278"/>
                  </a:lnTo>
                  <a:lnTo>
                    <a:pt x="624" y="1278"/>
                  </a:lnTo>
                  <a:lnTo>
                    <a:pt x="618" y="1266"/>
                  </a:lnTo>
                  <a:lnTo>
                    <a:pt x="612" y="1266"/>
                  </a:lnTo>
                  <a:lnTo>
                    <a:pt x="606" y="1266"/>
                  </a:lnTo>
                  <a:lnTo>
                    <a:pt x="606" y="1260"/>
                  </a:lnTo>
                  <a:lnTo>
                    <a:pt x="594" y="1248"/>
                  </a:lnTo>
                  <a:lnTo>
                    <a:pt x="582" y="1248"/>
                  </a:lnTo>
                  <a:lnTo>
                    <a:pt x="576" y="1242"/>
                  </a:lnTo>
                  <a:lnTo>
                    <a:pt x="570" y="1236"/>
                  </a:lnTo>
                  <a:lnTo>
                    <a:pt x="504" y="1164"/>
                  </a:lnTo>
                  <a:lnTo>
                    <a:pt x="450" y="1110"/>
                  </a:lnTo>
                  <a:lnTo>
                    <a:pt x="426" y="1092"/>
                  </a:lnTo>
                  <a:lnTo>
                    <a:pt x="426" y="1074"/>
                  </a:lnTo>
                  <a:lnTo>
                    <a:pt x="420" y="1062"/>
                  </a:lnTo>
                  <a:lnTo>
                    <a:pt x="396" y="1056"/>
                  </a:lnTo>
                  <a:lnTo>
                    <a:pt x="384" y="1032"/>
                  </a:lnTo>
                  <a:lnTo>
                    <a:pt x="372" y="1020"/>
                  </a:lnTo>
                  <a:lnTo>
                    <a:pt x="360" y="984"/>
                  </a:lnTo>
                  <a:lnTo>
                    <a:pt x="348" y="978"/>
                  </a:lnTo>
                  <a:lnTo>
                    <a:pt x="342" y="972"/>
                  </a:lnTo>
                  <a:lnTo>
                    <a:pt x="348" y="960"/>
                  </a:lnTo>
                  <a:lnTo>
                    <a:pt x="342" y="954"/>
                  </a:lnTo>
                  <a:lnTo>
                    <a:pt x="336" y="954"/>
                  </a:lnTo>
                  <a:lnTo>
                    <a:pt x="330" y="954"/>
                  </a:lnTo>
                  <a:lnTo>
                    <a:pt x="324" y="972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0" y="966"/>
                  </a:lnTo>
                  <a:lnTo>
                    <a:pt x="294" y="966"/>
                  </a:lnTo>
                  <a:lnTo>
                    <a:pt x="288" y="972"/>
                  </a:lnTo>
                  <a:lnTo>
                    <a:pt x="288" y="966"/>
                  </a:lnTo>
                  <a:lnTo>
                    <a:pt x="282" y="948"/>
                  </a:lnTo>
                  <a:lnTo>
                    <a:pt x="282" y="942"/>
                  </a:lnTo>
                  <a:lnTo>
                    <a:pt x="276" y="942"/>
                  </a:lnTo>
                  <a:lnTo>
                    <a:pt x="276" y="936"/>
                  </a:lnTo>
                  <a:lnTo>
                    <a:pt x="270" y="942"/>
                  </a:lnTo>
                  <a:lnTo>
                    <a:pt x="264" y="948"/>
                  </a:lnTo>
                  <a:lnTo>
                    <a:pt x="264" y="942"/>
                  </a:lnTo>
                  <a:lnTo>
                    <a:pt x="258" y="942"/>
                  </a:lnTo>
                  <a:lnTo>
                    <a:pt x="252" y="948"/>
                  </a:lnTo>
                  <a:lnTo>
                    <a:pt x="252" y="942"/>
                  </a:lnTo>
                  <a:lnTo>
                    <a:pt x="246" y="936"/>
                  </a:lnTo>
                  <a:lnTo>
                    <a:pt x="240" y="942"/>
                  </a:lnTo>
                  <a:lnTo>
                    <a:pt x="234" y="936"/>
                  </a:lnTo>
                  <a:lnTo>
                    <a:pt x="228" y="936"/>
                  </a:lnTo>
                  <a:lnTo>
                    <a:pt x="222" y="936"/>
                  </a:lnTo>
                  <a:lnTo>
                    <a:pt x="222" y="930"/>
                  </a:lnTo>
                  <a:lnTo>
                    <a:pt x="222" y="924"/>
                  </a:lnTo>
                  <a:lnTo>
                    <a:pt x="228" y="924"/>
                  </a:lnTo>
                  <a:lnTo>
                    <a:pt x="234" y="924"/>
                  </a:lnTo>
                  <a:lnTo>
                    <a:pt x="240" y="924"/>
                  </a:lnTo>
                  <a:lnTo>
                    <a:pt x="240" y="918"/>
                  </a:lnTo>
                  <a:lnTo>
                    <a:pt x="246" y="918"/>
                  </a:lnTo>
                  <a:lnTo>
                    <a:pt x="246" y="912"/>
                  </a:lnTo>
                  <a:lnTo>
                    <a:pt x="240" y="906"/>
                  </a:lnTo>
                  <a:lnTo>
                    <a:pt x="234" y="906"/>
                  </a:lnTo>
                  <a:lnTo>
                    <a:pt x="228" y="906"/>
                  </a:lnTo>
                  <a:lnTo>
                    <a:pt x="228" y="912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8" y="894"/>
                  </a:lnTo>
                  <a:lnTo>
                    <a:pt x="234" y="894"/>
                  </a:lnTo>
                  <a:lnTo>
                    <a:pt x="228" y="888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198" y="888"/>
                  </a:lnTo>
                  <a:lnTo>
                    <a:pt x="192" y="882"/>
                  </a:lnTo>
                  <a:lnTo>
                    <a:pt x="186" y="882"/>
                  </a:lnTo>
                  <a:lnTo>
                    <a:pt x="186" y="876"/>
                  </a:lnTo>
                  <a:lnTo>
                    <a:pt x="192" y="876"/>
                  </a:lnTo>
                  <a:lnTo>
                    <a:pt x="192" y="870"/>
                  </a:lnTo>
                  <a:lnTo>
                    <a:pt x="198" y="870"/>
                  </a:lnTo>
                  <a:lnTo>
                    <a:pt x="198" y="864"/>
                  </a:lnTo>
                  <a:lnTo>
                    <a:pt x="198" y="858"/>
                  </a:lnTo>
                  <a:lnTo>
                    <a:pt x="180" y="852"/>
                  </a:lnTo>
                  <a:lnTo>
                    <a:pt x="174" y="840"/>
                  </a:lnTo>
                  <a:lnTo>
                    <a:pt x="162" y="846"/>
                  </a:lnTo>
                  <a:lnTo>
                    <a:pt x="156" y="846"/>
                  </a:lnTo>
                  <a:lnTo>
                    <a:pt x="150" y="846"/>
                  </a:lnTo>
                  <a:lnTo>
                    <a:pt x="150" y="840"/>
                  </a:lnTo>
                  <a:lnTo>
                    <a:pt x="138" y="834"/>
                  </a:lnTo>
                  <a:lnTo>
                    <a:pt x="132" y="834"/>
                  </a:lnTo>
                  <a:lnTo>
                    <a:pt x="132" y="840"/>
                  </a:lnTo>
                  <a:lnTo>
                    <a:pt x="126" y="840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58"/>
                  </a:lnTo>
                  <a:lnTo>
                    <a:pt x="120" y="846"/>
                  </a:lnTo>
                  <a:lnTo>
                    <a:pt x="114" y="846"/>
                  </a:lnTo>
                  <a:lnTo>
                    <a:pt x="108" y="840"/>
                  </a:lnTo>
                  <a:lnTo>
                    <a:pt x="102" y="834"/>
                  </a:lnTo>
                  <a:lnTo>
                    <a:pt x="102" y="822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78" y="804"/>
                  </a:lnTo>
                  <a:lnTo>
                    <a:pt x="78" y="798"/>
                  </a:lnTo>
                  <a:lnTo>
                    <a:pt x="78" y="792"/>
                  </a:lnTo>
                  <a:lnTo>
                    <a:pt x="78" y="786"/>
                  </a:lnTo>
                  <a:lnTo>
                    <a:pt x="78" y="780"/>
                  </a:lnTo>
                  <a:lnTo>
                    <a:pt x="72" y="774"/>
                  </a:lnTo>
                  <a:lnTo>
                    <a:pt x="66" y="774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60" y="762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6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2" y="666"/>
                  </a:lnTo>
                  <a:lnTo>
                    <a:pt x="18" y="648"/>
                  </a:lnTo>
                  <a:lnTo>
                    <a:pt x="24" y="636"/>
                  </a:lnTo>
                  <a:lnTo>
                    <a:pt x="30" y="630"/>
                  </a:lnTo>
                  <a:lnTo>
                    <a:pt x="30" y="624"/>
                  </a:lnTo>
                  <a:lnTo>
                    <a:pt x="30" y="612"/>
                  </a:lnTo>
                  <a:lnTo>
                    <a:pt x="30" y="606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66" y="582"/>
                  </a:lnTo>
                  <a:lnTo>
                    <a:pt x="72" y="588"/>
                  </a:lnTo>
                  <a:lnTo>
                    <a:pt x="84" y="594"/>
                  </a:lnTo>
                  <a:lnTo>
                    <a:pt x="90" y="600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14" y="612"/>
                  </a:lnTo>
                  <a:lnTo>
                    <a:pt x="120" y="612"/>
                  </a:lnTo>
                  <a:lnTo>
                    <a:pt x="126" y="618"/>
                  </a:lnTo>
                  <a:lnTo>
                    <a:pt x="138" y="594"/>
                  </a:lnTo>
                  <a:lnTo>
                    <a:pt x="138" y="582"/>
                  </a:lnTo>
                  <a:lnTo>
                    <a:pt x="138" y="570"/>
                  </a:lnTo>
                  <a:lnTo>
                    <a:pt x="138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50" y="528"/>
                  </a:lnTo>
                  <a:lnTo>
                    <a:pt x="156" y="510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62"/>
                  </a:lnTo>
                  <a:lnTo>
                    <a:pt x="168" y="450"/>
                  </a:lnTo>
                  <a:lnTo>
                    <a:pt x="168" y="444"/>
                  </a:lnTo>
                  <a:lnTo>
                    <a:pt x="162" y="432"/>
                  </a:lnTo>
                  <a:lnTo>
                    <a:pt x="162" y="426"/>
                  </a:lnTo>
                  <a:lnTo>
                    <a:pt x="156" y="420"/>
                  </a:lnTo>
                  <a:lnTo>
                    <a:pt x="144" y="414"/>
                  </a:lnTo>
                  <a:lnTo>
                    <a:pt x="132" y="402"/>
                  </a:lnTo>
                  <a:lnTo>
                    <a:pt x="126" y="390"/>
                  </a:lnTo>
                  <a:lnTo>
                    <a:pt x="120" y="384"/>
                  </a:lnTo>
                  <a:lnTo>
                    <a:pt x="120" y="372"/>
                  </a:lnTo>
                  <a:lnTo>
                    <a:pt x="114" y="360"/>
                  </a:lnTo>
                  <a:lnTo>
                    <a:pt x="108" y="360"/>
                  </a:lnTo>
                  <a:lnTo>
                    <a:pt x="108" y="354"/>
                  </a:lnTo>
                  <a:lnTo>
                    <a:pt x="102" y="348"/>
                  </a:lnTo>
                  <a:lnTo>
                    <a:pt x="102" y="342"/>
                  </a:lnTo>
                  <a:lnTo>
                    <a:pt x="108" y="330"/>
                  </a:lnTo>
                  <a:lnTo>
                    <a:pt x="114" y="312"/>
                  </a:lnTo>
                  <a:lnTo>
                    <a:pt x="114" y="300"/>
                  </a:lnTo>
                  <a:lnTo>
                    <a:pt x="120" y="288"/>
                  </a:lnTo>
                  <a:lnTo>
                    <a:pt x="120" y="282"/>
                  </a:lnTo>
                  <a:lnTo>
                    <a:pt x="114" y="270"/>
                  </a:lnTo>
                  <a:lnTo>
                    <a:pt x="114" y="258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84" y="222"/>
                  </a:lnTo>
                  <a:lnTo>
                    <a:pt x="84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84" y="186"/>
                  </a:lnTo>
                  <a:lnTo>
                    <a:pt x="84" y="180"/>
                  </a:lnTo>
                  <a:lnTo>
                    <a:pt x="108" y="174"/>
                  </a:lnTo>
                  <a:lnTo>
                    <a:pt x="132" y="186"/>
                  </a:lnTo>
                  <a:lnTo>
                    <a:pt x="138" y="192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56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74" y="204"/>
                  </a:lnTo>
                  <a:lnTo>
                    <a:pt x="180" y="216"/>
                  </a:lnTo>
                  <a:lnTo>
                    <a:pt x="186" y="228"/>
                  </a:lnTo>
                  <a:lnTo>
                    <a:pt x="192" y="234"/>
                  </a:lnTo>
                  <a:lnTo>
                    <a:pt x="198" y="234"/>
                  </a:lnTo>
                  <a:lnTo>
                    <a:pt x="204" y="240"/>
                  </a:lnTo>
                  <a:lnTo>
                    <a:pt x="210" y="240"/>
                  </a:lnTo>
                  <a:lnTo>
                    <a:pt x="216" y="240"/>
                  </a:lnTo>
                  <a:lnTo>
                    <a:pt x="222" y="240"/>
                  </a:lnTo>
                  <a:lnTo>
                    <a:pt x="228" y="246"/>
                  </a:lnTo>
                  <a:lnTo>
                    <a:pt x="234" y="246"/>
                  </a:lnTo>
                  <a:lnTo>
                    <a:pt x="240" y="246"/>
                  </a:lnTo>
                  <a:lnTo>
                    <a:pt x="252" y="252"/>
                  </a:lnTo>
                  <a:lnTo>
                    <a:pt x="330" y="246"/>
                  </a:lnTo>
                  <a:lnTo>
                    <a:pt x="360" y="228"/>
                  </a:lnTo>
                  <a:lnTo>
                    <a:pt x="396" y="228"/>
                  </a:lnTo>
                  <a:lnTo>
                    <a:pt x="402" y="240"/>
                  </a:lnTo>
                  <a:lnTo>
                    <a:pt x="432" y="240"/>
                  </a:lnTo>
                  <a:lnTo>
                    <a:pt x="450" y="258"/>
                  </a:lnTo>
                  <a:lnTo>
                    <a:pt x="468" y="258"/>
                  </a:lnTo>
                  <a:lnTo>
                    <a:pt x="474" y="294"/>
                  </a:lnTo>
                  <a:lnTo>
                    <a:pt x="558" y="318"/>
                  </a:lnTo>
                  <a:lnTo>
                    <a:pt x="588" y="318"/>
                  </a:lnTo>
                  <a:lnTo>
                    <a:pt x="588" y="312"/>
                  </a:lnTo>
                  <a:lnTo>
                    <a:pt x="594" y="306"/>
                  </a:lnTo>
                  <a:lnTo>
                    <a:pt x="600" y="306"/>
                  </a:lnTo>
                  <a:lnTo>
                    <a:pt x="612" y="300"/>
                  </a:lnTo>
                  <a:lnTo>
                    <a:pt x="618" y="300"/>
                  </a:lnTo>
                  <a:lnTo>
                    <a:pt x="630" y="300"/>
                  </a:lnTo>
                  <a:lnTo>
                    <a:pt x="642" y="306"/>
                  </a:lnTo>
                  <a:lnTo>
                    <a:pt x="660" y="306"/>
                  </a:lnTo>
                  <a:lnTo>
                    <a:pt x="666" y="306"/>
                  </a:lnTo>
                  <a:lnTo>
                    <a:pt x="672" y="306"/>
                  </a:lnTo>
                  <a:lnTo>
                    <a:pt x="684" y="300"/>
                  </a:lnTo>
                  <a:lnTo>
                    <a:pt x="696" y="294"/>
                  </a:lnTo>
                  <a:lnTo>
                    <a:pt x="702" y="288"/>
                  </a:lnTo>
                  <a:lnTo>
                    <a:pt x="714" y="282"/>
                  </a:lnTo>
                  <a:lnTo>
                    <a:pt x="714" y="288"/>
                  </a:lnTo>
                  <a:lnTo>
                    <a:pt x="726" y="300"/>
                  </a:lnTo>
                  <a:lnTo>
                    <a:pt x="732" y="306"/>
                  </a:lnTo>
                  <a:lnTo>
                    <a:pt x="732" y="318"/>
                  </a:lnTo>
                  <a:lnTo>
                    <a:pt x="732" y="330"/>
                  </a:lnTo>
                  <a:lnTo>
                    <a:pt x="726" y="342"/>
                  </a:lnTo>
                  <a:lnTo>
                    <a:pt x="720" y="354"/>
                  </a:lnTo>
                  <a:lnTo>
                    <a:pt x="720" y="360"/>
                  </a:lnTo>
                  <a:lnTo>
                    <a:pt x="714" y="372"/>
                  </a:lnTo>
                  <a:lnTo>
                    <a:pt x="714" y="378"/>
                  </a:lnTo>
                  <a:lnTo>
                    <a:pt x="714" y="408"/>
                  </a:lnTo>
                  <a:lnTo>
                    <a:pt x="708" y="420"/>
                  </a:lnTo>
                  <a:lnTo>
                    <a:pt x="714" y="432"/>
                  </a:lnTo>
                  <a:lnTo>
                    <a:pt x="708" y="450"/>
                  </a:lnTo>
                  <a:lnTo>
                    <a:pt x="708" y="468"/>
                  </a:lnTo>
                  <a:lnTo>
                    <a:pt x="696" y="480"/>
                  </a:lnTo>
                  <a:lnTo>
                    <a:pt x="684" y="486"/>
                  </a:lnTo>
                  <a:lnTo>
                    <a:pt x="672" y="492"/>
                  </a:lnTo>
                  <a:lnTo>
                    <a:pt x="660" y="498"/>
                  </a:lnTo>
                  <a:lnTo>
                    <a:pt x="654" y="510"/>
                  </a:lnTo>
                  <a:lnTo>
                    <a:pt x="648" y="516"/>
                  </a:lnTo>
                  <a:lnTo>
                    <a:pt x="642" y="522"/>
                  </a:lnTo>
                  <a:lnTo>
                    <a:pt x="630" y="522"/>
                  </a:lnTo>
                  <a:lnTo>
                    <a:pt x="624" y="528"/>
                  </a:lnTo>
                  <a:lnTo>
                    <a:pt x="618" y="540"/>
                  </a:lnTo>
                  <a:lnTo>
                    <a:pt x="618" y="558"/>
                  </a:lnTo>
                  <a:lnTo>
                    <a:pt x="612" y="576"/>
                  </a:lnTo>
                  <a:lnTo>
                    <a:pt x="612" y="684"/>
                  </a:lnTo>
                  <a:lnTo>
                    <a:pt x="618" y="696"/>
                  </a:lnTo>
                  <a:lnTo>
                    <a:pt x="636" y="696"/>
                  </a:lnTo>
                  <a:lnTo>
                    <a:pt x="636" y="720"/>
                  </a:lnTo>
                  <a:lnTo>
                    <a:pt x="636" y="732"/>
                  </a:lnTo>
                  <a:lnTo>
                    <a:pt x="618" y="750"/>
                  </a:lnTo>
                  <a:lnTo>
                    <a:pt x="606" y="762"/>
                  </a:lnTo>
                  <a:lnTo>
                    <a:pt x="600" y="774"/>
                  </a:lnTo>
                  <a:lnTo>
                    <a:pt x="594" y="798"/>
                  </a:lnTo>
                  <a:lnTo>
                    <a:pt x="606" y="798"/>
                  </a:lnTo>
                  <a:lnTo>
                    <a:pt x="660" y="792"/>
                  </a:lnTo>
                  <a:lnTo>
                    <a:pt x="696" y="798"/>
                  </a:lnTo>
                  <a:lnTo>
                    <a:pt x="720" y="798"/>
                  </a:lnTo>
                  <a:lnTo>
                    <a:pt x="720" y="786"/>
                  </a:lnTo>
                  <a:lnTo>
                    <a:pt x="720" y="774"/>
                  </a:lnTo>
                  <a:lnTo>
                    <a:pt x="702" y="762"/>
                  </a:lnTo>
                  <a:lnTo>
                    <a:pt x="702" y="750"/>
                  </a:lnTo>
                  <a:lnTo>
                    <a:pt x="702" y="726"/>
                  </a:lnTo>
                  <a:lnTo>
                    <a:pt x="714" y="714"/>
                  </a:lnTo>
                  <a:lnTo>
                    <a:pt x="720" y="702"/>
                  </a:lnTo>
                  <a:lnTo>
                    <a:pt x="720" y="696"/>
                  </a:lnTo>
                  <a:lnTo>
                    <a:pt x="744" y="690"/>
                  </a:lnTo>
                  <a:lnTo>
                    <a:pt x="744" y="696"/>
                  </a:lnTo>
                  <a:lnTo>
                    <a:pt x="756" y="696"/>
                  </a:lnTo>
                  <a:lnTo>
                    <a:pt x="762" y="690"/>
                  </a:lnTo>
                  <a:lnTo>
                    <a:pt x="768" y="690"/>
                  </a:lnTo>
                  <a:lnTo>
                    <a:pt x="774" y="696"/>
                  </a:lnTo>
                  <a:lnTo>
                    <a:pt x="780" y="696"/>
                  </a:lnTo>
                  <a:lnTo>
                    <a:pt x="786" y="696"/>
                  </a:lnTo>
                  <a:lnTo>
                    <a:pt x="804" y="684"/>
                  </a:lnTo>
                  <a:lnTo>
                    <a:pt x="810" y="684"/>
                  </a:lnTo>
                  <a:lnTo>
                    <a:pt x="810" y="654"/>
                  </a:lnTo>
                  <a:lnTo>
                    <a:pt x="816" y="588"/>
                  </a:lnTo>
                  <a:lnTo>
                    <a:pt x="804" y="582"/>
                  </a:lnTo>
                  <a:lnTo>
                    <a:pt x="798" y="552"/>
                  </a:lnTo>
                  <a:lnTo>
                    <a:pt x="798" y="480"/>
                  </a:lnTo>
                  <a:lnTo>
                    <a:pt x="780" y="468"/>
                  </a:lnTo>
                  <a:lnTo>
                    <a:pt x="780" y="462"/>
                  </a:lnTo>
                  <a:lnTo>
                    <a:pt x="774" y="450"/>
                  </a:lnTo>
                  <a:lnTo>
                    <a:pt x="762" y="444"/>
                  </a:lnTo>
                  <a:lnTo>
                    <a:pt x="762" y="438"/>
                  </a:lnTo>
                  <a:lnTo>
                    <a:pt x="768" y="432"/>
                  </a:lnTo>
                  <a:lnTo>
                    <a:pt x="774" y="426"/>
                  </a:lnTo>
                  <a:lnTo>
                    <a:pt x="780" y="426"/>
                  </a:lnTo>
                  <a:lnTo>
                    <a:pt x="780" y="414"/>
                  </a:lnTo>
                  <a:lnTo>
                    <a:pt x="834" y="414"/>
                  </a:lnTo>
                  <a:lnTo>
                    <a:pt x="834" y="426"/>
                  </a:lnTo>
                  <a:lnTo>
                    <a:pt x="840" y="432"/>
                  </a:lnTo>
                  <a:lnTo>
                    <a:pt x="846" y="432"/>
                  </a:lnTo>
                  <a:lnTo>
                    <a:pt x="852" y="432"/>
                  </a:lnTo>
                  <a:lnTo>
                    <a:pt x="858" y="432"/>
                  </a:lnTo>
                  <a:lnTo>
                    <a:pt x="870" y="432"/>
                  </a:lnTo>
                  <a:lnTo>
                    <a:pt x="870" y="426"/>
                  </a:lnTo>
                  <a:lnTo>
                    <a:pt x="870" y="420"/>
                  </a:lnTo>
                  <a:lnTo>
                    <a:pt x="876" y="420"/>
                  </a:lnTo>
                  <a:lnTo>
                    <a:pt x="882" y="420"/>
                  </a:lnTo>
                  <a:lnTo>
                    <a:pt x="894" y="414"/>
                  </a:lnTo>
                  <a:lnTo>
                    <a:pt x="900" y="414"/>
                  </a:lnTo>
                  <a:lnTo>
                    <a:pt x="906" y="408"/>
                  </a:lnTo>
                  <a:lnTo>
                    <a:pt x="918" y="408"/>
                  </a:lnTo>
                  <a:lnTo>
                    <a:pt x="924" y="402"/>
                  </a:lnTo>
                  <a:lnTo>
                    <a:pt x="930" y="384"/>
                  </a:lnTo>
                  <a:lnTo>
                    <a:pt x="948" y="396"/>
                  </a:lnTo>
                  <a:lnTo>
                    <a:pt x="954" y="384"/>
                  </a:lnTo>
                  <a:lnTo>
                    <a:pt x="960" y="384"/>
                  </a:lnTo>
                  <a:lnTo>
                    <a:pt x="972" y="384"/>
                  </a:lnTo>
                  <a:lnTo>
                    <a:pt x="978" y="378"/>
                  </a:lnTo>
                  <a:lnTo>
                    <a:pt x="972" y="366"/>
                  </a:lnTo>
                  <a:lnTo>
                    <a:pt x="966" y="342"/>
                  </a:lnTo>
                  <a:lnTo>
                    <a:pt x="960" y="330"/>
                  </a:lnTo>
                  <a:lnTo>
                    <a:pt x="942" y="324"/>
                  </a:lnTo>
                  <a:lnTo>
                    <a:pt x="936" y="318"/>
                  </a:lnTo>
                  <a:lnTo>
                    <a:pt x="936" y="294"/>
                  </a:lnTo>
                  <a:lnTo>
                    <a:pt x="942" y="294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282"/>
                  </a:lnTo>
                  <a:lnTo>
                    <a:pt x="954" y="276"/>
                  </a:lnTo>
                  <a:lnTo>
                    <a:pt x="960" y="276"/>
                  </a:lnTo>
                  <a:lnTo>
                    <a:pt x="966" y="276"/>
                  </a:lnTo>
                  <a:lnTo>
                    <a:pt x="960" y="258"/>
                  </a:lnTo>
                  <a:lnTo>
                    <a:pt x="954" y="240"/>
                  </a:lnTo>
                  <a:lnTo>
                    <a:pt x="948" y="204"/>
                  </a:lnTo>
                  <a:lnTo>
                    <a:pt x="954" y="204"/>
                  </a:lnTo>
                  <a:lnTo>
                    <a:pt x="960" y="198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00" y="186"/>
                  </a:lnTo>
                  <a:lnTo>
                    <a:pt x="876" y="180"/>
                  </a:lnTo>
                  <a:lnTo>
                    <a:pt x="858" y="180"/>
                  </a:lnTo>
                  <a:lnTo>
                    <a:pt x="852" y="168"/>
                  </a:lnTo>
                  <a:lnTo>
                    <a:pt x="834" y="156"/>
                  </a:lnTo>
                  <a:lnTo>
                    <a:pt x="822" y="156"/>
                  </a:lnTo>
                  <a:lnTo>
                    <a:pt x="804" y="156"/>
                  </a:lnTo>
                  <a:lnTo>
                    <a:pt x="804" y="150"/>
                  </a:lnTo>
                  <a:lnTo>
                    <a:pt x="792" y="144"/>
                  </a:lnTo>
                  <a:lnTo>
                    <a:pt x="762" y="138"/>
                  </a:lnTo>
                  <a:lnTo>
                    <a:pt x="768" y="120"/>
                  </a:lnTo>
                  <a:lnTo>
                    <a:pt x="756" y="120"/>
                  </a:lnTo>
                  <a:lnTo>
                    <a:pt x="744" y="108"/>
                  </a:lnTo>
                  <a:lnTo>
                    <a:pt x="744" y="96"/>
                  </a:lnTo>
                  <a:lnTo>
                    <a:pt x="762" y="84"/>
                  </a:lnTo>
                  <a:lnTo>
                    <a:pt x="768" y="84"/>
                  </a:lnTo>
                  <a:lnTo>
                    <a:pt x="768" y="72"/>
                  </a:lnTo>
                  <a:lnTo>
                    <a:pt x="780" y="66"/>
                  </a:lnTo>
                  <a:lnTo>
                    <a:pt x="798" y="54"/>
                  </a:lnTo>
                  <a:lnTo>
                    <a:pt x="792" y="54"/>
                  </a:lnTo>
                  <a:lnTo>
                    <a:pt x="798" y="36"/>
                  </a:lnTo>
                  <a:lnTo>
                    <a:pt x="804" y="36"/>
                  </a:lnTo>
                  <a:lnTo>
                    <a:pt x="816" y="30"/>
                  </a:lnTo>
                  <a:lnTo>
                    <a:pt x="828" y="30"/>
                  </a:lnTo>
                  <a:lnTo>
                    <a:pt x="846" y="12"/>
                  </a:lnTo>
                  <a:lnTo>
                    <a:pt x="876" y="0"/>
                  </a:lnTo>
                  <a:lnTo>
                    <a:pt x="882" y="6"/>
                  </a:lnTo>
                  <a:lnTo>
                    <a:pt x="900" y="6"/>
                  </a:lnTo>
                  <a:lnTo>
                    <a:pt x="912" y="36"/>
                  </a:lnTo>
                  <a:lnTo>
                    <a:pt x="918" y="42"/>
                  </a:lnTo>
                  <a:lnTo>
                    <a:pt x="924" y="54"/>
                  </a:lnTo>
                  <a:lnTo>
                    <a:pt x="930" y="54"/>
                  </a:lnTo>
                  <a:lnTo>
                    <a:pt x="930" y="78"/>
                  </a:lnTo>
                  <a:lnTo>
                    <a:pt x="954" y="72"/>
                  </a:lnTo>
                  <a:lnTo>
                    <a:pt x="954" y="60"/>
                  </a:lnTo>
                  <a:lnTo>
                    <a:pt x="966" y="66"/>
                  </a:lnTo>
                  <a:lnTo>
                    <a:pt x="966" y="78"/>
                  </a:lnTo>
                  <a:lnTo>
                    <a:pt x="960" y="84"/>
                  </a:lnTo>
                  <a:lnTo>
                    <a:pt x="954" y="102"/>
                  </a:lnTo>
                  <a:lnTo>
                    <a:pt x="972" y="102"/>
                  </a:lnTo>
                  <a:lnTo>
                    <a:pt x="978" y="84"/>
                  </a:lnTo>
                  <a:lnTo>
                    <a:pt x="984" y="72"/>
                  </a:lnTo>
                  <a:lnTo>
                    <a:pt x="990" y="72"/>
                  </a:lnTo>
                  <a:lnTo>
                    <a:pt x="996" y="18"/>
                  </a:lnTo>
                  <a:lnTo>
                    <a:pt x="990" y="12"/>
                  </a:lnTo>
                  <a:lnTo>
                    <a:pt x="1014" y="12"/>
                  </a:lnTo>
                  <a:lnTo>
                    <a:pt x="1026" y="12"/>
                  </a:lnTo>
                  <a:lnTo>
                    <a:pt x="1026" y="24"/>
                  </a:lnTo>
                  <a:lnTo>
                    <a:pt x="1050" y="24"/>
                  </a:lnTo>
                  <a:lnTo>
                    <a:pt x="1050" y="36"/>
                  </a:lnTo>
                  <a:lnTo>
                    <a:pt x="1062" y="66"/>
                  </a:lnTo>
                  <a:lnTo>
                    <a:pt x="1074" y="66"/>
                  </a:lnTo>
                  <a:lnTo>
                    <a:pt x="1080" y="60"/>
                  </a:lnTo>
                  <a:lnTo>
                    <a:pt x="1074" y="24"/>
                  </a:lnTo>
                  <a:lnTo>
                    <a:pt x="1086" y="18"/>
                  </a:lnTo>
                  <a:lnTo>
                    <a:pt x="1086" y="12"/>
                  </a:lnTo>
                  <a:lnTo>
                    <a:pt x="1104" y="6"/>
                  </a:lnTo>
                  <a:lnTo>
                    <a:pt x="1122" y="0"/>
                  </a:lnTo>
                  <a:lnTo>
                    <a:pt x="1134" y="6"/>
                  </a:lnTo>
                  <a:lnTo>
                    <a:pt x="1134" y="42"/>
                  </a:lnTo>
                  <a:lnTo>
                    <a:pt x="1140" y="72"/>
                  </a:lnTo>
                  <a:lnTo>
                    <a:pt x="1158" y="114"/>
                  </a:lnTo>
                  <a:lnTo>
                    <a:pt x="1170" y="114"/>
                  </a:lnTo>
                  <a:lnTo>
                    <a:pt x="1170" y="126"/>
                  </a:lnTo>
                  <a:lnTo>
                    <a:pt x="1182" y="126"/>
                  </a:lnTo>
                  <a:lnTo>
                    <a:pt x="1182" y="138"/>
                  </a:lnTo>
                  <a:lnTo>
                    <a:pt x="1194" y="144"/>
                  </a:lnTo>
                  <a:lnTo>
                    <a:pt x="1194" y="156"/>
                  </a:lnTo>
                  <a:lnTo>
                    <a:pt x="1188" y="156"/>
                  </a:lnTo>
                  <a:lnTo>
                    <a:pt x="1194" y="162"/>
                  </a:lnTo>
                  <a:lnTo>
                    <a:pt x="1194" y="168"/>
                  </a:lnTo>
                  <a:lnTo>
                    <a:pt x="1188" y="168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82" y="180"/>
                  </a:lnTo>
                  <a:lnTo>
                    <a:pt x="1188" y="186"/>
                  </a:lnTo>
                  <a:lnTo>
                    <a:pt x="1188" y="192"/>
                  </a:lnTo>
                  <a:lnTo>
                    <a:pt x="1182" y="198"/>
                  </a:lnTo>
                  <a:lnTo>
                    <a:pt x="1182" y="204"/>
                  </a:lnTo>
                  <a:lnTo>
                    <a:pt x="1182" y="210"/>
                  </a:lnTo>
                  <a:lnTo>
                    <a:pt x="1188" y="210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2"/>
                  </a:lnTo>
                  <a:lnTo>
                    <a:pt x="1194" y="264"/>
                  </a:lnTo>
                  <a:lnTo>
                    <a:pt x="1200" y="264"/>
                  </a:lnTo>
                  <a:lnTo>
                    <a:pt x="1212" y="264"/>
                  </a:lnTo>
                  <a:lnTo>
                    <a:pt x="1212" y="258"/>
                  </a:lnTo>
                  <a:lnTo>
                    <a:pt x="1224" y="258"/>
                  </a:lnTo>
                  <a:lnTo>
                    <a:pt x="1248" y="252"/>
                  </a:lnTo>
                  <a:lnTo>
                    <a:pt x="1248" y="264"/>
                  </a:lnTo>
                  <a:lnTo>
                    <a:pt x="1254" y="264"/>
                  </a:lnTo>
                  <a:lnTo>
                    <a:pt x="1254" y="270"/>
                  </a:lnTo>
                  <a:lnTo>
                    <a:pt x="1260" y="270"/>
                  </a:lnTo>
                  <a:lnTo>
                    <a:pt x="1266" y="270"/>
                  </a:lnTo>
                  <a:lnTo>
                    <a:pt x="1272" y="270"/>
                  </a:lnTo>
                  <a:lnTo>
                    <a:pt x="1272" y="264"/>
                  </a:lnTo>
                  <a:lnTo>
                    <a:pt x="1272" y="258"/>
                  </a:lnTo>
                  <a:lnTo>
                    <a:pt x="1278" y="258"/>
                  </a:lnTo>
                  <a:lnTo>
                    <a:pt x="1278" y="252"/>
                  </a:lnTo>
                  <a:lnTo>
                    <a:pt x="1290" y="252"/>
                  </a:lnTo>
                  <a:lnTo>
                    <a:pt x="1296" y="246"/>
                  </a:lnTo>
                  <a:lnTo>
                    <a:pt x="1308" y="246"/>
                  </a:lnTo>
                  <a:lnTo>
                    <a:pt x="1308" y="240"/>
                  </a:lnTo>
                  <a:lnTo>
                    <a:pt x="1320" y="240"/>
                  </a:lnTo>
                  <a:lnTo>
                    <a:pt x="1326" y="246"/>
                  </a:lnTo>
                  <a:lnTo>
                    <a:pt x="1338" y="246"/>
                  </a:lnTo>
                  <a:lnTo>
                    <a:pt x="1338" y="240"/>
                  </a:lnTo>
                  <a:lnTo>
                    <a:pt x="1350" y="240"/>
                  </a:lnTo>
                  <a:lnTo>
                    <a:pt x="1386" y="234"/>
                  </a:lnTo>
                  <a:lnTo>
                    <a:pt x="1398" y="228"/>
                  </a:lnTo>
                  <a:lnTo>
                    <a:pt x="1404" y="216"/>
                  </a:lnTo>
                  <a:lnTo>
                    <a:pt x="1416" y="204"/>
                  </a:lnTo>
                  <a:lnTo>
                    <a:pt x="1434" y="192"/>
                  </a:lnTo>
                  <a:lnTo>
                    <a:pt x="1446" y="198"/>
                  </a:lnTo>
                  <a:lnTo>
                    <a:pt x="1446" y="204"/>
                  </a:lnTo>
                  <a:lnTo>
                    <a:pt x="1452" y="210"/>
                  </a:lnTo>
                  <a:lnTo>
                    <a:pt x="1464" y="222"/>
                  </a:lnTo>
                  <a:lnTo>
                    <a:pt x="1464" y="228"/>
                  </a:lnTo>
                  <a:lnTo>
                    <a:pt x="1464" y="234"/>
                  </a:lnTo>
                  <a:lnTo>
                    <a:pt x="1470" y="240"/>
                  </a:lnTo>
                  <a:lnTo>
                    <a:pt x="1476" y="228"/>
                  </a:lnTo>
                  <a:lnTo>
                    <a:pt x="1476" y="222"/>
                  </a:lnTo>
                  <a:lnTo>
                    <a:pt x="1482" y="210"/>
                  </a:lnTo>
                  <a:lnTo>
                    <a:pt x="1488" y="192"/>
                  </a:lnTo>
                  <a:lnTo>
                    <a:pt x="1488" y="186"/>
                  </a:lnTo>
                  <a:lnTo>
                    <a:pt x="1488" y="180"/>
                  </a:lnTo>
                  <a:lnTo>
                    <a:pt x="1500" y="180"/>
                  </a:lnTo>
                  <a:lnTo>
                    <a:pt x="1500" y="174"/>
                  </a:lnTo>
                  <a:lnTo>
                    <a:pt x="1518" y="162"/>
                  </a:lnTo>
                  <a:lnTo>
                    <a:pt x="1536" y="150"/>
                  </a:lnTo>
                  <a:lnTo>
                    <a:pt x="1554" y="168"/>
                  </a:lnTo>
                  <a:lnTo>
                    <a:pt x="1572" y="180"/>
                  </a:lnTo>
                  <a:lnTo>
                    <a:pt x="1596" y="216"/>
                  </a:lnTo>
                  <a:lnTo>
                    <a:pt x="1602" y="216"/>
                  </a:lnTo>
                  <a:lnTo>
                    <a:pt x="1614" y="228"/>
                  </a:lnTo>
                  <a:lnTo>
                    <a:pt x="1614" y="234"/>
                  </a:lnTo>
                  <a:lnTo>
                    <a:pt x="1620" y="240"/>
                  </a:lnTo>
                  <a:lnTo>
                    <a:pt x="1620" y="246"/>
                  </a:lnTo>
                  <a:lnTo>
                    <a:pt x="1626" y="252"/>
                  </a:lnTo>
                  <a:lnTo>
                    <a:pt x="1632" y="258"/>
                  </a:lnTo>
                  <a:lnTo>
                    <a:pt x="1632" y="264"/>
                  </a:lnTo>
                  <a:lnTo>
                    <a:pt x="1638" y="264"/>
                  </a:lnTo>
                  <a:lnTo>
                    <a:pt x="1638" y="270"/>
                  </a:lnTo>
                  <a:lnTo>
                    <a:pt x="1638" y="276"/>
                  </a:lnTo>
                  <a:lnTo>
                    <a:pt x="1638" y="282"/>
                  </a:lnTo>
                  <a:lnTo>
                    <a:pt x="1644" y="288"/>
                  </a:lnTo>
                  <a:lnTo>
                    <a:pt x="1644" y="294"/>
                  </a:lnTo>
                  <a:lnTo>
                    <a:pt x="1644" y="300"/>
                  </a:lnTo>
                  <a:lnTo>
                    <a:pt x="1644" y="306"/>
                  </a:lnTo>
                  <a:lnTo>
                    <a:pt x="1650" y="306"/>
                  </a:lnTo>
                  <a:lnTo>
                    <a:pt x="1650" y="312"/>
                  </a:lnTo>
                  <a:lnTo>
                    <a:pt x="1650" y="318"/>
                  </a:lnTo>
                  <a:lnTo>
                    <a:pt x="1650" y="324"/>
                  </a:lnTo>
                  <a:lnTo>
                    <a:pt x="1644" y="330"/>
                  </a:lnTo>
                  <a:lnTo>
                    <a:pt x="1626" y="330"/>
                  </a:lnTo>
                  <a:lnTo>
                    <a:pt x="1626" y="336"/>
                  </a:lnTo>
                  <a:lnTo>
                    <a:pt x="1626" y="342"/>
                  </a:lnTo>
                  <a:lnTo>
                    <a:pt x="1626" y="348"/>
                  </a:lnTo>
                  <a:lnTo>
                    <a:pt x="1620" y="354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14" y="390"/>
                  </a:lnTo>
                  <a:lnTo>
                    <a:pt x="1614" y="396"/>
                  </a:lnTo>
                  <a:lnTo>
                    <a:pt x="1614" y="402"/>
                  </a:lnTo>
                  <a:lnTo>
                    <a:pt x="1614" y="408"/>
                  </a:lnTo>
                  <a:lnTo>
                    <a:pt x="1614" y="414"/>
                  </a:lnTo>
                  <a:lnTo>
                    <a:pt x="1602" y="420"/>
                  </a:lnTo>
                  <a:lnTo>
                    <a:pt x="1602" y="426"/>
                  </a:lnTo>
                  <a:lnTo>
                    <a:pt x="1608" y="432"/>
                  </a:lnTo>
                  <a:lnTo>
                    <a:pt x="1614" y="426"/>
                  </a:lnTo>
                  <a:lnTo>
                    <a:pt x="1620" y="438"/>
                  </a:lnTo>
                  <a:lnTo>
                    <a:pt x="1626" y="438"/>
                  </a:lnTo>
                  <a:lnTo>
                    <a:pt x="1632" y="444"/>
                  </a:lnTo>
                  <a:lnTo>
                    <a:pt x="1626" y="456"/>
                  </a:lnTo>
                  <a:lnTo>
                    <a:pt x="1626" y="468"/>
                  </a:lnTo>
                  <a:lnTo>
                    <a:pt x="1620" y="474"/>
                  </a:lnTo>
                  <a:lnTo>
                    <a:pt x="1614" y="474"/>
                  </a:lnTo>
                  <a:lnTo>
                    <a:pt x="1614" y="486"/>
                  </a:lnTo>
                  <a:lnTo>
                    <a:pt x="1614" y="492"/>
                  </a:lnTo>
                  <a:lnTo>
                    <a:pt x="1620" y="492"/>
                  </a:lnTo>
                  <a:lnTo>
                    <a:pt x="1626" y="498"/>
                  </a:lnTo>
                  <a:lnTo>
                    <a:pt x="1626" y="504"/>
                  </a:lnTo>
                  <a:lnTo>
                    <a:pt x="1626" y="510"/>
                  </a:lnTo>
                  <a:lnTo>
                    <a:pt x="1620" y="516"/>
                  </a:lnTo>
                  <a:lnTo>
                    <a:pt x="1620" y="522"/>
                  </a:lnTo>
                  <a:lnTo>
                    <a:pt x="1614" y="522"/>
                  </a:lnTo>
                  <a:lnTo>
                    <a:pt x="1608" y="528"/>
                  </a:lnTo>
                  <a:lnTo>
                    <a:pt x="1602" y="522"/>
                  </a:lnTo>
                  <a:lnTo>
                    <a:pt x="1602" y="528"/>
                  </a:lnTo>
                  <a:lnTo>
                    <a:pt x="1602" y="540"/>
                  </a:lnTo>
                  <a:lnTo>
                    <a:pt x="1602" y="558"/>
                  </a:lnTo>
                  <a:lnTo>
                    <a:pt x="1602" y="564"/>
                  </a:lnTo>
                  <a:lnTo>
                    <a:pt x="1602" y="570"/>
                  </a:lnTo>
                  <a:lnTo>
                    <a:pt x="1602" y="576"/>
                  </a:lnTo>
                  <a:lnTo>
                    <a:pt x="1596" y="576"/>
                  </a:lnTo>
                  <a:lnTo>
                    <a:pt x="1632" y="582"/>
                  </a:lnTo>
                  <a:lnTo>
                    <a:pt x="1644" y="618"/>
                  </a:lnTo>
                  <a:lnTo>
                    <a:pt x="1650" y="648"/>
                  </a:lnTo>
                  <a:lnTo>
                    <a:pt x="1662" y="636"/>
                  </a:lnTo>
                  <a:lnTo>
                    <a:pt x="1668" y="636"/>
                  </a:lnTo>
                  <a:lnTo>
                    <a:pt x="1674" y="636"/>
                  </a:lnTo>
                  <a:lnTo>
                    <a:pt x="1680" y="630"/>
                  </a:lnTo>
                  <a:lnTo>
                    <a:pt x="1686" y="630"/>
                  </a:lnTo>
                  <a:lnTo>
                    <a:pt x="1692" y="630"/>
                  </a:lnTo>
                  <a:lnTo>
                    <a:pt x="1698" y="630"/>
                  </a:lnTo>
                  <a:lnTo>
                    <a:pt x="1704" y="630"/>
                  </a:lnTo>
                  <a:lnTo>
                    <a:pt x="1704" y="624"/>
                  </a:lnTo>
                  <a:lnTo>
                    <a:pt x="1710" y="624"/>
                  </a:lnTo>
                  <a:lnTo>
                    <a:pt x="1716" y="624"/>
                  </a:lnTo>
                  <a:lnTo>
                    <a:pt x="1722" y="624"/>
                  </a:lnTo>
                  <a:lnTo>
                    <a:pt x="1728" y="624"/>
                  </a:lnTo>
                  <a:lnTo>
                    <a:pt x="1722" y="618"/>
                  </a:lnTo>
                  <a:lnTo>
                    <a:pt x="1728" y="606"/>
                  </a:lnTo>
                  <a:lnTo>
                    <a:pt x="1734" y="606"/>
                  </a:lnTo>
                  <a:lnTo>
                    <a:pt x="1740" y="600"/>
                  </a:lnTo>
                  <a:lnTo>
                    <a:pt x="1746" y="594"/>
                  </a:lnTo>
                  <a:lnTo>
                    <a:pt x="1752" y="588"/>
                  </a:lnTo>
                  <a:lnTo>
                    <a:pt x="1752" y="582"/>
                  </a:lnTo>
                  <a:lnTo>
                    <a:pt x="1758" y="576"/>
                  </a:lnTo>
                  <a:lnTo>
                    <a:pt x="1764" y="576"/>
                  </a:lnTo>
                  <a:lnTo>
                    <a:pt x="1770" y="570"/>
                  </a:lnTo>
                  <a:lnTo>
                    <a:pt x="1776" y="564"/>
                  </a:lnTo>
                  <a:lnTo>
                    <a:pt x="1788" y="558"/>
                  </a:lnTo>
                  <a:lnTo>
                    <a:pt x="1788" y="546"/>
                  </a:lnTo>
                  <a:lnTo>
                    <a:pt x="1788" y="540"/>
                  </a:lnTo>
                  <a:lnTo>
                    <a:pt x="1794" y="540"/>
                  </a:lnTo>
                  <a:lnTo>
                    <a:pt x="1788" y="534"/>
                  </a:lnTo>
                  <a:lnTo>
                    <a:pt x="1788" y="528"/>
                  </a:lnTo>
                  <a:lnTo>
                    <a:pt x="1794" y="516"/>
                  </a:lnTo>
                  <a:lnTo>
                    <a:pt x="1800" y="510"/>
                  </a:lnTo>
                  <a:lnTo>
                    <a:pt x="1812" y="510"/>
                  </a:lnTo>
                  <a:lnTo>
                    <a:pt x="1818" y="504"/>
                  </a:lnTo>
                  <a:lnTo>
                    <a:pt x="1824" y="504"/>
                  </a:lnTo>
                  <a:lnTo>
                    <a:pt x="1830" y="498"/>
                  </a:lnTo>
                  <a:lnTo>
                    <a:pt x="1836" y="498"/>
                  </a:lnTo>
                  <a:lnTo>
                    <a:pt x="1848" y="492"/>
                  </a:lnTo>
                  <a:lnTo>
                    <a:pt x="1848" y="480"/>
                  </a:lnTo>
                  <a:lnTo>
                    <a:pt x="1854" y="480"/>
                  </a:lnTo>
                  <a:lnTo>
                    <a:pt x="1890" y="504"/>
                  </a:lnTo>
                  <a:lnTo>
                    <a:pt x="1908" y="534"/>
                  </a:lnTo>
                  <a:lnTo>
                    <a:pt x="1902" y="534"/>
                  </a:lnTo>
                  <a:lnTo>
                    <a:pt x="1920" y="528"/>
                  </a:lnTo>
                  <a:lnTo>
                    <a:pt x="1920" y="516"/>
                  </a:lnTo>
                  <a:lnTo>
                    <a:pt x="1944" y="516"/>
                  </a:lnTo>
                  <a:lnTo>
                    <a:pt x="2004" y="516"/>
                  </a:lnTo>
                  <a:lnTo>
                    <a:pt x="2010" y="510"/>
                  </a:lnTo>
                  <a:lnTo>
                    <a:pt x="2004" y="510"/>
                  </a:lnTo>
                  <a:lnTo>
                    <a:pt x="2010" y="498"/>
                  </a:lnTo>
                  <a:lnTo>
                    <a:pt x="2004" y="486"/>
                  </a:lnTo>
                  <a:lnTo>
                    <a:pt x="2004" y="480"/>
                  </a:lnTo>
                  <a:lnTo>
                    <a:pt x="2004" y="474"/>
                  </a:lnTo>
                  <a:lnTo>
                    <a:pt x="2004" y="462"/>
                  </a:lnTo>
                  <a:lnTo>
                    <a:pt x="2004" y="456"/>
                  </a:lnTo>
                  <a:lnTo>
                    <a:pt x="2058" y="462"/>
                  </a:lnTo>
                  <a:lnTo>
                    <a:pt x="2076" y="474"/>
                  </a:lnTo>
                  <a:lnTo>
                    <a:pt x="2082" y="522"/>
                  </a:lnTo>
                  <a:lnTo>
                    <a:pt x="2088" y="516"/>
                  </a:lnTo>
                  <a:lnTo>
                    <a:pt x="2094" y="522"/>
                  </a:lnTo>
                  <a:lnTo>
                    <a:pt x="2100" y="528"/>
                  </a:lnTo>
                  <a:lnTo>
                    <a:pt x="2130" y="540"/>
                  </a:lnTo>
                  <a:lnTo>
                    <a:pt x="2160" y="564"/>
                  </a:lnTo>
                  <a:lnTo>
                    <a:pt x="2166" y="600"/>
                  </a:lnTo>
                  <a:lnTo>
                    <a:pt x="2160" y="618"/>
                  </a:lnTo>
                  <a:lnTo>
                    <a:pt x="2142" y="636"/>
                  </a:lnTo>
                  <a:lnTo>
                    <a:pt x="2148" y="648"/>
                  </a:lnTo>
                  <a:lnTo>
                    <a:pt x="2154" y="660"/>
                  </a:lnTo>
                  <a:lnTo>
                    <a:pt x="2196" y="654"/>
                  </a:lnTo>
                  <a:lnTo>
                    <a:pt x="2214" y="660"/>
                  </a:lnTo>
                  <a:lnTo>
                    <a:pt x="2214" y="666"/>
                  </a:lnTo>
                  <a:lnTo>
                    <a:pt x="2220" y="672"/>
                  </a:lnTo>
                  <a:lnTo>
                    <a:pt x="2214" y="678"/>
                  </a:lnTo>
                  <a:lnTo>
                    <a:pt x="2214" y="684"/>
                  </a:lnTo>
                  <a:lnTo>
                    <a:pt x="2214" y="690"/>
                  </a:lnTo>
                  <a:lnTo>
                    <a:pt x="2208" y="690"/>
                  </a:lnTo>
                  <a:lnTo>
                    <a:pt x="2202" y="696"/>
                  </a:lnTo>
                  <a:lnTo>
                    <a:pt x="2196" y="702"/>
                  </a:lnTo>
                  <a:lnTo>
                    <a:pt x="2190" y="708"/>
                  </a:lnTo>
                  <a:lnTo>
                    <a:pt x="2190" y="720"/>
                  </a:lnTo>
                  <a:lnTo>
                    <a:pt x="2184" y="720"/>
                  </a:lnTo>
                  <a:lnTo>
                    <a:pt x="2178" y="726"/>
                  </a:lnTo>
                  <a:lnTo>
                    <a:pt x="2166" y="732"/>
                  </a:lnTo>
                  <a:lnTo>
                    <a:pt x="2160" y="744"/>
                  </a:lnTo>
                  <a:lnTo>
                    <a:pt x="2154" y="756"/>
                  </a:lnTo>
                  <a:lnTo>
                    <a:pt x="2148" y="762"/>
                  </a:lnTo>
                  <a:lnTo>
                    <a:pt x="2124" y="762"/>
                  </a:lnTo>
                  <a:lnTo>
                    <a:pt x="2124" y="768"/>
                  </a:lnTo>
                  <a:lnTo>
                    <a:pt x="2118" y="768"/>
                  </a:lnTo>
                  <a:lnTo>
                    <a:pt x="2124" y="774"/>
                  </a:lnTo>
                  <a:lnTo>
                    <a:pt x="2118" y="774"/>
                  </a:lnTo>
                  <a:lnTo>
                    <a:pt x="2112" y="774"/>
                  </a:lnTo>
                  <a:lnTo>
                    <a:pt x="2106" y="780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06" y="798"/>
                  </a:lnTo>
                  <a:lnTo>
                    <a:pt x="2106" y="810"/>
                  </a:lnTo>
                  <a:lnTo>
                    <a:pt x="2112" y="828"/>
                  </a:lnTo>
                  <a:lnTo>
                    <a:pt x="2112" y="834"/>
                  </a:lnTo>
                  <a:lnTo>
                    <a:pt x="2112" y="840"/>
                  </a:lnTo>
                  <a:lnTo>
                    <a:pt x="2112" y="834"/>
                  </a:lnTo>
                  <a:lnTo>
                    <a:pt x="2124" y="834"/>
                  </a:lnTo>
                  <a:lnTo>
                    <a:pt x="2130" y="834"/>
                  </a:lnTo>
                  <a:lnTo>
                    <a:pt x="2136" y="840"/>
                  </a:lnTo>
                  <a:lnTo>
                    <a:pt x="2142" y="840"/>
                  </a:lnTo>
                  <a:lnTo>
                    <a:pt x="2154" y="852"/>
                  </a:lnTo>
                  <a:lnTo>
                    <a:pt x="2160" y="852"/>
                  </a:lnTo>
                  <a:lnTo>
                    <a:pt x="2172" y="846"/>
                  </a:lnTo>
                  <a:lnTo>
                    <a:pt x="2178" y="846"/>
                  </a:lnTo>
                  <a:lnTo>
                    <a:pt x="2184" y="846"/>
                  </a:lnTo>
                  <a:lnTo>
                    <a:pt x="2190" y="846"/>
                  </a:lnTo>
                  <a:lnTo>
                    <a:pt x="2196" y="852"/>
                  </a:lnTo>
                  <a:lnTo>
                    <a:pt x="2196" y="858"/>
                  </a:lnTo>
                  <a:lnTo>
                    <a:pt x="2202" y="852"/>
                  </a:lnTo>
                  <a:lnTo>
                    <a:pt x="2208" y="846"/>
                  </a:lnTo>
                  <a:lnTo>
                    <a:pt x="2214" y="846"/>
                  </a:lnTo>
                  <a:lnTo>
                    <a:pt x="2226" y="846"/>
                  </a:lnTo>
                  <a:lnTo>
                    <a:pt x="2232" y="852"/>
                  </a:lnTo>
                  <a:lnTo>
                    <a:pt x="2238" y="852"/>
                  </a:lnTo>
                  <a:lnTo>
                    <a:pt x="2244" y="858"/>
                  </a:lnTo>
                  <a:lnTo>
                    <a:pt x="2250" y="858"/>
                  </a:lnTo>
                  <a:lnTo>
                    <a:pt x="2256" y="858"/>
                  </a:lnTo>
                  <a:lnTo>
                    <a:pt x="2262" y="858"/>
                  </a:lnTo>
                  <a:lnTo>
                    <a:pt x="2268" y="852"/>
                  </a:lnTo>
                  <a:lnTo>
                    <a:pt x="2274" y="852"/>
                  </a:lnTo>
                  <a:lnTo>
                    <a:pt x="2280" y="852"/>
                  </a:lnTo>
                  <a:lnTo>
                    <a:pt x="2286" y="852"/>
                  </a:lnTo>
                  <a:lnTo>
                    <a:pt x="2298" y="858"/>
                  </a:lnTo>
                  <a:lnTo>
                    <a:pt x="2304" y="858"/>
                  </a:lnTo>
                  <a:lnTo>
                    <a:pt x="2310" y="858"/>
                  </a:lnTo>
                  <a:lnTo>
                    <a:pt x="2316" y="852"/>
                  </a:lnTo>
                  <a:lnTo>
                    <a:pt x="2322" y="858"/>
                  </a:lnTo>
                  <a:lnTo>
                    <a:pt x="2328" y="858"/>
                  </a:lnTo>
                  <a:lnTo>
                    <a:pt x="2328" y="852"/>
                  </a:lnTo>
                  <a:lnTo>
                    <a:pt x="2364" y="858"/>
                  </a:lnTo>
                  <a:lnTo>
                    <a:pt x="2376" y="876"/>
                  </a:lnTo>
                  <a:lnTo>
                    <a:pt x="2382" y="936"/>
                  </a:lnTo>
                  <a:lnTo>
                    <a:pt x="2388" y="966"/>
                  </a:lnTo>
                  <a:lnTo>
                    <a:pt x="2382" y="972"/>
                  </a:lnTo>
                  <a:lnTo>
                    <a:pt x="2382" y="978"/>
                  </a:lnTo>
                  <a:lnTo>
                    <a:pt x="2382" y="984"/>
                  </a:lnTo>
                  <a:lnTo>
                    <a:pt x="2388" y="990"/>
                  </a:lnTo>
                  <a:lnTo>
                    <a:pt x="2382" y="990"/>
                  </a:lnTo>
                  <a:lnTo>
                    <a:pt x="2382" y="996"/>
                  </a:lnTo>
                  <a:lnTo>
                    <a:pt x="2376" y="996"/>
                  </a:lnTo>
                  <a:lnTo>
                    <a:pt x="2376" y="1020"/>
                  </a:lnTo>
                  <a:lnTo>
                    <a:pt x="2370" y="1032"/>
                  </a:lnTo>
                  <a:lnTo>
                    <a:pt x="2352" y="1032"/>
                  </a:lnTo>
                  <a:lnTo>
                    <a:pt x="2346" y="1020"/>
                  </a:lnTo>
                  <a:lnTo>
                    <a:pt x="2328" y="1032"/>
                  </a:lnTo>
                  <a:lnTo>
                    <a:pt x="2316" y="1038"/>
                  </a:lnTo>
                  <a:lnTo>
                    <a:pt x="2328" y="1044"/>
                  </a:lnTo>
                  <a:lnTo>
                    <a:pt x="2340" y="1056"/>
                  </a:lnTo>
                  <a:lnTo>
                    <a:pt x="2376" y="1062"/>
                  </a:lnTo>
                  <a:lnTo>
                    <a:pt x="2376" y="1068"/>
                  </a:lnTo>
                  <a:lnTo>
                    <a:pt x="2382" y="1086"/>
                  </a:lnTo>
                  <a:lnTo>
                    <a:pt x="2376" y="1086"/>
                  </a:lnTo>
                  <a:lnTo>
                    <a:pt x="2370" y="1086"/>
                  </a:lnTo>
                  <a:lnTo>
                    <a:pt x="2364" y="1086"/>
                  </a:lnTo>
                  <a:lnTo>
                    <a:pt x="2364" y="1098"/>
                  </a:lnTo>
                  <a:lnTo>
                    <a:pt x="2388" y="1104"/>
                  </a:lnTo>
                  <a:lnTo>
                    <a:pt x="2400" y="1122"/>
                  </a:lnTo>
                  <a:lnTo>
                    <a:pt x="2400" y="1134"/>
                  </a:lnTo>
                  <a:lnTo>
                    <a:pt x="2400" y="1146"/>
                  </a:lnTo>
                  <a:lnTo>
                    <a:pt x="2394" y="1146"/>
                  </a:lnTo>
                  <a:lnTo>
                    <a:pt x="2394" y="1152"/>
                  </a:lnTo>
                  <a:lnTo>
                    <a:pt x="2388" y="1152"/>
                  </a:lnTo>
                  <a:lnTo>
                    <a:pt x="2388" y="1146"/>
                  </a:lnTo>
                  <a:lnTo>
                    <a:pt x="2382" y="1152"/>
                  </a:lnTo>
                  <a:lnTo>
                    <a:pt x="2376" y="1152"/>
                  </a:lnTo>
                  <a:lnTo>
                    <a:pt x="2370" y="1158"/>
                  </a:lnTo>
                  <a:lnTo>
                    <a:pt x="2370" y="1164"/>
                  </a:lnTo>
                  <a:lnTo>
                    <a:pt x="2364" y="1170"/>
                  </a:lnTo>
                  <a:lnTo>
                    <a:pt x="2370" y="1170"/>
                  </a:lnTo>
                  <a:lnTo>
                    <a:pt x="2376" y="1170"/>
                  </a:lnTo>
                  <a:lnTo>
                    <a:pt x="2370" y="1176"/>
                  </a:lnTo>
                  <a:lnTo>
                    <a:pt x="2364" y="1176"/>
                  </a:lnTo>
                  <a:lnTo>
                    <a:pt x="2358" y="1182"/>
                  </a:lnTo>
                  <a:lnTo>
                    <a:pt x="2352" y="1182"/>
                  </a:lnTo>
                  <a:lnTo>
                    <a:pt x="2346" y="1188"/>
                  </a:lnTo>
                  <a:lnTo>
                    <a:pt x="2340" y="1182"/>
                  </a:lnTo>
                  <a:lnTo>
                    <a:pt x="2334" y="1182"/>
                  </a:lnTo>
                  <a:lnTo>
                    <a:pt x="2334" y="1188"/>
                  </a:lnTo>
                  <a:lnTo>
                    <a:pt x="2328" y="1194"/>
                  </a:lnTo>
                  <a:lnTo>
                    <a:pt x="2328" y="1200"/>
                  </a:lnTo>
                  <a:lnTo>
                    <a:pt x="2322" y="1224"/>
                  </a:lnTo>
                  <a:lnTo>
                    <a:pt x="2328" y="1230"/>
                  </a:lnTo>
                  <a:lnTo>
                    <a:pt x="2358" y="1230"/>
                  </a:lnTo>
                  <a:lnTo>
                    <a:pt x="2358" y="1242"/>
                  </a:lnTo>
                  <a:lnTo>
                    <a:pt x="2358" y="1254"/>
                  </a:lnTo>
                  <a:lnTo>
                    <a:pt x="2346" y="1254"/>
                  </a:lnTo>
                  <a:lnTo>
                    <a:pt x="2346" y="1278"/>
                  </a:lnTo>
                  <a:lnTo>
                    <a:pt x="2358" y="1278"/>
                  </a:lnTo>
                  <a:lnTo>
                    <a:pt x="2358" y="1284"/>
                  </a:lnTo>
                  <a:lnTo>
                    <a:pt x="2376" y="1284"/>
                  </a:lnTo>
                  <a:lnTo>
                    <a:pt x="2388" y="1278"/>
                  </a:lnTo>
                  <a:lnTo>
                    <a:pt x="2406" y="1278"/>
                  </a:lnTo>
                  <a:lnTo>
                    <a:pt x="2430" y="1284"/>
                  </a:lnTo>
                  <a:lnTo>
                    <a:pt x="2430" y="1302"/>
                  </a:lnTo>
                  <a:lnTo>
                    <a:pt x="2430" y="1314"/>
                  </a:lnTo>
                  <a:lnTo>
                    <a:pt x="2424" y="1326"/>
                  </a:lnTo>
                  <a:lnTo>
                    <a:pt x="2412" y="1326"/>
                  </a:lnTo>
                  <a:lnTo>
                    <a:pt x="2412" y="1344"/>
                  </a:lnTo>
                  <a:lnTo>
                    <a:pt x="2406" y="1344"/>
                  </a:lnTo>
                  <a:lnTo>
                    <a:pt x="2400" y="1362"/>
                  </a:lnTo>
                  <a:lnTo>
                    <a:pt x="2394" y="1368"/>
                  </a:lnTo>
                  <a:lnTo>
                    <a:pt x="2388" y="1374"/>
                  </a:lnTo>
                  <a:lnTo>
                    <a:pt x="2382" y="1380"/>
                  </a:lnTo>
                  <a:lnTo>
                    <a:pt x="2376" y="1386"/>
                  </a:lnTo>
                  <a:lnTo>
                    <a:pt x="2376" y="1392"/>
                  </a:lnTo>
                  <a:lnTo>
                    <a:pt x="2370" y="1404"/>
                  </a:lnTo>
                  <a:lnTo>
                    <a:pt x="2364" y="1416"/>
                  </a:lnTo>
                  <a:lnTo>
                    <a:pt x="2346" y="1434"/>
                  </a:lnTo>
                  <a:lnTo>
                    <a:pt x="2328" y="1440"/>
                  </a:lnTo>
                  <a:lnTo>
                    <a:pt x="2328" y="1446"/>
                  </a:lnTo>
                  <a:lnTo>
                    <a:pt x="2322" y="1452"/>
                  </a:lnTo>
                  <a:lnTo>
                    <a:pt x="2316" y="1452"/>
                  </a:lnTo>
                  <a:lnTo>
                    <a:pt x="2304" y="1446"/>
                  </a:lnTo>
                  <a:lnTo>
                    <a:pt x="2298" y="1446"/>
                  </a:lnTo>
                  <a:lnTo>
                    <a:pt x="2298" y="1434"/>
                  </a:lnTo>
                  <a:lnTo>
                    <a:pt x="2292" y="1434"/>
                  </a:lnTo>
                  <a:lnTo>
                    <a:pt x="2286" y="1428"/>
                  </a:lnTo>
                  <a:lnTo>
                    <a:pt x="2274" y="1416"/>
                  </a:lnTo>
                  <a:lnTo>
                    <a:pt x="2256" y="1404"/>
                  </a:lnTo>
                  <a:lnTo>
                    <a:pt x="2244" y="1386"/>
                  </a:lnTo>
                  <a:lnTo>
                    <a:pt x="2220" y="1368"/>
                  </a:lnTo>
                  <a:lnTo>
                    <a:pt x="2208" y="1362"/>
                  </a:lnTo>
                  <a:lnTo>
                    <a:pt x="2202" y="1350"/>
                  </a:lnTo>
                  <a:lnTo>
                    <a:pt x="2196" y="1350"/>
                  </a:lnTo>
                  <a:lnTo>
                    <a:pt x="2190" y="1356"/>
                  </a:lnTo>
                  <a:lnTo>
                    <a:pt x="2184" y="1356"/>
                  </a:lnTo>
                  <a:lnTo>
                    <a:pt x="2094" y="1350"/>
                  </a:lnTo>
                  <a:lnTo>
                    <a:pt x="2058" y="1350"/>
                  </a:lnTo>
                  <a:lnTo>
                    <a:pt x="2034" y="1890"/>
                  </a:lnTo>
                  <a:lnTo>
                    <a:pt x="2064" y="1890"/>
                  </a:lnTo>
                  <a:lnTo>
                    <a:pt x="2070" y="1896"/>
                  </a:lnTo>
                  <a:lnTo>
                    <a:pt x="2076" y="18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8" name="Freeform 33">
              <a:extLst>
                <a:ext uri="{FF2B5EF4-FFF2-40B4-BE49-F238E27FC236}">
                  <a16:creationId xmlns:a16="http://schemas.microsoft.com/office/drawing/2014/main" id="{0E96F118-1F4D-4E52-AF27-149259451CD6}"/>
                </a:ext>
              </a:extLst>
            </p:cNvPr>
            <p:cNvSpPr>
              <a:spLocks/>
            </p:cNvSpPr>
            <p:nvPr/>
          </p:nvSpPr>
          <p:spPr bwMode="gray">
            <a:xfrm>
              <a:off x="1266662" y="1459989"/>
              <a:ext cx="903421" cy="778302"/>
            </a:xfrm>
            <a:custGeom>
              <a:avLst/>
              <a:gdLst>
                <a:gd name="T0" fmla="*/ 143 w 1698"/>
                <a:gd name="T1" fmla="*/ 43 h 1464"/>
                <a:gd name="T2" fmla="*/ 131 w 1698"/>
                <a:gd name="T3" fmla="*/ 44 h 1464"/>
                <a:gd name="T4" fmla="*/ 126 w 1698"/>
                <a:gd name="T5" fmla="*/ 41 h 1464"/>
                <a:gd name="T6" fmla="*/ 119 w 1698"/>
                <a:gd name="T7" fmla="*/ 45 h 1464"/>
                <a:gd name="T8" fmla="*/ 111 w 1698"/>
                <a:gd name="T9" fmla="*/ 46 h 1464"/>
                <a:gd name="T10" fmla="*/ 107 w 1698"/>
                <a:gd name="T11" fmla="*/ 50 h 1464"/>
                <a:gd name="T12" fmla="*/ 107 w 1698"/>
                <a:gd name="T13" fmla="*/ 60 h 1464"/>
                <a:gd name="T14" fmla="*/ 104 w 1698"/>
                <a:gd name="T15" fmla="*/ 62 h 1464"/>
                <a:gd name="T16" fmla="*/ 97 w 1698"/>
                <a:gd name="T17" fmla="*/ 59 h 1464"/>
                <a:gd name="T18" fmla="*/ 92 w 1698"/>
                <a:gd name="T19" fmla="*/ 59 h 1464"/>
                <a:gd name="T20" fmla="*/ 90 w 1698"/>
                <a:gd name="T21" fmla="*/ 62 h 1464"/>
                <a:gd name="T22" fmla="*/ 93 w 1698"/>
                <a:gd name="T23" fmla="*/ 77 h 1464"/>
                <a:gd name="T24" fmla="*/ 85 w 1698"/>
                <a:gd name="T25" fmla="*/ 88 h 1464"/>
                <a:gd name="T26" fmla="*/ 70 w 1698"/>
                <a:gd name="T27" fmla="*/ 89 h 1464"/>
                <a:gd name="T28" fmla="*/ 65 w 1698"/>
                <a:gd name="T29" fmla="*/ 88 h 1464"/>
                <a:gd name="T30" fmla="*/ 50 w 1698"/>
                <a:gd name="T31" fmla="*/ 88 h 1464"/>
                <a:gd name="T32" fmla="*/ 48 w 1698"/>
                <a:gd name="T33" fmla="*/ 107 h 1464"/>
                <a:gd name="T34" fmla="*/ 47 w 1698"/>
                <a:gd name="T35" fmla="*/ 120 h 1464"/>
                <a:gd name="T36" fmla="*/ 43 w 1698"/>
                <a:gd name="T37" fmla="*/ 121 h 1464"/>
                <a:gd name="T38" fmla="*/ 40 w 1698"/>
                <a:gd name="T39" fmla="*/ 120 h 1464"/>
                <a:gd name="T40" fmla="*/ 35 w 1698"/>
                <a:gd name="T41" fmla="*/ 122 h 1464"/>
                <a:gd name="T42" fmla="*/ 29 w 1698"/>
                <a:gd name="T43" fmla="*/ 123 h 1464"/>
                <a:gd name="T44" fmla="*/ 24 w 1698"/>
                <a:gd name="T45" fmla="*/ 125 h 1464"/>
                <a:gd name="T46" fmla="*/ 20 w 1698"/>
                <a:gd name="T47" fmla="*/ 125 h 1464"/>
                <a:gd name="T48" fmla="*/ 18 w 1698"/>
                <a:gd name="T49" fmla="*/ 122 h 1464"/>
                <a:gd name="T50" fmla="*/ 26 w 1698"/>
                <a:gd name="T51" fmla="*/ 108 h 1464"/>
                <a:gd name="T52" fmla="*/ 24 w 1698"/>
                <a:gd name="T53" fmla="*/ 89 h 1464"/>
                <a:gd name="T54" fmla="*/ 28 w 1698"/>
                <a:gd name="T55" fmla="*/ 85 h 1464"/>
                <a:gd name="T56" fmla="*/ 32 w 1698"/>
                <a:gd name="T57" fmla="*/ 80 h 1464"/>
                <a:gd name="T58" fmla="*/ 36 w 1698"/>
                <a:gd name="T59" fmla="*/ 86 h 1464"/>
                <a:gd name="T60" fmla="*/ 39 w 1698"/>
                <a:gd name="T61" fmla="*/ 80 h 1464"/>
                <a:gd name="T62" fmla="*/ 41 w 1698"/>
                <a:gd name="T63" fmla="*/ 73 h 1464"/>
                <a:gd name="T64" fmla="*/ 38 w 1698"/>
                <a:gd name="T65" fmla="*/ 64 h 1464"/>
                <a:gd name="T66" fmla="*/ 39 w 1698"/>
                <a:gd name="T67" fmla="*/ 59 h 1464"/>
                <a:gd name="T68" fmla="*/ 32 w 1698"/>
                <a:gd name="T69" fmla="*/ 54 h 1464"/>
                <a:gd name="T70" fmla="*/ 32 w 1698"/>
                <a:gd name="T71" fmla="*/ 45 h 1464"/>
                <a:gd name="T72" fmla="*/ 31 w 1698"/>
                <a:gd name="T73" fmla="*/ 41 h 1464"/>
                <a:gd name="T74" fmla="*/ 24 w 1698"/>
                <a:gd name="T75" fmla="*/ 43 h 1464"/>
                <a:gd name="T76" fmla="*/ 17 w 1698"/>
                <a:gd name="T77" fmla="*/ 40 h 1464"/>
                <a:gd name="T78" fmla="*/ 11 w 1698"/>
                <a:gd name="T79" fmla="*/ 38 h 1464"/>
                <a:gd name="T80" fmla="*/ 2 w 1698"/>
                <a:gd name="T81" fmla="*/ 36 h 1464"/>
                <a:gd name="T82" fmla="*/ 0 w 1698"/>
                <a:gd name="T83" fmla="*/ 24 h 1464"/>
                <a:gd name="T84" fmla="*/ 11 w 1698"/>
                <a:gd name="T85" fmla="*/ 18 h 1464"/>
                <a:gd name="T86" fmla="*/ 19 w 1698"/>
                <a:gd name="T87" fmla="*/ 10 h 1464"/>
                <a:gd name="T88" fmla="*/ 28 w 1698"/>
                <a:gd name="T89" fmla="*/ 9 h 1464"/>
                <a:gd name="T90" fmla="*/ 40 w 1698"/>
                <a:gd name="T91" fmla="*/ 6 h 1464"/>
                <a:gd name="T92" fmla="*/ 49 w 1698"/>
                <a:gd name="T93" fmla="*/ 8 h 1464"/>
                <a:gd name="T94" fmla="*/ 56 w 1698"/>
                <a:gd name="T95" fmla="*/ 8 h 1464"/>
                <a:gd name="T96" fmla="*/ 64 w 1698"/>
                <a:gd name="T97" fmla="*/ 7 h 1464"/>
                <a:gd name="T98" fmla="*/ 74 w 1698"/>
                <a:gd name="T99" fmla="*/ 1 h 1464"/>
                <a:gd name="T100" fmla="*/ 83 w 1698"/>
                <a:gd name="T101" fmla="*/ 3 h 1464"/>
                <a:gd name="T102" fmla="*/ 99 w 1698"/>
                <a:gd name="T103" fmla="*/ 9 h 1464"/>
                <a:gd name="T104" fmla="*/ 112 w 1698"/>
                <a:gd name="T105" fmla="*/ 14 h 1464"/>
                <a:gd name="T106" fmla="*/ 119 w 1698"/>
                <a:gd name="T107" fmla="*/ 12 h 1464"/>
                <a:gd name="T108" fmla="*/ 128 w 1698"/>
                <a:gd name="T109" fmla="*/ 17 h 1464"/>
                <a:gd name="T110" fmla="*/ 141 w 1698"/>
                <a:gd name="T111" fmla="*/ 29 h 1464"/>
                <a:gd name="T112" fmla="*/ 145 w 1698"/>
                <a:gd name="T113" fmla="*/ 35 h 14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98"/>
                <a:gd name="T172" fmla="*/ 0 h 1464"/>
                <a:gd name="T173" fmla="*/ 1698 w 1698"/>
                <a:gd name="T174" fmla="*/ 1464 h 14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98" h="1464">
                  <a:moveTo>
                    <a:pt x="1698" y="462"/>
                  </a:moveTo>
                  <a:lnTo>
                    <a:pt x="1686" y="468"/>
                  </a:lnTo>
                  <a:lnTo>
                    <a:pt x="1680" y="474"/>
                  </a:lnTo>
                  <a:lnTo>
                    <a:pt x="1674" y="480"/>
                  </a:lnTo>
                  <a:lnTo>
                    <a:pt x="1668" y="480"/>
                  </a:lnTo>
                  <a:lnTo>
                    <a:pt x="1662" y="486"/>
                  </a:lnTo>
                  <a:lnTo>
                    <a:pt x="1656" y="492"/>
                  </a:lnTo>
                  <a:lnTo>
                    <a:pt x="1644" y="498"/>
                  </a:lnTo>
                  <a:lnTo>
                    <a:pt x="1626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0" y="516"/>
                  </a:lnTo>
                  <a:lnTo>
                    <a:pt x="1590" y="522"/>
                  </a:lnTo>
                  <a:lnTo>
                    <a:pt x="1566" y="522"/>
                  </a:lnTo>
                  <a:lnTo>
                    <a:pt x="1506" y="510"/>
                  </a:lnTo>
                  <a:lnTo>
                    <a:pt x="1500" y="510"/>
                  </a:lnTo>
                  <a:lnTo>
                    <a:pt x="1488" y="504"/>
                  </a:lnTo>
                  <a:lnTo>
                    <a:pt x="1482" y="498"/>
                  </a:lnTo>
                  <a:lnTo>
                    <a:pt x="1476" y="498"/>
                  </a:lnTo>
                  <a:lnTo>
                    <a:pt x="1476" y="492"/>
                  </a:lnTo>
                  <a:lnTo>
                    <a:pt x="1470" y="492"/>
                  </a:lnTo>
                  <a:lnTo>
                    <a:pt x="1464" y="486"/>
                  </a:lnTo>
                  <a:lnTo>
                    <a:pt x="1452" y="486"/>
                  </a:lnTo>
                  <a:lnTo>
                    <a:pt x="1446" y="474"/>
                  </a:lnTo>
                  <a:lnTo>
                    <a:pt x="1434" y="468"/>
                  </a:lnTo>
                  <a:lnTo>
                    <a:pt x="1416" y="468"/>
                  </a:lnTo>
                  <a:lnTo>
                    <a:pt x="1392" y="468"/>
                  </a:lnTo>
                  <a:lnTo>
                    <a:pt x="1374" y="474"/>
                  </a:lnTo>
                  <a:lnTo>
                    <a:pt x="1368" y="474"/>
                  </a:lnTo>
                  <a:lnTo>
                    <a:pt x="1368" y="486"/>
                  </a:lnTo>
                  <a:lnTo>
                    <a:pt x="1368" y="498"/>
                  </a:lnTo>
                  <a:lnTo>
                    <a:pt x="1368" y="522"/>
                  </a:lnTo>
                  <a:lnTo>
                    <a:pt x="1368" y="534"/>
                  </a:lnTo>
                  <a:lnTo>
                    <a:pt x="1362" y="546"/>
                  </a:lnTo>
                  <a:lnTo>
                    <a:pt x="1356" y="546"/>
                  </a:lnTo>
                  <a:lnTo>
                    <a:pt x="1344" y="540"/>
                  </a:lnTo>
                  <a:lnTo>
                    <a:pt x="1338" y="534"/>
                  </a:lnTo>
                  <a:lnTo>
                    <a:pt x="1308" y="522"/>
                  </a:lnTo>
                  <a:lnTo>
                    <a:pt x="1296" y="522"/>
                  </a:lnTo>
                  <a:lnTo>
                    <a:pt x="1278" y="528"/>
                  </a:lnTo>
                  <a:lnTo>
                    <a:pt x="1260" y="534"/>
                  </a:lnTo>
                  <a:lnTo>
                    <a:pt x="1242" y="546"/>
                  </a:lnTo>
                  <a:lnTo>
                    <a:pt x="1236" y="552"/>
                  </a:lnTo>
                  <a:lnTo>
                    <a:pt x="1224" y="558"/>
                  </a:lnTo>
                  <a:lnTo>
                    <a:pt x="1218" y="558"/>
                  </a:lnTo>
                  <a:lnTo>
                    <a:pt x="1218" y="564"/>
                  </a:lnTo>
                  <a:lnTo>
                    <a:pt x="1224" y="570"/>
                  </a:lnTo>
                  <a:lnTo>
                    <a:pt x="1224" y="582"/>
                  </a:lnTo>
                  <a:lnTo>
                    <a:pt x="1224" y="594"/>
                  </a:lnTo>
                  <a:lnTo>
                    <a:pt x="1212" y="618"/>
                  </a:lnTo>
                  <a:lnTo>
                    <a:pt x="1212" y="624"/>
                  </a:lnTo>
                  <a:lnTo>
                    <a:pt x="1212" y="630"/>
                  </a:lnTo>
                  <a:lnTo>
                    <a:pt x="1212" y="636"/>
                  </a:lnTo>
                  <a:lnTo>
                    <a:pt x="1218" y="654"/>
                  </a:lnTo>
                  <a:lnTo>
                    <a:pt x="1224" y="672"/>
                  </a:lnTo>
                  <a:lnTo>
                    <a:pt x="1230" y="696"/>
                  </a:lnTo>
                  <a:lnTo>
                    <a:pt x="1236" y="708"/>
                  </a:lnTo>
                  <a:lnTo>
                    <a:pt x="1236" y="714"/>
                  </a:lnTo>
                  <a:lnTo>
                    <a:pt x="1236" y="720"/>
                  </a:lnTo>
                  <a:lnTo>
                    <a:pt x="1218" y="726"/>
                  </a:lnTo>
                  <a:lnTo>
                    <a:pt x="1212" y="726"/>
                  </a:lnTo>
                  <a:lnTo>
                    <a:pt x="1206" y="726"/>
                  </a:lnTo>
                  <a:lnTo>
                    <a:pt x="1194" y="720"/>
                  </a:lnTo>
                  <a:lnTo>
                    <a:pt x="1194" y="714"/>
                  </a:lnTo>
                  <a:lnTo>
                    <a:pt x="1176" y="714"/>
                  </a:lnTo>
                  <a:lnTo>
                    <a:pt x="1164" y="708"/>
                  </a:lnTo>
                  <a:lnTo>
                    <a:pt x="1158" y="708"/>
                  </a:lnTo>
                  <a:lnTo>
                    <a:pt x="1140" y="702"/>
                  </a:lnTo>
                  <a:lnTo>
                    <a:pt x="1134" y="696"/>
                  </a:lnTo>
                  <a:lnTo>
                    <a:pt x="1128" y="690"/>
                  </a:lnTo>
                  <a:lnTo>
                    <a:pt x="1116" y="678"/>
                  </a:lnTo>
                  <a:lnTo>
                    <a:pt x="1110" y="678"/>
                  </a:lnTo>
                  <a:lnTo>
                    <a:pt x="1104" y="672"/>
                  </a:lnTo>
                  <a:lnTo>
                    <a:pt x="1092" y="672"/>
                  </a:lnTo>
                  <a:lnTo>
                    <a:pt x="1086" y="672"/>
                  </a:lnTo>
                  <a:lnTo>
                    <a:pt x="1080" y="672"/>
                  </a:lnTo>
                  <a:lnTo>
                    <a:pt x="1074" y="672"/>
                  </a:lnTo>
                  <a:lnTo>
                    <a:pt x="1068" y="672"/>
                  </a:lnTo>
                  <a:lnTo>
                    <a:pt x="1062" y="678"/>
                  </a:lnTo>
                  <a:lnTo>
                    <a:pt x="1056" y="678"/>
                  </a:lnTo>
                  <a:lnTo>
                    <a:pt x="1056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6"/>
                  </a:lnTo>
                  <a:lnTo>
                    <a:pt x="1032" y="708"/>
                  </a:lnTo>
                  <a:lnTo>
                    <a:pt x="1026" y="708"/>
                  </a:lnTo>
                  <a:lnTo>
                    <a:pt x="1032" y="714"/>
                  </a:lnTo>
                  <a:lnTo>
                    <a:pt x="1026" y="720"/>
                  </a:lnTo>
                  <a:lnTo>
                    <a:pt x="1020" y="720"/>
                  </a:lnTo>
                  <a:lnTo>
                    <a:pt x="1014" y="732"/>
                  </a:lnTo>
                  <a:lnTo>
                    <a:pt x="1014" y="744"/>
                  </a:lnTo>
                  <a:lnTo>
                    <a:pt x="1038" y="810"/>
                  </a:lnTo>
                  <a:lnTo>
                    <a:pt x="1050" y="834"/>
                  </a:lnTo>
                  <a:lnTo>
                    <a:pt x="1056" y="858"/>
                  </a:lnTo>
                  <a:lnTo>
                    <a:pt x="1062" y="876"/>
                  </a:lnTo>
                  <a:lnTo>
                    <a:pt x="1068" y="882"/>
                  </a:lnTo>
                  <a:lnTo>
                    <a:pt x="1062" y="972"/>
                  </a:lnTo>
                  <a:lnTo>
                    <a:pt x="1056" y="972"/>
                  </a:lnTo>
                  <a:lnTo>
                    <a:pt x="1050" y="996"/>
                  </a:lnTo>
                  <a:lnTo>
                    <a:pt x="1044" y="1014"/>
                  </a:lnTo>
                  <a:lnTo>
                    <a:pt x="1008" y="1014"/>
                  </a:lnTo>
                  <a:lnTo>
                    <a:pt x="1008" y="1008"/>
                  </a:lnTo>
                  <a:lnTo>
                    <a:pt x="990" y="1008"/>
                  </a:lnTo>
                  <a:lnTo>
                    <a:pt x="972" y="1014"/>
                  </a:lnTo>
                  <a:lnTo>
                    <a:pt x="948" y="1020"/>
                  </a:lnTo>
                  <a:lnTo>
                    <a:pt x="918" y="1026"/>
                  </a:lnTo>
                  <a:lnTo>
                    <a:pt x="840" y="1032"/>
                  </a:lnTo>
                  <a:lnTo>
                    <a:pt x="834" y="1032"/>
                  </a:lnTo>
                  <a:lnTo>
                    <a:pt x="834" y="1026"/>
                  </a:lnTo>
                  <a:lnTo>
                    <a:pt x="822" y="1026"/>
                  </a:lnTo>
                  <a:lnTo>
                    <a:pt x="816" y="1032"/>
                  </a:lnTo>
                  <a:lnTo>
                    <a:pt x="804" y="1032"/>
                  </a:lnTo>
                  <a:lnTo>
                    <a:pt x="798" y="1026"/>
                  </a:lnTo>
                  <a:lnTo>
                    <a:pt x="780" y="1026"/>
                  </a:lnTo>
                  <a:lnTo>
                    <a:pt x="762" y="1026"/>
                  </a:lnTo>
                  <a:lnTo>
                    <a:pt x="756" y="1026"/>
                  </a:lnTo>
                  <a:lnTo>
                    <a:pt x="750" y="1026"/>
                  </a:lnTo>
                  <a:lnTo>
                    <a:pt x="756" y="1020"/>
                  </a:lnTo>
                  <a:lnTo>
                    <a:pt x="750" y="1020"/>
                  </a:lnTo>
                  <a:lnTo>
                    <a:pt x="744" y="1014"/>
                  </a:lnTo>
                  <a:lnTo>
                    <a:pt x="684" y="1020"/>
                  </a:lnTo>
                  <a:lnTo>
                    <a:pt x="648" y="1020"/>
                  </a:lnTo>
                  <a:lnTo>
                    <a:pt x="630" y="1020"/>
                  </a:lnTo>
                  <a:lnTo>
                    <a:pt x="618" y="1020"/>
                  </a:lnTo>
                  <a:lnTo>
                    <a:pt x="606" y="1014"/>
                  </a:lnTo>
                  <a:lnTo>
                    <a:pt x="582" y="1014"/>
                  </a:lnTo>
                  <a:lnTo>
                    <a:pt x="576" y="1014"/>
                  </a:lnTo>
                  <a:lnTo>
                    <a:pt x="570" y="1014"/>
                  </a:lnTo>
                  <a:lnTo>
                    <a:pt x="564" y="1020"/>
                  </a:lnTo>
                  <a:lnTo>
                    <a:pt x="558" y="1026"/>
                  </a:lnTo>
                  <a:lnTo>
                    <a:pt x="552" y="1032"/>
                  </a:lnTo>
                  <a:lnTo>
                    <a:pt x="552" y="1038"/>
                  </a:lnTo>
                  <a:lnTo>
                    <a:pt x="558" y="1194"/>
                  </a:lnTo>
                  <a:lnTo>
                    <a:pt x="558" y="1206"/>
                  </a:lnTo>
                  <a:lnTo>
                    <a:pt x="552" y="1218"/>
                  </a:lnTo>
                  <a:lnTo>
                    <a:pt x="552" y="1236"/>
                  </a:lnTo>
                  <a:lnTo>
                    <a:pt x="546" y="1272"/>
                  </a:lnTo>
                  <a:lnTo>
                    <a:pt x="546" y="1308"/>
                  </a:lnTo>
                  <a:lnTo>
                    <a:pt x="540" y="1332"/>
                  </a:lnTo>
                  <a:lnTo>
                    <a:pt x="546" y="1356"/>
                  </a:lnTo>
                  <a:lnTo>
                    <a:pt x="546" y="1362"/>
                  </a:lnTo>
                  <a:lnTo>
                    <a:pt x="546" y="1374"/>
                  </a:lnTo>
                  <a:lnTo>
                    <a:pt x="546" y="1380"/>
                  </a:lnTo>
                  <a:lnTo>
                    <a:pt x="540" y="1380"/>
                  </a:lnTo>
                  <a:lnTo>
                    <a:pt x="522" y="1380"/>
                  </a:lnTo>
                  <a:lnTo>
                    <a:pt x="516" y="1380"/>
                  </a:lnTo>
                  <a:lnTo>
                    <a:pt x="516" y="1386"/>
                  </a:lnTo>
                  <a:lnTo>
                    <a:pt x="516" y="1392"/>
                  </a:lnTo>
                  <a:lnTo>
                    <a:pt x="510" y="1392"/>
                  </a:lnTo>
                  <a:lnTo>
                    <a:pt x="504" y="1386"/>
                  </a:lnTo>
                  <a:lnTo>
                    <a:pt x="498" y="1392"/>
                  </a:lnTo>
                  <a:lnTo>
                    <a:pt x="492" y="1398"/>
                  </a:lnTo>
                  <a:lnTo>
                    <a:pt x="486" y="1398"/>
                  </a:lnTo>
                  <a:lnTo>
                    <a:pt x="486" y="1392"/>
                  </a:lnTo>
                  <a:lnTo>
                    <a:pt x="486" y="1380"/>
                  </a:lnTo>
                  <a:lnTo>
                    <a:pt x="486" y="1374"/>
                  </a:lnTo>
                  <a:lnTo>
                    <a:pt x="480" y="1374"/>
                  </a:lnTo>
                  <a:lnTo>
                    <a:pt x="474" y="1374"/>
                  </a:lnTo>
                  <a:lnTo>
                    <a:pt x="468" y="1380"/>
                  </a:lnTo>
                  <a:lnTo>
                    <a:pt x="462" y="1380"/>
                  </a:lnTo>
                  <a:lnTo>
                    <a:pt x="456" y="1380"/>
                  </a:lnTo>
                  <a:lnTo>
                    <a:pt x="450" y="1386"/>
                  </a:lnTo>
                  <a:lnTo>
                    <a:pt x="444" y="1386"/>
                  </a:lnTo>
                  <a:lnTo>
                    <a:pt x="444" y="1392"/>
                  </a:lnTo>
                  <a:lnTo>
                    <a:pt x="432" y="1398"/>
                  </a:lnTo>
                  <a:lnTo>
                    <a:pt x="426" y="1404"/>
                  </a:lnTo>
                  <a:lnTo>
                    <a:pt x="420" y="1404"/>
                  </a:lnTo>
                  <a:lnTo>
                    <a:pt x="408" y="1404"/>
                  </a:lnTo>
                  <a:lnTo>
                    <a:pt x="378" y="1410"/>
                  </a:lnTo>
                  <a:lnTo>
                    <a:pt x="372" y="1410"/>
                  </a:lnTo>
                  <a:lnTo>
                    <a:pt x="360" y="1410"/>
                  </a:lnTo>
                  <a:lnTo>
                    <a:pt x="354" y="1416"/>
                  </a:lnTo>
                  <a:lnTo>
                    <a:pt x="348" y="1416"/>
                  </a:lnTo>
                  <a:lnTo>
                    <a:pt x="342" y="1410"/>
                  </a:lnTo>
                  <a:lnTo>
                    <a:pt x="336" y="1410"/>
                  </a:lnTo>
                  <a:lnTo>
                    <a:pt x="336" y="1416"/>
                  </a:lnTo>
                  <a:lnTo>
                    <a:pt x="330" y="1422"/>
                  </a:lnTo>
                  <a:lnTo>
                    <a:pt x="324" y="1422"/>
                  </a:lnTo>
                  <a:lnTo>
                    <a:pt x="318" y="1422"/>
                  </a:lnTo>
                  <a:lnTo>
                    <a:pt x="312" y="1428"/>
                  </a:lnTo>
                  <a:lnTo>
                    <a:pt x="312" y="1434"/>
                  </a:lnTo>
                  <a:lnTo>
                    <a:pt x="300" y="1428"/>
                  </a:lnTo>
                  <a:lnTo>
                    <a:pt x="288" y="1434"/>
                  </a:lnTo>
                  <a:lnTo>
                    <a:pt x="282" y="1440"/>
                  </a:lnTo>
                  <a:lnTo>
                    <a:pt x="282" y="1446"/>
                  </a:lnTo>
                  <a:lnTo>
                    <a:pt x="276" y="1446"/>
                  </a:lnTo>
                  <a:lnTo>
                    <a:pt x="276" y="1452"/>
                  </a:lnTo>
                  <a:lnTo>
                    <a:pt x="270" y="1452"/>
                  </a:lnTo>
                  <a:lnTo>
                    <a:pt x="258" y="1464"/>
                  </a:lnTo>
                  <a:lnTo>
                    <a:pt x="240" y="1458"/>
                  </a:lnTo>
                  <a:lnTo>
                    <a:pt x="234" y="1452"/>
                  </a:lnTo>
                  <a:lnTo>
                    <a:pt x="234" y="1446"/>
                  </a:lnTo>
                  <a:lnTo>
                    <a:pt x="228" y="1446"/>
                  </a:lnTo>
                  <a:lnTo>
                    <a:pt x="222" y="1440"/>
                  </a:lnTo>
                  <a:lnTo>
                    <a:pt x="216" y="1440"/>
                  </a:lnTo>
                  <a:lnTo>
                    <a:pt x="210" y="1428"/>
                  </a:lnTo>
                  <a:lnTo>
                    <a:pt x="210" y="1422"/>
                  </a:lnTo>
                  <a:lnTo>
                    <a:pt x="198" y="1416"/>
                  </a:lnTo>
                  <a:lnTo>
                    <a:pt x="204" y="1410"/>
                  </a:lnTo>
                  <a:lnTo>
                    <a:pt x="210" y="1404"/>
                  </a:lnTo>
                  <a:lnTo>
                    <a:pt x="210" y="1398"/>
                  </a:lnTo>
                  <a:lnTo>
                    <a:pt x="252" y="1368"/>
                  </a:lnTo>
                  <a:lnTo>
                    <a:pt x="276" y="1350"/>
                  </a:lnTo>
                  <a:lnTo>
                    <a:pt x="300" y="1338"/>
                  </a:lnTo>
                  <a:lnTo>
                    <a:pt x="294" y="1314"/>
                  </a:lnTo>
                  <a:lnTo>
                    <a:pt x="288" y="1308"/>
                  </a:lnTo>
                  <a:lnTo>
                    <a:pt x="300" y="1266"/>
                  </a:lnTo>
                  <a:lnTo>
                    <a:pt x="300" y="1242"/>
                  </a:lnTo>
                  <a:lnTo>
                    <a:pt x="300" y="1206"/>
                  </a:lnTo>
                  <a:lnTo>
                    <a:pt x="300" y="1164"/>
                  </a:lnTo>
                  <a:lnTo>
                    <a:pt x="294" y="1134"/>
                  </a:lnTo>
                  <a:lnTo>
                    <a:pt x="282" y="1086"/>
                  </a:lnTo>
                  <a:lnTo>
                    <a:pt x="276" y="1074"/>
                  </a:lnTo>
                  <a:lnTo>
                    <a:pt x="276" y="1056"/>
                  </a:lnTo>
                  <a:lnTo>
                    <a:pt x="270" y="1038"/>
                  </a:lnTo>
                  <a:lnTo>
                    <a:pt x="270" y="1020"/>
                  </a:lnTo>
                  <a:lnTo>
                    <a:pt x="282" y="1020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94" y="1002"/>
                  </a:lnTo>
                  <a:lnTo>
                    <a:pt x="306" y="996"/>
                  </a:lnTo>
                  <a:lnTo>
                    <a:pt x="312" y="990"/>
                  </a:lnTo>
                  <a:lnTo>
                    <a:pt x="318" y="990"/>
                  </a:lnTo>
                  <a:lnTo>
                    <a:pt x="324" y="984"/>
                  </a:lnTo>
                  <a:lnTo>
                    <a:pt x="324" y="978"/>
                  </a:lnTo>
                  <a:lnTo>
                    <a:pt x="324" y="972"/>
                  </a:lnTo>
                  <a:lnTo>
                    <a:pt x="324" y="954"/>
                  </a:lnTo>
                  <a:lnTo>
                    <a:pt x="336" y="948"/>
                  </a:lnTo>
                  <a:lnTo>
                    <a:pt x="342" y="936"/>
                  </a:lnTo>
                  <a:lnTo>
                    <a:pt x="348" y="924"/>
                  </a:lnTo>
                  <a:lnTo>
                    <a:pt x="354" y="924"/>
                  </a:lnTo>
                  <a:lnTo>
                    <a:pt x="372" y="924"/>
                  </a:lnTo>
                  <a:lnTo>
                    <a:pt x="372" y="930"/>
                  </a:lnTo>
                  <a:lnTo>
                    <a:pt x="378" y="930"/>
                  </a:lnTo>
                  <a:lnTo>
                    <a:pt x="378" y="936"/>
                  </a:lnTo>
                  <a:lnTo>
                    <a:pt x="384" y="936"/>
                  </a:lnTo>
                  <a:lnTo>
                    <a:pt x="384" y="942"/>
                  </a:lnTo>
                  <a:lnTo>
                    <a:pt x="402" y="942"/>
                  </a:lnTo>
                  <a:lnTo>
                    <a:pt x="402" y="996"/>
                  </a:lnTo>
                  <a:lnTo>
                    <a:pt x="414" y="996"/>
                  </a:lnTo>
                  <a:lnTo>
                    <a:pt x="420" y="996"/>
                  </a:lnTo>
                  <a:lnTo>
                    <a:pt x="426" y="996"/>
                  </a:lnTo>
                  <a:lnTo>
                    <a:pt x="432" y="996"/>
                  </a:lnTo>
                  <a:lnTo>
                    <a:pt x="438" y="996"/>
                  </a:lnTo>
                  <a:lnTo>
                    <a:pt x="438" y="942"/>
                  </a:lnTo>
                  <a:lnTo>
                    <a:pt x="444" y="930"/>
                  </a:lnTo>
                  <a:lnTo>
                    <a:pt x="444" y="924"/>
                  </a:lnTo>
                  <a:lnTo>
                    <a:pt x="444" y="918"/>
                  </a:lnTo>
                  <a:lnTo>
                    <a:pt x="462" y="918"/>
                  </a:lnTo>
                  <a:lnTo>
                    <a:pt x="474" y="906"/>
                  </a:lnTo>
                  <a:lnTo>
                    <a:pt x="480" y="900"/>
                  </a:lnTo>
                  <a:lnTo>
                    <a:pt x="486" y="888"/>
                  </a:lnTo>
                  <a:lnTo>
                    <a:pt x="492" y="876"/>
                  </a:lnTo>
                  <a:lnTo>
                    <a:pt x="492" y="858"/>
                  </a:lnTo>
                  <a:lnTo>
                    <a:pt x="480" y="858"/>
                  </a:lnTo>
                  <a:lnTo>
                    <a:pt x="474" y="840"/>
                  </a:lnTo>
                  <a:lnTo>
                    <a:pt x="450" y="834"/>
                  </a:lnTo>
                  <a:lnTo>
                    <a:pt x="438" y="816"/>
                  </a:lnTo>
                  <a:lnTo>
                    <a:pt x="432" y="792"/>
                  </a:lnTo>
                  <a:lnTo>
                    <a:pt x="432" y="786"/>
                  </a:lnTo>
                  <a:lnTo>
                    <a:pt x="432" y="774"/>
                  </a:lnTo>
                  <a:lnTo>
                    <a:pt x="432" y="762"/>
                  </a:lnTo>
                  <a:lnTo>
                    <a:pt x="438" y="750"/>
                  </a:lnTo>
                  <a:lnTo>
                    <a:pt x="438" y="738"/>
                  </a:lnTo>
                  <a:lnTo>
                    <a:pt x="444" y="732"/>
                  </a:lnTo>
                  <a:lnTo>
                    <a:pt x="450" y="732"/>
                  </a:lnTo>
                  <a:lnTo>
                    <a:pt x="456" y="732"/>
                  </a:lnTo>
                  <a:lnTo>
                    <a:pt x="456" y="726"/>
                  </a:lnTo>
                  <a:lnTo>
                    <a:pt x="456" y="714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44" y="684"/>
                  </a:lnTo>
                  <a:lnTo>
                    <a:pt x="438" y="666"/>
                  </a:lnTo>
                  <a:lnTo>
                    <a:pt x="426" y="666"/>
                  </a:lnTo>
                  <a:lnTo>
                    <a:pt x="432" y="666"/>
                  </a:lnTo>
                  <a:lnTo>
                    <a:pt x="420" y="666"/>
                  </a:lnTo>
                  <a:lnTo>
                    <a:pt x="414" y="660"/>
                  </a:lnTo>
                  <a:lnTo>
                    <a:pt x="396" y="654"/>
                  </a:lnTo>
                  <a:lnTo>
                    <a:pt x="384" y="642"/>
                  </a:lnTo>
                  <a:lnTo>
                    <a:pt x="366" y="624"/>
                  </a:lnTo>
                  <a:lnTo>
                    <a:pt x="354" y="606"/>
                  </a:lnTo>
                  <a:lnTo>
                    <a:pt x="342" y="588"/>
                  </a:lnTo>
                  <a:lnTo>
                    <a:pt x="342" y="582"/>
                  </a:lnTo>
                  <a:lnTo>
                    <a:pt x="360" y="564"/>
                  </a:lnTo>
                  <a:lnTo>
                    <a:pt x="372" y="540"/>
                  </a:lnTo>
                  <a:lnTo>
                    <a:pt x="366" y="528"/>
                  </a:lnTo>
                  <a:lnTo>
                    <a:pt x="366" y="522"/>
                  </a:lnTo>
                  <a:lnTo>
                    <a:pt x="372" y="516"/>
                  </a:lnTo>
                  <a:lnTo>
                    <a:pt x="384" y="504"/>
                  </a:lnTo>
                  <a:lnTo>
                    <a:pt x="378" y="492"/>
                  </a:lnTo>
                  <a:lnTo>
                    <a:pt x="378" y="486"/>
                  </a:lnTo>
                  <a:lnTo>
                    <a:pt x="378" y="480"/>
                  </a:lnTo>
                  <a:lnTo>
                    <a:pt x="378" y="474"/>
                  </a:lnTo>
                  <a:lnTo>
                    <a:pt x="378" y="468"/>
                  </a:lnTo>
                  <a:lnTo>
                    <a:pt x="366" y="468"/>
                  </a:lnTo>
                  <a:lnTo>
                    <a:pt x="360" y="474"/>
                  </a:lnTo>
                  <a:lnTo>
                    <a:pt x="354" y="480"/>
                  </a:lnTo>
                  <a:lnTo>
                    <a:pt x="348" y="486"/>
                  </a:lnTo>
                  <a:lnTo>
                    <a:pt x="348" y="492"/>
                  </a:lnTo>
                  <a:lnTo>
                    <a:pt x="336" y="510"/>
                  </a:lnTo>
                  <a:lnTo>
                    <a:pt x="300" y="516"/>
                  </a:lnTo>
                  <a:lnTo>
                    <a:pt x="300" y="510"/>
                  </a:lnTo>
                  <a:lnTo>
                    <a:pt x="282" y="504"/>
                  </a:lnTo>
                  <a:lnTo>
                    <a:pt x="282" y="498"/>
                  </a:lnTo>
                  <a:lnTo>
                    <a:pt x="264" y="486"/>
                  </a:lnTo>
                  <a:lnTo>
                    <a:pt x="258" y="492"/>
                  </a:lnTo>
                  <a:lnTo>
                    <a:pt x="234" y="492"/>
                  </a:lnTo>
                  <a:lnTo>
                    <a:pt x="222" y="486"/>
                  </a:lnTo>
                  <a:lnTo>
                    <a:pt x="204" y="480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92" y="462"/>
                  </a:lnTo>
                  <a:lnTo>
                    <a:pt x="186" y="462"/>
                  </a:lnTo>
                  <a:lnTo>
                    <a:pt x="180" y="468"/>
                  </a:lnTo>
                  <a:lnTo>
                    <a:pt x="150" y="450"/>
                  </a:lnTo>
                  <a:lnTo>
                    <a:pt x="144" y="438"/>
                  </a:lnTo>
                  <a:lnTo>
                    <a:pt x="138" y="438"/>
                  </a:lnTo>
                  <a:lnTo>
                    <a:pt x="132" y="432"/>
                  </a:lnTo>
                  <a:lnTo>
                    <a:pt x="126" y="432"/>
                  </a:lnTo>
                  <a:lnTo>
                    <a:pt x="120" y="432"/>
                  </a:lnTo>
                  <a:lnTo>
                    <a:pt x="102" y="426"/>
                  </a:lnTo>
                  <a:lnTo>
                    <a:pt x="96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2" y="414"/>
                  </a:lnTo>
                  <a:lnTo>
                    <a:pt x="60" y="414"/>
                  </a:lnTo>
                  <a:lnTo>
                    <a:pt x="30" y="414"/>
                  </a:lnTo>
                  <a:lnTo>
                    <a:pt x="24" y="414"/>
                  </a:lnTo>
                  <a:lnTo>
                    <a:pt x="12" y="414"/>
                  </a:lnTo>
                  <a:lnTo>
                    <a:pt x="0" y="420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0" y="336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30" y="270"/>
                  </a:lnTo>
                  <a:lnTo>
                    <a:pt x="42" y="270"/>
                  </a:lnTo>
                  <a:lnTo>
                    <a:pt x="54" y="264"/>
                  </a:lnTo>
                  <a:lnTo>
                    <a:pt x="78" y="240"/>
                  </a:lnTo>
                  <a:lnTo>
                    <a:pt x="102" y="216"/>
                  </a:lnTo>
                  <a:lnTo>
                    <a:pt x="114" y="210"/>
                  </a:lnTo>
                  <a:lnTo>
                    <a:pt x="120" y="204"/>
                  </a:lnTo>
                  <a:lnTo>
                    <a:pt x="126" y="198"/>
                  </a:lnTo>
                  <a:lnTo>
                    <a:pt x="138" y="18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38"/>
                  </a:lnTo>
                  <a:lnTo>
                    <a:pt x="210" y="126"/>
                  </a:lnTo>
                  <a:lnTo>
                    <a:pt x="216" y="120"/>
                  </a:lnTo>
                  <a:lnTo>
                    <a:pt x="222" y="120"/>
                  </a:lnTo>
                  <a:lnTo>
                    <a:pt x="258" y="114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300" y="102"/>
                  </a:lnTo>
                  <a:lnTo>
                    <a:pt x="312" y="102"/>
                  </a:lnTo>
                  <a:lnTo>
                    <a:pt x="318" y="102"/>
                  </a:lnTo>
                  <a:lnTo>
                    <a:pt x="348" y="96"/>
                  </a:lnTo>
                  <a:lnTo>
                    <a:pt x="366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408" y="84"/>
                  </a:lnTo>
                  <a:lnTo>
                    <a:pt x="420" y="84"/>
                  </a:lnTo>
                  <a:lnTo>
                    <a:pt x="462" y="72"/>
                  </a:lnTo>
                  <a:lnTo>
                    <a:pt x="474" y="72"/>
                  </a:lnTo>
                  <a:lnTo>
                    <a:pt x="474" y="78"/>
                  </a:lnTo>
                  <a:lnTo>
                    <a:pt x="492" y="90"/>
                  </a:lnTo>
                  <a:lnTo>
                    <a:pt x="498" y="90"/>
                  </a:lnTo>
                  <a:lnTo>
                    <a:pt x="522" y="96"/>
                  </a:lnTo>
                  <a:lnTo>
                    <a:pt x="540" y="96"/>
                  </a:lnTo>
                  <a:lnTo>
                    <a:pt x="546" y="96"/>
                  </a:lnTo>
                  <a:lnTo>
                    <a:pt x="558" y="96"/>
                  </a:lnTo>
                  <a:lnTo>
                    <a:pt x="564" y="96"/>
                  </a:lnTo>
                  <a:lnTo>
                    <a:pt x="576" y="96"/>
                  </a:lnTo>
                  <a:lnTo>
                    <a:pt x="588" y="96"/>
                  </a:lnTo>
                  <a:lnTo>
                    <a:pt x="612" y="90"/>
                  </a:lnTo>
                  <a:lnTo>
                    <a:pt x="624" y="90"/>
                  </a:lnTo>
                  <a:lnTo>
                    <a:pt x="636" y="90"/>
                  </a:lnTo>
                  <a:lnTo>
                    <a:pt x="642" y="90"/>
                  </a:lnTo>
                  <a:lnTo>
                    <a:pt x="648" y="96"/>
                  </a:lnTo>
                  <a:lnTo>
                    <a:pt x="660" y="96"/>
                  </a:lnTo>
                  <a:lnTo>
                    <a:pt x="666" y="96"/>
                  </a:lnTo>
                  <a:lnTo>
                    <a:pt x="672" y="96"/>
                  </a:lnTo>
                  <a:lnTo>
                    <a:pt x="684" y="96"/>
                  </a:lnTo>
                  <a:lnTo>
                    <a:pt x="708" y="96"/>
                  </a:lnTo>
                  <a:lnTo>
                    <a:pt x="714" y="96"/>
                  </a:lnTo>
                  <a:lnTo>
                    <a:pt x="726" y="96"/>
                  </a:lnTo>
                  <a:lnTo>
                    <a:pt x="738" y="84"/>
                  </a:lnTo>
                  <a:lnTo>
                    <a:pt x="744" y="78"/>
                  </a:lnTo>
                  <a:lnTo>
                    <a:pt x="756" y="66"/>
                  </a:lnTo>
                  <a:lnTo>
                    <a:pt x="774" y="42"/>
                  </a:lnTo>
                  <a:lnTo>
                    <a:pt x="780" y="30"/>
                  </a:lnTo>
                  <a:lnTo>
                    <a:pt x="816" y="24"/>
                  </a:lnTo>
                  <a:lnTo>
                    <a:pt x="840" y="18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64" y="6"/>
                  </a:lnTo>
                  <a:lnTo>
                    <a:pt x="870" y="6"/>
                  </a:lnTo>
                  <a:lnTo>
                    <a:pt x="894" y="0"/>
                  </a:lnTo>
                  <a:lnTo>
                    <a:pt x="900" y="6"/>
                  </a:lnTo>
                  <a:lnTo>
                    <a:pt x="930" y="18"/>
                  </a:lnTo>
                  <a:lnTo>
                    <a:pt x="942" y="24"/>
                  </a:lnTo>
                  <a:lnTo>
                    <a:pt x="954" y="30"/>
                  </a:lnTo>
                  <a:lnTo>
                    <a:pt x="1026" y="60"/>
                  </a:lnTo>
                  <a:lnTo>
                    <a:pt x="1032" y="60"/>
                  </a:lnTo>
                  <a:lnTo>
                    <a:pt x="1038" y="66"/>
                  </a:lnTo>
                  <a:lnTo>
                    <a:pt x="1068" y="72"/>
                  </a:lnTo>
                  <a:lnTo>
                    <a:pt x="1098" y="84"/>
                  </a:lnTo>
                  <a:lnTo>
                    <a:pt x="1122" y="90"/>
                  </a:lnTo>
                  <a:lnTo>
                    <a:pt x="1122" y="96"/>
                  </a:lnTo>
                  <a:lnTo>
                    <a:pt x="1140" y="102"/>
                  </a:lnTo>
                  <a:lnTo>
                    <a:pt x="1182" y="114"/>
                  </a:lnTo>
                  <a:lnTo>
                    <a:pt x="1188" y="114"/>
                  </a:lnTo>
                  <a:lnTo>
                    <a:pt x="1200" y="120"/>
                  </a:lnTo>
                  <a:lnTo>
                    <a:pt x="1212" y="126"/>
                  </a:lnTo>
                  <a:lnTo>
                    <a:pt x="1224" y="126"/>
                  </a:lnTo>
                  <a:lnTo>
                    <a:pt x="1248" y="138"/>
                  </a:lnTo>
                  <a:lnTo>
                    <a:pt x="1272" y="150"/>
                  </a:lnTo>
                  <a:lnTo>
                    <a:pt x="1284" y="156"/>
                  </a:lnTo>
                  <a:lnTo>
                    <a:pt x="1290" y="162"/>
                  </a:lnTo>
                  <a:lnTo>
                    <a:pt x="1296" y="162"/>
                  </a:lnTo>
                  <a:lnTo>
                    <a:pt x="1308" y="156"/>
                  </a:lnTo>
                  <a:lnTo>
                    <a:pt x="1320" y="150"/>
                  </a:lnTo>
                  <a:lnTo>
                    <a:pt x="1326" y="150"/>
                  </a:lnTo>
                  <a:lnTo>
                    <a:pt x="1338" y="144"/>
                  </a:lnTo>
                  <a:lnTo>
                    <a:pt x="1362" y="144"/>
                  </a:lnTo>
                  <a:lnTo>
                    <a:pt x="1368" y="144"/>
                  </a:lnTo>
                  <a:lnTo>
                    <a:pt x="1374" y="144"/>
                  </a:lnTo>
                  <a:lnTo>
                    <a:pt x="1386" y="150"/>
                  </a:lnTo>
                  <a:lnTo>
                    <a:pt x="1392" y="150"/>
                  </a:lnTo>
                  <a:lnTo>
                    <a:pt x="1398" y="150"/>
                  </a:lnTo>
                  <a:lnTo>
                    <a:pt x="1416" y="162"/>
                  </a:lnTo>
                  <a:lnTo>
                    <a:pt x="1458" y="186"/>
                  </a:lnTo>
                  <a:lnTo>
                    <a:pt x="1464" y="186"/>
                  </a:lnTo>
                  <a:lnTo>
                    <a:pt x="1470" y="192"/>
                  </a:lnTo>
                  <a:lnTo>
                    <a:pt x="1482" y="204"/>
                  </a:lnTo>
                  <a:lnTo>
                    <a:pt x="1512" y="234"/>
                  </a:lnTo>
                  <a:lnTo>
                    <a:pt x="1554" y="276"/>
                  </a:lnTo>
                  <a:lnTo>
                    <a:pt x="1560" y="276"/>
                  </a:lnTo>
                  <a:lnTo>
                    <a:pt x="1566" y="282"/>
                  </a:lnTo>
                  <a:lnTo>
                    <a:pt x="1578" y="294"/>
                  </a:lnTo>
                  <a:lnTo>
                    <a:pt x="1602" y="318"/>
                  </a:lnTo>
                  <a:lnTo>
                    <a:pt x="1614" y="330"/>
                  </a:lnTo>
                  <a:lnTo>
                    <a:pt x="1620" y="336"/>
                  </a:lnTo>
                  <a:lnTo>
                    <a:pt x="1626" y="342"/>
                  </a:lnTo>
                  <a:lnTo>
                    <a:pt x="1632" y="354"/>
                  </a:lnTo>
                  <a:lnTo>
                    <a:pt x="1644" y="366"/>
                  </a:lnTo>
                  <a:lnTo>
                    <a:pt x="1650" y="378"/>
                  </a:lnTo>
                  <a:lnTo>
                    <a:pt x="1650" y="384"/>
                  </a:lnTo>
                  <a:lnTo>
                    <a:pt x="1656" y="384"/>
                  </a:lnTo>
                  <a:lnTo>
                    <a:pt x="1662" y="402"/>
                  </a:lnTo>
                  <a:lnTo>
                    <a:pt x="1668" y="408"/>
                  </a:lnTo>
                  <a:lnTo>
                    <a:pt x="1674" y="426"/>
                  </a:lnTo>
                  <a:lnTo>
                    <a:pt x="1686" y="438"/>
                  </a:lnTo>
                  <a:lnTo>
                    <a:pt x="1698" y="46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9" name="Freeform 34">
              <a:extLst>
                <a:ext uri="{FF2B5EF4-FFF2-40B4-BE49-F238E27FC236}">
                  <a16:creationId xmlns:a16="http://schemas.microsoft.com/office/drawing/2014/main" id="{94603F24-8CF7-4226-A433-00D18CA7D9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1988" y="1681402"/>
              <a:ext cx="869877" cy="1060101"/>
            </a:xfrm>
            <a:custGeom>
              <a:avLst/>
              <a:gdLst>
                <a:gd name="T0" fmla="*/ 4 w 1638"/>
                <a:gd name="T1" fmla="*/ 111 h 1998"/>
                <a:gd name="T2" fmla="*/ 6 w 1638"/>
                <a:gd name="T3" fmla="*/ 87 h 1998"/>
                <a:gd name="T4" fmla="*/ 10 w 1638"/>
                <a:gd name="T5" fmla="*/ 80 h 1998"/>
                <a:gd name="T6" fmla="*/ 10 w 1638"/>
                <a:gd name="T7" fmla="*/ 71 h 1998"/>
                <a:gd name="T8" fmla="*/ 9 w 1638"/>
                <a:gd name="T9" fmla="*/ 56 h 1998"/>
                <a:gd name="T10" fmla="*/ 8 w 1638"/>
                <a:gd name="T11" fmla="*/ 40 h 1998"/>
                <a:gd name="T12" fmla="*/ 20 w 1638"/>
                <a:gd name="T13" fmla="*/ 30 h 1998"/>
                <a:gd name="T14" fmla="*/ 30 w 1638"/>
                <a:gd name="T15" fmla="*/ 19 h 1998"/>
                <a:gd name="T16" fmla="*/ 35 w 1638"/>
                <a:gd name="T17" fmla="*/ 2 h 1998"/>
                <a:gd name="T18" fmla="*/ 47 w 1638"/>
                <a:gd name="T19" fmla="*/ 2 h 1998"/>
                <a:gd name="T20" fmla="*/ 56 w 1638"/>
                <a:gd name="T21" fmla="*/ 7 h 1998"/>
                <a:gd name="T22" fmla="*/ 67 w 1638"/>
                <a:gd name="T23" fmla="*/ 5 h 1998"/>
                <a:gd name="T24" fmla="*/ 65 w 1638"/>
                <a:gd name="T25" fmla="*/ 15 h 1998"/>
                <a:gd name="T26" fmla="*/ 74 w 1638"/>
                <a:gd name="T27" fmla="*/ 24 h 1998"/>
                <a:gd name="T28" fmla="*/ 73 w 1638"/>
                <a:gd name="T29" fmla="*/ 33 h 1998"/>
                <a:gd name="T30" fmla="*/ 74 w 1638"/>
                <a:gd name="T31" fmla="*/ 44 h 1998"/>
                <a:gd name="T32" fmla="*/ 68 w 1638"/>
                <a:gd name="T33" fmla="*/ 45 h 1998"/>
                <a:gd name="T34" fmla="*/ 63 w 1638"/>
                <a:gd name="T35" fmla="*/ 50 h 1998"/>
                <a:gd name="T36" fmla="*/ 61 w 1638"/>
                <a:gd name="T37" fmla="*/ 62 h 1998"/>
                <a:gd name="T38" fmla="*/ 53 w 1638"/>
                <a:gd name="T39" fmla="*/ 86 h 1998"/>
                <a:gd name="T40" fmla="*/ 59 w 1638"/>
                <a:gd name="T41" fmla="*/ 90 h 1998"/>
                <a:gd name="T42" fmla="*/ 65 w 1638"/>
                <a:gd name="T43" fmla="*/ 86 h 1998"/>
                <a:gd name="T44" fmla="*/ 74 w 1638"/>
                <a:gd name="T45" fmla="*/ 84 h 1998"/>
                <a:gd name="T46" fmla="*/ 79 w 1638"/>
                <a:gd name="T47" fmla="*/ 85 h 1998"/>
                <a:gd name="T48" fmla="*/ 84 w 1638"/>
                <a:gd name="T49" fmla="*/ 84 h 1998"/>
                <a:gd name="T50" fmla="*/ 91 w 1638"/>
                <a:gd name="T51" fmla="*/ 84 h 1998"/>
                <a:gd name="T52" fmla="*/ 94 w 1638"/>
                <a:gd name="T53" fmla="*/ 81 h 1998"/>
                <a:gd name="T54" fmla="*/ 100 w 1638"/>
                <a:gd name="T55" fmla="*/ 81 h 1998"/>
                <a:gd name="T56" fmla="*/ 102 w 1638"/>
                <a:gd name="T57" fmla="*/ 84 h 1998"/>
                <a:gd name="T58" fmla="*/ 108 w 1638"/>
                <a:gd name="T59" fmla="*/ 85 h 1998"/>
                <a:gd name="T60" fmla="*/ 113 w 1638"/>
                <a:gd name="T61" fmla="*/ 88 h 1998"/>
                <a:gd name="T62" fmla="*/ 116 w 1638"/>
                <a:gd name="T63" fmla="*/ 88 h 1998"/>
                <a:gd name="T64" fmla="*/ 123 w 1638"/>
                <a:gd name="T65" fmla="*/ 87 h 1998"/>
                <a:gd name="T66" fmla="*/ 128 w 1638"/>
                <a:gd name="T67" fmla="*/ 86 h 1998"/>
                <a:gd name="T68" fmla="*/ 132 w 1638"/>
                <a:gd name="T69" fmla="*/ 90 h 1998"/>
                <a:gd name="T70" fmla="*/ 138 w 1638"/>
                <a:gd name="T71" fmla="*/ 96 h 1998"/>
                <a:gd name="T72" fmla="*/ 138 w 1638"/>
                <a:gd name="T73" fmla="*/ 110 h 1998"/>
                <a:gd name="T74" fmla="*/ 137 w 1638"/>
                <a:gd name="T75" fmla="*/ 118 h 1998"/>
                <a:gd name="T76" fmla="*/ 133 w 1638"/>
                <a:gd name="T77" fmla="*/ 124 h 1998"/>
                <a:gd name="T78" fmla="*/ 122 w 1638"/>
                <a:gd name="T79" fmla="*/ 125 h 1998"/>
                <a:gd name="T80" fmla="*/ 116 w 1638"/>
                <a:gd name="T81" fmla="*/ 127 h 1998"/>
                <a:gd name="T82" fmla="*/ 108 w 1638"/>
                <a:gd name="T83" fmla="*/ 123 h 1998"/>
                <a:gd name="T84" fmla="*/ 109 w 1638"/>
                <a:gd name="T85" fmla="*/ 119 h 1998"/>
                <a:gd name="T86" fmla="*/ 104 w 1638"/>
                <a:gd name="T87" fmla="*/ 104 h 1998"/>
                <a:gd name="T88" fmla="*/ 94 w 1638"/>
                <a:gd name="T89" fmla="*/ 105 h 1998"/>
                <a:gd name="T90" fmla="*/ 88 w 1638"/>
                <a:gd name="T91" fmla="*/ 109 h 1998"/>
                <a:gd name="T92" fmla="*/ 76 w 1638"/>
                <a:gd name="T93" fmla="*/ 107 h 1998"/>
                <a:gd name="T94" fmla="*/ 72 w 1638"/>
                <a:gd name="T95" fmla="*/ 114 h 1998"/>
                <a:gd name="T96" fmla="*/ 86 w 1638"/>
                <a:gd name="T97" fmla="*/ 121 h 1998"/>
                <a:gd name="T98" fmla="*/ 87 w 1638"/>
                <a:gd name="T99" fmla="*/ 129 h 1998"/>
                <a:gd name="T100" fmla="*/ 86 w 1638"/>
                <a:gd name="T101" fmla="*/ 137 h 1998"/>
                <a:gd name="T102" fmla="*/ 79 w 1638"/>
                <a:gd name="T103" fmla="*/ 141 h 1998"/>
                <a:gd name="T104" fmla="*/ 73 w 1638"/>
                <a:gd name="T105" fmla="*/ 144 h 1998"/>
                <a:gd name="T106" fmla="*/ 72 w 1638"/>
                <a:gd name="T107" fmla="*/ 164 h 1998"/>
                <a:gd name="T108" fmla="*/ 68 w 1638"/>
                <a:gd name="T109" fmla="*/ 172 h 1998"/>
                <a:gd name="T110" fmla="*/ 59 w 1638"/>
                <a:gd name="T111" fmla="*/ 164 h 1998"/>
                <a:gd name="T112" fmla="*/ 65 w 1638"/>
                <a:gd name="T113" fmla="*/ 146 h 1998"/>
                <a:gd name="T114" fmla="*/ 69 w 1638"/>
                <a:gd name="T115" fmla="*/ 133 h 1998"/>
                <a:gd name="T116" fmla="*/ 61 w 1638"/>
                <a:gd name="T117" fmla="*/ 131 h 1998"/>
                <a:gd name="T118" fmla="*/ 43 w 1638"/>
                <a:gd name="T119" fmla="*/ 125 h 1998"/>
                <a:gd name="T120" fmla="*/ 23 w 1638"/>
                <a:gd name="T121" fmla="*/ 125 h 1998"/>
                <a:gd name="T122" fmla="*/ 17 w 1638"/>
                <a:gd name="T123" fmla="*/ 121 h 19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638"/>
                <a:gd name="T187" fmla="*/ 0 h 1998"/>
                <a:gd name="T188" fmla="*/ 1638 w 1638"/>
                <a:gd name="T189" fmla="*/ 1998 h 19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638" h="1998">
                  <a:moveTo>
                    <a:pt x="144" y="1380"/>
                  </a:moveTo>
                  <a:lnTo>
                    <a:pt x="150" y="1368"/>
                  </a:lnTo>
                  <a:lnTo>
                    <a:pt x="150" y="1362"/>
                  </a:lnTo>
                  <a:lnTo>
                    <a:pt x="150" y="1356"/>
                  </a:lnTo>
                  <a:lnTo>
                    <a:pt x="144" y="1356"/>
                  </a:lnTo>
                  <a:lnTo>
                    <a:pt x="138" y="1356"/>
                  </a:lnTo>
                  <a:lnTo>
                    <a:pt x="126" y="1356"/>
                  </a:lnTo>
                  <a:lnTo>
                    <a:pt x="114" y="1344"/>
                  </a:lnTo>
                  <a:lnTo>
                    <a:pt x="84" y="1320"/>
                  </a:lnTo>
                  <a:lnTo>
                    <a:pt x="54" y="1296"/>
                  </a:lnTo>
                  <a:lnTo>
                    <a:pt x="48" y="1290"/>
                  </a:lnTo>
                  <a:lnTo>
                    <a:pt x="42" y="1278"/>
                  </a:lnTo>
                  <a:lnTo>
                    <a:pt x="30" y="1272"/>
                  </a:lnTo>
                  <a:lnTo>
                    <a:pt x="0" y="1248"/>
                  </a:lnTo>
                  <a:lnTo>
                    <a:pt x="6" y="1230"/>
                  </a:lnTo>
                  <a:lnTo>
                    <a:pt x="12" y="1194"/>
                  </a:lnTo>
                  <a:lnTo>
                    <a:pt x="18" y="1170"/>
                  </a:lnTo>
                  <a:lnTo>
                    <a:pt x="30" y="1134"/>
                  </a:lnTo>
                  <a:lnTo>
                    <a:pt x="36" y="1086"/>
                  </a:lnTo>
                  <a:lnTo>
                    <a:pt x="42" y="1050"/>
                  </a:lnTo>
                  <a:lnTo>
                    <a:pt x="48" y="1044"/>
                  </a:lnTo>
                  <a:lnTo>
                    <a:pt x="54" y="1026"/>
                  </a:lnTo>
                  <a:lnTo>
                    <a:pt x="60" y="1014"/>
                  </a:lnTo>
                  <a:lnTo>
                    <a:pt x="66" y="1002"/>
                  </a:lnTo>
                  <a:lnTo>
                    <a:pt x="66" y="996"/>
                  </a:lnTo>
                  <a:lnTo>
                    <a:pt x="72" y="996"/>
                  </a:lnTo>
                  <a:lnTo>
                    <a:pt x="72" y="990"/>
                  </a:lnTo>
                  <a:lnTo>
                    <a:pt x="78" y="990"/>
                  </a:lnTo>
                  <a:lnTo>
                    <a:pt x="90" y="978"/>
                  </a:lnTo>
                  <a:lnTo>
                    <a:pt x="96" y="966"/>
                  </a:lnTo>
                  <a:lnTo>
                    <a:pt x="102" y="966"/>
                  </a:lnTo>
                  <a:lnTo>
                    <a:pt x="114" y="954"/>
                  </a:lnTo>
                  <a:lnTo>
                    <a:pt x="120" y="954"/>
                  </a:lnTo>
                  <a:lnTo>
                    <a:pt x="120" y="948"/>
                  </a:lnTo>
                  <a:lnTo>
                    <a:pt x="114" y="930"/>
                  </a:lnTo>
                  <a:lnTo>
                    <a:pt x="114" y="924"/>
                  </a:lnTo>
                  <a:lnTo>
                    <a:pt x="108" y="918"/>
                  </a:lnTo>
                  <a:lnTo>
                    <a:pt x="102" y="912"/>
                  </a:lnTo>
                  <a:lnTo>
                    <a:pt x="90" y="906"/>
                  </a:lnTo>
                  <a:lnTo>
                    <a:pt x="84" y="900"/>
                  </a:lnTo>
                  <a:lnTo>
                    <a:pt x="84" y="888"/>
                  </a:lnTo>
                  <a:lnTo>
                    <a:pt x="84" y="882"/>
                  </a:lnTo>
                  <a:lnTo>
                    <a:pt x="78" y="858"/>
                  </a:lnTo>
                  <a:lnTo>
                    <a:pt x="78" y="852"/>
                  </a:lnTo>
                  <a:lnTo>
                    <a:pt x="84" y="846"/>
                  </a:lnTo>
                  <a:lnTo>
                    <a:pt x="84" y="840"/>
                  </a:lnTo>
                  <a:lnTo>
                    <a:pt x="96" y="828"/>
                  </a:lnTo>
                  <a:lnTo>
                    <a:pt x="114" y="816"/>
                  </a:lnTo>
                  <a:lnTo>
                    <a:pt x="114" y="810"/>
                  </a:lnTo>
                  <a:lnTo>
                    <a:pt x="114" y="804"/>
                  </a:lnTo>
                  <a:lnTo>
                    <a:pt x="108" y="780"/>
                  </a:lnTo>
                  <a:lnTo>
                    <a:pt x="96" y="756"/>
                  </a:lnTo>
                  <a:lnTo>
                    <a:pt x="96" y="750"/>
                  </a:lnTo>
                  <a:lnTo>
                    <a:pt x="90" y="720"/>
                  </a:lnTo>
                  <a:lnTo>
                    <a:pt x="90" y="708"/>
                  </a:lnTo>
                  <a:lnTo>
                    <a:pt x="90" y="690"/>
                  </a:lnTo>
                  <a:lnTo>
                    <a:pt x="96" y="672"/>
                  </a:lnTo>
                  <a:lnTo>
                    <a:pt x="90" y="666"/>
                  </a:lnTo>
                  <a:lnTo>
                    <a:pt x="96" y="666"/>
                  </a:lnTo>
                  <a:lnTo>
                    <a:pt x="102" y="642"/>
                  </a:lnTo>
                  <a:lnTo>
                    <a:pt x="108" y="624"/>
                  </a:lnTo>
                  <a:lnTo>
                    <a:pt x="102" y="618"/>
                  </a:lnTo>
                  <a:lnTo>
                    <a:pt x="102" y="588"/>
                  </a:lnTo>
                  <a:lnTo>
                    <a:pt x="102" y="564"/>
                  </a:lnTo>
                  <a:lnTo>
                    <a:pt x="102" y="546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0"/>
                  </a:lnTo>
                  <a:lnTo>
                    <a:pt x="96" y="498"/>
                  </a:lnTo>
                  <a:lnTo>
                    <a:pt x="96" y="486"/>
                  </a:lnTo>
                  <a:lnTo>
                    <a:pt x="96" y="474"/>
                  </a:lnTo>
                  <a:lnTo>
                    <a:pt x="96" y="462"/>
                  </a:lnTo>
                  <a:lnTo>
                    <a:pt x="114" y="450"/>
                  </a:lnTo>
                  <a:lnTo>
                    <a:pt x="126" y="438"/>
                  </a:lnTo>
                  <a:lnTo>
                    <a:pt x="132" y="432"/>
                  </a:lnTo>
                  <a:lnTo>
                    <a:pt x="144" y="426"/>
                  </a:lnTo>
                  <a:lnTo>
                    <a:pt x="144" y="420"/>
                  </a:lnTo>
                  <a:lnTo>
                    <a:pt x="156" y="414"/>
                  </a:lnTo>
                  <a:lnTo>
                    <a:pt x="162" y="408"/>
                  </a:lnTo>
                  <a:lnTo>
                    <a:pt x="180" y="396"/>
                  </a:lnTo>
                  <a:lnTo>
                    <a:pt x="210" y="372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34" y="348"/>
                  </a:lnTo>
                  <a:lnTo>
                    <a:pt x="240" y="348"/>
                  </a:lnTo>
                  <a:lnTo>
                    <a:pt x="246" y="342"/>
                  </a:lnTo>
                  <a:lnTo>
                    <a:pt x="276" y="318"/>
                  </a:lnTo>
                  <a:lnTo>
                    <a:pt x="282" y="312"/>
                  </a:lnTo>
                  <a:lnTo>
                    <a:pt x="288" y="306"/>
                  </a:lnTo>
                  <a:lnTo>
                    <a:pt x="300" y="288"/>
                  </a:lnTo>
                  <a:lnTo>
                    <a:pt x="306" y="276"/>
                  </a:lnTo>
                  <a:lnTo>
                    <a:pt x="324" y="246"/>
                  </a:lnTo>
                  <a:lnTo>
                    <a:pt x="330" y="240"/>
                  </a:lnTo>
                  <a:lnTo>
                    <a:pt x="336" y="234"/>
                  </a:lnTo>
                  <a:lnTo>
                    <a:pt x="342" y="228"/>
                  </a:lnTo>
                  <a:lnTo>
                    <a:pt x="342" y="216"/>
                  </a:lnTo>
                  <a:lnTo>
                    <a:pt x="354" y="204"/>
                  </a:lnTo>
                  <a:lnTo>
                    <a:pt x="360" y="204"/>
                  </a:lnTo>
                  <a:lnTo>
                    <a:pt x="366" y="186"/>
                  </a:lnTo>
                  <a:lnTo>
                    <a:pt x="384" y="162"/>
                  </a:lnTo>
                  <a:lnTo>
                    <a:pt x="390" y="144"/>
                  </a:lnTo>
                  <a:lnTo>
                    <a:pt x="396" y="114"/>
                  </a:lnTo>
                  <a:lnTo>
                    <a:pt x="396" y="102"/>
                  </a:lnTo>
                  <a:lnTo>
                    <a:pt x="402" y="90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08" y="36"/>
                  </a:lnTo>
                  <a:lnTo>
                    <a:pt x="408" y="24"/>
                  </a:lnTo>
                  <a:lnTo>
                    <a:pt x="408" y="6"/>
                  </a:lnTo>
                  <a:lnTo>
                    <a:pt x="420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68" y="0"/>
                  </a:lnTo>
                  <a:lnTo>
                    <a:pt x="480" y="0"/>
                  </a:lnTo>
                  <a:lnTo>
                    <a:pt x="492" y="0"/>
                  </a:lnTo>
                  <a:lnTo>
                    <a:pt x="498" y="0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8" y="18"/>
                  </a:lnTo>
                  <a:lnTo>
                    <a:pt x="534" y="18"/>
                  </a:lnTo>
                  <a:lnTo>
                    <a:pt x="540" y="18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8" y="36"/>
                  </a:lnTo>
                  <a:lnTo>
                    <a:pt x="588" y="54"/>
                  </a:lnTo>
                  <a:lnTo>
                    <a:pt x="594" y="48"/>
                  </a:lnTo>
                  <a:lnTo>
                    <a:pt x="600" y="48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12" y="66"/>
                  </a:lnTo>
                  <a:lnTo>
                    <a:pt x="630" y="72"/>
                  </a:lnTo>
                  <a:lnTo>
                    <a:pt x="642" y="78"/>
                  </a:lnTo>
                  <a:lnTo>
                    <a:pt x="666" y="78"/>
                  </a:lnTo>
                  <a:lnTo>
                    <a:pt x="672" y="72"/>
                  </a:lnTo>
                  <a:lnTo>
                    <a:pt x="690" y="84"/>
                  </a:lnTo>
                  <a:lnTo>
                    <a:pt x="690" y="90"/>
                  </a:lnTo>
                  <a:lnTo>
                    <a:pt x="708" y="96"/>
                  </a:lnTo>
                  <a:lnTo>
                    <a:pt x="708" y="102"/>
                  </a:lnTo>
                  <a:lnTo>
                    <a:pt x="744" y="96"/>
                  </a:lnTo>
                  <a:lnTo>
                    <a:pt x="756" y="78"/>
                  </a:lnTo>
                  <a:lnTo>
                    <a:pt x="756" y="72"/>
                  </a:lnTo>
                  <a:lnTo>
                    <a:pt x="762" y="66"/>
                  </a:lnTo>
                  <a:lnTo>
                    <a:pt x="768" y="60"/>
                  </a:lnTo>
                  <a:lnTo>
                    <a:pt x="774" y="54"/>
                  </a:lnTo>
                  <a:lnTo>
                    <a:pt x="786" y="54"/>
                  </a:lnTo>
                  <a:lnTo>
                    <a:pt x="786" y="60"/>
                  </a:lnTo>
                  <a:lnTo>
                    <a:pt x="786" y="66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92" y="90"/>
                  </a:lnTo>
                  <a:lnTo>
                    <a:pt x="780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26"/>
                  </a:lnTo>
                  <a:lnTo>
                    <a:pt x="768" y="150"/>
                  </a:lnTo>
                  <a:lnTo>
                    <a:pt x="750" y="168"/>
                  </a:lnTo>
                  <a:lnTo>
                    <a:pt x="750" y="174"/>
                  </a:lnTo>
                  <a:lnTo>
                    <a:pt x="762" y="192"/>
                  </a:lnTo>
                  <a:lnTo>
                    <a:pt x="774" y="210"/>
                  </a:lnTo>
                  <a:lnTo>
                    <a:pt x="792" y="228"/>
                  </a:lnTo>
                  <a:lnTo>
                    <a:pt x="804" y="240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40" y="252"/>
                  </a:lnTo>
                  <a:lnTo>
                    <a:pt x="834" y="252"/>
                  </a:lnTo>
                  <a:lnTo>
                    <a:pt x="846" y="252"/>
                  </a:lnTo>
                  <a:lnTo>
                    <a:pt x="852" y="270"/>
                  </a:lnTo>
                  <a:lnTo>
                    <a:pt x="858" y="282"/>
                  </a:lnTo>
                  <a:lnTo>
                    <a:pt x="858" y="288"/>
                  </a:lnTo>
                  <a:lnTo>
                    <a:pt x="864" y="300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58" y="318"/>
                  </a:lnTo>
                  <a:lnTo>
                    <a:pt x="852" y="318"/>
                  </a:lnTo>
                  <a:lnTo>
                    <a:pt x="846" y="324"/>
                  </a:lnTo>
                  <a:lnTo>
                    <a:pt x="846" y="336"/>
                  </a:lnTo>
                  <a:lnTo>
                    <a:pt x="840" y="348"/>
                  </a:lnTo>
                  <a:lnTo>
                    <a:pt x="840" y="360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46" y="402"/>
                  </a:lnTo>
                  <a:lnTo>
                    <a:pt x="858" y="420"/>
                  </a:lnTo>
                  <a:lnTo>
                    <a:pt x="882" y="426"/>
                  </a:lnTo>
                  <a:lnTo>
                    <a:pt x="888" y="444"/>
                  </a:lnTo>
                  <a:lnTo>
                    <a:pt x="900" y="444"/>
                  </a:lnTo>
                  <a:lnTo>
                    <a:pt x="900" y="462"/>
                  </a:lnTo>
                  <a:lnTo>
                    <a:pt x="894" y="474"/>
                  </a:lnTo>
                  <a:lnTo>
                    <a:pt x="888" y="486"/>
                  </a:lnTo>
                  <a:lnTo>
                    <a:pt x="882" y="492"/>
                  </a:lnTo>
                  <a:lnTo>
                    <a:pt x="870" y="504"/>
                  </a:lnTo>
                  <a:lnTo>
                    <a:pt x="852" y="504"/>
                  </a:lnTo>
                  <a:lnTo>
                    <a:pt x="852" y="510"/>
                  </a:lnTo>
                  <a:lnTo>
                    <a:pt x="852" y="516"/>
                  </a:lnTo>
                  <a:lnTo>
                    <a:pt x="846" y="528"/>
                  </a:lnTo>
                  <a:lnTo>
                    <a:pt x="846" y="582"/>
                  </a:lnTo>
                  <a:lnTo>
                    <a:pt x="840" y="582"/>
                  </a:lnTo>
                  <a:lnTo>
                    <a:pt x="834" y="582"/>
                  </a:lnTo>
                  <a:lnTo>
                    <a:pt x="828" y="582"/>
                  </a:lnTo>
                  <a:lnTo>
                    <a:pt x="822" y="582"/>
                  </a:lnTo>
                  <a:lnTo>
                    <a:pt x="810" y="582"/>
                  </a:lnTo>
                  <a:lnTo>
                    <a:pt x="810" y="528"/>
                  </a:lnTo>
                  <a:lnTo>
                    <a:pt x="792" y="528"/>
                  </a:lnTo>
                  <a:lnTo>
                    <a:pt x="792" y="522"/>
                  </a:lnTo>
                  <a:lnTo>
                    <a:pt x="786" y="522"/>
                  </a:lnTo>
                  <a:lnTo>
                    <a:pt x="786" y="516"/>
                  </a:lnTo>
                  <a:lnTo>
                    <a:pt x="780" y="516"/>
                  </a:lnTo>
                  <a:lnTo>
                    <a:pt x="780" y="510"/>
                  </a:lnTo>
                  <a:lnTo>
                    <a:pt x="762" y="510"/>
                  </a:lnTo>
                  <a:lnTo>
                    <a:pt x="756" y="510"/>
                  </a:lnTo>
                  <a:lnTo>
                    <a:pt x="750" y="522"/>
                  </a:lnTo>
                  <a:lnTo>
                    <a:pt x="744" y="534"/>
                  </a:lnTo>
                  <a:lnTo>
                    <a:pt x="732" y="540"/>
                  </a:lnTo>
                  <a:lnTo>
                    <a:pt x="732" y="558"/>
                  </a:lnTo>
                  <a:lnTo>
                    <a:pt x="732" y="564"/>
                  </a:lnTo>
                  <a:lnTo>
                    <a:pt x="732" y="570"/>
                  </a:lnTo>
                  <a:lnTo>
                    <a:pt x="726" y="576"/>
                  </a:lnTo>
                  <a:lnTo>
                    <a:pt x="720" y="576"/>
                  </a:lnTo>
                  <a:lnTo>
                    <a:pt x="714" y="582"/>
                  </a:lnTo>
                  <a:lnTo>
                    <a:pt x="702" y="588"/>
                  </a:lnTo>
                  <a:lnTo>
                    <a:pt x="696" y="594"/>
                  </a:lnTo>
                  <a:lnTo>
                    <a:pt x="690" y="600"/>
                  </a:lnTo>
                  <a:lnTo>
                    <a:pt x="690" y="606"/>
                  </a:lnTo>
                  <a:lnTo>
                    <a:pt x="678" y="606"/>
                  </a:lnTo>
                  <a:lnTo>
                    <a:pt x="678" y="624"/>
                  </a:lnTo>
                  <a:lnTo>
                    <a:pt x="684" y="642"/>
                  </a:lnTo>
                  <a:lnTo>
                    <a:pt x="684" y="660"/>
                  </a:lnTo>
                  <a:lnTo>
                    <a:pt x="690" y="672"/>
                  </a:lnTo>
                  <a:lnTo>
                    <a:pt x="702" y="720"/>
                  </a:lnTo>
                  <a:lnTo>
                    <a:pt x="708" y="750"/>
                  </a:lnTo>
                  <a:lnTo>
                    <a:pt x="708" y="792"/>
                  </a:lnTo>
                  <a:lnTo>
                    <a:pt x="708" y="828"/>
                  </a:lnTo>
                  <a:lnTo>
                    <a:pt x="708" y="852"/>
                  </a:lnTo>
                  <a:lnTo>
                    <a:pt x="696" y="894"/>
                  </a:lnTo>
                  <a:lnTo>
                    <a:pt x="702" y="900"/>
                  </a:lnTo>
                  <a:lnTo>
                    <a:pt x="708" y="924"/>
                  </a:lnTo>
                  <a:lnTo>
                    <a:pt x="684" y="936"/>
                  </a:lnTo>
                  <a:lnTo>
                    <a:pt x="660" y="954"/>
                  </a:lnTo>
                  <a:lnTo>
                    <a:pt x="618" y="984"/>
                  </a:lnTo>
                  <a:lnTo>
                    <a:pt x="618" y="990"/>
                  </a:lnTo>
                  <a:lnTo>
                    <a:pt x="612" y="996"/>
                  </a:lnTo>
                  <a:lnTo>
                    <a:pt x="606" y="1002"/>
                  </a:lnTo>
                  <a:lnTo>
                    <a:pt x="618" y="1008"/>
                  </a:lnTo>
                  <a:lnTo>
                    <a:pt x="618" y="1014"/>
                  </a:lnTo>
                  <a:lnTo>
                    <a:pt x="624" y="1026"/>
                  </a:lnTo>
                  <a:lnTo>
                    <a:pt x="630" y="1026"/>
                  </a:lnTo>
                  <a:lnTo>
                    <a:pt x="636" y="1032"/>
                  </a:lnTo>
                  <a:lnTo>
                    <a:pt x="642" y="1032"/>
                  </a:lnTo>
                  <a:lnTo>
                    <a:pt x="642" y="1038"/>
                  </a:lnTo>
                  <a:lnTo>
                    <a:pt x="648" y="1044"/>
                  </a:lnTo>
                  <a:lnTo>
                    <a:pt x="666" y="1050"/>
                  </a:lnTo>
                  <a:lnTo>
                    <a:pt x="678" y="1038"/>
                  </a:lnTo>
                  <a:lnTo>
                    <a:pt x="684" y="1038"/>
                  </a:lnTo>
                  <a:lnTo>
                    <a:pt x="684" y="1032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20"/>
                  </a:lnTo>
                  <a:lnTo>
                    <a:pt x="708" y="1014"/>
                  </a:lnTo>
                  <a:lnTo>
                    <a:pt x="720" y="1020"/>
                  </a:lnTo>
                  <a:lnTo>
                    <a:pt x="720" y="1014"/>
                  </a:lnTo>
                  <a:lnTo>
                    <a:pt x="726" y="1008"/>
                  </a:lnTo>
                  <a:lnTo>
                    <a:pt x="732" y="1008"/>
                  </a:lnTo>
                  <a:lnTo>
                    <a:pt x="738" y="1008"/>
                  </a:lnTo>
                  <a:lnTo>
                    <a:pt x="744" y="1002"/>
                  </a:lnTo>
                  <a:lnTo>
                    <a:pt x="744" y="996"/>
                  </a:lnTo>
                  <a:lnTo>
                    <a:pt x="750" y="996"/>
                  </a:lnTo>
                  <a:lnTo>
                    <a:pt x="756" y="1002"/>
                  </a:lnTo>
                  <a:lnTo>
                    <a:pt x="762" y="1002"/>
                  </a:lnTo>
                  <a:lnTo>
                    <a:pt x="768" y="996"/>
                  </a:lnTo>
                  <a:lnTo>
                    <a:pt x="780" y="996"/>
                  </a:lnTo>
                  <a:lnTo>
                    <a:pt x="786" y="996"/>
                  </a:lnTo>
                  <a:lnTo>
                    <a:pt x="816" y="990"/>
                  </a:lnTo>
                  <a:lnTo>
                    <a:pt x="828" y="990"/>
                  </a:lnTo>
                  <a:lnTo>
                    <a:pt x="834" y="990"/>
                  </a:lnTo>
                  <a:lnTo>
                    <a:pt x="840" y="984"/>
                  </a:lnTo>
                  <a:lnTo>
                    <a:pt x="852" y="978"/>
                  </a:lnTo>
                  <a:lnTo>
                    <a:pt x="852" y="972"/>
                  </a:lnTo>
                  <a:lnTo>
                    <a:pt x="858" y="972"/>
                  </a:lnTo>
                  <a:lnTo>
                    <a:pt x="864" y="966"/>
                  </a:lnTo>
                  <a:lnTo>
                    <a:pt x="870" y="966"/>
                  </a:lnTo>
                  <a:lnTo>
                    <a:pt x="876" y="966"/>
                  </a:lnTo>
                  <a:lnTo>
                    <a:pt x="882" y="960"/>
                  </a:lnTo>
                  <a:lnTo>
                    <a:pt x="888" y="960"/>
                  </a:lnTo>
                  <a:lnTo>
                    <a:pt x="894" y="960"/>
                  </a:lnTo>
                  <a:lnTo>
                    <a:pt x="894" y="966"/>
                  </a:lnTo>
                  <a:lnTo>
                    <a:pt x="894" y="978"/>
                  </a:lnTo>
                  <a:lnTo>
                    <a:pt x="894" y="984"/>
                  </a:lnTo>
                  <a:lnTo>
                    <a:pt x="900" y="984"/>
                  </a:lnTo>
                  <a:lnTo>
                    <a:pt x="906" y="978"/>
                  </a:lnTo>
                  <a:lnTo>
                    <a:pt x="912" y="972"/>
                  </a:lnTo>
                  <a:lnTo>
                    <a:pt x="918" y="978"/>
                  </a:lnTo>
                  <a:lnTo>
                    <a:pt x="924" y="978"/>
                  </a:lnTo>
                  <a:lnTo>
                    <a:pt x="924" y="972"/>
                  </a:lnTo>
                  <a:lnTo>
                    <a:pt x="924" y="966"/>
                  </a:lnTo>
                  <a:lnTo>
                    <a:pt x="930" y="966"/>
                  </a:lnTo>
                  <a:lnTo>
                    <a:pt x="948" y="966"/>
                  </a:lnTo>
                  <a:lnTo>
                    <a:pt x="954" y="966"/>
                  </a:lnTo>
                  <a:lnTo>
                    <a:pt x="954" y="960"/>
                  </a:lnTo>
                  <a:lnTo>
                    <a:pt x="960" y="960"/>
                  </a:lnTo>
                  <a:lnTo>
                    <a:pt x="966" y="960"/>
                  </a:lnTo>
                  <a:lnTo>
                    <a:pt x="966" y="966"/>
                  </a:lnTo>
                  <a:lnTo>
                    <a:pt x="978" y="972"/>
                  </a:lnTo>
                  <a:lnTo>
                    <a:pt x="978" y="978"/>
                  </a:lnTo>
                  <a:lnTo>
                    <a:pt x="978" y="984"/>
                  </a:lnTo>
                  <a:lnTo>
                    <a:pt x="984" y="978"/>
                  </a:lnTo>
                  <a:lnTo>
                    <a:pt x="990" y="978"/>
                  </a:lnTo>
                  <a:lnTo>
                    <a:pt x="996" y="984"/>
                  </a:lnTo>
                  <a:lnTo>
                    <a:pt x="1002" y="990"/>
                  </a:lnTo>
                  <a:lnTo>
                    <a:pt x="1008" y="972"/>
                  </a:lnTo>
                  <a:lnTo>
                    <a:pt x="1026" y="972"/>
                  </a:lnTo>
                  <a:lnTo>
                    <a:pt x="1032" y="972"/>
                  </a:lnTo>
                  <a:lnTo>
                    <a:pt x="1038" y="972"/>
                  </a:lnTo>
                  <a:lnTo>
                    <a:pt x="1050" y="972"/>
                  </a:lnTo>
                  <a:lnTo>
                    <a:pt x="1056" y="972"/>
                  </a:lnTo>
                  <a:lnTo>
                    <a:pt x="1062" y="966"/>
                  </a:lnTo>
                  <a:lnTo>
                    <a:pt x="1074" y="966"/>
                  </a:lnTo>
                  <a:lnTo>
                    <a:pt x="1074" y="960"/>
                  </a:lnTo>
                  <a:lnTo>
                    <a:pt x="1080" y="954"/>
                  </a:lnTo>
                  <a:lnTo>
                    <a:pt x="1080" y="948"/>
                  </a:lnTo>
                  <a:lnTo>
                    <a:pt x="1074" y="948"/>
                  </a:lnTo>
                  <a:lnTo>
                    <a:pt x="1068" y="948"/>
                  </a:lnTo>
                  <a:lnTo>
                    <a:pt x="1062" y="942"/>
                  </a:lnTo>
                  <a:lnTo>
                    <a:pt x="1068" y="936"/>
                  </a:lnTo>
                  <a:lnTo>
                    <a:pt x="1074" y="936"/>
                  </a:lnTo>
                  <a:lnTo>
                    <a:pt x="1080" y="936"/>
                  </a:lnTo>
                  <a:lnTo>
                    <a:pt x="1086" y="942"/>
                  </a:lnTo>
                  <a:lnTo>
                    <a:pt x="1092" y="942"/>
                  </a:lnTo>
                  <a:lnTo>
                    <a:pt x="1098" y="948"/>
                  </a:lnTo>
                  <a:lnTo>
                    <a:pt x="1104" y="954"/>
                  </a:lnTo>
                  <a:lnTo>
                    <a:pt x="1110" y="954"/>
                  </a:lnTo>
                  <a:lnTo>
                    <a:pt x="1116" y="948"/>
                  </a:lnTo>
                  <a:lnTo>
                    <a:pt x="1122" y="942"/>
                  </a:lnTo>
                  <a:lnTo>
                    <a:pt x="1128" y="942"/>
                  </a:lnTo>
                  <a:lnTo>
                    <a:pt x="1134" y="942"/>
                  </a:lnTo>
                  <a:lnTo>
                    <a:pt x="1140" y="948"/>
                  </a:lnTo>
                  <a:lnTo>
                    <a:pt x="1146" y="942"/>
                  </a:lnTo>
                  <a:lnTo>
                    <a:pt x="1152" y="942"/>
                  </a:lnTo>
                  <a:lnTo>
                    <a:pt x="1152" y="930"/>
                  </a:lnTo>
                  <a:lnTo>
                    <a:pt x="1164" y="936"/>
                  </a:lnTo>
                  <a:lnTo>
                    <a:pt x="1158" y="942"/>
                  </a:lnTo>
                  <a:lnTo>
                    <a:pt x="1158" y="948"/>
                  </a:lnTo>
                  <a:lnTo>
                    <a:pt x="1146" y="954"/>
                  </a:lnTo>
                  <a:lnTo>
                    <a:pt x="1152" y="954"/>
                  </a:lnTo>
                  <a:lnTo>
                    <a:pt x="1158" y="954"/>
                  </a:lnTo>
                  <a:lnTo>
                    <a:pt x="1158" y="948"/>
                  </a:lnTo>
                  <a:lnTo>
                    <a:pt x="1164" y="948"/>
                  </a:lnTo>
                  <a:lnTo>
                    <a:pt x="1170" y="948"/>
                  </a:lnTo>
                  <a:lnTo>
                    <a:pt x="1176" y="954"/>
                  </a:lnTo>
                  <a:lnTo>
                    <a:pt x="1176" y="966"/>
                  </a:lnTo>
                  <a:lnTo>
                    <a:pt x="1182" y="972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88" y="984"/>
                  </a:lnTo>
                  <a:lnTo>
                    <a:pt x="1194" y="984"/>
                  </a:lnTo>
                  <a:lnTo>
                    <a:pt x="1200" y="984"/>
                  </a:lnTo>
                  <a:lnTo>
                    <a:pt x="1212" y="984"/>
                  </a:lnTo>
                  <a:lnTo>
                    <a:pt x="1218" y="990"/>
                  </a:lnTo>
                  <a:lnTo>
                    <a:pt x="1224" y="990"/>
                  </a:lnTo>
                  <a:lnTo>
                    <a:pt x="1224" y="984"/>
                  </a:lnTo>
                  <a:lnTo>
                    <a:pt x="1230" y="990"/>
                  </a:lnTo>
                  <a:lnTo>
                    <a:pt x="1236" y="984"/>
                  </a:lnTo>
                  <a:lnTo>
                    <a:pt x="1242" y="984"/>
                  </a:lnTo>
                  <a:lnTo>
                    <a:pt x="1248" y="990"/>
                  </a:lnTo>
                  <a:lnTo>
                    <a:pt x="1254" y="990"/>
                  </a:lnTo>
                  <a:lnTo>
                    <a:pt x="1254" y="996"/>
                  </a:lnTo>
                  <a:lnTo>
                    <a:pt x="1254" y="1002"/>
                  </a:lnTo>
                  <a:lnTo>
                    <a:pt x="1254" y="1008"/>
                  </a:lnTo>
                  <a:lnTo>
                    <a:pt x="1260" y="1014"/>
                  </a:lnTo>
                  <a:lnTo>
                    <a:pt x="1266" y="1014"/>
                  </a:lnTo>
                  <a:lnTo>
                    <a:pt x="1272" y="1014"/>
                  </a:lnTo>
                  <a:lnTo>
                    <a:pt x="1278" y="1020"/>
                  </a:lnTo>
                  <a:lnTo>
                    <a:pt x="1284" y="1020"/>
                  </a:lnTo>
                  <a:lnTo>
                    <a:pt x="1290" y="1014"/>
                  </a:lnTo>
                  <a:lnTo>
                    <a:pt x="1290" y="1008"/>
                  </a:lnTo>
                  <a:lnTo>
                    <a:pt x="1296" y="1008"/>
                  </a:lnTo>
                  <a:lnTo>
                    <a:pt x="1302" y="1014"/>
                  </a:lnTo>
                  <a:lnTo>
                    <a:pt x="1308" y="1014"/>
                  </a:lnTo>
                  <a:lnTo>
                    <a:pt x="1314" y="1008"/>
                  </a:lnTo>
                  <a:lnTo>
                    <a:pt x="1320" y="1008"/>
                  </a:lnTo>
                  <a:lnTo>
                    <a:pt x="1320" y="1002"/>
                  </a:lnTo>
                  <a:lnTo>
                    <a:pt x="1320" y="996"/>
                  </a:lnTo>
                  <a:lnTo>
                    <a:pt x="1332" y="1002"/>
                  </a:lnTo>
                  <a:lnTo>
                    <a:pt x="1332" y="1008"/>
                  </a:lnTo>
                  <a:lnTo>
                    <a:pt x="1326" y="1014"/>
                  </a:lnTo>
                  <a:lnTo>
                    <a:pt x="1332" y="1014"/>
                  </a:lnTo>
                  <a:lnTo>
                    <a:pt x="1338" y="1014"/>
                  </a:lnTo>
                  <a:lnTo>
                    <a:pt x="1338" y="1008"/>
                  </a:lnTo>
                  <a:lnTo>
                    <a:pt x="1344" y="1008"/>
                  </a:lnTo>
                  <a:lnTo>
                    <a:pt x="1350" y="1008"/>
                  </a:lnTo>
                  <a:lnTo>
                    <a:pt x="1356" y="1014"/>
                  </a:lnTo>
                  <a:lnTo>
                    <a:pt x="1356" y="1008"/>
                  </a:lnTo>
                  <a:lnTo>
                    <a:pt x="1362" y="1014"/>
                  </a:lnTo>
                  <a:lnTo>
                    <a:pt x="1392" y="1014"/>
                  </a:lnTo>
                  <a:lnTo>
                    <a:pt x="1398" y="1014"/>
                  </a:lnTo>
                  <a:lnTo>
                    <a:pt x="1404" y="1008"/>
                  </a:lnTo>
                  <a:lnTo>
                    <a:pt x="1404" y="1014"/>
                  </a:lnTo>
                  <a:lnTo>
                    <a:pt x="1410" y="1008"/>
                  </a:lnTo>
                  <a:lnTo>
                    <a:pt x="1416" y="1008"/>
                  </a:lnTo>
                  <a:lnTo>
                    <a:pt x="1422" y="1002"/>
                  </a:lnTo>
                  <a:lnTo>
                    <a:pt x="1428" y="1002"/>
                  </a:lnTo>
                  <a:lnTo>
                    <a:pt x="1428" y="996"/>
                  </a:lnTo>
                  <a:lnTo>
                    <a:pt x="1428" y="990"/>
                  </a:lnTo>
                  <a:lnTo>
                    <a:pt x="1440" y="1002"/>
                  </a:lnTo>
                  <a:lnTo>
                    <a:pt x="1446" y="1002"/>
                  </a:lnTo>
                  <a:lnTo>
                    <a:pt x="1452" y="1002"/>
                  </a:lnTo>
                  <a:lnTo>
                    <a:pt x="1446" y="996"/>
                  </a:lnTo>
                  <a:lnTo>
                    <a:pt x="1452" y="996"/>
                  </a:lnTo>
                  <a:lnTo>
                    <a:pt x="1458" y="996"/>
                  </a:lnTo>
                  <a:lnTo>
                    <a:pt x="1464" y="996"/>
                  </a:lnTo>
                  <a:lnTo>
                    <a:pt x="1464" y="1002"/>
                  </a:lnTo>
                  <a:lnTo>
                    <a:pt x="1476" y="1014"/>
                  </a:lnTo>
                  <a:lnTo>
                    <a:pt x="1476" y="1008"/>
                  </a:lnTo>
                  <a:lnTo>
                    <a:pt x="1482" y="1008"/>
                  </a:lnTo>
                  <a:lnTo>
                    <a:pt x="1488" y="1020"/>
                  </a:lnTo>
                  <a:lnTo>
                    <a:pt x="1494" y="1020"/>
                  </a:lnTo>
                  <a:lnTo>
                    <a:pt x="1500" y="1014"/>
                  </a:lnTo>
                  <a:lnTo>
                    <a:pt x="1500" y="1020"/>
                  </a:lnTo>
                  <a:lnTo>
                    <a:pt x="1506" y="1026"/>
                  </a:lnTo>
                  <a:lnTo>
                    <a:pt x="1512" y="1032"/>
                  </a:lnTo>
                  <a:lnTo>
                    <a:pt x="1518" y="1032"/>
                  </a:lnTo>
                  <a:lnTo>
                    <a:pt x="1518" y="1038"/>
                  </a:lnTo>
                  <a:lnTo>
                    <a:pt x="1518" y="1044"/>
                  </a:lnTo>
                  <a:lnTo>
                    <a:pt x="1524" y="1044"/>
                  </a:lnTo>
                  <a:lnTo>
                    <a:pt x="1524" y="1050"/>
                  </a:lnTo>
                  <a:lnTo>
                    <a:pt x="1530" y="1056"/>
                  </a:lnTo>
                  <a:lnTo>
                    <a:pt x="1548" y="1062"/>
                  </a:lnTo>
                  <a:lnTo>
                    <a:pt x="1560" y="1074"/>
                  </a:lnTo>
                  <a:lnTo>
                    <a:pt x="1560" y="1080"/>
                  </a:lnTo>
                  <a:lnTo>
                    <a:pt x="1560" y="1086"/>
                  </a:lnTo>
                  <a:lnTo>
                    <a:pt x="1566" y="1086"/>
                  </a:lnTo>
                  <a:lnTo>
                    <a:pt x="1572" y="1098"/>
                  </a:lnTo>
                  <a:lnTo>
                    <a:pt x="1572" y="1104"/>
                  </a:lnTo>
                  <a:lnTo>
                    <a:pt x="1584" y="1110"/>
                  </a:lnTo>
                  <a:lnTo>
                    <a:pt x="1590" y="1116"/>
                  </a:lnTo>
                  <a:lnTo>
                    <a:pt x="1596" y="1116"/>
                  </a:lnTo>
                  <a:lnTo>
                    <a:pt x="1608" y="1122"/>
                  </a:lnTo>
                  <a:lnTo>
                    <a:pt x="1620" y="1140"/>
                  </a:lnTo>
                  <a:lnTo>
                    <a:pt x="1626" y="1158"/>
                  </a:lnTo>
                  <a:lnTo>
                    <a:pt x="1638" y="1200"/>
                  </a:lnTo>
                  <a:lnTo>
                    <a:pt x="1638" y="1218"/>
                  </a:lnTo>
                  <a:lnTo>
                    <a:pt x="1620" y="1230"/>
                  </a:lnTo>
                  <a:lnTo>
                    <a:pt x="1554" y="1230"/>
                  </a:lnTo>
                  <a:lnTo>
                    <a:pt x="1560" y="1248"/>
                  </a:lnTo>
                  <a:lnTo>
                    <a:pt x="1584" y="1260"/>
                  </a:lnTo>
                  <a:lnTo>
                    <a:pt x="1584" y="1266"/>
                  </a:lnTo>
                  <a:lnTo>
                    <a:pt x="1578" y="1272"/>
                  </a:lnTo>
                  <a:lnTo>
                    <a:pt x="1572" y="1272"/>
                  </a:lnTo>
                  <a:lnTo>
                    <a:pt x="1566" y="1278"/>
                  </a:lnTo>
                  <a:lnTo>
                    <a:pt x="1566" y="1284"/>
                  </a:lnTo>
                  <a:lnTo>
                    <a:pt x="1560" y="1290"/>
                  </a:lnTo>
                  <a:lnTo>
                    <a:pt x="1554" y="1290"/>
                  </a:lnTo>
                  <a:lnTo>
                    <a:pt x="1554" y="1296"/>
                  </a:lnTo>
                  <a:lnTo>
                    <a:pt x="1554" y="1302"/>
                  </a:lnTo>
                  <a:lnTo>
                    <a:pt x="1560" y="1332"/>
                  </a:lnTo>
                  <a:lnTo>
                    <a:pt x="1566" y="1356"/>
                  </a:lnTo>
                  <a:lnTo>
                    <a:pt x="1572" y="1356"/>
                  </a:lnTo>
                  <a:lnTo>
                    <a:pt x="1572" y="1362"/>
                  </a:lnTo>
                  <a:lnTo>
                    <a:pt x="1578" y="1362"/>
                  </a:lnTo>
                  <a:lnTo>
                    <a:pt x="1560" y="1374"/>
                  </a:lnTo>
                  <a:lnTo>
                    <a:pt x="1560" y="1380"/>
                  </a:lnTo>
                  <a:lnTo>
                    <a:pt x="1548" y="1380"/>
                  </a:lnTo>
                  <a:lnTo>
                    <a:pt x="1548" y="1386"/>
                  </a:lnTo>
                  <a:lnTo>
                    <a:pt x="1548" y="1392"/>
                  </a:lnTo>
                  <a:lnTo>
                    <a:pt x="1542" y="1410"/>
                  </a:lnTo>
                  <a:lnTo>
                    <a:pt x="1536" y="1422"/>
                  </a:lnTo>
                  <a:lnTo>
                    <a:pt x="1536" y="1428"/>
                  </a:lnTo>
                  <a:lnTo>
                    <a:pt x="1530" y="1440"/>
                  </a:lnTo>
                  <a:lnTo>
                    <a:pt x="1524" y="1434"/>
                  </a:lnTo>
                  <a:lnTo>
                    <a:pt x="1524" y="1428"/>
                  </a:lnTo>
                  <a:lnTo>
                    <a:pt x="1524" y="1422"/>
                  </a:lnTo>
                  <a:lnTo>
                    <a:pt x="1512" y="1410"/>
                  </a:lnTo>
                  <a:lnTo>
                    <a:pt x="1506" y="1404"/>
                  </a:lnTo>
                  <a:lnTo>
                    <a:pt x="1506" y="1398"/>
                  </a:lnTo>
                  <a:lnTo>
                    <a:pt x="1494" y="1392"/>
                  </a:lnTo>
                  <a:lnTo>
                    <a:pt x="1476" y="1404"/>
                  </a:lnTo>
                  <a:lnTo>
                    <a:pt x="1464" y="1416"/>
                  </a:lnTo>
                  <a:lnTo>
                    <a:pt x="1458" y="1428"/>
                  </a:lnTo>
                  <a:lnTo>
                    <a:pt x="1446" y="1434"/>
                  </a:lnTo>
                  <a:lnTo>
                    <a:pt x="1410" y="1440"/>
                  </a:lnTo>
                  <a:lnTo>
                    <a:pt x="1398" y="1440"/>
                  </a:lnTo>
                  <a:lnTo>
                    <a:pt x="1398" y="1446"/>
                  </a:lnTo>
                  <a:lnTo>
                    <a:pt x="1386" y="1446"/>
                  </a:lnTo>
                  <a:lnTo>
                    <a:pt x="1380" y="1440"/>
                  </a:lnTo>
                  <a:lnTo>
                    <a:pt x="1368" y="1440"/>
                  </a:lnTo>
                  <a:lnTo>
                    <a:pt x="1368" y="1446"/>
                  </a:lnTo>
                  <a:lnTo>
                    <a:pt x="1356" y="1446"/>
                  </a:lnTo>
                  <a:lnTo>
                    <a:pt x="1350" y="1452"/>
                  </a:lnTo>
                  <a:lnTo>
                    <a:pt x="1338" y="1452"/>
                  </a:lnTo>
                  <a:lnTo>
                    <a:pt x="1338" y="1458"/>
                  </a:lnTo>
                  <a:lnTo>
                    <a:pt x="1332" y="1458"/>
                  </a:lnTo>
                  <a:lnTo>
                    <a:pt x="1332" y="1464"/>
                  </a:lnTo>
                  <a:lnTo>
                    <a:pt x="1332" y="1470"/>
                  </a:lnTo>
                  <a:lnTo>
                    <a:pt x="1326" y="1470"/>
                  </a:lnTo>
                  <a:lnTo>
                    <a:pt x="1320" y="1470"/>
                  </a:lnTo>
                  <a:lnTo>
                    <a:pt x="1314" y="1470"/>
                  </a:lnTo>
                  <a:lnTo>
                    <a:pt x="1314" y="1464"/>
                  </a:lnTo>
                  <a:lnTo>
                    <a:pt x="1308" y="1464"/>
                  </a:lnTo>
                  <a:lnTo>
                    <a:pt x="1308" y="1452"/>
                  </a:lnTo>
                  <a:lnTo>
                    <a:pt x="1284" y="1458"/>
                  </a:lnTo>
                  <a:lnTo>
                    <a:pt x="1272" y="1458"/>
                  </a:lnTo>
                  <a:lnTo>
                    <a:pt x="1272" y="1464"/>
                  </a:lnTo>
                  <a:lnTo>
                    <a:pt x="1260" y="1464"/>
                  </a:lnTo>
                  <a:lnTo>
                    <a:pt x="1254" y="1464"/>
                  </a:lnTo>
                  <a:lnTo>
                    <a:pt x="1242" y="1422"/>
                  </a:lnTo>
                  <a:lnTo>
                    <a:pt x="1242" y="1416"/>
                  </a:lnTo>
                  <a:lnTo>
                    <a:pt x="1242" y="1410"/>
                  </a:lnTo>
                  <a:lnTo>
                    <a:pt x="1248" y="1410"/>
                  </a:lnTo>
                  <a:lnTo>
                    <a:pt x="1242" y="1410"/>
                  </a:lnTo>
                  <a:lnTo>
                    <a:pt x="1242" y="1404"/>
                  </a:lnTo>
                  <a:lnTo>
                    <a:pt x="1242" y="1398"/>
                  </a:lnTo>
                  <a:lnTo>
                    <a:pt x="1248" y="1392"/>
                  </a:lnTo>
                  <a:lnTo>
                    <a:pt x="1248" y="1386"/>
                  </a:lnTo>
                  <a:lnTo>
                    <a:pt x="1242" y="1380"/>
                  </a:lnTo>
                  <a:lnTo>
                    <a:pt x="1248" y="1380"/>
                  </a:lnTo>
                  <a:lnTo>
                    <a:pt x="1248" y="1374"/>
                  </a:lnTo>
                  <a:lnTo>
                    <a:pt x="1248" y="1368"/>
                  </a:lnTo>
                  <a:lnTo>
                    <a:pt x="1254" y="1368"/>
                  </a:lnTo>
                  <a:lnTo>
                    <a:pt x="1254" y="1362"/>
                  </a:lnTo>
                  <a:lnTo>
                    <a:pt x="1248" y="1356"/>
                  </a:lnTo>
                  <a:lnTo>
                    <a:pt x="1254" y="1356"/>
                  </a:lnTo>
                  <a:lnTo>
                    <a:pt x="1254" y="1344"/>
                  </a:lnTo>
                  <a:lnTo>
                    <a:pt x="1242" y="1338"/>
                  </a:lnTo>
                  <a:lnTo>
                    <a:pt x="1242" y="1326"/>
                  </a:lnTo>
                  <a:lnTo>
                    <a:pt x="1230" y="1326"/>
                  </a:lnTo>
                  <a:lnTo>
                    <a:pt x="1230" y="1314"/>
                  </a:lnTo>
                  <a:lnTo>
                    <a:pt x="1218" y="1314"/>
                  </a:lnTo>
                  <a:lnTo>
                    <a:pt x="1200" y="1272"/>
                  </a:lnTo>
                  <a:lnTo>
                    <a:pt x="1194" y="1242"/>
                  </a:lnTo>
                  <a:lnTo>
                    <a:pt x="1194" y="1206"/>
                  </a:lnTo>
                  <a:lnTo>
                    <a:pt x="1182" y="1200"/>
                  </a:lnTo>
                  <a:lnTo>
                    <a:pt x="1164" y="1206"/>
                  </a:lnTo>
                  <a:lnTo>
                    <a:pt x="1146" y="1212"/>
                  </a:lnTo>
                  <a:lnTo>
                    <a:pt x="1146" y="1218"/>
                  </a:lnTo>
                  <a:lnTo>
                    <a:pt x="1134" y="1224"/>
                  </a:lnTo>
                  <a:lnTo>
                    <a:pt x="1140" y="1260"/>
                  </a:lnTo>
                  <a:lnTo>
                    <a:pt x="1134" y="1266"/>
                  </a:lnTo>
                  <a:lnTo>
                    <a:pt x="1122" y="1266"/>
                  </a:lnTo>
                  <a:lnTo>
                    <a:pt x="1110" y="1236"/>
                  </a:lnTo>
                  <a:lnTo>
                    <a:pt x="1110" y="1224"/>
                  </a:lnTo>
                  <a:lnTo>
                    <a:pt x="1086" y="1224"/>
                  </a:lnTo>
                  <a:lnTo>
                    <a:pt x="1086" y="1212"/>
                  </a:lnTo>
                  <a:lnTo>
                    <a:pt x="1074" y="1212"/>
                  </a:lnTo>
                  <a:lnTo>
                    <a:pt x="1050" y="1212"/>
                  </a:lnTo>
                  <a:lnTo>
                    <a:pt x="1056" y="1218"/>
                  </a:lnTo>
                  <a:lnTo>
                    <a:pt x="1050" y="1272"/>
                  </a:lnTo>
                  <a:lnTo>
                    <a:pt x="1044" y="1272"/>
                  </a:lnTo>
                  <a:lnTo>
                    <a:pt x="1038" y="1284"/>
                  </a:lnTo>
                  <a:lnTo>
                    <a:pt x="1032" y="1302"/>
                  </a:lnTo>
                  <a:lnTo>
                    <a:pt x="1014" y="1302"/>
                  </a:lnTo>
                  <a:lnTo>
                    <a:pt x="1020" y="1284"/>
                  </a:lnTo>
                  <a:lnTo>
                    <a:pt x="1026" y="1278"/>
                  </a:lnTo>
                  <a:lnTo>
                    <a:pt x="1026" y="1266"/>
                  </a:lnTo>
                  <a:lnTo>
                    <a:pt x="1014" y="1260"/>
                  </a:lnTo>
                  <a:lnTo>
                    <a:pt x="1014" y="1272"/>
                  </a:lnTo>
                  <a:lnTo>
                    <a:pt x="990" y="1278"/>
                  </a:lnTo>
                  <a:lnTo>
                    <a:pt x="990" y="1254"/>
                  </a:lnTo>
                  <a:lnTo>
                    <a:pt x="984" y="1254"/>
                  </a:lnTo>
                  <a:lnTo>
                    <a:pt x="978" y="1242"/>
                  </a:lnTo>
                  <a:lnTo>
                    <a:pt x="972" y="1236"/>
                  </a:lnTo>
                  <a:lnTo>
                    <a:pt x="960" y="1206"/>
                  </a:lnTo>
                  <a:lnTo>
                    <a:pt x="942" y="1206"/>
                  </a:lnTo>
                  <a:lnTo>
                    <a:pt x="936" y="1200"/>
                  </a:lnTo>
                  <a:lnTo>
                    <a:pt x="906" y="1212"/>
                  </a:lnTo>
                  <a:lnTo>
                    <a:pt x="888" y="1230"/>
                  </a:lnTo>
                  <a:lnTo>
                    <a:pt x="876" y="1230"/>
                  </a:lnTo>
                  <a:lnTo>
                    <a:pt x="864" y="1236"/>
                  </a:lnTo>
                  <a:lnTo>
                    <a:pt x="858" y="1236"/>
                  </a:lnTo>
                  <a:lnTo>
                    <a:pt x="852" y="1254"/>
                  </a:lnTo>
                  <a:lnTo>
                    <a:pt x="858" y="1254"/>
                  </a:lnTo>
                  <a:lnTo>
                    <a:pt x="840" y="1266"/>
                  </a:lnTo>
                  <a:lnTo>
                    <a:pt x="828" y="1272"/>
                  </a:lnTo>
                  <a:lnTo>
                    <a:pt x="828" y="1284"/>
                  </a:lnTo>
                  <a:lnTo>
                    <a:pt x="822" y="1284"/>
                  </a:lnTo>
                  <a:lnTo>
                    <a:pt x="804" y="1296"/>
                  </a:lnTo>
                  <a:lnTo>
                    <a:pt x="804" y="1308"/>
                  </a:lnTo>
                  <a:lnTo>
                    <a:pt x="816" y="1320"/>
                  </a:lnTo>
                  <a:lnTo>
                    <a:pt x="828" y="1320"/>
                  </a:lnTo>
                  <a:lnTo>
                    <a:pt x="822" y="1338"/>
                  </a:lnTo>
                  <a:lnTo>
                    <a:pt x="852" y="1344"/>
                  </a:lnTo>
                  <a:lnTo>
                    <a:pt x="864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94" y="1356"/>
                  </a:lnTo>
                  <a:lnTo>
                    <a:pt x="912" y="1368"/>
                  </a:lnTo>
                  <a:lnTo>
                    <a:pt x="918" y="1380"/>
                  </a:lnTo>
                  <a:lnTo>
                    <a:pt x="936" y="1380"/>
                  </a:lnTo>
                  <a:lnTo>
                    <a:pt x="960" y="1386"/>
                  </a:lnTo>
                  <a:lnTo>
                    <a:pt x="990" y="1386"/>
                  </a:lnTo>
                  <a:lnTo>
                    <a:pt x="990" y="1392"/>
                  </a:lnTo>
                  <a:lnTo>
                    <a:pt x="1020" y="1398"/>
                  </a:lnTo>
                  <a:lnTo>
                    <a:pt x="1014" y="1404"/>
                  </a:lnTo>
                  <a:lnTo>
                    <a:pt x="1008" y="1404"/>
                  </a:lnTo>
                  <a:lnTo>
                    <a:pt x="1014" y="1440"/>
                  </a:lnTo>
                  <a:lnTo>
                    <a:pt x="1020" y="1458"/>
                  </a:lnTo>
                  <a:lnTo>
                    <a:pt x="1026" y="1476"/>
                  </a:lnTo>
                  <a:lnTo>
                    <a:pt x="1020" y="1476"/>
                  </a:lnTo>
                  <a:lnTo>
                    <a:pt x="1014" y="1476"/>
                  </a:lnTo>
                  <a:lnTo>
                    <a:pt x="1014" y="1482"/>
                  </a:lnTo>
                  <a:lnTo>
                    <a:pt x="1014" y="1488"/>
                  </a:lnTo>
                  <a:lnTo>
                    <a:pt x="1002" y="1488"/>
                  </a:lnTo>
                  <a:lnTo>
                    <a:pt x="1002" y="1494"/>
                  </a:lnTo>
                  <a:lnTo>
                    <a:pt x="996" y="1494"/>
                  </a:lnTo>
                  <a:lnTo>
                    <a:pt x="996" y="1518"/>
                  </a:lnTo>
                  <a:lnTo>
                    <a:pt x="1002" y="1524"/>
                  </a:lnTo>
                  <a:lnTo>
                    <a:pt x="1020" y="1530"/>
                  </a:lnTo>
                  <a:lnTo>
                    <a:pt x="1026" y="1542"/>
                  </a:lnTo>
                  <a:lnTo>
                    <a:pt x="1032" y="1566"/>
                  </a:lnTo>
                  <a:lnTo>
                    <a:pt x="1038" y="1578"/>
                  </a:lnTo>
                  <a:lnTo>
                    <a:pt x="1032" y="1584"/>
                  </a:lnTo>
                  <a:lnTo>
                    <a:pt x="1020" y="1584"/>
                  </a:lnTo>
                  <a:lnTo>
                    <a:pt x="1014" y="1584"/>
                  </a:lnTo>
                  <a:lnTo>
                    <a:pt x="1008" y="1596"/>
                  </a:lnTo>
                  <a:lnTo>
                    <a:pt x="990" y="1584"/>
                  </a:lnTo>
                  <a:lnTo>
                    <a:pt x="984" y="1602"/>
                  </a:lnTo>
                  <a:lnTo>
                    <a:pt x="978" y="1608"/>
                  </a:lnTo>
                  <a:lnTo>
                    <a:pt x="966" y="1608"/>
                  </a:lnTo>
                  <a:lnTo>
                    <a:pt x="960" y="1614"/>
                  </a:lnTo>
                  <a:lnTo>
                    <a:pt x="954" y="1614"/>
                  </a:lnTo>
                  <a:lnTo>
                    <a:pt x="942" y="1620"/>
                  </a:lnTo>
                  <a:lnTo>
                    <a:pt x="936" y="1620"/>
                  </a:lnTo>
                  <a:lnTo>
                    <a:pt x="930" y="1620"/>
                  </a:lnTo>
                  <a:lnTo>
                    <a:pt x="930" y="1626"/>
                  </a:lnTo>
                  <a:lnTo>
                    <a:pt x="930" y="1632"/>
                  </a:lnTo>
                  <a:lnTo>
                    <a:pt x="918" y="1632"/>
                  </a:lnTo>
                  <a:lnTo>
                    <a:pt x="912" y="1632"/>
                  </a:lnTo>
                  <a:lnTo>
                    <a:pt x="906" y="1632"/>
                  </a:lnTo>
                  <a:lnTo>
                    <a:pt x="900" y="1632"/>
                  </a:lnTo>
                  <a:lnTo>
                    <a:pt x="894" y="1626"/>
                  </a:lnTo>
                  <a:lnTo>
                    <a:pt x="894" y="1614"/>
                  </a:lnTo>
                  <a:lnTo>
                    <a:pt x="840" y="1614"/>
                  </a:lnTo>
                  <a:lnTo>
                    <a:pt x="840" y="1626"/>
                  </a:lnTo>
                  <a:lnTo>
                    <a:pt x="834" y="1626"/>
                  </a:lnTo>
                  <a:lnTo>
                    <a:pt x="828" y="1632"/>
                  </a:lnTo>
                  <a:lnTo>
                    <a:pt x="822" y="1638"/>
                  </a:lnTo>
                  <a:lnTo>
                    <a:pt x="822" y="1644"/>
                  </a:lnTo>
                  <a:lnTo>
                    <a:pt x="834" y="1650"/>
                  </a:lnTo>
                  <a:lnTo>
                    <a:pt x="840" y="1662"/>
                  </a:lnTo>
                  <a:lnTo>
                    <a:pt x="840" y="1668"/>
                  </a:lnTo>
                  <a:lnTo>
                    <a:pt x="858" y="1680"/>
                  </a:lnTo>
                  <a:lnTo>
                    <a:pt x="858" y="1752"/>
                  </a:lnTo>
                  <a:lnTo>
                    <a:pt x="864" y="1782"/>
                  </a:lnTo>
                  <a:lnTo>
                    <a:pt x="876" y="1788"/>
                  </a:lnTo>
                  <a:lnTo>
                    <a:pt x="870" y="1854"/>
                  </a:lnTo>
                  <a:lnTo>
                    <a:pt x="870" y="1884"/>
                  </a:lnTo>
                  <a:lnTo>
                    <a:pt x="864" y="1884"/>
                  </a:lnTo>
                  <a:lnTo>
                    <a:pt x="846" y="1896"/>
                  </a:lnTo>
                  <a:lnTo>
                    <a:pt x="840" y="1896"/>
                  </a:lnTo>
                  <a:lnTo>
                    <a:pt x="834" y="1896"/>
                  </a:lnTo>
                  <a:lnTo>
                    <a:pt x="828" y="1890"/>
                  </a:lnTo>
                  <a:lnTo>
                    <a:pt x="822" y="1890"/>
                  </a:lnTo>
                  <a:lnTo>
                    <a:pt x="816" y="1896"/>
                  </a:lnTo>
                  <a:lnTo>
                    <a:pt x="804" y="1896"/>
                  </a:lnTo>
                  <a:lnTo>
                    <a:pt x="804" y="1890"/>
                  </a:lnTo>
                  <a:lnTo>
                    <a:pt x="780" y="1896"/>
                  </a:lnTo>
                  <a:lnTo>
                    <a:pt x="780" y="1902"/>
                  </a:lnTo>
                  <a:lnTo>
                    <a:pt x="774" y="1914"/>
                  </a:lnTo>
                  <a:lnTo>
                    <a:pt x="762" y="1926"/>
                  </a:lnTo>
                  <a:lnTo>
                    <a:pt x="762" y="1950"/>
                  </a:lnTo>
                  <a:lnTo>
                    <a:pt x="762" y="1962"/>
                  </a:lnTo>
                  <a:lnTo>
                    <a:pt x="780" y="1974"/>
                  </a:lnTo>
                  <a:lnTo>
                    <a:pt x="780" y="1986"/>
                  </a:lnTo>
                  <a:lnTo>
                    <a:pt x="780" y="1998"/>
                  </a:lnTo>
                  <a:lnTo>
                    <a:pt x="756" y="1998"/>
                  </a:lnTo>
                  <a:lnTo>
                    <a:pt x="720" y="1992"/>
                  </a:lnTo>
                  <a:lnTo>
                    <a:pt x="666" y="1998"/>
                  </a:lnTo>
                  <a:lnTo>
                    <a:pt x="654" y="1998"/>
                  </a:lnTo>
                  <a:lnTo>
                    <a:pt x="660" y="1974"/>
                  </a:lnTo>
                  <a:lnTo>
                    <a:pt x="666" y="1962"/>
                  </a:lnTo>
                  <a:lnTo>
                    <a:pt x="678" y="1950"/>
                  </a:lnTo>
                  <a:lnTo>
                    <a:pt x="696" y="1932"/>
                  </a:lnTo>
                  <a:lnTo>
                    <a:pt x="696" y="1920"/>
                  </a:lnTo>
                  <a:lnTo>
                    <a:pt x="696" y="1896"/>
                  </a:lnTo>
                  <a:lnTo>
                    <a:pt x="678" y="1896"/>
                  </a:lnTo>
                  <a:lnTo>
                    <a:pt x="672" y="1884"/>
                  </a:lnTo>
                  <a:lnTo>
                    <a:pt x="672" y="1776"/>
                  </a:lnTo>
                  <a:lnTo>
                    <a:pt x="678" y="1758"/>
                  </a:lnTo>
                  <a:lnTo>
                    <a:pt x="678" y="1740"/>
                  </a:lnTo>
                  <a:lnTo>
                    <a:pt x="684" y="1728"/>
                  </a:lnTo>
                  <a:lnTo>
                    <a:pt x="690" y="1722"/>
                  </a:lnTo>
                  <a:lnTo>
                    <a:pt x="702" y="1722"/>
                  </a:lnTo>
                  <a:lnTo>
                    <a:pt x="708" y="1716"/>
                  </a:lnTo>
                  <a:lnTo>
                    <a:pt x="714" y="1710"/>
                  </a:lnTo>
                  <a:lnTo>
                    <a:pt x="720" y="1698"/>
                  </a:lnTo>
                  <a:lnTo>
                    <a:pt x="732" y="1692"/>
                  </a:lnTo>
                  <a:lnTo>
                    <a:pt x="744" y="1686"/>
                  </a:lnTo>
                  <a:lnTo>
                    <a:pt x="756" y="1680"/>
                  </a:lnTo>
                  <a:lnTo>
                    <a:pt x="768" y="1668"/>
                  </a:lnTo>
                  <a:lnTo>
                    <a:pt x="768" y="1650"/>
                  </a:lnTo>
                  <a:lnTo>
                    <a:pt x="774" y="1632"/>
                  </a:lnTo>
                  <a:lnTo>
                    <a:pt x="768" y="1620"/>
                  </a:lnTo>
                  <a:lnTo>
                    <a:pt x="774" y="1608"/>
                  </a:lnTo>
                  <a:lnTo>
                    <a:pt x="774" y="1578"/>
                  </a:lnTo>
                  <a:lnTo>
                    <a:pt x="774" y="1572"/>
                  </a:lnTo>
                  <a:lnTo>
                    <a:pt x="780" y="1560"/>
                  </a:lnTo>
                  <a:lnTo>
                    <a:pt x="780" y="1554"/>
                  </a:lnTo>
                  <a:lnTo>
                    <a:pt x="786" y="1542"/>
                  </a:lnTo>
                  <a:lnTo>
                    <a:pt x="792" y="1530"/>
                  </a:lnTo>
                  <a:lnTo>
                    <a:pt x="792" y="1518"/>
                  </a:lnTo>
                  <a:lnTo>
                    <a:pt x="792" y="1506"/>
                  </a:lnTo>
                  <a:lnTo>
                    <a:pt x="786" y="1500"/>
                  </a:lnTo>
                  <a:lnTo>
                    <a:pt x="774" y="1488"/>
                  </a:lnTo>
                  <a:lnTo>
                    <a:pt x="774" y="1482"/>
                  </a:lnTo>
                  <a:lnTo>
                    <a:pt x="762" y="1488"/>
                  </a:lnTo>
                  <a:lnTo>
                    <a:pt x="756" y="1494"/>
                  </a:lnTo>
                  <a:lnTo>
                    <a:pt x="744" y="1500"/>
                  </a:lnTo>
                  <a:lnTo>
                    <a:pt x="732" y="1506"/>
                  </a:lnTo>
                  <a:lnTo>
                    <a:pt x="726" y="1506"/>
                  </a:lnTo>
                  <a:lnTo>
                    <a:pt x="720" y="1506"/>
                  </a:lnTo>
                  <a:lnTo>
                    <a:pt x="702" y="1506"/>
                  </a:lnTo>
                  <a:lnTo>
                    <a:pt x="690" y="1500"/>
                  </a:lnTo>
                  <a:lnTo>
                    <a:pt x="678" y="1500"/>
                  </a:lnTo>
                  <a:lnTo>
                    <a:pt x="672" y="1500"/>
                  </a:lnTo>
                  <a:lnTo>
                    <a:pt x="660" y="1506"/>
                  </a:lnTo>
                  <a:lnTo>
                    <a:pt x="654" y="1506"/>
                  </a:lnTo>
                  <a:lnTo>
                    <a:pt x="648" y="1512"/>
                  </a:lnTo>
                  <a:lnTo>
                    <a:pt x="648" y="1518"/>
                  </a:lnTo>
                  <a:lnTo>
                    <a:pt x="618" y="1518"/>
                  </a:lnTo>
                  <a:lnTo>
                    <a:pt x="534" y="1494"/>
                  </a:lnTo>
                  <a:lnTo>
                    <a:pt x="528" y="1458"/>
                  </a:lnTo>
                  <a:lnTo>
                    <a:pt x="510" y="1458"/>
                  </a:lnTo>
                  <a:lnTo>
                    <a:pt x="492" y="1440"/>
                  </a:lnTo>
                  <a:lnTo>
                    <a:pt x="462" y="1440"/>
                  </a:lnTo>
                  <a:lnTo>
                    <a:pt x="456" y="1428"/>
                  </a:lnTo>
                  <a:lnTo>
                    <a:pt x="420" y="1428"/>
                  </a:lnTo>
                  <a:lnTo>
                    <a:pt x="390" y="1446"/>
                  </a:lnTo>
                  <a:lnTo>
                    <a:pt x="312" y="1452"/>
                  </a:lnTo>
                  <a:lnTo>
                    <a:pt x="300" y="1446"/>
                  </a:lnTo>
                  <a:lnTo>
                    <a:pt x="294" y="1446"/>
                  </a:lnTo>
                  <a:lnTo>
                    <a:pt x="288" y="1446"/>
                  </a:lnTo>
                  <a:lnTo>
                    <a:pt x="282" y="1440"/>
                  </a:lnTo>
                  <a:lnTo>
                    <a:pt x="276" y="1440"/>
                  </a:lnTo>
                  <a:lnTo>
                    <a:pt x="270" y="1440"/>
                  </a:lnTo>
                  <a:lnTo>
                    <a:pt x="264" y="1440"/>
                  </a:lnTo>
                  <a:lnTo>
                    <a:pt x="258" y="1434"/>
                  </a:lnTo>
                  <a:lnTo>
                    <a:pt x="252" y="1434"/>
                  </a:lnTo>
                  <a:lnTo>
                    <a:pt x="246" y="1428"/>
                  </a:lnTo>
                  <a:lnTo>
                    <a:pt x="240" y="1416"/>
                  </a:lnTo>
                  <a:lnTo>
                    <a:pt x="234" y="1404"/>
                  </a:lnTo>
                  <a:lnTo>
                    <a:pt x="228" y="1398"/>
                  </a:lnTo>
                  <a:lnTo>
                    <a:pt x="222" y="1398"/>
                  </a:lnTo>
                  <a:lnTo>
                    <a:pt x="216" y="1404"/>
                  </a:lnTo>
                  <a:lnTo>
                    <a:pt x="210" y="1404"/>
                  </a:lnTo>
                  <a:lnTo>
                    <a:pt x="204" y="1404"/>
                  </a:lnTo>
                  <a:lnTo>
                    <a:pt x="204" y="1398"/>
                  </a:lnTo>
                  <a:lnTo>
                    <a:pt x="198" y="1392"/>
                  </a:lnTo>
                  <a:lnTo>
                    <a:pt x="192" y="1386"/>
                  </a:lnTo>
                  <a:lnTo>
                    <a:pt x="168" y="1374"/>
                  </a:lnTo>
                  <a:lnTo>
                    <a:pt x="144" y="13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0" name="Freeform 35">
              <a:extLst>
                <a:ext uri="{FF2B5EF4-FFF2-40B4-BE49-F238E27FC236}">
                  <a16:creationId xmlns:a16="http://schemas.microsoft.com/office/drawing/2014/main" id="{F64BF16E-9D62-438E-A1CC-CD4088AC7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2895" y="1706004"/>
              <a:ext cx="767013" cy="785011"/>
            </a:xfrm>
            <a:custGeom>
              <a:avLst/>
              <a:gdLst>
                <a:gd name="T0" fmla="*/ 102 w 1440"/>
                <a:gd name="T1" fmla="*/ 104 h 1476"/>
                <a:gd name="T2" fmla="*/ 99 w 1440"/>
                <a:gd name="T3" fmla="*/ 108 h 1476"/>
                <a:gd name="T4" fmla="*/ 98 w 1440"/>
                <a:gd name="T5" fmla="*/ 112 h 1476"/>
                <a:gd name="T6" fmla="*/ 96 w 1440"/>
                <a:gd name="T7" fmla="*/ 116 h 1476"/>
                <a:gd name="T8" fmla="*/ 91 w 1440"/>
                <a:gd name="T9" fmla="*/ 118 h 1476"/>
                <a:gd name="T10" fmla="*/ 87 w 1440"/>
                <a:gd name="T11" fmla="*/ 120 h 1476"/>
                <a:gd name="T12" fmla="*/ 75 w 1440"/>
                <a:gd name="T13" fmla="*/ 120 h 1476"/>
                <a:gd name="T14" fmla="*/ 72 w 1440"/>
                <a:gd name="T15" fmla="*/ 123 h 1476"/>
                <a:gd name="T16" fmla="*/ 69 w 1440"/>
                <a:gd name="T17" fmla="*/ 128 h 1476"/>
                <a:gd name="T18" fmla="*/ 67 w 1440"/>
                <a:gd name="T19" fmla="*/ 127 h 1476"/>
                <a:gd name="T20" fmla="*/ 66 w 1440"/>
                <a:gd name="T21" fmla="*/ 123 h 1476"/>
                <a:gd name="T22" fmla="*/ 63 w 1440"/>
                <a:gd name="T23" fmla="*/ 119 h 1476"/>
                <a:gd name="T24" fmla="*/ 54 w 1440"/>
                <a:gd name="T25" fmla="*/ 114 h 1476"/>
                <a:gd name="T26" fmla="*/ 55 w 1440"/>
                <a:gd name="T27" fmla="*/ 106 h 1476"/>
                <a:gd name="T28" fmla="*/ 60 w 1440"/>
                <a:gd name="T29" fmla="*/ 100 h 1476"/>
                <a:gd name="T30" fmla="*/ 55 w 1440"/>
                <a:gd name="T31" fmla="*/ 91 h 1476"/>
                <a:gd name="T32" fmla="*/ 51 w 1440"/>
                <a:gd name="T33" fmla="*/ 86 h 1476"/>
                <a:gd name="T34" fmla="*/ 47 w 1440"/>
                <a:gd name="T35" fmla="*/ 85 h 1476"/>
                <a:gd name="T36" fmla="*/ 44 w 1440"/>
                <a:gd name="T37" fmla="*/ 82 h 1476"/>
                <a:gd name="T38" fmla="*/ 41 w 1440"/>
                <a:gd name="T39" fmla="*/ 83 h 1476"/>
                <a:gd name="T40" fmla="*/ 36 w 1440"/>
                <a:gd name="T41" fmla="*/ 83 h 1476"/>
                <a:gd name="T42" fmla="*/ 33 w 1440"/>
                <a:gd name="T43" fmla="*/ 83 h 1476"/>
                <a:gd name="T44" fmla="*/ 30 w 1440"/>
                <a:gd name="T45" fmla="*/ 83 h 1476"/>
                <a:gd name="T46" fmla="*/ 27 w 1440"/>
                <a:gd name="T47" fmla="*/ 83 h 1476"/>
                <a:gd name="T48" fmla="*/ 24 w 1440"/>
                <a:gd name="T49" fmla="*/ 82 h 1476"/>
                <a:gd name="T50" fmla="*/ 21 w 1440"/>
                <a:gd name="T51" fmla="*/ 80 h 1476"/>
                <a:gd name="T52" fmla="*/ 18 w 1440"/>
                <a:gd name="T53" fmla="*/ 79 h 1476"/>
                <a:gd name="T54" fmla="*/ 17 w 1440"/>
                <a:gd name="T55" fmla="*/ 78 h 1476"/>
                <a:gd name="T56" fmla="*/ 12 w 1440"/>
                <a:gd name="T57" fmla="*/ 78 h 1476"/>
                <a:gd name="T58" fmla="*/ 12 w 1440"/>
                <a:gd name="T59" fmla="*/ 78 h 1476"/>
                <a:gd name="T60" fmla="*/ 7 w 1440"/>
                <a:gd name="T61" fmla="*/ 80 h 1476"/>
                <a:gd name="T62" fmla="*/ 3 w 1440"/>
                <a:gd name="T63" fmla="*/ 81 h 1476"/>
                <a:gd name="T64" fmla="*/ 0 w 1440"/>
                <a:gd name="T65" fmla="*/ 76 h 1476"/>
                <a:gd name="T66" fmla="*/ 1 w 1440"/>
                <a:gd name="T67" fmla="*/ 50 h 1476"/>
                <a:gd name="T68" fmla="*/ 8 w 1440"/>
                <a:gd name="T69" fmla="*/ 48 h 1476"/>
                <a:gd name="T70" fmla="*/ 20 w 1440"/>
                <a:gd name="T71" fmla="*/ 49 h 1476"/>
                <a:gd name="T72" fmla="*/ 26 w 1440"/>
                <a:gd name="T73" fmla="*/ 50 h 1476"/>
                <a:gd name="T74" fmla="*/ 44 w 1440"/>
                <a:gd name="T75" fmla="*/ 47 h 1476"/>
                <a:gd name="T76" fmla="*/ 41 w 1440"/>
                <a:gd name="T77" fmla="*/ 24 h 1476"/>
                <a:gd name="T78" fmla="*/ 44 w 1440"/>
                <a:gd name="T79" fmla="*/ 20 h 1476"/>
                <a:gd name="T80" fmla="*/ 47 w 1440"/>
                <a:gd name="T81" fmla="*/ 18 h 1476"/>
                <a:gd name="T82" fmla="*/ 54 w 1440"/>
                <a:gd name="T83" fmla="*/ 21 h 1476"/>
                <a:gd name="T84" fmla="*/ 61 w 1440"/>
                <a:gd name="T85" fmla="*/ 23 h 1476"/>
                <a:gd name="T86" fmla="*/ 59 w 1440"/>
                <a:gd name="T87" fmla="*/ 14 h 1476"/>
                <a:gd name="T88" fmla="*/ 61 w 1440"/>
                <a:gd name="T89" fmla="*/ 8 h 1476"/>
                <a:gd name="T90" fmla="*/ 71 w 1440"/>
                <a:gd name="T91" fmla="*/ 7 h 1476"/>
                <a:gd name="T92" fmla="*/ 75 w 1440"/>
                <a:gd name="T93" fmla="*/ 0 h 1476"/>
                <a:gd name="T94" fmla="*/ 82 w 1440"/>
                <a:gd name="T95" fmla="*/ 3 h 1476"/>
                <a:gd name="T96" fmla="*/ 93 w 1440"/>
                <a:gd name="T97" fmla="*/ 5 h 1476"/>
                <a:gd name="T98" fmla="*/ 100 w 1440"/>
                <a:gd name="T99" fmla="*/ 1 h 1476"/>
                <a:gd name="T100" fmla="*/ 104 w 1440"/>
                <a:gd name="T101" fmla="*/ 4 h 1476"/>
                <a:gd name="T102" fmla="*/ 110 w 1440"/>
                <a:gd name="T103" fmla="*/ 10 h 1476"/>
                <a:gd name="T104" fmla="*/ 115 w 1440"/>
                <a:gd name="T105" fmla="*/ 23 h 1476"/>
                <a:gd name="T106" fmla="*/ 117 w 1440"/>
                <a:gd name="T107" fmla="*/ 42 h 1476"/>
                <a:gd name="T108" fmla="*/ 121 w 1440"/>
                <a:gd name="T109" fmla="*/ 52 h 1476"/>
                <a:gd name="T110" fmla="*/ 118 w 1440"/>
                <a:gd name="T111" fmla="*/ 62 h 1476"/>
                <a:gd name="T112" fmla="*/ 124 w 1440"/>
                <a:gd name="T113" fmla="*/ 66 h 1476"/>
                <a:gd name="T114" fmla="*/ 121 w 1440"/>
                <a:gd name="T115" fmla="*/ 71 h 1476"/>
                <a:gd name="T116" fmla="*/ 115 w 1440"/>
                <a:gd name="T117" fmla="*/ 76 h 1476"/>
                <a:gd name="T118" fmla="*/ 109 w 1440"/>
                <a:gd name="T119" fmla="*/ 76 h 1476"/>
                <a:gd name="T120" fmla="*/ 105 w 1440"/>
                <a:gd name="T121" fmla="*/ 86 h 1476"/>
                <a:gd name="T122" fmla="*/ 107 w 1440"/>
                <a:gd name="T123" fmla="*/ 97 h 147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40"/>
                <a:gd name="T187" fmla="*/ 0 h 1476"/>
                <a:gd name="T188" fmla="*/ 1440 w 1440"/>
                <a:gd name="T189" fmla="*/ 1476 h 147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40" h="1476">
                  <a:moveTo>
                    <a:pt x="1212" y="1164"/>
                  </a:moveTo>
                  <a:lnTo>
                    <a:pt x="1206" y="1170"/>
                  </a:lnTo>
                  <a:lnTo>
                    <a:pt x="1200" y="1176"/>
                  </a:lnTo>
                  <a:lnTo>
                    <a:pt x="1194" y="1176"/>
                  </a:lnTo>
                  <a:lnTo>
                    <a:pt x="1188" y="1188"/>
                  </a:lnTo>
                  <a:lnTo>
                    <a:pt x="1182" y="1194"/>
                  </a:lnTo>
                  <a:lnTo>
                    <a:pt x="1176" y="1194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64" y="1206"/>
                  </a:lnTo>
                  <a:lnTo>
                    <a:pt x="1158" y="1206"/>
                  </a:lnTo>
                  <a:lnTo>
                    <a:pt x="1152" y="1212"/>
                  </a:lnTo>
                  <a:lnTo>
                    <a:pt x="1146" y="1212"/>
                  </a:lnTo>
                  <a:lnTo>
                    <a:pt x="1140" y="1224"/>
                  </a:lnTo>
                  <a:lnTo>
                    <a:pt x="1134" y="1230"/>
                  </a:lnTo>
                  <a:lnTo>
                    <a:pt x="1128" y="1236"/>
                  </a:lnTo>
                  <a:lnTo>
                    <a:pt x="1128" y="1242"/>
                  </a:lnTo>
                  <a:lnTo>
                    <a:pt x="1128" y="1254"/>
                  </a:lnTo>
                  <a:lnTo>
                    <a:pt x="1128" y="1260"/>
                  </a:lnTo>
                  <a:lnTo>
                    <a:pt x="1122" y="1260"/>
                  </a:lnTo>
                  <a:lnTo>
                    <a:pt x="1122" y="1266"/>
                  </a:lnTo>
                  <a:lnTo>
                    <a:pt x="1128" y="1278"/>
                  </a:lnTo>
                  <a:lnTo>
                    <a:pt x="1122" y="1278"/>
                  </a:lnTo>
                  <a:lnTo>
                    <a:pt x="1122" y="1284"/>
                  </a:lnTo>
                  <a:lnTo>
                    <a:pt x="1128" y="1290"/>
                  </a:lnTo>
                  <a:lnTo>
                    <a:pt x="1122" y="1296"/>
                  </a:lnTo>
                  <a:lnTo>
                    <a:pt x="1122" y="1302"/>
                  </a:lnTo>
                  <a:lnTo>
                    <a:pt x="1116" y="1302"/>
                  </a:lnTo>
                  <a:lnTo>
                    <a:pt x="1110" y="1314"/>
                  </a:lnTo>
                  <a:lnTo>
                    <a:pt x="1110" y="1320"/>
                  </a:lnTo>
                  <a:lnTo>
                    <a:pt x="1110" y="1326"/>
                  </a:lnTo>
                  <a:lnTo>
                    <a:pt x="1098" y="1332"/>
                  </a:lnTo>
                  <a:lnTo>
                    <a:pt x="1092" y="1338"/>
                  </a:lnTo>
                  <a:lnTo>
                    <a:pt x="1092" y="1344"/>
                  </a:lnTo>
                  <a:lnTo>
                    <a:pt x="1086" y="1350"/>
                  </a:lnTo>
                  <a:lnTo>
                    <a:pt x="1080" y="1350"/>
                  </a:lnTo>
                  <a:lnTo>
                    <a:pt x="1074" y="1350"/>
                  </a:lnTo>
                  <a:lnTo>
                    <a:pt x="1068" y="1356"/>
                  </a:lnTo>
                  <a:lnTo>
                    <a:pt x="1062" y="1356"/>
                  </a:lnTo>
                  <a:lnTo>
                    <a:pt x="1044" y="1356"/>
                  </a:lnTo>
                  <a:lnTo>
                    <a:pt x="1038" y="1362"/>
                  </a:lnTo>
                  <a:lnTo>
                    <a:pt x="1032" y="1368"/>
                  </a:lnTo>
                  <a:lnTo>
                    <a:pt x="1026" y="1368"/>
                  </a:lnTo>
                  <a:lnTo>
                    <a:pt x="1020" y="1374"/>
                  </a:lnTo>
                  <a:lnTo>
                    <a:pt x="1008" y="1374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74"/>
                  </a:lnTo>
                  <a:lnTo>
                    <a:pt x="978" y="1380"/>
                  </a:lnTo>
                  <a:lnTo>
                    <a:pt x="972" y="1380"/>
                  </a:lnTo>
                  <a:lnTo>
                    <a:pt x="954" y="1368"/>
                  </a:lnTo>
                  <a:lnTo>
                    <a:pt x="930" y="1368"/>
                  </a:lnTo>
                  <a:lnTo>
                    <a:pt x="918" y="1368"/>
                  </a:lnTo>
                  <a:lnTo>
                    <a:pt x="906" y="1368"/>
                  </a:lnTo>
                  <a:lnTo>
                    <a:pt x="894" y="1368"/>
                  </a:lnTo>
                  <a:lnTo>
                    <a:pt x="864" y="1374"/>
                  </a:lnTo>
                  <a:lnTo>
                    <a:pt x="852" y="1374"/>
                  </a:lnTo>
                  <a:lnTo>
                    <a:pt x="846" y="1386"/>
                  </a:lnTo>
                  <a:lnTo>
                    <a:pt x="846" y="1392"/>
                  </a:lnTo>
                  <a:lnTo>
                    <a:pt x="840" y="1398"/>
                  </a:lnTo>
                  <a:lnTo>
                    <a:pt x="840" y="1404"/>
                  </a:lnTo>
                  <a:lnTo>
                    <a:pt x="834" y="1416"/>
                  </a:lnTo>
                  <a:lnTo>
                    <a:pt x="828" y="1416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04" y="1428"/>
                  </a:lnTo>
                  <a:lnTo>
                    <a:pt x="804" y="1434"/>
                  </a:lnTo>
                  <a:lnTo>
                    <a:pt x="804" y="1440"/>
                  </a:lnTo>
                  <a:lnTo>
                    <a:pt x="798" y="1446"/>
                  </a:lnTo>
                  <a:lnTo>
                    <a:pt x="798" y="1458"/>
                  </a:lnTo>
                  <a:lnTo>
                    <a:pt x="792" y="1464"/>
                  </a:lnTo>
                  <a:lnTo>
                    <a:pt x="786" y="1476"/>
                  </a:lnTo>
                  <a:lnTo>
                    <a:pt x="780" y="1470"/>
                  </a:lnTo>
                  <a:lnTo>
                    <a:pt x="774" y="1470"/>
                  </a:lnTo>
                  <a:lnTo>
                    <a:pt x="768" y="1470"/>
                  </a:lnTo>
                  <a:lnTo>
                    <a:pt x="762" y="1476"/>
                  </a:lnTo>
                  <a:lnTo>
                    <a:pt x="762" y="1470"/>
                  </a:lnTo>
                  <a:lnTo>
                    <a:pt x="762" y="1464"/>
                  </a:lnTo>
                  <a:lnTo>
                    <a:pt x="762" y="1458"/>
                  </a:lnTo>
                  <a:lnTo>
                    <a:pt x="756" y="1458"/>
                  </a:lnTo>
                  <a:lnTo>
                    <a:pt x="756" y="1452"/>
                  </a:lnTo>
                  <a:lnTo>
                    <a:pt x="756" y="1446"/>
                  </a:lnTo>
                  <a:lnTo>
                    <a:pt x="756" y="1440"/>
                  </a:lnTo>
                  <a:lnTo>
                    <a:pt x="750" y="1434"/>
                  </a:lnTo>
                  <a:lnTo>
                    <a:pt x="750" y="1428"/>
                  </a:lnTo>
                  <a:lnTo>
                    <a:pt x="750" y="1422"/>
                  </a:lnTo>
                  <a:lnTo>
                    <a:pt x="750" y="1416"/>
                  </a:lnTo>
                  <a:lnTo>
                    <a:pt x="744" y="1416"/>
                  </a:lnTo>
                  <a:lnTo>
                    <a:pt x="744" y="1410"/>
                  </a:lnTo>
                  <a:lnTo>
                    <a:pt x="738" y="1404"/>
                  </a:lnTo>
                  <a:lnTo>
                    <a:pt x="732" y="1398"/>
                  </a:lnTo>
                  <a:lnTo>
                    <a:pt x="732" y="1392"/>
                  </a:lnTo>
                  <a:lnTo>
                    <a:pt x="726" y="1386"/>
                  </a:lnTo>
                  <a:lnTo>
                    <a:pt x="726" y="1380"/>
                  </a:lnTo>
                  <a:lnTo>
                    <a:pt x="714" y="1368"/>
                  </a:lnTo>
                  <a:lnTo>
                    <a:pt x="708" y="1368"/>
                  </a:lnTo>
                  <a:lnTo>
                    <a:pt x="684" y="1332"/>
                  </a:lnTo>
                  <a:lnTo>
                    <a:pt x="666" y="1320"/>
                  </a:lnTo>
                  <a:lnTo>
                    <a:pt x="648" y="1302"/>
                  </a:lnTo>
                  <a:lnTo>
                    <a:pt x="630" y="1314"/>
                  </a:lnTo>
                  <a:lnTo>
                    <a:pt x="624" y="1314"/>
                  </a:lnTo>
                  <a:lnTo>
                    <a:pt x="624" y="1308"/>
                  </a:lnTo>
                  <a:lnTo>
                    <a:pt x="618" y="1308"/>
                  </a:lnTo>
                  <a:lnTo>
                    <a:pt x="612" y="1284"/>
                  </a:lnTo>
                  <a:lnTo>
                    <a:pt x="606" y="1254"/>
                  </a:lnTo>
                  <a:lnTo>
                    <a:pt x="606" y="1248"/>
                  </a:lnTo>
                  <a:lnTo>
                    <a:pt x="606" y="1242"/>
                  </a:lnTo>
                  <a:lnTo>
                    <a:pt x="612" y="1242"/>
                  </a:lnTo>
                  <a:lnTo>
                    <a:pt x="618" y="1236"/>
                  </a:lnTo>
                  <a:lnTo>
                    <a:pt x="618" y="1230"/>
                  </a:lnTo>
                  <a:lnTo>
                    <a:pt x="624" y="1224"/>
                  </a:lnTo>
                  <a:lnTo>
                    <a:pt x="630" y="1224"/>
                  </a:lnTo>
                  <a:lnTo>
                    <a:pt x="636" y="1218"/>
                  </a:lnTo>
                  <a:lnTo>
                    <a:pt x="636" y="1212"/>
                  </a:lnTo>
                  <a:lnTo>
                    <a:pt x="612" y="1200"/>
                  </a:lnTo>
                  <a:lnTo>
                    <a:pt x="606" y="1182"/>
                  </a:lnTo>
                  <a:lnTo>
                    <a:pt x="672" y="1182"/>
                  </a:lnTo>
                  <a:lnTo>
                    <a:pt x="690" y="1170"/>
                  </a:lnTo>
                  <a:lnTo>
                    <a:pt x="690" y="1152"/>
                  </a:lnTo>
                  <a:lnTo>
                    <a:pt x="678" y="1110"/>
                  </a:lnTo>
                  <a:lnTo>
                    <a:pt x="672" y="1092"/>
                  </a:lnTo>
                  <a:lnTo>
                    <a:pt x="660" y="1074"/>
                  </a:lnTo>
                  <a:lnTo>
                    <a:pt x="648" y="1068"/>
                  </a:lnTo>
                  <a:lnTo>
                    <a:pt x="642" y="1068"/>
                  </a:lnTo>
                  <a:lnTo>
                    <a:pt x="636" y="1062"/>
                  </a:lnTo>
                  <a:lnTo>
                    <a:pt x="624" y="1056"/>
                  </a:lnTo>
                  <a:lnTo>
                    <a:pt x="624" y="1050"/>
                  </a:lnTo>
                  <a:lnTo>
                    <a:pt x="618" y="1038"/>
                  </a:lnTo>
                  <a:lnTo>
                    <a:pt x="612" y="1038"/>
                  </a:lnTo>
                  <a:lnTo>
                    <a:pt x="612" y="1032"/>
                  </a:lnTo>
                  <a:lnTo>
                    <a:pt x="612" y="1026"/>
                  </a:lnTo>
                  <a:lnTo>
                    <a:pt x="600" y="1014"/>
                  </a:lnTo>
                  <a:lnTo>
                    <a:pt x="582" y="1008"/>
                  </a:lnTo>
                  <a:lnTo>
                    <a:pt x="576" y="1002"/>
                  </a:lnTo>
                  <a:lnTo>
                    <a:pt x="576" y="996"/>
                  </a:lnTo>
                  <a:lnTo>
                    <a:pt x="570" y="996"/>
                  </a:lnTo>
                  <a:lnTo>
                    <a:pt x="570" y="990"/>
                  </a:lnTo>
                  <a:lnTo>
                    <a:pt x="570" y="984"/>
                  </a:lnTo>
                  <a:lnTo>
                    <a:pt x="564" y="984"/>
                  </a:lnTo>
                  <a:lnTo>
                    <a:pt x="558" y="978"/>
                  </a:lnTo>
                  <a:lnTo>
                    <a:pt x="552" y="972"/>
                  </a:lnTo>
                  <a:lnTo>
                    <a:pt x="552" y="966"/>
                  </a:lnTo>
                  <a:lnTo>
                    <a:pt x="546" y="972"/>
                  </a:lnTo>
                  <a:lnTo>
                    <a:pt x="540" y="972"/>
                  </a:lnTo>
                  <a:lnTo>
                    <a:pt x="534" y="960"/>
                  </a:lnTo>
                  <a:lnTo>
                    <a:pt x="528" y="960"/>
                  </a:lnTo>
                  <a:lnTo>
                    <a:pt x="528" y="966"/>
                  </a:lnTo>
                  <a:lnTo>
                    <a:pt x="516" y="954"/>
                  </a:lnTo>
                  <a:lnTo>
                    <a:pt x="516" y="948"/>
                  </a:lnTo>
                  <a:lnTo>
                    <a:pt x="510" y="948"/>
                  </a:lnTo>
                  <a:lnTo>
                    <a:pt x="504" y="948"/>
                  </a:lnTo>
                  <a:lnTo>
                    <a:pt x="498" y="948"/>
                  </a:lnTo>
                  <a:lnTo>
                    <a:pt x="504" y="954"/>
                  </a:lnTo>
                  <a:lnTo>
                    <a:pt x="498" y="954"/>
                  </a:lnTo>
                  <a:lnTo>
                    <a:pt x="492" y="954"/>
                  </a:lnTo>
                  <a:lnTo>
                    <a:pt x="480" y="942"/>
                  </a:lnTo>
                  <a:lnTo>
                    <a:pt x="480" y="948"/>
                  </a:lnTo>
                  <a:lnTo>
                    <a:pt x="480" y="954"/>
                  </a:lnTo>
                  <a:lnTo>
                    <a:pt x="474" y="954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56" y="966"/>
                  </a:lnTo>
                  <a:lnTo>
                    <a:pt x="456" y="960"/>
                  </a:lnTo>
                  <a:lnTo>
                    <a:pt x="450" y="966"/>
                  </a:lnTo>
                  <a:lnTo>
                    <a:pt x="444" y="966"/>
                  </a:lnTo>
                  <a:lnTo>
                    <a:pt x="414" y="966"/>
                  </a:lnTo>
                  <a:lnTo>
                    <a:pt x="408" y="960"/>
                  </a:lnTo>
                  <a:lnTo>
                    <a:pt x="408" y="966"/>
                  </a:lnTo>
                  <a:lnTo>
                    <a:pt x="402" y="960"/>
                  </a:lnTo>
                  <a:lnTo>
                    <a:pt x="396" y="960"/>
                  </a:lnTo>
                  <a:lnTo>
                    <a:pt x="390" y="960"/>
                  </a:lnTo>
                  <a:lnTo>
                    <a:pt x="390" y="966"/>
                  </a:lnTo>
                  <a:lnTo>
                    <a:pt x="384" y="966"/>
                  </a:lnTo>
                  <a:lnTo>
                    <a:pt x="378" y="966"/>
                  </a:lnTo>
                  <a:lnTo>
                    <a:pt x="384" y="960"/>
                  </a:lnTo>
                  <a:lnTo>
                    <a:pt x="384" y="954"/>
                  </a:lnTo>
                  <a:lnTo>
                    <a:pt x="372" y="948"/>
                  </a:lnTo>
                  <a:lnTo>
                    <a:pt x="372" y="954"/>
                  </a:lnTo>
                  <a:lnTo>
                    <a:pt x="372" y="960"/>
                  </a:lnTo>
                  <a:lnTo>
                    <a:pt x="366" y="960"/>
                  </a:lnTo>
                  <a:lnTo>
                    <a:pt x="360" y="966"/>
                  </a:lnTo>
                  <a:lnTo>
                    <a:pt x="354" y="966"/>
                  </a:lnTo>
                  <a:lnTo>
                    <a:pt x="348" y="960"/>
                  </a:lnTo>
                  <a:lnTo>
                    <a:pt x="342" y="960"/>
                  </a:lnTo>
                  <a:lnTo>
                    <a:pt x="342" y="966"/>
                  </a:lnTo>
                  <a:lnTo>
                    <a:pt x="336" y="972"/>
                  </a:lnTo>
                  <a:lnTo>
                    <a:pt x="330" y="972"/>
                  </a:lnTo>
                  <a:lnTo>
                    <a:pt x="324" y="966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6" y="954"/>
                  </a:lnTo>
                  <a:lnTo>
                    <a:pt x="306" y="948"/>
                  </a:lnTo>
                  <a:lnTo>
                    <a:pt x="306" y="942"/>
                  </a:lnTo>
                  <a:lnTo>
                    <a:pt x="300" y="942"/>
                  </a:lnTo>
                  <a:lnTo>
                    <a:pt x="294" y="936"/>
                  </a:lnTo>
                  <a:lnTo>
                    <a:pt x="288" y="936"/>
                  </a:lnTo>
                  <a:lnTo>
                    <a:pt x="282" y="942"/>
                  </a:lnTo>
                  <a:lnTo>
                    <a:pt x="276" y="936"/>
                  </a:lnTo>
                  <a:lnTo>
                    <a:pt x="276" y="942"/>
                  </a:lnTo>
                  <a:lnTo>
                    <a:pt x="270" y="942"/>
                  </a:lnTo>
                  <a:lnTo>
                    <a:pt x="264" y="936"/>
                  </a:lnTo>
                  <a:lnTo>
                    <a:pt x="252" y="936"/>
                  </a:lnTo>
                  <a:lnTo>
                    <a:pt x="246" y="936"/>
                  </a:lnTo>
                  <a:lnTo>
                    <a:pt x="240" y="936"/>
                  </a:lnTo>
                  <a:lnTo>
                    <a:pt x="234" y="936"/>
                  </a:lnTo>
                  <a:lnTo>
                    <a:pt x="240" y="924"/>
                  </a:lnTo>
                  <a:lnTo>
                    <a:pt x="234" y="924"/>
                  </a:lnTo>
                  <a:lnTo>
                    <a:pt x="228" y="918"/>
                  </a:lnTo>
                  <a:lnTo>
                    <a:pt x="228" y="906"/>
                  </a:lnTo>
                  <a:lnTo>
                    <a:pt x="222" y="900"/>
                  </a:lnTo>
                  <a:lnTo>
                    <a:pt x="216" y="900"/>
                  </a:lnTo>
                  <a:lnTo>
                    <a:pt x="210" y="900"/>
                  </a:lnTo>
                  <a:lnTo>
                    <a:pt x="210" y="906"/>
                  </a:lnTo>
                  <a:lnTo>
                    <a:pt x="204" y="906"/>
                  </a:lnTo>
                  <a:lnTo>
                    <a:pt x="198" y="906"/>
                  </a:lnTo>
                  <a:lnTo>
                    <a:pt x="210" y="900"/>
                  </a:lnTo>
                  <a:lnTo>
                    <a:pt x="210" y="894"/>
                  </a:lnTo>
                  <a:lnTo>
                    <a:pt x="216" y="888"/>
                  </a:lnTo>
                  <a:lnTo>
                    <a:pt x="204" y="882"/>
                  </a:lnTo>
                  <a:lnTo>
                    <a:pt x="204" y="894"/>
                  </a:lnTo>
                  <a:lnTo>
                    <a:pt x="198" y="894"/>
                  </a:lnTo>
                  <a:lnTo>
                    <a:pt x="192" y="900"/>
                  </a:lnTo>
                  <a:lnTo>
                    <a:pt x="186" y="894"/>
                  </a:lnTo>
                  <a:lnTo>
                    <a:pt x="180" y="894"/>
                  </a:lnTo>
                  <a:lnTo>
                    <a:pt x="174" y="894"/>
                  </a:lnTo>
                  <a:lnTo>
                    <a:pt x="168" y="900"/>
                  </a:lnTo>
                  <a:lnTo>
                    <a:pt x="162" y="906"/>
                  </a:lnTo>
                  <a:lnTo>
                    <a:pt x="156" y="906"/>
                  </a:lnTo>
                  <a:lnTo>
                    <a:pt x="150" y="900"/>
                  </a:lnTo>
                  <a:lnTo>
                    <a:pt x="144" y="894"/>
                  </a:lnTo>
                  <a:lnTo>
                    <a:pt x="138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0" y="888"/>
                  </a:lnTo>
                  <a:lnTo>
                    <a:pt x="114" y="894"/>
                  </a:lnTo>
                  <a:lnTo>
                    <a:pt x="120" y="900"/>
                  </a:lnTo>
                  <a:lnTo>
                    <a:pt x="126" y="900"/>
                  </a:lnTo>
                  <a:lnTo>
                    <a:pt x="132" y="900"/>
                  </a:lnTo>
                  <a:lnTo>
                    <a:pt x="132" y="906"/>
                  </a:lnTo>
                  <a:lnTo>
                    <a:pt x="126" y="912"/>
                  </a:lnTo>
                  <a:lnTo>
                    <a:pt x="126" y="918"/>
                  </a:lnTo>
                  <a:lnTo>
                    <a:pt x="114" y="918"/>
                  </a:lnTo>
                  <a:lnTo>
                    <a:pt x="108" y="924"/>
                  </a:lnTo>
                  <a:lnTo>
                    <a:pt x="102" y="924"/>
                  </a:lnTo>
                  <a:lnTo>
                    <a:pt x="90" y="924"/>
                  </a:lnTo>
                  <a:lnTo>
                    <a:pt x="84" y="924"/>
                  </a:lnTo>
                  <a:lnTo>
                    <a:pt x="78" y="924"/>
                  </a:lnTo>
                  <a:lnTo>
                    <a:pt x="60" y="924"/>
                  </a:lnTo>
                  <a:lnTo>
                    <a:pt x="54" y="942"/>
                  </a:lnTo>
                  <a:lnTo>
                    <a:pt x="48" y="936"/>
                  </a:lnTo>
                  <a:lnTo>
                    <a:pt x="42" y="930"/>
                  </a:lnTo>
                  <a:lnTo>
                    <a:pt x="36" y="930"/>
                  </a:lnTo>
                  <a:lnTo>
                    <a:pt x="30" y="936"/>
                  </a:lnTo>
                  <a:lnTo>
                    <a:pt x="30" y="930"/>
                  </a:lnTo>
                  <a:lnTo>
                    <a:pt x="30" y="924"/>
                  </a:lnTo>
                  <a:lnTo>
                    <a:pt x="18" y="918"/>
                  </a:lnTo>
                  <a:lnTo>
                    <a:pt x="18" y="912"/>
                  </a:lnTo>
                  <a:lnTo>
                    <a:pt x="12" y="912"/>
                  </a:lnTo>
                  <a:lnTo>
                    <a:pt x="6" y="912"/>
                  </a:lnTo>
                  <a:lnTo>
                    <a:pt x="6" y="900"/>
                  </a:lnTo>
                  <a:lnTo>
                    <a:pt x="6" y="894"/>
                  </a:lnTo>
                  <a:lnTo>
                    <a:pt x="0" y="870"/>
                  </a:lnTo>
                  <a:lnTo>
                    <a:pt x="6" y="846"/>
                  </a:lnTo>
                  <a:lnTo>
                    <a:pt x="6" y="810"/>
                  </a:lnTo>
                  <a:lnTo>
                    <a:pt x="12" y="774"/>
                  </a:lnTo>
                  <a:lnTo>
                    <a:pt x="12" y="756"/>
                  </a:lnTo>
                  <a:lnTo>
                    <a:pt x="18" y="744"/>
                  </a:lnTo>
                  <a:lnTo>
                    <a:pt x="18" y="732"/>
                  </a:lnTo>
                  <a:lnTo>
                    <a:pt x="12" y="576"/>
                  </a:lnTo>
                  <a:lnTo>
                    <a:pt x="12" y="570"/>
                  </a:lnTo>
                  <a:lnTo>
                    <a:pt x="18" y="564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42" y="552"/>
                  </a:lnTo>
                  <a:lnTo>
                    <a:pt x="66" y="552"/>
                  </a:lnTo>
                  <a:lnTo>
                    <a:pt x="78" y="558"/>
                  </a:lnTo>
                  <a:lnTo>
                    <a:pt x="90" y="558"/>
                  </a:lnTo>
                  <a:lnTo>
                    <a:pt x="108" y="558"/>
                  </a:lnTo>
                  <a:lnTo>
                    <a:pt x="144" y="558"/>
                  </a:lnTo>
                  <a:lnTo>
                    <a:pt x="204" y="552"/>
                  </a:lnTo>
                  <a:lnTo>
                    <a:pt x="210" y="558"/>
                  </a:lnTo>
                  <a:lnTo>
                    <a:pt x="216" y="558"/>
                  </a:lnTo>
                  <a:lnTo>
                    <a:pt x="210" y="564"/>
                  </a:lnTo>
                  <a:lnTo>
                    <a:pt x="216" y="564"/>
                  </a:lnTo>
                  <a:lnTo>
                    <a:pt x="222" y="564"/>
                  </a:lnTo>
                  <a:lnTo>
                    <a:pt x="240" y="564"/>
                  </a:lnTo>
                  <a:lnTo>
                    <a:pt x="258" y="564"/>
                  </a:lnTo>
                  <a:lnTo>
                    <a:pt x="264" y="570"/>
                  </a:lnTo>
                  <a:lnTo>
                    <a:pt x="276" y="570"/>
                  </a:lnTo>
                  <a:lnTo>
                    <a:pt x="282" y="564"/>
                  </a:lnTo>
                  <a:lnTo>
                    <a:pt x="294" y="564"/>
                  </a:lnTo>
                  <a:lnTo>
                    <a:pt x="294" y="570"/>
                  </a:lnTo>
                  <a:lnTo>
                    <a:pt x="300" y="570"/>
                  </a:lnTo>
                  <a:lnTo>
                    <a:pt x="378" y="564"/>
                  </a:lnTo>
                  <a:lnTo>
                    <a:pt x="408" y="558"/>
                  </a:lnTo>
                  <a:lnTo>
                    <a:pt x="432" y="552"/>
                  </a:lnTo>
                  <a:lnTo>
                    <a:pt x="450" y="546"/>
                  </a:lnTo>
                  <a:lnTo>
                    <a:pt x="468" y="546"/>
                  </a:lnTo>
                  <a:lnTo>
                    <a:pt x="468" y="552"/>
                  </a:lnTo>
                  <a:lnTo>
                    <a:pt x="504" y="552"/>
                  </a:lnTo>
                  <a:lnTo>
                    <a:pt x="510" y="534"/>
                  </a:lnTo>
                  <a:lnTo>
                    <a:pt x="516" y="510"/>
                  </a:lnTo>
                  <a:lnTo>
                    <a:pt x="522" y="510"/>
                  </a:lnTo>
                  <a:lnTo>
                    <a:pt x="528" y="420"/>
                  </a:lnTo>
                  <a:lnTo>
                    <a:pt x="522" y="414"/>
                  </a:lnTo>
                  <a:lnTo>
                    <a:pt x="516" y="396"/>
                  </a:lnTo>
                  <a:lnTo>
                    <a:pt x="510" y="372"/>
                  </a:lnTo>
                  <a:lnTo>
                    <a:pt x="498" y="348"/>
                  </a:lnTo>
                  <a:lnTo>
                    <a:pt x="474" y="282"/>
                  </a:lnTo>
                  <a:lnTo>
                    <a:pt x="474" y="270"/>
                  </a:lnTo>
                  <a:lnTo>
                    <a:pt x="480" y="258"/>
                  </a:lnTo>
                  <a:lnTo>
                    <a:pt x="486" y="258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92" y="246"/>
                  </a:lnTo>
                  <a:lnTo>
                    <a:pt x="504" y="234"/>
                  </a:lnTo>
                  <a:lnTo>
                    <a:pt x="510" y="228"/>
                  </a:lnTo>
                  <a:lnTo>
                    <a:pt x="516" y="228"/>
                  </a:lnTo>
                  <a:lnTo>
                    <a:pt x="516" y="222"/>
                  </a:lnTo>
                  <a:lnTo>
                    <a:pt x="516" y="216"/>
                  </a:lnTo>
                  <a:lnTo>
                    <a:pt x="522" y="216"/>
                  </a:lnTo>
                  <a:lnTo>
                    <a:pt x="528" y="210"/>
                  </a:lnTo>
                  <a:lnTo>
                    <a:pt x="534" y="210"/>
                  </a:lnTo>
                  <a:lnTo>
                    <a:pt x="540" y="210"/>
                  </a:lnTo>
                  <a:lnTo>
                    <a:pt x="546" y="210"/>
                  </a:lnTo>
                  <a:lnTo>
                    <a:pt x="552" y="210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16"/>
                  </a:lnTo>
                  <a:lnTo>
                    <a:pt x="588" y="228"/>
                  </a:lnTo>
                  <a:lnTo>
                    <a:pt x="594" y="234"/>
                  </a:lnTo>
                  <a:lnTo>
                    <a:pt x="600" y="240"/>
                  </a:lnTo>
                  <a:lnTo>
                    <a:pt x="618" y="246"/>
                  </a:lnTo>
                  <a:lnTo>
                    <a:pt x="624" y="246"/>
                  </a:lnTo>
                  <a:lnTo>
                    <a:pt x="636" y="252"/>
                  </a:lnTo>
                  <a:lnTo>
                    <a:pt x="654" y="252"/>
                  </a:lnTo>
                  <a:lnTo>
                    <a:pt x="654" y="258"/>
                  </a:lnTo>
                  <a:lnTo>
                    <a:pt x="666" y="264"/>
                  </a:lnTo>
                  <a:lnTo>
                    <a:pt x="672" y="264"/>
                  </a:lnTo>
                  <a:lnTo>
                    <a:pt x="678" y="264"/>
                  </a:lnTo>
                  <a:lnTo>
                    <a:pt x="696" y="258"/>
                  </a:lnTo>
                  <a:lnTo>
                    <a:pt x="696" y="252"/>
                  </a:lnTo>
                  <a:lnTo>
                    <a:pt x="696" y="246"/>
                  </a:lnTo>
                  <a:lnTo>
                    <a:pt x="690" y="234"/>
                  </a:lnTo>
                  <a:lnTo>
                    <a:pt x="684" y="210"/>
                  </a:lnTo>
                  <a:lnTo>
                    <a:pt x="678" y="192"/>
                  </a:lnTo>
                  <a:lnTo>
                    <a:pt x="672" y="174"/>
                  </a:lnTo>
                  <a:lnTo>
                    <a:pt x="672" y="168"/>
                  </a:lnTo>
                  <a:lnTo>
                    <a:pt x="672" y="162"/>
                  </a:lnTo>
                  <a:lnTo>
                    <a:pt x="672" y="156"/>
                  </a:lnTo>
                  <a:lnTo>
                    <a:pt x="684" y="132"/>
                  </a:lnTo>
                  <a:lnTo>
                    <a:pt x="684" y="120"/>
                  </a:lnTo>
                  <a:lnTo>
                    <a:pt x="684" y="108"/>
                  </a:lnTo>
                  <a:lnTo>
                    <a:pt x="678" y="102"/>
                  </a:lnTo>
                  <a:lnTo>
                    <a:pt x="678" y="96"/>
                  </a:lnTo>
                  <a:lnTo>
                    <a:pt x="684" y="96"/>
                  </a:lnTo>
                  <a:lnTo>
                    <a:pt x="696" y="90"/>
                  </a:lnTo>
                  <a:lnTo>
                    <a:pt x="702" y="84"/>
                  </a:lnTo>
                  <a:lnTo>
                    <a:pt x="720" y="72"/>
                  </a:lnTo>
                  <a:lnTo>
                    <a:pt x="738" y="66"/>
                  </a:lnTo>
                  <a:lnTo>
                    <a:pt x="756" y="60"/>
                  </a:lnTo>
                  <a:lnTo>
                    <a:pt x="768" y="60"/>
                  </a:lnTo>
                  <a:lnTo>
                    <a:pt x="798" y="72"/>
                  </a:lnTo>
                  <a:lnTo>
                    <a:pt x="804" y="78"/>
                  </a:lnTo>
                  <a:lnTo>
                    <a:pt x="816" y="84"/>
                  </a:lnTo>
                  <a:lnTo>
                    <a:pt x="822" y="84"/>
                  </a:lnTo>
                  <a:lnTo>
                    <a:pt x="828" y="72"/>
                  </a:lnTo>
                  <a:lnTo>
                    <a:pt x="828" y="60"/>
                  </a:lnTo>
                  <a:lnTo>
                    <a:pt x="828" y="36"/>
                  </a:lnTo>
                  <a:lnTo>
                    <a:pt x="828" y="24"/>
                  </a:lnTo>
                  <a:lnTo>
                    <a:pt x="828" y="12"/>
                  </a:lnTo>
                  <a:lnTo>
                    <a:pt x="834" y="12"/>
                  </a:lnTo>
                  <a:lnTo>
                    <a:pt x="852" y="6"/>
                  </a:lnTo>
                  <a:lnTo>
                    <a:pt x="876" y="6"/>
                  </a:lnTo>
                  <a:lnTo>
                    <a:pt x="894" y="6"/>
                  </a:lnTo>
                  <a:lnTo>
                    <a:pt x="906" y="12"/>
                  </a:lnTo>
                  <a:lnTo>
                    <a:pt x="912" y="24"/>
                  </a:lnTo>
                  <a:lnTo>
                    <a:pt x="924" y="24"/>
                  </a:lnTo>
                  <a:lnTo>
                    <a:pt x="930" y="30"/>
                  </a:lnTo>
                  <a:lnTo>
                    <a:pt x="936" y="30"/>
                  </a:lnTo>
                  <a:lnTo>
                    <a:pt x="936" y="36"/>
                  </a:lnTo>
                  <a:lnTo>
                    <a:pt x="942" y="36"/>
                  </a:lnTo>
                  <a:lnTo>
                    <a:pt x="948" y="42"/>
                  </a:lnTo>
                  <a:lnTo>
                    <a:pt x="960" y="48"/>
                  </a:lnTo>
                  <a:lnTo>
                    <a:pt x="966" y="48"/>
                  </a:lnTo>
                  <a:lnTo>
                    <a:pt x="1026" y="60"/>
                  </a:lnTo>
                  <a:lnTo>
                    <a:pt x="1050" y="60"/>
                  </a:lnTo>
                  <a:lnTo>
                    <a:pt x="1050" y="54"/>
                  </a:lnTo>
                  <a:lnTo>
                    <a:pt x="1062" y="54"/>
                  </a:lnTo>
                  <a:lnTo>
                    <a:pt x="1074" y="48"/>
                  </a:lnTo>
                  <a:lnTo>
                    <a:pt x="1086" y="42"/>
                  </a:lnTo>
                  <a:lnTo>
                    <a:pt x="1104" y="36"/>
                  </a:lnTo>
                  <a:lnTo>
                    <a:pt x="1116" y="30"/>
                  </a:lnTo>
                  <a:lnTo>
                    <a:pt x="1122" y="24"/>
                  </a:lnTo>
                  <a:lnTo>
                    <a:pt x="1128" y="18"/>
                  </a:lnTo>
                  <a:lnTo>
                    <a:pt x="1134" y="18"/>
                  </a:lnTo>
                  <a:lnTo>
                    <a:pt x="1140" y="12"/>
                  </a:lnTo>
                  <a:lnTo>
                    <a:pt x="1146" y="6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24"/>
                  </a:lnTo>
                  <a:lnTo>
                    <a:pt x="1176" y="36"/>
                  </a:lnTo>
                  <a:lnTo>
                    <a:pt x="1188" y="42"/>
                  </a:lnTo>
                  <a:lnTo>
                    <a:pt x="1200" y="54"/>
                  </a:lnTo>
                  <a:lnTo>
                    <a:pt x="1224" y="84"/>
                  </a:lnTo>
                  <a:lnTo>
                    <a:pt x="1224" y="90"/>
                  </a:lnTo>
                  <a:lnTo>
                    <a:pt x="1236" y="96"/>
                  </a:lnTo>
                  <a:lnTo>
                    <a:pt x="1236" y="108"/>
                  </a:lnTo>
                  <a:lnTo>
                    <a:pt x="1248" y="114"/>
                  </a:lnTo>
                  <a:lnTo>
                    <a:pt x="1254" y="114"/>
                  </a:lnTo>
                  <a:lnTo>
                    <a:pt x="1260" y="114"/>
                  </a:lnTo>
                  <a:lnTo>
                    <a:pt x="1296" y="114"/>
                  </a:lnTo>
                  <a:lnTo>
                    <a:pt x="1302" y="114"/>
                  </a:lnTo>
                  <a:lnTo>
                    <a:pt x="1320" y="108"/>
                  </a:lnTo>
                  <a:lnTo>
                    <a:pt x="1326" y="108"/>
                  </a:lnTo>
                  <a:lnTo>
                    <a:pt x="1326" y="138"/>
                  </a:lnTo>
                  <a:lnTo>
                    <a:pt x="1326" y="210"/>
                  </a:lnTo>
                  <a:lnTo>
                    <a:pt x="1320" y="252"/>
                  </a:lnTo>
                  <a:lnTo>
                    <a:pt x="1320" y="270"/>
                  </a:lnTo>
                  <a:lnTo>
                    <a:pt x="1320" y="288"/>
                  </a:lnTo>
                  <a:lnTo>
                    <a:pt x="1320" y="318"/>
                  </a:lnTo>
                  <a:lnTo>
                    <a:pt x="1326" y="354"/>
                  </a:lnTo>
                  <a:lnTo>
                    <a:pt x="1326" y="372"/>
                  </a:lnTo>
                  <a:lnTo>
                    <a:pt x="1332" y="420"/>
                  </a:lnTo>
                  <a:lnTo>
                    <a:pt x="1332" y="450"/>
                  </a:lnTo>
                  <a:lnTo>
                    <a:pt x="1338" y="480"/>
                  </a:lnTo>
                  <a:lnTo>
                    <a:pt x="1344" y="486"/>
                  </a:lnTo>
                  <a:lnTo>
                    <a:pt x="1338" y="492"/>
                  </a:lnTo>
                  <a:lnTo>
                    <a:pt x="1344" y="492"/>
                  </a:lnTo>
                  <a:lnTo>
                    <a:pt x="1344" y="498"/>
                  </a:lnTo>
                  <a:lnTo>
                    <a:pt x="1350" y="498"/>
                  </a:lnTo>
                  <a:lnTo>
                    <a:pt x="1350" y="522"/>
                  </a:lnTo>
                  <a:lnTo>
                    <a:pt x="1362" y="564"/>
                  </a:lnTo>
                  <a:lnTo>
                    <a:pt x="1368" y="582"/>
                  </a:lnTo>
                  <a:lnTo>
                    <a:pt x="1380" y="600"/>
                  </a:lnTo>
                  <a:lnTo>
                    <a:pt x="1386" y="636"/>
                  </a:lnTo>
                  <a:lnTo>
                    <a:pt x="1380" y="660"/>
                  </a:lnTo>
                  <a:lnTo>
                    <a:pt x="1380" y="678"/>
                  </a:lnTo>
                  <a:lnTo>
                    <a:pt x="1380" y="684"/>
                  </a:lnTo>
                  <a:lnTo>
                    <a:pt x="1374" y="684"/>
                  </a:lnTo>
                  <a:lnTo>
                    <a:pt x="1368" y="690"/>
                  </a:lnTo>
                  <a:lnTo>
                    <a:pt x="1356" y="702"/>
                  </a:lnTo>
                  <a:lnTo>
                    <a:pt x="1350" y="708"/>
                  </a:lnTo>
                  <a:lnTo>
                    <a:pt x="1356" y="714"/>
                  </a:lnTo>
                  <a:lnTo>
                    <a:pt x="1368" y="726"/>
                  </a:lnTo>
                  <a:lnTo>
                    <a:pt x="1380" y="738"/>
                  </a:lnTo>
                  <a:lnTo>
                    <a:pt x="1386" y="744"/>
                  </a:lnTo>
                  <a:lnTo>
                    <a:pt x="1392" y="744"/>
                  </a:lnTo>
                  <a:lnTo>
                    <a:pt x="1410" y="750"/>
                  </a:lnTo>
                  <a:lnTo>
                    <a:pt x="1416" y="756"/>
                  </a:lnTo>
                  <a:lnTo>
                    <a:pt x="1422" y="756"/>
                  </a:lnTo>
                  <a:lnTo>
                    <a:pt x="1422" y="762"/>
                  </a:lnTo>
                  <a:lnTo>
                    <a:pt x="1428" y="774"/>
                  </a:lnTo>
                  <a:lnTo>
                    <a:pt x="1428" y="780"/>
                  </a:lnTo>
                  <a:lnTo>
                    <a:pt x="1434" y="780"/>
                  </a:lnTo>
                  <a:lnTo>
                    <a:pt x="1440" y="798"/>
                  </a:lnTo>
                  <a:lnTo>
                    <a:pt x="1422" y="816"/>
                  </a:lnTo>
                  <a:lnTo>
                    <a:pt x="1386" y="810"/>
                  </a:lnTo>
                  <a:lnTo>
                    <a:pt x="1380" y="816"/>
                  </a:lnTo>
                  <a:lnTo>
                    <a:pt x="1374" y="840"/>
                  </a:lnTo>
                  <a:lnTo>
                    <a:pt x="1350" y="852"/>
                  </a:lnTo>
                  <a:lnTo>
                    <a:pt x="1350" y="858"/>
                  </a:lnTo>
                  <a:lnTo>
                    <a:pt x="1350" y="864"/>
                  </a:lnTo>
                  <a:lnTo>
                    <a:pt x="1344" y="864"/>
                  </a:lnTo>
                  <a:lnTo>
                    <a:pt x="1338" y="870"/>
                  </a:lnTo>
                  <a:lnTo>
                    <a:pt x="1332" y="876"/>
                  </a:lnTo>
                  <a:lnTo>
                    <a:pt x="1314" y="876"/>
                  </a:lnTo>
                  <a:lnTo>
                    <a:pt x="1314" y="870"/>
                  </a:lnTo>
                  <a:lnTo>
                    <a:pt x="1308" y="870"/>
                  </a:lnTo>
                  <a:lnTo>
                    <a:pt x="1302" y="864"/>
                  </a:lnTo>
                  <a:lnTo>
                    <a:pt x="1296" y="864"/>
                  </a:lnTo>
                  <a:lnTo>
                    <a:pt x="1284" y="870"/>
                  </a:lnTo>
                  <a:lnTo>
                    <a:pt x="1266" y="870"/>
                  </a:lnTo>
                  <a:lnTo>
                    <a:pt x="1260" y="870"/>
                  </a:lnTo>
                  <a:lnTo>
                    <a:pt x="1248" y="876"/>
                  </a:lnTo>
                  <a:lnTo>
                    <a:pt x="1236" y="876"/>
                  </a:lnTo>
                  <a:lnTo>
                    <a:pt x="1230" y="882"/>
                  </a:lnTo>
                  <a:lnTo>
                    <a:pt x="1224" y="894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18" y="942"/>
                  </a:lnTo>
                  <a:lnTo>
                    <a:pt x="1212" y="948"/>
                  </a:lnTo>
                  <a:lnTo>
                    <a:pt x="1200" y="984"/>
                  </a:lnTo>
                  <a:lnTo>
                    <a:pt x="1194" y="1008"/>
                  </a:lnTo>
                  <a:lnTo>
                    <a:pt x="1218" y="1038"/>
                  </a:lnTo>
                  <a:lnTo>
                    <a:pt x="1224" y="1044"/>
                  </a:lnTo>
                  <a:lnTo>
                    <a:pt x="1224" y="1062"/>
                  </a:lnTo>
                  <a:lnTo>
                    <a:pt x="1236" y="1080"/>
                  </a:lnTo>
                  <a:lnTo>
                    <a:pt x="1236" y="1086"/>
                  </a:lnTo>
                  <a:lnTo>
                    <a:pt x="1230" y="1092"/>
                  </a:lnTo>
                  <a:lnTo>
                    <a:pt x="1224" y="1110"/>
                  </a:lnTo>
                  <a:lnTo>
                    <a:pt x="1218" y="1122"/>
                  </a:lnTo>
                  <a:lnTo>
                    <a:pt x="1224" y="1140"/>
                  </a:lnTo>
                  <a:lnTo>
                    <a:pt x="1218" y="1146"/>
                  </a:lnTo>
                  <a:lnTo>
                    <a:pt x="1218" y="1152"/>
                  </a:lnTo>
                  <a:lnTo>
                    <a:pt x="1212" y="116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1" name="Freeform 36">
              <a:extLst>
                <a:ext uri="{FF2B5EF4-FFF2-40B4-BE49-F238E27FC236}">
                  <a16:creationId xmlns:a16="http://schemas.microsoft.com/office/drawing/2014/main" id="{B9C0D6BE-CB1C-4E69-B224-1ABF097AA8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90208" y="1647855"/>
              <a:ext cx="742415" cy="758173"/>
            </a:xfrm>
            <a:custGeom>
              <a:avLst/>
              <a:gdLst>
                <a:gd name="T0" fmla="*/ 75 w 1398"/>
                <a:gd name="T1" fmla="*/ 48 h 1428"/>
                <a:gd name="T2" fmla="*/ 68 w 1398"/>
                <a:gd name="T3" fmla="*/ 54 h 1428"/>
                <a:gd name="T4" fmla="*/ 57 w 1398"/>
                <a:gd name="T5" fmla="*/ 59 h 1428"/>
                <a:gd name="T6" fmla="*/ 55 w 1398"/>
                <a:gd name="T7" fmla="*/ 68 h 1428"/>
                <a:gd name="T8" fmla="*/ 55 w 1398"/>
                <a:gd name="T9" fmla="*/ 77 h 1428"/>
                <a:gd name="T10" fmla="*/ 57 w 1398"/>
                <a:gd name="T11" fmla="*/ 81 h 1428"/>
                <a:gd name="T12" fmla="*/ 56 w 1398"/>
                <a:gd name="T13" fmla="*/ 86 h 1428"/>
                <a:gd name="T14" fmla="*/ 57 w 1398"/>
                <a:gd name="T15" fmla="*/ 89 h 1428"/>
                <a:gd name="T16" fmla="*/ 58 w 1398"/>
                <a:gd name="T17" fmla="*/ 92 h 1428"/>
                <a:gd name="T18" fmla="*/ 58 w 1398"/>
                <a:gd name="T19" fmla="*/ 96 h 1428"/>
                <a:gd name="T20" fmla="*/ 49 w 1398"/>
                <a:gd name="T21" fmla="*/ 100 h 1428"/>
                <a:gd name="T22" fmla="*/ 47 w 1398"/>
                <a:gd name="T23" fmla="*/ 108 h 1428"/>
                <a:gd name="T24" fmla="*/ 48 w 1398"/>
                <a:gd name="T25" fmla="*/ 113 h 1428"/>
                <a:gd name="T26" fmla="*/ 43 w 1398"/>
                <a:gd name="T27" fmla="*/ 114 h 1428"/>
                <a:gd name="T28" fmla="*/ 39 w 1398"/>
                <a:gd name="T29" fmla="*/ 113 h 1428"/>
                <a:gd name="T30" fmla="*/ 33 w 1398"/>
                <a:gd name="T31" fmla="*/ 109 h 1428"/>
                <a:gd name="T32" fmla="*/ 29 w 1398"/>
                <a:gd name="T33" fmla="*/ 114 h 1428"/>
                <a:gd name="T34" fmla="*/ 22 w 1398"/>
                <a:gd name="T35" fmla="*/ 115 h 1428"/>
                <a:gd name="T36" fmla="*/ 21 w 1398"/>
                <a:gd name="T37" fmla="*/ 121 h 1428"/>
                <a:gd name="T38" fmla="*/ 12 w 1398"/>
                <a:gd name="T39" fmla="*/ 119 h 1428"/>
                <a:gd name="T40" fmla="*/ 9 w 1398"/>
                <a:gd name="T41" fmla="*/ 113 h 1428"/>
                <a:gd name="T42" fmla="*/ 2 w 1398"/>
                <a:gd name="T43" fmla="*/ 109 h 1428"/>
                <a:gd name="T44" fmla="*/ 4 w 1398"/>
                <a:gd name="T45" fmla="*/ 103 h 1428"/>
                <a:gd name="T46" fmla="*/ 2 w 1398"/>
                <a:gd name="T47" fmla="*/ 91 h 1428"/>
                <a:gd name="T48" fmla="*/ 6 w 1398"/>
                <a:gd name="T49" fmla="*/ 85 h 1428"/>
                <a:gd name="T50" fmla="*/ 10 w 1398"/>
                <a:gd name="T51" fmla="*/ 85 h 1428"/>
                <a:gd name="T52" fmla="*/ 15 w 1398"/>
                <a:gd name="T53" fmla="*/ 82 h 1428"/>
                <a:gd name="T54" fmla="*/ 20 w 1398"/>
                <a:gd name="T55" fmla="*/ 77 h 1428"/>
                <a:gd name="T56" fmla="*/ 16 w 1398"/>
                <a:gd name="T57" fmla="*/ 73 h 1428"/>
                <a:gd name="T58" fmla="*/ 16 w 1398"/>
                <a:gd name="T59" fmla="*/ 69 h 1428"/>
                <a:gd name="T60" fmla="*/ 14 w 1398"/>
                <a:gd name="T61" fmla="*/ 54 h 1428"/>
                <a:gd name="T62" fmla="*/ 12 w 1398"/>
                <a:gd name="T63" fmla="*/ 48 h 1428"/>
                <a:gd name="T64" fmla="*/ 11 w 1398"/>
                <a:gd name="T65" fmla="*/ 31 h 1428"/>
                <a:gd name="T66" fmla="*/ 14 w 1398"/>
                <a:gd name="T67" fmla="*/ 18 h 1428"/>
                <a:gd name="T68" fmla="*/ 19 w 1398"/>
                <a:gd name="T69" fmla="*/ 15 h 1428"/>
                <a:gd name="T70" fmla="*/ 26 w 1398"/>
                <a:gd name="T71" fmla="*/ 13 h 1428"/>
                <a:gd name="T72" fmla="*/ 34 w 1398"/>
                <a:gd name="T73" fmla="*/ 12 h 1428"/>
                <a:gd name="T74" fmla="*/ 39 w 1398"/>
                <a:gd name="T75" fmla="*/ 9 h 1428"/>
                <a:gd name="T76" fmla="*/ 43 w 1398"/>
                <a:gd name="T77" fmla="*/ 7 h 1428"/>
                <a:gd name="T78" fmla="*/ 48 w 1398"/>
                <a:gd name="T79" fmla="*/ 3 h 1428"/>
                <a:gd name="T80" fmla="*/ 54 w 1398"/>
                <a:gd name="T81" fmla="*/ 0 h 1428"/>
                <a:gd name="T82" fmla="*/ 58 w 1398"/>
                <a:gd name="T83" fmla="*/ 0 h 1428"/>
                <a:gd name="T84" fmla="*/ 66 w 1398"/>
                <a:gd name="T85" fmla="*/ 2 h 1428"/>
                <a:gd name="T86" fmla="*/ 70 w 1398"/>
                <a:gd name="T87" fmla="*/ 3 h 1428"/>
                <a:gd name="T88" fmla="*/ 75 w 1398"/>
                <a:gd name="T89" fmla="*/ 6 h 1428"/>
                <a:gd name="T90" fmla="*/ 80 w 1398"/>
                <a:gd name="T91" fmla="*/ 9 h 1428"/>
                <a:gd name="T92" fmla="*/ 83 w 1398"/>
                <a:gd name="T93" fmla="*/ 12 h 1428"/>
                <a:gd name="T94" fmla="*/ 87 w 1398"/>
                <a:gd name="T95" fmla="*/ 15 h 1428"/>
                <a:gd name="T96" fmla="*/ 94 w 1398"/>
                <a:gd name="T97" fmla="*/ 15 h 1428"/>
                <a:gd name="T98" fmla="*/ 99 w 1398"/>
                <a:gd name="T99" fmla="*/ 21 h 1428"/>
                <a:gd name="T100" fmla="*/ 103 w 1398"/>
                <a:gd name="T101" fmla="*/ 23 h 1428"/>
                <a:gd name="T102" fmla="*/ 110 w 1398"/>
                <a:gd name="T103" fmla="*/ 26 h 1428"/>
                <a:gd name="T104" fmla="*/ 116 w 1398"/>
                <a:gd name="T105" fmla="*/ 27 h 1428"/>
                <a:gd name="T106" fmla="*/ 120 w 1398"/>
                <a:gd name="T107" fmla="*/ 27 h 1428"/>
                <a:gd name="T108" fmla="*/ 116 w 1398"/>
                <a:gd name="T109" fmla="*/ 35 h 1428"/>
                <a:gd name="T110" fmla="*/ 104 w 1398"/>
                <a:gd name="T111" fmla="*/ 37 h 1428"/>
                <a:gd name="T112" fmla="*/ 97 w 1398"/>
                <a:gd name="T113" fmla="*/ 34 h 1428"/>
                <a:gd name="T114" fmla="*/ 91 w 1398"/>
                <a:gd name="T115" fmla="*/ 29 h 1428"/>
                <a:gd name="T116" fmla="*/ 75 w 1398"/>
                <a:gd name="T117" fmla="*/ 29 h 1428"/>
                <a:gd name="T118" fmla="*/ 72 w 1398"/>
                <a:gd name="T119" fmla="*/ 39 h 1428"/>
                <a:gd name="T120" fmla="*/ 80 w 1398"/>
                <a:gd name="T121" fmla="*/ 41 h 142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98"/>
                <a:gd name="T184" fmla="*/ 0 h 1428"/>
                <a:gd name="T185" fmla="*/ 1398 w 1398"/>
                <a:gd name="T186" fmla="*/ 1428 h 142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98" h="1428">
                  <a:moveTo>
                    <a:pt x="924" y="474"/>
                  </a:moveTo>
                  <a:lnTo>
                    <a:pt x="900" y="480"/>
                  </a:lnTo>
                  <a:lnTo>
                    <a:pt x="864" y="486"/>
                  </a:lnTo>
                  <a:lnTo>
                    <a:pt x="864" y="504"/>
                  </a:lnTo>
                  <a:lnTo>
                    <a:pt x="858" y="522"/>
                  </a:lnTo>
                  <a:lnTo>
                    <a:pt x="864" y="528"/>
                  </a:lnTo>
                  <a:lnTo>
                    <a:pt x="864" y="552"/>
                  </a:lnTo>
                  <a:lnTo>
                    <a:pt x="852" y="552"/>
                  </a:lnTo>
                  <a:lnTo>
                    <a:pt x="846" y="564"/>
                  </a:lnTo>
                  <a:lnTo>
                    <a:pt x="840" y="582"/>
                  </a:lnTo>
                  <a:lnTo>
                    <a:pt x="834" y="594"/>
                  </a:lnTo>
                  <a:lnTo>
                    <a:pt x="828" y="606"/>
                  </a:lnTo>
                  <a:lnTo>
                    <a:pt x="828" y="618"/>
                  </a:lnTo>
                  <a:lnTo>
                    <a:pt x="786" y="630"/>
                  </a:lnTo>
                  <a:lnTo>
                    <a:pt x="774" y="636"/>
                  </a:lnTo>
                  <a:lnTo>
                    <a:pt x="762" y="642"/>
                  </a:lnTo>
                  <a:lnTo>
                    <a:pt x="744" y="648"/>
                  </a:lnTo>
                  <a:lnTo>
                    <a:pt x="714" y="660"/>
                  </a:lnTo>
                  <a:lnTo>
                    <a:pt x="696" y="666"/>
                  </a:lnTo>
                  <a:lnTo>
                    <a:pt x="666" y="672"/>
                  </a:lnTo>
                  <a:lnTo>
                    <a:pt x="654" y="684"/>
                  </a:lnTo>
                  <a:lnTo>
                    <a:pt x="648" y="684"/>
                  </a:lnTo>
                  <a:lnTo>
                    <a:pt x="642" y="696"/>
                  </a:lnTo>
                  <a:lnTo>
                    <a:pt x="636" y="696"/>
                  </a:lnTo>
                  <a:lnTo>
                    <a:pt x="630" y="714"/>
                  </a:lnTo>
                  <a:lnTo>
                    <a:pt x="624" y="738"/>
                  </a:lnTo>
                  <a:lnTo>
                    <a:pt x="624" y="762"/>
                  </a:lnTo>
                  <a:lnTo>
                    <a:pt x="630" y="780"/>
                  </a:lnTo>
                  <a:lnTo>
                    <a:pt x="636" y="804"/>
                  </a:lnTo>
                  <a:lnTo>
                    <a:pt x="642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6" y="834"/>
                  </a:lnTo>
                  <a:lnTo>
                    <a:pt x="636" y="870"/>
                  </a:lnTo>
                  <a:lnTo>
                    <a:pt x="636" y="882"/>
                  </a:lnTo>
                  <a:lnTo>
                    <a:pt x="636" y="906"/>
                  </a:lnTo>
                  <a:lnTo>
                    <a:pt x="630" y="906"/>
                  </a:lnTo>
                  <a:lnTo>
                    <a:pt x="636" y="918"/>
                  </a:lnTo>
                  <a:lnTo>
                    <a:pt x="642" y="918"/>
                  </a:lnTo>
                  <a:lnTo>
                    <a:pt x="642" y="930"/>
                  </a:lnTo>
                  <a:lnTo>
                    <a:pt x="648" y="936"/>
                  </a:lnTo>
                  <a:lnTo>
                    <a:pt x="654" y="936"/>
                  </a:lnTo>
                  <a:lnTo>
                    <a:pt x="654" y="942"/>
                  </a:lnTo>
                  <a:lnTo>
                    <a:pt x="654" y="948"/>
                  </a:lnTo>
                  <a:lnTo>
                    <a:pt x="648" y="954"/>
                  </a:lnTo>
                  <a:lnTo>
                    <a:pt x="648" y="960"/>
                  </a:lnTo>
                  <a:lnTo>
                    <a:pt x="648" y="966"/>
                  </a:lnTo>
                  <a:lnTo>
                    <a:pt x="648" y="972"/>
                  </a:lnTo>
                  <a:lnTo>
                    <a:pt x="648" y="990"/>
                  </a:lnTo>
                  <a:lnTo>
                    <a:pt x="654" y="996"/>
                  </a:lnTo>
                  <a:lnTo>
                    <a:pt x="648" y="1002"/>
                  </a:lnTo>
                  <a:lnTo>
                    <a:pt x="648" y="1008"/>
                  </a:lnTo>
                  <a:lnTo>
                    <a:pt x="654" y="1014"/>
                  </a:lnTo>
                  <a:lnTo>
                    <a:pt x="654" y="1020"/>
                  </a:lnTo>
                  <a:lnTo>
                    <a:pt x="654" y="1026"/>
                  </a:lnTo>
                  <a:lnTo>
                    <a:pt x="660" y="1026"/>
                  </a:lnTo>
                  <a:lnTo>
                    <a:pt x="660" y="1032"/>
                  </a:lnTo>
                  <a:lnTo>
                    <a:pt x="660" y="1038"/>
                  </a:lnTo>
                  <a:lnTo>
                    <a:pt x="666" y="1044"/>
                  </a:lnTo>
                  <a:lnTo>
                    <a:pt x="672" y="1050"/>
                  </a:lnTo>
                  <a:lnTo>
                    <a:pt x="672" y="1056"/>
                  </a:lnTo>
                  <a:lnTo>
                    <a:pt x="672" y="1062"/>
                  </a:lnTo>
                  <a:lnTo>
                    <a:pt x="672" y="1068"/>
                  </a:lnTo>
                  <a:lnTo>
                    <a:pt x="672" y="1074"/>
                  </a:lnTo>
                  <a:lnTo>
                    <a:pt x="678" y="1074"/>
                  </a:lnTo>
                  <a:lnTo>
                    <a:pt x="678" y="1080"/>
                  </a:lnTo>
                  <a:lnTo>
                    <a:pt x="678" y="1086"/>
                  </a:lnTo>
                  <a:lnTo>
                    <a:pt x="672" y="1092"/>
                  </a:lnTo>
                  <a:lnTo>
                    <a:pt x="672" y="1098"/>
                  </a:lnTo>
                  <a:lnTo>
                    <a:pt x="672" y="1104"/>
                  </a:lnTo>
                  <a:lnTo>
                    <a:pt x="666" y="1116"/>
                  </a:lnTo>
                  <a:lnTo>
                    <a:pt x="624" y="1122"/>
                  </a:lnTo>
                  <a:lnTo>
                    <a:pt x="576" y="1134"/>
                  </a:lnTo>
                  <a:lnTo>
                    <a:pt x="570" y="1140"/>
                  </a:lnTo>
                  <a:lnTo>
                    <a:pt x="570" y="1146"/>
                  </a:lnTo>
                  <a:lnTo>
                    <a:pt x="564" y="1146"/>
                  </a:lnTo>
                  <a:lnTo>
                    <a:pt x="564" y="1152"/>
                  </a:lnTo>
                  <a:lnTo>
                    <a:pt x="564" y="1164"/>
                  </a:lnTo>
                  <a:lnTo>
                    <a:pt x="564" y="1170"/>
                  </a:lnTo>
                  <a:lnTo>
                    <a:pt x="564" y="1176"/>
                  </a:lnTo>
                  <a:lnTo>
                    <a:pt x="546" y="1176"/>
                  </a:lnTo>
                  <a:lnTo>
                    <a:pt x="540" y="1212"/>
                  </a:lnTo>
                  <a:lnTo>
                    <a:pt x="540" y="1230"/>
                  </a:lnTo>
                  <a:lnTo>
                    <a:pt x="546" y="1242"/>
                  </a:lnTo>
                  <a:lnTo>
                    <a:pt x="546" y="1254"/>
                  </a:lnTo>
                  <a:lnTo>
                    <a:pt x="558" y="1266"/>
                  </a:lnTo>
                  <a:lnTo>
                    <a:pt x="576" y="1272"/>
                  </a:lnTo>
                  <a:lnTo>
                    <a:pt x="570" y="1278"/>
                  </a:lnTo>
                  <a:lnTo>
                    <a:pt x="576" y="1284"/>
                  </a:lnTo>
                  <a:lnTo>
                    <a:pt x="570" y="1296"/>
                  </a:lnTo>
                  <a:lnTo>
                    <a:pt x="558" y="1302"/>
                  </a:lnTo>
                  <a:lnTo>
                    <a:pt x="540" y="1308"/>
                  </a:lnTo>
                  <a:lnTo>
                    <a:pt x="522" y="1314"/>
                  </a:lnTo>
                  <a:lnTo>
                    <a:pt x="516" y="1314"/>
                  </a:lnTo>
                  <a:lnTo>
                    <a:pt x="510" y="1314"/>
                  </a:lnTo>
                  <a:lnTo>
                    <a:pt x="504" y="1314"/>
                  </a:lnTo>
                  <a:lnTo>
                    <a:pt x="498" y="1320"/>
                  </a:lnTo>
                  <a:lnTo>
                    <a:pt x="492" y="1320"/>
                  </a:lnTo>
                  <a:lnTo>
                    <a:pt x="492" y="1326"/>
                  </a:lnTo>
                  <a:lnTo>
                    <a:pt x="486" y="1326"/>
                  </a:lnTo>
                  <a:lnTo>
                    <a:pt x="480" y="1326"/>
                  </a:lnTo>
                  <a:lnTo>
                    <a:pt x="480" y="1320"/>
                  </a:lnTo>
                  <a:lnTo>
                    <a:pt x="468" y="1314"/>
                  </a:lnTo>
                  <a:lnTo>
                    <a:pt x="462" y="1308"/>
                  </a:lnTo>
                  <a:lnTo>
                    <a:pt x="456" y="1302"/>
                  </a:lnTo>
                  <a:lnTo>
                    <a:pt x="444" y="1296"/>
                  </a:lnTo>
                  <a:lnTo>
                    <a:pt x="420" y="1290"/>
                  </a:lnTo>
                  <a:lnTo>
                    <a:pt x="414" y="1278"/>
                  </a:lnTo>
                  <a:lnTo>
                    <a:pt x="408" y="1278"/>
                  </a:lnTo>
                  <a:lnTo>
                    <a:pt x="408" y="1266"/>
                  </a:lnTo>
                  <a:lnTo>
                    <a:pt x="402" y="1260"/>
                  </a:lnTo>
                  <a:lnTo>
                    <a:pt x="384" y="1260"/>
                  </a:lnTo>
                  <a:lnTo>
                    <a:pt x="372" y="1266"/>
                  </a:lnTo>
                  <a:lnTo>
                    <a:pt x="360" y="1272"/>
                  </a:lnTo>
                  <a:lnTo>
                    <a:pt x="348" y="1272"/>
                  </a:lnTo>
                  <a:lnTo>
                    <a:pt x="342" y="1284"/>
                  </a:lnTo>
                  <a:lnTo>
                    <a:pt x="336" y="1290"/>
                  </a:lnTo>
                  <a:lnTo>
                    <a:pt x="336" y="1308"/>
                  </a:lnTo>
                  <a:lnTo>
                    <a:pt x="336" y="1314"/>
                  </a:lnTo>
                  <a:lnTo>
                    <a:pt x="336" y="1320"/>
                  </a:lnTo>
                  <a:lnTo>
                    <a:pt x="330" y="1326"/>
                  </a:lnTo>
                  <a:lnTo>
                    <a:pt x="330" y="1332"/>
                  </a:lnTo>
                  <a:lnTo>
                    <a:pt x="330" y="1338"/>
                  </a:lnTo>
                  <a:lnTo>
                    <a:pt x="300" y="1338"/>
                  </a:lnTo>
                  <a:lnTo>
                    <a:pt x="288" y="1338"/>
                  </a:lnTo>
                  <a:lnTo>
                    <a:pt x="258" y="1326"/>
                  </a:lnTo>
                  <a:lnTo>
                    <a:pt x="246" y="1332"/>
                  </a:lnTo>
                  <a:lnTo>
                    <a:pt x="240" y="1338"/>
                  </a:lnTo>
                  <a:lnTo>
                    <a:pt x="234" y="1338"/>
                  </a:lnTo>
                  <a:lnTo>
                    <a:pt x="228" y="1350"/>
                  </a:lnTo>
                  <a:lnTo>
                    <a:pt x="228" y="1374"/>
                  </a:lnTo>
                  <a:lnTo>
                    <a:pt x="234" y="1392"/>
                  </a:lnTo>
                  <a:lnTo>
                    <a:pt x="246" y="1398"/>
                  </a:lnTo>
                  <a:lnTo>
                    <a:pt x="246" y="1410"/>
                  </a:lnTo>
                  <a:lnTo>
                    <a:pt x="216" y="1428"/>
                  </a:lnTo>
                  <a:lnTo>
                    <a:pt x="198" y="1428"/>
                  </a:lnTo>
                  <a:lnTo>
                    <a:pt x="192" y="1422"/>
                  </a:lnTo>
                  <a:lnTo>
                    <a:pt x="174" y="1410"/>
                  </a:lnTo>
                  <a:lnTo>
                    <a:pt x="156" y="1386"/>
                  </a:lnTo>
                  <a:lnTo>
                    <a:pt x="132" y="1374"/>
                  </a:lnTo>
                  <a:lnTo>
                    <a:pt x="108" y="1368"/>
                  </a:lnTo>
                  <a:lnTo>
                    <a:pt x="84" y="1368"/>
                  </a:lnTo>
                  <a:lnTo>
                    <a:pt x="96" y="1356"/>
                  </a:lnTo>
                  <a:lnTo>
                    <a:pt x="102" y="1344"/>
                  </a:lnTo>
                  <a:lnTo>
                    <a:pt x="102" y="1332"/>
                  </a:lnTo>
                  <a:lnTo>
                    <a:pt x="108" y="1320"/>
                  </a:lnTo>
                  <a:lnTo>
                    <a:pt x="108" y="1302"/>
                  </a:lnTo>
                  <a:lnTo>
                    <a:pt x="96" y="1278"/>
                  </a:lnTo>
                  <a:lnTo>
                    <a:pt x="66" y="1284"/>
                  </a:lnTo>
                  <a:lnTo>
                    <a:pt x="54" y="1278"/>
                  </a:lnTo>
                  <a:lnTo>
                    <a:pt x="36" y="1278"/>
                  </a:lnTo>
                  <a:lnTo>
                    <a:pt x="18" y="1284"/>
                  </a:lnTo>
                  <a:lnTo>
                    <a:pt x="18" y="1272"/>
                  </a:lnTo>
                  <a:lnTo>
                    <a:pt x="24" y="1260"/>
                  </a:lnTo>
                  <a:lnTo>
                    <a:pt x="24" y="1254"/>
                  </a:lnTo>
                  <a:lnTo>
                    <a:pt x="30" y="1248"/>
                  </a:lnTo>
                  <a:lnTo>
                    <a:pt x="24" y="1230"/>
                  </a:lnTo>
                  <a:lnTo>
                    <a:pt x="30" y="1218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30" y="1170"/>
                  </a:lnTo>
                  <a:lnTo>
                    <a:pt x="30" y="1152"/>
                  </a:lnTo>
                  <a:lnTo>
                    <a:pt x="24" y="1146"/>
                  </a:lnTo>
                  <a:lnTo>
                    <a:pt x="0" y="1116"/>
                  </a:lnTo>
                  <a:lnTo>
                    <a:pt x="6" y="1092"/>
                  </a:lnTo>
                  <a:lnTo>
                    <a:pt x="18" y="1056"/>
                  </a:lnTo>
                  <a:lnTo>
                    <a:pt x="24" y="1050"/>
                  </a:lnTo>
                  <a:lnTo>
                    <a:pt x="24" y="1038"/>
                  </a:lnTo>
                  <a:lnTo>
                    <a:pt x="24" y="1026"/>
                  </a:lnTo>
                  <a:lnTo>
                    <a:pt x="30" y="1002"/>
                  </a:lnTo>
                  <a:lnTo>
                    <a:pt x="36" y="990"/>
                  </a:lnTo>
                  <a:lnTo>
                    <a:pt x="42" y="984"/>
                  </a:lnTo>
                  <a:lnTo>
                    <a:pt x="54" y="984"/>
                  </a:lnTo>
                  <a:lnTo>
                    <a:pt x="66" y="978"/>
                  </a:lnTo>
                  <a:lnTo>
                    <a:pt x="72" y="978"/>
                  </a:lnTo>
                  <a:lnTo>
                    <a:pt x="90" y="978"/>
                  </a:lnTo>
                  <a:lnTo>
                    <a:pt x="102" y="972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78"/>
                  </a:lnTo>
                  <a:lnTo>
                    <a:pt x="120" y="984"/>
                  </a:lnTo>
                  <a:lnTo>
                    <a:pt x="138" y="984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6" y="972"/>
                  </a:lnTo>
                  <a:lnTo>
                    <a:pt x="156" y="966"/>
                  </a:lnTo>
                  <a:lnTo>
                    <a:pt x="156" y="960"/>
                  </a:lnTo>
                  <a:lnTo>
                    <a:pt x="180" y="948"/>
                  </a:lnTo>
                  <a:lnTo>
                    <a:pt x="186" y="924"/>
                  </a:lnTo>
                  <a:lnTo>
                    <a:pt x="192" y="918"/>
                  </a:lnTo>
                  <a:lnTo>
                    <a:pt x="228" y="924"/>
                  </a:lnTo>
                  <a:lnTo>
                    <a:pt x="246" y="906"/>
                  </a:lnTo>
                  <a:lnTo>
                    <a:pt x="240" y="888"/>
                  </a:lnTo>
                  <a:lnTo>
                    <a:pt x="234" y="888"/>
                  </a:lnTo>
                  <a:lnTo>
                    <a:pt x="234" y="882"/>
                  </a:lnTo>
                  <a:lnTo>
                    <a:pt x="228" y="870"/>
                  </a:lnTo>
                  <a:lnTo>
                    <a:pt x="228" y="864"/>
                  </a:lnTo>
                  <a:lnTo>
                    <a:pt x="222" y="864"/>
                  </a:lnTo>
                  <a:lnTo>
                    <a:pt x="216" y="858"/>
                  </a:lnTo>
                  <a:lnTo>
                    <a:pt x="198" y="852"/>
                  </a:lnTo>
                  <a:lnTo>
                    <a:pt x="192" y="852"/>
                  </a:lnTo>
                  <a:lnTo>
                    <a:pt x="186" y="846"/>
                  </a:lnTo>
                  <a:lnTo>
                    <a:pt x="174" y="834"/>
                  </a:lnTo>
                  <a:lnTo>
                    <a:pt x="162" y="822"/>
                  </a:lnTo>
                  <a:lnTo>
                    <a:pt x="156" y="816"/>
                  </a:lnTo>
                  <a:lnTo>
                    <a:pt x="162" y="810"/>
                  </a:lnTo>
                  <a:lnTo>
                    <a:pt x="174" y="798"/>
                  </a:lnTo>
                  <a:lnTo>
                    <a:pt x="180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68"/>
                  </a:lnTo>
                  <a:lnTo>
                    <a:pt x="192" y="744"/>
                  </a:lnTo>
                  <a:lnTo>
                    <a:pt x="186" y="708"/>
                  </a:lnTo>
                  <a:lnTo>
                    <a:pt x="174" y="690"/>
                  </a:lnTo>
                  <a:lnTo>
                    <a:pt x="168" y="672"/>
                  </a:lnTo>
                  <a:lnTo>
                    <a:pt x="156" y="630"/>
                  </a:lnTo>
                  <a:lnTo>
                    <a:pt x="156" y="606"/>
                  </a:lnTo>
                  <a:lnTo>
                    <a:pt x="150" y="606"/>
                  </a:lnTo>
                  <a:lnTo>
                    <a:pt x="150" y="600"/>
                  </a:lnTo>
                  <a:lnTo>
                    <a:pt x="144" y="600"/>
                  </a:lnTo>
                  <a:lnTo>
                    <a:pt x="150" y="594"/>
                  </a:lnTo>
                  <a:lnTo>
                    <a:pt x="144" y="588"/>
                  </a:lnTo>
                  <a:lnTo>
                    <a:pt x="138" y="558"/>
                  </a:lnTo>
                  <a:lnTo>
                    <a:pt x="138" y="528"/>
                  </a:lnTo>
                  <a:lnTo>
                    <a:pt x="132" y="480"/>
                  </a:lnTo>
                  <a:lnTo>
                    <a:pt x="132" y="462"/>
                  </a:lnTo>
                  <a:lnTo>
                    <a:pt x="126" y="426"/>
                  </a:lnTo>
                  <a:lnTo>
                    <a:pt x="126" y="396"/>
                  </a:lnTo>
                  <a:lnTo>
                    <a:pt x="126" y="378"/>
                  </a:lnTo>
                  <a:lnTo>
                    <a:pt x="126" y="360"/>
                  </a:lnTo>
                  <a:lnTo>
                    <a:pt x="132" y="318"/>
                  </a:lnTo>
                  <a:lnTo>
                    <a:pt x="132" y="24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2" y="210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92" y="198"/>
                  </a:lnTo>
                  <a:lnTo>
                    <a:pt x="198" y="198"/>
                  </a:lnTo>
                  <a:lnTo>
                    <a:pt x="216" y="180"/>
                  </a:lnTo>
                  <a:lnTo>
                    <a:pt x="222" y="174"/>
                  </a:lnTo>
                  <a:lnTo>
                    <a:pt x="222" y="168"/>
                  </a:lnTo>
                  <a:lnTo>
                    <a:pt x="228" y="168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44"/>
                  </a:lnTo>
                  <a:lnTo>
                    <a:pt x="258" y="144"/>
                  </a:lnTo>
                  <a:lnTo>
                    <a:pt x="276" y="150"/>
                  </a:lnTo>
                  <a:lnTo>
                    <a:pt x="300" y="150"/>
                  </a:lnTo>
                  <a:lnTo>
                    <a:pt x="312" y="150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8" y="156"/>
                  </a:lnTo>
                  <a:lnTo>
                    <a:pt x="354" y="150"/>
                  </a:lnTo>
                  <a:lnTo>
                    <a:pt x="372" y="144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08" y="126"/>
                  </a:lnTo>
                  <a:lnTo>
                    <a:pt x="414" y="120"/>
                  </a:lnTo>
                  <a:lnTo>
                    <a:pt x="420" y="120"/>
                  </a:lnTo>
                  <a:lnTo>
                    <a:pt x="426" y="120"/>
                  </a:lnTo>
                  <a:lnTo>
                    <a:pt x="432" y="114"/>
                  </a:lnTo>
                  <a:lnTo>
                    <a:pt x="450" y="102"/>
                  </a:lnTo>
                  <a:lnTo>
                    <a:pt x="456" y="96"/>
                  </a:lnTo>
                  <a:lnTo>
                    <a:pt x="468" y="90"/>
                  </a:lnTo>
                  <a:lnTo>
                    <a:pt x="474" y="90"/>
                  </a:lnTo>
                  <a:lnTo>
                    <a:pt x="480" y="84"/>
                  </a:lnTo>
                  <a:lnTo>
                    <a:pt x="486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504" y="72"/>
                  </a:lnTo>
                  <a:lnTo>
                    <a:pt x="510" y="66"/>
                  </a:lnTo>
                  <a:lnTo>
                    <a:pt x="516" y="66"/>
                  </a:lnTo>
                  <a:lnTo>
                    <a:pt x="522" y="60"/>
                  </a:lnTo>
                  <a:lnTo>
                    <a:pt x="552" y="42"/>
                  </a:lnTo>
                  <a:lnTo>
                    <a:pt x="558" y="36"/>
                  </a:lnTo>
                  <a:lnTo>
                    <a:pt x="576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94" y="18"/>
                  </a:lnTo>
                  <a:lnTo>
                    <a:pt x="600" y="12"/>
                  </a:lnTo>
                  <a:lnTo>
                    <a:pt x="612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6"/>
                  </a:lnTo>
                  <a:lnTo>
                    <a:pt x="648" y="6"/>
                  </a:lnTo>
                  <a:lnTo>
                    <a:pt x="660" y="6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38" y="18"/>
                  </a:lnTo>
                  <a:lnTo>
                    <a:pt x="744" y="18"/>
                  </a:lnTo>
                  <a:lnTo>
                    <a:pt x="756" y="18"/>
                  </a:lnTo>
                  <a:lnTo>
                    <a:pt x="762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80" y="24"/>
                  </a:lnTo>
                  <a:lnTo>
                    <a:pt x="792" y="24"/>
                  </a:lnTo>
                  <a:lnTo>
                    <a:pt x="792" y="30"/>
                  </a:lnTo>
                  <a:lnTo>
                    <a:pt x="810" y="30"/>
                  </a:lnTo>
                  <a:lnTo>
                    <a:pt x="822" y="36"/>
                  </a:lnTo>
                  <a:lnTo>
                    <a:pt x="834" y="42"/>
                  </a:lnTo>
                  <a:lnTo>
                    <a:pt x="840" y="48"/>
                  </a:lnTo>
                  <a:lnTo>
                    <a:pt x="846" y="54"/>
                  </a:lnTo>
                  <a:lnTo>
                    <a:pt x="852" y="60"/>
                  </a:lnTo>
                  <a:lnTo>
                    <a:pt x="858" y="66"/>
                  </a:lnTo>
                  <a:lnTo>
                    <a:pt x="864" y="66"/>
                  </a:lnTo>
                  <a:lnTo>
                    <a:pt x="864" y="72"/>
                  </a:lnTo>
                  <a:lnTo>
                    <a:pt x="876" y="78"/>
                  </a:lnTo>
                  <a:lnTo>
                    <a:pt x="900" y="84"/>
                  </a:lnTo>
                  <a:lnTo>
                    <a:pt x="906" y="90"/>
                  </a:lnTo>
                  <a:lnTo>
                    <a:pt x="912" y="90"/>
                  </a:lnTo>
                  <a:lnTo>
                    <a:pt x="912" y="96"/>
                  </a:lnTo>
                  <a:lnTo>
                    <a:pt x="924" y="108"/>
                  </a:lnTo>
                  <a:lnTo>
                    <a:pt x="930" y="108"/>
                  </a:lnTo>
                  <a:lnTo>
                    <a:pt x="936" y="114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60" y="138"/>
                  </a:lnTo>
                  <a:lnTo>
                    <a:pt x="966" y="144"/>
                  </a:lnTo>
                  <a:lnTo>
                    <a:pt x="972" y="156"/>
                  </a:lnTo>
                  <a:lnTo>
                    <a:pt x="978" y="162"/>
                  </a:lnTo>
                  <a:lnTo>
                    <a:pt x="984" y="162"/>
                  </a:lnTo>
                  <a:lnTo>
                    <a:pt x="990" y="168"/>
                  </a:lnTo>
                  <a:lnTo>
                    <a:pt x="996" y="174"/>
                  </a:lnTo>
                  <a:lnTo>
                    <a:pt x="1002" y="180"/>
                  </a:lnTo>
                  <a:lnTo>
                    <a:pt x="1008" y="180"/>
                  </a:lnTo>
                  <a:lnTo>
                    <a:pt x="1020" y="180"/>
                  </a:lnTo>
                  <a:lnTo>
                    <a:pt x="1038" y="174"/>
                  </a:lnTo>
                  <a:lnTo>
                    <a:pt x="1050" y="174"/>
                  </a:lnTo>
                  <a:lnTo>
                    <a:pt x="1056" y="174"/>
                  </a:lnTo>
                  <a:lnTo>
                    <a:pt x="1068" y="180"/>
                  </a:lnTo>
                  <a:lnTo>
                    <a:pt x="1080" y="180"/>
                  </a:lnTo>
                  <a:lnTo>
                    <a:pt x="1086" y="186"/>
                  </a:lnTo>
                  <a:lnTo>
                    <a:pt x="1098" y="192"/>
                  </a:lnTo>
                  <a:lnTo>
                    <a:pt x="1116" y="204"/>
                  </a:lnTo>
                  <a:lnTo>
                    <a:pt x="1122" y="210"/>
                  </a:lnTo>
                  <a:lnTo>
                    <a:pt x="1134" y="222"/>
                  </a:lnTo>
                  <a:lnTo>
                    <a:pt x="1146" y="234"/>
                  </a:lnTo>
                  <a:lnTo>
                    <a:pt x="1146" y="240"/>
                  </a:lnTo>
                  <a:lnTo>
                    <a:pt x="1152" y="246"/>
                  </a:lnTo>
                  <a:lnTo>
                    <a:pt x="1152" y="252"/>
                  </a:lnTo>
                  <a:lnTo>
                    <a:pt x="1152" y="258"/>
                  </a:lnTo>
                  <a:lnTo>
                    <a:pt x="1164" y="258"/>
                  </a:lnTo>
                  <a:lnTo>
                    <a:pt x="1170" y="264"/>
                  </a:lnTo>
                  <a:lnTo>
                    <a:pt x="1182" y="270"/>
                  </a:lnTo>
                  <a:lnTo>
                    <a:pt x="1188" y="270"/>
                  </a:lnTo>
                  <a:lnTo>
                    <a:pt x="1194" y="270"/>
                  </a:lnTo>
                  <a:lnTo>
                    <a:pt x="1206" y="276"/>
                  </a:lnTo>
                  <a:lnTo>
                    <a:pt x="1224" y="282"/>
                  </a:lnTo>
                  <a:lnTo>
                    <a:pt x="1236" y="282"/>
                  </a:lnTo>
                  <a:lnTo>
                    <a:pt x="1242" y="288"/>
                  </a:lnTo>
                  <a:lnTo>
                    <a:pt x="1254" y="288"/>
                  </a:lnTo>
                  <a:lnTo>
                    <a:pt x="1266" y="294"/>
                  </a:lnTo>
                  <a:lnTo>
                    <a:pt x="1272" y="294"/>
                  </a:lnTo>
                  <a:lnTo>
                    <a:pt x="1284" y="300"/>
                  </a:lnTo>
                  <a:lnTo>
                    <a:pt x="1290" y="300"/>
                  </a:lnTo>
                  <a:lnTo>
                    <a:pt x="1296" y="300"/>
                  </a:lnTo>
                  <a:lnTo>
                    <a:pt x="1302" y="306"/>
                  </a:lnTo>
                  <a:lnTo>
                    <a:pt x="1326" y="312"/>
                  </a:lnTo>
                  <a:lnTo>
                    <a:pt x="1338" y="312"/>
                  </a:lnTo>
                  <a:lnTo>
                    <a:pt x="1338" y="318"/>
                  </a:lnTo>
                  <a:lnTo>
                    <a:pt x="1344" y="318"/>
                  </a:lnTo>
                  <a:lnTo>
                    <a:pt x="1350" y="318"/>
                  </a:lnTo>
                  <a:lnTo>
                    <a:pt x="1362" y="324"/>
                  </a:lnTo>
                  <a:lnTo>
                    <a:pt x="1368" y="318"/>
                  </a:lnTo>
                  <a:lnTo>
                    <a:pt x="1374" y="318"/>
                  </a:lnTo>
                  <a:lnTo>
                    <a:pt x="1386" y="318"/>
                  </a:lnTo>
                  <a:lnTo>
                    <a:pt x="1398" y="324"/>
                  </a:lnTo>
                  <a:lnTo>
                    <a:pt x="1398" y="342"/>
                  </a:lnTo>
                  <a:lnTo>
                    <a:pt x="1356" y="342"/>
                  </a:lnTo>
                  <a:lnTo>
                    <a:pt x="1350" y="348"/>
                  </a:lnTo>
                  <a:lnTo>
                    <a:pt x="1350" y="372"/>
                  </a:lnTo>
                  <a:lnTo>
                    <a:pt x="1338" y="384"/>
                  </a:lnTo>
                  <a:lnTo>
                    <a:pt x="1332" y="408"/>
                  </a:lnTo>
                  <a:lnTo>
                    <a:pt x="1320" y="420"/>
                  </a:lnTo>
                  <a:lnTo>
                    <a:pt x="1254" y="426"/>
                  </a:lnTo>
                  <a:lnTo>
                    <a:pt x="1248" y="432"/>
                  </a:lnTo>
                  <a:lnTo>
                    <a:pt x="1230" y="432"/>
                  </a:lnTo>
                  <a:lnTo>
                    <a:pt x="1212" y="432"/>
                  </a:lnTo>
                  <a:lnTo>
                    <a:pt x="1212" y="426"/>
                  </a:lnTo>
                  <a:lnTo>
                    <a:pt x="1200" y="426"/>
                  </a:lnTo>
                  <a:lnTo>
                    <a:pt x="1182" y="414"/>
                  </a:lnTo>
                  <a:lnTo>
                    <a:pt x="1182" y="420"/>
                  </a:lnTo>
                  <a:lnTo>
                    <a:pt x="1164" y="420"/>
                  </a:lnTo>
                  <a:lnTo>
                    <a:pt x="1158" y="414"/>
                  </a:lnTo>
                  <a:lnTo>
                    <a:pt x="1152" y="408"/>
                  </a:lnTo>
                  <a:lnTo>
                    <a:pt x="1146" y="402"/>
                  </a:lnTo>
                  <a:lnTo>
                    <a:pt x="1122" y="396"/>
                  </a:lnTo>
                  <a:lnTo>
                    <a:pt x="1116" y="366"/>
                  </a:lnTo>
                  <a:lnTo>
                    <a:pt x="1116" y="348"/>
                  </a:lnTo>
                  <a:lnTo>
                    <a:pt x="1110" y="342"/>
                  </a:lnTo>
                  <a:lnTo>
                    <a:pt x="1104" y="336"/>
                  </a:lnTo>
                  <a:lnTo>
                    <a:pt x="1092" y="330"/>
                  </a:lnTo>
                  <a:lnTo>
                    <a:pt x="1074" y="330"/>
                  </a:lnTo>
                  <a:lnTo>
                    <a:pt x="1044" y="330"/>
                  </a:lnTo>
                  <a:lnTo>
                    <a:pt x="1014" y="336"/>
                  </a:lnTo>
                  <a:lnTo>
                    <a:pt x="984" y="342"/>
                  </a:lnTo>
                  <a:lnTo>
                    <a:pt x="978" y="330"/>
                  </a:lnTo>
                  <a:lnTo>
                    <a:pt x="966" y="324"/>
                  </a:lnTo>
                  <a:lnTo>
                    <a:pt x="888" y="336"/>
                  </a:lnTo>
                  <a:lnTo>
                    <a:pt x="888" y="330"/>
                  </a:lnTo>
                  <a:lnTo>
                    <a:pt x="870" y="336"/>
                  </a:lnTo>
                  <a:lnTo>
                    <a:pt x="858" y="336"/>
                  </a:lnTo>
                  <a:lnTo>
                    <a:pt x="852" y="354"/>
                  </a:lnTo>
                  <a:lnTo>
                    <a:pt x="852" y="402"/>
                  </a:lnTo>
                  <a:lnTo>
                    <a:pt x="840" y="414"/>
                  </a:lnTo>
                  <a:lnTo>
                    <a:pt x="834" y="420"/>
                  </a:lnTo>
                  <a:lnTo>
                    <a:pt x="834" y="444"/>
                  </a:lnTo>
                  <a:lnTo>
                    <a:pt x="834" y="450"/>
                  </a:lnTo>
                  <a:lnTo>
                    <a:pt x="852" y="456"/>
                  </a:lnTo>
                  <a:lnTo>
                    <a:pt x="864" y="462"/>
                  </a:lnTo>
                  <a:lnTo>
                    <a:pt x="894" y="456"/>
                  </a:lnTo>
                  <a:lnTo>
                    <a:pt x="900" y="468"/>
                  </a:lnTo>
                  <a:lnTo>
                    <a:pt x="918" y="462"/>
                  </a:lnTo>
                  <a:lnTo>
                    <a:pt x="924" y="468"/>
                  </a:lnTo>
                  <a:lnTo>
                    <a:pt x="924" y="47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2" name="Freeform 37">
              <a:extLst>
                <a:ext uri="{FF2B5EF4-FFF2-40B4-BE49-F238E27FC236}">
                  <a16:creationId xmlns:a16="http://schemas.microsoft.com/office/drawing/2014/main" id="{DED8A1FF-B656-4D37-BD26-5B0A7B1A4A6D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441" y="1898343"/>
              <a:ext cx="567992" cy="686605"/>
            </a:xfrm>
            <a:custGeom>
              <a:avLst/>
              <a:gdLst>
                <a:gd name="T0" fmla="*/ 79 w 1068"/>
                <a:gd name="T1" fmla="*/ 72 h 1290"/>
                <a:gd name="T2" fmla="*/ 75 w 1068"/>
                <a:gd name="T3" fmla="*/ 73 h 1290"/>
                <a:gd name="T4" fmla="*/ 72 w 1068"/>
                <a:gd name="T5" fmla="*/ 76 h 1290"/>
                <a:gd name="T6" fmla="*/ 70 w 1068"/>
                <a:gd name="T7" fmla="*/ 78 h 1290"/>
                <a:gd name="T8" fmla="*/ 67 w 1068"/>
                <a:gd name="T9" fmla="*/ 82 h 1290"/>
                <a:gd name="T10" fmla="*/ 61 w 1068"/>
                <a:gd name="T11" fmla="*/ 86 h 1290"/>
                <a:gd name="T12" fmla="*/ 60 w 1068"/>
                <a:gd name="T13" fmla="*/ 93 h 1290"/>
                <a:gd name="T14" fmla="*/ 59 w 1068"/>
                <a:gd name="T15" fmla="*/ 97 h 1290"/>
                <a:gd name="T16" fmla="*/ 61 w 1068"/>
                <a:gd name="T17" fmla="*/ 101 h 1290"/>
                <a:gd name="T18" fmla="*/ 63 w 1068"/>
                <a:gd name="T19" fmla="*/ 104 h 1290"/>
                <a:gd name="T20" fmla="*/ 62 w 1068"/>
                <a:gd name="T21" fmla="*/ 108 h 1290"/>
                <a:gd name="T22" fmla="*/ 60 w 1068"/>
                <a:gd name="T23" fmla="*/ 111 h 1290"/>
                <a:gd name="T24" fmla="*/ 56 w 1068"/>
                <a:gd name="T25" fmla="*/ 111 h 1290"/>
                <a:gd name="T26" fmla="*/ 53 w 1068"/>
                <a:gd name="T27" fmla="*/ 110 h 1290"/>
                <a:gd name="T28" fmla="*/ 50 w 1068"/>
                <a:gd name="T29" fmla="*/ 109 h 1290"/>
                <a:gd name="T30" fmla="*/ 47 w 1068"/>
                <a:gd name="T31" fmla="*/ 110 h 1290"/>
                <a:gd name="T32" fmla="*/ 51 w 1068"/>
                <a:gd name="T33" fmla="*/ 104 h 1290"/>
                <a:gd name="T34" fmla="*/ 50 w 1068"/>
                <a:gd name="T35" fmla="*/ 95 h 1290"/>
                <a:gd name="T36" fmla="*/ 51 w 1068"/>
                <a:gd name="T37" fmla="*/ 90 h 1290"/>
                <a:gd name="T38" fmla="*/ 47 w 1068"/>
                <a:gd name="T39" fmla="*/ 84 h 1290"/>
                <a:gd name="T40" fmla="*/ 42 w 1068"/>
                <a:gd name="T41" fmla="*/ 78 h 1290"/>
                <a:gd name="T42" fmla="*/ 33 w 1068"/>
                <a:gd name="T43" fmla="*/ 73 h 1290"/>
                <a:gd name="T44" fmla="*/ 26 w 1068"/>
                <a:gd name="T45" fmla="*/ 68 h 1290"/>
                <a:gd name="T46" fmla="*/ 22 w 1068"/>
                <a:gd name="T47" fmla="*/ 63 h 1290"/>
                <a:gd name="T48" fmla="*/ 11 w 1068"/>
                <a:gd name="T49" fmla="*/ 67 h 1290"/>
                <a:gd name="T50" fmla="*/ 0 w 1068"/>
                <a:gd name="T51" fmla="*/ 68 h 1290"/>
                <a:gd name="T52" fmla="*/ 2 w 1068"/>
                <a:gd name="T53" fmla="*/ 59 h 1290"/>
                <a:gd name="T54" fmla="*/ 12 w 1068"/>
                <a:gd name="T55" fmla="*/ 55 h 1290"/>
                <a:gd name="T56" fmla="*/ 12 w 1068"/>
                <a:gd name="T57" fmla="*/ 51 h 1290"/>
                <a:gd name="T58" fmla="*/ 10 w 1068"/>
                <a:gd name="T59" fmla="*/ 47 h 1290"/>
                <a:gd name="T60" fmla="*/ 9 w 1068"/>
                <a:gd name="T61" fmla="*/ 42 h 1290"/>
                <a:gd name="T62" fmla="*/ 8 w 1068"/>
                <a:gd name="T63" fmla="*/ 38 h 1290"/>
                <a:gd name="T64" fmla="*/ 8 w 1068"/>
                <a:gd name="T65" fmla="*/ 29 h 1290"/>
                <a:gd name="T66" fmla="*/ 10 w 1068"/>
                <a:gd name="T67" fmla="*/ 18 h 1290"/>
                <a:gd name="T68" fmla="*/ 25 w 1068"/>
                <a:gd name="T69" fmla="*/ 12 h 1290"/>
                <a:gd name="T70" fmla="*/ 27 w 1068"/>
                <a:gd name="T71" fmla="*/ 4 h 1290"/>
                <a:gd name="T72" fmla="*/ 35 w 1068"/>
                <a:gd name="T73" fmla="*/ 6 h 1290"/>
                <a:gd name="T74" fmla="*/ 39 w 1068"/>
                <a:gd name="T75" fmla="*/ 8 h 1290"/>
                <a:gd name="T76" fmla="*/ 41 w 1068"/>
                <a:gd name="T77" fmla="*/ 3 h 1290"/>
                <a:gd name="T78" fmla="*/ 45 w 1068"/>
                <a:gd name="T79" fmla="*/ 0 h 1290"/>
                <a:gd name="T80" fmla="*/ 51 w 1068"/>
                <a:gd name="T81" fmla="*/ 0 h 1290"/>
                <a:gd name="T82" fmla="*/ 56 w 1068"/>
                <a:gd name="T83" fmla="*/ 4 h 1290"/>
                <a:gd name="T84" fmla="*/ 62 w 1068"/>
                <a:gd name="T85" fmla="*/ 12 h 1290"/>
                <a:gd name="T86" fmla="*/ 58 w 1068"/>
                <a:gd name="T87" fmla="*/ 17 h 1290"/>
                <a:gd name="T88" fmla="*/ 60 w 1068"/>
                <a:gd name="T89" fmla="*/ 18 h 1290"/>
                <a:gd name="T90" fmla="*/ 64 w 1068"/>
                <a:gd name="T91" fmla="*/ 16 h 1290"/>
                <a:gd name="T92" fmla="*/ 68 w 1068"/>
                <a:gd name="T93" fmla="*/ 18 h 1290"/>
                <a:gd name="T94" fmla="*/ 71 w 1068"/>
                <a:gd name="T95" fmla="*/ 27 h 1290"/>
                <a:gd name="T96" fmla="*/ 74 w 1068"/>
                <a:gd name="T97" fmla="*/ 30 h 1290"/>
                <a:gd name="T98" fmla="*/ 82 w 1068"/>
                <a:gd name="T99" fmla="*/ 30 h 1290"/>
                <a:gd name="T100" fmla="*/ 87 w 1068"/>
                <a:gd name="T101" fmla="*/ 35 h 1290"/>
                <a:gd name="T102" fmla="*/ 85 w 1068"/>
                <a:gd name="T103" fmla="*/ 42 h 1290"/>
                <a:gd name="T104" fmla="*/ 81 w 1068"/>
                <a:gd name="T105" fmla="*/ 46 h 1290"/>
                <a:gd name="T106" fmla="*/ 86 w 1068"/>
                <a:gd name="T107" fmla="*/ 50 h 1290"/>
                <a:gd name="T108" fmla="*/ 89 w 1068"/>
                <a:gd name="T109" fmla="*/ 58 h 1290"/>
                <a:gd name="T110" fmla="*/ 92 w 1068"/>
                <a:gd name="T111" fmla="*/ 61 h 1290"/>
                <a:gd name="T112" fmla="*/ 86 w 1068"/>
                <a:gd name="T113" fmla="*/ 66 h 1290"/>
                <a:gd name="T114" fmla="*/ 85 w 1068"/>
                <a:gd name="T115" fmla="*/ 70 h 129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68"/>
                <a:gd name="T175" fmla="*/ 0 h 1290"/>
                <a:gd name="T176" fmla="*/ 1068 w 1068"/>
                <a:gd name="T177" fmla="*/ 1290 h 129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68" h="1290">
                  <a:moveTo>
                    <a:pt x="978" y="804"/>
                  </a:moveTo>
                  <a:lnTo>
                    <a:pt x="972" y="810"/>
                  </a:lnTo>
                  <a:lnTo>
                    <a:pt x="966" y="810"/>
                  </a:lnTo>
                  <a:lnTo>
                    <a:pt x="966" y="816"/>
                  </a:lnTo>
                  <a:lnTo>
                    <a:pt x="936" y="828"/>
                  </a:lnTo>
                  <a:lnTo>
                    <a:pt x="924" y="822"/>
                  </a:lnTo>
                  <a:lnTo>
                    <a:pt x="912" y="822"/>
                  </a:lnTo>
                  <a:lnTo>
                    <a:pt x="906" y="828"/>
                  </a:lnTo>
                  <a:lnTo>
                    <a:pt x="900" y="828"/>
                  </a:lnTo>
                  <a:lnTo>
                    <a:pt x="900" y="822"/>
                  </a:lnTo>
                  <a:lnTo>
                    <a:pt x="894" y="822"/>
                  </a:lnTo>
                  <a:lnTo>
                    <a:pt x="888" y="828"/>
                  </a:lnTo>
                  <a:lnTo>
                    <a:pt x="882" y="834"/>
                  </a:lnTo>
                  <a:lnTo>
                    <a:pt x="876" y="834"/>
                  </a:lnTo>
                  <a:lnTo>
                    <a:pt x="870" y="840"/>
                  </a:lnTo>
                  <a:lnTo>
                    <a:pt x="864" y="840"/>
                  </a:lnTo>
                  <a:lnTo>
                    <a:pt x="864" y="846"/>
                  </a:lnTo>
                  <a:lnTo>
                    <a:pt x="858" y="846"/>
                  </a:lnTo>
                  <a:lnTo>
                    <a:pt x="852" y="846"/>
                  </a:lnTo>
                  <a:lnTo>
                    <a:pt x="852" y="858"/>
                  </a:lnTo>
                  <a:lnTo>
                    <a:pt x="846" y="864"/>
                  </a:lnTo>
                  <a:lnTo>
                    <a:pt x="840" y="870"/>
                  </a:lnTo>
                  <a:lnTo>
                    <a:pt x="834" y="870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34" y="876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10" y="894"/>
                  </a:lnTo>
                  <a:lnTo>
                    <a:pt x="810" y="900"/>
                  </a:lnTo>
                  <a:lnTo>
                    <a:pt x="804" y="900"/>
                  </a:lnTo>
                  <a:lnTo>
                    <a:pt x="798" y="900"/>
                  </a:lnTo>
                  <a:lnTo>
                    <a:pt x="798" y="906"/>
                  </a:lnTo>
                  <a:lnTo>
                    <a:pt x="792" y="906"/>
                  </a:lnTo>
                  <a:lnTo>
                    <a:pt x="792" y="912"/>
                  </a:lnTo>
                  <a:lnTo>
                    <a:pt x="792" y="924"/>
                  </a:lnTo>
                  <a:lnTo>
                    <a:pt x="786" y="930"/>
                  </a:lnTo>
                  <a:lnTo>
                    <a:pt x="774" y="942"/>
                  </a:lnTo>
                  <a:lnTo>
                    <a:pt x="774" y="948"/>
                  </a:lnTo>
                  <a:lnTo>
                    <a:pt x="768" y="954"/>
                  </a:lnTo>
                  <a:lnTo>
                    <a:pt x="762" y="954"/>
                  </a:lnTo>
                  <a:lnTo>
                    <a:pt x="750" y="972"/>
                  </a:lnTo>
                  <a:lnTo>
                    <a:pt x="720" y="978"/>
                  </a:lnTo>
                  <a:lnTo>
                    <a:pt x="714" y="978"/>
                  </a:lnTo>
                  <a:lnTo>
                    <a:pt x="708" y="978"/>
                  </a:lnTo>
                  <a:lnTo>
                    <a:pt x="702" y="990"/>
                  </a:lnTo>
                  <a:lnTo>
                    <a:pt x="696" y="990"/>
                  </a:lnTo>
                  <a:lnTo>
                    <a:pt x="696" y="1008"/>
                  </a:lnTo>
                  <a:lnTo>
                    <a:pt x="690" y="1008"/>
                  </a:lnTo>
                  <a:lnTo>
                    <a:pt x="690" y="1014"/>
                  </a:lnTo>
                  <a:lnTo>
                    <a:pt x="684" y="1032"/>
                  </a:lnTo>
                  <a:lnTo>
                    <a:pt x="690" y="1050"/>
                  </a:lnTo>
                  <a:lnTo>
                    <a:pt x="690" y="1062"/>
                  </a:lnTo>
                  <a:lnTo>
                    <a:pt x="690" y="1068"/>
                  </a:lnTo>
                  <a:lnTo>
                    <a:pt x="690" y="1074"/>
                  </a:lnTo>
                  <a:lnTo>
                    <a:pt x="684" y="1074"/>
                  </a:lnTo>
                  <a:lnTo>
                    <a:pt x="684" y="1080"/>
                  </a:lnTo>
                  <a:lnTo>
                    <a:pt x="678" y="1086"/>
                  </a:lnTo>
                  <a:lnTo>
                    <a:pt x="678" y="1104"/>
                  </a:lnTo>
                  <a:lnTo>
                    <a:pt x="678" y="1110"/>
                  </a:lnTo>
                  <a:lnTo>
                    <a:pt x="678" y="1116"/>
                  </a:lnTo>
                  <a:lnTo>
                    <a:pt x="684" y="1116"/>
                  </a:lnTo>
                  <a:lnTo>
                    <a:pt x="678" y="1128"/>
                  </a:lnTo>
                  <a:lnTo>
                    <a:pt x="684" y="1128"/>
                  </a:lnTo>
                  <a:lnTo>
                    <a:pt x="690" y="1134"/>
                  </a:lnTo>
                  <a:lnTo>
                    <a:pt x="690" y="1140"/>
                  </a:lnTo>
                  <a:lnTo>
                    <a:pt x="696" y="1140"/>
                  </a:lnTo>
                  <a:lnTo>
                    <a:pt x="696" y="1146"/>
                  </a:lnTo>
                  <a:lnTo>
                    <a:pt x="696" y="1152"/>
                  </a:lnTo>
                  <a:lnTo>
                    <a:pt x="702" y="1152"/>
                  </a:lnTo>
                  <a:lnTo>
                    <a:pt x="708" y="1152"/>
                  </a:lnTo>
                  <a:lnTo>
                    <a:pt x="714" y="1158"/>
                  </a:lnTo>
                  <a:lnTo>
                    <a:pt x="714" y="1164"/>
                  </a:lnTo>
                  <a:lnTo>
                    <a:pt x="720" y="1170"/>
                  </a:lnTo>
                  <a:lnTo>
                    <a:pt x="720" y="1176"/>
                  </a:lnTo>
                  <a:lnTo>
                    <a:pt x="720" y="1182"/>
                  </a:lnTo>
                  <a:lnTo>
                    <a:pt x="726" y="1188"/>
                  </a:lnTo>
                  <a:lnTo>
                    <a:pt x="726" y="1194"/>
                  </a:lnTo>
                  <a:lnTo>
                    <a:pt x="732" y="1194"/>
                  </a:lnTo>
                  <a:lnTo>
                    <a:pt x="732" y="1200"/>
                  </a:lnTo>
                  <a:lnTo>
                    <a:pt x="738" y="1212"/>
                  </a:lnTo>
                  <a:lnTo>
                    <a:pt x="732" y="1218"/>
                  </a:lnTo>
                  <a:lnTo>
                    <a:pt x="732" y="1224"/>
                  </a:lnTo>
                  <a:lnTo>
                    <a:pt x="726" y="1230"/>
                  </a:lnTo>
                  <a:lnTo>
                    <a:pt x="720" y="1230"/>
                  </a:lnTo>
                  <a:lnTo>
                    <a:pt x="720" y="1236"/>
                  </a:lnTo>
                  <a:lnTo>
                    <a:pt x="720" y="1242"/>
                  </a:lnTo>
                  <a:lnTo>
                    <a:pt x="720" y="1248"/>
                  </a:lnTo>
                  <a:lnTo>
                    <a:pt x="714" y="1248"/>
                  </a:lnTo>
                  <a:lnTo>
                    <a:pt x="714" y="1254"/>
                  </a:lnTo>
                  <a:lnTo>
                    <a:pt x="708" y="1260"/>
                  </a:lnTo>
                  <a:lnTo>
                    <a:pt x="702" y="1272"/>
                  </a:lnTo>
                  <a:lnTo>
                    <a:pt x="696" y="1272"/>
                  </a:lnTo>
                  <a:lnTo>
                    <a:pt x="696" y="1278"/>
                  </a:lnTo>
                  <a:lnTo>
                    <a:pt x="690" y="1284"/>
                  </a:lnTo>
                  <a:lnTo>
                    <a:pt x="690" y="1290"/>
                  </a:lnTo>
                  <a:lnTo>
                    <a:pt x="684" y="1290"/>
                  </a:lnTo>
                  <a:lnTo>
                    <a:pt x="660" y="1284"/>
                  </a:lnTo>
                  <a:lnTo>
                    <a:pt x="660" y="1278"/>
                  </a:lnTo>
                  <a:lnTo>
                    <a:pt x="654" y="1272"/>
                  </a:lnTo>
                  <a:lnTo>
                    <a:pt x="648" y="1272"/>
                  </a:lnTo>
                  <a:lnTo>
                    <a:pt x="642" y="1272"/>
                  </a:lnTo>
                  <a:lnTo>
                    <a:pt x="642" y="1266"/>
                  </a:lnTo>
                  <a:lnTo>
                    <a:pt x="636" y="1266"/>
                  </a:lnTo>
                  <a:lnTo>
                    <a:pt x="630" y="1266"/>
                  </a:lnTo>
                  <a:lnTo>
                    <a:pt x="624" y="1266"/>
                  </a:lnTo>
                  <a:lnTo>
                    <a:pt x="624" y="1260"/>
                  </a:lnTo>
                  <a:lnTo>
                    <a:pt x="618" y="1260"/>
                  </a:lnTo>
                  <a:lnTo>
                    <a:pt x="612" y="1260"/>
                  </a:lnTo>
                  <a:lnTo>
                    <a:pt x="606" y="1260"/>
                  </a:lnTo>
                  <a:lnTo>
                    <a:pt x="600" y="1260"/>
                  </a:lnTo>
                  <a:lnTo>
                    <a:pt x="600" y="1254"/>
                  </a:lnTo>
                  <a:lnTo>
                    <a:pt x="594" y="1254"/>
                  </a:lnTo>
                  <a:lnTo>
                    <a:pt x="588" y="1248"/>
                  </a:lnTo>
                  <a:lnTo>
                    <a:pt x="588" y="1254"/>
                  </a:lnTo>
                  <a:lnTo>
                    <a:pt x="582" y="1254"/>
                  </a:lnTo>
                  <a:lnTo>
                    <a:pt x="582" y="1248"/>
                  </a:lnTo>
                  <a:lnTo>
                    <a:pt x="576" y="1248"/>
                  </a:lnTo>
                  <a:lnTo>
                    <a:pt x="576" y="1254"/>
                  </a:lnTo>
                  <a:lnTo>
                    <a:pt x="570" y="1248"/>
                  </a:lnTo>
                  <a:lnTo>
                    <a:pt x="564" y="1248"/>
                  </a:lnTo>
                  <a:lnTo>
                    <a:pt x="564" y="1254"/>
                  </a:lnTo>
                  <a:lnTo>
                    <a:pt x="558" y="1254"/>
                  </a:lnTo>
                  <a:lnTo>
                    <a:pt x="552" y="1254"/>
                  </a:lnTo>
                  <a:lnTo>
                    <a:pt x="552" y="1260"/>
                  </a:lnTo>
                  <a:lnTo>
                    <a:pt x="546" y="1260"/>
                  </a:lnTo>
                  <a:lnTo>
                    <a:pt x="540" y="1260"/>
                  </a:lnTo>
                  <a:lnTo>
                    <a:pt x="540" y="1254"/>
                  </a:lnTo>
                  <a:lnTo>
                    <a:pt x="534" y="1254"/>
                  </a:lnTo>
                  <a:lnTo>
                    <a:pt x="528" y="1224"/>
                  </a:lnTo>
                  <a:lnTo>
                    <a:pt x="534" y="1212"/>
                  </a:lnTo>
                  <a:lnTo>
                    <a:pt x="546" y="1206"/>
                  </a:lnTo>
                  <a:lnTo>
                    <a:pt x="582" y="1206"/>
                  </a:lnTo>
                  <a:lnTo>
                    <a:pt x="588" y="1188"/>
                  </a:lnTo>
                  <a:lnTo>
                    <a:pt x="582" y="1188"/>
                  </a:lnTo>
                  <a:lnTo>
                    <a:pt x="582" y="1182"/>
                  </a:lnTo>
                  <a:lnTo>
                    <a:pt x="576" y="1176"/>
                  </a:lnTo>
                  <a:lnTo>
                    <a:pt x="558" y="1128"/>
                  </a:lnTo>
                  <a:lnTo>
                    <a:pt x="558" y="1122"/>
                  </a:lnTo>
                  <a:lnTo>
                    <a:pt x="576" y="1098"/>
                  </a:lnTo>
                  <a:lnTo>
                    <a:pt x="576" y="1092"/>
                  </a:lnTo>
                  <a:lnTo>
                    <a:pt x="582" y="1092"/>
                  </a:lnTo>
                  <a:lnTo>
                    <a:pt x="582" y="1086"/>
                  </a:lnTo>
                  <a:lnTo>
                    <a:pt x="582" y="1080"/>
                  </a:lnTo>
                  <a:lnTo>
                    <a:pt x="582" y="1074"/>
                  </a:lnTo>
                  <a:lnTo>
                    <a:pt x="588" y="1074"/>
                  </a:lnTo>
                  <a:lnTo>
                    <a:pt x="588" y="1062"/>
                  </a:lnTo>
                  <a:lnTo>
                    <a:pt x="588" y="1056"/>
                  </a:lnTo>
                  <a:lnTo>
                    <a:pt x="588" y="1044"/>
                  </a:lnTo>
                  <a:lnTo>
                    <a:pt x="588" y="1038"/>
                  </a:lnTo>
                  <a:lnTo>
                    <a:pt x="588" y="1032"/>
                  </a:lnTo>
                  <a:lnTo>
                    <a:pt x="582" y="1026"/>
                  </a:lnTo>
                  <a:lnTo>
                    <a:pt x="582" y="1020"/>
                  </a:lnTo>
                  <a:lnTo>
                    <a:pt x="582" y="1008"/>
                  </a:lnTo>
                  <a:lnTo>
                    <a:pt x="576" y="990"/>
                  </a:lnTo>
                  <a:lnTo>
                    <a:pt x="570" y="972"/>
                  </a:lnTo>
                  <a:lnTo>
                    <a:pt x="552" y="972"/>
                  </a:lnTo>
                  <a:lnTo>
                    <a:pt x="540" y="960"/>
                  </a:lnTo>
                  <a:lnTo>
                    <a:pt x="534" y="954"/>
                  </a:lnTo>
                  <a:lnTo>
                    <a:pt x="534" y="948"/>
                  </a:lnTo>
                  <a:lnTo>
                    <a:pt x="516" y="948"/>
                  </a:lnTo>
                  <a:lnTo>
                    <a:pt x="522" y="936"/>
                  </a:lnTo>
                  <a:lnTo>
                    <a:pt x="522" y="930"/>
                  </a:lnTo>
                  <a:lnTo>
                    <a:pt x="504" y="918"/>
                  </a:lnTo>
                  <a:lnTo>
                    <a:pt x="492" y="906"/>
                  </a:lnTo>
                  <a:lnTo>
                    <a:pt x="486" y="894"/>
                  </a:lnTo>
                  <a:lnTo>
                    <a:pt x="468" y="876"/>
                  </a:lnTo>
                  <a:lnTo>
                    <a:pt x="450" y="876"/>
                  </a:lnTo>
                  <a:lnTo>
                    <a:pt x="414" y="882"/>
                  </a:lnTo>
                  <a:lnTo>
                    <a:pt x="402" y="870"/>
                  </a:lnTo>
                  <a:lnTo>
                    <a:pt x="390" y="864"/>
                  </a:lnTo>
                  <a:lnTo>
                    <a:pt x="384" y="852"/>
                  </a:lnTo>
                  <a:lnTo>
                    <a:pt x="378" y="840"/>
                  </a:lnTo>
                  <a:lnTo>
                    <a:pt x="378" y="834"/>
                  </a:lnTo>
                  <a:lnTo>
                    <a:pt x="360" y="822"/>
                  </a:lnTo>
                  <a:lnTo>
                    <a:pt x="342" y="828"/>
                  </a:lnTo>
                  <a:lnTo>
                    <a:pt x="324" y="816"/>
                  </a:lnTo>
                  <a:lnTo>
                    <a:pt x="318" y="816"/>
                  </a:lnTo>
                  <a:lnTo>
                    <a:pt x="306" y="810"/>
                  </a:lnTo>
                  <a:lnTo>
                    <a:pt x="306" y="804"/>
                  </a:lnTo>
                  <a:lnTo>
                    <a:pt x="300" y="804"/>
                  </a:lnTo>
                  <a:lnTo>
                    <a:pt x="300" y="780"/>
                  </a:lnTo>
                  <a:lnTo>
                    <a:pt x="300" y="774"/>
                  </a:lnTo>
                  <a:lnTo>
                    <a:pt x="306" y="774"/>
                  </a:lnTo>
                  <a:lnTo>
                    <a:pt x="312" y="756"/>
                  </a:lnTo>
                  <a:lnTo>
                    <a:pt x="312" y="732"/>
                  </a:lnTo>
                  <a:lnTo>
                    <a:pt x="300" y="720"/>
                  </a:lnTo>
                  <a:lnTo>
                    <a:pt x="288" y="702"/>
                  </a:lnTo>
                  <a:lnTo>
                    <a:pt x="276" y="702"/>
                  </a:lnTo>
                  <a:lnTo>
                    <a:pt x="258" y="714"/>
                  </a:lnTo>
                  <a:lnTo>
                    <a:pt x="246" y="726"/>
                  </a:lnTo>
                  <a:lnTo>
                    <a:pt x="222" y="726"/>
                  </a:lnTo>
                  <a:lnTo>
                    <a:pt x="192" y="726"/>
                  </a:lnTo>
                  <a:lnTo>
                    <a:pt x="174" y="738"/>
                  </a:lnTo>
                  <a:lnTo>
                    <a:pt x="162" y="750"/>
                  </a:lnTo>
                  <a:lnTo>
                    <a:pt x="144" y="762"/>
                  </a:lnTo>
                  <a:lnTo>
                    <a:pt x="138" y="768"/>
                  </a:lnTo>
                  <a:lnTo>
                    <a:pt x="126" y="774"/>
                  </a:lnTo>
                  <a:lnTo>
                    <a:pt x="114" y="780"/>
                  </a:lnTo>
                  <a:lnTo>
                    <a:pt x="108" y="786"/>
                  </a:lnTo>
                  <a:lnTo>
                    <a:pt x="102" y="786"/>
                  </a:lnTo>
                  <a:lnTo>
                    <a:pt x="54" y="786"/>
                  </a:lnTo>
                  <a:lnTo>
                    <a:pt x="48" y="792"/>
                  </a:lnTo>
                  <a:lnTo>
                    <a:pt x="36" y="798"/>
                  </a:lnTo>
                  <a:lnTo>
                    <a:pt x="18" y="792"/>
                  </a:lnTo>
                  <a:lnTo>
                    <a:pt x="6" y="780"/>
                  </a:lnTo>
                  <a:lnTo>
                    <a:pt x="6" y="768"/>
                  </a:lnTo>
                  <a:lnTo>
                    <a:pt x="0" y="756"/>
                  </a:lnTo>
                  <a:lnTo>
                    <a:pt x="0" y="738"/>
                  </a:lnTo>
                  <a:lnTo>
                    <a:pt x="6" y="702"/>
                  </a:lnTo>
                  <a:lnTo>
                    <a:pt x="24" y="702"/>
                  </a:lnTo>
                  <a:lnTo>
                    <a:pt x="24" y="696"/>
                  </a:lnTo>
                  <a:lnTo>
                    <a:pt x="24" y="690"/>
                  </a:lnTo>
                  <a:lnTo>
                    <a:pt x="24" y="678"/>
                  </a:lnTo>
                  <a:lnTo>
                    <a:pt x="24" y="672"/>
                  </a:lnTo>
                  <a:lnTo>
                    <a:pt x="30" y="672"/>
                  </a:lnTo>
                  <a:lnTo>
                    <a:pt x="30" y="666"/>
                  </a:lnTo>
                  <a:lnTo>
                    <a:pt x="36" y="660"/>
                  </a:lnTo>
                  <a:lnTo>
                    <a:pt x="84" y="648"/>
                  </a:lnTo>
                  <a:lnTo>
                    <a:pt x="126" y="642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32" y="618"/>
                  </a:lnTo>
                  <a:lnTo>
                    <a:pt x="138" y="612"/>
                  </a:lnTo>
                  <a:lnTo>
                    <a:pt x="138" y="606"/>
                  </a:lnTo>
                  <a:lnTo>
                    <a:pt x="138" y="600"/>
                  </a:lnTo>
                  <a:lnTo>
                    <a:pt x="132" y="600"/>
                  </a:lnTo>
                  <a:lnTo>
                    <a:pt x="132" y="594"/>
                  </a:lnTo>
                  <a:lnTo>
                    <a:pt x="132" y="588"/>
                  </a:lnTo>
                  <a:lnTo>
                    <a:pt x="132" y="582"/>
                  </a:lnTo>
                  <a:lnTo>
                    <a:pt x="132" y="576"/>
                  </a:lnTo>
                  <a:lnTo>
                    <a:pt x="126" y="570"/>
                  </a:lnTo>
                  <a:lnTo>
                    <a:pt x="120" y="564"/>
                  </a:lnTo>
                  <a:lnTo>
                    <a:pt x="120" y="558"/>
                  </a:lnTo>
                  <a:lnTo>
                    <a:pt x="120" y="552"/>
                  </a:lnTo>
                  <a:lnTo>
                    <a:pt x="114" y="552"/>
                  </a:lnTo>
                  <a:lnTo>
                    <a:pt x="114" y="546"/>
                  </a:lnTo>
                  <a:lnTo>
                    <a:pt x="114" y="540"/>
                  </a:lnTo>
                  <a:lnTo>
                    <a:pt x="108" y="534"/>
                  </a:lnTo>
                  <a:lnTo>
                    <a:pt x="108" y="528"/>
                  </a:lnTo>
                  <a:lnTo>
                    <a:pt x="114" y="522"/>
                  </a:lnTo>
                  <a:lnTo>
                    <a:pt x="108" y="516"/>
                  </a:lnTo>
                  <a:lnTo>
                    <a:pt x="108" y="498"/>
                  </a:lnTo>
                  <a:lnTo>
                    <a:pt x="108" y="492"/>
                  </a:lnTo>
                  <a:lnTo>
                    <a:pt x="108" y="486"/>
                  </a:lnTo>
                  <a:lnTo>
                    <a:pt x="108" y="480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08" y="462"/>
                  </a:lnTo>
                  <a:lnTo>
                    <a:pt x="102" y="456"/>
                  </a:lnTo>
                  <a:lnTo>
                    <a:pt x="102" y="444"/>
                  </a:lnTo>
                  <a:lnTo>
                    <a:pt x="96" y="444"/>
                  </a:lnTo>
                  <a:lnTo>
                    <a:pt x="90" y="432"/>
                  </a:lnTo>
                  <a:lnTo>
                    <a:pt x="96" y="432"/>
                  </a:lnTo>
                  <a:lnTo>
                    <a:pt x="96" y="408"/>
                  </a:lnTo>
                  <a:lnTo>
                    <a:pt x="96" y="396"/>
                  </a:lnTo>
                  <a:lnTo>
                    <a:pt x="96" y="360"/>
                  </a:lnTo>
                  <a:lnTo>
                    <a:pt x="96" y="354"/>
                  </a:lnTo>
                  <a:lnTo>
                    <a:pt x="102" y="354"/>
                  </a:lnTo>
                  <a:lnTo>
                    <a:pt x="102" y="348"/>
                  </a:lnTo>
                  <a:lnTo>
                    <a:pt x="96" y="330"/>
                  </a:lnTo>
                  <a:lnTo>
                    <a:pt x="90" y="306"/>
                  </a:lnTo>
                  <a:lnTo>
                    <a:pt x="84" y="288"/>
                  </a:lnTo>
                  <a:lnTo>
                    <a:pt x="84" y="264"/>
                  </a:lnTo>
                  <a:lnTo>
                    <a:pt x="90" y="240"/>
                  </a:lnTo>
                  <a:lnTo>
                    <a:pt x="96" y="222"/>
                  </a:lnTo>
                  <a:lnTo>
                    <a:pt x="102" y="222"/>
                  </a:lnTo>
                  <a:lnTo>
                    <a:pt x="108" y="210"/>
                  </a:lnTo>
                  <a:lnTo>
                    <a:pt x="114" y="210"/>
                  </a:lnTo>
                  <a:lnTo>
                    <a:pt x="126" y="198"/>
                  </a:lnTo>
                  <a:lnTo>
                    <a:pt x="156" y="192"/>
                  </a:lnTo>
                  <a:lnTo>
                    <a:pt x="174" y="186"/>
                  </a:lnTo>
                  <a:lnTo>
                    <a:pt x="204" y="174"/>
                  </a:lnTo>
                  <a:lnTo>
                    <a:pt x="222" y="168"/>
                  </a:lnTo>
                  <a:lnTo>
                    <a:pt x="234" y="162"/>
                  </a:lnTo>
                  <a:lnTo>
                    <a:pt x="246" y="156"/>
                  </a:lnTo>
                  <a:lnTo>
                    <a:pt x="288" y="144"/>
                  </a:lnTo>
                  <a:lnTo>
                    <a:pt x="288" y="132"/>
                  </a:lnTo>
                  <a:lnTo>
                    <a:pt x="294" y="120"/>
                  </a:lnTo>
                  <a:lnTo>
                    <a:pt x="300" y="108"/>
                  </a:lnTo>
                  <a:lnTo>
                    <a:pt x="306" y="90"/>
                  </a:lnTo>
                  <a:lnTo>
                    <a:pt x="312" y="78"/>
                  </a:lnTo>
                  <a:lnTo>
                    <a:pt x="324" y="78"/>
                  </a:lnTo>
                  <a:lnTo>
                    <a:pt x="324" y="54"/>
                  </a:lnTo>
                  <a:lnTo>
                    <a:pt x="318" y="48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60" y="6"/>
                  </a:lnTo>
                  <a:lnTo>
                    <a:pt x="384" y="0"/>
                  </a:lnTo>
                  <a:lnTo>
                    <a:pt x="390" y="6"/>
                  </a:lnTo>
                  <a:lnTo>
                    <a:pt x="390" y="18"/>
                  </a:lnTo>
                  <a:lnTo>
                    <a:pt x="390" y="54"/>
                  </a:lnTo>
                  <a:lnTo>
                    <a:pt x="396" y="66"/>
                  </a:lnTo>
                  <a:lnTo>
                    <a:pt x="414" y="84"/>
                  </a:lnTo>
                  <a:lnTo>
                    <a:pt x="426" y="90"/>
                  </a:lnTo>
                  <a:lnTo>
                    <a:pt x="432" y="96"/>
                  </a:lnTo>
                  <a:lnTo>
                    <a:pt x="426" y="102"/>
                  </a:lnTo>
                  <a:lnTo>
                    <a:pt x="438" y="102"/>
                  </a:lnTo>
                  <a:lnTo>
                    <a:pt x="444" y="108"/>
                  </a:lnTo>
                  <a:lnTo>
                    <a:pt x="444" y="102"/>
                  </a:lnTo>
                  <a:lnTo>
                    <a:pt x="450" y="90"/>
                  </a:lnTo>
                  <a:lnTo>
                    <a:pt x="450" y="84"/>
                  </a:lnTo>
                  <a:lnTo>
                    <a:pt x="450" y="78"/>
                  </a:lnTo>
                  <a:lnTo>
                    <a:pt x="456" y="72"/>
                  </a:lnTo>
                  <a:lnTo>
                    <a:pt x="462" y="66"/>
                  </a:lnTo>
                  <a:lnTo>
                    <a:pt x="462" y="60"/>
                  </a:lnTo>
                  <a:lnTo>
                    <a:pt x="462" y="54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74" y="24"/>
                  </a:lnTo>
                  <a:lnTo>
                    <a:pt x="480" y="18"/>
                  </a:lnTo>
                  <a:lnTo>
                    <a:pt x="486" y="12"/>
                  </a:lnTo>
                  <a:lnTo>
                    <a:pt x="492" y="12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2" y="6"/>
                  </a:lnTo>
                  <a:lnTo>
                    <a:pt x="534" y="6"/>
                  </a:lnTo>
                  <a:lnTo>
                    <a:pt x="540" y="6"/>
                  </a:lnTo>
                  <a:lnTo>
                    <a:pt x="546" y="6"/>
                  </a:lnTo>
                  <a:lnTo>
                    <a:pt x="564" y="0"/>
                  </a:lnTo>
                  <a:lnTo>
                    <a:pt x="570" y="0"/>
                  </a:lnTo>
                  <a:lnTo>
                    <a:pt x="576" y="6"/>
                  </a:lnTo>
                  <a:lnTo>
                    <a:pt x="582" y="6"/>
                  </a:lnTo>
                  <a:lnTo>
                    <a:pt x="594" y="6"/>
                  </a:lnTo>
                  <a:lnTo>
                    <a:pt x="600" y="6"/>
                  </a:lnTo>
                  <a:lnTo>
                    <a:pt x="606" y="6"/>
                  </a:lnTo>
                  <a:lnTo>
                    <a:pt x="624" y="0"/>
                  </a:lnTo>
                  <a:lnTo>
                    <a:pt x="636" y="0"/>
                  </a:lnTo>
                  <a:lnTo>
                    <a:pt x="636" y="6"/>
                  </a:lnTo>
                  <a:lnTo>
                    <a:pt x="654" y="18"/>
                  </a:lnTo>
                  <a:lnTo>
                    <a:pt x="654" y="30"/>
                  </a:lnTo>
                  <a:lnTo>
                    <a:pt x="642" y="42"/>
                  </a:lnTo>
                  <a:lnTo>
                    <a:pt x="630" y="66"/>
                  </a:lnTo>
                  <a:lnTo>
                    <a:pt x="636" y="84"/>
                  </a:lnTo>
                  <a:lnTo>
                    <a:pt x="636" y="96"/>
                  </a:lnTo>
                  <a:lnTo>
                    <a:pt x="648" y="102"/>
                  </a:lnTo>
                  <a:lnTo>
                    <a:pt x="672" y="114"/>
                  </a:lnTo>
                  <a:lnTo>
                    <a:pt x="702" y="120"/>
                  </a:lnTo>
                  <a:lnTo>
                    <a:pt x="714" y="126"/>
                  </a:lnTo>
                  <a:lnTo>
                    <a:pt x="720" y="144"/>
                  </a:lnTo>
                  <a:lnTo>
                    <a:pt x="720" y="156"/>
                  </a:lnTo>
                  <a:lnTo>
                    <a:pt x="708" y="156"/>
                  </a:lnTo>
                  <a:lnTo>
                    <a:pt x="702" y="162"/>
                  </a:lnTo>
                  <a:lnTo>
                    <a:pt x="702" y="174"/>
                  </a:lnTo>
                  <a:lnTo>
                    <a:pt x="696" y="174"/>
                  </a:lnTo>
                  <a:lnTo>
                    <a:pt x="690" y="180"/>
                  </a:lnTo>
                  <a:lnTo>
                    <a:pt x="678" y="186"/>
                  </a:lnTo>
                  <a:lnTo>
                    <a:pt x="672" y="192"/>
                  </a:lnTo>
                  <a:lnTo>
                    <a:pt x="654" y="210"/>
                  </a:lnTo>
                  <a:lnTo>
                    <a:pt x="654" y="216"/>
                  </a:lnTo>
                  <a:lnTo>
                    <a:pt x="648" y="246"/>
                  </a:lnTo>
                  <a:lnTo>
                    <a:pt x="660" y="246"/>
                  </a:lnTo>
                  <a:lnTo>
                    <a:pt x="666" y="234"/>
                  </a:lnTo>
                  <a:lnTo>
                    <a:pt x="678" y="240"/>
                  </a:lnTo>
                  <a:lnTo>
                    <a:pt x="684" y="228"/>
                  </a:lnTo>
                  <a:lnTo>
                    <a:pt x="690" y="210"/>
                  </a:lnTo>
                  <a:lnTo>
                    <a:pt x="696" y="204"/>
                  </a:lnTo>
                  <a:lnTo>
                    <a:pt x="702" y="204"/>
                  </a:lnTo>
                  <a:lnTo>
                    <a:pt x="708" y="192"/>
                  </a:lnTo>
                  <a:lnTo>
                    <a:pt x="714" y="192"/>
                  </a:lnTo>
                  <a:lnTo>
                    <a:pt x="714" y="186"/>
                  </a:lnTo>
                  <a:lnTo>
                    <a:pt x="726" y="186"/>
                  </a:lnTo>
                  <a:lnTo>
                    <a:pt x="732" y="186"/>
                  </a:lnTo>
                  <a:lnTo>
                    <a:pt x="738" y="186"/>
                  </a:lnTo>
                  <a:lnTo>
                    <a:pt x="744" y="216"/>
                  </a:lnTo>
                  <a:lnTo>
                    <a:pt x="750" y="210"/>
                  </a:lnTo>
                  <a:lnTo>
                    <a:pt x="750" y="204"/>
                  </a:lnTo>
                  <a:lnTo>
                    <a:pt x="756" y="192"/>
                  </a:lnTo>
                  <a:lnTo>
                    <a:pt x="762" y="192"/>
                  </a:lnTo>
                  <a:lnTo>
                    <a:pt x="768" y="192"/>
                  </a:lnTo>
                  <a:lnTo>
                    <a:pt x="780" y="186"/>
                  </a:lnTo>
                  <a:lnTo>
                    <a:pt x="786" y="204"/>
                  </a:lnTo>
                  <a:lnTo>
                    <a:pt x="774" y="210"/>
                  </a:lnTo>
                  <a:lnTo>
                    <a:pt x="774" y="234"/>
                  </a:lnTo>
                  <a:lnTo>
                    <a:pt x="780" y="246"/>
                  </a:lnTo>
                  <a:lnTo>
                    <a:pt x="804" y="264"/>
                  </a:lnTo>
                  <a:lnTo>
                    <a:pt x="816" y="276"/>
                  </a:lnTo>
                  <a:lnTo>
                    <a:pt x="822" y="288"/>
                  </a:lnTo>
                  <a:lnTo>
                    <a:pt x="822" y="312"/>
                  </a:lnTo>
                  <a:lnTo>
                    <a:pt x="816" y="312"/>
                  </a:lnTo>
                  <a:lnTo>
                    <a:pt x="810" y="318"/>
                  </a:lnTo>
                  <a:lnTo>
                    <a:pt x="810" y="348"/>
                  </a:lnTo>
                  <a:lnTo>
                    <a:pt x="816" y="348"/>
                  </a:lnTo>
                  <a:lnTo>
                    <a:pt x="816" y="342"/>
                  </a:lnTo>
                  <a:lnTo>
                    <a:pt x="834" y="342"/>
                  </a:lnTo>
                  <a:lnTo>
                    <a:pt x="834" y="348"/>
                  </a:lnTo>
                  <a:lnTo>
                    <a:pt x="846" y="348"/>
                  </a:lnTo>
                  <a:lnTo>
                    <a:pt x="846" y="342"/>
                  </a:lnTo>
                  <a:lnTo>
                    <a:pt x="882" y="342"/>
                  </a:lnTo>
                  <a:lnTo>
                    <a:pt x="894" y="366"/>
                  </a:lnTo>
                  <a:lnTo>
                    <a:pt x="900" y="372"/>
                  </a:lnTo>
                  <a:lnTo>
                    <a:pt x="906" y="384"/>
                  </a:lnTo>
                  <a:lnTo>
                    <a:pt x="924" y="384"/>
                  </a:lnTo>
                  <a:lnTo>
                    <a:pt x="930" y="372"/>
                  </a:lnTo>
                  <a:lnTo>
                    <a:pt x="936" y="372"/>
                  </a:lnTo>
                  <a:lnTo>
                    <a:pt x="942" y="348"/>
                  </a:lnTo>
                  <a:lnTo>
                    <a:pt x="954" y="348"/>
                  </a:lnTo>
                  <a:lnTo>
                    <a:pt x="954" y="342"/>
                  </a:lnTo>
                  <a:lnTo>
                    <a:pt x="984" y="342"/>
                  </a:lnTo>
                  <a:lnTo>
                    <a:pt x="978" y="390"/>
                  </a:lnTo>
                  <a:lnTo>
                    <a:pt x="984" y="390"/>
                  </a:lnTo>
                  <a:lnTo>
                    <a:pt x="990" y="396"/>
                  </a:lnTo>
                  <a:lnTo>
                    <a:pt x="996" y="396"/>
                  </a:lnTo>
                  <a:lnTo>
                    <a:pt x="1002" y="396"/>
                  </a:lnTo>
                  <a:lnTo>
                    <a:pt x="1002" y="408"/>
                  </a:lnTo>
                  <a:lnTo>
                    <a:pt x="990" y="414"/>
                  </a:lnTo>
                  <a:lnTo>
                    <a:pt x="984" y="426"/>
                  </a:lnTo>
                  <a:lnTo>
                    <a:pt x="990" y="444"/>
                  </a:lnTo>
                  <a:lnTo>
                    <a:pt x="996" y="450"/>
                  </a:lnTo>
                  <a:lnTo>
                    <a:pt x="990" y="462"/>
                  </a:lnTo>
                  <a:lnTo>
                    <a:pt x="990" y="468"/>
                  </a:lnTo>
                  <a:lnTo>
                    <a:pt x="984" y="480"/>
                  </a:lnTo>
                  <a:lnTo>
                    <a:pt x="978" y="486"/>
                  </a:lnTo>
                  <a:lnTo>
                    <a:pt x="972" y="486"/>
                  </a:lnTo>
                  <a:lnTo>
                    <a:pt x="966" y="492"/>
                  </a:lnTo>
                  <a:lnTo>
                    <a:pt x="966" y="498"/>
                  </a:lnTo>
                  <a:lnTo>
                    <a:pt x="954" y="510"/>
                  </a:lnTo>
                  <a:lnTo>
                    <a:pt x="948" y="510"/>
                  </a:lnTo>
                  <a:lnTo>
                    <a:pt x="942" y="516"/>
                  </a:lnTo>
                  <a:lnTo>
                    <a:pt x="936" y="528"/>
                  </a:lnTo>
                  <a:lnTo>
                    <a:pt x="936" y="534"/>
                  </a:lnTo>
                  <a:lnTo>
                    <a:pt x="936" y="546"/>
                  </a:lnTo>
                  <a:lnTo>
                    <a:pt x="936" y="558"/>
                  </a:lnTo>
                  <a:lnTo>
                    <a:pt x="948" y="558"/>
                  </a:lnTo>
                  <a:lnTo>
                    <a:pt x="954" y="558"/>
                  </a:lnTo>
                  <a:lnTo>
                    <a:pt x="996" y="558"/>
                  </a:lnTo>
                  <a:lnTo>
                    <a:pt x="1002" y="570"/>
                  </a:lnTo>
                  <a:lnTo>
                    <a:pt x="996" y="576"/>
                  </a:lnTo>
                  <a:lnTo>
                    <a:pt x="996" y="588"/>
                  </a:lnTo>
                  <a:lnTo>
                    <a:pt x="984" y="588"/>
                  </a:lnTo>
                  <a:lnTo>
                    <a:pt x="990" y="612"/>
                  </a:lnTo>
                  <a:lnTo>
                    <a:pt x="1014" y="606"/>
                  </a:lnTo>
                  <a:lnTo>
                    <a:pt x="1014" y="636"/>
                  </a:lnTo>
                  <a:lnTo>
                    <a:pt x="1014" y="648"/>
                  </a:lnTo>
                  <a:lnTo>
                    <a:pt x="1020" y="648"/>
                  </a:lnTo>
                  <a:lnTo>
                    <a:pt x="1026" y="660"/>
                  </a:lnTo>
                  <a:lnTo>
                    <a:pt x="1038" y="654"/>
                  </a:lnTo>
                  <a:lnTo>
                    <a:pt x="1050" y="654"/>
                  </a:lnTo>
                  <a:lnTo>
                    <a:pt x="1062" y="654"/>
                  </a:lnTo>
                  <a:lnTo>
                    <a:pt x="1068" y="660"/>
                  </a:lnTo>
                  <a:lnTo>
                    <a:pt x="1068" y="678"/>
                  </a:lnTo>
                  <a:lnTo>
                    <a:pt x="1068" y="684"/>
                  </a:lnTo>
                  <a:lnTo>
                    <a:pt x="1062" y="690"/>
                  </a:lnTo>
                  <a:lnTo>
                    <a:pt x="1056" y="696"/>
                  </a:lnTo>
                  <a:lnTo>
                    <a:pt x="1056" y="702"/>
                  </a:lnTo>
                  <a:lnTo>
                    <a:pt x="1038" y="714"/>
                  </a:lnTo>
                  <a:lnTo>
                    <a:pt x="1026" y="720"/>
                  </a:lnTo>
                  <a:lnTo>
                    <a:pt x="1008" y="726"/>
                  </a:lnTo>
                  <a:lnTo>
                    <a:pt x="1008" y="732"/>
                  </a:lnTo>
                  <a:lnTo>
                    <a:pt x="990" y="732"/>
                  </a:lnTo>
                  <a:lnTo>
                    <a:pt x="984" y="744"/>
                  </a:lnTo>
                  <a:lnTo>
                    <a:pt x="990" y="750"/>
                  </a:lnTo>
                  <a:lnTo>
                    <a:pt x="984" y="762"/>
                  </a:lnTo>
                  <a:lnTo>
                    <a:pt x="984" y="768"/>
                  </a:lnTo>
                  <a:lnTo>
                    <a:pt x="984" y="774"/>
                  </a:lnTo>
                  <a:lnTo>
                    <a:pt x="984" y="780"/>
                  </a:lnTo>
                  <a:lnTo>
                    <a:pt x="984" y="786"/>
                  </a:lnTo>
                  <a:lnTo>
                    <a:pt x="984" y="792"/>
                  </a:lnTo>
                  <a:lnTo>
                    <a:pt x="978" y="798"/>
                  </a:lnTo>
                  <a:lnTo>
                    <a:pt x="978" y="80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3" name="Freeform 38">
              <a:extLst>
                <a:ext uri="{FF2B5EF4-FFF2-40B4-BE49-F238E27FC236}">
                  <a16:creationId xmlns:a16="http://schemas.microsoft.com/office/drawing/2014/main" id="{819B99CE-D972-4530-8964-A992C1EC87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2825" y="1634436"/>
              <a:ext cx="959326" cy="959458"/>
            </a:xfrm>
            <a:custGeom>
              <a:avLst/>
              <a:gdLst>
                <a:gd name="T0" fmla="*/ 105 w 1806"/>
                <a:gd name="T1" fmla="*/ 155 h 1806"/>
                <a:gd name="T2" fmla="*/ 103 w 1806"/>
                <a:gd name="T3" fmla="*/ 155 h 1806"/>
                <a:gd name="T4" fmla="*/ 103 w 1806"/>
                <a:gd name="T5" fmla="*/ 150 h 1806"/>
                <a:gd name="T6" fmla="*/ 104 w 1806"/>
                <a:gd name="T7" fmla="*/ 141 h 1806"/>
                <a:gd name="T8" fmla="*/ 104 w 1806"/>
                <a:gd name="T9" fmla="*/ 136 h 1806"/>
                <a:gd name="T10" fmla="*/ 100 w 1806"/>
                <a:gd name="T11" fmla="*/ 131 h 1806"/>
                <a:gd name="T12" fmla="*/ 96 w 1806"/>
                <a:gd name="T13" fmla="*/ 127 h 1806"/>
                <a:gd name="T14" fmla="*/ 91 w 1806"/>
                <a:gd name="T15" fmla="*/ 121 h 1806"/>
                <a:gd name="T16" fmla="*/ 87 w 1806"/>
                <a:gd name="T17" fmla="*/ 120 h 1806"/>
                <a:gd name="T18" fmla="*/ 81 w 1806"/>
                <a:gd name="T19" fmla="*/ 117 h 1806"/>
                <a:gd name="T20" fmla="*/ 65 w 1806"/>
                <a:gd name="T21" fmla="*/ 113 h 1806"/>
                <a:gd name="T22" fmla="*/ 69 w 1806"/>
                <a:gd name="T23" fmla="*/ 105 h 1806"/>
                <a:gd name="T24" fmla="*/ 66 w 1806"/>
                <a:gd name="T25" fmla="*/ 89 h 1806"/>
                <a:gd name="T26" fmla="*/ 63 w 1806"/>
                <a:gd name="T27" fmla="*/ 84 h 1806"/>
                <a:gd name="T28" fmla="*/ 62 w 1806"/>
                <a:gd name="T29" fmla="*/ 74 h 1806"/>
                <a:gd name="T30" fmla="*/ 58 w 1806"/>
                <a:gd name="T31" fmla="*/ 52 h 1806"/>
                <a:gd name="T32" fmla="*/ 53 w 1806"/>
                <a:gd name="T33" fmla="*/ 49 h 1806"/>
                <a:gd name="T34" fmla="*/ 51 w 1806"/>
                <a:gd name="T35" fmla="*/ 36 h 1806"/>
                <a:gd name="T36" fmla="*/ 43 w 1806"/>
                <a:gd name="T37" fmla="*/ 32 h 1806"/>
                <a:gd name="T38" fmla="*/ 33 w 1806"/>
                <a:gd name="T39" fmla="*/ 30 h 1806"/>
                <a:gd name="T40" fmla="*/ 30 w 1806"/>
                <a:gd name="T41" fmla="*/ 21 h 1806"/>
                <a:gd name="T42" fmla="*/ 17 w 1806"/>
                <a:gd name="T43" fmla="*/ 25 h 1806"/>
                <a:gd name="T44" fmla="*/ 4 w 1806"/>
                <a:gd name="T45" fmla="*/ 33 h 1806"/>
                <a:gd name="T46" fmla="*/ 7 w 1806"/>
                <a:gd name="T47" fmla="*/ 26 h 1806"/>
                <a:gd name="T48" fmla="*/ 11 w 1806"/>
                <a:gd name="T49" fmla="*/ 20 h 1806"/>
                <a:gd name="T50" fmla="*/ 18 w 1806"/>
                <a:gd name="T51" fmla="*/ 12 h 1806"/>
                <a:gd name="T52" fmla="*/ 26 w 1806"/>
                <a:gd name="T53" fmla="*/ 8 h 1806"/>
                <a:gd name="T54" fmla="*/ 35 w 1806"/>
                <a:gd name="T55" fmla="*/ 6 h 1806"/>
                <a:gd name="T56" fmla="*/ 44 w 1806"/>
                <a:gd name="T57" fmla="*/ 5 h 1806"/>
                <a:gd name="T58" fmla="*/ 54 w 1806"/>
                <a:gd name="T59" fmla="*/ 2 h 1806"/>
                <a:gd name="T60" fmla="*/ 65 w 1806"/>
                <a:gd name="T61" fmla="*/ 0 h 1806"/>
                <a:gd name="T62" fmla="*/ 76 w 1806"/>
                <a:gd name="T63" fmla="*/ 0 h 1806"/>
                <a:gd name="T64" fmla="*/ 85 w 1806"/>
                <a:gd name="T65" fmla="*/ 0 h 1806"/>
                <a:gd name="T66" fmla="*/ 97 w 1806"/>
                <a:gd name="T67" fmla="*/ 0 h 1806"/>
                <a:gd name="T68" fmla="*/ 108 w 1806"/>
                <a:gd name="T69" fmla="*/ 3 h 1806"/>
                <a:gd name="T70" fmla="*/ 115 w 1806"/>
                <a:gd name="T71" fmla="*/ 5 h 1806"/>
                <a:gd name="T72" fmla="*/ 123 w 1806"/>
                <a:gd name="T73" fmla="*/ 7 h 1806"/>
                <a:gd name="T74" fmla="*/ 133 w 1806"/>
                <a:gd name="T75" fmla="*/ 14 h 1806"/>
                <a:gd name="T76" fmla="*/ 138 w 1806"/>
                <a:gd name="T77" fmla="*/ 16 h 1806"/>
                <a:gd name="T78" fmla="*/ 140 w 1806"/>
                <a:gd name="T79" fmla="*/ 14 h 1806"/>
                <a:gd name="T80" fmla="*/ 145 w 1806"/>
                <a:gd name="T81" fmla="*/ 16 h 1806"/>
                <a:gd name="T82" fmla="*/ 147 w 1806"/>
                <a:gd name="T83" fmla="*/ 16 h 1806"/>
                <a:gd name="T84" fmla="*/ 150 w 1806"/>
                <a:gd name="T85" fmla="*/ 17 h 1806"/>
                <a:gd name="T86" fmla="*/ 152 w 1806"/>
                <a:gd name="T87" fmla="*/ 18 h 1806"/>
                <a:gd name="T88" fmla="*/ 155 w 1806"/>
                <a:gd name="T89" fmla="*/ 37 h 1806"/>
                <a:gd name="T90" fmla="*/ 146 w 1806"/>
                <a:gd name="T91" fmla="*/ 66 h 1806"/>
                <a:gd name="T92" fmla="*/ 143 w 1806"/>
                <a:gd name="T93" fmla="*/ 88 h 1806"/>
                <a:gd name="T94" fmla="*/ 144 w 1806"/>
                <a:gd name="T95" fmla="*/ 98 h 1806"/>
                <a:gd name="T96" fmla="*/ 137 w 1806"/>
                <a:gd name="T97" fmla="*/ 118 h 1806"/>
                <a:gd name="T98" fmla="*/ 132 w 1806"/>
                <a:gd name="T99" fmla="*/ 129 h 1806"/>
                <a:gd name="T100" fmla="*/ 124 w 1806"/>
                <a:gd name="T101" fmla="*/ 135 h 1806"/>
                <a:gd name="T102" fmla="*/ 119 w 1806"/>
                <a:gd name="T103" fmla="*/ 136 h 1806"/>
                <a:gd name="T104" fmla="*/ 116 w 1806"/>
                <a:gd name="T105" fmla="*/ 137 h 1806"/>
                <a:gd name="T106" fmla="*/ 112 w 1806"/>
                <a:gd name="T107" fmla="*/ 139 h 1806"/>
                <a:gd name="T108" fmla="*/ 112 w 1806"/>
                <a:gd name="T109" fmla="*/ 141 h 1806"/>
                <a:gd name="T110" fmla="*/ 116 w 1806"/>
                <a:gd name="T111" fmla="*/ 146 h 1806"/>
                <a:gd name="T112" fmla="*/ 116 w 1806"/>
                <a:gd name="T113" fmla="*/ 151 h 1806"/>
                <a:gd name="T114" fmla="*/ 113 w 1806"/>
                <a:gd name="T115" fmla="*/ 153 h 18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6"/>
                <a:gd name="T175" fmla="*/ 0 h 1806"/>
                <a:gd name="T176" fmla="*/ 1806 w 1806"/>
                <a:gd name="T177" fmla="*/ 1806 h 18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6" h="1806">
                  <a:moveTo>
                    <a:pt x="1260" y="1776"/>
                  </a:moveTo>
                  <a:lnTo>
                    <a:pt x="1254" y="1776"/>
                  </a:lnTo>
                  <a:lnTo>
                    <a:pt x="1248" y="1776"/>
                  </a:lnTo>
                  <a:lnTo>
                    <a:pt x="1242" y="1782"/>
                  </a:lnTo>
                  <a:lnTo>
                    <a:pt x="1236" y="1782"/>
                  </a:lnTo>
                  <a:lnTo>
                    <a:pt x="1230" y="1788"/>
                  </a:lnTo>
                  <a:lnTo>
                    <a:pt x="1224" y="1782"/>
                  </a:lnTo>
                  <a:lnTo>
                    <a:pt x="1218" y="1782"/>
                  </a:lnTo>
                  <a:lnTo>
                    <a:pt x="1218" y="1788"/>
                  </a:lnTo>
                  <a:lnTo>
                    <a:pt x="1212" y="1788"/>
                  </a:lnTo>
                  <a:lnTo>
                    <a:pt x="1206" y="1788"/>
                  </a:lnTo>
                  <a:lnTo>
                    <a:pt x="1206" y="1794"/>
                  </a:lnTo>
                  <a:lnTo>
                    <a:pt x="1200" y="1806"/>
                  </a:lnTo>
                  <a:lnTo>
                    <a:pt x="1194" y="1800"/>
                  </a:lnTo>
                  <a:lnTo>
                    <a:pt x="1194" y="1794"/>
                  </a:lnTo>
                  <a:lnTo>
                    <a:pt x="1194" y="1788"/>
                  </a:lnTo>
                  <a:lnTo>
                    <a:pt x="1188" y="1788"/>
                  </a:lnTo>
                  <a:lnTo>
                    <a:pt x="1188" y="1782"/>
                  </a:lnTo>
                  <a:lnTo>
                    <a:pt x="1188" y="1776"/>
                  </a:lnTo>
                  <a:lnTo>
                    <a:pt x="1194" y="1770"/>
                  </a:lnTo>
                  <a:lnTo>
                    <a:pt x="1194" y="1764"/>
                  </a:lnTo>
                  <a:lnTo>
                    <a:pt x="1194" y="1758"/>
                  </a:lnTo>
                  <a:lnTo>
                    <a:pt x="1194" y="1752"/>
                  </a:lnTo>
                  <a:lnTo>
                    <a:pt x="1200" y="1746"/>
                  </a:lnTo>
                  <a:lnTo>
                    <a:pt x="1200" y="1740"/>
                  </a:lnTo>
                  <a:lnTo>
                    <a:pt x="1200" y="1734"/>
                  </a:lnTo>
                  <a:lnTo>
                    <a:pt x="1188" y="1722"/>
                  </a:lnTo>
                  <a:lnTo>
                    <a:pt x="1188" y="1716"/>
                  </a:lnTo>
                  <a:lnTo>
                    <a:pt x="1194" y="1704"/>
                  </a:lnTo>
                  <a:lnTo>
                    <a:pt x="1194" y="1692"/>
                  </a:lnTo>
                  <a:lnTo>
                    <a:pt x="1200" y="1680"/>
                  </a:lnTo>
                  <a:lnTo>
                    <a:pt x="1200" y="1662"/>
                  </a:lnTo>
                  <a:lnTo>
                    <a:pt x="1200" y="1650"/>
                  </a:lnTo>
                  <a:lnTo>
                    <a:pt x="1206" y="1644"/>
                  </a:lnTo>
                  <a:lnTo>
                    <a:pt x="1206" y="1638"/>
                  </a:lnTo>
                  <a:lnTo>
                    <a:pt x="1206" y="1626"/>
                  </a:lnTo>
                  <a:lnTo>
                    <a:pt x="1206" y="1620"/>
                  </a:lnTo>
                  <a:lnTo>
                    <a:pt x="1206" y="1614"/>
                  </a:lnTo>
                  <a:lnTo>
                    <a:pt x="1200" y="1608"/>
                  </a:lnTo>
                  <a:lnTo>
                    <a:pt x="1200" y="1602"/>
                  </a:lnTo>
                  <a:lnTo>
                    <a:pt x="1200" y="1596"/>
                  </a:lnTo>
                  <a:lnTo>
                    <a:pt x="1200" y="1590"/>
                  </a:lnTo>
                  <a:lnTo>
                    <a:pt x="1200" y="1572"/>
                  </a:lnTo>
                  <a:lnTo>
                    <a:pt x="1200" y="1566"/>
                  </a:lnTo>
                  <a:lnTo>
                    <a:pt x="1200" y="1560"/>
                  </a:lnTo>
                  <a:lnTo>
                    <a:pt x="1194" y="1554"/>
                  </a:lnTo>
                  <a:lnTo>
                    <a:pt x="1188" y="1548"/>
                  </a:lnTo>
                  <a:lnTo>
                    <a:pt x="1188" y="1542"/>
                  </a:lnTo>
                  <a:lnTo>
                    <a:pt x="1176" y="1536"/>
                  </a:lnTo>
                  <a:lnTo>
                    <a:pt x="1176" y="1530"/>
                  </a:lnTo>
                  <a:lnTo>
                    <a:pt x="1170" y="1524"/>
                  </a:lnTo>
                  <a:lnTo>
                    <a:pt x="1170" y="1518"/>
                  </a:lnTo>
                  <a:lnTo>
                    <a:pt x="1164" y="1512"/>
                  </a:lnTo>
                  <a:lnTo>
                    <a:pt x="1158" y="1506"/>
                  </a:lnTo>
                  <a:lnTo>
                    <a:pt x="1152" y="1500"/>
                  </a:lnTo>
                  <a:lnTo>
                    <a:pt x="1146" y="1494"/>
                  </a:lnTo>
                  <a:lnTo>
                    <a:pt x="1140" y="1488"/>
                  </a:lnTo>
                  <a:lnTo>
                    <a:pt x="1134" y="1482"/>
                  </a:lnTo>
                  <a:lnTo>
                    <a:pt x="1128" y="1476"/>
                  </a:lnTo>
                  <a:lnTo>
                    <a:pt x="1122" y="1470"/>
                  </a:lnTo>
                  <a:lnTo>
                    <a:pt x="1116" y="1464"/>
                  </a:lnTo>
                  <a:lnTo>
                    <a:pt x="1110" y="1464"/>
                  </a:lnTo>
                  <a:lnTo>
                    <a:pt x="1104" y="1458"/>
                  </a:lnTo>
                  <a:lnTo>
                    <a:pt x="1098" y="1464"/>
                  </a:lnTo>
                  <a:lnTo>
                    <a:pt x="1092" y="1464"/>
                  </a:lnTo>
                  <a:lnTo>
                    <a:pt x="1086" y="1446"/>
                  </a:lnTo>
                  <a:lnTo>
                    <a:pt x="1086" y="1440"/>
                  </a:lnTo>
                  <a:lnTo>
                    <a:pt x="1080" y="1416"/>
                  </a:lnTo>
                  <a:lnTo>
                    <a:pt x="1068" y="1404"/>
                  </a:lnTo>
                  <a:lnTo>
                    <a:pt x="1062" y="1398"/>
                  </a:lnTo>
                  <a:lnTo>
                    <a:pt x="1056" y="1398"/>
                  </a:lnTo>
                  <a:lnTo>
                    <a:pt x="1050" y="1398"/>
                  </a:lnTo>
                  <a:lnTo>
                    <a:pt x="1044" y="1398"/>
                  </a:lnTo>
                  <a:lnTo>
                    <a:pt x="1044" y="1392"/>
                  </a:lnTo>
                  <a:lnTo>
                    <a:pt x="1038" y="1392"/>
                  </a:lnTo>
                  <a:lnTo>
                    <a:pt x="1032" y="1392"/>
                  </a:lnTo>
                  <a:lnTo>
                    <a:pt x="1020" y="1386"/>
                  </a:lnTo>
                  <a:lnTo>
                    <a:pt x="1014" y="1386"/>
                  </a:lnTo>
                  <a:lnTo>
                    <a:pt x="1014" y="1380"/>
                  </a:lnTo>
                  <a:lnTo>
                    <a:pt x="1008" y="1380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62"/>
                  </a:lnTo>
                  <a:lnTo>
                    <a:pt x="984" y="1356"/>
                  </a:lnTo>
                  <a:lnTo>
                    <a:pt x="978" y="1356"/>
                  </a:lnTo>
                  <a:lnTo>
                    <a:pt x="972" y="1356"/>
                  </a:lnTo>
                  <a:lnTo>
                    <a:pt x="966" y="1356"/>
                  </a:lnTo>
                  <a:lnTo>
                    <a:pt x="966" y="1350"/>
                  </a:lnTo>
                  <a:lnTo>
                    <a:pt x="948" y="1350"/>
                  </a:lnTo>
                  <a:lnTo>
                    <a:pt x="936" y="1344"/>
                  </a:lnTo>
                  <a:lnTo>
                    <a:pt x="930" y="1338"/>
                  </a:lnTo>
                  <a:lnTo>
                    <a:pt x="918" y="1332"/>
                  </a:lnTo>
                  <a:lnTo>
                    <a:pt x="900" y="1326"/>
                  </a:lnTo>
                  <a:lnTo>
                    <a:pt x="864" y="1332"/>
                  </a:lnTo>
                  <a:lnTo>
                    <a:pt x="828" y="1332"/>
                  </a:lnTo>
                  <a:lnTo>
                    <a:pt x="792" y="1314"/>
                  </a:lnTo>
                  <a:lnTo>
                    <a:pt x="780" y="1314"/>
                  </a:lnTo>
                  <a:lnTo>
                    <a:pt x="780" y="1308"/>
                  </a:lnTo>
                  <a:lnTo>
                    <a:pt x="756" y="1296"/>
                  </a:lnTo>
                  <a:lnTo>
                    <a:pt x="756" y="1278"/>
                  </a:lnTo>
                  <a:lnTo>
                    <a:pt x="768" y="1278"/>
                  </a:lnTo>
                  <a:lnTo>
                    <a:pt x="774" y="1272"/>
                  </a:lnTo>
                  <a:lnTo>
                    <a:pt x="780" y="1266"/>
                  </a:lnTo>
                  <a:lnTo>
                    <a:pt x="786" y="1260"/>
                  </a:lnTo>
                  <a:lnTo>
                    <a:pt x="792" y="1254"/>
                  </a:lnTo>
                  <a:lnTo>
                    <a:pt x="798" y="1242"/>
                  </a:lnTo>
                  <a:lnTo>
                    <a:pt x="804" y="1242"/>
                  </a:lnTo>
                  <a:lnTo>
                    <a:pt x="804" y="1206"/>
                  </a:lnTo>
                  <a:lnTo>
                    <a:pt x="804" y="1182"/>
                  </a:lnTo>
                  <a:lnTo>
                    <a:pt x="804" y="1158"/>
                  </a:lnTo>
                  <a:lnTo>
                    <a:pt x="804" y="1134"/>
                  </a:lnTo>
                  <a:lnTo>
                    <a:pt x="798" y="1116"/>
                  </a:lnTo>
                  <a:lnTo>
                    <a:pt x="792" y="1092"/>
                  </a:lnTo>
                  <a:lnTo>
                    <a:pt x="786" y="1062"/>
                  </a:lnTo>
                  <a:lnTo>
                    <a:pt x="768" y="1032"/>
                  </a:lnTo>
                  <a:lnTo>
                    <a:pt x="762" y="1032"/>
                  </a:lnTo>
                  <a:lnTo>
                    <a:pt x="762" y="1020"/>
                  </a:lnTo>
                  <a:lnTo>
                    <a:pt x="762" y="1014"/>
                  </a:lnTo>
                  <a:lnTo>
                    <a:pt x="756" y="1008"/>
                  </a:lnTo>
                  <a:lnTo>
                    <a:pt x="750" y="1002"/>
                  </a:lnTo>
                  <a:lnTo>
                    <a:pt x="738" y="1002"/>
                  </a:lnTo>
                  <a:lnTo>
                    <a:pt x="738" y="990"/>
                  </a:lnTo>
                  <a:lnTo>
                    <a:pt x="726" y="990"/>
                  </a:lnTo>
                  <a:lnTo>
                    <a:pt x="726" y="978"/>
                  </a:lnTo>
                  <a:lnTo>
                    <a:pt x="732" y="972"/>
                  </a:lnTo>
                  <a:lnTo>
                    <a:pt x="732" y="966"/>
                  </a:lnTo>
                  <a:lnTo>
                    <a:pt x="726" y="966"/>
                  </a:lnTo>
                  <a:lnTo>
                    <a:pt x="732" y="948"/>
                  </a:lnTo>
                  <a:lnTo>
                    <a:pt x="726" y="942"/>
                  </a:lnTo>
                  <a:lnTo>
                    <a:pt x="726" y="930"/>
                  </a:lnTo>
                  <a:lnTo>
                    <a:pt x="720" y="924"/>
                  </a:lnTo>
                  <a:lnTo>
                    <a:pt x="714" y="912"/>
                  </a:lnTo>
                  <a:lnTo>
                    <a:pt x="714" y="882"/>
                  </a:lnTo>
                  <a:lnTo>
                    <a:pt x="714" y="870"/>
                  </a:lnTo>
                  <a:lnTo>
                    <a:pt x="714" y="858"/>
                  </a:lnTo>
                  <a:lnTo>
                    <a:pt x="714" y="846"/>
                  </a:lnTo>
                  <a:lnTo>
                    <a:pt x="708" y="822"/>
                  </a:lnTo>
                  <a:lnTo>
                    <a:pt x="702" y="798"/>
                  </a:lnTo>
                  <a:lnTo>
                    <a:pt x="696" y="792"/>
                  </a:lnTo>
                  <a:lnTo>
                    <a:pt x="684" y="726"/>
                  </a:lnTo>
                  <a:lnTo>
                    <a:pt x="678" y="666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66" y="600"/>
                  </a:lnTo>
                  <a:lnTo>
                    <a:pt x="660" y="594"/>
                  </a:lnTo>
                  <a:lnTo>
                    <a:pt x="654" y="594"/>
                  </a:lnTo>
                  <a:lnTo>
                    <a:pt x="636" y="582"/>
                  </a:lnTo>
                  <a:lnTo>
                    <a:pt x="630" y="576"/>
                  </a:lnTo>
                  <a:lnTo>
                    <a:pt x="624" y="576"/>
                  </a:lnTo>
                  <a:lnTo>
                    <a:pt x="618" y="570"/>
                  </a:lnTo>
                  <a:lnTo>
                    <a:pt x="612" y="564"/>
                  </a:lnTo>
                  <a:lnTo>
                    <a:pt x="606" y="558"/>
                  </a:lnTo>
                  <a:lnTo>
                    <a:pt x="606" y="564"/>
                  </a:lnTo>
                  <a:lnTo>
                    <a:pt x="600" y="564"/>
                  </a:lnTo>
                  <a:lnTo>
                    <a:pt x="594" y="558"/>
                  </a:lnTo>
                  <a:lnTo>
                    <a:pt x="594" y="540"/>
                  </a:lnTo>
                  <a:lnTo>
                    <a:pt x="594" y="528"/>
                  </a:lnTo>
                  <a:lnTo>
                    <a:pt x="594" y="516"/>
                  </a:lnTo>
                  <a:lnTo>
                    <a:pt x="594" y="510"/>
                  </a:lnTo>
                  <a:lnTo>
                    <a:pt x="594" y="492"/>
                  </a:lnTo>
                  <a:lnTo>
                    <a:pt x="594" y="456"/>
                  </a:lnTo>
                  <a:lnTo>
                    <a:pt x="588" y="414"/>
                  </a:lnTo>
                  <a:lnTo>
                    <a:pt x="588" y="408"/>
                  </a:lnTo>
                  <a:lnTo>
                    <a:pt x="582" y="396"/>
                  </a:lnTo>
                  <a:lnTo>
                    <a:pt x="582" y="384"/>
                  </a:lnTo>
                  <a:lnTo>
                    <a:pt x="582" y="372"/>
                  </a:lnTo>
                  <a:lnTo>
                    <a:pt x="564" y="372"/>
                  </a:lnTo>
                  <a:lnTo>
                    <a:pt x="552" y="366"/>
                  </a:lnTo>
                  <a:lnTo>
                    <a:pt x="552" y="372"/>
                  </a:lnTo>
                  <a:lnTo>
                    <a:pt x="498" y="372"/>
                  </a:lnTo>
                  <a:lnTo>
                    <a:pt x="498" y="366"/>
                  </a:lnTo>
                  <a:lnTo>
                    <a:pt x="474" y="360"/>
                  </a:lnTo>
                  <a:lnTo>
                    <a:pt x="456" y="354"/>
                  </a:lnTo>
                  <a:lnTo>
                    <a:pt x="438" y="348"/>
                  </a:lnTo>
                  <a:lnTo>
                    <a:pt x="426" y="354"/>
                  </a:lnTo>
                  <a:lnTo>
                    <a:pt x="408" y="360"/>
                  </a:lnTo>
                  <a:lnTo>
                    <a:pt x="378" y="360"/>
                  </a:lnTo>
                  <a:lnTo>
                    <a:pt x="378" y="354"/>
                  </a:lnTo>
                  <a:lnTo>
                    <a:pt x="378" y="348"/>
                  </a:lnTo>
                  <a:lnTo>
                    <a:pt x="378" y="342"/>
                  </a:lnTo>
                  <a:lnTo>
                    <a:pt x="390" y="330"/>
                  </a:lnTo>
                  <a:lnTo>
                    <a:pt x="396" y="312"/>
                  </a:lnTo>
                  <a:lnTo>
                    <a:pt x="396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8"/>
                  </a:lnTo>
                  <a:lnTo>
                    <a:pt x="372" y="234"/>
                  </a:lnTo>
                  <a:lnTo>
                    <a:pt x="354" y="234"/>
                  </a:lnTo>
                  <a:lnTo>
                    <a:pt x="342" y="246"/>
                  </a:lnTo>
                  <a:lnTo>
                    <a:pt x="330" y="252"/>
                  </a:lnTo>
                  <a:lnTo>
                    <a:pt x="318" y="252"/>
                  </a:lnTo>
                  <a:lnTo>
                    <a:pt x="276" y="258"/>
                  </a:lnTo>
                  <a:lnTo>
                    <a:pt x="276" y="264"/>
                  </a:lnTo>
                  <a:lnTo>
                    <a:pt x="252" y="270"/>
                  </a:lnTo>
                  <a:lnTo>
                    <a:pt x="240" y="270"/>
                  </a:lnTo>
                  <a:lnTo>
                    <a:pt x="228" y="276"/>
                  </a:lnTo>
                  <a:lnTo>
                    <a:pt x="210" y="282"/>
                  </a:lnTo>
                  <a:lnTo>
                    <a:pt x="198" y="288"/>
                  </a:lnTo>
                  <a:lnTo>
                    <a:pt x="186" y="294"/>
                  </a:lnTo>
                  <a:lnTo>
                    <a:pt x="174" y="330"/>
                  </a:lnTo>
                  <a:lnTo>
                    <a:pt x="162" y="342"/>
                  </a:lnTo>
                  <a:lnTo>
                    <a:pt x="156" y="354"/>
                  </a:lnTo>
                  <a:lnTo>
                    <a:pt x="150" y="360"/>
                  </a:lnTo>
                  <a:lnTo>
                    <a:pt x="150" y="366"/>
                  </a:lnTo>
                  <a:lnTo>
                    <a:pt x="108" y="372"/>
                  </a:lnTo>
                  <a:lnTo>
                    <a:pt x="60" y="378"/>
                  </a:lnTo>
                  <a:lnTo>
                    <a:pt x="42" y="378"/>
                  </a:lnTo>
                  <a:lnTo>
                    <a:pt x="12" y="378"/>
                  </a:lnTo>
                  <a:lnTo>
                    <a:pt x="6" y="378"/>
                  </a:lnTo>
                  <a:lnTo>
                    <a:pt x="0" y="366"/>
                  </a:lnTo>
                  <a:lnTo>
                    <a:pt x="12" y="360"/>
                  </a:lnTo>
                  <a:lnTo>
                    <a:pt x="24" y="348"/>
                  </a:lnTo>
                  <a:lnTo>
                    <a:pt x="30" y="342"/>
                  </a:lnTo>
                  <a:lnTo>
                    <a:pt x="36" y="330"/>
                  </a:lnTo>
                  <a:lnTo>
                    <a:pt x="72" y="300"/>
                  </a:lnTo>
                  <a:lnTo>
                    <a:pt x="78" y="294"/>
                  </a:lnTo>
                  <a:lnTo>
                    <a:pt x="78" y="288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96" y="270"/>
                  </a:lnTo>
                  <a:lnTo>
                    <a:pt x="102" y="264"/>
                  </a:lnTo>
                  <a:lnTo>
                    <a:pt x="108" y="258"/>
                  </a:lnTo>
                  <a:lnTo>
                    <a:pt x="114" y="246"/>
                  </a:lnTo>
                  <a:lnTo>
                    <a:pt x="120" y="240"/>
                  </a:lnTo>
                  <a:lnTo>
                    <a:pt x="126" y="234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0" y="210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86" y="174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22" y="138"/>
                  </a:lnTo>
                  <a:lnTo>
                    <a:pt x="234" y="132"/>
                  </a:lnTo>
                  <a:lnTo>
                    <a:pt x="246" y="126"/>
                  </a:lnTo>
                  <a:lnTo>
                    <a:pt x="246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88" y="102"/>
                  </a:lnTo>
                  <a:lnTo>
                    <a:pt x="300" y="96"/>
                  </a:lnTo>
                  <a:lnTo>
                    <a:pt x="306" y="90"/>
                  </a:lnTo>
                  <a:lnTo>
                    <a:pt x="318" y="90"/>
                  </a:lnTo>
                  <a:lnTo>
                    <a:pt x="324" y="84"/>
                  </a:lnTo>
                  <a:lnTo>
                    <a:pt x="348" y="72"/>
                  </a:lnTo>
                  <a:lnTo>
                    <a:pt x="354" y="72"/>
                  </a:lnTo>
                  <a:lnTo>
                    <a:pt x="384" y="66"/>
                  </a:lnTo>
                  <a:lnTo>
                    <a:pt x="390" y="66"/>
                  </a:lnTo>
                  <a:lnTo>
                    <a:pt x="396" y="66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66"/>
                  </a:lnTo>
                  <a:lnTo>
                    <a:pt x="438" y="66"/>
                  </a:lnTo>
                  <a:lnTo>
                    <a:pt x="468" y="66"/>
                  </a:lnTo>
                  <a:lnTo>
                    <a:pt x="480" y="66"/>
                  </a:lnTo>
                  <a:lnTo>
                    <a:pt x="486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22" y="60"/>
                  </a:lnTo>
                  <a:lnTo>
                    <a:pt x="534" y="54"/>
                  </a:lnTo>
                  <a:lnTo>
                    <a:pt x="564" y="42"/>
                  </a:lnTo>
                  <a:lnTo>
                    <a:pt x="570" y="42"/>
                  </a:lnTo>
                  <a:lnTo>
                    <a:pt x="582" y="36"/>
                  </a:lnTo>
                  <a:lnTo>
                    <a:pt x="588" y="36"/>
                  </a:lnTo>
                  <a:lnTo>
                    <a:pt x="600" y="30"/>
                  </a:lnTo>
                  <a:lnTo>
                    <a:pt x="606" y="30"/>
                  </a:lnTo>
                  <a:lnTo>
                    <a:pt x="618" y="24"/>
                  </a:lnTo>
                  <a:lnTo>
                    <a:pt x="642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72" y="12"/>
                  </a:lnTo>
                  <a:lnTo>
                    <a:pt x="696" y="12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50" y="6"/>
                  </a:lnTo>
                  <a:lnTo>
                    <a:pt x="768" y="6"/>
                  </a:lnTo>
                  <a:lnTo>
                    <a:pt x="774" y="6"/>
                  </a:lnTo>
                  <a:lnTo>
                    <a:pt x="786" y="6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6" y="6"/>
                  </a:lnTo>
                  <a:lnTo>
                    <a:pt x="846" y="6"/>
                  </a:lnTo>
                  <a:lnTo>
                    <a:pt x="852" y="0"/>
                  </a:lnTo>
                  <a:lnTo>
                    <a:pt x="876" y="0"/>
                  </a:lnTo>
                  <a:lnTo>
                    <a:pt x="876" y="6"/>
                  </a:lnTo>
                  <a:lnTo>
                    <a:pt x="888" y="0"/>
                  </a:lnTo>
                  <a:lnTo>
                    <a:pt x="900" y="0"/>
                  </a:lnTo>
                  <a:lnTo>
                    <a:pt x="906" y="0"/>
                  </a:lnTo>
                  <a:lnTo>
                    <a:pt x="912" y="0"/>
                  </a:lnTo>
                  <a:lnTo>
                    <a:pt x="948" y="0"/>
                  </a:lnTo>
                  <a:lnTo>
                    <a:pt x="954" y="0"/>
                  </a:lnTo>
                  <a:lnTo>
                    <a:pt x="972" y="0"/>
                  </a:lnTo>
                  <a:lnTo>
                    <a:pt x="978" y="0"/>
                  </a:lnTo>
                  <a:lnTo>
                    <a:pt x="996" y="0"/>
                  </a:lnTo>
                  <a:lnTo>
                    <a:pt x="1032" y="0"/>
                  </a:lnTo>
                  <a:lnTo>
                    <a:pt x="1044" y="0"/>
                  </a:lnTo>
                  <a:lnTo>
                    <a:pt x="1050" y="0"/>
                  </a:lnTo>
                  <a:lnTo>
                    <a:pt x="1056" y="6"/>
                  </a:lnTo>
                  <a:lnTo>
                    <a:pt x="1056" y="0"/>
                  </a:lnTo>
                  <a:lnTo>
                    <a:pt x="1074" y="0"/>
                  </a:lnTo>
                  <a:lnTo>
                    <a:pt x="1098" y="6"/>
                  </a:lnTo>
                  <a:lnTo>
                    <a:pt x="1116" y="6"/>
                  </a:lnTo>
                  <a:lnTo>
                    <a:pt x="1140" y="12"/>
                  </a:lnTo>
                  <a:lnTo>
                    <a:pt x="1152" y="12"/>
                  </a:lnTo>
                  <a:lnTo>
                    <a:pt x="1158" y="12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6" y="12"/>
                  </a:lnTo>
                  <a:lnTo>
                    <a:pt x="1194" y="18"/>
                  </a:lnTo>
                  <a:lnTo>
                    <a:pt x="1206" y="18"/>
                  </a:lnTo>
                  <a:lnTo>
                    <a:pt x="1242" y="36"/>
                  </a:lnTo>
                  <a:lnTo>
                    <a:pt x="1248" y="36"/>
                  </a:lnTo>
                  <a:lnTo>
                    <a:pt x="1254" y="36"/>
                  </a:lnTo>
                  <a:lnTo>
                    <a:pt x="1260" y="42"/>
                  </a:lnTo>
                  <a:lnTo>
                    <a:pt x="1272" y="48"/>
                  </a:lnTo>
                  <a:lnTo>
                    <a:pt x="1278" y="48"/>
                  </a:lnTo>
                  <a:lnTo>
                    <a:pt x="1284" y="48"/>
                  </a:lnTo>
                  <a:lnTo>
                    <a:pt x="1290" y="54"/>
                  </a:lnTo>
                  <a:lnTo>
                    <a:pt x="1308" y="60"/>
                  </a:lnTo>
                  <a:lnTo>
                    <a:pt x="1326" y="60"/>
                  </a:lnTo>
                  <a:lnTo>
                    <a:pt x="1338" y="66"/>
                  </a:lnTo>
                  <a:lnTo>
                    <a:pt x="1344" y="66"/>
                  </a:lnTo>
                  <a:lnTo>
                    <a:pt x="1350" y="66"/>
                  </a:lnTo>
                  <a:lnTo>
                    <a:pt x="1356" y="66"/>
                  </a:lnTo>
                  <a:lnTo>
                    <a:pt x="1362" y="72"/>
                  </a:lnTo>
                  <a:lnTo>
                    <a:pt x="1368" y="72"/>
                  </a:lnTo>
                  <a:lnTo>
                    <a:pt x="1380" y="72"/>
                  </a:lnTo>
                  <a:lnTo>
                    <a:pt x="1386" y="72"/>
                  </a:lnTo>
                  <a:lnTo>
                    <a:pt x="1422" y="84"/>
                  </a:lnTo>
                  <a:lnTo>
                    <a:pt x="1428" y="84"/>
                  </a:lnTo>
                  <a:lnTo>
                    <a:pt x="1446" y="90"/>
                  </a:lnTo>
                  <a:lnTo>
                    <a:pt x="1458" y="102"/>
                  </a:lnTo>
                  <a:lnTo>
                    <a:pt x="1494" y="126"/>
                  </a:lnTo>
                  <a:lnTo>
                    <a:pt x="1500" y="132"/>
                  </a:lnTo>
                  <a:lnTo>
                    <a:pt x="1512" y="138"/>
                  </a:lnTo>
                  <a:lnTo>
                    <a:pt x="1512" y="144"/>
                  </a:lnTo>
                  <a:lnTo>
                    <a:pt x="1518" y="150"/>
                  </a:lnTo>
                  <a:lnTo>
                    <a:pt x="1530" y="156"/>
                  </a:lnTo>
                  <a:lnTo>
                    <a:pt x="1530" y="162"/>
                  </a:lnTo>
                  <a:lnTo>
                    <a:pt x="1548" y="168"/>
                  </a:lnTo>
                  <a:lnTo>
                    <a:pt x="1566" y="180"/>
                  </a:lnTo>
                  <a:lnTo>
                    <a:pt x="1578" y="186"/>
                  </a:lnTo>
                  <a:lnTo>
                    <a:pt x="1578" y="180"/>
                  </a:lnTo>
                  <a:lnTo>
                    <a:pt x="1584" y="186"/>
                  </a:lnTo>
                  <a:lnTo>
                    <a:pt x="1584" y="174"/>
                  </a:lnTo>
                  <a:lnTo>
                    <a:pt x="1590" y="174"/>
                  </a:lnTo>
                  <a:lnTo>
                    <a:pt x="1590" y="180"/>
                  </a:lnTo>
                  <a:lnTo>
                    <a:pt x="1596" y="180"/>
                  </a:lnTo>
                  <a:lnTo>
                    <a:pt x="1596" y="174"/>
                  </a:lnTo>
                  <a:lnTo>
                    <a:pt x="1602" y="174"/>
                  </a:lnTo>
                  <a:lnTo>
                    <a:pt x="1608" y="174"/>
                  </a:lnTo>
                  <a:lnTo>
                    <a:pt x="1614" y="180"/>
                  </a:lnTo>
                  <a:lnTo>
                    <a:pt x="1620" y="174"/>
                  </a:lnTo>
                  <a:lnTo>
                    <a:pt x="1614" y="168"/>
                  </a:lnTo>
                  <a:lnTo>
                    <a:pt x="1614" y="162"/>
                  </a:lnTo>
                  <a:lnTo>
                    <a:pt x="1620" y="162"/>
                  </a:lnTo>
                  <a:lnTo>
                    <a:pt x="1626" y="162"/>
                  </a:lnTo>
                  <a:lnTo>
                    <a:pt x="1632" y="162"/>
                  </a:lnTo>
                  <a:lnTo>
                    <a:pt x="1638" y="168"/>
                  </a:lnTo>
                  <a:lnTo>
                    <a:pt x="1644" y="168"/>
                  </a:lnTo>
                  <a:lnTo>
                    <a:pt x="1650" y="174"/>
                  </a:lnTo>
                  <a:lnTo>
                    <a:pt x="1656" y="168"/>
                  </a:lnTo>
                  <a:lnTo>
                    <a:pt x="1668" y="168"/>
                  </a:lnTo>
                  <a:lnTo>
                    <a:pt x="1674" y="174"/>
                  </a:lnTo>
                  <a:lnTo>
                    <a:pt x="1674" y="180"/>
                  </a:lnTo>
                  <a:lnTo>
                    <a:pt x="1674" y="186"/>
                  </a:lnTo>
                  <a:lnTo>
                    <a:pt x="1680" y="186"/>
                  </a:lnTo>
                  <a:lnTo>
                    <a:pt x="1680" y="192"/>
                  </a:lnTo>
                  <a:lnTo>
                    <a:pt x="1686" y="192"/>
                  </a:lnTo>
                  <a:lnTo>
                    <a:pt x="1686" y="186"/>
                  </a:lnTo>
                  <a:lnTo>
                    <a:pt x="1680" y="186"/>
                  </a:lnTo>
                  <a:lnTo>
                    <a:pt x="1686" y="180"/>
                  </a:lnTo>
                  <a:lnTo>
                    <a:pt x="1692" y="180"/>
                  </a:lnTo>
                  <a:lnTo>
                    <a:pt x="1698" y="180"/>
                  </a:lnTo>
                  <a:lnTo>
                    <a:pt x="1704" y="180"/>
                  </a:lnTo>
                  <a:lnTo>
                    <a:pt x="1704" y="186"/>
                  </a:lnTo>
                  <a:lnTo>
                    <a:pt x="1710" y="186"/>
                  </a:lnTo>
                  <a:lnTo>
                    <a:pt x="1716" y="186"/>
                  </a:lnTo>
                  <a:lnTo>
                    <a:pt x="1716" y="192"/>
                  </a:lnTo>
                  <a:lnTo>
                    <a:pt x="1716" y="198"/>
                  </a:lnTo>
                  <a:lnTo>
                    <a:pt x="1722" y="192"/>
                  </a:lnTo>
                  <a:lnTo>
                    <a:pt x="1722" y="186"/>
                  </a:lnTo>
                  <a:lnTo>
                    <a:pt x="1728" y="192"/>
                  </a:lnTo>
                  <a:lnTo>
                    <a:pt x="1734" y="192"/>
                  </a:lnTo>
                  <a:lnTo>
                    <a:pt x="1734" y="186"/>
                  </a:lnTo>
                  <a:lnTo>
                    <a:pt x="1740" y="186"/>
                  </a:lnTo>
                  <a:lnTo>
                    <a:pt x="1740" y="192"/>
                  </a:lnTo>
                  <a:lnTo>
                    <a:pt x="1746" y="192"/>
                  </a:lnTo>
                  <a:lnTo>
                    <a:pt x="1758" y="192"/>
                  </a:lnTo>
                  <a:lnTo>
                    <a:pt x="1764" y="192"/>
                  </a:lnTo>
                  <a:lnTo>
                    <a:pt x="1764" y="198"/>
                  </a:lnTo>
                  <a:lnTo>
                    <a:pt x="1758" y="204"/>
                  </a:lnTo>
                  <a:lnTo>
                    <a:pt x="1752" y="210"/>
                  </a:lnTo>
                  <a:lnTo>
                    <a:pt x="1746" y="216"/>
                  </a:lnTo>
                  <a:lnTo>
                    <a:pt x="1746" y="222"/>
                  </a:lnTo>
                  <a:lnTo>
                    <a:pt x="1734" y="228"/>
                  </a:lnTo>
                  <a:lnTo>
                    <a:pt x="1734" y="234"/>
                  </a:lnTo>
                  <a:lnTo>
                    <a:pt x="1734" y="258"/>
                  </a:lnTo>
                  <a:lnTo>
                    <a:pt x="1740" y="330"/>
                  </a:lnTo>
                  <a:lnTo>
                    <a:pt x="1746" y="372"/>
                  </a:lnTo>
                  <a:lnTo>
                    <a:pt x="1788" y="426"/>
                  </a:lnTo>
                  <a:lnTo>
                    <a:pt x="1806" y="438"/>
                  </a:lnTo>
                  <a:lnTo>
                    <a:pt x="1794" y="480"/>
                  </a:lnTo>
                  <a:lnTo>
                    <a:pt x="1770" y="516"/>
                  </a:lnTo>
                  <a:lnTo>
                    <a:pt x="1746" y="546"/>
                  </a:lnTo>
                  <a:lnTo>
                    <a:pt x="1716" y="570"/>
                  </a:lnTo>
                  <a:lnTo>
                    <a:pt x="1680" y="594"/>
                  </a:lnTo>
                  <a:lnTo>
                    <a:pt x="1668" y="630"/>
                  </a:lnTo>
                  <a:lnTo>
                    <a:pt x="1680" y="684"/>
                  </a:lnTo>
                  <a:lnTo>
                    <a:pt x="1686" y="756"/>
                  </a:lnTo>
                  <a:lnTo>
                    <a:pt x="1662" y="870"/>
                  </a:lnTo>
                  <a:lnTo>
                    <a:pt x="1656" y="888"/>
                  </a:lnTo>
                  <a:lnTo>
                    <a:pt x="1650" y="972"/>
                  </a:lnTo>
                  <a:lnTo>
                    <a:pt x="1656" y="978"/>
                  </a:lnTo>
                  <a:lnTo>
                    <a:pt x="1650" y="984"/>
                  </a:lnTo>
                  <a:lnTo>
                    <a:pt x="1650" y="990"/>
                  </a:lnTo>
                  <a:lnTo>
                    <a:pt x="1650" y="1002"/>
                  </a:lnTo>
                  <a:lnTo>
                    <a:pt x="1656" y="1008"/>
                  </a:lnTo>
                  <a:lnTo>
                    <a:pt x="1656" y="1014"/>
                  </a:lnTo>
                  <a:lnTo>
                    <a:pt x="1662" y="1026"/>
                  </a:lnTo>
                  <a:lnTo>
                    <a:pt x="1650" y="1032"/>
                  </a:lnTo>
                  <a:lnTo>
                    <a:pt x="1638" y="1044"/>
                  </a:lnTo>
                  <a:lnTo>
                    <a:pt x="1626" y="1080"/>
                  </a:lnTo>
                  <a:lnTo>
                    <a:pt x="1614" y="1116"/>
                  </a:lnTo>
                  <a:lnTo>
                    <a:pt x="1614" y="1128"/>
                  </a:lnTo>
                  <a:lnTo>
                    <a:pt x="1626" y="1134"/>
                  </a:lnTo>
                  <a:lnTo>
                    <a:pt x="1644" y="1134"/>
                  </a:lnTo>
                  <a:lnTo>
                    <a:pt x="1662" y="1134"/>
                  </a:lnTo>
                  <a:lnTo>
                    <a:pt x="1680" y="1140"/>
                  </a:lnTo>
                  <a:lnTo>
                    <a:pt x="1698" y="1170"/>
                  </a:lnTo>
                  <a:lnTo>
                    <a:pt x="1704" y="1194"/>
                  </a:lnTo>
                  <a:lnTo>
                    <a:pt x="1692" y="1206"/>
                  </a:lnTo>
                  <a:lnTo>
                    <a:pt x="1662" y="1242"/>
                  </a:lnTo>
                  <a:lnTo>
                    <a:pt x="1632" y="1266"/>
                  </a:lnTo>
                  <a:lnTo>
                    <a:pt x="1620" y="1314"/>
                  </a:lnTo>
                  <a:lnTo>
                    <a:pt x="1584" y="1356"/>
                  </a:lnTo>
                  <a:lnTo>
                    <a:pt x="1578" y="1356"/>
                  </a:lnTo>
                  <a:lnTo>
                    <a:pt x="1578" y="1362"/>
                  </a:lnTo>
                  <a:lnTo>
                    <a:pt x="1572" y="1410"/>
                  </a:lnTo>
                  <a:lnTo>
                    <a:pt x="1584" y="1452"/>
                  </a:lnTo>
                  <a:lnTo>
                    <a:pt x="1608" y="1476"/>
                  </a:lnTo>
                  <a:lnTo>
                    <a:pt x="1596" y="1476"/>
                  </a:lnTo>
                  <a:lnTo>
                    <a:pt x="1584" y="1482"/>
                  </a:lnTo>
                  <a:lnTo>
                    <a:pt x="1560" y="1482"/>
                  </a:lnTo>
                  <a:lnTo>
                    <a:pt x="1536" y="1482"/>
                  </a:lnTo>
                  <a:lnTo>
                    <a:pt x="1524" y="1482"/>
                  </a:lnTo>
                  <a:lnTo>
                    <a:pt x="1506" y="1500"/>
                  </a:lnTo>
                  <a:lnTo>
                    <a:pt x="1482" y="1530"/>
                  </a:lnTo>
                  <a:lnTo>
                    <a:pt x="1452" y="1542"/>
                  </a:lnTo>
                  <a:lnTo>
                    <a:pt x="1446" y="1542"/>
                  </a:lnTo>
                  <a:lnTo>
                    <a:pt x="1440" y="1542"/>
                  </a:lnTo>
                  <a:lnTo>
                    <a:pt x="1440" y="1548"/>
                  </a:lnTo>
                  <a:lnTo>
                    <a:pt x="1434" y="1548"/>
                  </a:lnTo>
                  <a:lnTo>
                    <a:pt x="1428" y="1548"/>
                  </a:lnTo>
                  <a:lnTo>
                    <a:pt x="1428" y="1554"/>
                  </a:lnTo>
                  <a:lnTo>
                    <a:pt x="1422" y="1560"/>
                  </a:lnTo>
                  <a:lnTo>
                    <a:pt x="1416" y="1560"/>
                  </a:lnTo>
                  <a:lnTo>
                    <a:pt x="1410" y="1566"/>
                  </a:lnTo>
                  <a:lnTo>
                    <a:pt x="1410" y="1560"/>
                  </a:lnTo>
                  <a:lnTo>
                    <a:pt x="1404" y="1560"/>
                  </a:lnTo>
                  <a:lnTo>
                    <a:pt x="1392" y="1560"/>
                  </a:lnTo>
                  <a:lnTo>
                    <a:pt x="1386" y="1560"/>
                  </a:lnTo>
                  <a:lnTo>
                    <a:pt x="1380" y="1566"/>
                  </a:lnTo>
                  <a:lnTo>
                    <a:pt x="1374" y="1560"/>
                  </a:lnTo>
                  <a:lnTo>
                    <a:pt x="1368" y="1566"/>
                  </a:lnTo>
                  <a:lnTo>
                    <a:pt x="1362" y="1566"/>
                  </a:lnTo>
                  <a:lnTo>
                    <a:pt x="1362" y="1572"/>
                  </a:lnTo>
                  <a:lnTo>
                    <a:pt x="1356" y="1572"/>
                  </a:lnTo>
                  <a:lnTo>
                    <a:pt x="1356" y="1578"/>
                  </a:lnTo>
                  <a:lnTo>
                    <a:pt x="1350" y="1578"/>
                  </a:lnTo>
                  <a:lnTo>
                    <a:pt x="1350" y="1572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32" y="1584"/>
                  </a:lnTo>
                  <a:lnTo>
                    <a:pt x="1326" y="1590"/>
                  </a:lnTo>
                  <a:lnTo>
                    <a:pt x="1320" y="1584"/>
                  </a:lnTo>
                  <a:lnTo>
                    <a:pt x="1314" y="1590"/>
                  </a:lnTo>
                  <a:lnTo>
                    <a:pt x="1308" y="1596"/>
                  </a:lnTo>
                  <a:lnTo>
                    <a:pt x="1302" y="1596"/>
                  </a:lnTo>
                  <a:lnTo>
                    <a:pt x="1296" y="1596"/>
                  </a:lnTo>
                  <a:lnTo>
                    <a:pt x="1290" y="1596"/>
                  </a:lnTo>
                  <a:lnTo>
                    <a:pt x="1284" y="1596"/>
                  </a:lnTo>
                  <a:lnTo>
                    <a:pt x="1278" y="1602"/>
                  </a:lnTo>
                  <a:lnTo>
                    <a:pt x="1266" y="1602"/>
                  </a:lnTo>
                  <a:lnTo>
                    <a:pt x="1272" y="1608"/>
                  </a:lnTo>
                  <a:lnTo>
                    <a:pt x="1278" y="1608"/>
                  </a:lnTo>
                  <a:lnTo>
                    <a:pt x="1284" y="1608"/>
                  </a:lnTo>
                  <a:lnTo>
                    <a:pt x="1290" y="1614"/>
                  </a:lnTo>
                  <a:lnTo>
                    <a:pt x="1296" y="1620"/>
                  </a:lnTo>
                  <a:lnTo>
                    <a:pt x="1302" y="1626"/>
                  </a:lnTo>
                  <a:lnTo>
                    <a:pt x="1308" y="1632"/>
                  </a:lnTo>
                  <a:lnTo>
                    <a:pt x="1314" y="1638"/>
                  </a:lnTo>
                  <a:lnTo>
                    <a:pt x="1314" y="1644"/>
                  </a:lnTo>
                  <a:lnTo>
                    <a:pt x="1320" y="1644"/>
                  </a:lnTo>
                  <a:lnTo>
                    <a:pt x="1320" y="1650"/>
                  </a:lnTo>
                  <a:lnTo>
                    <a:pt x="1326" y="1656"/>
                  </a:lnTo>
                  <a:lnTo>
                    <a:pt x="1332" y="1668"/>
                  </a:lnTo>
                  <a:lnTo>
                    <a:pt x="1338" y="1680"/>
                  </a:lnTo>
                  <a:lnTo>
                    <a:pt x="1338" y="1698"/>
                  </a:lnTo>
                  <a:lnTo>
                    <a:pt x="1350" y="1710"/>
                  </a:lnTo>
                  <a:lnTo>
                    <a:pt x="1350" y="1716"/>
                  </a:lnTo>
                  <a:lnTo>
                    <a:pt x="1350" y="1722"/>
                  </a:lnTo>
                  <a:lnTo>
                    <a:pt x="1350" y="1728"/>
                  </a:lnTo>
                  <a:lnTo>
                    <a:pt x="1356" y="1728"/>
                  </a:lnTo>
                  <a:lnTo>
                    <a:pt x="1356" y="1734"/>
                  </a:lnTo>
                  <a:lnTo>
                    <a:pt x="1350" y="1734"/>
                  </a:lnTo>
                  <a:lnTo>
                    <a:pt x="1344" y="1740"/>
                  </a:lnTo>
                  <a:lnTo>
                    <a:pt x="1338" y="1740"/>
                  </a:lnTo>
                  <a:lnTo>
                    <a:pt x="1332" y="1746"/>
                  </a:lnTo>
                  <a:lnTo>
                    <a:pt x="1326" y="1746"/>
                  </a:lnTo>
                  <a:lnTo>
                    <a:pt x="1326" y="1752"/>
                  </a:lnTo>
                  <a:lnTo>
                    <a:pt x="1320" y="1752"/>
                  </a:lnTo>
                  <a:lnTo>
                    <a:pt x="1320" y="1758"/>
                  </a:lnTo>
                  <a:lnTo>
                    <a:pt x="1314" y="1758"/>
                  </a:lnTo>
                  <a:lnTo>
                    <a:pt x="1308" y="1758"/>
                  </a:lnTo>
                  <a:lnTo>
                    <a:pt x="1302" y="1758"/>
                  </a:lnTo>
                  <a:lnTo>
                    <a:pt x="1296" y="1758"/>
                  </a:lnTo>
                  <a:lnTo>
                    <a:pt x="1290" y="1764"/>
                  </a:lnTo>
                  <a:lnTo>
                    <a:pt x="1284" y="1770"/>
                  </a:lnTo>
                  <a:lnTo>
                    <a:pt x="1278" y="1770"/>
                  </a:lnTo>
                  <a:lnTo>
                    <a:pt x="1272" y="1770"/>
                  </a:lnTo>
                  <a:lnTo>
                    <a:pt x="1266" y="1770"/>
                  </a:lnTo>
                  <a:lnTo>
                    <a:pt x="1266" y="1776"/>
                  </a:lnTo>
                  <a:lnTo>
                    <a:pt x="1260" y="1776"/>
                  </a:lnTo>
                  <a:close/>
                </a:path>
              </a:pathLst>
            </a:custGeom>
            <a:solidFill>
              <a:srgbClr val="2A4F1D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4" name="Freeform 39">
              <a:extLst>
                <a:ext uri="{FF2B5EF4-FFF2-40B4-BE49-F238E27FC236}">
                  <a16:creationId xmlns:a16="http://schemas.microsoft.com/office/drawing/2014/main" id="{E01CDA8B-32C7-421A-B23E-968CAC7F78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2974" y="1759680"/>
              <a:ext cx="825155" cy="700024"/>
            </a:xfrm>
            <a:custGeom>
              <a:avLst/>
              <a:gdLst>
                <a:gd name="T0" fmla="*/ 60 w 1554"/>
                <a:gd name="T1" fmla="*/ 86 h 1320"/>
                <a:gd name="T2" fmla="*/ 66 w 1554"/>
                <a:gd name="T3" fmla="*/ 80 h 1320"/>
                <a:gd name="T4" fmla="*/ 61 w 1554"/>
                <a:gd name="T5" fmla="*/ 73 h 1320"/>
                <a:gd name="T6" fmla="*/ 57 w 1554"/>
                <a:gd name="T7" fmla="*/ 67 h 1320"/>
                <a:gd name="T8" fmla="*/ 60 w 1554"/>
                <a:gd name="T9" fmla="*/ 59 h 1320"/>
                <a:gd name="T10" fmla="*/ 56 w 1554"/>
                <a:gd name="T11" fmla="*/ 55 h 1320"/>
                <a:gd name="T12" fmla="*/ 45 w 1554"/>
                <a:gd name="T13" fmla="*/ 53 h 1320"/>
                <a:gd name="T14" fmla="*/ 42 w 1554"/>
                <a:gd name="T15" fmla="*/ 41 h 1320"/>
                <a:gd name="T16" fmla="*/ 37 w 1554"/>
                <a:gd name="T17" fmla="*/ 39 h 1320"/>
                <a:gd name="T18" fmla="*/ 31 w 1554"/>
                <a:gd name="T19" fmla="*/ 44 h 1320"/>
                <a:gd name="T20" fmla="*/ 37 w 1554"/>
                <a:gd name="T21" fmla="*/ 35 h 1320"/>
                <a:gd name="T22" fmla="*/ 30 w 1554"/>
                <a:gd name="T23" fmla="*/ 23 h 1320"/>
                <a:gd name="T24" fmla="*/ 21 w 1554"/>
                <a:gd name="T25" fmla="*/ 23 h 1320"/>
                <a:gd name="T26" fmla="*/ 15 w 1554"/>
                <a:gd name="T27" fmla="*/ 27 h 1320"/>
                <a:gd name="T28" fmla="*/ 11 w 1554"/>
                <a:gd name="T29" fmla="*/ 32 h 1320"/>
                <a:gd name="T30" fmla="*/ 6 w 1554"/>
                <a:gd name="T31" fmla="*/ 22 h 1320"/>
                <a:gd name="T32" fmla="*/ 3 w 1554"/>
                <a:gd name="T33" fmla="*/ 11 h 1320"/>
                <a:gd name="T34" fmla="*/ 24 w 1554"/>
                <a:gd name="T35" fmla="*/ 12 h 1320"/>
                <a:gd name="T36" fmla="*/ 33 w 1554"/>
                <a:gd name="T37" fmla="*/ 19 h 1320"/>
                <a:gd name="T38" fmla="*/ 49 w 1554"/>
                <a:gd name="T39" fmla="*/ 12 h 1320"/>
                <a:gd name="T40" fmla="*/ 58 w 1554"/>
                <a:gd name="T41" fmla="*/ 10 h 1320"/>
                <a:gd name="T42" fmla="*/ 68 w 1554"/>
                <a:gd name="T43" fmla="*/ 11 h 1320"/>
                <a:gd name="T44" fmla="*/ 79 w 1554"/>
                <a:gd name="T45" fmla="*/ 12 h 1320"/>
                <a:gd name="T46" fmla="*/ 96 w 1554"/>
                <a:gd name="T47" fmla="*/ 11 h 1320"/>
                <a:gd name="T48" fmla="*/ 107 w 1554"/>
                <a:gd name="T49" fmla="*/ 2 h 1320"/>
                <a:gd name="T50" fmla="*/ 117 w 1554"/>
                <a:gd name="T51" fmla="*/ 8 h 1320"/>
                <a:gd name="T52" fmla="*/ 126 w 1554"/>
                <a:gd name="T53" fmla="*/ 12 h 1320"/>
                <a:gd name="T54" fmla="*/ 134 w 1554"/>
                <a:gd name="T55" fmla="*/ 24 h 1320"/>
                <a:gd name="T56" fmla="*/ 133 w 1554"/>
                <a:gd name="T57" fmla="*/ 29 h 1320"/>
                <a:gd name="T58" fmla="*/ 129 w 1554"/>
                <a:gd name="T59" fmla="*/ 31 h 1320"/>
                <a:gd name="T60" fmla="*/ 125 w 1554"/>
                <a:gd name="T61" fmla="*/ 32 h 1320"/>
                <a:gd name="T62" fmla="*/ 115 w 1554"/>
                <a:gd name="T63" fmla="*/ 34 h 1320"/>
                <a:gd name="T64" fmla="*/ 113 w 1554"/>
                <a:gd name="T65" fmla="*/ 44 h 1320"/>
                <a:gd name="T66" fmla="*/ 111 w 1554"/>
                <a:gd name="T67" fmla="*/ 54 h 1320"/>
                <a:gd name="T68" fmla="*/ 107 w 1554"/>
                <a:gd name="T69" fmla="*/ 56 h 1320"/>
                <a:gd name="T70" fmla="*/ 102 w 1554"/>
                <a:gd name="T71" fmla="*/ 58 h 1320"/>
                <a:gd name="T72" fmla="*/ 99 w 1554"/>
                <a:gd name="T73" fmla="*/ 60 h 1320"/>
                <a:gd name="T74" fmla="*/ 93 w 1554"/>
                <a:gd name="T75" fmla="*/ 62 h 1320"/>
                <a:gd name="T76" fmla="*/ 87 w 1554"/>
                <a:gd name="T77" fmla="*/ 64 h 1320"/>
                <a:gd name="T78" fmla="*/ 84 w 1554"/>
                <a:gd name="T79" fmla="*/ 65 h 1320"/>
                <a:gd name="T80" fmla="*/ 81 w 1554"/>
                <a:gd name="T81" fmla="*/ 69 h 1320"/>
                <a:gd name="T82" fmla="*/ 83 w 1554"/>
                <a:gd name="T83" fmla="*/ 72 h 1320"/>
                <a:gd name="T84" fmla="*/ 92 w 1554"/>
                <a:gd name="T85" fmla="*/ 73 h 1320"/>
                <a:gd name="T86" fmla="*/ 93 w 1554"/>
                <a:gd name="T87" fmla="*/ 87 h 1320"/>
                <a:gd name="T88" fmla="*/ 104 w 1554"/>
                <a:gd name="T89" fmla="*/ 98 h 1320"/>
                <a:gd name="T90" fmla="*/ 108 w 1554"/>
                <a:gd name="T91" fmla="*/ 98 h 1320"/>
                <a:gd name="T92" fmla="*/ 112 w 1554"/>
                <a:gd name="T93" fmla="*/ 100 h 1320"/>
                <a:gd name="T94" fmla="*/ 118 w 1554"/>
                <a:gd name="T95" fmla="*/ 100 h 1320"/>
                <a:gd name="T96" fmla="*/ 122 w 1554"/>
                <a:gd name="T97" fmla="*/ 102 h 1320"/>
                <a:gd name="T98" fmla="*/ 118 w 1554"/>
                <a:gd name="T99" fmla="*/ 105 h 1320"/>
                <a:gd name="T100" fmla="*/ 114 w 1554"/>
                <a:gd name="T101" fmla="*/ 107 h 1320"/>
                <a:gd name="T102" fmla="*/ 113 w 1554"/>
                <a:gd name="T103" fmla="*/ 113 h 1320"/>
                <a:gd name="T104" fmla="*/ 104 w 1554"/>
                <a:gd name="T105" fmla="*/ 113 h 1320"/>
                <a:gd name="T106" fmla="*/ 93 w 1554"/>
                <a:gd name="T107" fmla="*/ 109 h 1320"/>
                <a:gd name="T108" fmla="*/ 96 w 1554"/>
                <a:gd name="T109" fmla="*/ 103 h 1320"/>
                <a:gd name="T110" fmla="*/ 95 w 1554"/>
                <a:gd name="T111" fmla="*/ 97 h 1320"/>
                <a:gd name="T112" fmla="*/ 87 w 1554"/>
                <a:gd name="T113" fmla="*/ 98 h 1320"/>
                <a:gd name="T114" fmla="*/ 81 w 1554"/>
                <a:gd name="T115" fmla="*/ 98 h 1320"/>
                <a:gd name="T116" fmla="*/ 78 w 1554"/>
                <a:gd name="T117" fmla="*/ 93 h 1320"/>
                <a:gd name="T118" fmla="*/ 65 w 1554"/>
                <a:gd name="T119" fmla="*/ 92 h 1320"/>
                <a:gd name="T120" fmla="*/ 59 w 1554"/>
                <a:gd name="T121" fmla="*/ 92 h 13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54"/>
                <a:gd name="T184" fmla="*/ 0 h 1320"/>
                <a:gd name="T185" fmla="*/ 1554 w 1554"/>
                <a:gd name="T186" fmla="*/ 1320 h 132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54" h="1320">
                  <a:moveTo>
                    <a:pt x="684" y="1068"/>
                  </a:moveTo>
                  <a:lnTo>
                    <a:pt x="684" y="1062"/>
                  </a:lnTo>
                  <a:lnTo>
                    <a:pt x="690" y="1056"/>
                  </a:lnTo>
                  <a:lnTo>
                    <a:pt x="690" y="1050"/>
                  </a:lnTo>
                  <a:lnTo>
                    <a:pt x="690" y="1044"/>
                  </a:lnTo>
                  <a:lnTo>
                    <a:pt x="690" y="1038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14"/>
                  </a:lnTo>
                  <a:lnTo>
                    <a:pt x="690" y="1008"/>
                  </a:lnTo>
                  <a:lnTo>
                    <a:pt x="696" y="996"/>
                  </a:lnTo>
                  <a:lnTo>
                    <a:pt x="714" y="996"/>
                  </a:lnTo>
                  <a:lnTo>
                    <a:pt x="714" y="990"/>
                  </a:lnTo>
                  <a:lnTo>
                    <a:pt x="732" y="984"/>
                  </a:lnTo>
                  <a:lnTo>
                    <a:pt x="744" y="978"/>
                  </a:lnTo>
                  <a:lnTo>
                    <a:pt x="762" y="966"/>
                  </a:lnTo>
                  <a:lnTo>
                    <a:pt x="762" y="960"/>
                  </a:lnTo>
                  <a:lnTo>
                    <a:pt x="768" y="954"/>
                  </a:lnTo>
                  <a:lnTo>
                    <a:pt x="774" y="948"/>
                  </a:lnTo>
                  <a:lnTo>
                    <a:pt x="774" y="942"/>
                  </a:lnTo>
                  <a:lnTo>
                    <a:pt x="774" y="924"/>
                  </a:lnTo>
                  <a:lnTo>
                    <a:pt x="768" y="918"/>
                  </a:lnTo>
                  <a:lnTo>
                    <a:pt x="756" y="918"/>
                  </a:lnTo>
                  <a:lnTo>
                    <a:pt x="744" y="918"/>
                  </a:lnTo>
                  <a:lnTo>
                    <a:pt x="732" y="924"/>
                  </a:lnTo>
                  <a:lnTo>
                    <a:pt x="726" y="912"/>
                  </a:lnTo>
                  <a:lnTo>
                    <a:pt x="720" y="912"/>
                  </a:lnTo>
                  <a:lnTo>
                    <a:pt x="720" y="900"/>
                  </a:lnTo>
                  <a:lnTo>
                    <a:pt x="720" y="870"/>
                  </a:lnTo>
                  <a:lnTo>
                    <a:pt x="696" y="876"/>
                  </a:lnTo>
                  <a:lnTo>
                    <a:pt x="690" y="852"/>
                  </a:lnTo>
                  <a:lnTo>
                    <a:pt x="702" y="852"/>
                  </a:lnTo>
                  <a:lnTo>
                    <a:pt x="702" y="840"/>
                  </a:lnTo>
                  <a:lnTo>
                    <a:pt x="708" y="834"/>
                  </a:lnTo>
                  <a:lnTo>
                    <a:pt x="702" y="822"/>
                  </a:lnTo>
                  <a:lnTo>
                    <a:pt x="660" y="822"/>
                  </a:lnTo>
                  <a:lnTo>
                    <a:pt x="654" y="822"/>
                  </a:lnTo>
                  <a:lnTo>
                    <a:pt x="642" y="822"/>
                  </a:lnTo>
                  <a:lnTo>
                    <a:pt x="642" y="810"/>
                  </a:lnTo>
                  <a:lnTo>
                    <a:pt x="642" y="798"/>
                  </a:lnTo>
                  <a:lnTo>
                    <a:pt x="642" y="792"/>
                  </a:lnTo>
                  <a:lnTo>
                    <a:pt x="648" y="780"/>
                  </a:lnTo>
                  <a:lnTo>
                    <a:pt x="654" y="774"/>
                  </a:lnTo>
                  <a:lnTo>
                    <a:pt x="660" y="774"/>
                  </a:lnTo>
                  <a:lnTo>
                    <a:pt x="672" y="762"/>
                  </a:lnTo>
                  <a:lnTo>
                    <a:pt x="672" y="756"/>
                  </a:lnTo>
                  <a:lnTo>
                    <a:pt x="678" y="750"/>
                  </a:lnTo>
                  <a:lnTo>
                    <a:pt x="684" y="750"/>
                  </a:lnTo>
                  <a:lnTo>
                    <a:pt x="690" y="744"/>
                  </a:lnTo>
                  <a:lnTo>
                    <a:pt x="696" y="732"/>
                  </a:lnTo>
                  <a:lnTo>
                    <a:pt x="696" y="726"/>
                  </a:lnTo>
                  <a:lnTo>
                    <a:pt x="702" y="714"/>
                  </a:lnTo>
                  <a:lnTo>
                    <a:pt x="696" y="708"/>
                  </a:lnTo>
                  <a:lnTo>
                    <a:pt x="690" y="690"/>
                  </a:lnTo>
                  <a:lnTo>
                    <a:pt x="696" y="678"/>
                  </a:lnTo>
                  <a:lnTo>
                    <a:pt x="708" y="672"/>
                  </a:lnTo>
                  <a:lnTo>
                    <a:pt x="708" y="660"/>
                  </a:lnTo>
                  <a:lnTo>
                    <a:pt x="702" y="660"/>
                  </a:lnTo>
                  <a:lnTo>
                    <a:pt x="696" y="660"/>
                  </a:lnTo>
                  <a:lnTo>
                    <a:pt x="690" y="654"/>
                  </a:lnTo>
                  <a:lnTo>
                    <a:pt x="684" y="654"/>
                  </a:lnTo>
                  <a:lnTo>
                    <a:pt x="690" y="606"/>
                  </a:lnTo>
                  <a:lnTo>
                    <a:pt x="660" y="606"/>
                  </a:lnTo>
                  <a:lnTo>
                    <a:pt x="660" y="612"/>
                  </a:lnTo>
                  <a:lnTo>
                    <a:pt x="648" y="612"/>
                  </a:lnTo>
                  <a:lnTo>
                    <a:pt x="642" y="636"/>
                  </a:lnTo>
                  <a:lnTo>
                    <a:pt x="636" y="636"/>
                  </a:lnTo>
                  <a:lnTo>
                    <a:pt x="630" y="648"/>
                  </a:lnTo>
                  <a:lnTo>
                    <a:pt x="612" y="648"/>
                  </a:lnTo>
                  <a:lnTo>
                    <a:pt x="606" y="636"/>
                  </a:lnTo>
                  <a:lnTo>
                    <a:pt x="600" y="630"/>
                  </a:lnTo>
                  <a:lnTo>
                    <a:pt x="588" y="606"/>
                  </a:lnTo>
                  <a:lnTo>
                    <a:pt x="552" y="606"/>
                  </a:lnTo>
                  <a:lnTo>
                    <a:pt x="552" y="612"/>
                  </a:lnTo>
                  <a:lnTo>
                    <a:pt x="540" y="612"/>
                  </a:lnTo>
                  <a:lnTo>
                    <a:pt x="540" y="606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16" y="612"/>
                  </a:lnTo>
                  <a:lnTo>
                    <a:pt x="516" y="582"/>
                  </a:lnTo>
                  <a:lnTo>
                    <a:pt x="522" y="576"/>
                  </a:lnTo>
                  <a:lnTo>
                    <a:pt x="528" y="576"/>
                  </a:lnTo>
                  <a:lnTo>
                    <a:pt x="528" y="552"/>
                  </a:lnTo>
                  <a:lnTo>
                    <a:pt x="522" y="540"/>
                  </a:lnTo>
                  <a:lnTo>
                    <a:pt x="510" y="528"/>
                  </a:lnTo>
                  <a:lnTo>
                    <a:pt x="486" y="510"/>
                  </a:lnTo>
                  <a:lnTo>
                    <a:pt x="480" y="498"/>
                  </a:lnTo>
                  <a:lnTo>
                    <a:pt x="480" y="474"/>
                  </a:lnTo>
                  <a:lnTo>
                    <a:pt x="492" y="468"/>
                  </a:lnTo>
                  <a:lnTo>
                    <a:pt x="486" y="450"/>
                  </a:lnTo>
                  <a:lnTo>
                    <a:pt x="474" y="456"/>
                  </a:lnTo>
                  <a:lnTo>
                    <a:pt x="468" y="456"/>
                  </a:lnTo>
                  <a:lnTo>
                    <a:pt x="462" y="456"/>
                  </a:lnTo>
                  <a:lnTo>
                    <a:pt x="456" y="468"/>
                  </a:lnTo>
                  <a:lnTo>
                    <a:pt x="456" y="474"/>
                  </a:lnTo>
                  <a:lnTo>
                    <a:pt x="450" y="480"/>
                  </a:lnTo>
                  <a:lnTo>
                    <a:pt x="444" y="450"/>
                  </a:lnTo>
                  <a:lnTo>
                    <a:pt x="438" y="450"/>
                  </a:lnTo>
                  <a:lnTo>
                    <a:pt x="432" y="450"/>
                  </a:lnTo>
                  <a:lnTo>
                    <a:pt x="420" y="450"/>
                  </a:lnTo>
                  <a:lnTo>
                    <a:pt x="420" y="456"/>
                  </a:lnTo>
                  <a:lnTo>
                    <a:pt x="414" y="456"/>
                  </a:lnTo>
                  <a:lnTo>
                    <a:pt x="408" y="468"/>
                  </a:lnTo>
                  <a:lnTo>
                    <a:pt x="402" y="468"/>
                  </a:lnTo>
                  <a:lnTo>
                    <a:pt x="396" y="474"/>
                  </a:lnTo>
                  <a:lnTo>
                    <a:pt x="390" y="492"/>
                  </a:lnTo>
                  <a:lnTo>
                    <a:pt x="384" y="504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54" y="510"/>
                  </a:lnTo>
                  <a:lnTo>
                    <a:pt x="360" y="480"/>
                  </a:lnTo>
                  <a:lnTo>
                    <a:pt x="360" y="474"/>
                  </a:lnTo>
                  <a:lnTo>
                    <a:pt x="378" y="456"/>
                  </a:lnTo>
                  <a:lnTo>
                    <a:pt x="384" y="450"/>
                  </a:lnTo>
                  <a:lnTo>
                    <a:pt x="396" y="444"/>
                  </a:lnTo>
                  <a:lnTo>
                    <a:pt x="402" y="438"/>
                  </a:lnTo>
                  <a:lnTo>
                    <a:pt x="408" y="438"/>
                  </a:lnTo>
                  <a:lnTo>
                    <a:pt x="408" y="426"/>
                  </a:lnTo>
                  <a:lnTo>
                    <a:pt x="414" y="420"/>
                  </a:lnTo>
                  <a:lnTo>
                    <a:pt x="426" y="420"/>
                  </a:lnTo>
                  <a:lnTo>
                    <a:pt x="426" y="408"/>
                  </a:lnTo>
                  <a:lnTo>
                    <a:pt x="420" y="390"/>
                  </a:lnTo>
                  <a:lnTo>
                    <a:pt x="408" y="384"/>
                  </a:lnTo>
                  <a:lnTo>
                    <a:pt x="378" y="378"/>
                  </a:lnTo>
                  <a:lnTo>
                    <a:pt x="354" y="366"/>
                  </a:lnTo>
                  <a:lnTo>
                    <a:pt x="342" y="360"/>
                  </a:lnTo>
                  <a:lnTo>
                    <a:pt x="342" y="348"/>
                  </a:lnTo>
                  <a:lnTo>
                    <a:pt x="336" y="330"/>
                  </a:lnTo>
                  <a:lnTo>
                    <a:pt x="348" y="306"/>
                  </a:lnTo>
                  <a:lnTo>
                    <a:pt x="360" y="294"/>
                  </a:lnTo>
                  <a:lnTo>
                    <a:pt x="360" y="282"/>
                  </a:lnTo>
                  <a:lnTo>
                    <a:pt x="342" y="270"/>
                  </a:lnTo>
                  <a:lnTo>
                    <a:pt x="342" y="264"/>
                  </a:lnTo>
                  <a:lnTo>
                    <a:pt x="330" y="264"/>
                  </a:lnTo>
                  <a:lnTo>
                    <a:pt x="312" y="270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88" y="270"/>
                  </a:lnTo>
                  <a:lnTo>
                    <a:pt x="282" y="270"/>
                  </a:lnTo>
                  <a:lnTo>
                    <a:pt x="276" y="264"/>
                  </a:lnTo>
                  <a:lnTo>
                    <a:pt x="270" y="264"/>
                  </a:lnTo>
                  <a:lnTo>
                    <a:pt x="252" y="270"/>
                  </a:lnTo>
                  <a:lnTo>
                    <a:pt x="246" y="270"/>
                  </a:lnTo>
                  <a:lnTo>
                    <a:pt x="240" y="270"/>
                  </a:lnTo>
                  <a:lnTo>
                    <a:pt x="228" y="270"/>
                  </a:lnTo>
                  <a:lnTo>
                    <a:pt x="216" y="276"/>
                  </a:lnTo>
                  <a:lnTo>
                    <a:pt x="210" y="270"/>
                  </a:lnTo>
                  <a:lnTo>
                    <a:pt x="204" y="270"/>
                  </a:lnTo>
                  <a:lnTo>
                    <a:pt x="198" y="276"/>
                  </a:lnTo>
                  <a:lnTo>
                    <a:pt x="192" y="276"/>
                  </a:lnTo>
                  <a:lnTo>
                    <a:pt x="186" y="282"/>
                  </a:lnTo>
                  <a:lnTo>
                    <a:pt x="180" y="288"/>
                  </a:lnTo>
                  <a:lnTo>
                    <a:pt x="174" y="300"/>
                  </a:lnTo>
                  <a:lnTo>
                    <a:pt x="168" y="306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8" y="330"/>
                  </a:lnTo>
                  <a:lnTo>
                    <a:pt x="162" y="336"/>
                  </a:lnTo>
                  <a:lnTo>
                    <a:pt x="156" y="342"/>
                  </a:lnTo>
                  <a:lnTo>
                    <a:pt x="156" y="348"/>
                  </a:lnTo>
                  <a:lnTo>
                    <a:pt x="156" y="354"/>
                  </a:lnTo>
                  <a:lnTo>
                    <a:pt x="150" y="366"/>
                  </a:lnTo>
                  <a:lnTo>
                    <a:pt x="150" y="372"/>
                  </a:lnTo>
                  <a:lnTo>
                    <a:pt x="144" y="366"/>
                  </a:lnTo>
                  <a:lnTo>
                    <a:pt x="132" y="366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20" y="348"/>
                  </a:lnTo>
                  <a:lnTo>
                    <a:pt x="102" y="330"/>
                  </a:lnTo>
                  <a:lnTo>
                    <a:pt x="96" y="318"/>
                  </a:lnTo>
                  <a:lnTo>
                    <a:pt x="96" y="282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0" y="258"/>
                  </a:lnTo>
                  <a:lnTo>
                    <a:pt x="84" y="252"/>
                  </a:lnTo>
                  <a:lnTo>
                    <a:pt x="66" y="258"/>
                  </a:lnTo>
                  <a:lnTo>
                    <a:pt x="60" y="246"/>
                  </a:lnTo>
                  <a:lnTo>
                    <a:pt x="30" y="252"/>
                  </a:lnTo>
                  <a:lnTo>
                    <a:pt x="18" y="246"/>
                  </a:lnTo>
                  <a:lnTo>
                    <a:pt x="0" y="240"/>
                  </a:lnTo>
                  <a:lnTo>
                    <a:pt x="0" y="234"/>
                  </a:lnTo>
                  <a:lnTo>
                    <a:pt x="0" y="210"/>
                  </a:lnTo>
                  <a:lnTo>
                    <a:pt x="6" y="204"/>
                  </a:lnTo>
                  <a:lnTo>
                    <a:pt x="18" y="192"/>
                  </a:lnTo>
                  <a:lnTo>
                    <a:pt x="18" y="144"/>
                  </a:lnTo>
                  <a:lnTo>
                    <a:pt x="24" y="126"/>
                  </a:lnTo>
                  <a:lnTo>
                    <a:pt x="36" y="126"/>
                  </a:lnTo>
                  <a:lnTo>
                    <a:pt x="54" y="120"/>
                  </a:lnTo>
                  <a:lnTo>
                    <a:pt x="54" y="126"/>
                  </a:lnTo>
                  <a:lnTo>
                    <a:pt x="132" y="114"/>
                  </a:lnTo>
                  <a:lnTo>
                    <a:pt x="144" y="120"/>
                  </a:lnTo>
                  <a:lnTo>
                    <a:pt x="150" y="132"/>
                  </a:lnTo>
                  <a:lnTo>
                    <a:pt x="180" y="126"/>
                  </a:lnTo>
                  <a:lnTo>
                    <a:pt x="210" y="120"/>
                  </a:lnTo>
                  <a:lnTo>
                    <a:pt x="240" y="120"/>
                  </a:lnTo>
                  <a:lnTo>
                    <a:pt x="258" y="120"/>
                  </a:lnTo>
                  <a:lnTo>
                    <a:pt x="270" y="126"/>
                  </a:lnTo>
                  <a:lnTo>
                    <a:pt x="276" y="132"/>
                  </a:lnTo>
                  <a:lnTo>
                    <a:pt x="282" y="138"/>
                  </a:lnTo>
                  <a:lnTo>
                    <a:pt x="282" y="156"/>
                  </a:lnTo>
                  <a:lnTo>
                    <a:pt x="288" y="186"/>
                  </a:lnTo>
                  <a:lnTo>
                    <a:pt x="312" y="192"/>
                  </a:lnTo>
                  <a:lnTo>
                    <a:pt x="318" y="198"/>
                  </a:lnTo>
                  <a:lnTo>
                    <a:pt x="324" y="204"/>
                  </a:lnTo>
                  <a:lnTo>
                    <a:pt x="330" y="210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66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86" y="210"/>
                  </a:lnTo>
                  <a:lnTo>
                    <a:pt x="498" y="198"/>
                  </a:lnTo>
                  <a:lnTo>
                    <a:pt x="504" y="174"/>
                  </a:lnTo>
                  <a:lnTo>
                    <a:pt x="516" y="162"/>
                  </a:lnTo>
                  <a:lnTo>
                    <a:pt x="516" y="138"/>
                  </a:lnTo>
                  <a:lnTo>
                    <a:pt x="522" y="132"/>
                  </a:lnTo>
                  <a:lnTo>
                    <a:pt x="564" y="132"/>
                  </a:lnTo>
                  <a:lnTo>
                    <a:pt x="564" y="114"/>
                  </a:lnTo>
                  <a:lnTo>
                    <a:pt x="582" y="114"/>
                  </a:lnTo>
                  <a:lnTo>
                    <a:pt x="594" y="114"/>
                  </a:lnTo>
                  <a:lnTo>
                    <a:pt x="606" y="114"/>
                  </a:lnTo>
                  <a:lnTo>
                    <a:pt x="612" y="114"/>
                  </a:lnTo>
                  <a:lnTo>
                    <a:pt x="630" y="114"/>
                  </a:lnTo>
                  <a:lnTo>
                    <a:pt x="636" y="114"/>
                  </a:lnTo>
                  <a:lnTo>
                    <a:pt x="648" y="114"/>
                  </a:lnTo>
                  <a:lnTo>
                    <a:pt x="654" y="114"/>
                  </a:lnTo>
                  <a:lnTo>
                    <a:pt x="660" y="120"/>
                  </a:lnTo>
                  <a:lnTo>
                    <a:pt x="672" y="120"/>
                  </a:lnTo>
                  <a:lnTo>
                    <a:pt x="684" y="120"/>
                  </a:lnTo>
                  <a:lnTo>
                    <a:pt x="690" y="120"/>
                  </a:lnTo>
                  <a:lnTo>
                    <a:pt x="702" y="120"/>
                  </a:lnTo>
                  <a:lnTo>
                    <a:pt x="708" y="120"/>
                  </a:lnTo>
                  <a:lnTo>
                    <a:pt x="726" y="126"/>
                  </a:lnTo>
                  <a:lnTo>
                    <a:pt x="732" y="126"/>
                  </a:lnTo>
                  <a:lnTo>
                    <a:pt x="738" y="126"/>
                  </a:lnTo>
                  <a:lnTo>
                    <a:pt x="750" y="126"/>
                  </a:lnTo>
                  <a:lnTo>
                    <a:pt x="756" y="126"/>
                  </a:lnTo>
                  <a:lnTo>
                    <a:pt x="768" y="126"/>
                  </a:lnTo>
                  <a:lnTo>
                    <a:pt x="780" y="126"/>
                  </a:lnTo>
                  <a:lnTo>
                    <a:pt x="786" y="120"/>
                  </a:lnTo>
                  <a:lnTo>
                    <a:pt x="792" y="120"/>
                  </a:lnTo>
                  <a:lnTo>
                    <a:pt x="810" y="120"/>
                  </a:lnTo>
                  <a:lnTo>
                    <a:pt x="822" y="120"/>
                  </a:lnTo>
                  <a:lnTo>
                    <a:pt x="846" y="126"/>
                  </a:lnTo>
                  <a:lnTo>
                    <a:pt x="858" y="126"/>
                  </a:lnTo>
                  <a:lnTo>
                    <a:pt x="870" y="132"/>
                  </a:lnTo>
                  <a:lnTo>
                    <a:pt x="882" y="132"/>
                  </a:lnTo>
                  <a:lnTo>
                    <a:pt x="894" y="132"/>
                  </a:lnTo>
                  <a:lnTo>
                    <a:pt x="900" y="132"/>
                  </a:lnTo>
                  <a:lnTo>
                    <a:pt x="912" y="132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36" y="132"/>
                  </a:lnTo>
                  <a:lnTo>
                    <a:pt x="960" y="132"/>
                  </a:lnTo>
                  <a:lnTo>
                    <a:pt x="966" y="144"/>
                  </a:lnTo>
                  <a:lnTo>
                    <a:pt x="972" y="144"/>
                  </a:lnTo>
                  <a:lnTo>
                    <a:pt x="1002" y="144"/>
                  </a:lnTo>
                  <a:lnTo>
                    <a:pt x="1020" y="144"/>
                  </a:lnTo>
                  <a:lnTo>
                    <a:pt x="1068" y="138"/>
                  </a:lnTo>
                  <a:lnTo>
                    <a:pt x="1110" y="132"/>
                  </a:lnTo>
                  <a:lnTo>
                    <a:pt x="1110" y="126"/>
                  </a:lnTo>
                  <a:lnTo>
                    <a:pt x="1116" y="120"/>
                  </a:lnTo>
                  <a:lnTo>
                    <a:pt x="1122" y="108"/>
                  </a:lnTo>
                  <a:lnTo>
                    <a:pt x="1134" y="96"/>
                  </a:lnTo>
                  <a:lnTo>
                    <a:pt x="1146" y="60"/>
                  </a:lnTo>
                  <a:lnTo>
                    <a:pt x="1158" y="54"/>
                  </a:lnTo>
                  <a:lnTo>
                    <a:pt x="1170" y="48"/>
                  </a:lnTo>
                  <a:lnTo>
                    <a:pt x="1188" y="42"/>
                  </a:lnTo>
                  <a:lnTo>
                    <a:pt x="1200" y="36"/>
                  </a:lnTo>
                  <a:lnTo>
                    <a:pt x="1212" y="36"/>
                  </a:lnTo>
                  <a:lnTo>
                    <a:pt x="1236" y="30"/>
                  </a:lnTo>
                  <a:lnTo>
                    <a:pt x="1236" y="24"/>
                  </a:lnTo>
                  <a:lnTo>
                    <a:pt x="1278" y="18"/>
                  </a:lnTo>
                  <a:lnTo>
                    <a:pt x="1290" y="18"/>
                  </a:lnTo>
                  <a:lnTo>
                    <a:pt x="1302" y="12"/>
                  </a:lnTo>
                  <a:lnTo>
                    <a:pt x="1314" y="0"/>
                  </a:lnTo>
                  <a:lnTo>
                    <a:pt x="1332" y="0"/>
                  </a:lnTo>
                  <a:lnTo>
                    <a:pt x="1338" y="24"/>
                  </a:lnTo>
                  <a:lnTo>
                    <a:pt x="1344" y="30"/>
                  </a:lnTo>
                  <a:lnTo>
                    <a:pt x="1350" y="42"/>
                  </a:lnTo>
                  <a:lnTo>
                    <a:pt x="1356" y="48"/>
                  </a:lnTo>
                  <a:lnTo>
                    <a:pt x="1356" y="78"/>
                  </a:lnTo>
                  <a:lnTo>
                    <a:pt x="1350" y="96"/>
                  </a:lnTo>
                  <a:lnTo>
                    <a:pt x="1338" y="108"/>
                  </a:lnTo>
                  <a:lnTo>
                    <a:pt x="1338" y="114"/>
                  </a:lnTo>
                  <a:lnTo>
                    <a:pt x="1338" y="120"/>
                  </a:lnTo>
                  <a:lnTo>
                    <a:pt x="1338" y="126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398" y="114"/>
                  </a:lnTo>
                  <a:lnTo>
                    <a:pt x="1416" y="120"/>
                  </a:lnTo>
                  <a:lnTo>
                    <a:pt x="1434" y="126"/>
                  </a:lnTo>
                  <a:lnTo>
                    <a:pt x="1458" y="132"/>
                  </a:lnTo>
                  <a:lnTo>
                    <a:pt x="1458" y="138"/>
                  </a:lnTo>
                  <a:lnTo>
                    <a:pt x="1512" y="138"/>
                  </a:lnTo>
                  <a:lnTo>
                    <a:pt x="1512" y="132"/>
                  </a:lnTo>
                  <a:lnTo>
                    <a:pt x="1524" y="138"/>
                  </a:lnTo>
                  <a:lnTo>
                    <a:pt x="1542" y="138"/>
                  </a:lnTo>
                  <a:lnTo>
                    <a:pt x="1542" y="150"/>
                  </a:lnTo>
                  <a:lnTo>
                    <a:pt x="1542" y="162"/>
                  </a:lnTo>
                  <a:lnTo>
                    <a:pt x="1548" y="174"/>
                  </a:lnTo>
                  <a:lnTo>
                    <a:pt x="1548" y="180"/>
                  </a:lnTo>
                  <a:lnTo>
                    <a:pt x="1554" y="222"/>
                  </a:lnTo>
                  <a:lnTo>
                    <a:pt x="1554" y="258"/>
                  </a:lnTo>
                  <a:lnTo>
                    <a:pt x="1554" y="276"/>
                  </a:lnTo>
                  <a:lnTo>
                    <a:pt x="1554" y="282"/>
                  </a:lnTo>
                  <a:lnTo>
                    <a:pt x="1554" y="294"/>
                  </a:lnTo>
                  <a:lnTo>
                    <a:pt x="1554" y="306"/>
                  </a:lnTo>
                  <a:lnTo>
                    <a:pt x="1554" y="324"/>
                  </a:lnTo>
                  <a:lnTo>
                    <a:pt x="1554" y="330"/>
                  </a:lnTo>
                  <a:lnTo>
                    <a:pt x="1548" y="330"/>
                  </a:lnTo>
                  <a:lnTo>
                    <a:pt x="1548" y="336"/>
                  </a:lnTo>
                  <a:lnTo>
                    <a:pt x="1548" y="342"/>
                  </a:lnTo>
                  <a:lnTo>
                    <a:pt x="1542" y="336"/>
                  </a:lnTo>
                  <a:lnTo>
                    <a:pt x="1542" y="330"/>
                  </a:lnTo>
                  <a:lnTo>
                    <a:pt x="1536" y="330"/>
                  </a:lnTo>
                  <a:lnTo>
                    <a:pt x="1530" y="330"/>
                  </a:lnTo>
                  <a:lnTo>
                    <a:pt x="1530" y="336"/>
                  </a:lnTo>
                  <a:lnTo>
                    <a:pt x="1536" y="342"/>
                  </a:lnTo>
                  <a:lnTo>
                    <a:pt x="1530" y="342"/>
                  </a:lnTo>
                  <a:lnTo>
                    <a:pt x="1518" y="348"/>
                  </a:lnTo>
                  <a:lnTo>
                    <a:pt x="1512" y="354"/>
                  </a:lnTo>
                  <a:lnTo>
                    <a:pt x="1506" y="354"/>
                  </a:lnTo>
                  <a:lnTo>
                    <a:pt x="1500" y="354"/>
                  </a:lnTo>
                  <a:lnTo>
                    <a:pt x="1494" y="354"/>
                  </a:lnTo>
                  <a:lnTo>
                    <a:pt x="1494" y="360"/>
                  </a:lnTo>
                  <a:lnTo>
                    <a:pt x="1488" y="360"/>
                  </a:lnTo>
                  <a:lnTo>
                    <a:pt x="1488" y="366"/>
                  </a:lnTo>
                  <a:lnTo>
                    <a:pt x="1488" y="372"/>
                  </a:lnTo>
                  <a:lnTo>
                    <a:pt x="1482" y="372"/>
                  </a:lnTo>
                  <a:lnTo>
                    <a:pt x="1476" y="372"/>
                  </a:lnTo>
                  <a:lnTo>
                    <a:pt x="1470" y="372"/>
                  </a:lnTo>
                  <a:lnTo>
                    <a:pt x="1470" y="378"/>
                  </a:lnTo>
                  <a:lnTo>
                    <a:pt x="1470" y="384"/>
                  </a:lnTo>
                  <a:lnTo>
                    <a:pt x="1470" y="390"/>
                  </a:lnTo>
                  <a:lnTo>
                    <a:pt x="1464" y="402"/>
                  </a:lnTo>
                  <a:lnTo>
                    <a:pt x="1446" y="402"/>
                  </a:lnTo>
                  <a:lnTo>
                    <a:pt x="1440" y="372"/>
                  </a:lnTo>
                  <a:lnTo>
                    <a:pt x="1410" y="372"/>
                  </a:lnTo>
                  <a:lnTo>
                    <a:pt x="1380" y="372"/>
                  </a:lnTo>
                  <a:lnTo>
                    <a:pt x="1374" y="372"/>
                  </a:lnTo>
                  <a:lnTo>
                    <a:pt x="1368" y="378"/>
                  </a:lnTo>
                  <a:lnTo>
                    <a:pt x="1362" y="378"/>
                  </a:lnTo>
                  <a:lnTo>
                    <a:pt x="1356" y="378"/>
                  </a:lnTo>
                  <a:lnTo>
                    <a:pt x="1350" y="384"/>
                  </a:lnTo>
                  <a:lnTo>
                    <a:pt x="1350" y="390"/>
                  </a:lnTo>
                  <a:lnTo>
                    <a:pt x="1344" y="390"/>
                  </a:lnTo>
                  <a:lnTo>
                    <a:pt x="1338" y="390"/>
                  </a:lnTo>
                  <a:lnTo>
                    <a:pt x="1332" y="390"/>
                  </a:lnTo>
                  <a:lnTo>
                    <a:pt x="1332" y="396"/>
                  </a:lnTo>
                  <a:lnTo>
                    <a:pt x="1332" y="390"/>
                  </a:lnTo>
                  <a:lnTo>
                    <a:pt x="1326" y="402"/>
                  </a:lnTo>
                  <a:lnTo>
                    <a:pt x="1320" y="402"/>
                  </a:lnTo>
                  <a:lnTo>
                    <a:pt x="1302" y="474"/>
                  </a:lnTo>
                  <a:lnTo>
                    <a:pt x="1308" y="480"/>
                  </a:lnTo>
                  <a:lnTo>
                    <a:pt x="1314" y="480"/>
                  </a:lnTo>
                  <a:lnTo>
                    <a:pt x="1308" y="498"/>
                  </a:lnTo>
                  <a:lnTo>
                    <a:pt x="1308" y="504"/>
                  </a:lnTo>
                  <a:lnTo>
                    <a:pt x="1314" y="510"/>
                  </a:lnTo>
                  <a:lnTo>
                    <a:pt x="1308" y="510"/>
                  </a:lnTo>
                  <a:lnTo>
                    <a:pt x="1308" y="516"/>
                  </a:lnTo>
                  <a:lnTo>
                    <a:pt x="1302" y="516"/>
                  </a:lnTo>
                  <a:lnTo>
                    <a:pt x="1296" y="510"/>
                  </a:lnTo>
                  <a:lnTo>
                    <a:pt x="1296" y="516"/>
                  </a:lnTo>
                  <a:lnTo>
                    <a:pt x="1290" y="540"/>
                  </a:lnTo>
                  <a:lnTo>
                    <a:pt x="1290" y="552"/>
                  </a:lnTo>
                  <a:lnTo>
                    <a:pt x="1284" y="558"/>
                  </a:lnTo>
                  <a:lnTo>
                    <a:pt x="1290" y="576"/>
                  </a:lnTo>
                  <a:lnTo>
                    <a:pt x="1290" y="600"/>
                  </a:lnTo>
                  <a:lnTo>
                    <a:pt x="1284" y="618"/>
                  </a:lnTo>
                  <a:lnTo>
                    <a:pt x="1290" y="624"/>
                  </a:lnTo>
                  <a:lnTo>
                    <a:pt x="1284" y="630"/>
                  </a:lnTo>
                  <a:lnTo>
                    <a:pt x="1278" y="630"/>
                  </a:lnTo>
                  <a:lnTo>
                    <a:pt x="1272" y="630"/>
                  </a:lnTo>
                  <a:lnTo>
                    <a:pt x="1266" y="636"/>
                  </a:lnTo>
                  <a:lnTo>
                    <a:pt x="1260" y="642"/>
                  </a:lnTo>
                  <a:lnTo>
                    <a:pt x="1260" y="636"/>
                  </a:lnTo>
                  <a:lnTo>
                    <a:pt x="1254" y="636"/>
                  </a:lnTo>
                  <a:lnTo>
                    <a:pt x="1248" y="636"/>
                  </a:lnTo>
                  <a:lnTo>
                    <a:pt x="1248" y="642"/>
                  </a:lnTo>
                  <a:lnTo>
                    <a:pt x="1242" y="642"/>
                  </a:lnTo>
                  <a:lnTo>
                    <a:pt x="1242" y="648"/>
                  </a:lnTo>
                  <a:lnTo>
                    <a:pt x="1236" y="654"/>
                  </a:lnTo>
                  <a:lnTo>
                    <a:pt x="1230" y="654"/>
                  </a:lnTo>
                  <a:lnTo>
                    <a:pt x="1224" y="654"/>
                  </a:lnTo>
                  <a:lnTo>
                    <a:pt x="1218" y="660"/>
                  </a:lnTo>
                  <a:lnTo>
                    <a:pt x="1212" y="660"/>
                  </a:lnTo>
                  <a:lnTo>
                    <a:pt x="1206" y="660"/>
                  </a:lnTo>
                  <a:lnTo>
                    <a:pt x="1200" y="660"/>
                  </a:lnTo>
                  <a:lnTo>
                    <a:pt x="1200" y="666"/>
                  </a:lnTo>
                  <a:lnTo>
                    <a:pt x="1194" y="666"/>
                  </a:lnTo>
                  <a:lnTo>
                    <a:pt x="1188" y="666"/>
                  </a:lnTo>
                  <a:lnTo>
                    <a:pt x="1182" y="672"/>
                  </a:lnTo>
                  <a:lnTo>
                    <a:pt x="1176" y="672"/>
                  </a:lnTo>
                  <a:lnTo>
                    <a:pt x="1170" y="672"/>
                  </a:lnTo>
                  <a:lnTo>
                    <a:pt x="1164" y="678"/>
                  </a:lnTo>
                  <a:lnTo>
                    <a:pt x="1170" y="678"/>
                  </a:lnTo>
                  <a:lnTo>
                    <a:pt x="1164" y="684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52" y="684"/>
                  </a:lnTo>
                  <a:lnTo>
                    <a:pt x="1152" y="690"/>
                  </a:lnTo>
                  <a:lnTo>
                    <a:pt x="1146" y="690"/>
                  </a:lnTo>
                  <a:lnTo>
                    <a:pt x="1140" y="690"/>
                  </a:lnTo>
                  <a:lnTo>
                    <a:pt x="1134" y="696"/>
                  </a:lnTo>
                  <a:lnTo>
                    <a:pt x="1128" y="696"/>
                  </a:lnTo>
                  <a:lnTo>
                    <a:pt x="1122" y="702"/>
                  </a:lnTo>
                  <a:lnTo>
                    <a:pt x="1116" y="702"/>
                  </a:lnTo>
                  <a:lnTo>
                    <a:pt x="1110" y="708"/>
                  </a:lnTo>
                  <a:lnTo>
                    <a:pt x="1104" y="708"/>
                  </a:lnTo>
                  <a:lnTo>
                    <a:pt x="1098" y="708"/>
                  </a:lnTo>
                  <a:lnTo>
                    <a:pt x="1092" y="708"/>
                  </a:lnTo>
                  <a:lnTo>
                    <a:pt x="1092" y="714"/>
                  </a:lnTo>
                  <a:lnTo>
                    <a:pt x="1086" y="720"/>
                  </a:lnTo>
                  <a:lnTo>
                    <a:pt x="1080" y="720"/>
                  </a:lnTo>
                  <a:lnTo>
                    <a:pt x="1074" y="720"/>
                  </a:lnTo>
                  <a:lnTo>
                    <a:pt x="1068" y="720"/>
                  </a:lnTo>
                  <a:lnTo>
                    <a:pt x="1062" y="720"/>
                  </a:lnTo>
                  <a:lnTo>
                    <a:pt x="1050" y="726"/>
                  </a:lnTo>
                  <a:lnTo>
                    <a:pt x="1044" y="726"/>
                  </a:lnTo>
                  <a:lnTo>
                    <a:pt x="1038" y="732"/>
                  </a:lnTo>
                  <a:lnTo>
                    <a:pt x="1026" y="732"/>
                  </a:lnTo>
                  <a:lnTo>
                    <a:pt x="1020" y="732"/>
                  </a:lnTo>
                  <a:lnTo>
                    <a:pt x="1014" y="738"/>
                  </a:lnTo>
                  <a:lnTo>
                    <a:pt x="1008" y="738"/>
                  </a:lnTo>
                  <a:lnTo>
                    <a:pt x="1002" y="738"/>
                  </a:lnTo>
                  <a:lnTo>
                    <a:pt x="996" y="738"/>
                  </a:lnTo>
                  <a:lnTo>
                    <a:pt x="990" y="738"/>
                  </a:lnTo>
                  <a:lnTo>
                    <a:pt x="990" y="732"/>
                  </a:lnTo>
                  <a:lnTo>
                    <a:pt x="984" y="732"/>
                  </a:lnTo>
                  <a:lnTo>
                    <a:pt x="978" y="738"/>
                  </a:lnTo>
                  <a:lnTo>
                    <a:pt x="978" y="744"/>
                  </a:lnTo>
                  <a:lnTo>
                    <a:pt x="984" y="744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8" y="756"/>
                  </a:lnTo>
                  <a:lnTo>
                    <a:pt x="972" y="756"/>
                  </a:lnTo>
                  <a:lnTo>
                    <a:pt x="972" y="762"/>
                  </a:lnTo>
                  <a:lnTo>
                    <a:pt x="966" y="768"/>
                  </a:lnTo>
                  <a:lnTo>
                    <a:pt x="966" y="762"/>
                  </a:lnTo>
                  <a:lnTo>
                    <a:pt x="960" y="762"/>
                  </a:lnTo>
                  <a:lnTo>
                    <a:pt x="954" y="768"/>
                  </a:lnTo>
                  <a:lnTo>
                    <a:pt x="954" y="774"/>
                  </a:lnTo>
                  <a:lnTo>
                    <a:pt x="948" y="774"/>
                  </a:lnTo>
                  <a:lnTo>
                    <a:pt x="948" y="780"/>
                  </a:lnTo>
                  <a:lnTo>
                    <a:pt x="948" y="786"/>
                  </a:lnTo>
                  <a:lnTo>
                    <a:pt x="942" y="786"/>
                  </a:lnTo>
                  <a:lnTo>
                    <a:pt x="942" y="792"/>
                  </a:lnTo>
                  <a:lnTo>
                    <a:pt x="936" y="792"/>
                  </a:lnTo>
                  <a:lnTo>
                    <a:pt x="942" y="798"/>
                  </a:lnTo>
                  <a:lnTo>
                    <a:pt x="942" y="804"/>
                  </a:lnTo>
                  <a:lnTo>
                    <a:pt x="942" y="810"/>
                  </a:lnTo>
                  <a:lnTo>
                    <a:pt x="948" y="810"/>
                  </a:lnTo>
                  <a:lnTo>
                    <a:pt x="942" y="816"/>
                  </a:lnTo>
                  <a:lnTo>
                    <a:pt x="948" y="816"/>
                  </a:lnTo>
                  <a:lnTo>
                    <a:pt x="948" y="822"/>
                  </a:lnTo>
                  <a:lnTo>
                    <a:pt x="954" y="822"/>
                  </a:lnTo>
                  <a:lnTo>
                    <a:pt x="960" y="828"/>
                  </a:lnTo>
                  <a:lnTo>
                    <a:pt x="960" y="834"/>
                  </a:lnTo>
                  <a:lnTo>
                    <a:pt x="966" y="834"/>
                  </a:lnTo>
                  <a:lnTo>
                    <a:pt x="960" y="840"/>
                  </a:lnTo>
                  <a:lnTo>
                    <a:pt x="966" y="846"/>
                  </a:lnTo>
                  <a:lnTo>
                    <a:pt x="966" y="840"/>
                  </a:lnTo>
                  <a:lnTo>
                    <a:pt x="972" y="840"/>
                  </a:lnTo>
                  <a:lnTo>
                    <a:pt x="990" y="840"/>
                  </a:lnTo>
                  <a:lnTo>
                    <a:pt x="1002" y="834"/>
                  </a:lnTo>
                  <a:lnTo>
                    <a:pt x="1020" y="828"/>
                  </a:lnTo>
                  <a:lnTo>
                    <a:pt x="1032" y="828"/>
                  </a:lnTo>
                  <a:lnTo>
                    <a:pt x="1050" y="828"/>
                  </a:lnTo>
                  <a:lnTo>
                    <a:pt x="1062" y="846"/>
                  </a:lnTo>
                  <a:lnTo>
                    <a:pt x="1074" y="876"/>
                  </a:lnTo>
                  <a:lnTo>
                    <a:pt x="1068" y="900"/>
                  </a:lnTo>
                  <a:lnTo>
                    <a:pt x="1074" y="912"/>
                  </a:lnTo>
                  <a:lnTo>
                    <a:pt x="1074" y="936"/>
                  </a:lnTo>
                  <a:lnTo>
                    <a:pt x="1068" y="942"/>
                  </a:lnTo>
                  <a:lnTo>
                    <a:pt x="1062" y="954"/>
                  </a:lnTo>
                  <a:lnTo>
                    <a:pt x="1056" y="978"/>
                  </a:lnTo>
                  <a:lnTo>
                    <a:pt x="1056" y="996"/>
                  </a:lnTo>
                  <a:lnTo>
                    <a:pt x="1068" y="990"/>
                  </a:lnTo>
                  <a:lnTo>
                    <a:pt x="1074" y="990"/>
                  </a:lnTo>
                  <a:lnTo>
                    <a:pt x="1074" y="1008"/>
                  </a:lnTo>
                  <a:lnTo>
                    <a:pt x="1080" y="1008"/>
                  </a:lnTo>
                  <a:lnTo>
                    <a:pt x="1092" y="1014"/>
                  </a:lnTo>
                  <a:lnTo>
                    <a:pt x="1110" y="1044"/>
                  </a:lnTo>
                  <a:lnTo>
                    <a:pt x="1110" y="1062"/>
                  </a:lnTo>
                  <a:lnTo>
                    <a:pt x="1128" y="1068"/>
                  </a:lnTo>
                  <a:lnTo>
                    <a:pt x="1128" y="1092"/>
                  </a:lnTo>
                  <a:lnTo>
                    <a:pt x="1134" y="1098"/>
                  </a:lnTo>
                  <a:lnTo>
                    <a:pt x="1158" y="1122"/>
                  </a:lnTo>
                  <a:lnTo>
                    <a:pt x="1188" y="1122"/>
                  </a:lnTo>
                  <a:lnTo>
                    <a:pt x="1188" y="1128"/>
                  </a:lnTo>
                  <a:lnTo>
                    <a:pt x="1200" y="1134"/>
                  </a:lnTo>
                  <a:lnTo>
                    <a:pt x="1206" y="1134"/>
                  </a:lnTo>
                  <a:lnTo>
                    <a:pt x="1206" y="1128"/>
                  </a:lnTo>
                  <a:lnTo>
                    <a:pt x="1212" y="1128"/>
                  </a:lnTo>
                  <a:lnTo>
                    <a:pt x="1218" y="1128"/>
                  </a:lnTo>
                  <a:lnTo>
                    <a:pt x="1224" y="1122"/>
                  </a:lnTo>
                  <a:lnTo>
                    <a:pt x="1224" y="1128"/>
                  </a:lnTo>
                  <a:lnTo>
                    <a:pt x="1230" y="1128"/>
                  </a:lnTo>
                  <a:lnTo>
                    <a:pt x="1236" y="1128"/>
                  </a:lnTo>
                  <a:lnTo>
                    <a:pt x="1236" y="1122"/>
                  </a:lnTo>
                  <a:lnTo>
                    <a:pt x="1242" y="1122"/>
                  </a:lnTo>
                  <a:lnTo>
                    <a:pt x="1248" y="1128"/>
                  </a:lnTo>
                  <a:lnTo>
                    <a:pt x="1254" y="1128"/>
                  </a:lnTo>
                  <a:lnTo>
                    <a:pt x="1260" y="1134"/>
                  </a:lnTo>
                  <a:lnTo>
                    <a:pt x="1260" y="1140"/>
                  </a:lnTo>
                  <a:lnTo>
                    <a:pt x="1266" y="1140"/>
                  </a:lnTo>
                  <a:lnTo>
                    <a:pt x="1272" y="1140"/>
                  </a:lnTo>
                  <a:lnTo>
                    <a:pt x="1278" y="1140"/>
                  </a:lnTo>
                  <a:lnTo>
                    <a:pt x="1284" y="1140"/>
                  </a:lnTo>
                  <a:lnTo>
                    <a:pt x="1290" y="1146"/>
                  </a:lnTo>
                  <a:lnTo>
                    <a:pt x="1290" y="1152"/>
                  </a:lnTo>
                  <a:lnTo>
                    <a:pt x="1296" y="1146"/>
                  </a:lnTo>
                  <a:lnTo>
                    <a:pt x="1296" y="1152"/>
                  </a:lnTo>
                  <a:lnTo>
                    <a:pt x="1308" y="1152"/>
                  </a:lnTo>
                  <a:lnTo>
                    <a:pt x="1314" y="1152"/>
                  </a:lnTo>
                  <a:lnTo>
                    <a:pt x="1320" y="1152"/>
                  </a:lnTo>
                  <a:lnTo>
                    <a:pt x="1332" y="1152"/>
                  </a:lnTo>
                  <a:lnTo>
                    <a:pt x="1338" y="1152"/>
                  </a:lnTo>
                  <a:lnTo>
                    <a:pt x="1344" y="1152"/>
                  </a:lnTo>
                  <a:lnTo>
                    <a:pt x="1344" y="1158"/>
                  </a:lnTo>
                  <a:lnTo>
                    <a:pt x="1350" y="1158"/>
                  </a:lnTo>
                  <a:lnTo>
                    <a:pt x="1356" y="1158"/>
                  </a:lnTo>
                  <a:lnTo>
                    <a:pt x="1362" y="1158"/>
                  </a:lnTo>
                  <a:lnTo>
                    <a:pt x="1368" y="1158"/>
                  </a:lnTo>
                  <a:lnTo>
                    <a:pt x="1374" y="1164"/>
                  </a:lnTo>
                  <a:lnTo>
                    <a:pt x="1380" y="1164"/>
                  </a:lnTo>
                  <a:lnTo>
                    <a:pt x="1386" y="1170"/>
                  </a:lnTo>
                  <a:lnTo>
                    <a:pt x="1392" y="1170"/>
                  </a:lnTo>
                  <a:lnTo>
                    <a:pt x="1398" y="1164"/>
                  </a:lnTo>
                  <a:lnTo>
                    <a:pt x="1404" y="1164"/>
                  </a:lnTo>
                  <a:lnTo>
                    <a:pt x="1410" y="1164"/>
                  </a:lnTo>
                  <a:lnTo>
                    <a:pt x="1416" y="1164"/>
                  </a:lnTo>
                  <a:lnTo>
                    <a:pt x="1416" y="1170"/>
                  </a:lnTo>
                  <a:lnTo>
                    <a:pt x="1422" y="1176"/>
                  </a:lnTo>
                  <a:lnTo>
                    <a:pt x="1416" y="1176"/>
                  </a:lnTo>
                  <a:lnTo>
                    <a:pt x="1416" y="1182"/>
                  </a:lnTo>
                  <a:lnTo>
                    <a:pt x="1410" y="1188"/>
                  </a:lnTo>
                  <a:lnTo>
                    <a:pt x="1404" y="1194"/>
                  </a:lnTo>
                  <a:lnTo>
                    <a:pt x="1404" y="1200"/>
                  </a:lnTo>
                  <a:lnTo>
                    <a:pt x="1404" y="1206"/>
                  </a:lnTo>
                  <a:lnTo>
                    <a:pt x="1398" y="1212"/>
                  </a:lnTo>
                  <a:lnTo>
                    <a:pt x="1398" y="1206"/>
                  </a:lnTo>
                  <a:lnTo>
                    <a:pt x="1392" y="1206"/>
                  </a:lnTo>
                  <a:lnTo>
                    <a:pt x="1386" y="1206"/>
                  </a:lnTo>
                  <a:lnTo>
                    <a:pt x="1380" y="1212"/>
                  </a:lnTo>
                  <a:lnTo>
                    <a:pt x="1374" y="1212"/>
                  </a:lnTo>
                  <a:lnTo>
                    <a:pt x="1368" y="1218"/>
                  </a:lnTo>
                  <a:lnTo>
                    <a:pt x="1362" y="1218"/>
                  </a:lnTo>
                  <a:lnTo>
                    <a:pt x="1362" y="1224"/>
                  </a:lnTo>
                  <a:lnTo>
                    <a:pt x="1356" y="1230"/>
                  </a:lnTo>
                  <a:lnTo>
                    <a:pt x="1350" y="1230"/>
                  </a:lnTo>
                  <a:lnTo>
                    <a:pt x="1344" y="1236"/>
                  </a:lnTo>
                  <a:lnTo>
                    <a:pt x="1338" y="1230"/>
                  </a:lnTo>
                  <a:lnTo>
                    <a:pt x="1332" y="1230"/>
                  </a:lnTo>
                  <a:lnTo>
                    <a:pt x="1326" y="1230"/>
                  </a:lnTo>
                  <a:lnTo>
                    <a:pt x="1320" y="1230"/>
                  </a:lnTo>
                  <a:lnTo>
                    <a:pt x="1314" y="1230"/>
                  </a:lnTo>
                  <a:lnTo>
                    <a:pt x="1296" y="1242"/>
                  </a:lnTo>
                  <a:lnTo>
                    <a:pt x="1296" y="1248"/>
                  </a:lnTo>
                  <a:lnTo>
                    <a:pt x="1290" y="1248"/>
                  </a:lnTo>
                  <a:lnTo>
                    <a:pt x="1290" y="1260"/>
                  </a:lnTo>
                  <a:lnTo>
                    <a:pt x="1278" y="1272"/>
                  </a:lnTo>
                  <a:lnTo>
                    <a:pt x="1278" y="1278"/>
                  </a:lnTo>
                  <a:lnTo>
                    <a:pt x="1278" y="1284"/>
                  </a:lnTo>
                  <a:lnTo>
                    <a:pt x="1278" y="1290"/>
                  </a:lnTo>
                  <a:lnTo>
                    <a:pt x="1284" y="1296"/>
                  </a:lnTo>
                  <a:lnTo>
                    <a:pt x="1302" y="1302"/>
                  </a:lnTo>
                  <a:lnTo>
                    <a:pt x="1308" y="1308"/>
                  </a:lnTo>
                  <a:lnTo>
                    <a:pt x="1308" y="1314"/>
                  </a:lnTo>
                  <a:lnTo>
                    <a:pt x="1302" y="1320"/>
                  </a:lnTo>
                  <a:lnTo>
                    <a:pt x="1278" y="1314"/>
                  </a:lnTo>
                  <a:lnTo>
                    <a:pt x="1266" y="1308"/>
                  </a:lnTo>
                  <a:lnTo>
                    <a:pt x="1260" y="1296"/>
                  </a:lnTo>
                  <a:lnTo>
                    <a:pt x="1236" y="1296"/>
                  </a:lnTo>
                  <a:lnTo>
                    <a:pt x="1224" y="1308"/>
                  </a:lnTo>
                  <a:lnTo>
                    <a:pt x="1218" y="1308"/>
                  </a:lnTo>
                  <a:lnTo>
                    <a:pt x="1218" y="1302"/>
                  </a:lnTo>
                  <a:lnTo>
                    <a:pt x="1212" y="1302"/>
                  </a:lnTo>
                  <a:lnTo>
                    <a:pt x="1206" y="1302"/>
                  </a:lnTo>
                  <a:lnTo>
                    <a:pt x="1170" y="1314"/>
                  </a:lnTo>
                  <a:lnTo>
                    <a:pt x="1134" y="1296"/>
                  </a:lnTo>
                  <a:lnTo>
                    <a:pt x="1122" y="1290"/>
                  </a:lnTo>
                  <a:lnTo>
                    <a:pt x="1104" y="1290"/>
                  </a:lnTo>
                  <a:lnTo>
                    <a:pt x="1098" y="1278"/>
                  </a:lnTo>
                  <a:lnTo>
                    <a:pt x="1092" y="1242"/>
                  </a:lnTo>
                  <a:lnTo>
                    <a:pt x="1086" y="1242"/>
                  </a:lnTo>
                  <a:lnTo>
                    <a:pt x="1086" y="1248"/>
                  </a:lnTo>
                  <a:lnTo>
                    <a:pt x="1086" y="1254"/>
                  </a:lnTo>
                  <a:lnTo>
                    <a:pt x="1080" y="1254"/>
                  </a:lnTo>
                  <a:lnTo>
                    <a:pt x="1080" y="1260"/>
                  </a:lnTo>
                  <a:lnTo>
                    <a:pt x="1074" y="1260"/>
                  </a:lnTo>
                  <a:lnTo>
                    <a:pt x="1068" y="1236"/>
                  </a:lnTo>
                  <a:lnTo>
                    <a:pt x="1068" y="1206"/>
                  </a:lnTo>
                  <a:lnTo>
                    <a:pt x="1080" y="1194"/>
                  </a:lnTo>
                  <a:lnTo>
                    <a:pt x="1086" y="1194"/>
                  </a:lnTo>
                  <a:lnTo>
                    <a:pt x="1092" y="1200"/>
                  </a:lnTo>
                  <a:lnTo>
                    <a:pt x="1098" y="1206"/>
                  </a:lnTo>
                  <a:lnTo>
                    <a:pt x="1104" y="1200"/>
                  </a:lnTo>
                  <a:lnTo>
                    <a:pt x="1104" y="1194"/>
                  </a:lnTo>
                  <a:lnTo>
                    <a:pt x="1110" y="1194"/>
                  </a:lnTo>
                  <a:lnTo>
                    <a:pt x="1110" y="1188"/>
                  </a:lnTo>
                  <a:lnTo>
                    <a:pt x="1116" y="1182"/>
                  </a:lnTo>
                  <a:lnTo>
                    <a:pt x="1110" y="1182"/>
                  </a:lnTo>
                  <a:lnTo>
                    <a:pt x="1110" y="1170"/>
                  </a:lnTo>
                  <a:lnTo>
                    <a:pt x="1110" y="1158"/>
                  </a:lnTo>
                  <a:lnTo>
                    <a:pt x="1110" y="1152"/>
                  </a:lnTo>
                  <a:lnTo>
                    <a:pt x="1104" y="1146"/>
                  </a:lnTo>
                  <a:lnTo>
                    <a:pt x="1098" y="1140"/>
                  </a:lnTo>
                  <a:lnTo>
                    <a:pt x="1098" y="1134"/>
                  </a:lnTo>
                  <a:lnTo>
                    <a:pt x="1098" y="1128"/>
                  </a:lnTo>
                  <a:lnTo>
                    <a:pt x="1092" y="1128"/>
                  </a:lnTo>
                  <a:lnTo>
                    <a:pt x="1092" y="1122"/>
                  </a:lnTo>
                  <a:lnTo>
                    <a:pt x="1092" y="1116"/>
                  </a:lnTo>
                  <a:lnTo>
                    <a:pt x="1092" y="1110"/>
                  </a:lnTo>
                  <a:lnTo>
                    <a:pt x="1056" y="1122"/>
                  </a:lnTo>
                  <a:lnTo>
                    <a:pt x="1038" y="1128"/>
                  </a:lnTo>
                  <a:lnTo>
                    <a:pt x="1032" y="1128"/>
                  </a:lnTo>
                  <a:lnTo>
                    <a:pt x="1026" y="1128"/>
                  </a:lnTo>
                  <a:lnTo>
                    <a:pt x="1020" y="1128"/>
                  </a:lnTo>
                  <a:lnTo>
                    <a:pt x="1014" y="1128"/>
                  </a:lnTo>
                  <a:lnTo>
                    <a:pt x="1014" y="1122"/>
                  </a:lnTo>
                  <a:lnTo>
                    <a:pt x="1008" y="1122"/>
                  </a:lnTo>
                  <a:lnTo>
                    <a:pt x="1002" y="1128"/>
                  </a:lnTo>
                  <a:lnTo>
                    <a:pt x="1002" y="1134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84" y="1140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66" y="1140"/>
                  </a:lnTo>
                  <a:lnTo>
                    <a:pt x="954" y="1140"/>
                  </a:lnTo>
                  <a:lnTo>
                    <a:pt x="954" y="1134"/>
                  </a:lnTo>
                  <a:lnTo>
                    <a:pt x="948" y="1134"/>
                  </a:lnTo>
                  <a:lnTo>
                    <a:pt x="942" y="1134"/>
                  </a:lnTo>
                  <a:lnTo>
                    <a:pt x="936" y="1134"/>
                  </a:lnTo>
                  <a:lnTo>
                    <a:pt x="930" y="1134"/>
                  </a:lnTo>
                  <a:lnTo>
                    <a:pt x="924" y="1134"/>
                  </a:lnTo>
                  <a:lnTo>
                    <a:pt x="918" y="1134"/>
                  </a:lnTo>
                  <a:lnTo>
                    <a:pt x="918" y="1128"/>
                  </a:lnTo>
                  <a:lnTo>
                    <a:pt x="918" y="1104"/>
                  </a:lnTo>
                  <a:lnTo>
                    <a:pt x="906" y="1104"/>
                  </a:lnTo>
                  <a:lnTo>
                    <a:pt x="900" y="1098"/>
                  </a:lnTo>
                  <a:lnTo>
                    <a:pt x="900" y="1092"/>
                  </a:lnTo>
                  <a:lnTo>
                    <a:pt x="900" y="1086"/>
                  </a:lnTo>
                  <a:lnTo>
                    <a:pt x="900" y="1080"/>
                  </a:lnTo>
                  <a:lnTo>
                    <a:pt x="894" y="1080"/>
                  </a:lnTo>
                  <a:lnTo>
                    <a:pt x="858" y="1074"/>
                  </a:lnTo>
                  <a:lnTo>
                    <a:pt x="852" y="1080"/>
                  </a:lnTo>
                  <a:lnTo>
                    <a:pt x="846" y="1086"/>
                  </a:lnTo>
                  <a:lnTo>
                    <a:pt x="840" y="1086"/>
                  </a:lnTo>
                  <a:lnTo>
                    <a:pt x="840" y="1092"/>
                  </a:lnTo>
                  <a:lnTo>
                    <a:pt x="834" y="1092"/>
                  </a:lnTo>
                  <a:lnTo>
                    <a:pt x="828" y="1098"/>
                  </a:lnTo>
                  <a:lnTo>
                    <a:pt x="822" y="1098"/>
                  </a:lnTo>
                  <a:lnTo>
                    <a:pt x="762" y="1074"/>
                  </a:lnTo>
                  <a:lnTo>
                    <a:pt x="756" y="1068"/>
                  </a:lnTo>
                  <a:lnTo>
                    <a:pt x="750" y="1068"/>
                  </a:lnTo>
                  <a:lnTo>
                    <a:pt x="744" y="1062"/>
                  </a:lnTo>
                  <a:lnTo>
                    <a:pt x="744" y="1068"/>
                  </a:lnTo>
                  <a:lnTo>
                    <a:pt x="744" y="1074"/>
                  </a:lnTo>
                  <a:lnTo>
                    <a:pt x="738" y="1074"/>
                  </a:lnTo>
                  <a:lnTo>
                    <a:pt x="738" y="1068"/>
                  </a:lnTo>
                  <a:lnTo>
                    <a:pt x="732" y="1068"/>
                  </a:lnTo>
                  <a:lnTo>
                    <a:pt x="726" y="1068"/>
                  </a:lnTo>
                  <a:lnTo>
                    <a:pt x="726" y="1074"/>
                  </a:lnTo>
                  <a:lnTo>
                    <a:pt x="720" y="1074"/>
                  </a:lnTo>
                  <a:lnTo>
                    <a:pt x="684" y="106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5" name="Freeform 40">
              <a:extLst>
                <a:ext uri="{FF2B5EF4-FFF2-40B4-BE49-F238E27FC236}">
                  <a16:creationId xmlns:a16="http://schemas.microsoft.com/office/drawing/2014/main" id="{37EC2F22-BDB9-4162-8FA4-08493F6898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3558" y="1520374"/>
              <a:ext cx="1057717" cy="1252440"/>
            </a:xfrm>
            <a:custGeom>
              <a:avLst/>
              <a:gdLst>
                <a:gd name="T0" fmla="*/ 98 w 1992"/>
                <a:gd name="T1" fmla="*/ 162 h 2358"/>
                <a:gd name="T2" fmla="*/ 93 w 1992"/>
                <a:gd name="T3" fmla="*/ 172 h 2358"/>
                <a:gd name="T4" fmla="*/ 82 w 1992"/>
                <a:gd name="T5" fmla="*/ 179 h 2358"/>
                <a:gd name="T6" fmla="*/ 70 w 1992"/>
                <a:gd name="T7" fmla="*/ 174 h 2358"/>
                <a:gd name="T8" fmla="*/ 62 w 1992"/>
                <a:gd name="T9" fmla="*/ 182 h 2358"/>
                <a:gd name="T10" fmla="*/ 45 w 1992"/>
                <a:gd name="T11" fmla="*/ 189 h 2358"/>
                <a:gd name="T12" fmla="*/ 24 w 1992"/>
                <a:gd name="T13" fmla="*/ 205 h 2358"/>
                <a:gd name="T14" fmla="*/ 17 w 1992"/>
                <a:gd name="T15" fmla="*/ 204 h 2358"/>
                <a:gd name="T16" fmla="*/ 7 w 1992"/>
                <a:gd name="T17" fmla="*/ 197 h 2358"/>
                <a:gd name="T18" fmla="*/ 1 w 1992"/>
                <a:gd name="T19" fmla="*/ 191 h 2358"/>
                <a:gd name="T20" fmla="*/ 4 w 1992"/>
                <a:gd name="T21" fmla="*/ 175 h 2358"/>
                <a:gd name="T22" fmla="*/ 7 w 1992"/>
                <a:gd name="T23" fmla="*/ 172 h 2358"/>
                <a:gd name="T24" fmla="*/ 11 w 1992"/>
                <a:gd name="T25" fmla="*/ 168 h 2358"/>
                <a:gd name="T26" fmla="*/ 5 w 1992"/>
                <a:gd name="T27" fmla="*/ 159 h 2358"/>
                <a:gd name="T28" fmla="*/ 10 w 1992"/>
                <a:gd name="T29" fmla="*/ 156 h 2358"/>
                <a:gd name="T30" fmla="*/ 15 w 1992"/>
                <a:gd name="T31" fmla="*/ 155 h 2358"/>
                <a:gd name="T32" fmla="*/ 24 w 1992"/>
                <a:gd name="T33" fmla="*/ 149 h 2358"/>
                <a:gd name="T34" fmla="*/ 38 w 1992"/>
                <a:gd name="T35" fmla="*/ 127 h 2358"/>
                <a:gd name="T36" fmla="*/ 38 w 1992"/>
                <a:gd name="T37" fmla="*/ 107 h 2358"/>
                <a:gd name="T38" fmla="*/ 45 w 1992"/>
                <a:gd name="T39" fmla="*/ 66 h 2358"/>
                <a:gd name="T40" fmla="*/ 47 w 1992"/>
                <a:gd name="T41" fmla="*/ 36 h 2358"/>
                <a:gd name="T42" fmla="*/ 51 w 1992"/>
                <a:gd name="T43" fmla="*/ 35 h 2358"/>
                <a:gd name="T44" fmla="*/ 55 w 1992"/>
                <a:gd name="T45" fmla="*/ 30 h 2358"/>
                <a:gd name="T46" fmla="*/ 56 w 1992"/>
                <a:gd name="T47" fmla="*/ 27 h 2358"/>
                <a:gd name="T48" fmla="*/ 60 w 1992"/>
                <a:gd name="T49" fmla="*/ 23 h 2358"/>
                <a:gd name="T50" fmla="*/ 63 w 1992"/>
                <a:gd name="T51" fmla="*/ 23 h 2358"/>
                <a:gd name="T52" fmla="*/ 70 w 1992"/>
                <a:gd name="T53" fmla="*/ 18 h 2358"/>
                <a:gd name="T54" fmla="*/ 71 w 1992"/>
                <a:gd name="T55" fmla="*/ 15 h 2358"/>
                <a:gd name="T56" fmla="*/ 72 w 1992"/>
                <a:gd name="T57" fmla="*/ 13 h 2358"/>
                <a:gd name="T58" fmla="*/ 77 w 1992"/>
                <a:gd name="T59" fmla="*/ 12 h 2358"/>
                <a:gd name="T60" fmla="*/ 83 w 1992"/>
                <a:gd name="T61" fmla="*/ 10 h 2358"/>
                <a:gd name="T62" fmla="*/ 87 w 1992"/>
                <a:gd name="T63" fmla="*/ 10 h 2358"/>
                <a:gd name="T64" fmla="*/ 89 w 1992"/>
                <a:gd name="T65" fmla="*/ 10 h 2358"/>
                <a:gd name="T66" fmla="*/ 93 w 1992"/>
                <a:gd name="T67" fmla="*/ 8 h 2358"/>
                <a:gd name="T68" fmla="*/ 95 w 1992"/>
                <a:gd name="T69" fmla="*/ 4 h 2358"/>
                <a:gd name="T70" fmla="*/ 99 w 1992"/>
                <a:gd name="T71" fmla="*/ 0 h 2358"/>
                <a:gd name="T72" fmla="*/ 111 w 1992"/>
                <a:gd name="T73" fmla="*/ 0 h 2358"/>
                <a:gd name="T74" fmla="*/ 121 w 1992"/>
                <a:gd name="T75" fmla="*/ 9 h 2358"/>
                <a:gd name="T76" fmla="*/ 128 w 1992"/>
                <a:gd name="T77" fmla="*/ 19 h 2358"/>
                <a:gd name="T78" fmla="*/ 138 w 1992"/>
                <a:gd name="T79" fmla="*/ 33 h 2358"/>
                <a:gd name="T80" fmla="*/ 142 w 1992"/>
                <a:gd name="T81" fmla="*/ 47 h 2358"/>
                <a:gd name="T82" fmla="*/ 145 w 1992"/>
                <a:gd name="T83" fmla="*/ 62 h 2358"/>
                <a:gd name="T84" fmla="*/ 145 w 1992"/>
                <a:gd name="T85" fmla="*/ 70 h 2358"/>
                <a:gd name="T86" fmla="*/ 147 w 1992"/>
                <a:gd name="T87" fmla="*/ 75 h 2358"/>
                <a:gd name="T88" fmla="*/ 153 w 1992"/>
                <a:gd name="T89" fmla="*/ 75 h 2358"/>
                <a:gd name="T90" fmla="*/ 160 w 1992"/>
                <a:gd name="T91" fmla="*/ 76 h 2358"/>
                <a:gd name="T92" fmla="*/ 164 w 1992"/>
                <a:gd name="T93" fmla="*/ 79 h 2358"/>
                <a:gd name="T94" fmla="*/ 168 w 1992"/>
                <a:gd name="T95" fmla="*/ 83 h 2358"/>
                <a:gd name="T96" fmla="*/ 172 w 1992"/>
                <a:gd name="T97" fmla="*/ 86 h 2358"/>
                <a:gd name="T98" fmla="*/ 170 w 1992"/>
                <a:gd name="T99" fmla="*/ 93 h 2358"/>
                <a:gd name="T100" fmla="*/ 170 w 1992"/>
                <a:gd name="T101" fmla="*/ 99 h 2358"/>
                <a:gd name="T102" fmla="*/ 169 w 1992"/>
                <a:gd name="T103" fmla="*/ 106 h 2358"/>
                <a:gd name="T104" fmla="*/ 166 w 1992"/>
                <a:gd name="T105" fmla="*/ 113 h 2358"/>
                <a:gd name="T106" fmla="*/ 170 w 1992"/>
                <a:gd name="T107" fmla="*/ 122 h 2358"/>
                <a:gd name="T108" fmla="*/ 159 w 1992"/>
                <a:gd name="T109" fmla="*/ 128 h 2358"/>
                <a:gd name="T110" fmla="*/ 148 w 1992"/>
                <a:gd name="T111" fmla="*/ 134 h 2358"/>
                <a:gd name="T112" fmla="*/ 139 w 1992"/>
                <a:gd name="T113" fmla="*/ 136 h 2358"/>
                <a:gd name="T114" fmla="*/ 132 w 1992"/>
                <a:gd name="T115" fmla="*/ 138 h 2358"/>
                <a:gd name="T116" fmla="*/ 128 w 1992"/>
                <a:gd name="T117" fmla="*/ 145 h 2358"/>
                <a:gd name="T118" fmla="*/ 124 w 1992"/>
                <a:gd name="T119" fmla="*/ 150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92"/>
                <a:gd name="T181" fmla="*/ 0 h 2358"/>
                <a:gd name="T182" fmla="*/ 1992 w 1992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92" h="2358">
                  <a:moveTo>
                    <a:pt x="1356" y="1782"/>
                  </a:moveTo>
                  <a:lnTo>
                    <a:pt x="1350" y="1788"/>
                  </a:lnTo>
                  <a:lnTo>
                    <a:pt x="1266" y="1788"/>
                  </a:lnTo>
                  <a:lnTo>
                    <a:pt x="1260" y="1800"/>
                  </a:lnTo>
                  <a:lnTo>
                    <a:pt x="1242" y="1806"/>
                  </a:lnTo>
                  <a:lnTo>
                    <a:pt x="1218" y="1812"/>
                  </a:lnTo>
                  <a:lnTo>
                    <a:pt x="1182" y="1812"/>
                  </a:lnTo>
                  <a:lnTo>
                    <a:pt x="1158" y="1806"/>
                  </a:lnTo>
                  <a:lnTo>
                    <a:pt x="1134" y="1800"/>
                  </a:lnTo>
                  <a:lnTo>
                    <a:pt x="1134" y="1806"/>
                  </a:lnTo>
                  <a:lnTo>
                    <a:pt x="1134" y="1830"/>
                  </a:lnTo>
                  <a:lnTo>
                    <a:pt x="1128" y="1842"/>
                  </a:lnTo>
                  <a:lnTo>
                    <a:pt x="1128" y="1854"/>
                  </a:lnTo>
                  <a:lnTo>
                    <a:pt x="1128" y="1860"/>
                  </a:lnTo>
                  <a:lnTo>
                    <a:pt x="1128" y="1866"/>
                  </a:lnTo>
                  <a:lnTo>
                    <a:pt x="1128" y="1872"/>
                  </a:lnTo>
                  <a:lnTo>
                    <a:pt x="1128" y="1884"/>
                  </a:lnTo>
                  <a:lnTo>
                    <a:pt x="1128" y="1890"/>
                  </a:lnTo>
                  <a:lnTo>
                    <a:pt x="1128" y="1896"/>
                  </a:lnTo>
                  <a:lnTo>
                    <a:pt x="1122" y="1902"/>
                  </a:lnTo>
                  <a:lnTo>
                    <a:pt x="1122" y="1920"/>
                  </a:lnTo>
                  <a:lnTo>
                    <a:pt x="1116" y="1920"/>
                  </a:lnTo>
                  <a:lnTo>
                    <a:pt x="1110" y="1926"/>
                  </a:lnTo>
                  <a:lnTo>
                    <a:pt x="1110" y="1932"/>
                  </a:lnTo>
                  <a:lnTo>
                    <a:pt x="1104" y="1938"/>
                  </a:lnTo>
                  <a:lnTo>
                    <a:pt x="1086" y="1962"/>
                  </a:lnTo>
                  <a:lnTo>
                    <a:pt x="1074" y="1974"/>
                  </a:lnTo>
                  <a:lnTo>
                    <a:pt x="1074" y="1980"/>
                  </a:lnTo>
                  <a:lnTo>
                    <a:pt x="1068" y="1986"/>
                  </a:lnTo>
                  <a:lnTo>
                    <a:pt x="1062" y="1998"/>
                  </a:lnTo>
                  <a:lnTo>
                    <a:pt x="1062" y="2004"/>
                  </a:lnTo>
                  <a:lnTo>
                    <a:pt x="1068" y="2004"/>
                  </a:lnTo>
                  <a:lnTo>
                    <a:pt x="1056" y="2034"/>
                  </a:lnTo>
                  <a:lnTo>
                    <a:pt x="1050" y="2076"/>
                  </a:lnTo>
                  <a:lnTo>
                    <a:pt x="1056" y="2100"/>
                  </a:lnTo>
                  <a:lnTo>
                    <a:pt x="1038" y="2106"/>
                  </a:lnTo>
                  <a:lnTo>
                    <a:pt x="1002" y="2106"/>
                  </a:lnTo>
                  <a:lnTo>
                    <a:pt x="978" y="2094"/>
                  </a:lnTo>
                  <a:lnTo>
                    <a:pt x="972" y="2082"/>
                  </a:lnTo>
                  <a:lnTo>
                    <a:pt x="966" y="2070"/>
                  </a:lnTo>
                  <a:lnTo>
                    <a:pt x="954" y="2064"/>
                  </a:lnTo>
                  <a:lnTo>
                    <a:pt x="942" y="2058"/>
                  </a:lnTo>
                  <a:lnTo>
                    <a:pt x="936" y="2058"/>
                  </a:lnTo>
                  <a:lnTo>
                    <a:pt x="918" y="2046"/>
                  </a:lnTo>
                  <a:lnTo>
                    <a:pt x="906" y="2028"/>
                  </a:lnTo>
                  <a:lnTo>
                    <a:pt x="900" y="2022"/>
                  </a:lnTo>
                  <a:lnTo>
                    <a:pt x="894" y="2022"/>
                  </a:lnTo>
                  <a:lnTo>
                    <a:pt x="882" y="2022"/>
                  </a:lnTo>
                  <a:lnTo>
                    <a:pt x="870" y="2016"/>
                  </a:lnTo>
                  <a:lnTo>
                    <a:pt x="864" y="2016"/>
                  </a:lnTo>
                  <a:lnTo>
                    <a:pt x="852" y="2010"/>
                  </a:lnTo>
                  <a:lnTo>
                    <a:pt x="846" y="2004"/>
                  </a:lnTo>
                  <a:lnTo>
                    <a:pt x="840" y="2004"/>
                  </a:lnTo>
                  <a:lnTo>
                    <a:pt x="828" y="1998"/>
                  </a:lnTo>
                  <a:lnTo>
                    <a:pt x="816" y="1998"/>
                  </a:lnTo>
                  <a:lnTo>
                    <a:pt x="810" y="1998"/>
                  </a:lnTo>
                  <a:lnTo>
                    <a:pt x="804" y="1998"/>
                  </a:lnTo>
                  <a:lnTo>
                    <a:pt x="798" y="1998"/>
                  </a:lnTo>
                  <a:lnTo>
                    <a:pt x="792" y="2004"/>
                  </a:lnTo>
                  <a:lnTo>
                    <a:pt x="786" y="2010"/>
                  </a:lnTo>
                  <a:lnTo>
                    <a:pt x="762" y="2010"/>
                  </a:lnTo>
                  <a:lnTo>
                    <a:pt x="756" y="2010"/>
                  </a:lnTo>
                  <a:lnTo>
                    <a:pt x="744" y="2022"/>
                  </a:lnTo>
                  <a:lnTo>
                    <a:pt x="738" y="2034"/>
                  </a:lnTo>
                  <a:lnTo>
                    <a:pt x="732" y="2040"/>
                  </a:lnTo>
                  <a:lnTo>
                    <a:pt x="732" y="2046"/>
                  </a:lnTo>
                  <a:lnTo>
                    <a:pt x="726" y="2058"/>
                  </a:lnTo>
                  <a:lnTo>
                    <a:pt x="720" y="2064"/>
                  </a:lnTo>
                  <a:lnTo>
                    <a:pt x="714" y="2070"/>
                  </a:lnTo>
                  <a:lnTo>
                    <a:pt x="708" y="2088"/>
                  </a:lnTo>
                  <a:lnTo>
                    <a:pt x="702" y="2100"/>
                  </a:lnTo>
                  <a:lnTo>
                    <a:pt x="690" y="2100"/>
                  </a:lnTo>
                  <a:lnTo>
                    <a:pt x="684" y="2094"/>
                  </a:lnTo>
                  <a:lnTo>
                    <a:pt x="666" y="2100"/>
                  </a:lnTo>
                  <a:lnTo>
                    <a:pt x="636" y="2106"/>
                  </a:lnTo>
                  <a:lnTo>
                    <a:pt x="636" y="2112"/>
                  </a:lnTo>
                  <a:lnTo>
                    <a:pt x="636" y="2118"/>
                  </a:lnTo>
                  <a:lnTo>
                    <a:pt x="636" y="2124"/>
                  </a:lnTo>
                  <a:lnTo>
                    <a:pt x="630" y="2124"/>
                  </a:lnTo>
                  <a:lnTo>
                    <a:pt x="630" y="2148"/>
                  </a:lnTo>
                  <a:lnTo>
                    <a:pt x="612" y="2160"/>
                  </a:lnTo>
                  <a:lnTo>
                    <a:pt x="576" y="2172"/>
                  </a:lnTo>
                  <a:lnTo>
                    <a:pt x="546" y="2172"/>
                  </a:lnTo>
                  <a:lnTo>
                    <a:pt x="516" y="2172"/>
                  </a:lnTo>
                  <a:lnTo>
                    <a:pt x="486" y="2172"/>
                  </a:lnTo>
                  <a:lnTo>
                    <a:pt x="462" y="2172"/>
                  </a:lnTo>
                  <a:lnTo>
                    <a:pt x="444" y="2196"/>
                  </a:lnTo>
                  <a:lnTo>
                    <a:pt x="432" y="2232"/>
                  </a:lnTo>
                  <a:lnTo>
                    <a:pt x="408" y="2238"/>
                  </a:lnTo>
                  <a:lnTo>
                    <a:pt x="390" y="2256"/>
                  </a:lnTo>
                  <a:lnTo>
                    <a:pt x="372" y="2274"/>
                  </a:lnTo>
                  <a:lnTo>
                    <a:pt x="360" y="2274"/>
                  </a:lnTo>
                  <a:lnTo>
                    <a:pt x="336" y="2328"/>
                  </a:lnTo>
                  <a:lnTo>
                    <a:pt x="324" y="2340"/>
                  </a:lnTo>
                  <a:lnTo>
                    <a:pt x="300" y="2346"/>
                  </a:lnTo>
                  <a:lnTo>
                    <a:pt x="294" y="2352"/>
                  </a:lnTo>
                  <a:lnTo>
                    <a:pt x="288" y="2352"/>
                  </a:lnTo>
                  <a:lnTo>
                    <a:pt x="282" y="2352"/>
                  </a:lnTo>
                  <a:lnTo>
                    <a:pt x="276" y="2352"/>
                  </a:lnTo>
                  <a:lnTo>
                    <a:pt x="270" y="2352"/>
                  </a:lnTo>
                  <a:lnTo>
                    <a:pt x="270" y="2346"/>
                  </a:lnTo>
                  <a:lnTo>
                    <a:pt x="264" y="2346"/>
                  </a:lnTo>
                  <a:lnTo>
                    <a:pt x="258" y="2352"/>
                  </a:lnTo>
                  <a:lnTo>
                    <a:pt x="252" y="2352"/>
                  </a:lnTo>
                  <a:lnTo>
                    <a:pt x="240" y="2352"/>
                  </a:lnTo>
                  <a:lnTo>
                    <a:pt x="228" y="2352"/>
                  </a:lnTo>
                  <a:lnTo>
                    <a:pt x="222" y="2352"/>
                  </a:lnTo>
                  <a:lnTo>
                    <a:pt x="216" y="2358"/>
                  </a:lnTo>
                  <a:lnTo>
                    <a:pt x="216" y="2352"/>
                  </a:lnTo>
                  <a:lnTo>
                    <a:pt x="210" y="2346"/>
                  </a:lnTo>
                  <a:lnTo>
                    <a:pt x="204" y="2346"/>
                  </a:lnTo>
                  <a:lnTo>
                    <a:pt x="198" y="2340"/>
                  </a:lnTo>
                  <a:lnTo>
                    <a:pt x="192" y="2340"/>
                  </a:lnTo>
                  <a:lnTo>
                    <a:pt x="186" y="2340"/>
                  </a:lnTo>
                  <a:lnTo>
                    <a:pt x="180" y="2340"/>
                  </a:lnTo>
                  <a:lnTo>
                    <a:pt x="174" y="2340"/>
                  </a:lnTo>
                  <a:lnTo>
                    <a:pt x="162" y="2328"/>
                  </a:lnTo>
                  <a:lnTo>
                    <a:pt x="156" y="2322"/>
                  </a:lnTo>
                  <a:lnTo>
                    <a:pt x="156" y="2316"/>
                  </a:lnTo>
                  <a:lnTo>
                    <a:pt x="156" y="2310"/>
                  </a:lnTo>
                  <a:lnTo>
                    <a:pt x="132" y="2286"/>
                  </a:lnTo>
                  <a:lnTo>
                    <a:pt x="120" y="2280"/>
                  </a:lnTo>
                  <a:lnTo>
                    <a:pt x="96" y="2274"/>
                  </a:lnTo>
                  <a:lnTo>
                    <a:pt x="84" y="2268"/>
                  </a:lnTo>
                  <a:lnTo>
                    <a:pt x="78" y="2268"/>
                  </a:lnTo>
                  <a:lnTo>
                    <a:pt x="78" y="2262"/>
                  </a:lnTo>
                  <a:lnTo>
                    <a:pt x="78" y="2256"/>
                  </a:lnTo>
                  <a:lnTo>
                    <a:pt x="78" y="2250"/>
                  </a:lnTo>
                  <a:lnTo>
                    <a:pt x="72" y="2250"/>
                  </a:lnTo>
                  <a:lnTo>
                    <a:pt x="66" y="2250"/>
                  </a:lnTo>
                  <a:lnTo>
                    <a:pt x="60" y="2250"/>
                  </a:lnTo>
                  <a:lnTo>
                    <a:pt x="48" y="2244"/>
                  </a:lnTo>
                  <a:lnTo>
                    <a:pt x="36" y="2238"/>
                  </a:lnTo>
                  <a:lnTo>
                    <a:pt x="36" y="2226"/>
                  </a:lnTo>
                  <a:lnTo>
                    <a:pt x="30" y="2226"/>
                  </a:lnTo>
                  <a:lnTo>
                    <a:pt x="30" y="2220"/>
                  </a:lnTo>
                  <a:lnTo>
                    <a:pt x="24" y="2208"/>
                  </a:lnTo>
                  <a:lnTo>
                    <a:pt x="18" y="2202"/>
                  </a:lnTo>
                  <a:lnTo>
                    <a:pt x="18" y="2196"/>
                  </a:lnTo>
                  <a:lnTo>
                    <a:pt x="12" y="2190"/>
                  </a:lnTo>
                  <a:lnTo>
                    <a:pt x="0" y="2190"/>
                  </a:lnTo>
                  <a:lnTo>
                    <a:pt x="6" y="2184"/>
                  </a:lnTo>
                  <a:lnTo>
                    <a:pt x="12" y="2178"/>
                  </a:lnTo>
                  <a:lnTo>
                    <a:pt x="18" y="2172"/>
                  </a:lnTo>
                  <a:lnTo>
                    <a:pt x="24" y="2166"/>
                  </a:lnTo>
                  <a:lnTo>
                    <a:pt x="30" y="2166"/>
                  </a:lnTo>
                  <a:lnTo>
                    <a:pt x="24" y="2160"/>
                  </a:lnTo>
                  <a:lnTo>
                    <a:pt x="30" y="2160"/>
                  </a:lnTo>
                  <a:lnTo>
                    <a:pt x="36" y="2154"/>
                  </a:lnTo>
                  <a:lnTo>
                    <a:pt x="36" y="2136"/>
                  </a:lnTo>
                  <a:lnTo>
                    <a:pt x="36" y="2118"/>
                  </a:lnTo>
                  <a:lnTo>
                    <a:pt x="48" y="2058"/>
                  </a:lnTo>
                  <a:lnTo>
                    <a:pt x="48" y="2022"/>
                  </a:lnTo>
                  <a:lnTo>
                    <a:pt x="48" y="2016"/>
                  </a:lnTo>
                  <a:lnTo>
                    <a:pt x="48" y="2010"/>
                  </a:lnTo>
                  <a:lnTo>
                    <a:pt x="48" y="2004"/>
                  </a:lnTo>
                  <a:lnTo>
                    <a:pt x="42" y="2004"/>
                  </a:lnTo>
                  <a:lnTo>
                    <a:pt x="42" y="1998"/>
                  </a:lnTo>
                  <a:lnTo>
                    <a:pt x="36" y="1992"/>
                  </a:lnTo>
                  <a:lnTo>
                    <a:pt x="42" y="1992"/>
                  </a:lnTo>
                  <a:lnTo>
                    <a:pt x="42" y="1986"/>
                  </a:lnTo>
                  <a:lnTo>
                    <a:pt x="48" y="1986"/>
                  </a:lnTo>
                  <a:lnTo>
                    <a:pt x="54" y="1986"/>
                  </a:lnTo>
                  <a:lnTo>
                    <a:pt x="60" y="1986"/>
                  </a:lnTo>
                  <a:lnTo>
                    <a:pt x="66" y="1980"/>
                  </a:lnTo>
                  <a:lnTo>
                    <a:pt x="72" y="1974"/>
                  </a:lnTo>
                  <a:lnTo>
                    <a:pt x="78" y="1974"/>
                  </a:lnTo>
                  <a:lnTo>
                    <a:pt x="84" y="1974"/>
                  </a:lnTo>
                  <a:lnTo>
                    <a:pt x="90" y="1974"/>
                  </a:lnTo>
                  <a:lnTo>
                    <a:pt x="96" y="1974"/>
                  </a:lnTo>
                  <a:lnTo>
                    <a:pt x="96" y="1968"/>
                  </a:lnTo>
                  <a:lnTo>
                    <a:pt x="102" y="1968"/>
                  </a:lnTo>
                  <a:lnTo>
                    <a:pt x="102" y="1962"/>
                  </a:lnTo>
                  <a:lnTo>
                    <a:pt x="108" y="1962"/>
                  </a:lnTo>
                  <a:lnTo>
                    <a:pt x="114" y="1956"/>
                  </a:lnTo>
                  <a:lnTo>
                    <a:pt x="120" y="1956"/>
                  </a:lnTo>
                  <a:lnTo>
                    <a:pt x="126" y="1950"/>
                  </a:lnTo>
                  <a:lnTo>
                    <a:pt x="132" y="1950"/>
                  </a:lnTo>
                  <a:lnTo>
                    <a:pt x="132" y="1944"/>
                  </a:lnTo>
                  <a:lnTo>
                    <a:pt x="126" y="1944"/>
                  </a:lnTo>
                  <a:lnTo>
                    <a:pt x="126" y="1938"/>
                  </a:lnTo>
                  <a:lnTo>
                    <a:pt x="126" y="1932"/>
                  </a:lnTo>
                  <a:lnTo>
                    <a:pt x="126" y="1926"/>
                  </a:lnTo>
                  <a:lnTo>
                    <a:pt x="114" y="1914"/>
                  </a:lnTo>
                  <a:lnTo>
                    <a:pt x="114" y="1896"/>
                  </a:lnTo>
                  <a:lnTo>
                    <a:pt x="108" y="1884"/>
                  </a:lnTo>
                  <a:lnTo>
                    <a:pt x="102" y="1872"/>
                  </a:lnTo>
                  <a:lnTo>
                    <a:pt x="96" y="1866"/>
                  </a:lnTo>
                  <a:lnTo>
                    <a:pt x="96" y="1860"/>
                  </a:lnTo>
                  <a:lnTo>
                    <a:pt x="90" y="1860"/>
                  </a:lnTo>
                  <a:lnTo>
                    <a:pt x="90" y="1854"/>
                  </a:lnTo>
                  <a:lnTo>
                    <a:pt x="84" y="1848"/>
                  </a:lnTo>
                  <a:lnTo>
                    <a:pt x="78" y="1842"/>
                  </a:lnTo>
                  <a:lnTo>
                    <a:pt x="72" y="1836"/>
                  </a:lnTo>
                  <a:lnTo>
                    <a:pt x="66" y="1830"/>
                  </a:lnTo>
                  <a:lnTo>
                    <a:pt x="60" y="1824"/>
                  </a:lnTo>
                  <a:lnTo>
                    <a:pt x="54" y="1824"/>
                  </a:lnTo>
                  <a:lnTo>
                    <a:pt x="48" y="1824"/>
                  </a:lnTo>
                  <a:lnTo>
                    <a:pt x="42" y="1818"/>
                  </a:lnTo>
                  <a:lnTo>
                    <a:pt x="54" y="1818"/>
                  </a:lnTo>
                  <a:lnTo>
                    <a:pt x="60" y="1812"/>
                  </a:lnTo>
                  <a:lnTo>
                    <a:pt x="66" y="1812"/>
                  </a:lnTo>
                  <a:lnTo>
                    <a:pt x="72" y="1812"/>
                  </a:lnTo>
                  <a:lnTo>
                    <a:pt x="78" y="1812"/>
                  </a:lnTo>
                  <a:lnTo>
                    <a:pt x="84" y="1812"/>
                  </a:lnTo>
                  <a:lnTo>
                    <a:pt x="90" y="1806"/>
                  </a:lnTo>
                  <a:lnTo>
                    <a:pt x="96" y="1800"/>
                  </a:lnTo>
                  <a:lnTo>
                    <a:pt x="102" y="1806"/>
                  </a:lnTo>
                  <a:lnTo>
                    <a:pt x="108" y="1800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26" y="1788"/>
                  </a:lnTo>
                  <a:lnTo>
                    <a:pt x="126" y="1794"/>
                  </a:lnTo>
                  <a:lnTo>
                    <a:pt x="132" y="1794"/>
                  </a:lnTo>
                  <a:lnTo>
                    <a:pt x="132" y="1788"/>
                  </a:lnTo>
                  <a:lnTo>
                    <a:pt x="138" y="1788"/>
                  </a:lnTo>
                  <a:lnTo>
                    <a:pt x="138" y="1782"/>
                  </a:lnTo>
                  <a:lnTo>
                    <a:pt x="144" y="1782"/>
                  </a:lnTo>
                  <a:lnTo>
                    <a:pt x="150" y="1776"/>
                  </a:lnTo>
                  <a:lnTo>
                    <a:pt x="156" y="1782"/>
                  </a:lnTo>
                  <a:lnTo>
                    <a:pt x="162" y="1776"/>
                  </a:lnTo>
                  <a:lnTo>
                    <a:pt x="168" y="1776"/>
                  </a:lnTo>
                  <a:lnTo>
                    <a:pt x="180" y="1776"/>
                  </a:lnTo>
                  <a:lnTo>
                    <a:pt x="186" y="1776"/>
                  </a:lnTo>
                  <a:lnTo>
                    <a:pt x="186" y="1782"/>
                  </a:lnTo>
                  <a:lnTo>
                    <a:pt x="192" y="1776"/>
                  </a:lnTo>
                  <a:lnTo>
                    <a:pt x="198" y="1776"/>
                  </a:lnTo>
                  <a:lnTo>
                    <a:pt x="204" y="1770"/>
                  </a:lnTo>
                  <a:lnTo>
                    <a:pt x="204" y="1764"/>
                  </a:lnTo>
                  <a:lnTo>
                    <a:pt x="210" y="1764"/>
                  </a:lnTo>
                  <a:lnTo>
                    <a:pt x="216" y="1764"/>
                  </a:lnTo>
                  <a:lnTo>
                    <a:pt x="216" y="1758"/>
                  </a:lnTo>
                  <a:lnTo>
                    <a:pt x="222" y="1758"/>
                  </a:lnTo>
                  <a:lnTo>
                    <a:pt x="228" y="1758"/>
                  </a:lnTo>
                  <a:lnTo>
                    <a:pt x="258" y="1746"/>
                  </a:lnTo>
                  <a:lnTo>
                    <a:pt x="282" y="1716"/>
                  </a:lnTo>
                  <a:lnTo>
                    <a:pt x="300" y="1698"/>
                  </a:lnTo>
                  <a:lnTo>
                    <a:pt x="312" y="1698"/>
                  </a:lnTo>
                  <a:lnTo>
                    <a:pt x="336" y="1698"/>
                  </a:lnTo>
                  <a:lnTo>
                    <a:pt x="360" y="1698"/>
                  </a:lnTo>
                  <a:lnTo>
                    <a:pt x="372" y="1692"/>
                  </a:lnTo>
                  <a:lnTo>
                    <a:pt x="384" y="1692"/>
                  </a:lnTo>
                  <a:lnTo>
                    <a:pt x="360" y="1668"/>
                  </a:lnTo>
                  <a:lnTo>
                    <a:pt x="348" y="1626"/>
                  </a:lnTo>
                  <a:lnTo>
                    <a:pt x="354" y="1578"/>
                  </a:lnTo>
                  <a:lnTo>
                    <a:pt x="354" y="1572"/>
                  </a:lnTo>
                  <a:lnTo>
                    <a:pt x="360" y="1572"/>
                  </a:lnTo>
                  <a:lnTo>
                    <a:pt x="396" y="1530"/>
                  </a:lnTo>
                  <a:lnTo>
                    <a:pt x="408" y="1482"/>
                  </a:lnTo>
                  <a:lnTo>
                    <a:pt x="438" y="1458"/>
                  </a:lnTo>
                  <a:lnTo>
                    <a:pt x="468" y="1422"/>
                  </a:lnTo>
                  <a:lnTo>
                    <a:pt x="480" y="1410"/>
                  </a:lnTo>
                  <a:lnTo>
                    <a:pt x="474" y="1386"/>
                  </a:lnTo>
                  <a:lnTo>
                    <a:pt x="456" y="1356"/>
                  </a:lnTo>
                  <a:lnTo>
                    <a:pt x="438" y="1350"/>
                  </a:lnTo>
                  <a:lnTo>
                    <a:pt x="420" y="1350"/>
                  </a:lnTo>
                  <a:lnTo>
                    <a:pt x="402" y="1350"/>
                  </a:lnTo>
                  <a:lnTo>
                    <a:pt x="390" y="1344"/>
                  </a:lnTo>
                  <a:lnTo>
                    <a:pt x="390" y="1332"/>
                  </a:lnTo>
                  <a:lnTo>
                    <a:pt x="402" y="1296"/>
                  </a:lnTo>
                  <a:lnTo>
                    <a:pt x="414" y="1260"/>
                  </a:lnTo>
                  <a:lnTo>
                    <a:pt x="426" y="1248"/>
                  </a:lnTo>
                  <a:lnTo>
                    <a:pt x="438" y="1242"/>
                  </a:lnTo>
                  <a:lnTo>
                    <a:pt x="432" y="1230"/>
                  </a:lnTo>
                  <a:lnTo>
                    <a:pt x="432" y="1224"/>
                  </a:lnTo>
                  <a:lnTo>
                    <a:pt x="426" y="1218"/>
                  </a:lnTo>
                  <a:lnTo>
                    <a:pt x="426" y="1206"/>
                  </a:lnTo>
                  <a:lnTo>
                    <a:pt x="426" y="1200"/>
                  </a:lnTo>
                  <a:lnTo>
                    <a:pt x="432" y="1194"/>
                  </a:lnTo>
                  <a:lnTo>
                    <a:pt x="426" y="1188"/>
                  </a:lnTo>
                  <a:lnTo>
                    <a:pt x="432" y="1104"/>
                  </a:lnTo>
                  <a:lnTo>
                    <a:pt x="438" y="1086"/>
                  </a:lnTo>
                  <a:lnTo>
                    <a:pt x="462" y="972"/>
                  </a:lnTo>
                  <a:lnTo>
                    <a:pt x="456" y="900"/>
                  </a:lnTo>
                  <a:lnTo>
                    <a:pt x="444" y="846"/>
                  </a:lnTo>
                  <a:lnTo>
                    <a:pt x="456" y="810"/>
                  </a:lnTo>
                  <a:lnTo>
                    <a:pt x="492" y="786"/>
                  </a:lnTo>
                  <a:lnTo>
                    <a:pt x="522" y="762"/>
                  </a:lnTo>
                  <a:lnTo>
                    <a:pt x="546" y="732"/>
                  </a:lnTo>
                  <a:lnTo>
                    <a:pt x="570" y="696"/>
                  </a:lnTo>
                  <a:lnTo>
                    <a:pt x="582" y="654"/>
                  </a:lnTo>
                  <a:lnTo>
                    <a:pt x="564" y="642"/>
                  </a:lnTo>
                  <a:lnTo>
                    <a:pt x="522" y="588"/>
                  </a:lnTo>
                  <a:lnTo>
                    <a:pt x="516" y="546"/>
                  </a:lnTo>
                  <a:lnTo>
                    <a:pt x="510" y="474"/>
                  </a:lnTo>
                  <a:lnTo>
                    <a:pt x="510" y="450"/>
                  </a:lnTo>
                  <a:lnTo>
                    <a:pt x="510" y="444"/>
                  </a:lnTo>
                  <a:lnTo>
                    <a:pt x="522" y="438"/>
                  </a:lnTo>
                  <a:lnTo>
                    <a:pt x="522" y="432"/>
                  </a:lnTo>
                  <a:lnTo>
                    <a:pt x="528" y="426"/>
                  </a:lnTo>
                  <a:lnTo>
                    <a:pt x="534" y="420"/>
                  </a:lnTo>
                  <a:lnTo>
                    <a:pt x="540" y="414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08"/>
                  </a:lnTo>
                  <a:lnTo>
                    <a:pt x="546" y="408"/>
                  </a:lnTo>
                  <a:lnTo>
                    <a:pt x="558" y="414"/>
                  </a:lnTo>
                  <a:lnTo>
                    <a:pt x="564" y="414"/>
                  </a:lnTo>
                  <a:lnTo>
                    <a:pt x="570" y="414"/>
                  </a:lnTo>
                  <a:lnTo>
                    <a:pt x="582" y="414"/>
                  </a:lnTo>
                  <a:lnTo>
                    <a:pt x="582" y="420"/>
                  </a:lnTo>
                  <a:lnTo>
                    <a:pt x="588" y="414"/>
                  </a:lnTo>
                  <a:lnTo>
                    <a:pt x="582" y="408"/>
                  </a:lnTo>
                  <a:lnTo>
                    <a:pt x="588" y="402"/>
                  </a:lnTo>
                  <a:lnTo>
                    <a:pt x="594" y="402"/>
                  </a:lnTo>
                  <a:lnTo>
                    <a:pt x="594" y="396"/>
                  </a:lnTo>
                  <a:lnTo>
                    <a:pt x="594" y="390"/>
                  </a:lnTo>
                  <a:lnTo>
                    <a:pt x="594" y="384"/>
                  </a:lnTo>
                  <a:lnTo>
                    <a:pt x="594" y="378"/>
                  </a:lnTo>
                  <a:lnTo>
                    <a:pt x="600" y="366"/>
                  </a:lnTo>
                  <a:lnTo>
                    <a:pt x="606" y="366"/>
                  </a:lnTo>
                  <a:lnTo>
                    <a:pt x="612" y="360"/>
                  </a:lnTo>
                  <a:lnTo>
                    <a:pt x="612" y="366"/>
                  </a:lnTo>
                  <a:lnTo>
                    <a:pt x="618" y="366"/>
                  </a:lnTo>
                  <a:lnTo>
                    <a:pt x="624" y="366"/>
                  </a:lnTo>
                  <a:lnTo>
                    <a:pt x="630" y="360"/>
                  </a:lnTo>
                  <a:lnTo>
                    <a:pt x="636" y="354"/>
                  </a:lnTo>
                  <a:lnTo>
                    <a:pt x="630" y="354"/>
                  </a:lnTo>
                  <a:lnTo>
                    <a:pt x="630" y="348"/>
                  </a:lnTo>
                  <a:lnTo>
                    <a:pt x="630" y="342"/>
                  </a:lnTo>
                  <a:lnTo>
                    <a:pt x="636" y="342"/>
                  </a:lnTo>
                  <a:lnTo>
                    <a:pt x="642" y="336"/>
                  </a:lnTo>
                  <a:lnTo>
                    <a:pt x="636" y="330"/>
                  </a:lnTo>
                  <a:lnTo>
                    <a:pt x="630" y="336"/>
                  </a:lnTo>
                  <a:lnTo>
                    <a:pt x="624" y="336"/>
                  </a:lnTo>
                  <a:lnTo>
                    <a:pt x="624" y="330"/>
                  </a:lnTo>
                  <a:lnTo>
                    <a:pt x="624" y="324"/>
                  </a:lnTo>
                  <a:lnTo>
                    <a:pt x="618" y="324"/>
                  </a:lnTo>
                  <a:lnTo>
                    <a:pt x="624" y="324"/>
                  </a:lnTo>
                  <a:lnTo>
                    <a:pt x="630" y="330"/>
                  </a:lnTo>
                  <a:lnTo>
                    <a:pt x="630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2" y="306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8" y="288"/>
                  </a:lnTo>
                  <a:lnTo>
                    <a:pt x="648" y="282"/>
                  </a:lnTo>
                  <a:lnTo>
                    <a:pt x="654" y="288"/>
                  </a:lnTo>
                  <a:lnTo>
                    <a:pt x="654" y="282"/>
                  </a:lnTo>
                  <a:lnTo>
                    <a:pt x="660" y="282"/>
                  </a:lnTo>
                  <a:lnTo>
                    <a:pt x="666" y="282"/>
                  </a:lnTo>
                  <a:lnTo>
                    <a:pt x="672" y="282"/>
                  </a:lnTo>
                  <a:lnTo>
                    <a:pt x="678" y="282"/>
                  </a:lnTo>
                  <a:lnTo>
                    <a:pt x="684" y="276"/>
                  </a:lnTo>
                  <a:lnTo>
                    <a:pt x="690" y="270"/>
                  </a:lnTo>
                  <a:lnTo>
                    <a:pt x="690" y="264"/>
                  </a:lnTo>
                  <a:lnTo>
                    <a:pt x="690" y="270"/>
                  </a:lnTo>
                  <a:lnTo>
                    <a:pt x="690" y="276"/>
                  </a:lnTo>
                  <a:lnTo>
                    <a:pt x="696" y="276"/>
                  </a:lnTo>
                  <a:lnTo>
                    <a:pt x="702" y="276"/>
                  </a:lnTo>
                  <a:lnTo>
                    <a:pt x="702" y="282"/>
                  </a:lnTo>
                  <a:lnTo>
                    <a:pt x="708" y="282"/>
                  </a:lnTo>
                  <a:lnTo>
                    <a:pt x="720" y="270"/>
                  </a:lnTo>
                  <a:lnTo>
                    <a:pt x="720" y="264"/>
                  </a:lnTo>
                  <a:lnTo>
                    <a:pt x="720" y="258"/>
                  </a:lnTo>
                  <a:lnTo>
                    <a:pt x="726" y="258"/>
                  </a:lnTo>
                  <a:lnTo>
                    <a:pt x="732" y="258"/>
                  </a:lnTo>
                  <a:lnTo>
                    <a:pt x="732" y="264"/>
                  </a:lnTo>
                  <a:lnTo>
                    <a:pt x="738" y="264"/>
                  </a:lnTo>
                  <a:lnTo>
                    <a:pt x="738" y="258"/>
                  </a:lnTo>
                  <a:lnTo>
                    <a:pt x="732" y="258"/>
                  </a:lnTo>
                  <a:lnTo>
                    <a:pt x="732" y="252"/>
                  </a:lnTo>
                  <a:lnTo>
                    <a:pt x="744" y="252"/>
                  </a:lnTo>
                  <a:lnTo>
                    <a:pt x="750" y="252"/>
                  </a:lnTo>
                  <a:lnTo>
                    <a:pt x="750" y="246"/>
                  </a:lnTo>
                  <a:lnTo>
                    <a:pt x="750" y="240"/>
                  </a:lnTo>
                  <a:lnTo>
                    <a:pt x="762" y="234"/>
                  </a:lnTo>
                  <a:lnTo>
                    <a:pt x="768" y="234"/>
                  </a:lnTo>
                  <a:lnTo>
                    <a:pt x="774" y="234"/>
                  </a:lnTo>
                  <a:lnTo>
                    <a:pt x="780" y="228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16"/>
                  </a:lnTo>
                  <a:lnTo>
                    <a:pt x="792" y="210"/>
                  </a:lnTo>
                  <a:lnTo>
                    <a:pt x="804" y="204"/>
                  </a:lnTo>
                  <a:lnTo>
                    <a:pt x="804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0" y="192"/>
                  </a:lnTo>
                  <a:lnTo>
                    <a:pt x="798" y="186"/>
                  </a:lnTo>
                  <a:lnTo>
                    <a:pt x="810" y="186"/>
                  </a:lnTo>
                  <a:lnTo>
                    <a:pt x="810" y="180"/>
                  </a:lnTo>
                  <a:lnTo>
                    <a:pt x="810" y="186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0" y="180"/>
                  </a:lnTo>
                  <a:lnTo>
                    <a:pt x="816" y="174"/>
                  </a:lnTo>
                  <a:lnTo>
                    <a:pt x="822" y="174"/>
                  </a:lnTo>
                  <a:lnTo>
                    <a:pt x="822" y="180"/>
                  </a:lnTo>
                  <a:lnTo>
                    <a:pt x="828" y="180"/>
                  </a:lnTo>
                  <a:lnTo>
                    <a:pt x="828" y="174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62"/>
                  </a:lnTo>
                  <a:lnTo>
                    <a:pt x="828" y="156"/>
                  </a:lnTo>
                  <a:lnTo>
                    <a:pt x="822" y="156"/>
                  </a:lnTo>
                  <a:lnTo>
                    <a:pt x="828" y="156"/>
                  </a:lnTo>
                  <a:lnTo>
                    <a:pt x="828" y="150"/>
                  </a:lnTo>
                  <a:lnTo>
                    <a:pt x="834" y="150"/>
                  </a:lnTo>
                  <a:lnTo>
                    <a:pt x="840" y="156"/>
                  </a:lnTo>
                  <a:lnTo>
                    <a:pt x="840" y="150"/>
                  </a:lnTo>
                  <a:lnTo>
                    <a:pt x="834" y="150"/>
                  </a:lnTo>
                  <a:lnTo>
                    <a:pt x="834" y="144"/>
                  </a:lnTo>
                  <a:lnTo>
                    <a:pt x="840" y="138"/>
                  </a:lnTo>
                  <a:lnTo>
                    <a:pt x="846" y="144"/>
                  </a:lnTo>
                  <a:lnTo>
                    <a:pt x="846" y="150"/>
                  </a:lnTo>
                  <a:lnTo>
                    <a:pt x="852" y="150"/>
                  </a:lnTo>
                  <a:lnTo>
                    <a:pt x="858" y="150"/>
                  </a:lnTo>
                  <a:lnTo>
                    <a:pt x="870" y="150"/>
                  </a:lnTo>
                  <a:lnTo>
                    <a:pt x="870" y="144"/>
                  </a:lnTo>
                  <a:lnTo>
                    <a:pt x="876" y="138"/>
                  </a:lnTo>
                  <a:lnTo>
                    <a:pt x="882" y="138"/>
                  </a:lnTo>
                  <a:lnTo>
                    <a:pt x="888" y="132"/>
                  </a:lnTo>
                  <a:lnTo>
                    <a:pt x="888" y="138"/>
                  </a:lnTo>
                  <a:lnTo>
                    <a:pt x="894" y="138"/>
                  </a:lnTo>
                  <a:lnTo>
                    <a:pt x="894" y="132"/>
                  </a:lnTo>
                  <a:lnTo>
                    <a:pt x="900" y="126"/>
                  </a:lnTo>
                  <a:lnTo>
                    <a:pt x="900" y="132"/>
                  </a:lnTo>
                  <a:lnTo>
                    <a:pt x="906" y="132"/>
                  </a:lnTo>
                  <a:lnTo>
                    <a:pt x="912" y="132"/>
                  </a:lnTo>
                  <a:lnTo>
                    <a:pt x="918" y="126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24" y="126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8" y="120"/>
                  </a:lnTo>
                  <a:lnTo>
                    <a:pt x="948" y="114"/>
                  </a:lnTo>
                  <a:lnTo>
                    <a:pt x="948" y="108"/>
                  </a:lnTo>
                  <a:lnTo>
                    <a:pt x="954" y="114"/>
                  </a:lnTo>
                  <a:lnTo>
                    <a:pt x="960" y="108"/>
                  </a:lnTo>
                  <a:lnTo>
                    <a:pt x="966" y="108"/>
                  </a:lnTo>
                  <a:lnTo>
                    <a:pt x="972" y="108"/>
                  </a:lnTo>
                  <a:lnTo>
                    <a:pt x="966" y="114"/>
                  </a:lnTo>
                  <a:lnTo>
                    <a:pt x="960" y="114"/>
                  </a:lnTo>
                  <a:lnTo>
                    <a:pt x="960" y="120"/>
                  </a:lnTo>
                  <a:lnTo>
                    <a:pt x="966" y="126"/>
                  </a:lnTo>
                  <a:lnTo>
                    <a:pt x="972" y="126"/>
                  </a:lnTo>
                  <a:lnTo>
                    <a:pt x="978" y="126"/>
                  </a:lnTo>
                  <a:lnTo>
                    <a:pt x="984" y="120"/>
                  </a:lnTo>
                  <a:lnTo>
                    <a:pt x="984" y="114"/>
                  </a:lnTo>
                  <a:lnTo>
                    <a:pt x="996" y="126"/>
                  </a:lnTo>
                  <a:lnTo>
                    <a:pt x="996" y="120"/>
                  </a:lnTo>
                  <a:lnTo>
                    <a:pt x="1002" y="120"/>
                  </a:lnTo>
                  <a:lnTo>
                    <a:pt x="996" y="114"/>
                  </a:lnTo>
                  <a:lnTo>
                    <a:pt x="1002" y="114"/>
                  </a:lnTo>
                  <a:lnTo>
                    <a:pt x="1008" y="114"/>
                  </a:lnTo>
                  <a:lnTo>
                    <a:pt x="1008" y="108"/>
                  </a:lnTo>
                  <a:lnTo>
                    <a:pt x="1014" y="108"/>
                  </a:lnTo>
                  <a:lnTo>
                    <a:pt x="1008" y="114"/>
                  </a:lnTo>
                  <a:lnTo>
                    <a:pt x="1008" y="120"/>
                  </a:lnTo>
                  <a:lnTo>
                    <a:pt x="1008" y="126"/>
                  </a:lnTo>
                  <a:lnTo>
                    <a:pt x="1014" y="126"/>
                  </a:lnTo>
                  <a:lnTo>
                    <a:pt x="1014" y="132"/>
                  </a:lnTo>
                  <a:lnTo>
                    <a:pt x="1020" y="132"/>
                  </a:lnTo>
                  <a:lnTo>
                    <a:pt x="1020" y="126"/>
                  </a:lnTo>
                  <a:lnTo>
                    <a:pt x="1020" y="120"/>
                  </a:lnTo>
                  <a:lnTo>
                    <a:pt x="1032" y="120"/>
                  </a:lnTo>
                  <a:lnTo>
                    <a:pt x="1038" y="120"/>
                  </a:lnTo>
                  <a:lnTo>
                    <a:pt x="1038" y="126"/>
                  </a:lnTo>
                  <a:lnTo>
                    <a:pt x="1044" y="132"/>
                  </a:lnTo>
                  <a:lnTo>
                    <a:pt x="1044" y="126"/>
                  </a:lnTo>
                  <a:lnTo>
                    <a:pt x="1050" y="120"/>
                  </a:lnTo>
                  <a:lnTo>
                    <a:pt x="1050" y="114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68" y="102"/>
                  </a:lnTo>
                  <a:lnTo>
                    <a:pt x="1074" y="96"/>
                  </a:lnTo>
                  <a:lnTo>
                    <a:pt x="1074" y="90"/>
                  </a:lnTo>
                  <a:lnTo>
                    <a:pt x="1068" y="90"/>
                  </a:lnTo>
                  <a:lnTo>
                    <a:pt x="1068" y="84"/>
                  </a:lnTo>
                  <a:lnTo>
                    <a:pt x="1080" y="84"/>
                  </a:lnTo>
                  <a:lnTo>
                    <a:pt x="1086" y="78"/>
                  </a:lnTo>
                  <a:lnTo>
                    <a:pt x="1086" y="72"/>
                  </a:lnTo>
                  <a:lnTo>
                    <a:pt x="1080" y="78"/>
                  </a:lnTo>
                  <a:lnTo>
                    <a:pt x="1080" y="72"/>
                  </a:lnTo>
                  <a:lnTo>
                    <a:pt x="1080" y="66"/>
                  </a:lnTo>
                  <a:lnTo>
                    <a:pt x="1074" y="66"/>
                  </a:lnTo>
                  <a:lnTo>
                    <a:pt x="1080" y="66"/>
                  </a:lnTo>
                  <a:lnTo>
                    <a:pt x="1080" y="60"/>
                  </a:lnTo>
                  <a:lnTo>
                    <a:pt x="1086" y="60"/>
                  </a:lnTo>
                  <a:lnTo>
                    <a:pt x="1086" y="54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2" y="42"/>
                  </a:lnTo>
                  <a:lnTo>
                    <a:pt x="1098" y="42"/>
                  </a:lnTo>
                  <a:lnTo>
                    <a:pt x="1104" y="36"/>
                  </a:lnTo>
                  <a:lnTo>
                    <a:pt x="1110" y="36"/>
                  </a:lnTo>
                  <a:lnTo>
                    <a:pt x="1110" y="30"/>
                  </a:lnTo>
                  <a:lnTo>
                    <a:pt x="1110" y="24"/>
                  </a:lnTo>
                  <a:lnTo>
                    <a:pt x="1116" y="24"/>
                  </a:lnTo>
                  <a:lnTo>
                    <a:pt x="1116" y="18"/>
                  </a:lnTo>
                  <a:lnTo>
                    <a:pt x="1122" y="18"/>
                  </a:lnTo>
                  <a:lnTo>
                    <a:pt x="1128" y="18"/>
                  </a:lnTo>
                  <a:lnTo>
                    <a:pt x="1134" y="12"/>
                  </a:lnTo>
                  <a:lnTo>
                    <a:pt x="1134" y="6"/>
                  </a:lnTo>
                  <a:lnTo>
                    <a:pt x="1140" y="6"/>
                  </a:lnTo>
                  <a:lnTo>
                    <a:pt x="1146" y="0"/>
                  </a:lnTo>
                  <a:lnTo>
                    <a:pt x="1152" y="0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70" y="0"/>
                  </a:lnTo>
                  <a:lnTo>
                    <a:pt x="1176" y="6"/>
                  </a:lnTo>
                  <a:lnTo>
                    <a:pt x="1182" y="6"/>
                  </a:lnTo>
                  <a:lnTo>
                    <a:pt x="1194" y="6"/>
                  </a:lnTo>
                  <a:lnTo>
                    <a:pt x="1200" y="6"/>
                  </a:lnTo>
                  <a:lnTo>
                    <a:pt x="1212" y="0"/>
                  </a:lnTo>
                  <a:lnTo>
                    <a:pt x="1212" y="6"/>
                  </a:lnTo>
                  <a:lnTo>
                    <a:pt x="1218" y="6"/>
                  </a:lnTo>
                  <a:lnTo>
                    <a:pt x="1266" y="6"/>
                  </a:lnTo>
                  <a:lnTo>
                    <a:pt x="1272" y="0"/>
                  </a:lnTo>
                  <a:lnTo>
                    <a:pt x="1278" y="6"/>
                  </a:lnTo>
                  <a:lnTo>
                    <a:pt x="1290" y="6"/>
                  </a:lnTo>
                  <a:lnTo>
                    <a:pt x="1296" y="6"/>
                  </a:lnTo>
                  <a:lnTo>
                    <a:pt x="1308" y="6"/>
                  </a:lnTo>
                  <a:lnTo>
                    <a:pt x="1314" y="6"/>
                  </a:lnTo>
                  <a:lnTo>
                    <a:pt x="1320" y="6"/>
                  </a:lnTo>
                  <a:lnTo>
                    <a:pt x="1326" y="12"/>
                  </a:lnTo>
                  <a:lnTo>
                    <a:pt x="1338" y="30"/>
                  </a:lnTo>
                  <a:lnTo>
                    <a:pt x="1344" y="36"/>
                  </a:lnTo>
                  <a:lnTo>
                    <a:pt x="1356" y="48"/>
                  </a:lnTo>
                  <a:lnTo>
                    <a:pt x="1362" y="60"/>
                  </a:lnTo>
                  <a:lnTo>
                    <a:pt x="1368" y="66"/>
                  </a:lnTo>
                  <a:lnTo>
                    <a:pt x="1374" y="72"/>
                  </a:lnTo>
                  <a:lnTo>
                    <a:pt x="1374" y="78"/>
                  </a:lnTo>
                  <a:lnTo>
                    <a:pt x="1398" y="108"/>
                  </a:lnTo>
                  <a:lnTo>
                    <a:pt x="1398" y="114"/>
                  </a:lnTo>
                  <a:lnTo>
                    <a:pt x="1404" y="114"/>
                  </a:lnTo>
                  <a:lnTo>
                    <a:pt x="1404" y="120"/>
                  </a:lnTo>
                  <a:lnTo>
                    <a:pt x="1410" y="132"/>
                  </a:lnTo>
                  <a:lnTo>
                    <a:pt x="1416" y="132"/>
                  </a:lnTo>
                  <a:lnTo>
                    <a:pt x="1416" y="138"/>
                  </a:lnTo>
                  <a:lnTo>
                    <a:pt x="1422" y="144"/>
                  </a:lnTo>
                  <a:lnTo>
                    <a:pt x="1428" y="150"/>
                  </a:lnTo>
                  <a:lnTo>
                    <a:pt x="1428" y="156"/>
                  </a:lnTo>
                  <a:lnTo>
                    <a:pt x="1458" y="192"/>
                  </a:lnTo>
                  <a:lnTo>
                    <a:pt x="1458" y="198"/>
                  </a:lnTo>
                  <a:lnTo>
                    <a:pt x="1464" y="204"/>
                  </a:lnTo>
                  <a:lnTo>
                    <a:pt x="1470" y="210"/>
                  </a:lnTo>
                  <a:lnTo>
                    <a:pt x="1476" y="216"/>
                  </a:lnTo>
                  <a:lnTo>
                    <a:pt x="1482" y="228"/>
                  </a:lnTo>
                  <a:lnTo>
                    <a:pt x="1488" y="234"/>
                  </a:lnTo>
                  <a:lnTo>
                    <a:pt x="1512" y="270"/>
                  </a:lnTo>
                  <a:lnTo>
                    <a:pt x="1512" y="276"/>
                  </a:lnTo>
                  <a:lnTo>
                    <a:pt x="1530" y="300"/>
                  </a:lnTo>
                  <a:lnTo>
                    <a:pt x="1536" y="306"/>
                  </a:lnTo>
                  <a:lnTo>
                    <a:pt x="1542" y="312"/>
                  </a:lnTo>
                  <a:lnTo>
                    <a:pt x="1542" y="318"/>
                  </a:lnTo>
                  <a:lnTo>
                    <a:pt x="1560" y="336"/>
                  </a:lnTo>
                  <a:lnTo>
                    <a:pt x="1566" y="348"/>
                  </a:lnTo>
                  <a:lnTo>
                    <a:pt x="1572" y="354"/>
                  </a:lnTo>
                  <a:lnTo>
                    <a:pt x="1578" y="360"/>
                  </a:lnTo>
                  <a:lnTo>
                    <a:pt x="1584" y="378"/>
                  </a:lnTo>
                  <a:lnTo>
                    <a:pt x="1590" y="378"/>
                  </a:lnTo>
                  <a:lnTo>
                    <a:pt x="1596" y="390"/>
                  </a:lnTo>
                  <a:lnTo>
                    <a:pt x="1602" y="396"/>
                  </a:lnTo>
                  <a:lnTo>
                    <a:pt x="1608" y="408"/>
                  </a:lnTo>
                  <a:lnTo>
                    <a:pt x="1614" y="408"/>
                  </a:lnTo>
                  <a:lnTo>
                    <a:pt x="1614" y="432"/>
                  </a:lnTo>
                  <a:lnTo>
                    <a:pt x="1620" y="438"/>
                  </a:lnTo>
                  <a:lnTo>
                    <a:pt x="1620" y="450"/>
                  </a:lnTo>
                  <a:lnTo>
                    <a:pt x="1620" y="462"/>
                  </a:lnTo>
                  <a:lnTo>
                    <a:pt x="1626" y="474"/>
                  </a:lnTo>
                  <a:lnTo>
                    <a:pt x="1626" y="480"/>
                  </a:lnTo>
                  <a:lnTo>
                    <a:pt x="1626" y="486"/>
                  </a:lnTo>
                  <a:lnTo>
                    <a:pt x="1632" y="522"/>
                  </a:lnTo>
                  <a:lnTo>
                    <a:pt x="1632" y="528"/>
                  </a:lnTo>
                  <a:lnTo>
                    <a:pt x="1632" y="534"/>
                  </a:lnTo>
                  <a:lnTo>
                    <a:pt x="1638" y="540"/>
                  </a:lnTo>
                  <a:lnTo>
                    <a:pt x="1638" y="558"/>
                  </a:lnTo>
                  <a:lnTo>
                    <a:pt x="1638" y="570"/>
                  </a:lnTo>
                  <a:lnTo>
                    <a:pt x="1644" y="582"/>
                  </a:lnTo>
                  <a:lnTo>
                    <a:pt x="1650" y="618"/>
                  </a:lnTo>
                  <a:lnTo>
                    <a:pt x="1650" y="624"/>
                  </a:lnTo>
                  <a:lnTo>
                    <a:pt x="1650" y="636"/>
                  </a:lnTo>
                  <a:lnTo>
                    <a:pt x="1656" y="642"/>
                  </a:lnTo>
                  <a:lnTo>
                    <a:pt x="1656" y="648"/>
                  </a:lnTo>
                  <a:lnTo>
                    <a:pt x="1656" y="654"/>
                  </a:lnTo>
                  <a:lnTo>
                    <a:pt x="1656" y="660"/>
                  </a:lnTo>
                  <a:lnTo>
                    <a:pt x="1662" y="696"/>
                  </a:lnTo>
                  <a:lnTo>
                    <a:pt x="1668" y="708"/>
                  </a:lnTo>
                  <a:lnTo>
                    <a:pt x="1668" y="714"/>
                  </a:lnTo>
                  <a:lnTo>
                    <a:pt x="1668" y="732"/>
                  </a:lnTo>
                  <a:lnTo>
                    <a:pt x="1668" y="744"/>
                  </a:lnTo>
                  <a:lnTo>
                    <a:pt x="1674" y="756"/>
                  </a:lnTo>
                  <a:lnTo>
                    <a:pt x="1680" y="762"/>
                  </a:lnTo>
                  <a:lnTo>
                    <a:pt x="1680" y="768"/>
                  </a:lnTo>
                  <a:lnTo>
                    <a:pt x="1680" y="774"/>
                  </a:lnTo>
                  <a:lnTo>
                    <a:pt x="1680" y="780"/>
                  </a:lnTo>
                  <a:lnTo>
                    <a:pt x="1674" y="786"/>
                  </a:lnTo>
                  <a:lnTo>
                    <a:pt x="1668" y="792"/>
                  </a:lnTo>
                  <a:lnTo>
                    <a:pt x="1668" y="798"/>
                  </a:lnTo>
                  <a:lnTo>
                    <a:pt x="1668" y="804"/>
                  </a:lnTo>
                  <a:lnTo>
                    <a:pt x="1674" y="804"/>
                  </a:lnTo>
                  <a:lnTo>
                    <a:pt x="1668" y="810"/>
                  </a:lnTo>
                  <a:lnTo>
                    <a:pt x="1674" y="810"/>
                  </a:lnTo>
                  <a:lnTo>
                    <a:pt x="1680" y="810"/>
                  </a:lnTo>
                  <a:lnTo>
                    <a:pt x="1680" y="816"/>
                  </a:lnTo>
                  <a:lnTo>
                    <a:pt x="1680" y="822"/>
                  </a:lnTo>
                  <a:lnTo>
                    <a:pt x="1674" y="822"/>
                  </a:lnTo>
                  <a:lnTo>
                    <a:pt x="1674" y="828"/>
                  </a:lnTo>
                  <a:lnTo>
                    <a:pt x="1668" y="828"/>
                  </a:lnTo>
                  <a:lnTo>
                    <a:pt x="1674" y="834"/>
                  </a:lnTo>
                  <a:lnTo>
                    <a:pt x="1668" y="834"/>
                  </a:lnTo>
                  <a:lnTo>
                    <a:pt x="1668" y="840"/>
                  </a:lnTo>
                  <a:lnTo>
                    <a:pt x="1674" y="840"/>
                  </a:lnTo>
                  <a:lnTo>
                    <a:pt x="1686" y="852"/>
                  </a:lnTo>
                  <a:lnTo>
                    <a:pt x="1692" y="858"/>
                  </a:lnTo>
                  <a:lnTo>
                    <a:pt x="1698" y="858"/>
                  </a:lnTo>
                  <a:lnTo>
                    <a:pt x="1698" y="864"/>
                  </a:lnTo>
                  <a:lnTo>
                    <a:pt x="1698" y="870"/>
                  </a:lnTo>
                  <a:lnTo>
                    <a:pt x="1704" y="864"/>
                  </a:lnTo>
                  <a:lnTo>
                    <a:pt x="1716" y="864"/>
                  </a:lnTo>
                  <a:lnTo>
                    <a:pt x="1722" y="864"/>
                  </a:lnTo>
                  <a:lnTo>
                    <a:pt x="1728" y="864"/>
                  </a:lnTo>
                  <a:lnTo>
                    <a:pt x="1734" y="864"/>
                  </a:lnTo>
                  <a:lnTo>
                    <a:pt x="1740" y="864"/>
                  </a:lnTo>
                  <a:lnTo>
                    <a:pt x="1746" y="876"/>
                  </a:lnTo>
                  <a:lnTo>
                    <a:pt x="1746" y="870"/>
                  </a:lnTo>
                  <a:lnTo>
                    <a:pt x="1740" y="864"/>
                  </a:lnTo>
                  <a:lnTo>
                    <a:pt x="1746" y="864"/>
                  </a:lnTo>
                  <a:lnTo>
                    <a:pt x="1752" y="870"/>
                  </a:lnTo>
                  <a:lnTo>
                    <a:pt x="1758" y="864"/>
                  </a:lnTo>
                  <a:lnTo>
                    <a:pt x="1764" y="864"/>
                  </a:lnTo>
                  <a:lnTo>
                    <a:pt x="1770" y="858"/>
                  </a:lnTo>
                  <a:lnTo>
                    <a:pt x="1782" y="864"/>
                  </a:lnTo>
                  <a:lnTo>
                    <a:pt x="1782" y="870"/>
                  </a:lnTo>
                  <a:lnTo>
                    <a:pt x="1788" y="864"/>
                  </a:lnTo>
                  <a:lnTo>
                    <a:pt x="1794" y="864"/>
                  </a:lnTo>
                  <a:lnTo>
                    <a:pt x="1800" y="870"/>
                  </a:lnTo>
                  <a:lnTo>
                    <a:pt x="1818" y="864"/>
                  </a:lnTo>
                  <a:lnTo>
                    <a:pt x="1824" y="870"/>
                  </a:lnTo>
                  <a:lnTo>
                    <a:pt x="1830" y="864"/>
                  </a:lnTo>
                  <a:lnTo>
                    <a:pt x="1836" y="864"/>
                  </a:lnTo>
                  <a:lnTo>
                    <a:pt x="1842" y="870"/>
                  </a:lnTo>
                  <a:lnTo>
                    <a:pt x="1842" y="876"/>
                  </a:lnTo>
                  <a:lnTo>
                    <a:pt x="1848" y="876"/>
                  </a:lnTo>
                  <a:lnTo>
                    <a:pt x="1848" y="870"/>
                  </a:lnTo>
                  <a:lnTo>
                    <a:pt x="1854" y="870"/>
                  </a:lnTo>
                  <a:lnTo>
                    <a:pt x="1860" y="870"/>
                  </a:lnTo>
                  <a:lnTo>
                    <a:pt x="1860" y="876"/>
                  </a:lnTo>
                  <a:lnTo>
                    <a:pt x="1866" y="876"/>
                  </a:lnTo>
                  <a:lnTo>
                    <a:pt x="1866" y="882"/>
                  </a:lnTo>
                  <a:lnTo>
                    <a:pt x="1872" y="882"/>
                  </a:lnTo>
                  <a:lnTo>
                    <a:pt x="1878" y="888"/>
                  </a:lnTo>
                  <a:lnTo>
                    <a:pt x="1890" y="888"/>
                  </a:lnTo>
                  <a:lnTo>
                    <a:pt x="1890" y="894"/>
                  </a:lnTo>
                  <a:lnTo>
                    <a:pt x="1890" y="900"/>
                  </a:lnTo>
                  <a:lnTo>
                    <a:pt x="1884" y="900"/>
                  </a:lnTo>
                  <a:lnTo>
                    <a:pt x="1884" y="906"/>
                  </a:lnTo>
                  <a:lnTo>
                    <a:pt x="1884" y="912"/>
                  </a:lnTo>
                  <a:lnTo>
                    <a:pt x="1890" y="912"/>
                  </a:lnTo>
                  <a:lnTo>
                    <a:pt x="1896" y="912"/>
                  </a:lnTo>
                  <a:lnTo>
                    <a:pt x="1902" y="912"/>
                  </a:lnTo>
                  <a:lnTo>
                    <a:pt x="1908" y="918"/>
                  </a:lnTo>
                  <a:lnTo>
                    <a:pt x="1908" y="924"/>
                  </a:lnTo>
                  <a:lnTo>
                    <a:pt x="1908" y="930"/>
                  </a:lnTo>
                  <a:lnTo>
                    <a:pt x="1908" y="936"/>
                  </a:lnTo>
                  <a:lnTo>
                    <a:pt x="1914" y="936"/>
                  </a:lnTo>
                  <a:lnTo>
                    <a:pt x="1914" y="942"/>
                  </a:lnTo>
                  <a:lnTo>
                    <a:pt x="1908" y="948"/>
                  </a:lnTo>
                  <a:lnTo>
                    <a:pt x="1914" y="948"/>
                  </a:lnTo>
                  <a:lnTo>
                    <a:pt x="1920" y="954"/>
                  </a:lnTo>
                  <a:lnTo>
                    <a:pt x="1926" y="954"/>
                  </a:lnTo>
                  <a:lnTo>
                    <a:pt x="1932" y="954"/>
                  </a:lnTo>
                  <a:lnTo>
                    <a:pt x="1938" y="954"/>
                  </a:lnTo>
                  <a:lnTo>
                    <a:pt x="1938" y="960"/>
                  </a:lnTo>
                  <a:lnTo>
                    <a:pt x="1944" y="966"/>
                  </a:lnTo>
                  <a:lnTo>
                    <a:pt x="1944" y="972"/>
                  </a:lnTo>
                  <a:lnTo>
                    <a:pt x="1944" y="978"/>
                  </a:lnTo>
                  <a:lnTo>
                    <a:pt x="1950" y="978"/>
                  </a:lnTo>
                  <a:lnTo>
                    <a:pt x="1950" y="984"/>
                  </a:lnTo>
                  <a:lnTo>
                    <a:pt x="1956" y="984"/>
                  </a:lnTo>
                  <a:lnTo>
                    <a:pt x="1962" y="984"/>
                  </a:lnTo>
                  <a:lnTo>
                    <a:pt x="1962" y="978"/>
                  </a:lnTo>
                  <a:lnTo>
                    <a:pt x="1968" y="978"/>
                  </a:lnTo>
                  <a:lnTo>
                    <a:pt x="1974" y="978"/>
                  </a:lnTo>
                  <a:lnTo>
                    <a:pt x="1980" y="972"/>
                  </a:lnTo>
                  <a:lnTo>
                    <a:pt x="1980" y="978"/>
                  </a:lnTo>
                  <a:lnTo>
                    <a:pt x="1980" y="984"/>
                  </a:lnTo>
                  <a:lnTo>
                    <a:pt x="1986" y="984"/>
                  </a:lnTo>
                  <a:lnTo>
                    <a:pt x="1992" y="990"/>
                  </a:lnTo>
                  <a:lnTo>
                    <a:pt x="1992" y="996"/>
                  </a:lnTo>
                  <a:lnTo>
                    <a:pt x="1992" y="1002"/>
                  </a:lnTo>
                  <a:lnTo>
                    <a:pt x="1974" y="1008"/>
                  </a:lnTo>
                  <a:lnTo>
                    <a:pt x="1974" y="1014"/>
                  </a:lnTo>
                  <a:lnTo>
                    <a:pt x="1974" y="1020"/>
                  </a:lnTo>
                  <a:lnTo>
                    <a:pt x="1974" y="1026"/>
                  </a:lnTo>
                  <a:lnTo>
                    <a:pt x="1968" y="1038"/>
                  </a:lnTo>
                  <a:lnTo>
                    <a:pt x="1968" y="1044"/>
                  </a:lnTo>
                  <a:lnTo>
                    <a:pt x="1974" y="1056"/>
                  </a:lnTo>
                  <a:lnTo>
                    <a:pt x="1968" y="1062"/>
                  </a:lnTo>
                  <a:lnTo>
                    <a:pt x="1962" y="1062"/>
                  </a:lnTo>
                  <a:lnTo>
                    <a:pt x="1956" y="1068"/>
                  </a:lnTo>
                  <a:lnTo>
                    <a:pt x="1956" y="1074"/>
                  </a:lnTo>
                  <a:lnTo>
                    <a:pt x="1956" y="1080"/>
                  </a:lnTo>
                  <a:lnTo>
                    <a:pt x="1956" y="1086"/>
                  </a:lnTo>
                  <a:lnTo>
                    <a:pt x="1956" y="1092"/>
                  </a:lnTo>
                  <a:lnTo>
                    <a:pt x="1962" y="1092"/>
                  </a:lnTo>
                  <a:lnTo>
                    <a:pt x="1962" y="1104"/>
                  </a:lnTo>
                  <a:lnTo>
                    <a:pt x="1968" y="1110"/>
                  </a:lnTo>
                  <a:lnTo>
                    <a:pt x="1968" y="1116"/>
                  </a:lnTo>
                  <a:lnTo>
                    <a:pt x="1974" y="1116"/>
                  </a:lnTo>
                  <a:lnTo>
                    <a:pt x="1974" y="1122"/>
                  </a:lnTo>
                  <a:lnTo>
                    <a:pt x="1980" y="1122"/>
                  </a:lnTo>
                  <a:lnTo>
                    <a:pt x="1974" y="1128"/>
                  </a:lnTo>
                  <a:lnTo>
                    <a:pt x="1968" y="1134"/>
                  </a:lnTo>
                  <a:lnTo>
                    <a:pt x="1962" y="1140"/>
                  </a:lnTo>
                  <a:lnTo>
                    <a:pt x="1962" y="1146"/>
                  </a:lnTo>
                  <a:lnTo>
                    <a:pt x="1968" y="1152"/>
                  </a:lnTo>
                  <a:lnTo>
                    <a:pt x="1968" y="1158"/>
                  </a:lnTo>
                  <a:lnTo>
                    <a:pt x="1962" y="1158"/>
                  </a:lnTo>
                  <a:lnTo>
                    <a:pt x="1962" y="1164"/>
                  </a:lnTo>
                  <a:lnTo>
                    <a:pt x="1956" y="1164"/>
                  </a:lnTo>
                  <a:lnTo>
                    <a:pt x="1956" y="1170"/>
                  </a:lnTo>
                  <a:lnTo>
                    <a:pt x="1944" y="1182"/>
                  </a:lnTo>
                  <a:lnTo>
                    <a:pt x="1944" y="1188"/>
                  </a:lnTo>
                  <a:lnTo>
                    <a:pt x="1950" y="1188"/>
                  </a:lnTo>
                  <a:lnTo>
                    <a:pt x="1944" y="1200"/>
                  </a:lnTo>
                  <a:lnTo>
                    <a:pt x="1944" y="1206"/>
                  </a:lnTo>
                  <a:lnTo>
                    <a:pt x="1944" y="1212"/>
                  </a:lnTo>
                  <a:lnTo>
                    <a:pt x="1944" y="1218"/>
                  </a:lnTo>
                  <a:lnTo>
                    <a:pt x="1944" y="1230"/>
                  </a:lnTo>
                  <a:lnTo>
                    <a:pt x="1944" y="1236"/>
                  </a:lnTo>
                  <a:lnTo>
                    <a:pt x="1944" y="1242"/>
                  </a:lnTo>
                  <a:lnTo>
                    <a:pt x="1938" y="1248"/>
                  </a:lnTo>
                  <a:lnTo>
                    <a:pt x="1938" y="1254"/>
                  </a:lnTo>
                  <a:lnTo>
                    <a:pt x="1932" y="1254"/>
                  </a:lnTo>
                  <a:lnTo>
                    <a:pt x="1926" y="1260"/>
                  </a:lnTo>
                  <a:lnTo>
                    <a:pt x="1920" y="1266"/>
                  </a:lnTo>
                  <a:lnTo>
                    <a:pt x="1914" y="1272"/>
                  </a:lnTo>
                  <a:lnTo>
                    <a:pt x="1908" y="1272"/>
                  </a:lnTo>
                  <a:lnTo>
                    <a:pt x="1908" y="1278"/>
                  </a:lnTo>
                  <a:lnTo>
                    <a:pt x="1914" y="1278"/>
                  </a:lnTo>
                  <a:lnTo>
                    <a:pt x="1914" y="1290"/>
                  </a:lnTo>
                  <a:lnTo>
                    <a:pt x="1920" y="1296"/>
                  </a:lnTo>
                  <a:lnTo>
                    <a:pt x="1938" y="1302"/>
                  </a:lnTo>
                  <a:lnTo>
                    <a:pt x="1944" y="1308"/>
                  </a:lnTo>
                  <a:lnTo>
                    <a:pt x="1950" y="1314"/>
                  </a:lnTo>
                  <a:lnTo>
                    <a:pt x="1956" y="1314"/>
                  </a:lnTo>
                  <a:lnTo>
                    <a:pt x="1962" y="1320"/>
                  </a:lnTo>
                  <a:lnTo>
                    <a:pt x="1962" y="1326"/>
                  </a:lnTo>
                  <a:lnTo>
                    <a:pt x="1968" y="1326"/>
                  </a:lnTo>
                  <a:lnTo>
                    <a:pt x="1968" y="1332"/>
                  </a:lnTo>
                  <a:lnTo>
                    <a:pt x="1968" y="1344"/>
                  </a:lnTo>
                  <a:lnTo>
                    <a:pt x="1968" y="1350"/>
                  </a:lnTo>
                  <a:lnTo>
                    <a:pt x="1968" y="1368"/>
                  </a:lnTo>
                  <a:lnTo>
                    <a:pt x="1962" y="1380"/>
                  </a:lnTo>
                  <a:lnTo>
                    <a:pt x="1968" y="1392"/>
                  </a:lnTo>
                  <a:lnTo>
                    <a:pt x="1962" y="1398"/>
                  </a:lnTo>
                  <a:lnTo>
                    <a:pt x="1956" y="1404"/>
                  </a:lnTo>
                  <a:lnTo>
                    <a:pt x="1950" y="1410"/>
                  </a:lnTo>
                  <a:lnTo>
                    <a:pt x="1944" y="1410"/>
                  </a:lnTo>
                  <a:lnTo>
                    <a:pt x="1932" y="1416"/>
                  </a:lnTo>
                  <a:lnTo>
                    <a:pt x="1926" y="1416"/>
                  </a:lnTo>
                  <a:lnTo>
                    <a:pt x="1896" y="1428"/>
                  </a:lnTo>
                  <a:lnTo>
                    <a:pt x="1884" y="1434"/>
                  </a:lnTo>
                  <a:lnTo>
                    <a:pt x="1878" y="1434"/>
                  </a:lnTo>
                  <a:lnTo>
                    <a:pt x="1866" y="1434"/>
                  </a:lnTo>
                  <a:lnTo>
                    <a:pt x="1854" y="1440"/>
                  </a:lnTo>
                  <a:lnTo>
                    <a:pt x="1848" y="1440"/>
                  </a:lnTo>
                  <a:lnTo>
                    <a:pt x="1842" y="1446"/>
                  </a:lnTo>
                  <a:lnTo>
                    <a:pt x="1842" y="1458"/>
                  </a:lnTo>
                  <a:lnTo>
                    <a:pt x="1836" y="1470"/>
                  </a:lnTo>
                  <a:lnTo>
                    <a:pt x="1830" y="1476"/>
                  </a:lnTo>
                  <a:lnTo>
                    <a:pt x="1824" y="1476"/>
                  </a:lnTo>
                  <a:lnTo>
                    <a:pt x="1806" y="1482"/>
                  </a:lnTo>
                  <a:lnTo>
                    <a:pt x="1800" y="1488"/>
                  </a:lnTo>
                  <a:lnTo>
                    <a:pt x="1794" y="1488"/>
                  </a:lnTo>
                  <a:lnTo>
                    <a:pt x="1788" y="1488"/>
                  </a:lnTo>
                  <a:lnTo>
                    <a:pt x="1776" y="1494"/>
                  </a:lnTo>
                  <a:lnTo>
                    <a:pt x="1764" y="1494"/>
                  </a:lnTo>
                  <a:lnTo>
                    <a:pt x="1758" y="1500"/>
                  </a:lnTo>
                  <a:lnTo>
                    <a:pt x="1746" y="1506"/>
                  </a:lnTo>
                  <a:lnTo>
                    <a:pt x="1728" y="1518"/>
                  </a:lnTo>
                  <a:lnTo>
                    <a:pt x="1716" y="1524"/>
                  </a:lnTo>
                  <a:lnTo>
                    <a:pt x="1710" y="1530"/>
                  </a:lnTo>
                  <a:lnTo>
                    <a:pt x="1704" y="1536"/>
                  </a:lnTo>
                  <a:lnTo>
                    <a:pt x="1698" y="1542"/>
                  </a:lnTo>
                  <a:lnTo>
                    <a:pt x="1692" y="1554"/>
                  </a:lnTo>
                  <a:lnTo>
                    <a:pt x="1686" y="1560"/>
                  </a:lnTo>
                  <a:lnTo>
                    <a:pt x="1680" y="1560"/>
                  </a:lnTo>
                  <a:lnTo>
                    <a:pt x="1674" y="1560"/>
                  </a:lnTo>
                  <a:lnTo>
                    <a:pt x="1656" y="1572"/>
                  </a:lnTo>
                  <a:lnTo>
                    <a:pt x="1650" y="1572"/>
                  </a:lnTo>
                  <a:lnTo>
                    <a:pt x="1644" y="1572"/>
                  </a:lnTo>
                  <a:lnTo>
                    <a:pt x="1638" y="1578"/>
                  </a:lnTo>
                  <a:lnTo>
                    <a:pt x="1632" y="1578"/>
                  </a:lnTo>
                  <a:lnTo>
                    <a:pt x="1626" y="1578"/>
                  </a:lnTo>
                  <a:lnTo>
                    <a:pt x="1620" y="1572"/>
                  </a:lnTo>
                  <a:lnTo>
                    <a:pt x="1614" y="1572"/>
                  </a:lnTo>
                  <a:lnTo>
                    <a:pt x="1608" y="1566"/>
                  </a:lnTo>
                  <a:lnTo>
                    <a:pt x="1602" y="1560"/>
                  </a:lnTo>
                  <a:lnTo>
                    <a:pt x="1596" y="1554"/>
                  </a:lnTo>
                  <a:lnTo>
                    <a:pt x="1590" y="1548"/>
                  </a:lnTo>
                  <a:lnTo>
                    <a:pt x="1578" y="1548"/>
                  </a:lnTo>
                  <a:lnTo>
                    <a:pt x="1572" y="1548"/>
                  </a:lnTo>
                  <a:lnTo>
                    <a:pt x="1566" y="1548"/>
                  </a:lnTo>
                  <a:lnTo>
                    <a:pt x="1554" y="1536"/>
                  </a:lnTo>
                  <a:lnTo>
                    <a:pt x="1548" y="1536"/>
                  </a:lnTo>
                  <a:lnTo>
                    <a:pt x="1542" y="1542"/>
                  </a:lnTo>
                  <a:lnTo>
                    <a:pt x="1536" y="1548"/>
                  </a:lnTo>
                  <a:lnTo>
                    <a:pt x="1536" y="1566"/>
                  </a:lnTo>
                  <a:lnTo>
                    <a:pt x="1530" y="1572"/>
                  </a:lnTo>
                  <a:lnTo>
                    <a:pt x="1524" y="1578"/>
                  </a:lnTo>
                  <a:lnTo>
                    <a:pt x="1518" y="1584"/>
                  </a:lnTo>
                  <a:lnTo>
                    <a:pt x="1512" y="1596"/>
                  </a:lnTo>
                  <a:lnTo>
                    <a:pt x="1506" y="1602"/>
                  </a:lnTo>
                  <a:lnTo>
                    <a:pt x="1506" y="1608"/>
                  </a:lnTo>
                  <a:lnTo>
                    <a:pt x="1506" y="1614"/>
                  </a:lnTo>
                  <a:lnTo>
                    <a:pt x="1500" y="1614"/>
                  </a:lnTo>
                  <a:lnTo>
                    <a:pt x="1500" y="1620"/>
                  </a:lnTo>
                  <a:lnTo>
                    <a:pt x="1500" y="1626"/>
                  </a:lnTo>
                  <a:lnTo>
                    <a:pt x="1494" y="1632"/>
                  </a:lnTo>
                  <a:lnTo>
                    <a:pt x="1488" y="1638"/>
                  </a:lnTo>
                  <a:lnTo>
                    <a:pt x="1482" y="1638"/>
                  </a:lnTo>
                  <a:lnTo>
                    <a:pt x="1482" y="1644"/>
                  </a:lnTo>
                  <a:lnTo>
                    <a:pt x="1482" y="1650"/>
                  </a:lnTo>
                  <a:lnTo>
                    <a:pt x="1482" y="1656"/>
                  </a:lnTo>
                  <a:lnTo>
                    <a:pt x="1476" y="1662"/>
                  </a:lnTo>
                  <a:lnTo>
                    <a:pt x="1470" y="1668"/>
                  </a:lnTo>
                  <a:lnTo>
                    <a:pt x="1464" y="1674"/>
                  </a:lnTo>
                  <a:lnTo>
                    <a:pt x="1464" y="1680"/>
                  </a:lnTo>
                  <a:lnTo>
                    <a:pt x="1458" y="1680"/>
                  </a:lnTo>
                  <a:lnTo>
                    <a:pt x="1452" y="1686"/>
                  </a:lnTo>
                  <a:lnTo>
                    <a:pt x="1446" y="1686"/>
                  </a:lnTo>
                  <a:lnTo>
                    <a:pt x="1440" y="1698"/>
                  </a:lnTo>
                  <a:lnTo>
                    <a:pt x="1440" y="1704"/>
                  </a:lnTo>
                  <a:lnTo>
                    <a:pt x="1434" y="1710"/>
                  </a:lnTo>
                  <a:lnTo>
                    <a:pt x="1434" y="1716"/>
                  </a:lnTo>
                  <a:lnTo>
                    <a:pt x="1428" y="1716"/>
                  </a:lnTo>
                  <a:lnTo>
                    <a:pt x="1428" y="1722"/>
                  </a:lnTo>
                  <a:lnTo>
                    <a:pt x="1428" y="1728"/>
                  </a:lnTo>
                  <a:lnTo>
                    <a:pt x="1422" y="1728"/>
                  </a:lnTo>
                  <a:lnTo>
                    <a:pt x="1422" y="1734"/>
                  </a:lnTo>
                  <a:lnTo>
                    <a:pt x="1416" y="1734"/>
                  </a:lnTo>
                  <a:lnTo>
                    <a:pt x="1410" y="1734"/>
                  </a:lnTo>
                  <a:lnTo>
                    <a:pt x="1392" y="1746"/>
                  </a:lnTo>
                  <a:lnTo>
                    <a:pt x="1386" y="1746"/>
                  </a:lnTo>
                  <a:lnTo>
                    <a:pt x="1368" y="1752"/>
                  </a:lnTo>
                  <a:lnTo>
                    <a:pt x="1362" y="1758"/>
                  </a:lnTo>
                  <a:lnTo>
                    <a:pt x="1362" y="1770"/>
                  </a:lnTo>
                  <a:lnTo>
                    <a:pt x="1356" y="178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</p:grpSp>
      <p:graphicFrame>
        <p:nvGraphicFramePr>
          <p:cNvPr id="357" name="Group 76">
            <a:extLst>
              <a:ext uri="{FF2B5EF4-FFF2-40B4-BE49-F238E27FC236}">
                <a16:creationId xmlns:a16="http://schemas.microsoft.com/office/drawing/2014/main" id="{57830D68-CF73-4A3E-9D36-141B03AADBF7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41338" y="3402013"/>
          <a:ext cx="3735387" cy="1827306"/>
        </p:xfrm>
        <a:graphic>
          <a:graphicData uri="http://schemas.openxmlformats.org/drawingml/2006/table">
            <a:tbl>
              <a:tblPr/>
              <a:tblGrid>
                <a:gridCol w="1316931">
                  <a:extLst>
                    <a:ext uri="{9D8B030D-6E8A-4147-A177-3AD203B41FA5}">
                      <a16:colId xmlns:a16="http://schemas.microsoft.com/office/drawing/2014/main" val="2027704273"/>
                    </a:ext>
                  </a:extLst>
                </a:gridCol>
                <a:gridCol w="603796">
                  <a:extLst>
                    <a:ext uri="{9D8B030D-6E8A-4147-A177-3AD203B41FA5}">
                      <a16:colId xmlns:a16="http://schemas.microsoft.com/office/drawing/2014/main" val="3432768286"/>
                    </a:ext>
                  </a:extLst>
                </a:gridCol>
                <a:gridCol w="744015">
                  <a:extLst>
                    <a:ext uri="{9D8B030D-6E8A-4147-A177-3AD203B41FA5}">
                      <a16:colId xmlns:a16="http://schemas.microsoft.com/office/drawing/2014/main" val="3730294207"/>
                    </a:ext>
                  </a:extLst>
                </a:gridCol>
                <a:gridCol w="1070645">
                  <a:extLst>
                    <a:ext uri="{9D8B030D-6E8A-4147-A177-3AD203B41FA5}">
                      <a16:colId xmlns:a16="http://schemas.microsoft.com/office/drawing/2014/main" val="2258321117"/>
                    </a:ext>
                  </a:extLst>
                </a:gridCol>
              </a:tblGrid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apital</a:t>
                      </a:r>
                      <a:endParaRPr kumimoji="0" lang="en-SG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292929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SG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Damaturu</a:t>
                      </a:r>
                      <a:endParaRPr kumimoji="0" lang="en-SG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703009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nd Are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46,609 km</a:t>
                      </a:r>
                      <a:r>
                        <a:rPr kumimoji="0" lang="en-US" altLang="en-US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5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603614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Population (2017E)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3,274,478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5 of 37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505851"/>
                  </a:ext>
                </a:extLst>
              </a:tr>
              <a:tr h="203024">
                <a:tc row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Dem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0-14: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,528,113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8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130093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5-64: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,653,783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58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387564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65+: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      92,582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[4%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38801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bour force 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,037,277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6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797882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limate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Hot semi-arid, hot desert &amp; tropical savann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3942226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op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Sand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32899"/>
                  </a:ext>
                </a:extLst>
              </a:tr>
            </a:tbl>
          </a:graphicData>
        </a:graphic>
      </p:graphicFrame>
      <p:pic>
        <p:nvPicPr>
          <p:cNvPr id="23609" name="Picture 13">
            <a:extLst>
              <a:ext uri="{FF2B5EF4-FFF2-40B4-BE49-F238E27FC236}">
                <a16:creationId xmlns:a16="http://schemas.microsoft.com/office/drawing/2014/main" id="{952964D5-F0ED-4CAE-B71C-DB4A723FA5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0" y="3006725"/>
            <a:ext cx="1116013" cy="155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9" name="TextBox 378">
            <a:extLst>
              <a:ext uri="{FF2B5EF4-FFF2-40B4-BE49-F238E27FC236}">
                <a16:creationId xmlns:a16="http://schemas.microsoft.com/office/drawing/2014/main" id="{1B3FD4BF-4685-4C74-821F-10048D6246BF}"/>
              </a:ext>
            </a:extLst>
          </p:cNvPr>
          <p:cNvSpPr txBox="1"/>
          <p:nvPr/>
        </p:nvSpPr>
        <p:spPr>
          <a:xfrm>
            <a:off x="6124575" y="957263"/>
            <a:ext cx="3475038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mpetitive Advantages</a:t>
            </a: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455FE7A1-ADE5-4F7B-A489-00196671A53E}"/>
              </a:ext>
            </a:extLst>
          </p:cNvPr>
          <p:cNvSpPr/>
          <p:nvPr/>
        </p:nvSpPr>
        <p:spPr>
          <a:xfrm>
            <a:off x="4267248" y="1187511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3.6bn/$11.8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EBB25788-D073-4A78-9D6C-DF3836CFFFBB}"/>
              </a:ext>
            </a:extLst>
          </p:cNvPr>
          <p:cNvSpPr txBox="1"/>
          <p:nvPr/>
        </p:nvSpPr>
        <p:spPr>
          <a:xfrm>
            <a:off x="4267200" y="955675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GR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6F07DF39-553B-44F0-8864-1F897C2BD79A}"/>
              </a:ext>
            </a:extLst>
          </p:cNvPr>
          <p:cNvSpPr/>
          <p:nvPr/>
        </p:nvSpPr>
        <p:spPr>
          <a:xfrm>
            <a:off x="4267252" y="1809750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92.1bn/$302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2508695A-2D2C-45A3-80FE-9C2CB18200C2}"/>
              </a:ext>
            </a:extLst>
          </p:cNvPr>
          <p:cNvSpPr txBox="1"/>
          <p:nvPr/>
        </p:nvSpPr>
        <p:spPr>
          <a:xfrm>
            <a:off x="4267200" y="1576388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Budget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8)</a:t>
            </a: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86A33ABE-3AE3-40A7-A6A6-1B757A6A9B0F}"/>
              </a:ext>
            </a:extLst>
          </p:cNvPr>
          <p:cNvSpPr/>
          <p:nvPr/>
        </p:nvSpPr>
        <p:spPr>
          <a:xfrm>
            <a:off x="4256076" y="2667155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621.2trn /$2bn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1E919764-A18B-4532-A533-A84A31D7FEFE}"/>
              </a:ext>
            </a:extLst>
          </p:cNvPr>
          <p:cNvSpPr txBox="1"/>
          <p:nvPr/>
        </p:nvSpPr>
        <p:spPr>
          <a:xfrm>
            <a:off x="4256088" y="2185988"/>
            <a:ext cx="1811337" cy="50641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Household </a:t>
            </a:r>
          </a:p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nsumption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96" name="Plaque 95">
            <a:extLst>
              <a:ext uri="{FF2B5EF4-FFF2-40B4-BE49-F238E27FC236}">
                <a16:creationId xmlns:a16="http://schemas.microsoft.com/office/drawing/2014/main" id="{E3BE1182-17B4-4194-8641-F1EA2CCBB757}"/>
              </a:ext>
            </a:extLst>
          </p:cNvPr>
          <p:cNvSpPr/>
          <p:nvPr/>
        </p:nvSpPr>
        <p:spPr>
          <a:xfrm>
            <a:off x="5583996" y="2805162"/>
            <a:ext cx="483429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35 of 36</a:t>
            </a:r>
          </a:p>
        </p:txBody>
      </p:sp>
      <p:sp>
        <p:nvSpPr>
          <p:cNvPr id="99" name="Plaque 98">
            <a:extLst>
              <a:ext uri="{FF2B5EF4-FFF2-40B4-BE49-F238E27FC236}">
                <a16:creationId xmlns:a16="http://schemas.microsoft.com/office/drawing/2014/main" id="{8620E393-1C52-4CE1-9888-20922FA6DFEA}"/>
              </a:ext>
            </a:extLst>
          </p:cNvPr>
          <p:cNvSpPr/>
          <p:nvPr/>
        </p:nvSpPr>
        <p:spPr>
          <a:xfrm>
            <a:off x="5583996" y="1951087"/>
            <a:ext cx="483429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36 of 36</a:t>
            </a:r>
          </a:p>
        </p:txBody>
      </p:sp>
      <p:sp>
        <p:nvSpPr>
          <p:cNvPr id="100" name="Plaque 99">
            <a:extLst>
              <a:ext uri="{FF2B5EF4-FFF2-40B4-BE49-F238E27FC236}">
                <a16:creationId xmlns:a16="http://schemas.microsoft.com/office/drawing/2014/main" id="{3BFA6D28-9A42-4459-8BF1-090CE1B45216}"/>
              </a:ext>
            </a:extLst>
          </p:cNvPr>
          <p:cNvSpPr/>
          <p:nvPr/>
        </p:nvSpPr>
        <p:spPr>
          <a:xfrm>
            <a:off x="5638800" y="1333500"/>
            <a:ext cx="430213" cy="1539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latin typeface="Calibri" panose="020F0502020204030204" pitchFamily="34" charset="0"/>
                <a:cs typeface="Calibri" panose="020F0502020204030204" pitchFamily="34" charset="0"/>
              </a:rPr>
              <a:t>36 of 36</a:t>
            </a:r>
          </a:p>
        </p:txBody>
      </p:sp>
      <p:sp>
        <p:nvSpPr>
          <p:cNvPr id="101" name="Pentagon 19">
            <a:extLst>
              <a:ext uri="{FF2B5EF4-FFF2-40B4-BE49-F238E27FC236}">
                <a16:creationId xmlns:a16="http://schemas.microsoft.com/office/drawing/2014/main" id="{CCD74FA4-19D0-4356-90C9-B3B49BCC3F54}"/>
              </a:ext>
            </a:extLst>
          </p:cNvPr>
          <p:cNvSpPr>
            <a:spLocks/>
          </p:cNvSpPr>
          <p:nvPr/>
        </p:nvSpPr>
        <p:spPr bwMode="auto">
          <a:xfrm>
            <a:off x="688340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1 of 37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12EE735-1E43-4799-A46A-5D0787F375CE}"/>
              </a:ext>
            </a:extLst>
          </p:cNvPr>
          <p:cNvSpPr/>
          <p:nvPr/>
        </p:nvSpPr>
        <p:spPr>
          <a:xfrm>
            <a:off x="6880225" y="5726113"/>
            <a:ext cx="642938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Starting a Business</a:t>
            </a:r>
          </a:p>
        </p:txBody>
      </p:sp>
      <p:pic>
        <p:nvPicPr>
          <p:cNvPr id="23622" name="Picture 3">
            <a:extLst>
              <a:ext uri="{FF2B5EF4-FFF2-40B4-BE49-F238E27FC236}">
                <a16:creationId xmlns:a16="http://schemas.microsoft.com/office/drawing/2014/main" id="{53FAD0C6-8FFE-437B-B7E4-F2A938D3BE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350" y="5249863"/>
            <a:ext cx="41910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23" name="Freeform 15">
            <a:extLst>
              <a:ext uri="{FF2B5EF4-FFF2-40B4-BE49-F238E27FC236}">
                <a16:creationId xmlns:a16="http://schemas.microsoft.com/office/drawing/2014/main" id="{183A3C8B-011E-4D99-9165-3FF03A2D3207}"/>
              </a:ext>
            </a:extLst>
          </p:cNvPr>
          <p:cNvSpPr>
            <a:spLocks noEditPoints="1"/>
          </p:cNvSpPr>
          <p:nvPr/>
        </p:nvSpPr>
        <p:spPr bwMode="auto">
          <a:xfrm>
            <a:off x="9093200" y="5257800"/>
            <a:ext cx="276225" cy="347663"/>
          </a:xfrm>
          <a:custGeom>
            <a:avLst/>
            <a:gdLst>
              <a:gd name="T0" fmla="*/ 2147483646 w 3556"/>
              <a:gd name="T1" fmla="*/ 2147483646 h 3950"/>
              <a:gd name="T2" fmla="*/ 2147483646 w 3556"/>
              <a:gd name="T3" fmla="*/ 2147483646 h 3950"/>
              <a:gd name="T4" fmla="*/ 2147483646 w 3556"/>
              <a:gd name="T5" fmla="*/ 2147483646 h 3950"/>
              <a:gd name="T6" fmla="*/ 2147483646 w 3556"/>
              <a:gd name="T7" fmla="*/ 2147483646 h 3950"/>
              <a:gd name="T8" fmla="*/ 2147483646 w 3556"/>
              <a:gd name="T9" fmla="*/ 2147483646 h 3950"/>
              <a:gd name="T10" fmla="*/ 2147483646 w 3556"/>
              <a:gd name="T11" fmla="*/ 2147483646 h 3950"/>
              <a:gd name="T12" fmla="*/ 2147483646 w 3556"/>
              <a:gd name="T13" fmla="*/ 2147483646 h 3950"/>
              <a:gd name="T14" fmla="*/ 2147483646 w 3556"/>
              <a:gd name="T15" fmla="*/ 2147483646 h 3950"/>
              <a:gd name="T16" fmla="*/ 2147483646 w 3556"/>
              <a:gd name="T17" fmla="*/ 2147483646 h 3950"/>
              <a:gd name="T18" fmla="*/ 2147483646 w 3556"/>
              <a:gd name="T19" fmla="*/ 2147483646 h 3950"/>
              <a:gd name="T20" fmla="*/ 2147483646 w 3556"/>
              <a:gd name="T21" fmla="*/ 2147483646 h 3950"/>
              <a:gd name="T22" fmla="*/ 0 w 3556"/>
              <a:gd name="T23" fmla="*/ 2147483646 h 3950"/>
              <a:gd name="T24" fmla="*/ 2147483646 w 3556"/>
              <a:gd name="T25" fmla="*/ 2147483646 h 3950"/>
              <a:gd name="T26" fmla="*/ 2147483646 w 3556"/>
              <a:gd name="T27" fmla="*/ 2147483646 h 3950"/>
              <a:gd name="T28" fmla="*/ 2147483646 w 3556"/>
              <a:gd name="T29" fmla="*/ 2147483646 h 3950"/>
              <a:gd name="T30" fmla="*/ 2147483646 w 3556"/>
              <a:gd name="T31" fmla="*/ 2147483646 h 3950"/>
              <a:gd name="T32" fmla="*/ 2147483646 w 3556"/>
              <a:gd name="T33" fmla="*/ 2147483646 h 3950"/>
              <a:gd name="T34" fmla="*/ 2147483646 w 3556"/>
              <a:gd name="T35" fmla="*/ 2147483646 h 3950"/>
              <a:gd name="T36" fmla="*/ 2147483646 w 3556"/>
              <a:gd name="T37" fmla="*/ 2147483646 h 3950"/>
              <a:gd name="T38" fmla="*/ 2147483646 w 3556"/>
              <a:gd name="T39" fmla="*/ 2147483646 h 3950"/>
              <a:gd name="T40" fmla="*/ 2147483646 w 3556"/>
              <a:gd name="T41" fmla="*/ 2147483646 h 3950"/>
              <a:gd name="T42" fmla="*/ 2147483646 w 3556"/>
              <a:gd name="T43" fmla="*/ 2147483646 h 3950"/>
              <a:gd name="T44" fmla="*/ 2147483646 w 3556"/>
              <a:gd name="T45" fmla="*/ 2147483646 h 3950"/>
              <a:gd name="T46" fmla="*/ 2147483646 w 3556"/>
              <a:gd name="T47" fmla="*/ 2147483646 h 3950"/>
              <a:gd name="T48" fmla="*/ 2147483646 w 3556"/>
              <a:gd name="T49" fmla="*/ 2147483646 h 3950"/>
              <a:gd name="T50" fmla="*/ 2147483646 w 3556"/>
              <a:gd name="T51" fmla="*/ 2147483646 h 3950"/>
              <a:gd name="T52" fmla="*/ 2147483646 w 3556"/>
              <a:gd name="T53" fmla="*/ 2147483646 h 3950"/>
              <a:gd name="T54" fmla="*/ 2147483646 w 3556"/>
              <a:gd name="T55" fmla="*/ 2147483646 h 3950"/>
              <a:gd name="T56" fmla="*/ 2147483646 w 3556"/>
              <a:gd name="T57" fmla="*/ 2147483646 h 3950"/>
              <a:gd name="T58" fmla="*/ 2147483646 w 3556"/>
              <a:gd name="T59" fmla="*/ 2147483646 h 3950"/>
              <a:gd name="T60" fmla="*/ 2147483646 w 3556"/>
              <a:gd name="T61" fmla="*/ 2147483646 h 3950"/>
              <a:gd name="T62" fmla="*/ 2147483646 w 3556"/>
              <a:gd name="T63" fmla="*/ 2147483646 h 3950"/>
              <a:gd name="T64" fmla="*/ 2147483646 w 3556"/>
              <a:gd name="T65" fmla="*/ 2147483646 h 3950"/>
              <a:gd name="T66" fmla="*/ 2147483646 w 3556"/>
              <a:gd name="T67" fmla="*/ 2147483646 h 3950"/>
              <a:gd name="T68" fmla="*/ 2147483646 w 3556"/>
              <a:gd name="T69" fmla="*/ 2147483646 h 3950"/>
              <a:gd name="T70" fmla="*/ 2147483646 w 3556"/>
              <a:gd name="T71" fmla="*/ 2147483646 h 3950"/>
              <a:gd name="T72" fmla="*/ 2147483646 w 3556"/>
              <a:gd name="T73" fmla="*/ 2147483646 h 3950"/>
              <a:gd name="T74" fmla="*/ 2147483646 w 3556"/>
              <a:gd name="T75" fmla="*/ 2147483646 h 3950"/>
              <a:gd name="T76" fmla="*/ 2147483646 w 3556"/>
              <a:gd name="T77" fmla="*/ 2147483646 h 3950"/>
              <a:gd name="T78" fmla="*/ 2147483646 w 3556"/>
              <a:gd name="T79" fmla="*/ 2147483646 h 3950"/>
              <a:gd name="T80" fmla="*/ 2147483646 w 3556"/>
              <a:gd name="T81" fmla="*/ 0 h 3950"/>
              <a:gd name="T82" fmla="*/ 2147483646 w 3556"/>
              <a:gd name="T83" fmla="*/ 2147483646 h 3950"/>
              <a:gd name="T84" fmla="*/ 2147483646 w 3556"/>
              <a:gd name="T85" fmla="*/ 2147483646 h 3950"/>
              <a:gd name="T86" fmla="*/ 2147483646 w 3556"/>
              <a:gd name="T87" fmla="*/ 2147483646 h 395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556"/>
              <a:gd name="T133" fmla="*/ 0 h 3950"/>
              <a:gd name="T134" fmla="*/ 3556 w 3556"/>
              <a:gd name="T135" fmla="*/ 3950 h 395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556" h="3950">
                <a:moveTo>
                  <a:pt x="909" y="3917"/>
                </a:moveTo>
                <a:cubicBezTo>
                  <a:pt x="824" y="3832"/>
                  <a:pt x="894" y="3725"/>
                  <a:pt x="1036" y="3725"/>
                </a:cubicBezTo>
                <a:cubicBezTo>
                  <a:pt x="1119" y="3725"/>
                  <a:pt x="1129" y="3717"/>
                  <a:pt x="1129" y="3645"/>
                </a:cubicBezTo>
                <a:cubicBezTo>
                  <a:pt x="1129" y="3472"/>
                  <a:pt x="1135" y="3471"/>
                  <a:pt x="2192" y="3471"/>
                </a:cubicBezTo>
                <a:cubicBezTo>
                  <a:pt x="3086" y="3471"/>
                  <a:pt x="3155" y="3475"/>
                  <a:pt x="3199" y="3523"/>
                </a:cubicBezTo>
                <a:cubicBezTo>
                  <a:pt x="3225" y="3551"/>
                  <a:pt x="3246" y="3608"/>
                  <a:pt x="3246" y="3648"/>
                </a:cubicBezTo>
                <a:cubicBezTo>
                  <a:pt x="3246" y="3712"/>
                  <a:pt x="3259" y="3723"/>
                  <a:pt x="3349" y="3730"/>
                </a:cubicBezTo>
                <a:cubicBezTo>
                  <a:pt x="3470" y="3741"/>
                  <a:pt x="3530" y="3811"/>
                  <a:pt x="3482" y="3887"/>
                </a:cubicBezTo>
                <a:cubicBezTo>
                  <a:pt x="3453" y="3933"/>
                  <a:pt x="3356" y="3937"/>
                  <a:pt x="2197" y="3944"/>
                </a:cubicBezTo>
                <a:cubicBezTo>
                  <a:pt x="1245" y="3950"/>
                  <a:pt x="935" y="3943"/>
                  <a:pt x="909" y="3917"/>
                </a:cubicBezTo>
                <a:close/>
                <a:moveTo>
                  <a:pt x="87" y="3370"/>
                </a:moveTo>
                <a:cubicBezTo>
                  <a:pt x="24" y="3317"/>
                  <a:pt x="0" y="3272"/>
                  <a:pt x="0" y="3209"/>
                </a:cubicBezTo>
                <a:cubicBezTo>
                  <a:pt x="0" y="3132"/>
                  <a:pt x="86" y="3035"/>
                  <a:pt x="705" y="2414"/>
                </a:cubicBezTo>
                <a:lnTo>
                  <a:pt x="1411" y="1706"/>
                </a:lnTo>
                <a:lnTo>
                  <a:pt x="1235" y="1530"/>
                </a:lnTo>
                <a:lnTo>
                  <a:pt x="1059" y="1355"/>
                </a:lnTo>
                <a:lnTo>
                  <a:pt x="1510" y="903"/>
                </a:lnTo>
                <a:lnTo>
                  <a:pt x="1960" y="452"/>
                </a:lnTo>
                <a:lnTo>
                  <a:pt x="2135" y="624"/>
                </a:lnTo>
                <a:cubicBezTo>
                  <a:pt x="2305" y="793"/>
                  <a:pt x="2310" y="796"/>
                  <a:pt x="2374" y="751"/>
                </a:cubicBezTo>
                <a:cubicBezTo>
                  <a:pt x="2469" y="685"/>
                  <a:pt x="2547" y="695"/>
                  <a:pt x="2633" y="785"/>
                </a:cubicBezTo>
                <a:cubicBezTo>
                  <a:pt x="2720" y="875"/>
                  <a:pt x="2731" y="974"/>
                  <a:pt x="2662" y="1050"/>
                </a:cubicBezTo>
                <a:cubicBezTo>
                  <a:pt x="2616" y="1100"/>
                  <a:pt x="2624" y="1112"/>
                  <a:pt x="2823" y="1313"/>
                </a:cubicBezTo>
                <a:lnTo>
                  <a:pt x="3033" y="1524"/>
                </a:lnTo>
                <a:lnTo>
                  <a:pt x="2582" y="1975"/>
                </a:lnTo>
                <a:lnTo>
                  <a:pt x="2132" y="2427"/>
                </a:lnTo>
                <a:lnTo>
                  <a:pt x="1933" y="2229"/>
                </a:lnTo>
                <a:cubicBezTo>
                  <a:pt x="1824" y="2121"/>
                  <a:pt x="1722" y="2032"/>
                  <a:pt x="1707" y="2032"/>
                </a:cubicBezTo>
                <a:cubicBezTo>
                  <a:pt x="1693" y="2032"/>
                  <a:pt x="1362" y="2349"/>
                  <a:pt x="973" y="2737"/>
                </a:cubicBezTo>
                <a:cubicBezTo>
                  <a:pt x="584" y="3125"/>
                  <a:pt x="245" y="3443"/>
                  <a:pt x="220" y="3443"/>
                </a:cubicBezTo>
                <a:cubicBezTo>
                  <a:pt x="194" y="3443"/>
                  <a:pt x="135" y="3410"/>
                  <a:pt x="87" y="3370"/>
                </a:cubicBezTo>
                <a:close/>
                <a:moveTo>
                  <a:pt x="2258" y="2887"/>
                </a:moveTo>
                <a:cubicBezTo>
                  <a:pt x="2196" y="2865"/>
                  <a:pt x="2145" y="2792"/>
                  <a:pt x="2145" y="2725"/>
                </a:cubicBezTo>
                <a:cubicBezTo>
                  <a:pt x="2145" y="2686"/>
                  <a:pt x="2337" y="2474"/>
                  <a:pt x="2703" y="2109"/>
                </a:cubicBezTo>
                <a:cubicBezTo>
                  <a:pt x="3289" y="1523"/>
                  <a:pt x="3346" y="1485"/>
                  <a:pt x="3453" y="1604"/>
                </a:cubicBezTo>
                <a:cubicBezTo>
                  <a:pt x="3556" y="1717"/>
                  <a:pt x="3522" y="1766"/>
                  <a:pt x="2956" y="2331"/>
                </a:cubicBezTo>
                <a:cubicBezTo>
                  <a:pt x="2657" y="2630"/>
                  <a:pt x="2388" y="2880"/>
                  <a:pt x="2357" y="2888"/>
                </a:cubicBezTo>
                <a:cubicBezTo>
                  <a:pt x="2326" y="2895"/>
                  <a:pt x="2281" y="2895"/>
                  <a:pt x="2258" y="2887"/>
                </a:cubicBezTo>
                <a:close/>
                <a:moveTo>
                  <a:pt x="637" y="1282"/>
                </a:moveTo>
                <a:cubicBezTo>
                  <a:pt x="528" y="1172"/>
                  <a:pt x="568" y="1113"/>
                  <a:pt x="1137" y="544"/>
                </a:cubicBezTo>
                <a:cubicBezTo>
                  <a:pt x="1607" y="74"/>
                  <a:pt x="1693" y="0"/>
                  <a:pt x="1767" y="0"/>
                </a:cubicBezTo>
                <a:cubicBezTo>
                  <a:pt x="1862" y="0"/>
                  <a:pt x="1947" y="73"/>
                  <a:pt x="1947" y="156"/>
                </a:cubicBezTo>
                <a:cubicBezTo>
                  <a:pt x="1947" y="186"/>
                  <a:pt x="1715" y="442"/>
                  <a:pt x="1391" y="767"/>
                </a:cubicBezTo>
                <a:cubicBezTo>
                  <a:pt x="808" y="1353"/>
                  <a:pt x="749" y="1393"/>
                  <a:pt x="637" y="12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4" name="Group 118">
            <a:extLst>
              <a:ext uri="{FF2B5EF4-FFF2-40B4-BE49-F238E27FC236}">
                <a16:creationId xmlns:a16="http://schemas.microsoft.com/office/drawing/2014/main" id="{FB3D6A90-C4FD-433A-A1C1-A4B3864804A5}"/>
              </a:ext>
            </a:extLst>
          </p:cNvPr>
          <p:cNvGrpSpPr/>
          <p:nvPr/>
        </p:nvGrpSpPr>
        <p:grpSpPr>
          <a:xfrm>
            <a:off x="8409631" y="5248358"/>
            <a:ext cx="346498" cy="347472"/>
            <a:chOff x="1468138" y="5997240"/>
            <a:chExt cx="283642" cy="307072"/>
          </a:xfrm>
          <a:solidFill>
            <a:schemeClr val="bg1"/>
          </a:solidFill>
        </p:grpSpPr>
        <p:sp>
          <p:nvSpPr>
            <p:cNvPr id="120" name="Freeform 16">
              <a:extLst>
                <a:ext uri="{FF2B5EF4-FFF2-40B4-BE49-F238E27FC236}">
                  <a16:creationId xmlns:a16="http://schemas.microsoft.com/office/drawing/2014/main" id="{D6134FC8-4249-4088-8AE8-003C8AAC7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6136" y="6255221"/>
              <a:ext cx="26428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1 w 349"/>
                <a:gd name="T25" fmla="*/ 226 h 350"/>
                <a:gd name="T26" fmla="*/ 225 w 349"/>
                <a:gd name="T27" fmla="*/ 213 h 350"/>
                <a:gd name="T28" fmla="*/ 234 w 349"/>
                <a:gd name="T29" fmla="*/ 194 h 350"/>
                <a:gd name="T30" fmla="*/ 237 w 349"/>
                <a:gd name="T31" fmla="*/ 175 h 350"/>
                <a:gd name="T32" fmla="*/ 235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5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4 w 349"/>
                <a:gd name="T47" fmla="*/ 3 h 350"/>
                <a:gd name="T48" fmla="*/ 234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8 w 349"/>
                <a:gd name="T55" fmla="*/ 63 h 350"/>
                <a:gd name="T56" fmla="*/ 325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5 w 349"/>
                <a:gd name="T65" fmla="*/ 210 h 350"/>
                <a:gd name="T66" fmla="*/ 335 w 349"/>
                <a:gd name="T67" fmla="*/ 243 h 350"/>
                <a:gd name="T68" fmla="*/ 319 w 349"/>
                <a:gd name="T69" fmla="*/ 273 h 350"/>
                <a:gd name="T70" fmla="*/ 297 w 349"/>
                <a:gd name="T71" fmla="*/ 299 h 350"/>
                <a:gd name="T72" fmla="*/ 272 w 349"/>
                <a:gd name="T73" fmla="*/ 319 h 350"/>
                <a:gd name="T74" fmla="*/ 242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39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29 w 349"/>
                <a:gd name="T89" fmla="*/ 273 h 350"/>
                <a:gd name="T90" fmla="*/ 14 w 349"/>
                <a:gd name="T91" fmla="*/ 243 h 350"/>
                <a:gd name="T92" fmla="*/ 3 w 349"/>
                <a:gd name="T93" fmla="*/ 210 h 350"/>
                <a:gd name="T94" fmla="*/ 0 w 349"/>
                <a:gd name="T95" fmla="*/ 175 h 350"/>
                <a:gd name="T96" fmla="*/ 3 w 349"/>
                <a:gd name="T97" fmla="*/ 140 h 350"/>
                <a:gd name="T98" fmla="*/ 14 w 349"/>
                <a:gd name="T99" fmla="*/ 107 h 350"/>
                <a:gd name="T100" fmla="*/ 29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39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1" y="226"/>
                  </a:lnTo>
                  <a:lnTo>
                    <a:pt x="225" y="213"/>
                  </a:lnTo>
                  <a:lnTo>
                    <a:pt x="234" y="194"/>
                  </a:lnTo>
                  <a:lnTo>
                    <a:pt x="237" y="175"/>
                  </a:lnTo>
                  <a:lnTo>
                    <a:pt x="235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5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4" y="3"/>
                  </a:lnTo>
                  <a:lnTo>
                    <a:pt x="234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8" y="63"/>
                  </a:lnTo>
                  <a:lnTo>
                    <a:pt x="325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5" y="210"/>
                  </a:lnTo>
                  <a:lnTo>
                    <a:pt x="335" y="243"/>
                  </a:lnTo>
                  <a:lnTo>
                    <a:pt x="319" y="273"/>
                  </a:lnTo>
                  <a:lnTo>
                    <a:pt x="297" y="299"/>
                  </a:lnTo>
                  <a:lnTo>
                    <a:pt x="272" y="319"/>
                  </a:lnTo>
                  <a:lnTo>
                    <a:pt x="242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39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29" y="273"/>
                  </a:lnTo>
                  <a:lnTo>
                    <a:pt x="14" y="243"/>
                  </a:lnTo>
                  <a:lnTo>
                    <a:pt x="3" y="210"/>
                  </a:lnTo>
                  <a:lnTo>
                    <a:pt x="0" y="175"/>
                  </a:lnTo>
                  <a:lnTo>
                    <a:pt x="3" y="140"/>
                  </a:lnTo>
                  <a:lnTo>
                    <a:pt x="14" y="107"/>
                  </a:lnTo>
                  <a:lnTo>
                    <a:pt x="29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39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1" name="Freeform 17">
              <a:extLst>
                <a:ext uri="{FF2B5EF4-FFF2-40B4-BE49-F238E27FC236}">
                  <a16:creationId xmlns:a16="http://schemas.microsoft.com/office/drawing/2014/main" id="{67A5F0B0-C078-4A85-9E32-409FF0B3D5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2133" y="6255221"/>
              <a:ext cx="26656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2 w 349"/>
                <a:gd name="T25" fmla="*/ 226 h 350"/>
                <a:gd name="T26" fmla="*/ 226 w 349"/>
                <a:gd name="T27" fmla="*/ 213 h 350"/>
                <a:gd name="T28" fmla="*/ 235 w 349"/>
                <a:gd name="T29" fmla="*/ 194 h 350"/>
                <a:gd name="T30" fmla="*/ 237 w 349"/>
                <a:gd name="T31" fmla="*/ 175 h 350"/>
                <a:gd name="T32" fmla="*/ 236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7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5 w 349"/>
                <a:gd name="T47" fmla="*/ 3 h 350"/>
                <a:gd name="T48" fmla="*/ 235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9 w 349"/>
                <a:gd name="T55" fmla="*/ 63 h 350"/>
                <a:gd name="T56" fmla="*/ 326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6 w 349"/>
                <a:gd name="T65" fmla="*/ 210 h 350"/>
                <a:gd name="T66" fmla="*/ 336 w 349"/>
                <a:gd name="T67" fmla="*/ 243 h 350"/>
                <a:gd name="T68" fmla="*/ 319 w 349"/>
                <a:gd name="T69" fmla="*/ 273 h 350"/>
                <a:gd name="T70" fmla="*/ 298 w 349"/>
                <a:gd name="T71" fmla="*/ 299 h 350"/>
                <a:gd name="T72" fmla="*/ 272 w 349"/>
                <a:gd name="T73" fmla="*/ 319 h 350"/>
                <a:gd name="T74" fmla="*/ 243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40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30 w 349"/>
                <a:gd name="T89" fmla="*/ 273 h 350"/>
                <a:gd name="T90" fmla="*/ 14 w 349"/>
                <a:gd name="T91" fmla="*/ 243 h 350"/>
                <a:gd name="T92" fmla="*/ 4 w 349"/>
                <a:gd name="T93" fmla="*/ 210 h 350"/>
                <a:gd name="T94" fmla="*/ 0 w 349"/>
                <a:gd name="T95" fmla="*/ 175 h 350"/>
                <a:gd name="T96" fmla="*/ 4 w 349"/>
                <a:gd name="T97" fmla="*/ 140 h 350"/>
                <a:gd name="T98" fmla="*/ 14 w 349"/>
                <a:gd name="T99" fmla="*/ 107 h 350"/>
                <a:gd name="T100" fmla="*/ 30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40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7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7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5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19" y="273"/>
                  </a:lnTo>
                  <a:lnTo>
                    <a:pt x="298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2" name="Freeform 18">
              <a:extLst>
                <a:ext uri="{FF2B5EF4-FFF2-40B4-BE49-F238E27FC236}">
                  <a16:creationId xmlns:a16="http://schemas.microsoft.com/office/drawing/2014/main" id="{BF1784DA-3E40-44FD-998D-DB1DD379C0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8357" y="6255221"/>
              <a:ext cx="26428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7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1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7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8 w 350"/>
                <a:gd name="T31" fmla="*/ 175 h 350"/>
                <a:gd name="T32" fmla="*/ 236 w 350"/>
                <a:gd name="T33" fmla="*/ 158 h 350"/>
                <a:gd name="T34" fmla="*/ 229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7 w 350"/>
                <a:gd name="T53" fmla="*/ 41 h 350"/>
                <a:gd name="T54" fmla="*/ 309 w 350"/>
                <a:gd name="T55" fmla="*/ 63 h 350"/>
                <a:gd name="T56" fmla="*/ 326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2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7 w 350"/>
                <a:gd name="T85" fmla="*/ 319 h 350"/>
                <a:gd name="T86" fmla="*/ 51 w 350"/>
                <a:gd name="T87" fmla="*/ 299 h 350"/>
                <a:gd name="T88" fmla="*/ 30 w 350"/>
                <a:gd name="T89" fmla="*/ 273 h 350"/>
                <a:gd name="T90" fmla="*/ 14 w 350"/>
                <a:gd name="T91" fmla="*/ 243 h 350"/>
                <a:gd name="T92" fmla="*/ 4 w 350"/>
                <a:gd name="T93" fmla="*/ 210 h 350"/>
                <a:gd name="T94" fmla="*/ 0 w 350"/>
                <a:gd name="T95" fmla="*/ 175 h 350"/>
                <a:gd name="T96" fmla="*/ 4 w 350"/>
                <a:gd name="T97" fmla="*/ 140 h 350"/>
                <a:gd name="T98" fmla="*/ 14 w 350"/>
                <a:gd name="T99" fmla="*/ 107 h 350"/>
                <a:gd name="T100" fmla="*/ 30 w 350"/>
                <a:gd name="T101" fmla="*/ 78 h 350"/>
                <a:gd name="T102" fmla="*/ 51 w 350"/>
                <a:gd name="T103" fmla="*/ 52 h 350"/>
                <a:gd name="T104" fmla="*/ 77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8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3" name="Freeform 19">
              <a:extLst>
                <a:ext uri="{FF2B5EF4-FFF2-40B4-BE49-F238E27FC236}">
                  <a16:creationId xmlns:a16="http://schemas.microsoft.com/office/drawing/2014/main" id="{FF26547B-24B3-4108-8095-A2794E966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4353" y="6255221"/>
              <a:ext cx="26656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8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3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8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9 w 350"/>
                <a:gd name="T31" fmla="*/ 175 h 350"/>
                <a:gd name="T32" fmla="*/ 236 w 350"/>
                <a:gd name="T33" fmla="*/ 158 h 350"/>
                <a:gd name="T34" fmla="*/ 231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8 w 350"/>
                <a:gd name="T53" fmla="*/ 41 h 350"/>
                <a:gd name="T54" fmla="*/ 309 w 350"/>
                <a:gd name="T55" fmla="*/ 63 h 350"/>
                <a:gd name="T56" fmla="*/ 327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3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8 w 350"/>
                <a:gd name="T85" fmla="*/ 319 h 350"/>
                <a:gd name="T86" fmla="*/ 53 w 350"/>
                <a:gd name="T87" fmla="*/ 299 h 350"/>
                <a:gd name="T88" fmla="*/ 31 w 350"/>
                <a:gd name="T89" fmla="*/ 273 h 350"/>
                <a:gd name="T90" fmla="*/ 15 w 350"/>
                <a:gd name="T91" fmla="*/ 243 h 350"/>
                <a:gd name="T92" fmla="*/ 5 w 350"/>
                <a:gd name="T93" fmla="*/ 210 h 350"/>
                <a:gd name="T94" fmla="*/ 0 w 350"/>
                <a:gd name="T95" fmla="*/ 175 h 350"/>
                <a:gd name="T96" fmla="*/ 5 w 350"/>
                <a:gd name="T97" fmla="*/ 140 h 350"/>
                <a:gd name="T98" fmla="*/ 15 w 350"/>
                <a:gd name="T99" fmla="*/ 107 h 350"/>
                <a:gd name="T100" fmla="*/ 31 w 350"/>
                <a:gd name="T101" fmla="*/ 78 h 350"/>
                <a:gd name="T102" fmla="*/ 53 w 350"/>
                <a:gd name="T103" fmla="*/ 52 h 350"/>
                <a:gd name="T104" fmla="*/ 78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8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3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8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9" y="175"/>
                  </a:lnTo>
                  <a:lnTo>
                    <a:pt x="236" y="158"/>
                  </a:lnTo>
                  <a:lnTo>
                    <a:pt x="231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8" y="41"/>
                  </a:lnTo>
                  <a:lnTo>
                    <a:pt x="309" y="63"/>
                  </a:lnTo>
                  <a:lnTo>
                    <a:pt x="327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3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8" y="319"/>
                  </a:lnTo>
                  <a:lnTo>
                    <a:pt x="53" y="299"/>
                  </a:lnTo>
                  <a:lnTo>
                    <a:pt x="31" y="273"/>
                  </a:lnTo>
                  <a:lnTo>
                    <a:pt x="15" y="243"/>
                  </a:lnTo>
                  <a:lnTo>
                    <a:pt x="5" y="210"/>
                  </a:lnTo>
                  <a:lnTo>
                    <a:pt x="0" y="175"/>
                  </a:lnTo>
                  <a:lnTo>
                    <a:pt x="5" y="140"/>
                  </a:lnTo>
                  <a:lnTo>
                    <a:pt x="15" y="107"/>
                  </a:lnTo>
                  <a:lnTo>
                    <a:pt x="31" y="78"/>
                  </a:lnTo>
                  <a:lnTo>
                    <a:pt x="53" y="52"/>
                  </a:lnTo>
                  <a:lnTo>
                    <a:pt x="78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4" name="Freeform 20">
              <a:extLst>
                <a:ext uri="{FF2B5EF4-FFF2-40B4-BE49-F238E27FC236}">
                  <a16:creationId xmlns:a16="http://schemas.microsoft.com/office/drawing/2014/main" id="{6F553FA1-4728-401A-8C20-F18E165CA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80832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2 h 111"/>
                <a:gd name="T10" fmla="*/ 168 w 171"/>
                <a:gd name="T11" fmla="*/ 37 h 111"/>
                <a:gd name="T12" fmla="*/ 171 w 171"/>
                <a:gd name="T13" fmla="*/ 55 h 111"/>
                <a:gd name="T14" fmla="*/ 168 w 171"/>
                <a:gd name="T15" fmla="*/ 72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8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8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2 h 111"/>
                <a:gd name="T34" fmla="*/ 0 w 171"/>
                <a:gd name="T35" fmla="*/ 55 h 111"/>
                <a:gd name="T36" fmla="*/ 2 w 171"/>
                <a:gd name="T37" fmla="*/ 37 h 111"/>
                <a:gd name="T38" fmla="*/ 10 w 171"/>
                <a:gd name="T39" fmla="*/ 22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2"/>
                  </a:lnTo>
                  <a:lnTo>
                    <a:pt x="168" y="37"/>
                  </a:lnTo>
                  <a:lnTo>
                    <a:pt x="171" y="55"/>
                  </a:lnTo>
                  <a:lnTo>
                    <a:pt x="168" y="72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8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8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2"/>
                  </a:lnTo>
                  <a:lnTo>
                    <a:pt x="0" y="55"/>
                  </a:lnTo>
                  <a:lnTo>
                    <a:pt x="2" y="37"/>
                  </a:lnTo>
                  <a:lnTo>
                    <a:pt x="10" y="22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5" name="Freeform 21">
              <a:extLst>
                <a:ext uri="{FF2B5EF4-FFF2-40B4-BE49-F238E27FC236}">
                  <a16:creationId xmlns:a16="http://schemas.microsoft.com/office/drawing/2014/main" id="{2A783787-5E9B-43C9-9BF4-073950C97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95860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3 h 111"/>
                <a:gd name="T10" fmla="*/ 168 w 171"/>
                <a:gd name="T11" fmla="*/ 38 h 111"/>
                <a:gd name="T12" fmla="*/ 171 w 171"/>
                <a:gd name="T13" fmla="*/ 55 h 111"/>
                <a:gd name="T14" fmla="*/ 168 w 171"/>
                <a:gd name="T15" fmla="*/ 74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9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9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4 h 111"/>
                <a:gd name="T34" fmla="*/ 0 w 171"/>
                <a:gd name="T35" fmla="*/ 55 h 111"/>
                <a:gd name="T36" fmla="*/ 2 w 171"/>
                <a:gd name="T37" fmla="*/ 38 h 111"/>
                <a:gd name="T38" fmla="*/ 10 w 171"/>
                <a:gd name="T39" fmla="*/ 23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3"/>
                  </a:lnTo>
                  <a:lnTo>
                    <a:pt x="168" y="38"/>
                  </a:lnTo>
                  <a:lnTo>
                    <a:pt x="171" y="55"/>
                  </a:lnTo>
                  <a:lnTo>
                    <a:pt x="168" y="74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9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9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4"/>
                  </a:lnTo>
                  <a:lnTo>
                    <a:pt x="0" y="55"/>
                  </a:lnTo>
                  <a:lnTo>
                    <a:pt x="2" y="38"/>
                  </a:lnTo>
                  <a:lnTo>
                    <a:pt x="10" y="23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6" name="Freeform 22">
              <a:extLst>
                <a:ext uri="{FF2B5EF4-FFF2-40B4-BE49-F238E27FC236}">
                  <a16:creationId xmlns:a16="http://schemas.microsoft.com/office/drawing/2014/main" id="{6465D05A-ED22-49B3-924E-6DFC4C8C8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8138" y="5997240"/>
              <a:ext cx="283642" cy="307072"/>
            </a:xfrm>
            <a:custGeom>
              <a:avLst/>
              <a:gdLst>
                <a:gd name="T0" fmla="*/ 185 w 3736"/>
                <a:gd name="T1" fmla="*/ 3069 h 3678"/>
                <a:gd name="T2" fmla="*/ 125 w 3736"/>
                <a:gd name="T3" fmla="*/ 3352 h 3678"/>
                <a:gd name="T4" fmla="*/ 325 w 3736"/>
                <a:gd name="T5" fmla="*/ 3554 h 3678"/>
                <a:gd name="T6" fmla="*/ 2002 w 3736"/>
                <a:gd name="T7" fmla="*/ 3518 h 3678"/>
                <a:gd name="T8" fmla="*/ 2140 w 3736"/>
                <a:gd name="T9" fmla="*/ 3266 h 3678"/>
                <a:gd name="T10" fmla="*/ 2002 w 3736"/>
                <a:gd name="T11" fmla="*/ 3013 h 3678"/>
                <a:gd name="T12" fmla="*/ 943 w 3736"/>
                <a:gd name="T13" fmla="*/ 2853 h 3678"/>
                <a:gd name="T14" fmla="*/ 2970 w 3736"/>
                <a:gd name="T15" fmla="*/ 2765 h 3678"/>
                <a:gd name="T16" fmla="*/ 3240 w 3736"/>
                <a:gd name="T17" fmla="*/ 2787 h 3678"/>
                <a:gd name="T18" fmla="*/ 3506 w 3736"/>
                <a:gd name="T19" fmla="*/ 2599 h 3678"/>
                <a:gd name="T20" fmla="*/ 302 w 3736"/>
                <a:gd name="T21" fmla="*/ 2099 h 3678"/>
                <a:gd name="T22" fmla="*/ 333 w 3736"/>
                <a:gd name="T23" fmla="*/ 2613 h 3678"/>
                <a:gd name="T24" fmla="*/ 3524 w 3736"/>
                <a:gd name="T25" fmla="*/ 1966 h 3678"/>
                <a:gd name="T26" fmla="*/ 3542 w 3736"/>
                <a:gd name="T27" fmla="*/ 2077 h 3678"/>
                <a:gd name="T28" fmla="*/ 3622 w 3736"/>
                <a:gd name="T29" fmla="*/ 1998 h 3678"/>
                <a:gd name="T30" fmla="*/ 893 w 3736"/>
                <a:gd name="T31" fmla="*/ 1458 h 3678"/>
                <a:gd name="T32" fmla="*/ 1843 w 3736"/>
                <a:gd name="T33" fmla="*/ 2616 h 3678"/>
                <a:gd name="T34" fmla="*/ 1132 w 3736"/>
                <a:gd name="T35" fmla="*/ 2414 h 3678"/>
                <a:gd name="T36" fmla="*/ 954 w 3736"/>
                <a:gd name="T37" fmla="*/ 2256 h 3678"/>
                <a:gd name="T38" fmla="*/ 1082 w 3736"/>
                <a:gd name="T39" fmla="*/ 2271 h 3678"/>
                <a:gd name="T40" fmla="*/ 1271 w 3736"/>
                <a:gd name="T41" fmla="*/ 1557 h 3678"/>
                <a:gd name="T42" fmla="*/ 1360 w 3736"/>
                <a:gd name="T43" fmla="*/ 1601 h 3678"/>
                <a:gd name="T44" fmla="*/ 1958 w 3736"/>
                <a:gd name="T45" fmla="*/ 2171 h 3678"/>
                <a:gd name="T46" fmla="*/ 1525 w 3736"/>
                <a:gd name="T47" fmla="*/ 1457 h 3678"/>
                <a:gd name="T48" fmla="*/ 2749 w 3736"/>
                <a:gd name="T49" fmla="*/ 361 h 3678"/>
                <a:gd name="T50" fmla="*/ 3541 w 3736"/>
                <a:gd name="T51" fmla="*/ 1844 h 3678"/>
                <a:gd name="T52" fmla="*/ 1658 w 3736"/>
                <a:gd name="T53" fmla="*/ 1439 h 3678"/>
                <a:gd name="T54" fmla="*/ 2419 w 3736"/>
                <a:gd name="T55" fmla="*/ 427 h 3678"/>
                <a:gd name="T56" fmla="*/ 2498 w 3736"/>
                <a:gd name="T57" fmla="*/ 124 h 3678"/>
                <a:gd name="T58" fmla="*/ 2441 w 3736"/>
                <a:gd name="T59" fmla="*/ 287 h 3678"/>
                <a:gd name="T60" fmla="*/ 2599 w 3736"/>
                <a:gd name="T61" fmla="*/ 347 h 3678"/>
                <a:gd name="T62" fmla="*/ 2672 w 3736"/>
                <a:gd name="T63" fmla="*/ 256 h 3678"/>
                <a:gd name="T64" fmla="*/ 2625 w 3736"/>
                <a:gd name="T65" fmla="*/ 136 h 3678"/>
                <a:gd name="T66" fmla="*/ 2665 w 3736"/>
                <a:gd name="T67" fmla="*/ 28 h 3678"/>
                <a:gd name="T68" fmla="*/ 3734 w 3736"/>
                <a:gd name="T69" fmla="*/ 1986 h 3678"/>
                <a:gd name="T70" fmla="*/ 3646 w 3736"/>
                <a:gd name="T71" fmla="*/ 2170 h 3678"/>
                <a:gd name="T72" fmla="*/ 3580 w 3736"/>
                <a:gd name="T73" fmla="*/ 2724 h 3678"/>
                <a:gd name="T74" fmla="*/ 3180 w 3736"/>
                <a:gd name="T75" fmla="*/ 2918 h 3678"/>
                <a:gd name="T76" fmla="*/ 2865 w 3736"/>
                <a:gd name="T77" fmla="*/ 2826 h 3678"/>
                <a:gd name="T78" fmla="*/ 2459 w 3736"/>
                <a:gd name="T79" fmla="*/ 2397 h 3678"/>
                <a:gd name="T80" fmla="*/ 3431 w 3736"/>
                <a:gd name="T81" fmla="*/ 2200 h 3678"/>
                <a:gd name="T82" fmla="*/ 3506 w 3736"/>
                <a:gd name="T83" fmla="*/ 2183 h 3678"/>
                <a:gd name="T84" fmla="*/ 1983 w 3736"/>
                <a:gd name="T85" fmla="*/ 1926 h 3678"/>
                <a:gd name="T86" fmla="*/ 2073 w 3736"/>
                <a:gd name="T87" fmla="*/ 2433 h 3678"/>
                <a:gd name="T88" fmla="*/ 2059 w 3736"/>
                <a:gd name="T89" fmla="*/ 2469 h 3678"/>
                <a:gd name="T90" fmla="*/ 2043 w 3736"/>
                <a:gd name="T91" fmla="*/ 2482 h 3678"/>
                <a:gd name="T92" fmla="*/ 2024 w 3736"/>
                <a:gd name="T93" fmla="*/ 2489 h 3678"/>
                <a:gd name="T94" fmla="*/ 1942 w 3736"/>
                <a:gd name="T95" fmla="*/ 2705 h 3678"/>
                <a:gd name="T96" fmla="*/ 1890 w 3736"/>
                <a:gd name="T97" fmla="*/ 2857 h 3678"/>
                <a:gd name="T98" fmla="*/ 2177 w 3736"/>
                <a:gd name="T99" fmla="*/ 3030 h 3678"/>
                <a:gd name="T100" fmla="*/ 2238 w 3736"/>
                <a:gd name="T101" fmla="*/ 3367 h 3678"/>
                <a:gd name="T102" fmla="*/ 2032 w 3736"/>
                <a:gd name="T103" fmla="*/ 3630 h 3678"/>
                <a:gd name="T104" fmla="*/ 311 w 3736"/>
                <a:gd name="T105" fmla="*/ 3666 h 3678"/>
                <a:gd name="T106" fmla="*/ 49 w 3736"/>
                <a:gd name="T107" fmla="*/ 3460 h 3678"/>
                <a:gd name="T108" fmla="*/ 28 w 3736"/>
                <a:gd name="T109" fmla="*/ 3116 h 3678"/>
                <a:gd name="T110" fmla="*/ 263 w 3736"/>
                <a:gd name="T111" fmla="*/ 2882 h 3678"/>
                <a:gd name="T112" fmla="*/ 317 w 3736"/>
                <a:gd name="T113" fmla="*/ 2724 h 3678"/>
                <a:gd name="T114" fmla="*/ 178 w 3736"/>
                <a:gd name="T115" fmla="*/ 2553 h 3678"/>
                <a:gd name="T116" fmla="*/ 284 w 3736"/>
                <a:gd name="T117" fmla="*/ 1975 h 3678"/>
                <a:gd name="T118" fmla="*/ 740 w 3736"/>
                <a:gd name="T119" fmla="*/ 1477 h 3678"/>
                <a:gd name="T120" fmla="*/ 963 w 3736"/>
                <a:gd name="T121" fmla="*/ 1310 h 3678"/>
                <a:gd name="T122" fmla="*/ 2410 w 3736"/>
                <a:gd name="T123" fmla="*/ 48 h 3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6" h="3678">
                  <a:moveTo>
                    <a:pt x="413" y="2964"/>
                  </a:moveTo>
                  <a:lnTo>
                    <a:pt x="367" y="2968"/>
                  </a:lnTo>
                  <a:lnTo>
                    <a:pt x="325" y="2978"/>
                  </a:lnTo>
                  <a:lnTo>
                    <a:pt x="286" y="2993"/>
                  </a:lnTo>
                  <a:lnTo>
                    <a:pt x="248" y="3013"/>
                  </a:lnTo>
                  <a:lnTo>
                    <a:pt x="215" y="3039"/>
                  </a:lnTo>
                  <a:lnTo>
                    <a:pt x="185" y="3069"/>
                  </a:lnTo>
                  <a:lnTo>
                    <a:pt x="160" y="3102"/>
                  </a:lnTo>
                  <a:lnTo>
                    <a:pt x="139" y="3139"/>
                  </a:lnTo>
                  <a:lnTo>
                    <a:pt x="125" y="3179"/>
                  </a:lnTo>
                  <a:lnTo>
                    <a:pt x="114" y="3222"/>
                  </a:lnTo>
                  <a:lnTo>
                    <a:pt x="111" y="3266"/>
                  </a:lnTo>
                  <a:lnTo>
                    <a:pt x="114" y="3310"/>
                  </a:lnTo>
                  <a:lnTo>
                    <a:pt x="125" y="3352"/>
                  </a:lnTo>
                  <a:lnTo>
                    <a:pt x="139" y="3393"/>
                  </a:lnTo>
                  <a:lnTo>
                    <a:pt x="160" y="3430"/>
                  </a:lnTo>
                  <a:lnTo>
                    <a:pt x="185" y="3464"/>
                  </a:lnTo>
                  <a:lnTo>
                    <a:pt x="215" y="3493"/>
                  </a:lnTo>
                  <a:lnTo>
                    <a:pt x="248" y="3518"/>
                  </a:lnTo>
                  <a:lnTo>
                    <a:pt x="286" y="3538"/>
                  </a:lnTo>
                  <a:lnTo>
                    <a:pt x="325" y="3554"/>
                  </a:lnTo>
                  <a:lnTo>
                    <a:pt x="367" y="3563"/>
                  </a:lnTo>
                  <a:lnTo>
                    <a:pt x="413" y="3567"/>
                  </a:lnTo>
                  <a:lnTo>
                    <a:pt x="1838" y="3567"/>
                  </a:lnTo>
                  <a:lnTo>
                    <a:pt x="1882" y="3563"/>
                  </a:lnTo>
                  <a:lnTo>
                    <a:pt x="1925" y="3554"/>
                  </a:lnTo>
                  <a:lnTo>
                    <a:pt x="1965" y="3538"/>
                  </a:lnTo>
                  <a:lnTo>
                    <a:pt x="2002" y="3518"/>
                  </a:lnTo>
                  <a:lnTo>
                    <a:pt x="2035" y="3493"/>
                  </a:lnTo>
                  <a:lnTo>
                    <a:pt x="2065" y="3464"/>
                  </a:lnTo>
                  <a:lnTo>
                    <a:pt x="2091" y="3430"/>
                  </a:lnTo>
                  <a:lnTo>
                    <a:pt x="2111" y="3393"/>
                  </a:lnTo>
                  <a:lnTo>
                    <a:pt x="2126" y="3352"/>
                  </a:lnTo>
                  <a:lnTo>
                    <a:pt x="2136" y="3310"/>
                  </a:lnTo>
                  <a:lnTo>
                    <a:pt x="2140" y="3266"/>
                  </a:lnTo>
                  <a:lnTo>
                    <a:pt x="2136" y="3222"/>
                  </a:lnTo>
                  <a:lnTo>
                    <a:pt x="2126" y="3179"/>
                  </a:lnTo>
                  <a:lnTo>
                    <a:pt x="2111" y="3139"/>
                  </a:lnTo>
                  <a:lnTo>
                    <a:pt x="2091" y="3102"/>
                  </a:lnTo>
                  <a:lnTo>
                    <a:pt x="2065" y="3069"/>
                  </a:lnTo>
                  <a:lnTo>
                    <a:pt x="2035" y="3039"/>
                  </a:lnTo>
                  <a:lnTo>
                    <a:pt x="2002" y="3013"/>
                  </a:lnTo>
                  <a:lnTo>
                    <a:pt x="1965" y="2993"/>
                  </a:lnTo>
                  <a:lnTo>
                    <a:pt x="1925" y="2978"/>
                  </a:lnTo>
                  <a:lnTo>
                    <a:pt x="1882" y="2968"/>
                  </a:lnTo>
                  <a:lnTo>
                    <a:pt x="1838" y="2964"/>
                  </a:lnTo>
                  <a:lnTo>
                    <a:pt x="413" y="2964"/>
                  </a:lnTo>
                  <a:close/>
                  <a:moveTo>
                    <a:pt x="943" y="2727"/>
                  </a:moveTo>
                  <a:lnTo>
                    <a:pt x="943" y="2853"/>
                  </a:lnTo>
                  <a:lnTo>
                    <a:pt x="1307" y="2853"/>
                  </a:lnTo>
                  <a:lnTo>
                    <a:pt x="1307" y="2727"/>
                  </a:lnTo>
                  <a:lnTo>
                    <a:pt x="943" y="2727"/>
                  </a:lnTo>
                  <a:close/>
                  <a:moveTo>
                    <a:pt x="3407" y="2328"/>
                  </a:moveTo>
                  <a:lnTo>
                    <a:pt x="2754" y="2590"/>
                  </a:lnTo>
                  <a:lnTo>
                    <a:pt x="2936" y="2741"/>
                  </a:lnTo>
                  <a:lnTo>
                    <a:pt x="2970" y="2765"/>
                  </a:lnTo>
                  <a:lnTo>
                    <a:pt x="3005" y="2783"/>
                  </a:lnTo>
                  <a:lnTo>
                    <a:pt x="3042" y="2797"/>
                  </a:lnTo>
                  <a:lnTo>
                    <a:pt x="3081" y="2806"/>
                  </a:lnTo>
                  <a:lnTo>
                    <a:pt x="3121" y="2809"/>
                  </a:lnTo>
                  <a:lnTo>
                    <a:pt x="3161" y="2808"/>
                  </a:lnTo>
                  <a:lnTo>
                    <a:pt x="3201" y="2800"/>
                  </a:lnTo>
                  <a:lnTo>
                    <a:pt x="3240" y="2787"/>
                  </a:lnTo>
                  <a:lnTo>
                    <a:pt x="3429" y="2711"/>
                  </a:lnTo>
                  <a:lnTo>
                    <a:pt x="3452" y="2700"/>
                  </a:lnTo>
                  <a:lnTo>
                    <a:pt x="3470" y="2684"/>
                  </a:lnTo>
                  <a:lnTo>
                    <a:pt x="3485" y="2666"/>
                  </a:lnTo>
                  <a:lnTo>
                    <a:pt x="3496" y="2646"/>
                  </a:lnTo>
                  <a:lnTo>
                    <a:pt x="3504" y="2623"/>
                  </a:lnTo>
                  <a:lnTo>
                    <a:pt x="3506" y="2599"/>
                  </a:lnTo>
                  <a:lnTo>
                    <a:pt x="3504" y="2575"/>
                  </a:lnTo>
                  <a:lnTo>
                    <a:pt x="3497" y="2551"/>
                  </a:lnTo>
                  <a:lnTo>
                    <a:pt x="3407" y="2328"/>
                  </a:lnTo>
                  <a:close/>
                  <a:moveTo>
                    <a:pt x="353" y="2073"/>
                  </a:moveTo>
                  <a:lnTo>
                    <a:pt x="333" y="2076"/>
                  </a:lnTo>
                  <a:lnTo>
                    <a:pt x="315" y="2085"/>
                  </a:lnTo>
                  <a:lnTo>
                    <a:pt x="302" y="2099"/>
                  </a:lnTo>
                  <a:lnTo>
                    <a:pt x="292" y="2116"/>
                  </a:lnTo>
                  <a:lnTo>
                    <a:pt x="289" y="2136"/>
                  </a:lnTo>
                  <a:lnTo>
                    <a:pt x="289" y="2553"/>
                  </a:lnTo>
                  <a:lnTo>
                    <a:pt x="292" y="2572"/>
                  </a:lnTo>
                  <a:lnTo>
                    <a:pt x="302" y="2590"/>
                  </a:lnTo>
                  <a:lnTo>
                    <a:pt x="315" y="2604"/>
                  </a:lnTo>
                  <a:lnTo>
                    <a:pt x="333" y="2613"/>
                  </a:lnTo>
                  <a:lnTo>
                    <a:pt x="353" y="2616"/>
                  </a:lnTo>
                  <a:lnTo>
                    <a:pt x="713" y="2616"/>
                  </a:lnTo>
                  <a:lnTo>
                    <a:pt x="713" y="2073"/>
                  </a:lnTo>
                  <a:lnTo>
                    <a:pt x="353" y="2073"/>
                  </a:lnTo>
                  <a:close/>
                  <a:moveTo>
                    <a:pt x="3562" y="1955"/>
                  </a:moveTo>
                  <a:lnTo>
                    <a:pt x="3542" y="1957"/>
                  </a:lnTo>
                  <a:lnTo>
                    <a:pt x="3524" y="1966"/>
                  </a:lnTo>
                  <a:lnTo>
                    <a:pt x="3511" y="1980"/>
                  </a:lnTo>
                  <a:lnTo>
                    <a:pt x="3502" y="1998"/>
                  </a:lnTo>
                  <a:lnTo>
                    <a:pt x="3498" y="2017"/>
                  </a:lnTo>
                  <a:lnTo>
                    <a:pt x="3502" y="2038"/>
                  </a:lnTo>
                  <a:lnTo>
                    <a:pt x="3511" y="2055"/>
                  </a:lnTo>
                  <a:lnTo>
                    <a:pt x="3524" y="2068"/>
                  </a:lnTo>
                  <a:lnTo>
                    <a:pt x="3542" y="2077"/>
                  </a:lnTo>
                  <a:lnTo>
                    <a:pt x="3562" y="2081"/>
                  </a:lnTo>
                  <a:lnTo>
                    <a:pt x="3582" y="2077"/>
                  </a:lnTo>
                  <a:lnTo>
                    <a:pt x="3599" y="2068"/>
                  </a:lnTo>
                  <a:lnTo>
                    <a:pt x="3613" y="2055"/>
                  </a:lnTo>
                  <a:lnTo>
                    <a:pt x="3622" y="2038"/>
                  </a:lnTo>
                  <a:lnTo>
                    <a:pt x="3625" y="2017"/>
                  </a:lnTo>
                  <a:lnTo>
                    <a:pt x="3622" y="1998"/>
                  </a:lnTo>
                  <a:lnTo>
                    <a:pt x="3613" y="1980"/>
                  </a:lnTo>
                  <a:lnTo>
                    <a:pt x="3599" y="1966"/>
                  </a:lnTo>
                  <a:lnTo>
                    <a:pt x="3582" y="1957"/>
                  </a:lnTo>
                  <a:lnTo>
                    <a:pt x="3562" y="1955"/>
                  </a:lnTo>
                  <a:close/>
                  <a:moveTo>
                    <a:pt x="950" y="1428"/>
                  </a:moveTo>
                  <a:lnTo>
                    <a:pt x="921" y="1441"/>
                  </a:lnTo>
                  <a:lnTo>
                    <a:pt x="893" y="1458"/>
                  </a:lnTo>
                  <a:lnTo>
                    <a:pt x="871" y="1481"/>
                  </a:lnTo>
                  <a:lnTo>
                    <a:pt x="851" y="1507"/>
                  </a:lnTo>
                  <a:lnTo>
                    <a:pt x="837" y="1536"/>
                  </a:lnTo>
                  <a:lnTo>
                    <a:pt x="828" y="1568"/>
                  </a:lnTo>
                  <a:lnTo>
                    <a:pt x="824" y="1601"/>
                  </a:lnTo>
                  <a:lnTo>
                    <a:pt x="824" y="2616"/>
                  </a:lnTo>
                  <a:lnTo>
                    <a:pt x="1843" y="2616"/>
                  </a:lnTo>
                  <a:lnTo>
                    <a:pt x="1843" y="2489"/>
                  </a:lnTo>
                  <a:lnTo>
                    <a:pt x="1556" y="2489"/>
                  </a:lnTo>
                  <a:lnTo>
                    <a:pt x="1468" y="2487"/>
                  </a:lnTo>
                  <a:lnTo>
                    <a:pt x="1382" y="2478"/>
                  </a:lnTo>
                  <a:lnTo>
                    <a:pt x="1297" y="2462"/>
                  </a:lnTo>
                  <a:lnTo>
                    <a:pt x="1213" y="2441"/>
                  </a:lnTo>
                  <a:lnTo>
                    <a:pt x="1132" y="2414"/>
                  </a:lnTo>
                  <a:lnTo>
                    <a:pt x="1050" y="2382"/>
                  </a:lnTo>
                  <a:lnTo>
                    <a:pt x="1026" y="2369"/>
                  </a:lnTo>
                  <a:lnTo>
                    <a:pt x="1005" y="2352"/>
                  </a:lnTo>
                  <a:lnTo>
                    <a:pt x="985" y="2331"/>
                  </a:lnTo>
                  <a:lnTo>
                    <a:pt x="971" y="2309"/>
                  </a:lnTo>
                  <a:lnTo>
                    <a:pt x="960" y="2284"/>
                  </a:lnTo>
                  <a:lnTo>
                    <a:pt x="954" y="2256"/>
                  </a:lnTo>
                  <a:lnTo>
                    <a:pt x="950" y="2228"/>
                  </a:lnTo>
                  <a:lnTo>
                    <a:pt x="950" y="1428"/>
                  </a:lnTo>
                  <a:close/>
                  <a:moveTo>
                    <a:pt x="1062" y="1419"/>
                  </a:moveTo>
                  <a:lnTo>
                    <a:pt x="1062" y="2228"/>
                  </a:lnTo>
                  <a:lnTo>
                    <a:pt x="1065" y="2245"/>
                  </a:lnTo>
                  <a:lnTo>
                    <a:pt x="1071" y="2259"/>
                  </a:lnTo>
                  <a:lnTo>
                    <a:pt x="1082" y="2271"/>
                  </a:lnTo>
                  <a:lnTo>
                    <a:pt x="1095" y="2280"/>
                  </a:lnTo>
                  <a:lnTo>
                    <a:pt x="1171" y="2311"/>
                  </a:lnTo>
                  <a:lnTo>
                    <a:pt x="1248" y="2335"/>
                  </a:lnTo>
                  <a:lnTo>
                    <a:pt x="1248" y="1601"/>
                  </a:lnTo>
                  <a:lnTo>
                    <a:pt x="1251" y="1584"/>
                  </a:lnTo>
                  <a:lnTo>
                    <a:pt x="1259" y="1568"/>
                  </a:lnTo>
                  <a:lnTo>
                    <a:pt x="1271" y="1557"/>
                  </a:lnTo>
                  <a:lnTo>
                    <a:pt x="1286" y="1549"/>
                  </a:lnTo>
                  <a:lnTo>
                    <a:pt x="1304" y="1545"/>
                  </a:lnTo>
                  <a:lnTo>
                    <a:pt x="1321" y="1549"/>
                  </a:lnTo>
                  <a:lnTo>
                    <a:pt x="1337" y="1557"/>
                  </a:lnTo>
                  <a:lnTo>
                    <a:pt x="1348" y="1568"/>
                  </a:lnTo>
                  <a:lnTo>
                    <a:pt x="1356" y="1584"/>
                  </a:lnTo>
                  <a:lnTo>
                    <a:pt x="1360" y="1601"/>
                  </a:lnTo>
                  <a:lnTo>
                    <a:pt x="1360" y="2361"/>
                  </a:lnTo>
                  <a:lnTo>
                    <a:pt x="1424" y="2370"/>
                  </a:lnTo>
                  <a:lnTo>
                    <a:pt x="1490" y="2376"/>
                  </a:lnTo>
                  <a:lnTo>
                    <a:pt x="1556" y="2378"/>
                  </a:lnTo>
                  <a:lnTo>
                    <a:pt x="1961" y="2378"/>
                  </a:lnTo>
                  <a:lnTo>
                    <a:pt x="1961" y="2221"/>
                  </a:lnTo>
                  <a:lnTo>
                    <a:pt x="1958" y="2171"/>
                  </a:lnTo>
                  <a:lnTo>
                    <a:pt x="1949" y="2123"/>
                  </a:lnTo>
                  <a:lnTo>
                    <a:pt x="1936" y="2076"/>
                  </a:lnTo>
                  <a:lnTo>
                    <a:pt x="1915" y="2031"/>
                  </a:lnTo>
                  <a:lnTo>
                    <a:pt x="1890" y="1988"/>
                  </a:lnTo>
                  <a:lnTo>
                    <a:pt x="1566" y="1500"/>
                  </a:lnTo>
                  <a:lnTo>
                    <a:pt x="1547" y="1477"/>
                  </a:lnTo>
                  <a:lnTo>
                    <a:pt x="1525" y="1457"/>
                  </a:lnTo>
                  <a:lnTo>
                    <a:pt x="1500" y="1441"/>
                  </a:lnTo>
                  <a:lnTo>
                    <a:pt x="1473" y="1428"/>
                  </a:lnTo>
                  <a:lnTo>
                    <a:pt x="1445" y="1422"/>
                  </a:lnTo>
                  <a:lnTo>
                    <a:pt x="1414" y="1419"/>
                  </a:lnTo>
                  <a:lnTo>
                    <a:pt x="1062" y="1419"/>
                  </a:lnTo>
                  <a:close/>
                  <a:moveTo>
                    <a:pt x="2753" y="353"/>
                  </a:moveTo>
                  <a:lnTo>
                    <a:pt x="2749" y="361"/>
                  </a:lnTo>
                  <a:lnTo>
                    <a:pt x="2571" y="659"/>
                  </a:lnTo>
                  <a:lnTo>
                    <a:pt x="3419" y="1917"/>
                  </a:lnTo>
                  <a:lnTo>
                    <a:pt x="3437" y="1895"/>
                  </a:lnTo>
                  <a:lnTo>
                    <a:pt x="3460" y="1876"/>
                  </a:lnTo>
                  <a:lnTo>
                    <a:pt x="3485" y="1861"/>
                  </a:lnTo>
                  <a:lnTo>
                    <a:pt x="3512" y="1850"/>
                  </a:lnTo>
                  <a:lnTo>
                    <a:pt x="3541" y="1844"/>
                  </a:lnTo>
                  <a:lnTo>
                    <a:pt x="2753" y="353"/>
                  </a:lnTo>
                  <a:close/>
                  <a:moveTo>
                    <a:pt x="2334" y="320"/>
                  </a:moveTo>
                  <a:lnTo>
                    <a:pt x="1562" y="1348"/>
                  </a:lnTo>
                  <a:lnTo>
                    <a:pt x="1590" y="1366"/>
                  </a:lnTo>
                  <a:lnTo>
                    <a:pt x="1616" y="1387"/>
                  </a:lnTo>
                  <a:lnTo>
                    <a:pt x="1638" y="1411"/>
                  </a:lnTo>
                  <a:lnTo>
                    <a:pt x="1658" y="1439"/>
                  </a:lnTo>
                  <a:lnTo>
                    <a:pt x="1827" y="1690"/>
                  </a:lnTo>
                  <a:lnTo>
                    <a:pt x="2555" y="467"/>
                  </a:lnTo>
                  <a:lnTo>
                    <a:pt x="2551" y="467"/>
                  </a:lnTo>
                  <a:lnTo>
                    <a:pt x="2515" y="465"/>
                  </a:lnTo>
                  <a:lnTo>
                    <a:pt x="2481" y="457"/>
                  </a:lnTo>
                  <a:lnTo>
                    <a:pt x="2448" y="444"/>
                  </a:lnTo>
                  <a:lnTo>
                    <a:pt x="2419" y="427"/>
                  </a:lnTo>
                  <a:lnTo>
                    <a:pt x="2391" y="405"/>
                  </a:lnTo>
                  <a:lnTo>
                    <a:pt x="2369" y="380"/>
                  </a:lnTo>
                  <a:lnTo>
                    <a:pt x="2349" y="351"/>
                  </a:lnTo>
                  <a:lnTo>
                    <a:pt x="2334" y="320"/>
                  </a:lnTo>
                  <a:close/>
                  <a:moveTo>
                    <a:pt x="2551" y="111"/>
                  </a:moveTo>
                  <a:lnTo>
                    <a:pt x="2523" y="115"/>
                  </a:lnTo>
                  <a:lnTo>
                    <a:pt x="2498" y="124"/>
                  </a:lnTo>
                  <a:lnTo>
                    <a:pt x="2475" y="138"/>
                  </a:lnTo>
                  <a:lnTo>
                    <a:pt x="2456" y="157"/>
                  </a:lnTo>
                  <a:lnTo>
                    <a:pt x="2441" y="180"/>
                  </a:lnTo>
                  <a:lnTo>
                    <a:pt x="2432" y="205"/>
                  </a:lnTo>
                  <a:lnTo>
                    <a:pt x="2429" y="234"/>
                  </a:lnTo>
                  <a:lnTo>
                    <a:pt x="2432" y="262"/>
                  </a:lnTo>
                  <a:lnTo>
                    <a:pt x="2441" y="287"/>
                  </a:lnTo>
                  <a:lnTo>
                    <a:pt x="2456" y="311"/>
                  </a:lnTo>
                  <a:lnTo>
                    <a:pt x="2475" y="329"/>
                  </a:lnTo>
                  <a:lnTo>
                    <a:pt x="2498" y="344"/>
                  </a:lnTo>
                  <a:lnTo>
                    <a:pt x="2523" y="353"/>
                  </a:lnTo>
                  <a:lnTo>
                    <a:pt x="2551" y="356"/>
                  </a:lnTo>
                  <a:lnTo>
                    <a:pt x="2576" y="354"/>
                  </a:lnTo>
                  <a:lnTo>
                    <a:pt x="2599" y="347"/>
                  </a:lnTo>
                  <a:lnTo>
                    <a:pt x="2619" y="336"/>
                  </a:lnTo>
                  <a:lnTo>
                    <a:pt x="2638" y="321"/>
                  </a:lnTo>
                  <a:lnTo>
                    <a:pt x="2653" y="303"/>
                  </a:lnTo>
                  <a:lnTo>
                    <a:pt x="2656" y="298"/>
                  </a:lnTo>
                  <a:lnTo>
                    <a:pt x="2657" y="297"/>
                  </a:lnTo>
                  <a:lnTo>
                    <a:pt x="2666" y="278"/>
                  </a:lnTo>
                  <a:lnTo>
                    <a:pt x="2672" y="256"/>
                  </a:lnTo>
                  <a:lnTo>
                    <a:pt x="2674" y="234"/>
                  </a:lnTo>
                  <a:lnTo>
                    <a:pt x="2672" y="210"/>
                  </a:lnTo>
                  <a:lnTo>
                    <a:pt x="2665" y="187"/>
                  </a:lnTo>
                  <a:lnTo>
                    <a:pt x="2661" y="180"/>
                  </a:lnTo>
                  <a:lnTo>
                    <a:pt x="2658" y="174"/>
                  </a:lnTo>
                  <a:lnTo>
                    <a:pt x="2643" y="153"/>
                  </a:lnTo>
                  <a:lnTo>
                    <a:pt x="2625" y="136"/>
                  </a:lnTo>
                  <a:lnTo>
                    <a:pt x="2603" y="123"/>
                  </a:lnTo>
                  <a:lnTo>
                    <a:pt x="2579" y="115"/>
                  </a:lnTo>
                  <a:lnTo>
                    <a:pt x="2551" y="111"/>
                  </a:lnTo>
                  <a:close/>
                  <a:moveTo>
                    <a:pt x="2551" y="0"/>
                  </a:moveTo>
                  <a:lnTo>
                    <a:pt x="2591" y="3"/>
                  </a:lnTo>
                  <a:lnTo>
                    <a:pt x="2630" y="12"/>
                  </a:lnTo>
                  <a:lnTo>
                    <a:pt x="2665" y="28"/>
                  </a:lnTo>
                  <a:lnTo>
                    <a:pt x="2696" y="50"/>
                  </a:lnTo>
                  <a:lnTo>
                    <a:pt x="2724" y="75"/>
                  </a:lnTo>
                  <a:lnTo>
                    <a:pt x="2747" y="106"/>
                  </a:lnTo>
                  <a:lnTo>
                    <a:pt x="2766" y="138"/>
                  </a:lnTo>
                  <a:lnTo>
                    <a:pt x="3713" y="1930"/>
                  </a:lnTo>
                  <a:lnTo>
                    <a:pt x="3726" y="1957"/>
                  </a:lnTo>
                  <a:lnTo>
                    <a:pt x="3734" y="1986"/>
                  </a:lnTo>
                  <a:lnTo>
                    <a:pt x="3736" y="2017"/>
                  </a:lnTo>
                  <a:lnTo>
                    <a:pt x="3733" y="2050"/>
                  </a:lnTo>
                  <a:lnTo>
                    <a:pt x="3725" y="2080"/>
                  </a:lnTo>
                  <a:lnTo>
                    <a:pt x="3711" y="2108"/>
                  </a:lnTo>
                  <a:lnTo>
                    <a:pt x="3693" y="2132"/>
                  </a:lnTo>
                  <a:lnTo>
                    <a:pt x="3672" y="2153"/>
                  </a:lnTo>
                  <a:lnTo>
                    <a:pt x="3646" y="2170"/>
                  </a:lnTo>
                  <a:lnTo>
                    <a:pt x="3617" y="2183"/>
                  </a:lnTo>
                  <a:lnTo>
                    <a:pt x="3617" y="2612"/>
                  </a:lnTo>
                  <a:lnTo>
                    <a:pt x="3617" y="2620"/>
                  </a:lnTo>
                  <a:lnTo>
                    <a:pt x="3616" y="2626"/>
                  </a:lnTo>
                  <a:lnTo>
                    <a:pt x="3609" y="2660"/>
                  </a:lnTo>
                  <a:lnTo>
                    <a:pt x="3597" y="2693"/>
                  </a:lnTo>
                  <a:lnTo>
                    <a:pt x="3580" y="2724"/>
                  </a:lnTo>
                  <a:lnTo>
                    <a:pt x="3559" y="2752"/>
                  </a:lnTo>
                  <a:lnTo>
                    <a:pt x="3533" y="2777"/>
                  </a:lnTo>
                  <a:lnTo>
                    <a:pt x="3504" y="2799"/>
                  </a:lnTo>
                  <a:lnTo>
                    <a:pt x="3471" y="2815"/>
                  </a:lnTo>
                  <a:lnTo>
                    <a:pt x="3282" y="2891"/>
                  </a:lnTo>
                  <a:lnTo>
                    <a:pt x="3231" y="2908"/>
                  </a:lnTo>
                  <a:lnTo>
                    <a:pt x="3180" y="2918"/>
                  </a:lnTo>
                  <a:lnTo>
                    <a:pt x="3127" y="2920"/>
                  </a:lnTo>
                  <a:lnTo>
                    <a:pt x="3081" y="2918"/>
                  </a:lnTo>
                  <a:lnTo>
                    <a:pt x="3034" y="2910"/>
                  </a:lnTo>
                  <a:lnTo>
                    <a:pt x="2989" y="2896"/>
                  </a:lnTo>
                  <a:lnTo>
                    <a:pt x="2946" y="2878"/>
                  </a:lnTo>
                  <a:lnTo>
                    <a:pt x="2904" y="2855"/>
                  </a:lnTo>
                  <a:lnTo>
                    <a:pt x="2865" y="2826"/>
                  </a:lnTo>
                  <a:lnTo>
                    <a:pt x="2454" y="2487"/>
                  </a:lnTo>
                  <a:lnTo>
                    <a:pt x="2442" y="2474"/>
                  </a:lnTo>
                  <a:lnTo>
                    <a:pt x="2436" y="2458"/>
                  </a:lnTo>
                  <a:lnTo>
                    <a:pt x="2433" y="2441"/>
                  </a:lnTo>
                  <a:lnTo>
                    <a:pt x="2438" y="2424"/>
                  </a:lnTo>
                  <a:lnTo>
                    <a:pt x="2447" y="2409"/>
                  </a:lnTo>
                  <a:lnTo>
                    <a:pt x="2459" y="2397"/>
                  </a:lnTo>
                  <a:lnTo>
                    <a:pt x="2475" y="2390"/>
                  </a:lnTo>
                  <a:lnTo>
                    <a:pt x="2492" y="2388"/>
                  </a:lnTo>
                  <a:lnTo>
                    <a:pt x="2509" y="2393"/>
                  </a:lnTo>
                  <a:lnTo>
                    <a:pt x="2525" y="2402"/>
                  </a:lnTo>
                  <a:lnTo>
                    <a:pt x="2656" y="2509"/>
                  </a:lnTo>
                  <a:lnTo>
                    <a:pt x="3418" y="2203"/>
                  </a:lnTo>
                  <a:lnTo>
                    <a:pt x="3431" y="2200"/>
                  </a:lnTo>
                  <a:lnTo>
                    <a:pt x="3446" y="2200"/>
                  </a:lnTo>
                  <a:lnTo>
                    <a:pt x="3460" y="2204"/>
                  </a:lnTo>
                  <a:lnTo>
                    <a:pt x="3472" y="2211"/>
                  </a:lnTo>
                  <a:lnTo>
                    <a:pt x="3482" y="2221"/>
                  </a:lnTo>
                  <a:lnTo>
                    <a:pt x="3490" y="2235"/>
                  </a:lnTo>
                  <a:lnTo>
                    <a:pt x="3506" y="2275"/>
                  </a:lnTo>
                  <a:lnTo>
                    <a:pt x="3506" y="2183"/>
                  </a:lnTo>
                  <a:lnTo>
                    <a:pt x="3478" y="2170"/>
                  </a:lnTo>
                  <a:lnTo>
                    <a:pt x="3452" y="2152"/>
                  </a:lnTo>
                  <a:lnTo>
                    <a:pt x="3429" y="2131"/>
                  </a:lnTo>
                  <a:lnTo>
                    <a:pt x="3411" y="2106"/>
                  </a:lnTo>
                  <a:lnTo>
                    <a:pt x="2507" y="766"/>
                  </a:lnTo>
                  <a:lnTo>
                    <a:pt x="1895" y="1794"/>
                  </a:lnTo>
                  <a:lnTo>
                    <a:pt x="1983" y="1926"/>
                  </a:lnTo>
                  <a:lnTo>
                    <a:pt x="2010" y="1971"/>
                  </a:lnTo>
                  <a:lnTo>
                    <a:pt x="2032" y="2018"/>
                  </a:lnTo>
                  <a:lnTo>
                    <a:pt x="2050" y="2067"/>
                  </a:lnTo>
                  <a:lnTo>
                    <a:pt x="2063" y="2117"/>
                  </a:lnTo>
                  <a:lnTo>
                    <a:pt x="2069" y="2168"/>
                  </a:lnTo>
                  <a:lnTo>
                    <a:pt x="2073" y="2221"/>
                  </a:lnTo>
                  <a:lnTo>
                    <a:pt x="2073" y="2433"/>
                  </a:lnTo>
                  <a:lnTo>
                    <a:pt x="2072" y="2441"/>
                  </a:lnTo>
                  <a:lnTo>
                    <a:pt x="2069" y="2452"/>
                  </a:lnTo>
                  <a:lnTo>
                    <a:pt x="2066" y="2460"/>
                  </a:lnTo>
                  <a:lnTo>
                    <a:pt x="2064" y="2463"/>
                  </a:lnTo>
                  <a:lnTo>
                    <a:pt x="2063" y="2465"/>
                  </a:lnTo>
                  <a:lnTo>
                    <a:pt x="2060" y="2469"/>
                  </a:lnTo>
                  <a:lnTo>
                    <a:pt x="2059" y="2469"/>
                  </a:lnTo>
                  <a:lnTo>
                    <a:pt x="2058" y="2471"/>
                  </a:lnTo>
                  <a:lnTo>
                    <a:pt x="2056" y="2473"/>
                  </a:lnTo>
                  <a:lnTo>
                    <a:pt x="2055" y="2474"/>
                  </a:lnTo>
                  <a:lnTo>
                    <a:pt x="2052" y="2477"/>
                  </a:lnTo>
                  <a:lnTo>
                    <a:pt x="2050" y="2478"/>
                  </a:lnTo>
                  <a:lnTo>
                    <a:pt x="2048" y="2480"/>
                  </a:lnTo>
                  <a:lnTo>
                    <a:pt x="2043" y="2482"/>
                  </a:lnTo>
                  <a:lnTo>
                    <a:pt x="2039" y="2485"/>
                  </a:lnTo>
                  <a:lnTo>
                    <a:pt x="2039" y="2485"/>
                  </a:lnTo>
                  <a:lnTo>
                    <a:pt x="2035" y="2486"/>
                  </a:lnTo>
                  <a:lnTo>
                    <a:pt x="2033" y="2487"/>
                  </a:lnTo>
                  <a:lnTo>
                    <a:pt x="2031" y="2488"/>
                  </a:lnTo>
                  <a:lnTo>
                    <a:pt x="2027" y="2488"/>
                  </a:lnTo>
                  <a:lnTo>
                    <a:pt x="2024" y="2489"/>
                  </a:lnTo>
                  <a:lnTo>
                    <a:pt x="2023" y="2489"/>
                  </a:lnTo>
                  <a:lnTo>
                    <a:pt x="2019" y="2489"/>
                  </a:lnTo>
                  <a:lnTo>
                    <a:pt x="2017" y="2489"/>
                  </a:lnTo>
                  <a:lnTo>
                    <a:pt x="1954" y="2489"/>
                  </a:lnTo>
                  <a:lnTo>
                    <a:pt x="1954" y="2672"/>
                  </a:lnTo>
                  <a:lnTo>
                    <a:pt x="1950" y="2689"/>
                  </a:lnTo>
                  <a:lnTo>
                    <a:pt x="1942" y="2705"/>
                  </a:lnTo>
                  <a:lnTo>
                    <a:pt x="1931" y="2716"/>
                  </a:lnTo>
                  <a:lnTo>
                    <a:pt x="1915" y="2724"/>
                  </a:lnTo>
                  <a:lnTo>
                    <a:pt x="1898" y="2727"/>
                  </a:lnTo>
                  <a:lnTo>
                    <a:pt x="1418" y="2727"/>
                  </a:lnTo>
                  <a:lnTo>
                    <a:pt x="1418" y="2853"/>
                  </a:lnTo>
                  <a:lnTo>
                    <a:pt x="1838" y="2853"/>
                  </a:lnTo>
                  <a:lnTo>
                    <a:pt x="1890" y="2857"/>
                  </a:lnTo>
                  <a:lnTo>
                    <a:pt x="1940" y="2866"/>
                  </a:lnTo>
                  <a:lnTo>
                    <a:pt x="1988" y="2882"/>
                  </a:lnTo>
                  <a:lnTo>
                    <a:pt x="2032" y="2902"/>
                  </a:lnTo>
                  <a:lnTo>
                    <a:pt x="2074" y="2927"/>
                  </a:lnTo>
                  <a:lnTo>
                    <a:pt x="2112" y="2958"/>
                  </a:lnTo>
                  <a:lnTo>
                    <a:pt x="2146" y="2992"/>
                  </a:lnTo>
                  <a:lnTo>
                    <a:pt x="2177" y="3030"/>
                  </a:lnTo>
                  <a:lnTo>
                    <a:pt x="2202" y="3072"/>
                  </a:lnTo>
                  <a:lnTo>
                    <a:pt x="2222" y="3116"/>
                  </a:lnTo>
                  <a:lnTo>
                    <a:pt x="2238" y="3164"/>
                  </a:lnTo>
                  <a:lnTo>
                    <a:pt x="2247" y="3214"/>
                  </a:lnTo>
                  <a:lnTo>
                    <a:pt x="2251" y="3266"/>
                  </a:lnTo>
                  <a:lnTo>
                    <a:pt x="2247" y="3317"/>
                  </a:lnTo>
                  <a:lnTo>
                    <a:pt x="2238" y="3367"/>
                  </a:lnTo>
                  <a:lnTo>
                    <a:pt x="2222" y="3415"/>
                  </a:lnTo>
                  <a:lnTo>
                    <a:pt x="2202" y="3460"/>
                  </a:lnTo>
                  <a:lnTo>
                    <a:pt x="2177" y="3501"/>
                  </a:lnTo>
                  <a:lnTo>
                    <a:pt x="2146" y="3540"/>
                  </a:lnTo>
                  <a:lnTo>
                    <a:pt x="2112" y="3574"/>
                  </a:lnTo>
                  <a:lnTo>
                    <a:pt x="2074" y="3604"/>
                  </a:lnTo>
                  <a:lnTo>
                    <a:pt x="2032" y="3630"/>
                  </a:lnTo>
                  <a:lnTo>
                    <a:pt x="1988" y="3651"/>
                  </a:lnTo>
                  <a:lnTo>
                    <a:pt x="1940" y="3666"/>
                  </a:lnTo>
                  <a:lnTo>
                    <a:pt x="1890" y="3676"/>
                  </a:lnTo>
                  <a:lnTo>
                    <a:pt x="1838" y="3678"/>
                  </a:lnTo>
                  <a:lnTo>
                    <a:pt x="413" y="3678"/>
                  </a:lnTo>
                  <a:lnTo>
                    <a:pt x="360" y="3676"/>
                  </a:lnTo>
                  <a:lnTo>
                    <a:pt x="311" y="3666"/>
                  </a:lnTo>
                  <a:lnTo>
                    <a:pt x="263" y="3651"/>
                  </a:lnTo>
                  <a:lnTo>
                    <a:pt x="219" y="3630"/>
                  </a:lnTo>
                  <a:lnTo>
                    <a:pt x="177" y="3604"/>
                  </a:lnTo>
                  <a:lnTo>
                    <a:pt x="138" y="3574"/>
                  </a:lnTo>
                  <a:lnTo>
                    <a:pt x="104" y="3540"/>
                  </a:lnTo>
                  <a:lnTo>
                    <a:pt x="74" y="3501"/>
                  </a:lnTo>
                  <a:lnTo>
                    <a:pt x="49" y="3460"/>
                  </a:lnTo>
                  <a:lnTo>
                    <a:pt x="28" y="3415"/>
                  </a:lnTo>
                  <a:lnTo>
                    <a:pt x="12" y="3367"/>
                  </a:lnTo>
                  <a:lnTo>
                    <a:pt x="3" y="3317"/>
                  </a:lnTo>
                  <a:lnTo>
                    <a:pt x="0" y="3266"/>
                  </a:lnTo>
                  <a:lnTo>
                    <a:pt x="3" y="3214"/>
                  </a:lnTo>
                  <a:lnTo>
                    <a:pt x="12" y="3164"/>
                  </a:lnTo>
                  <a:lnTo>
                    <a:pt x="28" y="3116"/>
                  </a:lnTo>
                  <a:lnTo>
                    <a:pt x="49" y="3072"/>
                  </a:lnTo>
                  <a:lnTo>
                    <a:pt x="74" y="3030"/>
                  </a:lnTo>
                  <a:lnTo>
                    <a:pt x="104" y="2992"/>
                  </a:lnTo>
                  <a:lnTo>
                    <a:pt x="138" y="2958"/>
                  </a:lnTo>
                  <a:lnTo>
                    <a:pt x="177" y="2927"/>
                  </a:lnTo>
                  <a:lnTo>
                    <a:pt x="219" y="2902"/>
                  </a:lnTo>
                  <a:lnTo>
                    <a:pt x="263" y="2882"/>
                  </a:lnTo>
                  <a:lnTo>
                    <a:pt x="311" y="2866"/>
                  </a:lnTo>
                  <a:lnTo>
                    <a:pt x="360" y="2857"/>
                  </a:lnTo>
                  <a:lnTo>
                    <a:pt x="413" y="2853"/>
                  </a:lnTo>
                  <a:lnTo>
                    <a:pt x="832" y="2853"/>
                  </a:lnTo>
                  <a:lnTo>
                    <a:pt x="832" y="2727"/>
                  </a:lnTo>
                  <a:lnTo>
                    <a:pt x="353" y="2727"/>
                  </a:lnTo>
                  <a:lnTo>
                    <a:pt x="317" y="2724"/>
                  </a:lnTo>
                  <a:lnTo>
                    <a:pt x="284" y="2714"/>
                  </a:lnTo>
                  <a:lnTo>
                    <a:pt x="255" y="2698"/>
                  </a:lnTo>
                  <a:lnTo>
                    <a:pt x="229" y="2676"/>
                  </a:lnTo>
                  <a:lnTo>
                    <a:pt x="209" y="2650"/>
                  </a:lnTo>
                  <a:lnTo>
                    <a:pt x="192" y="2621"/>
                  </a:lnTo>
                  <a:lnTo>
                    <a:pt x="181" y="2588"/>
                  </a:lnTo>
                  <a:lnTo>
                    <a:pt x="178" y="2553"/>
                  </a:lnTo>
                  <a:lnTo>
                    <a:pt x="178" y="2136"/>
                  </a:lnTo>
                  <a:lnTo>
                    <a:pt x="181" y="2101"/>
                  </a:lnTo>
                  <a:lnTo>
                    <a:pt x="192" y="2068"/>
                  </a:lnTo>
                  <a:lnTo>
                    <a:pt x="209" y="2039"/>
                  </a:lnTo>
                  <a:lnTo>
                    <a:pt x="229" y="2013"/>
                  </a:lnTo>
                  <a:lnTo>
                    <a:pt x="255" y="1991"/>
                  </a:lnTo>
                  <a:lnTo>
                    <a:pt x="284" y="1975"/>
                  </a:lnTo>
                  <a:lnTo>
                    <a:pt x="317" y="1965"/>
                  </a:lnTo>
                  <a:lnTo>
                    <a:pt x="353" y="1962"/>
                  </a:lnTo>
                  <a:lnTo>
                    <a:pt x="713" y="1962"/>
                  </a:lnTo>
                  <a:lnTo>
                    <a:pt x="713" y="1601"/>
                  </a:lnTo>
                  <a:lnTo>
                    <a:pt x="717" y="1558"/>
                  </a:lnTo>
                  <a:lnTo>
                    <a:pt x="726" y="1517"/>
                  </a:lnTo>
                  <a:lnTo>
                    <a:pt x="740" y="1477"/>
                  </a:lnTo>
                  <a:lnTo>
                    <a:pt x="761" y="1442"/>
                  </a:lnTo>
                  <a:lnTo>
                    <a:pt x="785" y="1409"/>
                  </a:lnTo>
                  <a:lnTo>
                    <a:pt x="814" y="1380"/>
                  </a:lnTo>
                  <a:lnTo>
                    <a:pt x="847" y="1355"/>
                  </a:lnTo>
                  <a:lnTo>
                    <a:pt x="883" y="1335"/>
                  </a:lnTo>
                  <a:lnTo>
                    <a:pt x="922" y="1321"/>
                  </a:lnTo>
                  <a:lnTo>
                    <a:pt x="963" y="1310"/>
                  </a:lnTo>
                  <a:lnTo>
                    <a:pt x="1007" y="1308"/>
                  </a:lnTo>
                  <a:lnTo>
                    <a:pt x="1414" y="1308"/>
                  </a:lnTo>
                  <a:lnTo>
                    <a:pt x="1452" y="1310"/>
                  </a:lnTo>
                  <a:lnTo>
                    <a:pt x="2359" y="101"/>
                  </a:lnTo>
                  <a:lnTo>
                    <a:pt x="2359" y="101"/>
                  </a:lnTo>
                  <a:lnTo>
                    <a:pt x="2382" y="73"/>
                  </a:lnTo>
                  <a:lnTo>
                    <a:pt x="2410" y="48"/>
                  </a:lnTo>
                  <a:lnTo>
                    <a:pt x="2441" y="27"/>
                  </a:lnTo>
                  <a:lnTo>
                    <a:pt x="2475" y="12"/>
                  </a:lnTo>
                  <a:lnTo>
                    <a:pt x="2513" y="3"/>
                  </a:lnTo>
                  <a:lnTo>
                    <a:pt x="2551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</p:grpSp>
      <p:sp>
        <p:nvSpPr>
          <p:cNvPr id="23625" name="TextBox 158">
            <a:extLst>
              <a:ext uri="{FF2B5EF4-FFF2-40B4-BE49-F238E27FC236}">
                <a16:creationId xmlns:a16="http://schemas.microsoft.com/office/drawing/2014/main" id="{E039C87F-72AD-4054-B63A-554ACFFB9E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4663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6" name="TextBox 159">
            <a:extLst>
              <a:ext uri="{FF2B5EF4-FFF2-40B4-BE49-F238E27FC236}">
                <a16:creationId xmlns:a16="http://schemas.microsoft.com/office/drawing/2014/main" id="{C89D28E8-6E73-4458-A352-42A749EC09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3488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7" name="TextBox 127">
            <a:extLst>
              <a:ext uri="{FF2B5EF4-FFF2-40B4-BE49-F238E27FC236}">
                <a16:creationId xmlns:a16="http://schemas.microsoft.com/office/drawing/2014/main" id="{D2C4F5E9-E854-4896-8355-45DEC69063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7813" y="6378575"/>
            <a:ext cx="426243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Sources: National Bureau of Statistics, World Bank Report on Doing Business in Nigeria 2018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climate-data.org, State Government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Exchange rate= $1/N305 (Central Bank of Nigeria)</a:t>
            </a:r>
          </a:p>
        </p:txBody>
      </p:sp>
      <p:sp>
        <p:nvSpPr>
          <p:cNvPr id="23628" name="TextBox 128">
            <a:extLst>
              <a:ext uri="{FF2B5EF4-FFF2-40B4-BE49-F238E27FC236}">
                <a16:creationId xmlns:a16="http://schemas.microsoft.com/office/drawing/2014/main" id="{409BCC6F-A5F0-4C79-BB4A-38A1ABC14F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03822" y="3649889"/>
            <a:ext cx="70083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Groundnut</a:t>
            </a:r>
          </a:p>
        </p:txBody>
      </p:sp>
      <p:sp>
        <p:nvSpPr>
          <p:cNvPr id="23629" name="TextBox 129">
            <a:extLst>
              <a:ext uri="{FF2B5EF4-FFF2-40B4-BE49-F238E27FC236}">
                <a16:creationId xmlns:a16="http://schemas.microsoft.com/office/drawing/2014/main" id="{489E7B41-20C9-4493-8E7D-07238EB8FA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89567" y="3654980"/>
            <a:ext cx="468398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dirty="0">
                <a:latin typeface="Calibri" panose="020F0502020204030204" pitchFamily="34" charset="0"/>
              </a:rPr>
              <a:t>Maize</a:t>
            </a:r>
            <a:endParaRPr lang="en-GB" altLang="en-US" sz="900" dirty="0">
              <a:latin typeface="Calibri" panose="020F0502020204030204" pitchFamily="34" charset="0"/>
            </a:endParaRPr>
          </a:p>
        </p:txBody>
      </p:sp>
      <p:sp>
        <p:nvSpPr>
          <p:cNvPr id="23630" name="TextBox 130">
            <a:extLst>
              <a:ext uri="{FF2B5EF4-FFF2-40B4-BE49-F238E27FC236}">
                <a16:creationId xmlns:a16="http://schemas.microsoft.com/office/drawing/2014/main" id="{048DE5D8-5309-42DA-9D97-2935A10CB7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31" name="TextBox 131">
            <a:extLst>
              <a:ext uri="{FF2B5EF4-FFF2-40B4-BE49-F238E27FC236}">
                <a16:creationId xmlns:a16="http://schemas.microsoft.com/office/drawing/2014/main" id="{FF8B6C80-43E2-43AF-A364-A31845F05C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07288" y="3656613"/>
            <a:ext cx="67358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Limestone</a:t>
            </a:r>
          </a:p>
        </p:txBody>
      </p:sp>
      <p:sp>
        <p:nvSpPr>
          <p:cNvPr id="23632" name="TextBox 132">
            <a:extLst>
              <a:ext uri="{FF2B5EF4-FFF2-40B4-BE49-F238E27FC236}">
                <a16:creationId xmlns:a16="http://schemas.microsoft.com/office/drawing/2014/main" id="{A1C640C1-61D1-4BA5-8A76-E684397E8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46689" y="3650683"/>
            <a:ext cx="46198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Millet</a:t>
            </a:r>
          </a:p>
        </p:txBody>
      </p:sp>
      <p:sp>
        <p:nvSpPr>
          <p:cNvPr id="23638" name="TextBox 141">
            <a:extLst>
              <a:ext uri="{FF2B5EF4-FFF2-40B4-BE49-F238E27FC236}">
                <a16:creationId xmlns:a16="http://schemas.microsoft.com/office/drawing/2014/main" id="{EE481231-8673-4FD7-B5CC-900AEE7A9F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8233" y="3652271"/>
            <a:ext cx="61587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dirty="0">
                <a:latin typeface="Calibri" panose="020F0502020204030204" pitchFamily="34" charset="0"/>
              </a:rPr>
              <a:t>Livestock</a:t>
            </a:r>
            <a:endParaRPr lang="en-GB" altLang="en-US" sz="900" dirty="0">
              <a:latin typeface="Calibri" panose="020F0502020204030204" pitchFamily="34" charset="0"/>
            </a:endParaRPr>
          </a:p>
        </p:txBody>
      </p:sp>
      <p:sp>
        <p:nvSpPr>
          <p:cNvPr id="23649" name="TextBox 165">
            <a:extLst>
              <a:ext uri="{FF2B5EF4-FFF2-40B4-BE49-F238E27FC236}">
                <a16:creationId xmlns:a16="http://schemas.microsoft.com/office/drawing/2014/main" id="{1242633E-9CB1-48ED-83F4-2223DFC7ED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81236" y="4459560"/>
            <a:ext cx="55335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Cement</a:t>
            </a:r>
          </a:p>
        </p:txBody>
      </p:sp>
      <p:sp>
        <p:nvSpPr>
          <p:cNvPr id="23650" name="TextBox 166">
            <a:extLst>
              <a:ext uri="{FF2B5EF4-FFF2-40B4-BE49-F238E27FC236}">
                <a16:creationId xmlns:a16="http://schemas.microsoft.com/office/drawing/2014/main" id="{6B51369B-8FA6-464A-B908-12B0FFE6B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51841" y="4458812"/>
            <a:ext cx="37061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Fish</a:t>
            </a:r>
          </a:p>
        </p:txBody>
      </p:sp>
      <p:sp>
        <p:nvSpPr>
          <p:cNvPr id="23651" name="TextBox 167">
            <a:extLst>
              <a:ext uri="{FF2B5EF4-FFF2-40B4-BE49-F238E27FC236}">
                <a16:creationId xmlns:a16="http://schemas.microsoft.com/office/drawing/2014/main" id="{4F9404E1-8339-401B-8B10-4C7D1A8CEC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68361" y="4457881"/>
            <a:ext cx="56938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Gypsum</a:t>
            </a:r>
          </a:p>
        </p:txBody>
      </p:sp>
      <p:sp>
        <p:nvSpPr>
          <p:cNvPr id="23652" name="TextBox 168">
            <a:extLst>
              <a:ext uri="{FF2B5EF4-FFF2-40B4-BE49-F238E27FC236}">
                <a16:creationId xmlns:a16="http://schemas.microsoft.com/office/drawing/2014/main" id="{1C04917D-B2C3-4C21-8CC2-A45C349B4B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65456" y="4457133"/>
            <a:ext cx="50526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Cotton</a:t>
            </a:r>
          </a:p>
        </p:txBody>
      </p:sp>
      <p:sp>
        <p:nvSpPr>
          <p:cNvPr id="23653" name="TextBox 169">
            <a:extLst>
              <a:ext uri="{FF2B5EF4-FFF2-40B4-BE49-F238E27FC236}">
                <a16:creationId xmlns:a16="http://schemas.microsoft.com/office/drawing/2014/main" id="{4BADA327-4F2D-4897-B7C0-4647A1484B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81076" y="4457973"/>
            <a:ext cx="38023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Rice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8A28B48-1841-45BB-BFBC-EADE77B37C6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779712" y="2589213"/>
          <a:ext cx="1482725" cy="812800"/>
        </p:xfrm>
        <a:graphic>
          <a:graphicData uri="http://schemas.openxmlformats.org/drawingml/2006/table">
            <a:tbl>
              <a:tblPr/>
              <a:tblGrid>
                <a:gridCol w="11367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9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32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GB" sz="1000" b="1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Domestic</a:t>
                      </a:r>
                      <a:r>
                        <a:rPr lang="en-GB" sz="10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US" sz="1000" b="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International 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Railway</a:t>
                      </a:r>
                      <a:r>
                        <a:rPr lang="en-GB" sz="1000" b="1" kern="1200" baseline="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 Station</a:t>
                      </a:r>
                      <a:endParaRPr lang="en-GB" sz="1000" b="1" kern="1200" dirty="0">
                        <a:solidFill>
                          <a:srgbClr val="292929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32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Sea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7" name="TextBox 136">
            <a:extLst>
              <a:ext uri="{FF2B5EF4-FFF2-40B4-BE49-F238E27FC236}">
                <a16:creationId xmlns:a16="http://schemas.microsoft.com/office/drawing/2014/main" id="{2F4C4876-7073-4C13-A183-127A8909BDC0}"/>
              </a:ext>
            </a:extLst>
          </p:cNvPr>
          <p:cNvSpPr txBox="1"/>
          <p:nvPr/>
        </p:nvSpPr>
        <p:spPr>
          <a:xfrm>
            <a:off x="538163" y="5268913"/>
            <a:ext cx="373856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For further details</a:t>
            </a:r>
          </a:p>
        </p:txBody>
      </p:sp>
      <p:sp>
        <p:nvSpPr>
          <p:cNvPr id="23676" name="TextBox 156">
            <a:extLst>
              <a:ext uri="{FF2B5EF4-FFF2-40B4-BE49-F238E27FC236}">
                <a16:creationId xmlns:a16="http://schemas.microsoft.com/office/drawing/2014/main" id="{95D66AAF-6B48-4B9E-9E5B-F1BB063A89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6300" y="6342063"/>
            <a:ext cx="37306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Abbreviations: </a:t>
            </a:r>
            <a:r>
              <a:rPr lang="en-GB" altLang="en-US" sz="800" b="1" dirty="0">
                <a:latin typeface="Calibri" panose="020F0502020204030204" pitchFamily="34" charset="0"/>
              </a:rPr>
              <a:t>	NICPS</a:t>
            </a:r>
            <a:r>
              <a:rPr lang="en-GB" altLang="en-US" sz="800" dirty="0">
                <a:latin typeface="Calibri" panose="020F0502020204030204" pitchFamily="34" charset="0"/>
              </a:rPr>
              <a:t>: Nigerian Investment Certification Programme for States              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	</a:t>
            </a:r>
            <a:r>
              <a:rPr lang="en-GB" altLang="en-US" sz="800" b="1" dirty="0">
                <a:latin typeface="Calibri" panose="020F0502020204030204" pitchFamily="34" charset="0"/>
              </a:rPr>
              <a:t>IGR</a:t>
            </a:r>
            <a:r>
              <a:rPr lang="en-GB" altLang="en-US" sz="800" dirty="0">
                <a:latin typeface="Calibri" panose="020F0502020204030204" pitchFamily="34" charset="0"/>
              </a:rPr>
              <a:t>:     Internal Generated Revenue</a:t>
            </a:r>
          </a:p>
        </p:txBody>
      </p:sp>
      <p:sp>
        <p:nvSpPr>
          <p:cNvPr id="23678" name="TextBox 152">
            <a:extLst>
              <a:ext uri="{FF2B5EF4-FFF2-40B4-BE49-F238E27FC236}">
                <a16:creationId xmlns:a16="http://schemas.microsoft.com/office/drawing/2014/main" id="{BFAF6896-F732-45FC-AC47-950DF99D9E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4575" y="1189074"/>
            <a:ext cx="3446463" cy="13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15888" indent="-11588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>
              <a:buFont typeface="Arial" panose="020B0604020202020204" pitchFamily="34" charset="0"/>
              <a:buChar char="•"/>
            </a:pPr>
            <a:r>
              <a:rPr lang="en-MY" sz="1300" dirty="0">
                <a:latin typeface="Calibri" panose="020F0502020204030204" pitchFamily="34" charset="0"/>
                <a:cs typeface="Calibri" pitchFamily="34" charset="0"/>
              </a:rPr>
              <a:t>Largest cattle market in West Africa (559</a:t>
            </a:r>
            <a:r>
              <a:rPr lang="en-US" altLang="en-US" sz="1400" dirty="0">
                <a:solidFill>
                  <a:srgbClr val="000000"/>
                </a:solidFill>
                <a:latin typeface="Calibri" panose="020F0502020204030204" pitchFamily="34" charset="0"/>
              </a:rPr>
              <a:t>km</a:t>
            </a:r>
            <a:r>
              <a:rPr lang="en-US" altLang="en-US" sz="1400" baseline="30000" dirty="0">
                <a:solidFill>
                  <a:srgbClr val="000000"/>
                </a:solidFill>
                <a:latin typeface="Calibri" panose="020F0502020204030204" pitchFamily="34" charset="0"/>
              </a:rPr>
              <a:t>2</a:t>
            </a:r>
            <a:r>
              <a:rPr lang="en-US" altLang="en-US" sz="1400" dirty="0">
                <a:solidFill>
                  <a:srgbClr val="000000"/>
                </a:solidFill>
                <a:latin typeface="Calibri" panose="020F0502020204030204" pitchFamily="34" charset="0"/>
              </a:rPr>
              <a:t>)</a:t>
            </a:r>
          </a:p>
          <a:p>
            <a:pPr lvl="0">
              <a:buFont typeface="Arial" panose="020B0604020202020204" pitchFamily="34" charset="0"/>
              <a:buChar char="•"/>
            </a:pPr>
            <a:r>
              <a:rPr lang="en-MY" sz="1300" dirty="0">
                <a:latin typeface="Calibri" panose="020F0502020204030204" pitchFamily="34" charset="0"/>
                <a:cs typeface="Calibri" pitchFamily="34" charset="0"/>
              </a:rPr>
              <a:t>Huge deposits </a:t>
            </a:r>
            <a:r>
              <a:rPr lang="en-US" sz="1300" dirty="0">
                <a:latin typeface="Calibri" panose="020F0502020204030204" pitchFamily="34" charset="0"/>
                <a:cs typeface="Calibri" pitchFamily="34" charset="0"/>
              </a:rPr>
              <a:t>of gypsum, kaolin, and quartz</a:t>
            </a:r>
            <a:endParaRPr lang="en-MY" sz="1300" dirty="0">
              <a:latin typeface="Calibri" panose="020F0502020204030204" pitchFamily="34" charset="0"/>
              <a:cs typeface="Calibri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  <a:cs typeface="Calibri" pitchFamily="34" charset="0"/>
              </a:rPr>
              <a:t>One of the richest fishing grounds in Nigeri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  <a:cs typeface="Calibri" pitchFamily="34" charset="0"/>
              </a:rPr>
              <a:t>Agricultural and livestock potentials</a:t>
            </a:r>
            <a:endParaRPr lang="en-GB" sz="1300" dirty="0">
              <a:latin typeface="Calibri" panose="020F0502020204030204" pitchFamily="34" charset="0"/>
              <a:cs typeface="Calibri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  <a:cs typeface="Calibri" pitchFamily="34" charset="0"/>
              </a:rPr>
              <a:t>Goya valley: deepest gorge valley in Nigeri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  <a:cs typeface="Calibri" pitchFamily="34" charset="0"/>
              </a:rPr>
              <a:t>Tourism (</a:t>
            </a:r>
            <a:r>
              <a:rPr lang="en-GB" sz="1300" dirty="0" err="1">
                <a:latin typeface="Calibri" panose="020F0502020204030204" pitchFamily="34" charset="0"/>
                <a:cs typeface="Calibri" pitchFamily="34" charset="0"/>
              </a:rPr>
              <a:t>Dufuns</a:t>
            </a:r>
            <a:r>
              <a:rPr lang="en-GB" sz="1300" dirty="0">
                <a:latin typeface="Calibri" panose="020F0502020204030204" pitchFamily="34" charset="0"/>
                <a:cs typeface="Calibri" pitchFamily="34" charset="0"/>
              </a:rPr>
              <a:t>  canoe, Africa’s oldest boat) </a:t>
            </a:r>
            <a:endParaRPr lang="en-US" sz="1300" dirty="0">
              <a:latin typeface="Calibri" panose="020F0502020204030204" pitchFamily="34" charset="0"/>
              <a:cs typeface="Calibri" pitchFamily="34" charset="0"/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D4E23C6-26A0-4545-B8F7-7007C8EEBFE4}"/>
              </a:ext>
            </a:extLst>
          </p:cNvPr>
          <p:cNvSpPr txBox="1"/>
          <p:nvPr/>
        </p:nvSpPr>
        <p:spPr>
          <a:xfrm>
            <a:off x="4338638" y="5265738"/>
            <a:ext cx="247491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id you know?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132" name="Text Placeholder 42">
            <a:extLst>
              <a:ext uri="{FF2B5EF4-FFF2-40B4-BE49-F238E27FC236}">
                <a16:creationId xmlns:a16="http://schemas.microsoft.com/office/drawing/2014/main" id="{D510D0DC-1548-4249-8DB1-9A1055126D07}"/>
              </a:ext>
            </a:extLst>
          </p:cNvPr>
          <p:cNvSpPr txBox="1">
            <a:spLocks/>
          </p:cNvSpPr>
          <p:nvPr/>
        </p:nvSpPr>
        <p:spPr>
          <a:xfrm>
            <a:off x="522288" y="5511800"/>
            <a:ext cx="3733800" cy="701675"/>
          </a:xfrm>
          <a:prstGeom prst="rect">
            <a:avLst/>
          </a:prstGeom>
        </p:spPr>
        <p:txBody>
          <a:bodyPr lIns="36576" tIns="0" rIns="36576" bIns="0"/>
          <a:lstStyle>
            <a:lvl1pPr marL="0" indent="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/>
              <a:buNone/>
              <a:defRPr sz="800" b="1" baseline="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6575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93763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 charset="0"/>
              <a:buChar char="►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50950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619250" indent="-188913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0764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25336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29908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34480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NIGERIAN INVESTMENT PROMOTION COMMISSION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>
                <a:solidFill>
                  <a:schemeClr val="tx1"/>
                </a:solidFill>
                <a:hlinkClick r:id="rId7"/>
              </a:rPr>
              <a:t>statesco@nipc.gov.ng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endParaRPr lang="en-US" sz="5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MINISTRY OF COMMERCE, INDUSTRY AND TOURISM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>
                <a:solidFill>
                  <a:schemeClr val="tx1"/>
                </a:solidFill>
                <a:hlinkClick r:id="rId8"/>
              </a:rPr>
              <a:t>adamutalba@gmail.com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endParaRPr lang="en-US" sz="1000" b="0" kern="0" dirty="0">
              <a:solidFill>
                <a:schemeClr val="tx1"/>
              </a:solidFill>
            </a:endParaRPr>
          </a:p>
        </p:txBody>
      </p:sp>
      <p:sp>
        <p:nvSpPr>
          <p:cNvPr id="144" name="Oval 143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238751" y="3833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8" name="Oval 147">
            <a:extLst>
              <a:ext uri="{FF2B5EF4-FFF2-40B4-BE49-F238E27FC236}">
                <a16:creationId xmlns:a16="http://schemas.microsoft.com/office/drawing/2014/main" id="{FF015425-7997-4612-9D0E-1F6C433DFCC7}"/>
              </a:ext>
            </a:extLst>
          </p:cNvPr>
          <p:cNvSpPr/>
          <p:nvPr/>
        </p:nvSpPr>
        <p:spPr>
          <a:xfrm>
            <a:off x="6080877" y="3040856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2" name="Oval 151">
            <a:extLst>
              <a:ext uri="{FF2B5EF4-FFF2-40B4-BE49-F238E27FC236}">
                <a16:creationId xmlns:a16="http://schemas.microsoft.com/office/drawing/2014/main" id="{4C0B7457-CABD-4AC8-8A1A-1FD468581E4D}"/>
              </a:ext>
            </a:extLst>
          </p:cNvPr>
          <p:cNvSpPr/>
          <p:nvPr/>
        </p:nvSpPr>
        <p:spPr>
          <a:xfrm>
            <a:off x="6784796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3" name="Oval 152">
            <a:extLst>
              <a:ext uri="{FF2B5EF4-FFF2-40B4-BE49-F238E27FC236}">
                <a16:creationId xmlns:a16="http://schemas.microsoft.com/office/drawing/2014/main" id="{2D626A89-F50C-45A3-9271-5D3F2EEA9C83}"/>
              </a:ext>
            </a:extLst>
          </p:cNvPr>
          <p:cNvSpPr/>
          <p:nvPr/>
        </p:nvSpPr>
        <p:spPr>
          <a:xfrm>
            <a:off x="7518399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4" name="Oval 153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240713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5" name="Oval 154">
            <a:extLst>
              <a:ext uri="{FF2B5EF4-FFF2-40B4-BE49-F238E27FC236}">
                <a16:creationId xmlns:a16="http://schemas.microsoft.com/office/drawing/2014/main" id="{4D1FAA17-3EFF-404B-B4C4-B468BCE2E9A5}"/>
              </a:ext>
            </a:extLst>
          </p:cNvPr>
          <p:cNvSpPr/>
          <p:nvPr/>
        </p:nvSpPr>
        <p:spPr>
          <a:xfrm>
            <a:off x="6078265" y="3836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6" name="Oval 155">
            <a:extLst>
              <a:ext uri="{FF2B5EF4-FFF2-40B4-BE49-F238E27FC236}">
                <a16:creationId xmlns:a16="http://schemas.microsoft.com/office/drawing/2014/main" id="{E861211D-5D09-4577-8A09-FD96D972A5D4}"/>
              </a:ext>
            </a:extLst>
          </p:cNvPr>
          <p:cNvSpPr/>
          <p:nvPr/>
        </p:nvSpPr>
        <p:spPr>
          <a:xfrm>
            <a:off x="6780509" y="3833831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7" name="Oval 156">
            <a:extLst>
              <a:ext uri="{FF2B5EF4-FFF2-40B4-BE49-F238E27FC236}">
                <a16:creationId xmlns:a16="http://schemas.microsoft.com/office/drawing/2014/main" id="{3CBEFD1C-6360-47CD-AEDD-DFB49FC0E0C7}"/>
              </a:ext>
            </a:extLst>
          </p:cNvPr>
          <p:cNvSpPr/>
          <p:nvPr/>
        </p:nvSpPr>
        <p:spPr>
          <a:xfrm>
            <a:off x="7518603" y="3830834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8" name="Oval 157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953126" y="3843338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9" name="Oval 158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955088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27" name="Picture 3"/>
          <p:cNvPicPr>
            <a:picLocks noChangeAspect="1" noChangeArrowheads="1"/>
          </p:cNvPicPr>
          <p:nvPr/>
        </p:nvPicPr>
        <p:blipFill rotWithShape="1"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7" t="11059" r="50000" b="58904"/>
          <a:stretch/>
        </p:blipFill>
        <p:spPr bwMode="auto">
          <a:xfrm>
            <a:off x="9027870" y="3106813"/>
            <a:ext cx="470182" cy="492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8" name="Picture 127"/>
          <p:cNvPicPr>
            <a:picLocks noChangeAspect="1"/>
          </p:cNvPicPr>
          <p:nvPr/>
        </p:nvPicPr>
        <p:blipFill>
          <a:blip r:embed="rId10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2515" y="3110837"/>
            <a:ext cx="524933" cy="489661"/>
          </a:xfrm>
          <a:prstGeom prst="rect">
            <a:avLst/>
          </a:prstGeom>
        </p:spPr>
      </p:pic>
      <p:pic>
        <p:nvPicPr>
          <p:cNvPr id="129" name="Picture 128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4456" y="3867332"/>
            <a:ext cx="534996" cy="561868"/>
          </a:xfrm>
          <a:prstGeom prst="rect">
            <a:avLst/>
          </a:prstGeom>
        </p:spPr>
      </p:pic>
      <p:pic>
        <p:nvPicPr>
          <p:cNvPr id="131" name="Picture 130" descr="livestock.jpg"/>
          <p:cNvPicPr>
            <a:picLocks noChangeAspect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t="17215" r="72671" b="56268"/>
          <a:stretch>
            <a:fillRect/>
          </a:stretch>
        </p:blipFill>
        <p:spPr>
          <a:xfrm>
            <a:off x="6048036" y="3057586"/>
            <a:ext cx="750278" cy="524341"/>
          </a:xfrm>
          <a:prstGeom prst="rect">
            <a:avLst/>
          </a:prstGeom>
        </p:spPr>
      </p:pic>
      <p:pic>
        <p:nvPicPr>
          <p:cNvPr id="133" name="Picture 132">
            <a:extLst>
              <a:ext uri="{FF2B5EF4-FFF2-40B4-BE49-F238E27FC236}">
                <a16:creationId xmlns:a16="http://schemas.microsoft.com/office/drawing/2014/main" id="{4B46F167-F671-4481-8707-DCA507B058A7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16" t="17956" b="25500"/>
          <a:stretch/>
        </p:blipFill>
        <p:spPr>
          <a:xfrm>
            <a:off x="6845477" y="3895358"/>
            <a:ext cx="563983" cy="503286"/>
          </a:xfrm>
          <a:prstGeom prst="rect">
            <a:avLst/>
          </a:prstGeom>
        </p:spPr>
      </p:pic>
      <p:pic>
        <p:nvPicPr>
          <p:cNvPr id="138" name="Picture 137" descr="Maize.jpg"/>
          <p:cNvPicPr>
            <a:picLocks noChangeAspect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860745" y="3132152"/>
            <a:ext cx="549919" cy="537806"/>
          </a:xfrm>
          <a:prstGeom prst="rect">
            <a:avLst/>
          </a:prstGeom>
        </p:spPr>
      </p:pic>
      <p:pic>
        <p:nvPicPr>
          <p:cNvPr id="140" name="Picture 139" descr="rice.png"/>
          <p:cNvPicPr>
            <a:picLocks noChangeAspect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15867" r="20664"/>
          <a:stretch>
            <a:fillRect/>
          </a:stretch>
        </p:blipFill>
        <p:spPr>
          <a:xfrm>
            <a:off x="6195264" y="3900665"/>
            <a:ext cx="524341" cy="512146"/>
          </a:xfrm>
          <a:prstGeom prst="rect">
            <a:avLst/>
          </a:prstGeom>
        </p:spPr>
      </p:pic>
      <p:pic>
        <p:nvPicPr>
          <p:cNvPr id="143" name="Picture 6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6496" y="3142118"/>
            <a:ext cx="487795" cy="3708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5" name="Picture 144">
            <a:extLst>
              <a:ext uri="{FF2B5EF4-FFF2-40B4-BE49-F238E27FC236}">
                <a16:creationId xmlns:a16="http://schemas.microsoft.com/office/drawing/2014/main" id="{84648DB8-3D0B-4A26-A7B0-BE56F4A3E607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7526" y="3953151"/>
            <a:ext cx="426429" cy="426429"/>
          </a:xfrm>
          <a:prstGeom prst="rect">
            <a:avLst/>
          </a:prstGeom>
        </p:spPr>
      </p:pic>
      <p:pic>
        <p:nvPicPr>
          <p:cNvPr id="146" name="Picture 145" descr="cotton.jpg">
            <a:extLst>
              <a:ext uri="{FF2B5EF4-FFF2-40B4-BE49-F238E27FC236}">
                <a16:creationId xmlns:a16="http://schemas.microsoft.com/office/drawing/2014/main" id="{6147C0ED-4825-4743-A65E-465039E026CC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27119" t="7595" r="25217" b="55643"/>
          <a:stretch>
            <a:fillRect/>
          </a:stretch>
        </p:blipFill>
        <p:spPr>
          <a:xfrm>
            <a:off x="8347102" y="3843591"/>
            <a:ext cx="483732" cy="511553"/>
          </a:xfrm>
          <a:prstGeom prst="rect">
            <a:avLst/>
          </a:prstGeom>
        </p:spPr>
      </p:pic>
      <p:sp>
        <p:nvSpPr>
          <p:cNvPr id="147" name="TextBox 146">
            <a:extLst>
              <a:ext uri="{FF2B5EF4-FFF2-40B4-BE49-F238E27FC236}">
                <a16:creationId xmlns:a16="http://schemas.microsoft.com/office/drawing/2014/main" id="{D0A41506-8873-4C2F-B45B-4459F0229CA3}"/>
              </a:ext>
            </a:extLst>
          </p:cNvPr>
          <p:cNvSpPr txBox="1"/>
          <p:nvPr/>
        </p:nvSpPr>
        <p:spPr>
          <a:xfrm>
            <a:off x="4374578" y="4541674"/>
            <a:ext cx="17988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te Investment Certification Process Not Started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262437" y="5438168"/>
            <a:ext cx="261620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Finest grade A gum </a:t>
            </a:r>
            <a:r>
              <a:rPr lang="en-US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arabic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 can only be sourced from Yobe State </a:t>
            </a:r>
          </a:p>
        </p:txBody>
      </p:sp>
    </p:spTree>
    <p:extLst>
      <p:ext uri="{BB962C8B-B14F-4D97-AF65-F5344CB8AC3E}">
        <p14:creationId xmlns:p14="http://schemas.microsoft.com/office/powerpoint/2010/main" val="264881804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Pentagon 19">
            <a:extLst>
              <a:ext uri="{FF2B5EF4-FFF2-40B4-BE49-F238E27FC236}">
                <a16:creationId xmlns:a16="http://schemas.microsoft.com/office/drawing/2014/main" id="{CAD93C59-72A9-4F6D-A654-02B9F8A5EFF9}"/>
              </a:ext>
            </a:extLst>
          </p:cNvPr>
          <p:cNvSpPr>
            <a:spLocks/>
          </p:cNvSpPr>
          <p:nvPr/>
        </p:nvSpPr>
        <p:spPr bwMode="auto">
          <a:xfrm>
            <a:off x="756602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 of 37</a:t>
            </a:r>
          </a:p>
        </p:txBody>
      </p:sp>
      <p:sp>
        <p:nvSpPr>
          <p:cNvPr id="376" name="Pentagon 19">
            <a:extLst>
              <a:ext uri="{FF2B5EF4-FFF2-40B4-BE49-F238E27FC236}">
                <a16:creationId xmlns:a16="http://schemas.microsoft.com/office/drawing/2014/main" id="{1BDC5465-6022-4404-B4D8-ED55CF961B8A}"/>
              </a:ext>
            </a:extLst>
          </p:cNvPr>
          <p:cNvSpPr>
            <a:spLocks/>
          </p:cNvSpPr>
          <p:nvPr/>
        </p:nvSpPr>
        <p:spPr bwMode="auto">
          <a:xfrm>
            <a:off x="824865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35 of 3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57F1EBC-D01A-4083-B657-63AFB1490839}"/>
              </a:ext>
            </a:extLst>
          </p:cNvPr>
          <p:cNvSpPr txBox="1"/>
          <p:nvPr/>
        </p:nvSpPr>
        <p:spPr>
          <a:xfrm>
            <a:off x="6122988" y="2749550"/>
            <a:ext cx="3475037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nvestment Opportunit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D251BD-538A-4F4F-847E-620EEDA298A0}"/>
              </a:ext>
            </a:extLst>
          </p:cNvPr>
          <p:cNvSpPr txBox="1"/>
          <p:nvPr/>
        </p:nvSpPr>
        <p:spPr>
          <a:xfrm>
            <a:off x="6881813" y="4632911"/>
            <a:ext cx="2697162" cy="33855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oing Business Ranking(2018)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1B8F13C-F732-4DA1-9250-DB02936E7688}"/>
              </a:ext>
            </a:extLst>
          </p:cNvPr>
          <p:cNvSpPr/>
          <p:nvPr/>
        </p:nvSpPr>
        <p:spPr>
          <a:xfrm>
            <a:off x="756602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Registering Propert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6BA1818-32ED-44D1-975C-958200BDD124}"/>
              </a:ext>
            </a:extLst>
          </p:cNvPr>
          <p:cNvSpPr/>
          <p:nvPr/>
        </p:nvSpPr>
        <p:spPr>
          <a:xfrm>
            <a:off x="8248650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Dealing with Construction Permits</a:t>
            </a:r>
          </a:p>
        </p:txBody>
      </p:sp>
      <p:sp>
        <p:nvSpPr>
          <p:cNvPr id="23560" name="TextBox 174">
            <a:extLst>
              <a:ext uri="{FF2B5EF4-FFF2-40B4-BE49-F238E27FC236}">
                <a16:creationId xmlns:a16="http://schemas.microsoft.com/office/drawing/2014/main" id="{1573FD4E-62B9-45E8-8F28-CED990ED2D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0B63A6C-2A5E-4CA3-BC66-4CBC6008BC9A}"/>
              </a:ext>
            </a:extLst>
          </p:cNvPr>
          <p:cNvSpPr/>
          <p:nvPr/>
        </p:nvSpPr>
        <p:spPr>
          <a:xfrm>
            <a:off x="893127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Enforcing Contracts</a:t>
            </a:r>
          </a:p>
        </p:txBody>
      </p:sp>
      <p:pic>
        <p:nvPicPr>
          <p:cNvPr id="23562" name="Picture 4">
            <a:extLst>
              <a:ext uri="{FF2B5EF4-FFF2-40B4-BE49-F238E27FC236}">
                <a16:creationId xmlns:a16="http://schemas.microsoft.com/office/drawing/2014/main" id="{7C8EEAB2-0239-4BB5-94B3-23E319AF1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513" y="5249863"/>
            <a:ext cx="439737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6" name="Pentagon 19">
            <a:extLst>
              <a:ext uri="{FF2B5EF4-FFF2-40B4-BE49-F238E27FC236}">
                <a16:creationId xmlns:a16="http://schemas.microsoft.com/office/drawing/2014/main" id="{5F8E9670-D71A-4765-B6B5-D711BC9AD6E1}"/>
              </a:ext>
            </a:extLst>
          </p:cNvPr>
          <p:cNvSpPr>
            <a:spLocks/>
          </p:cNvSpPr>
          <p:nvPr/>
        </p:nvSpPr>
        <p:spPr bwMode="auto">
          <a:xfrm>
            <a:off x="893127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3</a:t>
            </a:r>
            <a:r>
              <a:rPr lang="en-GB" sz="1000" baseline="3000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of 37</a:t>
            </a:r>
          </a:p>
        </p:txBody>
      </p:sp>
      <p:sp>
        <p:nvSpPr>
          <p:cNvPr id="23564" name="Title 3">
            <a:extLst>
              <a:ext uri="{FF2B5EF4-FFF2-40B4-BE49-F238E27FC236}">
                <a16:creationId xmlns:a16="http://schemas.microsoft.com/office/drawing/2014/main" id="{C62A749B-CFC7-4224-A789-D20A772AC33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77813" y="222250"/>
            <a:ext cx="8543925" cy="5619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en-GB" altLang="en-US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Zamfara</a:t>
            </a:r>
            <a:r>
              <a:rPr lang="en-GB" alt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State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6882DF2C-9120-4A66-8487-575D9494F4D6}"/>
              </a:ext>
            </a:extLst>
          </p:cNvPr>
          <p:cNvSpPr txBox="1"/>
          <p:nvPr/>
        </p:nvSpPr>
        <p:spPr>
          <a:xfrm rot="16200000">
            <a:off x="-2290084" y="3478372"/>
            <a:ext cx="5303837" cy="2743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Farming is our Pride</a:t>
            </a:r>
          </a:p>
        </p:txBody>
      </p:sp>
      <p:grpSp>
        <p:nvGrpSpPr>
          <p:cNvPr id="23566" name="Group 9">
            <a:extLst>
              <a:ext uri="{FF2B5EF4-FFF2-40B4-BE49-F238E27FC236}">
                <a16:creationId xmlns:a16="http://schemas.microsoft.com/office/drawing/2014/main" id="{5B6131BD-3CE3-4FC4-B13A-FA9B797C1EF5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41338" y="963613"/>
            <a:ext cx="2897187" cy="2319337"/>
            <a:chOff x="770228" y="1459989"/>
            <a:chExt cx="4081047" cy="3267527"/>
          </a:xfrm>
        </p:grpSpPr>
        <p:sp>
          <p:nvSpPr>
            <p:cNvPr id="299" name="Freeform 4">
              <a:extLst>
                <a:ext uri="{FF2B5EF4-FFF2-40B4-BE49-F238E27FC236}">
                  <a16:creationId xmlns:a16="http://schemas.microsoft.com/office/drawing/2014/main" id="{B6150C82-CBE5-48B4-B60C-C210BB7B26A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91538" y="4349548"/>
              <a:ext cx="418167" cy="377968"/>
            </a:xfrm>
            <a:custGeom>
              <a:avLst/>
              <a:gdLst>
                <a:gd name="T0" fmla="*/ 12 w 786"/>
                <a:gd name="T1" fmla="*/ 19 h 714"/>
                <a:gd name="T2" fmla="*/ 22 w 786"/>
                <a:gd name="T3" fmla="*/ 18 h 714"/>
                <a:gd name="T4" fmla="*/ 27 w 786"/>
                <a:gd name="T5" fmla="*/ 17 h 714"/>
                <a:gd name="T6" fmla="*/ 30 w 786"/>
                <a:gd name="T7" fmla="*/ 14 h 714"/>
                <a:gd name="T8" fmla="*/ 37 w 786"/>
                <a:gd name="T9" fmla="*/ 16 h 714"/>
                <a:gd name="T10" fmla="*/ 43 w 786"/>
                <a:gd name="T11" fmla="*/ 13 h 714"/>
                <a:gd name="T12" fmla="*/ 48 w 786"/>
                <a:gd name="T13" fmla="*/ 8 h 714"/>
                <a:gd name="T14" fmla="*/ 55 w 786"/>
                <a:gd name="T15" fmla="*/ 4 h 714"/>
                <a:gd name="T16" fmla="*/ 66 w 786"/>
                <a:gd name="T17" fmla="*/ 0 h 714"/>
                <a:gd name="T18" fmla="*/ 63 w 786"/>
                <a:gd name="T19" fmla="*/ 12 h 714"/>
                <a:gd name="T20" fmla="*/ 59 w 786"/>
                <a:gd name="T21" fmla="*/ 19 h 714"/>
                <a:gd name="T22" fmla="*/ 57 w 786"/>
                <a:gd name="T23" fmla="*/ 29 h 714"/>
                <a:gd name="T24" fmla="*/ 59 w 786"/>
                <a:gd name="T25" fmla="*/ 36 h 714"/>
                <a:gd name="T26" fmla="*/ 66 w 786"/>
                <a:gd name="T27" fmla="*/ 35 h 714"/>
                <a:gd name="T28" fmla="*/ 64 w 786"/>
                <a:gd name="T29" fmla="*/ 41 h 714"/>
                <a:gd name="T30" fmla="*/ 64 w 786"/>
                <a:gd name="T31" fmla="*/ 48 h 714"/>
                <a:gd name="T32" fmla="*/ 63 w 786"/>
                <a:gd name="T33" fmla="*/ 56 h 714"/>
                <a:gd name="T34" fmla="*/ 60 w 786"/>
                <a:gd name="T35" fmla="*/ 60 h 714"/>
                <a:gd name="T36" fmla="*/ 57 w 786"/>
                <a:gd name="T37" fmla="*/ 58 h 714"/>
                <a:gd name="T38" fmla="*/ 54 w 786"/>
                <a:gd name="T39" fmla="*/ 54 h 714"/>
                <a:gd name="T40" fmla="*/ 53 w 786"/>
                <a:gd name="T41" fmla="*/ 51 h 714"/>
                <a:gd name="T42" fmla="*/ 51 w 786"/>
                <a:gd name="T43" fmla="*/ 53 h 714"/>
                <a:gd name="T44" fmla="*/ 49 w 786"/>
                <a:gd name="T45" fmla="*/ 54 h 714"/>
                <a:gd name="T46" fmla="*/ 47 w 786"/>
                <a:gd name="T47" fmla="*/ 50 h 714"/>
                <a:gd name="T48" fmla="*/ 48 w 786"/>
                <a:gd name="T49" fmla="*/ 54 h 714"/>
                <a:gd name="T50" fmla="*/ 47 w 786"/>
                <a:gd name="T51" fmla="*/ 54 h 714"/>
                <a:gd name="T52" fmla="*/ 46 w 786"/>
                <a:gd name="T53" fmla="*/ 59 h 714"/>
                <a:gd name="T54" fmla="*/ 47 w 786"/>
                <a:gd name="T55" fmla="*/ 62 h 714"/>
                <a:gd name="T56" fmla="*/ 42 w 786"/>
                <a:gd name="T57" fmla="*/ 62 h 714"/>
                <a:gd name="T58" fmla="*/ 39 w 786"/>
                <a:gd name="T59" fmla="*/ 57 h 714"/>
                <a:gd name="T60" fmla="*/ 40 w 786"/>
                <a:gd name="T61" fmla="*/ 54 h 714"/>
                <a:gd name="T62" fmla="*/ 43 w 786"/>
                <a:gd name="T63" fmla="*/ 55 h 714"/>
                <a:gd name="T64" fmla="*/ 40 w 786"/>
                <a:gd name="T65" fmla="*/ 53 h 714"/>
                <a:gd name="T66" fmla="*/ 38 w 786"/>
                <a:gd name="T67" fmla="*/ 57 h 714"/>
                <a:gd name="T68" fmla="*/ 37 w 786"/>
                <a:gd name="T69" fmla="*/ 57 h 714"/>
                <a:gd name="T70" fmla="*/ 37 w 786"/>
                <a:gd name="T71" fmla="*/ 60 h 714"/>
                <a:gd name="T72" fmla="*/ 33 w 786"/>
                <a:gd name="T73" fmla="*/ 56 h 714"/>
                <a:gd name="T74" fmla="*/ 32 w 786"/>
                <a:gd name="T75" fmla="*/ 58 h 714"/>
                <a:gd name="T76" fmla="*/ 26 w 786"/>
                <a:gd name="T77" fmla="*/ 54 h 714"/>
                <a:gd name="T78" fmla="*/ 26 w 786"/>
                <a:gd name="T79" fmla="*/ 54 h 714"/>
                <a:gd name="T80" fmla="*/ 24 w 786"/>
                <a:gd name="T81" fmla="*/ 51 h 714"/>
                <a:gd name="T82" fmla="*/ 22 w 786"/>
                <a:gd name="T83" fmla="*/ 51 h 714"/>
                <a:gd name="T84" fmla="*/ 20 w 786"/>
                <a:gd name="T85" fmla="*/ 50 h 714"/>
                <a:gd name="T86" fmla="*/ 20 w 786"/>
                <a:gd name="T87" fmla="*/ 48 h 714"/>
                <a:gd name="T88" fmla="*/ 18 w 786"/>
                <a:gd name="T89" fmla="*/ 47 h 714"/>
                <a:gd name="T90" fmla="*/ 15 w 786"/>
                <a:gd name="T91" fmla="*/ 45 h 714"/>
                <a:gd name="T92" fmla="*/ 11 w 786"/>
                <a:gd name="T93" fmla="*/ 39 h 714"/>
                <a:gd name="T94" fmla="*/ 12 w 786"/>
                <a:gd name="T95" fmla="*/ 36 h 714"/>
                <a:gd name="T96" fmla="*/ 7 w 786"/>
                <a:gd name="T97" fmla="*/ 33 h 714"/>
                <a:gd name="T98" fmla="*/ 5 w 786"/>
                <a:gd name="T99" fmla="*/ 28 h 714"/>
                <a:gd name="T100" fmla="*/ 7 w 786"/>
                <a:gd name="T101" fmla="*/ 30 h 714"/>
                <a:gd name="T102" fmla="*/ 4 w 786"/>
                <a:gd name="T103" fmla="*/ 24 h 714"/>
                <a:gd name="T104" fmla="*/ 2 w 786"/>
                <a:gd name="T105" fmla="*/ 20 h 714"/>
                <a:gd name="T106" fmla="*/ 0 w 786"/>
                <a:gd name="T107" fmla="*/ 15 h 714"/>
                <a:gd name="T108" fmla="*/ 4 w 786"/>
                <a:gd name="T109" fmla="*/ 16 h 714"/>
                <a:gd name="T110" fmla="*/ 55 w 786"/>
                <a:gd name="T111" fmla="*/ 60 h 714"/>
                <a:gd name="T112" fmla="*/ 47 w 786"/>
                <a:gd name="T113" fmla="*/ 60 h 714"/>
                <a:gd name="T114" fmla="*/ 51 w 786"/>
                <a:gd name="T115" fmla="*/ 54 h 714"/>
                <a:gd name="T116" fmla="*/ 54 w 786"/>
                <a:gd name="T117" fmla="*/ 56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86"/>
                <a:gd name="T178" fmla="*/ 0 h 714"/>
                <a:gd name="T179" fmla="*/ 786 w 786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86" h="714">
                  <a:moveTo>
                    <a:pt x="54" y="186"/>
                  </a:moveTo>
                  <a:lnTo>
                    <a:pt x="54" y="192"/>
                  </a:lnTo>
                  <a:lnTo>
                    <a:pt x="72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204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20" y="210"/>
                  </a:lnTo>
                  <a:lnTo>
                    <a:pt x="126" y="210"/>
                  </a:lnTo>
                  <a:lnTo>
                    <a:pt x="132" y="210"/>
                  </a:lnTo>
                  <a:lnTo>
                    <a:pt x="132" y="216"/>
                  </a:lnTo>
                  <a:lnTo>
                    <a:pt x="138" y="222"/>
                  </a:lnTo>
                  <a:lnTo>
                    <a:pt x="150" y="222"/>
                  </a:lnTo>
                  <a:lnTo>
                    <a:pt x="162" y="234"/>
                  </a:lnTo>
                  <a:lnTo>
                    <a:pt x="168" y="240"/>
                  </a:lnTo>
                  <a:lnTo>
                    <a:pt x="180" y="240"/>
                  </a:lnTo>
                  <a:lnTo>
                    <a:pt x="186" y="228"/>
                  </a:lnTo>
                  <a:lnTo>
                    <a:pt x="210" y="234"/>
                  </a:lnTo>
                  <a:lnTo>
                    <a:pt x="222" y="228"/>
                  </a:lnTo>
                  <a:lnTo>
                    <a:pt x="228" y="216"/>
                  </a:lnTo>
                  <a:lnTo>
                    <a:pt x="234" y="210"/>
                  </a:lnTo>
                  <a:lnTo>
                    <a:pt x="240" y="216"/>
                  </a:lnTo>
                  <a:lnTo>
                    <a:pt x="246" y="210"/>
                  </a:lnTo>
                  <a:lnTo>
                    <a:pt x="252" y="210"/>
                  </a:lnTo>
                  <a:lnTo>
                    <a:pt x="258" y="210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192"/>
                  </a:lnTo>
                  <a:lnTo>
                    <a:pt x="270" y="192"/>
                  </a:lnTo>
                  <a:lnTo>
                    <a:pt x="276" y="192"/>
                  </a:lnTo>
                  <a:lnTo>
                    <a:pt x="282" y="192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192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198"/>
                  </a:lnTo>
                  <a:lnTo>
                    <a:pt x="312" y="198"/>
                  </a:lnTo>
                  <a:lnTo>
                    <a:pt x="312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24" y="186"/>
                  </a:lnTo>
                  <a:lnTo>
                    <a:pt x="318" y="180"/>
                  </a:lnTo>
                  <a:lnTo>
                    <a:pt x="324" y="180"/>
                  </a:lnTo>
                  <a:lnTo>
                    <a:pt x="330" y="186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74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54" y="144"/>
                  </a:lnTo>
                  <a:lnTo>
                    <a:pt x="360" y="144"/>
                  </a:lnTo>
                  <a:lnTo>
                    <a:pt x="372" y="156"/>
                  </a:lnTo>
                  <a:lnTo>
                    <a:pt x="372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96" y="168"/>
                  </a:lnTo>
                  <a:lnTo>
                    <a:pt x="396" y="174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26" y="186"/>
                  </a:lnTo>
                  <a:lnTo>
                    <a:pt x="432" y="186"/>
                  </a:lnTo>
                  <a:lnTo>
                    <a:pt x="438" y="180"/>
                  </a:lnTo>
                  <a:lnTo>
                    <a:pt x="438" y="168"/>
                  </a:lnTo>
                  <a:lnTo>
                    <a:pt x="438" y="162"/>
                  </a:lnTo>
                  <a:lnTo>
                    <a:pt x="444" y="156"/>
                  </a:lnTo>
                  <a:lnTo>
                    <a:pt x="450" y="156"/>
                  </a:lnTo>
                  <a:lnTo>
                    <a:pt x="456" y="150"/>
                  </a:lnTo>
                  <a:lnTo>
                    <a:pt x="462" y="156"/>
                  </a:lnTo>
                  <a:lnTo>
                    <a:pt x="468" y="162"/>
                  </a:lnTo>
                  <a:lnTo>
                    <a:pt x="474" y="162"/>
                  </a:lnTo>
                  <a:lnTo>
                    <a:pt x="486" y="162"/>
                  </a:lnTo>
                  <a:lnTo>
                    <a:pt x="492" y="156"/>
                  </a:lnTo>
                  <a:lnTo>
                    <a:pt x="498" y="150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28" y="126"/>
                  </a:lnTo>
                  <a:lnTo>
                    <a:pt x="522" y="120"/>
                  </a:lnTo>
                  <a:lnTo>
                    <a:pt x="522" y="114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28" y="102"/>
                  </a:lnTo>
                  <a:lnTo>
                    <a:pt x="534" y="96"/>
                  </a:lnTo>
                  <a:lnTo>
                    <a:pt x="552" y="96"/>
                  </a:lnTo>
                  <a:lnTo>
                    <a:pt x="570" y="102"/>
                  </a:lnTo>
                  <a:lnTo>
                    <a:pt x="582" y="96"/>
                  </a:lnTo>
                  <a:lnTo>
                    <a:pt x="582" y="90"/>
                  </a:lnTo>
                  <a:lnTo>
                    <a:pt x="582" y="78"/>
                  </a:lnTo>
                  <a:lnTo>
                    <a:pt x="582" y="72"/>
                  </a:lnTo>
                  <a:lnTo>
                    <a:pt x="582" y="66"/>
                  </a:lnTo>
                  <a:lnTo>
                    <a:pt x="594" y="60"/>
                  </a:lnTo>
                  <a:lnTo>
                    <a:pt x="600" y="60"/>
                  </a:lnTo>
                  <a:lnTo>
                    <a:pt x="606" y="54"/>
                  </a:lnTo>
                  <a:lnTo>
                    <a:pt x="618" y="48"/>
                  </a:lnTo>
                  <a:lnTo>
                    <a:pt x="618" y="42"/>
                  </a:lnTo>
                  <a:lnTo>
                    <a:pt x="624" y="42"/>
                  </a:lnTo>
                  <a:lnTo>
                    <a:pt x="636" y="48"/>
                  </a:lnTo>
                  <a:lnTo>
                    <a:pt x="648" y="54"/>
                  </a:lnTo>
                  <a:lnTo>
                    <a:pt x="660" y="54"/>
                  </a:lnTo>
                  <a:lnTo>
                    <a:pt x="666" y="60"/>
                  </a:lnTo>
                  <a:lnTo>
                    <a:pt x="672" y="54"/>
                  </a:lnTo>
                  <a:lnTo>
                    <a:pt x="684" y="48"/>
                  </a:lnTo>
                  <a:lnTo>
                    <a:pt x="708" y="42"/>
                  </a:lnTo>
                  <a:lnTo>
                    <a:pt x="714" y="42"/>
                  </a:lnTo>
                  <a:lnTo>
                    <a:pt x="720" y="36"/>
                  </a:lnTo>
                  <a:lnTo>
                    <a:pt x="720" y="30"/>
                  </a:lnTo>
                  <a:lnTo>
                    <a:pt x="714" y="12"/>
                  </a:lnTo>
                  <a:lnTo>
                    <a:pt x="708" y="0"/>
                  </a:lnTo>
                  <a:lnTo>
                    <a:pt x="738" y="6"/>
                  </a:lnTo>
                  <a:lnTo>
                    <a:pt x="756" y="6"/>
                  </a:lnTo>
                  <a:lnTo>
                    <a:pt x="762" y="42"/>
                  </a:lnTo>
                  <a:lnTo>
                    <a:pt x="738" y="72"/>
                  </a:lnTo>
                  <a:lnTo>
                    <a:pt x="750" y="90"/>
                  </a:lnTo>
                  <a:lnTo>
                    <a:pt x="762" y="96"/>
                  </a:lnTo>
                  <a:lnTo>
                    <a:pt x="756" y="102"/>
                  </a:lnTo>
                  <a:lnTo>
                    <a:pt x="750" y="108"/>
                  </a:lnTo>
                  <a:lnTo>
                    <a:pt x="750" y="114"/>
                  </a:lnTo>
                  <a:lnTo>
                    <a:pt x="750" y="120"/>
                  </a:lnTo>
                  <a:lnTo>
                    <a:pt x="750" y="126"/>
                  </a:lnTo>
                  <a:lnTo>
                    <a:pt x="750" y="132"/>
                  </a:lnTo>
                  <a:lnTo>
                    <a:pt x="738" y="132"/>
                  </a:lnTo>
                  <a:lnTo>
                    <a:pt x="732" y="138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14" y="144"/>
                  </a:lnTo>
                  <a:lnTo>
                    <a:pt x="714" y="150"/>
                  </a:lnTo>
                  <a:lnTo>
                    <a:pt x="720" y="156"/>
                  </a:lnTo>
                  <a:lnTo>
                    <a:pt x="720" y="162"/>
                  </a:lnTo>
                  <a:lnTo>
                    <a:pt x="714" y="162"/>
                  </a:lnTo>
                  <a:lnTo>
                    <a:pt x="708" y="168"/>
                  </a:lnTo>
                  <a:lnTo>
                    <a:pt x="708" y="180"/>
                  </a:lnTo>
                  <a:lnTo>
                    <a:pt x="708" y="192"/>
                  </a:lnTo>
                  <a:lnTo>
                    <a:pt x="696" y="198"/>
                  </a:lnTo>
                  <a:lnTo>
                    <a:pt x="696" y="204"/>
                  </a:lnTo>
                  <a:lnTo>
                    <a:pt x="684" y="210"/>
                  </a:lnTo>
                  <a:lnTo>
                    <a:pt x="684" y="216"/>
                  </a:lnTo>
                  <a:lnTo>
                    <a:pt x="684" y="222"/>
                  </a:lnTo>
                  <a:lnTo>
                    <a:pt x="678" y="228"/>
                  </a:lnTo>
                  <a:lnTo>
                    <a:pt x="678" y="234"/>
                  </a:lnTo>
                  <a:lnTo>
                    <a:pt x="672" y="240"/>
                  </a:lnTo>
                  <a:lnTo>
                    <a:pt x="672" y="252"/>
                  </a:lnTo>
                  <a:lnTo>
                    <a:pt x="672" y="258"/>
                  </a:lnTo>
                  <a:lnTo>
                    <a:pt x="666" y="264"/>
                  </a:lnTo>
                  <a:lnTo>
                    <a:pt x="678" y="264"/>
                  </a:lnTo>
                  <a:lnTo>
                    <a:pt x="684" y="276"/>
                  </a:lnTo>
                  <a:lnTo>
                    <a:pt x="684" y="288"/>
                  </a:lnTo>
                  <a:lnTo>
                    <a:pt x="672" y="300"/>
                  </a:lnTo>
                  <a:lnTo>
                    <a:pt x="660" y="318"/>
                  </a:lnTo>
                  <a:lnTo>
                    <a:pt x="660" y="336"/>
                  </a:lnTo>
                  <a:lnTo>
                    <a:pt x="654" y="342"/>
                  </a:lnTo>
                  <a:lnTo>
                    <a:pt x="660" y="354"/>
                  </a:lnTo>
                  <a:lnTo>
                    <a:pt x="660" y="366"/>
                  </a:lnTo>
                  <a:lnTo>
                    <a:pt x="666" y="378"/>
                  </a:lnTo>
                  <a:lnTo>
                    <a:pt x="672" y="390"/>
                  </a:lnTo>
                  <a:lnTo>
                    <a:pt x="678" y="396"/>
                  </a:lnTo>
                  <a:lnTo>
                    <a:pt x="684" y="390"/>
                  </a:lnTo>
                  <a:lnTo>
                    <a:pt x="690" y="390"/>
                  </a:lnTo>
                  <a:lnTo>
                    <a:pt x="690" y="396"/>
                  </a:lnTo>
                  <a:lnTo>
                    <a:pt x="684" y="396"/>
                  </a:lnTo>
                  <a:lnTo>
                    <a:pt x="684" y="402"/>
                  </a:lnTo>
                  <a:lnTo>
                    <a:pt x="684" y="408"/>
                  </a:lnTo>
                  <a:lnTo>
                    <a:pt x="678" y="414"/>
                  </a:lnTo>
                  <a:lnTo>
                    <a:pt x="684" y="414"/>
                  </a:lnTo>
                  <a:lnTo>
                    <a:pt x="684" y="420"/>
                  </a:lnTo>
                  <a:lnTo>
                    <a:pt x="684" y="426"/>
                  </a:lnTo>
                  <a:lnTo>
                    <a:pt x="690" y="420"/>
                  </a:lnTo>
                  <a:lnTo>
                    <a:pt x="696" y="420"/>
                  </a:lnTo>
                  <a:lnTo>
                    <a:pt x="696" y="426"/>
                  </a:lnTo>
                  <a:lnTo>
                    <a:pt x="690" y="426"/>
                  </a:lnTo>
                  <a:lnTo>
                    <a:pt x="696" y="426"/>
                  </a:lnTo>
                  <a:lnTo>
                    <a:pt x="708" y="426"/>
                  </a:lnTo>
                  <a:lnTo>
                    <a:pt x="726" y="414"/>
                  </a:lnTo>
                  <a:lnTo>
                    <a:pt x="732" y="408"/>
                  </a:lnTo>
                  <a:lnTo>
                    <a:pt x="744" y="402"/>
                  </a:lnTo>
                  <a:lnTo>
                    <a:pt x="756" y="402"/>
                  </a:lnTo>
                  <a:lnTo>
                    <a:pt x="768" y="402"/>
                  </a:lnTo>
                  <a:lnTo>
                    <a:pt x="786" y="408"/>
                  </a:lnTo>
                  <a:lnTo>
                    <a:pt x="786" y="414"/>
                  </a:lnTo>
                  <a:lnTo>
                    <a:pt x="774" y="420"/>
                  </a:lnTo>
                  <a:lnTo>
                    <a:pt x="774" y="426"/>
                  </a:lnTo>
                  <a:lnTo>
                    <a:pt x="768" y="432"/>
                  </a:lnTo>
                  <a:lnTo>
                    <a:pt x="762" y="438"/>
                  </a:lnTo>
                  <a:lnTo>
                    <a:pt x="756" y="438"/>
                  </a:lnTo>
                  <a:lnTo>
                    <a:pt x="756" y="444"/>
                  </a:lnTo>
                  <a:lnTo>
                    <a:pt x="756" y="450"/>
                  </a:lnTo>
                  <a:lnTo>
                    <a:pt x="762" y="450"/>
                  </a:lnTo>
                  <a:lnTo>
                    <a:pt x="750" y="456"/>
                  </a:lnTo>
                  <a:lnTo>
                    <a:pt x="738" y="468"/>
                  </a:lnTo>
                  <a:lnTo>
                    <a:pt x="726" y="480"/>
                  </a:lnTo>
                  <a:lnTo>
                    <a:pt x="726" y="486"/>
                  </a:lnTo>
                  <a:lnTo>
                    <a:pt x="732" y="486"/>
                  </a:lnTo>
                  <a:lnTo>
                    <a:pt x="732" y="492"/>
                  </a:lnTo>
                  <a:lnTo>
                    <a:pt x="732" y="504"/>
                  </a:lnTo>
                  <a:lnTo>
                    <a:pt x="738" y="504"/>
                  </a:lnTo>
                  <a:lnTo>
                    <a:pt x="744" y="510"/>
                  </a:lnTo>
                  <a:lnTo>
                    <a:pt x="738" y="522"/>
                  </a:lnTo>
                  <a:lnTo>
                    <a:pt x="744" y="528"/>
                  </a:lnTo>
                  <a:lnTo>
                    <a:pt x="756" y="534"/>
                  </a:lnTo>
                  <a:lnTo>
                    <a:pt x="756" y="540"/>
                  </a:lnTo>
                  <a:lnTo>
                    <a:pt x="744" y="552"/>
                  </a:lnTo>
                  <a:lnTo>
                    <a:pt x="738" y="552"/>
                  </a:lnTo>
                  <a:lnTo>
                    <a:pt x="738" y="558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64"/>
                  </a:lnTo>
                  <a:lnTo>
                    <a:pt x="744" y="576"/>
                  </a:lnTo>
                  <a:lnTo>
                    <a:pt x="738" y="588"/>
                  </a:lnTo>
                  <a:lnTo>
                    <a:pt x="738" y="594"/>
                  </a:lnTo>
                  <a:lnTo>
                    <a:pt x="738" y="600"/>
                  </a:lnTo>
                  <a:lnTo>
                    <a:pt x="738" y="606"/>
                  </a:lnTo>
                  <a:lnTo>
                    <a:pt x="732" y="612"/>
                  </a:lnTo>
                  <a:lnTo>
                    <a:pt x="726" y="624"/>
                  </a:lnTo>
                  <a:lnTo>
                    <a:pt x="726" y="636"/>
                  </a:lnTo>
                  <a:lnTo>
                    <a:pt x="726" y="648"/>
                  </a:lnTo>
                  <a:lnTo>
                    <a:pt x="738" y="654"/>
                  </a:lnTo>
                  <a:lnTo>
                    <a:pt x="750" y="660"/>
                  </a:lnTo>
                  <a:lnTo>
                    <a:pt x="750" y="666"/>
                  </a:lnTo>
                  <a:lnTo>
                    <a:pt x="750" y="678"/>
                  </a:lnTo>
                  <a:lnTo>
                    <a:pt x="744" y="678"/>
                  </a:lnTo>
                  <a:lnTo>
                    <a:pt x="738" y="684"/>
                  </a:lnTo>
                  <a:lnTo>
                    <a:pt x="732" y="684"/>
                  </a:lnTo>
                  <a:lnTo>
                    <a:pt x="720" y="678"/>
                  </a:lnTo>
                  <a:lnTo>
                    <a:pt x="714" y="684"/>
                  </a:lnTo>
                  <a:lnTo>
                    <a:pt x="708" y="684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0" y="690"/>
                  </a:lnTo>
                  <a:lnTo>
                    <a:pt x="690" y="684"/>
                  </a:lnTo>
                  <a:lnTo>
                    <a:pt x="690" y="690"/>
                  </a:lnTo>
                  <a:lnTo>
                    <a:pt x="684" y="690"/>
                  </a:lnTo>
                  <a:lnTo>
                    <a:pt x="684" y="684"/>
                  </a:lnTo>
                  <a:lnTo>
                    <a:pt x="678" y="684"/>
                  </a:lnTo>
                  <a:lnTo>
                    <a:pt x="672" y="678"/>
                  </a:lnTo>
                  <a:lnTo>
                    <a:pt x="672" y="672"/>
                  </a:lnTo>
                  <a:lnTo>
                    <a:pt x="678" y="672"/>
                  </a:lnTo>
                  <a:lnTo>
                    <a:pt x="672" y="672"/>
                  </a:lnTo>
                  <a:lnTo>
                    <a:pt x="666" y="672"/>
                  </a:lnTo>
                  <a:lnTo>
                    <a:pt x="660" y="672"/>
                  </a:lnTo>
                  <a:lnTo>
                    <a:pt x="654" y="672"/>
                  </a:lnTo>
                  <a:lnTo>
                    <a:pt x="654" y="666"/>
                  </a:lnTo>
                  <a:lnTo>
                    <a:pt x="648" y="666"/>
                  </a:lnTo>
                  <a:lnTo>
                    <a:pt x="642" y="660"/>
                  </a:lnTo>
                  <a:lnTo>
                    <a:pt x="642" y="654"/>
                  </a:lnTo>
                  <a:lnTo>
                    <a:pt x="642" y="648"/>
                  </a:lnTo>
                  <a:lnTo>
                    <a:pt x="636" y="648"/>
                  </a:lnTo>
                  <a:lnTo>
                    <a:pt x="630" y="648"/>
                  </a:lnTo>
                  <a:lnTo>
                    <a:pt x="624" y="648"/>
                  </a:lnTo>
                  <a:lnTo>
                    <a:pt x="624" y="642"/>
                  </a:lnTo>
                  <a:lnTo>
                    <a:pt x="618" y="636"/>
                  </a:lnTo>
                  <a:lnTo>
                    <a:pt x="624" y="636"/>
                  </a:lnTo>
                  <a:lnTo>
                    <a:pt x="624" y="630"/>
                  </a:lnTo>
                  <a:lnTo>
                    <a:pt x="618" y="630"/>
                  </a:lnTo>
                  <a:lnTo>
                    <a:pt x="618" y="624"/>
                  </a:lnTo>
                  <a:lnTo>
                    <a:pt x="618" y="618"/>
                  </a:lnTo>
                  <a:lnTo>
                    <a:pt x="618" y="612"/>
                  </a:lnTo>
                  <a:lnTo>
                    <a:pt x="618" y="606"/>
                  </a:lnTo>
                  <a:lnTo>
                    <a:pt x="624" y="606"/>
                  </a:lnTo>
                  <a:lnTo>
                    <a:pt x="624" y="600"/>
                  </a:lnTo>
                  <a:lnTo>
                    <a:pt x="618" y="600"/>
                  </a:lnTo>
                  <a:lnTo>
                    <a:pt x="618" y="594"/>
                  </a:lnTo>
                  <a:lnTo>
                    <a:pt x="618" y="588"/>
                  </a:lnTo>
                  <a:lnTo>
                    <a:pt x="618" y="582"/>
                  </a:lnTo>
                  <a:lnTo>
                    <a:pt x="612" y="582"/>
                  </a:lnTo>
                  <a:lnTo>
                    <a:pt x="606" y="582"/>
                  </a:lnTo>
                  <a:lnTo>
                    <a:pt x="612" y="582"/>
                  </a:lnTo>
                  <a:lnTo>
                    <a:pt x="612" y="588"/>
                  </a:lnTo>
                  <a:lnTo>
                    <a:pt x="612" y="594"/>
                  </a:lnTo>
                  <a:lnTo>
                    <a:pt x="618" y="594"/>
                  </a:lnTo>
                  <a:lnTo>
                    <a:pt x="618" y="600"/>
                  </a:lnTo>
                  <a:lnTo>
                    <a:pt x="618" y="606"/>
                  </a:lnTo>
                  <a:lnTo>
                    <a:pt x="618" y="612"/>
                  </a:lnTo>
                  <a:lnTo>
                    <a:pt x="612" y="612"/>
                  </a:lnTo>
                  <a:lnTo>
                    <a:pt x="612" y="618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94" y="612"/>
                  </a:lnTo>
                  <a:lnTo>
                    <a:pt x="588" y="606"/>
                  </a:lnTo>
                  <a:lnTo>
                    <a:pt x="588" y="612"/>
                  </a:lnTo>
                  <a:lnTo>
                    <a:pt x="594" y="612"/>
                  </a:lnTo>
                  <a:lnTo>
                    <a:pt x="594" y="618"/>
                  </a:lnTo>
                  <a:lnTo>
                    <a:pt x="588" y="618"/>
                  </a:lnTo>
                  <a:lnTo>
                    <a:pt x="588" y="624"/>
                  </a:lnTo>
                  <a:lnTo>
                    <a:pt x="582" y="624"/>
                  </a:lnTo>
                  <a:lnTo>
                    <a:pt x="582" y="630"/>
                  </a:lnTo>
                  <a:lnTo>
                    <a:pt x="576" y="630"/>
                  </a:lnTo>
                  <a:lnTo>
                    <a:pt x="576" y="636"/>
                  </a:lnTo>
                  <a:lnTo>
                    <a:pt x="570" y="636"/>
                  </a:lnTo>
                  <a:lnTo>
                    <a:pt x="570" y="642"/>
                  </a:lnTo>
                  <a:lnTo>
                    <a:pt x="564" y="642"/>
                  </a:lnTo>
                  <a:lnTo>
                    <a:pt x="564" y="636"/>
                  </a:lnTo>
                  <a:lnTo>
                    <a:pt x="564" y="630"/>
                  </a:lnTo>
                  <a:lnTo>
                    <a:pt x="564" y="624"/>
                  </a:lnTo>
                  <a:lnTo>
                    <a:pt x="564" y="618"/>
                  </a:lnTo>
                  <a:lnTo>
                    <a:pt x="570" y="612"/>
                  </a:lnTo>
                  <a:lnTo>
                    <a:pt x="564" y="606"/>
                  </a:lnTo>
                  <a:lnTo>
                    <a:pt x="564" y="600"/>
                  </a:lnTo>
                  <a:lnTo>
                    <a:pt x="564" y="594"/>
                  </a:lnTo>
                  <a:lnTo>
                    <a:pt x="558" y="594"/>
                  </a:lnTo>
                  <a:lnTo>
                    <a:pt x="558" y="588"/>
                  </a:lnTo>
                  <a:lnTo>
                    <a:pt x="552" y="582"/>
                  </a:lnTo>
                  <a:lnTo>
                    <a:pt x="552" y="576"/>
                  </a:lnTo>
                  <a:lnTo>
                    <a:pt x="552" y="570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6" y="582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58" y="588"/>
                  </a:lnTo>
                  <a:lnTo>
                    <a:pt x="558" y="594"/>
                  </a:lnTo>
                  <a:lnTo>
                    <a:pt x="558" y="600"/>
                  </a:lnTo>
                  <a:lnTo>
                    <a:pt x="558" y="606"/>
                  </a:lnTo>
                  <a:lnTo>
                    <a:pt x="552" y="612"/>
                  </a:lnTo>
                  <a:lnTo>
                    <a:pt x="558" y="612"/>
                  </a:lnTo>
                  <a:lnTo>
                    <a:pt x="558" y="618"/>
                  </a:lnTo>
                  <a:lnTo>
                    <a:pt x="558" y="624"/>
                  </a:lnTo>
                  <a:lnTo>
                    <a:pt x="558" y="630"/>
                  </a:lnTo>
                  <a:lnTo>
                    <a:pt x="552" y="630"/>
                  </a:lnTo>
                  <a:lnTo>
                    <a:pt x="552" y="624"/>
                  </a:lnTo>
                  <a:lnTo>
                    <a:pt x="546" y="624"/>
                  </a:lnTo>
                  <a:lnTo>
                    <a:pt x="546" y="618"/>
                  </a:lnTo>
                  <a:lnTo>
                    <a:pt x="546" y="612"/>
                  </a:lnTo>
                  <a:lnTo>
                    <a:pt x="540" y="612"/>
                  </a:lnTo>
                  <a:lnTo>
                    <a:pt x="534" y="612"/>
                  </a:lnTo>
                  <a:lnTo>
                    <a:pt x="528" y="612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28" y="618"/>
                  </a:lnTo>
                  <a:lnTo>
                    <a:pt x="534" y="618"/>
                  </a:lnTo>
                  <a:lnTo>
                    <a:pt x="540" y="618"/>
                  </a:lnTo>
                  <a:lnTo>
                    <a:pt x="540" y="624"/>
                  </a:lnTo>
                  <a:lnTo>
                    <a:pt x="546" y="624"/>
                  </a:lnTo>
                  <a:lnTo>
                    <a:pt x="546" y="630"/>
                  </a:lnTo>
                  <a:lnTo>
                    <a:pt x="552" y="630"/>
                  </a:lnTo>
                  <a:lnTo>
                    <a:pt x="552" y="636"/>
                  </a:lnTo>
                  <a:lnTo>
                    <a:pt x="546" y="642"/>
                  </a:lnTo>
                  <a:lnTo>
                    <a:pt x="546" y="648"/>
                  </a:lnTo>
                  <a:lnTo>
                    <a:pt x="540" y="648"/>
                  </a:lnTo>
                  <a:lnTo>
                    <a:pt x="540" y="654"/>
                  </a:lnTo>
                  <a:lnTo>
                    <a:pt x="540" y="660"/>
                  </a:lnTo>
                  <a:lnTo>
                    <a:pt x="534" y="666"/>
                  </a:lnTo>
                  <a:lnTo>
                    <a:pt x="534" y="672"/>
                  </a:lnTo>
                  <a:lnTo>
                    <a:pt x="534" y="678"/>
                  </a:lnTo>
                  <a:lnTo>
                    <a:pt x="534" y="684"/>
                  </a:lnTo>
                  <a:lnTo>
                    <a:pt x="534" y="678"/>
                  </a:lnTo>
                  <a:lnTo>
                    <a:pt x="528" y="678"/>
                  </a:lnTo>
                  <a:lnTo>
                    <a:pt x="528" y="684"/>
                  </a:lnTo>
                  <a:lnTo>
                    <a:pt x="522" y="690"/>
                  </a:lnTo>
                  <a:lnTo>
                    <a:pt x="528" y="690"/>
                  </a:lnTo>
                  <a:lnTo>
                    <a:pt x="528" y="684"/>
                  </a:lnTo>
                  <a:lnTo>
                    <a:pt x="534" y="684"/>
                  </a:lnTo>
                  <a:lnTo>
                    <a:pt x="534" y="690"/>
                  </a:lnTo>
                  <a:lnTo>
                    <a:pt x="534" y="696"/>
                  </a:lnTo>
                  <a:lnTo>
                    <a:pt x="540" y="696"/>
                  </a:lnTo>
                  <a:lnTo>
                    <a:pt x="540" y="702"/>
                  </a:lnTo>
                  <a:lnTo>
                    <a:pt x="540" y="708"/>
                  </a:lnTo>
                  <a:lnTo>
                    <a:pt x="534" y="708"/>
                  </a:lnTo>
                  <a:lnTo>
                    <a:pt x="528" y="708"/>
                  </a:lnTo>
                  <a:lnTo>
                    <a:pt x="522" y="708"/>
                  </a:lnTo>
                  <a:lnTo>
                    <a:pt x="516" y="708"/>
                  </a:lnTo>
                  <a:lnTo>
                    <a:pt x="510" y="708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2" y="708"/>
                  </a:lnTo>
                  <a:lnTo>
                    <a:pt x="486" y="714"/>
                  </a:lnTo>
                  <a:lnTo>
                    <a:pt x="480" y="708"/>
                  </a:lnTo>
                  <a:lnTo>
                    <a:pt x="474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68" y="714"/>
                  </a:lnTo>
                  <a:lnTo>
                    <a:pt x="456" y="714"/>
                  </a:lnTo>
                  <a:lnTo>
                    <a:pt x="450" y="714"/>
                  </a:lnTo>
                  <a:lnTo>
                    <a:pt x="450" y="708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50" y="690"/>
                  </a:lnTo>
                  <a:lnTo>
                    <a:pt x="450" y="684"/>
                  </a:lnTo>
                  <a:lnTo>
                    <a:pt x="450" y="678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56" y="660"/>
                  </a:lnTo>
                  <a:lnTo>
                    <a:pt x="462" y="660"/>
                  </a:lnTo>
                  <a:lnTo>
                    <a:pt x="462" y="654"/>
                  </a:lnTo>
                  <a:lnTo>
                    <a:pt x="456" y="654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48"/>
                  </a:lnTo>
                  <a:lnTo>
                    <a:pt x="444" y="648"/>
                  </a:lnTo>
                  <a:lnTo>
                    <a:pt x="444" y="642"/>
                  </a:lnTo>
                  <a:lnTo>
                    <a:pt x="444" y="636"/>
                  </a:lnTo>
                  <a:lnTo>
                    <a:pt x="450" y="636"/>
                  </a:lnTo>
                  <a:lnTo>
                    <a:pt x="450" y="630"/>
                  </a:lnTo>
                  <a:lnTo>
                    <a:pt x="456" y="630"/>
                  </a:lnTo>
                  <a:lnTo>
                    <a:pt x="462" y="630"/>
                  </a:lnTo>
                  <a:lnTo>
                    <a:pt x="462" y="624"/>
                  </a:lnTo>
                  <a:lnTo>
                    <a:pt x="468" y="624"/>
                  </a:lnTo>
                  <a:lnTo>
                    <a:pt x="474" y="624"/>
                  </a:lnTo>
                  <a:lnTo>
                    <a:pt x="474" y="618"/>
                  </a:lnTo>
                  <a:lnTo>
                    <a:pt x="480" y="618"/>
                  </a:lnTo>
                  <a:lnTo>
                    <a:pt x="486" y="618"/>
                  </a:lnTo>
                  <a:lnTo>
                    <a:pt x="486" y="624"/>
                  </a:lnTo>
                  <a:lnTo>
                    <a:pt x="486" y="636"/>
                  </a:lnTo>
                  <a:lnTo>
                    <a:pt x="486" y="642"/>
                  </a:lnTo>
                  <a:lnTo>
                    <a:pt x="486" y="648"/>
                  </a:lnTo>
                  <a:lnTo>
                    <a:pt x="492" y="648"/>
                  </a:lnTo>
                  <a:lnTo>
                    <a:pt x="492" y="642"/>
                  </a:lnTo>
                  <a:lnTo>
                    <a:pt x="498" y="636"/>
                  </a:lnTo>
                  <a:lnTo>
                    <a:pt x="492" y="636"/>
                  </a:lnTo>
                  <a:lnTo>
                    <a:pt x="492" y="630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6" y="618"/>
                  </a:lnTo>
                  <a:lnTo>
                    <a:pt x="486" y="612"/>
                  </a:lnTo>
                  <a:lnTo>
                    <a:pt x="486" y="606"/>
                  </a:lnTo>
                  <a:lnTo>
                    <a:pt x="480" y="606"/>
                  </a:lnTo>
                  <a:lnTo>
                    <a:pt x="480" y="612"/>
                  </a:lnTo>
                  <a:lnTo>
                    <a:pt x="474" y="618"/>
                  </a:lnTo>
                  <a:lnTo>
                    <a:pt x="468" y="618"/>
                  </a:lnTo>
                  <a:lnTo>
                    <a:pt x="462" y="618"/>
                  </a:lnTo>
                  <a:lnTo>
                    <a:pt x="462" y="612"/>
                  </a:lnTo>
                  <a:lnTo>
                    <a:pt x="456" y="612"/>
                  </a:lnTo>
                  <a:lnTo>
                    <a:pt x="456" y="618"/>
                  </a:lnTo>
                  <a:lnTo>
                    <a:pt x="462" y="618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30"/>
                  </a:lnTo>
                  <a:lnTo>
                    <a:pt x="444" y="630"/>
                  </a:lnTo>
                  <a:lnTo>
                    <a:pt x="444" y="636"/>
                  </a:lnTo>
                  <a:lnTo>
                    <a:pt x="444" y="642"/>
                  </a:lnTo>
                  <a:lnTo>
                    <a:pt x="444" y="654"/>
                  </a:lnTo>
                  <a:lnTo>
                    <a:pt x="444" y="660"/>
                  </a:lnTo>
                  <a:lnTo>
                    <a:pt x="438" y="660"/>
                  </a:lnTo>
                  <a:lnTo>
                    <a:pt x="432" y="660"/>
                  </a:lnTo>
                  <a:lnTo>
                    <a:pt x="432" y="654"/>
                  </a:lnTo>
                  <a:lnTo>
                    <a:pt x="438" y="654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48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26" y="660"/>
                  </a:lnTo>
                  <a:lnTo>
                    <a:pt x="432" y="666"/>
                  </a:lnTo>
                  <a:lnTo>
                    <a:pt x="432" y="672"/>
                  </a:lnTo>
                  <a:lnTo>
                    <a:pt x="438" y="672"/>
                  </a:lnTo>
                  <a:lnTo>
                    <a:pt x="438" y="678"/>
                  </a:lnTo>
                  <a:lnTo>
                    <a:pt x="444" y="678"/>
                  </a:lnTo>
                  <a:lnTo>
                    <a:pt x="444" y="684"/>
                  </a:lnTo>
                  <a:lnTo>
                    <a:pt x="438" y="690"/>
                  </a:lnTo>
                  <a:lnTo>
                    <a:pt x="438" y="696"/>
                  </a:lnTo>
                  <a:lnTo>
                    <a:pt x="438" y="702"/>
                  </a:lnTo>
                  <a:lnTo>
                    <a:pt x="432" y="702"/>
                  </a:lnTo>
                  <a:lnTo>
                    <a:pt x="426" y="702"/>
                  </a:lnTo>
                  <a:lnTo>
                    <a:pt x="426" y="696"/>
                  </a:lnTo>
                  <a:lnTo>
                    <a:pt x="414" y="696"/>
                  </a:lnTo>
                  <a:lnTo>
                    <a:pt x="402" y="696"/>
                  </a:lnTo>
                  <a:lnTo>
                    <a:pt x="402" y="690"/>
                  </a:lnTo>
                  <a:lnTo>
                    <a:pt x="396" y="690"/>
                  </a:lnTo>
                  <a:lnTo>
                    <a:pt x="390" y="690"/>
                  </a:lnTo>
                  <a:lnTo>
                    <a:pt x="384" y="690"/>
                  </a:lnTo>
                  <a:lnTo>
                    <a:pt x="384" y="684"/>
                  </a:lnTo>
                  <a:lnTo>
                    <a:pt x="384" y="678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390" y="660"/>
                  </a:lnTo>
                  <a:lnTo>
                    <a:pt x="390" y="654"/>
                  </a:lnTo>
                  <a:lnTo>
                    <a:pt x="384" y="648"/>
                  </a:lnTo>
                  <a:lnTo>
                    <a:pt x="384" y="642"/>
                  </a:lnTo>
                  <a:lnTo>
                    <a:pt x="378" y="636"/>
                  </a:lnTo>
                  <a:lnTo>
                    <a:pt x="378" y="642"/>
                  </a:lnTo>
                  <a:lnTo>
                    <a:pt x="378" y="648"/>
                  </a:lnTo>
                  <a:lnTo>
                    <a:pt x="372" y="648"/>
                  </a:lnTo>
                  <a:lnTo>
                    <a:pt x="378" y="654"/>
                  </a:lnTo>
                  <a:lnTo>
                    <a:pt x="378" y="660"/>
                  </a:lnTo>
                  <a:lnTo>
                    <a:pt x="378" y="666"/>
                  </a:lnTo>
                  <a:lnTo>
                    <a:pt x="372" y="672"/>
                  </a:lnTo>
                  <a:lnTo>
                    <a:pt x="378" y="672"/>
                  </a:lnTo>
                  <a:lnTo>
                    <a:pt x="378" y="678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54" y="666"/>
                  </a:lnTo>
                  <a:lnTo>
                    <a:pt x="354" y="660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0" y="654"/>
                  </a:lnTo>
                  <a:lnTo>
                    <a:pt x="324" y="648"/>
                  </a:lnTo>
                  <a:lnTo>
                    <a:pt x="318" y="648"/>
                  </a:lnTo>
                  <a:lnTo>
                    <a:pt x="318" y="642"/>
                  </a:lnTo>
                  <a:lnTo>
                    <a:pt x="312" y="642"/>
                  </a:lnTo>
                  <a:lnTo>
                    <a:pt x="306" y="636"/>
                  </a:lnTo>
                  <a:lnTo>
                    <a:pt x="300" y="636"/>
                  </a:lnTo>
                  <a:lnTo>
                    <a:pt x="300" y="630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0" y="618"/>
                  </a:lnTo>
                  <a:lnTo>
                    <a:pt x="306" y="612"/>
                  </a:lnTo>
                  <a:lnTo>
                    <a:pt x="300" y="612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294" y="612"/>
                  </a:lnTo>
                  <a:lnTo>
                    <a:pt x="288" y="618"/>
                  </a:lnTo>
                  <a:lnTo>
                    <a:pt x="288" y="612"/>
                  </a:lnTo>
                  <a:lnTo>
                    <a:pt x="288" y="618"/>
                  </a:lnTo>
                  <a:lnTo>
                    <a:pt x="294" y="618"/>
                  </a:lnTo>
                  <a:lnTo>
                    <a:pt x="300" y="624"/>
                  </a:lnTo>
                  <a:lnTo>
                    <a:pt x="294" y="624"/>
                  </a:lnTo>
                  <a:lnTo>
                    <a:pt x="288" y="624"/>
                  </a:lnTo>
                  <a:lnTo>
                    <a:pt x="282" y="61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70" y="600"/>
                  </a:lnTo>
                  <a:lnTo>
                    <a:pt x="270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82" y="588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594"/>
                  </a:lnTo>
                  <a:lnTo>
                    <a:pt x="264" y="600"/>
                  </a:lnTo>
                  <a:lnTo>
                    <a:pt x="264" y="594"/>
                  </a:lnTo>
                  <a:lnTo>
                    <a:pt x="270" y="594"/>
                  </a:lnTo>
                  <a:lnTo>
                    <a:pt x="270" y="588"/>
                  </a:lnTo>
                  <a:lnTo>
                    <a:pt x="264" y="594"/>
                  </a:lnTo>
                  <a:lnTo>
                    <a:pt x="258" y="594"/>
                  </a:lnTo>
                  <a:lnTo>
                    <a:pt x="258" y="588"/>
                  </a:lnTo>
                  <a:lnTo>
                    <a:pt x="252" y="588"/>
                  </a:lnTo>
                  <a:lnTo>
                    <a:pt x="246" y="588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52" y="588"/>
                  </a:lnTo>
                  <a:lnTo>
                    <a:pt x="252" y="594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46" y="594"/>
                  </a:lnTo>
                  <a:lnTo>
                    <a:pt x="246" y="588"/>
                  </a:lnTo>
                  <a:lnTo>
                    <a:pt x="240" y="588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2" y="570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64"/>
                  </a:lnTo>
                  <a:lnTo>
                    <a:pt x="234" y="564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34" y="558"/>
                  </a:lnTo>
                  <a:lnTo>
                    <a:pt x="228" y="558"/>
                  </a:lnTo>
                  <a:lnTo>
                    <a:pt x="222" y="558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2" y="564"/>
                  </a:lnTo>
                  <a:lnTo>
                    <a:pt x="222" y="558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04" y="546"/>
                  </a:lnTo>
                  <a:lnTo>
                    <a:pt x="204" y="540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10" y="540"/>
                  </a:lnTo>
                  <a:lnTo>
                    <a:pt x="210" y="534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8"/>
                  </a:lnTo>
                  <a:lnTo>
                    <a:pt x="174" y="516"/>
                  </a:lnTo>
                  <a:lnTo>
                    <a:pt x="168" y="510"/>
                  </a:lnTo>
                  <a:lnTo>
                    <a:pt x="162" y="504"/>
                  </a:lnTo>
                  <a:lnTo>
                    <a:pt x="156" y="498"/>
                  </a:lnTo>
                  <a:lnTo>
                    <a:pt x="156" y="492"/>
                  </a:lnTo>
                  <a:lnTo>
                    <a:pt x="150" y="486"/>
                  </a:lnTo>
                  <a:lnTo>
                    <a:pt x="144" y="480"/>
                  </a:lnTo>
                  <a:lnTo>
                    <a:pt x="144" y="474"/>
                  </a:lnTo>
                  <a:lnTo>
                    <a:pt x="138" y="474"/>
                  </a:lnTo>
                  <a:lnTo>
                    <a:pt x="138" y="468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26" y="450"/>
                  </a:lnTo>
                  <a:lnTo>
                    <a:pt x="126" y="444"/>
                  </a:lnTo>
                  <a:lnTo>
                    <a:pt x="114" y="438"/>
                  </a:lnTo>
                  <a:lnTo>
                    <a:pt x="114" y="432"/>
                  </a:lnTo>
                  <a:lnTo>
                    <a:pt x="114" y="426"/>
                  </a:lnTo>
                  <a:lnTo>
                    <a:pt x="114" y="432"/>
                  </a:lnTo>
                  <a:lnTo>
                    <a:pt x="120" y="432"/>
                  </a:lnTo>
                  <a:lnTo>
                    <a:pt x="120" y="438"/>
                  </a:lnTo>
                  <a:lnTo>
                    <a:pt x="120" y="444"/>
                  </a:lnTo>
                  <a:lnTo>
                    <a:pt x="126" y="444"/>
                  </a:lnTo>
                  <a:lnTo>
                    <a:pt x="126" y="438"/>
                  </a:lnTo>
                  <a:lnTo>
                    <a:pt x="120" y="438"/>
                  </a:lnTo>
                  <a:lnTo>
                    <a:pt x="126" y="432"/>
                  </a:lnTo>
                  <a:lnTo>
                    <a:pt x="126" y="426"/>
                  </a:lnTo>
                  <a:lnTo>
                    <a:pt x="132" y="420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08" y="414"/>
                  </a:lnTo>
                  <a:lnTo>
                    <a:pt x="102" y="414"/>
                  </a:lnTo>
                  <a:lnTo>
                    <a:pt x="102" y="408"/>
                  </a:lnTo>
                  <a:lnTo>
                    <a:pt x="96" y="402"/>
                  </a:lnTo>
                  <a:lnTo>
                    <a:pt x="96" y="396"/>
                  </a:lnTo>
                  <a:lnTo>
                    <a:pt x="96" y="390"/>
                  </a:lnTo>
                  <a:lnTo>
                    <a:pt x="90" y="390"/>
                  </a:lnTo>
                  <a:lnTo>
                    <a:pt x="90" y="384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78" y="372"/>
                  </a:lnTo>
                  <a:lnTo>
                    <a:pt x="78" y="366"/>
                  </a:lnTo>
                  <a:lnTo>
                    <a:pt x="78" y="360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6" y="348"/>
                  </a:lnTo>
                  <a:lnTo>
                    <a:pt x="66" y="342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6" y="336"/>
                  </a:lnTo>
                  <a:lnTo>
                    <a:pt x="66" y="342"/>
                  </a:lnTo>
                  <a:lnTo>
                    <a:pt x="72" y="348"/>
                  </a:lnTo>
                  <a:lnTo>
                    <a:pt x="78" y="354"/>
                  </a:lnTo>
                  <a:lnTo>
                    <a:pt x="84" y="360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0" y="360"/>
                  </a:lnTo>
                  <a:lnTo>
                    <a:pt x="84" y="360"/>
                  </a:lnTo>
                  <a:lnTo>
                    <a:pt x="84" y="354"/>
                  </a:lnTo>
                  <a:lnTo>
                    <a:pt x="78" y="348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66" y="330"/>
                  </a:lnTo>
                  <a:lnTo>
                    <a:pt x="66" y="324"/>
                  </a:lnTo>
                  <a:lnTo>
                    <a:pt x="60" y="318"/>
                  </a:lnTo>
                  <a:lnTo>
                    <a:pt x="60" y="312"/>
                  </a:lnTo>
                  <a:lnTo>
                    <a:pt x="54" y="306"/>
                  </a:lnTo>
                  <a:lnTo>
                    <a:pt x="54" y="300"/>
                  </a:lnTo>
                  <a:lnTo>
                    <a:pt x="54" y="294"/>
                  </a:lnTo>
                  <a:lnTo>
                    <a:pt x="48" y="288"/>
                  </a:lnTo>
                  <a:lnTo>
                    <a:pt x="48" y="294"/>
                  </a:lnTo>
                  <a:lnTo>
                    <a:pt x="48" y="288"/>
                  </a:lnTo>
                  <a:lnTo>
                    <a:pt x="48" y="282"/>
                  </a:lnTo>
                  <a:lnTo>
                    <a:pt x="48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18" y="216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62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68"/>
                  </a:lnTo>
                  <a:lnTo>
                    <a:pt x="42" y="168"/>
                  </a:lnTo>
                  <a:lnTo>
                    <a:pt x="42" y="174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86"/>
                  </a:lnTo>
                  <a:close/>
                  <a:moveTo>
                    <a:pt x="642" y="660"/>
                  </a:moveTo>
                  <a:lnTo>
                    <a:pt x="642" y="666"/>
                  </a:lnTo>
                  <a:lnTo>
                    <a:pt x="648" y="666"/>
                  </a:lnTo>
                  <a:lnTo>
                    <a:pt x="648" y="672"/>
                  </a:lnTo>
                  <a:lnTo>
                    <a:pt x="648" y="678"/>
                  </a:lnTo>
                  <a:lnTo>
                    <a:pt x="654" y="678"/>
                  </a:lnTo>
                  <a:lnTo>
                    <a:pt x="654" y="684"/>
                  </a:lnTo>
                  <a:lnTo>
                    <a:pt x="660" y="684"/>
                  </a:lnTo>
                  <a:lnTo>
                    <a:pt x="660" y="690"/>
                  </a:lnTo>
                  <a:lnTo>
                    <a:pt x="654" y="690"/>
                  </a:lnTo>
                  <a:lnTo>
                    <a:pt x="648" y="690"/>
                  </a:lnTo>
                  <a:lnTo>
                    <a:pt x="636" y="696"/>
                  </a:lnTo>
                  <a:lnTo>
                    <a:pt x="630" y="696"/>
                  </a:lnTo>
                  <a:lnTo>
                    <a:pt x="624" y="696"/>
                  </a:lnTo>
                  <a:lnTo>
                    <a:pt x="618" y="696"/>
                  </a:lnTo>
                  <a:lnTo>
                    <a:pt x="612" y="696"/>
                  </a:lnTo>
                  <a:lnTo>
                    <a:pt x="594" y="696"/>
                  </a:lnTo>
                  <a:lnTo>
                    <a:pt x="588" y="696"/>
                  </a:lnTo>
                  <a:lnTo>
                    <a:pt x="582" y="696"/>
                  </a:lnTo>
                  <a:lnTo>
                    <a:pt x="570" y="702"/>
                  </a:lnTo>
                  <a:lnTo>
                    <a:pt x="564" y="702"/>
                  </a:lnTo>
                  <a:lnTo>
                    <a:pt x="558" y="702"/>
                  </a:lnTo>
                  <a:lnTo>
                    <a:pt x="552" y="702"/>
                  </a:lnTo>
                  <a:lnTo>
                    <a:pt x="552" y="696"/>
                  </a:lnTo>
                  <a:lnTo>
                    <a:pt x="546" y="696"/>
                  </a:lnTo>
                  <a:lnTo>
                    <a:pt x="546" y="690"/>
                  </a:lnTo>
                  <a:lnTo>
                    <a:pt x="552" y="684"/>
                  </a:lnTo>
                  <a:lnTo>
                    <a:pt x="552" y="678"/>
                  </a:lnTo>
                  <a:lnTo>
                    <a:pt x="558" y="672"/>
                  </a:lnTo>
                  <a:lnTo>
                    <a:pt x="558" y="666"/>
                  </a:lnTo>
                  <a:lnTo>
                    <a:pt x="564" y="666"/>
                  </a:lnTo>
                  <a:lnTo>
                    <a:pt x="570" y="666"/>
                  </a:lnTo>
                  <a:lnTo>
                    <a:pt x="570" y="654"/>
                  </a:lnTo>
                  <a:lnTo>
                    <a:pt x="570" y="648"/>
                  </a:lnTo>
                  <a:lnTo>
                    <a:pt x="582" y="642"/>
                  </a:lnTo>
                  <a:lnTo>
                    <a:pt x="582" y="636"/>
                  </a:lnTo>
                  <a:lnTo>
                    <a:pt x="588" y="636"/>
                  </a:lnTo>
                  <a:lnTo>
                    <a:pt x="588" y="630"/>
                  </a:lnTo>
                  <a:lnTo>
                    <a:pt x="594" y="624"/>
                  </a:lnTo>
                  <a:lnTo>
                    <a:pt x="594" y="618"/>
                  </a:lnTo>
                  <a:lnTo>
                    <a:pt x="600" y="618"/>
                  </a:lnTo>
                  <a:lnTo>
                    <a:pt x="600" y="612"/>
                  </a:lnTo>
                  <a:lnTo>
                    <a:pt x="606" y="612"/>
                  </a:lnTo>
                  <a:lnTo>
                    <a:pt x="606" y="618"/>
                  </a:lnTo>
                  <a:lnTo>
                    <a:pt x="612" y="618"/>
                  </a:lnTo>
                  <a:lnTo>
                    <a:pt x="618" y="618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18" y="636"/>
                  </a:lnTo>
                  <a:lnTo>
                    <a:pt x="618" y="642"/>
                  </a:lnTo>
                  <a:lnTo>
                    <a:pt x="618" y="648"/>
                  </a:lnTo>
                  <a:lnTo>
                    <a:pt x="624" y="648"/>
                  </a:lnTo>
                  <a:lnTo>
                    <a:pt x="630" y="648"/>
                  </a:lnTo>
                  <a:lnTo>
                    <a:pt x="636" y="654"/>
                  </a:lnTo>
                  <a:lnTo>
                    <a:pt x="642" y="654"/>
                  </a:lnTo>
                  <a:lnTo>
                    <a:pt x="642" y="66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0" name="Freeform 5">
              <a:extLst>
                <a:ext uri="{FF2B5EF4-FFF2-40B4-BE49-F238E27FC236}">
                  <a16:creationId xmlns:a16="http://schemas.microsoft.com/office/drawing/2014/main" id="{5577BDCA-F2C7-42E0-A391-018D79AA29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0384" y="4231013"/>
              <a:ext cx="404750" cy="480848"/>
            </a:xfrm>
            <a:custGeom>
              <a:avLst/>
              <a:gdLst>
                <a:gd name="T0" fmla="*/ 9 w 762"/>
                <a:gd name="T1" fmla="*/ 58 h 900"/>
                <a:gd name="T2" fmla="*/ 4 w 762"/>
                <a:gd name="T3" fmla="*/ 56 h 900"/>
                <a:gd name="T4" fmla="*/ 0 w 762"/>
                <a:gd name="T5" fmla="*/ 49 h 900"/>
                <a:gd name="T6" fmla="*/ 4 w 762"/>
                <a:gd name="T7" fmla="*/ 36 h 900"/>
                <a:gd name="T8" fmla="*/ 8 w 762"/>
                <a:gd name="T9" fmla="*/ 28 h 900"/>
                <a:gd name="T10" fmla="*/ 7 w 762"/>
                <a:gd name="T11" fmla="*/ 13 h 900"/>
                <a:gd name="T12" fmla="*/ 15 w 762"/>
                <a:gd name="T13" fmla="*/ 0 h 900"/>
                <a:gd name="T14" fmla="*/ 16 w 762"/>
                <a:gd name="T15" fmla="*/ 13 h 900"/>
                <a:gd name="T16" fmla="*/ 31 w 762"/>
                <a:gd name="T17" fmla="*/ 28 h 900"/>
                <a:gd name="T18" fmla="*/ 49 w 762"/>
                <a:gd name="T19" fmla="*/ 33 h 900"/>
                <a:gd name="T20" fmla="*/ 42 w 762"/>
                <a:gd name="T21" fmla="*/ 48 h 900"/>
                <a:gd name="T22" fmla="*/ 51 w 762"/>
                <a:gd name="T23" fmla="*/ 48 h 900"/>
                <a:gd name="T24" fmla="*/ 61 w 762"/>
                <a:gd name="T25" fmla="*/ 51 h 900"/>
                <a:gd name="T26" fmla="*/ 63 w 762"/>
                <a:gd name="T27" fmla="*/ 60 h 900"/>
                <a:gd name="T28" fmla="*/ 63 w 762"/>
                <a:gd name="T29" fmla="*/ 66 h 900"/>
                <a:gd name="T30" fmla="*/ 65 w 762"/>
                <a:gd name="T31" fmla="*/ 69 h 900"/>
                <a:gd name="T32" fmla="*/ 66 w 762"/>
                <a:gd name="T33" fmla="*/ 72 h 900"/>
                <a:gd name="T34" fmla="*/ 56 w 762"/>
                <a:gd name="T35" fmla="*/ 73 h 900"/>
                <a:gd name="T36" fmla="*/ 55 w 762"/>
                <a:gd name="T37" fmla="*/ 69 h 900"/>
                <a:gd name="T38" fmla="*/ 57 w 762"/>
                <a:gd name="T39" fmla="*/ 67 h 900"/>
                <a:gd name="T40" fmla="*/ 55 w 762"/>
                <a:gd name="T41" fmla="*/ 65 h 900"/>
                <a:gd name="T42" fmla="*/ 53 w 762"/>
                <a:gd name="T43" fmla="*/ 68 h 900"/>
                <a:gd name="T44" fmla="*/ 49 w 762"/>
                <a:gd name="T45" fmla="*/ 68 h 900"/>
                <a:gd name="T46" fmla="*/ 44 w 762"/>
                <a:gd name="T47" fmla="*/ 63 h 900"/>
                <a:gd name="T48" fmla="*/ 40 w 762"/>
                <a:gd name="T49" fmla="*/ 59 h 900"/>
                <a:gd name="T50" fmla="*/ 38 w 762"/>
                <a:gd name="T51" fmla="*/ 57 h 900"/>
                <a:gd name="T52" fmla="*/ 43 w 762"/>
                <a:gd name="T53" fmla="*/ 62 h 900"/>
                <a:gd name="T54" fmla="*/ 43 w 762"/>
                <a:gd name="T55" fmla="*/ 66 h 900"/>
                <a:gd name="T56" fmla="*/ 41 w 762"/>
                <a:gd name="T57" fmla="*/ 71 h 900"/>
                <a:gd name="T58" fmla="*/ 37 w 762"/>
                <a:gd name="T59" fmla="*/ 69 h 900"/>
                <a:gd name="T60" fmla="*/ 35 w 762"/>
                <a:gd name="T61" fmla="*/ 64 h 900"/>
                <a:gd name="T62" fmla="*/ 31 w 762"/>
                <a:gd name="T63" fmla="*/ 57 h 900"/>
                <a:gd name="T64" fmla="*/ 30 w 762"/>
                <a:gd name="T65" fmla="*/ 62 h 900"/>
                <a:gd name="T66" fmla="*/ 29 w 762"/>
                <a:gd name="T67" fmla="*/ 61 h 900"/>
                <a:gd name="T68" fmla="*/ 31 w 762"/>
                <a:gd name="T69" fmla="*/ 66 h 900"/>
                <a:gd name="T70" fmla="*/ 33 w 762"/>
                <a:gd name="T71" fmla="*/ 72 h 900"/>
                <a:gd name="T72" fmla="*/ 32 w 762"/>
                <a:gd name="T73" fmla="*/ 76 h 900"/>
                <a:gd name="T74" fmla="*/ 28 w 762"/>
                <a:gd name="T75" fmla="*/ 75 h 900"/>
                <a:gd name="T76" fmla="*/ 24 w 762"/>
                <a:gd name="T77" fmla="*/ 69 h 900"/>
                <a:gd name="T78" fmla="*/ 24 w 762"/>
                <a:gd name="T79" fmla="*/ 62 h 900"/>
                <a:gd name="T80" fmla="*/ 23 w 762"/>
                <a:gd name="T81" fmla="*/ 62 h 900"/>
                <a:gd name="T82" fmla="*/ 23 w 762"/>
                <a:gd name="T83" fmla="*/ 68 h 900"/>
                <a:gd name="T84" fmla="*/ 25 w 762"/>
                <a:gd name="T85" fmla="*/ 77 h 900"/>
                <a:gd name="T86" fmla="*/ 17 w 762"/>
                <a:gd name="T87" fmla="*/ 74 h 900"/>
                <a:gd name="T88" fmla="*/ 17 w 762"/>
                <a:gd name="T89" fmla="*/ 67 h 900"/>
                <a:gd name="T90" fmla="*/ 16 w 762"/>
                <a:gd name="T91" fmla="*/ 67 h 900"/>
                <a:gd name="T92" fmla="*/ 15 w 762"/>
                <a:gd name="T93" fmla="*/ 71 h 900"/>
                <a:gd name="T94" fmla="*/ 12 w 762"/>
                <a:gd name="T95" fmla="*/ 68 h 900"/>
                <a:gd name="T96" fmla="*/ 15 w 762"/>
                <a:gd name="T97" fmla="*/ 72 h 900"/>
                <a:gd name="T98" fmla="*/ 17 w 762"/>
                <a:gd name="T99" fmla="*/ 77 h 900"/>
                <a:gd name="T100" fmla="*/ 11 w 762"/>
                <a:gd name="T101" fmla="*/ 77 h 900"/>
                <a:gd name="T102" fmla="*/ 10 w 762"/>
                <a:gd name="T103" fmla="*/ 69 h 900"/>
                <a:gd name="T104" fmla="*/ 11 w 762"/>
                <a:gd name="T105" fmla="*/ 72 h 900"/>
                <a:gd name="T106" fmla="*/ 9 w 762"/>
                <a:gd name="T107" fmla="*/ 78 h 900"/>
                <a:gd name="T108" fmla="*/ 43 w 762"/>
                <a:gd name="T109" fmla="*/ 71 h 900"/>
                <a:gd name="T110" fmla="*/ 51 w 762"/>
                <a:gd name="T111" fmla="*/ 69 h 900"/>
                <a:gd name="T112" fmla="*/ 43 w 762"/>
                <a:gd name="T113" fmla="*/ 76 h 900"/>
                <a:gd name="T114" fmla="*/ 36 w 762"/>
                <a:gd name="T115" fmla="*/ 65 h 900"/>
                <a:gd name="T116" fmla="*/ 38 w 762"/>
                <a:gd name="T117" fmla="*/ 72 h 900"/>
                <a:gd name="T118" fmla="*/ 34 w 762"/>
                <a:gd name="T119" fmla="*/ 69 h 900"/>
                <a:gd name="T120" fmla="*/ 29 w 762"/>
                <a:gd name="T121" fmla="*/ 64 h 900"/>
                <a:gd name="T122" fmla="*/ 32 w 762"/>
                <a:gd name="T123" fmla="*/ 66 h 9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900"/>
                <a:gd name="T188" fmla="*/ 762 w 762"/>
                <a:gd name="T189" fmla="*/ 900 h 90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900">
                  <a:moveTo>
                    <a:pt x="90" y="768"/>
                  </a:moveTo>
                  <a:lnTo>
                    <a:pt x="102" y="756"/>
                  </a:lnTo>
                  <a:lnTo>
                    <a:pt x="102" y="750"/>
                  </a:lnTo>
                  <a:lnTo>
                    <a:pt x="90" y="744"/>
                  </a:lnTo>
                  <a:lnTo>
                    <a:pt x="84" y="738"/>
                  </a:lnTo>
                  <a:lnTo>
                    <a:pt x="90" y="726"/>
                  </a:lnTo>
                  <a:lnTo>
                    <a:pt x="84" y="720"/>
                  </a:lnTo>
                  <a:lnTo>
                    <a:pt x="78" y="720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72" y="702"/>
                  </a:lnTo>
                  <a:lnTo>
                    <a:pt x="72" y="696"/>
                  </a:lnTo>
                  <a:lnTo>
                    <a:pt x="84" y="684"/>
                  </a:lnTo>
                  <a:lnTo>
                    <a:pt x="96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102" y="654"/>
                  </a:lnTo>
                  <a:lnTo>
                    <a:pt x="108" y="654"/>
                  </a:lnTo>
                  <a:lnTo>
                    <a:pt x="114" y="648"/>
                  </a:lnTo>
                  <a:lnTo>
                    <a:pt x="120" y="642"/>
                  </a:lnTo>
                  <a:lnTo>
                    <a:pt x="120" y="636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14" y="618"/>
                  </a:lnTo>
                  <a:lnTo>
                    <a:pt x="102" y="618"/>
                  </a:lnTo>
                  <a:lnTo>
                    <a:pt x="90" y="618"/>
                  </a:lnTo>
                  <a:lnTo>
                    <a:pt x="78" y="624"/>
                  </a:lnTo>
                  <a:lnTo>
                    <a:pt x="72" y="630"/>
                  </a:lnTo>
                  <a:lnTo>
                    <a:pt x="54" y="642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42" y="642"/>
                  </a:lnTo>
                  <a:lnTo>
                    <a:pt x="42" y="636"/>
                  </a:lnTo>
                  <a:lnTo>
                    <a:pt x="36" y="636"/>
                  </a:lnTo>
                  <a:lnTo>
                    <a:pt x="30" y="642"/>
                  </a:lnTo>
                  <a:lnTo>
                    <a:pt x="30" y="636"/>
                  </a:lnTo>
                  <a:lnTo>
                    <a:pt x="30" y="630"/>
                  </a:lnTo>
                  <a:lnTo>
                    <a:pt x="24" y="630"/>
                  </a:lnTo>
                  <a:lnTo>
                    <a:pt x="30" y="624"/>
                  </a:lnTo>
                  <a:lnTo>
                    <a:pt x="30" y="618"/>
                  </a:lnTo>
                  <a:lnTo>
                    <a:pt x="30" y="612"/>
                  </a:lnTo>
                  <a:lnTo>
                    <a:pt x="36" y="612"/>
                  </a:lnTo>
                  <a:lnTo>
                    <a:pt x="36" y="606"/>
                  </a:lnTo>
                  <a:lnTo>
                    <a:pt x="30" y="606"/>
                  </a:lnTo>
                  <a:lnTo>
                    <a:pt x="24" y="612"/>
                  </a:lnTo>
                  <a:lnTo>
                    <a:pt x="18" y="606"/>
                  </a:lnTo>
                  <a:lnTo>
                    <a:pt x="12" y="594"/>
                  </a:lnTo>
                  <a:lnTo>
                    <a:pt x="6" y="582"/>
                  </a:lnTo>
                  <a:lnTo>
                    <a:pt x="6" y="570"/>
                  </a:lnTo>
                  <a:lnTo>
                    <a:pt x="0" y="558"/>
                  </a:lnTo>
                  <a:lnTo>
                    <a:pt x="6" y="552"/>
                  </a:lnTo>
                  <a:lnTo>
                    <a:pt x="6" y="534"/>
                  </a:lnTo>
                  <a:lnTo>
                    <a:pt x="18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12" y="480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54" y="408"/>
                  </a:lnTo>
                  <a:lnTo>
                    <a:pt x="54" y="396"/>
                  </a:lnTo>
                  <a:lnTo>
                    <a:pt x="54" y="384"/>
                  </a:lnTo>
                  <a:lnTo>
                    <a:pt x="60" y="378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66"/>
                  </a:lnTo>
                  <a:lnTo>
                    <a:pt x="60" y="360"/>
                  </a:lnTo>
                  <a:lnTo>
                    <a:pt x="66" y="360"/>
                  </a:lnTo>
                  <a:lnTo>
                    <a:pt x="72" y="354"/>
                  </a:lnTo>
                  <a:lnTo>
                    <a:pt x="78" y="354"/>
                  </a:lnTo>
                  <a:lnTo>
                    <a:pt x="84" y="348"/>
                  </a:lnTo>
                  <a:lnTo>
                    <a:pt x="96" y="348"/>
                  </a:lnTo>
                  <a:lnTo>
                    <a:pt x="96" y="342"/>
                  </a:lnTo>
                  <a:lnTo>
                    <a:pt x="96" y="336"/>
                  </a:lnTo>
                  <a:lnTo>
                    <a:pt x="96" y="330"/>
                  </a:lnTo>
                  <a:lnTo>
                    <a:pt x="96" y="324"/>
                  </a:lnTo>
                  <a:lnTo>
                    <a:pt x="102" y="318"/>
                  </a:lnTo>
                  <a:lnTo>
                    <a:pt x="108" y="312"/>
                  </a:lnTo>
                  <a:lnTo>
                    <a:pt x="96" y="306"/>
                  </a:lnTo>
                  <a:lnTo>
                    <a:pt x="84" y="288"/>
                  </a:lnTo>
                  <a:lnTo>
                    <a:pt x="108" y="258"/>
                  </a:lnTo>
                  <a:lnTo>
                    <a:pt x="102" y="222"/>
                  </a:lnTo>
                  <a:lnTo>
                    <a:pt x="84" y="222"/>
                  </a:lnTo>
                  <a:lnTo>
                    <a:pt x="54" y="216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2"/>
                  </a:lnTo>
                  <a:lnTo>
                    <a:pt x="72" y="192"/>
                  </a:lnTo>
                  <a:lnTo>
                    <a:pt x="84" y="186"/>
                  </a:lnTo>
                  <a:lnTo>
                    <a:pt x="90" y="186"/>
                  </a:lnTo>
                  <a:lnTo>
                    <a:pt x="90" y="174"/>
                  </a:lnTo>
                  <a:lnTo>
                    <a:pt x="84" y="162"/>
                  </a:lnTo>
                  <a:lnTo>
                    <a:pt x="84" y="150"/>
                  </a:lnTo>
                  <a:lnTo>
                    <a:pt x="84" y="126"/>
                  </a:lnTo>
                  <a:lnTo>
                    <a:pt x="84" y="114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8" y="96"/>
                  </a:lnTo>
                  <a:lnTo>
                    <a:pt x="120" y="90"/>
                  </a:lnTo>
                  <a:lnTo>
                    <a:pt x="126" y="78"/>
                  </a:lnTo>
                  <a:lnTo>
                    <a:pt x="138" y="66"/>
                  </a:lnTo>
                  <a:lnTo>
                    <a:pt x="138" y="48"/>
                  </a:lnTo>
                  <a:lnTo>
                    <a:pt x="138" y="42"/>
                  </a:lnTo>
                  <a:lnTo>
                    <a:pt x="126" y="30"/>
                  </a:lnTo>
                  <a:lnTo>
                    <a:pt x="120" y="18"/>
                  </a:lnTo>
                  <a:lnTo>
                    <a:pt x="132" y="12"/>
                  </a:lnTo>
                  <a:lnTo>
                    <a:pt x="144" y="0"/>
                  </a:lnTo>
                  <a:lnTo>
                    <a:pt x="150" y="6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6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74" y="66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68" y="72"/>
                  </a:lnTo>
                  <a:lnTo>
                    <a:pt x="156" y="150"/>
                  </a:lnTo>
                  <a:lnTo>
                    <a:pt x="168" y="144"/>
                  </a:lnTo>
                  <a:lnTo>
                    <a:pt x="180" y="150"/>
                  </a:lnTo>
                  <a:lnTo>
                    <a:pt x="186" y="150"/>
                  </a:lnTo>
                  <a:lnTo>
                    <a:pt x="186" y="144"/>
                  </a:lnTo>
                  <a:lnTo>
                    <a:pt x="192" y="150"/>
                  </a:lnTo>
                  <a:lnTo>
                    <a:pt x="222" y="150"/>
                  </a:lnTo>
                  <a:lnTo>
                    <a:pt x="222" y="168"/>
                  </a:lnTo>
                  <a:lnTo>
                    <a:pt x="222" y="186"/>
                  </a:lnTo>
                  <a:lnTo>
                    <a:pt x="234" y="198"/>
                  </a:lnTo>
                  <a:lnTo>
                    <a:pt x="234" y="234"/>
                  </a:lnTo>
                  <a:lnTo>
                    <a:pt x="228" y="270"/>
                  </a:lnTo>
                  <a:lnTo>
                    <a:pt x="246" y="282"/>
                  </a:lnTo>
                  <a:lnTo>
                    <a:pt x="258" y="294"/>
                  </a:lnTo>
                  <a:lnTo>
                    <a:pt x="270" y="300"/>
                  </a:lnTo>
                  <a:lnTo>
                    <a:pt x="294" y="300"/>
                  </a:lnTo>
                  <a:lnTo>
                    <a:pt x="288" y="306"/>
                  </a:lnTo>
                  <a:lnTo>
                    <a:pt x="300" y="312"/>
                  </a:lnTo>
                  <a:lnTo>
                    <a:pt x="306" y="318"/>
                  </a:lnTo>
                  <a:lnTo>
                    <a:pt x="324" y="324"/>
                  </a:lnTo>
                  <a:lnTo>
                    <a:pt x="354" y="318"/>
                  </a:lnTo>
                  <a:lnTo>
                    <a:pt x="354" y="312"/>
                  </a:lnTo>
                  <a:lnTo>
                    <a:pt x="366" y="312"/>
                  </a:lnTo>
                  <a:lnTo>
                    <a:pt x="384" y="312"/>
                  </a:lnTo>
                  <a:lnTo>
                    <a:pt x="390" y="306"/>
                  </a:lnTo>
                  <a:lnTo>
                    <a:pt x="396" y="306"/>
                  </a:lnTo>
                  <a:lnTo>
                    <a:pt x="408" y="306"/>
                  </a:lnTo>
                  <a:lnTo>
                    <a:pt x="426" y="312"/>
                  </a:lnTo>
                  <a:lnTo>
                    <a:pt x="456" y="324"/>
                  </a:lnTo>
                  <a:lnTo>
                    <a:pt x="504" y="330"/>
                  </a:lnTo>
                  <a:lnTo>
                    <a:pt x="510" y="336"/>
                  </a:lnTo>
                  <a:lnTo>
                    <a:pt x="534" y="336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58" y="330"/>
                  </a:lnTo>
                  <a:lnTo>
                    <a:pt x="564" y="330"/>
                  </a:lnTo>
                  <a:lnTo>
                    <a:pt x="570" y="354"/>
                  </a:lnTo>
                  <a:lnTo>
                    <a:pt x="564" y="378"/>
                  </a:lnTo>
                  <a:lnTo>
                    <a:pt x="558" y="396"/>
                  </a:lnTo>
                  <a:lnTo>
                    <a:pt x="546" y="414"/>
                  </a:lnTo>
                  <a:lnTo>
                    <a:pt x="546" y="438"/>
                  </a:lnTo>
                  <a:lnTo>
                    <a:pt x="540" y="456"/>
                  </a:lnTo>
                  <a:lnTo>
                    <a:pt x="540" y="474"/>
                  </a:lnTo>
                  <a:lnTo>
                    <a:pt x="528" y="480"/>
                  </a:lnTo>
                  <a:lnTo>
                    <a:pt x="522" y="492"/>
                  </a:lnTo>
                  <a:lnTo>
                    <a:pt x="504" y="498"/>
                  </a:lnTo>
                  <a:lnTo>
                    <a:pt x="498" y="498"/>
                  </a:lnTo>
                  <a:lnTo>
                    <a:pt x="492" y="504"/>
                  </a:lnTo>
                  <a:lnTo>
                    <a:pt x="486" y="510"/>
                  </a:lnTo>
                  <a:lnTo>
                    <a:pt x="480" y="510"/>
                  </a:lnTo>
                  <a:lnTo>
                    <a:pt x="480" y="516"/>
                  </a:lnTo>
                  <a:lnTo>
                    <a:pt x="474" y="522"/>
                  </a:lnTo>
                  <a:lnTo>
                    <a:pt x="474" y="528"/>
                  </a:lnTo>
                  <a:lnTo>
                    <a:pt x="474" y="534"/>
                  </a:lnTo>
                  <a:lnTo>
                    <a:pt x="480" y="540"/>
                  </a:lnTo>
                  <a:lnTo>
                    <a:pt x="492" y="540"/>
                  </a:lnTo>
                  <a:lnTo>
                    <a:pt x="498" y="546"/>
                  </a:lnTo>
                  <a:lnTo>
                    <a:pt x="504" y="552"/>
                  </a:lnTo>
                  <a:lnTo>
                    <a:pt x="510" y="552"/>
                  </a:lnTo>
                  <a:lnTo>
                    <a:pt x="516" y="558"/>
                  </a:lnTo>
                  <a:lnTo>
                    <a:pt x="528" y="558"/>
                  </a:lnTo>
                  <a:lnTo>
                    <a:pt x="534" y="552"/>
                  </a:lnTo>
                  <a:lnTo>
                    <a:pt x="540" y="552"/>
                  </a:lnTo>
                  <a:lnTo>
                    <a:pt x="546" y="552"/>
                  </a:lnTo>
                  <a:lnTo>
                    <a:pt x="558" y="546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70" y="546"/>
                  </a:lnTo>
                  <a:lnTo>
                    <a:pt x="570" y="540"/>
                  </a:lnTo>
                  <a:lnTo>
                    <a:pt x="570" y="546"/>
                  </a:lnTo>
                  <a:lnTo>
                    <a:pt x="576" y="546"/>
                  </a:lnTo>
                  <a:lnTo>
                    <a:pt x="582" y="546"/>
                  </a:lnTo>
                  <a:lnTo>
                    <a:pt x="588" y="540"/>
                  </a:lnTo>
                  <a:lnTo>
                    <a:pt x="594" y="546"/>
                  </a:lnTo>
                  <a:lnTo>
                    <a:pt x="606" y="546"/>
                  </a:lnTo>
                  <a:lnTo>
                    <a:pt x="612" y="546"/>
                  </a:lnTo>
                  <a:lnTo>
                    <a:pt x="612" y="552"/>
                  </a:lnTo>
                  <a:lnTo>
                    <a:pt x="618" y="552"/>
                  </a:lnTo>
                  <a:lnTo>
                    <a:pt x="624" y="552"/>
                  </a:lnTo>
                  <a:lnTo>
                    <a:pt x="630" y="552"/>
                  </a:lnTo>
                  <a:lnTo>
                    <a:pt x="648" y="546"/>
                  </a:lnTo>
                  <a:lnTo>
                    <a:pt x="654" y="546"/>
                  </a:lnTo>
                  <a:lnTo>
                    <a:pt x="654" y="552"/>
                  </a:lnTo>
                  <a:lnTo>
                    <a:pt x="660" y="558"/>
                  </a:lnTo>
                  <a:lnTo>
                    <a:pt x="666" y="564"/>
                  </a:lnTo>
                  <a:lnTo>
                    <a:pt x="672" y="564"/>
                  </a:lnTo>
                  <a:lnTo>
                    <a:pt x="678" y="564"/>
                  </a:lnTo>
                  <a:lnTo>
                    <a:pt x="696" y="576"/>
                  </a:lnTo>
                  <a:lnTo>
                    <a:pt x="696" y="582"/>
                  </a:lnTo>
                  <a:lnTo>
                    <a:pt x="708" y="588"/>
                  </a:lnTo>
                  <a:lnTo>
                    <a:pt x="708" y="594"/>
                  </a:lnTo>
                  <a:lnTo>
                    <a:pt x="720" y="606"/>
                  </a:lnTo>
                  <a:lnTo>
                    <a:pt x="720" y="618"/>
                  </a:lnTo>
                  <a:lnTo>
                    <a:pt x="720" y="624"/>
                  </a:lnTo>
                  <a:lnTo>
                    <a:pt x="726" y="630"/>
                  </a:lnTo>
                  <a:lnTo>
                    <a:pt x="732" y="636"/>
                  </a:lnTo>
                  <a:lnTo>
                    <a:pt x="732" y="642"/>
                  </a:lnTo>
                  <a:lnTo>
                    <a:pt x="732" y="648"/>
                  </a:lnTo>
                  <a:lnTo>
                    <a:pt x="726" y="654"/>
                  </a:lnTo>
                  <a:lnTo>
                    <a:pt x="720" y="660"/>
                  </a:lnTo>
                  <a:lnTo>
                    <a:pt x="714" y="666"/>
                  </a:lnTo>
                  <a:lnTo>
                    <a:pt x="714" y="672"/>
                  </a:lnTo>
                  <a:lnTo>
                    <a:pt x="714" y="678"/>
                  </a:lnTo>
                  <a:lnTo>
                    <a:pt x="720" y="678"/>
                  </a:lnTo>
                  <a:lnTo>
                    <a:pt x="720" y="684"/>
                  </a:lnTo>
                  <a:lnTo>
                    <a:pt x="714" y="690"/>
                  </a:lnTo>
                  <a:lnTo>
                    <a:pt x="714" y="696"/>
                  </a:lnTo>
                  <a:lnTo>
                    <a:pt x="714" y="702"/>
                  </a:lnTo>
                  <a:lnTo>
                    <a:pt x="714" y="708"/>
                  </a:lnTo>
                  <a:lnTo>
                    <a:pt x="720" y="708"/>
                  </a:lnTo>
                  <a:lnTo>
                    <a:pt x="720" y="720"/>
                  </a:lnTo>
                  <a:lnTo>
                    <a:pt x="720" y="726"/>
                  </a:lnTo>
                  <a:lnTo>
                    <a:pt x="726" y="726"/>
                  </a:lnTo>
                  <a:lnTo>
                    <a:pt x="726" y="732"/>
                  </a:lnTo>
                  <a:lnTo>
                    <a:pt x="732" y="732"/>
                  </a:lnTo>
                  <a:lnTo>
                    <a:pt x="732" y="738"/>
                  </a:lnTo>
                  <a:lnTo>
                    <a:pt x="726" y="738"/>
                  </a:lnTo>
                  <a:lnTo>
                    <a:pt x="720" y="738"/>
                  </a:lnTo>
                  <a:lnTo>
                    <a:pt x="720" y="744"/>
                  </a:lnTo>
                  <a:lnTo>
                    <a:pt x="720" y="750"/>
                  </a:lnTo>
                  <a:lnTo>
                    <a:pt x="714" y="750"/>
                  </a:lnTo>
                  <a:lnTo>
                    <a:pt x="714" y="756"/>
                  </a:lnTo>
                  <a:lnTo>
                    <a:pt x="720" y="756"/>
                  </a:lnTo>
                  <a:lnTo>
                    <a:pt x="714" y="762"/>
                  </a:lnTo>
                  <a:lnTo>
                    <a:pt x="720" y="762"/>
                  </a:lnTo>
                  <a:lnTo>
                    <a:pt x="726" y="768"/>
                  </a:lnTo>
                  <a:lnTo>
                    <a:pt x="726" y="774"/>
                  </a:lnTo>
                  <a:lnTo>
                    <a:pt x="732" y="774"/>
                  </a:lnTo>
                  <a:lnTo>
                    <a:pt x="732" y="780"/>
                  </a:lnTo>
                  <a:lnTo>
                    <a:pt x="726" y="780"/>
                  </a:lnTo>
                  <a:lnTo>
                    <a:pt x="726" y="786"/>
                  </a:lnTo>
                  <a:lnTo>
                    <a:pt x="720" y="786"/>
                  </a:lnTo>
                  <a:lnTo>
                    <a:pt x="726" y="786"/>
                  </a:lnTo>
                  <a:lnTo>
                    <a:pt x="732" y="780"/>
                  </a:lnTo>
                  <a:lnTo>
                    <a:pt x="738" y="780"/>
                  </a:lnTo>
                  <a:lnTo>
                    <a:pt x="744" y="780"/>
                  </a:lnTo>
                  <a:lnTo>
                    <a:pt x="744" y="786"/>
                  </a:lnTo>
                  <a:lnTo>
                    <a:pt x="750" y="786"/>
                  </a:lnTo>
                  <a:lnTo>
                    <a:pt x="744" y="786"/>
                  </a:lnTo>
                  <a:lnTo>
                    <a:pt x="744" y="792"/>
                  </a:lnTo>
                  <a:lnTo>
                    <a:pt x="744" y="786"/>
                  </a:lnTo>
                  <a:lnTo>
                    <a:pt x="738" y="792"/>
                  </a:lnTo>
                  <a:lnTo>
                    <a:pt x="744" y="792"/>
                  </a:lnTo>
                  <a:lnTo>
                    <a:pt x="750" y="792"/>
                  </a:lnTo>
                  <a:lnTo>
                    <a:pt x="750" y="786"/>
                  </a:lnTo>
                  <a:lnTo>
                    <a:pt x="756" y="786"/>
                  </a:lnTo>
                  <a:lnTo>
                    <a:pt x="756" y="792"/>
                  </a:lnTo>
                  <a:lnTo>
                    <a:pt x="762" y="792"/>
                  </a:lnTo>
                  <a:lnTo>
                    <a:pt x="756" y="798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0" y="810"/>
                  </a:lnTo>
                  <a:lnTo>
                    <a:pt x="756" y="810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6" y="816"/>
                  </a:lnTo>
                  <a:lnTo>
                    <a:pt x="750" y="816"/>
                  </a:lnTo>
                  <a:lnTo>
                    <a:pt x="738" y="810"/>
                  </a:lnTo>
                  <a:lnTo>
                    <a:pt x="732" y="810"/>
                  </a:lnTo>
                  <a:lnTo>
                    <a:pt x="732" y="816"/>
                  </a:lnTo>
                  <a:lnTo>
                    <a:pt x="726" y="810"/>
                  </a:lnTo>
                  <a:lnTo>
                    <a:pt x="714" y="816"/>
                  </a:lnTo>
                  <a:lnTo>
                    <a:pt x="708" y="816"/>
                  </a:lnTo>
                  <a:lnTo>
                    <a:pt x="702" y="816"/>
                  </a:lnTo>
                  <a:lnTo>
                    <a:pt x="696" y="816"/>
                  </a:lnTo>
                  <a:lnTo>
                    <a:pt x="690" y="822"/>
                  </a:lnTo>
                  <a:lnTo>
                    <a:pt x="684" y="822"/>
                  </a:lnTo>
                  <a:lnTo>
                    <a:pt x="678" y="822"/>
                  </a:lnTo>
                  <a:lnTo>
                    <a:pt x="672" y="822"/>
                  </a:lnTo>
                  <a:lnTo>
                    <a:pt x="666" y="822"/>
                  </a:lnTo>
                  <a:lnTo>
                    <a:pt x="666" y="828"/>
                  </a:lnTo>
                  <a:lnTo>
                    <a:pt x="654" y="828"/>
                  </a:lnTo>
                  <a:lnTo>
                    <a:pt x="648" y="828"/>
                  </a:lnTo>
                  <a:lnTo>
                    <a:pt x="642" y="828"/>
                  </a:lnTo>
                  <a:lnTo>
                    <a:pt x="630" y="828"/>
                  </a:lnTo>
                  <a:lnTo>
                    <a:pt x="624" y="822"/>
                  </a:lnTo>
                  <a:lnTo>
                    <a:pt x="618" y="822"/>
                  </a:lnTo>
                  <a:lnTo>
                    <a:pt x="612" y="822"/>
                  </a:lnTo>
                  <a:lnTo>
                    <a:pt x="606" y="822"/>
                  </a:lnTo>
                  <a:lnTo>
                    <a:pt x="600" y="822"/>
                  </a:lnTo>
                  <a:lnTo>
                    <a:pt x="594" y="822"/>
                  </a:lnTo>
                  <a:lnTo>
                    <a:pt x="594" y="816"/>
                  </a:lnTo>
                  <a:lnTo>
                    <a:pt x="594" y="810"/>
                  </a:lnTo>
                  <a:lnTo>
                    <a:pt x="600" y="804"/>
                  </a:lnTo>
                  <a:lnTo>
                    <a:pt x="600" y="798"/>
                  </a:lnTo>
                  <a:lnTo>
                    <a:pt x="600" y="792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2" y="786"/>
                  </a:lnTo>
                  <a:lnTo>
                    <a:pt x="618" y="786"/>
                  </a:lnTo>
                  <a:lnTo>
                    <a:pt x="624" y="786"/>
                  </a:lnTo>
                  <a:lnTo>
                    <a:pt x="624" y="780"/>
                  </a:lnTo>
                  <a:lnTo>
                    <a:pt x="630" y="780"/>
                  </a:lnTo>
                  <a:lnTo>
                    <a:pt x="630" y="774"/>
                  </a:lnTo>
                  <a:lnTo>
                    <a:pt x="636" y="774"/>
                  </a:lnTo>
                  <a:lnTo>
                    <a:pt x="642" y="780"/>
                  </a:lnTo>
                  <a:lnTo>
                    <a:pt x="642" y="786"/>
                  </a:lnTo>
                  <a:lnTo>
                    <a:pt x="642" y="792"/>
                  </a:lnTo>
                  <a:lnTo>
                    <a:pt x="648" y="792"/>
                  </a:lnTo>
                  <a:lnTo>
                    <a:pt x="648" y="786"/>
                  </a:lnTo>
                  <a:lnTo>
                    <a:pt x="642" y="786"/>
                  </a:lnTo>
                  <a:lnTo>
                    <a:pt x="642" y="780"/>
                  </a:lnTo>
                  <a:lnTo>
                    <a:pt x="642" y="774"/>
                  </a:lnTo>
                  <a:lnTo>
                    <a:pt x="648" y="768"/>
                  </a:lnTo>
                  <a:lnTo>
                    <a:pt x="642" y="768"/>
                  </a:lnTo>
                  <a:lnTo>
                    <a:pt x="648" y="768"/>
                  </a:lnTo>
                  <a:lnTo>
                    <a:pt x="648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66" y="762"/>
                  </a:lnTo>
                  <a:lnTo>
                    <a:pt x="672" y="756"/>
                  </a:lnTo>
                  <a:lnTo>
                    <a:pt x="666" y="756"/>
                  </a:lnTo>
                  <a:lnTo>
                    <a:pt x="660" y="756"/>
                  </a:lnTo>
                  <a:lnTo>
                    <a:pt x="660" y="750"/>
                  </a:lnTo>
                  <a:lnTo>
                    <a:pt x="654" y="750"/>
                  </a:lnTo>
                  <a:lnTo>
                    <a:pt x="648" y="750"/>
                  </a:lnTo>
                  <a:lnTo>
                    <a:pt x="648" y="756"/>
                  </a:lnTo>
                  <a:lnTo>
                    <a:pt x="642" y="756"/>
                  </a:lnTo>
                  <a:lnTo>
                    <a:pt x="642" y="750"/>
                  </a:lnTo>
                  <a:lnTo>
                    <a:pt x="642" y="744"/>
                  </a:lnTo>
                  <a:lnTo>
                    <a:pt x="642" y="750"/>
                  </a:lnTo>
                  <a:lnTo>
                    <a:pt x="636" y="750"/>
                  </a:lnTo>
                  <a:lnTo>
                    <a:pt x="636" y="744"/>
                  </a:lnTo>
                  <a:lnTo>
                    <a:pt x="630" y="744"/>
                  </a:lnTo>
                  <a:lnTo>
                    <a:pt x="630" y="738"/>
                  </a:lnTo>
                  <a:lnTo>
                    <a:pt x="630" y="744"/>
                  </a:lnTo>
                  <a:lnTo>
                    <a:pt x="630" y="750"/>
                  </a:lnTo>
                  <a:lnTo>
                    <a:pt x="636" y="750"/>
                  </a:lnTo>
                  <a:lnTo>
                    <a:pt x="636" y="756"/>
                  </a:lnTo>
                  <a:lnTo>
                    <a:pt x="630" y="756"/>
                  </a:lnTo>
                  <a:lnTo>
                    <a:pt x="636" y="762"/>
                  </a:lnTo>
                  <a:lnTo>
                    <a:pt x="630" y="762"/>
                  </a:lnTo>
                  <a:lnTo>
                    <a:pt x="624" y="762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24" y="786"/>
                  </a:lnTo>
                  <a:lnTo>
                    <a:pt x="618" y="786"/>
                  </a:lnTo>
                  <a:lnTo>
                    <a:pt x="618" y="78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12" y="774"/>
                  </a:lnTo>
                  <a:lnTo>
                    <a:pt x="612" y="780"/>
                  </a:lnTo>
                  <a:lnTo>
                    <a:pt x="606" y="780"/>
                  </a:lnTo>
                  <a:lnTo>
                    <a:pt x="600" y="780"/>
                  </a:lnTo>
                  <a:lnTo>
                    <a:pt x="600" y="774"/>
                  </a:lnTo>
                  <a:lnTo>
                    <a:pt x="594" y="768"/>
                  </a:lnTo>
                  <a:lnTo>
                    <a:pt x="594" y="762"/>
                  </a:lnTo>
                  <a:lnTo>
                    <a:pt x="594" y="756"/>
                  </a:lnTo>
                  <a:lnTo>
                    <a:pt x="594" y="762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594" y="780"/>
                  </a:lnTo>
                  <a:lnTo>
                    <a:pt x="588" y="780"/>
                  </a:lnTo>
                  <a:lnTo>
                    <a:pt x="582" y="780"/>
                  </a:lnTo>
                  <a:lnTo>
                    <a:pt x="576" y="780"/>
                  </a:lnTo>
                  <a:lnTo>
                    <a:pt x="570" y="780"/>
                  </a:lnTo>
                  <a:lnTo>
                    <a:pt x="564" y="780"/>
                  </a:lnTo>
                  <a:lnTo>
                    <a:pt x="564" y="786"/>
                  </a:lnTo>
                  <a:lnTo>
                    <a:pt x="558" y="786"/>
                  </a:lnTo>
                  <a:lnTo>
                    <a:pt x="552" y="786"/>
                  </a:lnTo>
                  <a:lnTo>
                    <a:pt x="552" y="780"/>
                  </a:lnTo>
                  <a:lnTo>
                    <a:pt x="552" y="774"/>
                  </a:lnTo>
                  <a:lnTo>
                    <a:pt x="552" y="768"/>
                  </a:lnTo>
                  <a:lnTo>
                    <a:pt x="546" y="768"/>
                  </a:lnTo>
                  <a:lnTo>
                    <a:pt x="540" y="762"/>
                  </a:lnTo>
                  <a:lnTo>
                    <a:pt x="540" y="756"/>
                  </a:lnTo>
                  <a:lnTo>
                    <a:pt x="534" y="756"/>
                  </a:lnTo>
                  <a:lnTo>
                    <a:pt x="534" y="750"/>
                  </a:lnTo>
                  <a:lnTo>
                    <a:pt x="534" y="744"/>
                  </a:lnTo>
                  <a:lnTo>
                    <a:pt x="528" y="738"/>
                  </a:lnTo>
                  <a:lnTo>
                    <a:pt x="522" y="738"/>
                  </a:lnTo>
                  <a:lnTo>
                    <a:pt x="522" y="732"/>
                  </a:lnTo>
                  <a:lnTo>
                    <a:pt x="510" y="726"/>
                  </a:lnTo>
                  <a:lnTo>
                    <a:pt x="510" y="720"/>
                  </a:lnTo>
                  <a:lnTo>
                    <a:pt x="504" y="720"/>
                  </a:lnTo>
                  <a:lnTo>
                    <a:pt x="504" y="714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8" y="702"/>
                  </a:lnTo>
                  <a:lnTo>
                    <a:pt x="498" y="696"/>
                  </a:lnTo>
                  <a:lnTo>
                    <a:pt x="492" y="690"/>
                  </a:lnTo>
                  <a:lnTo>
                    <a:pt x="492" y="684"/>
                  </a:lnTo>
                  <a:lnTo>
                    <a:pt x="486" y="684"/>
                  </a:lnTo>
                  <a:lnTo>
                    <a:pt x="486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74" y="678"/>
                  </a:lnTo>
                  <a:lnTo>
                    <a:pt x="468" y="678"/>
                  </a:lnTo>
                  <a:lnTo>
                    <a:pt x="462" y="678"/>
                  </a:lnTo>
                  <a:lnTo>
                    <a:pt x="462" y="672"/>
                  </a:lnTo>
                  <a:lnTo>
                    <a:pt x="456" y="672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44" y="666"/>
                  </a:lnTo>
                  <a:lnTo>
                    <a:pt x="438" y="660"/>
                  </a:lnTo>
                  <a:lnTo>
                    <a:pt x="438" y="648"/>
                  </a:lnTo>
                  <a:lnTo>
                    <a:pt x="438" y="642"/>
                  </a:lnTo>
                  <a:lnTo>
                    <a:pt x="438" y="636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36"/>
                  </a:lnTo>
                  <a:lnTo>
                    <a:pt x="420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60"/>
                  </a:lnTo>
                  <a:lnTo>
                    <a:pt x="432" y="666"/>
                  </a:lnTo>
                  <a:lnTo>
                    <a:pt x="438" y="666"/>
                  </a:lnTo>
                  <a:lnTo>
                    <a:pt x="438" y="672"/>
                  </a:lnTo>
                  <a:lnTo>
                    <a:pt x="444" y="672"/>
                  </a:lnTo>
                  <a:lnTo>
                    <a:pt x="444" y="678"/>
                  </a:lnTo>
                  <a:lnTo>
                    <a:pt x="450" y="678"/>
                  </a:lnTo>
                  <a:lnTo>
                    <a:pt x="456" y="678"/>
                  </a:lnTo>
                  <a:lnTo>
                    <a:pt x="456" y="684"/>
                  </a:lnTo>
                  <a:lnTo>
                    <a:pt x="462" y="684"/>
                  </a:lnTo>
                  <a:lnTo>
                    <a:pt x="468" y="684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80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86" y="708"/>
                  </a:lnTo>
                  <a:lnTo>
                    <a:pt x="492" y="714"/>
                  </a:lnTo>
                  <a:lnTo>
                    <a:pt x="492" y="720"/>
                  </a:lnTo>
                  <a:lnTo>
                    <a:pt x="492" y="726"/>
                  </a:lnTo>
                  <a:lnTo>
                    <a:pt x="498" y="732"/>
                  </a:lnTo>
                  <a:lnTo>
                    <a:pt x="492" y="738"/>
                  </a:lnTo>
                  <a:lnTo>
                    <a:pt x="492" y="744"/>
                  </a:lnTo>
                  <a:lnTo>
                    <a:pt x="492" y="750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68" y="738"/>
                  </a:lnTo>
                  <a:lnTo>
                    <a:pt x="468" y="744"/>
                  </a:lnTo>
                  <a:lnTo>
                    <a:pt x="474" y="750"/>
                  </a:lnTo>
                  <a:lnTo>
                    <a:pt x="480" y="756"/>
                  </a:lnTo>
                  <a:lnTo>
                    <a:pt x="486" y="756"/>
                  </a:lnTo>
                  <a:lnTo>
                    <a:pt x="492" y="762"/>
                  </a:lnTo>
                  <a:lnTo>
                    <a:pt x="498" y="768"/>
                  </a:lnTo>
                  <a:lnTo>
                    <a:pt x="492" y="774"/>
                  </a:lnTo>
                  <a:lnTo>
                    <a:pt x="492" y="780"/>
                  </a:lnTo>
                  <a:lnTo>
                    <a:pt x="498" y="780"/>
                  </a:lnTo>
                  <a:lnTo>
                    <a:pt x="492" y="786"/>
                  </a:lnTo>
                  <a:lnTo>
                    <a:pt x="492" y="792"/>
                  </a:lnTo>
                  <a:lnTo>
                    <a:pt x="492" y="79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0" y="810"/>
                  </a:lnTo>
                  <a:lnTo>
                    <a:pt x="480" y="804"/>
                  </a:lnTo>
                  <a:lnTo>
                    <a:pt x="474" y="804"/>
                  </a:lnTo>
                  <a:lnTo>
                    <a:pt x="474" y="798"/>
                  </a:lnTo>
                  <a:lnTo>
                    <a:pt x="474" y="804"/>
                  </a:lnTo>
                  <a:lnTo>
                    <a:pt x="468" y="804"/>
                  </a:lnTo>
                  <a:lnTo>
                    <a:pt x="468" y="810"/>
                  </a:lnTo>
                  <a:lnTo>
                    <a:pt x="462" y="810"/>
                  </a:lnTo>
                  <a:lnTo>
                    <a:pt x="456" y="810"/>
                  </a:lnTo>
                  <a:lnTo>
                    <a:pt x="450" y="810"/>
                  </a:lnTo>
                  <a:lnTo>
                    <a:pt x="450" y="816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50" y="822"/>
                  </a:lnTo>
                  <a:lnTo>
                    <a:pt x="450" y="816"/>
                  </a:lnTo>
                  <a:lnTo>
                    <a:pt x="444" y="816"/>
                  </a:lnTo>
                  <a:lnTo>
                    <a:pt x="438" y="810"/>
                  </a:lnTo>
                  <a:lnTo>
                    <a:pt x="432" y="810"/>
                  </a:lnTo>
                  <a:lnTo>
                    <a:pt x="426" y="804"/>
                  </a:lnTo>
                  <a:lnTo>
                    <a:pt x="426" y="798"/>
                  </a:lnTo>
                  <a:lnTo>
                    <a:pt x="420" y="798"/>
                  </a:lnTo>
                  <a:lnTo>
                    <a:pt x="426" y="798"/>
                  </a:lnTo>
                  <a:lnTo>
                    <a:pt x="426" y="792"/>
                  </a:lnTo>
                  <a:lnTo>
                    <a:pt x="426" y="786"/>
                  </a:lnTo>
                  <a:lnTo>
                    <a:pt x="432" y="786"/>
                  </a:lnTo>
                  <a:lnTo>
                    <a:pt x="432" y="780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0" y="756"/>
                  </a:lnTo>
                  <a:lnTo>
                    <a:pt x="420" y="750"/>
                  </a:lnTo>
                  <a:lnTo>
                    <a:pt x="414" y="750"/>
                  </a:lnTo>
                  <a:lnTo>
                    <a:pt x="420" y="750"/>
                  </a:lnTo>
                  <a:lnTo>
                    <a:pt x="420" y="744"/>
                  </a:lnTo>
                  <a:lnTo>
                    <a:pt x="414" y="744"/>
                  </a:lnTo>
                  <a:lnTo>
                    <a:pt x="414" y="738"/>
                  </a:lnTo>
                  <a:lnTo>
                    <a:pt x="414" y="732"/>
                  </a:lnTo>
                  <a:lnTo>
                    <a:pt x="408" y="732"/>
                  </a:lnTo>
                  <a:lnTo>
                    <a:pt x="408" y="726"/>
                  </a:lnTo>
                  <a:lnTo>
                    <a:pt x="402" y="726"/>
                  </a:lnTo>
                  <a:lnTo>
                    <a:pt x="396" y="726"/>
                  </a:lnTo>
                  <a:lnTo>
                    <a:pt x="390" y="726"/>
                  </a:lnTo>
                  <a:lnTo>
                    <a:pt x="390" y="720"/>
                  </a:lnTo>
                  <a:lnTo>
                    <a:pt x="390" y="714"/>
                  </a:lnTo>
                  <a:lnTo>
                    <a:pt x="384" y="708"/>
                  </a:lnTo>
                  <a:lnTo>
                    <a:pt x="384" y="702"/>
                  </a:lnTo>
                  <a:lnTo>
                    <a:pt x="378" y="702"/>
                  </a:lnTo>
                  <a:lnTo>
                    <a:pt x="378" y="696"/>
                  </a:lnTo>
                  <a:lnTo>
                    <a:pt x="378" y="690"/>
                  </a:lnTo>
                  <a:lnTo>
                    <a:pt x="372" y="684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66" y="666"/>
                  </a:lnTo>
                  <a:lnTo>
                    <a:pt x="366" y="660"/>
                  </a:lnTo>
                  <a:lnTo>
                    <a:pt x="366" y="654"/>
                  </a:lnTo>
                  <a:lnTo>
                    <a:pt x="360" y="648"/>
                  </a:lnTo>
                  <a:lnTo>
                    <a:pt x="360" y="654"/>
                  </a:lnTo>
                  <a:lnTo>
                    <a:pt x="360" y="660"/>
                  </a:lnTo>
                  <a:lnTo>
                    <a:pt x="360" y="666"/>
                  </a:lnTo>
                  <a:lnTo>
                    <a:pt x="360" y="672"/>
                  </a:lnTo>
                  <a:lnTo>
                    <a:pt x="360" y="678"/>
                  </a:lnTo>
                  <a:lnTo>
                    <a:pt x="366" y="678"/>
                  </a:lnTo>
                  <a:lnTo>
                    <a:pt x="366" y="684"/>
                  </a:lnTo>
                  <a:lnTo>
                    <a:pt x="366" y="690"/>
                  </a:lnTo>
                  <a:lnTo>
                    <a:pt x="372" y="696"/>
                  </a:lnTo>
                  <a:lnTo>
                    <a:pt x="372" y="702"/>
                  </a:lnTo>
                  <a:lnTo>
                    <a:pt x="372" y="708"/>
                  </a:lnTo>
                  <a:lnTo>
                    <a:pt x="372" y="714"/>
                  </a:lnTo>
                  <a:lnTo>
                    <a:pt x="366" y="714"/>
                  </a:lnTo>
                  <a:lnTo>
                    <a:pt x="360" y="714"/>
                  </a:lnTo>
                  <a:lnTo>
                    <a:pt x="354" y="714"/>
                  </a:lnTo>
                  <a:lnTo>
                    <a:pt x="348" y="714"/>
                  </a:lnTo>
                  <a:lnTo>
                    <a:pt x="348" y="708"/>
                  </a:lnTo>
                  <a:lnTo>
                    <a:pt x="342" y="708"/>
                  </a:lnTo>
                  <a:lnTo>
                    <a:pt x="342" y="702"/>
                  </a:lnTo>
                  <a:lnTo>
                    <a:pt x="342" y="696"/>
                  </a:lnTo>
                  <a:lnTo>
                    <a:pt x="336" y="696"/>
                  </a:lnTo>
                  <a:lnTo>
                    <a:pt x="336" y="690"/>
                  </a:lnTo>
                  <a:lnTo>
                    <a:pt x="336" y="684"/>
                  </a:lnTo>
                  <a:lnTo>
                    <a:pt x="330" y="684"/>
                  </a:lnTo>
                  <a:lnTo>
                    <a:pt x="330" y="678"/>
                  </a:lnTo>
                  <a:lnTo>
                    <a:pt x="324" y="672"/>
                  </a:lnTo>
                  <a:lnTo>
                    <a:pt x="324" y="666"/>
                  </a:lnTo>
                  <a:lnTo>
                    <a:pt x="318" y="666"/>
                  </a:lnTo>
                  <a:lnTo>
                    <a:pt x="318" y="672"/>
                  </a:lnTo>
                  <a:lnTo>
                    <a:pt x="324" y="672"/>
                  </a:lnTo>
                  <a:lnTo>
                    <a:pt x="324" y="678"/>
                  </a:lnTo>
                  <a:lnTo>
                    <a:pt x="324" y="684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30" y="696"/>
                  </a:lnTo>
                  <a:lnTo>
                    <a:pt x="336" y="702"/>
                  </a:lnTo>
                  <a:lnTo>
                    <a:pt x="342" y="708"/>
                  </a:lnTo>
                  <a:lnTo>
                    <a:pt x="342" y="714"/>
                  </a:lnTo>
                  <a:lnTo>
                    <a:pt x="348" y="720"/>
                  </a:lnTo>
                  <a:lnTo>
                    <a:pt x="342" y="720"/>
                  </a:lnTo>
                  <a:lnTo>
                    <a:pt x="336" y="720"/>
                  </a:lnTo>
                  <a:lnTo>
                    <a:pt x="330" y="720"/>
                  </a:lnTo>
                  <a:lnTo>
                    <a:pt x="330" y="726"/>
                  </a:lnTo>
                  <a:lnTo>
                    <a:pt x="336" y="726"/>
                  </a:lnTo>
                  <a:lnTo>
                    <a:pt x="330" y="732"/>
                  </a:lnTo>
                  <a:lnTo>
                    <a:pt x="330" y="738"/>
                  </a:lnTo>
                  <a:lnTo>
                    <a:pt x="330" y="744"/>
                  </a:lnTo>
                  <a:lnTo>
                    <a:pt x="336" y="744"/>
                  </a:lnTo>
                  <a:lnTo>
                    <a:pt x="342" y="744"/>
                  </a:lnTo>
                  <a:lnTo>
                    <a:pt x="348" y="744"/>
                  </a:lnTo>
                  <a:lnTo>
                    <a:pt x="348" y="750"/>
                  </a:lnTo>
                  <a:lnTo>
                    <a:pt x="354" y="750"/>
                  </a:lnTo>
                  <a:lnTo>
                    <a:pt x="360" y="756"/>
                  </a:lnTo>
                  <a:lnTo>
                    <a:pt x="360" y="762"/>
                  </a:lnTo>
                  <a:lnTo>
                    <a:pt x="366" y="762"/>
                  </a:lnTo>
                  <a:lnTo>
                    <a:pt x="366" y="768"/>
                  </a:lnTo>
                  <a:lnTo>
                    <a:pt x="366" y="774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72" y="792"/>
                  </a:lnTo>
                  <a:lnTo>
                    <a:pt x="372" y="798"/>
                  </a:lnTo>
                  <a:lnTo>
                    <a:pt x="372" y="804"/>
                  </a:lnTo>
                  <a:lnTo>
                    <a:pt x="378" y="804"/>
                  </a:lnTo>
                  <a:lnTo>
                    <a:pt x="378" y="810"/>
                  </a:lnTo>
                  <a:lnTo>
                    <a:pt x="378" y="816"/>
                  </a:lnTo>
                  <a:lnTo>
                    <a:pt x="372" y="816"/>
                  </a:lnTo>
                  <a:lnTo>
                    <a:pt x="378" y="816"/>
                  </a:lnTo>
                  <a:lnTo>
                    <a:pt x="378" y="822"/>
                  </a:lnTo>
                  <a:lnTo>
                    <a:pt x="378" y="828"/>
                  </a:lnTo>
                  <a:lnTo>
                    <a:pt x="378" y="834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0" y="864"/>
                  </a:lnTo>
                  <a:lnTo>
                    <a:pt x="384" y="864"/>
                  </a:lnTo>
                  <a:lnTo>
                    <a:pt x="384" y="870"/>
                  </a:lnTo>
                  <a:lnTo>
                    <a:pt x="378" y="864"/>
                  </a:lnTo>
                  <a:lnTo>
                    <a:pt x="372" y="864"/>
                  </a:lnTo>
                  <a:lnTo>
                    <a:pt x="366" y="858"/>
                  </a:lnTo>
                  <a:lnTo>
                    <a:pt x="366" y="852"/>
                  </a:lnTo>
                  <a:lnTo>
                    <a:pt x="360" y="852"/>
                  </a:lnTo>
                  <a:lnTo>
                    <a:pt x="360" y="858"/>
                  </a:lnTo>
                  <a:lnTo>
                    <a:pt x="366" y="858"/>
                  </a:lnTo>
                  <a:lnTo>
                    <a:pt x="366" y="864"/>
                  </a:lnTo>
                  <a:lnTo>
                    <a:pt x="360" y="864"/>
                  </a:lnTo>
                  <a:lnTo>
                    <a:pt x="354" y="864"/>
                  </a:lnTo>
                  <a:lnTo>
                    <a:pt x="354" y="870"/>
                  </a:lnTo>
                  <a:lnTo>
                    <a:pt x="354" y="864"/>
                  </a:lnTo>
                  <a:lnTo>
                    <a:pt x="348" y="864"/>
                  </a:lnTo>
                  <a:lnTo>
                    <a:pt x="342" y="864"/>
                  </a:lnTo>
                  <a:lnTo>
                    <a:pt x="342" y="858"/>
                  </a:lnTo>
                  <a:lnTo>
                    <a:pt x="336" y="858"/>
                  </a:lnTo>
                  <a:lnTo>
                    <a:pt x="330" y="858"/>
                  </a:lnTo>
                  <a:lnTo>
                    <a:pt x="324" y="858"/>
                  </a:lnTo>
                  <a:lnTo>
                    <a:pt x="318" y="858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0" y="852"/>
                  </a:lnTo>
                  <a:lnTo>
                    <a:pt x="294" y="852"/>
                  </a:lnTo>
                  <a:lnTo>
                    <a:pt x="294" y="846"/>
                  </a:lnTo>
                  <a:lnTo>
                    <a:pt x="288" y="840"/>
                  </a:lnTo>
                  <a:lnTo>
                    <a:pt x="288" y="828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2" y="816"/>
                  </a:lnTo>
                  <a:lnTo>
                    <a:pt x="282" y="810"/>
                  </a:lnTo>
                  <a:lnTo>
                    <a:pt x="276" y="810"/>
                  </a:lnTo>
                  <a:lnTo>
                    <a:pt x="276" y="804"/>
                  </a:lnTo>
                  <a:lnTo>
                    <a:pt x="276" y="798"/>
                  </a:lnTo>
                  <a:lnTo>
                    <a:pt x="276" y="792"/>
                  </a:lnTo>
                  <a:lnTo>
                    <a:pt x="270" y="786"/>
                  </a:lnTo>
                  <a:lnTo>
                    <a:pt x="270" y="780"/>
                  </a:lnTo>
                  <a:lnTo>
                    <a:pt x="270" y="774"/>
                  </a:lnTo>
                  <a:lnTo>
                    <a:pt x="264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64" y="750"/>
                  </a:lnTo>
                  <a:lnTo>
                    <a:pt x="264" y="744"/>
                  </a:lnTo>
                  <a:lnTo>
                    <a:pt x="264" y="738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26"/>
                  </a:lnTo>
                  <a:lnTo>
                    <a:pt x="276" y="720"/>
                  </a:lnTo>
                  <a:lnTo>
                    <a:pt x="282" y="720"/>
                  </a:lnTo>
                  <a:lnTo>
                    <a:pt x="282" y="714"/>
                  </a:lnTo>
                  <a:lnTo>
                    <a:pt x="282" y="708"/>
                  </a:lnTo>
                  <a:lnTo>
                    <a:pt x="276" y="708"/>
                  </a:lnTo>
                  <a:lnTo>
                    <a:pt x="276" y="702"/>
                  </a:lnTo>
                  <a:lnTo>
                    <a:pt x="270" y="702"/>
                  </a:lnTo>
                  <a:lnTo>
                    <a:pt x="270" y="696"/>
                  </a:lnTo>
                  <a:lnTo>
                    <a:pt x="264" y="690"/>
                  </a:lnTo>
                  <a:lnTo>
                    <a:pt x="258" y="690"/>
                  </a:lnTo>
                  <a:lnTo>
                    <a:pt x="258" y="684"/>
                  </a:lnTo>
                  <a:lnTo>
                    <a:pt x="252" y="684"/>
                  </a:lnTo>
                  <a:lnTo>
                    <a:pt x="252" y="678"/>
                  </a:lnTo>
                  <a:lnTo>
                    <a:pt x="246" y="678"/>
                  </a:lnTo>
                  <a:lnTo>
                    <a:pt x="240" y="678"/>
                  </a:lnTo>
                  <a:lnTo>
                    <a:pt x="240" y="684"/>
                  </a:lnTo>
                  <a:lnTo>
                    <a:pt x="246" y="684"/>
                  </a:lnTo>
                  <a:lnTo>
                    <a:pt x="252" y="690"/>
                  </a:lnTo>
                  <a:lnTo>
                    <a:pt x="258" y="690"/>
                  </a:lnTo>
                  <a:lnTo>
                    <a:pt x="258" y="696"/>
                  </a:lnTo>
                  <a:lnTo>
                    <a:pt x="258" y="702"/>
                  </a:lnTo>
                  <a:lnTo>
                    <a:pt x="264" y="702"/>
                  </a:lnTo>
                  <a:lnTo>
                    <a:pt x="270" y="708"/>
                  </a:lnTo>
                  <a:lnTo>
                    <a:pt x="270" y="714"/>
                  </a:lnTo>
                  <a:lnTo>
                    <a:pt x="270" y="720"/>
                  </a:lnTo>
                  <a:lnTo>
                    <a:pt x="276" y="720"/>
                  </a:lnTo>
                  <a:lnTo>
                    <a:pt x="270" y="720"/>
                  </a:lnTo>
                  <a:lnTo>
                    <a:pt x="270" y="726"/>
                  </a:lnTo>
                  <a:lnTo>
                    <a:pt x="264" y="726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52" y="738"/>
                  </a:lnTo>
                  <a:lnTo>
                    <a:pt x="252" y="744"/>
                  </a:lnTo>
                  <a:lnTo>
                    <a:pt x="252" y="750"/>
                  </a:lnTo>
                  <a:lnTo>
                    <a:pt x="252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58" y="774"/>
                  </a:lnTo>
                  <a:lnTo>
                    <a:pt x="258" y="780"/>
                  </a:lnTo>
                  <a:lnTo>
                    <a:pt x="264" y="786"/>
                  </a:lnTo>
                  <a:lnTo>
                    <a:pt x="264" y="792"/>
                  </a:lnTo>
                  <a:lnTo>
                    <a:pt x="264" y="798"/>
                  </a:lnTo>
                  <a:lnTo>
                    <a:pt x="270" y="810"/>
                  </a:lnTo>
                  <a:lnTo>
                    <a:pt x="270" y="816"/>
                  </a:lnTo>
                  <a:lnTo>
                    <a:pt x="270" y="822"/>
                  </a:lnTo>
                  <a:lnTo>
                    <a:pt x="276" y="822"/>
                  </a:lnTo>
                  <a:lnTo>
                    <a:pt x="276" y="828"/>
                  </a:lnTo>
                  <a:lnTo>
                    <a:pt x="276" y="834"/>
                  </a:lnTo>
                  <a:lnTo>
                    <a:pt x="276" y="840"/>
                  </a:lnTo>
                  <a:lnTo>
                    <a:pt x="276" y="846"/>
                  </a:lnTo>
                  <a:lnTo>
                    <a:pt x="282" y="852"/>
                  </a:lnTo>
                  <a:lnTo>
                    <a:pt x="282" y="858"/>
                  </a:lnTo>
                  <a:lnTo>
                    <a:pt x="294" y="864"/>
                  </a:lnTo>
                  <a:lnTo>
                    <a:pt x="300" y="870"/>
                  </a:lnTo>
                  <a:lnTo>
                    <a:pt x="300" y="876"/>
                  </a:lnTo>
                  <a:lnTo>
                    <a:pt x="288" y="876"/>
                  </a:lnTo>
                  <a:lnTo>
                    <a:pt x="282" y="876"/>
                  </a:lnTo>
                  <a:lnTo>
                    <a:pt x="276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2" y="882"/>
                  </a:lnTo>
                  <a:lnTo>
                    <a:pt x="246" y="882"/>
                  </a:lnTo>
                  <a:lnTo>
                    <a:pt x="240" y="882"/>
                  </a:lnTo>
                  <a:lnTo>
                    <a:pt x="234" y="882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204" y="876"/>
                  </a:lnTo>
                  <a:lnTo>
                    <a:pt x="198" y="876"/>
                  </a:lnTo>
                  <a:lnTo>
                    <a:pt x="198" y="870"/>
                  </a:lnTo>
                  <a:lnTo>
                    <a:pt x="198" y="852"/>
                  </a:lnTo>
                  <a:lnTo>
                    <a:pt x="198" y="846"/>
                  </a:lnTo>
                  <a:lnTo>
                    <a:pt x="204" y="846"/>
                  </a:lnTo>
                  <a:lnTo>
                    <a:pt x="198" y="840"/>
                  </a:lnTo>
                  <a:lnTo>
                    <a:pt x="198" y="834"/>
                  </a:lnTo>
                  <a:lnTo>
                    <a:pt x="198" y="828"/>
                  </a:lnTo>
                  <a:lnTo>
                    <a:pt x="198" y="822"/>
                  </a:lnTo>
                  <a:lnTo>
                    <a:pt x="198" y="816"/>
                  </a:lnTo>
                  <a:lnTo>
                    <a:pt x="198" y="810"/>
                  </a:lnTo>
                  <a:lnTo>
                    <a:pt x="192" y="810"/>
                  </a:lnTo>
                  <a:lnTo>
                    <a:pt x="192" y="804"/>
                  </a:lnTo>
                  <a:lnTo>
                    <a:pt x="192" y="798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2" y="774"/>
                  </a:lnTo>
                  <a:lnTo>
                    <a:pt x="192" y="768"/>
                  </a:lnTo>
                  <a:lnTo>
                    <a:pt x="198" y="768"/>
                  </a:lnTo>
                  <a:lnTo>
                    <a:pt x="198" y="762"/>
                  </a:lnTo>
                  <a:lnTo>
                    <a:pt x="198" y="756"/>
                  </a:lnTo>
                  <a:lnTo>
                    <a:pt x="204" y="756"/>
                  </a:lnTo>
                  <a:lnTo>
                    <a:pt x="204" y="750"/>
                  </a:lnTo>
                  <a:lnTo>
                    <a:pt x="210" y="744"/>
                  </a:lnTo>
                  <a:lnTo>
                    <a:pt x="210" y="738"/>
                  </a:lnTo>
                  <a:lnTo>
                    <a:pt x="210" y="732"/>
                  </a:lnTo>
                  <a:lnTo>
                    <a:pt x="210" y="726"/>
                  </a:lnTo>
                  <a:lnTo>
                    <a:pt x="210" y="720"/>
                  </a:lnTo>
                  <a:lnTo>
                    <a:pt x="204" y="714"/>
                  </a:lnTo>
                  <a:lnTo>
                    <a:pt x="204" y="720"/>
                  </a:lnTo>
                  <a:lnTo>
                    <a:pt x="204" y="732"/>
                  </a:lnTo>
                  <a:lnTo>
                    <a:pt x="204" y="738"/>
                  </a:lnTo>
                  <a:lnTo>
                    <a:pt x="198" y="738"/>
                  </a:lnTo>
                  <a:lnTo>
                    <a:pt x="198" y="744"/>
                  </a:lnTo>
                  <a:lnTo>
                    <a:pt x="198" y="750"/>
                  </a:lnTo>
                  <a:lnTo>
                    <a:pt x="192" y="756"/>
                  </a:lnTo>
                  <a:lnTo>
                    <a:pt x="186" y="762"/>
                  </a:lnTo>
                  <a:lnTo>
                    <a:pt x="186" y="768"/>
                  </a:lnTo>
                  <a:lnTo>
                    <a:pt x="186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98"/>
                  </a:lnTo>
                  <a:lnTo>
                    <a:pt x="186" y="804"/>
                  </a:lnTo>
                  <a:lnTo>
                    <a:pt x="186" y="810"/>
                  </a:lnTo>
                  <a:lnTo>
                    <a:pt x="192" y="816"/>
                  </a:lnTo>
                  <a:lnTo>
                    <a:pt x="192" y="828"/>
                  </a:lnTo>
                  <a:lnTo>
                    <a:pt x="192" y="834"/>
                  </a:lnTo>
                  <a:lnTo>
                    <a:pt x="186" y="834"/>
                  </a:lnTo>
                  <a:lnTo>
                    <a:pt x="186" y="828"/>
                  </a:lnTo>
                  <a:lnTo>
                    <a:pt x="180" y="822"/>
                  </a:lnTo>
                  <a:lnTo>
                    <a:pt x="180" y="816"/>
                  </a:lnTo>
                  <a:lnTo>
                    <a:pt x="180" y="810"/>
                  </a:lnTo>
                  <a:lnTo>
                    <a:pt x="174" y="810"/>
                  </a:lnTo>
                  <a:lnTo>
                    <a:pt x="174" y="804"/>
                  </a:lnTo>
                  <a:lnTo>
                    <a:pt x="174" y="798"/>
                  </a:lnTo>
                  <a:lnTo>
                    <a:pt x="174" y="792"/>
                  </a:lnTo>
                  <a:lnTo>
                    <a:pt x="168" y="786"/>
                  </a:lnTo>
                  <a:lnTo>
                    <a:pt x="168" y="780"/>
                  </a:lnTo>
                  <a:lnTo>
                    <a:pt x="162" y="780"/>
                  </a:lnTo>
                  <a:lnTo>
                    <a:pt x="168" y="774"/>
                  </a:lnTo>
                  <a:lnTo>
                    <a:pt x="168" y="768"/>
                  </a:lnTo>
                  <a:lnTo>
                    <a:pt x="174" y="768"/>
                  </a:lnTo>
                  <a:lnTo>
                    <a:pt x="168" y="768"/>
                  </a:lnTo>
                  <a:lnTo>
                    <a:pt x="162" y="774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50" y="774"/>
                  </a:lnTo>
                  <a:lnTo>
                    <a:pt x="144" y="774"/>
                  </a:lnTo>
                  <a:lnTo>
                    <a:pt x="144" y="768"/>
                  </a:lnTo>
                  <a:lnTo>
                    <a:pt x="144" y="762"/>
                  </a:lnTo>
                  <a:lnTo>
                    <a:pt x="138" y="756"/>
                  </a:lnTo>
                  <a:lnTo>
                    <a:pt x="132" y="756"/>
                  </a:lnTo>
                  <a:lnTo>
                    <a:pt x="138" y="756"/>
                  </a:lnTo>
                  <a:lnTo>
                    <a:pt x="138" y="762"/>
                  </a:lnTo>
                  <a:lnTo>
                    <a:pt x="138" y="768"/>
                  </a:lnTo>
                  <a:lnTo>
                    <a:pt x="144" y="768"/>
                  </a:lnTo>
                  <a:lnTo>
                    <a:pt x="144" y="774"/>
                  </a:lnTo>
                  <a:lnTo>
                    <a:pt x="150" y="780"/>
                  </a:lnTo>
                  <a:lnTo>
                    <a:pt x="156" y="780"/>
                  </a:lnTo>
                  <a:lnTo>
                    <a:pt x="156" y="786"/>
                  </a:lnTo>
                  <a:lnTo>
                    <a:pt x="162" y="786"/>
                  </a:lnTo>
                  <a:lnTo>
                    <a:pt x="168" y="792"/>
                  </a:lnTo>
                  <a:lnTo>
                    <a:pt x="168" y="798"/>
                  </a:lnTo>
                  <a:lnTo>
                    <a:pt x="168" y="804"/>
                  </a:lnTo>
                  <a:lnTo>
                    <a:pt x="174" y="810"/>
                  </a:lnTo>
                  <a:lnTo>
                    <a:pt x="174" y="816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68" y="828"/>
                  </a:lnTo>
                  <a:lnTo>
                    <a:pt x="168" y="834"/>
                  </a:lnTo>
                  <a:lnTo>
                    <a:pt x="174" y="840"/>
                  </a:lnTo>
                  <a:lnTo>
                    <a:pt x="180" y="840"/>
                  </a:lnTo>
                  <a:lnTo>
                    <a:pt x="180" y="846"/>
                  </a:lnTo>
                  <a:lnTo>
                    <a:pt x="186" y="846"/>
                  </a:lnTo>
                  <a:lnTo>
                    <a:pt x="186" y="852"/>
                  </a:lnTo>
                  <a:lnTo>
                    <a:pt x="186" y="858"/>
                  </a:lnTo>
                  <a:lnTo>
                    <a:pt x="186" y="864"/>
                  </a:lnTo>
                  <a:lnTo>
                    <a:pt x="192" y="864"/>
                  </a:lnTo>
                  <a:lnTo>
                    <a:pt x="192" y="870"/>
                  </a:lnTo>
                  <a:lnTo>
                    <a:pt x="192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6" y="888"/>
                  </a:lnTo>
                  <a:lnTo>
                    <a:pt x="180" y="888"/>
                  </a:lnTo>
                  <a:lnTo>
                    <a:pt x="174" y="888"/>
                  </a:lnTo>
                  <a:lnTo>
                    <a:pt x="168" y="894"/>
                  </a:lnTo>
                  <a:lnTo>
                    <a:pt x="162" y="894"/>
                  </a:lnTo>
                  <a:lnTo>
                    <a:pt x="156" y="894"/>
                  </a:lnTo>
                  <a:lnTo>
                    <a:pt x="150" y="894"/>
                  </a:lnTo>
                  <a:lnTo>
                    <a:pt x="144" y="894"/>
                  </a:lnTo>
                  <a:lnTo>
                    <a:pt x="144" y="900"/>
                  </a:lnTo>
                  <a:lnTo>
                    <a:pt x="138" y="894"/>
                  </a:lnTo>
                  <a:lnTo>
                    <a:pt x="138" y="900"/>
                  </a:lnTo>
                  <a:lnTo>
                    <a:pt x="132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6" y="882"/>
                  </a:lnTo>
                  <a:lnTo>
                    <a:pt x="126" y="876"/>
                  </a:lnTo>
                  <a:lnTo>
                    <a:pt x="120" y="876"/>
                  </a:lnTo>
                  <a:lnTo>
                    <a:pt x="126" y="870"/>
                  </a:lnTo>
                  <a:lnTo>
                    <a:pt x="126" y="864"/>
                  </a:lnTo>
                  <a:lnTo>
                    <a:pt x="126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26" y="828"/>
                  </a:lnTo>
                  <a:lnTo>
                    <a:pt x="126" y="822"/>
                  </a:lnTo>
                  <a:lnTo>
                    <a:pt x="126" y="816"/>
                  </a:lnTo>
                  <a:lnTo>
                    <a:pt x="126" y="810"/>
                  </a:lnTo>
                  <a:lnTo>
                    <a:pt x="126" y="804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20" y="792"/>
                  </a:lnTo>
                  <a:lnTo>
                    <a:pt x="114" y="792"/>
                  </a:lnTo>
                  <a:lnTo>
                    <a:pt x="114" y="786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96" y="780"/>
                  </a:lnTo>
                  <a:lnTo>
                    <a:pt x="96" y="774"/>
                  </a:lnTo>
                  <a:lnTo>
                    <a:pt x="90" y="774"/>
                  </a:lnTo>
                  <a:lnTo>
                    <a:pt x="90" y="768"/>
                  </a:lnTo>
                  <a:close/>
                  <a:moveTo>
                    <a:pt x="96" y="780"/>
                  </a:moveTo>
                  <a:lnTo>
                    <a:pt x="102" y="780"/>
                  </a:lnTo>
                  <a:lnTo>
                    <a:pt x="102" y="786"/>
                  </a:lnTo>
                  <a:lnTo>
                    <a:pt x="108" y="786"/>
                  </a:lnTo>
                  <a:lnTo>
                    <a:pt x="114" y="792"/>
                  </a:lnTo>
                  <a:lnTo>
                    <a:pt x="120" y="798"/>
                  </a:lnTo>
                  <a:lnTo>
                    <a:pt x="120" y="804"/>
                  </a:lnTo>
                  <a:lnTo>
                    <a:pt x="126" y="810"/>
                  </a:lnTo>
                  <a:lnTo>
                    <a:pt x="126" y="816"/>
                  </a:lnTo>
                  <a:lnTo>
                    <a:pt x="126" y="822"/>
                  </a:lnTo>
                  <a:lnTo>
                    <a:pt x="120" y="828"/>
                  </a:lnTo>
                  <a:lnTo>
                    <a:pt x="120" y="840"/>
                  </a:lnTo>
                  <a:lnTo>
                    <a:pt x="120" y="852"/>
                  </a:lnTo>
                  <a:lnTo>
                    <a:pt x="120" y="858"/>
                  </a:lnTo>
                  <a:lnTo>
                    <a:pt x="120" y="864"/>
                  </a:lnTo>
                  <a:lnTo>
                    <a:pt x="120" y="870"/>
                  </a:lnTo>
                  <a:lnTo>
                    <a:pt x="114" y="870"/>
                  </a:lnTo>
                  <a:lnTo>
                    <a:pt x="108" y="870"/>
                  </a:lnTo>
                  <a:lnTo>
                    <a:pt x="108" y="876"/>
                  </a:lnTo>
                  <a:lnTo>
                    <a:pt x="114" y="876"/>
                  </a:lnTo>
                  <a:lnTo>
                    <a:pt x="120" y="876"/>
                  </a:lnTo>
                  <a:lnTo>
                    <a:pt x="120" y="882"/>
                  </a:lnTo>
                  <a:lnTo>
                    <a:pt x="114" y="888"/>
                  </a:lnTo>
                  <a:lnTo>
                    <a:pt x="120" y="888"/>
                  </a:lnTo>
                  <a:lnTo>
                    <a:pt x="120" y="894"/>
                  </a:lnTo>
                  <a:lnTo>
                    <a:pt x="114" y="894"/>
                  </a:lnTo>
                  <a:lnTo>
                    <a:pt x="108" y="894"/>
                  </a:lnTo>
                  <a:lnTo>
                    <a:pt x="96" y="894"/>
                  </a:lnTo>
                  <a:lnTo>
                    <a:pt x="96" y="882"/>
                  </a:lnTo>
                  <a:lnTo>
                    <a:pt x="96" y="876"/>
                  </a:lnTo>
                  <a:lnTo>
                    <a:pt x="84" y="870"/>
                  </a:lnTo>
                  <a:lnTo>
                    <a:pt x="72" y="864"/>
                  </a:lnTo>
                  <a:lnTo>
                    <a:pt x="72" y="852"/>
                  </a:lnTo>
                  <a:lnTo>
                    <a:pt x="72" y="840"/>
                  </a:lnTo>
                  <a:lnTo>
                    <a:pt x="78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90" y="792"/>
                  </a:lnTo>
                  <a:lnTo>
                    <a:pt x="96" y="780"/>
                  </a:lnTo>
                  <a:close/>
                  <a:moveTo>
                    <a:pt x="492" y="810"/>
                  </a:moveTo>
                  <a:lnTo>
                    <a:pt x="498" y="810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510" y="792"/>
                  </a:lnTo>
                  <a:lnTo>
                    <a:pt x="516" y="786"/>
                  </a:lnTo>
                  <a:lnTo>
                    <a:pt x="522" y="780"/>
                  </a:lnTo>
                  <a:lnTo>
                    <a:pt x="522" y="774"/>
                  </a:lnTo>
                  <a:lnTo>
                    <a:pt x="528" y="768"/>
                  </a:lnTo>
                  <a:lnTo>
                    <a:pt x="528" y="762"/>
                  </a:lnTo>
                  <a:lnTo>
                    <a:pt x="534" y="762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46" y="780"/>
                  </a:lnTo>
                  <a:lnTo>
                    <a:pt x="552" y="786"/>
                  </a:lnTo>
                  <a:lnTo>
                    <a:pt x="558" y="786"/>
                  </a:lnTo>
                  <a:lnTo>
                    <a:pt x="564" y="786"/>
                  </a:lnTo>
                  <a:lnTo>
                    <a:pt x="576" y="786"/>
                  </a:lnTo>
                  <a:lnTo>
                    <a:pt x="582" y="786"/>
                  </a:lnTo>
                  <a:lnTo>
                    <a:pt x="588" y="786"/>
                  </a:lnTo>
                  <a:lnTo>
                    <a:pt x="594" y="786"/>
                  </a:lnTo>
                  <a:lnTo>
                    <a:pt x="588" y="792"/>
                  </a:lnTo>
                  <a:lnTo>
                    <a:pt x="588" y="798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82" y="822"/>
                  </a:lnTo>
                  <a:lnTo>
                    <a:pt x="588" y="828"/>
                  </a:lnTo>
                  <a:lnTo>
                    <a:pt x="588" y="834"/>
                  </a:lnTo>
                  <a:lnTo>
                    <a:pt x="582" y="840"/>
                  </a:lnTo>
                  <a:lnTo>
                    <a:pt x="570" y="840"/>
                  </a:lnTo>
                  <a:lnTo>
                    <a:pt x="558" y="846"/>
                  </a:lnTo>
                  <a:lnTo>
                    <a:pt x="552" y="846"/>
                  </a:lnTo>
                  <a:lnTo>
                    <a:pt x="534" y="852"/>
                  </a:lnTo>
                  <a:lnTo>
                    <a:pt x="522" y="858"/>
                  </a:lnTo>
                  <a:lnTo>
                    <a:pt x="510" y="858"/>
                  </a:lnTo>
                  <a:lnTo>
                    <a:pt x="498" y="864"/>
                  </a:lnTo>
                  <a:lnTo>
                    <a:pt x="474" y="864"/>
                  </a:lnTo>
                  <a:lnTo>
                    <a:pt x="468" y="858"/>
                  </a:lnTo>
                  <a:lnTo>
                    <a:pt x="468" y="852"/>
                  </a:lnTo>
                  <a:lnTo>
                    <a:pt x="468" y="846"/>
                  </a:lnTo>
                  <a:lnTo>
                    <a:pt x="474" y="840"/>
                  </a:lnTo>
                  <a:lnTo>
                    <a:pt x="474" y="834"/>
                  </a:lnTo>
                  <a:lnTo>
                    <a:pt x="480" y="828"/>
                  </a:lnTo>
                  <a:lnTo>
                    <a:pt x="492" y="822"/>
                  </a:lnTo>
                  <a:lnTo>
                    <a:pt x="492" y="810"/>
                  </a:lnTo>
                  <a:close/>
                  <a:moveTo>
                    <a:pt x="384" y="720"/>
                  </a:moveTo>
                  <a:lnTo>
                    <a:pt x="384" y="726"/>
                  </a:lnTo>
                  <a:lnTo>
                    <a:pt x="390" y="726"/>
                  </a:lnTo>
                  <a:lnTo>
                    <a:pt x="396" y="726"/>
                  </a:lnTo>
                  <a:lnTo>
                    <a:pt x="402" y="732"/>
                  </a:lnTo>
                  <a:lnTo>
                    <a:pt x="408" y="732"/>
                  </a:lnTo>
                  <a:lnTo>
                    <a:pt x="414" y="732"/>
                  </a:lnTo>
                  <a:lnTo>
                    <a:pt x="414" y="738"/>
                  </a:lnTo>
                  <a:lnTo>
                    <a:pt x="414" y="744"/>
                  </a:lnTo>
                  <a:lnTo>
                    <a:pt x="414" y="750"/>
                  </a:lnTo>
                  <a:lnTo>
                    <a:pt x="414" y="756"/>
                  </a:lnTo>
                  <a:lnTo>
                    <a:pt x="414" y="762"/>
                  </a:lnTo>
                  <a:lnTo>
                    <a:pt x="420" y="768"/>
                  </a:lnTo>
                  <a:lnTo>
                    <a:pt x="420" y="774"/>
                  </a:lnTo>
                  <a:lnTo>
                    <a:pt x="426" y="780"/>
                  </a:lnTo>
                  <a:lnTo>
                    <a:pt x="426" y="786"/>
                  </a:lnTo>
                  <a:lnTo>
                    <a:pt x="420" y="786"/>
                  </a:lnTo>
                  <a:lnTo>
                    <a:pt x="420" y="792"/>
                  </a:lnTo>
                  <a:lnTo>
                    <a:pt x="420" y="798"/>
                  </a:lnTo>
                  <a:lnTo>
                    <a:pt x="420" y="804"/>
                  </a:lnTo>
                  <a:lnTo>
                    <a:pt x="426" y="804"/>
                  </a:lnTo>
                  <a:lnTo>
                    <a:pt x="426" y="810"/>
                  </a:lnTo>
                  <a:lnTo>
                    <a:pt x="426" y="816"/>
                  </a:lnTo>
                  <a:lnTo>
                    <a:pt x="432" y="816"/>
                  </a:lnTo>
                  <a:lnTo>
                    <a:pt x="438" y="816"/>
                  </a:lnTo>
                  <a:lnTo>
                    <a:pt x="438" y="822"/>
                  </a:lnTo>
                  <a:lnTo>
                    <a:pt x="432" y="822"/>
                  </a:lnTo>
                  <a:lnTo>
                    <a:pt x="426" y="828"/>
                  </a:lnTo>
                  <a:lnTo>
                    <a:pt x="420" y="828"/>
                  </a:lnTo>
                  <a:lnTo>
                    <a:pt x="414" y="828"/>
                  </a:lnTo>
                  <a:lnTo>
                    <a:pt x="408" y="828"/>
                  </a:lnTo>
                  <a:lnTo>
                    <a:pt x="402" y="828"/>
                  </a:lnTo>
                  <a:lnTo>
                    <a:pt x="402" y="822"/>
                  </a:lnTo>
                  <a:lnTo>
                    <a:pt x="396" y="822"/>
                  </a:lnTo>
                  <a:lnTo>
                    <a:pt x="402" y="822"/>
                  </a:lnTo>
                  <a:lnTo>
                    <a:pt x="402" y="816"/>
                  </a:lnTo>
                  <a:lnTo>
                    <a:pt x="396" y="816"/>
                  </a:lnTo>
                  <a:lnTo>
                    <a:pt x="396" y="810"/>
                  </a:lnTo>
                  <a:lnTo>
                    <a:pt x="396" y="804"/>
                  </a:lnTo>
                  <a:lnTo>
                    <a:pt x="390" y="798"/>
                  </a:lnTo>
                  <a:lnTo>
                    <a:pt x="390" y="792"/>
                  </a:lnTo>
                  <a:lnTo>
                    <a:pt x="390" y="786"/>
                  </a:lnTo>
                  <a:lnTo>
                    <a:pt x="390" y="780"/>
                  </a:lnTo>
                  <a:lnTo>
                    <a:pt x="390" y="774"/>
                  </a:lnTo>
                  <a:lnTo>
                    <a:pt x="390" y="768"/>
                  </a:lnTo>
                  <a:lnTo>
                    <a:pt x="390" y="762"/>
                  </a:lnTo>
                  <a:lnTo>
                    <a:pt x="384" y="756"/>
                  </a:lnTo>
                  <a:lnTo>
                    <a:pt x="384" y="750"/>
                  </a:lnTo>
                  <a:lnTo>
                    <a:pt x="384" y="744"/>
                  </a:lnTo>
                  <a:lnTo>
                    <a:pt x="378" y="744"/>
                  </a:lnTo>
                  <a:lnTo>
                    <a:pt x="384" y="744"/>
                  </a:lnTo>
                  <a:lnTo>
                    <a:pt x="384" y="738"/>
                  </a:lnTo>
                  <a:lnTo>
                    <a:pt x="378" y="738"/>
                  </a:lnTo>
                  <a:lnTo>
                    <a:pt x="378" y="732"/>
                  </a:lnTo>
                  <a:lnTo>
                    <a:pt x="378" y="726"/>
                  </a:lnTo>
                  <a:lnTo>
                    <a:pt x="378" y="720"/>
                  </a:lnTo>
                  <a:lnTo>
                    <a:pt x="384" y="720"/>
                  </a:lnTo>
                  <a:close/>
                  <a:moveTo>
                    <a:pt x="330" y="738"/>
                  </a:moveTo>
                  <a:lnTo>
                    <a:pt x="336" y="732"/>
                  </a:lnTo>
                  <a:lnTo>
                    <a:pt x="336" y="726"/>
                  </a:lnTo>
                  <a:lnTo>
                    <a:pt x="342" y="720"/>
                  </a:lnTo>
                  <a:lnTo>
                    <a:pt x="348" y="720"/>
                  </a:lnTo>
                  <a:lnTo>
                    <a:pt x="360" y="720"/>
                  </a:lnTo>
                  <a:lnTo>
                    <a:pt x="366" y="726"/>
                  </a:lnTo>
                  <a:lnTo>
                    <a:pt x="372" y="732"/>
                  </a:lnTo>
                  <a:lnTo>
                    <a:pt x="372" y="738"/>
                  </a:lnTo>
                  <a:lnTo>
                    <a:pt x="366" y="750"/>
                  </a:lnTo>
                  <a:lnTo>
                    <a:pt x="372" y="756"/>
                  </a:lnTo>
                  <a:lnTo>
                    <a:pt x="372" y="762"/>
                  </a:lnTo>
                  <a:lnTo>
                    <a:pt x="372" y="768"/>
                  </a:lnTo>
                  <a:lnTo>
                    <a:pt x="372" y="774"/>
                  </a:lnTo>
                  <a:lnTo>
                    <a:pt x="372" y="780"/>
                  </a:lnTo>
                  <a:lnTo>
                    <a:pt x="372" y="774"/>
                  </a:lnTo>
                  <a:lnTo>
                    <a:pt x="366" y="768"/>
                  </a:lnTo>
                  <a:lnTo>
                    <a:pt x="366" y="762"/>
                  </a:lnTo>
                  <a:lnTo>
                    <a:pt x="366" y="756"/>
                  </a:lnTo>
                  <a:lnTo>
                    <a:pt x="360" y="756"/>
                  </a:lnTo>
                  <a:lnTo>
                    <a:pt x="360" y="750"/>
                  </a:lnTo>
                  <a:lnTo>
                    <a:pt x="354" y="750"/>
                  </a:lnTo>
                  <a:lnTo>
                    <a:pt x="348" y="744"/>
                  </a:lnTo>
                  <a:lnTo>
                    <a:pt x="342" y="744"/>
                  </a:lnTo>
                  <a:lnTo>
                    <a:pt x="336" y="744"/>
                  </a:lnTo>
                  <a:lnTo>
                    <a:pt x="330" y="73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1" name="Freeform 6">
              <a:extLst>
                <a:ext uri="{FF2B5EF4-FFF2-40B4-BE49-F238E27FC236}">
                  <a16:creationId xmlns:a16="http://schemas.microsoft.com/office/drawing/2014/main" id="{0656C385-F30A-4AC8-AE9F-B1F66208B38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3123" y="4163918"/>
              <a:ext cx="266107" cy="248252"/>
            </a:xfrm>
            <a:custGeom>
              <a:avLst/>
              <a:gdLst>
                <a:gd name="T0" fmla="*/ 33 w 504"/>
                <a:gd name="T1" fmla="*/ 41 h 468"/>
                <a:gd name="T2" fmla="*/ 26 w 504"/>
                <a:gd name="T3" fmla="*/ 39 h 468"/>
                <a:gd name="T4" fmla="*/ 21 w 504"/>
                <a:gd name="T5" fmla="*/ 38 h 468"/>
                <a:gd name="T6" fmla="*/ 18 w 504"/>
                <a:gd name="T7" fmla="*/ 38 h 468"/>
                <a:gd name="T8" fmla="*/ 15 w 504"/>
                <a:gd name="T9" fmla="*/ 39 h 468"/>
                <a:gd name="T10" fmla="*/ 12 w 504"/>
                <a:gd name="T11" fmla="*/ 38 h 468"/>
                <a:gd name="T12" fmla="*/ 9 w 504"/>
                <a:gd name="T13" fmla="*/ 37 h 468"/>
                <a:gd name="T14" fmla="*/ 7 w 504"/>
                <a:gd name="T15" fmla="*/ 32 h 468"/>
                <a:gd name="T16" fmla="*/ 6 w 504"/>
                <a:gd name="T17" fmla="*/ 26 h 468"/>
                <a:gd name="T18" fmla="*/ 3 w 504"/>
                <a:gd name="T19" fmla="*/ 24 h 468"/>
                <a:gd name="T20" fmla="*/ 1 w 504"/>
                <a:gd name="T21" fmla="*/ 24 h 468"/>
                <a:gd name="T22" fmla="*/ 2 w 504"/>
                <a:gd name="T23" fmla="*/ 18 h 468"/>
                <a:gd name="T24" fmla="*/ 1 w 504"/>
                <a:gd name="T25" fmla="*/ 17 h 468"/>
                <a:gd name="T26" fmla="*/ 0 w 504"/>
                <a:gd name="T27" fmla="*/ 17 h 468"/>
                <a:gd name="T28" fmla="*/ 0 w 504"/>
                <a:gd name="T29" fmla="*/ 15 h 468"/>
                <a:gd name="T30" fmla="*/ 2 w 504"/>
                <a:gd name="T31" fmla="*/ 12 h 468"/>
                <a:gd name="T32" fmla="*/ 4 w 504"/>
                <a:gd name="T33" fmla="*/ 10 h 468"/>
                <a:gd name="T34" fmla="*/ 6 w 504"/>
                <a:gd name="T35" fmla="*/ 8 h 468"/>
                <a:gd name="T36" fmla="*/ 8 w 504"/>
                <a:gd name="T37" fmla="*/ 8 h 468"/>
                <a:gd name="T38" fmla="*/ 10 w 504"/>
                <a:gd name="T39" fmla="*/ 9 h 468"/>
                <a:gd name="T40" fmla="*/ 12 w 504"/>
                <a:gd name="T41" fmla="*/ 10 h 468"/>
                <a:gd name="T42" fmla="*/ 12 w 504"/>
                <a:gd name="T43" fmla="*/ 11 h 468"/>
                <a:gd name="T44" fmla="*/ 14 w 504"/>
                <a:gd name="T45" fmla="*/ 8 h 468"/>
                <a:gd name="T46" fmla="*/ 15 w 504"/>
                <a:gd name="T47" fmla="*/ 7 h 468"/>
                <a:gd name="T48" fmla="*/ 17 w 504"/>
                <a:gd name="T49" fmla="*/ 6 h 468"/>
                <a:gd name="T50" fmla="*/ 19 w 504"/>
                <a:gd name="T51" fmla="*/ 3 h 468"/>
                <a:gd name="T52" fmla="*/ 20 w 504"/>
                <a:gd name="T53" fmla="*/ 2 h 468"/>
                <a:gd name="T54" fmla="*/ 22 w 504"/>
                <a:gd name="T55" fmla="*/ 1 h 468"/>
                <a:gd name="T56" fmla="*/ 27 w 504"/>
                <a:gd name="T57" fmla="*/ 1 h 468"/>
                <a:gd name="T58" fmla="*/ 30 w 504"/>
                <a:gd name="T59" fmla="*/ 2 h 468"/>
                <a:gd name="T60" fmla="*/ 31 w 504"/>
                <a:gd name="T61" fmla="*/ 2 h 468"/>
                <a:gd name="T62" fmla="*/ 34 w 504"/>
                <a:gd name="T63" fmla="*/ 0 h 468"/>
                <a:gd name="T64" fmla="*/ 37 w 504"/>
                <a:gd name="T65" fmla="*/ 1 h 468"/>
                <a:gd name="T66" fmla="*/ 41 w 504"/>
                <a:gd name="T67" fmla="*/ 2 h 468"/>
                <a:gd name="T68" fmla="*/ 42 w 504"/>
                <a:gd name="T69" fmla="*/ 4 h 468"/>
                <a:gd name="T70" fmla="*/ 42 w 504"/>
                <a:gd name="T71" fmla="*/ 10 h 468"/>
                <a:gd name="T72" fmla="*/ 41 w 504"/>
                <a:gd name="T73" fmla="*/ 14 h 468"/>
                <a:gd name="T74" fmla="*/ 42 w 504"/>
                <a:gd name="T75" fmla="*/ 15 h 468"/>
                <a:gd name="T76" fmla="*/ 44 w 504"/>
                <a:gd name="T77" fmla="*/ 18 h 468"/>
                <a:gd name="T78" fmla="*/ 43 w 504"/>
                <a:gd name="T79" fmla="*/ 19 h 468"/>
                <a:gd name="T80" fmla="*/ 42 w 504"/>
                <a:gd name="T81" fmla="*/ 21 h 468"/>
                <a:gd name="T82" fmla="*/ 42 w 504"/>
                <a:gd name="T83" fmla="*/ 23 h 468"/>
                <a:gd name="T84" fmla="*/ 39 w 504"/>
                <a:gd name="T85" fmla="*/ 27 h 468"/>
                <a:gd name="T86" fmla="*/ 38 w 504"/>
                <a:gd name="T87" fmla="*/ 29 h 468"/>
                <a:gd name="T88" fmla="*/ 38 w 504"/>
                <a:gd name="T89" fmla="*/ 31 h 468"/>
                <a:gd name="T90" fmla="*/ 36 w 504"/>
                <a:gd name="T91" fmla="*/ 32 h 468"/>
                <a:gd name="T92" fmla="*/ 35 w 504"/>
                <a:gd name="T93" fmla="*/ 34 h 468"/>
                <a:gd name="T94" fmla="*/ 34 w 504"/>
                <a:gd name="T95" fmla="*/ 38 h 46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04"/>
                <a:gd name="T145" fmla="*/ 0 h 468"/>
                <a:gd name="T146" fmla="*/ 504 w 504"/>
                <a:gd name="T147" fmla="*/ 468 h 46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04" h="468">
                  <a:moveTo>
                    <a:pt x="390" y="456"/>
                  </a:moveTo>
                  <a:lnTo>
                    <a:pt x="384" y="468"/>
                  </a:lnTo>
                  <a:lnTo>
                    <a:pt x="378" y="468"/>
                  </a:lnTo>
                  <a:lnTo>
                    <a:pt x="354" y="468"/>
                  </a:lnTo>
                  <a:lnTo>
                    <a:pt x="348" y="462"/>
                  </a:lnTo>
                  <a:lnTo>
                    <a:pt x="300" y="456"/>
                  </a:lnTo>
                  <a:lnTo>
                    <a:pt x="270" y="444"/>
                  </a:lnTo>
                  <a:lnTo>
                    <a:pt x="252" y="438"/>
                  </a:lnTo>
                  <a:lnTo>
                    <a:pt x="240" y="438"/>
                  </a:lnTo>
                  <a:lnTo>
                    <a:pt x="234" y="438"/>
                  </a:lnTo>
                  <a:lnTo>
                    <a:pt x="228" y="444"/>
                  </a:lnTo>
                  <a:lnTo>
                    <a:pt x="210" y="444"/>
                  </a:lnTo>
                  <a:lnTo>
                    <a:pt x="198" y="444"/>
                  </a:lnTo>
                  <a:lnTo>
                    <a:pt x="198" y="450"/>
                  </a:lnTo>
                  <a:lnTo>
                    <a:pt x="168" y="456"/>
                  </a:lnTo>
                  <a:lnTo>
                    <a:pt x="150" y="450"/>
                  </a:lnTo>
                  <a:lnTo>
                    <a:pt x="144" y="444"/>
                  </a:lnTo>
                  <a:lnTo>
                    <a:pt x="132" y="438"/>
                  </a:lnTo>
                  <a:lnTo>
                    <a:pt x="138" y="432"/>
                  </a:lnTo>
                  <a:lnTo>
                    <a:pt x="114" y="432"/>
                  </a:lnTo>
                  <a:lnTo>
                    <a:pt x="102" y="426"/>
                  </a:lnTo>
                  <a:lnTo>
                    <a:pt x="90" y="414"/>
                  </a:lnTo>
                  <a:lnTo>
                    <a:pt x="72" y="402"/>
                  </a:lnTo>
                  <a:lnTo>
                    <a:pt x="78" y="366"/>
                  </a:lnTo>
                  <a:lnTo>
                    <a:pt x="78" y="330"/>
                  </a:lnTo>
                  <a:lnTo>
                    <a:pt x="66" y="318"/>
                  </a:lnTo>
                  <a:lnTo>
                    <a:pt x="66" y="300"/>
                  </a:lnTo>
                  <a:lnTo>
                    <a:pt x="66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30" y="282"/>
                  </a:lnTo>
                  <a:lnTo>
                    <a:pt x="24" y="282"/>
                  </a:lnTo>
                  <a:lnTo>
                    <a:pt x="12" y="276"/>
                  </a:lnTo>
                  <a:lnTo>
                    <a:pt x="0" y="282"/>
                  </a:lnTo>
                  <a:lnTo>
                    <a:pt x="12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2" y="198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6" y="180"/>
                  </a:lnTo>
                  <a:lnTo>
                    <a:pt x="12" y="186"/>
                  </a:lnTo>
                  <a:lnTo>
                    <a:pt x="18" y="138"/>
                  </a:lnTo>
                  <a:lnTo>
                    <a:pt x="24" y="126"/>
                  </a:lnTo>
                  <a:lnTo>
                    <a:pt x="30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20" y="102"/>
                  </a:lnTo>
                  <a:lnTo>
                    <a:pt x="126" y="108"/>
                  </a:lnTo>
                  <a:lnTo>
                    <a:pt x="126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0"/>
                  </a:lnTo>
                  <a:lnTo>
                    <a:pt x="156" y="96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16" y="42"/>
                  </a:lnTo>
                  <a:lnTo>
                    <a:pt x="222" y="36"/>
                  </a:lnTo>
                  <a:lnTo>
                    <a:pt x="228" y="36"/>
                  </a:lnTo>
                  <a:lnTo>
                    <a:pt x="228" y="30"/>
                  </a:lnTo>
                  <a:lnTo>
                    <a:pt x="228" y="24"/>
                  </a:lnTo>
                  <a:lnTo>
                    <a:pt x="246" y="18"/>
                  </a:lnTo>
                  <a:lnTo>
                    <a:pt x="252" y="18"/>
                  </a:lnTo>
                  <a:lnTo>
                    <a:pt x="258" y="12"/>
                  </a:lnTo>
                  <a:lnTo>
                    <a:pt x="270" y="6"/>
                  </a:lnTo>
                  <a:lnTo>
                    <a:pt x="288" y="6"/>
                  </a:lnTo>
                  <a:lnTo>
                    <a:pt x="312" y="12"/>
                  </a:lnTo>
                  <a:lnTo>
                    <a:pt x="324" y="12"/>
                  </a:lnTo>
                  <a:lnTo>
                    <a:pt x="336" y="18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14" y="12"/>
                  </a:lnTo>
                  <a:lnTo>
                    <a:pt x="426" y="12"/>
                  </a:lnTo>
                  <a:lnTo>
                    <a:pt x="444" y="18"/>
                  </a:lnTo>
                  <a:lnTo>
                    <a:pt x="462" y="18"/>
                  </a:lnTo>
                  <a:lnTo>
                    <a:pt x="474" y="18"/>
                  </a:lnTo>
                  <a:lnTo>
                    <a:pt x="480" y="18"/>
                  </a:lnTo>
                  <a:lnTo>
                    <a:pt x="486" y="36"/>
                  </a:lnTo>
                  <a:lnTo>
                    <a:pt x="480" y="42"/>
                  </a:lnTo>
                  <a:lnTo>
                    <a:pt x="480" y="54"/>
                  </a:lnTo>
                  <a:lnTo>
                    <a:pt x="486" y="78"/>
                  </a:lnTo>
                  <a:lnTo>
                    <a:pt x="486" y="114"/>
                  </a:lnTo>
                  <a:lnTo>
                    <a:pt x="486" y="150"/>
                  </a:lnTo>
                  <a:lnTo>
                    <a:pt x="468" y="150"/>
                  </a:lnTo>
                  <a:lnTo>
                    <a:pt x="474" y="162"/>
                  </a:lnTo>
                  <a:lnTo>
                    <a:pt x="480" y="162"/>
                  </a:lnTo>
                  <a:lnTo>
                    <a:pt x="486" y="174"/>
                  </a:lnTo>
                  <a:lnTo>
                    <a:pt x="492" y="174"/>
                  </a:lnTo>
                  <a:lnTo>
                    <a:pt x="492" y="192"/>
                  </a:lnTo>
                  <a:lnTo>
                    <a:pt x="498" y="198"/>
                  </a:lnTo>
                  <a:lnTo>
                    <a:pt x="504" y="204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8" y="222"/>
                  </a:lnTo>
                  <a:lnTo>
                    <a:pt x="492" y="228"/>
                  </a:lnTo>
                  <a:lnTo>
                    <a:pt x="492" y="234"/>
                  </a:lnTo>
                  <a:lnTo>
                    <a:pt x="492" y="240"/>
                  </a:lnTo>
                  <a:lnTo>
                    <a:pt x="486" y="246"/>
                  </a:lnTo>
                  <a:lnTo>
                    <a:pt x="486" y="258"/>
                  </a:lnTo>
                  <a:lnTo>
                    <a:pt x="480" y="264"/>
                  </a:lnTo>
                  <a:lnTo>
                    <a:pt x="474" y="276"/>
                  </a:lnTo>
                  <a:lnTo>
                    <a:pt x="468" y="288"/>
                  </a:lnTo>
                  <a:lnTo>
                    <a:pt x="456" y="306"/>
                  </a:lnTo>
                  <a:lnTo>
                    <a:pt x="456" y="312"/>
                  </a:lnTo>
                  <a:lnTo>
                    <a:pt x="444" y="318"/>
                  </a:lnTo>
                  <a:lnTo>
                    <a:pt x="432" y="336"/>
                  </a:lnTo>
                  <a:lnTo>
                    <a:pt x="432" y="342"/>
                  </a:lnTo>
                  <a:lnTo>
                    <a:pt x="432" y="348"/>
                  </a:lnTo>
                  <a:lnTo>
                    <a:pt x="432" y="354"/>
                  </a:lnTo>
                  <a:lnTo>
                    <a:pt x="426" y="366"/>
                  </a:lnTo>
                  <a:lnTo>
                    <a:pt x="420" y="366"/>
                  </a:lnTo>
                  <a:lnTo>
                    <a:pt x="420" y="372"/>
                  </a:lnTo>
                  <a:lnTo>
                    <a:pt x="414" y="378"/>
                  </a:lnTo>
                  <a:lnTo>
                    <a:pt x="414" y="390"/>
                  </a:lnTo>
                  <a:lnTo>
                    <a:pt x="408" y="390"/>
                  </a:lnTo>
                  <a:lnTo>
                    <a:pt x="408" y="402"/>
                  </a:lnTo>
                  <a:lnTo>
                    <a:pt x="402" y="414"/>
                  </a:lnTo>
                  <a:lnTo>
                    <a:pt x="396" y="438"/>
                  </a:lnTo>
                  <a:lnTo>
                    <a:pt x="396" y="444"/>
                  </a:lnTo>
                  <a:lnTo>
                    <a:pt x="390" y="45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11" name="Freeform 7">
              <a:extLst>
                <a:ext uri="{FF2B5EF4-FFF2-40B4-BE49-F238E27FC236}">
                  <a16:creationId xmlns:a16="http://schemas.microsoft.com/office/drawing/2014/main" id="{0D8DE62D-4554-4314-9F3A-7208D89B4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90838" y="4128134"/>
              <a:ext cx="283995" cy="411516"/>
            </a:xfrm>
            <a:custGeom>
              <a:avLst/>
              <a:gdLst>
                <a:gd name="T0" fmla="*/ 39 w 534"/>
                <a:gd name="T1" fmla="*/ 35 h 774"/>
                <a:gd name="T2" fmla="*/ 35 w 534"/>
                <a:gd name="T3" fmla="*/ 31 h 774"/>
                <a:gd name="T4" fmla="*/ 32 w 534"/>
                <a:gd name="T5" fmla="*/ 29 h 774"/>
                <a:gd name="T6" fmla="*/ 32 w 534"/>
                <a:gd name="T7" fmla="*/ 31 h 774"/>
                <a:gd name="T8" fmla="*/ 29 w 534"/>
                <a:gd name="T9" fmla="*/ 33 h 774"/>
                <a:gd name="T10" fmla="*/ 27 w 534"/>
                <a:gd name="T11" fmla="*/ 36 h 774"/>
                <a:gd name="T12" fmla="*/ 30 w 534"/>
                <a:gd name="T13" fmla="*/ 38 h 774"/>
                <a:gd name="T14" fmla="*/ 29 w 534"/>
                <a:gd name="T15" fmla="*/ 40 h 774"/>
                <a:gd name="T16" fmla="*/ 25 w 534"/>
                <a:gd name="T17" fmla="*/ 40 h 774"/>
                <a:gd name="T18" fmla="*/ 23 w 534"/>
                <a:gd name="T19" fmla="*/ 42 h 774"/>
                <a:gd name="T20" fmla="*/ 22 w 534"/>
                <a:gd name="T21" fmla="*/ 47 h 774"/>
                <a:gd name="T22" fmla="*/ 22 w 534"/>
                <a:gd name="T23" fmla="*/ 51 h 774"/>
                <a:gd name="T24" fmla="*/ 22 w 534"/>
                <a:gd name="T25" fmla="*/ 54 h 774"/>
                <a:gd name="T26" fmla="*/ 21 w 534"/>
                <a:gd name="T27" fmla="*/ 56 h 774"/>
                <a:gd name="T28" fmla="*/ 19 w 534"/>
                <a:gd name="T29" fmla="*/ 58 h 774"/>
                <a:gd name="T30" fmla="*/ 20 w 534"/>
                <a:gd name="T31" fmla="*/ 59 h 774"/>
                <a:gd name="T32" fmla="*/ 19 w 534"/>
                <a:gd name="T33" fmla="*/ 62 h 774"/>
                <a:gd name="T34" fmla="*/ 19 w 534"/>
                <a:gd name="T35" fmla="*/ 64 h 774"/>
                <a:gd name="T36" fmla="*/ 20 w 534"/>
                <a:gd name="T37" fmla="*/ 66 h 774"/>
                <a:gd name="T38" fmla="*/ 17 w 534"/>
                <a:gd name="T39" fmla="*/ 66 h 774"/>
                <a:gd name="T40" fmla="*/ 16 w 534"/>
                <a:gd name="T41" fmla="*/ 65 h 774"/>
                <a:gd name="T42" fmla="*/ 13 w 534"/>
                <a:gd name="T43" fmla="*/ 65 h 774"/>
                <a:gd name="T44" fmla="*/ 11 w 534"/>
                <a:gd name="T45" fmla="*/ 65 h 774"/>
                <a:gd name="T46" fmla="*/ 8 w 534"/>
                <a:gd name="T47" fmla="*/ 65 h 774"/>
                <a:gd name="T48" fmla="*/ 8 w 534"/>
                <a:gd name="T49" fmla="*/ 64 h 774"/>
                <a:gd name="T50" fmla="*/ 5 w 534"/>
                <a:gd name="T51" fmla="*/ 65 h 774"/>
                <a:gd name="T52" fmla="*/ 3 w 534"/>
                <a:gd name="T53" fmla="*/ 65 h 774"/>
                <a:gd name="T54" fmla="*/ 0 w 534"/>
                <a:gd name="T55" fmla="*/ 64 h 774"/>
                <a:gd name="T56" fmla="*/ 0 w 534"/>
                <a:gd name="T57" fmla="*/ 62 h 774"/>
                <a:gd name="T58" fmla="*/ 3 w 534"/>
                <a:gd name="T59" fmla="*/ 60 h 774"/>
                <a:gd name="T60" fmla="*/ 6 w 534"/>
                <a:gd name="T61" fmla="*/ 57 h 774"/>
                <a:gd name="T62" fmla="*/ 8 w 534"/>
                <a:gd name="T63" fmla="*/ 50 h 774"/>
                <a:gd name="T64" fmla="*/ 6 w 534"/>
                <a:gd name="T65" fmla="*/ 45 h 774"/>
                <a:gd name="T66" fmla="*/ 8 w 534"/>
                <a:gd name="T67" fmla="*/ 41 h 774"/>
                <a:gd name="T68" fmla="*/ 9 w 534"/>
                <a:gd name="T69" fmla="*/ 38 h 774"/>
                <a:gd name="T70" fmla="*/ 10 w 534"/>
                <a:gd name="T71" fmla="*/ 36 h 774"/>
                <a:gd name="T72" fmla="*/ 12 w 534"/>
                <a:gd name="T73" fmla="*/ 33 h 774"/>
                <a:gd name="T74" fmla="*/ 14 w 534"/>
                <a:gd name="T75" fmla="*/ 29 h 774"/>
                <a:gd name="T76" fmla="*/ 16 w 534"/>
                <a:gd name="T77" fmla="*/ 26 h 774"/>
                <a:gd name="T78" fmla="*/ 16 w 534"/>
                <a:gd name="T79" fmla="*/ 24 h 774"/>
                <a:gd name="T80" fmla="*/ 16 w 534"/>
                <a:gd name="T81" fmla="*/ 21 h 774"/>
                <a:gd name="T82" fmla="*/ 13 w 534"/>
                <a:gd name="T83" fmla="*/ 19 h 774"/>
                <a:gd name="T84" fmla="*/ 14 w 534"/>
                <a:gd name="T85" fmla="*/ 10 h 774"/>
                <a:gd name="T86" fmla="*/ 14 w 534"/>
                <a:gd name="T87" fmla="*/ 7 h 774"/>
                <a:gd name="T88" fmla="*/ 8 w 534"/>
                <a:gd name="T89" fmla="*/ 7 h 774"/>
                <a:gd name="T90" fmla="*/ 7 w 534"/>
                <a:gd name="T91" fmla="*/ 3 h 774"/>
                <a:gd name="T92" fmla="*/ 11 w 534"/>
                <a:gd name="T93" fmla="*/ 1 h 774"/>
                <a:gd name="T94" fmla="*/ 12 w 534"/>
                <a:gd name="T95" fmla="*/ 0 h 774"/>
                <a:gd name="T96" fmla="*/ 16 w 534"/>
                <a:gd name="T97" fmla="*/ 2 h 774"/>
                <a:gd name="T98" fmla="*/ 20 w 534"/>
                <a:gd name="T99" fmla="*/ 2 h 774"/>
                <a:gd name="T100" fmla="*/ 23 w 534"/>
                <a:gd name="T101" fmla="*/ 3 h 774"/>
                <a:gd name="T102" fmla="*/ 23 w 534"/>
                <a:gd name="T103" fmla="*/ 10 h 774"/>
                <a:gd name="T104" fmla="*/ 29 w 534"/>
                <a:gd name="T105" fmla="*/ 12 h 774"/>
                <a:gd name="T106" fmla="*/ 35 w 534"/>
                <a:gd name="T107" fmla="*/ 12 h 774"/>
                <a:gd name="T108" fmla="*/ 38 w 534"/>
                <a:gd name="T109" fmla="*/ 17 h 774"/>
                <a:gd name="T110" fmla="*/ 40 w 534"/>
                <a:gd name="T111" fmla="*/ 19 h 774"/>
                <a:gd name="T112" fmla="*/ 44 w 534"/>
                <a:gd name="T113" fmla="*/ 23 h 774"/>
                <a:gd name="T114" fmla="*/ 44 w 534"/>
                <a:gd name="T115" fmla="*/ 30 h 774"/>
                <a:gd name="T116" fmla="*/ 46 w 534"/>
                <a:gd name="T117" fmla="*/ 36 h 774"/>
                <a:gd name="T118" fmla="*/ 41 w 534"/>
                <a:gd name="T119" fmla="*/ 37 h 77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34"/>
                <a:gd name="T181" fmla="*/ 0 h 774"/>
                <a:gd name="T182" fmla="*/ 534 w 534"/>
                <a:gd name="T183" fmla="*/ 774 h 77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34" h="774">
                  <a:moveTo>
                    <a:pt x="462" y="426"/>
                  </a:moveTo>
                  <a:lnTo>
                    <a:pt x="462" y="414"/>
                  </a:lnTo>
                  <a:lnTo>
                    <a:pt x="450" y="402"/>
                  </a:lnTo>
                  <a:lnTo>
                    <a:pt x="444" y="396"/>
                  </a:lnTo>
                  <a:lnTo>
                    <a:pt x="420" y="396"/>
                  </a:lnTo>
                  <a:lnTo>
                    <a:pt x="408" y="390"/>
                  </a:lnTo>
                  <a:lnTo>
                    <a:pt x="402" y="366"/>
                  </a:lnTo>
                  <a:lnTo>
                    <a:pt x="390" y="354"/>
                  </a:lnTo>
                  <a:lnTo>
                    <a:pt x="384" y="336"/>
                  </a:lnTo>
                  <a:lnTo>
                    <a:pt x="378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8" y="348"/>
                  </a:lnTo>
                  <a:lnTo>
                    <a:pt x="360" y="354"/>
                  </a:lnTo>
                  <a:lnTo>
                    <a:pt x="360" y="390"/>
                  </a:lnTo>
                  <a:lnTo>
                    <a:pt x="348" y="390"/>
                  </a:lnTo>
                  <a:lnTo>
                    <a:pt x="342" y="384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90"/>
                  </a:lnTo>
                  <a:lnTo>
                    <a:pt x="312" y="402"/>
                  </a:lnTo>
                  <a:lnTo>
                    <a:pt x="306" y="420"/>
                  </a:lnTo>
                  <a:lnTo>
                    <a:pt x="324" y="414"/>
                  </a:lnTo>
                  <a:lnTo>
                    <a:pt x="330" y="414"/>
                  </a:lnTo>
                  <a:lnTo>
                    <a:pt x="336" y="420"/>
                  </a:lnTo>
                  <a:lnTo>
                    <a:pt x="336" y="432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6"/>
                  </a:lnTo>
                  <a:lnTo>
                    <a:pt x="318" y="456"/>
                  </a:lnTo>
                  <a:lnTo>
                    <a:pt x="300" y="456"/>
                  </a:lnTo>
                  <a:lnTo>
                    <a:pt x="288" y="462"/>
                  </a:lnTo>
                  <a:lnTo>
                    <a:pt x="276" y="462"/>
                  </a:lnTo>
                  <a:lnTo>
                    <a:pt x="270" y="462"/>
                  </a:lnTo>
                  <a:lnTo>
                    <a:pt x="270" y="468"/>
                  </a:lnTo>
                  <a:lnTo>
                    <a:pt x="252" y="468"/>
                  </a:lnTo>
                  <a:lnTo>
                    <a:pt x="258" y="480"/>
                  </a:lnTo>
                  <a:lnTo>
                    <a:pt x="258" y="492"/>
                  </a:lnTo>
                  <a:lnTo>
                    <a:pt x="258" y="498"/>
                  </a:lnTo>
                  <a:lnTo>
                    <a:pt x="258" y="510"/>
                  </a:lnTo>
                  <a:lnTo>
                    <a:pt x="252" y="540"/>
                  </a:lnTo>
                  <a:lnTo>
                    <a:pt x="246" y="564"/>
                  </a:lnTo>
                  <a:lnTo>
                    <a:pt x="246" y="570"/>
                  </a:lnTo>
                  <a:lnTo>
                    <a:pt x="252" y="576"/>
                  </a:lnTo>
                  <a:lnTo>
                    <a:pt x="246" y="582"/>
                  </a:lnTo>
                  <a:lnTo>
                    <a:pt x="252" y="600"/>
                  </a:lnTo>
                  <a:lnTo>
                    <a:pt x="258" y="606"/>
                  </a:lnTo>
                  <a:lnTo>
                    <a:pt x="258" y="612"/>
                  </a:lnTo>
                  <a:lnTo>
                    <a:pt x="252" y="618"/>
                  </a:lnTo>
                  <a:lnTo>
                    <a:pt x="246" y="624"/>
                  </a:lnTo>
                  <a:lnTo>
                    <a:pt x="246" y="630"/>
                  </a:lnTo>
                  <a:lnTo>
                    <a:pt x="246" y="636"/>
                  </a:lnTo>
                  <a:lnTo>
                    <a:pt x="240" y="642"/>
                  </a:lnTo>
                  <a:lnTo>
                    <a:pt x="234" y="654"/>
                  </a:lnTo>
                  <a:lnTo>
                    <a:pt x="228" y="654"/>
                  </a:lnTo>
                  <a:lnTo>
                    <a:pt x="222" y="660"/>
                  </a:lnTo>
                  <a:lnTo>
                    <a:pt x="216" y="666"/>
                  </a:lnTo>
                  <a:lnTo>
                    <a:pt x="210" y="666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22" y="684"/>
                  </a:lnTo>
                  <a:lnTo>
                    <a:pt x="222" y="690"/>
                  </a:lnTo>
                  <a:lnTo>
                    <a:pt x="222" y="696"/>
                  </a:lnTo>
                  <a:lnTo>
                    <a:pt x="222" y="702"/>
                  </a:lnTo>
                  <a:lnTo>
                    <a:pt x="216" y="708"/>
                  </a:lnTo>
                  <a:lnTo>
                    <a:pt x="210" y="720"/>
                  </a:lnTo>
                  <a:lnTo>
                    <a:pt x="216" y="732"/>
                  </a:lnTo>
                  <a:lnTo>
                    <a:pt x="210" y="732"/>
                  </a:lnTo>
                  <a:lnTo>
                    <a:pt x="216" y="738"/>
                  </a:lnTo>
                  <a:lnTo>
                    <a:pt x="216" y="744"/>
                  </a:lnTo>
                  <a:lnTo>
                    <a:pt x="222" y="750"/>
                  </a:lnTo>
                  <a:lnTo>
                    <a:pt x="228" y="756"/>
                  </a:lnTo>
                  <a:lnTo>
                    <a:pt x="222" y="762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04" y="762"/>
                  </a:lnTo>
                  <a:lnTo>
                    <a:pt x="198" y="762"/>
                  </a:lnTo>
                  <a:lnTo>
                    <a:pt x="192" y="762"/>
                  </a:lnTo>
                  <a:lnTo>
                    <a:pt x="186" y="756"/>
                  </a:lnTo>
                  <a:lnTo>
                    <a:pt x="180" y="750"/>
                  </a:lnTo>
                  <a:lnTo>
                    <a:pt x="180" y="744"/>
                  </a:lnTo>
                  <a:lnTo>
                    <a:pt x="174" y="744"/>
                  </a:lnTo>
                  <a:lnTo>
                    <a:pt x="156" y="750"/>
                  </a:lnTo>
                  <a:lnTo>
                    <a:pt x="150" y="750"/>
                  </a:lnTo>
                  <a:lnTo>
                    <a:pt x="144" y="750"/>
                  </a:lnTo>
                  <a:lnTo>
                    <a:pt x="138" y="750"/>
                  </a:lnTo>
                  <a:lnTo>
                    <a:pt x="138" y="744"/>
                  </a:lnTo>
                  <a:lnTo>
                    <a:pt x="132" y="744"/>
                  </a:lnTo>
                  <a:lnTo>
                    <a:pt x="120" y="744"/>
                  </a:lnTo>
                  <a:lnTo>
                    <a:pt x="114" y="738"/>
                  </a:lnTo>
                  <a:lnTo>
                    <a:pt x="108" y="744"/>
                  </a:lnTo>
                  <a:lnTo>
                    <a:pt x="102" y="744"/>
                  </a:lnTo>
                  <a:lnTo>
                    <a:pt x="96" y="744"/>
                  </a:lnTo>
                  <a:lnTo>
                    <a:pt x="96" y="738"/>
                  </a:lnTo>
                  <a:lnTo>
                    <a:pt x="96" y="744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44"/>
                  </a:lnTo>
                  <a:lnTo>
                    <a:pt x="72" y="750"/>
                  </a:lnTo>
                  <a:lnTo>
                    <a:pt x="66" y="750"/>
                  </a:lnTo>
                  <a:lnTo>
                    <a:pt x="60" y="750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0"/>
                  </a:lnTo>
                  <a:lnTo>
                    <a:pt x="30" y="750"/>
                  </a:lnTo>
                  <a:lnTo>
                    <a:pt x="24" y="744"/>
                  </a:lnTo>
                  <a:lnTo>
                    <a:pt x="18" y="738"/>
                  </a:lnTo>
                  <a:lnTo>
                    <a:pt x="6" y="738"/>
                  </a:lnTo>
                  <a:lnTo>
                    <a:pt x="0" y="732"/>
                  </a:lnTo>
                  <a:lnTo>
                    <a:pt x="0" y="726"/>
                  </a:lnTo>
                  <a:lnTo>
                    <a:pt x="0" y="720"/>
                  </a:lnTo>
                  <a:lnTo>
                    <a:pt x="6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8" y="702"/>
                  </a:lnTo>
                  <a:lnTo>
                    <a:pt x="24" y="696"/>
                  </a:lnTo>
                  <a:lnTo>
                    <a:pt x="30" y="696"/>
                  </a:lnTo>
                  <a:lnTo>
                    <a:pt x="48" y="690"/>
                  </a:lnTo>
                  <a:lnTo>
                    <a:pt x="54" y="678"/>
                  </a:lnTo>
                  <a:lnTo>
                    <a:pt x="66" y="672"/>
                  </a:lnTo>
                  <a:lnTo>
                    <a:pt x="66" y="654"/>
                  </a:lnTo>
                  <a:lnTo>
                    <a:pt x="72" y="636"/>
                  </a:lnTo>
                  <a:lnTo>
                    <a:pt x="72" y="612"/>
                  </a:lnTo>
                  <a:lnTo>
                    <a:pt x="84" y="594"/>
                  </a:lnTo>
                  <a:lnTo>
                    <a:pt x="90" y="576"/>
                  </a:lnTo>
                  <a:lnTo>
                    <a:pt x="96" y="552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72" y="522"/>
                  </a:lnTo>
                  <a:lnTo>
                    <a:pt x="78" y="510"/>
                  </a:lnTo>
                  <a:lnTo>
                    <a:pt x="78" y="504"/>
                  </a:lnTo>
                  <a:lnTo>
                    <a:pt x="84" y="480"/>
                  </a:lnTo>
                  <a:lnTo>
                    <a:pt x="90" y="468"/>
                  </a:lnTo>
                  <a:lnTo>
                    <a:pt x="90" y="456"/>
                  </a:lnTo>
                  <a:lnTo>
                    <a:pt x="96" y="456"/>
                  </a:lnTo>
                  <a:lnTo>
                    <a:pt x="96" y="444"/>
                  </a:lnTo>
                  <a:lnTo>
                    <a:pt x="102" y="438"/>
                  </a:lnTo>
                  <a:lnTo>
                    <a:pt x="102" y="432"/>
                  </a:lnTo>
                  <a:lnTo>
                    <a:pt x="108" y="432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14" y="408"/>
                  </a:lnTo>
                  <a:lnTo>
                    <a:pt x="114" y="402"/>
                  </a:lnTo>
                  <a:lnTo>
                    <a:pt x="126" y="384"/>
                  </a:lnTo>
                  <a:lnTo>
                    <a:pt x="138" y="378"/>
                  </a:lnTo>
                  <a:lnTo>
                    <a:pt x="138" y="372"/>
                  </a:lnTo>
                  <a:lnTo>
                    <a:pt x="150" y="354"/>
                  </a:lnTo>
                  <a:lnTo>
                    <a:pt x="156" y="342"/>
                  </a:lnTo>
                  <a:lnTo>
                    <a:pt x="162" y="330"/>
                  </a:lnTo>
                  <a:lnTo>
                    <a:pt x="168" y="324"/>
                  </a:lnTo>
                  <a:lnTo>
                    <a:pt x="168" y="312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74" y="294"/>
                  </a:lnTo>
                  <a:lnTo>
                    <a:pt x="180" y="288"/>
                  </a:lnTo>
                  <a:lnTo>
                    <a:pt x="180" y="276"/>
                  </a:lnTo>
                  <a:lnTo>
                    <a:pt x="186" y="276"/>
                  </a:lnTo>
                  <a:lnTo>
                    <a:pt x="186" y="270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40"/>
                  </a:lnTo>
                  <a:lnTo>
                    <a:pt x="168" y="240"/>
                  </a:lnTo>
                  <a:lnTo>
                    <a:pt x="162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68" y="216"/>
                  </a:lnTo>
                  <a:lnTo>
                    <a:pt x="168" y="180"/>
                  </a:lnTo>
                  <a:lnTo>
                    <a:pt x="168" y="144"/>
                  </a:lnTo>
                  <a:lnTo>
                    <a:pt x="162" y="120"/>
                  </a:lnTo>
                  <a:lnTo>
                    <a:pt x="162" y="108"/>
                  </a:lnTo>
                  <a:lnTo>
                    <a:pt x="168" y="102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44" y="84"/>
                  </a:lnTo>
                  <a:lnTo>
                    <a:pt x="126" y="84"/>
                  </a:lnTo>
                  <a:lnTo>
                    <a:pt x="108" y="78"/>
                  </a:lnTo>
                  <a:lnTo>
                    <a:pt x="96" y="78"/>
                  </a:lnTo>
                  <a:lnTo>
                    <a:pt x="78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8" y="36"/>
                  </a:lnTo>
                  <a:lnTo>
                    <a:pt x="96" y="24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56" y="0"/>
                  </a:lnTo>
                  <a:lnTo>
                    <a:pt x="156" y="6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18"/>
                  </a:lnTo>
                  <a:lnTo>
                    <a:pt x="198" y="18"/>
                  </a:lnTo>
                  <a:lnTo>
                    <a:pt x="210" y="18"/>
                  </a:lnTo>
                  <a:lnTo>
                    <a:pt x="222" y="18"/>
                  </a:lnTo>
                  <a:lnTo>
                    <a:pt x="234" y="12"/>
                  </a:lnTo>
                  <a:lnTo>
                    <a:pt x="252" y="18"/>
                  </a:lnTo>
                  <a:lnTo>
                    <a:pt x="252" y="24"/>
                  </a:lnTo>
                  <a:lnTo>
                    <a:pt x="258" y="36"/>
                  </a:lnTo>
                  <a:lnTo>
                    <a:pt x="258" y="66"/>
                  </a:lnTo>
                  <a:lnTo>
                    <a:pt x="252" y="84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82" y="126"/>
                  </a:lnTo>
                  <a:lnTo>
                    <a:pt x="294" y="132"/>
                  </a:lnTo>
                  <a:lnTo>
                    <a:pt x="306" y="138"/>
                  </a:lnTo>
                  <a:lnTo>
                    <a:pt x="324" y="138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60" y="144"/>
                  </a:lnTo>
                  <a:lnTo>
                    <a:pt x="396" y="144"/>
                  </a:lnTo>
                  <a:lnTo>
                    <a:pt x="408" y="150"/>
                  </a:lnTo>
                  <a:lnTo>
                    <a:pt x="414" y="180"/>
                  </a:lnTo>
                  <a:lnTo>
                    <a:pt x="420" y="186"/>
                  </a:lnTo>
                  <a:lnTo>
                    <a:pt x="426" y="192"/>
                  </a:lnTo>
                  <a:lnTo>
                    <a:pt x="426" y="198"/>
                  </a:lnTo>
                  <a:lnTo>
                    <a:pt x="432" y="198"/>
                  </a:lnTo>
                  <a:lnTo>
                    <a:pt x="438" y="210"/>
                  </a:lnTo>
                  <a:lnTo>
                    <a:pt x="450" y="216"/>
                  </a:lnTo>
                  <a:lnTo>
                    <a:pt x="468" y="228"/>
                  </a:lnTo>
                  <a:lnTo>
                    <a:pt x="492" y="234"/>
                  </a:lnTo>
                  <a:lnTo>
                    <a:pt x="492" y="246"/>
                  </a:lnTo>
                  <a:lnTo>
                    <a:pt x="492" y="270"/>
                  </a:lnTo>
                  <a:lnTo>
                    <a:pt x="486" y="294"/>
                  </a:lnTo>
                  <a:lnTo>
                    <a:pt x="486" y="312"/>
                  </a:lnTo>
                  <a:lnTo>
                    <a:pt x="486" y="330"/>
                  </a:lnTo>
                  <a:lnTo>
                    <a:pt x="492" y="348"/>
                  </a:lnTo>
                  <a:lnTo>
                    <a:pt x="498" y="360"/>
                  </a:lnTo>
                  <a:lnTo>
                    <a:pt x="510" y="366"/>
                  </a:lnTo>
                  <a:lnTo>
                    <a:pt x="516" y="384"/>
                  </a:lnTo>
                  <a:lnTo>
                    <a:pt x="522" y="414"/>
                  </a:lnTo>
                  <a:lnTo>
                    <a:pt x="528" y="414"/>
                  </a:lnTo>
                  <a:lnTo>
                    <a:pt x="534" y="426"/>
                  </a:lnTo>
                  <a:lnTo>
                    <a:pt x="528" y="432"/>
                  </a:lnTo>
                  <a:lnTo>
                    <a:pt x="468" y="426"/>
                  </a:lnTo>
                  <a:lnTo>
                    <a:pt x="462" y="4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3" name="Freeform 8">
              <a:extLst>
                <a:ext uri="{FF2B5EF4-FFF2-40B4-BE49-F238E27FC236}">
                  <a16:creationId xmlns:a16="http://schemas.microsoft.com/office/drawing/2014/main" id="{D473457C-872E-4E31-888A-D60FD52063A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98175" y="4307054"/>
              <a:ext cx="295177" cy="348894"/>
            </a:xfrm>
            <a:custGeom>
              <a:avLst/>
              <a:gdLst>
                <a:gd name="T0" fmla="*/ 3 w 552"/>
                <a:gd name="T1" fmla="*/ 46 h 660"/>
                <a:gd name="T2" fmla="*/ 4 w 552"/>
                <a:gd name="T3" fmla="*/ 42 h 660"/>
                <a:gd name="T4" fmla="*/ 2 w 552"/>
                <a:gd name="T5" fmla="*/ 38 h 660"/>
                <a:gd name="T6" fmla="*/ 0 w 552"/>
                <a:gd name="T7" fmla="*/ 34 h 660"/>
                <a:gd name="T8" fmla="*/ 2 w 552"/>
                <a:gd name="T9" fmla="*/ 30 h 660"/>
                <a:gd name="T10" fmla="*/ 3 w 552"/>
                <a:gd name="T11" fmla="*/ 27 h 660"/>
                <a:gd name="T12" fmla="*/ 5 w 552"/>
                <a:gd name="T13" fmla="*/ 23 h 660"/>
                <a:gd name="T14" fmla="*/ 5 w 552"/>
                <a:gd name="T15" fmla="*/ 15 h 660"/>
                <a:gd name="T16" fmla="*/ 6 w 552"/>
                <a:gd name="T17" fmla="*/ 11 h 660"/>
                <a:gd name="T18" fmla="*/ 11 w 552"/>
                <a:gd name="T19" fmla="*/ 9 h 660"/>
                <a:gd name="T20" fmla="*/ 10 w 552"/>
                <a:gd name="T21" fmla="*/ 5 h 660"/>
                <a:gd name="T22" fmla="*/ 12 w 552"/>
                <a:gd name="T23" fmla="*/ 1 h 660"/>
                <a:gd name="T24" fmla="*/ 16 w 552"/>
                <a:gd name="T25" fmla="*/ 2 h 660"/>
                <a:gd name="T26" fmla="*/ 23 w 552"/>
                <a:gd name="T27" fmla="*/ 8 h 660"/>
                <a:gd name="T28" fmla="*/ 23 w 552"/>
                <a:gd name="T29" fmla="*/ 11 h 660"/>
                <a:gd name="T30" fmla="*/ 27 w 552"/>
                <a:gd name="T31" fmla="*/ 12 h 660"/>
                <a:gd name="T32" fmla="*/ 29 w 552"/>
                <a:gd name="T33" fmla="*/ 17 h 660"/>
                <a:gd name="T34" fmla="*/ 31 w 552"/>
                <a:gd name="T35" fmla="*/ 15 h 660"/>
                <a:gd name="T36" fmla="*/ 33 w 552"/>
                <a:gd name="T37" fmla="*/ 17 h 660"/>
                <a:gd name="T38" fmla="*/ 36 w 552"/>
                <a:gd name="T39" fmla="*/ 23 h 660"/>
                <a:gd name="T40" fmla="*/ 41 w 552"/>
                <a:gd name="T41" fmla="*/ 33 h 660"/>
                <a:gd name="T42" fmla="*/ 43 w 552"/>
                <a:gd name="T43" fmla="*/ 36 h 660"/>
                <a:gd name="T44" fmla="*/ 43 w 552"/>
                <a:gd name="T45" fmla="*/ 37 h 660"/>
                <a:gd name="T46" fmla="*/ 41 w 552"/>
                <a:gd name="T47" fmla="*/ 35 h 660"/>
                <a:gd name="T48" fmla="*/ 43 w 552"/>
                <a:gd name="T49" fmla="*/ 37 h 660"/>
                <a:gd name="T50" fmla="*/ 44 w 552"/>
                <a:gd name="T51" fmla="*/ 39 h 660"/>
                <a:gd name="T52" fmla="*/ 47 w 552"/>
                <a:gd name="T53" fmla="*/ 41 h 660"/>
                <a:gd name="T54" fmla="*/ 47 w 552"/>
                <a:gd name="T55" fmla="*/ 44 h 660"/>
                <a:gd name="T56" fmla="*/ 48 w 552"/>
                <a:gd name="T57" fmla="*/ 46 h 660"/>
                <a:gd name="T58" fmla="*/ 47 w 552"/>
                <a:gd name="T59" fmla="*/ 46 h 660"/>
                <a:gd name="T60" fmla="*/ 44 w 552"/>
                <a:gd name="T61" fmla="*/ 46 h 660"/>
                <a:gd name="T62" fmla="*/ 47 w 552"/>
                <a:gd name="T63" fmla="*/ 47 h 660"/>
                <a:gd name="T64" fmla="*/ 47 w 552"/>
                <a:gd name="T65" fmla="*/ 49 h 660"/>
                <a:gd name="T66" fmla="*/ 47 w 552"/>
                <a:gd name="T67" fmla="*/ 52 h 660"/>
                <a:gd name="T68" fmla="*/ 46 w 552"/>
                <a:gd name="T69" fmla="*/ 53 h 660"/>
                <a:gd name="T70" fmla="*/ 43 w 552"/>
                <a:gd name="T71" fmla="*/ 54 h 660"/>
                <a:gd name="T72" fmla="*/ 37 w 552"/>
                <a:gd name="T73" fmla="*/ 54 h 660"/>
                <a:gd name="T74" fmla="*/ 30 w 552"/>
                <a:gd name="T75" fmla="*/ 54 h 660"/>
                <a:gd name="T76" fmla="*/ 29 w 552"/>
                <a:gd name="T77" fmla="*/ 53 h 660"/>
                <a:gd name="T78" fmla="*/ 27 w 552"/>
                <a:gd name="T79" fmla="*/ 53 h 660"/>
                <a:gd name="T80" fmla="*/ 29 w 552"/>
                <a:gd name="T81" fmla="*/ 53 h 660"/>
                <a:gd name="T82" fmla="*/ 28 w 552"/>
                <a:gd name="T83" fmla="*/ 54 h 660"/>
                <a:gd name="T84" fmla="*/ 24 w 552"/>
                <a:gd name="T85" fmla="*/ 54 h 660"/>
                <a:gd name="T86" fmla="*/ 20 w 552"/>
                <a:gd name="T87" fmla="*/ 55 h 660"/>
                <a:gd name="T88" fmla="*/ 15 w 552"/>
                <a:gd name="T89" fmla="*/ 56 h 660"/>
                <a:gd name="T90" fmla="*/ 12 w 552"/>
                <a:gd name="T91" fmla="*/ 56 h 660"/>
                <a:gd name="T92" fmla="*/ 11 w 552"/>
                <a:gd name="T93" fmla="*/ 57 h 660"/>
                <a:gd name="T94" fmla="*/ 9 w 552"/>
                <a:gd name="T95" fmla="*/ 57 h 660"/>
                <a:gd name="T96" fmla="*/ 7 w 552"/>
                <a:gd name="T97" fmla="*/ 56 h 660"/>
                <a:gd name="T98" fmla="*/ 5 w 552"/>
                <a:gd name="T99" fmla="*/ 55 h 660"/>
                <a:gd name="T100" fmla="*/ 7 w 552"/>
                <a:gd name="T101" fmla="*/ 54 h 660"/>
                <a:gd name="T102" fmla="*/ 5 w 552"/>
                <a:gd name="T103" fmla="*/ 54 h 660"/>
                <a:gd name="T104" fmla="*/ 5 w 552"/>
                <a:gd name="T105" fmla="*/ 53 h 660"/>
                <a:gd name="T106" fmla="*/ 4 w 552"/>
                <a:gd name="T107" fmla="*/ 49 h 660"/>
                <a:gd name="T108" fmla="*/ 45 w 552"/>
                <a:gd name="T109" fmla="*/ 38 h 66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52"/>
                <a:gd name="T166" fmla="*/ 0 h 660"/>
                <a:gd name="T167" fmla="*/ 552 w 552"/>
                <a:gd name="T168" fmla="*/ 660 h 66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52" h="660">
                  <a:moveTo>
                    <a:pt x="36" y="564"/>
                  </a:moveTo>
                  <a:lnTo>
                    <a:pt x="36" y="558"/>
                  </a:lnTo>
                  <a:lnTo>
                    <a:pt x="36" y="552"/>
                  </a:lnTo>
                  <a:lnTo>
                    <a:pt x="42" y="546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34"/>
                  </a:lnTo>
                  <a:lnTo>
                    <a:pt x="36" y="528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54" y="510"/>
                  </a:lnTo>
                  <a:lnTo>
                    <a:pt x="54" y="504"/>
                  </a:lnTo>
                  <a:lnTo>
                    <a:pt x="54" y="498"/>
                  </a:lnTo>
                  <a:lnTo>
                    <a:pt x="48" y="492"/>
                  </a:lnTo>
                  <a:lnTo>
                    <a:pt x="42" y="486"/>
                  </a:lnTo>
                  <a:lnTo>
                    <a:pt x="42" y="480"/>
                  </a:lnTo>
                  <a:lnTo>
                    <a:pt x="42" y="468"/>
                  </a:lnTo>
                  <a:lnTo>
                    <a:pt x="30" y="456"/>
                  </a:lnTo>
                  <a:lnTo>
                    <a:pt x="30" y="450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2"/>
                  </a:lnTo>
                  <a:lnTo>
                    <a:pt x="18" y="426"/>
                  </a:lnTo>
                  <a:lnTo>
                    <a:pt x="24" y="420"/>
                  </a:lnTo>
                  <a:lnTo>
                    <a:pt x="18" y="414"/>
                  </a:lnTo>
                  <a:lnTo>
                    <a:pt x="12" y="408"/>
                  </a:lnTo>
                  <a:lnTo>
                    <a:pt x="12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6" y="384"/>
                  </a:lnTo>
                  <a:lnTo>
                    <a:pt x="12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8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36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54" y="270"/>
                  </a:lnTo>
                  <a:lnTo>
                    <a:pt x="48" y="264"/>
                  </a:lnTo>
                  <a:lnTo>
                    <a:pt x="42" y="246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8" y="204"/>
                  </a:lnTo>
                  <a:lnTo>
                    <a:pt x="54" y="174"/>
                  </a:lnTo>
                  <a:lnTo>
                    <a:pt x="54" y="162"/>
                  </a:lnTo>
                  <a:lnTo>
                    <a:pt x="54" y="156"/>
                  </a:lnTo>
                  <a:lnTo>
                    <a:pt x="54" y="144"/>
                  </a:lnTo>
                  <a:lnTo>
                    <a:pt x="48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72" y="126"/>
                  </a:lnTo>
                  <a:lnTo>
                    <a:pt x="84" y="126"/>
                  </a:lnTo>
                  <a:lnTo>
                    <a:pt x="96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2" y="84"/>
                  </a:lnTo>
                  <a:lnTo>
                    <a:pt x="126" y="78"/>
                  </a:lnTo>
                  <a:lnTo>
                    <a:pt x="120" y="78"/>
                  </a:lnTo>
                  <a:lnTo>
                    <a:pt x="102" y="84"/>
                  </a:lnTo>
                  <a:lnTo>
                    <a:pt x="108" y="66"/>
                  </a:lnTo>
                  <a:lnTo>
                    <a:pt x="114" y="54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8" y="4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6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74" y="0"/>
                  </a:lnTo>
                  <a:lnTo>
                    <a:pt x="180" y="0"/>
                  </a:lnTo>
                  <a:lnTo>
                    <a:pt x="186" y="18"/>
                  </a:lnTo>
                  <a:lnTo>
                    <a:pt x="198" y="30"/>
                  </a:lnTo>
                  <a:lnTo>
                    <a:pt x="204" y="54"/>
                  </a:lnTo>
                  <a:lnTo>
                    <a:pt x="216" y="60"/>
                  </a:lnTo>
                  <a:lnTo>
                    <a:pt x="240" y="60"/>
                  </a:lnTo>
                  <a:lnTo>
                    <a:pt x="246" y="66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2" y="120"/>
                  </a:lnTo>
                  <a:lnTo>
                    <a:pt x="25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6" y="126"/>
                  </a:lnTo>
                  <a:lnTo>
                    <a:pt x="282" y="120"/>
                  </a:lnTo>
                  <a:lnTo>
                    <a:pt x="282" y="126"/>
                  </a:lnTo>
                  <a:lnTo>
                    <a:pt x="294" y="126"/>
                  </a:lnTo>
                  <a:lnTo>
                    <a:pt x="300" y="132"/>
                  </a:lnTo>
                  <a:lnTo>
                    <a:pt x="306" y="144"/>
                  </a:lnTo>
                  <a:lnTo>
                    <a:pt x="312" y="144"/>
                  </a:lnTo>
                  <a:lnTo>
                    <a:pt x="312" y="150"/>
                  </a:lnTo>
                  <a:lnTo>
                    <a:pt x="312" y="162"/>
                  </a:lnTo>
                  <a:lnTo>
                    <a:pt x="312" y="174"/>
                  </a:lnTo>
                  <a:lnTo>
                    <a:pt x="324" y="180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30" y="192"/>
                  </a:lnTo>
                  <a:lnTo>
                    <a:pt x="336" y="198"/>
                  </a:lnTo>
                  <a:lnTo>
                    <a:pt x="342" y="192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54" y="180"/>
                  </a:lnTo>
                  <a:lnTo>
                    <a:pt x="354" y="174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84" y="192"/>
                  </a:lnTo>
                  <a:lnTo>
                    <a:pt x="390" y="204"/>
                  </a:lnTo>
                  <a:lnTo>
                    <a:pt x="390" y="210"/>
                  </a:lnTo>
                  <a:lnTo>
                    <a:pt x="390" y="216"/>
                  </a:lnTo>
                  <a:lnTo>
                    <a:pt x="384" y="234"/>
                  </a:lnTo>
                  <a:lnTo>
                    <a:pt x="390" y="240"/>
                  </a:lnTo>
                  <a:lnTo>
                    <a:pt x="408" y="252"/>
                  </a:lnTo>
                  <a:lnTo>
                    <a:pt x="414" y="264"/>
                  </a:lnTo>
                  <a:lnTo>
                    <a:pt x="408" y="300"/>
                  </a:lnTo>
                  <a:lnTo>
                    <a:pt x="414" y="312"/>
                  </a:lnTo>
                  <a:lnTo>
                    <a:pt x="426" y="336"/>
                  </a:lnTo>
                  <a:lnTo>
                    <a:pt x="438" y="354"/>
                  </a:lnTo>
                  <a:lnTo>
                    <a:pt x="444" y="366"/>
                  </a:lnTo>
                  <a:lnTo>
                    <a:pt x="456" y="366"/>
                  </a:lnTo>
                  <a:lnTo>
                    <a:pt x="474" y="378"/>
                  </a:lnTo>
                  <a:lnTo>
                    <a:pt x="474" y="384"/>
                  </a:lnTo>
                  <a:lnTo>
                    <a:pt x="480" y="390"/>
                  </a:lnTo>
                  <a:lnTo>
                    <a:pt x="486" y="396"/>
                  </a:lnTo>
                  <a:lnTo>
                    <a:pt x="486" y="402"/>
                  </a:lnTo>
                  <a:lnTo>
                    <a:pt x="480" y="408"/>
                  </a:lnTo>
                  <a:lnTo>
                    <a:pt x="486" y="408"/>
                  </a:lnTo>
                  <a:lnTo>
                    <a:pt x="486" y="414"/>
                  </a:lnTo>
                  <a:lnTo>
                    <a:pt x="492" y="414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32"/>
                  </a:lnTo>
                  <a:lnTo>
                    <a:pt x="498" y="438"/>
                  </a:lnTo>
                  <a:lnTo>
                    <a:pt x="492" y="432"/>
                  </a:lnTo>
                  <a:lnTo>
                    <a:pt x="486" y="426"/>
                  </a:lnTo>
                  <a:lnTo>
                    <a:pt x="486" y="420"/>
                  </a:lnTo>
                  <a:lnTo>
                    <a:pt x="486" y="414"/>
                  </a:lnTo>
                  <a:lnTo>
                    <a:pt x="480" y="414"/>
                  </a:lnTo>
                  <a:lnTo>
                    <a:pt x="480" y="408"/>
                  </a:lnTo>
                  <a:lnTo>
                    <a:pt x="474" y="408"/>
                  </a:lnTo>
                  <a:lnTo>
                    <a:pt x="468" y="408"/>
                  </a:lnTo>
                  <a:lnTo>
                    <a:pt x="468" y="402"/>
                  </a:lnTo>
                  <a:lnTo>
                    <a:pt x="462" y="402"/>
                  </a:lnTo>
                  <a:lnTo>
                    <a:pt x="462" y="408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80" y="426"/>
                  </a:lnTo>
                  <a:lnTo>
                    <a:pt x="486" y="426"/>
                  </a:lnTo>
                  <a:lnTo>
                    <a:pt x="486" y="432"/>
                  </a:lnTo>
                  <a:lnTo>
                    <a:pt x="492" y="438"/>
                  </a:lnTo>
                  <a:lnTo>
                    <a:pt x="498" y="438"/>
                  </a:lnTo>
                  <a:lnTo>
                    <a:pt x="504" y="444"/>
                  </a:lnTo>
                  <a:lnTo>
                    <a:pt x="510" y="444"/>
                  </a:lnTo>
                  <a:lnTo>
                    <a:pt x="510" y="450"/>
                  </a:lnTo>
                  <a:lnTo>
                    <a:pt x="510" y="456"/>
                  </a:lnTo>
                  <a:lnTo>
                    <a:pt x="516" y="456"/>
                  </a:lnTo>
                  <a:lnTo>
                    <a:pt x="516" y="462"/>
                  </a:lnTo>
                  <a:lnTo>
                    <a:pt x="522" y="462"/>
                  </a:lnTo>
                  <a:lnTo>
                    <a:pt x="522" y="468"/>
                  </a:lnTo>
                  <a:lnTo>
                    <a:pt x="528" y="468"/>
                  </a:lnTo>
                  <a:lnTo>
                    <a:pt x="534" y="468"/>
                  </a:lnTo>
                  <a:lnTo>
                    <a:pt x="534" y="474"/>
                  </a:lnTo>
                  <a:lnTo>
                    <a:pt x="540" y="474"/>
                  </a:lnTo>
                  <a:lnTo>
                    <a:pt x="540" y="480"/>
                  </a:lnTo>
                  <a:lnTo>
                    <a:pt x="546" y="486"/>
                  </a:lnTo>
                  <a:lnTo>
                    <a:pt x="546" y="492"/>
                  </a:lnTo>
                  <a:lnTo>
                    <a:pt x="546" y="498"/>
                  </a:lnTo>
                  <a:lnTo>
                    <a:pt x="546" y="504"/>
                  </a:lnTo>
                  <a:lnTo>
                    <a:pt x="540" y="504"/>
                  </a:lnTo>
                  <a:lnTo>
                    <a:pt x="546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10"/>
                  </a:lnTo>
                  <a:lnTo>
                    <a:pt x="552" y="516"/>
                  </a:lnTo>
                  <a:lnTo>
                    <a:pt x="552" y="522"/>
                  </a:lnTo>
                  <a:lnTo>
                    <a:pt x="552" y="528"/>
                  </a:lnTo>
                  <a:lnTo>
                    <a:pt x="552" y="534"/>
                  </a:lnTo>
                  <a:lnTo>
                    <a:pt x="552" y="540"/>
                  </a:lnTo>
                  <a:lnTo>
                    <a:pt x="546" y="540"/>
                  </a:lnTo>
                  <a:lnTo>
                    <a:pt x="546" y="546"/>
                  </a:lnTo>
                  <a:lnTo>
                    <a:pt x="546" y="540"/>
                  </a:lnTo>
                  <a:lnTo>
                    <a:pt x="546" y="534"/>
                  </a:lnTo>
                  <a:lnTo>
                    <a:pt x="540" y="534"/>
                  </a:lnTo>
                  <a:lnTo>
                    <a:pt x="540" y="528"/>
                  </a:lnTo>
                  <a:lnTo>
                    <a:pt x="534" y="528"/>
                  </a:lnTo>
                  <a:lnTo>
                    <a:pt x="528" y="528"/>
                  </a:lnTo>
                  <a:lnTo>
                    <a:pt x="522" y="528"/>
                  </a:lnTo>
                  <a:lnTo>
                    <a:pt x="516" y="528"/>
                  </a:lnTo>
                  <a:lnTo>
                    <a:pt x="510" y="528"/>
                  </a:lnTo>
                  <a:lnTo>
                    <a:pt x="510" y="534"/>
                  </a:lnTo>
                  <a:lnTo>
                    <a:pt x="510" y="528"/>
                  </a:lnTo>
                  <a:lnTo>
                    <a:pt x="516" y="528"/>
                  </a:lnTo>
                  <a:lnTo>
                    <a:pt x="522" y="528"/>
                  </a:lnTo>
                  <a:lnTo>
                    <a:pt x="528" y="528"/>
                  </a:lnTo>
                  <a:lnTo>
                    <a:pt x="534" y="534"/>
                  </a:lnTo>
                  <a:lnTo>
                    <a:pt x="540" y="534"/>
                  </a:lnTo>
                  <a:lnTo>
                    <a:pt x="540" y="540"/>
                  </a:lnTo>
                  <a:lnTo>
                    <a:pt x="540" y="546"/>
                  </a:lnTo>
                  <a:lnTo>
                    <a:pt x="546" y="546"/>
                  </a:lnTo>
                  <a:lnTo>
                    <a:pt x="546" y="552"/>
                  </a:lnTo>
                  <a:lnTo>
                    <a:pt x="552" y="552"/>
                  </a:lnTo>
                  <a:lnTo>
                    <a:pt x="552" y="558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0" y="576"/>
                  </a:lnTo>
                  <a:lnTo>
                    <a:pt x="540" y="582"/>
                  </a:lnTo>
                  <a:lnTo>
                    <a:pt x="540" y="588"/>
                  </a:lnTo>
                  <a:lnTo>
                    <a:pt x="534" y="594"/>
                  </a:lnTo>
                  <a:lnTo>
                    <a:pt x="534" y="600"/>
                  </a:lnTo>
                  <a:lnTo>
                    <a:pt x="528" y="600"/>
                  </a:lnTo>
                  <a:lnTo>
                    <a:pt x="522" y="594"/>
                  </a:lnTo>
                  <a:lnTo>
                    <a:pt x="528" y="600"/>
                  </a:lnTo>
                  <a:lnTo>
                    <a:pt x="534" y="600"/>
                  </a:lnTo>
                  <a:lnTo>
                    <a:pt x="534" y="606"/>
                  </a:lnTo>
                  <a:lnTo>
                    <a:pt x="528" y="606"/>
                  </a:lnTo>
                  <a:lnTo>
                    <a:pt x="528" y="612"/>
                  </a:lnTo>
                  <a:lnTo>
                    <a:pt x="522" y="612"/>
                  </a:lnTo>
                  <a:lnTo>
                    <a:pt x="522" y="618"/>
                  </a:lnTo>
                  <a:lnTo>
                    <a:pt x="522" y="624"/>
                  </a:lnTo>
                  <a:lnTo>
                    <a:pt x="510" y="624"/>
                  </a:lnTo>
                  <a:lnTo>
                    <a:pt x="498" y="624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0" y="624"/>
                  </a:lnTo>
                  <a:lnTo>
                    <a:pt x="474" y="624"/>
                  </a:lnTo>
                  <a:lnTo>
                    <a:pt x="468" y="618"/>
                  </a:lnTo>
                  <a:lnTo>
                    <a:pt x="456" y="618"/>
                  </a:lnTo>
                  <a:lnTo>
                    <a:pt x="450" y="618"/>
                  </a:lnTo>
                  <a:lnTo>
                    <a:pt x="426" y="618"/>
                  </a:lnTo>
                  <a:lnTo>
                    <a:pt x="420" y="618"/>
                  </a:lnTo>
                  <a:lnTo>
                    <a:pt x="414" y="618"/>
                  </a:lnTo>
                  <a:lnTo>
                    <a:pt x="408" y="618"/>
                  </a:lnTo>
                  <a:lnTo>
                    <a:pt x="396" y="618"/>
                  </a:lnTo>
                  <a:lnTo>
                    <a:pt x="366" y="618"/>
                  </a:lnTo>
                  <a:lnTo>
                    <a:pt x="348" y="624"/>
                  </a:lnTo>
                  <a:lnTo>
                    <a:pt x="342" y="624"/>
                  </a:lnTo>
                  <a:lnTo>
                    <a:pt x="342" y="618"/>
                  </a:lnTo>
                  <a:lnTo>
                    <a:pt x="336" y="618"/>
                  </a:lnTo>
                  <a:lnTo>
                    <a:pt x="336" y="612"/>
                  </a:lnTo>
                  <a:lnTo>
                    <a:pt x="342" y="612"/>
                  </a:lnTo>
                  <a:lnTo>
                    <a:pt x="348" y="612"/>
                  </a:lnTo>
                  <a:lnTo>
                    <a:pt x="342" y="612"/>
                  </a:lnTo>
                  <a:lnTo>
                    <a:pt x="336" y="612"/>
                  </a:lnTo>
                  <a:lnTo>
                    <a:pt x="336" y="606"/>
                  </a:lnTo>
                  <a:lnTo>
                    <a:pt x="330" y="606"/>
                  </a:lnTo>
                  <a:lnTo>
                    <a:pt x="330" y="600"/>
                  </a:lnTo>
                  <a:lnTo>
                    <a:pt x="324" y="600"/>
                  </a:lnTo>
                  <a:lnTo>
                    <a:pt x="324" y="606"/>
                  </a:lnTo>
                  <a:lnTo>
                    <a:pt x="318" y="606"/>
                  </a:lnTo>
                  <a:lnTo>
                    <a:pt x="318" y="612"/>
                  </a:lnTo>
                  <a:lnTo>
                    <a:pt x="312" y="612"/>
                  </a:lnTo>
                  <a:lnTo>
                    <a:pt x="306" y="606"/>
                  </a:lnTo>
                  <a:lnTo>
                    <a:pt x="306" y="612"/>
                  </a:lnTo>
                  <a:lnTo>
                    <a:pt x="312" y="612"/>
                  </a:lnTo>
                  <a:lnTo>
                    <a:pt x="318" y="612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30" y="606"/>
                  </a:lnTo>
                  <a:lnTo>
                    <a:pt x="336" y="612"/>
                  </a:lnTo>
                  <a:lnTo>
                    <a:pt x="336" y="618"/>
                  </a:lnTo>
                  <a:lnTo>
                    <a:pt x="330" y="618"/>
                  </a:lnTo>
                  <a:lnTo>
                    <a:pt x="336" y="618"/>
                  </a:lnTo>
                  <a:lnTo>
                    <a:pt x="336" y="624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288" y="624"/>
                  </a:lnTo>
                  <a:lnTo>
                    <a:pt x="282" y="624"/>
                  </a:lnTo>
                  <a:lnTo>
                    <a:pt x="270" y="630"/>
                  </a:lnTo>
                  <a:lnTo>
                    <a:pt x="264" y="630"/>
                  </a:lnTo>
                  <a:lnTo>
                    <a:pt x="258" y="630"/>
                  </a:lnTo>
                  <a:lnTo>
                    <a:pt x="252" y="630"/>
                  </a:lnTo>
                  <a:lnTo>
                    <a:pt x="246" y="630"/>
                  </a:lnTo>
                  <a:lnTo>
                    <a:pt x="240" y="630"/>
                  </a:lnTo>
                  <a:lnTo>
                    <a:pt x="228" y="636"/>
                  </a:lnTo>
                  <a:lnTo>
                    <a:pt x="222" y="636"/>
                  </a:lnTo>
                  <a:lnTo>
                    <a:pt x="210" y="636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42"/>
                  </a:lnTo>
                  <a:lnTo>
                    <a:pt x="186" y="642"/>
                  </a:lnTo>
                  <a:lnTo>
                    <a:pt x="180" y="642"/>
                  </a:lnTo>
                  <a:lnTo>
                    <a:pt x="168" y="642"/>
                  </a:lnTo>
                  <a:lnTo>
                    <a:pt x="162" y="642"/>
                  </a:lnTo>
                  <a:lnTo>
                    <a:pt x="162" y="648"/>
                  </a:lnTo>
                  <a:lnTo>
                    <a:pt x="156" y="648"/>
                  </a:lnTo>
                  <a:lnTo>
                    <a:pt x="150" y="648"/>
                  </a:lnTo>
                  <a:lnTo>
                    <a:pt x="144" y="648"/>
                  </a:lnTo>
                  <a:lnTo>
                    <a:pt x="138" y="648"/>
                  </a:lnTo>
                  <a:lnTo>
                    <a:pt x="132" y="648"/>
                  </a:lnTo>
                  <a:lnTo>
                    <a:pt x="126" y="642"/>
                  </a:lnTo>
                  <a:lnTo>
                    <a:pt x="126" y="636"/>
                  </a:lnTo>
                  <a:lnTo>
                    <a:pt x="120" y="636"/>
                  </a:lnTo>
                  <a:lnTo>
                    <a:pt x="126" y="642"/>
                  </a:lnTo>
                  <a:lnTo>
                    <a:pt x="126" y="648"/>
                  </a:lnTo>
                  <a:lnTo>
                    <a:pt x="132" y="648"/>
                  </a:lnTo>
                  <a:lnTo>
                    <a:pt x="126" y="654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54"/>
                  </a:lnTo>
                  <a:lnTo>
                    <a:pt x="108" y="660"/>
                  </a:lnTo>
                  <a:lnTo>
                    <a:pt x="108" y="654"/>
                  </a:lnTo>
                  <a:lnTo>
                    <a:pt x="102" y="654"/>
                  </a:lnTo>
                  <a:lnTo>
                    <a:pt x="102" y="660"/>
                  </a:lnTo>
                  <a:lnTo>
                    <a:pt x="108" y="660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0" y="660"/>
                  </a:lnTo>
                  <a:lnTo>
                    <a:pt x="90" y="654"/>
                  </a:lnTo>
                  <a:lnTo>
                    <a:pt x="84" y="648"/>
                  </a:lnTo>
                  <a:lnTo>
                    <a:pt x="84" y="642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72" y="636"/>
                  </a:lnTo>
                  <a:lnTo>
                    <a:pt x="78" y="636"/>
                  </a:lnTo>
                  <a:lnTo>
                    <a:pt x="72" y="636"/>
                  </a:lnTo>
                  <a:lnTo>
                    <a:pt x="66" y="636"/>
                  </a:lnTo>
                  <a:lnTo>
                    <a:pt x="60" y="636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60" y="618"/>
                  </a:lnTo>
                  <a:lnTo>
                    <a:pt x="66" y="618"/>
                  </a:lnTo>
                  <a:lnTo>
                    <a:pt x="72" y="618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2" y="612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12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54" y="618"/>
                  </a:lnTo>
                  <a:lnTo>
                    <a:pt x="54" y="624"/>
                  </a:lnTo>
                  <a:lnTo>
                    <a:pt x="48" y="618"/>
                  </a:lnTo>
                  <a:lnTo>
                    <a:pt x="42" y="618"/>
                  </a:lnTo>
                  <a:lnTo>
                    <a:pt x="42" y="612"/>
                  </a:lnTo>
                  <a:lnTo>
                    <a:pt x="48" y="606"/>
                  </a:lnTo>
                  <a:lnTo>
                    <a:pt x="54" y="606"/>
                  </a:lnTo>
                  <a:lnTo>
                    <a:pt x="54" y="600"/>
                  </a:lnTo>
                  <a:lnTo>
                    <a:pt x="54" y="594"/>
                  </a:lnTo>
                  <a:lnTo>
                    <a:pt x="54" y="588"/>
                  </a:lnTo>
                  <a:lnTo>
                    <a:pt x="48" y="588"/>
                  </a:lnTo>
                  <a:lnTo>
                    <a:pt x="48" y="582"/>
                  </a:lnTo>
                  <a:lnTo>
                    <a:pt x="42" y="582"/>
                  </a:lnTo>
                  <a:lnTo>
                    <a:pt x="42" y="570"/>
                  </a:lnTo>
                  <a:lnTo>
                    <a:pt x="42" y="564"/>
                  </a:lnTo>
                  <a:lnTo>
                    <a:pt x="36" y="564"/>
                  </a:lnTo>
                  <a:close/>
                  <a:moveTo>
                    <a:pt x="498" y="420"/>
                  </a:moveTo>
                  <a:lnTo>
                    <a:pt x="504" y="426"/>
                  </a:lnTo>
                  <a:lnTo>
                    <a:pt x="510" y="432"/>
                  </a:lnTo>
                  <a:lnTo>
                    <a:pt x="516" y="432"/>
                  </a:lnTo>
                  <a:lnTo>
                    <a:pt x="516" y="438"/>
                  </a:lnTo>
                  <a:lnTo>
                    <a:pt x="510" y="438"/>
                  </a:lnTo>
                  <a:lnTo>
                    <a:pt x="504" y="438"/>
                  </a:lnTo>
                  <a:lnTo>
                    <a:pt x="504" y="432"/>
                  </a:lnTo>
                  <a:lnTo>
                    <a:pt x="498" y="432"/>
                  </a:lnTo>
                  <a:lnTo>
                    <a:pt x="498" y="426"/>
                  </a:lnTo>
                  <a:lnTo>
                    <a:pt x="498" y="4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4" name="Freeform 9">
              <a:extLst>
                <a:ext uri="{FF2B5EF4-FFF2-40B4-BE49-F238E27FC236}">
                  <a16:creationId xmlns:a16="http://schemas.microsoft.com/office/drawing/2014/main" id="{E0116D32-BD2E-45EA-B818-A3082585D5F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3055" y="2468650"/>
              <a:ext cx="800556" cy="1207710"/>
            </a:xfrm>
            <a:custGeom>
              <a:avLst/>
              <a:gdLst>
                <a:gd name="T0" fmla="*/ 24 w 1506"/>
                <a:gd name="T1" fmla="*/ 190 h 2274"/>
                <a:gd name="T2" fmla="*/ 25 w 1506"/>
                <a:gd name="T3" fmla="*/ 180 h 2274"/>
                <a:gd name="T4" fmla="*/ 21 w 1506"/>
                <a:gd name="T5" fmla="*/ 174 h 2274"/>
                <a:gd name="T6" fmla="*/ 17 w 1506"/>
                <a:gd name="T7" fmla="*/ 170 h 2274"/>
                <a:gd name="T8" fmla="*/ 12 w 1506"/>
                <a:gd name="T9" fmla="*/ 168 h 2274"/>
                <a:gd name="T10" fmla="*/ 10 w 1506"/>
                <a:gd name="T11" fmla="*/ 173 h 2274"/>
                <a:gd name="T12" fmla="*/ 7 w 1506"/>
                <a:gd name="T13" fmla="*/ 174 h 2274"/>
                <a:gd name="T14" fmla="*/ 0 w 1506"/>
                <a:gd name="T15" fmla="*/ 163 h 2274"/>
                <a:gd name="T16" fmla="*/ 16 w 1506"/>
                <a:gd name="T17" fmla="*/ 140 h 2274"/>
                <a:gd name="T18" fmla="*/ 19 w 1506"/>
                <a:gd name="T19" fmla="*/ 137 h 2274"/>
                <a:gd name="T20" fmla="*/ 24 w 1506"/>
                <a:gd name="T21" fmla="*/ 126 h 2274"/>
                <a:gd name="T22" fmla="*/ 23 w 1506"/>
                <a:gd name="T23" fmla="*/ 105 h 2274"/>
                <a:gd name="T24" fmla="*/ 14 w 1506"/>
                <a:gd name="T25" fmla="*/ 86 h 2274"/>
                <a:gd name="T26" fmla="*/ 8 w 1506"/>
                <a:gd name="T27" fmla="*/ 84 h 2274"/>
                <a:gd name="T28" fmla="*/ 5 w 1506"/>
                <a:gd name="T29" fmla="*/ 79 h 2274"/>
                <a:gd name="T30" fmla="*/ 16 w 1506"/>
                <a:gd name="T31" fmla="*/ 71 h 2274"/>
                <a:gd name="T32" fmla="*/ 28 w 1506"/>
                <a:gd name="T33" fmla="*/ 55 h 2274"/>
                <a:gd name="T34" fmla="*/ 29 w 1506"/>
                <a:gd name="T35" fmla="*/ 48 h 2274"/>
                <a:gd name="T36" fmla="*/ 35 w 1506"/>
                <a:gd name="T37" fmla="*/ 50 h 2274"/>
                <a:gd name="T38" fmla="*/ 42 w 1506"/>
                <a:gd name="T39" fmla="*/ 47 h 2274"/>
                <a:gd name="T40" fmla="*/ 63 w 1506"/>
                <a:gd name="T41" fmla="*/ 34 h 2274"/>
                <a:gd name="T42" fmla="*/ 74 w 1506"/>
                <a:gd name="T43" fmla="*/ 27 h 2274"/>
                <a:gd name="T44" fmla="*/ 81 w 1506"/>
                <a:gd name="T45" fmla="*/ 20 h 2274"/>
                <a:gd name="T46" fmla="*/ 89 w 1506"/>
                <a:gd name="T47" fmla="*/ 20 h 2274"/>
                <a:gd name="T48" fmla="*/ 98 w 1506"/>
                <a:gd name="T49" fmla="*/ 27 h 2274"/>
                <a:gd name="T50" fmla="*/ 106 w 1506"/>
                <a:gd name="T51" fmla="*/ 17 h 2274"/>
                <a:gd name="T52" fmla="*/ 111 w 1506"/>
                <a:gd name="T53" fmla="*/ 8 h 2274"/>
                <a:gd name="T54" fmla="*/ 121 w 1506"/>
                <a:gd name="T55" fmla="*/ 2 h 2274"/>
                <a:gd name="T56" fmla="*/ 129 w 1506"/>
                <a:gd name="T57" fmla="*/ 5 h 2274"/>
                <a:gd name="T58" fmla="*/ 125 w 1506"/>
                <a:gd name="T59" fmla="*/ 12 h 2274"/>
                <a:gd name="T60" fmla="*/ 122 w 1506"/>
                <a:gd name="T61" fmla="*/ 20 h 2274"/>
                <a:gd name="T62" fmla="*/ 122 w 1506"/>
                <a:gd name="T63" fmla="*/ 27 h 2274"/>
                <a:gd name="T64" fmla="*/ 120 w 1506"/>
                <a:gd name="T65" fmla="*/ 36 h 2274"/>
                <a:gd name="T66" fmla="*/ 116 w 1506"/>
                <a:gd name="T67" fmla="*/ 43 h 2274"/>
                <a:gd name="T68" fmla="*/ 109 w 1506"/>
                <a:gd name="T69" fmla="*/ 47 h 2274"/>
                <a:gd name="T70" fmla="*/ 108 w 1506"/>
                <a:gd name="T71" fmla="*/ 54 h 2274"/>
                <a:gd name="T72" fmla="*/ 106 w 1506"/>
                <a:gd name="T73" fmla="*/ 59 h 2274"/>
                <a:gd name="T74" fmla="*/ 109 w 1506"/>
                <a:gd name="T75" fmla="*/ 64 h 2274"/>
                <a:gd name="T76" fmla="*/ 106 w 1506"/>
                <a:gd name="T77" fmla="*/ 70 h 2274"/>
                <a:gd name="T78" fmla="*/ 105 w 1506"/>
                <a:gd name="T79" fmla="*/ 75 h 2274"/>
                <a:gd name="T80" fmla="*/ 101 w 1506"/>
                <a:gd name="T81" fmla="*/ 78 h 2274"/>
                <a:gd name="T82" fmla="*/ 92 w 1506"/>
                <a:gd name="T83" fmla="*/ 81 h 2274"/>
                <a:gd name="T84" fmla="*/ 85 w 1506"/>
                <a:gd name="T85" fmla="*/ 85 h 2274"/>
                <a:gd name="T86" fmla="*/ 87 w 1506"/>
                <a:gd name="T87" fmla="*/ 91 h 2274"/>
                <a:gd name="T88" fmla="*/ 86 w 1506"/>
                <a:gd name="T89" fmla="*/ 98 h 2274"/>
                <a:gd name="T90" fmla="*/ 86 w 1506"/>
                <a:gd name="T91" fmla="*/ 103 h 2274"/>
                <a:gd name="T92" fmla="*/ 82 w 1506"/>
                <a:gd name="T93" fmla="*/ 111 h 2274"/>
                <a:gd name="T94" fmla="*/ 81 w 1506"/>
                <a:gd name="T95" fmla="*/ 116 h 2274"/>
                <a:gd name="T96" fmla="*/ 78 w 1506"/>
                <a:gd name="T97" fmla="*/ 120 h 2274"/>
                <a:gd name="T98" fmla="*/ 76 w 1506"/>
                <a:gd name="T99" fmla="*/ 126 h 2274"/>
                <a:gd name="T100" fmla="*/ 68 w 1506"/>
                <a:gd name="T101" fmla="*/ 129 h 2274"/>
                <a:gd name="T102" fmla="*/ 62 w 1506"/>
                <a:gd name="T103" fmla="*/ 131 h 2274"/>
                <a:gd name="T104" fmla="*/ 58 w 1506"/>
                <a:gd name="T105" fmla="*/ 136 h 2274"/>
                <a:gd name="T106" fmla="*/ 51 w 1506"/>
                <a:gd name="T107" fmla="*/ 138 h 2274"/>
                <a:gd name="T108" fmla="*/ 51 w 1506"/>
                <a:gd name="T109" fmla="*/ 147 h 2274"/>
                <a:gd name="T110" fmla="*/ 49 w 1506"/>
                <a:gd name="T111" fmla="*/ 159 h 2274"/>
                <a:gd name="T112" fmla="*/ 48 w 1506"/>
                <a:gd name="T113" fmla="*/ 166 h 2274"/>
                <a:gd name="T114" fmla="*/ 41 w 1506"/>
                <a:gd name="T115" fmla="*/ 174 h 2274"/>
                <a:gd name="T116" fmla="*/ 39 w 1506"/>
                <a:gd name="T117" fmla="*/ 181 h 2274"/>
                <a:gd name="T118" fmla="*/ 37 w 1506"/>
                <a:gd name="T119" fmla="*/ 190 h 2274"/>
                <a:gd name="T120" fmla="*/ 29 w 1506"/>
                <a:gd name="T121" fmla="*/ 198 h 22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06"/>
                <a:gd name="T184" fmla="*/ 0 h 2274"/>
                <a:gd name="T185" fmla="*/ 1506 w 1506"/>
                <a:gd name="T186" fmla="*/ 2274 h 227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06" h="2274">
                  <a:moveTo>
                    <a:pt x="330" y="2274"/>
                  </a:moveTo>
                  <a:lnTo>
                    <a:pt x="318" y="2262"/>
                  </a:lnTo>
                  <a:lnTo>
                    <a:pt x="312" y="2238"/>
                  </a:lnTo>
                  <a:lnTo>
                    <a:pt x="312" y="2232"/>
                  </a:lnTo>
                  <a:lnTo>
                    <a:pt x="294" y="2214"/>
                  </a:lnTo>
                  <a:lnTo>
                    <a:pt x="288" y="2208"/>
                  </a:lnTo>
                  <a:lnTo>
                    <a:pt x="288" y="2202"/>
                  </a:lnTo>
                  <a:lnTo>
                    <a:pt x="276" y="2196"/>
                  </a:lnTo>
                  <a:lnTo>
                    <a:pt x="276" y="2190"/>
                  </a:lnTo>
                  <a:lnTo>
                    <a:pt x="282" y="2190"/>
                  </a:lnTo>
                  <a:lnTo>
                    <a:pt x="282" y="2184"/>
                  </a:lnTo>
                  <a:lnTo>
                    <a:pt x="276" y="2172"/>
                  </a:lnTo>
                  <a:lnTo>
                    <a:pt x="276" y="2166"/>
                  </a:lnTo>
                  <a:lnTo>
                    <a:pt x="282" y="2166"/>
                  </a:lnTo>
                  <a:lnTo>
                    <a:pt x="282" y="2154"/>
                  </a:lnTo>
                  <a:lnTo>
                    <a:pt x="276" y="2136"/>
                  </a:lnTo>
                  <a:lnTo>
                    <a:pt x="276" y="2112"/>
                  </a:lnTo>
                  <a:lnTo>
                    <a:pt x="282" y="2088"/>
                  </a:lnTo>
                  <a:lnTo>
                    <a:pt x="282" y="2082"/>
                  </a:lnTo>
                  <a:lnTo>
                    <a:pt x="282" y="2076"/>
                  </a:lnTo>
                  <a:lnTo>
                    <a:pt x="282" y="2070"/>
                  </a:lnTo>
                  <a:lnTo>
                    <a:pt x="288" y="2070"/>
                  </a:lnTo>
                  <a:lnTo>
                    <a:pt x="288" y="2064"/>
                  </a:lnTo>
                  <a:lnTo>
                    <a:pt x="282" y="2052"/>
                  </a:lnTo>
                  <a:lnTo>
                    <a:pt x="282" y="2046"/>
                  </a:lnTo>
                  <a:lnTo>
                    <a:pt x="276" y="2040"/>
                  </a:lnTo>
                  <a:lnTo>
                    <a:pt x="270" y="2034"/>
                  </a:lnTo>
                  <a:lnTo>
                    <a:pt x="264" y="2022"/>
                  </a:lnTo>
                  <a:lnTo>
                    <a:pt x="258" y="2022"/>
                  </a:lnTo>
                  <a:lnTo>
                    <a:pt x="258" y="2016"/>
                  </a:lnTo>
                  <a:lnTo>
                    <a:pt x="252" y="2016"/>
                  </a:lnTo>
                  <a:lnTo>
                    <a:pt x="246" y="2016"/>
                  </a:lnTo>
                  <a:lnTo>
                    <a:pt x="240" y="2010"/>
                  </a:lnTo>
                  <a:lnTo>
                    <a:pt x="234" y="2004"/>
                  </a:lnTo>
                  <a:lnTo>
                    <a:pt x="228" y="2004"/>
                  </a:lnTo>
                  <a:lnTo>
                    <a:pt x="228" y="1998"/>
                  </a:lnTo>
                  <a:lnTo>
                    <a:pt x="228" y="1992"/>
                  </a:lnTo>
                  <a:lnTo>
                    <a:pt x="222" y="1992"/>
                  </a:lnTo>
                  <a:lnTo>
                    <a:pt x="222" y="1986"/>
                  </a:lnTo>
                  <a:lnTo>
                    <a:pt x="216" y="1986"/>
                  </a:lnTo>
                  <a:lnTo>
                    <a:pt x="210" y="1980"/>
                  </a:lnTo>
                  <a:lnTo>
                    <a:pt x="216" y="1974"/>
                  </a:lnTo>
                  <a:lnTo>
                    <a:pt x="210" y="1968"/>
                  </a:lnTo>
                  <a:lnTo>
                    <a:pt x="198" y="1956"/>
                  </a:lnTo>
                  <a:lnTo>
                    <a:pt x="192" y="1956"/>
                  </a:lnTo>
                  <a:lnTo>
                    <a:pt x="186" y="1956"/>
                  </a:lnTo>
                  <a:lnTo>
                    <a:pt x="180" y="1944"/>
                  </a:lnTo>
                  <a:lnTo>
                    <a:pt x="180" y="1938"/>
                  </a:lnTo>
                  <a:lnTo>
                    <a:pt x="174" y="1932"/>
                  </a:lnTo>
                  <a:lnTo>
                    <a:pt x="168" y="1932"/>
                  </a:lnTo>
                  <a:lnTo>
                    <a:pt x="162" y="1932"/>
                  </a:lnTo>
                  <a:lnTo>
                    <a:pt x="150" y="1932"/>
                  </a:lnTo>
                  <a:lnTo>
                    <a:pt x="150" y="1926"/>
                  </a:lnTo>
                  <a:lnTo>
                    <a:pt x="150" y="1932"/>
                  </a:lnTo>
                  <a:lnTo>
                    <a:pt x="144" y="1932"/>
                  </a:lnTo>
                  <a:lnTo>
                    <a:pt x="138" y="1932"/>
                  </a:lnTo>
                  <a:lnTo>
                    <a:pt x="132" y="1932"/>
                  </a:lnTo>
                  <a:lnTo>
                    <a:pt x="132" y="1938"/>
                  </a:lnTo>
                  <a:lnTo>
                    <a:pt x="126" y="1944"/>
                  </a:lnTo>
                  <a:lnTo>
                    <a:pt x="126" y="1956"/>
                  </a:lnTo>
                  <a:lnTo>
                    <a:pt x="120" y="1968"/>
                  </a:lnTo>
                  <a:lnTo>
                    <a:pt x="120" y="1974"/>
                  </a:lnTo>
                  <a:lnTo>
                    <a:pt x="120" y="1980"/>
                  </a:lnTo>
                  <a:lnTo>
                    <a:pt x="126" y="1980"/>
                  </a:lnTo>
                  <a:lnTo>
                    <a:pt x="120" y="1986"/>
                  </a:lnTo>
                  <a:lnTo>
                    <a:pt x="120" y="1992"/>
                  </a:lnTo>
                  <a:lnTo>
                    <a:pt x="114" y="1992"/>
                  </a:lnTo>
                  <a:lnTo>
                    <a:pt x="114" y="1986"/>
                  </a:lnTo>
                  <a:lnTo>
                    <a:pt x="108" y="1992"/>
                  </a:lnTo>
                  <a:lnTo>
                    <a:pt x="108" y="1998"/>
                  </a:lnTo>
                  <a:lnTo>
                    <a:pt x="114" y="2004"/>
                  </a:lnTo>
                  <a:lnTo>
                    <a:pt x="108" y="2004"/>
                  </a:lnTo>
                  <a:lnTo>
                    <a:pt x="102" y="2010"/>
                  </a:lnTo>
                  <a:lnTo>
                    <a:pt x="102" y="2004"/>
                  </a:lnTo>
                  <a:lnTo>
                    <a:pt x="90" y="2004"/>
                  </a:lnTo>
                  <a:lnTo>
                    <a:pt x="84" y="2004"/>
                  </a:lnTo>
                  <a:lnTo>
                    <a:pt x="78" y="1998"/>
                  </a:lnTo>
                  <a:lnTo>
                    <a:pt x="78" y="1992"/>
                  </a:lnTo>
                  <a:lnTo>
                    <a:pt x="78" y="1986"/>
                  </a:lnTo>
                  <a:lnTo>
                    <a:pt x="72" y="1986"/>
                  </a:lnTo>
                  <a:lnTo>
                    <a:pt x="66" y="1980"/>
                  </a:lnTo>
                  <a:lnTo>
                    <a:pt x="66" y="1968"/>
                  </a:lnTo>
                  <a:lnTo>
                    <a:pt x="60" y="1956"/>
                  </a:lnTo>
                  <a:lnTo>
                    <a:pt x="60" y="1950"/>
                  </a:lnTo>
                  <a:lnTo>
                    <a:pt x="48" y="1944"/>
                  </a:lnTo>
                  <a:lnTo>
                    <a:pt x="30" y="1926"/>
                  </a:lnTo>
                  <a:lnTo>
                    <a:pt x="12" y="1890"/>
                  </a:lnTo>
                  <a:lnTo>
                    <a:pt x="6" y="1872"/>
                  </a:lnTo>
                  <a:lnTo>
                    <a:pt x="0" y="1854"/>
                  </a:lnTo>
                  <a:lnTo>
                    <a:pt x="6" y="1824"/>
                  </a:lnTo>
                  <a:lnTo>
                    <a:pt x="30" y="1794"/>
                  </a:lnTo>
                  <a:lnTo>
                    <a:pt x="66" y="1752"/>
                  </a:lnTo>
                  <a:lnTo>
                    <a:pt x="72" y="1752"/>
                  </a:lnTo>
                  <a:lnTo>
                    <a:pt x="78" y="1746"/>
                  </a:lnTo>
                  <a:lnTo>
                    <a:pt x="84" y="1746"/>
                  </a:lnTo>
                  <a:lnTo>
                    <a:pt x="90" y="1746"/>
                  </a:lnTo>
                  <a:lnTo>
                    <a:pt x="138" y="1674"/>
                  </a:lnTo>
                  <a:lnTo>
                    <a:pt x="186" y="1620"/>
                  </a:lnTo>
                  <a:lnTo>
                    <a:pt x="186" y="1614"/>
                  </a:lnTo>
                  <a:lnTo>
                    <a:pt x="186" y="1608"/>
                  </a:lnTo>
                  <a:lnTo>
                    <a:pt x="192" y="1608"/>
                  </a:lnTo>
                  <a:lnTo>
                    <a:pt x="192" y="1614"/>
                  </a:lnTo>
                  <a:lnTo>
                    <a:pt x="198" y="1614"/>
                  </a:lnTo>
                  <a:lnTo>
                    <a:pt x="198" y="1608"/>
                  </a:lnTo>
                  <a:lnTo>
                    <a:pt x="198" y="1602"/>
                  </a:lnTo>
                  <a:lnTo>
                    <a:pt x="204" y="1602"/>
                  </a:lnTo>
                  <a:lnTo>
                    <a:pt x="204" y="1596"/>
                  </a:lnTo>
                  <a:lnTo>
                    <a:pt x="210" y="1590"/>
                  </a:lnTo>
                  <a:lnTo>
                    <a:pt x="216" y="1590"/>
                  </a:lnTo>
                  <a:lnTo>
                    <a:pt x="216" y="1584"/>
                  </a:lnTo>
                  <a:lnTo>
                    <a:pt x="222" y="1584"/>
                  </a:lnTo>
                  <a:lnTo>
                    <a:pt x="228" y="1572"/>
                  </a:lnTo>
                  <a:lnTo>
                    <a:pt x="222" y="1572"/>
                  </a:lnTo>
                  <a:lnTo>
                    <a:pt x="228" y="1566"/>
                  </a:lnTo>
                  <a:lnTo>
                    <a:pt x="228" y="1560"/>
                  </a:lnTo>
                  <a:lnTo>
                    <a:pt x="252" y="1548"/>
                  </a:lnTo>
                  <a:lnTo>
                    <a:pt x="276" y="1530"/>
                  </a:lnTo>
                  <a:lnTo>
                    <a:pt x="282" y="1512"/>
                  </a:lnTo>
                  <a:lnTo>
                    <a:pt x="282" y="1506"/>
                  </a:lnTo>
                  <a:lnTo>
                    <a:pt x="282" y="1494"/>
                  </a:lnTo>
                  <a:lnTo>
                    <a:pt x="282" y="1452"/>
                  </a:lnTo>
                  <a:lnTo>
                    <a:pt x="288" y="1440"/>
                  </a:lnTo>
                  <a:lnTo>
                    <a:pt x="294" y="1440"/>
                  </a:lnTo>
                  <a:lnTo>
                    <a:pt x="294" y="1428"/>
                  </a:lnTo>
                  <a:lnTo>
                    <a:pt x="324" y="1368"/>
                  </a:lnTo>
                  <a:lnTo>
                    <a:pt x="330" y="1362"/>
                  </a:lnTo>
                  <a:lnTo>
                    <a:pt x="330" y="1356"/>
                  </a:lnTo>
                  <a:lnTo>
                    <a:pt x="360" y="1338"/>
                  </a:lnTo>
                  <a:lnTo>
                    <a:pt x="366" y="1296"/>
                  </a:lnTo>
                  <a:lnTo>
                    <a:pt x="354" y="1278"/>
                  </a:lnTo>
                  <a:lnTo>
                    <a:pt x="336" y="1230"/>
                  </a:lnTo>
                  <a:lnTo>
                    <a:pt x="270" y="1212"/>
                  </a:lnTo>
                  <a:lnTo>
                    <a:pt x="264" y="1212"/>
                  </a:lnTo>
                  <a:lnTo>
                    <a:pt x="252" y="1200"/>
                  </a:lnTo>
                  <a:lnTo>
                    <a:pt x="234" y="1188"/>
                  </a:lnTo>
                  <a:lnTo>
                    <a:pt x="222" y="1182"/>
                  </a:lnTo>
                  <a:lnTo>
                    <a:pt x="228" y="1104"/>
                  </a:lnTo>
                  <a:lnTo>
                    <a:pt x="228" y="1098"/>
                  </a:lnTo>
                  <a:lnTo>
                    <a:pt x="198" y="1038"/>
                  </a:lnTo>
                  <a:lnTo>
                    <a:pt x="192" y="1032"/>
                  </a:lnTo>
                  <a:lnTo>
                    <a:pt x="180" y="1020"/>
                  </a:lnTo>
                  <a:lnTo>
                    <a:pt x="168" y="996"/>
                  </a:lnTo>
                  <a:lnTo>
                    <a:pt x="162" y="990"/>
                  </a:lnTo>
                  <a:lnTo>
                    <a:pt x="156" y="990"/>
                  </a:lnTo>
                  <a:lnTo>
                    <a:pt x="150" y="990"/>
                  </a:lnTo>
                  <a:lnTo>
                    <a:pt x="132" y="990"/>
                  </a:lnTo>
                  <a:lnTo>
                    <a:pt x="120" y="984"/>
                  </a:lnTo>
                  <a:lnTo>
                    <a:pt x="120" y="990"/>
                  </a:lnTo>
                  <a:lnTo>
                    <a:pt x="114" y="990"/>
                  </a:lnTo>
                  <a:lnTo>
                    <a:pt x="102" y="984"/>
                  </a:lnTo>
                  <a:lnTo>
                    <a:pt x="96" y="984"/>
                  </a:lnTo>
                  <a:lnTo>
                    <a:pt x="96" y="978"/>
                  </a:lnTo>
                  <a:lnTo>
                    <a:pt x="90" y="978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84" y="960"/>
                  </a:lnTo>
                  <a:lnTo>
                    <a:pt x="84" y="954"/>
                  </a:lnTo>
                  <a:lnTo>
                    <a:pt x="78" y="948"/>
                  </a:lnTo>
                  <a:lnTo>
                    <a:pt x="72" y="948"/>
                  </a:lnTo>
                  <a:lnTo>
                    <a:pt x="72" y="942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06"/>
                  </a:lnTo>
                  <a:lnTo>
                    <a:pt x="60" y="888"/>
                  </a:lnTo>
                  <a:lnTo>
                    <a:pt x="54" y="882"/>
                  </a:lnTo>
                  <a:lnTo>
                    <a:pt x="60" y="882"/>
                  </a:lnTo>
                  <a:lnTo>
                    <a:pt x="72" y="876"/>
                  </a:lnTo>
                  <a:lnTo>
                    <a:pt x="78" y="876"/>
                  </a:lnTo>
                  <a:lnTo>
                    <a:pt x="90" y="870"/>
                  </a:lnTo>
                  <a:lnTo>
                    <a:pt x="90" y="864"/>
                  </a:lnTo>
                  <a:lnTo>
                    <a:pt x="96" y="840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80" y="822"/>
                  </a:lnTo>
                  <a:lnTo>
                    <a:pt x="204" y="798"/>
                  </a:lnTo>
                  <a:lnTo>
                    <a:pt x="222" y="786"/>
                  </a:lnTo>
                  <a:lnTo>
                    <a:pt x="252" y="780"/>
                  </a:lnTo>
                  <a:lnTo>
                    <a:pt x="264" y="762"/>
                  </a:lnTo>
                  <a:lnTo>
                    <a:pt x="276" y="762"/>
                  </a:lnTo>
                  <a:lnTo>
                    <a:pt x="288" y="744"/>
                  </a:lnTo>
                  <a:lnTo>
                    <a:pt x="306" y="738"/>
                  </a:lnTo>
                  <a:lnTo>
                    <a:pt x="318" y="732"/>
                  </a:lnTo>
                  <a:lnTo>
                    <a:pt x="324" y="648"/>
                  </a:lnTo>
                  <a:lnTo>
                    <a:pt x="324" y="636"/>
                  </a:lnTo>
                  <a:lnTo>
                    <a:pt x="324" y="630"/>
                  </a:lnTo>
                  <a:lnTo>
                    <a:pt x="330" y="624"/>
                  </a:lnTo>
                  <a:lnTo>
                    <a:pt x="324" y="618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24" y="588"/>
                  </a:lnTo>
                  <a:lnTo>
                    <a:pt x="318" y="576"/>
                  </a:lnTo>
                  <a:lnTo>
                    <a:pt x="318" y="570"/>
                  </a:lnTo>
                  <a:lnTo>
                    <a:pt x="324" y="570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30" y="558"/>
                  </a:lnTo>
                  <a:lnTo>
                    <a:pt x="336" y="558"/>
                  </a:lnTo>
                  <a:lnTo>
                    <a:pt x="342" y="558"/>
                  </a:lnTo>
                  <a:lnTo>
                    <a:pt x="348" y="558"/>
                  </a:lnTo>
                  <a:lnTo>
                    <a:pt x="354" y="564"/>
                  </a:lnTo>
                  <a:lnTo>
                    <a:pt x="360" y="564"/>
                  </a:lnTo>
                  <a:lnTo>
                    <a:pt x="366" y="570"/>
                  </a:lnTo>
                  <a:lnTo>
                    <a:pt x="366" y="576"/>
                  </a:lnTo>
                  <a:lnTo>
                    <a:pt x="372" y="570"/>
                  </a:lnTo>
                  <a:lnTo>
                    <a:pt x="378" y="570"/>
                  </a:lnTo>
                  <a:lnTo>
                    <a:pt x="390" y="570"/>
                  </a:lnTo>
                  <a:lnTo>
                    <a:pt x="402" y="570"/>
                  </a:lnTo>
                  <a:lnTo>
                    <a:pt x="408" y="570"/>
                  </a:lnTo>
                  <a:lnTo>
                    <a:pt x="414" y="564"/>
                  </a:lnTo>
                  <a:lnTo>
                    <a:pt x="420" y="564"/>
                  </a:lnTo>
                  <a:lnTo>
                    <a:pt x="420" y="570"/>
                  </a:lnTo>
                  <a:lnTo>
                    <a:pt x="426" y="570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44" y="570"/>
                  </a:lnTo>
                  <a:lnTo>
                    <a:pt x="450" y="564"/>
                  </a:lnTo>
                  <a:lnTo>
                    <a:pt x="474" y="558"/>
                  </a:lnTo>
                  <a:lnTo>
                    <a:pt x="486" y="54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40" y="474"/>
                  </a:lnTo>
                  <a:lnTo>
                    <a:pt x="558" y="456"/>
                  </a:lnTo>
                  <a:lnTo>
                    <a:pt x="582" y="450"/>
                  </a:lnTo>
                  <a:lnTo>
                    <a:pt x="594" y="414"/>
                  </a:lnTo>
                  <a:lnTo>
                    <a:pt x="612" y="390"/>
                  </a:lnTo>
                  <a:lnTo>
                    <a:pt x="636" y="390"/>
                  </a:lnTo>
                  <a:lnTo>
                    <a:pt x="666" y="390"/>
                  </a:lnTo>
                  <a:lnTo>
                    <a:pt x="696" y="390"/>
                  </a:lnTo>
                  <a:lnTo>
                    <a:pt x="726" y="390"/>
                  </a:lnTo>
                  <a:lnTo>
                    <a:pt x="762" y="378"/>
                  </a:lnTo>
                  <a:lnTo>
                    <a:pt x="780" y="366"/>
                  </a:lnTo>
                  <a:lnTo>
                    <a:pt x="780" y="342"/>
                  </a:lnTo>
                  <a:lnTo>
                    <a:pt x="786" y="342"/>
                  </a:lnTo>
                  <a:lnTo>
                    <a:pt x="786" y="336"/>
                  </a:lnTo>
                  <a:lnTo>
                    <a:pt x="786" y="330"/>
                  </a:lnTo>
                  <a:lnTo>
                    <a:pt x="786" y="324"/>
                  </a:lnTo>
                  <a:lnTo>
                    <a:pt x="816" y="318"/>
                  </a:lnTo>
                  <a:lnTo>
                    <a:pt x="834" y="312"/>
                  </a:lnTo>
                  <a:lnTo>
                    <a:pt x="840" y="318"/>
                  </a:lnTo>
                  <a:lnTo>
                    <a:pt x="852" y="318"/>
                  </a:lnTo>
                  <a:lnTo>
                    <a:pt x="858" y="306"/>
                  </a:lnTo>
                  <a:lnTo>
                    <a:pt x="864" y="288"/>
                  </a:lnTo>
                  <a:lnTo>
                    <a:pt x="870" y="282"/>
                  </a:lnTo>
                  <a:lnTo>
                    <a:pt x="876" y="276"/>
                  </a:lnTo>
                  <a:lnTo>
                    <a:pt x="882" y="264"/>
                  </a:lnTo>
                  <a:lnTo>
                    <a:pt x="882" y="258"/>
                  </a:lnTo>
                  <a:lnTo>
                    <a:pt x="888" y="252"/>
                  </a:lnTo>
                  <a:lnTo>
                    <a:pt x="894" y="240"/>
                  </a:lnTo>
                  <a:lnTo>
                    <a:pt x="906" y="228"/>
                  </a:lnTo>
                  <a:lnTo>
                    <a:pt x="912" y="228"/>
                  </a:lnTo>
                  <a:lnTo>
                    <a:pt x="936" y="228"/>
                  </a:lnTo>
                  <a:lnTo>
                    <a:pt x="942" y="222"/>
                  </a:lnTo>
                  <a:lnTo>
                    <a:pt x="948" y="216"/>
                  </a:lnTo>
                  <a:lnTo>
                    <a:pt x="954" y="216"/>
                  </a:lnTo>
                  <a:lnTo>
                    <a:pt x="960" y="216"/>
                  </a:lnTo>
                  <a:lnTo>
                    <a:pt x="966" y="216"/>
                  </a:lnTo>
                  <a:lnTo>
                    <a:pt x="978" y="216"/>
                  </a:lnTo>
                  <a:lnTo>
                    <a:pt x="990" y="222"/>
                  </a:lnTo>
                  <a:lnTo>
                    <a:pt x="996" y="222"/>
                  </a:lnTo>
                  <a:lnTo>
                    <a:pt x="1002" y="228"/>
                  </a:lnTo>
                  <a:lnTo>
                    <a:pt x="1014" y="234"/>
                  </a:lnTo>
                  <a:lnTo>
                    <a:pt x="1020" y="234"/>
                  </a:lnTo>
                  <a:lnTo>
                    <a:pt x="1032" y="240"/>
                  </a:lnTo>
                  <a:lnTo>
                    <a:pt x="1044" y="240"/>
                  </a:lnTo>
                  <a:lnTo>
                    <a:pt x="1050" y="240"/>
                  </a:lnTo>
                  <a:lnTo>
                    <a:pt x="1056" y="246"/>
                  </a:lnTo>
                  <a:lnTo>
                    <a:pt x="1068" y="264"/>
                  </a:lnTo>
                  <a:lnTo>
                    <a:pt x="1086" y="276"/>
                  </a:lnTo>
                  <a:lnTo>
                    <a:pt x="1092" y="276"/>
                  </a:lnTo>
                  <a:lnTo>
                    <a:pt x="1104" y="282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8" y="312"/>
                  </a:lnTo>
                  <a:lnTo>
                    <a:pt x="1152" y="324"/>
                  </a:lnTo>
                  <a:lnTo>
                    <a:pt x="1188" y="324"/>
                  </a:lnTo>
                  <a:lnTo>
                    <a:pt x="1206" y="318"/>
                  </a:lnTo>
                  <a:lnTo>
                    <a:pt x="1200" y="294"/>
                  </a:lnTo>
                  <a:lnTo>
                    <a:pt x="1206" y="252"/>
                  </a:lnTo>
                  <a:lnTo>
                    <a:pt x="1218" y="222"/>
                  </a:lnTo>
                  <a:lnTo>
                    <a:pt x="1212" y="222"/>
                  </a:lnTo>
                  <a:lnTo>
                    <a:pt x="1212" y="216"/>
                  </a:lnTo>
                  <a:lnTo>
                    <a:pt x="1218" y="204"/>
                  </a:lnTo>
                  <a:lnTo>
                    <a:pt x="1224" y="198"/>
                  </a:lnTo>
                  <a:lnTo>
                    <a:pt x="1224" y="192"/>
                  </a:lnTo>
                  <a:lnTo>
                    <a:pt x="1236" y="180"/>
                  </a:lnTo>
                  <a:lnTo>
                    <a:pt x="1254" y="156"/>
                  </a:lnTo>
                  <a:lnTo>
                    <a:pt x="1260" y="150"/>
                  </a:lnTo>
                  <a:lnTo>
                    <a:pt x="1260" y="144"/>
                  </a:lnTo>
                  <a:lnTo>
                    <a:pt x="1266" y="138"/>
                  </a:lnTo>
                  <a:lnTo>
                    <a:pt x="1272" y="138"/>
                  </a:lnTo>
                  <a:lnTo>
                    <a:pt x="1272" y="120"/>
                  </a:lnTo>
                  <a:lnTo>
                    <a:pt x="1278" y="114"/>
                  </a:lnTo>
                  <a:lnTo>
                    <a:pt x="1278" y="108"/>
                  </a:lnTo>
                  <a:lnTo>
                    <a:pt x="1278" y="102"/>
                  </a:lnTo>
                  <a:lnTo>
                    <a:pt x="1278" y="90"/>
                  </a:lnTo>
                  <a:lnTo>
                    <a:pt x="1278" y="84"/>
                  </a:lnTo>
                  <a:lnTo>
                    <a:pt x="1278" y="78"/>
                  </a:lnTo>
                  <a:lnTo>
                    <a:pt x="1278" y="72"/>
                  </a:lnTo>
                  <a:lnTo>
                    <a:pt x="1278" y="60"/>
                  </a:lnTo>
                  <a:lnTo>
                    <a:pt x="1284" y="48"/>
                  </a:lnTo>
                  <a:lnTo>
                    <a:pt x="1284" y="24"/>
                  </a:lnTo>
                  <a:lnTo>
                    <a:pt x="1284" y="18"/>
                  </a:lnTo>
                  <a:lnTo>
                    <a:pt x="1308" y="24"/>
                  </a:lnTo>
                  <a:lnTo>
                    <a:pt x="1332" y="30"/>
                  </a:lnTo>
                  <a:lnTo>
                    <a:pt x="1368" y="30"/>
                  </a:lnTo>
                  <a:lnTo>
                    <a:pt x="1392" y="24"/>
                  </a:lnTo>
                  <a:lnTo>
                    <a:pt x="1410" y="18"/>
                  </a:lnTo>
                  <a:lnTo>
                    <a:pt x="1416" y="6"/>
                  </a:lnTo>
                  <a:lnTo>
                    <a:pt x="1500" y="6"/>
                  </a:lnTo>
                  <a:lnTo>
                    <a:pt x="1506" y="0"/>
                  </a:lnTo>
                  <a:lnTo>
                    <a:pt x="1506" y="6"/>
                  </a:lnTo>
                  <a:lnTo>
                    <a:pt x="1506" y="18"/>
                  </a:lnTo>
                  <a:lnTo>
                    <a:pt x="1506" y="24"/>
                  </a:lnTo>
                  <a:lnTo>
                    <a:pt x="1500" y="30"/>
                  </a:lnTo>
                  <a:lnTo>
                    <a:pt x="1500" y="42"/>
                  </a:lnTo>
                  <a:lnTo>
                    <a:pt x="1494" y="54"/>
                  </a:lnTo>
                  <a:lnTo>
                    <a:pt x="1488" y="60"/>
                  </a:lnTo>
                  <a:lnTo>
                    <a:pt x="1482" y="60"/>
                  </a:lnTo>
                  <a:lnTo>
                    <a:pt x="1476" y="66"/>
                  </a:lnTo>
                  <a:lnTo>
                    <a:pt x="1476" y="72"/>
                  </a:lnTo>
                  <a:lnTo>
                    <a:pt x="1476" y="78"/>
                  </a:lnTo>
                  <a:lnTo>
                    <a:pt x="1470" y="78"/>
                  </a:lnTo>
                  <a:lnTo>
                    <a:pt x="1464" y="90"/>
                  </a:lnTo>
                  <a:lnTo>
                    <a:pt x="1458" y="96"/>
                  </a:lnTo>
                  <a:lnTo>
                    <a:pt x="1458" y="102"/>
                  </a:lnTo>
                  <a:lnTo>
                    <a:pt x="1452" y="120"/>
                  </a:lnTo>
                  <a:lnTo>
                    <a:pt x="1452" y="132"/>
                  </a:lnTo>
                  <a:lnTo>
                    <a:pt x="1446" y="144"/>
                  </a:lnTo>
                  <a:lnTo>
                    <a:pt x="1446" y="150"/>
                  </a:lnTo>
                  <a:lnTo>
                    <a:pt x="1440" y="150"/>
                  </a:lnTo>
                  <a:lnTo>
                    <a:pt x="1434" y="156"/>
                  </a:lnTo>
                  <a:lnTo>
                    <a:pt x="1428" y="168"/>
                  </a:lnTo>
                  <a:lnTo>
                    <a:pt x="1422" y="168"/>
                  </a:lnTo>
                  <a:lnTo>
                    <a:pt x="1416" y="174"/>
                  </a:lnTo>
                  <a:lnTo>
                    <a:pt x="1410" y="186"/>
                  </a:lnTo>
                  <a:lnTo>
                    <a:pt x="1410" y="204"/>
                  </a:lnTo>
                  <a:lnTo>
                    <a:pt x="1404" y="210"/>
                  </a:lnTo>
                  <a:lnTo>
                    <a:pt x="1404" y="216"/>
                  </a:lnTo>
                  <a:lnTo>
                    <a:pt x="1410" y="228"/>
                  </a:lnTo>
                  <a:lnTo>
                    <a:pt x="1410" y="234"/>
                  </a:lnTo>
                  <a:lnTo>
                    <a:pt x="1410" y="240"/>
                  </a:lnTo>
                  <a:lnTo>
                    <a:pt x="1416" y="252"/>
                  </a:lnTo>
                  <a:lnTo>
                    <a:pt x="1416" y="258"/>
                  </a:lnTo>
                  <a:lnTo>
                    <a:pt x="1422" y="264"/>
                  </a:lnTo>
                  <a:lnTo>
                    <a:pt x="1422" y="270"/>
                  </a:lnTo>
                  <a:lnTo>
                    <a:pt x="1422" y="282"/>
                  </a:lnTo>
                  <a:lnTo>
                    <a:pt x="1416" y="288"/>
                  </a:lnTo>
                  <a:lnTo>
                    <a:pt x="1410" y="294"/>
                  </a:lnTo>
                  <a:lnTo>
                    <a:pt x="1404" y="300"/>
                  </a:lnTo>
                  <a:lnTo>
                    <a:pt x="1404" y="306"/>
                  </a:lnTo>
                  <a:lnTo>
                    <a:pt x="1398" y="324"/>
                  </a:lnTo>
                  <a:lnTo>
                    <a:pt x="1404" y="330"/>
                  </a:lnTo>
                  <a:lnTo>
                    <a:pt x="1404" y="342"/>
                  </a:lnTo>
                  <a:lnTo>
                    <a:pt x="1392" y="354"/>
                  </a:lnTo>
                  <a:lnTo>
                    <a:pt x="1392" y="360"/>
                  </a:lnTo>
                  <a:lnTo>
                    <a:pt x="1392" y="372"/>
                  </a:lnTo>
                  <a:lnTo>
                    <a:pt x="1392" y="384"/>
                  </a:lnTo>
                  <a:lnTo>
                    <a:pt x="1392" y="396"/>
                  </a:lnTo>
                  <a:lnTo>
                    <a:pt x="1392" y="408"/>
                  </a:lnTo>
                  <a:lnTo>
                    <a:pt x="1386" y="414"/>
                  </a:lnTo>
                  <a:lnTo>
                    <a:pt x="1380" y="420"/>
                  </a:lnTo>
                  <a:lnTo>
                    <a:pt x="1380" y="426"/>
                  </a:lnTo>
                  <a:lnTo>
                    <a:pt x="1368" y="432"/>
                  </a:lnTo>
                  <a:lnTo>
                    <a:pt x="1362" y="444"/>
                  </a:lnTo>
                  <a:lnTo>
                    <a:pt x="1362" y="450"/>
                  </a:lnTo>
                  <a:lnTo>
                    <a:pt x="1362" y="462"/>
                  </a:lnTo>
                  <a:lnTo>
                    <a:pt x="1362" y="468"/>
                  </a:lnTo>
                  <a:lnTo>
                    <a:pt x="1362" y="474"/>
                  </a:lnTo>
                  <a:lnTo>
                    <a:pt x="1356" y="474"/>
                  </a:lnTo>
                  <a:lnTo>
                    <a:pt x="1350" y="480"/>
                  </a:lnTo>
                  <a:lnTo>
                    <a:pt x="1344" y="486"/>
                  </a:lnTo>
                  <a:lnTo>
                    <a:pt x="1338" y="498"/>
                  </a:lnTo>
                  <a:lnTo>
                    <a:pt x="1332" y="510"/>
                  </a:lnTo>
                  <a:lnTo>
                    <a:pt x="1320" y="510"/>
                  </a:lnTo>
                  <a:lnTo>
                    <a:pt x="1314" y="516"/>
                  </a:lnTo>
                  <a:lnTo>
                    <a:pt x="1302" y="522"/>
                  </a:lnTo>
                  <a:lnTo>
                    <a:pt x="1296" y="522"/>
                  </a:lnTo>
                  <a:lnTo>
                    <a:pt x="1284" y="516"/>
                  </a:lnTo>
                  <a:lnTo>
                    <a:pt x="1278" y="516"/>
                  </a:lnTo>
                  <a:lnTo>
                    <a:pt x="1272" y="522"/>
                  </a:lnTo>
                  <a:lnTo>
                    <a:pt x="1266" y="522"/>
                  </a:lnTo>
                  <a:lnTo>
                    <a:pt x="1266" y="528"/>
                  </a:lnTo>
                  <a:lnTo>
                    <a:pt x="1254" y="540"/>
                  </a:lnTo>
                  <a:lnTo>
                    <a:pt x="1248" y="546"/>
                  </a:lnTo>
                  <a:lnTo>
                    <a:pt x="1242" y="558"/>
                  </a:lnTo>
                  <a:lnTo>
                    <a:pt x="1230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30" y="594"/>
                  </a:lnTo>
                  <a:lnTo>
                    <a:pt x="1230" y="600"/>
                  </a:lnTo>
                  <a:lnTo>
                    <a:pt x="1236" y="606"/>
                  </a:lnTo>
                  <a:lnTo>
                    <a:pt x="1242" y="606"/>
                  </a:lnTo>
                  <a:lnTo>
                    <a:pt x="1242" y="612"/>
                  </a:lnTo>
                  <a:lnTo>
                    <a:pt x="1242" y="618"/>
                  </a:lnTo>
                  <a:lnTo>
                    <a:pt x="1242" y="624"/>
                  </a:lnTo>
                  <a:lnTo>
                    <a:pt x="1236" y="630"/>
                  </a:lnTo>
                  <a:lnTo>
                    <a:pt x="1230" y="642"/>
                  </a:lnTo>
                  <a:lnTo>
                    <a:pt x="1230" y="648"/>
                  </a:lnTo>
                  <a:lnTo>
                    <a:pt x="1218" y="654"/>
                  </a:lnTo>
                  <a:lnTo>
                    <a:pt x="1212" y="654"/>
                  </a:lnTo>
                  <a:lnTo>
                    <a:pt x="1212" y="660"/>
                  </a:lnTo>
                  <a:lnTo>
                    <a:pt x="1212" y="666"/>
                  </a:lnTo>
                  <a:lnTo>
                    <a:pt x="1212" y="672"/>
                  </a:lnTo>
                  <a:lnTo>
                    <a:pt x="1212" y="678"/>
                  </a:lnTo>
                  <a:lnTo>
                    <a:pt x="1218" y="684"/>
                  </a:lnTo>
                  <a:lnTo>
                    <a:pt x="1218" y="690"/>
                  </a:lnTo>
                  <a:lnTo>
                    <a:pt x="1224" y="696"/>
                  </a:lnTo>
                  <a:lnTo>
                    <a:pt x="1230" y="702"/>
                  </a:lnTo>
                  <a:lnTo>
                    <a:pt x="1236" y="696"/>
                  </a:lnTo>
                  <a:lnTo>
                    <a:pt x="1242" y="702"/>
                  </a:lnTo>
                  <a:lnTo>
                    <a:pt x="1248" y="708"/>
                  </a:lnTo>
                  <a:lnTo>
                    <a:pt x="1254" y="714"/>
                  </a:lnTo>
                  <a:lnTo>
                    <a:pt x="1254" y="720"/>
                  </a:lnTo>
                  <a:lnTo>
                    <a:pt x="1260" y="720"/>
                  </a:lnTo>
                  <a:lnTo>
                    <a:pt x="1254" y="732"/>
                  </a:lnTo>
                  <a:lnTo>
                    <a:pt x="1248" y="738"/>
                  </a:lnTo>
                  <a:lnTo>
                    <a:pt x="1242" y="744"/>
                  </a:lnTo>
                  <a:lnTo>
                    <a:pt x="1236" y="750"/>
                  </a:lnTo>
                  <a:lnTo>
                    <a:pt x="1236" y="756"/>
                  </a:lnTo>
                  <a:lnTo>
                    <a:pt x="1236" y="762"/>
                  </a:lnTo>
                  <a:lnTo>
                    <a:pt x="1236" y="768"/>
                  </a:lnTo>
                  <a:lnTo>
                    <a:pt x="1236" y="780"/>
                  </a:lnTo>
                  <a:lnTo>
                    <a:pt x="1230" y="780"/>
                  </a:lnTo>
                  <a:lnTo>
                    <a:pt x="1230" y="786"/>
                  </a:lnTo>
                  <a:lnTo>
                    <a:pt x="1230" y="792"/>
                  </a:lnTo>
                  <a:lnTo>
                    <a:pt x="1230" y="804"/>
                  </a:lnTo>
                  <a:lnTo>
                    <a:pt x="1224" y="810"/>
                  </a:lnTo>
                  <a:lnTo>
                    <a:pt x="1218" y="816"/>
                  </a:lnTo>
                  <a:lnTo>
                    <a:pt x="1224" y="822"/>
                  </a:lnTo>
                  <a:lnTo>
                    <a:pt x="1224" y="828"/>
                  </a:lnTo>
                  <a:lnTo>
                    <a:pt x="1218" y="834"/>
                  </a:lnTo>
                  <a:lnTo>
                    <a:pt x="1224" y="834"/>
                  </a:lnTo>
                  <a:lnTo>
                    <a:pt x="1224" y="840"/>
                  </a:lnTo>
                  <a:lnTo>
                    <a:pt x="1224" y="846"/>
                  </a:lnTo>
                  <a:lnTo>
                    <a:pt x="1224" y="852"/>
                  </a:lnTo>
                  <a:lnTo>
                    <a:pt x="1218" y="858"/>
                  </a:lnTo>
                  <a:lnTo>
                    <a:pt x="1218" y="870"/>
                  </a:lnTo>
                  <a:lnTo>
                    <a:pt x="1212" y="870"/>
                  </a:lnTo>
                  <a:lnTo>
                    <a:pt x="1212" y="876"/>
                  </a:lnTo>
                  <a:lnTo>
                    <a:pt x="1206" y="888"/>
                  </a:lnTo>
                  <a:lnTo>
                    <a:pt x="1200" y="882"/>
                  </a:lnTo>
                  <a:lnTo>
                    <a:pt x="1194" y="888"/>
                  </a:lnTo>
                  <a:lnTo>
                    <a:pt x="1188" y="894"/>
                  </a:lnTo>
                  <a:lnTo>
                    <a:pt x="1182" y="894"/>
                  </a:lnTo>
                  <a:lnTo>
                    <a:pt x="1182" y="900"/>
                  </a:lnTo>
                  <a:lnTo>
                    <a:pt x="1176" y="900"/>
                  </a:lnTo>
                  <a:lnTo>
                    <a:pt x="1170" y="894"/>
                  </a:lnTo>
                  <a:lnTo>
                    <a:pt x="1164" y="900"/>
                  </a:lnTo>
                  <a:lnTo>
                    <a:pt x="1158" y="900"/>
                  </a:lnTo>
                  <a:lnTo>
                    <a:pt x="1152" y="900"/>
                  </a:lnTo>
                  <a:lnTo>
                    <a:pt x="1140" y="900"/>
                  </a:lnTo>
                  <a:lnTo>
                    <a:pt x="1134" y="900"/>
                  </a:lnTo>
                  <a:lnTo>
                    <a:pt x="1128" y="906"/>
                  </a:lnTo>
                  <a:lnTo>
                    <a:pt x="1110" y="906"/>
                  </a:lnTo>
                  <a:lnTo>
                    <a:pt x="1104" y="906"/>
                  </a:lnTo>
                  <a:lnTo>
                    <a:pt x="1098" y="906"/>
                  </a:lnTo>
                  <a:lnTo>
                    <a:pt x="1092" y="912"/>
                  </a:lnTo>
                  <a:lnTo>
                    <a:pt x="1080" y="918"/>
                  </a:lnTo>
                  <a:lnTo>
                    <a:pt x="1068" y="930"/>
                  </a:lnTo>
                  <a:lnTo>
                    <a:pt x="1062" y="930"/>
                  </a:lnTo>
                  <a:lnTo>
                    <a:pt x="1056" y="930"/>
                  </a:lnTo>
                  <a:lnTo>
                    <a:pt x="1050" y="930"/>
                  </a:lnTo>
                  <a:lnTo>
                    <a:pt x="1050" y="936"/>
                  </a:lnTo>
                  <a:lnTo>
                    <a:pt x="1038" y="942"/>
                  </a:lnTo>
                  <a:lnTo>
                    <a:pt x="1032" y="948"/>
                  </a:lnTo>
                  <a:lnTo>
                    <a:pt x="1026" y="954"/>
                  </a:lnTo>
                  <a:lnTo>
                    <a:pt x="1020" y="960"/>
                  </a:lnTo>
                  <a:lnTo>
                    <a:pt x="1014" y="966"/>
                  </a:lnTo>
                  <a:lnTo>
                    <a:pt x="1002" y="966"/>
                  </a:lnTo>
                  <a:lnTo>
                    <a:pt x="990" y="978"/>
                  </a:lnTo>
                  <a:lnTo>
                    <a:pt x="984" y="978"/>
                  </a:lnTo>
                  <a:lnTo>
                    <a:pt x="978" y="984"/>
                  </a:lnTo>
                  <a:lnTo>
                    <a:pt x="972" y="984"/>
                  </a:lnTo>
                  <a:lnTo>
                    <a:pt x="978" y="990"/>
                  </a:lnTo>
                  <a:lnTo>
                    <a:pt x="972" y="996"/>
                  </a:lnTo>
                  <a:lnTo>
                    <a:pt x="978" y="1002"/>
                  </a:lnTo>
                  <a:lnTo>
                    <a:pt x="1002" y="1002"/>
                  </a:lnTo>
                  <a:lnTo>
                    <a:pt x="1002" y="1008"/>
                  </a:lnTo>
                  <a:lnTo>
                    <a:pt x="1008" y="1020"/>
                  </a:lnTo>
                  <a:lnTo>
                    <a:pt x="1002" y="1026"/>
                  </a:lnTo>
                  <a:lnTo>
                    <a:pt x="1002" y="1032"/>
                  </a:lnTo>
                  <a:lnTo>
                    <a:pt x="1002" y="1050"/>
                  </a:lnTo>
                  <a:lnTo>
                    <a:pt x="1002" y="1056"/>
                  </a:lnTo>
                  <a:lnTo>
                    <a:pt x="1008" y="1062"/>
                  </a:lnTo>
                  <a:lnTo>
                    <a:pt x="1008" y="1074"/>
                  </a:lnTo>
                  <a:lnTo>
                    <a:pt x="1008" y="1086"/>
                  </a:lnTo>
                  <a:lnTo>
                    <a:pt x="996" y="1092"/>
                  </a:lnTo>
                  <a:lnTo>
                    <a:pt x="996" y="1098"/>
                  </a:lnTo>
                  <a:lnTo>
                    <a:pt x="996" y="1104"/>
                  </a:lnTo>
                  <a:lnTo>
                    <a:pt x="990" y="1110"/>
                  </a:lnTo>
                  <a:lnTo>
                    <a:pt x="990" y="1116"/>
                  </a:lnTo>
                  <a:lnTo>
                    <a:pt x="996" y="1122"/>
                  </a:lnTo>
                  <a:lnTo>
                    <a:pt x="990" y="1128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96" y="1140"/>
                  </a:lnTo>
                  <a:lnTo>
                    <a:pt x="996" y="1146"/>
                  </a:lnTo>
                  <a:lnTo>
                    <a:pt x="996" y="1152"/>
                  </a:lnTo>
                  <a:lnTo>
                    <a:pt x="996" y="1158"/>
                  </a:lnTo>
                  <a:lnTo>
                    <a:pt x="996" y="1164"/>
                  </a:lnTo>
                  <a:lnTo>
                    <a:pt x="996" y="1170"/>
                  </a:lnTo>
                  <a:lnTo>
                    <a:pt x="996" y="1176"/>
                  </a:lnTo>
                  <a:lnTo>
                    <a:pt x="990" y="1182"/>
                  </a:lnTo>
                  <a:lnTo>
                    <a:pt x="990" y="1188"/>
                  </a:lnTo>
                  <a:lnTo>
                    <a:pt x="984" y="1200"/>
                  </a:lnTo>
                  <a:lnTo>
                    <a:pt x="990" y="1206"/>
                  </a:lnTo>
                  <a:lnTo>
                    <a:pt x="990" y="1212"/>
                  </a:lnTo>
                  <a:lnTo>
                    <a:pt x="990" y="1218"/>
                  </a:lnTo>
                  <a:lnTo>
                    <a:pt x="978" y="1230"/>
                  </a:lnTo>
                  <a:lnTo>
                    <a:pt x="972" y="1236"/>
                  </a:lnTo>
                  <a:lnTo>
                    <a:pt x="972" y="1242"/>
                  </a:lnTo>
                  <a:lnTo>
                    <a:pt x="966" y="1248"/>
                  </a:lnTo>
                  <a:lnTo>
                    <a:pt x="960" y="1260"/>
                  </a:lnTo>
                  <a:lnTo>
                    <a:pt x="954" y="1266"/>
                  </a:lnTo>
                  <a:lnTo>
                    <a:pt x="942" y="1278"/>
                  </a:lnTo>
                  <a:lnTo>
                    <a:pt x="936" y="1278"/>
                  </a:lnTo>
                  <a:lnTo>
                    <a:pt x="936" y="1284"/>
                  </a:lnTo>
                  <a:lnTo>
                    <a:pt x="936" y="1296"/>
                  </a:lnTo>
                  <a:lnTo>
                    <a:pt x="936" y="1302"/>
                  </a:lnTo>
                  <a:lnTo>
                    <a:pt x="942" y="1302"/>
                  </a:lnTo>
                  <a:lnTo>
                    <a:pt x="942" y="1308"/>
                  </a:lnTo>
                  <a:lnTo>
                    <a:pt x="936" y="1314"/>
                  </a:lnTo>
                  <a:lnTo>
                    <a:pt x="930" y="1320"/>
                  </a:lnTo>
                  <a:lnTo>
                    <a:pt x="930" y="1326"/>
                  </a:lnTo>
                  <a:lnTo>
                    <a:pt x="930" y="1332"/>
                  </a:lnTo>
                  <a:lnTo>
                    <a:pt x="936" y="1338"/>
                  </a:lnTo>
                  <a:lnTo>
                    <a:pt x="936" y="1344"/>
                  </a:lnTo>
                  <a:lnTo>
                    <a:pt x="942" y="1356"/>
                  </a:lnTo>
                  <a:lnTo>
                    <a:pt x="948" y="1368"/>
                  </a:lnTo>
                  <a:lnTo>
                    <a:pt x="942" y="1380"/>
                  </a:lnTo>
                  <a:lnTo>
                    <a:pt x="936" y="1386"/>
                  </a:lnTo>
                  <a:lnTo>
                    <a:pt x="930" y="1392"/>
                  </a:lnTo>
                  <a:lnTo>
                    <a:pt x="924" y="1392"/>
                  </a:lnTo>
                  <a:lnTo>
                    <a:pt x="918" y="1386"/>
                  </a:lnTo>
                  <a:lnTo>
                    <a:pt x="912" y="1386"/>
                  </a:lnTo>
                  <a:lnTo>
                    <a:pt x="906" y="1386"/>
                  </a:lnTo>
                  <a:lnTo>
                    <a:pt x="900" y="1386"/>
                  </a:lnTo>
                  <a:lnTo>
                    <a:pt x="900" y="1392"/>
                  </a:lnTo>
                  <a:lnTo>
                    <a:pt x="894" y="1392"/>
                  </a:lnTo>
                  <a:lnTo>
                    <a:pt x="888" y="1392"/>
                  </a:lnTo>
                  <a:lnTo>
                    <a:pt x="888" y="1398"/>
                  </a:lnTo>
                  <a:lnTo>
                    <a:pt x="882" y="1404"/>
                  </a:lnTo>
                  <a:lnTo>
                    <a:pt x="882" y="1416"/>
                  </a:lnTo>
                  <a:lnTo>
                    <a:pt x="882" y="1428"/>
                  </a:lnTo>
                  <a:lnTo>
                    <a:pt x="882" y="1434"/>
                  </a:lnTo>
                  <a:lnTo>
                    <a:pt x="870" y="1440"/>
                  </a:lnTo>
                  <a:lnTo>
                    <a:pt x="864" y="1452"/>
                  </a:lnTo>
                  <a:lnTo>
                    <a:pt x="870" y="1452"/>
                  </a:lnTo>
                  <a:lnTo>
                    <a:pt x="864" y="1458"/>
                  </a:lnTo>
                  <a:lnTo>
                    <a:pt x="858" y="1464"/>
                  </a:lnTo>
                  <a:lnTo>
                    <a:pt x="852" y="1464"/>
                  </a:lnTo>
                  <a:lnTo>
                    <a:pt x="846" y="1458"/>
                  </a:lnTo>
                  <a:lnTo>
                    <a:pt x="840" y="1458"/>
                  </a:lnTo>
                  <a:lnTo>
                    <a:pt x="828" y="1470"/>
                  </a:lnTo>
                  <a:lnTo>
                    <a:pt x="810" y="1482"/>
                  </a:lnTo>
                  <a:lnTo>
                    <a:pt x="804" y="1488"/>
                  </a:lnTo>
                  <a:lnTo>
                    <a:pt x="798" y="1488"/>
                  </a:lnTo>
                  <a:lnTo>
                    <a:pt x="792" y="1488"/>
                  </a:lnTo>
                  <a:lnTo>
                    <a:pt x="786" y="1488"/>
                  </a:lnTo>
                  <a:lnTo>
                    <a:pt x="768" y="1482"/>
                  </a:lnTo>
                  <a:lnTo>
                    <a:pt x="762" y="1476"/>
                  </a:lnTo>
                  <a:lnTo>
                    <a:pt x="744" y="1476"/>
                  </a:lnTo>
                  <a:lnTo>
                    <a:pt x="738" y="1476"/>
                  </a:lnTo>
                  <a:lnTo>
                    <a:pt x="732" y="1476"/>
                  </a:lnTo>
                  <a:lnTo>
                    <a:pt x="726" y="1482"/>
                  </a:lnTo>
                  <a:lnTo>
                    <a:pt x="726" y="1488"/>
                  </a:lnTo>
                  <a:lnTo>
                    <a:pt x="726" y="1494"/>
                  </a:lnTo>
                  <a:lnTo>
                    <a:pt x="726" y="1500"/>
                  </a:lnTo>
                  <a:lnTo>
                    <a:pt x="720" y="1500"/>
                  </a:lnTo>
                  <a:lnTo>
                    <a:pt x="720" y="1506"/>
                  </a:lnTo>
                  <a:lnTo>
                    <a:pt x="714" y="1512"/>
                  </a:lnTo>
                  <a:lnTo>
                    <a:pt x="714" y="1518"/>
                  </a:lnTo>
                  <a:lnTo>
                    <a:pt x="708" y="1518"/>
                  </a:lnTo>
                  <a:lnTo>
                    <a:pt x="708" y="1530"/>
                  </a:lnTo>
                  <a:lnTo>
                    <a:pt x="708" y="1536"/>
                  </a:lnTo>
                  <a:lnTo>
                    <a:pt x="708" y="1542"/>
                  </a:lnTo>
                  <a:lnTo>
                    <a:pt x="696" y="1554"/>
                  </a:lnTo>
                  <a:lnTo>
                    <a:pt x="690" y="1560"/>
                  </a:lnTo>
                  <a:lnTo>
                    <a:pt x="684" y="1566"/>
                  </a:lnTo>
                  <a:lnTo>
                    <a:pt x="672" y="1566"/>
                  </a:lnTo>
                  <a:lnTo>
                    <a:pt x="666" y="1566"/>
                  </a:lnTo>
                  <a:lnTo>
                    <a:pt x="660" y="1566"/>
                  </a:lnTo>
                  <a:lnTo>
                    <a:pt x="654" y="1572"/>
                  </a:lnTo>
                  <a:lnTo>
                    <a:pt x="654" y="1578"/>
                  </a:lnTo>
                  <a:lnTo>
                    <a:pt x="642" y="1578"/>
                  </a:lnTo>
                  <a:lnTo>
                    <a:pt x="630" y="1572"/>
                  </a:lnTo>
                  <a:lnTo>
                    <a:pt x="624" y="1572"/>
                  </a:lnTo>
                  <a:lnTo>
                    <a:pt x="618" y="1578"/>
                  </a:lnTo>
                  <a:lnTo>
                    <a:pt x="612" y="1584"/>
                  </a:lnTo>
                  <a:lnTo>
                    <a:pt x="606" y="1584"/>
                  </a:lnTo>
                  <a:lnTo>
                    <a:pt x="600" y="1590"/>
                  </a:lnTo>
                  <a:lnTo>
                    <a:pt x="594" y="1590"/>
                  </a:lnTo>
                  <a:lnTo>
                    <a:pt x="588" y="1590"/>
                  </a:lnTo>
                  <a:lnTo>
                    <a:pt x="582" y="1590"/>
                  </a:lnTo>
                  <a:lnTo>
                    <a:pt x="582" y="1596"/>
                  </a:lnTo>
                  <a:lnTo>
                    <a:pt x="576" y="1614"/>
                  </a:lnTo>
                  <a:lnTo>
                    <a:pt x="570" y="1632"/>
                  </a:lnTo>
                  <a:lnTo>
                    <a:pt x="570" y="1638"/>
                  </a:lnTo>
                  <a:lnTo>
                    <a:pt x="576" y="1644"/>
                  </a:lnTo>
                  <a:lnTo>
                    <a:pt x="576" y="1650"/>
                  </a:lnTo>
                  <a:lnTo>
                    <a:pt x="582" y="1662"/>
                  </a:lnTo>
                  <a:lnTo>
                    <a:pt x="582" y="1668"/>
                  </a:lnTo>
                  <a:lnTo>
                    <a:pt x="588" y="1692"/>
                  </a:lnTo>
                  <a:lnTo>
                    <a:pt x="594" y="1728"/>
                  </a:lnTo>
                  <a:lnTo>
                    <a:pt x="594" y="1752"/>
                  </a:lnTo>
                  <a:lnTo>
                    <a:pt x="594" y="1764"/>
                  </a:lnTo>
                  <a:lnTo>
                    <a:pt x="582" y="1770"/>
                  </a:lnTo>
                  <a:lnTo>
                    <a:pt x="582" y="1782"/>
                  </a:lnTo>
                  <a:lnTo>
                    <a:pt x="576" y="1788"/>
                  </a:lnTo>
                  <a:lnTo>
                    <a:pt x="570" y="1794"/>
                  </a:lnTo>
                  <a:lnTo>
                    <a:pt x="564" y="1806"/>
                  </a:lnTo>
                  <a:lnTo>
                    <a:pt x="564" y="1812"/>
                  </a:lnTo>
                  <a:lnTo>
                    <a:pt x="558" y="1812"/>
                  </a:lnTo>
                  <a:lnTo>
                    <a:pt x="564" y="1824"/>
                  </a:lnTo>
                  <a:lnTo>
                    <a:pt x="564" y="1830"/>
                  </a:lnTo>
                  <a:lnTo>
                    <a:pt x="564" y="1842"/>
                  </a:lnTo>
                  <a:lnTo>
                    <a:pt x="564" y="1848"/>
                  </a:lnTo>
                  <a:lnTo>
                    <a:pt x="564" y="1854"/>
                  </a:lnTo>
                  <a:lnTo>
                    <a:pt x="570" y="1860"/>
                  </a:lnTo>
                  <a:lnTo>
                    <a:pt x="570" y="1866"/>
                  </a:lnTo>
                  <a:lnTo>
                    <a:pt x="570" y="1872"/>
                  </a:lnTo>
                  <a:lnTo>
                    <a:pt x="570" y="1878"/>
                  </a:lnTo>
                  <a:lnTo>
                    <a:pt x="564" y="1890"/>
                  </a:lnTo>
                  <a:lnTo>
                    <a:pt x="558" y="1896"/>
                  </a:lnTo>
                  <a:lnTo>
                    <a:pt x="552" y="1908"/>
                  </a:lnTo>
                  <a:lnTo>
                    <a:pt x="546" y="1914"/>
                  </a:lnTo>
                  <a:lnTo>
                    <a:pt x="540" y="1920"/>
                  </a:lnTo>
                  <a:lnTo>
                    <a:pt x="534" y="1932"/>
                  </a:lnTo>
                  <a:lnTo>
                    <a:pt x="528" y="1944"/>
                  </a:lnTo>
                  <a:lnTo>
                    <a:pt x="516" y="1950"/>
                  </a:lnTo>
                  <a:lnTo>
                    <a:pt x="510" y="1956"/>
                  </a:lnTo>
                  <a:lnTo>
                    <a:pt x="498" y="1962"/>
                  </a:lnTo>
                  <a:lnTo>
                    <a:pt x="492" y="1974"/>
                  </a:lnTo>
                  <a:lnTo>
                    <a:pt x="486" y="1980"/>
                  </a:lnTo>
                  <a:lnTo>
                    <a:pt x="480" y="1998"/>
                  </a:lnTo>
                  <a:lnTo>
                    <a:pt x="474" y="2004"/>
                  </a:lnTo>
                  <a:lnTo>
                    <a:pt x="474" y="2010"/>
                  </a:lnTo>
                  <a:lnTo>
                    <a:pt x="474" y="2016"/>
                  </a:lnTo>
                  <a:lnTo>
                    <a:pt x="468" y="2016"/>
                  </a:lnTo>
                  <a:lnTo>
                    <a:pt x="468" y="2028"/>
                  </a:lnTo>
                  <a:lnTo>
                    <a:pt x="462" y="2034"/>
                  </a:lnTo>
                  <a:lnTo>
                    <a:pt x="456" y="2040"/>
                  </a:lnTo>
                  <a:lnTo>
                    <a:pt x="456" y="2052"/>
                  </a:lnTo>
                  <a:lnTo>
                    <a:pt x="450" y="2058"/>
                  </a:lnTo>
                  <a:lnTo>
                    <a:pt x="450" y="2070"/>
                  </a:lnTo>
                  <a:lnTo>
                    <a:pt x="450" y="2076"/>
                  </a:lnTo>
                  <a:lnTo>
                    <a:pt x="450" y="2082"/>
                  </a:lnTo>
                  <a:lnTo>
                    <a:pt x="444" y="2088"/>
                  </a:lnTo>
                  <a:lnTo>
                    <a:pt x="438" y="2094"/>
                  </a:lnTo>
                  <a:lnTo>
                    <a:pt x="444" y="2100"/>
                  </a:lnTo>
                  <a:lnTo>
                    <a:pt x="444" y="2124"/>
                  </a:lnTo>
                  <a:lnTo>
                    <a:pt x="444" y="2142"/>
                  </a:lnTo>
                  <a:lnTo>
                    <a:pt x="444" y="2160"/>
                  </a:lnTo>
                  <a:lnTo>
                    <a:pt x="450" y="2166"/>
                  </a:lnTo>
                  <a:lnTo>
                    <a:pt x="456" y="2178"/>
                  </a:lnTo>
                  <a:lnTo>
                    <a:pt x="438" y="2184"/>
                  </a:lnTo>
                  <a:lnTo>
                    <a:pt x="432" y="2184"/>
                  </a:lnTo>
                  <a:lnTo>
                    <a:pt x="426" y="2190"/>
                  </a:lnTo>
                  <a:lnTo>
                    <a:pt x="408" y="2190"/>
                  </a:lnTo>
                  <a:lnTo>
                    <a:pt x="402" y="2196"/>
                  </a:lnTo>
                  <a:lnTo>
                    <a:pt x="396" y="2196"/>
                  </a:lnTo>
                  <a:lnTo>
                    <a:pt x="384" y="2208"/>
                  </a:lnTo>
                  <a:lnTo>
                    <a:pt x="378" y="2220"/>
                  </a:lnTo>
                  <a:lnTo>
                    <a:pt x="366" y="2232"/>
                  </a:lnTo>
                  <a:lnTo>
                    <a:pt x="366" y="2238"/>
                  </a:lnTo>
                  <a:lnTo>
                    <a:pt x="360" y="2238"/>
                  </a:lnTo>
                  <a:lnTo>
                    <a:pt x="360" y="2244"/>
                  </a:lnTo>
                  <a:lnTo>
                    <a:pt x="354" y="2244"/>
                  </a:lnTo>
                  <a:lnTo>
                    <a:pt x="330" y="227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5" name="Freeform 10">
              <a:extLst>
                <a:ext uri="{FF2B5EF4-FFF2-40B4-BE49-F238E27FC236}">
                  <a16:creationId xmlns:a16="http://schemas.microsoft.com/office/drawing/2014/main" id="{3AD2FC58-3490-4B7F-A8BE-621F3CDD69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1996" y="1931890"/>
              <a:ext cx="805029" cy="1037736"/>
            </a:xfrm>
            <a:custGeom>
              <a:avLst/>
              <a:gdLst>
                <a:gd name="T0" fmla="*/ 124 w 1512"/>
                <a:gd name="T1" fmla="*/ 76 h 1956"/>
                <a:gd name="T2" fmla="*/ 120 w 1512"/>
                <a:gd name="T3" fmla="*/ 80 h 1956"/>
                <a:gd name="T4" fmla="*/ 106 w 1512"/>
                <a:gd name="T5" fmla="*/ 84 h 1956"/>
                <a:gd name="T6" fmla="*/ 105 w 1512"/>
                <a:gd name="T7" fmla="*/ 91 h 1956"/>
                <a:gd name="T8" fmla="*/ 101 w 1512"/>
                <a:gd name="T9" fmla="*/ 99 h 1956"/>
                <a:gd name="T10" fmla="*/ 105 w 1512"/>
                <a:gd name="T11" fmla="*/ 107 h 1956"/>
                <a:gd name="T12" fmla="*/ 119 w 1512"/>
                <a:gd name="T13" fmla="*/ 116 h 1956"/>
                <a:gd name="T14" fmla="*/ 121 w 1512"/>
                <a:gd name="T15" fmla="*/ 128 h 1956"/>
                <a:gd name="T16" fmla="*/ 112 w 1512"/>
                <a:gd name="T17" fmla="*/ 136 h 1956"/>
                <a:gd name="T18" fmla="*/ 119 w 1512"/>
                <a:gd name="T19" fmla="*/ 143 h 1956"/>
                <a:gd name="T20" fmla="*/ 126 w 1512"/>
                <a:gd name="T21" fmla="*/ 148 h 1956"/>
                <a:gd name="T22" fmla="*/ 126 w 1512"/>
                <a:gd name="T23" fmla="*/ 160 h 1956"/>
                <a:gd name="T24" fmla="*/ 104 w 1512"/>
                <a:gd name="T25" fmla="*/ 170 h 1956"/>
                <a:gd name="T26" fmla="*/ 99 w 1512"/>
                <a:gd name="T27" fmla="*/ 164 h 1956"/>
                <a:gd name="T28" fmla="*/ 73 w 1512"/>
                <a:gd name="T29" fmla="*/ 152 h 1956"/>
                <a:gd name="T30" fmla="*/ 56 w 1512"/>
                <a:gd name="T31" fmla="*/ 165 h 1956"/>
                <a:gd name="T32" fmla="*/ 33 w 1512"/>
                <a:gd name="T33" fmla="*/ 162 h 1956"/>
                <a:gd name="T34" fmla="*/ 25 w 1512"/>
                <a:gd name="T35" fmla="*/ 155 h 1956"/>
                <a:gd name="T36" fmla="*/ 31 w 1512"/>
                <a:gd name="T37" fmla="*/ 142 h 1956"/>
                <a:gd name="T38" fmla="*/ 24 w 1512"/>
                <a:gd name="T39" fmla="*/ 137 h 1956"/>
                <a:gd name="T40" fmla="*/ 14 w 1512"/>
                <a:gd name="T41" fmla="*/ 136 h 1956"/>
                <a:gd name="T42" fmla="*/ 11 w 1512"/>
                <a:gd name="T43" fmla="*/ 125 h 1956"/>
                <a:gd name="T44" fmla="*/ 3 w 1512"/>
                <a:gd name="T45" fmla="*/ 116 h 1956"/>
                <a:gd name="T46" fmla="*/ 2 w 1512"/>
                <a:gd name="T47" fmla="*/ 106 h 1956"/>
                <a:gd name="T48" fmla="*/ 5 w 1512"/>
                <a:gd name="T49" fmla="*/ 101 h 1956"/>
                <a:gd name="T50" fmla="*/ 2 w 1512"/>
                <a:gd name="T51" fmla="*/ 95 h 1956"/>
                <a:gd name="T52" fmla="*/ 1 w 1512"/>
                <a:gd name="T53" fmla="*/ 88 h 1956"/>
                <a:gd name="T54" fmla="*/ 4 w 1512"/>
                <a:gd name="T55" fmla="*/ 80 h 1956"/>
                <a:gd name="T56" fmla="*/ 12 w 1512"/>
                <a:gd name="T57" fmla="*/ 73 h 1956"/>
                <a:gd name="T58" fmla="*/ 16 w 1512"/>
                <a:gd name="T59" fmla="*/ 68 h 1956"/>
                <a:gd name="T60" fmla="*/ 22 w 1512"/>
                <a:gd name="T61" fmla="*/ 66 h 1956"/>
                <a:gd name="T62" fmla="*/ 32 w 1512"/>
                <a:gd name="T63" fmla="*/ 65 h 1956"/>
                <a:gd name="T64" fmla="*/ 45 w 1512"/>
                <a:gd name="T65" fmla="*/ 66 h 1956"/>
                <a:gd name="T66" fmla="*/ 50 w 1512"/>
                <a:gd name="T67" fmla="*/ 70 h 1956"/>
                <a:gd name="T68" fmla="*/ 55 w 1512"/>
                <a:gd name="T69" fmla="*/ 70 h 1956"/>
                <a:gd name="T70" fmla="*/ 63 w 1512"/>
                <a:gd name="T71" fmla="*/ 71 h 1956"/>
                <a:gd name="T72" fmla="*/ 61 w 1512"/>
                <a:gd name="T73" fmla="*/ 75 h 1956"/>
                <a:gd name="T74" fmla="*/ 66 w 1512"/>
                <a:gd name="T75" fmla="*/ 84 h 1956"/>
                <a:gd name="T76" fmla="*/ 81 w 1512"/>
                <a:gd name="T77" fmla="*/ 85 h 1956"/>
                <a:gd name="T78" fmla="*/ 83 w 1512"/>
                <a:gd name="T79" fmla="*/ 79 h 1956"/>
                <a:gd name="T80" fmla="*/ 89 w 1512"/>
                <a:gd name="T81" fmla="*/ 77 h 1956"/>
                <a:gd name="T82" fmla="*/ 89 w 1512"/>
                <a:gd name="T83" fmla="*/ 73 h 1956"/>
                <a:gd name="T84" fmla="*/ 83 w 1512"/>
                <a:gd name="T85" fmla="*/ 72 h 1956"/>
                <a:gd name="T86" fmla="*/ 77 w 1512"/>
                <a:gd name="T87" fmla="*/ 70 h 1956"/>
                <a:gd name="T88" fmla="*/ 71 w 1512"/>
                <a:gd name="T89" fmla="*/ 70 h 1956"/>
                <a:gd name="T90" fmla="*/ 59 w 1512"/>
                <a:gd name="T91" fmla="*/ 58 h 1956"/>
                <a:gd name="T92" fmla="*/ 54 w 1512"/>
                <a:gd name="T93" fmla="*/ 45 h 1956"/>
                <a:gd name="T94" fmla="*/ 49 w 1512"/>
                <a:gd name="T95" fmla="*/ 42 h 1956"/>
                <a:gd name="T96" fmla="*/ 51 w 1512"/>
                <a:gd name="T97" fmla="*/ 39 h 1956"/>
                <a:gd name="T98" fmla="*/ 55 w 1512"/>
                <a:gd name="T99" fmla="*/ 36 h 1956"/>
                <a:gd name="T100" fmla="*/ 63 w 1512"/>
                <a:gd name="T101" fmla="*/ 34 h 1956"/>
                <a:gd name="T102" fmla="*/ 68 w 1512"/>
                <a:gd name="T103" fmla="*/ 32 h 1956"/>
                <a:gd name="T104" fmla="*/ 73 w 1512"/>
                <a:gd name="T105" fmla="*/ 29 h 1956"/>
                <a:gd name="T106" fmla="*/ 78 w 1512"/>
                <a:gd name="T107" fmla="*/ 27 h 1956"/>
                <a:gd name="T108" fmla="*/ 81 w 1512"/>
                <a:gd name="T109" fmla="*/ 17 h 1956"/>
                <a:gd name="T110" fmla="*/ 84 w 1512"/>
                <a:gd name="T111" fmla="*/ 6 h 1956"/>
                <a:gd name="T112" fmla="*/ 95 w 1512"/>
                <a:gd name="T113" fmla="*/ 6 h 1956"/>
                <a:gd name="T114" fmla="*/ 99 w 1512"/>
                <a:gd name="T115" fmla="*/ 3 h 1956"/>
                <a:gd name="T116" fmla="*/ 103 w 1512"/>
                <a:gd name="T117" fmla="*/ 0 h 1956"/>
                <a:gd name="T118" fmla="*/ 110 w 1512"/>
                <a:gd name="T119" fmla="*/ 4 h 1956"/>
                <a:gd name="T120" fmla="*/ 114 w 1512"/>
                <a:gd name="T121" fmla="*/ 33 h 1956"/>
                <a:gd name="T122" fmla="*/ 117 w 1512"/>
                <a:gd name="T123" fmla="*/ 41 h 1956"/>
                <a:gd name="T124" fmla="*/ 119 w 1512"/>
                <a:gd name="T125" fmla="*/ 62 h 195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12"/>
                <a:gd name="T190" fmla="*/ 0 h 1956"/>
                <a:gd name="T191" fmla="*/ 1512 w 1512"/>
                <a:gd name="T192" fmla="*/ 1956 h 195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12" h="1956">
                  <a:moveTo>
                    <a:pt x="1512" y="780"/>
                  </a:moveTo>
                  <a:lnTo>
                    <a:pt x="1482" y="786"/>
                  </a:lnTo>
                  <a:lnTo>
                    <a:pt x="1476" y="792"/>
                  </a:lnTo>
                  <a:lnTo>
                    <a:pt x="1476" y="798"/>
                  </a:lnTo>
                  <a:lnTo>
                    <a:pt x="1476" y="804"/>
                  </a:lnTo>
                  <a:lnTo>
                    <a:pt x="1476" y="816"/>
                  </a:lnTo>
                  <a:lnTo>
                    <a:pt x="1470" y="834"/>
                  </a:lnTo>
                  <a:lnTo>
                    <a:pt x="1464" y="840"/>
                  </a:lnTo>
                  <a:lnTo>
                    <a:pt x="1452" y="852"/>
                  </a:lnTo>
                  <a:lnTo>
                    <a:pt x="1440" y="864"/>
                  </a:lnTo>
                  <a:lnTo>
                    <a:pt x="1434" y="864"/>
                  </a:lnTo>
                  <a:lnTo>
                    <a:pt x="1434" y="870"/>
                  </a:lnTo>
                  <a:lnTo>
                    <a:pt x="1422" y="876"/>
                  </a:lnTo>
                  <a:lnTo>
                    <a:pt x="1410" y="894"/>
                  </a:lnTo>
                  <a:lnTo>
                    <a:pt x="1404" y="894"/>
                  </a:lnTo>
                  <a:lnTo>
                    <a:pt x="1404" y="900"/>
                  </a:lnTo>
                  <a:lnTo>
                    <a:pt x="1404" y="906"/>
                  </a:lnTo>
                  <a:lnTo>
                    <a:pt x="1410" y="918"/>
                  </a:lnTo>
                  <a:lnTo>
                    <a:pt x="1404" y="918"/>
                  </a:lnTo>
                  <a:lnTo>
                    <a:pt x="1392" y="924"/>
                  </a:lnTo>
                  <a:lnTo>
                    <a:pt x="1386" y="924"/>
                  </a:lnTo>
                  <a:lnTo>
                    <a:pt x="1380" y="924"/>
                  </a:lnTo>
                  <a:lnTo>
                    <a:pt x="1380" y="930"/>
                  </a:lnTo>
                  <a:lnTo>
                    <a:pt x="1374" y="930"/>
                  </a:lnTo>
                  <a:lnTo>
                    <a:pt x="1374" y="924"/>
                  </a:lnTo>
                  <a:lnTo>
                    <a:pt x="1374" y="918"/>
                  </a:lnTo>
                  <a:lnTo>
                    <a:pt x="1368" y="912"/>
                  </a:lnTo>
                  <a:lnTo>
                    <a:pt x="1368" y="906"/>
                  </a:lnTo>
                  <a:lnTo>
                    <a:pt x="1368" y="900"/>
                  </a:lnTo>
                  <a:lnTo>
                    <a:pt x="1368" y="894"/>
                  </a:lnTo>
                  <a:lnTo>
                    <a:pt x="1362" y="894"/>
                  </a:lnTo>
                  <a:lnTo>
                    <a:pt x="1326" y="894"/>
                  </a:lnTo>
                  <a:lnTo>
                    <a:pt x="1302" y="906"/>
                  </a:lnTo>
                  <a:lnTo>
                    <a:pt x="1284" y="918"/>
                  </a:lnTo>
                  <a:lnTo>
                    <a:pt x="1284" y="924"/>
                  </a:lnTo>
                  <a:lnTo>
                    <a:pt x="1278" y="930"/>
                  </a:lnTo>
                  <a:lnTo>
                    <a:pt x="1266" y="930"/>
                  </a:lnTo>
                  <a:lnTo>
                    <a:pt x="1236" y="954"/>
                  </a:lnTo>
                  <a:lnTo>
                    <a:pt x="1212" y="972"/>
                  </a:lnTo>
                  <a:lnTo>
                    <a:pt x="1218" y="996"/>
                  </a:lnTo>
                  <a:lnTo>
                    <a:pt x="1224" y="1008"/>
                  </a:lnTo>
                  <a:lnTo>
                    <a:pt x="1236" y="1014"/>
                  </a:lnTo>
                  <a:lnTo>
                    <a:pt x="1242" y="1026"/>
                  </a:lnTo>
                  <a:lnTo>
                    <a:pt x="1248" y="1038"/>
                  </a:lnTo>
                  <a:lnTo>
                    <a:pt x="1260" y="1050"/>
                  </a:lnTo>
                  <a:lnTo>
                    <a:pt x="1260" y="1056"/>
                  </a:lnTo>
                  <a:lnTo>
                    <a:pt x="1260" y="1074"/>
                  </a:lnTo>
                  <a:lnTo>
                    <a:pt x="1254" y="1074"/>
                  </a:lnTo>
                  <a:lnTo>
                    <a:pt x="1236" y="1056"/>
                  </a:lnTo>
                  <a:lnTo>
                    <a:pt x="1224" y="1050"/>
                  </a:lnTo>
                  <a:lnTo>
                    <a:pt x="1212" y="1050"/>
                  </a:lnTo>
                  <a:lnTo>
                    <a:pt x="1206" y="1050"/>
                  </a:lnTo>
                  <a:lnTo>
                    <a:pt x="1200" y="1056"/>
                  </a:lnTo>
                  <a:lnTo>
                    <a:pt x="1194" y="1062"/>
                  </a:lnTo>
                  <a:lnTo>
                    <a:pt x="1188" y="1068"/>
                  </a:lnTo>
                  <a:lnTo>
                    <a:pt x="1188" y="1074"/>
                  </a:lnTo>
                  <a:lnTo>
                    <a:pt x="1176" y="1086"/>
                  </a:lnTo>
                  <a:lnTo>
                    <a:pt x="1170" y="1086"/>
                  </a:lnTo>
                  <a:lnTo>
                    <a:pt x="1170" y="1092"/>
                  </a:lnTo>
                  <a:lnTo>
                    <a:pt x="1164" y="1098"/>
                  </a:lnTo>
                  <a:lnTo>
                    <a:pt x="1158" y="1110"/>
                  </a:lnTo>
                  <a:lnTo>
                    <a:pt x="1152" y="1116"/>
                  </a:lnTo>
                  <a:lnTo>
                    <a:pt x="1152" y="1122"/>
                  </a:lnTo>
                  <a:lnTo>
                    <a:pt x="1146" y="1128"/>
                  </a:lnTo>
                  <a:lnTo>
                    <a:pt x="1152" y="1140"/>
                  </a:lnTo>
                  <a:lnTo>
                    <a:pt x="1158" y="1140"/>
                  </a:lnTo>
                  <a:lnTo>
                    <a:pt x="1164" y="1146"/>
                  </a:lnTo>
                  <a:lnTo>
                    <a:pt x="1164" y="1152"/>
                  </a:lnTo>
                  <a:lnTo>
                    <a:pt x="1170" y="1164"/>
                  </a:lnTo>
                  <a:lnTo>
                    <a:pt x="1164" y="1176"/>
                  </a:lnTo>
                  <a:lnTo>
                    <a:pt x="1170" y="1182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82" y="1218"/>
                  </a:lnTo>
                  <a:lnTo>
                    <a:pt x="1188" y="1218"/>
                  </a:lnTo>
                  <a:lnTo>
                    <a:pt x="1194" y="1218"/>
                  </a:lnTo>
                  <a:lnTo>
                    <a:pt x="1194" y="1224"/>
                  </a:lnTo>
                  <a:lnTo>
                    <a:pt x="1200" y="1230"/>
                  </a:lnTo>
                  <a:lnTo>
                    <a:pt x="1200" y="1248"/>
                  </a:lnTo>
                  <a:lnTo>
                    <a:pt x="1212" y="1266"/>
                  </a:lnTo>
                  <a:lnTo>
                    <a:pt x="1218" y="1278"/>
                  </a:lnTo>
                  <a:lnTo>
                    <a:pt x="1224" y="1284"/>
                  </a:lnTo>
                  <a:lnTo>
                    <a:pt x="1236" y="1296"/>
                  </a:lnTo>
                  <a:lnTo>
                    <a:pt x="1242" y="1302"/>
                  </a:lnTo>
                  <a:lnTo>
                    <a:pt x="1242" y="1308"/>
                  </a:lnTo>
                  <a:lnTo>
                    <a:pt x="1272" y="1308"/>
                  </a:lnTo>
                  <a:lnTo>
                    <a:pt x="1296" y="1314"/>
                  </a:lnTo>
                  <a:lnTo>
                    <a:pt x="1320" y="1320"/>
                  </a:lnTo>
                  <a:lnTo>
                    <a:pt x="1338" y="1320"/>
                  </a:lnTo>
                  <a:lnTo>
                    <a:pt x="1356" y="1332"/>
                  </a:lnTo>
                  <a:lnTo>
                    <a:pt x="1368" y="1344"/>
                  </a:lnTo>
                  <a:lnTo>
                    <a:pt x="1374" y="1362"/>
                  </a:lnTo>
                  <a:lnTo>
                    <a:pt x="1368" y="1362"/>
                  </a:lnTo>
                  <a:lnTo>
                    <a:pt x="1368" y="1398"/>
                  </a:lnTo>
                  <a:lnTo>
                    <a:pt x="1368" y="1410"/>
                  </a:lnTo>
                  <a:lnTo>
                    <a:pt x="1368" y="1428"/>
                  </a:lnTo>
                  <a:lnTo>
                    <a:pt x="1368" y="1434"/>
                  </a:lnTo>
                  <a:lnTo>
                    <a:pt x="1368" y="1440"/>
                  </a:lnTo>
                  <a:lnTo>
                    <a:pt x="1374" y="1446"/>
                  </a:lnTo>
                  <a:lnTo>
                    <a:pt x="1374" y="1452"/>
                  </a:lnTo>
                  <a:lnTo>
                    <a:pt x="1380" y="1458"/>
                  </a:lnTo>
                  <a:lnTo>
                    <a:pt x="1386" y="1464"/>
                  </a:lnTo>
                  <a:lnTo>
                    <a:pt x="1386" y="1470"/>
                  </a:lnTo>
                  <a:lnTo>
                    <a:pt x="1380" y="1476"/>
                  </a:lnTo>
                  <a:lnTo>
                    <a:pt x="1374" y="1482"/>
                  </a:lnTo>
                  <a:lnTo>
                    <a:pt x="1362" y="1500"/>
                  </a:lnTo>
                  <a:lnTo>
                    <a:pt x="1362" y="1506"/>
                  </a:lnTo>
                  <a:lnTo>
                    <a:pt x="1362" y="1512"/>
                  </a:lnTo>
                  <a:lnTo>
                    <a:pt x="1362" y="1518"/>
                  </a:lnTo>
                  <a:lnTo>
                    <a:pt x="1362" y="1524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38" y="1548"/>
                  </a:lnTo>
                  <a:lnTo>
                    <a:pt x="1296" y="1548"/>
                  </a:lnTo>
                  <a:lnTo>
                    <a:pt x="1290" y="1554"/>
                  </a:lnTo>
                  <a:lnTo>
                    <a:pt x="1284" y="1560"/>
                  </a:lnTo>
                  <a:lnTo>
                    <a:pt x="1284" y="1566"/>
                  </a:lnTo>
                  <a:lnTo>
                    <a:pt x="1290" y="1578"/>
                  </a:lnTo>
                  <a:lnTo>
                    <a:pt x="1296" y="1590"/>
                  </a:lnTo>
                  <a:lnTo>
                    <a:pt x="1302" y="1590"/>
                  </a:lnTo>
                  <a:lnTo>
                    <a:pt x="1308" y="1596"/>
                  </a:lnTo>
                  <a:lnTo>
                    <a:pt x="1320" y="1602"/>
                  </a:lnTo>
                  <a:lnTo>
                    <a:pt x="1326" y="1602"/>
                  </a:lnTo>
                  <a:lnTo>
                    <a:pt x="1326" y="1608"/>
                  </a:lnTo>
                  <a:lnTo>
                    <a:pt x="1332" y="1614"/>
                  </a:lnTo>
                  <a:lnTo>
                    <a:pt x="1344" y="1620"/>
                  </a:lnTo>
                  <a:lnTo>
                    <a:pt x="1356" y="1626"/>
                  </a:lnTo>
                  <a:lnTo>
                    <a:pt x="1356" y="1632"/>
                  </a:lnTo>
                  <a:lnTo>
                    <a:pt x="1356" y="1638"/>
                  </a:lnTo>
                  <a:lnTo>
                    <a:pt x="1362" y="1644"/>
                  </a:lnTo>
                  <a:lnTo>
                    <a:pt x="1368" y="1644"/>
                  </a:lnTo>
                  <a:lnTo>
                    <a:pt x="1380" y="1650"/>
                  </a:lnTo>
                  <a:lnTo>
                    <a:pt x="1386" y="1650"/>
                  </a:lnTo>
                  <a:lnTo>
                    <a:pt x="1386" y="1656"/>
                  </a:lnTo>
                  <a:lnTo>
                    <a:pt x="1392" y="1656"/>
                  </a:lnTo>
                  <a:lnTo>
                    <a:pt x="1398" y="1662"/>
                  </a:lnTo>
                  <a:lnTo>
                    <a:pt x="1410" y="1674"/>
                  </a:lnTo>
                  <a:lnTo>
                    <a:pt x="1428" y="1680"/>
                  </a:lnTo>
                  <a:lnTo>
                    <a:pt x="1428" y="1686"/>
                  </a:lnTo>
                  <a:lnTo>
                    <a:pt x="1428" y="1698"/>
                  </a:lnTo>
                  <a:lnTo>
                    <a:pt x="1434" y="1704"/>
                  </a:lnTo>
                  <a:lnTo>
                    <a:pt x="1434" y="1710"/>
                  </a:lnTo>
                  <a:lnTo>
                    <a:pt x="1440" y="1710"/>
                  </a:lnTo>
                  <a:lnTo>
                    <a:pt x="1446" y="1710"/>
                  </a:lnTo>
                  <a:lnTo>
                    <a:pt x="1446" y="1716"/>
                  </a:lnTo>
                  <a:lnTo>
                    <a:pt x="1440" y="1722"/>
                  </a:lnTo>
                  <a:lnTo>
                    <a:pt x="1440" y="1728"/>
                  </a:lnTo>
                  <a:lnTo>
                    <a:pt x="1440" y="1734"/>
                  </a:lnTo>
                  <a:lnTo>
                    <a:pt x="1440" y="1740"/>
                  </a:lnTo>
                  <a:lnTo>
                    <a:pt x="1440" y="1746"/>
                  </a:lnTo>
                  <a:lnTo>
                    <a:pt x="1440" y="1788"/>
                  </a:lnTo>
                  <a:lnTo>
                    <a:pt x="1440" y="1800"/>
                  </a:lnTo>
                  <a:lnTo>
                    <a:pt x="1440" y="1806"/>
                  </a:lnTo>
                  <a:lnTo>
                    <a:pt x="1440" y="1836"/>
                  </a:lnTo>
                  <a:lnTo>
                    <a:pt x="1440" y="1848"/>
                  </a:lnTo>
                  <a:lnTo>
                    <a:pt x="1446" y="1848"/>
                  </a:lnTo>
                  <a:lnTo>
                    <a:pt x="1446" y="1854"/>
                  </a:lnTo>
                  <a:lnTo>
                    <a:pt x="1452" y="1848"/>
                  </a:lnTo>
                  <a:lnTo>
                    <a:pt x="1458" y="1854"/>
                  </a:lnTo>
                  <a:lnTo>
                    <a:pt x="1452" y="1860"/>
                  </a:lnTo>
                  <a:lnTo>
                    <a:pt x="1452" y="1866"/>
                  </a:lnTo>
                  <a:lnTo>
                    <a:pt x="1458" y="1872"/>
                  </a:lnTo>
                  <a:lnTo>
                    <a:pt x="1464" y="1884"/>
                  </a:lnTo>
                  <a:lnTo>
                    <a:pt x="1428" y="1878"/>
                  </a:lnTo>
                  <a:lnTo>
                    <a:pt x="1356" y="1890"/>
                  </a:lnTo>
                  <a:lnTo>
                    <a:pt x="1296" y="1926"/>
                  </a:lnTo>
                  <a:lnTo>
                    <a:pt x="1266" y="1944"/>
                  </a:lnTo>
                  <a:lnTo>
                    <a:pt x="1224" y="1944"/>
                  </a:lnTo>
                  <a:lnTo>
                    <a:pt x="1188" y="1956"/>
                  </a:lnTo>
                  <a:lnTo>
                    <a:pt x="1188" y="1950"/>
                  </a:lnTo>
                  <a:lnTo>
                    <a:pt x="1176" y="1944"/>
                  </a:lnTo>
                  <a:lnTo>
                    <a:pt x="1176" y="1938"/>
                  </a:lnTo>
                  <a:lnTo>
                    <a:pt x="1170" y="1938"/>
                  </a:lnTo>
                  <a:lnTo>
                    <a:pt x="1164" y="1932"/>
                  </a:lnTo>
                  <a:lnTo>
                    <a:pt x="1158" y="1926"/>
                  </a:lnTo>
                  <a:lnTo>
                    <a:pt x="1158" y="1920"/>
                  </a:lnTo>
                  <a:lnTo>
                    <a:pt x="1152" y="1920"/>
                  </a:lnTo>
                  <a:lnTo>
                    <a:pt x="1146" y="1914"/>
                  </a:lnTo>
                  <a:lnTo>
                    <a:pt x="1146" y="1908"/>
                  </a:lnTo>
                  <a:lnTo>
                    <a:pt x="1140" y="1908"/>
                  </a:lnTo>
                  <a:lnTo>
                    <a:pt x="1134" y="1902"/>
                  </a:lnTo>
                  <a:lnTo>
                    <a:pt x="1134" y="1896"/>
                  </a:lnTo>
                  <a:lnTo>
                    <a:pt x="1116" y="1896"/>
                  </a:lnTo>
                  <a:lnTo>
                    <a:pt x="1104" y="1884"/>
                  </a:lnTo>
                  <a:lnTo>
                    <a:pt x="1092" y="1860"/>
                  </a:lnTo>
                  <a:lnTo>
                    <a:pt x="1068" y="1854"/>
                  </a:lnTo>
                  <a:lnTo>
                    <a:pt x="1032" y="1842"/>
                  </a:lnTo>
                  <a:lnTo>
                    <a:pt x="1008" y="1836"/>
                  </a:lnTo>
                  <a:lnTo>
                    <a:pt x="978" y="1824"/>
                  </a:lnTo>
                  <a:lnTo>
                    <a:pt x="942" y="1818"/>
                  </a:lnTo>
                  <a:lnTo>
                    <a:pt x="924" y="1806"/>
                  </a:lnTo>
                  <a:lnTo>
                    <a:pt x="906" y="1788"/>
                  </a:lnTo>
                  <a:lnTo>
                    <a:pt x="894" y="1776"/>
                  </a:lnTo>
                  <a:lnTo>
                    <a:pt x="864" y="1758"/>
                  </a:lnTo>
                  <a:lnTo>
                    <a:pt x="834" y="1752"/>
                  </a:lnTo>
                  <a:lnTo>
                    <a:pt x="798" y="1746"/>
                  </a:lnTo>
                  <a:lnTo>
                    <a:pt x="792" y="1806"/>
                  </a:lnTo>
                  <a:lnTo>
                    <a:pt x="798" y="1812"/>
                  </a:lnTo>
                  <a:lnTo>
                    <a:pt x="810" y="1830"/>
                  </a:lnTo>
                  <a:lnTo>
                    <a:pt x="792" y="1842"/>
                  </a:lnTo>
                  <a:lnTo>
                    <a:pt x="768" y="1842"/>
                  </a:lnTo>
                  <a:lnTo>
                    <a:pt x="708" y="1848"/>
                  </a:lnTo>
                  <a:lnTo>
                    <a:pt x="690" y="1860"/>
                  </a:lnTo>
                  <a:lnTo>
                    <a:pt x="690" y="1866"/>
                  </a:lnTo>
                  <a:lnTo>
                    <a:pt x="678" y="1878"/>
                  </a:lnTo>
                  <a:lnTo>
                    <a:pt x="660" y="1884"/>
                  </a:lnTo>
                  <a:lnTo>
                    <a:pt x="660" y="1902"/>
                  </a:lnTo>
                  <a:lnTo>
                    <a:pt x="642" y="1902"/>
                  </a:lnTo>
                  <a:lnTo>
                    <a:pt x="582" y="1914"/>
                  </a:lnTo>
                  <a:lnTo>
                    <a:pt x="534" y="1908"/>
                  </a:lnTo>
                  <a:lnTo>
                    <a:pt x="510" y="1908"/>
                  </a:lnTo>
                  <a:lnTo>
                    <a:pt x="510" y="1896"/>
                  </a:lnTo>
                  <a:lnTo>
                    <a:pt x="492" y="1896"/>
                  </a:lnTo>
                  <a:lnTo>
                    <a:pt x="486" y="1902"/>
                  </a:lnTo>
                  <a:lnTo>
                    <a:pt x="474" y="1908"/>
                  </a:lnTo>
                  <a:lnTo>
                    <a:pt x="450" y="1908"/>
                  </a:lnTo>
                  <a:lnTo>
                    <a:pt x="432" y="1902"/>
                  </a:lnTo>
                  <a:lnTo>
                    <a:pt x="426" y="1896"/>
                  </a:lnTo>
                  <a:lnTo>
                    <a:pt x="402" y="1884"/>
                  </a:lnTo>
                  <a:lnTo>
                    <a:pt x="390" y="1872"/>
                  </a:lnTo>
                  <a:lnTo>
                    <a:pt x="384" y="1872"/>
                  </a:lnTo>
                  <a:lnTo>
                    <a:pt x="378" y="1872"/>
                  </a:lnTo>
                  <a:lnTo>
                    <a:pt x="378" y="1866"/>
                  </a:lnTo>
                  <a:lnTo>
                    <a:pt x="372" y="1860"/>
                  </a:lnTo>
                  <a:lnTo>
                    <a:pt x="372" y="1854"/>
                  </a:lnTo>
                  <a:lnTo>
                    <a:pt x="366" y="1842"/>
                  </a:lnTo>
                  <a:lnTo>
                    <a:pt x="366" y="1836"/>
                  </a:lnTo>
                  <a:lnTo>
                    <a:pt x="348" y="1830"/>
                  </a:lnTo>
                  <a:lnTo>
                    <a:pt x="348" y="1806"/>
                  </a:lnTo>
                  <a:lnTo>
                    <a:pt x="348" y="1800"/>
                  </a:lnTo>
                  <a:lnTo>
                    <a:pt x="348" y="1782"/>
                  </a:lnTo>
                  <a:lnTo>
                    <a:pt x="336" y="1788"/>
                  </a:lnTo>
                  <a:lnTo>
                    <a:pt x="312" y="1794"/>
                  </a:lnTo>
                  <a:lnTo>
                    <a:pt x="288" y="1788"/>
                  </a:lnTo>
                  <a:lnTo>
                    <a:pt x="264" y="1758"/>
                  </a:lnTo>
                  <a:lnTo>
                    <a:pt x="270" y="1758"/>
                  </a:lnTo>
                  <a:lnTo>
                    <a:pt x="270" y="1752"/>
                  </a:lnTo>
                  <a:lnTo>
                    <a:pt x="276" y="1752"/>
                  </a:lnTo>
                  <a:lnTo>
                    <a:pt x="282" y="1746"/>
                  </a:lnTo>
                  <a:lnTo>
                    <a:pt x="300" y="1746"/>
                  </a:lnTo>
                  <a:lnTo>
                    <a:pt x="312" y="1746"/>
                  </a:lnTo>
                  <a:lnTo>
                    <a:pt x="336" y="1710"/>
                  </a:lnTo>
                  <a:lnTo>
                    <a:pt x="342" y="1692"/>
                  </a:lnTo>
                  <a:lnTo>
                    <a:pt x="348" y="1680"/>
                  </a:lnTo>
                  <a:lnTo>
                    <a:pt x="342" y="1650"/>
                  </a:lnTo>
                  <a:lnTo>
                    <a:pt x="354" y="1644"/>
                  </a:lnTo>
                  <a:lnTo>
                    <a:pt x="354" y="1638"/>
                  </a:lnTo>
                  <a:lnTo>
                    <a:pt x="360" y="1632"/>
                  </a:lnTo>
                  <a:lnTo>
                    <a:pt x="354" y="1626"/>
                  </a:lnTo>
                  <a:lnTo>
                    <a:pt x="348" y="1626"/>
                  </a:lnTo>
                  <a:lnTo>
                    <a:pt x="348" y="1620"/>
                  </a:lnTo>
                  <a:lnTo>
                    <a:pt x="342" y="1620"/>
                  </a:lnTo>
                  <a:lnTo>
                    <a:pt x="348" y="1614"/>
                  </a:lnTo>
                  <a:lnTo>
                    <a:pt x="324" y="1566"/>
                  </a:lnTo>
                  <a:lnTo>
                    <a:pt x="318" y="1566"/>
                  </a:lnTo>
                  <a:lnTo>
                    <a:pt x="306" y="1572"/>
                  </a:lnTo>
                  <a:lnTo>
                    <a:pt x="300" y="1572"/>
                  </a:lnTo>
                  <a:lnTo>
                    <a:pt x="294" y="1578"/>
                  </a:lnTo>
                  <a:lnTo>
                    <a:pt x="288" y="1584"/>
                  </a:lnTo>
                  <a:lnTo>
                    <a:pt x="282" y="1584"/>
                  </a:lnTo>
                  <a:lnTo>
                    <a:pt x="282" y="1578"/>
                  </a:lnTo>
                  <a:lnTo>
                    <a:pt x="276" y="1578"/>
                  </a:lnTo>
                  <a:lnTo>
                    <a:pt x="270" y="1578"/>
                  </a:lnTo>
                  <a:lnTo>
                    <a:pt x="264" y="1578"/>
                  </a:lnTo>
                  <a:lnTo>
                    <a:pt x="258" y="1578"/>
                  </a:lnTo>
                  <a:lnTo>
                    <a:pt x="252" y="1578"/>
                  </a:lnTo>
                  <a:lnTo>
                    <a:pt x="252" y="1584"/>
                  </a:lnTo>
                  <a:lnTo>
                    <a:pt x="246" y="1584"/>
                  </a:lnTo>
                  <a:lnTo>
                    <a:pt x="210" y="1584"/>
                  </a:lnTo>
                  <a:lnTo>
                    <a:pt x="204" y="1584"/>
                  </a:lnTo>
                  <a:lnTo>
                    <a:pt x="192" y="1584"/>
                  </a:lnTo>
                  <a:lnTo>
                    <a:pt x="168" y="1596"/>
                  </a:lnTo>
                  <a:lnTo>
                    <a:pt x="156" y="1572"/>
                  </a:lnTo>
                  <a:lnTo>
                    <a:pt x="156" y="1566"/>
                  </a:lnTo>
                  <a:lnTo>
                    <a:pt x="156" y="1560"/>
                  </a:lnTo>
                  <a:lnTo>
                    <a:pt x="162" y="1548"/>
                  </a:lnTo>
                  <a:lnTo>
                    <a:pt x="162" y="1542"/>
                  </a:lnTo>
                  <a:lnTo>
                    <a:pt x="162" y="1536"/>
                  </a:lnTo>
                  <a:lnTo>
                    <a:pt x="168" y="1530"/>
                  </a:lnTo>
                  <a:lnTo>
                    <a:pt x="168" y="1524"/>
                  </a:lnTo>
                  <a:lnTo>
                    <a:pt x="168" y="1518"/>
                  </a:lnTo>
                  <a:lnTo>
                    <a:pt x="174" y="1518"/>
                  </a:lnTo>
                  <a:lnTo>
                    <a:pt x="174" y="1506"/>
                  </a:lnTo>
                  <a:lnTo>
                    <a:pt x="156" y="1470"/>
                  </a:lnTo>
                  <a:lnTo>
                    <a:pt x="138" y="1464"/>
                  </a:lnTo>
                  <a:lnTo>
                    <a:pt x="126" y="1446"/>
                  </a:lnTo>
                  <a:lnTo>
                    <a:pt x="126" y="1440"/>
                  </a:lnTo>
                  <a:lnTo>
                    <a:pt x="126" y="1434"/>
                  </a:lnTo>
                  <a:lnTo>
                    <a:pt x="120" y="1428"/>
                  </a:lnTo>
                  <a:lnTo>
                    <a:pt x="126" y="1398"/>
                  </a:lnTo>
                  <a:lnTo>
                    <a:pt x="120" y="1374"/>
                  </a:lnTo>
                  <a:lnTo>
                    <a:pt x="60" y="1374"/>
                  </a:lnTo>
                  <a:lnTo>
                    <a:pt x="60" y="1368"/>
                  </a:lnTo>
                  <a:lnTo>
                    <a:pt x="54" y="1362"/>
                  </a:lnTo>
                  <a:lnTo>
                    <a:pt x="48" y="1356"/>
                  </a:lnTo>
                  <a:lnTo>
                    <a:pt x="42" y="1356"/>
                  </a:lnTo>
                  <a:lnTo>
                    <a:pt x="42" y="1350"/>
                  </a:lnTo>
                  <a:lnTo>
                    <a:pt x="36" y="1344"/>
                  </a:lnTo>
                  <a:lnTo>
                    <a:pt x="36" y="1338"/>
                  </a:lnTo>
                  <a:lnTo>
                    <a:pt x="30" y="1332"/>
                  </a:lnTo>
                  <a:lnTo>
                    <a:pt x="30" y="1326"/>
                  </a:lnTo>
                  <a:lnTo>
                    <a:pt x="18" y="1326"/>
                  </a:lnTo>
                  <a:lnTo>
                    <a:pt x="18" y="1320"/>
                  </a:lnTo>
                  <a:lnTo>
                    <a:pt x="18" y="1326"/>
                  </a:lnTo>
                  <a:lnTo>
                    <a:pt x="6" y="1320"/>
                  </a:lnTo>
                  <a:lnTo>
                    <a:pt x="0" y="1314"/>
                  </a:lnTo>
                  <a:lnTo>
                    <a:pt x="12" y="1266"/>
                  </a:lnTo>
                  <a:lnTo>
                    <a:pt x="6" y="1242"/>
                  </a:lnTo>
                  <a:lnTo>
                    <a:pt x="12" y="1236"/>
                  </a:lnTo>
                  <a:lnTo>
                    <a:pt x="12" y="1230"/>
                  </a:lnTo>
                  <a:lnTo>
                    <a:pt x="18" y="1230"/>
                  </a:lnTo>
                  <a:lnTo>
                    <a:pt x="18" y="1224"/>
                  </a:lnTo>
                  <a:lnTo>
                    <a:pt x="24" y="1218"/>
                  </a:lnTo>
                  <a:lnTo>
                    <a:pt x="24" y="1212"/>
                  </a:lnTo>
                  <a:lnTo>
                    <a:pt x="30" y="1212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48" y="1188"/>
                  </a:lnTo>
                  <a:lnTo>
                    <a:pt x="48" y="1182"/>
                  </a:lnTo>
                  <a:lnTo>
                    <a:pt x="48" y="1176"/>
                  </a:lnTo>
                  <a:lnTo>
                    <a:pt x="48" y="1170"/>
                  </a:lnTo>
                  <a:lnTo>
                    <a:pt x="54" y="1170"/>
                  </a:lnTo>
                  <a:lnTo>
                    <a:pt x="60" y="1164"/>
                  </a:lnTo>
                  <a:lnTo>
                    <a:pt x="60" y="1158"/>
                  </a:lnTo>
                  <a:lnTo>
                    <a:pt x="66" y="1152"/>
                  </a:lnTo>
                  <a:lnTo>
                    <a:pt x="60" y="1140"/>
                  </a:lnTo>
                  <a:lnTo>
                    <a:pt x="60" y="1134"/>
                  </a:lnTo>
                  <a:lnTo>
                    <a:pt x="54" y="1134"/>
                  </a:lnTo>
                  <a:lnTo>
                    <a:pt x="54" y="1128"/>
                  </a:lnTo>
                  <a:lnTo>
                    <a:pt x="48" y="1122"/>
                  </a:lnTo>
                  <a:lnTo>
                    <a:pt x="48" y="1116"/>
                  </a:lnTo>
                  <a:lnTo>
                    <a:pt x="48" y="1110"/>
                  </a:lnTo>
                  <a:lnTo>
                    <a:pt x="42" y="1104"/>
                  </a:lnTo>
                  <a:lnTo>
                    <a:pt x="42" y="1098"/>
                  </a:lnTo>
                  <a:lnTo>
                    <a:pt x="36" y="1092"/>
                  </a:lnTo>
                  <a:lnTo>
                    <a:pt x="30" y="1092"/>
                  </a:lnTo>
                  <a:lnTo>
                    <a:pt x="24" y="1092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18" y="1080"/>
                  </a:lnTo>
                  <a:lnTo>
                    <a:pt x="18" y="1074"/>
                  </a:lnTo>
                  <a:lnTo>
                    <a:pt x="12" y="1068"/>
                  </a:lnTo>
                  <a:lnTo>
                    <a:pt x="6" y="1068"/>
                  </a:lnTo>
                  <a:lnTo>
                    <a:pt x="12" y="1056"/>
                  </a:lnTo>
                  <a:lnTo>
                    <a:pt x="6" y="1056"/>
                  </a:lnTo>
                  <a:lnTo>
                    <a:pt x="6" y="1050"/>
                  </a:lnTo>
                  <a:lnTo>
                    <a:pt x="6" y="1044"/>
                  </a:lnTo>
                  <a:lnTo>
                    <a:pt x="6" y="1026"/>
                  </a:lnTo>
                  <a:lnTo>
                    <a:pt x="12" y="1020"/>
                  </a:lnTo>
                  <a:lnTo>
                    <a:pt x="12" y="1014"/>
                  </a:lnTo>
                  <a:lnTo>
                    <a:pt x="18" y="1014"/>
                  </a:lnTo>
                  <a:lnTo>
                    <a:pt x="18" y="1008"/>
                  </a:lnTo>
                  <a:lnTo>
                    <a:pt x="18" y="1002"/>
                  </a:lnTo>
                  <a:lnTo>
                    <a:pt x="18" y="990"/>
                  </a:lnTo>
                  <a:lnTo>
                    <a:pt x="12" y="972"/>
                  </a:lnTo>
                  <a:lnTo>
                    <a:pt x="18" y="954"/>
                  </a:lnTo>
                  <a:lnTo>
                    <a:pt x="18" y="948"/>
                  </a:lnTo>
                  <a:lnTo>
                    <a:pt x="24" y="948"/>
                  </a:lnTo>
                  <a:lnTo>
                    <a:pt x="24" y="930"/>
                  </a:lnTo>
                  <a:lnTo>
                    <a:pt x="30" y="930"/>
                  </a:lnTo>
                  <a:lnTo>
                    <a:pt x="36" y="918"/>
                  </a:lnTo>
                  <a:lnTo>
                    <a:pt x="42" y="918"/>
                  </a:lnTo>
                  <a:lnTo>
                    <a:pt x="48" y="918"/>
                  </a:lnTo>
                  <a:lnTo>
                    <a:pt x="78" y="912"/>
                  </a:lnTo>
                  <a:lnTo>
                    <a:pt x="90" y="894"/>
                  </a:lnTo>
                  <a:lnTo>
                    <a:pt x="96" y="894"/>
                  </a:lnTo>
                  <a:lnTo>
                    <a:pt x="102" y="888"/>
                  </a:lnTo>
                  <a:lnTo>
                    <a:pt x="102" y="882"/>
                  </a:lnTo>
                  <a:lnTo>
                    <a:pt x="114" y="870"/>
                  </a:lnTo>
                  <a:lnTo>
                    <a:pt x="120" y="864"/>
                  </a:lnTo>
                  <a:lnTo>
                    <a:pt x="120" y="852"/>
                  </a:lnTo>
                  <a:lnTo>
                    <a:pt x="120" y="846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32" y="840"/>
                  </a:lnTo>
                  <a:lnTo>
                    <a:pt x="138" y="840"/>
                  </a:lnTo>
                  <a:lnTo>
                    <a:pt x="138" y="834"/>
                  </a:lnTo>
                  <a:lnTo>
                    <a:pt x="144" y="834"/>
                  </a:lnTo>
                  <a:lnTo>
                    <a:pt x="144" y="828"/>
                  </a:lnTo>
                  <a:lnTo>
                    <a:pt x="150" y="828"/>
                  </a:lnTo>
                  <a:lnTo>
                    <a:pt x="156" y="822"/>
                  </a:lnTo>
                  <a:lnTo>
                    <a:pt x="162" y="816"/>
                  </a:lnTo>
                  <a:lnTo>
                    <a:pt x="162" y="822"/>
                  </a:lnTo>
                  <a:lnTo>
                    <a:pt x="162" y="816"/>
                  </a:lnTo>
                  <a:lnTo>
                    <a:pt x="162" y="810"/>
                  </a:lnTo>
                  <a:lnTo>
                    <a:pt x="168" y="810"/>
                  </a:lnTo>
                  <a:lnTo>
                    <a:pt x="174" y="804"/>
                  </a:lnTo>
                  <a:lnTo>
                    <a:pt x="180" y="798"/>
                  </a:lnTo>
                  <a:lnTo>
                    <a:pt x="180" y="786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8" y="780"/>
                  </a:lnTo>
                  <a:lnTo>
                    <a:pt x="204" y="774"/>
                  </a:lnTo>
                  <a:lnTo>
                    <a:pt x="210" y="774"/>
                  </a:lnTo>
                  <a:lnTo>
                    <a:pt x="216" y="768"/>
                  </a:lnTo>
                  <a:lnTo>
                    <a:pt x="222" y="762"/>
                  </a:lnTo>
                  <a:lnTo>
                    <a:pt x="228" y="762"/>
                  </a:lnTo>
                  <a:lnTo>
                    <a:pt x="228" y="768"/>
                  </a:lnTo>
                  <a:lnTo>
                    <a:pt x="234" y="768"/>
                  </a:lnTo>
                  <a:lnTo>
                    <a:pt x="240" y="762"/>
                  </a:lnTo>
                  <a:lnTo>
                    <a:pt x="252" y="762"/>
                  </a:lnTo>
                  <a:lnTo>
                    <a:pt x="264" y="768"/>
                  </a:lnTo>
                  <a:lnTo>
                    <a:pt x="294" y="756"/>
                  </a:lnTo>
                  <a:lnTo>
                    <a:pt x="294" y="750"/>
                  </a:lnTo>
                  <a:lnTo>
                    <a:pt x="300" y="750"/>
                  </a:lnTo>
                  <a:lnTo>
                    <a:pt x="306" y="744"/>
                  </a:lnTo>
                  <a:lnTo>
                    <a:pt x="342" y="750"/>
                  </a:lnTo>
                  <a:lnTo>
                    <a:pt x="348" y="750"/>
                  </a:lnTo>
                  <a:lnTo>
                    <a:pt x="348" y="744"/>
                  </a:lnTo>
                  <a:lnTo>
                    <a:pt x="354" y="744"/>
                  </a:lnTo>
                  <a:lnTo>
                    <a:pt x="360" y="744"/>
                  </a:lnTo>
                  <a:lnTo>
                    <a:pt x="360" y="750"/>
                  </a:lnTo>
                  <a:lnTo>
                    <a:pt x="366" y="750"/>
                  </a:lnTo>
                  <a:lnTo>
                    <a:pt x="366" y="744"/>
                  </a:lnTo>
                  <a:lnTo>
                    <a:pt x="366" y="738"/>
                  </a:lnTo>
                  <a:lnTo>
                    <a:pt x="372" y="744"/>
                  </a:lnTo>
                  <a:lnTo>
                    <a:pt x="378" y="744"/>
                  </a:lnTo>
                  <a:lnTo>
                    <a:pt x="384" y="750"/>
                  </a:lnTo>
                  <a:lnTo>
                    <a:pt x="444" y="774"/>
                  </a:lnTo>
                  <a:lnTo>
                    <a:pt x="450" y="774"/>
                  </a:lnTo>
                  <a:lnTo>
                    <a:pt x="456" y="768"/>
                  </a:lnTo>
                  <a:lnTo>
                    <a:pt x="462" y="768"/>
                  </a:lnTo>
                  <a:lnTo>
                    <a:pt x="462" y="762"/>
                  </a:lnTo>
                  <a:lnTo>
                    <a:pt x="468" y="762"/>
                  </a:lnTo>
                  <a:lnTo>
                    <a:pt x="474" y="756"/>
                  </a:lnTo>
                  <a:lnTo>
                    <a:pt x="480" y="750"/>
                  </a:lnTo>
                  <a:lnTo>
                    <a:pt x="516" y="756"/>
                  </a:lnTo>
                  <a:lnTo>
                    <a:pt x="522" y="756"/>
                  </a:lnTo>
                  <a:lnTo>
                    <a:pt x="522" y="762"/>
                  </a:lnTo>
                  <a:lnTo>
                    <a:pt x="522" y="768"/>
                  </a:lnTo>
                  <a:lnTo>
                    <a:pt x="522" y="774"/>
                  </a:lnTo>
                  <a:lnTo>
                    <a:pt x="528" y="780"/>
                  </a:lnTo>
                  <a:lnTo>
                    <a:pt x="540" y="780"/>
                  </a:lnTo>
                  <a:lnTo>
                    <a:pt x="540" y="804"/>
                  </a:lnTo>
                  <a:lnTo>
                    <a:pt x="540" y="810"/>
                  </a:lnTo>
                  <a:lnTo>
                    <a:pt x="546" y="810"/>
                  </a:lnTo>
                  <a:lnTo>
                    <a:pt x="552" y="810"/>
                  </a:lnTo>
                  <a:lnTo>
                    <a:pt x="558" y="810"/>
                  </a:lnTo>
                  <a:lnTo>
                    <a:pt x="564" y="810"/>
                  </a:lnTo>
                  <a:lnTo>
                    <a:pt x="570" y="810"/>
                  </a:lnTo>
                  <a:lnTo>
                    <a:pt x="576" y="810"/>
                  </a:lnTo>
                  <a:lnTo>
                    <a:pt x="576" y="816"/>
                  </a:lnTo>
                  <a:lnTo>
                    <a:pt x="588" y="816"/>
                  </a:lnTo>
                  <a:lnTo>
                    <a:pt x="594" y="816"/>
                  </a:lnTo>
                  <a:lnTo>
                    <a:pt x="600" y="822"/>
                  </a:lnTo>
                  <a:lnTo>
                    <a:pt x="606" y="816"/>
                  </a:lnTo>
                  <a:lnTo>
                    <a:pt x="612" y="816"/>
                  </a:lnTo>
                  <a:lnTo>
                    <a:pt x="612" y="810"/>
                  </a:lnTo>
                  <a:lnTo>
                    <a:pt x="624" y="810"/>
                  </a:lnTo>
                  <a:lnTo>
                    <a:pt x="624" y="804"/>
                  </a:lnTo>
                  <a:lnTo>
                    <a:pt x="630" y="798"/>
                  </a:lnTo>
                  <a:lnTo>
                    <a:pt x="636" y="798"/>
                  </a:lnTo>
                  <a:lnTo>
                    <a:pt x="636" y="804"/>
                  </a:lnTo>
                  <a:lnTo>
                    <a:pt x="642" y="804"/>
                  </a:lnTo>
                  <a:lnTo>
                    <a:pt x="648" y="804"/>
                  </a:lnTo>
                  <a:lnTo>
                    <a:pt x="654" y="804"/>
                  </a:lnTo>
                  <a:lnTo>
                    <a:pt x="660" y="804"/>
                  </a:lnTo>
                  <a:lnTo>
                    <a:pt x="678" y="798"/>
                  </a:lnTo>
                  <a:lnTo>
                    <a:pt x="714" y="786"/>
                  </a:lnTo>
                  <a:lnTo>
                    <a:pt x="714" y="792"/>
                  </a:lnTo>
                  <a:lnTo>
                    <a:pt x="714" y="798"/>
                  </a:lnTo>
                  <a:lnTo>
                    <a:pt x="714" y="804"/>
                  </a:lnTo>
                  <a:lnTo>
                    <a:pt x="720" y="804"/>
                  </a:lnTo>
                  <a:lnTo>
                    <a:pt x="720" y="810"/>
                  </a:lnTo>
                  <a:lnTo>
                    <a:pt x="720" y="816"/>
                  </a:lnTo>
                  <a:lnTo>
                    <a:pt x="726" y="822"/>
                  </a:lnTo>
                  <a:lnTo>
                    <a:pt x="732" y="828"/>
                  </a:lnTo>
                  <a:lnTo>
                    <a:pt x="732" y="834"/>
                  </a:lnTo>
                  <a:lnTo>
                    <a:pt x="732" y="846"/>
                  </a:lnTo>
                  <a:lnTo>
                    <a:pt x="732" y="858"/>
                  </a:lnTo>
                  <a:lnTo>
                    <a:pt x="738" y="858"/>
                  </a:lnTo>
                  <a:lnTo>
                    <a:pt x="732" y="864"/>
                  </a:lnTo>
                  <a:lnTo>
                    <a:pt x="732" y="870"/>
                  </a:lnTo>
                  <a:lnTo>
                    <a:pt x="726" y="870"/>
                  </a:lnTo>
                  <a:lnTo>
                    <a:pt x="726" y="876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0" y="882"/>
                  </a:lnTo>
                  <a:lnTo>
                    <a:pt x="690" y="912"/>
                  </a:lnTo>
                  <a:lnTo>
                    <a:pt x="696" y="936"/>
                  </a:lnTo>
                  <a:lnTo>
                    <a:pt x="702" y="936"/>
                  </a:lnTo>
                  <a:lnTo>
                    <a:pt x="702" y="930"/>
                  </a:lnTo>
                  <a:lnTo>
                    <a:pt x="708" y="930"/>
                  </a:lnTo>
                  <a:lnTo>
                    <a:pt x="708" y="924"/>
                  </a:lnTo>
                  <a:lnTo>
                    <a:pt x="708" y="918"/>
                  </a:lnTo>
                  <a:lnTo>
                    <a:pt x="714" y="918"/>
                  </a:lnTo>
                  <a:lnTo>
                    <a:pt x="720" y="954"/>
                  </a:lnTo>
                  <a:lnTo>
                    <a:pt x="726" y="966"/>
                  </a:lnTo>
                  <a:lnTo>
                    <a:pt x="744" y="966"/>
                  </a:lnTo>
                  <a:lnTo>
                    <a:pt x="756" y="972"/>
                  </a:lnTo>
                  <a:lnTo>
                    <a:pt x="792" y="990"/>
                  </a:lnTo>
                  <a:lnTo>
                    <a:pt x="828" y="978"/>
                  </a:lnTo>
                  <a:lnTo>
                    <a:pt x="834" y="978"/>
                  </a:lnTo>
                  <a:lnTo>
                    <a:pt x="840" y="978"/>
                  </a:lnTo>
                  <a:lnTo>
                    <a:pt x="840" y="984"/>
                  </a:lnTo>
                  <a:lnTo>
                    <a:pt x="846" y="984"/>
                  </a:lnTo>
                  <a:lnTo>
                    <a:pt x="858" y="972"/>
                  </a:lnTo>
                  <a:lnTo>
                    <a:pt x="882" y="972"/>
                  </a:lnTo>
                  <a:lnTo>
                    <a:pt x="888" y="984"/>
                  </a:lnTo>
                  <a:lnTo>
                    <a:pt x="900" y="990"/>
                  </a:lnTo>
                  <a:lnTo>
                    <a:pt x="924" y="996"/>
                  </a:lnTo>
                  <a:lnTo>
                    <a:pt x="930" y="990"/>
                  </a:lnTo>
                  <a:lnTo>
                    <a:pt x="930" y="984"/>
                  </a:lnTo>
                  <a:lnTo>
                    <a:pt x="924" y="978"/>
                  </a:lnTo>
                  <a:lnTo>
                    <a:pt x="906" y="972"/>
                  </a:lnTo>
                  <a:lnTo>
                    <a:pt x="900" y="966"/>
                  </a:lnTo>
                  <a:lnTo>
                    <a:pt x="900" y="960"/>
                  </a:lnTo>
                  <a:lnTo>
                    <a:pt x="900" y="954"/>
                  </a:lnTo>
                  <a:lnTo>
                    <a:pt x="900" y="948"/>
                  </a:lnTo>
                  <a:lnTo>
                    <a:pt x="912" y="936"/>
                  </a:lnTo>
                  <a:lnTo>
                    <a:pt x="912" y="924"/>
                  </a:lnTo>
                  <a:lnTo>
                    <a:pt x="918" y="924"/>
                  </a:lnTo>
                  <a:lnTo>
                    <a:pt x="918" y="918"/>
                  </a:lnTo>
                  <a:lnTo>
                    <a:pt x="936" y="906"/>
                  </a:lnTo>
                  <a:lnTo>
                    <a:pt x="942" y="906"/>
                  </a:lnTo>
                  <a:lnTo>
                    <a:pt x="948" y="906"/>
                  </a:lnTo>
                  <a:lnTo>
                    <a:pt x="954" y="906"/>
                  </a:lnTo>
                  <a:lnTo>
                    <a:pt x="960" y="906"/>
                  </a:lnTo>
                  <a:lnTo>
                    <a:pt x="966" y="912"/>
                  </a:lnTo>
                  <a:lnTo>
                    <a:pt x="972" y="906"/>
                  </a:lnTo>
                  <a:lnTo>
                    <a:pt x="978" y="906"/>
                  </a:lnTo>
                  <a:lnTo>
                    <a:pt x="984" y="900"/>
                  </a:lnTo>
                  <a:lnTo>
                    <a:pt x="984" y="894"/>
                  </a:lnTo>
                  <a:lnTo>
                    <a:pt x="990" y="894"/>
                  </a:lnTo>
                  <a:lnTo>
                    <a:pt x="996" y="888"/>
                  </a:lnTo>
                  <a:lnTo>
                    <a:pt x="1002" y="888"/>
                  </a:lnTo>
                  <a:lnTo>
                    <a:pt x="1008" y="882"/>
                  </a:lnTo>
                  <a:lnTo>
                    <a:pt x="1014" y="882"/>
                  </a:lnTo>
                  <a:lnTo>
                    <a:pt x="1020" y="882"/>
                  </a:lnTo>
                  <a:lnTo>
                    <a:pt x="1020" y="888"/>
                  </a:lnTo>
                  <a:lnTo>
                    <a:pt x="1026" y="882"/>
                  </a:lnTo>
                  <a:lnTo>
                    <a:pt x="1026" y="876"/>
                  </a:lnTo>
                  <a:lnTo>
                    <a:pt x="1026" y="870"/>
                  </a:lnTo>
                  <a:lnTo>
                    <a:pt x="1032" y="864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44" y="852"/>
                  </a:lnTo>
                  <a:lnTo>
                    <a:pt x="1038" y="846"/>
                  </a:lnTo>
                  <a:lnTo>
                    <a:pt x="1038" y="840"/>
                  </a:lnTo>
                  <a:lnTo>
                    <a:pt x="1032" y="840"/>
                  </a:lnTo>
                  <a:lnTo>
                    <a:pt x="1026" y="840"/>
                  </a:lnTo>
                  <a:lnTo>
                    <a:pt x="1020" y="840"/>
                  </a:lnTo>
                  <a:lnTo>
                    <a:pt x="1014" y="846"/>
                  </a:lnTo>
                  <a:lnTo>
                    <a:pt x="1008" y="846"/>
                  </a:lnTo>
                  <a:lnTo>
                    <a:pt x="1002" y="840"/>
                  </a:lnTo>
                  <a:lnTo>
                    <a:pt x="996" y="840"/>
                  </a:lnTo>
                  <a:lnTo>
                    <a:pt x="990" y="834"/>
                  </a:lnTo>
                  <a:lnTo>
                    <a:pt x="984" y="834"/>
                  </a:lnTo>
                  <a:lnTo>
                    <a:pt x="978" y="834"/>
                  </a:lnTo>
                  <a:lnTo>
                    <a:pt x="972" y="834"/>
                  </a:lnTo>
                  <a:lnTo>
                    <a:pt x="966" y="834"/>
                  </a:lnTo>
                  <a:lnTo>
                    <a:pt x="966" y="828"/>
                  </a:lnTo>
                  <a:lnTo>
                    <a:pt x="960" y="828"/>
                  </a:lnTo>
                  <a:lnTo>
                    <a:pt x="954" y="828"/>
                  </a:lnTo>
                  <a:lnTo>
                    <a:pt x="942" y="828"/>
                  </a:lnTo>
                  <a:lnTo>
                    <a:pt x="936" y="828"/>
                  </a:lnTo>
                  <a:lnTo>
                    <a:pt x="930" y="828"/>
                  </a:lnTo>
                  <a:lnTo>
                    <a:pt x="918" y="828"/>
                  </a:lnTo>
                  <a:lnTo>
                    <a:pt x="918" y="822"/>
                  </a:lnTo>
                  <a:lnTo>
                    <a:pt x="912" y="828"/>
                  </a:lnTo>
                  <a:lnTo>
                    <a:pt x="912" y="822"/>
                  </a:lnTo>
                  <a:lnTo>
                    <a:pt x="906" y="816"/>
                  </a:lnTo>
                  <a:lnTo>
                    <a:pt x="900" y="816"/>
                  </a:lnTo>
                  <a:lnTo>
                    <a:pt x="894" y="816"/>
                  </a:lnTo>
                  <a:lnTo>
                    <a:pt x="888" y="816"/>
                  </a:lnTo>
                  <a:lnTo>
                    <a:pt x="882" y="816"/>
                  </a:lnTo>
                  <a:lnTo>
                    <a:pt x="882" y="810"/>
                  </a:lnTo>
                  <a:lnTo>
                    <a:pt x="876" y="804"/>
                  </a:lnTo>
                  <a:lnTo>
                    <a:pt x="870" y="804"/>
                  </a:lnTo>
                  <a:lnTo>
                    <a:pt x="864" y="798"/>
                  </a:lnTo>
                  <a:lnTo>
                    <a:pt x="858" y="798"/>
                  </a:lnTo>
                  <a:lnTo>
                    <a:pt x="858" y="804"/>
                  </a:lnTo>
                  <a:lnTo>
                    <a:pt x="852" y="804"/>
                  </a:lnTo>
                  <a:lnTo>
                    <a:pt x="846" y="804"/>
                  </a:lnTo>
                  <a:lnTo>
                    <a:pt x="846" y="798"/>
                  </a:lnTo>
                  <a:lnTo>
                    <a:pt x="840" y="804"/>
                  </a:lnTo>
                  <a:lnTo>
                    <a:pt x="834" y="804"/>
                  </a:lnTo>
                  <a:lnTo>
                    <a:pt x="828" y="804"/>
                  </a:lnTo>
                  <a:lnTo>
                    <a:pt x="828" y="810"/>
                  </a:lnTo>
                  <a:lnTo>
                    <a:pt x="822" y="810"/>
                  </a:lnTo>
                  <a:lnTo>
                    <a:pt x="810" y="804"/>
                  </a:lnTo>
                  <a:lnTo>
                    <a:pt x="810" y="798"/>
                  </a:lnTo>
                  <a:lnTo>
                    <a:pt x="780" y="798"/>
                  </a:lnTo>
                  <a:lnTo>
                    <a:pt x="756" y="774"/>
                  </a:lnTo>
                  <a:lnTo>
                    <a:pt x="750" y="768"/>
                  </a:lnTo>
                  <a:lnTo>
                    <a:pt x="750" y="744"/>
                  </a:lnTo>
                  <a:lnTo>
                    <a:pt x="732" y="738"/>
                  </a:lnTo>
                  <a:lnTo>
                    <a:pt x="732" y="720"/>
                  </a:lnTo>
                  <a:lnTo>
                    <a:pt x="714" y="690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6" y="666"/>
                  </a:lnTo>
                  <a:lnTo>
                    <a:pt x="690" y="666"/>
                  </a:lnTo>
                  <a:lnTo>
                    <a:pt x="678" y="672"/>
                  </a:lnTo>
                  <a:lnTo>
                    <a:pt x="678" y="654"/>
                  </a:lnTo>
                  <a:lnTo>
                    <a:pt x="684" y="630"/>
                  </a:lnTo>
                  <a:lnTo>
                    <a:pt x="690" y="618"/>
                  </a:lnTo>
                  <a:lnTo>
                    <a:pt x="696" y="612"/>
                  </a:lnTo>
                  <a:lnTo>
                    <a:pt x="696" y="588"/>
                  </a:lnTo>
                  <a:lnTo>
                    <a:pt x="690" y="576"/>
                  </a:lnTo>
                  <a:lnTo>
                    <a:pt x="696" y="552"/>
                  </a:lnTo>
                  <a:lnTo>
                    <a:pt x="684" y="522"/>
                  </a:lnTo>
                  <a:lnTo>
                    <a:pt x="672" y="504"/>
                  </a:lnTo>
                  <a:lnTo>
                    <a:pt x="654" y="504"/>
                  </a:lnTo>
                  <a:lnTo>
                    <a:pt x="642" y="504"/>
                  </a:lnTo>
                  <a:lnTo>
                    <a:pt x="624" y="510"/>
                  </a:lnTo>
                  <a:lnTo>
                    <a:pt x="612" y="516"/>
                  </a:lnTo>
                  <a:lnTo>
                    <a:pt x="594" y="516"/>
                  </a:lnTo>
                  <a:lnTo>
                    <a:pt x="588" y="516"/>
                  </a:lnTo>
                  <a:lnTo>
                    <a:pt x="588" y="522"/>
                  </a:lnTo>
                  <a:lnTo>
                    <a:pt x="582" y="516"/>
                  </a:lnTo>
                  <a:lnTo>
                    <a:pt x="588" y="510"/>
                  </a:lnTo>
                  <a:lnTo>
                    <a:pt x="582" y="510"/>
                  </a:lnTo>
                  <a:lnTo>
                    <a:pt x="582" y="504"/>
                  </a:lnTo>
                  <a:lnTo>
                    <a:pt x="576" y="498"/>
                  </a:lnTo>
                  <a:lnTo>
                    <a:pt x="570" y="498"/>
                  </a:lnTo>
                  <a:lnTo>
                    <a:pt x="570" y="492"/>
                  </a:lnTo>
                  <a:lnTo>
                    <a:pt x="564" y="492"/>
                  </a:lnTo>
                  <a:lnTo>
                    <a:pt x="570" y="486"/>
                  </a:lnTo>
                  <a:lnTo>
                    <a:pt x="564" y="486"/>
                  </a:lnTo>
                  <a:lnTo>
                    <a:pt x="564" y="480"/>
                  </a:lnTo>
                  <a:lnTo>
                    <a:pt x="564" y="474"/>
                  </a:lnTo>
                  <a:lnTo>
                    <a:pt x="558" y="468"/>
                  </a:lnTo>
                  <a:lnTo>
                    <a:pt x="564" y="468"/>
                  </a:lnTo>
                  <a:lnTo>
                    <a:pt x="564" y="462"/>
                  </a:lnTo>
                  <a:lnTo>
                    <a:pt x="570" y="462"/>
                  </a:lnTo>
                  <a:lnTo>
                    <a:pt x="570" y="456"/>
                  </a:lnTo>
                  <a:lnTo>
                    <a:pt x="570" y="450"/>
                  </a:lnTo>
                  <a:lnTo>
                    <a:pt x="576" y="450"/>
                  </a:lnTo>
                  <a:lnTo>
                    <a:pt x="576" y="444"/>
                  </a:lnTo>
                  <a:lnTo>
                    <a:pt x="582" y="438"/>
                  </a:lnTo>
                  <a:lnTo>
                    <a:pt x="588" y="438"/>
                  </a:lnTo>
                  <a:lnTo>
                    <a:pt x="588" y="444"/>
                  </a:lnTo>
                  <a:lnTo>
                    <a:pt x="594" y="438"/>
                  </a:lnTo>
                  <a:lnTo>
                    <a:pt x="594" y="432"/>
                  </a:lnTo>
                  <a:lnTo>
                    <a:pt x="600" y="432"/>
                  </a:lnTo>
                  <a:lnTo>
                    <a:pt x="600" y="426"/>
                  </a:lnTo>
                  <a:lnTo>
                    <a:pt x="600" y="420"/>
                  </a:lnTo>
                  <a:lnTo>
                    <a:pt x="606" y="420"/>
                  </a:lnTo>
                  <a:lnTo>
                    <a:pt x="600" y="420"/>
                  </a:lnTo>
                  <a:lnTo>
                    <a:pt x="600" y="414"/>
                  </a:lnTo>
                  <a:lnTo>
                    <a:pt x="606" y="408"/>
                  </a:lnTo>
                  <a:lnTo>
                    <a:pt x="612" y="408"/>
                  </a:lnTo>
                  <a:lnTo>
                    <a:pt x="612" y="414"/>
                  </a:lnTo>
                  <a:lnTo>
                    <a:pt x="618" y="414"/>
                  </a:lnTo>
                  <a:lnTo>
                    <a:pt x="624" y="414"/>
                  </a:lnTo>
                  <a:lnTo>
                    <a:pt x="630" y="414"/>
                  </a:lnTo>
                  <a:lnTo>
                    <a:pt x="636" y="414"/>
                  </a:lnTo>
                  <a:lnTo>
                    <a:pt x="642" y="408"/>
                  </a:lnTo>
                  <a:lnTo>
                    <a:pt x="648" y="408"/>
                  </a:lnTo>
                  <a:lnTo>
                    <a:pt x="660" y="408"/>
                  </a:lnTo>
                  <a:lnTo>
                    <a:pt x="666" y="402"/>
                  </a:lnTo>
                  <a:lnTo>
                    <a:pt x="672" y="402"/>
                  </a:lnTo>
                  <a:lnTo>
                    <a:pt x="684" y="396"/>
                  </a:lnTo>
                  <a:lnTo>
                    <a:pt x="690" y="396"/>
                  </a:lnTo>
                  <a:lnTo>
                    <a:pt x="696" y="396"/>
                  </a:lnTo>
                  <a:lnTo>
                    <a:pt x="702" y="396"/>
                  </a:lnTo>
                  <a:lnTo>
                    <a:pt x="708" y="396"/>
                  </a:lnTo>
                  <a:lnTo>
                    <a:pt x="714" y="390"/>
                  </a:lnTo>
                  <a:lnTo>
                    <a:pt x="714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32" y="384"/>
                  </a:lnTo>
                  <a:lnTo>
                    <a:pt x="738" y="378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56" y="372"/>
                  </a:lnTo>
                  <a:lnTo>
                    <a:pt x="762" y="366"/>
                  </a:lnTo>
                  <a:lnTo>
                    <a:pt x="768" y="366"/>
                  </a:lnTo>
                  <a:lnTo>
                    <a:pt x="774" y="366"/>
                  </a:lnTo>
                  <a:lnTo>
                    <a:pt x="774" y="360"/>
                  </a:lnTo>
                  <a:lnTo>
                    <a:pt x="780" y="366"/>
                  </a:lnTo>
                  <a:lnTo>
                    <a:pt x="786" y="366"/>
                  </a:lnTo>
                  <a:lnTo>
                    <a:pt x="786" y="360"/>
                  </a:lnTo>
                  <a:lnTo>
                    <a:pt x="792" y="354"/>
                  </a:lnTo>
                  <a:lnTo>
                    <a:pt x="786" y="354"/>
                  </a:lnTo>
                  <a:lnTo>
                    <a:pt x="792" y="348"/>
                  </a:lnTo>
                  <a:lnTo>
                    <a:pt x="798" y="348"/>
                  </a:lnTo>
                  <a:lnTo>
                    <a:pt x="804" y="348"/>
                  </a:lnTo>
                  <a:lnTo>
                    <a:pt x="810" y="342"/>
                  </a:lnTo>
                  <a:lnTo>
                    <a:pt x="816" y="342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28" y="336"/>
                  </a:lnTo>
                  <a:lnTo>
                    <a:pt x="834" y="336"/>
                  </a:lnTo>
                  <a:lnTo>
                    <a:pt x="840" y="336"/>
                  </a:lnTo>
                  <a:lnTo>
                    <a:pt x="846" y="330"/>
                  </a:lnTo>
                  <a:lnTo>
                    <a:pt x="852" y="330"/>
                  </a:lnTo>
                  <a:lnTo>
                    <a:pt x="858" y="330"/>
                  </a:lnTo>
                  <a:lnTo>
                    <a:pt x="864" y="324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0" y="312"/>
                  </a:lnTo>
                  <a:lnTo>
                    <a:pt x="876" y="312"/>
                  </a:lnTo>
                  <a:lnTo>
                    <a:pt x="882" y="312"/>
                  </a:lnTo>
                  <a:lnTo>
                    <a:pt x="882" y="318"/>
                  </a:lnTo>
                  <a:lnTo>
                    <a:pt x="888" y="312"/>
                  </a:lnTo>
                  <a:lnTo>
                    <a:pt x="894" y="306"/>
                  </a:lnTo>
                  <a:lnTo>
                    <a:pt x="900" y="306"/>
                  </a:lnTo>
                  <a:lnTo>
                    <a:pt x="906" y="306"/>
                  </a:lnTo>
                  <a:lnTo>
                    <a:pt x="912" y="300"/>
                  </a:lnTo>
                  <a:lnTo>
                    <a:pt x="906" y="294"/>
                  </a:lnTo>
                  <a:lnTo>
                    <a:pt x="912" y="276"/>
                  </a:lnTo>
                  <a:lnTo>
                    <a:pt x="912" y="252"/>
                  </a:lnTo>
                  <a:lnTo>
                    <a:pt x="906" y="234"/>
                  </a:lnTo>
                  <a:lnTo>
                    <a:pt x="912" y="228"/>
                  </a:lnTo>
                  <a:lnTo>
                    <a:pt x="912" y="216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24" y="192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36" y="186"/>
                  </a:lnTo>
                  <a:lnTo>
                    <a:pt x="930" y="180"/>
                  </a:lnTo>
                  <a:lnTo>
                    <a:pt x="930" y="174"/>
                  </a:lnTo>
                  <a:lnTo>
                    <a:pt x="936" y="156"/>
                  </a:lnTo>
                  <a:lnTo>
                    <a:pt x="930" y="156"/>
                  </a:lnTo>
                  <a:lnTo>
                    <a:pt x="924" y="150"/>
                  </a:lnTo>
                  <a:lnTo>
                    <a:pt x="942" y="78"/>
                  </a:lnTo>
                  <a:lnTo>
                    <a:pt x="948" y="78"/>
                  </a:lnTo>
                  <a:lnTo>
                    <a:pt x="954" y="66"/>
                  </a:lnTo>
                  <a:lnTo>
                    <a:pt x="954" y="72"/>
                  </a:lnTo>
                  <a:lnTo>
                    <a:pt x="954" y="66"/>
                  </a:lnTo>
                  <a:lnTo>
                    <a:pt x="960" y="66"/>
                  </a:lnTo>
                  <a:lnTo>
                    <a:pt x="966" y="66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54"/>
                  </a:lnTo>
                  <a:lnTo>
                    <a:pt x="990" y="54"/>
                  </a:lnTo>
                  <a:lnTo>
                    <a:pt x="996" y="48"/>
                  </a:lnTo>
                  <a:lnTo>
                    <a:pt x="1002" y="48"/>
                  </a:lnTo>
                  <a:lnTo>
                    <a:pt x="1032" y="48"/>
                  </a:lnTo>
                  <a:lnTo>
                    <a:pt x="1062" y="48"/>
                  </a:lnTo>
                  <a:lnTo>
                    <a:pt x="1068" y="78"/>
                  </a:lnTo>
                  <a:lnTo>
                    <a:pt x="1086" y="78"/>
                  </a:lnTo>
                  <a:lnTo>
                    <a:pt x="1092" y="66"/>
                  </a:lnTo>
                  <a:lnTo>
                    <a:pt x="1092" y="60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8" y="48"/>
                  </a:lnTo>
                  <a:lnTo>
                    <a:pt x="1104" y="48"/>
                  </a:lnTo>
                  <a:lnTo>
                    <a:pt x="1110" y="48"/>
                  </a:lnTo>
                  <a:lnTo>
                    <a:pt x="1110" y="42"/>
                  </a:lnTo>
                  <a:lnTo>
                    <a:pt x="1110" y="36"/>
                  </a:lnTo>
                  <a:lnTo>
                    <a:pt x="1116" y="36"/>
                  </a:lnTo>
                  <a:lnTo>
                    <a:pt x="1116" y="30"/>
                  </a:lnTo>
                  <a:lnTo>
                    <a:pt x="1122" y="30"/>
                  </a:lnTo>
                  <a:lnTo>
                    <a:pt x="1128" y="30"/>
                  </a:lnTo>
                  <a:lnTo>
                    <a:pt x="1134" y="30"/>
                  </a:lnTo>
                  <a:lnTo>
                    <a:pt x="1140" y="24"/>
                  </a:lnTo>
                  <a:lnTo>
                    <a:pt x="1152" y="18"/>
                  </a:lnTo>
                  <a:lnTo>
                    <a:pt x="1158" y="18"/>
                  </a:lnTo>
                  <a:lnTo>
                    <a:pt x="1152" y="12"/>
                  </a:lnTo>
                  <a:lnTo>
                    <a:pt x="1152" y="6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8"/>
                  </a:lnTo>
                  <a:lnTo>
                    <a:pt x="1170" y="12"/>
                  </a:lnTo>
                  <a:lnTo>
                    <a:pt x="1170" y="6"/>
                  </a:lnTo>
                  <a:lnTo>
                    <a:pt x="1176" y="6"/>
                  </a:lnTo>
                  <a:lnTo>
                    <a:pt x="1176" y="0"/>
                  </a:lnTo>
                  <a:lnTo>
                    <a:pt x="1182" y="6"/>
                  </a:lnTo>
                  <a:lnTo>
                    <a:pt x="1188" y="6"/>
                  </a:lnTo>
                  <a:lnTo>
                    <a:pt x="1188" y="0"/>
                  </a:lnTo>
                  <a:lnTo>
                    <a:pt x="1194" y="6"/>
                  </a:lnTo>
                  <a:lnTo>
                    <a:pt x="1200" y="12"/>
                  </a:lnTo>
                  <a:lnTo>
                    <a:pt x="1206" y="18"/>
                  </a:lnTo>
                  <a:lnTo>
                    <a:pt x="1212" y="18"/>
                  </a:lnTo>
                  <a:lnTo>
                    <a:pt x="1218" y="24"/>
                  </a:lnTo>
                  <a:lnTo>
                    <a:pt x="1236" y="36"/>
                  </a:lnTo>
                  <a:lnTo>
                    <a:pt x="1242" y="36"/>
                  </a:lnTo>
                  <a:lnTo>
                    <a:pt x="1248" y="42"/>
                  </a:lnTo>
                  <a:lnTo>
                    <a:pt x="1248" y="48"/>
                  </a:lnTo>
                  <a:lnTo>
                    <a:pt x="1260" y="48"/>
                  </a:lnTo>
                  <a:lnTo>
                    <a:pt x="1260" y="108"/>
                  </a:lnTo>
                  <a:lnTo>
                    <a:pt x="1266" y="168"/>
                  </a:lnTo>
                  <a:lnTo>
                    <a:pt x="1278" y="234"/>
                  </a:lnTo>
                  <a:lnTo>
                    <a:pt x="1284" y="240"/>
                  </a:lnTo>
                  <a:lnTo>
                    <a:pt x="1290" y="264"/>
                  </a:lnTo>
                  <a:lnTo>
                    <a:pt x="1296" y="288"/>
                  </a:lnTo>
                  <a:lnTo>
                    <a:pt x="1296" y="300"/>
                  </a:lnTo>
                  <a:lnTo>
                    <a:pt x="1296" y="312"/>
                  </a:lnTo>
                  <a:lnTo>
                    <a:pt x="1296" y="324"/>
                  </a:lnTo>
                  <a:lnTo>
                    <a:pt x="1296" y="354"/>
                  </a:lnTo>
                  <a:lnTo>
                    <a:pt x="1302" y="366"/>
                  </a:lnTo>
                  <a:lnTo>
                    <a:pt x="1308" y="372"/>
                  </a:lnTo>
                  <a:lnTo>
                    <a:pt x="1308" y="384"/>
                  </a:lnTo>
                  <a:lnTo>
                    <a:pt x="1314" y="390"/>
                  </a:lnTo>
                  <a:lnTo>
                    <a:pt x="1308" y="408"/>
                  </a:lnTo>
                  <a:lnTo>
                    <a:pt x="1314" y="408"/>
                  </a:lnTo>
                  <a:lnTo>
                    <a:pt x="1314" y="414"/>
                  </a:lnTo>
                  <a:lnTo>
                    <a:pt x="1308" y="420"/>
                  </a:lnTo>
                  <a:lnTo>
                    <a:pt x="1308" y="432"/>
                  </a:lnTo>
                  <a:lnTo>
                    <a:pt x="1320" y="432"/>
                  </a:lnTo>
                  <a:lnTo>
                    <a:pt x="1320" y="444"/>
                  </a:lnTo>
                  <a:lnTo>
                    <a:pt x="1332" y="444"/>
                  </a:lnTo>
                  <a:lnTo>
                    <a:pt x="1338" y="450"/>
                  </a:lnTo>
                  <a:lnTo>
                    <a:pt x="1344" y="456"/>
                  </a:lnTo>
                  <a:lnTo>
                    <a:pt x="1344" y="462"/>
                  </a:lnTo>
                  <a:lnTo>
                    <a:pt x="1344" y="474"/>
                  </a:lnTo>
                  <a:lnTo>
                    <a:pt x="1350" y="474"/>
                  </a:lnTo>
                  <a:lnTo>
                    <a:pt x="1368" y="504"/>
                  </a:lnTo>
                  <a:lnTo>
                    <a:pt x="1374" y="534"/>
                  </a:lnTo>
                  <a:lnTo>
                    <a:pt x="1380" y="558"/>
                  </a:lnTo>
                  <a:lnTo>
                    <a:pt x="1386" y="576"/>
                  </a:lnTo>
                  <a:lnTo>
                    <a:pt x="1386" y="600"/>
                  </a:lnTo>
                  <a:lnTo>
                    <a:pt x="1386" y="624"/>
                  </a:lnTo>
                  <a:lnTo>
                    <a:pt x="1386" y="648"/>
                  </a:lnTo>
                  <a:lnTo>
                    <a:pt x="1386" y="684"/>
                  </a:lnTo>
                  <a:lnTo>
                    <a:pt x="1380" y="684"/>
                  </a:lnTo>
                  <a:lnTo>
                    <a:pt x="1374" y="696"/>
                  </a:lnTo>
                  <a:lnTo>
                    <a:pt x="1368" y="702"/>
                  </a:lnTo>
                  <a:lnTo>
                    <a:pt x="1362" y="708"/>
                  </a:lnTo>
                  <a:lnTo>
                    <a:pt x="1356" y="714"/>
                  </a:lnTo>
                  <a:lnTo>
                    <a:pt x="1350" y="720"/>
                  </a:lnTo>
                  <a:lnTo>
                    <a:pt x="1338" y="720"/>
                  </a:lnTo>
                  <a:lnTo>
                    <a:pt x="1338" y="738"/>
                  </a:lnTo>
                  <a:lnTo>
                    <a:pt x="1362" y="750"/>
                  </a:lnTo>
                  <a:lnTo>
                    <a:pt x="1362" y="756"/>
                  </a:lnTo>
                  <a:lnTo>
                    <a:pt x="1374" y="756"/>
                  </a:lnTo>
                  <a:lnTo>
                    <a:pt x="1410" y="774"/>
                  </a:lnTo>
                  <a:lnTo>
                    <a:pt x="1446" y="774"/>
                  </a:lnTo>
                  <a:lnTo>
                    <a:pt x="1482" y="768"/>
                  </a:lnTo>
                  <a:lnTo>
                    <a:pt x="1500" y="774"/>
                  </a:lnTo>
                  <a:lnTo>
                    <a:pt x="1512" y="78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6" name="Freeform 11">
              <a:extLst>
                <a:ext uri="{FF2B5EF4-FFF2-40B4-BE49-F238E27FC236}">
                  <a16:creationId xmlns:a16="http://schemas.microsoft.com/office/drawing/2014/main" id="{1FF8E66F-B850-456A-B132-C45FEEDE95C6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2475" y="2345643"/>
              <a:ext cx="445003" cy="603855"/>
            </a:xfrm>
            <a:custGeom>
              <a:avLst/>
              <a:gdLst>
                <a:gd name="T0" fmla="*/ 47 w 840"/>
                <a:gd name="T1" fmla="*/ 98 h 1134"/>
                <a:gd name="T2" fmla="*/ 41 w 840"/>
                <a:gd name="T3" fmla="*/ 98 h 1134"/>
                <a:gd name="T4" fmla="*/ 37 w 840"/>
                <a:gd name="T5" fmla="*/ 98 h 1134"/>
                <a:gd name="T6" fmla="*/ 29 w 840"/>
                <a:gd name="T7" fmla="*/ 97 h 1134"/>
                <a:gd name="T8" fmla="*/ 27 w 840"/>
                <a:gd name="T9" fmla="*/ 94 h 1134"/>
                <a:gd name="T10" fmla="*/ 26 w 840"/>
                <a:gd name="T11" fmla="*/ 93 h 1134"/>
                <a:gd name="T12" fmla="*/ 26 w 840"/>
                <a:gd name="T13" fmla="*/ 83 h 1134"/>
                <a:gd name="T14" fmla="*/ 26 w 840"/>
                <a:gd name="T15" fmla="*/ 81 h 1134"/>
                <a:gd name="T16" fmla="*/ 23 w 840"/>
                <a:gd name="T17" fmla="*/ 77 h 1134"/>
                <a:gd name="T18" fmla="*/ 19 w 840"/>
                <a:gd name="T19" fmla="*/ 75 h 1134"/>
                <a:gd name="T20" fmla="*/ 16 w 840"/>
                <a:gd name="T21" fmla="*/ 72 h 1134"/>
                <a:gd name="T22" fmla="*/ 13 w 840"/>
                <a:gd name="T23" fmla="*/ 70 h 1134"/>
                <a:gd name="T24" fmla="*/ 17 w 840"/>
                <a:gd name="T25" fmla="*/ 67 h 1134"/>
                <a:gd name="T26" fmla="*/ 19 w 840"/>
                <a:gd name="T27" fmla="*/ 63 h 1134"/>
                <a:gd name="T28" fmla="*/ 20 w 840"/>
                <a:gd name="T29" fmla="*/ 59 h 1134"/>
                <a:gd name="T30" fmla="*/ 19 w 840"/>
                <a:gd name="T31" fmla="*/ 55 h 1134"/>
                <a:gd name="T32" fmla="*/ 17 w 840"/>
                <a:gd name="T33" fmla="*/ 47 h 1134"/>
                <a:gd name="T34" fmla="*/ 8 w 840"/>
                <a:gd name="T35" fmla="*/ 45 h 1134"/>
                <a:gd name="T36" fmla="*/ 4 w 840"/>
                <a:gd name="T37" fmla="*/ 39 h 1134"/>
                <a:gd name="T38" fmla="*/ 2 w 840"/>
                <a:gd name="T39" fmla="*/ 35 h 1134"/>
                <a:gd name="T40" fmla="*/ 0 w 840"/>
                <a:gd name="T41" fmla="*/ 31 h 1134"/>
                <a:gd name="T42" fmla="*/ 2 w 840"/>
                <a:gd name="T43" fmla="*/ 27 h 1134"/>
                <a:gd name="T44" fmla="*/ 5 w 840"/>
                <a:gd name="T45" fmla="*/ 24 h 1134"/>
                <a:gd name="T46" fmla="*/ 10 w 840"/>
                <a:gd name="T47" fmla="*/ 26 h 1134"/>
                <a:gd name="T48" fmla="*/ 7 w 840"/>
                <a:gd name="T49" fmla="*/ 20 h 1134"/>
                <a:gd name="T50" fmla="*/ 12 w 840"/>
                <a:gd name="T51" fmla="*/ 12 h 1134"/>
                <a:gd name="T52" fmla="*/ 19 w 840"/>
                <a:gd name="T53" fmla="*/ 10 h 1134"/>
                <a:gd name="T54" fmla="*/ 20 w 840"/>
                <a:gd name="T55" fmla="*/ 13 h 1134"/>
                <a:gd name="T56" fmla="*/ 22 w 840"/>
                <a:gd name="T57" fmla="*/ 11 h 1134"/>
                <a:gd name="T58" fmla="*/ 25 w 840"/>
                <a:gd name="T59" fmla="*/ 7 h 1134"/>
                <a:gd name="T60" fmla="*/ 29 w 840"/>
                <a:gd name="T61" fmla="*/ 2 h 1134"/>
                <a:gd name="T62" fmla="*/ 33 w 840"/>
                <a:gd name="T63" fmla="*/ 1 h 1134"/>
                <a:gd name="T64" fmla="*/ 37 w 840"/>
                <a:gd name="T65" fmla="*/ 2 h 1134"/>
                <a:gd name="T66" fmla="*/ 39 w 840"/>
                <a:gd name="T67" fmla="*/ 4 h 1134"/>
                <a:gd name="T68" fmla="*/ 43 w 840"/>
                <a:gd name="T69" fmla="*/ 5 h 1134"/>
                <a:gd name="T70" fmla="*/ 46 w 840"/>
                <a:gd name="T71" fmla="*/ 11 h 1134"/>
                <a:gd name="T72" fmla="*/ 49 w 840"/>
                <a:gd name="T73" fmla="*/ 12 h 1134"/>
                <a:gd name="T74" fmla="*/ 52 w 840"/>
                <a:gd name="T75" fmla="*/ 15 h 1134"/>
                <a:gd name="T76" fmla="*/ 54 w 840"/>
                <a:gd name="T77" fmla="*/ 18 h 1134"/>
                <a:gd name="T78" fmla="*/ 55 w 840"/>
                <a:gd name="T79" fmla="*/ 22 h 1134"/>
                <a:gd name="T80" fmla="*/ 56 w 840"/>
                <a:gd name="T81" fmla="*/ 26 h 1134"/>
                <a:gd name="T82" fmla="*/ 55 w 840"/>
                <a:gd name="T83" fmla="*/ 32 h 1134"/>
                <a:gd name="T84" fmla="*/ 55 w 840"/>
                <a:gd name="T85" fmla="*/ 36 h 1134"/>
                <a:gd name="T86" fmla="*/ 54 w 840"/>
                <a:gd name="T87" fmla="*/ 39 h 1134"/>
                <a:gd name="T88" fmla="*/ 56 w 840"/>
                <a:gd name="T89" fmla="*/ 39 h 1134"/>
                <a:gd name="T90" fmla="*/ 58 w 840"/>
                <a:gd name="T91" fmla="*/ 39 h 1134"/>
                <a:gd name="T92" fmla="*/ 61 w 840"/>
                <a:gd name="T93" fmla="*/ 39 h 1134"/>
                <a:gd name="T94" fmla="*/ 60 w 840"/>
                <a:gd name="T95" fmla="*/ 49 h 1134"/>
                <a:gd name="T96" fmla="*/ 59 w 840"/>
                <a:gd name="T97" fmla="*/ 53 h 1134"/>
                <a:gd name="T98" fmla="*/ 59 w 840"/>
                <a:gd name="T99" fmla="*/ 56 h 1134"/>
                <a:gd name="T100" fmla="*/ 60 w 840"/>
                <a:gd name="T101" fmla="*/ 59 h 1134"/>
                <a:gd name="T102" fmla="*/ 64 w 840"/>
                <a:gd name="T103" fmla="*/ 61 h 1134"/>
                <a:gd name="T104" fmla="*/ 69 w 840"/>
                <a:gd name="T105" fmla="*/ 63 h 1134"/>
                <a:gd name="T106" fmla="*/ 72 w 840"/>
                <a:gd name="T107" fmla="*/ 69 h 1134"/>
                <a:gd name="T108" fmla="*/ 72 w 840"/>
                <a:gd name="T109" fmla="*/ 73 h 1134"/>
                <a:gd name="T110" fmla="*/ 72 w 840"/>
                <a:gd name="T111" fmla="*/ 83 h 1134"/>
                <a:gd name="T112" fmla="*/ 63 w 840"/>
                <a:gd name="T113" fmla="*/ 88 h 1134"/>
                <a:gd name="T114" fmla="*/ 52 w 840"/>
                <a:gd name="T115" fmla="*/ 95 h 11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40"/>
                <a:gd name="T175" fmla="*/ 0 h 1134"/>
                <a:gd name="T176" fmla="*/ 840 w 840"/>
                <a:gd name="T177" fmla="*/ 1134 h 11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40" h="1134">
                  <a:moveTo>
                    <a:pt x="564" y="1110"/>
                  </a:moveTo>
                  <a:lnTo>
                    <a:pt x="564" y="1104"/>
                  </a:lnTo>
                  <a:lnTo>
                    <a:pt x="558" y="1104"/>
                  </a:lnTo>
                  <a:lnTo>
                    <a:pt x="552" y="1110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28" y="1128"/>
                  </a:lnTo>
                  <a:lnTo>
                    <a:pt x="498" y="1128"/>
                  </a:lnTo>
                  <a:lnTo>
                    <a:pt x="492" y="1128"/>
                  </a:lnTo>
                  <a:lnTo>
                    <a:pt x="486" y="1128"/>
                  </a:lnTo>
                  <a:lnTo>
                    <a:pt x="480" y="1128"/>
                  </a:lnTo>
                  <a:lnTo>
                    <a:pt x="474" y="1134"/>
                  </a:lnTo>
                  <a:lnTo>
                    <a:pt x="468" y="1134"/>
                  </a:lnTo>
                  <a:lnTo>
                    <a:pt x="462" y="1134"/>
                  </a:lnTo>
                  <a:lnTo>
                    <a:pt x="456" y="1134"/>
                  </a:lnTo>
                  <a:lnTo>
                    <a:pt x="456" y="1128"/>
                  </a:lnTo>
                  <a:lnTo>
                    <a:pt x="450" y="1122"/>
                  </a:lnTo>
                  <a:lnTo>
                    <a:pt x="426" y="1128"/>
                  </a:lnTo>
                  <a:lnTo>
                    <a:pt x="414" y="1128"/>
                  </a:lnTo>
                  <a:lnTo>
                    <a:pt x="348" y="1134"/>
                  </a:lnTo>
                  <a:lnTo>
                    <a:pt x="348" y="1128"/>
                  </a:lnTo>
                  <a:lnTo>
                    <a:pt x="342" y="1128"/>
                  </a:lnTo>
                  <a:lnTo>
                    <a:pt x="336" y="1122"/>
                  </a:lnTo>
                  <a:lnTo>
                    <a:pt x="330" y="1122"/>
                  </a:lnTo>
                  <a:lnTo>
                    <a:pt x="324" y="1116"/>
                  </a:lnTo>
                  <a:lnTo>
                    <a:pt x="324" y="1110"/>
                  </a:lnTo>
                  <a:lnTo>
                    <a:pt x="318" y="1110"/>
                  </a:lnTo>
                  <a:lnTo>
                    <a:pt x="318" y="1104"/>
                  </a:lnTo>
                  <a:lnTo>
                    <a:pt x="312" y="1092"/>
                  </a:lnTo>
                  <a:lnTo>
                    <a:pt x="306" y="1086"/>
                  </a:lnTo>
                  <a:lnTo>
                    <a:pt x="306" y="1080"/>
                  </a:lnTo>
                  <a:lnTo>
                    <a:pt x="312" y="1074"/>
                  </a:lnTo>
                  <a:lnTo>
                    <a:pt x="306" y="1068"/>
                  </a:lnTo>
                  <a:lnTo>
                    <a:pt x="300" y="1074"/>
                  </a:lnTo>
                  <a:lnTo>
                    <a:pt x="300" y="1068"/>
                  </a:lnTo>
                  <a:lnTo>
                    <a:pt x="294" y="1068"/>
                  </a:lnTo>
                  <a:lnTo>
                    <a:pt x="294" y="1056"/>
                  </a:lnTo>
                  <a:lnTo>
                    <a:pt x="294" y="1026"/>
                  </a:lnTo>
                  <a:lnTo>
                    <a:pt x="294" y="1020"/>
                  </a:lnTo>
                  <a:lnTo>
                    <a:pt x="294" y="1008"/>
                  </a:lnTo>
                  <a:lnTo>
                    <a:pt x="294" y="966"/>
                  </a:lnTo>
                  <a:lnTo>
                    <a:pt x="294" y="960"/>
                  </a:lnTo>
                  <a:lnTo>
                    <a:pt x="294" y="954"/>
                  </a:lnTo>
                  <a:lnTo>
                    <a:pt x="294" y="948"/>
                  </a:lnTo>
                  <a:lnTo>
                    <a:pt x="294" y="942"/>
                  </a:lnTo>
                  <a:lnTo>
                    <a:pt x="300" y="936"/>
                  </a:lnTo>
                  <a:lnTo>
                    <a:pt x="300" y="930"/>
                  </a:lnTo>
                  <a:lnTo>
                    <a:pt x="294" y="930"/>
                  </a:lnTo>
                  <a:lnTo>
                    <a:pt x="288" y="930"/>
                  </a:lnTo>
                  <a:lnTo>
                    <a:pt x="288" y="924"/>
                  </a:lnTo>
                  <a:lnTo>
                    <a:pt x="282" y="918"/>
                  </a:lnTo>
                  <a:lnTo>
                    <a:pt x="282" y="906"/>
                  </a:lnTo>
                  <a:lnTo>
                    <a:pt x="282" y="900"/>
                  </a:lnTo>
                  <a:lnTo>
                    <a:pt x="264" y="894"/>
                  </a:lnTo>
                  <a:lnTo>
                    <a:pt x="252" y="882"/>
                  </a:lnTo>
                  <a:lnTo>
                    <a:pt x="246" y="876"/>
                  </a:lnTo>
                  <a:lnTo>
                    <a:pt x="240" y="876"/>
                  </a:lnTo>
                  <a:lnTo>
                    <a:pt x="240" y="870"/>
                  </a:lnTo>
                  <a:lnTo>
                    <a:pt x="234" y="870"/>
                  </a:lnTo>
                  <a:lnTo>
                    <a:pt x="222" y="864"/>
                  </a:lnTo>
                  <a:lnTo>
                    <a:pt x="216" y="864"/>
                  </a:lnTo>
                  <a:lnTo>
                    <a:pt x="210" y="858"/>
                  </a:lnTo>
                  <a:lnTo>
                    <a:pt x="210" y="852"/>
                  </a:lnTo>
                  <a:lnTo>
                    <a:pt x="210" y="846"/>
                  </a:lnTo>
                  <a:lnTo>
                    <a:pt x="198" y="840"/>
                  </a:lnTo>
                  <a:lnTo>
                    <a:pt x="186" y="834"/>
                  </a:lnTo>
                  <a:lnTo>
                    <a:pt x="180" y="828"/>
                  </a:lnTo>
                  <a:lnTo>
                    <a:pt x="180" y="822"/>
                  </a:lnTo>
                  <a:lnTo>
                    <a:pt x="174" y="822"/>
                  </a:lnTo>
                  <a:lnTo>
                    <a:pt x="162" y="816"/>
                  </a:lnTo>
                  <a:lnTo>
                    <a:pt x="156" y="810"/>
                  </a:lnTo>
                  <a:lnTo>
                    <a:pt x="150" y="810"/>
                  </a:lnTo>
                  <a:lnTo>
                    <a:pt x="144" y="798"/>
                  </a:lnTo>
                  <a:lnTo>
                    <a:pt x="138" y="786"/>
                  </a:lnTo>
                  <a:lnTo>
                    <a:pt x="138" y="780"/>
                  </a:lnTo>
                  <a:lnTo>
                    <a:pt x="144" y="774"/>
                  </a:lnTo>
                  <a:lnTo>
                    <a:pt x="150" y="768"/>
                  </a:lnTo>
                  <a:lnTo>
                    <a:pt x="192" y="768"/>
                  </a:lnTo>
                  <a:lnTo>
                    <a:pt x="210" y="762"/>
                  </a:lnTo>
                  <a:lnTo>
                    <a:pt x="216" y="756"/>
                  </a:lnTo>
                  <a:lnTo>
                    <a:pt x="216" y="744"/>
                  </a:lnTo>
                  <a:lnTo>
                    <a:pt x="216" y="738"/>
                  </a:lnTo>
                  <a:lnTo>
                    <a:pt x="216" y="732"/>
                  </a:lnTo>
                  <a:lnTo>
                    <a:pt x="216" y="726"/>
                  </a:lnTo>
                  <a:lnTo>
                    <a:pt x="216" y="720"/>
                  </a:lnTo>
                  <a:lnTo>
                    <a:pt x="228" y="702"/>
                  </a:lnTo>
                  <a:lnTo>
                    <a:pt x="234" y="696"/>
                  </a:lnTo>
                  <a:lnTo>
                    <a:pt x="240" y="690"/>
                  </a:lnTo>
                  <a:lnTo>
                    <a:pt x="240" y="684"/>
                  </a:lnTo>
                  <a:lnTo>
                    <a:pt x="234" y="678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0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22" y="630"/>
                  </a:lnTo>
                  <a:lnTo>
                    <a:pt x="222" y="618"/>
                  </a:lnTo>
                  <a:lnTo>
                    <a:pt x="222" y="582"/>
                  </a:lnTo>
                  <a:lnTo>
                    <a:pt x="228" y="582"/>
                  </a:lnTo>
                  <a:lnTo>
                    <a:pt x="222" y="564"/>
                  </a:lnTo>
                  <a:lnTo>
                    <a:pt x="210" y="552"/>
                  </a:lnTo>
                  <a:lnTo>
                    <a:pt x="192" y="540"/>
                  </a:lnTo>
                  <a:lnTo>
                    <a:pt x="174" y="540"/>
                  </a:lnTo>
                  <a:lnTo>
                    <a:pt x="150" y="534"/>
                  </a:lnTo>
                  <a:lnTo>
                    <a:pt x="126" y="528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90" y="516"/>
                  </a:lnTo>
                  <a:lnTo>
                    <a:pt x="78" y="504"/>
                  </a:lnTo>
                  <a:lnTo>
                    <a:pt x="72" y="498"/>
                  </a:lnTo>
                  <a:lnTo>
                    <a:pt x="66" y="486"/>
                  </a:lnTo>
                  <a:lnTo>
                    <a:pt x="54" y="468"/>
                  </a:lnTo>
                  <a:lnTo>
                    <a:pt x="54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42" y="438"/>
                  </a:lnTo>
                  <a:lnTo>
                    <a:pt x="36" y="438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24" y="384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2" y="360"/>
                  </a:lnTo>
                  <a:lnTo>
                    <a:pt x="6" y="360"/>
                  </a:lnTo>
                  <a:lnTo>
                    <a:pt x="0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0"/>
                  </a:lnTo>
                  <a:lnTo>
                    <a:pt x="18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8" y="270"/>
                  </a:lnTo>
                  <a:lnTo>
                    <a:pt x="90" y="276"/>
                  </a:lnTo>
                  <a:lnTo>
                    <a:pt x="108" y="294"/>
                  </a:lnTo>
                  <a:lnTo>
                    <a:pt x="114" y="294"/>
                  </a:lnTo>
                  <a:lnTo>
                    <a:pt x="114" y="276"/>
                  </a:lnTo>
                  <a:lnTo>
                    <a:pt x="114" y="270"/>
                  </a:lnTo>
                  <a:lnTo>
                    <a:pt x="102" y="258"/>
                  </a:lnTo>
                  <a:lnTo>
                    <a:pt x="96" y="246"/>
                  </a:lnTo>
                  <a:lnTo>
                    <a:pt x="90" y="234"/>
                  </a:lnTo>
                  <a:lnTo>
                    <a:pt x="78" y="228"/>
                  </a:lnTo>
                  <a:lnTo>
                    <a:pt x="72" y="216"/>
                  </a:lnTo>
                  <a:lnTo>
                    <a:pt x="66" y="192"/>
                  </a:lnTo>
                  <a:lnTo>
                    <a:pt x="90" y="174"/>
                  </a:lnTo>
                  <a:lnTo>
                    <a:pt x="120" y="150"/>
                  </a:lnTo>
                  <a:lnTo>
                    <a:pt x="132" y="150"/>
                  </a:lnTo>
                  <a:lnTo>
                    <a:pt x="138" y="144"/>
                  </a:lnTo>
                  <a:lnTo>
                    <a:pt x="138" y="138"/>
                  </a:lnTo>
                  <a:lnTo>
                    <a:pt x="156" y="126"/>
                  </a:lnTo>
                  <a:lnTo>
                    <a:pt x="180" y="114"/>
                  </a:lnTo>
                  <a:lnTo>
                    <a:pt x="216" y="114"/>
                  </a:lnTo>
                  <a:lnTo>
                    <a:pt x="222" y="114"/>
                  </a:lnTo>
                  <a:lnTo>
                    <a:pt x="222" y="120"/>
                  </a:lnTo>
                  <a:lnTo>
                    <a:pt x="222" y="126"/>
                  </a:lnTo>
                  <a:lnTo>
                    <a:pt x="222" y="132"/>
                  </a:lnTo>
                  <a:lnTo>
                    <a:pt x="228" y="138"/>
                  </a:lnTo>
                  <a:lnTo>
                    <a:pt x="228" y="144"/>
                  </a:lnTo>
                  <a:lnTo>
                    <a:pt x="228" y="150"/>
                  </a:lnTo>
                  <a:lnTo>
                    <a:pt x="234" y="150"/>
                  </a:lnTo>
                  <a:lnTo>
                    <a:pt x="234" y="144"/>
                  </a:lnTo>
                  <a:lnTo>
                    <a:pt x="240" y="144"/>
                  </a:lnTo>
                  <a:lnTo>
                    <a:pt x="246" y="144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58" y="126"/>
                  </a:lnTo>
                  <a:lnTo>
                    <a:pt x="258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76" y="96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6" y="72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36"/>
                  </a:lnTo>
                  <a:lnTo>
                    <a:pt x="330" y="24"/>
                  </a:lnTo>
                  <a:lnTo>
                    <a:pt x="330" y="18"/>
                  </a:lnTo>
                  <a:lnTo>
                    <a:pt x="330" y="12"/>
                  </a:lnTo>
                  <a:lnTo>
                    <a:pt x="336" y="6"/>
                  </a:lnTo>
                  <a:lnTo>
                    <a:pt x="366" y="0"/>
                  </a:lnTo>
                  <a:lnTo>
                    <a:pt x="372" y="6"/>
                  </a:lnTo>
                  <a:lnTo>
                    <a:pt x="384" y="12"/>
                  </a:lnTo>
                  <a:lnTo>
                    <a:pt x="402" y="12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18"/>
                  </a:lnTo>
                  <a:lnTo>
                    <a:pt x="420" y="18"/>
                  </a:lnTo>
                  <a:lnTo>
                    <a:pt x="426" y="24"/>
                  </a:lnTo>
                  <a:lnTo>
                    <a:pt x="432" y="30"/>
                  </a:lnTo>
                  <a:lnTo>
                    <a:pt x="438" y="36"/>
                  </a:lnTo>
                  <a:lnTo>
                    <a:pt x="444" y="42"/>
                  </a:lnTo>
                  <a:lnTo>
                    <a:pt x="450" y="42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16" y="78"/>
                  </a:lnTo>
                  <a:lnTo>
                    <a:pt x="522" y="102"/>
                  </a:lnTo>
                  <a:lnTo>
                    <a:pt x="522" y="108"/>
                  </a:lnTo>
                  <a:lnTo>
                    <a:pt x="528" y="126"/>
                  </a:lnTo>
                  <a:lnTo>
                    <a:pt x="534" y="126"/>
                  </a:lnTo>
                  <a:lnTo>
                    <a:pt x="540" y="120"/>
                  </a:lnTo>
                  <a:lnTo>
                    <a:pt x="546" y="126"/>
                  </a:lnTo>
                  <a:lnTo>
                    <a:pt x="552" y="126"/>
                  </a:lnTo>
                  <a:lnTo>
                    <a:pt x="558" y="132"/>
                  </a:lnTo>
                  <a:lnTo>
                    <a:pt x="564" y="138"/>
                  </a:lnTo>
                  <a:lnTo>
                    <a:pt x="570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594" y="168"/>
                  </a:lnTo>
                  <a:lnTo>
                    <a:pt x="600" y="174"/>
                  </a:lnTo>
                  <a:lnTo>
                    <a:pt x="606" y="180"/>
                  </a:lnTo>
                  <a:lnTo>
                    <a:pt x="606" y="186"/>
                  </a:lnTo>
                  <a:lnTo>
                    <a:pt x="612" y="192"/>
                  </a:lnTo>
                  <a:lnTo>
                    <a:pt x="612" y="198"/>
                  </a:lnTo>
                  <a:lnTo>
                    <a:pt x="624" y="204"/>
                  </a:lnTo>
                  <a:lnTo>
                    <a:pt x="624" y="210"/>
                  </a:lnTo>
                  <a:lnTo>
                    <a:pt x="630" y="216"/>
                  </a:lnTo>
                  <a:lnTo>
                    <a:pt x="636" y="222"/>
                  </a:lnTo>
                  <a:lnTo>
                    <a:pt x="636" y="228"/>
                  </a:lnTo>
                  <a:lnTo>
                    <a:pt x="636" y="234"/>
                  </a:lnTo>
                  <a:lnTo>
                    <a:pt x="636" y="252"/>
                  </a:lnTo>
                  <a:lnTo>
                    <a:pt x="636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42" y="276"/>
                  </a:lnTo>
                  <a:lnTo>
                    <a:pt x="642" y="282"/>
                  </a:lnTo>
                  <a:lnTo>
                    <a:pt x="642" y="288"/>
                  </a:lnTo>
                  <a:lnTo>
                    <a:pt x="642" y="300"/>
                  </a:lnTo>
                  <a:lnTo>
                    <a:pt x="642" y="306"/>
                  </a:lnTo>
                  <a:lnTo>
                    <a:pt x="636" y="312"/>
                  </a:lnTo>
                  <a:lnTo>
                    <a:pt x="636" y="324"/>
                  </a:lnTo>
                  <a:lnTo>
                    <a:pt x="636" y="342"/>
                  </a:lnTo>
                  <a:lnTo>
                    <a:pt x="630" y="354"/>
                  </a:lnTo>
                  <a:lnTo>
                    <a:pt x="630" y="366"/>
                  </a:lnTo>
                  <a:lnTo>
                    <a:pt x="624" y="378"/>
                  </a:lnTo>
                  <a:lnTo>
                    <a:pt x="624" y="384"/>
                  </a:lnTo>
                  <a:lnTo>
                    <a:pt x="636" y="396"/>
                  </a:lnTo>
                  <a:lnTo>
                    <a:pt x="636" y="402"/>
                  </a:lnTo>
                  <a:lnTo>
                    <a:pt x="636" y="408"/>
                  </a:lnTo>
                  <a:lnTo>
                    <a:pt x="630" y="414"/>
                  </a:lnTo>
                  <a:lnTo>
                    <a:pt x="630" y="420"/>
                  </a:lnTo>
                  <a:lnTo>
                    <a:pt x="630" y="426"/>
                  </a:lnTo>
                  <a:lnTo>
                    <a:pt x="630" y="432"/>
                  </a:lnTo>
                  <a:lnTo>
                    <a:pt x="624" y="438"/>
                  </a:lnTo>
                  <a:lnTo>
                    <a:pt x="624" y="444"/>
                  </a:lnTo>
                  <a:lnTo>
                    <a:pt x="624" y="450"/>
                  </a:lnTo>
                  <a:lnTo>
                    <a:pt x="630" y="450"/>
                  </a:lnTo>
                  <a:lnTo>
                    <a:pt x="630" y="456"/>
                  </a:lnTo>
                  <a:lnTo>
                    <a:pt x="630" y="462"/>
                  </a:lnTo>
                  <a:lnTo>
                    <a:pt x="636" y="468"/>
                  </a:lnTo>
                  <a:lnTo>
                    <a:pt x="642" y="456"/>
                  </a:lnTo>
                  <a:lnTo>
                    <a:pt x="642" y="450"/>
                  </a:lnTo>
                  <a:lnTo>
                    <a:pt x="648" y="450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60" y="444"/>
                  </a:lnTo>
                  <a:lnTo>
                    <a:pt x="666" y="450"/>
                  </a:lnTo>
                  <a:lnTo>
                    <a:pt x="672" y="444"/>
                  </a:lnTo>
                  <a:lnTo>
                    <a:pt x="678" y="444"/>
                  </a:lnTo>
                  <a:lnTo>
                    <a:pt x="684" y="438"/>
                  </a:lnTo>
                  <a:lnTo>
                    <a:pt x="690" y="438"/>
                  </a:lnTo>
                  <a:lnTo>
                    <a:pt x="696" y="438"/>
                  </a:lnTo>
                  <a:lnTo>
                    <a:pt x="702" y="444"/>
                  </a:lnTo>
                  <a:lnTo>
                    <a:pt x="702" y="450"/>
                  </a:lnTo>
                  <a:lnTo>
                    <a:pt x="708" y="450"/>
                  </a:lnTo>
                  <a:lnTo>
                    <a:pt x="708" y="456"/>
                  </a:lnTo>
                  <a:lnTo>
                    <a:pt x="708" y="462"/>
                  </a:lnTo>
                  <a:lnTo>
                    <a:pt x="708" y="468"/>
                  </a:lnTo>
                  <a:lnTo>
                    <a:pt x="708" y="504"/>
                  </a:lnTo>
                  <a:lnTo>
                    <a:pt x="696" y="564"/>
                  </a:lnTo>
                  <a:lnTo>
                    <a:pt x="696" y="582"/>
                  </a:lnTo>
                  <a:lnTo>
                    <a:pt x="696" y="600"/>
                  </a:lnTo>
                  <a:lnTo>
                    <a:pt x="690" y="606"/>
                  </a:lnTo>
                  <a:lnTo>
                    <a:pt x="684" y="606"/>
                  </a:lnTo>
                  <a:lnTo>
                    <a:pt x="690" y="612"/>
                  </a:lnTo>
                  <a:lnTo>
                    <a:pt x="684" y="612"/>
                  </a:lnTo>
                  <a:lnTo>
                    <a:pt x="678" y="618"/>
                  </a:lnTo>
                  <a:lnTo>
                    <a:pt x="672" y="624"/>
                  </a:lnTo>
                  <a:lnTo>
                    <a:pt x="666" y="630"/>
                  </a:lnTo>
                  <a:lnTo>
                    <a:pt x="660" y="636"/>
                  </a:lnTo>
                  <a:lnTo>
                    <a:pt x="672" y="636"/>
                  </a:lnTo>
                  <a:lnTo>
                    <a:pt x="678" y="642"/>
                  </a:lnTo>
                  <a:lnTo>
                    <a:pt x="678" y="648"/>
                  </a:lnTo>
                  <a:lnTo>
                    <a:pt x="684" y="654"/>
                  </a:lnTo>
                  <a:lnTo>
                    <a:pt x="690" y="666"/>
                  </a:lnTo>
                  <a:lnTo>
                    <a:pt x="690" y="672"/>
                  </a:lnTo>
                  <a:lnTo>
                    <a:pt x="696" y="672"/>
                  </a:lnTo>
                  <a:lnTo>
                    <a:pt x="696" y="684"/>
                  </a:lnTo>
                  <a:lnTo>
                    <a:pt x="708" y="690"/>
                  </a:lnTo>
                  <a:lnTo>
                    <a:pt x="720" y="696"/>
                  </a:lnTo>
                  <a:lnTo>
                    <a:pt x="726" y="696"/>
                  </a:lnTo>
                  <a:lnTo>
                    <a:pt x="732" y="696"/>
                  </a:lnTo>
                  <a:lnTo>
                    <a:pt x="738" y="696"/>
                  </a:lnTo>
                  <a:lnTo>
                    <a:pt x="738" y="702"/>
                  </a:lnTo>
                  <a:lnTo>
                    <a:pt x="738" y="708"/>
                  </a:lnTo>
                  <a:lnTo>
                    <a:pt x="738" y="714"/>
                  </a:lnTo>
                  <a:lnTo>
                    <a:pt x="744" y="714"/>
                  </a:lnTo>
                  <a:lnTo>
                    <a:pt x="756" y="720"/>
                  </a:lnTo>
                  <a:lnTo>
                    <a:pt x="780" y="726"/>
                  </a:lnTo>
                  <a:lnTo>
                    <a:pt x="792" y="732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22" y="774"/>
                  </a:lnTo>
                  <a:lnTo>
                    <a:pt x="834" y="786"/>
                  </a:lnTo>
                  <a:lnTo>
                    <a:pt x="834" y="792"/>
                  </a:lnTo>
                  <a:lnTo>
                    <a:pt x="834" y="798"/>
                  </a:lnTo>
                  <a:lnTo>
                    <a:pt x="828" y="798"/>
                  </a:lnTo>
                  <a:lnTo>
                    <a:pt x="828" y="804"/>
                  </a:lnTo>
                  <a:lnTo>
                    <a:pt x="834" y="816"/>
                  </a:lnTo>
                  <a:lnTo>
                    <a:pt x="834" y="834"/>
                  </a:lnTo>
                  <a:lnTo>
                    <a:pt x="834" y="840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34" y="858"/>
                  </a:lnTo>
                  <a:lnTo>
                    <a:pt x="834" y="864"/>
                  </a:lnTo>
                  <a:lnTo>
                    <a:pt x="834" y="876"/>
                  </a:lnTo>
                  <a:lnTo>
                    <a:pt x="828" y="960"/>
                  </a:lnTo>
                  <a:lnTo>
                    <a:pt x="816" y="966"/>
                  </a:lnTo>
                  <a:lnTo>
                    <a:pt x="798" y="972"/>
                  </a:lnTo>
                  <a:lnTo>
                    <a:pt x="786" y="990"/>
                  </a:lnTo>
                  <a:lnTo>
                    <a:pt x="774" y="990"/>
                  </a:lnTo>
                  <a:lnTo>
                    <a:pt x="762" y="1008"/>
                  </a:lnTo>
                  <a:lnTo>
                    <a:pt x="732" y="1014"/>
                  </a:lnTo>
                  <a:lnTo>
                    <a:pt x="714" y="1026"/>
                  </a:lnTo>
                  <a:lnTo>
                    <a:pt x="690" y="1050"/>
                  </a:lnTo>
                  <a:lnTo>
                    <a:pt x="654" y="1056"/>
                  </a:lnTo>
                  <a:lnTo>
                    <a:pt x="630" y="1056"/>
                  </a:lnTo>
                  <a:lnTo>
                    <a:pt x="606" y="1068"/>
                  </a:lnTo>
                  <a:lnTo>
                    <a:pt x="600" y="1092"/>
                  </a:lnTo>
                  <a:lnTo>
                    <a:pt x="600" y="1098"/>
                  </a:lnTo>
                  <a:lnTo>
                    <a:pt x="588" y="1104"/>
                  </a:lnTo>
                  <a:lnTo>
                    <a:pt x="582" y="1104"/>
                  </a:lnTo>
                  <a:lnTo>
                    <a:pt x="570" y="1110"/>
                  </a:lnTo>
                  <a:lnTo>
                    <a:pt x="564" y="111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7" name="Freeform 12">
              <a:extLst>
                <a:ext uri="{FF2B5EF4-FFF2-40B4-BE49-F238E27FC236}">
                  <a16:creationId xmlns:a16="http://schemas.microsoft.com/office/drawing/2014/main" id="{6C93C114-E5D0-49BB-A44C-A127CE01CFE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810" y="2271838"/>
              <a:ext cx="923547" cy="845397"/>
            </a:xfrm>
            <a:custGeom>
              <a:avLst/>
              <a:gdLst>
                <a:gd name="T0" fmla="*/ 138 w 1740"/>
                <a:gd name="T1" fmla="*/ 134 h 1590"/>
                <a:gd name="T2" fmla="*/ 128 w 1740"/>
                <a:gd name="T3" fmla="*/ 131 h 1590"/>
                <a:gd name="T4" fmla="*/ 121 w 1740"/>
                <a:gd name="T5" fmla="*/ 130 h 1590"/>
                <a:gd name="T6" fmla="*/ 119 w 1740"/>
                <a:gd name="T7" fmla="*/ 134 h 1590"/>
                <a:gd name="T8" fmla="*/ 110 w 1740"/>
                <a:gd name="T9" fmla="*/ 132 h 1590"/>
                <a:gd name="T10" fmla="*/ 111 w 1740"/>
                <a:gd name="T11" fmla="*/ 127 h 1590"/>
                <a:gd name="T12" fmla="*/ 103 w 1740"/>
                <a:gd name="T13" fmla="*/ 117 h 1590"/>
                <a:gd name="T14" fmla="*/ 93 w 1740"/>
                <a:gd name="T15" fmla="*/ 123 h 1590"/>
                <a:gd name="T16" fmla="*/ 80 w 1740"/>
                <a:gd name="T17" fmla="*/ 118 h 1590"/>
                <a:gd name="T18" fmla="*/ 66 w 1740"/>
                <a:gd name="T19" fmla="*/ 117 h 1590"/>
                <a:gd name="T20" fmla="*/ 66 w 1740"/>
                <a:gd name="T21" fmla="*/ 110 h 1590"/>
                <a:gd name="T22" fmla="*/ 69 w 1740"/>
                <a:gd name="T23" fmla="*/ 107 h 1590"/>
                <a:gd name="T24" fmla="*/ 68 w 1740"/>
                <a:gd name="T25" fmla="*/ 102 h 1590"/>
                <a:gd name="T26" fmla="*/ 68 w 1740"/>
                <a:gd name="T27" fmla="*/ 96 h 1590"/>
                <a:gd name="T28" fmla="*/ 67 w 1740"/>
                <a:gd name="T29" fmla="*/ 82 h 1590"/>
                <a:gd name="T30" fmla="*/ 58 w 1740"/>
                <a:gd name="T31" fmla="*/ 82 h 1590"/>
                <a:gd name="T32" fmla="*/ 52 w 1740"/>
                <a:gd name="T33" fmla="*/ 82 h 1590"/>
                <a:gd name="T34" fmla="*/ 46 w 1740"/>
                <a:gd name="T35" fmla="*/ 80 h 1590"/>
                <a:gd name="T36" fmla="*/ 45 w 1740"/>
                <a:gd name="T37" fmla="*/ 74 h 1590"/>
                <a:gd name="T38" fmla="*/ 52 w 1740"/>
                <a:gd name="T39" fmla="*/ 70 h 1590"/>
                <a:gd name="T40" fmla="*/ 52 w 1740"/>
                <a:gd name="T41" fmla="*/ 64 h 1590"/>
                <a:gd name="T42" fmla="*/ 42 w 1740"/>
                <a:gd name="T43" fmla="*/ 53 h 1590"/>
                <a:gd name="T44" fmla="*/ 35 w 1740"/>
                <a:gd name="T45" fmla="*/ 52 h 1590"/>
                <a:gd name="T46" fmla="*/ 20 w 1740"/>
                <a:gd name="T47" fmla="*/ 51 h 1590"/>
                <a:gd name="T48" fmla="*/ 17 w 1740"/>
                <a:gd name="T49" fmla="*/ 56 h 1590"/>
                <a:gd name="T50" fmla="*/ 11 w 1740"/>
                <a:gd name="T51" fmla="*/ 61 h 1590"/>
                <a:gd name="T52" fmla="*/ 7 w 1740"/>
                <a:gd name="T53" fmla="*/ 63 h 1590"/>
                <a:gd name="T54" fmla="*/ 0 w 1740"/>
                <a:gd name="T55" fmla="*/ 55 h 1590"/>
                <a:gd name="T56" fmla="*/ 2 w 1740"/>
                <a:gd name="T57" fmla="*/ 50 h 1590"/>
                <a:gd name="T58" fmla="*/ 0 w 1740"/>
                <a:gd name="T59" fmla="*/ 44 h 1590"/>
                <a:gd name="T60" fmla="*/ 2 w 1740"/>
                <a:gd name="T61" fmla="*/ 38 h 1590"/>
                <a:gd name="T62" fmla="*/ 7 w 1740"/>
                <a:gd name="T63" fmla="*/ 35 h 1590"/>
                <a:gd name="T64" fmla="*/ 11 w 1740"/>
                <a:gd name="T65" fmla="*/ 30 h 1590"/>
                <a:gd name="T66" fmla="*/ 21 w 1740"/>
                <a:gd name="T67" fmla="*/ 26 h 1590"/>
                <a:gd name="T68" fmla="*/ 29 w 1740"/>
                <a:gd name="T69" fmla="*/ 25 h 1590"/>
                <a:gd name="T70" fmla="*/ 35 w 1740"/>
                <a:gd name="T71" fmla="*/ 21 h 1590"/>
                <a:gd name="T72" fmla="*/ 36 w 1740"/>
                <a:gd name="T73" fmla="*/ 16 h 1590"/>
                <a:gd name="T74" fmla="*/ 41 w 1740"/>
                <a:gd name="T75" fmla="*/ 11 h 1590"/>
                <a:gd name="T76" fmla="*/ 51 w 1740"/>
                <a:gd name="T77" fmla="*/ 9 h 1590"/>
                <a:gd name="T78" fmla="*/ 59 w 1740"/>
                <a:gd name="T79" fmla="*/ 21 h 1590"/>
                <a:gd name="T80" fmla="*/ 65 w 1740"/>
                <a:gd name="T81" fmla="*/ 13 h 1590"/>
                <a:gd name="T82" fmla="*/ 73 w 1740"/>
                <a:gd name="T83" fmla="*/ 8 h 1590"/>
                <a:gd name="T84" fmla="*/ 82 w 1740"/>
                <a:gd name="T85" fmla="*/ 12 h 1590"/>
                <a:gd name="T86" fmla="*/ 88 w 1740"/>
                <a:gd name="T87" fmla="*/ 12 h 1590"/>
                <a:gd name="T88" fmla="*/ 99 w 1740"/>
                <a:gd name="T89" fmla="*/ 7 h 1590"/>
                <a:gd name="T90" fmla="*/ 114 w 1740"/>
                <a:gd name="T91" fmla="*/ 0 h 1590"/>
                <a:gd name="T92" fmla="*/ 117 w 1740"/>
                <a:gd name="T93" fmla="*/ 10 h 1590"/>
                <a:gd name="T94" fmla="*/ 132 w 1740"/>
                <a:gd name="T95" fmla="*/ 17 h 1590"/>
                <a:gd name="T96" fmla="*/ 140 w 1740"/>
                <a:gd name="T97" fmla="*/ 25 h 1590"/>
                <a:gd name="T98" fmla="*/ 140 w 1740"/>
                <a:gd name="T99" fmla="*/ 33 h 1590"/>
                <a:gd name="T100" fmla="*/ 140 w 1740"/>
                <a:gd name="T101" fmla="*/ 44 h 1590"/>
                <a:gd name="T102" fmla="*/ 138 w 1740"/>
                <a:gd name="T103" fmla="*/ 48 h 1590"/>
                <a:gd name="T104" fmla="*/ 141 w 1740"/>
                <a:gd name="T105" fmla="*/ 49 h 1590"/>
                <a:gd name="T106" fmla="*/ 146 w 1740"/>
                <a:gd name="T107" fmla="*/ 50 h 1590"/>
                <a:gd name="T108" fmla="*/ 149 w 1740"/>
                <a:gd name="T109" fmla="*/ 59 h 1590"/>
                <a:gd name="T110" fmla="*/ 148 w 1740"/>
                <a:gd name="T111" fmla="*/ 67 h 1590"/>
                <a:gd name="T112" fmla="*/ 141 w 1740"/>
                <a:gd name="T113" fmla="*/ 78 h 1590"/>
                <a:gd name="T114" fmla="*/ 141 w 1740"/>
                <a:gd name="T115" fmla="*/ 91 h 1590"/>
                <a:gd name="T116" fmla="*/ 138 w 1740"/>
                <a:gd name="T117" fmla="*/ 102 h 1590"/>
                <a:gd name="T118" fmla="*/ 138 w 1740"/>
                <a:gd name="T119" fmla="*/ 110 h 1590"/>
                <a:gd name="T120" fmla="*/ 144 w 1740"/>
                <a:gd name="T121" fmla="*/ 118 h 1590"/>
                <a:gd name="T122" fmla="*/ 143 w 1740"/>
                <a:gd name="T123" fmla="*/ 125 h 159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740"/>
                <a:gd name="T187" fmla="*/ 0 h 1590"/>
                <a:gd name="T188" fmla="*/ 1740 w 1740"/>
                <a:gd name="T189" fmla="*/ 1590 h 159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740" h="1590">
                  <a:moveTo>
                    <a:pt x="1638" y="1458"/>
                  </a:moveTo>
                  <a:lnTo>
                    <a:pt x="1638" y="1482"/>
                  </a:lnTo>
                  <a:lnTo>
                    <a:pt x="1638" y="1500"/>
                  </a:lnTo>
                  <a:lnTo>
                    <a:pt x="1626" y="1500"/>
                  </a:lnTo>
                  <a:lnTo>
                    <a:pt x="1620" y="1500"/>
                  </a:lnTo>
                  <a:lnTo>
                    <a:pt x="1614" y="1500"/>
                  </a:lnTo>
                  <a:lnTo>
                    <a:pt x="1614" y="1506"/>
                  </a:lnTo>
                  <a:lnTo>
                    <a:pt x="1614" y="1512"/>
                  </a:lnTo>
                  <a:lnTo>
                    <a:pt x="1620" y="1518"/>
                  </a:lnTo>
                  <a:lnTo>
                    <a:pt x="1614" y="1524"/>
                  </a:lnTo>
                  <a:lnTo>
                    <a:pt x="1590" y="1536"/>
                  </a:lnTo>
                  <a:lnTo>
                    <a:pt x="1584" y="1566"/>
                  </a:lnTo>
                  <a:lnTo>
                    <a:pt x="1578" y="1590"/>
                  </a:lnTo>
                  <a:lnTo>
                    <a:pt x="1548" y="1590"/>
                  </a:lnTo>
                  <a:lnTo>
                    <a:pt x="1542" y="1584"/>
                  </a:lnTo>
                  <a:lnTo>
                    <a:pt x="1542" y="1572"/>
                  </a:lnTo>
                  <a:lnTo>
                    <a:pt x="1536" y="1566"/>
                  </a:lnTo>
                  <a:lnTo>
                    <a:pt x="1536" y="1554"/>
                  </a:lnTo>
                  <a:lnTo>
                    <a:pt x="1536" y="1548"/>
                  </a:lnTo>
                  <a:lnTo>
                    <a:pt x="1506" y="1530"/>
                  </a:lnTo>
                  <a:lnTo>
                    <a:pt x="1488" y="1506"/>
                  </a:lnTo>
                  <a:lnTo>
                    <a:pt x="1464" y="1500"/>
                  </a:lnTo>
                  <a:lnTo>
                    <a:pt x="1470" y="1494"/>
                  </a:lnTo>
                  <a:lnTo>
                    <a:pt x="1470" y="1488"/>
                  </a:lnTo>
                  <a:lnTo>
                    <a:pt x="1470" y="1482"/>
                  </a:lnTo>
                  <a:lnTo>
                    <a:pt x="1428" y="1464"/>
                  </a:lnTo>
                  <a:lnTo>
                    <a:pt x="1404" y="1470"/>
                  </a:lnTo>
                  <a:lnTo>
                    <a:pt x="1398" y="1470"/>
                  </a:lnTo>
                  <a:lnTo>
                    <a:pt x="1392" y="1476"/>
                  </a:lnTo>
                  <a:lnTo>
                    <a:pt x="1386" y="1476"/>
                  </a:lnTo>
                  <a:lnTo>
                    <a:pt x="1386" y="1482"/>
                  </a:lnTo>
                  <a:lnTo>
                    <a:pt x="1392" y="1482"/>
                  </a:lnTo>
                  <a:lnTo>
                    <a:pt x="1386" y="1488"/>
                  </a:lnTo>
                  <a:lnTo>
                    <a:pt x="1386" y="1494"/>
                  </a:lnTo>
                  <a:lnTo>
                    <a:pt x="1380" y="1494"/>
                  </a:lnTo>
                  <a:lnTo>
                    <a:pt x="1380" y="1500"/>
                  </a:lnTo>
                  <a:lnTo>
                    <a:pt x="1380" y="1512"/>
                  </a:lnTo>
                  <a:lnTo>
                    <a:pt x="1380" y="1518"/>
                  </a:lnTo>
                  <a:lnTo>
                    <a:pt x="1380" y="1524"/>
                  </a:lnTo>
                  <a:lnTo>
                    <a:pt x="1380" y="1530"/>
                  </a:lnTo>
                  <a:lnTo>
                    <a:pt x="1374" y="1536"/>
                  </a:lnTo>
                  <a:lnTo>
                    <a:pt x="1374" y="1542"/>
                  </a:lnTo>
                  <a:lnTo>
                    <a:pt x="1368" y="1542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44" y="1554"/>
                  </a:lnTo>
                  <a:lnTo>
                    <a:pt x="1332" y="1560"/>
                  </a:lnTo>
                  <a:lnTo>
                    <a:pt x="1302" y="1554"/>
                  </a:lnTo>
                  <a:lnTo>
                    <a:pt x="1290" y="1554"/>
                  </a:lnTo>
                  <a:lnTo>
                    <a:pt x="1278" y="1542"/>
                  </a:lnTo>
                  <a:lnTo>
                    <a:pt x="1272" y="1530"/>
                  </a:lnTo>
                  <a:lnTo>
                    <a:pt x="1272" y="1524"/>
                  </a:lnTo>
                  <a:lnTo>
                    <a:pt x="1272" y="1518"/>
                  </a:lnTo>
                  <a:lnTo>
                    <a:pt x="1266" y="1518"/>
                  </a:lnTo>
                  <a:lnTo>
                    <a:pt x="1266" y="1512"/>
                  </a:lnTo>
                  <a:lnTo>
                    <a:pt x="1266" y="1506"/>
                  </a:lnTo>
                  <a:lnTo>
                    <a:pt x="1272" y="1506"/>
                  </a:lnTo>
                  <a:lnTo>
                    <a:pt x="1272" y="1500"/>
                  </a:lnTo>
                  <a:lnTo>
                    <a:pt x="1278" y="1500"/>
                  </a:lnTo>
                  <a:lnTo>
                    <a:pt x="1278" y="1494"/>
                  </a:lnTo>
                  <a:lnTo>
                    <a:pt x="1278" y="1488"/>
                  </a:lnTo>
                  <a:lnTo>
                    <a:pt x="1284" y="1488"/>
                  </a:lnTo>
                  <a:lnTo>
                    <a:pt x="1284" y="1482"/>
                  </a:lnTo>
                  <a:lnTo>
                    <a:pt x="1290" y="1476"/>
                  </a:lnTo>
                  <a:lnTo>
                    <a:pt x="1284" y="1470"/>
                  </a:lnTo>
                  <a:lnTo>
                    <a:pt x="1278" y="1458"/>
                  </a:lnTo>
                  <a:lnTo>
                    <a:pt x="1278" y="1452"/>
                  </a:lnTo>
                  <a:lnTo>
                    <a:pt x="1260" y="1428"/>
                  </a:lnTo>
                  <a:lnTo>
                    <a:pt x="1254" y="1416"/>
                  </a:lnTo>
                  <a:lnTo>
                    <a:pt x="1254" y="1410"/>
                  </a:lnTo>
                  <a:lnTo>
                    <a:pt x="1248" y="1398"/>
                  </a:lnTo>
                  <a:lnTo>
                    <a:pt x="1242" y="1398"/>
                  </a:lnTo>
                  <a:lnTo>
                    <a:pt x="1236" y="1398"/>
                  </a:lnTo>
                  <a:lnTo>
                    <a:pt x="1218" y="1386"/>
                  </a:lnTo>
                  <a:lnTo>
                    <a:pt x="1212" y="1362"/>
                  </a:lnTo>
                  <a:lnTo>
                    <a:pt x="1200" y="1344"/>
                  </a:lnTo>
                  <a:lnTo>
                    <a:pt x="1188" y="1338"/>
                  </a:lnTo>
                  <a:lnTo>
                    <a:pt x="1164" y="1338"/>
                  </a:lnTo>
                  <a:lnTo>
                    <a:pt x="1158" y="1344"/>
                  </a:lnTo>
                  <a:lnTo>
                    <a:pt x="1152" y="1350"/>
                  </a:lnTo>
                  <a:lnTo>
                    <a:pt x="1152" y="1356"/>
                  </a:lnTo>
                  <a:lnTo>
                    <a:pt x="1140" y="1362"/>
                  </a:lnTo>
                  <a:lnTo>
                    <a:pt x="1134" y="1380"/>
                  </a:lnTo>
                  <a:lnTo>
                    <a:pt x="1116" y="1398"/>
                  </a:lnTo>
                  <a:lnTo>
                    <a:pt x="1110" y="1416"/>
                  </a:lnTo>
                  <a:lnTo>
                    <a:pt x="1086" y="1416"/>
                  </a:lnTo>
                  <a:lnTo>
                    <a:pt x="1080" y="1410"/>
                  </a:lnTo>
                  <a:lnTo>
                    <a:pt x="1074" y="1410"/>
                  </a:lnTo>
                  <a:lnTo>
                    <a:pt x="1074" y="1404"/>
                  </a:lnTo>
                  <a:lnTo>
                    <a:pt x="1062" y="1404"/>
                  </a:lnTo>
                  <a:lnTo>
                    <a:pt x="1062" y="1380"/>
                  </a:lnTo>
                  <a:lnTo>
                    <a:pt x="1038" y="1380"/>
                  </a:lnTo>
                  <a:lnTo>
                    <a:pt x="1026" y="1350"/>
                  </a:lnTo>
                  <a:lnTo>
                    <a:pt x="996" y="1326"/>
                  </a:lnTo>
                  <a:lnTo>
                    <a:pt x="966" y="1314"/>
                  </a:lnTo>
                  <a:lnTo>
                    <a:pt x="954" y="1320"/>
                  </a:lnTo>
                  <a:lnTo>
                    <a:pt x="942" y="1338"/>
                  </a:lnTo>
                  <a:lnTo>
                    <a:pt x="930" y="1338"/>
                  </a:lnTo>
                  <a:lnTo>
                    <a:pt x="924" y="1350"/>
                  </a:lnTo>
                  <a:lnTo>
                    <a:pt x="906" y="1356"/>
                  </a:lnTo>
                  <a:lnTo>
                    <a:pt x="846" y="1356"/>
                  </a:lnTo>
                  <a:lnTo>
                    <a:pt x="834" y="1368"/>
                  </a:lnTo>
                  <a:lnTo>
                    <a:pt x="810" y="1362"/>
                  </a:lnTo>
                  <a:lnTo>
                    <a:pt x="792" y="1362"/>
                  </a:lnTo>
                  <a:lnTo>
                    <a:pt x="780" y="1368"/>
                  </a:lnTo>
                  <a:lnTo>
                    <a:pt x="762" y="1368"/>
                  </a:lnTo>
                  <a:lnTo>
                    <a:pt x="762" y="1362"/>
                  </a:lnTo>
                  <a:lnTo>
                    <a:pt x="750" y="1362"/>
                  </a:lnTo>
                  <a:lnTo>
                    <a:pt x="750" y="1338"/>
                  </a:lnTo>
                  <a:lnTo>
                    <a:pt x="762" y="1338"/>
                  </a:lnTo>
                  <a:lnTo>
                    <a:pt x="762" y="1326"/>
                  </a:lnTo>
                  <a:lnTo>
                    <a:pt x="762" y="1314"/>
                  </a:lnTo>
                  <a:lnTo>
                    <a:pt x="732" y="1314"/>
                  </a:lnTo>
                  <a:lnTo>
                    <a:pt x="726" y="1308"/>
                  </a:lnTo>
                  <a:lnTo>
                    <a:pt x="732" y="1284"/>
                  </a:lnTo>
                  <a:lnTo>
                    <a:pt x="732" y="1278"/>
                  </a:lnTo>
                  <a:lnTo>
                    <a:pt x="738" y="1272"/>
                  </a:lnTo>
                  <a:lnTo>
                    <a:pt x="738" y="1266"/>
                  </a:lnTo>
                  <a:lnTo>
                    <a:pt x="744" y="1266"/>
                  </a:lnTo>
                  <a:lnTo>
                    <a:pt x="750" y="1272"/>
                  </a:lnTo>
                  <a:lnTo>
                    <a:pt x="756" y="1266"/>
                  </a:lnTo>
                  <a:lnTo>
                    <a:pt x="762" y="1266"/>
                  </a:lnTo>
                  <a:lnTo>
                    <a:pt x="768" y="1260"/>
                  </a:lnTo>
                  <a:lnTo>
                    <a:pt x="774" y="1260"/>
                  </a:lnTo>
                  <a:lnTo>
                    <a:pt x="780" y="1254"/>
                  </a:lnTo>
                  <a:lnTo>
                    <a:pt x="774" y="1254"/>
                  </a:lnTo>
                  <a:lnTo>
                    <a:pt x="768" y="1254"/>
                  </a:lnTo>
                  <a:lnTo>
                    <a:pt x="774" y="1248"/>
                  </a:lnTo>
                  <a:lnTo>
                    <a:pt x="774" y="1242"/>
                  </a:lnTo>
                  <a:lnTo>
                    <a:pt x="780" y="1236"/>
                  </a:lnTo>
                  <a:lnTo>
                    <a:pt x="786" y="1236"/>
                  </a:lnTo>
                  <a:lnTo>
                    <a:pt x="792" y="1230"/>
                  </a:lnTo>
                  <a:lnTo>
                    <a:pt x="792" y="1236"/>
                  </a:lnTo>
                  <a:lnTo>
                    <a:pt x="798" y="1236"/>
                  </a:lnTo>
                  <a:lnTo>
                    <a:pt x="798" y="1230"/>
                  </a:lnTo>
                  <a:lnTo>
                    <a:pt x="804" y="1230"/>
                  </a:lnTo>
                  <a:lnTo>
                    <a:pt x="804" y="1218"/>
                  </a:lnTo>
                  <a:lnTo>
                    <a:pt x="804" y="1206"/>
                  </a:lnTo>
                  <a:lnTo>
                    <a:pt x="792" y="1188"/>
                  </a:lnTo>
                  <a:lnTo>
                    <a:pt x="768" y="1182"/>
                  </a:lnTo>
                  <a:lnTo>
                    <a:pt x="768" y="1170"/>
                  </a:lnTo>
                  <a:lnTo>
                    <a:pt x="774" y="1170"/>
                  </a:lnTo>
                  <a:lnTo>
                    <a:pt x="780" y="1170"/>
                  </a:lnTo>
                  <a:lnTo>
                    <a:pt x="786" y="1170"/>
                  </a:lnTo>
                  <a:lnTo>
                    <a:pt x="780" y="1152"/>
                  </a:lnTo>
                  <a:lnTo>
                    <a:pt x="780" y="1146"/>
                  </a:lnTo>
                  <a:lnTo>
                    <a:pt x="744" y="1140"/>
                  </a:lnTo>
                  <a:lnTo>
                    <a:pt x="732" y="1128"/>
                  </a:lnTo>
                  <a:lnTo>
                    <a:pt x="720" y="1122"/>
                  </a:lnTo>
                  <a:lnTo>
                    <a:pt x="732" y="1116"/>
                  </a:lnTo>
                  <a:lnTo>
                    <a:pt x="750" y="1104"/>
                  </a:lnTo>
                  <a:lnTo>
                    <a:pt x="756" y="1116"/>
                  </a:lnTo>
                  <a:lnTo>
                    <a:pt x="774" y="1116"/>
                  </a:lnTo>
                  <a:lnTo>
                    <a:pt x="780" y="1104"/>
                  </a:lnTo>
                  <a:lnTo>
                    <a:pt x="780" y="1080"/>
                  </a:lnTo>
                  <a:lnTo>
                    <a:pt x="786" y="1080"/>
                  </a:lnTo>
                  <a:lnTo>
                    <a:pt x="786" y="1074"/>
                  </a:lnTo>
                  <a:lnTo>
                    <a:pt x="792" y="1074"/>
                  </a:lnTo>
                  <a:lnTo>
                    <a:pt x="786" y="1068"/>
                  </a:lnTo>
                  <a:lnTo>
                    <a:pt x="786" y="1062"/>
                  </a:lnTo>
                  <a:lnTo>
                    <a:pt x="786" y="1056"/>
                  </a:lnTo>
                  <a:lnTo>
                    <a:pt x="792" y="1050"/>
                  </a:lnTo>
                  <a:lnTo>
                    <a:pt x="786" y="1020"/>
                  </a:lnTo>
                  <a:lnTo>
                    <a:pt x="780" y="960"/>
                  </a:lnTo>
                  <a:lnTo>
                    <a:pt x="768" y="942"/>
                  </a:lnTo>
                  <a:lnTo>
                    <a:pt x="732" y="936"/>
                  </a:lnTo>
                  <a:lnTo>
                    <a:pt x="732" y="942"/>
                  </a:lnTo>
                  <a:lnTo>
                    <a:pt x="726" y="942"/>
                  </a:lnTo>
                  <a:lnTo>
                    <a:pt x="720" y="936"/>
                  </a:lnTo>
                  <a:lnTo>
                    <a:pt x="714" y="942"/>
                  </a:lnTo>
                  <a:lnTo>
                    <a:pt x="708" y="942"/>
                  </a:lnTo>
                  <a:lnTo>
                    <a:pt x="702" y="942"/>
                  </a:lnTo>
                  <a:lnTo>
                    <a:pt x="690" y="936"/>
                  </a:lnTo>
                  <a:lnTo>
                    <a:pt x="684" y="936"/>
                  </a:lnTo>
                  <a:lnTo>
                    <a:pt x="678" y="936"/>
                  </a:lnTo>
                  <a:lnTo>
                    <a:pt x="672" y="936"/>
                  </a:lnTo>
                  <a:lnTo>
                    <a:pt x="666" y="942"/>
                  </a:lnTo>
                  <a:lnTo>
                    <a:pt x="660" y="942"/>
                  </a:lnTo>
                  <a:lnTo>
                    <a:pt x="654" y="942"/>
                  </a:lnTo>
                  <a:lnTo>
                    <a:pt x="648" y="942"/>
                  </a:lnTo>
                  <a:lnTo>
                    <a:pt x="642" y="936"/>
                  </a:lnTo>
                  <a:lnTo>
                    <a:pt x="636" y="936"/>
                  </a:lnTo>
                  <a:lnTo>
                    <a:pt x="630" y="930"/>
                  </a:lnTo>
                  <a:lnTo>
                    <a:pt x="618" y="930"/>
                  </a:lnTo>
                  <a:lnTo>
                    <a:pt x="612" y="930"/>
                  </a:lnTo>
                  <a:lnTo>
                    <a:pt x="606" y="936"/>
                  </a:lnTo>
                  <a:lnTo>
                    <a:pt x="600" y="942"/>
                  </a:lnTo>
                  <a:lnTo>
                    <a:pt x="600" y="936"/>
                  </a:lnTo>
                  <a:lnTo>
                    <a:pt x="594" y="930"/>
                  </a:lnTo>
                  <a:lnTo>
                    <a:pt x="588" y="930"/>
                  </a:lnTo>
                  <a:lnTo>
                    <a:pt x="582" y="930"/>
                  </a:lnTo>
                  <a:lnTo>
                    <a:pt x="576" y="930"/>
                  </a:lnTo>
                  <a:lnTo>
                    <a:pt x="564" y="936"/>
                  </a:lnTo>
                  <a:lnTo>
                    <a:pt x="558" y="936"/>
                  </a:lnTo>
                  <a:lnTo>
                    <a:pt x="546" y="924"/>
                  </a:lnTo>
                  <a:lnTo>
                    <a:pt x="540" y="924"/>
                  </a:lnTo>
                  <a:lnTo>
                    <a:pt x="534" y="918"/>
                  </a:lnTo>
                  <a:lnTo>
                    <a:pt x="528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6" y="918"/>
                  </a:lnTo>
                  <a:lnTo>
                    <a:pt x="516" y="912"/>
                  </a:lnTo>
                  <a:lnTo>
                    <a:pt x="510" y="894"/>
                  </a:lnTo>
                  <a:lnTo>
                    <a:pt x="510" y="882"/>
                  </a:lnTo>
                  <a:lnTo>
                    <a:pt x="510" y="876"/>
                  </a:lnTo>
                  <a:lnTo>
                    <a:pt x="516" y="870"/>
                  </a:lnTo>
                  <a:lnTo>
                    <a:pt x="510" y="864"/>
                  </a:lnTo>
                  <a:lnTo>
                    <a:pt x="516" y="858"/>
                  </a:lnTo>
                  <a:lnTo>
                    <a:pt x="522" y="858"/>
                  </a:lnTo>
                  <a:lnTo>
                    <a:pt x="528" y="858"/>
                  </a:lnTo>
                  <a:lnTo>
                    <a:pt x="522" y="852"/>
                  </a:lnTo>
                  <a:lnTo>
                    <a:pt x="528" y="852"/>
                  </a:lnTo>
                  <a:lnTo>
                    <a:pt x="528" y="846"/>
                  </a:lnTo>
                  <a:lnTo>
                    <a:pt x="552" y="846"/>
                  </a:lnTo>
                  <a:lnTo>
                    <a:pt x="558" y="840"/>
                  </a:lnTo>
                  <a:lnTo>
                    <a:pt x="564" y="828"/>
                  </a:lnTo>
                  <a:lnTo>
                    <a:pt x="570" y="816"/>
                  </a:lnTo>
                  <a:lnTo>
                    <a:pt x="582" y="810"/>
                  </a:lnTo>
                  <a:lnTo>
                    <a:pt x="588" y="804"/>
                  </a:lnTo>
                  <a:lnTo>
                    <a:pt x="594" y="804"/>
                  </a:lnTo>
                  <a:lnTo>
                    <a:pt x="594" y="792"/>
                  </a:lnTo>
                  <a:lnTo>
                    <a:pt x="600" y="786"/>
                  </a:lnTo>
                  <a:lnTo>
                    <a:pt x="606" y="780"/>
                  </a:lnTo>
                  <a:lnTo>
                    <a:pt x="612" y="774"/>
                  </a:lnTo>
                  <a:lnTo>
                    <a:pt x="618" y="774"/>
                  </a:lnTo>
                  <a:lnTo>
                    <a:pt x="618" y="768"/>
                  </a:lnTo>
                  <a:lnTo>
                    <a:pt x="618" y="762"/>
                  </a:lnTo>
                  <a:lnTo>
                    <a:pt x="624" y="756"/>
                  </a:lnTo>
                  <a:lnTo>
                    <a:pt x="618" y="750"/>
                  </a:lnTo>
                  <a:lnTo>
                    <a:pt x="618" y="744"/>
                  </a:lnTo>
                  <a:lnTo>
                    <a:pt x="600" y="738"/>
                  </a:lnTo>
                  <a:lnTo>
                    <a:pt x="558" y="744"/>
                  </a:lnTo>
                  <a:lnTo>
                    <a:pt x="552" y="732"/>
                  </a:lnTo>
                  <a:lnTo>
                    <a:pt x="546" y="720"/>
                  </a:lnTo>
                  <a:lnTo>
                    <a:pt x="564" y="702"/>
                  </a:lnTo>
                  <a:lnTo>
                    <a:pt x="570" y="684"/>
                  </a:lnTo>
                  <a:lnTo>
                    <a:pt x="564" y="648"/>
                  </a:lnTo>
                  <a:lnTo>
                    <a:pt x="534" y="624"/>
                  </a:lnTo>
                  <a:lnTo>
                    <a:pt x="504" y="612"/>
                  </a:lnTo>
                  <a:lnTo>
                    <a:pt x="498" y="606"/>
                  </a:lnTo>
                  <a:lnTo>
                    <a:pt x="492" y="600"/>
                  </a:lnTo>
                  <a:lnTo>
                    <a:pt x="486" y="606"/>
                  </a:lnTo>
                  <a:lnTo>
                    <a:pt x="480" y="558"/>
                  </a:lnTo>
                  <a:lnTo>
                    <a:pt x="462" y="546"/>
                  </a:lnTo>
                  <a:lnTo>
                    <a:pt x="408" y="540"/>
                  </a:lnTo>
                  <a:lnTo>
                    <a:pt x="408" y="546"/>
                  </a:lnTo>
                  <a:lnTo>
                    <a:pt x="408" y="558"/>
                  </a:lnTo>
                  <a:lnTo>
                    <a:pt x="408" y="564"/>
                  </a:lnTo>
                  <a:lnTo>
                    <a:pt x="408" y="570"/>
                  </a:lnTo>
                  <a:lnTo>
                    <a:pt x="414" y="582"/>
                  </a:lnTo>
                  <a:lnTo>
                    <a:pt x="408" y="594"/>
                  </a:lnTo>
                  <a:lnTo>
                    <a:pt x="414" y="594"/>
                  </a:lnTo>
                  <a:lnTo>
                    <a:pt x="408" y="600"/>
                  </a:lnTo>
                  <a:lnTo>
                    <a:pt x="348" y="600"/>
                  </a:lnTo>
                  <a:lnTo>
                    <a:pt x="324" y="600"/>
                  </a:lnTo>
                  <a:lnTo>
                    <a:pt x="324" y="612"/>
                  </a:lnTo>
                  <a:lnTo>
                    <a:pt x="306" y="618"/>
                  </a:lnTo>
                  <a:lnTo>
                    <a:pt x="312" y="618"/>
                  </a:lnTo>
                  <a:lnTo>
                    <a:pt x="294" y="588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76"/>
                  </a:lnTo>
                  <a:lnTo>
                    <a:pt x="240" y="582"/>
                  </a:lnTo>
                  <a:lnTo>
                    <a:pt x="234" y="582"/>
                  </a:lnTo>
                  <a:lnTo>
                    <a:pt x="228" y="588"/>
                  </a:lnTo>
                  <a:lnTo>
                    <a:pt x="222" y="588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8" y="600"/>
                  </a:lnTo>
                  <a:lnTo>
                    <a:pt x="192" y="612"/>
                  </a:lnTo>
                  <a:lnTo>
                    <a:pt x="192" y="618"/>
                  </a:lnTo>
                  <a:lnTo>
                    <a:pt x="198" y="624"/>
                  </a:lnTo>
                  <a:lnTo>
                    <a:pt x="192" y="624"/>
                  </a:lnTo>
                  <a:lnTo>
                    <a:pt x="192" y="630"/>
                  </a:lnTo>
                  <a:lnTo>
                    <a:pt x="192" y="642"/>
                  </a:lnTo>
                  <a:lnTo>
                    <a:pt x="180" y="648"/>
                  </a:lnTo>
                  <a:lnTo>
                    <a:pt x="174" y="654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6"/>
                  </a:lnTo>
                  <a:lnTo>
                    <a:pt x="156" y="672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90"/>
                  </a:lnTo>
                  <a:lnTo>
                    <a:pt x="132" y="690"/>
                  </a:lnTo>
                  <a:lnTo>
                    <a:pt x="126" y="702"/>
                  </a:lnTo>
                  <a:lnTo>
                    <a:pt x="132" y="708"/>
                  </a:lnTo>
                  <a:lnTo>
                    <a:pt x="126" y="708"/>
                  </a:lnTo>
                  <a:lnTo>
                    <a:pt x="120" y="708"/>
                  </a:lnTo>
                  <a:lnTo>
                    <a:pt x="114" y="708"/>
                  </a:lnTo>
                  <a:lnTo>
                    <a:pt x="108" y="708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78" y="720"/>
                  </a:lnTo>
                  <a:lnTo>
                    <a:pt x="72" y="720"/>
                  </a:lnTo>
                  <a:lnTo>
                    <a:pt x="66" y="720"/>
                  </a:lnTo>
                  <a:lnTo>
                    <a:pt x="54" y="732"/>
                  </a:lnTo>
                  <a:lnTo>
                    <a:pt x="48" y="702"/>
                  </a:lnTo>
                  <a:lnTo>
                    <a:pt x="36" y="666"/>
                  </a:lnTo>
                  <a:lnTo>
                    <a:pt x="0" y="660"/>
                  </a:lnTo>
                  <a:lnTo>
                    <a:pt x="6" y="660"/>
                  </a:lnTo>
                  <a:lnTo>
                    <a:pt x="6" y="654"/>
                  </a:lnTo>
                  <a:lnTo>
                    <a:pt x="6" y="648"/>
                  </a:lnTo>
                  <a:lnTo>
                    <a:pt x="6" y="642"/>
                  </a:lnTo>
                  <a:lnTo>
                    <a:pt x="6" y="624"/>
                  </a:lnTo>
                  <a:lnTo>
                    <a:pt x="6" y="612"/>
                  </a:lnTo>
                  <a:lnTo>
                    <a:pt x="6" y="606"/>
                  </a:lnTo>
                  <a:lnTo>
                    <a:pt x="12" y="612"/>
                  </a:lnTo>
                  <a:lnTo>
                    <a:pt x="18" y="606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30" y="594"/>
                  </a:lnTo>
                  <a:lnTo>
                    <a:pt x="30" y="588"/>
                  </a:lnTo>
                  <a:lnTo>
                    <a:pt x="30" y="582"/>
                  </a:lnTo>
                  <a:lnTo>
                    <a:pt x="24" y="576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18" y="558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36" y="528"/>
                  </a:lnTo>
                  <a:lnTo>
                    <a:pt x="30" y="522"/>
                  </a:lnTo>
                  <a:lnTo>
                    <a:pt x="24" y="522"/>
                  </a:lnTo>
                  <a:lnTo>
                    <a:pt x="18" y="510"/>
                  </a:lnTo>
                  <a:lnTo>
                    <a:pt x="12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8" y="474"/>
                  </a:lnTo>
                  <a:lnTo>
                    <a:pt x="12" y="468"/>
                  </a:lnTo>
                  <a:lnTo>
                    <a:pt x="12" y="462"/>
                  </a:lnTo>
                  <a:lnTo>
                    <a:pt x="18" y="456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0" y="420"/>
                  </a:lnTo>
                  <a:lnTo>
                    <a:pt x="30" y="414"/>
                  </a:lnTo>
                  <a:lnTo>
                    <a:pt x="48" y="414"/>
                  </a:lnTo>
                  <a:lnTo>
                    <a:pt x="54" y="408"/>
                  </a:lnTo>
                  <a:lnTo>
                    <a:pt x="60" y="402"/>
                  </a:lnTo>
                  <a:lnTo>
                    <a:pt x="66" y="402"/>
                  </a:lnTo>
                  <a:lnTo>
                    <a:pt x="72" y="402"/>
                  </a:lnTo>
                  <a:lnTo>
                    <a:pt x="78" y="408"/>
                  </a:lnTo>
                  <a:lnTo>
                    <a:pt x="84" y="396"/>
                  </a:lnTo>
                  <a:lnTo>
                    <a:pt x="90" y="390"/>
                  </a:lnTo>
                  <a:lnTo>
                    <a:pt x="90" y="378"/>
                  </a:lnTo>
                  <a:lnTo>
                    <a:pt x="96" y="372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8" y="354"/>
                  </a:lnTo>
                  <a:lnTo>
                    <a:pt x="114" y="348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32" y="336"/>
                  </a:lnTo>
                  <a:lnTo>
                    <a:pt x="132" y="330"/>
                  </a:lnTo>
                  <a:lnTo>
                    <a:pt x="138" y="324"/>
                  </a:lnTo>
                  <a:lnTo>
                    <a:pt x="138" y="318"/>
                  </a:lnTo>
                  <a:lnTo>
                    <a:pt x="144" y="306"/>
                  </a:lnTo>
                  <a:lnTo>
                    <a:pt x="156" y="306"/>
                  </a:lnTo>
                  <a:lnTo>
                    <a:pt x="186" y="300"/>
                  </a:lnTo>
                  <a:lnTo>
                    <a:pt x="198" y="300"/>
                  </a:lnTo>
                  <a:lnTo>
                    <a:pt x="210" y="300"/>
                  </a:lnTo>
                  <a:lnTo>
                    <a:pt x="222" y="300"/>
                  </a:lnTo>
                  <a:lnTo>
                    <a:pt x="246" y="300"/>
                  </a:lnTo>
                  <a:lnTo>
                    <a:pt x="264" y="312"/>
                  </a:lnTo>
                  <a:lnTo>
                    <a:pt x="270" y="312"/>
                  </a:lnTo>
                  <a:lnTo>
                    <a:pt x="282" y="306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300" y="306"/>
                  </a:lnTo>
                  <a:lnTo>
                    <a:pt x="312" y="306"/>
                  </a:lnTo>
                  <a:lnTo>
                    <a:pt x="318" y="300"/>
                  </a:lnTo>
                  <a:lnTo>
                    <a:pt x="324" y="300"/>
                  </a:lnTo>
                  <a:lnTo>
                    <a:pt x="330" y="294"/>
                  </a:lnTo>
                  <a:lnTo>
                    <a:pt x="336" y="288"/>
                  </a:lnTo>
                  <a:lnTo>
                    <a:pt x="354" y="288"/>
                  </a:lnTo>
                  <a:lnTo>
                    <a:pt x="360" y="288"/>
                  </a:lnTo>
                  <a:lnTo>
                    <a:pt x="366" y="282"/>
                  </a:lnTo>
                  <a:lnTo>
                    <a:pt x="372" y="282"/>
                  </a:lnTo>
                  <a:lnTo>
                    <a:pt x="378" y="282"/>
                  </a:lnTo>
                  <a:lnTo>
                    <a:pt x="384" y="276"/>
                  </a:lnTo>
                  <a:lnTo>
                    <a:pt x="384" y="270"/>
                  </a:lnTo>
                  <a:lnTo>
                    <a:pt x="390" y="264"/>
                  </a:lnTo>
                  <a:lnTo>
                    <a:pt x="402" y="258"/>
                  </a:lnTo>
                  <a:lnTo>
                    <a:pt x="402" y="252"/>
                  </a:lnTo>
                  <a:lnTo>
                    <a:pt x="402" y="246"/>
                  </a:lnTo>
                  <a:lnTo>
                    <a:pt x="408" y="234"/>
                  </a:lnTo>
                  <a:lnTo>
                    <a:pt x="414" y="234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14" y="216"/>
                  </a:lnTo>
                  <a:lnTo>
                    <a:pt x="414" y="210"/>
                  </a:lnTo>
                  <a:lnTo>
                    <a:pt x="420" y="210"/>
                  </a:lnTo>
                  <a:lnTo>
                    <a:pt x="414" y="198"/>
                  </a:lnTo>
                  <a:lnTo>
                    <a:pt x="414" y="192"/>
                  </a:lnTo>
                  <a:lnTo>
                    <a:pt x="420" y="192"/>
                  </a:lnTo>
                  <a:lnTo>
                    <a:pt x="420" y="186"/>
                  </a:lnTo>
                  <a:lnTo>
                    <a:pt x="420" y="174"/>
                  </a:lnTo>
                  <a:lnTo>
                    <a:pt x="420" y="168"/>
                  </a:lnTo>
                  <a:lnTo>
                    <a:pt x="426" y="162"/>
                  </a:lnTo>
                  <a:lnTo>
                    <a:pt x="432" y="156"/>
                  </a:lnTo>
                  <a:lnTo>
                    <a:pt x="438" y="144"/>
                  </a:lnTo>
                  <a:lnTo>
                    <a:pt x="444" y="144"/>
                  </a:lnTo>
                  <a:lnTo>
                    <a:pt x="450" y="138"/>
                  </a:lnTo>
                  <a:lnTo>
                    <a:pt x="456" y="138"/>
                  </a:lnTo>
                  <a:lnTo>
                    <a:pt x="462" y="132"/>
                  </a:lnTo>
                  <a:lnTo>
                    <a:pt x="462" y="126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0"/>
                  </a:lnTo>
                  <a:lnTo>
                    <a:pt x="486" y="108"/>
                  </a:lnTo>
                  <a:lnTo>
                    <a:pt x="492" y="108"/>
                  </a:lnTo>
                  <a:lnTo>
                    <a:pt x="498" y="102"/>
                  </a:lnTo>
                  <a:lnTo>
                    <a:pt x="504" y="96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40" y="102"/>
                  </a:lnTo>
                  <a:lnTo>
                    <a:pt x="552" y="108"/>
                  </a:lnTo>
                  <a:lnTo>
                    <a:pt x="582" y="102"/>
                  </a:lnTo>
                  <a:lnTo>
                    <a:pt x="594" y="126"/>
                  </a:lnTo>
                  <a:lnTo>
                    <a:pt x="594" y="144"/>
                  </a:lnTo>
                  <a:lnTo>
                    <a:pt x="588" y="156"/>
                  </a:lnTo>
                  <a:lnTo>
                    <a:pt x="588" y="168"/>
                  </a:lnTo>
                  <a:lnTo>
                    <a:pt x="582" y="180"/>
                  </a:lnTo>
                  <a:lnTo>
                    <a:pt x="570" y="192"/>
                  </a:lnTo>
                  <a:lnTo>
                    <a:pt x="594" y="192"/>
                  </a:lnTo>
                  <a:lnTo>
                    <a:pt x="618" y="198"/>
                  </a:lnTo>
                  <a:lnTo>
                    <a:pt x="642" y="210"/>
                  </a:lnTo>
                  <a:lnTo>
                    <a:pt x="660" y="234"/>
                  </a:lnTo>
                  <a:lnTo>
                    <a:pt x="678" y="246"/>
                  </a:lnTo>
                  <a:lnTo>
                    <a:pt x="684" y="252"/>
                  </a:lnTo>
                  <a:lnTo>
                    <a:pt x="702" y="252"/>
                  </a:lnTo>
                  <a:lnTo>
                    <a:pt x="732" y="234"/>
                  </a:lnTo>
                  <a:lnTo>
                    <a:pt x="732" y="222"/>
                  </a:lnTo>
                  <a:lnTo>
                    <a:pt x="720" y="216"/>
                  </a:lnTo>
                  <a:lnTo>
                    <a:pt x="714" y="198"/>
                  </a:lnTo>
                  <a:lnTo>
                    <a:pt x="714" y="174"/>
                  </a:lnTo>
                  <a:lnTo>
                    <a:pt x="720" y="162"/>
                  </a:lnTo>
                  <a:lnTo>
                    <a:pt x="726" y="162"/>
                  </a:lnTo>
                  <a:lnTo>
                    <a:pt x="732" y="156"/>
                  </a:lnTo>
                  <a:lnTo>
                    <a:pt x="744" y="150"/>
                  </a:lnTo>
                  <a:lnTo>
                    <a:pt x="774" y="162"/>
                  </a:lnTo>
                  <a:lnTo>
                    <a:pt x="786" y="162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16" y="150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2" y="132"/>
                  </a:lnTo>
                  <a:lnTo>
                    <a:pt x="822" y="114"/>
                  </a:lnTo>
                  <a:lnTo>
                    <a:pt x="828" y="108"/>
                  </a:lnTo>
                  <a:lnTo>
                    <a:pt x="834" y="96"/>
                  </a:lnTo>
                  <a:lnTo>
                    <a:pt x="846" y="96"/>
                  </a:lnTo>
                  <a:lnTo>
                    <a:pt x="858" y="90"/>
                  </a:lnTo>
                  <a:lnTo>
                    <a:pt x="870" y="84"/>
                  </a:lnTo>
                  <a:lnTo>
                    <a:pt x="888" y="84"/>
                  </a:lnTo>
                  <a:lnTo>
                    <a:pt x="894" y="90"/>
                  </a:lnTo>
                  <a:lnTo>
                    <a:pt x="894" y="102"/>
                  </a:lnTo>
                  <a:lnTo>
                    <a:pt x="900" y="102"/>
                  </a:lnTo>
                  <a:lnTo>
                    <a:pt x="906" y="114"/>
                  </a:lnTo>
                  <a:lnTo>
                    <a:pt x="930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54" y="138"/>
                  </a:lnTo>
                  <a:lnTo>
                    <a:pt x="966" y="144"/>
                  </a:lnTo>
                  <a:lnTo>
                    <a:pt x="966" y="150"/>
                  </a:lnTo>
                  <a:lnTo>
                    <a:pt x="972" y="150"/>
                  </a:lnTo>
                  <a:lnTo>
                    <a:pt x="978" y="150"/>
                  </a:lnTo>
                  <a:lnTo>
                    <a:pt x="978" y="144"/>
                  </a:lnTo>
                  <a:lnTo>
                    <a:pt x="984" y="144"/>
                  </a:lnTo>
                  <a:lnTo>
                    <a:pt x="990" y="138"/>
                  </a:lnTo>
                  <a:lnTo>
                    <a:pt x="996" y="138"/>
                  </a:lnTo>
                  <a:lnTo>
                    <a:pt x="1002" y="138"/>
                  </a:lnTo>
                  <a:lnTo>
                    <a:pt x="1008" y="138"/>
                  </a:lnTo>
                  <a:lnTo>
                    <a:pt x="1026" y="132"/>
                  </a:lnTo>
                  <a:lnTo>
                    <a:pt x="1044" y="126"/>
                  </a:lnTo>
                  <a:lnTo>
                    <a:pt x="1056" y="120"/>
                  </a:lnTo>
                  <a:lnTo>
                    <a:pt x="1062" y="108"/>
                  </a:lnTo>
                  <a:lnTo>
                    <a:pt x="1056" y="102"/>
                  </a:lnTo>
                  <a:lnTo>
                    <a:pt x="1062" y="96"/>
                  </a:lnTo>
                  <a:lnTo>
                    <a:pt x="1074" y="90"/>
                  </a:lnTo>
                  <a:lnTo>
                    <a:pt x="1080" y="84"/>
                  </a:lnTo>
                  <a:lnTo>
                    <a:pt x="1128" y="84"/>
                  </a:lnTo>
                  <a:lnTo>
                    <a:pt x="1134" y="84"/>
                  </a:lnTo>
                  <a:lnTo>
                    <a:pt x="1140" y="78"/>
                  </a:lnTo>
                  <a:lnTo>
                    <a:pt x="1152" y="72"/>
                  </a:lnTo>
                  <a:lnTo>
                    <a:pt x="1164" y="66"/>
                  </a:lnTo>
                  <a:lnTo>
                    <a:pt x="1170" y="60"/>
                  </a:lnTo>
                  <a:lnTo>
                    <a:pt x="1188" y="48"/>
                  </a:lnTo>
                  <a:lnTo>
                    <a:pt x="1200" y="36"/>
                  </a:lnTo>
                  <a:lnTo>
                    <a:pt x="1218" y="24"/>
                  </a:lnTo>
                  <a:lnTo>
                    <a:pt x="1248" y="24"/>
                  </a:lnTo>
                  <a:lnTo>
                    <a:pt x="1272" y="24"/>
                  </a:lnTo>
                  <a:lnTo>
                    <a:pt x="1284" y="12"/>
                  </a:lnTo>
                  <a:lnTo>
                    <a:pt x="1302" y="0"/>
                  </a:lnTo>
                  <a:lnTo>
                    <a:pt x="1314" y="0"/>
                  </a:lnTo>
                  <a:lnTo>
                    <a:pt x="1326" y="18"/>
                  </a:lnTo>
                  <a:lnTo>
                    <a:pt x="1338" y="30"/>
                  </a:lnTo>
                  <a:lnTo>
                    <a:pt x="1338" y="54"/>
                  </a:lnTo>
                  <a:lnTo>
                    <a:pt x="1332" y="72"/>
                  </a:lnTo>
                  <a:lnTo>
                    <a:pt x="1326" y="72"/>
                  </a:lnTo>
                  <a:lnTo>
                    <a:pt x="1326" y="78"/>
                  </a:lnTo>
                  <a:lnTo>
                    <a:pt x="1326" y="102"/>
                  </a:lnTo>
                  <a:lnTo>
                    <a:pt x="1332" y="102"/>
                  </a:lnTo>
                  <a:lnTo>
                    <a:pt x="1332" y="108"/>
                  </a:lnTo>
                  <a:lnTo>
                    <a:pt x="1344" y="114"/>
                  </a:lnTo>
                  <a:lnTo>
                    <a:pt x="1350" y="114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404" y="132"/>
                  </a:lnTo>
                  <a:lnTo>
                    <a:pt x="1404" y="138"/>
                  </a:lnTo>
                  <a:lnTo>
                    <a:pt x="1410" y="150"/>
                  </a:lnTo>
                  <a:lnTo>
                    <a:pt x="1416" y="162"/>
                  </a:lnTo>
                  <a:lnTo>
                    <a:pt x="1428" y="168"/>
                  </a:lnTo>
                  <a:lnTo>
                    <a:pt x="1440" y="180"/>
                  </a:lnTo>
                  <a:lnTo>
                    <a:pt x="1476" y="174"/>
                  </a:lnTo>
                  <a:lnTo>
                    <a:pt x="1494" y="174"/>
                  </a:lnTo>
                  <a:lnTo>
                    <a:pt x="1512" y="192"/>
                  </a:lnTo>
                  <a:lnTo>
                    <a:pt x="1518" y="204"/>
                  </a:lnTo>
                  <a:lnTo>
                    <a:pt x="1530" y="216"/>
                  </a:lnTo>
                  <a:lnTo>
                    <a:pt x="1548" y="228"/>
                  </a:lnTo>
                  <a:lnTo>
                    <a:pt x="1548" y="234"/>
                  </a:lnTo>
                  <a:lnTo>
                    <a:pt x="1542" y="246"/>
                  </a:lnTo>
                  <a:lnTo>
                    <a:pt x="1560" y="246"/>
                  </a:lnTo>
                  <a:lnTo>
                    <a:pt x="1560" y="252"/>
                  </a:lnTo>
                  <a:lnTo>
                    <a:pt x="1566" y="258"/>
                  </a:lnTo>
                  <a:lnTo>
                    <a:pt x="1578" y="270"/>
                  </a:lnTo>
                  <a:lnTo>
                    <a:pt x="1596" y="270"/>
                  </a:lnTo>
                  <a:lnTo>
                    <a:pt x="1602" y="288"/>
                  </a:lnTo>
                  <a:lnTo>
                    <a:pt x="1608" y="306"/>
                  </a:lnTo>
                  <a:lnTo>
                    <a:pt x="1608" y="318"/>
                  </a:lnTo>
                  <a:lnTo>
                    <a:pt x="1608" y="324"/>
                  </a:lnTo>
                  <a:lnTo>
                    <a:pt x="1614" y="330"/>
                  </a:lnTo>
                  <a:lnTo>
                    <a:pt x="1614" y="336"/>
                  </a:lnTo>
                  <a:lnTo>
                    <a:pt x="1614" y="342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08" y="390"/>
                  </a:lnTo>
                  <a:lnTo>
                    <a:pt x="1602" y="390"/>
                  </a:lnTo>
                  <a:lnTo>
                    <a:pt x="1602" y="396"/>
                  </a:lnTo>
                  <a:lnTo>
                    <a:pt x="1584" y="420"/>
                  </a:lnTo>
                  <a:lnTo>
                    <a:pt x="1584" y="426"/>
                  </a:lnTo>
                  <a:lnTo>
                    <a:pt x="1602" y="474"/>
                  </a:lnTo>
                  <a:lnTo>
                    <a:pt x="1608" y="480"/>
                  </a:lnTo>
                  <a:lnTo>
                    <a:pt x="1608" y="486"/>
                  </a:lnTo>
                  <a:lnTo>
                    <a:pt x="1614" y="486"/>
                  </a:lnTo>
                  <a:lnTo>
                    <a:pt x="1608" y="504"/>
                  </a:lnTo>
                  <a:lnTo>
                    <a:pt x="1572" y="504"/>
                  </a:lnTo>
                  <a:lnTo>
                    <a:pt x="1560" y="510"/>
                  </a:lnTo>
                  <a:lnTo>
                    <a:pt x="1554" y="522"/>
                  </a:lnTo>
                  <a:lnTo>
                    <a:pt x="1560" y="552"/>
                  </a:lnTo>
                  <a:lnTo>
                    <a:pt x="1566" y="552"/>
                  </a:lnTo>
                  <a:lnTo>
                    <a:pt x="1566" y="558"/>
                  </a:lnTo>
                  <a:lnTo>
                    <a:pt x="1572" y="558"/>
                  </a:lnTo>
                  <a:lnTo>
                    <a:pt x="1578" y="558"/>
                  </a:lnTo>
                  <a:lnTo>
                    <a:pt x="1578" y="552"/>
                  </a:lnTo>
                  <a:lnTo>
                    <a:pt x="1584" y="552"/>
                  </a:lnTo>
                  <a:lnTo>
                    <a:pt x="1590" y="552"/>
                  </a:lnTo>
                  <a:lnTo>
                    <a:pt x="1590" y="546"/>
                  </a:lnTo>
                  <a:lnTo>
                    <a:pt x="1596" y="546"/>
                  </a:lnTo>
                  <a:lnTo>
                    <a:pt x="1602" y="552"/>
                  </a:lnTo>
                  <a:lnTo>
                    <a:pt x="1602" y="546"/>
                  </a:lnTo>
                  <a:lnTo>
                    <a:pt x="1608" y="546"/>
                  </a:lnTo>
                  <a:lnTo>
                    <a:pt x="1608" y="552"/>
                  </a:lnTo>
                  <a:lnTo>
                    <a:pt x="1614" y="552"/>
                  </a:lnTo>
                  <a:lnTo>
                    <a:pt x="1614" y="546"/>
                  </a:lnTo>
                  <a:lnTo>
                    <a:pt x="1620" y="552"/>
                  </a:lnTo>
                  <a:lnTo>
                    <a:pt x="1626" y="552"/>
                  </a:lnTo>
                  <a:lnTo>
                    <a:pt x="1626" y="558"/>
                  </a:lnTo>
                  <a:lnTo>
                    <a:pt x="1632" y="558"/>
                  </a:lnTo>
                  <a:lnTo>
                    <a:pt x="1638" y="558"/>
                  </a:lnTo>
                  <a:lnTo>
                    <a:pt x="1644" y="558"/>
                  </a:lnTo>
                  <a:lnTo>
                    <a:pt x="1650" y="558"/>
                  </a:lnTo>
                  <a:lnTo>
                    <a:pt x="1650" y="564"/>
                  </a:lnTo>
                  <a:lnTo>
                    <a:pt x="1656" y="564"/>
                  </a:lnTo>
                  <a:lnTo>
                    <a:pt x="1662" y="564"/>
                  </a:lnTo>
                  <a:lnTo>
                    <a:pt x="1668" y="564"/>
                  </a:lnTo>
                  <a:lnTo>
                    <a:pt x="1668" y="570"/>
                  </a:lnTo>
                  <a:lnTo>
                    <a:pt x="1674" y="570"/>
                  </a:lnTo>
                  <a:lnTo>
                    <a:pt x="1680" y="570"/>
                  </a:lnTo>
                  <a:lnTo>
                    <a:pt x="1686" y="576"/>
                  </a:lnTo>
                  <a:lnTo>
                    <a:pt x="1686" y="582"/>
                  </a:lnTo>
                  <a:lnTo>
                    <a:pt x="1710" y="588"/>
                  </a:lnTo>
                  <a:lnTo>
                    <a:pt x="1710" y="594"/>
                  </a:lnTo>
                  <a:lnTo>
                    <a:pt x="1704" y="600"/>
                  </a:lnTo>
                  <a:lnTo>
                    <a:pt x="1710" y="624"/>
                  </a:lnTo>
                  <a:lnTo>
                    <a:pt x="1698" y="672"/>
                  </a:lnTo>
                  <a:lnTo>
                    <a:pt x="1704" y="678"/>
                  </a:lnTo>
                  <a:lnTo>
                    <a:pt x="1716" y="684"/>
                  </a:lnTo>
                  <a:lnTo>
                    <a:pt x="1716" y="678"/>
                  </a:lnTo>
                  <a:lnTo>
                    <a:pt x="1716" y="684"/>
                  </a:lnTo>
                  <a:lnTo>
                    <a:pt x="1728" y="684"/>
                  </a:lnTo>
                  <a:lnTo>
                    <a:pt x="1728" y="690"/>
                  </a:lnTo>
                  <a:lnTo>
                    <a:pt x="1734" y="696"/>
                  </a:lnTo>
                  <a:lnTo>
                    <a:pt x="1734" y="702"/>
                  </a:lnTo>
                  <a:lnTo>
                    <a:pt x="1740" y="708"/>
                  </a:lnTo>
                  <a:lnTo>
                    <a:pt x="1740" y="714"/>
                  </a:lnTo>
                  <a:lnTo>
                    <a:pt x="1710" y="714"/>
                  </a:lnTo>
                  <a:lnTo>
                    <a:pt x="1710" y="756"/>
                  </a:lnTo>
                  <a:lnTo>
                    <a:pt x="1704" y="762"/>
                  </a:lnTo>
                  <a:lnTo>
                    <a:pt x="1698" y="762"/>
                  </a:lnTo>
                  <a:lnTo>
                    <a:pt x="1698" y="768"/>
                  </a:lnTo>
                  <a:lnTo>
                    <a:pt x="1698" y="774"/>
                  </a:lnTo>
                  <a:lnTo>
                    <a:pt x="1692" y="780"/>
                  </a:lnTo>
                  <a:lnTo>
                    <a:pt x="1692" y="786"/>
                  </a:lnTo>
                  <a:lnTo>
                    <a:pt x="1686" y="786"/>
                  </a:lnTo>
                  <a:lnTo>
                    <a:pt x="1668" y="798"/>
                  </a:lnTo>
                  <a:lnTo>
                    <a:pt x="1662" y="810"/>
                  </a:lnTo>
                  <a:lnTo>
                    <a:pt x="1650" y="810"/>
                  </a:lnTo>
                  <a:lnTo>
                    <a:pt x="1644" y="816"/>
                  </a:lnTo>
                  <a:lnTo>
                    <a:pt x="1638" y="816"/>
                  </a:lnTo>
                  <a:lnTo>
                    <a:pt x="1626" y="852"/>
                  </a:lnTo>
                  <a:lnTo>
                    <a:pt x="1620" y="888"/>
                  </a:lnTo>
                  <a:lnTo>
                    <a:pt x="1626" y="888"/>
                  </a:lnTo>
                  <a:lnTo>
                    <a:pt x="1638" y="912"/>
                  </a:lnTo>
                  <a:lnTo>
                    <a:pt x="1644" y="918"/>
                  </a:lnTo>
                  <a:lnTo>
                    <a:pt x="1650" y="966"/>
                  </a:lnTo>
                  <a:lnTo>
                    <a:pt x="1626" y="972"/>
                  </a:lnTo>
                  <a:lnTo>
                    <a:pt x="1608" y="978"/>
                  </a:lnTo>
                  <a:lnTo>
                    <a:pt x="1614" y="984"/>
                  </a:lnTo>
                  <a:lnTo>
                    <a:pt x="1620" y="984"/>
                  </a:lnTo>
                  <a:lnTo>
                    <a:pt x="1620" y="1020"/>
                  </a:lnTo>
                  <a:lnTo>
                    <a:pt x="1614" y="1038"/>
                  </a:lnTo>
                  <a:lnTo>
                    <a:pt x="1620" y="1044"/>
                  </a:lnTo>
                  <a:lnTo>
                    <a:pt x="1626" y="1056"/>
                  </a:lnTo>
                  <a:lnTo>
                    <a:pt x="1626" y="1074"/>
                  </a:lnTo>
                  <a:lnTo>
                    <a:pt x="1620" y="1080"/>
                  </a:lnTo>
                  <a:lnTo>
                    <a:pt x="1620" y="1104"/>
                  </a:lnTo>
                  <a:lnTo>
                    <a:pt x="1620" y="1110"/>
                  </a:lnTo>
                  <a:lnTo>
                    <a:pt x="1614" y="1116"/>
                  </a:lnTo>
                  <a:lnTo>
                    <a:pt x="1608" y="1140"/>
                  </a:lnTo>
                  <a:lnTo>
                    <a:pt x="1602" y="1146"/>
                  </a:lnTo>
                  <a:lnTo>
                    <a:pt x="1602" y="1164"/>
                  </a:lnTo>
                  <a:lnTo>
                    <a:pt x="1596" y="1170"/>
                  </a:lnTo>
                  <a:lnTo>
                    <a:pt x="1590" y="1164"/>
                  </a:lnTo>
                  <a:lnTo>
                    <a:pt x="1584" y="1164"/>
                  </a:lnTo>
                  <a:lnTo>
                    <a:pt x="1578" y="1164"/>
                  </a:lnTo>
                  <a:lnTo>
                    <a:pt x="1578" y="1188"/>
                  </a:lnTo>
                  <a:lnTo>
                    <a:pt x="1584" y="1194"/>
                  </a:lnTo>
                  <a:lnTo>
                    <a:pt x="1590" y="1194"/>
                  </a:lnTo>
                  <a:lnTo>
                    <a:pt x="1590" y="1212"/>
                  </a:lnTo>
                  <a:lnTo>
                    <a:pt x="1584" y="1212"/>
                  </a:lnTo>
                  <a:lnTo>
                    <a:pt x="1584" y="1224"/>
                  </a:lnTo>
                  <a:lnTo>
                    <a:pt x="1578" y="1224"/>
                  </a:lnTo>
                  <a:lnTo>
                    <a:pt x="1578" y="1236"/>
                  </a:lnTo>
                  <a:lnTo>
                    <a:pt x="1584" y="1254"/>
                  </a:lnTo>
                  <a:lnTo>
                    <a:pt x="1584" y="1260"/>
                  </a:lnTo>
                  <a:lnTo>
                    <a:pt x="1590" y="1260"/>
                  </a:lnTo>
                  <a:lnTo>
                    <a:pt x="1590" y="1266"/>
                  </a:lnTo>
                  <a:lnTo>
                    <a:pt x="1596" y="1284"/>
                  </a:lnTo>
                  <a:lnTo>
                    <a:pt x="1602" y="1278"/>
                  </a:lnTo>
                  <a:lnTo>
                    <a:pt x="1608" y="1284"/>
                  </a:lnTo>
                  <a:lnTo>
                    <a:pt x="1632" y="1350"/>
                  </a:lnTo>
                  <a:lnTo>
                    <a:pt x="1638" y="1356"/>
                  </a:lnTo>
                  <a:lnTo>
                    <a:pt x="1644" y="1356"/>
                  </a:lnTo>
                  <a:lnTo>
                    <a:pt x="1650" y="1356"/>
                  </a:lnTo>
                  <a:lnTo>
                    <a:pt x="1656" y="1356"/>
                  </a:lnTo>
                  <a:lnTo>
                    <a:pt x="1662" y="1362"/>
                  </a:lnTo>
                  <a:lnTo>
                    <a:pt x="1668" y="1356"/>
                  </a:lnTo>
                  <a:lnTo>
                    <a:pt x="1668" y="1380"/>
                  </a:lnTo>
                  <a:lnTo>
                    <a:pt x="1662" y="1392"/>
                  </a:lnTo>
                  <a:lnTo>
                    <a:pt x="1656" y="1404"/>
                  </a:lnTo>
                  <a:lnTo>
                    <a:pt x="1656" y="1410"/>
                  </a:lnTo>
                  <a:lnTo>
                    <a:pt x="1656" y="1416"/>
                  </a:lnTo>
                  <a:lnTo>
                    <a:pt x="1650" y="1422"/>
                  </a:lnTo>
                  <a:lnTo>
                    <a:pt x="1650" y="1428"/>
                  </a:lnTo>
                  <a:lnTo>
                    <a:pt x="1644" y="1428"/>
                  </a:lnTo>
                  <a:lnTo>
                    <a:pt x="1644" y="1434"/>
                  </a:lnTo>
                  <a:lnTo>
                    <a:pt x="1638" y="1434"/>
                  </a:lnTo>
                  <a:lnTo>
                    <a:pt x="1638" y="1440"/>
                  </a:lnTo>
                  <a:lnTo>
                    <a:pt x="1632" y="1440"/>
                  </a:lnTo>
                  <a:lnTo>
                    <a:pt x="1638" y="145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8" name="Freeform 13">
              <a:extLst>
                <a:ext uri="{FF2B5EF4-FFF2-40B4-BE49-F238E27FC236}">
                  <a16:creationId xmlns:a16="http://schemas.microsoft.com/office/drawing/2014/main" id="{66308D9B-1739-4227-AAC3-BB866CD1F5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63374" y="2969626"/>
              <a:ext cx="330956" cy="357840"/>
            </a:xfrm>
            <a:custGeom>
              <a:avLst/>
              <a:gdLst>
                <a:gd name="T0" fmla="*/ 11 w 624"/>
                <a:gd name="T1" fmla="*/ 59 h 672"/>
                <a:gd name="T2" fmla="*/ 4 w 624"/>
                <a:gd name="T3" fmla="*/ 58 h 672"/>
                <a:gd name="T4" fmla="*/ 3 w 624"/>
                <a:gd name="T5" fmla="*/ 58 h 672"/>
                <a:gd name="T6" fmla="*/ 2 w 624"/>
                <a:gd name="T7" fmla="*/ 11 h 672"/>
                <a:gd name="T8" fmla="*/ 13 w 624"/>
                <a:gd name="T9" fmla="*/ 11 h 672"/>
                <a:gd name="T10" fmla="*/ 14 w 624"/>
                <a:gd name="T11" fmla="*/ 11 h 672"/>
                <a:gd name="T12" fmla="*/ 15 w 624"/>
                <a:gd name="T13" fmla="*/ 12 h 672"/>
                <a:gd name="T14" fmla="*/ 18 w 624"/>
                <a:gd name="T15" fmla="*/ 14 h 672"/>
                <a:gd name="T16" fmla="*/ 21 w 624"/>
                <a:gd name="T17" fmla="*/ 16 h 672"/>
                <a:gd name="T18" fmla="*/ 22 w 624"/>
                <a:gd name="T19" fmla="*/ 18 h 672"/>
                <a:gd name="T20" fmla="*/ 23 w 624"/>
                <a:gd name="T21" fmla="*/ 19 h 672"/>
                <a:gd name="T22" fmla="*/ 24 w 624"/>
                <a:gd name="T23" fmla="*/ 19 h 672"/>
                <a:gd name="T24" fmla="*/ 26 w 624"/>
                <a:gd name="T25" fmla="*/ 19 h 672"/>
                <a:gd name="T26" fmla="*/ 27 w 624"/>
                <a:gd name="T27" fmla="*/ 18 h 672"/>
                <a:gd name="T28" fmla="*/ 29 w 624"/>
                <a:gd name="T29" fmla="*/ 15 h 672"/>
                <a:gd name="T30" fmla="*/ 30 w 624"/>
                <a:gd name="T31" fmla="*/ 14 h 672"/>
                <a:gd name="T32" fmla="*/ 31 w 624"/>
                <a:gd name="T33" fmla="*/ 12 h 672"/>
                <a:gd name="T34" fmla="*/ 32 w 624"/>
                <a:gd name="T35" fmla="*/ 12 h 672"/>
                <a:gd name="T36" fmla="*/ 33 w 624"/>
                <a:gd name="T37" fmla="*/ 10 h 672"/>
                <a:gd name="T38" fmla="*/ 34 w 624"/>
                <a:gd name="T39" fmla="*/ 8 h 672"/>
                <a:gd name="T40" fmla="*/ 34 w 624"/>
                <a:gd name="T41" fmla="*/ 6 h 672"/>
                <a:gd name="T42" fmla="*/ 35 w 624"/>
                <a:gd name="T43" fmla="*/ 4 h 672"/>
                <a:gd name="T44" fmla="*/ 42 w 624"/>
                <a:gd name="T45" fmla="*/ 3 h 672"/>
                <a:gd name="T46" fmla="*/ 44 w 624"/>
                <a:gd name="T47" fmla="*/ 2 h 672"/>
                <a:gd name="T48" fmla="*/ 46 w 624"/>
                <a:gd name="T49" fmla="*/ 0 h 672"/>
                <a:gd name="T50" fmla="*/ 51 w 624"/>
                <a:gd name="T51" fmla="*/ 3 h 672"/>
                <a:gd name="T52" fmla="*/ 54 w 624"/>
                <a:gd name="T53" fmla="*/ 6 h 672"/>
                <a:gd name="T54" fmla="*/ 54 w 624"/>
                <a:gd name="T55" fmla="*/ 8 h 672"/>
                <a:gd name="T56" fmla="*/ 52 w 624"/>
                <a:gd name="T57" fmla="*/ 9 h 672"/>
                <a:gd name="T58" fmla="*/ 49 w 624"/>
                <a:gd name="T59" fmla="*/ 11 h 672"/>
                <a:gd name="T60" fmla="*/ 48 w 624"/>
                <a:gd name="T61" fmla="*/ 14 h 672"/>
                <a:gd name="T62" fmla="*/ 46 w 624"/>
                <a:gd name="T63" fmla="*/ 22 h 672"/>
                <a:gd name="T64" fmla="*/ 45 w 624"/>
                <a:gd name="T65" fmla="*/ 39 h 672"/>
                <a:gd name="T66" fmla="*/ 43 w 624"/>
                <a:gd name="T67" fmla="*/ 43 h 672"/>
                <a:gd name="T68" fmla="*/ 39 w 624"/>
                <a:gd name="T69" fmla="*/ 50 h 672"/>
                <a:gd name="T70" fmla="*/ 36 w 624"/>
                <a:gd name="T71" fmla="*/ 53 h 672"/>
                <a:gd name="T72" fmla="*/ 32 w 624"/>
                <a:gd name="T73" fmla="*/ 56 h 672"/>
                <a:gd name="T74" fmla="*/ 30 w 624"/>
                <a:gd name="T75" fmla="*/ 58 h 672"/>
                <a:gd name="T76" fmla="*/ 20 w 624"/>
                <a:gd name="T77" fmla="*/ 59 h 672"/>
                <a:gd name="T78" fmla="*/ 15 w 624"/>
                <a:gd name="T79" fmla="*/ 59 h 67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24"/>
                <a:gd name="T121" fmla="*/ 0 h 672"/>
                <a:gd name="T122" fmla="*/ 624 w 624"/>
                <a:gd name="T123" fmla="*/ 672 h 67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24" h="672">
                  <a:moveTo>
                    <a:pt x="168" y="672"/>
                  </a:moveTo>
                  <a:lnTo>
                    <a:pt x="132" y="672"/>
                  </a:lnTo>
                  <a:lnTo>
                    <a:pt x="72" y="666"/>
                  </a:lnTo>
                  <a:lnTo>
                    <a:pt x="42" y="666"/>
                  </a:lnTo>
                  <a:lnTo>
                    <a:pt x="36" y="666"/>
                  </a:lnTo>
                  <a:lnTo>
                    <a:pt x="30" y="660"/>
                  </a:lnTo>
                  <a:lnTo>
                    <a:pt x="0" y="660"/>
                  </a:lnTo>
                  <a:lnTo>
                    <a:pt x="24" y="120"/>
                  </a:lnTo>
                  <a:lnTo>
                    <a:pt x="60" y="120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62" y="120"/>
                  </a:lnTo>
                  <a:lnTo>
                    <a:pt x="168" y="120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10" y="156"/>
                  </a:lnTo>
                  <a:lnTo>
                    <a:pt x="222" y="174"/>
                  </a:lnTo>
                  <a:lnTo>
                    <a:pt x="240" y="186"/>
                  </a:lnTo>
                  <a:lnTo>
                    <a:pt x="252" y="198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216"/>
                  </a:lnTo>
                  <a:lnTo>
                    <a:pt x="270" y="216"/>
                  </a:lnTo>
                  <a:lnTo>
                    <a:pt x="282" y="222"/>
                  </a:lnTo>
                  <a:lnTo>
                    <a:pt x="288" y="222"/>
                  </a:lnTo>
                  <a:lnTo>
                    <a:pt x="294" y="216"/>
                  </a:lnTo>
                  <a:lnTo>
                    <a:pt x="294" y="210"/>
                  </a:lnTo>
                  <a:lnTo>
                    <a:pt x="312" y="204"/>
                  </a:lnTo>
                  <a:lnTo>
                    <a:pt x="330" y="186"/>
                  </a:lnTo>
                  <a:lnTo>
                    <a:pt x="336" y="174"/>
                  </a:lnTo>
                  <a:lnTo>
                    <a:pt x="342" y="162"/>
                  </a:lnTo>
                  <a:lnTo>
                    <a:pt x="342" y="156"/>
                  </a:lnTo>
                  <a:lnTo>
                    <a:pt x="348" y="150"/>
                  </a:lnTo>
                  <a:lnTo>
                    <a:pt x="354" y="144"/>
                  </a:lnTo>
                  <a:lnTo>
                    <a:pt x="360" y="138"/>
                  </a:lnTo>
                  <a:lnTo>
                    <a:pt x="366" y="132"/>
                  </a:lnTo>
                  <a:lnTo>
                    <a:pt x="372" y="114"/>
                  </a:lnTo>
                  <a:lnTo>
                    <a:pt x="378" y="114"/>
                  </a:lnTo>
                  <a:lnTo>
                    <a:pt x="378" y="96"/>
                  </a:lnTo>
                  <a:lnTo>
                    <a:pt x="390" y="96"/>
                  </a:lnTo>
                  <a:lnTo>
                    <a:pt x="396" y="84"/>
                  </a:lnTo>
                  <a:lnTo>
                    <a:pt x="396" y="72"/>
                  </a:lnTo>
                  <a:lnTo>
                    <a:pt x="396" y="54"/>
                  </a:lnTo>
                  <a:lnTo>
                    <a:pt x="408" y="42"/>
                  </a:lnTo>
                  <a:lnTo>
                    <a:pt x="468" y="42"/>
                  </a:lnTo>
                  <a:lnTo>
                    <a:pt x="486" y="36"/>
                  </a:lnTo>
                  <a:lnTo>
                    <a:pt x="492" y="24"/>
                  </a:lnTo>
                  <a:lnTo>
                    <a:pt x="504" y="24"/>
                  </a:lnTo>
                  <a:lnTo>
                    <a:pt x="516" y="6"/>
                  </a:lnTo>
                  <a:lnTo>
                    <a:pt x="528" y="0"/>
                  </a:lnTo>
                  <a:lnTo>
                    <a:pt x="558" y="12"/>
                  </a:lnTo>
                  <a:lnTo>
                    <a:pt x="588" y="36"/>
                  </a:lnTo>
                  <a:lnTo>
                    <a:pt x="600" y="66"/>
                  </a:lnTo>
                  <a:lnTo>
                    <a:pt x="624" y="66"/>
                  </a:lnTo>
                  <a:lnTo>
                    <a:pt x="624" y="90"/>
                  </a:lnTo>
                  <a:lnTo>
                    <a:pt x="618" y="90"/>
                  </a:lnTo>
                  <a:lnTo>
                    <a:pt x="618" y="96"/>
                  </a:lnTo>
                  <a:lnTo>
                    <a:pt x="600" y="102"/>
                  </a:lnTo>
                  <a:lnTo>
                    <a:pt x="588" y="108"/>
                  </a:lnTo>
                  <a:lnTo>
                    <a:pt x="570" y="120"/>
                  </a:lnTo>
                  <a:lnTo>
                    <a:pt x="564" y="138"/>
                  </a:lnTo>
                  <a:lnTo>
                    <a:pt x="558" y="162"/>
                  </a:lnTo>
                  <a:lnTo>
                    <a:pt x="540" y="210"/>
                  </a:lnTo>
                  <a:lnTo>
                    <a:pt x="528" y="252"/>
                  </a:lnTo>
                  <a:lnTo>
                    <a:pt x="528" y="402"/>
                  </a:lnTo>
                  <a:lnTo>
                    <a:pt x="522" y="444"/>
                  </a:lnTo>
                  <a:lnTo>
                    <a:pt x="510" y="468"/>
                  </a:lnTo>
                  <a:lnTo>
                    <a:pt x="498" y="498"/>
                  </a:lnTo>
                  <a:lnTo>
                    <a:pt x="474" y="534"/>
                  </a:lnTo>
                  <a:lnTo>
                    <a:pt x="456" y="570"/>
                  </a:lnTo>
                  <a:lnTo>
                    <a:pt x="444" y="576"/>
                  </a:lnTo>
                  <a:lnTo>
                    <a:pt x="420" y="606"/>
                  </a:lnTo>
                  <a:lnTo>
                    <a:pt x="390" y="624"/>
                  </a:lnTo>
                  <a:lnTo>
                    <a:pt x="372" y="642"/>
                  </a:lnTo>
                  <a:lnTo>
                    <a:pt x="366" y="654"/>
                  </a:lnTo>
                  <a:lnTo>
                    <a:pt x="342" y="660"/>
                  </a:lnTo>
                  <a:lnTo>
                    <a:pt x="300" y="666"/>
                  </a:lnTo>
                  <a:lnTo>
                    <a:pt x="234" y="672"/>
                  </a:lnTo>
                  <a:lnTo>
                    <a:pt x="192" y="672"/>
                  </a:lnTo>
                  <a:lnTo>
                    <a:pt x="168" y="67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9" name="Freeform 14">
              <a:extLst>
                <a:ext uri="{FF2B5EF4-FFF2-40B4-BE49-F238E27FC236}">
                  <a16:creationId xmlns:a16="http://schemas.microsoft.com/office/drawing/2014/main" id="{2EA1E999-9CDF-4391-8BC9-7DE71AF9C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0460" y="2983045"/>
              <a:ext cx="905658" cy="561362"/>
            </a:xfrm>
            <a:custGeom>
              <a:avLst/>
              <a:gdLst>
                <a:gd name="T0" fmla="*/ 31 w 1704"/>
                <a:gd name="T1" fmla="*/ 78 h 1056"/>
                <a:gd name="T2" fmla="*/ 23 w 1704"/>
                <a:gd name="T3" fmla="*/ 78 h 1056"/>
                <a:gd name="T4" fmla="*/ 11 w 1704"/>
                <a:gd name="T5" fmla="*/ 79 h 1056"/>
                <a:gd name="T6" fmla="*/ 1 w 1704"/>
                <a:gd name="T7" fmla="*/ 81 h 1056"/>
                <a:gd name="T8" fmla="*/ 0 w 1704"/>
                <a:gd name="T9" fmla="*/ 62 h 1056"/>
                <a:gd name="T10" fmla="*/ 9 w 1704"/>
                <a:gd name="T11" fmla="*/ 56 h 1056"/>
                <a:gd name="T12" fmla="*/ 27 w 1704"/>
                <a:gd name="T13" fmla="*/ 48 h 1056"/>
                <a:gd name="T14" fmla="*/ 35 w 1704"/>
                <a:gd name="T15" fmla="*/ 20 h 1056"/>
                <a:gd name="T16" fmla="*/ 43 w 1704"/>
                <a:gd name="T17" fmla="*/ 6 h 1056"/>
                <a:gd name="T18" fmla="*/ 47 w 1704"/>
                <a:gd name="T19" fmla="*/ 7 h 1056"/>
                <a:gd name="T20" fmla="*/ 52 w 1704"/>
                <a:gd name="T21" fmla="*/ 0 h 1056"/>
                <a:gd name="T22" fmla="*/ 59 w 1704"/>
                <a:gd name="T23" fmla="*/ 5 h 1056"/>
                <a:gd name="T24" fmla="*/ 63 w 1704"/>
                <a:gd name="T25" fmla="*/ 12 h 1056"/>
                <a:gd name="T26" fmla="*/ 62 w 1704"/>
                <a:gd name="T27" fmla="*/ 15 h 1056"/>
                <a:gd name="T28" fmla="*/ 62 w 1704"/>
                <a:gd name="T29" fmla="*/ 18 h 1056"/>
                <a:gd name="T30" fmla="*/ 70 w 1704"/>
                <a:gd name="T31" fmla="*/ 18 h 1056"/>
                <a:gd name="T32" fmla="*/ 71 w 1704"/>
                <a:gd name="T33" fmla="*/ 14 h 1056"/>
                <a:gd name="T34" fmla="*/ 72 w 1704"/>
                <a:gd name="T35" fmla="*/ 12 h 1056"/>
                <a:gd name="T36" fmla="*/ 78 w 1704"/>
                <a:gd name="T37" fmla="*/ 14 h 1056"/>
                <a:gd name="T38" fmla="*/ 85 w 1704"/>
                <a:gd name="T39" fmla="*/ 21 h 1056"/>
                <a:gd name="T40" fmla="*/ 91 w 1704"/>
                <a:gd name="T41" fmla="*/ 15 h 1056"/>
                <a:gd name="T42" fmla="*/ 93 w 1704"/>
                <a:gd name="T43" fmla="*/ 10 h 1056"/>
                <a:gd name="T44" fmla="*/ 101 w 1704"/>
                <a:gd name="T45" fmla="*/ 14 h 1056"/>
                <a:gd name="T46" fmla="*/ 103 w 1704"/>
                <a:gd name="T47" fmla="*/ 19 h 1056"/>
                <a:gd name="T48" fmla="*/ 115 w 1704"/>
                <a:gd name="T49" fmla="*/ 20 h 1056"/>
                <a:gd name="T50" fmla="*/ 118 w 1704"/>
                <a:gd name="T51" fmla="*/ 23 h 1056"/>
                <a:gd name="T52" fmla="*/ 117 w 1704"/>
                <a:gd name="T53" fmla="*/ 27 h 1056"/>
                <a:gd name="T54" fmla="*/ 111 w 1704"/>
                <a:gd name="T55" fmla="*/ 33 h 1056"/>
                <a:gd name="T56" fmla="*/ 108 w 1704"/>
                <a:gd name="T57" fmla="*/ 36 h 1056"/>
                <a:gd name="T58" fmla="*/ 109 w 1704"/>
                <a:gd name="T59" fmla="*/ 40 h 1056"/>
                <a:gd name="T60" fmla="*/ 111 w 1704"/>
                <a:gd name="T61" fmla="*/ 43 h 1056"/>
                <a:gd name="T62" fmla="*/ 113 w 1704"/>
                <a:gd name="T63" fmla="*/ 50 h 1056"/>
                <a:gd name="T64" fmla="*/ 121 w 1704"/>
                <a:gd name="T65" fmla="*/ 55 h 1056"/>
                <a:gd name="T66" fmla="*/ 132 w 1704"/>
                <a:gd name="T67" fmla="*/ 52 h 1056"/>
                <a:gd name="T68" fmla="*/ 148 w 1704"/>
                <a:gd name="T69" fmla="*/ 58 h 1056"/>
                <a:gd name="T70" fmla="*/ 148 w 1704"/>
                <a:gd name="T71" fmla="*/ 61 h 1056"/>
                <a:gd name="T72" fmla="*/ 148 w 1704"/>
                <a:gd name="T73" fmla="*/ 64 h 1056"/>
                <a:gd name="T74" fmla="*/ 135 w 1704"/>
                <a:gd name="T75" fmla="*/ 61 h 1056"/>
                <a:gd name="T76" fmla="*/ 135 w 1704"/>
                <a:gd name="T77" fmla="*/ 66 h 1056"/>
                <a:gd name="T78" fmla="*/ 137 w 1704"/>
                <a:gd name="T79" fmla="*/ 71 h 1056"/>
                <a:gd name="T80" fmla="*/ 136 w 1704"/>
                <a:gd name="T81" fmla="*/ 79 h 1056"/>
                <a:gd name="T82" fmla="*/ 126 w 1704"/>
                <a:gd name="T83" fmla="*/ 84 h 1056"/>
                <a:gd name="T84" fmla="*/ 121 w 1704"/>
                <a:gd name="T85" fmla="*/ 79 h 1056"/>
                <a:gd name="T86" fmla="*/ 117 w 1704"/>
                <a:gd name="T87" fmla="*/ 75 h 1056"/>
                <a:gd name="T88" fmla="*/ 98 w 1704"/>
                <a:gd name="T89" fmla="*/ 74 h 1056"/>
                <a:gd name="T90" fmla="*/ 81 w 1704"/>
                <a:gd name="T91" fmla="*/ 75 h 1056"/>
                <a:gd name="T92" fmla="*/ 83 w 1704"/>
                <a:gd name="T93" fmla="*/ 88 h 1056"/>
                <a:gd name="T94" fmla="*/ 82 w 1704"/>
                <a:gd name="T95" fmla="*/ 91 h 1056"/>
                <a:gd name="T96" fmla="*/ 77 w 1704"/>
                <a:gd name="T97" fmla="*/ 90 h 1056"/>
                <a:gd name="T98" fmla="*/ 73 w 1704"/>
                <a:gd name="T99" fmla="*/ 86 h 1056"/>
                <a:gd name="T100" fmla="*/ 68 w 1704"/>
                <a:gd name="T101" fmla="*/ 85 h 1056"/>
                <a:gd name="T102" fmla="*/ 64 w 1704"/>
                <a:gd name="T103" fmla="*/ 83 h 1056"/>
                <a:gd name="T104" fmla="*/ 57 w 1704"/>
                <a:gd name="T105" fmla="*/ 81 h 1056"/>
                <a:gd name="T106" fmla="*/ 52 w 1704"/>
                <a:gd name="T107" fmla="*/ 80 h 1056"/>
                <a:gd name="T108" fmla="*/ 50 w 1704"/>
                <a:gd name="T109" fmla="*/ 80 h 1056"/>
                <a:gd name="T110" fmla="*/ 46 w 1704"/>
                <a:gd name="T111" fmla="*/ 79 h 1056"/>
                <a:gd name="T112" fmla="*/ 41 w 1704"/>
                <a:gd name="T113" fmla="*/ 78 h 10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04"/>
                <a:gd name="T172" fmla="*/ 0 h 1056"/>
                <a:gd name="T173" fmla="*/ 1704 w 1704"/>
                <a:gd name="T174" fmla="*/ 1056 h 10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04" h="1056">
                  <a:moveTo>
                    <a:pt x="450" y="888"/>
                  </a:moveTo>
                  <a:lnTo>
                    <a:pt x="420" y="888"/>
                  </a:lnTo>
                  <a:lnTo>
                    <a:pt x="414" y="888"/>
                  </a:lnTo>
                  <a:lnTo>
                    <a:pt x="396" y="888"/>
                  </a:lnTo>
                  <a:lnTo>
                    <a:pt x="372" y="888"/>
                  </a:lnTo>
                  <a:lnTo>
                    <a:pt x="366" y="888"/>
                  </a:lnTo>
                  <a:lnTo>
                    <a:pt x="360" y="888"/>
                  </a:lnTo>
                  <a:lnTo>
                    <a:pt x="348" y="888"/>
                  </a:lnTo>
                  <a:lnTo>
                    <a:pt x="330" y="894"/>
                  </a:lnTo>
                  <a:lnTo>
                    <a:pt x="324" y="894"/>
                  </a:lnTo>
                  <a:lnTo>
                    <a:pt x="312" y="888"/>
                  </a:lnTo>
                  <a:lnTo>
                    <a:pt x="300" y="888"/>
                  </a:lnTo>
                  <a:lnTo>
                    <a:pt x="282" y="888"/>
                  </a:lnTo>
                  <a:lnTo>
                    <a:pt x="270" y="888"/>
                  </a:lnTo>
                  <a:lnTo>
                    <a:pt x="240" y="882"/>
                  </a:lnTo>
                  <a:lnTo>
                    <a:pt x="222" y="882"/>
                  </a:lnTo>
                  <a:lnTo>
                    <a:pt x="198" y="882"/>
                  </a:lnTo>
                  <a:lnTo>
                    <a:pt x="174" y="894"/>
                  </a:lnTo>
                  <a:lnTo>
                    <a:pt x="162" y="900"/>
                  </a:lnTo>
                  <a:lnTo>
                    <a:pt x="144" y="906"/>
                  </a:lnTo>
                  <a:lnTo>
                    <a:pt x="126" y="912"/>
                  </a:lnTo>
                  <a:lnTo>
                    <a:pt x="102" y="924"/>
                  </a:lnTo>
                  <a:lnTo>
                    <a:pt x="78" y="930"/>
                  </a:lnTo>
                  <a:lnTo>
                    <a:pt x="72" y="936"/>
                  </a:lnTo>
                  <a:lnTo>
                    <a:pt x="30" y="954"/>
                  </a:lnTo>
                  <a:lnTo>
                    <a:pt x="12" y="966"/>
                  </a:lnTo>
                  <a:lnTo>
                    <a:pt x="12" y="954"/>
                  </a:lnTo>
                  <a:lnTo>
                    <a:pt x="12" y="930"/>
                  </a:lnTo>
                  <a:lnTo>
                    <a:pt x="12" y="894"/>
                  </a:lnTo>
                  <a:lnTo>
                    <a:pt x="30" y="828"/>
                  </a:lnTo>
                  <a:lnTo>
                    <a:pt x="36" y="798"/>
                  </a:lnTo>
                  <a:lnTo>
                    <a:pt x="18" y="774"/>
                  </a:lnTo>
                  <a:lnTo>
                    <a:pt x="18" y="756"/>
                  </a:lnTo>
                  <a:lnTo>
                    <a:pt x="6" y="738"/>
                  </a:lnTo>
                  <a:lnTo>
                    <a:pt x="0" y="714"/>
                  </a:lnTo>
                  <a:lnTo>
                    <a:pt x="12" y="678"/>
                  </a:lnTo>
                  <a:lnTo>
                    <a:pt x="18" y="678"/>
                  </a:lnTo>
                  <a:lnTo>
                    <a:pt x="24" y="672"/>
                  </a:lnTo>
                  <a:lnTo>
                    <a:pt x="30" y="666"/>
                  </a:lnTo>
                  <a:lnTo>
                    <a:pt x="42" y="648"/>
                  </a:lnTo>
                  <a:lnTo>
                    <a:pt x="66" y="648"/>
                  </a:lnTo>
                  <a:lnTo>
                    <a:pt x="108" y="648"/>
                  </a:lnTo>
                  <a:lnTo>
                    <a:pt x="174" y="642"/>
                  </a:lnTo>
                  <a:lnTo>
                    <a:pt x="216" y="636"/>
                  </a:lnTo>
                  <a:lnTo>
                    <a:pt x="240" y="630"/>
                  </a:lnTo>
                  <a:lnTo>
                    <a:pt x="246" y="618"/>
                  </a:lnTo>
                  <a:lnTo>
                    <a:pt x="264" y="600"/>
                  </a:lnTo>
                  <a:lnTo>
                    <a:pt x="294" y="582"/>
                  </a:lnTo>
                  <a:lnTo>
                    <a:pt x="318" y="552"/>
                  </a:lnTo>
                  <a:lnTo>
                    <a:pt x="330" y="546"/>
                  </a:lnTo>
                  <a:lnTo>
                    <a:pt x="348" y="510"/>
                  </a:lnTo>
                  <a:lnTo>
                    <a:pt x="372" y="474"/>
                  </a:lnTo>
                  <a:lnTo>
                    <a:pt x="384" y="444"/>
                  </a:lnTo>
                  <a:lnTo>
                    <a:pt x="396" y="420"/>
                  </a:lnTo>
                  <a:lnTo>
                    <a:pt x="402" y="378"/>
                  </a:lnTo>
                  <a:lnTo>
                    <a:pt x="402" y="228"/>
                  </a:lnTo>
                  <a:lnTo>
                    <a:pt x="414" y="186"/>
                  </a:lnTo>
                  <a:lnTo>
                    <a:pt x="432" y="138"/>
                  </a:lnTo>
                  <a:lnTo>
                    <a:pt x="438" y="114"/>
                  </a:lnTo>
                  <a:lnTo>
                    <a:pt x="444" y="96"/>
                  </a:lnTo>
                  <a:lnTo>
                    <a:pt x="462" y="84"/>
                  </a:lnTo>
                  <a:lnTo>
                    <a:pt x="474" y="78"/>
                  </a:lnTo>
                  <a:lnTo>
                    <a:pt x="492" y="72"/>
                  </a:lnTo>
                  <a:lnTo>
                    <a:pt x="492" y="66"/>
                  </a:lnTo>
                  <a:lnTo>
                    <a:pt x="498" y="66"/>
                  </a:lnTo>
                  <a:lnTo>
                    <a:pt x="510" y="66"/>
                  </a:lnTo>
                  <a:lnTo>
                    <a:pt x="510" y="72"/>
                  </a:lnTo>
                  <a:lnTo>
                    <a:pt x="516" y="72"/>
                  </a:lnTo>
                  <a:lnTo>
                    <a:pt x="522" y="78"/>
                  </a:lnTo>
                  <a:lnTo>
                    <a:pt x="546" y="78"/>
                  </a:lnTo>
                  <a:lnTo>
                    <a:pt x="552" y="60"/>
                  </a:lnTo>
                  <a:lnTo>
                    <a:pt x="570" y="42"/>
                  </a:lnTo>
                  <a:lnTo>
                    <a:pt x="576" y="24"/>
                  </a:lnTo>
                  <a:lnTo>
                    <a:pt x="588" y="18"/>
                  </a:lnTo>
                  <a:lnTo>
                    <a:pt x="588" y="12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624" y="0"/>
                  </a:lnTo>
                  <a:lnTo>
                    <a:pt x="636" y="6"/>
                  </a:lnTo>
                  <a:lnTo>
                    <a:pt x="648" y="24"/>
                  </a:lnTo>
                  <a:lnTo>
                    <a:pt x="654" y="48"/>
                  </a:lnTo>
                  <a:lnTo>
                    <a:pt x="672" y="60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0" y="72"/>
                  </a:lnTo>
                  <a:lnTo>
                    <a:pt x="690" y="78"/>
                  </a:lnTo>
                  <a:lnTo>
                    <a:pt x="696" y="90"/>
                  </a:lnTo>
                  <a:lnTo>
                    <a:pt x="714" y="114"/>
                  </a:lnTo>
                  <a:lnTo>
                    <a:pt x="714" y="120"/>
                  </a:lnTo>
                  <a:lnTo>
                    <a:pt x="720" y="132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20" y="150"/>
                  </a:lnTo>
                  <a:lnTo>
                    <a:pt x="714" y="150"/>
                  </a:lnTo>
                  <a:lnTo>
                    <a:pt x="714" y="156"/>
                  </a:lnTo>
                  <a:lnTo>
                    <a:pt x="714" y="162"/>
                  </a:lnTo>
                  <a:lnTo>
                    <a:pt x="708" y="162"/>
                  </a:lnTo>
                  <a:lnTo>
                    <a:pt x="708" y="168"/>
                  </a:lnTo>
                  <a:lnTo>
                    <a:pt x="702" y="168"/>
                  </a:lnTo>
                  <a:lnTo>
                    <a:pt x="702" y="174"/>
                  </a:lnTo>
                  <a:lnTo>
                    <a:pt x="702" y="180"/>
                  </a:lnTo>
                  <a:lnTo>
                    <a:pt x="708" y="180"/>
                  </a:lnTo>
                  <a:lnTo>
                    <a:pt x="708" y="186"/>
                  </a:lnTo>
                  <a:lnTo>
                    <a:pt x="708" y="192"/>
                  </a:lnTo>
                  <a:lnTo>
                    <a:pt x="714" y="204"/>
                  </a:lnTo>
                  <a:lnTo>
                    <a:pt x="726" y="216"/>
                  </a:lnTo>
                  <a:lnTo>
                    <a:pt x="738" y="216"/>
                  </a:lnTo>
                  <a:lnTo>
                    <a:pt x="768" y="222"/>
                  </a:lnTo>
                  <a:lnTo>
                    <a:pt x="780" y="216"/>
                  </a:lnTo>
                  <a:lnTo>
                    <a:pt x="792" y="204"/>
                  </a:lnTo>
                  <a:lnTo>
                    <a:pt x="798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6" y="192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6" y="174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22" y="156"/>
                  </a:lnTo>
                  <a:lnTo>
                    <a:pt x="822" y="150"/>
                  </a:lnTo>
                  <a:lnTo>
                    <a:pt x="828" y="144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8" y="138"/>
                  </a:lnTo>
                  <a:lnTo>
                    <a:pt x="834" y="132"/>
                  </a:lnTo>
                  <a:lnTo>
                    <a:pt x="840" y="132"/>
                  </a:lnTo>
                  <a:lnTo>
                    <a:pt x="864" y="126"/>
                  </a:lnTo>
                  <a:lnTo>
                    <a:pt x="906" y="144"/>
                  </a:lnTo>
                  <a:lnTo>
                    <a:pt x="906" y="150"/>
                  </a:lnTo>
                  <a:lnTo>
                    <a:pt x="906" y="156"/>
                  </a:lnTo>
                  <a:lnTo>
                    <a:pt x="900" y="162"/>
                  </a:lnTo>
                  <a:lnTo>
                    <a:pt x="924" y="168"/>
                  </a:lnTo>
                  <a:lnTo>
                    <a:pt x="942" y="192"/>
                  </a:lnTo>
                  <a:lnTo>
                    <a:pt x="972" y="210"/>
                  </a:lnTo>
                  <a:lnTo>
                    <a:pt x="972" y="216"/>
                  </a:lnTo>
                  <a:lnTo>
                    <a:pt x="972" y="228"/>
                  </a:lnTo>
                  <a:lnTo>
                    <a:pt x="978" y="234"/>
                  </a:lnTo>
                  <a:lnTo>
                    <a:pt x="978" y="246"/>
                  </a:lnTo>
                  <a:lnTo>
                    <a:pt x="984" y="252"/>
                  </a:lnTo>
                  <a:lnTo>
                    <a:pt x="1014" y="252"/>
                  </a:lnTo>
                  <a:lnTo>
                    <a:pt x="1020" y="228"/>
                  </a:lnTo>
                  <a:lnTo>
                    <a:pt x="1026" y="198"/>
                  </a:lnTo>
                  <a:lnTo>
                    <a:pt x="1050" y="186"/>
                  </a:lnTo>
                  <a:lnTo>
                    <a:pt x="1056" y="180"/>
                  </a:lnTo>
                  <a:lnTo>
                    <a:pt x="1050" y="174"/>
                  </a:lnTo>
                  <a:lnTo>
                    <a:pt x="1050" y="168"/>
                  </a:lnTo>
                  <a:lnTo>
                    <a:pt x="1050" y="162"/>
                  </a:lnTo>
                  <a:lnTo>
                    <a:pt x="1056" y="162"/>
                  </a:lnTo>
                  <a:lnTo>
                    <a:pt x="1062" y="162"/>
                  </a:lnTo>
                  <a:lnTo>
                    <a:pt x="1074" y="162"/>
                  </a:lnTo>
                  <a:lnTo>
                    <a:pt x="1074" y="144"/>
                  </a:lnTo>
                  <a:lnTo>
                    <a:pt x="1074" y="120"/>
                  </a:lnTo>
                  <a:lnTo>
                    <a:pt x="1092" y="120"/>
                  </a:lnTo>
                  <a:lnTo>
                    <a:pt x="1098" y="126"/>
                  </a:lnTo>
                  <a:lnTo>
                    <a:pt x="1134" y="132"/>
                  </a:lnTo>
                  <a:lnTo>
                    <a:pt x="1146" y="132"/>
                  </a:lnTo>
                  <a:lnTo>
                    <a:pt x="1158" y="150"/>
                  </a:lnTo>
                  <a:lnTo>
                    <a:pt x="1158" y="156"/>
                  </a:lnTo>
                  <a:lnTo>
                    <a:pt x="1158" y="162"/>
                  </a:lnTo>
                  <a:lnTo>
                    <a:pt x="1158" y="180"/>
                  </a:lnTo>
                  <a:lnTo>
                    <a:pt x="1158" y="186"/>
                  </a:lnTo>
                  <a:lnTo>
                    <a:pt x="1164" y="192"/>
                  </a:lnTo>
                  <a:lnTo>
                    <a:pt x="1176" y="198"/>
                  </a:lnTo>
                  <a:lnTo>
                    <a:pt x="1182" y="198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8"/>
                  </a:lnTo>
                  <a:lnTo>
                    <a:pt x="1188" y="234"/>
                  </a:lnTo>
                  <a:lnTo>
                    <a:pt x="1212" y="234"/>
                  </a:lnTo>
                  <a:lnTo>
                    <a:pt x="1242" y="234"/>
                  </a:lnTo>
                  <a:lnTo>
                    <a:pt x="1248" y="234"/>
                  </a:lnTo>
                  <a:lnTo>
                    <a:pt x="1278" y="240"/>
                  </a:lnTo>
                  <a:lnTo>
                    <a:pt x="1320" y="234"/>
                  </a:lnTo>
                  <a:lnTo>
                    <a:pt x="1332" y="228"/>
                  </a:lnTo>
                  <a:lnTo>
                    <a:pt x="1344" y="228"/>
                  </a:lnTo>
                  <a:lnTo>
                    <a:pt x="1350" y="234"/>
                  </a:lnTo>
                  <a:lnTo>
                    <a:pt x="1350" y="240"/>
                  </a:lnTo>
                  <a:lnTo>
                    <a:pt x="1356" y="246"/>
                  </a:lnTo>
                  <a:lnTo>
                    <a:pt x="1350" y="252"/>
                  </a:lnTo>
                  <a:lnTo>
                    <a:pt x="1356" y="264"/>
                  </a:lnTo>
                  <a:lnTo>
                    <a:pt x="1356" y="270"/>
                  </a:lnTo>
                  <a:lnTo>
                    <a:pt x="1356" y="276"/>
                  </a:lnTo>
                  <a:lnTo>
                    <a:pt x="1356" y="282"/>
                  </a:lnTo>
                  <a:lnTo>
                    <a:pt x="1356" y="288"/>
                  </a:lnTo>
                  <a:lnTo>
                    <a:pt x="1350" y="294"/>
                  </a:lnTo>
                  <a:lnTo>
                    <a:pt x="1344" y="300"/>
                  </a:lnTo>
                  <a:lnTo>
                    <a:pt x="1344" y="306"/>
                  </a:lnTo>
                  <a:lnTo>
                    <a:pt x="1338" y="312"/>
                  </a:lnTo>
                  <a:lnTo>
                    <a:pt x="1326" y="342"/>
                  </a:lnTo>
                  <a:lnTo>
                    <a:pt x="1320" y="348"/>
                  </a:lnTo>
                  <a:lnTo>
                    <a:pt x="1314" y="354"/>
                  </a:lnTo>
                  <a:lnTo>
                    <a:pt x="1290" y="354"/>
                  </a:lnTo>
                  <a:lnTo>
                    <a:pt x="1284" y="360"/>
                  </a:lnTo>
                  <a:lnTo>
                    <a:pt x="1278" y="378"/>
                  </a:lnTo>
                  <a:lnTo>
                    <a:pt x="1278" y="384"/>
                  </a:lnTo>
                  <a:lnTo>
                    <a:pt x="1272" y="390"/>
                  </a:lnTo>
                  <a:lnTo>
                    <a:pt x="1266" y="396"/>
                  </a:lnTo>
                  <a:lnTo>
                    <a:pt x="1260" y="396"/>
                  </a:lnTo>
                  <a:lnTo>
                    <a:pt x="1248" y="402"/>
                  </a:lnTo>
                  <a:lnTo>
                    <a:pt x="1242" y="408"/>
                  </a:lnTo>
                  <a:lnTo>
                    <a:pt x="1242" y="414"/>
                  </a:lnTo>
                  <a:lnTo>
                    <a:pt x="1242" y="420"/>
                  </a:lnTo>
                  <a:lnTo>
                    <a:pt x="1236" y="432"/>
                  </a:lnTo>
                  <a:lnTo>
                    <a:pt x="1242" y="432"/>
                  </a:lnTo>
                  <a:lnTo>
                    <a:pt x="1242" y="444"/>
                  </a:lnTo>
                  <a:lnTo>
                    <a:pt x="1242" y="456"/>
                  </a:lnTo>
                  <a:lnTo>
                    <a:pt x="1248" y="456"/>
                  </a:lnTo>
                  <a:lnTo>
                    <a:pt x="1254" y="462"/>
                  </a:lnTo>
                  <a:lnTo>
                    <a:pt x="1248" y="468"/>
                  </a:lnTo>
                  <a:lnTo>
                    <a:pt x="1254" y="468"/>
                  </a:lnTo>
                  <a:lnTo>
                    <a:pt x="1266" y="474"/>
                  </a:lnTo>
                  <a:lnTo>
                    <a:pt x="1266" y="480"/>
                  </a:lnTo>
                  <a:lnTo>
                    <a:pt x="1266" y="486"/>
                  </a:lnTo>
                  <a:lnTo>
                    <a:pt x="1272" y="486"/>
                  </a:lnTo>
                  <a:lnTo>
                    <a:pt x="1272" y="492"/>
                  </a:lnTo>
                  <a:lnTo>
                    <a:pt x="1290" y="510"/>
                  </a:lnTo>
                  <a:lnTo>
                    <a:pt x="1296" y="516"/>
                  </a:lnTo>
                  <a:lnTo>
                    <a:pt x="1302" y="540"/>
                  </a:lnTo>
                  <a:lnTo>
                    <a:pt x="1302" y="546"/>
                  </a:lnTo>
                  <a:lnTo>
                    <a:pt x="1302" y="558"/>
                  </a:lnTo>
                  <a:lnTo>
                    <a:pt x="1302" y="570"/>
                  </a:lnTo>
                  <a:lnTo>
                    <a:pt x="1302" y="576"/>
                  </a:lnTo>
                  <a:lnTo>
                    <a:pt x="1344" y="570"/>
                  </a:lnTo>
                  <a:lnTo>
                    <a:pt x="1350" y="582"/>
                  </a:lnTo>
                  <a:lnTo>
                    <a:pt x="1368" y="594"/>
                  </a:lnTo>
                  <a:lnTo>
                    <a:pt x="1374" y="600"/>
                  </a:lnTo>
                  <a:lnTo>
                    <a:pt x="1380" y="600"/>
                  </a:lnTo>
                  <a:lnTo>
                    <a:pt x="1380" y="618"/>
                  </a:lnTo>
                  <a:lnTo>
                    <a:pt x="1386" y="624"/>
                  </a:lnTo>
                  <a:lnTo>
                    <a:pt x="1404" y="624"/>
                  </a:lnTo>
                  <a:lnTo>
                    <a:pt x="1410" y="612"/>
                  </a:lnTo>
                  <a:lnTo>
                    <a:pt x="1428" y="606"/>
                  </a:lnTo>
                  <a:lnTo>
                    <a:pt x="1488" y="606"/>
                  </a:lnTo>
                  <a:lnTo>
                    <a:pt x="1506" y="606"/>
                  </a:lnTo>
                  <a:lnTo>
                    <a:pt x="1512" y="600"/>
                  </a:lnTo>
                  <a:lnTo>
                    <a:pt x="1524" y="594"/>
                  </a:lnTo>
                  <a:lnTo>
                    <a:pt x="1554" y="594"/>
                  </a:lnTo>
                  <a:lnTo>
                    <a:pt x="1578" y="606"/>
                  </a:lnTo>
                  <a:lnTo>
                    <a:pt x="1596" y="624"/>
                  </a:lnTo>
                  <a:lnTo>
                    <a:pt x="1650" y="642"/>
                  </a:lnTo>
                  <a:lnTo>
                    <a:pt x="1686" y="648"/>
                  </a:lnTo>
                  <a:lnTo>
                    <a:pt x="1698" y="654"/>
                  </a:lnTo>
                  <a:lnTo>
                    <a:pt x="1698" y="660"/>
                  </a:lnTo>
                  <a:lnTo>
                    <a:pt x="1692" y="666"/>
                  </a:lnTo>
                  <a:lnTo>
                    <a:pt x="1692" y="672"/>
                  </a:lnTo>
                  <a:lnTo>
                    <a:pt x="1698" y="678"/>
                  </a:lnTo>
                  <a:lnTo>
                    <a:pt x="1698" y="684"/>
                  </a:lnTo>
                  <a:lnTo>
                    <a:pt x="1692" y="684"/>
                  </a:lnTo>
                  <a:lnTo>
                    <a:pt x="1692" y="690"/>
                  </a:lnTo>
                  <a:lnTo>
                    <a:pt x="1698" y="696"/>
                  </a:lnTo>
                  <a:lnTo>
                    <a:pt x="1698" y="702"/>
                  </a:lnTo>
                  <a:lnTo>
                    <a:pt x="1698" y="708"/>
                  </a:lnTo>
                  <a:lnTo>
                    <a:pt x="1704" y="714"/>
                  </a:lnTo>
                  <a:lnTo>
                    <a:pt x="1704" y="720"/>
                  </a:lnTo>
                  <a:lnTo>
                    <a:pt x="1704" y="726"/>
                  </a:lnTo>
                  <a:lnTo>
                    <a:pt x="1704" y="732"/>
                  </a:lnTo>
                  <a:lnTo>
                    <a:pt x="1704" y="738"/>
                  </a:lnTo>
                  <a:lnTo>
                    <a:pt x="1698" y="726"/>
                  </a:lnTo>
                  <a:lnTo>
                    <a:pt x="1668" y="720"/>
                  </a:lnTo>
                  <a:lnTo>
                    <a:pt x="1626" y="714"/>
                  </a:lnTo>
                  <a:lnTo>
                    <a:pt x="1614" y="708"/>
                  </a:lnTo>
                  <a:lnTo>
                    <a:pt x="1578" y="696"/>
                  </a:lnTo>
                  <a:lnTo>
                    <a:pt x="1566" y="696"/>
                  </a:lnTo>
                  <a:lnTo>
                    <a:pt x="1548" y="702"/>
                  </a:lnTo>
                  <a:lnTo>
                    <a:pt x="1542" y="714"/>
                  </a:lnTo>
                  <a:lnTo>
                    <a:pt x="1536" y="732"/>
                  </a:lnTo>
                  <a:lnTo>
                    <a:pt x="1530" y="750"/>
                  </a:lnTo>
                  <a:lnTo>
                    <a:pt x="1536" y="750"/>
                  </a:lnTo>
                  <a:lnTo>
                    <a:pt x="1542" y="756"/>
                  </a:lnTo>
                  <a:lnTo>
                    <a:pt x="1542" y="762"/>
                  </a:lnTo>
                  <a:lnTo>
                    <a:pt x="1548" y="762"/>
                  </a:lnTo>
                  <a:lnTo>
                    <a:pt x="1554" y="762"/>
                  </a:lnTo>
                  <a:lnTo>
                    <a:pt x="1554" y="768"/>
                  </a:lnTo>
                  <a:lnTo>
                    <a:pt x="1560" y="774"/>
                  </a:lnTo>
                  <a:lnTo>
                    <a:pt x="1566" y="774"/>
                  </a:lnTo>
                  <a:lnTo>
                    <a:pt x="1584" y="792"/>
                  </a:lnTo>
                  <a:lnTo>
                    <a:pt x="1584" y="810"/>
                  </a:lnTo>
                  <a:lnTo>
                    <a:pt x="1572" y="816"/>
                  </a:lnTo>
                  <a:lnTo>
                    <a:pt x="1578" y="834"/>
                  </a:lnTo>
                  <a:lnTo>
                    <a:pt x="1578" y="846"/>
                  </a:lnTo>
                  <a:lnTo>
                    <a:pt x="1584" y="858"/>
                  </a:lnTo>
                  <a:lnTo>
                    <a:pt x="1590" y="864"/>
                  </a:lnTo>
                  <a:lnTo>
                    <a:pt x="1590" y="876"/>
                  </a:lnTo>
                  <a:lnTo>
                    <a:pt x="1578" y="888"/>
                  </a:lnTo>
                  <a:lnTo>
                    <a:pt x="1560" y="906"/>
                  </a:lnTo>
                  <a:lnTo>
                    <a:pt x="1536" y="930"/>
                  </a:lnTo>
                  <a:lnTo>
                    <a:pt x="1530" y="930"/>
                  </a:lnTo>
                  <a:lnTo>
                    <a:pt x="1506" y="942"/>
                  </a:lnTo>
                  <a:lnTo>
                    <a:pt x="1488" y="948"/>
                  </a:lnTo>
                  <a:lnTo>
                    <a:pt x="1476" y="954"/>
                  </a:lnTo>
                  <a:lnTo>
                    <a:pt x="1458" y="960"/>
                  </a:lnTo>
                  <a:lnTo>
                    <a:pt x="1452" y="966"/>
                  </a:lnTo>
                  <a:lnTo>
                    <a:pt x="1446" y="966"/>
                  </a:lnTo>
                  <a:lnTo>
                    <a:pt x="1434" y="972"/>
                  </a:lnTo>
                  <a:lnTo>
                    <a:pt x="1434" y="954"/>
                  </a:lnTo>
                  <a:lnTo>
                    <a:pt x="1422" y="942"/>
                  </a:lnTo>
                  <a:lnTo>
                    <a:pt x="1398" y="924"/>
                  </a:lnTo>
                  <a:lnTo>
                    <a:pt x="1398" y="912"/>
                  </a:lnTo>
                  <a:lnTo>
                    <a:pt x="1398" y="906"/>
                  </a:lnTo>
                  <a:lnTo>
                    <a:pt x="1398" y="900"/>
                  </a:lnTo>
                  <a:lnTo>
                    <a:pt x="1380" y="900"/>
                  </a:lnTo>
                  <a:lnTo>
                    <a:pt x="1380" y="894"/>
                  </a:lnTo>
                  <a:lnTo>
                    <a:pt x="1368" y="888"/>
                  </a:lnTo>
                  <a:lnTo>
                    <a:pt x="1362" y="882"/>
                  </a:lnTo>
                  <a:lnTo>
                    <a:pt x="1356" y="876"/>
                  </a:lnTo>
                  <a:lnTo>
                    <a:pt x="1350" y="864"/>
                  </a:lnTo>
                  <a:lnTo>
                    <a:pt x="1344" y="858"/>
                  </a:lnTo>
                  <a:lnTo>
                    <a:pt x="1314" y="870"/>
                  </a:lnTo>
                  <a:lnTo>
                    <a:pt x="1272" y="876"/>
                  </a:lnTo>
                  <a:lnTo>
                    <a:pt x="1218" y="870"/>
                  </a:lnTo>
                  <a:lnTo>
                    <a:pt x="1200" y="864"/>
                  </a:lnTo>
                  <a:lnTo>
                    <a:pt x="1182" y="864"/>
                  </a:lnTo>
                  <a:lnTo>
                    <a:pt x="1134" y="858"/>
                  </a:lnTo>
                  <a:lnTo>
                    <a:pt x="1110" y="840"/>
                  </a:lnTo>
                  <a:lnTo>
                    <a:pt x="1086" y="828"/>
                  </a:lnTo>
                  <a:lnTo>
                    <a:pt x="1044" y="816"/>
                  </a:lnTo>
                  <a:lnTo>
                    <a:pt x="1014" y="816"/>
                  </a:lnTo>
                  <a:lnTo>
                    <a:pt x="990" y="822"/>
                  </a:lnTo>
                  <a:lnTo>
                    <a:pt x="948" y="858"/>
                  </a:lnTo>
                  <a:lnTo>
                    <a:pt x="930" y="864"/>
                  </a:lnTo>
                  <a:lnTo>
                    <a:pt x="924" y="876"/>
                  </a:lnTo>
                  <a:lnTo>
                    <a:pt x="918" y="906"/>
                  </a:lnTo>
                  <a:lnTo>
                    <a:pt x="924" y="930"/>
                  </a:lnTo>
                  <a:lnTo>
                    <a:pt x="948" y="984"/>
                  </a:lnTo>
                  <a:lnTo>
                    <a:pt x="954" y="1008"/>
                  </a:lnTo>
                  <a:lnTo>
                    <a:pt x="948" y="1014"/>
                  </a:lnTo>
                  <a:lnTo>
                    <a:pt x="954" y="1014"/>
                  </a:lnTo>
                  <a:lnTo>
                    <a:pt x="954" y="1032"/>
                  </a:lnTo>
                  <a:lnTo>
                    <a:pt x="966" y="1044"/>
                  </a:lnTo>
                  <a:lnTo>
                    <a:pt x="960" y="1056"/>
                  </a:lnTo>
                  <a:lnTo>
                    <a:pt x="954" y="1056"/>
                  </a:lnTo>
                  <a:lnTo>
                    <a:pt x="948" y="1056"/>
                  </a:lnTo>
                  <a:lnTo>
                    <a:pt x="942" y="1056"/>
                  </a:lnTo>
                  <a:lnTo>
                    <a:pt x="936" y="1050"/>
                  </a:lnTo>
                  <a:lnTo>
                    <a:pt x="930" y="1044"/>
                  </a:lnTo>
                  <a:lnTo>
                    <a:pt x="924" y="1044"/>
                  </a:lnTo>
                  <a:lnTo>
                    <a:pt x="918" y="1038"/>
                  </a:lnTo>
                  <a:lnTo>
                    <a:pt x="912" y="1038"/>
                  </a:lnTo>
                  <a:lnTo>
                    <a:pt x="906" y="1032"/>
                  </a:lnTo>
                  <a:lnTo>
                    <a:pt x="900" y="1032"/>
                  </a:lnTo>
                  <a:lnTo>
                    <a:pt x="888" y="1026"/>
                  </a:lnTo>
                  <a:lnTo>
                    <a:pt x="882" y="1026"/>
                  </a:lnTo>
                  <a:lnTo>
                    <a:pt x="876" y="1026"/>
                  </a:lnTo>
                  <a:lnTo>
                    <a:pt x="864" y="1014"/>
                  </a:lnTo>
                  <a:lnTo>
                    <a:pt x="846" y="1008"/>
                  </a:lnTo>
                  <a:lnTo>
                    <a:pt x="840" y="996"/>
                  </a:lnTo>
                  <a:lnTo>
                    <a:pt x="840" y="990"/>
                  </a:lnTo>
                  <a:lnTo>
                    <a:pt x="834" y="990"/>
                  </a:lnTo>
                  <a:lnTo>
                    <a:pt x="828" y="990"/>
                  </a:lnTo>
                  <a:lnTo>
                    <a:pt x="816" y="990"/>
                  </a:lnTo>
                  <a:lnTo>
                    <a:pt x="810" y="990"/>
                  </a:lnTo>
                  <a:lnTo>
                    <a:pt x="804" y="984"/>
                  </a:lnTo>
                  <a:lnTo>
                    <a:pt x="792" y="978"/>
                  </a:lnTo>
                  <a:lnTo>
                    <a:pt x="786" y="972"/>
                  </a:lnTo>
                  <a:lnTo>
                    <a:pt x="780" y="972"/>
                  </a:lnTo>
                  <a:lnTo>
                    <a:pt x="768" y="966"/>
                  </a:lnTo>
                  <a:lnTo>
                    <a:pt x="762" y="966"/>
                  </a:lnTo>
                  <a:lnTo>
                    <a:pt x="756" y="966"/>
                  </a:lnTo>
                  <a:lnTo>
                    <a:pt x="750" y="966"/>
                  </a:lnTo>
                  <a:lnTo>
                    <a:pt x="744" y="966"/>
                  </a:lnTo>
                  <a:lnTo>
                    <a:pt x="738" y="960"/>
                  </a:lnTo>
                  <a:lnTo>
                    <a:pt x="732" y="954"/>
                  </a:lnTo>
                  <a:lnTo>
                    <a:pt x="720" y="954"/>
                  </a:lnTo>
                  <a:lnTo>
                    <a:pt x="714" y="948"/>
                  </a:lnTo>
                  <a:lnTo>
                    <a:pt x="708" y="948"/>
                  </a:lnTo>
                  <a:lnTo>
                    <a:pt x="696" y="948"/>
                  </a:lnTo>
                  <a:lnTo>
                    <a:pt x="684" y="942"/>
                  </a:lnTo>
                  <a:lnTo>
                    <a:pt x="678" y="936"/>
                  </a:lnTo>
                  <a:lnTo>
                    <a:pt x="660" y="930"/>
                  </a:lnTo>
                  <a:lnTo>
                    <a:pt x="642" y="924"/>
                  </a:lnTo>
                  <a:lnTo>
                    <a:pt x="636" y="924"/>
                  </a:lnTo>
                  <a:lnTo>
                    <a:pt x="630" y="924"/>
                  </a:lnTo>
                  <a:lnTo>
                    <a:pt x="618" y="924"/>
                  </a:lnTo>
                  <a:lnTo>
                    <a:pt x="618" y="918"/>
                  </a:lnTo>
                  <a:lnTo>
                    <a:pt x="606" y="918"/>
                  </a:lnTo>
                  <a:lnTo>
                    <a:pt x="600" y="918"/>
                  </a:lnTo>
                  <a:lnTo>
                    <a:pt x="594" y="918"/>
                  </a:lnTo>
                  <a:lnTo>
                    <a:pt x="594" y="912"/>
                  </a:lnTo>
                  <a:lnTo>
                    <a:pt x="588" y="912"/>
                  </a:lnTo>
                  <a:lnTo>
                    <a:pt x="582" y="912"/>
                  </a:lnTo>
                  <a:lnTo>
                    <a:pt x="582" y="918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58" y="918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12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00"/>
                  </a:lnTo>
                  <a:lnTo>
                    <a:pt x="516" y="900"/>
                  </a:lnTo>
                  <a:lnTo>
                    <a:pt x="510" y="900"/>
                  </a:lnTo>
                  <a:lnTo>
                    <a:pt x="486" y="894"/>
                  </a:lnTo>
                  <a:lnTo>
                    <a:pt x="474" y="888"/>
                  </a:lnTo>
                  <a:lnTo>
                    <a:pt x="468" y="888"/>
                  </a:lnTo>
                  <a:lnTo>
                    <a:pt x="450" y="88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0" name="Freeform 15">
              <a:extLst>
                <a:ext uri="{FF2B5EF4-FFF2-40B4-BE49-F238E27FC236}">
                  <a16:creationId xmlns:a16="http://schemas.microsoft.com/office/drawing/2014/main" id="{8B991D7A-45C6-40F6-A035-24DFC733305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382" y="2652043"/>
              <a:ext cx="724526" cy="695552"/>
            </a:xfrm>
            <a:custGeom>
              <a:avLst/>
              <a:gdLst>
                <a:gd name="T0" fmla="*/ 44 w 1362"/>
                <a:gd name="T1" fmla="*/ 106 h 1308"/>
                <a:gd name="T2" fmla="*/ 32 w 1362"/>
                <a:gd name="T3" fmla="*/ 109 h 1308"/>
                <a:gd name="T4" fmla="*/ 25 w 1362"/>
                <a:gd name="T5" fmla="*/ 105 h 1308"/>
                <a:gd name="T6" fmla="*/ 22 w 1362"/>
                <a:gd name="T7" fmla="*/ 97 h 1308"/>
                <a:gd name="T8" fmla="*/ 21 w 1362"/>
                <a:gd name="T9" fmla="*/ 95 h 1308"/>
                <a:gd name="T10" fmla="*/ 20 w 1362"/>
                <a:gd name="T11" fmla="*/ 90 h 1308"/>
                <a:gd name="T12" fmla="*/ 23 w 1362"/>
                <a:gd name="T13" fmla="*/ 87 h 1308"/>
                <a:gd name="T14" fmla="*/ 29 w 1362"/>
                <a:gd name="T15" fmla="*/ 81 h 1308"/>
                <a:gd name="T16" fmla="*/ 30 w 1362"/>
                <a:gd name="T17" fmla="*/ 78 h 1308"/>
                <a:gd name="T18" fmla="*/ 27 w 1362"/>
                <a:gd name="T19" fmla="*/ 75 h 1308"/>
                <a:gd name="T20" fmla="*/ 15 w 1362"/>
                <a:gd name="T21" fmla="*/ 73 h 1308"/>
                <a:gd name="T22" fmla="*/ 12 w 1362"/>
                <a:gd name="T23" fmla="*/ 69 h 1308"/>
                <a:gd name="T24" fmla="*/ 5 w 1362"/>
                <a:gd name="T25" fmla="*/ 65 h 1308"/>
                <a:gd name="T26" fmla="*/ 6 w 1362"/>
                <a:gd name="T27" fmla="*/ 62 h 1308"/>
                <a:gd name="T28" fmla="*/ 7 w 1362"/>
                <a:gd name="T29" fmla="*/ 56 h 1308"/>
                <a:gd name="T30" fmla="*/ 2 w 1362"/>
                <a:gd name="T31" fmla="*/ 49 h 1308"/>
                <a:gd name="T32" fmla="*/ 0 w 1362"/>
                <a:gd name="T33" fmla="*/ 44 h 1308"/>
                <a:gd name="T34" fmla="*/ 0 w 1362"/>
                <a:gd name="T35" fmla="*/ 39 h 1308"/>
                <a:gd name="T36" fmla="*/ 3 w 1362"/>
                <a:gd name="T37" fmla="*/ 35 h 1308"/>
                <a:gd name="T38" fmla="*/ 3 w 1362"/>
                <a:gd name="T39" fmla="*/ 28 h 1308"/>
                <a:gd name="T40" fmla="*/ 6 w 1362"/>
                <a:gd name="T41" fmla="*/ 18 h 1308"/>
                <a:gd name="T42" fmla="*/ 6 w 1362"/>
                <a:gd name="T43" fmla="*/ 8 h 1308"/>
                <a:gd name="T44" fmla="*/ 10 w 1362"/>
                <a:gd name="T45" fmla="*/ 5 h 1308"/>
                <a:gd name="T46" fmla="*/ 15 w 1362"/>
                <a:gd name="T47" fmla="*/ 0 h 1308"/>
                <a:gd name="T48" fmla="*/ 21 w 1362"/>
                <a:gd name="T49" fmla="*/ 7 h 1308"/>
                <a:gd name="T50" fmla="*/ 25 w 1362"/>
                <a:gd name="T51" fmla="*/ 15 h 1308"/>
                <a:gd name="T52" fmla="*/ 24 w 1362"/>
                <a:gd name="T53" fmla="*/ 19 h 1308"/>
                <a:gd name="T54" fmla="*/ 32 w 1362"/>
                <a:gd name="T55" fmla="*/ 19 h 1308"/>
                <a:gd name="T56" fmla="*/ 35 w 1362"/>
                <a:gd name="T57" fmla="*/ 20 h 1308"/>
                <a:gd name="T58" fmla="*/ 40 w 1362"/>
                <a:gd name="T59" fmla="*/ 23 h 1308"/>
                <a:gd name="T60" fmla="*/ 40 w 1362"/>
                <a:gd name="T61" fmla="*/ 26 h 1308"/>
                <a:gd name="T62" fmla="*/ 34 w 1362"/>
                <a:gd name="T63" fmla="*/ 35 h 1308"/>
                <a:gd name="T64" fmla="*/ 41 w 1362"/>
                <a:gd name="T65" fmla="*/ 37 h 1308"/>
                <a:gd name="T66" fmla="*/ 43 w 1362"/>
                <a:gd name="T67" fmla="*/ 44 h 1308"/>
                <a:gd name="T68" fmla="*/ 48 w 1362"/>
                <a:gd name="T69" fmla="*/ 47 h 1308"/>
                <a:gd name="T70" fmla="*/ 57 w 1362"/>
                <a:gd name="T71" fmla="*/ 48 h 1308"/>
                <a:gd name="T72" fmla="*/ 70 w 1362"/>
                <a:gd name="T73" fmla="*/ 44 h 1308"/>
                <a:gd name="T74" fmla="*/ 80 w 1362"/>
                <a:gd name="T75" fmla="*/ 34 h 1308"/>
                <a:gd name="T76" fmla="*/ 95 w 1362"/>
                <a:gd name="T77" fmla="*/ 41 h 1308"/>
                <a:gd name="T78" fmla="*/ 109 w 1362"/>
                <a:gd name="T79" fmla="*/ 47 h 1308"/>
                <a:gd name="T80" fmla="*/ 111 w 1362"/>
                <a:gd name="T81" fmla="*/ 50 h 1308"/>
                <a:gd name="T82" fmla="*/ 113 w 1362"/>
                <a:gd name="T83" fmla="*/ 53 h 1308"/>
                <a:gd name="T84" fmla="*/ 113 w 1362"/>
                <a:gd name="T85" fmla="*/ 55 h 1308"/>
                <a:gd name="T86" fmla="*/ 113 w 1362"/>
                <a:gd name="T87" fmla="*/ 59 h 1308"/>
                <a:gd name="T88" fmla="*/ 113 w 1362"/>
                <a:gd name="T89" fmla="*/ 62 h 1308"/>
                <a:gd name="T90" fmla="*/ 115 w 1362"/>
                <a:gd name="T91" fmla="*/ 65 h 1308"/>
                <a:gd name="T92" fmla="*/ 115 w 1362"/>
                <a:gd name="T93" fmla="*/ 67 h 1308"/>
                <a:gd name="T94" fmla="*/ 116 w 1362"/>
                <a:gd name="T95" fmla="*/ 69 h 1308"/>
                <a:gd name="T96" fmla="*/ 116 w 1362"/>
                <a:gd name="T97" fmla="*/ 71 h 1308"/>
                <a:gd name="T98" fmla="*/ 118 w 1362"/>
                <a:gd name="T99" fmla="*/ 75 h 1308"/>
                <a:gd name="T100" fmla="*/ 116 w 1362"/>
                <a:gd name="T101" fmla="*/ 77 h 1308"/>
                <a:gd name="T102" fmla="*/ 116 w 1362"/>
                <a:gd name="T103" fmla="*/ 79 h 1308"/>
                <a:gd name="T104" fmla="*/ 101 w 1362"/>
                <a:gd name="T105" fmla="*/ 87 h 1308"/>
                <a:gd name="T106" fmla="*/ 85 w 1362"/>
                <a:gd name="T107" fmla="*/ 103 h 1308"/>
                <a:gd name="T108" fmla="*/ 67 w 1362"/>
                <a:gd name="T109" fmla="*/ 114 h 130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62"/>
                <a:gd name="T166" fmla="*/ 0 h 1308"/>
                <a:gd name="T167" fmla="*/ 1362 w 1362"/>
                <a:gd name="T168" fmla="*/ 1308 h 130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62" h="1308">
                  <a:moveTo>
                    <a:pt x="684" y="1278"/>
                  </a:moveTo>
                  <a:lnTo>
                    <a:pt x="672" y="1272"/>
                  </a:lnTo>
                  <a:lnTo>
                    <a:pt x="636" y="1266"/>
                  </a:lnTo>
                  <a:lnTo>
                    <a:pt x="582" y="1248"/>
                  </a:lnTo>
                  <a:lnTo>
                    <a:pt x="564" y="1230"/>
                  </a:lnTo>
                  <a:lnTo>
                    <a:pt x="540" y="1218"/>
                  </a:lnTo>
                  <a:lnTo>
                    <a:pt x="510" y="1218"/>
                  </a:lnTo>
                  <a:lnTo>
                    <a:pt x="498" y="1224"/>
                  </a:lnTo>
                  <a:lnTo>
                    <a:pt x="492" y="1230"/>
                  </a:lnTo>
                  <a:lnTo>
                    <a:pt x="474" y="1230"/>
                  </a:lnTo>
                  <a:lnTo>
                    <a:pt x="414" y="1230"/>
                  </a:lnTo>
                  <a:lnTo>
                    <a:pt x="396" y="1236"/>
                  </a:lnTo>
                  <a:lnTo>
                    <a:pt x="390" y="1248"/>
                  </a:lnTo>
                  <a:lnTo>
                    <a:pt x="372" y="1248"/>
                  </a:lnTo>
                  <a:lnTo>
                    <a:pt x="366" y="1242"/>
                  </a:lnTo>
                  <a:lnTo>
                    <a:pt x="366" y="1224"/>
                  </a:lnTo>
                  <a:lnTo>
                    <a:pt x="360" y="1224"/>
                  </a:lnTo>
                  <a:lnTo>
                    <a:pt x="354" y="1218"/>
                  </a:lnTo>
                  <a:lnTo>
                    <a:pt x="336" y="1206"/>
                  </a:lnTo>
                  <a:lnTo>
                    <a:pt x="330" y="1194"/>
                  </a:lnTo>
                  <a:lnTo>
                    <a:pt x="288" y="1200"/>
                  </a:lnTo>
                  <a:lnTo>
                    <a:pt x="288" y="1194"/>
                  </a:lnTo>
                  <a:lnTo>
                    <a:pt x="288" y="1182"/>
                  </a:lnTo>
                  <a:lnTo>
                    <a:pt x="288" y="1170"/>
                  </a:lnTo>
                  <a:lnTo>
                    <a:pt x="288" y="1164"/>
                  </a:lnTo>
                  <a:lnTo>
                    <a:pt x="282" y="1140"/>
                  </a:lnTo>
                  <a:lnTo>
                    <a:pt x="276" y="1134"/>
                  </a:lnTo>
                  <a:lnTo>
                    <a:pt x="258" y="1116"/>
                  </a:lnTo>
                  <a:lnTo>
                    <a:pt x="258" y="1110"/>
                  </a:lnTo>
                  <a:lnTo>
                    <a:pt x="252" y="1110"/>
                  </a:lnTo>
                  <a:lnTo>
                    <a:pt x="252" y="1104"/>
                  </a:lnTo>
                  <a:lnTo>
                    <a:pt x="252" y="1098"/>
                  </a:lnTo>
                  <a:lnTo>
                    <a:pt x="240" y="1092"/>
                  </a:lnTo>
                  <a:lnTo>
                    <a:pt x="234" y="1092"/>
                  </a:lnTo>
                  <a:lnTo>
                    <a:pt x="240" y="1086"/>
                  </a:lnTo>
                  <a:lnTo>
                    <a:pt x="234" y="1080"/>
                  </a:lnTo>
                  <a:lnTo>
                    <a:pt x="228" y="1080"/>
                  </a:lnTo>
                  <a:lnTo>
                    <a:pt x="228" y="1068"/>
                  </a:lnTo>
                  <a:lnTo>
                    <a:pt x="228" y="1056"/>
                  </a:lnTo>
                  <a:lnTo>
                    <a:pt x="222" y="1056"/>
                  </a:lnTo>
                  <a:lnTo>
                    <a:pt x="228" y="1044"/>
                  </a:lnTo>
                  <a:lnTo>
                    <a:pt x="228" y="1038"/>
                  </a:lnTo>
                  <a:lnTo>
                    <a:pt x="228" y="1032"/>
                  </a:lnTo>
                  <a:lnTo>
                    <a:pt x="234" y="1026"/>
                  </a:lnTo>
                  <a:lnTo>
                    <a:pt x="246" y="1020"/>
                  </a:lnTo>
                  <a:lnTo>
                    <a:pt x="252" y="1020"/>
                  </a:lnTo>
                  <a:lnTo>
                    <a:pt x="258" y="1014"/>
                  </a:lnTo>
                  <a:lnTo>
                    <a:pt x="264" y="1008"/>
                  </a:lnTo>
                  <a:lnTo>
                    <a:pt x="264" y="1002"/>
                  </a:lnTo>
                  <a:lnTo>
                    <a:pt x="270" y="984"/>
                  </a:lnTo>
                  <a:lnTo>
                    <a:pt x="276" y="978"/>
                  </a:lnTo>
                  <a:lnTo>
                    <a:pt x="300" y="978"/>
                  </a:lnTo>
                  <a:lnTo>
                    <a:pt x="306" y="972"/>
                  </a:lnTo>
                  <a:lnTo>
                    <a:pt x="312" y="966"/>
                  </a:lnTo>
                  <a:lnTo>
                    <a:pt x="324" y="936"/>
                  </a:lnTo>
                  <a:lnTo>
                    <a:pt x="330" y="930"/>
                  </a:lnTo>
                  <a:lnTo>
                    <a:pt x="330" y="924"/>
                  </a:lnTo>
                  <a:lnTo>
                    <a:pt x="336" y="918"/>
                  </a:lnTo>
                  <a:lnTo>
                    <a:pt x="342" y="912"/>
                  </a:lnTo>
                  <a:lnTo>
                    <a:pt x="342" y="906"/>
                  </a:lnTo>
                  <a:lnTo>
                    <a:pt x="342" y="900"/>
                  </a:lnTo>
                  <a:lnTo>
                    <a:pt x="342" y="894"/>
                  </a:lnTo>
                  <a:lnTo>
                    <a:pt x="342" y="888"/>
                  </a:lnTo>
                  <a:lnTo>
                    <a:pt x="336" y="876"/>
                  </a:lnTo>
                  <a:lnTo>
                    <a:pt x="342" y="870"/>
                  </a:lnTo>
                  <a:lnTo>
                    <a:pt x="336" y="864"/>
                  </a:lnTo>
                  <a:lnTo>
                    <a:pt x="336" y="858"/>
                  </a:lnTo>
                  <a:lnTo>
                    <a:pt x="330" y="852"/>
                  </a:lnTo>
                  <a:lnTo>
                    <a:pt x="318" y="852"/>
                  </a:lnTo>
                  <a:lnTo>
                    <a:pt x="306" y="858"/>
                  </a:lnTo>
                  <a:lnTo>
                    <a:pt x="264" y="864"/>
                  </a:lnTo>
                  <a:lnTo>
                    <a:pt x="234" y="858"/>
                  </a:lnTo>
                  <a:lnTo>
                    <a:pt x="228" y="858"/>
                  </a:lnTo>
                  <a:lnTo>
                    <a:pt x="198" y="858"/>
                  </a:lnTo>
                  <a:lnTo>
                    <a:pt x="174" y="858"/>
                  </a:lnTo>
                  <a:lnTo>
                    <a:pt x="168" y="852"/>
                  </a:lnTo>
                  <a:lnTo>
                    <a:pt x="168" y="840"/>
                  </a:lnTo>
                  <a:lnTo>
                    <a:pt x="168" y="834"/>
                  </a:lnTo>
                  <a:lnTo>
                    <a:pt x="168" y="822"/>
                  </a:lnTo>
                  <a:lnTo>
                    <a:pt x="162" y="822"/>
                  </a:lnTo>
                  <a:lnTo>
                    <a:pt x="150" y="816"/>
                  </a:lnTo>
                  <a:lnTo>
                    <a:pt x="144" y="810"/>
                  </a:lnTo>
                  <a:lnTo>
                    <a:pt x="144" y="804"/>
                  </a:lnTo>
                  <a:lnTo>
                    <a:pt x="144" y="786"/>
                  </a:lnTo>
                  <a:lnTo>
                    <a:pt x="144" y="780"/>
                  </a:lnTo>
                  <a:lnTo>
                    <a:pt x="144" y="774"/>
                  </a:lnTo>
                  <a:lnTo>
                    <a:pt x="132" y="756"/>
                  </a:lnTo>
                  <a:lnTo>
                    <a:pt x="120" y="756"/>
                  </a:lnTo>
                  <a:lnTo>
                    <a:pt x="84" y="750"/>
                  </a:lnTo>
                  <a:lnTo>
                    <a:pt x="78" y="744"/>
                  </a:lnTo>
                  <a:lnTo>
                    <a:pt x="60" y="744"/>
                  </a:lnTo>
                  <a:lnTo>
                    <a:pt x="54" y="726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66" y="720"/>
                  </a:lnTo>
                  <a:lnTo>
                    <a:pt x="66" y="714"/>
                  </a:lnTo>
                  <a:lnTo>
                    <a:pt x="72" y="714"/>
                  </a:lnTo>
                  <a:lnTo>
                    <a:pt x="72" y="708"/>
                  </a:lnTo>
                  <a:lnTo>
                    <a:pt x="78" y="702"/>
                  </a:lnTo>
                  <a:lnTo>
                    <a:pt x="78" y="696"/>
                  </a:lnTo>
                  <a:lnTo>
                    <a:pt x="78" y="690"/>
                  </a:lnTo>
                  <a:lnTo>
                    <a:pt x="84" y="678"/>
                  </a:lnTo>
                  <a:lnTo>
                    <a:pt x="90" y="666"/>
                  </a:lnTo>
                  <a:lnTo>
                    <a:pt x="90" y="642"/>
                  </a:lnTo>
                  <a:lnTo>
                    <a:pt x="84" y="648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66" y="642"/>
                  </a:lnTo>
                  <a:lnTo>
                    <a:pt x="60" y="642"/>
                  </a:lnTo>
                  <a:lnTo>
                    <a:pt x="54" y="636"/>
                  </a:lnTo>
                  <a:lnTo>
                    <a:pt x="30" y="570"/>
                  </a:lnTo>
                  <a:lnTo>
                    <a:pt x="24" y="564"/>
                  </a:lnTo>
                  <a:lnTo>
                    <a:pt x="18" y="570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6"/>
                  </a:lnTo>
                  <a:lnTo>
                    <a:pt x="6" y="540"/>
                  </a:lnTo>
                  <a:lnTo>
                    <a:pt x="0" y="522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2" y="480"/>
                  </a:lnTo>
                  <a:lnTo>
                    <a:pt x="6" y="480"/>
                  </a:lnTo>
                  <a:lnTo>
                    <a:pt x="0" y="474"/>
                  </a:lnTo>
                  <a:lnTo>
                    <a:pt x="0" y="450"/>
                  </a:lnTo>
                  <a:lnTo>
                    <a:pt x="6" y="450"/>
                  </a:lnTo>
                  <a:lnTo>
                    <a:pt x="12" y="450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32"/>
                  </a:lnTo>
                  <a:lnTo>
                    <a:pt x="30" y="426"/>
                  </a:lnTo>
                  <a:lnTo>
                    <a:pt x="36" y="402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2" y="366"/>
                  </a:lnTo>
                  <a:lnTo>
                    <a:pt x="48" y="360"/>
                  </a:lnTo>
                  <a:lnTo>
                    <a:pt x="48" y="342"/>
                  </a:lnTo>
                  <a:lnTo>
                    <a:pt x="42" y="330"/>
                  </a:lnTo>
                  <a:lnTo>
                    <a:pt x="36" y="324"/>
                  </a:lnTo>
                  <a:lnTo>
                    <a:pt x="42" y="306"/>
                  </a:lnTo>
                  <a:lnTo>
                    <a:pt x="42" y="270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48" y="258"/>
                  </a:lnTo>
                  <a:lnTo>
                    <a:pt x="72" y="252"/>
                  </a:lnTo>
                  <a:lnTo>
                    <a:pt x="66" y="204"/>
                  </a:lnTo>
                  <a:lnTo>
                    <a:pt x="60" y="198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8" y="13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84" y="96"/>
                  </a:lnTo>
                  <a:lnTo>
                    <a:pt x="90" y="84"/>
                  </a:lnTo>
                  <a:lnTo>
                    <a:pt x="108" y="72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20" y="60"/>
                  </a:lnTo>
                  <a:lnTo>
                    <a:pt x="120" y="54"/>
                  </a:lnTo>
                  <a:lnTo>
                    <a:pt x="120" y="48"/>
                  </a:lnTo>
                  <a:lnTo>
                    <a:pt x="126" y="48"/>
                  </a:lnTo>
                  <a:lnTo>
                    <a:pt x="132" y="42"/>
                  </a:lnTo>
                  <a:lnTo>
                    <a:pt x="132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240" y="18"/>
                  </a:lnTo>
                  <a:lnTo>
                    <a:pt x="246" y="42"/>
                  </a:lnTo>
                  <a:lnTo>
                    <a:pt x="240" y="72"/>
                  </a:lnTo>
                  <a:lnTo>
                    <a:pt x="246" y="78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8" y="108"/>
                  </a:lnTo>
                  <a:lnTo>
                    <a:pt x="276" y="114"/>
                  </a:lnTo>
                  <a:lnTo>
                    <a:pt x="294" y="150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82" y="186"/>
                  </a:lnTo>
                  <a:lnTo>
                    <a:pt x="282" y="192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76" y="216"/>
                  </a:lnTo>
                  <a:lnTo>
                    <a:pt x="288" y="240"/>
                  </a:lnTo>
                  <a:lnTo>
                    <a:pt x="312" y="228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66" y="228"/>
                  </a:lnTo>
                  <a:lnTo>
                    <a:pt x="372" y="228"/>
                  </a:lnTo>
                  <a:lnTo>
                    <a:pt x="372" y="222"/>
                  </a:lnTo>
                  <a:lnTo>
                    <a:pt x="378" y="222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6" y="222"/>
                  </a:lnTo>
                  <a:lnTo>
                    <a:pt x="402" y="222"/>
                  </a:lnTo>
                  <a:lnTo>
                    <a:pt x="402" y="228"/>
                  </a:lnTo>
                  <a:lnTo>
                    <a:pt x="408" y="228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26" y="216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68" y="258"/>
                  </a:lnTo>
                  <a:lnTo>
                    <a:pt x="462" y="264"/>
                  </a:lnTo>
                  <a:lnTo>
                    <a:pt x="468" y="264"/>
                  </a:lnTo>
                  <a:lnTo>
                    <a:pt x="468" y="270"/>
                  </a:lnTo>
                  <a:lnTo>
                    <a:pt x="474" y="270"/>
                  </a:lnTo>
                  <a:lnTo>
                    <a:pt x="480" y="276"/>
                  </a:lnTo>
                  <a:lnTo>
                    <a:pt x="474" y="282"/>
                  </a:lnTo>
                  <a:lnTo>
                    <a:pt x="474" y="288"/>
                  </a:lnTo>
                  <a:lnTo>
                    <a:pt x="462" y="294"/>
                  </a:lnTo>
                  <a:lnTo>
                    <a:pt x="468" y="324"/>
                  </a:lnTo>
                  <a:lnTo>
                    <a:pt x="462" y="336"/>
                  </a:lnTo>
                  <a:lnTo>
                    <a:pt x="456" y="354"/>
                  </a:lnTo>
                  <a:lnTo>
                    <a:pt x="432" y="390"/>
                  </a:lnTo>
                  <a:lnTo>
                    <a:pt x="420" y="390"/>
                  </a:lnTo>
                  <a:lnTo>
                    <a:pt x="402" y="390"/>
                  </a:lnTo>
                  <a:lnTo>
                    <a:pt x="396" y="396"/>
                  </a:lnTo>
                  <a:lnTo>
                    <a:pt x="390" y="396"/>
                  </a:lnTo>
                  <a:lnTo>
                    <a:pt x="390" y="402"/>
                  </a:lnTo>
                  <a:lnTo>
                    <a:pt x="384" y="402"/>
                  </a:lnTo>
                  <a:lnTo>
                    <a:pt x="408" y="432"/>
                  </a:lnTo>
                  <a:lnTo>
                    <a:pt x="432" y="438"/>
                  </a:lnTo>
                  <a:lnTo>
                    <a:pt x="456" y="432"/>
                  </a:lnTo>
                  <a:lnTo>
                    <a:pt x="468" y="426"/>
                  </a:lnTo>
                  <a:lnTo>
                    <a:pt x="468" y="444"/>
                  </a:lnTo>
                  <a:lnTo>
                    <a:pt x="468" y="450"/>
                  </a:lnTo>
                  <a:lnTo>
                    <a:pt x="468" y="474"/>
                  </a:lnTo>
                  <a:lnTo>
                    <a:pt x="486" y="480"/>
                  </a:lnTo>
                  <a:lnTo>
                    <a:pt x="486" y="486"/>
                  </a:lnTo>
                  <a:lnTo>
                    <a:pt x="492" y="498"/>
                  </a:lnTo>
                  <a:lnTo>
                    <a:pt x="492" y="504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504" y="516"/>
                  </a:lnTo>
                  <a:lnTo>
                    <a:pt x="510" y="516"/>
                  </a:lnTo>
                  <a:lnTo>
                    <a:pt x="522" y="528"/>
                  </a:lnTo>
                  <a:lnTo>
                    <a:pt x="546" y="540"/>
                  </a:lnTo>
                  <a:lnTo>
                    <a:pt x="552" y="546"/>
                  </a:lnTo>
                  <a:lnTo>
                    <a:pt x="570" y="552"/>
                  </a:lnTo>
                  <a:lnTo>
                    <a:pt x="594" y="552"/>
                  </a:lnTo>
                  <a:lnTo>
                    <a:pt x="606" y="546"/>
                  </a:lnTo>
                  <a:lnTo>
                    <a:pt x="612" y="540"/>
                  </a:lnTo>
                  <a:lnTo>
                    <a:pt x="630" y="540"/>
                  </a:lnTo>
                  <a:lnTo>
                    <a:pt x="630" y="552"/>
                  </a:lnTo>
                  <a:lnTo>
                    <a:pt x="654" y="552"/>
                  </a:lnTo>
                  <a:lnTo>
                    <a:pt x="702" y="558"/>
                  </a:lnTo>
                  <a:lnTo>
                    <a:pt x="762" y="546"/>
                  </a:lnTo>
                  <a:lnTo>
                    <a:pt x="780" y="546"/>
                  </a:lnTo>
                  <a:lnTo>
                    <a:pt x="780" y="528"/>
                  </a:lnTo>
                  <a:lnTo>
                    <a:pt x="798" y="522"/>
                  </a:lnTo>
                  <a:lnTo>
                    <a:pt x="810" y="510"/>
                  </a:lnTo>
                  <a:lnTo>
                    <a:pt x="810" y="504"/>
                  </a:lnTo>
                  <a:lnTo>
                    <a:pt x="828" y="492"/>
                  </a:lnTo>
                  <a:lnTo>
                    <a:pt x="888" y="486"/>
                  </a:lnTo>
                  <a:lnTo>
                    <a:pt x="912" y="486"/>
                  </a:lnTo>
                  <a:lnTo>
                    <a:pt x="930" y="474"/>
                  </a:lnTo>
                  <a:lnTo>
                    <a:pt x="918" y="456"/>
                  </a:lnTo>
                  <a:lnTo>
                    <a:pt x="912" y="450"/>
                  </a:lnTo>
                  <a:lnTo>
                    <a:pt x="918" y="390"/>
                  </a:lnTo>
                  <a:lnTo>
                    <a:pt x="954" y="396"/>
                  </a:lnTo>
                  <a:lnTo>
                    <a:pt x="984" y="402"/>
                  </a:lnTo>
                  <a:lnTo>
                    <a:pt x="1014" y="420"/>
                  </a:lnTo>
                  <a:lnTo>
                    <a:pt x="1026" y="432"/>
                  </a:lnTo>
                  <a:lnTo>
                    <a:pt x="1044" y="450"/>
                  </a:lnTo>
                  <a:lnTo>
                    <a:pt x="1062" y="462"/>
                  </a:lnTo>
                  <a:lnTo>
                    <a:pt x="1098" y="468"/>
                  </a:lnTo>
                  <a:lnTo>
                    <a:pt x="1128" y="480"/>
                  </a:lnTo>
                  <a:lnTo>
                    <a:pt x="1152" y="486"/>
                  </a:lnTo>
                  <a:lnTo>
                    <a:pt x="1188" y="498"/>
                  </a:lnTo>
                  <a:lnTo>
                    <a:pt x="1212" y="504"/>
                  </a:lnTo>
                  <a:lnTo>
                    <a:pt x="1224" y="528"/>
                  </a:lnTo>
                  <a:lnTo>
                    <a:pt x="1236" y="540"/>
                  </a:lnTo>
                  <a:lnTo>
                    <a:pt x="1254" y="540"/>
                  </a:lnTo>
                  <a:lnTo>
                    <a:pt x="1254" y="546"/>
                  </a:lnTo>
                  <a:lnTo>
                    <a:pt x="1260" y="552"/>
                  </a:lnTo>
                  <a:lnTo>
                    <a:pt x="1266" y="552"/>
                  </a:lnTo>
                  <a:lnTo>
                    <a:pt x="1266" y="558"/>
                  </a:lnTo>
                  <a:lnTo>
                    <a:pt x="1272" y="564"/>
                  </a:lnTo>
                  <a:lnTo>
                    <a:pt x="1278" y="564"/>
                  </a:lnTo>
                  <a:lnTo>
                    <a:pt x="1278" y="570"/>
                  </a:lnTo>
                  <a:lnTo>
                    <a:pt x="1284" y="576"/>
                  </a:lnTo>
                  <a:lnTo>
                    <a:pt x="1290" y="582"/>
                  </a:lnTo>
                  <a:lnTo>
                    <a:pt x="1296" y="582"/>
                  </a:lnTo>
                  <a:lnTo>
                    <a:pt x="1296" y="588"/>
                  </a:lnTo>
                  <a:lnTo>
                    <a:pt x="1308" y="594"/>
                  </a:lnTo>
                  <a:lnTo>
                    <a:pt x="1308" y="600"/>
                  </a:lnTo>
                  <a:lnTo>
                    <a:pt x="1308" y="606"/>
                  </a:lnTo>
                  <a:lnTo>
                    <a:pt x="1314" y="612"/>
                  </a:lnTo>
                  <a:lnTo>
                    <a:pt x="1308" y="618"/>
                  </a:lnTo>
                  <a:lnTo>
                    <a:pt x="1314" y="618"/>
                  </a:lnTo>
                  <a:lnTo>
                    <a:pt x="1314" y="624"/>
                  </a:lnTo>
                  <a:lnTo>
                    <a:pt x="1308" y="624"/>
                  </a:lnTo>
                  <a:lnTo>
                    <a:pt x="1302" y="630"/>
                  </a:lnTo>
                  <a:lnTo>
                    <a:pt x="1302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296" y="654"/>
                  </a:lnTo>
                  <a:lnTo>
                    <a:pt x="1302" y="660"/>
                  </a:lnTo>
                  <a:lnTo>
                    <a:pt x="1302" y="666"/>
                  </a:lnTo>
                  <a:lnTo>
                    <a:pt x="1308" y="666"/>
                  </a:lnTo>
                  <a:lnTo>
                    <a:pt x="1308" y="672"/>
                  </a:lnTo>
                  <a:lnTo>
                    <a:pt x="1308" y="678"/>
                  </a:lnTo>
                  <a:lnTo>
                    <a:pt x="1308" y="684"/>
                  </a:lnTo>
                  <a:lnTo>
                    <a:pt x="1308" y="690"/>
                  </a:lnTo>
                  <a:lnTo>
                    <a:pt x="1302" y="696"/>
                  </a:lnTo>
                  <a:lnTo>
                    <a:pt x="1302" y="702"/>
                  </a:lnTo>
                  <a:lnTo>
                    <a:pt x="1308" y="702"/>
                  </a:lnTo>
                  <a:lnTo>
                    <a:pt x="1302" y="708"/>
                  </a:lnTo>
                  <a:lnTo>
                    <a:pt x="1308" y="714"/>
                  </a:lnTo>
                  <a:lnTo>
                    <a:pt x="1308" y="720"/>
                  </a:lnTo>
                  <a:lnTo>
                    <a:pt x="1308" y="726"/>
                  </a:lnTo>
                  <a:lnTo>
                    <a:pt x="1308" y="732"/>
                  </a:lnTo>
                  <a:lnTo>
                    <a:pt x="1314" y="732"/>
                  </a:lnTo>
                  <a:lnTo>
                    <a:pt x="1314" y="738"/>
                  </a:lnTo>
                  <a:lnTo>
                    <a:pt x="1320" y="744"/>
                  </a:lnTo>
                  <a:lnTo>
                    <a:pt x="1326" y="750"/>
                  </a:lnTo>
                  <a:lnTo>
                    <a:pt x="1320" y="750"/>
                  </a:lnTo>
                  <a:lnTo>
                    <a:pt x="1320" y="756"/>
                  </a:lnTo>
                  <a:lnTo>
                    <a:pt x="1314" y="756"/>
                  </a:lnTo>
                  <a:lnTo>
                    <a:pt x="1314" y="762"/>
                  </a:lnTo>
                  <a:lnTo>
                    <a:pt x="1314" y="768"/>
                  </a:lnTo>
                  <a:lnTo>
                    <a:pt x="1320" y="768"/>
                  </a:lnTo>
                  <a:lnTo>
                    <a:pt x="1320" y="762"/>
                  </a:lnTo>
                  <a:lnTo>
                    <a:pt x="1320" y="768"/>
                  </a:lnTo>
                  <a:lnTo>
                    <a:pt x="1326" y="774"/>
                  </a:lnTo>
                  <a:lnTo>
                    <a:pt x="1332" y="774"/>
                  </a:lnTo>
                  <a:lnTo>
                    <a:pt x="1332" y="780"/>
                  </a:lnTo>
                  <a:lnTo>
                    <a:pt x="1332" y="786"/>
                  </a:lnTo>
                  <a:lnTo>
                    <a:pt x="1332" y="792"/>
                  </a:lnTo>
                  <a:lnTo>
                    <a:pt x="1338" y="786"/>
                  </a:lnTo>
                  <a:lnTo>
                    <a:pt x="1338" y="792"/>
                  </a:lnTo>
                  <a:lnTo>
                    <a:pt x="1344" y="798"/>
                  </a:lnTo>
                  <a:lnTo>
                    <a:pt x="1344" y="804"/>
                  </a:lnTo>
                  <a:lnTo>
                    <a:pt x="1344" y="810"/>
                  </a:lnTo>
                  <a:lnTo>
                    <a:pt x="1344" y="816"/>
                  </a:lnTo>
                  <a:lnTo>
                    <a:pt x="1344" y="822"/>
                  </a:lnTo>
                  <a:lnTo>
                    <a:pt x="1338" y="828"/>
                  </a:lnTo>
                  <a:lnTo>
                    <a:pt x="1332" y="828"/>
                  </a:lnTo>
                  <a:lnTo>
                    <a:pt x="1338" y="840"/>
                  </a:lnTo>
                  <a:lnTo>
                    <a:pt x="1344" y="846"/>
                  </a:lnTo>
                  <a:lnTo>
                    <a:pt x="1344" y="852"/>
                  </a:lnTo>
                  <a:lnTo>
                    <a:pt x="1350" y="852"/>
                  </a:lnTo>
                  <a:lnTo>
                    <a:pt x="1356" y="858"/>
                  </a:lnTo>
                  <a:lnTo>
                    <a:pt x="1362" y="858"/>
                  </a:lnTo>
                  <a:lnTo>
                    <a:pt x="1362" y="870"/>
                  </a:lnTo>
                  <a:lnTo>
                    <a:pt x="1356" y="870"/>
                  </a:lnTo>
                  <a:lnTo>
                    <a:pt x="1356" y="876"/>
                  </a:lnTo>
                  <a:lnTo>
                    <a:pt x="1350" y="876"/>
                  </a:lnTo>
                  <a:lnTo>
                    <a:pt x="1344" y="876"/>
                  </a:lnTo>
                  <a:lnTo>
                    <a:pt x="1344" y="882"/>
                  </a:lnTo>
                  <a:lnTo>
                    <a:pt x="1338" y="882"/>
                  </a:lnTo>
                  <a:lnTo>
                    <a:pt x="1338" y="888"/>
                  </a:lnTo>
                  <a:lnTo>
                    <a:pt x="1338" y="894"/>
                  </a:lnTo>
                  <a:lnTo>
                    <a:pt x="1344" y="900"/>
                  </a:lnTo>
                  <a:lnTo>
                    <a:pt x="1344" y="906"/>
                  </a:lnTo>
                  <a:lnTo>
                    <a:pt x="1338" y="906"/>
                  </a:lnTo>
                  <a:lnTo>
                    <a:pt x="1332" y="912"/>
                  </a:lnTo>
                  <a:lnTo>
                    <a:pt x="1332" y="918"/>
                  </a:lnTo>
                  <a:lnTo>
                    <a:pt x="1326" y="918"/>
                  </a:lnTo>
                  <a:lnTo>
                    <a:pt x="1332" y="924"/>
                  </a:lnTo>
                  <a:lnTo>
                    <a:pt x="1284" y="942"/>
                  </a:lnTo>
                  <a:lnTo>
                    <a:pt x="1236" y="948"/>
                  </a:lnTo>
                  <a:lnTo>
                    <a:pt x="1194" y="966"/>
                  </a:lnTo>
                  <a:lnTo>
                    <a:pt x="1170" y="1002"/>
                  </a:lnTo>
                  <a:lnTo>
                    <a:pt x="1134" y="1020"/>
                  </a:lnTo>
                  <a:lnTo>
                    <a:pt x="1116" y="1032"/>
                  </a:lnTo>
                  <a:lnTo>
                    <a:pt x="1098" y="1050"/>
                  </a:lnTo>
                  <a:lnTo>
                    <a:pt x="1074" y="1074"/>
                  </a:lnTo>
                  <a:lnTo>
                    <a:pt x="1008" y="1134"/>
                  </a:lnTo>
                  <a:lnTo>
                    <a:pt x="990" y="1158"/>
                  </a:lnTo>
                  <a:lnTo>
                    <a:pt x="978" y="1182"/>
                  </a:lnTo>
                  <a:lnTo>
                    <a:pt x="960" y="1194"/>
                  </a:lnTo>
                  <a:lnTo>
                    <a:pt x="942" y="1212"/>
                  </a:lnTo>
                  <a:lnTo>
                    <a:pt x="912" y="1242"/>
                  </a:lnTo>
                  <a:lnTo>
                    <a:pt x="888" y="1254"/>
                  </a:lnTo>
                  <a:lnTo>
                    <a:pt x="864" y="1278"/>
                  </a:lnTo>
                  <a:lnTo>
                    <a:pt x="828" y="1296"/>
                  </a:lnTo>
                  <a:lnTo>
                    <a:pt x="774" y="1308"/>
                  </a:lnTo>
                  <a:lnTo>
                    <a:pt x="732" y="1302"/>
                  </a:lnTo>
                  <a:lnTo>
                    <a:pt x="702" y="1284"/>
                  </a:lnTo>
                  <a:lnTo>
                    <a:pt x="684" y="12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1" name="Freeform 16">
              <a:extLst>
                <a:ext uri="{FF2B5EF4-FFF2-40B4-BE49-F238E27FC236}">
                  <a16:creationId xmlns:a16="http://schemas.microsoft.com/office/drawing/2014/main" id="{D8D8591A-D9DB-4301-BEBD-D8F5A26DA9E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3001" y="2929369"/>
              <a:ext cx="914601" cy="1037736"/>
            </a:xfrm>
            <a:custGeom>
              <a:avLst/>
              <a:gdLst>
                <a:gd name="T0" fmla="*/ 144 w 1722"/>
                <a:gd name="T1" fmla="*/ 131 h 1956"/>
                <a:gd name="T2" fmla="*/ 142 w 1722"/>
                <a:gd name="T3" fmla="*/ 139 h 1956"/>
                <a:gd name="T4" fmla="*/ 137 w 1722"/>
                <a:gd name="T5" fmla="*/ 143 h 1956"/>
                <a:gd name="T6" fmla="*/ 133 w 1722"/>
                <a:gd name="T7" fmla="*/ 147 h 1956"/>
                <a:gd name="T8" fmla="*/ 132 w 1722"/>
                <a:gd name="T9" fmla="*/ 152 h 1956"/>
                <a:gd name="T10" fmla="*/ 130 w 1722"/>
                <a:gd name="T11" fmla="*/ 159 h 1956"/>
                <a:gd name="T12" fmla="*/ 127 w 1722"/>
                <a:gd name="T13" fmla="*/ 164 h 1956"/>
                <a:gd name="T14" fmla="*/ 123 w 1722"/>
                <a:gd name="T15" fmla="*/ 168 h 1956"/>
                <a:gd name="T16" fmla="*/ 117 w 1722"/>
                <a:gd name="T17" fmla="*/ 169 h 1956"/>
                <a:gd name="T18" fmla="*/ 110 w 1722"/>
                <a:gd name="T19" fmla="*/ 168 h 1956"/>
                <a:gd name="T20" fmla="*/ 104 w 1722"/>
                <a:gd name="T21" fmla="*/ 166 h 1956"/>
                <a:gd name="T22" fmla="*/ 101 w 1722"/>
                <a:gd name="T23" fmla="*/ 159 h 1956"/>
                <a:gd name="T24" fmla="*/ 95 w 1722"/>
                <a:gd name="T25" fmla="*/ 156 h 1956"/>
                <a:gd name="T26" fmla="*/ 89 w 1722"/>
                <a:gd name="T27" fmla="*/ 151 h 1956"/>
                <a:gd name="T28" fmla="*/ 87 w 1722"/>
                <a:gd name="T29" fmla="*/ 144 h 1956"/>
                <a:gd name="T30" fmla="*/ 82 w 1722"/>
                <a:gd name="T31" fmla="*/ 141 h 1956"/>
                <a:gd name="T32" fmla="*/ 76 w 1722"/>
                <a:gd name="T33" fmla="*/ 134 h 1956"/>
                <a:gd name="T34" fmla="*/ 74 w 1722"/>
                <a:gd name="T35" fmla="*/ 143 h 1956"/>
                <a:gd name="T36" fmla="*/ 68 w 1722"/>
                <a:gd name="T37" fmla="*/ 147 h 1956"/>
                <a:gd name="T38" fmla="*/ 54 w 1722"/>
                <a:gd name="T39" fmla="*/ 144 h 1956"/>
                <a:gd name="T40" fmla="*/ 51 w 1722"/>
                <a:gd name="T41" fmla="*/ 142 h 1956"/>
                <a:gd name="T42" fmla="*/ 42 w 1722"/>
                <a:gd name="T43" fmla="*/ 151 h 1956"/>
                <a:gd name="T44" fmla="*/ 33 w 1722"/>
                <a:gd name="T45" fmla="*/ 154 h 1956"/>
                <a:gd name="T46" fmla="*/ 31 w 1722"/>
                <a:gd name="T47" fmla="*/ 159 h 1956"/>
                <a:gd name="T48" fmla="*/ 29 w 1722"/>
                <a:gd name="T49" fmla="*/ 166 h 1956"/>
                <a:gd name="T50" fmla="*/ 25 w 1722"/>
                <a:gd name="T51" fmla="*/ 169 h 1956"/>
                <a:gd name="T52" fmla="*/ 27 w 1722"/>
                <a:gd name="T53" fmla="*/ 154 h 1956"/>
                <a:gd name="T54" fmla="*/ 37 w 1722"/>
                <a:gd name="T55" fmla="*/ 133 h 1956"/>
                <a:gd name="T56" fmla="*/ 36 w 1722"/>
                <a:gd name="T57" fmla="*/ 109 h 1956"/>
                <a:gd name="T58" fmla="*/ 27 w 1722"/>
                <a:gd name="T59" fmla="*/ 101 h 1956"/>
                <a:gd name="T60" fmla="*/ 5 w 1722"/>
                <a:gd name="T61" fmla="*/ 98 h 1956"/>
                <a:gd name="T62" fmla="*/ 2 w 1722"/>
                <a:gd name="T63" fmla="*/ 93 h 1956"/>
                <a:gd name="T64" fmla="*/ 12 w 1722"/>
                <a:gd name="T65" fmla="*/ 82 h 1956"/>
                <a:gd name="T66" fmla="*/ 9 w 1722"/>
                <a:gd name="T67" fmla="*/ 74 h 1956"/>
                <a:gd name="T68" fmla="*/ 23 w 1722"/>
                <a:gd name="T69" fmla="*/ 72 h 1956"/>
                <a:gd name="T70" fmla="*/ 22 w 1722"/>
                <a:gd name="T71" fmla="*/ 67 h 1956"/>
                <a:gd name="T72" fmla="*/ 48 w 1722"/>
                <a:gd name="T73" fmla="*/ 57 h 1956"/>
                <a:gd name="T74" fmla="*/ 78 w 1722"/>
                <a:gd name="T75" fmla="*/ 34 h 1956"/>
                <a:gd name="T76" fmla="*/ 81 w 1722"/>
                <a:gd name="T77" fmla="*/ 31 h 1956"/>
                <a:gd name="T78" fmla="*/ 80 w 1722"/>
                <a:gd name="T79" fmla="*/ 26 h 1956"/>
                <a:gd name="T80" fmla="*/ 78 w 1722"/>
                <a:gd name="T81" fmla="*/ 21 h 1956"/>
                <a:gd name="T82" fmla="*/ 77 w 1722"/>
                <a:gd name="T83" fmla="*/ 18 h 1956"/>
                <a:gd name="T84" fmla="*/ 77 w 1722"/>
                <a:gd name="T85" fmla="*/ 12 h 1956"/>
                <a:gd name="T86" fmla="*/ 77 w 1722"/>
                <a:gd name="T87" fmla="*/ 7 h 1956"/>
                <a:gd name="T88" fmla="*/ 102 w 1722"/>
                <a:gd name="T89" fmla="*/ 2 h 1956"/>
                <a:gd name="T90" fmla="*/ 115 w 1722"/>
                <a:gd name="T91" fmla="*/ 3 h 1956"/>
                <a:gd name="T92" fmla="*/ 123 w 1722"/>
                <a:gd name="T93" fmla="*/ 3 h 1956"/>
                <a:gd name="T94" fmla="*/ 125 w 1722"/>
                <a:gd name="T95" fmla="*/ 9 h 1956"/>
                <a:gd name="T96" fmla="*/ 133 w 1722"/>
                <a:gd name="T97" fmla="*/ 13 h 1956"/>
                <a:gd name="T98" fmla="*/ 149 w 1722"/>
                <a:gd name="T99" fmla="*/ 37 h 1956"/>
                <a:gd name="T100" fmla="*/ 141 w 1722"/>
                <a:gd name="T101" fmla="*/ 57 h 1956"/>
                <a:gd name="T102" fmla="*/ 135 w 1722"/>
                <a:gd name="T103" fmla="*/ 63 h 1956"/>
                <a:gd name="T104" fmla="*/ 124 w 1722"/>
                <a:gd name="T105" fmla="*/ 77 h 1956"/>
                <a:gd name="T106" fmla="*/ 123 w 1722"/>
                <a:gd name="T107" fmla="*/ 96 h 1956"/>
                <a:gd name="T108" fmla="*/ 127 w 1722"/>
                <a:gd name="T109" fmla="*/ 97 h 1956"/>
                <a:gd name="T110" fmla="*/ 129 w 1722"/>
                <a:gd name="T111" fmla="*/ 92 h 1956"/>
                <a:gd name="T112" fmla="*/ 134 w 1722"/>
                <a:gd name="T113" fmla="*/ 94 h 1956"/>
                <a:gd name="T114" fmla="*/ 138 w 1722"/>
                <a:gd name="T115" fmla="*/ 99 h 1956"/>
                <a:gd name="T116" fmla="*/ 142 w 1722"/>
                <a:gd name="T117" fmla="*/ 104 h 1956"/>
                <a:gd name="T118" fmla="*/ 141 w 1722"/>
                <a:gd name="T119" fmla="*/ 115 h 19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722"/>
                <a:gd name="T181" fmla="*/ 0 h 1956"/>
                <a:gd name="T182" fmla="*/ 1722 w 1722"/>
                <a:gd name="T183" fmla="*/ 1956 h 19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722" h="1956">
                  <a:moveTo>
                    <a:pt x="1686" y="1404"/>
                  </a:moveTo>
                  <a:lnTo>
                    <a:pt x="1680" y="1416"/>
                  </a:lnTo>
                  <a:lnTo>
                    <a:pt x="1674" y="1422"/>
                  </a:lnTo>
                  <a:lnTo>
                    <a:pt x="1674" y="1428"/>
                  </a:lnTo>
                  <a:lnTo>
                    <a:pt x="1668" y="1428"/>
                  </a:lnTo>
                  <a:lnTo>
                    <a:pt x="1668" y="1434"/>
                  </a:lnTo>
                  <a:lnTo>
                    <a:pt x="1662" y="1446"/>
                  </a:lnTo>
                  <a:lnTo>
                    <a:pt x="1656" y="1464"/>
                  </a:lnTo>
                  <a:lnTo>
                    <a:pt x="1656" y="1476"/>
                  </a:lnTo>
                  <a:lnTo>
                    <a:pt x="1656" y="1488"/>
                  </a:lnTo>
                  <a:lnTo>
                    <a:pt x="1662" y="1500"/>
                  </a:lnTo>
                  <a:lnTo>
                    <a:pt x="1662" y="1506"/>
                  </a:lnTo>
                  <a:lnTo>
                    <a:pt x="1662" y="1524"/>
                  </a:lnTo>
                  <a:lnTo>
                    <a:pt x="1668" y="1542"/>
                  </a:lnTo>
                  <a:lnTo>
                    <a:pt x="1674" y="1560"/>
                  </a:lnTo>
                  <a:lnTo>
                    <a:pt x="1680" y="1578"/>
                  </a:lnTo>
                  <a:lnTo>
                    <a:pt x="1686" y="1578"/>
                  </a:lnTo>
                  <a:lnTo>
                    <a:pt x="1686" y="1584"/>
                  </a:lnTo>
                  <a:lnTo>
                    <a:pt x="1686" y="1590"/>
                  </a:lnTo>
                  <a:lnTo>
                    <a:pt x="1686" y="1596"/>
                  </a:lnTo>
                  <a:lnTo>
                    <a:pt x="1680" y="1596"/>
                  </a:lnTo>
                  <a:lnTo>
                    <a:pt x="1674" y="1602"/>
                  </a:lnTo>
                  <a:lnTo>
                    <a:pt x="1662" y="1602"/>
                  </a:lnTo>
                  <a:lnTo>
                    <a:pt x="1638" y="1596"/>
                  </a:lnTo>
                  <a:lnTo>
                    <a:pt x="1632" y="1596"/>
                  </a:lnTo>
                  <a:lnTo>
                    <a:pt x="1626" y="1602"/>
                  </a:lnTo>
                  <a:lnTo>
                    <a:pt x="1620" y="1602"/>
                  </a:lnTo>
                  <a:lnTo>
                    <a:pt x="1614" y="1602"/>
                  </a:lnTo>
                  <a:lnTo>
                    <a:pt x="1602" y="1602"/>
                  </a:lnTo>
                  <a:lnTo>
                    <a:pt x="1602" y="1608"/>
                  </a:lnTo>
                  <a:lnTo>
                    <a:pt x="1602" y="1620"/>
                  </a:lnTo>
                  <a:lnTo>
                    <a:pt x="1596" y="1620"/>
                  </a:lnTo>
                  <a:lnTo>
                    <a:pt x="1590" y="1620"/>
                  </a:lnTo>
                  <a:lnTo>
                    <a:pt x="1584" y="1626"/>
                  </a:lnTo>
                  <a:lnTo>
                    <a:pt x="1584" y="1632"/>
                  </a:lnTo>
                  <a:lnTo>
                    <a:pt x="1578" y="1644"/>
                  </a:lnTo>
                  <a:lnTo>
                    <a:pt x="1572" y="1644"/>
                  </a:lnTo>
                  <a:lnTo>
                    <a:pt x="1566" y="1644"/>
                  </a:lnTo>
                  <a:lnTo>
                    <a:pt x="1566" y="1650"/>
                  </a:lnTo>
                  <a:lnTo>
                    <a:pt x="1560" y="1650"/>
                  </a:lnTo>
                  <a:lnTo>
                    <a:pt x="1554" y="1650"/>
                  </a:lnTo>
                  <a:lnTo>
                    <a:pt x="1548" y="1650"/>
                  </a:lnTo>
                  <a:lnTo>
                    <a:pt x="1548" y="1656"/>
                  </a:lnTo>
                  <a:lnTo>
                    <a:pt x="1542" y="1668"/>
                  </a:lnTo>
                  <a:lnTo>
                    <a:pt x="1542" y="1674"/>
                  </a:lnTo>
                  <a:lnTo>
                    <a:pt x="1542" y="1692"/>
                  </a:lnTo>
                  <a:lnTo>
                    <a:pt x="1536" y="1698"/>
                  </a:lnTo>
                  <a:lnTo>
                    <a:pt x="1530" y="1698"/>
                  </a:lnTo>
                  <a:lnTo>
                    <a:pt x="1524" y="1698"/>
                  </a:lnTo>
                  <a:lnTo>
                    <a:pt x="1518" y="1704"/>
                  </a:lnTo>
                  <a:lnTo>
                    <a:pt x="1512" y="1710"/>
                  </a:lnTo>
                  <a:lnTo>
                    <a:pt x="1506" y="1722"/>
                  </a:lnTo>
                  <a:lnTo>
                    <a:pt x="1500" y="1728"/>
                  </a:lnTo>
                  <a:lnTo>
                    <a:pt x="1500" y="1734"/>
                  </a:lnTo>
                  <a:lnTo>
                    <a:pt x="1512" y="1734"/>
                  </a:lnTo>
                  <a:lnTo>
                    <a:pt x="1518" y="1740"/>
                  </a:lnTo>
                  <a:lnTo>
                    <a:pt x="1518" y="1746"/>
                  </a:lnTo>
                  <a:lnTo>
                    <a:pt x="1518" y="1752"/>
                  </a:lnTo>
                  <a:lnTo>
                    <a:pt x="1518" y="1758"/>
                  </a:lnTo>
                  <a:lnTo>
                    <a:pt x="1524" y="1758"/>
                  </a:lnTo>
                  <a:lnTo>
                    <a:pt x="1524" y="1764"/>
                  </a:lnTo>
                  <a:lnTo>
                    <a:pt x="1530" y="1770"/>
                  </a:lnTo>
                  <a:lnTo>
                    <a:pt x="1518" y="1770"/>
                  </a:lnTo>
                  <a:lnTo>
                    <a:pt x="1512" y="1782"/>
                  </a:lnTo>
                  <a:lnTo>
                    <a:pt x="1512" y="1788"/>
                  </a:lnTo>
                  <a:lnTo>
                    <a:pt x="1518" y="1788"/>
                  </a:lnTo>
                  <a:lnTo>
                    <a:pt x="1524" y="1800"/>
                  </a:lnTo>
                  <a:lnTo>
                    <a:pt x="1524" y="1806"/>
                  </a:lnTo>
                  <a:lnTo>
                    <a:pt x="1518" y="1812"/>
                  </a:lnTo>
                  <a:lnTo>
                    <a:pt x="1512" y="1818"/>
                  </a:lnTo>
                  <a:lnTo>
                    <a:pt x="1506" y="1818"/>
                  </a:lnTo>
                  <a:lnTo>
                    <a:pt x="1500" y="1824"/>
                  </a:lnTo>
                  <a:lnTo>
                    <a:pt x="1500" y="1836"/>
                  </a:lnTo>
                  <a:lnTo>
                    <a:pt x="1500" y="1842"/>
                  </a:lnTo>
                  <a:lnTo>
                    <a:pt x="1500" y="1848"/>
                  </a:lnTo>
                  <a:lnTo>
                    <a:pt x="1500" y="1854"/>
                  </a:lnTo>
                  <a:lnTo>
                    <a:pt x="1494" y="1860"/>
                  </a:lnTo>
                  <a:lnTo>
                    <a:pt x="1488" y="1860"/>
                  </a:lnTo>
                  <a:lnTo>
                    <a:pt x="1488" y="1866"/>
                  </a:lnTo>
                  <a:lnTo>
                    <a:pt x="1482" y="1872"/>
                  </a:lnTo>
                  <a:lnTo>
                    <a:pt x="1482" y="1878"/>
                  </a:lnTo>
                  <a:lnTo>
                    <a:pt x="1482" y="1884"/>
                  </a:lnTo>
                  <a:lnTo>
                    <a:pt x="1476" y="1890"/>
                  </a:lnTo>
                  <a:lnTo>
                    <a:pt x="1470" y="1890"/>
                  </a:lnTo>
                  <a:lnTo>
                    <a:pt x="1470" y="1896"/>
                  </a:lnTo>
                  <a:lnTo>
                    <a:pt x="1464" y="1896"/>
                  </a:lnTo>
                  <a:lnTo>
                    <a:pt x="1458" y="1896"/>
                  </a:lnTo>
                  <a:lnTo>
                    <a:pt x="1452" y="1896"/>
                  </a:lnTo>
                  <a:lnTo>
                    <a:pt x="1440" y="1890"/>
                  </a:lnTo>
                  <a:lnTo>
                    <a:pt x="1434" y="1896"/>
                  </a:lnTo>
                  <a:lnTo>
                    <a:pt x="1428" y="1896"/>
                  </a:lnTo>
                  <a:lnTo>
                    <a:pt x="1422" y="1896"/>
                  </a:lnTo>
                  <a:lnTo>
                    <a:pt x="1422" y="1902"/>
                  </a:lnTo>
                  <a:lnTo>
                    <a:pt x="1416" y="1902"/>
                  </a:lnTo>
                  <a:lnTo>
                    <a:pt x="1422" y="1914"/>
                  </a:lnTo>
                  <a:lnTo>
                    <a:pt x="1422" y="1932"/>
                  </a:lnTo>
                  <a:lnTo>
                    <a:pt x="1416" y="1938"/>
                  </a:lnTo>
                  <a:lnTo>
                    <a:pt x="1422" y="1938"/>
                  </a:lnTo>
                  <a:lnTo>
                    <a:pt x="1404" y="1938"/>
                  </a:lnTo>
                  <a:lnTo>
                    <a:pt x="1392" y="1944"/>
                  </a:lnTo>
                  <a:lnTo>
                    <a:pt x="1386" y="1944"/>
                  </a:lnTo>
                  <a:lnTo>
                    <a:pt x="1374" y="1944"/>
                  </a:lnTo>
                  <a:lnTo>
                    <a:pt x="1368" y="1950"/>
                  </a:lnTo>
                  <a:lnTo>
                    <a:pt x="1374" y="1956"/>
                  </a:lnTo>
                  <a:lnTo>
                    <a:pt x="1368" y="1956"/>
                  </a:lnTo>
                  <a:lnTo>
                    <a:pt x="1356" y="1956"/>
                  </a:lnTo>
                  <a:lnTo>
                    <a:pt x="1350" y="1956"/>
                  </a:lnTo>
                  <a:lnTo>
                    <a:pt x="1350" y="1950"/>
                  </a:lnTo>
                  <a:lnTo>
                    <a:pt x="1344" y="1944"/>
                  </a:lnTo>
                  <a:lnTo>
                    <a:pt x="1332" y="1938"/>
                  </a:lnTo>
                  <a:lnTo>
                    <a:pt x="1326" y="1938"/>
                  </a:lnTo>
                  <a:lnTo>
                    <a:pt x="1320" y="1938"/>
                  </a:lnTo>
                  <a:lnTo>
                    <a:pt x="1314" y="1944"/>
                  </a:lnTo>
                  <a:lnTo>
                    <a:pt x="1308" y="1944"/>
                  </a:lnTo>
                  <a:lnTo>
                    <a:pt x="1302" y="1944"/>
                  </a:lnTo>
                  <a:lnTo>
                    <a:pt x="1296" y="1938"/>
                  </a:lnTo>
                  <a:lnTo>
                    <a:pt x="1284" y="1938"/>
                  </a:lnTo>
                  <a:lnTo>
                    <a:pt x="1278" y="1938"/>
                  </a:lnTo>
                  <a:lnTo>
                    <a:pt x="1272" y="1938"/>
                  </a:lnTo>
                  <a:lnTo>
                    <a:pt x="1266" y="1932"/>
                  </a:lnTo>
                  <a:lnTo>
                    <a:pt x="1260" y="1932"/>
                  </a:lnTo>
                  <a:lnTo>
                    <a:pt x="1254" y="1920"/>
                  </a:lnTo>
                  <a:lnTo>
                    <a:pt x="1248" y="1920"/>
                  </a:lnTo>
                  <a:lnTo>
                    <a:pt x="1242" y="1920"/>
                  </a:lnTo>
                  <a:lnTo>
                    <a:pt x="1236" y="1926"/>
                  </a:lnTo>
                  <a:lnTo>
                    <a:pt x="1236" y="1932"/>
                  </a:lnTo>
                  <a:lnTo>
                    <a:pt x="1230" y="1932"/>
                  </a:lnTo>
                  <a:lnTo>
                    <a:pt x="1224" y="1932"/>
                  </a:lnTo>
                  <a:lnTo>
                    <a:pt x="1218" y="1938"/>
                  </a:lnTo>
                  <a:lnTo>
                    <a:pt x="1212" y="1932"/>
                  </a:lnTo>
                  <a:lnTo>
                    <a:pt x="1206" y="1926"/>
                  </a:lnTo>
                  <a:lnTo>
                    <a:pt x="1206" y="1908"/>
                  </a:lnTo>
                  <a:lnTo>
                    <a:pt x="1206" y="1884"/>
                  </a:lnTo>
                  <a:lnTo>
                    <a:pt x="1206" y="1866"/>
                  </a:lnTo>
                  <a:lnTo>
                    <a:pt x="1212" y="1848"/>
                  </a:lnTo>
                  <a:lnTo>
                    <a:pt x="1212" y="1842"/>
                  </a:lnTo>
                  <a:lnTo>
                    <a:pt x="1206" y="1836"/>
                  </a:lnTo>
                  <a:lnTo>
                    <a:pt x="1200" y="1830"/>
                  </a:lnTo>
                  <a:lnTo>
                    <a:pt x="1194" y="1824"/>
                  </a:lnTo>
                  <a:lnTo>
                    <a:pt x="1188" y="1824"/>
                  </a:lnTo>
                  <a:lnTo>
                    <a:pt x="1182" y="1824"/>
                  </a:lnTo>
                  <a:lnTo>
                    <a:pt x="1176" y="1824"/>
                  </a:lnTo>
                  <a:lnTo>
                    <a:pt x="1170" y="1818"/>
                  </a:lnTo>
                  <a:lnTo>
                    <a:pt x="1164" y="1830"/>
                  </a:lnTo>
                  <a:lnTo>
                    <a:pt x="1152" y="1836"/>
                  </a:lnTo>
                  <a:lnTo>
                    <a:pt x="1146" y="1842"/>
                  </a:lnTo>
                  <a:lnTo>
                    <a:pt x="1140" y="1842"/>
                  </a:lnTo>
                  <a:lnTo>
                    <a:pt x="1134" y="1842"/>
                  </a:lnTo>
                  <a:lnTo>
                    <a:pt x="1128" y="1842"/>
                  </a:lnTo>
                  <a:lnTo>
                    <a:pt x="1116" y="1836"/>
                  </a:lnTo>
                  <a:lnTo>
                    <a:pt x="1110" y="1842"/>
                  </a:lnTo>
                  <a:lnTo>
                    <a:pt x="1092" y="1830"/>
                  </a:lnTo>
                  <a:lnTo>
                    <a:pt x="1092" y="1824"/>
                  </a:lnTo>
                  <a:lnTo>
                    <a:pt x="1092" y="1806"/>
                  </a:lnTo>
                  <a:lnTo>
                    <a:pt x="1092" y="1800"/>
                  </a:lnTo>
                  <a:lnTo>
                    <a:pt x="1092" y="1794"/>
                  </a:lnTo>
                  <a:lnTo>
                    <a:pt x="1086" y="1788"/>
                  </a:lnTo>
                  <a:lnTo>
                    <a:pt x="1080" y="1794"/>
                  </a:lnTo>
                  <a:lnTo>
                    <a:pt x="1074" y="1788"/>
                  </a:lnTo>
                  <a:lnTo>
                    <a:pt x="1068" y="1770"/>
                  </a:lnTo>
                  <a:lnTo>
                    <a:pt x="1056" y="1764"/>
                  </a:lnTo>
                  <a:lnTo>
                    <a:pt x="1050" y="1764"/>
                  </a:lnTo>
                  <a:lnTo>
                    <a:pt x="1044" y="1764"/>
                  </a:lnTo>
                  <a:lnTo>
                    <a:pt x="1038" y="1758"/>
                  </a:lnTo>
                  <a:lnTo>
                    <a:pt x="1032" y="1752"/>
                  </a:lnTo>
                  <a:lnTo>
                    <a:pt x="1032" y="1746"/>
                  </a:lnTo>
                  <a:lnTo>
                    <a:pt x="1032" y="1740"/>
                  </a:lnTo>
                  <a:lnTo>
                    <a:pt x="1032" y="1734"/>
                  </a:lnTo>
                  <a:lnTo>
                    <a:pt x="1026" y="1734"/>
                  </a:lnTo>
                  <a:lnTo>
                    <a:pt x="1032" y="1728"/>
                  </a:lnTo>
                  <a:lnTo>
                    <a:pt x="1032" y="1722"/>
                  </a:lnTo>
                  <a:lnTo>
                    <a:pt x="1044" y="1686"/>
                  </a:lnTo>
                  <a:lnTo>
                    <a:pt x="1044" y="1680"/>
                  </a:lnTo>
                  <a:lnTo>
                    <a:pt x="1032" y="1674"/>
                  </a:lnTo>
                  <a:lnTo>
                    <a:pt x="1026" y="1674"/>
                  </a:lnTo>
                  <a:lnTo>
                    <a:pt x="1026" y="1668"/>
                  </a:lnTo>
                  <a:lnTo>
                    <a:pt x="1020" y="1662"/>
                  </a:lnTo>
                  <a:lnTo>
                    <a:pt x="1014" y="1668"/>
                  </a:lnTo>
                  <a:lnTo>
                    <a:pt x="1008" y="1662"/>
                  </a:lnTo>
                  <a:lnTo>
                    <a:pt x="1002" y="1662"/>
                  </a:lnTo>
                  <a:lnTo>
                    <a:pt x="1002" y="1668"/>
                  </a:lnTo>
                  <a:lnTo>
                    <a:pt x="996" y="1668"/>
                  </a:lnTo>
                  <a:lnTo>
                    <a:pt x="996" y="1662"/>
                  </a:lnTo>
                  <a:lnTo>
                    <a:pt x="984" y="1662"/>
                  </a:lnTo>
                  <a:lnTo>
                    <a:pt x="984" y="1656"/>
                  </a:lnTo>
                  <a:lnTo>
                    <a:pt x="978" y="1650"/>
                  </a:lnTo>
                  <a:lnTo>
                    <a:pt x="978" y="1644"/>
                  </a:lnTo>
                  <a:lnTo>
                    <a:pt x="966" y="1650"/>
                  </a:lnTo>
                  <a:lnTo>
                    <a:pt x="960" y="1638"/>
                  </a:lnTo>
                  <a:lnTo>
                    <a:pt x="954" y="1632"/>
                  </a:lnTo>
                  <a:lnTo>
                    <a:pt x="948" y="1632"/>
                  </a:lnTo>
                  <a:lnTo>
                    <a:pt x="942" y="1626"/>
                  </a:lnTo>
                  <a:lnTo>
                    <a:pt x="942" y="1614"/>
                  </a:lnTo>
                  <a:lnTo>
                    <a:pt x="930" y="1608"/>
                  </a:lnTo>
                  <a:lnTo>
                    <a:pt x="924" y="1614"/>
                  </a:lnTo>
                  <a:lnTo>
                    <a:pt x="912" y="1608"/>
                  </a:lnTo>
                  <a:lnTo>
                    <a:pt x="888" y="1590"/>
                  </a:lnTo>
                  <a:lnTo>
                    <a:pt x="894" y="1578"/>
                  </a:lnTo>
                  <a:lnTo>
                    <a:pt x="894" y="1572"/>
                  </a:lnTo>
                  <a:lnTo>
                    <a:pt x="894" y="1566"/>
                  </a:lnTo>
                  <a:lnTo>
                    <a:pt x="894" y="1548"/>
                  </a:lnTo>
                  <a:lnTo>
                    <a:pt x="888" y="1548"/>
                  </a:lnTo>
                  <a:lnTo>
                    <a:pt x="882" y="1542"/>
                  </a:lnTo>
                  <a:lnTo>
                    <a:pt x="876" y="1542"/>
                  </a:lnTo>
                  <a:lnTo>
                    <a:pt x="876" y="1536"/>
                  </a:lnTo>
                  <a:lnTo>
                    <a:pt x="870" y="1542"/>
                  </a:lnTo>
                  <a:lnTo>
                    <a:pt x="870" y="1554"/>
                  </a:lnTo>
                  <a:lnTo>
                    <a:pt x="870" y="1566"/>
                  </a:lnTo>
                  <a:lnTo>
                    <a:pt x="870" y="1578"/>
                  </a:lnTo>
                  <a:lnTo>
                    <a:pt x="870" y="1584"/>
                  </a:lnTo>
                  <a:lnTo>
                    <a:pt x="864" y="1584"/>
                  </a:lnTo>
                  <a:lnTo>
                    <a:pt x="870" y="1602"/>
                  </a:lnTo>
                  <a:lnTo>
                    <a:pt x="864" y="1608"/>
                  </a:lnTo>
                  <a:lnTo>
                    <a:pt x="870" y="1614"/>
                  </a:lnTo>
                  <a:lnTo>
                    <a:pt x="864" y="1644"/>
                  </a:lnTo>
                  <a:lnTo>
                    <a:pt x="858" y="1650"/>
                  </a:lnTo>
                  <a:lnTo>
                    <a:pt x="858" y="1656"/>
                  </a:lnTo>
                  <a:lnTo>
                    <a:pt x="852" y="1662"/>
                  </a:lnTo>
                  <a:lnTo>
                    <a:pt x="852" y="1680"/>
                  </a:lnTo>
                  <a:lnTo>
                    <a:pt x="846" y="1686"/>
                  </a:lnTo>
                  <a:lnTo>
                    <a:pt x="834" y="1692"/>
                  </a:lnTo>
                  <a:lnTo>
                    <a:pt x="828" y="1692"/>
                  </a:lnTo>
                  <a:lnTo>
                    <a:pt x="822" y="1698"/>
                  </a:lnTo>
                  <a:lnTo>
                    <a:pt x="822" y="1704"/>
                  </a:lnTo>
                  <a:lnTo>
                    <a:pt x="816" y="1704"/>
                  </a:lnTo>
                  <a:lnTo>
                    <a:pt x="804" y="1692"/>
                  </a:lnTo>
                  <a:lnTo>
                    <a:pt x="786" y="1698"/>
                  </a:lnTo>
                  <a:lnTo>
                    <a:pt x="780" y="1698"/>
                  </a:lnTo>
                  <a:lnTo>
                    <a:pt x="756" y="1698"/>
                  </a:lnTo>
                  <a:lnTo>
                    <a:pt x="744" y="1698"/>
                  </a:lnTo>
                  <a:lnTo>
                    <a:pt x="738" y="1698"/>
                  </a:lnTo>
                  <a:lnTo>
                    <a:pt x="732" y="1704"/>
                  </a:lnTo>
                  <a:lnTo>
                    <a:pt x="726" y="1704"/>
                  </a:lnTo>
                  <a:lnTo>
                    <a:pt x="678" y="1710"/>
                  </a:lnTo>
                  <a:lnTo>
                    <a:pt x="642" y="1710"/>
                  </a:lnTo>
                  <a:lnTo>
                    <a:pt x="618" y="1680"/>
                  </a:lnTo>
                  <a:lnTo>
                    <a:pt x="618" y="1674"/>
                  </a:lnTo>
                  <a:lnTo>
                    <a:pt x="618" y="1668"/>
                  </a:lnTo>
                  <a:lnTo>
                    <a:pt x="624" y="1662"/>
                  </a:lnTo>
                  <a:lnTo>
                    <a:pt x="624" y="1656"/>
                  </a:lnTo>
                  <a:lnTo>
                    <a:pt x="624" y="1650"/>
                  </a:lnTo>
                  <a:lnTo>
                    <a:pt x="618" y="1650"/>
                  </a:lnTo>
                  <a:lnTo>
                    <a:pt x="618" y="1644"/>
                  </a:lnTo>
                  <a:lnTo>
                    <a:pt x="618" y="1638"/>
                  </a:lnTo>
                  <a:lnTo>
                    <a:pt x="618" y="1632"/>
                  </a:lnTo>
                  <a:lnTo>
                    <a:pt x="618" y="1626"/>
                  </a:lnTo>
                  <a:lnTo>
                    <a:pt x="612" y="1626"/>
                  </a:lnTo>
                  <a:lnTo>
                    <a:pt x="612" y="1620"/>
                  </a:lnTo>
                  <a:lnTo>
                    <a:pt x="606" y="1614"/>
                  </a:lnTo>
                  <a:lnTo>
                    <a:pt x="594" y="1626"/>
                  </a:lnTo>
                  <a:lnTo>
                    <a:pt x="594" y="1632"/>
                  </a:lnTo>
                  <a:lnTo>
                    <a:pt x="588" y="1638"/>
                  </a:lnTo>
                  <a:lnTo>
                    <a:pt x="582" y="1638"/>
                  </a:lnTo>
                  <a:lnTo>
                    <a:pt x="564" y="1656"/>
                  </a:lnTo>
                  <a:lnTo>
                    <a:pt x="558" y="1662"/>
                  </a:lnTo>
                  <a:lnTo>
                    <a:pt x="552" y="1662"/>
                  </a:lnTo>
                  <a:lnTo>
                    <a:pt x="540" y="1674"/>
                  </a:lnTo>
                  <a:lnTo>
                    <a:pt x="534" y="1680"/>
                  </a:lnTo>
                  <a:lnTo>
                    <a:pt x="522" y="1692"/>
                  </a:lnTo>
                  <a:lnTo>
                    <a:pt x="516" y="1704"/>
                  </a:lnTo>
                  <a:lnTo>
                    <a:pt x="510" y="1704"/>
                  </a:lnTo>
                  <a:lnTo>
                    <a:pt x="504" y="1704"/>
                  </a:lnTo>
                  <a:lnTo>
                    <a:pt x="486" y="1722"/>
                  </a:lnTo>
                  <a:lnTo>
                    <a:pt x="480" y="1740"/>
                  </a:lnTo>
                  <a:lnTo>
                    <a:pt x="474" y="1740"/>
                  </a:lnTo>
                  <a:lnTo>
                    <a:pt x="468" y="1746"/>
                  </a:lnTo>
                  <a:lnTo>
                    <a:pt x="456" y="1758"/>
                  </a:lnTo>
                  <a:lnTo>
                    <a:pt x="444" y="1770"/>
                  </a:lnTo>
                  <a:lnTo>
                    <a:pt x="438" y="1782"/>
                  </a:lnTo>
                  <a:lnTo>
                    <a:pt x="426" y="1788"/>
                  </a:lnTo>
                  <a:lnTo>
                    <a:pt x="420" y="1788"/>
                  </a:lnTo>
                  <a:lnTo>
                    <a:pt x="420" y="1782"/>
                  </a:lnTo>
                  <a:lnTo>
                    <a:pt x="414" y="1782"/>
                  </a:lnTo>
                  <a:lnTo>
                    <a:pt x="390" y="1782"/>
                  </a:lnTo>
                  <a:lnTo>
                    <a:pt x="390" y="1776"/>
                  </a:lnTo>
                  <a:lnTo>
                    <a:pt x="384" y="1776"/>
                  </a:lnTo>
                  <a:lnTo>
                    <a:pt x="378" y="1776"/>
                  </a:lnTo>
                  <a:lnTo>
                    <a:pt x="372" y="1776"/>
                  </a:lnTo>
                  <a:lnTo>
                    <a:pt x="366" y="1770"/>
                  </a:lnTo>
                  <a:lnTo>
                    <a:pt x="366" y="1776"/>
                  </a:lnTo>
                  <a:lnTo>
                    <a:pt x="360" y="1788"/>
                  </a:lnTo>
                  <a:lnTo>
                    <a:pt x="360" y="1794"/>
                  </a:lnTo>
                  <a:lnTo>
                    <a:pt x="360" y="1800"/>
                  </a:lnTo>
                  <a:lnTo>
                    <a:pt x="354" y="1806"/>
                  </a:lnTo>
                  <a:lnTo>
                    <a:pt x="354" y="1812"/>
                  </a:lnTo>
                  <a:lnTo>
                    <a:pt x="354" y="1824"/>
                  </a:lnTo>
                  <a:lnTo>
                    <a:pt x="348" y="1830"/>
                  </a:lnTo>
                  <a:lnTo>
                    <a:pt x="354" y="1836"/>
                  </a:lnTo>
                  <a:lnTo>
                    <a:pt x="348" y="1842"/>
                  </a:lnTo>
                  <a:lnTo>
                    <a:pt x="354" y="1848"/>
                  </a:lnTo>
                  <a:lnTo>
                    <a:pt x="348" y="1854"/>
                  </a:lnTo>
                  <a:lnTo>
                    <a:pt x="354" y="1854"/>
                  </a:lnTo>
                  <a:lnTo>
                    <a:pt x="348" y="1860"/>
                  </a:lnTo>
                  <a:lnTo>
                    <a:pt x="348" y="1866"/>
                  </a:lnTo>
                  <a:lnTo>
                    <a:pt x="342" y="1866"/>
                  </a:lnTo>
                  <a:lnTo>
                    <a:pt x="342" y="1872"/>
                  </a:lnTo>
                  <a:lnTo>
                    <a:pt x="342" y="1878"/>
                  </a:lnTo>
                  <a:lnTo>
                    <a:pt x="342" y="1884"/>
                  </a:lnTo>
                  <a:lnTo>
                    <a:pt x="336" y="1896"/>
                  </a:lnTo>
                  <a:lnTo>
                    <a:pt x="330" y="1914"/>
                  </a:lnTo>
                  <a:lnTo>
                    <a:pt x="324" y="1920"/>
                  </a:lnTo>
                  <a:lnTo>
                    <a:pt x="324" y="1926"/>
                  </a:lnTo>
                  <a:lnTo>
                    <a:pt x="318" y="1944"/>
                  </a:lnTo>
                  <a:lnTo>
                    <a:pt x="318" y="1950"/>
                  </a:lnTo>
                  <a:lnTo>
                    <a:pt x="312" y="1956"/>
                  </a:lnTo>
                  <a:lnTo>
                    <a:pt x="312" y="1950"/>
                  </a:lnTo>
                  <a:lnTo>
                    <a:pt x="306" y="1950"/>
                  </a:lnTo>
                  <a:lnTo>
                    <a:pt x="306" y="1956"/>
                  </a:lnTo>
                  <a:lnTo>
                    <a:pt x="300" y="1950"/>
                  </a:lnTo>
                  <a:lnTo>
                    <a:pt x="294" y="1956"/>
                  </a:lnTo>
                  <a:lnTo>
                    <a:pt x="288" y="1950"/>
                  </a:lnTo>
                  <a:lnTo>
                    <a:pt x="288" y="1944"/>
                  </a:lnTo>
                  <a:lnTo>
                    <a:pt x="282" y="1938"/>
                  </a:lnTo>
                  <a:lnTo>
                    <a:pt x="282" y="1932"/>
                  </a:lnTo>
                  <a:lnTo>
                    <a:pt x="282" y="1890"/>
                  </a:lnTo>
                  <a:lnTo>
                    <a:pt x="288" y="1860"/>
                  </a:lnTo>
                  <a:lnTo>
                    <a:pt x="294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300" y="1818"/>
                  </a:lnTo>
                  <a:lnTo>
                    <a:pt x="306" y="1794"/>
                  </a:lnTo>
                  <a:lnTo>
                    <a:pt x="306" y="1788"/>
                  </a:lnTo>
                  <a:lnTo>
                    <a:pt x="306" y="1782"/>
                  </a:lnTo>
                  <a:lnTo>
                    <a:pt x="312" y="1776"/>
                  </a:lnTo>
                  <a:lnTo>
                    <a:pt x="306" y="1776"/>
                  </a:lnTo>
                  <a:lnTo>
                    <a:pt x="312" y="1770"/>
                  </a:lnTo>
                  <a:lnTo>
                    <a:pt x="312" y="1740"/>
                  </a:lnTo>
                  <a:lnTo>
                    <a:pt x="318" y="1722"/>
                  </a:lnTo>
                  <a:lnTo>
                    <a:pt x="312" y="1722"/>
                  </a:lnTo>
                  <a:lnTo>
                    <a:pt x="300" y="1716"/>
                  </a:lnTo>
                  <a:lnTo>
                    <a:pt x="306" y="1716"/>
                  </a:lnTo>
                  <a:lnTo>
                    <a:pt x="312" y="1710"/>
                  </a:lnTo>
                  <a:lnTo>
                    <a:pt x="324" y="1674"/>
                  </a:lnTo>
                  <a:lnTo>
                    <a:pt x="366" y="1590"/>
                  </a:lnTo>
                  <a:lnTo>
                    <a:pt x="408" y="1548"/>
                  </a:lnTo>
                  <a:lnTo>
                    <a:pt x="426" y="1530"/>
                  </a:lnTo>
                  <a:lnTo>
                    <a:pt x="432" y="1500"/>
                  </a:lnTo>
                  <a:lnTo>
                    <a:pt x="426" y="1494"/>
                  </a:lnTo>
                  <a:lnTo>
                    <a:pt x="426" y="1482"/>
                  </a:lnTo>
                  <a:lnTo>
                    <a:pt x="432" y="1464"/>
                  </a:lnTo>
                  <a:lnTo>
                    <a:pt x="438" y="1428"/>
                  </a:lnTo>
                  <a:lnTo>
                    <a:pt x="462" y="1398"/>
                  </a:lnTo>
                  <a:lnTo>
                    <a:pt x="468" y="1362"/>
                  </a:lnTo>
                  <a:lnTo>
                    <a:pt x="462" y="1314"/>
                  </a:lnTo>
                  <a:lnTo>
                    <a:pt x="444" y="1284"/>
                  </a:lnTo>
                  <a:lnTo>
                    <a:pt x="432" y="1260"/>
                  </a:lnTo>
                  <a:lnTo>
                    <a:pt x="426" y="1260"/>
                  </a:lnTo>
                  <a:lnTo>
                    <a:pt x="420" y="1254"/>
                  </a:lnTo>
                  <a:lnTo>
                    <a:pt x="408" y="1260"/>
                  </a:lnTo>
                  <a:lnTo>
                    <a:pt x="402" y="1260"/>
                  </a:lnTo>
                  <a:lnTo>
                    <a:pt x="402" y="1254"/>
                  </a:lnTo>
                  <a:lnTo>
                    <a:pt x="396" y="1254"/>
                  </a:lnTo>
                  <a:lnTo>
                    <a:pt x="396" y="1248"/>
                  </a:lnTo>
                  <a:lnTo>
                    <a:pt x="384" y="1248"/>
                  </a:lnTo>
                  <a:lnTo>
                    <a:pt x="372" y="1230"/>
                  </a:lnTo>
                  <a:lnTo>
                    <a:pt x="360" y="1212"/>
                  </a:lnTo>
                  <a:lnTo>
                    <a:pt x="348" y="1188"/>
                  </a:lnTo>
                  <a:lnTo>
                    <a:pt x="324" y="1170"/>
                  </a:lnTo>
                  <a:lnTo>
                    <a:pt x="318" y="1170"/>
                  </a:lnTo>
                  <a:lnTo>
                    <a:pt x="312" y="1158"/>
                  </a:lnTo>
                  <a:lnTo>
                    <a:pt x="312" y="1152"/>
                  </a:lnTo>
                  <a:lnTo>
                    <a:pt x="306" y="1146"/>
                  </a:lnTo>
                  <a:lnTo>
                    <a:pt x="270" y="1122"/>
                  </a:lnTo>
                  <a:lnTo>
                    <a:pt x="240" y="1122"/>
                  </a:lnTo>
                  <a:lnTo>
                    <a:pt x="180" y="1116"/>
                  </a:lnTo>
                  <a:lnTo>
                    <a:pt x="174" y="1122"/>
                  </a:lnTo>
                  <a:lnTo>
                    <a:pt x="174" y="1128"/>
                  </a:lnTo>
                  <a:lnTo>
                    <a:pt x="168" y="1122"/>
                  </a:lnTo>
                  <a:lnTo>
                    <a:pt x="162" y="1116"/>
                  </a:lnTo>
                  <a:lnTo>
                    <a:pt x="144" y="1122"/>
                  </a:lnTo>
                  <a:lnTo>
                    <a:pt x="120" y="1122"/>
                  </a:lnTo>
                  <a:lnTo>
                    <a:pt x="54" y="1134"/>
                  </a:lnTo>
                  <a:lnTo>
                    <a:pt x="24" y="1152"/>
                  </a:lnTo>
                  <a:lnTo>
                    <a:pt x="6" y="1146"/>
                  </a:lnTo>
                  <a:lnTo>
                    <a:pt x="0" y="1134"/>
                  </a:lnTo>
                  <a:lnTo>
                    <a:pt x="0" y="1128"/>
                  </a:lnTo>
                  <a:lnTo>
                    <a:pt x="18" y="1110"/>
                  </a:lnTo>
                  <a:lnTo>
                    <a:pt x="24" y="1104"/>
                  </a:lnTo>
                  <a:lnTo>
                    <a:pt x="24" y="1098"/>
                  </a:lnTo>
                  <a:lnTo>
                    <a:pt x="30" y="1086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24" y="1074"/>
                  </a:lnTo>
                  <a:lnTo>
                    <a:pt x="18" y="1068"/>
                  </a:lnTo>
                  <a:lnTo>
                    <a:pt x="24" y="1062"/>
                  </a:lnTo>
                  <a:lnTo>
                    <a:pt x="42" y="1056"/>
                  </a:lnTo>
                  <a:lnTo>
                    <a:pt x="54" y="1050"/>
                  </a:lnTo>
                  <a:lnTo>
                    <a:pt x="72" y="1044"/>
                  </a:lnTo>
                  <a:lnTo>
                    <a:pt x="96" y="1032"/>
                  </a:lnTo>
                  <a:lnTo>
                    <a:pt x="102" y="1032"/>
                  </a:lnTo>
                  <a:lnTo>
                    <a:pt x="126" y="1008"/>
                  </a:lnTo>
                  <a:lnTo>
                    <a:pt x="144" y="990"/>
                  </a:lnTo>
                  <a:lnTo>
                    <a:pt x="156" y="978"/>
                  </a:lnTo>
                  <a:lnTo>
                    <a:pt x="156" y="966"/>
                  </a:lnTo>
                  <a:lnTo>
                    <a:pt x="150" y="960"/>
                  </a:lnTo>
                  <a:lnTo>
                    <a:pt x="144" y="948"/>
                  </a:lnTo>
                  <a:lnTo>
                    <a:pt x="144" y="936"/>
                  </a:lnTo>
                  <a:lnTo>
                    <a:pt x="138" y="918"/>
                  </a:lnTo>
                  <a:lnTo>
                    <a:pt x="150" y="912"/>
                  </a:lnTo>
                  <a:lnTo>
                    <a:pt x="150" y="894"/>
                  </a:lnTo>
                  <a:lnTo>
                    <a:pt x="132" y="876"/>
                  </a:lnTo>
                  <a:lnTo>
                    <a:pt x="126" y="876"/>
                  </a:lnTo>
                  <a:lnTo>
                    <a:pt x="120" y="870"/>
                  </a:lnTo>
                  <a:lnTo>
                    <a:pt x="120" y="864"/>
                  </a:lnTo>
                  <a:lnTo>
                    <a:pt x="114" y="864"/>
                  </a:lnTo>
                  <a:lnTo>
                    <a:pt x="108" y="864"/>
                  </a:lnTo>
                  <a:lnTo>
                    <a:pt x="108" y="858"/>
                  </a:lnTo>
                  <a:lnTo>
                    <a:pt x="102" y="852"/>
                  </a:lnTo>
                  <a:lnTo>
                    <a:pt x="96" y="852"/>
                  </a:lnTo>
                  <a:lnTo>
                    <a:pt x="102" y="834"/>
                  </a:lnTo>
                  <a:lnTo>
                    <a:pt x="108" y="816"/>
                  </a:lnTo>
                  <a:lnTo>
                    <a:pt x="114" y="804"/>
                  </a:lnTo>
                  <a:lnTo>
                    <a:pt x="132" y="798"/>
                  </a:lnTo>
                  <a:lnTo>
                    <a:pt x="144" y="798"/>
                  </a:lnTo>
                  <a:lnTo>
                    <a:pt x="180" y="810"/>
                  </a:lnTo>
                  <a:lnTo>
                    <a:pt x="192" y="816"/>
                  </a:lnTo>
                  <a:lnTo>
                    <a:pt x="234" y="822"/>
                  </a:lnTo>
                  <a:lnTo>
                    <a:pt x="264" y="828"/>
                  </a:lnTo>
                  <a:lnTo>
                    <a:pt x="270" y="840"/>
                  </a:lnTo>
                  <a:lnTo>
                    <a:pt x="270" y="834"/>
                  </a:lnTo>
                  <a:lnTo>
                    <a:pt x="270" y="828"/>
                  </a:lnTo>
                  <a:lnTo>
                    <a:pt x="270" y="822"/>
                  </a:lnTo>
                  <a:lnTo>
                    <a:pt x="270" y="816"/>
                  </a:lnTo>
                  <a:lnTo>
                    <a:pt x="264" y="810"/>
                  </a:lnTo>
                  <a:lnTo>
                    <a:pt x="264" y="804"/>
                  </a:lnTo>
                  <a:lnTo>
                    <a:pt x="264" y="798"/>
                  </a:lnTo>
                  <a:lnTo>
                    <a:pt x="258" y="792"/>
                  </a:lnTo>
                  <a:lnTo>
                    <a:pt x="258" y="786"/>
                  </a:lnTo>
                  <a:lnTo>
                    <a:pt x="264" y="786"/>
                  </a:lnTo>
                  <a:lnTo>
                    <a:pt x="264" y="780"/>
                  </a:lnTo>
                  <a:lnTo>
                    <a:pt x="258" y="774"/>
                  </a:lnTo>
                  <a:lnTo>
                    <a:pt x="258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82" y="762"/>
                  </a:lnTo>
                  <a:lnTo>
                    <a:pt x="312" y="780"/>
                  </a:lnTo>
                  <a:lnTo>
                    <a:pt x="354" y="786"/>
                  </a:lnTo>
                  <a:lnTo>
                    <a:pt x="408" y="774"/>
                  </a:lnTo>
                  <a:lnTo>
                    <a:pt x="444" y="756"/>
                  </a:lnTo>
                  <a:lnTo>
                    <a:pt x="468" y="732"/>
                  </a:lnTo>
                  <a:lnTo>
                    <a:pt x="492" y="720"/>
                  </a:lnTo>
                  <a:lnTo>
                    <a:pt x="522" y="690"/>
                  </a:lnTo>
                  <a:lnTo>
                    <a:pt x="540" y="672"/>
                  </a:lnTo>
                  <a:lnTo>
                    <a:pt x="558" y="660"/>
                  </a:lnTo>
                  <a:lnTo>
                    <a:pt x="570" y="636"/>
                  </a:lnTo>
                  <a:lnTo>
                    <a:pt x="588" y="612"/>
                  </a:lnTo>
                  <a:lnTo>
                    <a:pt x="654" y="552"/>
                  </a:lnTo>
                  <a:lnTo>
                    <a:pt x="678" y="528"/>
                  </a:lnTo>
                  <a:lnTo>
                    <a:pt x="696" y="510"/>
                  </a:lnTo>
                  <a:lnTo>
                    <a:pt x="714" y="498"/>
                  </a:lnTo>
                  <a:lnTo>
                    <a:pt x="750" y="480"/>
                  </a:lnTo>
                  <a:lnTo>
                    <a:pt x="774" y="444"/>
                  </a:lnTo>
                  <a:lnTo>
                    <a:pt x="816" y="426"/>
                  </a:lnTo>
                  <a:lnTo>
                    <a:pt x="864" y="420"/>
                  </a:lnTo>
                  <a:lnTo>
                    <a:pt x="912" y="402"/>
                  </a:lnTo>
                  <a:lnTo>
                    <a:pt x="906" y="396"/>
                  </a:lnTo>
                  <a:lnTo>
                    <a:pt x="912" y="396"/>
                  </a:lnTo>
                  <a:lnTo>
                    <a:pt x="912" y="390"/>
                  </a:lnTo>
                  <a:lnTo>
                    <a:pt x="918" y="384"/>
                  </a:lnTo>
                  <a:lnTo>
                    <a:pt x="924" y="384"/>
                  </a:lnTo>
                  <a:lnTo>
                    <a:pt x="924" y="378"/>
                  </a:lnTo>
                  <a:lnTo>
                    <a:pt x="918" y="372"/>
                  </a:lnTo>
                  <a:lnTo>
                    <a:pt x="918" y="366"/>
                  </a:lnTo>
                  <a:lnTo>
                    <a:pt x="918" y="360"/>
                  </a:lnTo>
                  <a:lnTo>
                    <a:pt x="924" y="360"/>
                  </a:lnTo>
                  <a:lnTo>
                    <a:pt x="924" y="354"/>
                  </a:lnTo>
                  <a:lnTo>
                    <a:pt x="930" y="354"/>
                  </a:lnTo>
                  <a:lnTo>
                    <a:pt x="936" y="354"/>
                  </a:lnTo>
                  <a:lnTo>
                    <a:pt x="936" y="348"/>
                  </a:lnTo>
                  <a:lnTo>
                    <a:pt x="942" y="348"/>
                  </a:lnTo>
                  <a:lnTo>
                    <a:pt x="942" y="336"/>
                  </a:lnTo>
                  <a:lnTo>
                    <a:pt x="936" y="336"/>
                  </a:lnTo>
                  <a:lnTo>
                    <a:pt x="930" y="330"/>
                  </a:lnTo>
                  <a:lnTo>
                    <a:pt x="924" y="330"/>
                  </a:lnTo>
                  <a:lnTo>
                    <a:pt x="924" y="324"/>
                  </a:lnTo>
                  <a:lnTo>
                    <a:pt x="918" y="318"/>
                  </a:lnTo>
                  <a:lnTo>
                    <a:pt x="912" y="306"/>
                  </a:lnTo>
                  <a:lnTo>
                    <a:pt x="918" y="306"/>
                  </a:lnTo>
                  <a:lnTo>
                    <a:pt x="924" y="300"/>
                  </a:lnTo>
                  <a:lnTo>
                    <a:pt x="924" y="294"/>
                  </a:lnTo>
                  <a:lnTo>
                    <a:pt x="924" y="288"/>
                  </a:lnTo>
                  <a:lnTo>
                    <a:pt x="924" y="282"/>
                  </a:lnTo>
                  <a:lnTo>
                    <a:pt x="924" y="276"/>
                  </a:lnTo>
                  <a:lnTo>
                    <a:pt x="918" y="270"/>
                  </a:lnTo>
                  <a:lnTo>
                    <a:pt x="918" y="264"/>
                  </a:lnTo>
                  <a:lnTo>
                    <a:pt x="912" y="270"/>
                  </a:lnTo>
                  <a:lnTo>
                    <a:pt x="912" y="264"/>
                  </a:lnTo>
                  <a:lnTo>
                    <a:pt x="912" y="258"/>
                  </a:lnTo>
                  <a:lnTo>
                    <a:pt x="912" y="252"/>
                  </a:lnTo>
                  <a:lnTo>
                    <a:pt x="906" y="252"/>
                  </a:lnTo>
                  <a:lnTo>
                    <a:pt x="900" y="246"/>
                  </a:lnTo>
                  <a:lnTo>
                    <a:pt x="900" y="240"/>
                  </a:lnTo>
                  <a:lnTo>
                    <a:pt x="900" y="246"/>
                  </a:lnTo>
                  <a:lnTo>
                    <a:pt x="894" y="246"/>
                  </a:lnTo>
                  <a:lnTo>
                    <a:pt x="894" y="240"/>
                  </a:lnTo>
                  <a:lnTo>
                    <a:pt x="894" y="234"/>
                  </a:lnTo>
                  <a:lnTo>
                    <a:pt x="900" y="234"/>
                  </a:lnTo>
                  <a:lnTo>
                    <a:pt x="900" y="228"/>
                  </a:lnTo>
                  <a:lnTo>
                    <a:pt x="906" y="228"/>
                  </a:lnTo>
                  <a:lnTo>
                    <a:pt x="900" y="222"/>
                  </a:lnTo>
                  <a:lnTo>
                    <a:pt x="894" y="216"/>
                  </a:lnTo>
                  <a:lnTo>
                    <a:pt x="894" y="210"/>
                  </a:lnTo>
                  <a:lnTo>
                    <a:pt x="888" y="210"/>
                  </a:lnTo>
                  <a:lnTo>
                    <a:pt x="888" y="204"/>
                  </a:lnTo>
                  <a:lnTo>
                    <a:pt x="888" y="198"/>
                  </a:lnTo>
                  <a:lnTo>
                    <a:pt x="888" y="192"/>
                  </a:lnTo>
                  <a:lnTo>
                    <a:pt x="882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82" y="174"/>
                  </a:lnTo>
                  <a:lnTo>
                    <a:pt x="888" y="168"/>
                  </a:lnTo>
                  <a:lnTo>
                    <a:pt x="888" y="162"/>
                  </a:lnTo>
                  <a:lnTo>
                    <a:pt x="888" y="156"/>
                  </a:lnTo>
                  <a:lnTo>
                    <a:pt x="888" y="150"/>
                  </a:lnTo>
                  <a:lnTo>
                    <a:pt x="888" y="144"/>
                  </a:lnTo>
                  <a:lnTo>
                    <a:pt x="882" y="144"/>
                  </a:lnTo>
                  <a:lnTo>
                    <a:pt x="882" y="138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76" y="120"/>
                  </a:lnTo>
                  <a:lnTo>
                    <a:pt x="882" y="114"/>
                  </a:lnTo>
                  <a:lnTo>
                    <a:pt x="882" y="108"/>
                  </a:lnTo>
                  <a:lnTo>
                    <a:pt x="888" y="102"/>
                  </a:lnTo>
                  <a:lnTo>
                    <a:pt x="894" y="102"/>
                  </a:lnTo>
                  <a:lnTo>
                    <a:pt x="894" y="96"/>
                  </a:lnTo>
                  <a:lnTo>
                    <a:pt x="888" y="96"/>
                  </a:lnTo>
                  <a:lnTo>
                    <a:pt x="894" y="90"/>
                  </a:lnTo>
                  <a:lnTo>
                    <a:pt x="888" y="84"/>
                  </a:lnTo>
                  <a:lnTo>
                    <a:pt x="888" y="78"/>
                  </a:lnTo>
                  <a:lnTo>
                    <a:pt x="924" y="66"/>
                  </a:lnTo>
                  <a:lnTo>
                    <a:pt x="966" y="66"/>
                  </a:lnTo>
                  <a:lnTo>
                    <a:pt x="996" y="48"/>
                  </a:lnTo>
                  <a:lnTo>
                    <a:pt x="1056" y="12"/>
                  </a:lnTo>
                  <a:lnTo>
                    <a:pt x="1128" y="0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0" y="18"/>
                  </a:lnTo>
                  <a:lnTo>
                    <a:pt x="1176" y="24"/>
                  </a:lnTo>
                  <a:lnTo>
                    <a:pt x="1182" y="24"/>
                  </a:lnTo>
                  <a:lnTo>
                    <a:pt x="1188" y="30"/>
                  </a:lnTo>
                  <a:lnTo>
                    <a:pt x="1194" y="30"/>
                  </a:lnTo>
                  <a:lnTo>
                    <a:pt x="1194" y="36"/>
                  </a:lnTo>
                  <a:lnTo>
                    <a:pt x="1260" y="30"/>
                  </a:lnTo>
                  <a:lnTo>
                    <a:pt x="1272" y="30"/>
                  </a:lnTo>
                  <a:lnTo>
                    <a:pt x="1296" y="24"/>
                  </a:lnTo>
                  <a:lnTo>
                    <a:pt x="1302" y="30"/>
                  </a:lnTo>
                  <a:lnTo>
                    <a:pt x="1302" y="36"/>
                  </a:lnTo>
                  <a:lnTo>
                    <a:pt x="1308" y="36"/>
                  </a:lnTo>
                  <a:lnTo>
                    <a:pt x="1314" y="36"/>
                  </a:lnTo>
                  <a:lnTo>
                    <a:pt x="1320" y="36"/>
                  </a:lnTo>
                  <a:lnTo>
                    <a:pt x="1326" y="30"/>
                  </a:lnTo>
                  <a:lnTo>
                    <a:pt x="1332" y="30"/>
                  </a:lnTo>
                  <a:lnTo>
                    <a:pt x="1338" y="30"/>
                  </a:lnTo>
                  <a:lnTo>
                    <a:pt x="1344" y="30"/>
                  </a:lnTo>
                  <a:lnTo>
                    <a:pt x="1374" y="30"/>
                  </a:lnTo>
                  <a:lnTo>
                    <a:pt x="1386" y="30"/>
                  </a:lnTo>
                  <a:lnTo>
                    <a:pt x="1392" y="24"/>
                  </a:lnTo>
                  <a:lnTo>
                    <a:pt x="1398" y="12"/>
                  </a:lnTo>
                  <a:lnTo>
                    <a:pt x="1404" y="6"/>
                  </a:lnTo>
                  <a:lnTo>
                    <a:pt x="1410" y="6"/>
                  </a:lnTo>
                  <a:lnTo>
                    <a:pt x="1410" y="12"/>
                  </a:lnTo>
                  <a:lnTo>
                    <a:pt x="1416" y="18"/>
                  </a:lnTo>
                  <a:lnTo>
                    <a:pt x="1416" y="36"/>
                  </a:lnTo>
                  <a:lnTo>
                    <a:pt x="1434" y="54"/>
                  </a:lnTo>
                  <a:lnTo>
                    <a:pt x="1434" y="60"/>
                  </a:lnTo>
                  <a:lnTo>
                    <a:pt x="1434" y="66"/>
                  </a:lnTo>
                  <a:lnTo>
                    <a:pt x="1434" y="72"/>
                  </a:lnTo>
                  <a:lnTo>
                    <a:pt x="1428" y="72"/>
                  </a:lnTo>
                  <a:lnTo>
                    <a:pt x="1428" y="78"/>
                  </a:lnTo>
                  <a:lnTo>
                    <a:pt x="1434" y="78"/>
                  </a:lnTo>
                  <a:lnTo>
                    <a:pt x="1440" y="84"/>
                  </a:lnTo>
                  <a:lnTo>
                    <a:pt x="1440" y="90"/>
                  </a:lnTo>
                  <a:lnTo>
                    <a:pt x="1440" y="96"/>
                  </a:lnTo>
                  <a:lnTo>
                    <a:pt x="1446" y="96"/>
                  </a:lnTo>
                  <a:lnTo>
                    <a:pt x="1446" y="108"/>
                  </a:lnTo>
                  <a:lnTo>
                    <a:pt x="1452" y="108"/>
                  </a:lnTo>
                  <a:lnTo>
                    <a:pt x="1452" y="114"/>
                  </a:lnTo>
                  <a:lnTo>
                    <a:pt x="1458" y="114"/>
                  </a:lnTo>
                  <a:lnTo>
                    <a:pt x="1470" y="120"/>
                  </a:lnTo>
                  <a:lnTo>
                    <a:pt x="1476" y="120"/>
                  </a:lnTo>
                  <a:lnTo>
                    <a:pt x="1476" y="114"/>
                  </a:lnTo>
                  <a:lnTo>
                    <a:pt x="1488" y="120"/>
                  </a:lnTo>
                  <a:lnTo>
                    <a:pt x="1506" y="120"/>
                  </a:lnTo>
                  <a:lnTo>
                    <a:pt x="1512" y="120"/>
                  </a:lnTo>
                  <a:lnTo>
                    <a:pt x="1518" y="120"/>
                  </a:lnTo>
                  <a:lnTo>
                    <a:pt x="1524" y="126"/>
                  </a:lnTo>
                  <a:lnTo>
                    <a:pt x="1536" y="150"/>
                  </a:lnTo>
                  <a:lnTo>
                    <a:pt x="1548" y="162"/>
                  </a:lnTo>
                  <a:lnTo>
                    <a:pt x="1554" y="168"/>
                  </a:lnTo>
                  <a:lnTo>
                    <a:pt x="1584" y="228"/>
                  </a:lnTo>
                  <a:lnTo>
                    <a:pt x="1584" y="234"/>
                  </a:lnTo>
                  <a:lnTo>
                    <a:pt x="1578" y="312"/>
                  </a:lnTo>
                  <a:lnTo>
                    <a:pt x="1590" y="318"/>
                  </a:lnTo>
                  <a:lnTo>
                    <a:pt x="1608" y="330"/>
                  </a:lnTo>
                  <a:lnTo>
                    <a:pt x="1620" y="342"/>
                  </a:lnTo>
                  <a:lnTo>
                    <a:pt x="1626" y="342"/>
                  </a:lnTo>
                  <a:lnTo>
                    <a:pt x="1692" y="360"/>
                  </a:lnTo>
                  <a:lnTo>
                    <a:pt x="1710" y="408"/>
                  </a:lnTo>
                  <a:lnTo>
                    <a:pt x="1722" y="426"/>
                  </a:lnTo>
                  <a:lnTo>
                    <a:pt x="1716" y="468"/>
                  </a:lnTo>
                  <a:lnTo>
                    <a:pt x="1686" y="486"/>
                  </a:lnTo>
                  <a:lnTo>
                    <a:pt x="1686" y="492"/>
                  </a:lnTo>
                  <a:lnTo>
                    <a:pt x="1680" y="498"/>
                  </a:lnTo>
                  <a:lnTo>
                    <a:pt x="1650" y="558"/>
                  </a:lnTo>
                  <a:lnTo>
                    <a:pt x="1650" y="570"/>
                  </a:lnTo>
                  <a:lnTo>
                    <a:pt x="1644" y="570"/>
                  </a:lnTo>
                  <a:lnTo>
                    <a:pt x="1638" y="582"/>
                  </a:lnTo>
                  <a:lnTo>
                    <a:pt x="1638" y="624"/>
                  </a:lnTo>
                  <a:lnTo>
                    <a:pt x="1638" y="636"/>
                  </a:lnTo>
                  <a:lnTo>
                    <a:pt x="1638" y="642"/>
                  </a:lnTo>
                  <a:lnTo>
                    <a:pt x="1632" y="660"/>
                  </a:lnTo>
                  <a:lnTo>
                    <a:pt x="1608" y="678"/>
                  </a:lnTo>
                  <a:lnTo>
                    <a:pt x="1584" y="690"/>
                  </a:lnTo>
                  <a:lnTo>
                    <a:pt x="1584" y="696"/>
                  </a:lnTo>
                  <a:lnTo>
                    <a:pt x="1578" y="702"/>
                  </a:lnTo>
                  <a:lnTo>
                    <a:pt x="1584" y="702"/>
                  </a:lnTo>
                  <a:lnTo>
                    <a:pt x="1578" y="714"/>
                  </a:lnTo>
                  <a:lnTo>
                    <a:pt x="1572" y="714"/>
                  </a:lnTo>
                  <a:lnTo>
                    <a:pt x="1572" y="720"/>
                  </a:lnTo>
                  <a:lnTo>
                    <a:pt x="1566" y="720"/>
                  </a:lnTo>
                  <a:lnTo>
                    <a:pt x="1560" y="726"/>
                  </a:lnTo>
                  <a:lnTo>
                    <a:pt x="1560" y="732"/>
                  </a:lnTo>
                  <a:lnTo>
                    <a:pt x="1554" y="732"/>
                  </a:lnTo>
                  <a:lnTo>
                    <a:pt x="1554" y="738"/>
                  </a:lnTo>
                  <a:lnTo>
                    <a:pt x="1554" y="744"/>
                  </a:lnTo>
                  <a:lnTo>
                    <a:pt x="1548" y="744"/>
                  </a:lnTo>
                  <a:lnTo>
                    <a:pt x="1548" y="738"/>
                  </a:lnTo>
                  <a:lnTo>
                    <a:pt x="1542" y="738"/>
                  </a:lnTo>
                  <a:lnTo>
                    <a:pt x="1542" y="744"/>
                  </a:lnTo>
                  <a:lnTo>
                    <a:pt x="1542" y="750"/>
                  </a:lnTo>
                  <a:lnTo>
                    <a:pt x="1494" y="804"/>
                  </a:lnTo>
                  <a:lnTo>
                    <a:pt x="1446" y="876"/>
                  </a:lnTo>
                  <a:lnTo>
                    <a:pt x="1440" y="876"/>
                  </a:lnTo>
                  <a:lnTo>
                    <a:pt x="1434" y="876"/>
                  </a:lnTo>
                  <a:lnTo>
                    <a:pt x="1428" y="882"/>
                  </a:lnTo>
                  <a:lnTo>
                    <a:pt x="1422" y="882"/>
                  </a:lnTo>
                  <a:lnTo>
                    <a:pt x="1386" y="924"/>
                  </a:lnTo>
                  <a:lnTo>
                    <a:pt x="1362" y="954"/>
                  </a:lnTo>
                  <a:lnTo>
                    <a:pt x="1356" y="984"/>
                  </a:lnTo>
                  <a:lnTo>
                    <a:pt x="1362" y="1002"/>
                  </a:lnTo>
                  <a:lnTo>
                    <a:pt x="1368" y="1020"/>
                  </a:lnTo>
                  <a:lnTo>
                    <a:pt x="1386" y="1056"/>
                  </a:lnTo>
                  <a:lnTo>
                    <a:pt x="1404" y="1074"/>
                  </a:lnTo>
                  <a:lnTo>
                    <a:pt x="1416" y="1080"/>
                  </a:lnTo>
                  <a:lnTo>
                    <a:pt x="1416" y="1086"/>
                  </a:lnTo>
                  <a:lnTo>
                    <a:pt x="1422" y="1098"/>
                  </a:lnTo>
                  <a:lnTo>
                    <a:pt x="1422" y="1110"/>
                  </a:lnTo>
                  <a:lnTo>
                    <a:pt x="1428" y="1116"/>
                  </a:lnTo>
                  <a:lnTo>
                    <a:pt x="1434" y="1116"/>
                  </a:lnTo>
                  <a:lnTo>
                    <a:pt x="1434" y="1122"/>
                  </a:lnTo>
                  <a:lnTo>
                    <a:pt x="1434" y="1128"/>
                  </a:lnTo>
                  <a:lnTo>
                    <a:pt x="1440" y="1134"/>
                  </a:lnTo>
                  <a:lnTo>
                    <a:pt x="1446" y="1134"/>
                  </a:lnTo>
                  <a:lnTo>
                    <a:pt x="1458" y="1134"/>
                  </a:lnTo>
                  <a:lnTo>
                    <a:pt x="1458" y="1140"/>
                  </a:lnTo>
                  <a:lnTo>
                    <a:pt x="1464" y="1134"/>
                  </a:lnTo>
                  <a:lnTo>
                    <a:pt x="1470" y="1134"/>
                  </a:lnTo>
                  <a:lnTo>
                    <a:pt x="1464" y="1128"/>
                  </a:lnTo>
                  <a:lnTo>
                    <a:pt x="1464" y="1122"/>
                  </a:lnTo>
                  <a:lnTo>
                    <a:pt x="1470" y="1116"/>
                  </a:lnTo>
                  <a:lnTo>
                    <a:pt x="1470" y="1122"/>
                  </a:lnTo>
                  <a:lnTo>
                    <a:pt x="1476" y="1122"/>
                  </a:lnTo>
                  <a:lnTo>
                    <a:pt x="1476" y="1116"/>
                  </a:lnTo>
                  <a:lnTo>
                    <a:pt x="1482" y="1110"/>
                  </a:lnTo>
                  <a:lnTo>
                    <a:pt x="1476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82" y="1086"/>
                  </a:lnTo>
                  <a:lnTo>
                    <a:pt x="1482" y="1074"/>
                  </a:lnTo>
                  <a:lnTo>
                    <a:pt x="1488" y="1068"/>
                  </a:lnTo>
                  <a:lnTo>
                    <a:pt x="1488" y="1062"/>
                  </a:lnTo>
                  <a:lnTo>
                    <a:pt x="1494" y="1062"/>
                  </a:lnTo>
                  <a:lnTo>
                    <a:pt x="1500" y="1062"/>
                  </a:lnTo>
                  <a:lnTo>
                    <a:pt x="1506" y="1062"/>
                  </a:lnTo>
                  <a:lnTo>
                    <a:pt x="1506" y="1056"/>
                  </a:lnTo>
                  <a:lnTo>
                    <a:pt x="1506" y="1062"/>
                  </a:lnTo>
                  <a:lnTo>
                    <a:pt x="1518" y="1062"/>
                  </a:lnTo>
                  <a:lnTo>
                    <a:pt x="1524" y="1062"/>
                  </a:lnTo>
                  <a:lnTo>
                    <a:pt x="1530" y="1062"/>
                  </a:lnTo>
                  <a:lnTo>
                    <a:pt x="1536" y="1068"/>
                  </a:lnTo>
                  <a:lnTo>
                    <a:pt x="1536" y="1074"/>
                  </a:lnTo>
                  <a:lnTo>
                    <a:pt x="1542" y="1086"/>
                  </a:lnTo>
                  <a:lnTo>
                    <a:pt x="1548" y="1086"/>
                  </a:lnTo>
                  <a:lnTo>
                    <a:pt x="1554" y="1086"/>
                  </a:lnTo>
                  <a:lnTo>
                    <a:pt x="1566" y="1098"/>
                  </a:lnTo>
                  <a:lnTo>
                    <a:pt x="1572" y="1104"/>
                  </a:lnTo>
                  <a:lnTo>
                    <a:pt x="1566" y="1110"/>
                  </a:lnTo>
                  <a:lnTo>
                    <a:pt x="1572" y="1116"/>
                  </a:lnTo>
                  <a:lnTo>
                    <a:pt x="1578" y="1116"/>
                  </a:lnTo>
                  <a:lnTo>
                    <a:pt x="1578" y="1122"/>
                  </a:lnTo>
                  <a:lnTo>
                    <a:pt x="1584" y="1122"/>
                  </a:lnTo>
                  <a:lnTo>
                    <a:pt x="1584" y="1128"/>
                  </a:lnTo>
                  <a:lnTo>
                    <a:pt x="1584" y="1134"/>
                  </a:lnTo>
                  <a:lnTo>
                    <a:pt x="1590" y="1134"/>
                  </a:lnTo>
                  <a:lnTo>
                    <a:pt x="1596" y="1140"/>
                  </a:lnTo>
                  <a:lnTo>
                    <a:pt x="1602" y="1146"/>
                  </a:lnTo>
                  <a:lnTo>
                    <a:pt x="1608" y="1146"/>
                  </a:lnTo>
                  <a:lnTo>
                    <a:pt x="1614" y="1146"/>
                  </a:lnTo>
                  <a:lnTo>
                    <a:pt x="1614" y="1152"/>
                  </a:lnTo>
                  <a:lnTo>
                    <a:pt x="1620" y="1152"/>
                  </a:lnTo>
                  <a:lnTo>
                    <a:pt x="1626" y="1164"/>
                  </a:lnTo>
                  <a:lnTo>
                    <a:pt x="1632" y="1170"/>
                  </a:lnTo>
                  <a:lnTo>
                    <a:pt x="1638" y="1176"/>
                  </a:lnTo>
                  <a:lnTo>
                    <a:pt x="1638" y="1182"/>
                  </a:lnTo>
                  <a:lnTo>
                    <a:pt x="1644" y="1194"/>
                  </a:lnTo>
                  <a:lnTo>
                    <a:pt x="1644" y="1200"/>
                  </a:lnTo>
                  <a:lnTo>
                    <a:pt x="1638" y="1200"/>
                  </a:lnTo>
                  <a:lnTo>
                    <a:pt x="1638" y="1206"/>
                  </a:lnTo>
                  <a:lnTo>
                    <a:pt x="1638" y="1212"/>
                  </a:lnTo>
                  <a:lnTo>
                    <a:pt x="1638" y="1218"/>
                  </a:lnTo>
                  <a:lnTo>
                    <a:pt x="1632" y="1242"/>
                  </a:lnTo>
                  <a:lnTo>
                    <a:pt x="1632" y="1266"/>
                  </a:lnTo>
                  <a:lnTo>
                    <a:pt x="1638" y="1284"/>
                  </a:lnTo>
                  <a:lnTo>
                    <a:pt x="1638" y="1296"/>
                  </a:lnTo>
                  <a:lnTo>
                    <a:pt x="1632" y="1296"/>
                  </a:lnTo>
                  <a:lnTo>
                    <a:pt x="1632" y="1302"/>
                  </a:lnTo>
                  <a:lnTo>
                    <a:pt x="1638" y="1314"/>
                  </a:lnTo>
                  <a:lnTo>
                    <a:pt x="1638" y="1320"/>
                  </a:lnTo>
                  <a:lnTo>
                    <a:pt x="1632" y="1320"/>
                  </a:lnTo>
                  <a:lnTo>
                    <a:pt x="1632" y="1326"/>
                  </a:lnTo>
                  <a:lnTo>
                    <a:pt x="1644" y="1332"/>
                  </a:lnTo>
                  <a:lnTo>
                    <a:pt x="1644" y="1338"/>
                  </a:lnTo>
                  <a:lnTo>
                    <a:pt x="1650" y="1344"/>
                  </a:lnTo>
                  <a:lnTo>
                    <a:pt x="1668" y="1362"/>
                  </a:lnTo>
                  <a:lnTo>
                    <a:pt x="1668" y="1368"/>
                  </a:lnTo>
                  <a:lnTo>
                    <a:pt x="1674" y="1392"/>
                  </a:lnTo>
                  <a:lnTo>
                    <a:pt x="1686" y="140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2" name="Freeform 17">
              <a:extLst>
                <a:ext uri="{FF2B5EF4-FFF2-40B4-BE49-F238E27FC236}">
                  <a16:creationId xmlns:a16="http://schemas.microsoft.com/office/drawing/2014/main" id="{9F9DF7AF-2203-4CCB-AF1B-32CDAF87CC5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416927"/>
              <a:ext cx="816209" cy="574781"/>
            </a:xfrm>
            <a:custGeom>
              <a:avLst/>
              <a:gdLst>
                <a:gd name="T0" fmla="*/ 115 w 1536"/>
                <a:gd name="T1" fmla="*/ 89 h 1080"/>
                <a:gd name="T2" fmla="*/ 113 w 1536"/>
                <a:gd name="T3" fmla="*/ 92 h 1080"/>
                <a:gd name="T4" fmla="*/ 107 w 1536"/>
                <a:gd name="T5" fmla="*/ 93 h 1080"/>
                <a:gd name="T6" fmla="*/ 108 w 1536"/>
                <a:gd name="T7" fmla="*/ 90 h 1080"/>
                <a:gd name="T8" fmla="*/ 105 w 1536"/>
                <a:gd name="T9" fmla="*/ 87 h 1080"/>
                <a:gd name="T10" fmla="*/ 102 w 1536"/>
                <a:gd name="T11" fmla="*/ 85 h 1080"/>
                <a:gd name="T12" fmla="*/ 89 w 1536"/>
                <a:gd name="T13" fmla="*/ 80 h 1080"/>
                <a:gd name="T14" fmla="*/ 85 w 1536"/>
                <a:gd name="T15" fmla="*/ 82 h 1080"/>
                <a:gd name="T16" fmla="*/ 82 w 1536"/>
                <a:gd name="T17" fmla="*/ 80 h 1080"/>
                <a:gd name="T18" fmla="*/ 80 w 1536"/>
                <a:gd name="T19" fmla="*/ 75 h 1080"/>
                <a:gd name="T20" fmla="*/ 75 w 1536"/>
                <a:gd name="T21" fmla="*/ 72 h 1080"/>
                <a:gd name="T22" fmla="*/ 61 w 1536"/>
                <a:gd name="T23" fmla="*/ 70 h 1080"/>
                <a:gd name="T24" fmla="*/ 62 w 1536"/>
                <a:gd name="T25" fmla="*/ 72 h 1080"/>
                <a:gd name="T26" fmla="*/ 58 w 1536"/>
                <a:gd name="T27" fmla="*/ 75 h 1080"/>
                <a:gd name="T28" fmla="*/ 49 w 1536"/>
                <a:gd name="T29" fmla="*/ 76 h 1080"/>
                <a:gd name="T30" fmla="*/ 41 w 1536"/>
                <a:gd name="T31" fmla="*/ 79 h 1080"/>
                <a:gd name="T32" fmla="*/ 41 w 1536"/>
                <a:gd name="T33" fmla="*/ 77 h 1080"/>
                <a:gd name="T34" fmla="*/ 39 w 1536"/>
                <a:gd name="T35" fmla="*/ 74 h 1080"/>
                <a:gd name="T36" fmla="*/ 28 w 1536"/>
                <a:gd name="T37" fmla="*/ 78 h 1080"/>
                <a:gd name="T38" fmla="*/ 18 w 1536"/>
                <a:gd name="T39" fmla="*/ 85 h 1080"/>
                <a:gd name="T40" fmla="*/ 18 w 1536"/>
                <a:gd name="T41" fmla="*/ 77 h 1080"/>
                <a:gd name="T42" fmla="*/ 19 w 1536"/>
                <a:gd name="T43" fmla="*/ 69 h 1080"/>
                <a:gd name="T44" fmla="*/ 16 w 1536"/>
                <a:gd name="T45" fmla="*/ 69 h 1080"/>
                <a:gd name="T46" fmla="*/ 11 w 1536"/>
                <a:gd name="T47" fmla="*/ 69 h 1080"/>
                <a:gd name="T48" fmla="*/ 5 w 1536"/>
                <a:gd name="T49" fmla="*/ 68 h 1080"/>
                <a:gd name="T50" fmla="*/ 1 w 1536"/>
                <a:gd name="T51" fmla="*/ 63 h 1080"/>
                <a:gd name="T52" fmla="*/ 3 w 1536"/>
                <a:gd name="T53" fmla="*/ 59 h 1080"/>
                <a:gd name="T54" fmla="*/ 9 w 1536"/>
                <a:gd name="T55" fmla="*/ 54 h 1080"/>
                <a:gd name="T56" fmla="*/ 15 w 1536"/>
                <a:gd name="T57" fmla="*/ 47 h 1080"/>
                <a:gd name="T58" fmla="*/ 17 w 1536"/>
                <a:gd name="T59" fmla="*/ 40 h 1080"/>
                <a:gd name="T60" fmla="*/ 12 w 1536"/>
                <a:gd name="T61" fmla="*/ 33 h 1080"/>
                <a:gd name="T62" fmla="*/ 10 w 1536"/>
                <a:gd name="T63" fmla="*/ 21 h 1080"/>
                <a:gd name="T64" fmla="*/ 6 w 1536"/>
                <a:gd name="T65" fmla="*/ 14 h 1080"/>
                <a:gd name="T66" fmla="*/ 7 w 1536"/>
                <a:gd name="T67" fmla="*/ 9 h 1080"/>
                <a:gd name="T68" fmla="*/ 12 w 1536"/>
                <a:gd name="T69" fmla="*/ 7 h 1080"/>
                <a:gd name="T70" fmla="*/ 16 w 1536"/>
                <a:gd name="T71" fmla="*/ 8 h 1080"/>
                <a:gd name="T72" fmla="*/ 19 w 1536"/>
                <a:gd name="T73" fmla="*/ 8 h 1080"/>
                <a:gd name="T74" fmla="*/ 22 w 1536"/>
                <a:gd name="T75" fmla="*/ 9 h 1080"/>
                <a:gd name="T76" fmla="*/ 29 w 1536"/>
                <a:gd name="T77" fmla="*/ 12 h 1080"/>
                <a:gd name="T78" fmla="*/ 33 w 1536"/>
                <a:gd name="T79" fmla="*/ 13 h 1080"/>
                <a:gd name="T80" fmla="*/ 38 w 1536"/>
                <a:gd name="T81" fmla="*/ 15 h 1080"/>
                <a:gd name="T82" fmla="*/ 42 w 1536"/>
                <a:gd name="T83" fmla="*/ 17 h 1080"/>
                <a:gd name="T84" fmla="*/ 47 w 1536"/>
                <a:gd name="T85" fmla="*/ 19 h 1080"/>
                <a:gd name="T86" fmla="*/ 51 w 1536"/>
                <a:gd name="T87" fmla="*/ 21 h 1080"/>
                <a:gd name="T88" fmla="*/ 50 w 1536"/>
                <a:gd name="T89" fmla="*/ 15 h 1080"/>
                <a:gd name="T90" fmla="*/ 56 w 1536"/>
                <a:gd name="T91" fmla="*/ 0 h 1080"/>
                <a:gd name="T92" fmla="*/ 74 w 1536"/>
                <a:gd name="T93" fmla="*/ 5 h 1080"/>
                <a:gd name="T94" fmla="*/ 87 w 1536"/>
                <a:gd name="T95" fmla="*/ 6 h 1080"/>
                <a:gd name="T96" fmla="*/ 92 w 1536"/>
                <a:gd name="T97" fmla="*/ 11 h 1080"/>
                <a:gd name="T98" fmla="*/ 95 w 1536"/>
                <a:gd name="T99" fmla="*/ 15 h 1080"/>
                <a:gd name="T100" fmla="*/ 93 w 1536"/>
                <a:gd name="T101" fmla="*/ 20 h 1080"/>
                <a:gd name="T102" fmla="*/ 108 w 1536"/>
                <a:gd name="T103" fmla="*/ 18 h 1080"/>
                <a:gd name="T104" fmla="*/ 120 w 1536"/>
                <a:gd name="T105" fmla="*/ 21 h 1080"/>
                <a:gd name="T106" fmla="*/ 127 w 1536"/>
                <a:gd name="T107" fmla="*/ 29 h 1080"/>
                <a:gd name="T108" fmla="*/ 130 w 1536"/>
                <a:gd name="T109" fmla="*/ 30 h 1080"/>
                <a:gd name="T110" fmla="*/ 130 w 1536"/>
                <a:gd name="T111" fmla="*/ 49 h 1080"/>
                <a:gd name="T112" fmla="*/ 120 w 1536"/>
                <a:gd name="T113" fmla="*/ 69 h 1080"/>
                <a:gd name="T114" fmla="*/ 119 w 1536"/>
                <a:gd name="T115" fmla="*/ 74 h 1080"/>
                <a:gd name="T116" fmla="*/ 118 w 1536"/>
                <a:gd name="T117" fmla="*/ 80 h 108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536"/>
                <a:gd name="T178" fmla="*/ 0 h 1080"/>
                <a:gd name="T179" fmla="*/ 1536 w 1536"/>
                <a:gd name="T180" fmla="*/ 1080 h 108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536" h="1080">
                  <a:moveTo>
                    <a:pt x="1350" y="1020"/>
                  </a:moveTo>
                  <a:lnTo>
                    <a:pt x="1350" y="1026"/>
                  </a:lnTo>
                  <a:lnTo>
                    <a:pt x="1344" y="1026"/>
                  </a:lnTo>
                  <a:lnTo>
                    <a:pt x="1338" y="1032"/>
                  </a:lnTo>
                  <a:lnTo>
                    <a:pt x="1332" y="1026"/>
                  </a:lnTo>
                  <a:lnTo>
                    <a:pt x="1326" y="1026"/>
                  </a:lnTo>
                  <a:lnTo>
                    <a:pt x="1320" y="1020"/>
                  </a:lnTo>
                  <a:lnTo>
                    <a:pt x="1314" y="1026"/>
                  </a:lnTo>
                  <a:lnTo>
                    <a:pt x="1314" y="1032"/>
                  </a:lnTo>
                  <a:lnTo>
                    <a:pt x="1308" y="1038"/>
                  </a:lnTo>
                  <a:lnTo>
                    <a:pt x="1308" y="1044"/>
                  </a:lnTo>
                  <a:lnTo>
                    <a:pt x="1308" y="1050"/>
                  </a:lnTo>
                  <a:lnTo>
                    <a:pt x="1308" y="1056"/>
                  </a:lnTo>
                  <a:lnTo>
                    <a:pt x="1308" y="1062"/>
                  </a:lnTo>
                  <a:lnTo>
                    <a:pt x="1296" y="1068"/>
                  </a:lnTo>
                  <a:lnTo>
                    <a:pt x="1284" y="1074"/>
                  </a:lnTo>
                  <a:lnTo>
                    <a:pt x="1272" y="1080"/>
                  </a:lnTo>
                  <a:lnTo>
                    <a:pt x="1260" y="1080"/>
                  </a:lnTo>
                  <a:lnTo>
                    <a:pt x="1254" y="1074"/>
                  </a:lnTo>
                  <a:lnTo>
                    <a:pt x="1236" y="1074"/>
                  </a:lnTo>
                  <a:lnTo>
                    <a:pt x="1230" y="1074"/>
                  </a:lnTo>
                  <a:lnTo>
                    <a:pt x="1236" y="1074"/>
                  </a:lnTo>
                  <a:lnTo>
                    <a:pt x="1236" y="1068"/>
                  </a:lnTo>
                  <a:lnTo>
                    <a:pt x="1236" y="1062"/>
                  </a:lnTo>
                  <a:lnTo>
                    <a:pt x="1236" y="1056"/>
                  </a:lnTo>
                  <a:lnTo>
                    <a:pt x="1242" y="1050"/>
                  </a:lnTo>
                  <a:lnTo>
                    <a:pt x="1242" y="1044"/>
                  </a:lnTo>
                  <a:lnTo>
                    <a:pt x="1242" y="1038"/>
                  </a:lnTo>
                  <a:lnTo>
                    <a:pt x="1248" y="1032"/>
                  </a:lnTo>
                  <a:lnTo>
                    <a:pt x="1236" y="1026"/>
                  </a:lnTo>
                  <a:lnTo>
                    <a:pt x="1218" y="1020"/>
                  </a:lnTo>
                  <a:lnTo>
                    <a:pt x="1224" y="1014"/>
                  </a:lnTo>
                  <a:lnTo>
                    <a:pt x="1218" y="1008"/>
                  </a:lnTo>
                  <a:lnTo>
                    <a:pt x="1218" y="1002"/>
                  </a:lnTo>
                  <a:lnTo>
                    <a:pt x="1212" y="1008"/>
                  </a:lnTo>
                  <a:lnTo>
                    <a:pt x="1206" y="1002"/>
                  </a:lnTo>
                  <a:lnTo>
                    <a:pt x="1212" y="1002"/>
                  </a:lnTo>
                  <a:lnTo>
                    <a:pt x="1212" y="996"/>
                  </a:lnTo>
                  <a:lnTo>
                    <a:pt x="1200" y="990"/>
                  </a:lnTo>
                  <a:lnTo>
                    <a:pt x="1200" y="984"/>
                  </a:lnTo>
                  <a:lnTo>
                    <a:pt x="1188" y="984"/>
                  </a:lnTo>
                  <a:lnTo>
                    <a:pt x="1176" y="978"/>
                  </a:lnTo>
                  <a:lnTo>
                    <a:pt x="1164" y="960"/>
                  </a:lnTo>
                  <a:lnTo>
                    <a:pt x="1152" y="936"/>
                  </a:lnTo>
                  <a:lnTo>
                    <a:pt x="1146" y="936"/>
                  </a:lnTo>
                  <a:lnTo>
                    <a:pt x="1128" y="900"/>
                  </a:lnTo>
                  <a:lnTo>
                    <a:pt x="1038" y="912"/>
                  </a:lnTo>
                  <a:lnTo>
                    <a:pt x="1038" y="918"/>
                  </a:lnTo>
                  <a:lnTo>
                    <a:pt x="1032" y="924"/>
                  </a:lnTo>
                  <a:lnTo>
                    <a:pt x="1026" y="918"/>
                  </a:lnTo>
                  <a:lnTo>
                    <a:pt x="1020" y="924"/>
                  </a:lnTo>
                  <a:lnTo>
                    <a:pt x="1008" y="936"/>
                  </a:lnTo>
                  <a:lnTo>
                    <a:pt x="990" y="936"/>
                  </a:lnTo>
                  <a:lnTo>
                    <a:pt x="990" y="942"/>
                  </a:lnTo>
                  <a:lnTo>
                    <a:pt x="996" y="942"/>
                  </a:lnTo>
                  <a:lnTo>
                    <a:pt x="984" y="948"/>
                  </a:lnTo>
                  <a:lnTo>
                    <a:pt x="972" y="948"/>
                  </a:lnTo>
                  <a:lnTo>
                    <a:pt x="960" y="948"/>
                  </a:lnTo>
                  <a:lnTo>
                    <a:pt x="948" y="942"/>
                  </a:lnTo>
                  <a:lnTo>
                    <a:pt x="948" y="936"/>
                  </a:lnTo>
                  <a:lnTo>
                    <a:pt x="942" y="936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30" y="924"/>
                  </a:lnTo>
                  <a:lnTo>
                    <a:pt x="936" y="918"/>
                  </a:lnTo>
                  <a:lnTo>
                    <a:pt x="918" y="918"/>
                  </a:lnTo>
                  <a:lnTo>
                    <a:pt x="918" y="900"/>
                  </a:lnTo>
                  <a:lnTo>
                    <a:pt x="924" y="900"/>
                  </a:lnTo>
                  <a:lnTo>
                    <a:pt x="924" y="894"/>
                  </a:lnTo>
                  <a:lnTo>
                    <a:pt x="924" y="870"/>
                  </a:lnTo>
                  <a:lnTo>
                    <a:pt x="924" y="864"/>
                  </a:lnTo>
                  <a:lnTo>
                    <a:pt x="918" y="858"/>
                  </a:lnTo>
                  <a:lnTo>
                    <a:pt x="918" y="852"/>
                  </a:lnTo>
                  <a:lnTo>
                    <a:pt x="906" y="840"/>
                  </a:lnTo>
                  <a:lnTo>
                    <a:pt x="894" y="834"/>
                  </a:lnTo>
                  <a:lnTo>
                    <a:pt x="876" y="822"/>
                  </a:lnTo>
                  <a:lnTo>
                    <a:pt x="870" y="828"/>
                  </a:lnTo>
                  <a:lnTo>
                    <a:pt x="858" y="816"/>
                  </a:lnTo>
                  <a:lnTo>
                    <a:pt x="810" y="798"/>
                  </a:lnTo>
                  <a:lnTo>
                    <a:pt x="774" y="792"/>
                  </a:lnTo>
                  <a:lnTo>
                    <a:pt x="732" y="798"/>
                  </a:lnTo>
                  <a:lnTo>
                    <a:pt x="726" y="804"/>
                  </a:lnTo>
                  <a:lnTo>
                    <a:pt x="714" y="810"/>
                  </a:lnTo>
                  <a:lnTo>
                    <a:pt x="702" y="810"/>
                  </a:lnTo>
                  <a:lnTo>
                    <a:pt x="690" y="810"/>
                  </a:lnTo>
                  <a:lnTo>
                    <a:pt x="696" y="816"/>
                  </a:lnTo>
                  <a:lnTo>
                    <a:pt x="696" y="822"/>
                  </a:lnTo>
                  <a:lnTo>
                    <a:pt x="702" y="822"/>
                  </a:lnTo>
                  <a:lnTo>
                    <a:pt x="708" y="822"/>
                  </a:lnTo>
                  <a:lnTo>
                    <a:pt x="708" y="828"/>
                  </a:lnTo>
                  <a:lnTo>
                    <a:pt x="708" y="834"/>
                  </a:lnTo>
                  <a:lnTo>
                    <a:pt x="714" y="834"/>
                  </a:lnTo>
                  <a:lnTo>
                    <a:pt x="708" y="846"/>
                  </a:lnTo>
                  <a:lnTo>
                    <a:pt x="708" y="852"/>
                  </a:lnTo>
                  <a:lnTo>
                    <a:pt x="702" y="852"/>
                  </a:lnTo>
                  <a:lnTo>
                    <a:pt x="696" y="858"/>
                  </a:lnTo>
                  <a:lnTo>
                    <a:pt x="690" y="864"/>
                  </a:lnTo>
                  <a:lnTo>
                    <a:pt x="666" y="870"/>
                  </a:lnTo>
                  <a:lnTo>
                    <a:pt x="660" y="876"/>
                  </a:lnTo>
                  <a:lnTo>
                    <a:pt x="642" y="876"/>
                  </a:lnTo>
                  <a:lnTo>
                    <a:pt x="606" y="882"/>
                  </a:lnTo>
                  <a:lnTo>
                    <a:pt x="588" y="882"/>
                  </a:lnTo>
                  <a:lnTo>
                    <a:pt x="582" y="876"/>
                  </a:lnTo>
                  <a:lnTo>
                    <a:pt x="576" y="876"/>
                  </a:lnTo>
                  <a:lnTo>
                    <a:pt x="564" y="876"/>
                  </a:lnTo>
                  <a:lnTo>
                    <a:pt x="552" y="882"/>
                  </a:lnTo>
                  <a:lnTo>
                    <a:pt x="540" y="894"/>
                  </a:lnTo>
                  <a:lnTo>
                    <a:pt x="534" y="906"/>
                  </a:lnTo>
                  <a:lnTo>
                    <a:pt x="528" y="912"/>
                  </a:lnTo>
                  <a:lnTo>
                    <a:pt x="516" y="924"/>
                  </a:lnTo>
                  <a:lnTo>
                    <a:pt x="486" y="930"/>
                  </a:lnTo>
                  <a:lnTo>
                    <a:pt x="474" y="912"/>
                  </a:lnTo>
                  <a:lnTo>
                    <a:pt x="474" y="906"/>
                  </a:lnTo>
                  <a:lnTo>
                    <a:pt x="468" y="906"/>
                  </a:lnTo>
                  <a:lnTo>
                    <a:pt x="468" y="900"/>
                  </a:lnTo>
                  <a:lnTo>
                    <a:pt x="462" y="894"/>
                  </a:lnTo>
                  <a:lnTo>
                    <a:pt x="456" y="894"/>
                  </a:lnTo>
                  <a:lnTo>
                    <a:pt x="462" y="888"/>
                  </a:lnTo>
                  <a:lnTo>
                    <a:pt x="468" y="888"/>
                  </a:lnTo>
                  <a:lnTo>
                    <a:pt x="462" y="882"/>
                  </a:lnTo>
                  <a:lnTo>
                    <a:pt x="462" y="876"/>
                  </a:lnTo>
                  <a:lnTo>
                    <a:pt x="456" y="870"/>
                  </a:lnTo>
                  <a:lnTo>
                    <a:pt x="456" y="864"/>
                  </a:lnTo>
                  <a:lnTo>
                    <a:pt x="450" y="858"/>
                  </a:lnTo>
                  <a:lnTo>
                    <a:pt x="444" y="858"/>
                  </a:lnTo>
                  <a:lnTo>
                    <a:pt x="444" y="852"/>
                  </a:lnTo>
                  <a:lnTo>
                    <a:pt x="438" y="852"/>
                  </a:lnTo>
                  <a:lnTo>
                    <a:pt x="438" y="858"/>
                  </a:lnTo>
                  <a:lnTo>
                    <a:pt x="402" y="870"/>
                  </a:lnTo>
                  <a:lnTo>
                    <a:pt x="390" y="882"/>
                  </a:lnTo>
                  <a:lnTo>
                    <a:pt x="384" y="900"/>
                  </a:lnTo>
                  <a:lnTo>
                    <a:pt x="342" y="900"/>
                  </a:lnTo>
                  <a:lnTo>
                    <a:pt x="324" y="900"/>
                  </a:lnTo>
                  <a:lnTo>
                    <a:pt x="294" y="906"/>
                  </a:lnTo>
                  <a:lnTo>
                    <a:pt x="282" y="948"/>
                  </a:lnTo>
                  <a:lnTo>
                    <a:pt x="282" y="978"/>
                  </a:lnTo>
                  <a:lnTo>
                    <a:pt x="270" y="1008"/>
                  </a:lnTo>
                  <a:lnTo>
                    <a:pt x="240" y="1014"/>
                  </a:lnTo>
                  <a:lnTo>
                    <a:pt x="216" y="996"/>
                  </a:lnTo>
                  <a:lnTo>
                    <a:pt x="204" y="984"/>
                  </a:lnTo>
                  <a:lnTo>
                    <a:pt x="192" y="966"/>
                  </a:lnTo>
                  <a:lnTo>
                    <a:pt x="186" y="948"/>
                  </a:lnTo>
                  <a:lnTo>
                    <a:pt x="174" y="948"/>
                  </a:lnTo>
                  <a:lnTo>
                    <a:pt x="174" y="936"/>
                  </a:lnTo>
                  <a:lnTo>
                    <a:pt x="186" y="924"/>
                  </a:lnTo>
                  <a:lnTo>
                    <a:pt x="198" y="906"/>
                  </a:lnTo>
                  <a:lnTo>
                    <a:pt x="204" y="888"/>
                  </a:lnTo>
                  <a:lnTo>
                    <a:pt x="222" y="870"/>
                  </a:lnTo>
                  <a:lnTo>
                    <a:pt x="234" y="858"/>
                  </a:lnTo>
                  <a:lnTo>
                    <a:pt x="234" y="852"/>
                  </a:lnTo>
                  <a:lnTo>
                    <a:pt x="222" y="852"/>
                  </a:lnTo>
                  <a:lnTo>
                    <a:pt x="228" y="810"/>
                  </a:lnTo>
                  <a:lnTo>
                    <a:pt x="222" y="798"/>
                  </a:lnTo>
                  <a:lnTo>
                    <a:pt x="216" y="798"/>
                  </a:lnTo>
                  <a:lnTo>
                    <a:pt x="216" y="792"/>
                  </a:lnTo>
                  <a:lnTo>
                    <a:pt x="210" y="792"/>
                  </a:lnTo>
                  <a:lnTo>
                    <a:pt x="204" y="798"/>
                  </a:lnTo>
                  <a:lnTo>
                    <a:pt x="204" y="792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0" y="786"/>
                  </a:lnTo>
                  <a:lnTo>
                    <a:pt x="174" y="792"/>
                  </a:lnTo>
                  <a:lnTo>
                    <a:pt x="162" y="792"/>
                  </a:lnTo>
                  <a:lnTo>
                    <a:pt x="156" y="792"/>
                  </a:lnTo>
                  <a:lnTo>
                    <a:pt x="156" y="798"/>
                  </a:lnTo>
                  <a:lnTo>
                    <a:pt x="138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6" y="804"/>
                  </a:lnTo>
                  <a:lnTo>
                    <a:pt x="102" y="810"/>
                  </a:lnTo>
                  <a:lnTo>
                    <a:pt x="90" y="810"/>
                  </a:lnTo>
                  <a:lnTo>
                    <a:pt x="72" y="798"/>
                  </a:lnTo>
                  <a:lnTo>
                    <a:pt x="66" y="780"/>
                  </a:lnTo>
                  <a:lnTo>
                    <a:pt x="60" y="780"/>
                  </a:lnTo>
                  <a:lnTo>
                    <a:pt x="60" y="768"/>
                  </a:lnTo>
                  <a:lnTo>
                    <a:pt x="54" y="768"/>
                  </a:lnTo>
                  <a:lnTo>
                    <a:pt x="24" y="756"/>
                  </a:lnTo>
                  <a:lnTo>
                    <a:pt x="18" y="744"/>
                  </a:lnTo>
                  <a:lnTo>
                    <a:pt x="12" y="738"/>
                  </a:lnTo>
                  <a:lnTo>
                    <a:pt x="18" y="732"/>
                  </a:lnTo>
                  <a:lnTo>
                    <a:pt x="12" y="726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8" y="696"/>
                  </a:lnTo>
                  <a:lnTo>
                    <a:pt x="24" y="708"/>
                  </a:lnTo>
                  <a:lnTo>
                    <a:pt x="36" y="702"/>
                  </a:lnTo>
                  <a:lnTo>
                    <a:pt x="36" y="678"/>
                  </a:lnTo>
                  <a:lnTo>
                    <a:pt x="36" y="660"/>
                  </a:lnTo>
                  <a:lnTo>
                    <a:pt x="42" y="654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72" y="624"/>
                  </a:lnTo>
                  <a:lnTo>
                    <a:pt x="90" y="618"/>
                  </a:lnTo>
                  <a:lnTo>
                    <a:pt x="102" y="618"/>
                  </a:lnTo>
                  <a:lnTo>
                    <a:pt x="114" y="612"/>
                  </a:lnTo>
                  <a:lnTo>
                    <a:pt x="138" y="606"/>
                  </a:lnTo>
                  <a:lnTo>
                    <a:pt x="144" y="606"/>
                  </a:lnTo>
                  <a:lnTo>
                    <a:pt x="150" y="594"/>
                  </a:lnTo>
                  <a:lnTo>
                    <a:pt x="156" y="576"/>
                  </a:lnTo>
                  <a:lnTo>
                    <a:pt x="168" y="552"/>
                  </a:lnTo>
                  <a:lnTo>
                    <a:pt x="168" y="540"/>
                  </a:lnTo>
                  <a:lnTo>
                    <a:pt x="180" y="522"/>
                  </a:lnTo>
                  <a:lnTo>
                    <a:pt x="186" y="498"/>
                  </a:lnTo>
                  <a:lnTo>
                    <a:pt x="198" y="480"/>
                  </a:lnTo>
                  <a:lnTo>
                    <a:pt x="204" y="486"/>
                  </a:lnTo>
                  <a:lnTo>
                    <a:pt x="210" y="480"/>
                  </a:lnTo>
                  <a:lnTo>
                    <a:pt x="204" y="474"/>
                  </a:lnTo>
                  <a:lnTo>
                    <a:pt x="198" y="462"/>
                  </a:lnTo>
                  <a:lnTo>
                    <a:pt x="192" y="456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50"/>
                  </a:lnTo>
                  <a:lnTo>
                    <a:pt x="132" y="426"/>
                  </a:lnTo>
                  <a:lnTo>
                    <a:pt x="132" y="396"/>
                  </a:lnTo>
                  <a:lnTo>
                    <a:pt x="132" y="378"/>
                  </a:lnTo>
                  <a:lnTo>
                    <a:pt x="126" y="348"/>
                  </a:lnTo>
                  <a:lnTo>
                    <a:pt x="132" y="312"/>
                  </a:lnTo>
                  <a:lnTo>
                    <a:pt x="126" y="288"/>
                  </a:lnTo>
                  <a:lnTo>
                    <a:pt x="138" y="282"/>
                  </a:lnTo>
                  <a:lnTo>
                    <a:pt x="126" y="264"/>
                  </a:lnTo>
                  <a:lnTo>
                    <a:pt x="126" y="258"/>
                  </a:lnTo>
                  <a:lnTo>
                    <a:pt x="120" y="246"/>
                  </a:lnTo>
                  <a:lnTo>
                    <a:pt x="126" y="234"/>
                  </a:lnTo>
                  <a:lnTo>
                    <a:pt x="114" y="228"/>
                  </a:lnTo>
                  <a:lnTo>
                    <a:pt x="114" y="222"/>
                  </a:lnTo>
                  <a:lnTo>
                    <a:pt x="96" y="204"/>
                  </a:lnTo>
                  <a:lnTo>
                    <a:pt x="84" y="180"/>
                  </a:lnTo>
                  <a:lnTo>
                    <a:pt x="78" y="168"/>
                  </a:lnTo>
                  <a:lnTo>
                    <a:pt x="72" y="162"/>
                  </a:lnTo>
                  <a:lnTo>
                    <a:pt x="66" y="144"/>
                  </a:lnTo>
                  <a:lnTo>
                    <a:pt x="60" y="138"/>
                  </a:lnTo>
                  <a:lnTo>
                    <a:pt x="66" y="126"/>
                  </a:lnTo>
                  <a:lnTo>
                    <a:pt x="66" y="114"/>
                  </a:lnTo>
                  <a:lnTo>
                    <a:pt x="72" y="114"/>
                  </a:lnTo>
                  <a:lnTo>
                    <a:pt x="72" y="108"/>
                  </a:lnTo>
                  <a:lnTo>
                    <a:pt x="78" y="102"/>
                  </a:lnTo>
                  <a:lnTo>
                    <a:pt x="78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120" y="78"/>
                  </a:lnTo>
                  <a:lnTo>
                    <a:pt x="144" y="84"/>
                  </a:lnTo>
                  <a:lnTo>
                    <a:pt x="150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74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92" y="102"/>
                  </a:lnTo>
                  <a:lnTo>
                    <a:pt x="198" y="96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16" y="96"/>
                  </a:lnTo>
                  <a:lnTo>
                    <a:pt x="222" y="96"/>
                  </a:lnTo>
                  <a:lnTo>
                    <a:pt x="228" y="96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94" y="114"/>
                  </a:lnTo>
                  <a:lnTo>
                    <a:pt x="312" y="120"/>
                  </a:lnTo>
                  <a:lnTo>
                    <a:pt x="318" y="126"/>
                  </a:lnTo>
                  <a:lnTo>
                    <a:pt x="330" y="132"/>
                  </a:lnTo>
                  <a:lnTo>
                    <a:pt x="342" y="132"/>
                  </a:lnTo>
                  <a:lnTo>
                    <a:pt x="348" y="132"/>
                  </a:lnTo>
                  <a:lnTo>
                    <a:pt x="354" y="138"/>
                  </a:lnTo>
                  <a:lnTo>
                    <a:pt x="366" y="138"/>
                  </a:lnTo>
                  <a:lnTo>
                    <a:pt x="372" y="144"/>
                  </a:lnTo>
                  <a:lnTo>
                    <a:pt x="378" y="150"/>
                  </a:lnTo>
                  <a:lnTo>
                    <a:pt x="384" y="150"/>
                  </a:lnTo>
                  <a:lnTo>
                    <a:pt x="390" y="150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14" y="156"/>
                  </a:lnTo>
                  <a:lnTo>
                    <a:pt x="420" y="156"/>
                  </a:lnTo>
                  <a:lnTo>
                    <a:pt x="426" y="162"/>
                  </a:lnTo>
                  <a:lnTo>
                    <a:pt x="438" y="168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62" y="174"/>
                  </a:lnTo>
                  <a:lnTo>
                    <a:pt x="468" y="174"/>
                  </a:lnTo>
                  <a:lnTo>
                    <a:pt x="474" y="174"/>
                  </a:lnTo>
                  <a:lnTo>
                    <a:pt x="474" y="180"/>
                  </a:lnTo>
                  <a:lnTo>
                    <a:pt x="480" y="192"/>
                  </a:lnTo>
                  <a:lnTo>
                    <a:pt x="498" y="198"/>
                  </a:lnTo>
                  <a:lnTo>
                    <a:pt x="510" y="210"/>
                  </a:lnTo>
                  <a:lnTo>
                    <a:pt x="516" y="210"/>
                  </a:lnTo>
                  <a:lnTo>
                    <a:pt x="522" y="210"/>
                  </a:lnTo>
                  <a:lnTo>
                    <a:pt x="534" y="216"/>
                  </a:lnTo>
                  <a:lnTo>
                    <a:pt x="540" y="216"/>
                  </a:lnTo>
                  <a:lnTo>
                    <a:pt x="546" y="222"/>
                  </a:lnTo>
                  <a:lnTo>
                    <a:pt x="552" y="222"/>
                  </a:lnTo>
                  <a:lnTo>
                    <a:pt x="558" y="228"/>
                  </a:lnTo>
                  <a:lnTo>
                    <a:pt x="564" y="228"/>
                  </a:lnTo>
                  <a:lnTo>
                    <a:pt x="570" y="234"/>
                  </a:lnTo>
                  <a:lnTo>
                    <a:pt x="576" y="240"/>
                  </a:lnTo>
                  <a:lnTo>
                    <a:pt x="582" y="240"/>
                  </a:lnTo>
                  <a:lnTo>
                    <a:pt x="588" y="240"/>
                  </a:lnTo>
                  <a:lnTo>
                    <a:pt x="594" y="240"/>
                  </a:lnTo>
                  <a:lnTo>
                    <a:pt x="600" y="228"/>
                  </a:lnTo>
                  <a:lnTo>
                    <a:pt x="588" y="216"/>
                  </a:lnTo>
                  <a:lnTo>
                    <a:pt x="588" y="198"/>
                  </a:lnTo>
                  <a:lnTo>
                    <a:pt x="582" y="198"/>
                  </a:lnTo>
                  <a:lnTo>
                    <a:pt x="588" y="192"/>
                  </a:lnTo>
                  <a:lnTo>
                    <a:pt x="582" y="168"/>
                  </a:lnTo>
                  <a:lnTo>
                    <a:pt x="558" y="114"/>
                  </a:lnTo>
                  <a:lnTo>
                    <a:pt x="552" y="90"/>
                  </a:lnTo>
                  <a:lnTo>
                    <a:pt x="558" y="60"/>
                  </a:lnTo>
                  <a:lnTo>
                    <a:pt x="564" y="48"/>
                  </a:lnTo>
                  <a:lnTo>
                    <a:pt x="582" y="42"/>
                  </a:lnTo>
                  <a:lnTo>
                    <a:pt x="624" y="6"/>
                  </a:lnTo>
                  <a:lnTo>
                    <a:pt x="648" y="0"/>
                  </a:lnTo>
                  <a:lnTo>
                    <a:pt x="678" y="0"/>
                  </a:lnTo>
                  <a:lnTo>
                    <a:pt x="720" y="12"/>
                  </a:lnTo>
                  <a:lnTo>
                    <a:pt x="744" y="24"/>
                  </a:lnTo>
                  <a:lnTo>
                    <a:pt x="768" y="42"/>
                  </a:lnTo>
                  <a:lnTo>
                    <a:pt x="816" y="48"/>
                  </a:lnTo>
                  <a:lnTo>
                    <a:pt x="834" y="48"/>
                  </a:lnTo>
                  <a:lnTo>
                    <a:pt x="852" y="54"/>
                  </a:lnTo>
                  <a:lnTo>
                    <a:pt x="906" y="60"/>
                  </a:lnTo>
                  <a:lnTo>
                    <a:pt x="948" y="54"/>
                  </a:lnTo>
                  <a:lnTo>
                    <a:pt x="978" y="42"/>
                  </a:lnTo>
                  <a:lnTo>
                    <a:pt x="984" y="48"/>
                  </a:lnTo>
                  <a:lnTo>
                    <a:pt x="990" y="60"/>
                  </a:lnTo>
                  <a:lnTo>
                    <a:pt x="996" y="66"/>
                  </a:lnTo>
                  <a:lnTo>
                    <a:pt x="1002" y="72"/>
                  </a:lnTo>
                  <a:lnTo>
                    <a:pt x="1014" y="78"/>
                  </a:lnTo>
                  <a:lnTo>
                    <a:pt x="1014" y="84"/>
                  </a:lnTo>
                  <a:lnTo>
                    <a:pt x="1032" y="84"/>
                  </a:lnTo>
                  <a:lnTo>
                    <a:pt x="1032" y="90"/>
                  </a:lnTo>
                  <a:lnTo>
                    <a:pt x="1032" y="96"/>
                  </a:lnTo>
                  <a:lnTo>
                    <a:pt x="1032" y="108"/>
                  </a:lnTo>
                  <a:lnTo>
                    <a:pt x="1056" y="126"/>
                  </a:lnTo>
                  <a:lnTo>
                    <a:pt x="1068" y="138"/>
                  </a:lnTo>
                  <a:lnTo>
                    <a:pt x="1068" y="156"/>
                  </a:lnTo>
                  <a:lnTo>
                    <a:pt x="1080" y="150"/>
                  </a:lnTo>
                  <a:lnTo>
                    <a:pt x="1086" y="150"/>
                  </a:lnTo>
                  <a:lnTo>
                    <a:pt x="1092" y="156"/>
                  </a:lnTo>
                  <a:lnTo>
                    <a:pt x="1092" y="162"/>
                  </a:lnTo>
                  <a:lnTo>
                    <a:pt x="1092" y="168"/>
                  </a:lnTo>
                  <a:lnTo>
                    <a:pt x="1098" y="168"/>
                  </a:lnTo>
                  <a:lnTo>
                    <a:pt x="1092" y="180"/>
                  </a:lnTo>
                  <a:lnTo>
                    <a:pt x="1092" y="186"/>
                  </a:lnTo>
                  <a:lnTo>
                    <a:pt x="1086" y="192"/>
                  </a:lnTo>
                  <a:lnTo>
                    <a:pt x="1068" y="210"/>
                  </a:lnTo>
                  <a:lnTo>
                    <a:pt x="1068" y="216"/>
                  </a:lnTo>
                  <a:lnTo>
                    <a:pt x="1074" y="228"/>
                  </a:lnTo>
                  <a:lnTo>
                    <a:pt x="1092" y="234"/>
                  </a:lnTo>
                  <a:lnTo>
                    <a:pt x="1122" y="216"/>
                  </a:lnTo>
                  <a:lnTo>
                    <a:pt x="1188" y="204"/>
                  </a:lnTo>
                  <a:lnTo>
                    <a:pt x="1212" y="204"/>
                  </a:lnTo>
                  <a:lnTo>
                    <a:pt x="1230" y="198"/>
                  </a:lnTo>
                  <a:lnTo>
                    <a:pt x="1236" y="204"/>
                  </a:lnTo>
                  <a:lnTo>
                    <a:pt x="1242" y="210"/>
                  </a:lnTo>
                  <a:lnTo>
                    <a:pt x="1242" y="204"/>
                  </a:lnTo>
                  <a:lnTo>
                    <a:pt x="1248" y="198"/>
                  </a:lnTo>
                  <a:lnTo>
                    <a:pt x="1308" y="204"/>
                  </a:lnTo>
                  <a:lnTo>
                    <a:pt x="1338" y="204"/>
                  </a:lnTo>
                  <a:lnTo>
                    <a:pt x="1374" y="228"/>
                  </a:lnTo>
                  <a:lnTo>
                    <a:pt x="1380" y="234"/>
                  </a:lnTo>
                  <a:lnTo>
                    <a:pt x="1380" y="240"/>
                  </a:lnTo>
                  <a:lnTo>
                    <a:pt x="1386" y="252"/>
                  </a:lnTo>
                  <a:lnTo>
                    <a:pt x="1392" y="252"/>
                  </a:lnTo>
                  <a:lnTo>
                    <a:pt x="1416" y="270"/>
                  </a:lnTo>
                  <a:lnTo>
                    <a:pt x="1428" y="294"/>
                  </a:lnTo>
                  <a:lnTo>
                    <a:pt x="1440" y="312"/>
                  </a:lnTo>
                  <a:lnTo>
                    <a:pt x="1452" y="330"/>
                  </a:lnTo>
                  <a:lnTo>
                    <a:pt x="1464" y="330"/>
                  </a:lnTo>
                  <a:lnTo>
                    <a:pt x="1464" y="336"/>
                  </a:lnTo>
                  <a:lnTo>
                    <a:pt x="1470" y="336"/>
                  </a:lnTo>
                  <a:lnTo>
                    <a:pt x="1470" y="342"/>
                  </a:lnTo>
                  <a:lnTo>
                    <a:pt x="1476" y="342"/>
                  </a:lnTo>
                  <a:lnTo>
                    <a:pt x="1488" y="336"/>
                  </a:lnTo>
                  <a:lnTo>
                    <a:pt x="1494" y="342"/>
                  </a:lnTo>
                  <a:lnTo>
                    <a:pt x="1500" y="342"/>
                  </a:lnTo>
                  <a:lnTo>
                    <a:pt x="1512" y="366"/>
                  </a:lnTo>
                  <a:lnTo>
                    <a:pt x="1530" y="396"/>
                  </a:lnTo>
                  <a:lnTo>
                    <a:pt x="1536" y="444"/>
                  </a:lnTo>
                  <a:lnTo>
                    <a:pt x="1530" y="480"/>
                  </a:lnTo>
                  <a:lnTo>
                    <a:pt x="1506" y="510"/>
                  </a:lnTo>
                  <a:lnTo>
                    <a:pt x="1500" y="546"/>
                  </a:lnTo>
                  <a:lnTo>
                    <a:pt x="1494" y="564"/>
                  </a:lnTo>
                  <a:lnTo>
                    <a:pt x="1494" y="576"/>
                  </a:lnTo>
                  <a:lnTo>
                    <a:pt x="1500" y="582"/>
                  </a:lnTo>
                  <a:lnTo>
                    <a:pt x="1494" y="612"/>
                  </a:lnTo>
                  <a:lnTo>
                    <a:pt x="1476" y="630"/>
                  </a:lnTo>
                  <a:lnTo>
                    <a:pt x="1434" y="672"/>
                  </a:lnTo>
                  <a:lnTo>
                    <a:pt x="1392" y="756"/>
                  </a:lnTo>
                  <a:lnTo>
                    <a:pt x="1380" y="792"/>
                  </a:lnTo>
                  <a:lnTo>
                    <a:pt x="1374" y="798"/>
                  </a:lnTo>
                  <a:lnTo>
                    <a:pt x="1368" y="798"/>
                  </a:lnTo>
                  <a:lnTo>
                    <a:pt x="1380" y="804"/>
                  </a:lnTo>
                  <a:lnTo>
                    <a:pt x="1386" y="804"/>
                  </a:lnTo>
                  <a:lnTo>
                    <a:pt x="1380" y="822"/>
                  </a:lnTo>
                  <a:lnTo>
                    <a:pt x="1380" y="852"/>
                  </a:lnTo>
                  <a:lnTo>
                    <a:pt x="1374" y="858"/>
                  </a:lnTo>
                  <a:lnTo>
                    <a:pt x="1380" y="858"/>
                  </a:lnTo>
                  <a:lnTo>
                    <a:pt x="1374" y="864"/>
                  </a:lnTo>
                  <a:lnTo>
                    <a:pt x="1374" y="870"/>
                  </a:lnTo>
                  <a:lnTo>
                    <a:pt x="1374" y="876"/>
                  </a:lnTo>
                  <a:lnTo>
                    <a:pt x="1368" y="900"/>
                  </a:lnTo>
                  <a:lnTo>
                    <a:pt x="1362" y="906"/>
                  </a:lnTo>
                  <a:lnTo>
                    <a:pt x="1362" y="918"/>
                  </a:lnTo>
                  <a:lnTo>
                    <a:pt x="1362" y="924"/>
                  </a:lnTo>
                  <a:lnTo>
                    <a:pt x="1356" y="942"/>
                  </a:lnTo>
                  <a:lnTo>
                    <a:pt x="1350" y="972"/>
                  </a:lnTo>
                  <a:lnTo>
                    <a:pt x="1350" y="1014"/>
                  </a:lnTo>
                  <a:lnTo>
                    <a:pt x="1350" y="10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3" name="Freeform 18">
              <a:extLst>
                <a:ext uri="{FF2B5EF4-FFF2-40B4-BE49-F238E27FC236}">
                  <a16:creationId xmlns:a16="http://schemas.microsoft.com/office/drawing/2014/main" id="{EC11F2E0-3C06-46E2-8AD2-66EBE00FFE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32346" y="3837389"/>
              <a:ext cx="556811" cy="818559"/>
            </a:xfrm>
            <a:custGeom>
              <a:avLst/>
              <a:gdLst>
                <a:gd name="T0" fmla="*/ 12 w 1044"/>
                <a:gd name="T1" fmla="*/ 95 h 1542"/>
                <a:gd name="T2" fmla="*/ 7 w 1044"/>
                <a:gd name="T3" fmla="*/ 93 h 1542"/>
                <a:gd name="T4" fmla="*/ 0 w 1044"/>
                <a:gd name="T5" fmla="*/ 88 h 1542"/>
                <a:gd name="T6" fmla="*/ 3 w 1044"/>
                <a:gd name="T7" fmla="*/ 74 h 1542"/>
                <a:gd name="T8" fmla="*/ 4 w 1044"/>
                <a:gd name="T9" fmla="*/ 59 h 1542"/>
                <a:gd name="T10" fmla="*/ 7 w 1044"/>
                <a:gd name="T11" fmla="*/ 52 h 1542"/>
                <a:gd name="T12" fmla="*/ 20 w 1044"/>
                <a:gd name="T13" fmla="*/ 50 h 1542"/>
                <a:gd name="T14" fmla="*/ 24 w 1044"/>
                <a:gd name="T15" fmla="*/ 46 h 1542"/>
                <a:gd name="T16" fmla="*/ 29 w 1044"/>
                <a:gd name="T17" fmla="*/ 33 h 1542"/>
                <a:gd name="T18" fmla="*/ 32 w 1044"/>
                <a:gd name="T19" fmla="*/ 26 h 1542"/>
                <a:gd name="T20" fmla="*/ 30 w 1044"/>
                <a:gd name="T21" fmla="*/ 20 h 1542"/>
                <a:gd name="T22" fmla="*/ 26 w 1044"/>
                <a:gd name="T23" fmla="*/ 17 h 1542"/>
                <a:gd name="T24" fmla="*/ 28 w 1044"/>
                <a:gd name="T25" fmla="*/ 12 h 1542"/>
                <a:gd name="T26" fmla="*/ 44 w 1044"/>
                <a:gd name="T27" fmla="*/ 5 h 1542"/>
                <a:gd name="T28" fmla="*/ 57 w 1044"/>
                <a:gd name="T29" fmla="*/ 2 h 1542"/>
                <a:gd name="T30" fmla="*/ 65 w 1044"/>
                <a:gd name="T31" fmla="*/ 12 h 1542"/>
                <a:gd name="T32" fmla="*/ 81 w 1044"/>
                <a:gd name="T33" fmla="*/ 9 h 1542"/>
                <a:gd name="T34" fmla="*/ 91 w 1044"/>
                <a:gd name="T35" fmla="*/ 20 h 1542"/>
                <a:gd name="T36" fmla="*/ 89 w 1044"/>
                <a:gd name="T37" fmla="*/ 28 h 1542"/>
                <a:gd name="T38" fmla="*/ 83 w 1044"/>
                <a:gd name="T39" fmla="*/ 33 h 1542"/>
                <a:gd name="T40" fmla="*/ 74 w 1044"/>
                <a:gd name="T41" fmla="*/ 42 h 1542"/>
                <a:gd name="T42" fmla="*/ 58 w 1044"/>
                <a:gd name="T43" fmla="*/ 57 h 1542"/>
                <a:gd name="T44" fmla="*/ 54 w 1044"/>
                <a:gd name="T45" fmla="*/ 65 h 1542"/>
                <a:gd name="T46" fmla="*/ 59 w 1044"/>
                <a:gd name="T47" fmla="*/ 74 h 1542"/>
                <a:gd name="T48" fmla="*/ 55 w 1044"/>
                <a:gd name="T49" fmla="*/ 84 h 1542"/>
                <a:gd name="T50" fmla="*/ 52 w 1044"/>
                <a:gd name="T51" fmla="*/ 98 h 1542"/>
                <a:gd name="T52" fmla="*/ 47 w 1044"/>
                <a:gd name="T53" fmla="*/ 105 h 1542"/>
                <a:gd name="T54" fmla="*/ 42 w 1044"/>
                <a:gd name="T55" fmla="*/ 111 h 1542"/>
                <a:gd name="T56" fmla="*/ 43 w 1044"/>
                <a:gd name="T57" fmla="*/ 120 h 1542"/>
                <a:gd name="T58" fmla="*/ 45 w 1044"/>
                <a:gd name="T59" fmla="*/ 125 h 1542"/>
                <a:gd name="T60" fmla="*/ 44 w 1044"/>
                <a:gd name="T61" fmla="*/ 130 h 1542"/>
                <a:gd name="T62" fmla="*/ 45 w 1044"/>
                <a:gd name="T63" fmla="*/ 131 h 1542"/>
                <a:gd name="T64" fmla="*/ 48 w 1044"/>
                <a:gd name="T65" fmla="*/ 133 h 1542"/>
                <a:gd name="T66" fmla="*/ 39 w 1044"/>
                <a:gd name="T67" fmla="*/ 133 h 1542"/>
                <a:gd name="T68" fmla="*/ 42 w 1044"/>
                <a:gd name="T69" fmla="*/ 132 h 1542"/>
                <a:gd name="T70" fmla="*/ 38 w 1044"/>
                <a:gd name="T71" fmla="*/ 133 h 1542"/>
                <a:gd name="T72" fmla="*/ 37 w 1044"/>
                <a:gd name="T73" fmla="*/ 129 h 1542"/>
                <a:gd name="T74" fmla="*/ 40 w 1044"/>
                <a:gd name="T75" fmla="*/ 125 h 1542"/>
                <a:gd name="T76" fmla="*/ 40 w 1044"/>
                <a:gd name="T77" fmla="*/ 120 h 1542"/>
                <a:gd name="T78" fmla="*/ 40 w 1044"/>
                <a:gd name="T79" fmla="*/ 117 h 1542"/>
                <a:gd name="T80" fmla="*/ 37 w 1044"/>
                <a:gd name="T81" fmla="*/ 120 h 1542"/>
                <a:gd name="T82" fmla="*/ 34 w 1044"/>
                <a:gd name="T83" fmla="*/ 122 h 1542"/>
                <a:gd name="T84" fmla="*/ 36 w 1044"/>
                <a:gd name="T85" fmla="*/ 120 h 1542"/>
                <a:gd name="T86" fmla="*/ 30 w 1044"/>
                <a:gd name="T87" fmla="*/ 120 h 1542"/>
                <a:gd name="T88" fmla="*/ 31 w 1044"/>
                <a:gd name="T89" fmla="*/ 113 h 1542"/>
                <a:gd name="T90" fmla="*/ 29 w 1044"/>
                <a:gd name="T91" fmla="*/ 112 h 1542"/>
                <a:gd name="T92" fmla="*/ 31 w 1044"/>
                <a:gd name="T93" fmla="*/ 117 h 1542"/>
                <a:gd name="T94" fmla="*/ 27 w 1044"/>
                <a:gd name="T95" fmla="*/ 116 h 1542"/>
                <a:gd name="T96" fmla="*/ 25 w 1044"/>
                <a:gd name="T97" fmla="*/ 112 h 1542"/>
                <a:gd name="T98" fmla="*/ 21 w 1044"/>
                <a:gd name="T99" fmla="*/ 109 h 1542"/>
                <a:gd name="T100" fmla="*/ 21 w 1044"/>
                <a:gd name="T101" fmla="*/ 113 h 1542"/>
                <a:gd name="T102" fmla="*/ 40 w 1044"/>
                <a:gd name="T103" fmla="*/ 120 h 1542"/>
                <a:gd name="T104" fmla="*/ 40 w 1044"/>
                <a:gd name="T105" fmla="*/ 121 h 1542"/>
                <a:gd name="T106" fmla="*/ 40 w 1044"/>
                <a:gd name="T107" fmla="*/ 116 h 1542"/>
                <a:gd name="T108" fmla="*/ 38 w 1044"/>
                <a:gd name="T109" fmla="*/ 120 h 1542"/>
                <a:gd name="T110" fmla="*/ 23 w 1044"/>
                <a:gd name="T111" fmla="*/ 110 h 1542"/>
                <a:gd name="T112" fmla="*/ 37 w 1044"/>
                <a:gd name="T113" fmla="*/ 124 h 1542"/>
                <a:gd name="T114" fmla="*/ 40 w 1044"/>
                <a:gd name="T115" fmla="*/ 125 h 1542"/>
                <a:gd name="T116" fmla="*/ 38 w 1044"/>
                <a:gd name="T117" fmla="*/ 128 h 1542"/>
                <a:gd name="T118" fmla="*/ 25 w 1044"/>
                <a:gd name="T119" fmla="*/ 117 h 1542"/>
                <a:gd name="T120" fmla="*/ 27 w 1044"/>
                <a:gd name="T121" fmla="*/ 127 h 1542"/>
                <a:gd name="T122" fmla="*/ 24 w 1044"/>
                <a:gd name="T123" fmla="*/ 113 h 15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4"/>
                <a:gd name="T187" fmla="*/ 0 h 1542"/>
                <a:gd name="T188" fmla="*/ 1044 w 1044"/>
                <a:gd name="T189" fmla="*/ 1542 h 154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4" h="1542">
                  <a:moveTo>
                    <a:pt x="234" y="1278"/>
                  </a:moveTo>
                  <a:lnTo>
                    <a:pt x="228" y="1272"/>
                  </a:lnTo>
                  <a:lnTo>
                    <a:pt x="222" y="1266"/>
                  </a:lnTo>
                  <a:lnTo>
                    <a:pt x="222" y="1260"/>
                  </a:lnTo>
                  <a:lnTo>
                    <a:pt x="204" y="1248"/>
                  </a:lnTo>
                  <a:lnTo>
                    <a:pt x="192" y="1248"/>
                  </a:lnTo>
                  <a:lnTo>
                    <a:pt x="186" y="1236"/>
                  </a:lnTo>
                  <a:lnTo>
                    <a:pt x="174" y="1218"/>
                  </a:lnTo>
                  <a:lnTo>
                    <a:pt x="162" y="1194"/>
                  </a:lnTo>
                  <a:lnTo>
                    <a:pt x="156" y="1182"/>
                  </a:lnTo>
                  <a:lnTo>
                    <a:pt x="162" y="1146"/>
                  </a:lnTo>
                  <a:lnTo>
                    <a:pt x="156" y="1134"/>
                  </a:lnTo>
                  <a:lnTo>
                    <a:pt x="138" y="1122"/>
                  </a:lnTo>
                  <a:lnTo>
                    <a:pt x="132" y="1116"/>
                  </a:lnTo>
                  <a:lnTo>
                    <a:pt x="138" y="1098"/>
                  </a:lnTo>
                  <a:lnTo>
                    <a:pt x="138" y="1092"/>
                  </a:lnTo>
                  <a:lnTo>
                    <a:pt x="138" y="1086"/>
                  </a:lnTo>
                  <a:lnTo>
                    <a:pt x="132" y="1074"/>
                  </a:lnTo>
                  <a:lnTo>
                    <a:pt x="126" y="1074"/>
                  </a:lnTo>
                  <a:lnTo>
                    <a:pt x="126" y="1068"/>
                  </a:lnTo>
                  <a:lnTo>
                    <a:pt x="120" y="1062"/>
                  </a:lnTo>
                  <a:lnTo>
                    <a:pt x="120" y="1056"/>
                  </a:lnTo>
                  <a:lnTo>
                    <a:pt x="114" y="1050"/>
                  </a:lnTo>
                  <a:lnTo>
                    <a:pt x="108" y="1050"/>
                  </a:lnTo>
                  <a:lnTo>
                    <a:pt x="102" y="1056"/>
                  </a:lnTo>
                  <a:lnTo>
                    <a:pt x="102" y="1062"/>
                  </a:lnTo>
                  <a:lnTo>
                    <a:pt x="96" y="1062"/>
                  </a:lnTo>
                  <a:lnTo>
                    <a:pt x="96" y="1068"/>
                  </a:lnTo>
                  <a:lnTo>
                    <a:pt x="96" y="1074"/>
                  </a:lnTo>
                  <a:lnTo>
                    <a:pt x="90" y="1074"/>
                  </a:lnTo>
                  <a:lnTo>
                    <a:pt x="84" y="1080"/>
                  </a:lnTo>
                  <a:lnTo>
                    <a:pt x="78" y="1074"/>
                  </a:lnTo>
                  <a:lnTo>
                    <a:pt x="72" y="1074"/>
                  </a:lnTo>
                  <a:lnTo>
                    <a:pt x="72" y="1068"/>
                  </a:lnTo>
                  <a:lnTo>
                    <a:pt x="72" y="1062"/>
                  </a:lnTo>
                  <a:lnTo>
                    <a:pt x="60" y="1056"/>
                  </a:lnTo>
                  <a:lnTo>
                    <a:pt x="60" y="1044"/>
                  </a:lnTo>
                  <a:lnTo>
                    <a:pt x="60" y="1032"/>
                  </a:lnTo>
                  <a:lnTo>
                    <a:pt x="60" y="1026"/>
                  </a:lnTo>
                  <a:lnTo>
                    <a:pt x="54" y="1026"/>
                  </a:lnTo>
                  <a:lnTo>
                    <a:pt x="48" y="1014"/>
                  </a:lnTo>
                  <a:lnTo>
                    <a:pt x="42" y="1008"/>
                  </a:lnTo>
                  <a:lnTo>
                    <a:pt x="30" y="1008"/>
                  </a:lnTo>
                  <a:lnTo>
                    <a:pt x="30" y="1002"/>
                  </a:lnTo>
                  <a:lnTo>
                    <a:pt x="24" y="1008"/>
                  </a:lnTo>
                  <a:lnTo>
                    <a:pt x="12" y="1008"/>
                  </a:lnTo>
                  <a:lnTo>
                    <a:pt x="6" y="1008"/>
                  </a:lnTo>
                  <a:lnTo>
                    <a:pt x="0" y="1008"/>
                  </a:lnTo>
                  <a:lnTo>
                    <a:pt x="0" y="1002"/>
                  </a:lnTo>
                  <a:lnTo>
                    <a:pt x="6" y="990"/>
                  </a:lnTo>
                  <a:lnTo>
                    <a:pt x="6" y="984"/>
                  </a:lnTo>
                  <a:lnTo>
                    <a:pt x="0" y="978"/>
                  </a:lnTo>
                  <a:lnTo>
                    <a:pt x="6" y="972"/>
                  </a:lnTo>
                  <a:lnTo>
                    <a:pt x="12" y="972"/>
                  </a:lnTo>
                  <a:lnTo>
                    <a:pt x="72" y="978"/>
                  </a:lnTo>
                  <a:lnTo>
                    <a:pt x="78" y="972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30"/>
                  </a:lnTo>
                  <a:lnTo>
                    <a:pt x="54" y="912"/>
                  </a:lnTo>
                  <a:lnTo>
                    <a:pt x="42" y="906"/>
                  </a:lnTo>
                  <a:lnTo>
                    <a:pt x="36" y="894"/>
                  </a:lnTo>
                  <a:lnTo>
                    <a:pt x="30" y="876"/>
                  </a:lnTo>
                  <a:lnTo>
                    <a:pt x="30" y="858"/>
                  </a:lnTo>
                  <a:lnTo>
                    <a:pt x="30" y="840"/>
                  </a:lnTo>
                  <a:lnTo>
                    <a:pt x="36" y="816"/>
                  </a:lnTo>
                  <a:lnTo>
                    <a:pt x="36" y="792"/>
                  </a:lnTo>
                  <a:lnTo>
                    <a:pt x="36" y="780"/>
                  </a:lnTo>
                  <a:lnTo>
                    <a:pt x="12" y="774"/>
                  </a:lnTo>
                  <a:lnTo>
                    <a:pt x="24" y="756"/>
                  </a:lnTo>
                  <a:lnTo>
                    <a:pt x="24" y="744"/>
                  </a:lnTo>
                  <a:lnTo>
                    <a:pt x="30" y="738"/>
                  </a:lnTo>
                  <a:lnTo>
                    <a:pt x="30" y="732"/>
                  </a:lnTo>
                  <a:lnTo>
                    <a:pt x="36" y="720"/>
                  </a:lnTo>
                  <a:lnTo>
                    <a:pt x="42" y="714"/>
                  </a:lnTo>
                  <a:lnTo>
                    <a:pt x="54" y="708"/>
                  </a:lnTo>
                  <a:lnTo>
                    <a:pt x="60" y="702"/>
                  </a:lnTo>
                  <a:lnTo>
                    <a:pt x="48" y="690"/>
                  </a:lnTo>
                  <a:lnTo>
                    <a:pt x="48" y="684"/>
                  </a:lnTo>
                  <a:lnTo>
                    <a:pt x="48" y="678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66"/>
                  </a:lnTo>
                  <a:lnTo>
                    <a:pt x="72" y="654"/>
                  </a:lnTo>
                  <a:lnTo>
                    <a:pt x="72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84" y="630"/>
                  </a:lnTo>
                  <a:lnTo>
                    <a:pt x="90" y="630"/>
                  </a:lnTo>
                  <a:lnTo>
                    <a:pt x="96" y="630"/>
                  </a:lnTo>
                  <a:lnTo>
                    <a:pt x="96" y="624"/>
                  </a:lnTo>
                  <a:lnTo>
                    <a:pt x="90" y="624"/>
                  </a:lnTo>
                  <a:lnTo>
                    <a:pt x="84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90" y="600"/>
                  </a:lnTo>
                  <a:lnTo>
                    <a:pt x="84" y="600"/>
                  </a:lnTo>
                  <a:lnTo>
                    <a:pt x="78" y="594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126" y="564"/>
                  </a:lnTo>
                  <a:lnTo>
                    <a:pt x="144" y="564"/>
                  </a:lnTo>
                  <a:lnTo>
                    <a:pt x="156" y="582"/>
                  </a:lnTo>
                  <a:lnTo>
                    <a:pt x="162" y="600"/>
                  </a:lnTo>
                  <a:lnTo>
                    <a:pt x="180" y="588"/>
                  </a:lnTo>
                  <a:lnTo>
                    <a:pt x="192" y="588"/>
                  </a:lnTo>
                  <a:lnTo>
                    <a:pt x="198" y="588"/>
                  </a:lnTo>
                  <a:lnTo>
                    <a:pt x="210" y="582"/>
                  </a:lnTo>
                  <a:lnTo>
                    <a:pt x="216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58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46" y="558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58" y="570"/>
                  </a:lnTo>
                  <a:lnTo>
                    <a:pt x="264" y="570"/>
                  </a:lnTo>
                  <a:lnTo>
                    <a:pt x="270" y="564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46"/>
                  </a:lnTo>
                  <a:lnTo>
                    <a:pt x="276" y="540"/>
                  </a:lnTo>
                  <a:lnTo>
                    <a:pt x="276" y="534"/>
                  </a:lnTo>
                  <a:lnTo>
                    <a:pt x="276" y="528"/>
                  </a:lnTo>
                  <a:lnTo>
                    <a:pt x="282" y="528"/>
                  </a:lnTo>
                  <a:lnTo>
                    <a:pt x="282" y="522"/>
                  </a:lnTo>
                  <a:lnTo>
                    <a:pt x="282" y="516"/>
                  </a:lnTo>
                  <a:lnTo>
                    <a:pt x="282" y="510"/>
                  </a:lnTo>
                  <a:lnTo>
                    <a:pt x="282" y="504"/>
                  </a:lnTo>
                  <a:lnTo>
                    <a:pt x="282" y="492"/>
                  </a:lnTo>
                  <a:lnTo>
                    <a:pt x="288" y="486"/>
                  </a:lnTo>
                  <a:lnTo>
                    <a:pt x="300" y="480"/>
                  </a:lnTo>
                  <a:lnTo>
                    <a:pt x="306" y="462"/>
                  </a:lnTo>
                  <a:lnTo>
                    <a:pt x="318" y="444"/>
                  </a:lnTo>
                  <a:lnTo>
                    <a:pt x="330" y="444"/>
                  </a:lnTo>
                  <a:lnTo>
                    <a:pt x="330" y="432"/>
                  </a:lnTo>
                  <a:lnTo>
                    <a:pt x="342" y="432"/>
                  </a:lnTo>
                  <a:lnTo>
                    <a:pt x="354" y="402"/>
                  </a:lnTo>
                  <a:lnTo>
                    <a:pt x="348" y="390"/>
                  </a:lnTo>
                  <a:lnTo>
                    <a:pt x="336" y="384"/>
                  </a:lnTo>
                  <a:lnTo>
                    <a:pt x="336" y="360"/>
                  </a:lnTo>
                  <a:lnTo>
                    <a:pt x="336" y="354"/>
                  </a:lnTo>
                  <a:lnTo>
                    <a:pt x="336" y="342"/>
                  </a:lnTo>
                  <a:lnTo>
                    <a:pt x="342" y="336"/>
                  </a:lnTo>
                  <a:lnTo>
                    <a:pt x="342" y="324"/>
                  </a:lnTo>
                  <a:lnTo>
                    <a:pt x="372" y="324"/>
                  </a:lnTo>
                  <a:lnTo>
                    <a:pt x="378" y="324"/>
                  </a:lnTo>
                  <a:lnTo>
                    <a:pt x="378" y="318"/>
                  </a:lnTo>
                  <a:lnTo>
                    <a:pt x="372" y="312"/>
                  </a:lnTo>
                  <a:lnTo>
                    <a:pt x="378" y="312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84" y="300"/>
                  </a:lnTo>
                  <a:lnTo>
                    <a:pt x="384" y="294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66" y="294"/>
                  </a:lnTo>
                  <a:lnTo>
                    <a:pt x="366" y="288"/>
                  </a:lnTo>
                  <a:lnTo>
                    <a:pt x="372" y="288"/>
                  </a:lnTo>
                  <a:lnTo>
                    <a:pt x="372" y="282"/>
                  </a:lnTo>
                  <a:lnTo>
                    <a:pt x="366" y="276"/>
                  </a:lnTo>
                  <a:lnTo>
                    <a:pt x="360" y="270"/>
                  </a:lnTo>
                  <a:lnTo>
                    <a:pt x="360" y="264"/>
                  </a:lnTo>
                  <a:lnTo>
                    <a:pt x="354" y="264"/>
                  </a:lnTo>
                  <a:lnTo>
                    <a:pt x="348" y="258"/>
                  </a:lnTo>
                  <a:lnTo>
                    <a:pt x="354" y="258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40"/>
                  </a:lnTo>
                  <a:lnTo>
                    <a:pt x="354" y="240"/>
                  </a:lnTo>
                  <a:lnTo>
                    <a:pt x="342" y="234"/>
                  </a:lnTo>
                  <a:lnTo>
                    <a:pt x="342" y="228"/>
                  </a:lnTo>
                  <a:lnTo>
                    <a:pt x="348" y="228"/>
                  </a:lnTo>
                  <a:lnTo>
                    <a:pt x="342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6" y="216"/>
                  </a:lnTo>
                  <a:lnTo>
                    <a:pt x="330" y="222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24" y="210"/>
                  </a:lnTo>
                  <a:lnTo>
                    <a:pt x="318" y="210"/>
                  </a:lnTo>
                  <a:lnTo>
                    <a:pt x="318" y="204"/>
                  </a:lnTo>
                  <a:lnTo>
                    <a:pt x="312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294" y="192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300" y="174"/>
                  </a:lnTo>
                  <a:lnTo>
                    <a:pt x="300" y="168"/>
                  </a:lnTo>
                  <a:lnTo>
                    <a:pt x="300" y="162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88" y="150"/>
                  </a:lnTo>
                  <a:lnTo>
                    <a:pt x="288" y="144"/>
                  </a:lnTo>
                  <a:lnTo>
                    <a:pt x="282" y="144"/>
                  </a:lnTo>
                  <a:lnTo>
                    <a:pt x="282" y="138"/>
                  </a:lnTo>
                  <a:lnTo>
                    <a:pt x="312" y="132"/>
                  </a:lnTo>
                  <a:lnTo>
                    <a:pt x="324" y="120"/>
                  </a:lnTo>
                  <a:lnTo>
                    <a:pt x="330" y="114"/>
                  </a:lnTo>
                  <a:lnTo>
                    <a:pt x="336" y="102"/>
                  </a:lnTo>
                  <a:lnTo>
                    <a:pt x="348" y="90"/>
                  </a:lnTo>
                  <a:lnTo>
                    <a:pt x="360" y="84"/>
                  </a:lnTo>
                  <a:lnTo>
                    <a:pt x="372" y="84"/>
                  </a:lnTo>
                  <a:lnTo>
                    <a:pt x="378" y="84"/>
                  </a:lnTo>
                  <a:lnTo>
                    <a:pt x="384" y="90"/>
                  </a:lnTo>
                  <a:lnTo>
                    <a:pt x="402" y="90"/>
                  </a:lnTo>
                  <a:lnTo>
                    <a:pt x="438" y="84"/>
                  </a:lnTo>
                  <a:lnTo>
                    <a:pt x="456" y="84"/>
                  </a:lnTo>
                  <a:lnTo>
                    <a:pt x="462" y="78"/>
                  </a:lnTo>
                  <a:lnTo>
                    <a:pt x="486" y="72"/>
                  </a:lnTo>
                  <a:lnTo>
                    <a:pt x="492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04" y="54"/>
                  </a:lnTo>
                  <a:lnTo>
                    <a:pt x="510" y="42"/>
                  </a:lnTo>
                  <a:lnTo>
                    <a:pt x="504" y="42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498" y="30"/>
                  </a:lnTo>
                  <a:lnTo>
                    <a:pt x="492" y="30"/>
                  </a:lnTo>
                  <a:lnTo>
                    <a:pt x="492" y="24"/>
                  </a:lnTo>
                  <a:lnTo>
                    <a:pt x="486" y="18"/>
                  </a:lnTo>
                  <a:lnTo>
                    <a:pt x="498" y="18"/>
                  </a:lnTo>
                  <a:lnTo>
                    <a:pt x="510" y="18"/>
                  </a:lnTo>
                  <a:lnTo>
                    <a:pt x="522" y="12"/>
                  </a:lnTo>
                  <a:lnTo>
                    <a:pt x="528" y="6"/>
                  </a:lnTo>
                  <a:lnTo>
                    <a:pt x="570" y="0"/>
                  </a:lnTo>
                  <a:lnTo>
                    <a:pt x="606" y="6"/>
                  </a:lnTo>
                  <a:lnTo>
                    <a:pt x="654" y="24"/>
                  </a:lnTo>
                  <a:lnTo>
                    <a:pt x="666" y="36"/>
                  </a:lnTo>
                  <a:lnTo>
                    <a:pt x="672" y="30"/>
                  </a:lnTo>
                  <a:lnTo>
                    <a:pt x="690" y="42"/>
                  </a:lnTo>
                  <a:lnTo>
                    <a:pt x="702" y="48"/>
                  </a:lnTo>
                  <a:lnTo>
                    <a:pt x="714" y="60"/>
                  </a:lnTo>
                  <a:lnTo>
                    <a:pt x="714" y="66"/>
                  </a:lnTo>
                  <a:lnTo>
                    <a:pt x="720" y="72"/>
                  </a:lnTo>
                  <a:lnTo>
                    <a:pt x="720" y="78"/>
                  </a:lnTo>
                  <a:lnTo>
                    <a:pt x="720" y="102"/>
                  </a:lnTo>
                  <a:lnTo>
                    <a:pt x="720" y="108"/>
                  </a:lnTo>
                  <a:lnTo>
                    <a:pt x="714" y="108"/>
                  </a:lnTo>
                  <a:lnTo>
                    <a:pt x="714" y="126"/>
                  </a:lnTo>
                  <a:lnTo>
                    <a:pt x="732" y="126"/>
                  </a:lnTo>
                  <a:lnTo>
                    <a:pt x="726" y="132"/>
                  </a:lnTo>
                  <a:lnTo>
                    <a:pt x="738" y="132"/>
                  </a:lnTo>
                  <a:lnTo>
                    <a:pt x="738" y="138"/>
                  </a:lnTo>
                  <a:lnTo>
                    <a:pt x="738" y="144"/>
                  </a:lnTo>
                  <a:lnTo>
                    <a:pt x="744" y="144"/>
                  </a:lnTo>
                  <a:lnTo>
                    <a:pt x="744" y="150"/>
                  </a:lnTo>
                  <a:lnTo>
                    <a:pt x="756" y="156"/>
                  </a:lnTo>
                  <a:lnTo>
                    <a:pt x="768" y="156"/>
                  </a:lnTo>
                  <a:lnTo>
                    <a:pt x="780" y="156"/>
                  </a:lnTo>
                  <a:lnTo>
                    <a:pt x="792" y="150"/>
                  </a:lnTo>
                  <a:lnTo>
                    <a:pt x="786" y="150"/>
                  </a:lnTo>
                  <a:lnTo>
                    <a:pt x="786" y="144"/>
                  </a:lnTo>
                  <a:lnTo>
                    <a:pt x="804" y="144"/>
                  </a:lnTo>
                  <a:lnTo>
                    <a:pt x="816" y="132"/>
                  </a:lnTo>
                  <a:lnTo>
                    <a:pt x="822" y="126"/>
                  </a:lnTo>
                  <a:lnTo>
                    <a:pt x="828" y="132"/>
                  </a:lnTo>
                  <a:lnTo>
                    <a:pt x="834" y="126"/>
                  </a:lnTo>
                  <a:lnTo>
                    <a:pt x="834" y="120"/>
                  </a:lnTo>
                  <a:lnTo>
                    <a:pt x="924" y="108"/>
                  </a:lnTo>
                  <a:lnTo>
                    <a:pt x="942" y="144"/>
                  </a:lnTo>
                  <a:lnTo>
                    <a:pt x="948" y="144"/>
                  </a:lnTo>
                  <a:lnTo>
                    <a:pt x="960" y="168"/>
                  </a:lnTo>
                  <a:lnTo>
                    <a:pt x="972" y="186"/>
                  </a:lnTo>
                  <a:lnTo>
                    <a:pt x="984" y="192"/>
                  </a:lnTo>
                  <a:lnTo>
                    <a:pt x="996" y="192"/>
                  </a:lnTo>
                  <a:lnTo>
                    <a:pt x="996" y="198"/>
                  </a:lnTo>
                  <a:lnTo>
                    <a:pt x="1008" y="204"/>
                  </a:lnTo>
                  <a:lnTo>
                    <a:pt x="1008" y="210"/>
                  </a:lnTo>
                  <a:lnTo>
                    <a:pt x="1002" y="210"/>
                  </a:lnTo>
                  <a:lnTo>
                    <a:pt x="1008" y="216"/>
                  </a:lnTo>
                  <a:lnTo>
                    <a:pt x="1014" y="210"/>
                  </a:lnTo>
                  <a:lnTo>
                    <a:pt x="1014" y="216"/>
                  </a:lnTo>
                  <a:lnTo>
                    <a:pt x="1020" y="222"/>
                  </a:lnTo>
                  <a:lnTo>
                    <a:pt x="1014" y="228"/>
                  </a:lnTo>
                  <a:lnTo>
                    <a:pt x="1032" y="234"/>
                  </a:lnTo>
                  <a:lnTo>
                    <a:pt x="1044" y="240"/>
                  </a:lnTo>
                  <a:lnTo>
                    <a:pt x="1038" y="246"/>
                  </a:lnTo>
                  <a:lnTo>
                    <a:pt x="1038" y="252"/>
                  </a:lnTo>
                  <a:lnTo>
                    <a:pt x="1038" y="258"/>
                  </a:lnTo>
                  <a:lnTo>
                    <a:pt x="1032" y="264"/>
                  </a:lnTo>
                  <a:lnTo>
                    <a:pt x="1032" y="270"/>
                  </a:lnTo>
                  <a:lnTo>
                    <a:pt x="1032" y="276"/>
                  </a:lnTo>
                  <a:lnTo>
                    <a:pt x="1032" y="282"/>
                  </a:lnTo>
                  <a:lnTo>
                    <a:pt x="1026" y="282"/>
                  </a:lnTo>
                  <a:lnTo>
                    <a:pt x="1026" y="288"/>
                  </a:lnTo>
                  <a:lnTo>
                    <a:pt x="1026" y="294"/>
                  </a:lnTo>
                  <a:lnTo>
                    <a:pt x="1026" y="300"/>
                  </a:lnTo>
                  <a:lnTo>
                    <a:pt x="1026" y="306"/>
                  </a:lnTo>
                  <a:lnTo>
                    <a:pt x="1020" y="318"/>
                  </a:lnTo>
                  <a:lnTo>
                    <a:pt x="1020" y="324"/>
                  </a:lnTo>
                  <a:lnTo>
                    <a:pt x="1014" y="324"/>
                  </a:lnTo>
                  <a:lnTo>
                    <a:pt x="1014" y="330"/>
                  </a:lnTo>
                  <a:lnTo>
                    <a:pt x="1014" y="336"/>
                  </a:lnTo>
                  <a:lnTo>
                    <a:pt x="1008" y="366"/>
                  </a:lnTo>
                  <a:lnTo>
                    <a:pt x="1002" y="366"/>
                  </a:lnTo>
                  <a:lnTo>
                    <a:pt x="984" y="354"/>
                  </a:lnTo>
                  <a:lnTo>
                    <a:pt x="978" y="354"/>
                  </a:lnTo>
                  <a:lnTo>
                    <a:pt x="972" y="354"/>
                  </a:lnTo>
                  <a:lnTo>
                    <a:pt x="966" y="348"/>
                  </a:lnTo>
                  <a:lnTo>
                    <a:pt x="954" y="348"/>
                  </a:lnTo>
                  <a:lnTo>
                    <a:pt x="948" y="348"/>
                  </a:lnTo>
                  <a:lnTo>
                    <a:pt x="948" y="360"/>
                  </a:lnTo>
                  <a:lnTo>
                    <a:pt x="948" y="366"/>
                  </a:lnTo>
                  <a:lnTo>
                    <a:pt x="948" y="372"/>
                  </a:lnTo>
                  <a:lnTo>
                    <a:pt x="948" y="378"/>
                  </a:lnTo>
                  <a:lnTo>
                    <a:pt x="948" y="384"/>
                  </a:lnTo>
                  <a:lnTo>
                    <a:pt x="942" y="384"/>
                  </a:lnTo>
                  <a:lnTo>
                    <a:pt x="942" y="390"/>
                  </a:lnTo>
                  <a:lnTo>
                    <a:pt x="936" y="390"/>
                  </a:lnTo>
                  <a:lnTo>
                    <a:pt x="942" y="390"/>
                  </a:lnTo>
                  <a:lnTo>
                    <a:pt x="936" y="396"/>
                  </a:lnTo>
                  <a:lnTo>
                    <a:pt x="930" y="402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2" y="432"/>
                  </a:lnTo>
                  <a:lnTo>
                    <a:pt x="900" y="450"/>
                  </a:lnTo>
                  <a:lnTo>
                    <a:pt x="894" y="456"/>
                  </a:lnTo>
                  <a:lnTo>
                    <a:pt x="888" y="456"/>
                  </a:lnTo>
                  <a:lnTo>
                    <a:pt x="882" y="456"/>
                  </a:lnTo>
                  <a:lnTo>
                    <a:pt x="876" y="456"/>
                  </a:lnTo>
                  <a:lnTo>
                    <a:pt x="864" y="462"/>
                  </a:lnTo>
                  <a:lnTo>
                    <a:pt x="852" y="474"/>
                  </a:lnTo>
                  <a:lnTo>
                    <a:pt x="846" y="480"/>
                  </a:lnTo>
                  <a:lnTo>
                    <a:pt x="840" y="486"/>
                  </a:lnTo>
                  <a:lnTo>
                    <a:pt x="834" y="498"/>
                  </a:lnTo>
                  <a:lnTo>
                    <a:pt x="828" y="510"/>
                  </a:lnTo>
                  <a:lnTo>
                    <a:pt x="816" y="522"/>
                  </a:lnTo>
                  <a:lnTo>
                    <a:pt x="798" y="540"/>
                  </a:lnTo>
                  <a:lnTo>
                    <a:pt x="780" y="558"/>
                  </a:lnTo>
                  <a:lnTo>
                    <a:pt x="774" y="558"/>
                  </a:lnTo>
                  <a:lnTo>
                    <a:pt x="756" y="576"/>
                  </a:lnTo>
                  <a:lnTo>
                    <a:pt x="732" y="600"/>
                  </a:lnTo>
                  <a:lnTo>
                    <a:pt x="726" y="600"/>
                  </a:lnTo>
                  <a:lnTo>
                    <a:pt x="720" y="606"/>
                  </a:lnTo>
                  <a:lnTo>
                    <a:pt x="714" y="612"/>
                  </a:lnTo>
                  <a:lnTo>
                    <a:pt x="690" y="630"/>
                  </a:lnTo>
                  <a:lnTo>
                    <a:pt x="678" y="636"/>
                  </a:lnTo>
                  <a:lnTo>
                    <a:pt x="672" y="642"/>
                  </a:lnTo>
                  <a:lnTo>
                    <a:pt x="660" y="660"/>
                  </a:lnTo>
                  <a:lnTo>
                    <a:pt x="642" y="666"/>
                  </a:lnTo>
                  <a:lnTo>
                    <a:pt x="636" y="678"/>
                  </a:lnTo>
                  <a:lnTo>
                    <a:pt x="630" y="678"/>
                  </a:lnTo>
                  <a:lnTo>
                    <a:pt x="630" y="684"/>
                  </a:lnTo>
                  <a:lnTo>
                    <a:pt x="630" y="690"/>
                  </a:lnTo>
                  <a:lnTo>
                    <a:pt x="636" y="696"/>
                  </a:lnTo>
                  <a:lnTo>
                    <a:pt x="642" y="696"/>
                  </a:lnTo>
                  <a:lnTo>
                    <a:pt x="648" y="702"/>
                  </a:lnTo>
                  <a:lnTo>
                    <a:pt x="648" y="708"/>
                  </a:lnTo>
                  <a:lnTo>
                    <a:pt x="642" y="708"/>
                  </a:lnTo>
                  <a:lnTo>
                    <a:pt x="636" y="714"/>
                  </a:lnTo>
                  <a:lnTo>
                    <a:pt x="636" y="720"/>
                  </a:lnTo>
                  <a:lnTo>
                    <a:pt x="642" y="726"/>
                  </a:lnTo>
                  <a:lnTo>
                    <a:pt x="636" y="738"/>
                  </a:lnTo>
                  <a:lnTo>
                    <a:pt x="618" y="756"/>
                  </a:lnTo>
                  <a:lnTo>
                    <a:pt x="612" y="750"/>
                  </a:lnTo>
                  <a:lnTo>
                    <a:pt x="612" y="756"/>
                  </a:lnTo>
                  <a:lnTo>
                    <a:pt x="618" y="762"/>
                  </a:lnTo>
                  <a:lnTo>
                    <a:pt x="618" y="768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36" y="786"/>
                  </a:lnTo>
                  <a:lnTo>
                    <a:pt x="642" y="792"/>
                  </a:lnTo>
                  <a:lnTo>
                    <a:pt x="642" y="798"/>
                  </a:lnTo>
                  <a:lnTo>
                    <a:pt x="648" y="804"/>
                  </a:lnTo>
                  <a:lnTo>
                    <a:pt x="654" y="810"/>
                  </a:lnTo>
                  <a:lnTo>
                    <a:pt x="660" y="816"/>
                  </a:lnTo>
                  <a:lnTo>
                    <a:pt x="666" y="816"/>
                  </a:lnTo>
                  <a:lnTo>
                    <a:pt x="666" y="822"/>
                  </a:lnTo>
                  <a:lnTo>
                    <a:pt x="672" y="828"/>
                  </a:lnTo>
                  <a:lnTo>
                    <a:pt x="672" y="840"/>
                  </a:lnTo>
                  <a:lnTo>
                    <a:pt x="672" y="846"/>
                  </a:lnTo>
                  <a:lnTo>
                    <a:pt x="666" y="852"/>
                  </a:lnTo>
                  <a:lnTo>
                    <a:pt x="660" y="864"/>
                  </a:lnTo>
                  <a:lnTo>
                    <a:pt x="654" y="876"/>
                  </a:lnTo>
                  <a:lnTo>
                    <a:pt x="648" y="882"/>
                  </a:lnTo>
                  <a:lnTo>
                    <a:pt x="642" y="888"/>
                  </a:lnTo>
                  <a:lnTo>
                    <a:pt x="642" y="894"/>
                  </a:lnTo>
                  <a:lnTo>
                    <a:pt x="642" y="906"/>
                  </a:lnTo>
                  <a:lnTo>
                    <a:pt x="630" y="918"/>
                  </a:lnTo>
                  <a:lnTo>
                    <a:pt x="630" y="924"/>
                  </a:lnTo>
                  <a:lnTo>
                    <a:pt x="624" y="930"/>
                  </a:lnTo>
                  <a:lnTo>
                    <a:pt x="630" y="936"/>
                  </a:lnTo>
                  <a:lnTo>
                    <a:pt x="630" y="942"/>
                  </a:lnTo>
                  <a:lnTo>
                    <a:pt x="630" y="948"/>
                  </a:lnTo>
                  <a:lnTo>
                    <a:pt x="630" y="954"/>
                  </a:lnTo>
                  <a:lnTo>
                    <a:pt x="630" y="960"/>
                  </a:lnTo>
                  <a:lnTo>
                    <a:pt x="624" y="966"/>
                  </a:lnTo>
                  <a:lnTo>
                    <a:pt x="618" y="990"/>
                  </a:lnTo>
                  <a:lnTo>
                    <a:pt x="618" y="1008"/>
                  </a:lnTo>
                  <a:lnTo>
                    <a:pt x="612" y="1026"/>
                  </a:lnTo>
                  <a:lnTo>
                    <a:pt x="612" y="1038"/>
                  </a:lnTo>
                  <a:lnTo>
                    <a:pt x="612" y="1050"/>
                  </a:lnTo>
                  <a:lnTo>
                    <a:pt x="612" y="1056"/>
                  </a:lnTo>
                  <a:lnTo>
                    <a:pt x="612" y="1062"/>
                  </a:lnTo>
                  <a:lnTo>
                    <a:pt x="612" y="1068"/>
                  </a:lnTo>
                  <a:lnTo>
                    <a:pt x="612" y="1086"/>
                  </a:lnTo>
                  <a:lnTo>
                    <a:pt x="612" y="1092"/>
                  </a:lnTo>
                  <a:lnTo>
                    <a:pt x="606" y="1098"/>
                  </a:lnTo>
                  <a:lnTo>
                    <a:pt x="600" y="1110"/>
                  </a:lnTo>
                  <a:lnTo>
                    <a:pt x="600" y="1116"/>
                  </a:lnTo>
                  <a:lnTo>
                    <a:pt x="594" y="1122"/>
                  </a:lnTo>
                  <a:lnTo>
                    <a:pt x="594" y="1128"/>
                  </a:lnTo>
                  <a:lnTo>
                    <a:pt x="588" y="1134"/>
                  </a:lnTo>
                  <a:lnTo>
                    <a:pt x="582" y="1140"/>
                  </a:lnTo>
                  <a:lnTo>
                    <a:pt x="570" y="1140"/>
                  </a:lnTo>
                  <a:lnTo>
                    <a:pt x="564" y="1146"/>
                  </a:lnTo>
                  <a:lnTo>
                    <a:pt x="570" y="1146"/>
                  </a:lnTo>
                  <a:lnTo>
                    <a:pt x="564" y="1152"/>
                  </a:lnTo>
                  <a:lnTo>
                    <a:pt x="558" y="1158"/>
                  </a:lnTo>
                  <a:lnTo>
                    <a:pt x="552" y="1164"/>
                  </a:lnTo>
                  <a:lnTo>
                    <a:pt x="552" y="1170"/>
                  </a:lnTo>
                  <a:lnTo>
                    <a:pt x="546" y="1176"/>
                  </a:lnTo>
                  <a:lnTo>
                    <a:pt x="546" y="1182"/>
                  </a:lnTo>
                  <a:lnTo>
                    <a:pt x="546" y="1188"/>
                  </a:lnTo>
                  <a:lnTo>
                    <a:pt x="540" y="1188"/>
                  </a:lnTo>
                  <a:lnTo>
                    <a:pt x="540" y="1194"/>
                  </a:lnTo>
                  <a:lnTo>
                    <a:pt x="528" y="1206"/>
                  </a:lnTo>
                  <a:lnTo>
                    <a:pt x="528" y="1212"/>
                  </a:lnTo>
                  <a:lnTo>
                    <a:pt x="534" y="1212"/>
                  </a:lnTo>
                  <a:lnTo>
                    <a:pt x="540" y="1218"/>
                  </a:lnTo>
                  <a:lnTo>
                    <a:pt x="534" y="1218"/>
                  </a:lnTo>
                  <a:lnTo>
                    <a:pt x="528" y="1218"/>
                  </a:lnTo>
                  <a:lnTo>
                    <a:pt x="528" y="1224"/>
                  </a:lnTo>
                  <a:lnTo>
                    <a:pt x="522" y="1230"/>
                  </a:lnTo>
                  <a:lnTo>
                    <a:pt x="516" y="1236"/>
                  </a:lnTo>
                  <a:lnTo>
                    <a:pt x="522" y="1236"/>
                  </a:lnTo>
                  <a:lnTo>
                    <a:pt x="516" y="1242"/>
                  </a:lnTo>
                  <a:lnTo>
                    <a:pt x="510" y="1242"/>
                  </a:lnTo>
                  <a:lnTo>
                    <a:pt x="504" y="1248"/>
                  </a:lnTo>
                  <a:lnTo>
                    <a:pt x="510" y="1260"/>
                  </a:lnTo>
                  <a:lnTo>
                    <a:pt x="504" y="1266"/>
                  </a:lnTo>
                  <a:lnTo>
                    <a:pt x="492" y="1266"/>
                  </a:lnTo>
                  <a:lnTo>
                    <a:pt x="486" y="1272"/>
                  </a:lnTo>
                  <a:lnTo>
                    <a:pt x="486" y="1278"/>
                  </a:lnTo>
                  <a:lnTo>
                    <a:pt x="480" y="1278"/>
                  </a:lnTo>
                  <a:lnTo>
                    <a:pt x="480" y="1284"/>
                  </a:lnTo>
                  <a:lnTo>
                    <a:pt x="480" y="1290"/>
                  </a:lnTo>
                  <a:lnTo>
                    <a:pt x="480" y="1296"/>
                  </a:lnTo>
                  <a:lnTo>
                    <a:pt x="492" y="1302"/>
                  </a:lnTo>
                  <a:lnTo>
                    <a:pt x="492" y="1308"/>
                  </a:lnTo>
                  <a:lnTo>
                    <a:pt x="492" y="1320"/>
                  </a:lnTo>
                  <a:lnTo>
                    <a:pt x="492" y="1332"/>
                  </a:lnTo>
                  <a:lnTo>
                    <a:pt x="498" y="1344"/>
                  </a:lnTo>
                  <a:lnTo>
                    <a:pt x="498" y="1350"/>
                  </a:lnTo>
                  <a:lnTo>
                    <a:pt x="498" y="1356"/>
                  </a:lnTo>
                  <a:lnTo>
                    <a:pt x="504" y="1362"/>
                  </a:lnTo>
                  <a:lnTo>
                    <a:pt x="498" y="1362"/>
                  </a:lnTo>
                  <a:lnTo>
                    <a:pt x="498" y="1368"/>
                  </a:lnTo>
                  <a:lnTo>
                    <a:pt x="492" y="1368"/>
                  </a:lnTo>
                  <a:lnTo>
                    <a:pt x="492" y="1374"/>
                  </a:lnTo>
                  <a:lnTo>
                    <a:pt x="492" y="1380"/>
                  </a:lnTo>
                  <a:lnTo>
                    <a:pt x="498" y="1380"/>
                  </a:lnTo>
                  <a:lnTo>
                    <a:pt x="504" y="1380"/>
                  </a:lnTo>
                  <a:lnTo>
                    <a:pt x="498" y="1386"/>
                  </a:lnTo>
                  <a:lnTo>
                    <a:pt x="498" y="1392"/>
                  </a:lnTo>
                  <a:lnTo>
                    <a:pt x="498" y="1398"/>
                  </a:lnTo>
                  <a:lnTo>
                    <a:pt x="498" y="1404"/>
                  </a:lnTo>
                  <a:lnTo>
                    <a:pt x="498" y="1410"/>
                  </a:lnTo>
                  <a:lnTo>
                    <a:pt x="498" y="1416"/>
                  </a:lnTo>
                  <a:lnTo>
                    <a:pt x="492" y="1416"/>
                  </a:lnTo>
                  <a:lnTo>
                    <a:pt x="498" y="1416"/>
                  </a:lnTo>
                  <a:lnTo>
                    <a:pt x="504" y="1416"/>
                  </a:lnTo>
                  <a:lnTo>
                    <a:pt x="504" y="1422"/>
                  </a:lnTo>
                  <a:lnTo>
                    <a:pt x="510" y="1428"/>
                  </a:lnTo>
                  <a:lnTo>
                    <a:pt x="510" y="1434"/>
                  </a:lnTo>
                  <a:lnTo>
                    <a:pt x="510" y="1440"/>
                  </a:lnTo>
                  <a:lnTo>
                    <a:pt x="516" y="1446"/>
                  </a:lnTo>
                  <a:lnTo>
                    <a:pt x="516" y="1452"/>
                  </a:lnTo>
                  <a:lnTo>
                    <a:pt x="516" y="1458"/>
                  </a:lnTo>
                  <a:lnTo>
                    <a:pt x="516" y="1464"/>
                  </a:lnTo>
                  <a:lnTo>
                    <a:pt x="516" y="1482"/>
                  </a:lnTo>
                  <a:lnTo>
                    <a:pt x="516" y="1488"/>
                  </a:lnTo>
                  <a:lnTo>
                    <a:pt x="522" y="1488"/>
                  </a:lnTo>
                  <a:lnTo>
                    <a:pt x="522" y="1494"/>
                  </a:lnTo>
                  <a:lnTo>
                    <a:pt x="522" y="1500"/>
                  </a:lnTo>
                  <a:lnTo>
                    <a:pt x="516" y="1506"/>
                  </a:lnTo>
                  <a:lnTo>
                    <a:pt x="510" y="1500"/>
                  </a:lnTo>
                  <a:lnTo>
                    <a:pt x="504" y="1500"/>
                  </a:lnTo>
                  <a:lnTo>
                    <a:pt x="504" y="1494"/>
                  </a:lnTo>
                  <a:lnTo>
                    <a:pt x="504" y="1488"/>
                  </a:lnTo>
                  <a:lnTo>
                    <a:pt x="504" y="1482"/>
                  </a:lnTo>
                  <a:lnTo>
                    <a:pt x="504" y="1488"/>
                  </a:lnTo>
                  <a:lnTo>
                    <a:pt x="504" y="1494"/>
                  </a:lnTo>
                  <a:lnTo>
                    <a:pt x="504" y="1500"/>
                  </a:lnTo>
                  <a:lnTo>
                    <a:pt x="498" y="1500"/>
                  </a:lnTo>
                  <a:lnTo>
                    <a:pt x="492" y="1500"/>
                  </a:lnTo>
                  <a:lnTo>
                    <a:pt x="492" y="1494"/>
                  </a:lnTo>
                  <a:lnTo>
                    <a:pt x="492" y="1488"/>
                  </a:lnTo>
                  <a:lnTo>
                    <a:pt x="492" y="1494"/>
                  </a:lnTo>
                  <a:lnTo>
                    <a:pt x="492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00"/>
                  </a:lnTo>
                  <a:lnTo>
                    <a:pt x="510" y="1500"/>
                  </a:lnTo>
                  <a:lnTo>
                    <a:pt x="510" y="1506"/>
                  </a:lnTo>
                  <a:lnTo>
                    <a:pt x="516" y="1506"/>
                  </a:lnTo>
                  <a:lnTo>
                    <a:pt x="510" y="1506"/>
                  </a:lnTo>
                  <a:lnTo>
                    <a:pt x="510" y="1512"/>
                  </a:lnTo>
                  <a:lnTo>
                    <a:pt x="516" y="1506"/>
                  </a:lnTo>
                  <a:lnTo>
                    <a:pt x="522" y="1506"/>
                  </a:lnTo>
                  <a:lnTo>
                    <a:pt x="528" y="1506"/>
                  </a:lnTo>
                  <a:lnTo>
                    <a:pt x="528" y="1500"/>
                  </a:lnTo>
                  <a:lnTo>
                    <a:pt x="534" y="1500"/>
                  </a:lnTo>
                  <a:lnTo>
                    <a:pt x="534" y="1506"/>
                  </a:lnTo>
                  <a:lnTo>
                    <a:pt x="540" y="1512"/>
                  </a:lnTo>
                  <a:lnTo>
                    <a:pt x="540" y="1518"/>
                  </a:lnTo>
                  <a:lnTo>
                    <a:pt x="546" y="1518"/>
                  </a:lnTo>
                  <a:lnTo>
                    <a:pt x="540" y="1518"/>
                  </a:lnTo>
                  <a:lnTo>
                    <a:pt x="540" y="1524"/>
                  </a:lnTo>
                  <a:lnTo>
                    <a:pt x="534" y="1524"/>
                  </a:lnTo>
                  <a:lnTo>
                    <a:pt x="540" y="1524"/>
                  </a:lnTo>
                  <a:lnTo>
                    <a:pt x="546" y="1524"/>
                  </a:lnTo>
                  <a:lnTo>
                    <a:pt x="546" y="1530"/>
                  </a:lnTo>
                  <a:lnTo>
                    <a:pt x="540" y="1530"/>
                  </a:lnTo>
                  <a:lnTo>
                    <a:pt x="540" y="1536"/>
                  </a:lnTo>
                  <a:lnTo>
                    <a:pt x="534" y="1542"/>
                  </a:lnTo>
                  <a:lnTo>
                    <a:pt x="528" y="1542"/>
                  </a:lnTo>
                  <a:lnTo>
                    <a:pt x="522" y="1542"/>
                  </a:lnTo>
                  <a:lnTo>
                    <a:pt x="516" y="1542"/>
                  </a:lnTo>
                  <a:lnTo>
                    <a:pt x="510" y="1542"/>
                  </a:lnTo>
                  <a:lnTo>
                    <a:pt x="504" y="1542"/>
                  </a:lnTo>
                  <a:lnTo>
                    <a:pt x="492" y="1542"/>
                  </a:lnTo>
                  <a:lnTo>
                    <a:pt x="486" y="1536"/>
                  </a:lnTo>
                  <a:lnTo>
                    <a:pt x="480" y="1536"/>
                  </a:lnTo>
                  <a:lnTo>
                    <a:pt x="468" y="1536"/>
                  </a:lnTo>
                  <a:lnTo>
                    <a:pt x="468" y="1542"/>
                  </a:lnTo>
                  <a:lnTo>
                    <a:pt x="462" y="1542"/>
                  </a:lnTo>
                  <a:lnTo>
                    <a:pt x="456" y="1542"/>
                  </a:lnTo>
                  <a:lnTo>
                    <a:pt x="450" y="1542"/>
                  </a:lnTo>
                  <a:lnTo>
                    <a:pt x="444" y="1542"/>
                  </a:lnTo>
                  <a:lnTo>
                    <a:pt x="444" y="1536"/>
                  </a:lnTo>
                  <a:lnTo>
                    <a:pt x="450" y="1536"/>
                  </a:lnTo>
                  <a:lnTo>
                    <a:pt x="456" y="1536"/>
                  </a:lnTo>
                  <a:lnTo>
                    <a:pt x="450" y="1536"/>
                  </a:lnTo>
                  <a:lnTo>
                    <a:pt x="444" y="1536"/>
                  </a:lnTo>
                  <a:lnTo>
                    <a:pt x="444" y="1530"/>
                  </a:lnTo>
                  <a:lnTo>
                    <a:pt x="450" y="1530"/>
                  </a:lnTo>
                  <a:lnTo>
                    <a:pt x="456" y="1524"/>
                  </a:lnTo>
                  <a:lnTo>
                    <a:pt x="456" y="1518"/>
                  </a:lnTo>
                  <a:lnTo>
                    <a:pt x="462" y="1518"/>
                  </a:lnTo>
                  <a:lnTo>
                    <a:pt x="462" y="1524"/>
                  </a:lnTo>
                  <a:lnTo>
                    <a:pt x="468" y="1524"/>
                  </a:lnTo>
                  <a:lnTo>
                    <a:pt x="474" y="1524"/>
                  </a:lnTo>
                  <a:lnTo>
                    <a:pt x="474" y="1518"/>
                  </a:lnTo>
                  <a:lnTo>
                    <a:pt x="480" y="1518"/>
                  </a:lnTo>
                  <a:lnTo>
                    <a:pt x="474" y="1518"/>
                  </a:lnTo>
                  <a:lnTo>
                    <a:pt x="474" y="1524"/>
                  </a:lnTo>
                  <a:lnTo>
                    <a:pt x="468" y="1524"/>
                  </a:lnTo>
                  <a:lnTo>
                    <a:pt x="462" y="1518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62" y="1512"/>
                  </a:lnTo>
                  <a:lnTo>
                    <a:pt x="462" y="1506"/>
                  </a:lnTo>
                  <a:lnTo>
                    <a:pt x="456" y="1506"/>
                  </a:lnTo>
                  <a:lnTo>
                    <a:pt x="456" y="1512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50" y="1518"/>
                  </a:lnTo>
                  <a:lnTo>
                    <a:pt x="444" y="1518"/>
                  </a:lnTo>
                  <a:lnTo>
                    <a:pt x="444" y="1524"/>
                  </a:lnTo>
                  <a:lnTo>
                    <a:pt x="438" y="1524"/>
                  </a:lnTo>
                  <a:lnTo>
                    <a:pt x="438" y="1530"/>
                  </a:lnTo>
                  <a:lnTo>
                    <a:pt x="432" y="1530"/>
                  </a:lnTo>
                  <a:lnTo>
                    <a:pt x="432" y="1536"/>
                  </a:lnTo>
                  <a:lnTo>
                    <a:pt x="426" y="1530"/>
                  </a:lnTo>
                  <a:lnTo>
                    <a:pt x="420" y="1530"/>
                  </a:lnTo>
                  <a:lnTo>
                    <a:pt x="414" y="1530"/>
                  </a:lnTo>
                  <a:lnTo>
                    <a:pt x="414" y="1524"/>
                  </a:lnTo>
                  <a:lnTo>
                    <a:pt x="408" y="1518"/>
                  </a:lnTo>
                  <a:lnTo>
                    <a:pt x="414" y="1512"/>
                  </a:lnTo>
                  <a:lnTo>
                    <a:pt x="408" y="1512"/>
                  </a:lnTo>
                  <a:lnTo>
                    <a:pt x="408" y="1506"/>
                  </a:lnTo>
                  <a:lnTo>
                    <a:pt x="408" y="1500"/>
                  </a:lnTo>
                  <a:lnTo>
                    <a:pt x="408" y="1494"/>
                  </a:lnTo>
                  <a:lnTo>
                    <a:pt x="408" y="1488"/>
                  </a:lnTo>
                  <a:lnTo>
                    <a:pt x="408" y="1494"/>
                  </a:lnTo>
                  <a:lnTo>
                    <a:pt x="414" y="1494"/>
                  </a:lnTo>
                  <a:lnTo>
                    <a:pt x="420" y="1494"/>
                  </a:lnTo>
                  <a:lnTo>
                    <a:pt x="420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82"/>
                  </a:lnTo>
                  <a:lnTo>
                    <a:pt x="426" y="1476"/>
                  </a:lnTo>
                  <a:lnTo>
                    <a:pt x="432" y="1476"/>
                  </a:lnTo>
                  <a:lnTo>
                    <a:pt x="432" y="1470"/>
                  </a:lnTo>
                  <a:lnTo>
                    <a:pt x="438" y="1470"/>
                  </a:lnTo>
                  <a:lnTo>
                    <a:pt x="444" y="1464"/>
                  </a:lnTo>
                  <a:lnTo>
                    <a:pt x="450" y="1458"/>
                  </a:lnTo>
                  <a:lnTo>
                    <a:pt x="456" y="1458"/>
                  </a:lnTo>
                  <a:lnTo>
                    <a:pt x="462" y="1452"/>
                  </a:lnTo>
                  <a:lnTo>
                    <a:pt x="468" y="1452"/>
                  </a:lnTo>
                  <a:lnTo>
                    <a:pt x="468" y="1446"/>
                  </a:lnTo>
                  <a:lnTo>
                    <a:pt x="462" y="1440"/>
                  </a:lnTo>
                  <a:lnTo>
                    <a:pt x="456" y="1434"/>
                  </a:lnTo>
                  <a:lnTo>
                    <a:pt x="456" y="1428"/>
                  </a:lnTo>
                  <a:lnTo>
                    <a:pt x="456" y="1422"/>
                  </a:lnTo>
                  <a:lnTo>
                    <a:pt x="456" y="1416"/>
                  </a:lnTo>
                  <a:lnTo>
                    <a:pt x="450" y="1410"/>
                  </a:lnTo>
                  <a:lnTo>
                    <a:pt x="444" y="1410"/>
                  </a:lnTo>
                  <a:lnTo>
                    <a:pt x="450" y="1410"/>
                  </a:lnTo>
                  <a:lnTo>
                    <a:pt x="450" y="1404"/>
                  </a:lnTo>
                  <a:lnTo>
                    <a:pt x="456" y="1404"/>
                  </a:lnTo>
                  <a:lnTo>
                    <a:pt x="462" y="1404"/>
                  </a:lnTo>
                  <a:lnTo>
                    <a:pt x="468" y="1398"/>
                  </a:lnTo>
                  <a:lnTo>
                    <a:pt x="462" y="1398"/>
                  </a:lnTo>
                  <a:lnTo>
                    <a:pt x="462" y="1392"/>
                  </a:lnTo>
                  <a:lnTo>
                    <a:pt x="456" y="1392"/>
                  </a:lnTo>
                  <a:lnTo>
                    <a:pt x="456" y="1386"/>
                  </a:lnTo>
                  <a:lnTo>
                    <a:pt x="462" y="1386"/>
                  </a:lnTo>
                  <a:lnTo>
                    <a:pt x="468" y="1386"/>
                  </a:lnTo>
                  <a:lnTo>
                    <a:pt x="474" y="1386"/>
                  </a:lnTo>
                  <a:lnTo>
                    <a:pt x="468" y="1386"/>
                  </a:lnTo>
                  <a:lnTo>
                    <a:pt x="462" y="1386"/>
                  </a:lnTo>
                  <a:lnTo>
                    <a:pt x="456" y="1380"/>
                  </a:lnTo>
                  <a:lnTo>
                    <a:pt x="456" y="1374"/>
                  </a:lnTo>
                  <a:lnTo>
                    <a:pt x="462" y="1374"/>
                  </a:lnTo>
                  <a:lnTo>
                    <a:pt x="462" y="1368"/>
                  </a:lnTo>
                  <a:lnTo>
                    <a:pt x="456" y="1374"/>
                  </a:lnTo>
                  <a:lnTo>
                    <a:pt x="456" y="1368"/>
                  </a:lnTo>
                  <a:lnTo>
                    <a:pt x="456" y="1362"/>
                  </a:lnTo>
                  <a:lnTo>
                    <a:pt x="450" y="1362"/>
                  </a:lnTo>
                  <a:lnTo>
                    <a:pt x="450" y="1356"/>
                  </a:lnTo>
                  <a:lnTo>
                    <a:pt x="450" y="1350"/>
                  </a:lnTo>
                  <a:lnTo>
                    <a:pt x="450" y="1344"/>
                  </a:lnTo>
                  <a:lnTo>
                    <a:pt x="456" y="1344"/>
                  </a:lnTo>
                  <a:lnTo>
                    <a:pt x="456" y="1338"/>
                  </a:lnTo>
                  <a:lnTo>
                    <a:pt x="462" y="1338"/>
                  </a:lnTo>
                  <a:lnTo>
                    <a:pt x="462" y="1332"/>
                  </a:lnTo>
                  <a:lnTo>
                    <a:pt x="456" y="1332"/>
                  </a:lnTo>
                  <a:lnTo>
                    <a:pt x="456" y="1326"/>
                  </a:lnTo>
                  <a:lnTo>
                    <a:pt x="450" y="1326"/>
                  </a:lnTo>
                  <a:lnTo>
                    <a:pt x="444" y="1326"/>
                  </a:lnTo>
                  <a:lnTo>
                    <a:pt x="444" y="1332"/>
                  </a:lnTo>
                  <a:lnTo>
                    <a:pt x="438" y="1332"/>
                  </a:lnTo>
                  <a:lnTo>
                    <a:pt x="438" y="1338"/>
                  </a:lnTo>
                  <a:lnTo>
                    <a:pt x="432" y="1338"/>
                  </a:lnTo>
                  <a:lnTo>
                    <a:pt x="432" y="1344"/>
                  </a:lnTo>
                  <a:lnTo>
                    <a:pt x="432" y="1350"/>
                  </a:lnTo>
                  <a:lnTo>
                    <a:pt x="426" y="1356"/>
                  </a:lnTo>
                  <a:lnTo>
                    <a:pt x="426" y="1368"/>
                  </a:lnTo>
                  <a:lnTo>
                    <a:pt x="426" y="1374"/>
                  </a:lnTo>
                  <a:lnTo>
                    <a:pt x="426" y="1380"/>
                  </a:lnTo>
                  <a:lnTo>
                    <a:pt x="432" y="1386"/>
                  </a:lnTo>
                  <a:lnTo>
                    <a:pt x="432" y="1392"/>
                  </a:lnTo>
                  <a:lnTo>
                    <a:pt x="432" y="1398"/>
                  </a:lnTo>
                  <a:lnTo>
                    <a:pt x="426" y="1398"/>
                  </a:lnTo>
                  <a:lnTo>
                    <a:pt x="420" y="1398"/>
                  </a:lnTo>
                  <a:lnTo>
                    <a:pt x="414" y="1398"/>
                  </a:lnTo>
                  <a:lnTo>
                    <a:pt x="420" y="1398"/>
                  </a:lnTo>
                  <a:lnTo>
                    <a:pt x="414" y="1404"/>
                  </a:lnTo>
                  <a:lnTo>
                    <a:pt x="420" y="1404"/>
                  </a:lnTo>
                  <a:lnTo>
                    <a:pt x="414" y="1404"/>
                  </a:lnTo>
                  <a:lnTo>
                    <a:pt x="408" y="1404"/>
                  </a:lnTo>
                  <a:lnTo>
                    <a:pt x="402" y="1410"/>
                  </a:lnTo>
                  <a:lnTo>
                    <a:pt x="402" y="1404"/>
                  </a:lnTo>
                  <a:lnTo>
                    <a:pt x="396" y="1404"/>
                  </a:lnTo>
                  <a:lnTo>
                    <a:pt x="390" y="1404"/>
                  </a:lnTo>
                  <a:lnTo>
                    <a:pt x="384" y="1404"/>
                  </a:lnTo>
                  <a:lnTo>
                    <a:pt x="384" y="1398"/>
                  </a:lnTo>
                  <a:lnTo>
                    <a:pt x="384" y="1392"/>
                  </a:lnTo>
                  <a:lnTo>
                    <a:pt x="390" y="1392"/>
                  </a:lnTo>
                  <a:lnTo>
                    <a:pt x="390" y="1386"/>
                  </a:lnTo>
                  <a:lnTo>
                    <a:pt x="390" y="1380"/>
                  </a:lnTo>
                  <a:lnTo>
                    <a:pt x="396" y="1380"/>
                  </a:lnTo>
                  <a:lnTo>
                    <a:pt x="402" y="1380"/>
                  </a:lnTo>
                  <a:lnTo>
                    <a:pt x="408" y="1380"/>
                  </a:lnTo>
                  <a:lnTo>
                    <a:pt x="408" y="1374"/>
                  </a:lnTo>
                  <a:lnTo>
                    <a:pt x="414" y="1374"/>
                  </a:lnTo>
                  <a:lnTo>
                    <a:pt x="414" y="1368"/>
                  </a:lnTo>
                  <a:lnTo>
                    <a:pt x="414" y="1362"/>
                  </a:lnTo>
                  <a:lnTo>
                    <a:pt x="414" y="1368"/>
                  </a:lnTo>
                  <a:lnTo>
                    <a:pt x="414" y="1374"/>
                  </a:lnTo>
                  <a:lnTo>
                    <a:pt x="408" y="1374"/>
                  </a:lnTo>
                  <a:lnTo>
                    <a:pt x="402" y="1380"/>
                  </a:lnTo>
                  <a:lnTo>
                    <a:pt x="396" y="1380"/>
                  </a:lnTo>
                  <a:lnTo>
                    <a:pt x="396" y="1374"/>
                  </a:lnTo>
                  <a:lnTo>
                    <a:pt x="390" y="1374"/>
                  </a:lnTo>
                  <a:lnTo>
                    <a:pt x="390" y="1368"/>
                  </a:lnTo>
                  <a:lnTo>
                    <a:pt x="384" y="1368"/>
                  </a:lnTo>
                  <a:lnTo>
                    <a:pt x="384" y="1374"/>
                  </a:lnTo>
                  <a:lnTo>
                    <a:pt x="378" y="1374"/>
                  </a:lnTo>
                  <a:lnTo>
                    <a:pt x="378" y="1380"/>
                  </a:lnTo>
                  <a:lnTo>
                    <a:pt x="372" y="1380"/>
                  </a:lnTo>
                  <a:lnTo>
                    <a:pt x="366" y="1386"/>
                  </a:lnTo>
                  <a:lnTo>
                    <a:pt x="360" y="1386"/>
                  </a:lnTo>
                  <a:lnTo>
                    <a:pt x="354" y="1386"/>
                  </a:lnTo>
                  <a:lnTo>
                    <a:pt x="354" y="1380"/>
                  </a:lnTo>
                  <a:lnTo>
                    <a:pt x="348" y="1380"/>
                  </a:lnTo>
                  <a:lnTo>
                    <a:pt x="342" y="1380"/>
                  </a:lnTo>
                  <a:lnTo>
                    <a:pt x="342" y="1374"/>
                  </a:lnTo>
                  <a:lnTo>
                    <a:pt x="336" y="1368"/>
                  </a:lnTo>
                  <a:lnTo>
                    <a:pt x="342" y="1368"/>
                  </a:lnTo>
                  <a:lnTo>
                    <a:pt x="342" y="1362"/>
                  </a:lnTo>
                  <a:lnTo>
                    <a:pt x="348" y="1362"/>
                  </a:lnTo>
                  <a:lnTo>
                    <a:pt x="354" y="1362"/>
                  </a:lnTo>
                  <a:lnTo>
                    <a:pt x="354" y="1356"/>
                  </a:lnTo>
                  <a:lnTo>
                    <a:pt x="348" y="1356"/>
                  </a:lnTo>
                  <a:lnTo>
                    <a:pt x="348" y="1350"/>
                  </a:lnTo>
                  <a:lnTo>
                    <a:pt x="348" y="1344"/>
                  </a:lnTo>
                  <a:lnTo>
                    <a:pt x="354" y="1338"/>
                  </a:lnTo>
                  <a:lnTo>
                    <a:pt x="354" y="1332"/>
                  </a:lnTo>
                  <a:lnTo>
                    <a:pt x="354" y="1326"/>
                  </a:lnTo>
                  <a:lnTo>
                    <a:pt x="354" y="1320"/>
                  </a:lnTo>
                  <a:lnTo>
                    <a:pt x="354" y="1314"/>
                  </a:lnTo>
                  <a:lnTo>
                    <a:pt x="354" y="1308"/>
                  </a:lnTo>
                  <a:lnTo>
                    <a:pt x="348" y="1308"/>
                  </a:lnTo>
                  <a:lnTo>
                    <a:pt x="348" y="1302"/>
                  </a:lnTo>
                  <a:lnTo>
                    <a:pt x="342" y="1296"/>
                  </a:lnTo>
                  <a:lnTo>
                    <a:pt x="336" y="1296"/>
                  </a:lnTo>
                  <a:lnTo>
                    <a:pt x="336" y="1290"/>
                  </a:lnTo>
                  <a:lnTo>
                    <a:pt x="330" y="1290"/>
                  </a:lnTo>
                  <a:lnTo>
                    <a:pt x="324" y="1290"/>
                  </a:lnTo>
                  <a:lnTo>
                    <a:pt x="324" y="1284"/>
                  </a:lnTo>
                  <a:lnTo>
                    <a:pt x="318" y="1284"/>
                  </a:lnTo>
                  <a:lnTo>
                    <a:pt x="318" y="1278"/>
                  </a:lnTo>
                  <a:lnTo>
                    <a:pt x="312" y="1278"/>
                  </a:lnTo>
                  <a:lnTo>
                    <a:pt x="312" y="1272"/>
                  </a:lnTo>
                  <a:lnTo>
                    <a:pt x="312" y="1278"/>
                  </a:lnTo>
                  <a:lnTo>
                    <a:pt x="318" y="1284"/>
                  </a:lnTo>
                  <a:lnTo>
                    <a:pt x="324" y="1290"/>
                  </a:lnTo>
                  <a:lnTo>
                    <a:pt x="330" y="1290"/>
                  </a:lnTo>
                  <a:lnTo>
                    <a:pt x="330" y="1296"/>
                  </a:lnTo>
                  <a:lnTo>
                    <a:pt x="336" y="1296"/>
                  </a:lnTo>
                  <a:lnTo>
                    <a:pt x="336" y="1302"/>
                  </a:lnTo>
                  <a:lnTo>
                    <a:pt x="342" y="1302"/>
                  </a:lnTo>
                  <a:lnTo>
                    <a:pt x="348" y="1302"/>
                  </a:lnTo>
                  <a:lnTo>
                    <a:pt x="348" y="1308"/>
                  </a:lnTo>
                  <a:lnTo>
                    <a:pt x="348" y="1314"/>
                  </a:lnTo>
                  <a:lnTo>
                    <a:pt x="354" y="1314"/>
                  </a:lnTo>
                  <a:lnTo>
                    <a:pt x="354" y="1320"/>
                  </a:lnTo>
                  <a:lnTo>
                    <a:pt x="354" y="1326"/>
                  </a:lnTo>
                  <a:lnTo>
                    <a:pt x="348" y="1326"/>
                  </a:lnTo>
                  <a:lnTo>
                    <a:pt x="348" y="1332"/>
                  </a:lnTo>
                  <a:lnTo>
                    <a:pt x="348" y="1338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2" y="1350"/>
                  </a:lnTo>
                  <a:lnTo>
                    <a:pt x="336" y="1350"/>
                  </a:lnTo>
                  <a:lnTo>
                    <a:pt x="330" y="1350"/>
                  </a:lnTo>
                  <a:lnTo>
                    <a:pt x="330" y="1356"/>
                  </a:lnTo>
                  <a:lnTo>
                    <a:pt x="330" y="1350"/>
                  </a:lnTo>
                  <a:lnTo>
                    <a:pt x="324" y="1350"/>
                  </a:lnTo>
                  <a:lnTo>
                    <a:pt x="318" y="1344"/>
                  </a:lnTo>
                  <a:lnTo>
                    <a:pt x="318" y="1350"/>
                  </a:lnTo>
                  <a:lnTo>
                    <a:pt x="312" y="1344"/>
                  </a:lnTo>
                  <a:lnTo>
                    <a:pt x="312" y="1338"/>
                  </a:lnTo>
                  <a:lnTo>
                    <a:pt x="306" y="1338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6" y="1326"/>
                  </a:lnTo>
                  <a:lnTo>
                    <a:pt x="306" y="1320"/>
                  </a:lnTo>
                  <a:lnTo>
                    <a:pt x="306" y="1326"/>
                  </a:lnTo>
                  <a:lnTo>
                    <a:pt x="312" y="1326"/>
                  </a:lnTo>
                  <a:lnTo>
                    <a:pt x="312" y="1320"/>
                  </a:lnTo>
                  <a:lnTo>
                    <a:pt x="306" y="1320"/>
                  </a:lnTo>
                  <a:lnTo>
                    <a:pt x="300" y="1320"/>
                  </a:lnTo>
                  <a:lnTo>
                    <a:pt x="294" y="1320"/>
                  </a:lnTo>
                  <a:lnTo>
                    <a:pt x="294" y="1314"/>
                  </a:lnTo>
                  <a:lnTo>
                    <a:pt x="288" y="1314"/>
                  </a:lnTo>
                  <a:lnTo>
                    <a:pt x="288" y="1308"/>
                  </a:lnTo>
                  <a:lnTo>
                    <a:pt x="288" y="1302"/>
                  </a:lnTo>
                  <a:lnTo>
                    <a:pt x="294" y="1302"/>
                  </a:lnTo>
                  <a:lnTo>
                    <a:pt x="294" y="1296"/>
                  </a:lnTo>
                  <a:lnTo>
                    <a:pt x="288" y="1296"/>
                  </a:lnTo>
                  <a:lnTo>
                    <a:pt x="288" y="1290"/>
                  </a:lnTo>
                  <a:lnTo>
                    <a:pt x="288" y="1296"/>
                  </a:lnTo>
                  <a:lnTo>
                    <a:pt x="294" y="1302"/>
                  </a:lnTo>
                  <a:lnTo>
                    <a:pt x="288" y="1302"/>
                  </a:lnTo>
                  <a:lnTo>
                    <a:pt x="282" y="1296"/>
                  </a:lnTo>
                  <a:lnTo>
                    <a:pt x="276" y="1296"/>
                  </a:lnTo>
                  <a:lnTo>
                    <a:pt x="276" y="1290"/>
                  </a:lnTo>
                  <a:lnTo>
                    <a:pt x="270" y="1290"/>
                  </a:lnTo>
                  <a:lnTo>
                    <a:pt x="264" y="1284"/>
                  </a:lnTo>
                  <a:lnTo>
                    <a:pt x="264" y="1278"/>
                  </a:lnTo>
                  <a:lnTo>
                    <a:pt x="264" y="1272"/>
                  </a:lnTo>
                  <a:lnTo>
                    <a:pt x="264" y="1266"/>
                  </a:lnTo>
                  <a:lnTo>
                    <a:pt x="258" y="1266"/>
                  </a:lnTo>
                  <a:lnTo>
                    <a:pt x="252" y="1266"/>
                  </a:lnTo>
                  <a:lnTo>
                    <a:pt x="246" y="1260"/>
                  </a:lnTo>
                  <a:lnTo>
                    <a:pt x="240" y="1254"/>
                  </a:lnTo>
                  <a:lnTo>
                    <a:pt x="240" y="1260"/>
                  </a:lnTo>
                  <a:lnTo>
                    <a:pt x="240" y="1266"/>
                  </a:lnTo>
                  <a:lnTo>
                    <a:pt x="240" y="1272"/>
                  </a:lnTo>
                  <a:lnTo>
                    <a:pt x="246" y="1272"/>
                  </a:lnTo>
                  <a:lnTo>
                    <a:pt x="246" y="1278"/>
                  </a:lnTo>
                  <a:lnTo>
                    <a:pt x="246" y="1284"/>
                  </a:lnTo>
                  <a:lnTo>
                    <a:pt x="252" y="1284"/>
                  </a:lnTo>
                  <a:lnTo>
                    <a:pt x="252" y="1290"/>
                  </a:lnTo>
                  <a:lnTo>
                    <a:pt x="258" y="1296"/>
                  </a:lnTo>
                  <a:lnTo>
                    <a:pt x="264" y="1302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58" y="1314"/>
                  </a:lnTo>
                  <a:lnTo>
                    <a:pt x="258" y="1308"/>
                  </a:lnTo>
                  <a:lnTo>
                    <a:pt x="252" y="1308"/>
                  </a:lnTo>
                  <a:lnTo>
                    <a:pt x="252" y="1302"/>
                  </a:lnTo>
                  <a:lnTo>
                    <a:pt x="246" y="1302"/>
                  </a:lnTo>
                  <a:lnTo>
                    <a:pt x="246" y="1296"/>
                  </a:lnTo>
                  <a:lnTo>
                    <a:pt x="240" y="1296"/>
                  </a:lnTo>
                  <a:lnTo>
                    <a:pt x="240" y="1290"/>
                  </a:lnTo>
                  <a:lnTo>
                    <a:pt x="234" y="1284"/>
                  </a:lnTo>
                  <a:lnTo>
                    <a:pt x="234" y="1278"/>
                  </a:lnTo>
                  <a:close/>
                  <a:moveTo>
                    <a:pt x="444" y="1332"/>
                  </a:moveTo>
                  <a:lnTo>
                    <a:pt x="450" y="1326"/>
                  </a:lnTo>
                  <a:lnTo>
                    <a:pt x="456" y="1326"/>
                  </a:lnTo>
                  <a:lnTo>
                    <a:pt x="456" y="1332"/>
                  </a:lnTo>
                  <a:lnTo>
                    <a:pt x="456" y="1338"/>
                  </a:lnTo>
                  <a:lnTo>
                    <a:pt x="450" y="1338"/>
                  </a:lnTo>
                  <a:lnTo>
                    <a:pt x="444" y="1338"/>
                  </a:lnTo>
                  <a:lnTo>
                    <a:pt x="444" y="1332"/>
                  </a:lnTo>
                  <a:close/>
                  <a:moveTo>
                    <a:pt x="444" y="1368"/>
                  </a:moveTo>
                  <a:lnTo>
                    <a:pt x="456" y="1368"/>
                  </a:lnTo>
                  <a:lnTo>
                    <a:pt x="456" y="1374"/>
                  </a:lnTo>
                  <a:lnTo>
                    <a:pt x="444" y="1374"/>
                  </a:lnTo>
                  <a:lnTo>
                    <a:pt x="444" y="1368"/>
                  </a:lnTo>
                  <a:close/>
                  <a:moveTo>
                    <a:pt x="444" y="1386"/>
                  </a:moveTo>
                  <a:lnTo>
                    <a:pt x="444" y="1380"/>
                  </a:lnTo>
                  <a:lnTo>
                    <a:pt x="444" y="1374"/>
                  </a:lnTo>
                  <a:lnTo>
                    <a:pt x="444" y="1380"/>
                  </a:lnTo>
                  <a:lnTo>
                    <a:pt x="450" y="1380"/>
                  </a:lnTo>
                  <a:lnTo>
                    <a:pt x="456" y="1380"/>
                  </a:lnTo>
                  <a:lnTo>
                    <a:pt x="456" y="1386"/>
                  </a:lnTo>
                  <a:lnTo>
                    <a:pt x="456" y="1392"/>
                  </a:lnTo>
                  <a:lnTo>
                    <a:pt x="462" y="1392"/>
                  </a:lnTo>
                  <a:lnTo>
                    <a:pt x="462" y="1398"/>
                  </a:lnTo>
                  <a:lnTo>
                    <a:pt x="462" y="1404"/>
                  </a:lnTo>
                  <a:lnTo>
                    <a:pt x="456" y="1404"/>
                  </a:lnTo>
                  <a:lnTo>
                    <a:pt x="450" y="1404"/>
                  </a:lnTo>
                  <a:lnTo>
                    <a:pt x="450" y="1398"/>
                  </a:lnTo>
                  <a:lnTo>
                    <a:pt x="444" y="1398"/>
                  </a:lnTo>
                  <a:lnTo>
                    <a:pt x="444" y="1392"/>
                  </a:lnTo>
                  <a:lnTo>
                    <a:pt x="444" y="1386"/>
                  </a:lnTo>
                  <a:close/>
                  <a:moveTo>
                    <a:pt x="438" y="1362"/>
                  </a:moveTo>
                  <a:lnTo>
                    <a:pt x="444" y="1356"/>
                  </a:lnTo>
                  <a:lnTo>
                    <a:pt x="450" y="1356"/>
                  </a:lnTo>
                  <a:lnTo>
                    <a:pt x="450" y="1362"/>
                  </a:lnTo>
                  <a:lnTo>
                    <a:pt x="450" y="1368"/>
                  </a:lnTo>
                  <a:lnTo>
                    <a:pt x="444" y="1368"/>
                  </a:lnTo>
                  <a:lnTo>
                    <a:pt x="444" y="1362"/>
                  </a:lnTo>
                  <a:lnTo>
                    <a:pt x="438" y="1362"/>
                  </a:lnTo>
                  <a:close/>
                  <a:moveTo>
                    <a:pt x="438" y="1350"/>
                  </a:moveTo>
                  <a:lnTo>
                    <a:pt x="438" y="1344"/>
                  </a:lnTo>
                  <a:lnTo>
                    <a:pt x="438" y="1338"/>
                  </a:lnTo>
                  <a:lnTo>
                    <a:pt x="444" y="1338"/>
                  </a:lnTo>
                  <a:lnTo>
                    <a:pt x="450" y="1338"/>
                  </a:lnTo>
                  <a:lnTo>
                    <a:pt x="456" y="1338"/>
                  </a:lnTo>
                  <a:lnTo>
                    <a:pt x="450" y="1344"/>
                  </a:lnTo>
                  <a:lnTo>
                    <a:pt x="444" y="1350"/>
                  </a:lnTo>
                  <a:lnTo>
                    <a:pt x="438" y="1350"/>
                  </a:lnTo>
                  <a:close/>
                  <a:moveTo>
                    <a:pt x="432" y="1380"/>
                  </a:moveTo>
                  <a:lnTo>
                    <a:pt x="432" y="1368"/>
                  </a:lnTo>
                  <a:lnTo>
                    <a:pt x="432" y="1362"/>
                  </a:lnTo>
                  <a:lnTo>
                    <a:pt x="432" y="1356"/>
                  </a:lnTo>
                  <a:lnTo>
                    <a:pt x="438" y="1356"/>
                  </a:lnTo>
                  <a:lnTo>
                    <a:pt x="438" y="1362"/>
                  </a:lnTo>
                  <a:lnTo>
                    <a:pt x="438" y="1368"/>
                  </a:lnTo>
                  <a:lnTo>
                    <a:pt x="438" y="1374"/>
                  </a:lnTo>
                  <a:lnTo>
                    <a:pt x="438" y="1380"/>
                  </a:lnTo>
                  <a:lnTo>
                    <a:pt x="438" y="1386"/>
                  </a:lnTo>
                  <a:lnTo>
                    <a:pt x="438" y="1380"/>
                  </a:lnTo>
                  <a:lnTo>
                    <a:pt x="432" y="1380"/>
                  </a:lnTo>
                  <a:close/>
                  <a:moveTo>
                    <a:pt x="246" y="1272"/>
                  </a:moveTo>
                  <a:lnTo>
                    <a:pt x="252" y="1272"/>
                  </a:lnTo>
                  <a:lnTo>
                    <a:pt x="252" y="1278"/>
                  </a:lnTo>
                  <a:lnTo>
                    <a:pt x="246" y="1278"/>
                  </a:lnTo>
                  <a:lnTo>
                    <a:pt x="246" y="1272"/>
                  </a:lnTo>
                  <a:close/>
                  <a:moveTo>
                    <a:pt x="426" y="1416"/>
                  </a:moveTo>
                  <a:lnTo>
                    <a:pt x="432" y="1410"/>
                  </a:lnTo>
                  <a:lnTo>
                    <a:pt x="438" y="1410"/>
                  </a:lnTo>
                  <a:lnTo>
                    <a:pt x="438" y="1416"/>
                  </a:lnTo>
                  <a:lnTo>
                    <a:pt x="438" y="1422"/>
                  </a:lnTo>
                  <a:lnTo>
                    <a:pt x="432" y="1422"/>
                  </a:lnTo>
                  <a:lnTo>
                    <a:pt x="426" y="1422"/>
                  </a:lnTo>
                  <a:lnTo>
                    <a:pt x="426" y="1416"/>
                  </a:lnTo>
                  <a:close/>
                  <a:moveTo>
                    <a:pt x="246" y="1266"/>
                  </a:moveTo>
                  <a:lnTo>
                    <a:pt x="252" y="1266"/>
                  </a:lnTo>
                  <a:lnTo>
                    <a:pt x="258" y="1272"/>
                  </a:lnTo>
                  <a:lnTo>
                    <a:pt x="258" y="1278"/>
                  </a:lnTo>
                  <a:lnTo>
                    <a:pt x="258" y="1284"/>
                  </a:lnTo>
                  <a:lnTo>
                    <a:pt x="252" y="1284"/>
                  </a:lnTo>
                  <a:lnTo>
                    <a:pt x="252" y="1278"/>
                  </a:lnTo>
                  <a:lnTo>
                    <a:pt x="252" y="1272"/>
                  </a:lnTo>
                  <a:lnTo>
                    <a:pt x="252" y="1266"/>
                  </a:lnTo>
                  <a:lnTo>
                    <a:pt x="246" y="1266"/>
                  </a:lnTo>
                  <a:close/>
                  <a:moveTo>
                    <a:pt x="408" y="1458"/>
                  </a:moveTo>
                  <a:lnTo>
                    <a:pt x="408" y="1452"/>
                  </a:lnTo>
                  <a:lnTo>
                    <a:pt x="414" y="1452"/>
                  </a:lnTo>
                  <a:lnTo>
                    <a:pt x="414" y="1446"/>
                  </a:lnTo>
                  <a:lnTo>
                    <a:pt x="414" y="1440"/>
                  </a:lnTo>
                  <a:lnTo>
                    <a:pt x="420" y="1440"/>
                  </a:lnTo>
                  <a:lnTo>
                    <a:pt x="420" y="1434"/>
                  </a:lnTo>
                  <a:lnTo>
                    <a:pt x="420" y="1428"/>
                  </a:lnTo>
                  <a:lnTo>
                    <a:pt x="420" y="1422"/>
                  </a:lnTo>
                  <a:lnTo>
                    <a:pt x="426" y="1422"/>
                  </a:lnTo>
                  <a:lnTo>
                    <a:pt x="432" y="1428"/>
                  </a:lnTo>
                  <a:lnTo>
                    <a:pt x="438" y="1428"/>
                  </a:lnTo>
                  <a:lnTo>
                    <a:pt x="438" y="1434"/>
                  </a:lnTo>
                  <a:lnTo>
                    <a:pt x="438" y="1428"/>
                  </a:lnTo>
                  <a:lnTo>
                    <a:pt x="438" y="1422"/>
                  </a:lnTo>
                  <a:lnTo>
                    <a:pt x="444" y="1416"/>
                  </a:lnTo>
                  <a:lnTo>
                    <a:pt x="444" y="1410"/>
                  </a:lnTo>
                  <a:lnTo>
                    <a:pt x="450" y="1416"/>
                  </a:lnTo>
                  <a:lnTo>
                    <a:pt x="456" y="1416"/>
                  </a:lnTo>
                  <a:lnTo>
                    <a:pt x="456" y="1422"/>
                  </a:lnTo>
                  <a:lnTo>
                    <a:pt x="456" y="1428"/>
                  </a:lnTo>
                  <a:lnTo>
                    <a:pt x="456" y="1434"/>
                  </a:lnTo>
                  <a:lnTo>
                    <a:pt x="456" y="1440"/>
                  </a:lnTo>
                  <a:lnTo>
                    <a:pt x="462" y="1440"/>
                  </a:lnTo>
                  <a:lnTo>
                    <a:pt x="462" y="1446"/>
                  </a:lnTo>
                  <a:lnTo>
                    <a:pt x="462" y="1452"/>
                  </a:lnTo>
                  <a:lnTo>
                    <a:pt x="456" y="1452"/>
                  </a:lnTo>
                  <a:lnTo>
                    <a:pt x="450" y="1452"/>
                  </a:lnTo>
                  <a:lnTo>
                    <a:pt x="444" y="1446"/>
                  </a:lnTo>
                  <a:lnTo>
                    <a:pt x="444" y="1452"/>
                  </a:lnTo>
                  <a:lnTo>
                    <a:pt x="450" y="1452"/>
                  </a:lnTo>
                  <a:lnTo>
                    <a:pt x="450" y="1458"/>
                  </a:lnTo>
                  <a:lnTo>
                    <a:pt x="444" y="1458"/>
                  </a:lnTo>
                  <a:lnTo>
                    <a:pt x="438" y="1464"/>
                  </a:lnTo>
                  <a:lnTo>
                    <a:pt x="438" y="1458"/>
                  </a:lnTo>
                  <a:lnTo>
                    <a:pt x="432" y="1458"/>
                  </a:lnTo>
                  <a:lnTo>
                    <a:pt x="426" y="1458"/>
                  </a:lnTo>
                  <a:lnTo>
                    <a:pt x="432" y="1458"/>
                  </a:lnTo>
                  <a:lnTo>
                    <a:pt x="438" y="1464"/>
                  </a:lnTo>
                  <a:lnTo>
                    <a:pt x="432" y="1464"/>
                  </a:lnTo>
                  <a:lnTo>
                    <a:pt x="432" y="1470"/>
                  </a:lnTo>
                  <a:lnTo>
                    <a:pt x="426" y="1470"/>
                  </a:lnTo>
                  <a:lnTo>
                    <a:pt x="420" y="1476"/>
                  </a:lnTo>
                  <a:lnTo>
                    <a:pt x="420" y="1470"/>
                  </a:lnTo>
                  <a:lnTo>
                    <a:pt x="414" y="1470"/>
                  </a:lnTo>
                  <a:lnTo>
                    <a:pt x="414" y="1464"/>
                  </a:lnTo>
                  <a:lnTo>
                    <a:pt x="414" y="1458"/>
                  </a:lnTo>
                  <a:lnTo>
                    <a:pt x="408" y="1458"/>
                  </a:lnTo>
                  <a:close/>
                  <a:moveTo>
                    <a:pt x="270" y="1326"/>
                  </a:moveTo>
                  <a:lnTo>
                    <a:pt x="270" y="1320"/>
                  </a:lnTo>
                  <a:lnTo>
                    <a:pt x="276" y="1320"/>
                  </a:lnTo>
                  <a:lnTo>
                    <a:pt x="282" y="1326"/>
                  </a:lnTo>
                  <a:lnTo>
                    <a:pt x="288" y="1326"/>
                  </a:lnTo>
                  <a:lnTo>
                    <a:pt x="288" y="1332"/>
                  </a:lnTo>
                  <a:lnTo>
                    <a:pt x="288" y="1338"/>
                  </a:lnTo>
                  <a:lnTo>
                    <a:pt x="288" y="1344"/>
                  </a:lnTo>
                  <a:lnTo>
                    <a:pt x="282" y="1344"/>
                  </a:lnTo>
                  <a:lnTo>
                    <a:pt x="282" y="1338"/>
                  </a:lnTo>
                  <a:lnTo>
                    <a:pt x="276" y="1338"/>
                  </a:lnTo>
                  <a:lnTo>
                    <a:pt x="276" y="1332"/>
                  </a:lnTo>
                  <a:lnTo>
                    <a:pt x="270" y="1332"/>
                  </a:lnTo>
                  <a:lnTo>
                    <a:pt x="270" y="1326"/>
                  </a:lnTo>
                  <a:close/>
                  <a:moveTo>
                    <a:pt x="288" y="1458"/>
                  </a:moveTo>
                  <a:lnTo>
                    <a:pt x="294" y="1458"/>
                  </a:lnTo>
                  <a:lnTo>
                    <a:pt x="294" y="1452"/>
                  </a:lnTo>
                  <a:lnTo>
                    <a:pt x="294" y="1446"/>
                  </a:lnTo>
                  <a:lnTo>
                    <a:pt x="300" y="1446"/>
                  </a:lnTo>
                  <a:lnTo>
                    <a:pt x="300" y="1440"/>
                  </a:lnTo>
                  <a:lnTo>
                    <a:pt x="306" y="1440"/>
                  </a:lnTo>
                  <a:lnTo>
                    <a:pt x="306" y="1446"/>
                  </a:lnTo>
                  <a:lnTo>
                    <a:pt x="312" y="1452"/>
                  </a:lnTo>
                  <a:lnTo>
                    <a:pt x="306" y="1452"/>
                  </a:lnTo>
                  <a:lnTo>
                    <a:pt x="306" y="1458"/>
                  </a:lnTo>
                  <a:lnTo>
                    <a:pt x="312" y="1464"/>
                  </a:lnTo>
                  <a:lnTo>
                    <a:pt x="306" y="1464"/>
                  </a:lnTo>
                  <a:lnTo>
                    <a:pt x="306" y="1470"/>
                  </a:lnTo>
                  <a:lnTo>
                    <a:pt x="300" y="1476"/>
                  </a:lnTo>
                  <a:lnTo>
                    <a:pt x="294" y="1476"/>
                  </a:lnTo>
                  <a:lnTo>
                    <a:pt x="294" y="1470"/>
                  </a:lnTo>
                  <a:lnTo>
                    <a:pt x="288" y="1470"/>
                  </a:lnTo>
                  <a:lnTo>
                    <a:pt x="288" y="1464"/>
                  </a:lnTo>
                  <a:lnTo>
                    <a:pt x="288" y="1458"/>
                  </a:lnTo>
                  <a:close/>
                  <a:moveTo>
                    <a:pt x="270" y="1296"/>
                  </a:moveTo>
                  <a:lnTo>
                    <a:pt x="276" y="1296"/>
                  </a:lnTo>
                  <a:lnTo>
                    <a:pt x="282" y="1296"/>
                  </a:lnTo>
                  <a:lnTo>
                    <a:pt x="288" y="1296"/>
                  </a:lnTo>
                  <a:lnTo>
                    <a:pt x="288" y="1302"/>
                  </a:lnTo>
                  <a:lnTo>
                    <a:pt x="282" y="1308"/>
                  </a:lnTo>
                  <a:lnTo>
                    <a:pt x="276" y="1308"/>
                  </a:lnTo>
                  <a:lnTo>
                    <a:pt x="276" y="1302"/>
                  </a:lnTo>
                  <a:lnTo>
                    <a:pt x="270" y="12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4" name="Freeform 19">
              <a:extLst>
                <a:ext uri="{FF2B5EF4-FFF2-40B4-BE49-F238E27FC236}">
                  <a16:creationId xmlns:a16="http://schemas.microsoft.com/office/drawing/2014/main" id="{5B9020B8-E1C1-4611-A248-9642BBD69C9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7043" y="3765821"/>
              <a:ext cx="333193" cy="398097"/>
            </a:xfrm>
            <a:custGeom>
              <a:avLst/>
              <a:gdLst>
                <a:gd name="T0" fmla="*/ 30 w 624"/>
                <a:gd name="T1" fmla="*/ 61 h 750"/>
                <a:gd name="T2" fmla="*/ 27 w 624"/>
                <a:gd name="T3" fmla="*/ 62 h 750"/>
                <a:gd name="T4" fmla="*/ 23 w 624"/>
                <a:gd name="T5" fmla="*/ 59 h 750"/>
                <a:gd name="T6" fmla="*/ 20 w 624"/>
                <a:gd name="T7" fmla="*/ 58 h 750"/>
                <a:gd name="T8" fmla="*/ 19 w 624"/>
                <a:gd name="T9" fmla="*/ 56 h 750"/>
                <a:gd name="T10" fmla="*/ 17 w 624"/>
                <a:gd name="T11" fmla="*/ 55 h 750"/>
                <a:gd name="T12" fmla="*/ 16 w 624"/>
                <a:gd name="T13" fmla="*/ 51 h 750"/>
                <a:gd name="T14" fmla="*/ 14 w 624"/>
                <a:gd name="T15" fmla="*/ 48 h 750"/>
                <a:gd name="T16" fmla="*/ 12 w 624"/>
                <a:gd name="T17" fmla="*/ 46 h 750"/>
                <a:gd name="T18" fmla="*/ 12 w 624"/>
                <a:gd name="T19" fmla="*/ 44 h 750"/>
                <a:gd name="T20" fmla="*/ 11 w 624"/>
                <a:gd name="T21" fmla="*/ 41 h 750"/>
                <a:gd name="T22" fmla="*/ 8 w 624"/>
                <a:gd name="T23" fmla="*/ 38 h 750"/>
                <a:gd name="T24" fmla="*/ 6 w 624"/>
                <a:gd name="T25" fmla="*/ 38 h 750"/>
                <a:gd name="T26" fmla="*/ 6 w 624"/>
                <a:gd name="T27" fmla="*/ 35 h 750"/>
                <a:gd name="T28" fmla="*/ 7 w 624"/>
                <a:gd name="T29" fmla="*/ 31 h 750"/>
                <a:gd name="T30" fmla="*/ 10 w 624"/>
                <a:gd name="T31" fmla="*/ 27 h 750"/>
                <a:gd name="T32" fmla="*/ 8 w 624"/>
                <a:gd name="T33" fmla="*/ 23 h 750"/>
                <a:gd name="T34" fmla="*/ 6 w 624"/>
                <a:gd name="T35" fmla="*/ 23 h 750"/>
                <a:gd name="T36" fmla="*/ 3 w 624"/>
                <a:gd name="T37" fmla="*/ 22 h 750"/>
                <a:gd name="T38" fmla="*/ 0 w 624"/>
                <a:gd name="T39" fmla="*/ 22 h 750"/>
                <a:gd name="T40" fmla="*/ 0 w 624"/>
                <a:gd name="T41" fmla="*/ 19 h 750"/>
                <a:gd name="T42" fmla="*/ 1 w 624"/>
                <a:gd name="T43" fmla="*/ 18 h 750"/>
                <a:gd name="T44" fmla="*/ 2 w 624"/>
                <a:gd name="T45" fmla="*/ 14 h 750"/>
                <a:gd name="T46" fmla="*/ 4 w 624"/>
                <a:gd name="T47" fmla="*/ 17 h 750"/>
                <a:gd name="T48" fmla="*/ 6 w 624"/>
                <a:gd name="T49" fmla="*/ 17 h 750"/>
                <a:gd name="T50" fmla="*/ 7 w 624"/>
                <a:gd name="T51" fmla="*/ 17 h 750"/>
                <a:gd name="T52" fmla="*/ 9 w 624"/>
                <a:gd name="T53" fmla="*/ 15 h 750"/>
                <a:gd name="T54" fmla="*/ 10 w 624"/>
                <a:gd name="T55" fmla="*/ 14 h 750"/>
                <a:gd name="T56" fmla="*/ 11 w 624"/>
                <a:gd name="T57" fmla="*/ 12 h 750"/>
                <a:gd name="T58" fmla="*/ 13 w 624"/>
                <a:gd name="T59" fmla="*/ 12 h 750"/>
                <a:gd name="T60" fmla="*/ 18 w 624"/>
                <a:gd name="T61" fmla="*/ 10 h 750"/>
                <a:gd name="T62" fmla="*/ 22 w 624"/>
                <a:gd name="T63" fmla="*/ 4 h 750"/>
                <a:gd name="T64" fmla="*/ 24 w 624"/>
                <a:gd name="T65" fmla="*/ 4 h 750"/>
                <a:gd name="T66" fmla="*/ 26 w 624"/>
                <a:gd name="T67" fmla="*/ 2 h 750"/>
                <a:gd name="T68" fmla="*/ 29 w 624"/>
                <a:gd name="T69" fmla="*/ 0 h 750"/>
                <a:gd name="T70" fmla="*/ 32 w 624"/>
                <a:gd name="T71" fmla="*/ 2 h 750"/>
                <a:gd name="T72" fmla="*/ 34 w 624"/>
                <a:gd name="T73" fmla="*/ 5 h 750"/>
                <a:gd name="T74" fmla="*/ 35 w 624"/>
                <a:gd name="T75" fmla="*/ 8 h 750"/>
                <a:gd name="T76" fmla="*/ 39 w 624"/>
                <a:gd name="T77" fmla="*/ 11 h 750"/>
                <a:gd name="T78" fmla="*/ 42 w 624"/>
                <a:gd name="T79" fmla="*/ 14 h 750"/>
                <a:gd name="T80" fmla="*/ 46 w 624"/>
                <a:gd name="T81" fmla="*/ 12 h 750"/>
                <a:gd name="T82" fmla="*/ 49 w 624"/>
                <a:gd name="T83" fmla="*/ 12 h 750"/>
                <a:gd name="T84" fmla="*/ 51 w 624"/>
                <a:gd name="T85" fmla="*/ 12 h 750"/>
                <a:gd name="T86" fmla="*/ 53 w 624"/>
                <a:gd name="T87" fmla="*/ 12 h 750"/>
                <a:gd name="T88" fmla="*/ 53 w 624"/>
                <a:gd name="T89" fmla="*/ 17 h 750"/>
                <a:gd name="T90" fmla="*/ 51 w 624"/>
                <a:gd name="T91" fmla="*/ 20 h 750"/>
                <a:gd name="T92" fmla="*/ 49 w 624"/>
                <a:gd name="T93" fmla="*/ 26 h 750"/>
                <a:gd name="T94" fmla="*/ 47 w 624"/>
                <a:gd name="T95" fmla="*/ 26 h 750"/>
                <a:gd name="T96" fmla="*/ 44 w 624"/>
                <a:gd name="T97" fmla="*/ 26 h 750"/>
                <a:gd name="T98" fmla="*/ 43 w 624"/>
                <a:gd name="T99" fmla="*/ 27 h 750"/>
                <a:gd name="T100" fmla="*/ 45 w 624"/>
                <a:gd name="T101" fmla="*/ 32 h 750"/>
                <a:gd name="T102" fmla="*/ 44 w 624"/>
                <a:gd name="T103" fmla="*/ 43 h 750"/>
                <a:gd name="T104" fmla="*/ 44 w 624"/>
                <a:gd name="T105" fmla="*/ 47 h 750"/>
                <a:gd name="T106" fmla="*/ 44 w 624"/>
                <a:gd name="T107" fmla="*/ 54 h 750"/>
                <a:gd name="T108" fmla="*/ 41 w 624"/>
                <a:gd name="T109" fmla="*/ 60 h 750"/>
                <a:gd name="T110" fmla="*/ 42 w 624"/>
                <a:gd name="T111" fmla="*/ 62 h 750"/>
                <a:gd name="T112" fmla="*/ 43 w 624"/>
                <a:gd name="T113" fmla="*/ 65 h 750"/>
                <a:gd name="T114" fmla="*/ 39 w 624"/>
                <a:gd name="T115" fmla="*/ 63 h 750"/>
                <a:gd name="T116" fmla="*/ 35 w 624"/>
                <a:gd name="T117" fmla="*/ 62 h 75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24"/>
                <a:gd name="T178" fmla="*/ 0 h 750"/>
                <a:gd name="T179" fmla="*/ 624 w 624"/>
                <a:gd name="T180" fmla="*/ 750 h 75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24" h="750">
                  <a:moveTo>
                    <a:pt x="390" y="702"/>
                  </a:moveTo>
                  <a:lnTo>
                    <a:pt x="372" y="696"/>
                  </a:lnTo>
                  <a:lnTo>
                    <a:pt x="360" y="702"/>
                  </a:lnTo>
                  <a:lnTo>
                    <a:pt x="348" y="702"/>
                  </a:lnTo>
                  <a:lnTo>
                    <a:pt x="336" y="702"/>
                  </a:lnTo>
                  <a:lnTo>
                    <a:pt x="330" y="702"/>
                  </a:lnTo>
                  <a:lnTo>
                    <a:pt x="318" y="708"/>
                  </a:lnTo>
                  <a:lnTo>
                    <a:pt x="306" y="708"/>
                  </a:lnTo>
                  <a:lnTo>
                    <a:pt x="294" y="690"/>
                  </a:lnTo>
                  <a:lnTo>
                    <a:pt x="294" y="684"/>
                  </a:lnTo>
                  <a:lnTo>
                    <a:pt x="276" y="684"/>
                  </a:lnTo>
                  <a:lnTo>
                    <a:pt x="270" y="678"/>
                  </a:lnTo>
                  <a:lnTo>
                    <a:pt x="240" y="672"/>
                  </a:lnTo>
                  <a:lnTo>
                    <a:pt x="234" y="672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6"/>
                  </a:lnTo>
                  <a:lnTo>
                    <a:pt x="216" y="660"/>
                  </a:lnTo>
                  <a:lnTo>
                    <a:pt x="216" y="654"/>
                  </a:lnTo>
                  <a:lnTo>
                    <a:pt x="216" y="642"/>
                  </a:lnTo>
                  <a:lnTo>
                    <a:pt x="210" y="642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36"/>
                  </a:lnTo>
                  <a:lnTo>
                    <a:pt x="192" y="624"/>
                  </a:lnTo>
                  <a:lnTo>
                    <a:pt x="186" y="612"/>
                  </a:lnTo>
                  <a:lnTo>
                    <a:pt x="186" y="600"/>
                  </a:lnTo>
                  <a:lnTo>
                    <a:pt x="186" y="588"/>
                  </a:lnTo>
                  <a:lnTo>
                    <a:pt x="180" y="582"/>
                  </a:lnTo>
                  <a:lnTo>
                    <a:pt x="180" y="570"/>
                  </a:lnTo>
                  <a:lnTo>
                    <a:pt x="174" y="558"/>
                  </a:lnTo>
                  <a:lnTo>
                    <a:pt x="162" y="558"/>
                  </a:lnTo>
                  <a:lnTo>
                    <a:pt x="144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38" y="534"/>
                  </a:lnTo>
                  <a:lnTo>
                    <a:pt x="138" y="528"/>
                  </a:lnTo>
                  <a:lnTo>
                    <a:pt x="132" y="522"/>
                  </a:lnTo>
                  <a:lnTo>
                    <a:pt x="144" y="522"/>
                  </a:lnTo>
                  <a:lnTo>
                    <a:pt x="144" y="510"/>
                  </a:lnTo>
                  <a:lnTo>
                    <a:pt x="144" y="504"/>
                  </a:lnTo>
                  <a:lnTo>
                    <a:pt x="138" y="492"/>
                  </a:lnTo>
                  <a:lnTo>
                    <a:pt x="138" y="474"/>
                  </a:lnTo>
                  <a:lnTo>
                    <a:pt x="126" y="468"/>
                  </a:lnTo>
                  <a:lnTo>
                    <a:pt x="120" y="456"/>
                  </a:lnTo>
                  <a:lnTo>
                    <a:pt x="114" y="450"/>
                  </a:lnTo>
                  <a:lnTo>
                    <a:pt x="108" y="438"/>
                  </a:lnTo>
                  <a:lnTo>
                    <a:pt x="96" y="432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60" y="426"/>
                  </a:lnTo>
                  <a:lnTo>
                    <a:pt x="66" y="420"/>
                  </a:lnTo>
                  <a:lnTo>
                    <a:pt x="66" y="408"/>
                  </a:lnTo>
                  <a:lnTo>
                    <a:pt x="72" y="408"/>
                  </a:lnTo>
                  <a:lnTo>
                    <a:pt x="72" y="384"/>
                  </a:lnTo>
                  <a:lnTo>
                    <a:pt x="72" y="366"/>
                  </a:lnTo>
                  <a:lnTo>
                    <a:pt x="78" y="354"/>
                  </a:lnTo>
                  <a:lnTo>
                    <a:pt x="84" y="354"/>
                  </a:lnTo>
                  <a:lnTo>
                    <a:pt x="90" y="348"/>
                  </a:lnTo>
                  <a:lnTo>
                    <a:pt x="102" y="336"/>
                  </a:lnTo>
                  <a:lnTo>
                    <a:pt x="114" y="324"/>
                  </a:lnTo>
                  <a:lnTo>
                    <a:pt x="120" y="312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20" y="276"/>
                  </a:lnTo>
                  <a:lnTo>
                    <a:pt x="96" y="270"/>
                  </a:lnTo>
                  <a:lnTo>
                    <a:pt x="84" y="270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72" y="264"/>
                  </a:lnTo>
                  <a:lnTo>
                    <a:pt x="60" y="252"/>
                  </a:lnTo>
                  <a:lnTo>
                    <a:pt x="42" y="252"/>
                  </a:lnTo>
                  <a:lnTo>
                    <a:pt x="42" y="258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18" y="252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42" y="156"/>
                  </a:lnTo>
                  <a:lnTo>
                    <a:pt x="48" y="198"/>
                  </a:lnTo>
                  <a:lnTo>
                    <a:pt x="48" y="204"/>
                  </a:lnTo>
                  <a:lnTo>
                    <a:pt x="54" y="198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204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192"/>
                  </a:lnTo>
                  <a:lnTo>
                    <a:pt x="96" y="186"/>
                  </a:lnTo>
                  <a:lnTo>
                    <a:pt x="102" y="180"/>
                  </a:lnTo>
                  <a:lnTo>
                    <a:pt x="102" y="174"/>
                  </a:lnTo>
                  <a:lnTo>
                    <a:pt x="108" y="168"/>
                  </a:lnTo>
                  <a:lnTo>
                    <a:pt x="108" y="162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0"/>
                  </a:lnTo>
                  <a:lnTo>
                    <a:pt x="132" y="144"/>
                  </a:lnTo>
                  <a:lnTo>
                    <a:pt x="138" y="138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0" y="132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74" y="126"/>
                  </a:lnTo>
                  <a:lnTo>
                    <a:pt x="204" y="120"/>
                  </a:lnTo>
                  <a:lnTo>
                    <a:pt x="210" y="78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54"/>
                  </a:lnTo>
                  <a:lnTo>
                    <a:pt x="276" y="54"/>
                  </a:lnTo>
                  <a:lnTo>
                    <a:pt x="276" y="48"/>
                  </a:lnTo>
                  <a:lnTo>
                    <a:pt x="282" y="48"/>
                  </a:lnTo>
                  <a:lnTo>
                    <a:pt x="288" y="42"/>
                  </a:lnTo>
                  <a:lnTo>
                    <a:pt x="294" y="42"/>
                  </a:lnTo>
                  <a:lnTo>
                    <a:pt x="294" y="18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0"/>
                  </a:lnTo>
                  <a:lnTo>
                    <a:pt x="336" y="0"/>
                  </a:lnTo>
                  <a:lnTo>
                    <a:pt x="342" y="0"/>
                  </a:lnTo>
                  <a:lnTo>
                    <a:pt x="354" y="6"/>
                  </a:lnTo>
                  <a:lnTo>
                    <a:pt x="366" y="18"/>
                  </a:lnTo>
                  <a:lnTo>
                    <a:pt x="378" y="36"/>
                  </a:lnTo>
                  <a:lnTo>
                    <a:pt x="390" y="42"/>
                  </a:lnTo>
                  <a:lnTo>
                    <a:pt x="390" y="48"/>
                  </a:lnTo>
                  <a:lnTo>
                    <a:pt x="396" y="60"/>
                  </a:lnTo>
                  <a:lnTo>
                    <a:pt x="402" y="72"/>
                  </a:lnTo>
                  <a:lnTo>
                    <a:pt x="408" y="78"/>
                  </a:lnTo>
                  <a:lnTo>
                    <a:pt x="402" y="84"/>
                  </a:lnTo>
                  <a:lnTo>
                    <a:pt x="408" y="90"/>
                  </a:lnTo>
                  <a:lnTo>
                    <a:pt x="414" y="102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50" y="126"/>
                  </a:lnTo>
                  <a:lnTo>
                    <a:pt x="456" y="126"/>
                  </a:lnTo>
                  <a:lnTo>
                    <a:pt x="462" y="144"/>
                  </a:lnTo>
                  <a:lnTo>
                    <a:pt x="480" y="156"/>
                  </a:lnTo>
                  <a:lnTo>
                    <a:pt x="492" y="156"/>
                  </a:lnTo>
                  <a:lnTo>
                    <a:pt x="516" y="150"/>
                  </a:lnTo>
                  <a:lnTo>
                    <a:pt x="516" y="144"/>
                  </a:lnTo>
                  <a:lnTo>
                    <a:pt x="516" y="138"/>
                  </a:lnTo>
                  <a:lnTo>
                    <a:pt x="528" y="138"/>
                  </a:lnTo>
                  <a:lnTo>
                    <a:pt x="546" y="144"/>
                  </a:lnTo>
                  <a:lnTo>
                    <a:pt x="546" y="138"/>
                  </a:lnTo>
                  <a:lnTo>
                    <a:pt x="552" y="138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76" y="138"/>
                  </a:lnTo>
                  <a:lnTo>
                    <a:pt x="582" y="138"/>
                  </a:lnTo>
                  <a:lnTo>
                    <a:pt x="588" y="138"/>
                  </a:lnTo>
                  <a:lnTo>
                    <a:pt x="594" y="138"/>
                  </a:lnTo>
                  <a:lnTo>
                    <a:pt x="594" y="144"/>
                  </a:lnTo>
                  <a:lnTo>
                    <a:pt x="600" y="138"/>
                  </a:lnTo>
                  <a:lnTo>
                    <a:pt x="606" y="138"/>
                  </a:lnTo>
                  <a:lnTo>
                    <a:pt x="606" y="144"/>
                  </a:lnTo>
                  <a:lnTo>
                    <a:pt x="612" y="144"/>
                  </a:lnTo>
                  <a:lnTo>
                    <a:pt x="618" y="156"/>
                  </a:lnTo>
                  <a:lnTo>
                    <a:pt x="612" y="198"/>
                  </a:lnTo>
                  <a:lnTo>
                    <a:pt x="624" y="198"/>
                  </a:lnTo>
                  <a:lnTo>
                    <a:pt x="624" y="204"/>
                  </a:lnTo>
                  <a:lnTo>
                    <a:pt x="612" y="216"/>
                  </a:lnTo>
                  <a:lnTo>
                    <a:pt x="594" y="234"/>
                  </a:lnTo>
                  <a:lnTo>
                    <a:pt x="588" y="252"/>
                  </a:lnTo>
                  <a:lnTo>
                    <a:pt x="576" y="270"/>
                  </a:lnTo>
                  <a:lnTo>
                    <a:pt x="564" y="282"/>
                  </a:lnTo>
                  <a:lnTo>
                    <a:pt x="564" y="294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8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34" y="294"/>
                  </a:lnTo>
                  <a:lnTo>
                    <a:pt x="522" y="300"/>
                  </a:lnTo>
                  <a:lnTo>
                    <a:pt x="510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498" y="324"/>
                  </a:lnTo>
                  <a:lnTo>
                    <a:pt x="504" y="336"/>
                  </a:lnTo>
                  <a:lnTo>
                    <a:pt x="510" y="348"/>
                  </a:lnTo>
                  <a:lnTo>
                    <a:pt x="516" y="366"/>
                  </a:lnTo>
                  <a:lnTo>
                    <a:pt x="522" y="432"/>
                  </a:lnTo>
                  <a:lnTo>
                    <a:pt x="522" y="456"/>
                  </a:lnTo>
                  <a:lnTo>
                    <a:pt x="504" y="492"/>
                  </a:lnTo>
                  <a:lnTo>
                    <a:pt x="504" y="498"/>
                  </a:lnTo>
                  <a:lnTo>
                    <a:pt x="498" y="504"/>
                  </a:lnTo>
                  <a:lnTo>
                    <a:pt x="498" y="522"/>
                  </a:lnTo>
                  <a:lnTo>
                    <a:pt x="504" y="534"/>
                  </a:lnTo>
                  <a:lnTo>
                    <a:pt x="510" y="546"/>
                  </a:lnTo>
                  <a:lnTo>
                    <a:pt x="516" y="558"/>
                  </a:lnTo>
                  <a:lnTo>
                    <a:pt x="516" y="588"/>
                  </a:lnTo>
                  <a:lnTo>
                    <a:pt x="516" y="600"/>
                  </a:lnTo>
                  <a:lnTo>
                    <a:pt x="510" y="618"/>
                  </a:lnTo>
                  <a:lnTo>
                    <a:pt x="504" y="636"/>
                  </a:lnTo>
                  <a:lnTo>
                    <a:pt x="504" y="642"/>
                  </a:lnTo>
                  <a:lnTo>
                    <a:pt x="474" y="654"/>
                  </a:lnTo>
                  <a:lnTo>
                    <a:pt x="474" y="690"/>
                  </a:lnTo>
                  <a:lnTo>
                    <a:pt x="474" y="696"/>
                  </a:lnTo>
                  <a:lnTo>
                    <a:pt x="480" y="702"/>
                  </a:lnTo>
                  <a:lnTo>
                    <a:pt x="486" y="708"/>
                  </a:lnTo>
                  <a:lnTo>
                    <a:pt x="492" y="708"/>
                  </a:lnTo>
                  <a:lnTo>
                    <a:pt x="498" y="726"/>
                  </a:lnTo>
                  <a:lnTo>
                    <a:pt x="504" y="726"/>
                  </a:lnTo>
                  <a:lnTo>
                    <a:pt x="504" y="738"/>
                  </a:lnTo>
                  <a:lnTo>
                    <a:pt x="498" y="744"/>
                  </a:lnTo>
                  <a:lnTo>
                    <a:pt x="486" y="750"/>
                  </a:lnTo>
                  <a:lnTo>
                    <a:pt x="474" y="744"/>
                  </a:lnTo>
                  <a:lnTo>
                    <a:pt x="462" y="744"/>
                  </a:lnTo>
                  <a:lnTo>
                    <a:pt x="456" y="732"/>
                  </a:lnTo>
                  <a:lnTo>
                    <a:pt x="444" y="732"/>
                  </a:lnTo>
                  <a:lnTo>
                    <a:pt x="432" y="726"/>
                  </a:lnTo>
                  <a:lnTo>
                    <a:pt x="420" y="720"/>
                  </a:lnTo>
                  <a:lnTo>
                    <a:pt x="408" y="708"/>
                  </a:lnTo>
                  <a:lnTo>
                    <a:pt x="402" y="708"/>
                  </a:lnTo>
                  <a:lnTo>
                    <a:pt x="390" y="70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5" name="Freeform 20">
              <a:extLst>
                <a:ext uri="{FF2B5EF4-FFF2-40B4-BE49-F238E27FC236}">
                  <a16:creationId xmlns:a16="http://schemas.microsoft.com/office/drawing/2014/main" id="{B8342C3B-ECEC-465F-AAFF-4815B8AC392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870937"/>
              <a:ext cx="313067" cy="377968"/>
            </a:xfrm>
            <a:custGeom>
              <a:avLst/>
              <a:gdLst>
                <a:gd name="T0" fmla="*/ 15 w 588"/>
                <a:gd name="T1" fmla="*/ 59 h 714"/>
                <a:gd name="T2" fmla="*/ 14 w 588"/>
                <a:gd name="T3" fmla="*/ 58 h 714"/>
                <a:gd name="T4" fmla="*/ 9 w 588"/>
                <a:gd name="T5" fmla="*/ 54 h 714"/>
                <a:gd name="T6" fmla="*/ 4 w 588"/>
                <a:gd name="T7" fmla="*/ 54 h 714"/>
                <a:gd name="T8" fmla="*/ 0 w 588"/>
                <a:gd name="T9" fmla="*/ 50 h 714"/>
                <a:gd name="T10" fmla="*/ 0 w 588"/>
                <a:gd name="T11" fmla="*/ 44 h 714"/>
                <a:gd name="T12" fmla="*/ 4 w 588"/>
                <a:gd name="T13" fmla="*/ 46 h 714"/>
                <a:gd name="T14" fmla="*/ 7 w 588"/>
                <a:gd name="T15" fmla="*/ 47 h 714"/>
                <a:gd name="T16" fmla="*/ 10 w 588"/>
                <a:gd name="T17" fmla="*/ 46 h 714"/>
                <a:gd name="T18" fmla="*/ 8 w 588"/>
                <a:gd name="T19" fmla="*/ 44 h 714"/>
                <a:gd name="T20" fmla="*/ 10 w 588"/>
                <a:gd name="T21" fmla="*/ 39 h 714"/>
                <a:gd name="T22" fmla="*/ 11 w 588"/>
                <a:gd name="T23" fmla="*/ 34 h 714"/>
                <a:gd name="T24" fmla="*/ 9 w 588"/>
                <a:gd name="T25" fmla="*/ 28 h 714"/>
                <a:gd name="T26" fmla="*/ 11 w 588"/>
                <a:gd name="T27" fmla="*/ 22 h 714"/>
                <a:gd name="T28" fmla="*/ 10 w 588"/>
                <a:gd name="T29" fmla="*/ 12 h 714"/>
                <a:gd name="T30" fmla="*/ 9 w 588"/>
                <a:gd name="T31" fmla="*/ 9 h 714"/>
                <a:gd name="T32" fmla="*/ 12 w 588"/>
                <a:gd name="T33" fmla="*/ 8 h 714"/>
                <a:gd name="T34" fmla="*/ 14 w 588"/>
                <a:gd name="T35" fmla="*/ 7 h 714"/>
                <a:gd name="T36" fmla="*/ 17 w 588"/>
                <a:gd name="T37" fmla="*/ 10 h 714"/>
                <a:gd name="T38" fmla="*/ 23 w 588"/>
                <a:gd name="T39" fmla="*/ 14 h 714"/>
                <a:gd name="T40" fmla="*/ 28 w 588"/>
                <a:gd name="T41" fmla="*/ 4 h 714"/>
                <a:gd name="T42" fmla="*/ 35 w 588"/>
                <a:gd name="T43" fmla="*/ 2 h 714"/>
                <a:gd name="T44" fmla="*/ 38 w 588"/>
                <a:gd name="T45" fmla="*/ 0 h 714"/>
                <a:gd name="T46" fmla="*/ 40 w 588"/>
                <a:gd name="T47" fmla="*/ 2 h 714"/>
                <a:gd name="T48" fmla="*/ 39 w 588"/>
                <a:gd name="T49" fmla="*/ 4 h 714"/>
                <a:gd name="T50" fmla="*/ 41 w 588"/>
                <a:gd name="T51" fmla="*/ 5 h 714"/>
                <a:gd name="T52" fmla="*/ 42 w 588"/>
                <a:gd name="T53" fmla="*/ 7 h 714"/>
                <a:gd name="T54" fmla="*/ 43 w 588"/>
                <a:gd name="T55" fmla="*/ 9 h 714"/>
                <a:gd name="T56" fmla="*/ 43 w 588"/>
                <a:gd name="T57" fmla="*/ 10 h 714"/>
                <a:gd name="T58" fmla="*/ 43 w 588"/>
                <a:gd name="T59" fmla="*/ 12 h 714"/>
                <a:gd name="T60" fmla="*/ 44 w 588"/>
                <a:gd name="T61" fmla="*/ 12 h 714"/>
                <a:gd name="T62" fmla="*/ 46 w 588"/>
                <a:gd name="T63" fmla="*/ 13 h 714"/>
                <a:gd name="T64" fmla="*/ 47 w 588"/>
                <a:gd name="T65" fmla="*/ 14 h 714"/>
                <a:gd name="T66" fmla="*/ 48 w 588"/>
                <a:gd name="T67" fmla="*/ 15 h 714"/>
                <a:gd name="T68" fmla="*/ 49 w 588"/>
                <a:gd name="T69" fmla="*/ 15 h 714"/>
                <a:gd name="T70" fmla="*/ 48 w 588"/>
                <a:gd name="T71" fmla="*/ 17 h 714"/>
                <a:gd name="T72" fmla="*/ 49 w 588"/>
                <a:gd name="T73" fmla="*/ 19 h 714"/>
                <a:gd name="T74" fmla="*/ 49 w 588"/>
                <a:gd name="T75" fmla="*/ 20 h 714"/>
                <a:gd name="T76" fmla="*/ 51 w 588"/>
                <a:gd name="T77" fmla="*/ 21 h 714"/>
                <a:gd name="T78" fmla="*/ 50 w 588"/>
                <a:gd name="T79" fmla="*/ 22 h 714"/>
                <a:gd name="T80" fmla="*/ 47 w 588"/>
                <a:gd name="T81" fmla="*/ 23 h 714"/>
                <a:gd name="T82" fmla="*/ 47 w 588"/>
                <a:gd name="T83" fmla="*/ 26 h 714"/>
                <a:gd name="T84" fmla="*/ 47 w 588"/>
                <a:gd name="T85" fmla="*/ 32 h 714"/>
                <a:gd name="T86" fmla="*/ 44 w 588"/>
                <a:gd name="T87" fmla="*/ 35 h 714"/>
                <a:gd name="T88" fmla="*/ 42 w 588"/>
                <a:gd name="T89" fmla="*/ 39 h 714"/>
                <a:gd name="T90" fmla="*/ 42 w 588"/>
                <a:gd name="T91" fmla="*/ 41 h 714"/>
                <a:gd name="T92" fmla="*/ 42 w 588"/>
                <a:gd name="T93" fmla="*/ 42 h 714"/>
                <a:gd name="T94" fmla="*/ 41 w 588"/>
                <a:gd name="T95" fmla="*/ 44 h 714"/>
                <a:gd name="T96" fmla="*/ 39 w 588"/>
                <a:gd name="T97" fmla="*/ 43 h 714"/>
                <a:gd name="T98" fmla="*/ 37 w 588"/>
                <a:gd name="T99" fmla="*/ 44 h 714"/>
                <a:gd name="T100" fmla="*/ 35 w 588"/>
                <a:gd name="T101" fmla="*/ 46 h 714"/>
                <a:gd name="T102" fmla="*/ 31 w 588"/>
                <a:gd name="T103" fmla="*/ 45 h 714"/>
                <a:gd name="T104" fmla="*/ 24 w 588"/>
                <a:gd name="T105" fmla="*/ 45 h 714"/>
                <a:gd name="T106" fmla="*/ 25 w 588"/>
                <a:gd name="T107" fmla="*/ 47 h 714"/>
                <a:gd name="T108" fmla="*/ 25 w 588"/>
                <a:gd name="T109" fmla="*/ 49 h 714"/>
                <a:gd name="T110" fmla="*/ 25 w 588"/>
                <a:gd name="T111" fmla="*/ 50 h 714"/>
                <a:gd name="T112" fmla="*/ 24 w 588"/>
                <a:gd name="T113" fmla="*/ 51 h 714"/>
                <a:gd name="T114" fmla="*/ 22 w 588"/>
                <a:gd name="T115" fmla="*/ 53 h 714"/>
                <a:gd name="T116" fmla="*/ 23 w 588"/>
                <a:gd name="T117" fmla="*/ 56 h 714"/>
                <a:gd name="T118" fmla="*/ 20 w 588"/>
                <a:gd name="T119" fmla="*/ 58 h 714"/>
                <a:gd name="T120" fmla="*/ 19 w 588"/>
                <a:gd name="T121" fmla="*/ 62 h 7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8"/>
                <a:gd name="T184" fmla="*/ 0 h 714"/>
                <a:gd name="T185" fmla="*/ 588 w 588"/>
                <a:gd name="T186" fmla="*/ 714 h 7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8" h="714">
                  <a:moveTo>
                    <a:pt x="216" y="714"/>
                  </a:moveTo>
                  <a:lnTo>
                    <a:pt x="198" y="702"/>
                  </a:lnTo>
                  <a:lnTo>
                    <a:pt x="186" y="696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74" y="678"/>
                  </a:lnTo>
                  <a:lnTo>
                    <a:pt x="168" y="672"/>
                  </a:lnTo>
                  <a:lnTo>
                    <a:pt x="162" y="666"/>
                  </a:lnTo>
                  <a:lnTo>
                    <a:pt x="156" y="636"/>
                  </a:lnTo>
                  <a:lnTo>
                    <a:pt x="144" y="630"/>
                  </a:lnTo>
                  <a:lnTo>
                    <a:pt x="108" y="630"/>
                  </a:lnTo>
                  <a:lnTo>
                    <a:pt x="102" y="624"/>
                  </a:lnTo>
                  <a:lnTo>
                    <a:pt x="96" y="624"/>
                  </a:lnTo>
                  <a:lnTo>
                    <a:pt x="72" y="624"/>
                  </a:lnTo>
                  <a:lnTo>
                    <a:pt x="54" y="624"/>
                  </a:lnTo>
                  <a:lnTo>
                    <a:pt x="42" y="618"/>
                  </a:lnTo>
                  <a:lnTo>
                    <a:pt x="30" y="612"/>
                  </a:lnTo>
                  <a:lnTo>
                    <a:pt x="6" y="606"/>
                  </a:lnTo>
                  <a:lnTo>
                    <a:pt x="0" y="606"/>
                  </a:lnTo>
                  <a:lnTo>
                    <a:pt x="0" y="570"/>
                  </a:lnTo>
                  <a:lnTo>
                    <a:pt x="6" y="552"/>
                  </a:lnTo>
                  <a:lnTo>
                    <a:pt x="6" y="522"/>
                  </a:lnTo>
                  <a:lnTo>
                    <a:pt x="0" y="510"/>
                  </a:lnTo>
                  <a:lnTo>
                    <a:pt x="0" y="504"/>
                  </a:lnTo>
                  <a:lnTo>
                    <a:pt x="12" y="510"/>
                  </a:lnTo>
                  <a:lnTo>
                    <a:pt x="18" y="510"/>
                  </a:lnTo>
                  <a:lnTo>
                    <a:pt x="30" y="522"/>
                  </a:lnTo>
                  <a:lnTo>
                    <a:pt x="42" y="528"/>
                  </a:lnTo>
                  <a:lnTo>
                    <a:pt x="54" y="534"/>
                  </a:lnTo>
                  <a:lnTo>
                    <a:pt x="66" y="534"/>
                  </a:lnTo>
                  <a:lnTo>
                    <a:pt x="72" y="546"/>
                  </a:lnTo>
                  <a:lnTo>
                    <a:pt x="84" y="546"/>
                  </a:lnTo>
                  <a:lnTo>
                    <a:pt x="96" y="552"/>
                  </a:lnTo>
                  <a:lnTo>
                    <a:pt x="108" y="546"/>
                  </a:lnTo>
                  <a:lnTo>
                    <a:pt x="114" y="540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90" y="504"/>
                  </a:lnTo>
                  <a:lnTo>
                    <a:pt x="84" y="498"/>
                  </a:lnTo>
                  <a:lnTo>
                    <a:pt x="84" y="492"/>
                  </a:lnTo>
                  <a:lnTo>
                    <a:pt x="84" y="456"/>
                  </a:lnTo>
                  <a:lnTo>
                    <a:pt x="114" y="444"/>
                  </a:lnTo>
                  <a:lnTo>
                    <a:pt x="114" y="438"/>
                  </a:lnTo>
                  <a:lnTo>
                    <a:pt x="120" y="420"/>
                  </a:lnTo>
                  <a:lnTo>
                    <a:pt x="126" y="402"/>
                  </a:lnTo>
                  <a:lnTo>
                    <a:pt x="126" y="390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14" y="336"/>
                  </a:lnTo>
                  <a:lnTo>
                    <a:pt x="108" y="324"/>
                  </a:lnTo>
                  <a:lnTo>
                    <a:pt x="108" y="306"/>
                  </a:lnTo>
                  <a:lnTo>
                    <a:pt x="114" y="300"/>
                  </a:lnTo>
                  <a:lnTo>
                    <a:pt x="114" y="294"/>
                  </a:lnTo>
                  <a:lnTo>
                    <a:pt x="132" y="258"/>
                  </a:lnTo>
                  <a:lnTo>
                    <a:pt x="132" y="234"/>
                  </a:lnTo>
                  <a:lnTo>
                    <a:pt x="126" y="168"/>
                  </a:lnTo>
                  <a:lnTo>
                    <a:pt x="120" y="150"/>
                  </a:lnTo>
                  <a:lnTo>
                    <a:pt x="114" y="138"/>
                  </a:lnTo>
                  <a:lnTo>
                    <a:pt x="108" y="126"/>
                  </a:lnTo>
                  <a:lnTo>
                    <a:pt x="108" y="120"/>
                  </a:lnTo>
                  <a:lnTo>
                    <a:pt x="108" y="114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20" y="96"/>
                  </a:lnTo>
                  <a:lnTo>
                    <a:pt x="132" y="102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56" y="90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96"/>
                  </a:lnTo>
                  <a:lnTo>
                    <a:pt x="186" y="96"/>
                  </a:lnTo>
                  <a:lnTo>
                    <a:pt x="192" y="114"/>
                  </a:lnTo>
                  <a:lnTo>
                    <a:pt x="204" y="132"/>
                  </a:lnTo>
                  <a:lnTo>
                    <a:pt x="216" y="144"/>
                  </a:lnTo>
                  <a:lnTo>
                    <a:pt x="240" y="162"/>
                  </a:lnTo>
                  <a:lnTo>
                    <a:pt x="270" y="156"/>
                  </a:lnTo>
                  <a:lnTo>
                    <a:pt x="282" y="126"/>
                  </a:lnTo>
                  <a:lnTo>
                    <a:pt x="282" y="96"/>
                  </a:lnTo>
                  <a:lnTo>
                    <a:pt x="294" y="54"/>
                  </a:lnTo>
                  <a:lnTo>
                    <a:pt x="324" y="48"/>
                  </a:lnTo>
                  <a:lnTo>
                    <a:pt x="342" y="48"/>
                  </a:lnTo>
                  <a:lnTo>
                    <a:pt x="384" y="48"/>
                  </a:lnTo>
                  <a:lnTo>
                    <a:pt x="390" y="30"/>
                  </a:lnTo>
                  <a:lnTo>
                    <a:pt x="402" y="18"/>
                  </a:lnTo>
                  <a:lnTo>
                    <a:pt x="438" y="6"/>
                  </a:lnTo>
                  <a:lnTo>
                    <a:pt x="438" y="0"/>
                  </a:lnTo>
                  <a:lnTo>
                    <a:pt x="444" y="0"/>
                  </a:lnTo>
                  <a:lnTo>
                    <a:pt x="444" y="6"/>
                  </a:lnTo>
                  <a:lnTo>
                    <a:pt x="450" y="6"/>
                  </a:lnTo>
                  <a:lnTo>
                    <a:pt x="456" y="12"/>
                  </a:lnTo>
                  <a:lnTo>
                    <a:pt x="456" y="18"/>
                  </a:lnTo>
                  <a:lnTo>
                    <a:pt x="462" y="24"/>
                  </a:lnTo>
                  <a:lnTo>
                    <a:pt x="462" y="30"/>
                  </a:lnTo>
                  <a:lnTo>
                    <a:pt x="468" y="36"/>
                  </a:lnTo>
                  <a:lnTo>
                    <a:pt x="462" y="36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74" y="60"/>
                  </a:lnTo>
                  <a:lnTo>
                    <a:pt x="486" y="78"/>
                  </a:lnTo>
                  <a:lnTo>
                    <a:pt x="486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8" y="102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498" y="114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504" y="126"/>
                  </a:lnTo>
                  <a:lnTo>
                    <a:pt x="498" y="132"/>
                  </a:lnTo>
                  <a:lnTo>
                    <a:pt x="504" y="138"/>
                  </a:lnTo>
                  <a:lnTo>
                    <a:pt x="504" y="132"/>
                  </a:lnTo>
                  <a:lnTo>
                    <a:pt x="510" y="132"/>
                  </a:lnTo>
                  <a:lnTo>
                    <a:pt x="510" y="138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56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6" y="168"/>
                  </a:lnTo>
                  <a:lnTo>
                    <a:pt x="552" y="168"/>
                  </a:lnTo>
                  <a:lnTo>
                    <a:pt x="546" y="168"/>
                  </a:lnTo>
                  <a:lnTo>
                    <a:pt x="546" y="174"/>
                  </a:lnTo>
                  <a:lnTo>
                    <a:pt x="558" y="180"/>
                  </a:lnTo>
                  <a:lnTo>
                    <a:pt x="564" y="180"/>
                  </a:lnTo>
                  <a:lnTo>
                    <a:pt x="564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52" y="198"/>
                  </a:lnTo>
                  <a:lnTo>
                    <a:pt x="558" y="204"/>
                  </a:lnTo>
                  <a:lnTo>
                    <a:pt x="564" y="204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22"/>
                  </a:lnTo>
                  <a:lnTo>
                    <a:pt x="576" y="228"/>
                  </a:lnTo>
                  <a:lnTo>
                    <a:pt x="570" y="228"/>
                  </a:lnTo>
                  <a:lnTo>
                    <a:pt x="570" y="234"/>
                  </a:lnTo>
                  <a:lnTo>
                    <a:pt x="576" y="234"/>
                  </a:lnTo>
                  <a:lnTo>
                    <a:pt x="582" y="234"/>
                  </a:lnTo>
                  <a:lnTo>
                    <a:pt x="588" y="234"/>
                  </a:lnTo>
                  <a:lnTo>
                    <a:pt x="588" y="240"/>
                  </a:lnTo>
                  <a:lnTo>
                    <a:pt x="588" y="246"/>
                  </a:lnTo>
                  <a:lnTo>
                    <a:pt x="588" y="252"/>
                  </a:lnTo>
                  <a:lnTo>
                    <a:pt x="582" y="252"/>
                  </a:lnTo>
                  <a:lnTo>
                    <a:pt x="576" y="252"/>
                  </a:lnTo>
                  <a:lnTo>
                    <a:pt x="582" y="258"/>
                  </a:lnTo>
                  <a:lnTo>
                    <a:pt x="582" y="264"/>
                  </a:lnTo>
                  <a:lnTo>
                    <a:pt x="576" y="264"/>
                  </a:lnTo>
                  <a:lnTo>
                    <a:pt x="546" y="264"/>
                  </a:lnTo>
                  <a:lnTo>
                    <a:pt x="546" y="276"/>
                  </a:lnTo>
                  <a:lnTo>
                    <a:pt x="540" y="282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40" y="324"/>
                  </a:lnTo>
                  <a:lnTo>
                    <a:pt x="552" y="330"/>
                  </a:lnTo>
                  <a:lnTo>
                    <a:pt x="558" y="342"/>
                  </a:lnTo>
                  <a:lnTo>
                    <a:pt x="546" y="372"/>
                  </a:lnTo>
                  <a:lnTo>
                    <a:pt x="534" y="372"/>
                  </a:lnTo>
                  <a:lnTo>
                    <a:pt x="534" y="384"/>
                  </a:lnTo>
                  <a:lnTo>
                    <a:pt x="522" y="384"/>
                  </a:lnTo>
                  <a:lnTo>
                    <a:pt x="510" y="402"/>
                  </a:lnTo>
                  <a:lnTo>
                    <a:pt x="504" y="420"/>
                  </a:lnTo>
                  <a:lnTo>
                    <a:pt x="492" y="426"/>
                  </a:lnTo>
                  <a:lnTo>
                    <a:pt x="486" y="432"/>
                  </a:lnTo>
                  <a:lnTo>
                    <a:pt x="486" y="444"/>
                  </a:lnTo>
                  <a:lnTo>
                    <a:pt x="486" y="450"/>
                  </a:lnTo>
                  <a:lnTo>
                    <a:pt x="486" y="456"/>
                  </a:lnTo>
                  <a:lnTo>
                    <a:pt x="486" y="462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80" y="474"/>
                  </a:lnTo>
                  <a:lnTo>
                    <a:pt x="480" y="480"/>
                  </a:lnTo>
                  <a:lnTo>
                    <a:pt x="480" y="486"/>
                  </a:lnTo>
                  <a:lnTo>
                    <a:pt x="480" y="492"/>
                  </a:lnTo>
                  <a:lnTo>
                    <a:pt x="480" y="498"/>
                  </a:lnTo>
                  <a:lnTo>
                    <a:pt x="474" y="504"/>
                  </a:lnTo>
                  <a:lnTo>
                    <a:pt x="468" y="510"/>
                  </a:lnTo>
                  <a:lnTo>
                    <a:pt x="462" y="510"/>
                  </a:lnTo>
                  <a:lnTo>
                    <a:pt x="456" y="504"/>
                  </a:lnTo>
                  <a:lnTo>
                    <a:pt x="456" y="498"/>
                  </a:lnTo>
                  <a:lnTo>
                    <a:pt x="450" y="498"/>
                  </a:lnTo>
                  <a:lnTo>
                    <a:pt x="444" y="498"/>
                  </a:lnTo>
                  <a:lnTo>
                    <a:pt x="438" y="498"/>
                  </a:lnTo>
                  <a:lnTo>
                    <a:pt x="432" y="498"/>
                  </a:lnTo>
                  <a:lnTo>
                    <a:pt x="426" y="504"/>
                  </a:lnTo>
                  <a:lnTo>
                    <a:pt x="426" y="510"/>
                  </a:lnTo>
                  <a:lnTo>
                    <a:pt x="420" y="516"/>
                  </a:lnTo>
                  <a:lnTo>
                    <a:pt x="414" y="522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84" y="528"/>
                  </a:lnTo>
                  <a:lnTo>
                    <a:pt x="366" y="540"/>
                  </a:lnTo>
                  <a:lnTo>
                    <a:pt x="360" y="522"/>
                  </a:lnTo>
                  <a:lnTo>
                    <a:pt x="348" y="504"/>
                  </a:lnTo>
                  <a:lnTo>
                    <a:pt x="330" y="504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34"/>
                  </a:lnTo>
                  <a:lnTo>
                    <a:pt x="288" y="540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2" y="540"/>
                  </a:lnTo>
                  <a:lnTo>
                    <a:pt x="282" y="546"/>
                  </a:lnTo>
                  <a:lnTo>
                    <a:pt x="288" y="552"/>
                  </a:lnTo>
                  <a:lnTo>
                    <a:pt x="294" y="564"/>
                  </a:lnTo>
                  <a:lnTo>
                    <a:pt x="300" y="564"/>
                  </a:lnTo>
                  <a:lnTo>
                    <a:pt x="300" y="570"/>
                  </a:lnTo>
                  <a:lnTo>
                    <a:pt x="294" y="570"/>
                  </a:lnTo>
                  <a:lnTo>
                    <a:pt x="288" y="570"/>
                  </a:lnTo>
                  <a:lnTo>
                    <a:pt x="288" y="576"/>
                  </a:lnTo>
                  <a:lnTo>
                    <a:pt x="288" y="582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606"/>
                  </a:lnTo>
                  <a:lnTo>
                    <a:pt x="264" y="612"/>
                  </a:lnTo>
                  <a:lnTo>
                    <a:pt x="258" y="612"/>
                  </a:lnTo>
                  <a:lnTo>
                    <a:pt x="252" y="612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52" y="630"/>
                  </a:lnTo>
                  <a:lnTo>
                    <a:pt x="264" y="642"/>
                  </a:lnTo>
                  <a:lnTo>
                    <a:pt x="258" y="648"/>
                  </a:lnTo>
                  <a:lnTo>
                    <a:pt x="246" y="654"/>
                  </a:lnTo>
                  <a:lnTo>
                    <a:pt x="240" y="660"/>
                  </a:lnTo>
                  <a:lnTo>
                    <a:pt x="234" y="672"/>
                  </a:lnTo>
                  <a:lnTo>
                    <a:pt x="234" y="678"/>
                  </a:lnTo>
                  <a:lnTo>
                    <a:pt x="228" y="684"/>
                  </a:lnTo>
                  <a:lnTo>
                    <a:pt x="228" y="696"/>
                  </a:lnTo>
                  <a:lnTo>
                    <a:pt x="216" y="71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6" name="Freeform 21">
              <a:extLst>
                <a:ext uri="{FF2B5EF4-FFF2-40B4-BE49-F238E27FC236}">
                  <a16:creationId xmlns:a16="http://schemas.microsoft.com/office/drawing/2014/main" id="{DCB1E808-522D-4C19-B741-CC5DD56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4178" y="3866464"/>
              <a:ext cx="250453" cy="371259"/>
            </a:xfrm>
            <a:custGeom>
              <a:avLst/>
              <a:gdLst>
                <a:gd name="T0" fmla="*/ 0 w 468"/>
                <a:gd name="T1" fmla="*/ 61 h 696"/>
                <a:gd name="T2" fmla="*/ 1 w 468"/>
                <a:gd name="T3" fmla="*/ 58 h 696"/>
                <a:gd name="T4" fmla="*/ 2 w 468"/>
                <a:gd name="T5" fmla="*/ 54 h 696"/>
                <a:gd name="T6" fmla="*/ 3 w 468"/>
                <a:gd name="T7" fmla="*/ 51 h 696"/>
                <a:gd name="T8" fmla="*/ 4 w 468"/>
                <a:gd name="T9" fmla="*/ 48 h 696"/>
                <a:gd name="T10" fmla="*/ 6 w 468"/>
                <a:gd name="T11" fmla="*/ 44 h 696"/>
                <a:gd name="T12" fmla="*/ 5 w 468"/>
                <a:gd name="T13" fmla="*/ 41 h 696"/>
                <a:gd name="T14" fmla="*/ 7 w 468"/>
                <a:gd name="T15" fmla="*/ 38 h 696"/>
                <a:gd name="T16" fmla="*/ 8 w 468"/>
                <a:gd name="T17" fmla="*/ 36 h 696"/>
                <a:gd name="T18" fmla="*/ 7 w 468"/>
                <a:gd name="T19" fmla="*/ 33 h 696"/>
                <a:gd name="T20" fmla="*/ 6 w 468"/>
                <a:gd name="T21" fmla="*/ 29 h 696"/>
                <a:gd name="T22" fmla="*/ 4 w 468"/>
                <a:gd name="T23" fmla="*/ 22 h 696"/>
                <a:gd name="T24" fmla="*/ 2 w 468"/>
                <a:gd name="T25" fmla="*/ 14 h 696"/>
                <a:gd name="T26" fmla="*/ 12 w 468"/>
                <a:gd name="T27" fmla="*/ 11 h 696"/>
                <a:gd name="T28" fmla="*/ 14 w 468"/>
                <a:gd name="T29" fmla="*/ 2 h 696"/>
                <a:gd name="T30" fmla="*/ 16 w 468"/>
                <a:gd name="T31" fmla="*/ 0 h 696"/>
                <a:gd name="T32" fmla="*/ 17 w 468"/>
                <a:gd name="T33" fmla="*/ 0 h 696"/>
                <a:gd name="T34" fmla="*/ 18 w 468"/>
                <a:gd name="T35" fmla="*/ 1 h 696"/>
                <a:gd name="T36" fmla="*/ 17 w 468"/>
                <a:gd name="T37" fmla="*/ 2 h 696"/>
                <a:gd name="T38" fmla="*/ 17 w 468"/>
                <a:gd name="T39" fmla="*/ 4 h 696"/>
                <a:gd name="T40" fmla="*/ 17 w 468"/>
                <a:gd name="T41" fmla="*/ 6 h 696"/>
                <a:gd name="T42" fmla="*/ 20 w 468"/>
                <a:gd name="T43" fmla="*/ 6 h 696"/>
                <a:gd name="T44" fmla="*/ 22 w 468"/>
                <a:gd name="T45" fmla="*/ 5 h 696"/>
                <a:gd name="T46" fmla="*/ 24 w 468"/>
                <a:gd name="T47" fmla="*/ 7 h 696"/>
                <a:gd name="T48" fmla="*/ 28 w 468"/>
                <a:gd name="T49" fmla="*/ 7 h 696"/>
                <a:gd name="T50" fmla="*/ 28 w 468"/>
                <a:gd name="T51" fmla="*/ 11 h 696"/>
                <a:gd name="T52" fmla="*/ 25 w 468"/>
                <a:gd name="T53" fmla="*/ 14 h 696"/>
                <a:gd name="T54" fmla="*/ 23 w 468"/>
                <a:gd name="T55" fmla="*/ 15 h 696"/>
                <a:gd name="T56" fmla="*/ 23 w 468"/>
                <a:gd name="T57" fmla="*/ 19 h 696"/>
                <a:gd name="T58" fmla="*/ 23 w 468"/>
                <a:gd name="T59" fmla="*/ 21 h 696"/>
                <a:gd name="T60" fmla="*/ 24 w 468"/>
                <a:gd name="T61" fmla="*/ 21 h 696"/>
                <a:gd name="T62" fmla="*/ 27 w 468"/>
                <a:gd name="T63" fmla="*/ 23 h 696"/>
                <a:gd name="T64" fmla="*/ 29 w 468"/>
                <a:gd name="T65" fmla="*/ 24 h 696"/>
                <a:gd name="T66" fmla="*/ 29 w 468"/>
                <a:gd name="T67" fmla="*/ 28 h 696"/>
                <a:gd name="T68" fmla="*/ 29 w 468"/>
                <a:gd name="T69" fmla="*/ 29 h 696"/>
                <a:gd name="T70" fmla="*/ 29 w 468"/>
                <a:gd name="T71" fmla="*/ 32 h 696"/>
                <a:gd name="T72" fmla="*/ 32 w 468"/>
                <a:gd name="T73" fmla="*/ 32 h 696"/>
                <a:gd name="T74" fmla="*/ 33 w 468"/>
                <a:gd name="T75" fmla="*/ 35 h 696"/>
                <a:gd name="T76" fmla="*/ 34 w 468"/>
                <a:gd name="T77" fmla="*/ 38 h 696"/>
                <a:gd name="T78" fmla="*/ 35 w 468"/>
                <a:gd name="T79" fmla="*/ 39 h 696"/>
                <a:gd name="T80" fmla="*/ 36 w 468"/>
                <a:gd name="T81" fmla="*/ 40 h 696"/>
                <a:gd name="T82" fmla="*/ 37 w 468"/>
                <a:gd name="T83" fmla="*/ 41 h 696"/>
                <a:gd name="T84" fmla="*/ 38 w 468"/>
                <a:gd name="T85" fmla="*/ 42 h 696"/>
                <a:gd name="T86" fmla="*/ 41 w 468"/>
                <a:gd name="T87" fmla="*/ 44 h 696"/>
                <a:gd name="T88" fmla="*/ 40 w 468"/>
                <a:gd name="T89" fmla="*/ 44 h 696"/>
                <a:gd name="T90" fmla="*/ 37 w 468"/>
                <a:gd name="T91" fmla="*/ 45 h 696"/>
                <a:gd name="T92" fmla="*/ 36 w 468"/>
                <a:gd name="T93" fmla="*/ 48 h 696"/>
                <a:gd name="T94" fmla="*/ 34 w 468"/>
                <a:gd name="T95" fmla="*/ 49 h 696"/>
                <a:gd name="T96" fmla="*/ 32 w 468"/>
                <a:gd name="T97" fmla="*/ 51 h 696"/>
                <a:gd name="T98" fmla="*/ 31 w 468"/>
                <a:gd name="T99" fmla="*/ 51 h 696"/>
                <a:gd name="T100" fmla="*/ 26 w 468"/>
                <a:gd name="T101" fmla="*/ 49 h 696"/>
                <a:gd name="T102" fmla="*/ 23 w 468"/>
                <a:gd name="T103" fmla="*/ 51 h 696"/>
                <a:gd name="T104" fmla="*/ 21 w 468"/>
                <a:gd name="T105" fmla="*/ 51 h 696"/>
                <a:gd name="T106" fmla="*/ 20 w 468"/>
                <a:gd name="T107" fmla="*/ 52 h 696"/>
                <a:gd name="T108" fmla="*/ 17 w 468"/>
                <a:gd name="T109" fmla="*/ 55 h 696"/>
                <a:gd name="T110" fmla="*/ 15 w 468"/>
                <a:gd name="T111" fmla="*/ 56 h 696"/>
                <a:gd name="T112" fmla="*/ 15 w 468"/>
                <a:gd name="T113" fmla="*/ 59 h 696"/>
                <a:gd name="T114" fmla="*/ 14 w 468"/>
                <a:gd name="T115" fmla="*/ 59 h 696"/>
                <a:gd name="T116" fmla="*/ 12 w 468"/>
                <a:gd name="T117" fmla="*/ 59 h 696"/>
                <a:gd name="T118" fmla="*/ 11 w 468"/>
                <a:gd name="T119" fmla="*/ 57 h 696"/>
                <a:gd name="T120" fmla="*/ 9 w 468"/>
                <a:gd name="T121" fmla="*/ 57 h 696"/>
                <a:gd name="T122" fmla="*/ 6 w 468"/>
                <a:gd name="T123" fmla="*/ 58 h 696"/>
                <a:gd name="T124" fmla="*/ 4 w 468"/>
                <a:gd name="T125" fmla="*/ 60 h 69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8"/>
                <a:gd name="T190" fmla="*/ 0 h 696"/>
                <a:gd name="T191" fmla="*/ 468 w 468"/>
                <a:gd name="T192" fmla="*/ 696 h 69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8" h="696">
                  <a:moveTo>
                    <a:pt x="30" y="696"/>
                  </a:moveTo>
                  <a:lnTo>
                    <a:pt x="18" y="696"/>
                  </a:lnTo>
                  <a:lnTo>
                    <a:pt x="6" y="696"/>
                  </a:lnTo>
                  <a:lnTo>
                    <a:pt x="0" y="690"/>
                  </a:lnTo>
                  <a:lnTo>
                    <a:pt x="6" y="678"/>
                  </a:lnTo>
                  <a:lnTo>
                    <a:pt x="12" y="666"/>
                  </a:lnTo>
                  <a:lnTo>
                    <a:pt x="18" y="654"/>
                  </a:lnTo>
                  <a:lnTo>
                    <a:pt x="18" y="642"/>
                  </a:lnTo>
                  <a:lnTo>
                    <a:pt x="18" y="618"/>
                  </a:lnTo>
                  <a:lnTo>
                    <a:pt x="24" y="606"/>
                  </a:lnTo>
                  <a:lnTo>
                    <a:pt x="30" y="594"/>
                  </a:lnTo>
                  <a:lnTo>
                    <a:pt x="30" y="582"/>
                  </a:lnTo>
                  <a:lnTo>
                    <a:pt x="36" y="576"/>
                  </a:lnTo>
                  <a:lnTo>
                    <a:pt x="42" y="564"/>
                  </a:lnTo>
                  <a:lnTo>
                    <a:pt x="48" y="546"/>
                  </a:lnTo>
                  <a:lnTo>
                    <a:pt x="48" y="528"/>
                  </a:lnTo>
                  <a:lnTo>
                    <a:pt x="60" y="516"/>
                  </a:lnTo>
                  <a:lnTo>
                    <a:pt x="66" y="504"/>
                  </a:lnTo>
                  <a:lnTo>
                    <a:pt x="66" y="492"/>
                  </a:lnTo>
                  <a:lnTo>
                    <a:pt x="60" y="480"/>
                  </a:lnTo>
                  <a:lnTo>
                    <a:pt x="54" y="468"/>
                  </a:lnTo>
                  <a:lnTo>
                    <a:pt x="60" y="456"/>
                  </a:lnTo>
                  <a:lnTo>
                    <a:pt x="72" y="450"/>
                  </a:lnTo>
                  <a:lnTo>
                    <a:pt x="84" y="438"/>
                  </a:lnTo>
                  <a:lnTo>
                    <a:pt x="90" y="426"/>
                  </a:lnTo>
                  <a:lnTo>
                    <a:pt x="90" y="420"/>
                  </a:lnTo>
                  <a:lnTo>
                    <a:pt x="90" y="408"/>
                  </a:lnTo>
                  <a:lnTo>
                    <a:pt x="90" y="402"/>
                  </a:lnTo>
                  <a:lnTo>
                    <a:pt x="84" y="396"/>
                  </a:lnTo>
                  <a:lnTo>
                    <a:pt x="78" y="378"/>
                  </a:lnTo>
                  <a:lnTo>
                    <a:pt x="72" y="360"/>
                  </a:lnTo>
                  <a:lnTo>
                    <a:pt x="66" y="348"/>
                  </a:lnTo>
                  <a:lnTo>
                    <a:pt x="72" y="336"/>
                  </a:lnTo>
                  <a:lnTo>
                    <a:pt x="66" y="306"/>
                  </a:lnTo>
                  <a:lnTo>
                    <a:pt x="54" y="276"/>
                  </a:lnTo>
                  <a:lnTo>
                    <a:pt x="42" y="252"/>
                  </a:lnTo>
                  <a:lnTo>
                    <a:pt x="36" y="222"/>
                  </a:lnTo>
                  <a:lnTo>
                    <a:pt x="30" y="192"/>
                  </a:lnTo>
                  <a:lnTo>
                    <a:pt x="24" y="162"/>
                  </a:lnTo>
                  <a:lnTo>
                    <a:pt x="42" y="174"/>
                  </a:lnTo>
                  <a:lnTo>
                    <a:pt x="120" y="138"/>
                  </a:lnTo>
                  <a:lnTo>
                    <a:pt x="132" y="126"/>
                  </a:lnTo>
                  <a:lnTo>
                    <a:pt x="120" y="54"/>
                  </a:lnTo>
                  <a:lnTo>
                    <a:pt x="156" y="30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0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8" y="18"/>
                  </a:lnTo>
                  <a:lnTo>
                    <a:pt x="198" y="24"/>
                  </a:lnTo>
                  <a:lnTo>
                    <a:pt x="198" y="30"/>
                  </a:lnTo>
                  <a:lnTo>
                    <a:pt x="198" y="42"/>
                  </a:lnTo>
                  <a:lnTo>
                    <a:pt x="198" y="48"/>
                  </a:lnTo>
                  <a:lnTo>
                    <a:pt x="192" y="60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28" y="60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34" y="60"/>
                  </a:lnTo>
                  <a:lnTo>
                    <a:pt x="252" y="60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312" y="84"/>
                  </a:lnTo>
                  <a:lnTo>
                    <a:pt x="318" y="96"/>
                  </a:lnTo>
                  <a:lnTo>
                    <a:pt x="318" y="102"/>
                  </a:lnTo>
                  <a:lnTo>
                    <a:pt x="312" y="120"/>
                  </a:lnTo>
                  <a:lnTo>
                    <a:pt x="306" y="132"/>
                  </a:lnTo>
                  <a:lnTo>
                    <a:pt x="294" y="144"/>
                  </a:lnTo>
                  <a:lnTo>
                    <a:pt x="282" y="156"/>
                  </a:lnTo>
                  <a:lnTo>
                    <a:pt x="276" y="162"/>
                  </a:lnTo>
                  <a:lnTo>
                    <a:pt x="270" y="162"/>
                  </a:lnTo>
                  <a:lnTo>
                    <a:pt x="264" y="174"/>
                  </a:lnTo>
                  <a:lnTo>
                    <a:pt x="264" y="192"/>
                  </a:lnTo>
                  <a:lnTo>
                    <a:pt x="264" y="216"/>
                  </a:lnTo>
                  <a:lnTo>
                    <a:pt x="258" y="216"/>
                  </a:lnTo>
                  <a:lnTo>
                    <a:pt x="258" y="228"/>
                  </a:lnTo>
                  <a:lnTo>
                    <a:pt x="252" y="234"/>
                  </a:lnTo>
                  <a:lnTo>
                    <a:pt x="258" y="240"/>
                  </a:lnTo>
                  <a:lnTo>
                    <a:pt x="264" y="240"/>
                  </a:lnTo>
                  <a:lnTo>
                    <a:pt x="270" y="240"/>
                  </a:lnTo>
                  <a:lnTo>
                    <a:pt x="276" y="240"/>
                  </a:lnTo>
                  <a:lnTo>
                    <a:pt x="288" y="240"/>
                  </a:lnTo>
                  <a:lnTo>
                    <a:pt x="300" y="246"/>
                  </a:lnTo>
                  <a:lnTo>
                    <a:pt x="306" y="258"/>
                  </a:lnTo>
                  <a:lnTo>
                    <a:pt x="312" y="264"/>
                  </a:lnTo>
                  <a:lnTo>
                    <a:pt x="318" y="276"/>
                  </a:lnTo>
                  <a:lnTo>
                    <a:pt x="330" y="282"/>
                  </a:lnTo>
                  <a:lnTo>
                    <a:pt x="330" y="300"/>
                  </a:lnTo>
                  <a:lnTo>
                    <a:pt x="336" y="312"/>
                  </a:lnTo>
                  <a:lnTo>
                    <a:pt x="336" y="318"/>
                  </a:lnTo>
                  <a:lnTo>
                    <a:pt x="336" y="330"/>
                  </a:lnTo>
                  <a:lnTo>
                    <a:pt x="324" y="330"/>
                  </a:lnTo>
                  <a:lnTo>
                    <a:pt x="330" y="336"/>
                  </a:lnTo>
                  <a:lnTo>
                    <a:pt x="330" y="342"/>
                  </a:lnTo>
                  <a:lnTo>
                    <a:pt x="336" y="348"/>
                  </a:lnTo>
                  <a:lnTo>
                    <a:pt x="330" y="360"/>
                  </a:lnTo>
                  <a:lnTo>
                    <a:pt x="336" y="372"/>
                  </a:lnTo>
                  <a:lnTo>
                    <a:pt x="354" y="366"/>
                  </a:lnTo>
                  <a:lnTo>
                    <a:pt x="366" y="366"/>
                  </a:lnTo>
                  <a:lnTo>
                    <a:pt x="372" y="378"/>
                  </a:lnTo>
                  <a:lnTo>
                    <a:pt x="372" y="390"/>
                  </a:lnTo>
                  <a:lnTo>
                    <a:pt x="378" y="396"/>
                  </a:lnTo>
                  <a:lnTo>
                    <a:pt x="378" y="408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44"/>
                  </a:lnTo>
                  <a:lnTo>
                    <a:pt x="390" y="444"/>
                  </a:lnTo>
                  <a:lnTo>
                    <a:pt x="396" y="444"/>
                  </a:lnTo>
                  <a:lnTo>
                    <a:pt x="402" y="450"/>
                  </a:lnTo>
                  <a:lnTo>
                    <a:pt x="408" y="450"/>
                  </a:lnTo>
                  <a:lnTo>
                    <a:pt x="408" y="462"/>
                  </a:lnTo>
                  <a:lnTo>
                    <a:pt x="408" y="468"/>
                  </a:lnTo>
                  <a:lnTo>
                    <a:pt x="414" y="474"/>
                  </a:lnTo>
                  <a:lnTo>
                    <a:pt x="420" y="474"/>
                  </a:lnTo>
                  <a:lnTo>
                    <a:pt x="420" y="480"/>
                  </a:lnTo>
                  <a:lnTo>
                    <a:pt x="426" y="480"/>
                  </a:lnTo>
                  <a:lnTo>
                    <a:pt x="432" y="480"/>
                  </a:lnTo>
                  <a:lnTo>
                    <a:pt x="462" y="486"/>
                  </a:lnTo>
                  <a:lnTo>
                    <a:pt x="468" y="492"/>
                  </a:lnTo>
                  <a:lnTo>
                    <a:pt x="468" y="498"/>
                  </a:lnTo>
                  <a:lnTo>
                    <a:pt x="462" y="498"/>
                  </a:lnTo>
                  <a:lnTo>
                    <a:pt x="456" y="498"/>
                  </a:lnTo>
                  <a:lnTo>
                    <a:pt x="456" y="504"/>
                  </a:lnTo>
                  <a:lnTo>
                    <a:pt x="456" y="510"/>
                  </a:lnTo>
                  <a:lnTo>
                    <a:pt x="450" y="516"/>
                  </a:lnTo>
                  <a:lnTo>
                    <a:pt x="426" y="516"/>
                  </a:lnTo>
                  <a:lnTo>
                    <a:pt x="408" y="528"/>
                  </a:lnTo>
                  <a:lnTo>
                    <a:pt x="408" y="546"/>
                  </a:lnTo>
                  <a:lnTo>
                    <a:pt x="414" y="552"/>
                  </a:lnTo>
                  <a:lnTo>
                    <a:pt x="408" y="558"/>
                  </a:lnTo>
                  <a:lnTo>
                    <a:pt x="402" y="564"/>
                  </a:lnTo>
                  <a:lnTo>
                    <a:pt x="384" y="564"/>
                  </a:lnTo>
                  <a:lnTo>
                    <a:pt x="372" y="564"/>
                  </a:lnTo>
                  <a:lnTo>
                    <a:pt x="372" y="576"/>
                  </a:lnTo>
                  <a:lnTo>
                    <a:pt x="366" y="576"/>
                  </a:lnTo>
                  <a:lnTo>
                    <a:pt x="366" y="582"/>
                  </a:lnTo>
                  <a:lnTo>
                    <a:pt x="360" y="582"/>
                  </a:lnTo>
                  <a:lnTo>
                    <a:pt x="348" y="576"/>
                  </a:lnTo>
                  <a:lnTo>
                    <a:pt x="336" y="570"/>
                  </a:lnTo>
                  <a:lnTo>
                    <a:pt x="324" y="570"/>
                  </a:lnTo>
                  <a:lnTo>
                    <a:pt x="300" y="564"/>
                  </a:lnTo>
                  <a:lnTo>
                    <a:pt x="282" y="564"/>
                  </a:lnTo>
                  <a:lnTo>
                    <a:pt x="270" y="570"/>
                  </a:lnTo>
                  <a:lnTo>
                    <a:pt x="264" y="576"/>
                  </a:lnTo>
                  <a:lnTo>
                    <a:pt x="258" y="576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34" y="594"/>
                  </a:lnTo>
                  <a:lnTo>
                    <a:pt x="228" y="600"/>
                  </a:lnTo>
                  <a:lnTo>
                    <a:pt x="210" y="618"/>
                  </a:lnTo>
                  <a:lnTo>
                    <a:pt x="210" y="624"/>
                  </a:lnTo>
                  <a:lnTo>
                    <a:pt x="192" y="630"/>
                  </a:lnTo>
                  <a:lnTo>
                    <a:pt x="186" y="630"/>
                  </a:lnTo>
                  <a:lnTo>
                    <a:pt x="180" y="636"/>
                  </a:lnTo>
                  <a:lnTo>
                    <a:pt x="174" y="642"/>
                  </a:lnTo>
                  <a:lnTo>
                    <a:pt x="168" y="642"/>
                  </a:lnTo>
                  <a:lnTo>
                    <a:pt x="168" y="654"/>
                  </a:lnTo>
                  <a:lnTo>
                    <a:pt x="168" y="678"/>
                  </a:lnTo>
                  <a:lnTo>
                    <a:pt x="162" y="684"/>
                  </a:lnTo>
                  <a:lnTo>
                    <a:pt x="156" y="684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72"/>
                  </a:lnTo>
                  <a:lnTo>
                    <a:pt x="138" y="672"/>
                  </a:lnTo>
                  <a:lnTo>
                    <a:pt x="138" y="666"/>
                  </a:lnTo>
                  <a:lnTo>
                    <a:pt x="132" y="660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48"/>
                  </a:lnTo>
                  <a:lnTo>
                    <a:pt x="102" y="654"/>
                  </a:lnTo>
                  <a:lnTo>
                    <a:pt x="90" y="654"/>
                  </a:lnTo>
                  <a:lnTo>
                    <a:pt x="84" y="654"/>
                  </a:lnTo>
                  <a:lnTo>
                    <a:pt x="72" y="660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36" y="684"/>
                  </a:lnTo>
                  <a:lnTo>
                    <a:pt x="30" y="6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7" name="Freeform 22">
              <a:extLst>
                <a:ext uri="{FF2B5EF4-FFF2-40B4-BE49-F238E27FC236}">
                  <a16:creationId xmlns:a16="http://schemas.microsoft.com/office/drawing/2014/main" id="{2F7A477D-6CF8-44B3-8B32-64EE03DC4D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2895" y="3967106"/>
              <a:ext cx="610479" cy="507686"/>
            </a:xfrm>
            <a:custGeom>
              <a:avLst/>
              <a:gdLst>
                <a:gd name="T0" fmla="*/ 87 w 1146"/>
                <a:gd name="T1" fmla="*/ 56 h 954"/>
                <a:gd name="T2" fmla="*/ 83 w 1146"/>
                <a:gd name="T3" fmla="*/ 66 h 954"/>
                <a:gd name="T4" fmla="*/ 74 w 1146"/>
                <a:gd name="T5" fmla="*/ 69 h 954"/>
                <a:gd name="T6" fmla="*/ 67 w 1146"/>
                <a:gd name="T7" fmla="*/ 75 h 954"/>
                <a:gd name="T8" fmla="*/ 59 w 1146"/>
                <a:gd name="T9" fmla="*/ 78 h 954"/>
                <a:gd name="T10" fmla="*/ 52 w 1146"/>
                <a:gd name="T11" fmla="*/ 77 h 954"/>
                <a:gd name="T12" fmla="*/ 48 w 1146"/>
                <a:gd name="T13" fmla="*/ 79 h 954"/>
                <a:gd name="T14" fmla="*/ 41 w 1146"/>
                <a:gd name="T15" fmla="*/ 82 h 954"/>
                <a:gd name="T16" fmla="*/ 29 w 1146"/>
                <a:gd name="T17" fmla="*/ 78 h 954"/>
                <a:gd name="T18" fmla="*/ 28 w 1146"/>
                <a:gd name="T19" fmla="*/ 76 h 954"/>
                <a:gd name="T20" fmla="*/ 28 w 1146"/>
                <a:gd name="T21" fmla="*/ 72 h 954"/>
                <a:gd name="T22" fmla="*/ 28 w 1146"/>
                <a:gd name="T23" fmla="*/ 74 h 954"/>
                <a:gd name="T24" fmla="*/ 21 w 1146"/>
                <a:gd name="T25" fmla="*/ 74 h 954"/>
                <a:gd name="T26" fmla="*/ 20 w 1146"/>
                <a:gd name="T27" fmla="*/ 67 h 954"/>
                <a:gd name="T28" fmla="*/ 23 w 1146"/>
                <a:gd name="T29" fmla="*/ 64 h 954"/>
                <a:gd name="T30" fmla="*/ 28 w 1146"/>
                <a:gd name="T31" fmla="*/ 65 h 954"/>
                <a:gd name="T32" fmla="*/ 32 w 1146"/>
                <a:gd name="T33" fmla="*/ 62 h 954"/>
                <a:gd name="T34" fmla="*/ 31 w 1146"/>
                <a:gd name="T35" fmla="*/ 56 h 954"/>
                <a:gd name="T36" fmla="*/ 36 w 1146"/>
                <a:gd name="T37" fmla="*/ 54 h 954"/>
                <a:gd name="T38" fmla="*/ 38 w 1146"/>
                <a:gd name="T39" fmla="*/ 54 h 954"/>
                <a:gd name="T40" fmla="*/ 32 w 1146"/>
                <a:gd name="T41" fmla="*/ 54 h 954"/>
                <a:gd name="T42" fmla="*/ 29 w 1146"/>
                <a:gd name="T43" fmla="*/ 59 h 954"/>
                <a:gd name="T44" fmla="*/ 26 w 1146"/>
                <a:gd name="T45" fmla="*/ 59 h 954"/>
                <a:gd name="T46" fmla="*/ 25 w 1146"/>
                <a:gd name="T47" fmla="*/ 61 h 954"/>
                <a:gd name="T48" fmla="*/ 20 w 1146"/>
                <a:gd name="T49" fmla="*/ 61 h 954"/>
                <a:gd name="T50" fmla="*/ 11 w 1146"/>
                <a:gd name="T51" fmla="*/ 54 h 954"/>
                <a:gd name="T52" fmla="*/ 14 w 1146"/>
                <a:gd name="T53" fmla="*/ 50 h 954"/>
                <a:gd name="T54" fmla="*/ 21 w 1146"/>
                <a:gd name="T55" fmla="*/ 51 h 954"/>
                <a:gd name="T56" fmla="*/ 24 w 1146"/>
                <a:gd name="T57" fmla="*/ 50 h 954"/>
                <a:gd name="T58" fmla="*/ 28 w 1146"/>
                <a:gd name="T59" fmla="*/ 48 h 954"/>
                <a:gd name="T60" fmla="*/ 30 w 1146"/>
                <a:gd name="T61" fmla="*/ 49 h 954"/>
                <a:gd name="T62" fmla="*/ 26 w 1146"/>
                <a:gd name="T63" fmla="*/ 47 h 954"/>
                <a:gd name="T64" fmla="*/ 20 w 1146"/>
                <a:gd name="T65" fmla="*/ 50 h 954"/>
                <a:gd name="T66" fmla="*/ 20 w 1146"/>
                <a:gd name="T67" fmla="*/ 44 h 954"/>
                <a:gd name="T68" fmla="*/ 19 w 1146"/>
                <a:gd name="T69" fmla="*/ 46 h 954"/>
                <a:gd name="T70" fmla="*/ 15 w 1146"/>
                <a:gd name="T71" fmla="*/ 49 h 954"/>
                <a:gd name="T72" fmla="*/ 8 w 1146"/>
                <a:gd name="T73" fmla="*/ 48 h 954"/>
                <a:gd name="T74" fmla="*/ 6 w 1146"/>
                <a:gd name="T75" fmla="*/ 41 h 954"/>
                <a:gd name="T76" fmla="*/ 10 w 1146"/>
                <a:gd name="T77" fmla="*/ 41 h 954"/>
                <a:gd name="T78" fmla="*/ 9 w 1146"/>
                <a:gd name="T79" fmla="*/ 39 h 954"/>
                <a:gd name="T80" fmla="*/ 14 w 1146"/>
                <a:gd name="T81" fmla="*/ 35 h 954"/>
                <a:gd name="T82" fmla="*/ 19 w 1146"/>
                <a:gd name="T83" fmla="*/ 32 h 954"/>
                <a:gd name="T84" fmla="*/ 20 w 1146"/>
                <a:gd name="T85" fmla="*/ 29 h 954"/>
                <a:gd name="T86" fmla="*/ 27 w 1146"/>
                <a:gd name="T87" fmla="*/ 27 h 954"/>
                <a:gd name="T88" fmla="*/ 33 w 1146"/>
                <a:gd name="T89" fmla="*/ 28 h 954"/>
                <a:gd name="T90" fmla="*/ 44 w 1146"/>
                <a:gd name="T91" fmla="*/ 27 h 954"/>
                <a:gd name="T92" fmla="*/ 52 w 1146"/>
                <a:gd name="T93" fmla="*/ 41 h 954"/>
                <a:gd name="T94" fmla="*/ 61 w 1146"/>
                <a:gd name="T95" fmla="*/ 40 h 954"/>
                <a:gd name="T96" fmla="*/ 69 w 1146"/>
                <a:gd name="T97" fmla="*/ 34 h 954"/>
                <a:gd name="T98" fmla="*/ 62 w 1146"/>
                <a:gd name="T99" fmla="*/ 12 h 954"/>
                <a:gd name="T100" fmla="*/ 74 w 1146"/>
                <a:gd name="T101" fmla="*/ 8 h 954"/>
                <a:gd name="T102" fmla="*/ 87 w 1146"/>
                <a:gd name="T103" fmla="*/ 1 h 954"/>
                <a:gd name="T104" fmla="*/ 99 w 1146"/>
                <a:gd name="T105" fmla="*/ 12 h 954"/>
                <a:gd name="T106" fmla="*/ 98 w 1146"/>
                <a:gd name="T107" fmla="*/ 27 h 954"/>
                <a:gd name="T108" fmla="*/ 16 w 1146"/>
                <a:gd name="T109" fmla="*/ 33 h 954"/>
                <a:gd name="T110" fmla="*/ 11 w 1146"/>
                <a:gd name="T111" fmla="*/ 36 h 954"/>
                <a:gd name="T112" fmla="*/ 5 w 1146"/>
                <a:gd name="T113" fmla="*/ 41 h 954"/>
                <a:gd name="T114" fmla="*/ 2 w 1146"/>
                <a:gd name="T115" fmla="*/ 36 h 954"/>
                <a:gd name="T116" fmla="*/ 5 w 1146"/>
                <a:gd name="T117" fmla="*/ 26 h 954"/>
                <a:gd name="T118" fmla="*/ 10 w 1146"/>
                <a:gd name="T119" fmla="*/ 20 h 954"/>
                <a:gd name="T120" fmla="*/ 13 w 1146"/>
                <a:gd name="T121" fmla="*/ 20 h 954"/>
                <a:gd name="T122" fmla="*/ 15 w 1146"/>
                <a:gd name="T123" fmla="*/ 27 h 95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46"/>
                <a:gd name="T187" fmla="*/ 0 h 954"/>
                <a:gd name="T188" fmla="*/ 1146 w 1146"/>
                <a:gd name="T189" fmla="*/ 954 h 95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46" h="954">
                  <a:moveTo>
                    <a:pt x="1056" y="498"/>
                  </a:moveTo>
                  <a:lnTo>
                    <a:pt x="1044" y="510"/>
                  </a:lnTo>
                  <a:lnTo>
                    <a:pt x="1032" y="516"/>
                  </a:lnTo>
                  <a:lnTo>
                    <a:pt x="1038" y="528"/>
                  </a:lnTo>
                  <a:lnTo>
                    <a:pt x="1050" y="540"/>
                  </a:lnTo>
                  <a:lnTo>
                    <a:pt x="1050" y="546"/>
                  </a:lnTo>
                  <a:lnTo>
                    <a:pt x="1050" y="564"/>
                  </a:lnTo>
                  <a:lnTo>
                    <a:pt x="1038" y="576"/>
                  </a:lnTo>
                  <a:lnTo>
                    <a:pt x="1032" y="588"/>
                  </a:lnTo>
                  <a:lnTo>
                    <a:pt x="1020" y="594"/>
                  </a:lnTo>
                  <a:lnTo>
                    <a:pt x="1008" y="594"/>
                  </a:lnTo>
                  <a:lnTo>
                    <a:pt x="1002" y="600"/>
                  </a:lnTo>
                  <a:lnTo>
                    <a:pt x="996" y="612"/>
                  </a:lnTo>
                  <a:lnTo>
                    <a:pt x="996" y="624"/>
                  </a:lnTo>
                  <a:lnTo>
                    <a:pt x="996" y="648"/>
                  </a:lnTo>
                  <a:lnTo>
                    <a:pt x="996" y="660"/>
                  </a:lnTo>
                  <a:lnTo>
                    <a:pt x="1002" y="672"/>
                  </a:lnTo>
                  <a:lnTo>
                    <a:pt x="1002" y="684"/>
                  </a:lnTo>
                  <a:lnTo>
                    <a:pt x="996" y="684"/>
                  </a:lnTo>
                  <a:lnTo>
                    <a:pt x="984" y="690"/>
                  </a:lnTo>
                  <a:lnTo>
                    <a:pt x="972" y="690"/>
                  </a:lnTo>
                  <a:lnTo>
                    <a:pt x="966" y="696"/>
                  </a:lnTo>
                  <a:lnTo>
                    <a:pt x="966" y="702"/>
                  </a:lnTo>
                  <a:lnTo>
                    <a:pt x="966" y="714"/>
                  </a:lnTo>
                  <a:lnTo>
                    <a:pt x="972" y="726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2" y="756"/>
                  </a:lnTo>
                  <a:lnTo>
                    <a:pt x="966" y="756"/>
                  </a:lnTo>
                  <a:lnTo>
                    <a:pt x="942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18" y="768"/>
                  </a:lnTo>
                  <a:lnTo>
                    <a:pt x="906" y="768"/>
                  </a:lnTo>
                  <a:lnTo>
                    <a:pt x="894" y="762"/>
                  </a:lnTo>
                  <a:lnTo>
                    <a:pt x="882" y="756"/>
                  </a:lnTo>
                  <a:lnTo>
                    <a:pt x="876" y="756"/>
                  </a:lnTo>
                  <a:lnTo>
                    <a:pt x="876" y="762"/>
                  </a:lnTo>
                  <a:lnTo>
                    <a:pt x="864" y="768"/>
                  </a:lnTo>
                  <a:lnTo>
                    <a:pt x="858" y="774"/>
                  </a:lnTo>
                  <a:lnTo>
                    <a:pt x="852" y="774"/>
                  </a:lnTo>
                  <a:lnTo>
                    <a:pt x="840" y="780"/>
                  </a:lnTo>
                  <a:lnTo>
                    <a:pt x="840" y="786"/>
                  </a:lnTo>
                  <a:lnTo>
                    <a:pt x="840" y="792"/>
                  </a:lnTo>
                  <a:lnTo>
                    <a:pt x="840" y="804"/>
                  </a:lnTo>
                  <a:lnTo>
                    <a:pt x="840" y="810"/>
                  </a:lnTo>
                  <a:lnTo>
                    <a:pt x="828" y="816"/>
                  </a:lnTo>
                  <a:lnTo>
                    <a:pt x="810" y="810"/>
                  </a:lnTo>
                  <a:lnTo>
                    <a:pt x="792" y="810"/>
                  </a:lnTo>
                  <a:lnTo>
                    <a:pt x="786" y="816"/>
                  </a:lnTo>
                  <a:lnTo>
                    <a:pt x="780" y="816"/>
                  </a:lnTo>
                  <a:lnTo>
                    <a:pt x="780" y="822"/>
                  </a:lnTo>
                  <a:lnTo>
                    <a:pt x="780" y="828"/>
                  </a:lnTo>
                  <a:lnTo>
                    <a:pt x="780" y="834"/>
                  </a:lnTo>
                  <a:lnTo>
                    <a:pt x="786" y="840"/>
                  </a:lnTo>
                  <a:lnTo>
                    <a:pt x="786" y="846"/>
                  </a:lnTo>
                  <a:lnTo>
                    <a:pt x="786" y="852"/>
                  </a:lnTo>
                  <a:lnTo>
                    <a:pt x="780" y="858"/>
                  </a:lnTo>
                  <a:lnTo>
                    <a:pt x="768" y="858"/>
                  </a:lnTo>
                  <a:lnTo>
                    <a:pt x="762" y="864"/>
                  </a:lnTo>
                  <a:lnTo>
                    <a:pt x="756" y="864"/>
                  </a:lnTo>
                  <a:lnTo>
                    <a:pt x="750" y="870"/>
                  </a:lnTo>
                  <a:lnTo>
                    <a:pt x="744" y="876"/>
                  </a:lnTo>
                  <a:lnTo>
                    <a:pt x="732" y="876"/>
                  </a:lnTo>
                  <a:lnTo>
                    <a:pt x="726" y="876"/>
                  </a:lnTo>
                  <a:lnTo>
                    <a:pt x="720" y="870"/>
                  </a:lnTo>
                  <a:lnTo>
                    <a:pt x="714" y="864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6" y="876"/>
                  </a:lnTo>
                  <a:lnTo>
                    <a:pt x="696" y="882"/>
                  </a:lnTo>
                  <a:lnTo>
                    <a:pt x="696" y="894"/>
                  </a:lnTo>
                  <a:lnTo>
                    <a:pt x="690" y="900"/>
                  </a:lnTo>
                  <a:lnTo>
                    <a:pt x="684" y="900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54" y="888"/>
                  </a:lnTo>
                  <a:lnTo>
                    <a:pt x="654" y="882"/>
                  </a:lnTo>
                  <a:lnTo>
                    <a:pt x="642" y="876"/>
                  </a:lnTo>
                  <a:lnTo>
                    <a:pt x="636" y="876"/>
                  </a:lnTo>
                  <a:lnTo>
                    <a:pt x="630" y="876"/>
                  </a:lnTo>
                  <a:lnTo>
                    <a:pt x="630" y="870"/>
                  </a:lnTo>
                  <a:lnTo>
                    <a:pt x="618" y="858"/>
                  </a:lnTo>
                  <a:lnTo>
                    <a:pt x="612" y="858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06" y="876"/>
                  </a:lnTo>
                  <a:lnTo>
                    <a:pt x="606" y="882"/>
                  </a:lnTo>
                  <a:lnTo>
                    <a:pt x="606" y="888"/>
                  </a:lnTo>
                  <a:lnTo>
                    <a:pt x="600" y="894"/>
                  </a:lnTo>
                  <a:lnTo>
                    <a:pt x="594" y="894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76" y="894"/>
                  </a:lnTo>
                  <a:lnTo>
                    <a:pt x="582" y="900"/>
                  </a:lnTo>
                  <a:lnTo>
                    <a:pt x="576" y="906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64" y="918"/>
                  </a:lnTo>
                  <a:lnTo>
                    <a:pt x="558" y="918"/>
                  </a:lnTo>
                  <a:lnTo>
                    <a:pt x="558" y="912"/>
                  </a:lnTo>
                  <a:lnTo>
                    <a:pt x="552" y="906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06"/>
                  </a:lnTo>
                  <a:lnTo>
                    <a:pt x="534" y="906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0" y="924"/>
                  </a:lnTo>
                  <a:lnTo>
                    <a:pt x="504" y="924"/>
                  </a:lnTo>
                  <a:lnTo>
                    <a:pt x="498" y="930"/>
                  </a:lnTo>
                  <a:lnTo>
                    <a:pt x="492" y="924"/>
                  </a:lnTo>
                  <a:lnTo>
                    <a:pt x="486" y="930"/>
                  </a:lnTo>
                  <a:lnTo>
                    <a:pt x="480" y="942"/>
                  </a:lnTo>
                  <a:lnTo>
                    <a:pt x="468" y="948"/>
                  </a:lnTo>
                  <a:lnTo>
                    <a:pt x="444" y="942"/>
                  </a:lnTo>
                  <a:lnTo>
                    <a:pt x="438" y="954"/>
                  </a:lnTo>
                  <a:lnTo>
                    <a:pt x="426" y="954"/>
                  </a:lnTo>
                  <a:lnTo>
                    <a:pt x="420" y="948"/>
                  </a:lnTo>
                  <a:lnTo>
                    <a:pt x="408" y="936"/>
                  </a:lnTo>
                  <a:lnTo>
                    <a:pt x="396" y="936"/>
                  </a:lnTo>
                  <a:lnTo>
                    <a:pt x="390" y="930"/>
                  </a:lnTo>
                  <a:lnTo>
                    <a:pt x="390" y="924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66" y="924"/>
                  </a:lnTo>
                  <a:lnTo>
                    <a:pt x="360" y="924"/>
                  </a:lnTo>
                  <a:lnTo>
                    <a:pt x="348" y="918"/>
                  </a:lnTo>
                  <a:lnTo>
                    <a:pt x="342" y="906"/>
                  </a:lnTo>
                  <a:lnTo>
                    <a:pt x="336" y="906"/>
                  </a:lnTo>
                  <a:lnTo>
                    <a:pt x="330" y="906"/>
                  </a:lnTo>
                  <a:lnTo>
                    <a:pt x="312" y="906"/>
                  </a:lnTo>
                  <a:lnTo>
                    <a:pt x="312" y="900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888"/>
                  </a:lnTo>
                  <a:lnTo>
                    <a:pt x="312" y="882"/>
                  </a:lnTo>
                  <a:lnTo>
                    <a:pt x="306" y="876"/>
                  </a:lnTo>
                  <a:lnTo>
                    <a:pt x="312" y="876"/>
                  </a:lnTo>
                  <a:lnTo>
                    <a:pt x="312" y="870"/>
                  </a:lnTo>
                  <a:lnTo>
                    <a:pt x="318" y="876"/>
                  </a:lnTo>
                  <a:lnTo>
                    <a:pt x="318" y="870"/>
                  </a:lnTo>
                  <a:lnTo>
                    <a:pt x="324" y="876"/>
                  </a:lnTo>
                  <a:lnTo>
                    <a:pt x="330" y="876"/>
                  </a:lnTo>
                  <a:lnTo>
                    <a:pt x="336" y="876"/>
                  </a:lnTo>
                  <a:lnTo>
                    <a:pt x="342" y="876"/>
                  </a:lnTo>
                  <a:lnTo>
                    <a:pt x="336" y="876"/>
                  </a:lnTo>
                  <a:lnTo>
                    <a:pt x="330" y="870"/>
                  </a:lnTo>
                  <a:lnTo>
                    <a:pt x="324" y="870"/>
                  </a:lnTo>
                  <a:lnTo>
                    <a:pt x="318" y="870"/>
                  </a:lnTo>
                  <a:lnTo>
                    <a:pt x="312" y="870"/>
                  </a:lnTo>
                  <a:lnTo>
                    <a:pt x="318" y="864"/>
                  </a:lnTo>
                  <a:lnTo>
                    <a:pt x="318" y="858"/>
                  </a:lnTo>
                  <a:lnTo>
                    <a:pt x="318" y="852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6" y="846"/>
                  </a:lnTo>
                  <a:lnTo>
                    <a:pt x="312" y="828"/>
                  </a:lnTo>
                  <a:lnTo>
                    <a:pt x="312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06" y="816"/>
                  </a:lnTo>
                  <a:lnTo>
                    <a:pt x="306" y="810"/>
                  </a:lnTo>
                  <a:lnTo>
                    <a:pt x="306" y="816"/>
                  </a:lnTo>
                  <a:lnTo>
                    <a:pt x="312" y="822"/>
                  </a:lnTo>
                  <a:lnTo>
                    <a:pt x="306" y="822"/>
                  </a:lnTo>
                  <a:lnTo>
                    <a:pt x="306" y="828"/>
                  </a:lnTo>
                  <a:lnTo>
                    <a:pt x="306" y="834"/>
                  </a:lnTo>
                  <a:lnTo>
                    <a:pt x="300" y="840"/>
                  </a:lnTo>
                  <a:lnTo>
                    <a:pt x="300" y="846"/>
                  </a:lnTo>
                  <a:lnTo>
                    <a:pt x="306" y="852"/>
                  </a:lnTo>
                  <a:lnTo>
                    <a:pt x="306" y="858"/>
                  </a:lnTo>
                  <a:lnTo>
                    <a:pt x="312" y="858"/>
                  </a:lnTo>
                  <a:lnTo>
                    <a:pt x="312" y="864"/>
                  </a:lnTo>
                  <a:lnTo>
                    <a:pt x="306" y="864"/>
                  </a:lnTo>
                  <a:lnTo>
                    <a:pt x="300" y="864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82" y="870"/>
                  </a:lnTo>
                  <a:lnTo>
                    <a:pt x="276" y="870"/>
                  </a:lnTo>
                  <a:lnTo>
                    <a:pt x="270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8" y="870"/>
                  </a:lnTo>
                  <a:lnTo>
                    <a:pt x="252" y="870"/>
                  </a:lnTo>
                  <a:lnTo>
                    <a:pt x="252" y="864"/>
                  </a:lnTo>
                  <a:lnTo>
                    <a:pt x="246" y="858"/>
                  </a:lnTo>
                  <a:lnTo>
                    <a:pt x="246" y="852"/>
                  </a:lnTo>
                  <a:lnTo>
                    <a:pt x="246" y="846"/>
                  </a:lnTo>
                  <a:lnTo>
                    <a:pt x="246" y="840"/>
                  </a:lnTo>
                  <a:lnTo>
                    <a:pt x="246" y="834"/>
                  </a:lnTo>
                  <a:lnTo>
                    <a:pt x="246" y="828"/>
                  </a:lnTo>
                  <a:lnTo>
                    <a:pt x="246" y="822"/>
                  </a:lnTo>
                  <a:lnTo>
                    <a:pt x="240" y="816"/>
                  </a:lnTo>
                  <a:lnTo>
                    <a:pt x="240" y="810"/>
                  </a:lnTo>
                  <a:lnTo>
                    <a:pt x="240" y="804"/>
                  </a:lnTo>
                  <a:lnTo>
                    <a:pt x="240" y="798"/>
                  </a:lnTo>
                  <a:lnTo>
                    <a:pt x="234" y="798"/>
                  </a:lnTo>
                  <a:lnTo>
                    <a:pt x="234" y="792"/>
                  </a:lnTo>
                  <a:lnTo>
                    <a:pt x="234" y="786"/>
                  </a:lnTo>
                  <a:lnTo>
                    <a:pt x="234" y="780"/>
                  </a:lnTo>
                  <a:lnTo>
                    <a:pt x="228" y="780"/>
                  </a:lnTo>
                  <a:lnTo>
                    <a:pt x="228" y="774"/>
                  </a:lnTo>
                  <a:lnTo>
                    <a:pt x="228" y="768"/>
                  </a:lnTo>
                  <a:lnTo>
                    <a:pt x="222" y="762"/>
                  </a:lnTo>
                  <a:lnTo>
                    <a:pt x="222" y="756"/>
                  </a:lnTo>
                  <a:lnTo>
                    <a:pt x="222" y="750"/>
                  </a:lnTo>
                  <a:lnTo>
                    <a:pt x="222" y="744"/>
                  </a:lnTo>
                  <a:lnTo>
                    <a:pt x="222" y="738"/>
                  </a:lnTo>
                  <a:lnTo>
                    <a:pt x="216" y="732"/>
                  </a:lnTo>
                  <a:lnTo>
                    <a:pt x="222" y="732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32"/>
                  </a:lnTo>
                  <a:lnTo>
                    <a:pt x="246" y="732"/>
                  </a:lnTo>
                  <a:lnTo>
                    <a:pt x="246" y="738"/>
                  </a:lnTo>
                  <a:lnTo>
                    <a:pt x="252" y="738"/>
                  </a:lnTo>
                  <a:lnTo>
                    <a:pt x="258" y="738"/>
                  </a:lnTo>
                  <a:lnTo>
                    <a:pt x="258" y="732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8" y="732"/>
                  </a:lnTo>
                  <a:lnTo>
                    <a:pt x="294" y="732"/>
                  </a:lnTo>
                  <a:lnTo>
                    <a:pt x="300" y="732"/>
                  </a:lnTo>
                  <a:lnTo>
                    <a:pt x="300" y="738"/>
                  </a:lnTo>
                  <a:lnTo>
                    <a:pt x="306" y="738"/>
                  </a:lnTo>
                  <a:lnTo>
                    <a:pt x="306" y="744"/>
                  </a:lnTo>
                  <a:lnTo>
                    <a:pt x="306" y="750"/>
                  </a:lnTo>
                  <a:lnTo>
                    <a:pt x="312" y="750"/>
                  </a:lnTo>
                  <a:lnTo>
                    <a:pt x="312" y="756"/>
                  </a:lnTo>
                  <a:lnTo>
                    <a:pt x="318" y="756"/>
                  </a:lnTo>
                  <a:lnTo>
                    <a:pt x="318" y="750"/>
                  </a:lnTo>
                  <a:lnTo>
                    <a:pt x="312" y="750"/>
                  </a:lnTo>
                  <a:lnTo>
                    <a:pt x="312" y="744"/>
                  </a:lnTo>
                  <a:lnTo>
                    <a:pt x="318" y="738"/>
                  </a:lnTo>
                  <a:lnTo>
                    <a:pt x="324" y="738"/>
                  </a:lnTo>
                  <a:lnTo>
                    <a:pt x="330" y="738"/>
                  </a:lnTo>
                  <a:lnTo>
                    <a:pt x="336" y="738"/>
                  </a:lnTo>
                  <a:lnTo>
                    <a:pt x="342" y="738"/>
                  </a:lnTo>
                  <a:lnTo>
                    <a:pt x="348" y="732"/>
                  </a:lnTo>
                  <a:lnTo>
                    <a:pt x="354" y="732"/>
                  </a:lnTo>
                  <a:lnTo>
                    <a:pt x="360" y="732"/>
                  </a:lnTo>
                  <a:lnTo>
                    <a:pt x="360" y="726"/>
                  </a:lnTo>
                  <a:lnTo>
                    <a:pt x="366" y="726"/>
                  </a:lnTo>
                  <a:lnTo>
                    <a:pt x="366" y="720"/>
                  </a:lnTo>
                  <a:lnTo>
                    <a:pt x="366" y="714"/>
                  </a:lnTo>
                  <a:lnTo>
                    <a:pt x="360" y="708"/>
                  </a:lnTo>
                  <a:lnTo>
                    <a:pt x="354" y="708"/>
                  </a:lnTo>
                  <a:lnTo>
                    <a:pt x="348" y="702"/>
                  </a:lnTo>
                  <a:lnTo>
                    <a:pt x="354" y="702"/>
                  </a:lnTo>
                  <a:lnTo>
                    <a:pt x="354" y="696"/>
                  </a:lnTo>
                  <a:lnTo>
                    <a:pt x="348" y="696"/>
                  </a:lnTo>
                  <a:lnTo>
                    <a:pt x="348" y="690"/>
                  </a:lnTo>
                  <a:lnTo>
                    <a:pt x="342" y="690"/>
                  </a:lnTo>
                  <a:lnTo>
                    <a:pt x="342" y="684"/>
                  </a:lnTo>
                  <a:lnTo>
                    <a:pt x="342" y="678"/>
                  </a:lnTo>
                  <a:lnTo>
                    <a:pt x="342" y="666"/>
                  </a:lnTo>
                  <a:lnTo>
                    <a:pt x="342" y="660"/>
                  </a:lnTo>
                  <a:lnTo>
                    <a:pt x="348" y="654"/>
                  </a:lnTo>
                  <a:lnTo>
                    <a:pt x="348" y="642"/>
                  </a:lnTo>
                  <a:lnTo>
                    <a:pt x="354" y="642"/>
                  </a:lnTo>
                  <a:lnTo>
                    <a:pt x="360" y="642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66" y="642"/>
                  </a:lnTo>
                  <a:lnTo>
                    <a:pt x="372" y="642"/>
                  </a:lnTo>
                  <a:lnTo>
                    <a:pt x="378" y="642"/>
                  </a:lnTo>
                  <a:lnTo>
                    <a:pt x="384" y="642"/>
                  </a:lnTo>
                  <a:lnTo>
                    <a:pt x="390" y="642"/>
                  </a:lnTo>
                  <a:lnTo>
                    <a:pt x="396" y="642"/>
                  </a:lnTo>
                  <a:lnTo>
                    <a:pt x="396" y="636"/>
                  </a:lnTo>
                  <a:lnTo>
                    <a:pt x="402" y="636"/>
                  </a:lnTo>
                  <a:lnTo>
                    <a:pt x="408" y="636"/>
                  </a:lnTo>
                  <a:lnTo>
                    <a:pt x="402" y="636"/>
                  </a:lnTo>
                  <a:lnTo>
                    <a:pt x="402" y="630"/>
                  </a:lnTo>
                  <a:lnTo>
                    <a:pt x="408" y="630"/>
                  </a:lnTo>
                  <a:lnTo>
                    <a:pt x="408" y="624"/>
                  </a:lnTo>
                  <a:lnTo>
                    <a:pt x="408" y="618"/>
                  </a:lnTo>
                  <a:lnTo>
                    <a:pt x="414" y="618"/>
                  </a:lnTo>
                  <a:lnTo>
                    <a:pt x="420" y="618"/>
                  </a:lnTo>
                  <a:lnTo>
                    <a:pt x="426" y="624"/>
                  </a:lnTo>
                  <a:lnTo>
                    <a:pt x="432" y="624"/>
                  </a:lnTo>
                  <a:lnTo>
                    <a:pt x="438" y="624"/>
                  </a:lnTo>
                  <a:lnTo>
                    <a:pt x="438" y="618"/>
                  </a:lnTo>
                  <a:lnTo>
                    <a:pt x="444" y="618"/>
                  </a:lnTo>
                  <a:lnTo>
                    <a:pt x="450" y="618"/>
                  </a:lnTo>
                  <a:lnTo>
                    <a:pt x="444" y="618"/>
                  </a:lnTo>
                  <a:lnTo>
                    <a:pt x="438" y="618"/>
                  </a:lnTo>
                  <a:lnTo>
                    <a:pt x="438" y="612"/>
                  </a:lnTo>
                  <a:lnTo>
                    <a:pt x="438" y="618"/>
                  </a:lnTo>
                  <a:lnTo>
                    <a:pt x="432" y="624"/>
                  </a:lnTo>
                  <a:lnTo>
                    <a:pt x="426" y="618"/>
                  </a:lnTo>
                  <a:lnTo>
                    <a:pt x="420" y="612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402" y="624"/>
                  </a:lnTo>
                  <a:lnTo>
                    <a:pt x="396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78" y="630"/>
                  </a:lnTo>
                  <a:lnTo>
                    <a:pt x="378" y="636"/>
                  </a:lnTo>
                  <a:lnTo>
                    <a:pt x="372" y="630"/>
                  </a:lnTo>
                  <a:lnTo>
                    <a:pt x="366" y="630"/>
                  </a:lnTo>
                  <a:lnTo>
                    <a:pt x="360" y="630"/>
                  </a:lnTo>
                  <a:lnTo>
                    <a:pt x="354" y="630"/>
                  </a:lnTo>
                  <a:lnTo>
                    <a:pt x="354" y="636"/>
                  </a:lnTo>
                  <a:lnTo>
                    <a:pt x="348" y="636"/>
                  </a:lnTo>
                  <a:lnTo>
                    <a:pt x="348" y="642"/>
                  </a:lnTo>
                  <a:lnTo>
                    <a:pt x="342" y="642"/>
                  </a:lnTo>
                  <a:lnTo>
                    <a:pt x="342" y="648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6" y="660"/>
                  </a:lnTo>
                  <a:lnTo>
                    <a:pt x="336" y="666"/>
                  </a:lnTo>
                  <a:lnTo>
                    <a:pt x="330" y="672"/>
                  </a:lnTo>
                  <a:lnTo>
                    <a:pt x="330" y="678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24" y="696"/>
                  </a:lnTo>
                  <a:lnTo>
                    <a:pt x="324" y="702"/>
                  </a:lnTo>
                  <a:lnTo>
                    <a:pt x="318" y="702"/>
                  </a:lnTo>
                  <a:lnTo>
                    <a:pt x="318" y="708"/>
                  </a:lnTo>
                  <a:lnTo>
                    <a:pt x="312" y="708"/>
                  </a:lnTo>
                  <a:lnTo>
                    <a:pt x="312" y="702"/>
                  </a:lnTo>
                  <a:lnTo>
                    <a:pt x="306" y="702"/>
                  </a:lnTo>
                  <a:lnTo>
                    <a:pt x="300" y="702"/>
                  </a:lnTo>
                  <a:lnTo>
                    <a:pt x="294" y="696"/>
                  </a:lnTo>
                  <a:lnTo>
                    <a:pt x="288" y="696"/>
                  </a:lnTo>
                  <a:lnTo>
                    <a:pt x="282" y="690"/>
                  </a:lnTo>
                  <a:lnTo>
                    <a:pt x="288" y="684"/>
                  </a:lnTo>
                  <a:lnTo>
                    <a:pt x="294" y="684"/>
                  </a:lnTo>
                  <a:lnTo>
                    <a:pt x="294" y="678"/>
                  </a:lnTo>
                  <a:lnTo>
                    <a:pt x="300" y="678"/>
                  </a:lnTo>
                  <a:lnTo>
                    <a:pt x="294" y="678"/>
                  </a:lnTo>
                  <a:lnTo>
                    <a:pt x="294" y="672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94" y="672"/>
                  </a:lnTo>
                  <a:lnTo>
                    <a:pt x="288" y="678"/>
                  </a:lnTo>
                  <a:lnTo>
                    <a:pt x="282" y="684"/>
                  </a:lnTo>
                  <a:lnTo>
                    <a:pt x="282" y="678"/>
                  </a:lnTo>
                  <a:lnTo>
                    <a:pt x="276" y="678"/>
                  </a:lnTo>
                  <a:lnTo>
                    <a:pt x="282" y="684"/>
                  </a:lnTo>
                  <a:lnTo>
                    <a:pt x="282" y="690"/>
                  </a:lnTo>
                  <a:lnTo>
                    <a:pt x="282" y="696"/>
                  </a:lnTo>
                  <a:lnTo>
                    <a:pt x="288" y="702"/>
                  </a:lnTo>
                  <a:lnTo>
                    <a:pt x="294" y="708"/>
                  </a:lnTo>
                  <a:lnTo>
                    <a:pt x="294" y="714"/>
                  </a:lnTo>
                  <a:lnTo>
                    <a:pt x="288" y="714"/>
                  </a:lnTo>
                  <a:lnTo>
                    <a:pt x="282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64" y="714"/>
                  </a:lnTo>
                  <a:lnTo>
                    <a:pt x="258" y="714"/>
                  </a:lnTo>
                  <a:lnTo>
                    <a:pt x="252" y="714"/>
                  </a:lnTo>
                  <a:lnTo>
                    <a:pt x="246" y="714"/>
                  </a:lnTo>
                  <a:lnTo>
                    <a:pt x="240" y="714"/>
                  </a:lnTo>
                  <a:lnTo>
                    <a:pt x="240" y="708"/>
                  </a:lnTo>
                  <a:lnTo>
                    <a:pt x="234" y="708"/>
                  </a:lnTo>
                  <a:lnTo>
                    <a:pt x="228" y="708"/>
                  </a:lnTo>
                  <a:lnTo>
                    <a:pt x="222" y="702"/>
                  </a:lnTo>
                  <a:lnTo>
                    <a:pt x="216" y="702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2" y="690"/>
                  </a:lnTo>
                  <a:lnTo>
                    <a:pt x="186" y="690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68" y="684"/>
                  </a:lnTo>
                  <a:lnTo>
                    <a:pt x="168" y="678"/>
                  </a:lnTo>
                  <a:lnTo>
                    <a:pt x="156" y="672"/>
                  </a:lnTo>
                  <a:lnTo>
                    <a:pt x="150" y="660"/>
                  </a:lnTo>
                  <a:lnTo>
                    <a:pt x="126" y="630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12"/>
                  </a:lnTo>
                  <a:lnTo>
                    <a:pt x="126" y="606"/>
                  </a:lnTo>
                  <a:lnTo>
                    <a:pt x="126" y="600"/>
                  </a:lnTo>
                  <a:lnTo>
                    <a:pt x="132" y="594"/>
                  </a:lnTo>
                  <a:lnTo>
                    <a:pt x="138" y="594"/>
                  </a:lnTo>
                  <a:lnTo>
                    <a:pt x="144" y="588"/>
                  </a:lnTo>
                  <a:lnTo>
                    <a:pt x="144" y="582"/>
                  </a:lnTo>
                  <a:lnTo>
                    <a:pt x="150" y="582"/>
                  </a:lnTo>
                  <a:lnTo>
                    <a:pt x="150" y="576"/>
                  </a:lnTo>
                  <a:lnTo>
                    <a:pt x="156" y="576"/>
                  </a:lnTo>
                  <a:lnTo>
                    <a:pt x="156" y="582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8" y="576"/>
                  </a:lnTo>
                  <a:lnTo>
                    <a:pt x="174" y="576"/>
                  </a:lnTo>
                  <a:lnTo>
                    <a:pt x="180" y="582"/>
                  </a:lnTo>
                  <a:lnTo>
                    <a:pt x="192" y="582"/>
                  </a:lnTo>
                  <a:lnTo>
                    <a:pt x="198" y="582"/>
                  </a:lnTo>
                  <a:lnTo>
                    <a:pt x="204" y="582"/>
                  </a:lnTo>
                  <a:lnTo>
                    <a:pt x="210" y="582"/>
                  </a:lnTo>
                  <a:lnTo>
                    <a:pt x="216" y="588"/>
                  </a:lnTo>
                  <a:lnTo>
                    <a:pt x="222" y="588"/>
                  </a:lnTo>
                  <a:lnTo>
                    <a:pt x="234" y="588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46" y="594"/>
                  </a:lnTo>
                  <a:lnTo>
                    <a:pt x="252" y="588"/>
                  </a:lnTo>
                  <a:lnTo>
                    <a:pt x="258" y="588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52" y="600"/>
                  </a:lnTo>
                  <a:lnTo>
                    <a:pt x="246" y="600"/>
                  </a:lnTo>
                  <a:lnTo>
                    <a:pt x="246" y="606"/>
                  </a:lnTo>
                  <a:lnTo>
                    <a:pt x="246" y="600"/>
                  </a:lnTo>
                  <a:lnTo>
                    <a:pt x="252" y="600"/>
                  </a:lnTo>
                  <a:lnTo>
                    <a:pt x="258" y="594"/>
                  </a:lnTo>
                  <a:lnTo>
                    <a:pt x="264" y="594"/>
                  </a:lnTo>
                  <a:lnTo>
                    <a:pt x="264" y="588"/>
                  </a:lnTo>
                  <a:lnTo>
                    <a:pt x="270" y="588"/>
                  </a:lnTo>
                  <a:lnTo>
                    <a:pt x="270" y="582"/>
                  </a:lnTo>
                  <a:lnTo>
                    <a:pt x="270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76" y="564"/>
                  </a:lnTo>
                  <a:lnTo>
                    <a:pt x="270" y="558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58"/>
                  </a:lnTo>
                  <a:lnTo>
                    <a:pt x="282" y="558"/>
                  </a:lnTo>
                  <a:lnTo>
                    <a:pt x="288" y="558"/>
                  </a:lnTo>
                  <a:lnTo>
                    <a:pt x="294" y="558"/>
                  </a:lnTo>
                  <a:lnTo>
                    <a:pt x="300" y="558"/>
                  </a:lnTo>
                  <a:lnTo>
                    <a:pt x="306" y="558"/>
                  </a:lnTo>
                  <a:lnTo>
                    <a:pt x="312" y="558"/>
                  </a:lnTo>
                  <a:lnTo>
                    <a:pt x="318" y="558"/>
                  </a:lnTo>
                  <a:lnTo>
                    <a:pt x="318" y="564"/>
                  </a:lnTo>
                  <a:lnTo>
                    <a:pt x="324" y="564"/>
                  </a:lnTo>
                  <a:lnTo>
                    <a:pt x="324" y="570"/>
                  </a:lnTo>
                  <a:lnTo>
                    <a:pt x="330" y="570"/>
                  </a:lnTo>
                  <a:lnTo>
                    <a:pt x="336" y="570"/>
                  </a:lnTo>
                  <a:lnTo>
                    <a:pt x="342" y="570"/>
                  </a:lnTo>
                  <a:lnTo>
                    <a:pt x="348" y="570"/>
                  </a:lnTo>
                  <a:lnTo>
                    <a:pt x="354" y="570"/>
                  </a:lnTo>
                  <a:lnTo>
                    <a:pt x="360" y="570"/>
                  </a:lnTo>
                  <a:lnTo>
                    <a:pt x="366" y="570"/>
                  </a:lnTo>
                  <a:lnTo>
                    <a:pt x="360" y="570"/>
                  </a:lnTo>
                  <a:lnTo>
                    <a:pt x="360" y="564"/>
                  </a:lnTo>
                  <a:lnTo>
                    <a:pt x="354" y="564"/>
                  </a:lnTo>
                  <a:lnTo>
                    <a:pt x="348" y="564"/>
                  </a:lnTo>
                  <a:lnTo>
                    <a:pt x="342" y="564"/>
                  </a:lnTo>
                  <a:lnTo>
                    <a:pt x="342" y="570"/>
                  </a:lnTo>
                  <a:lnTo>
                    <a:pt x="336" y="564"/>
                  </a:lnTo>
                  <a:lnTo>
                    <a:pt x="336" y="570"/>
                  </a:lnTo>
                  <a:lnTo>
                    <a:pt x="336" y="564"/>
                  </a:lnTo>
                  <a:lnTo>
                    <a:pt x="330" y="564"/>
                  </a:lnTo>
                  <a:lnTo>
                    <a:pt x="324" y="558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18" y="558"/>
                  </a:lnTo>
                  <a:lnTo>
                    <a:pt x="312" y="552"/>
                  </a:lnTo>
                  <a:lnTo>
                    <a:pt x="312" y="558"/>
                  </a:lnTo>
                  <a:lnTo>
                    <a:pt x="312" y="552"/>
                  </a:lnTo>
                  <a:lnTo>
                    <a:pt x="306" y="552"/>
                  </a:lnTo>
                  <a:lnTo>
                    <a:pt x="300" y="546"/>
                  </a:lnTo>
                  <a:lnTo>
                    <a:pt x="294" y="546"/>
                  </a:lnTo>
                  <a:lnTo>
                    <a:pt x="288" y="546"/>
                  </a:lnTo>
                  <a:lnTo>
                    <a:pt x="282" y="546"/>
                  </a:lnTo>
                  <a:lnTo>
                    <a:pt x="276" y="546"/>
                  </a:lnTo>
                  <a:lnTo>
                    <a:pt x="276" y="552"/>
                  </a:lnTo>
                  <a:lnTo>
                    <a:pt x="270" y="552"/>
                  </a:lnTo>
                  <a:lnTo>
                    <a:pt x="270" y="558"/>
                  </a:lnTo>
                  <a:lnTo>
                    <a:pt x="270" y="564"/>
                  </a:lnTo>
                  <a:lnTo>
                    <a:pt x="264" y="570"/>
                  </a:lnTo>
                  <a:lnTo>
                    <a:pt x="258" y="576"/>
                  </a:lnTo>
                  <a:lnTo>
                    <a:pt x="258" y="582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34" y="576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16" y="552"/>
                  </a:lnTo>
                  <a:lnTo>
                    <a:pt x="216" y="546"/>
                  </a:lnTo>
                  <a:lnTo>
                    <a:pt x="216" y="540"/>
                  </a:lnTo>
                  <a:lnTo>
                    <a:pt x="222" y="534"/>
                  </a:lnTo>
                  <a:lnTo>
                    <a:pt x="222" y="528"/>
                  </a:lnTo>
                  <a:lnTo>
                    <a:pt x="228" y="522"/>
                  </a:lnTo>
                  <a:lnTo>
                    <a:pt x="228" y="516"/>
                  </a:lnTo>
                  <a:lnTo>
                    <a:pt x="228" y="510"/>
                  </a:lnTo>
                  <a:lnTo>
                    <a:pt x="234" y="510"/>
                  </a:lnTo>
                  <a:lnTo>
                    <a:pt x="240" y="516"/>
                  </a:lnTo>
                  <a:lnTo>
                    <a:pt x="246" y="522"/>
                  </a:lnTo>
                  <a:lnTo>
                    <a:pt x="246" y="516"/>
                  </a:lnTo>
                  <a:lnTo>
                    <a:pt x="240" y="516"/>
                  </a:lnTo>
                  <a:lnTo>
                    <a:pt x="240" y="510"/>
                  </a:lnTo>
                  <a:lnTo>
                    <a:pt x="234" y="510"/>
                  </a:lnTo>
                  <a:lnTo>
                    <a:pt x="234" y="504"/>
                  </a:lnTo>
                  <a:lnTo>
                    <a:pt x="228" y="504"/>
                  </a:lnTo>
                  <a:lnTo>
                    <a:pt x="222" y="504"/>
                  </a:lnTo>
                  <a:lnTo>
                    <a:pt x="222" y="498"/>
                  </a:lnTo>
                  <a:lnTo>
                    <a:pt x="222" y="504"/>
                  </a:lnTo>
                  <a:lnTo>
                    <a:pt x="222" y="510"/>
                  </a:lnTo>
                  <a:lnTo>
                    <a:pt x="222" y="516"/>
                  </a:lnTo>
                  <a:lnTo>
                    <a:pt x="216" y="522"/>
                  </a:lnTo>
                  <a:lnTo>
                    <a:pt x="216" y="528"/>
                  </a:lnTo>
                  <a:lnTo>
                    <a:pt x="210" y="528"/>
                  </a:lnTo>
                  <a:lnTo>
                    <a:pt x="216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04" y="546"/>
                  </a:lnTo>
                  <a:lnTo>
                    <a:pt x="204" y="552"/>
                  </a:lnTo>
                  <a:lnTo>
                    <a:pt x="204" y="558"/>
                  </a:lnTo>
                  <a:lnTo>
                    <a:pt x="204" y="564"/>
                  </a:lnTo>
                  <a:lnTo>
                    <a:pt x="198" y="570"/>
                  </a:lnTo>
                  <a:lnTo>
                    <a:pt x="192" y="564"/>
                  </a:lnTo>
                  <a:lnTo>
                    <a:pt x="186" y="564"/>
                  </a:lnTo>
                  <a:lnTo>
                    <a:pt x="180" y="564"/>
                  </a:lnTo>
                  <a:lnTo>
                    <a:pt x="174" y="564"/>
                  </a:lnTo>
                  <a:lnTo>
                    <a:pt x="168" y="564"/>
                  </a:lnTo>
                  <a:lnTo>
                    <a:pt x="162" y="564"/>
                  </a:lnTo>
                  <a:lnTo>
                    <a:pt x="156" y="570"/>
                  </a:lnTo>
                  <a:lnTo>
                    <a:pt x="150" y="570"/>
                  </a:lnTo>
                  <a:lnTo>
                    <a:pt x="150" y="564"/>
                  </a:lnTo>
                  <a:lnTo>
                    <a:pt x="150" y="570"/>
                  </a:lnTo>
                  <a:lnTo>
                    <a:pt x="150" y="576"/>
                  </a:lnTo>
                  <a:lnTo>
                    <a:pt x="144" y="576"/>
                  </a:lnTo>
                  <a:lnTo>
                    <a:pt x="138" y="576"/>
                  </a:lnTo>
                  <a:lnTo>
                    <a:pt x="132" y="582"/>
                  </a:lnTo>
                  <a:lnTo>
                    <a:pt x="126" y="582"/>
                  </a:lnTo>
                  <a:lnTo>
                    <a:pt x="120" y="582"/>
                  </a:lnTo>
                  <a:lnTo>
                    <a:pt x="114" y="576"/>
                  </a:lnTo>
                  <a:lnTo>
                    <a:pt x="108" y="564"/>
                  </a:lnTo>
                  <a:lnTo>
                    <a:pt x="102" y="558"/>
                  </a:lnTo>
                  <a:lnTo>
                    <a:pt x="96" y="552"/>
                  </a:lnTo>
                  <a:lnTo>
                    <a:pt x="90" y="546"/>
                  </a:lnTo>
                  <a:lnTo>
                    <a:pt x="90" y="540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2"/>
                  </a:lnTo>
                  <a:lnTo>
                    <a:pt x="78" y="516"/>
                  </a:lnTo>
                  <a:lnTo>
                    <a:pt x="72" y="510"/>
                  </a:lnTo>
                  <a:lnTo>
                    <a:pt x="66" y="504"/>
                  </a:lnTo>
                  <a:lnTo>
                    <a:pt x="66" y="498"/>
                  </a:lnTo>
                  <a:lnTo>
                    <a:pt x="66" y="492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6" y="474"/>
                  </a:lnTo>
                  <a:lnTo>
                    <a:pt x="72" y="474"/>
                  </a:lnTo>
                  <a:lnTo>
                    <a:pt x="72" y="468"/>
                  </a:lnTo>
                  <a:lnTo>
                    <a:pt x="78" y="462"/>
                  </a:lnTo>
                  <a:lnTo>
                    <a:pt x="78" y="456"/>
                  </a:lnTo>
                  <a:lnTo>
                    <a:pt x="84" y="456"/>
                  </a:lnTo>
                  <a:lnTo>
                    <a:pt x="84" y="450"/>
                  </a:lnTo>
                  <a:lnTo>
                    <a:pt x="84" y="444"/>
                  </a:lnTo>
                  <a:lnTo>
                    <a:pt x="90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02" y="450"/>
                  </a:lnTo>
                  <a:lnTo>
                    <a:pt x="108" y="450"/>
                  </a:lnTo>
                  <a:lnTo>
                    <a:pt x="108" y="456"/>
                  </a:lnTo>
                  <a:lnTo>
                    <a:pt x="108" y="462"/>
                  </a:lnTo>
                  <a:lnTo>
                    <a:pt x="114" y="462"/>
                  </a:lnTo>
                  <a:lnTo>
                    <a:pt x="114" y="468"/>
                  </a:lnTo>
                  <a:lnTo>
                    <a:pt x="114" y="474"/>
                  </a:lnTo>
                  <a:lnTo>
                    <a:pt x="114" y="480"/>
                  </a:lnTo>
                  <a:lnTo>
                    <a:pt x="114" y="486"/>
                  </a:lnTo>
                  <a:lnTo>
                    <a:pt x="120" y="486"/>
                  </a:lnTo>
                  <a:lnTo>
                    <a:pt x="126" y="486"/>
                  </a:lnTo>
                  <a:lnTo>
                    <a:pt x="132" y="486"/>
                  </a:lnTo>
                  <a:lnTo>
                    <a:pt x="126" y="480"/>
                  </a:lnTo>
                  <a:lnTo>
                    <a:pt x="120" y="480"/>
                  </a:lnTo>
                  <a:lnTo>
                    <a:pt x="114" y="480"/>
                  </a:lnTo>
                  <a:lnTo>
                    <a:pt x="120" y="480"/>
                  </a:lnTo>
                  <a:lnTo>
                    <a:pt x="120" y="474"/>
                  </a:lnTo>
                  <a:lnTo>
                    <a:pt x="120" y="468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108" y="450"/>
                  </a:lnTo>
                  <a:lnTo>
                    <a:pt x="108" y="444"/>
                  </a:lnTo>
                  <a:lnTo>
                    <a:pt x="114" y="438"/>
                  </a:lnTo>
                  <a:lnTo>
                    <a:pt x="120" y="438"/>
                  </a:lnTo>
                  <a:lnTo>
                    <a:pt x="120" y="432"/>
                  </a:lnTo>
                  <a:lnTo>
                    <a:pt x="132" y="426"/>
                  </a:lnTo>
                  <a:lnTo>
                    <a:pt x="138" y="420"/>
                  </a:lnTo>
                  <a:lnTo>
                    <a:pt x="144" y="420"/>
                  </a:lnTo>
                  <a:lnTo>
                    <a:pt x="144" y="414"/>
                  </a:lnTo>
                  <a:lnTo>
                    <a:pt x="144" y="420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6" y="414"/>
                  </a:lnTo>
                  <a:lnTo>
                    <a:pt x="162" y="414"/>
                  </a:lnTo>
                  <a:lnTo>
                    <a:pt x="162" y="408"/>
                  </a:lnTo>
                  <a:lnTo>
                    <a:pt x="168" y="408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86" y="396"/>
                  </a:lnTo>
                  <a:lnTo>
                    <a:pt x="186" y="390"/>
                  </a:lnTo>
                  <a:lnTo>
                    <a:pt x="192" y="390"/>
                  </a:lnTo>
                  <a:lnTo>
                    <a:pt x="198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210" y="378"/>
                  </a:lnTo>
                  <a:lnTo>
                    <a:pt x="210" y="372"/>
                  </a:lnTo>
                  <a:lnTo>
                    <a:pt x="216" y="372"/>
                  </a:lnTo>
                  <a:lnTo>
                    <a:pt x="222" y="366"/>
                  </a:lnTo>
                  <a:lnTo>
                    <a:pt x="228" y="360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6" y="348"/>
                  </a:lnTo>
                  <a:lnTo>
                    <a:pt x="252" y="348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0" y="342"/>
                  </a:lnTo>
                  <a:lnTo>
                    <a:pt x="234" y="342"/>
                  </a:lnTo>
                  <a:lnTo>
                    <a:pt x="228" y="336"/>
                  </a:lnTo>
                  <a:lnTo>
                    <a:pt x="222" y="336"/>
                  </a:lnTo>
                  <a:lnTo>
                    <a:pt x="216" y="336"/>
                  </a:lnTo>
                  <a:lnTo>
                    <a:pt x="222" y="324"/>
                  </a:lnTo>
                  <a:lnTo>
                    <a:pt x="222" y="318"/>
                  </a:lnTo>
                  <a:lnTo>
                    <a:pt x="222" y="312"/>
                  </a:lnTo>
                  <a:lnTo>
                    <a:pt x="234" y="318"/>
                  </a:lnTo>
                  <a:lnTo>
                    <a:pt x="246" y="318"/>
                  </a:lnTo>
                  <a:lnTo>
                    <a:pt x="258" y="318"/>
                  </a:lnTo>
                  <a:lnTo>
                    <a:pt x="270" y="312"/>
                  </a:lnTo>
                  <a:lnTo>
                    <a:pt x="276" y="312"/>
                  </a:lnTo>
                  <a:lnTo>
                    <a:pt x="288" y="324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94" y="306"/>
                  </a:lnTo>
                  <a:lnTo>
                    <a:pt x="300" y="300"/>
                  </a:lnTo>
                  <a:lnTo>
                    <a:pt x="306" y="306"/>
                  </a:lnTo>
                  <a:lnTo>
                    <a:pt x="312" y="318"/>
                  </a:lnTo>
                  <a:lnTo>
                    <a:pt x="318" y="312"/>
                  </a:lnTo>
                  <a:lnTo>
                    <a:pt x="324" y="312"/>
                  </a:lnTo>
                  <a:lnTo>
                    <a:pt x="330" y="312"/>
                  </a:lnTo>
                  <a:lnTo>
                    <a:pt x="342" y="306"/>
                  </a:lnTo>
                  <a:lnTo>
                    <a:pt x="348" y="306"/>
                  </a:lnTo>
                  <a:lnTo>
                    <a:pt x="348" y="312"/>
                  </a:lnTo>
                  <a:lnTo>
                    <a:pt x="348" y="318"/>
                  </a:lnTo>
                  <a:lnTo>
                    <a:pt x="354" y="318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60" y="336"/>
                  </a:lnTo>
                  <a:lnTo>
                    <a:pt x="366" y="330"/>
                  </a:lnTo>
                  <a:lnTo>
                    <a:pt x="378" y="324"/>
                  </a:lnTo>
                  <a:lnTo>
                    <a:pt x="384" y="324"/>
                  </a:lnTo>
                  <a:lnTo>
                    <a:pt x="384" y="318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6"/>
                  </a:lnTo>
                  <a:lnTo>
                    <a:pt x="402" y="306"/>
                  </a:lnTo>
                  <a:lnTo>
                    <a:pt x="408" y="306"/>
                  </a:lnTo>
                  <a:lnTo>
                    <a:pt x="414" y="300"/>
                  </a:lnTo>
                  <a:lnTo>
                    <a:pt x="420" y="300"/>
                  </a:lnTo>
                  <a:lnTo>
                    <a:pt x="426" y="300"/>
                  </a:lnTo>
                  <a:lnTo>
                    <a:pt x="432" y="300"/>
                  </a:lnTo>
                  <a:lnTo>
                    <a:pt x="444" y="288"/>
                  </a:lnTo>
                  <a:lnTo>
                    <a:pt x="450" y="294"/>
                  </a:lnTo>
                  <a:lnTo>
                    <a:pt x="468" y="300"/>
                  </a:lnTo>
                  <a:lnTo>
                    <a:pt x="498" y="312"/>
                  </a:lnTo>
                  <a:lnTo>
                    <a:pt x="504" y="324"/>
                  </a:lnTo>
                  <a:lnTo>
                    <a:pt x="516" y="330"/>
                  </a:lnTo>
                  <a:lnTo>
                    <a:pt x="516" y="336"/>
                  </a:lnTo>
                  <a:lnTo>
                    <a:pt x="540" y="342"/>
                  </a:lnTo>
                  <a:lnTo>
                    <a:pt x="558" y="372"/>
                  </a:lnTo>
                  <a:lnTo>
                    <a:pt x="594" y="384"/>
                  </a:lnTo>
                  <a:lnTo>
                    <a:pt x="606" y="402"/>
                  </a:lnTo>
                  <a:lnTo>
                    <a:pt x="600" y="420"/>
                  </a:lnTo>
                  <a:lnTo>
                    <a:pt x="588" y="444"/>
                  </a:lnTo>
                  <a:lnTo>
                    <a:pt x="588" y="450"/>
                  </a:lnTo>
                  <a:lnTo>
                    <a:pt x="588" y="456"/>
                  </a:lnTo>
                  <a:lnTo>
                    <a:pt x="594" y="456"/>
                  </a:lnTo>
                  <a:lnTo>
                    <a:pt x="594" y="462"/>
                  </a:lnTo>
                  <a:lnTo>
                    <a:pt x="594" y="468"/>
                  </a:lnTo>
                  <a:lnTo>
                    <a:pt x="594" y="474"/>
                  </a:lnTo>
                  <a:lnTo>
                    <a:pt x="600" y="474"/>
                  </a:lnTo>
                  <a:lnTo>
                    <a:pt x="606" y="480"/>
                  </a:lnTo>
                  <a:lnTo>
                    <a:pt x="606" y="486"/>
                  </a:lnTo>
                  <a:lnTo>
                    <a:pt x="612" y="486"/>
                  </a:lnTo>
                  <a:lnTo>
                    <a:pt x="618" y="486"/>
                  </a:lnTo>
                  <a:lnTo>
                    <a:pt x="624" y="486"/>
                  </a:lnTo>
                  <a:lnTo>
                    <a:pt x="636" y="486"/>
                  </a:lnTo>
                  <a:lnTo>
                    <a:pt x="642" y="486"/>
                  </a:lnTo>
                  <a:lnTo>
                    <a:pt x="648" y="480"/>
                  </a:lnTo>
                  <a:lnTo>
                    <a:pt x="654" y="474"/>
                  </a:lnTo>
                  <a:lnTo>
                    <a:pt x="660" y="468"/>
                  </a:lnTo>
                  <a:lnTo>
                    <a:pt x="666" y="468"/>
                  </a:lnTo>
                  <a:lnTo>
                    <a:pt x="684" y="468"/>
                  </a:lnTo>
                  <a:lnTo>
                    <a:pt x="696" y="468"/>
                  </a:lnTo>
                  <a:lnTo>
                    <a:pt x="696" y="462"/>
                  </a:lnTo>
                  <a:lnTo>
                    <a:pt x="702" y="456"/>
                  </a:lnTo>
                  <a:lnTo>
                    <a:pt x="708" y="450"/>
                  </a:lnTo>
                  <a:lnTo>
                    <a:pt x="714" y="450"/>
                  </a:lnTo>
                  <a:lnTo>
                    <a:pt x="720" y="450"/>
                  </a:lnTo>
                  <a:lnTo>
                    <a:pt x="720" y="438"/>
                  </a:lnTo>
                  <a:lnTo>
                    <a:pt x="726" y="432"/>
                  </a:lnTo>
                  <a:lnTo>
                    <a:pt x="738" y="420"/>
                  </a:lnTo>
                  <a:lnTo>
                    <a:pt x="744" y="420"/>
                  </a:lnTo>
                  <a:lnTo>
                    <a:pt x="750" y="414"/>
                  </a:lnTo>
                  <a:lnTo>
                    <a:pt x="762" y="408"/>
                  </a:lnTo>
                  <a:lnTo>
                    <a:pt x="768" y="408"/>
                  </a:lnTo>
                  <a:lnTo>
                    <a:pt x="768" y="402"/>
                  </a:lnTo>
                  <a:lnTo>
                    <a:pt x="780" y="396"/>
                  </a:lnTo>
                  <a:lnTo>
                    <a:pt x="786" y="396"/>
                  </a:lnTo>
                  <a:lnTo>
                    <a:pt x="786" y="390"/>
                  </a:lnTo>
                  <a:lnTo>
                    <a:pt x="792" y="384"/>
                  </a:lnTo>
                  <a:lnTo>
                    <a:pt x="792" y="378"/>
                  </a:lnTo>
                  <a:lnTo>
                    <a:pt x="798" y="366"/>
                  </a:lnTo>
                  <a:lnTo>
                    <a:pt x="804" y="360"/>
                  </a:lnTo>
                  <a:lnTo>
                    <a:pt x="816" y="342"/>
                  </a:lnTo>
                  <a:lnTo>
                    <a:pt x="816" y="312"/>
                  </a:lnTo>
                  <a:lnTo>
                    <a:pt x="804" y="300"/>
                  </a:lnTo>
                  <a:lnTo>
                    <a:pt x="798" y="288"/>
                  </a:lnTo>
                  <a:lnTo>
                    <a:pt x="762" y="264"/>
                  </a:lnTo>
                  <a:lnTo>
                    <a:pt x="738" y="234"/>
                  </a:lnTo>
                  <a:lnTo>
                    <a:pt x="738" y="222"/>
                  </a:lnTo>
                  <a:lnTo>
                    <a:pt x="744" y="210"/>
                  </a:lnTo>
                  <a:lnTo>
                    <a:pt x="732" y="174"/>
                  </a:lnTo>
                  <a:lnTo>
                    <a:pt x="714" y="156"/>
                  </a:lnTo>
                  <a:lnTo>
                    <a:pt x="708" y="144"/>
                  </a:lnTo>
                  <a:lnTo>
                    <a:pt x="714" y="126"/>
                  </a:lnTo>
                  <a:lnTo>
                    <a:pt x="720" y="114"/>
                  </a:lnTo>
                  <a:lnTo>
                    <a:pt x="732" y="102"/>
                  </a:lnTo>
                  <a:lnTo>
                    <a:pt x="744" y="102"/>
                  </a:lnTo>
                  <a:lnTo>
                    <a:pt x="762" y="108"/>
                  </a:lnTo>
                  <a:lnTo>
                    <a:pt x="774" y="114"/>
                  </a:lnTo>
                  <a:lnTo>
                    <a:pt x="780" y="138"/>
                  </a:lnTo>
                  <a:lnTo>
                    <a:pt x="786" y="144"/>
                  </a:lnTo>
                  <a:lnTo>
                    <a:pt x="798" y="138"/>
                  </a:lnTo>
                  <a:lnTo>
                    <a:pt x="804" y="132"/>
                  </a:lnTo>
                  <a:lnTo>
                    <a:pt x="816" y="120"/>
                  </a:lnTo>
                  <a:lnTo>
                    <a:pt x="816" y="108"/>
                  </a:lnTo>
                  <a:lnTo>
                    <a:pt x="828" y="102"/>
                  </a:lnTo>
                  <a:lnTo>
                    <a:pt x="828" y="96"/>
                  </a:lnTo>
                  <a:lnTo>
                    <a:pt x="840" y="96"/>
                  </a:lnTo>
                  <a:lnTo>
                    <a:pt x="840" y="84"/>
                  </a:lnTo>
                  <a:lnTo>
                    <a:pt x="852" y="90"/>
                  </a:lnTo>
                  <a:lnTo>
                    <a:pt x="852" y="96"/>
                  </a:lnTo>
                  <a:lnTo>
                    <a:pt x="870" y="90"/>
                  </a:lnTo>
                  <a:lnTo>
                    <a:pt x="894" y="78"/>
                  </a:lnTo>
                  <a:lnTo>
                    <a:pt x="912" y="78"/>
                  </a:lnTo>
                  <a:lnTo>
                    <a:pt x="942" y="66"/>
                  </a:lnTo>
                  <a:lnTo>
                    <a:pt x="942" y="60"/>
                  </a:lnTo>
                  <a:lnTo>
                    <a:pt x="954" y="48"/>
                  </a:lnTo>
                  <a:lnTo>
                    <a:pt x="966" y="30"/>
                  </a:lnTo>
                  <a:lnTo>
                    <a:pt x="978" y="30"/>
                  </a:lnTo>
                  <a:lnTo>
                    <a:pt x="978" y="24"/>
                  </a:lnTo>
                  <a:lnTo>
                    <a:pt x="984" y="12"/>
                  </a:lnTo>
                  <a:lnTo>
                    <a:pt x="990" y="12"/>
                  </a:lnTo>
                  <a:lnTo>
                    <a:pt x="996" y="12"/>
                  </a:lnTo>
                  <a:lnTo>
                    <a:pt x="1014" y="6"/>
                  </a:lnTo>
                  <a:lnTo>
                    <a:pt x="1026" y="6"/>
                  </a:lnTo>
                  <a:lnTo>
                    <a:pt x="1044" y="6"/>
                  </a:lnTo>
                  <a:lnTo>
                    <a:pt x="1050" y="6"/>
                  </a:lnTo>
                  <a:lnTo>
                    <a:pt x="1056" y="6"/>
                  </a:lnTo>
                  <a:lnTo>
                    <a:pt x="1062" y="6"/>
                  </a:lnTo>
                  <a:lnTo>
                    <a:pt x="1068" y="6"/>
                  </a:lnTo>
                  <a:lnTo>
                    <a:pt x="1074" y="6"/>
                  </a:lnTo>
                  <a:lnTo>
                    <a:pt x="1080" y="6"/>
                  </a:lnTo>
                  <a:lnTo>
                    <a:pt x="1086" y="0"/>
                  </a:lnTo>
                  <a:lnTo>
                    <a:pt x="1092" y="30"/>
                  </a:lnTo>
                  <a:lnTo>
                    <a:pt x="1098" y="60"/>
                  </a:lnTo>
                  <a:lnTo>
                    <a:pt x="1110" y="84"/>
                  </a:lnTo>
                  <a:lnTo>
                    <a:pt x="1122" y="114"/>
                  </a:lnTo>
                  <a:lnTo>
                    <a:pt x="1128" y="144"/>
                  </a:lnTo>
                  <a:lnTo>
                    <a:pt x="1122" y="156"/>
                  </a:lnTo>
                  <a:lnTo>
                    <a:pt x="1128" y="168"/>
                  </a:lnTo>
                  <a:lnTo>
                    <a:pt x="1134" y="186"/>
                  </a:lnTo>
                  <a:lnTo>
                    <a:pt x="1140" y="204"/>
                  </a:lnTo>
                  <a:lnTo>
                    <a:pt x="1146" y="210"/>
                  </a:lnTo>
                  <a:lnTo>
                    <a:pt x="1146" y="216"/>
                  </a:lnTo>
                  <a:lnTo>
                    <a:pt x="1146" y="228"/>
                  </a:lnTo>
                  <a:lnTo>
                    <a:pt x="1146" y="234"/>
                  </a:lnTo>
                  <a:lnTo>
                    <a:pt x="1140" y="246"/>
                  </a:lnTo>
                  <a:lnTo>
                    <a:pt x="1128" y="258"/>
                  </a:lnTo>
                  <a:lnTo>
                    <a:pt x="1116" y="264"/>
                  </a:lnTo>
                  <a:lnTo>
                    <a:pt x="1110" y="276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2" y="312"/>
                  </a:lnTo>
                  <a:lnTo>
                    <a:pt x="1116" y="324"/>
                  </a:lnTo>
                  <a:lnTo>
                    <a:pt x="1104" y="336"/>
                  </a:lnTo>
                  <a:lnTo>
                    <a:pt x="1104" y="354"/>
                  </a:lnTo>
                  <a:lnTo>
                    <a:pt x="1098" y="372"/>
                  </a:lnTo>
                  <a:lnTo>
                    <a:pt x="1092" y="384"/>
                  </a:lnTo>
                  <a:lnTo>
                    <a:pt x="1086" y="390"/>
                  </a:lnTo>
                  <a:lnTo>
                    <a:pt x="1086" y="402"/>
                  </a:lnTo>
                  <a:lnTo>
                    <a:pt x="1080" y="414"/>
                  </a:lnTo>
                  <a:lnTo>
                    <a:pt x="1074" y="426"/>
                  </a:lnTo>
                  <a:lnTo>
                    <a:pt x="1074" y="450"/>
                  </a:lnTo>
                  <a:lnTo>
                    <a:pt x="1074" y="462"/>
                  </a:lnTo>
                  <a:lnTo>
                    <a:pt x="1068" y="474"/>
                  </a:lnTo>
                  <a:lnTo>
                    <a:pt x="1062" y="486"/>
                  </a:lnTo>
                  <a:lnTo>
                    <a:pt x="1056" y="498"/>
                  </a:lnTo>
                  <a:close/>
                  <a:moveTo>
                    <a:pt x="186" y="378"/>
                  </a:moveTo>
                  <a:lnTo>
                    <a:pt x="186" y="384"/>
                  </a:lnTo>
                  <a:lnTo>
                    <a:pt x="180" y="390"/>
                  </a:lnTo>
                  <a:lnTo>
                    <a:pt x="174" y="396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14"/>
                  </a:lnTo>
                  <a:lnTo>
                    <a:pt x="126" y="414"/>
                  </a:lnTo>
                  <a:lnTo>
                    <a:pt x="120" y="414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2" y="426"/>
                  </a:lnTo>
                  <a:lnTo>
                    <a:pt x="102" y="432"/>
                  </a:lnTo>
                  <a:lnTo>
                    <a:pt x="96" y="432"/>
                  </a:lnTo>
                  <a:lnTo>
                    <a:pt x="90" y="432"/>
                  </a:lnTo>
                  <a:lnTo>
                    <a:pt x="84" y="438"/>
                  </a:lnTo>
                  <a:lnTo>
                    <a:pt x="78" y="438"/>
                  </a:lnTo>
                  <a:lnTo>
                    <a:pt x="78" y="444"/>
                  </a:lnTo>
                  <a:lnTo>
                    <a:pt x="72" y="444"/>
                  </a:lnTo>
                  <a:lnTo>
                    <a:pt x="72" y="450"/>
                  </a:lnTo>
                  <a:lnTo>
                    <a:pt x="66" y="456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48" y="468"/>
                  </a:lnTo>
                  <a:lnTo>
                    <a:pt x="42" y="468"/>
                  </a:lnTo>
                  <a:lnTo>
                    <a:pt x="42" y="462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8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0" y="396"/>
                  </a:lnTo>
                  <a:lnTo>
                    <a:pt x="6" y="384"/>
                  </a:lnTo>
                  <a:lnTo>
                    <a:pt x="18" y="372"/>
                  </a:lnTo>
                  <a:lnTo>
                    <a:pt x="30" y="348"/>
                  </a:lnTo>
                  <a:lnTo>
                    <a:pt x="30" y="342"/>
                  </a:lnTo>
                  <a:lnTo>
                    <a:pt x="42" y="330"/>
                  </a:lnTo>
                  <a:lnTo>
                    <a:pt x="42" y="324"/>
                  </a:lnTo>
                  <a:lnTo>
                    <a:pt x="48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60" y="282"/>
                  </a:lnTo>
                  <a:lnTo>
                    <a:pt x="60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2" y="258"/>
                  </a:lnTo>
                  <a:lnTo>
                    <a:pt x="84" y="246"/>
                  </a:lnTo>
                  <a:lnTo>
                    <a:pt x="90" y="234"/>
                  </a:lnTo>
                  <a:lnTo>
                    <a:pt x="96" y="234"/>
                  </a:lnTo>
                  <a:lnTo>
                    <a:pt x="96" y="228"/>
                  </a:lnTo>
                  <a:lnTo>
                    <a:pt x="102" y="222"/>
                  </a:lnTo>
                  <a:lnTo>
                    <a:pt x="102" y="228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14" y="228"/>
                  </a:lnTo>
                  <a:lnTo>
                    <a:pt x="114" y="234"/>
                  </a:lnTo>
                  <a:lnTo>
                    <a:pt x="120" y="228"/>
                  </a:lnTo>
                  <a:lnTo>
                    <a:pt x="120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26" y="228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8" y="234"/>
                  </a:lnTo>
                  <a:lnTo>
                    <a:pt x="144" y="234"/>
                  </a:lnTo>
                  <a:lnTo>
                    <a:pt x="144" y="228"/>
                  </a:lnTo>
                  <a:lnTo>
                    <a:pt x="150" y="228"/>
                  </a:lnTo>
                  <a:lnTo>
                    <a:pt x="156" y="228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46"/>
                  </a:lnTo>
                  <a:lnTo>
                    <a:pt x="162" y="240"/>
                  </a:lnTo>
                  <a:lnTo>
                    <a:pt x="162" y="246"/>
                  </a:lnTo>
                  <a:lnTo>
                    <a:pt x="162" y="258"/>
                  </a:lnTo>
                  <a:lnTo>
                    <a:pt x="162" y="264"/>
                  </a:lnTo>
                  <a:lnTo>
                    <a:pt x="156" y="270"/>
                  </a:lnTo>
                  <a:lnTo>
                    <a:pt x="162" y="270"/>
                  </a:lnTo>
                  <a:lnTo>
                    <a:pt x="162" y="282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86" y="288"/>
                  </a:lnTo>
                  <a:lnTo>
                    <a:pt x="186" y="294"/>
                  </a:lnTo>
                  <a:lnTo>
                    <a:pt x="180" y="300"/>
                  </a:lnTo>
                  <a:lnTo>
                    <a:pt x="174" y="318"/>
                  </a:lnTo>
                  <a:lnTo>
                    <a:pt x="174" y="324"/>
                  </a:lnTo>
                  <a:lnTo>
                    <a:pt x="168" y="330"/>
                  </a:lnTo>
                  <a:lnTo>
                    <a:pt x="168" y="342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74" y="360"/>
                  </a:lnTo>
                  <a:lnTo>
                    <a:pt x="180" y="366"/>
                  </a:lnTo>
                  <a:lnTo>
                    <a:pt x="186" y="3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8" name="Freeform 23">
              <a:extLst>
                <a:ext uri="{FF2B5EF4-FFF2-40B4-BE49-F238E27FC236}">
                  <a16:creationId xmlns:a16="http://schemas.microsoft.com/office/drawing/2014/main" id="{A539A33E-3F6E-4AF7-BD88-1853165307F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6312" y="3604793"/>
              <a:ext cx="581410" cy="621747"/>
            </a:xfrm>
            <a:custGeom>
              <a:avLst/>
              <a:gdLst>
                <a:gd name="T0" fmla="*/ 90 w 1092"/>
                <a:gd name="T1" fmla="*/ 60 h 1170"/>
                <a:gd name="T2" fmla="*/ 83 w 1092"/>
                <a:gd name="T3" fmla="*/ 62 h 1170"/>
                <a:gd name="T4" fmla="*/ 72 w 1092"/>
                <a:gd name="T5" fmla="*/ 68 h 1170"/>
                <a:gd name="T6" fmla="*/ 68 w 1092"/>
                <a:gd name="T7" fmla="*/ 71 h 1170"/>
                <a:gd name="T8" fmla="*/ 61 w 1092"/>
                <a:gd name="T9" fmla="*/ 69 h 1170"/>
                <a:gd name="T10" fmla="*/ 64 w 1092"/>
                <a:gd name="T11" fmla="*/ 82 h 1170"/>
                <a:gd name="T12" fmla="*/ 67 w 1092"/>
                <a:gd name="T13" fmla="*/ 93 h 1170"/>
                <a:gd name="T14" fmla="*/ 62 w 1092"/>
                <a:gd name="T15" fmla="*/ 96 h 1170"/>
                <a:gd name="T16" fmla="*/ 59 w 1092"/>
                <a:gd name="T17" fmla="*/ 99 h 1170"/>
                <a:gd name="T18" fmla="*/ 53 w 1092"/>
                <a:gd name="T19" fmla="*/ 101 h 1170"/>
                <a:gd name="T20" fmla="*/ 50 w 1092"/>
                <a:gd name="T21" fmla="*/ 100 h 1170"/>
                <a:gd name="T22" fmla="*/ 50 w 1092"/>
                <a:gd name="T23" fmla="*/ 93 h 1170"/>
                <a:gd name="T24" fmla="*/ 37 w 1092"/>
                <a:gd name="T25" fmla="*/ 85 h 1170"/>
                <a:gd name="T26" fmla="*/ 32 w 1092"/>
                <a:gd name="T27" fmla="*/ 86 h 1170"/>
                <a:gd name="T28" fmla="*/ 29 w 1092"/>
                <a:gd name="T29" fmla="*/ 88 h 1170"/>
                <a:gd name="T30" fmla="*/ 27 w 1092"/>
                <a:gd name="T31" fmla="*/ 86 h 1170"/>
                <a:gd name="T32" fmla="*/ 23 w 1092"/>
                <a:gd name="T33" fmla="*/ 87 h 1170"/>
                <a:gd name="T34" fmla="*/ 17 w 1092"/>
                <a:gd name="T35" fmla="*/ 87 h 1170"/>
                <a:gd name="T36" fmla="*/ 18 w 1092"/>
                <a:gd name="T37" fmla="*/ 89 h 1170"/>
                <a:gd name="T38" fmla="*/ 16 w 1092"/>
                <a:gd name="T39" fmla="*/ 92 h 1170"/>
                <a:gd name="T40" fmla="*/ 12 w 1092"/>
                <a:gd name="T41" fmla="*/ 89 h 1170"/>
                <a:gd name="T42" fmla="*/ 13 w 1092"/>
                <a:gd name="T43" fmla="*/ 84 h 1170"/>
                <a:gd name="T44" fmla="*/ 12 w 1092"/>
                <a:gd name="T45" fmla="*/ 80 h 1170"/>
                <a:gd name="T46" fmla="*/ 10 w 1092"/>
                <a:gd name="T47" fmla="*/ 80 h 1170"/>
                <a:gd name="T48" fmla="*/ 8 w 1092"/>
                <a:gd name="T49" fmla="*/ 79 h 1170"/>
                <a:gd name="T50" fmla="*/ 6 w 1092"/>
                <a:gd name="T51" fmla="*/ 78 h 1170"/>
                <a:gd name="T52" fmla="*/ 6 w 1092"/>
                <a:gd name="T53" fmla="*/ 77 h 1170"/>
                <a:gd name="T54" fmla="*/ 4 w 1092"/>
                <a:gd name="T55" fmla="*/ 75 h 1170"/>
                <a:gd name="T56" fmla="*/ 0 w 1092"/>
                <a:gd name="T57" fmla="*/ 72 h 1170"/>
                <a:gd name="T58" fmla="*/ 0 w 1092"/>
                <a:gd name="T59" fmla="*/ 69 h 1170"/>
                <a:gd name="T60" fmla="*/ 3 w 1092"/>
                <a:gd name="T61" fmla="*/ 67 h 1170"/>
                <a:gd name="T62" fmla="*/ 6 w 1092"/>
                <a:gd name="T63" fmla="*/ 62 h 1170"/>
                <a:gd name="T64" fmla="*/ 8 w 1092"/>
                <a:gd name="T65" fmla="*/ 58 h 1170"/>
                <a:gd name="T66" fmla="*/ 5 w 1092"/>
                <a:gd name="T67" fmla="*/ 54 h 1170"/>
                <a:gd name="T68" fmla="*/ 6 w 1092"/>
                <a:gd name="T69" fmla="*/ 50 h 1170"/>
                <a:gd name="T70" fmla="*/ 8 w 1092"/>
                <a:gd name="T71" fmla="*/ 46 h 1170"/>
                <a:gd name="T72" fmla="*/ 10 w 1092"/>
                <a:gd name="T73" fmla="*/ 43 h 1170"/>
                <a:gd name="T74" fmla="*/ 14 w 1092"/>
                <a:gd name="T75" fmla="*/ 38 h 1170"/>
                <a:gd name="T76" fmla="*/ 31 w 1092"/>
                <a:gd name="T77" fmla="*/ 40 h 1170"/>
                <a:gd name="T78" fmla="*/ 30 w 1092"/>
                <a:gd name="T79" fmla="*/ 46 h 1170"/>
                <a:gd name="T80" fmla="*/ 36 w 1092"/>
                <a:gd name="T81" fmla="*/ 47 h 1170"/>
                <a:gd name="T82" fmla="*/ 41 w 1092"/>
                <a:gd name="T83" fmla="*/ 44 h 1170"/>
                <a:gd name="T84" fmla="*/ 43 w 1092"/>
                <a:gd name="T85" fmla="*/ 39 h 1170"/>
                <a:gd name="T86" fmla="*/ 44 w 1092"/>
                <a:gd name="T87" fmla="*/ 35 h 1170"/>
                <a:gd name="T88" fmla="*/ 44 w 1092"/>
                <a:gd name="T89" fmla="*/ 29 h 1170"/>
                <a:gd name="T90" fmla="*/ 48 w 1092"/>
                <a:gd name="T91" fmla="*/ 24 h 1170"/>
                <a:gd name="T92" fmla="*/ 49 w 1092"/>
                <a:gd name="T93" fmla="*/ 19 h 1170"/>
                <a:gd name="T94" fmla="*/ 51 w 1092"/>
                <a:gd name="T95" fmla="*/ 14 h 1170"/>
                <a:gd name="T96" fmla="*/ 54 w 1092"/>
                <a:gd name="T97" fmla="*/ 10 h 1170"/>
                <a:gd name="T98" fmla="*/ 53 w 1092"/>
                <a:gd name="T99" fmla="*/ 7 h 1170"/>
                <a:gd name="T100" fmla="*/ 55 w 1092"/>
                <a:gd name="T101" fmla="*/ 3 h 1170"/>
                <a:gd name="T102" fmla="*/ 58 w 1092"/>
                <a:gd name="T103" fmla="*/ 0 h 1170"/>
                <a:gd name="T104" fmla="*/ 65 w 1092"/>
                <a:gd name="T105" fmla="*/ 2 h 1170"/>
                <a:gd name="T106" fmla="*/ 61 w 1092"/>
                <a:gd name="T107" fmla="*/ 6 h 1170"/>
                <a:gd name="T108" fmla="*/ 67 w 1092"/>
                <a:gd name="T109" fmla="*/ 7 h 1170"/>
                <a:gd name="T110" fmla="*/ 71 w 1092"/>
                <a:gd name="T111" fmla="*/ 6 h 1170"/>
                <a:gd name="T112" fmla="*/ 75 w 1092"/>
                <a:gd name="T113" fmla="*/ 9 h 1170"/>
                <a:gd name="T114" fmla="*/ 82 w 1092"/>
                <a:gd name="T115" fmla="*/ 12 h 1170"/>
                <a:gd name="T116" fmla="*/ 84 w 1092"/>
                <a:gd name="T117" fmla="*/ 17 h 1170"/>
                <a:gd name="T118" fmla="*/ 94 w 1092"/>
                <a:gd name="T119" fmla="*/ 23 h 1170"/>
                <a:gd name="T120" fmla="*/ 94 w 1092"/>
                <a:gd name="T121" fmla="*/ 34 h 1170"/>
                <a:gd name="T122" fmla="*/ 90 w 1092"/>
                <a:gd name="T123" fmla="*/ 41 h 1170"/>
                <a:gd name="T124" fmla="*/ 91 w 1092"/>
                <a:gd name="T125" fmla="*/ 51 h 11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92"/>
                <a:gd name="T190" fmla="*/ 0 h 1170"/>
                <a:gd name="T191" fmla="*/ 1092 w 1092"/>
                <a:gd name="T192" fmla="*/ 1170 h 117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92" h="1170">
                  <a:moveTo>
                    <a:pt x="1056" y="654"/>
                  </a:moveTo>
                  <a:lnTo>
                    <a:pt x="1062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0"/>
                  </a:lnTo>
                  <a:lnTo>
                    <a:pt x="1038" y="690"/>
                  </a:lnTo>
                  <a:lnTo>
                    <a:pt x="1032" y="690"/>
                  </a:lnTo>
                  <a:lnTo>
                    <a:pt x="1026" y="690"/>
                  </a:lnTo>
                  <a:lnTo>
                    <a:pt x="1020" y="690"/>
                  </a:lnTo>
                  <a:lnTo>
                    <a:pt x="1002" y="690"/>
                  </a:lnTo>
                  <a:lnTo>
                    <a:pt x="990" y="690"/>
                  </a:lnTo>
                  <a:lnTo>
                    <a:pt x="972" y="696"/>
                  </a:lnTo>
                  <a:lnTo>
                    <a:pt x="966" y="696"/>
                  </a:lnTo>
                  <a:lnTo>
                    <a:pt x="960" y="696"/>
                  </a:lnTo>
                  <a:lnTo>
                    <a:pt x="954" y="708"/>
                  </a:lnTo>
                  <a:lnTo>
                    <a:pt x="954" y="714"/>
                  </a:lnTo>
                  <a:lnTo>
                    <a:pt x="942" y="714"/>
                  </a:lnTo>
                  <a:lnTo>
                    <a:pt x="930" y="732"/>
                  </a:lnTo>
                  <a:lnTo>
                    <a:pt x="918" y="744"/>
                  </a:lnTo>
                  <a:lnTo>
                    <a:pt x="918" y="750"/>
                  </a:lnTo>
                  <a:lnTo>
                    <a:pt x="888" y="762"/>
                  </a:lnTo>
                  <a:lnTo>
                    <a:pt x="870" y="762"/>
                  </a:lnTo>
                  <a:lnTo>
                    <a:pt x="846" y="774"/>
                  </a:lnTo>
                  <a:lnTo>
                    <a:pt x="828" y="780"/>
                  </a:lnTo>
                  <a:lnTo>
                    <a:pt x="828" y="774"/>
                  </a:lnTo>
                  <a:lnTo>
                    <a:pt x="816" y="768"/>
                  </a:lnTo>
                  <a:lnTo>
                    <a:pt x="816" y="780"/>
                  </a:lnTo>
                  <a:lnTo>
                    <a:pt x="804" y="780"/>
                  </a:lnTo>
                  <a:lnTo>
                    <a:pt x="804" y="786"/>
                  </a:lnTo>
                  <a:lnTo>
                    <a:pt x="792" y="792"/>
                  </a:lnTo>
                  <a:lnTo>
                    <a:pt x="792" y="804"/>
                  </a:lnTo>
                  <a:lnTo>
                    <a:pt x="780" y="816"/>
                  </a:lnTo>
                  <a:lnTo>
                    <a:pt x="774" y="822"/>
                  </a:lnTo>
                  <a:lnTo>
                    <a:pt x="762" y="828"/>
                  </a:lnTo>
                  <a:lnTo>
                    <a:pt x="756" y="822"/>
                  </a:lnTo>
                  <a:lnTo>
                    <a:pt x="750" y="798"/>
                  </a:lnTo>
                  <a:lnTo>
                    <a:pt x="738" y="792"/>
                  </a:lnTo>
                  <a:lnTo>
                    <a:pt x="720" y="786"/>
                  </a:lnTo>
                  <a:lnTo>
                    <a:pt x="708" y="786"/>
                  </a:lnTo>
                  <a:lnTo>
                    <a:pt x="696" y="798"/>
                  </a:lnTo>
                  <a:lnTo>
                    <a:pt x="690" y="810"/>
                  </a:lnTo>
                  <a:lnTo>
                    <a:pt x="684" y="828"/>
                  </a:lnTo>
                  <a:lnTo>
                    <a:pt x="690" y="840"/>
                  </a:lnTo>
                  <a:lnTo>
                    <a:pt x="708" y="858"/>
                  </a:lnTo>
                  <a:lnTo>
                    <a:pt x="720" y="894"/>
                  </a:lnTo>
                  <a:lnTo>
                    <a:pt x="714" y="906"/>
                  </a:lnTo>
                  <a:lnTo>
                    <a:pt x="714" y="918"/>
                  </a:lnTo>
                  <a:lnTo>
                    <a:pt x="738" y="948"/>
                  </a:lnTo>
                  <a:lnTo>
                    <a:pt x="774" y="972"/>
                  </a:lnTo>
                  <a:lnTo>
                    <a:pt x="780" y="984"/>
                  </a:lnTo>
                  <a:lnTo>
                    <a:pt x="792" y="996"/>
                  </a:lnTo>
                  <a:lnTo>
                    <a:pt x="792" y="1026"/>
                  </a:lnTo>
                  <a:lnTo>
                    <a:pt x="780" y="1044"/>
                  </a:lnTo>
                  <a:lnTo>
                    <a:pt x="774" y="1050"/>
                  </a:lnTo>
                  <a:lnTo>
                    <a:pt x="768" y="1062"/>
                  </a:lnTo>
                  <a:lnTo>
                    <a:pt x="768" y="1068"/>
                  </a:lnTo>
                  <a:lnTo>
                    <a:pt x="762" y="1074"/>
                  </a:lnTo>
                  <a:lnTo>
                    <a:pt x="762" y="1080"/>
                  </a:lnTo>
                  <a:lnTo>
                    <a:pt x="756" y="1080"/>
                  </a:lnTo>
                  <a:lnTo>
                    <a:pt x="744" y="1086"/>
                  </a:lnTo>
                  <a:lnTo>
                    <a:pt x="744" y="1092"/>
                  </a:lnTo>
                  <a:lnTo>
                    <a:pt x="738" y="1092"/>
                  </a:lnTo>
                  <a:lnTo>
                    <a:pt x="726" y="1098"/>
                  </a:lnTo>
                  <a:lnTo>
                    <a:pt x="720" y="1104"/>
                  </a:lnTo>
                  <a:lnTo>
                    <a:pt x="714" y="1104"/>
                  </a:lnTo>
                  <a:lnTo>
                    <a:pt x="702" y="1116"/>
                  </a:lnTo>
                  <a:lnTo>
                    <a:pt x="696" y="1122"/>
                  </a:lnTo>
                  <a:lnTo>
                    <a:pt x="696" y="1134"/>
                  </a:lnTo>
                  <a:lnTo>
                    <a:pt x="690" y="1134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72" y="1146"/>
                  </a:lnTo>
                  <a:lnTo>
                    <a:pt x="672" y="1152"/>
                  </a:lnTo>
                  <a:lnTo>
                    <a:pt x="660" y="1152"/>
                  </a:lnTo>
                  <a:lnTo>
                    <a:pt x="642" y="1152"/>
                  </a:lnTo>
                  <a:lnTo>
                    <a:pt x="636" y="1152"/>
                  </a:lnTo>
                  <a:lnTo>
                    <a:pt x="630" y="1158"/>
                  </a:lnTo>
                  <a:lnTo>
                    <a:pt x="624" y="1164"/>
                  </a:lnTo>
                  <a:lnTo>
                    <a:pt x="618" y="1170"/>
                  </a:lnTo>
                  <a:lnTo>
                    <a:pt x="612" y="1170"/>
                  </a:lnTo>
                  <a:lnTo>
                    <a:pt x="600" y="1170"/>
                  </a:lnTo>
                  <a:lnTo>
                    <a:pt x="594" y="1170"/>
                  </a:lnTo>
                  <a:lnTo>
                    <a:pt x="588" y="1170"/>
                  </a:lnTo>
                  <a:lnTo>
                    <a:pt x="582" y="1170"/>
                  </a:lnTo>
                  <a:lnTo>
                    <a:pt x="582" y="1164"/>
                  </a:lnTo>
                  <a:lnTo>
                    <a:pt x="576" y="1158"/>
                  </a:lnTo>
                  <a:lnTo>
                    <a:pt x="570" y="1158"/>
                  </a:lnTo>
                  <a:lnTo>
                    <a:pt x="570" y="1152"/>
                  </a:lnTo>
                  <a:lnTo>
                    <a:pt x="570" y="1146"/>
                  </a:lnTo>
                  <a:lnTo>
                    <a:pt x="570" y="1140"/>
                  </a:lnTo>
                  <a:lnTo>
                    <a:pt x="564" y="1140"/>
                  </a:lnTo>
                  <a:lnTo>
                    <a:pt x="564" y="1134"/>
                  </a:lnTo>
                  <a:lnTo>
                    <a:pt x="564" y="1128"/>
                  </a:lnTo>
                  <a:lnTo>
                    <a:pt x="576" y="1104"/>
                  </a:lnTo>
                  <a:lnTo>
                    <a:pt x="582" y="1086"/>
                  </a:lnTo>
                  <a:lnTo>
                    <a:pt x="570" y="1068"/>
                  </a:lnTo>
                  <a:lnTo>
                    <a:pt x="534" y="1056"/>
                  </a:lnTo>
                  <a:lnTo>
                    <a:pt x="516" y="1026"/>
                  </a:lnTo>
                  <a:lnTo>
                    <a:pt x="492" y="1020"/>
                  </a:lnTo>
                  <a:lnTo>
                    <a:pt x="492" y="1014"/>
                  </a:lnTo>
                  <a:lnTo>
                    <a:pt x="480" y="1008"/>
                  </a:lnTo>
                  <a:lnTo>
                    <a:pt x="474" y="996"/>
                  </a:lnTo>
                  <a:lnTo>
                    <a:pt x="444" y="984"/>
                  </a:lnTo>
                  <a:lnTo>
                    <a:pt x="426" y="978"/>
                  </a:lnTo>
                  <a:lnTo>
                    <a:pt x="420" y="972"/>
                  </a:lnTo>
                  <a:lnTo>
                    <a:pt x="408" y="984"/>
                  </a:lnTo>
                  <a:lnTo>
                    <a:pt x="402" y="984"/>
                  </a:lnTo>
                  <a:lnTo>
                    <a:pt x="396" y="984"/>
                  </a:lnTo>
                  <a:lnTo>
                    <a:pt x="390" y="984"/>
                  </a:lnTo>
                  <a:lnTo>
                    <a:pt x="384" y="990"/>
                  </a:lnTo>
                  <a:lnTo>
                    <a:pt x="378" y="990"/>
                  </a:lnTo>
                  <a:lnTo>
                    <a:pt x="372" y="990"/>
                  </a:lnTo>
                  <a:lnTo>
                    <a:pt x="372" y="996"/>
                  </a:lnTo>
                  <a:lnTo>
                    <a:pt x="366" y="996"/>
                  </a:lnTo>
                  <a:lnTo>
                    <a:pt x="360" y="1002"/>
                  </a:lnTo>
                  <a:lnTo>
                    <a:pt x="360" y="1008"/>
                  </a:lnTo>
                  <a:lnTo>
                    <a:pt x="354" y="1008"/>
                  </a:lnTo>
                  <a:lnTo>
                    <a:pt x="342" y="1014"/>
                  </a:lnTo>
                  <a:lnTo>
                    <a:pt x="336" y="1020"/>
                  </a:lnTo>
                  <a:lnTo>
                    <a:pt x="336" y="1014"/>
                  </a:lnTo>
                  <a:lnTo>
                    <a:pt x="330" y="1014"/>
                  </a:lnTo>
                  <a:lnTo>
                    <a:pt x="330" y="1008"/>
                  </a:lnTo>
                  <a:lnTo>
                    <a:pt x="330" y="1002"/>
                  </a:lnTo>
                  <a:lnTo>
                    <a:pt x="324" y="1002"/>
                  </a:lnTo>
                  <a:lnTo>
                    <a:pt x="324" y="996"/>
                  </a:lnTo>
                  <a:lnTo>
                    <a:pt x="324" y="990"/>
                  </a:lnTo>
                  <a:lnTo>
                    <a:pt x="318" y="990"/>
                  </a:lnTo>
                  <a:lnTo>
                    <a:pt x="306" y="996"/>
                  </a:lnTo>
                  <a:lnTo>
                    <a:pt x="300" y="996"/>
                  </a:lnTo>
                  <a:lnTo>
                    <a:pt x="294" y="996"/>
                  </a:lnTo>
                  <a:lnTo>
                    <a:pt x="288" y="1002"/>
                  </a:lnTo>
                  <a:lnTo>
                    <a:pt x="282" y="990"/>
                  </a:lnTo>
                  <a:lnTo>
                    <a:pt x="276" y="984"/>
                  </a:lnTo>
                  <a:lnTo>
                    <a:pt x="270" y="990"/>
                  </a:lnTo>
                  <a:lnTo>
                    <a:pt x="270" y="996"/>
                  </a:lnTo>
                  <a:lnTo>
                    <a:pt x="270" y="1002"/>
                  </a:lnTo>
                  <a:lnTo>
                    <a:pt x="264" y="1008"/>
                  </a:lnTo>
                  <a:lnTo>
                    <a:pt x="252" y="996"/>
                  </a:lnTo>
                  <a:lnTo>
                    <a:pt x="246" y="996"/>
                  </a:lnTo>
                  <a:lnTo>
                    <a:pt x="234" y="1002"/>
                  </a:lnTo>
                  <a:lnTo>
                    <a:pt x="222" y="1002"/>
                  </a:lnTo>
                  <a:lnTo>
                    <a:pt x="210" y="1002"/>
                  </a:lnTo>
                  <a:lnTo>
                    <a:pt x="198" y="996"/>
                  </a:lnTo>
                  <a:lnTo>
                    <a:pt x="198" y="1002"/>
                  </a:lnTo>
                  <a:lnTo>
                    <a:pt x="198" y="1008"/>
                  </a:lnTo>
                  <a:lnTo>
                    <a:pt x="192" y="1020"/>
                  </a:lnTo>
                  <a:lnTo>
                    <a:pt x="198" y="1020"/>
                  </a:lnTo>
                  <a:lnTo>
                    <a:pt x="204" y="1020"/>
                  </a:lnTo>
                  <a:lnTo>
                    <a:pt x="210" y="1026"/>
                  </a:lnTo>
                  <a:lnTo>
                    <a:pt x="216" y="1026"/>
                  </a:lnTo>
                  <a:lnTo>
                    <a:pt x="216" y="1032"/>
                  </a:lnTo>
                  <a:lnTo>
                    <a:pt x="210" y="1032"/>
                  </a:lnTo>
                  <a:lnTo>
                    <a:pt x="210" y="1038"/>
                  </a:lnTo>
                  <a:lnTo>
                    <a:pt x="204" y="1038"/>
                  </a:lnTo>
                  <a:lnTo>
                    <a:pt x="204" y="1044"/>
                  </a:lnTo>
                  <a:lnTo>
                    <a:pt x="198" y="1044"/>
                  </a:lnTo>
                  <a:lnTo>
                    <a:pt x="192" y="1044"/>
                  </a:lnTo>
                  <a:lnTo>
                    <a:pt x="186" y="1050"/>
                  </a:lnTo>
                  <a:lnTo>
                    <a:pt x="186" y="1056"/>
                  </a:lnTo>
                  <a:lnTo>
                    <a:pt x="180" y="1056"/>
                  </a:lnTo>
                  <a:lnTo>
                    <a:pt x="180" y="1062"/>
                  </a:lnTo>
                  <a:lnTo>
                    <a:pt x="174" y="1062"/>
                  </a:lnTo>
                  <a:lnTo>
                    <a:pt x="168" y="1062"/>
                  </a:lnTo>
                  <a:lnTo>
                    <a:pt x="162" y="1062"/>
                  </a:lnTo>
                  <a:lnTo>
                    <a:pt x="156" y="1050"/>
                  </a:lnTo>
                  <a:lnTo>
                    <a:pt x="150" y="1044"/>
                  </a:lnTo>
                  <a:lnTo>
                    <a:pt x="150" y="1038"/>
                  </a:lnTo>
                  <a:lnTo>
                    <a:pt x="144" y="1032"/>
                  </a:lnTo>
                  <a:lnTo>
                    <a:pt x="144" y="1026"/>
                  </a:lnTo>
                  <a:lnTo>
                    <a:pt x="144" y="1014"/>
                  </a:lnTo>
                  <a:lnTo>
                    <a:pt x="150" y="1008"/>
                  </a:lnTo>
                  <a:lnTo>
                    <a:pt x="150" y="1002"/>
                  </a:lnTo>
                  <a:lnTo>
                    <a:pt x="156" y="984"/>
                  </a:lnTo>
                  <a:lnTo>
                    <a:pt x="162" y="978"/>
                  </a:lnTo>
                  <a:lnTo>
                    <a:pt x="162" y="972"/>
                  </a:lnTo>
                  <a:lnTo>
                    <a:pt x="150" y="966"/>
                  </a:lnTo>
                  <a:lnTo>
                    <a:pt x="144" y="966"/>
                  </a:lnTo>
                  <a:lnTo>
                    <a:pt x="138" y="966"/>
                  </a:lnTo>
                  <a:lnTo>
                    <a:pt x="138" y="954"/>
                  </a:lnTo>
                  <a:lnTo>
                    <a:pt x="132" y="954"/>
                  </a:lnTo>
                  <a:lnTo>
                    <a:pt x="138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8" y="924"/>
                  </a:lnTo>
                  <a:lnTo>
                    <a:pt x="132" y="930"/>
                  </a:lnTo>
                  <a:lnTo>
                    <a:pt x="132" y="924"/>
                  </a:lnTo>
                  <a:lnTo>
                    <a:pt x="126" y="918"/>
                  </a:lnTo>
                  <a:lnTo>
                    <a:pt x="132" y="918"/>
                  </a:lnTo>
                  <a:lnTo>
                    <a:pt x="132" y="912"/>
                  </a:lnTo>
                  <a:lnTo>
                    <a:pt x="126" y="912"/>
                  </a:lnTo>
                  <a:lnTo>
                    <a:pt x="120" y="912"/>
                  </a:lnTo>
                  <a:lnTo>
                    <a:pt x="120" y="918"/>
                  </a:lnTo>
                  <a:lnTo>
                    <a:pt x="114" y="918"/>
                  </a:lnTo>
                  <a:lnTo>
                    <a:pt x="114" y="912"/>
                  </a:lnTo>
                  <a:lnTo>
                    <a:pt x="108" y="912"/>
                  </a:lnTo>
                  <a:lnTo>
                    <a:pt x="102" y="912"/>
                  </a:lnTo>
                  <a:lnTo>
                    <a:pt x="108" y="906"/>
                  </a:lnTo>
                  <a:lnTo>
                    <a:pt x="102" y="906"/>
                  </a:lnTo>
                  <a:lnTo>
                    <a:pt x="96" y="906"/>
                  </a:lnTo>
                  <a:lnTo>
                    <a:pt x="96" y="912"/>
                  </a:lnTo>
                  <a:lnTo>
                    <a:pt x="90" y="918"/>
                  </a:lnTo>
                  <a:lnTo>
                    <a:pt x="90" y="912"/>
                  </a:lnTo>
                  <a:lnTo>
                    <a:pt x="84" y="912"/>
                  </a:lnTo>
                  <a:lnTo>
                    <a:pt x="84" y="918"/>
                  </a:lnTo>
                  <a:lnTo>
                    <a:pt x="78" y="918"/>
                  </a:lnTo>
                  <a:lnTo>
                    <a:pt x="78" y="912"/>
                  </a:lnTo>
                  <a:lnTo>
                    <a:pt x="78" y="906"/>
                  </a:lnTo>
                  <a:lnTo>
                    <a:pt x="72" y="900"/>
                  </a:lnTo>
                  <a:lnTo>
                    <a:pt x="78" y="900"/>
                  </a:lnTo>
                  <a:lnTo>
                    <a:pt x="72" y="900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8" y="888"/>
                  </a:lnTo>
                  <a:lnTo>
                    <a:pt x="72" y="888"/>
                  </a:lnTo>
                  <a:lnTo>
                    <a:pt x="72" y="882"/>
                  </a:lnTo>
                  <a:lnTo>
                    <a:pt x="66" y="876"/>
                  </a:lnTo>
                  <a:lnTo>
                    <a:pt x="60" y="882"/>
                  </a:lnTo>
                  <a:lnTo>
                    <a:pt x="54" y="876"/>
                  </a:lnTo>
                  <a:lnTo>
                    <a:pt x="54" y="882"/>
                  </a:lnTo>
                  <a:lnTo>
                    <a:pt x="48" y="882"/>
                  </a:lnTo>
                  <a:lnTo>
                    <a:pt x="42" y="870"/>
                  </a:lnTo>
                  <a:lnTo>
                    <a:pt x="42" y="864"/>
                  </a:lnTo>
                  <a:lnTo>
                    <a:pt x="36" y="858"/>
                  </a:lnTo>
                  <a:lnTo>
                    <a:pt x="36" y="852"/>
                  </a:lnTo>
                  <a:lnTo>
                    <a:pt x="30" y="852"/>
                  </a:lnTo>
                  <a:lnTo>
                    <a:pt x="30" y="846"/>
                  </a:lnTo>
                  <a:lnTo>
                    <a:pt x="24" y="846"/>
                  </a:lnTo>
                  <a:lnTo>
                    <a:pt x="18" y="840"/>
                  </a:lnTo>
                  <a:lnTo>
                    <a:pt x="12" y="834"/>
                  </a:lnTo>
                  <a:lnTo>
                    <a:pt x="0" y="828"/>
                  </a:lnTo>
                  <a:lnTo>
                    <a:pt x="0" y="822"/>
                  </a:lnTo>
                  <a:lnTo>
                    <a:pt x="0" y="816"/>
                  </a:lnTo>
                  <a:lnTo>
                    <a:pt x="0" y="810"/>
                  </a:lnTo>
                  <a:lnTo>
                    <a:pt x="6" y="804"/>
                  </a:lnTo>
                  <a:lnTo>
                    <a:pt x="12" y="804"/>
                  </a:lnTo>
                  <a:lnTo>
                    <a:pt x="12" y="798"/>
                  </a:lnTo>
                  <a:lnTo>
                    <a:pt x="12" y="792"/>
                  </a:lnTo>
                  <a:lnTo>
                    <a:pt x="6" y="792"/>
                  </a:lnTo>
                  <a:lnTo>
                    <a:pt x="6" y="786"/>
                  </a:lnTo>
                  <a:lnTo>
                    <a:pt x="6" y="780"/>
                  </a:lnTo>
                  <a:lnTo>
                    <a:pt x="18" y="780"/>
                  </a:lnTo>
                  <a:lnTo>
                    <a:pt x="18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0" y="774"/>
                  </a:lnTo>
                  <a:lnTo>
                    <a:pt x="36" y="768"/>
                  </a:lnTo>
                  <a:lnTo>
                    <a:pt x="42" y="768"/>
                  </a:lnTo>
                  <a:lnTo>
                    <a:pt x="60" y="750"/>
                  </a:lnTo>
                  <a:lnTo>
                    <a:pt x="60" y="744"/>
                  </a:lnTo>
                  <a:lnTo>
                    <a:pt x="54" y="738"/>
                  </a:lnTo>
                  <a:lnTo>
                    <a:pt x="60" y="732"/>
                  </a:lnTo>
                  <a:lnTo>
                    <a:pt x="54" y="732"/>
                  </a:lnTo>
                  <a:lnTo>
                    <a:pt x="60" y="726"/>
                  </a:lnTo>
                  <a:lnTo>
                    <a:pt x="66" y="720"/>
                  </a:lnTo>
                  <a:lnTo>
                    <a:pt x="72" y="714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84" y="696"/>
                  </a:lnTo>
                  <a:lnTo>
                    <a:pt x="90" y="684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66"/>
                  </a:lnTo>
                  <a:lnTo>
                    <a:pt x="90" y="660"/>
                  </a:lnTo>
                  <a:lnTo>
                    <a:pt x="84" y="654"/>
                  </a:lnTo>
                  <a:lnTo>
                    <a:pt x="84" y="648"/>
                  </a:lnTo>
                  <a:lnTo>
                    <a:pt x="78" y="636"/>
                  </a:lnTo>
                  <a:lnTo>
                    <a:pt x="66" y="630"/>
                  </a:lnTo>
                  <a:lnTo>
                    <a:pt x="66" y="624"/>
                  </a:lnTo>
                  <a:lnTo>
                    <a:pt x="60" y="624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60" y="600"/>
                  </a:lnTo>
                  <a:lnTo>
                    <a:pt x="66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6" y="588"/>
                  </a:lnTo>
                  <a:lnTo>
                    <a:pt x="66" y="582"/>
                  </a:lnTo>
                  <a:lnTo>
                    <a:pt x="72" y="582"/>
                  </a:lnTo>
                  <a:lnTo>
                    <a:pt x="78" y="576"/>
                  </a:lnTo>
                  <a:lnTo>
                    <a:pt x="72" y="576"/>
                  </a:lnTo>
                  <a:lnTo>
                    <a:pt x="66" y="570"/>
                  </a:lnTo>
                  <a:lnTo>
                    <a:pt x="72" y="564"/>
                  </a:lnTo>
                  <a:lnTo>
                    <a:pt x="78" y="558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90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102" y="516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0" y="504"/>
                  </a:lnTo>
                  <a:lnTo>
                    <a:pt x="120" y="498"/>
                  </a:lnTo>
                  <a:lnTo>
                    <a:pt x="120" y="492"/>
                  </a:lnTo>
                  <a:lnTo>
                    <a:pt x="126" y="480"/>
                  </a:lnTo>
                  <a:lnTo>
                    <a:pt x="132" y="474"/>
                  </a:lnTo>
                  <a:lnTo>
                    <a:pt x="132" y="468"/>
                  </a:lnTo>
                  <a:lnTo>
                    <a:pt x="138" y="462"/>
                  </a:lnTo>
                  <a:lnTo>
                    <a:pt x="138" y="456"/>
                  </a:lnTo>
                  <a:lnTo>
                    <a:pt x="138" y="450"/>
                  </a:lnTo>
                  <a:lnTo>
                    <a:pt x="144" y="444"/>
                  </a:lnTo>
                  <a:lnTo>
                    <a:pt x="162" y="438"/>
                  </a:lnTo>
                  <a:lnTo>
                    <a:pt x="186" y="438"/>
                  </a:lnTo>
                  <a:lnTo>
                    <a:pt x="210" y="444"/>
                  </a:lnTo>
                  <a:lnTo>
                    <a:pt x="276" y="450"/>
                  </a:lnTo>
                  <a:lnTo>
                    <a:pt x="342" y="450"/>
                  </a:lnTo>
                  <a:lnTo>
                    <a:pt x="348" y="450"/>
                  </a:lnTo>
                  <a:lnTo>
                    <a:pt x="354" y="450"/>
                  </a:lnTo>
                  <a:lnTo>
                    <a:pt x="360" y="456"/>
                  </a:lnTo>
                  <a:lnTo>
                    <a:pt x="354" y="462"/>
                  </a:lnTo>
                  <a:lnTo>
                    <a:pt x="354" y="468"/>
                  </a:lnTo>
                  <a:lnTo>
                    <a:pt x="354" y="474"/>
                  </a:lnTo>
                  <a:lnTo>
                    <a:pt x="348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48" y="498"/>
                  </a:lnTo>
                  <a:lnTo>
                    <a:pt x="342" y="510"/>
                  </a:lnTo>
                  <a:lnTo>
                    <a:pt x="348" y="528"/>
                  </a:lnTo>
                  <a:lnTo>
                    <a:pt x="348" y="534"/>
                  </a:lnTo>
                  <a:lnTo>
                    <a:pt x="354" y="552"/>
                  </a:lnTo>
                  <a:lnTo>
                    <a:pt x="366" y="546"/>
                  </a:lnTo>
                  <a:lnTo>
                    <a:pt x="372" y="540"/>
                  </a:lnTo>
                  <a:lnTo>
                    <a:pt x="384" y="540"/>
                  </a:lnTo>
                  <a:lnTo>
                    <a:pt x="396" y="534"/>
                  </a:lnTo>
                  <a:lnTo>
                    <a:pt x="402" y="534"/>
                  </a:lnTo>
                  <a:lnTo>
                    <a:pt x="414" y="546"/>
                  </a:lnTo>
                  <a:lnTo>
                    <a:pt x="432" y="540"/>
                  </a:lnTo>
                  <a:lnTo>
                    <a:pt x="450" y="534"/>
                  </a:lnTo>
                  <a:lnTo>
                    <a:pt x="450" y="528"/>
                  </a:lnTo>
                  <a:lnTo>
                    <a:pt x="456" y="528"/>
                  </a:lnTo>
                  <a:lnTo>
                    <a:pt x="456" y="522"/>
                  </a:lnTo>
                  <a:lnTo>
                    <a:pt x="456" y="516"/>
                  </a:lnTo>
                  <a:lnTo>
                    <a:pt x="462" y="516"/>
                  </a:lnTo>
                  <a:lnTo>
                    <a:pt x="468" y="510"/>
                  </a:lnTo>
                  <a:lnTo>
                    <a:pt x="468" y="504"/>
                  </a:lnTo>
                  <a:lnTo>
                    <a:pt x="474" y="504"/>
                  </a:lnTo>
                  <a:lnTo>
                    <a:pt x="480" y="504"/>
                  </a:lnTo>
                  <a:lnTo>
                    <a:pt x="486" y="498"/>
                  </a:lnTo>
                  <a:lnTo>
                    <a:pt x="492" y="498"/>
                  </a:lnTo>
                  <a:lnTo>
                    <a:pt x="486" y="480"/>
                  </a:lnTo>
                  <a:lnTo>
                    <a:pt x="492" y="462"/>
                  </a:lnTo>
                  <a:lnTo>
                    <a:pt x="498" y="444"/>
                  </a:lnTo>
                  <a:lnTo>
                    <a:pt x="498" y="426"/>
                  </a:lnTo>
                  <a:lnTo>
                    <a:pt x="498" y="420"/>
                  </a:lnTo>
                  <a:lnTo>
                    <a:pt x="504" y="426"/>
                  </a:lnTo>
                  <a:lnTo>
                    <a:pt x="504" y="420"/>
                  </a:lnTo>
                  <a:lnTo>
                    <a:pt x="510" y="420"/>
                  </a:lnTo>
                  <a:lnTo>
                    <a:pt x="510" y="414"/>
                  </a:lnTo>
                  <a:lnTo>
                    <a:pt x="510" y="408"/>
                  </a:lnTo>
                  <a:lnTo>
                    <a:pt x="504" y="402"/>
                  </a:lnTo>
                  <a:lnTo>
                    <a:pt x="504" y="396"/>
                  </a:lnTo>
                  <a:lnTo>
                    <a:pt x="504" y="384"/>
                  </a:lnTo>
                  <a:lnTo>
                    <a:pt x="504" y="378"/>
                  </a:lnTo>
                  <a:lnTo>
                    <a:pt x="504" y="360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510" y="348"/>
                  </a:lnTo>
                  <a:lnTo>
                    <a:pt x="510" y="336"/>
                  </a:lnTo>
                  <a:lnTo>
                    <a:pt x="516" y="330"/>
                  </a:lnTo>
                  <a:lnTo>
                    <a:pt x="522" y="324"/>
                  </a:lnTo>
                  <a:lnTo>
                    <a:pt x="528" y="318"/>
                  </a:lnTo>
                  <a:lnTo>
                    <a:pt x="534" y="312"/>
                  </a:lnTo>
                  <a:lnTo>
                    <a:pt x="534" y="300"/>
                  </a:lnTo>
                  <a:lnTo>
                    <a:pt x="540" y="294"/>
                  </a:lnTo>
                  <a:lnTo>
                    <a:pt x="546" y="288"/>
                  </a:lnTo>
                  <a:lnTo>
                    <a:pt x="552" y="276"/>
                  </a:lnTo>
                  <a:lnTo>
                    <a:pt x="558" y="264"/>
                  </a:lnTo>
                  <a:lnTo>
                    <a:pt x="558" y="258"/>
                  </a:lnTo>
                  <a:lnTo>
                    <a:pt x="558" y="252"/>
                  </a:lnTo>
                  <a:lnTo>
                    <a:pt x="558" y="246"/>
                  </a:lnTo>
                  <a:lnTo>
                    <a:pt x="564" y="246"/>
                  </a:lnTo>
                  <a:lnTo>
                    <a:pt x="564" y="240"/>
                  </a:lnTo>
                  <a:lnTo>
                    <a:pt x="570" y="234"/>
                  </a:lnTo>
                  <a:lnTo>
                    <a:pt x="564" y="216"/>
                  </a:lnTo>
                  <a:lnTo>
                    <a:pt x="564" y="210"/>
                  </a:lnTo>
                  <a:lnTo>
                    <a:pt x="570" y="210"/>
                  </a:lnTo>
                  <a:lnTo>
                    <a:pt x="570" y="204"/>
                  </a:lnTo>
                  <a:lnTo>
                    <a:pt x="570" y="198"/>
                  </a:lnTo>
                  <a:lnTo>
                    <a:pt x="582" y="180"/>
                  </a:lnTo>
                  <a:lnTo>
                    <a:pt x="582" y="174"/>
                  </a:lnTo>
                  <a:lnTo>
                    <a:pt x="582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606" y="150"/>
                  </a:lnTo>
                  <a:lnTo>
                    <a:pt x="612" y="150"/>
                  </a:lnTo>
                  <a:lnTo>
                    <a:pt x="618" y="150"/>
                  </a:lnTo>
                  <a:lnTo>
                    <a:pt x="624" y="138"/>
                  </a:lnTo>
                  <a:lnTo>
                    <a:pt x="618" y="132"/>
                  </a:lnTo>
                  <a:lnTo>
                    <a:pt x="618" y="126"/>
                  </a:lnTo>
                  <a:lnTo>
                    <a:pt x="618" y="120"/>
                  </a:lnTo>
                  <a:lnTo>
                    <a:pt x="618" y="114"/>
                  </a:lnTo>
                  <a:lnTo>
                    <a:pt x="612" y="108"/>
                  </a:lnTo>
                  <a:lnTo>
                    <a:pt x="612" y="102"/>
                  </a:lnTo>
                  <a:lnTo>
                    <a:pt x="618" y="90"/>
                  </a:lnTo>
                  <a:lnTo>
                    <a:pt x="624" y="84"/>
                  </a:lnTo>
                  <a:lnTo>
                    <a:pt x="618" y="84"/>
                  </a:lnTo>
                  <a:lnTo>
                    <a:pt x="618" y="78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0" y="72"/>
                  </a:lnTo>
                  <a:lnTo>
                    <a:pt x="600" y="66"/>
                  </a:lnTo>
                  <a:lnTo>
                    <a:pt x="600" y="60"/>
                  </a:lnTo>
                  <a:lnTo>
                    <a:pt x="600" y="48"/>
                  </a:lnTo>
                  <a:lnTo>
                    <a:pt x="612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36"/>
                  </a:lnTo>
                  <a:lnTo>
                    <a:pt x="630" y="30"/>
                  </a:lnTo>
                  <a:lnTo>
                    <a:pt x="636" y="24"/>
                  </a:lnTo>
                  <a:lnTo>
                    <a:pt x="642" y="24"/>
                  </a:lnTo>
                  <a:lnTo>
                    <a:pt x="648" y="24"/>
                  </a:lnTo>
                  <a:lnTo>
                    <a:pt x="648" y="18"/>
                  </a:lnTo>
                  <a:lnTo>
                    <a:pt x="654" y="12"/>
                  </a:lnTo>
                  <a:lnTo>
                    <a:pt x="660" y="0"/>
                  </a:lnTo>
                  <a:lnTo>
                    <a:pt x="678" y="0"/>
                  </a:lnTo>
                  <a:lnTo>
                    <a:pt x="696" y="0"/>
                  </a:lnTo>
                  <a:lnTo>
                    <a:pt x="702" y="0"/>
                  </a:lnTo>
                  <a:lnTo>
                    <a:pt x="714" y="0"/>
                  </a:lnTo>
                  <a:lnTo>
                    <a:pt x="720" y="6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44" y="24"/>
                  </a:lnTo>
                  <a:lnTo>
                    <a:pt x="744" y="30"/>
                  </a:lnTo>
                  <a:lnTo>
                    <a:pt x="732" y="42"/>
                  </a:lnTo>
                  <a:lnTo>
                    <a:pt x="726" y="42"/>
                  </a:lnTo>
                  <a:lnTo>
                    <a:pt x="720" y="42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54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90"/>
                  </a:lnTo>
                  <a:lnTo>
                    <a:pt x="726" y="84"/>
                  </a:lnTo>
                  <a:lnTo>
                    <a:pt x="738" y="84"/>
                  </a:lnTo>
                  <a:lnTo>
                    <a:pt x="750" y="96"/>
                  </a:lnTo>
                  <a:lnTo>
                    <a:pt x="768" y="96"/>
                  </a:lnTo>
                  <a:lnTo>
                    <a:pt x="768" y="90"/>
                  </a:lnTo>
                  <a:lnTo>
                    <a:pt x="774" y="84"/>
                  </a:lnTo>
                  <a:lnTo>
                    <a:pt x="780" y="78"/>
                  </a:lnTo>
                  <a:lnTo>
                    <a:pt x="786" y="78"/>
                  </a:lnTo>
                  <a:lnTo>
                    <a:pt x="792" y="72"/>
                  </a:lnTo>
                  <a:lnTo>
                    <a:pt x="804" y="72"/>
                  </a:lnTo>
                  <a:lnTo>
                    <a:pt x="804" y="66"/>
                  </a:lnTo>
                  <a:lnTo>
                    <a:pt x="810" y="66"/>
                  </a:lnTo>
                  <a:lnTo>
                    <a:pt x="810" y="72"/>
                  </a:lnTo>
                  <a:lnTo>
                    <a:pt x="816" y="66"/>
                  </a:lnTo>
                  <a:lnTo>
                    <a:pt x="828" y="66"/>
                  </a:lnTo>
                  <a:lnTo>
                    <a:pt x="834" y="72"/>
                  </a:lnTo>
                  <a:lnTo>
                    <a:pt x="840" y="72"/>
                  </a:lnTo>
                  <a:lnTo>
                    <a:pt x="840" y="78"/>
                  </a:lnTo>
                  <a:lnTo>
                    <a:pt x="840" y="84"/>
                  </a:lnTo>
                  <a:lnTo>
                    <a:pt x="852" y="84"/>
                  </a:lnTo>
                  <a:lnTo>
                    <a:pt x="858" y="96"/>
                  </a:lnTo>
                  <a:lnTo>
                    <a:pt x="864" y="108"/>
                  </a:lnTo>
                  <a:lnTo>
                    <a:pt x="876" y="114"/>
                  </a:lnTo>
                  <a:lnTo>
                    <a:pt x="894" y="114"/>
                  </a:lnTo>
                  <a:lnTo>
                    <a:pt x="906" y="114"/>
                  </a:lnTo>
                  <a:lnTo>
                    <a:pt x="906" y="126"/>
                  </a:lnTo>
                  <a:lnTo>
                    <a:pt x="912" y="144"/>
                  </a:lnTo>
                  <a:lnTo>
                    <a:pt x="930" y="138"/>
                  </a:lnTo>
                  <a:lnTo>
                    <a:pt x="936" y="138"/>
                  </a:lnTo>
                  <a:lnTo>
                    <a:pt x="942" y="144"/>
                  </a:lnTo>
                  <a:lnTo>
                    <a:pt x="948" y="150"/>
                  </a:lnTo>
                  <a:lnTo>
                    <a:pt x="954" y="156"/>
                  </a:lnTo>
                  <a:lnTo>
                    <a:pt x="954" y="168"/>
                  </a:lnTo>
                  <a:lnTo>
                    <a:pt x="954" y="174"/>
                  </a:lnTo>
                  <a:lnTo>
                    <a:pt x="960" y="180"/>
                  </a:lnTo>
                  <a:lnTo>
                    <a:pt x="966" y="186"/>
                  </a:lnTo>
                  <a:lnTo>
                    <a:pt x="960" y="186"/>
                  </a:lnTo>
                  <a:lnTo>
                    <a:pt x="966" y="192"/>
                  </a:lnTo>
                  <a:lnTo>
                    <a:pt x="966" y="198"/>
                  </a:lnTo>
                  <a:lnTo>
                    <a:pt x="978" y="204"/>
                  </a:lnTo>
                  <a:lnTo>
                    <a:pt x="1050" y="186"/>
                  </a:lnTo>
                  <a:lnTo>
                    <a:pt x="1056" y="198"/>
                  </a:lnTo>
                  <a:lnTo>
                    <a:pt x="1068" y="210"/>
                  </a:lnTo>
                  <a:lnTo>
                    <a:pt x="1074" y="216"/>
                  </a:lnTo>
                  <a:lnTo>
                    <a:pt x="1080" y="252"/>
                  </a:lnTo>
                  <a:lnTo>
                    <a:pt x="1086" y="270"/>
                  </a:lnTo>
                  <a:lnTo>
                    <a:pt x="1092" y="282"/>
                  </a:lnTo>
                  <a:lnTo>
                    <a:pt x="1086" y="300"/>
                  </a:lnTo>
                  <a:lnTo>
                    <a:pt x="1074" y="330"/>
                  </a:lnTo>
                  <a:lnTo>
                    <a:pt x="1068" y="336"/>
                  </a:lnTo>
                  <a:lnTo>
                    <a:pt x="1062" y="348"/>
                  </a:lnTo>
                  <a:lnTo>
                    <a:pt x="1062" y="360"/>
                  </a:lnTo>
                  <a:lnTo>
                    <a:pt x="1068" y="378"/>
                  </a:lnTo>
                  <a:lnTo>
                    <a:pt x="1074" y="390"/>
                  </a:lnTo>
                  <a:lnTo>
                    <a:pt x="1068" y="396"/>
                  </a:lnTo>
                  <a:lnTo>
                    <a:pt x="1068" y="408"/>
                  </a:lnTo>
                  <a:lnTo>
                    <a:pt x="1062" y="414"/>
                  </a:lnTo>
                  <a:lnTo>
                    <a:pt x="1050" y="432"/>
                  </a:lnTo>
                  <a:lnTo>
                    <a:pt x="1044" y="450"/>
                  </a:lnTo>
                  <a:lnTo>
                    <a:pt x="1038" y="456"/>
                  </a:lnTo>
                  <a:lnTo>
                    <a:pt x="1026" y="468"/>
                  </a:lnTo>
                  <a:lnTo>
                    <a:pt x="1026" y="474"/>
                  </a:lnTo>
                  <a:lnTo>
                    <a:pt x="1026" y="480"/>
                  </a:lnTo>
                  <a:lnTo>
                    <a:pt x="1032" y="492"/>
                  </a:lnTo>
                  <a:lnTo>
                    <a:pt x="1044" y="504"/>
                  </a:lnTo>
                  <a:lnTo>
                    <a:pt x="1044" y="516"/>
                  </a:lnTo>
                  <a:lnTo>
                    <a:pt x="1038" y="528"/>
                  </a:lnTo>
                  <a:lnTo>
                    <a:pt x="1032" y="546"/>
                  </a:lnTo>
                  <a:lnTo>
                    <a:pt x="1032" y="570"/>
                  </a:lnTo>
                  <a:lnTo>
                    <a:pt x="1050" y="594"/>
                  </a:lnTo>
                  <a:lnTo>
                    <a:pt x="1056" y="624"/>
                  </a:lnTo>
                  <a:lnTo>
                    <a:pt x="1056" y="65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9" name="Freeform 24">
              <a:extLst>
                <a:ext uri="{FF2B5EF4-FFF2-40B4-BE49-F238E27FC236}">
                  <a16:creationId xmlns:a16="http://schemas.microsoft.com/office/drawing/2014/main" id="{CAE689DA-332A-4F73-BDE6-8865C9170AA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84829" y="3213406"/>
              <a:ext cx="851989" cy="744754"/>
            </a:xfrm>
            <a:custGeom>
              <a:avLst/>
              <a:gdLst>
                <a:gd name="T0" fmla="*/ 116 w 1602"/>
                <a:gd name="T1" fmla="*/ 91 h 1404"/>
                <a:gd name="T2" fmla="*/ 111 w 1602"/>
                <a:gd name="T3" fmla="*/ 95 h 1404"/>
                <a:gd name="T4" fmla="*/ 102 w 1602"/>
                <a:gd name="T5" fmla="*/ 101 h 1404"/>
                <a:gd name="T6" fmla="*/ 99 w 1602"/>
                <a:gd name="T7" fmla="*/ 103 h 1404"/>
                <a:gd name="T8" fmla="*/ 96 w 1602"/>
                <a:gd name="T9" fmla="*/ 106 h 1404"/>
                <a:gd name="T10" fmla="*/ 93 w 1602"/>
                <a:gd name="T11" fmla="*/ 108 h 1404"/>
                <a:gd name="T12" fmla="*/ 88 w 1602"/>
                <a:gd name="T13" fmla="*/ 106 h 1404"/>
                <a:gd name="T14" fmla="*/ 86 w 1602"/>
                <a:gd name="T15" fmla="*/ 108 h 1404"/>
                <a:gd name="T16" fmla="*/ 81 w 1602"/>
                <a:gd name="T17" fmla="*/ 119 h 1404"/>
                <a:gd name="T18" fmla="*/ 71 w 1602"/>
                <a:gd name="T19" fmla="*/ 109 h 1404"/>
                <a:gd name="T20" fmla="*/ 72 w 1602"/>
                <a:gd name="T21" fmla="*/ 101 h 1404"/>
                <a:gd name="T22" fmla="*/ 74 w 1602"/>
                <a:gd name="T23" fmla="*/ 93 h 1404"/>
                <a:gd name="T24" fmla="*/ 73 w 1602"/>
                <a:gd name="T25" fmla="*/ 82 h 1404"/>
                <a:gd name="T26" fmla="*/ 64 w 1602"/>
                <a:gd name="T27" fmla="*/ 79 h 1404"/>
                <a:gd name="T28" fmla="*/ 59 w 1602"/>
                <a:gd name="T29" fmla="*/ 75 h 1404"/>
                <a:gd name="T30" fmla="*/ 54 w 1602"/>
                <a:gd name="T31" fmla="*/ 71 h 1404"/>
                <a:gd name="T32" fmla="*/ 51 w 1602"/>
                <a:gd name="T33" fmla="*/ 70 h 1404"/>
                <a:gd name="T34" fmla="*/ 45 w 1602"/>
                <a:gd name="T35" fmla="*/ 71 h 1404"/>
                <a:gd name="T36" fmla="*/ 43 w 1602"/>
                <a:gd name="T37" fmla="*/ 68 h 1404"/>
                <a:gd name="T38" fmla="*/ 43 w 1602"/>
                <a:gd name="T39" fmla="*/ 64 h 1404"/>
                <a:gd name="T40" fmla="*/ 36 w 1602"/>
                <a:gd name="T41" fmla="*/ 66 h 1404"/>
                <a:gd name="T42" fmla="*/ 31 w 1602"/>
                <a:gd name="T43" fmla="*/ 55 h 1404"/>
                <a:gd name="T44" fmla="*/ 25 w 1602"/>
                <a:gd name="T45" fmla="*/ 53 h 1404"/>
                <a:gd name="T46" fmla="*/ 19 w 1602"/>
                <a:gd name="T47" fmla="*/ 51 h 1404"/>
                <a:gd name="T48" fmla="*/ 17 w 1602"/>
                <a:gd name="T49" fmla="*/ 43 h 1404"/>
                <a:gd name="T50" fmla="*/ 17 w 1602"/>
                <a:gd name="T51" fmla="*/ 39 h 1404"/>
                <a:gd name="T52" fmla="*/ 12 w 1602"/>
                <a:gd name="T53" fmla="*/ 39 h 1404"/>
                <a:gd name="T54" fmla="*/ 10 w 1602"/>
                <a:gd name="T55" fmla="*/ 35 h 1404"/>
                <a:gd name="T56" fmla="*/ 5 w 1602"/>
                <a:gd name="T57" fmla="*/ 30 h 1404"/>
                <a:gd name="T58" fmla="*/ 3 w 1602"/>
                <a:gd name="T59" fmla="*/ 27 h 1404"/>
                <a:gd name="T60" fmla="*/ 2 w 1602"/>
                <a:gd name="T61" fmla="*/ 25 h 1404"/>
                <a:gd name="T62" fmla="*/ 0 w 1602"/>
                <a:gd name="T63" fmla="*/ 22 h 1404"/>
                <a:gd name="T64" fmla="*/ 8 w 1602"/>
                <a:gd name="T65" fmla="*/ 14 h 1404"/>
                <a:gd name="T66" fmla="*/ 16 w 1602"/>
                <a:gd name="T67" fmla="*/ 16 h 1404"/>
                <a:gd name="T68" fmla="*/ 31 w 1602"/>
                <a:gd name="T69" fmla="*/ 18 h 1404"/>
                <a:gd name="T70" fmla="*/ 43 w 1602"/>
                <a:gd name="T71" fmla="*/ 17 h 1404"/>
                <a:gd name="T72" fmla="*/ 47 w 1602"/>
                <a:gd name="T73" fmla="*/ 6 h 1404"/>
                <a:gd name="T74" fmla="*/ 52 w 1602"/>
                <a:gd name="T75" fmla="*/ 0 h 1404"/>
                <a:gd name="T76" fmla="*/ 55 w 1602"/>
                <a:gd name="T77" fmla="*/ 3 h 1404"/>
                <a:gd name="T78" fmla="*/ 59 w 1602"/>
                <a:gd name="T79" fmla="*/ 9 h 1404"/>
                <a:gd name="T80" fmla="*/ 62 w 1602"/>
                <a:gd name="T81" fmla="*/ 16 h 1404"/>
                <a:gd name="T82" fmla="*/ 66 w 1602"/>
                <a:gd name="T83" fmla="*/ 20 h 1404"/>
                <a:gd name="T84" fmla="*/ 70 w 1602"/>
                <a:gd name="T85" fmla="*/ 25 h 1404"/>
                <a:gd name="T86" fmla="*/ 74 w 1602"/>
                <a:gd name="T87" fmla="*/ 30 h 1404"/>
                <a:gd name="T88" fmla="*/ 76 w 1602"/>
                <a:gd name="T89" fmla="*/ 27 h 1404"/>
                <a:gd name="T90" fmla="*/ 78 w 1602"/>
                <a:gd name="T91" fmla="*/ 27 h 1404"/>
                <a:gd name="T92" fmla="*/ 78 w 1602"/>
                <a:gd name="T93" fmla="*/ 23 h 1404"/>
                <a:gd name="T94" fmla="*/ 82 w 1602"/>
                <a:gd name="T95" fmla="*/ 20 h 1404"/>
                <a:gd name="T96" fmla="*/ 82 w 1602"/>
                <a:gd name="T97" fmla="*/ 18 h 1404"/>
                <a:gd name="T98" fmla="*/ 90 w 1602"/>
                <a:gd name="T99" fmla="*/ 24 h 1404"/>
                <a:gd name="T100" fmla="*/ 90 w 1602"/>
                <a:gd name="T101" fmla="*/ 45 h 1404"/>
                <a:gd name="T102" fmla="*/ 104 w 1602"/>
                <a:gd name="T103" fmla="*/ 41 h 1404"/>
                <a:gd name="T104" fmla="*/ 117 w 1602"/>
                <a:gd name="T105" fmla="*/ 39 h 1404"/>
                <a:gd name="T106" fmla="*/ 125 w 1602"/>
                <a:gd name="T107" fmla="*/ 39 h 1404"/>
                <a:gd name="T108" fmla="*/ 127 w 1602"/>
                <a:gd name="T109" fmla="*/ 43 h 1404"/>
                <a:gd name="T110" fmla="*/ 131 w 1602"/>
                <a:gd name="T111" fmla="*/ 53 h 1404"/>
                <a:gd name="T112" fmla="*/ 133 w 1602"/>
                <a:gd name="T113" fmla="*/ 60 h 1404"/>
                <a:gd name="T114" fmla="*/ 138 w 1602"/>
                <a:gd name="T115" fmla="*/ 73 h 1404"/>
                <a:gd name="T116" fmla="*/ 136 w 1602"/>
                <a:gd name="T117" fmla="*/ 80 h 1404"/>
                <a:gd name="T118" fmla="*/ 129 w 1602"/>
                <a:gd name="T119" fmla="*/ 87 h 1404"/>
                <a:gd name="T120" fmla="*/ 123 w 1602"/>
                <a:gd name="T121" fmla="*/ 95 h 14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02"/>
                <a:gd name="T184" fmla="*/ 0 h 1404"/>
                <a:gd name="T185" fmla="*/ 1602 w 1602"/>
                <a:gd name="T186" fmla="*/ 1404 h 14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02" h="1404">
                  <a:moveTo>
                    <a:pt x="1392" y="1080"/>
                  </a:moveTo>
                  <a:lnTo>
                    <a:pt x="1380" y="1074"/>
                  </a:lnTo>
                  <a:lnTo>
                    <a:pt x="1368" y="1056"/>
                  </a:lnTo>
                  <a:lnTo>
                    <a:pt x="1356" y="1044"/>
                  </a:lnTo>
                  <a:lnTo>
                    <a:pt x="1344" y="1038"/>
                  </a:lnTo>
                  <a:lnTo>
                    <a:pt x="1338" y="1038"/>
                  </a:lnTo>
                  <a:lnTo>
                    <a:pt x="1332" y="1038"/>
                  </a:lnTo>
                  <a:lnTo>
                    <a:pt x="1326" y="1044"/>
                  </a:lnTo>
                  <a:lnTo>
                    <a:pt x="1320" y="1044"/>
                  </a:lnTo>
                  <a:lnTo>
                    <a:pt x="1314" y="1044"/>
                  </a:lnTo>
                  <a:lnTo>
                    <a:pt x="1296" y="1056"/>
                  </a:lnTo>
                  <a:lnTo>
                    <a:pt x="1296" y="1080"/>
                  </a:lnTo>
                  <a:lnTo>
                    <a:pt x="1290" y="1080"/>
                  </a:lnTo>
                  <a:lnTo>
                    <a:pt x="1284" y="1086"/>
                  </a:lnTo>
                  <a:lnTo>
                    <a:pt x="1278" y="1086"/>
                  </a:lnTo>
                  <a:lnTo>
                    <a:pt x="1278" y="1092"/>
                  </a:lnTo>
                  <a:lnTo>
                    <a:pt x="1272" y="1092"/>
                  </a:lnTo>
                  <a:lnTo>
                    <a:pt x="1266" y="1086"/>
                  </a:lnTo>
                  <a:lnTo>
                    <a:pt x="1260" y="1086"/>
                  </a:lnTo>
                  <a:lnTo>
                    <a:pt x="1260" y="1098"/>
                  </a:lnTo>
                  <a:lnTo>
                    <a:pt x="1248" y="1098"/>
                  </a:lnTo>
                  <a:lnTo>
                    <a:pt x="1212" y="1116"/>
                  </a:lnTo>
                  <a:lnTo>
                    <a:pt x="1206" y="1158"/>
                  </a:lnTo>
                  <a:lnTo>
                    <a:pt x="1176" y="1164"/>
                  </a:lnTo>
                  <a:lnTo>
                    <a:pt x="1158" y="1164"/>
                  </a:lnTo>
                  <a:lnTo>
                    <a:pt x="1152" y="1164"/>
                  </a:lnTo>
                  <a:lnTo>
                    <a:pt x="1152" y="1170"/>
                  </a:lnTo>
                  <a:lnTo>
                    <a:pt x="1152" y="1176"/>
                  </a:lnTo>
                  <a:lnTo>
                    <a:pt x="1146" y="1176"/>
                  </a:lnTo>
                  <a:lnTo>
                    <a:pt x="1140" y="1176"/>
                  </a:lnTo>
                  <a:lnTo>
                    <a:pt x="1134" y="1182"/>
                  </a:lnTo>
                  <a:lnTo>
                    <a:pt x="1134" y="1188"/>
                  </a:lnTo>
                  <a:lnTo>
                    <a:pt x="1128" y="1194"/>
                  </a:lnTo>
                  <a:lnTo>
                    <a:pt x="1122" y="1194"/>
                  </a:lnTo>
                  <a:lnTo>
                    <a:pt x="1116" y="1194"/>
                  </a:lnTo>
                  <a:lnTo>
                    <a:pt x="1110" y="1200"/>
                  </a:lnTo>
                  <a:lnTo>
                    <a:pt x="1110" y="1206"/>
                  </a:lnTo>
                  <a:lnTo>
                    <a:pt x="1104" y="1212"/>
                  </a:lnTo>
                  <a:lnTo>
                    <a:pt x="1104" y="1218"/>
                  </a:lnTo>
                  <a:lnTo>
                    <a:pt x="1098" y="1224"/>
                  </a:lnTo>
                  <a:lnTo>
                    <a:pt x="1092" y="1230"/>
                  </a:lnTo>
                  <a:lnTo>
                    <a:pt x="1086" y="1230"/>
                  </a:lnTo>
                  <a:lnTo>
                    <a:pt x="1080" y="1230"/>
                  </a:lnTo>
                  <a:lnTo>
                    <a:pt x="1080" y="1242"/>
                  </a:lnTo>
                  <a:lnTo>
                    <a:pt x="1074" y="1242"/>
                  </a:lnTo>
                  <a:lnTo>
                    <a:pt x="1068" y="1242"/>
                  </a:lnTo>
                  <a:lnTo>
                    <a:pt x="1068" y="1236"/>
                  </a:lnTo>
                  <a:lnTo>
                    <a:pt x="1062" y="1242"/>
                  </a:lnTo>
                  <a:lnTo>
                    <a:pt x="1056" y="1236"/>
                  </a:lnTo>
                  <a:lnTo>
                    <a:pt x="1050" y="1242"/>
                  </a:lnTo>
                  <a:lnTo>
                    <a:pt x="1050" y="1236"/>
                  </a:lnTo>
                  <a:lnTo>
                    <a:pt x="1044" y="1194"/>
                  </a:lnTo>
                  <a:lnTo>
                    <a:pt x="1032" y="1194"/>
                  </a:lnTo>
                  <a:lnTo>
                    <a:pt x="1032" y="1200"/>
                  </a:lnTo>
                  <a:lnTo>
                    <a:pt x="1026" y="1200"/>
                  </a:lnTo>
                  <a:lnTo>
                    <a:pt x="1014" y="1218"/>
                  </a:lnTo>
                  <a:lnTo>
                    <a:pt x="1014" y="1224"/>
                  </a:lnTo>
                  <a:lnTo>
                    <a:pt x="1014" y="1236"/>
                  </a:lnTo>
                  <a:lnTo>
                    <a:pt x="1014" y="1242"/>
                  </a:lnTo>
                  <a:lnTo>
                    <a:pt x="1008" y="1242"/>
                  </a:lnTo>
                  <a:lnTo>
                    <a:pt x="1002" y="1236"/>
                  </a:lnTo>
                  <a:lnTo>
                    <a:pt x="1002" y="1230"/>
                  </a:lnTo>
                  <a:lnTo>
                    <a:pt x="996" y="1236"/>
                  </a:lnTo>
                  <a:lnTo>
                    <a:pt x="990" y="1236"/>
                  </a:lnTo>
                  <a:lnTo>
                    <a:pt x="990" y="1230"/>
                  </a:lnTo>
                  <a:lnTo>
                    <a:pt x="984" y="1236"/>
                  </a:lnTo>
                  <a:lnTo>
                    <a:pt x="978" y="1248"/>
                  </a:lnTo>
                  <a:lnTo>
                    <a:pt x="972" y="1254"/>
                  </a:lnTo>
                  <a:lnTo>
                    <a:pt x="966" y="1260"/>
                  </a:lnTo>
                  <a:lnTo>
                    <a:pt x="930" y="1284"/>
                  </a:lnTo>
                  <a:lnTo>
                    <a:pt x="942" y="1356"/>
                  </a:lnTo>
                  <a:lnTo>
                    <a:pt x="930" y="1368"/>
                  </a:lnTo>
                  <a:lnTo>
                    <a:pt x="852" y="1404"/>
                  </a:lnTo>
                  <a:lnTo>
                    <a:pt x="834" y="1392"/>
                  </a:lnTo>
                  <a:lnTo>
                    <a:pt x="834" y="1362"/>
                  </a:lnTo>
                  <a:lnTo>
                    <a:pt x="828" y="1332"/>
                  </a:lnTo>
                  <a:lnTo>
                    <a:pt x="810" y="1308"/>
                  </a:lnTo>
                  <a:lnTo>
                    <a:pt x="810" y="1284"/>
                  </a:lnTo>
                  <a:lnTo>
                    <a:pt x="816" y="1266"/>
                  </a:lnTo>
                  <a:lnTo>
                    <a:pt x="822" y="1254"/>
                  </a:lnTo>
                  <a:lnTo>
                    <a:pt x="822" y="1242"/>
                  </a:lnTo>
                  <a:lnTo>
                    <a:pt x="810" y="1230"/>
                  </a:lnTo>
                  <a:lnTo>
                    <a:pt x="804" y="1218"/>
                  </a:lnTo>
                  <a:lnTo>
                    <a:pt x="804" y="1212"/>
                  </a:lnTo>
                  <a:lnTo>
                    <a:pt x="804" y="1206"/>
                  </a:lnTo>
                  <a:lnTo>
                    <a:pt x="816" y="1194"/>
                  </a:lnTo>
                  <a:lnTo>
                    <a:pt x="822" y="1188"/>
                  </a:lnTo>
                  <a:lnTo>
                    <a:pt x="828" y="1170"/>
                  </a:lnTo>
                  <a:lnTo>
                    <a:pt x="840" y="1152"/>
                  </a:lnTo>
                  <a:lnTo>
                    <a:pt x="846" y="1146"/>
                  </a:lnTo>
                  <a:lnTo>
                    <a:pt x="846" y="1134"/>
                  </a:lnTo>
                  <a:lnTo>
                    <a:pt x="852" y="1128"/>
                  </a:lnTo>
                  <a:lnTo>
                    <a:pt x="846" y="1116"/>
                  </a:lnTo>
                  <a:lnTo>
                    <a:pt x="840" y="1098"/>
                  </a:lnTo>
                  <a:lnTo>
                    <a:pt x="840" y="1086"/>
                  </a:lnTo>
                  <a:lnTo>
                    <a:pt x="846" y="1074"/>
                  </a:lnTo>
                  <a:lnTo>
                    <a:pt x="852" y="1068"/>
                  </a:lnTo>
                  <a:lnTo>
                    <a:pt x="864" y="1038"/>
                  </a:lnTo>
                  <a:lnTo>
                    <a:pt x="870" y="1020"/>
                  </a:lnTo>
                  <a:lnTo>
                    <a:pt x="864" y="1008"/>
                  </a:lnTo>
                  <a:lnTo>
                    <a:pt x="858" y="990"/>
                  </a:lnTo>
                  <a:lnTo>
                    <a:pt x="852" y="954"/>
                  </a:lnTo>
                  <a:lnTo>
                    <a:pt x="846" y="948"/>
                  </a:lnTo>
                  <a:lnTo>
                    <a:pt x="834" y="936"/>
                  </a:lnTo>
                  <a:lnTo>
                    <a:pt x="828" y="924"/>
                  </a:lnTo>
                  <a:lnTo>
                    <a:pt x="756" y="942"/>
                  </a:lnTo>
                  <a:lnTo>
                    <a:pt x="744" y="936"/>
                  </a:lnTo>
                  <a:lnTo>
                    <a:pt x="744" y="930"/>
                  </a:lnTo>
                  <a:lnTo>
                    <a:pt x="738" y="924"/>
                  </a:lnTo>
                  <a:lnTo>
                    <a:pt x="744" y="924"/>
                  </a:lnTo>
                  <a:lnTo>
                    <a:pt x="738" y="918"/>
                  </a:lnTo>
                  <a:lnTo>
                    <a:pt x="732" y="912"/>
                  </a:lnTo>
                  <a:lnTo>
                    <a:pt x="732" y="906"/>
                  </a:lnTo>
                  <a:lnTo>
                    <a:pt x="732" y="894"/>
                  </a:lnTo>
                  <a:lnTo>
                    <a:pt x="726" y="888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6"/>
                  </a:lnTo>
                  <a:lnTo>
                    <a:pt x="690" y="882"/>
                  </a:lnTo>
                  <a:lnTo>
                    <a:pt x="684" y="864"/>
                  </a:lnTo>
                  <a:lnTo>
                    <a:pt x="684" y="852"/>
                  </a:lnTo>
                  <a:lnTo>
                    <a:pt x="672" y="852"/>
                  </a:lnTo>
                  <a:lnTo>
                    <a:pt x="654" y="852"/>
                  </a:lnTo>
                  <a:lnTo>
                    <a:pt x="642" y="846"/>
                  </a:lnTo>
                  <a:lnTo>
                    <a:pt x="636" y="834"/>
                  </a:lnTo>
                  <a:lnTo>
                    <a:pt x="630" y="822"/>
                  </a:lnTo>
                  <a:lnTo>
                    <a:pt x="618" y="822"/>
                  </a:lnTo>
                  <a:lnTo>
                    <a:pt x="618" y="816"/>
                  </a:lnTo>
                  <a:lnTo>
                    <a:pt x="618" y="810"/>
                  </a:lnTo>
                  <a:lnTo>
                    <a:pt x="612" y="810"/>
                  </a:lnTo>
                  <a:lnTo>
                    <a:pt x="606" y="804"/>
                  </a:lnTo>
                  <a:lnTo>
                    <a:pt x="594" y="804"/>
                  </a:lnTo>
                  <a:lnTo>
                    <a:pt x="588" y="810"/>
                  </a:lnTo>
                  <a:lnTo>
                    <a:pt x="588" y="804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70" y="810"/>
                  </a:lnTo>
                  <a:lnTo>
                    <a:pt x="564" y="816"/>
                  </a:lnTo>
                  <a:lnTo>
                    <a:pt x="558" y="816"/>
                  </a:lnTo>
                  <a:lnTo>
                    <a:pt x="552" y="822"/>
                  </a:lnTo>
                  <a:lnTo>
                    <a:pt x="546" y="828"/>
                  </a:lnTo>
                  <a:lnTo>
                    <a:pt x="546" y="834"/>
                  </a:lnTo>
                  <a:lnTo>
                    <a:pt x="528" y="834"/>
                  </a:lnTo>
                  <a:lnTo>
                    <a:pt x="516" y="822"/>
                  </a:lnTo>
                  <a:lnTo>
                    <a:pt x="504" y="822"/>
                  </a:lnTo>
                  <a:lnTo>
                    <a:pt x="492" y="82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6" y="792"/>
                  </a:lnTo>
                  <a:lnTo>
                    <a:pt x="492" y="786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504" y="780"/>
                  </a:lnTo>
                  <a:lnTo>
                    <a:pt x="510" y="780"/>
                  </a:lnTo>
                  <a:lnTo>
                    <a:pt x="522" y="768"/>
                  </a:lnTo>
                  <a:lnTo>
                    <a:pt x="522" y="762"/>
                  </a:lnTo>
                  <a:lnTo>
                    <a:pt x="504" y="756"/>
                  </a:lnTo>
                  <a:lnTo>
                    <a:pt x="498" y="756"/>
                  </a:lnTo>
                  <a:lnTo>
                    <a:pt x="498" y="744"/>
                  </a:lnTo>
                  <a:lnTo>
                    <a:pt x="492" y="738"/>
                  </a:lnTo>
                  <a:lnTo>
                    <a:pt x="480" y="738"/>
                  </a:lnTo>
                  <a:lnTo>
                    <a:pt x="474" y="738"/>
                  </a:lnTo>
                  <a:lnTo>
                    <a:pt x="456" y="738"/>
                  </a:lnTo>
                  <a:lnTo>
                    <a:pt x="438" y="738"/>
                  </a:lnTo>
                  <a:lnTo>
                    <a:pt x="432" y="750"/>
                  </a:lnTo>
                  <a:lnTo>
                    <a:pt x="426" y="756"/>
                  </a:lnTo>
                  <a:lnTo>
                    <a:pt x="426" y="762"/>
                  </a:lnTo>
                  <a:lnTo>
                    <a:pt x="420" y="762"/>
                  </a:lnTo>
                  <a:lnTo>
                    <a:pt x="408" y="744"/>
                  </a:lnTo>
                  <a:lnTo>
                    <a:pt x="408" y="732"/>
                  </a:lnTo>
                  <a:lnTo>
                    <a:pt x="390" y="714"/>
                  </a:lnTo>
                  <a:lnTo>
                    <a:pt x="384" y="702"/>
                  </a:lnTo>
                  <a:lnTo>
                    <a:pt x="384" y="690"/>
                  </a:lnTo>
                  <a:lnTo>
                    <a:pt x="372" y="690"/>
                  </a:lnTo>
                  <a:lnTo>
                    <a:pt x="366" y="660"/>
                  </a:lnTo>
                  <a:lnTo>
                    <a:pt x="354" y="630"/>
                  </a:lnTo>
                  <a:lnTo>
                    <a:pt x="348" y="630"/>
                  </a:lnTo>
                  <a:lnTo>
                    <a:pt x="336" y="630"/>
                  </a:lnTo>
                  <a:lnTo>
                    <a:pt x="330" y="630"/>
                  </a:lnTo>
                  <a:lnTo>
                    <a:pt x="318" y="630"/>
                  </a:lnTo>
                  <a:lnTo>
                    <a:pt x="312" y="624"/>
                  </a:lnTo>
                  <a:lnTo>
                    <a:pt x="306" y="624"/>
                  </a:lnTo>
                  <a:lnTo>
                    <a:pt x="294" y="618"/>
                  </a:lnTo>
                  <a:lnTo>
                    <a:pt x="288" y="612"/>
                  </a:lnTo>
                  <a:lnTo>
                    <a:pt x="276" y="600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58" y="588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8"/>
                  </a:lnTo>
                  <a:lnTo>
                    <a:pt x="216" y="582"/>
                  </a:lnTo>
                  <a:lnTo>
                    <a:pt x="210" y="588"/>
                  </a:lnTo>
                  <a:lnTo>
                    <a:pt x="198" y="582"/>
                  </a:lnTo>
                  <a:lnTo>
                    <a:pt x="180" y="582"/>
                  </a:lnTo>
                  <a:lnTo>
                    <a:pt x="174" y="552"/>
                  </a:lnTo>
                  <a:lnTo>
                    <a:pt x="168" y="504"/>
                  </a:lnTo>
                  <a:lnTo>
                    <a:pt x="186" y="504"/>
                  </a:lnTo>
                  <a:lnTo>
                    <a:pt x="192" y="504"/>
                  </a:lnTo>
                  <a:lnTo>
                    <a:pt x="192" y="498"/>
                  </a:lnTo>
                  <a:lnTo>
                    <a:pt x="192" y="492"/>
                  </a:lnTo>
                  <a:lnTo>
                    <a:pt x="192" y="486"/>
                  </a:lnTo>
                  <a:lnTo>
                    <a:pt x="198" y="486"/>
                  </a:lnTo>
                  <a:lnTo>
                    <a:pt x="198" y="480"/>
                  </a:lnTo>
                  <a:lnTo>
                    <a:pt x="204" y="474"/>
                  </a:lnTo>
                  <a:lnTo>
                    <a:pt x="210" y="468"/>
                  </a:lnTo>
                  <a:lnTo>
                    <a:pt x="198" y="462"/>
                  </a:lnTo>
                  <a:lnTo>
                    <a:pt x="192" y="444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32"/>
                  </a:lnTo>
                  <a:lnTo>
                    <a:pt x="168" y="438"/>
                  </a:lnTo>
                  <a:lnTo>
                    <a:pt x="150" y="450"/>
                  </a:lnTo>
                  <a:lnTo>
                    <a:pt x="144" y="456"/>
                  </a:lnTo>
                  <a:lnTo>
                    <a:pt x="132" y="456"/>
                  </a:lnTo>
                  <a:lnTo>
                    <a:pt x="126" y="468"/>
                  </a:lnTo>
                  <a:lnTo>
                    <a:pt x="114" y="468"/>
                  </a:lnTo>
                  <a:lnTo>
                    <a:pt x="108" y="468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14"/>
                  </a:lnTo>
                  <a:lnTo>
                    <a:pt x="108" y="396"/>
                  </a:lnTo>
                  <a:lnTo>
                    <a:pt x="120" y="396"/>
                  </a:lnTo>
                  <a:lnTo>
                    <a:pt x="126" y="384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84" y="354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0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60" y="318"/>
                  </a:lnTo>
                  <a:lnTo>
                    <a:pt x="42" y="324"/>
                  </a:lnTo>
                  <a:lnTo>
                    <a:pt x="36" y="318"/>
                  </a:lnTo>
                  <a:lnTo>
                    <a:pt x="36" y="312"/>
                  </a:lnTo>
                  <a:lnTo>
                    <a:pt x="36" y="306"/>
                  </a:lnTo>
                  <a:lnTo>
                    <a:pt x="36" y="300"/>
                  </a:lnTo>
                  <a:lnTo>
                    <a:pt x="30" y="300"/>
                  </a:lnTo>
                  <a:lnTo>
                    <a:pt x="30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24" y="276"/>
                  </a:lnTo>
                  <a:lnTo>
                    <a:pt x="18" y="276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18" y="234"/>
                  </a:lnTo>
                  <a:lnTo>
                    <a:pt x="30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42" y="192"/>
                  </a:lnTo>
                  <a:lnTo>
                    <a:pt x="66" y="186"/>
                  </a:lnTo>
                  <a:lnTo>
                    <a:pt x="90" y="156"/>
                  </a:lnTo>
                  <a:lnTo>
                    <a:pt x="102" y="144"/>
                  </a:lnTo>
                  <a:lnTo>
                    <a:pt x="138" y="150"/>
                  </a:lnTo>
                  <a:lnTo>
                    <a:pt x="162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0" y="180"/>
                  </a:lnTo>
                  <a:lnTo>
                    <a:pt x="174" y="180"/>
                  </a:lnTo>
                  <a:lnTo>
                    <a:pt x="180" y="186"/>
                  </a:lnTo>
                  <a:lnTo>
                    <a:pt x="186" y="186"/>
                  </a:lnTo>
                  <a:lnTo>
                    <a:pt x="198" y="192"/>
                  </a:lnTo>
                  <a:lnTo>
                    <a:pt x="216" y="198"/>
                  </a:lnTo>
                  <a:lnTo>
                    <a:pt x="252" y="204"/>
                  </a:lnTo>
                  <a:lnTo>
                    <a:pt x="258" y="210"/>
                  </a:lnTo>
                  <a:lnTo>
                    <a:pt x="306" y="216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84" y="210"/>
                  </a:lnTo>
                  <a:lnTo>
                    <a:pt x="408" y="222"/>
                  </a:lnTo>
                  <a:lnTo>
                    <a:pt x="438" y="228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86" y="222"/>
                  </a:lnTo>
                  <a:lnTo>
                    <a:pt x="492" y="210"/>
                  </a:lnTo>
                  <a:lnTo>
                    <a:pt x="492" y="198"/>
                  </a:lnTo>
                  <a:lnTo>
                    <a:pt x="486" y="180"/>
                  </a:lnTo>
                  <a:lnTo>
                    <a:pt x="492" y="162"/>
                  </a:lnTo>
                  <a:lnTo>
                    <a:pt x="510" y="96"/>
                  </a:lnTo>
                  <a:lnTo>
                    <a:pt x="516" y="84"/>
                  </a:lnTo>
                  <a:lnTo>
                    <a:pt x="522" y="84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34" y="72"/>
                  </a:lnTo>
                  <a:lnTo>
                    <a:pt x="534" y="60"/>
                  </a:lnTo>
                  <a:lnTo>
                    <a:pt x="540" y="36"/>
                  </a:lnTo>
                  <a:lnTo>
                    <a:pt x="546" y="6"/>
                  </a:lnTo>
                  <a:lnTo>
                    <a:pt x="558" y="6"/>
                  </a:lnTo>
                  <a:lnTo>
                    <a:pt x="564" y="0"/>
                  </a:lnTo>
                  <a:lnTo>
                    <a:pt x="582" y="0"/>
                  </a:lnTo>
                  <a:lnTo>
                    <a:pt x="588" y="0"/>
                  </a:lnTo>
                  <a:lnTo>
                    <a:pt x="594" y="6"/>
                  </a:lnTo>
                  <a:lnTo>
                    <a:pt x="600" y="12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24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36" y="36"/>
                  </a:lnTo>
                  <a:lnTo>
                    <a:pt x="642" y="36"/>
                  </a:lnTo>
                  <a:lnTo>
                    <a:pt x="642" y="42"/>
                  </a:lnTo>
                  <a:lnTo>
                    <a:pt x="648" y="54"/>
                  </a:lnTo>
                  <a:lnTo>
                    <a:pt x="660" y="72"/>
                  </a:lnTo>
                  <a:lnTo>
                    <a:pt x="666" y="78"/>
                  </a:lnTo>
                  <a:lnTo>
                    <a:pt x="672" y="90"/>
                  </a:lnTo>
                  <a:lnTo>
                    <a:pt x="678" y="102"/>
                  </a:lnTo>
                  <a:lnTo>
                    <a:pt x="678" y="114"/>
                  </a:lnTo>
                  <a:lnTo>
                    <a:pt x="684" y="132"/>
                  </a:lnTo>
                  <a:lnTo>
                    <a:pt x="684" y="144"/>
                  </a:lnTo>
                  <a:lnTo>
                    <a:pt x="690" y="162"/>
                  </a:lnTo>
                  <a:lnTo>
                    <a:pt x="696" y="168"/>
                  </a:lnTo>
                  <a:lnTo>
                    <a:pt x="696" y="180"/>
                  </a:lnTo>
                  <a:lnTo>
                    <a:pt x="702" y="186"/>
                  </a:lnTo>
                  <a:lnTo>
                    <a:pt x="708" y="186"/>
                  </a:lnTo>
                  <a:lnTo>
                    <a:pt x="714" y="198"/>
                  </a:lnTo>
                  <a:lnTo>
                    <a:pt x="720" y="198"/>
                  </a:lnTo>
                  <a:lnTo>
                    <a:pt x="732" y="204"/>
                  </a:lnTo>
                  <a:lnTo>
                    <a:pt x="738" y="210"/>
                  </a:lnTo>
                  <a:lnTo>
                    <a:pt x="738" y="216"/>
                  </a:lnTo>
                  <a:lnTo>
                    <a:pt x="744" y="222"/>
                  </a:lnTo>
                  <a:lnTo>
                    <a:pt x="750" y="228"/>
                  </a:lnTo>
                  <a:lnTo>
                    <a:pt x="756" y="228"/>
                  </a:lnTo>
                  <a:lnTo>
                    <a:pt x="768" y="240"/>
                  </a:lnTo>
                  <a:lnTo>
                    <a:pt x="774" y="252"/>
                  </a:lnTo>
                  <a:lnTo>
                    <a:pt x="780" y="258"/>
                  </a:lnTo>
                  <a:lnTo>
                    <a:pt x="786" y="258"/>
                  </a:lnTo>
                  <a:lnTo>
                    <a:pt x="798" y="264"/>
                  </a:lnTo>
                  <a:lnTo>
                    <a:pt x="798" y="270"/>
                  </a:lnTo>
                  <a:lnTo>
                    <a:pt x="798" y="276"/>
                  </a:lnTo>
                  <a:lnTo>
                    <a:pt x="810" y="288"/>
                  </a:lnTo>
                  <a:lnTo>
                    <a:pt x="816" y="288"/>
                  </a:lnTo>
                  <a:lnTo>
                    <a:pt x="816" y="300"/>
                  </a:lnTo>
                  <a:lnTo>
                    <a:pt x="816" y="306"/>
                  </a:lnTo>
                  <a:lnTo>
                    <a:pt x="822" y="318"/>
                  </a:lnTo>
                  <a:lnTo>
                    <a:pt x="828" y="324"/>
                  </a:lnTo>
                  <a:lnTo>
                    <a:pt x="834" y="330"/>
                  </a:lnTo>
                  <a:lnTo>
                    <a:pt x="846" y="336"/>
                  </a:lnTo>
                  <a:lnTo>
                    <a:pt x="846" y="342"/>
                  </a:lnTo>
                  <a:lnTo>
                    <a:pt x="852" y="348"/>
                  </a:lnTo>
                  <a:lnTo>
                    <a:pt x="852" y="354"/>
                  </a:lnTo>
                  <a:lnTo>
                    <a:pt x="858" y="354"/>
                  </a:lnTo>
                  <a:lnTo>
                    <a:pt x="858" y="348"/>
                  </a:lnTo>
                  <a:lnTo>
                    <a:pt x="864" y="342"/>
                  </a:lnTo>
                  <a:lnTo>
                    <a:pt x="864" y="336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76" y="306"/>
                  </a:lnTo>
                  <a:lnTo>
                    <a:pt x="870" y="300"/>
                  </a:lnTo>
                  <a:lnTo>
                    <a:pt x="870" y="294"/>
                  </a:lnTo>
                  <a:lnTo>
                    <a:pt x="876" y="294"/>
                  </a:lnTo>
                  <a:lnTo>
                    <a:pt x="882" y="300"/>
                  </a:lnTo>
                  <a:lnTo>
                    <a:pt x="888" y="300"/>
                  </a:lnTo>
                  <a:lnTo>
                    <a:pt x="888" y="306"/>
                  </a:lnTo>
                  <a:lnTo>
                    <a:pt x="894" y="300"/>
                  </a:lnTo>
                  <a:lnTo>
                    <a:pt x="900" y="294"/>
                  </a:lnTo>
                  <a:lnTo>
                    <a:pt x="894" y="288"/>
                  </a:lnTo>
                  <a:lnTo>
                    <a:pt x="888" y="282"/>
                  </a:lnTo>
                  <a:lnTo>
                    <a:pt x="888" y="276"/>
                  </a:lnTo>
                  <a:lnTo>
                    <a:pt x="894" y="276"/>
                  </a:lnTo>
                  <a:lnTo>
                    <a:pt x="900" y="276"/>
                  </a:lnTo>
                  <a:lnTo>
                    <a:pt x="900" y="270"/>
                  </a:lnTo>
                  <a:lnTo>
                    <a:pt x="906" y="264"/>
                  </a:lnTo>
                  <a:lnTo>
                    <a:pt x="906" y="258"/>
                  </a:lnTo>
                  <a:lnTo>
                    <a:pt x="918" y="264"/>
                  </a:lnTo>
                  <a:lnTo>
                    <a:pt x="918" y="258"/>
                  </a:lnTo>
                  <a:lnTo>
                    <a:pt x="924" y="252"/>
                  </a:lnTo>
                  <a:lnTo>
                    <a:pt x="930" y="252"/>
                  </a:lnTo>
                  <a:lnTo>
                    <a:pt x="930" y="246"/>
                  </a:lnTo>
                  <a:lnTo>
                    <a:pt x="936" y="234"/>
                  </a:lnTo>
                  <a:lnTo>
                    <a:pt x="942" y="228"/>
                  </a:lnTo>
                  <a:lnTo>
                    <a:pt x="942" y="222"/>
                  </a:lnTo>
                  <a:lnTo>
                    <a:pt x="948" y="222"/>
                  </a:lnTo>
                  <a:lnTo>
                    <a:pt x="948" y="216"/>
                  </a:lnTo>
                  <a:lnTo>
                    <a:pt x="942" y="216"/>
                  </a:lnTo>
                  <a:lnTo>
                    <a:pt x="936" y="216"/>
                  </a:lnTo>
                  <a:lnTo>
                    <a:pt x="936" y="210"/>
                  </a:lnTo>
                  <a:lnTo>
                    <a:pt x="942" y="210"/>
                  </a:lnTo>
                  <a:lnTo>
                    <a:pt x="972" y="210"/>
                  </a:lnTo>
                  <a:lnTo>
                    <a:pt x="1032" y="216"/>
                  </a:lnTo>
                  <a:lnTo>
                    <a:pt x="1068" y="216"/>
                  </a:lnTo>
                  <a:lnTo>
                    <a:pt x="1056" y="234"/>
                  </a:lnTo>
                  <a:lnTo>
                    <a:pt x="1050" y="240"/>
                  </a:lnTo>
                  <a:lnTo>
                    <a:pt x="1044" y="246"/>
                  </a:lnTo>
                  <a:lnTo>
                    <a:pt x="1038" y="246"/>
                  </a:lnTo>
                  <a:lnTo>
                    <a:pt x="1026" y="282"/>
                  </a:lnTo>
                  <a:lnTo>
                    <a:pt x="1032" y="306"/>
                  </a:lnTo>
                  <a:lnTo>
                    <a:pt x="1044" y="324"/>
                  </a:lnTo>
                  <a:lnTo>
                    <a:pt x="1044" y="342"/>
                  </a:lnTo>
                  <a:lnTo>
                    <a:pt x="1062" y="366"/>
                  </a:lnTo>
                  <a:lnTo>
                    <a:pt x="1056" y="396"/>
                  </a:lnTo>
                  <a:lnTo>
                    <a:pt x="1038" y="462"/>
                  </a:lnTo>
                  <a:lnTo>
                    <a:pt x="1038" y="498"/>
                  </a:lnTo>
                  <a:lnTo>
                    <a:pt x="1038" y="522"/>
                  </a:lnTo>
                  <a:lnTo>
                    <a:pt x="1038" y="534"/>
                  </a:lnTo>
                  <a:lnTo>
                    <a:pt x="1056" y="522"/>
                  </a:lnTo>
                  <a:lnTo>
                    <a:pt x="1098" y="504"/>
                  </a:lnTo>
                  <a:lnTo>
                    <a:pt x="1104" y="498"/>
                  </a:lnTo>
                  <a:lnTo>
                    <a:pt x="1128" y="492"/>
                  </a:lnTo>
                  <a:lnTo>
                    <a:pt x="1152" y="480"/>
                  </a:lnTo>
                  <a:lnTo>
                    <a:pt x="1170" y="474"/>
                  </a:lnTo>
                  <a:lnTo>
                    <a:pt x="1188" y="468"/>
                  </a:lnTo>
                  <a:lnTo>
                    <a:pt x="1200" y="462"/>
                  </a:lnTo>
                  <a:lnTo>
                    <a:pt x="1224" y="450"/>
                  </a:lnTo>
                  <a:lnTo>
                    <a:pt x="1248" y="450"/>
                  </a:lnTo>
                  <a:lnTo>
                    <a:pt x="1266" y="450"/>
                  </a:lnTo>
                  <a:lnTo>
                    <a:pt x="1296" y="456"/>
                  </a:lnTo>
                  <a:lnTo>
                    <a:pt x="1308" y="456"/>
                  </a:lnTo>
                  <a:lnTo>
                    <a:pt x="1326" y="456"/>
                  </a:lnTo>
                  <a:lnTo>
                    <a:pt x="1338" y="456"/>
                  </a:lnTo>
                  <a:lnTo>
                    <a:pt x="1350" y="462"/>
                  </a:lnTo>
                  <a:lnTo>
                    <a:pt x="1356" y="462"/>
                  </a:lnTo>
                  <a:lnTo>
                    <a:pt x="1374" y="456"/>
                  </a:lnTo>
                  <a:lnTo>
                    <a:pt x="1386" y="456"/>
                  </a:lnTo>
                  <a:lnTo>
                    <a:pt x="1392" y="456"/>
                  </a:lnTo>
                  <a:lnTo>
                    <a:pt x="1398" y="456"/>
                  </a:lnTo>
                  <a:lnTo>
                    <a:pt x="1422" y="456"/>
                  </a:lnTo>
                  <a:lnTo>
                    <a:pt x="1440" y="456"/>
                  </a:lnTo>
                  <a:lnTo>
                    <a:pt x="1446" y="456"/>
                  </a:lnTo>
                  <a:lnTo>
                    <a:pt x="1476" y="456"/>
                  </a:lnTo>
                  <a:lnTo>
                    <a:pt x="1470" y="468"/>
                  </a:lnTo>
                  <a:lnTo>
                    <a:pt x="1470" y="474"/>
                  </a:lnTo>
                  <a:lnTo>
                    <a:pt x="1470" y="486"/>
                  </a:lnTo>
                  <a:lnTo>
                    <a:pt x="1464" y="492"/>
                  </a:lnTo>
                  <a:lnTo>
                    <a:pt x="1464" y="498"/>
                  </a:lnTo>
                  <a:lnTo>
                    <a:pt x="1458" y="498"/>
                  </a:lnTo>
                  <a:lnTo>
                    <a:pt x="1458" y="510"/>
                  </a:lnTo>
                  <a:lnTo>
                    <a:pt x="1452" y="522"/>
                  </a:lnTo>
                  <a:lnTo>
                    <a:pt x="1458" y="528"/>
                  </a:lnTo>
                  <a:lnTo>
                    <a:pt x="1464" y="546"/>
                  </a:lnTo>
                  <a:lnTo>
                    <a:pt x="1470" y="552"/>
                  </a:lnTo>
                  <a:lnTo>
                    <a:pt x="1476" y="564"/>
                  </a:lnTo>
                  <a:lnTo>
                    <a:pt x="1488" y="588"/>
                  </a:lnTo>
                  <a:lnTo>
                    <a:pt x="1506" y="606"/>
                  </a:lnTo>
                  <a:lnTo>
                    <a:pt x="1506" y="612"/>
                  </a:lnTo>
                  <a:lnTo>
                    <a:pt x="1518" y="618"/>
                  </a:lnTo>
                  <a:lnTo>
                    <a:pt x="1512" y="630"/>
                  </a:lnTo>
                  <a:lnTo>
                    <a:pt x="1518" y="642"/>
                  </a:lnTo>
                  <a:lnTo>
                    <a:pt x="1518" y="648"/>
                  </a:lnTo>
                  <a:lnTo>
                    <a:pt x="1530" y="666"/>
                  </a:lnTo>
                  <a:lnTo>
                    <a:pt x="1518" y="672"/>
                  </a:lnTo>
                  <a:lnTo>
                    <a:pt x="1524" y="696"/>
                  </a:lnTo>
                  <a:lnTo>
                    <a:pt x="1518" y="732"/>
                  </a:lnTo>
                  <a:lnTo>
                    <a:pt x="1524" y="762"/>
                  </a:lnTo>
                  <a:lnTo>
                    <a:pt x="1524" y="780"/>
                  </a:lnTo>
                  <a:lnTo>
                    <a:pt x="1524" y="810"/>
                  </a:lnTo>
                  <a:lnTo>
                    <a:pt x="1530" y="834"/>
                  </a:lnTo>
                  <a:lnTo>
                    <a:pt x="1536" y="846"/>
                  </a:lnTo>
                  <a:lnTo>
                    <a:pt x="1542" y="846"/>
                  </a:lnTo>
                  <a:lnTo>
                    <a:pt x="1584" y="840"/>
                  </a:lnTo>
                  <a:lnTo>
                    <a:pt x="1590" y="846"/>
                  </a:lnTo>
                  <a:lnTo>
                    <a:pt x="1596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90" y="864"/>
                  </a:lnTo>
                  <a:lnTo>
                    <a:pt x="1578" y="882"/>
                  </a:lnTo>
                  <a:lnTo>
                    <a:pt x="1572" y="906"/>
                  </a:lnTo>
                  <a:lnTo>
                    <a:pt x="1560" y="924"/>
                  </a:lnTo>
                  <a:lnTo>
                    <a:pt x="1560" y="936"/>
                  </a:lnTo>
                  <a:lnTo>
                    <a:pt x="1548" y="960"/>
                  </a:lnTo>
                  <a:lnTo>
                    <a:pt x="1542" y="978"/>
                  </a:lnTo>
                  <a:lnTo>
                    <a:pt x="1536" y="990"/>
                  </a:lnTo>
                  <a:lnTo>
                    <a:pt x="1530" y="990"/>
                  </a:lnTo>
                  <a:lnTo>
                    <a:pt x="1506" y="996"/>
                  </a:lnTo>
                  <a:lnTo>
                    <a:pt x="1494" y="1002"/>
                  </a:lnTo>
                  <a:lnTo>
                    <a:pt x="1482" y="1002"/>
                  </a:lnTo>
                  <a:lnTo>
                    <a:pt x="1464" y="1008"/>
                  </a:lnTo>
                  <a:lnTo>
                    <a:pt x="1446" y="1026"/>
                  </a:lnTo>
                  <a:lnTo>
                    <a:pt x="1440" y="1026"/>
                  </a:lnTo>
                  <a:lnTo>
                    <a:pt x="1434" y="1038"/>
                  </a:lnTo>
                  <a:lnTo>
                    <a:pt x="1428" y="1044"/>
                  </a:lnTo>
                  <a:lnTo>
                    <a:pt x="1428" y="1062"/>
                  </a:lnTo>
                  <a:lnTo>
                    <a:pt x="1428" y="1086"/>
                  </a:lnTo>
                  <a:lnTo>
                    <a:pt x="1416" y="1092"/>
                  </a:lnTo>
                  <a:lnTo>
                    <a:pt x="1410" y="1080"/>
                  </a:lnTo>
                  <a:lnTo>
                    <a:pt x="1392" y="10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0" name="Freeform 25">
              <a:extLst>
                <a:ext uri="{FF2B5EF4-FFF2-40B4-BE49-F238E27FC236}">
                  <a16:creationId xmlns:a16="http://schemas.microsoft.com/office/drawing/2014/main" id="{39FDFF90-5ACF-4D65-81AD-C44D2CBE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70228" y="3063559"/>
              <a:ext cx="644023" cy="704498"/>
            </a:xfrm>
            <a:custGeom>
              <a:avLst/>
              <a:gdLst>
                <a:gd name="T0" fmla="*/ 74 w 1212"/>
                <a:gd name="T1" fmla="*/ 113 h 1326"/>
                <a:gd name="T2" fmla="*/ 60 w 1212"/>
                <a:gd name="T3" fmla="*/ 116 h 1326"/>
                <a:gd name="T4" fmla="*/ 62 w 1212"/>
                <a:gd name="T5" fmla="*/ 110 h 1326"/>
                <a:gd name="T6" fmla="*/ 60 w 1212"/>
                <a:gd name="T7" fmla="*/ 105 h 1326"/>
                <a:gd name="T8" fmla="*/ 52 w 1212"/>
                <a:gd name="T9" fmla="*/ 96 h 1326"/>
                <a:gd name="T10" fmla="*/ 47 w 1212"/>
                <a:gd name="T11" fmla="*/ 98 h 1326"/>
                <a:gd name="T12" fmla="*/ 44 w 1212"/>
                <a:gd name="T13" fmla="*/ 93 h 1326"/>
                <a:gd name="T14" fmla="*/ 40 w 1212"/>
                <a:gd name="T15" fmla="*/ 96 h 1326"/>
                <a:gd name="T16" fmla="*/ 35 w 1212"/>
                <a:gd name="T17" fmla="*/ 102 h 1326"/>
                <a:gd name="T18" fmla="*/ 27 w 1212"/>
                <a:gd name="T19" fmla="*/ 100 h 1326"/>
                <a:gd name="T20" fmla="*/ 23 w 1212"/>
                <a:gd name="T21" fmla="*/ 96 h 1326"/>
                <a:gd name="T22" fmla="*/ 20 w 1212"/>
                <a:gd name="T23" fmla="*/ 90 h 1326"/>
                <a:gd name="T24" fmla="*/ 18 w 1212"/>
                <a:gd name="T25" fmla="*/ 89 h 1326"/>
                <a:gd name="T26" fmla="*/ 18 w 1212"/>
                <a:gd name="T27" fmla="*/ 85 h 1326"/>
                <a:gd name="T28" fmla="*/ 19 w 1212"/>
                <a:gd name="T29" fmla="*/ 83 h 1326"/>
                <a:gd name="T30" fmla="*/ 19 w 1212"/>
                <a:gd name="T31" fmla="*/ 82 h 1326"/>
                <a:gd name="T32" fmla="*/ 20 w 1212"/>
                <a:gd name="T33" fmla="*/ 79 h 1326"/>
                <a:gd name="T34" fmla="*/ 19 w 1212"/>
                <a:gd name="T35" fmla="*/ 75 h 1326"/>
                <a:gd name="T36" fmla="*/ 17 w 1212"/>
                <a:gd name="T37" fmla="*/ 77 h 1326"/>
                <a:gd name="T38" fmla="*/ 14 w 1212"/>
                <a:gd name="T39" fmla="*/ 76 h 1326"/>
                <a:gd name="T40" fmla="*/ 12 w 1212"/>
                <a:gd name="T41" fmla="*/ 71 h 1326"/>
                <a:gd name="T42" fmla="*/ 8 w 1212"/>
                <a:gd name="T43" fmla="*/ 69 h 1326"/>
                <a:gd name="T44" fmla="*/ 0 w 1212"/>
                <a:gd name="T45" fmla="*/ 72 h 1326"/>
                <a:gd name="T46" fmla="*/ 2 w 1212"/>
                <a:gd name="T47" fmla="*/ 67 h 1326"/>
                <a:gd name="T48" fmla="*/ 3 w 1212"/>
                <a:gd name="T49" fmla="*/ 61 h 1326"/>
                <a:gd name="T50" fmla="*/ 4 w 1212"/>
                <a:gd name="T51" fmla="*/ 56 h 1326"/>
                <a:gd name="T52" fmla="*/ 4 w 1212"/>
                <a:gd name="T53" fmla="*/ 52 h 1326"/>
                <a:gd name="T54" fmla="*/ 2 w 1212"/>
                <a:gd name="T55" fmla="*/ 47 h 1326"/>
                <a:gd name="T56" fmla="*/ 2 w 1212"/>
                <a:gd name="T57" fmla="*/ 42 h 1326"/>
                <a:gd name="T58" fmla="*/ 5 w 1212"/>
                <a:gd name="T59" fmla="*/ 39 h 1326"/>
                <a:gd name="T60" fmla="*/ 5 w 1212"/>
                <a:gd name="T61" fmla="*/ 35 h 1326"/>
                <a:gd name="T62" fmla="*/ 7 w 1212"/>
                <a:gd name="T63" fmla="*/ 31 h 1326"/>
                <a:gd name="T64" fmla="*/ 14 w 1212"/>
                <a:gd name="T65" fmla="*/ 31 h 1326"/>
                <a:gd name="T66" fmla="*/ 18 w 1212"/>
                <a:gd name="T67" fmla="*/ 27 h 1326"/>
                <a:gd name="T68" fmla="*/ 22 w 1212"/>
                <a:gd name="T69" fmla="*/ 24 h 1326"/>
                <a:gd name="T70" fmla="*/ 27 w 1212"/>
                <a:gd name="T71" fmla="*/ 20 h 1326"/>
                <a:gd name="T72" fmla="*/ 35 w 1212"/>
                <a:gd name="T73" fmla="*/ 21 h 1326"/>
                <a:gd name="T74" fmla="*/ 61 w 1212"/>
                <a:gd name="T75" fmla="*/ 8 h 1326"/>
                <a:gd name="T76" fmla="*/ 73 w 1212"/>
                <a:gd name="T77" fmla="*/ 4 h 1326"/>
                <a:gd name="T78" fmla="*/ 86 w 1212"/>
                <a:gd name="T79" fmla="*/ 12 h 1326"/>
                <a:gd name="T80" fmla="*/ 92 w 1212"/>
                <a:gd name="T81" fmla="*/ 13 h 1326"/>
                <a:gd name="T82" fmla="*/ 86 w 1212"/>
                <a:gd name="T83" fmla="*/ 18 h 1326"/>
                <a:gd name="T84" fmla="*/ 88 w 1212"/>
                <a:gd name="T85" fmla="*/ 33 h 1326"/>
                <a:gd name="T86" fmla="*/ 97 w 1212"/>
                <a:gd name="T87" fmla="*/ 49 h 1326"/>
                <a:gd name="T88" fmla="*/ 102 w 1212"/>
                <a:gd name="T89" fmla="*/ 57 h 1326"/>
                <a:gd name="T90" fmla="*/ 104 w 1212"/>
                <a:gd name="T91" fmla="*/ 67 h 1326"/>
                <a:gd name="T92" fmla="*/ 101 w 1212"/>
                <a:gd name="T93" fmla="*/ 69 h 1326"/>
                <a:gd name="T94" fmla="*/ 97 w 1212"/>
                <a:gd name="T95" fmla="*/ 69 h 1326"/>
                <a:gd name="T96" fmla="*/ 96 w 1212"/>
                <a:gd name="T97" fmla="*/ 71 h 1326"/>
                <a:gd name="T98" fmla="*/ 93 w 1212"/>
                <a:gd name="T99" fmla="*/ 70 h 1326"/>
                <a:gd name="T100" fmla="*/ 86 w 1212"/>
                <a:gd name="T101" fmla="*/ 69 h 1326"/>
                <a:gd name="T102" fmla="*/ 82 w 1212"/>
                <a:gd name="T103" fmla="*/ 73 h 1326"/>
                <a:gd name="T104" fmla="*/ 79 w 1212"/>
                <a:gd name="T105" fmla="*/ 74 h 1326"/>
                <a:gd name="T106" fmla="*/ 78 w 1212"/>
                <a:gd name="T107" fmla="*/ 79 h 1326"/>
                <a:gd name="T108" fmla="*/ 78 w 1212"/>
                <a:gd name="T109" fmla="*/ 83 h 1326"/>
                <a:gd name="T110" fmla="*/ 82 w 1212"/>
                <a:gd name="T111" fmla="*/ 87 h 1326"/>
                <a:gd name="T112" fmla="*/ 83 w 1212"/>
                <a:gd name="T113" fmla="*/ 90 h 1326"/>
                <a:gd name="T114" fmla="*/ 82 w 1212"/>
                <a:gd name="T115" fmla="*/ 94 h 1326"/>
                <a:gd name="T116" fmla="*/ 82 w 1212"/>
                <a:gd name="T117" fmla="*/ 98 h 1326"/>
                <a:gd name="T118" fmla="*/ 82 w 1212"/>
                <a:gd name="T119" fmla="*/ 104 h 1326"/>
                <a:gd name="T120" fmla="*/ 78 w 1212"/>
                <a:gd name="T121" fmla="*/ 110 h 132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12"/>
                <a:gd name="T184" fmla="*/ 0 h 1326"/>
                <a:gd name="T185" fmla="*/ 1212 w 1212"/>
                <a:gd name="T186" fmla="*/ 1326 h 132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12" h="1326">
                  <a:moveTo>
                    <a:pt x="906" y="1290"/>
                  </a:moveTo>
                  <a:lnTo>
                    <a:pt x="906" y="1296"/>
                  </a:lnTo>
                  <a:lnTo>
                    <a:pt x="900" y="1296"/>
                  </a:lnTo>
                  <a:lnTo>
                    <a:pt x="876" y="1290"/>
                  </a:lnTo>
                  <a:lnTo>
                    <a:pt x="870" y="1290"/>
                  </a:lnTo>
                  <a:lnTo>
                    <a:pt x="864" y="1296"/>
                  </a:lnTo>
                  <a:lnTo>
                    <a:pt x="852" y="1296"/>
                  </a:lnTo>
                  <a:lnTo>
                    <a:pt x="840" y="1302"/>
                  </a:lnTo>
                  <a:lnTo>
                    <a:pt x="834" y="1308"/>
                  </a:lnTo>
                  <a:lnTo>
                    <a:pt x="822" y="1320"/>
                  </a:lnTo>
                  <a:lnTo>
                    <a:pt x="816" y="1320"/>
                  </a:lnTo>
                  <a:lnTo>
                    <a:pt x="732" y="1320"/>
                  </a:lnTo>
                  <a:lnTo>
                    <a:pt x="696" y="1320"/>
                  </a:lnTo>
                  <a:lnTo>
                    <a:pt x="690" y="1326"/>
                  </a:lnTo>
                  <a:lnTo>
                    <a:pt x="678" y="1326"/>
                  </a:lnTo>
                  <a:lnTo>
                    <a:pt x="672" y="1308"/>
                  </a:lnTo>
                  <a:lnTo>
                    <a:pt x="696" y="1302"/>
                  </a:lnTo>
                  <a:lnTo>
                    <a:pt x="708" y="1296"/>
                  </a:lnTo>
                  <a:lnTo>
                    <a:pt x="720" y="1284"/>
                  </a:lnTo>
                  <a:lnTo>
                    <a:pt x="714" y="1278"/>
                  </a:lnTo>
                  <a:lnTo>
                    <a:pt x="714" y="1266"/>
                  </a:lnTo>
                  <a:lnTo>
                    <a:pt x="708" y="1260"/>
                  </a:lnTo>
                  <a:lnTo>
                    <a:pt x="708" y="1254"/>
                  </a:lnTo>
                  <a:lnTo>
                    <a:pt x="708" y="1248"/>
                  </a:lnTo>
                  <a:lnTo>
                    <a:pt x="702" y="1236"/>
                  </a:lnTo>
                  <a:lnTo>
                    <a:pt x="702" y="1230"/>
                  </a:lnTo>
                  <a:lnTo>
                    <a:pt x="702" y="1218"/>
                  </a:lnTo>
                  <a:lnTo>
                    <a:pt x="696" y="1200"/>
                  </a:lnTo>
                  <a:lnTo>
                    <a:pt x="696" y="1182"/>
                  </a:lnTo>
                  <a:lnTo>
                    <a:pt x="666" y="1182"/>
                  </a:lnTo>
                  <a:lnTo>
                    <a:pt x="672" y="1134"/>
                  </a:lnTo>
                  <a:lnTo>
                    <a:pt x="666" y="1128"/>
                  </a:lnTo>
                  <a:lnTo>
                    <a:pt x="660" y="1092"/>
                  </a:lnTo>
                  <a:lnTo>
                    <a:pt x="654" y="1098"/>
                  </a:lnTo>
                  <a:lnTo>
                    <a:pt x="594" y="1098"/>
                  </a:lnTo>
                  <a:lnTo>
                    <a:pt x="576" y="1098"/>
                  </a:lnTo>
                  <a:lnTo>
                    <a:pt x="570" y="1104"/>
                  </a:lnTo>
                  <a:lnTo>
                    <a:pt x="564" y="1110"/>
                  </a:lnTo>
                  <a:lnTo>
                    <a:pt x="558" y="1110"/>
                  </a:lnTo>
                  <a:lnTo>
                    <a:pt x="552" y="1110"/>
                  </a:lnTo>
                  <a:lnTo>
                    <a:pt x="546" y="1110"/>
                  </a:lnTo>
                  <a:lnTo>
                    <a:pt x="546" y="1116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10" y="1128"/>
                  </a:lnTo>
                  <a:lnTo>
                    <a:pt x="522" y="1104"/>
                  </a:lnTo>
                  <a:lnTo>
                    <a:pt x="510" y="1098"/>
                  </a:lnTo>
                  <a:lnTo>
                    <a:pt x="510" y="1074"/>
                  </a:lnTo>
                  <a:lnTo>
                    <a:pt x="504" y="1068"/>
                  </a:lnTo>
                  <a:lnTo>
                    <a:pt x="498" y="1068"/>
                  </a:lnTo>
                  <a:lnTo>
                    <a:pt x="492" y="1068"/>
                  </a:lnTo>
                  <a:lnTo>
                    <a:pt x="474" y="1080"/>
                  </a:lnTo>
                  <a:lnTo>
                    <a:pt x="474" y="1086"/>
                  </a:lnTo>
                  <a:lnTo>
                    <a:pt x="474" y="1092"/>
                  </a:lnTo>
                  <a:lnTo>
                    <a:pt x="468" y="1098"/>
                  </a:lnTo>
                  <a:lnTo>
                    <a:pt x="462" y="1104"/>
                  </a:lnTo>
                  <a:lnTo>
                    <a:pt x="456" y="1110"/>
                  </a:lnTo>
                  <a:lnTo>
                    <a:pt x="456" y="1122"/>
                  </a:lnTo>
                  <a:lnTo>
                    <a:pt x="456" y="1128"/>
                  </a:lnTo>
                  <a:lnTo>
                    <a:pt x="450" y="1140"/>
                  </a:lnTo>
                  <a:lnTo>
                    <a:pt x="444" y="1146"/>
                  </a:lnTo>
                  <a:lnTo>
                    <a:pt x="426" y="1170"/>
                  </a:lnTo>
                  <a:lnTo>
                    <a:pt x="408" y="1176"/>
                  </a:lnTo>
                  <a:lnTo>
                    <a:pt x="402" y="1170"/>
                  </a:lnTo>
                  <a:lnTo>
                    <a:pt x="396" y="1170"/>
                  </a:lnTo>
                  <a:lnTo>
                    <a:pt x="396" y="1158"/>
                  </a:lnTo>
                  <a:lnTo>
                    <a:pt x="384" y="1152"/>
                  </a:lnTo>
                  <a:lnTo>
                    <a:pt x="372" y="1140"/>
                  </a:lnTo>
                  <a:lnTo>
                    <a:pt x="354" y="1140"/>
                  </a:lnTo>
                  <a:lnTo>
                    <a:pt x="306" y="1146"/>
                  </a:lnTo>
                  <a:lnTo>
                    <a:pt x="294" y="1134"/>
                  </a:lnTo>
                  <a:lnTo>
                    <a:pt x="294" y="1128"/>
                  </a:lnTo>
                  <a:lnTo>
                    <a:pt x="288" y="1122"/>
                  </a:lnTo>
                  <a:lnTo>
                    <a:pt x="276" y="1122"/>
                  </a:lnTo>
                  <a:lnTo>
                    <a:pt x="276" y="1110"/>
                  </a:lnTo>
                  <a:lnTo>
                    <a:pt x="276" y="1104"/>
                  </a:lnTo>
                  <a:lnTo>
                    <a:pt x="270" y="1098"/>
                  </a:lnTo>
                  <a:lnTo>
                    <a:pt x="264" y="1086"/>
                  </a:lnTo>
                  <a:lnTo>
                    <a:pt x="264" y="1074"/>
                  </a:lnTo>
                  <a:lnTo>
                    <a:pt x="258" y="1068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34" y="1038"/>
                  </a:lnTo>
                  <a:lnTo>
                    <a:pt x="228" y="1038"/>
                  </a:lnTo>
                  <a:lnTo>
                    <a:pt x="222" y="1038"/>
                  </a:lnTo>
                  <a:lnTo>
                    <a:pt x="216" y="1038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0"/>
                  </a:lnTo>
                  <a:lnTo>
                    <a:pt x="204" y="1014"/>
                  </a:lnTo>
                  <a:lnTo>
                    <a:pt x="204" y="1008"/>
                  </a:lnTo>
                  <a:lnTo>
                    <a:pt x="198" y="1002"/>
                  </a:lnTo>
                  <a:lnTo>
                    <a:pt x="198" y="996"/>
                  </a:lnTo>
                  <a:lnTo>
                    <a:pt x="198" y="990"/>
                  </a:lnTo>
                  <a:lnTo>
                    <a:pt x="204" y="990"/>
                  </a:lnTo>
                  <a:lnTo>
                    <a:pt x="204" y="984"/>
                  </a:lnTo>
                  <a:lnTo>
                    <a:pt x="210" y="978"/>
                  </a:lnTo>
                  <a:lnTo>
                    <a:pt x="210" y="972"/>
                  </a:lnTo>
                  <a:lnTo>
                    <a:pt x="210" y="966"/>
                  </a:lnTo>
                  <a:lnTo>
                    <a:pt x="216" y="960"/>
                  </a:lnTo>
                  <a:lnTo>
                    <a:pt x="216" y="954"/>
                  </a:lnTo>
                  <a:lnTo>
                    <a:pt x="210" y="954"/>
                  </a:lnTo>
                  <a:lnTo>
                    <a:pt x="204" y="954"/>
                  </a:lnTo>
                  <a:lnTo>
                    <a:pt x="216" y="954"/>
                  </a:lnTo>
                  <a:lnTo>
                    <a:pt x="216" y="948"/>
                  </a:lnTo>
                  <a:lnTo>
                    <a:pt x="210" y="948"/>
                  </a:lnTo>
                  <a:lnTo>
                    <a:pt x="210" y="942"/>
                  </a:lnTo>
                  <a:lnTo>
                    <a:pt x="216" y="942"/>
                  </a:lnTo>
                  <a:lnTo>
                    <a:pt x="222" y="942"/>
                  </a:lnTo>
                  <a:lnTo>
                    <a:pt x="222" y="936"/>
                  </a:lnTo>
                  <a:lnTo>
                    <a:pt x="216" y="936"/>
                  </a:lnTo>
                  <a:lnTo>
                    <a:pt x="210" y="936"/>
                  </a:lnTo>
                  <a:lnTo>
                    <a:pt x="210" y="930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22" y="918"/>
                  </a:lnTo>
                  <a:lnTo>
                    <a:pt x="228" y="912"/>
                  </a:lnTo>
                  <a:lnTo>
                    <a:pt x="228" y="906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2" y="888"/>
                  </a:lnTo>
                  <a:lnTo>
                    <a:pt x="222" y="882"/>
                  </a:lnTo>
                  <a:lnTo>
                    <a:pt x="222" y="876"/>
                  </a:lnTo>
                  <a:lnTo>
                    <a:pt x="222" y="858"/>
                  </a:lnTo>
                  <a:lnTo>
                    <a:pt x="216" y="858"/>
                  </a:lnTo>
                  <a:lnTo>
                    <a:pt x="216" y="852"/>
                  </a:lnTo>
                  <a:lnTo>
                    <a:pt x="210" y="852"/>
                  </a:lnTo>
                  <a:lnTo>
                    <a:pt x="210" y="840"/>
                  </a:lnTo>
                  <a:lnTo>
                    <a:pt x="198" y="840"/>
                  </a:lnTo>
                  <a:lnTo>
                    <a:pt x="198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0" y="894"/>
                  </a:lnTo>
                  <a:lnTo>
                    <a:pt x="180" y="906"/>
                  </a:lnTo>
                  <a:lnTo>
                    <a:pt x="156" y="912"/>
                  </a:lnTo>
                  <a:lnTo>
                    <a:pt x="156" y="894"/>
                  </a:lnTo>
                  <a:lnTo>
                    <a:pt x="156" y="882"/>
                  </a:lnTo>
                  <a:lnTo>
                    <a:pt x="156" y="876"/>
                  </a:lnTo>
                  <a:lnTo>
                    <a:pt x="150" y="876"/>
                  </a:lnTo>
                  <a:lnTo>
                    <a:pt x="144" y="876"/>
                  </a:lnTo>
                  <a:lnTo>
                    <a:pt x="138" y="870"/>
                  </a:lnTo>
                  <a:lnTo>
                    <a:pt x="132" y="864"/>
                  </a:lnTo>
                  <a:lnTo>
                    <a:pt x="138" y="840"/>
                  </a:lnTo>
                  <a:lnTo>
                    <a:pt x="132" y="840"/>
                  </a:lnTo>
                  <a:lnTo>
                    <a:pt x="138" y="810"/>
                  </a:lnTo>
                  <a:lnTo>
                    <a:pt x="144" y="804"/>
                  </a:lnTo>
                  <a:lnTo>
                    <a:pt x="144" y="798"/>
                  </a:lnTo>
                  <a:lnTo>
                    <a:pt x="156" y="798"/>
                  </a:lnTo>
                  <a:lnTo>
                    <a:pt x="156" y="792"/>
                  </a:lnTo>
                  <a:lnTo>
                    <a:pt x="120" y="792"/>
                  </a:lnTo>
                  <a:lnTo>
                    <a:pt x="108" y="786"/>
                  </a:lnTo>
                  <a:lnTo>
                    <a:pt x="96" y="786"/>
                  </a:lnTo>
                  <a:lnTo>
                    <a:pt x="96" y="780"/>
                  </a:lnTo>
                  <a:lnTo>
                    <a:pt x="78" y="780"/>
                  </a:lnTo>
                  <a:lnTo>
                    <a:pt x="72" y="804"/>
                  </a:lnTo>
                  <a:lnTo>
                    <a:pt x="60" y="816"/>
                  </a:lnTo>
                  <a:lnTo>
                    <a:pt x="36" y="828"/>
                  </a:lnTo>
                  <a:lnTo>
                    <a:pt x="18" y="840"/>
                  </a:lnTo>
                  <a:lnTo>
                    <a:pt x="0" y="822"/>
                  </a:lnTo>
                  <a:lnTo>
                    <a:pt x="6" y="816"/>
                  </a:lnTo>
                  <a:lnTo>
                    <a:pt x="12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18" y="786"/>
                  </a:lnTo>
                  <a:lnTo>
                    <a:pt x="24" y="780"/>
                  </a:lnTo>
                  <a:lnTo>
                    <a:pt x="24" y="768"/>
                  </a:lnTo>
                  <a:lnTo>
                    <a:pt x="24" y="762"/>
                  </a:lnTo>
                  <a:lnTo>
                    <a:pt x="24" y="750"/>
                  </a:lnTo>
                  <a:lnTo>
                    <a:pt x="36" y="714"/>
                  </a:lnTo>
                  <a:lnTo>
                    <a:pt x="36" y="708"/>
                  </a:lnTo>
                  <a:lnTo>
                    <a:pt x="42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6" y="690"/>
                  </a:lnTo>
                  <a:lnTo>
                    <a:pt x="42" y="684"/>
                  </a:lnTo>
                  <a:lnTo>
                    <a:pt x="42" y="672"/>
                  </a:lnTo>
                  <a:lnTo>
                    <a:pt x="42" y="666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48" y="648"/>
                  </a:lnTo>
                  <a:lnTo>
                    <a:pt x="54" y="642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54" y="612"/>
                  </a:lnTo>
                  <a:lnTo>
                    <a:pt x="48" y="606"/>
                  </a:lnTo>
                  <a:lnTo>
                    <a:pt x="48" y="600"/>
                  </a:lnTo>
                  <a:lnTo>
                    <a:pt x="42" y="600"/>
                  </a:lnTo>
                  <a:lnTo>
                    <a:pt x="36" y="594"/>
                  </a:lnTo>
                  <a:lnTo>
                    <a:pt x="36" y="588"/>
                  </a:lnTo>
                  <a:lnTo>
                    <a:pt x="30" y="582"/>
                  </a:lnTo>
                  <a:lnTo>
                    <a:pt x="30" y="570"/>
                  </a:lnTo>
                  <a:lnTo>
                    <a:pt x="18" y="552"/>
                  </a:lnTo>
                  <a:lnTo>
                    <a:pt x="18" y="546"/>
                  </a:lnTo>
                  <a:lnTo>
                    <a:pt x="18" y="540"/>
                  </a:lnTo>
                  <a:lnTo>
                    <a:pt x="18" y="528"/>
                  </a:lnTo>
                  <a:lnTo>
                    <a:pt x="18" y="522"/>
                  </a:lnTo>
                  <a:lnTo>
                    <a:pt x="24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30" y="474"/>
                  </a:lnTo>
                  <a:lnTo>
                    <a:pt x="36" y="474"/>
                  </a:lnTo>
                  <a:lnTo>
                    <a:pt x="42" y="468"/>
                  </a:lnTo>
                  <a:lnTo>
                    <a:pt x="48" y="468"/>
                  </a:lnTo>
                  <a:lnTo>
                    <a:pt x="48" y="462"/>
                  </a:lnTo>
                  <a:lnTo>
                    <a:pt x="48" y="456"/>
                  </a:lnTo>
                  <a:lnTo>
                    <a:pt x="54" y="450"/>
                  </a:lnTo>
                  <a:lnTo>
                    <a:pt x="60" y="438"/>
                  </a:lnTo>
                  <a:lnTo>
                    <a:pt x="54" y="438"/>
                  </a:lnTo>
                  <a:lnTo>
                    <a:pt x="54" y="432"/>
                  </a:ln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54" y="402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6" y="384"/>
                  </a:lnTo>
                  <a:lnTo>
                    <a:pt x="72" y="372"/>
                  </a:lnTo>
                  <a:lnTo>
                    <a:pt x="78" y="366"/>
                  </a:lnTo>
                  <a:lnTo>
                    <a:pt x="84" y="360"/>
                  </a:lnTo>
                  <a:lnTo>
                    <a:pt x="102" y="360"/>
                  </a:lnTo>
                  <a:lnTo>
                    <a:pt x="114" y="36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8" y="360"/>
                  </a:lnTo>
                  <a:lnTo>
                    <a:pt x="156" y="360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74" y="342"/>
                  </a:lnTo>
                  <a:lnTo>
                    <a:pt x="180" y="342"/>
                  </a:lnTo>
                  <a:lnTo>
                    <a:pt x="186" y="336"/>
                  </a:lnTo>
                  <a:lnTo>
                    <a:pt x="192" y="330"/>
                  </a:lnTo>
                  <a:lnTo>
                    <a:pt x="204" y="312"/>
                  </a:lnTo>
                  <a:lnTo>
                    <a:pt x="210" y="312"/>
                  </a:lnTo>
                  <a:lnTo>
                    <a:pt x="216" y="306"/>
                  </a:lnTo>
                  <a:lnTo>
                    <a:pt x="216" y="300"/>
                  </a:lnTo>
                  <a:lnTo>
                    <a:pt x="222" y="288"/>
                  </a:lnTo>
                  <a:lnTo>
                    <a:pt x="234" y="288"/>
                  </a:lnTo>
                  <a:lnTo>
                    <a:pt x="240" y="282"/>
                  </a:lnTo>
                  <a:lnTo>
                    <a:pt x="246" y="282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70" y="270"/>
                  </a:lnTo>
                  <a:lnTo>
                    <a:pt x="276" y="264"/>
                  </a:lnTo>
                  <a:lnTo>
                    <a:pt x="282" y="26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8" y="234"/>
                  </a:lnTo>
                  <a:lnTo>
                    <a:pt x="330" y="234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72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14" y="240"/>
                  </a:lnTo>
                  <a:lnTo>
                    <a:pt x="444" y="216"/>
                  </a:lnTo>
                  <a:lnTo>
                    <a:pt x="480" y="204"/>
                  </a:lnTo>
                  <a:lnTo>
                    <a:pt x="600" y="150"/>
                  </a:lnTo>
                  <a:lnTo>
                    <a:pt x="648" y="126"/>
                  </a:lnTo>
                  <a:lnTo>
                    <a:pt x="702" y="96"/>
                  </a:lnTo>
                  <a:lnTo>
                    <a:pt x="708" y="54"/>
                  </a:lnTo>
                  <a:lnTo>
                    <a:pt x="720" y="24"/>
                  </a:lnTo>
                  <a:lnTo>
                    <a:pt x="738" y="12"/>
                  </a:lnTo>
                  <a:lnTo>
                    <a:pt x="768" y="0"/>
                  </a:lnTo>
                  <a:lnTo>
                    <a:pt x="792" y="6"/>
                  </a:lnTo>
                  <a:lnTo>
                    <a:pt x="804" y="12"/>
                  </a:lnTo>
                  <a:lnTo>
                    <a:pt x="834" y="48"/>
                  </a:lnTo>
                  <a:lnTo>
                    <a:pt x="834" y="60"/>
                  </a:lnTo>
                  <a:lnTo>
                    <a:pt x="852" y="84"/>
                  </a:lnTo>
                  <a:lnTo>
                    <a:pt x="864" y="96"/>
                  </a:lnTo>
                  <a:lnTo>
                    <a:pt x="888" y="102"/>
                  </a:lnTo>
                  <a:lnTo>
                    <a:pt x="978" y="120"/>
                  </a:lnTo>
                  <a:lnTo>
                    <a:pt x="984" y="126"/>
                  </a:lnTo>
                  <a:lnTo>
                    <a:pt x="984" y="132"/>
                  </a:lnTo>
                  <a:lnTo>
                    <a:pt x="996" y="138"/>
                  </a:lnTo>
                  <a:lnTo>
                    <a:pt x="1038" y="126"/>
                  </a:lnTo>
                  <a:lnTo>
                    <a:pt x="1056" y="114"/>
                  </a:lnTo>
                  <a:lnTo>
                    <a:pt x="1068" y="126"/>
                  </a:lnTo>
                  <a:lnTo>
                    <a:pt x="1074" y="132"/>
                  </a:lnTo>
                  <a:lnTo>
                    <a:pt x="1068" y="138"/>
                  </a:lnTo>
                  <a:lnTo>
                    <a:pt x="1056" y="150"/>
                  </a:lnTo>
                  <a:lnTo>
                    <a:pt x="1038" y="162"/>
                  </a:lnTo>
                  <a:lnTo>
                    <a:pt x="1038" y="168"/>
                  </a:lnTo>
                  <a:lnTo>
                    <a:pt x="1020" y="174"/>
                  </a:lnTo>
                  <a:lnTo>
                    <a:pt x="1014" y="180"/>
                  </a:lnTo>
                  <a:lnTo>
                    <a:pt x="1008" y="186"/>
                  </a:lnTo>
                  <a:lnTo>
                    <a:pt x="1002" y="198"/>
                  </a:lnTo>
                  <a:lnTo>
                    <a:pt x="984" y="204"/>
                  </a:lnTo>
                  <a:lnTo>
                    <a:pt x="984" y="246"/>
                  </a:lnTo>
                  <a:lnTo>
                    <a:pt x="978" y="270"/>
                  </a:lnTo>
                  <a:lnTo>
                    <a:pt x="990" y="306"/>
                  </a:lnTo>
                  <a:lnTo>
                    <a:pt x="990" y="324"/>
                  </a:lnTo>
                  <a:lnTo>
                    <a:pt x="1002" y="336"/>
                  </a:lnTo>
                  <a:lnTo>
                    <a:pt x="1020" y="372"/>
                  </a:lnTo>
                  <a:lnTo>
                    <a:pt x="1014" y="378"/>
                  </a:lnTo>
                  <a:lnTo>
                    <a:pt x="1014" y="384"/>
                  </a:lnTo>
                  <a:lnTo>
                    <a:pt x="1020" y="384"/>
                  </a:lnTo>
                  <a:lnTo>
                    <a:pt x="1020" y="396"/>
                  </a:lnTo>
                  <a:lnTo>
                    <a:pt x="1062" y="468"/>
                  </a:lnTo>
                  <a:lnTo>
                    <a:pt x="1092" y="522"/>
                  </a:lnTo>
                  <a:lnTo>
                    <a:pt x="1110" y="546"/>
                  </a:lnTo>
                  <a:lnTo>
                    <a:pt x="1122" y="564"/>
                  </a:lnTo>
                  <a:lnTo>
                    <a:pt x="1134" y="576"/>
                  </a:lnTo>
                  <a:lnTo>
                    <a:pt x="1146" y="582"/>
                  </a:lnTo>
                  <a:lnTo>
                    <a:pt x="1146" y="588"/>
                  </a:lnTo>
                  <a:lnTo>
                    <a:pt x="1164" y="600"/>
                  </a:lnTo>
                  <a:lnTo>
                    <a:pt x="1170" y="612"/>
                  </a:lnTo>
                  <a:lnTo>
                    <a:pt x="1170" y="624"/>
                  </a:lnTo>
                  <a:lnTo>
                    <a:pt x="1176" y="654"/>
                  </a:lnTo>
                  <a:lnTo>
                    <a:pt x="1176" y="666"/>
                  </a:lnTo>
                  <a:lnTo>
                    <a:pt x="1182" y="684"/>
                  </a:lnTo>
                  <a:lnTo>
                    <a:pt x="1194" y="696"/>
                  </a:lnTo>
                  <a:lnTo>
                    <a:pt x="1212" y="696"/>
                  </a:lnTo>
                  <a:lnTo>
                    <a:pt x="1206" y="762"/>
                  </a:lnTo>
                  <a:lnTo>
                    <a:pt x="1200" y="768"/>
                  </a:lnTo>
                  <a:lnTo>
                    <a:pt x="1194" y="768"/>
                  </a:lnTo>
                  <a:lnTo>
                    <a:pt x="1194" y="774"/>
                  </a:lnTo>
                  <a:lnTo>
                    <a:pt x="1188" y="774"/>
                  </a:lnTo>
                  <a:lnTo>
                    <a:pt x="1182" y="780"/>
                  </a:lnTo>
                  <a:lnTo>
                    <a:pt x="1176" y="780"/>
                  </a:lnTo>
                  <a:lnTo>
                    <a:pt x="1170" y="780"/>
                  </a:lnTo>
                  <a:lnTo>
                    <a:pt x="1164" y="786"/>
                  </a:lnTo>
                  <a:lnTo>
                    <a:pt x="1158" y="786"/>
                  </a:lnTo>
                  <a:lnTo>
                    <a:pt x="1152" y="786"/>
                  </a:lnTo>
                  <a:lnTo>
                    <a:pt x="1140" y="786"/>
                  </a:lnTo>
                  <a:lnTo>
                    <a:pt x="1134" y="786"/>
                  </a:lnTo>
                  <a:lnTo>
                    <a:pt x="1134" y="780"/>
                  </a:lnTo>
                  <a:lnTo>
                    <a:pt x="1122" y="780"/>
                  </a:lnTo>
                  <a:lnTo>
                    <a:pt x="1116" y="786"/>
                  </a:lnTo>
                  <a:lnTo>
                    <a:pt x="1116" y="792"/>
                  </a:lnTo>
                  <a:lnTo>
                    <a:pt x="1122" y="804"/>
                  </a:lnTo>
                  <a:lnTo>
                    <a:pt x="1128" y="804"/>
                  </a:lnTo>
                  <a:lnTo>
                    <a:pt x="1128" y="816"/>
                  </a:lnTo>
                  <a:lnTo>
                    <a:pt x="1122" y="822"/>
                  </a:lnTo>
                  <a:lnTo>
                    <a:pt x="1116" y="816"/>
                  </a:lnTo>
                  <a:lnTo>
                    <a:pt x="1110" y="816"/>
                  </a:lnTo>
                  <a:lnTo>
                    <a:pt x="1104" y="816"/>
                  </a:lnTo>
                  <a:lnTo>
                    <a:pt x="1098" y="816"/>
                  </a:lnTo>
                  <a:lnTo>
                    <a:pt x="1098" y="822"/>
                  </a:lnTo>
                  <a:lnTo>
                    <a:pt x="1092" y="834"/>
                  </a:lnTo>
                  <a:lnTo>
                    <a:pt x="1092" y="840"/>
                  </a:lnTo>
                  <a:lnTo>
                    <a:pt x="1074" y="840"/>
                  </a:lnTo>
                  <a:lnTo>
                    <a:pt x="1074" y="828"/>
                  </a:lnTo>
                  <a:lnTo>
                    <a:pt x="1062" y="804"/>
                  </a:lnTo>
                  <a:lnTo>
                    <a:pt x="1056" y="792"/>
                  </a:lnTo>
                  <a:lnTo>
                    <a:pt x="1056" y="786"/>
                  </a:lnTo>
                  <a:lnTo>
                    <a:pt x="1026" y="780"/>
                  </a:lnTo>
                  <a:lnTo>
                    <a:pt x="1026" y="768"/>
                  </a:lnTo>
                  <a:lnTo>
                    <a:pt x="1008" y="768"/>
                  </a:lnTo>
                  <a:lnTo>
                    <a:pt x="1002" y="780"/>
                  </a:lnTo>
                  <a:lnTo>
                    <a:pt x="996" y="792"/>
                  </a:lnTo>
                  <a:lnTo>
                    <a:pt x="978" y="798"/>
                  </a:lnTo>
                  <a:lnTo>
                    <a:pt x="972" y="810"/>
                  </a:lnTo>
                  <a:lnTo>
                    <a:pt x="972" y="822"/>
                  </a:lnTo>
                  <a:lnTo>
                    <a:pt x="978" y="828"/>
                  </a:lnTo>
                  <a:lnTo>
                    <a:pt x="978" y="834"/>
                  </a:lnTo>
                  <a:lnTo>
                    <a:pt x="960" y="840"/>
                  </a:lnTo>
                  <a:lnTo>
                    <a:pt x="936" y="840"/>
                  </a:lnTo>
                  <a:lnTo>
                    <a:pt x="918" y="846"/>
                  </a:lnTo>
                  <a:lnTo>
                    <a:pt x="912" y="840"/>
                  </a:lnTo>
                  <a:lnTo>
                    <a:pt x="912" y="834"/>
                  </a:lnTo>
                  <a:lnTo>
                    <a:pt x="906" y="834"/>
                  </a:lnTo>
                  <a:lnTo>
                    <a:pt x="906" y="840"/>
                  </a:lnTo>
                  <a:lnTo>
                    <a:pt x="900" y="846"/>
                  </a:lnTo>
                  <a:lnTo>
                    <a:pt x="906" y="852"/>
                  </a:lnTo>
                  <a:lnTo>
                    <a:pt x="900" y="864"/>
                  </a:lnTo>
                  <a:lnTo>
                    <a:pt x="900" y="876"/>
                  </a:lnTo>
                  <a:lnTo>
                    <a:pt x="900" y="882"/>
                  </a:lnTo>
                  <a:lnTo>
                    <a:pt x="894" y="888"/>
                  </a:lnTo>
                  <a:lnTo>
                    <a:pt x="900" y="900"/>
                  </a:lnTo>
                  <a:lnTo>
                    <a:pt x="900" y="906"/>
                  </a:lnTo>
                  <a:lnTo>
                    <a:pt x="894" y="906"/>
                  </a:lnTo>
                  <a:lnTo>
                    <a:pt x="894" y="912"/>
                  </a:lnTo>
                  <a:lnTo>
                    <a:pt x="900" y="918"/>
                  </a:lnTo>
                  <a:lnTo>
                    <a:pt x="900" y="924"/>
                  </a:lnTo>
                  <a:lnTo>
                    <a:pt x="900" y="948"/>
                  </a:lnTo>
                  <a:lnTo>
                    <a:pt x="888" y="948"/>
                  </a:lnTo>
                  <a:lnTo>
                    <a:pt x="888" y="954"/>
                  </a:lnTo>
                  <a:lnTo>
                    <a:pt x="894" y="954"/>
                  </a:lnTo>
                  <a:lnTo>
                    <a:pt x="900" y="960"/>
                  </a:lnTo>
                  <a:lnTo>
                    <a:pt x="900" y="972"/>
                  </a:lnTo>
                  <a:lnTo>
                    <a:pt x="906" y="984"/>
                  </a:lnTo>
                  <a:lnTo>
                    <a:pt x="912" y="984"/>
                  </a:lnTo>
                  <a:lnTo>
                    <a:pt x="918" y="990"/>
                  </a:lnTo>
                  <a:lnTo>
                    <a:pt x="936" y="990"/>
                  </a:lnTo>
                  <a:lnTo>
                    <a:pt x="936" y="996"/>
                  </a:lnTo>
                  <a:lnTo>
                    <a:pt x="942" y="996"/>
                  </a:lnTo>
                  <a:lnTo>
                    <a:pt x="942" y="1002"/>
                  </a:lnTo>
                  <a:lnTo>
                    <a:pt x="942" y="1008"/>
                  </a:lnTo>
                  <a:lnTo>
                    <a:pt x="948" y="1008"/>
                  </a:lnTo>
                  <a:lnTo>
                    <a:pt x="948" y="1014"/>
                  </a:lnTo>
                  <a:lnTo>
                    <a:pt x="948" y="1020"/>
                  </a:lnTo>
                  <a:lnTo>
                    <a:pt x="954" y="1032"/>
                  </a:lnTo>
                  <a:lnTo>
                    <a:pt x="948" y="1038"/>
                  </a:lnTo>
                  <a:lnTo>
                    <a:pt x="954" y="1044"/>
                  </a:lnTo>
                  <a:lnTo>
                    <a:pt x="954" y="1056"/>
                  </a:lnTo>
                  <a:lnTo>
                    <a:pt x="960" y="1056"/>
                  </a:lnTo>
                  <a:lnTo>
                    <a:pt x="960" y="1062"/>
                  </a:lnTo>
                  <a:lnTo>
                    <a:pt x="954" y="1068"/>
                  </a:lnTo>
                  <a:lnTo>
                    <a:pt x="948" y="1074"/>
                  </a:lnTo>
                  <a:lnTo>
                    <a:pt x="948" y="1080"/>
                  </a:lnTo>
                  <a:lnTo>
                    <a:pt x="948" y="1086"/>
                  </a:lnTo>
                  <a:lnTo>
                    <a:pt x="942" y="1092"/>
                  </a:lnTo>
                  <a:lnTo>
                    <a:pt x="942" y="1098"/>
                  </a:lnTo>
                  <a:lnTo>
                    <a:pt x="942" y="1104"/>
                  </a:lnTo>
                  <a:lnTo>
                    <a:pt x="942" y="1110"/>
                  </a:lnTo>
                  <a:lnTo>
                    <a:pt x="936" y="1116"/>
                  </a:lnTo>
                  <a:lnTo>
                    <a:pt x="936" y="1122"/>
                  </a:lnTo>
                  <a:lnTo>
                    <a:pt x="936" y="1128"/>
                  </a:lnTo>
                  <a:lnTo>
                    <a:pt x="936" y="1134"/>
                  </a:lnTo>
                  <a:lnTo>
                    <a:pt x="942" y="1146"/>
                  </a:lnTo>
                  <a:lnTo>
                    <a:pt x="936" y="1158"/>
                  </a:lnTo>
                  <a:lnTo>
                    <a:pt x="936" y="1170"/>
                  </a:lnTo>
                  <a:lnTo>
                    <a:pt x="936" y="1194"/>
                  </a:lnTo>
                  <a:lnTo>
                    <a:pt x="930" y="1200"/>
                  </a:lnTo>
                  <a:lnTo>
                    <a:pt x="930" y="1212"/>
                  </a:lnTo>
                  <a:lnTo>
                    <a:pt x="918" y="1218"/>
                  </a:lnTo>
                  <a:lnTo>
                    <a:pt x="918" y="1230"/>
                  </a:lnTo>
                  <a:lnTo>
                    <a:pt x="906" y="1230"/>
                  </a:lnTo>
                  <a:lnTo>
                    <a:pt x="900" y="1254"/>
                  </a:lnTo>
                  <a:lnTo>
                    <a:pt x="900" y="1260"/>
                  </a:lnTo>
                  <a:lnTo>
                    <a:pt x="900" y="1266"/>
                  </a:lnTo>
                  <a:lnTo>
                    <a:pt x="900" y="1272"/>
                  </a:lnTo>
                  <a:lnTo>
                    <a:pt x="900" y="1278"/>
                  </a:lnTo>
                  <a:lnTo>
                    <a:pt x="900" y="1284"/>
                  </a:lnTo>
                  <a:lnTo>
                    <a:pt x="906" y="129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1" name="Freeform 26">
              <a:extLst>
                <a:ext uri="{FF2B5EF4-FFF2-40B4-BE49-F238E27FC236}">
                  <a16:creationId xmlns:a16="http://schemas.microsoft.com/office/drawing/2014/main" id="{25725EFE-FE00-49A8-A87A-6752B785C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79173" y="3477313"/>
              <a:ext cx="650731" cy="559125"/>
            </a:xfrm>
            <a:custGeom>
              <a:avLst/>
              <a:gdLst>
                <a:gd name="T0" fmla="*/ 95 w 1224"/>
                <a:gd name="T1" fmla="*/ 89 h 1050"/>
                <a:gd name="T2" fmla="*/ 90 w 1224"/>
                <a:gd name="T3" fmla="*/ 84 h 1050"/>
                <a:gd name="T4" fmla="*/ 84 w 1224"/>
                <a:gd name="T5" fmla="*/ 83 h 1050"/>
                <a:gd name="T6" fmla="*/ 82 w 1224"/>
                <a:gd name="T7" fmla="*/ 80 h 1050"/>
                <a:gd name="T8" fmla="*/ 85 w 1224"/>
                <a:gd name="T9" fmla="*/ 77 h 1050"/>
                <a:gd name="T10" fmla="*/ 81 w 1224"/>
                <a:gd name="T11" fmla="*/ 76 h 1050"/>
                <a:gd name="T12" fmla="*/ 77 w 1224"/>
                <a:gd name="T13" fmla="*/ 77 h 1050"/>
                <a:gd name="T14" fmla="*/ 78 w 1224"/>
                <a:gd name="T15" fmla="*/ 73 h 1050"/>
                <a:gd name="T16" fmla="*/ 59 w 1224"/>
                <a:gd name="T17" fmla="*/ 71 h 1050"/>
                <a:gd name="T18" fmla="*/ 41 w 1224"/>
                <a:gd name="T19" fmla="*/ 73 h 1050"/>
                <a:gd name="T20" fmla="*/ 33 w 1224"/>
                <a:gd name="T21" fmla="*/ 71 h 1050"/>
                <a:gd name="T22" fmla="*/ 30 w 1224"/>
                <a:gd name="T23" fmla="*/ 75 h 1050"/>
                <a:gd name="T24" fmla="*/ 27 w 1224"/>
                <a:gd name="T25" fmla="*/ 80 h 1050"/>
                <a:gd name="T26" fmla="*/ 12 w 1224"/>
                <a:gd name="T27" fmla="*/ 81 h 1050"/>
                <a:gd name="T28" fmla="*/ 9 w 1224"/>
                <a:gd name="T29" fmla="*/ 84 h 1050"/>
                <a:gd name="T30" fmla="*/ 6 w 1224"/>
                <a:gd name="T31" fmla="*/ 83 h 1050"/>
                <a:gd name="T32" fmla="*/ 1 w 1224"/>
                <a:gd name="T33" fmla="*/ 83 h 1050"/>
                <a:gd name="T34" fmla="*/ 3 w 1224"/>
                <a:gd name="T35" fmla="*/ 77 h 1050"/>
                <a:gd name="T36" fmla="*/ 5 w 1224"/>
                <a:gd name="T37" fmla="*/ 70 h 1050"/>
                <a:gd name="T38" fmla="*/ 2 w 1224"/>
                <a:gd name="T39" fmla="*/ 65 h 1050"/>
                <a:gd name="T40" fmla="*/ 3 w 1224"/>
                <a:gd name="T41" fmla="*/ 58 h 1050"/>
                <a:gd name="T42" fmla="*/ 4 w 1224"/>
                <a:gd name="T43" fmla="*/ 51 h 1050"/>
                <a:gd name="T44" fmla="*/ 3 w 1224"/>
                <a:gd name="T45" fmla="*/ 47 h 1050"/>
                <a:gd name="T46" fmla="*/ 4 w 1224"/>
                <a:gd name="T47" fmla="*/ 39 h 1050"/>
                <a:gd name="T48" fmla="*/ 6 w 1224"/>
                <a:gd name="T49" fmla="*/ 29 h 1050"/>
                <a:gd name="T50" fmla="*/ 3 w 1224"/>
                <a:gd name="T51" fmla="*/ 22 h 1050"/>
                <a:gd name="T52" fmla="*/ 2 w 1224"/>
                <a:gd name="T53" fmla="*/ 14 h 1050"/>
                <a:gd name="T54" fmla="*/ 0 w 1224"/>
                <a:gd name="T55" fmla="*/ 6 h 1050"/>
                <a:gd name="T56" fmla="*/ 9 w 1224"/>
                <a:gd name="T57" fmla="*/ 1 h 1050"/>
                <a:gd name="T58" fmla="*/ 11 w 1224"/>
                <a:gd name="T59" fmla="*/ 8 h 1050"/>
                <a:gd name="T60" fmla="*/ 15 w 1224"/>
                <a:gd name="T61" fmla="*/ 9 h 1050"/>
                <a:gd name="T62" fmla="*/ 18 w 1224"/>
                <a:gd name="T63" fmla="*/ 8 h 1050"/>
                <a:gd name="T64" fmla="*/ 18 w 1224"/>
                <a:gd name="T65" fmla="*/ 13 h 1050"/>
                <a:gd name="T66" fmla="*/ 17 w 1224"/>
                <a:gd name="T67" fmla="*/ 15 h 1050"/>
                <a:gd name="T68" fmla="*/ 17 w 1224"/>
                <a:gd name="T69" fmla="*/ 17 h 1050"/>
                <a:gd name="T70" fmla="*/ 17 w 1224"/>
                <a:gd name="T71" fmla="*/ 21 h 1050"/>
                <a:gd name="T72" fmla="*/ 21 w 1224"/>
                <a:gd name="T73" fmla="*/ 25 h 1050"/>
                <a:gd name="T74" fmla="*/ 24 w 1224"/>
                <a:gd name="T75" fmla="*/ 31 h 1050"/>
                <a:gd name="T76" fmla="*/ 35 w 1224"/>
                <a:gd name="T77" fmla="*/ 34 h 1050"/>
                <a:gd name="T78" fmla="*/ 40 w 1224"/>
                <a:gd name="T79" fmla="*/ 27 h 1050"/>
                <a:gd name="T80" fmla="*/ 46 w 1224"/>
                <a:gd name="T81" fmla="*/ 30 h 1050"/>
                <a:gd name="T82" fmla="*/ 51 w 1224"/>
                <a:gd name="T83" fmla="*/ 27 h 1050"/>
                <a:gd name="T84" fmla="*/ 59 w 1224"/>
                <a:gd name="T85" fmla="*/ 39 h 1050"/>
                <a:gd name="T86" fmla="*/ 59 w 1224"/>
                <a:gd name="T87" fmla="*/ 45 h 1050"/>
                <a:gd name="T88" fmla="*/ 72 w 1224"/>
                <a:gd name="T89" fmla="*/ 45 h 1050"/>
                <a:gd name="T90" fmla="*/ 79 w 1224"/>
                <a:gd name="T91" fmla="*/ 44 h 1050"/>
                <a:gd name="T92" fmla="*/ 87 w 1224"/>
                <a:gd name="T93" fmla="*/ 48 h 1050"/>
                <a:gd name="T94" fmla="*/ 93 w 1224"/>
                <a:gd name="T95" fmla="*/ 50 h 1050"/>
                <a:gd name="T96" fmla="*/ 98 w 1224"/>
                <a:gd name="T97" fmla="*/ 51 h 1050"/>
                <a:gd name="T98" fmla="*/ 106 w 1224"/>
                <a:gd name="T99" fmla="*/ 50 h 1050"/>
                <a:gd name="T100" fmla="*/ 104 w 1224"/>
                <a:gd name="T101" fmla="*/ 54 h 1050"/>
                <a:gd name="T102" fmla="*/ 104 w 1224"/>
                <a:gd name="T103" fmla="*/ 60 h 1050"/>
                <a:gd name="T104" fmla="*/ 101 w 1224"/>
                <a:gd name="T105" fmla="*/ 63 h 1050"/>
                <a:gd name="T106" fmla="*/ 98 w 1224"/>
                <a:gd name="T107" fmla="*/ 66 h 1050"/>
                <a:gd name="T108" fmla="*/ 95 w 1224"/>
                <a:gd name="T109" fmla="*/ 68 h 1050"/>
                <a:gd name="T110" fmla="*/ 93 w 1224"/>
                <a:gd name="T111" fmla="*/ 72 h 1050"/>
                <a:gd name="T112" fmla="*/ 98 w 1224"/>
                <a:gd name="T113" fmla="*/ 75 h 1050"/>
                <a:gd name="T114" fmla="*/ 102 w 1224"/>
                <a:gd name="T115" fmla="*/ 77 h 1050"/>
                <a:gd name="T116" fmla="*/ 107 w 1224"/>
                <a:gd name="T117" fmla="*/ 76 h 1050"/>
                <a:gd name="T118" fmla="*/ 104 w 1224"/>
                <a:gd name="T119" fmla="*/ 84 h 1050"/>
                <a:gd name="T120" fmla="*/ 103 w 1224"/>
                <a:gd name="T121" fmla="*/ 87 h 1050"/>
                <a:gd name="T122" fmla="*/ 104 w 1224"/>
                <a:gd name="T123" fmla="*/ 91 h 105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24"/>
                <a:gd name="T187" fmla="*/ 0 h 1050"/>
                <a:gd name="T188" fmla="*/ 1224 w 1224"/>
                <a:gd name="T189" fmla="*/ 1050 h 105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24" h="1050">
                  <a:moveTo>
                    <a:pt x="1128" y="1032"/>
                  </a:moveTo>
                  <a:lnTo>
                    <a:pt x="1122" y="1026"/>
                  </a:lnTo>
                  <a:lnTo>
                    <a:pt x="1116" y="1026"/>
                  </a:lnTo>
                  <a:lnTo>
                    <a:pt x="1110" y="1026"/>
                  </a:lnTo>
                  <a:lnTo>
                    <a:pt x="1104" y="1026"/>
                  </a:lnTo>
                  <a:lnTo>
                    <a:pt x="1104" y="1020"/>
                  </a:lnTo>
                  <a:lnTo>
                    <a:pt x="1098" y="1020"/>
                  </a:lnTo>
                  <a:lnTo>
                    <a:pt x="1092" y="1020"/>
                  </a:lnTo>
                  <a:lnTo>
                    <a:pt x="1086" y="1020"/>
                  </a:lnTo>
                  <a:lnTo>
                    <a:pt x="1080" y="1014"/>
                  </a:lnTo>
                  <a:lnTo>
                    <a:pt x="1068" y="1014"/>
                  </a:lnTo>
                  <a:lnTo>
                    <a:pt x="1062" y="1014"/>
                  </a:lnTo>
                  <a:lnTo>
                    <a:pt x="1062" y="1008"/>
                  </a:lnTo>
                  <a:lnTo>
                    <a:pt x="1062" y="990"/>
                  </a:lnTo>
                  <a:lnTo>
                    <a:pt x="1062" y="984"/>
                  </a:lnTo>
                  <a:lnTo>
                    <a:pt x="1062" y="972"/>
                  </a:lnTo>
                  <a:lnTo>
                    <a:pt x="1044" y="966"/>
                  </a:lnTo>
                  <a:lnTo>
                    <a:pt x="1026" y="966"/>
                  </a:lnTo>
                  <a:lnTo>
                    <a:pt x="1014" y="966"/>
                  </a:lnTo>
                  <a:lnTo>
                    <a:pt x="996" y="966"/>
                  </a:lnTo>
                  <a:lnTo>
                    <a:pt x="996" y="972"/>
                  </a:lnTo>
                  <a:lnTo>
                    <a:pt x="990" y="972"/>
                  </a:lnTo>
                  <a:lnTo>
                    <a:pt x="984" y="966"/>
                  </a:lnTo>
                  <a:lnTo>
                    <a:pt x="978" y="966"/>
                  </a:lnTo>
                  <a:lnTo>
                    <a:pt x="978" y="960"/>
                  </a:lnTo>
                  <a:lnTo>
                    <a:pt x="972" y="954"/>
                  </a:lnTo>
                  <a:lnTo>
                    <a:pt x="966" y="954"/>
                  </a:lnTo>
                  <a:lnTo>
                    <a:pt x="960" y="954"/>
                  </a:lnTo>
                  <a:lnTo>
                    <a:pt x="954" y="954"/>
                  </a:lnTo>
                  <a:lnTo>
                    <a:pt x="954" y="948"/>
                  </a:lnTo>
                  <a:lnTo>
                    <a:pt x="942" y="942"/>
                  </a:lnTo>
                  <a:lnTo>
                    <a:pt x="936" y="942"/>
                  </a:lnTo>
                  <a:lnTo>
                    <a:pt x="936" y="936"/>
                  </a:lnTo>
                  <a:lnTo>
                    <a:pt x="936" y="930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42" y="918"/>
                  </a:lnTo>
                  <a:lnTo>
                    <a:pt x="948" y="918"/>
                  </a:lnTo>
                  <a:lnTo>
                    <a:pt x="960" y="918"/>
                  </a:lnTo>
                  <a:lnTo>
                    <a:pt x="966" y="912"/>
                  </a:lnTo>
                  <a:lnTo>
                    <a:pt x="978" y="906"/>
                  </a:lnTo>
                  <a:lnTo>
                    <a:pt x="978" y="900"/>
                  </a:lnTo>
                  <a:lnTo>
                    <a:pt x="978" y="894"/>
                  </a:lnTo>
                  <a:lnTo>
                    <a:pt x="978" y="888"/>
                  </a:lnTo>
                  <a:lnTo>
                    <a:pt x="972" y="888"/>
                  </a:lnTo>
                  <a:lnTo>
                    <a:pt x="978" y="888"/>
                  </a:lnTo>
                  <a:lnTo>
                    <a:pt x="978" y="882"/>
                  </a:lnTo>
                  <a:lnTo>
                    <a:pt x="972" y="876"/>
                  </a:lnTo>
                  <a:lnTo>
                    <a:pt x="966" y="870"/>
                  </a:lnTo>
                  <a:lnTo>
                    <a:pt x="954" y="876"/>
                  </a:lnTo>
                  <a:lnTo>
                    <a:pt x="948" y="876"/>
                  </a:lnTo>
                  <a:lnTo>
                    <a:pt x="942" y="870"/>
                  </a:lnTo>
                  <a:lnTo>
                    <a:pt x="936" y="876"/>
                  </a:lnTo>
                  <a:lnTo>
                    <a:pt x="930" y="876"/>
                  </a:lnTo>
                  <a:lnTo>
                    <a:pt x="924" y="882"/>
                  </a:lnTo>
                  <a:lnTo>
                    <a:pt x="912" y="888"/>
                  </a:lnTo>
                  <a:lnTo>
                    <a:pt x="906" y="894"/>
                  </a:lnTo>
                  <a:lnTo>
                    <a:pt x="900" y="900"/>
                  </a:lnTo>
                  <a:lnTo>
                    <a:pt x="894" y="888"/>
                  </a:lnTo>
                  <a:lnTo>
                    <a:pt x="888" y="894"/>
                  </a:lnTo>
                  <a:lnTo>
                    <a:pt x="882" y="888"/>
                  </a:lnTo>
                  <a:lnTo>
                    <a:pt x="876" y="894"/>
                  </a:lnTo>
                  <a:lnTo>
                    <a:pt x="876" y="888"/>
                  </a:lnTo>
                  <a:lnTo>
                    <a:pt x="876" y="882"/>
                  </a:lnTo>
                  <a:lnTo>
                    <a:pt x="876" y="876"/>
                  </a:lnTo>
                  <a:lnTo>
                    <a:pt x="870" y="858"/>
                  </a:lnTo>
                  <a:lnTo>
                    <a:pt x="864" y="858"/>
                  </a:lnTo>
                  <a:lnTo>
                    <a:pt x="870" y="852"/>
                  </a:lnTo>
                  <a:lnTo>
                    <a:pt x="870" y="846"/>
                  </a:lnTo>
                  <a:lnTo>
                    <a:pt x="876" y="846"/>
                  </a:lnTo>
                  <a:lnTo>
                    <a:pt x="882" y="846"/>
                  </a:lnTo>
                  <a:lnTo>
                    <a:pt x="888" y="840"/>
                  </a:lnTo>
                  <a:lnTo>
                    <a:pt x="894" y="834"/>
                  </a:lnTo>
                  <a:lnTo>
                    <a:pt x="894" y="828"/>
                  </a:lnTo>
                  <a:lnTo>
                    <a:pt x="894" y="816"/>
                  </a:lnTo>
                  <a:lnTo>
                    <a:pt x="858" y="810"/>
                  </a:lnTo>
                  <a:lnTo>
                    <a:pt x="858" y="816"/>
                  </a:lnTo>
                  <a:lnTo>
                    <a:pt x="852" y="816"/>
                  </a:lnTo>
                  <a:lnTo>
                    <a:pt x="780" y="816"/>
                  </a:lnTo>
                  <a:lnTo>
                    <a:pt x="750" y="816"/>
                  </a:lnTo>
                  <a:lnTo>
                    <a:pt x="684" y="816"/>
                  </a:lnTo>
                  <a:lnTo>
                    <a:pt x="636" y="816"/>
                  </a:lnTo>
                  <a:lnTo>
                    <a:pt x="612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0" y="816"/>
                  </a:lnTo>
                  <a:lnTo>
                    <a:pt x="480" y="822"/>
                  </a:lnTo>
                  <a:lnTo>
                    <a:pt x="480" y="834"/>
                  </a:lnTo>
                  <a:lnTo>
                    <a:pt x="474" y="840"/>
                  </a:lnTo>
                  <a:lnTo>
                    <a:pt x="468" y="840"/>
                  </a:lnTo>
                  <a:lnTo>
                    <a:pt x="432" y="840"/>
                  </a:lnTo>
                  <a:lnTo>
                    <a:pt x="426" y="834"/>
                  </a:lnTo>
                  <a:lnTo>
                    <a:pt x="420" y="834"/>
                  </a:lnTo>
                  <a:lnTo>
                    <a:pt x="420" y="828"/>
                  </a:lnTo>
                  <a:lnTo>
                    <a:pt x="414" y="822"/>
                  </a:lnTo>
                  <a:lnTo>
                    <a:pt x="408" y="822"/>
                  </a:lnTo>
                  <a:lnTo>
                    <a:pt x="396" y="822"/>
                  </a:lnTo>
                  <a:lnTo>
                    <a:pt x="396" y="816"/>
                  </a:lnTo>
                  <a:lnTo>
                    <a:pt x="384" y="816"/>
                  </a:lnTo>
                  <a:lnTo>
                    <a:pt x="372" y="810"/>
                  </a:lnTo>
                  <a:lnTo>
                    <a:pt x="372" y="804"/>
                  </a:lnTo>
                  <a:lnTo>
                    <a:pt x="366" y="804"/>
                  </a:lnTo>
                  <a:lnTo>
                    <a:pt x="360" y="804"/>
                  </a:lnTo>
                  <a:lnTo>
                    <a:pt x="348" y="828"/>
                  </a:lnTo>
                  <a:lnTo>
                    <a:pt x="348" y="834"/>
                  </a:lnTo>
                  <a:lnTo>
                    <a:pt x="348" y="852"/>
                  </a:lnTo>
                  <a:lnTo>
                    <a:pt x="348" y="858"/>
                  </a:lnTo>
                  <a:lnTo>
                    <a:pt x="342" y="864"/>
                  </a:lnTo>
                  <a:lnTo>
                    <a:pt x="342" y="870"/>
                  </a:lnTo>
                  <a:lnTo>
                    <a:pt x="330" y="876"/>
                  </a:lnTo>
                  <a:lnTo>
                    <a:pt x="324" y="888"/>
                  </a:lnTo>
                  <a:lnTo>
                    <a:pt x="324" y="894"/>
                  </a:lnTo>
                  <a:lnTo>
                    <a:pt x="330" y="900"/>
                  </a:lnTo>
                  <a:lnTo>
                    <a:pt x="330" y="906"/>
                  </a:lnTo>
                  <a:lnTo>
                    <a:pt x="324" y="906"/>
                  </a:lnTo>
                  <a:lnTo>
                    <a:pt x="318" y="912"/>
                  </a:lnTo>
                  <a:lnTo>
                    <a:pt x="312" y="918"/>
                  </a:lnTo>
                  <a:lnTo>
                    <a:pt x="306" y="924"/>
                  </a:lnTo>
                  <a:lnTo>
                    <a:pt x="288" y="924"/>
                  </a:lnTo>
                  <a:lnTo>
                    <a:pt x="282" y="924"/>
                  </a:lnTo>
                  <a:lnTo>
                    <a:pt x="276" y="930"/>
                  </a:lnTo>
                  <a:lnTo>
                    <a:pt x="270" y="930"/>
                  </a:lnTo>
                  <a:lnTo>
                    <a:pt x="264" y="930"/>
                  </a:lnTo>
                  <a:lnTo>
                    <a:pt x="198" y="930"/>
                  </a:lnTo>
                  <a:lnTo>
                    <a:pt x="132" y="930"/>
                  </a:lnTo>
                  <a:lnTo>
                    <a:pt x="132" y="936"/>
                  </a:lnTo>
                  <a:lnTo>
                    <a:pt x="132" y="942"/>
                  </a:lnTo>
                  <a:lnTo>
                    <a:pt x="132" y="948"/>
                  </a:lnTo>
                  <a:lnTo>
                    <a:pt x="126" y="948"/>
                  </a:lnTo>
                  <a:lnTo>
                    <a:pt x="120" y="948"/>
                  </a:lnTo>
                  <a:lnTo>
                    <a:pt x="120" y="954"/>
                  </a:lnTo>
                  <a:lnTo>
                    <a:pt x="114" y="954"/>
                  </a:lnTo>
                  <a:lnTo>
                    <a:pt x="114" y="960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02" y="966"/>
                  </a:lnTo>
                  <a:lnTo>
                    <a:pt x="102" y="972"/>
                  </a:lnTo>
                  <a:lnTo>
                    <a:pt x="96" y="972"/>
                  </a:lnTo>
                  <a:lnTo>
                    <a:pt x="96" y="966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78" y="960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60"/>
                  </a:lnTo>
                  <a:lnTo>
                    <a:pt x="54" y="966"/>
                  </a:lnTo>
                  <a:lnTo>
                    <a:pt x="48" y="966"/>
                  </a:lnTo>
                  <a:lnTo>
                    <a:pt x="42" y="966"/>
                  </a:lnTo>
                  <a:lnTo>
                    <a:pt x="36" y="966"/>
                  </a:lnTo>
                  <a:lnTo>
                    <a:pt x="30" y="966"/>
                  </a:lnTo>
                  <a:lnTo>
                    <a:pt x="24" y="960"/>
                  </a:lnTo>
                  <a:lnTo>
                    <a:pt x="18" y="960"/>
                  </a:lnTo>
                  <a:lnTo>
                    <a:pt x="12" y="960"/>
                  </a:lnTo>
                  <a:lnTo>
                    <a:pt x="12" y="948"/>
                  </a:lnTo>
                  <a:lnTo>
                    <a:pt x="18" y="942"/>
                  </a:lnTo>
                  <a:lnTo>
                    <a:pt x="18" y="936"/>
                  </a:lnTo>
                  <a:lnTo>
                    <a:pt x="18" y="930"/>
                  </a:lnTo>
                  <a:lnTo>
                    <a:pt x="18" y="924"/>
                  </a:lnTo>
                  <a:lnTo>
                    <a:pt x="18" y="912"/>
                  </a:lnTo>
                  <a:lnTo>
                    <a:pt x="24" y="906"/>
                  </a:lnTo>
                  <a:lnTo>
                    <a:pt x="30" y="900"/>
                  </a:lnTo>
                  <a:lnTo>
                    <a:pt x="36" y="894"/>
                  </a:lnTo>
                  <a:lnTo>
                    <a:pt x="36" y="882"/>
                  </a:lnTo>
                  <a:lnTo>
                    <a:pt x="30" y="876"/>
                  </a:lnTo>
                  <a:lnTo>
                    <a:pt x="30" y="870"/>
                  </a:lnTo>
                  <a:lnTo>
                    <a:pt x="24" y="858"/>
                  </a:lnTo>
                  <a:lnTo>
                    <a:pt x="24" y="846"/>
                  </a:lnTo>
                  <a:lnTo>
                    <a:pt x="36" y="822"/>
                  </a:lnTo>
                  <a:lnTo>
                    <a:pt x="42" y="816"/>
                  </a:lnTo>
                  <a:lnTo>
                    <a:pt x="48" y="816"/>
                  </a:lnTo>
                  <a:lnTo>
                    <a:pt x="60" y="804"/>
                  </a:lnTo>
                  <a:lnTo>
                    <a:pt x="60" y="786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54" y="762"/>
                  </a:lnTo>
                  <a:lnTo>
                    <a:pt x="42" y="762"/>
                  </a:lnTo>
                  <a:lnTo>
                    <a:pt x="36" y="762"/>
                  </a:lnTo>
                  <a:lnTo>
                    <a:pt x="30" y="762"/>
                  </a:lnTo>
                  <a:lnTo>
                    <a:pt x="30" y="756"/>
                  </a:lnTo>
                  <a:lnTo>
                    <a:pt x="24" y="750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702"/>
                  </a:lnTo>
                  <a:lnTo>
                    <a:pt x="36" y="684"/>
                  </a:lnTo>
                  <a:lnTo>
                    <a:pt x="36" y="678"/>
                  </a:lnTo>
                  <a:lnTo>
                    <a:pt x="36" y="666"/>
                  </a:lnTo>
                  <a:lnTo>
                    <a:pt x="36" y="654"/>
                  </a:lnTo>
                  <a:lnTo>
                    <a:pt x="18" y="654"/>
                  </a:lnTo>
                  <a:lnTo>
                    <a:pt x="18" y="648"/>
                  </a:lnTo>
                  <a:lnTo>
                    <a:pt x="18" y="618"/>
                  </a:lnTo>
                  <a:lnTo>
                    <a:pt x="18" y="612"/>
                  </a:lnTo>
                  <a:lnTo>
                    <a:pt x="24" y="612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54" y="588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76"/>
                  </a:lnTo>
                  <a:lnTo>
                    <a:pt x="48" y="564"/>
                  </a:lnTo>
                  <a:lnTo>
                    <a:pt x="42" y="564"/>
                  </a:lnTo>
                  <a:lnTo>
                    <a:pt x="36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6" y="540"/>
                  </a:lnTo>
                  <a:lnTo>
                    <a:pt x="48" y="534"/>
                  </a:lnTo>
                  <a:lnTo>
                    <a:pt x="54" y="528"/>
                  </a:lnTo>
                  <a:lnTo>
                    <a:pt x="60" y="504"/>
                  </a:lnTo>
                  <a:lnTo>
                    <a:pt x="60" y="492"/>
                  </a:lnTo>
                  <a:lnTo>
                    <a:pt x="54" y="492"/>
                  </a:lnTo>
                  <a:lnTo>
                    <a:pt x="54" y="480"/>
                  </a:lnTo>
                  <a:lnTo>
                    <a:pt x="48" y="456"/>
                  </a:lnTo>
                  <a:lnTo>
                    <a:pt x="42" y="450"/>
                  </a:lnTo>
                  <a:lnTo>
                    <a:pt x="36" y="444"/>
                  </a:lnTo>
                  <a:lnTo>
                    <a:pt x="36" y="420"/>
                  </a:lnTo>
                  <a:lnTo>
                    <a:pt x="36" y="408"/>
                  </a:lnTo>
                  <a:lnTo>
                    <a:pt x="36" y="37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60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6" y="300"/>
                  </a:lnTo>
                  <a:lnTo>
                    <a:pt x="60" y="294"/>
                  </a:lnTo>
                  <a:lnTo>
                    <a:pt x="60" y="288"/>
                  </a:lnTo>
                  <a:lnTo>
                    <a:pt x="54" y="282"/>
                  </a:lnTo>
                  <a:lnTo>
                    <a:pt x="42" y="276"/>
                  </a:lnTo>
                  <a:lnTo>
                    <a:pt x="36" y="276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0" y="252"/>
                  </a:lnTo>
                  <a:lnTo>
                    <a:pt x="24" y="246"/>
                  </a:lnTo>
                  <a:lnTo>
                    <a:pt x="24" y="240"/>
                  </a:lnTo>
                  <a:lnTo>
                    <a:pt x="24" y="228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62"/>
                  </a:lnTo>
                  <a:lnTo>
                    <a:pt x="24" y="144"/>
                  </a:lnTo>
                  <a:lnTo>
                    <a:pt x="24" y="132"/>
                  </a:lnTo>
                  <a:lnTo>
                    <a:pt x="24" y="114"/>
                  </a:lnTo>
                  <a:lnTo>
                    <a:pt x="24" y="102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18" y="48"/>
                  </a:lnTo>
                  <a:lnTo>
                    <a:pt x="42" y="36"/>
                  </a:lnTo>
                  <a:lnTo>
                    <a:pt x="54" y="24"/>
                  </a:lnTo>
                  <a:lnTo>
                    <a:pt x="60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10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14" y="60"/>
                  </a:lnTo>
                  <a:lnTo>
                    <a:pt x="120" y="60"/>
                  </a:lnTo>
                  <a:lnTo>
                    <a:pt x="114" y="84"/>
                  </a:lnTo>
                  <a:lnTo>
                    <a:pt x="120" y="90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38" y="114"/>
                  </a:lnTo>
                  <a:lnTo>
                    <a:pt x="138" y="132"/>
                  </a:lnTo>
                  <a:lnTo>
                    <a:pt x="162" y="126"/>
                  </a:lnTo>
                  <a:lnTo>
                    <a:pt x="162" y="114"/>
                  </a:lnTo>
                  <a:lnTo>
                    <a:pt x="174" y="108"/>
                  </a:lnTo>
                  <a:lnTo>
                    <a:pt x="174" y="102"/>
                  </a:lnTo>
                  <a:lnTo>
                    <a:pt x="180" y="96"/>
                  </a:lnTo>
                  <a:lnTo>
                    <a:pt x="180" y="60"/>
                  </a:lnTo>
                  <a:lnTo>
                    <a:pt x="192" y="60"/>
                  </a:lnTo>
                  <a:lnTo>
                    <a:pt x="192" y="72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04" y="108"/>
                  </a:lnTo>
                  <a:lnTo>
                    <a:pt x="204" y="114"/>
                  </a:lnTo>
                  <a:lnTo>
                    <a:pt x="204" y="120"/>
                  </a:lnTo>
                  <a:lnTo>
                    <a:pt x="204" y="126"/>
                  </a:lnTo>
                  <a:lnTo>
                    <a:pt x="210" y="126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8" y="174"/>
                  </a:lnTo>
                  <a:lnTo>
                    <a:pt x="198" y="180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86" y="204"/>
                  </a:lnTo>
                  <a:lnTo>
                    <a:pt x="186" y="210"/>
                  </a:lnTo>
                  <a:lnTo>
                    <a:pt x="180" y="210"/>
                  </a:lnTo>
                  <a:lnTo>
                    <a:pt x="180" y="216"/>
                  </a:lnTo>
                  <a:lnTo>
                    <a:pt x="180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92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8" y="258"/>
                  </a:lnTo>
                  <a:lnTo>
                    <a:pt x="204" y="258"/>
                  </a:lnTo>
                  <a:lnTo>
                    <a:pt x="210" y="258"/>
                  </a:lnTo>
                  <a:lnTo>
                    <a:pt x="216" y="258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34" y="276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46" y="306"/>
                  </a:lnTo>
                  <a:lnTo>
                    <a:pt x="252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42"/>
                  </a:lnTo>
                  <a:lnTo>
                    <a:pt x="270" y="342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88" y="366"/>
                  </a:lnTo>
                  <a:lnTo>
                    <a:pt x="336" y="360"/>
                  </a:lnTo>
                  <a:lnTo>
                    <a:pt x="354" y="360"/>
                  </a:lnTo>
                  <a:lnTo>
                    <a:pt x="366" y="372"/>
                  </a:lnTo>
                  <a:lnTo>
                    <a:pt x="378" y="378"/>
                  </a:lnTo>
                  <a:lnTo>
                    <a:pt x="378" y="390"/>
                  </a:lnTo>
                  <a:lnTo>
                    <a:pt x="384" y="390"/>
                  </a:lnTo>
                  <a:lnTo>
                    <a:pt x="390" y="396"/>
                  </a:lnTo>
                  <a:lnTo>
                    <a:pt x="408" y="390"/>
                  </a:lnTo>
                  <a:lnTo>
                    <a:pt x="426" y="366"/>
                  </a:lnTo>
                  <a:lnTo>
                    <a:pt x="432" y="360"/>
                  </a:lnTo>
                  <a:lnTo>
                    <a:pt x="438" y="348"/>
                  </a:lnTo>
                  <a:lnTo>
                    <a:pt x="438" y="342"/>
                  </a:lnTo>
                  <a:lnTo>
                    <a:pt x="438" y="330"/>
                  </a:lnTo>
                  <a:lnTo>
                    <a:pt x="444" y="324"/>
                  </a:lnTo>
                  <a:lnTo>
                    <a:pt x="450" y="318"/>
                  </a:lnTo>
                  <a:lnTo>
                    <a:pt x="456" y="312"/>
                  </a:lnTo>
                  <a:lnTo>
                    <a:pt x="456" y="306"/>
                  </a:lnTo>
                  <a:lnTo>
                    <a:pt x="456" y="300"/>
                  </a:lnTo>
                  <a:lnTo>
                    <a:pt x="474" y="288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92" y="294"/>
                  </a:lnTo>
                  <a:lnTo>
                    <a:pt x="492" y="318"/>
                  </a:lnTo>
                  <a:lnTo>
                    <a:pt x="504" y="324"/>
                  </a:lnTo>
                  <a:lnTo>
                    <a:pt x="492" y="348"/>
                  </a:lnTo>
                  <a:lnTo>
                    <a:pt x="522" y="348"/>
                  </a:lnTo>
                  <a:lnTo>
                    <a:pt x="528" y="342"/>
                  </a:lnTo>
                  <a:lnTo>
                    <a:pt x="528" y="336"/>
                  </a:lnTo>
                  <a:lnTo>
                    <a:pt x="528" y="330"/>
                  </a:lnTo>
                  <a:lnTo>
                    <a:pt x="534" y="330"/>
                  </a:lnTo>
                  <a:lnTo>
                    <a:pt x="540" y="330"/>
                  </a:lnTo>
                  <a:lnTo>
                    <a:pt x="546" y="330"/>
                  </a:lnTo>
                  <a:lnTo>
                    <a:pt x="552" y="324"/>
                  </a:lnTo>
                  <a:lnTo>
                    <a:pt x="558" y="318"/>
                  </a:lnTo>
                  <a:lnTo>
                    <a:pt x="576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8" y="348"/>
                  </a:lnTo>
                  <a:lnTo>
                    <a:pt x="654" y="354"/>
                  </a:lnTo>
                  <a:lnTo>
                    <a:pt x="648" y="402"/>
                  </a:lnTo>
                  <a:lnTo>
                    <a:pt x="678" y="402"/>
                  </a:lnTo>
                  <a:lnTo>
                    <a:pt x="678" y="420"/>
                  </a:lnTo>
                  <a:lnTo>
                    <a:pt x="684" y="438"/>
                  </a:lnTo>
                  <a:lnTo>
                    <a:pt x="684" y="450"/>
                  </a:lnTo>
                  <a:lnTo>
                    <a:pt x="684" y="456"/>
                  </a:lnTo>
                  <a:lnTo>
                    <a:pt x="690" y="468"/>
                  </a:lnTo>
                  <a:lnTo>
                    <a:pt x="690" y="474"/>
                  </a:lnTo>
                  <a:lnTo>
                    <a:pt x="690" y="480"/>
                  </a:lnTo>
                  <a:lnTo>
                    <a:pt x="696" y="486"/>
                  </a:lnTo>
                  <a:lnTo>
                    <a:pt x="696" y="498"/>
                  </a:lnTo>
                  <a:lnTo>
                    <a:pt x="702" y="504"/>
                  </a:lnTo>
                  <a:lnTo>
                    <a:pt x="690" y="516"/>
                  </a:lnTo>
                  <a:lnTo>
                    <a:pt x="678" y="522"/>
                  </a:lnTo>
                  <a:lnTo>
                    <a:pt x="654" y="528"/>
                  </a:lnTo>
                  <a:lnTo>
                    <a:pt x="660" y="546"/>
                  </a:lnTo>
                  <a:lnTo>
                    <a:pt x="672" y="546"/>
                  </a:lnTo>
                  <a:lnTo>
                    <a:pt x="678" y="540"/>
                  </a:lnTo>
                  <a:lnTo>
                    <a:pt x="714" y="540"/>
                  </a:lnTo>
                  <a:lnTo>
                    <a:pt x="798" y="540"/>
                  </a:lnTo>
                  <a:lnTo>
                    <a:pt x="804" y="540"/>
                  </a:lnTo>
                  <a:lnTo>
                    <a:pt x="816" y="528"/>
                  </a:lnTo>
                  <a:lnTo>
                    <a:pt x="822" y="522"/>
                  </a:lnTo>
                  <a:lnTo>
                    <a:pt x="834" y="516"/>
                  </a:lnTo>
                  <a:lnTo>
                    <a:pt x="846" y="516"/>
                  </a:lnTo>
                  <a:lnTo>
                    <a:pt x="852" y="510"/>
                  </a:lnTo>
                  <a:lnTo>
                    <a:pt x="858" y="510"/>
                  </a:lnTo>
                  <a:lnTo>
                    <a:pt x="882" y="516"/>
                  </a:lnTo>
                  <a:lnTo>
                    <a:pt x="888" y="516"/>
                  </a:lnTo>
                  <a:lnTo>
                    <a:pt x="888" y="510"/>
                  </a:lnTo>
                  <a:lnTo>
                    <a:pt x="894" y="510"/>
                  </a:lnTo>
                  <a:lnTo>
                    <a:pt x="906" y="504"/>
                  </a:lnTo>
                  <a:lnTo>
                    <a:pt x="918" y="498"/>
                  </a:lnTo>
                  <a:lnTo>
                    <a:pt x="930" y="492"/>
                  </a:lnTo>
                  <a:lnTo>
                    <a:pt x="936" y="492"/>
                  </a:lnTo>
                  <a:lnTo>
                    <a:pt x="948" y="492"/>
                  </a:lnTo>
                  <a:lnTo>
                    <a:pt x="954" y="528"/>
                  </a:lnTo>
                  <a:lnTo>
                    <a:pt x="954" y="564"/>
                  </a:lnTo>
                  <a:lnTo>
                    <a:pt x="972" y="564"/>
                  </a:lnTo>
                  <a:lnTo>
                    <a:pt x="978" y="558"/>
                  </a:lnTo>
                  <a:lnTo>
                    <a:pt x="990" y="552"/>
                  </a:lnTo>
                  <a:lnTo>
                    <a:pt x="1002" y="540"/>
                  </a:lnTo>
                  <a:lnTo>
                    <a:pt x="1026" y="534"/>
                  </a:lnTo>
                  <a:lnTo>
                    <a:pt x="1032" y="540"/>
                  </a:lnTo>
                  <a:lnTo>
                    <a:pt x="1044" y="546"/>
                  </a:lnTo>
                  <a:lnTo>
                    <a:pt x="1062" y="552"/>
                  </a:lnTo>
                  <a:lnTo>
                    <a:pt x="1068" y="552"/>
                  </a:lnTo>
                  <a:lnTo>
                    <a:pt x="1068" y="570"/>
                  </a:lnTo>
                  <a:lnTo>
                    <a:pt x="1068" y="576"/>
                  </a:lnTo>
                  <a:lnTo>
                    <a:pt x="1068" y="582"/>
                  </a:lnTo>
                  <a:lnTo>
                    <a:pt x="1068" y="588"/>
                  </a:lnTo>
                  <a:lnTo>
                    <a:pt x="1068" y="594"/>
                  </a:lnTo>
                  <a:lnTo>
                    <a:pt x="1080" y="600"/>
                  </a:lnTo>
                  <a:lnTo>
                    <a:pt x="1086" y="606"/>
                  </a:lnTo>
                  <a:lnTo>
                    <a:pt x="1092" y="594"/>
                  </a:lnTo>
                  <a:lnTo>
                    <a:pt x="1104" y="588"/>
                  </a:lnTo>
                  <a:lnTo>
                    <a:pt x="1116" y="588"/>
                  </a:lnTo>
                  <a:lnTo>
                    <a:pt x="1122" y="588"/>
                  </a:lnTo>
                  <a:lnTo>
                    <a:pt x="1122" y="594"/>
                  </a:lnTo>
                  <a:lnTo>
                    <a:pt x="1128" y="594"/>
                  </a:lnTo>
                  <a:lnTo>
                    <a:pt x="1134" y="594"/>
                  </a:lnTo>
                  <a:lnTo>
                    <a:pt x="1140" y="594"/>
                  </a:lnTo>
                  <a:lnTo>
                    <a:pt x="1146" y="588"/>
                  </a:lnTo>
                  <a:lnTo>
                    <a:pt x="1158" y="582"/>
                  </a:lnTo>
                  <a:lnTo>
                    <a:pt x="1164" y="576"/>
                  </a:lnTo>
                  <a:lnTo>
                    <a:pt x="1176" y="576"/>
                  </a:lnTo>
                  <a:lnTo>
                    <a:pt x="1194" y="576"/>
                  </a:lnTo>
                  <a:lnTo>
                    <a:pt x="1218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24" y="594"/>
                  </a:lnTo>
                  <a:lnTo>
                    <a:pt x="1212" y="600"/>
                  </a:lnTo>
                  <a:lnTo>
                    <a:pt x="1206" y="606"/>
                  </a:lnTo>
                  <a:lnTo>
                    <a:pt x="1200" y="606"/>
                  </a:lnTo>
                  <a:lnTo>
                    <a:pt x="1200" y="612"/>
                  </a:lnTo>
                  <a:lnTo>
                    <a:pt x="1194" y="612"/>
                  </a:lnTo>
                  <a:lnTo>
                    <a:pt x="1194" y="618"/>
                  </a:lnTo>
                  <a:lnTo>
                    <a:pt x="1194" y="624"/>
                  </a:lnTo>
                  <a:lnTo>
                    <a:pt x="1194" y="630"/>
                  </a:lnTo>
                  <a:lnTo>
                    <a:pt x="1194" y="648"/>
                  </a:lnTo>
                  <a:lnTo>
                    <a:pt x="1194" y="660"/>
                  </a:lnTo>
                  <a:lnTo>
                    <a:pt x="1194" y="666"/>
                  </a:lnTo>
                  <a:lnTo>
                    <a:pt x="1194" y="672"/>
                  </a:lnTo>
                  <a:lnTo>
                    <a:pt x="1194" y="678"/>
                  </a:lnTo>
                  <a:lnTo>
                    <a:pt x="1188" y="684"/>
                  </a:lnTo>
                  <a:lnTo>
                    <a:pt x="1188" y="690"/>
                  </a:lnTo>
                  <a:lnTo>
                    <a:pt x="1188" y="696"/>
                  </a:lnTo>
                  <a:lnTo>
                    <a:pt x="1188" y="702"/>
                  </a:lnTo>
                  <a:lnTo>
                    <a:pt x="1188" y="708"/>
                  </a:lnTo>
                  <a:lnTo>
                    <a:pt x="1188" y="714"/>
                  </a:lnTo>
                  <a:lnTo>
                    <a:pt x="1182" y="720"/>
                  </a:lnTo>
                  <a:lnTo>
                    <a:pt x="1170" y="720"/>
                  </a:lnTo>
                  <a:lnTo>
                    <a:pt x="1158" y="726"/>
                  </a:lnTo>
                  <a:lnTo>
                    <a:pt x="1152" y="726"/>
                  </a:lnTo>
                  <a:lnTo>
                    <a:pt x="1152" y="732"/>
                  </a:lnTo>
                  <a:lnTo>
                    <a:pt x="1146" y="738"/>
                  </a:lnTo>
                  <a:lnTo>
                    <a:pt x="1140" y="738"/>
                  </a:lnTo>
                  <a:lnTo>
                    <a:pt x="1140" y="744"/>
                  </a:lnTo>
                  <a:lnTo>
                    <a:pt x="1134" y="744"/>
                  </a:lnTo>
                  <a:lnTo>
                    <a:pt x="1128" y="744"/>
                  </a:lnTo>
                  <a:lnTo>
                    <a:pt x="1122" y="750"/>
                  </a:lnTo>
                  <a:lnTo>
                    <a:pt x="1128" y="750"/>
                  </a:lnTo>
                  <a:lnTo>
                    <a:pt x="1122" y="756"/>
                  </a:lnTo>
                  <a:lnTo>
                    <a:pt x="1116" y="756"/>
                  </a:lnTo>
                  <a:lnTo>
                    <a:pt x="1110" y="762"/>
                  </a:lnTo>
                  <a:lnTo>
                    <a:pt x="1104" y="762"/>
                  </a:lnTo>
                  <a:lnTo>
                    <a:pt x="1104" y="768"/>
                  </a:lnTo>
                  <a:lnTo>
                    <a:pt x="1098" y="768"/>
                  </a:lnTo>
                  <a:lnTo>
                    <a:pt x="1098" y="774"/>
                  </a:lnTo>
                  <a:lnTo>
                    <a:pt x="1092" y="774"/>
                  </a:lnTo>
                  <a:lnTo>
                    <a:pt x="1092" y="780"/>
                  </a:lnTo>
                  <a:lnTo>
                    <a:pt x="1086" y="780"/>
                  </a:lnTo>
                  <a:lnTo>
                    <a:pt x="1086" y="786"/>
                  </a:lnTo>
                  <a:lnTo>
                    <a:pt x="1080" y="786"/>
                  </a:lnTo>
                  <a:lnTo>
                    <a:pt x="1080" y="792"/>
                  </a:lnTo>
                  <a:lnTo>
                    <a:pt x="1080" y="798"/>
                  </a:lnTo>
                  <a:lnTo>
                    <a:pt x="1080" y="804"/>
                  </a:lnTo>
                  <a:lnTo>
                    <a:pt x="1086" y="810"/>
                  </a:lnTo>
                  <a:lnTo>
                    <a:pt x="1080" y="816"/>
                  </a:lnTo>
                  <a:lnTo>
                    <a:pt x="1080" y="822"/>
                  </a:lnTo>
                  <a:lnTo>
                    <a:pt x="1074" y="822"/>
                  </a:lnTo>
                  <a:lnTo>
                    <a:pt x="1068" y="828"/>
                  </a:lnTo>
                  <a:lnTo>
                    <a:pt x="1074" y="828"/>
                  </a:lnTo>
                  <a:lnTo>
                    <a:pt x="1074" y="834"/>
                  </a:lnTo>
                  <a:lnTo>
                    <a:pt x="1080" y="846"/>
                  </a:lnTo>
                  <a:lnTo>
                    <a:pt x="1086" y="846"/>
                  </a:lnTo>
                  <a:lnTo>
                    <a:pt x="1092" y="852"/>
                  </a:lnTo>
                  <a:lnTo>
                    <a:pt x="1092" y="858"/>
                  </a:lnTo>
                  <a:lnTo>
                    <a:pt x="1098" y="858"/>
                  </a:lnTo>
                  <a:lnTo>
                    <a:pt x="1110" y="864"/>
                  </a:lnTo>
                  <a:lnTo>
                    <a:pt x="1116" y="864"/>
                  </a:lnTo>
                  <a:lnTo>
                    <a:pt x="1122" y="864"/>
                  </a:lnTo>
                  <a:lnTo>
                    <a:pt x="1128" y="864"/>
                  </a:lnTo>
                  <a:lnTo>
                    <a:pt x="1134" y="876"/>
                  </a:lnTo>
                  <a:lnTo>
                    <a:pt x="1140" y="882"/>
                  </a:lnTo>
                  <a:lnTo>
                    <a:pt x="1140" y="888"/>
                  </a:lnTo>
                  <a:lnTo>
                    <a:pt x="1152" y="918"/>
                  </a:lnTo>
                  <a:lnTo>
                    <a:pt x="1158" y="894"/>
                  </a:lnTo>
                  <a:lnTo>
                    <a:pt x="1164" y="888"/>
                  </a:lnTo>
                  <a:lnTo>
                    <a:pt x="1164" y="882"/>
                  </a:lnTo>
                  <a:lnTo>
                    <a:pt x="1176" y="864"/>
                  </a:lnTo>
                  <a:lnTo>
                    <a:pt x="1182" y="858"/>
                  </a:lnTo>
                  <a:lnTo>
                    <a:pt x="1188" y="846"/>
                  </a:lnTo>
                  <a:lnTo>
                    <a:pt x="1200" y="840"/>
                  </a:lnTo>
                  <a:lnTo>
                    <a:pt x="1212" y="840"/>
                  </a:lnTo>
                  <a:lnTo>
                    <a:pt x="1218" y="846"/>
                  </a:lnTo>
                  <a:lnTo>
                    <a:pt x="1224" y="858"/>
                  </a:lnTo>
                  <a:lnTo>
                    <a:pt x="1224" y="864"/>
                  </a:lnTo>
                  <a:lnTo>
                    <a:pt x="1224" y="876"/>
                  </a:lnTo>
                  <a:lnTo>
                    <a:pt x="1212" y="912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00" y="930"/>
                  </a:lnTo>
                  <a:lnTo>
                    <a:pt x="1200" y="942"/>
                  </a:lnTo>
                  <a:lnTo>
                    <a:pt x="1194" y="948"/>
                  </a:lnTo>
                  <a:lnTo>
                    <a:pt x="1194" y="960"/>
                  </a:lnTo>
                  <a:lnTo>
                    <a:pt x="1194" y="966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70" y="984"/>
                  </a:lnTo>
                  <a:lnTo>
                    <a:pt x="1164" y="984"/>
                  </a:lnTo>
                  <a:lnTo>
                    <a:pt x="1158" y="984"/>
                  </a:lnTo>
                  <a:lnTo>
                    <a:pt x="1146" y="984"/>
                  </a:lnTo>
                  <a:lnTo>
                    <a:pt x="1140" y="990"/>
                  </a:lnTo>
                  <a:lnTo>
                    <a:pt x="1140" y="996"/>
                  </a:lnTo>
                  <a:lnTo>
                    <a:pt x="1152" y="996"/>
                  </a:lnTo>
                  <a:lnTo>
                    <a:pt x="1176" y="1002"/>
                  </a:lnTo>
                  <a:lnTo>
                    <a:pt x="1194" y="1008"/>
                  </a:lnTo>
                  <a:lnTo>
                    <a:pt x="1206" y="1008"/>
                  </a:lnTo>
                  <a:lnTo>
                    <a:pt x="1218" y="1014"/>
                  </a:lnTo>
                  <a:lnTo>
                    <a:pt x="1212" y="1038"/>
                  </a:lnTo>
                  <a:lnTo>
                    <a:pt x="1212" y="1044"/>
                  </a:lnTo>
                  <a:lnTo>
                    <a:pt x="1206" y="1044"/>
                  </a:lnTo>
                  <a:lnTo>
                    <a:pt x="1206" y="1050"/>
                  </a:lnTo>
                  <a:lnTo>
                    <a:pt x="1194" y="1050"/>
                  </a:lnTo>
                  <a:lnTo>
                    <a:pt x="1188" y="1044"/>
                  </a:lnTo>
                  <a:lnTo>
                    <a:pt x="1158" y="1020"/>
                  </a:lnTo>
                  <a:lnTo>
                    <a:pt x="1152" y="1020"/>
                  </a:lnTo>
                  <a:lnTo>
                    <a:pt x="1140" y="1020"/>
                  </a:lnTo>
                  <a:lnTo>
                    <a:pt x="1134" y="1020"/>
                  </a:lnTo>
                  <a:lnTo>
                    <a:pt x="1134" y="1026"/>
                  </a:lnTo>
                  <a:lnTo>
                    <a:pt x="1134" y="1032"/>
                  </a:lnTo>
                  <a:lnTo>
                    <a:pt x="1128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2" name="Freeform 27">
              <a:extLst>
                <a:ext uri="{FF2B5EF4-FFF2-40B4-BE49-F238E27FC236}">
                  <a16:creationId xmlns:a16="http://schemas.microsoft.com/office/drawing/2014/main" id="{CE95C9DF-B651-4085-946F-65424BC51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2063" y="3421400"/>
              <a:ext cx="342138" cy="377969"/>
            </a:xfrm>
            <a:custGeom>
              <a:avLst/>
              <a:gdLst>
                <a:gd name="T0" fmla="*/ 43 w 642"/>
                <a:gd name="T1" fmla="*/ 41 h 708"/>
                <a:gd name="T2" fmla="*/ 39 w 642"/>
                <a:gd name="T3" fmla="*/ 41 h 708"/>
                <a:gd name="T4" fmla="*/ 38 w 642"/>
                <a:gd name="T5" fmla="*/ 47 h 708"/>
                <a:gd name="T6" fmla="*/ 38 w 642"/>
                <a:gd name="T7" fmla="*/ 49 h 708"/>
                <a:gd name="T8" fmla="*/ 38 w 642"/>
                <a:gd name="T9" fmla="*/ 50 h 708"/>
                <a:gd name="T10" fmla="*/ 36 w 642"/>
                <a:gd name="T11" fmla="*/ 52 h 708"/>
                <a:gd name="T12" fmla="*/ 35 w 642"/>
                <a:gd name="T13" fmla="*/ 53 h 708"/>
                <a:gd name="T14" fmla="*/ 33 w 642"/>
                <a:gd name="T15" fmla="*/ 55 h 708"/>
                <a:gd name="T16" fmla="*/ 32 w 642"/>
                <a:gd name="T17" fmla="*/ 56 h 708"/>
                <a:gd name="T18" fmla="*/ 31 w 642"/>
                <a:gd name="T19" fmla="*/ 59 h 708"/>
                <a:gd name="T20" fmla="*/ 26 w 642"/>
                <a:gd name="T21" fmla="*/ 59 h 708"/>
                <a:gd name="T22" fmla="*/ 23 w 642"/>
                <a:gd name="T23" fmla="*/ 61 h 708"/>
                <a:gd name="T24" fmla="*/ 20 w 642"/>
                <a:gd name="T25" fmla="*/ 61 h 708"/>
                <a:gd name="T26" fmla="*/ 17 w 642"/>
                <a:gd name="T27" fmla="*/ 59 h 708"/>
                <a:gd name="T28" fmla="*/ 15 w 642"/>
                <a:gd name="T29" fmla="*/ 56 h 708"/>
                <a:gd name="T30" fmla="*/ 9 w 642"/>
                <a:gd name="T31" fmla="*/ 58 h 708"/>
                <a:gd name="T32" fmla="*/ 6 w 642"/>
                <a:gd name="T33" fmla="*/ 52 h 708"/>
                <a:gd name="T34" fmla="*/ 2 w 642"/>
                <a:gd name="T35" fmla="*/ 53 h 708"/>
                <a:gd name="T36" fmla="*/ 1 w 642"/>
                <a:gd name="T37" fmla="*/ 51 h 708"/>
                <a:gd name="T38" fmla="*/ 4 w 642"/>
                <a:gd name="T39" fmla="*/ 47 h 708"/>
                <a:gd name="T40" fmla="*/ 5 w 642"/>
                <a:gd name="T41" fmla="*/ 41 h 708"/>
                <a:gd name="T42" fmla="*/ 5 w 642"/>
                <a:gd name="T43" fmla="*/ 38 h 708"/>
                <a:gd name="T44" fmla="*/ 5 w 642"/>
                <a:gd name="T45" fmla="*/ 35 h 708"/>
                <a:gd name="T46" fmla="*/ 6 w 642"/>
                <a:gd name="T47" fmla="*/ 33 h 708"/>
                <a:gd name="T48" fmla="*/ 5 w 642"/>
                <a:gd name="T49" fmla="*/ 29 h 708"/>
                <a:gd name="T50" fmla="*/ 4 w 642"/>
                <a:gd name="T51" fmla="*/ 28 h 708"/>
                <a:gd name="T52" fmla="*/ 1 w 642"/>
                <a:gd name="T53" fmla="*/ 26 h 708"/>
                <a:gd name="T54" fmla="*/ 1 w 642"/>
                <a:gd name="T55" fmla="*/ 24 h 708"/>
                <a:gd name="T56" fmla="*/ 1 w 642"/>
                <a:gd name="T57" fmla="*/ 20 h 708"/>
                <a:gd name="T58" fmla="*/ 1 w 642"/>
                <a:gd name="T59" fmla="*/ 16 h 708"/>
                <a:gd name="T60" fmla="*/ 2 w 642"/>
                <a:gd name="T61" fmla="*/ 14 h 708"/>
                <a:gd name="T62" fmla="*/ 8 w 642"/>
                <a:gd name="T63" fmla="*/ 14 h 708"/>
                <a:gd name="T64" fmla="*/ 9 w 642"/>
                <a:gd name="T65" fmla="*/ 10 h 708"/>
                <a:gd name="T66" fmla="*/ 15 w 642"/>
                <a:gd name="T67" fmla="*/ 9 h 708"/>
                <a:gd name="T68" fmla="*/ 18 w 642"/>
                <a:gd name="T69" fmla="*/ 14 h 708"/>
                <a:gd name="T70" fmla="*/ 20 w 642"/>
                <a:gd name="T71" fmla="*/ 12 h 708"/>
                <a:gd name="T72" fmla="*/ 20 w 642"/>
                <a:gd name="T73" fmla="*/ 11 h 708"/>
                <a:gd name="T74" fmla="*/ 21 w 642"/>
                <a:gd name="T75" fmla="*/ 9 h 708"/>
                <a:gd name="T76" fmla="*/ 24 w 642"/>
                <a:gd name="T77" fmla="*/ 9 h 708"/>
                <a:gd name="T78" fmla="*/ 27 w 642"/>
                <a:gd name="T79" fmla="*/ 8 h 708"/>
                <a:gd name="T80" fmla="*/ 33 w 642"/>
                <a:gd name="T81" fmla="*/ 2 h 708"/>
                <a:gd name="T82" fmla="*/ 42 w 642"/>
                <a:gd name="T83" fmla="*/ 2 h 708"/>
                <a:gd name="T84" fmla="*/ 49 w 642"/>
                <a:gd name="T85" fmla="*/ 1 h 708"/>
                <a:gd name="T86" fmla="*/ 53 w 642"/>
                <a:gd name="T87" fmla="*/ 4 h 708"/>
                <a:gd name="T88" fmla="*/ 55 w 642"/>
                <a:gd name="T89" fmla="*/ 4 h 708"/>
                <a:gd name="T90" fmla="*/ 55 w 642"/>
                <a:gd name="T91" fmla="*/ 7 h 708"/>
                <a:gd name="T92" fmla="*/ 52 w 642"/>
                <a:gd name="T93" fmla="*/ 9 h 708"/>
                <a:gd name="T94" fmla="*/ 49 w 642"/>
                <a:gd name="T95" fmla="*/ 12 h 708"/>
                <a:gd name="T96" fmla="*/ 47 w 642"/>
                <a:gd name="T97" fmla="*/ 14 h 708"/>
                <a:gd name="T98" fmla="*/ 47 w 642"/>
                <a:gd name="T99" fmla="*/ 17 h 708"/>
                <a:gd name="T100" fmla="*/ 45 w 642"/>
                <a:gd name="T101" fmla="*/ 26 h 708"/>
                <a:gd name="T102" fmla="*/ 50 w 642"/>
                <a:gd name="T103" fmla="*/ 37 h 70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42"/>
                <a:gd name="T157" fmla="*/ 0 h 708"/>
                <a:gd name="T158" fmla="*/ 642 w 642"/>
                <a:gd name="T159" fmla="*/ 708 h 70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42" h="708">
                  <a:moveTo>
                    <a:pt x="576" y="468"/>
                  </a:moveTo>
                  <a:lnTo>
                    <a:pt x="564" y="468"/>
                  </a:lnTo>
                  <a:lnTo>
                    <a:pt x="516" y="468"/>
                  </a:lnTo>
                  <a:lnTo>
                    <a:pt x="498" y="474"/>
                  </a:lnTo>
                  <a:lnTo>
                    <a:pt x="492" y="468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68" y="474"/>
                  </a:lnTo>
                  <a:lnTo>
                    <a:pt x="456" y="468"/>
                  </a:lnTo>
                  <a:lnTo>
                    <a:pt x="444" y="474"/>
                  </a:lnTo>
                  <a:lnTo>
                    <a:pt x="438" y="492"/>
                  </a:lnTo>
                  <a:lnTo>
                    <a:pt x="438" y="504"/>
                  </a:lnTo>
                  <a:lnTo>
                    <a:pt x="432" y="516"/>
                  </a:lnTo>
                  <a:lnTo>
                    <a:pt x="432" y="528"/>
                  </a:lnTo>
                  <a:lnTo>
                    <a:pt x="432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52"/>
                  </a:lnTo>
                  <a:lnTo>
                    <a:pt x="432" y="558"/>
                  </a:lnTo>
                  <a:lnTo>
                    <a:pt x="438" y="564"/>
                  </a:lnTo>
                  <a:lnTo>
                    <a:pt x="444" y="564"/>
                  </a:lnTo>
                  <a:lnTo>
                    <a:pt x="438" y="564"/>
                  </a:lnTo>
                  <a:lnTo>
                    <a:pt x="438" y="570"/>
                  </a:lnTo>
                  <a:lnTo>
                    <a:pt x="432" y="570"/>
                  </a:lnTo>
                  <a:lnTo>
                    <a:pt x="432" y="576"/>
                  </a:lnTo>
                  <a:lnTo>
                    <a:pt x="426" y="588"/>
                  </a:lnTo>
                  <a:lnTo>
                    <a:pt x="420" y="594"/>
                  </a:lnTo>
                  <a:lnTo>
                    <a:pt x="420" y="600"/>
                  </a:lnTo>
                  <a:lnTo>
                    <a:pt x="414" y="600"/>
                  </a:lnTo>
                  <a:lnTo>
                    <a:pt x="414" y="606"/>
                  </a:lnTo>
                  <a:lnTo>
                    <a:pt x="408" y="606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396" y="612"/>
                  </a:lnTo>
                  <a:lnTo>
                    <a:pt x="390" y="612"/>
                  </a:lnTo>
                  <a:lnTo>
                    <a:pt x="390" y="618"/>
                  </a:lnTo>
                  <a:lnTo>
                    <a:pt x="384" y="618"/>
                  </a:lnTo>
                  <a:lnTo>
                    <a:pt x="378" y="618"/>
                  </a:lnTo>
                  <a:lnTo>
                    <a:pt x="378" y="624"/>
                  </a:lnTo>
                  <a:lnTo>
                    <a:pt x="384" y="630"/>
                  </a:lnTo>
                  <a:lnTo>
                    <a:pt x="384" y="636"/>
                  </a:lnTo>
                  <a:lnTo>
                    <a:pt x="378" y="630"/>
                  </a:lnTo>
                  <a:lnTo>
                    <a:pt x="372" y="636"/>
                  </a:lnTo>
                  <a:lnTo>
                    <a:pt x="372" y="642"/>
                  </a:lnTo>
                  <a:lnTo>
                    <a:pt x="366" y="642"/>
                  </a:lnTo>
                  <a:lnTo>
                    <a:pt x="360" y="654"/>
                  </a:lnTo>
                  <a:lnTo>
                    <a:pt x="354" y="666"/>
                  </a:lnTo>
                  <a:lnTo>
                    <a:pt x="354" y="672"/>
                  </a:lnTo>
                  <a:lnTo>
                    <a:pt x="354" y="678"/>
                  </a:lnTo>
                  <a:lnTo>
                    <a:pt x="354" y="684"/>
                  </a:lnTo>
                  <a:lnTo>
                    <a:pt x="348" y="678"/>
                  </a:lnTo>
                  <a:lnTo>
                    <a:pt x="324" y="678"/>
                  </a:lnTo>
                  <a:lnTo>
                    <a:pt x="306" y="678"/>
                  </a:lnTo>
                  <a:lnTo>
                    <a:pt x="294" y="678"/>
                  </a:lnTo>
                  <a:lnTo>
                    <a:pt x="288" y="684"/>
                  </a:lnTo>
                  <a:lnTo>
                    <a:pt x="276" y="690"/>
                  </a:lnTo>
                  <a:lnTo>
                    <a:pt x="270" y="696"/>
                  </a:lnTo>
                  <a:lnTo>
                    <a:pt x="264" y="696"/>
                  </a:lnTo>
                  <a:lnTo>
                    <a:pt x="258" y="696"/>
                  </a:lnTo>
                  <a:lnTo>
                    <a:pt x="252" y="696"/>
                  </a:lnTo>
                  <a:lnTo>
                    <a:pt x="252" y="690"/>
                  </a:lnTo>
                  <a:lnTo>
                    <a:pt x="246" y="690"/>
                  </a:lnTo>
                  <a:lnTo>
                    <a:pt x="234" y="690"/>
                  </a:lnTo>
                  <a:lnTo>
                    <a:pt x="222" y="696"/>
                  </a:lnTo>
                  <a:lnTo>
                    <a:pt x="216" y="708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8" y="690"/>
                  </a:lnTo>
                  <a:lnTo>
                    <a:pt x="198" y="684"/>
                  </a:lnTo>
                  <a:lnTo>
                    <a:pt x="198" y="678"/>
                  </a:lnTo>
                  <a:lnTo>
                    <a:pt x="198" y="672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74" y="648"/>
                  </a:lnTo>
                  <a:lnTo>
                    <a:pt x="162" y="642"/>
                  </a:lnTo>
                  <a:lnTo>
                    <a:pt x="156" y="636"/>
                  </a:lnTo>
                  <a:lnTo>
                    <a:pt x="132" y="642"/>
                  </a:lnTo>
                  <a:lnTo>
                    <a:pt x="120" y="654"/>
                  </a:lnTo>
                  <a:lnTo>
                    <a:pt x="108" y="660"/>
                  </a:lnTo>
                  <a:lnTo>
                    <a:pt x="102" y="666"/>
                  </a:lnTo>
                  <a:lnTo>
                    <a:pt x="84" y="666"/>
                  </a:lnTo>
                  <a:lnTo>
                    <a:pt x="84" y="630"/>
                  </a:lnTo>
                  <a:lnTo>
                    <a:pt x="78" y="594"/>
                  </a:lnTo>
                  <a:lnTo>
                    <a:pt x="66" y="594"/>
                  </a:lnTo>
                  <a:lnTo>
                    <a:pt x="60" y="594"/>
                  </a:lnTo>
                  <a:lnTo>
                    <a:pt x="48" y="600"/>
                  </a:lnTo>
                  <a:lnTo>
                    <a:pt x="36" y="606"/>
                  </a:lnTo>
                  <a:lnTo>
                    <a:pt x="24" y="612"/>
                  </a:lnTo>
                  <a:lnTo>
                    <a:pt x="18" y="612"/>
                  </a:lnTo>
                  <a:lnTo>
                    <a:pt x="12" y="606"/>
                  </a:lnTo>
                  <a:lnTo>
                    <a:pt x="12" y="600"/>
                  </a:lnTo>
                  <a:lnTo>
                    <a:pt x="12" y="594"/>
                  </a:lnTo>
                  <a:lnTo>
                    <a:pt x="12" y="588"/>
                  </a:lnTo>
                  <a:lnTo>
                    <a:pt x="12" y="582"/>
                  </a:lnTo>
                  <a:lnTo>
                    <a:pt x="12" y="576"/>
                  </a:lnTo>
                  <a:lnTo>
                    <a:pt x="18" y="552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42" y="534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48" y="492"/>
                  </a:lnTo>
                  <a:lnTo>
                    <a:pt x="48" y="480"/>
                  </a:lnTo>
                  <a:lnTo>
                    <a:pt x="54" y="468"/>
                  </a:lnTo>
                  <a:lnTo>
                    <a:pt x="48" y="456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66" y="390"/>
                  </a:lnTo>
                  <a:lnTo>
                    <a:pt x="72" y="384"/>
                  </a:lnTo>
                  <a:lnTo>
                    <a:pt x="72" y="378"/>
                  </a:lnTo>
                  <a:lnTo>
                    <a:pt x="66" y="378"/>
                  </a:lnTo>
                  <a:lnTo>
                    <a:pt x="66" y="366"/>
                  </a:lnTo>
                  <a:lnTo>
                    <a:pt x="60" y="360"/>
                  </a:lnTo>
                  <a:lnTo>
                    <a:pt x="66" y="354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48" y="312"/>
                  </a:lnTo>
                  <a:lnTo>
                    <a:pt x="30" y="312"/>
                  </a:lnTo>
                  <a:lnTo>
                    <a:pt x="24" y="306"/>
                  </a:lnTo>
                  <a:lnTo>
                    <a:pt x="18" y="306"/>
                  </a:lnTo>
                  <a:lnTo>
                    <a:pt x="12" y="294"/>
                  </a:lnTo>
                  <a:lnTo>
                    <a:pt x="12" y="282"/>
                  </a:lnTo>
                  <a:lnTo>
                    <a:pt x="6" y="276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12" y="270"/>
                  </a:lnTo>
                  <a:lnTo>
                    <a:pt x="12" y="246"/>
                  </a:lnTo>
                  <a:lnTo>
                    <a:pt x="12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8" y="174"/>
                  </a:lnTo>
                  <a:lnTo>
                    <a:pt x="12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48" y="162"/>
                  </a:lnTo>
                  <a:lnTo>
                    <a:pt x="72" y="162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84" y="132"/>
                  </a:lnTo>
                  <a:lnTo>
                    <a:pt x="90" y="120"/>
                  </a:lnTo>
                  <a:lnTo>
                    <a:pt x="108" y="114"/>
                  </a:lnTo>
                  <a:lnTo>
                    <a:pt x="114" y="102"/>
                  </a:lnTo>
                  <a:lnTo>
                    <a:pt x="120" y="90"/>
                  </a:lnTo>
                  <a:lnTo>
                    <a:pt x="138" y="90"/>
                  </a:lnTo>
                  <a:lnTo>
                    <a:pt x="138" y="102"/>
                  </a:lnTo>
                  <a:lnTo>
                    <a:pt x="168" y="108"/>
                  </a:lnTo>
                  <a:lnTo>
                    <a:pt x="168" y="114"/>
                  </a:lnTo>
                  <a:lnTo>
                    <a:pt x="174" y="126"/>
                  </a:lnTo>
                  <a:lnTo>
                    <a:pt x="186" y="150"/>
                  </a:lnTo>
                  <a:lnTo>
                    <a:pt x="186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34" y="144"/>
                  </a:lnTo>
                  <a:lnTo>
                    <a:pt x="240" y="138"/>
                  </a:lnTo>
                  <a:lnTo>
                    <a:pt x="240" y="126"/>
                  </a:lnTo>
                  <a:lnTo>
                    <a:pt x="234" y="126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34" y="102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82" y="102"/>
                  </a:lnTo>
                  <a:lnTo>
                    <a:pt x="288" y="102"/>
                  </a:lnTo>
                  <a:lnTo>
                    <a:pt x="294" y="102"/>
                  </a:lnTo>
                  <a:lnTo>
                    <a:pt x="300" y="96"/>
                  </a:lnTo>
                  <a:lnTo>
                    <a:pt x="306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84"/>
                  </a:lnTo>
                  <a:lnTo>
                    <a:pt x="324" y="18"/>
                  </a:lnTo>
                  <a:lnTo>
                    <a:pt x="360" y="18"/>
                  </a:lnTo>
                  <a:lnTo>
                    <a:pt x="378" y="18"/>
                  </a:lnTo>
                  <a:lnTo>
                    <a:pt x="378" y="30"/>
                  </a:lnTo>
                  <a:lnTo>
                    <a:pt x="390" y="30"/>
                  </a:lnTo>
                  <a:lnTo>
                    <a:pt x="432" y="30"/>
                  </a:lnTo>
                  <a:lnTo>
                    <a:pt x="456" y="24"/>
                  </a:lnTo>
                  <a:lnTo>
                    <a:pt x="480" y="24"/>
                  </a:lnTo>
                  <a:lnTo>
                    <a:pt x="498" y="30"/>
                  </a:lnTo>
                  <a:lnTo>
                    <a:pt x="522" y="18"/>
                  </a:lnTo>
                  <a:lnTo>
                    <a:pt x="528" y="0"/>
                  </a:lnTo>
                  <a:lnTo>
                    <a:pt x="558" y="6"/>
                  </a:lnTo>
                  <a:lnTo>
                    <a:pt x="558" y="12"/>
                  </a:lnTo>
                  <a:lnTo>
                    <a:pt x="570" y="18"/>
                  </a:lnTo>
                  <a:lnTo>
                    <a:pt x="576" y="24"/>
                  </a:lnTo>
                  <a:lnTo>
                    <a:pt x="588" y="36"/>
                  </a:lnTo>
                  <a:lnTo>
                    <a:pt x="594" y="48"/>
                  </a:lnTo>
                  <a:lnTo>
                    <a:pt x="606" y="48"/>
                  </a:lnTo>
                  <a:lnTo>
                    <a:pt x="606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42"/>
                  </a:lnTo>
                  <a:lnTo>
                    <a:pt x="636" y="42"/>
                  </a:lnTo>
                  <a:lnTo>
                    <a:pt x="636" y="48"/>
                  </a:lnTo>
                  <a:lnTo>
                    <a:pt x="642" y="54"/>
                  </a:lnTo>
                  <a:lnTo>
                    <a:pt x="636" y="60"/>
                  </a:lnTo>
                  <a:lnTo>
                    <a:pt x="636" y="66"/>
                  </a:lnTo>
                  <a:lnTo>
                    <a:pt x="636" y="78"/>
                  </a:lnTo>
                  <a:lnTo>
                    <a:pt x="624" y="84"/>
                  </a:lnTo>
                  <a:lnTo>
                    <a:pt x="618" y="90"/>
                  </a:lnTo>
                  <a:lnTo>
                    <a:pt x="612" y="90"/>
                  </a:lnTo>
                  <a:lnTo>
                    <a:pt x="600" y="102"/>
                  </a:lnTo>
                  <a:lnTo>
                    <a:pt x="594" y="108"/>
                  </a:lnTo>
                  <a:lnTo>
                    <a:pt x="582" y="114"/>
                  </a:lnTo>
                  <a:lnTo>
                    <a:pt x="570" y="132"/>
                  </a:lnTo>
                  <a:lnTo>
                    <a:pt x="564" y="132"/>
                  </a:lnTo>
                  <a:lnTo>
                    <a:pt x="564" y="138"/>
                  </a:lnTo>
                  <a:lnTo>
                    <a:pt x="558" y="144"/>
                  </a:lnTo>
                  <a:lnTo>
                    <a:pt x="558" y="150"/>
                  </a:lnTo>
                  <a:lnTo>
                    <a:pt x="552" y="150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0" y="162"/>
                  </a:lnTo>
                  <a:lnTo>
                    <a:pt x="534" y="168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6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28" y="234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16" y="294"/>
                  </a:lnTo>
                  <a:lnTo>
                    <a:pt x="516" y="312"/>
                  </a:lnTo>
                  <a:lnTo>
                    <a:pt x="528" y="318"/>
                  </a:lnTo>
                  <a:lnTo>
                    <a:pt x="540" y="360"/>
                  </a:lnTo>
                  <a:lnTo>
                    <a:pt x="558" y="408"/>
                  </a:lnTo>
                  <a:lnTo>
                    <a:pt x="570" y="426"/>
                  </a:lnTo>
                  <a:lnTo>
                    <a:pt x="576" y="432"/>
                  </a:lnTo>
                  <a:lnTo>
                    <a:pt x="576" y="438"/>
                  </a:lnTo>
                  <a:lnTo>
                    <a:pt x="576" y="444"/>
                  </a:lnTo>
                  <a:lnTo>
                    <a:pt x="576" y="46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3" name="Freeform 28">
              <a:extLst>
                <a:ext uri="{FF2B5EF4-FFF2-40B4-BE49-F238E27FC236}">
                  <a16:creationId xmlns:a16="http://schemas.microsoft.com/office/drawing/2014/main" id="{CF9B4F31-BF73-448E-83AA-188F6CF1BDC5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4879" y="3432583"/>
              <a:ext cx="324248" cy="270616"/>
            </a:xfrm>
            <a:custGeom>
              <a:avLst/>
              <a:gdLst>
                <a:gd name="T0" fmla="*/ 5 w 606"/>
                <a:gd name="T1" fmla="*/ 36 h 510"/>
                <a:gd name="T2" fmla="*/ 4 w 606"/>
                <a:gd name="T3" fmla="*/ 34 h 510"/>
                <a:gd name="T4" fmla="*/ 0 w 606"/>
                <a:gd name="T5" fmla="*/ 25 h 510"/>
                <a:gd name="T6" fmla="*/ 1 w 606"/>
                <a:gd name="T7" fmla="*/ 20 h 510"/>
                <a:gd name="T8" fmla="*/ 2 w 606"/>
                <a:gd name="T9" fmla="*/ 15 h 510"/>
                <a:gd name="T10" fmla="*/ 2 w 606"/>
                <a:gd name="T11" fmla="*/ 13 h 510"/>
                <a:gd name="T12" fmla="*/ 3 w 606"/>
                <a:gd name="T13" fmla="*/ 12 h 510"/>
                <a:gd name="T14" fmla="*/ 4 w 606"/>
                <a:gd name="T15" fmla="*/ 11 h 510"/>
                <a:gd name="T16" fmla="*/ 4 w 606"/>
                <a:gd name="T17" fmla="*/ 10 h 510"/>
                <a:gd name="T18" fmla="*/ 7 w 606"/>
                <a:gd name="T19" fmla="*/ 8 h 510"/>
                <a:gd name="T20" fmla="*/ 9 w 606"/>
                <a:gd name="T21" fmla="*/ 6 h 510"/>
                <a:gd name="T22" fmla="*/ 11 w 606"/>
                <a:gd name="T23" fmla="*/ 4 h 510"/>
                <a:gd name="T24" fmla="*/ 12 w 606"/>
                <a:gd name="T25" fmla="*/ 3 h 510"/>
                <a:gd name="T26" fmla="*/ 13 w 606"/>
                <a:gd name="T27" fmla="*/ 4 h 510"/>
                <a:gd name="T28" fmla="*/ 15 w 606"/>
                <a:gd name="T29" fmla="*/ 2 h 510"/>
                <a:gd name="T30" fmla="*/ 17 w 606"/>
                <a:gd name="T31" fmla="*/ 2 h 510"/>
                <a:gd name="T32" fmla="*/ 19 w 606"/>
                <a:gd name="T33" fmla="*/ 5 h 510"/>
                <a:gd name="T34" fmla="*/ 22 w 606"/>
                <a:gd name="T35" fmla="*/ 5 h 510"/>
                <a:gd name="T36" fmla="*/ 25 w 606"/>
                <a:gd name="T37" fmla="*/ 6 h 510"/>
                <a:gd name="T38" fmla="*/ 29 w 606"/>
                <a:gd name="T39" fmla="*/ 1 h 510"/>
                <a:gd name="T40" fmla="*/ 38 w 606"/>
                <a:gd name="T41" fmla="*/ 0 h 510"/>
                <a:gd name="T42" fmla="*/ 38 w 606"/>
                <a:gd name="T43" fmla="*/ 5 h 510"/>
                <a:gd name="T44" fmla="*/ 41 w 606"/>
                <a:gd name="T45" fmla="*/ 4 h 510"/>
                <a:gd name="T46" fmla="*/ 45 w 606"/>
                <a:gd name="T47" fmla="*/ 2 h 510"/>
                <a:gd name="T48" fmla="*/ 46 w 606"/>
                <a:gd name="T49" fmla="*/ 2 h 510"/>
                <a:gd name="T50" fmla="*/ 47 w 606"/>
                <a:gd name="T51" fmla="*/ 5 h 510"/>
                <a:gd name="T52" fmla="*/ 45 w 606"/>
                <a:gd name="T53" fmla="*/ 6 h 510"/>
                <a:gd name="T54" fmla="*/ 45 w 606"/>
                <a:gd name="T55" fmla="*/ 7 h 510"/>
                <a:gd name="T56" fmla="*/ 43 w 606"/>
                <a:gd name="T57" fmla="*/ 8 h 510"/>
                <a:gd name="T58" fmla="*/ 45 w 606"/>
                <a:gd name="T59" fmla="*/ 15 h 510"/>
                <a:gd name="T60" fmla="*/ 49 w 606"/>
                <a:gd name="T61" fmla="*/ 15 h 510"/>
                <a:gd name="T62" fmla="*/ 51 w 606"/>
                <a:gd name="T63" fmla="*/ 15 h 510"/>
                <a:gd name="T64" fmla="*/ 53 w 606"/>
                <a:gd name="T65" fmla="*/ 16 h 510"/>
                <a:gd name="T66" fmla="*/ 52 w 606"/>
                <a:gd name="T67" fmla="*/ 20 h 510"/>
                <a:gd name="T68" fmla="*/ 48 w 606"/>
                <a:gd name="T69" fmla="*/ 23 h 510"/>
                <a:gd name="T70" fmla="*/ 45 w 606"/>
                <a:gd name="T71" fmla="*/ 25 h 510"/>
                <a:gd name="T72" fmla="*/ 44 w 606"/>
                <a:gd name="T73" fmla="*/ 28 h 510"/>
                <a:gd name="T74" fmla="*/ 43 w 606"/>
                <a:gd name="T75" fmla="*/ 33 h 510"/>
                <a:gd name="T76" fmla="*/ 39 w 606"/>
                <a:gd name="T77" fmla="*/ 38 h 510"/>
                <a:gd name="T78" fmla="*/ 37 w 606"/>
                <a:gd name="T79" fmla="*/ 41 h 510"/>
                <a:gd name="T80" fmla="*/ 31 w 606"/>
                <a:gd name="T81" fmla="*/ 44 h 510"/>
                <a:gd name="T82" fmla="*/ 28 w 606"/>
                <a:gd name="T83" fmla="*/ 43 h 510"/>
                <a:gd name="T84" fmla="*/ 28 w 606"/>
                <a:gd name="T85" fmla="*/ 41 h 510"/>
                <a:gd name="T86" fmla="*/ 28 w 606"/>
                <a:gd name="T87" fmla="*/ 40 h 510"/>
                <a:gd name="T88" fmla="*/ 27 w 606"/>
                <a:gd name="T89" fmla="*/ 38 h 510"/>
                <a:gd name="T90" fmla="*/ 27 w 606"/>
                <a:gd name="T91" fmla="*/ 36 h 510"/>
                <a:gd name="T92" fmla="*/ 24 w 606"/>
                <a:gd name="T93" fmla="*/ 35 h 510"/>
                <a:gd name="T94" fmla="*/ 16 w 606"/>
                <a:gd name="T95" fmla="*/ 34 h 510"/>
                <a:gd name="T96" fmla="*/ 13 w 606"/>
                <a:gd name="T97" fmla="*/ 34 h 510"/>
                <a:gd name="T98" fmla="*/ 9 w 606"/>
                <a:gd name="T99" fmla="*/ 36 h 510"/>
                <a:gd name="T100" fmla="*/ 8 w 606"/>
                <a:gd name="T101" fmla="*/ 38 h 510"/>
                <a:gd name="T102" fmla="*/ 7 w 606"/>
                <a:gd name="T103" fmla="*/ 39 h 51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06"/>
                <a:gd name="T157" fmla="*/ 0 h 510"/>
                <a:gd name="T158" fmla="*/ 606 w 606"/>
                <a:gd name="T159" fmla="*/ 510 h 51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06" h="510">
                  <a:moveTo>
                    <a:pt x="60" y="450"/>
                  </a:move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42" y="390"/>
                  </a:lnTo>
                  <a:lnTo>
                    <a:pt x="24" y="342"/>
                  </a:lnTo>
                  <a:lnTo>
                    <a:pt x="12" y="300"/>
                  </a:lnTo>
                  <a:lnTo>
                    <a:pt x="0" y="294"/>
                  </a:lnTo>
                  <a:lnTo>
                    <a:pt x="0" y="276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24" y="192"/>
                  </a:lnTo>
                  <a:lnTo>
                    <a:pt x="24" y="180"/>
                  </a:lnTo>
                  <a:lnTo>
                    <a:pt x="24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6" y="96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108" y="66"/>
                  </a:lnTo>
                  <a:lnTo>
                    <a:pt x="120" y="60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36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62" y="36"/>
                  </a:lnTo>
                  <a:lnTo>
                    <a:pt x="162" y="30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0" y="54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46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76" y="66"/>
                  </a:lnTo>
                  <a:lnTo>
                    <a:pt x="312" y="66"/>
                  </a:lnTo>
                  <a:lnTo>
                    <a:pt x="318" y="60"/>
                  </a:lnTo>
                  <a:lnTo>
                    <a:pt x="330" y="12"/>
                  </a:lnTo>
                  <a:lnTo>
                    <a:pt x="414" y="6"/>
                  </a:lnTo>
                  <a:lnTo>
                    <a:pt x="420" y="0"/>
                  </a:lnTo>
                  <a:lnTo>
                    <a:pt x="426" y="6"/>
                  </a:lnTo>
                  <a:lnTo>
                    <a:pt x="426" y="12"/>
                  </a:lnTo>
                  <a:lnTo>
                    <a:pt x="426" y="54"/>
                  </a:lnTo>
                  <a:lnTo>
                    <a:pt x="432" y="54"/>
                  </a:lnTo>
                  <a:lnTo>
                    <a:pt x="444" y="54"/>
                  </a:lnTo>
                  <a:lnTo>
                    <a:pt x="450" y="42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86" y="24"/>
                  </a:lnTo>
                  <a:lnTo>
                    <a:pt x="504" y="18"/>
                  </a:lnTo>
                  <a:lnTo>
                    <a:pt x="510" y="12"/>
                  </a:lnTo>
                  <a:lnTo>
                    <a:pt x="516" y="18"/>
                  </a:lnTo>
                  <a:lnTo>
                    <a:pt x="522" y="24"/>
                  </a:lnTo>
                  <a:lnTo>
                    <a:pt x="510" y="30"/>
                  </a:lnTo>
                  <a:lnTo>
                    <a:pt x="516" y="48"/>
                  </a:lnTo>
                  <a:lnTo>
                    <a:pt x="528" y="54"/>
                  </a:lnTo>
                  <a:lnTo>
                    <a:pt x="522" y="60"/>
                  </a:lnTo>
                  <a:lnTo>
                    <a:pt x="516" y="66"/>
                  </a:lnTo>
                  <a:lnTo>
                    <a:pt x="516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0" y="84"/>
                  </a:lnTo>
                  <a:lnTo>
                    <a:pt x="510" y="90"/>
                  </a:lnTo>
                  <a:lnTo>
                    <a:pt x="504" y="90"/>
                  </a:lnTo>
                  <a:lnTo>
                    <a:pt x="486" y="90"/>
                  </a:lnTo>
                  <a:lnTo>
                    <a:pt x="492" y="138"/>
                  </a:lnTo>
                  <a:lnTo>
                    <a:pt x="498" y="168"/>
                  </a:lnTo>
                  <a:lnTo>
                    <a:pt x="516" y="168"/>
                  </a:lnTo>
                  <a:lnTo>
                    <a:pt x="528" y="174"/>
                  </a:lnTo>
                  <a:lnTo>
                    <a:pt x="534" y="168"/>
                  </a:lnTo>
                  <a:lnTo>
                    <a:pt x="558" y="174"/>
                  </a:lnTo>
                  <a:lnTo>
                    <a:pt x="564" y="168"/>
                  </a:lnTo>
                  <a:lnTo>
                    <a:pt x="570" y="168"/>
                  </a:lnTo>
                  <a:lnTo>
                    <a:pt x="576" y="174"/>
                  </a:lnTo>
                  <a:lnTo>
                    <a:pt x="588" y="168"/>
                  </a:lnTo>
                  <a:lnTo>
                    <a:pt x="594" y="168"/>
                  </a:lnTo>
                  <a:lnTo>
                    <a:pt x="594" y="186"/>
                  </a:lnTo>
                  <a:lnTo>
                    <a:pt x="606" y="198"/>
                  </a:lnTo>
                  <a:lnTo>
                    <a:pt x="600" y="210"/>
                  </a:lnTo>
                  <a:lnTo>
                    <a:pt x="588" y="234"/>
                  </a:lnTo>
                  <a:lnTo>
                    <a:pt x="564" y="246"/>
                  </a:lnTo>
                  <a:lnTo>
                    <a:pt x="546" y="258"/>
                  </a:lnTo>
                  <a:lnTo>
                    <a:pt x="540" y="270"/>
                  </a:lnTo>
                  <a:lnTo>
                    <a:pt x="534" y="294"/>
                  </a:lnTo>
                  <a:lnTo>
                    <a:pt x="528" y="300"/>
                  </a:lnTo>
                  <a:lnTo>
                    <a:pt x="516" y="294"/>
                  </a:lnTo>
                  <a:lnTo>
                    <a:pt x="510" y="300"/>
                  </a:lnTo>
                  <a:lnTo>
                    <a:pt x="498" y="318"/>
                  </a:lnTo>
                  <a:lnTo>
                    <a:pt x="492" y="324"/>
                  </a:lnTo>
                  <a:lnTo>
                    <a:pt x="486" y="336"/>
                  </a:lnTo>
                  <a:lnTo>
                    <a:pt x="486" y="354"/>
                  </a:lnTo>
                  <a:lnTo>
                    <a:pt x="486" y="384"/>
                  </a:lnTo>
                  <a:lnTo>
                    <a:pt x="474" y="408"/>
                  </a:lnTo>
                  <a:lnTo>
                    <a:pt x="450" y="426"/>
                  </a:lnTo>
                  <a:lnTo>
                    <a:pt x="444" y="444"/>
                  </a:lnTo>
                  <a:lnTo>
                    <a:pt x="426" y="474"/>
                  </a:lnTo>
                  <a:lnTo>
                    <a:pt x="420" y="486"/>
                  </a:lnTo>
                  <a:lnTo>
                    <a:pt x="414" y="486"/>
                  </a:lnTo>
                  <a:lnTo>
                    <a:pt x="414" y="498"/>
                  </a:lnTo>
                  <a:lnTo>
                    <a:pt x="378" y="504"/>
                  </a:lnTo>
                  <a:lnTo>
                    <a:pt x="348" y="510"/>
                  </a:lnTo>
                  <a:lnTo>
                    <a:pt x="330" y="510"/>
                  </a:lnTo>
                  <a:lnTo>
                    <a:pt x="324" y="504"/>
                  </a:lnTo>
                  <a:lnTo>
                    <a:pt x="318" y="504"/>
                  </a:lnTo>
                  <a:lnTo>
                    <a:pt x="312" y="504"/>
                  </a:lnTo>
                  <a:lnTo>
                    <a:pt x="312" y="498"/>
                  </a:lnTo>
                  <a:lnTo>
                    <a:pt x="312" y="486"/>
                  </a:lnTo>
                  <a:lnTo>
                    <a:pt x="312" y="480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56"/>
                  </a:lnTo>
                  <a:lnTo>
                    <a:pt x="312" y="450"/>
                  </a:lnTo>
                  <a:lnTo>
                    <a:pt x="306" y="444"/>
                  </a:lnTo>
                  <a:lnTo>
                    <a:pt x="306" y="438"/>
                  </a:lnTo>
                  <a:lnTo>
                    <a:pt x="300" y="426"/>
                  </a:lnTo>
                  <a:lnTo>
                    <a:pt x="300" y="420"/>
                  </a:lnTo>
                  <a:lnTo>
                    <a:pt x="294" y="414"/>
                  </a:lnTo>
                  <a:lnTo>
                    <a:pt x="294" y="408"/>
                  </a:lnTo>
                  <a:lnTo>
                    <a:pt x="270" y="408"/>
                  </a:lnTo>
                  <a:lnTo>
                    <a:pt x="246" y="408"/>
                  </a:lnTo>
                  <a:lnTo>
                    <a:pt x="222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56" y="402"/>
                  </a:lnTo>
                  <a:lnTo>
                    <a:pt x="144" y="396"/>
                  </a:lnTo>
                  <a:lnTo>
                    <a:pt x="126" y="396"/>
                  </a:lnTo>
                  <a:lnTo>
                    <a:pt x="108" y="408"/>
                  </a:lnTo>
                  <a:lnTo>
                    <a:pt x="102" y="414"/>
                  </a:lnTo>
                  <a:lnTo>
                    <a:pt x="102" y="420"/>
                  </a:lnTo>
                  <a:lnTo>
                    <a:pt x="96" y="426"/>
                  </a:lnTo>
                  <a:lnTo>
                    <a:pt x="96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78" y="450"/>
                  </a:lnTo>
                  <a:lnTo>
                    <a:pt x="60" y="45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4" name="Freeform 29">
              <a:extLst>
                <a:ext uri="{FF2B5EF4-FFF2-40B4-BE49-F238E27FC236}">
                  <a16:creationId xmlns:a16="http://schemas.microsoft.com/office/drawing/2014/main" id="{B6AC2B96-1504-4082-8778-17130FDA021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401" y="3537698"/>
              <a:ext cx="559048" cy="641876"/>
            </a:xfrm>
            <a:custGeom>
              <a:avLst/>
              <a:gdLst>
                <a:gd name="T0" fmla="*/ 39 w 1056"/>
                <a:gd name="T1" fmla="*/ 94 h 1206"/>
                <a:gd name="T2" fmla="*/ 35 w 1056"/>
                <a:gd name="T3" fmla="*/ 103 h 1206"/>
                <a:gd name="T4" fmla="*/ 29 w 1056"/>
                <a:gd name="T5" fmla="*/ 99 h 1206"/>
                <a:gd name="T6" fmla="*/ 23 w 1056"/>
                <a:gd name="T7" fmla="*/ 94 h 1206"/>
                <a:gd name="T8" fmla="*/ 21 w 1056"/>
                <a:gd name="T9" fmla="*/ 91 h 1206"/>
                <a:gd name="T10" fmla="*/ 18 w 1056"/>
                <a:gd name="T11" fmla="*/ 89 h 1206"/>
                <a:gd name="T12" fmla="*/ 15 w 1056"/>
                <a:gd name="T13" fmla="*/ 86 h 1206"/>
                <a:gd name="T14" fmla="*/ 11 w 1056"/>
                <a:gd name="T15" fmla="*/ 83 h 1206"/>
                <a:gd name="T16" fmla="*/ 8 w 1056"/>
                <a:gd name="T17" fmla="*/ 81 h 1206"/>
                <a:gd name="T18" fmla="*/ 6 w 1056"/>
                <a:gd name="T19" fmla="*/ 79 h 1206"/>
                <a:gd name="T20" fmla="*/ 13 w 1056"/>
                <a:gd name="T21" fmla="*/ 78 h 1206"/>
                <a:gd name="T22" fmla="*/ 8 w 1056"/>
                <a:gd name="T23" fmla="*/ 75 h 1206"/>
                <a:gd name="T24" fmla="*/ 13 w 1056"/>
                <a:gd name="T25" fmla="*/ 71 h 1206"/>
                <a:gd name="T26" fmla="*/ 10 w 1056"/>
                <a:gd name="T27" fmla="*/ 63 h 1206"/>
                <a:gd name="T28" fmla="*/ 6 w 1056"/>
                <a:gd name="T29" fmla="*/ 66 h 1206"/>
                <a:gd name="T30" fmla="*/ 1 w 1056"/>
                <a:gd name="T31" fmla="*/ 63 h 1206"/>
                <a:gd name="T32" fmla="*/ 1 w 1056"/>
                <a:gd name="T33" fmla="*/ 59 h 1206"/>
                <a:gd name="T34" fmla="*/ 3 w 1056"/>
                <a:gd name="T35" fmla="*/ 57 h 1206"/>
                <a:gd name="T36" fmla="*/ 6 w 1056"/>
                <a:gd name="T37" fmla="*/ 55 h 1206"/>
                <a:gd name="T38" fmla="*/ 10 w 1056"/>
                <a:gd name="T39" fmla="*/ 51 h 1206"/>
                <a:gd name="T40" fmla="*/ 11 w 1056"/>
                <a:gd name="T41" fmla="*/ 46 h 1206"/>
                <a:gd name="T42" fmla="*/ 14 w 1056"/>
                <a:gd name="T43" fmla="*/ 42 h 1206"/>
                <a:gd name="T44" fmla="*/ 15 w 1056"/>
                <a:gd name="T45" fmla="*/ 36 h 1206"/>
                <a:gd name="T46" fmla="*/ 17 w 1056"/>
                <a:gd name="T47" fmla="*/ 34 h 1206"/>
                <a:gd name="T48" fmla="*/ 20 w 1056"/>
                <a:gd name="T49" fmla="*/ 31 h 1206"/>
                <a:gd name="T50" fmla="*/ 21 w 1056"/>
                <a:gd name="T51" fmla="*/ 29 h 1206"/>
                <a:gd name="T52" fmla="*/ 23 w 1056"/>
                <a:gd name="T53" fmla="*/ 22 h 1206"/>
                <a:gd name="T54" fmla="*/ 35 w 1056"/>
                <a:gd name="T55" fmla="*/ 22 h 1206"/>
                <a:gd name="T56" fmla="*/ 41 w 1056"/>
                <a:gd name="T57" fmla="*/ 18 h 1206"/>
                <a:gd name="T58" fmla="*/ 54 w 1056"/>
                <a:gd name="T59" fmla="*/ 20 h 1206"/>
                <a:gd name="T60" fmla="*/ 54 w 1056"/>
                <a:gd name="T61" fmla="*/ 26 h 1206"/>
                <a:gd name="T62" fmla="*/ 64 w 1056"/>
                <a:gd name="T63" fmla="*/ 25 h 1206"/>
                <a:gd name="T64" fmla="*/ 71 w 1056"/>
                <a:gd name="T65" fmla="*/ 10 h 1206"/>
                <a:gd name="T66" fmla="*/ 80 w 1056"/>
                <a:gd name="T67" fmla="*/ 1 h 1206"/>
                <a:gd name="T68" fmla="*/ 86 w 1056"/>
                <a:gd name="T69" fmla="*/ 2 h 1206"/>
                <a:gd name="T70" fmla="*/ 91 w 1056"/>
                <a:gd name="T71" fmla="*/ 13 h 1206"/>
                <a:gd name="T72" fmla="*/ 88 w 1056"/>
                <a:gd name="T73" fmla="*/ 17 h 1206"/>
                <a:gd name="T74" fmla="*/ 89 w 1056"/>
                <a:gd name="T75" fmla="*/ 21 h 1206"/>
                <a:gd name="T76" fmla="*/ 86 w 1056"/>
                <a:gd name="T77" fmla="*/ 25 h 1206"/>
                <a:gd name="T78" fmla="*/ 85 w 1056"/>
                <a:gd name="T79" fmla="*/ 31 h 1206"/>
                <a:gd name="T80" fmla="*/ 83 w 1056"/>
                <a:gd name="T81" fmla="*/ 36 h 1206"/>
                <a:gd name="T82" fmla="*/ 80 w 1056"/>
                <a:gd name="T83" fmla="*/ 42 h 1206"/>
                <a:gd name="T84" fmla="*/ 80 w 1056"/>
                <a:gd name="T85" fmla="*/ 47 h 1206"/>
                <a:gd name="T86" fmla="*/ 77 w 1056"/>
                <a:gd name="T87" fmla="*/ 55 h 1206"/>
                <a:gd name="T88" fmla="*/ 75 w 1056"/>
                <a:gd name="T89" fmla="*/ 57 h 1206"/>
                <a:gd name="T90" fmla="*/ 66 w 1056"/>
                <a:gd name="T91" fmla="*/ 57 h 1206"/>
                <a:gd name="T92" fmla="*/ 66 w 1056"/>
                <a:gd name="T93" fmla="*/ 51 h 1206"/>
                <a:gd name="T94" fmla="*/ 48 w 1056"/>
                <a:gd name="T95" fmla="*/ 50 h 1206"/>
                <a:gd name="T96" fmla="*/ 46 w 1056"/>
                <a:gd name="T97" fmla="*/ 55 h 1206"/>
                <a:gd name="T98" fmla="*/ 42 w 1056"/>
                <a:gd name="T99" fmla="*/ 59 h 1206"/>
                <a:gd name="T100" fmla="*/ 41 w 1056"/>
                <a:gd name="T101" fmla="*/ 62 h 1206"/>
                <a:gd name="T102" fmla="*/ 43 w 1056"/>
                <a:gd name="T103" fmla="*/ 67 h 1206"/>
                <a:gd name="T104" fmla="*/ 42 w 1056"/>
                <a:gd name="T105" fmla="*/ 72 h 1206"/>
                <a:gd name="T106" fmla="*/ 39 w 1056"/>
                <a:gd name="T107" fmla="*/ 77 h 1206"/>
                <a:gd name="T108" fmla="*/ 36 w 1056"/>
                <a:gd name="T109" fmla="*/ 80 h 1206"/>
                <a:gd name="T110" fmla="*/ 37 w 1056"/>
                <a:gd name="T111" fmla="*/ 83 h 1206"/>
                <a:gd name="T112" fmla="*/ 40 w 1056"/>
                <a:gd name="T113" fmla="*/ 87 h 1206"/>
                <a:gd name="T114" fmla="*/ 42 w 1056"/>
                <a:gd name="T115" fmla="*/ 89 h 12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56"/>
                <a:gd name="T175" fmla="*/ 0 h 1206"/>
                <a:gd name="T176" fmla="*/ 1056 w 1056"/>
                <a:gd name="T177" fmla="*/ 1206 h 12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56" h="1206">
                  <a:moveTo>
                    <a:pt x="492" y="1032"/>
                  </a:moveTo>
                  <a:lnTo>
                    <a:pt x="486" y="1038"/>
                  </a:lnTo>
                  <a:lnTo>
                    <a:pt x="486" y="1044"/>
                  </a:lnTo>
                  <a:lnTo>
                    <a:pt x="480" y="1044"/>
                  </a:lnTo>
                  <a:lnTo>
                    <a:pt x="474" y="1056"/>
                  </a:lnTo>
                  <a:lnTo>
                    <a:pt x="462" y="1068"/>
                  </a:lnTo>
                  <a:lnTo>
                    <a:pt x="456" y="1080"/>
                  </a:lnTo>
                  <a:lnTo>
                    <a:pt x="450" y="1080"/>
                  </a:lnTo>
                  <a:lnTo>
                    <a:pt x="450" y="1086"/>
                  </a:lnTo>
                  <a:lnTo>
                    <a:pt x="450" y="1092"/>
                  </a:lnTo>
                  <a:lnTo>
                    <a:pt x="444" y="1104"/>
                  </a:lnTo>
                  <a:lnTo>
                    <a:pt x="444" y="1116"/>
                  </a:lnTo>
                  <a:lnTo>
                    <a:pt x="438" y="1128"/>
                  </a:lnTo>
                  <a:lnTo>
                    <a:pt x="432" y="1134"/>
                  </a:lnTo>
                  <a:lnTo>
                    <a:pt x="432" y="1140"/>
                  </a:lnTo>
                  <a:lnTo>
                    <a:pt x="420" y="1152"/>
                  </a:lnTo>
                  <a:lnTo>
                    <a:pt x="420" y="1158"/>
                  </a:lnTo>
                  <a:lnTo>
                    <a:pt x="408" y="1182"/>
                  </a:lnTo>
                  <a:lnTo>
                    <a:pt x="396" y="1194"/>
                  </a:lnTo>
                  <a:lnTo>
                    <a:pt x="390" y="1206"/>
                  </a:lnTo>
                  <a:lnTo>
                    <a:pt x="390" y="1200"/>
                  </a:lnTo>
                  <a:lnTo>
                    <a:pt x="384" y="1194"/>
                  </a:lnTo>
                  <a:lnTo>
                    <a:pt x="378" y="1188"/>
                  </a:lnTo>
                  <a:lnTo>
                    <a:pt x="366" y="1176"/>
                  </a:lnTo>
                  <a:lnTo>
                    <a:pt x="366" y="1170"/>
                  </a:lnTo>
                  <a:lnTo>
                    <a:pt x="348" y="1152"/>
                  </a:lnTo>
                  <a:lnTo>
                    <a:pt x="336" y="1140"/>
                  </a:lnTo>
                  <a:lnTo>
                    <a:pt x="330" y="1134"/>
                  </a:lnTo>
                  <a:lnTo>
                    <a:pt x="324" y="1128"/>
                  </a:lnTo>
                  <a:lnTo>
                    <a:pt x="318" y="1122"/>
                  </a:lnTo>
                  <a:lnTo>
                    <a:pt x="312" y="1116"/>
                  </a:lnTo>
                  <a:lnTo>
                    <a:pt x="306" y="1110"/>
                  </a:lnTo>
                  <a:lnTo>
                    <a:pt x="300" y="1104"/>
                  </a:lnTo>
                  <a:lnTo>
                    <a:pt x="294" y="1098"/>
                  </a:lnTo>
                  <a:lnTo>
                    <a:pt x="276" y="1080"/>
                  </a:lnTo>
                  <a:lnTo>
                    <a:pt x="270" y="1080"/>
                  </a:lnTo>
                  <a:lnTo>
                    <a:pt x="270" y="1074"/>
                  </a:lnTo>
                  <a:lnTo>
                    <a:pt x="264" y="1068"/>
                  </a:lnTo>
                  <a:lnTo>
                    <a:pt x="258" y="1062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40" y="1050"/>
                  </a:lnTo>
                  <a:lnTo>
                    <a:pt x="234" y="1044"/>
                  </a:lnTo>
                  <a:lnTo>
                    <a:pt x="228" y="1044"/>
                  </a:lnTo>
                  <a:lnTo>
                    <a:pt x="222" y="1038"/>
                  </a:lnTo>
                  <a:lnTo>
                    <a:pt x="222" y="1032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6"/>
                  </a:lnTo>
                  <a:lnTo>
                    <a:pt x="204" y="1020"/>
                  </a:lnTo>
                  <a:lnTo>
                    <a:pt x="204" y="1014"/>
                  </a:lnTo>
                  <a:lnTo>
                    <a:pt x="198" y="1014"/>
                  </a:lnTo>
                  <a:lnTo>
                    <a:pt x="192" y="1014"/>
                  </a:lnTo>
                  <a:lnTo>
                    <a:pt x="192" y="1008"/>
                  </a:lnTo>
                  <a:lnTo>
                    <a:pt x="186" y="1008"/>
                  </a:lnTo>
                  <a:lnTo>
                    <a:pt x="186" y="1002"/>
                  </a:lnTo>
                  <a:lnTo>
                    <a:pt x="180" y="1002"/>
                  </a:lnTo>
                  <a:lnTo>
                    <a:pt x="174" y="996"/>
                  </a:lnTo>
                  <a:lnTo>
                    <a:pt x="168" y="996"/>
                  </a:lnTo>
                  <a:lnTo>
                    <a:pt x="168" y="990"/>
                  </a:lnTo>
                  <a:lnTo>
                    <a:pt x="162" y="990"/>
                  </a:lnTo>
                  <a:lnTo>
                    <a:pt x="162" y="984"/>
                  </a:lnTo>
                  <a:lnTo>
                    <a:pt x="150" y="978"/>
                  </a:lnTo>
                  <a:lnTo>
                    <a:pt x="144" y="972"/>
                  </a:lnTo>
                  <a:lnTo>
                    <a:pt x="138" y="972"/>
                  </a:lnTo>
                  <a:lnTo>
                    <a:pt x="138" y="966"/>
                  </a:lnTo>
                  <a:lnTo>
                    <a:pt x="132" y="966"/>
                  </a:lnTo>
                  <a:lnTo>
                    <a:pt x="126" y="960"/>
                  </a:lnTo>
                  <a:lnTo>
                    <a:pt x="126" y="954"/>
                  </a:lnTo>
                  <a:lnTo>
                    <a:pt x="120" y="954"/>
                  </a:lnTo>
                  <a:lnTo>
                    <a:pt x="114" y="948"/>
                  </a:lnTo>
                  <a:lnTo>
                    <a:pt x="108" y="948"/>
                  </a:lnTo>
                  <a:lnTo>
                    <a:pt x="108" y="942"/>
                  </a:lnTo>
                  <a:lnTo>
                    <a:pt x="102" y="942"/>
                  </a:lnTo>
                  <a:lnTo>
                    <a:pt x="96" y="942"/>
                  </a:lnTo>
                  <a:lnTo>
                    <a:pt x="96" y="936"/>
                  </a:lnTo>
                  <a:lnTo>
                    <a:pt x="90" y="936"/>
                  </a:lnTo>
                  <a:lnTo>
                    <a:pt x="90" y="930"/>
                  </a:lnTo>
                  <a:lnTo>
                    <a:pt x="84" y="930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18"/>
                  </a:lnTo>
                  <a:lnTo>
                    <a:pt x="66" y="918"/>
                  </a:lnTo>
                  <a:lnTo>
                    <a:pt x="66" y="912"/>
                  </a:lnTo>
                  <a:lnTo>
                    <a:pt x="66" y="906"/>
                  </a:lnTo>
                  <a:lnTo>
                    <a:pt x="72" y="906"/>
                  </a:lnTo>
                  <a:lnTo>
                    <a:pt x="84" y="906"/>
                  </a:lnTo>
                  <a:lnTo>
                    <a:pt x="90" y="906"/>
                  </a:lnTo>
                  <a:lnTo>
                    <a:pt x="120" y="930"/>
                  </a:lnTo>
                  <a:lnTo>
                    <a:pt x="126" y="936"/>
                  </a:lnTo>
                  <a:lnTo>
                    <a:pt x="138" y="936"/>
                  </a:lnTo>
                  <a:lnTo>
                    <a:pt x="138" y="930"/>
                  </a:lnTo>
                  <a:lnTo>
                    <a:pt x="144" y="930"/>
                  </a:lnTo>
                  <a:lnTo>
                    <a:pt x="144" y="924"/>
                  </a:lnTo>
                  <a:lnTo>
                    <a:pt x="150" y="900"/>
                  </a:lnTo>
                  <a:lnTo>
                    <a:pt x="138" y="894"/>
                  </a:lnTo>
                  <a:lnTo>
                    <a:pt x="126" y="894"/>
                  </a:lnTo>
                  <a:lnTo>
                    <a:pt x="108" y="888"/>
                  </a:lnTo>
                  <a:lnTo>
                    <a:pt x="84" y="882"/>
                  </a:lnTo>
                  <a:lnTo>
                    <a:pt x="72" y="882"/>
                  </a:lnTo>
                  <a:lnTo>
                    <a:pt x="72" y="876"/>
                  </a:lnTo>
                  <a:lnTo>
                    <a:pt x="78" y="870"/>
                  </a:lnTo>
                  <a:lnTo>
                    <a:pt x="90" y="870"/>
                  </a:lnTo>
                  <a:lnTo>
                    <a:pt x="96" y="870"/>
                  </a:lnTo>
                  <a:lnTo>
                    <a:pt x="102" y="870"/>
                  </a:lnTo>
                  <a:lnTo>
                    <a:pt x="114" y="870"/>
                  </a:lnTo>
                  <a:lnTo>
                    <a:pt x="120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34"/>
                  </a:lnTo>
                  <a:lnTo>
                    <a:pt x="132" y="828"/>
                  </a:lnTo>
                  <a:lnTo>
                    <a:pt x="132" y="816"/>
                  </a:lnTo>
                  <a:lnTo>
                    <a:pt x="150" y="816"/>
                  </a:lnTo>
                  <a:lnTo>
                    <a:pt x="150" y="804"/>
                  </a:lnTo>
                  <a:lnTo>
                    <a:pt x="144" y="798"/>
                  </a:lnTo>
                  <a:lnTo>
                    <a:pt x="156" y="762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32"/>
                  </a:lnTo>
                  <a:lnTo>
                    <a:pt x="144" y="726"/>
                  </a:lnTo>
                  <a:lnTo>
                    <a:pt x="132" y="726"/>
                  </a:lnTo>
                  <a:lnTo>
                    <a:pt x="120" y="732"/>
                  </a:lnTo>
                  <a:lnTo>
                    <a:pt x="114" y="744"/>
                  </a:lnTo>
                  <a:lnTo>
                    <a:pt x="108" y="750"/>
                  </a:lnTo>
                  <a:lnTo>
                    <a:pt x="96" y="768"/>
                  </a:lnTo>
                  <a:lnTo>
                    <a:pt x="96" y="774"/>
                  </a:lnTo>
                  <a:lnTo>
                    <a:pt x="90" y="780"/>
                  </a:lnTo>
                  <a:lnTo>
                    <a:pt x="84" y="804"/>
                  </a:lnTo>
                  <a:lnTo>
                    <a:pt x="72" y="774"/>
                  </a:lnTo>
                  <a:lnTo>
                    <a:pt x="72" y="768"/>
                  </a:lnTo>
                  <a:lnTo>
                    <a:pt x="66" y="762"/>
                  </a:lnTo>
                  <a:lnTo>
                    <a:pt x="60" y="750"/>
                  </a:lnTo>
                  <a:lnTo>
                    <a:pt x="54" y="750"/>
                  </a:lnTo>
                  <a:lnTo>
                    <a:pt x="48" y="750"/>
                  </a:lnTo>
                  <a:lnTo>
                    <a:pt x="42" y="750"/>
                  </a:lnTo>
                  <a:lnTo>
                    <a:pt x="30" y="744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12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2" y="702"/>
                  </a:lnTo>
                  <a:lnTo>
                    <a:pt x="18" y="696"/>
                  </a:lnTo>
                  <a:lnTo>
                    <a:pt x="12" y="690"/>
                  </a:lnTo>
                  <a:lnTo>
                    <a:pt x="12" y="684"/>
                  </a:lnTo>
                  <a:lnTo>
                    <a:pt x="12" y="678"/>
                  </a:lnTo>
                  <a:lnTo>
                    <a:pt x="12" y="672"/>
                  </a:lnTo>
                  <a:lnTo>
                    <a:pt x="18" y="672"/>
                  </a:lnTo>
                  <a:lnTo>
                    <a:pt x="18" y="666"/>
                  </a:lnTo>
                  <a:lnTo>
                    <a:pt x="24" y="666"/>
                  </a:lnTo>
                  <a:lnTo>
                    <a:pt x="24" y="660"/>
                  </a:lnTo>
                  <a:lnTo>
                    <a:pt x="30" y="660"/>
                  </a:lnTo>
                  <a:lnTo>
                    <a:pt x="30" y="654"/>
                  </a:lnTo>
                  <a:lnTo>
                    <a:pt x="36" y="654"/>
                  </a:lnTo>
                  <a:lnTo>
                    <a:pt x="36" y="648"/>
                  </a:lnTo>
                  <a:lnTo>
                    <a:pt x="42" y="648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60" y="630"/>
                  </a:lnTo>
                  <a:lnTo>
                    <a:pt x="66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78" y="624"/>
                  </a:lnTo>
                  <a:lnTo>
                    <a:pt x="84" y="618"/>
                  </a:lnTo>
                  <a:lnTo>
                    <a:pt x="84" y="612"/>
                  </a:lnTo>
                  <a:lnTo>
                    <a:pt x="90" y="612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20" y="588"/>
                  </a:lnTo>
                  <a:lnTo>
                    <a:pt x="120" y="582"/>
                  </a:lnTo>
                  <a:lnTo>
                    <a:pt x="120" y="576"/>
                  </a:lnTo>
                  <a:lnTo>
                    <a:pt x="120" y="570"/>
                  </a:lnTo>
                  <a:lnTo>
                    <a:pt x="126" y="564"/>
                  </a:lnTo>
                  <a:lnTo>
                    <a:pt x="126" y="558"/>
                  </a:lnTo>
                  <a:lnTo>
                    <a:pt x="126" y="552"/>
                  </a:lnTo>
                  <a:lnTo>
                    <a:pt x="126" y="546"/>
                  </a:lnTo>
                  <a:lnTo>
                    <a:pt x="126" y="534"/>
                  </a:lnTo>
                  <a:lnTo>
                    <a:pt x="126" y="516"/>
                  </a:lnTo>
                  <a:lnTo>
                    <a:pt x="126" y="510"/>
                  </a:lnTo>
                  <a:lnTo>
                    <a:pt x="126" y="504"/>
                  </a:lnTo>
                  <a:lnTo>
                    <a:pt x="126" y="498"/>
                  </a:lnTo>
                  <a:lnTo>
                    <a:pt x="132" y="498"/>
                  </a:lnTo>
                  <a:lnTo>
                    <a:pt x="132" y="492"/>
                  </a:lnTo>
                  <a:lnTo>
                    <a:pt x="138" y="492"/>
                  </a:lnTo>
                  <a:lnTo>
                    <a:pt x="144" y="486"/>
                  </a:lnTo>
                  <a:lnTo>
                    <a:pt x="156" y="480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6" y="462"/>
                  </a:lnTo>
                  <a:lnTo>
                    <a:pt x="156" y="456"/>
                  </a:lnTo>
                  <a:lnTo>
                    <a:pt x="156" y="450"/>
                  </a:lnTo>
                  <a:lnTo>
                    <a:pt x="162" y="438"/>
                  </a:lnTo>
                  <a:lnTo>
                    <a:pt x="168" y="426"/>
                  </a:lnTo>
                  <a:lnTo>
                    <a:pt x="174" y="426"/>
                  </a:lnTo>
                  <a:lnTo>
                    <a:pt x="174" y="420"/>
                  </a:lnTo>
                  <a:lnTo>
                    <a:pt x="180" y="414"/>
                  </a:lnTo>
                  <a:lnTo>
                    <a:pt x="186" y="420"/>
                  </a:lnTo>
                  <a:lnTo>
                    <a:pt x="186" y="414"/>
                  </a:lnTo>
                  <a:lnTo>
                    <a:pt x="180" y="408"/>
                  </a:lnTo>
                  <a:lnTo>
                    <a:pt x="180" y="402"/>
                  </a:lnTo>
                  <a:lnTo>
                    <a:pt x="186" y="402"/>
                  </a:lnTo>
                  <a:lnTo>
                    <a:pt x="192" y="402"/>
                  </a:lnTo>
                  <a:lnTo>
                    <a:pt x="192" y="396"/>
                  </a:lnTo>
                  <a:lnTo>
                    <a:pt x="198" y="396"/>
                  </a:lnTo>
                  <a:lnTo>
                    <a:pt x="204" y="396"/>
                  </a:lnTo>
                  <a:lnTo>
                    <a:pt x="210" y="396"/>
                  </a:lnTo>
                  <a:lnTo>
                    <a:pt x="210" y="390"/>
                  </a:lnTo>
                  <a:lnTo>
                    <a:pt x="216" y="390"/>
                  </a:lnTo>
                  <a:lnTo>
                    <a:pt x="216" y="384"/>
                  </a:lnTo>
                  <a:lnTo>
                    <a:pt x="222" y="384"/>
                  </a:lnTo>
                  <a:lnTo>
                    <a:pt x="222" y="378"/>
                  </a:lnTo>
                  <a:lnTo>
                    <a:pt x="228" y="372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0" y="348"/>
                  </a:lnTo>
                  <a:lnTo>
                    <a:pt x="234" y="342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46" y="330"/>
                  </a:lnTo>
                  <a:lnTo>
                    <a:pt x="246" y="324"/>
                  </a:lnTo>
                  <a:lnTo>
                    <a:pt x="234" y="318"/>
                  </a:lnTo>
                  <a:lnTo>
                    <a:pt x="234" y="312"/>
                  </a:lnTo>
                  <a:lnTo>
                    <a:pt x="234" y="300"/>
                  </a:lnTo>
                  <a:lnTo>
                    <a:pt x="240" y="288"/>
                  </a:lnTo>
                  <a:lnTo>
                    <a:pt x="240" y="276"/>
                  </a:lnTo>
                  <a:lnTo>
                    <a:pt x="246" y="258"/>
                  </a:lnTo>
                  <a:lnTo>
                    <a:pt x="258" y="252"/>
                  </a:lnTo>
                  <a:lnTo>
                    <a:pt x="270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294" y="252"/>
                  </a:lnTo>
                  <a:lnTo>
                    <a:pt x="300" y="258"/>
                  </a:lnTo>
                  <a:lnTo>
                    <a:pt x="318" y="252"/>
                  </a:lnTo>
                  <a:lnTo>
                    <a:pt x="366" y="252"/>
                  </a:lnTo>
                  <a:lnTo>
                    <a:pt x="378" y="252"/>
                  </a:lnTo>
                  <a:lnTo>
                    <a:pt x="396" y="252"/>
                  </a:lnTo>
                  <a:lnTo>
                    <a:pt x="408" y="252"/>
                  </a:lnTo>
                  <a:lnTo>
                    <a:pt x="408" y="246"/>
                  </a:lnTo>
                  <a:lnTo>
                    <a:pt x="414" y="240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20" y="216"/>
                  </a:lnTo>
                  <a:lnTo>
                    <a:pt x="426" y="210"/>
                  </a:lnTo>
                  <a:lnTo>
                    <a:pt x="444" y="198"/>
                  </a:lnTo>
                  <a:lnTo>
                    <a:pt x="462" y="198"/>
                  </a:lnTo>
                  <a:lnTo>
                    <a:pt x="474" y="204"/>
                  </a:lnTo>
                  <a:lnTo>
                    <a:pt x="498" y="198"/>
                  </a:lnTo>
                  <a:lnTo>
                    <a:pt x="498" y="204"/>
                  </a:lnTo>
                  <a:lnTo>
                    <a:pt x="540" y="210"/>
                  </a:lnTo>
                  <a:lnTo>
                    <a:pt x="564" y="210"/>
                  </a:lnTo>
                  <a:lnTo>
                    <a:pt x="588" y="210"/>
                  </a:lnTo>
                  <a:lnTo>
                    <a:pt x="612" y="210"/>
                  </a:lnTo>
                  <a:lnTo>
                    <a:pt x="612" y="216"/>
                  </a:lnTo>
                  <a:lnTo>
                    <a:pt x="618" y="222"/>
                  </a:lnTo>
                  <a:lnTo>
                    <a:pt x="618" y="228"/>
                  </a:lnTo>
                  <a:lnTo>
                    <a:pt x="624" y="240"/>
                  </a:lnTo>
                  <a:lnTo>
                    <a:pt x="624" y="246"/>
                  </a:lnTo>
                  <a:lnTo>
                    <a:pt x="630" y="252"/>
                  </a:lnTo>
                  <a:lnTo>
                    <a:pt x="630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0" y="282"/>
                  </a:lnTo>
                  <a:lnTo>
                    <a:pt x="630" y="288"/>
                  </a:lnTo>
                  <a:lnTo>
                    <a:pt x="630" y="300"/>
                  </a:lnTo>
                  <a:lnTo>
                    <a:pt x="630" y="306"/>
                  </a:lnTo>
                  <a:lnTo>
                    <a:pt x="636" y="306"/>
                  </a:lnTo>
                  <a:lnTo>
                    <a:pt x="642" y="306"/>
                  </a:lnTo>
                  <a:lnTo>
                    <a:pt x="648" y="312"/>
                  </a:lnTo>
                  <a:lnTo>
                    <a:pt x="666" y="312"/>
                  </a:lnTo>
                  <a:lnTo>
                    <a:pt x="696" y="306"/>
                  </a:lnTo>
                  <a:lnTo>
                    <a:pt x="732" y="300"/>
                  </a:lnTo>
                  <a:lnTo>
                    <a:pt x="732" y="288"/>
                  </a:lnTo>
                  <a:lnTo>
                    <a:pt x="738" y="288"/>
                  </a:lnTo>
                  <a:lnTo>
                    <a:pt x="744" y="276"/>
                  </a:lnTo>
                  <a:lnTo>
                    <a:pt x="762" y="246"/>
                  </a:lnTo>
                  <a:lnTo>
                    <a:pt x="768" y="228"/>
                  </a:lnTo>
                  <a:lnTo>
                    <a:pt x="792" y="210"/>
                  </a:lnTo>
                  <a:lnTo>
                    <a:pt x="804" y="186"/>
                  </a:lnTo>
                  <a:lnTo>
                    <a:pt x="804" y="156"/>
                  </a:lnTo>
                  <a:lnTo>
                    <a:pt x="804" y="138"/>
                  </a:lnTo>
                  <a:lnTo>
                    <a:pt x="810" y="126"/>
                  </a:lnTo>
                  <a:lnTo>
                    <a:pt x="816" y="120"/>
                  </a:lnTo>
                  <a:lnTo>
                    <a:pt x="828" y="102"/>
                  </a:lnTo>
                  <a:lnTo>
                    <a:pt x="834" y="96"/>
                  </a:lnTo>
                  <a:lnTo>
                    <a:pt x="846" y="102"/>
                  </a:lnTo>
                  <a:lnTo>
                    <a:pt x="852" y="96"/>
                  </a:lnTo>
                  <a:lnTo>
                    <a:pt x="858" y="72"/>
                  </a:lnTo>
                  <a:lnTo>
                    <a:pt x="864" y="60"/>
                  </a:lnTo>
                  <a:lnTo>
                    <a:pt x="882" y="48"/>
                  </a:lnTo>
                  <a:lnTo>
                    <a:pt x="906" y="36"/>
                  </a:lnTo>
                  <a:lnTo>
                    <a:pt x="918" y="12"/>
                  </a:lnTo>
                  <a:lnTo>
                    <a:pt x="924" y="0"/>
                  </a:lnTo>
                  <a:lnTo>
                    <a:pt x="930" y="6"/>
                  </a:lnTo>
                  <a:lnTo>
                    <a:pt x="942" y="12"/>
                  </a:lnTo>
                  <a:lnTo>
                    <a:pt x="948" y="12"/>
                  </a:lnTo>
                  <a:lnTo>
                    <a:pt x="954" y="18"/>
                  </a:lnTo>
                  <a:lnTo>
                    <a:pt x="966" y="18"/>
                  </a:lnTo>
                  <a:lnTo>
                    <a:pt x="972" y="18"/>
                  </a:lnTo>
                  <a:lnTo>
                    <a:pt x="984" y="18"/>
                  </a:lnTo>
                  <a:lnTo>
                    <a:pt x="990" y="18"/>
                  </a:lnTo>
                  <a:lnTo>
                    <a:pt x="1002" y="48"/>
                  </a:lnTo>
                  <a:lnTo>
                    <a:pt x="1008" y="78"/>
                  </a:lnTo>
                  <a:lnTo>
                    <a:pt x="1020" y="78"/>
                  </a:lnTo>
                  <a:lnTo>
                    <a:pt x="1020" y="90"/>
                  </a:lnTo>
                  <a:lnTo>
                    <a:pt x="1026" y="102"/>
                  </a:lnTo>
                  <a:lnTo>
                    <a:pt x="1044" y="120"/>
                  </a:lnTo>
                  <a:lnTo>
                    <a:pt x="1044" y="132"/>
                  </a:lnTo>
                  <a:lnTo>
                    <a:pt x="1056" y="150"/>
                  </a:lnTo>
                  <a:lnTo>
                    <a:pt x="1050" y="150"/>
                  </a:lnTo>
                  <a:lnTo>
                    <a:pt x="1044" y="156"/>
                  </a:lnTo>
                  <a:lnTo>
                    <a:pt x="1044" y="162"/>
                  </a:lnTo>
                  <a:lnTo>
                    <a:pt x="1038" y="162"/>
                  </a:lnTo>
                  <a:lnTo>
                    <a:pt x="1032" y="162"/>
                  </a:lnTo>
                  <a:lnTo>
                    <a:pt x="1026" y="168"/>
                  </a:lnTo>
                  <a:lnTo>
                    <a:pt x="1014" y="174"/>
                  </a:lnTo>
                  <a:lnTo>
                    <a:pt x="1014" y="186"/>
                  </a:lnTo>
                  <a:lnTo>
                    <a:pt x="1014" y="192"/>
                  </a:lnTo>
                  <a:lnTo>
                    <a:pt x="1014" y="198"/>
                  </a:lnTo>
                  <a:lnTo>
                    <a:pt x="1020" y="204"/>
                  </a:lnTo>
                  <a:lnTo>
                    <a:pt x="1026" y="204"/>
                  </a:lnTo>
                  <a:lnTo>
                    <a:pt x="1032" y="204"/>
                  </a:lnTo>
                  <a:lnTo>
                    <a:pt x="1032" y="210"/>
                  </a:lnTo>
                  <a:lnTo>
                    <a:pt x="1038" y="210"/>
                  </a:lnTo>
                  <a:lnTo>
                    <a:pt x="1032" y="216"/>
                  </a:lnTo>
                  <a:lnTo>
                    <a:pt x="1026" y="228"/>
                  </a:lnTo>
                  <a:lnTo>
                    <a:pt x="1026" y="234"/>
                  </a:lnTo>
                  <a:lnTo>
                    <a:pt x="1032" y="240"/>
                  </a:lnTo>
                  <a:lnTo>
                    <a:pt x="1032" y="246"/>
                  </a:lnTo>
                  <a:lnTo>
                    <a:pt x="1032" y="252"/>
                  </a:lnTo>
                  <a:lnTo>
                    <a:pt x="1032" y="258"/>
                  </a:lnTo>
                  <a:lnTo>
                    <a:pt x="1038" y="264"/>
                  </a:lnTo>
                  <a:lnTo>
                    <a:pt x="1032" y="276"/>
                  </a:lnTo>
                  <a:lnTo>
                    <a:pt x="1026" y="276"/>
                  </a:lnTo>
                  <a:lnTo>
                    <a:pt x="1020" y="276"/>
                  </a:lnTo>
                  <a:lnTo>
                    <a:pt x="996" y="282"/>
                  </a:lnTo>
                  <a:lnTo>
                    <a:pt x="996" y="288"/>
                  </a:lnTo>
                  <a:lnTo>
                    <a:pt x="996" y="294"/>
                  </a:lnTo>
                  <a:lnTo>
                    <a:pt x="996" y="300"/>
                  </a:lnTo>
                  <a:lnTo>
                    <a:pt x="996" y="306"/>
                  </a:lnTo>
                  <a:lnTo>
                    <a:pt x="984" y="324"/>
                  </a:lnTo>
                  <a:lnTo>
                    <a:pt x="984" y="330"/>
                  </a:lnTo>
                  <a:lnTo>
                    <a:pt x="984" y="336"/>
                  </a:lnTo>
                  <a:lnTo>
                    <a:pt x="978" y="336"/>
                  </a:lnTo>
                  <a:lnTo>
                    <a:pt x="978" y="342"/>
                  </a:lnTo>
                  <a:lnTo>
                    <a:pt x="984" y="360"/>
                  </a:lnTo>
                  <a:lnTo>
                    <a:pt x="978" y="366"/>
                  </a:lnTo>
                  <a:lnTo>
                    <a:pt x="978" y="372"/>
                  </a:lnTo>
                  <a:lnTo>
                    <a:pt x="972" y="372"/>
                  </a:lnTo>
                  <a:lnTo>
                    <a:pt x="972" y="378"/>
                  </a:lnTo>
                  <a:lnTo>
                    <a:pt x="972" y="384"/>
                  </a:lnTo>
                  <a:lnTo>
                    <a:pt x="972" y="390"/>
                  </a:lnTo>
                  <a:lnTo>
                    <a:pt x="966" y="402"/>
                  </a:lnTo>
                  <a:lnTo>
                    <a:pt x="960" y="414"/>
                  </a:lnTo>
                  <a:lnTo>
                    <a:pt x="954" y="420"/>
                  </a:lnTo>
                  <a:lnTo>
                    <a:pt x="948" y="426"/>
                  </a:lnTo>
                  <a:lnTo>
                    <a:pt x="948" y="438"/>
                  </a:lnTo>
                  <a:lnTo>
                    <a:pt x="942" y="444"/>
                  </a:lnTo>
                  <a:lnTo>
                    <a:pt x="936" y="450"/>
                  </a:lnTo>
                  <a:lnTo>
                    <a:pt x="930" y="456"/>
                  </a:lnTo>
                  <a:lnTo>
                    <a:pt x="924" y="462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18" y="522"/>
                  </a:lnTo>
                  <a:lnTo>
                    <a:pt x="918" y="528"/>
                  </a:lnTo>
                  <a:lnTo>
                    <a:pt x="924" y="534"/>
                  </a:lnTo>
                  <a:lnTo>
                    <a:pt x="924" y="540"/>
                  </a:lnTo>
                  <a:lnTo>
                    <a:pt x="924" y="546"/>
                  </a:lnTo>
                  <a:lnTo>
                    <a:pt x="918" y="546"/>
                  </a:lnTo>
                  <a:lnTo>
                    <a:pt x="918" y="552"/>
                  </a:lnTo>
                  <a:lnTo>
                    <a:pt x="912" y="546"/>
                  </a:lnTo>
                  <a:lnTo>
                    <a:pt x="912" y="552"/>
                  </a:lnTo>
                  <a:lnTo>
                    <a:pt x="912" y="570"/>
                  </a:lnTo>
                  <a:lnTo>
                    <a:pt x="906" y="588"/>
                  </a:lnTo>
                  <a:lnTo>
                    <a:pt x="900" y="606"/>
                  </a:lnTo>
                  <a:lnTo>
                    <a:pt x="906" y="624"/>
                  </a:lnTo>
                  <a:lnTo>
                    <a:pt x="900" y="624"/>
                  </a:lnTo>
                  <a:lnTo>
                    <a:pt x="894" y="630"/>
                  </a:lnTo>
                  <a:lnTo>
                    <a:pt x="888" y="630"/>
                  </a:lnTo>
                  <a:lnTo>
                    <a:pt x="882" y="630"/>
                  </a:lnTo>
                  <a:lnTo>
                    <a:pt x="882" y="636"/>
                  </a:lnTo>
                  <a:lnTo>
                    <a:pt x="876" y="642"/>
                  </a:lnTo>
                  <a:lnTo>
                    <a:pt x="870" y="642"/>
                  </a:lnTo>
                  <a:lnTo>
                    <a:pt x="870" y="648"/>
                  </a:lnTo>
                  <a:lnTo>
                    <a:pt x="870" y="654"/>
                  </a:lnTo>
                  <a:lnTo>
                    <a:pt x="864" y="654"/>
                  </a:lnTo>
                  <a:lnTo>
                    <a:pt x="864" y="660"/>
                  </a:lnTo>
                  <a:lnTo>
                    <a:pt x="846" y="666"/>
                  </a:lnTo>
                  <a:lnTo>
                    <a:pt x="828" y="672"/>
                  </a:lnTo>
                  <a:lnTo>
                    <a:pt x="816" y="660"/>
                  </a:lnTo>
                  <a:lnTo>
                    <a:pt x="810" y="660"/>
                  </a:lnTo>
                  <a:lnTo>
                    <a:pt x="798" y="666"/>
                  </a:lnTo>
                  <a:lnTo>
                    <a:pt x="786" y="666"/>
                  </a:lnTo>
                  <a:lnTo>
                    <a:pt x="780" y="672"/>
                  </a:lnTo>
                  <a:lnTo>
                    <a:pt x="768" y="678"/>
                  </a:lnTo>
                  <a:lnTo>
                    <a:pt x="762" y="660"/>
                  </a:lnTo>
                  <a:lnTo>
                    <a:pt x="762" y="654"/>
                  </a:lnTo>
                  <a:lnTo>
                    <a:pt x="756" y="636"/>
                  </a:lnTo>
                  <a:lnTo>
                    <a:pt x="762" y="624"/>
                  </a:lnTo>
                  <a:lnTo>
                    <a:pt x="756" y="606"/>
                  </a:lnTo>
                  <a:lnTo>
                    <a:pt x="756" y="600"/>
                  </a:lnTo>
                  <a:lnTo>
                    <a:pt x="762" y="594"/>
                  </a:lnTo>
                  <a:lnTo>
                    <a:pt x="768" y="600"/>
                  </a:lnTo>
                  <a:lnTo>
                    <a:pt x="768" y="594"/>
                  </a:lnTo>
                  <a:lnTo>
                    <a:pt x="768" y="588"/>
                  </a:lnTo>
                  <a:lnTo>
                    <a:pt x="774" y="582"/>
                  </a:lnTo>
                  <a:lnTo>
                    <a:pt x="768" y="576"/>
                  </a:lnTo>
                  <a:lnTo>
                    <a:pt x="762" y="576"/>
                  </a:lnTo>
                  <a:lnTo>
                    <a:pt x="756" y="576"/>
                  </a:lnTo>
                  <a:lnTo>
                    <a:pt x="690" y="576"/>
                  </a:lnTo>
                  <a:lnTo>
                    <a:pt x="624" y="570"/>
                  </a:lnTo>
                  <a:lnTo>
                    <a:pt x="600" y="564"/>
                  </a:lnTo>
                  <a:lnTo>
                    <a:pt x="576" y="564"/>
                  </a:lnTo>
                  <a:lnTo>
                    <a:pt x="558" y="570"/>
                  </a:lnTo>
                  <a:lnTo>
                    <a:pt x="552" y="576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46" y="594"/>
                  </a:lnTo>
                  <a:lnTo>
                    <a:pt x="546" y="600"/>
                  </a:lnTo>
                  <a:lnTo>
                    <a:pt x="540" y="606"/>
                  </a:lnTo>
                  <a:lnTo>
                    <a:pt x="534" y="618"/>
                  </a:lnTo>
                  <a:lnTo>
                    <a:pt x="534" y="624"/>
                  </a:lnTo>
                  <a:lnTo>
                    <a:pt x="534" y="630"/>
                  </a:lnTo>
                  <a:lnTo>
                    <a:pt x="534" y="636"/>
                  </a:lnTo>
                  <a:lnTo>
                    <a:pt x="528" y="636"/>
                  </a:lnTo>
                  <a:lnTo>
                    <a:pt x="516" y="642"/>
                  </a:lnTo>
                  <a:lnTo>
                    <a:pt x="516" y="648"/>
                  </a:lnTo>
                  <a:lnTo>
                    <a:pt x="510" y="648"/>
                  </a:lnTo>
                  <a:lnTo>
                    <a:pt x="504" y="654"/>
                  </a:lnTo>
                  <a:lnTo>
                    <a:pt x="492" y="666"/>
                  </a:lnTo>
                  <a:lnTo>
                    <a:pt x="492" y="672"/>
                  </a:lnTo>
                  <a:lnTo>
                    <a:pt x="492" y="684"/>
                  </a:lnTo>
                  <a:lnTo>
                    <a:pt x="486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92" y="702"/>
                  </a:lnTo>
                  <a:lnTo>
                    <a:pt x="486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74" y="720"/>
                  </a:lnTo>
                  <a:lnTo>
                    <a:pt x="480" y="726"/>
                  </a:lnTo>
                  <a:lnTo>
                    <a:pt x="474" y="726"/>
                  </a:lnTo>
                  <a:lnTo>
                    <a:pt x="474" y="738"/>
                  </a:lnTo>
                  <a:lnTo>
                    <a:pt x="474" y="744"/>
                  </a:lnTo>
                  <a:lnTo>
                    <a:pt x="474" y="750"/>
                  </a:lnTo>
                  <a:lnTo>
                    <a:pt x="480" y="750"/>
                  </a:lnTo>
                  <a:lnTo>
                    <a:pt x="480" y="756"/>
                  </a:lnTo>
                  <a:lnTo>
                    <a:pt x="492" y="762"/>
                  </a:lnTo>
                  <a:lnTo>
                    <a:pt x="498" y="774"/>
                  </a:lnTo>
                  <a:lnTo>
                    <a:pt x="498" y="780"/>
                  </a:lnTo>
                  <a:lnTo>
                    <a:pt x="504" y="786"/>
                  </a:lnTo>
                  <a:lnTo>
                    <a:pt x="510" y="792"/>
                  </a:lnTo>
                  <a:lnTo>
                    <a:pt x="504" y="798"/>
                  </a:lnTo>
                  <a:lnTo>
                    <a:pt x="504" y="804"/>
                  </a:lnTo>
                  <a:lnTo>
                    <a:pt x="504" y="810"/>
                  </a:lnTo>
                  <a:lnTo>
                    <a:pt x="498" y="822"/>
                  </a:lnTo>
                  <a:lnTo>
                    <a:pt x="492" y="828"/>
                  </a:lnTo>
                  <a:lnTo>
                    <a:pt x="492" y="834"/>
                  </a:lnTo>
                  <a:lnTo>
                    <a:pt x="486" y="840"/>
                  </a:lnTo>
                  <a:lnTo>
                    <a:pt x="480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74" y="858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876"/>
                  </a:lnTo>
                  <a:lnTo>
                    <a:pt x="456" y="894"/>
                  </a:lnTo>
                  <a:lnTo>
                    <a:pt x="450" y="894"/>
                  </a:lnTo>
                  <a:lnTo>
                    <a:pt x="444" y="900"/>
                  </a:lnTo>
                  <a:lnTo>
                    <a:pt x="444" y="894"/>
                  </a:lnTo>
                  <a:lnTo>
                    <a:pt x="438" y="894"/>
                  </a:lnTo>
                  <a:lnTo>
                    <a:pt x="432" y="900"/>
                  </a:lnTo>
                  <a:lnTo>
                    <a:pt x="432" y="906"/>
                  </a:lnTo>
                  <a:lnTo>
                    <a:pt x="420" y="906"/>
                  </a:lnTo>
                  <a:lnTo>
                    <a:pt x="420" y="912"/>
                  </a:lnTo>
                  <a:lnTo>
                    <a:pt x="420" y="918"/>
                  </a:lnTo>
                  <a:lnTo>
                    <a:pt x="426" y="918"/>
                  </a:lnTo>
                  <a:lnTo>
                    <a:pt x="426" y="924"/>
                  </a:lnTo>
                  <a:lnTo>
                    <a:pt x="426" y="930"/>
                  </a:lnTo>
                  <a:lnTo>
                    <a:pt x="420" y="930"/>
                  </a:lnTo>
                  <a:lnTo>
                    <a:pt x="414" y="936"/>
                  </a:lnTo>
                  <a:lnTo>
                    <a:pt x="414" y="942"/>
                  </a:lnTo>
                  <a:lnTo>
                    <a:pt x="414" y="948"/>
                  </a:lnTo>
                  <a:lnTo>
                    <a:pt x="414" y="954"/>
                  </a:lnTo>
                  <a:lnTo>
                    <a:pt x="426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44" y="972"/>
                  </a:lnTo>
                  <a:lnTo>
                    <a:pt x="444" y="978"/>
                  </a:lnTo>
                  <a:lnTo>
                    <a:pt x="450" y="978"/>
                  </a:lnTo>
                  <a:lnTo>
                    <a:pt x="450" y="984"/>
                  </a:lnTo>
                  <a:lnTo>
                    <a:pt x="456" y="990"/>
                  </a:lnTo>
                  <a:lnTo>
                    <a:pt x="456" y="996"/>
                  </a:lnTo>
                  <a:lnTo>
                    <a:pt x="462" y="1008"/>
                  </a:lnTo>
                  <a:lnTo>
                    <a:pt x="468" y="1008"/>
                  </a:lnTo>
                  <a:lnTo>
                    <a:pt x="468" y="1002"/>
                  </a:lnTo>
                  <a:lnTo>
                    <a:pt x="474" y="1008"/>
                  </a:lnTo>
                  <a:lnTo>
                    <a:pt x="480" y="1002"/>
                  </a:lnTo>
                  <a:lnTo>
                    <a:pt x="486" y="1008"/>
                  </a:lnTo>
                  <a:lnTo>
                    <a:pt x="486" y="1014"/>
                  </a:lnTo>
                  <a:lnTo>
                    <a:pt x="492" y="1014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86" y="1026"/>
                  </a:lnTo>
                  <a:lnTo>
                    <a:pt x="492" y="1026"/>
                  </a:lnTo>
                  <a:lnTo>
                    <a:pt x="486" y="1026"/>
                  </a:lnTo>
                  <a:lnTo>
                    <a:pt x="492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5" name="Freeform 30">
              <a:extLst>
                <a:ext uri="{FF2B5EF4-FFF2-40B4-BE49-F238E27FC236}">
                  <a16:creationId xmlns:a16="http://schemas.microsoft.com/office/drawing/2014/main" id="{85C7B827-0C1A-4D72-AEBD-F01CFE7EC12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3645" y="3904484"/>
              <a:ext cx="559048" cy="111825"/>
            </a:xfrm>
            <a:custGeom>
              <a:avLst/>
              <a:gdLst>
                <a:gd name="T0" fmla="*/ 69 w 1056"/>
                <a:gd name="T1" fmla="*/ 7 h 210"/>
                <a:gd name="T2" fmla="*/ 63 w 1056"/>
                <a:gd name="T3" fmla="*/ 5 h 210"/>
                <a:gd name="T4" fmla="*/ 57 w 1056"/>
                <a:gd name="T5" fmla="*/ 5 h 210"/>
                <a:gd name="T6" fmla="*/ 54 w 1056"/>
                <a:gd name="T7" fmla="*/ 6 h 210"/>
                <a:gd name="T8" fmla="*/ 51 w 1056"/>
                <a:gd name="T9" fmla="*/ 7 h 210"/>
                <a:gd name="T10" fmla="*/ 46 w 1056"/>
                <a:gd name="T11" fmla="*/ 9 h 210"/>
                <a:gd name="T12" fmla="*/ 42 w 1056"/>
                <a:gd name="T13" fmla="*/ 8 h 210"/>
                <a:gd name="T14" fmla="*/ 42 w 1056"/>
                <a:gd name="T15" fmla="*/ 5 h 210"/>
                <a:gd name="T16" fmla="*/ 41 w 1056"/>
                <a:gd name="T17" fmla="*/ 7 h 210"/>
                <a:gd name="T18" fmla="*/ 38 w 1056"/>
                <a:gd name="T19" fmla="*/ 10 h 210"/>
                <a:gd name="T20" fmla="*/ 37 w 1056"/>
                <a:gd name="T21" fmla="*/ 12 h 210"/>
                <a:gd name="T22" fmla="*/ 37 w 1056"/>
                <a:gd name="T23" fmla="*/ 15 h 210"/>
                <a:gd name="T24" fmla="*/ 37 w 1056"/>
                <a:gd name="T25" fmla="*/ 16 h 210"/>
                <a:gd name="T26" fmla="*/ 38 w 1056"/>
                <a:gd name="T27" fmla="*/ 16 h 210"/>
                <a:gd name="T28" fmla="*/ 34 w 1056"/>
                <a:gd name="T29" fmla="*/ 16 h 210"/>
                <a:gd name="T30" fmla="*/ 26 w 1056"/>
                <a:gd name="T31" fmla="*/ 16 h 210"/>
                <a:gd name="T32" fmla="*/ 20 w 1056"/>
                <a:gd name="T33" fmla="*/ 17 h 210"/>
                <a:gd name="T34" fmla="*/ 13 w 1056"/>
                <a:gd name="T35" fmla="*/ 17 h 210"/>
                <a:gd name="T36" fmla="*/ 6 w 1056"/>
                <a:gd name="T37" fmla="*/ 17 h 210"/>
                <a:gd name="T38" fmla="*/ 1 w 1056"/>
                <a:gd name="T39" fmla="*/ 18 h 210"/>
                <a:gd name="T40" fmla="*/ 3 w 1056"/>
                <a:gd name="T41" fmla="*/ 14 h 210"/>
                <a:gd name="T42" fmla="*/ 8 w 1056"/>
                <a:gd name="T43" fmla="*/ 15 h 210"/>
                <a:gd name="T44" fmla="*/ 11 w 1056"/>
                <a:gd name="T45" fmla="*/ 12 h 210"/>
                <a:gd name="T46" fmla="*/ 26 w 1056"/>
                <a:gd name="T47" fmla="*/ 10 h 210"/>
                <a:gd name="T48" fmla="*/ 29 w 1056"/>
                <a:gd name="T49" fmla="*/ 5 h 210"/>
                <a:gd name="T50" fmla="*/ 34 w 1056"/>
                <a:gd name="T51" fmla="*/ 1 h 210"/>
                <a:gd name="T52" fmla="*/ 41 w 1056"/>
                <a:gd name="T53" fmla="*/ 3 h 210"/>
                <a:gd name="T54" fmla="*/ 73 w 1056"/>
                <a:gd name="T55" fmla="*/ 1 h 210"/>
                <a:gd name="T56" fmla="*/ 75 w 1056"/>
                <a:gd name="T57" fmla="*/ 4 h 210"/>
                <a:gd name="T58" fmla="*/ 85 w 1056"/>
                <a:gd name="T59" fmla="*/ 15 h 210"/>
                <a:gd name="T60" fmla="*/ 91 w 1056"/>
                <a:gd name="T61" fmla="*/ 18 h 210"/>
                <a:gd name="T62" fmla="*/ 85 w 1056"/>
                <a:gd name="T63" fmla="*/ 18 h 210"/>
                <a:gd name="T64" fmla="*/ 79 w 1056"/>
                <a:gd name="T65" fmla="*/ 16 h 210"/>
                <a:gd name="T66" fmla="*/ 74 w 1056"/>
                <a:gd name="T67" fmla="*/ 16 h 210"/>
                <a:gd name="T68" fmla="*/ 69 w 1056"/>
                <a:gd name="T69" fmla="*/ 15 h 210"/>
                <a:gd name="T70" fmla="*/ 65 w 1056"/>
                <a:gd name="T71" fmla="*/ 14 h 210"/>
                <a:gd name="T72" fmla="*/ 59 w 1056"/>
                <a:gd name="T73" fmla="*/ 15 h 210"/>
                <a:gd name="T74" fmla="*/ 54 w 1056"/>
                <a:gd name="T75" fmla="*/ 15 h 210"/>
                <a:gd name="T76" fmla="*/ 49 w 1056"/>
                <a:gd name="T77" fmla="*/ 15 h 210"/>
                <a:gd name="T78" fmla="*/ 42 w 1056"/>
                <a:gd name="T79" fmla="*/ 15 h 210"/>
                <a:gd name="T80" fmla="*/ 38 w 1056"/>
                <a:gd name="T81" fmla="*/ 16 h 210"/>
                <a:gd name="T82" fmla="*/ 41 w 1056"/>
                <a:gd name="T83" fmla="*/ 14 h 210"/>
                <a:gd name="T84" fmla="*/ 42 w 1056"/>
                <a:gd name="T85" fmla="*/ 13 h 210"/>
                <a:gd name="T86" fmla="*/ 45 w 1056"/>
                <a:gd name="T87" fmla="*/ 13 h 210"/>
                <a:gd name="T88" fmla="*/ 48 w 1056"/>
                <a:gd name="T89" fmla="*/ 12 h 210"/>
                <a:gd name="T90" fmla="*/ 51 w 1056"/>
                <a:gd name="T91" fmla="*/ 11 h 210"/>
                <a:gd name="T92" fmla="*/ 54 w 1056"/>
                <a:gd name="T93" fmla="*/ 9 h 210"/>
                <a:gd name="T94" fmla="*/ 57 w 1056"/>
                <a:gd name="T95" fmla="*/ 8 h 210"/>
                <a:gd name="T96" fmla="*/ 60 w 1056"/>
                <a:gd name="T97" fmla="*/ 5 h 210"/>
                <a:gd name="T98" fmla="*/ 65 w 1056"/>
                <a:gd name="T99" fmla="*/ 5 h 210"/>
                <a:gd name="T100" fmla="*/ 72 w 1056"/>
                <a:gd name="T101" fmla="*/ 7 h 210"/>
                <a:gd name="T102" fmla="*/ 77 w 1056"/>
                <a:gd name="T103" fmla="*/ 11 h 210"/>
                <a:gd name="T104" fmla="*/ 69 w 1056"/>
                <a:gd name="T105" fmla="*/ 10 h 210"/>
                <a:gd name="T106" fmla="*/ 72 w 1056"/>
                <a:gd name="T107" fmla="*/ 12 h 210"/>
                <a:gd name="T108" fmla="*/ 78 w 1056"/>
                <a:gd name="T109" fmla="*/ 15 h 210"/>
                <a:gd name="T110" fmla="*/ 84 w 1056"/>
                <a:gd name="T111" fmla="*/ 14 h 210"/>
                <a:gd name="T112" fmla="*/ 84 w 1056"/>
                <a:gd name="T113" fmla="*/ 14 h 210"/>
                <a:gd name="T114" fmla="*/ 78 w 1056"/>
                <a:gd name="T115" fmla="*/ 13 h 210"/>
                <a:gd name="T116" fmla="*/ 76 w 1056"/>
                <a:gd name="T117" fmla="*/ 14 h 210"/>
                <a:gd name="T118" fmla="*/ 38 w 1056"/>
                <a:gd name="T119" fmla="*/ 12 h 210"/>
                <a:gd name="T120" fmla="*/ 41 w 1056"/>
                <a:gd name="T121" fmla="*/ 12 h 210"/>
                <a:gd name="T122" fmla="*/ 40 w 1056"/>
                <a:gd name="T123" fmla="*/ 14 h 2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6"/>
                <a:gd name="T187" fmla="*/ 0 h 210"/>
                <a:gd name="T188" fmla="*/ 1056 w 1056"/>
                <a:gd name="T189" fmla="*/ 210 h 21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6" h="210">
                  <a:moveTo>
                    <a:pt x="870" y="90"/>
                  </a:moveTo>
                  <a:lnTo>
                    <a:pt x="864" y="90"/>
                  </a:lnTo>
                  <a:lnTo>
                    <a:pt x="852" y="84"/>
                  </a:lnTo>
                  <a:lnTo>
                    <a:pt x="846" y="84"/>
                  </a:lnTo>
                  <a:lnTo>
                    <a:pt x="846" y="78"/>
                  </a:lnTo>
                  <a:lnTo>
                    <a:pt x="840" y="78"/>
                  </a:lnTo>
                  <a:lnTo>
                    <a:pt x="834" y="78"/>
                  </a:lnTo>
                  <a:lnTo>
                    <a:pt x="834" y="72"/>
                  </a:lnTo>
                  <a:lnTo>
                    <a:pt x="804" y="78"/>
                  </a:lnTo>
                  <a:lnTo>
                    <a:pt x="798" y="78"/>
                  </a:lnTo>
                  <a:lnTo>
                    <a:pt x="792" y="72"/>
                  </a:lnTo>
                  <a:lnTo>
                    <a:pt x="780" y="60"/>
                  </a:lnTo>
                  <a:lnTo>
                    <a:pt x="768" y="54"/>
                  </a:lnTo>
                  <a:lnTo>
                    <a:pt x="756" y="54"/>
                  </a:lnTo>
                  <a:lnTo>
                    <a:pt x="750" y="54"/>
                  </a:lnTo>
                  <a:lnTo>
                    <a:pt x="750" y="48"/>
                  </a:lnTo>
                  <a:lnTo>
                    <a:pt x="744" y="48"/>
                  </a:lnTo>
                  <a:lnTo>
                    <a:pt x="738" y="48"/>
                  </a:lnTo>
                  <a:lnTo>
                    <a:pt x="732" y="48"/>
                  </a:lnTo>
                  <a:lnTo>
                    <a:pt x="732" y="54"/>
                  </a:lnTo>
                  <a:lnTo>
                    <a:pt x="726" y="48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48"/>
                  </a:lnTo>
                  <a:lnTo>
                    <a:pt x="702" y="48"/>
                  </a:lnTo>
                  <a:lnTo>
                    <a:pt x="696" y="48"/>
                  </a:lnTo>
                  <a:lnTo>
                    <a:pt x="684" y="48"/>
                  </a:lnTo>
                  <a:lnTo>
                    <a:pt x="678" y="48"/>
                  </a:lnTo>
                  <a:lnTo>
                    <a:pt x="672" y="48"/>
                  </a:lnTo>
                  <a:lnTo>
                    <a:pt x="666" y="54"/>
                  </a:lnTo>
                  <a:lnTo>
                    <a:pt x="660" y="54"/>
                  </a:lnTo>
                  <a:lnTo>
                    <a:pt x="660" y="48"/>
                  </a:lnTo>
                  <a:lnTo>
                    <a:pt x="654" y="48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42" y="54"/>
                  </a:lnTo>
                  <a:lnTo>
                    <a:pt x="63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30" y="66"/>
                  </a:lnTo>
                  <a:lnTo>
                    <a:pt x="624" y="66"/>
                  </a:lnTo>
                  <a:lnTo>
                    <a:pt x="618" y="66"/>
                  </a:lnTo>
                  <a:lnTo>
                    <a:pt x="618" y="72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6" y="84"/>
                  </a:lnTo>
                  <a:lnTo>
                    <a:pt x="600" y="84"/>
                  </a:lnTo>
                  <a:lnTo>
                    <a:pt x="594" y="90"/>
                  </a:lnTo>
                  <a:lnTo>
                    <a:pt x="588" y="90"/>
                  </a:lnTo>
                  <a:lnTo>
                    <a:pt x="588" y="84"/>
                  </a:lnTo>
                  <a:lnTo>
                    <a:pt x="582" y="84"/>
                  </a:lnTo>
                  <a:lnTo>
                    <a:pt x="576" y="84"/>
                  </a:lnTo>
                  <a:lnTo>
                    <a:pt x="570" y="84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58" y="96"/>
                  </a:lnTo>
                  <a:lnTo>
                    <a:pt x="552" y="96"/>
                  </a:lnTo>
                  <a:lnTo>
                    <a:pt x="546" y="102"/>
                  </a:lnTo>
                  <a:lnTo>
                    <a:pt x="540" y="102"/>
                  </a:lnTo>
                  <a:lnTo>
                    <a:pt x="534" y="102"/>
                  </a:lnTo>
                  <a:lnTo>
                    <a:pt x="528" y="102"/>
                  </a:lnTo>
                  <a:lnTo>
                    <a:pt x="528" y="108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16" y="102"/>
                  </a:lnTo>
                  <a:lnTo>
                    <a:pt x="510" y="102"/>
                  </a:lnTo>
                  <a:lnTo>
                    <a:pt x="504" y="102"/>
                  </a:lnTo>
                  <a:lnTo>
                    <a:pt x="498" y="102"/>
                  </a:lnTo>
                  <a:lnTo>
                    <a:pt x="498" y="96"/>
                  </a:lnTo>
                  <a:lnTo>
                    <a:pt x="492" y="96"/>
                  </a:lnTo>
                  <a:lnTo>
                    <a:pt x="492" y="90"/>
                  </a:lnTo>
                  <a:lnTo>
                    <a:pt x="492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498" y="66"/>
                  </a:lnTo>
                  <a:lnTo>
                    <a:pt x="504" y="60"/>
                  </a:lnTo>
                  <a:lnTo>
                    <a:pt x="498" y="60"/>
                  </a:lnTo>
                  <a:lnTo>
                    <a:pt x="498" y="54"/>
                  </a:lnTo>
                  <a:lnTo>
                    <a:pt x="492" y="54"/>
                  </a:lnTo>
                  <a:lnTo>
                    <a:pt x="492" y="60"/>
                  </a:lnTo>
                  <a:lnTo>
                    <a:pt x="486" y="60"/>
                  </a:lnTo>
                  <a:lnTo>
                    <a:pt x="486" y="66"/>
                  </a:lnTo>
                  <a:lnTo>
                    <a:pt x="480" y="66"/>
                  </a:lnTo>
                  <a:lnTo>
                    <a:pt x="474" y="72"/>
                  </a:lnTo>
                  <a:lnTo>
                    <a:pt x="474" y="66"/>
                  </a:lnTo>
                  <a:lnTo>
                    <a:pt x="474" y="72"/>
                  </a:lnTo>
                  <a:lnTo>
                    <a:pt x="468" y="72"/>
                  </a:lnTo>
                  <a:lnTo>
                    <a:pt x="468" y="78"/>
                  </a:lnTo>
                  <a:lnTo>
                    <a:pt x="468" y="84"/>
                  </a:lnTo>
                  <a:lnTo>
                    <a:pt x="462" y="90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0" y="84"/>
                  </a:lnTo>
                  <a:lnTo>
                    <a:pt x="450" y="90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44" y="102"/>
                  </a:lnTo>
                  <a:lnTo>
                    <a:pt x="444" y="108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38" y="126"/>
                  </a:lnTo>
                  <a:lnTo>
                    <a:pt x="438" y="132"/>
                  </a:lnTo>
                  <a:lnTo>
                    <a:pt x="438" y="138"/>
                  </a:lnTo>
                  <a:lnTo>
                    <a:pt x="438" y="144"/>
                  </a:lnTo>
                  <a:lnTo>
                    <a:pt x="432" y="144"/>
                  </a:lnTo>
                  <a:lnTo>
                    <a:pt x="432" y="150"/>
                  </a:lnTo>
                  <a:lnTo>
                    <a:pt x="432" y="144"/>
                  </a:lnTo>
                  <a:lnTo>
                    <a:pt x="426" y="144"/>
                  </a:lnTo>
                  <a:lnTo>
                    <a:pt x="426" y="150"/>
                  </a:lnTo>
                  <a:lnTo>
                    <a:pt x="426" y="156"/>
                  </a:lnTo>
                  <a:lnTo>
                    <a:pt x="432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2"/>
                  </a:lnTo>
                  <a:lnTo>
                    <a:pt x="432" y="168"/>
                  </a:lnTo>
                  <a:lnTo>
                    <a:pt x="426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44" y="168"/>
                  </a:lnTo>
                  <a:lnTo>
                    <a:pt x="444" y="174"/>
                  </a:lnTo>
                  <a:lnTo>
                    <a:pt x="444" y="180"/>
                  </a:lnTo>
                  <a:lnTo>
                    <a:pt x="444" y="186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2" y="192"/>
                  </a:lnTo>
                  <a:lnTo>
                    <a:pt x="426" y="192"/>
                  </a:lnTo>
                  <a:lnTo>
                    <a:pt x="420" y="186"/>
                  </a:lnTo>
                  <a:lnTo>
                    <a:pt x="414" y="186"/>
                  </a:lnTo>
                  <a:lnTo>
                    <a:pt x="408" y="186"/>
                  </a:lnTo>
                  <a:lnTo>
                    <a:pt x="402" y="186"/>
                  </a:lnTo>
                  <a:lnTo>
                    <a:pt x="396" y="186"/>
                  </a:lnTo>
                  <a:lnTo>
                    <a:pt x="390" y="186"/>
                  </a:lnTo>
                  <a:lnTo>
                    <a:pt x="384" y="186"/>
                  </a:lnTo>
                  <a:lnTo>
                    <a:pt x="378" y="186"/>
                  </a:lnTo>
                  <a:lnTo>
                    <a:pt x="372" y="186"/>
                  </a:lnTo>
                  <a:lnTo>
                    <a:pt x="354" y="186"/>
                  </a:lnTo>
                  <a:lnTo>
                    <a:pt x="342" y="186"/>
                  </a:lnTo>
                  <a:lnTo>
                    <a:pt x="324" y="186"/>
                  </a:lnTo>
                  <a:lnTo>
                    <a:pt x="312" y="186"/>
                  </a:lnTo>
                  <a:lnTo>
                    <a:pt x="306" y="186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82" y="186"/>
                  </a:lnTo>
                  <a:lnTo>
                    <a:pt x="270" y="186"/>
                  </a:lnTo>
                  <a:lnTo>
                    <a:pt x="264" y="186"/>
                  </a:lnTo>
                  <a:lnTo>
                    <a:pt x="258" y="192"/>
                  </a:lnTo>
                  <a:lnTo>
                    <a:pt x="258" y="186"/>
                  </a:lnTo>
                  <a:lnTo>
                    <a:pt x="246" y="186"/>
                  </a:lnTo>
                  <a:lnTo>
                    <a:pt x="240" y="186"/>
                  </a:lnTo>
                  <a:lnTo>
                    <a:pt x="234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2"/>
                  </a:lnTo>
                  <a:lnTo>
                    <a:pt x="204" y="192"/>
                  </a:lnTo>
                  <a:lnTo>
                    <a:pt x="198" y="192"/>
                  </a:lnTo>
                  <a:lnTo>
                    <a:pt x="192" y="192"/>
                  </a:lnTo>
                  <a:lnTo>
                    <a:pt x="180" y="192"/>
                  </a:lnTo>
                  <a:lnTo>
                    <a:pt x="168" y="192"/>
                  </a:lnTo>
                  <a:lnTo>
                    <a:pt x="162" y="192"/>
                  </a:lnTo>
                  <a:lnTo>
                    <a:pt x="150" y="192"/>
                  </a:lnTo>
                  <a:lnTo>
                    <a:pt x="138" y="192"/>
                  </a:lnTo>
                  <a:lnTo>
                    <a:pt x="132" y="192"/>
                  </a:lnTo>
                  <a:lnTo>
                    <a:pt x="120" y="192"/>
                  </a:lnTo>
                  <a:lnTo>
                    <a:pt x="114" y="192"/>
                  </a:lnTo>
                  <a:lnTo>
                    <a:pt x="108" y="192"/>
                  </a:lnTo>
                  <a:lnTo>
                    <a:pt x="102" y="192"/>
                  </a:lnTo>
                  <a:lnTo>
                    <a:pt x="90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2" y="198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36" y="198"/>
                  </a:lnTo>
                  <a:lnTo>
                    <a:pt x="30" y="204"/>
                  </a:lnTo>
                  <a:lnTo>
                    <a:pt x="24" y="204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6" y="210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54" y="156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56"/>
                  </a:lnTo>
                  <a:lnTo>
                    <a:pt x="78" y="162"/>
                  </a:lnTo>
                  <a:lnTo>
                    <a:pt x="84" y="162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9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0" y="126"/>
                  </a:lnTo>
                  <a:lnTo>
                    <a:pt x="276" y="120"/>
                  </a:lnTo>
                  <a:lnTo>
                    <a:pt x="282" y="120"/>
                  </a:lnTo>
                  <a:lnTo>
                    <a:pt x="300" y="120"/>
                  </a:lnTo>
                  <a:lnTo>
                    <a:pt x="306" y="114"/>
                  </a:lnTo>
                  <a:lnTo>
                    <a:pt x="312" y="108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8"/>
                  </a:lnTo>
                  <a:lnTo>
                    <a:pt x="342" y="30"/>
                  </a:lnTo>
                  <a:lnTo>
                    <a:pt x="342" y="24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8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24"/>
                  </a:lnTo>
                  <a:lnTo>
                    <a:pt x="414" y="30"/>
                  </a:lnTo>
                  <a:lnTo>
                    <a:pt x="420" y="30"/>
                  </a:lnTo>
                  <a:lnTo>
                    <a:pt x="42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74" y="30"/>
                  </a:lnTo>
                  <a:lnTo>
                    <a:pt x="474" y="18"/>
                  </a:lnTo>
                  <a:lnTo>
                    <a:pt x="474" y="12"/>
                  </a:lnTo>
                  <a:lnTo>
                    <a:pt x="480" y="12"/>
                  </a:lnTo>
                  <a:lnTo>
                    <a:pt x="486" y="12"/>
                  </a:lnTo>
                  <a:lnTo>
                    <a:pt x="606" y="12"/>
                  </a:lnTo>
                  <a:lnTo>
                    <a:pt x="630" y="12"/>
                  </a:lnTo>
                  <a:lnTo>
                    <a:pt x="678" y="12"/>
                  </a:lnTo>
                  <a:lnTo>
                    <a:pt x="744" y="12"/>
                  </a:lnTo>
                  <a:lnTo>
                    <a:pt x="774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2" y="6"/>
                  </a:lnTo>
                  <a:lnTo>
                    <a:pt x="888" y="12"/>
                  </a:lnTo>
                  <a:lnTo>
                    <a:pt x="888" y="24"/>
                  </a:lnTo>
                  <a:lnTo>
                    <a:pt x="888" y="30"/>
                  </a:lnTo>
                  <a:lnTo>
                    <a:pt x="882" y="36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64" y="42"/>
                  </a:lnTo>
                  <a:lnTo>
                    <a:pt x="864" y="48"/>
                  </a:lnTo>
                  <a:lnTo>
                    <a:pt x="858" y="54"/>
                  </a:lnTo>
                  <a:lnTo>
                    <a:pt x="864" y="54"/>
                  </a:lnTo>
                  <a:lnTo>
                    <a:pt x="870" y="72"/>
                  </a:lnTo>
                  <a:lnTo>
                    <a:pt x="870" y="78"/>
                  </a:lnTo>
                  <a:lnTo>
                    <a:pt x="870" y="84"/>
                  </a:lnTo>
                  <a:lnTo>
                    <a:pt x="870" y="90"/>
                  </a:lnTo>
                  <a:close/>
                  <a:moveTo>
                    <a:pt x="972" y="156"/>
                  </a:moveTo>
                  <a:lnTo>
                    <a:pt x="972" y="162"/>
                  </a:lnTo>
                  <a:lnTo>
                    <a:pt x="978" y="162"/>
                  </a:lnTo>
                  <a:lnTo>
                    <a:pt x="984" y="168"/>
                  </a:lnTo>
                  <a:lnTo>
                    <a:pt x="990" y="168"/>
                  </a:lnTo>
                  <a:lnTo>
                    <a:pt x="990" y="162"/>
                  </a:lnTo>
                  <a:lnTo>
                    <a:pt x="1008" y="162"/>
                  </a:lnTo>
                  <a:lnTo>
                    <a:pt x="1020" y="162"/>
                  </a:lnTo>
                  <a:lnTo>
                    <a:pt x="1038" y="162"/>
                  </a:lnTo>
                  <a:lnTo>
                    <a:pt x="1056" y="168"/>
                  </a:lnTo>
                  <a:lnTo>
                    <a:pt x="1056" y="180"/>
                  </a:lnTo>
                  <a:lnTo>
                    <a:pt x="1056" y="186"/>
                  </a:lnTo>
                  <a:lnTo>
                    <a:pt x="1056" y="204"/>
                  </a:lnTo>
                  <a:lnTo>
                    <a:pt x="1050" y="204"/>
                  </a:lnTo>
                  <a:lnTo>
                    <a:pt x="1044" y="204"/>
                  </a:lnTo>
                  <a:lnTo>
                    <a:pt x="1038" y="204"/>
                  </a:lnTo>
                  <a:lnTo>
                    <a:pt x="1032" y="204"/>
                  </a:lnTo>
                  <a:lnTo>
                    <a:pt x="1026" y="204"/>
                  </a:lnTo>
                  <a:lnTo>
                    <a:pt x="1020" y="204"/>
                  </a:lnTo>
                  <a:lnTo>
                    <a:pt x="1014" y="204"/>
                  </a:lnTo>
                  <a:lnTo>
                    <a:pt x="1008" y="204"/>
                  </a:lnTo>
                  <a:lnTo>
                    <a:pt x="1002" y="204"/>
                  </a:lnTo>
                  <a:lnTo>
                    <a:pt x="996" y="204"/>
                  </a:lnTo>
                  <a:lnTo>
                    <a:pt x="984" y="204"/>
                  </a:lnTo>
                  <a:lnTo>
                    <a:pt x="984" y="198"/>
                  </a:lnTo>
                  <a:lnTo>
                    <a:pt x="978" y="198"/>
                  </a:lnTo>
                  <a:lnTo>
                    <a:pt x="966" y="198"/>
                  </a:lnTo>
                  <a:lnTo>
                    <a:pt x="948" y="192"/>
                  </a:lnTo>
                  <a:lnTo>
                    <a:pt x="942" y="192"/>
                  </a:lnTo>
                  <a:lnTo>
                    <a:pt x="936" y="192"/>
                  </a:lnTo>
                  <a:lnTo>
                    <a:pt x="924" y="192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12" y="186"/>
                  </a:lnTo>
                  <a:lnTo>
                    <a:pt x="906" y="186"/>
                  </a:lnTo>
                  <a:lnTo>
                    <a:pt x="900" y="186"/>
                  </a:lnTo>
                  <a:lnTo>
                    <a:pt x="894" y="186"/>
                  </a:lnTo>
                  <a:lnTo>
                    <a:pt x="888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76" y="180"/>
                  </a:lnTo>
                  <a:lnTo>
                    <a:pt x="870" y="180"/>
                  </a:lnTo>
                  <a:lnTo>
                    <a:pt x="864" y="180"/>
                  </a:lnTo>
                  <a:lnTo>
                    <a:pt x="858" y="180"/>
                  </a:lnTo>
                  <a:lnTo>
                    <a:pt x="852" y="180"/>
                  </a:lnTo>
                  <a:lnTo>
                    <a:pt x="852" y="174"/>
                  </a:lnTo>
                  <a:lnTo>
                    <a:pt x="846" y="174"/>
                  </a:lnTo>
                  <a:lnTo>
                    <a:pt x="840" y="174"/>
                  </a:lnTo>
                  <a:lnTo>
                    <a:pt x="834" y="174"/>
                  </a:lnTo>
                  <a:lnTo>
                    <a:pt x="828" y="174"/>
                  </a:lnTo>
                  <a:lnTo>
                    <a:pt x="822" y="174"/>
                  </a:lnTo>
                  <a:lnTo>
                    <a:pt x="816" y="174"/>
                  </a:lnTo>
                  <a:lnTo>
                    <a:pt x="810" y="168"/>
                  </a:lnTo>
                  <a:lnTo>
                    <a:pt x="804" y="168"/>
                  </a:lnTo>
                  <a:lnTo>
                    <a:pt x="798" y="168"/>
                  </a:lnTo>
                  <a:lnTo>
                    <a:pt x="792" y="168"/>
                  </a:lnTo>
                  <a:lnTo>
                    <a:pt x="786" y="168"/>
                  </a:lnTo>
                  <a:lnTo>
                    <a:pt x="780" y="168"/>
                  </a:lnTo>
                  <a:lnTo>
                    <a:pt x="774" y="168"/>
                  </a:lnTo>
                  <a:lnTo>
                    <a:pt x="768" y="168"/>
                  </a:lnTo>
                  <a:lnTo>
                    <a:pt x="762" y="168"/>
                  </a:lnTo>
                  <a:lnTo>
                    <a:pt x="756" y="168"/>
                  </a:lnTo>
                  <a:lnTo>
                    <a:pt x="750" y="168"/>
                  </a:lnTo>
                  <a:lnTo>
                    <a:pt x="750" y="162"/>
                  </a:lnTo>
                  <a:lnTo>
                    <a:pt x="744" y="168"/>
                  </a:lnTo>
                  <a:lnTo>
                    <a:pt x="738" y="162"/>
                  </a:lnTo>
                  <a:lnTo>
                    <a:pt x="732" y="162"/>
                  </a:lnTo>
                  <a:lnTo>
                    <a:pt x="726" y="162"/>
                  </a:lnTo>
                  <a:lnTo>
                    <a:pt x="714" y="162"/>
                  </a:lnTo>
                  <a:lnTo>
                    <a:pt x="702" y="162"/>
                  </a:lnTo>
                  <a:lnTo>
                    <a:pt x="696" y="168"/>
                  </a:lnTo>
                  <a:lnTo>
                    <a:pt x="690" y="168"/>
                  </a:lnTo>
                  <a:lnTo>
                    <a:pt x="684" y="168"/>
                  </a:lnTo>
                  <a:lnTo>
                    <a:pt x="678" y="168"/>
                  </a:lnTo>
                  <a:lnTo>
                    <a:pt x="672" y="168"/>
                  </a:lnTo>
                  <a:lnTo>
                    <a:pt x="666" y="168"/>
                  </a:lnTo>
                  <a:lnTo>
                    <a:pt x="660" y="168"/>
                  </a:lnTo>
                  <a:lnTo>
                    <a:pt x="654" y="168"/>
                  </a:lnTo>
                  <a:lnTo>
                    <a:pt x="648" y="174"/>
                  </a:lnTo>
                  <a:lnTo>
                    <a:pt x="648" y="168"/>
                  </a:lnTo>
                  <a:lnTo>
                    <a:pt x="642" y="174"/>
                  </a:lnTo>
                  <a:lnTo>
                    <a:pt x="636" y="174"/>
                  </a:lnTo>
                  <a:lnTo>
                    <a:pt x="630" y="174"/>
                  </a:lnTo>
                  <a:lnTo>
                    <a:pt x="624" y="174"/>
                  </a:lnTo>
                  <a:lnTo>
                    <a:pt x="618" y="174"/>
                  </a:lnTo>
                  <a:lnTo>
                    <a:pt x="612" y="174"/>
                  </a:lnTo>
                  <a:lnTo>
                    <a:pt x="606" y="174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74"/>
                  </a:lnTo>
                  <a:lnTo>
                    <a:pt x="582" y="174"/>
                  </a:lnTo>
                  <a:lnTo>
                    <a:pt x="576" y="174"/>
                  </a:lnTo>
                  <a:lnTo>
                    <a:pt x="570" y="174"/>
                  </a:lnTo>
                  <a:lnTo>
                    <a:pt x="564" y="174"/>
                  </a:lnTo>
                  <a:lnTo>
                    <a:pt x="558" y="174"/>
                  </a:lnTo>
                  <a:lnTo>
                    <a:pt x="552" y="174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0" y="174"/>
                  </a:lnTo>
                  <a:lnTo>
                    <a:pt x="504" y="174"/>
                  </a:lnTo>
                  <a:lnTo>
                    <a:pt x="498" y="174"/>
                  </a:lnTo>
                  <a:lnTo>
                    <a:pt x="492" y="174"/>
                  </a:lnTo>
                  <a:lnTo>
                    <a:pt x="486" y="174"/>
                  </a:lnTo>
                  <a:lnTo>
                    <a:pt x="480" y="174"/>
                  </a:lnTo>
                  <a:lnTo>
                    <a:pt x="474" y="174"/>
                  </a:lnTo>
                  <a:lnTo>
                    <a:pt x="468" y="174"/>
                  </a:lnTo>
                  <a:lnTo>
                    <a:pt x="462" y="174"/>
                  </a:lnTo>
                  <a:lnTo>
                    <a:pt x="456" y="174"/>
                  </a:lnTo>
                  <a:lnTo>
                    <a:pt x="450" y="180"/>
                  </a:lnTo>
                  <a:lnTo>
                    <a:pt x="450" y="186"/>
                  </a:lnTo>
                  <a:lnTo>
                    <a:pt x="450" y="192"/>
                  </a:lnTo>
                  <a:lnTo>
                    <a:pt x="444" y="192"/>
                  </a:lnTo>
                  <a:lnTo>
                    <a:pt x="444" y="186"/>
                  </a:lnTo>
                  <a:lnTo>
                    <a:pt x="444" y="180"/>
                  </a:lnTo>
                  <a:lnTo>
                    <a:pt x="450" y="180"/>
                  </a:lnTo>
                  <a:lnTo>
                    <a:pt x="450" y="174"/>
                  </a:lnTo>
                  <a:lnTo>
                    <a:pt x="450" y="168"/>
                  </a:lnTo>
                  <a:lnTo>
                    <a:pt x="450" y="162"/>
                  </a:lnTo>
                  <a:lnTo>
                    <a:pt x="456" y="162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62" y="162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74" y="168"/>
                  </a:lnTo>
                  <a:lnTo>
                    <a:pt x="480" y="168"/>
                  </a:lnTo>
                  <a:lnTo>
                    <a:pt x="480" y="162"/>
                  </a:lnTo>
                  <a:lnTo>
                    <a:pt x="480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56"/>
                  </a:lnTo>
                  <a:lnTo>
                    <a:pt x="492" y="156"/>
                  </a:lnTo>
                  <a:lnTo>
                    <a:pt x="486" y="150"/>
                  </a:lnTo>
                  <a:lnTo>
                    <a:pt x="492" y="150"/>
                  </a:lnTo>
                  <a:lnTo>
                    <a:pt x="498" y="150"/>
                  </a:lnTo>
                  <a:lnTo>
                    <a:pt x="498" y="156"/>
                  </a:lnTo>
                  <a:lnTo>
                    <a:pt x="504" y="156"/>
                  </a:lnTo>
                  <a:lnTo>
                    <a:pt x="504" y="162"/>
                  </a:lnTo>
                  <a:lnTo>
                    <a:pt x="504" y="156"/>
                  </a:lnTo>
                  <a:lnTo>
                    <a:pt x="510" y="156"/>
                  </a:lnTo>
                  <a:lnTo>
                    <a:pt x="510" y="150"/>
                  </a:lnTo>
                  <a:lnTo>
                    <a:pt x="516" y="150"/>
                  </a:lnTo>
                  <a:lnTo>
                    <a:pt x="522" y="150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28" y="150"/>
                  </a:lnTo>
                  <a:lnTo>
                    <a:pt x="528" y="144"/>
                  </a:lnTo>
                  <a:lnTo>
                    <a:pt x="540" y="144"/>
                  </a:lnTo>
                  <a:lnTo>
                    <a:pt x="546" y="144"/>
                  </a:lnTo>
                  <a:lnTo>
                    <a:pt x="552" y="138"/>
                  </a:lnTo>
                  <a:lnTo>
                    <a:pt x="552" y="132"/>
                  </a:lnTo>
                  <a:lnTo>
                    <a:pt x="558" y="132"/>
                  </a:lnTo>
                  <a:lnTo>
                    <a:pt x="558" y="126"/>
                  </a:lnTo>
                  <a:lnTo>
                    <a:pt x="558" y="120"/>
                  </a:lnTo>
                  <a:lnTo>
                    <a:pt x="558" y="114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6" y="114"/>
                  </a:lnTo>
                  <a:lnTo>
                    <a:pt x="582" y="120"/>
                  </a:lnTo>
                  <a:lnTo>
                    <a:pt x="588" y="120"/>
                  </a:lnTo>
                  <a:lnTo>
                    <a:pt x="588" y="126"/>
                  </a:lnTo>
                  <a:lnTo>
                    <a:pt x="588" y="120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600" y="114"/>
                  </a:lnTo>
                  <a:lnTo>
                    <a:pt x="606" y="114"/>
                  </a:lnTo>
                  <a:lnTo>
                    <a:pt x="618" y="114"/>
                  </a:lnTo>
                  <a:lnTo>
                    <a:pt x="618" y="108"/>
                  </a:lnTo>
                  <a:lnTo>
                    <a:pt x="624" y="108"/>
                  </a:lnTo>
                  <a:lnTo>
                    <a:pt x="624" y="102"/>
                  </a:lnTo>
                  <a:lnTo>
                    <a:pt x="630" y="102"/>
                  </a:lnTo>
                  <a:lnTo>
                    <a:pt x="636" y="102"/>
                  </a:lnTo>
                  <a:lnTo>
                    <a:pt x="636" y="108"/>
                  </a:lnTo>
                  <a:lnTo>
                    <a:pt x="642" y="108"/>
                  </a:lnTo>
                  <a:lnTo>
                    <a:pt x="648" y="108"/>
                  </a:lnTo>
                  <a:lnTo>
                    <a:pt x="648" y="102"/>
                  </a:lnTo>
                  <a:lnTo>
                    <a:pt x="654" y="102"/>
                  </a:lnTo>
                  <a:lnTo>
                    <a:pt x="660" y="102"/>
                  </a:lnTo>
                  <a:lnTo>
                    <a:pt x="660" y="96"/>
                  </a:lnTo>
                  <a:lnTo>
                    <a:pt x="660" y="90"/>
                  </a:lnTo>
                  <a:lnTo>
                    <a:pt x="666" y="90"/>
                  </a:lnTo>
                  <a:lnTo>
                    <a:pt x="666" y="84"/>
                  </a:lnTo>
                  <a:lnTo>
                    <a:pt x="672" y="78"/>
                  </a:lnTo>
                  <a:lnTo>
                    <a:pt x="672" y="72"/>
                  </a:lnTo>
                  <a:lnTo>
                    <a:pt x="678" y="66"/>
                  </a:lnTo>
                  <a:lnTo>
                    <a:pt x="684" y="66"/>
                  </a:lnTo>
                  <a:lnTo>
                    <a:pt x="684" y="60"/>
                  </a:lnTo>
                  <a:lnTo>
                    <a:pt x="690" y="60"/>
                  </a:lnTo>
                  <a:lnTo>
                    <a:pt x="696" y="60"/>
                  </a:lnTo>
                  <a:lnTo>
                    <a:pt x="702" y="60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66"/>
                  </a:lnTo>
                  <a:lnTo>
                    <a:pt x="720" y="66"/>
                  </a:lnTo>
                  <a:lnTo>
                    <a:pt x="720" y="60"/>
                  </a:lnTo>
                  <a:lnTo>
                    <a:pt x="726" y="60"/>
                  </a:lnTo>
                  <a:lnTo>
                    <a:pt x="732" y="60"/>
                  </a:lnTo>
                  <a:lnTo>
                    <a:pt x="744" y="60"/>
                  </a:lnTo>
                  <a:lnTo>
                    <a:pt x="750" y="54"/>
                  </a:lnTo>
                  <a:lnTo>
                    <a:pt x="762" y="60"/>
                  </a:lnTo>
                  <a:lnTo>
                    <a:pt x="774" y="60"/>
                  </a:lnTo>
                  <a:lnTo>
                    <a:pt x="774" y="66"/>
                  </a:lnTo>
                  <a:lnTo>
                    <a:pt x="780" y="72"/>
                  </a:lnTo>
                  <a:lnTo>
                    <a:pt x="786" y="78"/>
                  </a:lnTo>
                  <a:lnTo>
                    <a:pt x="792" y="78"/>
                  </a:lnTo>
                  <a:lnTo>
                    <a:pt x="810" y="84"/>
                  </a:lnTo>
                  <a:lnTo>
                    <a:pt x="822" y="84"/>
                  </a:lnTo>
                  <a:lnTo>
                    <a:pt x="828" y="84"/>
                  </a:lnTo>
                  <a:lnTo>
                    <a:pt x="834" y="84"/>
                  </a:lnTo>
                  <a:lnTo>
                    <a:pt x="840" y="96"/>
                  </a:lnTo>
                  <a:lnTo>
                    <a:pt x="846" y="102"/>
                  </a:lnTo>
                  <a:lnTo>
                    <a:pt x="858" y="102"/>
                  </a:lnTo>
                  <a:lnTo>
                    <a:pt x="864" y="102"/>
                  </a:lnTo>
                  <a:lnTo>
                    <a:pt x="876" y="96"/>
                  </a:lnTo>
                  <a:lnTo>
                    <a:pt x="882" y="102"/>
                  </a:lnTo>
                  <a:lnTo>
                    <a:pt x="888" y="108"/>
                  </a:lnTo>
                  <a:lnTo>
                    <a:pt x="888" y="114"/>
                  </a:lnTo>
                  <a:lnTo>
                    <a:pt x="888" y="120"/>
                  </a:lnTo>
                  <a:lnTo>
                    <a:pt x="888" y="126"/>
                  </a:lnTo>
                  <a:lnTo>
                    <a:pt x="888" y="132"/>
                  </a:lnTo>
                  <a:lnTo>
                    <a:pt x="882" y="132"/>
                  </a:lnTo>
                  <a:lnTo>
                    <a:pt x="864" y="126"/>
                  </a:lnTo>
                  <a:lnTo>
                    <a:pt x="852" y="120"/>
                  </a:lnTo>
                  <a:lnTo>
                    <a:pt x="840" y="126"/>
                  </a:lnTo>
                  <a:lnTo>
                    <a:pt x="834" y="120"/>
                  </a:lnTo>
                  <a:lnTo>
                    <a:pt x="828" y="120"/>
                  </a:lnTo>
                  <a:lnTo>
                    <a:pt x="822" y="120"/>
                  </a:lnTo>
                  <a:lnTo>
                    <a:pt x="810" y="114"/>
                  </a:lnTo>
                  <a:lnTo>
                    <a:pt x="804" y="114"/>
                  </a:lnTo>
                  <a:lnTo>
                    <a:pt x="798" y="114"/>
                  </a:lnTo>
                  <a:lnTo>
                    <a:pt x="792" y="114"/>
                  </a:lnTo>
                  <a:lnTo>
                    <a:pt x="786" y="114"/>
                  </a:lnTo>
                  <a:lnTo>
                    <a:pt x="780" y="114"/>
                  </a:lnTo>
                  <a:lnTo>
                    <a:pt x="780" y="126"/>
                  </a:lnTo>
                  <a:lnTo>
                    <a:pt x="786" y="126"/>
                  </a:lnTo>
                  <a:lnTo>
                    <a:pt x="798" y="126"/>
                  </a:lnTo>
                  <a:lnTo>
                    <a:pt x="804" y="126"/>
                  </a:lnTo>
                  <a:lnTo>
                    <a:pt x="822" y="132"/>
                  </a:lnTo>
                  <a:lnTo>
                    <a:pt x="828" y="132"/>
                  </a:lnTo>
                  <a:lnTo>
                    <a:pt x="834" y="132"/>
                  </a:lnTo>
                  <a:lnTo>
                    <a:pt x="840" y="144"/>
                  </a:lnTo>
                  <a:lnTo>
                    <a:pt x="846" y="150"/>
                  </a:lnTo>
                  <a:lnTo>
                    <a:pt x="858" y="150"/>
                  </a:lnTo>
                  <a:lnTo>
                    <a:pt x="864" y="162"/>
                  </a:lnTo>
                  <a:lnTo>
                    <a:pt x="870" y="162"/>
                  </a:lnTo>
                  <a:lnTo>
                    <a:pt x="876" y="168"/>
                  </a:lnTo>
                  <a:lnTo>
                    <a:pt x="888" y="168"/>
                  </a:lnTo>
                  <a:lnTo>
                    <a:pt x="894" y="174"/>
                  </a:lnTo>
                  <a:lnTo>
                    <a:pt x="900" y="174"/>
                  </a:lnTo>
                  <a:lnTo>
                    <a:pt x="918" y="174"/>
                  </a:lnTo>
                  <a:lnTo>
                    <a:pt x="924" y="174"/>
                  </a:lnTo>
                  <a:lnTo>
                    <a:pt x="930" y="174"/>
                  </a:lnTo>
                  <a:lnTo>
                    <a:pt x="942" y="174"/>
                  </a:lnTo>
                  <a:lnTo>
                    <a:pt x="954" y="174"/>
                  </a:lnTo>
                  <a:lnTo>
                    <a:pt x="960" y="174"/>
                  </a:lnTo>
                  <a:lnTo>
                    <a:pt x="966" y="174"/>
                  </a:lnTo>
                  <a:lnTo>
                    <a:pt x="966" y="168"/>
                  </a:lnTo>
                  <a:lnTo>
                    <a:pt x="972" y="162"/>
                  </a:lnTo>
                  <a:lnTo>
                    <a:pt x="972" y="156"/>
                  </a:lnTo>
                  <a:close/>
                  <a:moveTo>
                    <a:pt x="942" y="174"/>
                  </a:moveTo>
                  <a:lnTo>
                    <a:pt x="936" y="174"/>
                  </a:lnTo>
                  <a:lnTo>
                    <a:pt x="936" y="168"/>
                  </a:lnTo>
                  <a:lnTo>
                    <a:pt x="936" y="162"/>
                  </a:lnTo>
                  <a:lnTo>
                    <a:pt x="948" y="162"/>
                  </a:lnTo>
                  <a:lnTo>
                    <a:pt x="948" y="156"/>
                  </a:lnTo>
                  <a:lnTo>
                    <a:pt x="954" y="156"/>
                  </a:lnTo>
                  <a:lnTo>
                    <a:pt x="960" y="156"/>
                  </a:lnTo>
                  <a:lnTo>
                    <a:pt x="966" y="156"/>
                  </a:lnTo>
                  <a:lnTo>
                    <a:pt x="966" y="162"/>
                  </a:lnTo>
                  <a:lnTo>
                    <a:pt x="960" y="168"/>
                  </a:lnTo>
                  <a:lnTo>
                    <a:pt x="942" y="174"/>
                  </a:lnTo>
                  <a:close/>
                  <a:moveTo>
                    <a:pt x="900" y="168"/>
                  </a:moveTo>
                  <a:lnTo>
                    <a:pt x="894" y="168"/>
                  </a:lnTo>
                  <a:lnTo>
                    <a:pt x="882" y="156"/>
                  </a:lnTo>
                  <a:lnTo>
                    <a:pt x="882" y="150"/>
                  </a:lnTo>
                  <a:lnTo>
                    <a:pt x="888" y="156"/>
                  </a:lnTo>
                  <a:lnTo>
                    <a:pt x="894" y="150"/>
                  </a:lnTo>
                  <a:lnTo>
                    <a:pt x="900" y="150"/>
                  </a:lnTo>
                  <a:lnTo>
                    <a:pt x="906" y="150"/>
                  </a:lnTo>
                  <a:lnTo>
                    <a:pt x="912" y="150"/>
                  </a:lnTo>
                  <a:lnTo>
                    <a:pt x="924" y="150"/>
                  </a:lnTo>
                  <a:lnTo>
                    <a:pt x="924" y="156"/>
                  </a:lnTo>
                  <a:lnTo>
                    <a:pt x="924" y="162"/>
                  </a:lnTo>
                  <a:lnTo>
                    <a:pt x="924" y="168"/>
                  </a:lnTo>
                  <a:lnTo>
                    <a:pt x="918" y="168"/>
                  </a:lnTo>
                  <a:lnTo>
                    <a:pt x="906" y="168"/>
                  </a:lnTo>
                  <a:lnTo>
                    <a:pt x="900" y="168"/>
                  </a:lnTo>
                  <a:close/>
                  <a:moveTo>
                    <a:pt x="870" y="162"/>
                  </a:moveTo>
                  <a:lnTo>
                    <a:pt x="876" y="162"/>
                  </a:lnTo>
                  <a:lnTo>
                    <a:pt x="876" y="168"/>
                  </a:lnTo>
                  <a:lnTo>
                    <a:pt x="870" y="168"/>
                  </a:lnTo>
                  <a:lnTo>
                    <a:pt x="870" y="162"/>
                  </a:lnTo>
                  <a:close/>
                  <a:moveTo>
                    <a:pt x="450" y="162"/>
                  </a:moveTo>
                  <a:lnTo>
                    <a:pt x="444" y="162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2" y="150"/>
                  </a:lnTo>
                  <a:lnTo>
                    <a:pt x="438" y="150"/>
                  </a:lnTo>
                  <a:lnTo>
                    <a:pt x="438" y="144"/>
                  </a:lnTo>
                  <a:lnTo>
                    <a:pt x="438" y="150"/>
                  </a:lnTo>
                  <a:lnTo>
                    <a:pt x="444" y="150"/>
                  </a:lnTo>
                  <a:lnTo>
                    <a:pt x="450" y="150"/>
                  </a:lnTo>
                  <a:lnTo>
                    <a:pt x="450" y="156"/>
                  </a:lnTo>
                  <a:lnTo>
                    <a:pt x="456" y="156"/>
                  </a:lnTo>
                  <a:lnTo>
                    <a:pt x="456" y="150"/>
                  </a:lnTo>
                  <a:lnTo>
                    <a:pt x="456" y="156"/>
                  </a:lnTo>
                  <a:lnTo>
                    <a:pt x="462" y="150"/>
                  </a:lnTo>
                  <a:lnTo>
                    <a:pt x="462" y="144"/>
                  </a:lnTo>
                  <a:lnTo>
                    <a:pt x="468" y="144"/>
                  </a:lnTo>
                  <a:lnTo>
                    <a:pt x="468" y="150"/>
                  </a:lnTo>
                  <a:lnTo>
                    <a:pt x="474" y="150"/>
                  </a:lnTo>
                  <a:lnTo>
                    <a:pt x="480" y="150"/>
                  </a:lnTo>
                  <a:lnTo>
                    <a:pt x="480" y="156"/>
                  </a:lnTo>
                  <a:lnTo>
                    <a:pt x="480" y="162"/>
                  </a:lnTo>
                  <a:lnTo>
                    <a:pt x="474" y="162"/>
                  </a:lnTo>
                  <a:lnTo>
                    <a:pt x="474" y="168"/>
                  </a:lnTo>
                  <a:lnTo>
                    <a:pt x="474" y="162"/>
                  </a:lnTo>
                  <a:lnTo>
                    <a:pt x="468" y="162"/>
                  </a:lnTo>
                  <a:lnTo>
                    <a:pt x="462" y="162"/>
                  </a:lnTo>
                  <a:lnTo>
                    <a:pt x="456" y="162"/>
                  </a:lnTo>
                  <a:lnTo>
                    <a:pt x="450" y="16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6" name="Freeform 31">
              <a:extLst>
                <a:ext uri="{FF2B5EF4-FFF2-40B4-BE49-F238E27FC236}">
                  <a16:creationId xmlns:a16="http://schemas.microsoft.com/office/drawing/2014/main" id="{0989F057-38E8-4AA5-8B73-27F6355E235C}"/>
                </a:ext>
              </a:extLst>
            </p:cNvPr>
            <p:cNvSpPr>
              <a:spLocks/>
            </p:cNvSpPr>
            <p:nvPr/>
          </p:nvSpPr>
          <p:spPr bwMode="gray">
            <a:xfrm>
              <a:off x="792590" y="2728084"/>
              <a:ext cx="1182944" cy="740282"/>
            </a:xfrm>
            <a:custGeom>
              <a:avLst/>
              <a:gdLst>
                <a:gd name="T0" fmla="*/ 138 w 2226"/>
                <a:gd name="T1" fmla="*/ 121 h 1392"/>
                <a:gd name="T2" fmla="*/ 133 w 2226"/>
                <a:gd name="T3" fmla="*/ 119 h 1392"/>
                <a:gd name="T4" fmla="*/ 128 w 2226"/>
                <a:gd name="T5" fmla="*/ 117 h 1392"/>
                <a:gd name="T6" fmla="*/ 119 w 2226"/>
                <a:gd name="T7" fmla="*/ 116 h 1392"/>
                <a:gd name="T8" fmla="*/ 101 w 2226"/>
                <a:gd name="T9" fmla="*/ 116 h 1392"/>
                <a:gd name="T10" fmla="*/ 94 w 2226"/>
                <a:gd name="T11" fmla="*/ 104 h 1392"/>
                <a:gd name="T12" fmla="*/ 82 w 2226"/>
                <a:gd name="T13" fmla="*/ 83 h 1392"/>
                <a:gd name="T14" fmla="*/ 87 w 2226"/>
                <a:gd name="T15" fmla="*/ 69 h 1392"/>
                <a:gd name="T16" fmla="*/ 82 w 2226"/>
                <a:gd name="T17" fmla="*/ 65 h 1392"/>
                <a:gd name="T18" fmla="*/ 59 w 2226"/>
                <a:gd name="T19" fmla="*/ 57 h 1392"/>
                <a:gd name="T20" fmla="*/ 29 w 2226"/>
                <a:gd name="T21" fmla="*/ 77 h 1392"/>
                <a:gd name="T22" fmla="*/ 20 w 2226"/>
                <a:gd name="T23" fmla="*/ 78 h 1392"/>
                <a:gd name="T24" fmla="*/ 15 w 2226"/>
                <a:gd name="T25" fmla="*/ 82 h 1392"/>
                <a:gd name="T26" fmla="*/ 8 w 2226"/>
                <a:gd name="T27" fmla="*/ 86 h 1392"/>
                <a:gd name="T28" fmla="*/ 1 w 2226"/>
                <a:gd name="T29" fmla="*/ 88 h 1392"/>
                <a:gd name="T30" fmla="*/ 0 w 2226"/>
                <a:gd name="T31" fmla="*/ 82 h 1392"/>
                <a:gd name="T32" fmla="*/ 0 w 2226"/>
                <a:gd name="T33" fmla="*/ 76 h 1392"/>
                <a:gd name="T34" fmla="*/ 2 w 2226"/>
                <a:gd name="T35" fmla="*/ 70 h 1392"/>
                <a:gd name="T36" fmla="*/ 3 w 2226"/>
                <a:gd name="T37" fmla="*/ 65 h 1392"/>
                <a:gd name="T38" fmla="*/ 2 w 2226"/>
                <a:gd name="T39" fmla="*/ 63 h 1392"/>
                <a:gd name="T40" fmla="*/ 9 w 2226"/>
                <a:gd name="T41" fmla="*/ 60 h 1392"/>
                <a:gd name="T42" fmla="*/ 17 w 2226"/>
                <a:gd name="T43" fmla="*/ 59 h 1392"/>
                <a:gd name="T44" fmla="*/ 22 w 2226"/>
                <a:gd name="T45" fmla="*/ 51 h 1392"/>
                <a:gd name="T46" fmla="*/ 23 w 2226"/>
                <a:gd name="T47" fmla="*/ 43 h 1392"/>
                <a:gd name="T48" fmla="*/ 27 w 2226"/>
                <a:gd name="T49" fmla="*/ 34 h 1392"/>
                <a:gd name="T50" fmla="*/ 30 w 2226"/>
                <a:gd name="T51" fmla="*/ 27 h 1392"/>
                <a:gd name="T52" fmla="*/ 33 w 2226"/>
                <a:gd name="T53" fmla="*/ 22 h 1392"/>
                <a:gd name="T54" fmla="*/ 42 w 2226"/>
                <a:gd name="T55" fmla="*/ 17 h 1392"/>
                <a:gd name="T56" fmla="*/ 47 w 2226"/>
                <a:gd name="T57" fmla="*/ 14 h 1392"/>
                <a:gd name="T58" fmla="*/ 49 w 2226"/>
                <a:gd name="T59" fmla="*/ 5 h 1392"/>
                <a:gd name="T60" fmla="*/ 53 w 2226"/>
                <a:gd name="T61" fmla="*/ 0 h 1392"/>
                <a:gd name="T62" fmla="*/ 55 w 2226"/>
                <a:gd name="T63" fmla="*/ 4 h 1392"/>
                <a:gd name="T64" fmla="*/ 59 w 2226"/>
                <a:gd name="T65" fmla="*/ 7 h 1392"/>
                <a:gd name="T66" fmla="*/ 63 w 2226"/>
                <a:gd name="T67" fmla="*/ 7 h 1392"/>
                <a:gd name="T68" fmla="*/ 66 w 2226"/>
                <a:gd name="T69" fmla="*/ 9 h 1392"/>
                <a:gd name="T70" fmla="*/ 67 w 2226"/>
                <a:gd name="T71" fmla="*/ 12 h 1392"/>
                <a:gd name="T72" fmla="*/ 67 w 2226"/>
                <a:gd name="T73" fmla="*/ 13 h 1392"/>
                <a:gd name="T74" fmla="*/ 70 w 2226"/>
                <a:gd name="T75" fmla="*/ 15 h 1392"/>
                <a:gd name="T76" fmla="*/ 74 w 2226"/>
                <a:gd name="T77" fmla="*/ 17 h 1392"/>
                <a:gd name="T78" fmla="*/ 78 w 2226"/>
                <a:gd name="T79" fmla="*/ 18 h 1392"/>
                <a:gd name="T80" fmla="*/ 97 w 2226"/>
                <a:gd name="T81" fmla="*/ 40 h 1392"/>
                <a:gd name="T82" fmla="*/ 102 w 2226"/>
                <a:gd name="T83" fmla="*/ 44 h 1392"/>
                <a:gd name="T84" fmla="*/ 110 w 2226"/>
                <a:gd name="T85" fmla="*/ 49 h 1392"/>
                <a:gd name="T86" fmla="*/ 113 w 2226"/>
                <a:gd name="T87" fmla="*/ 53 h 1392"/>
                <a:gd name="T88" fmla="*/ 118 w 2226"/>
                <a:gd name="T89" fmla="*/ 57 h 1392"/>
                <a:gd name="T90" fmla="*/ 124 w 2226"/>
                <a:gd name="T91" fmla="*/ 54 h 1392"/>
                <a:gd name="T92" fmla="*/ 133 w 2226"/>
                <a:gd name="T93" fmla="*/ 58 h 1392"/>
                <a:gd name="T94" fmla="*/ 137 w 2226"/>
                <a:gd name="T95" fmla="*/ 64 h 1392"/>
                <a:gd name="T96" fmla="*/ 145 w 2226"/>
                <a:gd name="T97" fmla="*/ 65 h 1392"/>
                <a:gd name="T98" fmla="*/ 152 w 2226"/>
                <a:gd name="T99" fmla="*/ 67 h 1392"/>
                <a:gd name="T100" fmla="*/ 161 w 2226"/>
                <a:gd name="T101" fmla="*/ 72 h 1392"/>
                <a:gd name="T102" fmla="*/ 168 w 2226"/>
                <a:gd name="T103" fmla="*/ 76 h 1392"/>
                <a:gd name="T104" fmla="*/ 177 w 2226"/>
                <a:gd name="T105" fmla="*/ 78 h 1392"/>
                <a:gd name="T106" fmla="*/ 184 w 2226"/>
                <a:gd name="T107" fmla="*/ 78 h 1392"/>
                <a:gd name="T108" fmla="*/ 190 w 2226"/>
                <a:gd name="T109" fmla="*/ 81 h 1392"/>
                <a:gd name="T110" fmla="*/ 192 w 2226"/>
                <a:gd name="T111" fmla="*/ 86 h 1392"/>
                <a:gd name="T112" fmla="*/ 187 w 2226"/>
                <a:gd name="T113" fmla="*/ 99 h 1392"/>
                <a:gd name="T114" fmla="*/ 165 w 2226"/>
                <a:gd name="T115" fmla="*/ 97 h 1392"/>
                <a:gd name="T116" fmla="*/ 155 w 2226"/>
                <a:gd name="T117" fmla="*/ 92 h 1392"/>
                <a:gd name="T118" fmla="*/ 146 w 2226"/>
                <a:gd name="T119" fmla="*/ 102 h 1392"/>
                <a:gd name="T120" fmla="*/ 149 w 2226"/>
                <a:gd name="T121" fmla="*/ 106 h 1392"/>
                <a:gd name="T122" fmla="*/ 151 w 2226"/>
                <a:gd name="T123" fmla="*/ 108 h 1392"/>
                <a:gd name="T124" fmla="*/ 157 w 2226"/>
                <a:gd name="T125" fmla="*/ 113 h 13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1392"/>
                <a:gd name="T191" fmla="*/ 2226 w 2226"/>
                <a:gd name="T192" fmla="*/ 1392 h 13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1392">
                  <a:moveTo>
                    <a:pt x="1782" y="1326"/>
                  </a:moveTo>
                  <a:lnTo>
                    <a:pt x="1776" y="1332"/>
                  </a:lnTo>
                  <a:lnTo>
                    <a:pt x="1692" y="1338"/>
                  </a:lnTo>
                  <a:lnTo>
                    <a:pt x="1680" y="1386"/>
                  </a:lnTo>
                  <a:lnTo>
                    <a:pt x="1674" y="1392"/>
                  </a:lnTo>
                  <a:lnTo>
                    <a:pt x="1638" y="1392"/>
                  </a:lnTo>
                  <a:lnTo>
                    <a:pt x="1620" y="1392"/>
                  </a:lnTo>
                  <a:lnTo>
                    <a:pt x="1614" y="1392"/>
                  </a:lnTo>
                  <a:lnTo>
                    <a:pt x="1608" y="1386"/>
                  </a:lnTo>
                  <a:lnTo>
                    <a:pt x="1584" y="1386"/>
                  </a:lnTo>
                  <a:lnTo>
                    <a:pt x="1578" y="1386"/>
                  </a:lnTo>
                  <a:lnTo>
                    <a:pt x="1572" y="1380"/>
                  </a:lnTo>
                  <a:lnTo>
                    <a:pt x="1578" y="1356"/>
                  </a:lnTo>
                  <a:lnTo>
                    <a:pt x="1572" y="1356"/>
                  </a:lnTo>
                  <a:lnTo>
                    <a:pt x="1560" y="1350"/>
                  </a:lnTo>
                  <a:lnTo>
                    <a:pt x="1554" y="1350"/>
                  </a:lnTo>
                  <a:lnTo>
                    <a:pt x="1542" y="1350"/>
                  </a:lnTo>
                  <a:lnTo>
                    <a:pt x="1530" y="1350"/>
                  </a:lnTo>
                  <a:lnTo>
                    <a:pt x="1524" y="1356"/>
                  </a:lnTo>
                  <a:lnTo>
                    <a:pt x="1524" y="1362"/>
                  </a:lnTo>
                  <a:lnTo>
                    <a:pt x="1512" y="1374"/>
                  </a:lnTo>
                  <a:lnTo>
                    <a:pt x="1506" y="1374"/>
                  </a:lnTo>
                  <a:lnTo>
                    <a:pt x="1500" y="1368"/>
                  </a:lnTo>
                  <a:lnTo>
                    <a:pt x="1500" y="1362"/>
                  </a:lnTo>
                  <a:lnTo>
                    <a:pt x="1488" y="1362"/>
                  </a:lnTo>
                  <a:lnTo>
                    <a:pt x="1482" y="1356"/>
                  </a:lnTo>
                  <a:lnTo>
                    <a:pt x="1482" y="1350"/>
                  </a:lnTo>
                  <a:lnTo>
                    <a:pt x="1476" y="1350"/>
                  </a:lnTo>
                  <a:lnTo>
                    <a:pt x="1470" y="1344"/>
                  </a:lnTo>
                  <a:lnTo>
                    <a:pt x="1464" y="1344"/>
                  </a:lnTo>
                  <a:lnTo>
                    <a:pt x="1452" y="1350"/>
                  </a:lnTo>
                  <a:lnTo>
                    <a:pt x="1452" y="1356"/>
                  </a:lnTo>
                  <a:lnTo>
                    <a:pt x="1440" y="1356"/>
                  </a:lnTo>
                  <a:lnTo>
                    <a:pt x="1434" y="1344"/>
                  </a:lnTo>
                  <a:lnTo>
                    <a:pt x="1422" y="1332"/>
                  </a:lnTo>
                  <a:lnTo>
                    <a:pt x="1416" y="1326"/>
                  </a:lnTo>
                  <a:lnTo>
                    <a:pt x="1404" y="1320"/>
                  </a:lnTo>
                  <a:lnTo>
                    <a:pt x="1404" y="1314"/>
                  </a:lnTo>
                  <a:lnTo>
                    <a:pt x="1374" y="1308"/>
                  </a:lnTo>
                  <a:lnTo>
                    <a:pt x="1368" y="1326"/>
                  </a:lnTo>
                  <a:lnTo>
                    <a:pt x="1344" y="1338"/>
                  </a:lnTo>
                  <a:lnTo>
                    <a:pt x="1326" y="1332"/>
                  </a:lnTo>
                  <a:lnTo>
                    <a:pt x="1302" y="1332"/>
                  </a:lnTo>
                  <a:lnTo>
                    <a:pt x="1278" y="1338"/>
                  </a:lnTo>
                  <a:lnTo>
                    <a:pt x="1236" y="1338"/>
                  </a:lnTo>
                  <a:lnTo>
                    <a:pt x="1224" y="1338"/>
                  </a:lnTo>
                  <a:lnTo>
                    <a:pt x="1224" y="1326"/>
                  </a:lnTo>
                  <a:lnTo>
                    <a:pt x="1206" y="1326"/>
                  </a:lnTo>
                  <a:lnTo>
                    <a:pt x="1170" y="1326"/>
                  </a:lnTo>
                  <a:lnTo>
                    <a:pt x="1152" y="1326"/>
                  </a:lnTo>
                  <a:lnTo>
                    <a:pt x="1140" y="1314"/>
                  </a:lnTo>
                  <a:lnTo>
                    <a:pt x="1134" y="1296"/>
                  </a:lnTo>
                  <a:lnTo>
                    <a:pt x="1134" y="1284"/>
                  </a:lnTo>
                  <a:lnTo>
                    <a:pt x="1128" y="1254"/>
                  </a:lnTo>
                  <a:lnTo>
                    <a:pt x="1128" y="1242"/>
                  </a:lnTo>
                  <a:lnTo>
                    <a:pt x="1122" y="1230"/>
                  </a:lnTo>
                  <a:lnTo>
                    <a:pt x="1104" y="1218"/>
                  </a:lnTo>
                  <a:lnTo>
                    <a:pt x="1104" y="1212"/>
                  </a:lnTo>
                  <a:lnTo>
                    <a:pt x="1092" y="1206"/>
                  </a:lnTo>
                  <a:lnTo>
                    <a:pt x="1080" y="1194"/>
                  </a:lnTo>
                  <a:lnTo>
                    <a:pt x="1068" y="1176"/>
                  </a:lnTo>
                  <a:lnTo>
                    <a:pt x="1050" y="1152"/>
                  </a:lnTo>
                  <a:lnTo>
                    <a:pt x="1020" y="1098"/>
                  </a:lnTo>
                  <a:lnTo>
                    <a:pt x="978" y="1026"/>
                  </a:lnTo>
                  <a:lnTo>
                    <a:pt x="978" y="1014"/>
                  </a:lnTo>
                  <a:lnTo>
                    <a:pt x="972" y="1014"/>
                  </a:lnTo>
                  <a:lnTo>
                    <a:pt x="972" y="1008"/>
                  </a:lnTo>
                  <a:lnTo>
                    <a:pt x="978" y="1002"/>
                  </a:lnTo>
                  <a:lnTo>
                    <a:pt x="960" y="966"/>
                  </a:lnTo>
                  <a:lnTo>
                    <a:pt x="948" y="954"/>
                  </a:lnTo>
                  <a:lnTo>
                    <a:pt x="948" y="936"/>
                  </a:lnTo>
                  <a:lnTo>
                    <a:pt x="936" y="900"/>
                  </a:lnTo>
                  <a:lnTo>
                    <a:pt x="942" y="876"/>
                  </a:lnTo>
                  <a:lnTo>
                    <a:pt x="942" y="834"/>
                  </a:lnTo>
                  <a:lnTo>
                    <a:pt x="960" y="828"/>
                  </a:lnTo>
                  <a:lnTo>
                    <a:pt x="966" y="816"/>
                  </a:lnTo>
                  <a:lnTo>
                    <a:pt x="972" y="810"/>
                  </a:lnTo>
                  <a:lnTo>
                    <a:pt x="978" y="804"/>
                  </a:lnTo>
                  <a:lnTo>
                    <a:pt x="996" y="798"/>
                  </a:lnTo>
                  <a:lnTo>
                    <a:pt x="996" y="792"/>
                  </a:lnTo>
                  <a:lnTo>
                    <a:pt x="1014" y="780"/>
                  </a:lnTo>
                  <a:lnTo>
                    <a:pt x="1026" y="768"/>
                  </a:lnTo>
                  <a:lnTo>
                    <a:pt x="1032" y="762"/>
                  </a:lnTo>
                  <a:lnTo>
                    <a:pt x="1026" y="756"/>
                  </a:lnTo>
                  <a:lnTo>
                    <a:pt x="1014" y="744"/>
                  </a:lnTo>
                  <a:lnTo>
                    <a:pt x="996" y="756"/>
                  </a:lnTo>
                  <a:lnTo>
                    <a:pt x="954" y="768"/>
                  </a:lnTo>
                  <a:lnTo>
                    <a:pt x="942" y="762"/>
                  </a:lnTo>
                  <a:lnTo>
                    <a:pt x="942" y="756"/>
                  </a:lnTo>
                  <a:lnTo>
                    <a:pt x="936" y="750"/>
                  </a:lnTo>
                  <a:lnTo>
                    <a:pt x="846" y="732"/>
                  </a:lnTo>
                  <a:lnTo>
                    <a:pt x="822" y="726"/>
                  </a:lnTo>
                  <a:lnTo>
                    <a:pt x="810" y="714"/>
                  </a:lnTo>
                  <a:lnTo>
                    <a:pt x="792" y="690"/>
                  </a:lnTo>
                  <a:lnTo>
                    <a:pt x="792" y="678"/>
                  </a:lnTo>
                  <a:lnTo>
                    <a:pt x="762" y="642"/>
                  </a:lnTo>
                  <a:lnTo>
                    <a:pt x="750" y="636"/>
                  </a:lnTo>
                  <a:lnTo>
                    <a:pt x="726" y="630"/>
                  </a:lnTo>
                  <a:lnTo>
                    <a:pt x="696" y="642"/>
                  </a:lnTo>
                  <a:lnTo>
                    <a:pt x="678" y="654"/>
                  </a:lnTo>
                  <a:lnTo>
                    <a:pt x="666" y="684"/>
                  </a:lnTo>
                  <a:lnTo>
                    <a:pt x="660" y="726"/>
                  </a:lnTo>
                  <a:lnTo>
                    <a:pt x="606" y="756"/>
                  </a:lnTo>
                  <a:lnTo>
                    <a:pt x="558" y="780"/>
                  </a:lnTo>
                  <a:lnTo>
                    <a:pt x="438" y="834"/>
                  </a:lnTo>
                  <a:lnTo>
                    <a:pt x="402" y="846"/>
                  </a:lnTo>
                  <a:lnTo>
                    <a:pt x="372" y="870"/>
                  </a:lnTo>
                  <a:lnTo>
                    <a:pt x="360" y="876"/>
                  </a:lnTo>
                  <a:lnTo>
                    <a:pt x="354" y="876"/>
                  </a:lnTo>
                  <a:lnTo>
                    <a:pt x="330" y="882"/>
                  </a:lnTo>
                  <a:lnTo>
                    <a:pt x="306" y="882"/>
                  </a:lnTo>
                  <a:lnTo>
                    <a:pt x="300" y="876"/>
                  </a:lnTo>
                  <a:lnTo>
                    <a:pt x="294" y="876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76" y="864"/>
                  </a:lnTo>
                  <a:lnTo>
                    <a:pt x="270" y="870"/>
                  </a:lnTo>
                  <a:lnTo>
                    <a:pt x="264" y="870"/>
                  </a:lnTo>
                  <a:lnTo>
                    <a:pt x="240" y="894"/>
                  </a:lnTo>
                  <a:lnTo>
                    <a:pt x="234" y="894"/>
                  </a:lnTo>
                  <a:lnTo>
                    <a:pt x="228" y="900"/>
                  </a:lnTo>
                  <a:lnTo>
                    <a:pt x="222" y="906"/>
                  </a:lnTo>
                  <a:lnTo>
                    <a:pt x="210" y="912"/>
                  </a:lnTo>
                  <a:lnTo>
                    <a:pt x="204" y="912"/>
                  </a:lnTo>
                  <a:lnTo>
                    <a:pt x="198" y="912"/>
                  </a:lnTo>
                  <a:lnTo>
                    <a:pt x="192" y="918"/>
                  </a:lnTo>
                  <a:lnTo>
                    <a:pt x="180" y="918"/>
                  </a:lnTo>
                  <a:lnTo>
                    <a:pt x="174" y="930"/>
                  </a:lnTo>
                  <a:lnTo>
                    <a:pt x="174" y="936"/>
                  </a:lnTo>
                  <a:lnTo>
                    <a:pt x="168" y="942"/>
                  </a:lnTo>
                  <a:lnTo>
                    <a:pt x="162" y="942"/>
                  </a:lnTo>
                  <a:lnTo>
                    <a:pt x="150" y="960"/>
                  </a:lnTo>
                  <a:lnTo>
                    <a:pt x="144" y="966"/>
                  </a:lnTo>
                  <a:lnTo>
                    <a:pt x="138" y="972"/>
                  </a:lnTo>
                  <a:lnTo>
                    <a:pt x="132" y="972"/>
                  </a:lnTo>
                  <a:lnTo>
                    <a:pt x="126" y="984"/>
                  </a:lnTo>
                  <a:lnTo>
                    <a:pt x="120" y="984"/>
                  </a:lnTo>
                  <a:lnTo>
                    <a:pt x="114" y="990"/>
                  </a:lnTo>
                  <a:lnTo>
                    <a:pt x="96" y="990"/>
                  </a:lnTo>
                  <a:lnTo>
                    <a:pt x="90" y="990"/>
                  </a:lnTo>
                  <a:lnTo>
                    <a:pt x="78" y="990"/>
                  </a:lnTo>
                  <a:lnTo>
                    <a:pt x="72" y="990"/>
                  </a:lnTo>
                  <a:lnTo>
                    <a:pt x="60" y="990"/>
                  </a:lnTo>
                  <a:lnTo>
                    <a:pt x="42" y="990"/>
                  </a:lnTo>
                  <a:lnTo>
                    <a:pt x="36" y="996"/>
                  </a:lnTo>
                  <a:lnTo>
                    <a:pt x="30" y="1002"/>
                  </a:lnTo>
                  <a:lnTo>
                    <a:pt x="24" y="1014"/>
                  </a:lnTo>
                  <a:lnTo>
                    <a:pt x="24" y="1020"/>
                  </a:lnTo>
                  <a:lnTo>
                    <a:pt x="18" y="1020"/>
                  </a:lnTo>
                  <a:lnTo>
                    <a:pt x="12" y="1014"/>
                  </a:lnTo>
                  <a:lnTo>
                    <a:pt x="12" y="1008"/>
                  </a:lnTo>
                  <a:lnTo>
                    <a:pt x="12" y="990"/>
                  </a:lnTo>
                  <a:lnTo>
                    <a:pt x="12" y="984"/>
                  </a:lnTo>
                  <a:lnTo>
                    <a:pt x="12" y="972"/>
                  </a:lnTo>
                  <a:lnTo>
                    <a:pt x="12" y="966"/>
                  </a:lnTo>
                  <a:lnTo>
                    <a:pt x="6" y="966"/>
                  </a:lnTo>
                  <a:lnTo>
                    <a:pt x="6" y="960"/>
                  </a:lnTo>
                  <a:lnTo>
                    <a:pt x="6" y="954"/>
                  </a:lnTo>
                  <a:lnTo>
                    <a:pt x="6" y="948"/>
                  </a:lnTo>
                  <a:lnTo>
                    <a:pt x="6" y="942"/>
                  </a:lnTo>
                  <a:lnTo>
                    <a:pt x="12" y="930"/>
                  </a:lnTo>
                  <a:lnTo>
                    <a:pt x="6" y="924"/>
                  </a:lnTo>
                  <a:lnTo>
                    <a:pt x="6" y="918"/>
                  </a:lnTo>
                  <a:lnTo>
                    <a:pt x="6" y="912"/>
                  </a:lnTo>
                  <a:lnTo>
                    <a:pt x="6" y="906"/>
                  </a:lnTo>
                  <a:lnTo>
                    <a:pt x="6" y="900"/>
                  </a:lnTo>
                  <a:lnTo>
                    <a:pt x="0" y="894"/>
                  </a:lnTo>
                  <a:lnTo>
                    <a:pt x="0" y="888"/>
                  </a:lnTo>
                  <a:lnTo>
                    <a:pt x="0" y="882"/>
                  </a:lnTo>
                  <a:lnTo>
                    <a:pt x="6" y="876"/>
                  </a:lnTo>
                  <a:lnTo>
                    <a:pt x="6" y="870"/>
                  </a:lnTo>
                  <a:lnTo>
                    <a:pt x="18" y="864"/>
                  </a:lnTo>
                  <a:lnTo>
                    <a:pt x="18" y="858"/>
                  </a:lnTo>
                  <a:lnTo>
                    <a:pt x="18" y="846"/>
                  </a:lnTo>
                  <a:lnTo>
                    <a:pt x="18" y="834"/>
                  </a:lnTo>
                  <a:lnTo>
                    <a:pt x="18" y="828"/>
                  </a:lnTo>
                  <a:lnTo>
                    <a:pt x="24" y="828"/>
                  </a:lnTo>
                  <a:lnTo>
                    <a:pt x="24" y="810"/>
                  </a:lnTo>
                  <a:lnTo>
                    <a:pt x="24" y="804"/>
                  </a:lnTo>
                  <a:lnTo>
                    <a:pt x="18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24" y="792"/>
                  </a:lnTo>
                  <a:lnTo>
                    <a:pt x="30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6" y="762"/>
                  </a:lnTo>
                  <a:lnTo>
                    <a:pt x="36" y="756"/>
                  </a:lnTo>
                  <a:lnTo>
                    <a:pt x="30" y="756"/>
                  </a:lnTo>
                  <a:lnTo>
                    <a:pt x="30" y="750"/>
                  </a:lnTo>
                  <a:lnTo>
                    <a:pt x="36" y="750"/>
                  </a:lnTo>
                  <a:lnTo>
                    <a:pt x="36" y="744"/>
                  </a:lnTo>
                  <a:lnTo>
                    <a:pt x="30" y="744"/>
                  </a:lnTo>
                  <a:lnTo>
                    <a:pt x="30" y="738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0" y="732"/>
                  </a:lnTo>
                  <a:lnTo>
                    <a:pt x="36" y="726"/>
                  </a:lnTo>
                  <a:lnTo>
                    <a:pt x="30" y="726"/>
                  </a:lnTo>
                  <a:lnTo>
                    <a:pt x="24" y="726"/>
                  </a:lnTo>
                  <a:lnTo>
                    <a:pt x="30" y="720"/>
                  </a:lnTo>
                  <a:lnTo>
                    <a:pt x="30" y="714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696"/>
                  </a:lnTo>
                  <a:lnTo>
                    <a:pt x="66" y="702"/>
                  </a:lnTo>
                  <a:lnTo>
                    <a:pt x="78" y="702"/>
                  </a:lnTo>
                  <a:lnTo>
                    <a:pt x="84" y="702"/>
                  </a:lnTo>
                  <a:lnTo>
                    <a:pt x="96" y="696"/>
                  </a:lnTo>
                  <a:lnTo>
                    <a:pt x="102" y="690"/>
                  </a:lnTo>
                  <a:lnTo>
                    <a:pt x="102" y="684"/>
                  </a:lnTo>
                  <a:lnTo>
                    <a:pt x="114" y="684"/>
                  </a:lnTo>
                  <a:lnTo>
                    <a:pt x="144" y="684"/>
                  </a:lnTo>
                  <a:lnTo>
                    <a:pt x="150" y="690"/>
                  </a:lnTo>
                  <a:lnTo>
                    <a:pt x="162" y="696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6" y="690"/>
                  </a:lnTo>
                  <a:lnTo>
                    <a:pt x="192" y="690"/>
                  </a:lnTo>
                  <a:lnTo>
                    <a:pt x="198" y="684"/>
                  </a:lnTo>
                  <a:lnTo>
                    <a:pt x="204" y="684"/>
                  </a:lnTo>
                  <a:lnTo>
                    <a:pt x="210" y="684"/>
                  </a:lnTo>
                  <a:lnTo>
                    <a:pt x="222" y="678"/>
                  </a:lnTo>
                  <a:lnTo>
                    <a:pt x="228" y="678"/>
                  </a:lnTo>
                  <a:lnTo>
                    <a:pt x="228" y="660"/>
                  </a:lnTo>
                  <a:lnTo>
                    <a:pt x="234" y="642"/>
                  </a:lnTo>
                  <a:lnTo>
                    <a:pt x="246" y="618"/>
                  </a:lnTo>
                  <a:lnTo>
                    <a:pt x="252" y="618"/>
                  </a:lnTo>
                  <a:lnTo>
                    <a:pt x="252" y="600"/>
                  </a:lnTo>
                  <a:lnTo>
                    <a:pt x="252" y="588"/>
                  </a:lnTo>
                  <a:lnTo>
                    <a:pt x="252" y="582"/>
                  </a:lnTo>
                  <a:lnTo>
                    <a:pt x="258" y="576"/>
                  </a:lnTo>
                  <a:lnTo>
                    <a:pt x="270" y="564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70" y="522"/>
                  </a:lnTo>
                  <a:lnTo>
                    <a:pt x="270" y="510"/>
                  </a:lnTo>
                  <a:lnTo>
                    <a:pt x="270" y="498"/>
                  </a:lnTo>
                  <a:lnTo>
                    <a:pt x="258" y="468"/>
                  </a:lnTo>
                  <a:lnTo>
                    <a:pt x="252" y="456"/>
                  </a:lnTo>
                  <a:lnTo>
                    <a:pt x="258" y="444"/>
                  </a:lnTo>
                  <a:lnTo>
                    <a:pt x="264" y="432"/>
                  </a:lnTo>
                  <a:lnTo>
                    <a:pt x="270" y="426"/>
                  </a:lnTo>
                  <a:lnTo>
                    <a:pt x="276" y="420"/>
                  </a:lnTo>
                  <a:lnTo>
                    <a:pt x="288" y="420"/>
                  </a:lnTo>
                  <a:lnTo>
                    <a:pt x="288" y="414"/>
                  </a:lnTo>
                  <a:lnTo>
                    <a:pt x="294" y="414"/>
                  </a:lnTo>
                  <a:lnTo>
                    <a:pt x="306" y="390"/>
                  </a:lnTo>
                  <a:lnTo>
                    <a:pt x="312" y="384"/>
                  </a:lnTo>
                  <a:lnTo>
                    <a:pt x="318" y="378"/>
                  </a:lnTo>
                  <a:lnTo>
                    <a:pt x="318" y="372"/>
                  </a:lnTo>
                  <a:lnTo>
                    <a:pt x="324" y="366"/>
                  </a:lnTo>
                  <a:lnTo>
                    <a:pt x="330" y="354"/>
                  </a:lnTo>
                  <a:lnTo>
                    <a:pt x="336" y="348"/>
                  </a:lnTo>
                  <a:lnTo>
                    <a:pt x="336" y="330"/>
                  </a:lnTo>
                  <a:lnTo>
                    <a:pt x="342" y="324"/>
                  </a:lnTo>
                  <a:lnTo>
                    <a:pt x="342" y="318"/>
                  </a:lnTo>
                  <a:lnTo>
                    <a:pt x="348" y="318"/>
                  </a:lnTo>
                  <a:lnTo>
                    <a:pt x="360" y="318"/>
                  </a:lnTo>
                  <a:lnTo>
                    <a:pt x="372" y="318"/>
                  </a:lnTo>
                  <a:lnTo>
                    <a:pt x="384" y="306"/>
                  </a:lnTo>
                  <a:lnTo>
                    <a:pt x="396" y="300"/>
                  </a:lnTo>
                  <a:lnTo>
                    <a:pt x="396" y="294"/>
                  </a:lnTo>
                  <a:lnTo>
                    <a:pt x="396" y="288"/>
                  </a:lnTo>
                  <a:lnTo>
                    <a:pt x="390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2"/>
                  </a:lnTo>
                  <a:lnTo>
                    <a:pt x="378" y="246"/>
                  </a:lnTo>
                  <a:lnTo>
                    <a:pt x="384" y="228"/>
                  </a:lnTo>
                  <a:lnTo>
                    <a:pt x="390" y="216"/>
                  </a:lnTo>
                  <a:lnTo>
                    <a:pt x="402" y="210"/>
                  </a:lnTo>
                  <a:lnTo>
                    <a:pt x="408" y="210"/>
                  </a:lnTo>
                  <a:lnTo>
                    <a:pt x="420" y="204"/>
                  </a:lnTo>
                  <a:lnTo>
                    <a:pt x="444" y="198"/>
                  </a:lnTo>
                  <a:lnTo>
                    <a:pt x="462" y="192"/>
                  </a:lnTo>
                  <a:lnTo>
                    <a:pt x="474" y="186"/>
                  </a:lnTo>
                  <a:lnTo>
                    <a:pt x="480" y="192"/>
                  </a:lnTo>
                  <a:lnTo>
                    <a:pt x="492" y="192"/>
                  </a:lnTo>
                  <a:lnTo>
                    <a:pt x="498" y="192"/>
                  </a:lnTo>
                  <a:lnTo>
                    <a:pt x="504" y="192"/>
                  </a:lnTo>
                  <a:lnTo>
                    <a:pt x="510" y="192"/>
                  </a:lnTo>
                  <a:lnTo>
                    <a:pt x="516" y="186"/>
                  </a:lnTo>
                  <a:lnTo>
                    <a:pt x="522" y="180"/>
                  </a:lnTo>
                  <a:lnTo>
                    <a:pt x="522" y="174"/>
                  </a:lnTo>
                  <a:lnTo>
                    <a:pt x="528" y="168"/>
                  </a:lnTo>
                  <a:lnTo>
                    <a:pt x="534" y="168"/>
                  </a:lnTo>
                  <a:lnTo>
                    <a:pt x="534" y="156"/>
                  </a:lnTo>
                  <a:lnTo>
                    <a:pt x="534" y="150"/>
                  </a:lnTo>
                  <a:lnTo>
                    <a:pt x="552" y="138"/>
                  </a:lnTo>
                  <a:lnTo>
                    <a:pt x="558" y="126"/>
                  </a:lnTo>
                  <a:lnTo>
                    <a:pt x="558" y="114"/>
                  </a:lnTo>
                  <a:lnTo>
                    <a:pt x="564" y="102"/>
                  </a:lnTo>
                  <a:lnTo>
                    <a:pt x="564" y="96"/>
                  </a:lnTo>
                  <a:lnTo>
                    <a:pt x="564" y="90"/>
                  </a:lnTo>
                  <a:lnTo>
                    <a:pt x="564" y="72"/>
                  </a:lnTo>
                  <a:lnTo>
                    <a:pt x="564" y="60"/>
                  </a:lnTo>
                  <a:lnTo>
                    <a:pt x="564" y="54"/>
                  </a:lnTo>
                  <a:lnTo>
                    <a:pt x="570" y="42"/>
                  </a:lnTo>
                  <a:lnTo>
                    <a:pt x="576" y="42"/>
                  </a:lnTo>
                  <a:lnTo>
                    <a:pt x="582" y="36"/>
                  </a:lnTo>
                  <a:lnTo>
                    <a:pt x="594" y="36"/>
                  </a:lnTo>
                  <a:lnTo>
                    <a:pt x="594" y="30"/>
                  </a:lnTo>
                  <a:lnTo>
                    <a:pt x="600" y="24"/>
                  </a:lnTo>
                  <a:lnTo>
                    <a:pt x="600" y="12"/>
                  </a:lnTo>
                  <a:lnTo>
                    <a:pt x="606" y="6"/>
                  </a:lnTo>
                  <a:lnTo>
                    <a:pt x="606" y="0"/>
                  </a:lnTo>
                  <a:lnTo>
                    <a:pt x="612" y="0"/>
                  </a:lnTo>
                  <a:lnTo>
                    <a:pt x="618" y="0"/>
                  </a:lnTo>
                  <a:lnTo>
                    <a:pt x="624" y="6"/>
                  </a:lnTo>
                  <a:lnTo>
                    <a:pt x="624" y="12"/>
                  </a:lnTo>
                  <a:lnTo>
                    <a:pt x="624" y="18"/>
                  </a:lnTo>
                  <a:lnTo>
                    <a:pt x="624" y="24"/>
                  </a:lnTo>
                  <a:lnTo>
                    <a:pt x="624" y="30"/>
                  </a:lnTo>
                  <a:lnTo>
                    <a:pt x="630" y="30"/>
                  </a:lnTo>
                  <a:lnTo>
                    <a:pt x="630" y="36"/>
                  </a:lnTo>
                  <a:lnTo>
                    <a:pt x="630" y="42"/>
                  </a:lnTo>
                  <a:lnTo>
                    <a:pt x="630" y="48"/>
                  </a:lnTo>
                  <a:lnTo>
                    <a:pt x="636" y="54"/>
                  </a:lnTo>
                  <a:lnTo>
                    <a:pt x="642" y="48"/>
                  </a:lnTo>
                  <a:lnTo>
                    <a:pt x="648" y="48"/>
                  </a:lnTo>
                  <a:lnTo>
                    <a:pt x="648" y="60"/>
                  </a:lnTo>
                  <a:lnTo>
                    <a:pt x="654" y="66"/>
                  </a:lnTo>
                  <a:lnTo>
                    <a:pt x="660" y="72"/>
                  </a:lnTo>
                  <a:lnTo>
                    <a:pt x="666" y="72"/>
                  </a:lnTo>
                  <a:lnTo>
                    <a:pt x="666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72" y="66"/>
                  </a:lnTo>
                  <a:lnTo>
                    <a:pt x="678" y="66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6" y="66"/>
                  </a:lnTo>
                  <a:lnTo>
                    <a:pt x="696" y="72"/>
                  </a:lnTo>
                  <a:lnTo>
                    <a:pt x="702" y="72"/>
                  </a:lnTo>
                  <a:lnTo>
                    <a:pt x="708" y="72"/>
                  </a:lnTo>
                  <a:lnTo>
                    <a:pt x="720" y="66"/>
                  </a:lnTo>
                  <a:lnTo>
                    <a:pt x="726" y="78"/>
                  </a:lnTo>
                  <a:lnTo>
                    <a:pt x="744" y="84"/>
                  </a:lnTo>
                  <a:lnTo>
                    <a:pt x="744" y="90"/>
                  </a:lnTo>
                  <a:lnTo>
                    <a:pt x="744" y="96"/>
                  </a:lnTo>
                  <a:lnTo>
                    <a:pt x="738" y="96"/>
                  </a:lnTo>
                  <a:lnTo>
                    <a:pt x="738" y="102"/>
                  </a:lnTo>
                  <a:lnTo>
                    <a:pt x="732" y="102"/>
                  </a:lnTo>
                  <a:lnTo>
                    <a:pt x="732" y="108"/>
                  </a:lnTo>
                  <a:lnTo>
                    <a:pt x="738" y="108"/>
                  </a:lnTo>
                  <a:lnTo>
                    <a:pt x="744" y="114"/>
                  </a:lnTo>
                  <a:lnTo>
                    <a:pt x="750" y="108"/>
                  </a:lnTo>
                  <a:lnTo>
                    <a:pt x="756" y="108"/>
                  </a:lnTo>
                  <a:lnTo>
                    <a:pt x="762" y="108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80" y="120"/>
                  </a:lnTo>
                  <a:lnTo>
                    <a:pt x="774" y="120"/>
                  </a:lnTo>
                  <a:lnTo>
                    <a:pt x="768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74" y="138"/>
                  </a:lnTo>
                  <a:lnTo>
                    <a:pt x="774" y="132"/>
                  </a:lnTo>
                  <a:lnTo>
                    <a:pt x="780" y="132"/>
                  </a:lnTo>
                  <a:lnTo>
                    <a:pt x="786" y="132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44"/>
                  </a:lnTo>
                  <a:lnTo>
                    <a:pt x="786" y="150"/>
                  </a:lnTo>
                  <a:lnTo>
                    <a:pt x="780" y="150"/>
                  </a:lnTo>
                  <a:lnTo>
                    <a:pt x="774" y="150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74" y="162"/>
                  </a:lnTo>
                  <a:lnTo>
                    <a:pt x="780" y="162"/>
                  </a:lnTo>
                  <a:lnTo>
                    <a:pt x="786" y="168"/>
                  </a:lnTo>
                  <a:lnTo>
                    <a:pt x="792" y="162"/>
                  </a:lnTo>
                  <a:lnTo>
                    <a:pt x="798" y="168"/>
                  </a:lnTo>
                  <a:lnTo>
                    <a:pt x="798" y="174"/>
                  </a:lnTo>
                  <a:lnTo>
                    <a:pt x="804" y="168"/>
                  </a:lnTo>
                  <a:lnTo>
                    <a:pt x="810" y="168"/>
                  </a:lnTo>
                  <a:lnTo>
                    <a:pt x="810" y="174"/>
                  </a:lnTo>
                  <a:lnTo>
                    <a:pt x="816" y="168"/>
                  </a:lnTo>
                  <a:lnTo>
                    <a:pt x="822" y="162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74"/>
                  </a:lnTo>
                  <a:lnTo>
                    <a:pt x="834" y="192"/>
                  </a:lnTo>
                  <a:lnTo>
                    <a:pt x="834" y="198"/>
                  </a:lnTo>
                  <a:lnTo>
                    <a:pt x="840" y="192"/>
                  </a:lnTo>
                  <a:lnTo>
                    <a:pt x="846" y="192"/>
                  </a:lnTo>
                  <a:lnTo>
                    <a:pt x="852" y="186"/>
                  </a:lnTo>
                  <a:lnTo>
                    <a:pt x="858" y="192"/>
                  </a:lnTo>
                  <a:lnTo>
                    <a:pt x="864" y="192"/>
                  </a:lnTo>
                  <a:lnTo>
                    <a:pt x="870" y="198"/>
                  </a:lnTo>
                  <a:lnTo>
                    <a:pt x="876" y="180"/>
                  </a:lnTo>
                  <a:lnTo>
                    <a:pt x="882" y="180"/>
                  </a:lnTo>
                  <a:lnTo>
                    <a:pt x="888" y="180"/>
                  </a:lnTo>
                  <a:lnTo>
                    <a:pt x="894" y="186"/>
                  </a:lnTo>
                  <a:lnTo>
                    <a:pt x="888" y="198"/>
                  </a:lnTo>
                  <a:lnTo>
                    <a:pt x="894" y="204"/>
                  </a:lnTo>
                  <a:lnTo>
                    <a:pt x="906" y="210"/>
                  </a:lnTo>
                  <a:lnTo>
                    <a:pt x="918" y="246"/>
                  </a:lnTo>
                  <a:lnTo>
                    <a:pt x="930" y="258"/>
                  </a:lnTo>
                  <a:lnTo>
                    <a:pt x="942" y="282"/>
                  </a:lnTo>
                  <a:lnTo>
                    <a:pt x="966" y="288"/>
                  </a:lnTo>
                  <a:lnTo>
                    <a:pt x="972" y="300"/>
                  </a:lnTo>
                  <a:lnTo>
                    <a:pt x="972" y="318"/>
                  </a:lnTo>
                  <a:lnTo>
                    <a:pt x="996" y="336"/>
                  </a:lnTo>
                  <a:lnTo>
                    <a:pt x="1050" y="390"/>
                  </a:lnTo>
                  <a:lnTo>
                    <a:pt x="1116" y="462"/>
                  </a:lnTo>
                  <a:lnTo>
                    <a:pt x="1122" y="468"/>
                  </a:lnTo>
                  <a:lnTo>
                    <a:pt x="1128" y="474"/>
                  </a:lnTo>
                  <a:lnTo>
                    <a:pt x="1140" y="474"/>
                  </a:lnTo>
                  <a:lnTo>
                    <a:pt x="1152" y="486"/>
                  </a:lnTo>
                  <a:lnTo>
                    <a:pt x="1152" y="492"/>
                  </a:lnTo>
                  <a:lnTo>
                    <a:pt x="1158" y="492"/>
                  </a:lnTo>
                  <a:lnTo>
                    <a:pt x="1164" y="492"/>
                  </a:lnTo>
                  <a:lnTo>
                    <a:pt x="1170" y="504"/>
                  </a:lnTo>
                  <a:lnTo>
                    <a:pt x="1176" y="504"/>
                  </a:lnTo>
                  <a:lnTo>
                    <a:pt x="1176" y="510"/>
                  </a:lnTo>
                  <a:lnTo>
                    <a:pt x="1200" y="516"/>
                  </a:lnTo>
                  <a:lnTo>
                    <a:pt x="1200" y="522"/>
                  </a:lnTo>
                  <a:lnTo>
                    <a:pt x="1212" y="534"/>
                  </a:lnTo>
                  <a:lnTo>
                    <a:pt x="1218" y="540"/>
                  </a:lnTo>
                  <a:lnTo>
                    <a:pt x="1224" y="552"/>
                  </a:lnTo>
                  <a:lnTo>
                    <a:pt x="1230" y="552"/>
                  </a:lnTo>
                  <a:lnTo>
                    <a:pt x="1242" y="552"/>
                  </a:lnTo>
                  <a:lnTo>
                    <a:pt x="1248" y="558"/>
                  </a:lnTo>
                  <a:lnTo>
                    <a:pt x="1254" y="558"/>
                  </a:lnTo>
                  <a:lnTo>
                    <a:pt x="1260" y="564"/>
                  </a:lnTo>
                  <a:lnTo>
                    <a:pt x="1266" y="564"/>
                  </a:lnTo>
                  <a:lnTo>
                    <a:pt x="1272" y="564"/>
                  </a:lnTo>
                  <a:lnTo>
                    <a:pt x="1284" y="564"/>
                  </a:lnTo>
                  <a:lnTo>
                    <a:pt x="1290" y="570"/>
                  </a:lnTo>
                  <a:lnTo>
                    <a:pt x="1296" y="576"/>
                  </a:lnTo>
                  <a:lnTo>
                    <a:pt x="1302" y="588"/>
                  </a:lnTo>
                  <a:lnTo>
                    <a:pt x="1296" y="594"/>
                  </a:lnTo>
                  <a:lnTo>
                    <a:pt x="1296" y="600"/>
                  </a:lnTo>
                  <a:lnTo>
                    <a:pt x="1296" y="606"/>
                  </a:lnTo>
                  <a:lnTo>
                    <a:pt x="1290" y="612"/>
                  </a:lnTo>
                  <a:lnTo>
                    <a:pt x="1290" y="624"/>
                  </a:lnTo>
                  <a:lnTo>
                    <a:pt x="1290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308" y="654"/>
                  </a:lnTo>
                  <a:lnTo>
                    <a:pt x="1320" y="654"/>
                  </a:lnTo>
                  <a:lnTo>
                    <a:pt x="1326" y="660"/>
                  </a:lnTo>
                  <a:lnTo>
                    <a:pt x="1338" y="654"/>
                  </a:lnTo>
                  <a:lnTo>
                    <a:pt x="1344" y="654"/>
                  </a:lnTo>
                  <a:lnTo>
                    <a:pt x="1356" y="654"/>
                  </a:lnTo>
                  <a:lnTo>
                    <a:pt x="1362" y="648"/>
                  </a:lnTo>
                  <a:lnTo>
                    <a:pt x="1368" y="642"/>
                  </a:lnTo>
                  <a:lnTo>
                    <a:pt x="1374" y="636"/>
                  </a:lnTo>
                  <a:lnTo>
                    <a:pt x="1380" y="636"/>
                  </a:lnTo>
                  <a:lnTo>
                    <a:pt x="1392" y="636"/>
                  </a:lnTo>
                  <a:lnTo>
                    <a:pt x="1398" y="636"/>
                  </a:lnTo>
                  <a:lnTo>
                    <a:pt x="1404" y="636"/>
                  </a:lnTo>
                  <a:lnTo>
                    <a:pt x="1410" y="630"/>
                  </a:lnTo>
                  <a:lnTo>
                    <a:pt x="1410" y="624"/>
                  </a:lnTo>
                  <a:lnTo>
                    <a:pt x="1422" y="618"/>
                  </a:lnTo>
                  <a:lnTo>
                    <a:pt x="1428" y="618"/>
                  </a:lnTo>
                  <a:lnTo>
                    <a:pt x="1440" y="612"/>
                  </a:lnTo>
                  <a:lnTo>
                    <a:pt x="1446" y="612"/>
                  </a:lnTo>
                  <a:lnTo>
                    <a:pt x="1458" y="612"/>
                  </a:lnTo>
                  <a:lnTo>
                    <a:pt x="1470" y="624"/>
                  </a:lnTo>
                  <a:lnTo>
                    <a:pt x="1488" y="642"/>
                  </a:lnTo>
                  <a:lnTo>
                    <a:pt x="1500" y="648"/>
                  </a:lnTo>
                  <a:lnTo>
                    <a:pt x="1512" y="654"/>
                  </a:lnTo>
                  <a:lnTo>
                    <a:pt x="1518" y="660"/>
                  </a:lnTo>
                  <a:lnTo>
                    <a:pt x="1524" y="660"/>
                  </a:lnTo>
                  <a:lnTo>
                    <a:pt x="1530" y="660"/>
                  </a:lnTo>
                  <a:lnTo>
                    <a:pt x="1536" y="666"/>
                  </a:lnTo>
                  <a:lnTo>
                    <a:pt x="1542" y="672"/>
                  </a:lnTo>
                  <a:lnTo>
                    <a:pt x="1548" y="672"/>
                  </a:lnTo>
                  <a:lnTo>
                    <a:pt x="1554" y="684"/>
                  </a:lnTo>
                  <a:lnTo>
                    <a:pt x="1554" y="690"/>
                  </a:lnTo>
                  <a:lnTo>
                    <a:pt x="1566" y="702"/>
                  </a:lnTo>
                  <a:lnTo>
                    <a:pt x="1572" y="720"/>
                  </a:lnTo>
                  <a:lnTo>
                    <a:pt x="1572" y="726"/>
                  </a:lnTo>
                  <a:lnTo>
                    <a:pt x="1578" y="732"/>
                  </a:lnTo>
                  <a:lnTo>
                    <a:pt x="1584" y="738"/>
                  </a:lnTo>
                  <a:lnTo>
                    <a:pt x="1590" y="738"/>
                  </a:lnTo>
                  <a:lnTo>
                    <a:pt x="1596" y="738"/>
                  </a:lnTo>
                  <a:lnTo>
                    <a:pt x="1602" y="744"/>
                  </a:lnTo>
                  <a:lnTo>
                    <a:pt x="1608" y="744"/>
                  </a:lnTo>
                  <a:lnTo>
                    <a:pt x="1614" y="744"/>
                  </a:lnTo>
                  <a:lnTo>
                    <a:pt x="1626" y="744"/>
                  </a:lnTo>
                  <a:lnTo>
                    <a:pt x="1638" y="744"/>
                  </a:lnTo>
                  <a:lnTo>
                    <a:pt x="1650" y="744"/>
                  </a:lnTo>
                  <a:lnTo>
                    <a:pt x="1662" y="744"/>
                  </a:lnTo>
                  <a:lnTo>
                    <a:pt x="1668" y="744"/>
                  </a:lnTo>
                  <a:lnTo>
                    <a:pt x="1674" y="744"/>
                  </a:lnTo>
                  <a:lnTo>
                    <a:pt x="1686" y="744"/>
                  </a:lnTo>
                  <a:lnTo>
                    <a:pt x="1698" y="750"/>
                  </a:lnTo>
                  <a:lnTo>
                    <a:pt x="1704" y="750"/>
                  </a:lnTo>
                  <a:lnTo>
                    <a:pt x="1716" y="756"/>
                  </a:lnTo>
                  <a:lnTo>
                    <a:pt x="1722" y="756"/>
                  </a:lnTo>
                  <a:lnTo>
                    <a:pt x="1728" y="756"/>
                  </a:lnTo>
                  <a:lnTo>
                    <a:pt x="1734" y="762"/>
                  </a:lnTo>
                  <a:lnTo>
                    <a:pt x="1740" y="768"/>
                  </a:lnTo>
                  <a:lnTo>
                    <a:pt x="1758" y="780"/>
                  </a:lnTo>
                  <a:lnTo>
                    <a:pt x="1770" y="780"/>
                  </a:lnTo>
                  <a:lnTo>
                    <a:pt x="1776" y="780"/>
                  </a:lnTo>
                  <a:lnTo>
                    <a:pt x="1782" y="780"/>
                  </a:lnTo>
                  <a:lnTo>
                    <a:pt x="1800" y="798"/>
                  </a:lnTo>
                  <a:lnTo>
                    <a:pt x="1818" y="810"/>
                  </a:lnTo>
                  <a:lnTo>
                    <a:pt x="1830" y="816"/>
                  </a:lnTo>
                  <a:lnTo>
                    <a:pt x="1836" y="822"/>
                  </a:lnTo>
                  <a:lnTo>
                    <a:pt x="1836" y="828"/>
                  </a:lnTo>
                  <a:lnTo>
                    <a:pt x="1842" y="828"/>
                  </a:lnTo>
                  <a:lnTo>
                    <a:pt x="1848" y="834"/>
                  </a:lnTo>
                  <a:lnTo>
                    <a:pt x="1854" y="840"/>
                  </a:lnTo>
                  <a:lnTo>
                    <a:pt x="1860" y="846"/>
                  </a:lnTo>
                  <a:lnTo>
                    <a:pt x="1872" y="852"/>
                  </a:lnTo>
                  <a:lnTo>
                    <a:pt x="1884" y="852"/>
                  </a:lnTo>
                  <a:lnTo>
                    <a:pt x="1896" y="852"/>
                  </a:lnTo>
                  <a:lnTo>
                    <a:pt x="1902" y="846"/>
                  </a:lnTo>
                  <a:lnTo>
                    <a:pt x="1908" y="852"/>
                  </a:lnTo>
                  <a:lnTo>
                    <a:pt x="1920" y="858"/>
                  </a:lnTo>
                  <a:lnTo>
                    <a:pt x="1926" y="870"/>
                  </a:lnTo>
                  <a:lnTo>
                    <a:pt x="1938" y="888"/>
                  </a:lnTo>
                  <a:lnTo>
                    <a:pt x="1944" y="900"/>
                  </a:lnTo>
                  <a:lnTo>
                    <a:pt x="1950" y="900"/>
                  </a:lnTo>
                  <a:lnTo>
                    <a:pt x="1962" y="906"/>
                  </a:lnTo>
                  <a:lnTo>
                    <a:pt x="1968" y="906"/>
                  </a:lnTo>
                  <a:lnTo>
                    <a:pt x="1980" y="906"/>
                  </a:lnTo>
                  <a:lnTo>
                    <a:pt x="1998" y="906"/>
                  </a:lnTo>
                  <a:lnTo>
                    <a:pt x="2010" y="900"/>
                  </a:lnTo>
                  <a:lnTo>
                    <a:pt x="2022" y="900"/>
                  </a:lnTo>
                  <a:lnTo>
                    <a:pt x="2028" y="900"/>
                  </a:lnTo>
                  <a:lnTo>
                    <a:pt x="2034" y="906"/>
                  </a:lnTo>
                  <a:lnTo>
                    <a:pt x="2046" y="906"/>
                  </a:lnTo>
                  <a:lnTo>
                    <a:pt x="2052" y="900"/>
                  </a:lnTo>
                  <a:lnTo>
                    <a:pt x="2058" y="900"/>
                  </a:lnTo>
                  <a:lnTo>
                    <a:pt x="2064" y="900"/>
                  </a:lnTo>
                  <a:lnTo>
                    <a:pt x="2070" y="900"/>
                  </a:lnTo>
                  <a:lnTo>
                    <a:pt x="2076" y="900"/>
                  </a:lnTo>
                  <a:lnTo>
                    <a:pt x="2076" y="906"/>
                  </a:lnTo>
                  <a:lnTo>
                    <a:pt x="2088" y="906"/>
                  </a:lnTo>
                  <a:lnTo>
                    <a:pt x="2106" y="900"/>
                  </a:lnTo>
                  <a:lnTo>
                    <a:pt x="2118" y="900"/>
                  </a:lnTo>
                  <a:lnTo>
                    <a:pt x="2130" y="900"/>
                  </a:lnTo>
                  <a:lnTo>
                    <a:pt x="2142" y="900"/>
                  </a:lnTo>
                  <a:lnTo>
                    <a:pt x="2148" y="906"/>
                  </a:lnTo>
                  <a:lnTo>
                    <a:pt x="2154" y="906"/>
                  </a:lnTo>
                  <a:lnTo>
                    <a:pt x="2160" y="906"/>
                  </a:lnTo>
                  <a:lnTo>
                    <a:pt x="2166" y="906"/>
                  </a:lnTo>
                  <a:lnTo>
                    <a:pt x="2178" y="918"/>
                  </a:lnTo>
                  <a:lnTo>
                    <a:pt x="2178" y="924"/>
                  </a:lnTo>
                  <a:lnTo>
                    <a:pt x="2184" y="924"/>
                  </a:lnTo>
                  <a:lnTo>
                    <a:pt x="2190" y="924"/>
                  </a:lnTo>
                  <a:lnTo>
                    <a:pt x="2196" y="924"/>
                  </a:lnTo>
                  <a:lnTo>
                    <a:pt x="2202" y="918"/>
                  </a:lnTo>
                  <a:lnTo>
                    <a:pt x="2208" y="918"/>
                  </a:lnTo>
                  <a:lnTo>
                    <a:pt x="2214" y="918"/>
                  </a:lnTo>
                  <a:lnTo>
                    <a:pt x="2226" y="918"/>
                  </a:lnTo>
                  <a:lnTo>
                    <a:pt x="2220" y="948"/>
                  </a:lnTo>
                  <a:lnTo>
                    <a:pt x="2214" y="972"/>
                  </a:lnTo>
                  <a:lnTo>
                    <a:pt x="2214" y="984"/>
                  </a:lnTo>
                  <a:lnTo>
                    <a:pt x="2208" y="990"/>
                  </a:lnTo>
                  <a:lnTo>
                    <a:pt x="2208" y="996"/>
                  </a:lnTo>
                  <a:lnTo>
                    <a:pt x="2202" y="996"/>
                  </a:lnTo>
                  <a:lnTo>
                    <a:pt x="2196" y="996"/>
                  </a:lnTo>
                  <a:lnTo>
                    <a:pt x="2190" y="1008"/>
                  </a:lnTo>
                  <a:lnTo>
                    <a:pt x="2172" y="1074"/>
                  </a:lnTo>
                  <a:lnTo>
                    <a:pt x="2166" y="1092"/>
                  </a:lnTo>
                  <a:lnTo>
                    <a:pt x="2172" y="1110"/>
                  </a:lnTo>
                  <a:lnTo>
                    <a:pt x="2172" y="1122"/>
                  </a:lnTo>
                  <a:lnTo>
                    <a:pt x="2166" y="1134"/>
                  </a:lnTo>
                  <a:lnTo>
                    <a:pt x="2148" y="1140"/>
                  </a:lnTo>
                  <a:lnTo>
                    <a:pt x="2148" y="1134"/>
                  </a:lnTo>
                  <a:lnTo>
                    <a:pt x="2118" y="1140"/>
                  </a:lnTo>
                  <a:lnTo>
                    <a:pt x="2088" y="1134"/>
                  </a:lnTo>
                  <a:lnTo>
                    <a:pt x="2064" y="1122"/>
                  </a:lnTo>
                  <a:lnTo>
                    <a:pt x="2034" y="1122"/>
                  </a:lnTo>
                  <a:lnTo>
                    <a:pt x="2022" y="1128"/>
                  </a:lnTo>
                  <a:lnTo>
                    <a:pt x="1986" y="1128"/>
                  </a:lnTo>
                  <a:lnTo>
                    <a:pt x="1938" y="1122"/>
                  </a:lnTo>
                  <a:lnTo>
                    <a:pt x="1932" y="1116"/>
                  </a:lnTo>
                  <a:lnTo>
                    <a:pt x="1896" y="1110"/>
                  </a:lnTo>
                  <a:lnTo>
                    <a:pt x="1878" y="1104"/>
                  </a:lnTo>
                  <a:lnTo>
                    <a:pt x="1866" y="1098"/>
                  </a:lnTo>
                  <a:lnTo>
                    <a:pt x="1860" y="1098"/>
                  </a:lnTo>
                  <a:lnTo>
                    <a:pt x="1854" y="1092"/>
                  </a:lnTo>
                  <a:lnTo>
                    <a:pt x="1860" y="1092"/>
                  </a:lnTo>
                  <a:lnTo>
                    <a:pt x="1860" y="1086"/>
                  </a:lnTo>
                  <a:lnTo>
                    <a:pt x="1854" y="1086"/>
                  </a:lnTo>
                  <a:lnTo>
                    <a:pt x="1842" y="1080"/>
                  </a:lnTo>
                  <a:lnTo>
                    <a:pt x="1818" y="1062"/>
                  </a:lnTo>
                  <a:lnTo>
                    <a:pt x="1782" y="1056"/>
                  </a:lnTo>
                  <a:lnTo>
                    <a:pt x="1770" y="1068"/>
                  </a:lnTo>
                  <a:lnTo>
                    <a:pt x="1746" y="1098"/>
                  </a:lnTo>
                  <a:lnTo>
                    <a:pt x="1722" y="1104"/>
                  </a:lnTo>
                  <a:lnTo>
                    <a:pt x="1710" y="1122"/>
                  </a:lnTo>
                  <a:lnTo>
                    <a:pt x="1710" y="1128"/>
                  </a:lnTo>
                  <a:lnTo>
                    <a:pt x="1710" y="1140"/>
                  </a:lnTo>
                  <a:lnTo>
                    <a:pt x="1698" y="1146"/>
                  </a:lnTo>
                  <a:lnTo>
                    <a:pt x="1686" y="1152"/>
                  </a:lnTo>
                  <a:lnTo>
                    <a:pt x="1680" y="1164"/>
                  </a:lnTo>
                  <a:lnTo>
                    <a:pt x="1680" y="1170"/>
                  </a:lnTo>
                  <a:lnTo>
                    <a:pt x="1686" y="1170"/>
                  </a:lnTo>
                  <a:lnTo>
                    <a:pt x="1686" y="1176"/>
                  </a:lnTo>
                  <a:lnTo>
                    <a:pt x="1698" y="1188"/>
                  </a:lnTo>
                  <a:lnTo>
                    <a:pt x="1704" y="1188"/>
                  </a:lnTo>
                  <a:lnTo>
                    <a:pt x="1698" y="1194"/>
                  </a:lnTo>
                  <a:lnTo>
                    <a:pt x="1704" y="1194"/>
                  </a:lnTo>
                  <a:lnTo>
                    <a:pt x="1704" y="1200"/>
                  </a:lnTo>
                  <a:lnTo>
                    <a:pt x="1704" y="1206"/>
                  </a:lnTo>
                  <a:lnTo>
                    <a:pt x="1704" y="1212"/>
                  </a:lnTo>
                  <a:lnTo>
                    <a:pt x="1704" y="1218"/>
                  </a:lnTo>
                  <a:lnTo>
                    <a:pt x="1710" y="1218"/>
                  </a:lnTo>
                  <a:lnTo>
                    <a:pt x="1710" y="1212"/>
                  </a:lnTo>
                  <a:lnTo>
                    <a:pt x="1716" y="1212"/>
                  </a:lnTo>
                  <a:lnTo>
                    <a:pt x="1716" y="1218"/>
                  </a:lnTo>
                  <a:lnTo>
                    <a:pt x="1716" y="1224"/>
                  </a:lnTo>
                  <a:lnTo>
                    <a:pt x="1716" y="1230"/>
                  </a:lnTo>
                  <a:lnTo>
                    <a:pt x="1722" y="1236"/>
                  </a:lnTo>
                  <a:lnTo>
                    <a:pt x="1740" y="1230"/>
                  </a:lnTo>
                  <a:lnTo>
                    <a:pt x="1734" y="1236"/>
                  </a:lnTo>
                  <a:lnTo>
                    <a:pt x="1734" y="1242"/>
                  </a:lnTo>
                  <a:lnTo>
                    <a:pt x="1734" y="1248"/>
                  </a:lnTo>
                  <a:lnTo>
                    <a:pt x="1734" y="1254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52" y="1266"/>
                  </a:lnTo>
                  <a:lnTo>
                    <a:pt x="1764" y="1266"/>
                  </a:lnTo>
                  <a:lnTo>
                    <a:pt x="1788" y="1260"/>
                  </a:lnTo>
                  <a:lnTo>
                    <a:pt x="1800" y="1260"/>
                  </a:lnTo>
                  <a:lnTo>
                    <a:pt x="1806" y="1272"/>
                  </a:lnTo>
                  <a:lnTo>
                    <a:pt x="1806" y="1296"/>
                  </a:lnTo>
                  <a:lnTo>
                    <a:pt x="1800" y="1308"/>
                  </a:lnTo>
                  <a:lnTo>
                    <a:pt x="1788" y="1308"/>
                  </a:lnTo>
                  <a:lnTo>
                    <a:pt x="1782" y="13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7" name="Freeform 32">
              <a:extLst>
                <a:ext uri="{FF2B5EF4-FFF2-40B4-BE49-F238E27FC236}">
                  <a16:creationId xmlns:a16="http://schemas.microsoft.com/office/drawing/2014/main" id="{1EF84438-BF7A-47D2-9156-E231EA2A279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3295" y="2316568"/>
              <a:ext cx="1290281" cy="1084704"/>
            </a:xfrm>
            <a:custGeom>
              <a:avLst/>
              <a:gdLst>
                <a:gd name="T0" fmla="*/ 177 w 2430"/>
                <a:gd name="T1" fmla="*/ 169 h 2040"/>
                <a:gd name="T2" fmla="*/ 174 w 2430"/>
                <a:gd name="T3" fmla="*/ 173 h 2040"/>
                <a:gd name="T4" fmla="*/ 169 w 2430"/>
                <a:gd name="T5" fmla="*/ 171 h 2040"/>
                <a:gd name="T6" fmla="*/ 160 w 2430"/>
                <a:gd name="T7" fmla="*/ 163 h 2040"/>
                <a:gd name="T8" fmla="*/ 154 w 2430"/>
                <a:gd name="T9" fmla="*/ 149 h 2040"/>
                <a:gd name="T10" fmla="*/ 144 w 2430"/>
                <a:gd name="T11" fmla="*/ 147 h 2040"/>
                <a:gd name="T12" fmla="*/ 133 w 2430"/>
                <a:gd name="T13" fmla="*/ 146 h 2040"/>
                <a:gd name="T14" fmla="*/ 121 w 2430"/>
                <a:gd name="T15" fmla="*/ 145 h 2040"/>
                <a:gd name="T16" fmla="*/ 110 w 2430"/>
                <a:gd name="T17" fmla="*/ 137 h 2040"/>
                <a:gd name="T18" fmla="*/ 97 w 2430"/>
                <a:gd name="T19" fmla="*/ 131 h 2040"/>
                <a:gd name="T20" fmla="*/ 87 w 2430"/>
                <a:gd name="T21" fmla="*/ 125 h 2040"/>
                <a:gd name="T22" fmla="*/ 75 w 2430"/>
                <a:gd name="T23" fmla="*/ 122 h 2040"/>
                <a:gd name="T24" fmla="*/ 65 w 2430"/>
                <a:gd name="T25" fmla="*/ 122 h 2040"/>
                <a:gd name="T26" fmla="*/ 59 w 2430"/>
                <a:gd name="T27" fmla="*/ 115 h 2040"/>
                <a:gd name="T28" fmla="*/ 50 w 2430"/>
                <a:gd name="T29" fmla="*/ 107 h 2040"/>
                <a:gd name="T30" fmla="*/ 28 w 2430"/>
                <a:gd name="T31" fmla="*/ 84 h 2040"/>
                <a:gd name="T32" fmla="*/ 22 w 2430"/>
                <a:gd name="T33" fmla="*/ 82 h 2040"/>
                <a:gd name="T34" fmla="*/ 20 w 2430"/>
                <a:gd name="T35" fmla="*/ 79 h 2040"/>
                <a:gd name="T36" fmla="*/ 16 w 2430"/>
                <a:gd name="T37" fmla="*/ 76 h 2040"/>
                <a:gd name="T38" fmla="*/ 11 w 2430"/>
                <a:gd name="T39" fmla="*/ 74 h 2040"/>
                <a:gd name="T40" fmla="*/ 7 w 2430"/>
                <a:gd name="T41" fmla="*/ 69 h 2040"/>
                <a:gd name="T42" fmla="*/ 0 w 2430"/>
                <a:gd name="T43" fmla="*/ 60 h 2040"/>
                <a:gd name="T44" fmla="*/ 10 w 2430"/>
                <a:gd name="T45" fmla="*/ 53 h 2040"/>
                <a:gd name="T46" fmla="*/ 15 w 2430"/>
                <a:gd name="T47" fmla="*/ 40 h 2040"/>
                <a:gd name="T48" fmla="*/ 9 w 2430"/>
                <a:gd name="T49" fmla="*/ 29 h 2040"/>
                <a:gd name="T50" fmla="*/ 7 w 2430"/>
                <a:gd name="T51" fmla="*/ 16 h 2040"/>
                <a:gd name="T52" fmla="*/ 18 w 2430"/>
                <a:gd name="T53" fmla="*/ 21 h 2040"/>
                <a:gd name="T54" fmla="*/ 48 w 2430"/>
                <a:gd name="T55" fmla="*/ 27 h 2040"/>
                <a:gd name="T56" fmla="*/ 62 w 2430"/>
                <a:gd name="T57" fmla="*/ 25 h 2040"/>
                <a:gd name="T58" fmla="*/ 59 w 2430"/>
                <a:gd name="T59" fmla="*/ 42 h 2040"/>
                <a:gd name="T60" fmla="*/ 54 w 2430"/>
                <a:gd name="T61" fmla="*/ 65 h 2040"/>
                <a:gd name="T62" fmla="*/ 65 w 2430"/>
                <a:gd name="T63" fmla="*/ 60 h 2040"/>
                <a:gd name="T64" fmla="*/ 68 w 2430"/>
                <a:gd name="T65" fmla="*/ 40 h 2040"/>
                <a:gd name="T66" fmla="*/ 75 w 2430"/>
                <a:gd name="T67" fmla="*/ 36 h 2040"/>
                <a:gd name="T68" fmla="*/ 83 w 2430"/>
                <a:gd name="T69" fmla="*/ 29 h 2040"/>
                <a:gd name="T70" fmla="*/ 81 w 2430"/>
                <a:gd name="T71" fmla="*/ 17 h 2040"/>
                <a:gd name="T72" fmla="*/ 66 w 2430"/>
                <a:gd name="T73" fmla="*/ 7 h 2040"/>
                <a:gd name="T74" fmla="*/ 80 w 2430"/>
                <a:gd name="T75" fmla="*/ 5 h 2040"/>
                <a:gd name="T76" fmla="*/ 89 w 2430"/>
                <a:gd name="T77" fmla="*/ 1 h 2040"/>
                <a:gd name="T78" fmla="*/ 101 w 2430"/>
                <a:gd name="T79" fmla="*/ 10 h 2040"/>
                <a:gd name="T80" fmla="*/ 103 w 2430"/>
                <a:gd name="T81" fmla="*/ 18 h 2040"/>
                <a:gd name="T82" fmla="*/ 110 w 2430"/>
                <a:gd name="T83" fmla="*/ 23 h 2040"/>
                <a:gd name="T84" fmla="*/ 121 w 2430"/>
                <a:gd name="T85" fmla="*/ 20 h 2040"/>
                <a:gd name="T86" fmla="*/ 129 w 2430"/>
                <a:gd name="T87" fmla="*/ 15 h 2040"/>
                <a:gd name="T88" fmla="*/ 142 w 2430"/>
                <a:gd name="T89" fmla="*/ 23 h 2040"/>
                <a:gd name="T90" fmla="*/ 141 w 2430"/>
                <a:gd name="T91" fmla="*/ 30 h 2040"/>
                <a:gd name="T92" fmla="*/ 140 w 2430"/>
                <a:gd name="T93" fmla="*/ 38 h 2040"/>
                <a:gd name="T94" fmla="*/ 139 w 2430"/>
                <a:gd name="T95" fmla="*/ 46 h 2040"/>
                <a:gd name="T96" fmla="*/ 147 w 2430"/>
                <a:gd name="T97" fmla="*/ 54 h 2040"/>
                <a:gd name="T98" fmla="*/ 152 w 2430"/>
                <a:gd name="T99" fmla="*/ 50 h 2040"/>
                <a:gd name="T100" fmla="*/ 159 w 2430"/>
                <a:gd name="T101" fmla="*/ 43 h 2040"/>
                <a:gd name="T102" fmla="*/ 174 w 2430"/>
                <a:gd name="T103" fmla="*/ 41 h 2040"/>
                <a:gd name="T104" fmla="*/ 190 w 2430"/>
                <a:gd name="T105" fmla="*/ 57 h 2040"/>
                <a:gd name="T106" fmla="*/ 187 w 2430"/>
                <a:gd name="T107" fmla="*/ 66 h 2040"/>
                <a:gd name="T108" fmla="*/ 183 w 2430"/>
                <a:gd name="T109" fmla="*/ 72 h 2040"/>
                <a:gd name="T110" fmla="*/ 194 w 2430"/>
                <a:gd name="T111" fmla="*/ 73 h 2040"/>
                <a:gd name="T112" fmla="*/ 202 w 2430"/>
                <a:gd name="T113" fmla="*/ 74 h 2040"/>
                <a:gd name="T114" fmla="*/ 204 w 2430"/>
                <a:gd name="T115" fmla="*/ 89 h 2040"/>
                <a:gd name="T116" fmla="*/ 208 w 2430"/>
                <a:gd name="T117" fmla="*/ 99 h 2040"/>
                <a:gd name="T118" fmla="*/ 203 w 2430"/>
                <a:gd name="T119" fmla="*/ 103 h 2040"/>
                <a:gd name="T120" fmla="*/ 209 w 2430"/>
                <a:gd name="T121" fmla="*/ 111 h 2040"/>
                <a:gd name="T122" fmla="*/ 204 w 2430"/>
                <a:gd name="T123" fmla="*/ 124 h 2040"/>
                <a:gd name="T124" fmla="*/ 190 w 2430"/>
                <a:gd name="T125" fmla="*/ 117 h 20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30"/>
                <a:gd name="T190" fmla="*/ 0 h 2040"/>
                <a:gd name="T191" fmla="*/ 2430 w 2430"/>
                <a:gd name="T192" fmla="*/ 2040 h 20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30" h="2040">
                  <a:moveTo>
                    <a:pt x="2076" y="1896"/>
                  </a:moveTo>
                  <a:lnTo>
                    <a:pt x="2070" y="1896"/>
                  </a:lnTo>
                  <a:lnTo>
                    <a:pt x="2070" y="1902"/>
                  </a:lnTo>
                  <a:lnTo>
                    <a:pt x="2076" y="1902"/>
                  </a:lnTo>
                  <a:lnTo>
                    <a:pt x="2082" y="1902"/>
                  </a:lnTo>
                  <a:lnTo>
                    <a:pt x="2082" y="1908"/>
                  </a:lnTo>
                  <a:lnTo>
                    <a:pt x="2076" y="1908"/>
                  </a:lnTo>
                  <a:lnTo>
                    <a:pt x="2076" y="1914"/>
                  </a:lnTo>
                  <a:lnTo>
                    <a:pt x="2070" y="1920"/>
                  </a:lnTo>
                  <a:lnTo>
                    <a:pt x="2064" y="1932"/>
                  </a:lnTo>
                  <a:lnTo>
                    <a:pt x="2064" y="1938"/>
                  </a:lnTo>
                  <a:lnTo>
                    <a:pt x="2058" y="1938"/>
                  </a:lnTo>
                  <a:lnTo>
                    <a:pt x="2052" y="1944"/>
                  </a:lnTo>
                  <a:lnTo>
                    <a:pt x="2052" y="1950"/>
                  </a:lnTo>
                  <a:lnTo>
                    <a:pt x="2040" y="1944"/>
                  </a:lnTo>
                  <a:lnTo>
                    <a:pt x="2040" y="1950"/>
                  </a:lnTo>
                  <a:lnTo>
                    <a:pt x="2034" y="1956"/>
                  </a:lnTo>
                  <a:lnTo>
                    <a:pt x="2034" y="1962"/>
                  </a:lnTo>
                  <a:lnTo>
                    <a:pt x="2028" y="1962"/>
                  </a:lnTo>
                  <a:lnTo>
                    <a:pt x="2022" y="1962"/>
                  </a:lnTo>
                  <a:lnTo>
                    <a:pt x="2022" y="1968"/>
                  </a:lnTo>
                  <a:lnTo>
                    <a:pt x="2028" y="1974"/>
                  </a:lnTo>
                  <a:lnTo>
                    <a:pt x="2034" y="1980"/>
                  </a:lnTo>
                  <a:lnTo>
                    <a:pt x="2028" y="1986"/>
                  </a:lnTo>
                  <a:lnTo>
                    <a:pt x="2022" y="1992"/>
                  </a:lnTo>
                  <a:lnTo>
                    <a:pt x="2022" y="1986"/>
                  </a:lnTo>
                  <a:lnTo>
                    <a:pt x="2016" y="1986"/>
                  </a:lnTo>
                  <a:lnTo>
                    <a:pt x="2010" y="1980"/>
                  </a:lnTo>
                  <a:lnTo>
                    <a:pt x="2004" y="1980"/>
                  </a:lnTo>
                  <a:lnTo>
                    <a:pt x="2004" y="1986"/>
                  </a:lnTo>
                  <a:lnTo>
                    <a:pt x="2010" y="1992"/>
                  </a:lnTo>
                  <a:lnTo>
                    <a:pt x="2010" y="1998"/>
                  </a:lnTo>
                  <a:lnTo>
                    <a:pt x="2004" y="2004"/>
                  </a:lnTo>
                  <a:lnTo>
                    <a:pt x="1998" y="2004"/>
                  </a:lnTo>
                  <a:lnTo>
                    <a:pt x="1998" y="2022"/>
                  </a:lnTo>
                  <a:lnTo>
                    <a:pt x="1998" y="2028"/>
                  </a:lnTo>
                  <a:lnTo>
                    <a:pt x="1992" y="2034"/>
                  </a:lnTo>
                  <a:lnTo>
                    <a:pt x="1992" y="2040"/>
                  </a:lnTo>
                  <a:lnTo>
                    <a:pt x="1986" y="2040"/>
                  </a:lnTo>
                  <a:lnTo>
                    <a:pt x="1986" y="2034"/>
                  </a:lnTo>
                  <a:lnTo>
                    <a:pt x="1980" y="2028"/>
                  </a:lnTo>
                  <a:lnTo>
                    <a:pt x="1980" y="2022"/>
                  </a:lnTo>
                  <a:lnTo>
                    <a:pt x="1968" y="2016"/>
                  </a:lnTo>
                  <a:lnTo>
                    <a:pt x="1962" y="2010"/>
                  </a:lnTo>
                  <a:lnTo>
                    <a:pt x="1956" y="2004"/>
                  </a:lnTo>
                  <a:lnTo>
                    <a:pt x="1950" y="1992"/>
                  </a:lnTo>
                  <a:lnTo>
                    <a:pt x="1950" y="1986"/>
                  </a:lnTo>
                  <a:lnTo>
                    <a:pt x="1950" y="1974"/>
                  </a:lnTo>
                  <a:lnTo>
                    <a:pt x="1944" y="1974"/>
                  </a:lnTo>
                  <a:lnTo>
                    <a:pt x="1932" y="1962"/>
                  </a:lnTo>
                  <a:lnTo>
                    <a:pt x="1932" y="1956"/>
                  </a:lnTo>
                  <a:lnTo>
                    <a:pt x="1932" y="1950"/>
                  </a:lnTo>
                  <a:lnTo>
                    <a:pt x="1920" y="1944"/>
                  </a:lnTo>
                  <a:lnTo>
                    <a:pt x="1914" y="1944"/>
                  </a:lnTo>
                  <a:lnTo>
                    <a:pt x="1908" y="1938"/>
                  </a:lnTo>
                  <a:lnTo>
                    <a:pt x="1902" y="1926"/>
                  </a:lnTo>
                  <a:lnTo>
                    <a:pt x="1890" y="1914"/>
                  </a:lnTo>
                  <a:lnTo>
                    <a:pt x="1884" y="1914"/>
                  </a:lnTo>
                  <a:lnTo>
                    <a:pt x="1878" y="1908"/>
                  </a:lnTo>
                  <a:lnTo>
                    <a:pt x="1872" y="1902"/>
                  </a:lnTo>
                  <a:lnTo>
                    <a:pt x="1872" y="1896"/>
                  </a:lnTo>
                  <a:lnTo>
                    <a:pt x="1866" y="1890"/>
                  </a:lnTo>
                  <a:lnTo>
                    <a:pt x="1854" y="1884"/>
                  </a:lnTo>
                  <a:lnTo>
                    <a:pt x="1848" y="1884"/>
                  </a:lnTo>
                  <a:lnTo>
                    <a:pt x="1842" y="1872"/>
                  </a:lnTo>
                  <a:lnTo>
                    <a:pt x="1836" y="1872"/>
                  </a:lnTo>
                  <a:lnTo>
                    <a:pt x="1830" y="1866"/>
                  </a:lnTo>
                  <a:lnTo>
                    <a:pt x="1830" y="1854"/>
                  </a:lnTo>
                  <a:lnTo>
                    <a:pt x="1824" y="1848"/>
                  </a:lnTo>
                  <a:lnTo>
                    <a:pt x="1818" y="1830"/>
                  </a:lnTo>
                  <a:lnTo>
                    <a:pt x="1818" y="1818"/>
                  </a:lnTo>
                  <a:lnTo>
                    <a:pt x="1812" y="1800"/>
                  </a:lnTo>
                  <a:lnTo>
                    <a:pt x="1812" y="1788"/>
                  </a:lnTo>
                  <a:lnTo>
                    <a:pt x="1806" y="1776"/>
                  </a:lnTo>
                  <a:lnTo>
                    <a:pt x="1800" y="1764"/>
                  </a:lnTo>
                  <a:lnTo>
                    <a:pt x="1794" y="1758"/>
                  </a:lnTo>
                  <a:lnTo>
                    <a:pt x="1782" y="1740"/>
                  </a:lnTo>
                  <a:lnTo>
                    <a:pt x="1776" y="1728"/>
                  </a:lnTo>
                  <a:lnTo>
                    <a:pt x="1776" y="1722"/>
                  </a:lnTo>
                  <a:lnTo>
                    <a:pt x="1770" y="1722"/>
                  </a:lnTo>
                  <a:lnTo>
                    <a:pt x="1770" y="1716"/>
                  </a:lnTo>
                  <a:lnTo>
                    <a:pt x="1764" y="1716"/>
                  </a:lnTo>
                  <a:lnTo>
                    <a:pt x="1758" y="1710"/>
                  </a:lnTo>
                  <a:lnTo>
                    <a:pt x="1752" y="1704"/>
                  </a:lnTo>
                  <a:lnTo>
                    <a:pt x="1746" y="1704"/>
                  </a:lnTo>
                  <a:lnTo>
                    <a:pt x="1740" y="1704"/>
                  </a:lnTo>
                  <a:lnTo>
                    <a:pt x="1734" y="1704"/>
                  </a:lnTo>
                  <a:lnTo>
                    <a:pt x="1734" y="1698"/>
                  </a:lnTo>
                  <a:lnTo>
                    <a:pt x="1728" y="1692"/>
                  </a:lnTo>
                  <a:lnTo>
                    <a:pt x="1722" y="1686"/>
                  </a:lnTo>
                  <a:lnTo>
                    <a:pt x="1716" y="1686"/>
                  </a:lnTo>
                  <a:lnTo>
                    <a:pt x="1698" y="1686"/>
                  </a:lnTo>
                  <a:lnTo>
                    <a:pt x="1692" y="1692"/>
                  </a:lnTo>
                  <a:lnTo>
                    <a:pt x="1680" y="1692"/>
                  </a:lnTo>
                  <a:lnTo>
                    <a:pt x="1668" y="1692"/>
                  </a:lnTo>
                  <a:lnTo>
                    <a:pt x="1662" y="1692"/>
                  </a:lnTo>
                  <a:lnTo>
                    <a:pt x="1656" y="1692"/>
                  </a:lnTo>
                  <a:lnTo>
                    <a:pt x="1650" y="1698"/>
                  </a:lnTo>
                  <a:lnTo>
                    <a:pt x="1644" y="1698"/>
                  </a:lnTo>
                  <a:lnTo>
                    <a:pt x="1638" y="1698"/>
                  </a:lnTo>
                  <a:lnTo>
                    <a:pt x="1632" y="1698"/>
                  </a:lnTo>
                  <a:lnTo>
                    <a:pt x="1632" y="1692"/>
                  </a:lnTo>
                  <a:lnTo>
                    <a:pt x="1620" y="1680"/>
                  </a:lnTo>
                  <a:lnTo>
                    <a:pt x="1614" y="1680"/>
                  </a:lnTo>
                  <a:lnTo>
                    <a:pt x="1608" y="1680"/>
                  </a:lnTo>
                  <a:lnTo>
                    <a:pt x="1602" y="1680"/>
                  </a:lnTo>
                  <a:lnTo>
                    <a:pt x="1596" y="1674"/>
                  </a:lnTo>
                  <a:lnTo>
                    <a:pt x="1584" y="1674"/>
                  </a:lnTo>
                  <a:lnTo>
                    <a:pt x="1572" y="1674"/>
                  </a:lnTo>
                  <a:lnTo>
                    <a:pt x="1560" y="1674"/>
                  </a:lnTo>
                  <a:lnTo>
                    <a:pt x="1542" y="1680"/>
                  </a:lnTo>
                  <a:lnTo>
                    <a:pt x="1530" y="1680"/>
                  </a:lnTo>
                  <a:lnTo>
                    <a:pt x="1530" y="1674"/>
                  </a:lnTo>
                  <a:lnTo>
                    <a:pt x="1524" y="1674"/>
                  </a:lnTo>
                  <a:lnTo>
                    <a:pt x="1518" y="1674"/>
                  </a:lnTo>
                  <a:lnTo>
                    <a:pt x="1512" y="1674"/>
                  </a:lnTo>
                  <a:lnTo>
                    <a:pt x="1506" y="1674"/>
                  </a:lnTo>
                  <a:lnTo>
                    <a:pt x="1500" y="1680"/>
                  </a:lnTo>
                  <a:lnTo>
                    <a:pt x="1488" y="1680"/>
                  </a:lnTo>
                  <a:lnTo>
                    <a:pt x="1482" y="1674"/>
                  </a:lnTo>
                  <a:lnTo>
                    <a:pt x="1476" y="1674"/>
                  </a:lnTo>
                  <a:lnTo>
                    <a:pt x="1464" y="1674"/>
                  </a:lnTo>
                  <a:lnTo>
                    <a:pt x="1452" y="1680"/>
                  </a:lnTo>
                  <a:lnTo>
                    <a:pt x="1434" y="1680"/>
                  </a:lnTo>
                  <a:lnTo>
                    <a:pt x="1422" y="1680"/>
                  </a:lnTo>
                  <a:lnTo>
                    <a:pt x="1416" y="1680"/>
                  </a:lnTo>
                  <a:lnTo>
                    <a:pt x="1404" y="1674"/>
                  </a:lnTo>
                  <a:lnTo>
                    <a:pt x="1398" y="1674"/>
                  </a:lnTo>
                  <a:lnTo>
                    <a:pt x="1392" y="1662"/>
                  </a:lnTo>
                  <a:lnTo>
                    <a:pt x="1380" y="1644"/>
                  </a:lnTo>
                  <a:lnTo>
                    <a:pt x="1374" y="1632"/>
                  </a:lnTo>
                  <a:lnTo>
                    <a:pt x="1362" y="1626"/>
                  </a:lnTo>
                  <a:lnTo>
                    <a:pt x="1356" y="1620"/>
                  </a:lnTo>
                  <a:lnTo>
                    <a:pt x="1350" y="1626"/>
                  </a:lnTo>
                  <a:lnTo>
                    <a:pt x="1338" y="1626"/>
                  </a:lnTo>
                  <a:lnTo>
                    <a:pt x="1326" y="1626"/>
                  </a:lnTo>
                  <a:lnTo>
                    <a:pt x="1314" y="1620"/>
                  </a:lnTo>
                  <a:lnTo>
                    <a:pt x="1308" y="1614"/>
                  </a:lnTo>
                  <a:lnTo>
                    <a:pt x="1302" y="1608"/>
                  </a:lnTo>
                  <a:lnTo>
                    <a:pt x="1296" y="1602"/>
                  </a:lnTo>
                  <a:lnTo>
                    <a:pt x="1290" y="1602"/>
                  </a:lnTo>
                  <a:lnTo>
                    <a:pt x="1290" y="1596"/>
                  </a:lnTo>
                  <a:lnTo>
                    <a:pt x="1284" y="1590"/>
                  </a:lnTo>
                  <a:lnTo>
                    <a:pt x="1272" y="1584"/>
                  </a:lnTo>
                  <a:lnTo>
                    <a:pt x="1254" y="1572"/>
                  </a:lnTo>
                  <a:lnTo>
                    <a:pt x="1236" y="1554"/>
                  </a:lnTo>
                  <a:lnTo>
                    <a:pt x="1230" y="1554"/>
                  </a:lnTo>
                  <a:lnTo>
                    <a:pt x="1224" y="1554"/>
                  </a:lnTo>
                  <a:lnTo>
                    <a:pt x="1212" y="1554"/>
                  </a:lnTo>
                  <a:lnTo>
                    <a:pt x="1194" y="1542"/>
                  </a:lnTo>
                  <a:lnTo>
                    <a:pt x="1188" y="1536"/>
                  </a:lnTo>
                  <a:lnTo>
                    <a:pt x="1182" y="1530"/>
                  </a:lnTo>
                  <a:lnTo>
                    <a:pt x="1176" y="1530"/>
                  </a:lnTo>
                  <a:lnTo>
                    <a:pt x="1170" y="1530"/>
                  </a:lnTo>
                  <a:lnTo>
                    <a:pt x="1158" y="1524"/>
                  </a:lnTo>
                  <a:lnTo>
                    <a:pt x="1152" y="1524"/>
                  </a:lnTo>
                  <a:lnTo>
                    <a:pt x="1140" y="1518"/>
                  </a:lnTo>
                  <a:lnTo>
                    <a:pt x="1128" y="1518"/>
                  </a:lnTo>
                  <a:lnTo>
                    <a:pt x="1122" y="1518"/>
                  </a:lnTo>
                  <a:lnTo>
                    <a:pt x="1116" y="1518"/>
                  </a:lnTo>
                  <a:lnTo>
                    <a:pt x="1104" y="1518"/>
                  </a:lnTo>
                  <a:lnTo>
                    <a:pt x="1092" y="1518"/>
                  </a:lnTo>
                  <a:lnTo>
                    <a:pt x="1080" y="1518"/>
                  </a:lnTo>
                  <a:lnTo>
                    <a:pt x="1068" y="1518"/>
                  </a:lnTo>
                  <a:lnTo>
                    <a:pt x="1062" y="1518"/>
                  </a:lnTo>
                  <a:lnTo>
                    <a:pt x="1056" y="1518"/>
                  </a:lnTo>
                  <a:lnTo>
                    <a:pt x="1050" y="1512"/>
                  </a:lnTo>
                  <a:lnTo>
                    <a:pt x="1044" y="1512"/>
                  </a:lnTo>
                  <a:lnTo>
                    <a:pt x="1038" y="1512"/>
                  </a:lnTo>
                  <a:lnTo>
                    <a:pt x="1032" y="1506"/>
                  </a:lnTo>
                  <a:lnTo>
                    <a:pt x="1026" y="1500"/>
                  </a:lnTo>
                  <a:lnTo>
                    <a:pt x="1026" y="1494"/>
                  </a:lnTo>
                  <a:lnTo>
                    <a:pt x="1020" y="1476"/>
                  </a:lnTo>
                  <a:lnTo>
                    <a:pt x="1008" y="1464"/>
                  </a:lnTo>
                  <a:lnTo>
                    <a:pt x="1008" y="1458"/>
                  </a:lnTo>
                  <a:lnTo>
                    <a:pt x="1002" y="1446"/>
                  </a:lnTo>
                  <a:lnTo>
                    <a:pt x="996" y="1446"/>
                  </a:lnTo>
                  <a:lnTo>
                    <a:pt x="990" y="1440"/>
                  </a:lnTo>
                  <a:lnTo>
                    <a:pt x="984" y="1434"/>
                  </a:lnTo>
                  <a:lnTo>
                    <a:pt x="978" y="1434"/>
                  </a:lnTo>
                  <a:lnTo>
                    <a:pt x="972" y="1434"/>
                  </a:lnTo>
                  <a:lnTo>
                    <a:pt x="966" y="1428"/>
                  </a:lnTo>
                  <a:lnTo>
                    <a:pt x="954" y="1422"/>
                  </a:lnTo>
                  <a:lnTo>
                    <a:pt x="942" y="1416"/>
                  </a:lnTo>
                  <a:lnTo>
                    <a:pt x="924" y="1398"/>
                  </a:lnTo>
                  <a:lnTo>
                    <a:pt x="912" y="1386"/>
                  </a:lnTo>
                  <a:lnTo>
                    <a:pt x="900" y="1386"/>
                  </a:lnTo>
                  <a:lnTo>
                    <a:pt x="894" y="1386"/>
                  </a:lnTo>
                  <a:lnTo>
                    <a:pt x="882" y="1392"/>
                  </a:lnTo>
                  <a:lnTo>
                    <a:pt x="876" y="1392"/>
                  </a:lnTo>
                  <a:lnTo>
                    <a:pt x="864" y="1398"/>
                  </a:lnTo>
                  <a:lnTo>
                    <a:pt x="864" y="1404"/>
                  </a:lnTo>
                  <a:lnTo>
                    <a:pt x="858" y="1410"/>
                  </a:lnTo>
                  <a:lnTo>
                    <a:pt x="852" y="1410"/>
                  </a:lnTo>
                  <a:lnTo>
                    <a:pt x="846" y="1410"/>
                  </a:lnTo>
                  <a:lnTo>
                    <a:pt x="834" y="1410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10" y="1428"/>
                  </a:lnTo>
                  <a:lnTo>
                    <a:pt x="798" y="1428"/>
                  </a:lnTo>
                  <a:lnTo>
                    <a:pt x="792" y="1428"/>
                  </a:lnTo>
                  <a:lnTo>
                    <a:pt x="780" y="1434"/>
                  </a:lnTo>
                  <a:lnTo>
                    <a:pt x="774" y="1428"/>
                  </a:lnTo>
                  <a:lnTo>
                    <a:pt x="762" y="1428"/>
                  </a:lnTo>
                  <a:lnTo>
                    <a:pt x="756" y="1422"/>
                  </a:lnTo>
                  <a:lnTo>
                    <a:pt x="750" y="1416"/>
                  </a:lnTo>
                  <a:lnTo>
                    <a:pt x="744" y="1410"/>
                  </a:lnTo>
                  <a:lnTo>
                    <a:pt x="744" y="1398"/>
                  </a:lnTo>
                  <a:lnTo>
                    <a:pt x="744" y="1386"/>
                  </a:lnTo>
                  <a:lnTo>
                    <a:pt x="750" y="1380"/>
                  </a:lnTo>
                  <a:lnTo>
                    <a:pt x="750" y="1374"/>
                  </a:lnTo>
                  <a:lnTo>
                    <a:pt x="750" y="1368"/>
                  </a:lnTo>
                  <a:lnTo>
                    <a:pt x="756" y="1362"/>
                  </a:lnTo>
                  <a:lnTo>
                    <a:pt x="750" y="1350"/>
                  </a:lnTo>
                  <a:lnTo>
                    <a:pt x="744" y="1344"/>
                  </a:lnTo>
                  <a:lnTo>
                    <a:pt x="738" y="1338"/>
                  </a:lnTo>
                  <a:lnTo>
                    <a:pt x="726" y="1338"/>
                  </a:lnTo>
                  <a:lnTo>
                    <a:pt x="720" y="1338"/>
                  </a:lnTo>
                  <a:lnTo>
                    <a:pt x="714" y="1338"/>
                  </a:lnTo>
                  <a:lnTo>
                    <a:pt x="708" y="1332"/>
                  </a:lnTo>
                  <a:lnTo>
                    <a:pt x="702" y="1332"/>
                  </a:lnTo>
                  <a:lnTo>
                    <a:pt x="696" y="1326"/>
                  </a:lnTo>
                  <a:lnTo>
                    <a:pt x="684" y="1326"/>
                  </a:lnTo>
                  <a:lnTo>
                    <a:pt x="678" y="1326"/>
                  </a:lnTo>
                  <a:lnTo>
                    <a:pt x="672" y="1314"/>
                  </a:lnTo>
                  <a:lnTo>
                    <a:pt x="666" y="1308"/>
                  </a:lnTo>
                  <a:lnTo>
                    <a:pt x="654" y="1296"/>
                  </a:lnTo>
                  <a:lnTo>
                    <a:pt x="654" y="1290"/>
                  </a:lnTo>
                  <a:lnTo>
                    <a:pt x="630" y="1284"/>
                  </a:lnTo>
                  <a:lnTo>
                    <a:pt x="630" y="1278"/>
                  </a:lnTo>
                  <a:lnTo>
                    <a:pt x="624" y="1278"/>
                  </a:lnTo>
                  <a:lnTo>
                    <a:pt x="618" y="1266"/>
                  </a:lnTo>
                  <a:lnTo>
                    <a:pt x="612" y="1266"/>
                  </a:lnTo>
                  <a:lnTo>
                    <a:pt x="606" y="1266"/>
                  </a:lnTo>
                  <a:lnTo>
                    <a:pt x="606" y="1260"/>
                  </a:lnTo>
                  <a:lnTo>
                    <a:pt x="594" y="1248"/>
                  </a:lnTo>
                  <a:lnTo>
                    <a:pt x="582" y="1248"/>
                  </a:lnTo>
                  <a:lnTo>
                    <a:pt x="576" y="1242"/>
                  </a:lnTo>
                  <a:lnTo>
                    <a:pt x="570" y="1236"/>
                  </a:lnTo>
                  <a:lnTo>
                    <a:pt x="504" y="1164"/>
                  </a:lnTo>
                  <a:lnTo>
                    <a:pt x="450" y="1110"/>
                  </a:lnTo>
                  <a:lnTo>
                    <a:pt x="426" y="1092"/>
                  </a:lnTo>
                  <a:lnTo>
                    <a:pt x="426" y="1074"/>
                  </a:lnTo>
                  <a:lnTo>
                    <a:pt x="420" y="1062"/>
                  </a:lnTo>
                  <a:lnTo>
                    <a:pt x="396" y="1056"/>
                  </a:lnTo>
                  <a:lnTo>
                    <a:pt x="384" y="1032"/>
                  </a:lnTo>
                  <a:lnTo>
                    <a:pt x="372" y="1020"/>
                  </a:lnTo>
                  <a:lnTo>
                    <a:pt x="360" y="984"/>
                  </a:lnTo>
                  <a:lnTo>
                    <a:pt x="348" y="978"/>
                  </a:lnTo>
                  <a:lnTo>
                    <a:pt x="342" y="972"/>
                  </a:lnTo>
                  <a:lnTo>
                    <a:pt x="348" y="960"/>
                  </a:lnTo>
                  <a:lnTo>
                    <a:pt x="342" y="954"/>
                  </a:lnTo>
                  <a:lnTo>
                    <a:pt x="336" y="954"/>
                  </a:lnTo>
                  <a:lnTo>
                    <a:pt x="330" y="954"/>
                  </a:lnTo>
                  <a:lnTo>
                    <a:pt x="324" y="972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0" y="966"/>
                  </a:lnTo>
                  <a:lnTo>
                    <a:pt x="294" y="966"/>
                  </a:lnTo>
                  <a:lnTo>
                    <a:pt x="288" y="972"/>
                  </a:lnTo>
                  <a:lnTo>
                    <a:pt x="288" y="966"/>
                  </a:lnTo>
                  <a:lnTo>
                    <a:pt x="282" y="948"/>
                  </a:lnTo>
                  <a:lnTo>
                    <a:pt x="282" y="942"/>
                  </a:lnTo>
                  <a:lnTo>
                    <a:pt x="276" y="942"/>
                  </a:lnTo>
                  <a:lnTo>
                    <a:pt x="276" y="936"/>
                  </a:lnTo>
                  <a:lnTo>
                    <a:pt x="270" y="942"/>
                  </a:lnTo>
                  <a:lnTo>
                    <a:pt x="264" y="948"/>
                  </a:lnTo>
                  <a:lnTo>
                    <a:pt x="264" y="942"/>
                  </a:lnTo>
                  <a:lnTo>
                    <a:pt x="258" y="942"/>
                  </a:lnTo>
                  <a:lnTo>
                    <a:pt x="252" y="948"/>
                  </a:lnTo>
                  <a:lnTo>
                    <a:pt x="252" y="942"/>
                  </a:lnTo>
                  <a:lnTo>
                    <a:pt x="246" y="936"/>
                  </a:lnTo>
                  <a:lnTo>
                    <a:pt x="240" y="942"/>
                  </a:lnTo>
                  <a:lnTo>
                    <a:pt x="234" y="936"/>
                  </a:lnTo>
                  <a:lnTo>
                    <a:pt x="228" y="936"/>
                  </a:lnTo>
                  <a:lnTo>
                    <a:pt x="222" y="936"/>
                  </a:lnTo>
                  <a:lnTo>
                    <a:pt x="222" y="930"/>
                  </a:lnTo>
                  <a:lnTo>
                    <a:pt x="222" y="924"/>
                  </a:lnTo>
                  <a:lnTo>
                    <a:pt x="228" y="924"/>
                  </a:lnTo>
                  <a:lnTo>
                    <a:pt x="234" y="924"/>
                  </a:lnTo>
                  <a:lnTo>
                    <a:pt x="240" y="924"/>
                  </a:lnTo>
                  <a:lnTo>
                    <a:pt x="240" y="918"/>
                  </a:lnTo>
                  <a:lnTo>
                    <a:pt x="246" y="918"/>
                  </a:lnTo>
                  <a:lnTo>
                    <a:pt x="246" y="912"/>
                  </a:lnTo>
                  <a:lnTo>
                    <a:pt x="240" y="906"/>
                  </a:lnTo>
                  <a:lnTo>
                    <a:pt x="234" y="906"/>
                  </a:lnTo>
                  <a:lnTo>
                    <a:pt x="228" y="906"/>
                  </a:lnTo>
                  <a:lnTo>
                    <a:pt x="228" y="912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8" y="894"/>
                  </a:lnTo>
                  <a:lnTo>
                    <a:pt x="234" y="894"/>
                  </a:lnTo>
                  <a:lnTo>
                    <a:pt x="228" y="888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198" y="888"/>
                  </a:lnTo>
                  <a:lnTo>
                    <a:pt x="192" y="882"/>
                  </a:lnTo>
                  <a:lnTo>
                    <a:pt x="186" y="882"/>
                  </a:lnTo>
                  <a:lnTo>
                    <a:pt x="186" y="876"/>
                  </a:lnTo>
                  <a:lnTo>
                    <a:pt x="192" y="876"/>
                  </a:lnTo>
                  <a:lnTo>
                    <a:pt x="192" y="870"/>
                  </a:lnTo>
                  <a:lnTo>
                    <a:pt x="198" y="870"/>
                  </a:lnTo>
                  <a:lnTo>
                    <a:pt x="198" y="864"/>
                  </a:lnTo>
                  <a:lnTo>
                    <a:pt x="198" y="858"/>
                  </a:lnTo>
                  <a:lnTo>
                    <a:pt x="180" y="852"/>
                  </a:lnTo>
                  <a:lnTo>
                    <a:pt x="174" y="840"/>
                  </a:lnTo>
                  <a:lnTo>
                    <a:pt x="162" y="846"/>
                  </a:lnTo>
                  <a:lnTo>
                    <a:pt x="156" y="846"/>
                  </a:lnTo>
                  <a:lnTo>
                    <a:pt x="150" y="846"/>
                  </a:lnTo>
                  <a:lnTo>
                    <a:pt x="150" y="840"/>
                  </a:lnTo>
                  <a:lnTo>
                    <a:pt x="138" y="834"/>
                  </a:lnTo>
                  <a:lnTo>
                    <a:pt x="132" y="834"/>
                  </a:lnTo>
                  <a:lnTo>
                    <a:pt x="132" y="840"/>
                  </a:lnTo>
                  <a:lnTo>
                    <a:pt x="126" y="840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58"/>
                  </a:lnTo>
                  <a:lnTo>
                    <a:pt x="120" y="846"/>
                  </a:lnTo>
                  <a:lnTo>
                    <a:pt x="114" y="846"/>
                  </a:lnTo>
                  <a:lnTo>
                    <a:pt x="108" y="840"/>
                  </a:lnTo>
                  <a:lnTo>
                    <a:pt x="102" y="834"/>
                  </a:lnTo>
                  <a:lnTo>
                    <a:pt x="102" y="822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78" y="804"/>
                  </a:lnTo>
                  <a:lnTo>
                    <a:pt x="78" y="798"/>
                  </a:lnTo>
                  <a:lnTo>
                    <a:pt x="78" y="792"/>
                  </a:lnTo>
                  <a:lnTo>
                    <a:pt x="78" y="786"/>
                  </a:lnTo>
                  <a:lnTo>
                    <a:pt x="78" y="780"/>
                  </a:lnTo>
                  <a:lnTo>
                    <a:pt x="72" y="774"/>
                  </a:lnTo>
                  <a:lnTo>
                    <a:pt x="66" y="774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60" y="762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6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2" y="666"/>
                  </a:lnTo>
                  <a:lnTo>
                    <a:pt x="18" y="648"/>
                  </a:lnTo>
                  <a:lnTo>
                    <a:pt x="24" y="636"/>
                  </a:lnTo>
                  <a:lnTo>
                    <a:pt x="30" y="630"/>
                  </a:lnTo>
                  <a:lnTo>
                    <a:pt x="30" y="624"/>
                  </a:lnTo>
                  <a:lnTo>
                    <a:pt x="30" y="612"/>
                  </a:lnTo>
                  <a:lnTo>
                    <a:pt x="30" y="606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66" y="582"/>
                  </a:lnTo>
                  <a:lnTo>
                    <a:pt x="72" y="588"/>
                  </a:lnTo>
                  <a:lnTo>
                    <a:pt x="84" y="594"/>
                  </a:lnTo>
                  <a:lnTo>
                    <a:pt x="90" y="600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14" y="612"/>
                  </a:lnTo>
                  <a:lnTo>
                    <a:pt x="120" y="612"/>
                  </a:lnTo>
                  <a:lnTo>
                    <a:pt x="126" y="618"/>
                  </a:lnTo>
                  <a:lnTo>
                    <a:pt x="138" y="594"/>
                  </a:lnTo>
                  <a:lnTo>
                    <a:pt x="138" y="582"/>
                  </a:lnTo>
                  <a:lnTo>
                    <a:pt x="138" y="570"/>
                  </a:lnTo>
                  <a:lnTo>
                    <a:pt x="138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50" y="528"/>
                  </a:lnTo>
                  <a:lnTo>
                    <a:pt x="156" y="510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62"/>
                  </a:lnTo>
                  <a:lnTo>
                    <a:pt x="168" y="450"/>
                  </a:lnTo>
                  <a:lnTo>
                    <a:pt x="168" y="444"/>
                  </a:lnTo>
                  <a:lnTo>
                    <a:pt x="162" y="432"/>
                  </a:lnTo>
                  <a:lnTo>
                    <a:pt x="162" y="426"/>
                  </a:lnTo>
                  <a:lnTo>
                    <a:pt x="156" y="420"/>
                  </a:lnTo>
                  <a:lnTo>
                    <a:pt x="144" y="414"/>
                  </a:lnTo>
                  <a:lnTo>
                    <a:pt x="132" y="402"/>
                  </a:lnTo>
                  <a:lnTo>
                    <a:pt x="126" y="390"/>
                  </a:lnTo>
                  <a:lnTo>
                    <a:pt x="120" y="384"/>
                  </a:lnTo>
                  <a:lnTo>
                    <a:pt x="120" y="372"/>
                  </a:lnTo>
                  <a:lnTo>
                    <a:pt x="114" y="360"/>
                  </a:lnTo>
                  <a:lnTo>
                    <a:pt x="108" y="360"/>
                  </a:lnTo>
                  <a:lnTo>
                    <a:pt x="108" y="354"/>
                  </a:lnTo>
                  <a:lnTo>
                    <a:pt x="102" y="348"/>
                  </a:lnTo>
                  <a:lnTo>
                    <a:pt x="102" y="342"/>
                  </a:lnTo>
                  <a:lnTo>
                    <a:pt x="108" y="330"/>
                  </a:lnTo>
                  <a:lnTo>
                    <a:pt x="114" y="312"/>
                  </a:lnTo>
                  <a:lnTo>
                    <a:pt x="114" y="300"/>
                  </a:lnTo>
                  <a:lnTo>
                    <a:pt x="120" y="288"/>
                  </a:lnTo>
                  <a:lnTo>
                    <a:pt x="120" y="282"/>
                  </a:lnTo>
                  <a:lnTo>
                    <a:pt x="114" y="270"/>
                  </a:lnTo>
                  <a:lnTo>
                    <a:pt x="114" y="258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84" y="222"/>
                  </a:lnTo>
                  <a:lnTo>
                    <a:pt x="84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84" y="186"/>
                  </a:lnTo>
                  <a:lnTo>
                    <a:pt x="84" y="180"/>
                  </a:lnTo>
                  <a:lnTo>
                    <a:pt x="108" y="174"/>
                  </a:lnTo>
                  <a:lnTo>
                    <a:pt x="132" y="186"/>
                  </a:lnTo>
                  <a:lnTo>
                    <a:pt x="138" y="192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56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74" y="204"/>
                  </a:lnTo>
                  <a:lnTo>
                    <a:pt x="180" y="216"/>
                  </a:lnTo>
                  <a:lnTo>
                    <a:pt x="186" y="228"/>
                  </a:lnTo>
                  <a:lnTo>
                    <a:pt x="192" y="234"/>
                  </a:lnTo>
                  <a:lnTo>
                    <a:pt x="198" y="234"/>
                  </a:lnTo>
                  <a:lnTo>
                    <a:pt x="204" y="240"/>
                  </a:lnTo>
                  <a:lnTo>
                    <a:pt x="210" y="240"/>
                  </a:lnTo>
                  <a:lnTo>
                    <a:pt x="216" y="240"/>
                  </a:lnTo>
                  <a:lnTo>
                    <a:pt x="222" y="240"/>
                  </a:lnTo>
                  <a:lnTo>
                    <a:pt x="228" y="246"/>
                  </a:lnTo>
                  <a:lnTo>
                    <a:pt x="234" y="246"/>
                  </a:lnTo>
                  <a:lnTo>
                    <a:pt x="240" y="246"/>
                  </a:lnTo>
                  <a:lnTo>
                    <a:pt x="252" y="252"/>
                  </a:lnTo>
                  <a:lnTo>
                    <a:pt x="330" y="246"/>
                  </a:lnTo>
                  <a:lnTo>
                    <a:pt x="360" y="228"/>
                  </a:lnTo>
                  <a:lnTo>
                    <a:pt x="396" y="228"/>
                  </a:lnTo>
                  <a:lnTo>
                    <a:pt x="402" y="240"/>
                  </a:lnTo>
                  <a:lnTo>
                    <a:pt x="432" y="240"/>
                  </a:lnTo>
                  <a:lnTo>
                    <a:pt x="450" y="258"/>
                  </a:lnTo>
                  <a:lnTo>
                    <a:pt x="468" y="258"/>
                  </a:lnTo>
                  <a:lnTo>
                    <a:pt x="474" y="294"/>
                  </a:lnTo>
                  <a:lnTo>
                    <a:pt x="558" y="318"/>
                  </a:lnTo>
                  <a:lnTo>
                    <a:pt x="588" y="318"/>
                  </a:lnTo>
                  <a:lnTo>
                    <a:pt x="588" y="312"/>
                  </a:lnTo>
                  <a:lnTo>
                    <a:pt x="594" y="306"/>
                  </a:lnTo>
                  <a:lnTo>
                    <a:pt x="600" y="306"/>
                  </a:lnTo>
                  <a:lnTo>
                    <a:pt x="612" y="300"/>
                  </a:lnTo>
                  <a:lnTo>
                    <a:pt x="618" y="300"/>
                  </a:lnTo>
                  <a:lnTo>
                    <a:pt x="630" y="300"/>
                  </a:lnTo>
                  <a:lnTo>
                    <a:pt x="642" y="306"/>
                  </a:lnTo>
                  <a:lnTo>
                    <a:pt x="660" y="306"/>
                  </a:lnTo>
                  <a:lnTo>
                    <a:pt x="666" y="306"/>
                  </a:lnTo>
                  <a:lnTo>
                    <a:pt x="672" y="306"/>
                  </a:lnTo>
                  <a:lnTo>
                    <a:pt x="684" y="300"/>
                  </a:lnTo>
                  <a:lnTo>
                    <a:pt x="696" y="294"/>
                  </a:lnTo>
                  <a:lnTo>
                    <a:pt x="702" y="288"/>
                  </a:lnTo>
                  <a:lnTo>
                    <a:pt x="714" y="282"/>
                  </a:lnTo>
                  <a:lnTo>
                    <a:pt x="714" y="288"/>
                  </a:lnTo>
                  <a:lnTo>
                    <a:pt x="726" y="300"/>
                  </a:lnTo>
                  <a:lnTo>
                    <a:pt x="732" y="306"/>
                  </a:lnTo>
                  <a:lnTo>
                    <a:pt x="732" y="318"/>
                  </a:lnTo>
                  <a:lnTo>
                    <a:pt x="732" y="330"/>
                  </a:lnTo>
                  <a:lnTo>
                    <a:pt x="726" y="342"/>
                  </a:lnTo>
                  <a:lnTo>
                    <a:pt x="720" y="354"/>
                  </a:lnTo>
                  <a:lnTo>
                    <a:pt x="720" y="360"/>
                  </a:lnTo>
                  <a:lnTo>
                    <a:pt x="714" y="372"/>
                  </a:lnTo>
                  <a:lnTo>
                    <a:pt x="714" y="378"/>
                  </a:lnTo>
                  <a:lnTo>
                    <a:pt x="714" y="408"/>
                  </a:lnTo>
                  <a:lnTo>
                    <a:pt x="708" y="420"/>
                  </a:lnTo>
                  <a:lnTo>
                    <a:pt x="714" y="432"/>
                  </a:lnTo>
                  <a:lnTo>
                    <a:pt x="708" y="450"/>
                  </a:lnTo>
                  <a:lnTo>
                    <a:pt x="708" y="468"/>
                  </a:lnTo>
                  <a:lnTo>
                    <a:pt x="696" y="480"/>
                  </a:lnTo>
                  <a:lnTo>
                    <a:pt x="684" y="486"/>
                  </a:lnTo>
                  <a:lnTo>
                    <a:pt x="672" y="492"/>
                  </a:lnTo>
                  <a:lnTo>
                    <a:pt x="660" y="498"/>
                  </a:lnTo>
                  <a:lnTo>
                    <a:pt x="654" y="510"/>
                  </a:lnTo>
                  <a:lnTo>
                    <a:pt x="648" y="516"/>
                  </a:lnTo>
                  <a:lnTo>
                    <a:pt x="642" y="522"/>
                  </a:lnTo>
                  <a:lnTo>
                    <a:pt x="630" y="522"/>
                  </a:lnTo>
                  <a:lnTo>
                    <a:pt x="624" y="528"/>
                  </a:lnTo>
                  <a:lnTo>
                    <a:pt x="618" y="540"/>
                  </a:lnTo>
                  <a:lnTo>
                    <a:pt x="618" y="558"/>
                  </a:lnTo>
                  <a:lnTo>
                    <a:pt x="612" y="576"/>
                  </a:lnTo>
                  <a:lnTo>
                    <a:pt x="612" y="684"/>
                  </a:lnTo>
                  <a:lnTo>
                    <a:pt x="618" y="696"/>
                  </a:lnTo>
                  <a:lnTo>
                    <a:pt x="636" y="696"/>
                  </a:lnTo>
                  <a:lnTo>
                    <a:pt x="636" y="720"/>
                  </a:lnTo>
                  <a:lnTo>
                    <a:pt x="636" y="732"/>
                  </a:lnTo>
                  <a:lnTo>
                    <a:pt x="618" y="750"/>
                  </a:lnTo>
                  <a:lnTo>
                    <a:pt x="606" y="762"/>
                  </a:lnTo>
                  <a:lnTo>
                    <a:pt x="600" y="774"/>
                  </a:lnTo>
                  <a:lnTo>
                    <a:pt x="594" y="798"/>
                  </a:lnTo>
                  <a:lnTo>
                    <a:pt x="606" y="798"/>
                  </a:lnTo>
                  <a:lnTo>
                    <a:pt x="660" y="792"/>
                  </a:lnTo>
                  <a:lnTo>
                    <a:pt x="696" y="798"/>
                  </a:lnTo>
                  <a:lnTo>
                    <a:pt x="720" y="798"/>
                  </a:lnTo>
                  <a:lnTo>
                    <a:pt x="720" y="786"/>
                  </a:lnTo>
                  <a:lnTo>
                    <a:pt x="720" y="774"/>
                  </a:lnTo>
                  <a:lnTo>
                    <a:pt x="702" y="762"/>
                  </a:lnTo>
                  <a:lnTo>
                    <a:pt x="702" y="750"/>
                  </a:lnTo>
                  <a:lnTo>
                    <a:pt x="702" y="726"/>
                  </a:lnTo>
                  <a:lnTo>
                    <a:pt x="714" y="714"/>
                  </a:lnTo>
                  <a:lnTo>
                    <a:pt x="720" y="702"/>
                  </a:lnTo>
                  <a:lnTo>
                    <a:pt x="720" y="696"/>
                  </a:lnTo>
                  <a:lnTo>
                    <a:pt x="744" y="690"/>
                  </a:lnTo>
                  <a:lnTo>
                    <a:pt x="744" y="696"/>
                  </a:lnTo>
                  <a:lnTo>
                    <a:pt x="756" y="696"/>
                  </a:lnTo>
                  <a:lnTo>
                    <a:pt x="762" y="690"/>
                  </a:lnTo>
                  <a:lnTo>
                    <a:pt x="768" y="690"/>
                  </a:lnTo>
                  <a:lnTo>
                    <a:pt x="774" y="696"/>
                  </a:lnTo>
                  <a:lnTo>
                    <a:pt x="780" y="696"/>
                  </a:lnTo>
                  <a:lnTo>
                    <a:pt x="786" y="696"/>
                  </a:lnTo>
                  <a:lnTo>
                    <a:pt x="804" y="684"/>
                  </a:lnTo>
                  <a:lnTo>
                    <a:pt x="810" y="684"/>
                  </a:lnTo>
                  <a:lnTo>
                    <a:pt x="810" y="654"/>
                  </a:lnTo>
                  <a:lnTo>
                    <a:pt x="816" y="588"/>
                  </a:lnTo>
                  <a:lnTo>
                    <a:pt x="804" y="582"/>
                  </a:lnTo>
                  <a:lnTo>
                    <a:pt x="798" y="552"/>
                  </a:lnTo>
                  <a:lnTo>
                    <a:pt x="798" y="480"/>
                  </a:lnTo>
                  <a:lnTo>
                    <a:pt x="780" y="468"/>
                  </a:lnTo>
                  <a:lnTo>
                    <a:pt x="780" y="462"/>
                  </a:lnTo>
                  <a:lnTo>
                    <a:pt x="774" y="450"/>
                  </a:lnTo>
                  <a:lnTo>
                    <a:pt x="762" y="444"/>
                  </a:lnTo>
                  <a:lnTo>
                    <a:pt x="762" y="438"/>
                  </a:lnTo>
                  <a:lnTo>
                    <a:pt x="768" y="432"/>
                  </a:lnTo>
                  <a:lnTo>
                    <a:pt x="774" y="426"/>
                  </a:lnTo>
                  <a:lnTo>
                    <a:pt x="780" y="426"/>
                  </a:lnTo>
                  <a:lnTo>
                    <a:pt x="780" y="414"/>
                  </a:lnTo>
                  <a:lnTo>
                    <a:pt x="834" y="414"/>
                  </a:lnTo>
                  <a:lnTo>
                    <a:pt x="834" y="426"/>
                  </a:lnTo>
                  <a:lnTo>
                    <a:pt x="840" y="432"/>
                  </a:lnTo>
                  <a:lnTo>
                    <a:pt x="846" y="432"/>
                  </a:lnTo>
                  <a:lnTo>
                    <a:pt x="852" y="432"/>
                  </a:lnTo>
                  <a:lnTo>
                    <a:pt x="858" y="432"/>
                  </a:lnTo>
                  <a:lnTo>
                    <a:pt x="870" y="432"/>
                  </a:lnTo>
                  <a:lnTo>
                    <a:pt x="870" y="426"/>
                  </a:lnTo>
                  <a:lnTo>
                    <a:pt x="870" y="420"/>
                  </a:lnTo>
                  <a:lnTo>
                    <a:pt x="876" y="420"/>
                  </a:lnTo>
                  <a:lnTo>
                    <a:pt x="882" y="420"/>
                  </a:lnTo>
                  <a:lnTo>
                    <a:pt x="894" y="414"/>
                  </a:lnTo>
                  <a:lnTo>
                    <a:pt x="900" y="414"/>
                  </a:lnTo>
                  <a:lnTo>
                    <a:pt x="906" y="408"/>
                  </a:lnTo>
                  <a:lnTo>
                    <a:pt x="918" y="408"/>
                  </a:lnTo>
                  <a:lnTo>
                    <a:pt x="924" y="402"/>
                  </a:lnTo>
                  <a:lnTo>
                    <a:pt x="930" y="384"/>
                  </a:lnTo>
                  <a:lnTo>
                    <a:pt x="948" y="396"/>
                  </a:lnTo>
                  <a:lnTo>
                    <a:pt x="954" y="384"/>
                  </a:lnTo>
                  <a:lnTo>
                    <a:pt x="960" y="384"/>
                  </a:lnTo>
                  <a:lnTo>
                    <a:pt x="972" y="384"/>
                  </a:lnTo>
                  <a:lnTo>
                    <a:pt x="978" y="378"/>
                  </a:lnTo>
                  <a:lnTo>
                    <a:pt x="972" y="366"/>
                  </a:lnTo>
                  <a:lnTo>
                    <a:pt x="966" y="342"/>
                  </a:lnTo>
                  <a:lnTo>
                    <a:pt x="960" y="330"/>
                  </a:lnTo>
                  <a:lnTo>
                    <a:pt x="942" y="324"/>
                  </a:lnTo>
                  <a:lnTo>
                    <a:pt x="936" y="318"/>
                  </a:lnTo>
                  <a:lnTo>
                    <a:pt x="936" y="294"/>
                  </a:lnTo>
                  <a:lnTo>
                    <a:pt x="942" y="294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282"/>
                  </a:lnTo>
                  <a:lnTo>
                    <a:pt x="954" y="276"/>
                  </a:lnTo>
                  <a:lnTo>
                    <a:pt x="960" y="276"/>
                  </a:lnTo>
                  <a:lnTo>
                    <a:pt x="966" y="276"/>
                  </a:lnTo>
                  <a:lnTo>
                    <a:pt x="960" y="258"/>
                  </a:lnTo>
                  <a:lnTo>
                    <a:pt x="954" y="240"/>
                  </a:lnTo>
                  <a:lnTo>
                    <a:pt x="948" y="204"/>
                  </a:lnTo>
                  <a:lnTo>
                    <a:pt x="954" y="204"/>
                  </a:lnTo>
                  <a:lnTo>
                    <a:pt x="960" y="198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00" y="186"/>
                  </a:lnTo>
                  <a:lnTo>
                    <a:pt x="876" y="180"/>
                  </a:lnTo>
                  <a:lnTo>
                    <a:pt x="858" y="180"/>
                  </a:lnTo>
                  <a:lnTo>
                    <a:pt x="852" y="168"/>
                  </a:lnTo>
                  <a:lnTo>
                    <a:pt x="834" y="156"/>
                  </a:lnTo>
                  <a:lnTo>
                    <a:pt x="822" y="156"/>
                  </a:lnTo>
                  <a:lnTo>
                    <a:pt x="804" y="156"/>
                  </a:lnTo>
                  <a:lnTo>
                    <a:pt x="804" y="150"/>
                  </a:lnTo>
                  <a:lnTo>
                    <a:pt x="792" y="144"/>
                  </a:lnTo>
                  <a:lnTo>
                    <a:pt x="762" y="138"/>
                  </a:lnTo>
                  <a:lnTo>
                    <a:pt x="768" y="120"/>
                  </a:lnTo>
                  <a:lnTo>
                    <a:pt x="756" y="120"/>
                  </a:lnTo>
                  <a:lnTo>
                    <a:pt x="744" y="108"/>
                  </a:lnTo>
                  <a:lnTo>
                    <a:pt x="744" y="96"/>
                  </a:lnTo>
                  <a:lnTo>
                    <a:pt x="762" y="84"/>
                  </a:lnTo>
                  <a:lnTo>
                    <a:pt x="768" y="84"/>
                  </a:lnTo>
                  <a:lnTo>
                    <a:pt x="768" y="72"/>
                  </a:lnTo>
                  <a:lnTo>
                    <a:pt x="780" y="66"/>
                  </a:lnTo>
                  <a:lnTo>
                    <a:pt x="798" y="54"/>
                  </a:lnTo>
                  <a:lnTo>
                    <a:pt x="792" y="54"/>
                  </a:lnTo>
                  <a:lnTo>
                    <a:pt x="798" y="36"/>
                  </a:lnTo>
                  <a:lnTo>
                    <a:pt x="804" y="36"/>
                  </a:lnTo>
                  <a:lnTo>
                    <a:pt x="816" y="30"/>
                  </a:lnTo>
                  <a:lnTo>
                    <a:pt x="828" y="30"/>
                  </a:lnTo>
                  <a:lnTo>
                    <a:pt x="846" y="12"/>
                  </a:lnTo>
                  <a:lnTo>
                    <a:pt x="876" y="0"/>
                  </a:lnTo>
                  <a:lnTo>
                    <a:pt x="882" y="6"/>
                  </a:lnTo>
                  <a:lnTo>
                    <a:pt x="900" y="6"/>
                  </a:lnTo>
                  <a:lnTo>
                    <a:pt x="912" y="36"/>
                  </a:lnTo>
                  <a:lnTo>
                    <a:pt x="918" y="42"/>
                  </a:lnTo>
                  <a:lnTo>
                    <a:pt x="924" y="54"/>
                  </a:lnTo>
                  <a:lnTo>
                    <a:pt x="930" y="54"/>
                  </a:lnTo>
                  <a:lnTo>
                    <a:pt x="930" y="78"/>
                  </a:lnTo>
                  <a:lnTo>
                    <a:pt x="954" y="72"/>
                  </a:lnTo>
                  <a:lnTo>
                    <a:pt x="954" y="60"/>
                  </a:lnTo>
                  <a:lnTo>
                    <a:pt x="966" y="66"/>
                  </a:lnTo>
                  <a:lnTo>
                    <a:pt x="966" y="78"/>
                  </a:lnTo>
                  <a:lnTo>
                    <a:pt x="960" y="84"/>
                  </a:lnTo>
                  <a:lnTo>
                    <a:pt x="954" y="102"/>
                  </a:lnTo>
                  <a:lnTo>
                    <a:pt x="972" y="102"/>
                  </a:lnTo>
                  <a:lnTo>
                    <a:pt x="978" y="84"/>
                  </a:lnTo>
                  <a:lnTo>
                    <a:pt x="984" y="72"/>
                  </a:lnTo>
                  <a:lnTo>
                    <a:pt x="990" y="72"/>
                  </a:lnTo>
                  <a:lnTo>
                    <a:pt x="996" y="18"/>
                  </a:lnTo>
                  <a:lnTo>
                    <a:pt x="990" y="12"/>
                  </a:lnTo>
                  <a:lnTo>
                    <a:pt x="1014" y="12"/>
                  </a:lnTo>
                  <a:lnTo>
                    <a:pt x="1026" y="12"/>
                  </a:lnTo>
                  <a:lnTo>
                    <a:pt x="1026" y="24"/>
                  </a:lnTo>
                  <a:lnTo>
                    <a:pt x="1050" y="24"/>
                  </a:lnTo>
                  <a:lnTo>
                    <a:pt x="1050" y="36"/>
                  </a:lnTo>
                  <a:lnTo>
                    <a:pt x="1062" y="66"/>
                  </a:lnTo>
                  <a:lnTo>
                    <a:pt x="1074" y="66"/>
                  </a:lnTo>
                  <a:lnTo>
                    <a:pt x="1080" y="60"/>
                  </a:lnTo>
                  <a:lnTo>
                    <a:pt x="1074" y="24"/>
                  </a:lnTo>
                  <a:lnTo>
                    <a:pt x="1086" y="18"/>
                  </a:lnTo>
                  <a:lnTo>
                    <a:pt x="1086" y="12"/>
                  </a:lnTo>
                  <a:lnTo>
                    <a:pt x="1104" y="6"/>
                  </a:lnTo>
                  <a:lnTo>
                    <a:pt x="1122" y="0"/>
                  </a:lnTo>
                  <a:lnTo>
                    <a:pt x="1134" y="6"/>
                  </a:lnTo>
                  <a:lnTo>
                    <a:pt x="1134" y="42"/>
                  </a:lnTo>
                  <a:lnTo>
                    <a:pt x="1140" y="72"/>
                  </a:lnTo>
                  <a:lnTo>
                    <a:pt x="1158" y="114"/>
                  </a:lnTo>
                  <a:lnTo>
                    <a:pt x="1170" y="114"/>
                  </a:lnTo>
                  <a:lnTo>
                    <a:pt x="1170" y="126"/>
                  </a:lnTo>
                  <a:lnTo>
                    <a:pt x="1182" y="126"/>
                  </a:lnTo>
                  <a:lnTo>
                    <a:pt x="1182" y="138"/>
                  </a:lnTo>
                  <a:lnTo>
                    <a:pt x="1194" y="144"/>
                  </a:lnTo>
                  <a:lnTo>
                    <a:pt x="1194" y="156"/>
                  </a:lnTo>
                  <a:lnTo>
                    <a:pt x="1188" y="156"/>
                  </a:lnTo>
                  <a:lnTo>
                    <a:pt x="1194" y="162"/>
                  </a:lnTo>
                  <a:lnTo>
                    <a:pt x="1194" y="168"/>
                  </a:lnTo>
                  <a:lnTo>
                    <a:pt x="1188" y="168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82" y="180"/>
                  </a:lnTo>
                  <a:lnTo>
                    <a:pt x="1188" y="186"/>
                  </a:lnTo>
                  <a:lnTo>
                    <a:pt x="1188" y="192"/>
                  </a:lnTo>
                  <a:lnTo>
                    <a:pt x="1182" y="198"/>
                  </a:lnTo>
                  <a:lnTo>
                    <a:pt x="1182" y="204"/>
                  </a:lnTo>
                  <a:lnTo>
                    <a:pt x="1182" y="210"/>
                  </a:lnTo>
                  <a:lnTo>
                    <a:pt x="1188" y="210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2"/>
                  </a:lnTo>
                  <a:lnTo>
                    <a:pt x="1194" y="264"/>
                  </a:lnTo>
                  <a:lnTo>
                    <a:pt x="1200" y="264"/>
                  </a:lnTo>
                  <a:lnTo>
                    <a:pt x="1212" y="264"/>
                  </a:lnTo>
                  <a:lnTo>
                    <a:pt x="1212" y="258"/>
                  </a:lnTo>
                  <a:lnTo>
                    <a:pt x="1224" y="258"/>
                  </a:lnTo>
                  <a:lnTo>
                    <a:pt x="1248" y="252"/>
                  </a:lnTo>
                  <a:lnTo>
                    <a:pt x="1248" y="264"/>
                  </a:lnTo>
                  <a:lnTo>
                    <a:pt x="1254" y="264"/>
                  </a:lnTo>
                  <a:lnTo>
                    <a:pt x="1254" y="270"/>
                  </a:lnTo>
                  <a:lnTo>
                    <a:pt x="1260" y="270"/>
                  </a:lnTo>
                  <a:lnTo>
                    <a:pt x="1266" y="270"/>
                  </a:lnTo>
                  <a:lnTo>
                    <a:pt x="1272" y="270"/>
                  </a:lnTo>
                  <a:lnTo>
                    <a:pt x="1272" y="264"/>
                  </a:lnTo>
                  <a:lnTo>
                    <a:pt x="1272" y="258"/>
                  </a:lnTo>
                  <a:lnTo>
                    <a:pt x="1278" y="258"/>
                  </a:lnTo>
                  <a:lnTo>
                    <a:pt x="1278" y="252"/>
                  </a:lnTo>
                  <a:lnTo>
                    <a:pt x="1290" y="252"/>
                  </a:lnTo>
                  <a:lnTo>
                    <a:pt x="1296" y="246"/>
                  </a:lnTo>
                  <a:lnTo>
                    <a:pt x="1308" y="246"/>
                  </a:lnTo>
                  <a:lnTo>
                    <a:pt x="1308" y="240"/>
                  </a:lnTo>
                  <a:lnTo>
                    <a:pt x="1320" y="240"/>
                  </a:lnTo>
                  <a:lnTo>
                    <a:pt x="1326" y="246"/>
                  </a:lnTo>
                  <a:lnTo>
                    <a:pt x="1338" y="246"/>
                  </a:lnTo>
                  <a:lnTo>
                    <a:pt x="1338" y="240"/>
                  </a:lnTo>
                  <a:lnTo>
                    <a:pt x="1350" y="240"/>
                  </a:lnTo>
                  <a:lnTo>
                    <a:pt x="1386" y="234"/>
                  </a:lnTo>
                  <a:lnTo>
                    <a:pt x="1398" y="228"/>
                  </a:lnTo>
                  <a:lnTo>
                    <a:pt x="1404" y="216"/>
                  </a:lnTo>
                  <a:lnTo>
                    <a:pt x="1416" y="204"/>
                  </a:lnTo>
                  <a:lnTo>
                    <a:pt x="1434" y="192"/>
                  </a:lnTo>
                  <a:lnTo>
                    <a:pt x="1446" y="198"/>
                  </a:lnTo>
                  <a:lnTo>
                    <a:pt x="1446" y="204"/>
                  </a:lnTo>
                  <a:lnTo>
                    <a:pt x="1452" y="210"/>
                  </a:lnTo>
                  <a:lnTo>
                    <a:pt x="1464" y="222"/>
                  </a:lnTo>
                  <a:lnTo>
                    <a:pt x="1464" y="228"/>
                  </a:lnTo>
                  <a:lnTo>
                    <a:pt x="1464" y="234"/>
                  </a:lnTo>
                  <a:lnTo>
                    <a:pt x="1470" y="240"/>
                  </a:lnTo>
                  <a:lnTo>
                    <a:pt x="1476" y="228"/>
                  </a:lnTo>
                  <a:lnTo>
                    <a:pt x="1476" y="222"/>
                  </a:lnTo>
                  <a:lnTo>
                    <a:pt x="1482" y="210"/>
                  </a:lnTo>
                  <a:lnTo>
                    <a:pt x="1488" y="192"/>
                  </a:lnTo>
                  <a:lnTo>
                    <a:pt x="1488" y="186"/>
                  </a:lnTo>
                  <a:lnTo>
                    <a:pt x="1488" y="180"/>
                  </a:lnTo>
                  <a:lnTo>
                    <a:pt x="1500" y="180"/>
                  </a:lnTo>
                  <a:lnTo>
                    <a:pt x="1500" y="174"/>
                  </a:lnTo>
                  <a:lnTo>
                    <a:pt x="1518" y="162"/>
                  </a:lnTo>
                  <a:lnTo>
                    <a:pt x="1536" y="150"/>
                  </a:lnTo>
                  <a:lnTo>
                    <a:pt x="1554" y="168"/>
                  </a:lnTo>
                  <a:lnTo>
                    <a:pt x="1572" y="180"/>
                  </a:lnTo>
                  <a:lnTo>
                    <a:pt x="1596" y="216"/>
                  </a:lnTo>
                  <a:lnTo>
                    <a:pt x="1602" y="216"/>
                  </a:lnTo>
                  <a:lnTo>
                    <a:pt x="1614" y="228"/>
                  </a:lnTo>
                  <a:lnTo>
                    <a:pt x="1614" y="234"/>
                  </a:lnTo>
                  <a:lnTo>
                    <a:pt x="1620" y="240"/>
                  </a:lnTo>
                  <a:lnTo>
                    <a:pt x="1620" y="246"/>
                  </a:lnTo>
                  <a:lnTo>
                    <a:pt x="1626" y="252"/>
                  </a:lnTo>
                  <a:lnTo>
                    <a:pt x="1632" y="258"/>
                  </a:lnTo>
                  <a:lnTo>
                    <a:pt x="1632" y="264"/>
                  </a:lnTo>
                  <a:lnTo>
                    <a:pt x="1638" y="264"/>
                  </a:lnTo>
                  <a:lnTo>
                    <a:pt x="1638" y="270"/>
                  </a:lnTo>
                  <a:lnTo>
                    <a:pt x="1638" y="276"/>
                  </a:lnTo>
                  <a:lnTo>
                    <a:pt x="1638" y="282"/>
                  </a:lnTo>
                  <a:lnTo>
                    <a:pt x="1644" y="288"/>
                  </a:lnTo>
                  <a:lnTo>
                    <a:pt x="1644" y="294"/>
                  </a:lnTo>
                  <a:lnTo>
                    <a:pt x="1644" y="300"/>
                  </a:lnTo>
                  <a:lnTo>
                    <a:pt x="1644" y="306"/>
                  </a:lnTo>
                  <a:lnTo>
                    <a:pt x="1650" y="306"/>
                  </a:lnTo>
                  <a:lnTo>
                    <a:pt x="1650" y="312"/>
                  </a:lnTo>
                  <a:lnTo>
                    <a:pt x="1650" y="318"/>
                  </a:lnTo>
                  <a:lnTo>
                    <a:pt x="1650" y="324"/>
                  </a:lnTo>
                  <a:lnTo>
                    <a:pt x="1644" y="330"/>
                  </a:lnTo>
                  <a:lnTo>
                    <a:pt x="1626" y="330"/>
                  </a:lnTo>
                  <a:lnTo>
                    <a:pt x="1626" y="336"/>
                  </a:lnTo>
                  <a:lnTo>
                    <a:pt x="1626" y="342"/>
                  </a:lnTo>
                  <a:lnTo>
                    <a:pt x="1626" y="348"/>
                  </a:lnTo>
                  <a:lnTo>
                    <a:pt x="1620" y="354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14" y="390"/>
                  </a:lnTo>
                  <a:lnTo>
                    <a:pt x="1614" y="396"/>
                  </a:lnTo>
                  <a:lnTo>
                    <a:pt x="1614" y="402"/>
                  </a:lnTo>
                  <a:lnTo>
                    <a:pt x="1614" y="408"/>
                  </a:lnTo>
                  <a:lnTo>
                    <a:pt x="1614" y="414"/>
                  </a:lnTo>
                  <a:lnTo>
                    <a:pt x="1602" y="420"/>
                  </a:lnTo>
                  <a:lnTo>
                    <a:pt x="1602" y="426"/>
                  </a:lnTo>
                  <a:lnTo>
                    <a:pt x="1608" y="432"/>
                  </a:lnTo>
                  <a:lnTo>
                    <a:pt x="1614" y="426"/>
                  </a:lnTo>
                  <a:lnTo>
                    <a:pt x="1620" y="438"/>
                  </a:lnTo>
                  <a:lnTo>
                    <a:pt x="1626" y="438"/>
                  </a:lnTo>
                  <a:lnTo>
                    <a:pt x="1632" y="444"/>
                  </a:lnTo>
                  <a:lnTo>
                    <a:pt x="1626" y="456"/>
                  </a:lnTo>
                  <a:lnTo>
                    <a:pt x="1626" y="468"/>
                  </a:lnTo>
                  <a:lnTo>
                    <a:pt x="1620" y="474"/>
                  </a:lnTo>
                  <a:lnTo>
                    <a:pt x="1614" y="474"/>
                  </a:lnTo>
                  <a:lnTo>
                    <a:pt x="1614" y="486"/>
                  </a:lnTo>
                  <a:lnTo>
                    <a:pt x="1614" y="492"/>
                  </a:lnTo>
                  <a:lnTo>
                    <a:pt x="1620" y="492"/>
                  </a:lnTo>
                  <a:lnTo>
                    <a:pt x="1626" y="498"/>
                  </a:lnTo>
                  <a:lnTo>
                    <a:pt x="1626" y="504"/>
                  </a:lnTo>
                  <a:lnTo>
                    <a:pt x="1626" y="510"/>
                  </a:lnTo>
                  <a:lnTo>
                    <a:pt x="1620" y="516"/>
                  </a:lnTo>
                  <a:lnTo>
                    <a:pt x="1620" y="522"/>
                  </a:lnTo>
                  <a:lnTo>
                    <a:pt x="1614" y="522"/>
                  </a:lnTo>
                  <a:lnTo>
                    <a:pt x="1608" y="528"/>
                  </a:lnTo>
                  <a:lnTo>
                    <a:pt x="1602" y="522"/>
                  </a:lnTo>
                  <a:lnTo>
                    <a:pt x="1602" y="528"/>
                  </a:lnTo>
                  <a:lnTo>
                    <a:pt x="1602" y="540"/>
                  </a:lnTo>
                  <a:lnTo>
                    <a:pt x="1602" y="558"/>
                  </a:lnTo>
                  <a:lnTo>
                    <a:pt x="1602" y="564"/>
                  </a:lnTo>
                  <a:lnTo>
                    <a:pt x="1602" y="570"/>
                  </a:lnTo>
                  <a:lnTo>
                    <a:pt x="1602" y="576"/>
                  </a:lnTo>
                  <a:lnTo>
                    <a:pt x="1596" y="576"/>
                  </a:lnTo>
                  <a:lnTo>
                    <a:pt x="1632" y="582"/>
                  </a:lnTo>
                  <a:lnTo>
                    <a:pt x="1644" y="618"/>
                  </a:lnTo>
                  <a:lnTo>
                    <a:pt x="1650" y="648"/>
                  </a:lnTo>
                  <a:lnTo>
                    <a:pt x="1662" y="636"/>
                  </a:lnTo>
                  <a:lnTo>
                    <a:pt x="1668" y="636"/>
                  </a:lnTo>
                  <a:lnTo>
                    <a:pt x="1674" y="636"/>
                  </a:lnTo>
                  <a:lnTo>
                    <a:pt x="1680" y="630"/>
                  </a:lnTo>
                  <a:lnTo>
                    <a:pt x="1686" y="630"/>
                  </a:lnTo>
                  <a:lnTo>
                    <a:pt x="1692" y="630"/>
                  </a:lnTo>
                  <a:lnTo>
                    <a:pt x="1698" y="630"/>
                  </a:lnTo>
                  <a:lnTo>
                    <a:pt x="1704" y="630"/>
                  </a:lnTo>
                  <a:lnTo>
                    <a:pt x="1704" y="624"/>
                  </a:lnTo>
                  <a:lnTo>
                    <a:pt x="1710" y="624"/>
                  </a:lnTo>
                  <a:lnTo>
                    <a:pt x="1716" y="624"/>
                  </a:lnTo>
                  <a:lnTo>
                    <a:pt x="1722" y="624"/>
                  </a:lnTo>
                  <a:lnTo>
                    <a:pt x="1728" y="624"/>
                  </a:lnTo>
                  <a:lnTo>
                    <a:pt x="1722" y="618"/>
                  </a:lnTo>
                  <a:lnTo>
                    <a:pt x="1728" y="606"/>
                  </a:lnTo>
                  <a:lnTo>
                    <a:pt x="1734" y="606"/>
                  </a:lnTo>
                  <a:lnTo>
                    <a:pt x="1740" y="600"/>
                  </a:lnTo>
                  <a:lnTo>
                    <a:pt x="1746" y="594"/>
                  </a:lnTo>
                  <a:lnTo>
                    <a:pt x="1752" y="588"/>
                  </a:lnTo>
                  <a:lnTo>
                    <a:pt x="1752" y="582"/>
                  </a:lnTo>
                  <a:lnTo>
                    <a:pt x="1758" y="576"/>
                  </a:lnTo>
                  <a:lnTo>
                    <a:pt x="1764" y="576"/>
                  </a:lnTo>
                  <a:lnTo>
                    <a:pt x="1770" y="570"/>
                  </a:lnTo>
                  <a:lnTo>
                    <a:pt x="1776" y="564"/>
                  </a:lnTo>
                  <a:lnTo>
                    <a:pt x="1788" y="558"/>
                  </a:lnTo>
                  <a:lnTo>
                    <a:pt x="1788" y="546"/>
                  </a:lnTo>
                  <a:lnTo>
                    <a:pt x="1788" y="540"/>
                  </a:lnTo>
                  <a:lnTo>
                    <a:pt x="1794" y="540"/>
                  </a:lnTo>
                  <a:lnTo>
                    <a:pt x="1788" y="534"/>
                  </a:lnTo>
                  <a:lnTo>
                    <a:pt x="1788" y="528"/>
                  </a:lnTo>
                  <a:lnTo>
                    <a:pt x="1794" y="516"/>
                  </a:lnTo>
                  <a:lnTo>
                    <a:pt x="1800" y="510"/>
                  </a:lnTo>
                  <a:lnTo>
                    <a:pt x="1812" y="510"/>
                  </a:lnTo>
                  <a:lnTo>
                    <a:pt x="1818" y="504"/>
                  </a:lnTo>
                  <a:lnTo>
                    <a:pt x="1824" y="504"/>
                  </a:lnTo>
                  <a:lnTo>
                    <a:pt x="1830" y="498"/>
                  </a:lnTo>
                  <a:lnTo>
                    <a:pt x="1836" y="498"/>
                  </a:lnTo>
                  <a:lnTo>
                    <a:pt x="1848" y="492"/>
                  </a:lnTo>
                  <a:lnTo>
                    <a:pt x="1848" y="480"/>
                  </a:lnTo>
                  <a:lnTo>
                    <a:pt x="1854" y="480"/>
                  </a:lnTo>
                  <a:lnTo>
                    <a:pt x="1890" y="504"/>
                  </a:lnTo>
                  <a:lnTo>
                    <a:pt x="1908" y="534"/>
                  </a:lnTo>
                  <a:lnTo>
                    <a:pt x="1902" y="534"/>
                  </a:lnTo>
                  <a:lnTo>
                    <a:pt x="1920" y="528"/>
                  </a:lnTo>
                  <a:lnTo>
                    <a:pt x="1920" y="516"/>
                  </a:lnTo>
                  <a:lnTo>
                    <a:pt x="1944" y="516"/>
                  </a:lnTo>
                  <a:lnTo>
                    <a:pt x="2004" y="516"/>
                  </a:lnTo>
                  <a:lnTo>
                    <a:pt x="2010" y="510"/>
                  </a:lnTo>
                  <a:lnTo>
                    <a:pt x="2004" y="510"/>
                  </a:lnTo>
                  <a:lnTo>
                    <a:pt x="2010" y="498"/>
                  </a:lnTo>
                  <a:lnTo>
                    <a:pt x="2004" y="486"/>
                  </a:lnTo>
                  <a:lnTo>
                    <a:pt x="2004" y="480"/>
                  </a:lnTo>
                  <a:lnTo>
                    <a:pt x="2004" y="474"/>
                  </a:lnTo>
                  <a:lnTo>
                    <a:pt x="2004" y="462"/>
                  </a:lnTo>
                  <a:lnTo>
                    <a:pt x="2004" y="456"/>
                  </a:lnTo>
                  <a:lnTo>
                    <a:pt x="2058" y="462"/>
                  </a:lnTo>
                  <a:lnTo>
                    <a:pt x="2076" y="474"/>
                  </a:lnTo>
                  <a:lnTo>
                    <a:pt x="2082" y="522"/>
                  </a:lnTo>
                  <a:lnTo>
                    <a:pt x="2088" y="516"/>
                  </a:lnTo>
                  <a:lnTo>
                    <a:pt x="2094" y="522"/>
                  </a:lnTo>
                  <a:lnTo>
                    <a:pt x="2100" y="528"/>
                  </a:lnTo>
                  <a:lnTo>
                    <a:pt x="2130" y="540"/>
                  </a:lnTo>
                  <a:lnTo>
                    <a:pt x="2160" y="564"/>
                  </a:lnTo>
                  <a:lnTo>
                    <a:pt x="2166" y="600"/>
                  </a:lnTo>
                  <a:lnTo>
                    <a:pt x="2160" y="618"/>
                  </a:lnTo>
                  <a:lnTo>
                    <a:pt x="2142" y="636"/>
                  </a:lnTo>
                  <a:lnTo>
                    <a:pt x="2148" y="648"/>
                  </a:lnTo>
                  <a:lnTo>
                    <a:pt x="2154" y="660"/>
                  </a:lnTo>
                  <a:lnTo>
                    <a:pt x="2196" y="654"/>
                  </a:lnTo>
                  <a:lnTo>
                    <a:pt x="2214" y="660"/>
                  </a:lnTo>
                  <a:lnTo>
                    <a:pt x="2214" y="666"/>
                  </a:lnTo>
                  <a:lnTo>
                    <a:pt x="2220" y="672"/>
                  </a:lnTo>
                  <a:lnTo>
                    <a:pt x="2214" y="678"/>
                  </a:lnTo>
                  <a:lnTo>
                    <a:pt x="2214" y="684"/>
                  </a:lnTo>
                  <a:lnTo>
                    <a:pt x="2214" y="690"/>
                  </a:lnTo>
                  <a:lnTo>
                    <a:pt x="2208" y="690"/>
                  </a:lnTo>
                  <a:lnTo>
                    <a:pt x="2202" y="696"/>
                  </a:lnTo>
                  <a:lnTo>
                    <a:pt x="2196" y="702"/>
                  </a:lnTo>
                  <a:lnTo>
                    <a:pt x="2190" y="708"/>
                  </a:lnTo>
                  <a:lnTo>
                    <a:pt x="2190" y="720"/>
                  </a:lnTo>
                  <a:lnTo>
                    <a:pt x="2184" y="720"/>
                  </a:lnTo>
                  <a:lnTo>
                    <a:pt x="2178" y="726"/>
                  </a:lnTo>
                  <a:lnTo>
                    <a:pt x="2166" y="732"/>
                  </a:lnTo>
                  <a:lnTo>
                    <a:pt x="2160" y="744"/>
                  </a:lnTo>
                  <a:lnTo>
                    <a:pt x="2154" y="756"/>
                  </a:lnTo>
                  <a:lnTo>
                    <a:pt x="2148" y="762"/>
                  </a:lnTo>
                  <a:lnTo>
                    <a:pt x="2124" y="762"/>
                  </a:lnTo>
                  <a:lnTo>
                    <a:pt x="2124" y="768"/>
                  </a:lnTo>
                  <a:lnTo>
                    <a:pt x="2118" y="768"/>
                  </a:lnTo>
                  <a:lnTo>
                    <a:pt x="2124" y="774"/>
                  </a:lnTo>
                  <a:lnTo>
                    <a:pt x="2118" y="774"/>
                  </a:lnTo>
                  <a:lnTo>
                    <a:pt x="2112" y="774"/>
                  </a:lnTo>
                  <a:lnTo>
                    <a:pt x="2106" y="780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06" y="798"/>
                  </a:lnTo>
                  <a:lnTo>
                    <a:pt x="2106" y="810"/>
                  </a:lnTo>
                  <a:lnTo>
                    <a:pt x="2112" y="828"/>
                  </a:lnTo>
                  <a:lnTo>
                    <a:pt x="2112" y="834"/>
                  </a:lnTo>
                  <a:lnTo>
                    <a:pt x="2112" y="840"/>
                  </a:lnTo>
                  <a:lnTo>
                    <a:pt x="2112" y="834"/>
                  </a:lnTo>
                  <a:lnTo>
                    <a:pt x="2124" y="834"/>
                  </a:lnTo>
                  <a:lnTo>
                    <a:pt x="2130" y="834"/>
                  </a:lnTo>
                  <a:lnTo>
                    <a:pt x="2136" y="840"/>
                  </a:lnTo>
                  <a:lnTo>
                    <a:pt x="2142" y="840"/>
                  </a:lnTo>
                  <a:lnTo>
                    <a:pt x="2154" y="852"/>
                  </a:lnTo>
                  <a:lnTo>
                    <a:pt x="2160" y="852"/>
                  </a:lnTo>
                  <a:lnTo>
                    <a:pt x="2172" y="846"/>
                  </a:lnTo>
                  <a:lnTo>
                    <a:pt x="2178" y="846"/>
                  </a:lnTo>
                  <a:lnTo>
                    <a:pt x="2184" y="846"/>
                  </a:lnTo>
                  <a:lnTo>
                    <a:pt x="2190" y="846"/>
                  </a:lnTo>
                  <a:lnTo>
                    <a:pt x="2196" y="852"/>
                  </a:lnTo>
                  <a:lnTo>
                    <a:pt x="2196" y="858"/>
                  </a:lnTo>
                  <a:lnTo>
                    <a:pt x="2202" y="852"/>
                  </a:lnTo>
                  <a:lnTo>
                    <a:pt x="2208" y="846"/>
                  </a:lnTo>
                  <a:lnTo>
                    <a:pt x="2214" y="846"/>
                  </a:lnTo>
                  <a:lnTo>
                    <a:pt x="2226" y="846"/>
                  </a:lnTo>
                  <a:lnTo>
                    <a:pt x="2232" y="852"/>
                  </a:lnTo>
                  <a:lnTo>
                    <a:pt x="2238" y="852"/>
                  </a:lnTo>
                  <a:lnTo>
                    <a:pt x="2244" y="858"/>
                  </a:lnTo>
                  <a:lnTo>
                    <a:pt x="2250" y="858"/>
                  </a:lnTo>
                  <a:lnTo>
                    <a:pt x="2256" y="858"/>
                  </a:lnTo>
                  <a:lnTo>
                    <a:pt x="2262" y="858"/>
                  </a:lnTo>
                  <a:lnTo>
                    <a:pt x="2268" y="852"/>
                  </a:lnTo>
                  <a:lnTo>
                    <a:pt x="2274" y="852"/>
                  </a:lnTo>
                  <a:lnTo>
                    <a:pt x="2280" y="852"/>
                  </a:lnTo>
                  <a:lnTo>
                    <a:pt x="2286" y="852"/>
                  </a:lnTo>
                  <a:lnTo>
                    <a:pt x="2298" y="858"/>
                  </a:lnTo>
                  <a:lnTo>
                    <a:pt x="2304" y="858"/>
                  </a:lnTo>
                  <a:lnTo>
                    <a:pt x="2310" y="858"/>
                  </a:lnTo>
                  <a:lnTo>
                    <a:pt x="2316" y="852"/>
                  </a:lnTo>
                  <a:lnTo>
                    <a:pt x="2322" y="858"/>
                  </a:lnTo>
                  <a:lnTo>
                    <a:pt x="2328" y="858"/>
                  </a:lnTo>
                  <a:lnTo>
                    <a:pt x="2328" y="852"/>
                  </a:lnTo>
                  <a:lnTo>
                    <a:pt x="2364" y="858"/>
                  </a:lnTo>
                  <a:lnTo>
                    <a:pt x="2376" y="876"/>
                  </a:lnTo>
                  <a:lnTo>
                    <a:pt x="2382" y="936"/>
                  </a:lnTo>
                  <a:lnTo>
                    <a:pt x="2388" y="966"/>
                  </a:lnTo>
                  <a:lnTo>
                    <a:pt x="2382" y="972"/>
                  </a:lnTo>
                  <a:lnTo>
                    <a:pt x="2382" y="978"/>
                  </a:lnTo>
                  <a:lnTo>
                    <a:pt x="2382" y="984"/>
                  </a:lnTo>
                  <a:lnTo>
                    <a:pt x="2388" y="990"/>
                  </a:lnTo>
                  <a:lnTo>
                    <a:pt x="2382" y="990"/>
                  </a:lnTo>
                  <a:lnTo>
                    <a:pt x="2382" y="996"/>
                  </a:lnTo>
                  <a:lnTo>
                    <a:pt x="2376" y="996"/>
                  </a:lnTo>
                  <a:lnTo>
                    <a:pt x="2376" y="1020"/>
                  </a:lnTo>
                  <a:lnTo>
                    <a:pt x="2370" y="1032"/>
                  </a:lnTo>
                  <a:lnTo>
                    <a:pt x="2352" y="1032"/>
                  </a:lnTo>
                  <a:lnTo>
                    <a:pt x="2346" y="1020"/>
                  </a:lnTo>
                  <a:lnTo>
                    <a:pt x="2328" y="1032"/>
                  </a:lnTo>
                  <a:lnTo>
                    <a:pt x="2316" y="1038"/>
                  </a:lnTo>
                  <a:lnTo>
                    <a:pt x="2328" y="1044"/>
                  </a:lnTo>
                  <a:lnTo>
                    <a:pt x="2340" y="1056"/>
                  </a:lnTo>
                  <a:lnTo>
                    <a:pt x="2376" y="1062"/>
                  </a:lnTo>
                  <a:lnTo>
                    <a:pt x="2376" y="1068"/>
                  </a:lnTo>
                  <a:lnTo>
                    <a:pt x="2382" y="1086"/>
                  </a:lnTo>
                  <a:lnTo>
                    <a:pt x="2376" y="1086"/>
                  </a:lnTo>
                  <a:lnTo>
                    <a:pt x="2370" y="1086"/>
                  </a:lnTo>
                  <a:lnTo>
                    <a:pt x="2364" y="1086"/>
                  </a:lnTo>
                  <a:lnTo>
                    <a:pt x="2364" y="1098"/>
                  </a:lnTo>
                  <a:lnTo>
                    <a:pt x="2388" y="1104"/>
                  </a:lnTo>
                  <a:lnTo>
                    <a:pt x="2400" y="1122"/>
                  </a:lnTo>
                  <a:lnTo>
                    <a:pt x="2400" y="1134"/>
                  </a:lnTo>
                  <a:lnTo>
                    <a:pt x="2400" y="1146"/>
                  </a:lnTo>
                  <a:lnTo>
                    <a:pt x="2394" y="1146"/>
                  </a:lnTo>
                  <a:lnTo>
                    <a:pt x="2394" y="1152"/>
                  </a:lnTo>
                  <a:lnTo>
                    <a:pt x="2388" y="1152"/>
                  </a:lnTo>
                  <a:lnTo>
                    <a:pt x="2388" y="1146"/>
                  </a:lnTo>
                  <a:lnTo>
                    <a:pt x="2382" y="1152"/>
                  </a:lnTo>
                  <a:lnTo>
                    <a:pt x="2376" y="1152"/>
                  </a:lnTo>
                  <a:lnTo>
                    <a:pt x="2370" y="1158"/>
                  </a:lnTo>
                  <a:lnTo>
                    <a:pt x="2370" y="1164"/>
                  </a:lnTo>
                  <a:lnTo>
                    <a:pt x="2364" y="1170"/>
                  </a:lnTo>
                  <a:lnTo>
                    <a:pt x="2370" y="1170"/>
                  </a:lnTo>
                  <a:lnTo>
                    <a:pt x="2376" y="1170"/>
                  </a:lnTo>
                  <a:lnTo>
                    <a:pt x="2370" y="1176"/>
                  </a:lnTo>
                  <a:lnTo>
                    <a:pt x="2364" y="1176"/>
                  </a:lnTo>
                  <a:lnTo>
                    <a:pt x="2358" y="1182"/>
                  </a:lnTo>
                  <a:lnTo>
                    <a:pt x="2352" y="1182"/>
                  </a:lnTo>
                  <a:lnTo>
                    <a:pt x="2346" y="1188"/>
                  </a:lnTo>
                  <a:lnTo>
                    <a:pt x="2340" y="1182"/>
                  </a:lnTo>
                  <a:lnTo>
                    <a:pt x="2334" y="1182"/>
                  </a:lnTo>
                  <a:lnTo>
                    <a:pt x="2334" y="1188"/>
                  </a:lnTo>
                  <a:lnTo>
                    <a:pt x="2328" y="1194"/>
                  </a:lnTo>
                  <a:lnTo>
                    <a:pt x="2328" y="1200"/>
                  </a:lnTo>
                  <a:lnTo>
                    <a:pt x="2322" y="1224"/>
                  </a:lnTo>
                  <a:lnTo>
                    <a:pt x="2328" y="1230"/>
                  </a:lnTo>
                  <a:lnTo>
                    <a:pt x="2358" y="1230"/>
                  </a:lnTo>
                  <a:lnTo>
                    <a:pt x="2358" y="1242"/>
                  </a:lnTo>
                  <a:lnTo>
                    <a:pt x="2358" y="1254"/>
                  </a:lnTo>
                  <a:lnTo>
                    <a:pt x="2346" y="1254"/>
                  </a:lnTo>
                  <a:lnTo>
                    <a:pt x="2346" y="1278"/>
                  </a:lnTo>
                  <a:lnTo>
                    <a:pt x="2358" y="1278"/>
                  </a:lnTo>
                  <a:lnTo>
                    <a:pt x="2358" y="1284"/>
                  </a:lnTo>
                  <a:lnTo>
                    <a:pt x="2376" y="1284"/>
                  </a:lnTo>
                  <a:lnTo>
                    <a:pt x="2388" y="1278"/>
                  </a:lnTo>
                  <a:lnTo>
                    <a:pt x="2406" y="1278"/>
                  </a:lnTo>
                  <a:lnTo>
                    <a:pt x="2430" y="1284"/>
                  </a:lnTo>
                  <a:lnTo>
                    <a:pt x="2430" y="1302"/>
                  </a:lnTo>
                  <a:lnTo>
                    <a:pt x="2430" y="1314"/>
                  </a:lnTo>
                  <a:lnTo>
                    <a:pt x="2424" y="1326"/>
                  </a:lnTo>
                  <a:lnTo>
                    <a:pt x="2412" y="1326"/>
                  </a:lnTo>
                  <a:lnTo>
                    <a:pt x="2412" y="1344"/>
                  </a:lnTo>
                  <a:lnTo>
                    <a:pt x="2406" y="1344"/>
                  </a:lnTo>
                  <a:lnTo>
                    <a:pt x="2400" y="1362"/>
                  </a:lnTo>
                  <a:lnTo>
                    <a:pt x="2394" y="1368"/>
                  </a:lnTo>
                  <a:lnTo>
                    <a:pt x="2388" y="1374"/>
                  </a:lnTo>
                  <a:lnTo>
                    <a:pt x="2382" y="1380"/>
                  </a:lnTo>
                  <a:lnTo>
                    <a:pt x="2376" y="1386"/>
                  </a:lnTo>
                  <a:lnTo>
                    <a:pt x="2376" y="1392"/>
                  </a:lnTo>
                  <a:lnTo>
                    <a:pt x="2370" y="1404"/>
                  </a:lnTo>
                  <a:lnTo>
                    <a:pt x="2364" y="1416"/>
                  </a:lnTo>
                  <a:lnTo>
                    <a:pt x="2346" y="1434"/>
                  </a:lnTo>
                  <a:lnTo>
                    <a:pt x="2328" y="1440"/>
                  </a:lnTo>
                  <a:lnTo>
                    <a:pt x="2328" y="1446"/>
                  </a:lnTo>
                  <a:lnTo>
                    <a:pt x="2322" y="1452"/>
                  </a:lnTo>
                  <a:lnTo>
                    <a:pt x="2316" y="1452"/>
                  </a:lnTo>
                  <a:lnTo>
                    <a:pt x="2304" y="1446"/>
                  </a:lnTo>
                  <a:lnTo>
                    <a:pt x="2298" y="1446"/>
                  </a:lnTo>
                  <a:lnTo>
                    <a:pt x="2298" y="1434"/>
                  </a:lnTo>
                  <a:lnTo>
                    <a:pt x="2292" y="1434"/>
                  </a:lnTo>
                  <a:lnTo>
                    <a:pt x="2286" y="1428"/>
                  </a:lnTo>
                  <a:lnTo>
                    <a:pt x="2274" y="1416"/>
                  </a:lnTo>
                  <a:lnTo>
                    <a:pt x="2256" y="1404"/>
                  </a:lnTo>
                  <a:lnTo>
                    <a:pt x="2244" y="1386"/>
                  </a:lnTo>
                  <a:lnTo>
                    <a:pt x="2220" y="1368"/>
                  </a:lnTo>
                  <a:lnTo>
                    <a:pt x="2208" y="1362"/>
                  </a:lnTo>
                  <a:lnTo>
                    <a:pt x="2202" y="1350"/>
                  </a:lnTo>
                  <a:lnTo>
                    <a:pt x="2196" y="1350"/>
                  </a:lnTo>
                  <a:lnTo>
                    <a:pt x="2190" y="1356"/>
                  </a:lnTo>
                  <a:lnTo>
                    <a:pt x="2184" y="1356"/>
                  </a:lnTo>
                  <a:lnTo>
                    <a:pt x="2094" y="1350"/>
                  </a:lnTo>
                  <a:lnTo>
                    <a:pt x="2058" y="1350"/>
                  </a:lnTo>
                  <a:lnTo>
                    <a:pt x="2034" y="1890"/>
                  </a:lnTo>
                  <a:lnTo>
                    <a:pt x="2064" y="1890"/>
                  </a:lnTo>
                  <a:lnTo>
                    <a:pt x="2070" y="1896"/>
                  </a:lnTo>
                  <a:lnTo>
                    <a:pt x="2076" y="18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8" name="Freeform 33">
              <a:extLst>
                <a:ext uri="{FF2B5EF4-FFF2-40B4-BE49-F238E27FC236}">
                  <a16:creationId xmlns:a16="http://schemas.microsoft.com/office/drawing/2014/main" id="{0E96F118-1F4D-4E52-AF27-149259451CD6}"/>
                </a:ext>
              </a:extLst>
            </p:cNvPr>
            <p:cNvSpPr>
              <a:spLocks/>
            </p:cNvSpPr>
            <p:nvPr/>
          </p:nvSpPr>
          <p:spPr bwMode="gray">
            <a:xfrm>
              <a:off x="1266662" y="1459989"/>
              <a:ext cx="903421" cy="778302"/>
            </a:xfrm>
            <a:custGeom>
              <a:avLst/>
              <a:gdLst>
                <a:gd name="T0" fmla="*/ 143 w 1698"/>
                <a:gd name="T1" fmla="*/ 43 h 1464"/>
                <a:gd name="T2" fmla="*/ 131 w 1698"/>
                <a:gd name="T3" fmla="*/ 44 h 1464"/>
                <a:gd name="T4" fmla="*/ 126 w 1698"/>
                <a:gd name="T5" fmla="*/ 41 h 1464"/>
                <a:gd name="T6" fmla="*/ 119 w 1698"/>
                <a:gd name="T7" fmla="*/ 45 h 1464"/>
                <a:gd name="T8" fmla="*/ 111 w 1698"/>
                <a:gd name="T9" fmla="*/ 46 h 1464"/>
                <a:gd name="T10" fmla="*/ 107 w 1698"/>
                <a:gd name="T11" fmla="*/ 50 h 1464"/>
                <a:gd name="T12" fmla="*/ 107 w 1698"/>
                <a:gd name="T13" fmla="*/ 60 h 1464"/>
                <a:gd name="T14" fmla="*/ 104 w 1698"/>
                <a:gd name="T15" fmla="*/ 62 h 1464"/>
                <a:gd name="T16" fmla="*/ 97 w 1698"/>
                <a:gd name="T17" fmla="*/ 59 h 1464"/>
                <a:gd name="T18" fmla="*/ 92 w 1698"/>
                <a:gd name="T19" fmla="*/ 59 h 1464"/>
                <a:gd name="T20" fmla="*/ 90 w 1698"/>
                <a:gd name="T21" fmla="*/ 62 h 1464"/>
                <a:gd name="T22" fmla="*/ 93 w 1698"/>
                <a:gd name="T23" fmla="*/ 77 h 1464"/>
                <a:gd name="T24" fmla="*/ 85 w 1698"/>
                <a:gd name="T25" fmla="*/ 88 h 1464"/>
                <a:gd name="T26" fmla="*/ 70 w 1698"/>
                <a:gd name="T27" fmla="*/ 89 h 1464"/>
                <a:gd name="T28" fmla="*/ 65 w 1698"/>
                <a:gd name="T29" fmla="*/ 88 h 1464"/>
                <a:gd name="T30" fmla="*/ 50 w 1698"/>
                <a:gd name="T31" fmla="*/ 88 h 1464"/>
                <a:gd name="T32" fmla="*/ 48 w 1698"/>
                <a:gd name="T33" fmla="*/ 107 h 1464"/>
                <a:gd name="T34" fmla="*/ 47 w 1698"/>
                <a:gd name="T35" fmla="*/ 120 h 1464"/>
                <a:gd name="T36" fmla="*/ 43 w 1698"/>
                <a:gd name="T37" fmla="*/ 121 h 1464"/>
                <a:gd name="T38" fmla="*/ 40 w 1698"/>
                <a:gd name="T39" fmla="*/ 120 h 1464"/>
                <a:gd name="T40" fmla="*/ 35 w 1698"/>
                <a:gd name="T41" fmla="*/ 122 h 1464"/>
                <a:gd name="T42" fmla="*/ 29 w 1698"/>
                <a:gd name="T43" fmla="*/ 123 h 1464"/>
                <a:gd name="T44" fmla="*/ 24 w 1698"/>
                <a:gd name="T45" fmla="*/ 125 h 1464"/>
                <a:gd name="T46" fmla="*/ 20 w 1698"/>
                <a:gd name="T47" fmla="*/ 125 h 1464"/>
                <a:gd name="T48" fmla="*/ 18 w 1698"/>
                <a:gd name="T49" fmla="*/ 122 h 1464"/>
                <a:gd name="T50" fmla="*/ 26 w 1698"/>
                <a:gd name="T51" fmla="*/ 108 h 1464"/>
                <a:gd name="T52" fmla="*/ 24 w 1698"/>
                <a:gd name="T53" fmla="*/ 89 h 1464"/>
                <a:gd name="T54" fmla="*/ 28 w 1698"/>
                <a:gd name="T55" fmla="*/ 85 h 1464"/>
                <a:gd name="T56" fmla="*/ 32 w 1698"/>
                <a:gd name="T57" fmla="*/ 80 h 1464"/>
                <a:gd name="T58" fmla="*/ 36 w 1698"/>
                <a:gd name="T59" fmla="*/ 86 h 1464"/>
                <a:gd name="T60" fmla="*/ 39 w 1698"/>
                <a:gd name="T61" fmla="*/ 80 h 1464"/>
                <a:gd name="T62" fmla="*/ 41 w 1698"/>
                <a:gd name="T63" fmla="*/ 73 h 1464"/>
                <a:gd name="T64" fmla="*/ 38 w 1698"/>
                <a:gd name="T65" fmla="*/ 64 h 1464"/>
                <a:gd name="T66" fmla="*/ 39 w 1698"/>
                <a:gd name="T67" fmla="*/ 59 h 1464"/>
                <a:gd name="T68" fmla="*/ 32 w 1698"/>
                <a:gd name="T69" fmla="*/ 54 h 1464"/>
                <a:gd name="T70" fmla="*/ 32 w 1698"/>
                <a:gd name="T71" fmla="*/ 45 h 1464"/>
                <a:gd name="T72" fmla="*/ 31 w 1698"/>
                <a:gd name="T73" fmla="*/ 41 h 1464"/>
                <a:gd name="T74" fmla="*/ 24 w 1698"/>
                <a:gd name="T75" fmla="*/ 43 h 1464"/>
                <a:gd name="T76" fmla="*/ 17 w 1698"/>
                <a:gd name="T77" fmla="*/ 40 h 1464"/>
                <a:gd name="T78" fmla="*/ 11 w 1698"/>
                <a:gd name="T79" fmla="*/ 38 h 1464"/>
                <a:gd name="T80" fmla="*/ 2 w 1698"/>
                <a:gd name="T81" fmla="*/ 36 h 1464"/>
                <a:gd name="T82" fmla="*/ 0 w 1698"/>
                <a:gd name="T83" fmla="*/ 24 h 1464"/>
                <a:gd name="T84" fmla="*/ 11 w 1698"/>
                <a:gd name="T85" fmla="*/ 18 h 1464"/>
                <a:gd name="T86" fmla="*/ 19 w 1698"/>
                <a:gd name="T87" fmla="*/ 10 h 1464"/>
                <a:gd name="T88" fmla="*/ 28 w 1698"/>
                <a:gd name="T89" fmla="*/ 9 h 1464"/>
                <a:gd name="T90" fmla="*/ 40 w 1698"/>
                <a:gd name="T91" fmla="*/ 6 h 1464"/>
                <a:gd name="T92" fmla="*/ 49 w 1698"/>
                <a:gd name="T93" fmla="*/ 8 h 1464"/>
                <a:gd name="T94" fmla="*/ 56 w 1698"/>
                <a:gd name="T95" fmla="*/ 8 h 1464"/>
                <a:gd name="T96" fmla="*/ 64 w 1698"/>
                <a:gd name="T97" fmla="*/ 7 h 1464"/>
                <a:gd name="T98" fmla="*/ 74 w 1698"/>
                <a:gd name="T99" fmla="*/ 1 h 1464"/>
                <a:gd name="T100" fmla="*/ 83 w 1698"/>
                <a:gd name="T101" fmla="*/ 3 h 1464"/>
                <a:gd name="T102" fmla="*/ 99 w 1698"/>
                <a:gd name="T103" fmla="*/ 9 h 1464"/>
                <a:gd name="T104" fmla="*/ 112 w 1698"/>
                <a:gd name="T105" fmla="*/ 14 h 1464"/>
                <a:gd name="T106" fmla="*/ 119 w 1698"/>
                <a:gd name="T107" fmla="*/ 12 h 1464"/>
                <a:gd name="T108" fmla="*/ 128 w 1698"/>
                <a:gd name="T109" fmla="*/ 17 h 1464"/>
                <a:gd name="T110" fmla="*/ 141 w 1698"/>
                <a:gd name="T111" fmla="*/ 29 h 1464"/>
                <a:gd name="T112" fmla="*/ 145 w 1698"/>
                <a:gd name="T113" fmla="*/ 35 h 14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98"/>
                <a:gd name="T172" fmla="*/ 0 h 1464"/>
                <a:gd name="T173" fmla="*/ 1698 w 1698"/>
                <a:gd name="T174" fmla="*/ 1464 h 14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98" h="1464">
                  <a:moveTo>
                    <a:pt x="1698" y="462"/>
                  </a:moveTo>
                  <a:lnTo>
                    <a:pt x="1686" y="468"/>
                  </a:lnTo>
                  <a:lnTo>
                    <a:pt x="1680" y="474"/>
                  </a:lnTo>
                  <a:lnTo>
                    <a:pt x="1674" y="480"/>
                  </a:lnTo>
                  <a:lnTo>
                    <a:pt x="1668" y="480"/>
                  </a:lnTo>
                  <a:lnTo>
                    <a:pt x="1662" y="486"/>
                  </a:lnTo>
                  <a:lnTo>
                    <a:pt x="1656" y="492"/>
                  </a:lnTo>
                  <a:lnTo>
                    <a:pt x="1644" y="498"/>
                  </a:lnTo>
                  <a:lnTo>
                    <a:pt x="1626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0" y="516"/>
                  </a:lnTo>
                  <a:lnTo>
                    <a:pt x="1590" y="522"/>
                  </a:lnTo>
                  <a:lnTo>
                    <a:pt x="1566" y="522"/>
                  </a:lnTo>
                  <a:lnTo>
                    <a:pt x="1506" y="510"/>
                  </a:lnTo>
                  <a:lnTo>
                    <a:pt x="1500" y="510"/>
                  </a:lnTo>
                  <a:lnTo>
                    <a:pt x="1488" y="504"/>
                  </a:lnTo>
                  <a:lnTo>
                    <a:pt x="1482" y="498"/>
                  </a:lnTo>
                  <a:lnTo>
                    <a:pt x="1476" y="498"/>
                  </a:lnTo>
                  <a:lnTo>
                    <a:pt x="1476" y="492"/>
                  </a:lnTo>
                  <a:lnTo>
                    <a:pt x="1470" y="492"/>
                  </a:lnTo>
                  <a:lnTo>
                    <a:pt x="1464" y="486"/>
                  </a:lnTo>
                  <a:lnTo>
                    <a:pt x="1452" y="486"/>
                  </a:lnTo>
                  <a:lnTo>
                    <a:pt x="1446" y="474"/>
                  </a:lnTo>
                  <a:lnTo>
                    <a:pt x="1434" y="468"/>
                  </a:lnTo>
                  <a:lnTo>
                    <a:pt x="1416" y="468"/>
                  </a:lnTo>
                  <a:lnTo>
                    <a:pt x="1392" y="468"/>
                  </a:lnTo>
                  <a:lnTo>
                    <a:pt x="1374" y="474"/>
                  </a:lnTo>
                  <a:lnTo>
                    <a:pt x="1368" y="474"/>
                  </a:lnTo>
                  <a:lnTo>
                    <a:pt x="1368" y="486"/>
                  </a:lnTo>
                  <a:lnTo>
                    <a:pt x="1368" y="498"/>
                  </a:lnTo>
                  <a:lnTo>
                    <a:pt x="1368" y="522"/>
                  </a:lnTo>
                  <a:lnTo>
                    <a:pt x="1368" y="534"/>
                  </a:lnTo>
                  <a:lnTo>
                    <a:pt x="1362" y="546"/>
                  </a:lnTo>
                  <a:lnTo>
                    <a:pt x="1356" y="546"/>
                  </a:lnTo>
                  <a:lnTo>
                    <a:pt x="1344" y="540"/>
                  </a:lnTo>
                  <a:lnTo>
                    <a:pt x="1338" y="534"/>
                  </a:lnTo>
                  <a:lnTo>
                    <a:pt x="1308" y="522"/>
                  </a:lnTo>
                  <a:lnTo>
                    <a:pt x="1296" y="522"/>
                  </a:lnTo>
                  <a:lnTo>
                    <a:pt x="1278" y="528"/>
                  </a:lnTo>
                  <a:lnTo>
                    <a:pt x="1260" y="534"/>
                  </a:lnTo>
                  <a:lnTo>
                    <a:pt x="1242" y="546"/>
                  </a:lnTo>
                  <a:lnTo>
                    <a:pt x="1236" y="552"/>
                  </a:lnTo>
                  <a:lnTo>
                    <a:pt x="1224" y="558"/>
                  </a:lnTo>
                  <a:lnTo>
                    <a:pt x="1218" y="558"/>
                  </a:lnTo>
                  <a:lnTo>
                    <a:pt x="1218" y="564"/>
                  </a:lnTo>
                  <a:lnTo>
                    <a:pt x="1224" y="570"/>
                  </a:lnTo>
                  <a:lnTo>
                    <a:pt x="1224" y="582"/>
                  </a:lnTo>
                  <a:lnTo>
                    <a:pt x="1224" y="594"/>
                  </a:lnTo>
                  <a:lnTo>
                    <a:pt x="1212" y="618"/>
                  </a:lnTo>
                  <a:lnTo>
                    <a:pt x="1212" y="624"/>
                  </a:lnTo>
                  <a:lnTo>
                    <a:pt x="1212" y="630"/>
                  </a:lnTo>
                  <a:lnTo>
                    <a:pt x="1212" y="636"/>
                  </a:lnTo>
                  <a:lnTo>
                    <a:pt x="1218" y="654"/>
                  </a:lnTo>
                  <a:lnTo>
                    <a:pt x="1224" y="672"/>
                  </a:lnTo>
                  <a:lnTo>
                    <a:pt x="1230" y="696"/>
                  </a:lnTo>
                  <a:lnTo>
                    <a:pt x="1236" y="708"/>
                  </a:lnTo>
                  <a:lnTo>
                    <a:pt x="1236" y="714"/>
                  </a:lnTo>
                  <a:lnTo>
                    <a:pt x="1236" y="720"/>
                  </a:lnTo>
                  <a:lnTo>
                    <a:pt x="1218" y="726"/>
                  </a:lnTo>
                  <a:lnTo>
                    <a:pt x="1212" y="726"/>
                  </a:lnTo>
                  <a:lnTo>
                    <a:pt x="1206" y="726"/>
                  </a:lnTo>
                  <a:lnTo>
                    <a:pt x="1194" y="720"/>
                  </a:lnTo>
                  <a:lnTo>
                    <a:pt x="1194" y="714"/>
                  </a:lnTo>
                  <a:lnTo>
                    <a:pt x="1176" y="714"/>
                  </a:lnTo>
                  <a:lnTo>
                    <a:pt x="1164" y="708"/>
                  </a:lnTo>
                  <a:lnTo>
                    <a:pt x="1158" y="708"/>
                  </a:lnTo>
                  <a:lnTo>
                    <a:pt x="1140" y="702"/>
                  </a:lnTo>
                  <a:lnTo>
                    <a:pt x="1134" y="696"/>
                  </a:lnTo>
                  <a:lnTo>
                    <a:pt x="1128" y="690"/>
                  </a:lnTo>
                  <a:lnTo>
                    <a:pt x="1116" y="678"/>
                  </a:lnTo>
                  <a:lnTo>
                    <a:pt x="1110" y="678"/>
                  </a:lnTo>
                  <a:lnTo>
                    <a:pt x="1104" y="672"/>
                  </a:lnTo>
                  <a:lnTo>
                    <a:pt x="1092" y="672"/>
                  </a:lnTo>
                  <a:lnTo>
                    <a:pt x="1086" y="672"/>
                  </a:lnTo>
                  <a:lnTo>
                    <a:pt x="1080" y="672"/>
                  </a:lnTo>
                  <a:lnTo>
                    <a:pt x="1074" y="672"/>
                  </a:lnTo>
                  <a:lnTo>
                    <a:pt x="1068" y="672"/>
                  </a:lnTo>
                  <a:lnTo>
                    <a:pt x="1062" y="678"/>
                  </a:lnTo>
                  <a:lnTo>
                    <a:pt x="1056" y="678"/>
                  </a:lnTo>
                  <a:lnTo>
                    <a:pt x="1056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6"/>
                  </a:lnTo>
                  <a:lnTo>
                    <a:pt x="1032" y="708"/>
                  </a:lnTo>
                  <a:lnTo>
                    <a:pt x="1026" y="708"/>
                  </a:lnTo>
                  <a:lnTo>
                    <a:pt x="1032" y="714"/>
                  </a:lnTo>
                  <a:lnTo>
                    <a:pt x="1026" y="720"/>
                  </a:lnTo>
                  <a:lnTo>
                    <a:pt x="1020" y="720"/>
                  </a:lnTo>
                  <a:lnTo>
                    <a:pt x="1014" y="732"/>
                  </a:lnTo>
                  <a:lnTo>
                    <a:pt x="1014" y="744"/>
                  </a:lnTo>
                  <a:lnTo>
                    <a:pt x="1038" y="810"/>
                  </a:lnTo>
                  <a:lnTo>
                    <a:pt x="1050" y="834"/>
                  </a:lnTo>
                  <a:lnTo>
                    <a:pt x="1056" y="858"/>
                  </a:lnTo>
                  <a:lnTo>
                    <a:pt x="1062" y="876"/>
                  </a:lnTo>
                  <a:lnTo>
                    <a:pt x="1068" y="882"/>
                  </a:lnTo>
                  <a:lnTo>
                    <a:pt x="1062" y="972"/>
                  </a:lnTo>
                  <a:lnTo>
                    <a:pt x="1056" y="972"/>
                  </a:lnTo>
                  <a:lnTo>
                    <a:pt x="1050" y="996"/>
                  </a:lnTo>
                  <a:lnTo>
                    <a:pt x="1044" y="1014"/>
                  </a:lnTo>
                  <a:lnTo>
                    <a:pt x="1008" y="1014"/>
                  </a:lnTo>
                  <a:lnTo>
                    <a:pt x="1008" y="1008"/>
                  </a:lnTo>
                  <a:lnTo>
                    <a:pt x="990" y="1008"/>
                  </a:lnTo>
                  <a:lnTo>
                    <a:pt x="972" y="1014"/>
                  </a:lnTo>
                  <a:lnTo>
                    <a:pt x="948" y="1020"/>
                  </a:lnTo>
                  <a:lnTo>
                    <a:pt x="918" y="1026"/>
                  </a:lnTo>
                  <a:lnTo>
                    <a:pt x="840" y="1032"/>
                  </a:lnTo>
                  <a:lnTo>
                    <a:pt x="834" y="1032"/>
                  </a:lnTo>
                  <a:lnTo>
                    <a:pt x="834" y="1026"/>
                  </a:lnTo>
                  <a:lnTo>
                    <a:pt x="822" y="1026"/>
                  </a:lnTo>
                  <a:lnTo>
                    <a:pt x="816" y="1032"/>
                  </a:lnTo>
                  <a:lnTo>
                    <a:pt x="804" y="1032"/>
                  </a:lnTo>
                  <a:lnTo>
                    <a:pt x="798" y="1026"/>
                  </a:lnTo>
                  <a:lnTo>
                    <a:pt x="780" y="1026"/>
                  </a:lnTo>
                  <a:lnTo>
                    <a:pt x="762" y="1026"/>
                  </a:lnTo>
                  <a:lnTo>
                    <a:pt x="756" y="1026"/>
                  </a:lnTo>
                  <a:lnTo>
                    <a:pt x="750" y="1026"/>
                  </a:lnTo>
                  <a:lnTo>
                    <a:pt x="756" y="1020"/>
                  </a:lnTo>
                  <a:lnTo>
                    <a:pt x="750" y="1020"/>
                  </a:lnTo>
                  <a:lnTo>
                    <a:pt x="744" y="1014"/>
                  </a:lnTo>
                  <a:lnTo>
                    <a:pt x="684" y="1020"/>
                  </a:lnTo>
                  <a:lnTo>
                    <a:pt x="648" y="1020"/>
                  </a:lnTo>
                  <a:lnTo>
                    <a:pt x="630" y="1020"/>
                  </a:lnTo>
                  <a:lnTo>
                    <a:pt x="618" y="1020"/>
                  </a:lnTo>
                  <a:lnTo>
                    <a:pt x="606" y="1014"/>
                  </a:lnTo>
                  <a:lnTo>
                    <a:pt x="582" y="1014"/>
                  </a:lnTo>
                  <a:lnTo>
                    <a:pt x="576" y="1014"/>
                  </a:lnTo>
                  <a:lnTo>
                    <a:pt x="570" y="1014"/>
                  </a:lnTo>
                  <a:lnTo>
                    <a:pt x="564" y="1020"/>
                  </a:lnTo>
                  <a:lnTo>
                    <a:pt x="558" y="1026"/>
                  </a:lnTo>
                  <a:lnTo>
                    <a:pt x="552" y="1032"/>
                  </a:lnTo>
                  <a:lnTo>
                    <a:pt x="552" y="1038"/>
                  </a:lnTo>
                  <a:lnTo>
                    <a:pt x="558" y="1194"/>
                  </a:lnTo>
                  <a:lnTo>
                    <a:pt x="558" y="1206"/>
                  </a:lnTo>
                  <a:lnTo>
                    <a:pt x="552" y="1218"/>
                  </a:lnTo>
                  <a:lnTo>
                    <a:pt x="552" y="1236"/>
                  </a:lnTo>
                  <a:lnTo>
                    <a:pt x="546" y="1272"/>
                  </a:lnTo>
                  <a:lnTo>
                    <a:pt x="546" y="1308"/>
                  </a:lnTo>
                  <a:lnTo>
                    <a:pt x="540" y="1332"/>
                  </a:lnTo>
                  <a:lnTo>
                    <a:pt x="546" y="1356"/>
                  </a:lnTo>
                  <a:lnTo>
                    <a:pt x="546" y="1362"/>
                  </a:lnTo>
                  <a:lnTo>
                    <a:pt x="546" y="1374"/>
                  </a:lnTo>
                  <a:lnTo>
                    <a:pt x="546" y="1380"/>
                  </a:lnTo>
                  <a:lnTo>
                    <a:pt x="540" y="1380"/>
                  </a:lnTo>
                  <a:lnTo>
                    <a:pt x="522" y="1380"/>
                  </a:lnTo>
                  <a:lnTo>
                    <a:pt x="516" y="1380"/>
                  </a:lnTo>
                  <a:lnTo>
                    <a:pt x="516" y="1386"/>
                  </a:lnTo>
                  <a:lnTo>
                    <a:pt x="516" y="1392"/>
                  </a:lnTo>
                  <a:lnTo>
                    <a:pt x="510" y="1392"/>
                  </a:lnTo>
                  <a:lnTo>
                    <a:pt x="504" y="1386"/>
                  </a:lnTo>
                  <a:lnTo>
                    <a:pt x="498" y="1392"/>
                  </a:lnTo>
                  <a:lnTo>
                    <a:pt x="492" y="1398"/>
                  </a:lnTo>
                  <a:lnTo>
                    <a:pt x="486" y="1398"/>
                  </a:lnTo>
                  <a:lnTo>
                    <a:pt x="486" y="1392"/>
                  </a:lnTo>
                  <a:lnTo>
                    <a:pt x="486" y="1380"/>
                  </a:lnTo>
                  <a:lnTo>
                    <a:pt x="486" y="1374"/>
                  </a:lnTo>
                  <a:lnTo>
                    <a:pt x="480" y="1374"/>
                  </a:lnTo>
                  <a:lnTo>
                    <a:pt x="474" y="1374"/>
                  </a:lnTo>
                  <a:lnTo>
                    <a:pt x="468" y="1380"/>
                  </a:lnTo>
                  <a:lnTo>
                    <a:pt x="462" y="1380"/>
                  </a:lnTo>
                  <a:lnTo>
                    <a:pt x="456" y="1380"/>
                  </a:lnTo>
                  <a:lnTo>
                    <a:pt x="450" y="1386"/>
                  </a:lnTo>
                  <a:lnTo>
                    <a:pt x="444" y="1386"/>
                  </a:lnTo>
                  <a:lnTo>
                    <a:pt x="444" y="1392"/>
                  </a:lnTo>
                  <a:lnTo>
                    <a:pt x="432" y="1398"/>
                  </a:lnTo>
                  <a:lnTo>
                    <a:pt x="426" y="1404"/>
                  </a:lnTo>
                  <a:lnTo>
                    <a:pt x="420" y="1404"/>
                  </a:lnTo>
                  <a:lnTo>
                    <a:pt x="408" y="1404"/>
                  </a:lnTo>
                  <a:lnTo>
                    <a:pt x="378" y="1410"/>
                  </a:lnTo>
                  <a:lnTo>
                    <a:pt x="372" y="1410"/>
                  </a:lnTo>
                  <a:lnTo>
                    <a:pt x="360" y="1410"/>
                  </a:lnTo>
                  <a:lnTo>
                    <a:pt x="354" y="1416"/>
                  </a:lnTo>
                  <a:lnTo>
                    <a:pt x="348" y="1416"/>
                  </a:lnTo>
                  <a:lnTo>
                    <a:pt x="342" y="1410"/>
                  </a:lnTo>
                  <a:lnTo>
                    <a:pt x="336" y="1410"/>
                  </a:lnTo>
                  <a:lnTo>
                    <a:pt x="336" y="1416"/>
                  </a:lnTo>
                  <a:lnTo>
                    <a:pt x="330" y="1422"/>
                  </a:lnTo>
                  <a:lnTo>
                    <a:pt x="324" y="1422"/>
                  </a:lnTo>
                  <a:lnTo>
                    <a:pt x="318" y="1422"/>
                  </a:lnTo>
                  <a:lnTo>
                    <a:pt x="312" y="1428"/>
                  </a:lnTo>
                  <a:lnTo>
                    <a:pt x="312" y="1434"/>
                  </a:lnTo>
                  <a:lnTo>
                    <a:pt x="300" y="1428"/>
                  </a:lnTo>
                  <a:lnTo>
                    <a:pt x="288" y="1434"/>
                  </a:lnTo>
                  <a:lnTo>
                    <a:pt x="282" y="1440"/>
                  </a:lnTo>
                  <a:lnTo>
                    <a:pt x="282" y="1446"/>
                  </a:lnTo>
                  <a:lnTo>
                    <a:pt x="276" y="1446"/>
                  </a:lnTo>
                  <a:lnTo>
                    <a:pt x="276" y="1452"/>
                  </a:lnTo>
                  <a:lnTo>
                    <a:pt x="270" y="1452"/>
                  </a:lnTo>
                  <a:lnTo>
                    <a:pt x="258" y="1464"/>
                  </a:lnTo>
                  <a:lnTo>
                    <a:pt x="240" y="1458"/>
                  </a:lnTo>
                  <a:lnTo>
                    <a:pt x="234" y="1452"/>
                  </a:lnTo>
                  <a:lnTo>
                    <a:pt x="234" y="1446"/>
                  </a:lnTo>
                  <a:lnTo>
                    <a:pt x="228" y="1446"/>
                  </a:lnTo>
                  <a:lnTo>
                    <a:pt x="222" y="1440"/>
                  </a:lnTo>
                  <a:lnTo>
                    <a:pt x="216" y="1440"/>
                  </a:lnTo>
                  <a:lnTo>
                    <a:pt x="210" y="1428"/>
                  </a:lnTo>
                  <a:lnTo>
                    <a:pt x="210" y="1422"/>
                  </a:lnTo>
                  <a:lnTo>
                    <a:pt x="198" y="1416"/>
                  </a:lnTo>
                  <a:lnTo>
                    <a:pt x="204" y="1410"/>
                  </a:lnTo>
                  <a:lnTo>
                    <a:pt x="210" y="1404"/>
                  </a:lnTo>
                  <a:lnTo>
                    <a:pt x="210" y="1398"/>
                  </a:lnTo>
                  <a:lnTo>
                    <a:pt x="252" y="1368"/>
                  </a:lnTo>
                  <a:lnTo>
                    <a:pt x="276" y="1350"/>
                  </a:lnTo>
                  <a:lnTo>
                    <a:pt x="300" y="1338"/>
                  </a:lnTo>
                  <a:lnTo>
                    <a:pt x="294" y="1314"/>
                  </a:lnTo>
                  <a:lnTo>
                    <a:pt x="288" y="1308"/>
                  </a:lnTo>
                  <a:lnTo>
                    <a:pt x="300" y="1266"/>
                  </a:lnTo>
                  <a:lnTo>
                    <a:pt x="300" y="1242"/>
                  </a:lnTo>
                  <a:lnTo>
                    <a:pt x="300" y="1206"/>
                  </a:lnTo>
                  <a:lnTo>
                    <a:pt x="300" y="1164"/>
                  </a:lnTo>
                  <a:lnTo>
                    <a:pt x="294" y="1134"/>
                  </a:lnTo>
                  <a:lnTo>
                    <a:pt x="282" y="1086"/>
                  </a:lnTo>
                  <a:lnTo>
                    <a:pt x="276" y="1074"/>
                  </a:lnTo>
                  <a:lnTo>
                    <a:pt x="276" y="1056"/>
                  </a:lnTo>
                  <a:lnTo>
                    <a:pt x="270" y="1038"/>
                  </a:lnTo>
                  <a:lnTo>
                    <a:pt x="270" y="1020"/>
                  </a:lnTo>
                  <a:lnTo>
                    <a:pt x="282" y="1020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94" y="1002"/>
                  </a:lnTo>
                  <a:lnTo>
                    <a:pt x="306" y="996"/>
                  </a:lnTo>
                  <a:lnTo>
                    <a:pt x="312" y="990"/>
                  </a:lnTo>
                  <a:lnTo>
                    <a:pt x="318" y="990"/>
                  </a:lnTo>
                  <a:lnTo>
                    <a:pt x="324" y="984"/>
                  </a:lnTo>
                  <a:lnTo>
                    <a:pt x="324" y="978"/>
                  </a:lnTo>
                  <a:lnTo>
                    <a:pt x="324" y="972"/>
                  </a:lnTo>
                  <a:lnTo>
                    <a:pt x="324" y="954"/>
                  </a:lnTo>
                  <a:lnTo>
                    <a:pt x="336" y="948"/>
                  </a:lnTo>
                  <a:lnTo>
                    <a:pt x="342" y="936"/>
                  </a:lnTo>
                  <a:lnTo>
                    <a:pt x="348" y="924"/>
                  </a:lnTo>
                  <a:lnTo>
                    <a:pt x="354" y="924"/>
                  </a:lnTo>
                  <a:lnTo>
                    <a:pt x="372" y="924"/>
                  </a:lnTo>
                  <a:lnTo>
                    <a:pt x="372" y="930"/>
                  </a:lnTo>
                  <a:lnTo>
                    <a:pt x="378" y="930"/>
                  </a:lnTo>
                  <a:lnTo>
                    <a:pt x="378" y="936"/>
                  </a:lnTo>
                  <a:lnTo>
                    <a:pt x="384" y="936"/>
                  </a:lnTo>
                  <a:lnTo>
                    <a:pt x="384" y="942"/>
                  </a:lnTo>
                  <a:lnTo>
                    <a:pt x="402" y="942"/>
                  </a:lnTo>
                  <a:lnTo>
                    <a:pt x="402" y="996"/>
                  </a:lnTo>
                  <a:lnTo>
                    <a:pt x="414" y="996"/>
                  </a:lnTo>
                  <a:lnTo>
                    <a:pt x="420" y="996"/>
                  </a:lnTo>
                  <a:lnTo>
                    <a:pt x="426" y="996"/>
                  </a:lnTo>
                  <a:lnTo>
                    <a:pt x="432" y="996"/>
                  </a:lnTo>
                  <a:lnTo>
                    <a:pt x="438" y="996"/>
                  </a:lnTo>
                  <a:lnTo>
                    <a:pt x="438" y="942"/>
                  </a:lnTo>
                  <a:lnTo>
                    <a:pt x="444" y="930"/>
                  </a:lnTo>
                  <a:lnTo>
                    <a:pt x="444" y="924"/>
                  </a:lnTo>
                  <a:lnTo>
                    <a:pt x="444" y="918"/>
                  </a:lnTo>
                  <a:lnTo>
                    <a:pt x="462" y="918"/>
                  </a:lnTo>
                  <a:lnTo>
                    <a:pt x="474" y="906"/>
                  </a:lnTo>
                  <a:lnTo>
                    <a:pt x="480" y="900"/>
                  </a:lnTo>
                  <a:lnTo>
                    <a:pt x="486" y="888"/>
                  </a:lnTo>
                  <a:lnTo>
                    <a:pt x="492" y="876"/>
                  </a:lnTo>
                  <a:lnTo>
                    <a:pt x="492" y="858"/>
                  </a:lnTo>
                  <a:lnTo>
                    <a:pt x="480" y="858"/>
                  </a:lnTo>
                  <a:lnTo>
                    <a:pt x="474" y="840"/>
                  </a:lnTo>
                  <a:lnTo>
                    <a:pt x="450" y="834"/>
                  </a:lnTo>
                  <a:lnTo>
                    <a:pt x="438" y="816"/>
                  </a:lnTo>
                  <a:lnTo>
                    <a:pt x="432" y="792"/>
                  </a:lnTo>
                  <a:lnTo>
                    <a:pt x="432" y="786"/>
                  </a:lnTo>
                  <a:lnTo>
                    <a:pt x="432" y="774"/>
                  </a:lnTo>
                  <a:lnTo>
                    <a:pt x="432" y="762"/>
                  </a:lnTo>
                  <a:lnTo>
                    <a:pt x="438" y="750"/>
                  </a:lnTo>
                  <a:lnTo>
                    <a:pt x="438" y="738"/>
                  </a:lnTo>
                  <a:lnTo>
                    <a:pt x="444" y="732"/>
                  </a:lnTo>
                  <a:lnTo>
                    <a:pt x="450" y="732"/>
                  </a:lnTo>
                  <a:lnTo>
                    <a:pt x="456" y="732"/>
                  </a:lnTo>
                  <a:lnTo>
                    <a:pt x="456" y="726"/>
                  </a:lnTo>
                  <a:lnTo>
                    <a:pt x="456" y="714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44" y="684"/>
                  </a:lnTo>
                  <a:lnTo>
                    <a:pt x="438" y="666"/>
                  </a:lnTo>
                  <a:lnTo>
                    <a:pt x="426" y="666"/>
                  </a:lnTo>
                  <a:lnTo>
                    <a:pt x="432" y="666"/>
                  </a:lnTo>
                  <a:lnTo>
                    <a:pt x="420" y="666"/>
                  </a:lnTo>
                  <a:lnTo>
                    <a:pt x="414" y="660"/>
                  </a:lnTo>
                  <a:lnTo>
                    <a:pt x="396" y="654"/>
                  </a:lnTo>
                  <a:lnTo>
                    <a:pt x="384" y="642"/>
                  </a:lnTo>
                  <a:lnTo>
                    <a:pt x="366" y="624"/>
                  </a:lnTo>
                  <a:lnTo>
                    <a:pt x="354" y="606"/>
                  </a:lnTo>
                  <a:lnTo>
                    <a:pt x="342" y="588"/>
                  </a:lnTo>
                  <a:lnTo>
                    <a:pt x="342" y="582"/>
                  </a:lnTo>
                  <a:lnTo>
                    <a:pt x="360" y="564"/>
                  </a:lnTo>
                  <a:lnTo>
                    <a:pt x="372" y="540"/>
                  </a:lnTo>
                  <a:lnTo>
                    <a:pt x="366" y="528"/>
                  </a:lnTo>
                  <a:lnTo>
                    <a:pt x="366" y="522"/>
                  </a:lnTo>
                  <a:lnTo>
                    <a:pt x="372" y="516"/>
                  </a:lnTo>
                  <a:lnTo>
                    <a:pt x="384" y="504"/>
                  </a:lnTo>
                  <a:lnTo>
                    <a:pt x="378" y="492"/>
                  </a:lnTo>
                  <a:lnTo>
                    <a:pt x="378" y="486"/>
                  </a:lnTo>
                  <a:lnTo>
                    <a:pt x="378" y="480"/>
                  </a:lnTo>
                  <a:lnTo>
                    <a:pt x="378" y="474"/>
                  </a:lnTo>
                  <a:lnTo>
                    <a:pt x="378" y="468"/>
                  </a:lnTo>
                  <a:lnTo>
                    <a:pt x="366" y="468"/>
                  </a:lnTo>
                  <a:lnTo>
                    <a:pt x="360" y="474"/>
                  </a:lnTo>
                  <a:lnTo>
                    <a:pt x="354" y="480"/>
                  </a:lnTo>
                  <a:lnTo>
                    <a:pt x="348" y="486"/>
                  </a:lnTo>
                  <a:lnTo>
                    <a:pt x="348" y="492"/>
                  </a:lnTo>
                  <a:lnTo>
                    <a:pt x="336" y="510"/>
                  </a:lnTo>
                  <a:lnTo>
                    <a:pt x="300" y="516"/>
                  </a:lnTo>
                  <a:lnTo>
                    <a:pt x="300" y="510"/>
                  </a:lnTo>
                  <a:lnTo>
                    <a:pt x="282" y="504"/>
                  </a:lnTo>
                  <a:lnTo>
                    <a:pt x="282" y="498"/>
                  </a:lnTo>
                  <a:lnTo>
                    <a:pt x="264" y="486"/>
                  </a:lnTo>
                  <a:lnTo>
                    <a:pt x="258" y="492"/>
                  </a:lnTo>
                  <a:lnTo>
                    <a:pt x="234" y="492"/>
                  </a:lnTo>
                  <a:lnTo>
                    <a:pt x="222" y="486"/>
                  </a:lnTo>
                  <a:lnTo>
                    <a:pt x="204" y="480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92" y="462"/>
                  </a:lnTo>
                  <a:lnTo>
                    <a:pt x="186" y="462"/>
                  </a:lnTo>
                  <a:lnTo>
                    <a:pt x="180" y="468"/>
                  </a:lnTo>
                  <a:lnTo>
                    <a:pt x="150" y="450"/>
                  </a:lnTo>
                  <a:lnTo>
                    <a:pt x="144" y="438"/>
                  </a:lnTo>
                  <a:lnTo>
                    <a:pt x="138" y="438"/>
                  </a:lnTo>
                  <a:lnTo>
                    <a:pt x="132" y="432"/>
                  </a:lnTo>
                  <a:lnTo>
                    <a:pt x="126" y="432"/>
                  </a:lnTo>
                  <a:lnTo>
                    <a:pt x="120" y="432"/>
                  </a:lnTo>
                  <a:lnTo>
                    <a:pt x="102" y="426"/>
                  </a:lnTo>
                  <a:lnTo>
                    <a:pt x="96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2" y="414"/>
                  </a:lnTo>
                  <a:lnTo>
                    <a:pt x="60" y="414"/>
                  </a:lnTo>
                  <a:lnTo>
                    <a:pt x="30" y="414"/>
                  </a:lnTo>
                  <a:lnTo>
                    <a:pt x="24" y="414"/>
                  </a:lnTo>
                  <a:lnTo>
                    <a:pt x="12" y="414"/>
                  </a:lnTo>
                  <a:lnTo>
                    <a:pt x="0" y="420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0" y="336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30" y="270"/>
                  </a:lnTo>
                  <a:lnTo>
                    <a:pt x="42" y="270"/>
                  </a:lnTo>
                  <a:lnTo>
                    <a:pt x="54" y="264"/>
                  </a:lnTo>
                  <a:lnTo>
                    <a:pt x="78" y="240"/>
                  </a:lnTo>
                  <a:lnTo>
                    <a:pt x="102" y="216"/>
                  </a:lnTo>
                  <a:lnTo>
                    <a:pt x="114" y="210"/>
                  </a:lnTo>
                  <a:lnTo>
                    <a:pt x="120" y="204"/>
                  </a:lnTo>
                  <a:lnTo>
                    <a:pt x="126" y="198"/>
                  </a:lnTo>
                  <a:lnTo>
                    <a:pt x="138" y="18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38"/>
                  </a:lnTo>
                  <a:lnTo>
                    <a:pt x="210" y="126"/>
                  </a:lnTo>
                  <a:lnTo>
                    <a:pt x="216" y="120"/>
                  </a:lnTo>
                  <a:lnTo>
                    <a:pt x="222" y="120"/>
                  </a:lnTo>
                  <a:lnTo>
                    <a:pt x="258" y="114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300" y="102"/>
                  </a:lnTo>
                  <a:lnTo>
                    <a:pt x="312" y="102"/>
                  </a:lnTo>
                  <a:lnTo>
                    <a:pt x="318" y="102"/>
                  </a:lnTo>
                  <a:lnTo>
                    <a:pt x="348" y="96"/>
                  </a:lnTo>
                  <a:lnTo>
                    <a:pt x="366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408" y="84"/>
                  </a:lnTo>
                  <a:lnTo>
                    <a:pt x="420" y="84"/>
                  </a:lnTo>
                  <a:lnTo>
                    <a:pt x="462" y="72"/>
                  </a:lnTo>
                  <a:lnTo>
                    <a:pt x="474" y="72"/>
                  </a:lnTo>
                  <a:lnTo>
                    <a:pt x="474" y="78"/>
                  </a:lnTo>
                  <a:lnTo>
                    <a:pt x="492" y="90"/>
                  </a:lnTo>
                  <a:lnTo>
                    <a:pt x="498" y="90"/>
                  </a:lnTo>
                  <a:lnTo>
                    <a:pt x="522" y="96"/>
                  </a:lnTo>
                  <a:lnTo>
                    <a:pt x="540" y="96"/>
                  </a:lnTo>
                  <a:lnTo>
                    <a:pt x="546" y="96"/>
                  </a:lnTo>
                  <a:lnTo>
                    <a:pt x="558" y="96"/>
                  </a:lnTo>
                  <a:lnTo>
                    <a:pt x="564" y="96"/>
                  </a:lnTo>
                  <a:lnTo>
                    <a:pt x="576" y="96"/>
                  </a:lnTo>
                  <a:lnTo>
                    <a:pt x="588" y="96"/>
                  </a:lnTo>
                  <a:lnTo>
                    <a:pt x="612" y="90"/>
                  </a:lnTo>
                  <a:lnTo>
                    <a:pt x="624" y="90"/>
                  </a:lnTo>
                  <a:lnTo>
                    <a:pt x="636" y="90"/>
                  </a:lnTo>
                  <a:lnTo>
                    <a:pt x="642" y="90"/>
                  </a:lnTo>
                  <a:lnTo>
                    <a:pt x="648" y="96"/>
                  </a:lnTo>
                  <a:lnTo>
                    <a:pt x="660" y="96"/>
                  </a:lnTo>
                  <a:lnTo>
                    <a:pt x="666" y="96"/>
                  </a:lnTo>
                  <a:lnTo>
                    <a:pt x="672" y="96"/>
                  </a:lnTo>
                  <a:lnTo>
                    <a:pt x="684" y="96"/>
                  </a:lnTo>
                  <a:lnTo>
                    <a:pt x="708" y="96"/>
                  </a:lnTo>
                  <a:lnTo>
                    <a:pt x="714" y="96"/>
                  </a:lnTo>
                  <a:lnTo>
                    <a:pt x="726" y="96"/>
                  </a:lnTo>
                  <a:lnTo>
                    <a:pt x="738" y="84"/>
                  </a:lnTo>
                  <a:lnTo>
                    <a:pt x="744" y="78"/>
                  </a:lnTo>
                  <a:lnTo>
                    <a:pt x="756" y="66"/>
                  </a:lnTo>
                  <a:lnTo>
                    <a:pt x="774" y="42"/>
                  </a:lnTo>
                  <a:lnTo>
                    <a:pt x="780" y="30"/>
                  </a:lnTo>
                  <a:lnTo>
                    <a:pt x="816" y="24"/>
                  </a:lnTo>
                  <a:lnTo>
                    <a:pt x="840" y="18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64" y="6"/>
                  </a:lnTo>
                  <a:lnTo>
                    <a:pt x="870" y="6"/>
                  </a:lnTo>
                  <a:lnTo>
                    <a:pt x="894" y="0"/>
                  </a:lnTo>
                  <a:lnTo>
                    <a:pt x="900" y="6"/>
                  </a:lnTo>
                  <a:lnTo>
                    <a:pt x="930" y="18"/>
                  </a:lnTo>
                  <a:lnTo>
                    <a:pt x="942" y="24"/>
                  </a:lnTo>
                  <a:lnTo>
                    <a:pt x="954" y="30"/>
                  </a:lnTo>
                  <a:lnTo>
                    <a:pt x="1026" y="60"/>
                  </a:lnTo>
                  <a:lnTo>
                    <a:pt x="1032" y="60"/>
                  </a:lnTo>
                  <a:lnTo>
                    <a:pt x="1038" y="66"/>
                  </a:lnTo>
                  <a:lnTo>
                    <a:pt x="1068" y="72"/>
                  </a:lnTo>
                  <a:lnTo>
                    <a:pt x="1098" y="84"/>
                  </a:lnTo>
                  <a:lnTo>
                    <a:pt x="1122" y="90"/>
                  </a:lnTo>
                  <a:lnTo>
                    <a:pt x="1122" y="96"/>
                  </a:lnTo>
                  <a:lnTo>
                    <a:pt x="1140" y="102"/>
                  </a:lnTo>
                  <a:lnTo>
                    <a:pt x="1182" y="114"/>
                  </a:lnTo>
                  <a:lnTo>
                    <a:pt x="1188" y="114"/>
                  </a:lnTo>
                  <a:lnTo>
                    <a:pt x="1200" y="120"/>
                  </a:lnTo>
                  <a:lnTo>
                    <a:pt x="1212" y="126"/>
                  </a:lnTo>
                  <a:lnTo>
                    <a:pt x="1224" y="126"/>
                  </a:lnTo>
                  <a:lnTo>
                    <a:pt x="1248" y="138"/>
                  </a:lnTo>
                  <a:lnTo>
                    <a:pt x="1272" y="150"/>
                  </a:lnTo>
                  <a:lnTo>
                    <a:pt x="1284" y="156"/>
                  </a:lnTo>
                  <a:lnTo>
                    <a:pt x="1290" y="162"/>
                  </a:lnTo>
                  <a:lnTo>
                    <a:pt x="1296" y="162"/>
                  </a:lnTo>
                  <a:lnTo>
                    <a:pt x="1308" y="156"/>
                  </a:lnTo>
                  <a:lnTo>
                    <a:pt x="1320" y="150"/>
                  </a:lnTo>
                  <a:lnTo>
                    <a:pt x="1326" y="150"/>
                  </a:lnTo>
                  <a:lnTo>
                    <a:pt x="1338" y="144"/>
                  </a:lnTo>
                  <a:lnTo>
                    <a:pt x="1362" y="144"/>
                  </a:lnTo>
                  <a:lnTo>
                    <a:pt x="1368" y="144"/>
                  </a:lnTo>
                  <a:lnTo>
                    <a:pt x="1374" y="144"/>
                  </a:lnTo>
                  <a:lnTo>
                    <a:pt x="1386" y="150"/>
                  </a:lnTo>
                  <a:lnTo>
                    <a:pt x="1392" y="150"/>
                  </a:lnTo>
                  <a:lnTo>
                    <a:pt x="1398" y="150"/>
                  </a:lnTo>
                  <a:lnTo>
                    <a:pt x="1416" y="162"/>
                  </a:lnTo>
                  <a:lnTo>
                    <a:pt x="1458" y="186"/>
                  </a:lnTo>
                  <a:lnTo>
                    <a:pt x="1464" y="186"/>
                  </a:lnTo>
                  <a:lnTo>
                    <a:pt x="1470" y="192"/>
                  </a:lnTo>
                  <a:lnTo>
                    <a:pt x="1482" y="204"/>
                  </a:lnTo>
                  <a:lnTo>
                    <a:pt x="1512" y="234"/>
                  </a:lnTo>
                  <a:lnTo>
                    <a:pt x="1554" y="276"/>
                  </a:lnTo>
                  <a:lnTo>
                    <a:pt x="1560" y="276"/>
                  </a:lnTo>
                  <a:lnTo>
                    <a:pt x="1566" y="282"/>
                  </a:lnTo>
                  <a:lnTo>
                    <a:pt x="1578" y="294"/>
                  </a:lnTo>
                  <a:lnTo>
                    <a:pt x="1602" y="318"/>
                  </a:lnTo>
                  <a:lnTo>
                    <a:pt x="1614" y="330"/>
                  </a:lnTo>
                  <a:lnTo>
                    <a:pt x="1620" y="336"/>
                  </a:lnTo>
                  <a:lnTo>
                    <a:pt x="1626" y="342"/>
                  </a:lnTo>
                  <a:lnTo>
                    <a:pt x="1632" y="354"/>
                  </a:lnTo>
                  <a:lnTo>
                    <a:pt x="1644" y="366"/>
                  </a:lnTo>
                  <a:lnTo>
                    <a:pt x="1650" y="378"/>
                  </a:lnTo>
                  <a:lnTo>
                    <a:pt x="1650" y="384"/>
                  </a:lnTo>
                  <a:lnTo>
                    <a:pt x="1656" y="384"/>
                  </a:lnTo>
                  <a:lnTo>
                    <a:pt x="1662" y="402"/>
                  </a:lnTo>
                  <a:lnTo>
                    <a:pt x="1668" y="408"/>
                  </a:lnTo>
                  <a:lnTo>
                    <a:pt x="1674" y="426"/>
                  </a:lnTo>
                  <a:lnTo>
                    <a:pt x="1686" y="438"/>
                  </a:lnTo>
                  <a:lnTo>
                    <a:pt x="1698" y="46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9" name="Freeform 34">
              <a:extLst>
                <a:ext uri="{FF2B5EF4-FFF2-40B4-BE49-F238E27FC236}">
                  <a16:creationId xmlns:a16="http://schemas.microsoft.com/office/drawing/2014/main" id="{94603F24-8CF7-4226-A433-00D18CA7D9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1988" y="1681402"/>
              <a:ext cx="869877" cy="1060101"/>
            </a:xfrm>
            <a:custGeom>
              <a:avLst/>
              <a:gdLst>
                <a:gd name="T0" fmla="*/ 4 w 1638"/>
                <a:gd name="T1" fmla="*/ 111 h 1998"/>
                <a:gd name="T2" fmla="*/ 6 w 1638"/>
                <a:gd name="T3" fmla="*/ 87 h 1998"/>
                <a:gd name="T4" fmla="*/ 10 w 1638"/>
                <a:gd name="T5" fmla="*/ 80 h 1998"/>
                <a:gd name="T6" fmla="*/ 10 w 1638"/>
                <a:gd name="T7" fmla="*/ 71 h 1998"/>
                <a:gd name="T8" fmla="*/ 9 w 1638"/>
                <a:gd name="T9" fmla="*/ 56 h 1998"/>
                <a:gd name="T10" fmla="*/ 8 w 1638"/>
                <a:gd name="T11" fmla="*/ 40 h 1998"/>
                <a:gd name="T12" fmla="*/ 20 w 1638"/>
                <a:gd name="T13" fmla="*/ 30 h 1998"/>
                <a:gd name="T14" fmla="*/ 30 w 1638"/>
                <a:gd name="T15" fmla="*/ 19 h 1998"/>
                <a:gd name="T16" fmla="*/ 35 w 1638"/>
                <a:gd name="T17" fmla="*/ 2 h 1998"/>
                <a:gd name="T18" fmla="*/ 47 w 1638"/>
                <a:gd name="T19" fmla="*/ 2 h 1998"/>
                <a:gd name="T20" fmla="*/ 56 w 1638"/>
                <a:gd name="T21" fmla="*/ 7 h 1998"/>
                <a:gd name="T22" fmla="*/ 67 w 1638"/>
                <a:gd name="T23" fmla="*/ 5 h 1998"/>
                <a:gd name="T24" fmla="*/ 65 w 1638"/>
                <a:gd name="T25" fmla="*/ 15 h 1998"/>
                <a:gd name="T26" fmla="*/ 74 w 1638"/>
                <a:gd name="T27" fmla="*/ 24 h 1998"/>
                <a:gd name="T28" fmla="*/ 73 w 1638"/>
                <a:gd name="T29" fmla="*/ 33 h 1998"/>
                <a:gd name="T30" fmla="*/ 74 w 1638"/>
                <a:gd name="T31" fmla="*/ 44 h 1998"/>
                <a:gd name="T32" fmla="*/ 68 w 1638"/>
                <a:gd name="T33" fmla="*/ 45 h 1998"/>
                <a:gd name="T34" fmla="*/ 63 w 1638"/>
                <a:gd name="T35" fmla="*/ 50 h 1998"/>
                <a:gd name="T36" fmla="*/ 61 w 1638"/>
                <a:gd name="T37" fmla="*/ 62 h 1998"/>
                <a:gd name="T38" fmla="*/ 53 w 1638"/>
                <a:gd name="T39" fmla="*/ 86 h 1998"/>
                <a:gd name="T40" fmla="*/ 59 w 1638"/>
                <a:gd name="T41" fmla="*/ 90 h 1998"/>
                <a:gd name="T42" fmla="*/ 65 w 1638"/>
                <a:gd name="T43" fmla="*/ 86 h 1998"/>
                <a:gd name="T44" fmla="*/ 74 w 1638"/>
                <a:gd name="T45" fmla="*/ 84 h 1998"/>
                <a:gd name="T46" fmla="*/ 79 w 1638"/>
                <a:gd name="T47" fmla="*/ 85 h 1998"/>
                <a:gd name="T48" fmla="*/ 84 w 1638"/>
                <a:gd name="T49" fmla="*/ 84 h 1998"/>
                <a:gd name="T50" fmla="*/ 91 w 1638"/>
                <a:gd name="T51" fmla="*/ 84 h 1998"/>
                <a:gd name="T52" fmla="*/ 94 w 1638"/>
                <a:gd name="T53" fmla="*/ 81 h 1998"/>
                <a:gd name="T54" fmla="*/ 100 w 1638"/>
                <a:gd name="T55" fmla="*/ 81 h 1998"/>
                <a:gd name="T56" fmla="*/ 102 w 1638"/>
                <a:gd name="T57" fmla="*/ 84 h 1998"/>
                <a:gd name="T58" fmla="*/ 108 w 1638"/>
                <a:gd name="T59" fmla="*/ 85 h 1998"/>
                <a:gd name="T60" fmla="*/ 113 w 1638"/>
                <a:gd name="T61" fmla="*/ 88 h 1998"/>
                <a:gd name="T62" fmla="*/ 116 w 1638"/>
                <a:gd name="T63" fmla="*/ 88 h 1998"/>
                <a:gd name="T64" fmla="*/ 123 w 1638"/>
                <a:gd name="T65" fmla="*/ 87 h 1998"/>
                <a:gd name="T66" fmla="*/ 128 w 1638"/>
                <a:gd name="T67" fmla="*/ 86 h 1998"/>
                <a:gd name="T68" fmla="*/ 132 w 1638"/>
                <a:gd name="T69" fmla="*/ 90 h 1998"/>
                <a:gd name="T70" fmla="*/ 138 w 1638"/>
                <a:gd name="T71" fmla="*/ 96 h 1998"/>
                <a:gd name="T72" fmla="*/ 138 w 1638"/>
                <a:gd name="T73" fmla="*/ 110 h 1998"/>
                <a:gd name="T74" fmla="*/ 137 w 1638"/>
                <a:gd name="T75" fmla="*/ 118 h 1998"/>
                <a:gd name="T76" fmla="*/ 133 w 1638"/>
                <a:gd name="T77" fmla="*/ 124 h 1998"/>
                <a:gd name="T78" fmla="*/ 122 w 1638"/>
                <a:gd name="T79" fmla="*/ 125 h 1998"/>
                <a:gd name="T80" fmla="*/ 116 w 1638"/>
                <a:gd name="T81" fmla="*/ 127 h 1998"/>
                <a:gd name="T82" fmla="*/ 108 w 1638"/>
                <a:gd name="T83" fmla="*/ 123 h 1998"/>
                <a:gd name="T84" fmla="*/ 109 w 1638"/>
                <a:gd name="T85" fmla="*/ 119 h 1998"/>
                <a:gd name="T86" fmla="*/ 104 w 1638"/>
                <a:gd name="T87" fmla="*/ 104 h 1998"/>
                <a:gd name="T88" fmla="*/ 94 w 1638"/>
                <a:gd name="T89" fmla="*/ 105 h 1998"/>
                <a:gd name="T90" fmla="*/ 88 w 1638"/>
                <a:gd name="T91" fmla="*/ 109 h 1998"/>
                <a:gd name="T92" fmla="*/ 76 w 1638"/>
                <a:gd name="T93" fmla="*/ 107 h 1998"/>
                <a:gd name="T94" fmla="*/ 72 w 1638"/>
                <a:gd name="T95" fmla="*/ 114 h 1998"/>
                <a:gd name="T96" fmla="*/ 86 w 1638"/>
                <a:gd name="T97" fmla="*/ 121 h 1998"/>
                <a:gd name="T98" fmla="*/ 87 w 1638"/>
                <a:gd name="T99" fmla="*/ 129 h 1998"/>
                <a:gd name="T100" fmla="*/ 86 w 1638"/>
                <a:gd name="T101" fmla="*/ 137 h 1998"/>
                <a:gd name="T102" fmla="*/ 79 w 1638"/>
                <a:gd name="T103" fmla="*/ 141 h 1998"/>
                <a:gd name="T104" fmla="*/ 73 w 1638"/>
                <a:gd name="T105" fmla="*/ 144 h 1998"/>
                <a:gd name="T106" fmla="*/ 72 w 1638"/>
                <a:gd name="T107" fmla="*/ 164 h 1998"/>
                <a:gd name="T108" fmla="*/ 68 w 1638"/>
                <a:gd name="T109" fmla="*/ 172 h 1998"/>
                <a:gd name="T110" fmla="*/ 59 w 1638"/>
                <a:gd name="T111" fmla="*/ 164 h 1998"/>
                <a:gd name="T112" fmla="*/ 65 w 1638"/>
                <a:gd name="T113" fmla="*/ 146 h 1998"/>
                <a:gd name="T114" fmla="*/ 69 w 1638"/>
                <a:gd name="T115" fmla="*/ 133 h 1998"/>
                <a:gd name="T116" fmla="*/ 61 w 1638"/>
                <a:gd name="T117" fmla="*/ 131 h 1998"/>
                <a:gd name="T118" fmla="*/ 43 w 1638"/>
                <a:gd name="T119" fmla="*/ 125 h 1998"/>
                <a:gd name="T120" fmla="*/ 23 w 1638"/>
                <a:gd name="T121" fmla="*/ 125 h 1998"/>
                <a:gd name="T122" fmla="*/ 17 w 1638"/>
                <a:gd name="T123" fmla="*/ 121 h 19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638"/>
                <a:gd name="T187" fmla="*/ 0 h 1998"/>
                <a:gd name="T188" fmla="*/ 1638 w 1638"/>
                <a:gd name="T189" fmla="*/ 1998 h 19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638" h="1998">
                  <a:moveTo>
                    <a:pt x="144" y="1380"/>
                  </a:moveTo>
                  <a:lnTo>
                    <a:pt x="150" y="1368"/>
                  </a:lnTo>
                  <a:lnTo>
                    <a:pt x="150" y="1362"/>
                  </a:lnTo>
                  <a:lnTo>
                    <a:pt x="150" y="1356"/>
                  </a:lnTo>
                  <a:lnTo>
                    <a:pt x="144" y="1356"/>
                  </a:lnTo>
                  <a:lnTo>
                    <a:pt x="138" y="1356"/>
                  </a:lnTo>
                  <a:lnTo>
                    <a:pt x="126" y="1356"/>
                  </a:lnTo>
                  <a:lnTo>
                    <a:pt x="114" y="1344"/>
                  </a:lnTo>
                  <a:lnTo>
                    <a:pt x="84" y="1320"/>
                  </a:lnTo>
                  <a:lnTo>
                    <a:pt x="54" y="1296"/>
                  </a:lnTo>
                  <a:lnTo>
                    <a:pt x="48" y="1290"/>
                  </a:lnTo>
                  <a:lnTo>
                    <a:pt x="42" y="1278"/>
                  </a:lnTo>
                  <a:lnTo>
                    <a:pt x="30" y="1272"/>
                  </a:lnTo>
                  <a:lnTo>
                    <a:pt x="0" y="1248"/>
                  </a:lnTo>
                  <a:lnTo>
                    <a:pt x="6" y="1230"/>
                  </a:lnTo>
                  <a:lnTo>
                    <a:pt x="12" y="1194"/>
                  </a:lnTo>
                  <a:lnTo>
                    <a:pt x="18" y="1170"/>
                  </a:lnTo>
                  <a:lnTo>
                    <a:pt x="30" y="1134"/>
                  </a:lnTo>
                  <a:lnTo>
                    <a:pt x="36" y="1086"/>
                  </a:lnTo>
                  <a:lnTo>
                    <a:pt x="42" y="1050"/>
                  </a:lnTo>
                  <a:lnTo>
                    <a:pt x="48" y="1044"/>
                  </a:lnTo>
                  <a:lnTo>
                    <a:pt x="54" y="1026"/>
                  </a:lnTo>
                  <a:lnTo>
                    <a:pt x="60" y="1014"/>
                  </a:lnTo>
                  <a:lnTo>
                    <a:pt x="66" y="1002"/>
                  </a:lnTo>
                  <a:lnTo>
                    <a:pt x="66" y="996"/>
                  </a:lnTo>
                  <a:lnTo>
                    <a:pt x="72" y="996"/>
                  </a:lnTo>
                  <a:lnTo>
                    <a:pt x="72" y="990"/>
                  </a:lnTo>
                  <a:lnTo>
                    <a:pt x="78" y="990"/>
                  </a:lnTo>
                  <a:lnTo>
                    <a:pt x="90" y="978"/>
                  </a:lnTo>
                  <a:lnTo>
                    <a:pt x="96" y="966"/>
                  </a:lnTo>
                  <a:lnTo>
                    <a:pt x="102" y="966"/>
                  </a:lnTo>
                  <a:lnTo>
                    <a:pt x="114" y="954"/>
                  </a:lnTo>
                  <a:lnTo>
                    <a:pt x="120" y="954"/>
                  </a:lnTo>
                  <a:lnTo>
                    <a:pt x="120" y="948"/>
                  </a:lnTo>
                  <a:lnTo>
                    <a:pt x="114" y="930"/>
                  </a:lnTo>
                  <a:lnTo>
                    <a:pt x="114" y="924"/>
                  </a:lnTo>
                  <a:lnTo>
                    <a:pt x="108" y="918"/>
                  </a:lnTo>
                  <a:lnTo>
                    <a:pt x="102" y="912"/>
                  </a:lnTo>
                  <a:lnTo>
                    <a:pt x="90" y="906"/>
                  </a:lnTo>
                  <a:lnTo>
                    <a:pt x="84" y="900"/>
                  </a:lnTo>
                  <a:lnTo>
                    <a:pt x="84" y="888"/>
                  </a:lnTo>
                  <a:lnTo>
                    <a:pt x="84" y="882"/>
                  </a:lnTo>
                  <a:lnTo>
                    <a:pt x="78" y="858"/>
                  </a:lnTo>
                  <a:lnTo>
                    <a:pt x="78" y="852"/>
                  </a:lnTo>
                  <a:lnTo>
                    <a:pt x="84" y="846"/>
                  </a:lnTo>
                  <a:lnTo>
                    <a:pt x="84" y="840"/>
                  </a:lnTo>
                  <a:lnTo>
                    <a:pt x="96" y="828"/>
                  </a:lnTo>
                  <a:lnTo>
                    <a:pt x="114" y="816"/>
                  </a:lnTo>
                  <a:lnTo>
                    <a:pt x="114" y="810"/>
                  </a:lnTo>
                  <a:lnTo>
                    <a:pt x="114" y="804"/>
                  </a:lnTo>
                  <a:lnTo>
                    <a:pt x="108" y="780"/>
                  </a:lnTo>
                  <a:lnTo>
                    <a:pt x="96" y="756"/>
                  </a:lnTo>
                  <a:lnTo>
                    <a:pt x="96" y="750"/>
                  </a:lnTo>
                  <a:lnTo>
                    <a:pt x="90" y="720"/>
                  </a:lnTo>
                  <a:lnTo>
                    <a:pt x="90" y="708"/>
                  </a:lnTo>
                  <a:lnTo>
                    <a:pt x="90" y="690"/>
                  </a:lnTo>
                  <a:lnTo>
                    <a:pt x="96" y="672"/>
                  </a:lnTo>
                  <a:lnTo>
                    <a:pt x="90" y="666"/>
                  </a:lnTo>
                  <a:lnTo>
                    <a:pt x="96" y="666"/>
                  </a:lnTo>
                  <a:lnTo>
                    <a:pt x="102" y="642"/>
                  </a:lnTo>
                  <a:lnTo>
                    <a:pt x="108" y="624"/>
                  </a:lnTo>
                  <a:lnTo>
                    <a:pt x="102" y="618"/>
                  </a:lnTo>
                  <a:lnTo>
                    <a:pt x="102" y="588"/>
                  </a:lnTo>
                  <a:lnTo>
                    <a:pt x="102" y="564"/>
                  </a:lnTo>
                  <a:lnTo>
                    <a:pt x="102" y="546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0"/>
                  </a:lnTo>
                  <a:lnTo>
                    <a:pt x="96" y="498"/>
                  </a:lnTo>
                  <a:lnTo>
                    <a:pt x="96" y="486"/>
                  </a:lnTo>
                  <a:lnTo>
                    <a:pt x="96" y="474"/>
                  </a:lnTo>
                  <a:lnTo>
                    <a:pt x="96" y="462"/>
                  </a:lnTo>
                  <a:lnTo>
                    <a:pt x="114" y="450"/>
                  </a:lnTo>
                  <a:lnTo>
                    <a:pt x="126" y="438"/>
                  </a:lnTo>
                  <a:lnTo>
                    <a:pt x="132" y="432"/>
                  </a:lnTo>
                  <a:lnTo>
                    <a:pt x="144" y="426"/>
                  </a:lnTo>
                  <a:lnTo>
                    <a:pt x="144" y="420"/>
                  </a:lnTo>
                  <a:lnTo>
                    <a:pt x="156" y="414"/>
                  </a:lnTo>
                  <a:lnTo>
                    <a:pt x="162" y="408"/>
                  </a:lnTo>
                  <a:lnTo>
                    <a:pt x="180" y="396"/>
                  </a:lnTo>
                  <a:lnTo>
                    <a:pt x="210" y="372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34" y="348"/>
                  </a:lnTo>
                  <a:lnTo>
                    <a:pt x="240" y="348"/>
                  </a:lnTo>
                  <a:lnTo>
                    <a:pt x="246" y="342"/>
                  </a:lnTo>
                  <a:lnTo>
                    <a:pt x="276" y="318"/>
                  </a:lnTo>
                  <a:lnTo>
                    <a:pt x="282" y="312"/>
                  </a:lnTo>
                  <a:lnTo>
                    <a:pt x="288" y="306"/>
                  </a:lnTo>
                  <a:lnTo>
                    <a:pt x="300" y="288"/>
                  </a:lnTo>
                  <a:lnTo>
                    <a:pt x="306" y="276"/>
                  </a:lnTo>
                  <a:lnTo>
                    <a:pt x="324" y="246"/>
                  </a:lnTo>
                  <a:lnTo>
                    <a:pt x="330" y="240"/>
                  </a:lnTo>
                  <a:lnTo>
                    <a:pt x="336" y="234"/>
                  </a:lnTo>
                  <a:lnTo>
                    <a:pt x="342" y="228"/>
                  </a:lnTo>
                  <a:lnTo>
                    <a:pt x="342" y="216"/>
                  </a:lnTo>
                  <a:lnTo>
                    <a:pt x="354" y="204"/>
                  </a:lnTo>
                  <a:lnTo>
                    <a:pt x="360" y="204"/>
                  </a:lnTo>
                  <a:lnTo>
                    <a:pt x="366" y="186"/>
                  </a:lnTo>
                  <a:lnTo>
                    <a:pt x="384" y="162"/>
                  </a:lnTo>
                  <a:lnTo>
                    <a:pt x="390" y="144"/>
                  </a:lnTo>
                  <a:lnTo>
                    <a:pt x="396" y="114"/>
                  </a:lnTo>
                  <a:lnTo>
                    <a:pt x="396" y="102"/>
                  </a:lnTo>
                  <a:lnTo>
                    <a:pt x="402" y="90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08" y="36"/>
                  </a:lnTo>
                  <a:lnTo>
                    <a:pt x="408" y="24"/>
                  </a:lnTo>
                  <a:lnTo>
                    <a:pt x="408" y="6"/>
                  </a:lnTo>
                  <a:lnTo>
                    <a:pt x="420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68" y="0"/>
                  </a:lnTo>
                  <a:lnTo>
                    <a:pt x="480" y="0"/>
                  </a:lnTo>
                  <a:lnTo>
                    <a:pt x="492" y="0"/>
                  </a:lnTo>
                  <a:lnTo>
                    <a:pt x="498" y="0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8" y="18"/>
                  </a:lnTo>
                  <a:lnTo>
                    <a:pt x="534" y="18"/>
                  </a:lnTo>
                  <a:lnTo>
                    <a:pt x="540" y="18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8" y="36"/>
                  </a:lnTo>
                  <a:lnTo>
                    <a:pt x="588" y="54"/>
                  </a:lnTo>
                  <a:lnTo>
                    <a:pt x="594" y="48"/>
                  </a:lnTo>
                  <a:lnTo>
                    <a:pt x="600" y="48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12" y="66"/>
                  </a:lnTo>
                  <a:lnTo>
                    <a:pt x="630" y="72"/>
                  </a:lnTo>
                  <a:lnTo>
                    <a:pt x="642" y="78"/>
                  </a:lnTo>
                  <a:lnTo>
                    <a:pt x="666" y="78"/>
                  </a:lnTo>
                  <a:lnTo>
                    <a:pt x="672" y="72"/>
                  </a:lnTo>
                  <a:lnTo>
                    <a:pt x="690" y="84"/>
                  </a:lnTo>
                  <a:lnTo>
                    <a:pt x="690" y="90"/>
                  </a:lnTo>
                  <a:lnTo>
                    <a:pt x="708" y="96"/>
                  </a:lnTo>
                  <a:lnTo>
                    <a:pt x="708" y="102"/>
                  </a:lnTo>
                  <a:lnTo>
                    <a:pt x="744" y="96"/>
                  </a:lnTo>
                  <a:lnTo>
                    <a:pt x="756" y="78"/>
                  </a:lnTo>
                  <a:lnTo>
                    <a:pt x="756" y="72"/>
                  </a:lnTo>
                  <a:lnTo>
                    <a:pt x="762" y="66"/>
                  </a:lnTo>
                  <a:lnTo>
                    <a:pt x="768" y="60"/>
                  </a:lnTo>
                  <a:lnTo>
                    <a:pt x="774" y="54"/>
                  </a:lnTo>
                  <a:lnTo>
                    <a:pt x="786" y="54"/>
                  </a:lnTo>
                  <a:lnTo>
                    <a:pt x="786" y="60"/>
                  </a:lnTo>
                  <a:lnTo>
                    <a:pt x="786" y="66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92" y="90"/>
                  </a:lnTo>
                  <a:lnTo>
                    <a:pt x="780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26"/>
                  </a:lnTo>
                  <a:lnTo>
                    <a:pt x="768" y="150"/>
                  </a:lnTo>
                  <a:lnTo>
                    <a:pt x="750" y="168"/>
                  </a:lnTo>
                  <a:lnTo>
                    <a:pt x="750" y="174"/>
                  </a:lnTo>
                  <a:lnTo>
                    <a:pt x="762" y="192"/>
                  </a:lnTo>
                  <a:lnTo>
                    <a:pt x="774" y="210"/>
                  </a:lnTo>
                  <a:lnTo>
                    <a:pt x="792" y="228"/>
                  </a:lnTo>
                  <a:lnTo>
                    <a:pt x="804" y="240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40" y="252"/>
                  </a:lnTo>
                  <a:lnTo>
                    <a:pt x="834" y="252"/>
                  </a:lnTo>
                  <a:lnTo>
                    <a:pt x="846" y="252"/>
                  </a:lnTo>
                  <a:lnTo>
                    <a:pt x="852" y="270"/>
                  </a:lnTo>
                  <a:lnTo>
                    <a:pt x="858" y="282"/>
                  </a:lnTo>
                  <a:lnTo>
                    <a:pt x="858" y="288"/>
                  </a:lnTo>
                  <a:lnTo>
                    <a:pt x="864" y="300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58" y="318"/>
                  </a:lnTo>
                  <a:lnTo>
                    <a:pt x="852" y="318"/>
                  </a:lnTo>
                  <a:lnTo>
                    <a:pt x="846" y="324"/>
                  </a:lnTo>
                  <a:lnTo>
                    <a:pt x="846" y="336"/>
                  </a:lnTo>
                  <a:lnTo>
                    <a:pt x="840" y="348"/>
                  </a:lnTo>
                  <a:lnTo>
                    <a:pt x="840" y="360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46" y="402"/>
                  </a:lnTo>
                  <a:lnTo>
                    <a:pt x="858" y="420"/>
                  </a:lnTo>
                  <a:lnTo>
                    <a:pt x="882" y="426"/>
                  </a:lnTo>
                  <a:lnTo>
                    <a:pt x="888" y="444"/>
                  </a:lnTo>
                  <a:lnTo>
                    <a:pt x="900" y="444"/>
                  </a:lnTo>
                  <a:lnTo>
                    <a:pt x="900" y="462"/>
                  </a:lnTo>
                  <a:lnTo>
                    <a:pt x="894" y="474"/>
                  </a:lnTo>
                  <a:lnTo>
                    <a:pt x="888" y="486"/>
                  </a:lnTo>
                  <a:lnTo>
                    <a:pt x="882" y="492"/>
                  </a:lnTo>
                  <a:lnTo>
                    <a:pt x="870" y="504"/>
                  </a:lnTo>
                  <a:lnTo>
                    <a:pt x="852" y="504"/>
                  </a:lnTo>
                  <a:lnTo>
                    <a:pt x="852" y="510"/>
                  </a:lnTo>
                  <a:lnTo>
                    <a:pt x="852" y="516"/>
                  </a:lnTo>
                  <a:lnTo>
                    <a:pt x="846" y="528"/>
                  </a:lnTo>
                  <a:lnTo>
                    <a:pt x="846" y="582"/>
                  </a:lnTo>
                  <a:lnTo>
                    <a:pt x="840" y="582"/>
                  </a:lnTo>
                  <a:lnTo>
                    <a:pt x="834" y="582"/>
                  </a:lnTo>
                  <a:lnTo>
                    <a:pt x="828" y="582"/>
                  </a:lnTo>
                  <a:lnTo>
                    <a:pt x="822" y="582"/>
                  </a:lnTo>
                  <a:lnTo>
                    <a:pt x="810" y="582"/>
                  </a:lnTo>
                  <a:lnTo>
                    <a:pt x="810" y="528"/>
                  </a:lnTo>
                  <a:lnTo>
                    <a:pt x="792" y="528"/>
                  </a:lnTo>
                  <a:lnTo>
                    <a:pt x="792" y="522"/>
                  </a:lnTo>
                  <a:lnTo>
                    <a:pt x="786" y="522"/>
                  </a:lnTo>
                  <a:lnTo>
                    <a:pt x="786" y="516"/>
                  </a:lnTo>
                  <a:lnTo>
                    <a:pt x="780" y="516"/>
                  </a:lnTo>
                  <a:lnTo>
                    <a:pt x="780" y="510"/>
                  </a:lnTo>
                  <a:lnTo>
                    <a:pt x="762" y="510"/>
                  </a:lnTo>
                  <a:lnTo>
                    <a:pt x="756" y="510"/>
                  </a:lnTo>
                  <a:lnTo>
                    <a:pt x="750" y="522"/>
                  </a:lnTo>
                  <a:lnTo>
                    <a:pt x="744" y="534"/>
                  </a:lnTo>
                  <a:lnTo>
                    <a:pt x="732" y="540"/>
                  </a:lnTo>
                  <a:lnTo>
                    <a:pt x="732" y="558"/>
                  </a:lnTo>
                  <a:lnTo>
                    <a:pt x="732" y="564"/>
                  </a:lnTo>
                  <a:lnTo>
                    <a:pt x="732" y="570"/>
                  </a:lnTo>
                  <a:lnTo>
                    <a:pt x="726" y="576"/>
                  </a:lnTo>
                  <a:lnTo>
                    <a:pt x="720" y="576"/>
                  </a:lnTo>
                  <a:lnTo>
                    <a:pt x="714" y="582"/>
                  </a:lnTo>
                  <a:lnTo>
                    <a:pt x="702" y="588"/>
                  </a:lnTo>
                  <a:lnTo>
                    <a:pt x="696" y="594"/>
                  </a:lnTo>
                  <a:lnTo>
                    <a:pt x="690" y="600"/>
                  </a:lnTo>
                  <a:lnTo>
                    <a:pt x="690" y="606"/>
                  </a:lnTo>
                  <a:lnTo>
                    <a:pt x="678" y="606"/>
                  </a:lnTo>
                  <a:lnTo>
                    <a:pt x="678" y="624"/>
                  </a:lnTo>
                  <a:lnTo>
                    <a:pt x="684" y="642"/>
                  </a:lnTo>
                  <a:lnTo>
                    <a:pt x="684" y="660"/>
                  </a:lnTo>
                  <a:lnTo>
                    <a:pt x="690" y="672"/>
                  </a:lnTo>
                  <a:lnTo>
                    <a:pt x="702" y="720"/>
                  </a:lnTo>
                  <a:lnTo>
                    <a:pt x="708" y="750"/>
                  </a:lnTo>
                  <a:lnTo>
                    <a:pt x="708" y="792"/>
                  </a:lnTo>
                  <a:lnTo>
                    <a:pt x="708" y="828"/>
                  </a:lnTo>
                  <a:lnTo>
                    <a:pt x="708" y="852"/>
                  </a:lnTo>
                  <a:lnTo>
                    <a:pt x="696" y="894"/>
                  </a:lnTo>
                  <a:lnTo>
                    <a:pt x="702" y="900"/>
                  </a:lnTo>
                  <a:lnTo>
                    <a:pt x="708" y="924"/>
                  </a:lnTo>
                  <a:lnTo>
                    <a:pt x="684" y="936"/>
                  </a:lnTo>
                  <a:lnTo>
                    <a:pt x="660" y="954"/>
                  </a:lnTo>
                  <a:lnTo>
                    <a:pt x="618" y="984"/>
                  </a:lnTo>
                  <a:lnTo>
                    <a:pt x="618" y="990"/>
                  </a:lnTo>
                  <a:lnTo>
                    <a:pt x="612" y="996"/>
                  </a:lnTo>
                  <a:lnTo>
                    <a:pt x="606" y="1002"/>
                  </a:lnTo>
                  <a:lnTo>
                    <a:pt x="618" y="1008"/>
                  </a:lnTo>
                  <a:lnTo>
                    <a:pt x="618" y="1014"/>
                  </a:lnTo>
                  <a:lnTo>
                    <a:pt x="624" y="1026"/>
                  </a:lnTo>
                  <a:lnTo>
                    <a:pt x="630" y="1026"/>
                  </a:lnTo>
                  <a:lnTo>
                    <a:pt x="636" y="1032"/>
                  </a:lnTo>
                  <a:lnTo>
                    <a:pt x="642" y="1032"/>
                  </a:lnTo>
                  <a:lnTo>
                    <a:pt x="642" y="1038"/>
                  </a:lnTo>
                  <a:lnTo>
                    <a:pt x="648" y="1044"/>
                  </a:lnTo>
                  <a:lnTo>
                    <a:pt x="666" y="1050"/>
                  </a:lnTo>
                  <a:lnTo>
                    <a:pt x="678" y="1038"/>
                  </a:lnTo>
                  <a:lnTo>
                    <a:pt x="684" y="1038"/>
                  </a:lnTo>
                  <a:lnTo>
                    <a:pt x="684" y="1032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20"/>
                  </a:lnTo>
                  <a:lnTo>
                    <a:pt x="708" y="1014"/>
                  </a:lnTo>
                  <a:lnTo>
                    <a:pt x="720" y="1020"/>
                  </a:lnTo>
                  <a:lnTo>
                    <a:pt x="720" y="1014"/>
                  </a:lnTo>
                  <a:lnTo>
                    <a:pt x="726" y="1008"/>
                  </a:lnTo>
                  <a:lnTo>
                    <a:pt x="732" y="1008"/>
                  </a:lnTo>
                  <a:lnTo>
                    <a:pt x="738" y="1008"/>
                  </a:lnTo>
                  <a:lnTo>
                    <a:pt x="744" y="1002"/>
                  </a:lnTo>
                  <a:lnTo>
                    <a:pt x="744" y="996"/>
                  </a:lnTo>
                  <a:lnTo>
                    <a:pt x="750" y="996"/>
                  </a:lnTo>
                  <a:lnTo>
                    <a:pt x="756" y="1002"/>
                  </a:lnTo>
                  <a:lnTo>
                    <a:pt x="762" y="1002"/>
                  </a:lnTo>
                  <a:lnTo>
                    <a:pt x="768" y="996"/>
                  </a:lnTo>
                  <a:lnTo>
                    <a:pt x="780" y="996"/>
                  </a:lnTo>
                  <a:lnTo>
                    <a:pt x="786" y="996"/>
                  </a:lnTo>
                  <a:lnTo>
                    <a:pt x="816" y="990"/>
                  </a:lnTo>
                  <a:lnTo>
                    <a:pt x="828" y="990"/>
                  </a:lnTo>
                  <a:lnTo>
                    <a:pt x="834" y="990"/>
                  </a:lnTo>
                  <a:lnTo>
                    <a:pt x="840" y="984"/>
                  </a:lnTo>
                  <a:lnTo>
                    <a:pt x="852" y="978"/>
                  </a:lnTo>
                  <a:lnTo>
                    <a:pt x="852" y="972"/>
                  </a:lnTo>
                  <a:lnTo>
                    <a:pt x="858" y="972"/>
                  </a:lnTo>
                  <a:lnTo>
                    <a:pt x="864" y="966"/>
                  </a:lnTo>
                  <a:lnTo>
                    <a:pt x="870" y="966"/>
                  </a:lnTo>
                  <a:lnTo>
                    <a:pt x="876" y="966"/>
                  </a:lnTo>
                  <a:lnTo>
                    <a:pt x="882" y="960"/>
                  </a:lnTo>
                  <a:lnTo>
                    <a:pt x="888" y="960"/>
                  </a:lnTo>
                  <a:lnTo>
                    <a:pt x="894" y="960"/>
                  </a:lnTo>
                  <a:lnTo>
                    <a:pt x="894" y="966"/>
                  </a:lnTo>
                  <a:lnTo>
                    <a:pt x="894" y="978"/>
                  </a:lnTo>
                  <a:lnTo>
                    <a:pt x="894" y="984"/>
                  </a:lnTo>
                  <a:lnTo>
                    <a:pt x="900" y="984"/>
                  </a:lnTo>
                  <a:lnTo>
                    <a:pt x="906" y="978"/>
                  </a:lnTo>
                  <a:lnTo>
                    <a:pt x="912" y="972"/>
                  </a:lnTo>
                  <a:lnTo>
                    <a:pt x="918" y="978"/>
                  </a:lnTo>
                  <a:lnTo>
                    <a:pt x="924" y="978"/>
                  </a:lnTo>
                  <a:lnTo>
                    <a:pt x="924" y="972"/>
                  </a:lnTo>
                  <a:lnTo>
                    <a:pt x="924" y="966"/>
                  </a:lnTo>
                  <a:lnTo>
                    <a:pt x="930" y="966"/>
                  </a:lnTo>
                  <a:lnTo>
                    <a:pt x="948" y="966"/>
                  </a:lnTo>
                  <a:lnTo>
                    <a:pt x="954" y="966"/>
                  </a:lnTo>
                  <a:lnTo>
                    <a:pt x="954" y="960"/>
                  </a:lnTo>
                  <a:lnTo>
                    <a:pt x="960" y="960"/>
                  </a:lnTo>
                  <a:lnTo>
                    <a:pt x="966" y="960"/>
                  </a:lnTo>
                  <a:lnTo>
                    <a:pt x="966" y="966"/>
                  </a:lnTo>
                  <a:lnTo>
                    <a:pt x="978" y="972"/>
                  </a:lnTo>
                  <a:lnTo>
                    <a:pt x="978" y="978"/>
                  </a:lnTo>
                  <a:lnTo>
                    <a:pt x="978" y="984"/>
                  </a:lnTo>
                  <a:lnTo>
                    <a:pt x="984" y="978"/>
                  </a:lnTo>
                  <a:lnTo>
                    <a:pt x="990" y="978"/>
                  </a:lnTo>
                  <a:lnTo>
                    <a:pt x="996" y="984"/>
                  </a:lnTo>
                  <a:lnTo>
                    <a:pt x="1002" y="990"/>
                  </a:lnTo>
                  <a:lnTo>
                    <a:pt x="1008" y="972"/>
                  </a:lnTo>
                  <a:lnTo>
                    <a:pt x="1026" y="972"/>
                  </a:lnTo>
                  <a:lnTo>
                    <a:pt x="1032" y="972"/>
                  </a:lnTo>
                  <a:lnTo>
                    <a:pt x="1038" y="972"/>
                  </a:lnTo>
                  <a:lnTo>
                    <a:pt x="1050" y="972"/>
                  </a:lnTo>
                  <a:lnTo>
                    <a:pt x="1056" y="972"/>
                  </a:lnTo>
                  <a:lnTo>
                    <a:pt x="1062" y="966"/>
                  </a:lnTo>
                  <a:lnTo>
                    <a:pt x="1074" y="966"/>
                  </a:lnTo>
                  <a:lnTo>
                    <a:pt x="1074" y="960"/>
                  </a:lnTo>
                  <a:lnTo>
                    <a:pt x="1080" y="954"/>
                  </a:lnTo>
                  <a:lnTo>
                    <a:pt x="1080" y="948"/>
                  </a:lnTo>
                  <a:lnTo>
                    <a:pt x="1074" y="948"/>
                  </a:lnTo>
                  <a:lnTo>
                    <a:pt x="1068" y="948"/>
                  </a:lnTo>
                  <a:lnTo>
                    <a:pt x="1062" y="942"/>
                  </a:lnTo>
                  <a:lnTo>
                    <a:pt x="1068" y="936"/>
                  </a:lnTo>
                  <a:lnTo>
                    <a:pt x="1074" y="936"/>
                  </a:lnTo>
                  <a:lnTo>
                    <a:pt x="1080" y="936"/>
                  </a:lnTo>
                  <a:lnTo>
                    <a:pt x="1086" y="942"/>
                  </a:lnTo>
                  <a:lnTo>
                    <a:pt x="1092" y="942"/>
                  </a:lnTo>
                  <a:lnTo>
                    <a:pt x="1098" y="948"/>
                  </a:lnTo>
                  <a:lnTo>
                    <a:pt x="1104" y="954"/>
                  </a:lnTo>
                  <a:lnTo>
                    <a:pt x="1110" y="954"/>
                  </a:lnTo>
                  <a:lnTo>
                    <a:pt x="1116" y="948"/>
                  </a:lnTo>
                  <a:lnTo>
                    <a:pt x="1122" y="942"/>
                  </a:lnTo>
                  <a:lnTo>
                    <a:pt x="1128" y="942"/>
                  </a:lnTo>
                  <a:lnTo>
                    <a:pt x="1134" y="942"/>
                  </a:lnTo>
                  <a:lnTo>
                    <a:pt x="1140" y="948"/>
                  </a:lnTo>
                  <a:lnTo>
                    <a:pt x="1146" y="942"/>
                  </a:lnTo>
                  <a:lnTo>
                    <a:pt x="1152" y="942"/>
                  </a:lnTo>
                  <a:lnTo>
                    <a:pt x="1152" y="930"/>
                  </a:lnTo>
                  <a:lnTo>
                    <a:pt x="1164" y="936"/>
                  </a:lnTo>
                  <a:lnTo>
                    <a:pt x="1158" y="942"/>
                  </a:lnTo>
                  <a:lnTo>
                    <a:pt x="1158" y="948"/>
                  </a:lnTo>
                  <a:lnTo>
                    <a:pt x="1146" y="954"/>
                  </a:lnTo>
                  <a:lnTo>
                    <a:pt x="1152" y="954"/>
                  </a:lnTo>
                  <a:lnTo>
                    <a:pt x="1158" y="954"/>
                  </a:lnTo>
                  <a:lnTo>
                    <a:pt x="1158" y="948"/>
                  </a:lnTo>
                  <a:lnTo>
                    <a:pt x="1164" y="948"/>
                  </a:lnTo>
                  <a:lnTo>
                    <a:pt x="1170" y="948"/>
                  </a:lnTo>
                  <a:lnTo>
                    <a:pt x="1176" y="954"/>
                  </a:lnTo>
                  <a:lnTo>
                    <a:pt x="1176" y="966"/>
                  </a:lnTo>
                  <a:lnTo>
                    <a:pt x="1182" y="972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88" y="984"/>
                  </a:lnTo>
                  <a:lnTo>
                    <a:pt x="1194" y="984"/>
                  </a:lnTo>
                  <a:lnTo>
                    <a:pt x="1200" y="984"/>
                  </a:lnTo>
                  <a:lnTo>
                    <a:pt x="1212" y="984"/>
                  </a:lnTo>
                  <a:lnTo>
                    <a:pt x="1218" y="990"/>
                  </a:lnTo>
                  <a:lnTo>
                    <a:pt x="1224" y="990"/>
                  </a:lnTo>
                  <a:lnTo>
                    <a:pt x="1224" y="984"/>
                  </a:lnTo>
                  <a:lnTo>
                    <a:pt x="1230" y="990"/>
                  </a:lnTo>
                  <a:lnTo>
                    <a:pt x="1236" y="984"/>
                  </a:lnTo>
                  <a:lnTo>
                    <a:pt x="1242" y="984"/>
                  </a:lnTo>
                  <a:lnTo>
                    <a:pt x="1248" y="990"/>
                  </a:lnTo>
                  <a:lnTo>
                    <a:pt x="1254" y="990"/>
                  </a:lnTo>
                  <a:lnTo>
                    <a:pt x="1254" y="996"/>
                  </a:lnTo>
                  <a:lnTo>
                    <a:pt x="1254" y="1002"/>
                  </a:lnTo>
                  <a:lnTo>
                    <a:pt x="1254" y="1008"/>
                  </a:lnTo>
                  <a:lnTo>
                    <a:pt x="1260" y="1014"/>
                  </a:lnTo>
                  <a:lnTo>
                    <a:pt x="1266" y="1014"/>
                  </a:lnTo>
                  <a:lnTo>
                    <a:pt x="1272" y="1014"/>
                  </a:lnTo>
                  <a:lnTo>
                    <a:pt x="1278" y="1020"/>
                  </a:lnTo>
                  <a:lnTo>
                    <a:pt x="1284" y="1020"/>
                  </a:lnTo>
                  <a:lnTo>
                    <a:pt x="1290" y="1014"/>
                  </a:lnTo>
                  <a:lnTo>
                    <a:pt x="1290" y="1008"/>
                  </a:lnTo>
                  <a:lnTo>
                    <a:pt x="1296" y="1008"/>
                  </a:lnTo>
                  <a:lnTo>
                    <a:pt x="1302" y="1014"/>
                  </a:lnTo>
                  <a:lnTo>
                    <a:pt x="1308" y="1014"/>
                  </a:lnTo>
                  <a:lnTo>
                    <a:pt x="1314" y="1008"/>
                  </a:lnTo>
                  <a:lnTo>
                    <a:pt x="1320" y="1008"/>
                  </a:lnTo>
                  <a:lnTo>
                    <a:pt x="1320" y="1002"/>
                  </a:lnTo>
                  <a:lnTo>
                    <a:pt x="1320" y="996"/>
                  </a:lnTo>
                  <a:lnTo>
                    <a:pt x="1332" y="1002"/>
                  </a:lnTo>
                  <a:lnTo>
                    <a:pt x="1332" y="1008"/>
                  </a:lnTo>
                  <a:lnTo>
                    <a:pt x="1326" y="1014"/>
                  </a:lnTo>
                  <a:lnTo>
                    <a:pt x="1332" y="1014"/>
                  </a:lnTo>
                  <a:lnTo>
                    <a:pt x="1338" y="1014"/>
                  </a:lnTo>
                  <a:lnTo>
                    <a:pt x="1338" y="1008"/>
                  </a:lnTo>
                  <a:lnTo>
                    <a:pt x="1344" y="1008"/>
                  </a:lnTo>
                  <a:lnTo>
                    <a:pt x="1350" y="1008"/>
                  </a:lnTo>
                  <a:lnTo>
                    <a:pt x="1356" y="1014"/>
                  </a:lnTo>
                  <a:lnTo>
                    <a:pt x="1356" y="1008"/>
                  </a:lnTo>
                  <a:lnTo>
                    <a:pt x="1362" y="1014"/>
                  </a:lnTo>
                  <a:lnTo>
                    <a:pt x="1392" y="1014"/>
                  </a:lnTo>
                  <a:lnTo>
                    <a:pt x="1398" y="1014"/>
                  </a:lnTo>
                  <a:lnTo>
                    <a:pt x="1404" y="1008"/>
                  </a:lnTo>
                  <a:lnTo>
                    <a:pt x="1404" y="1014"/>
                  </a:lnTo>
                  <a:lnTo>
                    <a:pt x="1410" y="1008"/>
                  </a:lnTo>
                  <a:lnTo>
                    <a:pt x="1416" y="1008"/>
                  </a:lnTo>
                  <a:lnTo>
                    <a:pt x="1422" y="1002"/>
                  </a:lnTo>
                  <a:lnTo>
                    <a:pt x="1428" y="1002"/>
                  </a:lnTo>
                  <a:lnTo>
                    <a:pt x="1428" y="996"/>
                  </a:lnTo>
                  <a:lnTo>
                    <a:pt x="1428" y="990"/>
                  </a:lnTo>
                  <a:lnTo>
                    <a:pt x="1440" y="1002"/>
                  </a:lnTo>
                  <a:lnTo>
                    <a:pt x="1446" y="1002"/>
                  </a:lnTo>
                  <a:lnTo>
                    <a:pt x="1452" y="1002"/>
                  </a:lnTo>
                  <a:lnTo>
                    <a:pt x="1446" y="996"/>
                  </a:lnTo>
                  <a:lnTo>
                    <a:pt x="1452" y="996"/>
                  </a:lnTo>
                  <a:lnTo>
                    <a:pt x="1458" y="996"/>
                  </a:lnTo>
                  <a:lnTo>
                    <a:pt x="1464" y="996"/>
                  </a:lnTo>
                  <a:lnTo>
                    <a:pt x="1464" y="1002"/>
                  </a:lnTo>
                  <a:lnTo>
                    <a:pt x="1476" y="1014"/>
                  </a:lnTo>
                  <a:lnTo>
                    <a:pt x="1476" y="1008"/>
                  </a:lnTo>
                  <a:lnTo>
                    <a:pt x="1482" y="1008"/>
                  </a:lnTo>
                  <a:lnTo>
                    <a:pt x="1488" y="1020"/>
                  </a:lnTo>
                  <a:lnTo>
                    <a:pt x="1494" y="1020"/>
                  </a:lnTo>
                  <a:lnTo>
                    <a:pt x="1500" y="1014"/>
                  </a:lnTo>
                  <a:lnTo>
                    <a:pt x="1500" y="1020"/>
                  </a:lnTo>
                  <a:lnTo>
                    <a:pt x="1506" y="1026"/>
                  </a:lnTo>
                  <a:lnTo>
                    <a:pt x="1512" y="1032"/>
                  </a:lnTo>
                  <a:lnTo>
                    <a:pt x="1518" y="1032"/>
                  </a:lnTo>
                  <a:lnTo>
                    <a:pt x="1518" y="1038"/>
                  </a:lnTo>
                  <a:lnTo>
                    <a:pt x="1518" y="1044"/>
                  </a:lnTo>
                  <a:lnTo>
                    <a:pt x="1524" y="1044"/>
                  </a:lnTo>
                  <a:lnTo>
                    <a:pt x="1524" y="1050"/>
                  </a:lnTo>
                  <a:lnTo>
                    <a:pt x="1530" y="1056"/>
                  </a:lnTo>
                  <a:lnTo>
                    <a:pt x="1548" y="1062"/>
                  </a:lnTo>
                  <a:lnTo>
                    <a:pt x="1560" y="1074"/>
                  </a:lnTo>
                  <a:lnTo>
                    <a:pt x="1560" y="1080"/>
                  </a:lnTo>
                  <a:lnTo>
                    <a:pt x="1560" y="1086"/>
                  </a:lnTo>
                  <a:lnTo>
                    <a:pt x="1566" y="1086"/>
                  </a:lnTo>
                  <a:lnTo>
                    <a:pt x="1572" y="1098"/>
                  </a:lnTo>
                  <a:lnTo>
                    <a:pt x="1572" y="1104"/>
                  </a:lnTo>
                  <a:lnTo>
                    <a:pt x="1584" y="1110"/>
                  </a:lnTo>
                  <a:lnTo>
                    <a:pt x="1590" y="1116"/>
                  </a:lnTo>
                  <a:lnTo>
                    <a:pt x="1596" y="1116"/>
                  </a:lnTo>
                  <a:lnTo>
                    <a:pt x="1608" y="1122"/>
                  </a:lnTo>
                  <a:lnTo>
                    <a:pt x="1620" y="1140"/>
                  </a:lnTo>
                  <a:lnTo>
                    <a:pt x="1626" y="1158"/>
                  </a:lnTo>
                  <a:lnTo>
                    <a:pt x="1638" y="1200"/>
                  </a:lnTo>
                  <a:lnTo>
                    <a:pt x="1638" y="1218"/>
                  </a:lnTo>
                  <a:lnTo>
                    <a:pt x="1620" y="1230"/>
                  </a:lnTo>
                  <a:lnTo>
                    <a:pt x="1554" y="1230"/>
                  </a:lnTo>
                  <a:lnTo>
                    <a:pt x="1560" y="1248"/>
                  </a:lnTo>
                  <a:lnTo>
                    <a:pt x="1584" y="1260"/>
                  </a:lnTo>
                  <a:lnTo>
                    <a:pt x="1584" y="1266"/>
                  </a:lnTo>
                  <a:lnTo>
                    <a:pt x="1578" y="1272"/>
                  </a:lnTo>
                  <a:lnTo>
                    <a:pt x="1572" y="1272"/>
                  </a:lnTo>
                  <a:lnTo>
                    <a:pt x="1566" y="1278"/>
                  </a:lnTo>
                  <a:lnTo>
                    <a:pt x="1566" y="1284"/>
                  </a:lnTo>
                  <a:lnTo>
                    <a:pt x="1560" y="1290"/>
                  </a:lnTo>
                  <a:lnTo>
                    <a:pt x="1554" y="1290"/>
                  </a:lnTo>
                  <a:lnTo>
                    <a:pt x="1554" y="1296"/>
                  </a:lnTo>
                  <a:lnTo>
                    <a:pt x="1554" y="1302"/>
                  </a:lnTo>
                  <a:lnTo>
                    <a:pt x="1560" y="1332"/>
                  </a:lnTo>
                  <a:lnTo>
                    <a:pt x="1566" y="1356"/>
                  </a:lnTo>
                  <a:lnTo>
                    <a:pt x="1572" y="1356"/>
                  </a:lnTo>
                  <a:lnTo>
                    <a:pt x="1572" y="1362"/>
                  </a:lnTo>
                  <a:lnTo>
                    <a:pt x="1578" y="1362"/>
                  </a:lnTo>
                  <a:lnTo>
                    <a:pt x="1560" y="1374"/>
                  </a:lnTo>
                  <a:lnTo>
                    <a:pt x="1560" y="1380"/>
                  </a:lnTo>
                  <a:lnTo>
                    <a:pt x="1548" y="1380"/>
                  </a:lnTo>
                  <a:lnTo>
                    <a:pt x="1548" y="1386"/>
                  </a:lnTo>
                  <a:lnTo>
                    <a:pt x="1548" y="1392"/>
                  </a:lnTo>
                  <a:lnTo>
                    <a:pt x="1542" y="1410"/>
                  </a:lnTo>
                  <a:lnTo>
                    <a:pt x="1536" y="1422"/>
                  </a:lnTo>
                  <a:lnTo>
                    <a:pt x="1536" y="1428"/>
                  </a:lnTo>
                  <a:lnTo>
                    <a:pt x="1530" y="1440"/>
                  </a:lnTo>
                  <a:lnTo>
                    <a:pt x="1524" y="1434"/>
                  </a:lnTo>
                  <a:lnTo>
                    <a:pt x="1524" y="1428"/>
                  </a:lnTo>
                  <a:lnTo>
                    <a:pt x="1524" y="1422"/>
                  </a:lnTo>
                  <a:lnTo>
                    <a:pt x="1512" y="1410"/>
                  </a:lnTo>
                  <a:lnTo>
                    <a:pt x="1506" y="1404"/>
                  </a:lnTo>
                  <a:lnTo>
                    <a:pt x="1506" y="1398"/>
                  </a:lnTo>
                  <a:lnTo>
                    <a:pt x="1494" y="1392"/>
                  </a:lnTo>
                  <a:lnTo>
                    <a:pt x="1476" y="1404"/>
                  </a:lnTo>
                  <a:lnTo>
                    <a:pt x="1464" y="1416"/>
                  </a:lnTo>
                  <a:lnTo>
                    <a:pt x="1458" y="1428"/>
                  </a:lnTo>
                  <a:lnTo>
                    <a:pt x="1446" y="1434"/>
                  </a:lnTo>
                  <a:lnTo>
                    <a:pt x="1410" y="1440"/>
                  </a:lnTo>
                  <a:lnTo>
                    <a:pt x="1398" y="1440"/>
                  </a:lnTo>
                  <a:lnTo>
                    <a:pt x="1398" y="1446"/>
                  </a:lnTo>
                  <a:lnTo>
                    <a:pt x="1386" y="1446"/>
                  </a:lnTo>
                  <a:lnTo>
                    <a:pt x="1380" y="1440"/>
                  </a:lnTo>
                  <a:lnTo>
                    <a:pt x="1368" y="1440"/>
                  </a:lnTo>
                  <a:lnTo>
                    <a:pt x="1368" y="1446"/>
                  </a:lnTo>
                  <a:lnTo>
                    <a:pt x="1356" y="1446"/>
                  </a:lnTo>
                  <a:lnTo>
                    <a:pt x="1350" y="1452"/>
                  </a:lnTo>
                  <a:lnTo>
                    <a:pt x="1338" y="1452"/>
                  </a:lnTo>
                  <a:lnTo>
                    <a:pt x="1338" y="1458"/>
                  </a:lnTo>
                  <a:lnTo>
                    <a:pt x="1332" y="1458"/>
                  </a:lnTo>
                  <a:lnTo>
                    <a:pt x="1332" y="1464"/>
                  </a:lnTo>
                  <a:lnTo>
                    <a:pt x="1332" y="1470"/>
                  </a:lnTo>
                  <a:lnTo>
                    <a:pt x="1326" y="1470"/>
                  </a:lnTo>
                  <a:lnTo>
                    <a:pt x="1320" y="1470"/>
                  </a:lnTo>
                  <a:lnTo>
                    <a:pt x="1314" y="1470"/>
                  </a:lnTo>
                  <a:lnTo>
                    <a:pt x="1314" y="1464"/>
                  </a:lnTo>
                  <a:lnTo>
                    <a:pt x="1308" y="1464"/>
                  </a:lnTo>
                  <a:lnTo>
                    <a:pt x="1308" y="1452"/>
                  </a:lnTo>
                  <a:lnTo>
                    <a:pt x="1284" y="1458"/>
                  </a:lnTo>
                  <a:lnTo>
                    <a:pt x="1272" y="1458"/>
                  </a:lnTo>
                  <a:lnTo>
                    <a:pt x="1272" y="1464"/>
                  </a:lnTo>
                  <a:lnTo>
                    <a:pt x="1260" y="1464"/>
                  </a:lnTo>
                  <a:lnTo>
                    <a:pt x="1254" y="1464"/>
                  </a:lnTo>
                  <a:lnTo>
                    <a:pt x="1242" y="1422"/>
                  </a:lnTo>
                  <a:lnTo>
                    <a:pt x="1242" y="1416"/>
                  </a:lnTo>
                  <a:lnTo>
                    <a:pt x="1242" y="1410"/>
                  </a:lnTo>
                  <a:lnTo>
                    <a:pt x="1248" y="1410"/>
                  </a:lnTo>
                  <a:lnTo>
                    <a:pt x="1242" y="1410"/>
                  </a:lnTo>
                  <a:lnTo>
                    <a:pt x="1242" y="1404"/>
                  </a:lnTo>
                  <a:lnTo>
                    <a:pt x="1242" y="1398"/>
                  </a:lnTo>
                  <a:lnTo>
                    <a:pt x="1248" y="1392"/>
                  </a:lnTo>
                  <a:lnTo>
                    <a:pt x="1248" y="1386"/>
                  </a:lnTo>
                  <a:lnTo>
                    <a:pt x="1242" y="1380"/>
                  </a:lnTo>
                  <a:lnTo>
                    <a:pt x="1248" y="1380"/>
                  </a:lnTo>
                  <a:lnTo>
                    <a:pt x="1248" y="1374"/>
                  </a:lnTo>
                  <a:lnTo>
                    <a:pt x="1248" y="1368"/>
                  </a:lnTo>
                  <a:lnTo>
                    <a:pt x="1254" y="1368"/>
                  </a:lnTo>
                  <a:lnTo>
                    <a:pt x="1254" y="1362"/>
                  </a:lnTo>
                  <a:lnTo>
                    <a:pt x="1248" y="1356"/>
                  </a:lnTo>
                  <a:lnTo>
                    <a:pt x="1254" y="1356"/>
                  </a:lnTo>
                  <a:lnTo>
                    <a:pt x="1254" y="1344"/>
                  </a:lnTo>
                  <a:lnTo>
                    <a:pt x="1242" y="1338"/>
                  </a:lnTo>
                  <a:lnTo>
                    <a:pt x="1242" y="1326"/>
                  </a:lnTo>
                  <a:lnTo>
                    <a:pt x="1230" y="1326"/>
                  </a:lnTo>
                  <a:lnTo>
                    <a:pt x="1230" y="1314"/>
                  </a:lnTo>
                  <a:lnTo>
                    <a:pt x="1218" y="1314"/>
                  </a:lnTo>
                  <a:lnTo>
                    <a:pt x="1200" y="1272"/>
                  </a:lnTo>
                  <a:lnTo>
                    <a:pt x="1194" y="1242"/>
                  </a:lnTo>
                  <a:lnTo>
                    <a:pt x="1194" y="1206"/>
                  </a:lnTo>
                  <a:lnTo>
                    <a:pt x="1182" y="1200"/>
                  </a:lnTo>
                  <a:lnTo>
                    <a:pt x="1164" y="1206"/>
                  </a:lnTo>
                  <a:lnTo>
                    <a:pt x="1146" y="1212"/>
                  </a:lnTo>
                  <a:lnTo>
                    <a:pt x="1146" y="1218"/>
                  </a:lnTo>
                  <a:lnTo>
                    <a:pt x="1134" y="1224"/>
                  </a:lnTo>
                  <a:lnTo>
                    <a:pt x="1140" y="1260"/>
                  </a:lnTo>
                  <a:lnTo>
                    <a:pt x="1134" y="1266"/>
                  </a:lnTo>
                  <a:lnTo>
                    <a:pt x="1122" y="1266"/>
                  </a:lnTo>
                  <a:lnTo>
                    <a:pt x="1110" y="1236"/>
                  </a:lnTo>
                  <a:lnTo>
                    <a:pt x="1110" y="1224"/>
                  </a:lnTo>
                  <a:lnTo>
                    <a:pt x="1086" y="1224"/>
                  </a:lnTo>
                  <a:lnTo>
                    <a:pt x="1086" y="1212"/>
                  </a:lnTo>
                  <a:lnTo>
                    <a:pt x="1074" y="1212"/>
                  </a:lnTo>
                  <a:lnTo>
                    <a:pt x="1050" y="1212"/>
                  </a:lnTo>
                  <a:lnTo>
                    <a:pt x="1056" y="1218"/>
                  </a:lnTo>
                  <a:lnTo>
                    <a:pt x="1050" y="1272"/>
                  </a:lnTo>
                  <a:lnTo>
                    <a:pt x="1044" y="1272"/>
                  </a:lnTo>
                  <a:lnTo>
                    <a:pt x="1038" y="1284"/>
                  </a:lnTo>
                  <a:lnTo>
                    <a:pt x="1032" y="1302"/>
                  </a:lnTo>
                  <a:lnTo>
                    <a:pt x="1014" y="1302"/>
                  </a:lnTo>
                  <a:lnTo>
                    <a:pt x="1020" y="1284"/>
                  </a:lnTo>
                  <a:lnTo>
                    <a:pt x="1026" y="1278"/>
                  </a:lnTo>
                  <a:lnTo>
                    <a:pt x="1026" y="1266"/>
                  </a:lnTo>
                  <a:lnTo>
                    <a:pt x="1014" y="1260"/>
                  </a:lnTo>
                  <a:lnTo>
                    <a:pt x="1014" y="1272"/>
                  </a:lnTo>
                  <a:lnTo>
                    <a:pt x="990" y="1278"/>
                  </a:lnTo>
                  <a:lnTo>
                    <a:pt x="990" y="1254"/>
                  </a:lnTo>
                  <a:lnTo>
                    <a:pt x="984" y="1254"/>
                  </a:lnTo>
                  <a:lnTo>
                    <a:pt x="978" y="1242"/>
                  </a:lnTo>
                  <a:lnTo>
                    <a:pt x="972" y="1236"/>
                  </a:lnTo>
                  <a:lnTo>
                    <a:pt x="960" y="1206"/>
                  </a:lnTo>
                  <a:lnTo>
                    <a:pt x="942" y="1206"/>
                  </a:lnTo>
                  <a:lnTo>
                    <a:pt x="936" y="1200"/>
                  </a:lnTo>
                  <a:lnTo>
                    <a:pt x="906" y="1212"/>
                  </a:lnTo>
                  <a:lnTo>
                    <a:pt x="888" y="1230"/>
                  </a:lnTo>
                  <a:lnTo>
                    <a:pt x="876" y="1230"/>
                  </a:lnTo>
                  <a:lnTo>
                    <a:pt x="864" y="1236"/>
                  </a:lnTo>
                  <a:lnTo>
                    <a:pt x="858" y="1236"/>
                  </a:lnTo>
                  <a:lnTo>
                    <a:pt x="852" y="1254"/>
                  </a:lnTo>
                  <a:lnTo>
                    <a:pt x="858" y="1254"/>
                  </a:lnTo>
                  <a:lnTo>
                    <a:pt x="840" y="1266"/>
                  </a:lnTo>
                  <a:lnTo>
                    <a:pt x="828" y="1272"/>
                  </a:lnTo>
                  <a:lnTo>
                    <a:pt x="828" y="1284"/>
                  </a:lnTo>
                  <a:lnTo>
                    <a:pt x="822" y="1284"/>
                  </a:lnTo>
                  <a:lnTo>
                    <a:pt x="804" y="1296"/>
                  </a:lnTo>
                  <a:lnTo>
                    <a:pt x="804" y="1308"/>
                  </a:lnTo>
                  <a:lnTo>
                    <a:pt x="816" y="1320"/>
                  </a:lnTo>
                  <a:lnTo>
                    <a:pt x="828" y="1320"/>
                  </a:lnTo>
                  <a:lnTo>
                    <a:pt x="822" y="1338"/>
                  </a:lnTo>
                  <a:lnTo>
                    <a:pt x="852" y="1344"/>
                  </a:lnTo>
                  <a:lnTo>
                    <a:pt x="864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94" y="1356"/>
                  </a:lnTo>
                  <a:lnTo>
                    <a:pt x="912" y="1368"/>
                  </a:lnTo>
                  <a:lnTo>
                    <a:pt x="918" y="1380"/>
                  </a:lnTo>
                  <a:lnTo>
                    <a:pt x="936" y="1380"/>
                  </a:lnTo>
                  <a:lnTo>
                    <a:pt x="960" y="1386"/>
                  </a:lnTo>
                  <a:lnTo>
                    <a:pt x="990" y="1386"/>
                  </a:lnTo>
                  <a:lnTo>
                    <a:pt x="990" y="1392"/>
                  </a:lnTo>
                  <a:lnTo>
                    <a:pt x="1020" y="1398"/>
                  </a:lnTo>
                  <a:lnTo>
                    <a:pt x="1014" y="1404"/>
                  </a:lnTo>
                  <a:lnTo>
                    <a:pt x="1008" y="1404"/>
                  </a:lnTo>
                  <a:lnTo>
                    <a:pt x="1014" y="1440"/>
                  </a:lnTo>
                  <a:lnTo>
                    <a:pt x="1020" y="1458"/>
                  </a:lnTo>
                  <a:lnTo>
                    <a:pt x="1026" y="1476"/>
                  </a:lnTo>
                  <a:lnTo>
                    <a:pt x="1020" y="1476"/>
                  </a:lnTo>
                  <a:lnTo>
                    <a:pt x="1014" y="1476"/>
                  </a:lnTo>
                  <a:lnTo>
                    <a:pt x="1014" y="1482"/>
                  </a:lnTo>
                  <a:lnTo>
                    <a:pt x="1014" y="1488"/>
                  </a:lnTo>
                  <a:lnTo>
                    <a:pt x="1002" y="1488"/>
                  </a:lnTo>
                  <a:lnTo>
                    <a:pt x="1002" y="1494"/>
                  </a:lnTo>
                  <a:lnTo>
                    <a:pt x="996" y="1494"/>
                  </a:lnTo>
                  <a:lnTo>
                    <a:pt x="996" y="1518"/>
                  </a:lnTo>
                  <a:lnTo>
                    <a:pt x="1002" y="1524"/>
                  </a:lnTo>
                  <a:lnTo>
                    <a:pt x="1020" y="1530"/>
                  </a:lnTo>
                  <a:lnTo>
                    <a:pt x="1026" y="1542"/>
                  </a:lnTo>
                  <a:lnTo>
                    <a:pt x="1032" y="1566"/>
                  </a:lnTo>
                  <a:lnTo>
                    <a:pt x="1038" y="1578"/>
                  </a:lnTo>
                  <a:lnTo>
                    <a:pt x="1032" y="1584"/>
                  </a:lnTo>
                  <a:lnTo>
                    <a:pt x="1020" y="1584"/>
                  </a:lnTo>
                  <a:lnTo>
                    <a:pt x="1014" y="1584"/>
                  </a:lnTo>
                  <a:lnTo>
                    <a:pt x="1008" y="1596"/>
                  </a:lnTo>
                  <a:lnTo>
                    <a:pt x="990" y="1584"/>
                  </a:lnTo>
                  <a:lnTo>
                    <a:pt x="984" y="1602"/>
                  </a:lnTo>
                  <a:lnTo>
                    <a:pt x="978" y="1608"/>
                  </a:lnTo>
                  <a:lnTo>
                    <a:pt x="966" y="1608"/>
                  </a:lnTo>
                  <a:lnTo>
                    <a:pt x="960" y="1614"/>
                  </a:lnTo>
                  <a:lnTo>
                    <a:pt x="954" y="1614"/>
                  </a:lnTo>
                  <a:lnTo>
                    <a:pt x="942" y="1620"/>
                  </a:lnTo>
                  <a:lnTo>
                    <a:pt x="936" y="1620"/>
                  </a:lnTo>
                  <a:lnTo>
                    <a:pt x="930" y="1620"/>
                  </a:lnTo>
                  <a:lnTo>
                    <a:pt x="930" y="1626"/>
                  </a:lnTo>
                  <a:lnTo>
                    <a:pt x="930" y="1632"/>
                  </a:lnTo>
                  <a:lnTo>
                    <a:pt x="918" y="1632"/>
                  </a:lnTo>
                  <a:lnTo>
                    <a:pt x="912" y="1632"/>
                  </a:lnTo>
                  <a:lnTo>
                    <a:pt x="906" y="1632"/>
                  </a:lnTo>
                  <a:lnTo>
                    <a:pt x="900" y="1632"/>
                  </a:lnTo>
                  <a:lnTo>
                    <a:pt x="894" y="1626"/>
                  </a:lnTo>
                  <a:lnTo>
                    <a:pt x="894" y="1614"/>
                  </a:lnTo>
                  <a:lnTo>
                    <a:pt x="840" y="1614"/>
                  </a:lnTo>
                  <a:lnTo>
                    <a:pt x="840" y="1626"/>
                  </a:lnTo>
                  <a:lnTo>
                    <a:pt x="834" y="1626"/>
                  </a:lnTo>
                  <a:lnTo>
                    <a:pt x="828" y="1632"/>
                  </a:lnTo>
                  <a:lnTo>
                    <a:pt x="822" y="1638"/>
                  </a:lnTo>
                  <a:lnTo>
                    <a:pt x="822" y="1644"/>
                  </a:lnTo>
                  <a:lnTo>
                    <a:pt x="834" y="1650"/>
                  </a:lnTo>
                  <a:lnTo>
                    <a:pt x="840" y="1662"/>
                  </a:lnTo>
                  <a:lnTo>
                    <a:pt x="840" y="1668"/>
                  </a:lnTo>
                  <a:lnTo>
                    <a:pt x="858" y="1680"/>
                  </a:lnTo>
                  <a:lnTo>
                    <a:pt x="858" y="1752"/>
                  </a:lnTo>
                  <a:lnTo>
                    <a:pt x="864" y="1782"/>
                  </a:lnTo>
                  <a:lnTo>
                    <a:pt x="876" y="1788"/>
                  </a:lnTo>
                  <a:lnTo>
                    <a:pt x="870" y="1854"/>
                  </a:lnTo>
                  <a:lnTo>
                    <a:pt x="870" y="1884"/>
                  </a:lnTo>
                  <a:lnTo>
                    <a:pt x="864" y="1884"/>
                  </a:lnTo>
                  <a:lnTo>
                    <a:pt x="846" y="1896"/>
                  </a:lnTo>
                  <a:lnTo>
                    <a:pt x="840" y="1896"/>
                  </a:lnTo>
                  <a:lnTo>
                    <a:pt x="834" y="1896"/>
                  </a:lnTo>
                  <a:lnTo>
                    <a:pt x="828" y="1890"/>
                  </a:lnTo>
                  <a:lnTo>
                    <a:pt x="822" y="1890"/>
                  </a:lnTo>
                  <a:lnTo>
                    <a:pt x="816" y="1896"/>
                  </a:lnTo>
                  <a:lnTo>
                    <a:pt x="804" y="1896"/>
                  </a:lnTo>
                  <a:lnTo>
                    <a:pt x="804" y="1890"/>
                  </a:lnTo>
                  <a:lnTo>
                    <a:pt x="780" y="1896"/>
                  </a:lnTo>
                  <a:lnTo>
                    <a:pt x="780" y="1902"/>
                  </a:lnTo>
                  <a:lnTo>
                    <a:pt x="774" y="1914"/>
                  </a:lnTo>
                  <a:lnTo>
                    <a:pt x="762" y="1926"/>
                  </a:lnTo>
                  <a:lnTo>
                    <a:pt x="762" y="1950"/>
                  </a:lnTo>
                  <a:lnTo>
                    <a:pt x="762" y="1962"/>
                  </a:lnTo>
                  <a:lnTo>
                    <a:pt x="780" y="1974"/>
                  </a:lnTo>
                  <a:lnTo>
                    <a:pt x="780" y="1986"/>
                  </a:lnTo>
                  <a:lnTo>
                    <a:pt x="780" y="1998"/>
                  </a:lnTo>
                  <a:lnTo>
                    <a:pt x="756" y="1998"/>
                  </a:lnTo>
                  <a:lnTo>
                    <a:pt x="720" y="1992"/>
                  </a:lnTo>
                  <a:lnTo>
                    <a:pt x="666" y="1998"/>
                  </a:lnTo>
                  <a:lnTo>
                    <a:pt x="654" y="1998"/>
                  </a:lnTo>
                  <a:lnTo>
                    <a:pt x="660" y="1974"/>
                  </a:lnTo>
                  <a:lnTo>
                    <a:pt x="666" y="1962"/>
                  </a:lnTo>
                  <a:lnTo>
                    <a:pt x="678" y="1950"/>
                  </a:lnTo>
                  <a:lnTo>
                    <a:pt x="696" y="1932"/>
                  </a:lnTo>
                  <a:lnTo>
                    <a:pt x="696" y="1920"/>
                  </a:lnTo>
                  <a:lnTo>
                    <a:pt x="696" y="1896"/>
                  </a:lnTo>
                  <a:lnTo>
                    <a:pt x="678" y="1896"/>
                  </a:lnTo>
                  <a:lnTo>
                    <a:pt x="672" y="1884"/>
                  </a:lnTo>
                  <a:lnTo>
                    <a:pt x="672" y="1776"/>
                  </a:lnTo>
                  <a:lnTo>
                    <a:pt x="678" y="1758"/>
                  </a:lnTo>
                  <a:lnTo>
                    <a:pt x="678" y="1740"/>
                  </a:lnTo>
                  <a:lnTo>
                    <a:pt x="684" y="1728"/>
                  </a:lnTo>
                  <a:lnTo>
                    <a:pt x="690" y="1722"/>
                  </a:lnTo>
                  <a:lnTo>
                    <a:pt x="702" y="1722"/>
                  </a:lnTo>
                  <a:lnTo>
                    <a:pt x="708" y="1716"/>
                  </a:lnTo>
                  <a:lnTo>
                    <a:pt x="714" y="1710"/>
                  </a:lnTo>
                  <a:lnTo>
                    <a:pt x="720" y="1698"/>
                  </a:lnTo>
                  <a:lnTo>
                    <a:pt x="732" y="1692"/>
                  </a:lnTo>
                  <a:lnTo>
                    <a:pt x="744" y="1686"/>
                  </a:lnTo>
                  <a:lnTo>
                    <a:pt x="756" y="1680"/>
                  </a:lnTo>
                  <a:lnTo>
                    <a:pt x="768" y="1668"/>
                  </a:lnTo>
                  <a:lnTo>
                    <a:pt x="768" y="1650"/>
                  </a:lnTo>
                  <a:lnTo>
                    <a:pt x="774" y="1632"/>
                  </a:lnTo>
                  <a:lnTo>
                    <a:pt x="768" y="1620"/>
                  </a:lnTo>
                  <a:lnTo>
                    <a:pt x="774" y="1608"/>
                  </a:lnTo>
                  <a:lnTo>
                    <a:pt x="774" y="1578"/>
                  </a:lnTo>
                  <a:lnTo>
                    <a:pt x="774" y="1572"/>
                  </a:lnTo>
                  <a:lnTo>
                    <a:pt x="780" y="1560"/>
                  </a:lnTo>
                  <a:lnTo>
                    <a:pt x="780" y="1554"/>
                  </a:lnTo>
                  <a:lnTo>
                    <a:pt x="786" y="1542"/>
                  </a:lnTo>
                  <a:lnTo>
                    <a:pt x="792" y="1530"/>
                  </a:lnTo>
                  <a:lnTo>
                    <a:pt x="792" y="1518"/>
                  </a:lnTo>
                  <a:lnTo>
                    <a:pt x="792" y="1506"/>
                  </a:lnTo>
                  <a:lnTo>
                    <a:pt x="786" y="1500"/>
                  </a:lnTo>
                  <a:lnTo>
                    <a:pt x="774" y="1488"/>
                  </a:lnTo>
                  <a:lnTo>
                    <a:pt x="774" y="1482"/>
                  </a:lnTo>
                  <a:lnTo>
                    <a:pt x="762" y="1488"/>
                  </a:lnTo>
                  <a:lnTo>
                    <a:pt x="756" y="1494"/>
                  </a:lnTo>
                  <a:lnTo>
                    <a:pt x="744" y="1500"/>
                  </a:lnTo>
                  <a:lnTo>
                    <a:pt x="732" y="1506"/>
                  </a:lnTo>
                  <a:lnTo>
                    <a:pt x="726" y="1506"/>
                  </a:lnTo>
                  <a:lnTo>
                    <a:pt x="720" y="1506"/>
                  </a:lnTo>
                  <a:lnTo>
                    <a:pt x="702" y="1506"/>
                  </a:lnTo>
                  <a:lnTo>
                    <a:pt x="690" y="1500"/>
                  </a:lnTo>
                  <a:lnTo>
                    <a:pt x="678" y="1500"/>
                  </a:lnTo>
                  <a:lnTo>
                    <a:pt x="672" y="1500"/>
                  </a:lnTo>
                  <a:lnTo>
                    <a:pt x="660" y="1506"/>
                  </a:lnTo>
                  <a:lnTo>
                    <a:pt x="654" y="1506"/>
                  </a:lnTo>
                  <a:lnTo>
                    <a:pt x="648" y="1512"/>
                  </a:lnTo>
                  <a:lnTo>
                    <a:pt x="648" y="1518"/>
                  </a:lnTo>
                  <a:lnTo>
                    <a:pt x="618" y="1518"/>
                  </a:lnTo>
                  <a:lnTo>
                    <a:pt x="534" y="1494"/>
                  </a:lnTo>
                  <a:lnTo>
                    <a:pt x="528" y="1458"/>
                  </a:lnTo>
                  <a:lnTo>
                    <a:pt x="510" y="1458"/>
                  </a:lnTo>
                  <a:lnTo>
                    <a:pt x="492" y="1440"/>
                  </a:lnTo>
                  <a:lnTo>
                    <a:pt x="462" y="1440"/>
                  </a:lnTo>
                  <a:lnTo>
                    <a:pt x="456" y="1428"/>
                  </a:lnTo>
                  <a:lnTo>
                    <a:pt x="420" y="1428"/>
                  </a:lnTo>
                  <a:lnTo>
                    <a:pt x="390" y="1446"/>
                  </a:lnTo>
                  <a:lnTo>
                    <a:pt x="312" y="1452"/>
                  </a:lnTo>
                  <a:lnTo>
                    <a:pt x="300" y="1446"/>
                  </a:lnTo>
                  <a:lnTo>
                    <a:pt x="294" y="1446"/>
                  </a:lnTo>
                  <a:lnTo>
                    <a:pt x="288" y="1446"/>
                  </a:lnTo>
                  <a:lnTo>
                    <a:pt x="282" y="1440"/>
                  </a:lnTo>
                  <a:lnTo>
                    <a:pt x="276" y="1440"/>
                  </a:lnTo>
                  <a:lnTo>
                    <a:pt x="270" y="1440"/>
                  </a:lnTo>
                  <a:lnTo>
                    <a:pt x="264" y="1440"/>
                  </a:lnTo>
                  <a:lnTo>
                    <a:pt x="258" y="1434"/>
                  </a:lnTo>
                  <a:lnTo>
                    <a:pt x="252" y="1434"/>
                  </a:lnTo>
                  <a:lnTo>
                    <a:pt x="246" y="1428"/>
                  </a:lnTo>
                  <a:lnTo>
                    <a:pt x="240" y="1416"/>
                  </a:lnTo>
                  <a:lnTo>
                    <a:pt x="234" y="1404"/>
                  </a:lnTo>
                  <a:lnTo>
                    <a:pt x="228" y="1398"/>
                  </a:lnTo>
                  <a:lnTo>
                    <a:pt x="222" y="1398"/>
                  </a:lnTo>
                  <a:lnTo>
                    <a:pt x="216" y="1404"/>
                  </a:lnTo>
                  <a:lnTo>
                    <a:pt x="210" y="1404"/>
                  </a:lnTo>
                  <a:lnTo>
                    <a:pt x="204" y="1404"/>
                  </a:lnTo>
                  <a:lnTo>
                    <a:pt x="204" y="1398"/>
                  </a:lnTo>
                  <a:lnTo>
                    <a:pt x="198" y="1392"/>
                  </a:lnTo>
                  <a:lnTo>
                    <a:pt x="192" y="1386"/>
                  </a:lnTo>
                  <a:lnTo>
                    <a:pt x="168" y="1374"/>
                  </a:lnTo>
                  <a:lnTo>
                    <a:pt x="144" y="138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0" name="Freeform 35">
              <a:extLst>
                <a:ext uri="{FF2B5EF4-FFF2-40B4-BE49-F238E27FC236}">
                  <a16:creationId xmlns:a16="http://schemas.microsoft.com/office/drawing/2014/main" id="{F64BF16E-9D62-438E-A1CC-CD4088AC7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2895" y="1706004"/>
              <a:ext cx="767013" cy="785011"/>
            </a:xfrm>
            <a:custGeom>
              <a:avLst/>
              <a:gdLst>
                <a:gd name="T0" fmla="*/ 102 w 1440"/>
                <a:gd name="T1" fmla="*/ 104 h 1476"/>
                <a:gd name="T2" fmla="*/ 99 w 1440"/>
                <a:gd name="T3" fmla="*/ 108 h 1476"/>
                <a:gd name="T4" fmla="*/ 98 w 1440"/>
                <a:gd name="T5" fmla="*/ 112 h 1476"/>
                <a:gd name="T6" fmla="*/ 96 w 1440"/>
                <a:gd name="T7" fmla="*/ 116 h 1476"/>
                <a:gd name="T8" fmla="*/ 91 w 1440"/>
                <a:gd name="T9" fmla="*/ 118 h 1476"/>
                <a:gd name="T10" fmla="*/ 87 w 1440"/>
                <a:gd name="T11" fmla="*/ 120 h 1476"/>
                <a:gd name="T12" fmla="*/ 75 w 1440"/>
                <a:gd name="T13" fmla="*/ 120 h 1476"/>
                <a:gd name="T14" fmla="*/ 72 w 1440"/>
                <a:gd name="T15" fmla="*/ 123 h 1476"/>
                <a:gd name="T16" fmla="*/ 69 w 1440"/>
                <a:gd name="T17" fmla="*/ 128 h 1476"/>
                <a:gd name="T18" fmla="*/ 67 w 1440"/>
                <a:gd name="T19" fmla="*/ 127 h 1476"/>
                <a:gd name="T20" fmla="*/ 66 w 1440"/>
                <a:gd name="T21" fmla="*/ 123 h 1476"/>
                <a:gd name="T22" fmla="*/ 63 w 1440"/>
                <a:gd name="T23" fmla="*/ 119 h 1476"/>
                <a:gd name="T24" fmla="*/ 54 w 1440"/>
                <a:gd name="T25" fmla="*/ 114 h 1476"/>
                <a:gd name="T26" fmla="*/ 55 w 1440"/>
                <a:gd name="T27" fmla="*/ 106 h 1476"/>
                <a:gd name="T28" fmla="*/ 60 w 1440"/>
                <a:gd name="T29" fmla="*/ 100 h 1476"/>
                <a:gd name="T30" fmla="*/ 55 w 1440"/>
                <a:gd name="T31" fmla="*/ 91 h 1476"/>
                <a:gd name="T32" fmla="*/ 51 w 1440"/>
                <a:gd name="T33" fmla="*/ 86 h 1476"/>
                <a:gd name="T34" fmla="*/ 47 w 1440"/>
                <a:gd name="T35" fmla="*/ 85 h 1476"/>
                <a:gd name="T36" fmla="*/ 44 w 1440"/>
                <a:gd name="T37" fmla="*/ 82 h 1476"/>
                <a:gd name="T38" fmla="*/ 41 w 1440"/>
                <a:gd name="T39" fmla="*/ 83 h 1476"/>
                <a:gd name="T40" fmla="*/ 36 w 1440"/>
                <a:gd name="T41" fmla="*/ 83 h 1476"/>
                <a:gd name="T42" fmla="*/ 33 w 1440"/>
                <a:gd name="T43" fmla="*/ 83 h 1476"/>
                <a:gd name="T44" fmla="*/ 30 w 1440"/>
                <a:gd name="T45" fmla="*/ 83 h 1476"/>
                <a:gd name="T46" fmla="*/ 27 w 1440"/>
                <a:gd name="T47" fmla="*/ 83 h 1476"/>
                <a:gd name="T48" fmla="*/ 24 w 1440"/>
                <a:gd name="T49" fmla="*/ 82 h 1476"/>
                <a:gd name="T50" fmla="*/ 21 w 1440"/>
                <a:gd name="T51" fmla="*/ 80 h 1476"/>
                <a:gd name="T52" fmla="*/ 18 w 1440"/>
                <a:gd name="T53" fmla="*/ 79 h 1476"/>
                <a:gd name="T54" fmla="*/ 17 w 1440"/>
                <a:gd name="T55" fmla="*/ 78 h 1476"/>
                <a:gd name="T56" fmla="*/ 12 w 1440"/>
                <a:gd name="T57" fmla="*/ 78 h 1476"/>
                <a:gd name="T58" fmla="*/ 12 w 1440"/>
                <a:gd name="T59" fmla="*/ 78 h 1476"/>
                <a:gd name="T60" fmla="*/ 7 w 1440"/>
                <a:gd name="T61" fmla="*/ 80 h 1476"/>
                <a:gd name="T62" fmla="*/ 3 w 1440"/>
                <a:gd name="T63" fmla="*/ 81 h 1476"/>
                <a:gd name="T64" fmla="*/ 0 w 1440"/>
                <a:gd name="T65" fmla="*/ 76 h 1476"/>
                <a:gd name="T66" fmla="*/ 1 w 1440"/>
                <a:gd name="T67" fmla="*/ 50 h 1476"/>
                <a:gd name="T68" fmla="*/ 8 w 1440"/>
                <a:gd name="T69" fmla="*/ 48 h 1476"/>
                <a:gd name="T70" fmla="*/ 20 w 1440"/>
                <a:gd name="T71" fmla="*/ 49 h 1476"/>
                <a:gd name="T72" fmla="*/ 26 w 1440"/>
                <a:gd name="T73" fmla="*/ 50 h 1476"/>
                <a:gd name="T74" fmla="*/ 44 w 1440"/>
                <a:gd name="T75" fmla="*/ 47 h 1476"/>
                <a:gd name="T76" fmla="*/ 41 w 1440"/>
                <a:gd name="T77" fmla="*/ 24 h 1476"/>
                <a:gd name="T78" fmla="*/ 44 w 1440"/>
                <a:gd name="T79" fmla="*/ 20 h 1476"/>
                <a:gd name="T80" fmla="*/ 47 w 1440"/>
                <a:gd name="T81" fmla="*/ 18 h 1476"/>
                <a:gd name="T82" fmla="*/ 54 w 1440"/>
                <a:gd name="T83" fmla="*/ 21 h 1476"/>
                <a:gd name="T84" fmla="*/ 61 w 1440"/>
                <a:gd name="T85" fmla="*/ 23 h 1476"/>
                <a:gd name="T86" fmla="*/ 59 w 1440"/>
                <a:gd name="T87" fmla="*/ 14 h 1476"/>
                <a:gd name="T88" fmla="*/ 61 w 1440"/>
                <a:gd name="T89" fmla="*/ 8 h 1476"/>
                <a:gd name="T90" fmla="*/ 71 w 1440"/>
                <a:gd name="T91" fmla="*/ 7 h 1476"/>
                <a:gd name="T92" fmla="*/ 75 w 1440"/>
                <a:gd name="T93" fmla="*/ 0 h 1476"/>
                <a:gd name="T94" fmla="*/ 82 w 1440"/>
                <a:gd name="T95" fmla="*/ 3 h 1476"/>
                <a:gd name="T96" fmla="*/ 93 w 1440"/>
                <a:gd name="T97" fmla="*/ 5 h 1476"/>
                <a:gd name="T98" fmla="*/ 100 w 1440"/>
                <a:gd name="T99" fmla="*/ 1 h 1476"/>
                <a:gd name="T100" fmla="*/ 104 w 1440"/>
                <a:gd name="T101" fmla="*/ 4 h 1476"/>
                <a:gd name="T102" fmla="*/ 110 w 1440"/>
                <a:gd name="T103" fmla="*/ 10 h 1476"/>
                <a:gd name="T104" fmla="*/ 115 w 1440"/>
                <a:gd name="T105" fmla="*/ 23 h 1476"/>
                <a:gd name="T106" fmla="*/ 117 w 1440"/>
                <a:gd name="T107" fmla="*/ 42 h 1476"/>
                <a:gd name="T108" fmla="*/ 121 w 1440"/>
                <a:gd name="T109" fmla="*/ 52 h 1476"/>
                <a:gd name="T110" fmla="*/ 118 w 1440"/>
                <a:gd name="T111" fmla="*/ 62 h 1476"/>
                <a:gd name="T112" fmla="*/ 124 w 1440"/>
                <a:gd name="T113" fmla="*/ 66 h 1476"/>
                <a:gd name="T114" fmla="*/ 121 w 1440"/>
                <a:gd name="T115" fmla="*/ 71 h 1476"/>
                <a:gd name="T116" fmla="*/ 115 w 1440"/>
                <a:gd name="T117" fmla="*/ 76 h 1476"/>
                <a:gd name="T118" fmla="*/ 109 w 1440"/>
                <a:gd name="T119" fmla="*/ 76 h 1476"/>
                <a:gd name="T120" fmla="*/ 105 w 1440"/>
                <a:gd name="T121" fmla="*/ 86 h 1476"/>
                <a:gd name="T122" fmla="*/ 107 w 1440"/>
                <a:gd name="T123" fmla="*/ 97 h 147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40"/>
                <a:gd name="T187" fmla="*/ 0 h 1476"/>
                <a:gd name="T188" fmla="*/ 1440 w 1440"/>
                <a:gd name="T189" fmla="*/ 1476 h 147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40" h="1476">
                  <a:moveTo>
                    <a:pt x="1212" y="1164"/>
                  </a:moveTo>
                  <a:lnTo>
                    <a:pt x="1206" y="1170"/>
                  </a:lnTo>
                  <a:lnTo>
                    <a:pt x="1200" y="1176"/>
                  </a:lnTo>
                  <a:lnTo>
                    <a:pt x="1194" y="1176"/>
                  </a:lnTo>
                  <a:lnTo>
                    <a:pt x="1188" y="1188"/>
                  </a:lnTo>
                  <a:lnTo>
                    <a:pt x="1182" y="1194"/>
                  </a:lnTo>
                  <a:lnTo>
                    <a:pt x="1176" y="1194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64" y="1206"/>
                  </a:lnTo>
                  <a:lnTo>
                    <a:pt x="1158" y="1206"/>
                  </a:lnTo>
                  <a:lnTo>
                    <a:pt x="1152" y="1212"/>
                  </a:lnTo>
                  <a:lnTo>
                    <a:pt x="1146" y="1212"/>
                  </a:lnTo>
                  <a:lnTo>
                    <a:pt x="1140" y="1224"/>
                  </a:lnTo>
                  <a:lnTo>
                    <a:pt x="1134" y="1230"/>
                  </a:lnTo>
                  <a:lnTo>
                    <a:pt x="1128" y="1236"/>
                  </a:lnTo>
                  <a:lnTo>
                    <a:pt x="1128" y="1242"/>
                  </a:lnTo>
                  <a:lnTo>
                    <a:pt x="1128" y="1254"/>
                  </a:lnTo>
                  <a:lnTo>
                    <a:pt x="1128" y="1260"/>
                  </a:lnTo>
                  <a:lnTo>
                    <a:pt x="1122" y="1260"/>
                  </a:lnTo>
                  <a:lnTo>
                    <a:pt x="1122" y="1266"/>
                  </a:lnTo>
                  <a:lnTo>
                    <a:pt x="1128" y="1278"/>
                  </a:lnTo>
                  <a:lnTo>
                    <a:pt x="1122" y="1278"/>
                  </a:lnTo>
                  <a:lnTo>
                    <a:pt x="1122" y="1284"/>
                  </a:lnTo>
                  <a:lnTo>
                    <a:pt x="1128" y="1290"/>
                  </a:lnTo>
                  <a:lnTo>
                    <a:pt x="1122" y="1296"/>
                  </a:lnTo>
                  <a:lnTo>
                    <a:pt x="1122" y="1302"/>
                  </a:lnTo>
                  <a:lnTo>
                    <a:pt x="1116" y="1302"/>
                  </a:lnTo>
                  <a:lnTo>
                    <a:pt x="1110" y="1314"/>
                  </a:lnTo>
                  <a:lnTo>
                    <a:pt x="1110" y="1320"/>
                  </a:lnTo>
                  <a:lnTo>
                    <a:pt x="1110" y="1326"/>
                  </a:lnTo>
                  <a:lnTo>
                    <a:pt x="1098" y="1332"/>
                  </a:lnTo>
                  <a:lnTo>
                    <a:pt x="1092" y="1338"/>
                  </a:lnTo>
                  <a:lnTo>
                    <a:pt x="1092" y="1344"/>
                  </a:lnTo>
                  <a:lnTo>
                    <a:pt x="1086" y="1350"/>
                  </a:lnTo>
                  <a:lnTo>
                    <a:pt x="1080" y="1350"/>
                  </a:lnTo>
                  <a:lnTo>
                    <a:pt x="1074" y="1350"/>
                  </a:lnTo>
                  <a:lnTo>
                    <a:pt x="1068" y="1356"/>
                  </a:lnTo>
                  <a:lnTo>
                    <a:pt x="1062" y="1356"/>
                  </a:lnTo>
                  <a:lnTo>
                    <a:pt x="1044" y="1356"/>
                  </a:lnTo>
                  <a:lnTo>
                    <a:pt x="1038" y="1362"/>
                  </a:lnTo>
                  <a:lnTo>
                    <a:pt x="1032" y="1368"/>
                  </a:lnTo>
                  <a:lnTo>
                    <a:pt x="1026" y="1368"/>
                  </a:lnTo>
                  <a:lnTo>
                    <a:pt x="1020" y="1374"/>
                  </a:lnTo>
                  <a:lnTo>
                    <a:pt x="1008" y="1374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74"/>
                  </a:lnTo>
                  <a:lnTo>
                    <a:pt x="978" y="1380"/>
                  </a:lnTo>
                  <a:lnTo>
                    <a:pt x="972" y="1380"/>
                  </a:lnTo>
                  <a:lnTo>
                    <a:pt x="954" y="1368"/>
                  </a:lnTo>
                  <a:lnTo>
                    <a:pt x="930" y="1368"/>
                  </a:lnTo>
                  <a:lnTo>
                    <a:pt x="918" y="1368"/>
                  </a:lnTo>
                  <a:lnTo>
                    <a:pt x="906" y="1368"/>
                  </a:lnTo>
                  <a:lnTo>
                    <a:pt x="894" y="1368"/>
                  </a:lnTo>
                  <a:lnTo>
                    <a:pt x="864" y="1374"/>
                  </a:lnTo>
                  <a:lnTo>
                    <a:pt x="852" y="1374"/>
                  </a:lnTo>
                  <a:lnTo>
                    <a:pt x="846" y="1386"/>
                  </a:lnTo>
                  <a:lnTo>
                    <a:pt x="846" y="1392"/>
                  </a:lnTo>
                  <a:lnTo>
                    <a:pt x="840" y="1398"/>
                  </a:lnTo>
                  <a:lnTo>
                    <a:pt x="840" y="1404"/>
                  </a:lnTo>
                  <a:lnTo>
                    <a:pt x="834" y="1416"/>
                  </a:lnTo>
                  <a:lnTo>
                    <a:pt x="828" y="1416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04" y="1428"/>
                  </a:lnTo>
                  <a:lnTo>
                    <a:pt x="804" y="1434"/>
                  </a:lnTo>
                  <a:lnTo>
                    <a:pt x="804" y="1440"/>
                  </a:lnTo>
                  <a:lnTo>
                    <a:pt x="798" y="1446"/>
                  </a:lnTo>
                  <a:lnTo>
                    <a:pt x="798" y="1458"/>
                  </a:lnTo>
                  <a:lnTo>
                    <a:pt x="792" y="1464"/>
                  </a:lnTo>
                  <a:lnTo>
                    <a:pt x="786" y="1476"/>
                  </a:lnTo>
                  <a:lnTo>
                    <a:pt x="780" y="1470"/>
                  </a:lnTo>
                  <a:lnTo>
                    <a:pt x="774" y="1470"/>
                  </a:lnTo>
                  <a:lnTo>
                    <a:pt x="768" y="1470"/>
                  </a:lnTo>
                  <a:lnTo>
                    <a:pt x="762" y="1476"/>
                  </a:lnTo>
                  <a:lnTo>
                    <a:pt x="762" y="1470"/>
                  </a:lnTo>
                  <a:lnTo>
                    <a:pt x="762" y="1464"/>
                  </a:lnTo>
                  <a:lnTo>
                    <a:pt x="762" y="1458"/>
                  </a:lnTo>
                  <a:lnTo>
                    <a:pt x="756" y="1458"/>
                  </a:lnTo>
                  <a:lnTo>
                    <a:pt x="756" y="1452"/>
                  </a:lnTo>
                  <a:lnTo>
                    <a:pt x="756" y="1446"/>
                  </a:lnTo>
                  <a:lnTo>
                    <a:pt x="756" y="1440"/>
                  </a:lnTo>
                  <a:lnTo>
                    <a:pt x="750" y="1434"/>
                  </a:lnTo>
                  <a:lnTo>
                    <a:pt x="750" y="1428"/>
                  </a:lnTo>
                  <a:lnTo>
                    <a:pt x="750" y="1422"/>
                  </a:lnTo>
                  <a:lnTo>
                    <a:pt x="750" y="1416"/>
                  </a:lnTo>
                  <a:lnTo>
                    <a:pt x="744" y="1416"/>
                  </a:lnTo>
                  <a:lnTo>
                    <a:pt x="744" y="1410"/>
                  </a:lnTo>
                  <a:lnTo>
                    <a:pt x="738" y="1404"/>
                  </a:lnTo>
                  <a:lnTo>
                    <a:pt x="732" y="1398"/>
                  </a:lnTo>
                  <a:lnTo>
                    <a:pt x="732" y="1392"/>
                  </a:lnTo>
                  <a:lnTo>
                    <a:pt x="726" y="1386"/>
                  </a:lnTo>
                  <a:lnTo>
                    <a:pt x="726" y="1380"/>
                  </a:lnTo>
                  <a:lnTo>
                    <a:pt x="714" y="1368"/>
                  </a:lnTo>
                  <a:lnTo>
                    <a:pt x="708" y="1368"/>
                  </a:lnTo>
                  <a:lnTo>
                    <a:pt x="684" y="1332"/>
                  </a:lnTo>
                  <a:lnTo>
                    <a:pt x="666" y="1320"/>
                  </a:lnTo>
                  <a:lnTo>
                    <a:pt x="648" y="1302"/>
                  </a:lnTo>
                  <a:lnTo>
                    <a:pt x="630" y="1314"/>
                  </a:lnTo>
                  <a:lnTo>
                    <a:pt x="624" y="1314"/>
                  </a:lnTo>
                  <a:lnTo>
                    <a:pt x="624" y="1308"/>
                  </a:lnTo>
                  <a:lnTo>
                    <a:pt x="618" y="1308"/>
                  </a:lnTo>
                  <a:lnTo>
                    <a:pt x="612" y="1284"/>
                  </a:lnTo>
                  <a:lnTo>
                    <a:pt x="606" y="1254"/>
                  </a:lnTo>
                  <a:lnTo>
                    <a:pt x="606" y="1248"/>
                  </a:lnTo>
                  <a:lnTo>
                    <a:pt x="606" y="1242"/>
                  </a:lnTo>
                  <a:lnTo>
                    <a:pt x="612" y="1242"/>
                  </a:lnTo>
                  <a:lnTo>
                    <a:pt x="618" y="1236"/>
                  </a:lnTo>
                  <a:lnTo>
                    <a:pt x="618" y="1230"/>
                  </a:lnTo>
                  <a:lnTo>
                    <a:pt x="624" y="1224"/>
                  </a:lnTo>
                  <a:lnTo>
                    <a:pt x="630" y="1224"/>
                  </a:lnTo>
                  <a:lnTo>
                    <a:pt x="636" y="1218"/>
                  </a:lnTo>
                  <a:lnTo>
                    <a:pt x="636" y="1212"/>
                  </a:lnTo>
                  <a:lnTo>
                    <a:pt x="612" y="1200"/>
                  </a:lnTo>
                  <a:lnTo>
                    <a:pt x="606" y="1182"/>
                  </a:lnTo>
                  <a:lnTo>
                    <a:pt x="672" y="1182"/>
                  </a:lnTo>
                  <a:lnTo>
                    <a:pt x="690" y="1170"/>
                  </a:lnTo>
                  <a:lnTo>
                    <a:pt x="690" y="1152"/>
                  </a:lnTo>
                  <a:lnTo>
                    <a:pt x="678" y="1110"/>
                  </a:lnTo>
                  <a:lnTo>
                    <a:pt x="672" y="1092"/>
                  </a:lnTo>
                  <a:lnTo>
                    <a:pt x="660" y="1074"/>
                  </a:lnTo>
                  <a:lnTo>
                    <a:pt x="648" y="1068"/>
                  </a:lnTo>
                  <a:lnTo>
                    <a:pt x="642" y="1068"/>
                  </a:lnTo>
                  <a:lnTo>
                    <a:pt x="636" y="1062"/>
                  </a:lnTo>
                  <a:lnTo>
                    <a:pt x="624" y="1056"/>
                  </a:lnTo>
                  <a:lnTo>
                    <a:pt x="624" y="1050"/>
                  </a:lnTo>
                  <a:lnTo>
                    <a:pt x="618" y="1038"/>
                  </a:lnTo>
                  <a:lnTo>
                    <a:pt x="612" y="1038"/>
                  </a:lnTo>
                  <a:lnTo>
                    <a:pt x="612" y="1032"/>
                  </a:lnTo>
                  <a:lnTo>
                    <a:pt x="612" y="1026"/>
                  </a:lnTo>
                  <a:lnTo>
                    <a:pt x="600" y="1014"/>
                  </a:lnTo>
                  <a:lnTo>
                    <a:pt x="582" y="1008"/>
                  </a:lnTo>
                  <a:lnTo>
                    <a:pt x="576" y="1002"/>
                  </a:lnTo>
                  <a:lnTo>
                    <a:pt x="576" y="996"/>
                  </a:lnTo>
                  <a:lnTo>
                    <a:pt x="570" y="996"/>
                  </a:lnTo>
                  <a:lnTo>
                    <a:pt x="570" y="990"/>
                  </a:lnTo>
                  <a:lnTo>
                    <a:pt x="570" y="984"/>
                  </a:lnTo>
                  <a:lnTo>
                    <a:pt x="564" y="984"/>
                  </a:lnTo>
                  <a:lnTo>
                    <a:pt x="558" y="978"/>
                  </a:lnTo>
                  <a:lnTo>
                    <a:pt x="552" y="972"/>
                  </a:lnTo>
                  <a:lnTo>
                    <a:pt x="552" y="966"/>
                  </a:lnTo>
                  <a:lnTo>
                    <a:pt x="546" y="972"/>
                  </a:lnTo>
                  <a:lnTo>
                    <a:pt x="540" y="972"/>
                  </a:lnTo>
                  <a:lnTo>
                    <a:pt x="534" y="960"/>
                  </a:lnTo>
                  <a:lnTo>
                    <a:pt x="528" y="960"/>
                  </a:lnTo>
                  <a:lnTo>
                    <a:pt x="528" y="966"/>
                  </a:lnTo>
                  <a:lnTo>
                    <a:pt x="516" y="954"/>
                  </a:lnTo>
                  <a:lnTo>
                    <a:pt x="516" y="948"/>
                  </a:lnTo>
                  <a:lnTo>
                    <a:pt x="510" y="948"/>
                  </a:lnTo>
                  <a:lnTo>
                    <a:pt x="504" y="948"/>
                  </a:lnTo>
                  <a:lnTo>
                    <a:pt x="498" y="948"/>
                  </a:lnTo>
                  <a:lnTo>
                    <a:pt x="504" y="954"/>
                  </a:lnTo>
                  <a:lnTo>
                    <a:pt x="498" y="954"/>
                  </a:lnTo>
                  <a:lnTo>
                    <a:pt x="492" y="954"/>
                  </a:lnTo>
                  <a:lnTo>
                    <a:pt x="480" y="942"/>
                  </a:lnTo>
                  <a:lnTo>
                    <a:pt x="480" y="948"/>
                  </a:lnTo>
                  <a:lnTo>
                    <a:pt x="480" y="954"/>
                  </a:lnTo>
                  <a:lnTo>
                    <a:pt x="474" y="954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56" y="966"/>
                  </a:lnTo>
                  <a:lnTo>
                    <a:pt x="456" y="960"/>
                  </a:lnTo>
                  <a:lnTo>
                    <a:pt x="450" y="966"/>
                  </a:lnTo>
                  <a:lnTo>
                    <a:pt x="444" y="966"/>
                  </a:lnTo>
                  <a:lnTo>
                    <a:pt x="414" y="966"/>
                  </a:lnTo>
                  <a:lnTo>
                    <a:pt x="408" y="960"/>
                  </a:lnTo>
                  <a:lnTo>
                    <a:pt x="408" y="966"/>
                  </a:lnTo>
                  <a:lnTo>
                    <a:pt x="402" y="960"/>
                  </a:lnTo>
                  <a:lnTo>
                    <a:pt x="396" y="960"/>
                  </a:lnTo>
                  <a:lnTo>
                    <a:pt x="390" y="960"/>
                  </a:lnTo>
                  <a:lnTo>
                    <a:pt x="390" y="966"/>
                  </a:lnTo>
                  <a:lnTo>
                    <a:pt x="384" y="966"/>
                  </a:lnTo>
                  <a:lnTo>
                    <a:pt x="378" y="966"/>
                  </a:lnTo>
                  <a:lnTo>
                    <a:pt x="384" y="960"/>
                  </a:lnTo>
                  <a:lnTo>
                    <a:pt x="384" y="954"/>
                  </a:lnTo>
                  <a:lnTo>
                    <a:pt x="372" y="948"/>
                  </a:lnTo>
                  <a:lnTo>
                    <a:pt x="372" y="954"/>
                  </a:lnTo>
                  <a:lnTo>
                    <a:pt x="372" y="960"/>
                  </a:lnTo>
                  <a:lnTo>
                    <a:pt x="366" y="960"/>
                  </a:lnTo>
                  <a:lnTo>
                    <a:pt x="360" y="966"/>
                  </a:lnTo>
                  <a:lnTo>
                    <a:pt x="354" y="966"/>
                  </a:lnTo>
                  <a:lnTo>
                    <a:pt x="348" y="960"/>
                  </a:lnTo>
                  <a:lnTo>
                    <a:pt x="342" y="960"/>
                  </a:lnTo>
                  <a:lnTo>
                    <a:pt x="342" y="966"/>
                  </a:lnTo>
                  <a:lnTo>
                    <a:pt x="336" y="972"/>
                  </a:lnTo>
                  <a:lnTo>
                    <a:pt x="330" y="972"/>
                  </a:lnTo>
                  <a:lnTo>
                    <a:pt x="324" y="966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6" y="954"/>
                  </a:lnTo>
                  <a:lnTo>
                    <a:pt x="306" y="948"/>
                  </a:lnTo>
                  <a:lnTo>
                    <a:pt x="306" y="942"/>
                  </a:lnTo>
                  <a:lnTo>
                    <a:pt x="300" y="942"/>
                  </a:lnTo>
                  <a:lnTo>
                    <a:pt x="294" y="936"/>
                  </a:lnTo>
                  <a:lnTo>
                    <a:pt x="288" y="936"/>
                  </a:lnTo>
                  <a:lnTo>
                    <a:pt x="282" y="942"/>
                  </a:lnTo>
                  <a:lnTo>
                    <a:pt x="276" y="936"/>
                  </a:lnTo>
                  <a:lnTo>
                    <a:pt x="276" y="942"/>
                  </a:lnTo>
                  <a:lnTo>
                    <a:pt x="270" y="942"/>
                  </a:lnTo>
                  <a:lnTo>
                    <a:pt x="264" y="936"/>
                  </a:lnTo>
                  <a:lnTo>
                    <a:pt x="252" y="936"/>
                  </a:lnTo>
                  <a:lnTo>
                    <a:pt x="246" y="936"/>
                  </a:lnTo>
                  <a:lnTo>
                    <a:pt x="240" y="936"/>
                  </a:lnTo>
                  <a:lnTo>
                    <a:pt x="234" y="936"/>
                  </a:lnTo>
                  <a:lnTo>
                    <a:pt x="240" y="924"/>
                  </a:lnTo>
                  <a:lnTo>
                    <a:pt x="234" y="924"/>
                  </a:lnTo>
                  <a:lnTo>
                    <a:pt x="228" y="918"/>
                  </a:lnTo>
                  <a:lnTo>
                    <a:pt x="228" y="906"/>
                  </a:lnTo>
                  <a:lnTo>
                    <a:pt x="222" y="900"/>
                  </a:lnTo>
                  <a:lnTo>
                    <a:pt x="216" y="900"/>
                  </a:lnTo>
                  <a:lnTo>
                    <a:pt x="210" y="900"/>
                  </a:lnTo>
                  <a:lnTo>
                    <a:pt x="210" y="906"/>
                  </a:lnTo>
                  <a:lnTo>
                    <a:pt x="204" y="906"/>
                  </a:lnTo>
                  <a:lnTo>
                    <a:pt x="198" y="906"/>
                  </a:lnTo>
                  <a:lnTo>
                    <a:pt x="210" y="900"/>
                  </a:lnTo>
                  <a:lnTo>
                    <a:pt x="210" y="894"/>
                  </a:lnTo>
                  <a:lnTo>
                    <a:pt x="216" y="888"/>
                  </a:lnTo>
                  <a:lnTo>
                    <a:pt x="204" y="882"/>
                  </a:lnTo>
                  <a:lnTo>
                    <a:pt x="204" y="894"/>
                  </a:lnTo>
                  <a:lnTo>
                    <a:pt x="198" y="894"/>
                  </a:lnTo>
                  <a:lnTo>
                    <a:pt x="192" y="900"/>
                  </a:lnTo>
                  <a:lnTo>
                    <a:pt x="186" y="894"/>
                  </a:lnTo>
                  <a:lnTo>
                    <a:pt x="180" y="894"/>
                  </a:lnTo>
                  <a:lnTo>
                    <a:pt x="174" y="894"/>
                  </a:lnTo>
                  <a:lnTo>
                    <a:pt x="168" y="900"/>
                  </a:lnTo>
                  <a:lnTo>
                    <a:pt x="162" y="906"/>
                  </a:lnTo>
                  <a:lnTo>
                    <a:pt x="156" y="906"/>
                  </a:lnTo>
                  <a:lnTo>
                    <a:pt x="150" y="900"/>
                  </a:lnTo>
                  <a:lnTo>
                    <a:pt x="144" y="894"/>
                  </a:lnTo>
                  <a:lnTo>
                    <a:pt x="138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0" y="888"/>
                  </a:lnTo>
                  <a:lnTo>
                    <a:pt x="114" y="894"/>
                  </a:lnTo>
                  <a:lnTo>
                    <a:pt x="120" y="900"/>
                  </a:lnTo>
                  <a:lnTo>
                    <a:pt x="126" y="900"/>
                  </a:lnTo>
                  <a:lnTo>
                    <a:pt x="132" y="900"/>
                  </a:lnTo>
                  <a:lnTo>
                    <a:pt x="132" y="906"/>
                  </a:lnTo>
                  <a:lnTo>
                    <a:pt x="126" y="912"/>
                  </a:lnTo>
                  <a:lnTo>
                    <a:pt x="126" y="918"/>
                  </a:lnTo>
                  <a:lnTo>
                    <a:pt x="114" y="918"/>
                  </a:lnTo>
                  <a:lnTo>
                    <a:pt x="108" y="924"/>
                  </a:lnTo>
                  <a:lnTo>
                    <a:pt x="102" y="924"/>
                  </a:lnTo>
                  <a:lnTo>
                    <a:pt x="90" y="924"/>
                  </a:lnTo>
                  <a:lnTo>
                    <a:pt x="84" y="924"/>
                  </a:lnTo>
                  <a:lnTo>
                    <a:pt x="78" y="924"/>
                  </a:lnTo>
                  <a:lnTo>
                    <a:pt x="60" y="924"/>
                  </a:lnTo>
                  <a:lnTo>
                    <a:pt x="54" y="942"/>
                  </a:lnTo>
                  <a:lnTo>
                    <a:pt x="48" y="936"/>
                  </a:lnTo>
                  <a:lnTo>
                    <a:pt x="42" y="930"/>
                  </a:lnTo>
                  <a:lnTo>
                    <a:pt x="36" y="930"/>
                  </a:lnTo>
                  <a:lnTo>
                    <a:pt x="30" y="936"/>
                  </a:lnTo>
                  <a:lnTo>
                    <a:pt x="30" y="930"/>
                  </a:lnTo>
                  <a:lnTo>
                    <a:pt x="30" y="924"/>
                  </a:lnTo>
                  <a:lnTo>
                    <a:pt x="18" y="918"/>
                  </a:lnTo>
                  <a:lnTo>
                    <a:pt x="18" y="912"/>
                  </a:lnTo>
                  <a:lnTo>
                    <a:pt x="12" y="912"/>
                  </a:lnTo>
                  <a:lnTo>
                    <a:pt x="6" y="912"/>
                  </a:lnTo>
                  <a:lnTo>
                    <a:pt x="6" y="900"/>
                  </a:lnTo>
                  <a:lnTo>
                    <a:pt x="6" y="894"/>
                  </a:lnTo>
                  <a:lnTo>
                    <a:pt x="0" y="870"/>
                  </a:lnTo>
                  <a:lnTo>
                    <a:pt x="6" y="846"/>
                  </a:lnTo>
                  <a:lnTo>
                    <a:pt x="6" y="810"/>
                  </a:lnTo>
                  <a:lnTo>
                    <a:pt x="12" y="774"/>
                  </a:lnTo>
                  <a:lnTo>
                    <a:pt x="12" y="756"/>
                  </a:lnTo>
                  <a:lnTo>
                    <a:pt x="18" y="744"/>
                  </a:lnTo>
                  <a:lnTo>
                    <a:pt x="18" y="732"/>
                  </a:lnTo>
                  <a:lnTo>
                    <a:pt x="12" y="576"/>
                  </a:lnTo>
                  <a:lnTo>
                    <a:pt x="12" y="570"/>
                  </a:lnTo>
                  <a:lnTo>
                    <a:pt x="18" y="564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42" y="552"/>
                  </a:lnTo>
                  <a:lnTo>
                    <a:pt x="66" y="552"/>
                  </a:lnTo>
                  <a:lnTo>
                    <a:pt x="78" y="558"/>
                  </a:lnTo>
                  <a:lnTo>
                    <a:pt x="90" y="558"/>
                  </a:lnTo>
                  <a:lnTo>
                    <a:pt x="108" y="558"/>
                  </a:lnTo>
                  <a:lnTo>
                    <a:pt x="144" y="558"/>
                  </a:lnTo>
                  <a:lnTo>
                    <a:pt x="204" y="552"/>
                  </a:lnTo>
                  <a:lnTo>
                    <a:pt x="210" y="558"/>
                  </a:lnTo>
                  <a:lnTo>
                    <a:pt x="216" y="558"/>
                  </a:lnTo>
                  <a:lnTo>
                    <a:pt x="210" y="564"/>
                  </a:lnTo>
                  <a:lnTo>
                    <a:pt x="216" y="564"/>
                  </a:lnTo>
                  <a:lnTo>
                    <a:pt x="222" y="564"/>
                  </a:lnTo>
                  <a:lnTo>
                    <a:pt x="240" y="564"/>
                  </a:lnTo>
                  <a:lnTo>
                    <a:pt x="258" y="564"/>
                  </a:lnTo>
                  <a:lnTo>
                    <a:pt x="264" y="570"/>
                  </a:lnTo>
                  <a:lnTo>
                    <a:pt x="276" y="570"/>
                  </a:lnTo>
                  <a:lnTo>
                    <a:pt x="282" y="564"/>
                  </a:lnTo>
                  <a:lnTo>
                    <a:pt x="294" y="564"/>
                  </a:lnTo>
                  <a:lnTo>
                    <a:pt x="294" y="570"/>
                  </a:lnTo>
                  <a:lnTo>
                    <a:pt x="300" y="570"/>
                  </a:lnTo>
                  <a:lnTo>
                    <a:pt x="378" y="564"/>
                  </a:lnTo>
                  <a:lnTo>
                    <a:pt x="408" y="558"/>
                  </a:lnTo>
                  <a:lnTo>
                    <a:pt x="432" y="552"/>
                  </a:lnTo>
                  <a:lnTo>
                    <a:pt x="450" y="546"/>
                  </a:lnTo>
                  <a:lnTo>
                    <a:pt x="468" y="546"/>
                  </a:lnTo>
                  <a:lnTo>
                    <a:pt x="468" y="552"/>
                  </a:lnTo>
                  <a:lnTo>
                    <a:pt x="504" y="552"/>
                  </a:lnTo>
                  <a:lnTo>
                    <a:pt x="510" y="534"/>
                  </a:lnTo>
                  <a:lnTo>
                    <a:pt x="516" y="510"/>
                  </a:lnTo>
                  <a:lnTo>
                    <a:pt x="522" y="510"/>
                  </a:lnTo>
                  <a:lnTo>
                    <a:pt x="528" y="420"/>
                  </a:lnTo>
                  <a:lnTo>
                    <a:pt x="522" y="414"/>
                  </a:lnTo>
                  <a:lnTo>
                    <a:pt x="516" y="396"/>
                  </a:lnTo>
                  <a:lnTo>
                    <a:pt x="510" y="372"/>
                  </a:lnTo>
                  <a:lnTo>
                    <a:pt x="498" y="348"/>
                  </a:lnTo>
                  <a:lnTo>
                    <a:pt x="474" y="282"/>
                  </a:lnTo>
                  <a:lnTo>
                    <a:pt x="474" y="270"/>
                  </a:lnTo>
                  <a:lnTo>
                    <a:pt x="480" y="258"/>
                  </a:lnTo>
                  <a:lnTo>
                    <a:pt x="486" y="258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92" y="246"/>
                  </a:lnTo>
                  <a:lnTo>
                    <a:pt x="504" y="234"/>
                  </a:lnTo>
                  <a:lnTo>
                    <a:pt x="510" y="228"/>
                  </a:lnTo>
                  <a:lnTo>
                    <a:pt x="516" y="228"/>
                  </a:lnTo>
                  <a:lnTo>
                    <a:pt x="516" y="222"/>
                  </a:lnTo>
                  <a:lnTo>
                    <a:pt x="516" y="216"/>
                  </a:lnTo>
                  <a:lnTo>
                    <a:pt x="522" y="216"/>
                  </a:lnTo>
                  <a:lnTo>
                    <a:pt x="528" y="210"/>
                  </a:lnTo>
                  <a:lnTo>
                    <a:pt x="534" y="210"/>
                  </a:lnTo>
                  <a:lnTo>
                    <a:pt x="540" y="210"/>
                  </a:lnTo>
                  <a:lnTo>
                    <a:pt x="546" y="210"/>
                  </a:lnTo>
                  <a:lnTo>
                    <a:pt x="552" y="210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16"/>
                  </a:lnTo>
                  <a:lnTo>
                    <a:pt x="588" y="228"/>
                  </a:lnTo>
                  <a:lnTo>
                    <a:pt x="594" y="234"/>
                  </a:lnTo>
                  <a:lnTo>
                    <a:pt x="600" y="240"/>
                  </a:lnTo>
                  <a:lnTo>
                    <a:pt x="618" y="246"/>
                  </a:lnTo>
                  <a:lnTo>
                    <a:pt x="624" y="246"/>
                  </a:lnTo>
                  <a:lnTo>
                    <a:pt x="636" y="252"/>
                  </a:lnTo>
                  <a:lnTo>
                    <a:pt x="654" y="252"/>
                  </a:lnTo>
                  <a:lnTo>
                    <a:pt x="654" y="258"/>
                  </a:lnTo>
                  <a:lnTo>
                    <a:pt x="666" y="264"/>
                  </a:lnTo>
                  <a:lnTo>
                    <a:pt x="672" y="264"/>
                  </a:lnTo>
                  <a:lnTo>
                    <a:pt x="678" y="264"/>
                  </a:lnTo>
                  <a:lnTo>
                    <a:pt x="696" y="258"/>
                  </a:lnTo>
                  <a:lnTo>
                    <a:pt x="696" y="252"/>
                  </a:lnTo>
                  <a:lnTo>
                    <a:pt x="696" y="246"/>
                  </a:lnTo>
                  <a:lnTo>
                    <a:pt x="690" y="234"/>
                  </a:lnTo>
                  <a:lnTo>
                    <a:pt x="684" y="210"/>
                  </a:lnTo>
                  <a:lnTo>
                    <a:pt x="678" y="192"/>
                  </a:lnTo>
                  <a:lnTo>
                    <a:pt x="672" y="174"/>
                  </a:lnTo>
                  <a:lnTo>
                    <a:pt x="672" y="168"/>
                  </a:lnTo>
                  <a:lnTo>
                    <a:pt x="672" y="162"/>
                  </a:lnTo>
                  <a:lnTo>
                    <a:pt x="672" y="156"/>
                  </a:lnTo>
                  <a:lnTo>
                    <a:pt x="684" y="132"/>
                  </a:lnTo>
                  <a:lnTo>
                    <a:pt x="684" y="120"/>
                  </a:lnTo>
                  <a:lnTo>
                    <a:pt x="684" y="108"/>
                  </a:lnTo>
                  <a:lnTo>
                    <a:pt x="678" y="102"/>
                  </a:lnTo>
                  <a:lnTo>
                    <a:pt x="678" y="96"/>
                  </a:lnTo>
                  <a:lnTo>
                    <a:pt x="684" y="96"/>
                  </a:lnTo>
                  <a:lnTo>
                    <a:pt x="696" y="90"/>
                  </a:lnTo>
                  <a:lnTo>
                    <a:pt x="702" y="84"/>
                  </a:lnTo>
                  <a:lnTo>
                    <a:pt x="720" y="72"/>
                  </a:lnTo>
                  <a:lnTo>
                    <a:pt x="738" y="66"/>
                  </a:lnTo>
                  <a:lnTo>
                    <a:pt x="756" y="60"/>
                  </a:lnTo>
                  <a:lnTo>
                    <a:pt x="768" y="60"/>
                  </a:lnTo>
                  <a:lnTo>
                    <a:pt x="798" y="72"/>
                  </a:lnTo>
                  <a:lnTo>
                    <a:pt x="804" y="78"/>
                  </a:lnTo>
                  <a:lnTo>
                    <a:pt x="816" y="84"/>
                  </a:lnTo>
                  <a:lnTo>
                    <a:pt x="822" y="84"/>
                  </a:lnTo>
                  <a:lnTo>
                    <a:pt x="828" y="72"/>
                  </a:lnTo>
                  <a:lnTo>
                    <a:pt x="828" y="60"/>
                  </a:lnTo>
                  <a:lnTo>
                    <a:pt x="828" y="36"/>
                  </a:lnTo>
                  <a:lnTo>
                    <a:pt x="828" y="24"/>
                  </a:lnTo>
                  <a:lnTo>
                    <a:pt x="828" y="12"/>
                  </a:lnTo>
                  <a:lnTo>
                    <a:pt x="834" y="12"/>
                  </a:lnTo>
                  <a:lnTo>
                    <a:pt x="852" y="6"/>
                  </a:lnTo>
                  <a:lnTo>
                    <a:pt x="876" y="6"/>
                  </a:lnTo>
                  <a:lnTo>
                    <a:pt x="894" y="6"/>
                  </a:lnTo>
                  <a:lnTo>
                    <a:pt x="906" y="12"/>
                  </a:lnTo>
                  <a:lnTo>
                    <a:pt x="912" y="24"/>
                  </a:lnTo>
                  <a:lnTo>
                    <a:pt x="924" y="24"/>
                  </a:lnTo>
                  <a:lnTo>
                    <a:pt x="930" y="30"/>
                  </a:lnTo>
                  <a:lnTo>
                    <a:pt x="936" y="30"/>
                  </a:lnTo>
                  <a:lnTo>
                    <a:pt x="936" y="36"/>
                  </a:lnTo>
                  <a:lnTo>
                    <a:pt x="942" y="36"/>
                  </a:lnTo>
                  <a:lnTo>
                    <a:pt x="948" y="42"/>
                  </a:lnTo>
                  <a:lnTo>
                    <a:pt x="960" y="48"/>
                  </a:lnTo>
                  <a:lnTo>
                    <a:pt x="966" y="48"/>
                  </a:lnTo>
                  <a:lnTo>
                    <a:pt x="1026" y="60"/>
                  </a:lnTo>
                  <a:lnTo>
                    <a:pt x="1050" y="60"/>
                  </a:lnTo>
                  <a:lnTo>
                    <a:pt x="1050" y="54"/>
                  </a:lnTo>
                  <a:lnTo>
                    <a:pt x="1062" y="54"/>
                  </a:lnTo>
                  <a:lnTo>
                    <a:pt x="1074" y="48"/>
                  </a:lnTo>
                  <a:lnTo>
                    <a:pt x="1086" y="42"/>
                  </a:lnTo>
                  <a:lnTo>
                    <a:pt x="1104" y="36"/>
                  </a:lnTo>
                  <a:lnTo>
                    <a:pt x="1116" y="30"/>
                  </a:lnTo>
                  <a:lnTo>
                    <a:pt x="1122" y="24"/>
                  </a:lnTo>
                  <a:lnTo>
                    <a:pt x="1128" y="18"/>
                  </a:lnTo>
                  <a:lnTo>
                    <a:pt x="1134" y="18"/>
                  </a:lnTo>
                  <a:lnTo>
                    <a:pt x="1140" y="12"/>
                  </a:lnTo>
                  <a:lnTo>
                    <a:pt x="1146" y="6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24"/>
                  </a:lnTo>
                  <a:lnTo>
                    <a:pt x="1176" y="36"/>
                  </a:lnTo>
                  <a:lnTo>
                    <a:pt x="1188" y="42"/>
                  </a:lnTo>
                  <a:lnTo>
                    <a:pt x="1200" y="54"/>
                  </a:lnTo>
                  <a:lnTo>
                    <a:pt x="1224" y="84"/>
                  </a:lnTo>
                  <a:lnTo>
                    <a:pt x="1224" y="90"/>
                  </a:lnTo>
                  <a:lnTo>
                    <a:pt x="1236" y="96"/>
                  </a:lnTo>
                  <a:lnTo>
                    <a:pt x="1236" y="108"/>
                  </a:lnTo>
                  <a:lnTo>
                    <a:pt x="1248" y="114"/>
                  </a:lnTo>
                  <a:lnTo>
                    <a:pt x="1254" y="114"/>
                  </a:lnTo>
                  <a:lnTo>
                    <a:pt x="1260" y="114"/>
                  </a:lnTo>
                  <a:lnTo>
                    <a:pt x="1296" y="114"/>
                  </a:lnTo>
                  <a:lnTo>
                    <a:pt x="1302" y="114"/>
                  </a:lnTo>
                  <a:lnTo>
                    <a:pt x="1320" y="108"/>
                  </a:lnTo>
                  <a:lnTo>
                    <a:pt x="1326" y="108"/>
                  </a:lnTo>
                  <a:lnTo>
                    <a:pt x="1326" y="138"/>
                  </a:lnTo>
                  <a:lnTo>
                    <a:pt x="1326" y="210"/>
                  </a:lnTo>
                  <a:lnTo>
                    <a:pt x="1320" y="252"/>
                  </a:lnTo>
                  <a:lnTo>
                    <a:pt x="1320" y="270"/>
                  </a:lnTo>
                  <a:lnTo>
                    <a:pt x="1320" y="288"/>
                  </a:lnTo>
                  <a:lnTo>
                    <a:pt x="1320" y="318"/>
                  </a:lnTo>
                  <a:lnTo>
                    <a:pt x="1326" y="354"/>
                  </a:lnTo>
                  <a:lnTo>
                    <a:pt x="1326" y="372"/>
                  </a:lnTo>
                  <a:lnTo>
                    <a:pt x="1332" y="420"/>
                  </a:lnTo>
                  <a:lnTo>
                    <a:pt x="1332" y="450"/>
                  </a:lnTo>
                  <a:lnTo>
                    <a:pt x="1338" y="480"/>
                  </a:lnTo>
                  <a:lnTo>
                    <a:pt x="1344" y="486"/>
                  </a:lnTo>
                  <a:lnTo>
                    <a:pt x="1338" y="492"/>
                  </a:lnTo>
                  <a:lnTo>
                    <a:pt x="1344" y="492"/>
                  </a:lnTo>
                  <a:lnTo>
                    <a:pt x="1344" y="498"/>
                  </a:lnTo>
                  <a:lnTo>
                    <a:pt x="1350" y="498"/>
                  </a:lnTo>
                  <a:lnTo>
                    <a:pt x="1350" y="522"/>
                  </a:lnTo>
                  <a:lnTo>
                    <a:pt x="1362" y="564"/>
                  </a:lnTo>
                  <a:lnTo>
                    <a:pt x="1368" y="582"/>
                  </a:lnTo>
                  <a:lnTo>
                    <a:pt x="1380" y="600"/>
                  </a:lnTo>
                  <a:lnTo>
                    <a:pt x="1386" y="636"/>
                  </a:lnTo>
                  <a:lnTo>
                    <a:pt x="1380" y="660"/>
                  </a:lnTo>
                  <a:lnTo>
                    <a:pt x="1380" y="678"/>
                  </a:lnTo>
                  <a:lnTo>
                    <a:pt x="1380" y="684"/>
                  </a:lnTo>
                  <a:lnTo>
                    <a:pt x="1374" y="684"/>
                  </a:lnTo>
                  <a:lnTo>
                    <a:pt x="1368" y="690"/>
                  </a:lnTo>
                  <a:lnTo>
                    <a:pt x="1356" y="702"/>
                  </a:lnTo>
                  <a:lnTo>
                    <a:pt x="1350" y="708"/>
                  </a:lnTo>
                  <a:lnTo>
                    <a:pt x="1356" y="714"/>
                  </a:lnTo>
                  <a:lnTo>
                    <a:pt x="1368" y="726"/>
                  </a:lnTo>
                  <a:lnTo>
                    <a:pt x="1380" y="738"/>
                  </a:lnTo>
                  <a:lnTo>
                    <a:pt x="1386" y="744"/>
                  </a:lnTo>
                  <a:lnTo>
                    <a:pt x="1392" y="744"/>
                  </a:lnTo>
                  <a:lnTo>
                    <a:pt x="1410" y="750"/>
                  </a:lnTo>
                  <a:lnTo>
                    <a:pt x="1416" y="756"/>
                  </a:lnTo>
                  <a:lnTo>
                    <a:pt x="1422" y="756"/>
                  </a:lnTo>
                  <a:lnTo>
                    <a:pt x="1422" y="762"/>
                  </a:lnTo>
                  <a:lnTo>
                    <a:pt x="1428" y="774"/>
                  </a:lnTo>
                  <a:lnTo>
                    <a:pt x="1428" y="780"/>
                  </a:lnTo>
                  <a:lnTo>
                    <a:pt x="1434" y="780"/>
                  </a:lnTo>
                  <a:lnTo>
                    <a:pt x="1440" y="798"/>
                  </a:lnTo>
                  <a:lnTo>
                    <a:pt x="1422" y="816"/>
                  </a:lnTo>
                  <a:lnTo>
                    <a:pt x="1386" y="810"/>
                  </a:lnTo>
                  <a:lnTo>
                    <a:pt x="1380" y="816"/>
                  </a:lnTo>
                  <a:lnTo>
                    <a:pt x="1374" y="840"/>
                  </a:lnTo>
                  <a:lnTo>
                    <a:pt x="1350" y="852"/>
                  </a:lnTo>
                  <a:lnTo>
                    <a:pt x="1350" y="858"/>
                  </a:lnTo>
                  <a:lnTo>
                    <a:pt x="1350" y="864"/>
                  </a:lnTo>
                  <a:lnTo>
                    <a:pt x="1344" y="864"/>
                  </a:lnTo>
                  <a:lnTo>
                    <a:pt x="1338" y="870"/>
                  </a:lnTo>
                  <a:lnTo>
                    <a:pt x="1332" y="876"/>
                  </a:lnTo>
                  <a:lnTo>
                    <a:pt x="1314" y="876"/>
                  </a:lnTo>
                  <a:lnTo>
                    <a:pt x="1314" y="870"/>
                  </a:lnTo>
                  <a:lnTo>
                    <a:pt x="1308" y="870"/>
                  </a:lnTo>
                  <a:lnTo>
                    <a:pt x="1302" y="864"/>
                  </a:lnTo>
                  <a:lnTo>
                    <a:pt x="1296" y="864"/>
                  </a:lnTo>
                  <a:lnTo>
                    <a:pt x="1284" y="870"/>
                  </a:lnTo>
                  <a:lnTo>
                    <a:pt x="1266" y="870"/>
                  </a:lnTo>
                  <a:lnTo>
                    <a:pt x="1260" y="870"/>
                  </a:lnTo>
                  <a:lnTo>
                    <a:pt x="1248" y="876"/>
                  </a:lnTo>
                  <a:lnTo>
                    <a:pt x="1236" y="876"/>
                  </a:lnTo>
                  <a:lnTo>
                    <a:pt x="1230" y="882"/>
                  </a:lnTo>
                  <a:lnTo>
                    <a:pt x="1224" y="894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18" y="942"/>
                  </a:lnTo>
                  <a:lnTo>
                    <a:pt x="1212" y="948"/>
                  </a:lnTo>
                  <a:lnTo>
                    <a:pt x="1200" y="984"/>
                  </a:lnTo>
                  <a:lnTo>
                    <a:pt x="1194" y="1008"/>
                  </a:lnTo>
                  <a:lnTo>
                    <a:pt x="1218" y="1038"/>
                  </a:lnTo>
                  <a:lnTo>
                    <a:pt x="1224" y="1044"/>
                  </a:lnTo>
                  <a:lnTo>
                    <a:pt x="1224" y="1062"/>
                  </a:lnTo>
                  <a:lnTo>
                    <a:pt x="1236" y="1080"/>
                  </a:lnTo>
                  <a:lnTo>
                    <a:pt x="1236" y="1086"/>
                  </a:lnTo>
                  <a:lnTo>
                    <a:pt x="1230" y="1092"/>
                  </a:lnTo>
                  <a:lnTo>
                    <a:pt x="1224" y="1110"/>
                  </a:lnTo>
                  <a:lnTo>
                    <a:pt x="1218" y="1122"/>
                  </a:lnTo>
                  <a:lnTo>
                    <a:pt x="1224" y="1140"/>
                  </a:lnTo>
                  <a:lnTo>
                    <a:pt x="1218" y="1146"/>
                  </a:lnTo>
                  <a:lnTo>
                    <a:pt x="1218" y="1152"/>
                  </a:lnTo>
                  <a:lnTo>
                    <a:pt x="1212" y="1164"/>
                  </a:lnTo>
                  <a:close/>
                </a:path>
              </a:pathLst>
            </a:custGeom>
            <a:solidFill>
              <a:srgbClr val="2A4F1D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1" name="Freeform 36">
              <a:extLst>
                <a:ext uri="{FF2B5EF4-FFF2-40B4-BE49-F238E27FC236}">
                  <a16:creationId xmlns:a16="http://schemas.microsoft.com/office/drawing/2014/main" id="{B9C0D6BE-CB1C-4E69-B224-1ABF097AA8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90208" y="1647855"/>
              <a:ext cx="742415" cy="758173"/>
            </a:xfrm>
            <a:custGeom>
              <a:avLst/>
              <a:gdLst>
                <a:gd name="T0" fmla="*/ 75 w 1398"/>
                <a:gd name="T1" fmla="*/ 48 h 1428"/>
                <a:gd name="T2" fmla="*/ 68 w 1398"/>
                <a:gd name="T3" fmla="*/ 54 h 1428"/>
                <a:gd name="T4" fmla="*/ 57 w 1398"/>
                <a:gd name="T5" fmla="*/ 59 h 1428"/>
                <a:gd name="T6" fmla="*/ 55 w 1398"/>
                <a:gd name="T7" fmla="*/ 68 h 1428"/>
                <a:gd name="T8" fmla="*/ 55 w 1398"/>
                <a:gd name="T9" fmla="*/ 77 h 1428"/>
                <a:gd name="T10" fmla="*/ 57 w 1398"/>
                <a:gd name="T11" fmla="*/ 81 h 1428"/>
                <a:gd name="T12" fmla="*/ 56 w 1398"/>
                <a:gd name="T13" fmla="*/ 86 h 1428"/>
                <a:gd name="T14" fmla="*/ 57 w 1398"/>
                <a:gd name="T15" fmla="*/ 89 h 1428"/>
                <a:gd name="T16" fmla="*/ 58 w 1398"/>
                <a:gd name="T17" fmla="*/ 92 h 1428"/>
                <a:gd name="T18" fmla="*/ 58 w 1398"/>
                <a:gd name="T19" fmla="*/ 96 h 1428"/>
                <a:gd name="T20" fmla="*/ 49 w 1398"/>
                <a:gd name="T21" fmla="*/ 100 h 1428"/>
                <a:gd name="T22" fmla="*/ 47 w 1398"/>
                <a:gd name="T23" fmla="*/ 108 h 1428"/>
                <a:gd name="T24" fmla="*/ 48 w 1398"/>
                <a:gd name="T25" fmla="*/ 113 h 1428"/>
                <a:gd name="T26" fmla="*/ 43 w 1398"/>
                <a:gd name="T27" fmla="*/ 114 h 1428"/>
                <a:gd name="T28" fmla="*/ 39 w 1398"/>
                <a:gd name="T29" fmla="*/ 113 h 1428"/>
                <a:gd name="T30" fmla="*/ 33 w 1398"/>
                <a:gd name="T31" fmla="*/ 109 h 1428"/>
                <a:gd name="T32" fmla="*/ 29 w 1398"/>
                <a:gd name="T33" fmla="*/ 114 h 1428"/>
                <a:gd name="T34" fmla="*/ 22 w 1398"/>
                <a:gd name="T35" fmla="*/ 115 h 1428"/>
                <a:gd name="T36" fmla="*/ 21 w 1398"/>
                <a:gd name="T37" fmla="*/ 121 h 1428"/>
                <a:gd name="T38" fmla="*/ 12 w 1398"/>
                <a:gd name="T39" fmla="*/ 119 h 1428"/>
                <a:gd name="T40" fmla="*/ 9 w 1398"/>
                <a:gd name="T41" fmla="*/ 113 h 1428"/>
                <a:gd name="T42" fmla="*/ 2 w 1398"/>
                <a:gd name="T43" fmla="*/ 109 h 1428"/>
                <a:gd name="T44" fmla="*/ 4 w 1398"/>
                <a:gd name="T45" fmla="*/ 103 h 1428"/>
                <a:gd name="T46" fmla="*/ 2 w 1398"/>
                <a:gd name="T47" fmla="*/ 91 h 1428"/>
                <a:gd name="T48" fmla="*/ 6 w 1398"/>
                <a:gd name="T49" fmla="*/ 85 h 1428"/>
                <a:gd name="T50" fmla="*/ 10 w 1398"/>
                <a:gd name="T51" fmla="*/ 85 h 1428"/>
                <a:gd name="T52" fmla="*/ 15 w 1398"/>
                <a:gd name="T53" fmla="*/ 82 h 1428"/>
                <a:gd name="T54" fmla="*/ 20 w 1398"/>
                <a:gd name="T55" fmla="*/ 77 h 1428"/>
                <a:gd name="T56" fmla="*/ 16 w 1398"/>
                <a:gd name="T57" fmla="*/ 73 h 1428"/>
                <a:gd name="T58" fmla="*/ 16 w 1398"/>
                <a:gd name="T59" fmla="*/ 69 h 1428"/>
                <a:gd name="T60" fmla="*/ 14 w 1398"/>
                <a:gd name="T61" fmla="*/ 54 h 1428"/>
                <a:gd name="T62" fmla="*/ 12 w 1398"/>
                <a:gd name="T63" fmla="*/ 48 h 1428"/>
                <a:gd name="T64" fmla="*/ 11 w 1398"/>
                <a:gd name="T65" fmla="*/ 31 h 1428"/>
                <a:gd name="T66" fmla="*/ 14 w 1398"/>
                <a:gd name="T67" fmla="*/ 18 h 1428"/>
                <a:gd name="T68" fmla="*/ 19 w 1398"/>
                <a:gd name="T69" fmla="*/ 15 h 1428"/>
                <a:gd name="T70" fmla="*/ 26 w 1398"/>
                <a:gd name="T71" fmla="*/ 13 h 1428"/>
                <a:gd name="T72" fmla="*/ 34 w 1398"/>
                <a:gd name="T73" fmla="*/ 12 h 1428"/>
                <a:gd name="T74" fmla="*/ 39 w 1398"/>
                <a:gd name="T75" fmla="*/ 9 h 1428"/>
                <a:gd name="T76" fmla="*/ 43 w 1398"/>
                <a:gd name="T77" fmla="*/ 7 h 1428"/>
                <a:gd name="T78" fmla="*/ 48 w 1398"/>
                <a:gd name="T79" fmla="*/ 3 h 1428"/>
                <a:gd name="T80" fmla="*/ 54 w 1398"/>
                <a:gd name="T81" fmla="*/ 0 h 1428"/>
                <a:gd name="T82" fmla="*/ 58 w 1398"/>
                <a:gd name="T83" fmla="*/ 0 h 1428"/>
                <a:gd name="T84" fmla="*/ 66 w 1398"/>
                <a:gd name="T85" fmla="*/ 2 h 1428"/>
                <a:gd name="T86" fmla="*/ 70 w 1398"/>
                <a:gd name="T87" fmla="*/ 3 h 1428"/>
                <a:gd name="T88" fmla="*/ 75 w 1398"/>
                <a:gd name="T89" fmla="*/ 6 h 1428"/>
                <a:gd name="T90" fmla="*/ 80 w 1398"/>
                <a:gd name="T91" fmla="*/ 9 h 1428"/>
                <a:gd name="T92" fmla="*/ 83 w 1398"/>
                <a:gd name="T93" fmla="*/ 12 h 1428"/>
                <a:gd name="T94" fmla="*/ 87 w 1398"/>
                <a:gd name="T95" fmla="*/ 15 h 1428"/>
                <a:gd name="T96" fmla="*/ 94 w 1398"/>
                <a:gd name="T97" fmla="*/ 15 h 1428"/>
                <a:gd name="T98" fmla="*/ 99 w 1398"/>
                <a:gd name="T99" fmla="*/ 21 h 1428"/>
                <a:gd name="T100" fmla="*/ 103 w 1398"/>
                <a:gd name="T101" fmla="*/ 23 h 1428"/>
                <a:gd name="T102" fmla="*/ 110 w 1398"/>
                <a:gd name="T103" fmla="*/ 26 h 1428"/>
                <a:gd name="T104" fmla="*/ 116 w 1398"/>
                <a:gd name="T105" fmla="*/ 27 h 1428"/>
                <a:gd name="T106" fmla="*/ 120 w 1398"/>
                <a:gd name="T107" fmla="*/ 27 h 1428"/>
                <a:gd name="T108" fmla="*/ 116 w 1398"/>
                <a:gd name="T109" fmla="*/ 35 h 1428"/>
                <a:gd name="T110" fmla="*/ 104 w 1398"/>
                <a:gd name="T111" fmla="*/ 37 h 1428"/>
                <a:gd name="T112" fmla="*/ 97 w 1398"/>
                <a:gd name="T113" fmla="*/ 34 h 1428"/>
                <a:gd name="T114" fmla="*/ 91 w 1398"/>
                <a:gd name="T115" fmla="*/ 29 h 1428"/>
                <a:gd name="T116" fmla="*/ 75 w 1398"/>
                <a:gd name="T117" fmla="*/ 29 h 1428"/>
                <a:gd name="T118" fmla="*/ 72 w 1398"/>
                <a:gd name="T119" fmla="*/ 39 h 1428"/>
                <a:gd name="T120" fmla="*/ 80 w 1398"/>
                <a:gd name="T121" fmla="*/ 41 h 142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98"/>
                <a:gd name="T184" fmla="*/ 0 h 1428"/>
                <a:gd name="T185" fmla="*/ 1398 w 1398"/>
                <a:gd name="T186" fmla="*/ 1428 h 142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98" h="1428">
                  <a:moveTo>
                    <a:pt x="924" y="474"/>
                  </a:moveTo>
                  <a:lnTo>
                    <a:pt x="900" y="480"/>
                  </a:lnTo>
                  <a:lnTo>
                    <a:pt x="864" y="486"/>
                  </a:lnTo>
                  <a:lnTo>
                    <a:pt x="864" y="504"/>
                  </a:lnTo>
                  <a:lnTo>
                    <a:pt x="858" y="522"/>
                  </a:lnTo>
                  <a:lnTo>
                    <a:pt x="864" y="528"/>
                  </a:lnTo>
                  <a:lnTo>
                    <a:pt x="864" y="552"/>
                  </a:lnTo>
                  <a:lnTo>
                    <a:pt x="852" y="552"/>
                  </a:lnTo>
                  <a:lnTo>
                    <a:pt x="846" y="564"/>
                  </a:lnTo>
                  <a:lnTo>
                    <a:pt x="840" y="582"/>
                  </a:lnTo>
                  <a:lnTo>
                    <a:pt x="834" y="594"/>
                  </a:lnTo>
                  <a:lnTo>
                    <a:pt x="828" y="606"/>
                  </a:lnTo>
                  <a:lnTo>
                    <a:pt x="828" y="618"/>
                  </a:lnTo>
                  <a:lnTo>
                    <a:pt x="786" y="630"/>
                  </a:lnTo>
                  <a:lnTo>
                    <a:pt x="774" y="636"/>
                  </a:lnTo>
                  <a:lnTo>
                    <a:pt x="762" y="642"/>
                  </a:lnTo>
                  <a:lnTo>
                    <a:pt x="744" y="648"/>
                  </a:lnTo>
                  <a:lnTo>
                    <a:pt x="714" y="660"/>
                  </a:lnTo>
                  <a:lnTo>
                    <a:pt x="696" y="666"/>
                  </a:lnTo>
                  <a:lnTo>
                    <a:pt x="666" y="672"/>
                  </a:lnTo>
                  <a:lnTo>
                    <a:pt x="654" y="684"/>
                  </a:lnTo>
                  <a:lnTo>
                    <a:pt x="648" y="684"/>
                  </a:lnTo>
                  <a:lnTo>
                    <a:pt x="642" y="696"/>
                  </a:lnTo>
                  <a:lnTo>
                    <a:pt x="636" y="696"/>
                  </a:lnTo>
                  <a:lnTo>
                    <a:pt x="630" y="714"/>
                  </a:lnTo>
                  <a:lnTo>
                    <a:pt x="624" y="738"/>
                  </a:lnTo>
                  <a:lnTo>
                    <a:pt x="624" y="762"/>
                  </a:lnTo>
                  <a:lnTo>
                    <a:pt x="630" y="780"/>
                  </a:lnTo>
                  <a:lnTo>
                    <a:pt x="636" y="804"/>
                  </a:lnTo>
                  <a:lnTo>
                    <a:pt x="642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6" y="834"/>
                  </a:lnTo>
                  <a:lnTo>
                    <a:pt x="636" y="870"/>
                  </a:lnTo>
                  <a:lnTo>
                    <a:pt x="636" y="882"/>
                  </a:lnTo>
                  <a:lnTo>
                    <a:pt x="636" y="906"/>
                  </a:lnTo>
                  <a:lnTo>
                    <a:pt x="630" y="906"/>
                  </a:lnTo>
                  <a:lnTo>
                    <a:pt x="636" y="918"/>
                  </a:lnTo>
                  <a:lnTo>
                    <a:pt x="642" y="918"/>
                  </a:lnTo>
                  <a:lnTo>
                    <a:pt x="642" y="930"/>
                  </a:lnTo>
                  <a:lnTo>
                    <a:pt x="648" y="936"/>
                  </a:lnTo>
                  <a:lnTo>
                    <a:pt x="654" y="936"/>
                  </a:lnTo>
                  <a:lnTo>
                    <a:pt x="654" y="942"/>
                  </a:lnTo>
                  <a:lnTo>
                    <a:pt x="654" y="948"/>
                  </a:lnTo>
                  <a:lnTo>
                    <a:pt x="648" y="954"/>
                  </a:lnTo>
                  <a:lnTo>
                    <a:pt x="648" y="960"/>
                  </a:lnTo>
                  <a:lnTo>
                    <a:pt x="648" y="966"/>
                  </a:lnTo>
                  <a:lnTo>
                    <a:pt x="648" y="972"/>
                  </a:lnTo>
                  <a:lnTo>
                    <a:pt x="648" y="990"/>
                  </a:lnTo>
                  <a:lnTo>
                    <a:pt x="654" y="996"/>
                  </a:lnTo>
                  <a:lnTo>
                    <a:pt x="648" y="1002"/>
                  </a:lnTo>
                  <a:lnTo>
                    <a:pt x="648" y="1008"/>
                  </a:lnTo>
                  <a:lnTo>
                    <a:pt x="654" y="1014"/>
                  </a:lnTo>
                  <a:lnTo>
                    <a:pt x="654" y="1020"/>
                  </a:lnTo>
                  <a:lnTo>
                    <a:pt x="654" y="1026"/>
                  </a:lnTo>
                  <a:lnTo>
                    <a:pt x="660" y="1026"/>
                  </a:lnTo>
                  <a:lnTo>
                    <a:pt x="660" y="1032"/>
                  </a:lnTo>
                  <a:lnTo>
                    <a:pt x="660" y="1038"/>
                  </a:lnTo>
                  <a:lnTo>
                    <a:pt x="666" y="1044"/>
                  </a:lnTo>
                  <a:lnTo>
                    <a:pt x="672" y="1050"/>
                  </a:lnTo>
                  <a:lnTo>
                    <a:pt x="672" y="1056"/>
                  </a:lnTo>
                  <a:lnTo>
                    <a:pt x="672" y="1062"/>
                  </a:lnTo>
                  <a:lnTo>
                    <a:pt x="672" y="1068"/>
                  </a:lnTo>
                  <a:lnTo>
                    <a:pt x="672" y="1074"/>
                  </a:lnTo>
                  <a:lnTo>
                    <a:pt x="678" y="1074"/>
                  </a:lnTo>
                  <a:lnTo>
                    <a:pt x="678" y="1080"/>
                  </a:lnTo>
                  <a:lnTo>
                    <a:pt x="678" y="1086"/>
                  </a:lnTo>
                  <a:lnTo>
                    <a:pt x="672" y="1092"/>
                  </a:lnTo>
                  <a:lnTo>
                    <a:pt x="672" y="1098"/>
                  </a:lnTo>
                  <a:lnTo>
                    <a:pt x="672" y="1104"/>
                  </a:lnTo>
                  <a:lnTo>
                    <a:pt x="666" y="1116"/>
                  </a:lnTo>
                  <a:lnTo>
                    <a:pt x="624" y="1122"/>
                  </a:lnTo>
                  <a:lnTo>
                    <a:pt x="576" y="1134"/>
                  </a:lnTo>
                  <a:lnTo>
                    <a:pt x="570" y="1140"/>
                  </a:lnTo>
                  <a:lnTo>
                    <a:pt x="570" y="1146"/>
                  </a:lnTo>
                  <a:lnTo>
                    <a:pt x="564" y="1146"/>
                  </a:lnTo>
                  <a:lnTo>
                    <a:pt x="564" y="1152"/>
                  </a:lnTo>
                  <a:lnTo>
                    <a:pt x="564" y="1164"/>
                  </a:lnTo>
                  <a:lnTo>
                    <a:pt x="564" y="1170"/>
                  </a:lnTo>
                  <a:lnTo>
                    <a:pt x="564" y="1176"/>
                  </a:lnTo>
                  <a:lnTo>
                    <a:pt x="546" y="1176"/>
                  </a:lnTo>
                  <a:lnTo>
                    <a:pt x="540" y="1212"/>
                  </a:lnTo>
                  <a:lnTo>
                    <a:pt x="540" y="1230"/>
                  </a:lnTo>
                  <a:lnTo>
                    <a:pt x="546" y="1242"/>
                  </a:lnTo>
                  <a:lnTo>
                    <a:pt x="546" y="1254"/>
                  </a:lnTo>
                  <a:lnTo>
                    <a:pt x="558" y="1266"/>
                  </a:lnTo>
                  <a:lnTo>
                    <a:pt x="576" y="1272"/>
                  </a:lnTo>
                  <a:lnTo>
                    <a:pt x="570" y="1278"/>
                  </a:lnTo>
                  <a:lnTo>
                    <a:pt x="576" y="1284"/>
                  </a:lnTo>
                  <a:lnTo>
                    <a:pt x="570" y="1296"/>
                  </a:lnTo>
                  <a:lnTo>
                    <a:pt x="558" y="1302"/>
                  </a:lnTo>
                  <a:lnTo>
                    <a:pt x="540" y="1308"/>
                  </a:lnTo>
                  <a:lnTo>
                    <a:pt x="522" y="1314"/>
                  </a:lnTo>
                  <a:lnTo>
                    <a:pt x="516" y="1314"/>
                  </a:lnTo>
                  <a:lnTo>
                    <a:pt x="510" y="1314"/>
                  </a:lnTo>
                  <a:lnTo>
                    <a:pt x="504" y="1314"/>
                  </a:lnTo>
                  <a:lnTo>
                    <a:pt x="498" y="1320"/>
                  </a:lnTo>
                  <a:lnTo>
                    <a:pt x="492" y="1320"/>
                  </a:lnTo>
                  <a:lnTo>
                    <a:pt x="492" y="1326"/>
                  </a:lnTo>
                  <a:lnTo>
                    <a:pt x="486" y="1326"/>
                  </a:lnTo>
                  <a:lnTo>
                    <a:pt x="480" y="1326"/>
                  </a:lnTo>
                  <a:lnTo>
                    <a:pt x="480" y="1320"/>
                  </a:lnTo>
                  <a:lnTo>
                    <a:pt x="468" y="1314"/>
                  </a:lnTo>
                  <a:lnTo>
                    <a:pt x="462" y="1308"/>
                  </a:lnTo>
                  <a:lnTo>
                    <a:pt x="456" y="1302"/>
                  </a:lnTo>
                  <a:lnTo>
                    <a:pt x="444" y="1296"/>
                  </a:lnTo>
                  <a:lnTo>
                    <a:pt x="420" y="1290"/>
                  </a:lnTo>
                  <a:lnTo>
                    <a:pt x="414" y="1278"/>
                  </a:lnTo>
                  <a:lnTo>
                    <a:pt x="408" y="1278"/>
                  </a:lnTo>
                  <a:lnTo>
                    <a:pt x="408" y="1266"/>
                  </a:lnTo>
                  <a:lnTo>
                    <a:pt x="402" y="1260"/>
                  </a:lnTo>
                  <a:lnTo>
                    <a:pt x="384" y="1260"/>
                  </a:lnTo>
                  <a:lnTo>
                    <a:pt x="372" y="1266"/>
                  </a:lnTo>
                  <a:lnTo>
                    <a:pt x="360" y="1272"/>
                  </a:lnTo>
                  <a:lnTo>
                    <a:pt x="348" y="1272"/>
                  </a:lnTo>
                  <a:lnTo>
                    <a:pt x="342" y="1284"/>
                  </a:lnTo>
                  <a:lnTo>
                    <a:pt x="336" y="1290"/>
                  </a:lnTo>
                  <a:lnTo>
                    <a:pt x="336" y="1308"/>
                  </a:lnTo>
                  <a:lnTo>
                    <a:pt x="336" y="1314"/>
                  </a:lnTo>
                  <a:lnTo>
                    <a:pt x="336" y="1320"/>
                  </a:lnTo>
                  <a:lnTo>
                    <a:pt x="330" y="1326"/>
                  </a:lnTo>
                  <a:lnTo>
                    <a:pt x="330" y="1332"/>
                  </a:lnTo>
                  <a:lnTo>
                    <a:pt x="330" y="1338"/>
                  </a:lnTo>
                  <a:lnTo>
                    <a:pt x="300" y="1338"/>
                  </a:lnTo>
                  <a:lnTo>
                    <a:pt x="288" y="1338"/>
                  </a:lnTo>
                  <a:lnTo>
                    <a:pt x="258" y="1326"/>
                  </a:lnTo>
                  <a:lnTo>
                    <a:pt x="246" y="1332"/>
                  </a:lnTo>
                  <a:lnTo>
                    <a:pt x="240" y="1338"/>
                  </a:lnTo>
                  <a:lnTo>
                    <a:pt x="234" y="1338"/>
                  </a:lnTo>
                  <a:lnTo>
                    <a:pt x="228" y="1350"/>
                  </a:lnTo>
                  <a:lnTo>
                    <a:pt x="228" y="1374"/>
                  </a:lnTo>
                  <a:lnTo>
                    <a:pt x="234" y="1392"/>
                  </a:lnTo>
                  <a:lnTo>
                    <a:pt x="246" y="1398"/>
                  </a:lnTo>
                  <a:lnTo>
                    <a:pt x="246" y="1410"/>
                  </a:lnTo>
                  <a:lnTo>
                    <a:pt x="216" y="1428"/>
                  </a:lnTo>
                  <a:lnTo>
                    <a:pt x="198" y="1428"/>
                  </a:lnTo>
                  <a:lnTo>
                    <a:pt x="192" y="1422"/>
                  </a:lnTo>
                  <a:lnTo>
                    <a:pt x="174" y="1410"/>
                  </a:lnTo>
                  <a:lnTo>
                    <a:pt x="156" y="1386"/>
                  </a:lnTo>
                  <a:lnTo>
                    <a:pt x="132" y="1374"/>
                  </a:lnTo>
                  <a:lnTo>
                    <a:pt x="108" y="1368"/>
                  </a:lnTo>
                  <a:lnTo>
                    <a:pt x="84" y="1368"/>
                  </a:lnTo>
                  <a:lnTo>
                    <a:pt x="96" y="1356"/>
                  </a:lnTo>
                  <a:lnTo>
                    <a:pt x="102" y="1344"/>
                  </a:lnTo>
                  <a:lnTo>
                    <a:pt x="102" y="1332"/>
                  </a:lnTo>
                  <a:lnTo>
                    <a:pt x="108" y="1320"/>
                  </a:lnTo>
                  <a:lnTo>
                    <a:pt x="108" y="1302"/>
                  </a:lnTo>
                  <a:lnTo>
                    <a:pt x="96" y="1278"/>
                  </a:lnTo>
                  <a:lnTo>
                    <a:pt x="66" y="1284"/>
                  </a:lnTo>
                  <a:lnTo>
                    <a:pt x="54" y="1278"/>
                  </a:lnTo>
                  <a:lnTo>
                    <a:pt x="36" y="1278"/>
                  </a:lnTo>
                  <a:lnTo>
                    <a:pt x="18" y="1284"/>
                  </a:lnTo>
                  <a:lnTo>
                    <a:pt x="18" y="1272"/>
                  </a:lnTo>
                  <a:lnTo>
                    <a:pt x="24" y="1260"/>
                  </a:lnTo>
                  <a:lnTo>
                    <a:pt x="24" y="1254"/>
                  </a:lnTo>
                  <a:lnTo>
                    <a:pt x="30" y="1248"/>
                  </a:lnTo>
                  <a:lnTo>
                    <a:pt x="24" y="1230"/>
                  </a:lnTo>
                  <a:lnTo>
                    <a:pt x="30" y="1218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30" y="1170"/>
                  </a:lnTo>
                  <a:lnTo>
                    <a:pt x="30" y="1152"/>
                  </a:lnTo>
                  <a:lnTo>
                    <a:pt x="24" y="1146"/>
                  </a:lnTo>
                  <a:lnTo>
                    <a:pt x="0" y="1116"/>
                  </a:lnTo>
                  <a:lnTo>
                    <a:pt x="6" y="1092"/>
                  </a:lnTo>
                  <a:lnTo>
                    <a:pt x="18" y="1056"/>
                  </a:lnTo>
                  <a:lnTo>
                    <a:pt x="24" y="1050"/>
                  </a:lnTo>
                  <a:lnTo>
                    <a:pt x="24" y="1038"/>
                  </a:lnTo>
                  <a:lnTo>
                    <a:pt x="24" y="1026"/>
                  </a:lnTo>
                  <a:lnTo>
                    <a:pt x="30" y="1002"/>
                  </a:lnTo>
                  <a:lnTo>
                    <a:pt x="36" y="990"/>
                  </a:lnTo>
                  <a:lnTo>
                    <a:pt x="42" y="984"/>
                  </a:lnTo>
                  <a:lnTo>
                    <a:pt x="54" y="984"/>
                  </a:lnTo>
                  <a:lnTo>
                    <a:pt x="66" y="978"/>
                  </a:lnTo>
                  <a:lnTo>
                    <a:pt x="72" y="978"/>
                  </a:lnTo>
                  <a:lnTo>
                    <a:pt x="90" y="978"/>
                  </a:lnTo>
                  <a:lnTo>
                    <a:pt x="102" y="972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78"/>
                  </a:lnTo>
                  <a:lnTo>
                    <a:pt x="120" y="984"/>
                  </a:lnTo>
                  <a:lnTo>
                    <a:pt x="138" y="984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6" y="972"/>
                  </a:lnTo>
                  <a:lnTo>
                    <a:pt x="156" y="966"/>
                  </a:lnTo>
                  <a:lnTo>
                    <a:pt x="156" y="960"/>
                  </a:lnTo>
                  <a:lnTo>
                    <a:pt x="180" y="948"/>
                  </a:lnTo>
                  <a:lnTo>
                    <a:pt x="186" y="924"/>
                  </a:lnTo>
                  <a:lnTo>
                    <a:pt x="192" y="918"/>
                  </a:lnTo>
                  <a:lnTo>
                    <a:pt x="228" y="924"/>
                  </a:lnTo>
                  <a:lnTo>
                    <a:pt x="246" y="906"/>
                  </a:lnTo>
                  <a:lnTo>
                    <a:pt x="240" y="888"/>
                  </a:lnTo>
                  <a:lnTo>
                    <a:pt x="234" y="888"/>
                  </a:lnTo>
                  <a:lnTo>
                    <a:pt x="234" y="882"/>
                  </a:lnTo>
                  <a:lnTo>
                    <a:pt x="228" y="870"/>
                  </a:lnTo>
                  <a:lnTo>
                    <a:pt x="228" y="864"/>
                  </a:lnTo>
                  <a:lnTo>
                    <a:pt x="222" y="864"/>
                  </a:lnTo>
                  <a:lnTo>
                    <a:pt x="216" y="858"/>
                  </a:lnTo>
                  <a:lnTo>
                    <a:pt x="198" y="852"/>
                  </a:lnTo>
                  <a:lnTo>
                    <a:pt x="192" y="852"/>
                  </a:lnTo>
                  <a:lnTo>
                    <a:pt x="186" y="846"/>
                  </a:lnTo>
                  <a:lnTo>
                    <a:pt x="174" y="834"/>
                  </a:lnTo>
                  <a:lnTo>
                    <a:pt x="162" y="822"/>
                  </a:lnTo>
                  <a:lnTo>
                    <a:pt x="156" y="816"/>
                  </a:lnTo>
                  <a:lnTo>
                    <a:pt x="162" y="810"/>
                  </a:lnTo>
                  <a:lnTo>
                    <a:pt x="174" y="798"/>
                  </a:lnTo>
                  <a:lnTo>
                    <a:pt x="180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68"/>
                  </a:lnTo>
                  <a:lnTo>
                    <a:pt x="192" y="744"/>
                  </a:lnTo>
                  <a:lnTo>
                    <a:pt x="186" y="708"/>
                  </a:lnTo>
                  <a:lnTo>
                    <a:pt x="174" y="690"/>
                  </a:lnTo>
                  <a:lnTo>
                    <a:pt x="168" y="672"/>
                  </a:lnTo>
                  <a:lnTo>
                    <a:pt x="156" y="630"/>
                  </a:lnTo>
                  <a:lnTo>
                    <a:pt x="156" y="606"/>
                  </a:lnTo>
                  <a:lnTo>
                    <a:pt x="150" y="606"/>
                  </a:lnTo>
                  <a:lnTo>
                    <a:pt x="150" y="600"/>
                  </a:lnTo>
                  <a:lnTo>
                    <a:pt x="144" y="600"/>
                  </a:lnTo>
                  <a:lnTo>
                    <a:pt x="150" y="594"/>
                  </a:lnTo>
                  <a:lnTo>
                    <a:pt x="144" y="588"/>
                  </a:lnTo>
                  <a:lnTo>
                    <a:pt x="138" y="558"/>
                  </a:lnTo>
                  <a:lnTo>
                    <a:pt x="138" y="528"/>
                  </a:lnTo>
                  <a:lnTo>
                    <a:pt x="132" y="480"/>
                  </a:lnTo>
                  <a:lnTo>
                    <a:pt x="132" y="462"/>
                  </a:lnTo>
                  <a:lnTo>
                    <a:pt x="126" y="426"/>
                  </a:lnTo>
                  <a:lnTo>
                    <a:pt x="126" y="396"/>
                  </a:lnTo>
                  <a:lnTo>
                    <a:pt x="126" y="378"/>
                  </a:lnTo>
                  <a:lnTo>
                    <a:pt x="126" y="360"/>
                  </a:lnTo>
                  <a:lnTo>
                    <a:pt x="132" y="318"/>
                  </a:lnTo>
                  <a:lnTo>
                    <a:pt x="132" y="24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2" y="210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92" y="198"/>
                  </a:lnTo>
                  <a:lnTo>
                    <a:pt x="198" y="198"/>
                  </a:lnTo>
                  <a:lnTo>
                    <a:pt x="216" y="180"/>
                  </a:lnTo>
                  <a:lnTo>
                    <a:pt x="222" y="174"/>
                  </a:lnTo>
                  <a:lnTo>
                    <a:pt x="222" y="168"/>
                  </a:lnTo>
                  <a:lnTo>
                    <a:pt x="228" y="168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44"/>
                  </a:lnTo>
                  <a:lnTo>
                    <a:pt x="258" y="144"/>
                  </a:lnTo>
                  <a:lnTo>
                    <a:pt x="276" y="150"/>
                  </a:lnTo>
                  <a:lnTo>
                    <a:pt x="300" y="150"/>
                  </a:lnTo>
                  <a:lnTo>
                    <a:pt x="312" y="150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8" y="156"/>
                  </a:lnTo>
                  <a:lnTo>
                    <a:pt x="354" y="150"/>
                  </a:lnTo>
                  <a:lnTo>
                    <a:pt x="372" y="144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08" y="126"/>
                  </a:lnTo>
                  <a:lnTo>
                    <a:pt x="414" y="120"/>
                  </a:lnTo>
                  <a:lnTo>
                    <a:pt x="420" y="120"/>
                  </a:lnTo>
                  <a:lnTo>
                    <a:pt x="426" y="120"/>
                  </a:lnTo>
                  <a:lnTo>
                    <a:pt x="432" y="114"/>
                  </a:lnTo>
                  <a:lnTo>
                    <a:pt x="450" y="102"/>
                  </a:lnTo>
                  <a:lnTo>
                    <a:pt x="456" y="96"/>
                  </a:lnTo>
                  <a:lnTo>
                    <a:pt x="468" y="90"/>
                  </a:lnTo>
                  <a:lnTo>
                    <a:pt x="474" y="90"/>
                  </a:lnTo>
                  <a:lnTo>
                    <a:pt x="480" y="84"/>
                  </a:lnTo>
                  <a:lnTo>
                    <a:pt x="486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504" y="72"/>
                  </a:lnTo>
                  <a:lnTo>
                    <a:pt x="510" y="66"/>
                  </a:lnTo>
                  <a:lnTo>
                    <a:pt x="516" y="66"/>
                  </a:lnTo>
                  <a:lnTo>
                    <a:pt x="522" y="60"/>
                  </a:lnTo>
                  <a:lnTo>
                    <a:pt x="552" y="42"/>
                  </a:lnTo>
                  <a:lnTo>
                    <a:pt x="558" y="36"/>
                  </a:lnTo>
                  <a:lnTo>
                    <a:pt x="576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94" y="18"/>
                  </a:lnTo>
                  <a:lnTo>
                    <a:pt x="600" y="12"/>
                  </a:lnTo>
                  <a:lnTo>
                    <a:pt x="612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6"/>
                  </a:lnTo>
                  <a:lnTo>
                    <a:pt x="648" y="6"/>
                  </a:lnTo>
                  <a:lnTo>
                    <a:pt x="660" y="6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38" y="18"/>
                  </a:lnTo>
                  <a:lnTo>
                    <a:pt x="744" y="18"/>
                  </a:lnTo>
                  <a:lnTo>
                    <a:pt x="756" y="18"/>
                  </a:lnTo>
                  <a:lnTo>
                    <a:pt x="762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80" y="24"/>
                  </a:lnTo>
                  <a:lnTo>
                    <a:pt x="792" y="24"/>
                  </a:lnTo>
                  <a:lnTo>
                    <a:pt x="792" y="30"/>
                  </a:lnTo>
                  <a:lnTo>
                    <a:pt x="810" y="30"/>
                  </a:lnTo>
                  <a:lnTo>
                    <a:pt x="822" y="36"/>
                  </a:lnTo>
                  <a:lnTo>
                    <a:pt x="834" y="42"/>
                  </a:lnTo>
                  <a:lnTo>
                    <a:pt x="840" y="48"/>
                  </a:lnTo>
                  <a:lnTo>
                    <a:pt x="846" y="54"/>
                  </a:lnTo>
                  <a:lnTo>
                    <a:pt x="852" y="60"/>
                  </a:lnTo>
                  <a:lnTo>
                    <a:pt x="858" y="66"/>
                  </a:lnTo>
                  <a:lnTo>
                    <a:pt x="864" y="66"/>
                  </a:lnTo>
                  <a:lnTo>
                    <a:pt x="864" y="72"/>
                  </a:lnTo>
                  <a:lnTo>
                    <a:pt x="876" y="78"/>
                  </a:lnTo>
                  <a:lnTo>
                    <a:pt x="900" y="84"/>
                  </a:lnTo>
                  <a:lnTo>
                    <a:pt x="906" y="90"/>
                  </a:lnTo>
                  <a:lnTo>
                    <a:pt x="912" y="90"/>
                  </a:lnTo>
                  <a:lnTo>
                    <a:pt x="912" y="96"/>
                  </a:lnTo>
                  <a:lnTo>
                    <a:pt x="924" y="108"/>
                  </a:lnTo>
                  <a:lnTo>
                    <a:pt x="930" y="108"/>
                  </a:lnTo>
                  <a:lnTo>
                    <a:pt x="936" y="114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60" y="138"/>
                  </a:lnTo>
                  <a:lnTo>
                    <a:pt x="966" y="144"/>
                  </a:lnTo>
                  <a:lnTo>
                    <a:pt x="972" y="156"/>
                  </a:lnTo>
                  <a:lnTo>
                    <a:pt x="978" y="162"/>
                  </a:lnTo>
                  <a:lnTo>
                    <a:pt x="984" y="162"/>
                  </a:lnTo>
                  <a:lnTo>
                    <a:pt x="990" y="168"/>
                  </a:lnTo>
                  <a:lnTo>
                    <a:pt x="996" y="174"/>
                  </a:lnTo>
                  <a:lnTo>
                    <a:pt x="1002" y="180"/>
                  </a:lnTo>
                  <a:lnTo>
                    <a:pt x="1008" y="180"/>
                  </a:lnTo>
                  <a:lnTo>
                    <a:pt x="1020" y="180"/>
                  </a:lnTo>
                  <a:lnTo>
                    <a:pt x="1038" y="174"/>
                  </a:lnTo>
                  <a:lnTo>
                    <a:pt x="1050" y="174"/>
                  </a:lnTo>
                  <a:lnTo>
                    <a:pt x="1056" y="174"/>
                  </a:lnTo>
                  <a:lnTo>
                    <a:pt x="1068" y="180"/>
                  </a:lnTo>
                  <a:lnTo>
                    <a:pt x="1080" y="180"/>
                  </a:lnTo>
                  <a:lnTo>
                    <a:pt x="1086" y="186"/>
                  </a:lnTo>
                  <a:lnTo>
                    <a:pt x="1098" y="192"/>
                  </a:lnTo>
                  <a:lnTo>
                    <a:pt x="1116" y="204"/>
                  </a:lnTo>
                  <a:lnTo>
                    <a:pt x="1122" y="210"/>
                  </a:lnTo>
                  <a:lnTo>
                    <a:pt x="1134" y="222"/>
                  </a:lnTo>
                  <a:lnTo>
                    <a:pt x="1146" y="234"/>
                  </a:lnTo>
                  <a:lnTo>
                    <a:pt x="1146" y="240"/>
                  </a:lnTo>
                  <a:lnTo>
                    <a:pt x="1152" y="246"/>
                  </a:lnTo>
                  <a:lnTo>
                    <a:pt x="1152" y="252"/>
                  </a:lnTo>
                  <a:lnTo>
                    <a:pt x="1152" y="258"/>
                  </a:lnTo>
                  <a:lnTo>
                    <a:pt x="1164" y="258"/>
                  </a:lnTo>
                  <a:lnTo>
                    <a:pt x="1170" y="264"/>
                  </a:lnTo>
                  <a:lnTo>
                    <a:pt x="1182" y="270"/>
                  </a:lnTo>
                  <a:lnTo>
                    <a:pt x="1188" y="270"/>
                  </a:lnTo>
                  <a:lnTo>
                    <a:pt x="1194" y="270"/>
                  </a:lnTo>
                  <a:lnTo>
                    <a:pt x="1206" y="276"/>
                  </a:lnTo>
                  <a:lnTo>
                    <a:pt x="1224" y="282"/>
                  </a:lnTo>
                  <a:lnTo>
                    <a:pt x="1236" y="282"/>
                  </a:lnTo>
                  <a:lnTo>
                    <a:pt x="1242" y="288"/>
                  </a:lnTo>
                  <a:lnTo>
                    <a:pt x="1254" y="288"/>
                  </a:lnTo>
                  <a:lnTo>
                    <a:pt x="1266" y="294"/>
                  </a:lnTo>
                  <a:lnTo>
                    <a:pt x="1272" y="294"/>
                  </a:lnTo>
                  <a:lnTo>
                    <a:pt x="1284" y="300"/>
                  </a:lnTo>
                  <a:lnTo>
                    <a:pt x="1290" y="300"/>
                  </a:lnTo>
                  <a:lnTo>
                    <a:pt x="1296" y="300"/>
                  </a:lnTo>
                  <a:lnTo>
                    <a:pt x="1302" y="306"/>
                  </a:lnTo>
                  <a:lnTo>
                    <a:pt x="1326" y="312"/>
                  </a:lnTo>
                  <a:lnTo>
                    <a:pt x="1338" y="312"/>
                  </a:lnTo>
                  <a:lnTo>
                    <a:pt x="1338" y="318"/>
                  </a:lnTo>
                  <a:lnTo>
                    <a:pt x="1344" y="318"/>
                  </a:lnTo>
                  <a:lnTo>
                    <a:pt x="1350" y="318"/>
                  </a:lnTo>
                  <a:lnTo>
                    <a:pt x="1362" y="324"/>
                  </a:lnTo>
                  <a:lnTo>
                    <a:pt x="1368" y="318"/>
                  </a:lnTo>
                  <a:lnTo>
                    <a:pt x="1374" y="318"/>
                  </a:lnTo>
                  <a:lnTo>
                    <a:pt x="1386" y="318"/>
                  </a:lnTo>
                  <a:lnTo>
                    <a:pt x="1398" y="324"/>
                  </a:lnTo>
                  <a:lnTo>
                    <a:pt x="1398" y="342"/>
                  </a:lnTo>
                  <a:lnTo>
                    <a:pt x="1356" y="342"/>
                  </a:lnTo>
                  <a:lnTo>
                    <a:pt x="1350" y="348"/>
                  </a:lnTo>
                  <a:lnTo>
                    <a:pt x="1350" y="372"/>
                  </a:lnTo>
                  <a:lnTo>
                    <a:pt x="1338" y="384"/>
                  </a:lnTo>
                  <a:lnTo>
                    <a:pt x="1332" y="408"/>
                  </a:lnTo>
                  <a:lnTo>
                    <a:pt x="1320" y="420"/>
                  </a:lnTo>
                  <a:lnTo>
                    <a:pt x="1254" y="426"/>
                  </a:lnTo>
                  <a:lnTo>
                    <a:pt x="1248" y="432"/>
                  </a:lnTo>
                  <a:lnTo>
                    <a:pt x="1230" y="432"/>
                  </a:lnTo>
                  <a:lnTo>
                    <a:pt x="1212" y="432"/>
                  </a:lnTo>
                  <a:lnTo>
                    <a:pt x="1212" y="426"/>
                  </a:lnTo>
                  <a:lnTo>
                    <a:pt x="1200" y="426"/>
                  </a:lnTo>
                  <a:lnTo>
                    <a:pt x="1182" y="414"/>
                  </a:lnTo>
                  <a:lnTo>
                    <a:pt x="1182" y="420"/>
                  </a:lnTo>
                  <a:lnTo>
                    <a:pt x="1164" y="420"/>
                  </a:lnTo>
                  <a:lnTo>
                    <a:pt x="1158" y="414"/>
                  </a:lnTo>
                  <a:lnTo>
                    <a:pt x="1152" y="408"/>
                  </a:lnTo>
                  <a:lnTo>
                    <a:pt x="1146" y="402"/>
                  </a:lnTo>
                  <a:lnTo>
                    <a:pt x="1122" y="396"/>
                  </a:lnTo>
                  <a:lnTo>
                    <a:pt x="1116" y="366"/>
                  </a:lnTo>
                  <a:lnTo>
                    <a:pt x="1116" y="348"/>
                  </a:lnTo>
                  <a:lnTo>
                    <a:pt x="1110" y="342"/>
                  </a:lnTo>
                  <a:lnTo>
                    <a:pt x="1104" y="336"/>
                  </a:lnTo>
                  <a:lnTo>
                    <a:pt x="1092" y="330"/>
                  </a:lnTo>
                  <a:lnTo>
                    <a:pt x="1074" y="330"/>
                  </a:lnTo>
                  <a:lnTo>
                    <a:pt x="1044" y="330"/>
                  </a:lnTo>
                  <a:lnTo>
                    <a:pt x="1014" y="336"/>
                  </a:lnTo>
                  <a:lnTo>
                    <a:pt x="984" y="342"/>
                  </a:lnTo>
                  <a:lnTo>
                    <a:pt x="978" y="330"/>
                  </a:lnTo>
                  <a:lnTo>
                    <a:pt x="966" y="324"/>
                  </a:lnTo>
                  <a:lnTo>
                    <a:pt x="888" y="336"/>
                  </a:lnTo>
                  <a:lnTo>
                    <a:pt x="888" y="330"/>
                  </a:lnTo>
                  <a:lnTo>
                    <a:pt x="870" y="336"/>
                  </a:lnTo>
                  <a:lnTo>
                    <a:pt x="858" y="336"/>
                  </a:lnTo>
                  <a:lnTo>
                    <a:pt x="852" y="354"/>
                  </a:lnTo>
                  <a:lnTo>
                    <a:pt x="852" y="402"/>
                  </a:lnTo>
                  <a:lnTo>
                    <a:pt x="840" y="414"/>
                  </a:lnTo>
                  <a:lnTo>
                    <a:pt x="834" y="420"/>
                  </a:lnTo>
                  <a:lnTo>
                    <a:pt x="834" y="444"/>
                  </a:lnTo>
                  <a:lnTo>
                    <a:pt x="834" y="450"/>
                  </a:lnTo>
                  <a:lnTo>
                    <a:pt x="852" y="456"/>
                  </a:lnTo>
                  <a:lnTo>
                    <a:pt x="864" y="462"/>
                  </a:lnTo>
                  <a:lnTo>
                    <a:pt x="894" y="456"/>
                  </a:lnTo>
                  <a:lnTo>
                    <a:pt x="900" y="468"/>
                  </a:lnTo>
                  <a:lnTo>
                    <a:pt x="918" y="462"/>
                  </a:lnTo>
                  <a:lnTo>
                    <a:pt x="924" y="468"/>
                  </a:lnTo>
                  <a:lnTo>
                    <a:pt x="924" y="47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2" name="Freeform 37">
              <a:extLst>
                <a:ext uri="{FF2B5EF4-FFF2-40B4-BE49-F238E27FC236}">
                  <a16:creationId xmlns:a16="http://schemas.microsoft.com/office/drawing/2014/main" id="{DED8A1FF-B656-4D37-BD26-5B0A7B1A4A6D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441" y="1898343"/>
              <a:ext cx="567992" cy="686605"/>
            </a:xfrm>
            <a:custGeom>
              <a:avLst/>
              <a:gdLst>
                <a:gd name="T0" fmla="*/ 79 w 1068"/>
                <a:gd name="T1" fmla="*/ 72 h 1290"/>
                <a:gd name="T2" fmla="*/ 75 w 1068"/>
                <a:gd name="T3" fmla="*/ 73 h 1290"/>
                <a:gd name="T4" fmla="*/ 72 w 1068"/>
                <a:gd name="T5" fmla="*/ 76 h 1290"/>
                <a:gd name="T6" fmla="*/ 70 w 1068"/>
                <a:gd name="T7" fmla="*/ 78 h 1290"/>
                <a:gd name="T8" fmla="*/ 67 w 1068"/>
                <a:gd name="T9" fmla="*/ 82 h 1290"/>
                <a:gd name="T10" fmla="*/ 61 w 1068"/>
                <a:gd name="T11" fmla="*/ 86 h 1290"/>
                <a:gd name="T12" fmla="*/ 60 w 1068"/>
                <a:gd name="T13" fmla="*/ 93 h 1290"/>
                <a:gd name="T14" fmla="*/ 59 w 1068"/>
                <a:gd name="T15" fmla="*/ 97 h 1290"/>
                <a:gd name="T16" fmla="*/ 61 w 1068"/>
                <a:gd name="T17" fmla="*/ 101 h 1290"/>
                <a:gd name="T18" fmla="*/ 63 w 1068"/>
                <a:gd name="T19" fmla="*/ 104 h 1290"/>
                <a:gd name="T20" fmla="*/ 62 w 1068"/>
                <a:gd name="T21" fmla="*/ 108 h 1290"/>
                <a:gd name="T22" fmla="*/ 60 w 1068"/>
                <a:gd name="T23" fmla="*/ 111 h 1290"/>
                <a:gd name="T24" fmla="*/ 56 w 1068"/>
                <a:gd name="T25" fmla="*/ 111 h 1290"/>
                <a:gd name="T26" fmla="*/ 53 w 1068"/>
                <a:gd name="T27" fmla="*/ 110 h 1290"/>
                <a:gd name="T28" fmla="*/ 50 w 1068"/>
                <a:gd name="T29" fmla="*/ 109 h 1290"/>
                <a:gd name="T30" fmla="*/ 47 w 1068"/>
                <a:gd name="T31" fmla="*/ 110 h 1290"/>
                <a:gd name="T32" fmla="*/ 51 w 1068"/>
                <a:gd name="T33" fmla="*/ 104 h 1290"/>
                <a:gd name="T34" fmla="*/ 50 w 1068"/>
                <a:gd name="T35" fmla="*/ 95 h 1290"/>
                <a:gd name="T36" fmla="*/ 51 w 1068"/>
                <a:gd name="T37" fmla="*/ 90 h 1290"/>
                <a:gd name="T38" fmla="*/ 47 w 1068"/>
                <a:gd name="T39" fmla="*/ 84 h 1290"/>
                <a:gd name="T40" fmla="*/ 42 w 1068"/>
                <a:gd name="T41" fmla="*/ 78 h 1290"/>
                <a:gd name="T42" fmla="*/ 33 w 1068"/>
                <a:gd name="T43" fmla="*/ 73 h 1290"/>
                <a:gd name="T44" fmla="*/ 26 w 1068"/>
                <a:gd name="T45" fmla="*/ 68 h 1290"/>
                <a:gd name="T46" fmla="*/ 22 w 1068"/>
                <a:gd name="T47" fmla="*/ 63 h 1290"/>
                <a:gd name="T48" fmla="*/ 11 w 1068"/>
                <a:gd name="T49" fmla="*/ 67 h 1290"/>
                <a:gd name="T50" fmla="*/ 0 w 1068"/>
                <a:gd name="T51" fmla="*/ 68 h 1290"/>
                <a:gd name="T52" fmla="*/ 2 w 1068"/>
                <a:gd name="T53" fmla="*/ 59 h 1290"/>
                <a:gd name="T54" fmla="*/ 12 w 1068"/>
                <a:gd name="T55" fmla="*/ 55 h 1290"/>
                <a:gd name="T56" fmla="*/ 12 w 1068"/>
                <a:gd name="T57" fmla="*/ 51 h 1290"/>
                <a:gd name="T58" fmla="*/ 10 w 1068"/>
                <a:gd name="T59" fmla="*/ 47 h 1290"/>
                <a:gd name="T60" fmla="*/ 9 w 1068"/>
                <a:gd name="T61" fmla="*/ 42 h 1290"/>
                <a:gd name="T62" fmla="*/ 8 w 1068"/>
                <a:gd name="T63" fmla="*/ 38 h 1290"/>
                <a:gd name="T64" fmla="*/ 8 w 1068"/>
                <a:gd name="T65" fmla="*/ 29 h 1290"/>
                <a:gd name="T66" fmla="*/ 10 w 1068"/>
                <a:gd name="T67" fmla="*/ 18 h 1290"/>
                <a:gd name="T68" fmla="*/ 25 w 1068"/>
                <a:gd name="T69" fmla="*/ 12 h 1290"/>
                <a:gd name="T70" fmla="*/ 27 w 1068"/>
                <a:gd name="T71" fmla="*/ 4 h 1290"/>
                <a:gd name="T72" fmla="*/ 35 w 1068"/>
                <a:gd name="T73" fmla="*/ 6 h 1290"/>
                <a:gd name="T74" fmla="*/ 39 w 1068"/>
                <a:gd name="T75" fmla="*/ 8 h 1290"/>
                <a:gd name="T76" fmla="*/ 41 w 1068"/>
                <a:gd name="T77" fmla="*/ 3 h 1290"/>
                <a:gd name="T78" fmla="*/ 45 w 1068"/>
                <a:gd name="T79" fmla="*/ 0 h 1290"/>
                <a:gd name="T80" fmla="*/ 51 w 1068"/>
                <a:gd name="T81" fmla="*/ 0 h 1290"/>
                <a:gd name="T82" fmla="*/ 56 w 1068"/>
                <a:gd name="T83" fmla="*/ 4 h 1290"/>
                <a:gd name="T84" fmla="*/ 62 w 1068"/>
                <a:gd name="T85" fmla="*/ 12 h 1290"/>
                <a:gd name="T86" fmla="*/ 58 w 1068"/>
                <a:gd name="T87" fmla="*/ 17 h 1290"/>
                <a:gd name="T88" fmla="*/ 60 w 1068"/>
                <a:gd name="T89" fmla="*/ 18 h 1290"/>
                <a:gd name="T90" fmla="*/ 64 w 1068"/>
                <a:gd name="T91" fmla="*/ 16 h 1290"/>
                <a:gd name="T92" fmla="*/ 68 w 1068"/>
                <a:gd name="T93" fmla="*/ 18 h 1290"/>
                <a:gd name="T94" fmla="*/ 71 w 1068"/>
                <a:gd name="T95" fmla="*/ 27 h 1290"/>
                <a:gd name="T96" fmla="*/ 74 w 1068"/>
                <a:gd name="T97" fmla="*/ 30 h 1290"/>
                <a:gd name="T98" fmla="*/ 82 w 1068"/>
                <a:gd name="T99" fmla="*/ 30 h 1290"/>
                <a:gd name="T100" fmla="*/ 87 w 1068"/>
                <a:gd name="T101" fmla="*/ 35 h 1290"/>
                <a:gd name="T102" fmla="*/ 85 w 1068"/>
                <a:gd name="T103" fmla="*/ 42 h 1290"/>
                <a:gd name="T104" fmla="*/ 81 w 1068"/>
                <a:gd name="T105" fmla="*/ 46 h 1290"/>
                <a:gd name="T106" fmla="*/ 86 w 1068"/>
                <a:gd name="T107" fmla="*/ 50 h 1290"/>
                <a:gd name="T108" fmla="*/ 89 w 1068"/>
                <a:gd name="T109" fmla="*/ 58 h 1290"/>
                <a:gd name="T110" fmla="*/ 92 w 1068"/>
                <a:gd name="T111" fmla="*/ 61 h 1290"/>
                <a:gd name="T112" fmla="*/ 86 w 1068"/>
                <a:gd name="T113" fmla="*/ 66 h 1290"/>
                <a:gd name="T114" fmla="*/ 85 w 1068"/>
                <a:gd name="T115" fmla="*/ 70 h 129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68"/>
                <a:gd name="T175" fmla="*/ 0 h 1290"/>
                <a:gd name="T176" fmla="*/ 1068 w 1068"/>
                <a:gd name="T177" fmla="*/ 1290 h 129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68" h="1290">
                  <a:moveTo>
                    <a:pt x="978" y="804"/>
                  </a:moveTo>
                  <a:lnTo>
                    <a:pt x="972" y="810"/>
                  </a:lnTo>
                  <a:lnTo>
                    <a:pt x="966" y="810"/>
                  </a:lnTo>
                  <a:lnTo>
                    <a:pt x="966" y="816"/>
                  </a:lnTo>
                  <a:lnTo>
                    <a:pt x="936" y="828"/>
                  </a:lnTo>
                  <a:lnTo>
                    <a:pt x="924" y="822"/>
                  </a:lnTo>
                  <a:lnTo>
                    <a:pt x="912" y="822"/>
                  </a:lnTo>
                  <a:lnTo>
                    <a:pt x="906" y="828"/>
                  </a:lnTo>
                  <a:lnTo>
                    <a:pt x="900" y="828"/>
                  </a:lnTo>
                  <a:lnTo>
                    <a:pt x="900" y="822"/>
                  </a:lnTo>
                  <a:lnTo>
                    <a:pt x="894" y="822"/>
                  </a:lnTo>
                  <a:lnTo>
                    <a:pt x="888" y="828"/>
                  </a:lnTo>
                  <a:lnTo>
                    <a:pt x="882" y="834"/>
                  </a:lnTo>
                  <a:lnTo>
                    <a:pt x="876" y="834"/>
                  </a:lnTo>
                  <a:lnTo>
                    <a:pt x="870" y="840"/>
                  </a:lnTo>
                  <a:lnTo>
                    <a:pt x="864" y="840"/>
                  </a:lnTo>
                  <a:lnTo>
                    <a:pt x="864" y="846"/>
                  </a:lnTo>
                  <a:lnTo>
                    <a:pt x="858" y="846"/>
                  </a:lnTo>
                  <a:lnTo>
                    <a:pt x="852" y="846"/>
                  </a:lnTo>
                  <a:lnTo>
                    <a:pt x="852" y="858"/>
                  </a:lnTo>
                  <a:lnTo>
                    <a:pt x="846" y="864"/>
                  </a:lnTo>
                  <a:lnTo>
                    <a:pt x="840" y="870"/>
                  </a:lnTo>
                  <a:lnTo>
                    <a:pt x="834" y="870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34" y="876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10" y="894"/>
                  </a:lnTo>
                  <a:lnTo>
                    <a:pt x="810" y="900"/>
                  </a:lnTo>
                  <a:lnTo>
                    <a:pt x="804" y="900"/>
                  </a:lnTo>
                  <a:lnTo>
                    <a:pt x="798" y="900"/>
                  </a:lnTo>
                  <a:lnTo>
                    <a:pt x="798" y="906"/>
                  </a:lnTo>
                  <a:lnTo>
                    <a:pt x="792" y="906"/>
                  </a:lnTo>
                  <a:lnTo>
                    <a:pt x="792" y="912"/>
                  </a:lnTo>
                  <a:lnTo>
                    <a:pt x="792" y="924"/>
                  </a:lnTo>
                  <a:lnTo>
                    <a:pt x="786" y="930"/>
                  </a:lnTo>
                  <a:lnTo>
                    <a:pt x="774" y="942"/>
                  </a:lnTo>
                  <a:lnTo>
                    <a:pt x="774" y="948"/>
                  </a:lnTo>
                  <a:lnTo>
                    <a:pt x="768" y="954"/>
                  </a:lnTo>
                  <a:lnTo>
                    <a:pt x="762" y="954"/>
                  </a:lnTo>
                  <a:lnTo>
                    <a:pt x="750" y="972"/>
                  </a:lnTo>
                  <a:lnTo>
                    <a:pt x="720" y="978"/>
                  </a:lnTo>
                  <a:lnTo>
                    <a:pt x="714" y="978"/>
                  </a:lnTo>
                  <a:lnTo>
                    <a:pt x="708" y="978"/>
                  </a:lnTo>
                  <a:lnTo>
                    <a:pt x="702" y="990"/>
                  </a:lnTo>
                  <a:lnTo>
                    <a:pt x="696" y="990"/>
                  </a:lnTo>
                  <a:lnTo>
                    <a:pt x="696" y="1008"/>
                  </a:lnTo>
                  <a:lnTo>
                    <a:pt x="690" y="1008"/>
                  </a:lnTo>
                  <a:lnTo>
                    <a:pt x="690" y="1014"/>
                  </a:lnTo>
                  <a:lnTo>
                    <a:pt x="684" y="1032"/>
                  </a:lnTo>
                  <a:lnTo>
                    <a:pt x="690" y="1050"/>
                  </a:lnTo>
                  <a:lnTo>
                    <a:pt x="690" y="1062"/>
                  </a:lnTo>
                  <a:lnTo>
                    <a:pt x="690" y="1068"/>
                  </a:lnTo>
                  <a:lnTo>
                    <a:pt x="690" y="1074"/>
                  </a:lnTo>
                  <a:lnTo>
                    <a:pt x="684" y="1074"/>
                  </a:lnTo>
                  <a:lnTo>
                    <a:pt x="684" y="1080"/>
                  </a:lnTo>
                  <a:lnTo>
                    <a:pt x="678" y="1086"/>
                  </a:lnTo>
                  <a:lnTo>
                    <a:pt x="678" y="1104"/>
                  </a:lnTo>
                  <a:lnTo>
                    <a:pt x="678" y="1110"/>
                  </a:lnTo>
                  <a:lnTo>
                    <a:pt x="678" y="1116"/>
                  </a:lnTo>
                  <a:lnTo>
                    <a:pt x="684" y="1116"/>
                  </a:lnTo>
                  <a:lnTo>
                    <a:pt x="678" y="1128"/>
                  </a:lnTo>
                  <a:lnTo>
                    <a:pt x="684" y="1128"/>
                  </a:lnTo>
                  <a:lnTo>
                    <a:pt x="690" y="1134"/>
                  </a:lnTo>
                  <a:lnTo>
                    <a:pt x="690" y="1140"/>
                  </a:lnTo>
                  <a:lnTo>
                    <a:pt x="696" y="1140"/>
                  </a:lnTo>
                  <a:lnTo>
                    <a:pt x="696" y="1146"/>
                  </a:lnTo>
                  <a:lnTo>
                    <a:pt x="696" y="1152"/>
                  </a:lnTo>
                  <a:lnTo>
                    <a:pt x="702" y="1152"/>
                  </a:lnTo>
                  <a:lnTo>
                    <a:pt x="708" y="1152"/>
                  </a:lnTo>
                  <a:lnTo>
                    <a:pt x="714" y="1158"/>
                  </a:lnTo>
                  <a:lnTo>
                    <a:pt x="714" y="1164"/>
                  </a:lnTo>
                  <a:lnTo>
                    <a:pt x="720" y="1170"/>
                  </a:lnTo>
                  <a:lnTo>
                    <a:pt x="720" y="1176"/>
                  </a:lnTo>
                  <a:lnTo>
                    <a:pt x="720" y="1182"/>
                  </a:lnTo>
                  <a:lnTo>
                    <a:pt x="726" y="1188"/>
                  </a:lnTo>
                  <a:lnTo>
                    <a:pt x="726" y="1194"/>
                  </a:lnTo>
                  <a:lnTo>
                    <a:pt x="732" y="1194"/>
                  </a:lnTo>
                  <a:lnTo>
                    <a:pt x="732" y="1200"/>
                  </a:lnTo>
                  <a:lnTo>
                    <a:pt x="738" y="1212"/>
                  </a:lnTo>
                  <a:lnTo>
                    <a:pt x="732" y="1218"/>
                  </a:lnTo>
                  <a:lnTo>
                    <a:pt x="732" y="1224"/>
                  </a:lnTo>
                  <a:lnTo>
                    <a:pt x="726" y="1230"/>
                  </a:lnTo>
                  <a:lnTo>
                    <a:pt x="720" y="1230"/>
                  </a:lnTo>
                  <a:lnTo>
                    <a:pt x="720" y="1236"/>
                  </a:lnTo>
                  <a:lnTo>
                    <a:pt x="720" y="1242"/>
                  </a:lnTo>
                  <a:lnTo>
                    <a:pt x="720" y="1248"/>
                  </a:lnTo>
                  <a:lnTo>
                    <a:pt x="714" y="1248"/>
                  </a:lnTo>
                  <a:lnTo>
                    <a:pt x="714" y="1254"/>
                  </a:lnTo>
                  <a:lnTo>
                    <a:pt x="708" y="1260"/>
                  </a:lnTo>
                  <a:lnTo>
                    <a:pt x="702" y="1272"/>
                  </a:lnTo>
                  <a:lnTo>
                    <a:pt x="696" y="1272"/>
                  </a:lnTo>
                  <a:lnTo>
                    <a:pt x="696" y="1278"/>
                  </a:lnTo>
                  <a:lnTo>
                    <a:pt x="690" y="1284"/>
                  </a:lnTo>
                  <a:lnTo>
                    <a:pt x="690" y="1290"/>
                  </a:lnTo>
                  <a:lnTo>
                    <a:pt x="684" y="1290"/>
                  </a:lnTo>
                  <a:lnTo>
                    <a:pt x="660" y="1284"/>
                  </a:lnTo>
                  <a:lnTo>
                    <a:pt x="660" y="1278"/>
                  </a:lnTo>
                  <a:lnTo>
                    <a:pt x="654" y="1272"/>
                  </a:lnTo>
                  <a:lnTo>
                    <a:pt x="648" y="1272"/>
                  </a:lnTo>
                  <a:lnTo>
                    <a:pt x="642" y="1272"/>
                  </a:lnTo>
                  <a:lnTo>
                    <a:pt x="642" y="1266"/>
                  </a:lnTo>
                  <a:lnTo>
                    <a:pt x="636" y="1266"/>
                  </a:lnTo>
                  <a:lnTo>
                    <a:pt x="630" y="1266"/>
                  </a:lnTo>
                  <a:lnTo>
                    <a:pt x="624" y="1266"/>
                  </a:lnTo>
                  <a:lnTo>
                    <a:pt x="624" y="1260"/>
                  </a:lnTo>
                  <a:lnTo>
                    <a:pt x="618" y="1260"/>
                  </a:lnTo>
                  <a:lnTo>
                    <a:pt x="612" y="1260"/>
                  </a:lnTo>
                  <a:lnTo>
                    <a:pt x="606" y="1260"/>
                  </a:lnTo>
                  <a:lnTo>
                    <a:pt x="600" y="1260"/>
                  </a:lnTo>
                  <a:lnTo>
                    <a:pt x="600" y="1254"/>
                  </a:lnTo>
                  <a:lnTo>
                    <a:pt x="594" y="1254"/>
                  </a:lnTo>
                  <a:lnTo>
                    <a:pt x="588" y="1248"/>
                  </a:lnTo>
                  <a:lnTo>
                    <a:pt x="588" y="1254"/>
                  </a:lnTo>
                  <a:lnTo>
                    <a:pt x="582" y="1254"/>
                  </a:lnTo>
                  <a:lnTo>
                    <a:pt x="582" y="1248"/>
                  </a:lnTo>
                  <a:lnTo>
                    <a:pt x="576" y="1248"/>
                  </a:lnTo>
                  <a:lnTo>
                    <a:pt x="576" y="1254"/>
                  </a:lnTo>
                  <a:lnTo>
                    <a:pt x="570" y="1248"/>
                  </a:lnTo>
                  <a:lnTo>
                    <a:pt x="564" y="1248"/>
                  </a:lnTo>
                  <a:lnTo>
                    <a:pt x="564" y="1254"/>
                  </a:lnTo>
                  <a:lnTo>
                    <a:pt x="558" y="1254"/>
                  </a:lnTo>
                  <a:lnTo>
                    <a:pt x="552" y="1254"/>
                  </a:lnTo>
                  <a:lnTo>
                    <a:pt x="552" y="1260"/>
                  </a:lnTo>
                  <a:lnTo>
                    <a:pt x="546" y="1260"/>
                  </a:lnTo>
                  <a:lnTo>
                    <a:pt x="540" y="1260"/>
                  </a:lnTo>
                  <a:lnTo>
                    <a:pt x="540" y="1254"/>
                  </a:lnTo>
                  <a:lnTo>
                    <a:pt x="534" y="1254"/>
                  </a:lnTo>
                  <a:lnTo>
                    <a:pt x="528" y="1224"/>
                  </a:lnTo>
                  <a:lnTo>
                    <a:pt x="534" y="1212"/>
                  </a:lnTo>
                  <a:lnTo>
                    <a:pt x="546" y="1206"/>
                  </a:lnTo>
                  <a:lnTo>
                    <a:pt x="582" y="1206"/>
                  </a:lnTo>
                  <a:lnTo>
                    <a:pt x="588" y="1188"/>
                  </a:lnTo>
                  <a:lnTo>
                    <a:pt x="582" y="1188"/>
                  </a:lnTo>
                  <a:lnTo>
                    <a:pt x="582" y="1182"/>
                  </a:lnTo>
                  <a:lnTo>
                    <a:pt x="576" y="1176"/>
                  </a:lnTo>
                  <a:lnTo>
                    <a:pt x="558" y="1128"/>
                  </a:lnTo>
                  <a:lnTo>
                    <a:pt x="558" y="1122"/>
                  </a:lnTo>
                  <a:lnTo>
                    <a:pt x="576" y="1098"/>
                  </a:lnTo>
                  <a:lnTo>
                    <a:pt x="576" y="1092"/>
                  </a:lnTo>
                  <a:lnTo>
                    <a:pt x="582" y="1092"/>
                  </a:lnTo>
                  <a:lnTo>
                    <a:pt x="582" y="1086"/>
                  </a:lnTo>
                  <a:lnTo>
                    <a:pt x="582" y="1080"/>
                  </a:lnTo>
                  <a:lnTo>
                    <a:pt x="582" y="1074"/>
                  </a:lnTo>
                  <a:lnTo>
                    <a:pt x="588" y="1074"/>
                  </a:lnTo>
                  <a:lnTo>
                    <a:pt x="588" y="1062"/>
                  </a:lnTo>
                  <a:lnTo>
                    <a:pt x="588" y="1056"/>
                  </a:lnTo>
                  <a:lnTo>
                    <a:pt x="588" y="1044"/>
                  </a:lnTo>
                  <a:lnTo>
                    <a:pt x="588" y="1038"/>
                  </a:lnTo>
                  <a:lnTo>
                    <a:pt x="588" y="1032"/>
                  </a:lnTo>
                  <a:lnTo>
                    <a:pt x="582" y="1026"/>
                  </a:lnTo>
                  <a:lnTo>
                    <a:pt x="582" y="1020"/>
                  </a:lnTo>
                  <a:lnTo>
                    <a:pt x="582" y="1008"/>
                  </a:lnTo>
                  <a:lnTo>
                    <a:pt x="576" y="990"/>
                  </a:lnTo>
                  <a:lnTo>
                    <a:pt x="570" y="972"/>
                  </a:lnTo>
                  <a:lnTo>
                    <a:pt x="552" y="972"/>
                  </a:lnTo>
                  <a:lnTo>
                    <a:pt x="540" y="960"/>
                  </a:lnTo>
                  <a:lnTo>
                    <a:pt x="534" y="954"/>
                  </a:lnTo>
                  <a:lnTo>
                    <a:pt x="534" y="948"/>
                  </a:lnTo>
                  <a:lnTo>
                    <a:pt x="516" y="948"/>
                  </a:lnTo>
                  <a:lnTo>
                    <a:pt x="522" y="936"/>
                  </a:lnTo>
                  <a:lnTo>
                    <a:pt x="522" y="930"/>
                  </a:lnTo>
                  <a:lnTo>
                    <a:pt x="504" y="918"/>
                  </a:lnTo>
                  <a:lnTo>
                    <a:pt x="492" y="906"/>
                  </a:lnTo>
                  <a:lnTo>
                    <a:pt x="486" y="894"/>
                  </a:lnTo>
                  <a:lnTo>
                    <a:pt x="468" y="876"/>
                  </a:lnTo>
                  <a:lnTo>
                    <a:pt x="450" y="876"/>
                  </a:lnTo>
                  <a:lnTo>
                    <a:pt x="414" y="882"/>
                  </a:lnTo>
                  <a:lnTo>
                    <a:pt x="402" y="870"/>
                  </a:lnTo>
                  <a:lnTo>
                    <a:pt x="390" y="864"/>
                  </a:lnTo>
                  <a:lnTo>
                    <a:pt x="384" y="852"/>
                  </a:lnTo>
                  <a:lnTo>
                    <a:pt x="378" y="840"/>
                  </a:lnTo>
                  <a:lnTo>
                    <a:pt x="378" y="834"/>
                  </a:lnTo>
                  <a:lnTo>
                    <a:pt x="360" y="822"/>
                  </a:lnTo>
                  <a:lnTo>
                    <a:pt x="342" y="828"/>
                  </a:lnTo>
                  <a:lnTo>
                    <a:pt x="324" y="816"/>
                  </a:lnTo>
                  <a:lnTo>
                    <a:pt x="318" y="816"/>
                  </a:lnTo>
                  <a:lnTo>
                    <a:pt x="306" y="810"/>
                  </a:lnTo>
                  <a:lnTo>
                    <a:pt x="306" y="804"/>
                  </a:lnTo>
                  <a:lnTo>
                    <a:pt x="300" y="804"/>
                  </a:lnTo>
                  <a:lnTo>
                    <a:pt x="300" y="780"/>
                  </a:lnTo>
                  <a:lnTo>
                    <a:pt x="300" y="774"/>
                  </a:lnTo>
                  <a:lnTo>
                    <a:pt x="306" y="774"/>
                  </a:lnTo>
                  <a:lnTo>
                    <a:pt x="312" y="756"/>
                  </a:lnTo>
                  <a:lnTo>
                    <a:pt x="312" y="732"/>
                  </a:lnTo>
                  <a:lnTo>
                    <a:pt x="300" y="720"/>
                  </a:lnTo>
                  <a:lnTo>
                    <a:pt x="288" y="702"/>
                  </a:lnTo>
                  <a:lnTo>
                    <a:pt x="276" y="702"/>
                  </a:lnTo>
                  <a:lnTo>
                    <a:pt x="258" y="714"/>
                  </a:lnTo>
                  <a:lnTo>
                    <a:pt x="246" y="726"/>
                  </a:lnTo>
                  <a:lnTo>
                    <a:pt x="222" y="726"/>
                  </a:lnTo>
                  <a:lnTo>
                    <a:pt x="192" y="726"/>
                  </a:lnTo>
                  <a:lnTo>
                    <a:pt x="174" y="738"/>
                  </a:lnTo>
                  <a:lnTo>
                    <a:pt x="162" y="750"/>
                  </a:lnTo>
                  <a:lnTo>
                    <a:pt x="144" y="762"/>
                  </a:lnTo>
                  <a:lnTo>
                    <a:pt x="138" y="768"/>
                  </a:lnTo>
                  <a:lnTo>
                    <a:pt x="126" y="774"/>
                  </a:lnTo>
                  <a:lnTo>
                    <a:pt x="114" y="780"/>
                  </a:lnTo>
                  <a:lnTo>
                    <a:pt x="108" y="786"/>
                  </a:lnTo>
                  <a:lnTo>
                    <a:pt x="102" y="786"/>
                  </a:lnTo>
                  <a:lnTo>
                    <a:pt x="54" y="786"/>
                  </a:lnTo>
                  <a:lnTo>
                    <a:pt x="48" y="792"/>
                  </a:lnTo>
                  <a:lnTo>
                    <a:pt x="36" y="798"/>
                  </a:lnTo>
                  <a:lnTo>
                    <a:pt x="18" y="792"/>
                  </a:lnTo>
                  <a:lnTo>
                    <a:pt x="6" y="780"/>
                  </a:lnTo>
                  <a:lnTo>
                    <a:pt x="6" y="768"/>
                  </a:lnTo>
                  <a:lnTo>
                    <a:pt x="0" y="756"/>
                  </a:lnTo>
                  <a:lnTo>
                    <a:pt x="0" y="738"/>
                  </a:lnTo>
                  <a:lnTo>
                    <a:pt x="6" y="702"/>
                  </a:lnTo>
                  <a:lnTo>
                    <a:pt x="24" y="702"/>
                  </a:lnTo>
                  <a:lnTo>
                    <a:pt x="24" y="696"/>
                  </a:lnTo>
                  <a:lnTo>
                    <a:pt x="24" y="690"/>
                  </a:lnTo>
                  <a:lnTo>
                    <a:pt x="24" y="678"/>
                  </a:lnTo>
                  <a:lnTo>
                    <a:pt x="24" y="672"/>
                  </a:lnTo>
                  <a:lnTo>
                    <a:pt x="30" y="672"/>
                  </a:lnTo>
                  <a:lnTo>
                    <a:pt x="30" y="666"/>
                  </a:lnTo>
                  <a:lnTo>
                    <a:pt x="36" y="660"/>
                  </a:lnTo>
                  <a:lnTo>
                    <a:pt x="84" y="648"/>
                  </a:lnTo>
                  <a:lnTo>
                    <a:pt x="126" y="642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32" y="618"/>
                  </a:lnTo>
                  <a:lnTo>
                    <a:pt x="138" y="612"/>
                  </a:lnTo>
                  <a:lnTo>
                    <a:pt x="138" y="606"/>
                  </a:lnTo>
                  <a:lnTo>
                    <a:pt x="138" y="600"/>
                  </a:lnTo>
                  <a:lnTo>
                    <a:pt x="132" y="600"/>
                  </a:lnTo>
                  <a:lnTo>
                    <a:pt x="132" y="594"/>
                  </a:lnTo>
                  <a:lnTo>
                    <a:pt x="132" y="588"/>
                  </a:lnTo>
                  <a:lnTo>
                    <a:pt x="132" y="582"/>
                  </a:lnTo>
                  <a:lnTo>
                    <a:pt x="132" y="576"/>
                  </a:lnTo>
                  <a:lnTo>
                    <a:pt x="126" y="570"/>
                  </a:lnTo>
                  <a:lnTo>
                    <a:pt x="120" y="564"/>
                  </a:lnTo>
                  <a:lnTo>
                    <a:pt x="120" y="558"/>
                  </a:lnTo>
                  <a:lnTo>
                    <a:pt x="120" y="552"/>
                  </a:lnTo>
                  <a:lnTo>
                    <a:pt x="114" y="552"/>
                  </a:lnTo>
                  <a:lnTo>
                    <a:pt x="114" y="546"/>
                  </a:lnTo>
                  <a:lnTo>
                    <a:pt x="114" y="540"/>
                  </a:lnTo>
                  <a:lnTo>
                    <a:pt x="108" y="534"/>
                  </a:lnTo>
                  <a:lnTo>
                    <a:pt x="108" y="528"/>
                  </a:lnTo>
                  <a:lnTo>
                    <a:pt x="114" y="522"/>
                  </a:lnTo>
                  <a:lnTo>
                    <a:pt x="108" y="516"/>
                  </a:lnTo>
                  <a:lnTo>
                    <a:pt x="108" y="498"/>
                  </a:lnTo>
                  <a:lnTo>
                    <a:pt x="108" y="492"/>
                  </a:lnTo>
                  <a:lnTo>
                    <a:pt x="108" y="486"/>
                  </a:lnTo>
                  <a:lnTo>
                    <a:pt x="108" y="480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08" y="462"/>
                  </a:lnTo>
                  <a:lnTo>
                    <a:pt x="102" y="456"/>
                  </a:lnTo>
                  <a:lnTo>
                    <a:pt x="102" y="444"/>
                  </a:lnTo>
                  <a:lnTo>
                    <a:pt x="96" y="444"/>
                  </a:lnTo>
                  <a:lnTo>
                    <a:pt x="90" y="432"/>
                  </a:lnTo>
                  <a:lnTo>
                    <a:pt x="96" y="432"/>
                  </a:lnTo>
                  <a:lnTo>
                    <a:pt x="96" y="408"/>
                  </a:lnTo>
                  <a:lnTo>
                    <a:pt x="96" y="396"/>
                  </a:lnTo>
                  <a:lnTo>
                    <a:pt x="96" y="360"/>
                  </a:lnTo>
                  <a:lnTo>
                    <a:pt x="96" y="354"/>
                  </a:lnTo>
                  <a:lnTo>
                    <a:pt x="102" y="354"/>
                  </a:lnTo>
                  <a:lnTo>
                    <a:pt x="102" y="348"/>
                  </a:lnTo>
                  <a:lnTo>
                    <a:pt x="96" y="330"/>
                  </a:lnTo>
                  <a:lnTo>
                    <a:pt x="90" y="306"/>
                  </a:lnTo>
                  <a:lnTo>
                    <a:pt x="84" y="288"/>
                  </a:lnTo>
                  <a:lnTo>
                    <a:pt x="84" y="264"/>
                  </a:lnTo>
                  <a:lnTo>
                    <a:pt x="90" y="240"/>
                  </a:lnTo>
                  <a:lnTo>
                    <a:pt x="96" y="222"/>
                  </a:lnTo>
                  <a:lnTo>
                    <a:pt x="102" y="222"/>
                  </a:lnTo>
                  <a:lnTo>
                    <a:pt x="108" y="210"/>
                  </a:lnTo>
                  <a:lnTo>
                    <a:pt x="114" y="210"/>
                  </a:lnTo>
                  <a:lnTo>
                    <a:pt x="126" y="198"/>
                  </a:lnTo>
                  <a:lnTo>
                    <a:pt x="156" y="192"/>
                  </a:lnTo>
                  <a:lnTo>
                    <a:pt x="174" y="186"/>
                  </a:lnTo>
                  <a:lnTo>
                    <a:pt x="204" y="174"/>
                  </a:lnTo>
                  <a:lnTo>
                    <a:pt x="222" y="168"/>
                  </a:lnTo>
                  <a:lnTo>
                    <a:pt x="234" y="162"/>
                  </a:lnTo>
                  <a:lnTo>
                    <a:pt x="246" y="156"/>
                  </a:lnTo>
                  <a:lnTo>
                    <a:pt x="288" y="144"/>
                  </a:lnTo>
                  <a:lnTo>
                    <a:pt x="288" y="132"/>
                  </a:lnTo>
                  <a:lnTo>
                    <a:pt x="294" y="120"/>
                  </a:lnTo>
                  <a:lnTo>
                    <a:pt x="300" y="108"/>
                  </a:lnTo>
                  <a:lnTo>
                    <a:pt x="306" y="90"/>
                  </a:lnTo>
                  <a:lnTo>
                    <a:pt x="312" y="78"/>
                  </a:lnTo>
                  <a:lnTo>
                    <a:pt x="324" y="78"/>
                  </a:lnTo>
                  <a:lnTo>
                    <a:pt x="324" y="54"/>
                  </a:lnTo>
                  <a:lnTo>
                    <a:pt x="318" y="48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60" y="6"/>
                  </a:lnTo>
                  <a:lnTo>
                    <a:pt x="384" y="0"/>
                  </a:lnTo>
                  <a:lnTo>
                    <a:pt x="390" y="6"/>
                  </a:lnTo>
                  <a:lnTo>
                    <a:pt x="390" y="18"/>
                  </a:lnTo>
                  <a:lnTo>
                    <a:pt x="390" y="54"/>
                  </a:lnTo>
                  <a:lnTo>
                    <a:pt x="396" y="66"/>
                  </a:lnTo>
                  <a:lnTo>
                    <a:pt x="414" y="84"/>
                  </a:lnTo>
                  <a:lnTo>
                    <a:pt x="426" y="90"/>
                  </a:lnTo>
                  <a:lnTo>
                    <a:pt x="432" y="96"/>
                  </a:lnTo>
                  <a:lnTo>
                    <a:pt x="426" y="102"/>
                  </a:lnTo>
                  <a:lnTo>
                    <a:pt x="438" y="102"/>
                  </a:lnTo>
                  <a:lnTo>
                    <a:pt x="444" y="108"/>
                  </a:lnTo>
                  <a:lnTo>
                    <a:pt x="444" y="102"/>
                  </a:lnTo>
                  <a:lnTo>
                    <a:pt x="450" y="90"/>
                  </a:lnTo>
                  <a:lnTo>
                    <a:pt x="450" y="84"/>
                  </a:lnTo>
                  <a:lnTo>
                    <a:pt x="450" y="78"/>
                  </a:lnTo>
                  <a:lnTo>
                    <a:pt x="456" y="72"/>
                  </a:lnTo>
                  <a:lnTo>
                    <a:pt x="462" y="66"/>
                  </a:lnTo>
                  <a:lnTo>
                    <a:pt x="462" y="60"/>
                  </a:lnTo>
                  <a:lnTo>
                    <a:pt x="462" y="54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74" y="24"/>
                  </a:lnTo>
                  <a:lnTo>
                    <a:pt x="480" y="18"/>
                  </a:lnTo>
                  <a:lnTo>
                    <a:pt x="486" y="12"/>
                  </a:lnTo>
                  <a:lnTo>
                    <a:pt x="492" y="12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2" y="6"/>
                  </a:lnTo>
                  <a:lnTo>
                    <a:pt x="534" y="6"/>
                  </a:lnTo>
                  <a:lnTo>
                    <a:pt x="540" y="6"/>
                  </a:lnTo>
                  <a:lnTo>
                    <a:pt x="546" y="6"/>
                  </a:lnTo>
                  <a:lnTo>
                    <a:pt x="564" y="0"/>
                  </a:lnTo>
                  <a:lnTo>
                    <a:pt x="570" y="0"/>
                  </a:lnTo>
                  <a:lnTo>
                    <a:pt x="576" y="6"/>
                  </a:lnTo>
                  <a:lnTo>
                    <a:pt x="582" y="6"/>
                  </a:lnTo>
                  <a:lnTo>
                    <a:pt x="594" y="6"/>
                  </a:lnTo>
                  <a:lnTo>
                    <a:pt x="600" y="6"/>
                  </a:lnTo>
                  <a:lnTo>
                    <a:pt x="606" y="6"/>
                  </a:lnTo>
                  <a:lnTo>
                    <a:pt x="624" y="0"/>
                  </a:lnTo>
                  <a:lnTo>
                    <a:pt x="636" y="0"/>
                  </a:lnTo>
                  <a:lnTo>
                    <a:pt x="636" y="6"/>
                  </a:lnTo>
                  <a:lnTo>
                    <a:pt x="654" y="18"/>
                  </a:lnTo>
                  <a:lnTo>
                    <a:pt x="654" y="30"/>
                  </a:lnTo>
                  <a:lnTo>
                    <a:pt x="642" y="42"/>
                  </a:lnTo>
                  <a:lnTo>
                    <a:pt x="630" y="66"/>
                  </a:lnTo>
                  <a:lnTo>
                    <a:pt x="636" y="84"/>
                  </a:lnTo>
                  <a:lnTo>
                    <a:pt x="636" y="96"/>
                  </a:lnTo>
                  <a:lnTo>
                    <a:pt x="648" y="102"/>
                  </a:lnTo>
                  <a:lnTo>
                    <a:pt x="672" y="114"/>
                  </a:lnTo>
                  <a:lnTo>
                    <a:pt x="702" y="120"/>
                  </a:lnTo>
                  <a:lnTo>
                    <a:pt x="714" y="126"/>
                  </a:lnTo>
                  <a:lnTo>
                    <a:pt x="720" y="144"/>
                  </a:lnTo>
                  <a:lnTo>
                    <a:pt x="720" y="156"/>
                  </a:lnTo>
                  <a:lnTo>
                    <a:pt x="708" y="156"/>
                  </a:lnTo>
                  <a:lnTo>
                    <a:pt x="702" y="162"/>
                  </a:lnTo>
                  <a:lnTo>
                    <a:pt x="702" y="174"/>
                  </a:lnTo>
                  <a:lnTo>
                    <a:pt x="696" y="174"/>
                  </a:lnTo>
                  <a:lnTo>
                    <a:pt x="690" y="180"/>
                  </a:lnTo>
                  <a:lnTo>
                    <a:pt x="678" y="186"/>
                  </a:lnTo>
                  <a:lnTo>
                    <a:pt x="672" y="192"/>
                  </a:lnTo>
                  <a:lnTo>
                    <a:pt x="654" y="210"/>
                  </a:lnTo>
                  <a:lnTo>
                    <a:pt x="654" y="216"/>
                  </a:lnTo>
                  <a:lnTo>
                    <a:pt x="648" y="246"/>
                  </a:lnTo>
                  <a:lnTo>
                    <a:pt x="660" y="246"/>
                  </a:lnTo>
                  <a:lnTo>
                    <a:pt x="666" y="234"/>
                  </a:lnTo>
                  <a:lnTo>
                    <a:pt x="678" y="240"/>
                  </a:lnTo>
                  <a:lnTo>
                    <a:pt x="684" y="228"/>
                  </a:lnTo>
                  <a:lnTo>
                    <a:pt x="690" y="210"/>
                  </a:lnTo>
                  <a:lnTo>
                    <a:pt x="696" y="204"/>
                  </a:lnTo>
                  <a:lnTo>
                    <a:pt x="702" y="204"/>
                  </a:lnTo>
                  <a:lnTo>
                    <a:pt x="708" y="192"/>
                  </a:lnTo>
                  <a:lnTo>
                    <a:pt x="714" y="192"/>
                  </a:lnTo>
                  <a:lnTo>
                    <a:pt x="714" y="186"/>
                  </a:lnTo>
                  <a:lnTo>
                    <a:pt x="726" y="186"/>
                  </a:lnTo>
                  <a:lnTo>
                    <a:pt x="732" y="186"/>
                  </a:lnTo>
                  <a:lnTo>
                    <a:pt x="738" y="186"/>
                  </a:lnTo>
                  <a:lnTo>
                    <a:pt x="744" y="216"/>
                  </a:lnTo>
                  <a:lnTo>
                    <a:pt x="750" y="210"/>
                  </a:lnTo>
                  <a:lnTo>
                    <a:pt x="750" y="204"/>
                  </a:lnTo>
                  <a:lnTo>
                    <a:pt x="756" y="192"/>
                  </a:lnTo>
                  <a:lnTo>
                    <a:pt x="762" y="192"/>
                  </a:lnTo>
                  <a:lnTo>
                    <a:pt x="768" y="192"/>
                  </a:lnTo>
                  <a:lnTo>
                    <a:pt x="780" y="186"/>
                  </a:lnTo>
                  <a:lnTo>
                    <a:pt x="786" y="204"/>
                  </a:lnTo>
                  <a:lnTo>
                    <a:pt x="774" y="210"/>
                  </a:lnTo>
                  <a:lnTo>
                    <a:pt x="774" y="234"/>
                  </a:lnTo>
                  <a:lnTo>
                    <a:pt x="780" y="246"/>
                  </a:lnTo>
                  <a:lnTo>
                    <a:pt x="804" y="264"/>
                  </a:lnTo>
                  <a:lnTo>
                    <a:pt x="816" y="276"/>
                  </a:lnTo>
                  <a:lnTo>
                    <a:pt x="822" y="288"/>
                  </a:lnTo>
                  <a:lnTo>
                    <a:pt x="822" y="312"/>
                  </a:lnTo>
                  <a:lnTo>
                    <a:pt x="816" y="312"/>
                  </a:lnTo>
                  <a:lnTo>
                    <a:pt x="810" y="318"/>
                  </a:lnTo>
                  <a:lnTo>
                    <a:pt x="810" y="348"/>
                  </a:lnTo>
                  <a:lnTo>
                    <a:pt x="816" y="348"/>
                  </a:lnTo>
                  <a:lnTo>
                    <a:pt x="816" y="342"/>
                  </a:lnTo>
                  <a:lnTo>
                    <a:pt x="834" y="342"/>
                  </a:lnTo>
                  <a:lnTo>
                    <a:pt x="834" y="348"/>
                  </a:lnTo>
                  <a:lnTo>
                    <a:pt x="846" y="348"/>
                  </a:lnTo>
                  <a:lnTo>
                    <a:pt x="846" y="342"/>
                  </a:lnTo>
                  <a:lnTo>
                    <a:pt x="882" y="342"/>
                  </a:lnTo>
                  <a:lnTo>
                    <a:pt x="894" y="366"/>
                  </a:lnTo>
                  <a:lnTo>
                    <a:pt x="900" y="372"/>
                  </a:lnTo>
                  <a:lnTo>
                    <a:pt x="906" y="384"/>
                  </a:lnTo>
                  <a:lnTo>
                    <a:pt x="924" y="384"/>
                  </a:lnTo>
                  <a:lnTo>
                    <a:pt x="930" y="372"/>
                  </a:lnTo>
                  <a:lnTo>
                    <a:pt x="936" y="372"/>
                  </a:lnTo>
                  <a:lnTo>
                    <a:pt x="942" y="348"/>
                  </a:lnTo>
                  <a:lnTo>
                    <a:pt x="954" y="348"/>
                  </a:lnTo>
                  <a:lnTo>
                    <a:pt x="954" y="342"/>
                  </a:lnTo>
                  <a:lnTo>
                    <a:pt x="984" y="342"/>
                  </a:lnTo>
                  <a:lnTo>
                    <a:pt x="978" y="390"/>
                  </a:lnTo>
                  <a:lnTo>
                    <a:pt x="984" y="390"/>
                  </a:lnTo>
                  <a:lnTo>
                    <a:pt x="990" y="396"/>
                  </a:lnTo>
                  <a:lnTo>
                    <a:pt x="996" y="396"/>
                  </a:lnTo>
                  <a:lnTo>
                    <a:pt x="1002" y="396"/>
                  </a:lnTo>
                  <a:lnTo>
                    <a:pt x="1002" y="408"/>
                  </a:lnTo>
                  <a:lnTo>
                    <a:pt x="990" y="414"/>
                  </a:lnTo>
                  <a:lnTo>
                    <a:pt x="984" y="426"/>
                  </a:lnTo>
                  <a:lnTo>
                    <a:pt x="990" y="444"/>
                  </a:lnTo>
                  <a:lnTo>
                    <a:pt x="996" y="450"/>
                  </a:lnTo>
                  <a:lnTo>
                    <a:pt x="990" y="462"/>
                  </a:lnTo>
                  <a:lnTo>
                    <a:pt x="990" y="468"/>
                  </a:lnTo>
                  <a:lnTo>
                    <a:pt x="984" y="480"/>
                  </a:lnTo>
                  <a:lnTo>
                    <a:pt x="978" y="486"/>
                  </a:lnTo>
                  <a:lnTo>
                    <a:pt x="972" y="486"/>
                  </a:lnTo>
                  <a:lnTo>
                    <a:pt x="966" y="492"/>
                  </a:lnTo>
                  <a:lnTo>
                    <a:pt x="966" y="498"/>
                  </a:lnTo>
                  <a:lnTo>
                    <a:pt x="954" y="510"/>
                  </a:lnTo>
                  <a:lnTo>
                    <a:pt x="948" y="510"/>
                  </a:lnTo>
                  <a:lnTo>
                    <a:pt x="942" y="516"/>
                  </a:lnTo>
                  <a:lnTo>
                    <a:pt x="936" y="528"/>
                  </a:lnTo>
                  <a:lnTo>
                    <a:pt x="936" y="534"/>
                  </a:lnTo>
                  <a:lnTo>
                    <a:pt x="936" y="546"/>
                  </a:lnTo>
                  <a:lnTo>
                    <a:pt x="936" y="558"/>
                  </a:lnTo>
                  <a:lnTo>
                    <a:pt x="948" y="558"/>
                  </a:lnTo>
                  <a:lnTo>
                    <a:pt x="954" y="558"/>
                  </a:lnTo>
                  <a:lnTo>
                    <a:pt x="996" y="558"/>
                  </a:lnTo>
                  <a:lnTo>
                    <a:pt x="1002" y="570"/>
                  </a:lnTo>
                  <a:lnTo>
                    <a:pt x="996" y="576"/>
                  </a:lnTo>
                  <a:lnTo>
                    <a:pt x="996" y="588"/>
                  </a:lnTo>
                  <a:lnTo>
                    <a:pt x="984" y="588"/>
                  </a:lnTo>
                  <a:lnTo>
                    <a:pt x="990" y="612"/>
                  </a:lnTo>
                  <a:lnTo>
                    <a:pt x="1014" y="606"/>
                  </a:lnTo>
                  <a:lnTo>
                    <a:pt x="1014" y="636"/>
                  </a:lnTo>
                  <a:lnTo>
                    <a:pt x="1014" y="648"/>
                  </a:lnTo>
                  <a:lnTo>
                    <a:pt x="1020" y="648"/>
                  </a:lnTo>
                  <a:lnTo>
                    <a:pt x="1026" y="660"/>
                  </a:lnTo>
                  <a:lnTo>
                    <a:pt x="1038" y="654"/>
                  </a:lnTo>
                  <a:lnTo>
                    <a:pt x="1050" y="654"/>
                  </a:lnTo>
                  <a:lnTo>
                    <a:pt x="1062" y="654"/>
                  </a:lnTo>
                  <a:lnTo>
                    <a:pt x="1068" y="660"/>
                  </a:lnTo>
                  <a:lnTo>
                    <a:pt x="1068" y="678"/>
                  </a:lnTo>
                  <a:lnTo>
                    <a:pt x="1068" y="684"/>
                  </a:lnTo>
                  <a:lnTo>
                    <a:pt x="1062" y="690"/>
                  </a:lnTo>
                  <a:lnTo>
                    <a:pt x="1056" y="696"/>
                  </a:lnTo>
                  <a:lnTo>
                    <a:pt x="1056" y="702"/>
                  </a:lnTo>
                  <a:lnTo>
                    <a:pt x="1038" y="714"/>
                  </a:lnTo>
                  <a:lnTo>
                    <a:pt x="1026" y="720"/>
                  </a:lnTo>
                  <a:lnTo>
                    <a:pt x="1008" y="726"/>
                  </a:lnTo>
                  <a:lnTo>
                    <a:pt x="1008" y="732"/>
                  </a:lnTo>
                  <a:lnTo>
                    <a:pt x="990" y="732"/>
                  </a:lnTo>
                  <a:lnTo>
                    <a:pt x="984" y="744"/>
                  </a:lnTo>
                  <a:lnTo>
                    <a:pt x="990" y="750"/>
                  </a:lnTo>
                  <a:lnTo>
                    <a:pt x="984" y="762"/>
                  </a:lnTo>
                  <a:lnTo>
                    <a:pt x="984" y="768"/>
                  </a:lnTo>
                  <a:lnTo>
                    <a:pt x="984" y="774"/>
                  </a:lnTo>
                  <a:lnTo>
                    <a:pt x="984" y="780"/>
                  </a:lnTo>
                  <a:lnTo>
                    <a:pt x="984" y="786"/>
                  </a:lnTo>
                  <a:lnTo>
                    <a:pt x="984" y="792"/>
                  </a:lnTo>
                  <a:lnTo>
                    <a:pt x="978" y="798"/>
                  </a:lnTo>
                  <a:lnTo>
                    <a:pt x="978" y="80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3" name="Freeform 38">
              <a:extLst>
                <a:ext uri="{FF2B5EF4-FFF2-40B4-BE49-F238E27FC236}">
                  <a16:creationId xmlns:a16="http://schemas.microsoft.com/office/drawing/2014/main" id="{819B99CE-D972-4530-8964-A992C1EC87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2825" y="1634436"/>
              <a:ext cx="959326" cy="959458"/>
            </a:xfrm>
            <a:custGeom>
              <a:avLst/>
              <a:gdLst>
                <a:gd name="T0" fmla="*/ 105 w 1806"/>
                <a:gd name="T1" fmla="*/ 155 h 1806"/>
                <a:gd name="T2" fmla="*/ 103 w 1806"/>
                <a:gd name="T3" fmla="*/ 155 h 1806"/>
                <a:gd name="T4" fmla="*/ 103 w 1806"/>
                <a:gd name="T5" fmla="*/ 150 h 1806"/>
                <a:gd name="T6" fmla="*/ 104 w 1806"/>
                <a:gd name="T7" fmla="*/ 141 h 1806"/>
                <a:gd name="T8" fmla="*/ 104 w 1806"/>
                <a:gd name="T9" fmla="*/ 136 h 1806"/>
                <a:gd name="T10" fmla="*/ 100 w 1806"/>
                <a:gd name="T11" fmla="*/ 131 h 1806"/>
                <a:gd name="T12" fmla="*/ 96 w 1806"/>
                <a:gd name="T13" fmla="*/ 127 h 1806"/>
                <a:gd name="T14" fmla="*/ 91 w 1806"/>
                <a:gd name="T15" fmla="*/ 121 h 1806"/>
                <a:gd name="T16" fmla="*/ 87 w 1806"/>
                <a:gd name="T17" fmla="*/ 120 h 1806"/>
                <a:gd name="T18" fmla="*/ 81 w 1806"/>
                <a:gd name="T19" fmla="*/ 117 h 1806"/>
                <a:gd name="T20" fmla="*/ 65 w 1806"/>
                <a:gd name="T21" fmla="*/ 113 h 1806"/>
                <a:gd name="T22" fmla="*/ 69 w 1806"/>
                <a:gd name="T23" fmla="*/ 105 h 1806"/>
                <a:gd name="T24" fmla="*/ 66 w 1806"/>
                <a:gd name="T25" fmla="*/ 89 h 1806"/>
                <a:gd name="T26" fmla="*/ 63 w 1806"/>
                <a:gd name="T27" fmla="*/ 84 h 1806"/>
                <a:gd name="T28" fmla="*/ 62 w 1806"/>
                <a:gd name="T29" fmla="*/ 74 h 1806"/>
                <a:gd name="T30" fmla="*/ 58 w 1806"/>
                <a:gd name="T31" fmla="*/ 52 h 1806"/>
                <a:gd name="T32" fmla="*/ 53 w 1806"/>
                <a:gd name="T33" fmla="*/ 49 h 1806"/>
                <a:gd name="T34" fmla="*/ 51 w 1806"/>
                <a:gd name="T35" fmla="*/ 36 h 1806"/>
                <a:gd name="T36" fmla="*/ 43 w 1806"/>
                <a:gd name="T37" fmla="*/ 32 h 1806"/>
                <a:gd name="T38" fmla="*/ 33 w 1806"/>
                <a:gd name="T39" fmla="*/ 30 h 1806"/>
                <a:gd name="T40" fmla="*/ 30 w 1806"/>
                <a:gd name="T41" fmla="*/ 21 h 1806"/>
                <a:gd name="T42" fmla="*/ 17 w 1806"/>
                <a:gd name="T43" fmla="*/ 25 h 1806"/>
                <a:gd name="T44" fmla="*/ 4 w 1806"/>
                <a:gd name="T45" fmla="*/ 33 h 1806"/>
                <a:gd name="T46" fmla="*/ 7 w 1806"/>
                <a:gd name="T47" fmla="*/ 26 h 1806"/>
                <a:gd name="T48" fmla="*/ 11 w 1806"/>
                <a:gd name="T49" fmla="*/ 20 h 1806"/>
                <a:gd name="T50" fmla="*/ 18 w 1806"/>
                <a:gd name="T51" fmla="*/ 12 h 1806"/>
                <a:gd name="T52" fmla="*/ 26 w 1806"/>
                <a:gd name="T53" fmla="*/ 8 h 1806"/>
                <a:gd name="T54" fmla="*/ 35 w 1806"/>
                <a:gd name="T55" fmla="*/ 6 h 1806"/>
                <a:gd name="T56" fmla="*/ 44 w 1806"/>
                <a:gd name="T57" fmla="*/ 5 h 1806"/>
                <a:gd name="T58" fmla="*/ 54 w 1806"/>
                <a:gd name="T59" fmla="*/ 2 h 1806"/>
                <a:gd name="T60" fmla="*/ 65 w 1806"/>
                <a:gd name="T61" fmla="*/ 0 h 1806"/>
                <a:gd name="T62" fmla="*/ 76 w 1806"/>
                <a:gd name="T63" fmla="*/ 0 h 1806"/>
                <a:gd name="T64" fmla="*/ 85 w 1806"/>
                <a:gd name="T65" fmla="*/ 0 h 1806"/>
                <a:gd name="T66" fmla="*/ 97 w 1806"/>
                <a:gd name="T67" fmla="*/ 0 h 1806"/>
                <a:gd name="T68" fmla="*/ 108 w 1806"/>
                <a:gd name="T69" fmla="*/ 3 h 1806"/>
                <a:gd name="T70" fmla="*/ 115 w 1806"/>
                <a:gd name="T71" fmla="*/ 5 h 1806"/>
                <a:gd name="T72" fmla="*/ 123 w 1806"/>
                <a:gd name="T73" fmla="*/ 7 h 1806"/>
                <a:gd name="T74" fmla="*/ 133 w 1806"/>
                <a:gd name="T75" fmla="*/ 14 h 1806"/>
                <a:gd name="T76" fmla="*/ 138 w 1806"/>
                <a:gd name="T77" fmla="*/ 16 h 1806"/>
                <a:gd name="T78" fmla="*/ 140 w 1806"/>
                <a:gd name="T79" fmla="*/ 14 h 1806"/>
                <a:gd name="T80" fmla="*/ 145 w 1806"/>
                <a:gd name="T81" fmla="*/ 16 h 1806"/>
                <a:gd name="T82" fmla="*/ 147 w 1806"/>
                <a:gd name="T83" fmla="*/ 16 h 1806"/>
                <a:gd name="T84" fmla="*/ 150 w 1806"/>
                <a:gd name="T85" fmla="*/ 17 h 1806"/>
                <a:gd name="T86" fmla="*/ 152 w 1806"/>
                <a:gd name="T87" fmla="*/ 18 h 1806"/>
                <a:gd name="T88" fmla="*/ 155 w 1806"/>
                <a:gd name="T89" fmla="*/ 37 h 1806"/>
                <a:gd name="T90" fmla="*/ 146 w 1806"/>
                <a:gd name="T91" fmla="*/ 66 h 1806"/>
                <a:gd name="T92" fmla="*/ 143 w 1806"/>
                <a:gd name="T93" fmla="*/ 88 h 1806"/>
                <a:gd name="T94" fmla="*/ 144 w 1806"/>
                <a:gd name="T95" fmla="*/ 98 h 1806"/>
                <a:gd name="T96" fmla="*/ 137 w 1806"/>
                <a:gd name="T97" fmla="*/ 118 h 1806"/>
                <a:gd name="T98" fmla="*/ 132 w 1806"/>
                <a:gd name="T99" fmla="*/ 129 h 1806"/>
                <a:gd name="T100" fmla="*/ 124 w 1806"/>
                <a:gd name="T101" fmla="*/ 135 h 1806"/>
                <a:gd name="T102" fmla="*/ 119 w 1806"/>
                <a:gd name="T103" fmla="*/ 136 h 1806"/>
                <a:gd name="T104" fmla="*/ 116 w 1806"/>
                <a:gd name="T105" fmla="*/ 137 h 1806"/>
                <a:gd name="T106" fmla="*/ 112 w 1806"/>
                <a:gd name="T107" fmla="*/ 139 h 1806"/>
                <a:gd name="T108" fmla="*/ 112 w 1806"/>
                <a:gd name="T109" fmla="*/ 141 h 1806"/>
                <a:gd name="T110" fmla="*/ 116 w 1806"/>
                <a:gd name="T111" fmla="*/ 146 h 1806"/>
                <a:gd name="T112" fmla="*/ 116 w 1806"/>
                <a:gd name="T113" fmla="*/ 151 h 1806"/>
                <a:gd name="T114" fmla="*/ 113 w 1806"/>
                <a:gd name="T115" fmla="*/ 153 h 18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6"/>
                <a:gd name="T175" fmla="*/ 0 h 1806"/>
                <a:gd name="T176" fmla="*/ 1806 w 1806"/>
                <a:gd name="T177" fmla="*/ 1806 h 18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6" h="1806">
                  <a:moveTo>
                    <a:pt x="1260" y="1776"/>
                  </a:moveTo>
                  <a:lnTo>
                    <a:pt x="1254" y="1776"/>
                  </a:lnTo>
                  <a:lnTo>
                    <a:pt x="1248" y="1776"/>
                  </a:lnTo>
                  <a:lnTo>
                    <a:pt x="1242" y="1782"/>
                  </a:lnTo>
                  <a:lnTo>
                    <a:pt x="1236" y="1782"/>
                  </a:lnTo>
                  <a:lnTo>
                    <a:pt x="1230" y="1788"/>
                  </a:lnTo>
                  <a:lnTo>
                    <a:pt x="1224" y="1782"/>
                  </a:lnTo>
                  <a:lnTo>
                    <a:pt x="1218" y="1782"/>
                  </a:lnTo>
                  <a:lnTo>
                    <a:pt x="1218" y="1788"/>
                  </a:lnTo>
                  <a:lnTo>
                    <a:pt x="1212" y="1788"/>
                  </a:lnTo>
                  <a:lnTo>
                    <a:pt x="1206" y="1788"/>
                  </a:lnTo>
                  <a:lnTo>
                    <a:pt x="1206" y="1794"/>
                  </a:lnTo>
                  <a:lnTo>
                    <a:pt x="1200" y="1806"/>
                  </a:lnTo>
                  <a:lnTo>
                    <a:pt x="1194" y="1800"/>
                  </a:lnTo>
                  <a:lnTo>
                    <a:pt x="1194" y="1794"/>
                  </a:lnTo>
                  <a:lnTo>
                    <a:pt x="1194" y="1788"/>
                  </a:lnTo>
                  <a:lnTo>
                    <a:pt x="1188" y="1788"/>
                  </a:lnTo>
                  <a:lnTo>
                    <a:pt x="1188" y="1782"/>
                  </a:lnTo>
                  <a:lnTo>
                    <a:pt x="1188" y="1776"/>
                  </a:lnTo>
                  <a:lnTo>
                    <a:pt x="1194" y="1770"/>
                  </a:lnTo>
                  <a:lnTo>
                    <a:pt x="1194" y="1764"/>
                  </a:lnTo>
                  <a:lnTo>
                    <a:pt x="1194" y="1758"/>
                  </a:lnTo>
                  <a:lnTo>
                    <a:pt x="1194" y="1752"/>
                  </a:lnTo>
                  <a:lnTo>
                    <a:pt x="1200" y="1746"/>
                  </a:lnTo>
                  <a:lnTo>
                    <a:pt x="1200" y="1740"/>
                  </a:lnTo>
                  <a:lnTo>
                    <a:pt x="1200" y="1734"/>
                  </a:lnTo>
                  <a:lnTo>
                    <a:pt x="1188" y="1722"/>
                  </a:lnTo>
                  <a:lnTo>
                    <a:pt x="1188" y="1716"/>
                  </a:lnTo>
                  <a:lnTo>
                    <a:pt x="1194" y="1704"/>
                  </a:lnTo>
                  <a:lnTo>
                    <a:pt x="1194" y="1692"/>
                  </a:lnTo>
                  <a:lnTo>
                    <a:pt x="1200" y="1680"/>
                  </a:lnTo>
                  <a:lnTo>
                    <a:pt x="1200" y="1662"/>
                  </a:lnTo>
                  <a:lnTo>
                    <a:pt x="1200" y="1650"/>
                  </a:lnTo>
                  <a:lnTo>
                    <a:pt x="1206" y="1644"/>
                  </a:lnTo>
                  <a:lnTo>
                    <a:pt x="1206" y="1638"/>
                  </a:lnTo>
                  <a:lnTo>
                    <a:pt x="1206" y="1626"/>
                  </a:lnTo>
                  <a:lnTo>
                    <a:pt x="1206" y="1620"/>
                  </a:lnTo>
                  <a:lnTo>
                    <a:pt x="1206" y="1614"/>
                  </a:lnTo>
                  <a:lnTo>
                    <a:pt x="1200" y="1608"/>
                  </a:lnTo>
                  <a:lnTo>
                    <a:pt x="1200" y="1602"/>
                  </a:lnTo>
                  <a:lnTo>
                    <a:pt x="1200" y="1596"/>
                  </a:lnTo>
                  <a:lnTo>
                    <a:pt x="1200" y="1590"/>
                  </a:lnTo>
                  <a:lnTo>
                    <a:pt x="1200" y="1572"/>
                  </a:lnTo>
                  <a:lnTo>
                    <a:pt x="1200" y="1566"/>
                  </a:lnTo>
                  <a:lnTo>
                    <a:pt x="1200" y="1560"/>
                  </a:lnTo>
                  <a:lnTo>
                    <a:pt x="1194" y="1554"/>
                  </a:lnTo>
                  <a:lnTo>
                    <a:pt x="1188" y="1548"/>
                  </a:lnTo>
                  <a:lnTo>
                    <a:pt x="1188" y="1542"/>
                  </a:lnTo>
                  <a:lnTo>
                    <a:pt x="1176" y="1536"/>
                  </a:lnTo>
                  <a:lnTo>
                    <a:pt x="1176" y="1530"/>
                  </a:lnTo>
                  <a:lnTo>
                    <a:pt x="1170" y="1524"/>
                  </a:lnTo>
                  <a:lnTo>
                    <a:pt x="1170" y="1518"/>
                  </a:lnTo>
                  <a:lnTo>
                    <a:pt x="1164" y="1512"/>
                  </a:lnTo>
                  <a:lnTo>
                    <a:pt x="1158" y="1506"/>
                  </a:lnTo>
                  <a:lnTo>
                    <a:pt x="1152" y="1500"/>
                  </a:lnTo>
                  <a:lnTo>
                    <a:pt x="1146" y="1494"/>
                  </a:lnTo>
                  <a:lnTo>
                    <a:pt x="1140" y="1488"/>
                  </a:lnTo>
                  <a:lnTo>
                    <a:pt x="1134" y="1482"/>
                  </a:lnTo>
                  <a:lnTo>
                    <a:pt x="1128" y="1476"/>
                  </a:lnTo>
                  <a:lnTo>
                    <a:pt x="1122" y="1470"/>
                  </a:lnTo>
                  <a:lnTo>
                    <a:pt x="1116" y="1464"/>
                  </a:lnTo>
                  <a:lnTo>
                    <a:pt x="1110" y="1464"/>
                  </a:lnTo>
                  <a:lnTo>
                    <a:pt x="1104" y="1458"/>
                  </a:lnTo>
                  <a:lnTo>
                    <a:pt x="1098" y="1464"/>
                  </a:lnTo>
                  <a:lnTo>
                    <a:pt x="1092" y="1464"/>
                  </a:lnTo>
                  <a:lnTo>
                    <a:pt x="1086" y="1446"/>
                  </a:lnTo>
                  <a:lnTo>
                    <a:pt x="1086" y="1440"/>
                  </a:lnTo>
                  <a:lnTo>
                    <a:pt x="1080" y="1416"/>
                  </a:lnTo>
                  <a:lnTo>
                    <a:pt x="1068" y="1404"/>
                  </a:lnTo>
                  <a:lnTo>
                    <a:pt x="1062" y="1398"/>
                  </a:lnTo>
                  <a:lnTo>
                    <a:pt x="1056" y="1398"/>
                  </a:lnTo>
                  <a:lnTo>
                    <a:pt x="1050" y="1398"/>
                  </a:lnTo>
                  <a:lnTo>
                    <a:pt x="1044" y="1398"/>
                  </a:lnTo>
                  <a:lnTo>
                    <a:pt x="1044" y="1392"/>
                  </a:lnTo>
                  <a:lnTo>
                    <a:pt x="1038" y="1392"/>
                  </a:lnTo>
                  <a:lnTo>
                    <a:pt x="1032" y="1392"/>
                  </a:lnTo>
                  <a:lnTo>
                    <a:pt x="1020" y="1386"/>
                  </a:lnTo>
                  <a:lnTo>
                    <a:pt x="1014" y="1386"/>
                  </a:lnTo>
                  <a:lnTo>
                    <a:pt x="1014" y="1380"/>
                  </a:lnTo>
                  <a:lnTo>
                    <a:pt x="1008" y="1380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62"/>
                  </a:lnTo>
                  <a:lnTo>
                    <a:pt x="984" y="1356"/>
                  </a:lnTo>
                  <a:lnTo>
                    <a:pt x="978" y="1356"/>
                  </a:lnTo>
                  <a:lnTo>
                    <a:pt x="972" y="1356"/>
                  </a:lnTo>
                  <a:lnTo>
                    <a:pt x="966" y="1356"/>
                  </a:lnTo>
                  <a:lnTo>
                    <a:pt x="966" y="1350"/>
                  </a:lnTo>
                  <a:lnTo>
                    <a:pt x="948" y="1350"/>
                  </a:lnTo>
                  <a:lnTo>
                    <a:pt x="936" y="1344"/>
                  </a:lnTo>
                  <a:lnTo>
                    <a:pt x="930" y="1338"/>
                  </a:lnTo>
                  <a:lnTo>
                    <a:pt x="918" y="1332"/>
                  </a:lnTo>
                  <a:lnTo>
                    <a:pt x="900" y="1326"/>
                  </a:lnTo>
                  <a:lnTo>
                    <a:pt x="864" y="1332"/>
                  </a:lnTo>
                  <a:lnTo>
                    <a:pt x="828" y="1332"/>
                  </a:lnTo>
                  <a:lnTo>
                    <a:pt x="792" y="1314"/>
                  </a:lnTo>
                  <a:lnTo>
                    <a:pt x="780" y="1314"/>
                  </a:lnTo>
                  <a:lnTo>
                    <a:pt x="780" y="1308"/>
                  </a:lnTo>
                  <a:lnTo>
                    <a:pt x="756" y="1296"/>
                  </a:lnTo>
                  <a:lnTo>
                    <a:pt x="756" y="1278"/>
                  </a:lnTo>
                  <a:lnTo>
                    <a:pt x="768" y="1278"/>
                  </a:lnTo>
                  <a:lnTo>
                    <a:pt x="774" y="1272"/>
                  </a:lnTo>
                  <a:lnTo>
                    <a:pt x="780" y="1266"/>
                  </a:lnTo>
                  <a:lnTo>
                    <a:pt x="786" y="1260"/>
                  </a:lnTo>
                  <a:lnTo>
                    <a:pt x="792" y="1254"/>
                  </a:lnTo>
                  <a:lnTo>
                    <a:pt x="798" y="1242"/>
                  </a:lnTo>
                  <a:lnTo>
                    <a:pt x="804" y="1242"/>
                  </a:lnTo>
                  <a:lnTo>
                    <a:pt x="804" y="1206"/>
                  </a:lnTo>
                  <a:lnTo>
                    <a:pt x="804" y="1182"/>
                  </a:lnTo>
                  <a:lnTo>
                    <a:pt x="804" y="1158"/>
                  </a:lnTo>
                  <a:lnTo>
                    <a:pt x="804" y="1134"/>
                  </a:lnTo>
                  <a:lnTo>
                    <a:pt x="798" y="1116"/>
                  </a:lnTo>
                  <a:lnTo>
                    <a:pt x="792" y="1092"/>
                  </a:lnTo>
                  <a:lnTo>
                    <a:pt x="786" y="1062"/>
                  </a:lnTo>
                  <a:lnTo>
                    <a:pt x="768" y="1032"/>
                  </a:lnTo>
                  <a:lnTo>
                    <a:pt x="762" y="1032"/>
                  </a:lnTo>
                  <a:lnTo>
                    <a:pt x="762" y="1020"/>
                  </a:lnTo>
                  <a:lnTo>
                    <a:pt x="762" y="1014"/>
                  </a:lnTo>
                  <a:lnTo>
                    <a:pt x="756" y="1008"/>
                  </a:lnTo>
                  <a:lnTo>
                    <a:pt x="750" y="1002"/>
                  </a:lnTo>
                  <a:lnTo>
                    <a:pt x="738" y="1002"/>
                  </a:lnTo>
                  <a:lnTo>
                    <a:pt x="738" y="990"/>
                  </a:lnTo>
                  <a:lnTo>
                    <a:pt x="726" y="990"/>
                  </a:lnTo>
                  <a:lnTo>
                    <a:pt x="726" y="978"/>
                  </a:lnTo>
                  <a:lnTo>
                    <a:pt x="732" y="972"/>
                  </a:lnTo>
                  <a:lnTo>
                    <a:pt x="732" y="966"/>
                  </a:lnTo>
                  <a:lnTo>
                    <a:pt x="726" y="966"/>
                  </a:lnTo>
                  <a:lnTo>
                    <a:pt x="732" y="948"/>
                  </a:lnTo>
                  <a:lnTo>
                    <a:pt x="726" y="942"/>
                  </a:lnTo>
                  <a:lnTo>
                    <a:pt x="726" y="930"/>
                  </a:lnTo>
                  <a:lnTo>
                    <a:pt x="720" y="924"/>
                  </a:lnTo>
                  <a:lnTo>
                    <a:pt x="714" y="912"/>
                  </a:lnTo>
                  <a:lnTo>
                    <a:pt x="714" y="882"/>
                  </a:lnTo>
                  <a:lnTo>
                    <a:pt x="714" y="870"/>
                  </a:lnTo>
                  <a:lnTo>
                    <a:pt x="714" y="858"/>
                  </a:lnTo>
                  <a:lnTo>
                    <a:pt x="714" y="846"/>
                  </a:lnTo>
                  <a:lnTo>
                    <a:pt x="708" y="822"/>
                  </a:lnTo>
                  <a:lnTo>
                    <a:pt x="702" y="798"/>
                  </a:lnTo>
                  <a:lnTo>
                    <a:pt x="696" y="792"/>
                  </a:lnTo>
                  <a:lnTo>
                    <a:pt x="684" y="726"/>
                  </a:lnTo>
                  <a:lnTo>
                    <a:pt x="678" y="666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66" y="600"/>
                  </a:lnTo>
                  <a:lnTo>
                    <a:pt x="660" y="594"/>
                  </a:lnTo>
                  <a:lnTo>
                    <a:pt x="654" y="594"/>
                  </a:lnTo>
                  <a:lnTo>
                    <a:pt x="636" y="582"/>
                  </a:lnTo>
                  <a:lnTo>
                    <a:pt x="630" y="576"/>
                  </a:lnTo>
                  <a:lnTo>
                    <a:pt x="624" y="576"/>
                  </a:lnTo>
                  <a:lnTo>
                    <a:pt x="618" y="570"/>
                  </a:lnTo>
                  <a:lnTo>
                    <a:pt x="612" y="564"/>
                  </a:lnTo>
                  <a:lnTo>
                    <a:pt x="606" y="558"/>
                  </a:lnTo>
                  <a:lnTo>
                    <a:pt x="606" y="564"/>
                  </a:lnTo>
                  <a:lnTo>
                    <a:pt x="600" y="564"/>
                  </a:lnTo>
                  <a:lnTo>
                    <a:pt x="594" y="558"/>
                  </a:lnTo>
                  <a:lnTo>
                    <a:pt x="594" y="540"/>
                  </a:lnTo>
                  <a:lnTo>
                    <a:pt x="594" y="528"/>
                  </a:lnTo>
                  <a:lnTo>
                    <a:pt x="594" y="516"/>
                  </a:lnTo>
                  <a:lnTo>
                    <a:pt x="594" y="510"/>
                  </a:lnTo>
                  <a:lnTo>
                    <a:pt x="594" y="492"/>
                  </a:lnTo>
                  <a:lnTo>
                    <a:pt x="594" y="456"/>
                  </a:lnTo>
                  <a:lnTo>
                    <a:pt x="588" y="414"/>
                  </a:lnTo>
                  <a:lnTo>
                    <a:pt x="588" y="408"/>
                  </a:lnTo>
                  <a:lnTo>
                    <a:pt x="582" y="396"/>
                  </a:lnTo>
                  <a:lnTo>
                    <a:pt x="582" y="384"/>
                  </a:lnTo>
                  <a:lnTo>
                    <a:pt x="582" y="372"/>
                  </a:lnTo>
                  <a:lnTo>
                    <a:pt x="564" y="372"/>
                  </a:lnTo>
                  <a:lnTo>
                    <a:pt x="552" y="366"/>
                  </a:lnTo>
                  <a:lnTo>
                    <a:pt x="552" y="372"/>
                  </a:lnTo>
                  <a:lnTo>
                    <a:pt x="498" y="372"/>
                  </a:lnTo>
                  <a:lnTo>
                    <a:pt x="498" y="366"/>
                  </a:lnTo>
                  <a:lnTo>
                    <a:pt x="474" y="360"/>
                  </a:lnTo>
                  <a:lnTo>
                    <a:pt x="456" y="354"/>
                  </a:lnTo>
                  <a:lnTo>
                    <a:pt x="438" y="348"/>
                  </a:lnTo>
                  <a:lnTo>
                    <a:pt x="426" y="354"/>
                  </a:lnTo>
                  <a:lnTo>
                    <a:pt x="408" y="360"/>
                  </a:lnTo>
                  <a:lnTo>
                    <a:pt x="378" y="360"/>
                  </a:lnTo>
                  <a:lnTo>
                    <a:pt x="378" y="354"/>
                  </a:lnTo>
                  <a:lnTo>
                    <a:pt x="378" y="348"/>
                  </a:lnTo>
                  <a:lnTo>
                    <a:pt x="378" y="342"/>
                  </a:lnTo>
                  <a:lnTo>
                    <a:pt x="390" y="330"/>
                  </a:lnTo>
                  <a:lnTo>
                    <a:pt x="396" y="312"/>
                  </a:lnTo>
                  <a:lnTo>
                    <a:pt x="396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8"/>
                  </a:lnTo>
                  <a:lnTo>
                    <a:pt x="372" y="234"/>
                  </a:lnTo>
                  <a:lnTo>
                    <a:pt x="354" y="234"/>
                  </a:lnTo>
                  <a:lnTo>
                    <a:pt x="342" y="246"/>
                  </a:lnTo>
                  <a:lnTo>
                    <a:pt x="330" y="252"/>
                  </a:lnTo>
                  <a:lnTo>
                    <a:pt x="318" y="252"/>
                  </a:lnTo>
                  <a:lnTo>
                    <a:pt x="276" y="258"/>
                  </a:lnTo>
                  <a:lnTo>
                    <a:pt x="276" y="264"/>
                  </a:lnTo>
                  <a:lnTo>
                    <a:pt x="252" y="270"/>
                  </a:lnTo>
                  <a:lnTo>
                    <a:pt x="240" y="270"/>
                  </a:lnTo>
                  <a:lnTo>
                    <a:pt x="228" y="276"/>
                  </a:lnTo>
                  <a:lnTo>
                    <a:pt x="210" y="282"/>
                  </a:lnTo>
                  <a:lnTo>
                    <a:pt x="198" y="288"/>
                  </a:lnTo>
                  <a:lnTo>
                    <a:pt x="186" y="294"/>
                  </a:lnTo>
                  <a:lnTo>
                    <a:pt x="174" y="330"/>
                  </a:lnTo>
                  <a:lnTo>
                    <a:pt x="162" y="342"/>
                  </a:lnTo>
                  <a:lnTo>
                    <a:pt x="156" y="354"/>
                  </a:lnTo>
                  <a:lnTo>
                    <a:pt x="150" y="360"/>
                  </a:lnTo>
                  <a:lnTo>
                    <a:pt x="150" y="366"/>
                  </a:lnTo>
                  <a:lnTo>
                    <a:pt x="108" y="372"/>
                  </a:lnTo>
                  <a:lnTo>
                    <a:pt x="60" y="378"/>
                  </a:lnTo>
                  <a:lnTo>
                    <a:pt x="42" y="378"/>
                  </a:lnTo>
                  <a:lnTo>
                    <a:pt x="12" y="378"/>
                  </a:lnTo>
                  <a:lnTo>
                    <a:pt x="6" y="378"/>
                  </a:lnTo>
                  <a:lnTo>
                    <a:pt x="0" y="366"/>
                  </a:lnTo>
                  <a:lnTo>
                    <a:pt x="12" y="360"/>
                  </a:lnTo>
                  <a:lnTo>
                    <a:pt x="24" y="348"/>
                  </a:lnTo>
                  <a:lnTo>
                    <a:pt x="30" y="342"/>
                  </a:lnTo>
                  <a:lnTo>
                    <a:pt x="36" y="330"/>
                  </a:lnTo>
                  <a:lnTo>
                    <a:pt x="72" y="300"/>
                  </a:lnTo>
                  <a:lnTo>
                    <a:pt x="78" y="294"/>
                  </a:lnTo>
                  <a:lnTo>
                    <a:pt x="78" y="288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96" y="270"/>
                  </a:lnTo>
                  <a:lnTo>
                    <a:pt x="102" y="264"/>
                  </a:lnTo>
                  <a:lnTo>
                    <a:pt x="108" y="258"/>
                  </a:lnTo>
                  <a:lnTo>
                    <a:pt x="114" y="246"/>
                  </a:lnTo>
                  <a:lnTo>
                    <a:pt x="120" y="240"/>
                  </a:lnTo>
                  <a:lnTo>
                    <a:pt x="126" y="234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0" y="210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86" y="174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22" y="138"/>
                  </a:lnTo>
                  <a:lnTo>
                    <a:pt x="234" y="132"/>
                  </a:lnTo>
                  <a:lnTo>
                    <a:pt x="246" y="126"/>
                  </a:lnTo>
                  <a:lnTo>
                    <a:pt x="246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88" y="102"/>
                  </a:lnTo>
                  <a:lnTo>
                    <a:pt x="300" y="96"/>
                  </a:lnTo>
                  <a:lnTo>
                    <a:pt x="306" y="90"/>
                  </a:lnTo>
                  <a:lnTo>
                    <a:pt x="318" y="90"/>
                  </a:lnTo>
                  <a:lnTo>
                    <a:pt x="324" y="84"/>
                  </a:lnTo>
                  <a:lnTo>
                    <a:pt x="348" y="72"/>
                  </a:lnTo>
                  <a:lnTo>
                    <a:pt x="354" y="72"/>
                  </a:lnTo>
                  <a:lnTo>
                    <a:pt x="384" y="66"/>
                  </a:lnTo>
                  <a:lnTo>
                    <a:pt x="390" y="66"/>
                  </a:lnTo>
                  <a:lnTo>
                    <a:pt x="396" y="66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66"/>
                  </a:lnTo>
                  <a:lnTo>
                    <a:pt x="438" y="66"/>
                  </a:lnTo>
                  <a:lnTo>
                    <a:pt x="468" y="66"/>
                  </a:lnTo>
                  <a:lnTo>
                    <a:pt x="480" y="66"/>
                  </a:lnTo>
                  <a:lnTo>
                    <a:pt x="486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22" y="60"/>
                  </a:lnTo>
                  <a:lnTo>
                    <a:pt x="534" y="54"/>
                  </a:lnTo>
                  <a:lnTo>
                    <a:pt x="564" y="42"/>
                  </a:lnTo>
                  <a:lnTo>
                    <a:pt x="570" y="42"/>
                  </a:lnTo>
                  <a:lnTo>
                    <a:pt x="582" y="36"/>
                  </a:lnTo>
                  <a:lnTo>
                    <a:pt x="588" y="36"/>
                  </a:lnTo>
                  <a:lnTo>
                    <a:pt x="600" y="30"/>
                  </a:lnTo>
                  <a:lnTo>
                    <a:pt x="606" y="30"/>
                  </a:lnTo>
                  <a:lnTo>
                    <a:pt x="618" y="24"/>
                  </a:lnTo>
                  <a:lnTo>
                    <a:pt x="642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72" y="12"/>
                  </a:lnTo>
                  <a:lnTo>
                    <a:pt x="696" y="12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50" y="6"/>
                  </a:lnTo>
                  <a:lnTo>
                    <a:pt x="768" y="6"/>
                  </a:lnTo>
                  <a:lnTo>
                    <a:pt x="774" y="6"/>
                  </a:lnTo>
                  <a:lnTo>
                    <a:pt x="786" y="6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6" y="6"/>
                  </a:lnTo>
                  <a:lnTo>
                    <a:pt x="846" y="6"/>
                  </a:lnTo>
                  <a:lnTo>
                    <a:pt x="852" y="0"/>
                  </a:lnTo>
                  <a:lnTo>
                    <a:pt x="876" y="0"/>
                  </a:lnTo>
                  <a:lnTo>
                    <a:pt x="876" y="6"/>
                  </a:lnTo>
                  <a:lnTo>
                    <a:pt x="888" y="0"/>
                  </a:lnTo>
                  <a:lnTo>
                    <a:pt x="900" y="0"/>
                  </a:lnTo>
                  <a:lnTo>
                    <a:pt x="906" y="0"/>
                  </a:lnTo>
                  <a:lnTo>
                    <a:pt x="912" y="0"/>
                  </a:lnTo>
                  <a:lnTo>
                    <a:pt x="948" y="0"/>
                  </a:lnTo>
                  <a:lnTo>
                    <a:pt x="954" y="0"/>
                  </a:lnTo>
                  <a:lnTo>
                    <a:pt x="972" y="0"/>
                  </a:lnTo>
                  <a:lnTo>
                    <a:pt x="978" y="0"/>
                  </a:lnTo>
                  <a:lnTo>
                    <a:pt x="996" y="0"/>
                  </a:lnTo>
                  <a:lnTo>
                    <a:pt x="1032" y="0"/>
                  </a:lnTo>
                  <a:lnTo>
                    <a:pt x="1044" y="0"/>
                  </a:lnTo>
                  <a:lnTo>
                    <a:pt x="1050" y="0"/>
                  </a:lnTo>
                  <a:lnTo>
                    <a:pt x="1056" y="6"/>
                  </a:lnTo>
                  <a:lnTo>
                    <a:pt x="1056" y="0"/>
                  </a:lnTo>
                  <a:lnTo>
                    <a:pt x="1074" y="0"/>
                  </a:lnTo>
                  <a:lnTo>
                    <a:pt x="1098" y="6"/>
                  </a:lnTo>
                  <a:lnTo>
                    <a:pt x="1116" y="6"/>
                  </a:lnTo>
                  <a:lnTo>
                    <a:pt x="1140" y="12"/>
                  </a:lnTo>
                  <a:lnTo>
                    <a:pt x="1152" y="12"/>
                  </a:lnTo>
                  <a:lnTo>
                    <a:pt x="1158" y="12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6" y="12"/>
                  </a:lnTo>
                  <a:lnTo>
                    <a:pt x="1194" y="18"/>
                  </a:lnTo>
                  <a:lnTo>
                    <a:pt x="1206" y="18"/>
                  </a:lnTo>
                  <a:lnTo>
                    <a:pt x="1242" y="36"/>
                  </a:lnTo>
                  <a:lnTo>
                    <a:pt x="1248" y="36"/>
                  </a:lnTo>
                  <a:lnTo>
                    <a:pt x="1254" y="36"/>
                  </a:lnTo>
                  <a:lnTo>
                    <a:pt x="1260" y="42"/>
                  </a:lnTo>
                  <a:lnTo>
                    <a:pt x="1272" y="48"/>
                  </a:lnTo>
                  <a:lnTo>
                    <a:pt x="1278" y="48"/>
                  </a:lnTo>
                  <a:lnTo>
                    <a:pt x="1284" y="48"/>
                  </a:lnTo>
                  <a:lnTo>
                    <a:pt x="1290" y="54"/>
                  </a:lnTo>
                  <a:lnTo>
                    <a:pt x="1308" y="60"/>
                  </a:lnTo>
                  <a:lnTo>
                    <a:pt x="1326" y="60"/>
                  </a:lnTo>
                  <a:lnTo>
                    <a:pt x="1338" y="66"/>
                  </a:lnTo>
                  <a:lnTo>
                    <a:pt x="1344" y="66"/>
                  </a:lnTo>
                  <a:lnTo>
                    <a:pt x="1350" y="66"/>
                  </a:lnTo>
                  <a:lnTo>
                    <a:pt x="1356" y="66"/>
                  </a:lnTo>
                  <a:lnTo>
                    <a:pt x="1362" y="72"/>
                  </a:lnTo>
                  <a:lnTo>
                    <a:pt x="1368" y="72"/>
                  </a:lnTo>
                  <a:lnTo>
                    <a:pt x="1380" y="72"/>
                  </a:lnTo>
                  <a:lnTo>
                    <a:pt x="1386" y="72"/>
                  </a:lnTo>
                  <a:lnTo>
                    <a:pt x="1422" y="84"/>
                  </a:lnTo>
                  <a:lnTo>
                    <a:pt x="1428" y="84"/>
                  </a:lnTo>
                  <a:lnTo>
                    <a:pt x="1446" y="90"/>
                  </a:lnTo>
                  <a:lnTo>
                    <a:pt x="1458" y="102"/>
                  </a:lnTo>
                  <a:lnTo>
                    <a:pt x="1494" y="126"/>
                  </a:lnTo>
                  <a:lnTo>
                    <a:pt x="1500" y="132"/>
                  </a:lnTo>
                  <a:lnTo>
                    <a:pt x="1512" y="138"/>
                  </a:lnTo>
                  <a:lnTo>
                    <a:pt x="1512" y="144"/>
                  </a:lnTo>
                  <a:lnTo>
                    <a:pt x="1518" y="150"/>
                  </a:lnTo>
                  <a:lnTo>
                    <a:pt x="1530" y="156"/>
                  </a:lnTo>
                  <a:lnTo>
                    <a:pt x="1530" y="162"/>
                  </a:lnTo>
                  <a:lnTo>
                    <a:pt x="1548" y="168"/>
                  </a:lnTo>
                  <a:lnTo>
                    <a:pt x="1566" y="180"/>
                  </a:lnTo>
                  <a:lnTo>
                    <a:pt x="1578" y="186"/>
                  </a:lnTo>
                  <a:lnTo>
                    <a:pt x="1578" y="180"/>
                  </a:lnTo>
                  <a:lnTo>
                    <a:pt x="1584" y="186"/>
                  </a:lnTo>
                  <a:lnTo>
                    <a:pt x="1584" y="174"/>
                  </a:lnTo>
                  <a:lnTo>
                    <a:pt x="1590" y="174"/>
                  </a:lnTo>
                  <a:lnTo>
                    <a:pt x="1590" y="180"/>
                  </a:lnTo>
                  <a:lnTo>
                    <a:pt x="1596" y="180"/>
                  </a:lnTo>
                  <a:lnTo>
                    <a:pt x="1596" y="174"/>
                  </a:lnTo>
                  <a:lnTo>
                    <a:pt x="1602" y="174"/>
                  </a:lnTo>
                  <a:lnTo>
                    <a:pt x="1608" y="174"/>
                  </a:lnTo>
                  <a:lnTo>
                    <a:pt x="1614" y="180"/>
                  </a:lnTo>
                  <a:lnTo>
                    <a:pt x="1620" y="174"/>
                  </a:lnTo>
                  <a:lnTo>
                    <a:pt x="1614" y="168"/>
                  </a:lnTo>
                  <a:lnTo>
                    <a:pt x="1614" y="162"/>
                  </a:lnTo>
                  <a:lnTo>
                    <a:pt x="1620" y="162"/>
                  </a:lnTo>
                  <a:lnTo>
                    <a:pt x="1626" y="162"/>
                  </a:lnTo>
                  <a:lnTo>
                    <a:pt x="1632" y="162"/>
                  </a:lnTo>
                  <a:lnTo>
                    <a:pt x="1638" y="168"/>
                  </a:lnTo>
                  <a:lnTo>
                    <a:pt x="1644" y="168"/>
                  </a:lnTo>
                  <a:lnTo>
                    <a:pt x="1650" y="174"/>
                  </a:lnTo>
                  <a:lnTo>
                    <a:pt x="1656" y="168"/>
                  </a:lnTo>
                  <a:lnTo>
                    <a:pt x="1668" y="168"/>
                  </a:lnTo>
                  <a:lnTo>
                    <a:pt x="1674" y="174"/>
                  </a:lnTo>
                  <a:lnTo>
                    <a:pt x="1674" y="180"/>
                  </a:lnTo>
                  <a:lnTo>
                    <a:pt x="1674" y="186"/>
                  </a:lnTo>
                  <a:lnTo>
                    <a:pt x="1680" y="186"/>
                  </a:lnTo>
                  <a:lnTo>
                    <a:pt x="1680" y="192"/>
                  </a:lnTo>
                  <a:lnTo>
                    <a:pt x="1686" y="192"/>
                  </a:lnTo>
                  <a:lnTo>
                    <a:pt x="1686" y="186"/>
                  </a:lnTo>
                  <a:lnTo>
                    <a:pt x="1680" y="186"/>
                  </a:lnTo>
                  <a:lnTo>
                    <a:pt x="1686" y="180"/>
                  </a:lnTo>
                  <a:lnTo>
                    <a:pt x="1692" y="180"/>
                  </a:lnTo>
                  <a:lnTo>
                    <a:pt x="1698" y="180"/>
                  </a:lnTo>
                  <a:lnTo>
                    <a:pt x="1704" y="180"/>
                  </a:lnTo>
                  <a:lnTo>
                    <a:pt x="1704" y="186"/>
                  </a:lnTo>
                  <a:lnTo>
                    <a:pt x="1710" y="186"/>
                  </a:lnTo>
                  <a:lnTo>
                    <a:pt x="1716" y="186"/>
                  </a:lnTo>
                  <a:lnTo>
                    <a:pt x="1716" y="192"/>
                  </a:lnTo>
                  <a:lnTo>
                    <a:pt x="1716" y="198"/>
                  </a:lnTo>
                  <a:lnTo>
                    <a:pt x="1722" y="192"/>
                  </a:lnTo>
                  <a:lnTo>
                    <a:pt x="1722" y="186"/>
                  </a:lnTo>
                  <a:lnTo>
                    <a:pt x="1728" y="192"/>
                  </a:lnTo>
                  <a:lnTo>
                    <a:pt x="1734" y="192"/>
                  </a:lnTo>
                  <a:lnTo>
                    <a:pt x="1734" y="186"/>
                  </a:lnTo>
                  <a:lnTo>
                    <a:pt x="1740" y="186"/>
                  </a:lnTo>
                  <a:lnTo>
                    <a:pt x="1740" y="192"/>
                  </a:lnTo>
                  <a:lnTo>
                    <a:pt x="1746" y="192"/>
                  </a:lnTo>
                  <a:lnTo>
                    <a:pt x="1758" y="192"/>
                  </a:lnTo>
                  <a:lnTo>
                    <a:pt x="1764" y="192"/>
                  </a:lnTo>
                  <a:lnTo>
                    <a:pt x="1764" y="198"/>
                  </a:lnTo>
                  <a:lnTo>
                    <a:pt x="1758" y="204"/>
                  </a:lnTo>
                  <a:lnTo>
                    <a:pt x="1752" y="210"/>
                  </a:lnTo>
                  <a:lnTo>
                    <a:pt x="1746" y="216"/>
                  </a:lnTo>
                  <a:lnTo>
                    <a:pt x="1746" y="222"/>
                  </a:lnTo>
                  <a:lnTo>
                    <a:pt x="1734" y="228"/>
                  </a:lnTo>
                  <a:lnTo>
                    <a:pt x="1734" y="234"/>
                  </a:lnTo>
                  <a:lnTo>
                    <a:pt x="1734" y="258"/>
                  </a:lnTo>
                  <a:lnTo>
                    <a:pt x="1740" y="330"/>
                  </a:lnTo>
                  <a:lnTo>
                    <a:pt x="1746" y="372"/>
                  </a:lnTo>
                  <a:lnTo>
                    <a:pt x="1788" y="426"/>
                  </a:lnTo>
                  <a:lnTo>
                    <a:pt x="1806" y="438"/>
                  </a:lnTo>
                  <a:lnTo>
                    <a:pt x="1794" y="480"/>
                  </a:lnTo>
                  <a:lnTo>
                    <a:pt x="1770" y="516"/>
                  </a:lnTo>
                  <a:lnTo>
                    <a:pt x="1746" y="546"/>
                  </a:lnTo>
                  <a:lnTo>
                    <a:pt x="1716" y="570"/>
                  </a:lnTo>
                  <a:lnTo>
                    <a:pt x="1680" y="594"/>
                  </a:lnTo>
                  <a:lnTo>
                    <a:pt x="1668" y="630"/>
                  </a:lnTo>
                  <a:lnTo>
                    <a:pt x="1680" y="684"/>
                  </a:lnTo>
                  <a:lnTo>
                    <a:pt x="1686" y="756"/>
                  </a:lnTo>
                  <a:lnTo>
                    <a:pt x="1662" y="870"/>
                  </a:lnTo>
                  <a:lnTo>
                    <a:pt x="1656" y="888"/>
                  </a:lnTo>
                  <a:lnTo>
                    <a:pt x="1650" y="972"/>
                  </a:lnTo>
                  <a:lnTo>
                    <a:pt x="1656" y="978"/>
                  </a:lnTo>
                  <a:lnTo>
                    <a:pt x="1650" y="984"/>
                  </a:lnTo>
                  <a:lnTo>
                    <a:pt x="1650" y="990"/>
                  </a:lnTo>
                  <a:lnTo>
                    <a:pt x="1650" y="1002"/>
                  </a:lnTo>
                  <a:lnTo>
                    <a:pt x="1656" y="1008"/>
                  </a:lnTo>
                  <a:lnTo>
                    <a:pt x="1656" y="1014"/>
                  </a:lnTo>
                  <a:lnTo>
                    <a:pt x="1662" y="1026"/>
                  </a:lnTo>
                  <a:lnTo>
                    <a:pt x="1650" y="1032"/>
                  </a:lnTo>
                  <a:lnTo>
                    <a:pt x="1638" y="1044"/>
                  </a:lnTo>
                  <a:lnTo>
                    <a:pt x="1626" y="1080"/>
                  </a:lnTo>
                  <a:lnTo>
                    <a:pt x="1614" y="1116"/>
                  </a:lnTo>
                  <a:lnTo>
                    <a:pt x="1614" y="1128"/>
                  </a:lnTo>
                  <a:lnTo>
                    <a:pt x="1626" y="1134"/>
                  </a:lnTo>
                  <a:lnTo>
                    <a:pt x="1644" y="1134"/>
                  </a:lnTo>
                  <a:lnTo>
                    <a:pt x="1662" y="1134"/>
                  </a:lnTo>
                  <a:lnTo>
                    <a:pt x="1680" y="1140"/>
                  </a:lnTo>
                  <a:lnTo>
                    <a:pt x="1698" y="1170"/>
                  </a:lnTo>
                  <a:lnTo>
                    <a:pt x="1704" y="1194"/>
                  </a:lnTo>
                  <a:lnTo>
                    <a:pt x="1692" y="1206"/>
                  </a:lnTo>
                  <a:lnTo>
                    <a:pt x="1662" y="1242"/>
                  </a:lnTo>
                  <a:lnTo>
                    <a:pt x="1632" y="1266"/>
                  </a:lnTo>
                  <a:lnTo>
                    <a:pt x="1620" y="1314"/>
                  </a:lnTo>
                  <a:lnTo>
                    <a:pt x="1584" y="1356"/>
                  </a:lnTo>
                  <a:lnTo>
                    <a:pt x="1578" y="1356"/>
                  </a:lnTo>
                  <a:lnTo>
                    <a:pt x="1578" y="1362"/>
                  </a:lnTo>
                  <a:lnTo>
                    <a:pt x="1572" y="1410"/>
                  </a:lnTo>
                  <a:lnTo>
                    <a:pt x="1584" y="1452"/>
                  </a:lnTo>
                  <a:lnTo>
                    <a:pt x="1608" y="1476"/>
                  </a:lnTo>
                  <a:lnTo>
                    <a:pt x="1596" y="1476"/>
                  </a:lnTo>
                  <a:lnTo>
                    <a:pt x="1584" y="1482"/>
                  </a:lnTo>
                  <a:lnTo>
                    <a:pt x="1560" y="1482"/>
                  </a:lnTo>
                  <a:lnTo>
                    <a:pt x="1536" y="1482"/>
                  </a:lnTo>
                  <a:lnTo>
                    <a:pt x="1524" y="1482"/>
                  </a:lnTo>
                  <a:lnTo>
                    <a:pt x="1506" y="1500"/>
                  </a:lnTo>
                  <a:lnTo>
                    <a:pt x="1482" y="1530"/>
                  </a:lnTo>
                  <a:lnTo>
                    <a:pt x="1452" y="1542"/>
                  </a:lnTo>
                  <a:lnTo>
                    <a:pt x="1446" y="1542"/>
                  </a:lnTo>
                  <a:lnTo>
                    <a:pt x="1440" y="1542"/>
                  </a:lnTo>
                  <a:lnTo>
                    <a:pt x="1440" y="1548"/>
                  </a:lnTo>
                  <a:lnTo>
                    <a:pt x="1434" y="1548"/>
                  </a:lnTo>
                  <a:lnTo>
                    <a:pt x="1428" y="1548"/>
                  </a:lnTo>
                  <a:lnTo>
                    <a:pt x="1428" y="1554"/>
                  </a:lnTo>
                  <a:lnTo>
                    <a:pt x="1422" y="1560"/>
                  </a:lnTo>
                  <a:lnTo>
                    <a:pt x="1416" y="1560"/>
                  </a:lnTo>
                  <a:lnTo>
                    <a:pt x="1410" y="1566"/>
                  </a:lnTo>
                  <a:lnTo>
                    <a:pt x="1410" y="1560"/>
                  </a:lnTo>
                  <a:lnTo>
                    <a:pt x="1404" y="1560"/>
                  </a:lnTo>
                  <a:lnTo>
                    <a:pt x="1392" y="1560"/>
                  </a:lnTo>
                  <a:lnTo>
                    <a:pt x="1386" y="1560"/>
                  </a:lnTo>
                  <a:lnTo>
                    <a:pt x="1380" y="1566"/>
                  </a:lnTo>
                  <a:lnTo>
                    <a:pt x="1374" y="1560"/>
                  </a:lnTo>
                  <a:lnTo>
                    <a:pt x="1368" y="1566"/>
                  </a:lnTo>
                  <a:lnTo>
                    <a:pt x="1362" y="1566"/>
                  </a:lnTo>
                  <a:lnTo>
                    <a:pt x="1362" y="1572"/>
                  </a:lnTo>
                  <a:lnTo>
                    <a:pt x="1356" y="1572"/>
                  </a:lnTo>
                  <a:lnTo>
                    <a:pt x="1356" y="1578"/>
                  </a:lnTo>
                  <a:lnTo>
                    <a:pt x="1350" y="1578"/>
                  </a:lnTo>
                  <a:lnTo>
                    <a:pt x="1350" y="1572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32" y="1584"/>
                  </a:lnTo>
                  <a:lnTo>
                    <a:pt x="1326" y="1590"/>
                  </a:lnTo>
                  <a:lnTo>
                    <a:pt x="1320" y="1584"/>
                  </a:lnTo>
                  <a:lnTo>
                    <a:pt x="1314" y="1590"/>
                  </a:lnTo>
                  <a:lnTo>
                    <a:pt x="1308" y="1596"/>
                  </a:lnTo>
                  <a:lnTo>
                    <a:pt x="1302" y="1596"/>
                  </a:lnTo>
                  <a:lnTo>
                    <a:pt x="1296" y="1596"/>
                  </a:lnTo>
                  <a:lnTo>
                    <a:pt x="1290" y="1596"/>
                  </a:lnTo>
                  <a:lnTo>
                    <a:pt x="1284" y="1596"/>
                  </a:lnTo>
                  <a:lnTo>
                    <a:pt x="1278" y="1602"/>
                  </a:lnTo>
                  <a:lnTo>
                    <a:pt x="1266" y="1602"/>
                  </a:lnTo>
                  <a:lnTo>
                    <a:pt x="1272" y="1608"/>
                  </a:lnTo>
                  <a:lnTo>
                    <a:pt x="1278" y="1608"/>
                  </a:lnTo>
                  <a:lnTo>
                    <a:pt x="1284" y="1608"/>
                  </a:lnTo>
                  <a:lnTo>
                    <a:pt x="1290" y="1614"/>
                  </a:lnTo>
                  <a:lnTo>
                    <a:pt x="1296" y="1620"/>
                  </a:lnTo>
                  <a:lnTo>
                    <a:pt x="1302" y="1626"/>
                  </a:lnTo>
                  <a:lnTo>
                    <a:pt x="1308" y="1632"/>
                  </a:lnTo>
                  <a:lnTo>
                    <a:pt x="1314" y="1638"/>
                  </a:lnTo>
                  <a:lnTo>
                    <a:pt x="1314" y="1644"/>
                  </a:lnTo>
                  <a:lnTo>
                    <a:pt x="1320" y="1644"/>
                  </a:lnTo>
                  <a:lnTo>
                    <a:pt x="1320" y="1650"/>
                  </a:lnTo>
                  <a:lnTo>
                    <a:pt x="1326" y="1656"/>
                  </a:lnTo>
                  <a:lnTo>
                    <a:pt x="1332" y="1668"/>
                  </a:lnTo>
                  <a:lnTo>
                    <a:pt x="1338" y="1680"/>
                  </a:lnTo>
                  <a:lnTo>
                    <a:pt x="1338" y="1698"/>
                  </a:lnTo>
                  <a:lnTo>
                    <a:pt x="1350" y="1710"/>
                  </a:lnTo>
                  <a:lnTo>
                    <a:pt x="1350" y="1716"/>
                  </a:lnTo>
                  <a:lnTo>
                    <a:pt x="1350" y="1722"/>
                  </a:lnTo>
                  <a:lnTo>
                    <a:pt x="1350" y="1728"/>
                  </a:lnTo>
                  <a:lnTo>
                    <a:pt x="1356" y="1728"/>
                  </a:lnTo>
                  <a:lnTo>
                    <a:pt x="1356" y="1734"/>
                  </a:lnTo>
                  <a:lnTo>
                    <a:pt x="1350" y="1734"/>
                  </a:lnTo>
                  <a:lnTo>
                    <a:pt x="1344" y="1740"/>
                  </a:lnTo>
                  <a:lnTo>
                    <a:pt x="1338" y="1740"/>
                  </a:lnTo>
                  <a:lnTo>
                    <a:pt x="1332" y="1746"/>
                  </a:lnTo>
                  <a:lnTo>
                    <a:pt x="1326" y="1746"/>
                  </a:lnTo>
                  <a:lnTo>
                    <a:pt x="1326" y="1752"/>
                  </a:lnTo>
                  <a:lnTo>
                    <a:pt x="1320" y="1752"/>
                  </a:lnTo>
                  <a:lnTo>
                    <a:pt x="1320" y="1758"/>
                  </a:lnTo>
                  <a:lnTo>
                    <a:pt x="1314" y="1758"/>
                  </a:lnTo>
                  <a:lnTo>
                    <a:pt x="1308" y="1758"/>
                  </a:lnTo>
                  <a:lnTo>
                    <a:pt x="1302" y="1758"/>
                  </a:lnTo>
                  <a:lnTo>
                    <a:pt x="1296" y="1758"/>
                  </a:lnTo>
                  <a:lnTo>
                    <a:pt x="1290" y="1764"/>
                  </a:lnTo>
                  <a:lnTo>
                    <a:pt x="1284" y="1770"/>
                  </a:lnTo>
                  <a:lnTo>
                    <a:pt x="1278" y="1770"/>
                  </a:lnTo>
                  <a:lnTo>
                    <a:pt x="1272" y="1770"/>
                  </a:lnTo>
                  <a:lnTo>
                    <a:pt x="1266" y="1770"/>
                  </a:lnTo>
                  <a:lnTo>
                    <a:pt x="1266" y="1776"/>
                  </a:lnTo>
                  <a:lnTo>
                    <a:pt x="1260" y="1776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4" name="Freeform 39">
              <a:extLst>
                <a:ext uri="{FF2B5EF4-FFF2-40B4-BE49-F238E27FC236}">
                  <a16:creationId xmlns:a16="http://schemas.microsoft.com/office/drawing/2014/main" id="{E01CDA8B-32C7-421A-B23E-968CAC7F78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2974" y="1759680"/>
              <a:ext cx="825155" cy="700024"/>
            </a:xfrm>
            <a:custGeom>
              <a:avLst/>
              <a:gdLst>
                <a:gd name="T0" fmla="*/ 60 w 1554"/>
                <a:gd name="T1" fmla="*/ 86 h 1320"/>
                <a:gd name="T2" fmla="*/ 66 w 1554"/>
                <a:gd name="T3" fmla="*/ 80 h 1320"/>
                <a:gd name="T4" fmla="*/ 61 w 1554"/>
                <a:gd name="T5" fmla="*/ 73 h 1320"/>
                <a:gd name="T6" fmla="*/ 57 w 1554"/>
                <a:gd name="T7" fmla="*/ 67 h 1320"/>
                <a:gd name="T8" fmla="*/ 60 w 1554"/>
                <a:gd name="T9" fmla="*/ 59 h 1320"/>
                <a:gd name="T10" fmla="*/ 56 w 1554"/>
                <a:gd name="T11" fmla="*/ 55 h 1320"/>
                <a:gd name="T12" fmla="*/ 45 w 1554"/>
                <a:gd name="T13" fmla="*/ 53 h 1320"/>
                <a:gd name="T14" fmla="*/ 42 w 1554"/>
                <a:gd name="T15" fmla="*/ 41 h 1320"/>
                <a:gd name="T16" fmla="*/ 37 w 1554"/>
                <a:gd name="T17" fmla="*/ 39 h 1320"/>
                <a:gd name="T18" fmla="*/ 31 w 1554"/>
                <a:gd name="T19" fmla="*/ 44 h 1320"/>
                <a:gd name="T20" fmla="*/ 37 w 1554"/>
                <a:gd name="T21" fmla="*/ 35 h 1320"/>
                <a:gd name="T22" fmla="*/ 30 w 1554"/>
                <a:gd name="T23" fmla="*/ 23 h 1320"/>
                <a:gd name="T24" fmla="*/ 21 w 1554"/>
                <a:gd name="T25" fmla="*/ 23 h 1320"/>
                <a:gd name="T26" fmla="*/ 15 w 1554"/>
                <a:gd name="T27" fmla="*/ 27 h 1320"/>
                <a:gd name="T28" fmla="*/ 11 w 1554"/>
                <a:gd name="T29" fmla="*/ 32 h 1320"/>
                <a:gd name="T30" fmla="*/ 6 w 1554"/>
                <a:gd name="T31" fmla="*/ 22 h 1320"/>
                <a:gd name="T32" fmla="*/ 3 w 1554"/>
                <a:gd name="T33" fmla="*/ 11 h 1320"/>
                <a:gd name="T34" fmla="*/ 24 w 1554"/>
                <a:gd name="T35" fmla="*/ 12 h 1320"/>
                <a:gd name="T36" fmla="*/ 33 w 1554"/>
                <a:gd name="T37" fmla="*/ 19 h 1320"/>
                <a:gd name="T38" fmla="*/ 49 w 1554"/>
                <a:gd name="T39" fmla="*/ 12 h 1320"/>
                <a:gd name="T40" fmla="*/ 58 w 1554"/>
                <a:gd name="T41" fmla="*/ 10 h 1320"/>
                <a:gd name="T42" fmla="*/ 68 w 1554"/>
                <a:gd name="T43" fmla="*/ 11 h 1320"/>
                <a:gd name="T44" fmla="*/ 79 w 1554"/>
                <a:gd name="T45" fmla="*/ 12 h 1320"/>
                <a:gd name="T46" fmla="*/ 96 w 1554"/>
                <a:gd name="T47" fmla="*/ 11 h 1320"/>
                <a:gd name="T48" fmla="*/ 107 w 1554"/>
                <a:gd name="T49" fmla="*/ 2 h 1320"/>
                <a:gd name="T50" fmla="*/ 117 w 1554"/>
                <a:gd name="T51" fmla="*/ 8 h 1320"/>
                <a:gd name="T52" fmla="*/ 126 w 1554"/>
                <a:gd name="T53" fmla="*/ 12 h 1320"/>
                <a:gd name="T54" fmla="*/ 134 w 1554"/>
                <a:gd name="T55" fmla="*/ 24 h 1320"/>
                <a:gd name="T56" fmla="*/ 133 w 1554"/>
                <a:gd name="T57" fmla="*/ 29 h 1320"/>
                <a:gd name="T58" fmla="*/ 129 w 1554"/>
                <a:gd name="T59" fmla="*/ 31 h 1320"/>
                <a:gd name="T60" fmla="*/ 125 w 1554"/>
                <a:gd name="T61" fmla="*/ 32 h 1320"/>
                <a:gd name="T62" fmla="*/ 115 w 1554"/>
                <a:gd name="T63" fmla="*/ 34 h 1320"/>
                <a:gd name="T64" fmla="*/ 113 w 1554"/>
                <a:gd name="T65" fmla="*/ 44 h 1320"/>
                <a:gd name="T66" fmla="*/ 111 w 1554"/>
                <a:gd name="T67" fmla="*/ 54 h 1320"/>
                <a:gd name="T68" fmla="*/ 107 w 1554"/>
                <a:gd name="T69" fmla="*/ 56 h 1320"/>
                <a:gd name="T70" fmla="*/ 102 w 1554"/>
                <a:gd name="T71" fmla="*/ 58 h 1320"/>
                <a:gd name="T72" fmla="*/ 99 w 1554"/>
                <a:gd name="T73" fmla="*/ 60 h 1320"/>
                <a:gd name="T74" fmla="*/ 93 w 1554"/>
                <a:gd name="T75" fmla="*/ 62 h 1320"/>
                <a:gd name="T76" fmla="*/ 87 w 1554"/>
                <a:gd name="T77" fmla="*/ 64 h 1320"/>
                <a:gd name="T78" fmla="*/ 84 w 1554"/>
                <a:gd name="T79" fmla="*/ 65 h 1320"/>
                <a:gd name="T80" fmla="*/ 81 w 1554"/>
                <a:gd name="T81" fmla="*/ 69 h 1320"/>
                <a:gd name="T82" fmla="*/ 83 w 1554"/>
                <a:gd name="T83" fmla="*/ 72 h 1320"/>
                <a:gd name="T84" fmla="*/ 92 w 1554"/>
                <a:gd name="T85" fmla="*/ 73 h 1320"/>
                <a:gd name="T86" fmla="*/ 93 w 1554"/>
                <a:gd name="T87" fmla="*/ 87 h 1320"/>
                <a:gd name="T88" fmla="*/ 104 w 1554"/>
                <a:gd name="T89" fmla="*/ 98 h 1320"/>
                <a:gd name="T90" fmla="*/ 108 w 1554"/>
                <a:gd name="T91" fmla="*/ 98 h 1320"/>
                <a:gd name="T92" fmla="*/ 112 w 1554"/>
                <a:gd name="T93" fmla="*/ 100 h 1320"/>
                <a:gd name="T94" fmla="*/ 118 w 1554"/>
                <a:gd name="T95" fmla="*/ 100 h 1320"/>
                <a:gd name="T96" fmla="*/ 122 w 1554"/>
                <a:gd name="T97" fmla="*/ 102 h 1320"/>
                <a:gd name="T98" fmla="*/ 118 w 1554"/>
                <a:gd name="T99" fmla="*/ 105 h 1320"/>
                <a:gd name="T100" fmla="*/ 114 w 1554"/>
                <a:gd name="T101" fmla="*/ 107 h 1320"/>
                <a:gd name="T102" fmla="*/ 113 w 1554"/>
                <a:gd name="T103" fmla="*/ 113 h 1320"/>
                <a:gd name="T104" fmla="*/ 104 w 1554"/>
                <a:gd name="T105" fmla="*/ 113 h 1320"/>
                <a:gd name="T106" fmla="*/ 93 w 1554"/>
                <a:gd name="T107" fmla="*/ 109 h 1320"/>
                <a:gd name="T108" fmla="*/ 96 w 1554"/>
                <a:gd name="T109" fmla="*/ 103 h 1320"/>
                <a:gd name="T110" fmla="*/ 95 w 1554"/>
                <a:gd name="T111" fmla="*/ 97 h 1320"/>
                <a:gd name="T112" fmla="*/ 87 w 1554"/>
                <a:gd name="T113" fmla="*/ 98 h 1320"/>
                <a:gd name="T114" fmla="*/ 81 w 1554"/>
                <a:gd name="T115" fmla="*/ 98 h 1320"/>
                <a:gd name="T116" fmla="*/ 78 w 1554"/>
                <a:gd name="T117" fmla="*/ 93 h 1320"/>
                <a:gd name="T118" fmla="*/ 65 w 1554"/>
                <a:gd name="T119" fmla="*/ 92 h 1320"/>
                <a:gd name="T120" fmla="*/ 59 w 1554"/>
                <a:gd name="T121" fmla="*/ 92 h 13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54"/>
                <a:gd name="T184" fmla="*/ 0 h 1320"/>
                <a:gd name="T185" fmla="*/ 1554 w 1554"/>
                <a:gd name="T186" fmla="*/ 1320 h 132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54" h="1320">
                  <a:moveTo>
                    <a:pt x="684" y="1068"/>
                  </a:moveTo>
                  <a:lnTo>
                    <a:pt x="684" y="1062"/>
                  </a:lnTo>
                  <a:lnTo>
                    <a:pt x="690" y="1056"/>
                  </a:lnTo>
                  <a:lnTo>
                    <a:pt x="690" y="1050"/>
                  </a:lnTo>
                  <a:lnTo>
                    <a:pt x="690" y="1044"/>
                  </a:lnTo>
                  <a:lnTo>
                    <a:pt x="690" y="1038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14"/>
                  </a:lnTo>
                  <a:lnTo>
                    <a:pt x="690" y="1008"/>
                  </a:lnTo>
                  <a:lnTo>
                    <a:pt x="696" y="996"/>
                  </a:lnTo>
                  <a:lnTo>
                    <a:pt x="714" y="996"/>
                  </a:lnTo>
                  <a:lnTo>
                    <a:pt x="714" y="990"/>
                  </a:lnTo>
                  <a:lnTo>
                    <a:pt x="732" y="984"/>
                  </a:lnTo>
                  <a:lnTo>
                    <a:pt x="744" y="978"/>
                  </a:lnTo>
                  <a:lnTo>
                    <a:pt x="762" y="966"/>
                  </a:lnTo>
                  <a:lnTo>
                    <a:pt x="762" y="960"/>
                  </a:lnTo>
                  <a:lnTo>
                    <a:pt x="768" y="954"/>
                  </a:lnTo>
                  <a:lnTo>
                    <a:pt x="774" y="948"/>
                  </a:lnTo>
                  <a:lnTo>
                    <a:pt x="774" y="942"/>
                  </a:lnTo>
                  <a:lnTo>
                    <a:pt x="774" y="924"/>
                  </a:lnTo>
                  <a:lnTo>
                    <a:pt x="768" y="918"/>
                  </a:lnTo>
                  <a:lnTo>
                    <a:pt x="756" y="918"/>
                  </a:lnTo>
                  <a:lnTo>
                    <a:pt x="744" y="918"/>
                  </a:lnTo>
                  <a:lnTo>
                    <a:pt x="732" y="924"/>
                  </a:lnTo>
                  <a:lnTo>
                    <a:pt x="726" y="912"/>
                  </a:lnTo>
                  <a:lnTo>
                    <a:pt x="720" y="912"/>
                  </a:lnTo>
                  <a:lnTo>
                    <a:pt x="720" y="900"/>
                  </a:lnTo>
                  <a:lnTo>
                    <a:pt x="720" y="870"/>
                  </a:lnTo>
                  <a:lnTo>
                    <a:pt x="696" y="876"/>
                  </a:lnTo>
                  <a:lnTo>
                    <a:pt x="690" y="852"/>
                  </a:lnTo>
                  <a:lnTo>
                    <a:pt x="702" y="852"/>
                  </a:lnTo>
                  <a:lnTo>
                    <a:pt x="702" y="840"/>
                  </a:lnTo>
                  <a:lnTo>
                    <a:pt x="708" y="834"/>
                  </a:lnTo>
                  <a:lnTo>
                    <a:pt x="702" y="822"/>
                  </a:lnTo>
                  <a:lnTo>
                    <a:pt x="660" y="822"/>
                  </a:lnTo>
                  <a:lnTo>
                    <a:pt x="654" y="822"/>
                  </a:lnTo>
                  <a:lnTo>
                    <a:pt x="642" y="822"/>
                  </a:lnTo>
                  <a:lnTo>
                    <a:pt x="642" y="810"/>
                  </a:lnTo>
                  <a:lnTo>
                    <a:pt x="642" y="798"/>
                  </a:lnTo>
                  <a:lnTo>
                    <a:pt x="642" y="792"/>
                  </a:lnTo>
                  <a:lnTo>
                    <a:pt x="648" y="780"/>
                  </a:lnTo>
                  <a:lnTo>
                    <a:pt x="654" y="774"/>
                  </a:lnTo>
                  <a:lnTo>
                    <a:pt x="660" y="774"/>
                  </a:lnTo>
                  <a:lnTo>
                    <a:pt x="672" y="762"/>
                  </a:lnTo>
                  <a:lnTo>
                    <a:pt x="672" y="756"/>
                  </a:lnTo>
                  <a:lnTo>
                    <a:pt x="678" y="750"/>
                  </a:lnTo>
                  <a:lnTo>
                    <a:pt x="684" y="750"/>
                  </a:lnTo>
                  <a:lnTo>
                    <a:pt x="690" y="744"/>
                  </a:lnTo>
                  <a:lnTo>
                    <a:pt x="696" y="732"/>
                  </a:lnTo>
                  <a:lnTo>
                    <a:pt x="696" y="726"/>
                  </a:lnTo>
                  <a:lnTo>
                    <a:pt x="702" y="714"/>
                  </a:lnTo>
                  <a:lnTo>
                    <a:pt x="696" y="708"/>
                  </a:lnTo>
                  <a:lnTo>
                    <a:pt x="690" y="690"/>
                  </a:lnTo>
                  <a:lnTo>
                    <a:pt x="696" y="678"/>
                  </a:lnTo>
                  <a:lnTo>
                    <a:pt x="708" y="672"/>
                  </a:lnTo>
                  <a:lnTo>
                    <a:pt x="708" y="660"/>
                  </a:lnTo>
                  <a:lnTo>
                    <a:pt x="702" y="660"/>
                  </a:lnTo>
                  <a:lnTo>
                    <a:pt x="696" y="660"/>
                  </a:lnTo>
                  <a:lnTo>
                    <a:pt x="690" y="654"/>
                  </a:lnTo>
                  <a:lnTo>
                    <a:pt x="684" y="654"/>
                  </a:lnTo>
                  <a:lnTo>
                    <a:pt x="690" y="606"/>
                  </a:lnTo>
                  <a:lnTo>
                    <a:pt x="660" y="606"/>
                  </a:lnTo>
                  <a:lnTo>
                    <a:pt x="660" y="612"/>
                  </a:lnTo>
                  <a:lnTo>
                    <a:pt x="648" y="612"/>
                  </a:lnTo>
                  <a:lnTo>
                    <a:pt x="642" y="636"/>
                  </a:lnTo>
                  <a:lnTo>
                    <a:pt x="636" y="636"/>
                  </a:lnTo>
                  <a:lnTo>
                    <a:pt x="630" y="648"/>
                  </a:lnTo>
                  <a:lnTo>
                    <a:pt x="612" y="648"/>
                  </a:lnTo>
                  <a:lnTo>
                    <a:pt x="606" y="636"/>
                  </a:lnTo>
                  <a:lnTo>
                    <a:pt x="600" y="630"/>
                  </a:lnTo>
                  <a:lnTo>
                    <a:pt x="588" y="606"/>
                  </a:lnTo>
                  <a:lnTo>
                    <a:pt x="552" y="606"/>
                  </a:lnTo>
                  <a:lnTo>
                    <a:pt x="552" y="612"/>
                  </a:lnTo>
                  <a:lnTo>
                    <a:pt x="540" y="612"/>
                  </a:lnTo>
                  <a:lnTo>
                    <a:pt x="540" y="606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16" y="612"/>
                  </a:lnTo>
                  <a:lnTo>
                    <a:pt x="516" y="582"/>
                  </a:lnTo>
                  <a:lnTo>
                    <a:pt x="522" y="576"/>
                  </a:lnTo>
                  <a:lnTo>
                    <a:pt x="528" y="576"/>
                  </a:lnTo>
                  <a:lnTo>
                    <a:pt x="528" y="552"/>
                  </a:lnTo>
                  <a:lnTo>
                    <a:pt x="522" y="540"/>
                  </a:lnTo>
                  <a:lnTo>
                    <a:pt x="510" y="528"/>
                  </a:lnTo>
                  <a:lnTo>
                    <a:pt x="486" y="510"/>
                  </a:lnTo>
                  <a:lnTo>
                    <a:pt x="480" y="498"/>
                  </a:lnTo>
                  <a:lnTo>
                    <a:pt x="480" y="474"/>
                  </a:lnTo>
                  <a:lnTo>
                    <a:pt x="492" y="468"/>
                  </a:lnTo>
                  <a:lnTo>
                    <a:pt x="486" y="450"/>
                  </a:lnTo>
                  <a:lnTo>
                    <a:pt x="474" y="456"/>
                  </a:lnTo>
                  <a:lnTo>
                    <a:pt x="468" y="456"/>
                  </a:lnTo>
                  <a:lnTo>
                    <a:pt x="462" y="456"/>
                  </a:lnTo>
                  <a:lnTo>
                    <a:pt x="456" y="468"/>
                  </a:lnTo>
                  <a:lnTo>
                    <a:pt x="456" y="474"/>
                  </a:lnTo>
                  <a:lnTo>
                    <a:pt x="450" y="480"/>
                  </a:lnTo>
                  <a:lnTo>
                    <a:pt x="444" y="450"/>
                  </a:lnTo>
                  <a:lnTo>
                    <a:pt x="438" y="450"/>
                  </a:lnTo>
                  <a:lnTo>
                    <a:pt x="432" y="450"/>
                  </a:lnTo>
                  <a:lnTo>
                    <a:pt x="420" y="450"/>
                  </a:lnTo>
                  <a:lnTo>
                    <a:pt x="420" y="456"/>
                  </a:lnTo>
                  <a:lnTo>
                    <a:pt x="414" y="456"/>
                  </a:lnTo>
                  <a:lnTo>
                    <a:pt x="408" y="468"/>
                  </a:lnTo>
                  <a:lnTo>
                    <a:pt x="402" y="468"/>
                  </a:lnTo>
                  <a:lnTo>
                    <a:pt x="396" y="474"/>
                  </a:lnTo>
                  <a:lnTo>
                    <a:pt x="390" y="492"/>
                  </a:lnTo>
                  <a:lnTo>
                    <a:pt x="384" y="504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54" y="510"/>
                  </a:lnTo>
                  <a:lnTo>
                    <a:pt x="360" y="480"/>
                  </a:lnTo>
                  <a:lnTo>
                    <a:pt x="360" y="474"/>
                  </a:lnTo>
                  <a:lnTo>
                    <a:pt x="378" y="456"/>
                  </a:lnTo>
                  <a:lnTo>
                    <a:pt x="384" y="450"/>
                  </a:lnTo>
                  <a:lnTo>
                    <a:pt x="396" y="444"/>
                  </a:lnTo>
                  <a:lnTo>
                    <a:pt x="402" y="438"/>
                  </a:lnTo>
                  <a:lnTo>
                    <a:pt x="408" y="438"/>
                  </a:lnTo>
                  <a:lnTo>
                    <a:pt x="408" y="426"/>
                  </a:lnTo>
                  <a:lnTo>
                    <a:pt x="414" y="420"/>
                  </a:lnTo>
                  <a:lnTo>
                    <a:pt x="426" y="420"/>
                  </a:lnTo>
                  <a:lnTo>
                    <a:pt x="426" y="408"/>
                  </a:lnTo>
                  <a:lnTo>
                    <a:pt x="420" y="390"/>
                  </a:lnTo>
                  <a:lnTo>
                    <a:pt x="408" y="384"/>
                  </a:lnTo>
                  <a:lnTo>
                    <a:pt x="378" y="378"/>
                  </a:lnTo>
                  <a:lnTo>
                    <a:pt x="354" y="366"/>
                  </a:lnTo>
                  <a:lnTo>
                    <a:pt x="342" y="360"/>
                  </a:lnTo>
                  <a:lnTo>
                    <a:pt x="342" y="348"/>
                  </a:lnTo>
                  <a:lnTo>
                    <a:pt x="336" y="330"/>
                  </a:lnTo>
                  <a:lnTo>
                    <a:pt x="348" y="306"/>
                  </a:lnTo>
                  <a:lnTo>
                    <a:pt x="360" y="294"/>
                  </a:lnTo>
                  <a:lnTo>
                    <a:pt x="360" y="282"/>
                  </a:lnTo>
                  <a:lnTo>
                    <a:pt x="342" y="270"/>
                  </a:lnTo>
                  <a:lnTo>
                    <a:pt x="342" y="264"/>
                  </a:lnTo>
                  <a:lnTo>
                    <a:pt x="330" y="264"/>
                  </a:lnTo>
                  <a:lnTo>
                    <a:pt x="312" y="270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88" y="270"/>
                  </a:lnTo>
                  <a:lnTo>
                    <a:pt x="282" y="270"/>
                  </a:lnTo>
                  <a:lnTo>
                    <a:pt x="276" y="264"/>
                  </a:lnTo>
                  <a:lnTo>
                    <a:pt x="270" y="264"/>
                  </a:lnTo>
                  <a:lnTo>
                    <a:pt x="252" y="270"/>
                  </a:lnTo>
                  <a:lnTo>
                    <a:pt x="246" y="270"/>
                  </a:lnTo>
                  <a:lnTo>
                    <a:pt x="240" y="270"/>
                  </a:lnTo>
                  <a:lnTo>
                    <a:pt x="228" y="270"/>
                  </a:lnTo>
                  <a:lnTo>
                    <a:pt x="216" y="276"/>
                  </a:lnTo>
                  <a:lnTo>
                    <a:pt x="210" y="270"/>
                  </a:lnTo>
                  <a:lnTo>
                    <a:pt x="204" y="270"/>
                  </a:lnTo>
                  <a:lnTo>
                    <a:pt x="198" y="276"/>
                  </a:lnTo>
                  <a:lnTo>
                    <a:pt x="192" y="276"/>
                  </a:lnTo>
                  <a:lnTo>
                    <a:pt x="186" y="282"/>
                  </a:lnTo>
                  <a:lnTo>
                    <a:pt x="180" y="288"/>
                  </a:lnTo>
                  <a:lnTo>
                    <a:pt x="174" y="300"/>
                  </a:lnTo>
                  <a:lnTo>
                    <a:pt x="168" y="306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8" y="330"/>
                  </a:lnTo>
                  <a:lnTo>
                    <a:pt x="162" y="336"/>
                  </a:lnTo>
                  <a:lnTo>
                    <a:pt x="156" y="342"/>
                  </a:lnTo>
                  <a:lnTo>
                    <a:pt x="156" y="348"/>
                  </a:lnTo>
                  <a:lnTo>
                    <a:pt x="156" y="354"/>
                  </a:lnTo>
                  <a:lnTo>
                    <a:pt x="150" y="366"/>
                  </a:lnTo>
                  <a:lnTo>
                    <a:pt x="150" y="372"/>
                  </a:lnTo>
                  <a:lnTo>
                    <a:pt x="144" y="366"/>
                  </a:lnTo>
                  <a:lnTo>
                    <a:pt x="132" y="366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20" y="348"/>
                  </a:lnTo>
                  <a:lnTo>
                    <a:pt x="102" y="330"/>
                  </a:lnTo>
                  <a:lnTo>
                    <a:pt x="96" y="318"/>
                  </a:lnTo>
                  <a:lnTo>
                    <a:pt x="96" y="282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0" y="258"/>
                  </a:lnTo>
                  <a:lnTo>
                    <a:pt x="84" y="252"/>
                  </a:lnTo>
                  <a:lnTo>
                    <a:pt x="66" y="258"/>
                  </a:lnTo>
                  <a:lnTo>
                    <a:pt x="60" y="246"/>
                  </a:lnTo>
                  <a:lnTo>
                    <a:pt x="30" y="252"/>
                  </a:lnTo>
                  <a:lnTo>
                    <a:pt x="18" y="246"/>
                  </a:lnTo>
                  <a:lnTo>
                    <a:pt x="0" y="240"/>
                  </a:lnTo>
                  <a:lnTo>
                    <a:pt x="0" y="234"/>
                  </a:lnTo>
                  <a:lnTo>
                    <a:pt x="0" y="210"/>
                  </a:lnTo>
                  <a:lnTo>
                    <a:pt x="6" y="204"/>
                  </a:lnTo>
                  <a:lnTo>
                    <a:pt x="18" y="192"/>
                  </a:lnTo>
                  <a:lnTo>
                    <a:pt x="18" y="144"/>
                  </a:lnTo>
                  <a:lnTo>
                    <a:pt x="24" y="126"/>
                  </a:lnTo>
                  <a:lnTo>
                    <a:pt x="36" y="126"/>
                  </a:lnTo>
                  <a:lnTo>
                    <a:pt x="54" y="120"/>
                  </a:lnTo>
                  <a:lnTo>
                    <a:pt x="54" y="126"/>
                  </a:lnTo>
                  <a:lnTo>
                    <a:pt x="132" y="114"/>
                  </a:lnTo>
                  <a:lnTo>
                    <a:pt x="144" y="120"/>
                  </a:lnTo>
                  <a:lnTo>
                    <a:pt x="150" y="132"/>
                  </a:lnTo>
                  <a:lnTo>
                    <a:pt x="180" y="126"/>
                  </a:lnTo>
                  <a:lnTo>
                    <a:pt x="210" y="120"/>
                  </a:lnTo>
                  <a:lnTo>
                    <a:pt x="240" y="120"/>
                  </a:lnTo>
                  <a:lnTo>
                    <a:pt x="258" y="120"/>
                  </a:lnTo>
                  <a:lnTo>
                    <a:pt x="270" y="126"/>
                  </a:lnTo>
                  <a:lnTo>
                    <a:pt x="276" y="132"/>
                  </a:lnTo>
                  <a:lnTo>
                    <a:pt x="282" y="138"/>
                  </a:lnTo>
                  <a:lnTo>
                    <a:pt x="282" y="156"/>
                  </a:lnTo>
                  <a:lnTo>
                    <a:pt x="288" y="186"/>
                  </a:lnTo>
                  <a:lnTo>
                    <a:pt x="312" y="192"/>
                  </a:lnTo>
                  <a:lnTo>
                    <a:pt x="318" y="198"/>
                  </a:lnTo>
                  <a:lnTo>
                    <a:pt x="324" y="204"/>
                  </a:lnTo>
                  <a:lnTo>
                    <a:pt x="330" y="210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66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86" y="210"/>
                  </a:lnTo>
                  <a:lnTo>
                    <a:pt x="498" y="198"/>
                  </a:lnTo>
                  <a:lnTo>
                    <a:pt x="504" y="174"/>
                  </a:lnTo>
                  <a:lnTo>
                    <a:pt x="516" y="162"/>
                  </a:lnTo>
                  <a:lnTo>
                    <a:pt x="516" y="138"/>
                  </a:lnTo>
                  <a:lnTo>
                    <a:pt x="522" y="132"/>
                  </a:lnTo>
                  <a:lnTo>
                    <a:pt x="564" y="132"/>
                  </a:lnTo>
                  <a:lnTo>
                    <a:pt x="564" y="114"/>
                  </a:lnTo>
                  <a:lnTo>
                    <a:pt x="582" y="114"/>
                  </a:lnTo>
                  <a:lnTo>
                    <a:pt x="594" y="114"/>
                  </a:lnTo>
                  <a:lnTo>
                    <a:pt x="606" y="114"/>
                  </a:lnTo>
                  <a:lnTo>
                    <a:pt x="612" y="114"/>
                  </a:lnTo>
                  <a:lnTo>
                    <a:pt x="630" y="114"/>
                  </a:lnTo>
                  <a:lnTo>
                    <a:pt x="636" y="114"/>
                  </a:lnTo>
                  <a:lnTo>
                    <a:pt x="648" y="114"/>
                  </a:lnTo>
                  <a:lnTo>
                    <a:pt x="654" y="114"/>
                  </a:lnTo>
                  <a:lnTo>
                    <a:pt x="660" y="120"/>
                  </a:lnTo>
                  <a:lnTo>
                    <a:pt x="672" y="120"/>
                  </a:lnTo>
                  <a:lnTo>
                    <a:pt x="684" y="120"/>
                  </a:lnTo>
                  <a:lnTo>
                    <a:pt x="690" y="120"/>
                  </a:lnTo>
                  <a:lnTo>
                    <a:pt x="702" y="120"/>
                  </a:lnTo>
                  <a:lnTo>
                    <a:pt x="708" y="120"/>
                  </a:lnTo>
                  <a:lnTo>
                    <a:pt x="726" y="126"/>
                  </a:lnTo>
                  <a:lnTo>
                    <a:pt x="732" y="126"/>
                  </a:lnTo>
                  <a:lnTo>
                    <a:pt x="738" y="126"/>
                  </a:lnTo>
                  <a:lnTo>
                    <a:pt x="750" y="126"/>
                  </a:lnTo>
                  <a:lnTo>
                    <a:pt x="756" y="126"/>
                  </a:lnTo>
                  <a:lnTo>
                    <a:pt x="768" y="126"/>
                  </a:lnTo>
                  <a:lnTo>
                    <a:pt x="780" y="126"/>
                  </a:lnTo>
                  <a:lnTo>
                    <a:pt x="786" y="120"/>
                  </a:lnTo>
                  <a:lnTo>
                    <a:pt x="792" y="120"/>
                  </a:lnTo>
                  <a:lnTo>
                    <a:pt x="810" y="120"/>
                  </a:lnTo>
                  <a:lnTo>
                    <a:pt x="822" y="120"/>
                  </a:lnTo>
                  <a:lnTo>
                    <a:pt x="846" y="126"/>
                  </a:lnTo>
                  <a:lnTo>
                    <a:pt x="858" y="126"/>
                  </a:lnTo>
                  <a:lnTo>
                    <a:pt x="870" y="132"/>
                  </a:lnTo>
                  <a:lnTo>
                    <a:pt x="882" y="132"/>
                  </a:lnTo>
                  <a:lnTo>
                    <a:pt x="894" y="132"/>
                  </a:lnTo>
                  <a:lnTo>
                    <a:pt x="900" y="132"/>
                  </a:lnTo>
                  <a:lnTo>
                    <a:pt x="912" y="132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36" y="132"/>
                  </a:lnTo>
                  <a:lnTo>
                    <a:pt x="960" y="132"/>
                  </a:lnTo>
                  <a:lnTo>
                    <a:pt x="966" y="144"/>
                  </a:lnTo>
                  <a:lnTo>
                    <a:pt x="972" y="144"/>
                  </a:lnTo>
                  <a:lnTo>
                    <a:pt x="1002" y="144"/>
                  </a:lnTo>
                  <a:lnTo>
                    <a:pt x="1020" y="144"/>
                  </a:lnTo>
                  <a:lnTo>
                    <a:pt x="1068" y="138"/>
                  </a:lnTo>
                  <a:lnTo>
                    <a:pt x="1110" y="132"/>
                  </a:lnTo>
                  <a:lnTo>
                    <a:pt x="1110" y="126"/>
                  </a:lnTo>
                  <a:lnTo>
                    <a:pt x="1116" y="120"/>
                  </a:lnTo>
                  <a:lnTo>
                    <a:pt x="1122" y="108"/>
                  </a:lnTo>
                  <a:lnTo>
                    <a:pt x="1134" y="96"/>
                  </a:lnTo>
                  <a:lnTo>
                    <a:pt x="1146" y="60"/>
                  </a:lnTo>
                  <a:lnTo>
                    <a:pt x="1158" y="54"/>
                  </a:lnTo>
                  <a:lnTo>
                    <a:pt x="1170" y="48"/>
                  </a:lnTo>
                  <a:lnTo>
                    <a:pt x="1188" y="42"/>
                  </a:lnTo>
                  <a:lnTo>
                    <a:pt x="1200" y="36"/>
                  </a:lnTo>
                  <a:lnTo>
                    <a:pt x="1212" y="36"/>
                  </a:lnTo>
                  <a:lnTo>
                    <a:pt x="1236" y="30"/>
                  </a:lnTo>
                  <a:lnTo>
                    <a:pt x="1236" y="24"/>
                  </a:lnTo>
                  <a:lnTo>
                    <a:pt x="1278" y="18"/>
                  </a:lnTo>
                  <a:lnTo>
                    <a:pt x="1290" y="18"/>
                  </a:lnTo>
                  <a:lnTo>
                    <a:pt x="1302" y="12"/>
                  </a:lnTo>
                  <a:lnTo>
                    <a:pt x="1314" y="0"/>
                  </a:lnTo>
                  <a:lnTo>
                    <a:pt x="1332" y="0"/>
                  </a:lnTo>
                  <a:lnTo>
                    <a:pt x="1338" y="24"/>
                  </a:lnTo>
                  <a:lnTo>
                    <a:pt x="1344" y="30"/>
                  </a:lnTo>
                  <a:lnTo>
                    <a:pt x="1350" y="42"/>
                  </a:lnTo>
                  <a:lnTo>
                    <a:pt x="1356" y="48"/>
                  </a:lnTo>
                  <a:lnTo>
                    <a:pt x="1356" y="78"/>
                  </a:lnTo>
                  <a:lnTo>
                    <a:pt x="1350" y="96"/>
                  </a:lnTo>
                  <a:lnTo>
                    <a:pt x="1338" y="108"/>
                  </a:lnTo>
                  <a:lnTo>
                    <a:pt x="1338" y="114"/>
                  </a:lnTo>
                  <a:lnTo>
                    <a:pt x="1338" y="120"/>
                  </a:lnTo>
                  <a:lnTo>
                    <a:pt x="1338" y="126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398" y="114"/>
                  </a:lnTo>
                  <a:lnTo>
                    <a:pt x="1416" y="120"/>
                  </a:lnTo>
                  <a:lnTo>
                    <a:pt x="1434" y="126"/>
                  </a:lnTo>
                  <a:lnTo>
                    <a:pt x="1458" y="132"/>
                  </a:lnTo>
                  <a:lnTo>
                    <a:pt x="1458" y="138"/>
                  </a:lnTo>
                  <a:lnTo>
                    <a:pt x="1512" y="138"/>
                  </a:lnTo>
                  <a:lnTo>
                    <a:pt x="1512" y="132"/>
                  </a:lnTo>
                  <a:lnTo>
                    <a:pt x="1524" y="138"/>
                  </a:lnTo>
                  <a:lnTo>
                    <a:pt x="1542" y="138"/>
                  </a:lnTo>
                  <a:lnTo>
                    <a:pt x="1542" y="150"/>
                  </a:lnTo>
                  <a:lnTo>
                    <a:pt x="1542" y="162"/>
                  </a:lnTo>
                  <a:lnTo>
                    <a:pt x="1548" y="174"/>
                  </a:lnTo>
                  <a:lnTo>
                    <a:pt x="1548" y="180"/>
                  </a:lnTo>
                  <a:lnTo>
                    <a:pt x="1554" y="222"/>
                  </a:lnTo>
                  <a:lnTo>
                    <a:pt x="1554" y="258"/>
                  </a:lnTo>
                  <a:lnTo>
                    <a:pt x="1554" y="276"/>
                  </a:lnTo>
                  <a:lnTo>
                    <a:pt x="1554" y="282"/>
                  </a:lnTo>
                  <a:lnTo>
                    <a:pt x="1554" y="294"/>
                  </a:lnTo>
                  <a:lnTo>
                    <a:pt x="1554" y="306"/>
                  </a:lnTo>
                  <a:lnTo>
                    <a:pt x="1554" y="324"/>
                  </a:lnTo>
                  <a:lnTo>
                    <a:pt x="1554" y="330"/>
                  </a:lnTo>
                  <a:lnTo>
                    <a:pt x="1548" y="330"/>
                  </a:lnTo>
                  <a:lnTo>
                    <a:pt x="1548" y="336"/>
                  </a:lnTo>
                  <a:lnTo>
                    <a:pt x="1548" y="342"/>
                  </a:lnTo>
                  <a:lnTo>
                    <a:pt x="1542" y="336"/>
                  </a:lnTo>
                  <a:lnTo>
                    <a:pt x="1542" y="330"/>
                  </a:lnTo>
                  <a:lnTo>
                    <a:pt x="1536" y="330"/>
                  </a:lnTo>
                  <a:lnTo>
                    <a:pt x="1530" y="330"/>
                  </a:lnTo>
                  <a:lnTo>
                    <a:pt x="1530" y="336"/>
                  </a:lnTo>
                  <a:lnTo>
                    <a:pt x="1536" y="342"/>
                  </a:lnTo>
                  <a:lnTo>
                    <a:pt x="1530" y="342"/>
                  </a:lnTo>
                  <a:lnTo>
                    <a:pt x="1518" y="348"/>
                  </a:lnTo>
                  <a:lnTo>
                    <a:pt x="1512" y="354"/>
                  </a:lnTo>
                  <a:lnTo>
                    <a:pt x="1506" y="354"/>
                  </a:lnTo>
                  <a:lnTo>
                    <a:pt x="1500" y="354"/>
                  </a:lnTo>
                  <a:lnTo>
                    <a:pt x="1494" y="354"/>
                  </a:lnTo>
                  <a:lnTo>
                    <a:pt x="1494" y="360"/>
                  </a:lnTo>
                  <a:lnTo>
                    <a:pt x="1488" y="360"/>
                  </a:lnTo>
                  <a:lnTo>
                    <a:pt x="1488" y="366"/>
                  </a:lnTo>
                  <a:lnTo>
                    <a:pt x="1488" y="372"/>
                  </a:lnTo>
                  <a:lnTo>
                    <a:pt x="1482" y="372"/>
                  </a:lnTo>
                  <a:lnTo>
                    <a:pt x="1476" y="372"/>
                  </a:lnTo>
                  <a:lnTo>
                    <a:pt x="1470" y="372"/>
                  </a:lnTo>
                  <a:lnTo>
                    <a:pt x="1470" y="378"/>
                  </a:lnTo>
                  <a:lnTo>
                    <a:pt x="1470" y="384"/>
                  </a:lnTo>
                  <a:lnTo>
                    <a:pt x="1470" y="390"/>
                  </a:lnTo>
                  <a:lnTo>
                    <a:pt x="1464" y="402"/>
                  </a:lnTo>
                  <a:lnTo>
                    <a:pt x="1446" y="402"/>
                  </a:lnTo>
                  <a:lnTo>
                    <a:pt x="1440" y="372"/>
                  </a:lnTo>
                  <a:lnTo>
                    <a:pt x="1410" y="372"/>
                  </a:lnTo>
                  <a:lnTo>
                    <a:pt x="1380" y="372"/>
                  </a:lnTo>
                  <a:lnTo>
                    <a:pt x="1374" y="372"/>
                  </a:lnTo>
                  <a:lnTo>
                    <a:pt x="1368" y="378"/>
                  </a:lnTo>
                  <a:lnTo>
                    <a:pt x="1362" y="378"/>
                  </a:lnTo>
                  <a:lnTo>
                    <a:pt x="1356" y="378"/>
                  </a:lnTo>
                  <a:lnTo>
                    <a:pt x="1350" y="384"/>
                  </a:lnTo>
                  <a:lnTo>
                    <a:pt x="1350" y="390"/>
                  </a:lnTo>
                  <a:lnTo>
                    <a:pt x="1344" y="390"/>
                  </a:lnTo>
                  <a:lnTo>
                    <a:pt x="1338" y="390"/>
                  </a:lnTo>
                  <a:lnTo>
                    <a:pt x="1332" y="390"/>
                  </a:lnTo>
                  <a:lnTo>
                    <a:pt x="1332" y="396"/>
                  </a:lnTo>
                  <a:lnTo>
                    <a:pt x="1332" y="390"/>
                  </a:lnTo>
                  <a:lnTo>
                    <a:pt x="1326" y="402"/>
                  </a:lnTo>
                  <a:lnTo>
                    <a:pt x="1320" y="402"/>
                  </a:lnTo>
                  <a:lnTo>
                    <a:pt x="1302" y="474"/>
                  </a:lnTo>
                  <a:lnTo>
                    <a:pt x="1308" y="480"/>
                  </a:lnTo>
                  <a:lnTo>
                    <a:pt x="1314" y="480"/>
                  </a:lnTo>
                  <a:lnTo>
                    <a:pt x="1308" y="498"/>
                  </a:lnTo>
                  <a:lnTo>
                    <a:pt x="1308" y="504"/>
                  </a:lnTo>
                  <a:lnTo>
                    <a:pt x="1314" y="510"/>
                  </a:lnTo>
                  <a:lnTo>
                    <a:pt x="1308" y="510"/>
                  </a:lnTo>
                  <a:lnTo>
                    <a:pt x="1308" y="516"/>
                  </a:lnTo>
                  <a:lnTo>
                    <a:pt x="1302" y="516"/>
                  </a:lnTo>
                  <a:lnTo>
                    <a:pt x="1296" y="510"/>
                  </a:lnTo>
                  <a:lnTo>
                    <a:pt x="1296" y="516"/>
                  </a:lnTo>
                  <a:lnTo>
                    <a:pt x="1290" y="540"/>
                  </a:lnTo>
                  <a:lnTo>
                    <a:pt x="1290" y="552"/>
                  </a:lnTo>
                  <a:lnTo>
                    <a:pt x="1284" y="558"/>
                  </a:lnTo>
                  <a:lnTo>
                    <a:pt x="1290" y="576"/>
                  </a:lnTo>
                  <a:lnTo>
                    <a:pt x="1290" y="600"/>
                  </a:lnTo>
                  <a:lnTo>
                    <a:pt x="1284" y="618"/>
                  </a:lnTo>
                  <a:lnTo>
                    <a:pt x="1290" y="624"/>
                  </a:lnTo>
                  <a:lnTo>
                    <a:pt x="1284" y="630"/>
                  </a:lnTo>
                  <a:lnTo>
                    <a:pt x="1278" y="630"/>
                  </a:lnTo>
                  <a:lnTo>
                    <a:pt x="1272" y="630"/>
                  </a:lnTo>
                  <a:lnTo>
                    <a:pt x="1266" y="636"/>
                  </a:lnTo>
                  <a:lnTo>
                    <a:pt x="1260" y="642"/>
                  </a:lnTo>
                  <a:lnTo>
                    <a:pt x="1260" y="636"/>
                  </a:lnTo>
                  <a:lnTo>
                    <a:pt x="1254" y="636"/>
                  </a:lnTo>
                  <a:lnTo>
                    <a:pt x="1248" y="636"/>
                  </a:lnTo>
                  <a:lnTo>
                    <a:pt x="1248" y="642"/>
                  </a:lnTo>
                  <a:lnTo>
                    <a:pt x="1242" y="642"/>
                  </a:lnTo>
                  <a:lnTo>
                    <a:pt x="1242" y="648"/>
                  </a:lnTo>
                  <a:lnTo>
                    <a:pt x="1236" y="654"/>
                  </a:lnTo>
                  <a:lnTo>
                    <a:pt x="1230" y="654"/>
                  </a:lnTo>
                  <a:lnTo>
                    <a:pt x="1224" y="654"/>
                  </a:lnTo>
                  <a:lnTo>
                    <a:pt x="1218" y="660"/>
                  </a:lnTo>
                  <a:lnTo>
                    <a:pt x="1212" y="660"/>
                  </a:lnTo>
                  <a:lnTo>
                    <a:pt x="1206" y="660"/>
                  </a:lnTo>
                  <a:lnTo>
                    <a:pt x="1200" y="660"/>
                  </a:lnTo>
                  <a:lnTo>
                    <a:pt x="1200" y="666"/>
                  </a:lnTo>
                  <a:lnTo>
                    <a:pt x="1194" y="666"/>
                  </a:lnTo>
                  <a:lnTo>
                    <a:pt x="1188" y="666"/>
                  </a:lnTo>
                  <a:lnTo>
                    <a:pt x="1182" y="672"/>
                  </a:lnTo>
                  <a:lnTo>
                    <a:pt x="1176" y="672"/>
                  </a:lnTo>
                  <a:lnTo>
                    <a:pt x="1170" y="672"/>
                  </a:lnTo>
                  <a:lnTo>
                    <a:pt x="1164" y="678"/>
                  </a:lnTo>
                  <a:lnTo>
                    <a:pt x="1170" y="678"/>
                  </a:lnTo>
                  <a:lnTo>
                    <a:pt x="1164" y="684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52" y="684"/>
                  </a:lnTo>
                  <a:lnTo>
                    <a:pt x="1152" y="690"/>
                  </a:lnTo>
                  <a:lnTo>
                    <a:pt x="1146" y="690"/>
                  </a:lnTo>
                  <a:lnTo>
                    <a:pt x="1140" y="690"/>
                  </a:lnTo>
                  <a:lnTo>
                    <a:pt x="1134" y="696"/>
                  </a:lnTo>
                  <a:lnTo>
                    <a:pt x="1128" y="696"/>
                  </a:lnTo>
                  <a:lnTo>
                    <a:pt x="1122" y="702"/>
                  </a:lnTo>
                  <a:lnTo>
                    <a:pt x="1116" y="702"/>
                  </a:lnTo>
                  <a:lnTo>
                    <a:pt x="1110" y="708"/>
                  </a:lnTo>
                  <a:lnTo>
                    <a:pt x="1104" y="708"/>
                  </a:lnTo>
                  <a:lnTo>
                    <a:pt x="1098" y="708"/>
                  </a:lnTo>
                  <a:lnTo>
                    <a:pt x="1092" y="708"/>
                  </a:lnTo>
                  <a:lnTo>
                    <a:pt x="1092" y="714"/>
                  </a:lnTo>
                  <a:lnTo>
                    <a:pt x="1086" y="720"/>
                  </a:lnTo>
                  <a:lnTo>
                    <a:pt x="1080" y="720"/>
                  </a:lnTo>
                  <a:lnTo>
                    <a:pt x="1074" y="720"/>
                  </a:lnTo>
                  <a:lnTo>
                    <a:pt x="1068" y="720"/>
                  </a:lnTo>
                  <a:lnTo>
                    <a:pt x="1062" y="720"/>
                  </a:lnTo>
                  <a:lnTo>
                    <a:pt x="1050" y="726"/>
                  </a:lnTo>
                  <a:lnTo>
                    <a:pt x="1044" y="726"/>
                  </a:lnTo>
                  <a:lnTo>
                    <a:pt x="1038" y="732"/>
                  </a:lnTo>
                  <a:lnTo>
                    <a:pt x="1026" y="732"/>
                  </a:lnTo>
                  <a:lnTo>
                    <a:pt x="1020" y="732"/>
                  </a:lnTo>
                  <a:lnTo>
                    <a:pt x="1014" y="738"/>
                  </a:lnTo>
                  <a:lnTo>
                    <a:pt x="1008" y="738"/>
                  </a:lnTo>
                  <a:lnTo>
                    <a:pt x="1002" y="738"/>
                  </a:lnTo>
                  <a:lnTo>
                    <a:pt x="996" y="738"/>
                  </a:lnTo>
                  <a:lnTo>
                    <a:pt x="990" y="738"/>
                  </a:lnTo>
                  <a:lnTo>
                    <a:pt x="990" y="732"/>
                  </a:lnTo>
                  <a:lnTo>
                    <a:pt x="984" y="732"/>
                  </a:lnTo>
                  <a:lnTo>
                    <a:pt x="978" y="738"/>
                  </a:lnTo>
                  <a:lnTo>
                    <a:pt x="978" y="744"/>
                  </a:lnTo>
                  <a:lnTo>
                    <a:pt x="984" y="744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8" y="756"/>
                  </a:lnTo>
                  <a:lnTo>
                    <a:pt x="972" y="756"/>
                  </a:lnTo>
                  <a:lnTo>
                    <a:pt x="972" y="762"/>
                  </a:lnTo>
                  <a:lnTo>
                    <a:pt x="966" y="768"/>
                  </a:lnTo>
                  <a:lnTo>
                    <a:pt x="966" y="762"/>
                  </a:lnTo>
                  <a:lnTo>
                    <a:pt x="960" y="762"/>
                  </a:lnTo>
                  <a:lnTo>
                    <a:pt x="954" y="768"/>
                  </a:lnTo>
                  <a:lnTo>
                    <a:pt x="954" y="774"/>
                  </a:lnTo>
                  <a:lnTo>
                    <a:pt x="948" y="774"/>
                  </a:lnTo>
                  <a:lnTo>
                    <a:pt x="948" y="780"/>
                  </a:lnTo>
                  <a:lnTo>
                    <a:pt x="948" y="786"/>
                  </a:lnTo>
                  <a:lnTo>
                    <a:pt x="942" y="786"/>
                  </a:lnTo>
                  <a:lnTo>
                    <a:pt x="942" y="792"/>
                  </a:lnTo>
                  <a:lnTo>
                    <a:pt x="936" y="792"/>
                  </a:lnTo>
                  <a:lnTo>
                    <a:pt x="942" y="798"/>
                  </a:lnTo>
                  <a:lnTo>
                    <a:pt x="942" y="804"/>
                  </a:lnTo>
                  <a:lnTo>
                    <a:pt x="942" y="810"/>
                  </a:lnTo>
                  <a:lnTo>
                    <a:pt x="948" y="810"/>
                  </a:lnTo>
                  <a:lnTo>
                    <a:pt x="942" y="816"/>
                  </a:lnTo>
                  <a:lnTo>
                    <a:pt x="948" y="816"/>
                  </a:lnTo>
                  <a:lnTo>
                    <a:pt x="948" y="822"/>
                  </a:lnTo>
                  <a:lnTo>
                    <a:pt x="954" y="822"/>
                  </a:lnTo>
                  <a:lnTo>
                    <a:pt x="960" y="828"/>
                  </a:lnTo>
                  <a:lnTo>
                    <a:pt x="960" y="834"/>
                  </a:lnTo>
                  <a:lnTo>
                    <a:pt x="966" y="834"/>
                  </a:lnTo>
                  <a:lnTo>
                    <a:pt x="960" y="840"/>
                  </a:lnTo>
                  <a:lnTo>
                    <a:pt x="966" y="846"/>
                  </a:lnTo>
                  <a:lnTo>
                    <a:pt x="966" y="840"/>
                  </a:lnTo>
                  <a:lnTo>
                    <a:pt x="972" y="840"/>
                  </a:lnTo>
                  <a:lnTo>
                    <a:pt x="990" y="840"/>
                  </a:lnTo>
                  <a:lnTo>
                    <a:pt x="1002" y="834"/>
                  </a:lnTo>
                  <a:lnTo>
                    <a:pt x="1020" y="828"/>
                  </a:lnTo>
                  <a:lnTo>
                    <a:pt x="1032" y="828"/>
                  </a:lnTo>
                  <a:lnTo>
                    <a:pt x="1050" y="828"/>
                  </a:lnTo>
                  <a:lnTo>
                    <a:pt x="1062" y="846"/>
                  </a:lnTo>
                  <a:lnTo>
                    <a:pt x="1074" y="876"/>
                  </a:lnTo>
                  <a:lnTo>
                    <a:pt x="1068" y="900"/>
                  </a:lnTo>
                  <a:lnTo>
                    <a:pt x="1074" y="912"/>
                  </a:lnTo>
                  <a:lnTo>
                    <a:pt x="1074" y="936"/>
                  </a:lnTo>
                  <a:lnTo>
                    <a:pt x="1068" y="942"/>
                  </a:lnTo>
                  <a:lnTo>
                    <a:pt x="1062" y="954"/>
                  </a:lnTo>
                  <a:lnTo>
                    <a:pt x="1056" y="978"/>
                  </a:lnTo>
                  <a:lnTo>
                    <a:pt x="1056" y="996"/>
                  </a:lnTo>
                  <a:lnTo>
                    <a:pt x="1068" y="990"/>
                  </a:lnTo>
                  <a:lnTo>
                    <a:pt x="1074" y="990"/>
                  </a:lnTo>
                  <a:lnTo>
                    <a:pt x="1074" y="1008"/>
                  </a:lnTo>
                  <a:lnTo>
                    <a:pt x="1080" y="1008"/>
                  </a:lnTo>
                  <a:lnTo>
                    <a:pt x="1092" y="1014"/>
                  </a:lnTo>
                  <a:lnTo>
                    <a:pt x="1110" y="1044"/>
                  </a:lnTo>
                  <a:lnTo>
                    <a:pt x="1110" y="1062"/>
                  </a:lnTo>
                  <a:lnTo>
                    <a:pt x="1128" y="1068"/>
                  </a:lnTo>
                  <a:lnTo>
                    <a:pt x="1128" y="1092"/>
                  </a:lnTo>
                  <a:lnTo>
                    <a:pt x="1134" y="1098"/>
                  </a:lnTo>
                  <a:lnTo>
                    <a:pt x="1158" y="1122"/>
                  </a:lnTo>
                  <a:lnTo>
                    <a:pt x="1188" y="1122"/>
                  </a:lnTo>
                  <a:lnTo>
                    <a:pt x="1188" y="1128"/>
                  </a:lnTo>
                  <a:lnTo>
                    <a:pt x="1200" y="1134"/>
                  </a:lnTo>
                  <a:lnTo>
                    <a:pt x="1206" y="1134"/>
                  </a:lnTo>
                  <a:lnTo>
                    <a:pt x="1206" y="1128"/>
                  </a:lnTo>
                  <a:lnTo>
                    <a:pt x="1212" y="1128"/>
                  </a:lnTo>
                  <a:lnTo>
                    <a:pt x="1218" y="1128"/>
                  </a:lnTo>
                  <a:lnTo>
                    <a:pt x="1224" y="1122"/>
                  </a:lnTo>
                  <a:lnTo>
                    <a:pt x="1224" y="1128"/>
                  </a:lnTo>
                  <a:lnTo>
                    <a:pt x="1230" y="1128"/>
                  </a:lnTo>
                  <a:lnTo>
                    <a:pt x="1236" y="1128"/>
                  </a:lnTo>
                  <a:lnTo>
                    <a:pt x="1236" y="1122"/>
                  </a:lnTo>
                  <a:lnTo>
                    <a:pt x="1242" y="1122"/>
                  </a:lnTo>
                  <a:lnTo>
                    <a:pt x="1248" y="1128"/>
                  </a:lnTo>
                  <a:lnTo>
                    <a:pt x="1254" y="1128"/>
                  </a:lnTo>
                  <a:lnTo>
                    <a:pt x="1260" y="1134"/>
                  </a:lnTo>
                  <a:lnTo>
                    <a:pt x="1260" y="1140"/>
                  </a:lnTo>
                  <a:lnTo>
                    <a:pt x="1266" y="1140"/>
                  </a:lnTo>
                  <a:lnTo>
                    <a:pt x="1272" y="1140"/>
                  </a:lnTo>
                  <a:lnTo>
                    <a:pt x="1278" y="1140"/>
                  </a:lnTo>
                  <a:lnTo>
                    <a:pt x="1284" y="1140"/>
                  </a:lnTo>
                  <a:lnTo>
                    <a:pt x="1290" y="1146"/>
                  </a:lnTo>
                  <a:lnTo>
                    <a:pt x="1290" y="1152"/>
                  </a:lnTo>
                  <a:lnTo>
                    <a:pt x="1296" y="1146"/>
                  </a:lnTo>
                  <a:lnTo>
                    <a:pt x="1296" y="1152"/>
                  </a:lnTo>
                  <a:lnTo>
                    <a:pt x="1308" y="1152"/>
                  </a:lnTo>
                  <a:lnTo>
                    <a:pt x="1314" y="1152"/>
                  </a:lnTo>
                  <a:lnTo>
                    <a:pt x="1320" y="1152"/>
                  </a:lnTo>
                  <a:lnTo>
                    <a:pt x="1332" y="1152"/>
                  </a:lnTo>
                  <a:lnTo>
                    <a:pt x="1338" y="1152"/>
                  </a:lnTo>
                  <a:lnTo>
                    <a:pt x="1344" y="1152"/>
                  </a:lnTo>
                  <a:lnTo>
                    <a:pt x="1344" y="1158"/>
                  </a:lnTo>
                  <a:lnTo>
                    <a:pt x="1350" y="1158"/>
                  </a:lnTo>
                  <a:lnTo>
                    <a:pt x="1356" y="1158"/>
                  </a:lnTo>
                  <a:lnTo>
                    <a:pt x="1362" y="1158"/>
                  </a:lnTo>
                  <a:lnTo>
                    <a:pt x="1368" y="1158"/>
                  </a:lnTo>
                  <a:lnTo>
                    <a:pt x="1374" y="1164"/>
                  </a:lnTo>
                  <a:lnTo>
                    <a:pt x="1380" y="1164"/>
                  </a:lnTo>
                  <a:lnTo>
                    <a:pt x="1386" y="1170"/>
                  </a:lnTo>
                  <a:lnTo>
                    <a:pt x="1392" y="1170"/>
                  </a:lnTo>
                  <a:lnTo>
                    <a:pt x="1398" y="1164"/>
                  </a:lnTo>
                  <a:lnTo>
                    <a:pt x="1404" y="1164"/>
                  </a:lnTo>
                  <a:lnTo>
                    <a:pt x="1410" y="1164"/>
                  </a:lnTo>
                  <a:lnTo>
                    <a:pt x="1416" y="1164"/>
                  </a:lnTo>
                  <a:lnTo>
                    <a:pt x="1416" y="1170"/>
                  </a:lnTo>
                  <a:lnTo>
                    <a:pt x="1422" y="1176"/>
                  </a:lnTo>
                  <a:lnTo>
                    <a:pt x="1416" y="1176"/>
                  </a:lnTo>
                  <a:lnTo>
                    <a:pt x="1416" y="1182"/>
                  </a:lnTo>
                  <a:lnTo>
                    <a:pt x="1410" y="1188"/>
                  </a:lnTo>
                  <a:lnTo>
                    <a:pt x="1404" y="1194"/>
                  </a:lnTo>
                  <a:lnTo>
                    <a:pt x="1404" y="1200"/>
                  </a:lnTo>
                  <a:lnTo>
                    <a:pt x="1404" y="1206"/>
                  </a:lnTo>
                  <a:lnTo>
                    <a:pt x="1398" y="1212"/>
                  </a:lnTo>
                  <a:lnTo>
                    <a:pt x="1398" y="1206"/>
                  </a:lnTo>
                  <a:lnTo>
                    <a:pt x="1392" y="1206"/>
                  </a:lnTo>
                  <a:lnTo>
                    <a:pt x="1386" y="1206"/>
                  </a:lnTo>
                  <a:lnTo>
                    <a:pt x="1380" y="1212"/>
                  </a:lnTo>
                  <a:lnTo>
                    <a:pt x="1374" y="1212"/>
                  </a:lnTo>
                  <a:lnTo>
                    <a:pt x="1368" y="1218"/>
                  </a:lnTo>
                  <a:lnTo>
                    <a:pt x="1362" y="1218"/>
                  </a:lnTo>
                  <a:lnTo>
                    <a:pt x="1362" y="1224"/>
                  </a:lnTo>
                  <a:lnTo>
                    <a:pt x="1356" y="1230"/>
                  </a:lnTo>
                  <a:lnTo>
                    <a:pt x="1350" y="1230"/>
                  </a:lnTo>
                  <a:lnTo>
                    <a:pt x="1344" y="1236"/>
                  </a:lnTo>
                  <a:lnTo>
                    <a:pt x="1338" y="1230"/>
                  </a:lnTo>
                  <a:lnTo>
                    <a:pt x="1332" y="1230"/>
                  </a:lnTo>
                  <a:lnTo>
                    <a:pt x="1326" y="1230"/>
                  </a:lnTo>
                  <a:lnTo>
                    <a:pt x="1320" y="1230"/>
                  </a:lnTo>
                  <a:lnTo>
                    <a:pt x="1314" y="1230"/>
                  </a:lnTo>
                  <a:lnTo>
                    <a:pt x="1296" y="1242"/>
                  </a:lnTo>
                  <a:lnTo>
                    <a:pt x="1296" y="1248"/>
                  </a:lnTo>
                  <a:lnTo>
                    <a:pt x="1290" y="1248"/>
                  </a:lnTo>
                  <a:lnTo>
                    <a:pt x="1290" y="1260"/>
                  </a:lnTo>
                  <a:lnTo>
                    <a:pt x="1278" y="1272"/>
                  </a:lnTo>
                  <a:lnTo>
                    <a:pt x="1278" y="1278"/>
                  </a:lnTo>
                  <a:lnTo>
                    <a:pt x="1278" y="1284"/>
                  </a:lnTo>
                  <a:lnTo>
                    <a:pt x="1278" y="1290"/>
                  </a:lnTo>
                  <a:lnTo>
                    <a:pt x="1284" y="1296"/>
                  </a:lnTo>
                  <a:lnTo>
                    <a:pt x="1302" y="1302"/>
                  </a:lnTo>
                  <a:lnTo>
                    <a:pt x="1308" y="1308"/>
                  </a:lnTo>
                  <a:lnTo>
                    <a:pt x="1308" y="1314"/>
                  </a:lnTo>
                  <a:lnTo>
                    <a:pt x="1302" y="1320"/>
                  </a:lnTo>
                  <a:lnTo>
                    <a:pt x="1278" y="1314"/>
                  </a:lnTo>
                  <a:lnTo>
                    <a:pt x="1266" y="1308"/>
                  </a:lnTo>
                  <a:lnTo>
                    <a:pt x="1260" y="1296"/>
                  </a:lnTo>
                  <a:lnTo>
                    <a:pt x="1236" y="1296"/>
                  </a:lnTo>
                  <a:lnTo>
                    <a:pt x="1224" y="1308"/>
                  </a:lnTo>
                  <a:lnTo>
                    <a:pt x="1218" y="1308"/>
                  </a:lnTo>
                  <a:lnTo>
                    <a:pt x="1218" y="1302"/>
                  </a:lnTo>
                  <a:lnTo>
                    <a:pt x="1212" y="1302"/>
                  </a:lnTo>
                  <a:lnTo>
                    <a:pt x="1206" y="1302"/>
                  </a:lnTo>
                  <a:lnTo>
                    <a:pt x="1170" y="1314"/>
                  </a:lnTo>
                  <a:lnTo>
                    <a:pt x="1134" y="1296"/>
                  </a:lnTo>
                  <a:lnTo>
                    <a:pt x="1122" y="1290"/>
                  </a:lnTo>
                  <a:lnTo>
                    <a:pt x="1104" y="1290"/>
                  </a:lnTo>
                  <a:lnTo>
                    <a:pt x="1098" y="1278"/>
                  </a:lnTo>
                  <a:lnTo>
                    <a:pt x="1092" y="1242"/>
                  </a:lnTo>
                  <a:lnTo>
                    <a:pt x="1086" y="1242"/>
                  </a:lnTo>
                  <a:lnTo>
                    <a:pt x="1086" y="1248"/>
                  </a:lnTo>
                  <a:lnTo>
                    <a:pt x="1086" y="1254"/>
                  </a:lnTo>
                  <a:lnTo>
                    <a:pt x="1080" y="1254"/>
                  </a:lnTo>
                  <a:lnTo>
                    <a:pt x="1080" y="1260"/>
                  </a:lnTo>
                  <a:lnTo>
                    <a:pt x="1074" y="1260"/>
                  </a:lnTo>
                  <a:lnTo>
                    <a:pt x="1068" y="1236"/>
                  </a:lnTo>
                  <a:lnTo>
                    <a:pt x="1068" y="1206"/>
                  </a:lnTo>
                  <a:lnTo>
                    <a:pt x="1080" y="1194"/>
                  </a:lnTo>
                  <a:lnTo>
                    <a:pt x="1086" y="1194"/>
                  </a:lnTo>
                  <a:lnTo>
                    <a:pt x="1092" y="1200"/>
                  </a:lnTo>
                  <a:lnTo>
                    <a:pt x="1098" y="1206"/>
                  </a:lnTo>
                  <a:lnTo>
                    <a:pt x="1104" y="1200"/>
                  </a:lnTo>
                  <a:lnTo>
                    <a:pt x="1104" y="1194"/>
                  </a:lnTo>
                  <a:lnTo>
                    <a:pt x="1110" y="1194"/>
                  </a:lnTo>
                  <a:lnTo>
                    <a:pt x="1110" y="1188"/>
                  </a:lnTo>
                  <a:lnTo>
                    <a:pt x="1116" y="1182"/>
                  </a:lnTo>
                  <a:lnTo>
                    <a:pt x="1110" y="1182"/>
                  </a:lnTo>
                  <a:lnTo>
                    <a:pt x="1110" y="1170"/>
                  </a:lnTo>
                  <a:lnTo>
                    <a:pt x="1110" y="1158"/>
                  </a:lnTo>
                  <a:lnTo>
                    <a:pt x="1110" y="1152"/>
                  </a:lnTo>
                  <a:lnTo>
                    <a:pt x="1104" y="1146"/>
                  </a:lnTo>
                  <a:lnTo>
                    <a:pt x="1098" y="1140"/>
                  </a:lnTo>
                  <a:lnTo>
                    <a:pt x="1098" y="1134"/>
                  </a:lnTo>
                  <a:lnTo>
                    <a:pt x="1098" y="1128"/>
                  </a:lnTo>
                  <a:lnTo>
                    <a:pt x="1092" y="1128"/>
                  </a:lnTo>
                  <a:lnTo>
                    <a:pt x="1092" y="1122"/>
                  </a:lnTo>
                  <a:lnTo>
                    <a:pt x="1092" y="1116"/>
                  </a:lnTo>
                  <a:lnTo>
                    <a:pt x="1092" y="1110"/>
                  </a:lnTo>
                  <a:lnTo>
                    <a:pt x="1056" y="1122"/>
                  </a:lnTo>
                  <a:lnTo>
                    <a:pt x="1038" y="1128"/>
                  </a:lnTo>
                  <a:lnTo>
                    <a:pt x="1032" y="1128"/>
                  </a:lnTo>
                  <a:lnTo>
                    <a:pt x="1026" y="1128"/>
                  </a:lnTo>
                  <a:lnTo>
                    <a:pt x="1020" y="1128"/>
                  </a:lnTo>
                  <a:lnTo>
                    <a:pt x="1014" y="1128"/>
                  </a:lnTo>
                  <a:lnTo>
                    <a:pt x="1014" y="1122"/>
                  </a:lnTo>
                  <a:lnTo>
                    <a:pt x="1008" y="1122"/>
                  </a:lnTo>
                  <a:lnTo>
                    <a:pt x="1002" y="1128"/>
                  </a:lnTo>
                  <a:lnTo>
                    <a:pt x="1002" y="1134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84" y="1140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66" y="1140"/>
                  </a:lnTo>
                  <a:lnTo>
                    <a:pt x="954" y="1140"/>
                  </a:lnTo>
                  <a:lnTo>
                    <a:pt x="954" y="1134"/>
                  </a:lnTo>
                  <a:lnTo>
                    <a:pt x="948" y="1134"/>
                  </a:lnTo>
                  <a:lnTo>
                    <a:pt x="942" y="1134"/>
                  </a:lnTo>
                  <a:lnTo>
                    <a:pt x="936" y="1134"/>
                  </a:lnTo>
                  <a:lnTo>
                    <a:pt x="930" y="1134"/>
                  </a:lnTo>
                  <a:lnTo>
                    <a:pt x="924" y="1134"/>
                  </a:lnTo>
                  <a:lnTo>
                    <a:pt x="918" y="1134"/>
                  </a:lnTo>
                  <a:lnTo>
                    <a:pt x="918" y="1128"/>
                  </a:lnTo>
                  <a:lnTo>
                    <a:pt x="918" y="1104"/>
                  </a:lnTo>
                  <a:lnTo>
                    <a:pt x="906" y="1104"/>
                  </a:lnTo>
                  <a:lnTo>
                    <a:pt x="900" y="1098"/>
                  </a:lnTo>
                  <a:lnTo>
                    <a:pt x="900" y="1092"/>
                  </a:lnTo>
                  <a:lnTo>
                    <a:pt x="900" y="1086"/>
                  </a:lnTo>
                  <a:lnTo>
                    <a:pt x="900" y="1080"/>
                  </a:lnTo>
                  <a:lnTo>
                    <a:pt x="894" y="1080"/>
                  </a:lnTo>
                  <a:lnTo>
                    <a:pt x="858" y="1074"/>
                  </a:lnTo>
                  <a:lnTo>
                    <a:pt x="852" y="1080"/>
                  </a:lnTo>
                  <a:lnTo>
                    <a:pt x="846" y="1086"/>
                  </a:lnTo>
                  <a:lnTo>
                    <a:pt x="840" y="1086"/>
                  </a:lnTo>
                  <a:lnTo>
                    <a:pt x="840" y="1092"/>
                  </a:lnTo>
                  <a:lnTo>
                    <a:pt x="834" y="1092"/>
                  </a:lnTo>
                  <a:lnTo>
                    <a:pt x="828" y="1098"/>
                  </a:lnTo>
                  <a:lnTo>
                    <a:pt x="822" y="1098"/>
                  </a:lnTo>
                  <a:lnTo>
                    <a:pt x="762" y="1074"/>
                  </a:lnTo>
                  <a:lnTo>
                    <a:pt x="756" y="1068"/>
                  </a:lnTo>
                  <a:lnTo>
                    <a:pt x="750" y="1068"/>
                  </a:lnTo>
                  <a:lnTo>
                    <a:pt x="744" y="1062"/>
                  </a:lnTo>
                  <a:lnTo>
                    <a:pt x="744" y="1068"/>
                  </a:lnTo>
                  <a:lnTo>
                    <a:pt x="744" y="1074"/>
                  </a:lnTo>
                  <a:lnTo>
                    <a:pt x="738" y="1074"/>
                  </a:lnTo>
                  <a:lnTo>
                    <a:pt x="738" y="1068"/>
                  </a:lnTo>
                  <a:lnTo>
                    <a:pt x="732" y="1068"/>
                  </a:lnTo>
                  <a:lnTo>
                    <a:pt x="726" y="1068"/>
                  </a:lnTo>
                  <a:lnTo>
                    <a:pt x="726" y="1074"/>
                  </a:lnTo>
                  <a:lnTo>
                    <a:pt x="720" y="1074"/>
                  </a:lnTo>
                  <a:lnTo>
                    <a:pt x="684" y="106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5" name="Freeform 40">
              <a:extLst>
                <a:ext uri="{FF2B5EF4-FFF2-40B4-BE49-F238E27FC236}">
                  <a16:creationId xmlns:a16="http://schemas.microsoft.com/office/drawing/2014/main" id="{37EC2F22-BDB9-4162-8FA4-08493F6898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3558" y="1520374"/>
              <a:ext cx="1057717" cy="1252440"/>
            </a:xfrm>
            <a:custGeom>
              <a:avLst/>
              <a:gdLst>
                <a:gd name="T0" fmla="*/ 98 w 1992"/>
                <a:gd name="T1" fmla="*/ 162 h 2358"/>
                <a:gd name="T2" fmla="*/ 93 w 1992"/>
                <a:gd name="T3" fmla="*/ 172 h 2358"/>
                <a:gd name="T4" fmla="*/ 82 w 1992"/>
                <a:gd name="T5" fmla="*/ 179 h 2358"/>
                <a:gd name="T6" fmla="*/ 70 w 1992"/>
                <a:gd name="T7" fmla="*/ 174 h 2358"/>
                <a:gd name="T8" fmla="*/ 62 w 1992"/>
                <a:gd name="T9" fmla="*/ 182 h 2358"/>
                <a:gd name="T10" fmla="*/ 45 w 1992"/>
                <a:gd name="T11" fmla="*/ 189 h 2358"/>
                <a:gd name="T12" fmla="*/ 24 w 1992"/>
                <a:gd name="T13" fmla="*/ 205 h 2358"/>
                <a:gd name="T14" fmla="*/ 17 w 1992"/>
                <a:gd name="T15" fmla="*/ 204 h 2358"/>
                <a:gd name="T16" fmla="*/ 7 w 1992"/>
                <a:gd name="T17" fmla="*/ 197 h 2358"/>
                <a:gd name="T18" fmla="*/ 1 w 1992"/>
                <a:gd name="T19" fmla="*/ 191 h 2358"/>
                <a:gd name="T20" fmla="*/ 4 w 1992"/>
                <a:gd name="T21" fmla="*/ 175 h 2358"/>
                <a:gd name="T22" fmla="*/ 7 w 1992"/>
                <a:gd name="T23" fmla="*/ 172 h 2358"/>
                <a:gd name="T24" fmla="*/ 11 w 1992"/>
                <a:gd name="T25" fmla="*/ 168 h 2358"/>
                <a:gd name="T26" fmla="*/ 5 w 1992"/>
                <a:gd name="T27" fmla="*/ 159 h 2358"/>
                <a:gd name="T28" fmla="*/ 10 w 1992"/>
                <a:gd name="T29" fmla="*/ 156 h 2358"/>
                <a:gd name="T30" fmla="*/ 15 w 1992"/>
                <a:gd name="T31" fmla="*/ 155 h 2358"/>
                <a:gd name="T32" fmla="*/ 24 w 1992"/>
                <a:gd name="T33" fmla="*/ 149 h 2358"/>
                <a:gd name="T34" fmla="*/ 38 w 1992"/>
                <a:gd name="T35" fmla="*/ 127 h 2358"/>
                <a:gd name="T36" fmla="*/ 38 w 1992"/>
                <a:gd name="T37" fmla="*/ 107 h 2358"/>
                <a:gd name="T38" fmla="*/ 45 w 1992"/>
                <a:gd name="T39" fmla="*/ 66 h 2358"/>
                <a:gd name="T40" fmla="*/ 47 w 1992"/>
                <a:gd name="T41" fmla="*/ 36 h 2358"/>
                <a:gd name="T42" fmla="*/ 51 w 1992"/>
                <a:gd name="T43" fmla="*/ 35 h 2358"/>
                <a:gd name="T44" fmla="*/ 55 w 1992"/>
                <a:gd name="T45" fmla="*/ 30 h 2358"/>
                <a:gd name="T46" fmla="*/ 56 w 1992"/>
                <a:gd name="T47" fmla="*/ 27 h 2358"/>
                <a:gd name="T48" fmla="*/ 60 w 1992"/>
                <a:gd name="T49" fmla="*/ 23 h 2358"/>
                <a:gd name="T50" fmla="*/ 63 w 1992"/>
                <a:gd name="T51" fmla="*/ 23 h 2358"/>
                <a:gd name="T52" fmla="*/ 70 w 1992"/>
                <a:gd name="T53" fmla="*/ 18 h 2358"/>
                <a:gd name="T54" fmla="*/ 71 w 1992"/>
                <a:gd name="T55" fmla="*/ 15 h 2358"/>
                <a:gd name="T56" fmla="*/ 72 w 1992"/>
                <a:gd name="T57" fmla="*/ 13 h 2358"/>
                <a:gd name="T58" fmla="*/ 77 w 1992"/>
                <a:gd name="T59" fmla="*/ 12 h 2358"/>
                <a:gd name="T60" fmla="*/ 83 w 1992"/>
                <a:gd name="T61" fmla="*/ 10 h 2358"/>
                <a:gd name="T62" fmla="*/ 87 w 1992"/>
                <a:gd name="T63" fmla="*/ 10 h 2358"/>
                <a:gd name="T64" fmla="*/ 89 w 1992"/>
                <a:gd name="T65" fmla="*/ 10 h 2358"/>
                <a:gd name="T66" fmla="*/ 93 w 1992"/>
                <a:gd name="T67" fmla="*/ 8 h 2358"/>
                <a:gd name="T68" fmla="*/ 95 w 1992"/>
                <a:gd name="T69" fmla="*/ 4 h 2358"/>
                <a:gd name="T70" fmla="*/ 99 w 1992"/>
                <a:gd name="T71" fmla="*/ 0 h 2358"/>
                <a:gd name="T72" fmla="*/ 111 w 1992"/>
                <a:gd name="T73" fmla="*/ 0 h 2358"/>
                <a:gd name="T74" fmla="*/ 121 w 1992"/>
                <a:gd name="T75" fmla="*/ 9 h 2358"/>
                <a:gd name="T76" fmla="*/ 128 w 1992"/>
                <a:gd name="T77" fmla="*/ 19 h 2358"/>
                <a:gd name="T78" fmla="*/ 138 w 1992"/>
                <a:gd name="T79" fmla="*/ 33 h 2358"/>
                <a:gd name="T80" fmla="*/ 142 w 1992"/>
                <a:gd name="T81" fmla="*/ 47 h 2358"/>
                <a:gd name="T82" fmla="*/ 145 w 1992"/>
                <a:gd name="T83" fmla="*/ 62 h 2358"/>
                <a:gd name="T84" fmla="*/ 145 w 1992"/>
                <a:gd name="T85" fmla="*/ 70 h 2358"/>
                <a:gd name="T86" fmla="*/ 147 w 1992"/>
                <a:gd name="T87" fmla="*/ 75 h 2358"/>
                <a:gd name="T88" fmla="*/ 153 w 1992"/>
                <a:gd name="T89" fmla="*/ 75 h 2358"/>
                <a:gd name="T90" fmla="*/ 160 w 1992"/>
                <a:gd name="T91" fmla="*/ 76 h 2358"/>
                <a:gd name="T92" fmla="*/ 164 w 1992"/>
                <a:gd name="T93" fmla="*/ 79 h 2358"/>
                <a:gd name="T94" fmla="*/ 168 w 1992"/>
                <a:gd name="T95" fmla="*/ 83 h 2358"/>
                <a:gd name="T96" fmla="*/ 172 w 1992"/>
                <a:gd name="T97" fmla="*/ 86 h 2358"/>
                <a:gd name="T98" fmla="*/ 170 w 1992"/>
                <a:gd name="T99" fmla="*/ 93 h 2358"/>
                <a:gd name="T100" fmla="*/ 170 w 1992"/>
                <a:gd name="T101" fmla="*/ 99 h 2358"/>
                <a:gd name="T102" fmla="*/ 169 w 1992"/>
                <a:gd name="T103" fmla="*/ 106 h 2358"/>
                <a:gd name="T104" fmla="*/ 166 w 1992"/>
                <a:gd name="T105" fmla="*/ 113 h 2358"/>
                <a:gd name="T106" fmla="*/ 170 w 1992"/>
                <a:gd name="T107" fmla="*/ 122 h 2358"/>
                <a:gd name="T108" fmla="*/ 159 w 1992"/>
                <a:gd name="T109" fmla="*/ 128 h 2358"/>
                <a:gd name="T110" fmla="*/ 148 w 1992"/>
                <a:gd name="T111" fmla="*/ 134 h 2358"/>
                <a:gd name="T112" fmla="*/ 139 w 1992"/>
                <a:gd name="T113" fmla="*/ 136 h 2358"/>
                <a:gd name="T114" fmla="*/ 132 w 1992"/>
                <a:gd name="T115" fmla="*/ 138 h 2358"/>
                <a:gd name="T116" fmla="*/ 128 w 1992"/>
                <a:gd name="T117" fmla="*/ 145 h 2358"/>
                <a:gd name="T118" fmla="*/ 124 w 1992"/>
                <a:gd name="T119" fmla="*/ 150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92"/>
                <a:gd name="T181" fmla="*/ 0 h 2358"/>
                <a:gd name="T182" fmla="*/ 1992 w 1992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92" h="2358">
                  <a:moveTo>
                    <a:pt x="1356" y="1782"/>
                  </a:moveTo>
                  <a:lnTo>
                    <a:pt x="1350" y="1788"/>
                  </a:lnTo>
                  <a:lnTo>
                    <a:pt x="1266" y="1788"/>
                  </a:lnTo>
                  <a:lnTo>
                    <a:pt x="1260" y="1800"/>
                  </a:lnTo>
                  <a:lnTo>
                    <a:pt x="1242" y="1806"/>
                  </a:lnTo>
                  <a:lnTo>
                    <a:pt x="1218" y="1812"/>
                  </a:lnTo>
                  <a:lnTo>
                    <a:pt x="1182" y="1812"/>
                  </a:lnTo>
                  <a:lnTo>
                    <a:pt x="1158" y="1806"/>
                  </a:lnTo>
                  <a:lnTo>
                    <a:pt x="1134" y="1800"/>
                  </a:lnTo>
                  <a:lnTo>
                    <a:pt x="1134" y="1806"/>
                  </a:lnTo>
                  <a:lnTo>
                    <a:pt x="1134" y="1830"/>
                  </a:lnTo>
                  <a:lnTo>
                    <a:pt x="1128" y="1842"/>
                  </a:lnTo>
                  <a:lnTo>
                    <a:pt x="1128" y="1854"/>
                  </a:lnTo>
                  <a:lnTo>
                    <a:pt x="1128" y="1860"/>
                  </a:lnTo>
                  <a:lnTo>
                    <a:pt x="1128" y="1866"/>
                  </a:lnTo>
                  <a:lnTo>
                    <a:pt x="1128" y="1872"/>
                  </a:lnTo>
                  <a:lnTo>
                    <a:pt x="1128" y="1884"/>
                  </a:lnTo>
                  <a:lnTo>
                    <a:pt x="1128" y="1890"/>
                  </a:lnTo>
                  <a:lnTo>
                    <a:pt x="1128" y="1896"/>
                  </a:lnTo>
                  <a:lnTo>
                    <a:pt x="1122" y="1902"/>
                  </a:lnTo>
                  <a:lnTo>
                    <a:pt x="1122" y="1920"/>
                  </a:lnTo>
                  <a:lnTo>
                    <a:pt x="1116" y="1920"/>
                  </a:lnTo>
                  <a:lnTo>
                    <a:pt x="1110" y="1926"/>
                  </a:lnTo>
                  <a:lnTo>
                    <a:pt x="1110" y="1932"/>
                  </a:lnTo>
                  <a:lnTo>
                    <a:pt x="1104" y="1938"/>
                  </a:lnTo>
                  <a:lnTo>
                    <a:pt x="1086" y="1962"/>
                  </a:lnTo>
                  <a:lnTo>
                    <a:pt x="1074" y="1974"/>
                  </a:lnTo>
                  <a:lnTo>
                    <a:pt x="1074" y="1980"/>
                  </a:lnTo>
                  <a:lnTo>
                    <a:pt x="1068" y="1986"/>
                  </a:lnTo>
                  <a:lnTo>
                    <a:pt x="1062" y="1998"/>
                  </a:lnTo>
                  <a:lnTo>
                    <a:pt x="1062" y="2004"/>
                  </a:lnTo>
                  <a:lnTo>
                    <a:pt x="1068" y="2004"/>
                  </a:lnTo>
                  <a:lnTo>
                    <a:pt x="1056" y="2034"/>
                  </a:lnTo>
                  <a:lnTo>
                    <a:pt x="1050" y="2076"/>
                  </a:lnTo>
                  <a:lnTo>
                    <a:pt x="1056" y="2100"/>
                  </a:lnTo>
                  <a:lnTo>
                    <a:pt x="1038" y="2106"/>
                  </a:lnTo>
                  <a:lnTo>
                    <a:pt x="1002" y="2106"/>
                  </a:lnTo>
                  <a:lnTo>
                    <a:pt x="978" y="2094"/>
                  </a:lnTo>
                  <a:lnTo>
                    <a:pt x="972" y="2082"/>
                  </a:lnTo>
                  <a:lnTo>
                    <a:pt x="966" y="2070"/>
                  </a:lnTo>
                  <a:lnTo>
                    <a:pt x="954" y="2064"/>
                  </a:lnTo>
                  <a:lnTo>
                    <a:pt x="942" y="2058"/>
                  </a:lnTo>
                  <a:lnTo>
                    <a:pt x="936" y="2058"/>
                  </a:lnTo>
                  <a:lnTo>
                    <a:pt x="918" y="2046"/>
                  </a:lnTo>
                  <a:lnTo>
                    <a:pt x="906" y="2028"/>
                  </a:lnTo>
                  <a:lnTo>
                    <a:pt x="900" y="2022"/>
                  </a:lnTo>
                  <a:lnTo>
                    <a:pt x="894" y="2022"/>
                  </a:lnTo>
                  <a:lnTo>
                    <a:pt x="882" y="2022"/>
                  </a:lnTo>
                  <a:lnTo>
                    <a:pt x="870" y="2016"/>
                  </a:lnTo>
                  <a:lnTo>
                    <a:pt x="864" y="2016"/>
                  </a:lnTo>
                  <a:lnTo>
                    <a:pt x="852" y="2010"/>
                  </a:lnTo>
                  <a:lnTo>
                    <a:pt x="846" y="2004"/>
                  </a:lnTo>
                  <a:lnTo>
                    <a:pt x="840" y="2004"/>
                  </a:lnTo>
                  <a:lnTo>
                    <a:pt x="828" y="1998"/>
                  </a:lnTo>
                  <a:lnTo>
                    <a:pt x="816" y="1998"/>
                  </a:lnTo>
                  <a:lnTo>
                    <a:pt x="810" y="1998"/>
                  </a:lnTo>
                  <a:lnTo>
                    <a:pt x="804" y="1998"/>
                  </a:lnTo>
                  <a:lnTo>
                    <a:pt x="798" y="1998"/>
                  </a:lnTo>
                  <a:lnTo>
                    <a:pt x="792" y="2004"/>
                  </a:lnTo>
                  <a:lnTo>
                    <a:pt x="786" y="2010"/>
                  </a:lnTo>
                  <a:lnTo>
                    <a:pt x="762" y="2010"/>
                  </a:lnTo>
                  <a:lnTo>
                    <a:pt x="756" y="2010"/>
                  </a:lnTo>
                  <a:lnTo>
                    <a:pt x="744" y="2022"/>
                  </a:lnTo>
                  <a:lnTo>
                    <a:pt x="738" y="2034"/>
                  </a:lnTo>
                  <a:lnTo>
                    <a:pt x="732" y="2040"/>
                  </a:lnTo>
                  <a:lnTo>
                    <a:pt x="732" y="2046"/>
                  </a:lnTo>
                  <a:lnTo>
                    <a:pt x="726" y="2058"/>
                  </a:lnTo>
                  <a:lnTo>
                    <a:pt x="720" y="2064"/>
                  </a:lnTo>
                  <a:lnTo>
                    <a:pt x="714" y="2070"/>
                  </a:lnTo>
                  <a:lnTo>
                    <a:pt x="708" y="2088"/>
                  </a:lnTo>
                  <a:lnTo>
                    <a:pt x="702" y="2100"/>
                  </a:lnTo>
                  <a:lnTo>
                    <a:pt x="690" y="2100"/>
                  </a:lnTo>
                  <a:lnTo>
                    <a:pt x="684" y="2094"/>
                  </a:lnTo>
                  <a:lnTo>
                    <a:pt x="666" y="2100"/>
                  </a:lnTo>
                  <a:lnTo>
                    <a:pt x="636" y="2106"/>
                  </a:lnTo>
                  <a:lnTo>
                    <a:pt x="636" y="2112"/>
                  </a:lnTo>
                  <a:lnTo>
                    <a:pt x="636" y="2118"/>
                  </a:lnTo>
                  <a:lnTo>
                    <a:pt x="636" y="2124"/>
                  </a:lnTo>
                  <a:lnTo>
                    <a:pt x="630" y="2124"/>
                  </a:lnTo>
                  <a:lnTo>
                    <a:pt x="630" y="2148"/>
                  </a:lnTo>
                  <a:lnTo>
                    <a:pt x="612" y="2160"/>
                  </a:lnTo>
                  <a:lnTo>
                    <a:pt x="576" y="2172"/>
                  </a:lnTo>
                  <a:lnTo>
                    <a:pt x="546" y="2172"/>
                  </a:lnTo>
                  <a:lnTo>
                    <a:pt x="516" y="2172"/>
                  </a:lnTo>
                  <a:lnTo>
                    <a:pt x="486" y="2172"/>
                  </a:lnTo>
                  <a:lnTo>
                    <a:pt x="462" y="2172"/>
                  </a:lnTo>
                  <a:lnTo>
                    <a:pt x="444" y="2196"/>
                  </a:lnTo>
                  <a:lnTo>
                    <a:pt x="432" y="2232"/>
                  </a:lnTo>
                  <a:lnTo>
                    <a:pt x="408" y="2238"/>
                  </a:lnTo>
                  <a:lnTo>
                    <a:pt x="390" y="2256"/>
                  </a:lnTo>
                  <a:lnTo>
                    <a:pt x="372" y="2274"/>
                  </a:lnTo>
                  <a:lnTo>
                    <a:pt x="360" y="2274"/>
                  </a:lnTo>
                  <a:lnTo>
                    <a:pt x="336" y="2328"/>
                  </a:lnTo>
                  <a:lnTo>
                    <a:pt x="324" y="2340"/>
                  </a:lnTo>
                  <a:lnTo>
                    <a:pt x="300" y="2346"/>
                  </a:lnTo>
                  <a:lnTo>
                    <a:pt x="294" y="2352"/>
                  </a:lnTo>
                  <a:lnTo>
                    <a:pt x="288" y="2352"/>
                  </a:lnTo>
                  <a:lnTo>
                    <a:pt x="282" y="2352"/>
                  </a:lnTo>
                  <a:lnTo>
                    <a:pt x="276" y="2352"/>
                  </a:lnTo>
                  <a:lnTo>
                    <a:pt x="270" y="2352"/>
                  </a:lnTo>
                  <a:lnTo>
                    <a:pt x="270" y="2346"/>
                  </a:lnTo>
                  <a:lnTo>
                    <a:pt x="264" y="2346"/>
                  </a:lnTo>
                  <a:lnTo>
                    <a:pt x="258" y="2352"/>
                  </a:lnTo>
                  <a:lnTo>
                    <a:pt x="252" y="2352"/>
                  </a:lnTo>
                  <a:lnTo>
                    <a:pt x="240" y="2352"/>
                  </a:lnTo>
                  <a:lnTo>
                    <a:pt x="228" y="2352"/>
                  </a:lnTo>
                  <a:lnTo>
                    <a:pt x="222" y="2352"/>
                  </a:lnTo>
                  <a:lnTo>
                    <a:pt x="216" y="2358"/>
                  </a:lnTo>
                  <a:lnTo>
                    <a:pt x="216" y="2352"/>
                  </a:lnTo>
                  <a:lnTo>
                    <a:pt x="210" y="2346"/>
                  </a:lnTo>
                  <a:lnTo>
                    <a:pt x="204" y="2346"/>
                  </a:lnTo>
                  <a:lnTo>
                    <a:pt x="198" y="2340"/>
                  </a:lnTo>
                  <a:lnTo>
                    <a:pt x="192" y="2340"/>
                  </a:lnTo>
                  <a:lnTo>
                    <a:pt x="186" y="2340"/>
                  </a:lnTo>
                  <a:lnTo>
                    <a:pt x="180" y="2340"/>
                  </a:lnTo>
                  <a:lnTo>
                    <a:pt x="174" y="2340"/>
                  </a:lnTo>
                  <a:lnTo>
                    <a:pt x="162" y="2328"/>
                  </a:lnTo>
                  <a:lnTo>
                    <a:pt x="156" y="2322"/>
                  </a:lnTo>
                  <a:lnTo>
                    <a:pt x="156" y="2316"/>
                  </a:lnTo>
                  <a:lnTo>
                    <a:pt x="156" y="2310"/>
                  </a:lnTo>
                  <a:lnTo>
                    <a:pt x="132" y="2286"/>
                  </a:lnTo>
                  <a:lnTo>
                    <a:pt x="120" y="2280"/>
                  </a:lnTo>
                  <a:lnTo>
                    <a:pt x="96" y="2274"/>
                  </a:lnTo>
                  <a:lnTo>
                    <a:pt x="84" y="2268"/>
                  </a:lnTo>
                  <a:lnTo>
                    <a:pt x="78" y="2268"/>
                  </a:lnTo>
                  <a:lnTo>
                    <a:pt x="78" y="2262"/>
                  </a:lnTo>
                  <a:lnTo>
                    <a:pt x="78" y="2256"/>
                  </a:lnTo>
                  <a:lnTo>
                    <a:pt x="78" y="2250"/>
                  </a:lnTo>
                  <a:lnTo>
                    <a:pt x="72" y="2250"/>
                  </a:lnTo>
                  <a:lnTo>
                    <a:pt x="66" y="2250"/>
                  </a:lnTo>
                  <a:lnTo>
                    <a:pt x="60" y="2250"/>
                  </a:lnTo>
                  <a:lnTo>
                    <a:pt x="48" y="2244"/>
                  </a:lnTo>
                  <a:lnTo>
                    <a:pt x="36" y="2238"/>
                  </a:lnTo>
                  <a:lnTo>
                    <a:pt x="36" y="2226"/>
                  </a:lnTo>
                  <a:lnTo>
                    <a:pt x="30" y="2226"/>
                  </a:lnTo>
                  <a:lnTo>
                    <a:pt x="30" y="2220"/>
                  </a:lnTo>
                  <a:lnTo>
                    <a:pt x="24" y="2208"/>
                  </a:lnTo>
                  <a:lnTo>
                    <a:pt x="18" y="2202"/>
                  </a:lnTo>
                  <a:lnTo>
                    <a:pt x="18" y="2196"/>
                  </a:lnTo>
                  <a:lnTo>
                    <a:pt x="12" y="2190"/>
                  </a:lnTo>
                  <a:lnTo>
                    <a:pt x="0" y="2190"/>
                  </a:lnTo>
                  <a:lnTo>
                    <a:pt x="6" y="2184"/>
                  </a:lnTo>
                  <a:lnTo>
                    <a:pt x="12" y="2178"/>
                  </a:lnTo>
                  <a:lnTo>
                    <a:pt x="18" y="2172"/>
                  </a:lnTo>
                  <a:lnTo>
                    <a:pt x="24" y="2166"/>
                  </a:lnTo>
                  <a:lnTo>
                    <a:pt x="30" y="2166"/>
                  </a:lnTo>
                  <a:lnTo>
                    <a:pt x="24" y="2160"/>
                  </a:lnTo>
                  <a:lnTo>
                    <a:pt x="30" y="2160"/>
                  </a:lnTo>
                  <a:lnTo>
                    <a:pt x="36" y="2154"/>
                  </a:lnTo>
                  <a:lnTo>
                    <a:pt x="36" y="2136"/>
                  </a:lnTo>
                  <a:lnTo>
                    <a:pt x="36" y="2118"/>
                  </a:lnTo>
                  <a:lnTo>
                    <a:pt x="48" y="2058"/>
                  </a:lnTo>
                  <a:lnTo>
                    <a:pt x="48" y="2022"/>
                  </a:lnTo>
                  <a:lnTo>
                    <a:pt x="48" y="2016"/>
                  </a:lnTo>
                  <a:lnTo>
                    <a:pt x="48" y="2010"/>
                  </a:lnTo>
                  <a:lnTo>
                    <a:pt x="48" y="2004"/>
                  </a:lnTo>
                  <a:lnTo>
                    <a:pt x="42" y="2004"/>
                  </a:lnTo>
                  <a:lnTo>
                    <a:pt x="42" y="1998"/>
                  </a:lnTo>
                  <a:lnTo>
                    <a:pt x="36" y="1992"/>
                  </a:lnTo>
                  <a:lnTo>
                    <a:pt x="42" y="1992"/>
                  </a:lnTo>
                  <a:lnTo>
                    <a:pt x="42" y="1986"/>
                  </a:lnTo>
                  <a:lnTo>
                    <a:pt x="48" y="1986"/>
                  </a:lnTo>
                  <a:lnTo>
                    <a:pt x="54" y="1986"/>
                  </a:lnTo>
                  <a:lnTo>
                    <a:pt x="60" y="1986"/>
                  </a:lnTo>
                  <a:lnTo>
                    <a:pt x="66" y="1980"/>
                  </a:lnTo>
                  <a:lnTo>
                    <a:pt x="72" y="1974"/>
                  </a:lnTo>
                  <a:lnTo>
                    <a:pt x="78" y="1974"/>
                  </a:lnTo>
                  <a:lnTo>
                    <a:pt x="84" y="1974"/>
                  </a:lnTo>
                  <a:lnTo>
                    <a:pt x="90" y="1974"/>
                  </a:lnTo>
                  <a:lnTo>
                    <a:pt x="96" y="1974"/>
                  </a:lnTo>
                  <a:lnTo>
                    <a:pt x="96" y="1968"/>
                  </a:lnTo>
                  <a:lnTo>
                    <a:pt x="102" y="1968"/>
                  </a:lnTo>
                  <a:lnTo>
                    <a:pt x="102" y="1962"/>
                  </a:lnTo>
                  <a:lnTo>
                    <a:pt x="108" y="1962"/>
                  </a:lnTo>
                  <a:lnTo>
                    <a:pt x="114" y="1956"/>
                  </a:lnTo>
                  <a:lnTo>
                    <a:pt x="120" y="1956"/>
                  </a:lnTo>
                  <a:lnTo>
                    <a:pt x="126" y="1950"/>
                  </a:lnTo>
                  <a:lnTo>
                    <a:pt x="132" y="1950"/>
                  </a:lnTo>
                  <a:lnTo>
                    <a:pt x="132" y="1944"/>
                  </a:lnTo>
                  <a:lnTo>
                    <a:pt x="126" y="1944"/>
                  </a:lnTo>
                  <a:lnTo>
                    <a:pt x="126" y="1938"/>
                  </a:lnTo>
                  <a:lnTo>
                    <a:pt x="126" y="1932"/>
                  </a:lnTo>
                  <a:lnTo>
                    <a:pt x="126" y="1926"/>
                  </a:lnTo>
                  <a:lnTo>
                    <a:pt x="114" y="1914"/>
                  </a:lnTo>
                  <a:lnTo>
                    <a:pt x="114" y="1896"/>
                  </a:lnTo>
                  <a:lnTo>
                    <a:pt x="108" y="1884"/>
                  </a:lnTo>
                  <a:lnTo>
                    <a:pt x="102" y="1872"/>
                  </a:lnTo>
                  <a:lnTo>
                    <a:pt x="96" y="1866"/>
                  </a:lnTo>
                  <a:lnTo>
                    <a:pt x="96" y="1860"/>
                  </a:lnTo>
                  <a:lnTo>
                    <a:pt x="90" y="1860"/>
                  </a:lnTo>
                  <a:lnTo>
                    <a:pt x="90" y="1854"/>
                  </a:lnTo>
                  <a:lnTo>
                    <a:pt x="84" y="1848"/>
                  </a:lnTo>
                  <a:lnTo>
                    <a:pt x="78" y="1842"/>
                  </a:lnTo>
                  <a:lnTo>
                    <a:pt x="72" y="1836"/>
                  </a:lnTo>
                  <a:lnTo>
                    <a:pt x="66" y="1830"/>
                  </a:lnTo>
                  <a:lnTo>
                    <a:pt x="60" y="1824"/>
                  </a:lnTo>
                  <a:lnTo>
                    <a:pt x="54" y="1824"/>
                  </a:lnTo>
                  <a:lnTo>
                    <a:pt x="48" y="1824"/>
                  </a:lnTo>
                  <a:lnTo>
                    <a:pt x="42" y="1818"/>
                  </a:lnTo>
                  <a:lnTo>
                    <a:pt x="54" y="1818"/>
                  </a:lnTo>
                  <a:lnTo>
                    <a:pt x="60" y="1812"/>
                  </a:lnTo>
                  <a:lnTo>
                    <a:pt x="66" y="1812"/>
                  </a:lnTo>
                  <a:lnTo>
                    <a:pt x="72" y="1812"/>
                  </a:lnTo>
                  <a:lnTo>
                    <a:pt x="78" y="1812"/>
                  </a:lnTo>
                  <a:lnTo>
                    <a:pt x="84" y="1812"/>
                  </a:lnTo>
                  <a:lnTo>
                    <a:pt x="90" y="1806"/>
                  </a:lnTo>
                  <a:lnTo>
                    <a:pt x="96" y="1800"/>
                  </a:lnTo>
                  <a:lnTo>
                    <a:pt x="102" y="1806"/>
                  </a:lnTo>
                  <a:lnTo>
                    <a:pt x="108" y="1800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26" y="1788"/>
                  </a:lnTo>
                  <a:lnTo>
                    <a:pt x="126" y="1794"/>
                  </a:lnTo>
                  <a:lnTo>
                    <a:pt x="132" y="1794"/>
                  </a:lnTo>
                  <a:lnTo>
                    <a:pt x="132" y="1788"/>
                  </a:lnTo>
                  <a:lnTo>
                    <a:pt x="138" y="1788"/>
                  </a:lnTo>
                  <a:lnTo>
                    <a:pt x="138" y="1782"/>
                  </a:lnTo>
                  <a:lnTo>
                    <a:pt x="144" y="1782"/>
                  </a:lnTo>
                  <a:lnTo>
                    <a:pt x="150" y="1776"/>
                  </a:lnTo>
                  <a:lnTo>
                    <a:pt x="156" y="1782"/>
                  </a:lnTo>
                  <a:lnTo>
                    <a:pt x="162" y="1776"/>
                  </a:lnTo>
                  <a:lnTo>
                    <a:pt x="168" y="1776"/>
                  </a:lnTo>
                  <a:lnTo>
                    <a:pt x="180" y="1776"/>
                  </a:lnTo>
                  <a:lnTo>
                    <a:pt x="186" y="1776"/>
                  </a:lnTo>
                  <a:lnTo>
                    <a:pt x="186" y="1782"/>
                  </a:lnTo>
                  <a:lnTo>
                    <a:pt x="192" y="1776"/>
                  </a:lnTo>
                  <a:lnTo>
                    <a:pt x="198" y="1776"/>
                  </a:lnTo>
                  <a:lnTo>
                    <a:pt x="204" y="1770"/>
                  </a:lnTo>
                  <a:lnTo>
                    <a:pt x="204" y="1764"/>
                  </a:lnTo>
                  <a:lnTo>
                    <a:pt x="210" y="1764"/>
                  </a:lnTo>
                  <a:lnTo>
                    <a:pt x="216" y="1764"/>
                  </a:lnTo>
                  <a:lnTo>
                    <a:pt x="216" y="1758"/>
                  </a:lnTo>
                  <a:lnTo>
                    <a:pt x="222" y="1758"/>
                  </a:lnTo>
                  <a:lnTo>
                    <a:pt x="228" y="1758"/>
                  </a:lnTo>
                  <a:lnTo>
                    <a:pt x="258" y="1746"/>
                  </a:lnTo>
                  <a:lnTo>
                    <a:pt x="282" y="1716"/>
                  </a:lnTo>
                  <a:lnTo>
                    <a:pt x="300" y="1698"/>
                  </a:lnTo>
                  <a:lnTo>
                    <a:pt x="312" y="1698"/>
                  </a:lnTo>
                  <a:lnTo>
                    <a:pt x="336" y="1698"/>
                  </a:lnTo>
                  <a:lnTo>
                    <a:pt x="360" y="1698"/>
                  </a:lnTo>
                  <a:lnTo>
                    <a:pt x="372" y="1692"/>
                  </a:lnTo>
                  <a:lnTo>
                    <a:pt x="384" y="1692"/>
                  </a:lnTo>
                  <a:lnTo>
                    <a:pt x="360" y="1668"/>
                  </a:lnTo>
                  <a:lnTo>
                    <a:pt x="348" y="1626"/>
                  </a:lnTo>
                  <a:lnTo>
                    <a:pt x="354" y="1578"/>
                  </a:lnTo>
                  <a:lnTo>
                    <a:pt x="354" y="1572"/>
                  </a:lnTo>
                  <a:lnTo>
                    <a:pt x="360" y="1572"/>
                  </a:lnTo>
                  <a:lnTo>
                    <a:pt x="396" y="1530"/>
                  </a:lnTo>
                  <a:lnTo>
                    <a:pt x="408" y="1482"/>
                  </a:lnTo>
                  <a:lnTo>
                    <a:pt x="438" y="1458"/>
                  </a:lnTo>
                  <a:lnTo>
                    <a:pt x="468" y="1422"/>
                  </a:lnTo>
                  <a:lnTo>
                    <a:pt x="480" y="1410"/>
                  </a:lnTo>
                  <a:lnTo>
                    <a:pt x="474" y="1386"/>
                  </a:lnTo>
                  <a:lnTo>
                    <a:pt x="456" y="1356"/>
                  </a:lnTo>
                  <a:lnTo>
                    <a:pt x="438" y="1350"/>
                  </a:lnTo>
                  <a:lnTo>
                    <a:pt x="420" y="1350"/>
                  </a:lnTo>
                  <a:lnTo>
                    <a:pt x="402" y="1350"/>
                  </a:lnTo>
                  <a:lnTo>
                    <a:pt x="390" y="1344"/>
                  </a:lnTo>
                  <a:lnTo>
                    <a:pt x="390" y="1332"/>
                  </a:lnTo>
                  <a:lnTo>
                    <a:pt x="402" y="1296"/>
                  </a:lnTo>
                  <a:lnTo>
                    <a:pt x="414" y="1260"/>
                  </a:lnTo>
                  <a:lnTo>
                    <a:pt x="426" y="1248"/>
                  </a:lnTo>
                  <a:lnTo>
                    <a:pt x="438" y="1242"/>
                  </a:lnTo>
                  <a:lnTo>
                    <a:pt x="432" y="1230"/>
                  </a:lnTo>
                  <a:lnTo>
                    <a:pt x="432" y="1224"/>
                  </a:lnTo>
                  <a:lnTo>
                    <a:pt x="426" y="1218"/>
                  </a:lnTo>
                  <a:lnTo>
                    <a:pt x="426" y="1206"/>
                  </a:lnTo>
                  <a:lnTo>
                    <a:pt x="426" y="1200"/>
                  </a:lnTo>
                  <a:lnTo>
                    <a:pt x="432" y="1194"/>
                  </a:lnTo>
                  <a:lnTo>
                    <a:pt x="426" y="1188"/>
                  </a:lnTo>
                  <a:lnTo>
                    <a:pt x="432" y="1104"/>
                  </a:lnTo>
                  <a:lnTo>
                    <a:pt x="438" y="1086"/>
                  </a:lnTo>
                  <a:lnTo>
                    <a:pt x="462" y="972"/>
                  </a:lnTo>
                  <a:lnTo>
                    <a:pt x="456" y="900"/>
                  </a:lnTo>
                  <a:lnTo>
                    <a:pt x="444" y="846"/>
                  </a:lnTo>
                  <a:lnTo>
                    <a:pt x="456" y="810"/>
                  </a:lnTo>
                  <a:lnTo>
                    <a:pt x="492" y="786"/>
                  </a:lnTo>
                  <a:lnTo>
                    <a:pt x="522" y="762"/>
                  </a:lnTo>
                  <a:lnTo>
                    <a:pt x="546" y="732"/>
                  </a:lnTo>
                  <a:lnTo>
                    <a:pt x="570" y="696"/>
                  </a:lnTo>
                  <a:lnTo>
                    <a:pt x="582" y="654"/>
                  </a:lnTo>
                  <a:lnTo>
                    <a:pt x="564" y="642"/>
                  </a:lnTo>
                  <a:lnTo>
                    <a:pt x="522" y="588"/>
                  </a:lnTo>
                  <a:lnTo>
                    <a:pt x="516" y="546"/>
                  </a:lnTo>
                  <a:lnTo>
                    <a:pt x="510" y="474"/>
                  </a:lnTo>
                  <a:lnTo>
                    <a:pt x="510" y="450"/>
                  </a:lnTo>
                  <a:lnTo>
                    <a:pt x="510" y="444"/>
                  </a:lnTo>
                  <a:lnTo>
                    <a:pt x="522" y="438"/>
                  </a:lnTo>
                  <a:lnTo>
                    <a:pt x="522" y="432"/>
                  </a:lnTo>
                  <a:lnTo>
                    <a:pt x="528" y="426"/>
                  </a:lnTo>
                  <a:lnTo>
                    <a:pt x="534" y="420"/>
                  </a:lnTo>
                  <a:lnTo>
                    <a:pt x="540" y="414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08"/>
                  </a:lnTo>
                  <a:lnTo>
                    <a:pt x="546" y="408"/>
                  </a:lnTo>
                  <a:lnTo>
                    <a:pt x="558" y="414"/>
                  </a:lnTo>
                  <a:lnTo>
                    <a:pt x="564" y="414"/>
                  </a:lnTo>
                  <a:lnTo>
                    <a:pt x="570" y="414"/>
                  </a:lnTo>
                  <a:lnTo>
                    <a:pt x="582" y="414"/>
                  </a:lnTo>
                  <a:lnTo>
                    <a:pt x="582" y="420"/>
                  </a:lnTo>
                  <a:lnTo>
                    <a:pt x="588" y="414"/>
                  </a:lnTo>
                  <a:lnTo>
                    <a:pt x="582" y="408"/>
                  </a:lnTo>
                  <a:lnTo>
                    <a:pt x="588" y="402"/>
                  </a:lnTo>
                  <a:lnTo>
                    <a:pt x="594" y="402"/>
                  </a:lnTo>
                  <a:lnTo>
                    <a:pt x="594" y="396"/>
                  </a:lnTo>
                  <a:lnTo>
                    <a:pt x="594" y="390"/>
                  </a:lnTo>
                  <a:lnTo>
                    <a:pt x="594" y="384"/>
                  </a:lnTo>
                  <a:lnTo>
                    <a:pt x="594" y="378"/>
                  </a:lnTo>
                  <a:lnTo>
                    <a:pt x="600" y="366"/>
                  </a:lnTo>
                  <a:lnTo>
                    <a:pt x="606" y="366"/>
                  </a:lnTo>
                  <a:lnTo>
                    <a:pt x="612" y="360"/>
                  </a:lnTo>
                  <a:lnTo>
                    <a:pt x="612" y="366"/>
                  </a:lnTo>
                  <a:lnTo>
                    <a:pt x="618" y="366"/>
                  </a:lnTo>
                  <a:lnTo>
                    <a:pt x="624" y="366"/>
                  </a:lnTo>
                  <a:lnTo>
                    <a:pt x="630" y="360"/>
                  </a:lnTo>
                  <a:lnTo>
                    <a:pt x="636" y="354"/>
                  </a:lnTo>
                  <a:lnTo>
                    <a:pt x="630" y="354"/>
                  </a:lnTo>
                  <a:lnTo>
                    <a:pt x="630" y="348"/>
                  </a:lnTo>
                  <a:lnTo>
                    <a:pt x="630" y="342"/>
                  </a:lnTo>
                  <a:lnTo>
                    <a:pt x="636" y="342"/>
                  </a:lnTo>
                  <a:lnTo>
                    <a:pt x="642" y="336"/>
                  </a:lnTo>
                  <a:lnTo>
                    <a:pt x="636" y="330"/>
                  </a:lnTo>
                  <a:lnTo>
                    <a:pt x="630" y="336"/>
                  </a:lnTo>
                  <a:lnTo>
                    <a:pt x="624" y="336"/>
                  </a:lnTo>
                  <a:lnTo>
                    <a:pt x="624" y="330"/>
                  </a:lnTo>
                  <a:lnTo>
                    <a:pt x="624" y="324"/>
                  </a:lnTo>
                  <a:lnTo>
                    <a:pt x="618" y="324"/>
                  </a:lnTo>
                  <a:lnTo>
                    <a:pt x="624" y="324"/>
                  </a:lnTo>
                  <a:lnTo>
                    <a:pt x="630" y="330"/>
                  </a:lnTo>
                  <a:lnTo>
                    <a:pt x="630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2" y="306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8" y="288"/>
                  </a:lnTo>
                  <a:lnTo>
                    <a:pt x="648" y="282"/>
                  </a:lnTo>
                  <a:lnTo>
                    <a:pt x="654" y="288"/>
                  </a:lnTo>
                  <a:lnTo>
                    <a:pt x="654" y="282"/>
                  </a:lnTo>
                  <a:lnTo>
                    <a:pt x="660" y="282"/>
                  </a:lnTo>
                  <a:lnTo>
                    <a:pt x="666" y="282"/>
                  </a:lnTo>
                  <a:lnTo>
                    <a:pt x="672" y="282"/>
                  </a:lnTo>
                  <a:lnTo>
                    <a:pt x="678" y="282"/>
                  </a:lnTo>
                  <a:lnTo>
                    <a:pt x="684" y="276"/>
                  </a:lnTo>
                  <a:lnTo>
                    <a:pt x="690" y="270"/>
                  </a:lnTo>
                  <a:lnTo>
                    <a:pt x="690" y="264"/>
                  </a:lnTo>
                  <a:lnTo>
                    <a:pt x="690" y="270"/>
                  </a:lnTo>
                  <a:lnTo>
                    <a:pt x="690" y="276"/>
                  </a:lnTo>
                  <a:lnTo>
                    <a:pt x="696" y="276"/>
                  </a:lnTo>
                  <a:lnTo>
                    <a:pt x="702" y="276"/>
                  </a:lnTo>
                  <a:lnTo>
                    <a:pt x="702" y="282"/>
                  </a:lnTo>
                  <a:lnTo>
                    <a:pt x="708" y="282"/>
                  </a:lnTo>
                  <a:lnTo>
                    <a:pt x="720" y="270"/>
                  </a:lnTo>
                  <a:lnTo>
                    <a:pt x="720" y="264"/>
                  </a:lnTo>
                  <a:lnTo>
                    <a:pt x="720" y="258"/>
                  </a:lnTo>
                  <a:lnTo>
                    <a:pt x="726" y="258"/>
                  </a:lnTo>
                  <a:lnTo>
                    <a:pt x="732" y="258"/>
                  </a:lnTo>
                  <a:lnTo>
                    <a:pt x="732" y="264"/>
                  </a:lnTo>
                  <a:lnTo>
                    <a:pt x="738" y="264"/>
                  </a:lnTo>
                  <a:lnTo>
                    <a:pt x="738" y="258"/>
                  </a:lnTo>
                  <a:lnTo>
                    <a:pt x="732" y="258"/>
                  </a:lnTo>
                  <a:lnTo>
                    <a:pt x="732" y="252"/>
                  </a:lnTo>
                  <a:lnTo>
                    <a:pt x="744" y="252"/>
                  </a:lnTo>
                  <a:lnTo>
                    <a:pt x="750" y="252"/>
                  </a:lnTo>
                  <a:lnTo>
                    <a:pt x="750" y="246"/>
                  </a:lnTo>
                  <a:lnTo>
                    <a:pt x="750" y="240"/>
                  </a:lnTo>
                  <a:lnTo>
                    <a:pt x="762" y="234"/>
                  </a:lnTo>
                  <a:lnTo>
                    <a:pt x="768" y="234"/>
                  </a:lnTo>
                  <a:lnTo>
                    <a:pt x="774" y="234"/>
                  </a:lnTo>
                  <a:lnTo>
                    <a:pt x="780" y="228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16"/>
                  </a:lnTo>
                  <a:lnTo>
                    <a:pt x="792" y="210"/>
                  </a:lnTo>
                  <a:lnTo>
                    <a:pt x="804" y="204"/>
                  </a:lnTo>
                  <a:lnTo>
                    <a:pt x="804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0" y="192"/>
                  </a:lnTo>
                  <a:lnTo>
                    <a:pt x="798" y="186"/>
                  </a:lnTo>
                  <a:lnTo>
                    <a:pt x="810" y="186"/>
                  </a:lnTo>
                  <a:lnTo>
                    <a:pt x="810" y="180"/>
                  </a:lnTo>
                  <a:lnTo>
                    <a:pt x="810" y="186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0" y="180"/>
                  </a:lnTo>
                  <a:lnTo>
                    <a:pt x="816" y="174"/>
                  </a:lnTo>
                  <a:lnTo>
                    <a:pt x="822" y="174"/>
                  </a:lnTo>
                  <a:lnTo>
                    <a:pt x="822" y="180"/>
                  </a:lnTo>
                  <a:lnTo>
                    <a:pt x="828" y="180"/>
                  </a:lnTo>
                  <a:lnTo>
                    <a:pt x="828" y="174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62"/>
                  </a:lnTo>
                  <a:lnTo>
                    <a:pt x="828" y="156"/>
                  </a:lnTo>
                  <a:lnTo>
                    <a:pt x="822" y="156"/>
                  </a:lnTo>
                  <a:lnTo>
                    <a:pt x="828" y="156"/>
                  </a:lnTo>
                  <a:lnTo>
                    <a:pt x="828" y="150"/>
                  </a:lnTo>
                  <a:lnTo>
                    <a:pt x="834" y="150"/>
                  </a:lnTo>
                  <a:lnTo>
                    <a:pt x="840" y="156"/>
                  </a:lnTo>
                  <a:lnTo>
                    <a:pt x="840" y="150"/>
                  </a:lnTo>
                  <a:lnTo>
                    <a:pt x="834" y="150"/>
                  </a:lnTo>
                  <a:lnTo>
                    <a:pt x="834" y="144"/>
                  </a:lnTo>
                  <a:lnTo>
                    <a:pt x="840" y="138"/>
                  </a:lnTo>
                  <a:lnTo>
                    <a:pt x="846" y="144"/>
                  </a:lnTo>
                  <a:lnTo>
                    <a:pt x="846" y="150"/>
                  </a:lnTo>
                  <a:lnTo>
                    <a:pt x="852" y="150"/>
                  </a:lnTo>
                  <a:lnTo>
                    <a:pt x="858" y="150"/>
                  </a:lnTo>
                  <a:lnTo>
                    <a:pt x="870" y="150"/>
                  </a:lnTo>
                  <a:lnTo>
                    <a:pt x="870" y="144"/>
                  </a:lnTo>
                  <a:lnTo>
                    <a:pt x="876" y="138"/>
                  </a:lnTo>
                  <a:lnTo>
                    <a:pt x="882" y="138"/>
                  </a:lnTo>
                  <a:lnTo>
                    <a:pt x="888" y="132"/>
                  </a:lnTo>
                  <a:lnTo>
                    <a:pt x="888" y="138"/>
                  </a:lnTo>
                  <a:lnTo>
                    <a:pt x="894" y="138"/>
                  </a:lnTo>
                  <a:lnTo>
                    <a:pt x="894" y="132"/>
                  </a:lnTo>
                  <a:lnTo>
                    <a:pt x="900" y="126"/>
                  </a:lnTo>
                  <a:lnTo>
                    <a:pt x="900" y="132"/>
                  </a:lnTo>
                  <a:lnTo>
                    <a:pt x="906" y="132"/>
                  </a:lnTo>
                  <a:lnTo>
                    <a:pt x="912" y="132"/>
                  </a:lnTo>
                  <a:lnTo>
                    <a:pt x="918" y="126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24" y="126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8" y="120"/>
                  </a:lnTo>
                  <a:lnTo>
                    <a:pt x="948" y="114"/>
                  </a:lnTo>
                  <a:lnTo>
                    <a:pt x="948" y="108"/>
                  </a:lnTo>
                  <a:lnTo>
                    <a:pt x="954" y="114"/>
                  </a:lnTo>
                  <a:lnTo>
                    <a:pt x="960" y="108"/>
                  </a:lnTo>
                  <a:lnTo>
                    <a:pt x="966" y="108"/>
                  </a:lnTo>
                  <a:lnTo>
                    <a:pt x="972" y="108"/>
                  </a:lnTo>
                  <a:lnTo>
                    <a:pt x="966" y="114"/>
                  </a:lnTo>
                  <a:lnTo>
                    <a:pt x="960" y="114"/>
                  </a:lnTo>
                  <a:lnTo>
                    <a:pt x="960" y="120"/>
                  </a:lnTo>
                  <a:lnTo>
                    <a:pt x="966" y="126"/>
                  </a:lnTo>
                  <a:lnTo>
                    <a:pt x="972" y="126"/>
                  </a:lnTo>
                  <a:lnTo>
                    <a:pt x="978" y="126"/>
                  </a:lnTo>
                  <a:lnTo>
                    <a:pt x="984" y="120"/>
                  </a:lnTo>
                  <a:lnTo>
                    <a:pt x="984" y="114"/>
                  </a:lnTo>
                  <a:lnTo>
                    <a:pt x="996" y="126"/>
                  </a:lnTo>
                  <a:lnTo>
                    <a:pt x="996" y="120"/>
                  </a:lnTo>
                  <a:lnTo>
                    <a:pt x="1002" y="120"/>
                  </a:lnTo>
                  <a:lnTo>
                    <a:pt x="996" y="114"/>
                  </a:lnTo>
                  <a:lnTo>
                    <a:pt x="1002" y="114"/>
                  </a:lnTo>
                  <a:lnTo>
                    <a:pt x="1008" y="114"/>
                  </a:lnTo>
                  <a:lnTo>
                    <a:pt x="1008" y="108"/>
                  </a:lnTo>
                  <a:lnTo>
                    <a:pt x="1014" y="108"/>
                  </a:lnTo>
                  <a:lnTo>
                    <a:pt x="1008" y="114"/>
                  </a:lnTo>
                  <a:lnTo>
                    <a:pt x="1008" y="120"/>
                  </a:lnTo>
                  <a:lnTo>
                    <a:pt x="1008" y="126"/>
                  </a:lnTo>
                  <a:lnTo>
                    <a:pt x="1014" y="126"/>
                  </a:lnTo>
                  <a:lnTo>
                    <a:pt x="1014" y="132"/>
                  </a:lnTo>
                  <a:lnTo>
                    <a:pt x="1020" y="132"/>
                  </a:lnTo>
                  <a:lnTo>
                    <a:pt x="1020" y="126"/>
                  </a:lnTo>
                  <a:lnTo>
                    <a:pt x="1020" y="120"/>
                  </a:lnTo>
                  <a:lnTo>
                    <a:pt x="1032" y="120"/>
                  </a:lnTo>
                  <a:lnTo>
                    <a:pt x="1038" y="120"/>
                  </a:lnTo>
                  <a:lnTo>
                    <a:pt x="1038" y="126"/>
                  </a:lnTo>
                  <a:lnTo>
                    <a:pt x="1044" y="132"/>
                  </a:lnTo>
                  <a:lnTo>
                    <a:pt x="1044" y="126"/>
                  </a:lnTo>
                  <a:lnTo>
                    <a:pt x="1050" y="120"/>
                  </a:lnTo>
                  <a:lnTo>
                    <a:pt x="1050" y="114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68" y="102"/>
                  </a:lnTo>
                  <a:lnTo>
                    <a:pt x="1074" y="96"/>
                  </a:lnTo>
                  <a:lnTo>
                    <a:pt x="1074" y="90"/>
                  </a:lnTo>
                  <a:lnTo>
                    <a:pt x="1068" y="90"/>
                  </a:lnTo>
                  <a:lnTo>
                    <a:pt x="1068" y="84"/>
                  </a:lnTo>
                  <a:lnTo>
                    <a:pt x="1080" y="84"/>
                  </a:lnTo>
                  <a:lnTo>
                    <a:pt x="1086" y="78"/>
                  </a:lnTo>
                  <a:lnTo>
                    <a:pt x="1086" y="72"/>
                  </a:lnTo>
                  <a:lnTo>
                    <a:pt x="1080" y="78"/>
                  </a:lnTo>
                  <a:lnTo>
                    <a:pt x="1080" y="72"/>
                  </a:lnTo>
                  <a:lnTo>
                    <a:pt x="1080" y="66"/>
                  </a:lnTo>
                  <a:lnTo>
                    <a:pt x="1074" y="66"/>
                  </a:lnTo>
                  <a:lnTo>
                    <a:pt x="1080" y="66"/>
                  </a:lnTo>
                  <a:lnTo>
                    <a:pt x="1080" y="60"/>
                  </a:lnTo>
                  <a:lnTo>
                    <a:pt x="1086" y="60"/>
                  </a:lnTo>
                  <a:lnTo>
                    <a:pt x="1086" y="54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2" y="42"/>
                  </a:lnTo>
                  <a:lnTo>
                    <a:pt x="1098" y="42"/>
                  </a:lnTo>
                  <a:lnTo>
                    <a:pt x="1104" y="36"/>
                  </a:lnTo>
                  <a:lnTo>
                    <a:pt x="1110" y="36"/>
                  </a:lnTo>
                  <a:lnTo>
                    <a:pt x="1110" y="30"/>
                  </a:lnTo>
                  <a:lnTo>
                    <a:pt x="1110" y="24"/>
                  </a:lnTo>
                  <a:lnTo>
                    <a:pt x="1116" y="24"/>
                  </a:lnTo>
                  <a:lnTo>
                    <a:pt x="1116" y="18"/>
                  </a:lnTo>
                  <a:lnTo>
                    <a:pt x="1122" y="18"/>
                  </a:lnTo>
                  <a:lnTo>
                    <a:pt x="1128" y="18"/>
                  </a:lnTo>
                  <a:lnTo>
                    <a:pt x="1134" y="12"/>
                  </a:lnTo>
                  <a:lnTo>
                    <a:pt x="1134" y="6"/>
                  </a:lnTo>
                  <a:lnTo>
                    <a:pt x="1140" y="6"/>
                  </a:lnTo>
                  <a:lnTo>
                    <a:pt x="1146" y="0"/>
                  </a:lnTo>
                  <a:lnTo>
                    <a:pt x="1152" y="0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70" y="0"/>
                  </a:lnTo>
                  <a:lnTo>
                    <a:pt x="1176" y="6"/>
                  </a:lnTo>
                  <a:lnTo>
                    <a:pt x="1182" y="6"/>
                  </a:lnTo>
                  <a:lnTo>
                    <a:pt x="1194" y="6"/>
                  </a:lnTo>
                  <a:lnTo>
                    <a:pt x="1200" y="6"/>
                  </a:lnTo>
                  <a:lnTo>
                    <a:pt x="1212" y="0"/>
                  </a:lnTo>
                  <a:lnTo>
                    <a:pt x="1212" y="6"/>
                  </a:lnTo>
                  <a:lnTo>
                    <a:pt x="1218" y="6"/>
                  </a:lnTo>
                  <a:lnTo>
                    <a:pt x="1266" y="6"/>
                  </a:lnTo>
                  <a:lnTo>
                    <a:pt x="1272" y="0"/>
                  </a:lnTo>
                  <a:lnTo>
                    <a:pt x="1278" y="6"/>
                  </a:lnTo>
                  <a:lnTo>
                    <a:pt x="1290" y="6"/>
                  </a:lnTo>
                  <a:lnTo>
                    <a:pt x="1296" y="6"/>
                  </a:lnTo>
                  <a:lnTo>
                    <a:pt x="1308" y="6"/>
                  </a:lnTo>
                  <a:lnTo>
                    <a:pt x="1314" y="6"/>
                  </a:lnTo>
                  <a:lnTo>
                    <a:pt x="1320" y="6"/>
                  </a:lnTo>
                  <a:lnTo>
                    <a:pt x="1326" y="12"/>
                  </a:lnTo>
                  <a:lnTo>
                    <a:pt x="1338" y="30"/>
                  </a:lnTo>
                  <a:lnTo>
                    <a:pt x="1344" y="36"/>
                  </a:lnTo>
                  <a:lnTo>
                    <a:pt x="1356" y="48"/>
                  </a:lnTo>
                  <a:lnTo>
                    <a:pt x="1362" y="60"/>
                  </a:lnTo>
                  <a:lnTo>
                    <a:pt x="1368" y="66"/>
                  </a:lnTo>
                  <a:lnTo>
                    <a:pt x="1374" y="72"/>
                  </a:lnTo>
                  <a:lnTo>
                    <a:pt x="1374" y="78"/>
                  </a:lnTo>
                  <a:lnTo>
                    <a:pt x="1398" y="108"/>
                  </a:lnTo>
                  <a:lnTo>
                    <a:pt x="1398" y="114"/>
                  </a:lnTo>
                  <a:lnTo>
                    <a:pt x="1404" y="114"/>
                  </a:lnTo>
                  <a:lnTo>
                    <a:pt x="1404" y="120"/>
                  </a:lnTo>
                  <a:lnTo>
                    <a:pt x="1410" y="132"/>
                  </a:lnTo>
                  <a:lnTo>
                    <a:pt x="1416" y="132"/>
                  </a:lnTo>
                  <a:lnTo>
                    <a:pt x="1416" y="138"/>
                  </a:lnTo>
                  <a:lnTo>
                    <a:pt x="1422" y="144"/>
                  </a:lnTo>
                  <a:lnTo>
                    <a:pt x="1428" y="150"/>
                  </a:lnTo>
                  <a:lnTo>
                    <a:pt x="1428" y="156"/>
                  </a:lnTo>
                  <a:lnTo>
                    <a:pt x="1458" y="192"/>
                  </a:lnTo>
                  <a:lnTo>
                    <a:pt x="1458" y="198"/>
                  </a:lnTo>
                  <a:lnTo>
                    <a:pt x="1464" y="204"/>
                  </a:lnTo>
                  <a:lnTo>
                    <a:pt x="1470" y="210"/>
                  </a:lnTo>
                  <a:lnTo>
                    <a:pt x="1476" y="216"/>
                  </a:lnTo>
                  <a:lnTo>
                    <a:pt x="1482" y="228"/>
                  </a:lnTo>
                  <a:lnTo>
                    <a:pt x="1488" y="234"/>
                  </a:lnTo>
                  <a:lnTo>
                    <a:pt x="1512" y="270"/>
                  </a:lnTo>
                  <a:lnTo>
                    <a:pt x="1512" y="276"/>
                  </a:lnTo>
                  <a:lnTo>
                    <a:pt x="1530" y="300"/>
                  </a:lnTo>
                  <a:lnTo>
                    <a:pt x="1536" y="306"/>
                  </a:lnTo>
                  <a:lnTo>
                    <a:pt x="1542" y="312"/>
                  </a:lnTo>
                  <a:lnTo>
                    <a:pt x="1542" y="318"/>
                  </a:lnTo>
                  <a:lnTo>
                    <a:pt x="1560" y="336"/>
                  </a:lnTo>
                  <a:lnTo>
                    <a:pt x="1566" y="348"/>
                  </a:lnTo>
                  <a:lnTo>
                    <a:pt x="1572" y="354"/>
                  </a:lnTo>
                  <a:lnTo>
                    <a:pt x="1578" y="360"/>
                  </a:lnTo>
                  <a:lnTo>
                    <a:pt x="1584" y="378"/>
                  </a:lnTo>
                  <a:lnTo>
                    <a:pt x="1590" y="378"/>
                  </a:lnTo>
                  <a:lnTo>
                    <a:pt x="1596" y="390"/>
                  </a:lnTo>
                  <a:lnTo>
                    <a:pt x="1602" y="396"/>
                  </a:lnTo>
                  <a:lnTo>
                    <a:pt x="1608" y="408"/>
                  </a:lnTo>
                  <a:lnTo>
                    <a:pt x="1614" y="408"/>
                  </a:lnTo>
                  <a:lnTo>
                    <a:pt x="1614" y="432"/>
                  </a:lnTo>
                  <a:lnTo>
                    <a:pt x="1620" y="438"/>
                  </a:lnTo>
                  <a:lnTo>
                    <a:pt x="1620" y="450"/>
                  </a:lnTo>
                  <a:lnTo>
                    <a:pt x="1620" y="462"/>
                  </a:lnTo>
                  <a:lnTo>
                    <a:pt x="1626" y="474"/>
                  </a:lnTo>
                  <a:lnTo>
                    <a:pt x="1626" y="480"/>
                  </a:lnTo>
                  <a:lnTo>
                    <a:pt x="1626" y="486"/>
                  </a:lnTo>
                  <a:lnTo>
                    <a:pt x="1632" y="522"/>
                  </a:lnTo>
                  <a:lnTo>
                    <a:pt x="1632" y="528"/>
                  </a:lnTo>
                  <a:lnTo>
                    <a:pt x="1632" y="534"/>
                  </a:lnTo>
                  <a:lnTo>
                    <a:pt x="1638" y="540"/>
                  </a:lnTo>
                  <a:lnTo>
                    <a:pt x="1638" y="558"/>
                  </a:lnTo>
                  <a:lnTo>
                    <a:pt x="1638" y="570"/>
                  </a:lnTo>
                  <a:lnTo>
                    <a:pt x="1644" y="582"/>
                  </a:lnTo>
                  <a:lnTo>
                    <a:pt x="1650" y="618"/>
                  </a:lnTo>
                  <a:lnTo>
                    <a:pt x="1650" y="624"/>
                  </a:lnTo>
                  <a:lnTo>
                    <a:pt x="1650" y="636"/>
                  </a:lnTo>
                  <a:lnTo>
                    <a:pt x="1656" y="642"/>
                  </a:lnTo>
                  <a:lnTo>
                    <a:pt x="1656" y="648"/>
                  </a:lnTo>
                  <a:lnTo>
                    <a:pt x="1656" y="654"/>
                  </a:lnTo>
                  <a:lnTo>
                    <a:pt x="1656" y="660"/>
                  </a:lnTo>
                  <a:lnTo>
                    <a:pt x="1662" y="696"/>
                  </a:lnTo>
                  <a:lnTo>
                    <a:pt x="1668" y="708"/>
                  </a:lnTo>
                  <a:lnTo>
                    <a:pt x="1668" y="714"/>
                  </a:lnTo>
                  <a:lnTo>
                    <a:pt x="1668" y="732"/>
                  </a:lnTo>
                  <a:lnTo>
                    <a:pt x="1668" y="744"/>
                  </a:lnTo>
                  <a:lnTo>
                    <a:pt x="1674" y="756"/>
                  </a:lnTo>
                  <a:lnTo>
                    <a:pt x="1680" y="762"/>
                  </a:lnTo>
                  <a:lnTo>
                    <a:pt x="1680" y="768"/>
                  </a:lnTo>
                  <a:lnTo>
                    <a:pt x="1680" y="774"/>
                  </a:lnTo>
                  <a:lnTo>
                    <a:pt x="1680" y="780"/>
                  </a:lnTo>
                  <a:lnTo>
                    <a:pt x="1674" y="786"/>
                  </a:lnTo>
                  <a:lnTo>
                    <a:pt x="1668" y="792"/>
                  </a:lnTo>
                  <a:lnTo>
                    <a:pt x="1668" y="798"/>
                  </a:lnTo>
                  <a:lnTo>
                    <a:pt x="1668" y="804"/>
                  </a:lnTo>
                  <a:lnTo>
                    <a:pt x="1674" y="804"/>
                  </a:lnTo>
                  <a:lnTo>
                    <a:pt x="1668" y="810"/>
                  </a:lnTo>
                  <a:lnTo>
                    <a:pt x="1674" y="810"/>
                  </a:lnTo>
                  <a:lnTo>
                    <a:pt x="1680" y="810"/>
                  </a:lnTo>
                  <a:lnTo>
                    <a:pt x="1680" y="816"/>
                  </a:lnTo>
                  <a:lnTo>
                    <a:pt x="1680" y="822"/>
                  </a:lnTo>
                  <a:lnTo>
                    <a:pt x="1674" y="822"/>
                  </a:lnTo>
                  <a:lnTo>
                    <a:pt x="1674" y="828"/>
                  </a:lnTo>
                  <a:lnTo>
                    <a:pt x="1668" y="828"/>
                  </a:lnTo>
                  <a:lnTo>
                    <a:pt x="1674" y="834"/>
                  </a:lnTo>
                  <a:lnTo>
                    <a:pt x="1668" y="834"/>
                  </a:lnTo>
                  <a:lnTo>
                    <a:pt x="1668" y="840"/>
                  </a:lnTo>
                  <a:lnTo>
                    <a:pt x="1674" y="840"/>
                  </a:lnTo>
                  <a:lnTo>
                    <a:pt x="1686" y="852"/>
                  </a:lnTo>
                  <a:lnTo>
                    <a:pt x="1692" y="858"/>
                  </a:lnTo>
                  <a:lnTo>
                    <a:pt x="1698" y="858"/>
                  </a:lnTo>
                  <a:lnTo>
                    <a:pt x="1698" y="864"/>
                  </a:lnTo>
                  <a:lnTo>
                    <a:pt x="1698" y="870"/>
                  </a:lnTo>
                  <a:lnTo>
                    <a:pt x="1704" y="864"/>
                  </a:lnTo>
                  <a:lnTo>
                    <a:pt x="1716" y="864"/>
                  </a:lnTo>
                  <a:lnTo>
                    <a:pt x="1722" y="864"/>
                  </a:lnTo>
                  <a:lnTo>
                    <a:pt x="1728" y="864"/>
                  </a:lnTo>
                  <a:lnTo>
                    <a:pt x="1734" y="864"/>
                  </a:lnTo>
                  <a:lnTo>
                    <a:pt x="1740" y="864"/>
                  </a:lnTo>
                  <a:lnTo>
                    <a:pt x="1746" y="876"/>
                  </a:lnTo>
                  <a:lnTo>
                    <a:pt x="1746" y="870"/>
                  </a:lnTo>
                  <a:lnTo>
                    <a:pt x="1740" y="864"/>
                  </a:lnTo>
                  <a:lnTo>
                    <a:pt x="1746" y="864"/>
                  </a:lnTo>
                  <a:lnTo>
                    <a:pt x="1752" y="870"/>
                  </a:lnTo>
                  <a:lnTo>
                    <a:pt x="1758" y="864"/>
                  </a:lnTo>
                  <a:lnTo>
                    <a:pt x="1764" y="864"/>
                  </a:lnTo>
                  <a:lnTo>
                    <a:pt x="1770" y="858"/>
                  </a:lnTo>
                  <a:lnTo>
                    <a:pt x="1782" y="864"/>
                  </a:lnTo>
                  <a:lnTo>
                    <a:pt x="1782" y="870"/>
                  </a:lnTo>
                  <a:lnTo>
                    <a:pt x="1788" y="864"/>
                  </a:lnTo>
                  <a:lnTo>
                    <a:pt x="1794" y="864"/>
                  </a:lnTo>
                  <a:lnTo>
                    <a:pt x="1800" y="870"/>
                  </a:lnTo>
                  <a:lnTo>
                    <a:pt x="1818" y="864"/>
                  </a:lnTo>
                  <a:lnTo>
                    <a:pt x="1824" y="870"/>
                  </a:lnTo>
                  <a:lnTo>
                    <a:pt x="1830" y="864"/>
                  </a:lnTo>
                  <a:lnTo>
                    <a:pt x="1836" y="864"/>
                  </a:lnTo>
                  <a:lnTo>
                    <a:pt x="1842" y="870"/>
                  </a:lnTo>
                  <a:lnTo>
                    <a:pt x="1842" y="876"/>
                  </a:lnTo>
                  <a:lnTo>
                    <a:pt x="1848" y="876"/>
                  </a:lnTo>
                  <a:lnTo>
                    <a:pt x="1848" y="870"/>
                  </a:lnTo>
                  <a:lnTo>
                    <a:pt x="1854" y="870"/>
                  </a:lnTo>
                  <a:lnTo>
                    <a:pt x="1860" y="870"/>
                  </a:lnTo>
                  <a:lnTo>
                    <a:pt x="1860" y="876"/>
                  </a:lnTo>
                  <a:lnTo>
                    <a:pt x="1866" y="876"/>
                  </a:lnTo>
                  <a:lnTo>
                    <a:pt x="1866" y="882"/>
                  </a:lnTo>
                  <a:lnTo>
                    <a:pt x="1872" y="882"/>
                  </a:lnTo>
                  <a:lnTo>
                    <a:pt x="1878" y="888"/>
                  </a:lnTo>
                  <a:lnTo>
                    <a:pt x="1890" y="888"/>
                  </a:lnTo>
                  <a:lnTo>
                    <a:pt x="1890" y="894"/>
                  </a:lnTo>
                  <a:lnTo>
                    <a:pt x="1890" y="900"/>
                  </a:lnTo>
                  <a:lnTo>
                    <a:pt x="1884" y="900"/>
                  </a:lnTo>
                  <a:lnTo>
                    <a:pt x="1884" y="906"/>
                  </a:lnTo>
                  <a:lnTo>
                    <a:pt x="1884" y="912"/>
                  </a:lnTo>
                  <a:lnTo>
                    <a:pt x="1890" y="912"/>
                  </a:lnTo>
                  <a:lnTo>
                    <a:pt x="1896" y="912"/>
                  </a:lnTo>
                  <a:lnTo>
                    <a:pt x="1902" y="912"/>
                  </a:lnTo>
                  <a:lnTo>
                    <a:pt x="1908" y="918"/>
                  </a:lnTo>
                  <a:lnTo>
                    <a:pt x="1908" y="924"/>
                  </a:lnTo>
                  <a:lnTo>
                    <a:pt x="1908" y="930"/>
                  </a:lnTo>
                  <a:lnTo>
                    <a:pt x="1908" y="936"/>
                  </a:lnTo>
                  <a:lnTo>
                    <a:pt x="1914" y="936"/>
                  </a:lnTo>
                  <a:lnTo>
                    <a:pt x="1914" y="942"/>
                  </a:lnTo>
                  <a:lnTo>
                    <a:pt x="1908" y="948"/>
                  </a:lnTo>
                  <a:lnTo>
                    <a:pt x="1914" y="948"/>
                  </a:lnTo>
                  <a:lnTo>
                    <a:pt x="1920" y="954"/>
                  </a:lnTo>
                  <a:lnTo>
                    <a:pt x="1926" y="954"/>
                  </a:lnTo>
                  <a:lnTo>
                    <a:pt x="1932" y="954"/>
                  </a:lnTo>
                  <a:lnTo>
                    <a:pt x="1938" y="954"/>
                  </a:lnTo>
                  <a:lnTo>
                    <a:pt x="1938" y="960"/>
                  </a:lnTo>
                  <a:lnTo>
                    <a:pt x="1944" y="966"/>
                  </a:lnTo>
                  <a:lnTo>
                    <a:pt x="1944" y="972"/>
                  </a:lnTo>
                  <a:lnTo>
                    <a:pt x="1944" y="978"/>
                  </a:lnTo>
                  <a:lnTo>
                    <a:pt x="1950" y="978"/>
                  </a:lnTo>
                  <a:lnTo>
                    <a:pt x="1950" y="984"/>
                  </a:lnTo>
                  <a:lnTo>
                    <a:pt x="1956" y="984"/>
                  </a:lnTo>
                  <a:lnTo>
                    <a:pt x="1962" y="984"/>
                  </a:lnTo>
                  <a:lnTo>
                    <a:pt x="1962" y="978"/>
                  </a:lnTo>
                  <a:lnTo>
                    <a:pt x="1968" y="978"/>
                  </a:lnTo>
                  <a:lnTo>
                    <a:pt x="1974" y="978"/>
                  </a:lnTo>
                  <a:lnTo>
                    <a:pt x="1980" y="972"/>
                  </a:lnTo>
                  <a:lnTo>
                    <a:pt x="1980" y="978"/>
                  </a:lnTo>
                  <a:lnTo>
                    <a:pt x="1980" y="984"/>
                  </a:lnTo>
                  <a:lnTo>
                    <a:pt x="1986" y="984"/>
                  </a:lnTo>
                  <a:lnTo>
                    <a:pt x="1992" y="990"/>
                  </a:lnTo>
                  <a:lnTo>
                    <a:pt x="1992" y="996"/>
                  </a:lnTo>
                  <a:lnTo>
                    <a:pt x="1992" y="1002"/>
                  </a:lnTo>
                  <a:lnTo>
                    <a:pt x="1974" y="1008"/>
                  </a:lnTo>
                  <a:lnTo>
                    <a:pt x="1974" y="1014"/>
                  </a:lnTo>
                  <a:lnTo>
                    <a:pt x="1974" y="1020"/>
                  </a:lnTo>
                  <a:lnTo>
                    <a:pt x="1974" y="1026"/>
                  </a:lnTo>
                  <a:lnTo>
                    <a:pt x="1968" y="1038"/>
                  </a:lnTo>
                  <a:lnTo>
                    <a:pt x="1968" y="1044"/>
                  </a:lnTo>
                  <a:lnTo>
                    <a:pt x="1974" y="1056"/>
                  </a:lnTo>
                  <a:lnTo>
                    <a:pt x="1968" y="1062"/>
                  </a:lnTo>
                  <a:lnTo>
                    <a:pt x="1962" y="1062"/>
                  </a:lnTo>
                  <a:lnTo>
                    <a:pt x="1956" y="1068"/>
                  </a:lnTo>
                  <a:lnTo>
                    <a:pt x="1956" y="1074"/>
                  </a:lnTo>
                  <a:lnTo>
                    <a:pt x="1956" y="1080"/>
                  </a:lnTo>
                  <a:lnTo>
                    <a:pt x="1956" y="1086"/>
                  </a:lnTo>
                  <a:lnTo>
                    <a:pt x="1956" y="1092"/>
                  </a:lnTo>
                  <a:lnTo>
                    <a:pt x="1962" y="1092"/>
                  </a:lnTo>
                  <a:lnTo>
                    <a:pt x="1962" y="1104"/>
                  </a:lnTo>
                  <a:lnTo>
                    <a:pt x="1968" y="1110"/>
                  </a:lnTo>
                  <a:lnTo>
                    <a:pt x="1968" y="1116"/>
                  </a:lnTo>
                  <a:lnTo>
                    <a:pt x="1974" y="1116"/>
                  </a:lnTo>
                  <a:lnTo>
                    <a:pt x="1974" y="1122"/>
                  </a:lnTo>
                  <a:lnTo>
                    <a:pt x="1980" y="1122"/>
                  </a:lnTo>
                  <a:lnTo>
                    <a:pt x="1974" y="1128"/>
                  </a:lnTo>
                  <a:lnTo>
                    <a:pt x="1968" y="1134"/>
                  </a:lnTo>
                  <a:lnTo>
                    <a:pt x="1962" y="1140"/>
                  </a:lnTo>
                  <a:lnTo>
                    <a:pt x="1962" y="1146"/>
                  </a:lnTo>
                  <a:lnTo>
                    <a:pt x="1968" y="1152"/>
                  </a:lnTo>
                  <a:lnTo>
                    <a:pt x="1968" y="1158"/>
                  </a:lnTo>
                  <a:lnTo>
                    <a:pt x="1962" y="1158"/>
                  </a:lnTo>
                  <a:lnTo>
                    <a:pt x="1962" y="1164"/>
                  </a:lnTo>
                  <a:lnTo>
                    <a:pt x="1956" y="1164"/>
                  </a:lnTo>
                  <a:lnTo>
                    <a:pt x="1956" y="1170"/>
                  </a:lnTo>
                  <a:lnTo>
                    <a:pt x="1944" y="1182"/>
                  </a:lnTo>
                  <a:lnTo>
                    <a:pt x="1944" y="1188"/>
                  </a:lnTo>
                  <a:lnTo>
                    <a:pt x="1950" y="1188"/>
                  </a:lnTo>
                  <a:lnTo>
                    <a:pt x="1944" y="1200"/>
                  </a:lnTo>
                  <a:lnTo>
                    <a:pt x="1944" y="1206"/>
                  </a:lnTo>
                  <a:lnTo>
                    <a:pt x="1944" y="1212"/>
                  </a:lnTo>
                  <a:lnTo>
                    <a:pt x="1944" y="1218"/>
                  </a:lnTo>
                  <a:lnTo>
                    <a:pt x="1944" y="1230"/>
                  </a:lnTo>
                  <a:lnTo>
                    <a:pt x="1944" y="1236"/>
                  </a:lnTo>
                  <a:lnTo>
                    <a:pt x="1944" y="1242"/>
                  </a:lnTo>
                  <a:lnTo>
                    <a:pt x="1938" y="1248"/>
                  </a:lnTo>
                  <a:lnTo>
                    <a:pt x="1938" y="1254"/>
                  </a:lnTo>
                  <a:lnTo>
                    <a:pt x="1932" y="1254"/>
                  </a:lnTo>
                  <a:lnTo>
                    <a:pt x="1926" y="1260"/>
                  </a:lnTo>
                  <a:lnTo>
                    <a:pt x="1920" y="1266"/>
                  </a:lnTo>
                  <a:lnTo>
                    <a:pt x="1914" y="1272"/>
                  </a:lnTo>
                  <a:lnTo>
                    <a:pt x="1908" y="1272"/>
                  </a:lnTo>
                  <a:lnTo>
                    <a:pt x="1908" y="1278"/>
                  </a:lnTo>
                  <a:lnTo>
                    <a:pt x="1914" y="1278"/>
                  </a:lnTo>
                  <a:lnTo>
                    <a:pt x="1914" y="1290"/>
                  </a:lnTo>
                  <a:lnTo>
                    <a:pt x="1920" y="1296"/>
                  </a:lnTo>
                  <a:lnTo>
                    <a:pt x="1938" y="1302"/>
                  </a:lnTo>
                  <a:lnTo>
                    <a:pt x="1944" y="1308"/>
                  </a:lnTo>
                  <a:lnTo>
                    <a:pt x="1950" y="1314"/>
                  </a:lnTo>
                  <a:lnTo>
                    <a:pt x="1956" y="1314"/>
                  </a:lnTo>
                  <a:lnTo>
                    <a:pt x="1962" y="1320"/>
                  </a:lnTo>
                  <a:lnTo>
                    <a:pt x="1962" y="1326"/>
                  </a:lnTo>
                  <a:lnTo>
                    <a:pt x="1968" y="1326"/>
                  </a:lnTo>
                  <a:lnTo>
                    <a:pt x="1968" y="1332"/>
                  </a:lnTo>
                  <a:lnTo>
                    <a:pt x="1968" y="1344"/>
                  </a:lnTo>
                  <a:lnTo>
                    <a:pt x="1968" y="1350"/>
                  </a:lnTo>
                  <a:lnTo>
                    <a:pt x="1968" y="1368"/>
                  </a:lnTo>
                  <a:lnTo>
                    <a:pt x="1962" y="1380"/>
                  </a:lnTo>
                  <a:lnTo>
                    <a:pt x="1968" y="1392"/>
                  </a:lnTo>
                  <a:lnTo>
                    <a:pt x="1962" y="1398"/>
                  </a:lnTo>
                  <a:lnTo>
                    <a:pt x="1956" y="1404"/>
                  </a:lnTo>
                  <a:lnTo>
                    <a:pt x="1950" y="1410"/>
                  </a:lnTo>
                  <a:lnTo>
                    <a:pt x="1944" y="1410"/>
                  </a:lnTo>
                  <a:lnTo>
                    <a:pt x="1932" y="1416"/>
                  </a:lnTo>
                  <a:lnTo>
                    <a:pt x="1926" y="1416"/>
                  </a:lnTo>
                  <a:lnTo>
                    <a:pt x="1896" y="1428"/>
                  </a:lnTo>
                  <a:lnTo>
                    <a:pt x="1884" y="1434"/>
                  </a:lnTo>
                  <a:lnTo>
                    <a:pt x="1878" y="1434"/>
                  </a:lnTo>
                  <a:lnTo>
                    <a:pt x="1866" y="1434"/>
                  </a:lnTo>
                  <a:lnTo>
                    <a:pt x="1854" y="1440"/>
                  </a:lnTo>
                  <a:lnTo>
                    <a:pt x="1848" y="1440"/>
                  </a:lnTo>
                  <a:lnTo>
                    <a:pt x="1842" y="1446"/>
                  </a:lnTo>
                  <a:lnTo>
                    <a:pt x="1842" y="1458"/>
                  </a:lnTo>
                  <a:lnTo>
                    <a:pt x="1836" y="1470"/>
                  </a:lnTo>
                  <a:lnTo>
                    <a:pt x="1830" y="1476"/>
                  </a:lnTo>
                  <a:lnTo>
                    <a:pt x="1824" y="1476"/>
                  </a:lnTo>
                  <a:lnTo>
                    <a:pt x="1806" y="1482"/>
                  </a:lnTo>
                  <a:lnTo>
                    <a:pt x="1800" y="1488"/>
                  </a:lnTo>
                  <a:lnTo>
                    <a:pt x="1794" y="1488"/>
                  </a:lnTo>
                  <a:lnTo>
                    <a:pt x="1788" y="1488"/>
                  </a:lnTo>
                  <a:lnTo>
                    <a:pt x="1776" y="1494"/>
                  </a:lnTo>
                  <a:lnTo>
                    <a:pt x="1764" y="1494"/>
                  </a:lnTo>
                  <a:lnTo>
                    <a:pt x="1758" y="1500"/>
                  </a:lnTo>
                  <a:lnTo>
                    <a:pt x="1746" y="1506"/>
                  </a:lnTo>
                  <a:lnTo>
                    <a:pt x="1728" y="1518"/>
                  </a:lnTo>
                  <a:lnTo>
                    <a:pt x="1716" y="1524"/>
                  </a:lnTo>
                  <a:lnTo>
                    <a:pt x="1710" y="1530"/>
                  </a:lnTo>
                  <a:lnTo>
                    <a:pt x="1704" y="1536"/>
                  </a:lnTo>
                  <a:lnTo>
                    <a:pt x="1698" y="1542"/>
                  </a:lnTo>
                  <a:lnTo>
                    <a:pt x="1692" y="1554"/>
                  </a:lnTo>
                  <a:lnTo>
                    <a:pt x="1686" y="1560"/>
                  </a:lnTo>
                  <a:lnTo>
                    <a:pt x="1680" y="1560"/>
                  </a:lnTo>
                  <a:lnTo>
                    <a:pt x="1674" y="1560"/>
                  </a:lnTo>
                  <a:lnTo>
                    <a:pt x="1656" y="1572"/>
                  </a:lnTo>
                  <a:lnTo>
                    <a:pt x="1650" y="1572"/>
                  </a:lnTo>
                  <a:lnTo>
                    <a:pt x="1644" y="1572"/>
                  </a:lnTo>
                  <a:lnTo>
                    <a:pt x="1638" y="1578"/>
                  </a:lnTo>
                  <a:lnTo>
                    <a:pt x="1632" y="1578"/>
                  </a:lnTo>
                  <a:lnTo>
                    <a:pt x="1626" y="1578"/>
                  </a:lnTo>
                  <a:lnTo>
                    <a:pt x="1620" y="1572"/>
                  </a:lnTo>
                  <a:lnTo>
                    <a:pt x="1614" y="1572"/>
                  </a:lnTo>
                  <a:lnTo>
                    <a:pt x="1608" y="1566"/>
                  </a:lnTo>
                  <a:lnTo>
                    <a:pt x="1602" y="1560"/>
                  </a:lnTo>
                  <a:lnTo>
                    <a:pt x="1596" y="1554"/>
                  </a:lnTo>
                  <a:lnTo>
                    <a:pt x="1590" y="1548"/>
                  </a:lnTo>
                  <a:lnTo>
                    <a:pt x="1578" y="1548"/>
                  </a:lnTo>
                  <a:lnTo>
                    <a:pt x="1572" y="1548"/>
                  </a:lnTo>
                  <a:lnTo>
                    <a:pt x="1566" y="1548"/>
                  </a:lnTo>
                  <a:lnTo>
                    <a:pt x="1554" y="1536"/>
                  </a:lnTo>
                  <a:lnTo>
                    <a:pt x="1548" y="1536"/>
                  </a:lnTo>
                  <a:lnTo>
                    <a:pt x="1542" y="1542"/>
                  </a:lnTo>
                  <a:lnTo>
                    <a:pt x="1536" y="1548"/>
                  </a:lnTo>
                  <a:lnTo>
                    <a:pt x="1536" y="1566"/>
                  </a:lnTo>
                  <a:lnTo>
                    <a:pt x="1530" y="1572"/>
                  </a:lnTo>
                  <a:lnTo>
                    <a:pt x="1524" y="1578"/>
                  </a:lnTo>
                  <a:lnTo>
                    <a:pt x="1518" y="1584"/>
                  </a:lnTo>
                  <a:lnTo>
                    <a:pt x="1512" y="1596"/>
                  </a:lnTo>
                  <a:lnTo>
                    <a:pt x="1506" y="1602"/>
                  </a:lnTo>
                  <a:lnTo>
                    <a:pt x="1506" y="1608"/>
                  </a:lnTo>
                  <a:lnTo>
                    <a:pt x="1506" y="1614"/>
                  </a:lnTo>
                  <a:lnTo>
                    <a:pt x="1500" y="1614"/>
                  </a:lnTo>
                  <a:lnTo>
                    <a:pt x="1500" y="1620"/>
                  </a:lnTo>
                  <a:lnTo>
                    <a:pt x="1500" y="1626"/>
                  </a:lnTo>
                  <a:lnTo>
                    <a:pt x="1494" y="1632"/>
                  </a:lnTo>
                  <a:lnTo>
                    <a:pt x="1488" y="1638"/>
                  </a:lnTo>
                  <a:lnTo>
                    <a:pt x="1482" y="1638"/>
                  </a:lnTo>
                  <a:lnTo>
                    <a:pt x="1482" y="1644"/>
                  </a:lnTo>
                  <a:lnTo>
                    <a:pt x="1482" y="1650"/>
                  </a:lnTo>
                  <a:lnTo>
                    <a:pt x="1482" y="1656"/>
                  </a:lnTo>
                  <a:lnTo>
                    <a:pt x="1476" y="1662"/>
                  </a:lnTo>
                  <a:lnTo>
                    <a:pt x="1470" y="1668"/>
                  </a:lnTo>
                  <a:lnTo>
                    <a:pt x="1464" y="1674"/>
                  </a:lnTo>
                  <a:lnTo>
                    <a:pt x="1464" y="1680"/>
                  </a:lnTo>
                  <a:lnTo>
                    <a:pt x="1458" y="1680"/>
                  </a:lnTo>
                  <a:lnTo>
                    <a:pt x="1452" y="1686"/>
                  </a:lnTo>
                  <a:lnTo>
                    <a:pt x="1446" y="1686"/>
                  </a:lnTo>
                  <a:lnTo>
                    <a:pt x="1440" y="1698"/>
                  </a:lnTo>
                  <a:lnTo>
                    <a:pt x="1440" y="1704"/>
                  </a:lnTo>
                  <a:lnTo>
                    <a:pt x="1434" y="1710"/>
                  </a:lnTo>
                  <a:lnTo>
                    <a:pt x="1434" y="1716"/>
                  </a:lnTo>
                  <a:lnTo>
                    <a:pt x="1428" y="1716"/>
                  </a:lnTo>
                  <a:lnTo>
                    <a:pt x="1428" y="1722"/>
                  </a:lnTo>
                  <a:lnTo>
                    <a:pt x="1428" y="1728"/>
                  </a:lnTo>
                  <a:lnTo>
                    <a:pt x="1422" y="1728"/>
                  </a:lnTo>
                  <a:lnTo>
                    <a:pt x="1422" y="1734"/>
                  </a:lnTo>
                  <a:lnTo>
                    <a:pt x="1416" y="1734"/>
                  </a:lnTo>
                  <a:lnTo>
                    <a:pt x="1410" y="1734"/>
                  </a:lnTo>
                  <a:lnTo>
                    <a:pt x="1392" y="1746"/>
                  </a:lnTo>
                  <a:lnTo>
                    <a:pt x="1386" y="1746"/>
                  </a:lnTo>
                  <a:lnTo>
                    <a:pt x="1368" y="1752"/>
                  </a:lnTo>
                  <a:lnTo>
                    <a:pt x="1362" y="1758"/>
                  </a:lnTo>
                  <a:lnTo>
                    <a:pt x="1362" y="1770"/>
                  </a:lnTo>
                  <a:lnTo>
                    <a:pt x="1356" y="178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</p:grpSp>
      <p:graphicFrame>
        <p:nvGraphicFramePr>
          <p:cNvPr id="357" name="Group 76">
            <a:extLst>
              <a:ext uri="{FF2B5EF4-FFF2-40B4-BE49-F238E27FC236}">
                <a16:creationId xmlns:a16="http://schemas.microsoft.com/office/drawing/2014/main" id="{57830D68-CF73-4A3E-9D36-141B03AADBF7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41338" y="3402013"/>
          <a:ext cx="3735387" cy="1827306"/>
        </p:xfrm>
        <a:graphic>
          <a:graphicData uri="http://schemas.openxmlformats.org/drawingml/2006/table">
            <a:tbl>
              <a:tblPr/>
              <a:tblGrid>
                <a:gridCol w="1316931">
                  <a:extLst>
                    <a:ext uri="{9D8B030D-6E8A-4147-A177-3AD203B41FA5}">
                      <a16:colId xmlns:a16="http://schemas.microsoft.com/office/drawing/2014/main" val="2027704273"/>
                    </a:ext>
                  </a:extLst>
                </a:gridCol>
                <a:gridCol w="603796">
                  <a:extLst>
                    <a:ext uri="{9D8B030D-6E8A-4147-A177-3AD203B41FA5}">
                      <a16:colId xmlns:a16="http://schemas.microsoft.com/office/drawing/2014/main" val="3432768286"/>
                    </a:ext>
                  </a:extLst>
                </a:gridCol>
                <a:gridCol w="744015">
                  <a:extLst>
                    <a:ext uri="{9D8B030D-6E8A-4147-A177-3AD203B41FA5}">
                      <a16:colId xmlns:a16="http://schemas.microsoft.com/office/drawing/2014/main" val="3730294207"/>
                    </a:ext>
                  </a:extLst>
                </a:gridCol>
                <a:gridCol w="1070645">
                  <a:extLst>
                    <a:ext uri="{9D8B030D-6E8A-4147-A177-3AD203B41FA5}">
                      <a16:colId xmlns:a16="http://schemas.microsoft.com/office/drawing/2014/main" val="2258321117"/>
                    </a:ext>
                  </a:extLst>
                </a:gridCol>
              </a:tblGrid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apital</a:t>
                      </a:r>
                      <a:endParaRPr kumimoji="0" lang="en-SG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292929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SG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Gusau</a:t>
                      </a:r>
                      <a:endParaRPr kumimoji="0" lang="en-SG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703009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nd Are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37,931 km</a:t>
                      </a:r>
                      <a:r>
                        <a:rPr kumimoji="0" lang="en-US" altLang="en-US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8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603614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Population (2017E)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4,492,846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5 of 37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505851"/>
                  </a:ext>
                </a:extLst>
              </a:tr>
              <a:tr h="203024">
                <a:tc row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Dem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0-14: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,155,145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8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130093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5-64: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,210,229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58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387564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65+: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   127,472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[4%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38801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bour force 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,402,408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3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797882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limate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ropical savanna  and hot semi-arid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3942226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op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Rock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32899"/>
                  </a:ext>
                </a:extLst>
              </a:tr>
            </a:tbl>
          </a:graphicData>
        </a:graphic>
      </p:graphicFrame>
      <p:pic>
        <p:nvPicPr>
          <p:cNvPr id="23609" name="Picture 13">
            <a:extLst>
              <a:ext uri="{FF2B5EF4-FFF2-40B4-BE49-F238E27FC236}">
                <a16:creationId xmlns:a16="http://schemas.microsoft.com/office/drawing/2014/main" id="{952964D5-F0ED-4CAE-B71C-DB4A723FA5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0" y="3006725"/>
            <a:ext cx="1116013" cy="155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9" name="TextBox 378">
            <a:extLst>
              <a:ext uri="{FF2B5EF4-FFF2-40B4-BE49-F238E27FC236}">
                <a16:creationId xmlns:a16="http://schemas.microsoft.com/office/drawing/2014/main" id="{1B3FD4BF-4685-4C74-821F-10048D6246BF}"/>
              </a:ext>
            </a:extLst>
          </p:cNvPr>
          <p:cNvSpPr txBox="1"/>
          <p:nvPr/>
        </p:nvSpPr>
        <p:spPr>
          <a:xfrm>
            <a:off x="6153150" y="871538"/>
            <a:ext cx="3475038" cy="30956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mpetitive Advantages</a:t>
            </a: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455FE7A1-ADE5-4F7B-A489-00196671A53E}"/>
              </a:ext>
            </a:extLst>
          </p:cNvPr>
          <p:cNvSpPr/>
          <p:nvPr/>
        </p:nvSpPr>
        <p:spPr>
          <a:xfrm>
            <a:off x="4267248" y="1187511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6bn/$19.7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EBB25788-D073-4A78-9D6C-DF3836CFFFBB}"/>
              </a:ext>
            </a:extLst>
          </p:cNvPr>
          <p:cNvSpPr txBox="1"/>
          <p:nvPr/>
        </p:nvSpPr>
        <p:spPr>
          <a:xfrm>
            <a:off x="4267200" y="955675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GR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6F07DF39-553B-44F0-8864-1F897C2BD79A}"/>
              </a:ext>
            </a:extLst>
          </p:cNvPr>
          <p:cNvSpPr/>
          <p:nvPr/>
        </p:nvSpPr>
        <p:spPr>
          <a:xfrm>
            <a:off x="4267252" y="1809750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133bn/$36.1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2508695A-2D2C-45A3-80FE-9C2CB18200C2}"/>
              </a:ext>
            </a:extLst>
          </p:cNvPr>
          <p:cNvSpPr txBox="1"/>
          <p:nvPr/>
        </p:nvSpPr>
        <p:spPr>
          <a:xfrm>
            <a:off x="4267200" y="1576388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Budget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8)</a:t>
            </a: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86A33ABE-3AE3-40A7-A6A6-1B757A6A9B0F}"/>
              </a:ext>
            </a:extLst>
          </p:cNvPr>
          <p:cNvSpPr/>
          <p:nvPr/>
        </p:nvSpPr>
        <p:spPr>
          <a:xfrm>
            <a:off x="4256076" y="2667155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689.4bn /$2.3bn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1E919764-A18B-4532-A533-A84A31D7FEFE}"/>
              </a:ext>
            </a:extLst>
          </p:cNvPr>
          <p:cNvSpPr txBox="1"/>
          <p:nvPr/>
        </p:nvSpPr>
        <p:spPr>
          <a:xfrm>
            <a:off x="4256088" y="2185988"/>
            <a:ext cx="1811337" cy="50641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Household </a:t>
            </a:r>
          </a:p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nsumption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96" name="Plaque 95">
            <a:extLst>
              <a:ext uri="{FF2B5EF4-FFF2-40B4-BE49-F238E27FC236}">
                <a16:creationId xmlns:a16="http://schemas.microsoft.com/office/drawing/2014/main" id="{E3BE1182-17B4-4194-8641-F1EA2CCBB757}"/>
              </a:ext>
            </a:extLst>
          </p:cNvPr>
          <p:cNvSpPr/>
          <p:nvPr/>
        </p:nvSpPr>
        <p:spPr>
          <a:xfrm>
            <a:off x="5583996" y="2805162"/>
            <a:ext cx="483429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34 of 36</a:t>
            </a:r>
          </a:p>
        </p:txBody>
      </p:sp>
      <p:sp>
        <p:nvSpPr>
          <p:cNvPr id="99" name="Plaque 98">
            <a:extLst>
              <a:ext uri="{FF2B5EF4-FFF2-40B4-BE49-F238E27FC236}">
                <a16:creationId xmlns:a16="http://schemas.microsoft.com/office/drawing/2014/main" id="{8620E393-1C52-4CE1-9888-20922FA6DFEA}"/>
              </a:ext>
            </a:extLst>
          </p:cNvPr>
          <p:cNvSpPr/>
          <p:nvPr/>
        </p:nvSpPr>
        <p:spPr>
          <a:xfrm>
            <a:off x="5583996" y="1951087"/>
            <a:ext cx="483429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9 of 36</a:t>
            </a:r>
          </a:p>
        </p:txBody>
      </p:sp>
      <p:sp>
        <p:nvSpPr>
          <p:cNvPr id="100" name="Plaque 99">
            <a:extLst>
              <a:ext uri="{FF2B5EF4-FFF2-40B4-BE49-F238E27FC236}">
                <a16:creationId xmlns:a16="http://schemas.microsoft.com/office/drawing/2014/main" id="{3BFA6D28-9A42-4459-8BF1-090CE1B45216}"/>
              </a:ext>
            </a:extLst>
          </p:cNvPr>
          <p:cNvSpPr/>
          <p:nvPr/>
        </p:nvSpPr>
        <p:spPr>
          <a:xfrm>
            <a:off x="5638800" y="1333500"/>
            <a:ext cx="430213" cy="1539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latin typeface="Calibri" panose="020F0502020204030204" pitchFamily="34" charset="0"/>
                <a:cs typeface="Calibri" panose="020F0502020204030204" pitchFamily="34" charset="0"/>
              </a:rPr>
              <a:t>28 of 36</a:t>
            </a:r>
          </a:p>
        </p:txBody>
      </p:sp>
      <p:sp>
        <p:nvSpPr>
          <p:cNvPr id="101" name="Pentagon 19">
            <a:extLst>
              <a:ext uri="{FF2B5EF4-FFF2-40B4-BE49-F238E27FC236}">
                <a16:creationId xmlns:a16="http://schemas.microsoft.com/office/drawing/2014/main" id="{CCD74FA4-19D0-4356-90C9-B3B49BCC3F54}"/>
              </a:ext>
            </a:extLst>
          </p:cNvPr>
          <p:cNvSpPr>
            <a:spLocks/>
          </p:cNvSpPr>
          <p:nvPr/>
        </p:nvSpPr>
        <p:spPr bwMode="auto">
          <a:xfrm>
            <a:off x="688340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5 of 37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12EE735-1E43-4799-A46A-5D0787F375CE}"/>
              </a:ext>
            </a:extLst>
          </p:cNvPr>
          <p:cNvSpPr/>
          <p:nvPr/>
        </p:nvSpPr>
        <p:spPr>
          <a:xfrm>
            <a:off x="6880225" y="5726113"/>
            <a:ext cx="642938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Starting a Business</a:t>
            </a:r>
          </a:p>
        </p:txBody>
      </p:sp>
      <p:pic>
        <p:nvPicPr>
          <p:cNvPr id="23622" name="Picture 3">
            <a:extLst>
              <a:ext uri="{FF2B5EF4-FFF2-40B4-BE49-F238E27FC236}">
                <a16:creationId xmlns:a16="http://schemas.microsoft.com/office/drawing/2014/main" id="{53FAD0C6-8FFE-437B-B7E4-F2A938D3BE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350" y="5249863"/>
            <a:ext cx="41910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23" name="Freeform 15">
            <a:extLst>
              <a:ext uri="{FF2B5EF4-FFF2-40B4-BE49-F238E27FC236}">
                <a16:creationId xmlns:a16="http://schemas.microsoft.com/office/drawing/2014/main" id="{183A3C8B-011E-4D99-9165-3FF03A2D3207}"/>
              </a:ext>
            </a:extLst>
          </p:cNvPr>
          <p:cNvSpPr>
            <a:spLocks noEditPoints="1"/>
          </p:cNvSpPr>
          <p:nvPr/>
        </p:nvSpPr>
        <p:spPr bwMode="auto">
          <a:xfrm>
            <a:off x="9093200" y="5257800"/>
            <a:ext cx="276225" cy="347663"/>
          </a:xfrm>
          <a:custGeom>
            <a:avLst/>
            <a:gdLst>
              <a:gd name="T0" fmla="*/ 2147483646 w 3556"/>
              <a:gd name="T1" fmla="*/ 2147483646 h 3950"/>
              <a:gd name="T2" fmla="*/ 2147483646 w 3556"/>
              <a:gd name="T3" fmla="*/ 2147483646 h 3950"/>
              <a:gd name="T4" fmla="*/ 2147483646 w 3556"/>
              <a:gd name="T5" fmla="*/ 2147483646 h 3950"/>
              <a:gd name="T6" fmla="*/ 2147483646 w 3556"/>
              <a:gd name="T7" fmla="*/ 2147483646 h 3950"/>
              <a:gd name="T8" fmla="*/ 2147483646 w 3556"/>
              <a:gd name="T9" fmla="*/ 2147483646 h 3950"/>
              <a:gd name="T10" fmla="*/ 2147483646 w 3556"/>
              <a:gd name="T11" fmla="*/ 2147483646 h 3950"/>
              <a:gd name="T12" fmla="*/ 2147483646 w 3556"/>
              <a:gd name="T13" fmla="*/ 2147483646 h 3950"/>
              <a:gd name="T14" fmla="*/ 2147483646 w 3556"/>
              <a:gd name="T15" fmla="*/ 2147483646 h 3950"/>
              <a:gd name="T16" fmla="*/ 2147483646 w 3556"/>
              <a:gd name="T17" fmla="*/ 2147483646 h 3950"/>
              <a:gd name="T18" fmla="*/ 2147483646 w 3556"/>
              <a:gd name="T19" fmla="*/ 2147483646 h 3950"/>
              <a:gd name="T20" fmla="*/ 2147483646 w 3556"/>
              <a:gd name="T21" fmla="*/ 2147483646 h 3950"/>
              <a:gd name="T22" fmla="*/ 0 w 3556"/>
              <a:gd name="T23" fmla="*/ 2147483646 h 3950"/>
              <a:gd name="T24" fmla="*/ 2147483646 w 3556"/>
              <a:gd name="T25" fmla="*/ 2147483646 h 3950"/>
              <a:gd name="T26" fmla="*/ 2147483646 w 3556"/>
              <a:gd name="T27" fmla="*/ 2147483646 h 3950"/>
              <a:gd name="T28" fmla="*/ 2147483646 w 3556"/>
              <a:gd name="T29" fmla="*/ 2147483646 h 3950"/>
              <a:gd name="T30" fmla="*/ 2147483646 w 3556"/>
              <a:gd name="T31" fmla="*/ 2147483646 h 3950"/>
              <a:gd name="T32" fmla="*/ 2147483646 w 3556"/>
              <a:gd name="T33" fmla="*/ 2147483646 h 3950"/>
              <a:gd name="T34" fmla="*/ 2147483646 w 3556"/>
              <a:gd name="T35" fmla="*/ 2147483646 h 3950"/>
              <a:gd name="T36" fmla="*/ 2147483646 w 3556"/>
              <a:gd name="T37" fmla="*/ 2147483646 h 3950"/>
              <a:gd name="T38" fmla="*/ 2147483646 w 3556"/>
              <a:gd name="T39" fmla="*/ 2147483646 h 3950"/>
              <a:gd name="T40" fmla="*/ 2147483646 w 3556"/>
              <a:gd name="T41" fmla="*/ 2147483646 h 3950"/>
              <a:gd name="T42" fmla="*/ 2147483646 w 3556"/>
              <a:gd name="T43" fmla="*/ 2147483646 h 3950"/>
              <a:gd name="T44" fmla="*/ 2147483646 w 3556"/>
              <a:gd name="T45" fmla="*/ 2147483646 h 3950"/>
              <a:gd name="T46" fmla="*/ 2147483646 w 3556"/>
              <a:gd name="T47" fmla="*/ 2147483646 h 3950"/>
              <a:gd name="T48" fmla="*/ 2147483646 w 3556"/>
              <a:gd name="T49" fmla="*/ 2147483646 h 3950"/>
              <a:gd name="T50" fmla="*/ 2147483646 w 3556"/>
              <a:gd name="T51" fmla="*/ 2147483646 h 3950"/>
              <a:gd name="T52" fmla="*/ 2147483646 w 3556"/>
              <a:gd name="T53" fmla="*/ 2147483646 h 3950"/>
              <a:gd name="T54" fmla="*/ 2147483646 w 3556"/>
              <a:gd name="T55" fmla="*/ 2147483646 h 3950"/>
              <a:gd name="T56" fmla="*/ 2147483646 w 3556"/>
              <a:gd name="T57" fmla="*/ 2147483646 h 3950"/>
              <a:gd name="T58" fmla="*/ 2147483646 w 3556"/>
              <a:gd name="T59" fmla="*/ 2147483646 h 3950"/>
              <a:gd name="T60" fmla="*/ 2147483646 w 3556"/>
              <a:gd name="T61" fmla="*/ 2147483646 h 3950"/>
              <a:gd name="T62" fmla="*/ 2147483646 w 3556"/>
              <a:gd name="T63" fmla="*/ 2147483646 h 3950"/>
              <a:gd name="T64" fmla="*/ 2147483646 w 3556"/>
              <a:gd name="T65" fmla="*/ 2147483646 h 3950"/>
              <a:gd name="T66" fmla="*/ 2147483646 w 3556"/>
              <a:gd name="T67" fmla="*/ 2147483646 h 3950"/>
              <a:gd name="T68" fmla="*/ 2147483646 w 3556"/>
              <a:gd name="T69" fmla="*/ 2147483646 h 3950"/>
              <a:gd name="T70" fmla="*/ 2147483646 w 3556"/>
              <a:gd name="T71" fmla="*/ 2147483646 h 3950"/>
              <a:gd name="T72" fmla="*/ 2147483646 w 3556"/>
              <a:gd name="T73" fmla="*/ 2147483646 h 3950"/>
              <a:gd name="T74" fmla="*/ 2147483646 w 3556"/>
              <a:gd name="T75" fmla="*/ 2147483646 h 3950"/>
              <a:gd name="T76" fmla="*/ 2147483646 w 3556"/>
              <a:gd name="T77" fmla="*/ 2147483646 h 3950"/>
              <a:gd name="T78" fmla="*/ 2147483646 w 3556"/>
              <a:gd name="T79" fmla="*/ 2147483646 h 3950"/>
              <a:gd name="T80" fmla="*/ 2147483646 w 3556"/>
              <a:gd name="T81" fmla="*/ 0 h 3950"/>
              <a:gd name="T82" fmla="*/ 2147483646 w 3556"/>
              <a:gd name="T83" fmla="*/ 2147483646 h 3950"/>
              <a:gd name="T84" fmla="*/ 2147483646 w 3556"/>
              <a:gd name="T85" fmla="*/ 2147483646 h 3950"/>
              <a:gd name="T86" fmla="*/ 2147483646 w 3556"/>
              <a:gd name="T87" fmla="*/ 2147483646 h 395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556"/>
              <a:gd name="T133" fmla="*/ 0 h 3950"/>
              <a:gd name="T134" fmla="*/ 3556 w 3556"/>
              <a:gd name="T135" fmla="*/ 3950 h 395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556" h="3950">
                <a:moveTo>
                  <a:pt x="909" y="3917"/>
                </a:moveTo>
                <a:cubicBezTo>
                  <a:pt x="824" y="3832"/>
                  <a:pt x="894" y="3725"/>
                  <a:pt x="1036" y="3725"/>
                </a:cubicBezTo>
                <a:cubicBezTo>
                  <a:pt x="1119" y="3725"/>
                  <a:pt x="1129" y="3717"/>
                  <a:pt x="1129" y="3645"/>
                </a:cubicBezTo>
                <a:cubicBezTo>
                  <a:pt x="1129" y="3472"/>
                  <a:pt x="1135" y="3471"/>
                  <a:pt x="2192" y="3471"/>
                </a:cubicBezTo>
                <a:cubicBezTo>
                  <a:pt x="3086" y="3471"/>
                  <a:pt x="3155" y="3475"/>
                  <a:pt x="3199" y="3523"/>
                </a:cubicBezTo>
                <a:cubicBezTo>
                  <a:pt x="3225" y="3551"/>
                  <a:pt x="3246" y="3608"/>
                  <a:pt x="3246" y="3648"/>
                </a:cubicBezTo>
                <a:cubicBezTo>
                  <a:pt x="3246" y="3712"/>
                  <a:pt x="3259" y="3723"/>
                  <a:pt x="3349" y="3730"/>
                </a:cubicBezTo>
                <a:cubicBezTo>
                  <a:pt x="3470" y="3741"/>
                  <a:pt x="3530" y="3811"/>
                  <a:pt x="3482" y="3887"/>
                </a:cubicBezTo>
                <a:cubicBezTo>
                  <a:pt x="3453" y="3933"/>
                  <a:pt x="3356" y="3937"/>
                  <a:pt x="2197" y="3944"/>
                </a:cubicBezTo>
                <a:cubicBezTo>
                  <a:pt x="1245" y="3950"/>
                  <a:pt x="935" y="3943"/>
                  <a:pt x="909" y="3917"/>
                </a:cubicBezTo>
                <a:close/>
                <a:moveTo>
                  <a:pt x="87" y="3370"/>
                </a:moveTo>
                <a:cubicBezTo>
                  <a:pt x="24" y="3317"/>
                  <a:pt x="0" y="3272"/>
                  <a:pt x="0" y="3209"/>
                </a:cubicBezTo>
                <a:cubicBezTo>
                  <a:pt x="0" y="3132"/>
                  <a:pt x="86" y="3035"/>
                  <a:pt x="705" y="2414"/>
                </a:cubicBezTo>
                <a:lnTo>
                  <a:pt x="1411" y="1706"/>
                </a:lnTo>
                <a:lnTo>
                  <a:pt x="1235" y="1530"/>
                </a:lnTo>
                <a:lnTo>
                  <a:pt x="1059" y="1355"/>
                </a:lnTo>
                <a:lnTo>
                  <a:pt x="1510" y="903"/>
                </a:lnTo>
                <a:lnTo>
                  <a:pt x="1960" y="452"/>
                </a:lnTo>
                <a:lnTo>
                  <a:pt x="2135" y="624"/>
                </a:lnTo>
                <a:cubicBezTo>
                  <a:pt x="2305" y="793"/>
                  <a:pt x="2310" y="796"/>
                  <a:pt x="2374" y="751"/>
                </a:cubicBezTo>
                <a:cubicBezTo>
                  <a:pt x="2469" y="685"/>
                  <a:pt x="2547" y="695"/>
                  <a:pt x="2633" y="785"/>
                </a:cubicBezTo>
                <a:cubicBezTo>
                  <a:pt x="2720" y="875"/>
                  <a:pt x="2731" y="974"/>
                  <a:pt x="2662" y="1050"/>
                </a:cubicBezTo>
                <a:cubicBezTo>
                  <a:pt x="2616" y="1100"/>
                  <a:pt x="2624" y="1112"/>
                  <a:pt x="2823" y="1313"/>
                </a:cubicBezTo>
                <a:lnTo>
                  <a:pt x="3033" y="1524"/>
                </a:lnTo>
                <a:lnTo>
                  <a:pt x="2582" y="1975"/>
                </a:lnTo>
                <a:lnTo>
                  <a:pt x="2132" y="2427"/>
                </a:lnTo>
                <a:lnTo>
                  <a:pt x="1933" y="2229"/>
                </a:lnTo>
                <a:cubicBezTo>
                  <a:pt x="1824" y="2121"/>
                  <a:pt x="1722" y="2032"/>
                  <a:pt x="1707" y="2032"/>
                </a:cubicBezTo>
                <a:cubicBezTo>
                  <a:pt x="1693" y="2032"/>
                  <a:pt x="1362" y="2349"/>
                  <a:pt x="973" y="2737"/>
                </a:cubicBezTo>
                <a:cubicBezTo>
                  <a:pt x="584" y="3125"/>
                  <a:pt x="245" y="3443"/>
                  <a:pt x="220" y="3443"/>
                </a:cubicBezTo>
                <a:cubicBezTo>
                  <a:pt x="194" y="3443"/>
                  <a:pt x="135" y="3410"/>
                  <a:pt x="87" y="3370"/>
                </a:cubicBezTo>
                <a:close/>
                <a:moveTo>
                  <a:pt x="2258" y="2887"/>
                </a:moveTo>
                <a:cubicBezTo>
                  <a:pt x="2196" y="2865"/>
                  <a:pt x="2145" y="2792"/>
                  <a:pt x="2145" y="2725"/>
                </a:cubicBezTo>
                <a:cubicBezTo>
                  <a:pt x="2145" y="2686"/>
                  <a:pt x="2337" y="2474"/>
                  <a:pt x="2703" y="2109"/>
                </a:cubicBezTo>
                <a:cubicBezTo>
                  <a:pt x="3289" y="1523"/>
                  <a:pt x="3346" y="1485"/>
                  <a:pt x="3453" y="1604"/>
                </a:cubicBezTo>
                <a:cubicBezTo>
                  <a:pt x="3556" y="1717"/>
                  <a:pt x="3522" y="1766"/>
                  <a:pt x="2956" y="2331"/>
                </a:cubicBezTo>
                <a:cubicBezTo>
                  <a:pt x="2657" y="2630"/>
                  <a:pt x="2388" y="2880"/>
                  <a:pt x="2357" y="2888"/>
                </a:cubicBezTo>
                <a:cubicBezTo>
                  <a:pt x="2326" y="2895"/>
                  <a:pt x="2281" y="2895"/>
                  <a:pt x="2258" y="2887"/>
                </a:cubicBezTo>
                <a:close/>
                <a:moveTo>
                  <a:pt x="637" y="1282"/>
                </a:moveTo>
                <a:cubicBezTo>
                  <a:pt x="528" y="1172"/>
                  <a:pt x="568" y="1113"/>
                  <a:pt x="1137" y="544"/>
                </a:cubicBezTo>
                <a:cubicBezTo>
                  <a:pt x="1607" y="74"/>
                  <a:pt x="1693" y="0"/>
                  <a:pt x="1767" y="0"/>
                </a:cubicBezTo>
                <a:cubicBezTo>
                  <a:pt x="1862" y="0"/>
                  <a:pt x="1947" y="73"/>
                  <a:pt x="1947" y="156"/>
                </a:cubicBezTo>
                <a:cubicBezTo>
                  <a:pt x="1947" y="186"/>
                  <a:pt x="1715" y="442"/>
                  <a:pt x="1391" y="767"/>
                </a:cubicBezTo>
                <a:cubicBezTo>
                  <a:pt x="808" y="1353"/>
                  <a:pt x="749" y="1393"/>
                  <a:pt x="637" y="12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4" name="Group 118">
            <a:extLst>
              <a:ext uri="{FF2B5EF4-FFF2-40B4-BE49-F238E27FC236}">
                <a16:creationId xmlns:a16="http://schemas.microsoft.com/office/drawing/2014/main" id="{FB3D6A90-C4FD-433A-A1C1-A4B3864804A5}"/>
              </a:ext>
            </a:extLst>
          </p:cNvPr>
          <p:cNvGrpSpPr/>
          <p:nvPr/>
        </p:nvGrpSpPr>
        <p:grpSpPr>
          <a:xfrm>
            <a:off x="8409631" y="5248358"/>
            <a:ext cx="346498" cy="347472"/>
            <a:chOff x="1468138" y="5997240"/>
            <a:chExt cx="283642" cy="307072"/>
          </a:xfrm>
          <a:solidFill>
            <a:schemeClr val="bg1"/>
          </a:solidFill>
        </p:grpSpPr>
        <p:sp>
          <p:nvSpPr>
            <p:cNvPr id="120" name="Freeform 16">
              <a:extLst>
                <a:ext uri="{FF2B5EF4-FFF2-40B4-BE49-F238E27FC236}">
                  <a16:creationId xmlns:a16="http://schemas.microsoft.com/office/drawing/2014/main" id="{D6134FC8-4249-4088-8AE8-003C8AAC7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6136" y="6255221"/>
              <a:ext cx="26428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1 w 349"/>
                <a:gd name="T25" fmla="*/ 226 h 350"/>
                <a:gd name="T26" fmla="*/ 225 w 349"/>
                <a:gd name="T27" fmla="*/ 213 h 350"/>
                <a:gd name="T28" fmla="*/ 234 w 349"/>
                <a:gd name="T29" fmla="*/ 194 h 350"/>
                <a:gd name="T30" fmla="*/ 237 w 349"/>
                <a:gd name="T31" fmla="*/ 175 h 350"/>
                <a:gd name="T32" fmla="*/ 235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5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4 w 349"/>
                <a:gd name="T47" fmla="*/ 3 h 350"/>
                <a:gd name="T48" fmla="*/ 234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8 w 349"/>
                <a:gd name="T55" fmla="*/ 63 h 350"/>
                <a:gd name="T56" fmla="*/ 325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5 w 349"/>
                <a:gd name="T65" fmla="*/ 210 h 350"/>
                <a:gd name="T66" fmla="*/ 335 w 349"/>
                <a:gd name="T67" fmla="*/ 243 h 350"/>
                <a:gd name="T68" fmla="*/ 319 w 349"/>
                <a:gd name="T69" fmla="*/ 273 h 350"/>
                <a:gd name="T70" fmla="*/ 297 w 349"/>
                <a:gd name="T71" fmla="*/ 299 h 350"/>
                <a:gd name="T72" fmla="*/ 272 w 349"/>
                <a:gd name="T73" fmla="*/ 319 h 350"/>
                <a:gd name="T74" fmla="*/ 242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39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29 w 349"/>
                <a:gd name="T89" fmla="*/ 273 h 350"/>
                <a:gd name="T90" fmla="*/ 14 w 349"/>
                <a:gd name="T91" fmla="*/ 243 h 350"/>
                <a:gd name="T92" fmla="*/ 3 w 349"/>
                <a:gd name="T93" fmla="*/ 210 h 350"/>
                <a:gd name="T94" fmla="*/ 0 w 349"/>
                <a:gd name="T95" fmla="*/ 175 h 350"/>
                <a:gd name="T96" fmla="*/ 3 w 349"/>
                <a:gd name="T97" fmla="*/ 140 h 350"/>
                <a:gd name="T98" fmla="*/ 14 w 349"/>
                <a:gd name="T99" fmla="*/ 107 h 350"/>
                <a:gd name="T100" fmla="*/ 29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39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1" y="226"/>
                  </a:lnTo>
                  <a:lnTo>
                    <a:pt x="225" y="213"/>
                  </a:lnTo>
                  <a:lnTo>
                    <a:pt x="234" y="194"/>
                  </a:lnTo>
                  <a:lnTo>
                    <a:pt x="237" y="175"/>
                  </a:lnTo>
                  <a:lnTo>
                    <a:pt x="235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5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4" y="3"/>
                  </a:lnTo>
                  <a:lnTo>
                    <a:pt x="234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8" y="63"/>
                  </a:lnTo>
                  <a:lnTo>
                    <a:pt x="325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5" y="210"/>
                  </a:lnTo>
                  <a:lnTo>
                    <a:pt x="335" y="243"/>
                  </a:lnTo>
                  <a:lnTo>
                    <a:pt x="319" y="273"/>
                  </a:lnTo>
                  <a:lnTo>
                    <a:pt x="297" y="299"/>
                  </a:lnTo>
                  <a:lnTo>
                    <a:pt x="272" y="319"/>
                  </a:lnTo>
                  <a:lnTo>
                    <a:pt x="242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39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29" y="273"/>
                  </a:lnTo>
                  <a:lnTo>
                    <a:pt x="14" y="243"/>
                  </a:lnTo>
                  <a:lnTo>
                    <a:pt x="3" y="210"/>
                  </a:lnTo>
                  <a:lnTo>
                    <a:pt x="0" y="175"/>
                  </a:lnTo>
                  <a:lnTo>
                    <a:pt x="3" y="140"/>
                  </a:lnTo>
                  <a:lnTo>
                    <a:pt x="14" y="107"/>
                  </a:lnTo>
                  <a:lnTo>
                    <a:pt x="29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39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1" name="Freeform 17">
              <a:extLst>
                <a:ext uri="{FF2B5EF4-FFF2-40B4-BE49-F238E27FC236}">
                  <a16:creationId xmlns:a16="http://schemas.microsoft.com/office/drawing/2014/main" id="{67A5F0B0-C078-4A85-9E32-409FF0B3D5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2133" y="6255221"/>
              <a:ext cx="26656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2 w 349"/>
                <a:gd name="T25" fmla="*/ 226 h 350"/>
                <a:gd name="T26" fmla="*/ 226 w 349"/>
                <a:gd name="T27" fmla="*/ 213 h 350"/>
                <a:gd name="T28" fmla="*/ 235 w 349"/>
                <a:gd name="T29" fmla="*/ 194 h 350"/>
                <a:gd name="T30" fmla="*/ 237 w 349"/>
                <a:gd name="T31" fmla="*/ 175 h 350"/>
                <a:gd name="T32" fmla="*/ 236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7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5 w 349"/>
                <a:gd name="T47" fmla="*/ 3 h 350"/>
                <a:gd name="T48" fmla="*/ 235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9 w 349"/>
                <a:gd name="T55" fmla="*/ 63 h 350"/>
                <a:gd name="T56" fmla="*/ 326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6 w 349"/>
                <a:gd name="T65" fmla="*/ 210 h 350"/>
                <a:gd name="T66" fmla="*/ 336 w 349"/>
                <a:gd name="T67" fmla="*/ 243 h 350"/>
                <a:gd name="T68" fmla="*/ 319 w 349"/>
                <a:gd name="T69" fmla="*/ 273 h 350"/>
                <a:gd name="T70" fmla="*/ 298 w 349"/>
                <a:gd name="T71" fmla="*/ 299 h 350"/>
                <a:gd name="T72" fmla="*/ 272 w 349"/>
                <a:gd name="T73" fmla="*/ 319 h 350"/>
                <a:gd name="T74" fmla="*/ 243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40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30 w 349"/>
                <a:gd name="T89" fmla="*/ 273 h 350"/>
                <a:gd name="T90" fmla="*/ 14 w 349"/>
                <a:gd name="T91" fmla="*/ 243 h 350"/>
                <a:gd name="T92" fmla="*/ 4 w 349"/>
                <a:gd name="T93" fmla="*/ 210 h 350"/>
                <a:gd name="T94" fmla="*/ 0 w 349"/>
                <a:gd name="T95" fmla="*/ 175 h 350"/>
                <a:gd name="T96" fmla="*/ 4 w 349"/>
                <a:gd name="T97" fmla="*/ 140 h 350"/>
                <a:gd name="T98" fmla="*/ 14 w 349"/>
                <a:gd name="T99" fmla="*/ 107 h 350"/>
                <a:gd name="T100" fmla="*/ 30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40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7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7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5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19" y="273"/>
                  </a:lnTo>
                  <a:lnTo>
                    <a:pt x="298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2" name="Freeform 18">
              <a:extLst>
                <a:ext uri="{FF2B5EF4-FFF2-40B4-BE49-F238E27FC236}">
                  <a16:creationId xmlns:a16="http://schemas.microsoft.com/office/drawing/2014/main" id="{BF1784DA-3E40-44FD-998D-DB1DD379C0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8357" y="6255221"/>
              <a:ext cx="26428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7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1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7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8 w 350"/>
                <a:gd name="T31" fmla="*/ 175 h 350"/>
                <a:gd name="T32" fmla="*/ 236 w 350"/>
                <a:gd name="T33" fmla="*/ 158 h 350"/>
                <a:gd name="T34" fmla="*/ 229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7 w 350"/>
                <a:gd name="T53" fmla="*/ 41 h 350"/>
                <a:gd name="T54" fmla="*/ 309 w 350"/>
                <a:gd name="T55" fmla="*/ 63 h 350"/>
                <a:gd name="T56" fmla="*/ 326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2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7 w 350"/>
                <a:gd name="T85" fmla="*/ 319 h 350"/>
                <a:gd name="T86" fmla="*/ 51 w 350"/>
                <a:gd name="T87" fmla="*/ 299 h 350"/>
                <a:gd name="T88" fmla="*/ 30 w 350"/>
                <a:gd name="T89" fmla="*/ 273 h 350"/>
                <a:gd name="T90" fmla="*/ 14 w 350"/>
                <a:gd name="T91" fmla="*/ 243 h 350"/>
                <a:gd name="T92" fmla="*/ 4 w 350"/>
                <a:gd name="T93" fmla="*/ 210 h 350"/>
                <a:gd name="T94" fmla="*/ 0 w 350"/>
                <a:gd name="T95" fmla="*/ 175 h 350"/>
                <a:gd name="T96" fmla="*/ 4 w 350"/>
                <a:gd name="T97" fmla="*/ 140 h 350"/>
                <a:gd name="T98" fmla="*/ 14 w 350"/>
                <a:gd name="T99" fmla="*/ 107 h 350"/>
                <a:gd name="T100" fmla="*/ 30 w 350"/>
                <a:gd name="T101" fmla="*/ 78 h 350"/>
                <a:gd name="T102" fmla="*/ 51 w 350"/>
                <a:gd name="T103" fmla="*/ 52 h 350"/>
                <a:gd name="T104" fmla="*/ 77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8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3" name="Freeform 19">
              <a:extLst>
                <a:ext uri="{FF2B5EF4-FFF2-40B4-BE49-F238E27FC236}">
                  <a16:creationId xmlns:a16="http://schemas.microsoft.com/office/drawing/2014/main" id="{FF26547B-24B3-4108-8095-A2794E966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4353" y="6255221"/>
              <a:ext cx="26656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8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3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8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9 w 350"/>
                <a:gd name="T31" fmla="*/ 175 h 350"/>
                <a:gd name="T32" fmla="*/ 236 w 350"/>
                <a:gd name="T33" fmla="*/ 158 h 350"/>
                <a:gd name="T34" fmla="*/ 231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8 w 350"/>
                <a:gd name="T53" fmla="*/ 41 h 350"/>
                <a:gd name="T54" fmla="*/ 309 w 350"/>
                <a:gd name="T55" fmla="*/ 63 h 350"/>
                <a:gd name="T56" fmla="*/ 327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3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8 w 350"/>
                <a:gd name="T85" fmla="*/ 319 h 350"/>
                <a:gd name="T86" fmla="*/ 53 w 350"/>
                <a:gd name="T87" fmla="*/ 299 h 350"/>
                <a:gd name="T88" fmla="*/ 31 w 350"/>
                <a:gd name="T89" fmla="*/ 273 h 350"/>
                <a:gd name="T90" fmla="*/ 15 w 350"/>
                <a:gd name="T91" fmla="*/ 243 h 350"/>
                <a:gd name="T92" fmla="*/ 5 w 350"/>
                <a:gd name="T93" fmla="*/ 210 h 350"/>
                <a:gd name="T94" fmla="*/ 0 w 350"/>
                <a:gd name="T95" fmla="*/ 175 h 350"/>
                <a:gd name="T96" fmla="*/ 5 w 350"/>
                <a:gd name="T97" fmla="*/ 140 h 350"/>
                <a:gd name="T98" fmla="*/ 15 w 350"/>
                <a:gd name="T99" fmla="*/ 107 h 350"/>
                <a:gd name="T100" fmla="*/ 31 w 350"/>
                <a:gd name="T101" fmla="*/ 78 h 350"/>
                <a:gd name="T102" fmla="*/ 53 w 350"/>
                <a:gd name="T103" fmla="*/ 52 h 350"/>
                <a:gd name="T104" fmla="*/ 78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8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3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8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9" y="175"/>
                  </a:lnTo>
                  <a:lnTo>
                    <a:pt x="236" y="158"/>
                  </a:lnTo>
                  <a:lnTo>
                    <a:pt x="231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8" y="41"/>
                  </a:lnTo>
                  <a:lnTo>
                    <a:pt x="309" y="63"/>
                  </a:lnTo>
                  <a:lnTo>
                    <a:pt x="327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3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8" y="319"/>
                  </a:lnTo>
                  <a:lnTo>
                    <a:pt x="53" y="299"/>
                  </a:lnTo>
                  <a:lnTo>
                    <a:pt x="31" y="273"/>
                  </a:lnTo>
                  <a:lnTo>
                    <a:pt x="15" y="243"/>
                  </a:lnTo>
                  <a:lnTo>
                    <a:pt x="5" y="210"/>
                  </a:lnTo>
                  <a:lnTo>
                    <a:pt x="0" y="175"/>
                  </a:lnTo>
                  <a:lnTo>
                    <a:pt x="5" y="140"/>
                  </a:lnTo>
                  <a:lnTo>
                    <a:pt x="15" y="107"/>
                  </a:lnTo>
                  <a:lnTo>
                    <a:pt x="31" y="78"/>
                  </a:lnTo>
                  <a:lnTo>
                    <a:pt x="53" y="52"/>
                  </a:lnTo>
                  <a:lnTo>
                    <a:pt x="78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4" name="Freeform 20">
              <a:extLst>
                <a:ext uri="{FF2B5EF4-FFF2-40B4-BE49-F238E27FC236}">
                  <a16:creationId xmlns:a16="http://schemas.microsoft.com/office/drawing/2014/main" id="{6F553FA1-4728-401A-8C20-F18E165CA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80832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2 h 111"/>
                <a:gd name="T10" fmla="*/ 168 w 171"/>
                <a:gd name="T11" fmla="*/ 37 h 111"/>
                <a:gd name="T12" fmla="*/ 171 w 171"/>
                <a:gd name="T13" fmla="*/ 55 h 111"/>
                <a:gd name="T14" fmla="*/ 168 w 171"/>
                <a:gd name="T15" fmla="*/ 72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8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8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2 h 111"/>
                <a:gd name="T34" fmla="*/ 0 w 171"/>
                <a:gd name="T35" fmla="*/ 55 h 111"/>
                <a:gd name="T36" fmla="*/ 2 w 171"/>
                <a:gd name="T37" fmla="*/ 37 h 111"/>
                <a:gd name="T38" fmla="*/ 10 w 171"/>
                <a:gd name="T39" fmla="*/ 22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2"/>
                  </a:lnTo>
                  <a:lnTo>
                    <a:pt x="168" y="37"/>
                  </a:lnTo>
                  <a:lnTo>
                    <a:pt x="171" y="55"/>
                  </a:lnTo>
                  <a:lnTo>
                    <a:pt x="168" y="72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8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8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2"/>
                  </a:lnTo>
                  <a:lnTo>
                    <a:pt x="0" y="55"/>
                  </a:lnTo>
                  <a:lnTo>
                    <a:pt x="2" y="37"/>
                  </a:lnTo>
                  <a:lnTo>
                    <a:pt x="10" y="22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5" name="Freeform 21">
              <a:extLst>
                <a:ext uri="{FF2B5EF4-FFF2-40B4-BE49-F238E27FC236}">
                  <a16:creationId xmlns:a16="http://schemas.microsoft.com/office/drawing/2014/main" id="{2A783787-5E9B-43C9-9BF4-073950C97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95860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3 h 111"/>
                <a:gd name="T10" fmla="*/ 168 w 171"/>
                <a:gd name="T11" fmla="*/ 38 h 111"/>
                <a:gd name="T12" fmla="*/ 171 w 171"/>
                <a:gd name="T13" fmla="*/ 55 h 111"/>
                <a:gd name="T14" fmla="*/ 168 w 171"/>
                <a:gd name="T15" fmla="*/ 74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9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9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4 h 111"/>
                <a:gd name="T34" fmla="*/ 0 w 171"/>
                <a:gd name="T35" fmla="*/ 55 h 111"/>
                <a:gd name="T36" fmla="*/ 2 w 171"/>
                <a:gd name="T37" fmla="*/ 38 h 111"/>
                <a:gd name="T38" fmla="*/ 10 w 171"/>
                <a:gd name="T39" fmla="*/ 23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3"/>
                  </a:lnTo>
                  <a:lnTo>
                    <a:pt x="168" y="38"/>
                  </a:lnTo>
                  <a:lnTo>
                    <a:pt x="171" y="55"/>
                  </a:lnTo>
                  <a:lnTo>
                    <a:pt x="168" y="74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9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9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4"/>
                  </a:lnTo>
                  <a:lnTo>
                    <a:pt x="0" y="55"/>
                  </a:lnTo>
                  <a:lnTo>
                    <a:pt x="2" y="38"/>
                  </a:lnTo>
                  <a:lnTo>
                    <a:pt x="10" y="23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6" name="Freeform 22">
              <a:extLst>
                <a:ext uri="{FF2B5EF4-FFF2-40B4-BE49-F238E27FC236}">
                  <a16:creationId xmlns:a16="http://schemas.microsoft.com/office/drawing/2014/main" id="{6465D05A-ED22-49B3-924E-6DFC4C8C8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8138" y="5997240"/>
              <a:ext cx="283642" cy="307072"/>
            </a:xfrm>
            <a:custGeom>
              <a:avLst/>
              <a:gdLst>
                <a:gd name="T0" fmla="*/ 185 w 3736"/>
                <a:gd name="T1" fmla="*/ 3069 h 3678"/>
                <a:gd name="T2" fmla="*/ 125 w 3736"/>
                <a:gd name="T3" fmla="*/ 3352 h 3678"/>
                <a:gd name="T4" fmla="*/ 325 w 3736"/>
                <a:gd name="T5" fmla="*/ 3554 h 3678"/>
                <a:gd name="T6" fmla="*/ 2002 w 3736"/>
                <a:gd name="T7" fmla="*/ 3518 h 3678"/>
                <a:gd name="T8" fmla="*/ 2140 w 3736"/>
                <a:gd name="T9" fmla="*/ 3266 h 3678"/>
                <a:gd name="T10" fmla="*/ 2002 w 3736"/>
                <a:gd name="T11" fmla="*/ 3013 h 3678"/>
                <a:gd name="T12" fmla="*/ 943 w 3736"/>
                <a:gd name="T13" fmla="*/ 2853 h 3678"/>
                <a:gd name="T14" fmla="*/ 2970 w 3736"/>
                <a:gd name="T15" fmla="*/ 2765 h 3678"/>
                <a:gd name="T16" fmla="*/ 3240 w 3736"/>
                <a:gd name="T17" fmla="*/ 2787 h 3678"/>
                <a:gd name="T18" fmla="*/ 3506 w 3736"/>
                <a:gd name="T19" fmla="*/ 2599 h 3678"/>
                <a:gd name="T20" fmla="*/ 302 w 3736"/>
                <a:gd name="T21" fmla="*/ 2099 h 3678"/>
                <a:gd name="T22" fmla="*/ 333 w 3736"/>
                <a:gd name="T23" fmla="*/ 2613 h 3678"/>
                <a:gd name="T24" fmla="*/ 3524 w 3736"/>
                <a:gd name="T25" fmla="*/ 1966 h 3678"/>
                <a:gd name="T26" fmla="*/ 3542 w 3736"/>
                <a:gd name="T27" fmla="*/ 2077 h 3678"/>
                <a:gd name="T28" fmla="*/ 3622 w 3736"/>
                <a:gd name="T29" fmla="*/ 1998 h 3678"/>
                <a:gd name="T30" fmla="*/ 893 w 3736"/>
                <a:gd name="T31" fmla="*/ 1458 h 3678"/>
                <a:gd name="T32" fmla="*/ 1843 w 3736"/>
                <a:gd name="T33" fmla="*/ 2616 h 3678"/>
                <a:gd name="T34" fmla="*/ 1132 w 3736"/>
                <a:gd name="T35" fmla="*/ 2414 h 3678"/>
                <a:gd name="T36" fmla="*/ 954 w 3736"/>
                <a:gd name="T37" fmla="*/ 2256 h 3678"/>
                <a:gd name="T38" fmla="*/ 1082 w 3736"/>
                <a:gd name="T39" fmla="*/ 2271 h 3678"/>
                <a:gd name="T40" fmla="*/ 1271 w 3736"/>
                <a:gd name="T41" fmla="*/ 1557 h 3678"/>
                <a:gd name="T42" fmla="*/ 1360 w 3736"/>
                <a:gd name="T43" fmla="*/ 1601 h 3678"/>
                <a:gd name="T44" fmla="*/ 1958 w 3736"/>
                <a:gd name="T45" fmla="*/ 2171 h 3678"/>
                <a:gd name="T46" fmla="*/ 1525 w 3736"/>
                <a:gd name="T47" fmla="*/ 1457 h 3678"/>
                <a:gd name="T48" fmla="*/ 2749 w 3736"/>
                <a:gd name="T49" fmla="*/ 361 h 3678"/>
                <a:gd name="T50" fmla="*/ 3541 w 3736"/>
                <a:gd name="T51" fmla="*/ 1844 h 3678"/>
                <a:gd name="T52" fmla="*/ 1658 w 3736"/>
                <a:gd name="T53" fmla="*/ 1439 h 3678"/>
                <a:gd name="T54" fmla="*/ 2419 w 3736"/>
                <a:gd name="T55" fmla="*/ 427 h 3678"/>
                <a:gd name="T56" fmla="*/ 2498 w 3736"/>
                <a:gd name="T57" fmla="*/ 124 h 3678"/>
                <a:gd name="T58" fmla="*/ 2441 w 3736"/>
                <a:gd name="T59" fmla="*/ 287 h 3678"/>
                <a:gd name="T60" fmla="*/ 2599 w 3736"/>
                <a:gd name="T61" fmla="*/ 347 h 3678"/>
                <a:gd name="T62" fmla="*/ 2672 w 3736"/>
                <a:gd name="T63" fmla="*/ 256 h 3678"/>
                <a:gd name="T64" fmla="*/ 2625 w 3736"/>
                <a:gd name="T65" fmla="*/ 136 h 3678"/>
                <a:gd name="T66" fmla="*/ 2665 w 3736"/>
                <a:gd name="T67" fmla="*/ 28 h 3678"/>
                <a:gd name="T68" fmla="*/ 3734 w 3736"/>
                <a:gd name="T69" fmla="*/ 1986 h 3678"/>
                <a:gd name="T70" fmla="*/ 3646 w 3736"/>
                <a:gd name="T71" fmla="*/ 2170 h 3678"/>
                <a:gd name="T72" fmla="*/ 3580 w 3736"/>
                <a:gd name="T73" fmla="*/ 2724 h 3678"/>
                <a:gd name="T74" fmla="*/ 3180 w 3736"/>
                <a:gd name="T75" fmla="*/ 2918 h 3678"/>
                <a:gd name="T76" fmla="*/ 2865 w 3736"/>
                <a:gd name="T77" fmla="*/ 2826 h 3678"/>
                <a:gd name="T78" fmla="*/ 2459 w 3736"/>
                <a:gd name="T79" fmla="*/ 2397 h 3678"/>
                <a:gd name="T80" fmla="*/ 3431 w 3736"/>
                <a:gd name="T81" fmla="*/ 2200 h 3678"/>
                <a:gd name="T82" fmla="*/ 3506 w 3736"/>
                <a:gd name="T83" fmla="*/ 2183 h 3678"/>
                <a:gd name="T84" fmla="*/ 1983 w 3736"/>
                <a:gd name="T85" fmla="*/ 1926 h 3678"/>
                <a:gd name="T86" fmla="*/ 2073 w 3736"/>
                <a:gd name="T87" fmla="*/ 2433 h 3678"/>
                <a:gd name="T88" fmla="*/ 2059 w 3736"/>
                <a:gd name="T89" fmla="*/ 2469 h 3678"/>
                <a:gd name="T90" fmla="*/ 2043 w 3736"/>
                <a:gd name="T91" fmla="*/ 2482 h 3678"/>
                <a:gd name="T92" fmla="*/ 2024 w 3736"/>
                <a:gd name="T93" fmla="*/ 2489 h 3678"/>
                <a:gd name="T94" fmla="*/ 1942 w 3736"/>
                <a:gd name="T95" fmla="*/ 2705 h 3678"/>
                <a:gd name="T96" fmla="*/ 1890 w 3736"/>
                <a:gd name="T97" fmla="*/ 2857 h 3678"/>
                <a:gd name="T98" fmla="*/ 2177 w 3736"/>
                <a:gd name="T99" fmla="*/ 3030 h 3678"/>
                <a:gd name="T100" fmla="*/ 2238 w 3736"/>
                <a:gd name="T101" fmla="*/ 3367 h 3678"/>
                <a:gd name="T102" fmla="*/ 2032 w 3736"/>
                <a:gd name="T103" fmla="*/ 3630 h 3678"/>
                <a:gd name="T104" fmla="*/ 311 w 3736"/>
                <a:gd name="T105" fmla="*/ 3666 h 3678"/>
                <a:gd name="T106" fmla="*/ 49 w 3736"/>
                <a:gd name="T107" fmla="*/ 3460 h 3678"/>
                <a:gd name="T108" fmla="*/ 28 w 3736"/>
                <a:gd name="T109" fmla="*/ 3116 h 3678"/>
                <a:gd name="T110" fmla="*/ 263 w 3736"/>
                <a:gd name="T111" fmla="*/ 2882 h 3678"/>
                <a:gd name="T112" fmla="*/ 317 w 3736"/>
                <a:gd name="T113" fmla="*/ 2724 h 3678"/>
                <a:gd name="T114" fmla="*/ 178 w 3736"/>
                <a:gd name="T115" fmla="*/ 2553 h 3678"/>
                <a:gd name="T116" fmla="*/ 284 w 3736"/>
                <a:gd name="T117" fmla="*/ 1975 h 3678"/>
                <a:gd name="T118" fmla="*/ 740 w 3736"/>
                <a:gd name="T119" fmla="*/ 1477 h 3678"/>
                <a:gd name="T120" fmla="*/ 963 w 3736"/>
                <a:gd name="T121" fmla="*/ 1310 h 3678"/>
                <a:gd name="T122" fmla="*/ 2410 w 3736"/>
                <a:gd name="T123" fmla="*/ 48 h 3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6" h="3678">
                  <a:moveTo>
                    <a:pt x="413" y="2964"/>
                  </a:moveTo>
                  <a:lnTo>
                    <a:pt x="367" y="2968"/>
                  </a:lnTo>
                  <a:lnTo>
                    <a:pt x="325" y="2978"/>
                  </a:lnTo>
                  <a:lnTo>
                    <a:pt x="286" y="2993"/>
                  </a:lnTo>
                  <a:lnTo>
                    <a:pt x="248" y="3013"/>
                  </a:lnTo>
                  <a:lnTo>
                    <a:pt x="215" y="3039"/>
                  </a:lnTo>
                  <a:lnTo>
                    <a:pt x="185" y="3069"/>
                  </a:lnTo>
                  <a:lnTo>
                    <a:pt x="160" y="3102"/>
                  </a:lnTo>
                  <a:lnTo>
                    <a:pt x="139" y="3139"/>
                  </a:lnTo>
                  <a:lnTo>
                    <a:pt x="125" y="3179"/>
                  </a:lnTo>
                  <a:lnTo>
                    <a:pt x="114" y="3222"/>
                  </a:lnTo>
                  <a:lnTo>
                    <a:pt x="111" y="3266"/>
                  </a:lnTo>
                  <a:lnTo>
                    <a:pt x="114" y="3310"/>
                  </a:lnTo>
                  <a:lnTo>
                    <a:pt x="125" y="3352"/>
                  </a:lnTo>
                  <a:lnTo>
                    <a:pt x="139" y="3393"/>
                  </a:lnTo>
                  <a:lnTo>
                    <a:pt x="160" y="3430"/>
                  </a:lnTo>
                  <a:lnTo>
                    <a:pt x="185" y="3464"/>
                  </a:lnTo>
                  <a:lnTo>
                    <a:pt x="215" y="3493"/>
                  </a:lnTo>
                  <a:lnTo>
                    <a:pt x="248" y="3518"/>
                  </a:lnTo>
                  <a:lnTo>
                    <a:pt x="286" y="3538"/>
                  </a:lnTo>
                  <a:lnTo>
                    <a:pt x="325" y="3554"/>
                  </a:lnTo>
                  <a:lnTo>
                    <a:pt x="367" y="3563"/>
                  </a:lnTo>
                  <a:lnTo>
                    <a:pt x="413" y="3567"/>
                  </a:lnTo>
                  <a:lnTo>
                    <a:pt x="1838" y="3567"/>
                  </a:lnTo>
                  <a:lnTo>
                    <a:pt x="1882" y="3563"/>
                  </a:lnTo>
                  <a:lnTo>
                    <a:pt x="1925" y="3554"/>
                  </a:lnTo>
                  <a:lnTo>
                    <a:pt x="1965" y="3538"/>
                  </a:lnTo>
                  <a:lnTo>
                    <a:pt x="2002" y="3518"/>
                  </a:lnTo>
                  <a:lnTo>
                    <a:pt x="2035" y="3493"/>
                  </a:lnTo>
                  <a:lnTo>
                    <a:pt x="2065" y="3464"/>
                  </a:lnTo>
                  <a:lnTo>
                    <a:pt x="2091" y="3430"/>
                  </a:lnTo>
                  <a:lnTo>
                    <a:pt x="2111" y="3393"/>
                  </a:lnTo>
                  <a:lnTo>
                    <a:pt x="2126" y="3352"/>
                  </a:lnTo>
                  <a:lnTo>
                    <a:pt x="2136" y="3310"/>
                  </a:lnTo>
                  <a:lnTo>
                    <a:pt x="2140" y="3266"/>
                  </a:lnTo>
                  <a:lnTo>
                    <a:pt x="2136" y="3222"/>
                  </a:lnTo>
                  <a:lnTo>
                    <a:pt x="2126" y="3179"/>
                  </a:lnTo>
                  <a:lnTo>
                    <a:pt x="2111" y="3139"/>
                  </a:lnTo>
                  <a:lnTo>
                    <a:pt x="2091" y="3102"/>
                  </a:lnTo>
                  <a:lnTo>
                    <a:pt x="2065" y="3069"/>
                  </a:lnTo>
                  <a:lnTo>
                    <a:pt x="2035" y="3039"/>
                  </a:lnTo>
                  <a:lnTo>
                    <a:pt x="2002" y="3013"/>
                  </a:lnTo>
                  <a:lnTo>
                    <a:pt x="1965" y="2993"/>
                  </a:lnTo>
                  <a:lnTo>
                    <a:pt x="1925" y="2978"/>
                  </a:lnTo>
                  <a:lnTo>
                    <a:pt x="1882" y="2968"/>
                  </a:lnTo>
                  <a:lnTo>
                    <a:pt x="1838" y="2964"/>
                  </a:lnTo>
                  <a:lnTo>
                    <a:pt x="413" y="2964"/>
                  </a:lnTo>
                  <a:close/>
                  <a:moveTo>
                    <a:pt x="943" y="2727"/>
                  </a:moveTo>
                  <a:lnTo>
                    <a:pt x="943" y="2853"/>
                  </a:lnTo>
                  <a:lnTo>
                    <a:pt x="1307" y="2853"/>
                  </a:lnTo>
                  <a:lnTo>
                    <a:pt x="1307" y="2727"/>
                  </a:lnTo>
                  <a:lnTo>
                    <a:pt x="943" y="2727"/>
                  </a:lnTo>
                  <a:close/>
                  <a:moveTo>
                    <a:pt x="3407" y="2328"/>
                  </a:moveTo>
                  <a:lnTo>
                    <a:pt x="2754" y="2590"/>
                  </a:lnTo>
                  <a:lnTo>
                    <a:pt x="2936" y="2741"/>
                  </a:lnTo>
                  <a:lnTo>
                    <a:pt x="2970" y="2765"/>
                  </a:lnTo>
                  <a:lnTo>
                    <a:pt x="3005" y="2783"/>
                  </a:lnTo>
                  <a:lnTo>
                    <a:pt x="3042" y="2797"/>
                  </a:lnTo>
                  <a:lnTo>
                    <a:pt x="3081" y="2806"/>
                  </a:lnTo>
                  <a:lnTo>
                    <a:pt x="3121" y="2809"/>
                  </a:lnTo>
                  <a:lnTo>
                    <a:pt x="3161" y="2808"/>
                  </a:lnTo>
                  <a:lnTo>
                    <a:pt x="3201" y="2800"/>
                  </a:lnTo>
                  <a:lnTo>
                    <a:pt x="3240" y="2787"/>
                  </a:lnTo>
                  <a:lnTo>
                    <a:pt x="3429" y="2711"/>
                  </a:lnTo>
                  <a:lnTo>
                    <a:pt x="3452" y="2700"/>
                  </a:lnTo>
                  <a:lnTo>
                    <a:pt x="3470" y="2684"/>
                  </a:lnTo>
                  <a:lnTo>
                    <a:pt x="3485" y="2666"/>
                  </a:lnTo>
                  <a:lnTo>
                    <a:pt x="3496" y="2646"/>
                  </a:lnTo>
                  <a:lnTo>
                    <a:pt x="3504" y="2623"/>
                  </a:lnTo>
                  <a:lnTo>
                    <a:pt x="3506" y="2599"/>
                  </a:lnTo>
                  <a:lnTo>
                    <a:pt x="3504" y="2575"/>
                  </a:lnTo>
                  <a:lnTo>
                    <a:pt x="3497" y="2551"/>
                  </a:lnTo>
                  <a:lnTo>
                    <a:pt x="3407" y="2328"/>
                  </a:lnTo>
                  <a:close/>
                  <a:moveTo>
                    <a:pt x="353" y="2073"/>
                  </a:moveTo>
                  <a:lnTo>
                    <a:pt x="333" y="2076"/>
                  </a:lnTo>
                  <a:lnTo>
                    <a:pt x="315" y="2085"/>
                  </a:lnTo>
                  <a:lnTo>
                    <a:pt x="302" y="2099"/>
                  </a:lnTo>
                  <a:lnTo>
                    <a:pt x="292" y="2116"/>
                  </a:lnTo>
                  <a:lnTo>
                    <a:pt x="289" y="2136"/>
                  </a:lnTo>
                  <a:lnTo>
                    <a:pt x="289" y="2553"/>
                  </a:lnTo>
                  <a:lnTo>
                    <a:pt x="292" y="2572"/>
                  </a:lnTo>
                  <a:lnTo>
                    <a:pt x="302" y="2590"/>
                  </a:lnTo>
                  <a:lnTo>
                    <a:pt x="315" y="2604"/>
                  </a:lnTo>
                  <a:lnTo>
                    <a:pt x="333" y="2613"/>
                  </a:lnTo>
                  <a:lnTo>
                    <a:pt x="353" y="2616"/>
                  </a:lnTo>
                  <a:lnTo>
                    <a:pt x="713" y="2616"/>
                  </a:lnTo>
                  <a:lnTo>
                    <a:pt x="713" y="2073"/>
                  </a:lnTo>
                  <a:lnTo>
                    <a:pt x="353" y="2073"/>
                  </a:lnTo>
                  <a:close/>
                  <a:moveTo>
                    <a:pt x="3562" y="1955"/>
                  </a:moveTo>
                  <a:lnTo>
                    <a:pt x="3542" y="1957"/>
                  </a:lnTo>
                  <a:lnTo>
                    <a:pt x="3524" y="1966"/>
                  </a:lnTo>
                  <a:lnTo>
                    <a:pt x="3511" y="1980"/>
                  </a:lnTo>
                  <a:lnTo>
                    <a:pt x="3502" y="1998"/>
                  </a:lnTo>
                  <a:lnTo>
                    <a:pt x="3498" y="2017"/>
                  </a:lnTo>
                  <a:lnTo>
                    <a:pt x="3502" y="2038"/>
                  </a:lnTo>
                  <a:lnTo>
                    <a:pt x="3511" y="2055"/>
                  </a:lnTo>
                  <a:lnTo>
                    <a:pt x="3524" y="2068"/>
                  </a:lnTo>
                  <a:lnTo>
                    <a:pt x="3542" y="2077"/>
                  </a:lnTo>
                  <a:lnTo>
                    <a:pt x="3562" y="2081"/>
                  </a:lnTo>
                  <a:lnTo>
                    <a:pt x="3582" y="2077"/>
                  </a:lnTo>
                  <a:lnTo>
                    <a:pt x="3599" y="2068"/>
                  </a:lnTo>
                  <a:lnTo>
                    <a:pt x="3613" y="2055"/>
                  </a:lnTo>
                  <a:lnTo>
                    <a:pt x="3622" y="2038"/>
                  </a:lnTo>
                  <a:lnTo>
                    <a:pt x="3625" y="2017"/>
                  </a:lnTo>
                  <a:lnTo>
                    <a:pt x="3622" y="1998"/>
                  </a:lnTo>
                  <a:lnTo>
                    <a:pt x="3613" y="1980"/>
                  </a:lnTo>
                  <a:lnTo>
                    <a:pt x="3599" y="1966"/>
                  </a:lnTo>
                  <a:lnTo>
                    <a:pt x="3582" y="1957"/>
                  </a:lnTo>
                  <a:lnTo>
                    <a:pt x="3562" y="1955"/>
                  </a:lnTo>
                  <a:close/>
                  <a:moveTo>
                    <a:pt x="950" y="1428"/>
                  </a:moveTo>
                  <a:lnTo>
                    <a:pt x="921" y="1441"/>
                  </a:lnTo>
                  <a:lnTo>
                    <a:pt x="893" y="1458"/>
                  </a:lnTo>
                  <a:lnTo>
                    <a:pt x="871" y="1481"/>
                  </a:lnTo>
                  <a:lnTo>
                    <a:pt x="851" y="1507"/>
                  </a:lnTo>
                  <a:lnTo>
                    <a:pt x="837" y="1536"/>
                  </a:lnTo>
                  <a:lnTo>
                    <a:pt x="828" y="1568"/>
                  </a:lnTo>
                  <a:lnTo>
                    <a:pt x="824" y="1601"/>
                  </a:lnTo>
                  <a:lnTo>
                    <a:pt x="824" y="2616"/>
                  </a:lnTo>
                  <a:lnTo>
                    <a:pt x="1843" y="2616"/>
                  </a:lnTo>
                  <a:lnTo>
                    <a:pt x="1843" y="2489"/>
                  </a:lnTo>
                  <a:lnTo>
                    <a:pt x="1556" y="2489"/>
                  </a:lnTo>
                  <a:lnTo>
                    <a:pt x="1468" y="2487"/>
                  </a:lnTo>
                  <a:lnTo>
                    <a:pt x="1382" y="2478"/>
                  </a:lnTo>
                  <a:lnTo>
                    <a:pt x="1297" y="2462"/>
                  </a:lnTo>
                  <a:lnTo>
                    <a:pt x="1213" y="2441"/>
                  </a:lnTo>
                  <a:lnTo>
                    <a:pt x="1132" y="2414"/>
                  </a:lnTo>
                  <a:lnTo>
                    <a:pt x="1050" y="2382"/>
                  </a:lnTo>
                  <a:lnTo>
                    <a:pt x="1026" y="2369"/>
                  </a:lnTo>
                  <a:lnTo>
                    <a:pt x="1005" y="2352"/>
                  </a:lnTo>
                  <a:lnTo>
                    <a:pt x="985" y="2331"/>
                  </a:lnTo>
                  <a:lnTo>
                    <a:pt x="971" y="2309"/>
                  </a:lnTo>
                  <a:lnTo>
                    <a:pt x="960" y="2284"/>
                  </a:lnTo>
                  <a:lnTo>
                    <a:pt x="954" y="2256"/>
                  </a:lnTo>
                  <a:lnTo>
                    <a:pt x="950" y="2228"/>
                  </a:lnTo>
                  <a:lnTo>
                    <a:pt x="950" y="1428"/>
                  </a:lnTo>
                  <a:close/>
                  <a:moveTo>
                    <a:pt x="1062" y="1419"/>
                  </a:moveTo>
                  <a:lnTo>
                    <a:pt x="1062" y="2228"/>
                  </a:lnTo>
                  <a:lnTo>
                    <a:pt x="1065" y="2245"/>
                  </a:lnTo>
                  <a:lnTo>
                    <a:pt x="1071" y="2259"/>
                  </a:lnTo>
                  <a:lnTo>
                    <a:pt x="1082" y="2271"/>
                  </a:lnTo>
                  <a:lnTo>
                    <a:pt x="1095" y="2280"/>
                  </a:lnTo>
                  <a:lnTo>
                    <a:pt x="1171" y="2311"/>
                  </a:lnTo>
                  <a:lnTo>
                    <a:pt x="1248" y="2335"/>
                  </a:lnTo>
                  <a:lnTo>
                    <a:pt x="1248" y="1601"/>
                  </a:lnTo>
                  <a:lnTo>
                    <a:pt x="1251" y="1584"/>
                  </a:lnTo>
                  <a:lnTo>
                    <a:pt x="1259" y="1568"/>
                  </a:lnTo>
                  <a:lnTo>
                    <a:pt x="1271" y="1557"/>
                  </a:lnTo>
                  <a:lnTo>
                    <a:pt x="1286" y="1549"/>
                  </a:lnTo>
                  <a:lnTo>
                    <a:pt x="1304" y="1545"/>
                  </a:lnTo>
                  <a:lnTo>
                    <a:pt x="1321" y="1549"/>
                  </a:lnTo>
                  <a:lnTo>
                    <a:pt x="1337" y="1557"/>
                  </a:lnTo>
                  <a:lnTo>
                    <a:pt x="1348" y="1568"/>
                  </a:lnTo>
                  <a:lnTo>
                    <a:pt x="1356" y="1584"/>
                  </a:lnTo>
                  <a:lnTo>
                    <a:pt x="1360" y="1601"/>
                  </a:lnTo>
                  <a:lnTo>
                    <a:pt x="1360" y="2361"/>
                  </a:lnTo>
                  <a:lnTo>
                    <a:pt x="1424" y="2370"/>
                  </a:lnTo>
                  <a:lnTo>
                    <a:pt x="1490" y="2376"/>
                  </a:lnTo>
                  <a:lnTo>
                    <a:pt x="1556" y="2378"/>
                  </a:lnTo>
                  <a:lnTo>
                    <a:pt x="1961" y="2378"/>
                  </a:lnTo>
                  <a:lnTo>
                    <a:pt x="1961" y="2221"/>
                  </a:lnTo>
                  <a:lnTo>
                    <a:pt x="1958" y="2171"/>
                  </a:lnTo>
                  <a:lnTo>
                    <a:pt x="1949" y="2123"/>
                  </a:lnTo>
                  <a:lnTo>
                    <a:pt x="1936" y="2076"/>
                  </a:lnTo>
                  <a:lnTo>
                    <a:pt x="1915" y="2031"/>
                  </a:lnTo>
                  <a:lnTo>
                    <a:pt x="1890" y="1988"/>
                  </a:lnTo>
                  <a:lnTo>
                    <a:pt x="1566" y="1500"/>
                  </a:lnTo>
                  <a:lnTo>
                    <a:pt x="1547" y="1477"/>
                  </a:lnTo>
                  <a:lnTo>
                    <a:pt x="1525" y="1457"/>
                  </a:lnTo>
                  <a:lnTo>
                    <a:pt x="1500" y="1441"/>
                  </a:lnTo>
                  <a:lnTo>
                    <a:pt x="1473" y="1428"/>
                  </a:lnTo>
                  <a:lnTo>
                    <a:pt x="1445" y="1422"/>
                  </a:lnTo>
                  <a:lnTo>
                    <a:pt x="1414" y="1419"/>
                  </a:lnTo>
                  <a:lnTo>
                    <a:pt x="1062" y="1419"/>
                  </a:lnTo>
                  <a:close/>
                  <a:moveTo>
                    <a:pt x="2753" y="353"/>
                  </a:moveTo>
                  <a:lnTo>
                    <a:pt x="2749" y="361"/>
                  </a:lnTo>
                  <a:lnTo>
                    <a:pt x="2571" y="659"/>
                  </a:lnTo>
                  <a:lnTo>
                    <a:pt x="3419" y="1917"/>
                  </a:lnTo>
                  <a:lnTo>
                    <a:pt x="3437" y="1895"/>
                  </a:lnTo>
                  <a:lnTo>
                    <a:pt x="3460" y="1876"/>
                  </a:lnTo>
                  <a:lnTo>
                    <a:pt x="3485" y="1861"/>
                  </a:lnTo>
                  <a:lnTo>
                    <a:pt x="3512" y="1850"/>
                  </a:lnTo>
                  <a:lnTo>
                    <a:pt x="3541" y="1844"/>
                  </a:lnTo>
                  <a:lnTo>
                    <a:pt x="2753" y="353"/>
                  </a:lnTo>
                  <a:close/>
                  <a:moveTo>
                    <a:pt x="2334" y="320"/>
                  </a:moveTo>
                  <a:lnTo>
                    <a:pt x="1562" y="1348"/>
                  </a:lnTo>
                  <a:lnTo>
                    <a:pt x="1590" y="1366"/>
                  </a:lnTo>
                  <a:lnTo>
                    <a:pt x="1616" y="1387"/>
                  </a:lnTo>
                  <a:lnTo>
                    <a:pt x="1638" y="1411"/>
                  </a:lnTo>
                  <a:lnTo>
                    <a:pt x="1658" y="1439"/>
                  </a:lnTo>
                  <a:lnTo>
                    <a:pt x="1827" y="1690"/>
                  </a:lnTo>
                  <a:lnTo>
                    <a:pt x="2555" y="467"/>
                  </a:lnTo>
                  <a:lnTo>
                    <a:pt x="2551" y="467"/>
                  </a:lnTo>
                  <a:lnTo>
                    <a:pt x="2515" y="465"/>
                  </a:lnTo>
                  <a:lnTo>
                    <a:pt x="2481" y="457"/>
                  </a:lnTo>
                  <a:lnTo>
                    <a:pt x="2448" y="444"/>
                  </a:lnTo>
                  <a:lnTo>
                    <a:pt x="2419" y="427"/>
                  </a:lnTo>
                  <a:lnTo>
                    <a:pt x="2391" y="405"/>
                  </a:lnTo>
                  <a:lnTo>
                    <a:pt x="2369" y="380"/>
                  </a:lnTo>
                  <a:lnTo>
                    <a:pt x="2349" y="351"/>
                  </a:lnTo>
                  <a:lnTo>
                    <a:pt x="2334" y="320"/>
                  </a:lnTo>
                  <a:close/>
                  <a:moveTo>
                    <a:pt x="2551" y="111"/>
                  </a:moveTo>
                  <a:lnTo>
                    <a:pt x="2523" y="115"/>
                  </a:lnTo>
                  <a:lnTo>
                    <a:pt x="2498" y="124"/>
                  </a:lnTo>
                  <a:lnTo>
                    <a:pt x="2475" y="138"/>
                  </a:lnTo>
                  <a:lnTo>
                    <a:pt x="2456" y="157"/>
                  </a:lnTo>
                  <a:lnTo>
                    <a:pt x="2441" y="180"/>
                  </a:lnTo>
                  <a:lnTo>
                    <a:pt x="2432" y="205"/>
                  </a:lnTo>
                  <a:lnTo>
                    <a:pt x="2429" y="234"/>
                  </a:lnTo>
                  <a:lnTo>
                    <a:pt x="2432" y="262"/>
                  </a:lnTo>
                  <a:lnTo>
                    <a:pt x="2441" y="287"/>
                  </a:lnTo>
                  <a:lnTo>
                    <a:pt x="2456" y="311"/>
                  </a:lnTo>
                  <a:lnTo>
                    <a:pt x="2475" y="329"/>
                  </a:lnTo>
                  <a:lnTo>
                    <a:pt x="2498" y="344"/>
                  </a:lnTo>
                  <a:lnTo>
                    <a:pt x="2523" y="353"/>
                  </a:lnTo>
                  <a:lnTo>
                    <a:pt x="2551" y="356"/>
                  </a:lnTo>
                  <a:lnTo>
                    <a:pt x="2576" y="354"/>
                  </a:lnTo>
                  <a:lnTo>
                    <a:pt x="2599" y="347"/>
                  </a:lnTo>
                  <a:lnTo>
                    <a:pt x="2619" y="336"/>
                  </a:lnTo>
                  <a:lnTo>
                    <a:pt x="2638" y="321"/>
                  </a:lnTo>
                  <a:lnTo>
                    <a:pt x="2653" y="303"/>
                  </a:lnTo>
                  <a:lnTo>
                    <a:pt x="2656" y="298"/>
                  </a:lnTo>
                  <a:lnTo>
                    <a:pt x="2657" y="297"/>
                  </a:lnTo>
                  <a:lnTo>
                    <a:pt x="2666" y="278"/>
                  </a:lnTo>
                  <a:lnTo>
                    <a:pt x="2672" y="256"/>
                  </a:lnTo>
                  <a:lnTo>
                    <a:pt x="2674" y="234"/>
                  </a:lnTo>
                  <a:lnTo>
                    <a:pt x="2672" y="210"/>
                  </a:lnTo>
                  <a:lnTo>
                    <a:pt x="2665" y="187"/>
                  </a:lnTo>
                  <a:lnTo>
                    <a:pt x="2661" y="180"/>
                  </a:lnTo>
                  <a:lnTo>
                    <a:pt x="2658" y="174"/>
                  </a:lnTo>
                  <a:lnTo>
                    <a:pt x="2643" y="153"/>
                  </a:lnTo>
                  <a:lnTo>
                    <a:pt x="2625" y="136"/>
                  </a:lnTo>
                  <a:lnTo>
                    <a:pt x="2603" y="123"/>
                  </a:lnTo>
                  <a:lnTo>
                    <a:pt x="2579" y="115"/>
                  </a:lnTo>
                  <a:lnTo>
                    <a:pt x="2551" y="111"/>
                  </a:lnTo>
                  <a:close/>
                  <a:moveTo>
                    <a:pt x="2551" y="0"/>
                  </a:moveTo>
                  <a:lnTo>
                    <a:pt x="2591" y="3"/>
                  </a:lnTo>
                  <a:lnTo>
                    <a:pt x="2630" y="12"/>
                  </a:lnTo>
                  <a:lnTo>
                    <a:pt x="2665" y="28"/>
                  </a:lnTo>
                  <a:lnTo>
                    <a:pt x="2696" y="50"/>
                  </a:lnTo>
                  <a:lnTo>
                    <a:pt x="2724" y="75"/>
                  </a:lnTo>
                  <a:lnTo>
                    <a:pt x="2747" y="106"/>
                  </a:lnTo>
                  <a:lnTo>
                    <a:pt x="2766" y="138"/>
                  </a:lnTo>
                  <a:lnTo>
                    <a:pt x="3713" y="1930"/>
                  </a:lnTo>
                  <a:lnTo>
                    <a:pt x="3726" y="1957"/>
                  </a:lnTo>
                  <a:lnTo>
                    <a:pt x="3734" y="1986"/>
                  </a:lnTo>
                  <a:lnTo>
                    <a:pt x="3736" y="2017"/>
                  </a:lnTo>
                  <a:lnTo>
                    <a:pt x="3733" y="2050"/>
                  </a:lnTo>
                  <a:lnTo>
                    <a:pt x="3725" y="2080"/>
                  </a:lnTo>
                  <a:lnTo>
                    <a:pt x="3711" y="2108"/>
                  </a:lnTo>
                  <a:lnTo>
                    <a:pt x="3693" y="2132"/>
                  </a:lnTo>
                  <a:lnTo>
                    <a:pt x="3672" y="2153"/>
                  </a:lnTo>
                  <a:lnTo>
                    <a:pt x="3646" y="2170"/>
                  </a:lnTo>
                  <a:lnTo>
                    <a:pt x="3617" y="2183"/>
                  </a:lnTo>
                  <a:lnTo>
                    <a:pt x="3617" y="2612"/>
                  </a:lnTo>
                  <a:lnTo>
                    <a:pt x="3617" y="2620"/>
                  </a:lnTo>
                  <a:lnTo>
                    <a:pt x="3616" y="2626"/>
                  </a:lnTo>
                  <a:lnTo>
                    <a:pt x="3609" y="2660"/>
                  </a:lnTo>
                  <a:lnTo>
                    <a:pt x="3597" y="2693"/>
                  </a:lnTo>
                  <a:lnTo>
                    <a:pt x="3580" y="2724"/>
                  </a:lnTo>
                  <a:lnTo>
                    <a:pt x="3559" y="2752"/>
                  </a:lnTo>
                  <a:lnTo>
                    <a:pt x="3533" y="2777"/>
                  </a:lnTo>
                  <a:lnTo>
                    <a:pt x="3504" y="2799"/>
                  </a:lnTo>
                  <a:lnTo>
                    <a:pt x="3471" y="2815"/>
                  </a:lnTo>
                  <a:lnTo>
                    <a:pt x="3282" y="2891"/>
                  </a:lnTo>
                  <a:lnTo>
                    <a:pt x="3231" y="2908"/>
                  </a:lnTo>
                  <a:lnTo>
                    <a:pt x="3180" y="2918"/>
                  </a:lnTo>
                  <a:lnTo>
                    <a:pt x="3127" y="2920"/>
                  </a:lnTo>
                  <a:lnTo>
                    <a:pt x="3081" y="2918"/>
                  </a:lnTo>
                  <a:lnTo>
                    <a:pt x="3034" y="2910"/>
                  </a:lnTo>
                  <a:lnTo>
                    <a:pt x="2989" y="2896"/>
                  </a:lnTo>
                  <a:lnTo>
                    <a:pt x="2946" y="2878"/>
                  </a:lnTo>
                  <a:lnTo>
                    <a:pt x="2904" y="2855"/>
                  </a:lnTo>
                  <a:lnTo>
                    <a:pt x="2865" y="2826"/>
                  </a:lnTo>
                  <a:lnTo>
                    <a:pt x="2454" y="2487"/>
                  </a:lnTo>
                  <a:lnTo>
                    <a:pt x="2442" y="2474"/>
                  </a:lnTo>
                  <a:lnTo>
                    <a:pt x="2436" y="2458"/>
                  </a:lnTo>
                  <a:lnTo>
                    <a:pt x="2433" y="2441"/>
                  </a:lnTo>
                  <a:lnTo>
                    <a:pt x="2438" y="2424"/>
                  </a:lnTo>
                  <a:lnTo>
                    <a:pt x="2447" y="2409"/>
                  </a:lnTo>
                  <a:lnTo>
                    <a:pt x="2459" y="2397"/>
                  </a:lnTo>
                  <a:lnTo>
                    <a:pt x="2475" y="2390"/>
                  </a:lnTo>
                  <a:lnTo>
                    <a:pt x="2492" y="2388"/>
                  </a:lnTo>
                  <a:lnTo>
                    <a:pt x="2509" y="2393"/>
                  </a:lnTo>
                  <a:lnTo>
                    <a:pt x="2525" y="2402"/>
                  </a:lnTo>
                  <a:lnTo>
                    <a:pt x="2656" y="2509"/>
                  </a:lnTo>
                  <a:lnTo>
                    <a:pt x="3418" y="2203"/>
                  </a:lnTo>
                  <a:lnTo>
                    <a:pt x="3431" y="2200"/>
                  </a:lnTo>
                  <a:lnTo>
                    <a:pt x="3446" y="2200"/>
                  </a:lnTo>
                  <a:lnTo>
                    <a:pt x="3460" y="2204"/>
                  </a:lnTo>
                  <a:lnTo>
                    <a:pt x="3472" y="2211"/>
                  </a:lnTo>
                  <a:lnTo>
                    <a:pt x="3482" y="2221"/>
                  </a:lnTo>
                  <a:lnTo>
                    <a:pt x="3490" y="2235"/>
                  </a:lnTo>
                  <a:lnTo>
                    <a:pt x="3506" y="2275"/>
                  </a:lnTo>
                  <a:lnTo>
                    <a:pt x="3506" y="2183"/>
                  </a:lnTo>
                  <a:lnTo>
                    <a:pt x="3478" y="2170"/>
                  </a:lnTo>
                  <a:lnTo>
                    <a:pt x="3452" y="2152"/>
                  </a:lnTo>
                  <a:lnTo>
                    <a:pt x="3429" y="2131"/>
                  </a:lnTo>
                  <a:lnTo>
                    <a:pt x="3411" y="2106"/>
                  </a:lnTo>
                  <a:lnTo>
                    <a:pt x="2507" y="766"/>
                  </a:lnTo>
                  <a:lnTo>
                    <a:pt x="1895" y="1794"/>
                  </a:lnTo>
                  <a:lnTo>
                    <a:pt x="1983" y="1926"/>
                  </a:lnTo>
                  <a:lnTo>
                    <a:pt x="2010" y="1971"/>
                  </a:lnTo>
                  <a:lnTo>
                    <a:pt x="2032" y="2018"/>
                  </a:lnTo>
                  <a:lnTo>
                    <a:pt x="2050" y="2067"/>
                  </a:lnTo>
                  <a:lnTo>
                    <a:pt x="2063" y="2117"/>
                  </a:lnTo>
                  <a:lnTo>
                    <a:pt x="2069" y="2168"/>
                  </a:lnTo>
                  <a:lnTo>
                    <a:pt x="2073" y="2221"/>
                  </a:lnTo>
                  <a:lnTo>
                    <a:pt x="2073" y="2433"/>
                  </a:lnTo>
                  <a:lnTo>
                    <a:pt x="2072" y="2441"/>
                  </a:lnTo>
                  <a:lnTo>
                    <a:pt x="2069" y="2452"/>
                  </a:lnTo>
                  <a:lnTo>
                    <a:pt x="2066" y="2460"/>
                  </a:lnTo>
                  <a:lnTo>
                    <a:pt x="2064" y="2463"/>
                  </a:lnTo>
                  <a:lnTo>
                    <a:pt x="2063" y="2465"/>
                  </a:lnTo>
                  <a:lnTo>
                    <a:pt x="2060" y="2469"/>
                  </a:lnTo>
                  <a:lnTo>
                    <a:pt x="2059" y="2469"/>
                  </a:lnTo>
                  <a:lnTo>
                    <a:pt x="2058" y="2471"/>
                  </a:lnTo>
                  <a:lnTo>
                    <a:pt x="2056" y="2473"/>
                  </a:lnTo>
                  <a:lnTo>
                    <a:pt x="2055" y="2474"/>
                  </a:lnTo>
                  <a:lnTo>
                    <a:pt x="2052" y="2477"/>
                  </a:lnTo>
                  <a:lnTo>
                    <a:pt x="2050" y="2478"/>
                  </a:lnTo>
                  <a:lnTo>
                    <a:pt x="2048" y="2480"/>
                  </a:lnTo>
                  <a:lnTo>
                    <a:pt x="2043" y="2482"/>
                  </a:lnTo>
                  <a:lnTo>
                    <a:pt x="2039" y="2485"/>
                  </a:lnTo>
                  <a:lnTo>
                    <a:pt x="2039" y="2485"/>
                  </a:lnTo>
                  <a:lnTo>
                    <a:pt x="2035" y="2486"/>
                  </a:lnTo>
                  <a:lnTo>
                    <a:pt x="2033" y="2487"/>
                  </a:lnTo>
                  <a:lnTo>
                    <a:pt x="2031" y="2488"/>
                  </a:lnTo>
                  <a:lnTo>
                    <a:pt x="2027" y="2488"/>
                  </a:lnTo>
                  <a:lnTo>
                    <a:pt x="2024" y="2489"/>
                  </a:lnTo>
                  <a:lnTo>
                    <a:pt x="2023" y="2489"/>
                  </a:lnTo>
                  <a:lnTo>
                    <a:pt x="2019" y="2489"/>
                  </a:lnTo>
                  <a:lnTo>
                    <a:pt x="2017" y="2489"/>
                  </a:lnTo>
                  <a:lnTo>
                    <a:pt x="1954" y="2489"/>
                  </a:lnTo>
                  <a:lnTo>
                    <a:pt x="1954" y="2672"/>
                  </a:lnTo>
                  <a:lnTo>
                    <a:pt x="1950" y="2689"/>
                  </a:lnTo>
                  <a:lnTo>
                    <a:pt x="1942" y="2705"/>
                  </a:lnTo>
                  <a:lnTo>
                    <a:pt x="1931" y="2716"/>
                  </a:lnTo>
                  <a:lnTo>
                    <a:pt x="1915" y="2724"/>
                  </a:lnTo>
                  <a:lnTo>
                    <a:pt x="1898" y="2727"/>
                  </a:lnTo>
                  <a:lnTo>
                    <a:pt x="1418" y="2727"/>
                  </a:lnTo>
                  <a:lnTo>
                    <a:pt x="1418" y="2853"/>
                  </a:lnTo>
                  <a:lnTo>
                    <a:pt x="1838" y="2853"/>
                  </a:lnTo>
                  <a:lnTo>
                    <a:pt x="1890" y="2857"/>
                  </a:lnTo>
                  <a:lnTo>
                    <a:pt x="1940" y="2866"/>
                  </a:lnTo>
                  <a:lnTo>
                    <a:pt x="1988" y="2882"/>
                  </a:lnTo>
                  <a:lnTo>
                    <a:pt x="2032" y="2902"/>
                  </a:lnTo>
                  <a:lnTo>
                    <a:pt x="2074" y="2927"/>
                  </a:lnTo>
                  <a:lnTo>
                    <a:pt x="2112" y="2958"/>
                  </a:lnTo>
                  <a:lnTo>
                    <a:pt x="2146" y="2992"/>
                  </a:lnTo>
                  <a:lnTo>
                    <a:pt x="2177" y="3030"/>
                  </a:lnTo>
                  <a:lnTo>
                    <a:pt x="2202" y="3072"/>
                  </a:lnTo>
                  <a:lnTo>
                    <a:pt x="2222" y="3116"/>
                  </a:lnTo>
                  <a:lnTo>
                    <a:pt x="2238" y="3164"/>
                  </a:lnTo>
                  <a:lnTo>
                    <a:pt x="2247" y="3214"/>
                  </a:lnTo>
                  <a:lnTo>
                    <a:pt x="2251" y="3266"/>
                  </a:lnTo>
                  <a:lnTo>
                    <a:pt x="2247" y="3317"/>
                  </a:lnTo>
                  <a:lnTo>
                    <a:pt x="2238" y="3367"/>
                  </a:lnTo>
                  <a:lnTo>
                    <a:pt x="2222" y="3415"/>
                  </a:lnTo>
                  <a:lnTo>
                    <a:pt x="2202" y="3460"/>
                  </a:lnTo>
                  <a:lnTo>
                    <a:pt x="2177" y="3501"/>
                  </a:lnTo>
                  <a:lnTo>
                    <a:pt x="2146" y="3540"/>
                  </a:lnTo>
                  <a:lnTo>
                    <a:pt x="2112" y="3574"/>
                  </a:lnTo>
                  <a:lnTo>
                    <a:pt x="2074" y="3604"/>
                  </a:lnTo>
                  <a:lnTo>
                    <a:pt x="2032" y="3630"/>
                  </a:lnTo>
                  <a:lnTo>
                    <a:pt x="1988" y="3651"/>
                  </a:lnTo>
                  <a:lnTo>
                    <a:pt x="1940" y="3666"/>
                  </a:lnTo>
                  <a:lnTo>
                    <a:pt x="1890" y="3676"/>
                  </a:lnTo>
                  <a:lnTo>
                    <a:pt x="1838" y="3678"/>
                  </a:lnTo>
                  <a:lnTo>
                    <a:pt x="413" y="3678"/>
                  </a:lnTo>
                  <a:lnTo>
                    <a:pt x="360" y="3676"/>
                  </a:lnTo>
                  <a:lnTo>
                    <a:pt x="311" y="3666"/>
                  </a:lnTo>
                  <a:lnTo>
                    <a:pt x="263" y="3651"/>
                  </a:lnTo>
                  <a:lnTo>
                    <a:pt x="219" y="3630"/>
                  </a:lnTo>
                  <a:lnTo>
                    <a:pt x="177" y="3604"/>
                  </a:lnTo>
                  <a:lnTo>
                    <a:pt x="138" y="3574"/>
                  </a:lnTo>
                  <a:lnTo>
                    <a:pt x="104" y="3540"/>
                  </a:lnTo>
                  <a:lnTo>
                    <a:pt x="74" y="3501"/>
                  </a:lnTo>
                  <a:lnTo>
                    <a:pt x="49" y="3460"/>
                  </a:lnTo>
                  <a:lnTo>
                    <a:pt x="28" y="3415"/>
                  </a:lnTo>
                  <a:lnTo>
                    <a:pt x="12" y="3367"/>
                  </a:lnTo>
                  <a:lnTo>
                    <a:pt x="3" y="3317"/>
                  </a:lnTo>
                  <a:lnTo>
                    <a:pt x="0" y="3266"/>
                  </a:lnTo>
                  <a:lnTo>
                    <a:pt x="3" y="3214"/>
                  </a:lnTo>
                  <a:lnTo>
                    <a:pt x="12" y="3164"/>
                  </a:lnTo>
                  <a:lnTo>
                    <a:pt x="28" y="3116"/>
                  </a:lnTo>
                  <a:lnTo>
                    <a:pt x="49" y="3072"/>
                  </a:lnTo>
                  <a:lnTo>
                    <a:pt x="74" y="3030"/>
                  </a:lnTo>
                  <a:lnTo>
                    <a:pt x="104" y="2992"/>
                  </a:lnTo>
                  <a:lnTo>
                    <a:pt x="138" y="2958"/>
                  </a:lnTo>
                  <a:lnTo>
                    <a:pt x="177" y="2927"/>
                  </a:lnTo>
                  <a:lnTo>
                    <a:pt x="219" y="2902"/>
                  </a:lnTo>
                  <a:lnTo>
                    <a:pt x="263" y="2882"/>
                  </a:lnTo>
                  <a:lnTo>
                    <a:pt x="311" y="2866"/>
                  </a:lnTo>
                  <a:lnTo>
                    <a:pt x="360" y="2857"/>
                  </a:lnTo>
                  <a:lnTo>
                    <a:pt x="413" y="2853"/>
                  </a:lnTo>
                  <a:lnTo>
                    <a:pt x="832" y="2853"/>
                  </a:lnTo>
                  <a:lnTo>
                    <a:pt x="832" y="2727"/>
                  </a:lnTo>
                  <a:lnTo>
                    <a:pt x="353" y="2727"/>
                  </a:lnTo>
                  <a:lnTo>
                    <a:pt x="317" y="2724"/>
                  </a:lnTo>
                  <a:lnTo>
                    <a:pt x="284" y="2714"/>
                  </a:lnTo>
                  <a:lnTo>
                    <a:pt x="255" y="2698"/>
                  </a:lnTo>
                  <a:lnTo>
                    <a:pt x="229" y="2676"/>
                  </a:lnTo>
                  <a:lnTo>
                    <a:pt x="209" y="2650"/>
                  </a:lnTo>
                  <a:lnTo>
                    <a:pt x="192" y="2621"/>
                  </a:lnTo>
                  <a:lnTo>
                    <a:pt x="181" y="2588"/>
                  </a:lnTo>
                  <a:lnTo>
                    <a:pt x="178" y="2553"/>
                  </a:lnTo>
                  <a:lnTo>
                    <a:pt x="178" y="2136"/>
                  </a:lnTo>
                  <a:lnTo>
                    <a:pt x="181" y="2101"/>
                  </a:lnTo>
                  <a:lnTo>
                    <a:pt x="192" y="2068"/>
                  </a:lnTo>
                  <a:lnTo>
                    <a:pt x="209" y="2039"/>
                  </a:lnTo>
                  <a:lnTo>
                    <a:pt x="229" y="2013"/>
                  </a:lnTo>
                  <a:lnTo>
                    <a:pt x="255" y="1991"/>
                  </a:lnTo>
                  <a:lnTo>
                    <a:pt x="284" y="1975"/>
                  </a:lnTo>
                  <a:lnTo>
                    <a:pt x="317" y="1965"/>
                  </a:lnTo>
                  <a:lnTo>
                    <a:pt x="353" y="1962"/>
                  </a:lnTo>
                  <a:lnTo>
                    <a:pt x="713" y="1962"/>
                  </a:lnTo>
                  <a:lnTo>
                    <a:pt x="713" y="1601"/>
                  </a:lnTo>
                  <a:lnTo>
                    <a:pt x="717" y="1558"/>
                  </a:lnTo>
                  <a:lnTo>
                    <a:pt x="726" y="1517"/>
                  </a:lnTo>
                  <a:lnTo>
                    <a:pt x="740" y="1477"/>
                  </a:lnTo>
                  <a:lnTo>
                    <a:pt x="761" y="1442"/>
                  </a:lnTo>
                  <a:lnTo>
                    <a:pt x="785" y="1409"/>
                  </a:lnTo>
                  <a:lnTo>
                    <a:pt x="814" y="1380"/>
                  </a:lnTo>
                  <a:lnTo>
                    <a:pt x="847" y="1355"/>
                  </a:lnTo>
                  <a:lnTo>
                    <a:pt x="883" y="1335"/>
                  </a:lnTo>
                  <a:lnTo>
                    <a:pt x="922" y="1321"/>
                  </a:lnTo>
                  <a:lnTo>
                    <a:pt x="963" y="1310"/>
                  </a:lnTo>
                  <a:lnTo>
                    <a:pt x="1007" y="1308"/>
                  </a:lnTo>
                  <a:lnTo>
                    <a:pt x="1414" y="1308"/>
                  </a:lnTo>
                  <a:lnTo>
                    <a:pt x="1452" y="1310"/>
                  </a:lnTo>
                  <a:lnTo>
                    <a:pt x="2359" y="101"/>
                  </a:lnTo>
                  <a:lnTo>
                    <a:pt x="2359" y="101"/>
                  </a:lnTo>
                  <a:lnTo>
                    <a:pt x="2382" y="73"/>
                  </a:lnTo>
                  <a:lnTo>
                    <a:pt x="2410" y="48"/>
                  </a:lnTo>
                  <a:lnTo>
                    <a:pt x="2441" y="27"/>
                  </a:lnTo>
                  <a:lnTo>
                    <a:pt x="2475" y="12"/>
                  </a:lnTo>
                  <a:lnTo>
                    <a:pt x="2513" y="3"/>
                  </a:lnTo>
                  <a:lnTo>
                    <a:pt x="2551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</p:grpSp>
      <p:sp>
        <p:nvSpPr>
          <p:cNvPr id="23625" name="TextBox 158">
            <a:extLst>
              <a:ext uri="{FF2B5EF4-FFF2-40B4-BE49-F238E27FC236}">
                <a16:creationId xmlns:a16="http://schemas.microsoft.com/office/drawing/2014/main" id="{E039C87F-72AD-4054-B63A-554ACFFB9E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4663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6" name="TextBox 159">
            <a:extLst>
              <a:ext uri="{FF2B5EF4-FFF2-40B4-BE49-F238E27FC236}">
                <a16:creationId xmlns:a16="http://schemas.microsoft.com/office/drawing/2014/main" id="{C89D28E8-6E73-4458-A352-42A749EC09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3488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7" name="TextBox 127">
            <a:extLst>
              <a:ext uri="{FF2B5EF4-FFF2-40B4-BE49-F238E27FC236}">
                <a16:creationId xmlns:a16="http://schemas.microsoft.com/office/drawing/2014/main" id="{D2C4F5E9-E854-4896-8355-45DEC69063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7813" y="6378575"/>
            <a:ext cx="426243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Sources: National Bureau of Statistics, World Bank Report on Doing Business in Nigeria 2018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climate-data.org, State Government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Exchange rate= $1/N305 (Central Bank of Nigeria)</a:t>
            </a:r>
          </a:p>
        </p:txBody>
      </p:sp>
      <p:sp>
        <p:nvSpPr>
          <p:cNvPr id="23628" name="TextBox 128">
            <a:extLst>
              <a:ext uri="{FF2B5EF4-FFF2-40B4-BE49-F238E27FC236}">
                <a16:creationId xmlns:a16="http://schemas.microsoft.com/office/drawing/2014/main" id="{409BCC6F-A5F0-4C79-BB4A-38A1ABC14F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18122" y="3649889"/>
            <a:ext cx="498855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Wheat</a:t>
            </a:r>
          </a:p>
        </p:txBody>
      </p:sp>
      <p:sp>
        <p:nvSpPr>
          <p:cNvPr id="23629" name="TextBox 129">
            <a:extLst>
              <a:ext uri="{FF2B5EF4-FFF2-40B4-BE49-F238E27FC236}">
                <a16:creationId xmlns:a16="http://schemas.microsoft.com/office/drawing/2014/main" id="{489E7B41-20C9-4493-8E7D-07238EB8FA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46692" y="3654980"/>
            <a:ext cx="88036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dirty="0">
                <a:latin typeface="Calibri" panose="020F0502020204030204" pitchFamily="34" charset="0"/>
              </a:rPr>
              <a:t>Manufacturing</a:t>
            </a:r>
            <a:endParaRPr lang="en-GB" altLang="en-US" sz="900" dirty="0">
              <a:latin typeface="Calibri" panose="020F0502020204030204" pitchFamily="34" charset="0"/>
            </a:endParaRPr>
          </a:p>
        </p:txBody>
      </p:sp>
      <p:sp>
        <p:nvSpPr>
          <p:cNvPr id="23630" name="TextBox 130">
            <a:extLst>
              <a:ext uri="{FF2B5EF4-FFF2-40B4-BE49-F238E27FC236}">
                <a16:creationId xmlns:a16="http://schemas.microsoft.com/office/drawing/2014/main" id="{048DE5D8-5309-42DA-9D97-2935A10CB7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31" name="TextBox 131">
            <a:extLst>
              <a:ext uri="{FF2B5EF4-FFF2-40B4-BE49-F238E27FC236}">
                <a16:creationId xmlns:a16="http://schemas.microsoft.com/office/drawing/2014/main" id="{FF8B6C80-43E2-43AF-A364-A31845F05C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64438" y="3656613"/>
            <a:ext cx="514885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dirty="0">
                <a:latin typeface="Calibri" panose="020F0502020204030204" pitchFamily="34" charset="0"/>
              </a:rPr>
              <a:t>Mining</a:t>
            </a:r>
            <a:endParaRPr lang="en-GB" altLang="en-US" sz="900" dirty="0">
              <a:latin typeface="Calibri" panose="020F0502020204030204" pitchFamily="34" charset="0"/>
            </a:endParaRPr>
          </a:p>
        </p:txBody>
      </p:sp>
      <p:sp>
        <p:nvSpPr>
          <p:cNvPr id="23632" name="TextBox 132">
            <a:extLst>
              <a:ext uri="{FF2B5EF4-FFF2-40B4-BE49-F238E27FC236}">
                <a16:creationId xmlns:a16="http://schemas.microsoft.com/office/drawing/2014/main" id="{A1C640C1-61D1-4BA5-8A76-E684397E8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46689" y="3650683"/>
            <a:ext cx="49725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Potato</a:t>
            </a:r>
          </a:p>
        </p:txBody>
      </p:sp>
      <p:sp>
        <p:nvSpPr>
          <p:cNvPr id="23638" name="TextBox 141">
            <a:extLst>
              <a:ext uri="{FF2B5EF4-FFF2-40B4-BE49-F238E27FC236}">
                <a16:creationId xmlns:a16="http://schemas.microsoft.com/office/drawing/2014/main" id="{EE481231-8673-4FD7-B5CC-900AEE7A9F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8233" y="3652271"/>
            <a:ext cx="61587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900" dirty="0">
                <a:latin typeface="Calibri" panose="020F0502020204030204" pitchFamily="34" charset="0"/>
              </a:rPr>
              <a:t>Livestock</a:t>
            </a:r>
            <a:endParaRPr lang="en-GB" altLang="en-US" sz="900" dirty="0">
              <a:latin typeface="Calibri" panose="020F0502020204030204" pitchFamily="34" charset="0"/>
            </a:endParaRPr>
          </a:p>
        </p:txBody>
      </p:sp>
      <p:sp>
        <p:nvSpPr>
          <p:cNvPr id="23649" name="TextBox 165">
            <a:extLst>
              <a:ext uri="{FF2B5EF4-FFF2-40B4-BE49-F238E27FC236}">
                <a16:creationId xmlns:a16="http://schemas.microsoft.com/office/drawing/2014/main" id="{1242633E-9CB1-48ED-83F4-2223DFC7ED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81236" y="4459560"/>
            <a:ext cx="46519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Beans</a:t>
            </a:r>
          </a:p>
        </p:txBody>
      </p:sp>
      <p:sp>
        <p:nvSpPr>
          <p:cNvPr id="23650" name="TextBox 166">
            <a:extLst>
              <a:ext uri="{FF2B5EF4-FFF2-40B4-BE49-F238E27FC236}">
                <a16:creationId xmlns:a16="http://schemas.microsoft.com/office/drawing/2014/main" id="{6B51369B-8FA6-464A-B908-12B0FFE6B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51841" y="4458812"/>
            <a:ext cx="548548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Tomato</a:t>
            </a:r>
          </a:p>
        </p:txBody>
      </p:sp>
      <p:sp>
        <p:nvSpPr>
          <p:cNvPr id="23651" name="TextBox 167">
            <a:extLst>
              <a:ext uri="{FF2B5EF4-FFF2-40B4-BE49-F238E27FC236}">
                <a16:creationId xmlns:a16="http://schemas.microsoft.com/office/drawing/2014/main" id="{4F9404E1-8339-401B-8B10-4C7D1A8CEC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9311" y="4457881"/>
            <a:ext cx="52450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Poultry</a:t>
            </a:r>
          </a:p>
        </p:txBody>
      </p:sp>
      <p:sp>
        <p:nvSpPr>
          <p:cNvPr id="23652" name="TextBox 168">
            <a:extLst>
              <a:ext uri="{FF2B5EF4-FFF2-40B4-BE49-F238E27FC236}">
                <a16:creationId xmlns:a16="http://schemas.microsoft.com/office/drawing/2014/main" id="{1C04917D-B2C3-4C21-8CC2-A45C349B4B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17831" y="4457133"/>
            <a:ext cx="86433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Renew-energy</a:t>
            </a:r>
          </a:p>
        </p:txBody>
      </p:sp>
      <p:sp>
        <p:nvSpPr>
          <p:cNvPr id="23653" name="TextBox 169">
            <a:extLst>
              <a:ext uri="{FF2B5EF4-FFF2-40B4-BE49-F238E27FC236}">
                <a16:creationId xmlns:a16="http://schemas.microsoft.com/office/drawing/2014/main" id="{4BADA327-4F2D-4897-B7C0-4647A1484B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3926" y="4457973"/>
            <a:ext cx="38023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Rice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8A28B48-1841-45BB-BFBC-EADE77B37C6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779712" y="2589213"/>
          <a:ext cx="1482725" cy="812800"/>
        </p:xfrm>
        <a:graphic>
          <a:graphicData uri="http://schemas.openxmlformats.org/drawingml/2006/table">
            <a:tbl>
              <a:tblPr/>
              <a:tblGrid>
                <a:gridCol w="11367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9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32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GB" sz="1000" b="1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Domestic</a:t>
                      </a:r>
                      <a:r>
                        <a:rPr lang="en-GB" sz="10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US" sz="1000" b="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International 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Railway</a:t>
                      </a:r>
                      <a:r>
                        <a:rPr lang="en-GB" sz="1000" b="1" kern="1200" baseline="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 Station</a:t>
                      </a:r>
                      <a:endParaRPr lang="en-GB" sz="1000" b="1" kern="1200" dirty="0">
                        <a:solidFill>
                          <a:srgbClr val="292929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32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Sea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7" name="TextBox 136">
            <a:extLst>
              <a:ext uri="{FF2B5EF4-FFF2-40B4-BE49-F238E27FC236}">
                <a16:creationId xmlns:a16="http://schemas.microsoft.com/office/drawing/2014/main" id="{2F4C4876-7073-4C13-A183-127A8909BDC0}"/>
              </a:ext>
            </a:extLst>
          </p:cNvPr>
          <p:cNvSpPr txBox="1"/>
          <p:nvPr/>
        </p:nvSpPr>
        <p:spPr>
          <a:xfrm>
            <a:off x="538163" y="5268913"/>
            <a:ext cx="373856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For further details</a:t>
            </a:r>
          </a:p>
        </p:txBody>
      </p:sp>
      <p:sp>
        <p:nvSpPr>
          <p:cNvPr id="23676" name="TextBox 156">
            <a:extLst>
              <a:ext uri="{FF2B5EF4-FFF2-40B4-BE49-F238E27FC236}">
                <a16:creationId xmlns:a16="http://schemas.microsoft.com/office/drawing/2014/main" id="{95D66AAF-6B48-4B9E-9E5B-F1BB063A89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6300" y="6342063"/>
            <a:ext cx="37306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Abbreviations: </a:t>
            </a:r>
            <a:r>
              <a:rPr lang="en-GB" altLang="en-US" sz="800" b="1" dirty="0">
                <a:latin typeface="Calibri" panose="020F0502020204030204" pitchFamily="34" charset="0"/>
              </a:rPr>
              <a:t>	NICPS</a:t>
            </a:r>
            <a:r>
              <a:rPr lang="en-GB" altLang="en-US" sz="800" dirty="0">
                <a:latin typeface="Calibri" panose="020F0502020204030204" pitchFamily="34" charset="0"/>
              </a:rPr>
              <a:t>: Nigerian Investment Certification Programme for States                  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	</a:t>
            </a:r>
            <a:r>
              <a:rPr lang="en-GB" altLang="en-US" sz="800" b="1" dirty="0">
                <a:latin typeface="Calibri" panose="020F0502020204030204" pitchFamily="34" charset="0"/>
              </a:rPr>
              <a:t>IGR</a:t>
            </a:r>
            <a:r>
              <a:rPr lang="en-GB" altLang="en-US" sz="800" dirty="0">
                <a:latin typeface="Calibri" panose="020F0502020204030204" pitchFamily="34" charset="0"/>
              </a:rPr>
              <a:t>:     Internal Generated Revenue</a:t>
            </a:r>
          </a:p>
        </p:txBody>
      </p:sp>
      <p:sp>
        <p:nvSpPr>
          <p:cNvPr id="23678" name="TextBox 152">
            <a:extLst>
              <a:ext uri="{FF2B5EF4-FFF2-40B4-BE49-F238E27FC236}">
                <a16:creationId xmlns:a16="http://schemas.microsoft.com/office/drawing/2014/main" id="{BFAF6896-F732-45FC-AC47-950DF99D9E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97587" y="1094616"/>
            <a:ext cx="3703638" cy="1999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15888" indent="-11588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>
              <a:buFont typeface="Arial" panose="020B0604020202020204" pitchFamily="34" charset="0"/>
              <a:buChar char="•"/>
            </a:pPr>
            <a:r>
              <a:rPr lang="en-MY" sz="1200" dirty="0">
                <a:latin typeface="Calibri" charset="0"/>
                <a:ea typeface="Calibri" charset="0"/>
                <a:cs typeface="Calibri" charset="0"/>
              </a:rPr>
              <a:t>Large deposits of solid minerals (gold)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en-MY" sz="1200" dirty="0">
                <a:latin typeface="Calibri" charset="0"/>
                <a:ea typeface="Calibri" charset="0"/>
                <a:cs typeface="Calibri" charset="0"/>
              </a:rPr>
              <a:t>30% of land cultivable 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en-MY" sz="1200" dirty="0">
                <a:latin typeface="Calibri" charset="0"/>
                <a:ea typeface="Calibri" charset="0"/>
                <a:cs typeface="Calibri" charset="0"/>
              </a:rPr>
              <a:t>Tourism (Wildlife, </a:t>
            </a:r>
            <a:r>
              <a:rPr lang="en-MY" sz="1200" dirty="0" err="1">
                <a:latin typeface="Calibri" charset="0"/>
                <a:ea typeface="Calibri" charset="0"/>
                <a:cs typeface="Calibri" charset="0"/>
              </a:rPr>
              <a:t>Kanoma</a:t>
            </a:r>
            <a:r>
              <a:rPr lang="en-MY" sz="1200" dirty="0">
                <a:latin typeface="Calibri" charset="0"/>
                <a:ea typeface="Calibri" charset="0"/>
                <a:cs typeface="Calibri" charset="0"/>
              </a:rPr>
              <a:t> Hills, </a:t>
            </a:r>
            <a:r>
              <a:rPr lang="en-MY" sz="1200" dirty="0" err="1">
                <a:latin typeface="Calibri" charset="0"/>
                <a:ea typeface="Calibri" charset="0"/>
                <a:cs typeface="Calibri" charset="0"/>
              </a:rPr>
              <a:t>Kuyambana</a:t>
            </a:r>
            <a:r>
              <a:rPr lang="en-MY" sz="1200" dirty="0">
                <a:latin typeface="Calibri" charset="0"/>
                <a:ea typeface="Calibri" charset="0"/>
                <a:cs typeface="Calibri" charset="0"/>
              </a:rPr>
              <a:t> Game Reserve)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en-MY" sz="1200" dirty="0" err="1">
                <a:latin typeface="Calibri" charset="0"/>
                <a:ea typeface="Calibri" charset="0"/>
                <a:cs typeface="Calibri" charset="0"/>
              </a:rPr>
              <a:t>Bakolori</a:t>
            </a:r>
            <a:r>
              <a:rPr lang="en-MY" sz="1200" dirty="0">
                <a:latin typeface="Calibri" charset="0"/>
                <a:ea typeface="Calibri" charset="0"/>
                <a:cs typeface="Calibri" charset="0"/>
              </a:rPr>
              <a:t> dam covers 8km with 340,000,000m</a:t>
            </a:r>
            <a:r>
              <a:rPr lang="en-MY" sz="1200" baseline="30000" dirty="0">
                <a:latin typeface="Calibri" charset="0"/>
                <a:ea typeface="Calibri" charset="0"/>
                <a:cs typeface="Calibri" charset="0"/>
              </a:rPr>
              <a:t>3</a:t>
            </a:r>
            <a:r>
              <a:rPr lang="en-MY" sz="1200" dirty="0">
                <a:latin typeface="Calibri" panose="020F0502020204030204" pitchFamily="34" charset="0"/>
                <a:ea typeface="Calibri" charset="0"/>
                <a:cs typeface="Calibri" panose="020F0502020204030204" pitchFamily="34" charset="0"/>
              </a:rPr>
              <a:t> </a:t>
            </a:r>
            <a:r>
              <a:rPr lang="en-MY" sz="1200" dirty="0">
                <a:latin typeface="Calibri" charset="0"/>
                <a:ea typeface="Calibri" charset="0"/>
                <a:cs typeface="Calibri" charset="0"/>
              </a:rPr>
              <a:t>of water annually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en-MY" sz="1200" dirty="0">
                <a:latin typeface="Calibri" charset="0"/>
                <a:ea typeface="Calibri" charset="0"/>
                <a:cs typeface="Calibri" charset="0"/>
              </a:rPr>
              <a:t>Spans two distinctive vegetation zone (Sudan and Northern Guinea Savannah)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en-MY" sz="1200" dirty="0">
                <a:latin typeface="Calibri" charset="0"/>
                <a:ea typeface="Calibri" charset="0"/>
                <a:cs typeface="Calibri" charset="0"/>
              </a:rPr>
              <a:t>60%  of Nigeria’s solid minerals</a:t>
            </a:r>
          </a:p>
          <a:p>
            <a:pPr marL="0" indent="0" algn="just"/>
            <a:endParaRPr lang="en-MY" sz="1300" dirty="0"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D4E23C6-26A0-4545-B8F7-7007C8EEBFE4}"/>
              </a:ext>
            </a:extLst>
          </p:cNvPr>
          <p:cNvSpPr txBox="1"/>
          <p:nvPr/>
        </p:nvSpPr>
        <p:spPr>
          <a:xfrm>
            <a:off x="4338638" y="5265738"/>
            <a:ext cx="247491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id you know?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132" name="Text Placeholder 42">
            <a:extLst>
              <a:ext uri="{FF2B5EF4-FFF2-40B4-BE49-F238E27FC236}">
                <a16:creationId xmlns:a16="http://schemas.microsoft.com/office/drawing/2014/main" id="{D510D0DC-1548-4249-8DB1-9A1055126D07}"/>
              </a:ext>
            </a:extLst>
          </p:cNvPr>
          <p:cNvSpPr txBox="1">
            <a:spLocks/>
          </p:cNvSpPr>
          <p:nvPr/>
        </p:nvSpPr>
        <p:spPr>
          <a:xfrm>
            <a:off x="522288" y="5511800"/>
            <a:ext cx="3733800" cy="701675"/>
          </a:xfrm>
          <a:prstGeom prst="rect">
            <a:avLst/>
          </a:prstGeom>
        </p:spPr>
        <p:txBody>
          <a:bodyPr lIns="36576" tIns="0" rIns="36576" bIns="0"/>
          <a:lstStyle>
            <a:lvl1pPr marL="0" indent="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/>
              <a:buNone/>
              <a:defRPr sz="800" b="1" baseline="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6575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93763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 charset="0"/>
              <a:buChar char="►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50950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619250" indent="-188913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0764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25336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29908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34480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NIGERIAN INVESTMENT PROMOTION COMMISSION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>
                <a:solidFill>
                  <a:schemeClr val="tx1"/>
                </a:solidFill>
                <a:hlinkClick r:id="rId7"/>
              </a:rPr>
              <a:t>statesco@nipc.gov.ng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endParaRPr lang="en-US" sz="5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MINISTRY OF COMMERCE, INDUSTRIES AND TOURISM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>
                <a:solidFill>
                  <a:schemeClr val="tx1"/>
                </a:solidFill>
                <a:hlinkClick r:id="rId8"/>
              </a:rPr>
              <a:t>ahmedmaradun@gmail.com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endParaRPr lang="en-US" sz="1000" b="0" kern="0" dirty="0">
              <a:solidFill>
                <a:schemeClr val="tx1"/>
              </a:solidFill>
            </a:endParaRPr>
          </a:p>
        </p:txBody>
      </p:sp>
      <p:sp>
        <p:nvSpPr>
          <p:cNvPr id="144" name="Oval 143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238751" y="3833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8" name="Oval 147">
            <a:extLst>
              <a:ext uri="{FF2B5EF4-FFF2-40B4-BE49-F238E27FC236}">
                <a16:creationId xmlns:a16="http://schemas.microsoft.com/office/drawing/2014/main" id="{FF015425-7997-4612-9D0E-1F6C433DFCC7}"/>
              </a:ext>
            </a:extLst>
          </p:cNvPr>
          <p:cNvSpPr/>
          <p:nvPr/>
        </p:nvSpPr>
        <p:spPr>
          <a:xfrm>
            <a:off x="6080877" y="3040856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2" name="Oval 151">
            <a:extLst>
              <a:ext uri="{FF2B5EF4-FFF2-40B4-BE49-F238E27FC236}">
                <a16:creationId xmlns:a16="http://schemas.microsoft.com/office/drawing/2014/main" id="{4C0B7457-CABD-4AC8-8A1A-1FD468581E4D}"/>
              </a:ext>
            </a:extLst>
          </p:cNvPr>
          <p:cNvSpPr/>
          <p:nvPr/>
        </p:nvSpPr>
        <p:spPr>
          <a:xfrm>
            <a:off x="6784796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3" name="Oval 152">
            <a:extLst>
              <a:ext uri="{FF2B5EF4-FFF2-40B4-BE49-F238E27FC236}">
                <a16:creationId xmlns:a16="http://schemas.microsoft.com/office/drawing/2014/main" id="{2D626A89-F50C-45A3-9271-5D3F2EEA9C83}"/>
              </a:ext>
            </a:extLst>
          </p:cNvPr>
          <p:cNvSpPr/>
          <p:nvPr/>
        </p:nvSpPr>
        <p:spPr>
          <a:xfrm>
            <a:off x="7518399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4" name="Oval 153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240713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5" name="Oval 154">
            <a:extLst>
              <a:ext uri="{FF2B5EF4-FFF2-40B4-BE49-F238E27FC236}">
                <a16:creationId xmlns:a16="http://schemas.microsoft.com/office/drawing/2014/main" id="{4D1FAA17-3EFF-404B-B4C4-B468BCE2E9A5}"/>
              </a:ext>
            </a:extLst>
          </p:cNvPr>
          <p:cNvSpPr/>
          <p:nvPr/>
        </p:nvSpPr>
        <p:spPr>
          <a:xfrm>
            <a:off x="6078265" y="3836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6" name="Oval 155">
            <a:extLst>
              <a:ext uri="{FF2B5EF4-FFF2-40B4-BE49-F238E27FC236}">
                <a16:creationId xmlns:a16="http://schemas.microsoft.com/office/drawing/2014/main" id="{E861211D-5D09-4577-8A09-FD96D972A5D4}"/>
              </a:ext>
            </a:extLst>
          </p:cNvPr>
          <p:cNvSpPr/>
          <p:nvPr/>
        </p:nvSpPr>
        <p:spPr>
          <a:xfrm>
            <a:off x="6780509" y="3833831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7" name="Oval 156">
            <a:extLst>
              <a:ext uri="{FF2B5EF4-FFF2-40B4-BE49-F238E27FC236}">
                <a16:creationId xmlns:a16="http://schemas.microsoft.com/office/drawing/2014/main" id="{3CBEFD1C-6360-47CD-AEDD-DFB49FC0E0C7}"/>
              </a:ext>
            </a:extLst>
          </p:cNvPr>
          <p:cNvSpPr/>
          <p:nvPr/>
        </p:nvSpPr>
        <p:spPr>
          <a:xfrm>
            <a:off x="7518603" y="3830834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8" name="Oval 157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953126" y="3843338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9" name="Oval 158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955088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27" name="Picture 126">
            <a:extLst>
              <a:ext uri="{FF2B5EF4-FFF2-40B4-BE49-F238E27FC236}">
                <a16:creationId xmlns:a16="http://schemas.microsoft.com/office/drawing/2014/main" id="{5573593B-180C-4335-9AC6-451CB73D3B3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295691" y="3848085"/>
            <a:ext cx="454468" cy="454468"/>
          </a:xfrm>
          <a:prstGeom prst="rect">
            <a:avLst/>
          </a:prstGeom>
        </p:spPr>
      </p:pic>
      <p:pic>
        <p:nvPicPr>
          <p:cNvPr id="128" name="Picture 3"/>
          <p:cNvPicPr>
            <a:picLocks noChangeAspect="1" noChangeArrowheads="1"/>
          </p:cNvPicPr>
          <p:nvPr/>
        </p:nvPicPr>
        <p:blipFill rotWithShape="1"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48" t="-274" r="47541" b="77474"/>
          <a:stretch/>
        </p:blipFill>
        <p:spPr bwMode="auto">
          <a:xfrm>
            <a:off x="6854411" y="3099301"/>
            <a:ext cx="503721" cy="4735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9" name="Picture 7"/>
          <p:cNvPicPr>
            <a:picLocks noChangeAspect="1" noChangeArrowheads="1"/>
          </p:cNvPicPr>
          <p:nvPr/>
        </p:nvPicPr>
        <p:blipFill rotWithShape="1"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985"/>
          <a:stretch/>
        </p:blipFill>
        <p:spPr bwMode="auto">
          <a:xfrm>
            <a:off x="7364290" y="2856085"/>
            <a:ext cx="859598" cy="649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" name="Picture 132"/>
          <p:cNvPicPr>
            <a:picLocks noChangeAspect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2620" y="3080061"/>
            <a:ext cx="487074" cy="487074"/>
          </a:xfrm>
          <a:prstGeom prst="rect">
            <a:avLst/>
          </a:prstGeom>
        </p:spPr>
      </p:pic>
      <p:pic>
        <p:nvPicPr>
          <p:cNvPr id="138" name="Picture 137" descr="rice.png"/>
          <p:cNvPicPr>
            <a:picLocks noChangeAspect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15867" r="20664"/>
          <a:stretch>
            <a:fillRect/>
          </a:stretch>
        </p:blipFill>
        <p:spPr>
          <a:xfrm>
            <a:off x="6128589" y="3910190"/>
            <a:ext cx="524341" cy="512146"/>
          </a:xfrm>
          <a:prstGeom prst="rect">
            <a:avLst/>
          </a:prstGeom>
        </p:spPr>
      </p:pic>
      <p:pic>
        <p:nvPicPr>
          <p:cNvPr id="140" name="Picture 139"/>
          <p:cNvPicPr>
            <a:picLocks noChangeAspect="1"/>
          </p:cNvPicPr>
          <p:nvPr/>
        </p:nvPicPr>
        <p:blipFill>
          <a:blip r:embed="rId1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3762" y="3155161"/>
            <a:ext cx="290945" cy="408345"/>
          </a:xfrm>
          <a:prstGeom prst="rect">
            <a:avLst/>
          </a:prstGeom>
        </p:spPr>
      </p:pic>
      <p:pic>
        <p:nvPicPr>
          <p:cNvPr id="143" name="Picture 142" descr="tomato.jpg">
            <a:extLst>
              <a:ext uri="{FF2B5EF4-FFF2-40B4-BE49-F238E27FC236}">
                <a16:creationId xmlns:a16="http://schemas.microsoft.com/office/drawing/2014/main" id="{09A2F662-88E0-423C-A88B-D6D3F12047C2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7279" t="9467" r="43491" b="42615"/>
          <a:stretch>
            <a:fillRect/>
          </a:stretch>
        </p:blipFill>
        <p:spPr>
          <a:xfrm>
            <a:off x="6828797" y="3897050"/>
            <a:ext cx="502092" cy="450335"/>
          </a:xfrm>
          <a:prstGeom prst="rect">
            <a:avLst/>
          </a:prstGeom>
        </p:spPr>
      </p:pic>
      <p:pic>
        <p:nvPicPr>
          <p:cNvPr id="145" name="Picture 144" descr="Poultry.jpg"/>
          <p:cNvPicPr>
            <a:picLocks noChangeAspect="1"/>
          </p:cNvPicPr>
          <p:nvPr/>
        </p:nvPicPr>
        <p:blipFill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515691" y="3829858"/>
            <a:ext cx="556795" cy="619534"/>
          </a:xfrm>
          <a:prstGeom prst="rect">
            <a:avLst/>
          </a:prstGeom>
        </p:spPr>
      </p:pic>
      <p:pic>
        <p:nvPicPr>
          <p:cNvPr id="146" name="Picture 145">
            <a:extLst>
              <a:ext uri="{FF2B5EF4-FFF2-40B4-BE49-F238E27FC236}">
                <a16:creationId xmlns:a16="http://schemas.microsoft.com/office/drawing/2014/main" id="{507D8F92-E328-453E-9A03-5F6D34E212B3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27371" t="7919" r="25181" b="39570"/>
          <a:stretch/>
        </p:blipFill>
        <p:spPr>
          <a:xfrm>
            <a:off x="8997536" y="3928767"/>
            <a:ext cx="507194" cy="396897"/>
          </a:xfrm>
          <a:prstGeom prst="rect">
            <a:avLst/>
          </a:prstGeom>
        </p:spPr>
      </p:pic>
      <p:sp>
        <p:nvSpPr>
          <p:cNvPr id="147" name="TextBox 146">
            <a:extLst>
              <a:ext uri="{FF2B5EF4-FFF2-40B4-BE49-F238E27FC236}">
                <a16:creationId xmlns:a16="http://schemas.microsoft.com/office/drawing/2014/main" id="{D0A41506-8873-4C2F-B45B-4459F0229CA3}"/>
              </a:ext>
            </a:extLst>
          </p:cNvPr>
          <p:cNvSpPr txBox="1"/>
          <p:nvPr/>
        </p:nvSpPr>
        <p:spPr>
          <a:xfrm>
            <a:off x="4374578" y="4541674"/>
            <a:ext cx="17988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te Investment Certification Process Not Started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282143" y="5418144"/>
            <a:ext cx="2576651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The earliest inhabitants of Zamfara are said to have been hunters and giants. 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1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60" r="7844" b="15502"/>
          <a:stretch/>
        </p:blipFill>
        <p:spPr>
          <a:xfrm>
            <a:off x="6145075" y="3096060"/>
            <a:ext cx="472291" cy="476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87202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Pentagon 19">
            <a:extLst>
              <a:ext uri="{FF2B5EF4-FFF2-40B4-BE49-F238E27FC236}">
                <a16:creationId xmlns:a16="http://schemas.microsoft.com/office/drawing/2014/main" id="{CAD93C59-72A9-4F6D-A654-02B9F8A5EFF9}"/>
              </a:ext>
            </a:extLst>
          </p:cNvPr>
          <p:cNvSpPr>
            <a:spLocks/>
          </p:cNvSpPr>
          <p:nvPr/>
        </p:nvSpPr>
        <p:spPr bwMode="auto">
          <a:xfrm>
            <a:off x="756602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3 of 37</a:t>
            </a:r>
          </a:p>
        </p:txBody>
      </p:sp>
      <p:sp>
        <p:nvSpPr>
          <p:cNvPr id="376" name="Pentagon 19">
            <a:extLst>
              <a:ext uri="{FF2B5EF4-FFF2-40B4-BE49-F238E27FC236}">
                <a16:creationId xmlns:a16="http://schemas.microsoft.com/office/drawing/2014/main" id="{1BDC5465-6022-4404-B4D8-ED55CF961B8A}"/>
              </a:ext>
            </a:extLst>
          </p:cNvPr>
          <p:cNvSpPr>
            <a:spLocks/>
          </p:cNvSpPr>
          <p:nvPr/>
        </p:nvSpPr>
        <p:spPr bwMode="auto">
          <a:xfrm>
            <a:off x="824865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9 of 3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57F1EBC-D01A-4083-B657-63AFB1490839}"/>
              </a:ext>
            </a:extLst>
          </p:cNvPr>
          <p:cNvSpPr txBox="1"/>
          <p:nvPr/>
        </p:nvSpPr>
        <p:spPr>
          <a:xfrm>
            <a:off x="6122988" y="2749550"/>
            <a:ext cx="3475037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nvestment Opportunit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D251BD-538A-4F4F-847E-620EEDA298A0}"/>
              </a:ext>
            </a:extLst>
          </p:cNvPr>
          <p:cNvSpPr txBox="1"/>
          <p:nvPr/>
        </p:nvSpPr>
        <p:spPr>
          <a:xfrm>
            <a:off x="6881813" y="4632911"/>
            <a:ext cx="2717800" cy="33855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wrap="square" anchor="ctr" anchorCtr="1">
            <a:spAutoFit/>
          </a:bodyPr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oing Business Ranking(2018)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1B8F13C-F732-4DA1-9250-DB02936E7688}"/>
              </a:ext>
            </a:extLst>
          </p:cNvPr>
          <p:cNvSpPr/>
          <p:nvPr/>
        </p:nvSpPr>
        <p:spPr>
          <a:xfrm>
            <a:off x="756602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Registering Propert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6BA1818-32ED-44D1-975C-958200BDD124}"/>
              </a:ext>
            </a:extLst>
          </p:cNvPr>
          <p:cNvSpPr/>
          <p:nvPr/>
        </p:nvSpPr>
        <p:spPr>
          <a:xfrm>
            <a:off x="8248650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Dealing with Construction Permits</a:t>
            </a:r>
          </a:p>
        </p:txBody>
      </p:sp>
      <p:sp>
        <p:nvSpPr>
          <p:cNvPr id="23560" name="TextBox 174">
            <a:extLst>
              <a:ext uri="{FF2B5EF4-FFF2-40B4-BE49-F238E27FC236}">
                <a16:creationId xmlns:a16="http://schemas.microsoft.com/office/drawing/2014/main" id="{1573FD4E-62B9-45E8-8F28-CED990ED2D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0B63A6C-2A5E-4CA3-BC66-4CBC6008BC9A}"/>
              </a:ext>
            </a:extLst>
          </p:cNvPr>
          <p:cNvSpPr/>
          <p:nvPr/>
        </p:nvSpPr>
        <p:spPr>
          <a:xfrm>
            <a:off x="893127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Enforcing Contracts</a:t>
            </a:r>
          </a:p>
        </p:txBody>
      </p:sp>
      <p:pic>
        <p:nvPicPr>
          <p:cNvPr id="23562" name="Picture 4">
            <a:extLst>
              <a:ext uri="{FF2B5EF4-FFF2-40B4-BE49-F238E27FC236}">
                <a16:creationId xmlns:a16="http://schemas.microsoft.com/office/drawing/2014/main" id="{7C8EEAB2-0239-4BB5-94B3-23E319AF1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513" y="5249863"/>
            <a:ext cx="439737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6" name="Pentagon 19">
            <a:extLst>
              <a:ext uri="{FF2B5EF4-FFF2-40B4-BE49-F238E27FC236}">
                <a16:creationId xmlns:a16="http://schemas.microsoft.com/office/drawing/2014/main" id="{5F8E9670-D71A-4765-B6B5-D711BC9AD6E1}"/>
              </a:ext>
            </a:extLst>
          </p:cNvPr>
          <p:cNvSpPr>
            <a:spLocks/>
          </p:cNvSpPr>
          <p:nvPr/>
        </p:nvSpPr>
        <p:spPr bwMode="auto">
          <a:xfrm>
            <a:off x="893127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33</a:t>
            </a:r>
            <a:r>
              <a:rPr lang="en-GB" sz="1000" baseline="3000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of 37</a:t>
            </a:r>
          </a:p>
        </p:txBody>
      </p:sp>
      <p:sp>
        <p:nvSpPr>
          <p:cNvPr id="23564" name="Title 3">
            <a:extLst>
              <a:ext uri="{FF2B5EF4-FFF2-40B4-BE49-F238E27FC236}">
                <a16:creationId xmlns:a16="http://schemas.microsoft.com/office/drawing/2014/main" id="{C62A749B-CFC7-4224-A789-D20A772AC33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77813" y="222250"/>
            <a:ext cx="8543925" cy="5619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en-GB" alt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damawa State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6882DF2C-9120-4A66-8487-575D9494F4D6}"/>
              </a:ext>
            </a:extLst>
          </p:cNvPr>
          <p:cNvSpPr txBox="1"/>
          <p:nvPr/>
        </p:nvSpPr>
        <p:spPr>
          <a:xfrm rot="16200000">
            <a:off x="-2290084" y="3478372"/>
            <a:ext cx="5303837" cy="2743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Land of Beauty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grpSp>
        <p:nvGrpSpPr>
          <p:cNvPr id="23566" name="Group 9">
            <a:extLst>
              <a:ext uri="{FF2B5EF4-FFF2-40B4-BE49-F238E27FC236}">
                <a16:creationId xmlns:a16="http://schemas.microsoft.com/office/drawing/2014/main" id="{5B6131BD-3CE3-4FC4-B13A-FA9B797C1EF5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41338" y="963613"/>
            <a:ext cx="2897187" cy="2319337"/>
            <a:chOff x="770228" y="1459989"/>
            <a:chExt cx="4081047" cy="3267527"/>
          </a:xfrm>
        </p:grpSpPr>
        <p:sp>
          <p:nvSpPr>
            <p:cNvPr id="299" name="Freeform 4">
              <a:extLst>
                <a:ext uri="{FF2B5EF4-FFF2-40B4-BE49-F238E27FC236}">
                  <a16:creationId xmlns:a16="http://schemas.microsoft.com/office/drawing/2014/main" id="{B6150C82-CBE5-48B4-B60C-C210BB7B26A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91538" y="4349548"/>
              <a:ext cx="418167" cy="377968"/>
            </a:xfrm>
            <a:custGeom>
              <a:avLst/>
              <a:gdLst>
                <a:gd name="T0" fmla="*/ 12 w 786"/>
                <a:gd name="T1" fmla="*/ 19 h 714"/>
                <a:gd name="T2" fmla="*/ 22 w 786"/>
                <a:gd name="T3" fmla="*/ 18 h 714"/>
                <a:gd name="T4" fmla="*/ 27 w 786"/>
                <a:gd name="T5" fmla="*/ 17 h 714"/>
                <a:gd name="T6" fmla="*/ 30 w 786"/>
                <a:gd name="T7" fmla="*/ 14 h 714"/>
                <a:gd name="T8" fmla="*/ 37 w 786"/>
                <a:gd name="T9" fmla="*/ 16 h 714"/>
                <a:gd name="T10" fmla="*/ 43 w 786"/>
                <a:gd name="T11" fmla="*/ 13 h 714"/>
                <a:gd name="T12" fmla="*/ 48 w 786"/>
                <a:gd name="T13" fmla="*/ 8 h 714"/>
                <a:gd name="T14" fmla="*/ 55 w 786"/>
                <a:gd name="T15" fmla="*/ 4 h 714"/>
                <a:gd name="T16" fmla="*/ 66 w 786"/>
                <a:gd name="T17" fmla="*/ 0 h 714"/>
                <a:gd name="T18" fmla="*/ 63 w 786"/>
                <a:gd name="T19" fmla="*/ 12 h 714"/>
                <a:gd name="T20" fmla="*/ 59 w 786"/>
                <a:gd name="T21" fmla="*/ 19 h 714"/>
                <a:gd name="T22" fmla="*/ 57 w 786"/>
                <a:gd name="T23" fmla="*/ 29 h 714"/>
                <a:gd name="T24" fmla="*/ 59 w 786"/>
                <a:gd name="T25" fmla="*/ 36 h 714"/>
                <a:gd name="T26" fmla="*/ 66 w 786"/>
                <a:gd name="T27" fmla="*/ 35 h 714"/>
                <a:gd name="T28" fmla="*/ 64 w 786"/>
                <a:gd name="T29" fmla="*/ 41 h 714"/>
                <a:gd name="T30" fmla="*/ 64 w 786"/>
                <a:gd name="T31" fmla="*/ 48 h 714"/>
                <a:gd name="T32" fmla="*/ 63 w 786"/>
                <a:gd name="T33" fmla="*/ 56 h 714"/>
                <a:gd name="T34" fmla="*/ 60 w 786"/>
                <a:gd name="T35" fmla="*/ 60 h 714"/>
                <a:gd name="T36" fmla="*/ 57 w 786"/>
                <a:gd name="T37" fmla="*/ 58 h 714"/>
                <a:gd name="T38" fmla="*/ 54 w 786"/>
                <a:gd name="T39" fmla="*/ 54 h 714"/>
                <a:gd name="T40" fmla="*/ 53 w 786"/>
                <a:gd name="T41" fmla="*/ 51 h 714"/>
                <a:gd name="T42" fmla="*/ 51 w 786"/>
                <a:gd name="T43" fmla="*/ 53 h 714"/>
                <a:gd name="T44" fmla="*/ 49 w 786"/>
                <a:gd name="T45" fmla="*/ 54 h 714"/>
                <a:gd name="T46" fmla="*/ 47 w 786"/>
                <a:gd name="T47" fmla="*/ 50 h 714"/>
                <a:gd name="T48" fmla="*/ 48 w 786"/>
                <a:gd name="T49" fmla="*/ 54 h 714"/>
                <a:gd name="T50" fmla="*/ 47 w 786"/>
                <a:gd name="T51" fmla="*/ 54 h 714"/>
                <a:gd name="T52" fmla="*/ 46 w 786"/>
                <a:gd name="T53" fmla="*/ 59 h 714"/>
                <a:gd name="T54" fmla="*/ 47 w 786"/>
                <a:gd name="T55" fmla="*/ 62 h 714"/>
                <a:gd name="T56" fmla="*/ 42 w 786"/>
                <a:gd name="T57" fmla="*/ 62 h 714"/>
                <a:gd name="T58" fmla="*/ 39 w 786"/>
                <a:gd name="T59" fmla="*/ 57 h 714"/>
                <a:gd name="T60" fmla="*/ 40 w 786"/>
                <a:gd name="T61" fmla="*/ 54 h 714"/>
                <a:gd name="T62" fmla="*/ 43 w 786"/>
                <a:gd name="T63" fmla="*/ 55 h 714"/>
                <a:gd name="T64" fmla="*/ 40 w 786"/>
                <a:gd name="T65" fmla="*/ 53 h 714"/>
                <a:gd name="T66" fmla="*/ 38 w 786"/>
                <a:gd name="T67" fmla="*/ 57 h 714"/>
                <a:gd name="T68" fmla="*/ 37 w 786"/>
                <a:gd name="T69" fmla="*/ 57 h 714"/>
                <a:gd name="T70" fmla="*/ 37 w 786"/>
                <a:gd name="T71" fmla="*/ 60 h 714"/>
                <a:gd name="T72" fmla="*/ 33 w 786"/>
                <a:gd name="T73" fmla="*/ 56 h 714"/>
                <a:gd name="T74" fmla="*/ 32 w 786"/>
                <a:gd name="T75" fmla="*/ 58 h 714"/>
                <a:gd name="T76" fmla="*/ 26 w 786"/>
                <a:gd name="T77" fmla="*/ 54 h 714"/>
                <a:gd name="T78" fmla="*/ 26 w 786"/>
                <a:gd name="T79" fmla="*/ 54 h 714"/>
                <a:gd name="T80" fmla="*/ 24 w 786"/>
                <a:gd name="T81" fmla="*/ 51 h 714"/>
                <a:gd name="T82" fmla="*/ 22 w 786"/>
                <a:gd name="T83" fmla="*/ 51 h 714"/>
                <a:gd name="T84" fmla="*/ 20 w 786"/>
                <a:gd name="T85" fmla="*/ 50 h 714"/>
                <a:gd name="T86" fmla="*/ 20 w 786"/>
                <a:gd name="T87" fmla="*/ 48 h 714"/>
                <a:gd name="T88" fmla="*/ 18 w 786"/>
                <a:gd name="T89" fmla="*/ 47 h 714"/>
                <a:gd name="T90" fmla="*/ 15 w 786"/>
                <a:gd name="T91" fmla="*/ 45 h 714"/>
                <a:gd name="T92" fmla="*/ 11 w 786"/>
                <a:gd name="T93" fmla="*/ 39 h 714"/>
                <a:gd name="T94" fmla="*/ 12 w 786"/>
                <a:gd name="T95" fmla="*/ 36 h 714"/>
                <a:gd name="T96" fmla="*/ 7 w 786"/>
                <a:gd name="T97" fmla="*/ 33 h 714"/>
                <a:gd name="T98" fmla="*/ 5 w 786"/>
                <a:gd name="T99" fmla="*/ 28 h 714"/>
                <a:gd name="T100" fmla="*/ 7 w 786"/>
                <a:gd name="T101" fmla="*/ 30 h 714"/>
                <a:gd name="T102" fmla="*/ 4 w 786"/>
                <a:gd name="T103" fmla="*/ 24 h 714"/>
                <a:gd name="T104" fmla="*/ 2 w 786"/>
                <a:gd name="T105" fmla="*/ 20 h 714"/>
                <a:gd name="T106" fmla="*/ 0 w 786"/>
                <a:gd name="T107" fmla="*/ 15 h 714"/>
                <a:gd name="T108" fmla="*/ 4 w 786"/>
                <a:gd name="T109" fmla="*/ 16 h 714"/>
                <a:gd name="T110" fmla="*/ 55 w 786"/>
                <a:gd name="T111" fmla="*/ 60 h 714"/>
                <a:gd name="T112" fmla="*/ 47 w 786"/>
                <a:gd name="T113" fmla="*/ 60 h 714"/>
                <a:gd name="T114" fmla="*/ 51 w 786"/>
                <a:gd name="T115" fmla="*/ 54 h 714"/>
                <a:gd name="T116" fmla="*/ 54 w 786"/>
                <a:gd name="T117" fmla="*/ 56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86"/>
                <a:gd name="T178" fmla="*/ 0 h 714"/>
                <a:gd name="T179" fmla="*/ 786 w 786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86" h="714">
                  <a:moveTo>
                    <a:pt x="54" y="186"/>
                  </a:moveTo>
                  <a:lnTo>
                    <a:pt x="54" y="192"/>
                  </a:lnTo>
                  <a:lnTo>
                    <a:pt x="72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204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20" y="210"/>
                  </a:lnTo>
                  <a:lnTo>
                    <a:pt x="126" y="210"/>
                  </a:lnTo>
                  <a:lnTo>
                    <a:pt x="132" y="210"/>
                  </a:lnTo>
                  <a:lnTo>
                    <a:pt x="132" y="216"/>
                  </a:lnTo>
                  <a:lnTo>
                    <a:pt x="138" y="222"/>
                  </a:lnTo>
                  <a:lnTo>
                    <a:pt x="150" y="222"/>
                  </a:lnTo>
                  <a:lnTo>
                    <a:pt x="162" y="234"/>
                  </a:lnTo>
                  <a:lnTo>
                    <a:pt x="168" y="240"/>
                  </a:lnTo>
                  <a:lnTo>
                    <a:pt x="180" y="240"/>
                  </a:lnTo>
                  <a:lnTo>
                    <a:pt x="186" y="228"/>
                  </a:lnTo>
                  <a:lnTo>
                    <a:pt x="210" y="234"/>
                  </a:lnTo>
                  <a:lnTo>
                    <a:pt x="222" y="228"/>
                  </a:lnTo>
                  <a:lnTo>
                    <a:pt x="228" y="216"/>
                  </a:lnTo>
                  <a:lnTo>
                    <a:pt x="234" y="210"/>
                  </a:lnTo>
                  <a:lnTo>
                    <a:pt x="240" y="216"/>
                  </a:lnTo>
                  <a:lnTo>
                    <a:pt x="246" y="210"/>
                  </a:lnTo>
                  <a:lnTo>
                    <a:pt x="252" y="210"/>
                  </a:lnTo>
                  <a:lnTo>
                    <a:pt x="258" y="210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192"/>
                  </a:lnTo>
                  <a:lnTo>
                    <a:pt x="270" y="192"/>
                  </a:lnTo>
                  <a:lnTo>
                    <a:pt x="276" y="192"/>
                  </a:lnTo>
                  <a:lnTo>
                    <a:pt x="282" y="192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192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198"/>
                  </a:lnTo>
                  <a:lnTo>
                    <a:pt x="312" y="198"/>
                  </a:lnTo>
                  <a:lnTo>
                    <a:pt x="312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24" y="186"/>
                  </a:lnTo>
                  <a:lnTo>
                    <a:pt x="318" y="180"/>
                  </a:lnTo>
                  <a:lnTo>
                    <a:pt x="324" y="180"/>
                  </a:lnTo>
                  <a:lnTo>
                    <a:pt x="330" y="186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74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54" y="144"/>
                  </a:lnTo>
                  <a:lnTo>
                    <a:pt x="360" y="144"/>
                  </a:lnTo>
                  <a:lnTo>
                    <a:pt x="372" y="156"/>
                  </a:lnTo>
                  <a:lnTo>
                    <a:pt x="372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96" y="168"/>
                  </a:lnTo>
                  <a:lnTo>
                    <a:pt x="396" y="174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26" y="186"/>
                  </a:lnTo>
                  <a:lnTo>
                    <a:pt x="432" y="186"/>
                  </a:lnTo>
                  <a:lnTo>
                    <a:pt x="438" y="180"/>
                  </a:lnTo>
                  <a:lnTo>
                    <a:pt x="438" y="168"/>
                  </a:lnTo>
                  <a:lnTo>
                    <a:pt x="438" y="162"/>
                  </a:lnTo>
                  <a:lnTo>
                    <a:pt x="444" y="156"/>
                  </a:lnTo>
                  <a:lnTo>
                    <a:pt x="450" y="156"/>
                  </a:lnTo>
                  <a:lnTo>
                    <a:pt x="456" y="150"/>
                  </a:lnTo>
                  <a:lnTo>
                    <a:pt x="462" y="156"/>
                  </a:lnTo>
                  <a:lnTo>
                    <a:pt x="468" y="162"/>
                  </a:lnTo>
                  <a:lnTo>
                    <a:pt x="474" y="162"/>
                  </a:lnTo>
                  <a:lnTo>
                    <a:pt x="486" y="162"/>
                  </a:lnTo>
                  <a:lnTo>
                    <a:pt x="492" y="156"/>
                  </a:lnTo>
                  <a:lnTo>
                    <a:pt x="498" y="150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28" y="126"/>
                  </a:lnTo>
                  <a:lnTo>
                    <a:pt x="522" y="120"/>
                  </a:lnTo>
                  <a:lnTo>
                    <a:pt x="522" y="114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28" y="102"/>
                  </a:lnTo>
                  <a:lnTo>
                    <a:pt x="534" y="96"/>
                  </a:lnTo>
                  <a:lnTo>
                    <a:pt x="552" y="96"/>
                  </a:lnTo>
                  <a:lnTo>
                    <a:pt x="570" y="102"/>
                  </a:lnTo>
                  <a:lnTo>
                    <a:pt x="582" y="96"/>
                  </a:lnTo>
                  <a:lnTo>
                    <a:pt x="582" y="90"/>
                  </a:lnTo>
                  <a:lnTo>
                    <a:pt x="582" y="78"/>
                  </a:lnTo>
                  <a:lnTo>
                    <a:pt x="582" y="72"/>
                  </a:lnTo>
                  <a:lnTo>
                    <a:pt x="582" y="66"/>
                  </a:lnTo>
                  <a:lnTo>
                    <a:pt x="594" y="60"/>
                  </a:lnTo>
                  <a:lnTo>
                    <a:pt x="600" y="60"/>
                  </a:lnTo>
                  <a:lnTo>
                    <a:pt x="606" y="54"/>
                  </a:lnTo>
                  <a:lnTo>
                    <a:pt x="618" y="48"/>
                  </a:lnTo>
                  <a:lnTo>
                    <a:pt x="618" y="42"/>
                  </a:lnTo>
                  <a:lnTo>
                    <a:pt x="624" y="42"/>
                  </a:lnTo>
                  <a:lnTo>
                    <a:pt x="636" y="48"/>
                  </a:lnTo>
                  <a:lnTo>
                    <a:pt x="648" y="54"/>
                  </a:lnTo>
                  <a:lnTo>
                    <a:pt x="660" y="54"/>
                  </a:lnTo>
                  <a:lnTo>
                    <a:pt x="666" y="60"/>
                  </a:lnTo>
                  <a:lnTo>
                    <a:pt x="672" y="54"/>
                  </a:lnTo>
                  <a:lnTo>
                    <a:pt x="684" y="48"/>
                  </a:lnTo>
                  <a:lnTo>
                    <a:pt x="708" y="42"/>
                  </a:lnTo>
                  <a:lnTo>
                    <a:pt x="714" y="42"/>
                  </a:lnTo>
                  <a:lnTo>
                    <a:pt x="720" y="36"/>
                  </a:lnTo>
                  <a:lnTo>
                    <a:pt x="720" y="30"/>
                  </a:lnTo>
                  <a:lnTo>
                    <a:pt x="714" y="12"/>
                  </a:lnTo>
                  <a:lnTo>
                    <a:pt x="708" y="0"/>
                  </a:lnTo>
                  <a:lnTo>
                    <a:pt x="738" y="6"/>
                  </a:lnTo>
                  <a:lnTo>
                    <a:pt x="756" y="6"/>
                  </a:lnTo>
                  <a:lnTo>
                    <a:pt x="762" y="42"/>
                  </a:lnTo>
                  <a:lnTo>
                    <a:pt x="738" y="72"/>
                  </a:lnTo>
                  <a:lnTo>
                    <a:pt x="750" y="90"/>
                  </a:lnTo>
                  <a:lnTo>
                    <a:pt x="762" y="96"/>
                  </a:lnTo>
                  <a:lnTo>
                    <a:pt x="756" y="102"/>
                  </a:lnTo>
                  <a:lnTo>
                    <a:pt x="750" y="108"/>
                  </a:lnTo>
                  <a:lnTo>
                    <a:pt x="750" y="114"/>
                  </a:lnTo>
                  <a:lnTo>
                    <a:pt x="750" y="120"/>
                  </a:lnTo>
                  <a:lnTo>
                    <a:pt x="750" y="126"/>
                  </a:lnTo>
                  <a:lnTo>
                    <a:pt x="750" y="132"/>
                  </a:lnTo>
                  <a:lnTo>
                    <a:pt x="738" y="132"/>
                  </a:lnTo>
                  <a:lnTo>
                    <a:pt x="732" y="138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14" y="144"/>
                  </a:lnTo>
                  <a:lnTo>
                    <a:pt x="714" y="150"/>
                  </a:lnTo>
                  <a:lnTo>
                    <a:pt x="720" y="156"/>
                  </a:lnTo>
                  <a:lnTo>
                    <a:pt x="720" y="162"/>
                  </a:lnTo>
                  <a:lnTo>
                    <a:pt x="714" y="162"/>
                  </a:lnTo>
                  <a:lnTo>
                    <a:pt x="708" y="168"/>
                  </a:lnTo>
                  <a:lnTo>
                    <a:pt x="708" y="180"/>
                  </a:lnTo>
                  <a:lnTo>
                    <a:pt x="708" y="192"/>
                  </a:lnTo>
                  <a:lnTo>
                    <a:pt x="696" y="198"/>
                  </a:lnTo>
                  <a:lnTo>
                    <a:pt x="696" y="204"/>
                  </a:lnTo>
                  <a:lnTo>
                    <a:pt x="684" y="210"/>
                  </a:lnTo>
                  <a:lnTo>
                    <a:pt x="684" y="216"/>
                  </a:lnTo>
                  <a:lnTo>
                    <a:pt x="684" y="222"/>
                  </a:lnTo>
                  <a:lnTo>
                    <a:pt x="678" y="228"/>
                  </a:lnTo>
                  <a:lnTo>
                    <a:pt x="678" y="234"/>
                  </a:lnTo>
                  <a:lnTo>
                    <a:pt x="672" y="240"/>
                  </a:lnTo>
                  <a:lnTo>
                    <a:pt x="672" y="252"/>
                  </a:lnTo>
                  <a:lnTo>
                    <a:pt x="672" y="258"/>
                  </a:lnTo>
                  <a:lnTo>
                    <a:pt x="666" y="264"/>
                  </a:lnTo>
                  <a:lnTo>
                    <a:pt x="678" y="264"/>
                  </a:lnTo>
                  <a:lnTo>
                    <a:pt x="684" y="276"/>
                  </a:lnTo>
                  <a:lnTo>
                    <a:pt x="684" y="288"/>
                  </a:lnTo>
                  <a:lnTo>
                    <a:pt x="672" y="300"/>
                  </a:lnTo>
                  <a:lnTo>
                    <a:pt x="660" y="318"/>
                  </a:lnTo>
                  <a:lnTo>
                    <a:pt x="660" y="336"/>
                  </a:lnTo>
                  <a:lnTo>
                    <a:pt x="654" y="342"/>
                  </a:lnTo>
                  <a:lnTo>
                    <a:pt x="660" y="354"/>
                  </a:lnTo>
                  <a:lnTo>
                    <a:pt x="660" y="366"/>
                  </a:lnTo>
                  <a:lnTo>
                    <a:pt x="666" y="378"/>
                  </a:lnTo>
                  <a:lnTo>
                    <a:pt x="672" y="390"/>
                  </a:lnTo>
                  <a:lnTo>
                    <a:pt x="678" y="396"/>
                  </a:lnTo>
                  <a:lnTo>
                    <a:pt x="684" y="390"/>
                  </a:lnTo>
                  <a:lnTo>
                    <a:pt x="690" y="390"/>
                  </a:lnTo>
                  <a:lnTo>
                    <a:pt x="690" y="396"/>
                  </a:lnTo>
                  <a:lnTo>
                    <a:pt x="684" y="396"/>
                  </a:lnTo>
                  <a:lnTo>
                    <a:pt x="684" y="402"/>
                  </a:lnTo>
                  <a:lnTo>
                    <a:pt x="684" y="408"/>
                  </a:lnTo>
                  <a:lnTo>
                    <a:pt x="678" y="414"/>
                  </a:lnTo>
                  <a:lnTo>
                    <a:pt x="684" y="414"/>
                  </a:lnTo>
                  <a:lnTo>
                    <a:pt x="684" y="420"/>
                  </a:lnTo>
                  <a:lnTo>
                    <a:pt x="684" y="426"/>
                  </a:lnTo>
                  <a:lnTo>
                    <a:pt x="690" y="420"/>
                  </a:lnTo>
                  <a:lnTo>
                    <a:pt x="696" y="420"/>
                  </a:lnTo>
                  <a:lnTo>
                    <a:pt x="696" y="426"/>
                  </a:lnTo>
                  <a:lnTo>
                    <a:pt x="690" y="426"/>
                  </a:lnTo>
                  <a:lnTo>
                    <a:pt x="696" y="426"/>
                  </a:lnTo>
                  <a:lnTo>
                    <a:pt x="708" y="426"/>
                  </a:lnTo>
                  <a:lnTo>
                    <a:pt x="726" y="414"/>
                  </a:lnTo>
                  <a:lnTo>
                    <a:pt x="732" y="408"/>
                  </a:lnTo>
                  <a:lnTo>
                    <a:pt x="744" y="402"/>
                  </a:lnTo>
                  <a:lnTo>
                    <a:pt x="756" y="402"/>
                  </a:lnTo>
                  <a:lnTo>
                    <a:pt x="768" y="402"/>
                  </a:lnTo>
                  <a:lnTo>
                    <a:pt x="786" y="408"/>
                  </a:lnTo>
                  <a:lnTo>
                    <a:pt x="786" y="414"/>
                  </a:lnTo>
                  <a:lnTo>
                    <a:pt x="774" y="420"/>
                  </a:lnTo>
                  <a:lnTo>
                    <a:pt x="774" y="426"/>
                  </a:lnTo>
                  <a:lnTo>
                    <a:pt x="768" y="432"/>
                  </a:lnTo>
                  <a:lnTo>
                    <a:pt x="762" y="438"/>
                  </a:lnTo>
                  <a:lnTo>
                    <a:pt x="756" y="438"/>
                  </a:lnTo>
                  <a:lnTo>
                    <a:pt x="756" y="444"/>
                  </a:lnTo>
                  <a:lnTo>
                    <a:pt x="756" y="450"/>
                  </a:lnTo>
                  <a:lnTo>
                    <a:pt x="762" y="450"/>
                  </a:lnTo>
                  <a:lnTo>
                    <a:pt x="750" y="456"/>
                  </a:lnTo>
                  <a:lnTo>
                    <a:pt x="738" y="468"/>
                  </a:lnTo>
                  <a:lnTo>
                    <a:pt x="726" y="480"/>
                  </a:lnTo>
                  <a:lnTo>
                    <a:pt x="726" y="486"/>
                  </a:lnTo>
                  <a:lnTo>
                    <a:pt x="732" y="486"/>
                  </a:lnTo>
                  <a:lnTo>
                    <a:pt x="732" y="492"/>
                  </a:lnTo>
                  <a:lnTo>
                    <a:pt x="732" y="504"/>
                  </a:lnTo>
                  <a:lnTo>
                    <a:pt x="738" y="504"/>
                  </a:lnTo>
                  <a:lnTo>
                    <a:pt x="744" y="510"/>
                  </a:lnTo>
                  <a:lnTo>
                    <a:pt x="738" y="522"/>
                  </a:lnTo>
                  <a:lnTo>
                    <a:pt x="744" y="528"/>
                  </a:lnTo>
                  <a:lnTo>
                    <a:pt x="756" y="534"/>
                  </a:lnTo>
                  <a:lnTo>
                    <a:pt x="756" y="540"/>
                  </a:lnTo>
                  <a:lnTo>
                    <a:pt x="744" y="552"/>
                  </a:lnTo>
                  <a:lnTo>
                    <a:pt x="738" y="552"/>
                  </a:lnTo>
                  <a:lnTo>
                    <a:pt x="738" y="558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64"/>
                  </a:lnTo>
                  <a:lnTo>
                    <a:pt x="744" y="576"/>
                  </a:lnTo>
                  <a:lnTo>
                    <a:pt x="738" y="588"/>
                  </a:lnTo>
                  <a:lnTo>
                    <a:pt x="738" y="594"/>
                  </a:lnTo>
                  <a:lnTo>
                    <a:pt x="738" y="600"/>
                  </a:lnTo>
                  <a:lnTo>
                    <a:pt x="738" y="606"/>
                  </a:lnTo>
                  <a:lnTo>
                    <a:pt x="732" y="612"/>
                  </a:lnTo>
                  <a:lnTo>
                    <a:pt x="726" y="624"/>
                  </a:lnTo>
                  <a:lnTo>
                    <a:pt x="726" y="636"/>
                  </a:lnTo>
                  <a:lnTo>
                    <a:pt x="726" y="648"/>
                  </a:lnTo>
                  <a:lnTo>
                    <a:pt x="738" y="654"/>
                  </a:lnTo>
                  <a:lnTo>
                    <a:pt x="750" y="660"/>
                  </a:lnTo>
                  <a:lnTo>
                    <a:pt x="750" y="666"/>
                  </a:lnTo>
                  <a:lnTo>
                    <a:pt x="750" y="678"/>
                  </a:lnTo>
                  <a:lnTo>
                    <a:pt x="744" y="678"/>
                  </a:lnTo>
                  <a:lnTo>
                    <a:pt x="738" y="684"/>
                  </a:lnTo>
                  <a:lnTo>
                    <a:pt x="732" y="684"/>
                  </a:lnTo>
                  <a:lnTo>
                    <a:pt x="720" y="678"/>
                  </a:lnTo>
                  <a:lnTo>
                    <a:pt x="714" y="684"/>
                  </a:lnTo>
                  <a:lnTo>
                    <a:pt x="708" y="684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0" y="690"/>
                  </a:lnTo>
                  <a:lnTo>
                    <a:pt x="690" y="684"/>
                  </a:lnTo>
                  <a:lnTo>
                    <a:pt x="690" y="690"/>
                  </a:lnTo>
                  <a:lnTo>
                    <a:pt x="684" y="690"/>
                  </a:lnTo>
                  <a:lnTo>
                    <a:pt x="684" y="684"/>
                  </a:lnTo>
                  <a:lnTo>
                    <a:pt x="678" y="684"/>
                  </a:lnTo>
                  <a:lnTo>
                    <a:pt x="672" y="678"/>
                  </a:lnTo>
                  <a:lnTo>
                    <a:pt x="672" y="672"/>
                  </a:lnTo>
                  <a:lnTo>
                    <a:pt x="678" y="672"/>
                  </a:lnTo>
                  <a:lnTo>
                    <a:pt x="672" y="672"/>
                  </a:lnTo>
                  <a:lnTo>
                    <a:pt x="666" y="672"/>
                  </a:lnTo>
                  <a:lnTo>
                    <a:pt x="660" y="672"/>
                  </a:lnTo>
                  <a:lnTo>
                    <a:pt x="654" y="672"/>
                  </a:lnTo>
                  <a:lnTo>
                    <a:pt x="654" y="666"/>
                  </a:lnTo>
                  <a:lnTo>
                    <a:pt x="648" y="666"/>
                  </a:lnTo>
                  <a:lnTo>
                    <a:pt x="642" y="660"/>
                  </a:lnTo>
                  <a:lnTo>
                    <a:pt x="642" y="654"/>
                  </a:lnTo>
                  <a:lnTo>
                    <a:pt x="642" y="648"/>
                  </a:lnTo>
                  <a:lnTo>
                    <a:pt x="636" y="648"/>
                  </a:lnTo>
                  <a:lnTo>
                    <a:pt x="630" y="648"/>
                  </a:lnTo>
                  <a:lnTo>
                    <a:pt x="624" y="648"/>
                  </a:lnTo>
                  <a:lnTo>
                    <a:pt x="624" y="642"/>
                  </a:lnTo>
                  <a:lnTo>
                    <a:pt x="618" y="636"/>
                  </a:lnTo>
                  <a:lnTo>
                    <a:pt x="624" y="636"/>
                  </a:lnTo>
                  <a:lnTo>
                    <a:pt x="624" y="630"/>
                  </a:lnTo>
                  <a:lnTo>
                    <a:pt x="618" y="630"/>
                  </a:lnTo>
                  <a:lnTo>
                    <a:pt x="618" y="624"/>
                  </a:lnTo>
                  <a:lnTo>
                    <a:pt x="618" y="618"/>
                  </a:lnTo>
                  <a:lnTo>
                    <a:pt x="618" y="612"/>
                  </a:lnTo>
                  <a:lnTo>
                    <a:pt x="618" y="606"/>
                  </a:lnTo>
                  <a:lnTo>
                    <a:pt x="624" y="606"/>
                  </a:lnTo>
                  <a:lnTo>
                    <a:pt x="624" y="600"/>
                  </a:lnTo>
                  <a:lnTo>
                    <a:pt x="618" y="600"/>
                  </a:lnTo>
                  <a:lnTo>
                    <a:pt x="618" y="594"/>
                  </a:lnTo>
                  <a:lnTo>
                    <a:pt x="618" y="588"/>
                  </a:lnTo>
                  <a:lnTo>
                    <a:pt x="618" y="582"/>
                  </a:lnTo>
                  <a:lnTo>
                    <a:pt x="612" y="582"/>
                  </a:lnTo>
                  <a:lnTo>
                    <a:pt x="606" y="582"/>
                  </a:lnTo>
                  <a:lnTo>
                    <a:pt x="612" y="582"/>
                  </a:lnTo>
                  <a:lnTo>
                    <a:pt x="612" y="588"/>
                  </a:lnTo>
                  <a:lnTo>
                    <a:pt x="612" y="594"/>
                  </a:lnTo>
                  <a:lnTo>
                    <a:pt x="618" y="594"/>
                  </a:lnTo>
                  <a:lnTo>
                    <a:pt x="618" y="600"/>
                  </a:lnTo>
                  <a:lnTo>
                    <a:pt x="618" y="606"/>
                  </a:lnTo>
                  <a:lnTo>
                    <a:pt x="618" y="612"/>
                  </a:lnTo>
                  <a:lnTo>
                    <a:pt x="612" y="612"/>
                  </a:lnTo>
                  <a:lnTo>
                    <a:pt x="612" y="618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94" y="612"/>
                  </a:lnTo>
                  <a:lnTo>
                    <a:pt x="588" y="606"/>
                  </a:lnTo>
                  <a:lnTo>
                    <a:pt x="588" y="612"/>
                  </a:lnTo>
                  <a:lnTo>
                    <a:pt x="594" y="612"/>
                  </a:lnTo>
                  <a:lnTo>
                    <a:pt x="594" y="618"/>
                  </a:lnTo>
                  <a:lnTo>
                    <a:pt x="588" y="618"/>
                  </a:lnTo>
                  <a:lnTo>
                    <a:pt x="588" y="624"/>
                  </a:lnTo>
                  <a:lnTo>
                    <a:pt x="582" y="624"/>
                  </a:lnTo>
                  <a:lnTo>
                    <a:pt x="582" y="630"/>
                  </a:lnTo>
                  <a:lnTo>
                    <a:pt x="576" y="630"/>
                  </a:lnTo>
                  <a:lnTo>
                    <a:pt x="576" y="636"/>
                  </a:lnTo>
                  <a:lnTo>
                    <a:pt x="570" y="636"/>
                  </a:lnTo>
                  <a:lnTo>
                    <a:pt x="570" y="642"/>
                  </a:lnTo>
                  <a:lnTo>
                    <a:pt x="564" y="642"/>
                  </a:lnTo>
                  <a:lnTo>
                    <a:pt x="564" y="636"/>
                  </a:lnTo>
                  <a:lnTo>
                    <a:pt x="564" y="630"/>
                  </a:lnTo>
                  <a:lnTo>
                    <a:pt x="564" y="624"/>
                  </a:lnTo>
                  <a:lnTo>
                    <a:pt x="564" y="618"/>
                  </a:lnTo>
                  <a:lnTo>
                    <a:pt x="570" y="612"/>
                  </a:lnTo>
                  <a:lnTo>
                    <a:pt x="564" y="606"/>
                  </a:lnTo>
                  <a:lnTo>
                    <a:pt x="564" y="600"/>
                  </a:lnTo>
                  <a:lnTo>
                    <a:pt x="564" y="594"/>
                  </a:lnTo>
                  <a:lnTo>
                    <a:pt x="558" y="594"/>
                  </a:lnTo>
                  <a:lnTo>
                    <a:pt x="558" y="588"/>
                  </a:lnTo>
                  <a:lnTo>
                    <a:pt x="552" y="582"/>
                  </a:lnTo>
                  <a:lnTo>
                    <a:pt x="552" y="576"/>
                  </a:lnTo>
                  <a:lnTo>
                    <a:pt x="552" y="570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6" y="582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58" y="588"/>
                  </a:lnTo>
                  <a:lnTo>
                    <a:pt x="558" y="594"/>
                  </a:lnTo>
                  <a:lnTo>
                    <a:pt x="558" y="600"/>
                  </a:lnTo>
                  <a:lnTo>
                    <a:pt x="558" y="606"/>
                  </a:lnTo>
                  <a:lnTo>
                    <a:pt x="552" y="612"/>
                  </a:lnTo>
                  <a:lnTo>
                    <a:pt x="558" y="612"/>
                  </a:lnTo>
                  <a:lnTo>
                    <a:pt x="558" y="618"/>
                  </a:lnTo>
                  <a:lnTo>
                    <a:pt x="558" y="624"/>
                  </a:lnTo>
                  <a:lnTo>
                    <a:pt x="558" y="630"/>
                  </a:lnTo>
                  <a:lnTo>
                    <a:pt x="552" y="630"/>
                  </a:lnTo>
                  <a:lnTo>
                    <a:pt x="552" y="624"/>
                  </a:lnTo>
                  <a:lnTo>
                    <a:pt x="546" y="624"/>
                  </a:lnTo>
                  <a:lnTo>
                    <a:pt x="546" y="618"/>
                  </a:lnTo>
                  <a:lnTo>
                    <a:pt x="546" y="612"/>
                  </a:lnTo>
                  <a:lnTo>
                    <a:pt x="540" y="612"/>
                  </a:lnTo>
                  <a:lnTo>
                    <a:pt x="534" y="612"/>
                  </a:lnTo>
                  <a:lnTo>
                    <a:pt x="528" y="612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28" y="618"/>
                  </a:lnTo>
                  <a:lnTo>
                    <a:pt x="534" y="618"/>
                  </a:lnTo>
                  <a:lnTo>
                    <a:pt x="540" y="618"/>
                  </a:lnTo>
                  <a:lnTo>
                    <a:pt x="540" y="624"/>
                  </a:lnTo>
                  <a:lnTo>
                    <a:pt x="546" y="624"/>
                  </a:lnTo>
                  <a:lnTo>
                    <a:pt x="546" y="630"/>
                  </a:lnTo>
                  <a:lnTo>
                    <a:pt x="552" y="630"/>
                  </a:lnTo>
                  <a:lnTo>
                    <a:pt x="552" y="636"/>
                  </a:lnTo>
                  <a:lnTo>
                    <a:pt x="546" y="642"/>
                  </a:lnTo>
                  <a:lnTo>
                    <a:pt x="546" y="648"/>
                  </a:lnTo>
                  <a:lnTo>
                    <a:pt x="540" y="648"/>
                  </a:lnTo>
                  <a:lnTo>
                    <a:pt x="540" y="654"/>
                  </a:lnTo>
                  <a:lnTo>
                    <a:pt x="540" y="660"/>
                  </a:lnTo>
                  <a:lnTo>
                    <a:pt x="534" y="666"/>
                  </a:lnTo>
                  <a:lnTo>
                    <a:pt x="534" y="672"/>
                  </a:lnTo>
                  <a:lnTo>
                    <a:pt x="534" y="678"/>
                  </a:lnTo>
                  <a:lnTo>
                    <a:pt x="534" y="684"/>
                  </a:lnTo>
                  <a:lnTo>
                    <a:pt x="534" y="678"/>
                  </a:lnTo>
                  <a:lnTo>
                    <a:pt x="528" y="678"/>
                  </a:lnTo>
                  <a:lnTo>
                    <a:pt x="528" y="684"/>
                  </a:lnTo>
                  <a:lnTo>
                    <a:pt x="522" y="690"/>
                  </a:lnTo>
                  <a:lnTo>
                    <a:pt x="528" y="690"/>
                  </a:lnTo>
                  <a:lnTo>
                    <a:pt x="528" y="684"/>
                  </a:lnTo>
                  <a:lnTo>
                    <a:pt x="534" y="684"/>
                  </a:lnTo>
                  <a:lnTo>
                    <a:pt x="534" y="690"/>
                  </a:lnTo>
                  <a:lnTo>
                    <a:pt x="534" y="696"/>
                  </a:lnTo>
                  <a:lnTo>
                    <a:pt x="540" y="696"/>
                  </a:lnTo>
                  <a:lnTo>
                    <a:pt x="540" y="702"/>
                  </a:lnTo>
                  <a:lnTo>
                    <a:pt x="540" y="708"/>
                  </a:lnTo>
                  <a:lnTo>
                    <a:pt x="534" y="708"/>
                  </a:lnTo>
                  <a:lnTo>
                    <a:pt x="528" y="708"/>
                  </a:lnTo>
                  <a:lnTo>
                    <a:pt x="522" y="708"/>
                  </a:lnTo>
                  <a:lnTo>
                    <a:pt x="516" y="708"/>
                  </a:lnTo>
                  <a:lnTo>
                    <a:pt x="510" y="708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2" y="708"/>
                  </a:lnTo>
                  <a:lnTo>
                    <a:pt x="486" y="714"/>
                  </a:lnTo>
                  <a:lnTo>
                    <a:pt x="480" y="708"/>
                  </a:lnTo>
                  <a:lnTo>
                    <a:pt x="474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68" y="714"/>
                  </a:lnTo>
                  <a:lnTo>
                    <a:pt x="456" y="714"/>
                  </a:lnTo>
                  <a:lnTo>
                    <a:pt x="450" y="714"/>
                  </a:lnTo>
                  <a:lnTo>
                    <a:pt x="450" y="708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50" y="690"/>
                  </a:lnTo>
                  <a:lnTo>
                    <a:pt x="450" y="684"/>
                  </a:lnTo>
                  <a:lnTo>
                    <a:pt x="450" y="678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56" y="660"/>
                  </a:lnTo>
                  <a:lnTo>
                    <a:pt x="462" y="660"/>
                  </a:lnTo>
                  <a:lnTo>
                    <a:pt x="462" y="654"/>
                  </a:lnTo>
                  <a:lnTo>
                    <a:pt x="456" y="654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48"/>
                  </a:lnTo>
                  <a:lnTo>
                    <a:pt x="444" y="648"/>
                  </a:lnTo>
                  <a:lnTo>
                    <a:pt x="444" y="642"/>
                  </a:lnTo>
                  <a:lnTo>
                    <a:pt x="444" y="636"/>
                  </a:lnTo>
                  <a:lnTo>
                    <a:pt x="450" y="636"/>
                  </a:lnTo>
                  <a:lnTo>
                    <a:pt x="450" y="630"/>
                  </a:lnTo>
                  <a:lnTo>
                    <a:pt x="456" y="630"/>
                  </a:lnTo>
                  <a:lnTo>
                    <a:pt x="462" y="630"/>
                  </a:lnTo>
                  <a:lnTo>
                    <a:pt x="462" y="624"/>
                  </a:lnTo>
                  <a:lnTo>
                    <a:pt x="468" y="624"/>
                  </a:lnTo>
                  <a:lnTo>
                    <a:pt x="474" y="624"/>
                  </a:lnTo>
                  <a:lnTo>
                    <a:pt x="474" y="618"/>
                  </a:lnTo>
                  <a:lnTo>
                    <a:pt x="480" y="618"/>
                  </a:lnTo>
                  <a:lnTo>
                    <a:pt x="486" y="618"/>
                  </a:lnTo>
                  <a:lnTo>
                    <a:pt x="486" y="624"/>
                  </a:lnTo>
                  <a:lnTo>
                    <a:pt x="486" y="636"/>
                  </a:lnTo>
                  <a:lnTo>
                    <a:pt x="486" y="642"/>
                  </a:lnTo>
                  <a:lnTo>
                    <a:pt x="486" y="648"/>
                  </a:lnTo>
                  <a:lnTo>
                    <a:pt x="492" y="648"/>
                  </a:lnTo>
                  <a:lnTo>
                    <a:pt x="492" y="642"/>
                  </a:lnTo>
                  <a:lnTo>
                    <a:pt x="498" y="636"/>
                  </a:lnTo>
                  <a:lnTo>
                    <a:pt x="492" y="636"/>
                  </a:lnTo>
                  <a:lnTo>
                    <a:pt x="492" y="630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6" y="618"/>
                  </a:lnTo>
                  <a:lnTo>
                    <a:pt x="486" y="612"/>
                  </a:lnTo>
                  <a:lnTo>
                    <a:pt x="486" y="606"/>
                  </a:lnTo>
                  <a:lnTo>
                    <a:pt x="480" y="606"/>
                  </a:lnTo>
                  <a:lnTo>
                    <a:pt x="480" y="612"/>
                  </a:lnTo>
                  <a:lnTo>
                    <a:pt x="474" y="618"/>
                  </a:lnTo>
                  <a:lnTo>
                    <a:pt x="468" y="618"/>
                  </a:lnTo>
                  <a:lnTo>
                    <a:pt x="462" y="618"/>
                  </a:lnTo>
                  <a:lnTo>
                    <a:pt x="462" y="612"/>
                  </a:lnTo>
                  <a:lnTo>
                    <a:pt x="456" y="612"/>
                  </a:lnTo>
                  <a:lnTo>
                    <a:pt x="456" y="618"/>
                  </a:lnTo>
                  <a:lnTo>
                    <a:pt x="462" y="618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30"/>
                  </a:lnTo>
                  <a:lnTo>
                    <a:pt x="444" y="630"/>
                  </a:lnTo>
                  <a:lnTo>
                    <a:pt x="444" y="636"/>
                  </a:lnTo>
                  <a:lnTo>
                    <a:pt x="444" y="642"/>
                  </a:lnTo>
                  <a:lnTo>
                    <a:pt x="444" y="654"/>
                  </a:lnTo>
                  <a:lnTo>
                    <a:pt x="444" y="660"/>
                  </a:lnTo>
                  <a:lnTo>
                    <a:pt x="438" y="660"/>
                  </a:lnTo>
                  <a:lnTo>
                    <a:pt x="432" y="660"/>
                  </a:lnTo>
                  <a:lnTo>
                    <a:pt x="432" y="654"/>
                  </a:lnTo>
                  <a:lnTo>
                    <a:pt x="438" y="654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48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26" y="660"/>
                  </a:lnTo>
                  <a:lnTo>
                    <a:pt x="432" y="666"/>
                  </a:lnTo>
                  <a:lnTo>
                    <a:pt x="432" y="672"/>
                  </a:lnTo>
                  <a:lnTo>
                    <a:pt x="438" y="672"/>
                  </a:lnTo>
                  <a:lnTo>
                    <a:pt x="438" y="678"/>
                  </a:lnTo>
                  <a:lnTo>
                    <a:pt x="444" y="678"/>
                  </a:lnTo>
                  <a:lnTo>
                    <a:pt x="444" y="684"/>
                  </a:lnTo>
                  <a:lnTo>
                    <a:pt x="438" y="690"/>
                  </a:lnTo>
                  <a:lnTo>
                    <a:pt x="438" y="696"/>
                  </a:lnTo>
                  <a:lnTo>
                    <a:pt x="438" y="702"/>
                  </a:lnTo>
                  <a:lnTo>
                    <a:pt x="432" y="702"/>
                  </a:lnTo>
                  <a:lnTo>
                    <a:pt x="426" y="702"/>
                  </a:lnTo>
                  <a:lnTo>
                    <a:pt x="426" y="696"/>
                  </a:lnTo>
                  <a:lnTo>
                    <a:pt x="414" y="696"/>
                  </a:lnTo>
                  <a:lnTo>
                    <a:pt x="402" y="696"/>
                  </a:lnTo>
                  <a:lnTo>
                    <a:pt x="402" y="690"/>
                  </a:lnTo>
                  <a:lnTo>
                    <a:pt x="396" y="690"/>
                  </a:lnTo>
                  <a:lnTo>
                    <a:pt x="390" y="690"/>
                  </a:lnTo>
                  <a:lnTo>
                    <a:pt x="384" y="690"/>
                  </a:lnTo>
                  <a:lnTo>
                    <a:pt x="384" y="684"/>
                  </a:lnTo>
                  <a:lnTo>
                    <a:pt x="384" y="678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390" y="660"/>
                  </a:lnTo>
                  <a:lnTo>
                    <a:pt x="390" y="654"/>
                  </a:lnTo>
                  <a:lnTo>
                    <a:pt x="384" y="648"/>
                  </a:lnTo>
                  <a:lnTo>
                    <a:pt x="384" y="642"/>
                  </a:lnTo>
                  <a:lnTo>
                    <a:pt x="378" y="636"/>
                  </a:lnTo>
                  <a:lnTo>
                    <a:pt x="378" y="642"/>
                  </a:lnTo>
                  <a:lnTo>
                    <a:pt x="378" y="648"/>
                  </a:lnTo>
                  <a:lnTo>
                    <a:pt x="372" y="648"/>
                  </a:lnTo>
                  <a:lnTo>
                    <a:pt x="378" y="654"/>
                  </a:lnTo>
                  <a:lnTo>
                    <a:pt x="378" y="660"/>
                  </a:lnTo>
                  <a:lnTo>
                    <a:pt x="378" y="666"/>
                  </a:lnTo>
                  <a:lnTo>
                    <a:pt x="372" y="672"/>
                  </a:lnTo>
                  <a:lnTo>
                    <a:pt x="378" y="672"/>
                  </a:lnTo>
                  <a:lnTo>
                    <a:pt x="378" y="678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54" y="666"/>
                  </a:lnTo>
                  <a:lnTo>
                    <a:pt x="354" y="660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0" y="654"/>
                  </a:lnTo>
                  <a:lnTo>
                    <a:pt x="324" y="648"/>
                  </a:lnTo>
                  <a:lnTo>
                    <a:pt x="318" y="648"/>
                  </a:lnTo>
                  <a:lnTo>
                    <a:pt x="318" y="642"/>
                  </a:lnTo>
                  <a:lnTo>
                    <a:pt x="312" y="642"/>
                  </a:lnTo>
                  <a:lnTo>
                    <a:pt x="306" y="636"/>
                  </a:lnTo>
                  <a:lnTo>
                    <a:pt x="300" y="636"/>
                  </a:lnTo>
                  <a:lnTo>
                    <a:pt x="300" y="630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0" y="618"/>
                  </a:lnTo>
                  <a:lnTo>
                    <a:pt x="306" y="612"/>
                  </a:lnTo>
                  <a:lnTo>
                    <a:pt x="300" y="612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294" y="612"/>
                  </a:lnTo>
                  <a:lnTo>
                    <a:pt x="288" y="618"/>
                  </a:lnTo>
                  <a:lnTo>
                    <a:pt x="288" y="612"/>
                  </a:lnTo>
                  <a:lnTo>
                    <a:pt x="288" y="618"/>
                  </a:lnTo>
                  <a:lnTo>
                    <a:pt x="294" y="618"/>
                  </a:lnTo>
                  <a:lnTo>
                    <a:pt x="300" y="624"/>
                  </a:lnTo>
                  <a:lnTo>
                    <a:pt x="294" y="624"/>
                  </a:lnTo>
                  <a:lnTo>
                    <a:pt x="288" y="624"/>
                  </a:lnTo>
                  <a:lnTo>
                    <a:pt x="282" y="61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70" y="600"/>
                  </a:lnTo>
                  <a:lnTo>
                    <a:pt x="270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82" y="588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594"/>
                  </a:lnTo>
                  <a:lnTo>
                    <a:pt x="264" y="600"/>
                  </a:lnTo>
                  <a:lnTo>
                    <a:pt x="264" y="594"/>
                  </a:lnTo>
                  <a:lnTo>
                    <a:pt x="270" y="594"/>
                  </a:lnTo>
                  <a:lnTo>
                    <a:pt x="270" y="588"/>
                  </a:lnTo>
                  <a:lnTo>
                    <a:pt x="264" y="594"/>
                  </a:lnTo>
                  <a:lnTo>
                    <a:pt x="258" y="594"/>
                  </a:lnTo>
                  <a:lnTo>
                    <a:pt x="258" y="588"/>
                  </a:lnTo>
                  <a:lnTo>
                    <a:pt x="252" y="588"/>
                  </a:lnTo>
                  <a:lnTo>
                    <a:pt x="246" y="588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52" y="588"/>
                  </a:lnTo>
                  <a:lnTo>
                    <a:pt x="252" y="594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46" y="594"/>
                  </a:lnTo>
                  <a:lnTo>
                    <a:pt x="246" y="588"/>
                  </a:lnTo>
                  <a:lnTo>
                    <a:pt x="240" y="588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2" y="570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64"/>
                  </a:lnTo>
                  <a:lnTo>
                    <a:pt x="234" y="564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34" y="558"/>
                  </a:lnTo>
                  <a:lnTo>
                    <a:pt x="228" y="558"/>
                  </a:lnTo>
                  <a:lnTo>
                    <a:pt x="222" y="558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2" y="564"/>
                  </a:lnTo>
                  <a:lnTo>
                    <a:pt x="222" y="558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04" y="546"/>
                  </a:lnTo>
                  <a:lnTo>
                    <a:pt x="204" y="540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10" y="540"/>
                  </a:lnTo>
                  <a:lnTo>
                    <a:pt x="210" y="534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8"/>
                  </a:lnTo>
                  <a:lnTo>
                    <a:pt x="174" y="516"/>
                  </a:lnTo>
                  <a:lnTo>
                    <a:pt x="168" y="510"/>
                  </a:lnTo>
                  <a:lnTo>
                    <a:pt x="162" y="504"/>
                  </a:lnTo>
                  <a:lnTo>
                    <a:pt x="156" y="498"/>
                  </a:lnTo>
                  <a:lnTo>
                    <a:pt x="156" y="492"/>
                  </a:lnTo>
                  <a:lnTo>
                    <a:pt x="150" y="486"/>
                  </a:lnTo>
                  <a:lnTo>
                    <a:pt x="144" y="480"/>
                  </a:lnTo>
                  <a:lnTo>
                    <a:pt x="144" y="474"/>
                  </a:lnTo>
                  <a:lnTo>
                    <a:pt x="138" y="474"/>
                  </a:lnTo>
                  <a:lnTo>
                    <a:pt x="138" y="468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26" y="450"/>
                  </a:lnTo>
                  <a:lnTo>
                    <a:pt x="126" y="444"/>
                  </a:lnTo>
                  <a:lnTo>
                    <a:pt x="114" y="438"/>
                  </a:lnTo>
                  <a:lnTo>
                    <a:pt x="114" y="432"/>
                  </a:lnTo>
                  <a:lnTo>
                    <a:pt x="114" y="426"/>
                  </a:lnTo>
                  <a:lnTo>
                    <a:pt x="114" y="432"/>
                  </a:lnTo>
                  <a:lnTo>
                    <a:pt x="120" y="432"/>
                  </a:lnTo>
                  <a:lnTo>
                    <a:pt x="120" y="438"/>
                  </a:lnTo>
                  <a:lnTo>
                    <a:pt x="120" y="444"/>
                  </a:lnTo>
                  <a:lnTo>
                    <a:pt x="126" y="444"/>
                  </a:lnTo>
                  <a:lnTo>
                    <a:pt x="126" y="438"/>
                  </a:lnTo>
                  <a:lnTo>
                    <a:pt x="120" y="438"/>
                  </a:lnTo>
                  <a:lnTo>
                    <a:pt x="126" y="432"/>
                  </a:lnTo>
                  <a:lnTo>
                    <a:pt x="126" y="426"/>
                  </a:lnTo>
                  <a:lnTo>
                    <a:pt x="132" y="420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08" y="414"/>
                  </a:lnTo>
                  <a:lnTo>
                    <a:pt x="102" y="414"/>
                  </a:lnTo>
                  <a:lnTo>
                    <a:pt x="102" y="408"/>
                  </a:lnTo>
                  <a:lnTo>
                    <a:pt x="96" y="402"/>
                  </a:lnTo>
                  <a:lnTo>
                    <a:pt x="96" y="396"/>
                  </a:lnTo>
                  <a:lnTo>
                    <a:pt x="96" y="390"/>
                  </a:lnTo>
                  <a:lnTo>
                    <a:pt x="90" y="390"/>
                  </a:lnTo>
                  <a:lnTo>
                    <a:pt x="90" y="384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78" y="372"/>
                  </a:lnTo>
                  <a:lnTo>
                    <a:pt x="78" y="366"/>
                  </a:lnTo>
                  <a:lnTo>
                    <a:pt x="78" y="360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6" y="348"/>
                  </a:lnTo>
                  <a:lnTo>
                    <a:pt x="66" y="342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6" y="336"/>
                  </a:lnTo>
                  <a:lnTo>
                    <a:pt x="66" y="342"/>
                  </a:lnTo>
                  <a:lnTo>
                    <a:pt x="72" y="348"/>
                  </a:lnTo>
                  <a:lnTo>
                    <a:pt x="78" y="354"/>
                  </a:lnTo>
                  <a:lnTo>
                    <a:pt x="84" y="360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0" y="360"/>
                  </a:lnTo>
                  <a:lnTo>
                    <a:pt x="84" y="360"/>
                  </a:lnTo>
                  <a:lnTo>
                    <a:pt x="84" y="354"/>
                  </a:lnTo>
                  <a:lnTo>
                    <a:pt x="78" y="348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66" y="330"/>
                  </a:lnTo>
                  <a:lnTo>
                    <a:pt x="66" y="324"/>
                  </a:lnTo>
                  <a:lnTo>
                    <a:pt x="60" y="318"/>
                  </a:lnTo>
                  <a:lnTo>
                    <a:pt x="60" y="312"/>
                  </a:lnTo>
                  <a:lnTo>
                    <a:pt x="54" y="306"/>
                  </a:lnTo>
                  <a:lnTo>
                    <a:pt x="54" y="300"/>
                  </a:lnTo>
                  <a:lnTo>
                    <a:pt x="54" y="294"/>
                  </a:lnTo>
                  <a:lnTo>
                    <a:pt x="48" y="288"/>
                  </a:lnTo>
                  <a:lnTo>
                    <a:pt x="48" y="294"/>
                  </a:lnTo>
                  <a:lnTo>
                    <a:pt x="48" y="288"/>
                  </a:lnTo>
                  <a:lnTo>
                    <a:pt x="48" y="282"/>
                  </a:lnTo>
                  <a:lnTo>
                    <a:pt x="48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18" y="216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62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68"/>
                  </a:lnTo>
                  <a:lnTo>
                    <a:pt x="42" y="168"/>
                  </a:lnTo>
                  <a:lnTo>
                    <a:pt x="42" y="174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86"/>
                  </a:lnTo>
                  <a:close/>
                  <a:moveTo>
                    <a:pt x="642" y="660"/>
                  </a:moveTo>
                  <a:lnTo>
                    <a:pt x="642" y="666"/>
                  </a:lnTo>
                  <a:lnTo>
                    <a:pt x="648" y="666"/>
                  </a:lnTo>
                  <a:lnTo>
                    <a:pt x="648" y="672"/>
                  </a:lnTo>
                  <a:lnTo>
                    <a:pt x="648" y="678"/>
                  </a:lnTo>
                  <a:lnTo>
                    <a:pt x="654" y="678"/>
                  </a:lnTo>
                  <a:lnTo>
                    <a:pt x="654" y="684"/>
                  </a:lnTo>
                  <a:lnTo>
                    <a:pt x="660" y="684"/>
                  </a:lnTo>
                  <a:lnTo>
                    <a:pt x="660" y="690"/>
                  </a:lnTo>
                  <a:lnTo>
                    <a:pt x="654" y="690"/>
                  </a:lnTo>
                  <a:lnTo>
                    <a:pt x="648" y="690"/>
                  </a:lnTo>
                  <a:lnTo>
                    <a:pt x="636" y="696"/>
                  </a:lnTo>
                  <a:lnTo>
                    <a:pt x="630" y="696"/>
                  </a:lnTo>
                  <a:lnTo>
                    <a:pt x="624" y="696"/>
                  </a:lnTo>
                  <a:lnTo>
                    <a:pt x="618" y="696"/>
                  </a:lnTo>
                  <a:lnTo>
                    <a:pt x="612" y="696"/>
                  </a:lnTo>
                  <a:lnTo>
                    <a:pt x="594" y="696"/>
                  </a:lnTo>
                  <a:lnTo>
                    <a:pt x="588" y="696"/>
                  </a:lnTo>
                  <a:lnTo>
                    <a:pt x="582" y="696"/>
                  </a:lnTo>
                  <a:lnTo>
                    <a:pt x="570" y="702"/>
                  </a:lnTo>
                  <a:lnTo>
                    <a:pt x="564" y="702"/>
                  </a:lnTo>
                  <a:lnTo>
                    <a:pt x="558" y="702"/>
                  </a:lnTo>
                  <a:lnTo>
                    <a:pt x="552" y="702"/>
                  </a:lnTo>
                  <a:lnTo>
                    <a:pt x="552" y="696"/>
                  </a:lnTo>
                  <a:lnTo>
                    <a:pt x="546" y="696"/>
                  </a:lnTo>
                  <a:lnTo>
                    <a:pt x="546" y="690"/>
                  </a:lnTo>
                  <a:lnTo>
                    <a:pt x="552" y="684"/>
                  </a:lnTo>
                  <a:lnTo>
                    <a:pt x="552" y="678"/>
                  </a:lnTo>
                  <a:lnTo>
                    <a:pt x="558" y="672"/>
                  </a:lnTo>
                  <a:lnTo>
                    <a:pt x="558" y="666"/>
                  </a:lnTo>
                  <a:lnTo>
                    <a:pt x="564" y="666"/>
                  </a:lnTo>
                  <a:lnTo>
                    <a:pt x="570" y="666"/>
                  </a:lnTo>
                  <a:lnTo>
                    <a:pt x="570" y="654"/>
                  </a:lnTo>
                  <a:lnTo>
                    <a:pt x="570" y="648"/>
                  </a:lnTo>
                  <a:lnTo>
                    <a:pt x="582" y="642"/>
                  </a:lnTo>
                  <a:lnTo>
                    <a:pt x="582" y="636"/>
                  </a:lnTo>
                  <a:lnTo>
                    <a:pt x="588" y="636"/>
                  </a:lnTo>
                  <a:lnTo>
                    <a:pt x="588" y="630"/>
                  </a:lnTo>
                  <a:lnTo>
                    <a:pt x="594" y="624"/>
                  </a:lnTo>
                  <a:lnTo>
                    <a:pt x="594" y="618"/>
                  </a:lnTo>
                  <a:lnTo>
                    <a:pt x="600" y="618"/>
                  </a:lnTo>
                  <a:lnTo>
                    <a:pt x="600" y="612"/>
                  </a:lnTo>
                  <a:lnTo>
                    <a:pt x="606" y="612"/>
                  </a:lnTo>
                  <a:lnTo>
                    <a:pt x="606" y="618"/>
                  </a:lnTo>
                  <a:lnTo>
                    <a:pt x="612" y="618"/>
                  </a:lnTo>
                  <a:lnTo>
                    <a:pt x="618" y="618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18" y="636"/>
                  </a:lnTo>
                  <a:lnTo>
                    <a:pt x="618" y="642"/>
                  </a:lnTo>
                  <a:lnTo>
                    <a:pt x="618" y="648"/>
                  </a:lnTo>
                  <a:lnTo>
                    <a:pt x="624" y="648"/>
                  </a:lnTo>
                  <a:lnTo>
                    <a:pt x="630" y="648"/>
                  </a:lnTo>
                  <a:lnTo>
                    <a:pt x="636" y="654"/>
                  </a:lnTo>
                  <a:lnTo>
                    <a:pt x="642" y="654"/>
                  </a:lnTo>
                  <a:lnTo>
                    <a:pt x="642" y="66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0" name="Freeform 5">
              <a:extLst>
                <a:ext uri="{FF2B5EF4-FFF2-40B4-BE49-F238E27FC236}">
                  <a16:creationId xmlns:a16="http://schemas.microsoft.com/office/drawing/2014/main" id="{5577BDCA-F2C7-42E0-A391-018D79AA29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0384" y="4231013"/>
              <a:ext cx="404750" cy="480848"/>
            </a:xfrm>
            <a:custGeom>
              <a:avLst/>
              <a:gdLst>
                <a:gd name="T0" fmla="*/ 9 w 762"/>
                <a:gd name="T1" fmla="*/ 58 h 900"/>
                <a:gd name="T2" fmla="*/ 4 w 762"/>
                <a:gd name="T3" fmla="*/ 56 h 900"/>
                <a:gd name="T4" fmla="*/ 0 w 762"/>
                <a:gd name="T5" fmla="*/ 49 h 900"/>
                <a:gd name="T6" fmla="*/ 4 w 762"/>
                <a:gd name="T7" fmla="*/ 36 h 900"/>
                <a:gd name="T8" fmla="*/ 8 w 762"/>
                <a:gd name="T9" fmla="*/ 28 h 900"/>
                <a:gd name="T10" fmla="*/ 7 w 762"/>
                <a:gd name="T11" fmla="*/ 13 h 900"/>
                <a:gd name="T12" fmla="*/ 15 w 762"/>
                <a:gd name="T13" fmla="*/ 0 h 900"/>
                <a:gd name="T14" fmla="*/ 16 w 762"/>
                <a:gd name="T15" fmla="*/ 13 h 900"/>
                <a:gd name="T16" fmla="*/ 31 w 762"/>
                <a:gd name="T17" fmla="*/ 28 h 900"/>
                <a:gd name="T18" fmla="*/ 49 w 762"/>
                <a:gd name="T19" fmla="*/ 33 h 900"/>
                <a:gd name="T20" fmla="*/ 42 w 762"/>
                <a:gd name="T21" fmla="*/ 48 h 900"/>
                <a:gd name="T22" fmla="*/ 51 w 762"/>
                <a:gd name="T23" fmla="*/ 48 h 900"/>
                <a:gd name="T24" fmla="*/ 61 w 762"/>
                <a:gd name="T25" fmla="*/ 51 h 900"/>
                <a:gd name="T26" fmla="*/ 63 w 762"/>
                <a:gd name="T27" fmla="*/ 60 h 900"/>
                <a:gd name="T28" fmla="*/ 63 w 762"/>
                <a:gd name="T29" fmla="*/ 66 h 900"/>
                <a:gd name="T30" fmla="*/ 65 w 762"/>
                <a:gd name="T31" fmla="*/ 69 h 900"/>
                <a:gd name="T32" fmla="*/ 66 w 762"/>
                <a:gd name="T33" fmla="*/ 72 h 900"/>
                <a:gd name="T34" fmla="*/ 56 w 762"/>
                <a:gd name="T35" fmla="*/ 73 h 900"/>
                <a:gd name="T36" fmla="*/ 55 w 762"/>
                <a:gd name="T37" fmla="*/ 69 h 900"/>
                <a:gd name="T38" fmla="*/ 57 w 762"/>
                <a:gd name="T39" fmla="*/ 67 h 900"/>
                <a:gd name="T40" fmla="*/ 55 w 762"/>
                <a:gd name="T41" fmla="*/ 65 h 900"/>
                <a:gd name="T42" fmla="*/ 53 w 762"/>
                <a:gd name="T43" fmla="*/ 68 h 900"/>
                <a:gd name="T44" fmla="*/ 49 w 762"/>
                <a:gd name="T45" fmla="*/ 68 h 900"/>
                <a:gd name="T46" fmla="*/ 44 w 762"/>
                <a:gd name="T47" fmla="*/ 63 h 900"/>
                <a:gd name="T48" fmla="*/ 40 w 762"/>
                <a:gd name="T49" fmla="*/ 59 h 900"/>
                <a:gd name="T50" fmla="*/ 38 w 762"/>
                <a:gd name="T51" fmla="*/ 57 h 900"/>
                <a:gd name="T52" fmla="*/ 43 w 762"/>
                <a:gd name="T53" fmla="*/ 62 h 900"/>
                <a:gd name="T54" fmla="*/ 43 w 762"/>
                <a:gd name="T55" fmla="*/ 66 h 900"/>
                <a:gd name="T56" fmla="*/ 41 w 762"/>
                <a:gd name="T57" fmla="*/ 71 h 900"/>
                <a:gd name="T58" fmla="*/ 37 w 762"/>
                <a:gd name="T59" fmla="*/ 69 h 900"/>
                <a:gd name="T60" fmla="*/ 35 w 762"/>
                <a:gd name="T61" fmla="*/ 64 h 900"/>
                <a:gd name="T62" fmla="*/ 31 w 762"/>
                <a:gd name="T63" fmla="*/ 57 h 900"/>
                <a:gd name="T64" fmla="*/ 30 w 762"/>
                <a:gd name="T65" fmla="*/ 62 h 900"/>
                <a:gd name="T66" fmla="*/ 29 w 762"/>
                <a:gd name="T67" fmla="*/ 61 h 900"/>
                <a:gd name="T68" fmla="*/ 31 w 762"/>
                <a:gd name="T69" fmla="*/ 66 h 900"/>
                <a:gd name="T70" fmla="*/ 33 w 762"/>
                <a:gd name="T71" fmla="*/ 72 h 900"/>
                <a:gd name="T72" fmla="*/ 32 w 762"/>
                <a:gd name="T73" fmla="*/ 76 h 900"/>
                <a:gd name="T74" fmla="*/ 28 w 762"/>
                <a:gd name="T75" fmla="*/ 75 h 900"/>
                <a:gd name="T76" fmla="*/ 24 w 762"/>
                <a:gd name="T77" fmla="*/ 69 h 900"/>
                <a:gd name="T78" fmla="*/ 24 w 762"/>
                <a:gd name="T79" fmla="*/ 62 h 900"/>
                <a:gd name="T80" fmla="*/ 23 w 762"/>
                <a:gd name="T81" fmla="*/ 62 h 900"/>
                <a:gd name="T82" fmla="*/ 23 w 762"/>
                <a:gd name="T83" fmla="*/ 68 h 900"/>
                <a:gd name="T84" fmla="*/ 25 w 762"/>
                <a:gd name="T85" fmla="*/ 77 h 900"/>
                <a:gd name="T86" fmla="*/ 17 w 762"/>
                <a:gd name="T87" fmla="*/ 74 h 900"/>
                <a:gd name="T88" fmla="*/ 17 w 762"/>
                <a:gd name="T89" fmla="*/ 67 h 900"/>
                <a:gd name="T90" fmla="*/ 16 w 762"/>
                <a:gd name="T91" fmla="*/ 67 h 900"/>
                <a:gd name="T92" fmla="*/ 15 w 762"/>
                <a:gd name="T93" fmla="*/ 71 h 900"/>
                <a:gd name="T94" fmla="*/ 12 w 762"/>
                <a:gd name="T95" fmla="*/ 68 h 900"/>
                <a:gd name="T96" fmla="*/ 15 w 762"/>
                <a:gd name="T97" fmla="*/ 72 h 900"/>
                <a:gd name="T98" fmla="*/ 17 w 762"/>
                <a:gd name="T99" fmla="*/ 77 h 900"/>
                <a:gd name="T100" fmla="*/ 11 w 762"/>
                <a:gd name="T101" fmla="*/ 77 h 900"/>
                <a:gd name="T102" fmla="*/ 10 w 762"/>
                <a:gd name="T103" fmla="*/ 69 h 900"/>
                <a:gd name="T104" fmla="*/ 11 w 762"/>
                <a:gd name="T105" fmla="*/ 72 h 900"/>
                <a:gd name="T106" fmla="*/ 9 w 762"/>
                <a:gd name="T107" fmla="*/ 78 h 900"/>
                <a:gd name="T108" fmla="*/ 43 w 762"/>
                <a:gd name="T109" fmla="*/ 71 h 900"/>
                <a:gd name="T110" fmla="*/ 51 w 762"/>
                <a:gd name="T111" fmla="*/ 69 h 900"/>
                <a:gd name="T112" fmla="*/ 43 w 762"/>
                <a:gd name="T113" fmla="*/ 76 h 900"/>
                <a:gd name="T114" fmla="*/ 36 w 762"/>
                <a:gd name="T115" fmla="*/ 65 h 900"/>
                <a:gd name="T116" fmla="*/ 38 w 762"/>
                <a:gd name="T117" fmla="*/ 72 h 900"/>
                <a:gd name="T118" fmla="*/ 34 w 762"/>
                <a:gd name="T119" fmla="*/ 69 h 900"/>
                <a:gd name="T120" fmla="*/ 29 w 762"/>
                <a:gd name="T121" fmla="*/ 64 h 900"/>
                <a:gd name="T122" fmla="*/ 32 w 762"/>
                <a:gd name="T123" fmla="*/ 66 h 9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900"/>
                <a:gd name="T188" fmla="*/ 762 w 762"/>
                <a:gd name="T189" fmla="*/ 900 h 90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900">
                  <a:moveTo>
                    <a:pt x="90" y="768"/>
                  </a:moveTo>
                  <a:lnTo>
                    <a:pt x="102" y="756"/>
                  </a:lnTo>
                  <a:lnTo>
                    <a:pt x="102" y="750"/>
                  </a:lnTo>
                  <a:lnTo>
                    <a:pt x="90" y="744"/>
                  </a:lnTo>
                  <a:lnTo>
                    <a:pt x="84" y="738"/>
                  </a:lnTo>
                  <a:lnTo>
                    <a:pt x="90" y="726"/>
                  </a:lnTo>
                  <a:lnTo>
                    <a:pt x="84" y="720"/>
                  </a:lnTo>
                  <a:lnTo>
                    <a:pt x="78" y="720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72" y="702"/>
                  </a:lnTo>
                  <a:lnTo>
                    <a:pt x="72" y="696"/>
                  </a:lnTo>
                  <a:lnTo>
                    <a:pt x="84" y="684"/>
                  </a:lnTo>
                  <a:lnTo>
                    <a:pt x="96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102" y="654"/>
                  </a:lnTo>
                  <a:lnTo>
                    <a:pt x="108" y="654"/>
                  </a:lnTo>
                  <a:lnTo>
                    <a:pt x="114" y="648"/>
                  </a:lnTo>
                  <a:lnTo>
                    <a:pt x="120" y="642"/>
                  </a:lnTo>
                  <a:lnTo>
                    <a:pt x="120" y="636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14" y="618"/>
                  </a:lnTo>
                  <a:lnTo>
                    <a:pt x="102" y="618"/>
                  </a:lnTo>
                  <a:lnTo>
                    <a:pt x="90" y="618"/>
                  </a:lnTo>
                  <a:lnTo>
                    <a:pt x="78" y="624"/>
                  </a:lnTo>
                  <a:lnTo>
                    <a:pt x="72" y="630"/>
                  </a:lnTo>
                  <a:lnTo>
                    <a:pt x="54" y="642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42" y="642"/>
                  </a:lnTo>
                  <a:lnTo>
                    <a:pt x="42" y="636"/>
                  </a:lnTo>
                  <a:lnTo>
                    <a:pt x="36" y="636"/>
                  </a:lnTo>
                  <a:lnTo>
                    <a:pt x="30" y="642"/>
                  </a:lnTo>
                  <a:lnTo>
                    <a:pt x="30" y="636"/>
                  </a:lnTo>
                  <a:lnTo>
                    <a:pt x="30" y="630"/>
                  </a:lnTo>
                  <a:lnTo>
                    <a:pt x="24" y="630"/>
                  </a:lnTo>
                  <a:lnTo>
                    <a:pt x="30" y="624"/>
                  </a:lnTo>
                  <a:lnTo>
                    <a:pt x="30" y="618"/>
                  </a:lnTo>
                  <a:lnTo>
                    <a:pt x="30" y="612"/>
                  </a:lnTo>
                  <a:lnTo>
                    <a:pt x="36" y="612"/>
                  </a:lnTo>
                  <a:lnTo>
                    <a:pt x="36" y="606"/>
                  </a:lnTo>
                  <a:lnTo>
                    <a:pt x="30" y="606"/>
                  </a:lnTo>
                  <a:lnTo>
                    <a:pt x="24" y="612"/>
                  </a:lnTo>
                  <a:lnTo>
                    <a:pt x="18" y="606"/>
                  </a:lnTo>
                  <a:lnTo>
                    <a:pt x="12" y="594"/>
                  </a:lnTo>
                  <a:lnTo>
                    <a:pt x="6" y="582"/>
                  </a:lnTo>
                  <a:lnTo>
                    <a:pt x="6" y="570"/>
                  </a:lnTo>
                  <a:lnTo>
                    <a:pt x="0" y="558"/>
                  </a:lnTo>
                  <a:lnTo>
                    <a:pt x="6" y="552"/>
                  </a:lnTo>
                  <a:lnTo>
                    <a:pt x="6" y="534"/>
                  </a:lnTo>
                  <a:lnTo>
                    <a:pt x="18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12" y="480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54" y="408"/>
                  </a:lnTo>
                  <a:lnTo>
                    <a:pt x="54" y="396"/>
                  </a:lnTo>
                  <a:lnTo>
                    <a:pt x="54" y="384"/>
                  </a:lnTo>
                  <a:lnTo>
                    <a:pt x="60" y="378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66"/>
                  </a:lnTo>
                  <a:lnTo>
                    <a:pt x="60" y="360"/>
                  </a:lnTo>
                  <a:lnTo>
                    <a:pt x="66" y="360"/>
                  </a:lnTo>
                  <a:lnTo>
                    <a:pt x="72" y="354"/>
                  </a:lnTo>
                  <a:lnTo>
                    <a:pt x="78" y="354"/>
                  </a:lnTo>
                  <a:lnTo>
                    <a:pt x="84" y="348"/>
                  </a:lnTo>
                  <a:lnTo>
                    <a:pt x="96" y="348"/>
                  </a:lnTo>
                  <a:lnTo>
                    <a:pt x="96" y="342"/>
                  </a:lnTo>
                  <a:lnTo>
                    <a:pt x="96" y="336"/>
                  </a:lnTo>
                  <a:lnTo>
                    <a:pt x="96" y="330"/>
                  </a:lnTo>
                  <a:lnTo>
                    <a:pt x="96" y="324"/>
                  </a:lnTo>
                  <a:lnTo>
                    <a:pt x="102" y="318"/>
                  </a:lnTo>
                  <a:lnTo>
                    <a:pt x="108" y="312"/>
                  </a:lnTo>
                  <a:lnTo>
                    <a:pt x="96" y="306"/>
                  </a:lnTo>
                  <a:lnTo>
                    <a:pt x="84" y="288"/>
                  </a:lnTo>
                  <a:lnTo>
                    <a:pt x="108" y="258"/>
                  </a:lnTo>
                  <a:lnTo>
                    <a:pt x="102" y="222"/>
                  </a:lnTo>
                  <a:lnTo>
                    <a:pt x="84" y="222"/>
                  </a:lnTo>
                  <a:lnTo>
                    <a:pt x="54" y="216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2"/>
                  </a:lnTo>
                  <a:lnTo>
                    <a:pt x="72" y="192"/>
                  </a:lnTo>
                  <a:lnTo>
                    <a:pt x="84" y="186"/>
                  </a:lnTo>
                  <a:lnTo>
                    <a:pt x="90" y="186"/>
                  </a:lnTo>
                  <a:lnTo>
                    <a:pt x="90" y="174"/>
                  </a:lnTo>
                  <a:lnTo>
                    <a:pt x="84" y="162"/>
                  </a:lnTo>
                  <a:lnTo>
                    <a:pt x="84" y="150"/>
                  </a:lnTo>
                  <a:lnTo>
                    <a:pt x="84" y="126"/>
                  </a:lnTo>
                  <a:lnTo>
                    <a:pt x="84" y="114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8" y="96"/>
                  </a:lnTo>
                  <a:lnTo>
                    <a:pt x="120" y="90"/>
                  </a:lnTo>
                  <a:lnTo>
                    <a:pt x="126" y="78"/>
                  </a:lnTo>
                  <a:lnTo>
                    <a:pt x="138" y="66"/>
                  </a:lnTo>
                  <a:lnTo>
                    <a:pt x="138" y="48"/>
                  </a:lnTo>
                  <a:lnTo>
                    <a:pt x="138" y="42"/>
                  </a:lnTo>
                  <a:lnTo>
                    <a:pt x="126" y="30"/>
                  </a:lnTo>
                  <a:lnTo>
                    <a:pt x="120" y="18"/>
                  </a:lnTo>
                  <a:lnTo>
                    <a:pt x="132" y="12"/>
                  </a:lnTo>
                  <a:lnTo>
                    <a:pt x="144" y="0"/>
                  </a:lnTo>
                  <a:lnTo>
                    <a:pt x="150" y="6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6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74" y="66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68" y="72"/>
                  </a:lnTo>
                  <a:lnTo>
                    <a:pt x="156" y="150"/>
                  </a:lnTo>
                  <a:lnTo>
                    <a:pt x="168" y="144"/>
                  </a:lnTo>
                  <a:lnTo>
                    <a:pt x="180" y="150"/>
                  </a:lnTo>
                  <a:lnTo>
                    <a:pt x="186" y="150"/>
                  </a:lnTo>
                  <a:lnTo>
                    <a:pt x="186" y="144"/>
                  </a:lnTo>
                  <a:lnTo>
                    <a:pt x="192" y="150"/>
                  </a:lnTo>
                  <a:lnTo>
                    <a:pt x="222" y="150"/>
                  </a:lnTo>
                  <a:lnTo>
                    <a:pt x="222" y="168"/>
                  </a:lnTo>
                  <a:lnTo>
                    <a:pt x="222" y="186"/>
                  </a:lnTo>
                  <a:lnTo>
                    <a:pt x="234" y="198"/>
                  </a:lnTo>
                  <a:lnTo>
                    <a:pt x="234" y="234"/>
                  </a:lnTo>
                  <a:lnTo>
                    <a:pt x="228" y="270"/>
                  </a:lnTo>
                  <a:lnTo>
                    <a:pt x="246" y="282"/>
                  </a:lnTo>
                  <a:lnTo>
                    <a:pt x="258" y="294"/>
                  </a:lnTo>
                  <a:lnTo>
                    <a:pt x="270" y="300"/>
                  </a:lnTo>
                  <a:lnTo>
                    <a:pt x="294" y="300"/>
                  </a:lnTo>
                  <a:lnTo>
                    <a:pt x="288" y="306"/>
                  </a:lnTo>
                  <a:lnTo>
                    <a:pt x="300" y="312"/>
                  </a:lnTo>
                  <a:lnTo>
                    <a:pt x="306" y="318"/>
                  </a:lnTo>
                  <a:lnTo>
                    <a:pt x="324" y="324"/>
                  </a:lnTo>
                  <a:lnTo>
                    <a:pt x="354" y="318"/>
                  </a:lnTo>
                  <a:lnTo>
                    <a:pt x="354" y="312"/>
                  </a:lnTo>
                  <a:lnTo>
                    <a:pt x="366" y="312"/>
                  </a:lnTo>
                  <a:lnTo>
                    <a:pt x="384" y="312"/>
                  </a:lnTo>
                  <a:lnTo>
                    <a:pt x="390" y="306"/>
                  </a:lnTo>
                  <a:lnTo>
                    <a:pt x="396" y="306"/>
                  </a:lnTo>
                  <a:lnTo>
                    <a:pt x="408" y="306"/>
                  </a:lnTo>
                  <a:lnTo>
                    <a:pt x="426" y="312"/>
                  </a:lnTo>
                  <a:lnTo>
                    <a:pt x="456" y="324"/>
                  </a:lnTo>
                  <a:lnTo>
                    <a:pt x="504" y="330"/>
                  </a:lnTo>
                  <a:lnTo>
                    <a:pt x="510" y="336"/>
                  </a:lnTo>
                  <a:lnTo>
                    <a:pt x="534" y="336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58" y="330"/>
                  </a:lnTo>
                  <a:lnTo>
                    <a:pt x="564" y="330"/>
                  </a:lnTo>
                  <a:lnTo>
                    <a:pt x="570" y="354"/>
                  </a:lnTo>
                  <a:lnTo>
                    <a:pt x="564" y="378"/>
                  </a:lnTo>
                  <a:lnTo>
                    <a:pt x="558" y="396"/>
                  </a:lnTo>
                  <a:lnTo>
                    <a:pt x="546" y="414"/>
                  </a:lnTo>
                  <a:lnTo>
                    <a:pt x="546" y="438"/>
                  </a:lnTo>
                  <a:lnTo>
                    <a:pt x="540" y="456"/>
                  </a:lnTo>
                  <a:lnTo>
                    <a:pt x="540" y="474"/>
                  </a:lnTo>
                  <a:lnTo>
                    <a:pt x="528" y="480"/>
                  </a:lnTo>
                  <a:lnTo>
                    <a:pt x="522" y="492"/>
                  </a:lnTo>
                  <a:lnTo>
                    <a:pt x="504" y="498"/>
                  </a:lnTo>
                  <a:lnTo>
                    <a:pt x="498" y="498"/>
                  </a:lnTo>
                  <a:lnTo>
                    <a:pt x="492" y="504"/>
                  </a:lnTo>
                  <a:lnTo>
                    <a:pt x="486" y="510"/>
                  </a:lnTo>
                  <a:lnTo>
                    <a:pt x="480" y="510"/>
                  </a:lnTo>
                  <a:lnTo>
                    <a:pt x="480" y="516"/>
                  </a:lnTo>
                  <a:lnTo>
                    <a:pt x="474" y="522"/>
                  </a:lnTo>
                  <a:lnTo>
                    <a:pt x="474" y="528"/>
                  </a:lnTo>
                  <a:lnTo>
                    <a:pt x="474" y="534"/>
                  </a:lnTo>
                  <a:lnTo>
                    <a:pt x="480" y="540"/>
                  </a:lnTo>
                  <a:lnTo>
                    <a:pt x="492" y="540"/>
                  </a:lnTo>
                  <a:lnTo>
                    <a:pt x="498" y="546"/>
                  </a:lnTo>
                  <a:lnTo>
                    <a:pt x="504" y="552"/>
                  </a:lnTo>
                  <a:lnTo>
                    <a:pt x="510" y="552"/>
                  </a:lnTo>
                  <a:lnTo>
                    <a:pt x="516" y="558"/>
                  </a:lnTo>
                  <a:lnTo>
                    <a:pt x="528" y="558"/>
                  </a:lnTo>
                  <a:lnTo>
                    <a:pt x="534" y="552"/>
                  </a:lnTo>
                  <a:lnTo>
                    <a:pt x="540" y="552"/>
                  </a:lnTo>
                  <a:lnTo>
                    <a:pt x="546" y="552"/>
                  </a:lnTo>
                  <a:lnTo>
                    <a:pt x="558" y="546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70" y="546"/>
                  </a:lnTo>
                  <a:lnTo>
                    <a:pt x="570" y="540"/>
                  </a:lnTo>
                  <a:lnTo>
                    <a:pt x="570" y="546"/>
                  </a:lnTo>
                  <a:lnTo>
                    <a:pt x="576" y="546"/>
                  </a:lnTo>
                  <a:lnTo>
                    <a:pt x="582" y="546"/>
                  </a:lnTo>
                  <a:lnTo>
                    <a:pt x="588" y="540"/>
                  </a:lnTo>
                  <a:lnTo>
                    <a:pt x="594" y="546"/>
                  </a:lnTo>
                  <a:lnTo>
                    <a:pt x="606" y="546"/>
                  </a:lnTo>
                  <a:lnTo>
                    <a:pt x="612" y="546"/>
                  </a:lnTo>
                  <a:lnTo>
                    <a:pt x="612" y="552"/>
                  </a:lnTo>
                  <a:lnTo>
                    <a:pt x="618" y="552"/>
                  </a:lnTo>
                  <a:lnTo>
                    <a:pt x="624" y="552"/>
                  </a:lnTo>
                  <a:lnTo>
                    <a:pt x="630" y="552"/>
                  </a:lnTo>
                  <a:lnTo>
                    <a:pt x="648" y="546"/>
                  </a:lnTo>
                  <a:lnTo>
                    <a:pt x="654" y="546"/>
                  </a:lnTo>
                  <a:lnTo>
                    <a:pt x="654" y="552"/>
                  </a:lnTo>
                  <a:lnTo>
                    <a:pt x="660" y="558"/>
                  </a:lnTo>
                  <a:lnTo>
                    <a:pt x="666" y="564"/>
                  </a:lnTo>
                  <a:lnTo>
                    <a:pt x="672" y="564"/>
                  </a:lnTo>
                  <a:lnTo>
                    <a:pt x="678" y="564"/>
                  </a:lnTo>
                  <a:lnTo>
                    <a:pt x="696" y="576"/>
                  </a:lnTo>
                  <a:lnTo>
                    <a:pt x="696" y="582"/>
                  </a:lnTo>
                  <a:lnTo>
                    <a:pt x="708" y="588"/>
                  </a:lnTo>
                  <a:lnTo>
                    <a:pt x="708" y="594"/>
                  </a:lnTo>
                  <a:lnTo>
                    <a:pt x="720" y="606"/>
                  </a:lnTo>
                  <a:lnTo>
                    <a:pt x="720" y="618"/>
                  </a:lnTo>
                  <a:lnTo>
                    <a:pt x="720" y="624"/>
                  </a:lnTo>
                  <a:lnTo>
                    <a:pt x="726" y="630"/>
                  </a:lnTo>
                  <a:lnTo>
                    <a:pt x="732" y="636"/>
                  </a:lnTo>
                  <a:lnTo>
                    <a:pt x="732" y="642"/>
                  </a:lnTo>
                  <a:lnTo>
                    <a:pt x="732" y="648"/>
                  </a:lnTo>
                  <a:lnTo>
                    <a:pt x="726" y="654"/>
                  </a:lnTo>
                  <a:lnTo>
                    <a:pt x="720" y="660"/>
                  </a:lnTo>
                  <a:lnTo>
                    <a:pt x="714" y="666"/>
                  </a:lnTo>
                  <a:lnTo>
                    <a:pt x="714" y="672"/>
                  </a:lnTo>
                  <a:lnTo>
                    <a:pt x="714" y="678"/>
                  </a:lnTo>
                  <a:lnTo>
                    <a:pt x="720" y="678"/>
                  </a:lnTo>
                  <a:lnTo>
                    <a:pt x="720" y="684"/>
                  </a:lnTo>
                  <a:lnTo>
                    <a:pt x="714" y="690"/>
                  </a:lnTo>
                  <a:lnTo>
                    <a:pt x="714" y="696"/>
                  </a:lnTo>
                  <a:lnTo>
                    <a:pt x="714" y="702"/>
                  </a:lnTo>
                  <a:lnTo>
                    <a:pt x="714" y="708"/>
                  </a:lnTo>
                  <a:lnTo>
                    <a:pt x="720" y="708"/>
                  </a:lnTo>
                  <a:lnTo>
                    <a:pt x="720" y="720"/>
                  </a:lnTo>
                  <a:lnTo>
                    <a:pt x="720" y="726"/>
                  </a:lnTo>
                  <a:lnTo>
                    <a:pt x="726" y="726"/>
                  </a:lnTo>
                  <a:lnTo>
                    <a:pt x="726" y="732"/>
                  </a:lnTo>
                  <a:lnTo>
                    <a:pt x="732" y="732"/>
                  </a:lnTo>
                  <a:lnTo>
                    <a:pt x="732" y="738"/>
                  </a:lnTo>
                  <a:lnTo>
                    <a:pt x="726" y="738"/>
                  </a:lnTo>
                  <a:lnTo>
                    <a:pt x="720" y="738"/>
                  </a:lnTo>
                  <a:lnTo>
                    <a:pt x="720" y="744"/>
                  </a:lnTo>
                  <a:lnTo>
                    <a:pt x="720" y="750"/>
                  </a:lnTo>
                  <a:lnTo>
                    <a:pt x="714" y="750"/>
                  </a:lnTo>
                  <a:lnTo>
                    <a:pt x="714" y="756"/>
                  </a:lnTo>
                  <a:lnTo>
                    <a:pt x="720" y="756"/>
                  </a:lnTo>
                  <a:lnTo>
                    <a:pt x="714" y="762"/>
                  </a:lnTo>
                  <a:lnTo>
                    <a:pt x="720" y="762"/>
                  </a:lnTo>
                  <a:lnTo>
                    <a:pt x="726" y="768"/>
                  </a:lnTo>
                  <a:lnTo>
                    <a:pt x="726" y="774"/>
                  </a:lnTo>
                  <a:lnTo>
                    <a:pt x="732" y="774"/>
                  </a:lnTo>
                  <a:lnTo>
                    <a:pt x="732" y="780"/>
                  </a:lnTo>
                  <a:lnTo>
                    <a:pt x="726" y="780"/>
                  </a:lnTo>
                  <a:lnTo>
                    <a:pt x="726" y="786"/>
                  </a:lnTo>
                  <a:lnTo>
                    <a:pt x="720" y="786"/>
                  </a:lnTo>
                  <a:lnTo>
                    <a:pt x="726" y="786"/>
                  </a:lnTo>
                  <a:lnTo>
                    <a:pt x="732" y="780"/>
                  </a:lnTo>
                  <a:lnTo>
                    <a:pt x="738" y="780"/>
                  </a:lnTo>
                  <a:lnTo>
                    <a:pt x="744" y="780"/>
                  </a:lnTo>
                  <a:lnTo>
                    <a:pt x="744" y="786"/>
                  </a:lnTo>
                  <a:lnTo>
                    <a:pt x="750" y="786"/>
                  </a:lnTo>
                  <a:lnTo>
                    <a:pt x="744" y="786"/>
                  </a:lnTo>
                  <a:lnTo>
                    <a:pt x="744" y="792"/>
                  </a:lnTo>
                  <a:lnTo>
                    <a:pt x="744" y="786"/>
                  </a:lnTo>
                  <a:lnTo>
                    <a:pt x="738" y="792"/>
                  </a:lnTo>
                  <a:lnTo>
                    <a:pt x="744" y="792"/>
                  </a:lnTo>
                  <a:lnTo>
                    <a:pt x="750" y="792"/>
                  </a:lnTo>
                  <a:lnTo>
                    <a:pt x="750" y="786"/>
                  </a:lnTo>
                  <a:lnTo>
                    <a:pt x="756" y="786"/>
                  </a:lnTo>
                  <a:lnTo>
                    <a:pt x="756" y="792"/>
                  </a:lnTo>
                  <a:lnTo>
                    <a:pt x="762" y="792"/>
                  </a:lnTo>
                  <a:lnTo>
                    <a:pt x="756" y="798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0" y="810"/>
                  </a:lnTo>
                  <a:lnTo>
                    <a:pt x="756" y="810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6" y="816"/>
                  </a:lnTo>
                  <a:lnTo>
                    <a:pt x="750" y="816"/>
                  </a:lnTo>
                  <a:lnTo>
                    <a:pt x="738" y="810"/>
                  </a:lnTo>
                  <a:lnTo>
                    <a:pt x="732" y="810"/>
                  </a:lnTo>
                  <a:lnTo>
                    <a:pt x="732" y="816"/>
                  </a:lnTo>
                  <a:lnTo>
                    <a:pt x="726" y="810"/>
                  </a:lnTo>
                  <a:lnTo>
                    <a:pt x="714" y="816"/>
                  </a:lnTo>
                  <a:lnTo>
                    <a:pt x="708" y="816"/>
                  </a:lnTo>
                  <a:lnTo>
                    <a:pt x="702" y="816"/>
                  </a:lnTo>
                  <a:lnTo>
                    <a:pt x="696" y="816"/>
                  </a:lnTo>
                  <a:lnTo>
                    <a:pt x="690" y="822"/>
                  </a:lnTo>
                  <a:lnTo>
                    <a:pt x="684" y="822"/>
                  </a:lnTo>
                  <a:lnTo>
                    <a:pt x="678" y="822"/>
                  </a:lnTo>
                  <a:lnTo>
                    <a:pt x="672" y="822"/>
                  </a:lnTo>
                  <a:lnTo>
                    <a:pt x="666" y="822"/>
                  </a:lnTo>
                  <a:lnTo>
                    <a:pt x="666" y="828"/>
                  </a:lnTo>
                  <a:lnTo>
                    <a:pt x="654" y="828"/>
                  </a:lnTo>
                  <a:lnTo>
                    <a:pt x="648" y="828"/>
                  </a:lnTo>
                  <a:lnTo>
                    <a:pt x="642" y="828"/>
                  </a:lnTo>
                  <a:lnTo>
                    <a:pt x="630" y="828"/>
                  </a:lnTo>
                  <a:lnTo>
                    <a:pt x="624" y="822"/>
                  </a:lnTo>
                  <a:lnTo>
                    <a:pt x="618" y="822"/>
                  </a:lnTo>
                  <a:lnTo>
                    <a:pt x="612" y="822"/>
                  </a:lnTo>
                  <a:lnTo>
                    <a:pt x="606" y="822"/>
                  </a:lnTo>
                  <a:lnTo>
                    <a:pt x="600" y="822"/>
                  </a:lnTo>
                  <a:lnTo>
                    <a:pt x="594" y="822"/>
                  </a:lnTo>
                  <a:lnTo>
                    <a:pt x="594" y="816"/>
                  </a:lnTo>
                  <a:lnTo>
                    <a:pt x="594" y="810"/>
                  </a:lnTo>
                  <a:lnTo>
                    <a:pt x="600" y="804"/>
                  </a:lnTo>
                  <a:lnTo>
                    <a:pt x="600" y="798"/>
                  </a:lnTo>
                  <a:lnTo>
                    <a:pt x="600" y="792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2" y="786"/>
                  </a:lnTo>
                  <a:lnTo>
                    <a:pt x="618" y="786"/>
                  </a:lnTo>
                  <a:lnTo>
                    <a:pt x="624" y="786"/>
                  </a:lnTo>
                  <a:lnTo>
                    <a:pt x="624" y="780"/>
                  </a:lnTo>
                  <a:lnTo>
                    <a:pt x="630" y="780"/>
                  </a:lnTo>
                  <a:lnTo>
                    <a:pt x="630" y="774"/>
                  </a:lnTo>
                  <a:lnTo>
                    <a:pt x="636" y="774"/>
                  </a:lnTo>
                  <a:lnTo>
                    <a:pt x="642" y="780"/>
                  </a:lnTo>
                  <a:lnTo>
                    <a:pt x="642" y="786"/>
                  </a:lnTo>
                  <a:lnTo>
                    <a:pt x="642" y="792"/>
                  </a:lnTo>
                  <a:lnTo>
                    <a:pt x="648" y="792"/>
                  </a:lnTo>
                  <a:lnTo>
                    <a:pt x="648" y="786"/>
                  </a:lnTo>
                  <a:lnTo>
                    <a:pt x="642" y="786"/>
                  </a:lnTo>
                  <a:lnTo>
                    <a:pt x="642" y="780"/>
                  </a:lnTo>
                  <a:lnTo>
                    <a:pt x="642" y="774"/>
                  </a:lnTo>
                  <a:lnTo>
                    <a:pt x="648" y="768"/>
                  </a:lnTo>
                  <a:lnTo>
                    <a:pt x="642" y="768"/>
                  </a:lnTo>
                  <a:lnTo>
                    <a:pt x="648" y="768"/>
                  </a:lnTo>
                  <a:lnTo>
                    <a:pt x="648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66" y="762"/>
                  </a:lnTo>
                  <a:lnTo>
                    <a:pt x="672" y="756"/>
                  </a:lnTo>
                  <a:lnTo>
                    <a:pt x="666" y="756"/>
                  </a:lnTo>
                  <a:lnTo>
                    <a:pt x="660" y="756"/>
                  </a:lnTo>
                  <a:lnTo>
                    <a:pt x="660" y="750"/>
                  </a:lnTo>
                  <a:lnTo>
                    <a:pt x="654" y="750"/>
                  </a:lnTo>
                  <a:lnTo>
                    <a:pt x="648" y="750"/>
                  </a:lnTo>
                  <a:lnTo>
                    <a:pt x="648" y="756"/>
                  </a:lnTo>
                  <a:lnTo>
                    <a:pt x="642" y="756"/>
                  </a:lnTo>
                  <a:lnTo>
                    <a:pt x="642" y="750"/>
                  </a:lnTo>
                  <a:lnTo>
                    <a:pt x="642" y="744"/>
                  </a:lnTo>
                  <a:lnTo>
                    <a:pt x="642" y="750"/>
                  </a:lnTo>
                  <a:lnTo>
                    <a:pt x="636" y="750"/>
                  </a:lnTo>
                  <a:lnTo>
                    <a:pt x="636" y="744"/>
                  </a:lnTo>
                  <a:lnTo>
                    <a:pt x="630" y="744"/>
                  </a:lnTo>
                  <a:lnTo>
                    <a:pt x="630" y="738"/>
                  </a:lnTo>
                  <a:lnTo>
                    <a:pt x="630" y="744"/>
                  </a:lnTo>
                  <a:lnTo>
                    <a:pt x="630" y="750"/>
                  </a:lnTo>
                  <a:lnTo>
                    <a:pt x="636" y="750"/>
                  </a:lnTo>
                  <a:lnTo>
                    <a:pt x="636" y="756"/>
                  </a:lnTo>
                  <a:lnTo>
                    <a:pt x="630" y="756"/>
                  </a:lnTo>
                  <a:lnTo>
                    <a:pt x="636" y="762"/>
                  </a:lnTo>
                  <a:lnTo>
                    <a:pt x="630" y="762"/>
                  </a:lnTo>
                  <a:lnTo>
                    <a:pt x="624" y="762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24" y="786"/>
                  </a:lnTo>
                  <a:lnTo>
                    <a:pt x="618" y="786"/>
                  </a:lnTo>
                  <a:lnTo>
                    <a:pt x="618" y="78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12" y="774"/>
                  </a:lnTo>
                  <a:lnTo>
                    <a:pt x="612" y="780"/>
                  </a:lnTo>
                  <a:lnTo>
                    <a:pt x="606" y="780"/>
                  </a:lnTo>
                  <a:lnTo>
                    <a:pt x="600" y="780"/>
                  </a:lnTo>
                  <a:lnTo>
                    <a:pt x="600" y="774"/>
                  </a:lnTo>
                  <a:lnTo>
                    <a:pt x="594" y="768"/>
                  </a:lnTo>
                  <a:lnTo>
                    <a:pt x="594" y="762"/>
                  </a:lnTo>
                  <a:lnTo>
                    <a:pt x="594" y="756"/>
                  </a:lnTo>
                  <a:lnTo>
                    <a:pt x="594" y="762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594" y="780"/>
                  </a:lnTo>
                  <a:lnTo>
                    <a:pt x="588" y="780"/>
                  </a:lnTo>
                  <a:lnTo>
                    <a:pt x="582" y="780"/>
                  </a:lnTo>
                  <a:lnTo>
                    <a:pt x="576" y="780"/>
                  </a:lnTo>
                  <a:lnTo>
                    <a:pt x="570" y="780"/>
                  </a:lnTo>
                  <a:lnTo>
                    <a:pt x="564" y="780"/>
                  </a:lnTo>
                  <a:lnTo>
                    <a:pt x="564" y="786"/>
                  </a:lnTo>
                  <a:lnTo>
                    <a:pt x="558" y="786"/>
                  </a:lnTo>
                  <a:lnTo>
                    <a:pt x="552" y="786"/>
                  </a:lnTo>
                  <a:lnTo>
                    <a:pt x="552" y="780"/>
                  </a:lnTo>
                  <a:lnTo>
                    <a:pt x="552" y="774"/>
                  </a:lnTo>
                  <a:lnTo>
                    <a:pt x="552" y="768"/>
                  </a:lnTo>
                  <a:lnTo>
                    <a:pt x="546" y="768"/>
                  </a:lnTo>
                  <a:lnTo>
                    <a:pt x="540" y="762"/>
                  </a:lnTo>
                  <a:lnTo>
                    <a:pt x="540" y="756"/>
                  </a:lnTo>
                  <a:lnTo>
                    <a:pt x="534" y="756"/>
                  </a:lnTo>
                  <a:lnTo>
                    <a:pt x="534" y="750"/>
                  </a:lnTo>
                  <a:lnTo>
                    <a:pt x="534" y="744"/>
                  </a:lnTo>
                  <a:lnTo>
                    <a:pt x="528" y="738"/>
                  </a:lnTo>
                  <a:lnTo>
                    <a:pt x="522" y="738"/>
                  </a:lnTo>
                  <a:lnTo>
                    <a:pt x="522" y="732"/>
                  </a:lnTo>
                  <a:lnTo>
                    <a:pt x="510" y="726"/>
                  </a:lnTo>
                  <a:lnTo>
                    <a:pt x="510" y="720"/>
                  </a:lnTo>
                  <a:lnTo>
                    <a:pt x="504" y="720"/>
                  </a:lnTo>
                  <a:lnTo>
                    <a:pt x="504" y="714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8" y="702"/>
                  </a:lnTo>
                  <a:lnTo>
                    <a:pt x="498" y="696"/>
                  </a:lnTo>
                  <a:lnTo>
                    <a:pt x="492" y="690"/>
                  </a:lnTo>
                  <a:lnTo>
                    <a:pt x="492" y="684"/>
                  </a:lnTo>
                  <a:lnTo>
                    <a:pt x="486" y="684"/>
                  </a:lnTo>
                  <a:lnTo>
                    <a:pt x="486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74" y="678"/>
                  </a:lnTo>
                  <a:lnTo>
                    <a:pt x="468" y="678"/>
                  </a:lnTo>
                  <a:lnTo>
                    <a:pt x="462" y="678"/>
                  </a:lnTo>
                  <a:lnTo>
                    <a:pt x="462" y="672"/>
                  </a:lnTo>
                  <a:lnTo>
                    <a:pt x="456" y="672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44" y="666"/>
                  </a:lnTo>
                  <a:lnTo>
                    <a:pt x="438" y="660"/>
                  </a:lnTo>
                  <a:lnTo>
                    <a:pt x="438" y="648"/>
                  </a:lnTo>
                  <a:lnTo>
                    <a:pt x="438" y="642"/>
                  </a:lnTo>
                  <a:lnTo>
                    <a:pt x="438" y="636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36"/>
                  </a:lnTo>
                  <a:lnTo>
                    <a:pt x="420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60"/>
                  </a:lnTo>
                  <a:lnTo>
                    <a:pt x="432" y="666"/>
                  </a:lnTo>
                  <a:lnTo>
                    <a:pt x="438" y="666"/>
                  </a:lnTo>
                  <a:lnTo>
                    <a:pt x="438" y="672"/>
                  </a:lnTo>
                  <a:lnTo>
                    <a:pt x="444" y="672"/>
                  </a:lnTo>
                  <a:lnTo>
                    <a:pt x="444" y="678"/>
                  </a:lnTo>
                  <a:lnTo>
                    <a:pt x="450" y="678"/>
                  </a:lnTo>
                  <a:lnTo>
                    <a:pt x="456" y="678"/>
                  </a:lnTo>
                  <a:lnTo>
                    <a:pt x="456" y="684"/>
                  </a:lnTo>
                  <a:lnTo>
                    <a:pt x="462" y="684"/>
                  </a:lnTo>
                  <a:lnTo>
                    <a:pt x="468" y="684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80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86" y="708"/>
                  </a:lnTo>
                  <a:lnTo>
                    <a:pt x="492" y="714"/>
                  </a:lnTo>
                  <a:lnTo>
                    <a:pt x="492" y="720"/>
                  </a:lnTo>
                  <a:lnTo>
                    <a:pt x="492" y="726"/>
                  </a:lnTo>
                  <a:lnTo>
                    <a:pt x="498" y="732"/>
                  </a:lnTo>
                  <a:lnTo>
                    <a:pt x="492" y="738"/>
                  </a:lnTo>
                  <a:lnTo>
                    <a:pt x="492" y="744"/>
                  </a:lnTo>
                  <a:lnTo>
                    <a:pt x="492" y="750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68" y="738"/>
                  </a:lnTo>
                  <a:lnTo>
                    <a:pt x="468" y="744"/>
                  </a:lnTo>
                  <a:lnTo>
                    <a:pt x="474" y="750"/>
                  </a:lnTo>
                  <a:lnTo>
                    <a:pt x="480" y="756"/>
                  </a:lnTo>
                  <a:lnTo>
                    <a:pt x="486" y="756"/>
                  </a:lnTo>
                  <a:lnTo>
                    <a:pt x="492" y="762"/>
                  </a:lnTo>
                  <a:lnTo>
                    <a:pt x="498" y="768"/>
                  </a:lnTo>
                  <a:lnTo>
                    <a:pt x="492" y="774"/>
                  </a:lnTo>
                  <a:lnTo>
                    <a:pt x="492" y="780"/>
                  </a:lnTo>
                  <a:lnTo>
                    <a:pt x="498" y="780"/>
                  </a:lnTo>
                  <a:lnTo>
                    <a:pt x="492" y="786"/>
                  </a:lnTo>
                  <a:lnTo>
                    <a:pt x="492" y="792"/>
                  </a:lnTo>
                  <a:lnTo>
                    <a:pt x="492" y="79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0" y="810"/>
                  </a:lnTo>
                  <a:lnTo>
                    <a:pt x="480" y="804"/>
                  </a:lnTo>
                  <a:lnTo>
                    <a:pt x="474" y="804"/>
                  </a:lnTo>
                  <a:lnTo>
                    <a:pt x="474" y="798"/>
                  </a:lnTo>
                  <a:lnTo>
                    <a:pt x="474" y="804"/>
                  </a:lnTo>
                  <a:lnTo>
                    <a:pt x="468" y="804"/>
                  </a:lnTo>
                  <a:lnTo>
                    <a:pt x="468" y="810"/>
                  </a:lnTo>
                  <a:lnTo>
                    <a:pt x="462" y="810"/>
                  </a:lnTo>
                  <a:lnTo>
                    <a:pt x="456" y="810"/>
                  </a:lnTo>
                  <a:lnTo>
                    <a:pt x="450" y="810"/>
                  </a:lnTo>
                  <a:lnTo>
                    <a:pt x="450" y="816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50" y="822"/>
                  </a:lnTo>
                  <a:lnTo>
                    <a:pt x="450" y="816"/>
                  </a:lnTo>
                  <a:lnTo>
                    <a:pt x="444" y="816"/>
                  </a:lnTo>
                  <a:lnTo>
                    <a:pt x="438" y="810"/>
                  </a:lnTo>
                  <a:lnTo>
                    <a:pt x="432" y="810"/>
                  </a:lnTo>
                  <a:lnTo>
                    <a:pt x="426" y="804"/>
                  </a:lnTo>
                  <a:lnTo>
                    <a:pt x="426" y="798"/>
                  </a:lnTo>
                  <a:lnTo>
                    <a:pt x="420" y="798"/>
                  </a:lnTo>
                  <a:lnTo>
                    <a:pt x="426" y="798"/>
                  </a:lnTo>
                  <a:lnTo>
                    <a:pt x="426" y="792"/>
                  </a:lnTo>
                  <a:lnTo>
                    <a:pt x="426" y="786"/>
                  </a:lnTo>
                  <a:lnTo>
                    <a:pt x="432" y="786"/>
                  </a:lnTo>
                  <a:lnTo>
                    <a:pt x="432" y="780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0" y="756"/>
                  </a:lnTo>
                  <a:lnTo>
                    <a:pt x="420" y="750"/>
                  </a:lnTo>
                  <a:lnTo>
                    <a:pt x="414" y="750"/>
                  </a:lnTo>
                  <a:lnTo>
                    <a:pt x="420" y="750"/>
                  </a:lnTo>
                  <a:lnTo>
                    <a:pt x="420" y="744"/>
                  </a:lnTo>
                  <a:lnTo>
                    <a:pt x="414" y="744"/>
                  </a:lnTo>
                  <a:lnTo>
                    <a:pt x="414" y="738"/>
                  </a:lnTo>
                  <a:lnTo>
                    <a:pt x="414" y="732"/>
                  </a:lnTo>
                  <a:lnTo>
                    <a:pt x="408" y="732"/>
                  </a:lnTo>
                  <a:lnTo>
                    <a:pt x="408" y="726"/>
                  </a:lnTo>
                  <a:lnTo>
                    <a:pt x="402" y="726"/>
                  </a:lnTo>
                  <a:lnTo>
                    <a:pt x="396" y="726"/>
                  </a:lnTo>
                  <a:lnTo>
                    <a:pt x="390" y="726"/>
                  </a:lnTo>
                  <a:lnTo>
                    <a:pt x="390" y="720"/>
                  </a:lnTo>
                  <a:lnTo>
                    <a:pt x="390" y="714"/>
                  </a:lnTo>
                  <a:lnTo>
                    <a:pt x="384" y="708"/>
                  </a:lnTo>
                  <a:lnTo>
                    <a:pt x="384" y="702"/>
                  </a:lnTo>
                  <a:lnTo>
                    <a:pt x="378" y="702"/>
                  </a:lnTo>
                  <a:lnTo>
                    <a:pt x="378" y="696"/>
                  </a:lnTo>
                  <a:lnTo>
                    <a:pt x="378" y="690"/>
                  </a:lnTo>
                  <a:lnTo>
                    <a:pt x="372" y="684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66" y="666"/>
                  </a:lnTo>
                  <a:lnTo>
                    <a:pt x="366" y="660"/>
                  </a:lnTo>
                  <a:lnTo>
                    <a:pt x="366" y="654"/>
                  </a:lnTo>
                  <a:lnTo>
                    <a:pt x="360" y="648"/>
                  </a:lnTo>
                  <a:lnTo>
                    <a:pt x="360" y="654"/>
                  </a:lnTo>
                  <a:lnTo>
                    <a:pt x="360" y="660"/>
                  </a:lnTo>
                  <a:lnTo>
                    <a:pt x="360" y="666"/>
                  </a:lnTo>
                  <a:lnTo>
                    <a:pt x="360" y="672"/>
                  </a:lnTo>
                  <a:lnTo>
                    <a:pt x="360" y="678"/>
                  </a:lnTo>
                  <a:lnTo>
                    <a:pt x="366" y="678"/>
                  </a:lnTo>
                  <a:lnTo>
                    <a:pt x="366" y="684"/>
                  </a:lnTo>
                  <a:lnTo>
                    <a:pt x="366" y="690"/>
                  </a:lnTo>
                  <a:lnTo>
                    <a:pt x="372" y="696"/>
                  </a:lnTo>
                  <a:lnTo>
                    <a:pt x="372" y="702"/>
                  </a:lnTo>
                  <a:lnTo>
                    <a:pt x="372" y="708"/>
                  </a:lnTo>
                  <a:lnTo>
                    <a:pt x="372" y="714"/>
                  </a:lnTo>
                  <a:lnTo>
                    <a:pt x="366" y="714"/>
                  </a:lnTo>
                  <a:lnTo>
                    <a:pt x="360" y="714"/>
                  </a:lnTo>
                  <a:lnTo>
                    <a:pt x="354" y="714"/>
                  </a:lnTo>
                  <a:lnTo>
                    <a:pt x="348" y="714"/>
                  </a:lnTo>
                  <a:lnTo>
                    <a:pt x="348" y="708"/>
                  </a:lnTo>
                  <a:lnTo>
                    <a:pt x="342" y="708"/>
                  </a:lnTo>
                  <a:lnTo>
                    <a:pt x="342" y="702"/>
                  </a:lnTo>
                  <a:lnTo>
                    <a:pt x="342" y="696"/>
                  </a:lnTo>
                  <a:lnTo>
                    <a:pt x="336" y="696"/>
                  </a:lnTo>
                  <a:lnTo>
                    <a:pt x="336" y="690"/>
                  </a:lnTo>
                  <a:lnTo>
                    <a:pt x="336" y="684"/>
                  </a:lnTo>
                  <a:lnTo>
                    <a:pt x="330" y="684"/>
                  </a:lnTo>
                  <a:lnTo>
                    <a:pt x="330" y="678"/>
                  </a:lnTo>
                  <a:lnTo>
                    <a:pt x="324" y="672"/>
                  </a:lnTo>
                  <a:lnTo>
                    <a:pt x="324" y="666"/>
                  </a:lnTo>
                  <a:lnTo>
                    <a:pt x="318" y="666"/>
                  </a:lnTo>
                  <a:lnTo>
                    <a:pt x="318" y="672"/>
                  </a:lnTo>
                  <a:lnTo>
                    <a:pt x="324" y="672"/>
                  </a:lnTo>
                  <a:lnTo>
                    <a:pt x="324" y="678"/>
                  </a:lnTo>
                  <a:lnTo>
                    <a:pt x="324" y="684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30" y="696"/>
                  </a:lnTo>
                  <a:lnTo>
                    <a:pt x="336" y="702"/>
                  </a:lnTo>
                  <a:lnTo>
                    <a:pt x="342" y="708"/>
                  </a:lnTo>
                  <a:lnTo>
                    <a:pt x="342" y="714"/>
                  </a:lnTo>
                  <a:lnTo>
                    <a:pt x="348" y="720"/>
                  </a:lnTo>
                  <a:lnTo>
                    <a:pt x="342" y="720"/>
                  </a:lnTo>
                  <a:lnTo>
                    <a:pt x="336" y="720"/>
                  </a:lnTo>
                  <a:lnTo>
                    <a:pt x="330" y="720"/>
                  </a:lnTo>
                  <a:lnTo>
                    <a:pt x="330" y="726"/>
                  </a:lnTo>
                  <a:lnTo>
                    <a:pt x="336" y="726"/>
                  </a:lnTo>
                  <a:lnTo>
                    <a:pt x="330" y="732"/>
                  </a:lnTo>
                  <a:lnTo>
                    <a:pt x="330" y="738"/>
                  </a:lnTo>
                  <a:lnTo>
                    <a:pt x="330" y="744"/>
                  </a:lnTo>
                  <a:lnTo>
                    <a:pt x="336" y="744"/>
                  </a:lnTo>
                  <a:lnTo>
                    <a:pt x="342" y="744"/>
                  </a:lnTo>
                  <a:lnTo>
                    <a:pt x="348" y="744"/>
                  </a:lnTo>
                  <a:lnTo>
                    <a:pt x="348" y="750"/>
                  </a:lnTo>
                  <a:lnTo>
                    <a:pt x="354" y="750"/>
                  </a:lnTo>
                  <a:lnTo>
                    <a:pt x="360" y="756"/>
                  </a:lnTo>
                  <a:lnTo>
                    <a:pt x="360" y="762"/>
                  </a:lnTo>
                  <a:lnTo>
                    <a:pt x="366" y="762"/>
                  </a:lnTo>
                  <a:lnTo>
                    <a:pt x="366" y="768"/>
                  </a:lnTo>
                  <a:lnTo>
                    <a:pt x="366" y="774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72" y="792"/>
                  </a:lnTo>
                  <a:lnTo>
                    <a:pt x="372" y="798"/>
                  </a:lnTo>
                  <a:lnTo>
                    <a:pt x="372" y="804"/>
                  </a:lnTo>
                  <a:lnTo>
                    <a:pt x="378" y="804"/>
                  </a:lnTo>
                  <a:lnTo>
                    <a:pt x="378" y="810"/>
                  </a:lnTo>
                  <a:lnTo>
                    <a:pt x="378" y="816"/>
                  </a:lnTo>
                  <a:lnTo>
                    <a:pt x="372" y="816"/>
                  </a:lnTo>
                  <a:lnTo>
                    <a:pt x="378" y="816"/>
                  </a:lnTo>
                  <a:lnTo>
                    <a:pt x="378" y="822"/>
                  </a:lnTo>
                  <a:lnTo>
                    <a:pt x="378" y="828"/>
                  </a:lnTo>
                  <a:lnTo>
                    <a:pt x="378" y="834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0" y="864"/>
                  </a:lnTo>
                  <a:lnTo>
                    <a:pt x="384" y="864"/>
                  </a:lnTo>
                  <a:lnTo>
                    <a:pt x="384" y="870"/>
                  </a:lnTo>
                  <a:lnTo>
                    <a:pt x="378" y="864"/>
                  </a:lnTo>
                  <a:lnTo>
                    <a:pt x="372" y="864"/>
                  </a:lnTo>
                  <a:lnTo>
                    <a:pt x="366" y="858"/>
                  </a:lnTo>
                  <a:lnTo>
                    <a:pt x="366" y="852"/>
                  </a:lnTo>
                  <a:lnTo>
                    <a:pt x="360" y="852"/>
                  </a:lnTo>
                  <a:lnTo>
                    <a:pt x="360" y="858"/>
                  </a:lnTo>
                  <a:lnTo>
                    <a:pt x="366" y="858"/>
                  </a:lnTo>
                  <a:lnTo>
                    <a:pt x="366" y="864"/>
                  </a:lnTo>
                  <a:lnTo>
                    <a:pt x="360" y="864"/>
                  </a:lnTo>
                  <a:lnTo>
                    <a:pt x="354" y="864"/>
                  </a:lnTo>
                  <a:lnTo>
                    <a:pt x="354" y="870"/>
                  </a:lnTo>
                  <a:lnTo>
                    <a:pt x="354" y="864"/>
                  </a:lnTo>
                  <a:lnTo>
                    <a:pt x="348" y="864"/>
                  </a:lnTo>
                  <a:lnTo>
                    <a:pt x="342" y="864"/>
                  </a:lnTo>
                  <a:lnTo>
                    <a:pt x="342" y="858"/>
                  </a:lnTo>
                  <a:lnTo>
                    <a:pt x="336" y="858"/>
                  </a:lnTo>
                  <a:lnTo>
                    <a:pt x="330" y="858"/>
                  </a:lnTo>
                  <a:lnTo>
                    <a:pt x="324" y="858"/>
                  </a:lnTo>
                  <a:lnTo>
                    <a:pt x="318" y="858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0" y="852"/>
                  </a:lnTo>
                  <a:lnTo>
                    <a:pt x="294" y="852"/>
                  </a:lnTo>
                  <a:lnTo>
                    <a:pt x="294" y="846"/>
                  </a:lnTo>
                  <a:lnTo>
                    <a:pt x="288" y="840"/>
                  </a:lnTo>
                  <a:lnTo>
                    <a:pt x="288" y="828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2" y="816"/>
                  </a:lnTo>
                  <a:lnTo>
                    <a:pt x="282" y="810"/>
                  </a:lnTo>
                  <a:lnTo>
                    <a:pt x="276" y="810"/>
                  </a:lnTo>
                  <a:lnTo>
                    <a:pt x="276" y="804"/>
                  </a:lnTo>
                  <a:lnTo>
                    <a:pt x="276" y="798"/>
                  </a:lnTo>
                  <a:lnTo>
                    <a:pt x="276" y="792"/>
                  </a:lnTo>
                  <a:lnTo>
                    <a:pt x="270" y="786"/>
                  </a:lnTo>
                  <a:lnTo>
                    <a:pt x="270" y="780"/>
                  </a:lnTo>
                  <a:lnTo>
                    <a:pt x="270" y="774"/>
                  </a:lnTo>
                  <a:lnTo>
                    <a:pt x="264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64" y="750"/>
                  </a:lnTo>
                  <a:lnTo>
                    <a:pt x="264" y="744"/>
                  </a:lnTo>
                  <a:lnTo>
                    <a:pt x="264" y="738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26"/>
                  </a:lnTo>
                  <a:lnTo>
                    <a:pt x="276" y="720"/>
                  </a:lnTo>
                  <a:lnTo>
                    <a:pt x="282" y="720"/>
                  </a:lnTo>
                  <a:lnTo>
                    <a:pt x="282" y="714"/>
                  </a:lnTo>
                  <a:lnTo>
                    <a:pt x="282" y="708"/>
                  </a:lnTo>
                  <a:lnTo>
                    <a:pt x="276" y="708"/>
                  </a:lnTo>
                  <a:lnTo>
                    <a:pt x="276" y="702"/>
                  </a:lnTo>
                  <a:lnTo>
                    <a:pt x="270" y="702"/>
                  </a:lnTo>
                  <a:lnTo>
                    <a:pt x="270" y="696"/>
                  </a:lnTo>
                  <a:lnTo>
                    <a:pt x="264" y="690"/>
                  </a:lnTo>
                  <a:lnTo>
                    <a:pt x="258" y="690"/>
                  </a:lnTo>
                  <a:lnTo>
                    <a:pt x="258" y="684"/>
                  </a:lnTo>
                  <a:lnTo>
                    <a:pt x="252" y="684"/>
                  </a:lnTo>
                  <a:lnTo>
                    <a:pt x="252" y="678"/>
                  </a:lnTo>
                  <a:lnTo>
                    <a:pt x="246" y="678"/>
                  </a:lnTo>
                  <a:lnTo>
                    <a:pt x="240" y="678"/>
                  </a:lnTo>
                  <a:lnTo>
                    <a:pt x="240" y="684"/>
                  </a:lnTo>
                  <a:lnTo>
                    <a:pt x="246" y="684"/>
                  </a:lnTo>
                  <a:lnTo>
                    <a:pt x="252" y="690"/>
                  </a:lnTo>
                  <a:lnTo>
                    <a:pt x="258" y="690"/>
                  </a:lnTo>
                  <a:lnTo>
                    <a:pt x="258" y="696"/>
                  </a:lnTo>
                  <a:lnTo>
                    <a:pt x="258" y="702"/>
                  </a:lnTo>
                  <a:lnTo>
                    <a:pt x="264" y="702"/>
                  </a:lnTo>
                  <a:lnTo>
                    <a:pt x="270" y="708"/>
                  </a:lnTo>
                  <a:lnTo>
                    <a:pt x="270" y="714"/>
                  </a:lnTo>
                  <a:lnTo>
                    <a:pt x="270" y="720"/>
                  </a:lnTo>
                  <a:lnTo>
                    <a:pt x="276" y="720"/>
                  </a:lnTo>
                  <a:lnTo>
                    <a:pt x="270" y="720"/>
                  </a:lnTo>
                  <a:lnTo>
                    <a:pt x="270" y="726"/>
                  </a:lnTo>
                  <a:lnTo>
                    <a:pt x="264" y="726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52" y="738"/>
                  </a:lnTo>
                  <a:lnTo>
                    <a:pt x="252" y="744"/>
                  </a:lnTo>
                  <a:lnTo>
                    <a:pt x="252" y="750"/>
                  </a:lnTo>
                  <a:lnTo>
                    <a:pt x="252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58" y="774"/>
                  </a:lnTo>
                  <a:lnTo>
                    <a:pt x="258" y="780"/>
                  </a:lnTo>
                  <a:lnTo>
                    <a:pt x="264" y="786"/>
                  </a:lnTo>
                  <a:lnTo>
                    <a:pt x="264" y="792"/>
                  </a:lnTo>
                  <a:lnTo>
                    <a:pt x="264" y="798"/>
                  </a:lnTo>
                  <a:lnTo>
                    <a:pt x="270" y="810"/>
                  </a:lnTo>
                  <a:lnTo>
                    <a:pt x="270" y="816"/>
                  </a:lnTo>
                  <a:lnTo>
                    <a:pt x="270" y="822"/>
                  </a:lnTo>
                  <a:lnTo>
                    <a:pt x="276" y="822"/>
                  </a:lnTo>
                  <a:lnTo>
                    <a:pt x="276" y="828"/>
                  </a:lnTo>
                  <a:lnTo>
                    <a:pt x="276" y="834"/>
                  </a:lnTo>
                  <a:lnTo>
                    <a:pt x="276" y="840"/>
                  </a:lnTo>
                  <a:lnTo>
                    <a:pt x="276" y="846"/>
                  </a:lnTo>
                  <a:lnTo>
                    <a:pt x="282" y="852"/>
                  </a:lnTo>
                  <a:lnTo>
                    <a:pt x="282" y="858"/>
                  </a:lnTo>
                  <a:lnTo>
                    <a:pt x="294" y="864"/>
                  </a:lnTo>
                  <a:lnTo>
                    <a:pt x="300" y="870"/>
                  </a:lnTo>
                  <a:lnTo>
                    <a:pt x="300" y="876"/>
                  </a:lnTo>
                  <a:lnTo>
                    <a:pt x="288" y="876"/>
                  </a:lnTo>
                  <a:lnTo>
                    <a:pt x="282" y="876"/>
                  </a:lnTo>
                  <a:lnTo>
                    <a:pt x="276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2" y="882"/>
                  </a:lnTo>
                  <a:lnTo>
                    <a:pt x="246" y="882"/>
                  </a:lnTo>
                  <a:lnTo>
                    <a:pt x="240" y="882"/>
                  </a:lnTo>
                  <a:lnTo>
                    <a:pt x="234" y="882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204" y="876"/>
                  </a:lnTo>
                  <a:lnTo>
                    <a:pt x="198" y="876"/>
                  </a:lnTo>
                  <a:lnTo>
                    <a:pt x="198" y="870"/>
                  </a:lnTo>
                  <a:lnTo>
                    <a:pt x="198" y="852"/>
                  </a:lnTo>
                  <a:lnTo>
                    <a:pt x="198" y="846"/>
                  </a:lnTo>
                  <a:lnTo>
                    <a:pt x="204" y="846"/>
                  </a:lnTo>
                  <a:lnTo>
                    <a:pt x="198" y="840"/>
                  </a:lnTo>
                  <a:lnTo>
                    <a:pt x="198" y="834"/>
                  </a:lnTo>
                  <a:lnTo>
                    <a:pt x="198" y="828"/>
                  </a:lnTo>
                  <a:lnTo>
                    <a:pt x="198" y="822"/>
                  </a:lnTo>
                  <a:lnTo>
                    <a:pt x="198" y="816"/>
                  </a:lnTo>
                  <a:lnTo>
                    <a:pt x="198" y="810"/>
                  </a:lnTo>
                  <a:lnTo>
                    <a:pt x="192" y="810"/>
                  </a:lnTo>
                  <a:lnTo>
                    <a:pt x="192" y="804"/>
                  </a:lnTo>
                  <a:lnTo>
                    <a:pt x="192" y="798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2" y="774"/>
                  </a:lnTo>
                  <a:lnTo>
                    <a:pt x="192" y="768"/>
                  </a:lnTo>
                  <a:lnTo>
                    <a:pt x="198" y="768"/>
                  </a:lnTo>
                  <a:lnTo>
                    <a:pt x="198" y="762"/>
                  </a:lnTo>
                  <a:lnTo>
                    <a:pt x="198" y="756"/>
                  </a:lnTo>
                  <a:lnTo>
                    <a:pt x="204" y="756"/>
                  </a:lnTo>
                  <a:lnTo>
                    <a:pt x="204" y="750"/>
                  </a:lnTo>
                  <a:lnTo>
                    <a:pt x="210" y="744"/>
                  </a:lnTo>
                  <a:lnTo>
                    <a:pt x="210" y="738"/>
                  </a:lnTo>
                  <a:lnTo>
                    <a:pt x="210" y="732"/>
                  </a:lnTo>
                  <a:lnTo>
                    <a:pt x="210" y="726"/>
                  </a:lnTo>
                  <a:lnTo>
                    <a:pt x="210" y="720"/>
                  </a:lnTo>
                  <a:lnTo>
                    <a:pt x="204" y="714"/>
                  </a:lnTo>
                  <a:lnTo>
                    <a:pt x="204" y="720"/>
                  </a:lnTo>
                  <a:lnTo>
                    <a:pt x="204" y="732"/>
                  </a:lnTo>
                  <a:lnTo>
                    <a:pt x="204" y="738"/>
                  </a:lnTo>
                  <a:lnTo>
                    <a:pt x="198" y="738"/>
                  </a:lnTo>
                  <a:lnTo>
                    <a:pt x="198" y="744"/>
                  </a:lnTo>
                  <a:lnTo>
                    <a:pt x="198" y="750"/>
                  </a:lnTo>
                  <a:lnTo>
                    <a:pt x="192" y="756"/>
                  </a:lnTo>
                  <a:lnTo>
                    <a:pt x="186" y="762"/>
                  </a:lnTo>
                  <a:lnTo>
                    <a:pt x="186" y="768"/>
                  </a:lnTo>
                  <a:lnTo>
                    <a:pt x="186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98"/>
                  </a:lnTo>
                  <a:lnTo>
                    <a:pt x="186" y="804"/>
                  </a:lnTo>
                  <a:lnTo>
                    <a:pt x="186" y="810"/>
                  </a:lnTo>
                  <a:lnTo>
                    <a:pt x="192" y="816"/>
                  </a:lnTo>
                  <a:lnTo>
                    <a:pt x="192" y="828"/>
                  </a:lnTo>
                  <a:lnTo>
                    <a:pt x="192" y="834"/>
                  </a:lnTo>
                  <a:lnTo>
                    <a:pt x="186" y="834"/>
                  </a:lnTo>
                  <a:lnTo>
                    <a:pt x="186" y="828"/>
                  </a:lnTo>
                  <a:lnTo>
                    <a:pt x="180" y="822"/>
                  </a:lnTo>
                  <a:lnTo>
                    <a:pt x="180" y="816"/>
                  </a:lnTo>
                  <a:lnTo>
                    <a:pt x="180" y="810"/>
                  </a:lnTo>
                  <a:lnTo>
                    <a:pt x="174" y="810"/>
                  </a:lnTo>
                  <a:lnTo>
                    <a:pt x="174" y="804"/>
                  </a:lnTo>
                  <a:lnTo>
                    <a:pt x="174" y="798"/>
                  </a:lnTo>
                  <a:lnTo>
                    <a:pt x="174" y="792"/>
                  </a:lnTo>
                  <a:lnTo>
                    <a:pt x="168" y="786"/>
                  </a:lnTo>
                  <a:lnTo>
                    <a:pt x="168" y="780"/>
                  </a:lnTo>
                  <a:lnTo>
                    <a:pt x="162" y="780"/>
                  </a:lnTo>
                  <a:lnTo>
                    <a:pt x="168" y="774"/>
                  </a:lnTo>
                  <a:lnTo>
                    <a:pt x="168" y="768"/>
                  </a:lnTo>
                  <a:lnTo>
                    <a:pt x="174" y="768"/>
                  </a:lnTo>
                  <a:lnTo>
                    <a:pt x="168" y="768"/>
                  </a:lnTo>
                  <a:lnTo>
                    <a:pt x="162" y="774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50" y="774"/>
                  </a:lnTo>
                  <a:lnTo>
                    <a:pt x="144" y="774"/>
                  </a:lnTo>
                  <a:lnTo>
                    <a:pt x="144" y="768"/>
                  </a:lnTo>
                  <a:lnTo>
                    <a:pt x="144" y="762"/>
                  </a:lnTo>
                  <a:lnTo>
                    <a:pt x="138" y="756"/>
                  </a:lnTo>
                  <a:lnTo>
                    <a:pt x="132" y="756"/>
                  </a:lnTo>
                  <a:lnTo>
                    <a:pt x="138" y="756"/>
                  </a:lnTo>
                  <a:lnTo>
                    <a:pt x="138" y="762"/>
                  </a:lnTo>
                  <a:lnTo>
                    <a:pt x="138" y="768"/>
                  </a:lnTo>
                  <a:lnTo>
                    <a:pt x="144" y="768"/>
                  </a:lnTo>
                  <a:lnTo>
                    <a:pt x="144" y="774"/>
                  </a:lnTo>
                  <a:lnTo>
                    <a:pt x="150" y="780"/>
                  </a:lnTo>
                  <a:lnTo>
                    <a:pt x="156" y="780"/>
                  </a:lnTo>
                  <a:lnTo>
                    <a:pt x="156" y="786"/>
                  </a:lnTo>
                  <a:lnTo>
                    <a:pt x="162" y="786"/>
                  </a:lnTo>
                  <a:lnTo>
                    <a:pt x="168" y="792"/>
                  </a:lnTo>
                  <a:lnTo>
                    <a:pt x="168" y="798"/>
                  </a:lnTo>
                  <a:lnTo>
                    <a:pt x="168" y="804"/>
                  </a:lnTo>
                  <a:lnTo>
                    <a:pt x="174" y="810"/>
                  </a:lnTo>
                  <a:lnTo>
                    <a:pt x="174" y="816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68" y="828"/>
                  </a:lnTo>
                  <a:lnTo>
                    <a:pt x="168" y="834"/>
                  </a:lnTo>
                  <a:lnTo>
                    <a:pt x="174" y="840"/>
                  </a:lnTo>
                  <a:lnTo>
                    <a:pt x="180" y="840"/>
                  </a:lnTo>
                  <a:lnTo>
                    <a:pt x="180" y="846"/>
                  </a:lnTo>
                  <a:lnTo>
                    <a:pt x="186" y="846"/>
                  </a:lnTo>
                  <a:lnTo>
                    <a:pt x="186" y="852"/>
                  </a:lnTo>
                  <a:lnTo>
                    <a:pt x="186" y="858"/>
                  </a:lnTo>
                  <a:lnTo>
                    <a:pt x="186" y="864"/>
                  </a:lnTo>
                  <a:lnTo>
                    <a:pt x="192" y="864"/>
                  </a:lnTo>
                  <a:lnTo>
                    <a:pt x="192" y="870"/>
                  </a:lnTo>
                  <a:lnTo>
                    <a:pt x="192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6" y="888"/>
                  </a:lnTo>
                  <a:lnTo>
                    <a:pt x="180" y="888"/>
                  </a:lnTo>
                  <a:lnTo>
                    <a:pt x="174" y="888"/>
                  </a:lnTo>
                  <a:lnTo>
                    <a:pt x="168" y="894"/>
                  </a:lnTo>
                  <a:lnTo>
                    <a:pt x="162" y="894"/>
                  </a:lnTo>
                  <a:lnTo>
                    <a:pt x="156" y="894"/>
                  </a:lnTo>
                  <a:lnTo>
                    <a:pt x="150" y="894"/>
                  </a:lnTo>
                  <a:lnTo>
                    <a:pt x="144" y="894"/>
                  </a:lnTo>
                  <a:lnTo>
                    <a:pt x="144" y="900"/>
                  </a:lnTo>
                  <a:lnTo>
                    <a:pt x="138" y="894"/>
                  </a:lnTo>
                  <a:lnTo>
                    <a:pt x="138" y="900"/>
                  </a:lnTo>
                  <a:lnTo>
                    <a:pt x="132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6" y="882"/>
                  </a:lnTo>
                  <a:lnTo>
                    <a:pt x="126" y="876"/>
                  </a:lnTo>
                  <a:lnTo>
                    <a:pt x="120" y="876"/>
                  </a:lnTo>
                  <a:lnTo>
                    <a:pt x="126" y="870"/>
                  </a:lnTo>
                  <a:lnTo>
                    <a:pt x="126" y="864"/>
                  </a:lnTo>
                  <a:lnTo>
                    <a:pt x="126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26" y="828"/>
                  </a:lnTo>
                  <a:lnTo>
                    <a:pt x="126" y="822"/>
                  </a:lnTo>
                  <a:lnTo>
                    <a:pt x="126" y="816"/>
                  </a:lnTo>
                  <a:lnTo>
                    <a:pt x="126" y="810"/>
                  </a:lnTo>
                  <a:lnTo>
                    <a:pt x="126" y="804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20" y="792"/>
                  </a:lnTo>
                  <a:lnTo>
                    <a:pt x="114" y="792"/>
                  </a:lnTo>
                  <a:lnTo>
                    <a:pt x="114" y="786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96" y="780"/>
                  </a:lnTo>
                  <a:lnTo>
                    <a:pt x="96" y="774"/>
                  </a:lnTo>
                  <a:lnTo>
                    <a:pt x="90" y="774"/>
                  </a:lnTo>
                  <a:lnTo>
                    <a:pt x="90" y="768"/>
                  </a:lnTo>
                  <a:close/>
                  <a:moveTo>
                    <a:pt x="96" y="780"/>
                  </a:moveTo>
                  <a:lnTo>
                    <a:pt x="102" y="780"/>
                  </a:lnTo>
                  <a:lnTo>
                    <a:pt x="102" y="786"/>
                  </a:lnTo>
                  <a:lnTo>
                    <a:pt x="108" y="786"/>
                  </a:lnTo>
                  <a:lnTo>
                    <a:pt x="114" y="792"/>
                  </a:lnTo>
                  <a:lnTo>
                    <a:pt x="120" y="798"/>
                  </a:lnTo>
                  <a:lnTo>
                    <a:pt x="120" y="804"/>
                  </a:lnTo>
                  <a:lnTo>
                    <a:pt x="126" y="810"/>
                  </a:lnTo>
                  <a:lnTo>
                    <a:pt x="126" y="816"/>
                  </a:lnTo>
                  <a:lnTo>
                    <a:pt x="126" y="822"/>
                  </a:lnTo>
                  <a:lnTo>
                    <a:pt x="120" y="828"/>
                  </a:lnTo>
                  <a:lnTo>
                    <a:pt x="120" y="840"/>
                  </a:lnTo>
                  <a:lnTo>
                    <a:pt x="120" y="852"/>
                  </a:lnTo>
                  <a:lnTo>
                    <a:pt x="120" y="858"/>
                  </a:lnTo>
                  <a:lnTo>
                    <a:pt x="120" y="864"/>
                  </a:lnTo>
                  <a:lnTo>
                    <a:pt x="120" y="870"/>
                  </a:lnTo>
                  <a:lnTo>
                    <a:pt x="114" y="870"/>
                  </a:lnTo>
                  <a:lnTo>
                    <a:pt x="108" y="870"/>
                  </a:lnTo>
                  <a:lnTo>
                    <a:pt x="108" y="876"/>
                  </a:lnTo>
                  <a:lnTo>
                    <a:pt x="114" y="876"/>
                  </a:lnTo>
                  <a:lnTo>
                    <a:pt x="120" y="876"/>
                  </a:lnTo>
                  <a:lnTo>
                    <a:pt x="120" y="882"/>
                  </a:lnTo>
                  <a:lnTo>
                    <a:pt x="114" y="888"/>
                  </a:lnTo>
                  <a:lnTo>
                    <a:pt x="120" y="888"/>
                  </a:lnTo>
                  <a:lnTo>
                    <a:pt x="120" y="894"/>
                  </a:lnTo>
                  <a:lnTo>
                    <a:pt x="114" y="894"/>
                  </a:lnTo>
                  <a:lnTo>
                    <a:pt x="108" y="894"/>
                  </a:lnTo>
                  <a:lnTo>
                    <a:pt x="96" y="894"/>
                  </a:lnTo>
                  <a:lnTo>
                    <a:pt x="96" y="882"/>
                  </a:lnTo>
                  <a:lnTo>
                    <a:pt x="96" y="876"/>
                  </a:lnTo>
                  <a:lnTo>
                    <a:pt x="84" y="870"/>
                  </a:lnTo>
                  <a:lnTo>
                    <a:pt x="72" y="864"/>
                  </a:lnTo>
                  <a:lnTo>
                    <a:pt x="72" y="852"/>
                  </a:lnTo>
                  <a:lnTo>
                    <a:pt x="72" y="840"/>
                  </a:lnTo>
                  <a:lnTo>
                    <a:pt x="78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90" y="792"/>
                  </a:lnTo>
                  <a:lnTo>
                    <a:pt x="96" y="780"/>
                  </a:lnTo>
                  <a:close/>
                  <a:moveTo>
                    <a:pt x="492" y="810"/>
                  </a:moveTo>
                  <a:lnTo>
                    <a:pt x="498" y="810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510" y="792"/>
                  </a:lnTo>
                  <a:lnTo>
                    <a:pt x="516" y="786"/>
                  </a:lnTo>
                  <a:lnTo>
                    <a:pt x="522" y="780"/>
                  </a:lnTo>
                  <a:lnTo>
                    <a:pt x="522" y="774"/>
                  </a:lnTo>
                  <a:lnTo>
                    <a:pt x="528" y="768"/>
                  </a:lnTo>
                  <a:lnTo>
                    <a:pt x="528" y="762"/>
                  </a:lnTo>
                  <a:lnTo>
                    <a:pt x="534" y="762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46" y="780"/>
                  </a:lnTo>
                  <a:lnTo>
                    <a:pt x="552" y="786"/>
                  </a:lnTo>
                  <a:lnTo>
                    <a:pt x="558" y="786"/>
                  </a:lnTo>
                  <a:lnTo>
                    <a:pt x="564" y="786"/>
                  </a:lnTo>
                  <a:lnTo>
                    <a:pt x="576" y="786"/>
                  </a:lnTo>
                  <a:lnTo>
                    <a:pt x="582" y="786"/>
                  </a:lnTo>
                  <a:lnTo>
                    <a:pt x="588" y="786"/>
                  </a:lnTo>
                  <a:lnTo>
                    <a:pt x="594" y="786"/>
                  </a:lnTo>
                  <a:lnTo>
                    <a:pt x="588" y="792"/>
                  </a:lnTo>
                  <a:lnTo>
                    <a:pt x="588" y="798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82" y="822"/>
                  </a:lnTo>
                  <a:lnTo>
                    <a:pt x="588" y="828"/>
                  </a:lnTo>
                  <a:lnTo>
                    <a:pt x="588" y="834"/>
                  </a:lnTo>
                  <a:lnTo>
                    <a:pt x="582" y="840"/>
                  </a:lnTo>
                  <a:lnTo>
                    <a:pt x="570" y="840"/>
                  </a:lnTo>
                  <a:lnTo>
                    <a:pt x="558" y="846"/>
                  </a:lnTo>
                  <a:lnTo>
                    <a:pt x="552" y="846"/>
                  </a:lnTo>
                  <a:lnTo>
                    <a:pt x="534" y="852"/>
                  </a:lnTo>
                  <a:lnTo>
                    <a:pt x="522" y="858"/>
                  </a:lnTo>
                  <a:lnTo>
                    <a:pt x="510" y="858"/>
                  </a:lnTo>
                  <a:lnTo>
                    <a:pt x="498" y="864"/>
                  </a:lnTo>
                  <a:lnTo>
                    <a:pt x="474" y="864"/>
                  </a:lnTo>
                  <a:lnTo>
                    <a:pt x="468" y="858"/>
                  </a:lnTo>
                  <a:lnTo>
                    <a:pt x="468" y="852"/>
                  </a:lnTo>
                  <a:lnTo>
                    <a:pt x="468" y="846"/>
                  </a:lnTo>
                  <a:lnTo>
                    <a:pt x="474" y="840"/>
                  </a:lnTo>
                  <a:lnTo>
                    <a:pt x="474" y="834"/>
                  </a:lnTo>
                  <a:lnTo>
                    <a:pt x="480" y="828"/>
                  </a:lnTo>
                  <a:lnTo>
                    <a:pt x="492" y="822"/>
                  </a:lnTo>
                  <a:lnTo>
                    <a:pt x="492" y="810"/>
                  </a:lnTo>
                  <a:close/>
                  <a:moveTo>
                    <a:pt x="384" y="720"/>
                  </a:moveTo>
                  <a:lnTo>
                    <a:pt x="384" y="726"/>
                  </a:lnTo>
                  <a:lnTo>
                    <a:pt x="390" y="726"/>
                  </a:lnTo>
                  <a:lnTo>
                    <a:pt x="396" y="726"/>
                  </a:lnTo>
                  <a:lnTo>
                    <a:pt x="402" y="732"/>
                  </a:lnTo>
                  <a:lnTo>
                    <a:pt x="408" y="732"/>
                  </a:lnTo>
                  <a:lnTo>
                    <a:pt x="414" y="732"/>
                  </a:lnTo>
                  <a:lnTo>
                    <a:pt x="414" y="738"/>
                  </a:lnTo>
                  <a:lnTo>
                    <a:pt x="414" y="744"/>
                  </a:lnTo>
                  <a:lnTo>
                    <a:pt x="414" y="750"/>
                  </a:lnTo>
                  <a:lnTo>
                    <a:pt x="414" y="756"/>
                  </a:lnTo>
                  <a:lnTo>
                    <a:pt x="414" y="762"/>
                  </a:lnTo>
                  <a:lnTo>
                    <a:pt x="420" y="768"/>
                  </a:lnTo>
                  <a:lnTo>
                    <a:pt x="420" y="774"/>
                  </a:lnTo>
                  <a:lnTo>
                    <a:pt x="426" y="780"/>
                  </a:lnTo>
                  <a:lnTo>
                    <a:pt x="426" y="786"/>
                  </a:lnTo>
                  <a:lnTo>
                    <a:pt x="420" y="786"/>
                  </a:lnTo>
                  <a:lnTo>
                    <a:pt x="420" y="792"/>
                  </a:lnTo>
                  <a:lnTo>
                    <a:pt x="420" y="798"/>
                  </a:lnTo>
                  <a:lnTo>
                    <a:pt x="420" y="804"/>
                  </a:lnTo>
                  <a:lnTo>
                    <a:pt x="426" y="804"/>
                  </a:lnTo>
                  <a:lnTo>
                    <a:pt x="426" y="810"/>
                  </a:lnTo>
                  <a:lnTo>
                    <a:pt x="426" y="816"/>
                  </a:lnTo>
                  <a:lnTo>
                    <a:pt x="432" y="816"/>
                  </a:lnTo>
                  <a:lnTo>
                    <a:pt x="438" y="816"/>
                  </a:lnTo>
                  <a:lnTo>
                    <a:pt x="438" y="822"/>
                  </a:lnTo>
                  <a:lnTo>
                    <a:pt x="432" y="822"/>
                  </a:lnTo>
                  <a:lnTo>
                    <a:pt x="426" y="828"/>
                  </a:lnTo>
                  <a:lnTo>
                    <a:pt x="420" y="828"/>
                  </a:lnTo>
                  <a:lnTo>
                    <a:pt x="414" y="828"/>
                  </a:lnTo>
                  <a:lnTo>
                    <a:pt x="408" y="828"/>
                  </a:lnTo>
                  <a:lnTo>
                    <a:pt x="402" y="828"/>
                  </a:lnTo>
                  <a:lnTo>
                    <a:pt x="402" y="822"/>
                  </a:lnTo>
                  <a:lnTo>
                    <a:pt x="396" y="822"/>
                  </a:lnTo>
                  <a:lnTo>
                    <a:pt x="402" y="822"/>
                  </a:lnTo>
                  <a:lnTo>
                    <a:pt x="402" y="816"/>
                  </a:lnTo>
                  <a:lnTo>
                    <a:pt x="396" y="816"/>
                  </a:lnTo>
                  <a:lnTo>
                    <a:pt x="396" y="810"/>
                  </a:lnTo>
                  <a:lnTo>
                    <a:pt x="396" y="804"/>
                  </a:lnTo>
                  <a:lnTo>
                    <a:pt x="390" y="798"/>
                  </a:lnTo>
                  <a:lnTo>
                    <a:pt x="390" y="792"/>
                  </a:lnTo>
                  <a:lnTo>
                    <a:pt x="390" y="786"/>
                  </a:lnTo>
                  <a:lnTo>
                    <a:pt x="390" y="780"/>
                  </a:lnTo>
                  <a:lnTo>
                    <a:pt x="390" y="774"/>
                  </a:lnTo>
                  <a:lnTo>
                    <a:pt x="390" y="768"/>
                  </a:lnTo>
                  <a:lnTo>
                    <a:pt x="390" y="762"/>
                  </a:lnTo>
                  <a:lnTo>
                    <a:pt x="384" y="756"/>
                  </a:lnTo>
                  <a:lnTo>
                    <a:pt x="384" y="750"/>
                  </a:lnTo>
                  <a:lnTo>
                    <a:pt x="384" y="744"/>
                  </a:lnTo>
                  <a:lnTo>
                    <a:pt x="378" y="744"/>
                  </a:lnTo>
                  <a:lnTo>
                    <a:pt x="384" y="744"/>
                  </a:lnTo>
                  <a:lnTo>
                    <a:pt x="384" y="738"/>
                  </a:lnTo>
                  <a:lnTo>
                    <a:pt x="378" y="738"/>
                  </a:lnTo>
                  <a:lnTo>
                    <a:pt x="378" y="732"/>
                  </a:lnTo>
                  <a:lnTo>
                    <a:pt x="378" y="726"/>
                  </a:lnTo>
                  <a:lnTo>
                    <a:pt x="378" y="720"/>
                  </a:lnTo>
                  <a:lnTo>
                    <a:pt x="384" y="720"/>
                  </a:lnTo>
                  <a:close/>
                  <a:moveTo>
                    <a:pt x="330" y="738"/>
                  </a:moveTo>
                  <a:lnTo>
                    <a:pt x="336" y="732"/>
                  </a:lnTo>
                  <a:lnTo>
                    <a:pt x="336" y="726"/>
                  </a:lnTo>
                  <a:lnTo>
                    <a:pt x="342" y="720"/>
                  </a:lnTo>
                  <a:lnTo>
                    <a:pt x="348" y="720"/>
                  </a:lnTo>
                  <a:lnTo>
                    <a:pt x="360" y="720"/>
                  </a:lnTo>
                  <a:lnTo>
                    <a:pt x="366" y="726"/>
                  </a:lnTo>
                  <a:lnTo>
                    <a:pt x="372" y="732"/>
                  </a:lnTo>
                  <a:lnTo>
                    <a:pt x="372" y="738"/>
                  </a:lnTo>
                  <a:lnTo>
                    <a:pt x="366" y="750"/>
                  </a:lnTo>
                  <a:lnTo>
                    <a:pt x="372" y="756"/>
                  </a:lnTo>
                  <a:lnTo>
                    <a:pt x="372" y="762"/>
                  </a:lnTo>
                  <a:lnTo>
                    <a:pt x="372" y="768"/>
                  </a:lnTo>
                  <a:lnTo>
                    <a:pt x="372" y="774"/>
                  </a:lnTo>
                  <a:lnTo>
                    <a:pt x="372" y="780"/>
                  </a:lnTo>
                  <a:lnTo>
                    <a:pt x="372" y="774"/>
                  </a:lnTo>
                  <a:lnTo>
                    <a:pt x="366" y="768"/>
                  </a:lnTo>
                  <a:lnTo>
                    <a:pt x="366" y="762"/>
                  </a:lnTo>
                  <a:lnTo>
                    <a:pt x="366" y="756"/>
                  </a:lnTo>
                  <a:lnTo>
                    <a:pt x="360" y="756"/>
                  </a:lnTo>
                  <a:lnTo>
                    <a:pt x="360" y="750"/>
                  </a:lnTo>
                  <a:lnTo>
                    <a:pt x="354" y="750"/>
                  </a:lnTo>
                  <a:lnTo>
                    <a:pt x="348" y="744"/>
                  </a:lnTo>
                  <a:lnTo>
                    <a:pt x="342" y="744"/>
                  </a:lnTo>
                  <a:lnTo>
                    <a:pt x="336" y="744"/>
                  </a:lnTo>
                  <a:lnTo>
                    <a:pt x="330" y="73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1" name="Freeform 6">
              <a:extLst>
                <a:ext uri="{FF2B5EF4-FFF2-40B4-BE49-F238E27FC236}">
                  <a16:creationId xmlns:a16="http://schemas.microsoft.com/office/drawing/2014/main" id="{0656C385-F30A-4AC8-AE9F-B1F66208B38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3123" y="4163918"/>
              <a:ext cx="266107" cy="248252"/>
            </a:xfrm>
            <a:custGeom>
              <a:avLst/>
              <a:gdLst>
                <a:gd name="T0" fmla="*/ 33 w 504"/>
                <a:gd name="T1" fmla="*/ 41 h 468"/>
                <a:gd name="T2" fmla="*/ 26 w 504"/>
                <a:gd name="T3" fmla="*/ 39 h 468"/>
                <a:gd name="T4" fmla="*/ 21 w 504"/>
                <a:gd name="T5" fmla="*/ 38 h 468"/>
                <a:gd name="T6" fmla="*/ 18 w 504"/>
                <a:gd name="T7" fmla="*/ 38 h 468"/>
                <a:gd name="T8" fmla="*/ 15 w 504"/>
                <a:gd name="T9" fmla="*/ 39 h 468"/>
                <a:gd name="T10" fmla="*/ 12 w 504"/>
                <a:gd name="T11" fmla="*/ 38 h 468"/>
                <a:gd name="T12" fmla="*/ 9 w 504"/>
                <a:gd name="T13" fmla="*/ 37 h 468"/>
                <a:gd name="T14" fmla="*/ 7 w 504"/>
                <a:gd name="T15" fmla="*/ 32 h 468"/>
                <a:gd name="T16" fmla="*/ 6 w 504"/>
                <a:gd name="T17" fmla="*/ 26 h 468"/>
                <a:gd name="T18" fmla="*/ 3 w 504"/>
                <a:gd name="T19" fmla="*/ 24 h 468"/>
                <a:gd name="T20" fmla="*/ 1 w 504"/>
                <a:gd name="T21" fmla="*/ 24 h 468"/>
                <a:gd name="T22" fmla="*/ 2 w 504"/>
                <a:gd name="T23" fmla="*/ 18 h 468"/>
                <a:gd name="T24" fmla="*/ 1 w 504"/>
                <a:gd name="T25" fmla="*/ 17 h 468"/>
                <a:gd name="T26" fmla="*/ 0 w 504"/>
                <a:gd name="T27" fmla="*/ 17 h 468"/>
                <a:gd name="T28" fmla="*/ 0 w 504"/>
                <a:gd name="T29" fmla="*/ 15 h 468"/>
                <a:gd name="T30" fmla="*/ 2 w 504"/>
                <a:gd name="T31" fmla="*/ 12 h 468"/>
                <a:gd name="T32" fmla="*/ 4 w 504"/>
                <a:gd name="T33" fmla="*/ 10 h 468"/>
                <a:gd name="T34" fmla="*/ 6 w 504"/>
                <a:gd name="T35" fmla="*/ 8 h 468"/>
                <a:gd name="T36" fmla="*/ 8 w 504"/>
                <a:gd name="T37" fmla="*/ 8 h 468"/>
                <a:gd name="T38" fmla="*/ 10 w 504"/>
                <a:gd name="T39" fmla="*/ 9 h 468"/>
                <a:gd name="T40" fmla="*/ 12 w 504"/>
                <a:gd name="T41" fmla="*/ 10 h 468"/>
                <a:gd name="T42" fmla="*/ 12 w 504"/>
                <a:gd name="T43" fmla="*/ 11 h 468"/>
                <a:gd name="T44" fmla="*/ 14 w 504"/>
                <a:gd name="T45" fmla="*/ 8 h 468"/>
                <a:gd name="T46" fmla="*/ 15 w 504"/>
                <a:gd name="T47" fmla="*/ 7 h 468"/>
                <a:gd name="T48" fmla="*/ 17 w 504"/>
                <a:gd name="T49" fmla="*/ 6 h 468"/>
                <a:gd name="T50" fmla="*/ 19 w 504"/>
                <a:gd name="T51" fmla="*/ 3 h 468"/>
                <a:gd name="T52" fmla="*/ 20 w 504"/>
                <a:gd name="T53" fmla="*/ 2 h 468"/>
                <a:gd name="T54" fmla="*/ 22 w 504"/>
                <a:gd name="T55" fmla="*/ 1 h 468"/>
                <a:gd name="T56" fmla="*/ 27 w 504"/>
                <a:gd name="T57" fmla="*/ 1 h 468"/>
                <a:gd name="T58" fmla="*/ 30 w 504"/>
                <a:gd name="T59" fmla="*/ 2 h 468"/>
                <a:gd name="T60" fmla="*/ 31 w 504"/>
                <a:gd name="T61" fmla="*/ 2 h 468"/>
                <a:gd name="T62" fmla="*/ 34 w 504"/>
                <a:gd name="T63" fmla="*/ 0 h 468"/>
                <a:gd name="T64" fmla="*/ 37 w 504"/>
                <a:gd name="T65" fmla="*/ 1 h 468"/>
                <a:gd name="T66" fmla="*/ 41 w 504"/>
                <a:gd name="T67" fmla="*/ 2 h 468"/>
                <a:gd name="T68" fmla="*/ 42 w 504"/>
                <a:gd name="T69" fmla="*/ 4 h 468"/>
                <a:gd name="T70" fmla="*/ 42 w 504"/>
                <a:gd name="T71" fmla="*/ 10 h 468"/>
                <a:gd name="T72" fmla="*/ 41 w 504"/>
                <a:gd name="T73" fmla="*/ 14 h 468"/>
                <a:gd name="T74" fmla="*/ 42 w 504"/>
                <a:gd name="T75" fmla="*/ 15 h 468"/>
                <a:gd name="T76" fmla="*/ 44 w 504"/>
                <a:gd name="T77" fmla="*/ 18 h 468"/>
                <a:gd name="T78" fmla="*/ 43 w 504"/>
                <a:gd name="T79" fmla="*/ 19 h 468"/>
                <a:gd name="T80" fmla="*/ 42 w 504"/>
                <a:gd name="T81" fmla="*/ 21 h 468"/>
                <a:gd name="T82" fmla="*/ 42 w 504"/>
                <a:gd name="T83" fmla="*/ 23 h 468"/>
                <a:gd name="T84" fmla="*/ 39 w 504"/>
                <a:gd name="T85" fmla="*/ 27 h 468"/>
                <a:gd name="T86" fmla="*/ 38 w 504"/>
                <a:gd name="T87" fmla="*/ 29 h 468"/>
                <a:gd name="T88" fmla="*/ 38 w 504"/>
                <a:gd name="T89" fmla="*/ 31 h 468"/>
                <a:gd name="T90" fmla="*/ 36 w 504"/>
                <a:gd name="T91" fmla="*/ 32 h 468"/>
                <a:gd name="T92" fmla="*/ 35 w 504"/>
                <a:gd name="T93" fmla="*/ 34 h 468"/>
                <a:gd name="T94" fmla="*/ 34 w 504"/>
                <a:gd name="T95" fmla="*/ 38 h 46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04"/>
                <a:gd name="T145" fmla="*/ 0 h 468"/>
                <a:gd name="T146" fmla="*/ 504 w 504"/>
                <a:gd name="T147" fmla="*/ 468 h 46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04" h="468">
                  <a:moveTo>
                    <a:pt x="390" y="456"/>
                  </a:moveTo>
                  <a:lnTo>
                    <a:pt x="384" y="468"/>
                  </a:lnTo>
                  <a:lnTo>
                    <a:pt x="378" y="468"/>
                  </a:lnTo>
                  <a:lnTo>
                    <a:pt x="354" y="468"/>
                  </a:lnTo>
                  <a:lnTo>
                    <a:pt x="348" y="462"/>
                  </a:lnTo>
                  <a:lnTo>
                    <a:pt x="300" y="456"/>
                  </a:lnTo>
                  <a:lnTo>
                    <a:pt x="270" y="444"/>
                  </a:lnTo>
                  <a:lnTo>
                    <a:pt x="252" y="438"/>
                  </a:lnTo>
                  <a:lnTo>
                    <a:pt x="240" y="438"/>
                  </a:lnTo>
                  <a:lnTo>
                    <a:pt x="234" y="438"/>
                  </a:lnTo>
                  <a:lnTo>
                    <a:pt x="228" y="444"/>
                  </a:lnTo>
                  <a:lnTo>
                    <a:pt x="210" y="444"/>
                  </a:lnTo>
                  <a:lnTo>
                    <a:pt x="198" y="444"/>
                  </a:lnTo>
                  <a:lnTo>
                    <a:pt x="198" y="450"/>
                  </a:lnTo>
                  <a:lnTo>
                    <a:pt x="168" y="456"/>
                  </a:lnTo>
                  <a:lnTo>
                    <a:pt x="150" y="450"/>
                  </a:lnTo>
                  <a:lnTo>
                    <a:pt x="144" y="444"/>
                  </a:lnTo>
                  <a:lnTo>
                    <a:pt x="132" y="438"/>
                  </a:lnTo>
                  <a:lnTo>
                    <a:pt x="138" y="432"/>
                  </a:lnTo>
                  <a:lnTo>
                    <a:pt x="114" y="432"/>
                  </a:lnTo>
                  <a:lnTo>
                    <a:pt x="102" y="426"/>
                  </a:lnTo>
                  <a:lnTo>
                    <a:pt x="90" y="414"/>
                  </a:lnTo>
                  <a:lnTo>
                    <a:pt x="72" y="402"/>
                  </a:lnTo>
                  <a:lnTo>
                    <a:pt x="78" y="366"/>
                  </a:lnTo>
                  <a:lnTo>
                    <a:pt x="78" y="330"/>
                  </a:lnTo>
                  <a:lnTo>
                    <a:pt x="66" y="318"/>
                  </a:lnTo>
                  <a:lnTo>
                    <a:pt x="66" y="300"/>
                  </a:lnTo>
                  <a:lnTo>
                    <a:pt x="66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30" y="282"/>
                  </a:lnTo>
                  <a:lnTo>
                    <a:pt x="24" y="282"/>
                  </a:lnTo>
                  <a:lnTo>
                    <a:pt x="12" y="276"/>
                  </a:lnTo>
                  <a:lnTo>
                    <a:pt x="0" y="282"/>
                  </a:lnTo>
                  <a:lnTo>
                    <a:pt x="12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2" y="198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6" y="180"/>
                  </a:lnTo>
                  <a:lnTo>
                    <a:pt x="12" y="186"/>
                  </a:lnTo>
                  <a:lnTo>
                    <a:pt x="18" y="138"/>
                  </a:lnTo>
                  <a:lnTo>
                    <a:pt x="24" y="126"/>
                  </a:lnTo>
                  <a:lnTo>
                    <a:pt x="30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20" y="102"/>
                  </a:lnTo>
                  <a:lnTo>
                    <a:pt x="126" y="108"/>
                  </a:lnTo>
                  <a:lnTo>
                    <a:pt x="126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0"/>
                  </a:lnTo>
                  <a:lnTo>
                    <a:pt x="156" y="96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16" y="42"/>
                  </a:lnTo>
                  <a:lnTo>
                    <a:pt x="222" y="36"/>
                  </a:lnTo>
                  <a:lnTo>
                    <a:pt x="228" y="36"/>
                  </a:lnTo>
                  <a:lnTo>
                    <a:pt x="228" y="30"/>
                  </a:lnTo>
                  <a:lnTo>
                    <a:pt x="228" y="24"/>
                  </a:lnTo>
                  <a:lnTo>
                    <a:pt x="246" y="18"/>
                  </a:lnTo>
                  <a:lnTo>
                    <a:pt x="252" y="18"/>
                  </a:lnTo>
                  <a:lnTo>
                    <a:pt x="258" y="12"/>
                  </a:lnTo>
                  <a:lnTo>
                    <a:pt x="270" y="6"/>
                  </a:lnTo>
                  <a:lnTo>
                    <a:pt x="288" y="6"/>
                  </a:lnTo>
                  <a:lnTo>
                    <a:pt x="312" y="12"/>
                  </a:lnTo>
                  <a:lnTo>
                    <a:pt x="324" y="12"/>
                  </a:lnTo>
                  <a:lnTo>
                    <a:pt x="336" y="18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14" y="12"/>
                  </a:lnTo>
                  <a:lnTo>
                    <a:pt x="426" y="12"/>
                  </a:lnTo>
                  <a:lnTo>
                    <a:pt x="444" y="18"/>
                  </a:lnTo>
                  <a:lnTo>
                    <a:pt x="462" y="18"/>
                  </a:lnTo>
                  <a:lnTo>
                    <a:pt x="474" y="18"/>
                  </a:lnTo>
                  <a:lnTo>
                    <a:pt x="480" y="18"/>
                  </a:lnTo>
                  <a:lnTo>
                    <a:pt x="486" y="36"/>
                  </a:lnTo>
                  <a:lnTo>
                    <a:pt x="480" y="42"/>
                  </a:lnTo>
                  <a:lnTo>
                    <a:pt x="480" y="54"/>
                  </a:lnTo>
                  <a:lnTo>
                    <a:pt x="486" y="78"/>
                  </a:lnTo>
                  <a:lnTo>
                    <a:pt x="486" y="114"/>
                  </a:lnTo>
                  <a:lnTo>
                    <a:pt x="486" y="150"/>
                  </a:lnTo>
                  <a:lnTo>
                    <a:pt x="468" y="150"/>
                  </a:lnTo>
                  <a:lnTo>
                    <a:pt x="474" y="162"/>
                  </a:lnTo>
                  <a:lnTo>
                    <a:pt x="480" y="162"/>
                  </a:lnTo>
                  <a:lnTo>
                    <a:pt x="486" y="174"/>
                  </a:lnTo>
                  <a:lnTo>
                    <a:pt x="492" y="174"/>
                  </a:lnTo>
                  <a:lnTo>
                    <a:pt x="492" y="192"/>
                  </a:lnTo>
                  <a:lnTo>
                    <a:pt x="498" y="198"/>
                  </a:lnTo>
                  <a:lnTo>
                    <a:pt x="504" y="204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8" y="222"/>
                  </a:lnTo>
                  <a:lnTo>
                    <a:pt x="492" y="228"/>
                  </a:lnTo>
                  <a:lnTo>
                    <a:pt x="492" y="234"/>
                  </a:lnTo>
                  <a:lnTo>
                    <a:pt x="492" y="240"/>
                  </a:lnTo>
                  <a:lnTo>
                    <a:pt x="486" y="246"/>
                  </a:lnTo>
                  <a:lnTo>
                    <a:pt x="486" y="258"/>
                  </a:lnTo>
                  <a:lnTo>
                    <a:pt x="480" y="264"/>
                  </a:lnTo>
                  <a:lnTo>
                    <a:pt x="474" y="276"/>
                  </a:lnTo>
                  <a:lnTo>
                    <a:pt x="468" y="288"/>
                  </a:lnTo>
                  <a:lnTo>
                    <a:pt x="456" y="306"/>
                  </a:lnTo>
                  <a:lnTo>
                    <a:pt x="456" y="312"/>
                  </a:lnTo>
                  <a:lnTo>
                    <a:pt x="444" y="318"/>
                  </a:lnTo>
                  <a:lnTo>
                    <a:pt x="432" y="336"/>
                  </a:lnTo>
                  <a:lnTo>
                    <a:pt x="432" y="342"/>
                  </a:lnTo>
                  <a:lnTo>
                    <a:pt x="432" y="348"/>
                  </a:lnTo>
                  <a:lnTo>
                    <a:pt x="432" y="354"/>
                  </a:lnTo>
                  <a:lnTo>
                    <a:pt x="426" y="366"/>
                  </a:lnTo>
                  <a:lnTo>
                    <a:pt x="420" y="366"/>
                  </a:lnTo>
                  <a:lnTo>
                    <a:pt x="420" y="372"/>
                  </a:lnTo>
                  <a:lnTo>
                    <a:pt x="414" y="378"/>
                  </a:lnTo>
                  <a:lnTo>
                    <a:pt x="414" y="390"/>
                  </a:lnTo>
                  <a:lnTo>
                    <a:pt x="408" y="390"/>
                  </a:lnTo>
                  <a:lnTo>
                    <a:pt x="408" y="402"/>
                  </a:lnTo>
                  <a:lnTo>
                    <a:pt x="402" y="414"/>
                  </a:lnTo>
                  <a:lnTo>
                    <a:pt x="396" y="438"/>
                  </a:lnTo>
                  <a:lnTo>
                    <a:pt x="396" y="444"/>
                  </a:lnTo>
                  <a:lnTo>
                    <a:pt x="390" y="45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11" name="Freeform 7">
              <a:extLst>
                <a:ext uri="{FF2B5EF4-FFF2-40B4-BE49-F238E27FC236}">
                  <a16:creationId xmlns:a16="http://schemas.microsoft.com/office/drawing/2014/main" id="{0D8DE62D-4554-4314-9F3A-7208D89B4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90838" y="4128134"/>
              <a:ext cx="283995" cy="411516"/>
            </a:xfrm>
            <a:custGeom>
              <a:avLst/>
              <a:gdLst>
                <a:gd name="T0" fmla="*/ 39 w 534"/>
                <a:gd name="T1" fmla="*/ 35 h 774"/>
                <a:gd name="T2" fmla="*/ 35 w 534"/>
                <a:gd name="T3" fmla="*/ 31 h 774"/>
                <a:gd name="T4" fmla="*/ 32 w 534"/>
                <a:gd name="T5" fmla="*/ 29 h 774"/>
                <a:gd name="T6" fmla="*/ 32 w 534"/>
                <a:gd name="T7" fmla="*/ 31 h 774"/>
                <a:gd name="T8" fmla="*/ 29 w 534"/>
                <a:gd name="T9" fmla="*/ 33 h 774"/>
                <a:gd name="T10" fmla="*/ 27 w 534"/>
                <a:gd name="T11" fmla="*/ 36 h 774"/>
                <a:gd name="T12" fmla="*/ 30 w 534"/>
                <a:gd name="T13" fmla="*/ 38 h 774"/>
                <a:gd name="T14" fmla="*/ 29 w 534"/>
                <a:gd name="T15" fmla="*/ 40 h 774"/>
                <a:gd name="T16" fmla="*/ 25 w 534"/>
                <a:gd name="T17" fmla="*/ 40 h 774"/>
                <a:gd name="T18" fmla="*/ 23 w 534"/>
                <a:gd name="T19" fmla="*/ 42 h 774"/>
                <a:gd name="T20" fmla="*/ 22 w 534"/>
                <a:gd name="T21" fmla="*/ 47 h 774"/>
                <a:gd name="T22" fmla="*/ 22 w 534"/>
                <a:gd name="T23" fmla="*/ 51 h 774"/>
                <a:gd name="T24" fmla="*/ 22 w 534"/>
                <a:gd name="T25" fmla="*/ 54 h 774"/>
                <a:gd name="T26" fmla="*/ 21 w 534"/>
                <a:gd name="T27" fmla="*/ 56 h 774"/>
                <a:gd name="T28" fmla="*/ 19 w 534"/>
                <a:gd name="T29" fmla="*/ 58 h 774"/>
                <a:gd name="T30" fmla="*/ 20 w 534"/>
                <a:gd name="T31" fmla="*/ 59 h 774"/>
                <a:gd name="T32" fmla="*/ 19 w 534"/>
                <a:gd name="T33" fmla="*/ 62 h 774"/>
                <a:gd name="T34" fmla="*/ 19 w 534"/>
                <a:gd name="T35" fmla="*/ 64 h 774"/>
                <a:gd name="T36" fmla="*/ 20 w 534"/>
                <a:gd name="T37" fmla="*/ 66 h 774"/>
                <a:gd name="T38" fmla="*/ 17 w 534"/>
                <a:gd name="T39" fmla="*/ 66 h 774"/>
                <a:gd name="T40" fmla="*/ 16 w 534"/>
                <a:gd name="T41" fmla="*/ 65 h 774"/>
                <a:gd name="T42" fmla="*/ 13 w 534"/>
                <a:gd name="T43" fmla="*/ 65 h 774"/>
                <a:gd name="T44" fmla="*/ 11 w 534"/>
                <a:gd name="T45" fmla="*/ 65 h 774"/>
                <a:gd name="T46" fmla="*/ 8 w 534"/>
                <a:gd name="T47" fmla="*/ 65 h 774"/>
                <a:gd name="T48" fmla="*/ 8 w 534"/>
                <a:gd name="T49" fmla="*/ 64 h 774"/>
                <a:gd name="T50" fmla="*/ 5 w 534"/>
                <a:gd name="T51" fmla="*/ 65 h 774"/>
                <a:gd name="T52" fmla="*/ 3 w 534"/>
                <a:gd name="T53" fmla="*/ 65 h 774"/>
                <a:gd name="T54" fmla="*/ 0 w 534"/>
                <a:gd name="T55" fmla="*/ 64 h 774"/>
                <a:gd name="T56" fmla="*/ 0 w 534"/>
                <a:gd name="T57" fmla="*/ 62 h 774"/>
                <a:gd name="T58" fmla="*/ 3 w 534"/>
                <a:gd name="T59" fmla="*/ 60 h 774"/>
                <a:gd name="T60" fmla="*/ 6 w 534"/>
                <a:gd name="T61" fmla="*/ 57 h 774"/>
                <a:gd name="T62" fmla="*/ 8 w 534"/>
                <a:gd name="T63" fmla="*/ 50 h 774"/>
                <a:gd name="T64" fmla="*/ 6 w 534"/>
                <a:gd name="T65" fmla="*/ 45 h 774"/>
                <a:gd name="T66" fmla="*/ 8 w 534"/>
                <a:gd name="T67" fmla="*/ 41 h 774"/>
                <a:gd name="T68" fmla="*/ 9 w 534"/>
                <a:gd name="T69" fmla="*/ 38 h 774"/>
                <a:gd name="T70" fmla="*/ 10 w 534"/>
                <a:gd name="T71" fmla="*/ 36 h 774"/>
                <a:gd name="T72" fmla="*/ 12 w 534"/>
                <a:gd name="T73" fmla="*/ 33 h 774"/>
                <a:gd name="T74" fmla="*/ 14 w 534"/>
                <a:gd name="T75" fmla="*/ 29 h 774"/>
                <a:gd name="T76" fmla="*/ 16 w 534"/>
                <a:gd name="T77" fmla="*/ 26 h 774"/>
                <a:gd name="T78" fmla="*/ 16 w 534"/>
                <a:gd name="T79" fmla="*/ 24 h 774"/>
                <a:gd name="T80" fmla="*/ 16 w 534"/>
                <a:gd name="T81" fmla="*/ 21 h 774"/>
                <a:gd name="T82" fmla="*/ 13 w 534"/>
                <a:gd name="T83" fmla="*/ 19 h 774"/>
                <a:gd name="T84" fmla="*/ 14 w 534"/>
                <a:gd name="T85" fmla="*/ 10 h 774"/>
                <a:gd name="T86" fmla="*/ 14 w 534"/>
                <a:gd name="T87" fmla="*/ 7 h 774"/>
                <a:gd name="T88" fmla="*/ 8 w 534"/>
                <a:gd name="T89" fmla="*/ 7 h 774"/>
                <a:gd name="T90" fmla="*/ 7 w 534"/>
                <a:gd name="T91" fmla="*/ 3 h 774"/>
                <a:gd name="T92" fmla="*/ 11 w 534"/>
                <a:gd name="T93" fmla="*/ 1 h 774"/>
                <a:gd name="T94" fmla="*/ 12 w 534"/>
                <a:gd name="T95" fmla="*/ 0 h 774"/>
                <a:gd name="T96" fmla="*/ 16 w 534"/>
                <a:gd name="T97" fmla="*/ 2 h 774"/>
                <a:gd name="T98" fmla="*/ 20 w 534"/>
                <a:gd name="T99" fmla="*/ 2 h 774"/>
                <a:gd name="T100" fmla="*/ 23 w 534"/>
                <a:gd name="T101" fmla="*/ 3 h 774"/>
                <a:gd name="T102" fmla="*/ 23 w 534"/>
                <a:gd name="T103" fmla="*/ 10 h 774"/>
                <a:gd name="T104" fmla="*/ 29 w 534"/>
                <a:gd name="T105" fmla="*/ 12 h 774"/>
                <a:gd name="T106" fmla="*/ 35 w 534"/>
                <a:gd name="T107" fmla="*/ 12 h 774"/>
                <a:gd name="T108" fmla="*/ 38 w 534"/>
                <a:gd name="T109" fmla="*/ 17 h 774"/>
                <a:gd name="T110" fmla="*/ 40 w 534"/>
                <a:gd name="T111" fmla="*/ 19 h 774"/>
                <a:gd name="T112" fmla="*/ 44 w 534"/>
                <a:gd name="T113" fmla="*/ 23 h 774"/>
                <a:gd name="T114" fmla="*/ 44 w 534"/>
                <a:gd name="T115" fmla="*/ 30 h 774"/>
                <a:gd name="T116" fmla="*/ 46 w 534"/>
                <a:gd name="T117" fmla="*/ 36 h 774"/>
                <a:gd name="T118" fmla="*/ 41 w 534"/>
                <a:gd name="T119" fmla="*/ 37 h 77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34"/>
                <a:gd name="T181" fmla="*/ 0 h 774"/>
                <a:gd name="T182" fmla="*/ 534 w 534"/>
                <a:gd name="T183" fmla="*/ 774 h 77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34" h="774">
                  <a:moveTo>
                    <a:pt x="462" y="426"/>
                  </a:moveTo>
                  <a:lnTo>
                    <a:pt x="462" y="414"/>
                  </a:lnTo>
                  <a:lnTo>
                    <a:pt x="450" y="402"/>
                  </a:lnTo>
                  <a:lnTo>
                    <a:pt x="444" y="396"/>
                  </a:lnTo>
                  <a:lnTo>
                    <a:pt x="420" y="396"/>
                  </a:lnTo>
                  <a:lnTo>
                    <a:pt x="408" y="390"/>
                  </a:lnTo>
                  <a:lnTo>
                    <a:pt x="402" y="366"/>
                  </a:lnTo>
                  <a:lnTo>
                    <a:pt x="390" y="354"/>
                  </a:lnTo>
                  <a:lnTo>
                    <a:pt x="384" y="336"/>
                  </a:lnTo>
                  <a:lnTo>
                    <a:pt x="378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8" y="348"/>
                  </a:lnTo>
                  <a:lnTo>
                    <a:pt x="360" y="354"/>
                  </a:lnTo>
                  <a:lnTo>
                    <a:pt x="360" y="390"/>
                  </a:lnTo>
                  <a:lnTo>
                    <a:pt x="348" y="390"/>
                  </a:lnTo>
                  <a:lnTo>
                    <a:pt x="342" y="384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90"/>
                  </a:lnTo>
                  <a:lnTo>
                    <a:pt x="312" y="402"/>
                  </a:lnTo>
                  <a:lnTo>
                    <a:pt x="306" y="420"/>
                  </a:lnTo>
                  <a:lnTo>
                    <a:pt x="324" y="414"/>
                  </a:lnTo>
                  <a:lnTo>
                    <a:pt x="330" y="414"/>
                  </a:lnTo>
                  <a:lnTo>
                    <a:pt x="336" y="420"/>
                  </a:lnTo>
                  <a:lnTo>
                    <a:pt x="336" y="432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6"/>
                  </a:lnTo>
                  <a:lnTo>
                    <a:pt x="318" y="456"/>
                  </a:lnTo>
                  <a:lnTo>
                    <a:pt x="300" y="456"/>
                  </a:lnTo>
                  <a:lnTo>
                    <a:pt x="288" y="462"/>
                  </a:lnTo>
                  <a:lnTo>
                    <a:pt x="276" y="462"/>
                  </a:lnTo>
                  <a:lnTo>
                    <a:pt x="270" y="462"/>
                  </a:lnTo>
                  <a:lnTo>
                    <a:pt x="270" y="468"/>
                  </a:lnTo>
                  <a:lnTo>
                    <a:pt x="252" y="468"/>
                  </a:lnTo>
                  <a:lnTo>
                    <a:pt x="258" y="480"/>
                  </a:lnTo>
                  <a:lnTo>
                    <a:pt x="258" y="492"/>
                  </a:lnTo>
                  <a:lnTo>
                    <a:pt x="258" y="498"/>
                  </a:lnTo>
                  <a:lnTo>
                    <a:pt x="258" y="510"/>
                  </a:lnTo>
                  <a:lnTo>
                    <a:pt x="252" y="540"/>
                  </a:lnTo>
                  <a:lnTo>
                    <a:pt x="246" y="564"/>
                  </a:lnTo>
                  <a:lnTo>
                    <a:pt x="246" y="570"/>
                  </a:lnTo>
                  <a:lnTo>
                    <a:pt x="252" y="576"/>
                  </a:lnTo>
                  <a:lnTo>
                    <a:pt x="246" y="582"/>
                  </a:lnTo>
                  <a:lnTo>
                    <a:pt x="252" y="600"/>
                  </a:lnTo>
                  <a:lnTo>
                    <a:pt x="258" y="606"/>
                  </a:lnTo>
                  <a:lnTo>
                    <a:pt x="258" y="612"/>
                  </a:lnTo>
                  <a:lnTo>
                    <a:pt x="252" y="618"/>
                  </a:lnTo>
                  <a:lnTo>
                    <a:pt x="246" y="624"/>
                  </a:lnTo>
                  <a:lnTo>
                    <a:pt x="246" y="630"/>
                  </a:lnTo>
                  <a:lnTo>
                    <a:pt x="246" y="636"/>
                  </a:lnTo>
                  <a:lnTo>
                    <a:pt x="240" y="642"/>
                  </a:lnTo>
                  <a:lnTo>
                    <a:pt x="234" y="654"/>
                  </a:lnTo>
                  <a:lnTo>
                    <a:pt x="228" y="654"/>
                  </a:lnTo>
                  <a:lnTo>
                    <a:pt x="222" y="660"/>
                  </a:lnTo>
                  <a:lnTo>
                    <a:pt x="216" y="666"/>
                  </a:lnTo>
                  <a:lnTo>
                    <a:pt x="210" y="666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22" y="684"/>
                  </a:lnTo>
                  <a:lnTo>
                    <a:pt x="222" y="690"/>
                  </a:lnTo>
                  <a:lnTo>
                    <a:pt x="222" y="696"/>
                  </a:lnTo>
                  <a:lnTo>
                    <a:pt x="222" y="702"/>
                  </a:lnTo>
                  <a:lnTo>
                    <a:pt x="216" y="708"/>
                  </a:lnTo>
                  <a:lnTo>
                    <a:pt x="210" y="720"/>
                  </a:lnTo>
                  <a:lnTo>
                    <a:pt x="216" y="732"/>
                  </a:lnTo>
                  <a:lnTo>
                    <a:pt x="210" y="732"/>
                  </a:lnTo>
                  <a:lnTo>
                    <a:pt x="216" y="738"/>
                  </a:lnTo>
                  <a:lnTo>
                    <a:pt x="216" y="744"/>
                  </a:lnTo>
                  <a:lnTo>
                    <a:pt x="222" y="750"/>
                  </a:lnTo>
                  <a:lnTo>
                    <a:pt x="228" y="756"/>
                  </a:lnTo>
                  <a:lnTo>
                    <a:pt x="222" y="762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04" y="762"/>
                  </a:lnTo>
                  <a:lnTo>
                    <a:pt x="198" y="762"/>
                  </a:lnTo>
                  <a:lnTo>
                    <a:pt x="192" y="762"/>
                  </a:lnTo>
                  <a:lnTo>
                    <a:pt x="186" y="756"/>
                  </a:lnTo>
                  <a:lnTo>
                    <a:pt x="180" y="750"/>
                  </a:lnTo>
                  <a:lnTo>
                    <a:pt x="180" y="744"/>
                  </a:lnTo>
                  <a:lnTo>
                    <a:pt x="174" y="744"/>
                  </a:lnTo>
                  <a:lnTo>
                    <a:pt x="156" y="750"/>
                  </a:lnTo>
                  <a:lnTo>
                    <a:pt x="150" y="750"/>
                  </a:lnTo>
                  <a:lnTo>
                    <a:pt x="144" y="750"/>
                  </a:lnTo>
                  <a:lnTo>
                    <a:pt x="138" y="750"/>
                  </a:lnTo>
                  <a:lnTo>
                    <a:pt x="138" y="744"/>
                  </a:lnTo>
                  <a:lnTo>
                    <a:pt x="132" y="744"/>
                  </a:lnTo>
                  <a:lnTo>
                    <a:pt x="120" y="744"/>
                  </a:lnTo>
                  <a:lnTo>
                    <a:pt x="114" y="738"/>
                  </a:lnTo>
                  <a:lnTo>
                    <a:pt x="108" y="744"/>
                  </a:lnTo>
                  <a:lnTo>
                    <a:pt x="102" y="744"/>
                  </a:lnTo>
                  <a:lnTo>
                    <a:pt x="96" y="744"/>
                  </a:lnTo>
                  <a:lnTo>
                    <a:pt x="96" y="738"/>
                  </a:lnTo>
                  <a:lnTo>
                    <a:pt x="96" y="744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44"/>
                  </a:lnTo>
                  <a:lnTo>
                    <a:pt x="72" y="750"/>
                  </a:lnTo>
                  <a:lnTo>
                    <a:pt x="66" y="750"/>
                  </a:lnTo>
                  <a:lnTo>
                    <a:pt x="60" y="750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0"/>
                  </a:lnTo>
                  <a:lnTo>
                    <a:pt x="30" y="750"/>
                  </a:lnTo>
                  <a:lnTo>
                    <a:pt x="24" y="744"/>
                  </a:lnTo>
                  <a:lnTo>
                    <a:pt x="18" y="738"/>
                  </a:lnTo>
                  <a:lnTo>
                    <a:pt x="6" y="738"/>
                  </a:lnTo>
                  <a:lnTo>
                    <a:pt x="0" y="732"/>
                  </a:lnTo>
                  <a:lnTo>
                    <a:pt x="0" y="726"/>
                  </a:lnTo>
                  <a:lnTo>
                    <a:pt x="0" y="720"/>
                  </a:lnTo>
                  <a:lnTo>
                    <a:pt x="6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8" y="702"/>
                  </a:lnTo>
                  <a:lnTo>
                    <a:pt x="24" y="696"/>
                  </a:lnTo>
                  <a:lnTo>
                    <a:pt x="30" y="696"/>
                  </a:lnTo>
                  <a:lnTo>
                    <a:pt x="48" y="690"/>
                  </a:lnTo>
                  <a:lnTo>
                    <a:pt x="54" y="678"/>
                  </a:lnTo>
                  <a:lnTo>
                    <a:pt x="66" y="672"/>
                  </a:lnTo>
                  <a:lnTo>
                    <a:pt x="66" y="654"/>
                  </a:lnTo>
                  <a:lnTo>
                    <a:pt x="72" y="636"/>
                  </a:lnTo>
                  <a:lnTo>
                    <a:pt x="72" y="612"/>
                  </a:lnTo>
                  <a:lnTo>
                    <a:pt x="84" y="594"/>
                  </a:lnTo>
                  <a:lnTo>
                    <a:pt x="90" y="576"/>
                  </a:lnTo>
                  <a:lnTo>
                    <a:pt x="96" y="552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72" y="522"/>
                  </a:lnTo>
                  <a:lnTo>
                    <a:pt x="78" y="510"/>
                  </a:lnTo>
                  <a:lnTo>
                    <a:pt x="78" y="504"/>
                  </a:lnTo>
                  <a:lnTo>
                    <a:pt x="84" y="480"/>
                  </a:lnTo>
                  <a:lnTo>
                    <a:pt x="90" y="468"/>
                  </a:lnTo>
                  <a:lnTo>
                    <a:pt x="90" y="456"/>
                  </a:lnTo>
                  <a:lnTo>
                    <a:pt x="96" y="456"/>
                  </a:lnTo>
                  <a:lnTo>
                    <a:pt x="96" y="444"/>
                  </a:lnTo>
                  <a:lnTo>
                    <a:pt x="102" y="438"/>
                  </a:lnTo>
                  <a:lnTo>
                    <a:pt x="102" y="432"/>
                  </a:lnTo>
                  <a:lnTo>
                    <a:pt x="108" y="432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14" y="408"/>
                  </a:lnTo>
                  <a:lnTo>
                    <a:pt x="114" y="402"/>
                  </a:lnTo>
                  <a:lnTo>
                    <a:pt x="126" y="384"/>
                  </a:lnTo>
                  <a:lnTo>
                    <a:pt x="138" y="378"/>
                  </a:lnTo>
                  <a:lnTo>
                    <a:pt x="138" y="372"/>
                  </a:lnTo>
                  <a:lnTo>
                    <a:pt x="150" y="354"/>
                  </a:lnTo>
                  <a:lnTo>
                    <a:pt x="156" y="342"/>
                  </a:lnTo>
                  <a:lnTo>
                    <a:pt x="162" y="330"/>
                  </a:lnTo>
                  <a:lnTo>
                    <a:pt x="168" y="324"/>
                  </a:lnTo>
                  <a:lnTo>
                    <a:pt x="168" y="312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74" y="294"/>
                  </a:lnTo>
                  <a:lnTo>
                    <a:pt x="180" y="288"/>
                  </a:lnTo>
                  <a:lnTo>
                    <a:pt x="180" y="276"/>
                  </a:lnTo>
                  <a:lnTo>
                    <a:pt x="186" y="276"/>
                  </a:lnTo>
                  <a:lnTo>
                    <a:pt x="186" y="270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40"/>
                  </a:lnTo>
                  <a:lnTo>
                    <a:pt x="168" y="240"/>
                  </a:lnTo>
                  <a:lnTo>
                    <a:pt x="162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68" y="216"/>
                  </a:lnTo>
                  <a:lnTo>
                    <a:pt x="168" y="180"/>
                  </a:lnTo>
                  <a:lnTo>
                    <a:pt x="168" y="144"/>
                  </a:lnTo>
                  <a:lnTo>
                    <a:pt x="162" y="120"/>
                  </a:lnTo>
                  <a:lnTo>
                    <a:pt x="162" y="108"/>
                  </a:lnTo>
                  <a:lnTo>
                    <a:pt x="168" y="102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44" y="84"/>
                  </a:lnTo>
                  <a:lnTo>
                    <a:pt x="126" y="84"/>
                  </a:lnTo>
                  <a:lnTo>
                    <a:pt x="108" y="78"/>
                  </a:lnTo>
                  <a:lnTo>
                    <a:pt x="96" y="78"/>
                  </a:lnTo>
                  <a:lnTo>
                    <a:pt x="78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8" y="36"/>
                  </a:lnTo>
                  <a:lnTo>
                    <a:pt x="96" y="24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56" y="0"/>
                  </a:lnTo>
                  <a:lnTo>
                    <a:pt x="156" y="6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18"/>
                  </a:lnTo>
                  <a:lnTo>
                    <a:pt x="198" y="18"/>
                  </a:lnTo>
                  <a:lnTo>
                    <a:pt x="210" y="18"/>
                  </a:lnTo>
                  <a:lnTo>
                    <a:pt x="222" y="18"/>
                  </a:lnTo>
                  <a:lnTo>
                    <a:pt x="234" y="12"/>
                  </a:lnTo>
                  <a:lnTo>
                    <a:pt x="252" y="18"/>
                  </a:lnTo>
                  <a:lnTo>
                    <a:pt x="252" y="24"/>
                  </a:lnTo>
                  <a:lnTo>
                    <a:pt x="258" y="36"/>
                  </a:lnTo>
                  <a:lnTo>
                    <a:pt x="258" y="66"/>
                  </a:lnTo>
                  <a:lnTo>
                    <a:pt x="252" y="84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82" y="126"/>
                  </a:lnTo>
                  <a:lnTo>
                    <a:pt x="294" y="132"/>
                  </a:lnTo>
                  <a:lnTo>
                    <a:pt x="306" y="138"/>
                  </a:lnTo>
                  <a:lnTo>
                    <a:pt x="324" y="138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60" y="144"/>
                  </a:lnTo>
                  <a:lnTo>
                    <a:pt x="396" y="144"/>
                  </a:lnTo>
                  <a:lnTo>
                    <a:pt x="408" y="150"/>
                  </a:lnTo>
                  <a:lnTo>
                    <a:pt x="414" y="180"/>
                  </a:lnTo>
                  <a:lnTo>
                    <a:pt x="420" y="186"/>
                  </a:lnTo>
                  <a:lnTo>
                    <a:pt x="426" y="192"/>
                  </a:lnTo>
                  <a:lnTo>
                    <a:pt x="426" y="198"/>
                  </a:lnTo>
                  <a:lnTo>
                    <a:pt x="432" y="198"/>
                  </a:lnTo>
                  <a:lnTo>
                    <a:pt x="438" y="210"/>
                  </a:lnTo>
                  <a:lnTo>
                    <a:pt x="450" y="216"/>
                  </a:lnTo>
                  <a:lnTo>
                    <a:pt x="468" y="228"/>
                  </a:lnTo>
                  <a:lnTo>
                    <a:pt x="492" y="234"/>
                  </a:lnTo>
                  <a:lnTo>
                    <a:pt x="492" y="246"/>
                  </a:lnTo>
                  <a:lnTo>
                    <a:pt x="492" y="270"/>
                  </a:lnTo>
                  <a:lnTo>
                    <a:pt x="486" y="294"/>
                  </a:lnTo>
                  <a:lnTo>
                    <a:pt x="486" y="312"/>
                  </a:lnTo>
                  <a:lnTo>
                    <a:pt x="486" y="330"/>
                  </a:lnTo>
                  <a:lnTo>
                    <a:pt x="492" y="348"/>
                  </a:lnTo>
                  <a:lnTo>
                    <a:pt x="498" y="360"/>
                  </a:lnTo>
                  <a:lnTo>
                    <a:pt x="510" y="366"/>
                  </a:lnTo>
                  <a:lnTo>
                    <a:pt x="516" y="384"/>
                  </a:lnTo>
                  <a:lnTo>
                    <a:pt x="522" y="414"/>
                  </a:lnTo>
                  <a:lnTo>
                    <a:pt x="528" y="414"/>
                  </a:lnTo>
                  <a:lnTo>
                    <a:pt x="534" y="426"/>
                  </a:lnTo>
                  <a:lnTo>
                    <a:pt x="528" y="432"/>
                  </a:lnTo>
                  <a:lnTo>
                    <a:pt x="468" y="426"/>
                  </a:lnTo>
                  <a:lnTo>
                    <a:pt x="462" y="4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3" name="Freeform 8">
              <a:extLst>
                <a:ext uri="{FF2B5EF4-FFF2-40B4-BE49-F238E27FC236}">
                  <a16:creationId xmlns:a16="http://schemas.microsoft.com/office/drawing/2014/main" id="{D473457C-872E-4E31-888A-D60FD52063A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98175" y="4307054"/>
              <a:ext cx="295177" cy="348894"/>
            </a:xfrm>
            <a:custGeom>
              <a:avLst/>
              <a:gdLst>
                <a:gd name="T0" fmla="*/ 3 w 552"/>
                <a:gd name="T1" fmla="*/ 46 h 660"/>
                <a:gd name="T2" fmla="*/ 4 w 552"/>
                <a:gd name="T3" fmla="*/ 42 h 660"/>
                <a:gd name="T4" fmla="*/ 2 w 552"/>
                <a:gd name="T5" fmla="*/ 38 h 660"/>
                <a:gd name="T6" fmla="*/ 0 w 552"/>
                <a:gd name="T7" fmla="*/ 34 h 660"/>
                <a:gd name="T8" fmla="*/ 2 w 552"/>
                <a:gd name="T9" fmla="*/ 30 h 660"/>
                <a:gd name="T10" fmla="*/ 3 w 552"/>
                <a:gd name="T11" fmla="*/ 27 h 660"/>
                <a:gd name="T12" fmla="*/ 5 w 552"/>
                <a:gd name="T13" fmla="*/ 23 h 660"/>
                <a:gd name="T14" fmla="*/ 5 w 552"/>
                <a:gd name="T15" fmla="*/ 15 h 660"/>
                <a:gd name="T16" fmla="*/ 6 w 552"/>
                <a:gd name="T17" fmla="*/ 11 h 660"/>
                <a:gd name="T18" fmla="*/ 11 w 552"/>
                <a:gd name="T19" fmla="*/ 9 h 660"/>
                <a:gd name="T20" fmla="*/ 10 w 552"/>
                <a:gd name="T21" fmla="*/ 5 h 660"/>
                <a:gd name="T22" fmla="*/ 12 w 552"/>
                <a:gd name="T23" fmla="*/ 1 h 660"/>
                <a:gd name="T24" fmla="*/ 16 w 552"/>
                <a:gd name="T25" fmla="*/ 2 h 660"/>
                <a:gd name="T26" fmla="*/ 23 w 552"/>
                <a:gd name="T27" fmla="*/ 8 h 660"/>
                <a:gd name="T28" fmla="*/ 23 w 552"/>
                <a:gd name="T29" fmla="*/ 11 h 660"/>
                <a:gd name="T30" fmla="*/ 27 w 552"/>
                <a:gd name="T31" fmla="*/ 12 h 660"/>
                <a:gd name="T32" fmla="*/ 29 w 552"/>
                <a:gd name="T33" fmla="*/ 17 h 660"/>
                <a:gd name="T34" fmla="*/ 31 w 552"/>
                <a:gd name="T35" fmla="*/ 15 h 660"/>
                <a:gd name="T36" fmla="*/ 33 w 552"/>
                <a:gd name="T37" fmla="*/ 17 h 660"/>
                <a:gd name="T38" fmla="*/ 36 w 552"/>
                <a:gd name="T39" fmla="*/ 23 h 660"/>
                <a:gd name="T40" fmla="*/ 41 w 552"/>
                <a:gd name="T41" fmla="*/ 33 h 660"/>
                <a:gd name="T42" fmla="*/ 43 w 552"/>
                <a:gd name="T43" fmla="*/ 36 h 660"/>
                <a:gd name="T44" fmla="*/ 43 w 552"/>
                <a:gd name="T45" fmla="*/ 37 h 660"/>
                <a:gd name="T46" fmla="*/ 41 w 552"/>
                <a:gd name="T47" fmla="*/ 35 h 660"/>
                <a:gd name="T48" fmla="*/ 43 w 552"/>
                <a:gd name="T49" fmla="*/ 37 h 660"/>
                <a:gd name="T50" fmla="*/ 44 w 552"/>
                <a:gd name="T51" fmla="*/ 39 h 660"/>
                <a:gd name="T52" fmla="*/ 47 w 552"/>
                <a:gd name="T53" fmla="*/ 41 h 660"/>
                <a:gd name="T54" fmla="*/ 47 w 552"/>
                <a:gd name="T55" fmla="*/ 44 h 660"/>
                <a:gd name="T56" fmla="*/ 48 w 552"/>
                <a:gd name="T57" fmla="*/ 46 h 660"/>
                <a:gd name="T58" fmla="*/ 47 w 552"/>
                <a:gd name="T59" fmla="*/ 46 h 660"/>
                <a:gd name="T60" fmla="*/ 44 w 552"/>
                <a:gd name="T61" fmla="*/ 46 h 660"/>
                <a:gd name="T62" fmla="*/ 47 w 552"/>
                <a:gd name="T63" fmla="*/ 47 h 660"/>
                <a:gd name="T64" fmla="*/ 47 w 552"/>
                <a:gd name="T65" fmla="*/ 49 h 660"/>
                <a:gd name="T66" fmla="*/ 47 w 552"/>
                <a:gd name="T67" fmla="*/ 52 h 660"/>
                <a:gd name="T68" fmla="*/ 46 w 552"/>
                <a:gd name="T69" fmla="*/ 53 h 660"/>
                <a:gd name="T70" fmla="*/ 43 w 552"/>
                <a:gd name="T71" fmla="*/ 54 h 660"/>
                <a:gd name="T72" fmla="*/ 37 w 552"/>
                <a:gd name="T73" fmla="*/ 54 h 660"/>
                <a:gd name="T74" fmla="*/ 30 w 552"/>
                <a:gd name="T75" fmla="*/ 54 h 660"/>
                <a:gd name="T76" fmla="*/ 29 w 552"/>
                <a:gd name="T77" fmla="*/ 53 h 660"/>
                <a:gd name="T78" fmla="*/ 27 w 552"/>
                <a:gd name="T79" fmla="*/ 53 h 660"/>
                <a:gd name="T80" fmla="*/ 29 w 552"/>
                <a:gd name="T81" fmla="*/ 53 h 660"/>
                <a:gd name="T82" fmla="*/ 28 w 552"/>
                <a:gd name="T83" fmla="*/ 54 h 660"/>
                <a:gd name="T84" fmla="*/ 24 w 552"/>
                <a:gd name="T85" fmla="*/ 54 h 660"/>
                <a:gd name="T86" fmla="*/ 20 w 552"/>
                <a:gd name="T87" fmla="*/ 55 h 660"/>
                <a:gd name="T88" fmla="*/ 15 w 552"/>
                <a:gd name="T89" fmla="*/ 56 h 660"/>
                <a:gd name="T90" fmla="*/ 12 w 552"/>
                <a:gd name="T91" fmla="*/ 56 h 660"/>
                <a:gd name="T92" fmla="*/ 11 w 552"/>
                <a:gd name="T93" fmla="*/ 57 h 660"/>
                <a:gd name="T94" fmla="*/ 9 w 552"/>
                <a:gd name="T95" fmla="*/ 57 h 660"/>
                <a:gd name="T96" fmla="*/ 7 w 552"/>
                <a:gd name="T97" fmla="*/ 56 h 660"/>
                <a:gd name="T98" fmla="*/ 5 w 552"/>
                <a:gd name="T99" fmla="*/ 55 h 660"/>
                <a:gd name="T100" fmla="*/ 7 w 552"/>
                <a:gd name="T101" fmla="*/ 54 h 660"/>
                <a:gd name="T102" fmla="*/ 5 w 552"/>
                <a:gd name="T103" fmla="*/ 54 h 660"/>
                <a:gd name="T104" fmla="*/ 5 w 552"/>
                <a:gd name="T105" fmla="*/ 53 h 660"/>
                <a:gd name="T106" fmla="*/ 4 w 552"/>
                <a:gd name="T107" fmla="*/ 49 h 660"/>
                <a:gd name="T108" fmla="*/ 45 w 552"/>
                <a:gd name="T109" fmla="*/ 38 h 66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52"/>
                <a:gd name="T166" fmla="*/ 0 h 660"/>
                <a:gd name="T167" fmla="*/ 552 w 552"/>
                <a:gd name="T168" fmla="*/ 660 h 66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52" h="660">
                  <a:moveTo>
                    <a:pt x="36" y="564"/>
                  </a:moveTo>
                  <a:lnTo>
                    <a:pt x="36" y="558"/>
                  </a:lnTo>
                  <a:lnTo>
                    <a:pt x="36" y="552"/>
                  </a:lnTo>
                  <a:lnTo>
                    <a:pt x="42" y="546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34"/>
                  </a:lnTo>
                  <a:lnTo>
                    <a:pt x="36" y="528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54" y="510"/>
                  </a:lnTo>
                  <a:lnTo>
                    <a:pt x="54" y="504"/>
                  </a:lnTo>
                  <a:lnTo>
                    <a:pt x="54" y="498"/>
                  </a:lnTo>
                  <a:lnTo>
                    <a:pt x="48" y="492"/>
                  </a:lnTo>
                  <a:lnTo>
                    <a:pt x="42" y="486"/>
                  </a:lnTo>
                  <a:lnTo>
                    <a:pt x="42" y="480"/>
                  </a:lnTo>
                  <a:lnTo>
                    <a:pt x="42" y="468"/>
                  </a:lnTo>
                  <a:lnTo>
                    <a:pt x="30" y="456"/>
                  </a:lnTo>
                  <a:lnTo>
                    <a:pt x="30" y="450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2"/>
                  </a:lnTo>
                  <a:lnTo>
                    <a:pt x="18" y="426"/>
                  </a:lnTo>
                  <a:lnTo>
                    <a:pt x="24" y="420"/>
                  </a:lnTo>
                  <a:lnTo>
                    <a:pt x="18" y="414"/>
                  </a:lnTo>
                  <a:lnTo>
                    <a:pt x="12" y="408"/>
                  </a:lnTo>
                  <a:lnTo>
                    <a:pt x="12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6" y="384"/>
                  </a:lnTo>
                  <a:lnTo>
                    <a:pt x="12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8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36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54" y="270"/>
                  </a:lnTo>
                  <a:lnTo>
                    <a:pt x="48" y="264"/>
                  </a:lnTo>
                  <a:lnTo>
                    <a:pt x="42" y="246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8" y="204"/>
                  </a:lnTo>
                  <a:lnTo>
                    <a:pt x="54" y="174"/>
                  </a:lnTo>
                  <a:lnTo>
                    <a:pt x="54" y="162"/>
                  </a:lnTo>
                  <a:lnTo>
                    <a:pt x="54" y="156"/>
                  </a:lnTo>
                  <a:lnTo>
                    <a:pt x="54" y="144"/>
                  </a:lnTo>
                  <a:lnTo>
                    <a:pt x="48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72" y="126"/>
                  </a:lnTo>
                  <a:lnTo>
                    <a:pt x="84" y="126"/>
                  </a:lnTo>
                  <a:lnTo>
                    <a:pt x="96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2" y="84"/>
                  </a:lnTo>
                  <a:lnTo>
                    <a:pt x="126" y="78"/>
                  </a:lnTo>
                  <a:lnTo>
                    <a:pt x="120" y="78"/>
                  </a:lnTo>
                  <a:lnTo>
                    <a:pt x="102" y="84"/>
                  </a:lnTo>
                  <a:lnTo>
                    <a:pt x="108" y="66"/>
                  </a:lnTo>
                  <a:lnTo>
                    <a:pt x="114" y="54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8" y="4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6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74" y="0"/>
                  </a:lnTo>
                  <a:lnTo>
                    <a:pt x="180" y="0"/>
                  </a:lnTo>
                  <a:lnTo>
                    <a:pt x="186" y="18"/>
                  </a:lnTo>
                  <a:lnTo>
                    <a:pt x="198" y="30"/>
                  </a:lnTo>
                  <a:lnTo>
                    <a:pt x="204" y="54"/>
                  </a:lnTo>
                  <a:lnTo>
                    <a:pt x="216" y="60"/>
                  </a:lnTo>
                  <a:lnTo>
                    <a:pt x="240" y="60"/>
                  </a:lnTo>
                  <a:lnTo>
                    <a:pt x="246" y="66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2" y="120"/>
                  </a:lnTo>
                  <a:lnTo>
                    <a:pt x="25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6" y="126"/>
                  </a:lnTo>
                  <a:lnTo>
                    <a:pt x="282" y="120"/>
                  </a:lnTo>
                  <a:lnTo>
                    <a:pt x="282" y="126"/>
                  </a:lnTo>
                  <a:lnTo>
                    <a:pt x="294" y="126"/>
                  </a:lnTo>
                  <a:lnTo>
                    <a:pt x="300" y="132"/>
                  </a:lnTo>
                  <a:lnTo>
                    <a:pt x="306" y="144"/>
                  </a:lnTo>
                  <a:lnTo>
                    <a:pt x="312" y="144"/>
                  </a:lnTo>
                  <a:lnTo>
                    <a:pt x="312" y="150"/>
                  </a:lnTo>
                  <a:lnTo>
                    <a:pt x="312" y="162"/>
                  </a:lnTo>
                  <a:lnTo>
                    <a:pt x="312" y="174"/>
                  </a:lnTo>
                  <a:lnTo>
                    <a:pt x="324" y="180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30" y="192"/>
                  </a:lnTo>
                  <a:lnTo>
                    <a:pt x="336" y="198"/>
                  </a:lnTo>
                  <a:lnTo>
                    <a:pt x="342" y="192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54" y="180"/>
                  </a:lnTo>
                  <a:lnTo>
                    <a:pt x="354" y="174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84" y="192"/>
                  </a:lnTo>
                  <a:lnTo>
                    <a:pt x="390" y="204"/>
                  </a:lnTo>
                  <a:lnTo>
                    <a:pt x="390" y="210"/>
                  </a:lnTo>
                  <a:lnTo>
                    <a:pt x="390" y="216"/>
                  </a:lnTo>
                  <a:lnTo>
                    <a:pt x="384" y="234"/>
                  </a:lnTo>
                  <a:lnTo>
                    <a:pt x="390" y="240"/>
                  </a:lnTo>
                  <a:lnTo>
                    <a:pt x="408" y="252"/>
                  </a:lnTo>
                  <a:lnTo>
                    <a:pt x="414" y="264"/>
                  </a:lnTo>
                  <a:lnTo>
                    <a:pt x="408" y="300"/>
                  </a:lnTo>
                  <a:lnTo>
                    <a:pt x="414" y="312"/>
                  </a:lnTo>
                  <a:lnTo>
                    <a:pt x="426" y="336"/>
                  </a:lnTo>
                  <a:lnTo>
                    <a:pt x="438" y="354"/>
                  </a:lnTo>
                  <a:lnTo>
                    <a:pt x="444" y="366"/>
                  </a:lnTo>
                  <a:lnTo>
                    <a:pt x="456" y="366"/>
                  </a:lnTo>
                  <a:lnTo>
                    <a:pt x="474" y="378"/>
                  </a:lnTo>
                  <a:lnTo>
                    <a:pt x="474" y="384"/>
                  </a:lnTo>
                  <a:lnTo>
                    <a:pt x="480" y="390"/>
                  </a:lnTo>
                  <a:lnTo>
                    <a:pt x="486" y="396"/>
                  </a:lnTo>
                  <a:lnTo>
                    <a:pt x="486" y="402"/>
                  </a:lnTo>
                  <a:lnTo>
                    <a:pt x="480" y="408"/>
                  </a:lnTo>
                  <a:lnTo>
                    <a:pt x="486" y="408"/>
                  </a:lnTo>
                  <a:lnTo>
                    <a:pt x="486" y="414"/>
                  </a:lnTo>
                  <a:lnTo>
                    <a:pt x="492" y="414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32"/>
                  </a:lnTo>
                  <a:lnTo>
                    <a:pt x="498" y="438"/>
                  </a:lnTo>
                  <a:lnTo>
                    <a:pt x="492" y="432"/>
                  </a:lnTo>
                  <a:lnTo>
                    <a:pt x="486" y="426"/>
                  </a:lnTo>
                  <a:lnTo>
                    <a:pt x="486" y="420"/>
                  </a:lnTo>
                  <a:lnTo>
                    <a:pt x="486" y="414"/>
                  </a:lnTo>
                  <a:lnTo>
                    <a:pt x="480" y="414"/>
                  </a:lnTo>
                  <a:lnTo>
                    <a:pt x="480" y="408"/>
                  </a:lnTo>
                  <a:lnTo>
                    <a:pt x="474" y="408"/>
                  </a:lnTo>
                  <a:lnTo>
                    <a:pt x="468" y="408"/>
                  </a:lnTo>
                  <a:lnTo>
                    <a:pt x="468" y="402"/>
                  </a:lnTo>
                  <a:lnTo>
                    <a:pt x="462" y="402"/>
                  </a:lnTo>
                  <a:lnTo>
                    <a:pt x="462" y="408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80" y="426"/>
                  </a:lnTo>
                  <a:lnTo>
                    <a:pt x="486" y="426"/>
                  </a:lnTo>
                  <a:lnTo>
                    <a:pt x="486" y="432"/>
                  </a:lnTo>
                  <a:lnTo>
                    <a:pt x="492" y="438"/>
                  </a:lnTo>
                  <a:lnTo>
                    <a:pt x="498" y="438"/>
                  </a:lnTo>
                  <a:lnTo>
                    <a:pt x="504" y="444"/>
                  </a:lnTo>
                  <a:lnTo>
                    <a:pt x="510" y="444"/>
                  </a:lnTo>
                  <a:lnTo>
                    <a:pt x="510" y="450"/>
                  </a:lnTo>
                  <a:lnTo>
                    <a:pt x="510" y="456"/>
                  </a:lnTo>
                  <a:lnTo>
                    <a:pt x="516" y="456"/>
                  </a:lnTo>
                  <a:lnTo>
                    <a:pt x="516" y="462"/>
                  </a:lnTo>
                  <a:lnTo>
                    <a:pt x="522" y="462"/>
                  </a:lnTo>
                  <a:lnTo>
                    <a:pt x="522" y="468"/>
                  </a:lnTo>
                  <a:lnTo>
                    <a:pt x="528" y="468"/>
                  </a:lnTo>
                  <a:lnTo>
                    <a:pt x="534" y="468"/>
                  </a:lnTo>
                  <a:lnTo>
                    <a:pt x="534" y="474"/>
                  </a:lnTo>
                  <a:lnTo>
                    <a:pt x="540" y="474"/>
                  </a:lnTo>
                  <a:lnTo>
                    <a:pt x="540" y="480"/>
                  </a:lnTo>
                  <a:lnTo>
                    <a:pt x="546" y="486"/>
                  </a:lnTo>
                  <a:lnTo>
                    <a:pt x="546" y="492"/>
                  </a:lnTo>
                  <a:lnTo>
                    <a:pt x="546" y="498"/>
                  </a:lnTo>
                  <a:lnTo>
                    <a:pt x="546" y="504"/>
                  </a:lnTo>
                  <a:lnTo>
                    <a:pt x="540" y="504"/>
                  </a:lnTo>
                  <a:lnTo>
                    <a:pt x="546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10"/>
                  </a:lnTo>
                  <a:lnTo>
                    <a:pt x="552" y="516"/>
                  </a:lnTo>
                  <a:lnTo>
                    <a:pt x="552" y="522"/>
                  </a:lnTo>
                  <a:lnTo>
                    <a:pt x="552" y="528"/>
                  </a:lnTo>
                  <a:lnTo>
                    <a:pt x="552" y="534"/>
                  </a:lnTo>
                  <a:lnTo>
                    <a:pt x="552" y="540"/>
                  </a:lnTo>
                  <a:lnTo>
                    <a:pt x="546" y="540"/>
                  </a:lnTo>
                  <a:lnTo>
                    <a:pt x="546" y="546"/>
                  </a:lnTo>
                  <a:lnTo>
                    <a:pt x="546" y="540"/>
                  </a:lnTo>
                  <a:lnTo>
                    <a:pt x="546" y="534"/>
                  </a:lnTo>
                  <a:lnTo>
                    <a:pt x="540" y="534"/>
                  </a:lnTo>
                  <a:lnTo>
                    <a:pt x="540" y="528"/>
                  </a:lnTo>
                  <a:lnTo>
                    <a:pt x="534" y="528"/>
                  </a:lnTo>
                  <a:lnTo>
                    <a:pt x="528" y="528"/>
                  </a:lnTo>
                  <a:lnTo>
                    <a:pt x="522" y="528"/>
                  </a:lnTo>
                  <a:lnTo>
                    <a:pt x="516" y="528"/>
                  </a:lnTo>
                  <a:lnTo>
                    <a:pt x="510" y="528"/>
                  </a:lnTo>
                  <a:lnTo>
                    <a:pt x="510" y="534"/>
                  </a:lnTo>
                  <a:lnTo>
                    <a:pt x="510" y="528"/>
                  </a:lnTo>
                  <a:lnTo>
                    <a:pt x="516" y="528"/>
                  </a:lnTo>
                  <a:lnTo>
                    <a:pt x="522" y="528"/>
                  </a:lnTo>
                  <a:lnTo>
                    <a:pt x="528" y="528"/>
                  </a:lnTo>
                  <a:lnTo>
                    <a:pt x="534" y="534"/>
                  </a:lnTo>
                  <a:lnTo>
                    <a:pt x="540" y="534"/>
                  </a:lnTo>
                  <a:lnTo>
                    <a:pt x="540" y="540"/>
                  </a:lnTo>
                  <a:lnTo>
                    <a:pt x="540" y="546"/>
                  </a:lnTo>
                  <a:lnTo>
                    <a:pt x="546" y="546"/>
                  </a:lnTo>
                  <a:lnTo>
                    <a:pt x="546" y="552"/>
                  </a:lnTo>
                  <a:lnTo>
                    <a:pt x="552" y="552"/>
                  </a:lnTo>
                  <a:lnTo>
                    <a:pt x="552" y="558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0" y="576"/>
                  </a:lnTo>
                  <a:lnTo>
                    <a:pt x="540" y="582"/>
                  </a:lnTo>
                  <a:lnTo>
                    <a:pt x="540" y="588"/>
                  </a:lnTo>
                  <a:lnTo>
                    <a:pt x="534" y="594"/>
                  </a:lnTo>
                  <a:lnTo>
                    <a:pt x="534" y="600"/>
                  </a:lnTo>
                  <a:lnTo>
                    <a:pt x="528" y="600"/>
                  </a:lnTo>
                  <a:lnTo>
                    <a:pt x="522" y="594"/>
                  </a:lnTo>
                  <a:lnTo>
                    <a:pt x="528" y="600"/>
                  </a:lnTo>
                  <a:lnTo>
                    <a:pt x="534" y="600"/>
                  </a:lnTo>
                  <a:lnTo>
                    <a:pt x="534" y="606"/>
                  </a:lnTo>
                  <a:lnTo>
                    <a:pt x="528" y="606"/>
                  </a:lnTo>
                  <a:lnTo>
                    <a:pt x="528" y="612"/>
                  </a:lnTo>
                  <a:lnTo>
                    <a:pt x="522" y="612"/>
                  </a:lnTo>
                  <a:lnTo>
                    <a:pt x="522" y="618"/>
                  </a:lnTo>
                  <a:lnTo>
                    <a:pt x="522" y="624"/>
                  </a:lnTo>
                  <a:lnTo>
                    <a:pt x="510" y="624"/>
                  </a:lnTo>
                  <a:lnTo>
                    <a:pt x="498" y="624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0" y="624"/>
                  </a:lnTo>
                  <a:lnTo>
                    <a:pt x="474" y="624"/>
                  </a:lnTo>
                  <a:lnTo>
                    <a:pt x="468" y="618"/>
                  </a:lnTo>
                  <a:lnTo>
                    <a:pt x="456" y="618"/>
                  </a:lnTo>
                  <a:lnTo>
                    <a:pt x="450" y="618"/>
                  </a:lnTo>
                  <a:lnTo>
                    <a:pt x="426" y="618"/>
                  </a:lnTo>
                  <a:lnTo>
                    <a:pt x="420" y="618"/>
                  </a:lnTo>
                  <a:lnTo>
                    <a:pt x="414" y="618"/>
                  </a:lnTo>
                  <a:lnTo>
                    <a:pt x="408" y="618"/>
                  </a:lnTo>
                  <a:lnTo>
                    <a:pt x="396" y="618"/>
                  </a:lnTo>
                  <a:lnTo>
                    <a:pt x="366" y="618"/>
                  </a:lnTo>
                  <a:lnTo>
                    <a:pt x="348" y="624"/>
                  </a:lnTo>
                  <a:lnTo>
                    <a:pt x="342" y="624"/>
                  </a:lnTo>
                  <a:lnTo>
                    <a:pt x="342" y="618"/>
                  </a:lnTo>
                  <a:lnTo>
                    <a:pt x="336" y="618"/>
                  </a:lnTo>
                  <a:lnTo>
                    <a:pt x="336" y="612"/>
                  </a:lnTo>
                  <a:lnTo>
                    <a:pt x="342" y="612"/>
                  </a:lnTo>
                  <a:lnTo>
                    <a:pt x="348" y="612"/>
                  </a:lnTo>
                  <a:lnTo>
                    <a:pt x="342" y="612"/>
                  </a:lnTo>
                  <a:lnTo>
                    <a:pt x="336" y="612"/>
                  </a:lnTo>
                  <a:lnTo>
                    <a:pt x="336" y="606"/>
                  </a:lnTo>
                  <a:lnTo>
                    <a:pt x="330" y="606"/>
                  </a:lnTo>
                  <a:lnTo>
                    <a:pt x="330" y="600"/>
                  </a:lnTo>
                  <a:lnTo>
                    <a:pt x="324" y="600"/>
                  </a:lnTo>
                  <a:lnTo>
                    <a:pt x="324" y="606"/>
                  </a:lnTo>
                  <a:lnTo>
                    <a:pt x="318" y="606"/>
                  </a:lnTo>
                  <a:lnTo>
                    <a:pt x="318" y="612"/>
                  </a:lnTo>
                  <a:lnTo>
                    <a:pt x="312" y="612"/>
                  </a:lnTo>
                  <a:lnTo>
                    <a:pt x="306" y="606"/>
                  </a:lnTo>
                  <a:lnTo>
                    <a:pt x="306" y="612"/>
                  </a:lnTo>
                  <a:lnTo>
                    <a:pt x="312" y="612"/>
                  </a:lnTo>
                  <a:lnTo>
                    <a:pt x="318" y="612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30" y="606"/>
                  </a:lnTo>
                  <a:lnTo>
                    <a:pt x="336" y="612"/>
                  </a:lnTo>
                  <a:lnTo>
                    <a:pt x="336" y="618"/>
                  </a:lnTo>
                  <a:lnTo>
                    <a:pt x="330" y="618"/>
                  </a:lnTo>
                  <a:lnTo>
                    <a:pt x="336" y="618"/>
                  </a:lnTo>
                  <a:lnTo>
                    <a:pt x="336" y="624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288" y="624"/>
                  </a:lnTo>
                  <a:lnTo>
                    <a:pt x="282" y="624"/>
                  </a:lnTo>
                  <a:lnTo>
                    <a:pt x="270" y="630"/>
                  </a:lnTo>
                  <a:lnTo>
                    <a:pt x="264" y="630"/>
                  </a:lnTo>
                  <a:lnTo>
                    <a:pt x="258" y="630"/>
                  </a:lnTo>
                  <a:lnTo>
                    <a:pt x="252" y="630"/>
                  </a:lnTo>
                  <a:lnTo>
                    <a:pt x="246" y="630"/>
                  </a:lnTo>
                  <a:lnTo>
                    <a:pt x="240" y="630"/>
                  </a:lnTo>
                  <a:lnTo>
                    <a:pt x="228" y="636"/>
                  </a:lnTo>
                  <a:lnTo>
                    <a:pt x="222" y="636"/>
                  </a:lnTo>
                  <a:lnTo>
                    <a:pt x="210" y="636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42"/>
                  </a:lnTo>
                  <a:lnTo>
                    <a:pt x="186" y="642"/>
                  </a:lnTo>
                  <a:lnTo>
                    <a:pt x="180" y="642"/>
                  </a:lnTo>
                  <a:lnTo>
                    <a:pt x="168" y="642"/>
                  </a:lnTo>
                  <a:lnTo>
                    <a:pt x="162" y="642"/>
                  </a:lnTo>
                  <a:lnTo>
                    <a:pt x="162" y="648"/>
                  </a:lnTo>
                  <a:lnTo>
                    <a:pt x="156" y="648"/>
                  </a:lnTo>
                  <a:lnTo>
                    <a:pt x="150" y="648"/>
                  </a:lnTo>
                  <a:lnTo>
                    <a:pt x="144" y="648"/>
                  </a:lnTo>
                  <a:lnTo>
                    <a:pt x="138" y="648"/>
                  </a:lnTo>
                  <a:lnTo>
                    <a:pt x="132" y="648"/>
                  </a:lnTo>
                  <a:lnTo>
                    <a:pt x="126" y="642"/>
                  </a:lnTo>
                  <a:lnTo>
                    <a:pt x="126" y="636"/>
                  </a:lnTo>
                  <a:lnTo>
                    <a:pt x="120" y="636"/>
                  </a:lnTo>
                  <a:lnTo>
                    <a:pt x="126" y="642"/>
                  </a:lnTo>
                  <a:lnTo>
                    <a:pt x="126" y="648"/>
                  </a:lnTo>
                  <a:lnTo>
                    <a:pt x="132" y="648"/>
                  </a:lnTo>
                  <a:lnTo>
                    <a:pt x="126" y="654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54"/>
                  </a:lnTo>
                  <a:lnTo>
                    <a:pt x="108" y="660"/>
                  </a:lnTo>
                  <a:lnTo>
                    <a:pt x="108" y="654"/>
                  </a:lnTo>
                  <a:lnTo>
                    <a:pt x="102" y="654"/>
                  </a:lnTo>
                  <a:lnTo>
                    <a:pt x="102" y="660"/>
                  </a:lnTo>
                  <a:lnTo>
                    <a:pt x="108" y="660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0" y="660"/>
                  </a:lnTo>
                  <a:lnTo>
                    <a:pt x="90" y="654"/>
                  </a:lnTo>
                  <a:lnTo>
                    <a:pt x="84" y="648"/>
                  </a:lnTo>
                  <a:lnTo>
                    <a:pt x="84" y="642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72" y="636"/>
                  </a:lnTo>
                  <a:lnTo>
                    <a:pt x="78" y="636"/>
                  </a:lnTo>
                  <a:lnTo>
                    <a:pt x="72" y="636"/>
                  </a:lnTo>
                  <a:lnTo>
                    <a:pt x="66" y="636"/>
                  </a:lnTo>
                  <a:lnTo>
                    <a:pt x="60" y="636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60" y="618"/>
                  </a:lnTo>
                  <a:lnTo>
                    <a:pt x="66" y="618"/>
                  </a:lnTo>
                  <a:lnTo>
                    <a:pt x="72" y="618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2" y="612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12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54" y="618"/>
                  </a:lnTo>
                  <a:lnTo>
                    <a:pt x="54" y="624"/>
                  </a:lnTo>
                  <a:lnTo>
                    <a:pt x="48" y="618"/>
                  </a:lnTo>
                  <a:lnTo>
                    <a:pt x="42" y="618"/>
                  </a:lnTo>
                  <a:lnTo>
                    <a:pt x="42" y="612"/>
                  </a:lnTo>
                  <a:lnTo>
                    <a:pt x="48" y="606"/>
                  </a:lnTo>
                  <a:lnTo>
                    <a:pt x="54" y="606"/>
                  </a:lnTo>
                  <a:lnTo>
                    <a:pt x="54" y="600"/>
                  </a:lnTo>
                  <a:lnTo>
                    <a:pt x="54" y="594"/>
                  </a:lnTo>
                  <a:lnTo>
                    <a:pt x="54" y="588"/>
                  </a:lnTo>
                  <a:lnTo>
                    <a:pt x="48" y="588"/>
                  </a:lnTo>
                  <a:lnTo>
                    <a:pt x="48" y="582"/>
                  </a:lnTo>
                  <a:lnTo>
                    <a:pt x="42" y="582"/>
                  </a:lnTo>
                  <a:lnTo>
                    <a:pt x="42" y="570"/>
                  </a:lnTo>
                  <a:lnTo>
                    <a:pt x="42" y="564"/>
                  </a:lnTo>
                  <a:lnTo>
                    <a:pt x="36" y="564"/>
                  </a:lnTo>
                  <a:close/>
                  <a:moveTo>
                    <a:pt x="498" y="420"/>
                  </a:moveTo>
                  <a:lnTo>
                    <a:pt x="504" y="426"/>
                  </a:lnTo>
                  <a:lnTo>
                    <a:pt x="510" y="432"/>
                  </a:lnTo>
                  <a:lnTo>
                    <a:pt x="516" y="432"/>
                  </a:lnTo>
                  <a:lnTo>
                    <a:pt x="516" y="438"/>
                  </a:lnTo>
                  <a:lnTo>
                    <a:pt x="510" y="438"/>
                  </a:lnTo>
                  <a:lnTo>
                    <a:pt x="504" y="438"/>
                  </a:lnTo>
                  <a:lnTo>
                    <a:pt x="504" y="432"/>
                  </a:lnTo>
                  <a:lnTo>
                    <a:pt x="498" y="432"/>
                  </a:lnTo>
                  <a:lnTo>
                    <a:pt x="498" y="426"/>
                  </a:lnTo>
                  <a:lnTo>
                    <a:pt x="498" y="4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4" name="Freeform 9">
              <a:extLst>
                <a:ext uri="{FF2B5EF4-FFF2-40B4-BE49-F238E27FC236}">
                  <a16:creationId xmlns:a16="http://schemas.microsoft.com/office/drawing/2014/main" id="{E0116D32-BD2E-45EA-B818-A3082585D5F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3055" y="2468650"/>
              <a:ext cx="800556" cy="1207710"/>
            </a:xfrm>
            <a:custGeom>
              <a:avLst/>
              <a:gdLst>
                <a:gd name="T0" fmla="*/ 24 w 1506"/>
                <a:gd name="T1" fmla="*/ 190 h 2274"/>
                <a:gd name="T2" fmla="*/ 25 w 1506"/>
                <a:gd name="T3" fmla="*/ 180 h 2274"/>
                <a:gd name="T4" fmla="*/ 21 w 1506"/>
                <a:gd name="T5" fmla="*/ 174 h 2274"/>
                <a:gd name="T6" fmla="*/ 17 w 1506"/>
                <a:gd name="T7" fmla="*/ 170 h 2274"/>
                <a:gd name="T8" fmla="*/ 12 w 1506"/>
                <a:gd name="T9" fmla="*/ 168 h 2274"/>
                <a:gd name="T10" fmla="*/ 10 w 1506"/>
                <a:gd name="T11" fmla="*/ 173 h 2274"/>
                <a:gd name="T12" fmla="*/ 7 w 1506"/>
                <a:gd name="T13" fmla="*/ 174 h 2274"/>
                <a:gd name="T14" fmla="*/ 0 w 1506"/>
                <a:gd name="T15" fmla="*/ 163 h 2274"/>
                <a:gd name="T16" fmla="*/ 16 w 1506"/>
                <a:gd name="T17" fmla="*/ 140 h 2274"/>
                <a:gd name="T18" fmla="*/ 19 w 1506"/>
                <a:gd name="T19" fmla="*/ 137 h 2274"/>
                <a:gd name="T20" fmla="*/ 24 w 1506"/>
                <a:gd name="T21" fmla="*/ 126 h 2274"/>
                <a:gd name="T22" fmla="*/ 23 w 1506"/>
                <a:gd name="T23" fmla="*/ 105 h 2274"/>
                <a:gd name="T24" fmla="*/ 14 w 1506"/>
                <a:gd name="T25" fmla="*/ 86 h 2274"/>
                <a:gd name="T26" fmla="*/ 8 w 1506"/>
                <a:gd name="T27" fmla="*/ 84 h 2274"/>
                <a:gd name="T28" fmla="*/ 5 w 1506"/>
                <a:gd name="T29" fmla="*/ 79 h 2274"/>
                <a:gd name="T30" fmla="*/ 16 w 1506"/>
                <a:gd name="T31" fmla="*/ 71 h 2274"/>
                <a:gd name="T32" fmla="*/ 28 w 1506"/>
                <a:gd name="T33" fmla="*/ 55 h 2274"/>
                <a:gd name="T34" fmla="*/ 29 w 1506"/>
                <a:gd name="T35" fmla="*/ 48 h 2274"/>
                <a:gd name="T36" fmla="*/ 35 w 1506"/>
                <a:gd name="T37" fmla="*/ 50 h 2274"/>
                <a:gd name="T38" fmla="*/ 42 w 1506"/>
                <a:gd name="T39" fmla="*/ 47 h 2274"/>
                <a:gd name="T40" fmla="*/ 63 w 1506"/>
                <a:gd name="T41" fmla="*/ 34 h 2274"/>
                <a:gd name="T42" fmla="*/ 74 w 1506"/>
                <a:gd name="T43" fmla="*/ 27 h 2274"/>
                <a:gd name="T44" fmla="*/ 81 w 1506"/>
                <a:gd name="T45" fmla="*/ 20 h 2274"/>
                <a:gd name="T46" fmla="*/ 89 w 1506"/>
                <a:gd name="T47" fmla="*/ 20 h 2274"/>
                <a:gd name="T48" fmla="*/ 98 w 1506"/>
                <a:gd name="T49" fmla="*/ 27 h 2274"/>
                <a:gd name="T50" fmla="*/ 106 w 1506"/>
                <a:gd name="T51" fmla="*/ 17 h 2274"/>
                <a:gd name="T52" fmla="*/ 111 w 1506"/>
                <a:gd name="T53" fmla="*/ 8 h 2274"/>
                <a:gd name="T54" fmla="*/ 121 w 1506"/>
                <a:gd name="T55" fmla="*/ 2 h 2274"/>
                <a:gd name="T56" fmla="*/ 129 w 1506"/>
                <a:gd name="T57" fmla="*/ 5 h 2274"/>
                <a:gd name="T58" fmla="*/ 125 w 1506"/>
                <a:gd name="T59" fmla="*/ 12 h 2274"/>
                <a:gd name="T60" fmla="*/ 122 w 1506"/>
                <a:gd name="T61" fmla="*/ 20 h 2274"/>
                <a:gd name="T62" fmla="*/ 122 w 1506"/>
                <a:gd name="T63" fmla="*/ 27 h 2274"/>
                <a:gd name="T64" fmla="*/ 120 w 1506"/>
                <a:gd name="T65" fmla="*/ 36 h 2274"/>
                <a:gd name="T66" fmla="*/ 116 w 1506"/>
                <a:gd name="T67" fmla="*/ 43 h 2274"/>
                <a:gd name="T68" fmla="*/ 109 w 1506"/>
                <a:gd name="T69" fmla="*/ 47 h 2274"/>
                <a:gd name="T70" fmla="*/ 108 w 1506"/>
                <a:gd name="T71" fmla="*/ 54 h 2274"/>
                <a:gd name="T72" fmla="*/ 106 w 1506"/>
                <a:gd name="T73" fmla="*/ 59 h 2274"/>
                <a:gd name="T74" fmla="*/ 109 w 1506"/>
                <a:gd name="T75" fmla="*/ 64 h 2274"/>
                <a:gd name="T76" fmla="*/ 106 w 1506"/>
                <a:gd name="T77" fmla="*/ 70 h 2274"/>
                <a:gd name="T78" fmla="*/ 105 w 1506"/>
                <a:gd name="T79" fmla="*/ 75 h 2274"/>
                <a:gd name="T80" fmla="*/ 101 w 1506"/>
                <a:gd name="T81" fmla="*/ 78 h 2274"/>
                <a:gd name="T82" fmla="*/ 92 w 1506"/>
                <a:gd name="T83" fmla="*/ 81 h 2274"/>
                <a:gd name="T84" fmla="*/ 85 w 1506"/>
                <a:gd name="T85" fmla="*/ 85 h 2274"/>
                <a:gd name="T86" fmla="*/ 87 w 1506"/>
                <a:gd name="T87" fmla="*/ 91 h 2274"/>
                <a:gd name="T88" fmla="*/ 86 w 1506"/>
                <a:gd name="T89" fmla="*/ 98 h 2274"/>
                <a:gd name="T90" fmla="*/ 86 w 1506"/>
                <a:gd name="T91" fmla="*/ 103 h 2274"/>
                <a:gd name="T92" fmla="*/ 82 w 1506"/>
                <a:gd name="T93" fmla="*/ 111 h 2274"/>
                <a:gd name="T94" fmla="*/ 81 w 1506"/>
                <a:gd name="T95" fmla="*/ 116 h 2274"/>
                <a:gd name="T96" fmla="*/ 78 w 1506"/>
                <a:gd name="T97" fmla="*/ 120 h 2274"/>
                <a:gd name="T98" fmla="*/ 76 w 1506"/>
                <a:gd name="T99" fmla="*/ 126 h 2274"/>
                <a:gd name="T100" fmla="*/ 68 w 1506"/>
                <a:gd name="T101" fmla="*/ 129 h 2274"/>
                <a:gd name="T102" fmla="*/ 62 w 1506"/>
                <a:gd name="T103" fmla="*/ 131 h 2274"/>
                <a:gd name="T104" fmla="*/ 58 w 1506"/>
                <a:gd name="T105" fmla="*/ 136 h 2274"/>
                <a:gd name="T106" fmla="*/ 51 w 1506"/>
                <a:gd name="T107" fmla="*/ 138 h 2274"/>
                <a:gd name="T108" fmla="*/ 51 w 1506"/>
                <a:gd name="T109" fmla="*/ 147 h 2274"/>
                <a:gd name="T110" fmla="*/ 49 w 1506"/>
                <a:gd name="T111" fmla="*/ 159 h 2274"/>
                <a:gd name="T112" fmla="*/ 48 w 1506"/>
                <a:gd name="T113" fmla="*/ 166 h 2274"/>
                <a:gd name="T114" fmla="*/ 41 w 1506"/>
                <a:gd name="T115" fmla="*/ 174 h 2274"/>
                <a:gd name="T116" fmla="*/ 39 w 1506"/>
                <a:gd name="T117" fmla="*/ 181 h 2274"/>
                <a:gd name="T118" fmla="*/ 37 w 1506"/>
                <a:gd name="T119" fmla="*/ 190 h 2274"/>
                <a:gd name="T120" fmla="*/ 29 w 1506"/>
                <a:gd name="T121" fmla="*/ 198 h 22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06"/>
                <a:gd name="T184" fmla="*/ 0 h 2274"/>
                <a:gd name="T185" fmla="*/ 1506 w 1506"/>
                <a:gd name="T186" fmla="*/ 2274 h 227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06" h="2274">
                  <a:moveTo>
                    <a:pt x="330" y="2274"/>
                  </a:moveTo>
                  <a:lnTo>
                    <a:pt x="318" y="2262"/>
                  </a:lnTo>
                  <a:lnTo>
                    <a:pt x="312" y="2238"/>
                  </a:lnTo>
                  <a:lnTo>
                    <a:pt x="312" y="2232"/>
                  </a:lnTo>
                  <a:lnTo>
                    <a:pt x="294" y="2214"/>
                  </a:lnTo>
                  <a:lnTo>
                    <a:pt x="288" y="2208"/>
                  </a:lnTo>
                  <a:lnTo>
                    <a:pt x="288" y="2202"/>
                  </a:lnTo>
                  <a:lnTo>
                    <a:pt x="276" y="2196"/>
                  </a:lnTo>
                  <a:lnTo>
                    <a:pt x="276" y="2190"/>
                  </a:lnTo>
                  <a:lnTo>
                    <a:pt x="282" y="2190"/>
                  </a:lnTo>
                  <a:lnTo>
                    <a:pt x="282" y="2184"/>
                  </a:lnTo>
                  <a:lnTo>
                    <a:pt x="276" y="2172"/>
                  </a:lnTo>
                  <a:lnTo>
                    <a:pt x="276" y="2166"/>
                  </a:lnTo>
                  <a:lnTo>
                    <a:pt x="282" y="2166"/>
                  </a:lnTo>
                  <a:lnTo>
                    <a:pt x="282" y="2154"/>
                  </a:lnTo>
                  <a:lnTo>
                    <a:pt x="276" y="2136"/>
                  </a:lnTo>
                  <a:lnTo>
                    <a:pt x="276" y="2112"/>
                  </a:lnTo>
                  <a:lnTo>
                    <a:pt x="282" y="2088"/>
                  </a:lnTo>
                  <a:lnTo>
                    <a:pt x="282" y="2082"/>
                  </a:lnTo>
                  <a:lnTo>
                    <a:pt x="282" y="2076"/>
                  </a:lnTo>
                  <a:lnTo>
                    <a:pt x="282" y="2070"/>
                  </a:lnTo>
                  <a:lnTo>
                    <a:pt x="288" y="2070"/>
                  </a:lnTo>
                  <a:lnTo>
                    <a:pt x="288" y="2064"/>
                  </a:lnTo>
                  <a:lnTo>
                    <a:pt x="282" y="2052"/>
                  </a:lnTo>
                  <a:lnTo>
                    <a:pt x="282" y="2046"/>
                  </a:lnTo>
                  <a:lnTo>
                    <a:pt x="276" y="2040"/>
                  </a:lnTo>
                  <a:lnTo>
                    <a:pt x="270" y="2034"/>
                  </a:lnTo>
                  <a:lnTo>
                    <a:pt x="264" y="2022"/>
                  </a:lnTo>
                  <a:lnTo>
                    <a:pt x="258" y="2022"/>
                  </a:lnTo>
                  <a:lnTo>
                    <a:pt x="258" y="2016"/>
                  </a:lnTo>
                  <a:lnTo>
                    <a:pt x="252" y="2016"/>
                  </a:lnTo>
                  <a:lnTo>
                    <a:pt x="246" y="2016"/>
                  </a:lnTo>
                  <a:lnTo>
                    <a:pt x="240" y="2010"/>
                  </a:lnTo>
                  <a:lnTo>
                    <a:pt x="234" y="2004"/>
                  </a:lnTo>
                  <a:lnTo>
                    <a:pt x="228" y="2004"/>
                  </a:lnTo>
                  <a:lnTo>
                    <a:pt x="228" y="1998"/>
                  </a:lnTo>
                  <a:lnTo>
                    <a:pt x="228" y="1992"/>
                  </a:lnTo>
                  <a:lnTo>
                    <a:pt x="222" y="1992"/>
                  </a:lnTo>
                  <a:lnTo>
                    <a:pt x="222" y="1986"/>
                  </a:lnTo>
                  <a:lnTo>
                    <a:pt x="216" y="1986"/>
                  </a:lnTo>
                  <a:lnTo>
                    <a:pt x="210" y="1980"/>
                  </a:lnTo>
                  <a:lnTo>
                    <a:pt x="216" y="1974"/>
                  </a:lnTo>
                  <a:lnTo>
                    <a:pt x="210" y="1968"/>
                  </a:lnTo>
                  <a:lnTo>
                    <a:pt x="198" y="1956"/>
                  </a:lnTo>
                  <a:lnTo>
                    <a:pt x="192" y="1956"/>
                  </a:lnTo>
                  <a:lnTo>
                    <a:pt x="186" y="1956"/>
                  </a:lnTo>
                  <a:lnTo>
                    <a:pt x="180" y="1944"/>
                  </a:lnTo>
                  <a:lnTo>
                    <a:pt x="180" y="1938"/>
                  </a:lnTo>
                  <a:lnTo>
                    <a:pt x="174" y="1932"/>
                  </a:lnTo>
                  <a:lnTo>
                    <a:pt x="168" y="1932"/>
                  </a:lnTo>
                  <a:lnTo>
                    <a:pt x="162" y="1932"/>
                  </a:lnTo>
                  <a:lnTo>
                    <a:pt x="150" y="1932"/>
                  </a:lnTo>
                  <a:lnTo>
                    <a:pt x="150" y="1926"/>
                  </a:lnTo>
                  <a:lnTo>
                    <a:pt x="150" y="1932"/>
                  </a:lnTo>
                  <a:lnTo>
                    <a:pt x="144" y="1932"/>
                  </a:lnTo>
                  <a:lnTo>
                    <a:pt x="138" y="1932"/>
                  </a:lnTo>
                  <a:lnTo>
                    <a:pt x="132" y="1932"/>
                  </a:lnTo>
                  <a:lnTo>
                    <a:pt x="132" y="1938"/>
                  </a:lnTo>
                  <a:lnTo>
                    <a:pt x="126" y="1944"/>
                  </a:lnTo>
                  <a:lnTo>
                    <a:pt x="126" y="1956"/>
                  </a:lnTo>
                  <a:lnTo>
                    <a:pt x="120" y="1968"/>
                  </a:lnTo>
                  <a:lnTo>
                    <a:pt x="120" y="1974"/>
                  </a:lnTo>
                  <a:lnTo>
                    <a:pt x="120" y="1980"/>
                  </a:lnTo>
                  <a:lnTo>
                    <a:pt x="126" y="1980"/>
                  </a:lnTo>
                  <a:lnTo>
                    <a:pt x="120" y="1986"/>
                  </a:lnTo>
                  <a:lnTo>
                    <a:pt x="120" y="1992"/>
                  </a:lnTo>
                  <a:lnTo>
                    <a:pt x="114" y="1992"/>
                  </a:lnTo>
                  <a:lnTo>
                    <a:pt x="114" y="1986"/>
                  </a:lnTo>
                  <a:lnTo>
                    <a:pt x="108" y="1992"/>
                  </a:lnTo>
                  <a:lnTo>
                    <a:pt x="108" y="1998"/>
                  </a:lnTo>
                  <a:lnTo>
                    <a:pt x="114" y="2004"/>
                  </a:lnTo>
                  <a:lnTo>
                    <a:pt x="108" y="2004"/>
                  </a:lnTo>
                  <a:lnTo>
                    <a:pt x="102" y="2010"/>
                  </a:lnTo>
                  <a:lnTo>
                    <a:pt x="102" y="2004"/>
                  </a:lnTo>
                  <a:lnTo>
                    <a:pt x="90" y="2004"/>
                  </a:lnTo>
                  <a:lnTo>
                    <a:pt x="84" y="2004"/>
                  </a:lnTo>
                  <a:lnTo>
                    <a:pt x="78" y="1998"/>
                  </a:lnTo>
                  <a:lnTo>
                    <a:pt x="78" y="1992"/>
                  </a:lnTo>
                  <a:lnTo>
                    <a:pt x="78" y="1986"/>
                  </a:lnTo>
                  <a:lnTo>
                    <a:pt x="72" y="1986"/>
                  </a:lnTo>
                  <a:lnTo>
                    <a:pt x="66" y="1980"/>
                  </a:lnTo>
                  <a:lnTo>
                    <a:pt x="66" y="1968"/>
                  </a:lnTo>
                  <a:lnTo>
                    <a:pt x="60" y="1956"/>
                  </a:lnTo>
                  <a:lnTo>
                    <a:pt x="60" y="1950"/>
                  </a:lnTo>
                  <a:lnTo>
                    <a:pt x="48" y="1944"/>
                  </a:lnTo>
                  <a:lnTo>
                    <a:pt x="30" y="1926"/>
                  </a:lnTo>
                  <a:lnTo>
                    <a:pt x="12" y="1890"/>
                  </a:lnTo>
                  <a:lnTo>
                    <a:pt x="6" y="1872"/>
                  </a:lnTo>
                  <a:lnTo>
                    <a:pt x="0" y="1854"/>
                  </a:lnTo>
                  <a:lnTo>
                    <a:pt x="6" y="1824"/>
                  </a:lnTo>
                  <a:lnTo>
                    <a:pt x="30" y="1794"/>
                  </a:lnTo>
                  <a:lnTo>
                    <a:pt x="66" y="1752"/>
                  </a:lnTo>
                  <a:lnTo>
                    <a:pt x="72" y="1752"/>
                  </a:lnTo>
                  <a:lnTo>
                    <a:pt x="78" y="1746"/>
                  </a:lnTo>
                  <a:lnTo>
                    <a:pt x="84" y="1746"/>
                  </a:lnTo>
                  <a:lnTo>
                    <a:pt x="90" y="1746"/>
                  </a:lnTo>
                  <a:lnTo>
                    <a:pt x="138" y="1674"/>
                  </a:lnTo>
                  <a:lnTo>
                    <a:pt x="186" y="1620"/>
                  </a:lnTo>
                  <a:lnTo>
                    <a:pt x="186" y="1614"/>
                  </a:lnTo>
                  <a:lnTo>
                    <a:pt x="186" y="1608"/>
                  </a:lnTo>
                  <a:lnTo>
                    <a:pt x="192" y="1608"/>
                  </a:lnTo>
                  <a:lnTo>
                    <a:pt x="192" y="1614"/>
                  </a:lnTo>
                  <a:lnTo>
                    <a:pt x="198" y="1614"/>
                  </a:lnTo>
                  <a:lnTo>
                    <a:pt x="198" y="1608"/>
                  </a:lnTo>
                  <a:lnTo>
                    <a:pt x="198" y="1602"/>
                  </a:lnTo>
                  <a:lnTo>
                    <a:pt x="204" y="1602"/>
                  </a:lnTo>
                  <a:lnTo>
                    <a:pt x="204" y="1596"/>
                  </a:lnTo>
                  <a:lnTo>
                    <a:pt x="210" y="1590"/>
                  </a:lnTo>
                  <a:lnTo>
                    <a:pt x="216" y="1590"/>
                  </a:lnTo>
                  <a:lnTo>
                    <a:pt x="216" y="1584"/>
                  </a:lnTo>
                  <a:lnTo>
                    <a:pt x="222" y="1584"/>
                  </a:lnTo>
                  <a:lnTo>
                    <a:pt x="228" y="1572"/>
                  </a:lnTo>
                  <a:lnTo>
                    <a:pt x="222" y="1572"/>
                  </a:lnTo>
                  <a:lnTo>
                    <a:pt x="228" y="1566"/>
                  </a:lnTo>
                  <a:lnTo>
                    <a:pt x="228" y="1560"/>
                  </a:lnTo>
                  <a:lnTo>
                    <a:pt x="252" y="1548"/>
                  </a:lnTo>
                  <a:lnTo>
                    <a:pt x="276" y="1530"/>
                  </a:lnTo>
                  <a:lnTo>
                    <a:pt x="282" y="1512"/>
                  </a:lnTo>
                  <a:lnTo>
                    <a:pt x="282" y="1506"/>
                  </a:lnTo>
                  <a:lnTo>
                    <a:pt x="282" y="1494"/>
                  </a:lnTo>
                  <a:lnTo>
                    <a:pt x="282" y="1452"/>
                  </a:lnTo>
                  <a:lnTo>
                    <a:pt x="288" y="1440"/>
                  </a:lnTo>
                  <a:lnTo>
                    <a:pt x="294" y="1440"/>
                  </a:lnTo>
                  <a:lnTo>
                    <a:pt x="294" y="1428"/>
                  </a:lnTo>
                  <a:lnTo>
                    <a:pt x="324" y="1368"/>
                  </a:lnTo>
                  <a:lnTo>
                    <a:pt x="330" y="1362"/>
                  </a:lnTo>
                  <a:lnTo>
                    <a:pt x="330" y="1356"/>
                  </a:lnTo>
                  <a:lnTo>
                    <a:pt x="360" y="1338"/>
                  </a:lnTo>
                  <a:lnTo>
                    <a:pt x="366" y="1296"/>
                  </a:lnTo>
                  <a:lnTo>
                    <a:pt x="354" y="1278"/>
                  </a:lnTo>
                  <a:lnTo>
                    <a:pt x="336" y="1230"/>
                  </a:lnTo>
                  <a:lnTo>
                    <a:pt x="270" y="1212"/>
                  </a:lnTo>
                  <a:lnTo>
                    <a:pt x="264" y="1212"/>
                  </a:lnTo>
                  <a:lnTo>
                    <a:pt x="252" y="1200"/>
                  </a:lnTo>
                  <a:lnTo>
                    <a:pt x="234" y="1188"/>
                  </a:lnTo>
                  <a:lnTo>
                    <a:pt x="222" y="1182"/>
                  </a:lnTo>
                  <a:lnTo>
                    <a:pt x="228" y="1104"/>
                  </a:lnTo>
                  <a:lnTo>
                    <a:pt x="228" y="1098"/>
                  </a:lnTo>
                  <a:lnTo>
                    <a:pt x="198" y="1038"/>
                  </a:lnTo>
                  <a:lnTo>
                    <a:pt x="192" y="1032"/>
                  </a:lnTo>
                  <a:lnTo>
                    <a:pt x="180" y="1020"/>
                  </a:lnTo>
                  <a:lnTo>
                    <a:pt x="168" y="996"/>
                  </a:lnTo>
                  <a:lnTo>
                    <a:pt x="162" y="990"/>
                  </a:lnTo>
                  <a:lnTo>
                    <a:pt x="156" y="990"/>
                  </a:lnTo>
                  <a:lnTo>
                    <a:pt x="150" y="990"/>
                  </a:lnTo>
                  <a:lnTo>
                    <a:pt x="132" y="990"/>
                  </a:lnTo>
                  <a:lnTo>
                    <a:pt x="120" y="984"/>
                  </a:lnTo>
                  <a:lnTo>
                    <a:pt x="120" y="990"/>
                  </a:lnTo>
                  <a:lnTo>
                    <a:pt x="114" y="990"/>
                  </a:lnTo>
                  <a:lnTo>
                    <a:pt x="102" y="984"/>
                  </a:lnTo>
                  <a:lnTo>
                    <a:pt x="96" y="984"/>
                  </a:lnTo>
                  <a:lnTo>
                    <a:pt x="96" y="978"/>
                  </a:lnTo>
                  <a:lnTo>
                    <a:pt x="90" y="978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84" y="960"/>
                  </a:lnTo>
                  <a:lnTo>
                    <a:pt x="84" y="954"/>
                  </a:lnTo>
                  <a:lnTo>
                    <a:pt x="78" y="948"/>
                  </a:lnTo>
                  <a:lnTo>
                    <a:pt x="72" y="948"/>
                  </a:lnTo>
                  <a:lnTo>
                    <a:pt x="72" y="942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06"/>
                  </a:lnTo>
                  <a:lnTo>
                    <a:pt x="60" y="888"/>
                  </a:lnTo>
                  <a:lnTo>
                    <a:pt x="54" y="882"/>
                  </a:lnTo>
                  <a:lnTo>
                    <a:pt x="60" y="882"/>
                  </a:lnTo>
                  <a:lnTo>
                    <a:pt x="72" y="876"/>
                  </a:lnTo>
                  <a:lnTo>
                    <a:pt x="78" y="876"/>
                  </a:lnTo>
                  <a:lnTo>
                    <a:pt x="90" y="870"/>
                  </a:lnTo>
                  <a:lnTo>
                    <a:pt x="90" y="864"/>
                  </a:lnTo>
                  <a:lnTo>
                    <a:pt x="96" y="840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80" y="822"/>
                  </a:lnTo>
                  <a:lnTo>
                    <a:pt x="204" y="798"/>
                  </a:lnTo>
                  <a:lnTo>
                    <a:pt x="222" y="786"/>
                  </a:lnTo>
                  <a:lnTo>
                    <a:pt x="252" y="780"/>
                  </a:lnTo>
                  <a:lnTo>
                    <a:pt x="264" y="762"/>
                  </a:lnTo>
                  <a:lnTo>
                    <a:pt x="276" y="762"/>
                  </a:lnTo>
                  <a:lnTo>
                    <a:pt x="288" y="744"/>
                  </a:lnTo>
                  <a:lnTo>
                    <a:pt x="306" y="738"/>
                  </a:lnTo>
                  <a:lnTo>
                    <a:pt x="318" y="732"/>
                  </a:lnTo>
                  <a:lnTo>
                    <a:pt x="324" y="648"/>
                  </a:lnTo>
                  <a:lnTo>
                    <a:pt x="324" y="636"/>
                  </a:lnTo>
                  <a:lnTo>
                    <a:pt x="324" y="630"/>
                  </a:lnTo>
                  <a:lnTo>
                    <a:pt x="330" y="624"/>
                  </a:lnTo>
                  <a:lnTo>
                    <a:pt x="324" y="618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24" y="588"/>
                  </a:lnTo>
                  <a:lnTo>
                    <a:pt x="318" y="576"/>
                  </a:lnTo>
                  <a:lnTo>
                    <a:pt x="318" y="570"/>
                  </a:lnTo>
                  <a:lnTo>
                    <a:pt x="324" y="570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30" y="558"/>
                  </a:lnTo>
                  <a:lnTo>
                    <a:pt x="336" y="558"/>
                  </a:lnTo>
                  <a:lnTo>
                    <a:pt x="342" y="558"/>
                  </a:lnTo>
                  <a:lnTo>
                    <a:pt x="348" y="558"/>
                  </a:lnTo>
                  <a:lnTo>
                    <a:pt x="354" y="564"/>
                  </a:lnTo>
                  <a:lnTo>
                    <a:pt x="360" y="564"/>
                  </a:lnTo>
                  <a:lnTo>
                    <a:pt x="366" y="570"/>
                  </a:lnTo>
                  <a:lnTo>
                    <a:pt x="366" y="576"/>
                  </a:lnTo>
                  <a:lnTo>
                    <a:pt x="372" y="570"/>
                  </a:lnTo>
                  <a:lnTo>
                    <a:pt x="378" y="570"/>
                  </a:lnTo>
                  <a:lnTo>
                    <a:pt x="390" y="570"/>
                  </a:lnTo>
                  <a:lnTo>
                    <a:pt x="402" y="570"/>
                  </a:lnTo>
                  <a:lnTo>
                    <a:pt x="408" y="570"/>
                  </a:lnTo>
                  <a:lnTo>
                    <a:pt x="414" y="564"/>
                  </a:lnTo>
                  <a:lnTo>
                    <a:pt x="420" y="564"/>
                  </a:lnTo>
                  <a:lnTo>
                    <a:pt x="420" y="570"/>
                  </a:lnTo>
                  <a:lnTo>
                    <a:pt x="426" y="570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44" y="570"/>
                  </a:lnTo>
                  <a:lnTo>
                    <a:pt x="450" y="564"/>
                  </a:lnTo>
                  <a:lnTo>
                    <a:pt x="474" y="558"/>
                  </a:lnTo>
                  <a:lnTo>
                    <a:pt x="486" y="54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40" y="474"/>
                  </a:lnTo>
                  <a:lnTo>
                    <a:pt x="558" y="456"/>
                  </a:lnTo>
                  <a:lnTo>
                    <a:pt x="582" y="450"/>
                  </a:lnTo>
                  <a:lnTo>
                    <a:pt x="594" y="414"/>
                  </a:lnTo>
                  <a:lnTo>
                    <a:pt x="612" y="390"/>
                  </a:lnTo>
                  <a:lnTo>
                    <a:pt x="636" y="390"/>
                  </a:lnTo>
                  <a:lnTo>
                    <a:pt x="666" y="390"/>
                  </a:lnTo>
                  <a:lnTo>
                    <a:pt x="696" y="390"/>
                  </a:lnTo>
                  <a:lnTo>
                    <a:pt x="726" y="390"/>
                  </a:lnTo>
                  <a:lnTo>
                    <a:pt x="762" y="378"/>
                  </a:lnTo>
                  <a:lnTo>
                    <a:pt x="780" y="366"/>
                  </a:lnTo>
                  <a:lnTo>
                    <a:pt x="780" y="342"/>
                  </a:lnTo>
                  <a:lnTo>
                    <a:pt x="786" y="342"/>
                  </a:lnTo>
                  <a:lnTo>
                    <a:pt x="786" y="336"/>
                  </a:lnTo>
                  <a:lnTo>
                    <a:pt x="786" y="330"/>
                  </a:lnTo>
                  <a:lnTo>
                    <a:pt x="786" y="324"/>
                  </a:lnTo>
                  <a:lnTo>
                    <a:pt x="816" y="318"/>
                  </a:lnTo>
                  <a:lnTo>
                    <a:pt x="834" y="312"/>
                  </a:lnTo>
                  <a:lnTo>
                    <a:pt x="840" y="318"/>
                  </a:lnTo>
                  <a:lnTo>
                    <a:pt x="852" y="318"/>
                  </a:lnTo>
                  <a:lnTo>
                    <a:pt x="858" y="306"/>
                  </a:lnTo>
                  <a:lnTo>
                    <a:pt x="864" y="288"/>
                  </a:lnTo>
                  <a:lnTo>
                    <a:pt x="870" y="282"/>
                  </a:lnTo>
                  <a:lnTo>
                    <a:pt x="876" y="276"/>
                  </a:lnTo>
                  <a:lnTo>
                    <a:pt x="882" y="264"/>
                  </a:lnTo>
                  <a:lnTo>
                    <a:pt x="882" y="258"/>
                  </a:lnTo>
                  <a:lnTo>
                    <a:pt x="888" y="252"/>
                  </a:lnTo>
                  <a:lnTo>
                    <a:pt x="894" y="240"/>
                  </a:lnTo>
                  <a:lnTo>
                    <a:pt x="906" y="228"/>
                  </a:lnTo>
                  <a:lnTo>
                    <a:pt x="912" y="228"/>
                  </a:lnTo>
                  <a:lnTo>
                    <a:pt x="936" y="228"/>
                  </a:lnTo>
                  <a:lnTo>
                    <a:pt x="942" y="222"/>
                  </a:lnTo>
                  <a:lnTo>
                    <a:pt x="948" y="216"/>
                  </a:lnTo>
                  <a:lnTo>
                    <a:pt x="954" y="216"/>
                  </a:lnTo>
                  <a:lnTo>
                    <a:pt x="960" y="216"/>
                  </a:lnTo>
                  <a:lnTo>
                    <a:pt x="966" y="216"/>
                  </a:lnTo>
                  <a:lnTo>
                    <a:pt x="978" y="216"/>
                  </a:lnTo>
                  <a:lnTo>
                    <a:pt x="990" y="222"/>
                  </a:lnTo>
                  <a:lnTo>
                    <a:pt x="996" y="222"/>
                  </a:lnTo>
                  <a:lnTo>
                    <a:pt x="1002" y="228"/>
                  </a:lnTo>
                  <a:lnTo>
                    <a:pt x="1014" y="234"/>
                  </a:lnTo>
                  <a:lnTo>
                    <a:pt x="1020" y="234"/>
                  </a:lnTo>
                  <a:lnTo>
                    <a:pt x="1032" y="240"/>
                  </a:lnTo>
                  <a:lnTo>
                    <a:pt x="1044" y="240"/>
                  </a:lnTo>
                  <a:lnTo>
                    <a:pt x="1050" y="240"/>
                  </a:lnTo>
                  <a:lnTo>
                    <a:pt x="1056" y="246"/>
                  </a:lnTo>
                  <a:lnTo>
                    <a:pt x="1068" y="264"/>
                  </a:lnTo>
                  <a:lnTo>
                    <a:pt x="1086" y="276"/>
                  </a:lnTo>
                  <a:lnTo>
                    <a:pt x="1092" y="276"/>
                  </a:lnTo>
                  <a:lnTo>
                    <a:pt x="1104" y="282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8" y="312"/>
                  </a:lnTo>
                  <a:lnTo>
                    <a:pt x="1152" y="324"/>
                  </a:lnTo>
                  <a:lnTo>
                    <a:pt x="1188" y="324"/>
                  </a:lnTo>
                  <a:lnTo>
                    <a:pt x="1206" y="318"/>
                  </a:lnTo>
                  <a:lnTo>
                    <a:pt x="1200" y="294"/>
                  </a:lnTo>
                  <a:lnTo>
                    <a:pt x="1206" y="252"/>
                  </a:lnTo>
                  <a:lnTo>
                    <a:pt x="1218" y="222"/>
                  </a:lnTo>
                  <a:lnTo>
                    <a:pt x="1212" y="222"/>
                  </a:lnTo>
                  <a:lnTo>
                    <a:pt x="1212" y="216"/>
                  </a:lnTo>
                  <a:lnTo>
                    <a:pt x="1218" y="204"/>
                  </a:lnTo>
                  <a:lnTo>
                    <a:pt x="1224" y="198"/>
                  </a:lnTo>
                  <a:lnTo>
                    <a:pt x="1224" y="192"/>
                  </a:lnTo>
                  <a:lnTo>
                    <a:pt x="1236" y="180"/>
                  </a:lnTo>
                  <a:lnTo>
                    <a:pt x="1254" y="156"/>
                  </a:lnTo>
                  <a:lnTo>
                    <a:pt x="1260" y="150"/>
                  </a:lnTo>
                  <a:lnTo>
                    <a:pt x="1260" y="144"/>
                  </a:lnTo>
                  <a:lnTo>
                    <a:pt x="1266" y="138"/>
                  </a:lnTo>
                  <a:lnTo>
                    <a:pt x="1272" y="138"/>
                  </a:lnTo>
                  <a:lnTo>
                    <a:pt x="1272" y="120"/>
                  </a:lnTo>
                  <a:lnTo>
                    <a:pt x="1278" y="114"/>
                  </a:lnTo>
                  <a:lnTo>
                    <a:pt x="1278" y="108"/>
                  </a:lnTo>
                  <a:lnTo>
                    <a:pt x="1278" y="102"/>
                  </a:lnTo>
                  <a:lnTo>
                    <a:pt x="1278" y="90"/>
                  </a:lnTo>
                  <a:lnTo>
                    <a:pt x="1278" y="84"/>
                  </a:lnTo>
                  <a:lnTo>
                    <a:pt x="1278" y="78"/>
                  </a:lnTo>
                  <a:lnTo>
                    <a:pt x="1278" y="72"/>
                  </a:lnTo>
                  <a:lnTo>
                    <a:pt x="1278" y="60"/>
                  </a:lnTo>
                  <a:lnTo>
                    <a:pt x="1284" y="48"/>
                  </a:lnTo>
                  <a:lnTo>
                    <a:pt x="1284" y="24"/>
                  </a:lnTo>
                  <a:lnTo>
                    <a:pt x="1284" y="18"/>
                  </a:lnTo>
                  <a:lnTo>
                    <a:pt x="1308" y="24"/>
                  </a:lnTo>
                  <a:lnTo>
                    <a:pt x="1332" y="30"/>
                  </a:lnTo>
                  <a:lnTo>
                    <a:pt x="1368" y="30"/>
                  </a:lnTo>
                  <a:lnTo>
                    <a:pt x="1392" y="24"/>
                  </a:lnTo>
                  <a:lnTo>
                    <a:pt x="1410" y="18"/>
                  </a:lnTo>
                  <a:lnTo>
                    <a:pt x="1416" y="6"/>
                  </a:lnTo>
                  <a:lnTo>
                    <a:pt x="1500" y="6"/>
                  </a:lnTo>
                  <a:lnTo>
                    <a:pt x="1506" y="0"/>
                  </a:lnTo>
                  <a:lnTo>
                    <a:pt x="1506" y="6"/>
                  </a:lnTo>
                  <a:lnTo>
                    <a:pt x="1506" y="18"/>
                  </a:lnTo>
                  <a:lnTo>
                    <a:pt x="1506" y="24"/>
                  </a:lnTo>
                  <a:lnTo>
                    <a:pt x="1500" y="30"/>
                  </a:lnTo>
                  <a:lnTo>
                    <a:pt x="1500" y="42"/>
                  </a:lnTo>
                  <a:lnTo>
                    <a:pt x="1494" y="54"/>
                  </a:lnTo>
                  <a:lnTo>
                    <a:pt x="1488" y="60"/>
                  </a:lnTo>
                  <a:lnTo>
                    <a:pt x="1482" y="60"/>
                  </a:lnTo>
                  <a:lnTo>
                    <a:pt x="1476" y="66"/>
                  </a:lnTo>
                  <a:lnTo>
                    <a:pt x="1476" y="72"/>
                  </a:lnTo>
                  <a:lnTo>
                    <a:pt x="1476" y="78"/>
                  </a:lnTo>
                  <a:lnTo>
                    <a:pt x="1470" y="78"/>
                  </a:lnTo>
                  <a:lnTo>
                    <a:pt x="1464" y="90"/>
                  </a:lnTo>
                  <a:lnTo>
                    <a:pt x="1458" y="96"/>
                  </a:lnTo>
                  <a:lnTo>
                    <a:pt x="1458" y="102"/>
                  </a:lnTo>
                  <a:lnTo>
                    <a:pt x="1452" y="120"/>
                  </a:lnTo>
                  <a:lnTo>
                    <a:pt x="1452" y="132"/>
                  </a:lnTo>
                  <a:lnTo>
                    <a:pt x="1446" y="144"/>
                  </a:lnTo>
                  <a:lnTo>
                    <a:pt x="1446" y="150"/>
                  </a:lnTo>
                  <a:lnTo>
                    <a:pt x="1440" y="150"/>
                  </a:lnTo>
                  <a:lnTo>
                    <a:pt x="1434" y="156"/>
                  </a:lnTo>
                  <a:lnTo>
                    <a:pt x="1428" y="168"/>
                  </a:lnTo>
                  <a:lnTo>
                    <a:pt x="1422" y="168"/>
                  </a:lnTo>
                  <a:lnTo>
                    <a:pt x="1416" y="174"/>
                  </a:lnTo>
                  <a:lnTo>
                    <a:pt x="1410" y="186"/>
                  </a:lnTo>
                  <a:lnTo>
                    <a:pt x="1410" y="204"/>
                  </a:lnTo>
                  <a:lnTo>
                    <a:pt x="1404" y="210"/>
                  </a:lnTo>
                  <a:lnTo>
                    <a:pt x="1404" y="216"/>
                  </a:lnTo>
                  <a:lnTo>
                    <a:pt x="1410" y="228"/>
                  </a:lnTo>
                  <a:lnTo>
                    <a:pt x="1410" y="234"/>
                  </a:lnTo>
                  <a:lnTo>
                    <a:pt x="1410" y="240"/>
                  </a:lnTo>
                  <a:lnTo>
                    <a:pt x="1416" y="252"/>
                  </a:lnTo>
                  <a:lnTo>
                    <a:pt x="1416" y="258"/>
                  </a:lnTo>
                  <a:lnTo>
                    <a:pt x="1422" y="264"/>
                  </a:lnTo>
                  <a:lnTo>
                    <a:pt x="1422" y="270"/>
                  </a:lnTo>
                  <a:lnTo>
                    <a:pt x="1422" y="282"/>
                  </a:lnTo>
                  <a:lnTo>
                    <a:pt x="1416" y="288"/>
                  </a:lnTo>
                  <a:lnTo>
                    <a:pt x="1410" y="294"/>
                  </a:lnTo>
                  <a:lnTo>
                    <a:pt x="1404" y="300"/>
                  </a:lnTo>
                  <a:lnTo>
                    <a:pt x="1404" y="306"/>
                  </a:lnTo>
                  <a:lnTo>
                    <a:pt x="1398" y="324"/>
                  </a:lnTo>
                  <a:lnTo>
                    <a:pt x="1404" y="330"/>
                  </a:lnTo>
                  <a:lnTo>
                    <a:pt x="1404" y="342"/>
                  </a:lnTo>
                  <a:lnTo>
                    <a:pt x="1392" y="354"/>
                  </a:lnTo>
                  <a:lnTo>
                    <a:pt x="1392" y="360"/>
                  </a:lnTo>
                  <a:lnTo>
                    <a:pt x="1392" y="372"/>
                  </a:lnTo>
                  <a:lnTo>
                    <a:pt x="1392" y="384"/>
                  </a:lnTo>
                  <a:lnTo>
                    <a:pt x="1392" y="396"/>
                  </a:lnTo>
                  <a:lnTo>
                    <a:pt x="1392" y="408"/>
                  </a:lnTo>
                  <a:lnTo>
                    <a:pt x="1386" y="414"/>
                  </a:lnTo>
                  <a:lnTo>
                    <a:pt x="1380" y="420"/>
                  </a:lnTo>
                  <a:lnTo>
                    <a:pt x="1380" y="426"/>
                  </a:lnTo>
                  <a:lnTo>
                    <a:pt x="1368" y="432"/>
                  </a:lnTo>
                  <a:lnTo>
                    <a:pt x="1362" y="444"/>
                  </a:lnTo>
                  <a:lnTo>
                    <a:pt x="1362" y="450"/>
                  </a:lnTo>
                  <a:lnTo>
                    <a:pt x="1362" y="462"/>
                  </a:lnTo>
                  <a:lnTo>
                    <a:pt x="1362" y="468"/>
                  </a:lnTo>
                  <a:lnTo>
                    <a:pt x="1362" y="474"/>
                  </a:lnTo>
                  <a:lnTo>
                    <a:pt x="1356" y="474"/>
                  </a:lnTo>
                  <a:lnTo>
                    <a:pt x="1350" y="480"/>
                  </a:lnTo>
                  <a:lnTo>
                    <a:pt x="1344" y="486"/>
                  </a:lnTo>
                  <a:lnTo>
                    <a:pt x="1338" y="498"/>
                  </a:lnTo>
                  <a:lnTo>
                    <a:pt x="1332" y="510"/>
                  </a:lnTo>
                  <a:lnTo>
                    <a:pt x="1320" y="510"/>
                  </a:lnTo>
                  <a:lnTo>
                    <a:pt x="1314" y="516"/>
                  </a:lnTo>
                  <a:lnTo>
                    <a:pt x="1302" y="522"/>
                  </a:lnTo>
                  <a:lnTo>
                    <a:pt x="1296" y="522"/>
                  </a:lnTo>
                  <a:lnTo>
                    <a:pt x="1284" y="516"/>
                  </a:lnTo>
                  <a:lnTo>
                    <a:pt x="1278" y="516"/>
                  </a:lnTo>
                  <a:lnTo>
                    <a:pt x="1272" y="522"/>
                  </a:lnTo>
                  <a:lnTo>
                    <a:pt x="1266" y="522"/>
                  </a:lnTo>
                  <a:lnTo>
                    <a:pt x="1266" y="528"/>
                  </a:lnTo>
                  <a:lnTo>
                    <a:pt x="1254" y="540"/>
                  </a:lnTo>
                  <a:lnTo>
                    <a:pt x="1248" y="546"/>
                  </a:lnTo>
                  <a:lnTo>
                    <a:pt x="1242" y="558"/>
                  </a:lnTo>
                  <a:lnTo>
                    <a:pt x="1230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30" y="594"/>
                  </a:lnTo>
                  <a:lnTo>
                    <a:pt x="1230" y="600"/>
                  </a:lnTo>
                  <a:lnTo>
                    <a:pt x="1236" y="606"/>
                  </a:lnTo>
                  <a:lnTo>
                    <a:pt x="1242" y="606"/>
                  </a:lnTo>
                  <a:lnTo>
                    <a:pt x="1242" y="612"/>
                  </a:lnTo>
                  <a:lnTo>
                    <a:pt x="1242" y="618"/>
                  </a:lnTo>
                  <a:lnTo>
                    <a:pt x="1242" y="624"/>
                  </a:lnTo>
                  <a:lnTo>
                    <a:pt x="1236" y="630"/>
                  </a:lnTo>
                  <a:lnTo>
                    <a:pt x="1230" y="642"/>
                  </a:lnTo>
                  <a:lnTo>
                    <a:pt x="1230" y="648"/>
                  </a:lnTo>
                  <a:lnTo>
                    <a:pt x="1218" y="654"/>
                  </a:lnTo>
                  <a:lnTo>
                    <a:pt x="1212" y="654"/>
                  </a:lnTo>
                  <a:lnTo>
                    <a:pt x="1212" y="660"/>
                  </a:lnTo>
                  <a:lnTo>
                    <a:pt x="1212" y="666"/>
                  </a:lnTo>
                  <a:lnTo>
                    <a:pt x="1212" y="672"/>
                  </a:lnTo>
                  <a:lnTo>
                    <a:pt x="1212" y="678"/>
                  </a:lnTo>
                  <a:lnTo>
                    <a:pt x="1218" y="684"/>
                  </a:lnTo>
                  <a:lnTo>
                    <a:pt x="1218" y="690"/>
                  </a:lnTo>
                  <a:lnTo>
                    <a:pt x="1224" y="696"/>
                  </a:lnTo>
                  <a:lnTo>
                    <a:pt x="1230" y="702"/>
                  </a:lnTo>
                  <a:lnTo>
                    <a:pt x="1236" y="696"/>
                  </a:lnTo>
                  <a:lnTo>
                    <a:pt x="1242" y="702"/>
                  </a:lnTo>
                  <a:lnTo>
                    <a:pt x="1248" y="708"/>
                  </a:lnTo>
                  <a:lnTo>
                    <a:pt x="1254" y="714"/>
                  </a:lnTo>
                  <a:lnTo>
                    <a:pt x="1254" y="720"/>
                  </a:lnTo>
                  <a:lnTo>
                    <a:pt x="1260" y="720"/>
                  </a:lnTo>
                  <a:lnTo>
                    <a:pt x="1254" y="732"/>
                  </a:lnTo>
                  <a:lnTo>
                    <a:pt x="1248" y="738"/>
                  </a:lnTo>
                  <a:lnTo>
                    <a:pt x="1242" y="744"/>
                  </a:lnTo>
                  <a:lnTo>
                    <a:pt x="1236" y="750"/>
                  </a:lnTo>
                  <a:lnTo>
                    <a:pt x="1236" y="756"/>
                  </a:lnTo>
                  <a:lnTo>
                    <a:pt x="1236" y="762"/>
                  </a:lnTo>
                  <a:lnTo>
                    <a:pt x="1236" y="768"/>
                  </a:lnTo>
                  <a:lnTo>
                    <a:pt x="1236" y="780"/>
                  </a:lnTo>
                  <a:lnTo>
                    <a:pt x="1230" y="780"/>
                  </a:lnTo>
                  <a:lnTo>
                    <a:pt x="1230" y="786"/>
                  </a:lnTo>
                  <a:lnTo>
                    <a:pt x="1230" y="792"/>
                  </a:lnTo>
                  <a:lnTo>
                    <a:pt x="1230" y="804"/>
                  </a:lnTo>
                  <a:lnTo>
                    <a:pt x="1224" y="810"/>
                  </a:lnTo>
                  <a:lnTo>
                    <a:pt x="1218" y="816"/>
                  </a:lnTo>
                  <a:lnTo>
                    <a:pt x="1224" y="822"/>
                  </a:lnTo>
                  <a:lnTo>
                    <a:pt x="1224" y="828"/>
                  </a:lnTo>
                  <a:lnTo>
                    <a:pt x="1218" y="834"/>
                  </a:lnTo>
                  <a:lnTo>
                    <a:pt x="1224" y="834"/>
                  </a:lnTo>
                  <a:lnTo>
                    <a:pt x="1224" y="840"/>
                  </a:lnTo>
                  <a:lnTo>
                    <a:pt x="1224" y="846"/>
                  </a:lnTo>
                  <a:lnTo>
                    <a:pt x="1224" y="852"/>
                  </a:lnTo>
                  <a:lnTo>
                    <a:pt x="1218" y="858"/>
                  </a:lnTo>
                  <a:lnTo>
                    <a:pt x="1218" y="870"/>
                  </a:lnTo>
                  <a:lnTo>
                    <a:pt x="1212" y="870"/>
                  </a:lnTo>
                  <a:lnTo>
                    <a:pt x="1212" y="876"/>
                  </a:lnTo>
                  <a:lnTo>
                    <a:pt x="1206" y="888"/>
                  </a:lnTo>
                  <a:lnTo>
                    <a:pt x="1200" y="882"/>
                  </a:lnTo>
                  <a:lnTo>
                    <a:pt x="1194" y="888"/>
                  </a:lnTo>
                  <a:lnTo>
                    <a:pt x="1188" y="894"/>
                  </a:lnTo>
                  <a:lnTo>
                    <a:pt x="1182" y="894"/>
                  </a:lnTo>
                  <a:lnTo>
                    <a:pt x="1182" y="900"/>
                  </a:lnTo>
                  <a:lnTo>
                    <a:pt x="1176" y="900"/>
                  </a:lnTo>
                  <a:lnTo>
                    <a:pt x="1170" y="894"/>
                  </a:lnTo>
                  <a:lnTo>
                    <a:pt x="1164" y="900"/>
                  </a:lnTo>
                  <a:lnTo>
                    <a:pt x="1158" y="900"/>
                  </a:lnTo>
                  <a:lnTo>
                    <a:pt x="1152" y="900"/>
                  </a:lnTo>
                  <a:lnTo>
                    <a:pt x="1140" y="900"/>
                  </a:lnTo>
                  <a:lnTo>
                    <a:pt x="1134" y="900"/>
                  </a:lnTo>
                  <a:lnTo>
                    <a:pt x="1128" y="906"/>
                  </a:lnTo>
                  <a:lnTo>
                    <a:pt x="1110" y="906"/>
                  </a:lnTo>
                  <a:lnTo>
                    <a:pt x="1104" y="906"/>
                  </a:lnTo>
                  <a:lnTo>
                    <a:pt x="1098" y="906"/>
                  </a:lnTo>
                  <a:lnTo>
                    <a:pt x="1092" y="912"/>
                  </a:lnTo>
                  <a:lnTo>
                    <a:pt x="1080" y="918"/>
                  </a:lnTo>
                  <a:lnTo>
                    <a:pt x="1068" y="930"/>
                  </a:lnTo>
                  <a:lnTo>
                    <a:pt x="1062" y="930"/>
                  </a:lnTo>
                  <a:lnTo>
                    <a:pt x="1056" y="930"/>
                  </a:lnTo>
                  <a:lnTo>
                    <a:pt x="1050" y="930"/>
                  </a:lnTo>
                  <a:lnTo>
                    <a:pt x="1050" y="936"/>
                  </a:lnTo>
                  <a:lnTo>
                    <a:pt x="1038" y="942"/>
                  </a:lnTo>
                  <a:lnTo>
                    <a:pt x="1032" y="948"/>
                  </a:lnTo>
                  <a:lnTo>
                    <a:pt x="1026" y="954"/>
                  </a:lnTo>
                  <a:lnTo>
                    <a:pt x="1020" y="960"/>
                  </a:lnTo>
                  <a:lnTo>
                    <a:pt x="1014" y="966"/>
                  </a:lnTo>
                  <a:lnTo>
                    <a:pt x="1002" y="966"/>
                  </a:lnTo>
                  <a:lnTo>
                    <a:pt x="990" y="978"/>
                  </a:lnTo>
                  <a:lnTo>
                    <a:pt x="984" y="978"/>
                  </a:lnTo>
                  <a:lnTo>
                    <a:pt x="978" y="984"/>
                  </a:lnTo>
                  <a:lnTo>
                    <a:pt x="972" y="984"/>
                  </a:lnTo>
                  <a:lnTo>
                    <a:pt x="978" y="990"/>
                  </a:lnTo>
                  <a:lnTo>
                    <a:pt x="972" y="996"/>
                  </a:lnTo>
                  <a:lnTo>
                    <a:pt x="978" y="1002"/>
                  </a:lnTo>
                  <a:lnTo>
                    <a:pt x="1002" y="1002"/>
                  </a:lnTo>
                  <a:lnTo>
                    <a:pt x="1002" y="1008"/>
                  </a:lnTo>
                  <a:lnTo>
                    <a:pt x="1008" y="1020"/>
                  </a:lnTo>
                  <a:lnTo>
                    <a:pt x="1002" y="1026"/>
                  </a:lnTo>
                  <a:lnTo>
                    <a:pt x="1002" y="1032"/>
                  </a:lnTo>
                  <a:lnTo>
                    <a:pt x="1002" y="1050"/>
                  </a:lnTo>
                  <a:lnTo>
                    <a:pt x="1002" y="1056"/>
                  </a:lnTo>
                  <a:lnTo>
                    <a:pt x="1008" y="1062"/>
                  </a:lnTo>
                  <a:lnTo>
                    <a:pt x="1008" y="1074"/>
                  </a:lnTo>
                  <a:lnTo>
                    <a:pt x="1008" y="1086"/>
                  </a:lnTo>
                  <a:lnTo>
                    <a:pt x="996" y="1092"/>
                  </a:lnTo>
                  <a:lnTo>
                    <a:pt x="996" y="1098"/>
                  </a:lnTo>
                  <a:lnTo>
                    <a:pt x="996" y="1104"/>
                  </a:lnTo>
                  <a:lnTo>
                    <a:pt x="990" y="1110"/>
                  </a:lnTo>
                  <a:lnTo>
                    <a:pt x="990" y="1116"/>
                  </a:lnTo>
                  <a:lnTo>
                    <a:pt x="996" y="1122"/>
                  </a:lnTo>
                  <a:lnTo>
                    <a:pt x="990" y="1128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96" y="1140"/>
                  </a:lnTo>
                  <a:lnTo>
                    <a:pt x="996" y="1146"/>
                  </a:lnTo>
                  <a:lnTo>
                    <a:pt x="996" y="1152"/>
                  </a:lnTo>
                  <a:lnTo>
                    <a:pt x="996" y="1158"/>
                  </a:lnTo>
                  <a:lnTo>
                    <a:pt x="996" y="1164"/>
                  </a:lnTo>
                  <a:lnTo>
                    <a:pt x="996" y="1170"/>
                  </a:lnTo>
                  <a:lnTo>
                    <a:pt x="996" y="1176"/>
                  </a:lnTo>
                  <a:lnTo>
                    <a:pt x="990" y="1182"/>
                  </a:lnTo>
                  <a:lnTo>
                    <a:pt x="990" y="1188"/>
                  </a:lnTo>
                  <a:lnTo>
                    <a:pt x="984" y="1200"/>
                  </a:lnTo>
                  <a:lnTo>
                    <a:pt x="990" y="1206"/>
                  </a:lnTo>
                  <a:lnTo>
                    <a:pt x="990" y="1212"/>
                  </a:lnTo>
                  <a:lnTo>
                    <a:pt x="990" y="1218"/>
                  </a:lnTo>
                  <a:lnTo>
                    <a:pt x="978" y="1230"/>
                  </a:lnTo>
                  <a:lnTo>
                    <a:pt x="972" y="1236"/>
                  </a:lnTo>
                  <a:lnTo>
                    <a:pt x="972" y="1242"/>
                  </a:lnTo>
                  <a:lnTo>
                    <a:pt x="966" y="1248"/>
                  </a:lnTo>
                  <a:lnTo>
                    <a:pt x="960" y="1260"/>
                  </a:lnTo>
                  <a:lnTo>
                    <a:pt x="954" y="1266"/>
                  </a:lnTo>
                  <a:lnTo>
                    <a:pt x="942" y="1278"/>
                  </a:lnTo>
                  <a:lnTo>
                    <a:pt x="936" y="1278"/>
                  </a:lnTo>
                  <a:lnTo>
                    <a:pt x="936" y="1284"/>
                  </a:lnTo>
                  <a:lnTo>
                    <a:pt x="936" y="1296"/>
                  </a:lnTo>
                  <a:lnTo>
                    <a:pt x="936" y="1302"/>
                  </a:lnTo>
                  <a:lnTo>
                    <a:pt x="942" y="1302"/>
                  </a:lnTo>
                  <a:lnTo>
                    <a:pt x="942" y="1308"/>
                  </a:lnTo>
                  <a:lnTo>
                    <a:pt x="936" y="1314"/>
                  </a:lnTo>
                  <a:lnTo>
                    <a:pt x="930" y="1320"/>
                  </a:lnTo>
                  <a:lnTo>
                    <a:pt x="930" y="1326"/>
                  </a:lnTo>
                  <a:lnTo>
                    <a:pt x="930" y="1332"/>
                  </a:lnTo>
                  <a:lnTo>
                    <a:pt x="936" y="1338"/>
                  </a:lnTo>
                  <a:lnTo>
                    <a:pt x="936" y="1344"/>
                  </a:lnTo>
                  <a:lnTo>
                    <a:pt x="942" y="1356"/>
                  </a:lnTo>
                  <a:lnTo>
                    <a:pt x="948" y="1368"/>
                  </a:lnTo>
                  <a:lnTo>
                    <a:pt x="942" y="1380"/>
                  </a:lnTo>
                  <a:lnTo>
                    <a:pt x="936" y="1386"/>
                  </a:lnTo>
                  <a:lnTo>
                    <a:pt x="930" y="1392"/>
                  </a:lnTo>
                  <a:lnTo>
                    <a:pt x="924" y="1392"/>
                  </a:lnTo>
                  <a:lnTo>
                    <a:pt x="918" y="1386"/>
                  </a:lnTo>
                  <a:lnTo>
                    <a:pt x="912" y="1386"/>
                  </a:lnTo>
                  <a:lnTo>
                    <a:pt x="906" y="1386"/>
                  </a:lnTo>
                  <a:lnTo>
                    <a:pt x="900" y="1386"/>
                  </a:lnTo>
                  <a:lnTo>
                    <a:pt x="900" y="1392"/>
                  </a:lnTo>
                  <a:lnTo>
                    <a:pt x="894" y="1392"/>
                  </a:lnTo>
                  <a:lnTo>
                    <a:pt x="888" y="1392"/>
                  </a:lnTo>
                  <a:lnTo>
                    <a:pt x="888" y="1398"/>
                  </a:lnTo>
                  <a:lnTo>
                    <a:pt x="882" y="1404"/>
                  </a:lnTo>
                  <a:lnTo>
                    <a:pt x="882" y="1416"/>
                  </a:lnTo>
                  <a:lnTo>
                    <a:pt x="882" y="1428"/>
                  </a:lnTo>
                  <a:lnTo>
                    <a:pt x="882" y="1434"/>
                  </a:lnTo>
                  <a:lnTo>
                    <a:pt x="870" y="1440"/>
                  </a:lnTo>
                  <a:lnTo>
                    <a:pt x="864" y="1452"/>
                  </a:lnTo>
                  <a:lnTo>
                    <a:pt x="870" y="1452"/>
                  </a:lnTo>
                  <a:lnTo>
                    <a:pt x="864" y="1458"/>
                  </a:lnTo>
                  <a:lnTo>
                    <a:pt x="858" y="1464"/>
                  </a:lnTo>
                  <a:lnTo>
                    <a:pt x="852" y="1464"/>
                  </a:lnTo>
                  <a:lnTo>
                    <a:pt x="846" y="1458"/>
                  </a:lnTo>
                  <a:lnTo>
                    <a:pt x="840" y="1458"/>
                  </a:lnTo>
                  <a:lnTo>
                    <a:pt x="828" y="1470"/>
                  </a:lnTo>
                  <a:lnTo>
                    <a:pt x="810" y="1482"/>
                  </a:lnTo>
                  <a:lnTo>
                    <a:pt x="804" y="1488"/>
                  </a:lnTo>
                  <a:lnTo>
                    <a:pt x="798" y="1488"/>
                  </a:lnTo>
                  <a:lnTo>
                    <a:pt x="792" y="1488"/>
                  </a:lnTo>
                  <a:lnTo>
                    <a:pt x="786" y="1488"/>
                  </a:lnTo>
                  <a:lnTo>
                    <a:pt x="768" y="1482"/>
                  </a:lnTo>
                  <a:lnTo>
                    <a:pt x="762" y="1476"/>
                  </a:lnTo>
                  <a:lnTo>
                    <a:pt x="744" y="1476"/>
                  </a:lnTo>
                  <a:lnTo>
                    <a:pt x="738" y="1476"/>
                  </a:lnTo>
                  <a:lnTo>
                    <a:pt x="732" y="1476"/>
                  </a:lnTo>
                  <a:lnTo>
                    <a:pt x="726" y="1482"/>
                  </a:lnTo>
                  <a:lnTo>
                    <a:pt x="726" y="1488"/>
                  </a:lnTo>
                  <a:lnTo>
                    <a:pt x="726" y="1494"/>
                  </a:lnTo>
                  <a:lnTo>
                    <a:pt x="726" y="1500"/>
                  </a:lnTo>
                  <a:lnTo>
                    <a:pt x="720" y="1500"/>
                  </a:lnTo>
                  <a:lnTo>
                    <a:pt x="720" y="1506"/>
                  </a:lnTo>
                  <a:lnTo>
                    <a:pt x="714" y="1512"/>
                  </a:lnTo>
                  <a:lnTo>
                    <a:pt x="714" y="1518"/>
                  </a:lnTo>
                  <a:lnTo>
                    <a:pt x="708" y="1518"/>
                  </a:lnTo>
                  <a:lnTo>
                    <a:pt x="708" y="1530"/>
                  </a:lnTo>
                  <a:lnTo>
                    <a:pt x="708" y="1536"/>
                  </a:lnTo>
                  <a:lnTo>
                    <a:pt x="708" y="1542"/>
                  </a:lnTo>
                  <a:lnTo>
                    <a:pt x="696" y="1554"/>
                  </a:lnTo>
                  <a:lnTo>
                    <a:pt x="690" y="1560"/>
                  </a:lnTo>
                  <a:lnTo>
                    <a:pt x="684" y="1566"/>
                  </a:lnTo>
                  <a:lnTo>
                    <a:pt x="672" y="1566"/>
                  </a:lnTo>
                  <a:lnTo>
                    <a:pt x="666" y="1566"/>
                  </a:lnTo>
                  <a:lnTo>
                    <a:pt x="660" y="1566"/>
                  </a:lnTo>
                  <a:lnTo>
                    <a:pt x="654" y="1572"/>
                  </a:lnTo>
                  <a:lnTo>
                    <a:pt x="654" y="1578"/>
                  </a:lnTo>
                  <a:lnTo>
                    <a:pt x="642" y="1578"/>
                  </a:lnTo>
                  <a:lnTo>
                    <a:pt x="630" y="1572"/>
                  </a:lnTo>
                  <a:lnTo>
                    <a:pt x="624" y="1572"/>
                  </a:lnTo>
                  <a:lnTo>
                    <a:pt x="618" y="1578"/>
                  </a:lnTo>
                  <a:lnTo>
                    <a:pt x="612" y="1584"/>
                  </a:lnTo>
                  <a:lnTo>
                    <a:pt x="606" y="1584"/>
                  </a:lnTo>
                  <a:lnTo>
                    <a:pt x="600" y="1590"/>
                  </a:lnTo>
                  <a:lnTo>
                    <a:pt x="594" y="1590"/>
                  </a:lnTo>
                  <a:lnTo>
                    <a:pt x="588" y="1590"/>
                  </a:lnTo>
                  <a:lnTo>
                    <a:pt x="582" y="1590"/>
                  </a:lnTo>
                  <a:lnTo>
                    <a:pt x="582" y="1596"/>
                  </a:lnTo>
                  <a:lnTo>
                    <a:pt x="576" y="1614"/>
                  </a:lnTo>
                  <a:lnTo>
                    <a:pt x="570" y="1632"/>
                  </a:lnTo>
                  <a:lnTo>
                    <a:pt x="570" y="1638"/>
                  </a:lnTo>
                  <a:lnTo>
                    <a:pt x="576" y="1644"/>
                  </a:lnTo>
                  <a:lnTo>
                    <a:pt x="576" y="1650"/>
                  </a:lnTo>
                  <a:lnTo>
                    <a:pt x="582" y="1662"/>
                  </a:lnTo>
                  <a:lnTo>
                    <a:pt x="582" y="1668"/>
                  </a:lnTo>
                  <a:lnTo>
                    <a:pt x="588" y="1692"/>
                  </a:lnTo>
                  <a:lnTo>
                    <a:pt x="594" y="1728"/>
                  </a:lnTo>
                  <a:lnTo>
                    <a:pt x="594" y="1752"/>
                  </a:lnTo>
                  <a:lnTo>
                    <a:pt x="594" y="1764"/>
                  </a:lnTo>
                  <a:lnTo>
                    <a:pt x="582" y="1770"/>
                  </a:lnTo>
                  <a:lnTo>
                    <a:pt x="582" y="1782"/>
                  </a:lnTo>
                  <a:lnTo>
                    <a:pt x="576" y="1788"/>
                  </a:lnTo>
                  <a:lnTo>
                    <a:pt x="570" y="1794"/>
                  </a:lnTo>
                  <a:lnTo>
                    <a:pt x="564" y="1806"/>
                  </a:lnTo>
                  <a:lnTo>
                    <a:pt x="564" y="1812"/>
                  </a:lnTo>
                  <a:lnTo>
                    <a:pt x="558" y="1812"/>
                  </a:lnTo>
                  <a:lnTo>
                    <a:pt x="564" y="1824"/>
                  </a:lnTo>
                  <a:lnTo>
                    <a:pt x="564" y="1830"/>
                  </a:lnTo>
                  <a:lnTo>
                    <a:pt x="564" y="1842"/>
                  </a:lnTo>
                  <a:lnTo>
                    <a:pt x="564" y="1848"/>
                  </a:lnTo>
                  <a:lnTo>
                    <a:pt x="564" y="1854"/>
                  </a:lnTo>
                  <a:lnTo>
                    <a:pt x="570" y="1860"/>
                  </a:lnTo>
                  <a:lnTo>
                    <a:pt x="570" y="1866"/>
                  </a:lnTo>
                  <a:lnTo>
                    <a:pt x="570" y="1872"/>
                  </a:lnTo>
                  <a:lnTo>
                    <a:pt x="570" y="1878"/>
                  </a:lnTo>
                  <a:lnTo>
                    <a:pt x="564" y="1890"/>
                  </a:lnTo>
                  <a:lnTo>
                    <a:pt x="558" y="1896"/>
                  </a:lnTo>
                  <a:lnTo>
                    <a:pt x="552" y="1908"/>
                  </a:lnTo>
                  <a:lnTo>
                    <a:pt x="546" y="1914"/>
                  </a:lnTo>
                  <a:lnTo>
                    <a:pt x="540" y="1920"/>
                  </a:lnTo>
                  <a:lnTo>
                    <a:pt x="534" y="1932"/>
                  </a:lnTo>
                  <a:lnTo>
                    <a:pt x="528" y="1944"/>
                  </a:lnTo>
                  <a:lnTo>
                    <a:pt x="516" y="1950"/>
                  </a:lnTo>
                  <a:lnTo>
                    <a:pt x="510" y="1956"/>
                  </a:lnTo>
                  <a:lnTo>
                    <a:pt x="498" y="1962"/>
                  </a:lnTo>
                  <a:lnTo>
                    <a:pt x="492" y="1974"/>
                  </a:lnTo>
                  <a:lnTo>
                    <a:pt x="486" y="1980"/>
                  </a:lnTo>
                  <a:lnTo>
                    <a:pt x="480" y="1998"/>
                  </a:lnTo>
                  <a:lnTo>
                    <a:pt x="474" y="2004"/>
                  </a:lnTo>
                  <a:lnTo>
                    <a:pt x="474" y="2010"/>
                  </a:lnTo>
                  <a:lnTo>
                    <a:pt x="474" y="2016"/>
                  </a:lnTo>
                  <a:lnTo>
                    <a:pt x="468" y="2016"/>
                  </a:lnTo>
                  <a:lnTo>
                    <a:pt x="468" y="2028"/>
                  </a:lnTo>
                  <a:lnTo>
                    <a:pt x="462" y="2034"/>
                  </a:lnTo>
                  <a:lnTo>
                    <a:pt x="456" y="2040"/>
                  </a:lnTo>
                  <a:lnTo>
                    <a:pt x="456" y="2052"/>
                  </a:lnTo>
                  <a:lnTo>
                    <a:pt x="450" y="2058"/>
                  </a:lnTo>
                  <a:lnTo>
                    <a:pt x="450" y="2070"/>
                  </a:lnTo>
                  <a:lnTo>
                    <a:pt x="450" y="2076"/>
                  </a:lnTo>
                  <a:lnTo>
                    <a:pt x="450" y="2082"/>
                  </a:lnTo>
                  <a:lnTo>
                    <a:pt x="444" y="2088"/>
                  </a:lnTo>
                  <a:lnTo>
                    <a:pt x="438" y="2094"/>
                  </a:lnTo>
                  <a:lnTo>
                    <a:pt x="444" y="2100"/>
                  </a:lnTo>
                  <a:lnTo>
                    <a:pt x="444" y="2124"/>
                  </a:lnTo>
                  <a:lnTo>
                    <a:pt x="444" y="2142"/>
                  </a:lnTo>
                  <a:lnTo>
                    <a:pt x="444" y="2160"/>
                  </a:lnTo>
                  <a:lnTo>
                    <a:pt x="450" y="2166"/>
                  </a:lnTo>
                  <a:lnTo>
                    <a:pt x="456" y="2178"/>
                  </a:lnTo>
                  <a:lnTo>
                    <a:pt x="438" y="2184"/>
                  </a:lnTo>
                  <a:lnTo>
                    <a:pt x="432" y="2184"/>
                  </a:lnTo>
                  <a:lnTo>
                    <a:pt x="426" y="2190"/>
                  </a:lnTo>
                  <a:lnTo>
                    <a:pt x="408" y="2190"/>
                  </a:lnTo>
                  <a:lnTo>
                    <a:pt x="402" y="2196"/>
                  </a:lnTo>
                  <a:lnTo>
                    <a:pt x="396" y="2196"/>
                  </a:lnTo>
                  <a:lnTo>
                    <a:pt x="384" y="2208"/>
                  </a:lnTo>
                  <a:lnTo>
                    <a:pt x="378" y="2220"/>
                  </a:lnTo>
                  <a:lnTo>
                    <a:pt x="366" y="2232"/>
                  </a:lnTo>
                  <a:lnTo>
                    <a:pt x="366" y="2238"/>
                  </a:lnTo>
                  <a:lnTo>
                    <a:pt x="360" y="2238"/>
                  </a:lnTo>
                  <a:lnTo>
                    <a:pt x="360" y="2244"/>
                  </a:lnTo>
                  <a:lnTo>
                    <a:pt x="354" y="2244"/>
                  </a:lnTo>
                  <a:lnTo>
                    <a:pt x="330" y="2274"/>
                  </a:lnTo>
                  <a:close/>
                </a:path>
              </a:pathLst>
            </a:custGeom>
            <a:solidFill>
              <a:srgbClr val="2A4F1D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5" name="Freeform 10">
              <a:extLst>
                <a:ext uri="{FF2B5EF4-FFF2-40B4-BE49-F238E27FC236}">
                  <a16:creationId xmlns:a16="http://schemas.microsoft.com/office/drawing/2014/main" id="{3AD2FC58-3490-4B7F-A8BE-621F3CDD69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1996" y="1931890"/>
              <a:ext cx="805029" cy="1037736"/>
            </a:xfrm>
            <a:custGeom>
              <a:avLst/>
              <a:gdLst>
                <a:gd name="T0" fmla="*/ 124 w 1512"/>
                <a:gd name="T1" fmla="*/ 76 h 1956"/>
                <a:gd name="T2" fmla="*/ 120 w 1512"/>
                <a:gd name="T3" fmla="*/ 80 h 1956"/>
                <a:gd name="T4" fmla="*/ 106 w 1512"/>
                <a:gd name="T5" fmla="*/ 84 h 1956"/>
                <a:gd name="T6" fmla="*/ 105 w 1512"/>
                <a:gd name="T7" fmla="*/ 91 h 1956"/>
                <a:gd name="T8" fmla="*/ 101 w 1512"/>
                <a:gd name="T9" fmla="*/ 99 h 1956"/>
                <a:gd name="T10" fmla="*/ 105 w 1512"/>
                <a:gd name="T11" fmla="*/ 107 h 1956"/>
                <a:gd name="T12" fmla="*/ 119 w 1512"/>
                <a:gd name="T13" fmla="*/ 116 h 1956"/>
                <a:gd name="T14" fmla="*/ 121 w 1512"/>
                <a:gd name="T15" fmla="*/ 128 h 1956"/>
                <a:gd name="T16" fmla="*/ 112 w 1512"/>
                <a:gd name="T17" fmla="*/ 136 h 1956"/>
                <a:gd name="T18" fmla="*/ 119 w 1512"/>
                <a:gd name="T19" fmla="*/ 143 h 1956"/>
                <a:gd name="T20" fmla="*/ 126 w 1512"/>
                <a:gd name="T21" fmla="*/ 148 h 1956"/>
                <a:gd name="T22" fmla="*/ 126 w 1512"/>
                <a:gd name="T23" fmla="*/ 160 h 1956"/>
                <a:gd name="T24" fmla="*/ 104 w 1512"/>
                <a:gd name="T25" fmla="*/ 170 h 1956"/>
                <a:gd name="T26" fmla="*/ 99 w 1512"/>
                <a:gd name="T27" fmla="*/ 164 h 1956"/>
                <a:gd name="T28" fmla="*/ 73 w 1512"/>
                <a:gd name="T29" fmla="*/ 152 h 1956"/>
                <a:gd name="T30" fmla="*/ 56 w 1512"/>
                <a:gd name="T31" fmla="*/ 165 h 1956"/>
                <a:gd name="T32" fmla="*/ 33 w 1512"/>
                <a:gd name="T33" fmla="*/ 162 h 1956"/>
                <a:gd name="T34" fmla="*/ 25 w 1512"/>
                <a:gd name="T35" fmla="*/ 155 h 1956"/>
                <a:gd name="T36" fmla="*/ 31 w 1512"/>
                <a:gd name="T37" fmla="*/ 142 h 1956"/>
                <a:gd name="T38" fmla="*/ 24 w 1512"/>
                <a:gd name="T39" fmla="*/ 137 h 1956"/>
                <a:gd name="T40" fmla="*/ 14 w 1512"/>
                <a:gd name="T41" fmla="*/ 136 h 1956"/>
                <a:gd name="T42" fmla="*/ 11 w 1512"/>
                <a:gd name="T43" fmla="*/ 125 h 1956"/>
                <a:gd name="T44" fmla="*/ 3 w 1512"/>
                <a:gd name="T45" fmla="*/ 116 h 1956"/>
                <a:gd name="T46" fmla="*/ 2 w 1512"/>
                <a:gd name="T47" fmla="*/ 106 h 1956"/>
                <a:gd name="T48" fmla="*/ 5 w 1512"/>
                <a:gd name="T49" fmla="*/ 101 h 1956"/>
                <a:gd name="T50" fmla="*/ 2 w 1512"/>
                <a:gd name="T51" fmla="*/ 95 h 1956"/>
                <a:gd name="T52" fmla="*/ 1 w 1512"/>
                <a:gd name="T53" fmla="*/ 88 h 1956"/>
                <a:gd name="T54" fmla="*/ 4 w 1512"/>
                <a:gd name="T55" fmla="*/ 80 h 1956"/>
                <a:gd name="T56" fmla="*/ 12 w 1512"/>
                <a:gd name="T57" fmla="*/ 73 h 1956"/>
                <a:gd name="T58" fmla="*/ 16 w 1512"/>
                <a:gd name="T59" fmla="*/ 68 h 1956"/>
                <a:gd name="T60" fmla="*/ 22 w 1512"/>
                <a:gd name="T61" fmla="*/ 66 h 1956"/>
                <a:gd name="T62" fmla="*/ 32 w 1512"/>
                <a:gd name="T63" fmla="*/ 65 h 1956"/>
                <a:gd name="T64" fmla="*/ 45 w 1512"/>
                <a:gd name="T65" fmla="*/ 66 h 1956"/>
                <a:gd name="T66" fmla="*/ 50 w 1512"/>
                <a:gd name="T67" fmla="*/ 70 h 1956"/>
                <a:gd name="T68" fmla="*/ 55 w 1512"/>
                <a:gd name="T69" fmla="*/ 70 h 1956"/>
                <a:gd name="T70" fmla="*/ 63 w 1512"/>
                <a:gd name="T71" fmla="*/ 71 h 1956"/>
                <a:gd name="T72" fmla="*/ 61 w 1512"/>
                <a:gd name="T73" fmla="*/ 75 h 1956"/>
                <a:gd name="T74" fmla="*/ 66 w 1512"/>
                <a:gd name="T75" fmla="*/ 84 h 1956"/>
                <a:gd name="T76" fmla="*/ 81 w 1512"/>
                <a:gd name="T77" fmla="*/ 85 h 1956"/>
                <a:gd name="T78" fmla="*/ 83 w 1512"/>
                <a:gd name="T79" fmla="*/ 79 h 1956"/>
                <a:gd name="T80" fmla="*/ 89 w 1512"/>
                <a:gd name="T81" fmla="*/ 77 h 1956"/>
                <a:gd name="T82" fmla="*/ 89 w 1512"/>
                <a:gd name="T83" fmla="*/ 73 h 1956"/>
                <a:gd name="T84" fmla="*/ 83 w 1512"/>
                <a:gd name="T85" fmla="*/ 72 h 1956"/>
                <a:gd name="T86" fmla="*/ 77 w 1512"/>
                <a:gd name="T87" fmla="*/ 70 h 1956"/>
                <a:gd name="T88" fmla="*/ 71 w 1512"/>
                <a:gd name="T89" fmla="*/ 70 h 1956"/>
                <a:gd name="T90" fmla="*/ 59 w 1512"/>
                <a:gd name="T91" fmla="*/ 58 h 1956"/>
                <a:gd name="T92" fmla="*/ 54 w 1512"/>
                <a:gd name="T93" fmla="*/ 45 h 1956"/>
                <a:gd name="T94" fmla="*/ 49 w 1512"/>
                <a:gd name="T95" fmla="*/ 42 h 1956"/>
                <a:gd name="T96" fmla="*/ 51 w 1512"/>
                <a:gd name="T97" fmla="*/ 39 h 1956"/>
                <a:gd name="T98" fmla="*/ 55 w 1512"/>
                <a:gd name="T99" fmla="*/ 36 h 1956"/>
                <a:gd name="T100" fmla="*/ 63 w 1512"/>
                <a:gd name="T101" fmla="*/ 34 h 1956"/>
                <a:gd name="T102" fmla="*/ 68 w 1512"/>
                <a:gd name="T103" fmla="*/ 32 h 1956"/>
                <a:gd name="T104" fmla="*/ 73 w 1512"/>
                <a:gd name="T105" fmla="*/ 29 h 1956"/>
                <a:gd name="T106" fmla="*/ 78 w 1512"/>
                <a:gd name="T107" fmla="*/ 27 h 1956"/>
                <a:gd name="T108" fmla="*/ 81 w 1512"/>
                <a:gd name="T109" fmla="*/ 17 h 1956"/>
                <a:gd name="T110" fmla="*/ 84 w 1512"/>
                <a:gd name="T111" fmla="*/ 6 h 1956"/>
                <a:gd name="T112" fmla="*/ 95 w 1512"/>
                <a:gd name="T113" fmla="*/ 6 h 1956"/>
                <a:gd name="T114" fmla="*/ 99 w 1512"/>
                <a:gd name="T115" fmla="*/ 3 h 1956"/>
                <a:gd name="T116" fmla="*/ 103 w 1512"/>
                <a:gd name="T117" fmla="*/ 0 h 1956"/>
                <a:gd name="T118" fmla="*/ 110 w 1512"/>
                <a:gd name="T119" fmla="*/ 4 h 1956"/>
                <a:gd name="T120" fmla="*/ 114 w 1512"/>
                <a:gd name="T121" fmla="*/ 33 h 1956"/>
                <a:gd name="T122" fmla="*/ 117 w 1512"/>
                <a:gd name="T123" fmla="*/ 41 h 1956"/>
                <a:gd name="T124" fmla="*/ 119 w 1512"/>
                <a:gd name="T125" fmla="*/ 62 h 195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12"/>
                <a:gd name="T190" fmla="*/ 0 h 1956"/>
                <a:gd name="T191" fmla="*/ 1512 w 1512"/>
                <a:gd name="T192" fmla="*/ 1956 h 195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12" h="1956">
                  <a:moveTo>
                    <a:pt x="1512" y="780"/>
                  </a:moveTo>
                  <a:lnTo>
                    <a:pt x="1482" y="786"/>
                  </a:lnTo>
                  <a:lnTo>
                    <a:pt x="1476" y="792"/>
                  </a:lnTo>
                  <a:lnTo>
                    <a:pt x="1476" y="798"/>
                  </a:lnTo>
                  <a:lnTo>
                    <a:pt x="1476" y="804"/>
                  </a:lnTo>
                  <a:lnTo>
                    <a:pt x="1476" y="816"/>
                  </a:lnTo>
                  <a:lnTo>
                    <a:pt x="1470" y="834"/>
                  </a:lnTo>
                  <a:lnTo>
                    <a:pt x="1464" y="840"/>
                  </a:lnTo>
                  <a:lnTo>
                    <a:pt x="1452" y="852"/>
                  </a:lnTo>
                  <a:lnTo>
                    <a:pt x="1440" y="864"/>
                  </a:lnTo>
                  <a:lnTo>
                    <a:pt x="1434" y="864"/>
                  </a:lnTo>
                  <a:lnTo>
                    <a:pt x="1434" y="870"/>
                  </a:lnTo>
                  <a:lnTo>
                    <a:pt x="1422" y="876"/>
                  </a:lnTo>
                  <a:lnTo>
                    <a:pt x="1410" y="894"/>
                  </a:lnTo>
                  <a:lnTo>
                    <a:pt x="1404" y="894"/>
                  </a:lnTo>
                  <a:lnTo>
                    <a:pt x="1404" y="900"/>
                  </a:lnTo>
                  <a:lnTo>
                    <a:pt x="1404" y="906"/>
                  </a:lnTo>
                  <a:lnTo>
                    <a:pt x="1410" y="918"/>
                  </a:lnTo>
                  <a:lnTo>
                    <a:pt x="1404" y="918"/>
                  </a:lnTo>
                  <a:lnTo>
                    <a:pt x="1392" y="924"/>
                  </a:lnTo>
                  <a:lnTo>
                    <a:pt x="1386" y="924"/>
                  </a:lnTo>
                  <a:lnTo>
                    <a:pt x="1380" y="924"/>
                  </a:lnTo>
                  <a:lnTo>
                    <a:pt x="1380" y="930"/>
                  </a:lnTo>
                  <a:lnTo>
                    <a:pt x="1374" y="930"/>
                  </a:lnTo>
                  <a:lnTo>
                    <a:pt x="1374" y="924"/>
                  </a:lnTo>
                  <a:lnTo>
                    <a:pt x="1374" y="918"/>
                  </a:lnTo>
                  <a:lnTo>
                    <a:pt x="1368" y="912"/>
                  </a:lnTo>
                  <a:lnTo>
                    <a:pt x="1368" y="906"/>
                  </a:lnTo>
                  <a:lnTo>
                    <a:pt x="1368" y="900"/>
                  </a:lnTo>
                  <a:lnTo>
                    <a:pt x="1368" y="894"/>
                  </a:lnTo>
                  <a:lnTo>
                    <a:pt x="1362" y="894"/>
                  </a:lnTo>
                  <a:lnTo>
                    <a:pt x="1326" y="894"/>
                  </a:lnTo>
                  <a:lnTo>
                    <a:pt x="1302" y="906"/>
                  </a:lnTo>
                  <a:lnTo>
                    <a:pt x="1284" y="918"/>
                  </a:lnTo>
                  <a:lnTo>
                    <a:pt x="1284" y="924"/>
                  </a:lnTo>
                  <a:lnTo>
                    <a:pt x="1278" y="930"/>
                  </a:lnTo>
                  <a:lnTo>
                    <a:pt x="1266" y="930"/>
                  </a:lnTo>
                  <a:lnTo>
                    <a:pt x="1236" y="954"/>
                  </a:lnTo>
                  <a:lnTo>
                    <a:pt x="1212" y="972"/>
                  </a:lnTo>
                  <a:lnTo>
                    <a:pt x="1218" y="996"/>
                  </a:lnTo>
                  <a:lnTo>
                    <a:pt x="1224" y="1008"/>
                  </a:lnTo>
                  <a:lnTo>
                    <a:pt x="1236" y="1014"/>
                  </a:lnTo>
                  <a:lnTo>
                    <a:pt x="1242" y="1026"/>
                  </a:lnTo>
                  <a:lnTo>
                    <a:pt x="1248" y="1038"/>
                  </a:lnTo>
                  <a:lnTo>
                    <a:pt x="1260" y="1050"/>
                  </a:lnTo>
                  <a:lnTo>
                    <a:pt x="1260" y="1056"/>
                  </a:lnTo>
                  <a:lnTo>
                    <a:pt x="1260" y="1074"/>
                  </a:lnTo>
                  <a:lnTo>
                    <a:pt x="1254" y="1074"/>
                  </a:lnTo>
                  <a:lnTo>
                    <a:pt x="1236" y="1056"/>
                  </a:lnTo>
                  <a:lnTo>
                    <a:pt x="1224" y="1050"/>
                  </a:lnTo>
                  <a:lnTo>
                    <a:pt x="1212" y="1050"/>
                  </a:lnTo>
                  <a:lnTo>
                    <a:pt x="1206" y="1050"/>
                  </a:lnTo>
                  <a:lnTo>
                    <a:pt x="1200" y="1056"/>
                  </a:lnTo>
                  <a:lnTo>
                    <a:pt x="1194" y="1062"/>
                  </a:lnTo>
                  <a:lnTo>
                    <a:pt x="1188" y="1068"/>
                  </a:lnTo>
                  <a:lnTo>
                    <a:pt x="1188" y="1074"/>
                  </a:lnTo>
                  <a:lnTo>
                    <a:pt x="1176" y="1086"/>
                  </a:lnTo>
                  <a:lnTo>
                    <a:pt x="1170" y="1086"/>
                  </a:lnTo>
                  <a:lnTo>
                    <a:pt x="1170" y="1092"/>
                  </a:lnTo>
                  <a:lnTo>
                    <a:pt x="1164" y="1098"/>
                  </a:lnTo>
                  <a:lnTo>
                    <a:pt x="1158" y="1110"/>
                  </a:lnTo>
                  <a:lnTo>
                    <a:pt x="1152" y="1116"/>
                  </a:lnTo>
                  <a:lnTo>
                    <a:pt x="1152" y="1122"/>
                  </a:lnTo>
                  <a:lnTo>
                    <a:pt x="1146" y="1128"/>
                  </a:lnTo>
                  <a:lnTo>
                    <a:pt x="1152" y="1140"/>
                  </a:lnTo>
                  <a:lnTo>
                    <a:pt x="1158" y="1140"/>
                  </a:lnTo>
                  <a:lnTo>
                    <a:pt x="1164" y="1146"/>
                  </a:lnTo>
                  <a:lnTo>
                    <a:pt x="1164" y="1152"/>
                  </a:lnTo>
                  <a:lnTo>
                    <a:pt x="1170" y="1164"/>
                  </a:lnTo>
                  <a:lnTo>
                    <a:pt x="1164" y="1176"/>
                  </a:lnTo>
                  <a:lnTo>
                    <a:pt x="1170" y="1182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82" y="1218"/>
                  </a:lnTo>
                  <a:lnTo>
                    <a:pt x="1188" y="1218"/>
                  </a:lnTo>
                  <a:lnTo>
                    <a:pt x="1194" y="1218"/>
                  </a:lnTo>
                  <a:lnTo>
                    <a:pt x="1194" y="1224"/>
                  </a:lnTo>
                  <a:lnTo>
                    <a:pt x="1200" y="1230"/>
                  </a:lnTo>
                  <a:lnTo>
                    <a:pt x="1200" y="1248"/>
                  </a:lnTo>
                  <a:lnTo>
                    <a:pt x="1212" y="1266"/>
                  </a:lnTo>
                  <a:lnTo>
                    <a:pt x="1218" y="1278"/>
                  </a:lnTo>
                  <a:lnTo>
                    <a:pt x="1224" y="1284"/>
                  </a:lnTo>
                  <a:lnTo>
                    <a:pt x="1236" y="1296"/>
                  </a:lnTo>
                  <a:lnTo>
                    <a:pt x="1242" y="1302"/>
                  </a:lnTo>
                  <a:lnTo>
                    <a:pt x="1242" y="1308"/>
                  </a:lnTo>
                  <a:lnTo>
                    <a:pt x="1272" y="1308"/>
                  </a:lnTo>
                  <a:lnTo>
                    <a:pt x="1296" y="1314"/>
                  </a:lnTo>
                  <a:lnTo>
                    <a:pt x="1320" y="1320"/>
                  </a:lnTo>
                  <a:lnTo>
                    <a:pt x="1338" y="1320"/>
                  </a:lnTo>
                  <a:lnTo>
                    <a:pt x="1356" y="1332"/>
                  </a:lnTo>
                  <a:lnTo>
                    <a:pt x="1368" y="1344"/>
                  </a:lnTo>
                  <a:lnTo>
                    <a:pt x="1374" y="1362"/>
                  </a:lnTo>
                  <a:lnTo>
                    <a:pt x="1368" y="1362"/>
                  </a:lnTo>
                  <a:lnTo>
                    <a:pt x="1368" y="1398"/>
                  </a:lnTo>
                  <a:lnTo>
                    <a:pt x="1368" y="1410"/>
                  </a:lnTo>
                  <a:lnTo>
                    <a:pt x="1368" y="1428"/>
                  </a:lnTo>
                  <a:lnTo>
                    <a:pt x="1368" y="1434"/>
                  </a:lnTo>
                  <a:lnTo>
                    <a:pt x="1368" y="1440"/>
                  </a:lnTo>
                  <a:lnTo>
                    <a:pt x="1374" y="1446"/>
                  </a:lnTo>
                  <a:lnTo>
                    <a:pt x="1374" y="1452"/>
                  </a:lnTo>
                  <a:lnTo>
                    <a:pt x="1380" y="1458"/>
                  </a:lnTo>
                  <a:lnTo>
                    <a:pt x="1386" y="1464"/>
                  </a:lnTo>
                  <a:lnTo>
                    <a:pt x="1386" y="1470"/>
                  </a:lnTo>
                  <a:lnTo>
                    <a:pt x="1380" y="1476"/>
                  </a:lnTo>
                  <a:lnTo>
                    <a:pt x="1374" y="1482"/>
                  </a:lnTo>
                  <a:lnTo>
                    <a:pt x="1362" y="1500"/>
                  </a:lnTo>
                  <a:lnTo>
                    <a:pt x="1362" y="1506"/>
                  </a:lnTo>
                  <a:lnTo>
                    <a:pt x="1362" y="1512"/>
                  </a:lnTo>
                  <a:lnTo>
                    <a:pt x="1362" y="1518"/>
                  </a:lnTo>
                  <a:lnTo>
                    <a:pt x="1362" y="1524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38" y="1548"/>
                  </a:lnTo>
                  <a:lnTo>
                    <a:pt x="1296" y="1548"/>
                  </a:lnTo>
                  <a:lnTo>
                    <a:pt x="1290" y="1554"/>
                  </a:lnTo>
                  <a:lnTo>
                    <a:pt x="1284" y="1560"/>
                  </a:lnTo>
                  <a:lnTo>
                    <a:pt x="1284" y="1566"/>
                  </a:lnTo>
                  <a:lnTo>
                    <a:pt x="1290" y="1578"/>
                  </a:lnTo>
                  <a:lnTo>
                    <a:pt x="1296" y="1590"/>
                  </a:lnTo>
                  <a:lnTo>
                    <a:pt x="1302" y="1590"/>
                  </a:lnTo>
                  <a:lnTo>
                    <a:pt x="1308" y="1596"/>
                  </a:lnTo>
                  <a:lnTo>
                    <a:pt x="1320" y="1602"/>
                  </a:lnTo>
                  <a:lnTo>
                    <a:pt x="1326" y="1602"/>
                  </a:lnTo>
                  <a:lnTo>
                    <a:pt x="1326" y="1608"/>
                  </a:lnTo>
                  <a:lnTo>
                    <a:pt x="1332" y="1614"/>
                  </a:lnTo>
                  <a:lnTo>
                    <a:pt x="1344" y="1620"/>
                  </a:lnTo>
                  <a:lnTo>
                    <a:pt x="1356" y="1626"/>
                  </a:lnTo>
                  <a:lnTo>
                    <a:pt x="1356" y="1632"/>
                  </a:lnTo>
                  <a:lnTo>
                    <a:pt x="1356" y="1638"/>
                  </a:lnTo>
                  <a:lnTo>
                    <a:pt x="1362" y="1644"/>
                  </a:lnTo>
                  <a:lnTo>
                    <a:pt x="1368" y="1644"/>
                  </a:lnTo>
                  <a:lnTo>
                    <a:pt x="1380" y="1650"/>
                  </a:lnTo>
                  <a:lnTo>
                    <a:pt x="1386" y="1650"/>
                  </a:lnTo>
                  <a:lnTo>
                    <a:pt x="1386" y="1656"/>
                  </a:lnTo>
                  <a:lnTo>
                    <a:pt x="1392" y="1656"/>
                  </a:lnTo>
                  <a:lnTo>
                    <a:pt x="1398" y="1662"/>
                  </a:lnTo>
                  <a:lnTo>
                    <a:pt x="1410" y="1674"/>
                  </a:lnTo>
                  <a:lnTo>
                    <a:pt x="1428" y="1680"/>
                  </a:lnTo>
                  <a:lnTo>
                    <a:pt x="1428" y="1686"/>
                  </a:lnTo>
                  <a:lnTo>
                    <a:pt x="1428" y="1698"/>
                  </a:lnTo>
                  <a:lnTo>
                    <a:pt x="1434" y="1704"/>
                  </a:lnTo>
                  <a:lnTo>
                    <a:pt x="1434" y="1710"/>
                  </a:lnTo>
                  <a:lnTo>
                    <a:pt x="1440" y="1710"/>
                  </a:lnTo>
                  <a:lnTo>
                    <a:pt x="1446" y="1710"/>
                  </a:lnTo>
                  <a:lnTo>
                    <a:pt x="1446" y="1716"/>
                  </a:lnTo>
                  <a:lnTo>
                    <a:pt x="1440" y="1722"/>
                  </a:lnTo>
                  <a:lnTo>
                    <a:pt x="1440" y="1728"/>
                  </a:lnTo>
                  <a:lnTo>
                    <a:pt x="1440" y="1734"/>
                  </a:lnTo>
                  <a:lnTo>
                    <a:pt x="1440" y="1740"/>
                  </a:lnTo>
                  <a:lnTo>
                    <a:pt x="1440" y="1746"/>
                  </a:lnTo>
                  <a:lnTo>
                    <a:pt x="1440" y="1788"/>
                  </a:lnTo>
                  <a:lnTo>
                    <a:pt x="1440" y="1800"/>
                  </a:lnTo>
                  <a:lnTo>
                    <a:pt x="1440" y="1806"/>
                  </a:lnTo>
                  <a:lnTo>
                    <a:pt x="1440" y="1836"/>
                  </a:lnTo>
                  <a:lnTo>
                    <a:pt x="1440" y="1848"/>
                  </a:lnTo>
                  <a:lnTo>
                    <a:pt x="1446" y="1848"/>
                  </a:lnTo>
                  <a:lnTo>
                    <a:pt x="1446" y="1854"/>
                  </a:lnTo>
                  <a:lnTo>
                    <a:pt x="1452" y="1848"/>
                  </a:lnTo>
                  <a:lnTo>
                    <a:pt x="1458" y="1854"/>
                  </a:lnTo>
                  <a:lnTo>
                    <a:pt x="1452" y="1860"/>
                  </a:lnTo>
                  <a:lnTo>
                    <a:pt x="1452" y="1866"/>
                  </a:lnTo>
                  <a:lnTo>
                    <a:pt x="1458" y="1872"/>
                  </a:lnTo>
                  <a:lnTo>
                    <a:pt x="1464" y="1884"/>
                  </a:lnTo>
                  <a:lnTo>
                    <a:pt x="1428" y="1878"/>
                  </a:lnTo>
                  <a:lnTo>
                    <a:pt x="1356" y="1890"/>
                  </a:lnTo>
                  <a:lnTo>
                    <a:pt x="1296" y="1926"/>
                  </a:lnTo>
                  <a:lnTo>
                    <a:pt x="1266" y="1944"/>
                  </a:lnTo>
                  <a:lnTo>
                    <a:pt x="1224" y="1944"/>
                  </a:lnTo>
                  <a:lnTo>
                    <a:pt x="1188" y="1956"/>
                  </a:lnTo>
                  <a:lnTo>
                    <a:pt x="1188" y="1950"/>
                  </a:lnTo>
                  <a:lnTo>
                    <a:pt x="1176" y="1944"/>
                  </a:lnTo>
                  <a:lnTo>
                    <a:pt x="1176" y="1938"/>
                  </a:lnTo>
                  <a:lnTo>
                    <a:pt x="1170" y="1938"/>
                  </a:lnTo>
                  <a:lnTo>
                    <a:pt x="1164" y="1932"/>
                  </a:lnTo>
                  <a:lnTo>
                    <a:pt x="1158" y="1926"/>
                  </a:lnTo>
                  <a:lnTo>
                    <a:pt x="1158" y="1920"/>
                  </a:lnTo>
                  <a:lnTo>
                    <a:pt x="1152" y="1920"/>
                  </a:lnTo>
                  <a:lnTo>
                    <a:pt x="1146" y="1914"/>
                  </a:lnTo>
                  <a:lnTo>
                    <a:pt x="1146" y="1908"/>
                  </a:lnTo>
                  <a:lnTo>
                    <a:pt x="1140" y="1908"/>
                  </a:lnTo>
                  <a:lnTo>
                    <a:pt x="1134" y="1902"/>
                  </a:lnTo>
                  <a:lnTo>
                    <a:pt x="1134" y="1896"/>
                  </a:lnTo>
                  <a:lnTo>
                    <a:pt x="1116" y="1896"/>
                  </a:lnTo>
                  <a:lnTo>
                    <a:pt x="1104" y="1884"/>
                  </a:lnTo>
                  <a:lnTo>
                    <a:pt x="1092" y="1860"/>
                  </a:lnTo>
                  <a:lnTo>
                    <a:pt x="1068" y="1854"/>
                  </a:lnTo>
                  <a:lnTo>
                    <a:pt x="1032" y="1842"/>
                  </a:lnTo>
                  <a:lnTo>
                    <a:pt x="1008" y="1836"/>
                  </a:lnTo>
                  <a:lnTo>
                    <a:pt x="978" y="1824"/>
                  </a:lnTo>
                  <a:lnTo>
                    <a:pt x="942" y="1818"/>
                  </a:lnTo>
                  <a:lnTo>
                    <a:pt x="924" y="1806"/>
                  </a:lnTo>
                  <a:lnTo>
                    <a:pt x="906" y="1788"/>
                  </a:lnTo>
                  <a:lnTo>
                    <a:pt x="894" y="1776"/>
                  </a:lnTo>
                  <a:lnTo>
                    <a:pt x="864" y="1758"/>
                  </a:lnTo>
                  <a:lnTo>
                    <a:pt x="834" y="1752"/>
                  </a:lnTo>
                  <a:lnTo>
                    <a:pt x="798" y="1746"/>
                  </a:lnTo>
                  <a:lnTo>
                    <a:pt x="792" y="1806"/>
                  </a:lnTo>
                  <a:lnTo>
                    <a:pt x="798" y="1812"/>
                  </a:lnTo>
                  <a:lnTo>
                    <a:pt x="810" y="1830"/>
                  </a:lnTo>
                  <a:lnTo>
                    <a:pt x="792" y="1842"/>
                  </a:lnTo>
                  <a:lnTo>
                    <a:pt x="768" y="1842"/>
                  </a:lnTo>
                  <a:lnTo>
                    <a:pt x="708" y="1848"/>
                  </a:lnTo>
                  <a:lnTo>
                    <a:pt x="690" y="1860"/>
                  </a:lnTo>
                  <a:lnTo>
                    <a:pt x="690" y="1866"/>
                  </a:lnTo>
                  <a:lnTo>
                    <a:pt x="678" y="1878"/>
                  </a:lnTo>
                  <a:lnTo>
                    <a:pt x="660" y="1884"/>
                  </a:lnTo>
                  <a:lnTo>
                    <a:pt x="660" y="1902"/>
                  </a:lnTo>
                  <a:lnTo>
                    <a:pt x="642" y="1902"/>
                  </a:lnTo>
                  <a:lnTo>
                    <a:pt x="582" y="1914"/>
                  </a:lnTo>
                  <a:lnTo>
                    <a:pt x="534" y="1908"/>
                  </a:lnTo>
                  <a:lnTo>
                    <a:pt x="510" y="1908"/>
                  </a:lnTo>
                  <a:lnTo>
                    <a:pt x="510" y="1896"/>
                  </a:lnTo>
                  <a:lnTo>
                    <a:pt x="492" y="1896"/>
                  </a:lnTo>
                  <a:lnTo>
                    <a:pt x="486" y="1902"/>
                  </a:lnTo>
                  <a:lnTo>
                    <a:pt x="474" y="1908"/>
                  </a:lnTo>
                  <a:lnTo>
                    <a:pt x="450" y="1908"/>
                  </a:lnTo>
                  <a:lnTo>
                    <a:pt x="432" y="1902"/>
                  </a:lnTo>
                  <a:lnTo>
                    <a:pt x="426" y="1896"/>
                  </a:lnTo>
                  <a:lnTo>
                    <a:pt x="402" y="1884"/>
                  </a:lnTo>
                  <a:lnTo>
                    <a:pt x="390" y="1872"/>
                  </a:lnTo>
                  <a:lnTo>
                    <a:pt x="384" y="1872"/>
                  </a:lnTo>
                  <a:lnTo>
                    <a:pt x="378" y="1872"/>
                  </a:lnTo>
                  <a:lnTo>
                    <a:pt x="378" y="1866"/>
                  </a:lnTo>
                  <a:lnTo>
                    <a:pt x="372" y="1860"/>
                  </a:lnTo>
                  <a:lnTo>
                    <a:pt x="372" y="1854"/>
                  </a:lnTo>
                  <a:lnTo>
                    <a:pt x="366" y="1842"/>
                  </a:lnTo>
                  <a:lnTo>
                    <a:pt x="366" y="1836"/>
                  </a:lnTo>
                  <a:lnTo>
                    <a:pt x="348" y="1830"/>
                  </a:lnTo>
                  <a:lnTo>
                    <a:pt x="348" y="1806"/>
                  </a:lnTo>
                  <a:lnTo>
                    <a:pt x="348" y="1800"/>
                  </a:lnTo>
                  <a:lnTo>
                    <a:pt x="348" y="1782"/>
                  </a:lnTo>
                  <a:lnTo>
                    <a:pt x="336" y="1788"/>
                  </a:lnTo>
                  <a:lnTo>
                    <a:pt x="312" y="1794"/>
                  </a:lnTo>
                  <a:lnTo>
                    <a:pt x="288" y="1788"/>
                  </a:lnTo>
                  <a:lnTo>
                    <a:pt x="264" y="1758"/>
                  </a:lnTo>
                  <a:lnTo>
                    <a:pt x="270" y="1758"/>
                  </a:lnTo>
                  <a:lnTo>
                    <a:pt x="270" y="1752"/>
                  </a:lnTo>
                  <a:lnTo>
                    <a:pt x="276" y="1752"/>
                  </a:lnTo>
                  <a:lnTo>
                    <a:pt x="282" y="1746"/>
                  </a:lnTo>
                  <a:lnTo>
                    <a:pt x="300" y="1746"/>
                  </a:lnTo>
                  <a:lnTo>
                    <a:pt x="312" y="1746"/>
                  </a:lnTo>
                  <a:lnTo>
                    <a:pt x="336" y="1710"/>
                  </a:lnTo>
                  <a:lnTo>
                    <a:pt x="342" y="1692"/>
                  </a:lnTo>
                  <a:lnTo>
                    <a:pt x="348" y="1680"/>
                  </a:lnTo>
                  <a:lnTo>
                    <a:pt x="342" y="1650"/>
                  </a:lnTo>
                  <a:lnTo>
                    <a:pt x="354" y="1644"/>
                  </a:lnTo>
                  <a:lnTo>
                    <a:pt x="354" y="1638"/>
                  </a:lnTo>
                  <a:lnTo>
                    <a:pt x="360" y="1632"/>
                  </a:lnTo>
                  <a:lnTo>
                    <a:pt x="354" y="1626"/>
                  </a:lnTo>
                  <a:lnTo>
                    <a:pt x="348" y="1626"/>
                  </a:lnTo>
                  <a:lnTo>
                    <a:pt x="348" y="1620"/>
                  </a:lnTo>
                  <a:lnTo>
                    <a:pt x="342" y="1620"/>
                  </a:lnTo>
                  <a:lnTo>
                    <a:pt x="348" y="1614"/>
                  </a:lnTo>
                  <a:lnTo>
                    <a:pt x="324" y="1566"/>
                  </a:lnTo>
                  <a:lnTo>
                    <a:pt x="318" y="1566"/>
                  </a:lnTo>
                  <a:lnTo>
                    <a:pt x="306" y="1572"/>
                  </a:lnTo>
                  <a:lnTo>
                    <a:pt x="300" y="1572"/>
                  </a:lnTo>
                  <a:lnTo>
                    <a:pt x="294" y="1578"/>
                  </a:lnTo>
                  <a:lnTo>
                    <a:pt x="288" y="1584"/>
                  </a:lnTo>
                  <a:lnTo>
                    <a:pt x="282" y="1584"/>
                  </a:lnTo>
                  <a:lnTo>
                    <a:pt x="282" y="1578"/>
                  </a:lnTo>
                  <a:lnTo>
                    <a:pt x="276" y="1578"/>
                  </a:lnTo>
                  <a:lnTo>
                    <a:pt x="270" y="1578"/>
                  </a:lnTo>
                  <a:lnTo>
                    <a:pt x="264" y="1578"/>
                  </a:lnTo>
                  <a:lnTo>
                    <a:pt x="258" y="1578"/>
                  </a:lnTo>
                  <a:lnTo>
                    <a:pt x="252" y="1578"/>
                  </a:lnTo>
                  <a:lnTo>
                    <a:pt x="252" y="1584"/>
                  </a:lnTo>
                  <a:lnTo>
                    <a:pt x="246" y="1584"/>
                  </a:lnTo>
                  <a:lnTo>
                    <a:pt x="210" y="1584"/>
                  </a:lnTo>
                  <a:lnTo>
                    <a:pt x="204" y="1584"/>
                  </a:lnTo>
                  <a:lnTo>
                    <a:pt x="192" y="1584"/>
                  </a:lnTo>
                  <a:lnTo>
                    <a:pt x="168" y="1596"/>
                  </a:lnTo>
                  <a:lnTo>
                    <a:pt x="156" y="1572"/>
                  </a:lnTo>
                  <a:lnTo>
                    <a:pt x="156" y="1566"/>
                  </a:lnTo>
                  <a:lnTo>
                    <a:pt x="156" y="1560"/>
                  </a:lnTo>
                  <a:lnTo>
                    <a:pt x="162" y="1548"/>
                  </a:lnTo>
                  <a:lnTo>
                    <a:pt x="162" y="1542"/>
                  </a:lnTo>
                  <a:lnTo>
                    <a:pt x="162" y="1536"/>
                  </a:lnTo>
                  <a:lnTo>
                    <a:pt x="168" y="1530"/>
                  </a:lnTo>
                  <a:lnTo>
                    <a:pt x="168" y="1524"/>
                  </a:lnTo>
                  <a:lnTo>
                    <a:pt x="168" y="1518"/>
                  </a:lnTo>
                  <a:lnTo>
                    <a:pt x="174" y="1518"/>
                  </a:lnTo>
                  <a:lnTo>
                    <a:pt x="174" y="1506"/>
                  </a:lnTo>
                  <a:lnTo>
                    <a:pt x="156" y="1470"/>
                  </a:lnTo>
                  <a:lnTo>
                    <a:pt x="138" y="1464"/>
                  </a:lnTo>
                  <a:lnTo>
                    <a:pt x="126" y="1446"/>
                  </a:lnTo>
                  <a:lnTo>
                    <a:pt x="126" y="1440"/>
                  </a:lnTo>
                  <a:lnTo>
                    <a:pt x="126" y="1434"/>
                  </a:lnTo>
                  <a:lnTo>
                    <a:pt x="120" y="1428"/>
                  </a:lnTo>
                  <a:lnTo>
                    <a:pt x="126" y="1398"/>
                  </a:lnTo>
                  <a:lnTo>
                    <a:pt x="120" y="1374"/>
                  </a:lnTo>
                  <a:lnTo>
                    <a:pt x="60" y="1374"/>
                  </a:lnTo>
                  <a:lnTo>
                    <a:pt x="60" y="1368"/>
                  </a:lnTo>
                  <a:lnTo>
                    <a:pt x="54" y="1362"/>
                  </a:lnTo>
                  <a:lnTo>
                    <a:pt x="48" y="1356"/>
                  </a:lnTo>
                  <a:lnTo>
                    <a:pt x="42" y="1356"/>
                  </a:lnTo>
                  <a:lnTo>
                    <a:pt x="42" y="1350"/>
                  </a:lnTo>
                  <a:lnTo>
                    <a:pt x="36" y="1344"/>
                  </a:lnTo>
                  <a:lnTo>
                    <a:pt x="36" y="1338"/>
                  </a:lnTo>
                  <a:lnTo>
                    <a:pt x="30" y="1332"/>
                  </a:lnTo>
                  <a:lnTo>
                    <a:pt x="30" y="1326"/>
                  </a:lnTo>
                  <a:lnTo>
                    <a:pt x="18" y="1326"/>
                  </a:lnTo>
                  <a:lnTo>
                    <a:pt x="18" y="1320"/>
                  </a:lnTo>
                  <a:lnTo>
                    <a:pt x="18" y="1326"/>
                  </a:lnTo>
                  <a:lnTo>
                    <a:pt x="6" y="1320"/>
                  </a:lnTo>
                  <a:lnTo>
                    <a:pt x="0" y="1314"/>
                  </a:lnTo>
                  <a:lnTo>
                    <a:pt x="12" y="1266"/>
                  </a:lnTo>
                  <a:lnTo>
                    <a:pt x="6" y="1242"/>
                  </a:lnTo>
                  <a:lnTo>
                    <a:pt x="12" y="1236"/>
                  </a:lnTo>
                  <a:lnTo>
                    <a:pt x="12" y="1230"/>
                  </a:lnTo>
                  <a:lnTo>
                    <a:pt x="18" y="1230"/>
                  </a:lnTo>
                  <a:lnTo>
                    <a:pt x="18" y="1224"/>
                  </a:lnTo>
                  <a:lnTo>
                    <a:pt x="24" y="1218"/>
                  </a:lnTo>
                  <a:lnTo>
                    <a:pt x="24" y="1212"/>
                  </a:lnTo>
                  <a:lnTo>
                    <a:pt x="30" y="1212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48" y="1188"/>
                  </a:lnTo>
                  <a:lnTo>
                    <a:pt x="48" y="1182"/>
                  </a:lnTo>
                  <a:lnTo>
                    <a:pt x="48" y="1176"/>
                  </a:lnTo>
                  <a:lnTo>
                    <a:pt x="48" y="1170"/>
                  </a:lnTo>
                  <a:lnTo>
                    <a:pt x="54" y="1170"/>
                  </a:lnTo>
                  <a:lnTo>
                    <a:pt x="60" y="1164"/>
                  </a:lnTo>
                  <a:lnTo>
                    <a:pt x="60" y="1158"/>
                  </a:lnTo>
                  <a:lnTo>
                    <a:pt x="66" y="1152"/>
                  </a:lnTo>
                  <a:lnTo>
                    <a:pt x="60" y="1140"/>
                  </a:lnTo>
                  <a:lnTo>
                    <a:pt x="60" y="1134"/>
                  </a:lnTo>
                  <a:lnTo>
                    <a:pt x="54" y="1134"/>
                  </a:lnTo>
                  <a:lnTo>
                    <a:pt x="54" y="1128"/>
                  </a:lnTo>
                  <a:lnTo>
                    <a:pt x="48" y="1122"/>
                  </a:lnTo>
                  <a:lnTo>
                    <a:pt x="48" y="1116"/>
                  </a:lnTo>
                  <a:lnTo>
                    <a:pt x="48" y="1110"/>
                  </a:lnTo>
                  <a:lnTo>
                    <a:pt x="42" y="1104"/>
                  </a:lnTo>
                  <a:lnTo>
                    <a:pt x="42" y="1098"/>
                  </a:lnTo>
                  <a:lnTo>
                    <a:pt x="36" y="1092"/>
                  </a:lnTo>
                  <a:lnTo>
                    <a:pt x="30" y="1092"/>
                  </a:lnTo>
                  <a:lnTo>
                    <a:pt x="24" y="1092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18" y="1080"/>
                  </a:lnTo>
                  <a:lnTo>
                    <a:pt x="18" y="1074"/>
                  </a:lnTo>
                  <a:lnTo>
                    <a:pt x="12" y="1068"/>
                  </a:lnTo>
                  <a:lnTo>
                    <a:pt x="6" y="1068"/>
                  </a:lnTo>
                  <a:lnTo>
                    <a:pt x="12" y="1056"/>
                  </a:lnTo>
                  <a:lnTo>
                    <a:pt x="6" y="1056"/>
                  </a:lnTo>
                  <a:lnTo>
                    <a:pt x="6" y="1050"/>
                  </a:lnTo>
                  <a:lnTo>
                    <a:pt x="6" y="1044"/>
                  </a:lnTo>
                  <a:lnTo>
                    <a:pt x="6" y="1026"/>
                  </a:lnTo>
                  <a:lnTo>
                    <a:pt x="12" y="1020"/>
                  </a:lnTo>
                  <a:lnTo>
                    <a:pt x="12" y="1014"/>
                  </a:lnTo>
                  <a:lnTo>
                    <a:pt x="18" y="1014"/>
                  </a:lnTo>
                  <a:lnTo>
                    <a:pt x="18" y="1008"/>
                  </a:lnTo>
                  <a:lnTo>
                    <a:pt x="18" y="1002"/>
                  </a:lnTo>
                  <a:lnTo>
                    <a:pt x="18" y="990"/>
                  </a:lnTo>
                  <a:lnTo>
                    <a:pt x="12" y="972"/>
                  </a:lnTo>
                  <a:lnTo>
                    <a:pt x="18" y="954"/>
                  </a:lnTo>
                  <a:lnTo>
                    <a:pt x="18" y="948"/>
                  </a:lnTo>
                  <a:lnTo>
                    <a:pt x="24" y="948"/>
                  </a:lnTo>
                  <a:lnTo>
                    <a:pt x="24" y="930"/>
                  </a:lnTo>
                  <a:lnTo>
                    <a:pt x="30" y="930"/>
                  </a:lnTo>
                  <a:lnTo>
                    <a:pt x="36" y="918"/>
                  </a:lnTo>
                  <a:lnTo>
                    <a:pt x="42" y="918"/>
                  </a:lnTo>
                  <a:lnTo>
                    <a:pt x="48" y="918"/>
                  </a:lnTo>
                  <a:lnTo>
                    <a:pt x="78" y="912"/>
                  </a:lnTo>
                  <a:lnTo>
                    <a:pt x="90" y="894"/>
                  </a:lnTo>
                  <a:lnTo>
                    <a:pt x="96" y="894"/>
                  </a:lnTo>
                  <a:lnTo>
                    <a:pt x="102" y="888"/>
                  </a:lnTo>
                  <a:lnTo>
                    <a:pt x="102" y="882"/>
                  </a:lnTo>
                  <a:lnTo>
                    <a:pt x="114" y="870"/>
                  </a:lnTo>
                  <a:lnTo>
                    <a:pt x="120" y="864"/>
                  </a:lnTo>
                  <a:lnTo>
                    <a:pt x="120" y="852"/>
                  </a:lnTo>
                  <a:lnTo>
                    <a:pt x="120" y="846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32" y="840"/>
                  </a:lnTo>
                  <a:lnTo>
                    <a:pt x="138" y="840"/>
                  </a:lnTo>
                  <a:lnTo>
                    <a:pt x="138" y="834"/>
                  </a:lnTo>
                  <a:lnTo>
                    <a:pt x="144" y="834"/>
                  </a:lnTo>
                  <a:lnTo>
                    <a:pt x="144" y="828"/>
                  </a:lnTo>
                  <a:lnTo>
                    <a:pt x="150" y="828"/>
                  </a:lnTo>
                  <a:lnTo>
                    <a:pt x="156" y="822"/>
                  </a:lnTo>
                  <a:lnTo>
                    <a:pt x="162" y="816"/>
                  </a:lnTo>
                  <a:lnTo>
                    <a:pt x="162" y="822"/>
                  </a:lnTo>
                  <a:lnTo>
                    <a:pt x="162" y="816"/>
                  </a:lnTo>
                  <a:lnTo>
                    <a:pt x="162" y="810"/>
                  </a:lnTo>
                  <a:lnTo>
                    <a:pt x="168" y="810"/>
                  </a:lnTo>
                  <a:lnTo>
                    <a:pt x="174" y="804"/>
                  </a:lnTo>
                  <a:lnTo>
                    <a:pt x="180" y="798"/>
                  </a:lnTo>
                  <a:lnTo>
                    <a:pt x="180" y="786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8" y="780"/>
                  </a:lnTo>
                  <a:lnTo>
                    <a:pt x="204" y="774"/>
                  </a:lnTo>
                  <a:lnTo>
                    <a:pt x="210" y="774"/>
                  </a:lnTo>
                  <a:lnTo>
                    <a:pt x="216" y="768"/>
                  </a:lnTo>
                  <a:lnTo>
                    <a:pt x="222" y="762"/>
                  </a:lnTo>
                  <a:lnTo>
                    <a:pt x="228" y="762"/>
                  </a:lnTo>
                  <a:lnTo>
                    <a:pt x="228" y="768"/>
                  </a:lnTo>
                  <a:lnTo>
                    <a:pt x="234" y="768"/>
                  </a:lnTo>
                  <a:lnTo>
                    <a:pt x="240" y="762"/>
                  </a:lnTo>
                  <a:lnTo>
                    <a:pt x="252" y="762"/>
                  </a:lnTo>
                  <a:lnTo>
                    <a:pt x="264" y="768"/>
                  </a:lnTo>
                  <a:lnTo>
                    <a:pt x="294" y="756"/>
                  </a:lnTo>
                  <a:lnTo>
                    <a:pt x="294" y="750"/>
                  </a:lnTo>
                  <a:lnTo>
                    <a:pt x="300" y="750"/>
                  </a:lnTo>
                  <a:lnTo>
                    <a:pt x="306" y="744"/>
                  </a:lnTo>
                  <a:lnTo>
                    <a:pt x="342" y="750"/>
                  </a:lnTo>
                  <a:lnTo>
                    <a:pt x="348" y="750"/>
                  </a:lnTo>
                  <a:lnTo>
                    <a:pt x="348" y="744"/>
                  </a:lnTo>
                  <a:lnTo>
                    <a:pt x="354" y="744"/>
                  </a:lnTo>
                  <a:lnTo>
                    <a:pt x="360" y="744"/>
                  </a:lnTo>
                  <a:lnTo>
                    <a:pt x="360" y="750"/>
                  </a:lnTo>
                  <a:lnTo>
                    <a:pt x="366" y="750"/>
                  </a:lnTo>
                  <a:lnTo>
                    <a:pt x="366" y="744"/>
                  </a:lnTo>
                  <a:lnTo>
                    <a:pt x="366" y="738"/>
                  </a:lnTo>
                  <a:lnTo>
                    <a:pt x="372" y="744"/>
                  </a:lnTo>
                  <a:lnTo>
                    <a:pt x="378" y="744"/>
                  </a:lnTo>
                  <a:lnTo>
                    <a:pt x="384" y="750"/>
                  </a:lnTo>
                  <a:lnTo>
                    <a:pt x="444" y="774"/>
                  </a:lnTo>
                  <a:lnTo>
                    <a:pt x="450" y="774"/>
                  </a:lnTo>
                  <a:lnTo>
                    <a:pt x="456" y="768"/>
                  </a:lnTo>
                  <a:lnTo>
                    <a:pt x="462" y="768"/>
                  </a:lnTo>
                  <a:lnTo>
                    <a:pt x="462" y="762"/>
                  </a:lnTo>
                  <a:lnTo>
                    <a:pt x="468" y="762"/>
                  </a:lnTo>
                  <a:lnTo>
                    <a:pt x="474" y="756"/>
                  </a:lnTo>
                  <a:lnTo>
                    <a:pt x="480" y="750"/>
                  </a:lnTo>
                  <a:lnTo>
                    <a:pt x="516" y="756"/>
                  </a:lnTo>
                  <a:lnTo>
                    <a:pt x="522" y="756"/>
                  </a:lnTo>
                  <a:lnTo>
                    <a:pt x="522" y="762"/>
                  </a:lnTo>
                  <a:lnTo>
                    <a:pt x="522" y="768"/>
                  </a:lnTo>
                  <a:lnTo>
                    <a:pt x="522" y="774"/>
                  </a:lnTo>
                  <a:lnTo>
                    <a:pt x="528" y="780"/>
                  </a:lnTo>
                  <a:lnTo>
                    <a:pt x="540" y="780"/>
                  </a:lnTo>
                  <a:lnTo>
                    <a:pt x="540" y="804"/>
                  </a:lnTo>
                  <a:lnTo>
                    <a:pt x="540" y="810"/>
                  </a:lnTo>
                  <a:lnTo>
                    <a:pt x="546" y="810"/>
                  </a:lnTo>
                  <a:lnTo>
                    <a:pt x="552" y="810"/>
                  </a:lnTo>
                  <a:lnTo>
                    <a:pt x="558" y="810"/>
                  </a:lnTo>
                  <a:lnTo>
                    <a:pt x="564" y="810"/>
                  </a:lnTo>
                  <a:lnTo>
                    <a:pt x="570" y="810"/>
                  </a:lnTo>
                  <a:lnTo>
                    <a:pt x="576" y="810"/>
                  </a:lnTo>
                  <a:lnTo>
                    <a:pt x="576" y="816"/>
                  </a:lnTo>
                  <a:lnTo>
                    <a:pt x="588" y="816"/>
                  </a:lnTo>
                  <a:lnTo>
                    <a:pt x="594" y="816"/>
                  </a:lnTo>
                  <a:lnTo>
                    <a:pt x="600" y="822"/>
                  </a:lnTo>
                  <a:lnTo>
                    <a:pt x="606" y="816"/>
                  </a:lnTo>
                  <a:lnTo>
                    <a:pt x="612" y="816"/>
                  </a:lnTo>
                  <a:lnTo>
                    <a:pt x="612" y="810"/>
                  </a:lnTo>
                  <a:lnTo>
                    <a:pt x="624" y="810"/>
                  </a:lnTo>
                  <a:lnTo>
                    <a:pt x="624" y="804"/>
                  </a:lnTo>
                  <a:lnTo>
                    <a:pt x="630" y="798"/>
                  </a:lnTo>
                  <a:lnTo>
                    <a:pt x="636" y="798"/>
                  </a:lnTo>
                  <a:lnTo>
                    <a:pt x="636" y="804"/>
                  </a:lnTo>
                  <a:lnTo>
                    <a:pt x="642" y="804"/>
                  </a:lnTo>
                  <a:lnTo>
                    <a:pt x="648" y="804"/>
                  </a:lnTo>
                  <a:lnTo>
                    <a:pt x="654" y="804"/>
                  </a:lnTo>
                  <a:lnTo>
                    <a:pt x="660" y="804"/>
                  </a:lnTo>
                  <a:lnTo>
                    <a:pt x="678" y="798"/>
                  </a:lnTo>
                  <a:lnTo>
                    <a:pt x="714" y="786"/>
                  </a:lnTo>
                  <a:lnTo>
                    <a:pt x="714" y="792"/>
                  </a:lnTo>
                  <a:lnTo>
                    <a:pt x="714" y="798"/>
                  </a:lnTo>
                  <a:lnTo>
                    <a:pt x="714" y="804"/>
                  </a:lnTo>
                  <a:lnTo>
                    <a:pt x="720" y="804"/>
                  </a:lnTo>
                  <a:lnTo>
                    <a:pt x="720" y="810"/>
                  </a:lnTo>
                  <a:lnTo>
                    <a:pt x="720" y="816"/>
                  </a:lnTo>
                  <a:lnTo>
                    <a:pt x="726" y="822"/>
                  </a:lnTo>
                  <a:lnTo>
                    <a:pt x="732" y="828"/>
                  </a:lnTo>
                  <a:lnTo>
                    <a:pt x="732" y="834"/>
                  </a:lnTo>
                  <a:lnTo>
                    <a:pt x="732" y="846"/>
                  </a:lnTo>
                  <a:lnTo>
                    <a:pt x="732" y="858"/>
                  </a:lnTo>
                  <a:lnTo>
                    <a:pt x="738" y="858"/>
                  </a:lnTo>
                  <a:lnTo>
                    <a:pt x="732" y="864"/>
                  </a:lnTo>
                  <a:lnTo>
                    <a:pt x="732" y="870"/>
                  </a:lnTo>
                  <a:lnTo>
                    <a:pt x="726" y="870"/>
                  </a:lnTo>
                  <a:lnTo>
                    <a:pt x="726" y="876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0" y="882"/>
                  </a:lnTo>
                  <a:lnTo>
                    <a:pt x="690" y="912"/>
                  </a:lnTo>
                  <a:lnTo>
                    <a:pt x="696" y="936"/>
                  </a:lnTo>
                  <a:lnTo>
                    <a:pt x="702" y="936"/>
                  </a:lnTo>
                  <a:lnTo>
                    <a:pt x="702" y="930"/>
                  </a:lnTo>
                  <a:lnTo>
                    <a:pt x="708" y="930"/>
                  </a:lnTo>
                  <a:lnTo>
                    <a:pt x="708" y="924"/>
                  </a:lnTo>
                  <a:lnTo>
                    <a:pt x="708" y="918"/>
                  </a:lnTo>
                  <a:lnTo>
                    <a:pt x="714" y="918"/>
                  </a:lnTo>
                  <a:lnTo>
                    <a:pt x="720" y="954"/>
                  </a:lnTo>
                  <a:lnTo>
                    <a:pt x="726" y="966"/>
                  </a:lnTo>
                  <a:lnTo>
                    <a:pt x="744" y="966"/>
                  </a:lnTo>
                  <a:lnTo>
                    <a:pt x="756" y="972"/>
                  </a:lnTo>
                  <a:lnTo>
                    <a:pt x="792" y="990"/>
                  </a:lnTo>
                  <a:lnTo>
                    <a:pt x="828" y="978"/>
                  </a:lnTo>
                  <a:lnTo>
                    <a:pt x="834" y="978"/>
                  </a:lnTo>
                  <a:lnTo>
                    <a:pt x="840" y="978"/>
                  </a:lnTo>
                  <a:lnTo>
                    <a:pt x="840" y="984"/>
                  </a:lnTo>
                  <a:lnTo>
                    <a:pt x="846" y="984"/>
                  </a:lnTo>
                  <a:lnTo>
                    <a:pt x="858" y="972"/>
                  </a:lnTo>
                  <a:lnTo>
                    <a:pt x="882" y="972"/>
                  </a:lnTo>
                  <a:lnTo>
                    <a:pt x="888" y="984"/>
                  </a:lnTo>
                  <a:lnTo>
                    <a:pt x="900" y="990"/>
                  </a:lnTo>
                  <a:lnTo>
                    <a:pt x="924" y="996"/>
                  </a:lnTo>
                  <a:lnTo>
                    <a:pt x="930" y="990"/>
                  </a:lnTo>
                  <a:lnTo>
                    <a:pt x="930" y="984"/>
                  </a:lnTo>
                  <a:lnTo>
                    <a:pt x="924" y="978"/>
                  </a:lnTo>
                  <a:lnTo>
                    <a:pt x="906" y="972"/>
                  </a:lnTo>
                  <a:lnTo>
                    <a:pt x="900" y="966"/>
                  </a:lnTo>
                  <a:lnTo>
                    <a:pt x="900" y="960"/>
                  </a:lnTo>
                  <a:lnTo>
                    <a:pt x="900" y="954"/>
                  </a:lnTo>
                  <a:lnTo>
                    <a:pt x="900" y="948"/>
                  </a:lnTo>
                  <a:lnTo>
                    <a:pt x="912" y="936"/>
                  </a:lnTo>
                  <a:lnTo>
                    <a:pt x="912" y="924"/>
                  </a:lnTo>
                  <a:lnTo>
                    <a:pt x="918" y="924"/>
                  </a:lnTo>
                  <a:lnTo>
                    <a:pt x="918" y="918"/>
                  </a:lnTo>
                  <a:lnTo>
                    <a:pt x="936" y="906"/>
                  </a:lnTo>
                  <a:lnTo>
                    <a:pt x="942" y="906"/>
                  </a:lnTo>
                  <a:lnTo>
                    <a:pt x="948" y="906"/>
                  </a:lnTo>
                  <a:lnTo>
                    <a:pt x="954" y="906"/>
                  </a:lnTo>
                  <a:lnTo>
                    <a:pt x="960" y="906"/>
                  </a:lnTo>
                  <a:lnTo>
                    <a:pt x="966" y="912"/>
                  </a:lnTo>
                  <a:lnTo>
                    <a:pt x="972" y="906"/>
                  </a:lnTo>
                  <a:lnTo>
                    <a:pt x="978" y="906"/>
                  </a:lnTo>
                  <a:lnTo>
                    <a:pt x="984" y="900"/>
                  </a:lnTo>
                  <a:lnTo>
                    <a:pt x="984" y="894"/>
                  </a:lnTo>
                  <a:lnTo>
                    <a:pt x="990" y="894"/>
                  </a:lnTo>
                  <a:lnTo>
                    <a:pt x="996" y="888"/>
                  </a:lnTo>
                  <a:lnTo>
                    <a:pt x="1002" y="888"/>
                  </a:lnTo>
                  <a:lnTo>
                    <a:pt x="1008" y="882"/>
                  </a:lnTo>
                  <a:lnTo>
                    <a:pt x="1014" y="882"/>
                  </a:lnTo>
                  <a:lnTo>
                    <a:pt x="1020" y="882"/>
                  </a:lnTo>
                  <a:lnTo>
                    <a:pt x="1020" y="888"/>
                  </a:lnTo>
                  <a:lnTo>
                    <a:pt x="1026" y="882"/>
                  </a:lnTo>
                  <a:lnTo>
                    <a:pt x="1026" y="876"/>
                  </a:lnTo>
                  <a:lnTo>
                    <a:pt x="1026" y="870"/>
                  </a:lnTo>
                  <a:lnTo>
                    <a:pt x="1032" y="864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44" y="852"/>
                  </a:lnTo>
                  <a:lnTo>
                    <a:pt x="1038" y="846"/>
                  </a:lnTo>
                  <a:lnTo>
                    <a:pt x="1038" y="840"/>
                  </a:lnTo>
                  <a:lnTo>
                    <a:pt x="1032" y="840"/>
                  </a:lnTo>
                  <a:lnTo>
                    <a:pt x="1026" y="840"/>
                  </a:lnTo>
                  <a:lnTo>
                    <a:pt x="1020" y="840"/>
                  </a:lnTo>
                  <a:lnTo>
                    <a:pt x="1014" y="846"/>
                  </a:lnTo>
                  <a:lnTo>
                    <a:pt x="1008" y="846"/>
                  </a:lnTo>
                  <a:lnTo>
                    <a:pt x="1002" y="840"/>
                  </a:lnTo>
                  <a:lnTo>
                    <a:pt x="996" y="840"/>
                  </a:lnTo>
                  <a:lnTo>
                    <a:pt x="990" y="834"/>
                  </a:lnTo>
                  <a:lnTo>
                    <a:pt x="984" y="834"/>
                  </a:lnTo>
                  <a:lnTo>
                    <a:pt x="978" y="834"/>
                  </a:lnTo>
                  <a:lnTo>
                    <a:pt x="972" y="834"/>
                  </a:lnTo>
                  <a:lnTo>
                    <a:pt x="966" y="834"/>
                  </a:lnTo>
                  <a:lnTo>
                    <a:pt x="966" y="828"/>
                  </a:lnTo>
                  <a:lnTo>
                    <a:pt x="960" y="828"/>
                  </a:lnTo>
                  <a:lnTo>
                    <a:pt x="954" y="828"/>
                  </a:lnTo>
                  <a:lnTo>
                    <a:pt x="942" y="828"/>
                  </a:lnTo>
                  <a:lnTo>
                    <a:pt x="936" y="828"/>
                  </a:lnTo>
                  <a:lnTo>
                    <a:pt x="930" y="828"/>
                  </a:lnTo>
                  <a:lnTo>
                    <a:pt x="918" y="828"/>
                  </a:lnTo>
                  <a:lnTo>
                    <a:pt x="918" y="822"/>
                  </a:lnTo>
                  <a:lnTo>
                    <a:pt x="912" y="828"/>
                  </a:lnTo>
                  <a:lnTo>
                    <a:pt x="912" y="822"/>
                  </a:lnTo>
                  <a:lnTo>
                    <a:pt x="906" y="816"/>
                  </a:lnTo>
                  <a:lnTo>
                    <a:pt x="900" y="816"/>
                  </a:lnTo>
                  <a:lnTo>
                    <a:pt x="894" y="816"/>
                  </a:lnTo>
                  <a:lnTo>
                    <a:pt x="888" y="816"/>
                  </a:lnTo>
                  <a:lnTo>
                    <a:pt x="882" y="816"/>
                  </a:lnTo>
                  <a:lnTo>
                    <a:pt x="882" y="810"/>
                  </a:lnTo>
                  <a:lnTo>
                    <a:pt x="876" y="804"/>
                  </a:lnTo>
                  <a:lnTo>
                    <a:pt x="870" y="804"/>
                  </a:lnTo>
                  <a:lnTo>
                    <a:pt x="864" y="798"/>
                  </a:lnTo>
                  <a:lnTo>
                    <a:pt x="858" y="798"/>
                  </a:lnTo>
                  <a:lnTo>
                    <a:pt x="858" y="804"/>
                  </a:lnTo>
                  <a:lnTo>
                    <a:pt x="852" y="804"/>
                  </a:lnTo>
                  <a:lnTo>
                    <a:pt x="846" y="804"/>
                  </a:lnTo>
                  <a:lnTo>
                    <a:pt x="846" y="798"/>
                  </a:lnTo>
                  <a:lnTo>
                    <a:pt x="840" y="804"/>
                  </a:lnTo>
                  <a:lnTo>
                    <a:pt x="834" y="804"/>
                  </a:lnTo>
                  <a:lnTo>
                    <a:pt x="828" y="804"/>
                  </a:lnTo>
                  <a:lnTo>
                    <a:pt x="828" y="810"/>
                  </a:lnTo>
                  <a:lnTo>
                    <a:pt x="822" y="810"/>
                  </a:lnTo>
                  <a:lnTo>
                    <a:pt x="810" y="804"/>
                  </a:lnTo>
                  <a:lnTo>
                    <a:pt x="810" y="798"/>
                  </a:lnTo>
                  <a:lnTo>
                    <a:pt x="780" y="798"/>
                  </a:lnTo>
                  <a:lnTo>
                    <a:pt x="756" y="774"/>
                  </a:lnTo>
                  <a:lnTo>
                    <a:pt x="750" y="768"/>
                  </a:lnTo>
                  <a:lnTo>
                    <a:pt x="750" y="744"/>
                  </a:lnTo>
                  <a:lnTo>
                    <a:pt x="732" y="738"/>
                  </a:lnTo>
                  <a:lnTo>
                    <a:pt x="732" y="720"/>
                  </a:lnTo>
                  <a:lnTo>
                    <a:pt x="714" y="690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6" y="666"/>
                  </a:lnTo>
                  <a:lnTo>
                    <a:pt x="690" y="666"/>
                  </a:lnTo>
                  <a:lnTo>
                    <a:pt x="678" y="672"/>
                  </a:lnTo>
                  <a:lnTo>
                    <a:pt x="678" y="654"/>
                  </a:lnTo>
                  <a:lnTo>
                    <a:pt x="684" y="630"/>
                  </a:lnTo>
                  <a:lnTo>
                    <a:pt x="690" y="618"/>
                  </a:lnTo>
                  <a:lnTo>
                    <a:pt x="696" y="612"/>
                  </a:lnTo>
                  <a:lnTo>
                    <a:pt x="696" y="588"/>
                  </a:lnTo>
                  <a:lnTo>
                    <a:pt x="690" y="576"/>
                  </a:lnTo>
                  <a:lnTo>
                    <a:pt x="696" y="552"/>
                  </a:lnTo>
                  <a:lnTo>
                    <a:pt x="684" y="522"/>
                  </a:lnTo>
                  <a:lnTo>
                    <a:pt x="672" y="504"/>
                  </a:lnTo>
                  <a:lnTo>
                    <a:pt x="654" y="504"/>
                  </a:lnTo>
                  <a:lnTo>
                    <a:pt x="642" y="504"/>
                  </a:lnTo>
                  <a:lnTo>
                    <a:pt x="624" y="510"/>
                  </a:lnTo>
                  <a:lnTo>
                    <a:pt x="612" y="516"/>
                  </a:lnTo>
                  <a:lnTo>
                    <a:pt x="594" y="516"/>
                  </a:lnTo>
                  <a:lnTo>
                    <a:pt x="588" y="516"/>
                  </a:lnTo>
                  <a:lnTo>
                    <a:pt x="588" y="522"/>
                  </a:lnTo>
                  <a:lnTo>
                    <a:pt x="582" y="516"/>
                  </a:lnTo>
                  <a:lnTo>
                    <a:pt x="588" y="510"/>
                  </a:lnTo>
                  <a:lnTo>
                    <a:pt x="582" y="510"/>
                  </a:lnTo>
                  <a:lnTo>
                    <a:pt x="582" y="504"/>
                  </a:lnTo>
                  <a:lnTo>
                    <a:pt x="576" y="498"/>
                  </a:lnTo>
                  <a:lnTo>
                    <a:pt x="570" y="498"/>
                  </a:lnTo>
                  <a:lnTo>
                    <a:pt x="570" y="492"/>
                  </a:lnTo>
                  <a:lnTo>
                    <a:pt x="564" y="492"/>
                  </a:lnTo>
                  <a:lnTo>
                    <a:pt x="570" y="486"/>
                  </a:lnTo>
                  <a:lnTo>
                    <a:pt x="564" y="486"/>
                  </a:lnTo>
                  <a:lnTo>
                    <a:pt x="564" y="480"/>
                  </a:lnTo>
                  <a:lnTo>
                    <a:pt x="564" y="474"/>
                  </a:lnTo>
                  <a:lnTo>
                    <a:pt x="558" y="468"/>
                  </a:lnTo>
                  <a:lnTo>
                    <a:pt x="564" y="468"/>
                  </a:lnTo>
                  <a:lnTo>
                    <a:pt x="564" y="462"/>
                  </a:lnTo>
                  <a:lnTo>
                    <a:pt x="570" y="462"/>
                  </a:lnTo>
                  <a:lnTo>
                    <a:pt x="570" y="456"/>
                  </a:lnTo>
                  <a:lnTo>
                    <a:pt x="570" y="450"/>
                  </a:lnTo>
                  <a:lnTo>
                    <a:pt x="576" y="450"/>
                  </a:lnTo>
                  <a:lnTo>
                    <a:pt x="576" y="444"/>
                  </a:lnTo>
                  <a:lnTo>
                    <a:pt x="582" y="438"/>
                  </a:lnTo>
                  <a:lnTo>
                    <a:pt x="588" y="438"/>
                  </a:lnTo>
                  <a:lnTo>
                    <a:pt x="588" y="444"/>
                  </a:lnTo>
                  <a:lnTo>
                    <a:pt x="594" y="438"/>
                  </a:lnTo>
                  <a:lnTo>
                    <a:pt x="594" y="432"/>
                  </a:lnTo>
                  <a:lnTo>
                    <a:pt x="600" y="432"/>
                  </a:lnTo>
                  <a:lnTo>
                    <a:pt x="600" y="426"/>
                  </a:lnTo>
                  <a:lnTo>
                    <a:pt x="600" y="420"/>
                  </a:lnTo>
                  <a:lnTo>
                    <a:pt x="606" y="420"/>
                  </a:lnTo>
                  <a:lnTo>
                    <a:pt x="600" y="420"/>
                  </a:lnTo>
                  <a:lnTo>
                    <a:pt x="600" y="414"/>
                  </a:lnTo>
                  <a:lnTo>
                    <a:pt x="606" y="408"/>
                  </a:lnTo>
                  <a:lnTo>
                    <a:pt x="612" y="408"/>
                  </a:lnTo>
                  <a:lnTo>
                    <a:pt x="612" y="414"/>
                  </a:lnTo>
                  <a:lnTo>
                    <a:pt x="618" y="414"/>
                  </a:lnTo>
                  <a:lnTo>
                    <a:pt x="624" y="414"/>
                  </a:lnTo>
                  <a:lnTo>
                    <a:pt x="630" y="414"/>
                  </a:lnTo>
                  <a:lnTo>
                    <a:pt x="636" y="414"/>
                  </a:lnTo>
                  <a:lnTo>
                    <a:pt x="642" y="408"/>
                  </a:lnTo>
                  <a:lnTo>
                    <a:pt x="648" y="408"/>
                  </a:lnTo>
                  <a:lnTo>
                    <a:pt x="660" y="408"/>
                  </a:lnTo>
                  <a:lnTo>
                    <a:pt x="666" y="402"/>
                  </a:lnTo>
                  <a:lnTo>
                    <a:pt x="672" y="402"/>
                  </a:lnTo>
                  <a:lnTo>
                    <a:pt x="684" y="396"/>
                  </a:lnTo>
                  <a:lnTo>
                    <a:pt x="690" y="396"/>
                  </a:lnTo>
                  <a:lnTo>
                    <a:pt x="696" y="396"/>
                  </a:lnTo>
                  <a:lnTo>
                    <a:pt x="702" y="396"/>
                  </a:lnTo>
                  <a:lnTo>
                    <a:pt x="708" y="396"/>
                  </a:lnTo>
                  <a:lnTo>
                    <a:pt x="714" y="390"/>
                  </a:lnTo>
                  <a:lnTo>
                    <a:pt x="714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32" y="384"/>
                  </a:lnTo>
                  <a:lnTo>
                    <a:pt x="738" y="378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56" y="372"/>
                  </a:lnTo>
                  <a:lnTo>
                    <a:pt x="762" y="366"/>
                  </a:lnTo>
                  <a:lnTo>
                    <a:pt x="768" y="366"/>
                  </a:lnTo>
                  <a:lnTo>
                    <a:pt x="774" y="366"/>
                  </a:lnTo>
                  <a:lnTo>
                    <a:pt x="774" y="360"/>
                  </a:lnTo>
                  <a:lnTo>
                    <a:pt x="780" y="366"/>
                  </a:lnTo>
                  <a:lnTo>
                    <a:pt x="786" y="366"/>
                  </a:lnTo>
                  <a:lnTo>
                    <a:pt x="786" y="360"/>
                  </a:lnTo>
                  <a:lnTo>
                    <a:pt x="792" y="354"/>
                  </a:lnTo>
                  <a:lnTo>
                    <a:pt x="786" y="354"/>
                  </a:lnTo>
                  <a:lnTo>
                    <a:pt x="792" y="348"/>
                  </a:lnTo>
                  <a:lnTo>
                    <a:pt x="798" y="348"/>
                  </a:lnTo>
                  <a:lnTo>
                    <a:pt x="804" y="348"/>
                  </a:lnTo>
                  <a:lnTo>
                    <a:pt x="810" y="342"/>
                  </a:lnTo>
                  <a:lnTo>
                    <a:pt x="816" y="342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28" y="336"/>
                  </a:lnTo>
                  <a:lnTo>
                    <a:pt x="834" y="336"/>
                  </a:lnTo>
                  <a:lnTo>
                    <a:pt x="840" y="336"/>
                  </a:lnTo>
                  <a:lnTo>
                    <a:pt x="846" y="330"/>
                  </a:lnTo>
                  <a:lnTo>
                    <a:pt x="852" y="330"/>
                  </a:lnTo>
                  <a:lnTo>
                    <a:pt x="858" y="330"/>
                  </a:lnTo>
                  <a:lnTo>
                    <a:pt x="864" y="324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0" y="312"/>
                  </a:lnTo>
                  <a:lnTo>
                    <a:pt x="876" y="312"/>
                  </a:lnTo>
                  <a:lnTo>
                    <a:pt x="882" y="312"/>
                  </a:lnTo>
                  <a:lnTo>
                    <a:pt x="882" y="318"/>
                  </a:lnTo>
                  <a:lnTo>
                    <a:pt x="888" y="312"/>
                  </a:lnTo>
                  <a:lnTo>
                    <a:pt x="894" y="306"/>
                  </a:lnTo>
                  <a:lnTo>
                    <a:pt x="900" y="306"/>
                  </a:lnTo>
                  <a:lnTo>
                    <a:pt x="906" y="306"/>
                  </a:lnTo>
                  <a:lnTo>
                    <a:pt x="912" y="300"/>
                  </a:lnTo>
                  <a:lnTo>
                    <a:pt x="906" y="294"/>
                  </a:lnTo>
                  <a:lnTo>
                    <a:pt x="912" y="276"/>
                  </a:lnTo>
                  <a:lnTo>
                    <a:pt x="912" y="252"/>
                  </a:lnTo>
                  <a:lnTo>
                    <a:pt x="906" y="234"/>
                  </a:lnTo>
                  <a:lnTo>
                    <a:pt x="912" y="228"/>
                  </a:lnTo>
                  <a:lnTo>
                    <a:pt x="912" y="216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24" y="192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36" y="186"/>
                  </a:lnTo>
                  <a:lnTo>
                    <a:pt x="930" y="180"/>
                  </a:lnTo>
                  <a:lnTo>
                    <a:pt x="930" y="174"/>
                  </a:lnTo>
                  <a:lnTo>
                    <a:pt x="936" y="156"/>
                  </a:lnTo>
                  <a:lnTo>
                    <a:pt x="930" y="156"/>
                  </a:lnTo>
                  <a:lnTo>
                    <a:pt x="924" y="150"/>
                  </a:lnTo>
                  <a:lnTo>
                    <a:pt x="942" y="78"/>
                  </a:lnTo>
                  <a:lnTo>
                    <a:pt x="948" y="78"/>
                  </a:lnTo>
                  <a:lnTo>
                    <a:pt x="954" y="66"/>
                  </a:lnTo>
                  <a:lnTo>
                    <a:pt x="954" y="72"/>
                  </a:lnTo>
                  <a:lnTo>
                    <a:pt x="954" y="66"/>
                  </a:lnTo>
                  <a:lnTo>
                    <a:pt x="960" y="66"/>
                  </a:lnTo>
                  <a:lnTo>
                    <a:pt x="966" y="66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54"/>
                  </a:lnTo>
                  <a:lnTo>
                    <a:pt x="990" y="54"/>
                  </a:lnTo>
                  <a:lnTo>
                    <a:pt x="996" y="48"/>
                  </a:lnTo>
                  <a:lnTo>
                    <a:pt x="1002" y="48"/>
                  </a:lnTo>
                  <a:lnTo>
                    <a:pt x="1032" y="48"/>
                  </a:lnTo>
                  <a:lnTo>
                    <a:pt x="1062" y="48"/>
                  </a:lnTo>
                  <a:lnTo>
                    <a:pt x="1068" y="78"/>
                  </a:lnTo>
                  <a:lnTo>
                    <a:pt x="1086" y="78"/>
                  </a:lnTo>
                  <a:lnTo>
                    <a:pt x="1092" y="66"/>
                  </a:lnTo>
                  <a:lnTo>
                    <a:pt x="1092" y="60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8" y="48"/>
                  </a:lnTo>
                  <a:lnTo>
                    <a:pt x="1104" y="48"/>
                  </a:lnTo>
                  <a:lnTo>
                    <a:pt x="1110" y="48"/>
                  </a:lnTo>
                  <a:lnTo>
                    <a:pt x="1110" y="42"/>
                  </a:lnTo>
                  <a:lnTo>
                    <a:pt x="1110" y="36"/>
                  </a:lnTo>
                  <a:lnTo>
                    <a:pt x="1116" y="36"/>
                  </a:lnTo>
                  <a:lnTo>
                    <a:pt x="1116" y="30"/>
                  </a:lnTo>
                  <a:lnTo>
                    <a:pt x="1122" y="30"/>
                  </a:lnTo>
                  <a:lnTo>
                    <a:pt x="1128" y="30"/>
                  </a:lnTo>
                  <a:lnTo>
                    <a:pt x="1134" y="30"/>
                  </a:lnTo>
                  <a:lnTo>
                    <a:pt x="1140" y="24"/>
                  </a:lnTo>
                  <a:lnTo>
                    <a:pt x="1152" y="18"/>
                  </a:lnTo>
                  <a:lnTo>
                    <a:pt x="1158" y="18"/>
                  </a:lnTo>
                  <a:lnTo>
                    <a:pt x="1152" y="12"/>
                  </a:lnTo>
                  <a:lnTo>
                    <a:pt x="1152" y="6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8"/>
                  </a:lnTo>
                  <a:lnTo>
                    <a:pt x="1170" y="12"/>
                  </a:lnTo>
                  <a:lnTo>
                    <a:pt x="1170" y="6"/>
                  </a:lnTo>
                  <a:lnTo>
                    <a:pt x="1176" y="6"/>
                  </a:lnTo>
                  <a:lnTo>
                    <a:pt x="1176" y="0"/>
                  </a:lnTo>
                  <a:lnTo>
                    <a:pt x="1182" y="6"/>
                  </a:lnTo>
                  <a:lnTo>
                    <a:pt x="1188" y="6"/>
                  </a:lnTo>
                  <a:lnTo>
                    <a:pt x="1188" y="0"/>
                  </a:lnTo>
                  <a:lnTo>
                    <a:pt x="1194" y="6"/>
                  </a:lnTo>
                  <a:lnTo>
                    <a:pt x="1200" y="12"/>
                  </a:lnTo>
                  <a:lnTo>
                    <a:pt x="1206" y="18"/>
                  </a:lnTo>
                  <a:lnTo>
                    <a:pt x="1212" y="18"/>
                  </a:lnTo>
                  <a:lnTo>
                    <a:pt x="1218" y="24"/>
                  </a:lnTo>
                  <a:lnTo>
                    <a:pt x="1236" y="36"/>
                  </a:lnTo>
                  <a:lnTo>
                    <a:pt x="1242" y="36"/>
                  </a:lnTo>
                  <a:lnTo>
                    <a:pt x="1248" y="42"/>
                  </a:lnTo>
                  <a:lnTo>
                    <a:pt x="1248" y="48"/>
                  </a:lnTo>
                  <a:lnTo>
                    <a:pt x="1260" y="48"/>
                  </a:lnTo>
                  <a:lnTo>
                    <a:pt x="1260" y="108"/>
                  </a:lnTo>
                  <a:lnTo>
                    <a:pt x="1266" y="168"/>
                  </a:lnTo>
                  <a:lnTo>
                    <a:pt x="1278" y="234"/>
                  </a:lnTo>
                  <a:lnTo>
                    <a:pt x="1284" y="240"/>
                  </a:lnTo>
                  <a:lnTo>
                    <a:pt x="1290" y="264"/>
                  </a:lnTo>
                  <a:lnTo>
                    <a:pt x="1296" y="288"/>
                  </a:lnTo>
                  <a:lnTo>
                    <a:pt x="1296" y="300"/>
                  </a:lnTo>
                  <a:lnTo>
                    <a:pt x="1296" y="312"/>
                  </a:lnTo>
                  <a:lnTo>
                    <a:pt x="1296" y="324"/>
                  </a:lnTo>
                  <a:lnTo>
                    <a:pt x="1296" y="354"/>
                  </a:lnTo>
                  <a:lnTo>
                    <a:pt x="1302" y="366"/>
                  </a:lnTo>
                  <a:lnTo>
                    <a:pt x="1308" y="372"/>
                  </a:lnTo>
                  <a:lnTo>
                    <a:pt x="1308" y="384"/>
                  </a:lnTo>
                  <a:lnTo>
                    <a:pt x="1314" y="390"/>
                  </a:lnTo>
                  <a:lnTo>
                    <a:pt x="1308" y="408"/>
                  </a:lnTo>
                  <a:lnTo>
                    <a:pt x="1314" y="408"/>
                  </a:lnTo>
                  <a:lnTo>
                    <a:pt x="1314" y="414"/>
                  </a:lnTo>
                  <a:lnTo>
                    <a:pt x="1308" y="420"/>
                  </a:lnTo>
                  <a:lnTo>
                    <a:pt x="1308" y="432"/>
                  </a:lnTo>
                  <a:lnTo>
                    <a:pt x="1320" y="432"/>
                  </a:lnTo>
                  <a:lnTo>
                    <a:pt x="1320" y="444"/>
                  </a:lnTo>
                  <a:lnTo>
                    <a:pt x="1332" y="444"/>
                  </a:lnTo>
                  <a:lnTo>
                    <a:pt x="1338" y="450"/>
                  </a:lnTo>
                  <a:lnTo>
                    <a:pt x="1344" y="456"/>
                  </a:lnTo>
                  <a:lnTo>
                    <a:pt x="1344" y="462"/>
                  </a:lnTo>
                  <a:lnTo>
                    <a:pt x="1344" y="474"/>
                  </a:lnTo>
                  <a:lnTo>
                    <a:pt x="1350" y="474"/>
                  </a:lnTo>
                  <a:lnTo>
                    <a:pt x="1368" y="504"/>
                  </a:lnTo>
                  <a:lnTo>
                    <a:pt x="1374" y="534"/>
                  </a:lnTo>
                  <a:lnTo>
                    <a:pt x="1380" y="558"/>
                  </a:lnTo>
                  <a:lnTo>
                    <a:pt x="1386" y="576"/>
                  </a:lnTo>
                  <a:lnTo>
                    <a:pt x="1386" y="600"/>
                  </a:lnTo>
                  <a:lnTo>
                    <a:pt x="1386" y="624"/>
                  </a:lnTo>
                  <a:lnTo>
                    <a:pt x="1386" y="648"/>
                  </a:lnTo>
                  <a:lnTo>
                    <a:pt x="1386" y="684"/>
                  </a:lnTo>
                  <a:lnTo>
                    <a:pt x="1380" y="684"/>
                  </a:lnTo>
                  <a:lnTo>
                    <a:pt x="1374" y="696"/>
                  </a:lnTo>
                  <a:lnTo>
                    <a:pt x="1368" y="702"/>
                  </a:lnTo>
                  <a:lnTo>
                    <a:pt x="1362" y="708"/>
                  </a:lnTo>
                  <a:lnTo>
                    <a:pt x="1356" y="714"/>
                  </a:lnTo>
                  <a:lnTo>
                    <a:pt x="1350" y="720"/>
                  </a:lnTo>
                  <a:lnTo>
                    <a:pt x="1338" y="720"/>
                  </a:lnTo>
                  <a:lnTo>
                    <a:pt x="1338" y="738"/>
                  </a:lnTo>
                  <a:lnTo>
                    <a:pt x="1362" y="750"/>
                  </a:lnTo>
                  <a:lnTo>
                    <a:pt x="1362" y="756"/>
                  </a:lnTo>
                  <a:lnTo>
                    <a:pt x="1374" y="756"/>
                  </a:lnTo>
                  <a:lnTo>
                    <a:pt x="1410" y="774"/>
                  </a:lnTo>
                  <a:lnTo>
                    <a:pt x="1446" y="774"/>
                  </a:lnTo>
                  <a:lnTo>
                    <a:pt x="1482" y="768"/>
                  </a:lnTo>
                  <a:lnTo>
                    <a:pt x="1500" y="774"/>
                  </a:lnTo>
                  <a:lnTo>
                    <a:pt x="1512" y="78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6" name="Freeform 11">
              <a:extLst>
                <a:ext uri="{FF2B5EF4-FFF2-40B4-BE49-F238E27FC236}">
                  <a16:creationId xmlns:a16="http://schemas.microsoft.com/office/drawing/2014/main" id="{1FF8E66F-B850-456A-B132-C45FEEDE95C6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2475" y="2345643"/>
              <a:ext cx="445003" cy="603855"/>
            </a:xfrm>
            <a:custGeom>
              <a:avLst/>
              <a:gdLst>
                <a:gd name="T0" fmla="*/ 47 w 840"/>
                <a:gd name="T1" fmla="*/ 98 h 1134"/>
                <a:gd name="T2" fmla="*/ 41 w 840"/>
                <a:gd name="T3" fmla="*/ 98 h 1134"/>
                <a:gd name="T4" fmla="*/ 37 w 840"/>
                <a:gd name="T5" fmla="*/ 98 h 1134"/>
                <a:gd name="T6" fmla="*/ 29 w 840"/>
                <a:gd name="T7" fmla="*/ 97 h 1134"/>
                <a:gd name="T8" fmla="*/ 27 w 840"/>
                <a:gd name="T9" fmla="*/ 94 h 1134"/>
                <a:gd name="T10" fmla="*/ 26 w 840"/>
                <a:gd name="T11" fmla="*/ 93 h 1134"/>
                <a:gd name="T12" fmla="*/ 26 w 840"/>
                <a:gd name="T13" fmla="*/ 83 h 1134"/>
                <a:gd name="T14" fmla="*/ 26 w 840"/>
                <a:gd name="T15" fmla="*/ 81 h 1134"/>
                <a:gd name="T16" fmla="*/ 23 w 840"/>
                <a:gd name="T17" fmla="*/ 77 h 1134"/>
                <a:gd name="T18" fmla="*/ 19 w 840"/>
                <a:gd name="T19" fmla="*/ 75 h 1134"/>
                <a:gd name="T20" fmla="*/ 16 w 840"/>
                <a:gd name="T21" fmla="*/ 72 h 1134"/>
                <a:gd name="T22" fmla="*/ 13 w 840"/>
                <a:gd name="T23" fmla="*/ 70 h 1134"/>
                <a:gd name="T24" fmla="*/ 17 w 840"/>
                <a:gd name="T25" fmla="*/ 67 h 1134"/>
                <a:gd name="T26" fmla="*/ 19 w 840"/>
                <a:gd name="T27" fmla="*/ 63 h 1134"/>
                <a:gd name="T28" fmla="*/ 20 w 840"/>
                <a:gd name="T29" fmla="*/ 59 h 1134"/>
                <a:gd name="T30" fmla="*/ 19 w 840"/>
                <a:gd name="T31" fmla="*/ 55 h 1134"/>
                <a:gd name="T32" fmla="*/ 17 w 840"/>
                <a:gd name="T33" fmla="*/ 47 h 1134"/>
                <a:gd name="T34" fmla="*/ 8 w 840"/>
                <a:gd name="T35" fmla="*/ 45 h 1134"/>
                <a:gd name="T36" fmla="*/ 4 w 840"/>
                <a:gd name="T37" fmla="*/ 39 h 1134"/>
                <a:gd name="T38" fmla="*/ 2 w 840"/>
                <a:gd name="T39" fmla="*/ 35 h 1134"/>
                <a:gd name="T40" fmla="*/ 0 w 840"/>
                <a:gd name="T41" fmla="*/ 31 h 1134"/>
                <a:gd name="T42" fmla="*/ 2 w 840"/>
                <a:gd name="T43" fmla="*/ 27 h 1134"/>
                <a:gd name="T44" fmla="*/ 5 w 840"/>
                <a:gd name="T45" fmla="*/ 24 h 1134"/>
                <a:gd name="T46" fmla="*/ 10 w 840"/>
                <a:gd name="T47" fmla="*/ 26 h 1134"/>
                <a:gd name="T48" fmla="*/ 7 w 840"/>
                <a:gd name="T49" fmla="*/ 20 h 1134"/>
                <a:gd name="T50" fmla="*/ 12 w 840"/>
                <a:gd name="T51" fmla="*/ 12 h 1134"/>
                <a:gd name="T52" fmla="*/ 19 w 840"/>
                <a:gd name="T53" fmla="*/ 10 h 1134"/>
                <a:gd name="T54" fmla="*/ 20 w 840"/>
                <a:gd name="T55" fmla="*/ 13 h 1134"/>
                <a:gd name="T56" fmla="*/ 22 w 840"/>
                <a:gd name="T57" fmla="*/ 11 h 1134"/>
                <a:gd name="T58" fmla="*/ 25 w 840"/>
                <a:gd name="T59" fmla="*/ 7 h 1134"/>
                <a:gd name="T60" fmla="*/ 29 w 840"/>
                <a:gd name="T61" fmla="*/ 2 h 1134"/>
                <a:gd name="T62" fmla="*/ 33 w 840"/>
                <a:gd name="T63" fmla="*/ 1 h 1134"/>
                <a:gd name="T64" fmla="*/ 37 w 840"/>
                <a:gd name="T65" fmla="*/ 2 h 1134"/>
                <a:gd name="T66" fmla="*/ 39 w 840"/>
                <a:gd name="T67" fmla="*/ 4 h 1134"/>
                <a:gd name="T68" fmla="*/ 43 w 840"/>
                <a:gd name="T69" fmla="*/ 5 h 1134"/>
                <a:gd name="T70" fmla="*/ 46 w 840"/>
                <a:gd name="T71" fmla="*/ 11 h 1134"/>
                <a:gd name="T72" fmla="*/ 49 w 840"/>
                <a:gd name="T73" fmla="*/ 12 h 1134"/>
                <a:gd name="T74" fmla="*/ 52 w 840"/>
                <a:gd name="T75" fmla="*/ 15 h 1134"/>
                <a:gd name="T76" fmla="*/ 54 w 840"/>
                <a:gd name="T77" fmla="*/ 18 h 1134"/>
                <a:gd name="T78" fmla="*/ 55 w 840"/>
                <a:gd name="T79" fmla="*/ 22 h 1134"/>
                <a:gd name="T80" fmla="*/ 56 w 840"/>
                <a:gd name="T81" fmla="*/ 26 h 1134"/>
                <a:gd name="T82" fmla="*/ 55 w 840"/>
                <a:gd name="T83" fmla="*/ 32 h 1134"/>
                <a:gd name="T84" fmla="*/ 55 w 840"/>
                <a:gd name="T85" fmla="*/ 36 h 1134"/>
                <a:gd name="T86" fmla="*/ 54 w 840"/>
                <a:gd name="T87" fmla="*/ 39 h 1134"/>
                <a:gd name="T88" fmla="*/ 56 w 840"/>
                <a:gd name="T89" fmla="*/ 39 h 1134"/>
                <a:gd name="T90" fmla="*/ 58 w 840"/>
                <a:gd name="T91" fmla="*/ 39 h 1134"/>
                <a:gd name="T92" fmla="*/ 61 w 840"/>
                <a:gd name="T93" fmla="*/ 39 h 1134"/>
                <a:gd name="T94" fmla="*/ 60 w 840"/>
                <a:gd name="T95" fmla="*/ 49 h 1134"/>
                <a:gd name="T96" fmla="*/ 59 w 840"/>
                <a:gd name="T97" fmla="*/ 53 h 1134"/>
                <a:gd name="T98" fmla="*/ 59 w 840"/>
                <a:gd name="T99" fmla="*/ 56 h 1134"/>
                <a:gd name="T100" fmla="*/ 60 w 840"/>
                <a:gd name="T101" fmla="*/ 59 h 1134"/>
                <a:gd name="T102" fmla="*/ 64 w 840"/>
                <a:gd name="T103" fmla="*/ 61 h 1134"/>
                <a:gd name="T104" fmla="*/ 69 w 840"/>
                <a:gd name="T105" fmla="*/ 63 h 1134"/>
                <a:gd name="T106" fmla="*/ 72 w 840"/>
                <a:gd name="T107" fmla="*/ 69 h 1134"/>
                <a:gd name="T108" fmla="*/ 72 w 840"/>
                <a:gd name="T109" fmla="*/ 73 h 1134"/>
                <a:gd name="T110" fmla="*/ 72 w 840"/>
                <a:gd name="T111" fmla="*/ 83 h 1134"/>
                <a:gd name="T112" fmla="*/ 63 w 840"/>
                <a:gd name="T113" fmla="*/ 88 h 1134"/>
                <a:gd name="T114" fmla="*/ 52 w 840"/>
                <a:gd name="T115" fmla="*/ 95 h 11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40"/>
                <a:gd name="T175" fmla="*/ 0 h 1134"/>
                <a:gd name="T176" fmla="*/ 840 w 840"/>
                <a:gd name="T177" fmla="*/ 1134 h 11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40" h="1134">
                  <a:moveTo>
                    <a:pt x="564" y="1110"/>
                  </a:moveTo>
                  <a:lnTo>
                    <a:pt x="564" y="1104"/>
                  </a:lnTo>
                  <a:lnTo>
                    <a:pt x="558" y="1104"/>
                  </a:lnTo>
                  <a:lnTo>
                    <a:pt x="552" y="1110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28" y="1128"/>
                  </a:lnTo>
                  <a:lnTo>
                    <a:pt x="498" y="1128"/>
                  </a:lnTo>
                  <a:lnTo>
                    <a:pt x="492" y="1128"/>
                  </a:lnTo>
                  <a:lnTo>
                    <a:pt x="486" y="1128"/>
                  </a:lnTo>
                  <a:lnTo>
                    <a:pt x="480" y="1128"/>
                  </a:lnTo>
                  <a:lnTo>
                    <a:pt x="474" y="1134"/>
                  </a:lnTo>
                  <a:lnTo>
                    <a:pt x="468" y="1134"/>
                  </a:lnTo>
                  <a:lnTo>
                    <a:pt x="462" y="1134"/>
                  </a:lnTo>
                  <a:lnTo>
                    <a:pt x="456" y="1134"/>
                  </a:lnTo>
                  <a:lnTo>
                    <a:pt x="456" y="1128"/>
                  </a:lnTo>
                  <a:lnTo>
                    <a:pt x="450" y="1122"/>
                  </a:lnTo>
                  <a:lnTo>
                    <a:pt x="426" y="1128"/>
                  </a:lnTo>
                  <a:lnTo>
                    <a:pt x="414" y="1128"/>
                  </a:lnTo>
                  <a:lnTo>
                    <a:pt x="348" y="1134"/>
                  </a:lnTo>
                  <a:lnTo>
                    <a:pt x="348" y="1128"/>
                  </a:lnTo>
                  <a:lnTo>
                    <a:pt x="342" y="1128"/>
                  </a:lnTo>
                  <a:lnTo>
                    <a:pt x="336" y="1122"/>
                  </a:lnTo>
                  <a:lnTo>
                    <a:pt x="330" y="1122"/>
                  </a:lnTo>
                  <a:lnTo>
                    <a:pt x="324" y="1116"/>
                  </a:lnTo>
                  <a:lnTo>
                    <a:pt x="324" y="1110"/>
                  </a:lnTo>
                  <a:lnTo>
                    <a:pt x="318" y="1110"/>
                  </a:lnTo>
                  <a:lnTo>
                    <a:pt x="318" y="1104"/>
                  </a:lnTo>
                  <a:lnTo>
                    <a:pt x="312" y="1092"/>
                  </a:lnTo>
                  <a:lnTo>
                    <a:pt x="306" y="1086"/>
                  </a:lnTo>
                  <a:lnTo>
                    <a:pt x="306" y="1080"/>
                  </a:lnTo>
                  <a:lnTo>
                    <a:pt x="312" y="1074"/>
                  </a:lnTo>
                  <a:lnTo>
                    <a:pt x="306" y="1068"/>
                  </a:lnTo>
                  <a:lnTo>
                    <a:pt x="300" y="1074"/>
                  </a:lnTo>
                  <a:lnTo>
                    <a:pt x="300" y="1068"/>
                  </a:lnTo>
                  <a:lnTo>
                    <a:pt x="294" y="1068"/>
                  </a:lnTo>
                  <a:lnTo>
                    <a:pt x="294" y="1056"/>
                  </a:lnTo>
                  <a:lnTo>
                    <a:pt x="294" y="1026"/>
                  </a:lnTo>
                  <a:lnTo>
                    <a:pt x="294" y="1020"/>
                  </a:lnTo>
                  <a:lnTo>
                    <a:pt x="294" y="1008"/>
                  </a:lnTo>
                  <a:lnTo>
                    <a:pt x="294" y="966"/>
                  </a:lnTo>
                  <a:lnTo>
                    <a:pt x="294" y="960"/>
                  </a:lnTo>
                  <a:lnTo>
                    <a:pt x="294" y="954"/>
                  </a:lnTo>
                  <a:lnTo>
                    <a:pt x="294" y="948"/>
                  </a:lnTo>
                  <a:lnTo>
                    <a:pt x="294" y="942"/>
                  </a:lnTo>
                  <a:lnTo>
                    <a:pt x="300" y="936"/>
                  </a:lnTo>
                  <a:lnTo>
                    <a:pt x="300" y="930"/>
                  </a:lnTo>
                  <a:lnTo>
                    <a:pt x="294" y="930"/>
                  </a:lnTo>
                  <a:lnTo>
                    <a:pt x="288" y="930"/>
                  </a:lnTo>
                  <a:lnTo>
                    <a:pt x="288" y="924"/>
                  </a:lnTo>
                  <a:lnTo>
                    <a:pt x="282" y="918"/>
                  </a:lnTo>
                  <a:lnTo>
                    <a:pt x="282" y="906"/>
                  </a:lnTo>
                  <a:lnTo>
                    <a:pt x="282" y="900"/>
                  </a:lnTo>
                  <a:lnTo>
                    <a:pt x="264" y="894"/>
                  </a:lnTo>
                  <a:lnTo>
                    <a:pt x="252" y="882"/>
                  </a:lnTo>
                  <a:lnTo>
                    <a:pt x="246" y="876"/>
                  </a:lnTo>
                  <a:lnTo>
                    <a:pt x="240" y="876"/>
                  </a:lnTo>
                  <a:lnTo>
                    <a:pt x="240" y="870"/>
                  </a:lnTo>
                  <a:lnTo>
                    <a:pt x="234" y="870"/>
                  </a:lnTo>
                  <a:lnTo>
                    <a:pt x="222" y="864"/>
                  </a:lnTo>
                  <a:lnTo>
                    <a:pt x="216" y="864"/>
                  </a:lnTo>
                  <a:lnTo>
                    <a:pt x="210" y="858"/>
                  </a:lnTo>
                  <a:lnTo>
                    <a:pt x="210" y="852"/>
                  </a:lnTo>
                  <a:lnTo>
                    <a:pt x="210" y="846"/>
                  </a:lnTo>
                  <a:lnTo>
                    <a:pt x="198" y="840"/>
                  </a:lnTo>
                  <a:lnTo>
                    <a:pt x="186" y="834"/>
                  </a:lnTo>
                  <a:lnTo>
                    <a:pt x="180" y="828"/>
                  </a:lnTo>
                  <a:lnTo>
                    <a:pt x="180" y="822"/>
                  </a:lnTo>
                  <a:lnTo>
                    <a:pt x="174" y="822"/>
                  </a:lnTo>
                  <a:lnTo>
                    <a:pt x="162" y="816"/>
                  </a:lnTo>
                  <a:lnTo>
                    <a:pt x="156" y="810"/>
                  </a:lnTo>
                  <a:lnTo>
                    <a:pt x="150" y="810"/>
                  </a:lnTo>
                  <a:lnTo>
                    <a:pt x="144" y="798"/>
                  </a:lnTo>
                  <a:lnTo>
                    <a:pt x="138" y="786"/>
                  </a:lnTo>
                  <a:lnTo>
                    <a:pt x="138" y="780"/>
                  </a:lnTo>
                  <a:lnTo>
                    <a:pt x="144" y="774"/>
                  </a:lnTo>
                  <a:lnTo>
                    <a:pt x="150" y="768"/>
                  </a:lnTo>
                  <a:lnTo>
                    <a:pt x="192" y="768"/>
                  </a:lnTo>
                  <a:lnTo>
                    <a:pt x="210" y="762"/>
                  </a:lnTo>
                  <a:lnTo>
                    <a:pt x="216" y="756"/>
                  </a:lnTo>
                  <a:lnTo>
                    <a:pt x="216" y="744"/>
                  </a:lnTo>
                  <a:lnTo>
                    <a:pt x="216" y="738"/>
                  </a:lnTo>
                  <a:lnTo>
                    <a:pt x="216" y="732"/>
                  </a:lnTo>
                  <a:lnTo>
                    <a:pt x="216" y="726"/>
                  </a:lnTo>
                  <a:lnTo>
                    <a:pt x="216" y="720"/>
                  </a:lnTo>
                  <a:lnTo>
                    <a:pt x="228" y="702"/>
                  </a:lnTo>
                  <a:lnTo>
                    <a:pt x="234" y="696"/>
                  </a:lnTo>
                  <a:lnTo>
                    <a:pt x="240" y="690"/>
                  </a:lnTo>
                  <a:lnTo>
                    <a:pt x="240" y="684"/>
                  </a:lnTo>
                  <a:lnTo>
                    <a:pt x="234" y="678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0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22" y="630"/>
                  </a:lnTo>
                  <a:lnTo>
                    <a:pt x="222" y="618"/>
                  </a:lnTo>
                  <a:lnTo>
                    <a:pt x="222" y="582"/>
                  </a:lnTo>
                  <a:lnTo>
                    <a:pt x="228" y="582"/>
                  </a:lnTo>
                  <a:lnTo>
                    <a:pt x="222" y="564"/>
                  </a:lnTo>
                  <a:lnTo>
                    <a:pt x="210" y="552"/>
                  </a:lnTo>
                  <a:lnTo>
                    <a:pt x="192" y="540"/>
                  </a:lnTo>
                  <a:lnTo>
                    <a:pt x="174" y="540"/>
                  </a:lnTo>
                  <a:lnTo>
                    <a:pt x="150" y="534"/>
                  </a:lnTo>
                  <a:lnTo>
                    <a:pt x="126" y="528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90" y="516"/>
                  </a:lnTo>
                  <a:lnTo>
                    <a:pt x="78" y="504"/>
                  </a:lnTo>
                  <a:lnTo>
                    <a:pt x="72" y="498"/>
                  </a:lnTo>
                  <a:lnTo>
                    <a:pt x="66" y="486"/>
                  </a:lnTo>
                  <a:lnTo>
                    <a:pt x="54" y="468"/>
                  </a:lnTo>
                  <a:lnTo>
                    <a:pt x="54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42" y="438"/>
                  </a:lnTo>
                  <a:lnTo>
                    <a:pt x="36" y="438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24" y="384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2" y="360"/>
                  </a:lnTo>
                  <a:lnTo>
                    <a:pt x="6" y="360"/>
                  </a:lnTo>
                  <a:lnTo>
                    <a:pt x="0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0"/>
                  </a:lnTo>
                  <a:lnTo>
                    <a:pt x="18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8" y="270"/>
                  </a:lnTo>
                  <a:lnTo>
                    <a:pt x="90" y="276"/>
                  </a:lnTo>
                  <a:lnTo>
                    <a:pt x="108" y="294"/>
                  </a:lnTo>
                  <a:lnTo>
                    <a:pt x="114" y="294"/>
                  </a:lnTo>
                  <a:lnTo>
                    <a:pt x="114" y="276"/>
                  </a:lnTo>
                  <a:lnTo>
                    <a:pt x="114" y="270"/>
                  </a:lnTo>
                  <a:lnTo>
                    <a:pt x="102" y="258"/>
                  </a:lnTo>
                  <a:lnTo>
                    <a:pt x="96" y="246"/>
                  </a:lnTo>
                  <a:lnTo>
                    <a:pt x="90" y="234"/>
                  </a:lnTo>
                  <a:lnTo>
                    <a:pt x="78" y="228"/>
                  </a:lnTo>
                  <a:lnTo>
                    <a:pt x="72" y="216"/>
                  </a:lnTo>
                  <a:lnTo>
                    <a:pt x="66" y="192"/>
                  </a:lnTo>
                  <a:lnTo>
                    <a:pt x="90" y="174"/>
                  </a:lnTo>
                  <a:lnTo>
                    <a:pt x="120" y="150"/>
                  </a:lnTo>
                  <a:lnTo>
                    <a:pt x="132" y="150"/>
                  </a:lnTo>
                  <a:lnTo>
                    <a:pt x="138" y="144"/>
                  </a:lnTo>
                  <a:lnTo>
                    <a:pt x="138" y="138"/>
                  </a:lnTo>
                  <a:lnTo>
                    <a:pt x="156" y="126"/>
                  </a:lnTo>
                  <a:lnTo>
                    <a:pt x="180" y="114"/>
                  </a:lnTo>
                  <a:lnTo>
                    <a:pt x="216" y="114"/>
                  </a:lnTo>
                  <a:lnTo>
                    <a:pt x="222" y="114"/>
                  </a:lnTo>
                  <a:lnTo>
                    <a:pt x="222" y="120"/>
                  </a:lnTo>
                  <a:lnTo>
                    <a:pt x="222" y="126"/>
                  </a:lnTo>
                  <a:lnTo>
                    <a:pt x="222" y="132"/>
                  </a:lnTo>
                  <a:lnTo>
                    <a:pt x="228" y="138"/>
                  </a:lnTo>
                  <a:lnTo>
                    <a:pt x="228" y="144"/>
                  </a:lnTo>
                  <a:lnTo>
                    <a:pt x="228" y="150"/>
                  </a:lnTo>
                  <a:lnTo>
                    <a:pt x="234" y="150"/>
                  </a:lnTo>
                  <a:lnTo>
                    <a:pt x="234" y="144"/>
                  </a:lnTo>
                  <a:lnTo>
                    <a:pt x="240" y="144"/>
                  </a:lnTo>
                  <a:lnTo>
                    <a:pt x="246" y="144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58" y="126"/>
                  </a:lnTo>
                  <a:lnTo>
                    <a:pt x="258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76" y="96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6" y="72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36"/>
                  </a:lnTo>
                  <a:lnTo>
                    <a:pt x="330" y="24"/>
                  </a:lnTo>
                  <a:lnTo>
                    <a:pt x="330" y="18"/>
                  </a:lnTo>
                  <a:lnTo>
                    <a:pt x="330" y="12"/>
                  </a:lnTo>
                  <a:lnTo>
                    <a:pt x="336" y="6"/>
                  </a:lnTo>
                  <a:lnTo>
                    <a:pt x="366" y="0"/>
                  </a:lnTo>
                  <a:lnTo>
                    <a:pt x="372" y="6"/>
                  </a:lnTo>
                  <a:lnTo>
                    <a:pt x="384" y="12"/>
                  </a:lnTo>
                  <a:lnTo>
                    <a:pt x="402" y="12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18"/>
                  </a:lnTo>
                  <a:lnTo>
                    <a:pt x="420" y="18"/>
                  </a:lnTo>
                  <a:lnTo>
                    <a:pt x="426" y="24"/>
                  </a:lnTo>
                  <a:lnTo>
                    <a:pt x="432" y="30"/>
                  </a:lnTo>
                  <a:lnTo>
                    <a:pt x="438" y="36"/>
                  </a:lnTo>
                  <a:lnTo>
                    <a:pt x="444" y="42"/>
                  </a:lnTo>
                  <a:lnTo>
                    <a:pt x="450" y="42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16" y="78"/>
                  </a:lnTo>
                  <a:lnTo>
                    <a:pt x="522" y="102"/>
                  </a:lnTo>
                  <a:lnTo>
                    <a:pt x="522" y="108"/>
                  </a:lnTo>
                  <a:lnTo>
                    <a:pt x="528" y="126"/>
                  </a:lnTo>
                  <a:lnTo>
                    <a:pt x="534" y="126"/>
                  </a:lnTo>
                  <a:lnTo>
                    <a:pt x="540" y="120"/>
                  </a:lnTo>
                  <a:lnTo>
                    <a:pt x="546" y="126"/>
                  </a:lnTo>
                  <a:lnTo>
                    <a:pt x="552" y="126"/>
                  </a:lnTo>
                  <a:lnTo>
                    <a:pt x="558" y="132"/>
                  </a:lnTo>
                  <a:lnTo>
                    <a:pt x="564" y="138"/>
                  </a:lnTo>
                  <a:lnTo>
                    <a:pt x="570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594" y="168"/>
                  </a:lnTo>
                  <a:lnTo>
                    <a:pt x="600" y="174"/>
                  </a:lnTo>
                  <a:lnTo>
                    <a:pt x="606" y="180"/>
                  </a:lnTo>
                  <a:lnTo>
                    <a:pt x="606" y="186"/>
                  </a:lnTo>
                  <a:lnTo>
                    <a:pt x="612" y="192"/>
                  </a:lnTo>
                  <a:lnTo>
                    <a:pt x="612" y="198"/>
                  </a:lnTo>
                  <a:lnTo>
                    <a:pt x="624" y="204"/>
                  </a:lnTo>
                  <a:lnTo>
                    <a:pt x="624" y="210"/>
                  </a:lnTo>
                  <a:lnTo>
                    <a:pt x="630" y="216"/>
                  </a:lnTo>
                  <a:lnTo>
                    <a:pt x="636" y="222"/>
                  </a:lnTo>
                  <a:lnTo>
                    <a:pt x="636" y="228"/>
                  </a:lnTo>
                  <a:lnTo>
                    <a:pt x="636" y="234"/>
                  </a:lnTo>
                  <a:lnTo>
                    <a:pt x="636" y="252"/>
                  </a:lnTo>
                  <a:lnTo>
                    <a:pt x="636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42" y="276"/>
                  </a:lnTo>
                  <a:lnTo>
                    <a:pt x="642" y="282"/>
                  </a:lnTo>
                  <a:lnTo>
                    <a:pt x="642" y="288"/>
                  </a:lnTo>
                  <a:lnTo>
                    <a:pt x="642" y="300"/>
                  </a:lnTo>
                  <a:lnTo>
                    <a:pt x="642" y="306"/>
                  </a:lnTo>
                  <a:lnTo>
                    <a:pt x="636" y="312"/>
                  </a:lnTo>
                  <a:lnTo>
                    <a:pt x="636" y="324"/>
                  </a:lnTo>
                  <a:lnTo>
                    <a:pt x="636" y="342"/>
                  </a:lnTo>
                  <a:lnTo>
                    <a:pt x="630" y="354"/>
                  </a:lnTo>
                  <a:lnTo>
                    <a:pt x="630" y="366"/>
                  </a:lnTo>
                  <a:lnTo>
                    <a:pt x="624" y="378"/>
                  </a:lnTo>
                  <a:lnTo>
                    <a:pt x="624" y="384"/>
                  </a:lnTo>
                  <a:lnTo>
                    <a:pt x="636" y="396"/>
                  </a:lnTo>
                  <a:lnTo>
                    <a:pt x="636" y="402"/>
                  </a:lnTo>
                  <a:lnTo>
                    <a:pt x="636" y="408"/>
                  </a:lnTo>
                  <a:lnTo>
                    <a:pt x="630" y="414"/>
                  </a:lnTo>
                  <a:lnTo>
                    <a:pt x="630" y="420"/>
                  </a:lnTo>
                  <a:lnTo>
                    <a:pt x="630" y="426"/>
                  </a:lnTo>
                  <a:lnTo>
                    <a:pt x="630" y="432"/>
                  </a:lnTo>
                  <a:lnTo>
                    <a:pt x="624" y="438"/>
                  </a:lnTo>
                  <a:lnTo>
                    <a:pt x="624" y="444"/>
                  </a:lnTo>
                  <a:lnTo>
                    <a:pt x="624" y="450"/>
                  </a:lnTo>
                  <a:lnTo>
                    <a:pt x="630" y="450"/>
                  </a:lnTo>
                  <a:lnTo>
                    <a:pt x="630" y="456"/>
                  </a:lnTo>
                  <a:lnTo>
                    <a:pt x="630" y="462"/>
                  </a:lnTo>
                  <a:lnTo>
                    <a:pt x="636" y="468"/>
                  </a:lnTo>
                  <a:lnTo>
                    <a:pt x="642" y="456"/>
                  </a:lnTo>
                  <a:lnTo>
                    <a:pt x="642" y="450"/>
                  </a:lnTo>
                  <a:lnTo>
                    <a:pt x="648" y="450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60" y="444"/>
                  </a:lnTo>
                  <a:lnTo>
                    <a:pt x="666" y="450"/>
                  </a:lnTo>
                  <a:lnTo>
                    <a:pt x="672" y="444"/>
                  </a:lnTo>
                  <a:lnTo>
                    <a:pt x="678" y="444"/>
                  </a:lnTo>
                  <a:lnTo>
                    <a:pt x="684" y="438"/>
                  </a:lnTo>
                  <a:lnTo>
                    <a:pt x="690" y="438"/>
                  </a:lnTo>
                  <a:lnTo>
                    <a:pt x="696" y="438"/>
                  </a:lnTo>
                  <a:lnTo>
                    <a:pt x="702" y="444"/>
                  </a:lnTo>
                  <a:lnTo>
                    <a:pt x="702" y="450"/>
                  </a:lnTo>
                  <a:lnTo>
                    <a:pt x="708" y="450"/>
                  </a:lnTo>
                  <a:lnTo>
                    <a:pt x="708" y="456"/>
                  </a:lnTo>
                  <a:lnTo>
                    <a:pt x="708" y="462"/>
                  </a:lnTo>
                  <a:lnTo>
                    <a:pt x="708" y="468"/>
                  </a:lnTo>
                  <a:lnTo>
                    <a:pt x="708" y="504"/>
                  </a:lnTo>
                  <a:lnTo>
                    <a:pt x="696" y="564"/>
                  </a:lnTo>
                  <a:lnTo>
                    <a:pt x="696" y="582"/>
                  </a:lnTo>
                  <a:lnTo>
                    <a:pt x="696" y="600"/>
                  </a:lnTo>
                  <a:lnTo>
                    <a:pt x="690" y="606"/>
                  </a:lnTo>
                  <a:lnTo>
                    <a:pt x="684" y="606"/>
                  </a:lnTo>
                  <a:lnTo>
                    <a:pt x="690" y="612"/>
                  </a:lnTo>
                  <a:lnTo>
                    <a:pt x="684" y="612"/>
                  </a:lnTo>
                  <a:lnTo>
                    <a:pt x="678" y="618"/>
                  </a:lnTo>
                  <a:lnTo>
                    <a:pt x="672" y="624"/>
                  </a:lnTo>
                  <a:lnTo>
                    <a:pt x="666" y="630"/>
                  </a:lnTo>
                  <a:lnTo>
                    <a:pt x="660" y="636"/>
                  </a:lnTo>
                  <a:lnTo>
                    <a:pt x="672" y="636"/>
                  </a:lnTo>
                  <a:lnTo>
                    <a:pt x="678" y="642"/>
                  </a:lnTo>
                  <a:lnTo>
                    <a:pt x="678" y="648"/>
                  </a:lnTo>
                  <a:lnTo>
                    <a:pt x="684" y="654"/>
                  </a:lnTo>
                  <a:lnTo>
                    <a:pt x="690" y="666"/>
                  </a:lnTo>
                  <a:lnTo>
                    <a:pt x="690" y="672"/>
                  </a:lnTo>
                  <a:lnTo>
                    <a:pt x="696" y="672"/>
                  </a:lnTo>
                  <a:lnTo>
                    <a:pt x="696" y="684"/>
                  </a:lnTo>
                  <a:lnTo>
                    <a:pt x="708" y="690"/>
                  </a:lnTo>
                  <a:lnTo>
                    <a:pt x="720" y="696"/>
                  </a:lnTo>
                  <a:lnTo>
                    <a:pt x="726" y="696"/>
                  </a:lnTo>
                  <a:lnTo>
                    <a:pt x="732" y="696"/>
                  </a:lnTo>
                  <a:lnTo>
                    <a:pt x="738" y="696"/>
                  </a:lnTo>
                  <a:lnTo>
                    <a:pt x="738" y="702"/>
                  </a:lnTo>
                  <a:lnTo>
                    <a:pt x="738" y="708"/>
                  </a:lnTo>
                  <a:lnTo>
                    <a:pt x="738" y="714"/>
                  </a:lnTo>
                  <a:lnTo>
                    <a:pt x="744" y="714"/>
                  </a:lnTo>
                  <a:lnTo>
                    <a:pt x="756" y="720"/>
                  </a:lnTo>
                  <a:lnTo>
                    <a:pt x="780" y="726"/>
                  </a:lnTo>
                  <a:lnTo>
                    <a:pt x="792" y="732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22" y="774"/>
                  </a:lnTo>
                  <a:lnTo>
                    <a:pt x="834" y="786"/>
                  </a:lnTo>
                  <a:lnTo>
                    <a:pt x="834" y="792"/>
                  </a:lnTo>
                  <a:lnTo>
                    <a:pt x="834" y="798"/>
                  </a:lnTo>
                  <a:lnTo>
                    <a:pt x="828" y="798"/>
                  </a:lnTo>
                  <a:lnTo>
                    <a:pt x="828" y="804"/>
                  </a:lnTo>
                  <a:lnTo>
                    <a:pt x="834" y="816"/>
                  </a:lnTo>
                  <a:lnTo>
                    <a:pt x="834" y="834"/>
                  </a:lnTo>
                  <a:lnTo>
                    <a:pt x="834" y="840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34" y="858"/>
                  </a:lnTo>
                  <a:lnTo>
                    <a:pt x="834" y="864"/>
                  </a:lnTo>
                  <a:lnTo>
                    <a:pt x="834" y="876"/>
                  </a:lnTo>
                  <a:lnTo>
                    <a:pt x="828" y="960"/>
                  </a:lnTo>
                  <a:lnTo>
                    <a:pt x="816" y="966"/>
                  </a:lnTo>
                  <a:lnTo>
                    <a:pt x="798" y="972"/>
                  </a:lnTo>
                  <a:lnTo>
                    <a:pt x="786" y="990"/>
                  </a:lnTo>
                  <a:lnTo>
                    <a:pt x="774" y="990"/>
                  </a:lnTo>
                  <a:lnTo>
                    <a:pt x="762" y="1008"/>
                  </a:lnTo>
                  <a:lnTo>
                    <a:pt x="732" y="1014"/>
                  </a:lnTo>
                  <a:lnTo>
                    <a:pt x="714" y="1026"/>
                  </a:lnTo>
                  <a:lnTo>
                    <a:pt x="690" y="1050"/>
                  </a:lnTo>
                  <a:lnTo>
                    <a:pt x="654" y="1056"/>
                  </a:lnTo>
                  <a:lnTo>
                    <a:pt x="630" y="1056"/>
                  </a:lnTo>
                  <a:lnTo>
                    <a:pt x="606" y="1068"/>
                  </a:lnTo>
                  <a:lnTo>
                    <a:pt x="600" y="1092"/>
                  </a:lnTo>
                  <a:lnTo>
                    <a:pt x="600" y="1098"/>
                  </a:lnTo>
                  <a:lnTo>
                    <a:pt x="588" y="1104"/>
                  </a:lnTo>
                  <a:lnTo>
                    <a:pt x="582" y="1104"/>
                  </a:lnTo>
                  <a:lnTo>
                    <a:pt x="570" y="1110"/>
                  </a:lnTo>
                  <a:lnTo>
                    <a:pt x="564" y="111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7" name="Freeform 12">
              <a:extLst>
                <a:ext uri="{FF2B5EF4-FFF2-40B4-BE49-F238E27FC236}">
                  <a16:creationId xmlns:a16="http://schemas.microsoft.com/office/drawing/2014/main" id="{6C93C114-E5D0-49BB-A44C-A127CE01CFE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810" y="2271838"/>
              <a:ext cx="923547" cy="845397"/>
            </a:xfrm>
            <a:custGeom>
              <a:avLst/>
              <a:gdLst>
                <a:gd name="T0" fmla="*/ 138 w 1740"/>
                <a:gd name="T1" fmla="*/ 134 h 1590"/>
                <a:gd name="T2" fmla="*/ 128 w 1740"/>
                <a:gd name="T3" fmla="*/ 131 h 1590"/>
                <a:gd name="T4" fmla="*/ 121 w 1740"/>
                <a:gd name="T5" fmla="*/ 130 h 1590"/>
                <a:gd name="T6" fmla="*/ 119 w 1740"/>
                <a:gd name="T7" fmla="*/ 134 h 1590"/>
                <a:gd name="T8" fmla="*/ 110 w 1740"/>
                <a:gd name="T9" fmla="*/ 132 h 1590"/>
                <a:gd name="T10" fmla="*/ 111 w 1740"/>
                <a:gd name="T11" fmla="*/ 127 h 1590"/>
                <a:gd name="T12" fmla="*/ 103 w 1740"/>
                <a:gd name="T13" fmla="*/ 117 h 1590"/>
                <a:gd name="T14" fmla="*/ 93 w 1740"/>
                <a:gd name="T15" fmla="*/ 123 h 1590"/>
                <a:gd name="T16" fmla="*/ 80 w 1740"/>
                <a:gd name="T17" fmla="*/ 118 h 1590"/>
                <a:gd name="T18" fmla="*/ 66 w 1740"/>
                <a:gd name="T19" fmla="*/ 117 h 1590"/>
                <a:gd name="T20" fmla="*/ 66 w 1740"/>
                <a:gd name="T21" fmla="*/ 110 h 1590"/>
                <a:gd name="T22" fmla="*/ 69 w 1740"/>
                <a:gd name="T23" fmla="*/ 107 h 1590"/>
                <a:gd name="T24" fmla="*/ 68 w 1740"/>
                <a:gd name="T25" fmla="*/ 102 h 1590"/>
                <a:gd name="T26" fmla="*/ 68 w 1740"/>
                <a:gd name="T27" fmla="*/ 96 h 1590"/>
                <a:gd name="T28" fmla="*/ 67 w 1740"/>
                <a:gd name="T29" fmla="*/ 82 h 1590"/>
                <a:gd name="T30" fmla="*/ 58 w 1740"/>
                <a:gd name="T31" fmla="*/ 82 h 1590"/>
                <a:gd name="T32" fmla="*/ 52 w 1740"/>
                <a:gd name="T33" fmla="*/ 82 h 1590"/>
                <a:gd name="T34" fmla="*/ 46 w 1740"/>
                <a:gd name="T35" fmla="*/ 80 h 1590"/>
                <a:gd name="T36" fmla="*/ 45 w 1740"/>
                <a:gd name="T37" fmla="*/ 74 h 1590"/>
                <a:gd name="T38" fmla="*/ 52 w 1740"/>
                <a:gd name="T39" fmla="*/ 70 h 1590"/>
                <a:gd name="T40" fmla="*/ 52 w 1740"/>
                <a:gd name="T41" fmla="*/ 64 h 1590"/>
                <a:gd name="T42" fmla="*/ 42 w 1740"/>
                <a:gd name="T43" fmla="*/ 53 h 1590"/>
                <a:gd name="T44" fmla="*/ 35 w 1740"/>
                <a:gd name="T45" fmla="*/ 52 h 1590"/>
                <a:gd name="T46" fmla="*/ 20 w 1740"/>
                <a:gd name="T47" fmla="*/ 51 h 1590"/>
                <a:gd name="T48" fmla="*/ 17 w 1740"/>
                <a:gd name="T49" fmla="*/ 56 h 1590"/>
                <a:gd name="T50" fmla="*/ 11 w 1740"/>
                <a:gd name="T51" fmla="*/ 61 h 1590"/>
                <a:gd name="T52" fmla="*/ 7 w 1740"/>
                <a:gd name="T53" fmla="*/ 63 h 1590"/>
                <a:gd name="T54" fmla="*/ 0 w 1740"/>
                <a:gd name="T55" fmla="*/ 55 h 1590"/>
                <a:gd name="T56" fmla="*/ 2 w 1740"/>
                <a:gd name="T57" fmla="*/ 50 h 1590"/>
                <a:gd name="T58" fmla="*/ 0 w 1740"/>
                <a:gd name="T59" fmla="*/ 44 h 1590"/>
                <a:gd name="T60" fmla="*/ 2 w 1740"/>
                <a:gd name="T61" fmla="*/ 38 h 1590"/>
                <a:gd name="T62" fmla="*/ 7 w 1740"/>
                <a:gd name="T63" fmla="*/ 35 h 1590"/>
                <a:gd name="T64" fmla="*/ 11 w 1740"/>
                <a:gd name="T65" fmla="*/ 30 h 1590"/>
                <a:gd name="T66" fmla="*/ 21 w 1740"/>
                <a:gd name="T67" fmla="*/ 26 h 1590"/>
                <a:gd name="T68" fmla="*/ 29 w 1740"/>
                <a:gd name="T69" fmla="*/ 25 h 1590"/>
                <a:gd name="T70" fmla="*/ 35 w 1740"/>
                <a:gd name="T71" fmla="*/ 21 h 1590"/>
                <a:gd name="T72" fmla="*/ 36 w 1740"/>
                <a:gd name="T73" fmla="*/ 16 h 1590"/>
                <a:gd name="T74" fmla="*/ 41 w 1740"/>
                <a:gd name="T75" fmla="*/ 11 h 1590"/>
                <a:gd name="T76" fmla="*/ 51 w 1740"/>
                <a:gd name="T77" fmla="*/ 9 h 1590"/>
                <a:gd name="T78" fmla="*/ 59 w 1740"/>
                <a:gd name="T79" fmla="*/ 21 h 1590"/>
                <a:gd name="T80" fmla="*/ 65 w 1740"/>
                <a:gd name="T81" fmla="*/ 13 h 1590"/>
                <a:gd name="T82" fmla="*/ 73 w 1740"/>
                <a:gd name="T83" fmla="*/ 8 h 1590"/>
                <a:gd name="T84" fmla="*/ 82 w 1740"/>
                <a:gd name="T85" fmla="*/ 12 h 1590"/>
                <a:gd name="T86" fmla="*/ 88 w 1740"/>
                <a:gd name="T87" fmla="*/ 12 h 1590"/>
                <a:gd name="T88" fmla="*/ 99 w 1740"/>
                <a:gd name="T89" fmla="*/ 7 h 1590"/>
                <a:gd name="T90" fmla="*/ 114 w 1740"/>
                <a:gd name="T91" fmla="*/ 0 h 1590"/>
                <a:gd name="T92" fmla="*/ 117 w 1740"/>
                <a:gd name="T93" fmla="*/ 10 h 1590"/>
                <a:gd name="T94" fmla="*/ 132 w 1740"/>
                <a:gd name="T95" fmla="*/ 17 h 1590"/>
                <a:gd name="T96" fmla="*/ 140 w 1740"/>
                <a:gd name="T97" fmla="*/ 25 h 1590"/>
                <a:gd name="T98" fmla="*/ 140 w 1740"/>
                <a:gd name="T99" fmla="*/ 33 h 1590"/>
                <a:gd name="T100" fmla="*/ 140 w 1740"/>
                <a:gd name="T101" fmla="*/ 44 h 1590"/>
                <a:gd name="T102" fmla="*/ 138 w 1740"/>
                <a:gd name="T103" fmla="*/ 48 h 1590"/>
                <a:gd name="T104" fmla="*/ 141 w 1740"/>
                <a:gd name="T105" fmla="*/ 49 h 1590"/>
                <a:gd name="T106" fmla="*/ 146 w 1740"/>
                <a:gd name="T107" fmla="*/ 50 h 1590"/>
                <a:gd name="T108" fmla="*/ 149 w 1740"/>
                <a:gd name="T109" fmla="*/ 59 h 1590"/>
                <a:gd name="T110" fmla="*/ 148 w 1740"/>
                <a:gd name="T111" fmla="*/ 67 h 1590"/>
                <a:gd name="T112" fmla="*/ 141 w 1740"/>
                <a:gd name="T113" fmla="*/ 78 h 1590"/>
                <a:gd name="T114" fmla="*/ 141 w 1740"/>
                <a:gd name="T115" fmla="*/ 91 h 1590"/>
                <a:gd name="T116" fmla="*/ 138 w 1740"/>
                <a:gd name="T117" fmla="*/ 102 h 1590"/>
                <a:gd name="T118" fmla="*/ 138 w 1740"/>
                <a:gd name="T119" fmla="*/ 110 h 1590"/>
                <a:gd name="T120" fmla="*/ 144 w 1740"/>
                <a:gd name="T121" fmla="*/ 118 h 1590"/>
                <a:gd name="T122" fmla="*/ 143 w 1740"/>
                <a:gd name="T123" fmla="*/ 125 h 159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740"/>
                <a:gd name="T187" fmla="*/ 0 h 1590"/>
                <a:gd name="T188" fmla="*/ 1740 w 1740"/>
                <a:gd name="T189" fmla="*/ 1590 h 159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740" h="1590">
                  <a:moveTo>
                    <a:pt x="1638" y="1458"/>
                  </a:moveTo>
                  <a:lnTo>
                    <a:pt x="1638" y="1482"/>
                  </a:lnTo>
                  <a:lnTo>
                    <a:pt x="1638" y="1500"/>
                  </a:lnTo>
                  <a:lnTo>
                    <a:pt x="1626" y="1500"/>
                  </a:lnTo>
                  <a:lnTo>
                    <a:pt x="1620" y="1500"/>
                  </a:lnTo>
                  <a:lnTo>
                    <a:pt x="1614" y="1500"/>
                  </a:lnTo>
                  <a:lnTo>
                    <a:pt x="1614" y="1506"/>
                  </a:lnTo>
                  <a:lnTo>
                    <a:pt x="1614" y="1512"/>
                  </a:lnTo>
                  <a:lnTo>
                    <a:pt x="1620" y="1518"/>
                  </a:lnTo>
                  <a:lnTo>
                    <a:pt x="1614" y="1524"/>
                  </a:lnTo>
                  <a:lnTo>
                    <a:pt x="1590" y="1536"/>
                  </a:lnTo>
                  <a:lnTo>
                    <a:pt x="1584" y="1566"/>
                  </a:lnTo>
                  <a:lnTo>
                    <a:pt x="1578" y="1590"/>
                  </a:lnTo>
                  <a:lnTo>
                    <a:pt x="1548" y="1590"/>
                  </a:lnTo>
                  <a:lnTo>
                    <a:pt x="1542" y="1584"/>
                  </a:lnTo>
                  <a:lnTo>
                    <a:pt x="1542" y="1572"/>
                  </a:lnTo>
                  <a:lnTo>
                    <a:pt x="1536" y="1566"/>
                  </a:lnTo>
                  <a:lnTo>
                    <a:pt x="1536" y="1554"/>
                  </a:lnTo>
                  <a:lnTo>
                    <a:pt x="1536" y="1548"/>
                  </a:lnTo>
                  <a:lnTo>
                    <a:pt x="1506" y="1530"/>
                  </a:lnTo>
                  <a:lnTo>
                    <a:pt x="1488" y="1506"/>
                  </a:lnTo>
                  <a:lnTo>
                    <a:pt x="1464" y="1500"/>
                  </a:lnTo>
                  <a:lnTo>
                    <a:pt x="1470" y="1494"/>
                  </a:lnTo>
                  <a:lnTo>
                    <a:pt x="1470" y="1488"/>
                  </a:lnTo>
                  <a:lnTo>
                    <a:pt x="1470" y="1482"/>
                  </a:lnTo>
                  <a:lnTo>
                    <a:pt x="1428" y="1464"/>
                  </a:lnTo>
                  <a:lnTo>
                    <a:pt x="1404" y="1470"/>
                  </a:lnTo>
                  <a:lnTo>
                    <a:pt x="1398" y="1470"/>
                  </a:lnTo>
                  <a:lnTo>
                    <a:pt x="1392" y="1476"/>
                  </a:lnTo>
                  <a:lnTo>
                    <a:pt x="1386" y="1476"/>
                  </a:lnTo>
                  <a:lnTo>
                    <a:pt x="1386" y="1482"/>
                  </a:lnTo>
                  <a:lnTo>
                    <a:pt x="1392" y="1482"/>
                  </a:lnTo>
                  <a:lnTo>
                    <a:pt x="1386" y="1488"/>
                  </a:lnTo>
                  <a:lnTo>
                    <a:pt x="1386" y="1494"/>
                  </a:lnTo>
                  <a:lnTo>
                    <a:pt x="1380" y="1494"/>
                  </a:lnTo>
                  <a:lnTo>
                    <a:pt x="1380" y="1500"/>
                  </a:lnTo>
                  <a:lnTo>
                    <a:pt x="1380" y="1512"/>
                  </a:lnTo>
                  <a:lnTo>
                    <a:pt x="1380" y="1518"/>
                  </a:lnTo>
                  <a:lnTo>
                    <a:pt x="1380" y="1524"/>
                  </a:lnTo>
                  <a:lnTo>
                    <a:pt x="1380" y="1530"/>
                  </a:lnTo>
                  <a:lnTo>
                    <a:pt x="1374" y="1536"/>
                  </a:lnTo>
                  <a:lnTo>
                    <a:pt x="1374" y="1542"/>
                  </a:lnTo>
                  <a:lnTo>
                    <a:pt x="1368" y="1542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44" y="1554"/>
                  </a:lnTo>
                  <a:lnTo>
                    <a:pt x="1332" y="1560"/>
                  </a:lnTo>
                  <a:lnTo>
                    <a:pt x="1302" y="1554"/>
                  </a:lnTo>
                  <a:lnTo>
                    <a:pt x="1290" y="1554"/>
                  </a:lnTo>
                  <a:lnTo>
                    <a:pt x="1278" y="1542"/>
                  </a:lnTo>
                  <a:lnTo>
                    <a:pt x="1272" y="1530"/>
                  </a:lnTo>
                  <a:lnTo>
                    <a:pt x="1272" y="1524"/>
                  </a:lnTo>
                  <a:lnTo>
                    <a:pt x="1272" y="1518"/>
                  </a:lnTo>
                  <a:lnTo>
                    <a:pt x="1266" y="1518"/>
                  </a:lnTo>
                  <a:lnTo>
                    <a:pt x="1266" y="1512"/>
                  </a:lnTo>
                  <a:lnTo>
                    <a:pt x="1266" y="1506"/>
                  </a:lnTo>
                  <a:lnTo>
                    <a:pt x="1272" y="1506"/>
                  </a:lnTo>
                  <a:lnTo>
                    <a:pt x="1272" y="1500"/>
                  </a:lnTo>
                  <a:lnTo>
                    <a:pt x="1278" y="1500"/>
                  </a:lnTo>
                  <a:lnTo>
                    <a:pt x="1278" y="1494"/>
                  </a:lnTo>
                  <a:lnTo>
                    <a:pt x="1278" y="1488"/>
                  </a:lnTo>
                  <a:lnTo>
                    <a:pt x="1284" y="1488"/>
                  </a:lnTo>
                  <a:lnTo>
                    <a:pt x="1284" y="1482"/>
                  </a:lnTo>
                  <a:lnTo>
                    <a:pt x="1290" y="1476"/>
                  </a:lnTo>
                  <a:lnTo>
                    <a:pt x="1284" y="1470"/>
                  </a:lnTo>
                  <a:lnTo>
                    <a:pt x="1278" y="1458"/>
                  </a:lnTo>
                  <a:lnTo>
                    <a:pt x="1278" y="1452"/>
                  </a:lnTo>
                  <a:lnTo>
                    <a:pt x="1260" y="1428"/>
                  </a:lnTo>
                  <a:lnTo>
                    <a:pt x="1254" y="1416"/>
                  </a:lnTo>
                  <a:lnTo>
                    <a:pt x="1254" y="1410"/>
                  </a:lnTo>
                  <a:lnTo>
                    <a:pt x="1248" y="1398"/>
                  </a:lnTo>
                  <a:lnTo>
                    <a:pt x="1242" y="1398"/>
                  </a:lnTo>
                  <a:lnTo>
                    <a:pt x="1236" y="1398"/>
                  </a:lnTo>
                  <a:lnTo>
                    <a:pt x="1218" y="1386"/>
                  </a:lnTo>
                  <a:lnTo>
                    <a:pt x="1212" y="1362"/>
                  </a:lnTo>
                  <a:lnTo>
                    <a:pt x="1200" y="1344"/>
                  </a:lnTo>
                  <a:lnTo>
                    <a:pt x="1188" y="1338"/>
                  </a:lnTo>
                  <a:lnTo>
                    <a:pt x="1164" y="1338"/>
                  </a:lnTo>
                  <a:lnTo>
                    <a:pt x="1158" y="1344"/>
                  </a:lnTo>
                  <a:lnTo>
                    <a:pt x="1152" y="1350"/>
                  </a:lnTo>
                  <a:lnTo>
                    <a:pt x="1152" y="1356"/>
                  </a:lnTo>
                  <a:lnTo>
                    <a:pt x="1140" y="1362"/>
                  </a:lnTo>
                  <a:lnTo>
                    <a:pt x="1134" y="1380"/>
                  </a:lnTo>
                  <a:lnTo>
                    <a:pt x="1116" y="1398"/>
                  </a:lnTo>
                  <a:lnTo>
                    <a:pt x="1110" y="1416"/>
                  </a:lnTo>
                  <a:lnTo>
                    <a:pt x="1086" y="1416"/>
                  </a:lnTo>
                  <a:lnTo>
                    <a:pt x="1080" y="1410"/>
                  </a:lnTo>
                  <a:lnTo>
                    <a:pt x="1074" y="1410"/>
                  </a:lnTo>
                  <a:lnTo>
                    <a:pt x="1074" y="1404"/>
                  </a:lnTo>
                  <a:lnTo>
                    <a:pt x="1062" y="1404"/>
                  </a:lnTo>
                  <a:lnTo>
                    <a:pt x="1062" y="1380"/>
                  </a:lnTo>
                  <a:lnTo>
                    <a:pt x="1038" y="1380"/>
                  </a:lnTo>
                  <a:lnTo>
                    <a:pt x="1026" y="1350"/>
                  </a:lnTo>
                  <a:lnTo>
                    <a:pt x="996" y="1326"/>
                  </a:lnTo>
                  <a:lnTo>
                    <a:pt x="966" y="1314"/>
                  </a:lnTo>
                  <a:lnTo>
                    <a:pt x="954" y="1320"/>
                  </a:lnTo>
                  <a:lnTo>
                    <a:pt x="942" y="1338"/>
                  </a:lnTo>
                  <a:lnTo>
                    <a:pt x="930" y="1338"/>
                  </a:lnTo>
                  <a:lnTo>
                    <a:pt x="924" y="1350"/>
                  </a:lnTo>
                  <a:lnTo>
                    <a:pt x="906" y="1356"/>
                  </a:lnTo>
                  <a:lnTo>
                    <a:pt x="846" y="1356"/>
                  </a:lnTo>
                  <a:lnTo>
                    <a:pt x="834" y="1368"/>
                  </a:lnTo>
                  <a:lnTo>
                    <a:pt x="810" y="1362"/>
                  </a:lnTo>
                  <a:lnTo>
                    <a:pt x="792" y="1362"/>
                  </a:lnTo>
                  <a:lnTo>
                    <a:pt x="780" y="1368"/>
                  </a:lnTo>
                  <a:lnTo>
                    <a:pt x="762" y="1368"/>
                  </a:lnTo>
                  <a:lnTo>
                    <a:pt x="762" y="1362"/>
                  </a:lnTo>
                  <a:lnTo>
                    <a:pt x="750" y="1362"/>
                  </a:lnTo>
                  <a:lnTo>
                    <a:pt x="750" y="1338"/>
                  </a:lnTo>
                  <a:lnTo>
                    <a:pt x="762" y="1338"/>
                  </a:lnTo>
                  <a:lnTo>
                    <a:pt x="762" y="1326"/>
                  </a:lnTo>
                  <a:lnTo>
                    <a:pt x="762" y="1314"/>
                  </a:lnTo>
                  <a:lnTo>
                    <a:pt x="732" y="1314"/>
                  </a:lnTo>
                  <a:lnTo>
                    <a:pt x="726" y="1308"/>
                  </a:lnTo>
                  <a:lnTo>
                    <a:pt x="732" y="1284"/>
                  </a:lnTo>
                  <a:lnTo>
                    <a:pt x="732" y="1278"/>
                  </a:lnTo>
                  <a:lnTo>
                    <a:pt x="738" y="1272"/>
                  </a:lnTo>
                  <a:lnTo>
                    <a:pt x="738" y="1266"/>
                  </a:lnTo>
                  <a:lnTo>
                    <a:pt x="744" y="1266"/>
                  </a:lnTo>
                  <a:lnTo>
                    <a:pt x="750" y="1272"/>
                  </a:lnTo>
                  <a:lnTo>
                    <a:pt x="756" y="1266"/>
                  </a:lnTo>
                  <a:lnTo>
                    <a:pt x="762" y="1266"/>
                  </a:lnTo>
                  <a:lnTo>
                    <a:pt x="768" y="1260"/>
                  </a:lnTo>
                  <a:lnTo>
                    <a:pt x="774" y="1260"/>
                  </a:lnTo>
                  <a:lnTo>
                    <a:pt x="780" y="1254"/>
                  </a:lnTo>
                  <a:lnTo>
                    <a:pt x="774" y="1254"/>
                  </a:lnTo>
                  <a:lnTo>
                    <a:pt x="768" y="1254"/>
                  </a:lnTo>
                  <a:lnTo>
                    <a:pt x="774" y="1248"/>
                  </a:lnTo>
                  <a:lnTo>
                    <a:pt x="774" y="1242"/>
                  </a:lnTo>
                  <a:lnTo>
                    <a:pt x="780" y="1236"/>
                  </a:lnTo>
                  <a:lnTo>
                    <a:pt x="786" y="1236"/>
                  </a:lnTo>
                  <a:lnTo>
                    <a:pt x="792" y="1230"/>
                  </a:lnTo>
                  <a:lnTo>
                    <a:pt x="792" y="1236"/>
                  </a:lnTo>
                  <a:lnTo>
                    <a:pt x="798" y="1236"/>
                  </a:lnTo>
                  <a:lnTo>
                    <a:pt x="798" y="1230"/>
                  </a:lnTo>
                  <a:lnTo>
                    <a:pt x="804" y="1230"/>
                  </a:lnTo>
                  <a:lnTo>
                    <a:pt x="804" y="1218"/>
                  </a:lnTo>
                  <a:lnTo>
                    <a:pt x="804" y="1206"/>
                  </a:lnTo>
                  <a:lnTo>
                    <a:pt x="792" y="1188"/>
                  </a:lnTo>
                  <a:lnTo>
                    <a:pt x="768" y="1182"/>
                  </a:lnTo>
                  <a:lnTo>
                    <a:pt x="768" y="1170"/>
                  </a:lnTo>
                  <a:lnTo>
                    <a:pt x="774" y="1170"/>
                  </a:lnTo>
                  <a:lnTo>
                    <a:pt x="780" y="1170"/>
                  </a:lnTo>
                  <a:lnTo>
                    <a:pt x="786" y="1170"/>
                  </a:lnTo>
                  <a:lnTo>
                    <a:pt x="780" y="1152"/>
                  </a:lnTo>
                  <a:lnTo>
                    <a:pt x="780" y="1146"/>
                  </a:lnTo>
                  <a:lnTo>
                    <a:pt x="744" y="1140"/>
                  </a:lnTo>
                  <a:lnTo>
                    <a:pt x="732" y="1128"/>
                  </a:lnTo>
                  <a:lnTo>
                    <a:pt x="720" y="1122"/>
                  </a:lnTo>
                  <a:lnTo>
                    <a:pt x="732" y="1116"/>
                  </a:lnTo>
                  <a:lnTo>
                    <a:pt x="750" y="1104"/>
                  </a:lnTo>
                  <a:lnTo>
                    <a:pt x="756" y="1116"/>
                  </a:lnTo>
                  <a:lnTo>
                    <a:pt x="774" y="1116"/>
                  </a:lnTo>
                  <a:lnTo>
                    <a:pt x="780" y="1104"/>
                  </a:lnTo>
                  <a:lnTo>
                    <a:pt x="780" y="1080"/>
                  </a:lnTo>
                  <a:lnTo>
                    <a:pt x="786" y="1080"/>
                  </a:lnTo>
                  <a:lnTo>
                    <a:pt x="786" y="1074"/>
                  </a:lnTo>
                  <a:lnTo>
                    <a:pt x="792" y="1074"/>
                  </a:lnTo>
                  <a:lnTo>
                    <a:pt x="786" y="1068"/>
                  </a:lnTo>
                  <a:lnTo>
                    <a:pt x="786" y="1062"/>
                  </a:lnTo>
                  <a:lnTo>
                    <a:pt x="786" y="1056"/>
                  </a:lnTo>
                  <a:lnTo>
                    <a:pt x="792" y="1050"/>
                  </a:lnTo>
                  <a:lnTo>
                    <a:pt x="786" y="1020"/>
                  </a:lnTo>
                  <a:lnTo>
                    <a:pt x="780" y="960"/>
                  </a:lnTo>
                  <a:lnTo>
                    <a:pt x="768" y="942"/>
                  </a:lnTo>
                  <a:lnTo>
                    <a:pt x="732" y="936"/>
                  </a:lnTo>
                  <a:lnTo>
                    <a:pt x="732" y="942"/>
                  </a:lnTo>
                  <a:lnTo>
                    <a:pt x="726" y="942"/>
                  </a:lnTo>
                  <a:lnTo>
                    <a:pt x="720" y="936"/>
                  </a:lnTo>
                  <a:lnTo>
                    <a:pt x="714" y="942"/>
                  </a:lnTo>
                  <a:lnTo>
                    <a:pt x="708" y="942"/>
                  </a:lnTo>
                  <a:lnTo>
                    <a:pt x="702" y="942"/>
                  </a:lnTo>
                  <a:lnTo>
                    <a:pt x="690" y="936"/>
                  </a:lnTo>
                  <a:lnTo>
                    <a:pt x="684" y="936"/>
                  </a:lnTo>
                  <a:lnTo>
                    <a:pt x="678" y="936"/>
                  </a:lnTo>
                  <a:lnTo>
                    <a:pt x="672" y="936"/>
                  </a:lnTo>
                  <a:lnTo>
                    <a:pt x="666" y="942"/>
                  </a:lnTo>
                  <a:lnTo>
                    <a:pt x="660" y="942"/>
                  </a:lnTo>
                  <a:lnTo>
                    <a:pt x="654" y="942"/>
                  </a:lnTo>
                  <a:lnTo>
                    <a:pt x="648" y="942"/>
                  </a:lnTo>
                  <a:lnTo>
                    <a:pt x="642" y="936"/>
                  </a:lnTo>
                  <a:lnTo>
                    <a:pt x="636" y="936"/>
                  </a:lnTo>
                  <a:lnTo>
                    <a:pt x="630" y="930"/>
                  </a:lnTo>
                  <a:lnTo>
                    <a:pt x="618" y="930"/>
                  </a:lnTo>
                  <a:lnTo>
                    <a:pt x="612" y="930"/>
                  </a:lnTo>
                  <a:lnTo>
                    <a:pt x="606" y="936"/>
                  </a:lnTo>
                  <a:lnTo>
                    <a:pt x="600" y="942"/>
                  </a:lnTo>
                  <a:lnTo>
                    <a:pt x="600" y="936"/>
                  </a:lnTo>
                  <a:lnTo>
                    <a:pt x="594" y="930"/>
                  </a:lnTo>
                  <a:lnTo>
                    <a:pt x="588" y="930"/>
                  </a:lnTo>
                  <a:lnTo>
                    <a:pt x="582" y="930"/>
                  </a:lnTo>
                  <a:lnTo>
                    <a:pt x="576" y="930"/>
                  </a:lnTo>
                  <a:lnTo>
                    <a:pt x="564" y="936"/>
                  </a:lnTo>
                  <a:lnTo>
                    <a:pt x="558" y="936"/>
                  </a:lnTo>
                  <a:lnTo>
                    <a:pt x="546" y="924"/>
                  </a:lnTo>
                  <a:lnTo>
                    <a:pt x="540" y="924"/>
                  </a:lnTo>
                  <a:lnTo>
                    <a:pt x="534" y="918"/>
                  </a:lnTo>
                  <a:lnTo>
                    <a:pt x="528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6" y="918"/>
                  </a:lnTo>
                  <a:lnTo>
                    <a:pt x="516" y="912"/>
                  </a:lnTo>
                  <a:lnTo>
                    <a:pt x="510" y="894"/>
                  </a:lnTo>
                  <a:lnTo>
                    <a:pt x="510" y="882"/>
                  </a:lnTo>
                  <a:lnTo>
                    <a:pt x="510" y="876"/>
                  </a:lnTo>
                  <a:lnTo>
                    <a:pt x="516" y="870"/>
                  </a:lnTo>
                  <a:lnTo>
                    <a:pt x="510" y="864"/>
                  </a:lnTo>
                  <a:lnTo>
                    <a:pt x="516" y="858"/>
                  </a:lnTo>
                  <a:lnTo>
                    <a:pt x="522" y="858"/>
                  </a:lnTo>
                  <a:lnTo>
                    <a:pt x="528" y="858"/>
                  </a:lnTo>
                  <a:lnTo>
                    <a:pt x="522" y="852"/>
                  </a:lnTo>
                  <a:lnTo>
                    <a:pt x="528" y="852"/>
                  </a:lnTo>
                  <a:lnTo>
                    <a:pt x="528" y="846"/>
                  </a:lnTo>
                  <a:lnTo>
                    <a:pt x="552" y="846"/>
                  </a:lnTo>
                  <a:lnTo>
                    <a:pt x="558" y="840"/>
                  </a:lnTo>
                  <a:lnTo>
                    <a:pt x="564" y="828"/>
                  </a:lnTo>
                  <a:lnTo>
                    <a:pt x="570" y="816"/>
                  </a:lnTo>
                  <a:lnTo>
                    <a:pt x="582" y="810"/>
                  </a:lnTo>
                  <a:lnTo>
                    <a:pt x="588" y="804"/>
                  </a:lnTo>
                  <a:lnTo>
                    <a:pt x="594" y="804"/>
                  </a:lnTo>
                  <a:lnTo>
                    <a:pt x="594" y="792"/>
                  </a:lnTo>
                  <a:lnTo>
                    <a:pt x="600" y="786"/>
                  </a:lnTo>
                  <a:lnTo>
                    <a:pt x="606" y="780"/>
                  </a:lnTo>
                  <a:lnTo>
                    <a:pt x="612" y="774"/>
                  </a:lnTo>
                  <a:lnTo>
                    <a:pt x="618" y="774"/>
                  </a:lnTo>
                  <a:lnTo>
                    <a:pt x="618" y="768"/>
                  </a:lnTo>
                  <a:lnTo>
                    <a:pt x="618" y="762"/>
                  </a:lnTo>
                  <a:lnTo>
                    <a:pt x="624" y="756"/>
                  </a:lnTo>
                  <a:lnTo>
                    <a:pt x="618" y="750"/>
                  </a:lnTo>
                  <a:lnTo>
                    <a:pt x="618" y="744"/>
                  </a:lnTo>
                  <a:lnTo>
                    <a:pt x="600" y="738"/>
                  </a:lnTo>
                  <a:lnTo>
                    <a:pt x="558" y="744"/>
                  </a:lnTo>
                  <a:lnTo>
                    <a:pt x="552" y="732"/>
                  </a:lnTo>
                  <a:lnTo>
                    <a:pt x="546" y="720"/>
                  </a:lnTo>
                  <a:lnTo>
                    <a:pt x="564" y="702"/>
                  </a:lnTo>
                  <a:lnTo>
                    <a:pt x="570" y="684"/>
                  </a:lnTo>
                  <a:lnTo>
                    <a:pt x="564" y="648"/>
                  </a:lnTo>
                  <a:lnTo>
                    <a:pt x="534" y="624"/>
                  </a:lnTo>
                  <a:lnTo>
                    <a:pt x="504" y="612"/>
                  </a:lnTo>
                  <a:lnTo>
                    <a:pt x="498" y="606"/>
                  </a:lnTo>
                  <a:lnTo>
                    <a:pt x="492" y="600"/>
                  </a:lnTo>
                  <a:lnTo>
                    <a:pt x="486" y="606"/>
                  </a:lnTo>
                  <a:lnTo>
                    <a:pt x="480" y="558"/>
                  </a:lnTo>
                  <a:lnTo>
                    <a:pt x="462" y="546"/>
                  </a:lnTo>
                  <a:lnTo>
                    <a:pt x="408" y="540"/>
                  </a:lnTo>
                  <a:lnTo>
                    <a:pt x="408" y="546"/>
                  </a:lnTo>
                  <a:lnTo>
                    <a:pt x="408" y="558"/>
                  </a:lnTo>
                  <a:lnTo>
                    <a:pt x="408" y="564"/>
                  </a:lnTo>
                  <a:lnTo>
                    <a:pt x="408" y="570"/>
                  </a:lnTo>
                  <a:lnTo>
                    <a:pt x="414" y="582"/>
                  </a:lnTo>
                  <a:lnTo>
                    <a:pt x="408" y="594"/>
                  </a:lnTo>
                  <a:lnTo>
                    <a:pt x="414" y="594"/>
                  </a:lnTo>
                  <a:lnTo>
                    <a:pt x="408" y="600"/>
                  </a:lnTo>
                  <a:lnTo>
                    <a:pt x="348" y="600"/>
                  </a:lnTo>
                  <a:lnTo>
                    <a:pt x="324" y="600"/>
                  </a:lnTo>
                  <a:lnTo>
                    <a:pt x="324" y="612"/>
                  </a:lnTo>
                  <a:lnTo>
                    <a:pt x="306" y="618"/>
                  </a:lnTo>
                  <a:lnTo>
                    <a:pt x="312" y="618"/>
                  </a:lnTo>
                  <a:lnTo>
                    <a:pt x="294" y="588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76"/>
                  </a:lnTo>
                  <a:lnTo>
                    <a:pt x="240" y="582"/>
                  </a:lnTo>
                  <a:lnTo>
                    <a:pt x="234" y="582"/>
                  </a:lnTo>
                  <a:lnTo>
                    <a:pt x="228" y="588"/>
                  </a:lnTo>
                  <a:lnTo>
                    <a:pt x="222" y="588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8" y="600"/>
                  </a:lnTo>
                  <a:lnTo>
                    <a:pt x="192" y="612"/>
                  </a:lnTo>
                  <a:lnTo>
                    <a:pt x="192" y="618"/>
                  </a:lnTo>
                  <a:lnTo>
                    <a:pt x="198" y="624"/>
                  </a:lnTo>
                  <a:lnTo>
                    <a:pt x="192" y="624"/>
                  </a:lnTo>
                  <a:lnTo>
                    <a:pt x="192" y="630"/>
                  </a:lnTo>
                  <a:lnTo>
                    <a:pt x="192" y="642"/>
                  </a:lnTo>
                  <a:lnTo>
                    <a:pt x="180" y="648"/>
                  </a:lnTo>
                  <a:lnTo>
                    <a:pt x="174" y="654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6"/>
                  </a:lnTo>
                  <a:lnTo>
                    <a:pt x="156" y="672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90"/>
                  </a:lnTo>
                  <a:lnTo>
                    <a:pt x="132" y="690"/>
                  </a:lnTo>
                  <a:lnTo>
                    <a:pt x="126" y="702"/>
                  </a:lnTo>
                  <a:lnTo>
                    <a:pt x="132" y="708"/>
                  </a:lnTo>
                  <a:lnTo>
                    <a:pt x="126" y="708"/>
                  </a:lnTo>
                  <a:lnTo>
                    <a:pt x="120" y="708"/>
                  </a:lnTo>
                  <a:lnTo>
                    <a:pt x="114" y="708"/>
                  </a:lnTo>
                  <a:lnTo>
                    <a:pt x="108" y="708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78" y="720"/>
                  </a:lnTo>
                  <a:lnTo>
                    <a:pt x="72" y="720"/>
                  </a:lnTo>
                  <a:lnTo>
                    <a:pt x="66" y="720"/>
                  </a:lnTo>
                  <a:lnTo>
                    <a:pt x="54" y="732"/>
                  </a:lnTo>
                  <a:lnTo>
                    <a:pt x="48" y="702"/>
                  </a:lnTo>
                  <a:lnTo>
                    <a:pt x="36" y="666"/>
                  </a:lnTo>
                  <a:lnTo>
                    <a:pt x="0" y="660"/>
                  </a:lnTo>
                  <a:lnTo>
                    <a:pt x="6" y="660"/>
                  </a:lnTo>
                  <a:lnTo>
                    <a:pt x="6" y="654"/>
                  </a:lnTo>
                  <a:lnTo>
                    <a:pt x="6" y="648"/>
                  </a:lnTo>
                  <a:lnTo>
                    <a:pt x="6" y="642"/>
                  </a:lnTo>
                  <a:lnTo>
                    <a:pt x="6" y="624"/>
                  </a:lnTo>
                  <a:lnTo>
                    <a:pt x="6" y="612"/>
                  </a:lnTo>
                  <a:lnTo>
                    <a:pt x="6" y="606"/>
                  </a:lnTo>
                  <a:lnTo>
                    <a:pt x="12" y="612"/>
                  </a:lnTo>
                  <a:lnTo>
                    <a:pt x="18" y="606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30" y="594"/>
                  </a:lnTo>
                  <a:lnTo>
                    <a:pt x="30" y="588"/>
                  </a:lnTo>
                  <a:lnTo>
                    <a:pt x="30" y="582"/>
                  </a:lnTo>
                  <a:lnTo>
                    <a:pt x="24" y="576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18" y="558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36" y="528"/>
                  </a:lnTo>
                  <a:lnTo>
                    <a:pt x="30" y="522"/>
                  </a:lnTo>
                  <a:lnTo>
                    <a:pt x="24" y="522"/>
                  </a:lnTo>
                  <a:lnTo>
                    <a:pt x="18" y="510"/>
                  </a:lnTo>
                  <a:lnTo>
                    <a:pt x="12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8" y="474"/>
                  </a:lnTo>
                  <a:lnTo>
                    <a:pt x="12" y="468"/>
                  </a:lnTo>
                  <a:lnTo>
                    <a:pt x="12" y="462"/>
                  </a:lnTo>
                  <a:lnTo>
                    <a:pt x="18" y="456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0" y="420"/>
                  </a:lnTo>
                  <a:lnTo>
                    <a:pt x="30" y="414"/>
                  </a:lnTo>
                  <a:lnTo>
                    <a:pt x="48" y="414"/>
                  </a:lnTo>
                  <a:lnTo>
                    <a:pt x="54" y="408"/>
                  </a:lnTo>
                  <a:lnTo>
                    <a:pt x="60" y="402"/>
                  </a:lnTo>
                  <a:lnTo>
                    <a:pt x="66" y="402"/>
                  </a:lnTo>
                  <a:lnTo>
                    <a:pt x="72" y="402"/>
                  </a:lnTo>
                  <a:lnTo>
                    <a:pt x="78" y="408"/>
                  </a:lnTo>
                  <a:lnTo>
                    <a:pt x="84" y="396"/>
                  </a:lnTo>
                  <a:lnTo>
                    <a:pt x="90" y="390"/>
                  </a:lnTo>
                  <a:lnTo>
                    <a:pt x="90" y="378"/>
                  </a:lnTo>
                  <a:lnTo>
                    <a:pt x="96" y="372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8" y="354"/>
                  </a:lnTo>
                  <a:lnTo>
                    <a:pt x="114" y="348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32" y="336"/>
                  </a:lnTo>
                  <a:lnTo>
                    <a:pt x="132" y="330"/>
                  </a:lnTo>
                  <a:lnTo>
                    <a:pt x="138" y="324"/>
                  </a:lnTo>
                  <a:lnTo>
                    <a:pt x="138" y="318"/>
                  </a:lnTo>
                  <a:lnTo>
                    <a:pt x="144" y="306"/>
                  </a:lnTo>
                  <a:lnTo>
                    <a:pt x="156" y="306"/>
                  </a:lnTo>
                  <a:lnTo>
                    <a:pt x="186" y="300"/>
                  </a:lnTo>
                  <a:lnTo>
                    <a:pt x="198" y="300"/>
                  </a:lnTo>
                  <a:lnTo>
                    <a:pt x="210" y="300"/>
                  </a:lnTo>
                  <a:lnTo>
                    <a:pt x="222" y="300"/>
                  </a:lnTo>
                  <a:lnTo>
                    <a:pt x="246" y="300"/>
                  </a:lnTo>
                  <a:lnTo>
                    <a:pt x="264" y="312"/>
                  </a:lnTo>
                  <a:lnTo>
                    <a:pt x="270" y="312"/>
                  </a:lnTo>
                  <a:lnTo>
                    <a:pt x="282" y="306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300" y="306"/>
                  </a:lnTo>
                  <a:lnTo>
                    <a:pt x="312" y="306"/>
                  </a:lnTo>
                  <a:lnTo>
                    <a:pt x="318" y="300"/>
                  </a:lnTo>
                  <a:lnTo>
                    <a:pt x="324" y="300"/>
                  </a:lnTo>
                  <a:lnTo>
                    <a:pt x="330" y="294"/>
                  </a:lnTo>
                  <a:lnTo>
                    <a:pt x="336" y="288"/>
                  </a:lnTo>
                  <a:lnTo>
                    <a:pt x="354" y="288"/>
                  </a:lnTo>
                  <a:lnTo>
                    <a:pt x="360" y="288"/>
                  </a:lnTo>
                  <a:lnTo>
                    <a:pt x="366" y="282"/>
                  </a:lnTo>
                  <a:lnTo>
                    <a:pt x="372" y="282"/>
                  </a:lnTo>
                  <a:lnTo>
                    <a:pt x="378" y="282"/>
                  </a:lnTo>
                  <a:lnTo>
                    <a:pt x="384" y="276"/>
                  </a:lnTo>
                  <a:lnTo>
                    <a:pt x="384" y="270"/>
                  </a:lnTo>
                  <a:lnTo>
                    <a:pt x="390" y="264"/>
                  </a:lnTo>
                  <a:lnTo>
                    <a:pt x="402" y="258"/>
                  </a:lnTo>
                  <a:lnTo>
                    <a:pt x="402" y="252"/>
                  </a:lnTo>
                  <a:lnTo>
                    <a:pt x="402" y="246"/>
                  </a:lnTo>
                  <a:lnTo>
                    <a:pt x="408" y="234"/>
                  </a:lnTo>
                  <a:lnTo>
                    <a:pt x="414" y="234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14" y="216"/>
                  </a:lnTo>
                  <a:lnTo>
                    <a:pt x="414" y="210"/>
                  </a:lnTo>
                  <a:lnTo>
                    <a:pt x="420" y="210"/>
                  </a:lnTo>
                  <a:lnTo>
                    <a:pt x="414" y="198"/>
                  </a:lnTo>
                  <a:lnTo>
                    <a:pt x="414" y="192"/>
                  </a:lnTo>
                  <a:lnTo>
                    <a:pt x="420" y="192"/>
                  </a:lnTo>
                  <a:lnTo>
                    <a:pt x="420" y="186"/>
                  </a:lnTo>
                  <a:lnTo>
                    <a:pt x="420" y="174"/>
                  </a:lnTo>
                  <a:lnTo>
                    <a:pt x="420" y="168"/>
                  </a:lnTo>
                  <a:lnTo>
                    <a:pt x="426" y="162"/>
                  </a:lnTo>
                  <a:lnTo>
                    <a:pt x="432" y="156"/>
                  </a:lnTo>
                  <a:lnTo>
                    <a:pt x="438" y="144"/>
                  </a:lnTo>
                  <a:lnTo>
                    <a:pt x="444" y="144"/>
                  </a:lnTo>
                  <a:lnTo>
                    <a:pt x="450" y="138"/>
                  </a:lnTo>
                  <a:lnTo>
                    <a:pt x="456" y="138"/>
                  </a:lnTo>
                  <a:lnTo>
                    <a:pt x="462" y="132"/>
                  </a:lnTo>
                  <a:lnTo>
                    <a:pt x="462" y="126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0"/>
                  </a:lnTo>
                  <a:lnTo>
                    <a:pt x="486" y="108"/>
                  </a:lnTo>
                  <a:lnTo>
                    <a:pt x="492" y="108"/>
                  </a:lnTo>
                  <a:lnTo>
                    <a:pt x="498" y="102"/>
                  </a:lnTo>
                  <a:lnTo>
                    <a:pt x="504" y="96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40" y="102"/>
                  </a:lnTo>
                  <a:lnTo>
                    <a:pt x="552" y="108"/>
                  </a:lnTo>
                  <a:lnTo>
                    <a:pt x="582" y="102"/>
                  </a:lnTo>
                  <a:lnTo>
                    <a:pt x="594" y="126"/>
                  </a:lnTo>
                  <a:lnTo>
                    <a:pt x="594" y="144"/>
                  </a:lnTo>
                  <a:lnTo>
                    <a:pt x="588" y="156"/>
                  </a:lnTo>
                  <a:lnTo>
                    <a:pt x="588" y="168"/>
                  </a:lnTo>
                  <a:lnTo>
                    <a:pt x="582" y="180"/>
                  </a:lnTo>
                  <a:lnTo>
                    <a:pt x="570" y="192"/>
                  </a:lnTo>
                  <a:lnTo>
                    <a:pt x="594" y="192"/>
                  </a:lnTo>
                  <a:lnTo>
                    <a:pt x="618" y="198"/>
                  </a:lnTo>
                  <a:lnTo>
                    <a:pt x="642" y="210"/>
                  </a:lnTo>
                  <a:lnTo>
                    <a:pt x="660" y="234"/>
                  </a:lnTo>
                  <a:lnTo>
                    <a:pt x="678" y="246"/>
                  </a:lnTo>
                  <a:lnTo>
                    <a:pt x="684" y="252"/>
                  </a:lnTo>
                  <a:lnTo>
                    <a:pt x="702" y="252"/>
                  </a:lnTo>
                  <a:lnTo>
                    <a:pt x="732" y="234"/>
                  </a:lnTo>
                  <a:lnTo>
                    <a:pt x="732" y="222"/>
                  </a:lnTo>
                  <a:lnTo>
                    <a:pt x="720" y="216"/>
                  </a:lnTo>
                  <a:lnTo>
                    <a:pt x="714" y="198"/>
                  </a:lnTo>
                  <a:lnTo>
                    <a:pt x="714" y="174"/>
                  </a:lnTo>
                  <a:lnTo>
                    <a:pt x="720" y="162"/>
                  </a:lnTo>
                  <a:lnTo>
                    <a:pt x="726" y="162"/>
                  </a:lnTo>
                  <a:lnTo>
                    <a:pt x="732" y="156"/>
                  </a:lnTo>
                  <a:lnTo>
                    <a:pt x="744" y="150"/>
                  </a:lnTo>
                  <a:lnTo>
                    <a:pt x="774" y="162"/>
                  </a:lnTo>
                  <a:lnTo>
                    <a:pt x="786" y="162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16" y="150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2" y="132"/>
                  </a:lnTo>
                  <a:lnTo>
                    <a:pt x="822" y="114"/>
                  </a:lnTo>
                  <a:lnTo>
                    <a:pt x="828" y="108"/>
                  </a:lnTo>
                  <a:lnTo>
                    <a:pt x="834" y="96"/>
                  </a:lnTo>
                  <a:lnTo>
                    <a:pt x="846" y="96"/>
                  </a:lnTo>
                  <a:lnTo>
                    <a:pt x="858" y="90"/>
                  </a:lnTo>
                  <a:lnTo>
                    <a:pt x="870" y="84"/>
                  </a:lnTo>
                  <a:lnTo>
                    <a:pt x="888" y="84"/>
                  </a:lnTo>
                  <a:lnTo>
                    <a:pt x="894" y="90"/>
                  </a:lnTo>
                  <a:lnTo>
                    <a:pt x="894" y="102"/>
                  </a:lnTo>
                  <a:lnTo>
                    <a:pt x="900" y="102"/>
                  </a:lnTo>
                  <a:lnTo>
                    <a:pt x="906" y="114"/>
                  </a:lnTo>
                  <a:lnTo>
                    <a:pt x="930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54" y="138"/>
                  </a:lnTo>
                  <a:lnTo>
                    <a:pt x="966" y="144"/>
                  </a:lnTo>
                  <a:lnTo>
                    <a:pt x="966" y="150"/>
                  </a:lnTo>
                  <a:lnTo>
                    <a:pt x="972" y="150"/>
                  </a:lnTo>
                  <a:lnTo>
                    <a:pt x="978" y="150"/>
                  </a:lnTo>
                  <a:lnTo>
                    <a:pt x="978" y="144"/>
                  </a:lnTo>
                  <a:lnTo>
                    <a:pt x="984" y="144"/>
                  </a:lnTo>
                  <a:lnTo>
                    <a:pt x="990" y="138"/>
                  </a:lnTo>
                  <a:lnTo>
                    <a:pt x="996" y="138"/>
                  </a:lnTo>
                  <a:lnTo>
                    <a:pt x="1002" y="138"/>
                  </a:lnTo>
                  <a:lnTo>
                    <a:pt x="1008" y="138"/>
                  </a:lnTo>
                  <a:lnTo>
                    <a:pt x="1026" y="132"/>
                  </a:lnTo>
                  <a:lnTo>
                    <a:pt x="1044" y="126"/>
                  </a:lnTo>
                  <a:lnTo>
                    <a:pt x="1056" y="120"/>
                  </a:lnTo>
                  <a:lnTo>
                    <a:pt x="1062" y="108"/>
                  </a:lnTo>
                  <a:lnTo>
                    <a:pt x="1056" y="102"/>
                  </a:lnTo>
                  <a:lnTo>
                    <a:pt x="1062" y="96"/>
                  </a:lnTo>
                  <a:lnTo>
                    <a:pt x="1074" y="90"/>
                  </a:lnTo>
                  <a:lnTo>
                    <a:pt x="1080" y="84"/>
                  </a:lnTo>
                  <a:lnTo>
                    <a:pt x="1128" y="84"/>
                  </a:lnTo>
                  <a:lnTo>
                    <a:pt x="1134" y="84"/>
                  </a:lnTo>
                  <a:lnTo>
                    <a:pt x="1140" y="78"/>
                  </a:lnTo>
                  <a:lnTo>
                    <a:pt x="1152" y="72"/>
                  </a:lnTo>
                  <a:lnTo>
                    <a:pt x="1164" y="66"/>
                  </a:lnTo>
                  <a:lnTo>
                    <a:pt x="1170" y="60"/>
                  </a:lnTo>
                  <a:lnTo>
                    <a:pt x="1188" y="48"/>
                  </a:lnTo>
                  <a:lnTo>
                    <a:pt x="1200" y="36"/>
                  </a:lnTo>
                  <a:lnTo>
                    <a:pt x="1218" y="24"/>
                  </a:lnTo>
                  <a:lnTo>
                    <a:pt x="1248" y="24"/>
                  </a:lnTo>
                  <a:lnTo>
                    <a:pt x="1272" y="24"/>
                  </a:lnTo>
                  <a:lnTo>
                    <a:pt x="1284" y="12"/>
                  </a:lnTo>
                  <a:lnTo>
                    <a:pt x="1302" y="0"/>
                  </a:lnTo>
                  <a:lnTo>
                    <a:pt x="1314" y="0"/>
                  </a:lnTo>
                  <a:lnTo>
                    <a:pt x="1326" y="18"/>
                  </a:lnTo>
                  <a:lnTo>
                    <a:pt x="1338" y="30"/>
                  </a:lnTo>
                  <a:lnTo>
                    <a:pt x="1338" y="54"/>
                  </a:lnTo>
                  <a:lnTo>
                    <a:pt x="1332" y="72"/>
                  </a:lnTo>
                  <a:lnTo>
                    <a:pt x="1326" y="72"/>
                  </a:lnTo>
                  <a:lnTo>
                    <a:pt x="1326" y="78"/>
                  </a:lnTo>
                  <a:lnTo>
                    <a:pt x="1326" y="102"/>
                  </a:lnTo>
                  <a:lnTo>
                    <a:pt x="1332" y="102"/>
                  </a:lnTo>
                  <a:lnTo>
                    <a:pt x="1332" y="108"/>
                  </a:lnTo>
                  <a:lnTo>
                    <a:pt x="1344" y="114"/>
                  </a:lnTo>
                  <a:lnTo>
                    <a:pt x="1350" y="114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404" y="132"/>
                  </a:lnTo>
                  <a:lnTo>
                    <a:pt x="1404" y="138"/>
                  </a:lnTo>
                  <a:lnTo>
                    <a:pt x="1410" y="150"/>
                  </a:lnTo>
                  <a:lnTo>
                    <a:pt x="1416" y="162"/>
                  </a:lnTo>
                  <a:lnTo>
                    <a:pt x="1428" y="168"/>
                  </a:lnTo>
                  <a:lnTo>
                    <a:pt x="1440" y="180"/>
                  </a:lnTo>
                  <a:lnTo>
                    <a:pt x="1476" y="174"/>
                  </a:lnTo>
                  <a:lnTo>
                    <a:pt x="1494" y="174"/>
                  </a:lnTo>
                  <a:lnTo>
                    <a:pt x="1512" y="192"/>
                  </a:lnTo>
                  <a:lnTo>
                    <a:pt x="1518" y="204"/>
                  </a:lnTo>
                  <a:lnTo>
                    <a:pt x="1530" y="216"/>
                  </a:lnTo>
                  <a:lnTo>
                    <a:pt x="1548" y="228"/>
                  </a:lnTo>
                  <a:lnTo>
                    <a:pt x="1548" y="234"/>
                  </a:lnTo>
                  <a:lnTo>
                    <a:pt x="1542" y="246"/>
                  </a:lnTo>
                  <a:lnTo>
                    <a:pt x="1560" y="246"/>
                  </a:lnTo>
                  <a:lnTo>
                    <a:pt x="1560" y="252"/>
                  </a:lnTo>
                  <a:lnTo>
                    <a:pt x="1566" y="258"/>
                  </a:lnTo>
                  <a:lnTo>
                    <a:pt x="1578" y="270"/>
                  </a:lnTo>
                  <a:lnTo>
                    <a:pt x="1596" y="270"/>
                  </a:lnTo>
                  <a:lnTo>
                    <a:pt x="1602" y="288"/>
                  </a:lnTo>
                  <a:lnTo>
                    <a:pt x="1608" y="306"/>
                  </a:lnTo>
                  <a:lnTo>
                    <a:pt x="1608" y="318"/>
                  </a:lnTo>
                  <a:lnTo>
                    <a:pt x="1608" y="324"/>
                  </a:lnTo>
                  <a:lnTo>
                    <a:pt x="1614" y="330"/>
                  </a:lnTo>
                  <a:lnTo>
                    <a:pt x="1614" y="336"/>
                  </a:lnTo>
                  <a:lnTo>
                    <a:pt x="1614" y="342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08" y="390"/>
                  </a:lnTo>
                  <a:lnTo>
                    <a:pt x="1602" y="390"/>
                  </a:lnTo>
                  <a:lnTo>
                    <a:pt x="1602" y="396"/>
                  </a:lnTo>
                  <a:lnTo>
                    <a:pt x="1584" y="420"/>
                  </a:lnTo>
                  <a:lnTo>
                    <a:pt x="1584" y="426"/>
                  </a:lnTo>
                  <a:lnTo>
                    <a:pt x="1602" y="474"/>
                  </a:lnTo>
                  <a:lnTo>
                    <a:pt x="1608" y="480"/>
                  </a:lnTo>
                  <a:lnTo>
                    <a:pt x="1608" y="486"/>
                  </a:lnTo>
                  <a:lnTo>
                    <a:pt x="1614" y="486"/>
                  </a:lnTo>
                  <a:lnTo>
                    <a:pt x="1608" y="504"/>
                  </a:lnTo>
                  <a:lnTo>
                    <a:pt x="1572" y="504"/>
                  </a:lnTo>
                  <a:lnTo>
                    <a:pt x="1560" y="510"/>
                  </a:lnTo>
                  <a:lnTo>
                    <a:pt x="1554" y="522"/>
                  </a:lnTo>
                  <a:lnTo>
                    <a:pt x="1560" y="552"/>
                  </a:lnTo>
                  <a:lnTo>
                    <a:pt x="1566" y="552"/>
                  </a:lnTo>
                  <a:lnTo>
                    <a:pt x="1566" y="558"/>
                  </a:lnTo>
                  <a:lnTo>
                    <a:pt x="1572" y="558"/>
                  </a:lnTo>
                  <a:lnTo>
                    <a:pt x="1578" y="558"/>
                  </a:lnTo>
                  <a:lnTo>
                    <a:pt x="1578" y="552"/>
                  </a:lnTo>
                  <a:lnTo>
                    <a:pt x="1584" y="552"/>
                  </a:lnTo>
                  <a:lnTo>
                    <a:pt x="1590" y="552"/>
                  </a:lnTo>
                  <a:lnTo>
                    <a:pt x="1590" y="546"/>
                  </a:lnTo>
                  <a:lnTo>
                    <a:pt x="1596" y="546"/>
                  </a:lnTo>
                  <a:lnTo>
                    <a:pt x="1602" y="552"/>
                  </a:lnTo>
                  <a:lnTo>
                    <a:pt x="1602" y="546"/>
                  </a:lnTo>
                  <a:lnTo>
                    <a:pt x="1608" y="546"/>
                  </a:lnTo>
                  <a:lnTo>
                    <a:pt x="1608" y="552"/>
                  </a:lnTo>
                  <a:lnTo>
                    <a:pt x="1614" y="552"/>
                  </a:lnTo>
                  <a:lnTo>
                    <a:pt x="1614" y="546"/>
                  </a:lnTo>
                  <a:lnTo>
                    <a:pt x="1620" y="552"/>
                  </a:lnTo>
                  <a:lnTo>
                    <a:pt x="1626" y="552"/>
                  </a:lnTo>
                  <a:lnTo>
                    <a:pt x="1626" y="558"/>
                  </a:lnTo>
                  <a:lnTo>
                    <a:pt x="1632" y="558"/>
                  </a:lnTo>
                  <a:lnTo>
                    <a:pt x="1638" y="558"/>
                  </a:lnTo>
                  <a:lnTo>
                    <a:pt x="1644" y="558"/>
                  </a:lnTo>
                  <a:lnTo>
                    <a:pt x="1650" y="558"/>
                  </a:lnTo>
                  <a:lnTo>
                    <a:pt x="1650" y="564"/>
                  </a:lnTo>
                  <a:lnTo>
                    <a:pt x="1656" y="564"/>
                  </a:lnTo>
                  <a:lnTo>
                    <a:pt x="1662" y="564"/>
                  </a:lnTo>
                  <a:lnTo>
                    <a:pt x="1668" y="564"/>
                  </a:lnTo>
                  <a:lnTo>
                    <a:pt x="1668" y="570"/>
                  </a:lnTo>
                  <a:lnTo>
                    <a:pt x="1674" y="570"/>
                  </a:lnTo>
                  <a:lnTo>
                    <a:pt x="1680" y="570"/>
                  </a:lnTo>
                  <a:lnTo>
                    <a:pt x="1686" y="576"/>
                  </a:lnTo>
                  <a:lnTo>
                    <a:pt x="1686" y="582"/>
                  </a:lnTo>
                  <a:lnTo>
                    <a:pt x="1710" y="588"/>
                  </a:lnTo>
                  <a:lnTo>
                    <a:pt x="1710" y="594"/>
                  </a:lnTo>
                  <a:lnTo>
                    <a:pt x="1704" y="600"/>
                  </a:lnTo>
                  <a:lnTo>
                    <a:pt x="1710" y="624"/>
                  </a:lnTo>
                  <a:lnTo>
                    <a:pt x="1698" y="672"/>
                  </a:lnTo>
                  <a:lnTo>
                    <a:pt x="1704" y="678"/>
                  </a:lnTo>
                  <a:lnTo>
                    <a:pt x="1716" y="684"/>
                  </a:lnTo>
                  <a:lnTo>
                    <a:pt x="1716" y="678"/>
                  </a:lnTo>
                  <a:lnTo>
                    <a:pt x="1716" y="684"/>
                  </a:lnTo>
                  <a:lnTo>
                    <a:pt x="1728" y="684"/>
                  </a:lnTo>
                  <a:lnTo>
                    <a:pt x="1728" y="690"/>
                  </a:lnTo>
                  <a:lnTo>
                    <a:pt x="1734" y="696"/>
                  </a:lnTo>
                  <a:lnTo>
                    <a:pt x="1734" y="702"/>
                  </a:lnTo>
                  <a:lnTo>
                    <a:pt x="1740" y="708"/>
                  </a:lnTo>
                  <a:lnTo>
                    <a:pt x="1740" y="714"/>
                  </a:lnTo>
                  <a:lnTo>
                    <a:pt x="1710" y="714"/>
                  </a:lnTo>
                  <a:lnTo>
                    <a:pt x="1710" y="756"/>
                  </a:lnTo>
                  <a:lnTo>
                    <a:pt x="1704" y="762"/>
                  </a:lnTo>
                  <a:lnTo>
                    <a:pt x="1698" y="762"/>
                  </a:lnTo>
                  <a:lnTo>
                    <a:pt x="1698" y="768"/>
                  </a:lnTo>
                  <a:lnTo>
                    <a:pt x="1698" y="774"/>
                  </a:lnTo>
                  <a:lnTo>
                    <a:pt x="1692" y="780"/>
                  </a:lnTo>
                  <a:lnTo>
                    <a:pt x="1692" y="786"/>
                  </a:lnTo>
                  <a:lnTo>
                    <a:pt x="1686" y="786"/>
                  </a:lnTo>
                  <a:lnTo>
                    <a:pt x="1668" y="798"/>
                  </a:lnTo>
                  <a:lnTo>
                    <a:pt x="1662" y="810"/>
                  </a:lnTo>
                  <a:lnTo>
                    <a:pt x="1650" y="810"/>
                  </a:lnTo>
                  <a:lnTo>
                    <a:pt x="1644" y="816"/>
                  </a:lnTo>
                  <a:lnTo>
                    <a:pt x="1638" y="816"/>
                  </a:lnTo>
                  <a:lnTo>
                    <a:pt x="1626" y="852"/>
                  </a:lnTo>
                  <a:lnTo>
                    <a:pt x="1620" y="888"/>
                  </a:lnTo>
                  <a:lnTo>
                    <a:pt x="1626" y="888"/>
                  </a:lnTo>
                  <a:lnTo>
                    <a:pt x="1638" y="912"/>
                  </a:lnTo>
                  <a:lnTo>
                    <a:pt x="1644" y="918"/>
                  </a:lnTo>
                  <a:lnTo>
                    <a:pt x="1650" y="966"/>
                  </a:lnTo>
                  <a:lnTo>
                    <a:pt x="1626" y="972"/>
                  </a:lnTo>
                  <a:lnTo>
                    <a:pt x="1608" y="978"/>
                  </a:lnTo>
                  <a:lnTo>
                    <a:pt x="1614" y="984"/>
                  </a:lnTo>
                  <a:lnTo>
                    <a:pt x="1620" y="984"/>
                  </a:lnTo>
                  <a:lnTo>
                    <a:pt x="1620" y="1020"/>
                  </a:lnTo>
                  <a:lnTo>
                    <a:pt x="1614" y="1038"/>
                  </a:lnTo>
                  <a:lnTo>
                    <a:pt x="1620" y="1044"/>
                  </a:lnTo>
                  <a:lnTo>
                    <a:pt x="1626" y="1056"/>
                  </a:lnTo>
                  <a:lnTo>
                    <a:pt x="1626" y="1074"/>
                  </a:lnTo>
                  <a:lnTo>
                    <a:pt x="1620" y="1080"/>
                  </a:lnTo>
                  <a:lnTo>
                    <a:pt x="1620" y="1104"/>
                  </a:lnTo>
                  <a:lnTo>
                    <a:pt x="1620" y="1110"/>
                  </a:lnTo>
                  <a:lnTo>
                    <a:pt x="1614" y="1116"/>
                  </a:lnTo>
                  <a:lnTo>
                    <a:pt x="1608" y="1140"/>
                  </a:lnTo>
                  <a:lnTo>
                    <a:pt x="1602" y="1146"/>
                  </a:lnTo>
                  <a:lnTo>
                    <a:pt x="1602" y="1164"/>
                  </a:lnTo>
                  <a:lnTo>
                    <a:pt x="1596" y="1170"/>
                  </a:lnTo>
                  <a:lnTo>
                    <a:pt x="1590" y="1164"/>
                  </a:lnTo>
                  <a:lnTo>
                    <a:pt x="1584" y="1164"/>
                  </a:lnTo>
                  <a:lnTo>
                    <a:pt x="1578" y="1164"/>
                  </a:lnTo>
                  <a:lnTo>
                    <a:pt x="1578" y="1188"/>
                  </a:lnTo>
                  <a:lnTo>
                    <a:pt x="1584" y="1194"/>
                  </a:lnTo>
                  <a:lnTo>
                    <a:pt x="1590" y="1194"/>
                  </a:lnTo>
                  <a:lnTo>
                    <a:pt x="1590" y="1212"/>
                  </a:lnTo>
                  <a:lnTo>
                    <a:pt x="1584" y="1212"/>
                  </a:lnTo>
                  <a:lnTo>
                    <a:pt x="1584" y="1224"/>
                  </a:lnTo>
                  <a:lnTo>
                    <a:pt x="1578" y="1224"/>
                  </a:lnTo>
                  <a:lnTo>
                    <a:pt x="1578" y="1236"/>
                  </a:lnTo>
                  <a:lnTo>
                    <a:pt x="1584" y="1254"/>
                  </a:lnTo>
                  <a:lnTo>
                    <a:pt x="1584" y="1260"/>
                  </a:lnTo>
                  <a:lnTo>
                    <a:pt x="1590" y="1260"/>
                  </a:lnTo>
                  <a:lnTo>
                    <a:pt x="1590" y="1266"/>
                  </a:lnTo>
                  <a:lnTo>
                    <a:pt x="1596" y="1284"/>
                  </a:lnTo>
                  <a:lnTo>
                    <a:pt x="1602" y="1278"/>
                  </a:lnTo>
                  <a:lnTo>
                    <a:pt x="1608" y="1284"/>
                  </a:lnTo>
                  <a:lnTo>
                    <a:pt x="1632" y="1350"/>
                  </a:lnTo>
                  <a:lnTo>
                    <a:pt x="1638" y="1356"/>
                  </a:lnTo>
                  <a:lnTo>
                    <a:pt x="1644" y="1356"/>
                  </a:lnTo>
                  <a:lnTo>
                    <a:pt x="1650" y="1356"/>
                  </a:lnTo>
                  <a:lnTo>
                    <a:pt x="1656" y="1356"/>
                  </a:lnTo>
                  <a:lnTo>
                    <a:pt x="1662" y="1362"/>
                  </a:lnTo>
                  <a:lnTo>
                    <a:pt x="1668" y="1356"/>
                  </a:lnTo>
                  <a:lnTo>
                    <a:pt x="1668" y="1380"/>
                  </a:lnTo>
                  <a:lnTo>
                    <a:pt x="1662" y="1392"/>
                  </a:lnTo>
                  <a:lnTo>
                    <a:pt x="1656" y="1404"/>
                  </a:lnTo>
                  <a:lnTo>
                    <a:pt x="1656" y="1410"/>
                  </a:lnTo>
                  <a:lnTo>
                    <a:pt x="1656" y="1416"/>
                  </a:lnTo>
                  <a:lnTo>
                    <a:pt x="1650" y="1422"/>
                  </a:lnTo>
                  <a:lnTo>
                    <a:pt x="1650" y="1428"/>
                  </a:lnTo>
                  <a:lnTo>
                    <a:pt x="1644" y="1428"/>
                  </a:lnTo>
                  <a:lnTo>
                    <a:pt x="1644" y="1434"/>
                  </a:lnTo>
                  <a:lnTo>
                    <a:pt x="1638" y="1434"/>
                  </a:lnTo>
                  <a:lnTo>
                    <a:pt x="1638" y="1440"/>
                  </a:lnTo>
                  <a:lnTo>
                    <a:pt x="1632" y="1440"/>
                  </a:lnTo>
                  <a:lnTo>
                    <a:pt x="1638" y="145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8" name="Freeform 13">
              <a:extLst>
                <a:ext uri="{FF2B5EF4-FFF2-40B4-BE49-F238E27FC236}">
                  <a16:creationId xmlns:a16="http://schemas.microsoft.com/office/drawing/2014/main" id="{66308D9B-1739-4227-AAC3-BB866CD1F5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63374" y="2969626"/>
              <a:ext cx="330956" cy="357840"/>
            </a:xfrm>
            <a:custGeom>
              <a:avLst/>
              <a:gdLst>
                <a:gd name="T0" fmla="*/ 11 w 624"/>
                <a:gd name="T1" fmla="*/ 59 h 672"/>
                <a:gd name="T2" fmla="*/ 4 w 624"/>
                <a:gd name="T3" fmla="*/ 58 h 672"/>
                <a:gd name="T4" fmla="*/ 3 w 624"/>
                <a:gd name="T5" fmla="*/ 58 h 672"/>
                <a:gd name="T6" fmla="*/ 2 w 624"/>
                <a:gd name="T7" fmla="*/ 11 h 672"/>
                <a:gd name="T8" fmla="*/ 13 w 624"/>
                <a:gd name="T9" fmla="*/ 11 h 672"/>
                <a:gd name="T10" fmla="*/ 14 w 624"/>
                <a:gd name="T11" fmla="*/ 11 h 672"/>
                <a:gd name="T12" fmla="*/ 15 w 624"/>
                <a:gd name="T13" fmla="*/ 12 h 672"/>
                <a:gd name="T14" fmla="*/ 18 w 624"/>
                <a:gd name="T15" fmla="*/ 14 h 672"/>
                <a:gd name="T16" fmla="*/ 21 w 624"/>
                <a:gd name="T17" fmla="*/ 16 h 672"/>
                <a:gd name="T18" fmla="*/ 22 w 624"/>
                <a:gd name="T19" fmla="*/ 18 h 672"/>
                <a:gd name="T20" fmla="*/ 23 w 624"/>
                <a:gd name="T21" fmla="*/ 19 h 672"/>
                <a:gd name="T22" fmla="*/ 24 w 624"/>
                <a:gd name="T23" fmla="*/ 19 h 672"/>
                <a:gd name="T24" fmla="*/ 26 w 624"/>
                <a:gd name="T25" fmla="*/ 19 h 672"/>
                <a:gd name="T26" fmla="*/ 27 w 624"/>
                <a:gd name="T27" fmla="*/ 18 h 672"/>
                <a:gd name="T28" fmla="*/ 29 w 624"/>
                <a:gd name="T29" fmla="*/ 15 h 672"/>
                <a:gd name="T30" fmla="*/ 30 w 624"/>
                <a:gd name="T31" fmla="*/ 14 h 672"/>
                <a:gd name="T32" fmla="*/ 31 w 624"/>
                <a:gd name="T33" fmla="*/ 12 h 672"/>
                <a:gd name="T34" fmla="*/ 32 w 624"/>
                <a:gd name="T35" fmla="*/ 12 h 672"/>
                <a:gd name="T36" fmla="*/ 33 w 624"/>
                <a:gd name="T37" fmla="*/ 10 h 672"/>
                <a:gd name="T38" fmla="*/ 34 w 624"/>
                <a:gd name="T39" fmla="*/ 8 h 672"/>
                <a:gd name="T40" fmla="*/ 34 w 624"/>
                <a:gd name="T41" fmla="*/ 6 h 672"/>
                <a:gd name="T42" fmla="*/ 35 w 624"/>
                <a:gd name="T43" fmla="*/ 4 h 672"/>
                <a:gd name="T44" fmla="*/ 42 w 624"/>
                <a:gd name="T45" fmla="*/ 3 h 672"/>
                <a:gd name="T46" fmla="*/ 44 w 624"/>
                <a:gd name="T47" fmla="*/ 2 h 672"/>
                <a:gd name="T48" fmla="*/ 46 w 624"/>
                <a:gd name="T49" fmla="*/ 0 h 672"/>
                <a:gd name="T50" fmla="*/ 51 w 624"/>
                <a:gd name="T51" fmla="*/ 3 h 672"/>
                <a:gd name="T52" fmla="*/ 54 w 624"/>
                <a:gd name="T53" fmla="*/ 6 h 672"/>
                <a:gd name="T54" fmla="*/ 54 w 624"/>
                <a:gd name="T55" fmla="*/ 8 h 672"/>
                <a:gd name="T56" fmla="*/ 52 w 624"/>
                <a:gd name="T57" fmla="*/ 9 h 672"/>
                <a:gd name="T58" fmla="*/ 49 w 624"/>
                <a:gd name="T59" fmla="*/ 11 h 672"/>
                <a:gd name="T60" fmla="*/ 48 w 624"/>
                <a:gd name="T61" fmla="*/ 14 h 672"/>
                <a:gd name="T62" fmla="*/ 46 w 624"/>
                <a:gd name="T63" fmla="*/ 22 h 672"/>
                <a:gd name="T64" fmla="*/ 45 w 624"/>
                <a:gd name="T65" fmla="*/ 39 h 672"/>
                <a:gd name="T66" fmla="*/ 43 w 624"/>
                <a:gd name="T67" fmla="*/ 43 h 672"/>
                <a:gd name="T68" fmla="*/ 39 w 624"/>
                <a:gd name="T69" fmla="*/ 50 h 672"/>
                <a:gd name="T70" fmla="*/ 36 w 624"/>
                <a:gd name="T71" fmla="*/ 53 h 672"/>
                <a:gd name="T72" fmla="*/ 32 w 624"/>
                <a:gd name="T73" fmla="*/ 56 h 672"/>
                <a:gd name="T74" fmla="*/ 30 w 624"/>
                <a:gd name="T75" fmla="*/ 58 h 672"/>
                <a:gd name="T76" fmla="*/ 20 w 624"/>
                <a:gd name="T77" fmla="*/ 59 h 672"/>
                <a:gd name="T78" fmla="*/ 15 w 624"/>
                <a:gd name="T79" fmla="*/ 59 h 67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24"/>
                <a:gd name="T121" fmla="*/ 0 h 672"/>
                <a:gd name="T122" fmla="*/ 624 w 624"/>
                <a:gd name="T123" fmla="*/ 672 h 67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24" h="672">
                  <a:moveTo>
                    <a:pt x="168" y="672"/>
                  </a:moveTo>
                  <a:lnTo>
                    <a:pt x="132" y="672"/>
                  </a:lnTo>
                  <a:lnTo>
                    <a:pt x="72" y="666"/>
                  </a:lnTo>
                  <a:lnTo>
                    <a:pt x="42" y="666"/>
                  </a:lnTo>
                  <a:lnTo>
                    <a:pt x="36" y="666"/>
                  </a:lnTo>
                  <a:lnTo>
                    <a:pt x="30" y="660"/>
                  </a:lnTo>
                  <a:lnTo>
                    <a:pt x="0" y="660"/>
                  </a:lnTo>
                  <a:lnTo>
                    <a:pt x="24" y="120"/>
                  </a:lnTo>
                  <a:lnTo>
                    <a:pt x="60" y="120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62" y="120"/>
                  </a:lnTo>
                  <a:lnTo>
                    <a:pt x="168" y="120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10" y="156"/>
                  </a:lnTo>
                  <a:lnTo>
                    <a:pt x="222" y="174"/>
                  </a:lnTo>
                  <a:lnTo>
                    <a:pt x="240" y="186"/>
                  </a:lnTo>
                  <a:lnTo>
                    <a:pt x="252" y="198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216"/>
                  </a:lnTo>
                  <a:lnTo>
                    <a:pt x="270" y="216"/>
                  </a:lnTo>
                  <a:lnTo>
                    <a:pt x="282" y="222"/>
                  </a:lnTo>
                  <a:lnTo>
                    <a:pt x="288" y="222"/>
                  </a:lnTo>
                  <a:lnTo>
                    <a:pt x="294" y="216"/>
                  </a:lnTo>
                  <a:lnTo>
                    <a:pt x="294" y="210"/>
                  </a:lnTo>
                  <a:lnTo>
                    <a:pt x="312" y="204"/>
                  </a:lnTo>
                  <a:lnTo>
                    <a:pt x="330" y="186"/>
                  </a:lnTo>
                  <a:lnTo>
                    <a:pt x="336" y="174"/>
                  </a:lnTo>
                  <a:lnTo>
                    <a:pt x="342" y="162"/>
                  </a:lnTo>
                  <a:lnTo>
                    <a:pt x="342" y="156"/>
                  </a:lnTo>
                  <a:lnTo>
                    <a:pt x="348" y="150"/>
                  </a:lnTo>
                  <a:lnTo>
                    <a:pt x="354" y="144"/>
                  </a:lnTo>
                  <a:lnTo>
                    <a:pt x="360" y="138"/>
                  </a:lnTo>
                  <a:lnTo>
                    <a:pt x="366" y="132"/>
                  </a:lnTo>
                  <a:lnTo>
                    <a:pt x="372" y="114"/>
                  </a:lnTo>
                  <a:lnTo>
                    <a:pt x="378" y="114"/>
                  </a:lnTo>
                  <a:lnTo>
                    <a:pt x="378" y="96"/>
                  </a:lnTo>
                  <a:lnTo>
                    <a:pt x="390" y="96"/>
                  </a:lnTo>
                  <a:lnTo>
                    <a:pt x="396" y="84"/>
                  </a:lnTo>
                  <a:lnTo>
                    <a:pt x="396" y="72"/>
                  </a:lnTo>
                  <a:lnTo>
                    <a:pt x="396" y="54"/>
                  </a:lnTo>
                  <a:lnTo>
                    <a:pt x="408" y="42"/>
                  </a:lnTo>
                  <a:lnTo>
                    <a:pt x="468" y="42"/>
                  </a:lnTo>
                  <a:lnTo>
                    <a:pt x="486" y="36"/>
                  </a:lnTo>
                  <a:lnTo>
                    <a:pt x="492" y="24"/>
                  </a:lnTo>
                  <a:lnTo>
                    <a:pt x="504" y="24"/>
                  </a:lnTo>
                  <a:lnTo>
                    <a:pt x="516" y="6"/>
                  </a:lnTo>
                  <a:lnTo>
                    <a:pt x="528" y="0"/>
                  </a:lnTo>
                  <a:lnTo>
                    <a:pt x="558" y="12"/>
                  </a:lnTo>
                  <a:lnTo>
                    <a:pt x="588" y="36"/>
                  </a:lnTo>
                  <a:lnTo>
                    <a:pt x="600" y="66"/>
                  </a:lnTo>
                  <a:lnTo>
                    <a:pt x="624" y="66"/>
                  </a:lnTo>
                  <a:lnTo>
                    <a:pt x="624" y="90"/>
                  </a:lnTo>
                  <a:lnTo>
                    <a:pt x="618" y="90"/>
                  </a:lnTo>
                  <a:lnTo>
                    <a:pt x="618" y="96"/>
                  </a:lnTo>
                  <a:lnTo>
                    <a:pt x="600" y="102"/>
                  </a:lnTo>
                  <a:lnTo>
                    <a:pt x="588" y="108"/>
                  </a:lnTo>
                  <a:lnTo>
                    <a:pt x="570" y="120"/>
                  </a:lnTo>
                  <a:lnTo>
                    <a:pt x="564" y="138"/>
                  </a:lnTo>
                  <a:lnTo>
                    <a:pt x="558" y="162"/>
                  </a:lnTo>
                  <a:lnTo>
                    <a:pt x="540" y="210"/>
                  </a:lnTo>
                  <a:lnTo>
                    <a:pt x="528" y="252"/>
                  </a:lnTo>
                  <a:lnTo>
                    <a:pt x="528" y="402"/>
                  </a:lnTo>
                  <a:lnTo>
                    <a:pt x="522" y="444"/>
                  </a:lnTo>
                  <a:lnTo>
                    <a:pt x="510" y="468"/>
                  </a:lnTo>
                  <a:lnTo>
                    <a:pt x="498" y="498"/>
                  </a:lnTo>
                  <a:lnTo>
                    <a:pt x="474" y="534"/>
                  </a:lnTo>
                  <a:lnTo>
                    <a:pt x="456" y="570"/>
                  </a:lnTo>
                  <a:lnTo>
                    <a:pt x="444" y="576"/>
                  </a:lnTo>
                  <a:lnTo>
                    <a:pt x="420" y="606"/>
                  </a:lnTo>
                  <a:lnTo>
                    <a:pt x="390" y="624"/>
                  </a:lnTo>
                  <a:lnTo>
                    <a:pt x="372" y="642"/>
                  </a:lnTo>
                  <a:lnTo>
                    <a:pt x="366" y="654"/>
                  </a:lnTo>
                  <a:lnTo>
                    <a:pt x="342" y="660"/>
                  </a:lnTo>
                  <a:lnTo>
                    <a:pt x="300" y="666"/>
                  </a:lnTo>
                  <a:lnTo>
                    <a:pt x="234" y="672"/>
                  </a:lnTo>
                  <a:lnTo>
                    <a:pt x="192" y="672"/>
                  </a:lnTo>
                  <a:lnTo>
                    <a:pt x="168" y="67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9" name="Freeform 14">
              <a:extLst>
                <a:ext uri="{FF2B5EF4-FFF2-40B4-BE49-F238E27FC236}">
                  <a16:creationId xmlns:a16="http://schemas.microsoft.com/office/drawing/2014/main" id="{2EA1E999-9CDF-4391-8BC9-7DE71AF9C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0460" y="2983045"/>
              <a:ext cx="905658" cy="561362"/>
            </a:xfrm>
            <a:custGeom>
              <a:avLst/>
              <a:gdLst>
                <a:gd name="T0" fmla="*/ 31 w 1704"/>
                <a:gd name="T1" fmla="*/ 78 h 1056"/>
                <a:gd name="T2" fmla="*/ 23 w 1704"/>
                <a:gd name="T3" fmla="*/ 78 h 1056"/>
                <a:gd name="T4" fmla="*/ 11 w 1704"/>
                <a:gd name="T5" fmla="*/ 79 h 1056"/>
                <a:gd name="T6" fmla="*/ 1 w 1704"/>
                <a:gd name="T7" fmla="*/ 81 h 1056"/>
                <a:gd name="T8" fmla="*/ 0 w 1704"/>
                <a:gd name="T9" fmla="*/ 62 h 1056"/>
                <a:gd name="T10" fmla="*/ 9 w 1704"/>
                <a:gd name="T11" fmla="*/ 56 h 1056"/>
                <a:gd name="T12" fmla="*/ 27 w 1704"/>
                <a:gd name="T13" fmla="*/ 48 h 1056"/>
                <a:gd name="T14" fmla="*/ 35 w 1704"/>
                <a:gd name="T15" fmla="*/ 20 h 1056"/>
                <a:gd name="T16" fmla="*/ 43 w 1704"/>
                <a:gd name="T17" fmla="*/ 6 h 1056"/>
                <a:gd name="T18" fmla="*/ 47 w 1704"/>
                <a:gd name="T19" fmla="*/ 7 h 1056"/>
                <a:gd name="T20" fmla="*/ 52 w 1704"/>
                <a:gd name="T21" fmla="*/ 0 h 1056"/>
                <a:gd name="T22" fmla="*/ 59 w 1704"/>
                <a:gd name="T23" fmla="*/ 5 h 1056"/>
                <a:gd name="T24" fmla="*/ 63 w 1704"/>
                <a:gd name="T25" fmla="*/ 12 h 1056"/>
                <a:gd name="T26" fmla="*/ 62 w 1704"/>
                <a:gd name="T27" fmla="*/ 15 h 1056"/>
                <a:gd name="T28" fmla="*/ 62 w 1704"/>
                <a:gd name="T29" fmla="*/ 18 h 1056"/>
                <a:gd name="T30" fmla="*/ 70 w 1704"/>
                <a:gd name="T31" fmla="*/ 18 h 1056"/>
                <a:gd name="T32" fmla="*/ 71 w 1704"/>
                <a:gd name="T33" fmla="*/ 14 h 1056"/>
                <a:gd name="T34" fmla="*/ 72 w 1704"/>
                <a:gd name="T35" fmla="*/ 12 h 1056"/>
                <a:gd name="T36" fmla="*/ 78 w 1704"/>
                <a:gd name="T37" fmla="*/ 14 h 1056"/>
                <a:gd name="T38" fmla="*/ 85 w 1704"/>
                <a:gd name="T39" fmla="*/ 21 h 1056"/>
                <a:gd name="T40" fmla="*/ 91 w 1704"/>
                <a:gd name="T41" fmla="*/ 15 h 1056"/>
                <a:gd name="T42" fmla="*/ 93 w 1704"/>
                <a:gd name="T43" fmla="*/ 10 h 1056"/>
                <a:gd name="T44" fmla="*/ 101 w 1704"/>
                <a:gd name="T45" fmla="*/ 14 h 1056"/>
                <a:gd name="T46" fmla="*/ 103 w 1704"/>
                <a:gd name="T47" fmla="*/ 19 h 1056"/>
                <a:gd name="T48" fmla="*/ 115 w 1704"/>
                <a:gd name="T49" fmla="*/ 20 h 1056"/>
                <a:gd name="T50" fmla="*/ 118 w 1704"/>
                <a:gd name="T51" fmla="*/ 23 h 1056"/>
                <a:gd name="T52" fmla="*/ 117 w 1704"/>
                <a:gd name="T53" fmla="*/ 27 h 1056"/>
                <a:gd name="T54" fmla="*/ 111 w 1704"/>
                <a:gd name="T55" fmla="*/ 33 h 1056"/>
                <a:gd name="T56" fmla="*/ 108 w 1704"/>
                <a:gd name="T57" fmla="*/ 36 h 1056"/>
                <a:gd name="T58" fmla="*/ 109 w 1704"/>
                <a:gd name="T59" fmla="*/ 40 h 1056"/>
                <a:gd name="T60" fmla="*/ 111 w 1704"/>
                <a:gd name="T61" fmla="*/ 43 h 1056"/>
                <a:gd name="T62" fmla="*/ 113 w 1704"/>
                <a:gd name="T63" fmla="*/ 50 h 1056"/>
                <a:gd name="T64" fmla="*/ 121 w 1704"/>
                <a:gd name="T65" fmla="*/ 55 h 1056"/>
                <a:gd name="T66" fmla="*/ 132 w 1704"/>
                <a:gd name="T67" fmla="*/ 52 h 1056"/>
                <a:gd name="T68" fmla="*/ 148 w 1704"/>
                <a:gd name="T69" fmla="*/ 58 h 1056"/>
                <a:gd name="T70" fmla="*/ 148 w 1704"/>
                <a:gd name="T71" fmla="*/ 61 h 1056"/>
                <a:gd name="T72" fmla="*/ 148 w 1704"/>
                <a:gd name="T73" fmla="*/ 64 h 1056"/>
                <a:gd name="T74" fmla="*/ 135 w 1704"/>
                <a:gd name="T75" fmla="*/ 61 h 1056"/>
                <a:gd name="T76" fmla="*/ 135 w 1704"/>
                <a:gd name="T77" fmla="*/ 66 h 1056"/>
                <a:gd name="T78" fmla="*/ 137 w 1704"/>
                <a:gd name="T79" fmla="*/ 71 h 1056"/>
                <a:gd name="T80" fmla="*/ 136 w 1704"/>
                <a:gd name="T81" fmla="*/ 79 h 1056"/>
                <a:gd name="T82" fmla="*/ 126 w 1704"/>
                <a:gd name="T83" fmla="*/ 84 h 1056"/>
                <a:gd name="T84" fmla="*/ 121 w 1704"/>
                <a:gd name="T85" fmla="*/ 79 h 1056"/>
                <a:gd name="T86" fmla="*/ 117 w 1704"/>
                <a:gd name="T87" fmla="*/ 75 h 1056"/>
                <a:gd name="T88" fmla="*/ 98 w 1704"/>
                <a:gd name="T89" fmla="*/ 74 h 1056"/>
                <a:gd name="T90" fmla="*/ 81 w 1704"/>
                <a:gd name="T91" fmla="*/ 75 h 1056"/>
                <a:gd name="T92" fmla="*/ 83 w 1704"/>
                <a:gd name="T93" fmla="*/ 88 h 1056"/>
                <a:gd name="T94" fmla="*/ 82 w 1704"/>
                <a:gd name="T95" fmla="*/ 91 h 1056"/>
                <a:gd name="T96" fmla="*/ 77 w 1704"/>
                <a:gd name="T97" fmla="*/ 90 h 1056"/>
                <a:gd name="T98" fmla="*/ 73 w 1704"/>
                <a:gd name="T99" fmla="*/ 86 h 1056"/>
                <a:gd name="T100" fmla="*/ 68 w 1704"/>
                <a:gd name="T101" fmla="*/ 85 h 1056"/>
                <a:gd name="T102" fmla="*/ 64 w 1704"/>
                <a:gd name="T103" fmla="*/ 83 h 1056"/>
                <a:gd name="T104" fmla="*/ 57 w 1704"/>
                <a:gd name="T105" fmla="*/ 81 h 1056"/>
                <a:gd name="T106" fmla="*/ 52 w 1704"/>
                <a:gd name="T107" fmla="*/ 80 h 1056"/>
                <a:gd name="T108" fmla="*/ 50 w 1704"/>
                <a:gd name="T109" fmla="*/ 80 h 1056"/>
                <a:gd name="T110" fmla="*/ 46 w 1704"/>
                <a:gd name="T111" fmla="*/ 79 h 1056"/>
                <a:gd name="T112" fmla="*/ 41 w 1704"/>
                <a:gd name="T113" fmla="*/ 78 h 10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04"/>
                <a:gd name="T172" fmla="*/ 0 h 1056"/>
                <a:gd name="T173" fmla="*/ 1704 w 1704"/>
                <a:gd name="T174" fmla="*/ 1056 h 10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04" h="1056">
                  <a:moveTo>
                    <a:pt x="450" y="888"/>
                  </a:moveTo>
                  <a:lnTo>
                    <a:pt x="420" y="888"/>
                  </a:lnTo>
                  <a:lnTo>
                    <a:pt x="414" y="888"/>
                  </a:lnTo>
                  <a:lnTo>
                    <a:pt x="396" y="888"/>
                  </a:lnTo>
                  <a:lnTo>
                    <a:pt x="372" y="888"/>
                  </a:lnTo>
                  <a:lnTo>
                    <a:pt x="366" y="888"/>
                  </a:lnTo>
                  <a:lnTo>
                    <a:pt x="360" y="888"/>
                  </a:lnTo>
                  <a:lnTo>
                    <a:pt x="348" y="888"/>
                  </a:lnTo>
                  <a:lnTo>
                    <a:pt x="330" y="894"/>
                  </a:lnTo>
                  <a:lnTo>
                    <a:pt x="324" y="894"/>
                  </a:lnTo>
                  <a:lnTo>
                    <a:pt x="312" y="888"/>
                  </a:lnTo>
                  <a:lnTo>
                    <a:pt x="300" y="888"/>
                  </a:lnTo>
                  <a:lnTo>
                    <a:pt x="282" y="888"/>
                  </a:lnTo>
                  <a:lnTo>
                    <a:pt x="270" y="888"/>
                  </a:lnTo>
                  <a:lnTo>
                    <a:pt x="240" y="882"/>
                  </a:lnTo>
                  <a:lnTo>
                    <a:pt x="222" y="882"/>
                  </a:lnTo>
                  <a:lnTo>
                    <a:pt x="198" y="882"/>
                  </a:lnTo>
                  <a:lnTo>
                    <a:pt x="174" y="894"/>
                  </a:lnTo>
                  <a:lnTo>
                    <a:pt x="162" y="900"/>
                  </a:lnTo>
                  <a:lnTo>
                    <a:pt x="144" y="906"/>
                  </a:lnTo>
                  <a:lnTo>
                    <a:pt x="126" y="912"/>
                  </a:lnTo>
                  <a:lnTo>
                    <a:pt x="102" y="924"/>
                  </a:lnTo>
                  <a:lnTo>
                    <a:pt x="78" y="930"/>
                  </a:lnTo>
                  <a:lnTo>
                    <a:pt x="72" y="936"/>
                  </a:lnTo>
                  <a:lnTo>
                    <a:pt x="30" y="954"/>
                  </a:lnTo>
                  <a:lnTo>
                    <a:pt x="12" y="966"/>
                  </a:lnTo>
                  <a:lnTo>
                    <a:pt x="12" y="954"/>
                  </a:lnTo>
                  <a:lnTo>
                    <a:pt x="12" y="930"/>
                  </a:lnTo>
                  <a:lnTo>
                    <a:pt x="12" y="894"/>
                  </a:lnTo>
                  <a:lnTo>
                    <a:pt x="30" y="828"/>
                  </a:lnTo>
                  <a:lnTo>
                    <a:pt x="36" y="798"/>
                  </a:lnTo>
                  <a:lnTo>
                    <a:pt x="18" y="774"/>
                  </a:lnTo>
                  <a:lnTo>
                    <a:pt x="18" y="756"/>
                  </a:lnTo>
                  <a:lnTo>
                    <a:pt x="6" y="738"/>
                  </a:lnTo>
                  <a:lnTo>
                    <a:pt x="0" y="714"/>
                  </a:lnTo>
                  <a:lnTo>
                    <a:pt x="12" y="678"/>
                  </a:lnTo>
                  <a:lnTo>
                    <a:pt x="18" y="678"/>
                  </a:lnTo>
                  <a:lnTo>
                    <a:pt x="24" y="672"/>
                  </a:lnTo>
                  <a:lnTo>
                    <a:pt x="30" y="666"/>
                  </a:lnTo>
                  <a:lnTo>
                    <a:pt x="42" y="648"/>
                  </a:lnTo>
                  <a:lnTo>
                    <a:pt x="66" y="648"/>
                  </a:lnTo>
                  <a:lnTo>
                    <a:pt x="108" y="648"/>
                  </a:lnTo>
                  <a:lnTo>
                    <a:pt x="174" y="642"/>
                  </a:lnTo>
                  <a:lnTo>
                    <a:pt x="216" y="636"/>
                  </a:lnTo>
                  <a:lnTo>
                    <a:pt x="240" y="630"/>
                  </a:lnTo>
                  <a:lnTo>
                    <a:pt x="246" y="618"/>
                  </a:lnTo>
                  <a:lnTo>
                    <a:pt x="264" y="600"/>
                  </a:lnTo>
                  <a:lnTo>
                    <a:pt x="294" y="582"/>
                  </a:lnTo>
                  <a:lnTo>
                    <a:pt x="318" y="552"/>
                  </a:lnTo>
                  <a:lnTo>
                    <a:pt x="330" y="546"/>
                  </a:lnTo>
                  <a:lnTo>
                    <a:pt x="348" y="510"/>
                  </a:lnTo>
                  <a:lnTo>
                    <a:pt x="372" y="474"/>
                  </a:lnTo>
                  <a:lnTo>
                    <a:pt x="384" y="444"/>
                  </a:lnTo>
                  <a:lnTo>
                    <a:pt x="396" y="420"/>
                  </a:lnTo>
                  <a:lnTo>
                    <a:pt x="402" y="378"/>
                  </a:lnTo>
                  <a:lnTo>
                    <a:pt x="402" y="228"/>
                  </a:lnTo>
                  <a:lnTo>
                    <a:pt x="414" y="186"/>
                  </a:lnTo>
                  <a:lnTo>
                    <a:pt x="432" y="138"/>
                  </a:lnTo>
                  <a:lnTo>
                    <a:pt x="438" y="114"/>
                  </a:lnTo>
                  <a:lnTo>
                    <a:pt x="444" y="96"/>
                  </a:lnTo>
                  <a:lnTo>
                    <a:pt x="462" y="84"/>
                  </a:lnTo>
                  <a:lnTo>
                    <a:pt x="474" y="78"/>
                  </a:lnTo>
                  <a:lnTo>
                    <a:pt x="492" y="72"/>
                  </a:lnTo>
                  <a:lnTo>
                    <a:pt x="492" y="66"/>
                  </a:lnTo>
                  <a:lnTo>
                    <a:pt x="498" y="66"/>
                  </a:lnTo>
                  <a:lnTo>
                    <a:pt x="510" y="66"/>
                  </a:lnTo>
                  <a:lnTo>
                    <a:pt x="510" y="72"/>
                  </a:lnTo>
                  <a:lnTo>
                    <a:pt x="516" y="72"/>
                  </a:lnTo>
                  <a:lnTo>
                    <a:pt x="522" y="78"/>
                  </a:lnTo>
                  <a:lnTo>
                    <a:pt x="546" y="78"/>
                  </a:lnTo>
                  <a:lnTo>
                    <a:pt x="552" y="60"/>
                  </a:lnTo>
                  <a:lnTo>
                    <a:pt x="570" y="42"/>
                  </a:lnTo>
                  <a:lnTo>
                    <a:pt x="576" y="24"/>
                  </a:lnTo>
                  <a:lnTo>
                    <a:pt x="588" y="18"/>
                  </a:lnTo>
                  <a:lnTo>
                    <a:pt x="588" y="12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624" y="0"/>
                  </a:lnTo>
                  <a:lnTo>
                    <a:pt x="636" y="6"/>
                  </a:lnTo>
                  <a:lnTo>
                    <a:pt x="648" y="24"/>
                  </a:lnTo>
                  <a:lnTo>
                    <a:pt x="654" y="48"/>
                  </a:lnTo>
                  <a:lnTo>
                    <a:pt x="672" y="60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0" y="72"/>
                  </a:lnTo>
                  <a:lnTo>
                    <a:pt x="690" y="78"/>
                  </a:lnTo>
                  <a:lnTo>
                    <a:pt x="696" y="90"/>
                  </a:lnTo>
                  <a:lnTo>
                    <a:pt x="714" y="114"/>
                  </a:lnTo>
                  <a:lnTo>
                    <a:pt x="714" y="120"/>
                  </a:lnTo>
                  <a:lnTo>
                    <a:pt x="720" y="132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20" y="150"/>
                  </a:lnTo>
                  <a:lnTo>
                    <a:pt x="714" y="150"/>
                  </a:lnTo>
                  <a:lnTo>
                    <a:pt x="714" y="156"/>
                  </a:lnTo>
                  <a:lnTo>
                    <a:pt x="714" y="162"/>
                  </a:lnTo>
                  <a:lnTo>
                    <a:pt x="708" y="162"/>
                  </a:lnTo>
                  <a:lnTo>
                    <a:pt x="708" y="168"/>
                  </a:lnTo>
                  <a:lnTo>
                    <a:pt x="702" y="168"/>
                  </a:lnTo>
                  <a:lnTo>
                    <a:pt x="702" y="174"/>
                  </a:lnTo>
                  <a:lnTo>
                    <a:pt x="702" y="180"/>
                  </a:lnTo>
                  <a:lnTo>
                    <a:pt x="708" y="180"/>
                  </a:lnTo>
                  <a:lnTo>
                    <a:pt x="708" y="186"/>
                  </a:lnTo>
                  <a:lnTo>
                    <a:pt x="708" y="192"/>
                  </a:lnTo>
                  <a:lnTo>
                    <a:pt x="714" y="204"/>
                  </a:lnTo>
                  <a:lnTo>
                    <a:pt x="726" y="216"/>
                  </a:lnTo>
                  <a:lnTo>
                    <a:pt x="738" y="216"/>
                  </a:lnTo>
                  <a:lnTo>
                    <a:pt x="768" y="222"/>
                  </a:lnTo>
                  <a:lnTo>
                    <a:pt x="780" y="216"/>
                  </a:lnTo>
                  <a:lnTo>
                    <a:pt x="792" y="204"/>
                  </a:lnTo>
                  <a:lnTo>
                    <a:pt x="798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6" y="192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6" y="174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22" y="156"/>
                  </a:lnTo>
                  <a:lnTo>
                    <a:pt x="822" y="150"/>
                  </a:lnTo>
                  <a:lnTo>
                    <a:pt x="828" y="144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8" y="138"/>
                  </a:lnTo>
                  <a:lnTo>
                    <a:pt x="834" y="132"/>
                  </a:lnTo>
                  <a:lnTo>
                    <a:pt x="840" y="132"/>
                  </a:lnTo>
                  <a:lnTo>
                    <a:pt x="864" y="126"/>
                  </a:lnTo>
                  <a:lnTo>
                    <a:pt x="906" y="144"/>
                  </a:lnTo>
                  <a:lnTo>
                    <a:pt x="906" y="150"/>
                  </a:lnTo>
                  <a:lnTo>
                    <a:pt x="906" y="156"/>
                  </a:lnTo>
                  <a:lnTo>
                    <a:pt x="900" y="162"/>
                  </a:lnTo>
                  <a:lnTo>
                    <a:pt x="924" y="168"/>
                  </a:lnTo>
                  <a:lnTo>
                    <a:pt x="942" y="192"/>
                  </a:lnTo>
                  <a:lnTo>
                    <a:pt x="972" y="210"/>
                  </a:lnTo>
                  <a:lnTo>
                    <a:pt x="972" y="216"/>
                  </a:lnTo>
                  <a:lnTo>
                    <a:pt x="972" y="228"/>
                  </a:lnTo>
                  <a:lnTo>
                    <a:pt x="978" y="234"/>
                  </a:lnTo>
                  <a:lnTo>
                    <a:pt x="978" y="246"/>
                  </a:lnTo>
                  <a:lnTo>
                    <a:pt x="984" y="252"/>
                  </a:lnTo>
                  <a:lnTo>
                    <a:pt x="1014" y="252"/>
                  </a:lnTo>
                  <a:lnTo>
                    <a:pt x="1020" y="228"/>
                  </a:lnTo>
                  <a:lnTo>
                    <a:pt x="1026" y="198"/>
                  </a:lnTo>
                  <a:lnTo>
                    <a:pt x="1050" y="186"/>
                  </a:lnTo>
                  <a:lnTo>
                    <a:pt x="1056" y="180"/>
                  </a:lnTo>
                  <a:lnTo>
                    <a:pt x="1050" y="174"/>
                  </a:lnTo>
                  <a:lnTo>
                    <a:pt x="1050" y="168"/>
                  </a:lnTo>
                  <a:lnTo>
                    <a:pt x="1050" y="162"/>
                  </a:lnTo>
                  <a:lnTo>
                    <a:pt x="1056" y="162"/>
                  </a:lnTo>
                  <a:lnTo>
                    <a:pt x="1062" y="162"/>
                  </a:lnTo>
                  <a:lnTo>
                    <a:pt x="1074" y="162"/>
                  </a:lnTo>
                  <a:lnTo>
                    <a:pt x="1074" y="144"/>
                  </a:lnTo>
                  <a:lnTo>
                    <a:pt x="1074" y="120"/>
                  </a:lnTo>
                  <a:lnTo>
                    <a:pt x="1092" y="120"/>
                  </a:lnTo>
                  <a:lnTo>
                    <a:pt x="1098" y="126"/>
                  </a:lnTo>
                  <a:lnTo>
                    <a:pt x="1134" y="132"/>
                  </a:lnTo>
                  <a:lnTo>
                    <a:pt x="1146" y="132"/>
                  </a:lnTo>
                  <a:lnTo>
                    <a:pt x="1158" y="150"/>
                  </a:lnTo>
                  <a:lnTo>
                    <a:pt x="1158" y="156"/>
                  </a:lnTo>
                  <a:lnTo>
                    <a:pt x="1158" y="162"/>
                  </a:lnTo>
                  <a:lnTo>
                    <a:pt x="1158" y="180"/>
                  </a:lnTo>
                  <a:lnTo>
                    <a:pt x="1158" y="186"/>
                  </a:lnTo>
                  <a:lnTo>
                    <a:pt x="1164" y="192"/>
                  </a:lnTo>
                  <a:lnTo>
                    <a:pt x="1176" y="198"/>
                  </a:lnTo>
                  <a:lnTo>
                    <a:pt x="1182" y="198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8"/>
                  </a:lnTo>
                  <a:lnTo>
                    <a:pt x="1188" y="234"/>
                  </a:lnTo>
                  <a:lnTo>
                    <a:pt x="1212" y="234"/>
                  </a:lnTo>
                  <a:lnTo>
                    <a:pt x="1242" y="234"/>
                  </a:lnTo>
                  <a:lnTo>
                    <a:pt x="1248" y="234"/>
                  </a:lnTo>
                  <a:lnTo>
                    <a:pt x="1278" y="240"/>
                  </a:lnTo>
                  <a:lnTo>
                    <a:pt x="1320" y="234"/>
                  </a:lnTo>
                  <a:lnTo>
                    <a:pt x="1332" y="228"/>
                  </a:lnTo>
                  <a:lnTo>
                    <a:pt x="1344" y="228"/>
                  </a:lnTo>
                  <a:lnTo>
                    <a:pt x="1350" y="234"/>
                  </a:lnTo>
                  <a:lnTo>
                    <a:pt x="1350" y="240"/>
                  </a:lnTo>
                  <a:lnTo>
                    <a:pt x="1356" y="246"/>
                  </a:lnTo>
                  <a:lnTo>
                    <a:pt x="1350" y="252"/>
                  </a:lnTo>
                  <a:lnTo>
                    <a:pt x="1356" y="264"/>
                  </a:lnTo>
                  <a:lnTo>
                    <a:pt x="1356" y="270"/>
                  </a:lnTo>
                  <a:lnTo>
                    <a:pt x="1356" y="276"/>
                  </a:lnTo>
                  <a:lnTo>
                    <a:pt x="1356" y="282"/>
                  </a:lnTo>
                  <a:lnTo>
                    <a:pt x="1356" y="288"/>
                  </a:lnTo>
                  <a:lnTo>
                    <a:pt x="1350" y="294"/>
                  </a:lnTo>
                  <a:lnTo>
                    <a:pt x="1344" y="300"/>
                  </a:lnTo>
                  <a:lnTo>
                    <a:pt x="1344" y="306"/>
                  </a:lnTo>
                  <a:lnTo>
                    <a:pt x="1338" y="312"/>
                  </a:lnTo>
                  <a:lnTo>
                    <a:pt x="1326" y="342"/>
                  </a:lnTo>
                  <a:lnTo>
                    <a:pt x="1320" y="348"/>
                  </a:lnTo>
                  <a:lnTo>
                    <a:pt x="1314" y="354"/>
                  </a:lnTo>
                  <a:lnTo>
                    <a:pt x="1290" y="354"/>
                  </a:lnTo>
                  <a:lnTo>
                    <a:pt x="1284" y="360"/>
                  </a:lnTo>
                  <a:lnTo>
                    <a:pt x="1278" y="378"/>
                  </a:lnTo>
                  <a:lnTo>
                    <a:pt x="1278" y="384"/>
                  </a:lnTo>
                  <a:lnTo>
                    <a:pt x="1272" y="390"/>
                  </a:lnTo>
                  <a:lnTo>
                    <a:pt x="1266" y="396"/>
                  </a:lnTo>
                  <a:lnTo>
                    <a:pt x="1260" y="396"/>
                  </a:lnTo>
                  <a:lnTo>
                    <a:pt x="1248" y="402"/>
                  </a:lnTo>
                  <a:lnTo>
                    <a:pt x="1242" y="408"/>
                  </a:lnTo>
                  <a:lnTo>
                    <a:pt x="1242" y="414"/>
                  </a:lnTo>
                  <a:lnTo>
                    <a:pt x="1242" y="420"/>
                  </a:lnTo>
                  <a:lnTo>
                    <a:pt x="1236" y="432"/>
                  </a:lnTo>
                  <a:lnTo>
                    <a:pt x="1242" y="432"/>
                  </a:lnTo>
                  <a:lnTo>
                    <a:pt x="1242" y="444"/>
                  </a:lnTo>
                  <a:lnTo>
                    <a:pt x="1242" y="456"/>
                  </a:lnTo>
                  <a:lnTo>
                    <a:pt x="1248" y="456"/>
                  </a:lnTo>
                  <a:lnTo>
                    <a:pt x="1254" y="462"/>
                  </a:lnTo>
                  <a:lnTo>
                    <a:pt x="1248" y="468"/>
                  </a:lnTo>
                  <a:lnTo>
                    <a:pt x="1254" y="468"/>
                  </a:lnTo>
                  <a:lnTo>
                    <a:pt x="1266" y="474"/>
                  </a:lnTo>
                  <a:lnTo>
                    <a:pt x="1266" y="480"/>
                  </a:lnTo>
                  <a:lnTo>
                    <a:pt x="1266" y="486"/>
                  </a:lnTo>
                  <a:lnTo>
                    <a:pt x="1272" y="486"/>
                  </a:lnTo>
                  <a:lnTo>
                    <a:pt x="1272" y="492"/>
                  </a:lnTo>
                  <a:lnTo>
                    <a:pt x="1290" y="510"/>
                  </a:lnTo>
                  <a:lnTo>
                    <a:pt x="1296" y="516"/>
                  </a:lnTo>
                  <a:lnTo>
                    <a:pt x="1302" y="540"/>
                  </a:lnTo>
                  <a:lnTo>
                    <a:pt x="1302" y="546"/>
                  </a:lnTo>
                  <a:lnTo>
                    <a:pt x="1302" y="558"/>
                  </a:lnTo>
                  <a:lnTo>
                    <a:pt x="1302" y="570"/>
                  </a:lnTo>
                  <a:lnTo>
                    <a:pt x="1302" y="576"/>
                  </a:lnTo>
                  <a:lnTo>
                    <a:pt x="1344" y="570"/>
                  </a:lnTo>
                  <a:lnTo>
                    <a:pt x="1350" y="582"/>
                  </a:lnTo>
                  <a:lnTo>
                    <a:pt x="1368" y="594"/>
                  </a:lnTo>
                  <a:lnTo>
                    <a:pt x="1374" y="600"/>
                  </a:lnTo>
                  <a:lnTo>
                    <a:pt x="1380" y="600"/>
                  </a:lnTo>
                  <a:lnTo>
                    <a:pt x="1380" y="618"/>
                  </a:lnTo>
                  <a:lnTo>
                    <a:pt x="1386" y="624"/>
                  </a:lnTo>
                  <a:lnTo>
                    <a:pt x="1404" y="624"/>
                  </a:lnTo>
                  <a:lnTo>
                    <a:pt x="1410" y="612"/>
                  </a:lnTo>
                  <a:lnTo>
                    <a:pt x="1428" y="606"/>
                  </a:lnTo>
                  <a:lnTo>
                    <a:pt x="1488" y="606"/>
                  </a:lnTo>
                  <a:lnTo>
                    <a:pt x="1506" y="606"/>
                  </a:lnTo>
                  <a:lnTo>
                    <a:pt x="1512" y="600"/>
                  </a:lnTo>
                  <a:lnTo>
                    <a:pt x="1524" y="594"/>
                  </a:lnTo>
                  <a:lnTo>
                    <a:pt x="1554" y="594"/>
                  </a:lnTo>
                  <a:lnTo>
                    <a:pt x="1578" y="606"/>
                  </a:lnTo>
                  <a:lnTo>
                    <a:pt x="1596" y="624"/>
                  </a:lnTo>
                  <a:lnTo>
                    <a:pt x="1650" y="642"/>
                  </a:lnTo>
                  <a:lnTo>
                    <a:pt x="1686" y="648"/>
                  </a:lnTo>
                  <a:lnTo>
                    <a:pt x="1698" y="654"/>
                  </a:lnTo>
                  <a:lnTo>
                    <a:pt x="1698" y="660"/>
                  </a:lnTo>
                  <a:lnTo>
                    <a:pt x="1692" y="666"/>
                  </a:lnTo>
                  <a:lnTo>
                    <a:pt x="1692" y="672"/>
                  </a:lnTo>
                  <a:lnTo>
                    <a:pt x="1698" y="678"/>
                  </a:lnTo>
                  <a:lnTo>
                    <a:pt x="1698" y="684"/>
                  </a:lnTo>
                  <a:lnTo>
                    <a:pt x="1692" y="684"/>
                  </a:lnTo>
                  <a:lnTo>
                    <a:pt x="1692" y="690"/>
                  </a:lnTo>
                  <a:lnTo>
                    <a:pt x="1698" y="696"/>
                  </a:lnTo>
                  <a:lnTo>
                    <a:pt x="1698" y="702"/>
                  </a:lnTo>
                  <a:lnTo>
                    <a:pt x="1698" y="708"/>
                  </a:lnTo>
                  <a:lnTo>
                    <a:pt x="1704" y="714"/>
                  </a:lnTo>
                  <a:lnTo>
                    <a:pt x="1704" y="720"/>
                  </a:lnTo>
                  <a:lnTo>
                    <a:pt x="1704" y="726"/>
                  </a:lnTo>
                  <a:lnTo>
                    <a:pt x="1704" y="732"/>
                  </a:lnTo>
                  <a:lnTo>
                    <a:pt x="1704" y="738"/>
                  </a:lnTo>
                  <a:lnTo>
                    <a:pt x="1698" y="726"/>
                  </a:lnTo>
                  <a:lnTo>
                    <a:pt x="1668" y="720"/>
                  </a:lnTo>
                  <a:lnTo>
                    <a:pt x="1626" y="714"/>
                  </a:lnTo>
                  <a:lnTo>
                    <a:pt x="1614" y="708"/>
                  </a:lnTo>
                  <a:lnTo>
                    <a:pt x="1578" y="696"/>
                  </a:lnTo>
                  <a:lnTo>
                    <a:pt x="1566" y="696"/>
                  </a:lnTo>
                  <a:lnTo>
                    <a:pt x="1548" y="702"/>
                  </a:lnTo>
                  <a:lnTo>
                    <a:pt x="1542" y="714"/>
                  </a:lnTo>
                  <a:lnTo>
                    <a:pt x="1536" y="732"/>
                  </a:lnTo>
                  <a:lnTo>
                    <a:pt x="1530" y="750"/>
                  </a:lnTo>
                  <a:lnTo>
                    <a:pt x="1536" y="750"/>
                  </a:lnTo>
                  <a:lnTo>
                    <a:pt x="1542" y="756"/>
                  </a:lnTo>
                  <a:lnTo>
                    <a:pt x="1542" y="762"/>
                  </a:lnTo>
                  <a:lnTo>
                    <a:pt x="1548" y="762"/>
                  </a:lnTo>
                  <a:lnTo>
                    <a:pt x="1554" y="762"/>
                  </a:lnTo>
                  <a:lnTo>
                    <a:pt x="1554" y="768"/>
                  </a:lnTo>
                  <a:lnTo>
                    <a:pt x="1560" y="774"/>
                  </a:lnTo>
                  <a:lnTo>
                    <a:pt x="1566" y="774"/>
                  </a:lnTo>
                  <a:lnTo>
                    <a:pt x="1584" y="792"/>
                  </a:lnTo>
                  <a:lnTo>
                    <a:pt x="1584" y="810"/>
                  </a:lnTo>
                  <a:lnTo>
                    <a:pt x="1572" y="816"/>
                  </a:lnTo>
                  <a:lnTo>
                    <a:pt x="1578" y="834"/>
                  </a:lnTo>
                  <a:lnTo>
                    <a:pt x="1578" y="846"/>
                  </a:lnTo>
                  <a:lnTo>
                    <a:pt x="1584" y="858"/>
                  </a:lnTo>
                  <a:lnTo>
                    <a:pt x="1590" y="864"/>
                  </a:lnTo>
                  <a:lnTo>
                    <a:pt x="1590" y="876"/>
                  </a:lnTo>
                  <a:lnTo>
                    <a:pt x="1578" y="888"/>
                  </a:lnTo>
                  <a:lnTo>
                    <a:pt x="1560" y="906"/>
                  </a:lnTo>
                  <a:lnTo>
                    <a:pt x="1536" y="930"/>
                  </a:lnTo>
                  <a:lnTo>
                    <a:pt x="1530" y="930"/>
                  </a:lnTo>
                  <a:lnTo>
                    <a:pt x="1506" y="942"/>
                  </a:lnTo>
                  <a:lnTo>
                    <a:pt x="1488" y="948"/>
                  </a:lnTo>
                  <a:lnTo>
                    <a:pt x="1476" y="954"/>
                  </a:lnTo>
                  <a:lnTo>
                    <a:pt x="1458" y="960"/>
                  </a:lnTo>
                  <a:lnTo>
                    <a:pt x="1452" y="966"/>
                  </a:lnTo>
                  <a:lnTo>
                    <a:pt x="1446" y="966"/>
                  </a:lnTo>
                  <a:lnTo>
                    <a:pt x="1434" y="972"/>
                  </a:lnTo>
                  <a:lnTo>
                    <a:pt x="1434" y="954"/>
                  </a:lnTo>
                  <a:lnTo>
                    <a:pt x="1422" y="942"/>
                  </a:lnTo>
                  <a:lnTo>
                    <a:pt x="1398" y="924"/>
                  </a:lnTo>
                  <a:lnTo>
                    <a:pt x="1398" y="912"/>
                  </a:lnTo>
                  <a:lnTo>
                    <a:pt x="1398" y="906"/>
                  </a:lnTo>
                  <a:lnTo>
                    <a:pt x="1398" y="900"/>
                  </a:lnTo>
                  <a:lnTo>
                    <a:pt x="1380" y="900"/>
                  </a:lnTo>
                  <a:lnTo>
                    <a:pt x="1380" y="894"/>
                  </a:lnTo>
                  <a:lnTo>
                    <a:pt x="1368" y="888"/>
                  </a:lnTo>
                  <a:lnTo>
                    <a:pt x="1362" y="882"/>
                  </a:lnTo>
                  <a:lnTo>
                    <a:pt x="1356" y="876"/>
                  </a:lnTo>
                  <a:lnTo>
                    <a:pt x="1350" y="864"/>
                  </a:lnTo>
                  <a:lnTo>
                    <a:pt x="1344" y="858"/>
                  </a:lnTo>
                  <a:lnTo>
                    <a:pt x="1314" y="870"/>
                  </a:lnTo>
                  <a:lnTo>
                    <a:pt x="1272" y="876"/>
                  </a:lnTo>
                  <a:lnTo>
                    <a:pt x="1218" y="870"/>
                  </a:lnTo>
                  <a:lnTo>
                    <a:pt x="1200" y="864"/>
                  </a:lnTo>
                  <a:lnTo>
                    <a:pt x="1182" y="864"/>
                  </a:lnTo>
                  <a:lnTo>
                    <a:pt x="1134" y="858"/>
                  </a:lnTo>
                  <a:lnTo>
                    <a:pt x="1110" y="840"/>
                  </a:lnTo>
                  <a:lnTo>
                    <a:pt x="1086" y="828"/>
                  </a:lnTo>
                  <a:lnTo>
                    <a:pt x="1044" y="816"/>
                  </a:lnTo>
                  <a:lnTo>
                    <a:pt x="1014" y="816"/>
                  </a:lnTo>
                  <a:lnTo>
                    <a:pt x="990" y="822"/>
                  </a:lnTo>
                  <a:lnTo>
                    <a:pt x="948" y="858"/>
                  </a:lnTo>
                  <a:lnTo>
                    <a:pt x="930" y="864"/>
                  </a:lnTo>
                  <a:lnTo>
                    <a:pt x="924" y="876"/>
                  </a:lnTo>
                  <a:lnTo>
                    <a:pt x="918" y="906"/>
                  </a:lnTo>
                  <a:lnTo>
                    <a:pt x="924" y="930"/>
                  </a:lnTo>
                  <a:lnTo>
                    <a:pt x="948" y="984"/>
                  </a:lnTo>
                  <a:lnTo>
                    <a:pt x="954" y="1008"/>
                  </a:lnTo>
                  <a:lnTo>
                    <a:pt x="948" y="1014"/>
                  </a:lnTo>
                  <a:lnTo>
                    <a:pt x="954" y="1014"/>
                  </a:lnTo>
                  <a:lnTo>
                    <a:pt x="954" y="1032"/>
                  </a:lnTo>
                  <a:lnTo>
                    <a:pt x="966" y="1044"/>
                  </a:lnTo>
                  <a:lnTo>
                    <a:pt x="960" y="1056"/>
                  </a:lnTo>
                  <a:lnTo>
                    <a:pt x="954" y="1056"/>
                  </a:lnTo>
                  <a:lnTo>
                    <a:pt x="948" y="1056"/>
                  </a:lnTo>
                  <a:lnTo>
                    <a:pt x="942" y="1056"/>
                  </a:lnTo>
                  <a:lnTo>
                    <a:pt x="936" y="1050"/>
                  </a:lnTo>
                  <a:lnTo>
                    <a:pt x="930" y="1044"/>
                  </a:lnTo>
                  <a:lnTo>
                    <a:pt x="924" y="1044"/>
                  </a:lnTo>
                  <a:lnTo>
                    <a:pt x="918" y="1038"/>
                  </a:lnTo>
                  <a:lnTo>
                    <a:pt x="912" y="1038"/>
                  </a:lnTo>
                  <a:lnTo>
                    <a:pt x="906" y="1032"/>
                  </a:lnTo>
                  <a:lnTo>
                    <a:pt x="900" y="1032"/>
                  </a:lnTo>
                  <a:lnTo>
                    <a:pt x="888" y="1026"/>
                  </a:lnTo>
                  <a:lnTo>
                    <a:pt x="882" y="1026"/>
                  </a:lnTo>
                  <a:lnTo>
                    <a:pt x="876" y="1026"/>
                  </a:lnTo>
                  <a:lnTo>
                    <a:pt x="864" y="1014"/>
                  </a:lnTo>
                  <a:lnTo>
                    <a:pt x="846" y="1008"/>
                  </a:lnTo>
                  <a:lnTo>
                    <a:pt x="840" y="996"/>
                  </a:lnTo>
                  <a:lnTo>
                    <a:pt x="840" y="990"/>
                  </a:lnTo>
                  <a:lnTo>
                    <a:pt x="834" y="990"/>
                  </a:lnTo>
                  <a:lnTo>
                    <a:pt x="828" y="990"/>
                  </a:lnTo>
                  <a:lnTo>
                    <a:pt x="816" y="990"/>
                  </a:lnTo>
                  <a:lnTo>
                    <a:pt x="810" y="990"/>
                  </a:lnTo>
                  <a:lnTo>
                    <a:pt x="804" y="984"/>
                  </a:lnTo>
                  <a:lnTo>
                    <a:pt x="792" y="978"/>
                  </a:lnTo>
                  <a:lnTo>
                    <a:pt x="786" y="972"/>
                  </a:lnTo>
                  <a:lnTo>
                    <a:pt x="780" y="972"/>
                  </a:lnTo>
                  <a:lnTo>
                    <a:pt x="768" y="966"/>
                  </a:lnTo>
                  <a:lnTo>
                    <a:pt x="762" y="966"/>
                  </a:lnTo>
                  <a:lnTo>
                    <a:pt x="756" y="966"/>
                  </a:lnTo>
                  <a:lnTo>
                    <a:pt x="750" y="966"/>
                  </a:lnTo>
                  <a:lnTo>
                    <a:pt x="744" y="966"/>
                  </a:lnTo>
                  <a:lnTo>
                    <a:pt x="738" y="960"/>
                  </a:lnTo>
                  <a:lnTo>
                    <a:pt x="732" y="954"/>
                  </a:lnTo>
                  <a:lnTo>
                    <a:pt x="720" y="954"/>
                  </a:lnTo>
                  <a:lnTo>
                    <a:pt x="714" y="948"/>
                  </a:lnTo>
                  <a:lnTo>
                    <a:pt x="708" y="948"/>
                  </a:lnTo>
                  <a:lnTo>
                    <a:pt x="696" y="948"/>
                  </a:lnTo>
                  <a:lnTo>
                    <a:pt x="684" y="942"/>
                  </a:lnTo>
                  <a:lnTo>
                    <a:pt x="678" y="936"/>
                  </a:lnTo>
                  <a:lnTo>
                    <a:pt x="660" y="930"/>
                  </a:lnTo>
                  <a:lnTo>
                    <a:pt x="642" y="924"/>
                  </a:lnTo>
                  <a:lnTo>
                    <a:pt x="636" y="924"/>
                  </a:lnTo>
                  <a:lnTo>
                    <a:pt x="630" y="924"/>
                  </a:lnTo>
                  <a:lnTo>
                    <a:pt x="618" y="924"/>
                  </a:lnTo>
                  <a:lnTo>
                    <a:pt x="618" y="918"/>
                  </a:lnTo>
                  <a:lnTo>
                    <a:pt x="606" y="918"/>
                  </a:lnTo>
                  <a:lnTo>
                    <a:pt x="600" y="918"/>
                  </a:lnTo>
                  <a:lnTo>
                    <a:pt x="594" y="918"/>
                  </a:lnTo>
                  <a:lnTo>
                    <a:pt x="594" y="912"/>
                  </a:lnTo>
                  <a:lnTo>
                    <a:pt x="588" y="912"/>
                  </a:lnTo>
                  <a:lnTo>
                    <a:pt x="582" y="912"/>
                  </a:lnTo>
                  <a:lnTo>
                    <a:pt x="582" y="918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58" y="918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12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00"/>
                  </a:lnTo>
                  <a:lnTo>
                    <a:pt x="516" y="900"/>
                  </a:lnTo>
                  <a:lnTo>
                    <a:pt x="510" y="900"/>
                  </a:lnTo>
                  <a:lnTo>
                    <a:pt x="486" y="894"/>
                  </a:lnTo>
                  <a:lnTo>
                    <a:pt x="474" y="888"/>
                  </a:lnTo>
                  <a:lnTo>
                    <a:pt x="468" y="888"/>
                  </a:lnTo>
                  <a:lnTo>
                    <a:pt x="450" y="88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0" name="Freeform 15">
              <a:extLst>
                <a:ext uri="{FF2B5EF4-FFF2-40B4-BE49-F238E27FC236}">
                  <a16:creationId xmlns:a16="http://schemas.microsoft.com/office/drawing/2014/main" id="{8B991D7A-45C6-40F6-A035-24DFC733305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382" y="2652043"/>
              <a:ext cx="724526" cy="695552"/>
            </a:xfrm>
            <a:custGeom>
              <a:avLst/>
              <a:gdLst>
                <a:gd name="T0" fmla="*/ 44 w 1362"/>
                <a:gd name="T1" fmla="*/ 106 h 1308"/>
                <a:gd name="T2" fmla="*/ 32 w 1362"/>
                <a:gd name="T3" fmla="*/ 109 h 1308"/>
                <a:gd name="T4" fmla="*/ 25 w 1362"/>
                <a:gd name="T5" fmla="*/ 105 h 1308"/>
                <a:gd name="T6" fmla="*/ 22 w 1362"/>
                <a:gd name="T7" fmla="*/ 97 h 1308"/>
                <a:gd name="T8" fmla="*/ 21 w 1362"/>
                <a:gd name="T9" fmla="*/ 95 h 1308"/>
                <a:gd name="T10" fmla="*/ 20 w 1362"/>
                <a:gd name="T11" fmla="*/ 90 h 1308"/>
                <a:gd name="T12" fmla="*/ 23 w 1362"/>
                <a:gd name="T13" fmla="*/ 87 h 1308"/>
                <a:gd name="T14" fmla="*/ 29 w 1362"/>
                <a:gd name="T15" fmla="*/ 81 h 1308"/>
                <a:gd name="T16" fmla="*/ 30 w 1362"/>
                <a:gd name="T17" fmla="*/ 78 h 1308"/>
                <a:gd name="T18" fmla="*/ 27 w 1362"/>
                <a:gd name="T19" fmla="*/ 75 h 1308"/>
                <a:gd name="T20" fmla="*/ 15 w 1362"/>
                <a:gd name="T21" fmla="*/ 73 h 1308"/>
                <a:gd name="T22" fmla="*/ 12 w 1362"/>
                <a:gd name="T23" fmla="*/ 69 h 1308"/>
                <a:gd name="T24" fmla="*/ 5 w 1362"/>
                <a:gd name="T25" fmla="*/ 65 h 1308"/>
                <a:gd name="T26" fmla="*/ 6 w 1362"/>
                <a:gd name="T27" fmla="*/ 62 h 1308"/>
                <a:gd name="T28" fmla="*/ 7 w 1362"/>
                <a:gd name="T29" fmla="*/ 56 h 1308"/>
                <a:gd name="T30" fmla="*/ 2 w 1362"/>
                <a:gd name="T31" fmla="*/ 49 h 1308"/>
                <a:gd name="T32" fmla="*/ 0 w 1362"/>
                <a:gd name="T33" fmla="*/ 44 h 1308"/>
                <a:gd name="T34" fmla="*/ 0 w 1362"/>
                <a:gd name="T35" fmla="*/ 39 h 1308"/>
                <a:gd name="T36" fmla="*/ 3 w 1362"/>
                <a:gd name="T37" fmla="*/ 35 h 1308"/>
                <a:gd name="T38" fmla="*/ 3 w 1362"/>
                <a:gd name="T39" fmla="*/ 28 h 1308"/>
                <a:gd name="T40" fmla="*/ 6 w 1362"/>
                <a:gd name="T41" fmla="*/ 18 h 1308"/>
                <a:gd name="T42" fmla="*/ 6 w 1362"/>
                <a:gd name="T43" fmla="*/ 8 h 1308"/>
                <a:gd name="T44" fmla="*/ 10 w 1362"/>
                <a:gd name="T45" fmla="*/ 5 h 1308"/>
                <a:gd name="T46" fmla="*/ 15 w 1362"/>
                <a:gd name="T47" fmla="*/ 0 h 1308"/>
                <a:gd name="T48" fmla="*/ 21 w 1362"/>
                <a:gd name="T49" fmla="*/ 7 h 1308"/>
                <a:gd name="T50" fmla="*/ 25 w 1362"/>
                <a:gd name="T51" fmla="*/ 15 h 1308"/>
                <a:gd name="T52" fmla="*/ 24 w 1362"/>
                <a:gd name="T53" fmla="*/ 19 h 1308"/>
                <a:gd name="T54" fmla="*/ 32 w 1362"/>
                <a:gd name="T55" fmla="*/ 19 h 1308"/>
                <a:gd name="T56" fmla="*/ 35 w 1362"/>
                <a:gd name="T57" fmla="*/ 20 h 1308"/>
                <a:gd name="T58" fmla="*/ 40 w 1362"/>
                <a:gd name="T59" fmla="*/ 23 h 1308"/>
                <a:gd name="T60" fmla="*/ 40 w 1362"/>
                <a:gd name="T61" fmla="*/ 26 h 1308"/>
                <a:gd name="T62" fmla="*/ 34 w 1362"/>
                <a:gd name="T63" fmla="*/ 35 h 1308"/>
                <a:gd name="T64" fmla="*/ 41 w 1362"/>
                <a:gd name="T65" fmla="*/ 37 h 1308"/>
                <a:gd name="T66" fmla="*/ 43 w 1362"/>
                <a:gd name="T67" fmla="*/ 44 h 1308"/>
                <a:gd name="T68" fmla="*/ 48 w 1362"/>
                <a:gd name="T69" fmla="*/ 47 h 1308"/>
                <a:gd name="T70" fmla="*/ 57 w 1362"/>
                <a:gd name="T71" fmla="*/ 48 h 1308"/>
                <a:gd name="T72" fmla="*/ 70 w 1362"/>
                <a:gd name="T73" fmla="*/ 44 h 1308"/>
                <a:gd name="T74" fmla="*/ 80 w 1362"/>
                <a:gd name="T75" fmla="*/ 34 h 1308"/>
                <a:gd name="T76" fmla="*/ 95 w 1362"/>
                <a:gd name="T77" fmla="*/ 41 h 1308"/>
                <a:gd name="T78" fmla="*/ 109 w 1362"/>
                <a:gd name="T79" fmla="*/ 47 h 1308"/>
                <a:gd name="T80" fmla="*/ 111 w 1362"/>
                <a:gd name="T81" fmla="*/ 50 h 1308"/>
                <a:gd name="T82" fmla="*/ 113 w 1362"/>
                <a:gd name="T83" fmla="*/ 53 h 1308"/>
                <a:gd name="T84" fmla="*/ 113 w 1362"/>
                <a:gd name="T85" fmla="*/ 55 h 1308"/>
                <a:gd name="T86" fmla="*/ 113 w 1362"/>
                <a:gd name="T87" fmla="*/ 59 h 1308"/>
                <a:gd name="T88" fmla="*/ 113 w 1362"/>
                <a:gd name="T89" fmla="*/ 62 h 1308"/>
                <a:gd name="T90" fmla="*/ 115 w 1362"/>
                <a:gd name="T91" fmla="*/ 65 h 1308"/>
                <a:gd name="T92" fmla="*/ 115 w 1362"/>
                <a:gd name="T93" fmla="*/ 67 h 1308"/>
                <a:gd name="T94" fmla="*/ 116 w 1362"/>
                <a:gd name="T95" fmla="*/ 69 h 1308"/>
                <a:gd name="T96" fmla="*/ 116 w 1362"/>
                <a:gd name="T97" fmla="*/ 71 h 1308"/>
                <a:gd name="T98" fmla="*/ 118 w 1362"/>
                <a:gd name="T99" fmla="*/ 75 h 1308"/>
                <a:gd name="T100" fmla="*/ 116 w 1362"/>
                <a:gd name="T101" fmla="*/ 77 h 1308"/>
                <a:gd name="T102" fmla="*/ 116 w 1362"/>
                <a:gd name="T103" fmla="*/ 79 h 1308"/>
                <a:gd name="T104" fmla="*/ 101 w 1362"/>
                <a:gd name="T105" fmla="*/ 87 h 1308"/>
                <a:gd name="T106" fmla="*/ 85 w 1362"/>
                <a:gd name="T107" fmla="*/ 103 h 1308"/>
                <a:gd name="T108" fmla="*/ 67 w 1362"/>
                <a:gd name="T109" fmla="*/ 114 h 130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62"/>
                <a:gd name="T166" fmla="*/ 0 h 1308"/>
                <a:gd name="T167" fmla="*/ 1362 w 1362"/>
                <a:gd name="T168" fmla="*/ 1308 h 130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62" h="1308">
                  <a:moveTo>
                    <a:pt x="684" y="1278"/>
                  </a:moveTo>
                  <a:lnTo>
                    <a:pt x="672" y="1272"/>
                  </a:lnTo>
                  <a:lnTo>
                    <a:pt x="636" y="1266"/>
                  </a:lnTo>
                  <a:lnTo>
                    <a:pt x="582" y="1248"/>
                  </a:lnTo>
                  <a:lnTo>
                    <a:pt x="564" y="1230"/>
                  </a:lnTo>
                  <a:lnTo>
                    <a:pt x="540" y="1218"/>
                  </a:lnTo>
                  <a:lnTo>
                    <a:pt x="510" y="1218"/>
                  </a:lnTo>
                  <a:lnTo>
                    <a:pt x="498" y="1224"/>
                  </a:lnTo>
                  <a:lnTo>
                    <a:pt x="492" y="1230"/>
                  </a:lnTo>
                  <a:lnTo>
                    <a:pt x="474" y="1230"/>
                  </a:lnTo>
                  <a:lnTo>
                    <a:pt x="414" y="1230"/>
                  </a:lnTo>
                  <a:lnTo>
                    <a:pt x="396" y="1236"/>
                  </a:lnTo>
                  <a:lnTo>
                    <a:pt x="390" y="1248"/>
                  </a:lnTo>
                  <a:lnTo>
                    <a:pt x="372" y="1248"/>
                  </a:lnTo>
                  <a:lnTo>
                    <a:pt x="366" y="1242"/>
                  </a:lnTo>
                  <a:lnTo>
                    <a:pt x="366" y="1224"/>
                  </a:lnTo>
                  <a:lnTo>
                    <a:pt x="360" y="1224"/>
                  </a:lnTo>
                  <a:lnTo>
                    <a:pt x="354" y="1218"/>
                  </a:lnTo>
                  <a:lnTo>
                    <a:pt x="336" y="1206"/>
                  </a:lnTo>
                  <a:lnTo>
                    <a:pt x="330" y="1194"/>
                  </a:lnTo>
                  <a:lnTo>
                    <a:pt x="288" y="1200"/>
                  </a:lnTo>
                  <a:lnTo>
                    <a:pt x="288" y="1194"/>
                  </a:lnTo>
                  <a:lnTo>
                    <a:pt x="288" y="1182"/>
                  </a:lnTo>
                  <a:lnTo>
                    <a:pt x="288" y="1170"/>
                  </a:lnTo>
                  <a:lnTo>
                    <a:pt x="288" y="1164"/>
                  </a:lnTo>
                  <a:lnTo>
                    <a:pt x="282" y="1140"/>
                  </a:lnTo>
                  <a:lnTo>
                    <a:pt x="276" y="1134"/>
                  </a:lnTo>
                  <a:lnTo>
                    <a:pt x="258" y="1116"/>
                  </a:lnTo>
                  <a:lnTo>
                    <a:pt x="258" y="1110"/>
                  </a:lnTo>
                  <a:lnTo>
                    <a:pt x="252" y="1110"/>
                  </a:lnTo>
                  <a:lnTo>
                    <a:pt x="252" y="1104"/>
                  </a:lnTo>
                  <a:lnTo>
                    <a:pt x="252" y="1098"/>
                  </a:lnTo>
                  <a:lnTo>
                    <a:pt x="240" y="1092"/>
                  </a:lnTo>
                  <a:lnTo>
                    <a:pt x="234" y="1092"/>
                  </a:lnTo>
                  <a:lnTo>
                    <a:pt x="240" y="1086"/>
                  </a:lnTo>
                  <a:lnTo>
                    <a:pt x="234" y="1080"/>
                  </a:lnTo>
                  <a:lnTo>
                    <a:pt x="228" y="1080"/>
                  </a:lnTo>
                  <a:lnTo>
                    <a:pt x="228" y="1068"/>
                  </a:lnTo>
                  <a:lnTo>
                    <a:pt x="228" y="1056"/>
                  </a:lnTo>
                  <a:lnTo>
                    <a:pt x="222" y="1056"/>
                  </a:lnTo>
                  <a:lnTo>
                    <a:pt x="228" y="1044"/>
                  </a:lnTo>
                  <a:lnTo>
                    <a:pt x="228" y="1038"/>
                  </a:lnTo>
                  <a:lnTo>
                    <a:pt x="228" y="1032"/>
                  </a:lnTo>
                  <a:lnTo>
                    <a:pt x="234" y="1026"/>
                  </a:lnTo>
                  <a:lnTo>
                    <a:pt x="246" y="1020"/>
                  </a:lnTo>
                  <a:lnTo>
                    <a:pt x="252" y="1020"/>
                  </a:lnTo>
                  <a:lnTo>
                    <a:pt x="258" y="1014"/>
                  </a:lnTo>
                  <a:lnTo>
                    <a:pt x="264" y="1008"/>
                  </a:lnTo>
                  <a:lnTo>
                    <a:pt x="264" y="1002"/>
                  </a:lnTo>
                  <a:lnTo>
                    <a:pt x="270" y="984"/>
                  </a:lnTo>
                  <a:lnTo>
                    <a:pt x="276" y="978"/>
                  </a:lnTo>
                  <a:lnTo>
                    <a:pt x="300" y="978"/>
                  </a:lnTo>
                  <a:lnTo>
                    <a:pt x="306" y="972"/>
                  </a:lnTo>
                  <a:lnTo>
                    <a:pt x="312" y="966"/>
                  </a:lnTo>
                  <a:lnTo>
                    <a:pt x="324" y="936"/>
                  </a:lnTo>
                  <a:lnTo>
                    <a:pt x="330" y="930"/>
                  </a:lnTo>
                  <a:lnTo>
                    <a:pt x="330" y="924"/>
                  </a:lnTo>
                  <a:lnTo>
                    <a:pt x="336" y="918"/>
                  </a:lnTo>
                  <a:lnTo>
                    <a:pt x="342" y="912"/>
                  </a:lnTo>
                  <a:lnTo>
                    <a:pt x="342" y="906"/>
                  </a:lnTo>
                  <a:lnTo>
                    <a:pt x="342" y="900"/>
                  </a:lnTo>
                  <a:lnTo>
                    <a:pt x="342" y="894"/>
                  </a:lnTo>
                  <a:lnTo>
                    <a:pt x="342" y="888"/>
                  </a:lnTo>
                  <a:lnTo>
                    <a:pt x="336" y="876"/>
                  </a:lnTo>
                  <a:lnTo>
                    <a:pt x="342" y="870"/>
                  </a:lnTo>
                  <a:lnTo>
                    <a:pt x="336" y="864"/>
                  </a:lnTo>
                  <a:lnTo>
                    <a:pt x="336" y="858"/>
                  </a:lnTo>
                  <a:lnTo>
                    <a:pt x="330" y="852"/>
                  </a:lnTo>
                  <a:lnTo>
                    <a:pt x="318" y="852"/>
                  </a:lnTo>
                  <a:lnTo>
                    <a:pt x="306" y="858"/>
                  </a:lnTo>
                  <a:lnTo>
                    <a:pt x="264" y="864"/>
                  </a:lnTo>
                  <a:lnTo>
                    <a:pt x="234" y="858"/>
                  </a:lnTo>
                  <a:lnTo>
                    <a:pt x="228" y="858"/>
                  </a:lnTo>
                  <a:lnTo>
                    <a:pt x="198" y="858"/>
                  </a:lnTo>
                  <a:lnTo>
                    <a:pt x="174" y="858"/>
                  </a:lnTo>
                  <a:lnTo>
                    <a:pt x="168" y="852"/>
                  </a:lnTo>
                  <a:lnTo>
                    <a:pt x="168" y="840"/>
                  </a:lnTo>
                  <a:lnTo>
                    <a:pt x="168" y="834"/>
                  </a:lnTo>
                  <a:lnTo>
                    <a:pt x="168" y="822"/>
                  </a:lnTo>
                  <a:lnTo>
                    <a:pt x="162" y="822"/>
                  </a:lnTo>
                  <a:lnTo>
                    <a:pt x="150" y="816"/>
                  </a:lnTo>
                  <a:lnTo>
                    <a:pt x="144" y="810"/>
                  </a:lnTo>
                  <a:lnTo>
                    <a:pt x="144" y="804"/>
                  </a:lnTo>
                  <a:lnTo>
                    <a:pt x="144" y="786"/>
                  </a:lnTo>
                  <a:lnTo>
                    <a:pt x="144" y="780"/>
                  </a:lnTo>
                  <a:lnTo>
                    <a:pt x="144" y="774"/>
                  </a:lnTo>
                  <a:lnTo>
                    <a:pt x="132" y="756"/>
                  </a:lnTo>
                  <a:lnTo>
                    <a:pt x="120" y="756"/>
                  </a:lnTo>
                  <a:lnTo>
                    <a:pt x="84" y="750"/>
                  </a:lnTo>
                  <a:lnTo>
                    <a:pt x="78" y="744"/>
                  </a:lnTo>
                  <a:lnTo>
                    <a:pt x="60" y="744"/>
                  </a:lnTo>
                  <a:lnTo>
                    <a:pt x="54" y="726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66" y="720"/>
                  </a:lnTo>
                  <a:lnTo>
                    <a:pt x="66" y="714"/>
                  </a:lnTo>
                  <a:lnTo>
                    <a:pt x="72" y="714"/>
                  </a:lnTo>
                  <a:lnTo>
                    <a:pt x="72" y="708"/>
                  </a:lnTo>
                  <a:lnTo>
                    <a:pt x="78" y="702"/>
                  </a:lnTo>
                  <a:lnTo>
                    <a:pt x="78" y="696"/>
                  </a:lnTo>
                  <a:lnTo>
                    <a:pt x="78" y="690"/>
                  </a:lnTo>
                  <a:lnTo>
                    <a:pt x="84" y="678"/>
                  </a:lnTo>
                  <a:lnTo>
                    <a:pt x="90" y="666"/>
                  </a:lnTo>
                  <a:lnTo>
                    <a:pt x="90" y="642"/>
                  </a:lnTo>
                  <a:lnTo>
                    <a:pt x="84" y="648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66" y="642"/>
                  </a:lnTo>
                  <a:lnTo>
                    <a:pt x="60" y="642"/>
                  </a:lnTo>
                  <a:lnTo>
                    <a:pt x="54" y="636"/>
                  </a:lnTo>
                  <a:lnTo>
                    <a:pt x="30" y="570"/>
                  </a:lnTo>
                  <a:lnTo>
                    <a:pt x="24" y="564"/>
                  </a:lnTo>
                  <a:lnTo>
                    <a:pt x="18" y="570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6"/>
                  </a:lnTo>
                  <a:lnTo>
                    <a:pt x="6" y="540"/>
                  </a:lnTo>
                  <a:lnTo>
                    <a:pt x="0" y="522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2" y="480"/>
                  </a:lnTo>
                  <a:lnTo>
                    <a:pt x="6" y="480"/>
                  </a:lnTo>
                  <a:lnTo>
                    <a:pt x="0" y="474"/>
                  </a:lnTo>
                  <a:lnTo>
                    <a:pt x="0" y="450"/>
                  </a:lnTo>
                  <a:lnTo>
                    <a:pt x="6" y="450"/>
                  </a:lnTo>
                  <a:lnTo>
                    <a:pt x="12" y="450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32"/>
                  </a:lnTo>
                  <a:lnTo>
                    <a:pt x="30" y="426"/>
                  </a:lnTo>
                  <a:lnTo>
                    <a:pt x="36" y="402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2" y="366"/>
                  </a:lnTo>
                  <a:lnTo>
                    <a:pt x="48" y="360"/>
                  </a:lnTo>
                  <a:lnTo>
                    <a:pt x="48" y="342"/>
                  </a:lnTo>
                  <a:lnTo>
                    <a:pt x="42" y="330"/>
                  </a:lnTo>
                  <a:lnTo>
                    <a:pt x="36" y="324"/>
                  </a:lnTo>
                  <a:lnTo>
                    <a:pt x="42" y="306"/>
                  </a:lnTo>
                  <a:lnTo>
                    <a:pt x="42" y="270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48" y="258"/>
                  </a:lnTo>
                  <a:lnTo>
                    <a:pt x="72" y="252"/>
                  </a:lnTo>
                  <a:lnTo>
                    <a:pt x="66" y="204"/>
                  </a:lnTo>
                  <a:lnTo>
                    <a:pt x="60" y="198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8" y="13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84" y="96"/>
                  </a:lnTo>
                  <a:lnTo>
                    <a:pt x="90" y="84"/>
                  </a:lnTo>
                  <a:lnTo>
                    <a:pt x="108" y="72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20" y="60"/>
                  </a:lnTo>
                  <a:lnTo>
                    <a:pt x="120" y="54"/>
                  </a:lnTo>
                  <a:lnTo>
                    <a:pt x="120" y="48"/>
                  </a:lnTo>
                  <a:lnTo>
                    <a:pt x="126" y="48"/>
                  </a:lnTo>
                  <a:lnTo>
                    <a:pt x="132" y="42"/>
                  </a:lnTo>
                  <a:lnTo>
                    <a:pt x="132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240" y="18"/>
                  </a:lnTo>
                  <a:lnTo>
                    <a:pt x="246" y="42"/>
                  </a:lnTo>
                  <a:lnTo>
                    <a:pt x="240" y="72"/>
                  </a:lnTo>
                  <a:lnTo>
                    <a:pt x="246" y="78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8" y="108"/>
                  </a:lnTo>
                  <a:lnTo>
                    <a:pt x="276" y="114"/>
                  </a:lnTo>
                  <a:lnTo>
                    <a:pt x="294" y="150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82" y="186"/>
                  </a:lnTo>
                  <a:lnTo>
                    <a:pt x="282" y="192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76" y="216"/>
                  </a:lnTo>
                  <a:lnTo>
                    <a:pt x="288" y="240"/>
                  </a:lnTo>
                  <a:lnTo>
                    <a:pt x="312" y="228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66" y="228"/>
                  </a:lnTo>
                  <a:lnTo>
                    <a:pt x="372" y="228"/>
                  </a:lnTo>
                  <a:lnTo>
                    <a:pt x="372" y="222"/>
                  </a:lnTo>
                  <a:lnTo>
                    <a:pt x="378" y="222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6" y="222"/>
                  </a:lnTo>
                  <a:lnTo>
                    <a:pt x="402" y="222"/>
                  </a:lnTo>
                  <a:lnTo>
                    <a:pt x="402" y="228"/>
                  </a:lnTo>
                  <a:lnTo>
                    <a:pt x="408" y="228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26" y="216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68" y="258"/>
                  </a:lnTo>
                  <a:lnTo>
                    <a:pt x="462" y="264"/>
                  </a:lnTo>
                  <a:lnTo>
                    <a:pt x="468" y="264"/>
                  </a:lnTo>
                  <a:lnTo>
                    <a:pt x="468" y="270"/>
                  </a:lnTo>
                  <a:lnTo>
                    <a:pt x="474" y="270"/>
                  </a:lnTo>
                  <a:lnTo>
                    <a:pt x="480" y="276"/>
                  </a:lnTo>
                  <a:lnTo>
                    <a:pt x="474" y="282"/>
                  </a:lnTo>
                  <a:lnTo>
                    <a:pt x="474" y="288"/>
                  </a:lnTo>
                  <a:lnTo>
                    <a:pt x="462" y="294"/>
                  </a:lnTo>
                  <a:lnTo>
                    <a:pt x="468" y="324"/>
                  </a:lnTo>
                  <a:lnTo>
                    <a:pt x="462" y="336"/>
                  </a:lnTo>
                  <a:lnTo>
                    <a:pt x="456" y="354"/>
                  </a:lnTo>
                  <a:lnTo>
                    <a:pt x="432" y="390"/>
                  </a:lnTo>
                  <a:lnTo>
                    <a:pt x="420" y="390"/>
                  </a:lnTo>
                  <a:lnTo>
                    <a:pt x="402" y="390"/>
                  </a:lnTo>
                  <a:lnTo>
                    <a:pt x="396" y="396"/>
                  </a:lnTo>
                  <a:lnTo>
                    <a:pt x="390" y="396"/>
                  </a:lnTo>
                  <a:lnTo>
                    <a:pt x="390" y="402"/>
                  </a:lnTo>
                  <a:lnTo>
                    <a:pt x="384" y="402"/>
                  </a:lnTo>
                  <a:lnTo>
                    <a:pt x="408" y="432"/>
                  </a:lnTo>
                  <a:lnTo>
                    <a:pt x="432" y="438"/>
                  </a:lnTo>
                  <a:lnTo>
                    <a:pt x="456" y="432"/>
                  </a:lnTo>
                  <a:lnTo>
                    <a:pt x="468" y="426"/>
                  </a:lnTo>
                  <a:lnTo>
                    <a:pt x="468" y="444"/>
                  </a:lnTo>
                  <a:lnTo>
                    <a:pt x="468" y="450"/>
                  </a:lnTo>
                  <a:lnTo>
                    <a:pt x="468" y="474"/>
                  </a:lnTo>
                  <a:lnTo>
                    <a:pt x="486" y="480"/>
                  </a:lnTo>
                  <a:lnTo>
                    <a:pt x="486" y="486"/>
                  </a:lnTo>
                  <a:lnTo>
                    <a:pt x="492" y="498"/>
                  </a:lnTo>
                  <a:lnTo>
                    <a:pt x="492" y="504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504" y="516"/>
                  </a:lnTo>
                  <a:lnTo>
                    <a:pt x="510" y="516"/>
                  </a:lnTo>
                  <a:lnTo>
                    <a:pt x="522" y="528"/>
                  </a:lnTo>
                  <a:lnTo>
                    <a:pt x="546" y="540"/>
                  </a:lnTo>
                  <a:lnTo>
                    <a:pt x="552" y="546"/>
                  </a:lnTo>
                  <a:lnTo>
                    <a:pt x="570" y="552"/>
                  </a:lnTo>
                  <a:lnTo>
                    <a:pt x="594" y="552"/>
                  </a:lnTo>
                  <a:lnTo>
                    <a:pt x="606" y="546"/>
                  </a:lnTo>
                  <a:lnTo>
                    <a:pt x="612" y="540"/>
                  </a:lnTo>
                  <a:lnTo>
                    <a:pt x="630" y="540"/>
                  </a:lnTo>
                  <a:lnTo>
                    <a:pt x="630" y="552"/>
                  </a:lnTo>
                  <a:lnTo>
                    <a:pt x="654" y="552"/>
                  </a:lnTo>
                  <a:lnTo>
                    <a:pt x="702" y="558"/>
                  </a:lnTo>
                  <a:lnTo>
                    <a:pt x="762" y="546"/>
                  </a:lnTo>
                  <a:lnTo>
                    <a:pt x="780" y="546"/>
                  </a:lnTo>
                  <a:lnTo>
                    <a:pt x="780" y="528"/>
                  </a:lnTo>
                  <a:lnTo>
                    <a:pt x="798" y="522"/>
                  </a:lnTo>
                  <a:lnTo>
                    <a:pt x="810" y="510"/>
                  </a:lnTo>
                  <a:lnTo>
                    <a:pt x="810" y="504"/>
                  </a:lnTo>
                  <a:lnTo>
                    <a:pt x="828" y="492"/>
                  </a:lnTo>
                  <a:lnTo>
                    <a:pt x="888" y="486"/>
                  </a:lnTo>
                  <a:lnTo>
                    <a:pt x="912" y="486"/>
                  </a:lnTo>
                  <a:lnTo>
                    <a:pt x="930" y="474"/>
                  </a:lnTo>
                  <a:lnTo>
                    <a:pt x="918" y="456"/>
                  </a:lnTo>
                  <a:lnTo>
                    <a:pt x="912" y="450"/>
                  </a:lnTo>
                  <a:lnTo>
                    <a:pt x="918" y="390"/>
                  </a:lnTo>
                  <a:lnTo>
                    <a:pt x="954" y="396"/>
                  </a:lnTo>
                  <a:lnTo>
                    <a:pt x="984" y="402"/>
                  </a:lnTo>
                  <a:lnTo>
                    <a:pt x="1014" y="420"/>
                  </a:lnTo>
                  <a:lnTo>
                    <a:pt x="1026" y="432"/>
                  </a:lnTo>
                  <a:lnTo>
                    <a:pt x="1044" y="450"/>
                  </a:lnTo>
                  <a:lnTo>
                    <a:pt x="1062" y="462"/>
                  </a:lnTo>
                  <a:lnTo>
                    <a:pt x="1098" y="468"/>
                  </a:lnTo>
                  <a:lnTo>
                    <a:pt x="1128" y="480"/>
                  </a:lnTo>
                  <a:lnTo>
                    <a:pt x="1152" y="486"/>
                  </a:lnTo>
                  <a:lnTo>
                    <a:pt x="1188" y="498"/>
                  </a:lnTo>
                  <a:lnTo>
                    <a:pt x="1212" y="504"/>
                  </a:lnTo>
                  <a:lnTo>
                    <a:pt x="1224" y="528"/>
                  </a:lnTo>
                  <a:lnTo>
                    <a:pt x="1236" y="540"/>
                  </a:lnTo>
                  <a:lnTo>
                    <a:pt x="1254" y="540"/>
                  </a:lnTo>
                  <a:lnTo>
                    <a:pt x="1254" y="546"/>
                  </a:lnTo>
                  <a:lnTo>
                    <a:pt x="1260" y="552"/>
                  </a:lnTo>
                  <a:lnTo>
                    <a:pt x="1266" y="552"/>
                  </a:lnTo>
                  <a:lnTo>
                    <a:pt x="1266" y="558"/>
                  </a:lnTo>
                  <a:lnTo>
                    <a:pt x="1272" y="564"/>
                  </a:lnTo>
                  <a:lnTo>
                    <a:pt x="1278" y="564"/>
                  </a:lnTo>
                  <a:lnTo>
                    <a:pt x="1278" y="570"/>
                  </a:lnTo>
                  <a:lnTo>
                    <a:pt x="1284" y="576"/>
                  </a:lnTo>
                  <a:lnTo>
                    <a:pt x="1290" y="582"/>
                  </a:lnTo>
                  <a:lnTo>
                    <a:pt x="1296" y="582"/>
                  </a:lnTo>
                  <a:lnTo>
                    <a:pt x="1296" y="588"/>
                  </a:lnTo>
                  <a:lnTo>
                    <a:pt x="1308" y="594"/>
                  </a:lnTo>
                  <a:lnTo>
                    <a:pt x="1308" y="600"/>
                  </a:lnTo>
                  <a:lnTo>
                    <a:pt x="1308" y="606"/>
                  </a:lnTo>
                  <a:lnTo>
                    <a:pt x="1314" y="612"/>
                  </a:lnTo>
                  <a:lnTo>
                    <a:pt x="1308" y="618"/>
                  </a:lnTo>
                  <a:lnTo>
                    <a:pt x="1314" y="618"/>
                  </a:lnTo>
                  <a:lnTo>
                    <a:pt x="1314" y="624"/>
                  </a:lnTo>
                  <a:lnTo>
                    <a:pt x="1308" y="624"/>
                  </a:lnTo>
                  <a:lnTo>
                    <a:pt x="1302" y="630"/>
                  </a:lnTo>
                  <a:lnTo>
                    <a:pt x="1302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296" y="654"/>
                  </a:lnTo>
                  <a:lnTo>
                    <a:pt x="1302" y="660"/>
                  </a:lnTo>
                  <a:lnTo>
                    <a:pt x="1302" y="666"/>
                  </a:lnTo>
                  <a:lnTo>
                    <a:pt x="1308" y="666"/>
                  </a:lnTo>
                  <a:lnTo>
                    <a:pt x="1308" y="672"/>
                  </a:lnTo>
                  <a:lnTo>
                    <a:pt x="1308" y="678"/>
                  </a:lnTo>
                  <a:lnTo>
                    <a:pt x="1308" y="684"/>
                  </a:lnTo>
                  <a:lnTo>
                    <a:pt x="1308" y="690"/>
                  </a:lnTo>
                  <a:lnTo>
                    <a:pt x="1302" y="696"/>
                  </a:lnTo>
                  <a:lnTo>
                    <a:pt x="1302" y="702"/>
                  </a:lnTo>
                  <a:lnTo>
                    <a:pt x="1308" y="702"/>
                  </a:lnTo>
                  <a:lnTo>
                    <a:pt x="1302" y="708"/>
                  </a:lnTo>
                  <a:lnTo>
                    <a:pt x="1308" y="714"/>
                  </a:lnTo>
                  <a:lnTo>
                    <a:pt x="1308" y="720"/>
                  </a:lnTo>
                  <a:lnTo>
                    <a:pt x="1308" y="726"/>
                  </a:lnTo>
                  <a:lnTo>
                    <a:pt x="1308" y="732"/>
                  </a:lnTo>
                  <a:lnTo>
                    <a:pt x="1314" y="732"/>
                  </a:lnTo>
                  <a:lnTo>
                    <a:pt x="1314" y="738"/>
                  </a:lnTo>
                  <a:lnTo>
                    <a:pt x="1320" y="744"/>
                  </a:lnTo>
                  <a:lnTo>
                    <a:pt x="1326" y="750"/>
                  </a:lnTo>
                  <a:lnTo>
                    <a:pt x="1320" y="750"/>
                  </a:lnTo>
                  <a:lnTo>
                    <a:pt x="1320" y="756"/>
                  </a:lnTo>
                  <a:lnTo>
                    <a:pt x="1314" y="756"/>
                  </a:lnTo>
                  <a:lnTo>
                    <a:pt x="1314" y="762"/>
                  </a:lnTo>
                  <a:lnTo>
                    <a:pt x="1314" y="768"/>
                  </a:lnTo>
                  <a:lnTo>
                    <a:pt x="1320" y="768"/>
                  </a:lnTo>
                  <a:lnTo>
                    <a:pt x="1320" y="762"/>
                  </a:lnTo>
                  <a:lnTo>
                    <a:pt x="1320" y="768"/>
                  </a:lnTo>
                  <a:lnTo>
                    <a:pt x="1326" y="774"/>
                  </a:lnTo>
                  <a:lnTo>
                    <a:pt x="1332" y="774"/>
                  </a:lnTo>
                  <a:lnTo>
                    <a:pt x="1332" y="780"/>
                  </a:lnTo>
                  <a:lnTo>
                    <a:pt x="1332" y="786"/>
                  </a:lnTo>
                  <a:lnTo>
                    <a:pt x="1332" y="792"/>
                  </a:lnTo>
                  <a:lnTo>
                    <a:pt x="1338" y="786"/>
                  </a:lnTo>
                  <a:lnTo>
                    <a:pt x="1338" y="792"/>
                  </a:lnTo>
                  <a:lnTo>
                    <a:pt x="1344" y="798"/>
                  </a:lnTo>
                  <a:lnTo>
                    <a:pt x="1344" y="804"/>
                  </a:lnTo>
                  <a:lnTo>
                    <a:pt x="1344" y="810"/>
                  </a:lnTo>
                  <a:lnTo>
                    <a:pt x="1344" y="816"/>
                  </a:lnTo>
                  <a:lnTo>
                    <a:pt x="1344" y="822"/>
                  </a:lnTo>
                  <a:lnTo>
                    <a:pt x="1338" y="828"/>
                  </a:lnTo>
                  <a:lnTo>
                    <a:pt x="1332" y="828"/>
                  </a:lnTo>
                  <a:lnTo>
                    <a:pt x="1338" y="840"/>
                  </a:lnTo>
                  <a:lnTo>
                    <a:pt x="1344" y="846"/>
                  </a:lnTo>
                  <a:lnTo>
                    <a:pt x="1344" y="852"/>
                  </a:lnTo>
                  <a:lnTo>
                    <a:pt x="1350" y="852"/>
                  </a:lnTo>
                  <a:lnTo>
                    <a:pt x="1356" y="858"/>
                  </a:lnTo>
                  <a:lnTo>
                    <a:pt x="1362" y="858"/>
                  </a:lnTo>
                  <a:lnTo>
                    <a:pt x="1362" y="870"/>
                  </a:lnTo>
                  <a:lnTo>
                    <a:pt x="1356" y="870"/>
                  </a:lnTo>
                  <a:lnTo>
                    <a:pt x="1356" y="876"/>
                  </a:lnTo>
                  <a:lnTo>
                    <a:pt x="1350" y="876"/>
                  </a:lnTo>
                  <a:lnTo>
                    <a:pt x="1344" y="876"/>
                  </a:lnTo>
                  <a:lnTo>
                    <a:pt x="1344" y="882"/>
                  </a:lnTo>
                  <a:lnTo>
                    <a:pt x="1338" y="882"/>
                  </a:lnTo>
                  <a:lnTo>
                    <a:pt x="1338" y="888"/>
                  </a:lnTo>
                  <a:lnTo>
                    <a:pt x="1338" y="894"/>
                  </a:lnTo>
                  <a:lnTo>
                    <a:pt x="1344" y="900"/>
                  </a:lnTo>
                  <a:lnTo>
                    <a:pt x="1344" y="906"/>
                  </a:lnTo>
                  <a:lnTo>
                    <a:pt x="1338" y="906"/>
                  </a:lnTo>
                  <a:lnTo>
                    <a:pt x="1332" y="912"/>
                  </a:lnTo>
                  <a:lnTo>
                    <a:pt x="1332" y="918"/>
                  </a:lnTo>
                  <a:lnTo>
                    <a:pt x="1326" y="918"/>
                  </a:lnTo>
                  <a:lnTo>
                    <a:pt x="1332" y="924"/>
                  </a:lnTo>
                  <a:lnTo>
                    <a:pt x="1284" y="942"/>
                  </a:lnTo>
                  <a:lnTo>
                    <a:pt x="1236" y="948"/>
                  </a:lnTo>
                  <a:lnTo>
                    <a:pt x="1194" y="966"/>
                  </a:lnTo>
                  <a:lnTo>
                    <a:pt x="1170" y="1002"/>
                  </a:lnTo>
                  <a:lnTo>
                    <a:pt x="1134" y="1020"/>
                  </a:lnTo>
                  <a:lnTo>
                    <a:pt x="1116" y="1032"/>
                  </a:lnTo>
                  <a:lnTo>
                    <a:pt x="1098" y="1050"/>
                  </a:lnTo>
                  <a:lnTo>
                    <a:pt x="1074" y="1074"/>
                  </a:lnTo>
                  <a:lnTo>
                    <a:pt x="1008" y="1134"/>
                  </a:lnTo>
                  <a:lnTo>
                    <a:pt x="990" y="1158"/>
                  </a:lnTo>
                  <a:lnTo>
                    <a:pt x="978" y="1182"/>
                  </a:lnTo>
                  <a:lnTo>
                    <a:pt x="960" y="1194"/>
                  </a:lnTo>
                  <a:lnTo>
                    <a:pt x="942" y="1212"/>
                  </a:lnTo>
                  <a:lnTo>
                    <a:pt x="912" y="1242"/>
                  </a:lnTo>
                  <a:lnTo>
                    <a:pt x="888" y="1254"/>
                  </a:lnTo>
                  <a:lnTo>
                    <a:pt x="864" y="1278"/>
                  </a:lnTo>
                  <a:lnTo>
                    <a:pt x="828" y="1296"/>
                  </a:lnTo>
                  <a:lnTo>
                    <a:pt x="774" y="1308"/>
                  </a:lnTo>
                  <a:lnTo>
                    <a:pt x="732" y="1302"/>
                  </a:lnTo>
                  <a:lnTo>
                    <a:pt x="702" y="1284"/>
                  </a:lnTo>
                  <a:lnTo>
                    <a:pt x="684" y="12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1" name="Freeform 16">
              <a:extLst>
                <a:ext uri="{FF2B5EF4-FFF2-40B4-BE49-F238E27FC236}">
                  <a16:creationId xmlns:a16="http://schemas.microsoft.com/office/drawing/2014/main" id="{D8D8591A-D9DB-4301-BEBD-D8F5A26DA9E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3001" y="2929369"/>
              <a:ext cx="914601" cy="1037736"/>
            </a:xfrm>
            <a:custGeom>
              <a:avLst/>
              <a:gdLst>
                <a:gd name="T0" fmla="*/ 144 w 1722"/>
                <a:gd name="T1" fmla="*/ 131 h 1956"/>
                <a:gd name="T2" fmla="*/ 142 w 1722"/>
                <a:gd name="T3" fmla="*/ 139 h 1956"/>
                <a:gd name="T4" fmla="*/ 137 w 1722"/>
                <a:gd name="T5" fmla="*/ 143 h 1956"/>
                <a:gd name="T6" fmla="*/ 133 w 1722"/>
                <a:gd name="T7" fmla="*/ 147 h 1956"/>
                <a:gd name="T8" fmla="*/ 132 w 1722"/>
                <a:gd name="T9" fmla="*/ 152 h 1956"/>
                <a:gd name="T10" fmla="*/ 130 w 1722"/>
                <a:gd name="T11" fmla="*/ 159 h 1956"/>
                <a:gd name="T12" fmla="*/ 127 w 1722"/>
                <a:gd name="T13" fmla="*/ 164 h 1956"/>
                <a:gd name="T14" fmla="*/ 123 w 1722"/>
                <a:gd name="T15" fmla="*/ 168 h 1956"/>
                <a:gd name="T16" fmla="*/ 117 w 1722"/>
                <a:gd name="T17" fmla="*/ 169 h 1956"/>
                <a:gd name="T18" fmla="*/ 110 w 1722"/>
                <a:gd name="T19" fmla="*/ 168 h 1956"/>
                <a:gd name="T20" fmla="*/ 104 w 1722"/>
                <a:gd name="T21" fmla="*/ 166 h 1956"/>
                <a:gd name="T22" fmla="*/ 101 w 1722"/>
                <a:gd name="T23" fmla="*/ 159 h 1956"/>
                <a:gd name="T24" fmla="*/ 95 w 1722"/>
                <a:gd name="T25" fmla="*/ 156 h 1956"/>
                <a:gd name="T26" fmla="*/ 89 w 1722"/>
                <a:gd name="T27" fmla="*/ 151 h 1956"/>
                <a:gd name="T28" fmla="*/ 87 w 1722"/>
                <a:gd name="T29" fmla="*/ 144 h 1956"/>
                <a:gd name="T30" fmla="*/ 82 w 1722"/>
                <a:gd name="T31" fmla="*/ 141 h 1956"/>
                <a:gd name="T32" fmla="*/ 76 w 1722"/>
                <a:gd name="T33" fmla="*/ 134 h 1956"/>
                <a:gd name="T34" fmla="*/ 74 w 1722"/>
                <a:gd name="T35" fmla="*/ 143 h 1956"/>
                <a:gd name="T36" fmla="*/ 68 w 1722"/>
                <a:gd name="T37" fmla="*/ 147 h 1956"/>
                <a:gd name="T38" fmla="*/ 54 w 1722"/>
                <a:gd name="T39" fmla="*/ 144 h 1956"/>
                <a:gd name="T40" fmla="*/ 51 w 1722"/>
                <a:gd name="T41" fmla="*/ 142 h 1956"/>
                <a:gd name="T42" fmla="*/ 42 w 1722"/>
                <a:gd name="T43" fmla="*/ 151 h 1956"/>
                <a:gd name="T44" fmla="*/ 33 w 1722"/>
                <a:gd name="T45" fmla="*/ 154 h 1956"/>
                <a:gd name="T46" fmla="*/ 31 w 1722"/>
                <a:gd name="T47" fmla="*/ 159 h 1956"/>
                <a:gd name="T48" fmla="*/ 29 w 1722"/>
                <a:gd name="T49" fmla="*/ 166 h 1956"/>
                <a:gd name="T50" fmla="*/ 25 w 1722"/>
                <a:gd name="T51" fmla="*/ 169 h 1956"/>
                <a:gd name="T52" fmla="*/ 27 w 1722"/>
                <a:gd name="T53" fmla="*/ 154 h 1956"/>
                <a:gd name="T54" fmla="*/ 37 w 1722"/>
                <a:gd name="T55" fmla="*/ 133 h 1956"/>
                <a:gd name="T56" fmla="*/ 36 w 1722"/>
                <a:gd name="T57" fmla="*/ 109 h 1956"/>
                <a:gd name="T58" fmla="*/ 27 w 1722"/>
                <a:gd name="T59" fmla="*/ 101 h 1956"/>
                <a:gd name="T60" fmla="*/ 5 w 1722"/>
                <a:gd name="T61" fmla="*/ 98 h 1956"/>
                <a:gd name="T62" fmla="*/ 2 w 1722"/>
                <a:gd name="T63" fmla="*/ 93 h 1956"/>
                <a:gd name="T64" fmla="*/ 12 w 1722"/>
                <a:gd name="T65" fmla="*/ 82 h 1956"/>
                <a:gd name="T66" fmla="*/ 9 w 1722"/>
                <a:gd name="T67" fmla="*/ 74 h 1956"/>
                <a:gd name="T68" fmla="*/ 23 w 1722"/>
                <a:gd name="T69" fmla="*/ 72 h 1956"/>
                <a:gd name="T70" fmla="*/ 22 w 1722"/>
                <a:gd name="T71" fmla="*/ 67 h 1956"/>
                <a:gd name="T72" fmla="*/ 48 w 1722"/>
                <a:gd name="T73" fmla="*/ 57 h 1956"/>
                <a:gd name="T74" fmla="*/ 78 w 1722"/>
                <a:gd name="T75" fmla="*/ 34 h 1956"/>
                <a:gd name="T76" fmla="*/ 81 w 1722"/>
                <a:gd name="T77" fmla="*/ 31 h 1956"/>
                <a:gd name="T78" fmla="*/ 80 w 1722"/>
                <a:gd name="T79" fmla="*/ 26 h 1956"/>
                <a:gd name="T80" fmla="*/ 78 w 1722"/>
                <a:gd name="T81" fmla="*/ 21 h 1956"/>
                <a:gd name="T82" fmla="*/ 77 w 1722"/>
                <a:gd name="T83" fmla="*/ 18 h 1956"/>
                <a:gd name="T84" fmla="*/ 77 w 1722"/>
                <a:gd name="T85" fmla="*/ 12 h 1956"/>
                <a:gd name="T86" fmla="*/ 77 w 1722"/>
                <a:gd name="T87" fmla="*/ 7 h 1956"/>
                <a:gd name="T88" fmla="*/ 102 w 1722"/>
                <a:gd name="T89" fmla="*/ 2 h 1956"/>
                <a:gd name="T90" fmla="*/ 115 w 1722"/>
                <a:gd name="T91" fmla="*/ 3 h 1956"/>
                <a:gd name="T92" fmla="*/ 123 w 1722"/>
                <a:gd name="T93" fmla="*/ 3 h 1956"/>
                <a:gd name="T94" fmla="*/ 125 w 1722"/>
                <a:gd name="T95" fmla="*/ 9 h 1956"/>
                <a:gd name="T96" fmla="*/ 133 w 1722"/>
                <a:gd name="T97" fmla="*/ 13 h 1956"/>
                <a:gd name="T98" fmla="*/ 149 w 1722"/>
                <a:gd name="T99" fmla="*/ 37 h 1956"/>
                <a:gd name="T100" fmla="*/ 141 w 1722"/>
                <a:gd name="T101" fmla="*/ 57 h 1956"/>
                <a:gd name="T102" fmla="*/ 135 w 1722"/>
                <a:gd name="T103" fmla="*/ 63 h 1956"/>
                <a:gd name="T104" fmla="*/ 124 w 1722"/>
                <a:gd name="T105" fmla="*/ 77 h 1956"/>
                <a:gd name="T106" fmla="*/ 123 w 1722"/>
                <a:gd name="T107" fmla="*/ 96 h 1956"/>
                <a:gd name="T108" fmla="*/ 127 w 1722"/>
                <a:gd name="T109" fmla="*/ 97 h 1956"/>
                <a:gd name="T110" fmla="*/ 129 w 1722"/>
                <a:gd name="T111" fmla="*/ 92 h 1956"/>
                <a:gd name="T112" fmla="*/ 134 w 1722"/>
                <a:gd name="T113" fmla="*/ 94 h 1956"/>
                <a:gd name="T114" fmla="*/ 138 w 1722"/>
                <a:gd name="T115" fmla="*/ 99 h 1956"/>
                <a:gd name="T116" fmla="*/ 142 w 1722"/>
                <a:gd name="T117" fmla="*/ 104 h 1956"/>
                <a:gd name="T118" fmla="*/ 141 w 1722"/>
                <a:gd name="T119" fmla="*/ 115 h 19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722"/>
                <a:gd name="T181" fmla="*/ 0 h 1956"/>
                <a:gd name="T182" fmla="*/ 1722 w 1722"/>
                <a:gd name="T183" fmla="*/ 1956 h 19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722" h="1956">
                  <a:moveTo>
                    <a:pt x="1686" y="1404"/>
                  </a:moveTo>
                  <a:lnTo>
                    <a:pt x="1680" y="1416"/>
                  </a:lnTo>
                  <a:lnTo>
                    <a:pt x="1674" y="1422"/>
                  </a:lnTo>
                  <a:lnTo>
                    <a:pt x="1674" y="1428"/>
                  </a:lnTo>
                  <a:lnTo>
                    <a:pt x="1668" y="1428"/>
                  </a:lnTo>
                  <a:lnTo>
                    <a:pt x="1668" y="1434"/>
                  </a:lnTo>
                  <a:lnTo>
                    <a:pt x="1662" y="1446"/>
                  </a:lnTo>
                  <a:lnTo>
                    <a:pt x="1656" y="1464"/>
                  </a:lnTo>
                  <a:lnTo>
                    <a:pt x="1656" y="1476"/>
                  </a:lnTo>
                  <a:lnTo>
                    <a:pt x="1656" y="1488"/>
                  </a:lnTo>
                  <a:lnTo>
                    <a:pt x="1662" y="1500"/>
                  </a:lnTo>
                  <a:lnTo>
                    <a:pt x="1662" y="1506"/>
                  </a:lnTo>
                  <a:lnTo>
                    <a:pt x="1662" y="1524"/>
                  </a:lnTo>
                  <a:lnTo>
                    <a:pt x="1668" y="1542"/>
                  </a:lnTo>
                  <a:lnTo>
                    <a:pt x="1674" y="1560"/>
                  </a:lnTo>
                  <a:lnTo>
                    <a:pt x="1680" y="1578"/>
                  </a:lnTo>
                  <a:lnTo>
                    <a:pt x="1686" y="1578"/>
                  </a:lnTo>
                  <a:lnTo>
                    <a:pt x="1686" y="1584"/>
                  </a:lnTo>
                  <a:lnTo>
                    <a:pt x="1686" y="1590"/>
                  </a:lnTo>
                  <a:lnTo>
                    <a:pt x="1686" y="1596"/>
                  </a:lnTo>
                  <a:lnTo>
                    <a:pt x="1680" y="1596"/>
                  </a:lnTo>
                  <a:lnTo>
                    <a:pt x="1674" y="1602"/>
                  </a:lnTo>
                  <a:lnTo>
                    <a:pt x="1662" y="1602"/>
                  </a:lnTo>
                  <a:lnTo>
                    <a:pt x="1638" y="1596"/>
                  </a:lnTo>
                  <a:lnTo>
                    <a:pt x="1632" y="1596"/>
                  </a:lnTo>
                  <a:lnTo>
                    <a:pt x="1626" y="1602"/>
                  </a:lnTo>
                  <a:lnTo>
                    <a:pt x="1620" y="1602"/>
                  </a:lnTo>
                  <a:lnTo>
                    <a:pt x="1614" y="1602"/>
                  </a:lnTo>
                  <a:lnTo>
                    <a:pt x="1602" y="1602"/>
                  </a:lnTo>
                  <a:lnTo>
                    <a:pt x="1602" y="1608"/>
                  </a:lnTo>
                  <a:lnTo>
                    <a:pt x="1602" y="1620"/>
                  </a:lnTo>
                  <a:lnTo>
                    <a:pt x="1596" y="1620"/>
                  </a:lnTo>
                  <a:lnTo>
                    <a:pt x="1590" y="1620"/>
                  </a:lnTo>
                  <a:lnTo>
                    <a:pt x="1584" y="1626"/>
                  </a:lnTo>
                  <a:lnTo>
                    <a:pt x="1584" y="1632"/>
                  </a:lnTo>
                  <a:lnTo>
                    <a:pt x="1578" y="1644"/>
                  </a:lnTo>
                  <a:lnTo>
                    <a:pt x="1572" y="1644"/>
                  </a:lnTo>
                  <a:lnTo>
                    <a:pt x="1566" y="1644"/>
                  </a:lnTo>
                  <a:lnTo>
                    <a:pt x="1566" y="1650"/>
                  </a:lnTo>
                  <a:lnTo>
                    <a:pt x="1560" y="1650"/>
                  </a:lnTo>
                  <a:lnTo>
                    <a:pt x="1554" y="1650"/>
                  </a:lnTo>
                  <a:lnTo>
                    <a:pt x="1548" y="1650"/>
                  </a:lnTo>
                  <a:lnTo>
                    <a:pt x="1548" y="1656"/>
                  </a:lnTo>
                  <a:lnTo>
                    <a:pt x="1542" y="1668"/>
                  </a:lnTo>
                  <a:lnTo>
                    <a:pt x="1542" y="1674"/>
                  </a:lnTo>
                  <a:lnTo>
                    <a:pt x="1542" y="1692"/>
                  </a:lnTo>
                  <a:lnTo>
                    <a:pt x="1536" y="1698"/>
                  </a:lnTo>
                  <a:lnTo>
                    <a:pt x="1530" y="1698"/>
                  </a:lnTo>
                  <a:lnTo>
                    <a:pt x="1524" y="1698"/>
                  </a:lnTo>
                  <a:lnTo>
                    <a:pt x="1518" y="1704"/>
                  </a:lnTo>
                  <a:lnTo>
                    <a:pt x="1512" y="1710"/>
                  </a:lnTo>
                  <a:lnTo>
                    <a:pt x="1506" y="1722"/>
                  </a:lnTo>
                  <a:lnTo>
                    <a:pt x="1500" y="1728"/>
                  </a:lnTo>
                  <a:lnTo>
                    <a:pt x="1500" y="1734"/>
                  </a:lnTo>
                  <a:lnTo>
                    <a:pt x="1512" y="1734"/>
                  </a:lnTo>
                  <a:lnTo>
                    <a:pt x="1518" y="1740"/>
                  </a:lnTo>
                  <a:lnTo>
                    <a:pt x="1518" y="1746"/>
                  </a:lnTo>
                  <a:lnTo>
                    <a:pt x="1518" y="1752"/>
                  </a:lnTo>
                  <a:lnTo>
                    <a:pt x="1518" y="1758"/>
                  </a:lnTo>
                  <a:lnTo>
                    <a:pt x="1524" y="1758"/>
                  </a:lnTo>
                  <a:lnTo>
                    <a:pt x="1524" y="1764"/>
                  </a:lnTo>
                  <a:lnTo>
                    <a:pt x="1530" y="1770"/>
                  </a:lnTo>
                  <a:lnTo>
                    <a:pt x="1518" y="1770"/>
                  </a:lnTo>
                  <a:lnTo>
                    <a:pt x="1512" y="1782"/>
                  </a:lnTo>
                  <a:lnTo>
                    <a:pt x="1512" y="1788"/>
                  </a:lnTo>
                  <a:lnTo>
                    <a:pt x="1518" y="1788"/>
                  </a:lnTo>
                  <a:lnTo>
                    <a:pt x="1524" y="1800"/>
                  </a:lnTo>
                  <a:lnTo>
                    <a:pt x="1524" y="1806"/>
                  </a:lnTo>
                  <a:lnTo>
                    <a:pt x="1518" y="1812"/>
                  </a:lnTo>
                  <a:lnTo>
                    <a:pt x="1512" y="1818"/>
                  </a:lnTo>
                  <a:lnTo>
                    <a:pt x="1506" y="1818"/>
                  </a:lnTo>
                  <a:lnTo>
                    <a:pt x="1500" y="1824"/>
                  </a:lnTo>
                  <a:lnTo>
                    <a:pt x="1500" y="1836"/>
                  </a:lnTo>
                  <a:lnTo>
                    <a:pt x="1500" y="1842"/>
                  </a:lnTo>
                  <a:lnTo>
                    <a:pt x="1500" y="1848"/>
                  </a:lnTo>
                  <a:lnTo>
                    <a:pt x="1500" y="1854"/>
                  </a:lnTo>
                  <a:lnTo>
                    <a:pt x="1494" y="1860"/>
                  </a:lnTo>
                  <a:lnTo>
                    <a:pt x="1488" y="1860"/>
                  </a:lnTo>
                  <a:lnTo>
                    <a:pt x="1488" y="1866"/>
                  </a:lnTo>
                  <a:lnTo>
                    <a:pt x="1482" y="1872"/>
                  </a:lnTo>
                  <a:lnTo>
                    <a:pt x="1482" y="1878"/>
                  </a:lnTo>
                  <a:lnTo>
                    <a:pt x="1482" y="1884"/>
                  </a:lnTo>
                  <a:lnTo>
                    <a:pt x="1476" y="1890"/>
                  </a:lnTo>
                  <a:lnTo>
                    <a:pt x="1470" y="1890"/>
                  </a:lnTo>
                  <a:lnTo>
                    <a:pt x="1470" y="1896"/>
                  </a:lnTo>
                  <a:lnTo>
                    <a:pt x="1464" y="1896"/>
                  </a:lnTo>
                  <a:lnTo>
                    <a:pt x="1458" y="1896"/>
                  </a:lnTo>
                  <a:lnTo>
                    <a:pt x="1452" y="1896"/>
                  </a:lnTo>
                  <a:lnTo>
                    <a:pt x="1440" y="1890"/>
                  </a:lnTo>
                  <a:lnTo>
                    <a:pt x="1434" y="1896"/>
                  </a:lnTo>
                  <a:lnTo>
                    <a:pt x="1428" y="1896"/>
                  </a:lnTo>
                  <a:lnTo>
                    <a:pt x="1422" y="1896"/>
                  </a:lnTo>
                  <a:lnTo>
                    <a:pt x="1422" y="1902"/>
                  </a:lnTo>
                  <a:lnTo>
                    <a:pt x="1416" y="1902"/>
                  </a:lnTo>
                  <a:lnTo>
                    <a:pt x="1422" y="1914"/>
                  </a:lnTo>
                  <a:lnTo>
                    <a:pt x="1422" y="1932"/>
                  </a:lnTo>
                  <a:lnTo>
                    <a:pt x="1416" y="1938"/>
                  </a:lnTo>
                  <a:lnTo>
                    <a:pt x="1422" y="1938"/>
                  </a:lnTo>
                  <a:lnTo>
                    <a:pt x="1404" y="1938"/>
                  </a:lnTo>
                  <a:lnTo>
                    <a:pt x="1392" y="1944"/>
                  </a:lnTo>
                  <a:lnTo>
                    <a:pt x="1386" y="1944"/>
                  </a:lnTo>
                  <a:lnTo>
                    <a:pt x="1374" y="1944"/>
                  </a:lnTo>
                  <a:lnTo>
                    <a:pt x="1368" y="1950"/>
                  </a:lnTo>
                  <a:lnTo>
                    <a:pt x="1374" y="1956"/>
                  </a:lnTo>
                  <a:lnTo>
                    <a:pt x="1368" y="1956"/>
                  </a:lnTo>
                  <a:lnTo>
                    <a:pt x="1356" y="1956"/>
                  </a:lnTo>
                  <a:lnTo>
                    <a:pt x="1350" y="1956"/>
                  </a:lnTo>
                  <a:lnTo>
                    <a:pt x="1350" y="1950"/>
                  </a:lnTo>
                  <a:lnTo>
                    <a:pt x="1344" y="1944"/>
                  </a:lnTo>
                  <a:lnTo>
                    <a:pt x="1332" y="1938"/>
                  </a:lnTo>
                  <a:lnTo>
                    <a:pt x="1326" y="1938"/>
                  </a:lnTo>
                  <a:lnTo>
                    <a:pt x="1320" y="1938"/>
                  </a:lnTo>
                  <a:lnTo>
                    <a:pt x="1314" y="1944"/>
                  </a:lnTo>
                  <a:lnTo>
                    <a:pt x="1308" y="1944"/>
                  </a:lnTo>
                  <a:lnTo>
                    <a:pt x="1302" y="1944"/>
                  </a:lnTo>
                  <a:lnTo>
                    <a:pt x="1296" y="1938"/>
                  </a:lnTo>
                  <a:lnTo>
                    <a:pt x="1284" y="1938"/>
                  </a:lnTo>
                  <a:lnTo>
                    <a:pt x="1278" y="1938"/>
                  </a:lnTo>
                  <a:lnTo>
                    <a:pt x="1272" y="1938"/>
                  </a:lnTo>
                  <a:lnTo>
                    <a:pt x="1266" y="1932"/>
                  </a:lnTo>
                  <a:lnTo>
                    <a:pt x="1260" y="1932"/>
                  </a:lnTo>
                  <a:lnTo>
                    <a:pt x="1254" y="1920"/>
                  </a:lnTo>
                  <a:lnTo>
                    <a:pt x="1248" y="1920"/>
                  </a:lnTo>
                  <a:lnTo>
                    <a:pt x="1242" y="1920"/>
                  </a:lnTo>
                  <a:lnTo>
                    <a:pt x="1236" y="1926"/>
                  </a:lnTo>
                  <a:lnTo>
                    <a:pt x="1236" y="1932"/>
                  </a:lnTo>
                  <a:lnTo>
                    <a:pt x="1230" y="1932"/>
                  </a:lnTo>
                  <a:lnTo>
                    <a:pt x="1224" y="1932"/>
                  </a:lnTo>
                  <a:lnTo>
                    <a:pt x="1218" y="1938"/>
                  </a:lnTo>
                  <a:lnTo>
                    <a:pt x="1212" y="1932"/>
                  </a:lnTo>
                  <a:lnTo>
                    <a:pt x="1206" y="1926"/>
                  </a:lnTo>
                  <a:lnTo>
                    <a:pt x="1206" y="1908"/>
                  </a:lnTo>
                  <a:lnTo>
                    <a:pt x="1206" y="1884"/>
                  </a:lnTo>
                  <a:lnTo>
                    <a:pt x="1206" y="1866"/>
                  </a:lnTo>
                  <a:lnTo>
                    <a:pt x="1212" y="1848"/>
                  </a:lnTo>
                  <a:lnTo>
                    <a:pt x="1212" y="1842"/>
                  </a:lnTo>
                  <a:lnTo>
                    <a:pt x="1206" y="1836"/>
                  </a:lnTo>
                  <a:lnTo>
                    <a:pt x="1200" y="1830"/>
                  </a:lnTo>
                  <a:lnTo>
                    <a:pt x="1194" y="1824"/>
                  </a:lnTo>
                  <a:lnTo>
                    <a:pt x="1188" y="1824"/>
                  </a:lnTo>
                  <a:lnTo>
                    <a:pt x="1182" y="1824"/>
                  </a:lnTo>
                  <a:lnTo>
                    <a:pt x="1176" y="1824"/>
                  </a:lnTo>
                  <a:lnTo>
                    <a:pt x="1170" y="1818"/>
                  </a:lnTo>
                  <a:lnTo>
                    <a:pt x="1164" y="1830"/>
                  </a:lnTo>
                  <a:lnTo>
                    <a:pt x="1152" y="1836"/>
                  </a:lnTo>
                  <a:lnTo>
                    <a:pt x="1146" y="1842"/>
                  </a:lnTo>
                  <a:lnTo>
                    <a:pt x="1140" y="1842"/>
                  </a:lnTo>
                  <a:lnTo>
                    <a:pt x="1134" y="1842"/>
                  </a:lnTo>
                  <a:lnTo>
                    <a:pt x="1128" y="1842"/>
                  </a:lnTo>
                  <a:lnTo>
                    <a:pt x="1116" y="1836"/>
                  </a:lnTo>
                  <a:lnTo>
                    <a:pt x="1110" y="1842"/>
                  </a:lnTo>
                  <a:lnTo>
                    <a:pt x="1092" y="1830"/>
                  </a:lnTo>
                  <a:lnTo>
                    <a:pt x="1092" y="1824"/>
                  </a:lnTo>
                  <a:lnTo>
                    <a:pt x="1092" y="1806"/>
                  </a:lnTo>
                  <a:lnTo>
                    <a:pt x="1092" y="1800"/>
                  </a:lnTo>
                  <a:lnTo>
                    <a:pt x="1092" y="1794"/>
                  </a:lnTo>
                  <a:lnTo>
                    <a:pt x="1086" y="1788"/>
                  </a:lnTo>
                  <a:lnTo>
                    <a:pt x="1080" y="1794"/>
                  </a:lnTo>
                  <a:lnTo>
                    <a:pt x="1074" y="1788"/>
                  </a:lnTo>
                  <a:lnTo>
                    <a:pt x="1068" y="1770"/>
                  </a:lnTo>
                  <a:lnTo>
                    <a:pt x="1056" y="1764"/>
                  </a:lnTo>
                  <a:lnTo>
                    <a:pt x="1050" y="1764"/>
                  </a:lnTo>
                  <a:lnTo>
                    <a:pt x="1044" y="1764"/>
                  </a:lnTo>
                  <a:lnTo>
                    <a:pt x="1038" y="1758"/>
                  </a:lnTo>
                  <a:lnTo>
                    <a:pt x="1032" y="1752"/>
                  </a:lnTo>
                  <a:lnTo>
                    <a:pt x="1032" y="1746"/>
                  </a:lnTo>
                  <a:lnTo>
                    <a:pt x="1032" y="1740"/>
                  </a:lnTo>
                  <a:lnTo>
                    <a:pt x="1032" y="1734"/>
                  </a:lnTo>
                  <a:lnTo>
                    <a:pt x="1026" y="1734"/>
                  </a:lnTo>
                  <a:lnTo>
                    <a:pt x="1032" y="1728"/>
                  </a:lnTo>
                  <a:lnTo>
                    <a:pt x="1032" y="1722"/>
                  </a:lnTo>
                  <a:lnTo>
                    <a:pt x="1044" y="1686"/>
                  </a:lnTo>
                  <a:lnTo>
                    <a:pt x="1044" y="1680"/>
                  </a:lnTo>
                  <a:lnTo>
                    <a:pt x="1032" y="1674"/>
                  </a:lnTo>
                  <a:lnTo>
                    <a:pt x="1026" y="1674"/>
                  </a:lnTo>
                  <a:lnTo>
                    <a:pt x="1026" y="1668"/>
                  </a:lnTo>
                  <a:lnTo>
                    <a:pt x="1020" y="1662"/>
                  </a:lnTo>
                  <a:lnTo>
                    <a:pt x="1014" y="1668"/>
                  </a:lnTo>
                  <a:lnTo>
                    <a:pt x="1008" y="1662"/>
                  </a:lnTo>
                  <a:lnTo>
                    <a:pt x="1002" y="1662"/>
                  </a:lnTo>
                  <a:lnTo>
                    <a:pt x="1002" y="1668"/>
                  </a:lnTo>
                  <a:lnTo>
                    <a:pt x="996" y="1668"/>
                  </a:lnTo>
                  <a:lnTo>
                    <a:pt x="996" y="1662"/>
                  </a:lnTo>
                  <a:lnTo>
                    <a:pt x="984" y="1662"/>
                  </a:lnTo>
                  <a:lnTo>
                    <a:pt x="984" y="1656"/>
                  </a:lnTo>
                  <a:lnTo>
                    <a:pt x="978" y="1650"/>
                  </a:lnTo>
                  <a:lnTo>
                    <a:pt x="978" y="1644"/>
                  </a:lnTo>
                  <a:lnTo>
                    <a:pt x="966" y="1650"/>
                  </a:lnTo>
                  <a:lnTo>
                    <a:pt x="960" y="1638"/>
                  </a:lnTo>
                  <a:lnTo>
                    <a:pt x="954" y="1632"/>
                  </a:lnTo>
                  <a:lnTo>
                    <a:pt x="948" y="1632"/>
                  </a:lnTo>
                  <a:lnTo>
                    <a:pt x="942" y="1626"/>
                  </a:lnTo>
                  <a:lnTo>
                    <a:pt x="942" y="1614"/>
                  </a:lnTo>
                  <a:lnTo>
                    <a:pt x="930" y="1608"/>
                  </a:lnTo>
                  <a:lnTo>
                    <a:pt x="924" y="1614"/>
                  </a:lnTo>
                  <a:lnTo>
                    <a:pt x="912" y="1608"/>
                  </a:lnTo>
                  <a:lnTo>
                    <a:pt x="888" y="1590"/>
                  </a:lnTo>
                  <a:lnTo>
                    <a:pt x="894" y="1578"/>
                  </a:lnTo>
                  <a:lnTo>
                    <a:pt x="894" y="1572"/>
                  </a:lnTo>
                  <a:lnTo>
                    <a:pt x="894" y="1566"/>
                  </a:lnTo>
                  <a:lnTo>
                    <a:pt x="894" y="1548"/>
                  </a:lnTo>
                  <a:lnTo>
                    <a:pt x="888" y="1548"/>
                  </a:lnTo>
                  <a:lnTo>
                    <a:pt x="882" y="1542"/>
                  </a:lnTo>
                  <a:lnTo>
                    <a:pt x="876" y="1542"/>
                  </a:lnTo>
                  <a:lnTo>
                    <a:pt x="876" y="1536"/>
                  </a:lnTo>
                  <a:lnTo>
                    <a:pt x="870" y="1542"/>
                  </a:lnTo>
                  <a:lnTo>
                    <a:pt x="870" y="1554"/>
                  </a:lnTo>
                  <a:lnTo>
                    <a:pt x="870" y="1566"/>
                  </a:lnTo>
                  <a:lnTo>
                    <a:pt x="870" y="1578"/>
                  </a:lnTo>
                  <a:lnTo>
                    <a:pt x="870" y="1584"/>
                  </a:lnTo>
                  <a:lnTo>
                    <a:pt x="864" y="1584"/>
                  </a:lnTo>
                  <a:lnTo>
                    <a:pt x="870" y="1602"/>
                  </a:lnTo>
                  <a:lnTo>
                    <a:pt x="864" y="1608"/>
                  </a:lnTo>
                  <a:lnTo>
                    <a:pt x="870" y="1614"/>
                  </a:lnTo>
                  <a:lnTo>
                    <a:pt x="864" y="1644"/>
                  </a:lnTo>
                  <a:lnTo>
                    <a:pt x="858" y="1650"/>
                  </a:lnTo>
                  <a:lnTo>
                    <a:pt x="858" y="1656"/>
                  </a:lnTo>
                  <a:lnTo>
                    <a:pt x="852" y="1662"/>
                  </a:lnTo>
                  <a:lnTo>
                    <a:pt x="852" y="1680"/>
                  </a:lnTo>
                  <a:lnTo>
                    <a:pt x="846" y="1686"/>
                  </a:lnTo>
                  <a:lnTo>
                    <a:pt x="834" y="1692"/>
                  </a:lnTo>
                  <a:lnTo>
                    <a:pt x="828" y="1692"/>
                  </a:lnTo>
                  <a:lnTo>
                    <a:pt x="822" y="1698"/>
                  </a:lnTo>
                  <a:lnTo>
                    <a:pt x="822" y="1704"/>
                  </a:lnTo>
                  <a:lnTo>
                    <a:pt x="816" y="1704"/>
                  </a:lnTo>
                  <a:lnTo>
                    <a:pt x="804" y="1692"/>
                  </a:lnTo>
                  <a:lnTo>
                    <a:pt x="786" y="1698"/>
                  </a:lnTo>
                  <a:lnTo>
                    <a:pt x="780" y="1698"/>
                  </a:lnTo>
                  <a:lnTo>
                    <a:pt x="756" y="1698"/>
                  </a:lnTo>
                  <a:lnTo>
                    <a:pt x="744" y="1698"/>
                  </a:lnTo>
                  <a:lnTo>
                    <a:pt x="738" y="1698"/>
                  </a:lnTo>
                  <a:lnTo>
                    <a:pt x="732" y="1704"/>
                  </a:lnTo>
                  <a:lnTo>
                    <a:pt x="726" y="1704"/>
                  </a:lnTo>
                  <a:lnTo>
                    <a:pt x="678" y="1710"/>
                  </a:lnTo>
                  <a:lnTo>
                    <a:pt x="642" y="1710"/>
                  </a:lnTo>
                  <a:lnTo>
                    <a:pt x="618" y="1680"/>
                  </a:lnTo>
                  <a:lnTo>
                    <a:pt x="618" y="1674"/>
                  </a:lnTo>
                  <a:lnTo>
                    <a:pt x="618" y="1668"/>
                  </a:lnTo>
                  <a:lnTo>
                    <a:pt x="624" y="1662"/>
                  </a:lnTo>
                  <a:lnTo>
                    <a:pt x="624" y="1656"/>
                  </a:lnTo>
                  <a:lnTo>
                    <a:pt x="624" y="1650"/>
                  </a:lnTo>
                  <a:lnTo>
                    <a:pt x="618" y="1650"/>
                  </a:lnTo>
                  <a:lnTo>
                    <a:pt x="618" y="1644"/>
                  </a:lnTo>
                  <a:lnTo>
                    <a:pt x="618" y="1638"/>
                  </a:lnTo>
                  <a:lnTo>
                    <a:pt x="618" y="1632"/>
                  </a:lnTo>
                  <a:lnTo>
                    <a:pt x="618" y="1626"/>
                  </a:lnTo>
                  <a:lnTo>
                    <a:pt x="612" y="1626"/>
                  </a:lnTo>
                  <a:lnTo>
                    <a:pt x="612" y="1620"/>
                  </a:lnTo>
                  <a:lnTo>
                    <a:pt x="606" y="1614"/>
                  </a:lnTo>
                  <a:lnTo>
                    <a:pt x="594" y="1626"/>
                  </a:lnTo>
                  <a:lnTo>
                    <a:pt x="594" y="1632"/>
                  </a:lnTo>
                  <a:lnTo>
                    <a:pt x="588" y="1638"/>
                  </a:lnTo>
                  <a:lnTo>
                    <a:pt x="582" y="1638"/>
                  </a:lnTo>
                  <a:lnTo>
                    <a:pt x="564" y="1656"/>
                  </a:lnTo>
                  <a:lnTo>
                    <a:pt x="558" y="1662"/>
                  </a:lnTo>
                  <a:lnTo>
                    <a:pt x="552" y="1662"/>
                  </a:lnTo>
                  <a:lnTo>
                    <a:pt x="540" y="1674"/>
                  </a:lnTo>
                  <a:lnTo>
                    <a:pt x="534" y="1680"/>
                  </a:lnTo>
                  <a:lnTo>
                    <a:pt x="522" y="1692"/>
                  </a:lnTo>
                  <a:lnTo>
                    <a:pt x="516" y="1704"/>
                  </a:lnTo>
                  <a:lnTo>
                    <a:pt x="510" y="1704"/>
                  </a:lnTo>
                  <a:lnTo>
                    <a:pt x="504" y="1704"/>
                  </a:lnTo>
                  <a:lnTo>
                    <a:pt x="486" y="1722"/>
                  </a:lnTo>
                  <a:lnTo>
                    <a:pt x="480" y="1740"/>
                  </a:lnTo>
                  <a:lnTo>
                    <a:pt x="474" y="1740"/>
                  </a:lnTo>
                  <a:lnTo>
                    <a:pt x="468" y="1746"/>
                  </a:lnTo>
                  <a:lnTo>
                    <a:pt x="456" y="1758"/>
                  </a:lnTo>
                  <a:lnTo>
                    <a:pt x="444" y="1770"/>
                  </a:lnTo>
                  <a:lnTo>
                    <a:pt x="438" y="1782"/>
                  </a:lnTo>
                  <a:lnTo>
                    <a:pt x="426" y="1788"/>
                  </a:lnTo>
                  <a:lnTo>
                    <a:pt x="420" y="1788"/>
                  </a:lnTo>
                  <a:lnTo>
                    <a:pt x="420" y="1782"/>
                  </a:lnTo>
                  <a:lnTo>
                    <a:pt x="414" y="1782"/>
                  </a:lnTo>
                  <a:lnTo>
                    <a:pt x="390" y="1782"/>
                  </a:lnTo>
                  <a:lnTo>
                    <a:pt x="390" y="1776"/>
                  </a:lnTo>
                  <a:lnTo>
                    <a:pt x="384" y="1776"/>
                  </a:lnTo>
                  <a:lnTo>
                    <a:pt x="378" y="1776"/>
                  </a:lnTo>
                  <a:lnTo>
                    <a:pt x="372" y="1776"/>
                  </a:lnTo>
                  <a:lnTo>
                    <a:pt x="366" y="1770"/>
                  </a:lnTo>
                  <a:lnTo>
                    <a:pt x="366" y="1776"/>
                  </a:lnTo>
                  <a:lnTo>
                    <a:pt x="360" y="1788"/>
                  </a:lnTo>
                  <a:lnTo>
                    <a:pt x="360" y="1794"/>
                  </a:lnTo>
                  <a:lnTo>
                    <a:pt x="360" y="1800"/>
                  </a:lnTo>
                  <a:lnTo>
                    <a:pt x="354" y="1806"/>
                  </a:lnTo>
                  <a:lnTo>
                    <a:pt x="354" y="1812"/>
                  </a:lnTo>
                  <a:lnTo>
                    <a:pt x="354" y="1824"/>
                  </a:lnTo>
                  <a:lnTo>
                    <a:pt x="348" y="1830"/>
                  </a:lnTo>
                  <a:lnTo>
                    <a:pt x="354" y="1836"/>
                  </a:lnTo>
                  <a:lnTo>
                    <a:pt x="348" y="1842"/>
                  </a:lnTo>
                  <a:lnTo>
                    <a:pt x="354" y="1848"/>
                  </a:lnTo>
                  <a:lnTo>
                    <a:pt x="348" y="1854"/>
                  </a:lnTo>
                  <a:lnTo>
                    <a:pt x="354" y="1854"/>
                  </a:lnTo>
                  <a:lnTo>
                    <a:pt x="348" y="1860"/>
                  </a:lnTo>
                  <a:lnTo>
                    <a:pt x="348" y="1866"/>
                  </a:lnTo>
                  <a:lnTo>
                    <a:pt x="342" y="1866"/>
                  </a:lnTo>
                  <a:lnTo>
                    <a:pt x="342" y="1872"/>
                  </a:lnTo>
                  <a:lnTo>
                    <a:pt x="342" y="1878"/>
                  </a:lnTo>
                  <a:lnTo>
                    <a:pt x="342" y="1884"/>
                  </a:lnTo>
                  <a:lnTo>
                    <a:pt x="336" y="1896"/>
                  </a:lnTo>
                  <a:lnTo>
                    <a:pt x="330" y="1914"/>
                  </a:lnTo>
                  <a:lnTo>
                    <a:pt x="324" y="1920"/>
                  </a:lnTo>
                  <a:lnTo>
                    <a:pt x="324" y="1926"/>
                  </a:lnTo>
                  <a:lnTo>
                    <a:pt x="318" y="1944"/>
                  </a:lnTo>
                  <a:lnTo>
                    <a:pt x="318" y="1950"/>
                  </a:lnTo>
                  <a:lnTo>
                    <a:pt x="312" y="1956"/>
                  </a:lnTo>
                  <a:lnTo>
                    <a:pt x="312" y="1950"/>
                  </a:lnTo>
                  <a:lnTo>
                    <a:pt x="306" y="1950"/>
                  </a:lnTo>
                  <a:lnTo>
                    <a:pt x="306" y="1956"/>
                  </a:lnTo>
                  <a:lnTo>
                    <a:pt x="300" y="1950"/>
                  </a:lnTo>
                  <a:lnTo>
                    <a:pt x="294" y="1956"/>
                  </a:lnTo>
                  <a:lnTo>
                    <a:pt x="288" y="1950"/>
                  </a:lnTo>
                  <a:lnTo>
                    <a:pt x="288" y="1944"/>
                  </a:lnTo>
                  <a:lnTo>
                    <a:pt x="282" y="1938"/>
                  </a:lnTo>
                  <a:lnTo>
                    <a:pt x="282" y="1932"/>
                  </a:lnTo>
                  <a:lnTo>
                    <a:pt x="282" y="1890"/>
                  </a:lnTo>
                  <a:lnTo>
                    <a:pt x="288" y="1860"/>
                  </a:lnTo>
                  <a:lnTo>
                    <a:pt x="294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300" y="1818"/>
                  </a:lnTo>
                  <a:lnTo>
                    <a:pt x="306" y="1794"/>
                  </a:lnTo>
                  <a:lnTo>
                    <a:pt x="306" y="1788"/>
                  </a:lnTo>
                  <a:lnTo>
                    <a:pt x="306" y="1782"/>
                  </a:lnTo>
                  <a:lnTo>
                    <a:pt x="312" y="1776"/>
                  </a:lnTo>
                  <a:lnTo>
                    <a:pt x="306" y="1776"/>
                  </a:lnTo>
                  <a:lnTo>
                    <a:pt x="312" y="1770"/>
                  </a:lnTo>
                  <a:lnTo>
                    <a:pt x="312" y="1740"/>
                  </a:lnTo>
                  <a:lnTo>
                    <a:pt x="318" y="1722"/>
                  </a:lnTo>
                  <a:lnTo>
                    <a:pt x="312" y="1722"/>
                  </a:lnTo>
                  <a:lnTo>
                    <a:pt x="300" y="1716"/>
                  </a:lnTo>
                  <a:lnTo>
                    <a:pt x="306" y="1716"/>
                  </a:lnTo>
                  <a:lnTo>
                    <a:pt x="312" y="1710"/>
                  </a:lnTo>
                  <a:lnTo>
                    <a:pt x="324" y="1674"/>
                  </a:lnTo>
                  <a:lnTo>
                    <a:pt x="366" y="1590"/>
                  </a:lnTo>
                  <a:lnTo>
                    <a:pt x="408" y="1548"/>
                  </a:lnTo>
                  <a:lnTo>
                    <a:pt x="426" y="1530"/>
                  </a:lnTo>
                  <a:lnTo>
                    <a:pt x="432" y="1500"/>
                  </a:lnTo>
                  <a:lnTo>
                    <a:pt x="426" y="1494"/>
                  </a:lnTo>
                  <a:lnTo>
                    <a:pt x="426" y="1482"/>
                  </a:lnTo>
                  <a:lnTo>
                    <a:pt x="432" y="1464"/>
                  </a:lnTo>
                  <a:lnTo>
                    <a:pt x="438" y="1428"/>
                  </a:lnTo>
                  <a:lnTo>
                    <a:pt x="462" y="1398"/>
                  </a:lnTo>
                  <a:lnTo>
                    <a:pt x="468" y="1362"/>
                  </a:lnTo>
                  <a:lnTo>
                    <a:pt x="462" y="1314"/>
                  </a:lnTo>
                  <a:lnTo>
                    <a:pt x="444" y="1284"/>
                  </a:lnTo>
                  <a:lnTo>
                    <a:pt x="432" y="1260"/>
                  </a:lnTo>
                  <a:lnTo>
                    <a:pt x="426" y="1260"/>
                  </a:lnTo>
                  <a:lnTo>
                    <a:pt x="420" y="1254"/>
                  </a:lnTo>
                  <a:lnTo>
                    <a:pt x="408" y="1260"/>
                  </a:lnTo>
                  <a:lnTo>
                    <a:pt x="402" y="1260"/>
                  </a:lnTo>
                  <a:lnTo>
                    <a:pt x="402" y="1254"/>
                  </a:lnTo>
                  <a:lnTo>
                    <a:pt x="396" y="1254"/>
                  </a:lnTo>
                  <a:lnTo>
                    <a:pt x="396" y="1248"/>
                  </a:lnTo>
                  <a:lnTo>
                    <a:pt x="384" y="1248"/>
                  </a:lnTo>
                  <a:lnTo>
                    <a:pt x="372" y="1230"/>
                  </a:lnTo>
                  <a:lnTo>
                    <a:pt x="360" y="1212"/>
                  </a:lnTo>
                  <a:lnTo>
                    <a:pt x="348" y="1188"/>
                  </a:lnTo>
                  <a:lnTo>
                    <a:pt x="324" y="1170"/>
                  </a:lnTo>
                  <a:lnTo>
                    <a:pt x="318" y="1170"/>
                  </a:lnTo>
                  <a:lnTo>
                    <a:pt x="312" y="1158"/>
                  </a:lnTo>
                  <a:lnTo>
                    <a:pt x="312" y="1152"/>
                  </a:lnTo>
                  <a:lnTo>
                    <a:pt x="306" y="1146"/>
                  </a:lnTo>
                  <a:lnTo>
                    <a:pt x="270" y="1122"/>
                  </a:lnTo>
                  <a:lnTo>
                    <a:pt x="240" y="1122"/>
                  </a:lnTo>
                  <a:lnTo>
                    <a:pt x="180" y="1116"/>
                  </a:lnTo>
                  <a:lnTo>
                    <a:pt x="174" y="1122"/>
                  </a:lnTo>
                  <a:lnTo>
                    <a:pt x="174" y="1128"/>
                  </a:lnTo>
                  <a:lnTo>
                    <a:pt x="168" y="1122"/>
                  </a:lnTo>
                  <a:lnTo>
                    <a:pt x="162" y="1116"/>
                  </a:lnTo>
                  <a:lnTo>
                    <a:pt x="144" y="1122"/>
                  </a:lnTo>
                  <a:lnTo>
                    <a:pt x="120" y="1122"/>
                  </a:lnTo>
                  <a:lnTo>
                    <a:pt x="54" y="1134"/>
                  </a:lnTo>
                  <a:lnTo>
                    <a:pt x="24" y="1152"/>
                  </a:lnTo>
                  <a:lnTo>
                    <a:pt x="6" y="1146"/>
                  </a:lnTo>
                  <a:lnTo>
                    <a:pt x="0" y="1134"/>
                  </a:lnTo>
                  <a:lnTo>
                    <a:pt x="0" y="1128"/>
                  </a:lnTo>
                  <a:lnTo>
                    <a:pt x="18" y="1110"/>
                  </a:lnTo>
                  <a:lnTo>
                    <a:pt x="24" y="1104"/>
                  </a:lnTo>
                  <a:lnTo>
                    <a:pt x="24" y="1098"/>
                  </a:lnTo>
                  <a:lnTo>
                    <a:pt x="30" y="1086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24" y="1074"/>
                  </a:lnTo>
                  <a:lnTo>
                    <a:pt x="18" y="1068"/>
                  </a:lnTo>
                  <a:lnTo>
                    <a:pt x="24" y="1062"/>
                  </a:lnTo>
                  <a:lnTo>
                    <a:pt x="42" y="1056"/>
                  </a:lnTo>
                  <a:lnTo>
                    <a:pt x="54" y="1050"/>
                  </a:lnTo>
                  <a:lnTo>
                    <a:pt x="72" y="1044"/>
                  </a:lnTo>
                  <a:lnTo>
                    <a:pt x="96" y="1032"/>
                  </a:lnTo>
                  <a:lnTo>
                    <a:pt x="102" y="1032"/>
                  </a:lnTo>
                  <a:lnTo>
                    <a:pt x="126" y="1008"/>
                  </a:lnTo>
                  <a:lnTo>
                    <a:pt x="144" y="990"/>
                  </a:lnTo>
                  <a:lnTo>
                    <a:pt x="156" y="978"/>
                  </a:lnTo>
                  <a:lnTo>
                    <a:pt x="156" y="966"/>
                  </a:lnTo>
                  <a:lnTo>
                    <a:pt x="150" y="960"/>
                  </a:lnTo>
                  <a:lnTo>
                    <a:pt x="144" y="948"/>
                  </a:lnTo>
                  <a:lnTo>
                    <a:pt x="144" y="936"/>
                  </a:lnTo>
                  <a:lnTo>
                    <a:pt x="138" y="918"/>
                  </a:lnTo>
                  <a:lnTo>
                    <a:pt x="150" y="912"/>
                  </a:lnTo>
                  <a:lnTo>
                    <a:pt x="150" y="894"/>
                  </a:lnTo>
                  <a:lnTo>
                    <a:pt x="132" y="876"/>
                  </a:lnTo>
                  <a:lnTo>
                    <a:pt x="126" y="876"/>
                  </a:lnTo>
                  <a:lnTo>
                    <a:pt x="120" y="870"/>
                  </a:lnTo>
                  <a:lnTo>
                    <a:pt x="120" y="864"/>
                  </a:lnTo>
                  <a:lnTo>
                    <a:pt x="114" y="864"/>
                  </a:lnTo>
                  <a:lnTo>
                    <a:pt x="108" y="864"/>
                  </a:lnTo>
                  <a:lnTo>
                    <a:pt x="108" y="858"/>
                  </a:lnTo>
                  <a:lnTo>
                    <a:pt x="102" y="852"/>
                  </a:lnTo>
                  <a:lnTo>
                    <a:pt x="96" y="852"/>
                  </a:lnTo>
                  <a:lnTo>
                    <a:pt x="102" y="834"/>
                  </a:lnTo>
                  <a:lnTo>
                    <a:pt x="108" y="816"/>
                  </a:lnTo>
                  <a:lnTo>
                    <a:pt x="114" y="804"/>
                  </a:lnTo>
                  <a:lnTo>
                    <a:pt x="132" y="798"/>
                  </a:lnTo>
                  <a:lnTo>
                    <a:pt x="144" y="798"/>
                  </a:lnTo>
                  <a:lnTo>
                    <a:pt x="180" y="810"/>
                  </a:lnTo>
                  <a:lnTo>
                    <a:pt x="192" y="816"/>
                  </a:lnTo>
                  <a:lnTo>
                    <a:pt x="234" y="822"/>
                  </a:lnTo>
                  <a:lnTo>
                    <a:pt x="264" y="828"/>
                  </a:lnTo>
                  <a:lnTo>
                    <a:pt x="270" y="840"/>
                  </a:lnTo>
                  <a:lnTo>
                    <a:pt x="270" y="834"/>
                  </a:lnTo>
                  <a:lnTo>
                    <a:pt x="270" y="828"/>
                  </a:lnTo>
                  <a:lnTo>
                    <a:pt x="270" y="822"/>
                  </a:lnTo>
                  <a:lnTo>
                    <a:pt x="270" y="816"/>
                  </a:lnTo>
                  <a:lnTo>
                    <a:pt x="264" y="810"/>
                  </a:lnTo>
                  <a:lnTo>
                    <a:pt x="264" y="804"/>
                  </a:lnTo>
                  <a:lnTo>
                    <a:pt x="264" y="798"/>
                  </a:lnTo>
                  <a:lnTo>
                    <a:pt x="258" y="792"/>
                  </a:lnTo>
                  <a:lnTo>
                    <a:pt x="258" y="786"/>
                  </a:lnTo>
                  <a:lnTo>
                    <a:pt x="264" y="786"/>
                  </a:lnTo>
                  <a:lnTo>
                    <a:pt x="264" y="780"/>
                  </a:lnTo>
                  <a:lnTo>
                    <a:pt x="258" y="774"/>
                  </a:lnTo>
                  <a:lnTo>
                    <a:pt x="258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82" y="762"/>
                  </a:lnTo>
                  <a:lnTo>
                    <a:pt x="312" y="780"/>
                  </a:lnTo>
                  <a:lnTo>
                    <a:pt x="354" y="786"/>
                  </a:lnTo>
                  <a:lnTo>
                    <a:pt x="408" y="774"/>
                  </a:lnTo>
                  <a:lnTo>
                    <a:pt x="444" y="756"/>
                  </a:lnTo>
                  <a:lnTo>
                    <a:pt x="468" y="732"/>
                  </a:lnTo>
                  <a:lnTo>
                    <a:pt x="492" y="720"/>
                  </a:lnTo>
                  <a:lnTo>
                    <a:pt x="522" y="690"/>
                  </a:lnTo>
                  <a:lnTo>
                    <a:pt x="540" y="672"/>
                  </a:lnTo>
                  <a:lnTo>
                    <a:pt x="558" y="660"/>
                  </a:lnTo>
                  <a:lnTo>
                    <a:pt x="570" y="636"/>
                  </a:lnTo>
                  <a:lnTo>
                    <a:pt x="588" y="612"/>
                  </a:lnTo>
                  <a:lnTo>
                    <a:pt x="654" y="552"/>
                  </a:lnTo>
                  <a:lnTo>
                    <a:pt x="678" y="528"/>
                  </a:lnTo>
                  <a:lnTo>
                    <a:pt x="696" y="510"/>
                  </a:lnTo>
                  <a:lnTo>
                    <a:pt x="714" y="498"/>
                  </a:lnTo>
                  <a:lnTo>
                    <a:pt x="750" y="480"/>
                  </a:lnTo>
                  <a:lnTo>
                    <a:pt x="774" y="444"/>
                  </a:lnTo>
                  <a:lnTo>
                    <a:pt x="816" y="426"/>
                  </a:lnTo>
                  <a:lnTo>
                    <a:pt x="864" y="420"/>
                  </a:lnTo>
                  <a:lnTo>
                    <a:pt x="912" y="402"/>
                  </a:lnTo>
                  <a:lnTo>
                    <a:pt x="906" y="396"/>
                  </a:lnTo>
                  <a:lnTo>
                    <a:pt x="912" y="396"/>
                  </a:lnTo>
                  <a:lnTo>
                    <a:pt x="912" y="390"/>
                  </a:lnTo>
                  <a:lnTo>
                    <a:pt x="918" y="384"/>
                  </a:lnTo>
                  <a:lnTo>
                    <a:pt x="924" y="384"/>
                  </a:lnTo>
                  <a:lnTo>
                    <a:pt x="924" y="378"/>
                  </a:lnTo>
                  <a:lnTo>
                    <a:pt x="918" y="372"/>
                  </a:lnTo>
                  <a:lnTo>
                    <a:pt x="918" y="366"/>
                  </a:lnTo>
                  <a:lnTo>
                    <a:pt x="918" y="360"/>
                  </a:lnTo>
                  <a:lnTo>
                    <a:pt x="924" y="360"/>
                  </a:lnTo>
                  <a:lnTo>
                    <a:pt x="924" y="354"/>
                  </a:lnTo>
                  <a:lnTo>
                    <a:pt x="930" y="354"/>
                  </a:lnTo>
                  <a:lnTo>
                    <a:pt x="936" y="354"/>
                  </a:lnTo>
                  <a:lnTo>
                    <a:pt x="936" y="348"/>
                  </a:lnTo>
                  <a:lnTo>
                    <a:pt x="942" y="348"/>
                  </a:lnTo>
                  <a:lnTo>
                    <a:pt x="942" y="336"/>
                  </a:lnTo>
                  <a:lnTo>
                    <a:pt x="936" y="336"/>
                  </a:lnTo>
                  <a:lnTo>
                    <a:pt x="930" y="330"/>
                  </a:lnTo>
                  <a:lnTo>
                    <a:pt x="924" y="330"/>
                  </a:lnTo>
                  <a:lnTo>
                    <a:pt x="924" y="324"/>
                  </a:lnTo>
                  <a:lnTo>
                    <a:pt x="918" y="318"/>
                  </a:lnTo>
                  <a:lnTo>
                    <a:pt x="912" y="306"/>
                  </a:lnTo>
                  <a:lnTo>
                    <a:pt x="918" y="306"/>
                  </a:lnTo>
                  <a:lnTo>
                    <a:pt x="924" y="300"/>
                  </a:lnTo>
                  <a:lnTo>
                    <a:pt x="924" y="294"/>
                  </a:lnTo>
                  <a:lnTo>
                    <a:pt x="924" y="288"/>
                  </a:lnTo>
                  <a:lnTo>
                    <a:pt x="924" y="282"/>
                  </a:lnTo>
                  <a:lnTo>
                    <a:pt x="924" y="276"/>
                  </a:lnTo>
                  <a:lnTo>
                    <a:pt x="918" y="270"/>
                  </a:lnTo>
                  <a:lnTo>
                    <a:pt x="918" y="264"/>
                  </a:lnTo>
                  <a:lnTo>
                    <a:pt x="912" y="270"/>
                  </a:lnTo>
                  <a:lnTo>
                    <a:pt x="912" y="264"/>
                  </a:lnTo>
                  <a:lnTo>
                    <a:pt x="912" y="258"/>
                  </a:lnTo>
                  <a:lnTo>
                    <a:pt x="912" y="252"/>
                  </a:lnTo>
                  <a:lnTo>
                    <a:pt x="906" y="252"/>
                  </a:lnTo>
                  <a:lnTo>
                    <a:pt x="900" y="246"/>
                  </a:lnTo>
                  <a:lnTo>
                    <a:pt x="900" y="240"/>
                  </a:lnTo>
                  <a:lnTo>
                    <a:pt x="900" y="246"/>
                  </a:lnTo>
                  <a:lnTo>
                    <a:pt x="894" y="246"/>
                  </a:lnTo>
                  <a:lnTo>
                    <a:pt x="894" y="240"/>
                  </a:lnTo>
                  <a:lnTo>
                    <a:pt x="894" y="234"/>
                  </a:lnTo>
                  <a:lnTo>
                    <a:pt x="900" y="234"/>
                  </a:lnTo>
                  <a:lnTo>
                    <a:pt x="900" y="228"/>
                  </a:lnTo>
                  <a:lnTo>
                    <a:pt x="906" y="228"/>
                  </a:lnTo>
                  <a:lnTo>
                    <a:pt x="900" y="222"/>
                  </a:lnTo>
                  <a:lnTo>
                    <a:pt x="894" y="216"/>
                  </a:lnTo>
                  <a:lnTo>
                    <a:pt x="894" y="210"/>
                  </a:lnTo>
                  <a:lnTo>
                    <a:pt x="888" y="210"/>
                  </a:lnTo>
                  <a:lnTo>
                    <a:pt x="888" y="204"/>
                  </a:lnTo>
                  <a:lnTo>
                    <a:pt x="888" y="198"/>
                  </a:lnTo>
                  <a:lnTo>
                    <a:pt x="888" y="192"/>
                  </a:lnTo>
                  <a:lnTo>
                    <a:pt x="882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82" y="174"/>
                  </a:lnTo>
                  <a:lnTo>
                    <a:pt x="888" y="168"/>
                  </a:lnTo>
                  <a:lnTo>
                    <a:pt x="888" y="162"/>
                  </a:lnTo>
                  <a:lnTo>
                    <a:pt x="888" y="156"/>
                  </a:lnTo>
                  <a:lnTo>
                    <a:pt x="888" y="150"/>
                  </a:lnTo>
                  <a:lnTo>
                    <a:pt x="888" y="144"/>
                  </a:lnTo>
                  <a:lnTo>
                    <a:pt x="882" y="144"/>
                  </a:lnTo>
                  <a:lnTo>
                    <a:pt x="882" y="138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76" y="120"/>
                  </a:lnTo>
                  <a:lnTo>
                    <a:pt x="882" y="114"/>
                  </a:lnTo>
                  <a:lnTo>
                    <a:pt x="882" y="108"/>
                  </a:lnTo>
                  <a:lnTo>
                    <a:pt x="888" y="102"/>
                  </a:lnTo>
                  <a:lnTo>
                    <a:pt x="894" y="102"/>
                  </a:lnTo>
                  <a:lnTo>
                    <a:pt x="894" y="96"/>
                  </a:lnTo>
                  <a:lnTo>
                    <a:pt x="888" y="96"/>
                  </a:lnTo>
                  <a:lnTo>
                    <a:pt x="894" y="90"/>
                  </a:lnTo>
                  <a:lnTo>
                    <a:pt x="888" y="84"/>
                  </a:lnTo>
                  <a:lnTo>
                    <a:pt x="888" y="78"/>
                  </a:lnTo>
                  <a:lnTo>
                    <a:pt x="924" y="66"/>
                  </a:lnTo>
                  <a:lnTo>
                    <a:pt x="966" y="66"/>
                  </a:lnTo>
                  <a:lnTo>
                    <a:pt x="996" y="48"/>
                  </a:lnTo>
                  <a:lnTo>
                    <a:pt x="1056" y="12"/>
                  </a:lnTo>
                  <a:lnTo>
                    <a:pt x="1128" y="0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0" y="18"/>
                  </a:lnTo>
                  <a:lnTo>
                    <a:pt x="1176" y="24"/>
                  </a:lnTo>
                  <a:lnTo>
                    <a:pt x="1182" y="24"/>
                  </a:lnTo>
                  <a:lnTo>
                    <a:pt x="1188" y="30"/>
                  </a:lnTo>
                  <a:lnTo>
                    <a:pt x="1194" y="30"/>
                  </a:lnTo>
                  <a:lnTo>
                    <a:pt x="1194" y="36"/>
                  </a:lnTo>
                  <a:lnTo>
                    <a:pt x="1260" y="30"/>
                  </a:lnTo>
                  <a:lnTo>
                    <a:pt x="1272" y="30"/>
                  </a:lnTo>
                  <a:lnTo>
                    <a:pt x="1296" y="24"/>
                  </a:lnTo>
                  <a:lnTo>
                    <a:pt x="1302" y="30"/>
                  </a:lnTo>
                  <a:lnTo>
                    <a:pt x="1302" y="36"/>
                  </a:lnTo>
                  <a:lnTo>
                    <a:pt x="1308" y="36"/>
                  </a:lnTo>
                  <a:lnTo>
                    <a:pt x="1314" y="36"/>
                  </a:lnTo>
                  <a:lnTo>
                    <a:pt x="1320" y="36"/>
                  </a:lnTo>
                  <a:lnTo>
                    <a:pt x="1326" y="30"/>
                  </a:lnTo>
                  <a:lnTo>
                    <a:pt x="1332" y="30"/>
                  </a:lnTo>
                  <a:lnTo>
                    <a:pt x="1338" y="30"/>
                  </a:lnTo>
                  <a:lnTo>
                    <a:pt x="1344" y="30"/>
                  </a:lnTo>
                  <a:lnTo>
                    <a:pt x="1374" y="30"/>
                  </a:lnTo>
                  <a:lnTo>
                    <a:pt x="1386" y="30"/>
                  </a:lnTo>
                  <a:lnTo>
                    <a:pt x="1392" y="24"/>
                  </a:lnTo>
                  <a:lnTo>
                    <a:pt x="1398" y="12"/>
                  </a:lnTo>
                  <a:lnTo>
                    <a:pt x="1404" y="6"/>
                  </a:lnTo>
                  <a:lnTo>
                    <a:pt x="1410" y="6"/>
                  </a:lnTo>
                  <a:lnTo>
                    <a:pt x="1410" y="12"/>
                  </a:lnTo>
                  <a:lnTo>
                    <a:pt x="1416" y="18"/>
                  </a:lnTo>
                  <a:lnTo>
                    <a:pt x="1416" y="36"/>
                  </a:lnTo>
                  <a:lnTo>
                    <a:pt x="1434" y="54"/>
                  </a:lnTo>
                  <a:lnTo>
                    <a:pt x="1434" y="60"/>
                  </a:lnTo>
                  <a:lnTo>
                    <a:pt x="1434" y="66"/>
                  </a:lnTo>
                  <a:lnTo>
                    <a:pt x="1434" y="72"/>
                  </a:lnTo>
                  <a:lnTo>
                    <a:pt x="1428" y="72"/>
                  </a:lnTo>
                  <a:lnTo>
                    <a:pt x="1428" y="78"/>
                  </a:lnTo>
                  <a:lnTo>
                    <a:pt x="1434" y="78"/>
                  </a:lnTo>
                  <a:lnTo>
                    <a:pt x="1440" y="84"/>
                  </a:lnTo>
                  <a:lnTo>
                    <a:pt x="1440" y="90"/>
                  </a:lnTo>
                  <a:lnTo>
                    <a:pt x="1440" y="96"/>
                  </a:lnTo>
                  <a:lnTo>
                    <a:pt x="1446" y="96"/>
                  </a:lnTo>
                  <a:lnTo>
                    <a:pt x="1446" y="108"/>
                  </a:lnTo>
                  <a:lnTo>
                    <a:pt x="1452" y="108"/>
                  </a:lnTo>
                  <a:lnTo>
                    <a:pt x="1452" y="114"/>
                  </a:lnTo>
                  <a:lnTo>
                    <a:pt x="1458" y="114"/>
                  </a:lnTo>
                  <a:lnTo>
                    <a:pt x="1470" y="120"/>
                  </a:lnTo>
                  <a:lnTo>
                    <a:pt x="1476" y="120"/>
                  </a:lnTo>
                  <a:lnTo>
                    <a:pt x="1476" y="114"/>
                  </a:lnTo>
                  <a:lnTo>
                    <a:pt x="1488" y="120"/>
                  </a:lnTo>
                  <a:lnTo>
                    <a:pt x="1506" y="120"/>
                  </a:lnTo>
                  <a:lnTo>
                    <a:pt x="1512" y="120"/>
                  </a:lnTo>
                  <a:lnTo>
                    <a:pt x="1518" y="120"/>
                  </a:lnTo>
                  <a:lnTo>
                    <a:pt x="1524" y="126"/>
                  </a:lnTo>
                  <a:lnTo>
                    <a:pt x="1536" y="150"/>
                  </a:lnTo>
                  <a:lnTo>
                    <a:pt x="1548" y="162"/>
                  </a:lnTo>
                  <a:lnTo>
                    <a:pt x="1554" y="168"/>
                  </a:lnTo>
                  <a:lnTo>
                    <a:pt x="1584" y="228"/>
                  </a:lnTo>
                  <a:lnTo>
                    <a:pt x="1584" y="234"/>
                  </a:lnTo>
                  <a:lnTo>
                    <a:pt x="1578" y="312"/>
                  </a:lnTo>
                  <a:lnTo>
                    <a:pt x="1590" y="318"/>
                  </a:lnTo>
                  <a:lnTo>
                    <a:pt x="1608" y="330"/>
                  </a:lnTo>
                  <a:lnTo>
                    <a:pt x="1620" y="342"/>
                  </a:lnTo>
                  <a:lnTo>
                    <a:pt x="1626" y="342"/>
                  </a:lnTo>
                  <a:lnTo>
                    <a:pt x="1692" y="360"/>
                  </a:lnTo>
                  <a:lnTo>
                    <a:pt x="1710" y="408"/>
                  </a:lnTo>
                  <a:lnTo>
                    <a:pt x="1722" y="426"/>
                  </a:lnTo>
                  <a:lnTo>
                    <a:pt x="1716" y="468"/>
                  </a:lnTo>
                  <a:lnTo>
                    <a:pt x="1686" y="486"/>
                  </a:lnTo>
                  <a:lnTo>
                    <a:pt x="1686" y="492"/>
                  </a:lnTo>
                  <a:lnTo>
                    <a:pt x="1680" y="498"/>
                  </a:lnTo>
                  <a:lnTo>
                    <a:pt x="1650" y="558"/>
                  </a:lnTo>
                  <a:lnTo>
                    <a:pt x="1650" y="570"/>
                  </a:lnTo>
                  <a:lnTo>
                    <a:pt x="1644" y="570"/>
                  </a:lnTo>
                  <a:lnTo>
                    <a:pt x="1638" y="582"/>
                  </a:lnTo>
                  <a:lnTo>
                    <a:pt x="1638" y="624"/>
                  </a:lnTo>
                  <a:lnTo>
                    <a:pt x="1638" y="636"/>
                  </a:lnTo>
                  <a:lnTo>
                    <a:pt x="1638" y="642"/>
                  </a:lnTo>
                  <a:lnTo>
                    <a:pt x="1632" y="660"/>
                  </a:lnTo>
                  <a:lnTo>
                    <a:pt x="1608" y="678"/>
                  </a:lnTo>
                  <a:lnTo>
                    <a:pt x="1584" y="690"/>
                  </a:lnTo>
                  <a:lnTo>
                    <a:pt x="1584" y="696"/>
                  </a:lnTo>
                  <a:lnTo>
                    <a:pt x="1578" y="702"/>
                  </a:lnTo>
                  <a:lnTo>
                    <a:pt x="1584" y="702"/>
                  </a:lnTo>
                  <a:lnTo>
                    <a:pt x="1578" y="714"/>
                  </a:lnTo>
                  <a:lnTo>
                    <a:pt x="1572" y="714"/>
                  </a:lnTo>
                  <a:lnTo>
                    <a:pt x="1572" y="720"/>
                  </a:lnTo>
                  <a:lnTo>
                    <a:pt x="1566" y="720"/>
                  </a:lnTo>
                  <a:lnTo>
                    <a:pt x="1560" y="726"/>
                  </a:lnTo>
                  <a:lnTo>
                    <a:pt x="1560" y="732"/>
                  </a:lnTo>
                  <a:lnTo>
                    <a:pt x="1554" y="732"/>
                  </a:lnTo>
                  <a:lnTo>
                    <a:pt x="1554" y="738"/>
                  </a:lnTo>
                  <a:lnTo>
                    <a:pt x="1554" y="744"/>
                  </a:lnTo>
                  <a:lnTo>
                    <a:pt x="1548" y="744"/>
                  </a:lnTo>
                  <a:lnTo>
                    <a:pt x="1548" y="738"/>
                  </a:lnTo>
                  <a:lnTo>
                    <a:pt x="1542" y="738"/>
                  </a:lnTo>
                  <a:lnTo>
                    <a:pt x="1542" y="744"/>
                  </a:lnTo>
                  <a:lnTo>
                    <a:pt x="1542" y="750"/>
                  </a:lnTo>
                  <a:lnTo>
                    <a:pt x="1494" y="804"/>
                  </a:lnTo>
                  <a:lnTo>
                    <a:pt x="1446" y="876"/>
                  </a:lnTo>
                  <a:lnTo>
                    <a:pt x="1440" y="876"/>
                  </a:lnTo>
                  <a:lnTo>
                    <a:pt x="1434" y="876"/>
                  </a:lnTo>
                  <a:lnTo>
                    <a:pt x="1428" y="882"/>
                  </a:lnTo>
                  <a:lnTo>
                    <a:pt x="1422" y="882"/>
                  </a:lnTo>
                  <a:lnTo>
                    <a:pt x="1386" y="924"/>
                  </a:lnTo>
                  <a:lnTo>
                    <a:pt x="1362" y="954"/>
                  </a:lnTo>
                  <a:lnTo>
                    <a:pt x="1356" y="984"/>
                  </a:lnTo>
                  <a:lnTo>
                    <a:pt x="1362" y="1002"/>
                  </a:lnTo>
                  <a:lnTo>
                    <a:pt x="1368" y="1020"/>
                  </a:lnTo>
                  <a:lnTo>
                    <a:pt x="1386" y="1056"/>
                  </a:lnTo>
                  <a:lnTo>
                    <a:pt x="1404" y="1074"/>
                  </a:lnTo>
                  <a:lnTo>
                    <a:pt x="1416" y="1080"/>
                  </a:lnTo>
                  <a:lnTo>
                    <a:pt x="1416" y="1086"/>
                  </a:lnTo>
                  <a:lnTo>
                    <a:pt x="1422" y="1098"/>
                  </a:lnTo>
                  <a:lnTo>
                    <a:pt x="1422" y="1110"/>
                  </a:lnTo>
                  <a:lnTo>
                    <a:pt x="1428" y="1116"/>
                  </a:lnTo>
                  <a:lnTo>
                    <a:pt x="1434" y="1116"/>
                  </a:lnTo>
                  <a:lnTo>
                    <a:pt x="1434" y="1122"/>
                  </a:lnTo>
                  <a:lnTo>
                    <a:pt x="1434" y="1128"/>
                  </a:lnTo>
                  <a:lnTo>
                    <a:pt x="1440" y="1134"/>
                  </a:lnTo>
                  <a:lnTo>
                    <a:pt x="1446" y="1134"/>
                  </a:lnTo>
                  <a:lnTo>
                    <a:pt x="1458" y="1134"/>
                  </a:lnTo>
                  <a:lnTo>
                    <a:pt x="1458" y="1140"/>
                  </a:lnTo>
                  <a:lnTo>
                    <a:pt x="1464" y="1134"/>
                  </a:lnTo>
                  <a:lnTo>
                    <a:pt x="1470" y="1134"/>
                  </a:lnTo>
                  <a:lnTo>
                    <a:pt x="1464" y="1128"/>
                  </a:lnTo>
                  <a:lnTo>
                    <a:pt x="1464" y="1122"/>
                  </a:lnTo>
                  <a:lnTo>
                    <a:pt x="1470" y="1116"/>
                  </a:lnTo>
                  <a:lnTo>
                    <a:pt x="1470" y="1122"/>
                  </a:lnTo>
                  <a:lnTo>
                    <a:pt x="1476" y="1122"/>
                  </a:lnTo>
                  <a:lnTo>
                    <a:pt x="1476" y="1116"/>
                  </a:lnTo>
                  <a:lnTo>
                    <a:pt x="1482" y="1110"/>
                  </a:lnTo>
                  <a:lnTo>
                    <a:pt x="1476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82" y="1086"/>
                  </a:lnTo>
                  <a:lnTo>
                    <a:pt x="1482" y="1074"/>
                  </a:lnTo>
                  <a:lnTo>
                    <a:pt x="1488" y="1068"/>
                  </a:lnTo>
                  <a:lnTo>
                    <a:pt x="1488" y="1062"/>
                  </a:lnTo>
                  <a:lnTo>
                    <a:pt x="1494" y="1062"/>
                  </a:lnTo>
                  <a:lnTo>
                    <a:pt x="1500" y="1062"/>
                  </a:lnTo>
                  <a:lnTo>
                    <a:pt x="1506" y="1062"/>
                  </a:lnTo>
                  <a:lnTo>
                    <a:pt x="1506" y="1056"/>
                  </a:lnTo>
                  <a:lnTo>
                    <a:pt x="1506" y="1062"/>
                  </a:lnTo>
                  <a:lnTo>
                    <a:pt x="1518" y="1062"/>
                  </a:lnTo>
                  <a:lnTo>
                    <a:pt x="1524" y="1062"/>
                  </a:lnTo>
                  <a:lnTo>
                    <a:pt x="1530" y="1062"/>
                  </a:lnTo>
                  <a:lnTo>
                    <a:pt x="1536" y="1068"/>
                  </a:lnTo>
                  <a:lnTo>
                    <a:pt x="1536" y="1074"/>
                  </a:lnTo>
                  <a:lnTo>
                    <a:pt x="1542" y="1086"/>
                  </a:lnTo>
                  <a:lnTo>
                    <a:pt x="1548" y="1086"/>
                  </a:lnTo>
                  <a:lnTo>
                    <a:pt x="1554" y="1086"/>
                  </a:lnTo>
                  <a:lnTo>
                    <a:pt x="1566" y="1098"/>
                  </a:lnTo>
                  <a:lnTo>
                    <a:pt x="1572" y="1104"/>
                  </a:lnTo>
                  <a:lnTo>
                    <a:pt x="1566" y="1110"/>
                  </a:lnTo>
                  <a:lnTo>
                    <a:pt x="1572" y="1116"/>
                  </a:lnTo>
                  <a:lnTo>
                    <a:pt x="1578" y="1116"/>
                  </a:lnTo>
                  <a:lnTo>
                    <a:pt x="1578" y="1122"/>
                  </a:lnTo>
                  <a:lnTo>
                    <a:pt x="1584" y="1122"/>
                  </a:lnTo>
                  <a:lnTo>
                    <a:pt x="1584" y="1128"/>
                  </a:lnTo>
                  <a:lnTo>
                    <a:pt x="1584" y="1134"/>
                  </a:lnTo>
                  <a:lnTo>
                    <a:pt x="1590" y="1134"/>
                  </a:lnTo>
                  <a:lnTo>
                    <a:pt x="1596" y="1140"/>
                  </a:lnTo>
                  <a:lnTo>
                    <a:pt x="1602" y="1146"/>
                  </a:lnTo>
                  <a:lnTo>
                    <a:pt x="1608" y="1146"/>
                  </a:lnTo>
                  <a:lnTo>
                    <a:pt x="1614" y="1146"/>
                  </a:lnTo>
                  <a:lnTo>
                    <a:pt x="1614" y="1152"/>
                  </a:lnTo>
                  <a:lnTo>
                    <a:pt x="1620" y="1152"/>
                  </a:lnTo>
                  <a:lnTo>
                    <a:pt x="1626" y="1164"/>
                  </a:lnTo>
                  <a:lnTo>
                    <a:pt x="1632" y="1170"/>
                  </a:lnTo>
                  <a:lnTo>
                    <a:pt x="1638" y="1176"/>
                  </a:lnTo>
                  <a:lnTo>
                    <a:pt x="1638" y="1182"/>
                  </a:lnTo>
                  <a:lnTo>
                    <a:pt x="1644" y="1194"/>
                  </a:lnTo>
                  <a:lnTo>
                    <a:pt x="1644" y="1200"/>
                  </a:lnTo>
                  <a:lnTo>
                    <a:pt x="1638" y="1200"/>
                  </a:lnTo>
                  <a:lnTo>
                    <a:pt x="1638" y="1206"/>
                  </a:lnTo>
                  <a:lnTo>
                    <a:pt x="1638" y="1212"/>
                  </a:lnTo>
                  <a:lnTo>
                    <a:pt x="1638" y="1218"/>
                  </a:lnTo>
                  <a:lnTo>
                    <a:pt x="1632" y="1242"/>
                  </a:lnTo>
                  <a:lnTo>
                    <a:pt x="1632" y="1266"/>
                  </a:lnTo>
                  <a:lnTo>
                    <a:pt x="1638" y="1284"/>
                  </a:lnTo>
                  <a:lnTo>
                    <a:pt x="1638" y="1296"/>
                  </a:lnTo>
                  <a:lnTo>
                    <a:pt x="1632" y="1296"/>
                  </a:lnTo>
                  <a:lnTo>
                    <a:pt x="1632" y="1302"/>
                  </a:lnTo>
                  <a:lnTo>
                    <a:pt x="1638" y="1314"/>
                  </a:lnTo>
                  <a:lnTo>
                    <a:pt x="1638" y="1320"/>
                  </a:lnTo>
                  <a:lnTo>
                    <a:pt x="1632" y="1320"/>
                  </a:lnTo>
                  <a:lnTo>
                    <a:pt x="1632" y="1326"/>
                  </a:lnTo>
                  <a:lnTo>
                    <a:pt x="1644" y="1332"/>
                  </a:lnTo>
                  <a:lnTo>
                    <a:pt x="1644" y="1338"/>
                  </a:lnTo>
                  <a:lnTo>
                    <a:pt x="1650" y="1344"/>
                  </a:lnTo>
                  <a:lnTo>
                    <a:pt x="1668" y="1362"/>
                  </a:lnTo>
                  <a:lnTo>
                    <a:pt x="1668" y="1368"/>
                  </a:lnTo>
                  <a:lnTo>
                    <a:pt x="1674" y="1392"/>
                  </a:lnTo>
                  <a:lnTo>
                    <a:pt x="1686" y="140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2" name="Freeform 17">
              <a:extLst>
                <a:ext uri="{FF2B5EF4-FFF2-40B4-BE49-F238E27FC236}">
                  <a16:creationId xmlns:a16="http://schemas.microsoft.com/office/drawing/2014/main" id="{9F9DF7AF-2203-4CCB-AF1B-32CDAF87CC5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416927"/>
              <a:ext cx="816209" cy="574781"/>
            </a:xfrm>
            <a:custGeom>
              <a:avLst/>
              <a:gdLst>
                <a:gd name="T0" fmla="*/ 115 w 1536"/>
                <a:gd name="T1" fmla="*/ 89 h 1080"/>
                <a:gd name="T2" fmla="*/ 113 w 1536"/>
                <a:gd name="T3" fmla="*/ 92 h 1080"/>
                <a:gd name="T4" fmla="*/ 107 w 1536"/>
                <a:gd name="T5" fmla="*/ 93 h 1080"/>
                <a:gd name="T6" fmla="*/ 108 w 1536"/>
                <a:gd name="T7" fmla="*/ 90 h 1080"/>
                <a:gd name="T8" fmla="*/ 105 w 1536"/>
                <a:gd name="T9" fmla="*/ 87 h 1080"/>
                <a:gd name="T10" fmla="*/ 102 w 1536"/>
                <a:gd name="T11" fmla="*/ 85 h 1080"/>
                <a:gd name="T12" fmla="*/ 89 w 1536"/>
                <a:gd name="T13" fmla="*/ 80 h 1080"/>
                <a:gd name="T14" fmla="*/ 85 w 1536"/>
                <a:gd name="T15" fmla="*/ 82 h 1080"/>
                <a:gd name="T16" fmla="*/ 82 w 1536"/>
                <a:gd name="T17" fmla="*/ 80 h 1080"/>
                <a:gd name="T18" fmla="*/ 80 w 1536"/>
                <a:gd name="T19" fmla="*/ 75 h 1080"/>
                <a:gd name="T20" fmla="*/ 75 w 1536"/>
                <a:gd name="T21" fmla="*/ 72 h 1080"/>
                <a:gd name="T22" fmla="*/ 61 w 1536"/>
                <a:gd name="T23" fmla="*/ 70 h 1080"/>
                <a:gd name="T24" fmla="*/ 62 w 1536"/>
                <a:gd name="T25" fmla="*/ 72 h 1080"/>
                <a:gd name="T26" fmla="*/ 58 w 1536"/>
                <a:gd name="T27" fmla="*/ 75 h 1080"/>
                <a:gd name="T28" fmla="*/ 49 w 1536"/>
                <a:gd name="T29" fmla="*/ 76 h 1080"/>
                <a:gd name="T30" fmla="*/ 41 w 1536"/>
                <a:gd name="T31" fmla="*/ 79 h 1080"/>
                <a:gd name="T32" fmla="*/ 41 w 1536"/>
                <a:gd name="T33" fmla="*/ 77 h 1080"/>
                <a:gd name="T34" fmla="*/ 39 w 1536"/>
                <a:gd name="T35" fmla="*/ 74 h 1080"/>
                <a:gd name="T36" fmla="*/ 28 w 1536"/>
                <a:gd name="T37" fmla="*/ 78 h 1080"/>
                <a:gd name="T38" fmla="*/ 18 w 1536"/>
                <a:gd name="T39" fmla="*/ 85 h 1080"/>
                <a:gd name="T40" fmla="*/ 18 w 1536"/>
                <a:gd name="T41" fmla="*/ 77 h 1080"/>
                <a:gd name="T42" fmla="*/ 19 w 1536"/>
                <a:gd name="T43" fmla="*/ 69 h 1080"/>
                <a:gd name="T44" fmla="*/ 16 w 1536"/>
                <a:gd name="T45" fmla="*/ 69 h 1080"/>
                <a:gd name="T46" fmla="*/ 11 w 1536"/>
                <a:gd name="T47" fmla="*/ 69 h 1080"/>
                <a:gd name="T48" fmla="*/ 5 w 1536"/>
                <a:gd name="T49" fmla="*/ 68 h 1080"/>
                <a:gd name="T50" fmla="*/ 1 w 1536"/>
                <a:gd name="T51" fmla="*/ 63 h 1080"/>
                <a:gd name="T52" fmla="*/ 3 w 1536"/>
                <a:gd name="T53" fmla="*/ 59 h 1080"/>
                <a:gd name="T54" fmla="*/ 9 w 1536"/>
                <a:gd name="T55" fmla="*/ 54 h 1080"/>
                <a:gd name="T56" fmla="*/ 15 w 1536"/>
                <a:gd name="T57" fmla="*/ 47 h 1080"/>
                <a:gd name="T58" fmla="*/ 17 w 1536"/>
                <a:gd name="T59" fmla="*/ 40 h 1080"/>
                <a:gd name="T60" fmla="*/ 12 w 1536"/>
                <a:gd name="T61" fmla="*/ 33 h 1080"/>
                <a:gd name="T62" fmla="*/ 10 w 1536"/>
                <a:gd name="T63" fmla="*/ 21 h 1080"/>
                <a:gd name="T64" fmla="*/ 6 w 1536"/>
                <a:gd name="T65" fmla="*/ 14 h 1080"/>
                <a:gd name="T66" fmla="*/ 7 w 1536"/>
                <a:gd name="T67" fmla="*/ 9 h 1080"/>
                <a:gd name="T68" fmla="*/ 12 w 1536"/>
                <a:gd name="T69" fmla="*/ 7 h 1080"/>
                <a:gd name="T70" fmla="*/ 16 w 1536"/>
                <a:gd name="T71" fmla="*/ 8 h 1080"/>
                <a:gd name="T72" fmla="*/ 19 w 1536"/>
                <a:gd name="T73" fmla="*/ 8 h 1080"/>
                <a:gd name="T74" fmla="*/ 22 w 1536"/>
                <a:gd name="T75" fmla="*/ 9 h 1080"/>
                <a:gd name="T76" fmla="*/ 29 w 1536"/>
                <a:gd name="T77" fmla="*/ 12 h 1080"/>
                <a:gd name="T78" fmla="*/ 33 w 1536"/>
                <a:gd name="T79" fmla="*/ 13 h 1080"/>
                <a:gd name="T80" fmla="*/ 38 w 1536"/>
                <a:gd name="T81" fmla="*/ 15 h 1080"/>
                <a:gd name="T82" fmla="*/ 42 w 1536"/>
                <a:gd name="T83" fmla="*/ 17 h 1080"/>
                <a:gd name="T84" fmla="*/ 47 w 1536"/>
                <a:gd name="T85" fmla="*/ 19 h 1080"/>
                <a:gd name="T86" fmla="*/ 51 w 1536"/>
                <a:gd name="T87" fmla="*/ 21 h 1080"/>
                <a:gd name="T88" fmla="*/ 50 w 1536"/>
                <a:gd name="T89" fmla="*/ 15 h 1080"/>
                <a:gd name="T90" fmla="*/ 56 w 1536"/>
                <a:gd name="T91" fmla="*/ 0 h 1080"/>
                <a:gd name="T92" fmla="*/ 74 w 1536"/>
                <a:gd name="T93" fmla="*/ 5 h 1080"/>
                <a:gd name="T94" fmla="*/ 87 w 1536"/>
                <a:gd name="T95" fmla="*/ 6 h 1080"/>
                <a:gd name="T96" fmla="*/ 92 w 1536"/>
                <a:gd name="T97" fmla="*/ 11 h 1080"/>
                <a:gd name="T98" fmla="*/ 95 w 1536"/>
                <a:gd name="T99" fmla="*/ 15 h 1080"/>
                <a:gd name="T100" fmla="*/ 93 w 1536"/>
                <a:gd name="T101" fmla="*/ 20 h 1080"/>
                <a:gd name="T102" fmla="*/ 108 w 1536"/>
                <a:gd name="T103" fmla="*/ 18 h 1080"/>
                <a:gd name="T104" fmla="*/ 120 w 1536"/>
                <a:gd name="T105" fmla="*/ 21 h 1080"/>
                <a:gd name="T106" fmla="*/ 127 w 1536"/>
                <a:gd name="T107" fmla="*/ 29 h 1080"/>
                <a:gd name="T108" fmla="*/ 130 w 1536"/>
                <a:gd name="T109" fmla="*/ 30 h 1080"/>
                <a:gd name="T110" fmla="*/ 130 w 1536"/>
                <a:gd name="T111" fmla="*/ 49 h 1080"/>
                <a:gd name="T112" fmla="*/ 120 w 1536"/>
                <a:gd name="T113" fmla="*/ 69 h 1080"/>
                <a:gd name="T114" fmla="*/ 119 w 1536"/>
                <a:gd name="T115" fmla="*/ 74 h 1080"/>
                <a:gd name="T116" fmla="*/ 118 w 1536"/>
                <a:gd name="T117" fmla="*/ 80 h 108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536"/>
                <a:gd name="T178" fmla="*/ 0 h 1080"/>
                <a:gd name="T179" fmla="*/ 1536 w 1536"/>
                <a:gd name="T180" fmla="*/ 1080 h 108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536" h="1080">
                  <a:moveTo>
                    <a:pt x="1350" y="1020"/>
                  </a:moveTo>
                  <a:lnTo>
                    <a:pt x="1350" y="1026"/>
                  </a:lnTo>
                  <a:lnTo>
                    <a:pt x="1344" y="1026"/>
                  </a:lnTo>
                  <a:lnTo>
                    <a:pt x="1338" y="1032"/>
                  </a:lnTo>
                  <a:lnTo>
                    <a:pt x="1332" y="1026"/>
                  </a:lnTo>
                  <a:lnTo>
                    <a:pt x="1326" y="1026"/>
                  </a:lnTo>
                  <a:lnTo>
                    <a:pt x="1320" y="1020"/>
                  </a:lnTo>
                  <a:lnTo>
                    <a:pt x="1314" y="1026"/>
                  </a:lnTo>
                  <a:lnTo>
                    <a:pt x="1314" y="1032"/>
                  </a:lnTo>
                  <a:lnTo>
                    <a:pt x="1308" y="1038"/>
                  </a:lnTo>
                  <a:lnTo>
                    <a:pt x="1308" y="1044"/>
                  </a:lnTo>
                  <a:lnTo>
                    <a:pt x="1308" y="1050"/>
                  </a:lnTo>
                  <a:lnTo>
                    <a:pt x="1308" y="1056"/>
                  </a:lnTo>
                  <a:lnTo>
                    <a:pt x="1308" y="1062"/>
                  </a:lnTo>
                  <a:lnTo>
                    <a:pt x="1296" y="1068"/>
                  </a:lnTo>
                  <a:lnTo>
                    <a:pt x="1284" y="1074"/>
                  </a:lnTo>
                  <a:lnTo>
                    <a:pt x="1272" y="1080"/>
                  </a:lnTo>
                  <a:lnTo>
                    <a:pt x="1260" y="1080"/>
                  </a:lnTo>
                  <a:lnTo>
                    <a:pt x="1254" y="1074"/>
                  </a:lnTo>
                  <a:lnTo>
                    <a:pt x="1236" y="1074"/>
                  </a:lnTo>
                  <a:lnTo>
                    <a:pt x="1230" y="1074"/>
                  </a:lnTo>
                  <a:lnTo>
                    <a:pt x="1236" y="1074"/>
                  </a:lnTo>
                  <a:lnTo>
                    <a:pt x="1236" y="1068"/>
                  </a:lnTo>
                  <a:lnTo>
                    <a:pt x="1236" y="1062"/>
                  </a:lnTo>
                  <a:lnTo>
                    <a:pt x="1236" y="1056"/>
                  </a:lnTo>
                  <a:lnTo>
                    <a:pt x="1242" y="1050"/>
                  </a:lnTo>
                  <a:lnTo>
                    <a:pt x="1242" y="1044"/>
                  </a:lnTo>
                  <a:lnTo>
                    <a:pt x="1242" y="1038"/>
                  </a:lnTo>
                  <a:lnTo>
                    <a:pt x="1248" y="1032"/>
                  </a:lnTo>
                  <a:lnTo>
                    <a:pt x="1236" y="1026"/>
                  </a:lnTo>
                  <a:lnTo>
                    <a:pt x="1218" y="1020"/>
                  </a:lnTo>
                  <a:lnTo>
                    <a:pt x="1224" y="1014"/>
                  </a:lnTo>
                  <a:lnTo>
                    <a:pt x="1218" y="1008"/>
                  </a:lnTo>
                  <a:lnTo>
                    <a:pt x="1218" y="1002"/>
                  </a:lnTo>
                  <a:lnTo>
                    <a:pt x="1212" y="1008"/>
                  </a:lnTo>
                  <a:lnTo>
                    <a:pt x="1206" y="1002"/>
                  </a:lnTo>
                  <a:lnTo>
                    <a:pt x="1212" y="1002"/>
                  </a:lnTo>
                  <a:lnTo>
                    <a:pt x="1212" y="996"/>
                  </a:lnTo>
                  <a:lnTo>
                    <a:pt x="1200" y="990"/>
                  </a:lnTo>
                  <a:lnTo>
                    <a:pt x="1200" y="984"/>
                  </a:lnTo>
                  <a:lnTo>
                    <a:pt x="1188" y="984"/>
                  </a:lnTo>
                  <a:lnTo>
                    <a:pt x="1176" y="978"/>
                  </a:lnTo>
                  <a:lnTo>
                    <a:pt x="1164" y="960"/>
                  </a:lnTo>
                  <a:lnTo>
                    <a:pt x="1152" y="936"/>
                  </a:lnTo>
                  <a:lnTo>
                    <a:pt x="1146" y="936"/>
                  </a:lnTo>
                  <a:lnTo>
                    <a:pt x="1128" y="900"/>
                  </a:lnTo>
                  <a:lnTo>
                    <a:pt x="1038" y="912"/>
                  </a:lnTo>
                  <a:lnTo>
                    <a:pt x="1038" y="918"/>
                  </a:lnTo>
                  <a:lnTo>
                    <a:pt x="1032" y="924"/>
                  </a:lnTo>
                  <a:lnTo>
                    <a:pt x="1026" y="918"/>
                  </a:lnTo>
                  <a:lnTo>
                    <a:pt x="1020" y="924"/>
                  </a:lnTo>
                  <a:lnTo>
                    <a:pt x="1008" y="936"/>
                  </a:lnTo>
                  <a:lnTo>
                    <a:pt x="990" y="936"/>
                  </a:lnTo>
                  <a:lnTo>
                    <a:pt x="990" y="942"/>
                  </a:lnTo>
                  <a:lnTo>
                    <a:pt x="996" y="942"/>
                  </a:lnTo>
                  <a:lnTo>
                    <a:pt x="984" y="948"/>
                  </a:lnTo>
                  <a:lnTo>
                    <a:pt x="972" y="948"/>
                  </a:lnTo>
                  <a:lnTo>
                    <a:pt x="960" y="948"/>
                  </a:lnTo>
                  <a:lnTo>
                    <a:pt x="948" y="942"/>
                  </a:lnTo>
                  <a:lnTo>
                    <a:pt x="948" y="936"/>
                  </a:lnTo>
                  <a:lnTo>
                    <a:pt x="942" y="936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30" y="924"/>
                  </a:lnTo>
                  <a:lnTo>
                    <a:pt x="936" y="918"/>
                  </a:lnTo>
                  <a:lnTo>
                    <a:pt x="918" y="918"/>
                  </a:lnTo>
                  <a:lnTo>
                    <a:pt x="918" y="900"/>
                  </a:lnTo>
                  <a:lnTo>
                    <a:pt x="924" y="900"/>
                  </a:lnTo>
                  <a:lnTo>
                    <a:pt x="924" y="894"/>
                  </a:lnTo>
                  <a:lnTo>
                    <a:pt x="924" y="870"/>
                  </a:lnTo>
                  <a:lnTo>
                    <a:pt x="924" y="864"/>
                  </a:lnTo>
                  <a:lnTo>
                    <a:pt x="918" y="858"/>
                  </a:lnTo>
                  <a:lnTo>
                    <a:pt x="918" y="852"/>
                  </a:lnTo>
                  <a:lnTo>
                    <a:pt x="906" y="840"/>
                  </a:lnTo>
                  <a:lnTo>
                    <a:pt x="894" y="834"/>
                  </a:lnTo>
                  <a:lnTo>
                    <a:pt x="876" y="822"/>
                  </a:lnTo>
                  <a:lnTo>
                    <a:pt x="870" y="828"/>
                  </a:lnTo>
                  <a:lnTo>
                    <a:pt x="858" y="816"/>
                  </a:lnTo>
                  <a:lnTo>
                    <a:pt x="810" y="798"/>
                  </a:lnTo>
                  <a:lnTo>
                    <a:pt x="774" y="792"/>
                  </a:lnTo>
                  <a:lnTo>
                    <a:pt x="732" y="798"/>
                  </a:lnTo>
                  <a:lnTo>
                    <a:pt x="726" y="804"/>
                  </a:lnTo>
                  <a:lnTo>
                    <a:pt x="714" y="810"/>
                  </a:lnTo>
                  <a:lnTo>
                    <a:pt x="702" y="810"/>
                  </a:lnTo>
                  <a:lnTo>
                    <a:pt x="690" y="810"/>
                  </a:lnTo>
                  <a:lnTo>
                    <a:pt x="696" y="816"/>
                  </a:lnTo>
                  <a:lnTo>
                    <a:pt x="696" y="822"/>
                  </a:lnTo>
                  <a:lnTo>
                    <a:pt x="702" y="822"/>
                  </a:lnTo>
                  <a:lnTo>
                    <a:pt x="708" y="822"/>
                  </a:lnTo>
                  <a:lnTo>
                    <a:pt x="708" y="828"/>
                  </a:lnTo>
                  <a:lnTo>
                    <a:pt x="708" y="834"/>
                  </a:lnTo>
                  <a:lnTo>
                    <a:pt x="714" y="834"/>
                  </a:lnTo>
                  <a:lnTo>
                    <a:pt x="708" y="846"/>
                  </a:lnTo>
                  <a:lnTo>
                    <a:pt x="708" y="852"/>
                  </a:lnTo>
                  <a:lnTo>
                    <a:pt x="702" y="852"/>
                  </a:lnTo>
                  <a:lnTo>
                    <a:pt x="696" y="858"/>
                  </a:lnTo>
                  <a:lnTo>
                    <a:pt x="690" y="864"/>
                  </a:lnTo>
                  <a:lnTo>
                    <a:pt x="666" y="870"/>
                  </a:lnTo>
                  <a:lnTo>
                    <a:pt x="660" y="876"/>
                  </a:lnTo>
                  <a:lnTo>
                    <a:pt x="642" y="876"/>
                  </a:lnTo>
                  <a:lnTo>
                    <a:pt x="606" y="882"/>
                  </a:lnTo>
                  <a:lnTo>
                    <a:pt x="588" y="882"/>
                  </a:lnTo>
                  <a:lnTo>
                    <a:pt x="582" y="876"/>
                  </a:lnTo>
                  <a:lnTo>
                    <a:pt x="576" y="876"/>
                  </a:lnTo>
                  <a:lnTo>
                    <a:pt x="564" y="876"/>
                  </a:lnTo>
                  <a:lnTo>
                    <a:pt x="552" y="882"/>
                  </a:lnTo>
                  <a:lnTo>
                    <a:pt x="540" y="894"/>
                  </a:lnTo>
                  <a:lnTo>
                    <a:pt x="534" y="906"/>
                  </a:lnTo>
                  <a:lnTo>
                    <a:pt x="528" y="912"/>
                  </a:lnTo>
                  <a:lnTo>
                    <a:pt x="516" y="924"/>
                  </a:lnTo>
                  <a:lnTo>
                    <a:pt x="486" y="930"/>
                  </a:lnTo>
                  <a:lnTo>
                    <a:pt x="474" y="912"/>
                  </a:lnTo>
                  <a:lnTo>
                    <a:pt x="474" y="906"/>
                  </a:lnTo>
                  <a:lnTo>
                    <a:pt x="468" y="906"/>
                  </a:lnTo>
                  <a:lnTo>
                    <a:pt x="468" y="900"/>
                  </a:lnTo>
                  <a:lnTo>
                    <a:pt x="462" y="894"/>
                  </a:lnTo>
                  <a:lnTo>
                    <a:pt x="456" y="894"/>
                  </a:lnTo>
                  <a:lnTo>
                    <a:pt x="462" y="888"/>
                  </a:lnTo>
                  <a:lnTo>
                    <a:pt x="468" y="888"/>
                  </a:lnTo>
                  <a:lnTo>
                    <a:pt x="462" y="882"/>
                  </a:lnTo>
                  <a:lnTo>
                    <a:pt x="462" y="876"/>
                  </a:lnTo>
                  <a:lnTo>
                    <a:pt x="456" y="870"/>
                  </a:lnTo>
                  <a:lnTo>
                    <a:pt x="456" y="864"/>
                  </a:lnTo>
                  <a:lnTo>
                    <a:pt x="450" y="858"/>
                  </a:lnTo>
                  <a:lnTo>
                    <a:pt x="444" y="858"/>
                  </a:lnTo>
                  <a:lnTo>
                    <a:pt x="444" y="852"/>
                  </a:lnTo>
                  <a:lnTo>
                    <a:pt x="438" y="852"/>
                  </a:lnTo>
                  <a:lnTo>
                    <a:pt x="438" y="858"/>
                  </a:lnTo>
                  <a:lnTo>
                    <a:pt x="402" y="870"/>
                  </a:lnTo>
                  <a:lnTo>
                    <a:pt x="390" y="882"/>
                  </a:lnTo>
                  <a:lnTo>
                    <a:pt x="384" y="900"/>
                  </a:lnTo>
                  <a:lnTo>
                    <a:pt x="342" y="900"/>
                  </a:lnTo>
                  <a:lnTo>
                    <a:pt x="324" y="900"/>
                  </a:lnTo>
                  <a:lnTo>
                    <a:pt x="294" y="906"/>
                  </a:lnTo>
                  <a:lnTo>
                    <a:pt x="282" y="948"/>
                  </a:lnTo>
                  <a:lnTo>
                    <a:pt x="282" y="978"/>
                  </a:lnTo>
                  <a:lnTo>
                    <a:pt x="270" y="1008"/>
                  </a:lnTo>
                  <a:lnTo>
                    <a:pt x="240" y="1014"/>
                  </a:lnTo>
                  <a:lnTo>
                    <a:pt x="216" y="996"/>
                  </a:lnTo>
                  <a:lnTo>
                    <a:pt x="204" y="984"/>
                  </a:lnTo>
                  <a:lnTo>
                    <a:pt x="192" y="966"/>
                  </a:lnTo>
                  <a:lnTo>
                    <a:pt x="186" y="948"/>
                  </a:lnTo>
                  <a:lnTo>
                    <a:pt x="174" y="948"/>
                  </a:lnTo>
                  <a:lnTo>
                    <a:pt x="174" y="936"/>
                  </a:lnTo>
                  <a:lnTo>
                    <a:pt x="186" y="924"/>
                  </a:lnTo>
                  <a:lnTo>
                    <a:pt x="198" y="906"/>
                  </a:lnTo>
                  <a:lnTo>
                    <a:pt x="204" y="888"/>
                  </a:lnTo>
                  <a:lnTo>
                    <a:pt x="222" y="870"/>
                  </a:lnTo>
                  <a:lnTo>
                    <a:pt x="234" y="858"/>
                  </a:lnTo>
                  <a:lnTo>
                    <a:pt x="234" y="852"/>
                  </a:lnTo>
                  <a:lnTo>
                    <a:pt x="222" y="852"/>
                  </a:lnTo>
                  <a:lnTo>
                    <a:pt x="228" y="810"/>
                  </a:lnTo>
                  <a:lnTo>
                    <a:pt x="222" y="798"/>
                  </a:lnTo>
                  <a:lnTo>
                    <a:pt x="216" y="798"/>
                  </a:lnTo>
                  <a:lnTo>
                    <a:pt x="216" y="792"/>
                  </a:lnTo>
                  <a:lnTo>
                    <a:pt x="210" y="792"/>
                  </a:lnTo>
                  <a:lnTo>
                    <a:pt x="204" y="798"/>
                  </a:lnTo>
                  <a:lnTo>
                    <a:pt x="204" y="792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0" y="786"/>
                  </a:lnTo>
                  <a:lnTo>
                    <a:pt x="174" y="792"/>
                  </a:lnTo>
                  <a:lnTo>
                    <a:pt x="162" y="792"/>
                  </a:lnTo>
                  <a:lnTo>
                    <a:pt x="156" y="792"/>
                  </a:lnTo>
                  <a:lnTo>
                    <a:pt x="156" y="798"/>
                  </a:lnTo>
                  <a:lnTo>
                    <a:pt x="138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6" y="804"/>
                  </a:lnTo>
                  <a:lnTo>
                    <a:pt x="102" y="810"/>
                  </a:lnTo>
                  <a:lnTo>
                    <a:pt x="90" y="810"/>
                  </a:lnTo>
                  <a:lnTo>
                    <a:pt x="72" y="798"/>
                  </a:lnTo>
                  <a:lnTo>
                    <a:pt x="66" y="780"/>
                  </a:lnTo>
                  <a:lnTo>
                    <a:pt x="60" y="780"/>
                  </a:lnTo>
                  <a:lnTo>
                    <a:pt x="60" y="768"/>
                  </a:lnTo>
                  <a:lnTo>
                    <a:pt x="54" y="768"/>
                  </a:lnTo>
                  <a:lnTo>
                    <a:pt x="24" y="756"/>
                  </a:lnTo>
                  <a:lnTo>
                    <a:pt x="18" y="744"/>
                  </a:lnTo>
                  <a:lnTo>
                    <a:pt x="12" y="738"/>
                  </a:lnTo>
                  <a:lnTo>
                    <a:pt x="18" y="732"/>
                  </a:lnTo>
                  <a:lnTo>
                    <a:pt x="12" y="726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8" y="696"/>
                  </a:lnTo>
                  <a:lnTo>
                    <a:pt x="24" y="708"/>
                  </a:lnTo>
                  <a:lnTo>
                    <a:pt x="36" y="702"/>
                  </a:lnTo>
                  <a:lnTo>
                    <a:pt x="36" y="678"/>
                  </a:lnTo>
                  <a:lnTo>
                    <a:pt x="36" y="660"/>
                  </a:lnTo>
                  <a:lnTo>
                    <a:pt x="42" y="654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72" y="624"/>
                  </a:lnTo>
                  <a:lnTo>
                    <a:pt x="90" y="618"/>
                  </a:lnTo>
                  <a:lnTo>
                    <a:pt x="102" y="618"/>
                  </a:lnTo>
                  <a:lnTo>
                    <a:pt x="114" y="612"/>
                  </a:lnTo>
                  <a:lnTo>
                    <a:pt x="138" y="606"/>
                  </a:lnTo>
                  <a:lnTo>
                    <a:pt x="144" y="606"/>
                  </a:lnTo>
                  <a:lnTo>
                    <a:pt x="150" y="594"/>
                  </a:lnTo>
                  <a:lnTo>
                    <a:pt x="156" y="576"/>
                  </a:lnTo>
                  <a:lnTo>
                    <a:pt x="168" y="552"/>
                  </a:lnTo>
                  <a:lnTo>
                    <a:pt x="168" y="540"/>
                  </a:lnTo>
                  <a:lnTo>
                    <a:pt x="180" y="522"/>
                  </a:lnTo>
                  <a:lnTo>
                    <a:pt x="186" y="498"/>
                  </a:lnTo>
                  <a:lnTo>
                    <a:pt x="198" y="480"/>
                  </a:lnTo>
                  <a:lnTo>
                    <a:pt x="204" y="486"/>
                  </a:lnTo>
                  <a:lnTo>
                    <a:pt x="210" y="480"/>
                  </a:lnTo>
                  <a:lnTo>
                    <a:pt x="204" y="474"/>
                  </a:lnTo>
                  <a:lnTo>
                    <a:pt x="198" y="462"/>
                  </a:lnTo>
                  <a:lnTo>
                    <a:pt x="192" y="456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50"/>
                  </a:lnTo>
                  <a:lnTo>
                    <a:pt x="132" y="426"/>
                  </a:lnTo>
                  <a:lnTo>
                    <a:pt x="132" y="396"/>
                  </a:lnTo>
                  <a:lnTo>
                    <a:pt x="132" y="378"/>
                  </a:lnTo>
                  <a:lnTo>
                    <a:pt x="126" y="348"/>
                  </a:lnTo>
                  <a:lnTo>
                    <a:pt x="132" y="312"/>
                  </a:lnTo>
                  <a:lnTo>
                    <a:pt x="126" y="288"/>
                  </a:lnTo>
                  <a:lnTo>
                    <a:pt x="138" y="282"/>
                  </a:lnTo>
                  <a:lnTo>
                    <a:pt x="126" y="264"/>
                  </a:lnTo>
                  <a:lnTo>
                    <a:pt x="126" y="258"/>
                  </a:lnTo>
                  <a:lnTo>
                    <a:pt x="120" y="246"/>
                  </a:lnTo>
                  <a:lnTo>
                    <a:pt x="126" y="234"/>
                  </a:lnTo>
                  <a:lnTo>
                    <a:pt x="114" y="228"/>
                  </a:lnTo>
                  <a:lnTo>
                    <a:pt x="114" y="222"/>
                  </a:lnTo>
                  <a:lnTo>
                    <a:pt x="96" y="204"/>
                  </a:lnTo>
                  <a:lnTo>
                    <a:pt x="84" y="180"/>
                  </a:lnTo>
                  <a:lnTo>
                    <a:pt x="78" y="168"/>
                  </a:lnTo>
                  <a:lnTo>
                    <a:pt x="72" y="162"/>
                  </a:lnTo>
                  <a:lnTo>
                    <a:pt x="66" y="144"/>
                  </a:lnTo>
                  <a:lnTo>
                    <a:pt x="60" y="138"/>
                  </a:lnTo>
                  <a:lnTo>
                    <a:pt x="66" y="126"/>
                  </a:lnTo>
                  <a:lnTo>
                    <a:pt x="66" y="114"/>
                  </a:lnTo>
                  <a:lnTo>
                    <a:pt x="72" y="114"/>
                  </a:lnTo>
                  <a:lnTo>
                    <a:pt x="72" y="108"/>
                  </a:lnTo>
                  <a:lnTo>
                    <a:pt x="78" y="102"/>
                  </a:lnTo>
                  <a:lnTo>
                    <a:pt x="78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120" y="78"/>
                  </a:lnTo>
                  <a:lnTo>
                    <a:pt x="144" y="84"/>
                  </a:lnTo>
                  <a:lnTo>
                    <a:pt x="150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74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92" y="102"/>
                  </a:lnTo>
                  <a:lnTo>
                    <a:pt x="198" y="96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16" y="96"/>
                  </a:lnTo>
                  <a:lnTo>
                    <a:pt x="222" y="96"/>
                  </a:lnTo>
                  <a:lnTo>
                    <a:pt x="228" y="96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94" y="114"/>
                  </a:lnTo>
                  <a:lnTo>
                    <a:pt x="312" y="120"/>
                  </a:lnTo>
                  <a:lnTo>
                    <a:pt x="318" y="126"/>
                  </a:lnTo>
                  <a:lnTo>
                    <a:pt x="330" y="132"/>
                  </a:lnTo>
                  <a:lnTo>
                    <a:pt x="342" y="132"/>
                  </a:lnTo>
                  <a:lnTo>
                    <a:pt x="348" y="132"/>
                  </a:lnTo>
                  <a:lnTo>
                    <a:pt x="354" y="138"/>
                  </a:lnTo>
                  <a:lnTo>
                    <a:pt x="366" y="138"/>
                  </a:lnTo>
                  <a:lnTo>
                    <a:pt x="372" y="144"/>
                  </a:lnTo>
                  <a:lnTo>
                    <a:pt x="378" y="150"/>
                  </a:lnTo>
                  <a:lnTo>
                    <a:pt x="384" y="150"/>
                  </a:lnTo>
                  <a:lnTo>
                    <a:pt x="390" y="150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14" y="156"/>
                  </a:lnTo>
                  <a:lnTo>
                    <a:pt x="420" y="156"/>
                  </a:lnTo>
                  <a:lnTo>
                    <a:pt x="426" y="162"/>
                  </a:lnTo>
                  <a:lnTo>
                    <a:pt x="438" y="168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62" y="174"/>
                  </a:lnTo>
                  <a:lnTo>
                    <a:pt x="468" y="174"/>
                  </a:lnTo>
                  <a:lnTo>
                    <a:pt x="474" y="174"/>
                  </a:lnTo>
                  <a:lnTo>
                    <a:pt x="474" y="180"/>
                  </a:lnTo>
                  <a:lnTo>
                    <a:pt x="480" y="192"/>
                  </a:lnTo>
                  <a:lnTo>
                    <a:pt x="498" y="198"/>
                  </a:lnTo>
                  <a:lnTo>
                    <a:pt x="510" y="210"/>
                  </a:lnTo>
                  <a:lnTo>
                    <a:pt x="516" y="210"/>
                  </a:lnTo>
                  <a:lnTo>
                    <a:pt x="522" y="210"/>
                  </a:lnTo>
                  <a:lnTo>
                    <a:pt x="534" y="216"/>
                  </a:lnTo>
                  <a:lnTo>
                    <a:pt x="540" y="216"/>
                  </a:lnTo>
                  <a:lnTo>
                    <a:pt x="546" y="222"/>
                  </a:lnTo>
                  <a:lnTo>
                    <a:pt x="552" y="222"/>
                  </a:lnTo>
                  <a:lnTo>
                    <a:pt x="558" y="228"/>
                  </a:lnTo>
                  <a:lnTo>
                    <a:pt x="564" y="228"/>
                  </a:lnTo>
                  <a:lnTo>
                    <a:pt x="570" y="234"/>
                  </a:lnTo>
                  <a:lnTo>
                    <a:pt x="576" y="240"/>
                  </a:lnTo>
                  <a:lnTo>
                    <a:pt x="582" y="240"/>
                  </a:lnTo>
                  <a:lnTo>
                    <a:pt x="588" y="240"/>
                  </a:lnTo>
                  <a:lnTo>
                    <a:pt x="594" y="240"/>
                  </a:lnTo>
                  <a:lnTo>
                    <a:pt x="600" y="228"/>
                  </a:lnTo>
                  <a:lnTo>
                    <a:pt x="588" y="216"/>
                  </a:lnTo>
                  <a:lnTo>
                    <a:pt x="588" y="198"/>
                  </a:lnTo>
                  <a:lnTo>
                    <a:pt x="582" y="198"/>
                  </a:lnTo>
                  <a:lnTo>
                    <a:pt x="588" y="192"/>
                  </a:lnTo>
                  <a:lnTo>
                    <a:pt x="582" y="168"/>
                  </a:lnTo>
                  <a:lnTo>
                    <a:pt x="558" y="114"/>
                  </a:lnTo>
                  <a:lnTo>
                    <a:pt x="552" y="90"/>
                  </a:lnTo>
                  <a:lnTo>
                    <a:pt x="558" y="60"/>
                  </a:lnTo>
                  <a:lnTo>
                    <a:pt x="564" y="48"/>
                  </a:lnTo>
                  <a:lnTo>
                    <a:pt x="582" y="42"/>
                  </a:lnTo>
                  <a:lnTo>
                    <a:pt x="624" y="6"/>
                  </a:lnTo>
                  <a:lnTo>
                    <a:pt x="648" y="0"/>
                  </a:lnTo>
                  <a:lnTo>
                    <a:pt x="678" y="0"/>
                  </a:lnTo>
                  <a:lnTo>
                    <a:pt x="720" y="12"/>
                  </a:lnTo>
                  <a:lnTo>
                    <a:pt x="744" y="24"/>
                  </a:lnTo>
                  <a:lnTo>
                    <a:pt x="768" y="42"/>
                  </a:lnTo>
                  <a:lnTo>
                    <a:pt x="816" y="48"/>
                  </a:lnTo>
                  <a:lnTo>
                    <a:pt x="834" y="48"/>
                  </a:lnTo>
                  <a:lnTo>
                    <a:pt x="852" y="54"/>
                  </a:lnTo>
                  <a:lnTo>
                    <a:pt x="906" y="60"/>
                  </a:lnTo>
                  <a:lnTo>
                    <a:pt x="948" y="54"/>
                  </a:lnTo>
                  <a:lnTo>
                    <a:pt x="978" y="42"/>
                  </a:lnTo>
                  <a:lnTo>
                    <a:pt x="984" y="48"/>
                  </a:lnTo>
                  <a:lnTo>
                    <a:pt x="990" y="60"/>
                  </a:lnTo>
                  <a:lnTo>
                    <a:pt x="996" y="66"/>
                  </a:lnTo>
                  <a:lnTo>
                    <a:pt x="1002" y="72"/>
                  </a:lnTo>
                  <a:lnTo>
                    <a:pt x="1014" y="78"/>
                  </a:lnTo>
                  <a:lnTo>
                    <a:pt x="1014" y="84"/>
                  </a:lnTo>
                  <a:lnTo>
                    <a:pt x="1032" y="84"/>
                  </a:lnTo>
                  <a:lnTo>
                    <a:pt x="1032" y="90"/>
                  </a:lnTo>
                  <a:lnTo>
                    <a:pt x="1032" y="96"/>
                  </a:lnTo>
                  <a:lnTo>
                    <a:pt x="1032" y="108"/>
                  </a:lnTo>
                  <a:lnTo>
                    <a:pt x="1056" y="126"/>
                  </a:lnTo>
                  <a:lnTo>
                    <a:pt x="1068" y="138"/>
                  </a:lnTo>
                  <a:lnTo>
                    <a:pt x="1068" y="156"/>
                  </a:lnTo>
                  <a:lnTo>
                    <a:pt x="1080" y="150"/>
                  </a:lnTo>
                  <a:lnTo>
                    <a:pt x="1086" y="150"/>
                  </a:lnTo>
                  <a:lnTo>
                    <a:pt x="1092" y="156"/>
                  </a:lnTo>
                  <a:lnTo>
                    <a:pt x="1092" y="162"/>
                  </a:lnTo>
                  <a:lnTo>
                    <a:pt x="1092" y="168"/>
                  </a:lnTo>
                  <a:lnTo>
                    <a:pt x="1098" y="168"/>
                  </a:lnTo>
                  <a:lnTo>
                    <a:pt x="1092" y="180"/>
                  </a:lnTo>
                  <a:lnTo>
                    <a:pt x="1092" y="186"/>
                  </a:lnTo>
                  <a:lnTo>
                    <a:pt x="1086" y="192"/>
                  </a:lnTo>
                  <a:lnTo>
                    <a:pt x="1068" y="210"/>
                  </a:lnTo>
                  <a:lnTo>
                    <a:pt x="1068" y="216"/>
                  </a:lnTo>
                  <a:lnTo>
                    <a:pt x="1074" y="228"/>
                  </a:lnTo>
                  <a:lnTo>
                    <a:pt x="1092" y="234"/>
                  </a:lnTo>
                  <a:lnTo>
                    <a:pt x="1122" y="216"/>
                  </a:lnTo>
                  <a:lnTo>
                    <a:pt x="1188" y="204"/>
                  </a:lnTo>
                  <a:lnTo>
                    <a:pt x="1212" y="204"/>
                  </a:lnTo>
                  <a:lnTo>
                    <a:pt x="1230" y="198"/>
                  </a:lnTo>
                  <a:lnTo>
                    <a:pt x="1236" y="204"/>
                  </a:lnTo>
                  <a:lnTo>
                    <a:pt x="1242" y="210"/>
                  </a:lnTo>
                  <a:lnTo>
                    <a:pt x="1242" y="204"/>
                  </a:lnTo>
                  <a:lnTo>
                    <a:pt x="1248" y="198"/>
                  </a:lnTo>
                  <a:lnTo>
                    <a:pt x="1308" y="204"/>
                  </a:lnTo>
                  <a:lnTo>
                    <a:pt x="1338" y="204"/>
                  </a:lnTo>
                  <a:lnTo>
                    <a:pt x="1374" y="228"/>
                  </a:lnTo>
                  <a:lnTo>
                    <a:pt x="1380" y="234"/>
                  </a:lnTo>
                  <a:lnTo>
                    <a:pt x="1380" y="240"/>
                  </a:lnTo>
                  <a:lnTo>
                    <a:pt x="1386" y="252"/>
                  </a:lnTo>
                  <a:lnTo>
                    <a:pt x="1392" y="252"/>
                  </a:lnTo>
                  <a:lnTo>
                    <a:pt x="1416" y="270"/>
                  </a:lnTo>
                  <a:lnTo>
                    <a:pt x="1428" y="294"/>
                  </a:lnTo>
                  <a:lnTo>
                    <a:pt x="1440" y="312"/>
                  </a:lnTo>
                  <a:lnTo>
                    <a:pt x="1452" y="330"/>
                  </a:lnTo>
                  <a:lnTo>
                    <a:pt x="1464" y="330"/>
                  </a:lnTo>
                  <a:lnTo>
                    <a:pt x="1464" y="336"/>
                  </a:lnTo>
                  <a:lnTo>
                    <a:pt x="1470" y="336"/>
                  </a:lnTo>
                  <a:lnTo>
                    <a:pt x="1470" y="342"/>
                  </a:lnTo>
                  <a:lnTo>
                    <a:pt x="1476" y="342"/>
                  </a:lnTo>
                  <a:lnTo>
                    <a:pt x="1488" y="336"/>
                  </a:lnTo>
                  <a:lnTo>
                    <a:pt x="1494" y="342"/>
                  </a:lnTo>
                  <a:lnTo>
                    <a:pt x="1500" y="342"/>
                  </a:lnTo>
                  <a:lnTo>
                    <a:pt x="1512" y="366"/>
                  </a:lnTo>
                  <a:lnTo>
                    <a:pt x="1530" y="396"/>
                  </a:lnTo>
                  <a:lnTo>
                    <a:pt x="1536" y="444"/>
                  </a:lnTo>
                  <a:lnTo>
                    <a:pt x="1530" y="480"/>
                  </a:lnTo>
                  <a:lnTo>
                    <a:pt x="1506" y="510"/>
                  </a:lnTo>
                  <a:lnTo>
                    <a:pt x="1500" y="546"/>
                  </a:lnTo>
                  <a:lnTo>
                    <a:pt x="1494" y="564"/>
                  </a:lnTo>
                  <a:lnTo>
                    <a:pt x="1494" y="576"/>
                  </a:lnTo>
                  <a:lnTo>
                    <a:pt x="1500" y="582"/>
                  </a:lnTo>
                  <a:lnTo>
                    <a:pt x="1494" y="612"/>
                  </a:lnTo>
                  <a:lnTo>
                    <a:pt x="1476" y="630"/>
                  </a:lnTo>
                  <a:lnTo>
                    <a:pt x="1434" y="672"/>
                  </a:lnTo>
                  <a:lnTo>
                    <a:pt x="1392" y="756"/>
                  </a:lnTo>
                  <a:lnTo>
                    <a:pt x="1380" y="792"/>
                  </a:lnTo>
                  <a:lnTo>
                    <a:pt x="1374" y="798"/>
                  </a:lnTo>
                  <a:lnTo>
                    <a:pt x="1368" y="798"/>
                  </a:lnTo>
                  <a:lnTo>
                    <a:pt x="1380" y="804"/>
                  </a:lnTo>
                  <a:lnTo>
                    <a:pt x="1386" y="804"/>
                  </a:lnTo>
                  <a:lnTo>
                    <a:pt x="1380" y="822"/>
                  </a:lnTo>
                  <a:lnTo>
                    <a:pt x="1380" y="852"/>
                  </a:lnTo>
                  <a:lnTo>
                    <a:pt x="1374" y="858"/>
                  </a:lnTo>
                  <a:lnTo>
                    <a:pt x="1380" y="858"/>
                  </a:lnTo>
                  <a:lnTo>
                    <a:pt x="1374" y="864"/>
                  </a:lnTo>
                  <a:lnTo>
                    <a:pt x="1374" y="870"/>
                  </a:lnTo>
                  <a:lnTo>
                    <a:pt x="1374" y="876"/>
                  </a:lnTo>
                  <a:lnTo>
                    <a:pt x="1368" y="900"/>
                  </a:lnTo>
                  <a:lnTo>
                    <a:pt x="1362" y="906"/>
                  </a:lnTo>
                  <a:lnTo>
                    <a:pt x="1362" y="918"/>
                  </a:lnTo>
                  <a:lnTo>
                    <a:pt x="1362" y="924"/>
                  </a:lnTo>
                  <a:lnTo>
                    <a:pt x="1356" y="942"/>
                  </a:lnTo>
                  <a:lnTo>
                    <a:pt x="1350" y="972"/>
                  </a:lnTo>
                  <a:lnTo>
                    <a:pt x="1350" y="1014"/>
                  </a:lnTo>
                  <a:lnTo>
                    <a:pt x="1350" y="10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3" name="Freeform 18">
              <a:extLst>
                <a:ext uri="{FF2B5EF4-FFF2-40B4-BE49-F238E27FC236}">
                  <a16:creationId xmlns:a16="http://schemas.microsoft.com/office/drawing/2014/main" id="{EC11F2E0-3C06-46E2-8AD2-66EBE00FFE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32346" y="3837389"/>
              <a:ext cx="556811" cy="818559"/>
            </a:xfrm>
            <a:custGeom>
              <a:avLst/>
              <a:gdLst>
                <a:gd name="T0" fmla="*/ 12 w 1044"/>
                <a:gd name="T1" fmla="*/ 95 h 1542"/>
                <a:gd name="T2" fmla="*/ 7 w 1044"/>
                <a:gd name="T3" fmla="*/ 93 h 1542"/>
                <a:gd name="T4" fmla="*/ 0 w 1044"/>
                <a:gd name="T5" fmla="*/ 88 h 1542"/>
                <a:gd name="T6" fmla="*/ 3 w 1044"/>
                <a:gd name="T7" fmla="*/ 74 h 1542"/>
                <a:gd name="T8" fmla="*/ 4 w 1044"/>
                <a:gd name="T9" fmla="*/ 59 h 1542"/>
                <a:gd name="T10" fmla="*/ 7 w 1044"/>
                <a:gd name="T11" fmla="*/ 52 h 1542"/>
                <a:gd name="T12" fmla="*/ 20 w 1044"/>
                <a:gd name="T13" fmla="*/ 50 h 1542"/>
                <a:gd name="T14" fmla="*/ 24 w 1044"/>
                <a:gd name="T15" fmla="*/ 46 h 1542"/>
                <a:gd name="T16" fmla="*/ 29 w 1044"/>
                <a:gd name="T17" fmla="*/ 33 h 1542"/>
                <a:gd name="T18" fmla="*/ 32 w 1044"/>
                <a:gd name="T19" fmla="*/ 26 h 1542"/>
                <a:gd name="T20" fmla="*/ 30 w 1044"/>
                <a:gd name="T21" fmla="*/ 20 h 1542"/>
                <a:gd name="T22" fmla="*/ 26 w 1044"/>
                <a:gd name="T23" fmla="*/ 17 h 1542"/>
                <a:gd name="T24" fmla="*/ 28 w 1044"/>
                <a:gd name="T25" fmla="*/ 12 h 1542"/>
                <a:gd name="T26" fmla="*/ 44 w 1044"/>
                <a:gd name="T27" fmla="*/ 5 h 1542"/>
                <a:gd name="T28" fmla="*/ 57 w 1044"/>
                <a:gd name="T29" fmla="*/ 2 h 1542"/>
                <a:gd name="T30" fmla="*/ 65 w 1044"/>
                <a:gd name="T31" fmla="*/ 12 h 1542"/>
                <a:gd name="T32" fmla="*/ 81 w 1044"/>
                <a:gd name="T33" fmla="*/ 9 h 1542"/>
                <a:gd name="T34" fmla="*/ 91 w 1044"/>
                <a:gd name="T35" fmla="*/ 20 h 1542"/>
                <a:gd name="T36" fmla="*/ 89 w 1044"/>
                <a:gd name="T37" fmla="*/ 28 h 1542"/>
                <a:gd name="T38" fmla="*/ 83 w 1044"/>
                <a:gd name="T39" fmla="*/ 33 h 1542"/>
                <a:gd name="T40" fmla="*/ 74 w 1044"/>
                <a:gd name="T41" fmla="*/ 42 h 1542"/>
                <a:gd name="T42" fmla="*/ 58 w 1044"/>
                <a:gd name="T43" fmla="*/ 57 h 1542"/>
                <a:gd name="T44" fmla="*/ 54 w 1044"/>
                <a:gd name="T45" fmla="*/ 65 h 1542"/>
                <a:gd name="T46" fmla="*/ 59 w 1044"/>
                <a:gd name="T47" fmla="*/ 74 h 1542"/>
                <a:gd name="T48" fmla="*/ 55 w 1044"/>
                <a:gd name="T49" fmla="*/ 84 h 1542"/>
                <a:gd name="T50" fmla="*/ 52 w 1044"/>
                <a:gd name="T51" fmla="*/ 98 h 1542"/>
                <a:gd name="T52" fmla="*/ 47 w 1044"/>
                <a:gd name="T53" fmla="*/ 105 h 1542"/>
                <a:gd name="T54" fmla="*/ 42 w 1044"/>
                <a:gd name="T55" fmla="*/ 111 h 1542"/>
                <a:gd name="T56" fmla="*/ 43 w 1044"/>
                <a:gd name="T57" fmla="*/ 120 h 1542"/>
                <a:gd name="T58" fmla="*/ 45 w 1044"/>
                <a:gd name="T59" fmla="*/ 125 h 1542"/>
                <a:gd name="T60" fmla="*/ 44 w 1044"/>
                <a:gd name="T61" fmla="*/ 130 h 1542"/>
                <a:gd name="T62" fmla="*/ 45 w 1044"/>
                <a:gd name="T63" fmla="*/ 131 h 1542"/>
                <a:gd name="T64" fmla="*/ 48 w 1044"/>
                <a:gd name="T65" fmla="*/ 133 h 1542"/>
                <a:gd name="T66" fmla="*/ 39 w 1044"/>
                <a:gd name="T67" fmla="*/ 133 h 1542"/>
                <a:gd name="T68" fmla="*/ 42 w 1044"/>
                <a:gd name="T69" fmla="*/ 132 h 1542"/>
                <a:gd name="T70" fmla="*/ 38 w 1044"/>
                <a:gd name="T71" fmla="*/ 133 h 1542"/>
                <a:gd name="T72" fmla="*/ 37 w 1044"/>
                <a:gd name="T73" fmla="*/ 129 h 1542"/>
                <a:gd name="T74" fmla="*/ 40 w 1044"/>
                <a:gd name="T75" fmla="*/ 125 h 1542"/>
                <a:gd name="T76" fmla="*/ 40 w 1044"/>
                <a:gd name="T77" fmla="*/ 120 h 1542"/>
                <a:gd name="T78" fmla="*/ 40 w 1044"/>
                <a:gd name="T79" fmla="*/ 117 h 1542"/>
                <a:gd name="T80" fmla="*/ 37 w 1044"/>
                <a:gd name="T81" fmla="*/ 120 h 1542"/>
                <a:gd name="T82" fmla="*/ 34 w 1044"/>
                <a:gd name="T83" fmla="*/ 122 h 1542"/>
                <a:gd name="T84" fmla="*/ 36 w 1044"/>
                <a:gd name="T85" fmla="*/ 120 h 1542"/>
                <a:gd name="T86" fmla="*/ 30 w 1044"/>
                <a:gd name="T87" fmla="*/ 120 h 1542"/>
                <a:gd name="T88" fmla="*/ 31 w 1044"/>
                <a:gd name="T89" fmla="*/ 113 h 1542"/>
                <a:gd name="T90" fmla="*/ 29 w 1044"/>
                <a:gd name="T91" fmla="*/ 112 h 1542"/>
                <a:gd name="T92" fmla="*/ 31 w 1044"/>
                <a:gd name="T93" fmla="*/ 117 h 1542"/>
                <a:gd name="T94" fmla="*/ 27 w 1044"/>
                <a:gd name="T95" fmla="*/ 116 h 1542"/>
                <a:gd name="T96" fmla="*/ 25 w 1044"/>
                <a:gd name="T97" fmla="*/ 112 h 1542"/>
                <a:gd name="T98" fmla="*/ 21 w 1044"/>
                <a:gd name="T99" fmla="*/ 109 h 1542"/>
                <a:gd name="T100" fmla="*/ 21 w 1044"/>
                <a:gd name="T101" fmla="*/ 113 h 1542"/>
                <a:gd name="T102" fmla="*/ 40 w 1044"/>
                <a:gd name="T103" fmla="*/ 120 h 1542"/>
                <a:gd name="T104" fmla="*/ 40 w 1044"/>
                <a:gd name="T105" fmla="*/ 121 h 1542"/>
                <a:gd name="T106" fmla="*/ 40 w 1044"/>
                <a:gd name="T107" fmla="*/ 116 h 1542"/>
                <a:gd name="T108" fmla="*/ 38 w 1044"/>
                <a:gd name="T109" fmla="*/ 120 h 1542"/>
                <a:gd name="T110" fmla="*/ 23 w 1044"/>
                <a:gd name="T111" fmla="*/ 110 h 1542"/>
                <a:gd name="T112" fmla="*/ 37 w 1044"/>
                <a:gd name="T113" fmla="*/ 124 h 1542"/>
                <a:gd name="T114" fmla="*/ 40 w 1044"/>
                <a:gd name="T115" fmla="*/ 125 h 1542"/>
                <a:gd name="T116" fmla="*/ 38 w 1044"/>
                <a:gd name="T117" fmla="*/ 128 h 1542"/>
                <a:gd name="T118" fmla="*/ 25 w 1044"/>
                <a:gd name="T119" fmla="*/ 117 h 1542"/>
                <a:gd name="T120" fmla="*/ 27 w 1044"/>
                <a:gd name="T121" fmla="*/ 127 h 1542"/>
                <a:gd name="T122" fmla="*/ 24 w 1044"/>
                <a:gd name="T123" fmla="*/ 113 h 15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4"/>
                <a:gd name="T187" fmla="*/ 0 h 1542"/>
                <a:gd name="T188" fmla="*/ 1044 w 1044"/>
                <a:gd name="T189" fmla="*/ 1542 h 154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4" h="1542">
                  <a:moveTo>
                    <a:pt x="234" y="1278"/>
                  </a:moveTo>
                  <a:lnTo>
                    <a:pt x="228" y="1272"/>
                  </a:lnTo>
                  <a:lnTo>
                    <a:pt x="222" y="1266"/>
                  </a:lnTo>
                  <a:lnTo>
                    <a:pt x="222" y="1260"/>
                  </a:lnTo>
                  <a:lnTo>
                    <a:pt x="204" y="1248"/>
                  </a:lnTo>
                  <a:lnTo>
                    <a:pt x="192" y="1248"/>
                  </a:lnTo>
                  <a:lnTo>
                    <a:pt x="186" y="1236"/>
                  </a:lnTo>
                  <a:lnTo>
                    <a:pt x="174" y="1218"/>
                  </a:lnTo>
                  <a:lnTo>
                    <a:pt x="162" y="1194"/>
                  </a:lnTo>
                  <a:lnTo>
                    <a:pt x="156" y="1182"/>
                  </a:lnTo>
                  <a:lnTo>
                    <a:pt x="162" y="1146"/>
                  </a:lnTo>
                  <a:lnTo>
                    <a:pt x="156" y="1134"/>
                  </a:lnTo>
                  <a:lnTo>
                    <a:pt x="138" y="1122"/>
                  </a:lnTo>
                  <a:lnTo>
                    <a:pt x="132" y="1116"/>
                  </a:lnTo>
                  <a:lnTo>
                    <a:pt x="138" y="1098"/>
                  </a:lnTo>
                  <a:lnTo>
                    <a:pt x="138" y="1092"/>
                  </a:lnTo>
                  <a:lnTo>
                    <a:pt x="138" y="1086"/>
                  </a:lnTo>
                  <a:lnTo>
                    <a:pt x="132" y="1074"/>
                  </a:lnTo>
                  <a:lnTo>
                    <a:pt x="126" y="1074"/>
                  </a:lnTo>
                  <a:lnTo>
                    <a:pt x="126" y="1068"/>
                  </a:lnTo>
                  <a:lnTo>
                    <a:pt x="120" y="1062"/>
                  </a:lnTo>
                  <a:lnTo>
                    <a:pt x="120" y="1056"/>
                  </a:lnTo>
                  <a:lnTo>
                    <a:pt x="114" y="1050"/>
                  </a:lnTo>
                  <a:lnTo>
                    <a:pt x="108" y="1050"/>
                  </a:lnTo>
                  <a:lnTo>
                    <a:pt x="102" y="1056"/>
                  </a:lnTo>
                  <a:lnTo>
                    <a:pt x="102" y="1062"/>
                  </a:lnTo>
                  <a:lnTo>
                    <a:pt x="96" y="1062"/>
                  </a:lnTo>
                  <a:lnTo>
                    <a:pt x="96" y="1068"/>
                  </a:lnTo>
                  <a:lnTo>
                    <a:pt x="96" y="1074"/>
                  </a:lnTo>
                  <a:lnTo>
                    <a:pt x="90" y="1074"/>
                  </a:lnTo>
                  <a:lnTo>
                    <a:pt x="84" y="1080"/>
                  </a:lnTo>
                  <a:lnTo>
                    <a:pt x="78" y="1074"/>
                  </a:lnTo>
                  <a:lnTo>
                    <a:pt x="72" y="1074"/>
                  </a:lnTo>
                  <a:lnTo>
                    <a:pt x="72" y="1068"/>
                  </a:lnTo>
                  <a:lnTo>
                    <a:pt x="72" y="1062"/>
                  </a:lnTo>
                  <a:lnTo>
                    <a:pt x="60" y="1056"/>
                  </a:lnTo>
                  <a:lnTo>
                    <a:pt x="60" y="1044"/>
                  </a:lnTo>
                  <a:lnTo>
                    <a:pt x="60" y="1032"/>
                  </a:lnTo>
                  <a:lnTo>
                    <a:pt x="60" y="1026"/>
                  </a:lnTo>
                  <a:lnTo>
                    <a:pt x="54" y="1026"/>
                  </a:lnTo>
                  <a:lnTo>
                    <a:pt x="48" y="1014"/>
                  </a:lnTo>
                  <a:lnTo>
                    <a:pt x="42" y="1008"/>
                  </a:lnTo>
                  <a:lnTo>
                    <a:pt x="30" y="1008"/>
                  </a:lnTo>
                  <a:lnTo>
                    <a:pt x="30" y="1002"/>
                  </a:lnTo>
                  <a:lnTo>
                    <a:pt x="24" y="1008"/>
                  </a:lnTo>
                  <a:lnTo>
                    <a:pt x="12" y="1008"/>
                  </a:lnTo>
                  <a:lnTo>
                    <a:pt x="6" y="1008"/>
                  </a:lnTo>
                  <a:lnTo>
                    <a:pt x="0" y="1008"/>
                  </a:lnTo>
                  <a:lnTo>
                    <a:pt x="0" y="1002"/>
                  </a:lnTo>
                  <a:lnTo>
                    <a:pt x="6" y="990"/>
                  </a:lnTo>
                  <a:lnTo>
                    <a:pt x="6" y="984"/>
                  </a:lnTo>
                  <a:lnTo>
                    <a:pt x="0" y="978"/>
                  </a:lnTo>
                  <a:lnTo>
                    <a:pt x="6" y="972"/>
                  </a:lnTo>
                  <a:lnTo>
                    <a:pt x="12" y="972"/>
                  </a:lnTo>
                  <a:lnTo>
                    <a:pt x="72" y="978"/>
                  </a:lnTo>
                  <a:lnTo>
                    <a:pt x="78" y="972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30"/>
                  </a:lnTo>
                  <a:lnTo>
                    <a:pt x="54" y="912"/>
                  </a:lnTo>
                  <a:lnTo>
                    <a:pt x="42" y="906"/>
                  </a:lnTo>
                  <a:lnTo>
                    <a:pt x="36" y="894"/>
                  </a:lnTo>
                  <a:lnTo>
                    <a:pt x="30" y="876"/>
                  </a:lnTo>
                  <a:lnTo>
                    <a:pt x="30" y="858"/>
                  </a:lnTo>
                  <a:lnTo>
                    <a:pt x="30" y="840"/>
                  </a:lnTo>
                  <a:lnTo>
                    <a:pt x="36" y="816"/>
                  </a:lnTo>
                  <a:lnTo>
                    <a:pt x="36" y="792"/>
                  </a:lnTo>
                  <a:lnTo>
                    <a:pt x="36" y="780"/>
                  </a:lnTo>
                  <a:lnTo>
                    <a:pt x="12" y="774"/>
                  </a:lnTo>
                  <a:lnTo>
                    <a:pt x="24" y="756"/>
                  </a:lnTo>
                  <a:lnTo>
                    <a:pt x="24" y="744"/>
                  </a:lnTo>
                  <a:lnTo>
                    <a:pt x="30" y="738"/>
                  </a:lnTo>
                  <a:lnTo>
                    <a:pt x="30" y="732"/>
                  </a:lnTo>
                  <a:lnTo>
                    <a:pt x="36" y="720"/>
                  </a:lnTo>
                  <a:lnTo>
                    <a:pt x="42" y="714"/>
                  </a:lnTo>
                  <a:lnTo>
                    <a:pt x="54" y="708"/>
                  </a:lnTo>
                  <a:lnTo>
                    <a:pt x="60" y="702"/>
                  </a:lnTo>
                  <a:lnTo>
                    <a:pt x="48" y="690"/>
                  </a:lnTo>
                  <a:lnTo>
                    <a:pt x="48" y="684"/>
                  </a:lnTo>
                  <a:lnTo>
                    <a:pt x="48" y="678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66"/>
                  </a:lnTo>
                  <a:lnTo>
                    <a:pt x="72" y="654"/>
                  </a:lnTo>
                  <a:lnTo>
                    <a:pt x="72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84" y="630"/>
                  </a:lnTo>
                  <a:lnTo>
                    <a:pt x="90" y="630"/>
                  </a:lnTo>
                  <a:lnTo>
                    <a:pt x="96" y="630"/>
                  </a:lnTo>
                  <a:lnTo>
                    <a:pt x="96" y="624"/>
                  </a:lnTo>
                  <a:lnTo>
                    <a:pt x="90" y="624"/>
                  </a:lnTo>
                  <a:lnTo>
                    <a:pt x="84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90" y="600"/>
                  </a:lnTo>
                  <a:lnTo>
                    <a:pt x="84" y="600"/>
                  </a:lnTo>
                  <a:lnTo>
                    <a:pt x="78" y="594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126" y="564"/>
                  </a:lnTo>
                  <a:lnTo>
                    <a:pt x="144" y="564"/>
                  </a:lnTo>
                  <a:lnTo>
                    <a:pt x="156" y="582"/>
                  </a:lnTo>
                  <a:lnTo>
                    <a:pt x="162" y="600"/>
                  </a:lnTo>
                  <a:lnTo>
                    <a:pt x="180" y="588"/>
                  </a:lnTo>
                  <a:lnTo>
                    <a:pt x="192" y="588"/>
                  </a:lnTo>
                  <a:lnTo>
                    <a:pt x="198" y="588"/>
                  </a:lnTo>
                  <a:lnTo>
                    <a:pt x="210" y="582"/>
                  </a:lnTo>
                  <a:lnTo>
                    <a:pt x="216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58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46" y="558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58" y="570"/>
                  </a:lnTo>
                  <a:lnTo>
                    <a:pt x="264" y="570"/>
                  </a:lnTo>
                  <a:lnTo>
                    <a:pt x="270" y="564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46"/>
                  </a:lnTo>
                  <a:lnTo>
                    <a:pt x="276" y="540"/>
                  </a:lnTo>
                  <a:lnTo>
                    <a:pt x="276" y="534"/>
                  </a:lnTo>
                  <a:lnTo>
                    <a:pt x="276" y="528"/>
                  </a:lnTo>
                  <a:lnTo>
                    <a:pt x="282" y="528"/>
                  </a:lnTo>
                  <a:lnTo>
                    <a:pt x="282" y="522"/>
                  </a:lnTo>
                  <a:lnTo>
                    <a:pt x="282" y="516"/>
                  </a:lnTo>
                  <a:lnTo>
                    <a:pt x="282" y="510"/>
                  </a:lnTo>
                  <a:lnTo>
                    <a:pt x="282" y="504"/>
                  </a:lnTo>
                  <a:lnTo>
                    <a:pt x="282" y="492"/>
                  </a:lnTo>
                  <a:lnTo>
                    <a:pt x="288" y="486"/>
                  </a:lnTo>
                  <a:lnTo>
                    <a:pt x="300" y="480"/>
                  </a:lnTo>
                  <a:lnTo>
                    <a:pt x="306" y="462"/>
                  </a:lnTo>
                  <a:lnTo>
                    <a:pt x="318" y="444"/>
                  </a:lnTo>
                  <a:lnTo>
                    <a:pt x="330" y="444"/>
                  </a:lnTo>
                  <a:lnTo>
                    <a:pt x="330" y="432"/>
                  </a:lnTo>
                  <a:lnTo>
                    <a:pt x="342" y="432"/>
                  </a:lnTo>
                  <a:lnTo>
                    <a:pt x="354" y="402"/>
                  </a:lnTo>
                  <a:lnTo>
                    <a:pt x="348" y="390"/>
                  </a:lnTo>
                  <a:lnTo>
                    <a:pt x="336" y="384"/>
                  </a:lnTo>
                  <a:lnTo>
                    <a:pt x="336" y="360"/>
                  </a:lnTo>
                  <a:lnTo>
                    <a:pt x="336" y="354"/>
                  </a:lnTo>
                  <a:lnTo>
                    <a:pt x="336" y="342"/>
                  </a:lnTo>
                  <a:lnTo>
                    <a:pt x="342" y="336"/>
                  </a:lnTo>
                  <a:lnTo>
                    <a:pt x="342" y="324"/>
                  </a:lnTo>
                  <a:lnTo>
                    <a:pt x="372" y="324"/>
                  </a:lnTo>
                  <a:lnTo>
                    <a:pt x="378" y="324"/>
                  </a:lnTo>
                  <a:lnTo>
                    <a:pt x="378" y="318"/>
                  </a:lnTo>
                  <a:lnTo>
                    <a:pt x="372" y="312"/>
                  </a:lnTo>
                  <a:lnTo>
                    <a:pt x="378" y="312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84" y="300"/>
                  </a:lnTo>
                  <a:lnTo>
                    <a:pt x="384" y="294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66" y="294"/>
                  </a:lnTo>
                  <a:lnTo>
                    <a:pt x="366" y="288"/>
                  </a:lnTo>
                  <a:lnTo>
                    <a:pt x="372" y="288"/>
                  </a:lnTo>
                  <a:lnTo>
                    <a:pt x="372" y="282"/>
                  </a:lnTo>
                  <a:lnTo>
                    <a:pt x="366" y="276"/>
                  </a:lnTo>
                  <a:lnTo>
                    <a:pt x="360" y="270"/>
                  </a:lnTo>
                  <a:lnTo>
                    <a:pt x="360" y="264"/>
                  </a:lnTo>
                  <a:lnTo>
                    <a:pt x="354" y="264"/>
                  </a:lnTo>
                  <a:lnTo>
                    <a:pt x="348" y="258"/>
                  </a:lnTo>
                  <a:lnTo>
                    <a:pt x="354" y="258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40"/>
                  </a:lnTo>
                  <a:lnTo>
                    <a:pt x="354" y="240"/>
                  </a:lnTo>
                  <a:lnTo>
                    <a:pt x="342" y="234"/>
                  </a:lnTo>
                  <a:lnTo>
                    <a:pt x="342" y="228"/>
                  </a:lnTo>
                  <a:lnTo>
                    <a:pt x="348" y="228"/>
                  </a:lnTo>
                  <a:lnTo>
                    <a:pt x="342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6" y="216"/>
                  </a:lnTo>
                  <a:lnTo>
                    <a:pt x="330" y="222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24" y="210"/>
                  </a:lnTo>
                  <a:lnTo>
                    <a:pt x="318" y="210"/>
                  </a:lnTo>
                  <a:lnTo>
                    <a:pt x="318" y="204"/>
                  </a:lnTo>
                  <a:lnTo>
                    <a:pt x="312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294" y="192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300" y="174"/>
                  </a:lnTo>
                  <a:lnTo>
                    <a:pt x="300" y="168"/>
                  </a:lnTo>
                  <a:lnTo>
                    <a:pt x="300" y="162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88" y="150"/>
                  </a:lnTo>
                  <a:lnTo>
                    <a:pt x="288" y="144"/>
                  </a:lnTo>
                  <a:lnTo>
                    <a:pt x="282" y="144"/>
                  </a:lnTo>
                  <a:lnTo>
                    <a:pt x="282" y="138"/>
                  </a:lnTo>
                  <a:lnTo>
                    <a:pt x="312" y="132"/>
                  </a:lnTo>
                  <a:lnTo>
                    <a:pt x="324" y="120"/>
                  </a:lnTo>
                  <a:lnTo>
                    <a:pt x="330" y="114"/>
                  </a:lnTo>
                  <a:lnTo>
                    <a:pt x="336" y="102"/>
                  </a:lnTo>
                  <a:lnTo>
                    <a:pt x="348" y="90"/>
                  </a:lnTo>
                  <a:lnTo>
                    <a:pt x="360" y="84"/>
                  </a:lnTo>
                  <a:lnTo>
                    <a:pt x="372" y="84"/>
                  </a:lnTo>
                  <a:lnTo>
                    <a:pt x="378" y="84"/>
                  </a:lnTo>
                  <a:lnTo>
                    <a:pt x="384" y="90"/>
                  </a:lnTo>
                  <a:lnTo>
                    <a:pt x="402" y="90"/>
                  </a:lnTo>
                  <a:lnTo>
                    <a:pt x="438" y="84"/>
                  </a:lnTo>
                  <a:lnTo>
                    <a:pt x="456" y="84"/>
                  </a:lnTo>
                  <a:lnTo>
                    <a:pt x="462" y="78"/>
                  </a:lnTo>
                  <a:lnTo>
                    <a:pt x="486" y="72"/>
                  </a:lnTo>
                  <a:lnTo>
                    <a:pt x="492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04" y="54"/>
                  </a:lnTo>
                  <a:lnTo>
                    <a:pt x="510" y="42"/>
                  </a:lnTo>
                  <a:lnTo>
                    <a:pt x="504" y="42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498" y="30"/>
                  </a:lnTo>
                  <a:lnTo>
                    <a:pt x="492" y="30"/>
                  </a:lnTo>
                  <a:lnTo>
                    <a:pt x="492" y="24"/>
                  </a:lnTo>
                  <a:lnTo>
                    <a:pt x="486" y="18"/>
                  </a:lnTo>
                  <a:lnTo>
                    <a:pt x="498" y="18"/>
                  </a:lnTo>
                  <a:lnTo>
                    <a:pt x="510" y="18"/>
                  </a:lnTo>
                  <a:lnTo>
                    <a:pt x="522" y="12"/>
                  </a:lnTo>
                  <a:lnTo>
                    <a:pt x="528" y="6"/>
                  </a:lnTo>
                  <a:lnTo>
                    <a:pt x="570" y="0"/>
                  </a:lnTo>
                  <a:lnTo>
                    <a:pt x="606" y="6"/>
                  </a:lnTo>
                  <a:lnTo>
                    <a:pt x="654" y="24"/>
                  </a:lnTo>
                  <a:lnTo>
                    <a:pt x="666" y="36"/>
                  </a:lnTo>
                  <a:lnTo>
                    <a:pt x="672" y="30"/>
                  </a:lnTo>
                  <a:lnTo>
                    <a:pt x="690" y="42"/>
                  </a:lnTo>
                  <a:lnTo>
                    <a:pt x="702" y="48"/>
                  </a:lnTo>
                  <a:lnTo>
                    <a:pt x="714" y="60"/>
                  </a:lnTo>
                  <a:lnTo>
                    <a:pt x="714" y="66"/>
                  </a:lnTo>
                  <a:lnTo>
                    <a:pt x="720" y="72"/>
                  </a:lnTo>
                  <a:lnTo>
                    <a:pt x="720" y="78"/>
                  </a:lnTo>
                  <a:lnTo>
                    <a:pt x="720" y="102"/>
                  </a:lnTo>
                  <a:lnTo>
                    <a:pt x="720" y="108"/>
                  </a:lnTo>
                  <a:lnTo>
                    <a:pt x="714" y="108"/>
                  </a:lnTo>
                  <a:lnTo>
                    <a:pt x="714" y="126"/>
                  </a:lnTo>
                  <a:lnTo>
                    <a:pt x="732" y="126"/>
                  </a:lnTo>
                  <a:lnTo>
                    <a:pt x="726" y="132"/>
                  </a:lnTo>
                  <a:lnTo>
                    <a:pt x="738" y="132"/>
                  </a:lnTo>
                  <a:lnTo>
                    <a:pt x="738" y="138"/>
                  </a:lnTo>
                  <a:lnTo>
                    <a:pt x="738" y="144"/>
                  </a:lnTo>
                  <a:lnTo>
                    <a:pt x="744" y="144"/>
                  </a:lnTo>
                  <a:lnTo>
                    <a:pt x="744" y="150"/>
                  </a:lnTo>
                  <a:lnTo>
                    <a:pt x="756" y="156"/>
                  </a:lnTo>
                  <a:lnTo>
                    <a:pt x="768" y="156"/>
                  </a:lnTo>
                  <a:lnTo>
                    <a:pt x="780" y="156"/>
                  </a:lnTo>
                  <a:lnTo>
                    <a:pt x="792" y="150"/>
                  </a:lnTo>
                  <a:lnTo>
                    <a:pt x="786" y="150"/>
                  </a:lnTo>
                  <a:lnTo>
                    <a:pt x="786" y="144"/>
                  </a:lnTo>
                  <a:lnTo>
                    <a:pt x="804" y="144"/>
                  </a:lnTo>
                  <a:lnTo>
                    <a:pt x="816" y="132"/>
                  </a:lnTo>
                  <a:lnTo>
                    <a:pt x="822" y="126"/>
                  </a:lnTo>
                  <a:lnTo>
                    <a:pt x="828" y="132"/>
                  </a:lnTo>
                  <a:lnTo>
                    <a:pt x="834" y="126"/>
                  </a:lnTo>
                  <a:lnTo>
                    <a:pt x="834" y="120"/>
                  </a:lnTo>
                  <a:lnTo>
                    <a:pt x="924" y="108"/>
                  </a:lnTo>
                  <a:lnTo>
                    <a:pt x="942" y="144"/>
                  </a:lnTo>
                  <a:lnTo>
                    <a:pt x="948" y="144"/>
                  </a:lnTo>
                  <a:lnTo>
                    <a:pt x="960" y="168"/>
                  </a:lnTo>
                  <a:lnTo>
                    <a:pt x="972" y="186"/>
                  </a:lnTo>
                  <a:lnTo>
                    <a:pt x="984" y="192"/>
                  </a:lnTo>
                  <a:lnTo>
                    <a:pt x="996" y="192"/>
                  </a:lnTo>
                  <a:lnTo>
                    <a:pt x="996" y="198"/>
                  </a:lnTo>
                  <a:lnTo>
                    <a:pt x="1008" y="204"/>
                  </a:lnTo>
                  <a:lnTo>
                    <a:pt x="1008" y="210"/>
                  </a:lnTo>
                  <a:lnTo>
                    <a:pt x="1002" y="210"/>
                  </a:lnTo>
                  <a:lnTo>
                    <a:pt x="1008" y="216"/>
                  </a:lnTo>
                  <a:lnTo>
                    <a:pt x="1014" y="210"/>
                  </a:lnTo>
                  <a:lnTo>
                    <a:pt x="1014" y="216"/>
                  </a:lnTo>
                  <a:lnTo>
                    <a:pt x="1020" y="222"/>
                  </a:lnTo>
                  <a:lnTo>
                    <a:pt x="1014" y="228"/>
                  </a:lnTo>
                  <a:lnTo>
                    <a:pt x="1032" y="234"/>
                  </a:lnTo>
                  <a:lnTo>
                    <a:pt x="1044" y="240"/>
                  </a:lnTo>
                  <a:lnTo>
                    <a:pt x="1038" y="246"/>
                  </a:lnTo>
                  <a:lnTo>
                    <a:pt x="1038" y="252"/>
                  </a:lnTo>
                  <a:lnTo>
                    <a:pt x="1038" y="258"/>
                  </a:lnTo>
                  <a:lnTo>
                    <a:pt x="1032" y="264"/>
                  </a:lnTo>
                  <a:lnTo>
                    <a:pt x="1032" y="270"/>
                  </a:lnTo>
                  <a:lnTo>
                    <a:pt x="1032" y="276"/>
                  </a:lnTo>
                  <a:lnTo>
                    <a:pt x="1032" y="282"/>
                  </a:lnTo>
                  <a:lnTo>
                    <a:pt x="1026" y="282"/>
                  </a:lnTo>
                  <a:lnTo>
                    <a:pt x="1026" y="288"/>
                  </a:lnTo>
                  <a:lnTo>
                    <a:pt x="1026" y="294"/>
                  </a:lnTo>
                  <a:lnTo>
                    <a:pt x="1026" y="300"/>
                  </a:lnTo>
                  <a:lnTo>
                    <a:pt x="1026" y="306"/>
                  </a:lnTo>
                  <a:lnTo>
                    <a:pt x="1020" y="318"/>
                  </a:lnTo>
                  <a:lnTo>
                    <a:pt x="1020" y="324"/>
                  </a:lnTo>
                  <a:lnTo>
                    <a:pt x="1014" y="324"/>
                  </a:lnTo>
                  <a:lnTo>
                    <a:pt x="1014" y="330"/>
                  </a:lnTo>
                  <a:lnTo>
                    <a:pt x="1014" y="336"/>
                  </a:lnTo>
                  <a:lnTo>
                    <a:pt x="1008" y="366"/>
                  </a:lnTo>
                  <a:lnTo>
                    <a:pt x="1002" y="366"/>
                  </a:lnTo>
                  <a:lnTo>
                    <a:pt x="984" y="354"/>
                  </a:lnTo>
                  <a:lnTo>
                    <a:pt x="978" y="354"/>
                  </a:lnTo>
                  <a:lnTo>
                    <a:pt x="972" y="354"/>
                  </a:lnTo>
                  <a:lnTo>
                    <a:pt x="966" y="348"/>
                  </a:lnTo>
                  <a:lnTo>
                    <a:pt x="954" y="348"/>
                  </a:lnTo>
                  <a:lnTo>
                    <a:pt x="948" y="348"/>
                  </a:lnTo>
                  <a:lnTo>
                    <a:pt x="948" y="360"/>
                  </a:lnTo>
                  <a:lnTo>
                    <a:pt x="948" y="366"/>
                  </a:lnTo>
                  <a:lnTo>
                    <a:pt x="948" y="372"/>
                  </a:lnTo>
                  <a:lnTo>
                    <a:pt x="948" y="378"/>
                  </a:lnTo>
                  <a:lnTo>
                    <a:pt x="948" y="384"/>
                  </a:lnTo>
                  <a:lnTo>
                    <a:pt x="942" y="384"/>
                  </a:lnTo>
                  <a:lnTo>
                    <a:pt x="942" y="390"/>
                  </a:lnTo>
                  <a:lnTo>
                    <a:pt x="936" y="390"/>
                  </a:lnTo>
                  <a:lnTo>
                    <a:pt x="942" y="390"/>
                  </a:lnTo>
                  <a:lnTo>
                    <a:pt x="936" y="396"/>
                  </a:lnTo>
                  <a:lnTo>
                    <a:pt x="930" y="402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2" y="432"/>
                  </a:lnTo>
                  <a:lnTo>
                    <a:pt x="900" y="450"/>
                  </a:lnTo>
                  <a:lnTo>
                    <a:pt x="894" y="456"/>
                  </a:lnTo>
                  <a:lnTo>
                    <a:pt x="888" y="456"/>
                  </a:lnTo>
                  <a:lnTo>
                    <a:pt x="882" y="456"/>
                  </a:lnTo>
                  <a:lnTo>
                    <a:pt x="876" y="456"/>
                  </a:lnTo>
                  <a:lnTo>
                    <a:pt x="864" y="462"/>
                  </a:lnTo>
                  <a:lnTo>
                    <a:pt x="852" y="474"/>
                  </a:lnTo>
                  <a:lnTo>
                    <a:pt x="846" y="480"/>
                  </a:lnTo>
                  <a:lnTo>
                    <a:pt x="840" y="486"/>
                  </a:lnTo>
                  <a:lnTo>
                    <a:pt x="834" y="498"/>
                  </a:lnTo>
                  <a:lnTo>
                    <a:pt x="828" y="510"/>
                  </a:lnTo>
                  <a:lnTo>
                    <a:pt x="816" y="522"/>
                  </a:lnTo>
                  <a:lnTo>
                    <a:pt x="798" y="540"/>
                  </a:lnTo>
                  <a:lnTo>
                    <a:pt x="780" y="558"/>
                  </a:lnTo>
                  <a:lnTo>
                    <a:pt x="774" y="558"/>
                  </a:lnTo>
                  <a:lnTo>
                    <a:pt x="756" y="576"/>
                  </a:lnTo>
                  <a:lnTo>
                    <a:pt x="732" y="600"/>
                  </a:lnTo>
                  <a:lnTo>
                    <a:pt x="726" y="600"/>
                  </a:lnTo>
                  <a:lnTo>
                    <a:pt x="720" y="606"/>
                  </a:lnTo>
                  <a:lnTo>
                    <a:pt x="714" y="612"/>
                  </a:lnTo>
                  <a:lnTo>
                    <a:pt x="690" y="630"/>
                  </a:lnTo>
                  <a:lnTo>
                    <a:pt x="678" y="636"/>
                  </a:lnTo>
                  <a:lnTo>
                    <a:pt x="672" y="642"/>
                  </a:lnTo>
                  <a:lnTo>
                    <a:pt x="660" y="660"/>
                  </a:lnTo>
                  <a:lnTo>
                    <a:pt x="642" y="666"/>
                  </a:lnTo>
                  <a:lnTo>
                    <a:pt x="636" y="678"/>
                  </a:lnTo>
                  <a:lnTo>
                    <a:pt x="630" y="678"/>
                  </a:lnTo>
                  <a:lnTo>
                    <a:pt x="630" y="684"/>
                  </a:lnTo>
                  <a:lnTo>
                    <a:pt x="630" y="690"/>
                  </a:lnTo>
                  <a:lnTo>
                    <a:pt x="636" y="696"/>
                  </a:lnTo>
                  <a:lnTo>
                    <a:pt x="642" y="696"/>
                  </a:lnTo>
                  <a:lnTo>
                    <a:pt x="648" y="702"/>
                  </a:lnTo>
                  <a:lnTo>
                    <a:pt x="648" y="708"/>
                  </a:lnTo>
                  <a:lnTo>
                    <a:pt x="642" y="708"/>
                  </a:lnTo>
                  <a:lnTo>
                    <a:pt x="636" y="714"/>
                  </a:lnTo>
                  <a:lnTo>
                    <a:pt x="636" y="720"/>
                  </a:lnTo>
                  <a:lnTo>
                    <a:pt x="642" y="726"/>
                  </a:lnTo>
                  <a:lnTo>
                    <a:pt x="636" y="738"/>
                  </a:lnTo>
                  <a:lnTo>
                    <a:pt x="618" y="756"/>
                  </a:lnTo>
                  <a:lnTo>
                    <a:pt x="612" y="750"/>
                  </a:lnTo>
                  <a:lnTo>
                    <a:pt x="612" y="756"/>
                  </a:lnTo>
                  <a:lnTo>
                    <a:pt x="618" y="762"/>
                  </a:lnTo>
                  <a:lnTo>
                    <a:pt x="618" y="768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36" y="786"/>
                  </a:lnTo>
                  <a:lnTo>
                    <a:pt x="642" y="792"/>
                  </a:lnTo>
                  <a:lnTo>
                    <a:pt x="642" y="798"/>
                  </a:lnTo>
                  <a:lnTo>
                    <a:pt x="648" y="804"/>
                  </a:lnTo>
                  <a:lnTo>
                    <a:pt x="654" y="810"/>
                  </a:lnTo>
                  <a:lnTo>
                    <a:pt x="660" y="816"/>
                  </a:lnTo>
                  <a:lnTo>
                    <a:pt x="666" y="816"/>
                  </a:lnTo>
                  <a:lnTo>
                    <a:pt x="666" y="822"/>
                  </a:lnTo>
                  <a:lnTo>
                    <a:pt x="672" y="828"/>
                  </a:lnTo>
                  <a:lnTo>
                    <a:pt x="672" y="840"/>
                  </a:lnTo>
                  <a:lnTo>
                    <a:pt x="672" y="846"/>
                  </a:lnTo>
                  <a:lnTo>
                    <a:pt x="666" y="852"/>
                  </a:lnTo>
                  <a:lnTo>
                    <a:pt x="660" y="864"/>
                  </a:lnTo>
                  <a:lnTo>
                    <a:pt x="654" y="876"/>
                  </a:lnTo>
                  <a:lnTo>
                    <a:pt x="648" y="882"/>
                  </a:lnTo>
                  <a:lnTo>
                    <a:pt x="642" y="888"/>
                  </a:lnTo>
                  <a:lnTo>
                    <a:pt x="642" y="894"/>
                  </a:lnTo>
                  <a:lnTo>
                    <a:pt x="642" y="906"/>
                  </a:lnTo>
                  <a:lnTo>
                    <a:pt x="630" y="918"/>
                  </a:lnTo>
                  <a:lnTo>
                    <a:pt x="630" y="924"/>
                  </a:lnTo>
                  <a:lnTo>
                    <a:pt x="624" y="930"/>
                  </a:lnTo>
                  <a:lnTo>
                    <a:pt x="630" y="936"/>
                  </a:lnTo>
                  <a:lnTo>
                    <a:pt x="630" y="942"/>
                  </a:lnTo>
                  <a:lnTo>
                    <a:pt x="630" y="948"/>
                  </a:lnTo>
                  <a:lnTo>
                    <a:pt x="630" y="954"/>
                  </a:lnTo>
                  <a:lnTo>
                    <a:pt x="630" y="960"/>
                  </a:lnTo>
                  <a:lnTo>
                    <a:pt x="624" y="966"/>
                  </a:lnTo>
                  <a:lnTo>
                    <a:pt x="618" y="990"/>
                  </a:lnTo>
                  <a:lnTo>
                    <a:pt x="618" y="1008"/>
                  </a:lnTo>
                  <a:lnTo>
                    <a:pt x="612" y="1026"/>
                  </a:lnTo>
                  <a:lnTo>
                    <a:pt x="612" y="1038"/>
                  </a:lnTo>
                  <a:lnTo>
                    <a:pt x="612" y="1050"/>
                  </a:lnTo>
                  <a:lnTo>
                    <a:pt x="612" y="1056"/>
                  </a:lnTo>
                  <a:lnTo>
                    <a:pt x="612" y="1062"/>
                  </a:lnTo>
                  <a:lnTo>
                    <a:pt x="612" y="1068"/>
                  </a:lnTo>
                  <a:lnTo>
                    <a:pt x="612" y="1086"/>
                  </a:lnTo>
                  <a:lnTo>
                    <a:pt x="612" y="1092"/>
                  </a:lnTo>
                  <a:lnTo>
                    <a:pt x="606" y="1098"/>
                  </a:lnTo>
                  <a:lnTo>
                    <a:pt x="600" y="1110"/>
                  </a:lnTo>
                  <a:lnTo>
                    <a:pt x="600" y="1116"/>
                  </a:lnTo>
                  <a:lnTo>
                    <a:pt x="594" y="1122"/>
                  </a:lnTo>
                  <a:lnTo>
                    <a:pt x="594" y="1128"/>
                  </a:lnTo>
                  <a:lnTo>
                    <a:pt x="588" y="1134"/>
                  </a:lnTo>
                  <a:lnTo>
                    <a:pt x="582" y="1140"/>
                  </a:lnTo>
                  <a:lnTo>
                    <a:pt x="570" y="1140"/>
                  </a:lnTo>
                  <a:lnTo>
                    <a:pt x="564" y="1146"/>
                  </a:lnTo>
                  <a:lnTo>
                    <a:pt x="570" y="1146"/>
                  </a:lnTo>
                  <a:lnTo>
                    <a:pt x="564" y="1152"/>
                  </a:lnTo>
                  <a:lnTo>
                    <a:pt x="558" y="1158"/>
                  </a:lnTo>
                  <a:lnTo>
                    <a:pt x="552" y="1164"/>
                  </a:lnTo>
                  <a:lnTo>
                    <a:pt x="552" y="1170"/>
                  </a:lnTo>
                  <a:lnTo>
                    <a:pt x="546" y="1176"/>
                  </a:lnTo>
                  <a:lnTo>
                    <a:pt x="546" y="1182"/>
                  </a:lnTo>
                  <a:lnTo>
                    <a:pt x="546" y="1188"/>
                  </a:lnTo>
                  <a:lnTo>
                    <a:pt x="540" y="1188"/>
                  </a:lnTo>
                  <a:lnTo>
                    <a:pt x="540" y="1194"/>
                  </a:lnTo>
                  <a:lnTo>
                    <a:pt x="528" y="1206"/>
                  </a:lnTo>
                  <a:lnTo>
                    <a:pt x="528" y="1212"/>
                  </a:lnTo>
                  <a:lnTo>
                    <a:pt x="534" y="1212"/>
                  </a:lnTo>
                  <a:lnTo>
                    <a:pt x="540" y="1218"/>
                  </a:lnTo>
                  <a:lnTo>
                    <a:pt x="534" y="1218"/>
                  </a:lnTo>
                  <a:lnTo>
                    <a:pt x="528" y="1218"/>
                  </a:lnTo>
                  <a:lnTo>
                    <a:pt x="528" y="1224"/>
                  </a:lnTo>
                  <a:lnTo>
                    <a:pt x="522" y="1230"/>
                  </a:lnTo>
                  <a:lnTo>
                    <a:pt x="516" y="1236"/>
                  </a:lnTo>
                  <a:lnTo>
                    <a:pt x="522" y="1236"/>
                  </a:lnTo>
                  <a:lnTo>
                    <a:pt x="516" y="1242"/>
                  </a:lnTo>
                  <a:lnTo>
                    <a:pt x="510" y="1242"/>
                  </a:lnTo>
                  <a:lnTo>
                    <a:pt x="504" y="1248"/>
                  </a:lnTo>
                  <a:lnTo>
                    <a:pt x="510" y="1260"/>
                  </a:lnTo>
                  <a:lnTo>
                    <a:pt x="504" y="1266"/>
                  </a:lnTo>
                  <a:lnTo>
                    <a:pt x="492" y="1266"/>
                  </a:lnTo>
                  <a:lnTo>
                    <a:pt x="486" y="1272"/>
                  </a:lnTo>
                  <a:lnTo>
                    <a:pt x="486" y="1278"/>
                  </a:lnTo>
                  <a:lnTo>
                    <a:pt x="480" y="1278"/>
                  </a:lnTo>
                  <a:lnTo>
                    <a:pt x="480" y="1284"/>
                  </a:lnTo>
                  <a:lnTo>
                    <a:pt x="480" y="1290"/>
                  </a:lnTo>
                  <a:lnTo>
                    <a:pt x="480" y="1296"/>
                  </a:lnTo>
                  <a:lnTo>
                    <a:pt x="492" y="1302"/>
                  </a:lnTo>
                  <a:lnTo>
                    <a:pt x="492" y="1308"/>
                  </a:lnTo>
                  <a:lnTo>
                    <a:pt x="492" y="1320"/>
                  </a:lnTo>
                  <a:lnTo>
                    <a:pt x="492" y="1332"/>
                  </a:lnTo>
                  <a:lnTo>
                    <a:pt x="498" y="1344"/>
                  </a:lnTo>
                  <a:lnTo>
                    <a:pt x="498" y="1350"/>
                  </a:lnTo>
                  <a:lnTo>
                    <a:pt x="498" y="1356"/>
                  </a:lnTo>
                  <a:lnTo>
                    <a:pt x="504" y="1362"/>
                  </a:lnTo>
                  <a:lnTo>
                    <a:pt x="498" y="1362"/>
                  </a:lnTo>
                  <a:lnTo>
                    <a:pt x="498" y="1368"/>
                  </a:lnTo>
                  <a:lnTo>
                    <a:pt x="492" y="1368"/>
                  </a:lnTo>
                  <a:lnTo>
                    <a:pt x="492" y="1374"/>
                  </a:lnTo>
                  <a:lnTo>
                    <a:pt x="492" y="1380"/>
                  </a:lnTo>
                  <a:lnTo>
                    <a:pt x="498" y="1380"/>
                  </a:lnTo>
                  <a:lnTo>
                    <a:pt x="504" y="1380"/>
                  </a:lnTo>
                  <a:lnTo>
                    <a:pt x="498" y="1386"/>
                  </a:lnTo>
                  <a:lnTo>
                    <a:pt x="498" y="1392"/>
                  </a:lnTo>
                  <a:lnTo>
                    <a:pt x="498" y="1398"/>
                  </a:lnTo>
                  <a:lnTo>
                    <a:pt x="498" y="1404"/>
                  </a:lnTo>
                  <a:lnTo>
                    <a:pt x="498" y="1410"/>
                  </a:lnTo>
                  <a:lnTo>
                    <a:pt x="498" y="1416"/>
                  </a:lnTo>
                  <a:lnTo>
                    <a:pt x="492" y="1416"/>
                  </a:lnTo>
                  <a:lnTo>
                    <a:pt x="498" y="1416"/>
                  </a:lnTo>
                  <a:lnTo>
                    <a:pt x="504" y="1416"/>
                  </a:lnTo>
                  <a:lnTo>
                    <a:pt x="504" y="1422"/>
                  </a:lnTo>
                  <a:lnTo>
                    <a:pt x="510" y="1428"/>
                  </a:lnTo>
                  <a:lnTo>
                    <a:pt x="510" y="1434"/>
                  </a:lnTo>
                  <a:lnTo>
                    <a:pt x="510" y="1440"/>
                  </a:lnTo>
                  <a:lnTo>
                    <a:pt x="516" y="1446"/>
                  </a:lnTo>
                  <a:lnTo>
                    <a:pt x="516" y="1452"/>
                  </a:lnTo>
                  <a:lnTo>
                    <a:pt x="516" y="1458"/>
                  </a:lnTo>
                  <a:lnTo>
                    <a:pt x="516" y="1464"/>
                  </a:lnTo>
                  <a:lnTo>
                    <a:pt x="516" y="1482"/>
                  </a:lnTo>
                  <a:lnTo>
                    <a:pt x="516" y="1488"/>
                  </a:lnTo>
                  <a:lnTo>
                    <a:pt x="522" y="1488"/>
                  </a:lnTo>
                  <a:lnTo>
                    <a:pt x="522" y="1494"/>
                  </a:lnTo>
                  <a:lnTo>
                    <a:pt x="522" y="1500"/>
                  </a:lnTo>
                  <a:lnTo>
                    <a:pt x="516" y="1506"/>
                  </a:lnTo>
                  <a:lnTo>
                    <a:pt x="510" y="1500"/>
                  </a:lnTo>
                  <a:lnTo>
                    <a:pt x="504" y="1500"/>
                  </a:lnTo>
                  <a:lnTo>
                    <a:pt x="504" y="1494"/>
                  </a:lnTo>
                  <a:lnTo>
                    <a:pt x="504" y="1488"/>
                  </a:lnTo>
                  <a:lnTo>
                    <a:pt x="504" y="1482"/>
                  </a:lnTo>
                  <a:lnTo>
                    <a:pt x="504" y="1488"/>
                  </a:lnTo>
                  <a:lnTo>
                    <a:pt x="504" y="1494"/>
                  </a:lnTo>
                  <a:lnTo>
                    <a:pt x="504" y="1500"/>
                  </a:lnTo>
                  <a:lnTo>
                    <a:pt x="498" y="1500"/>
                  </a:lnTo>
                  <a:lnTo>
                    <a:pt x="492" y="1500"/>
                  </a:lnTo>
                  <a:lnTo>
                    <a:pt x="492" y="1494"/>
                  </a:lnTo>
                  <a:lnTo>
                    <a:pt x="492" y="1488"/>
                  </a:lnTo>
                  <a:lnTo>
                    <a:pt x="492" y="1494"/>
                  </a:lnTo>
                  <a:lnTo>
                    <a:pt x="492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00"/>
                  </a:lnTo>
                  <a:lnTo>
                    <a:pt x="510" y="1500"/>
                  </a:lnTo>
                  <a:lnTo>
                    <a:pt x="510" y="1506"/>
                  </a:lnTo>
                  <a:lnTo>
                    <a:pt x="516" y="1506"/>
                  </a:lnTo>
                  <a:lnTo>
                    <a:pt x="510" y="1506"/>
                  </a:lnTo>
                  <a:lnTo>
                    <a:pt x="510" y="1512"/>
                  </a:lnTo>
                  <a:lnTo>
                    <a:pt x="516" y="1506"/>
                  </a:lnTo>
                  <a:lnTo>
                    <a:pt x="522" y="1506"/>
                  </a:lnTo>
                  <a:lnTo>
                    <a:pt x="528" y="1506"/>
                  </a:lnTo>
                  <a:lnTo>
                    <a:pt x="528" y="1500"/>
                  </a:lnTo>
                  <a:lnTo>
                    <a:pt x="534" y="1500"/>
                  </a:lnTo>
                  <a:lnTo>
                    <a:pt x="534" y="1506"/>
                  </a:lnTo>
                  <a:lnTo>
                    <a:pt x="540" y="1512"/>
                  </a:lnTo>
                  <a:lnTo>
                    <a:pt x="540" y="1518"/>
                  </a:lnTo>
                  <a:lnTo>
                    <a:pt x="546" y="1518"/>
                  </a:lnTo>
                  <a:lnTo>
                    <a:pt x="540" y="1518"/>
                  </a:lnTo>
                  <a:lnTo>
                    <a:pt x="540" y="1524"/>
                  </a:lnTo>
                  <a:lnTo>
                    <a:pt x="534" y="1524"/>
                  </a:lnTo>
                  <a:lnTo>
                    <a:pt x="540" y="1524"/>
                  </a:lnTo>
                  <a:lnTo>
                    <a:pt x="546" y="1524"/>
                  </a:lnTo>
                  <a:lnTo>
                    <a:pt x="546" y="1530"/>
                  </a:lnTo>
                  <a:lnTo>
                    <a:pt x="540" y="1530"/>
                  </a:lnTo>
                  <a:lnTo>
                    <a:pt x="540" y="1536"/>
                  </a:lnTo>
                  <a:lnTo>
                    <a:pt x="534" y="1542"/>
                  </a:lnTo>
                  <a:lnTo>
                    <a:pt x="528" y="1542"/>
                  </a:lnTo>
                  <a:lnTo>
                    <a:pt x="522" y="1542"/>
                  </a:lnTo>
                  <a:lnTo>
                    <a:pt x="516" y="1542"/>
                  </a:lnTo>
                  <a:lnTo>
                    <a:pt x="510" y="1542"/>
                  </a:lnTo>
                  <a:lnTo>
                    <a:pt x="504" y="1542"/>
                  </a:lnTo>
                  <a:lnTo>
                    <a:pt x="492" y="1542"/>
                  </a:lnTo>
                  <a:lnTo>
                    <a:pt x="486" y="1536"/>
                  </a:lnTo>
                  <a:lnTo>
                    <a:pt x="480" y="1536"/>
                  </a:lnTo>
                  <a:lnTo>
                    <a:pt x="468" y="1536"/>
                  </a:lnTo>
                  <a:lnTo>
                    <a:pt x="468" y="1542"/>
                  </a:lnTo>
                  <a:lnTo>
                    <a:pt x="462" y="1542"/>
                  </a:lnTo>
                  <a:lnTo>
                    <a:pt x="456" y="1542"/>
                  </a:lnTo>
                  <a:lnTo>
                    <a:pt x="450" y="1542"/>
                  </a:lnTo>
                  <a:lnTo>
                    <a:pt x="444" y="1542"/>
                  </a:lnTo>
                  <a:lnTo>
                    <a:pt x="444" y="1536"/>
                  </a:lnTo>
                  <a:lnTo>
                    <a:pt x="450" y="1536"/>
                  </a:lnTo>
                  <a:lnTo>
                    <a:pt x="456" y="1536"/>
                  </a:lnTo>
                  <a:lnTo>
                    <a:pt x="450" y="1536"/>
                  </a:lnTo>
                  <a:lnTo>
                    <a:pt x="444" y="1536"/>
                  </a:lnTo>
                  <a:lnTo>
                    <a:pt x="444" y="1530"/>
                  </a:lnTo>
                  <a:lnTo>
                    <a:pt x="450" y="1530"/>
                  </a:lnTo>
                  <a:lnTo>
                    <a:pt x="456" y="1524"/>
                  </a:lnTo>
                  <a:lnTo>
                    <a:pt x="456" y="1518"/>
                  </a:lnTo>
                  <a:lnTo>
                    <a:pt x="462" y="1518"/>
                  </a:lnTo>
                  <a:lnTo>
                    <a:pt x="462" y="1524"/>
                  </a:lnTo>
                  <a:lnTo>
                    <a:pt x="468" y="1524"/>
                  </a:lnTo>
                  <a:lnTo>
                    <a:pt x="474" y="1524"/>
                  </a:lnTo>
                  <a:lnTo>
                    <a:pt x="474" y="1518"/>
                  </a:lnTo>
                  <a:lnTo>
                    <a:pt x="480" y="1518"/>
                  </a:lnTo>
                  <a:lnTo>
                    <a:pt x="474" y="1518"/>
                  </a:lnTo>
                  <a:lnTo>
                    <a:pt x="474" y="1524"/>
                  </a:lnTo>
                  <a:lnTo>
                    <a:pt x="468" y="1524"/>
                  </a:lnTo>
                  <a:lnTo>
                    <a:pt x="462" y="1518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62" y="1512"/>
                  </a:lnTo>
                  <a:lnTo>
                    <a:pt x="462" y="1506"/>
                  </a:lnTo>
                  <a:lnTo>
                    <a:pt x="456" y="1506"/>
                  </a:lnTo>
                  <a:lnTo>
                    <a:pt x="456" y="1512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50" y="1518"/>
                  </a:lnTo>
                  <a:lnTo>
                    <a:pt x="444" y="1518"/>
                  </a:lnTo>
                  <a:lnTo>
                    <a:pt x="444" y="1524"/>
                  </a:lnTo>
                  <a:lnTo>
                    <a:pt x="438" y="1524"/>
                  </a:lnTo>
                  <a:lnTo>
                    <a:pt x="438" y="1530"/>
                  </a:lnTo>
                  <a:lnTo>
                    <a:pt x="432" y="1530"/>
                  </a:lnTo>
                  <a:lnTo>
                    <a:pt x="432" y="1536"/>
                  </a:lnTo>
                  <a:lnTo>
                    <a:pt x="426" y="1530"/>
                  </a:lnTo>
                  <a:lnTo>
                    <a:pt x="420" y="1530"/>
                  </a:lnTo>
                  <a:lnTo>
                    <a:pt x="414" y="1530"/>
                  </a:lnTo>
                  <a:lnTo>
                    <a:pt x="414" y="1524"/>
                  </a:lnTo>
                  <a:lnTo>
                    <a:pt x="408" y="1518"/>
                  </a:lnTo>
                  <a:lnTo>
                    <a:pt x="414" y="1512"/>
                  </a:lnTo>
                  <a:lnTo>
                    <a:pt x="408" y="1512"/>
                  </a:lnTo>
                  <a:lnTo>
                    <a:pt x="408" y="1506"/>
                  </a:lnTo>
                  <a:lnTo>
                    <a:pt x="408" y="1500"/>
                  </a:lnTo>
                  <a:lnTo>
                    <a:pt x="408" y="1494"/>
                  </a:lnTo>
                  <a:lnTo>
                    <a:pt x="408" y="1488"/>
                  </a:lnTo>
                  <a:lnTo>
                    <a:pt x="408" y="1494"/>
                  </a:lnTo>
                  <a:lnTo>
                    <a:pt x="414" y="1494"/>
                  </a:lnTo>
                  <a:lnTo>
                    <a:pt x="420" y="1494"/>
                  </a:lnTo>
                  <a:lnTo>
                    <a:pt x="420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82"/>
                  </a:lnTo>
                  <a:lnTo>
                    <a:pt x="426" y="1476"/>
                  </a:lnTo>
                  <a:lnTo>
                    <a:pt x="432" y="1476"/>
                  </a:lnTo>
                  <a:lnTo>
                    <a:pt x="432" y="1470"/>
                  </a:lnTo>
                  <a:lnTo>
                    <a:pt x="438" y="1470"/>
                  </a:lnTo>
                  <a:lnTo>
                    <a:pt x="444" y="1464"/>
                  </a:lnTo>
                  <a:lnTo>
                    <a:pt x="450" y="1458"/>
                  </a:lnTo>
                  <a:lnTo>
                    <a:pt x="456" y="1458"/>
                  </a:lnTo>
                  <a:lnTo>
                    <a:pt x="462" y="1452"/>
                  </a:lnTo>
                  <a:lnTo>
                    <a:pt x="468" y="1452"/>
                  </a:lnTo>
                  <a:lnTo>
                    <a:pt x="468" y="1446"/>
                  </a:lnTo>
                  <a:lnTo>
                    <a:pt x="462" y="1440"/>
                  </a:lnTo>
                  <a:lnTo>
                    <a:pt x="456" y="1434"/>
                  </a:lnTo>
                  <a:lnTo>
                    <a:pt x="456" y="1428"/>
                  </a:lnTo>
                  <a:lnTo>
                    <a:pt x="456" y="1422"/>
                  </a:lnTo>
                  <a:lnTo>
                    <a:pt x="456" y="1416"/>
                  </a:lnTo>
                  <a:lnTo>
                    <a:pt x="450" y="1410"/>
                  </a:lnTo>
                  <a:lnTo>
                    <a:pt x="444" y="1410"/>
                  </a:lnTo>
                  <a:lnTo>
                    <a:pt x="450" y="1410"/>
                  </a:lnTo>
                  <a:lnTo>
                    <a:pt x="450" y="1404"/>
                  </a:lnTo>
                  <a:lnTo>
                    <a:pt x="456" y="1404"/>
                  </a:lnTo>
                  <a:lnTo>
                    <a:pt x="462" y="1404"/>
                  </a:lnTo>
                  <a:lnTo>
                    <a:pt x="468" y="1398"/>
                  </a:lnTo>
                  <a:lnTo>
                    <a:pt x="462" y="1398"/>
                  </a:lnTo>
                  <a:lnTo>
                    <a:pt x="462" y="1392"/>
                  </a:lnTo>
                  <a:lnTo>
                    <a:pt x="456" y="1392"/>
                  </a:lnTo>
                  <a:lnTo>
                    <a:pt x="456" y="1386"/>
                  </a:lnTo>
                  <a:lnTo>
                    <a:pt x="462" y="1386"/>
                  </a:lnTo>
                  <a:lnTo>
                    <a:pt x="468" y="1386"/>
                  </a:lnTo>
                  <a:lnTo>
                    <a:pt x="474" y="1386"/>
                  </a:lnTo>
                  <a:lnTo>
                    <a:pt x="468" y="1386"/>
                  </a:lnTo>
                  <a:lnTo>
                    <a:pt x="462" y="1386"/>
                  </a:lnTo>
                  <a:lnTo>
                    <a:pt x="456" y="1380"/>
                  </a:lnTo>
                  <a:lnTo>
                    <a:pt x="456" y="1374"/>
                  </a:lnTo>
                  <a:lnTo>
                    <a:pt x="462" y="1374"/>
                  </a:lnTo>
                  <a:lnTo>
                    <a:pt x="462" y="1368"/>
                  </a:lnTo>
                  <a:lnTo>
                    <a:pt x="456" y="1374"/>
                  </a:lnTo>
                  <a:lnTo>
                    <a:pt x="456" y="1368"/>
                  </a:lnTo>
                  <a:lnTo>
                    <a:pt x="456" y="1362"/>
                  </a:lnTo>
                  <a:lnTo>
                    <a:pt x="450" y="1362"/>
                  </a:lnTo>
                  <a:lnTo>
                    <a:pt x="450" y="1356"/>
                  </a:lnTo>
                  <a:lnTo>
                    <a:pt x="450" y="1350"/>
                  </a:lnTo>
                  <a:lnTo>
                    <a:pt x="450" y="1344"/>
                  </a:lnTo>
                  <a:lnTo>
                    <a:pt x="456" y="1344"/>
                  </a:lnTo>
                  <a:lnTo>
                    <a:pt x="456" y="1338"/>
                  </a:lnTo>
                  <a:lnTo>
                    <a:pt x="462" y="1338"/>
                  </a:lnTo>
                  <a:lnTo>
                    <a:pt x="462" y="1332"/>
                  </a:lnTo>
                  <a:lnTo>
                    <a:pt x="456" y="1332"/>
                  </a:lnTo>
                  <a:lnTo>
                    <a:pt x="456" y="1326"/>
                  </a:lnTo>
                  <a:lnTo>
                    <a:pt x="450" y="1326"/>
                  </a:lnTo>
                  <a:lnTo>
                    <a:pt x="444" y="1326"/>
                  </a:lnTo>
                  <a:lnTo>
                    <a:pt x="444" y="1332"/>
                  </a:lnTo>
                  <a:lnTo>
                    <a:pt x="438" y="1332"/>
                  </a:lnTo>
                  <a:lnTo>
                    <a:pt x="438" y="1338"/>
                  </a:lnTo>
                  <a:lnTo>
                    <a:pt x="432" y="1338"/>
                  </a:lnTo>
                  <a:lnTo>
                    <a:pt x="432" y="1344"/>
                  </a:lnTo>
                  <a:lnTo>
                    <a:pt x="432" y="1350"/>
                  </a:lnTo>
                  <a:lnTo>
                    <a:pt x="426" y="1356"/>
                  </a:lnTo>
                  <a:lnTo>
                    <a:pt x="426" y="1368"/>
                  </a:lnTo>
                  <a:lnTo>
                    <a:pt x="426" y="1374"/>
                  </a:lnTo>
                  <a:lnTo>
                    <a:pt x="426" y="1380"/>
                  </a:lnTo>
                  <a:lnTo>
                    <a:pt x="432" y="1386"/>
                  </a:lnTo>
                  <a:lnTo>
                    <a:pt x="432" y="1392"/>
                  </a:lnTo>
                  <a:lnTo>
                    <a:pt x="432" y="1398"/>
                  </a:lnTo>
                  <a:lnTo>
                    <a:pt x="426" y="1398"/>
                  </a:lnTo>
                  <a:lnTo>
                    <a:pt x="420" y="1398"/>
                  </a:lnTo>
                  <a:lnTo>
                    <a:pt x="414" y="1398"/>
                  </a:lnTo>
                  <a:lnTo>
                    <a:pt x="420" y="1398"/>
                  </a:lnTo>
                  <a:lnTo>
                    <a:pt x="414" y="1404"/>
                  </a:lnTo>
                  <a:lnTo>
                    <a:pt x="420" y="1404"/>
                  </a:lnTo>
                  <a:lnTo>
                    <a:pt x="414" y="1404"/>
                  </a:lnTo>
                  <a:lnTo>
                    <a:pt x="408" y="1404"/>
                  </a:lnTo>
                  <a:lnTo>
                    <a:pt x="402" y="1410"/>
                  </a:lnTo>
                  <a:lnTo>
                    <a:pt x="402" y="1404"/>
                  </a:lnTo>
                  <a:lnTo>
                    <a:pt x="396" y="1404"/>
                  </a:lnTo>
                  <a:lnTo>
                    <a:pt x="390" y="1404"/>
                  </a:lnTo>
                  <a:lnTo>
                    <a:pt x="384" y="1404"/>
                  </a:lnTo>
                  <a:lnTo>
                    <a:pt x="384" y="1398"/>
                  </a:lnTo>
                  <a:lnTo>
                    <a:pt x="384" y="1392"/>
                  </a:lnTo>
                  <a:lnTo>
                    <a:pt x="390" y="1392"/>
                  </a:lnTo>
                  <a:lnTo>
                    <a:pt x="390" y="1386"/>
                  </a:lnTo>
                  <a:lnTo>
                    <a:pt x="390" y="1380"/>
                  </a:lnTo>
                  <a:lnTo>
                    <a:pt x="396" y="1380"/>
                  </a:lnTo>
                  <a:lnTo>
                    <a:pt x="402" y="1380"/>
                  </a:lnTo>
                  <a:lnTo>
                    <a:pt x="408" y="1380"/>
                  </a:lnTo>
                  <a:lnTo>
                    <a:pt x="408" y="1374"/>
                  </a:lnTo>
                  <a:lnTo>
                    <a:pt x="414" y="1374"/>
                  </a:lnTo>
                  <a:lnTo>
                    <a:pt x="414" y="1368"/>
                  </a:lnTo>
                  <a:lnTo>
                    <a:pt x="414" y="1362"/>
                  </a:lnTo>
                  <a:lnTo>
                    <a:pt x="414" y="1368"/>
                  </a:lnTo>
                  <a:lnTo>
                    <a:pt x="414" y="1374"/>
                  </a:lnTo>
                  <a:lnTo>
                    <a:pt x="408" y="1374"/>
                  </a:lnTo>
                  <a:lnTo>
                    <a:pt x="402" y="1380"/>
                  </a:lnTo>
                  <a:lnTo>
                    <a:pt x="396" y="1380"/>
                  </a:lnTo>
                  <a:lnTo>
                    <a:pt x="396" y="1374"/>
                  </a:lnTo>
                  <a:lnTo>
                    <a:pt x="390" y="1374"/>
                  </a:lnTo>
                  <a:lnTo>
                    <a:pt x="390" y="1368"/>
                  </a:lnTo>
                  <a:lnTo>
                    <a:pt x="384" y="1368"/>
                  </a:lnTo>
                  <a:lnTo>
                    <a:pt x="384" y="1374"/>
                  </a:lnTo>
                  <a:lnTo>
                    <a:pt x="378" y="1374"/>
                  </a:lnTo>
                  <a:lnTo>
                    <a:pt x="378" y="1380"/>
                  </a:lnTo>
                  <a:lnTo>
                    <a:pt x="372" y="1380"/>
                  </a:lnTo>
                  <a:lnTo>
                    <a:pt x="366" y="1386"/>
                  </a:lnTo>
                  <a:lnTo>
                    <a:pt x="360" y="1386"/>
                  </a:lnTo>
                  <a:lnTo>
                    <a:pt x="354" y="1386"/>
                  </a:lnTo>
                  <a:lnTo>
                    <a:pt x="354" y="1380"/>
                  </a:lnTo>
                  <a:lnTo>
                    <a:pt x="348" y="1380"/>
                  </a:lnTo>
                  <a:lnTo>
                    <a:pt x="342" y="1380"/>
                  </a:lnTo>
                  <a:lnTo>
                    <a:pt x="342" y="1374"/>
                  </a:lnTo>
                  <a:lnTo>
                    <a:pt x="336" y="1368"/>
                  </a:lnTo>
                  <a:lnTo>
                    <a:pt x="342" y="1368"/>
                  </a:lnTo>
                  <a:lnTo>
                    <a:pt x="342" y="1362"/>
                  </a:lnTo>
                  <a:lnTo>
                    <a:pt x="348" y="1362"/>
                  </a:lnTo>
                  <a:lnTo>
                    <a:pt x="354" y="1362"/>
                  </a:lnTo>
                  <a:lnTo>
                    <a:pt x="354" y="1356"/>
                  </a:lnTo>
                  <a:lnTo>
                    <a:pt x="348" y="1356"/>
                  </a:lnTo>
                  <a:lnTo>
                    <a:pt x="348" y="1350"/>
                  </a:lnTo>
                  <a:lnTo>
                    <a:pt x="348" y="1344"/>
                  </a:lnTo>
                  <a:lnTo>
                    <a:pt x="354" y="1338"/>
                  </a:lnTo>
                  <a:lnTo>
                    <a:pt x="354" y="1332"/>
                  </a:lnTo>
                  <a:lnTo>
                    <a:pt x="354" y="1326"/>
                  </a:lnTo>
                  <a:lnTo>
                    <a:pt x="354" y="1320"/>
                  </a:lnTo>
                  <a:lnTo>
                    <a:pt x="354" y="1314"/>
                  </a:lnTo>
                  <a:lnTo>
                    <a:pt x="354" y="1308"/>
                  </a:lnTo>
                  <a:lnTo>
                    <a:pt x="348" y="1308"/>
                  </a:lnTo>
                  <a:lnTo>
                    <a:pt x="348" y="1302"/>
                  </a:lnTo>
                  <a:lnTo>
                    <a:pt x="342" y="1296"/>
                  </a:lnTo>
                  <a:lnTo>
                    <a:pt x="336" y="1296"/>
                  </a:lnTo>
                  <a:lnTo>
                    <a:pt x="336" y="1290"/>
                  </a:lnTo>
                  <a:lnTo>
                    <a:pt x="330" y="1290"/>
                  </a:lnTo>
                  <a:lnTo>
                    <a:pt x="324" y="1290"/>
                  </a:lnTo>
                  <a:lnTo>
                    <a:pt x="324" y="1284"/>
                  </a:lnTo>
                  <a:lnTo>
                    <a:pt x="318" y="1284"/>
                  </a:lnTo>
                  <a:lnTo>
                    <a:pt x="318" y="1278"/>
                  </a:lnTo>
                  <a:lnTo>
                    <a:pt x="312" y="1278"/>
                  </a:lnTo>
                  <a:lnTo>
                    <a:pt x="312" y="1272"/>
                  </a:lnTo>
                  <a:lnTo>
                    <a:pt x="312" y="1278"/>
                  </a:lnTo>
                  <a:lnTo>
                    <a:pt x="318" y="1284"/>
                  </a:lnTo>
                  <a:lnTo>
                    <a:pt x="324" y="1290"/>
                  </a:lnTo>
                  <a:lnTo>
                    <a:pt x="330" y="1290"/>
                  </a:lnTo>
                  <a:lnTo>
                    <a:pt x="330" y="1296"/>
                  </a:lnTo>
                  <a:lnTo>
                    <a:pt x="336" y="1296"/>
                  </a:lnTo>
                  <a:lnTo>
                    <a:pt x="336" y="1302"/>
                  </a:lnTo>
                  <a:lnTo>
                    <a:pt x="342" y="1302"/>
                  </a:lnTo>
                  <a:lnTo>
                    <a:pt x="348" y="1302"/>
                  </a:lnTo>
                  <a:lnTo>
                    <a:pt x="348" y="1308"/>
                  </a:lnTo>
                  <a:lnTo>
                    <a:pt x="348" y="1314"/>
                  </a:lnTo>
                  <a:lnTo>
                    <a:pt x="354" y="1314"/>
                  </a:lnTo>
                  <a:lnTo>
                    <a:pt x="354" y="1320"/>
                  </a:lnTo>
                  <a:lnTo>
                    <a:pt x="354" y="1326"/>
                  </a:lnTo>
                  <a:lnTo>
                    <a:pt x="348" y="1326"/>
                  </a:lnTo>
                  <a:lnTo>
                    <a:pt x="348" y="1332"/>
                  </a:lnTo>
                  <a:lnTo>
                    <a:pt x="348" y="1338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2" y="1350"/>
                  </a:lnTo>
                  <a:lnTo>
                    <a:pt x="336" y="1350"/>
                  </a:lnTo>
                  <a:lnTo>
                    <a:pt x="330" y="1350"/>
                  </a:lnTo>
                  <a:lnTo>
                    <a:pt x="330" y="1356"/>
                  </a:lnTo>
                  <a:lnTo>
                    <a:pt x="330" y="1350"/>
                  </a:lnTo>
                  <a:lnTo>
                    <a:pt x="324" y="1350"/>
                  </a:lnTo>
                  <a:lnTo>
                    <a:pt x="318" y="1344"/>
                  </a:lnTo>
                  <a:lnTo>
                    <a:pt x="318" y="1350"/>
                  </a:lnTo>
                  <a:lnTo>
                    <a:pt x="312" y="1344"/>
                  </a:lnTo>
                  <a:lnTo>
                    <a:pt x="312" y="1338"/>
                  </a:lnTo>
                  <a:lnTo>
                    <a:pt x="306" y="1338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6" y="1326"/>
                  </a:lnTo>
                  <a:lnTo>
                    <a:pt x="306" y="1320"/>
                  </a:lnTo>
                  <a:lnTo>
                    <a:pt x="306" y="1326"/>
                  </a:lnTo>
                  <a:lnTo>
                    <a:pt x="312" y="1326"/>
                  </a:lnTo>
                  <a:lnTo>
                    <a:pt x="312" y="1320"/>
                  </a:lnTo>
                  <a:lnTo>
                    <a:pt x="306" y="1320"/>
                  </a:lnTo>
                  <a:lnTo>
                    <a:pt x="300" y="1320"/>
                  </a:lnTo>
                  <a:lnTo>
                    <a:pt x="294" y="1320"/>
                  </a:lnTo>
                  <a:lnTo>
                    <a:pt x="294" y="1314"/>
                  </a:lnTo>
                  <a:lnTo>
                    <a:pt x="288" y="1314"/>
                  </a:lnTo>
                  <a:lnTo>
                    <a:pt x="288" y="1308"/>
                  </a:lnTo>
                  <a:lnTo>
                    <a:pt x="288" y="1302"/>
                  </a:lnTo>
                  <a:lnTo>
                    <a:pt x="294" y="1302"/>
                  </a:lnTo>
                  <a:lnTo>
                    <a:pt x="294" y="1296"/>
                  </a:lnTo>
                  <a:lnTo>
                    <a:pt x="288" y="1296"/>
                  </a:lnTo>
                  <a:lnTo>
                    <a:pt x="288" y="1290"/>
                  </a:lnTo>
                  <a:lnTo>
                    <a:pt x="288" y="1296"/>
                  </a:lnTo>
                  <a:lnTo>
                    <a:pt x="294" y="1302"/>
                  </a:lnTo>
                  <a:lnTo>
                    <a:pt x="288" y="1302"/>
                  </a:lnTo>
                  <a:lnTo>
                    <a:pt x="282" y="1296"/>
                  </a:lnTo>
                  <a:lnTo>
                    <a:pt x="276" y="1296"/>
                  </a:lnTo>
                  <a:lnTo>
                    <a:pt x="276" y="1290"/>
                  </a:lnTo>
                  <a:lnTo>
                    <a:pt x="270" y="1290"/>
                  </a:lnTo>
                  <a:lnTo>
                    <a:pt x="264" y="1284"/>
                  </a:lnTo>
                  <a:lnTo>
                    <a:pt x="264" y="1278"/>
                  </a:lnTo>
                  <a:lnTo>
                    <a:pt x="264" y="1272"/>
                  </a:lnTo>
                  <a:lnTo>
                    <a:pt x="264" y="1266"/>
                  </a:lnTo>
                  <a:lnTo>
                    <a:pt x="258" y="1266"/>
                  </a:lnTo>
                  <a:lnTo>
                    <a:pt x="252" y="1266"/>
                  </a:lnTo>
                  <a:lnTo>
                    <a:pt x="246" y="1260"/>
                  </a:lnTo>
                  <a:lnTo>
                    <a:pt x="240" y="1254"/>
                  </a:lnTo>
                  <a:lnTo>
                    <a:pt x="240" y="1260"/>
                  </a:lnTo>
                  <a:lnTo>
                    <a:pt x="240" y="1266"/>
                  </a:lnTo>
                  <a:lnTo>
                    <a:pt x="240" y="1272"/>
                  </a:lnTo>
                  <a:lnTo>
                    <a:pt x="246" y="1272"/>
                  </a:lnTo>
                  <a:lnTo>
                    <a:pt x="246" y="1278"/>
                  </a:lnTo>
                  <a:lnTo>
                    <a:pt x="246" y="1284"/>
                  </a:lnTo>
                  <a:lnTo>
                    <a:pt x="252" y="1284"/>
                  </a:lnTo>
                  <a:lnTo>
                    <a:pt x="252" y="1290"/>
                  </a:lnTo>
                  <a:lnTo>
                    <a:pt x="258" y="1296"/>
                  </a:lnTo>
                  <a:lnTo>
                    <a:pt x="264" y="1302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58" y="1314"/>
                  </a:lnTo>
                  <a:lnTo>
                    <a:pt x="258" y="1308"/>
                  </a:lnTo>
                  <a:lnTo>
                    <a:pt x="252" y="1308"/>
                  </a:lnTo>
                  <a:lnTo>
                    <a:pt x="252" y="1302"/>
                  </a:lnTo>
                  <a:lnTo>
                    <a:pt x="246" y="1302"/>
                  </a:lnTo>
                  <a:lnTo>
                    <a:pt x="246" y="1296"/>
                  </a:lnTo>
                  <a:lnTo>
                    <a:pt x="240" y="1296"/>
                  </a:lnTo>
                  <a:lnTo>
                    <a:pt x="240" y="1290"/>
                  </a:lnTo>
                  <a:lnTo>
                    <a:pt x="234" y="1284"/>
                  </a:lnTo>
                  <a:lnTo>
                    <a:pt x="234" y="1278"/>
                  </a:lnTo>
                  <a:close/>
                  <a:moveTo>
                    <a:pt x="444" y="1332"/>
                  </a:moveTo>
                  <a:lnTo>
                    <a:pt x="450" y="1326"/>
                  </a:lnTo>
                  <a:lnTo>
                    <a:pt x="456" y="1326"/>
                  </a:lnTo>
                  <a:lnTo>
                    <a:pt x="456" y="1332"/>
                  </a:lnTo>
                  <a:lnTo>
                    <a:pt x="456" y="1338"/>
                  </a:lnTo>
                  <a:lnTo>
                    <a:pt x="450" y="1338"/>
                  </a:lnTo>
                  <a:lnTo>
                    <a:pt x="444" y="1338"/>
                  </a:lnTo>
                  <a:lnTo>
                    <a:pt x="444" y="1332"/>
                  </a:lnTo>
                  <a:close/>
                  <a:moveTo>
                    <a:pt x="444" y="1368"/>
                  </a:moveTo>
                  <a:lnTo>
                    <a:pt x="456" y="1368"/>
                  </a:lnTo>
                  <a:lnTo>
                    <a:pt x="456" y="1374"/>
                  </a:lnTo>
                  <a:lnTo>
                    <a:pt x="444" y="1374"/>
                  </a:lnTo>
                  <a:lnTo>
                    <a:pt x="444" y="1368"/>
                  </a:lnTo>
                  <a:close/>
                  <a:moveTo>
                    <a:pt x="444" y="1386"/>
                  </a:moveTo>
                  <a:lnTo>
                    <a:pt x="444" y="1380"/>
                  </a:lnTo>
                  <a:lnTo>
                    <a:pt x="444" y="1374"/>
                  </a:lnTo>
                  <a:lnTo>
                    <a:pt x="444" y="1380"/>
                  </a:lnTo>
                  <a:lnTo>
                    <a:pt x="450" y="1380"/>
                  </a:lnTo>
                  <a:lnTo>
                    <a:pt x="456" y="1380"/>
                  </a:lnTo>
                  <a:lnTo>
                    <a:pt x="456" y="1386"/>
                  </a:lnTo>
                  <a:lnTo>
                    <a:pt x="456" y="1392"/>
                  </a:lnTo>
                  <a:lnTo>
                    <a:pt x="462" y="1392"/>
                  </a:lnTo>
                  <a:lnTo>
                    <a:pt x="462" y="1398"/>
                  </a:lnTo>
                  <a:lnTo>
                    <a:pt x="462" y="1404"/>
                  </a:lnTo>
                  <a:lnTo>
                    <a:pt x="456" y="1404"/>
                  </a:lnTo>
                  <a:lnTo>
                    <a:pt x="450" y="1404"/>
                  </a:lnTo>
                  <a:lnTo>
                    <a:pt x="450" y="1398"/>
                  </a:lnTo>
                  <a:lnTo>
                    <a:pt x="444" y="1398"/>
                  </a:lnTo>
                  <a:lnTo>
                    <a:pt x="444" y="1392"/>
                  </a:lnTo>
                  <a:lnTo>
                    <a:pt x="444" y="1386"/>
                  </a:lnTo>
                  <a:close/>
                  <a:moveTo>
                    <a:pt x="438" y="1362"/>
                  </a:moveTo>
                  <a:lnTo>
                    <a:pt x="444" y="1356"/>
                  </a:lnTo>
                  <a:lnTo>
                    <a:pt x="450" y="1356"/>
                  </a:lnTo>
                  <a:lnTo>
                    <a:pt x="450" y="1362"/>
                  </a:lnTo>
                  <a:lnTo>
                    <a:pt x="450" y="1368"/>
                  </a:lnTo>
                  <a:lnTo>
                    <a:pt x="444" y="1368"/>
                  </a:lnTo>
                  <a:lnTo>
                    <a:pt x="444" y="1362"/>
                  </a:lnTo>
                  <a:lnTo>
                    <a:pt x="438" y="1362"/>
                  </a:lnTo>
                  <a:close/>
                  <a:moveTo>
                    <a:pt x="438" y="1350"/>
                  </a:moveTo>
                  <a:lnTo>
                    <a:pt x="438" y="1344"/>
                  </a:lnTo>
                  <a:lnTo>
                    <a:pt x="438" y="1338"/>
                  </a:lnTo>
                  <a:lnTo>
                    <a:pt x="444" y="1338"/>
                  </a:lnTo>
                  <a:lnTo>
                    <a:pt x="450" y="1338"/>
                  </a:lnTo>
                  <a:lnTo>
                    <a:pt x="456" y="1338"/>
                  </a:lnTo>
                  <a:lnTo>
                    <a:pt x="450" y="1344"/>
                  </a:lnTo>
                  <a:lnTo>
                    <a:pt x="444" y="1350"/>
                  </a:lnTo>
                  <a:lnTo>
                    <a:pt x="438" y="1350"/>
                  </a:lnTo>
                  <a:close/>
                  <a:moveTo>
                    <a:pt x="432" y="1380"/>
                  </a:moveTo>
                  <a:lnTo>
                    <a:pt x="432" y="1368"/>
                  </a:lnTo>
                  <a:lnTo>
                    <a:pt x="432" y="1362"/>
                  </a:lnTo>
                  <a:lnTo>
                    <a:pt x="432" y="1356"/>
                  </a:lnTo>
                  <a:lnTo>
                    <a:pt x="438" y="1356"/>
                  </a:lnTo>
                  <a:lnTo>
                    <a:pt x="438" y="1362"/>
                  </a:lnTo>
                  <a:lnTo>
                    <a:pt x="438" y="1368"/>
                  </a:lnTo>
                  <a:lnTo>
                    <a:pt x="438" y="1374"/>
                  </a:lnTo>
                  <a:lnTo>
                    <a:pt x="438" y="1380"/>
                  </a:lnTo>
                  <a:lnTo>
                    <a:pt x="438" y="1386"/>
                  </a:lnTo>
                  <a:lnTo>
                    <a:pt x="438" y="1380"/>
                  </a:lnTo>
                  <a:lnTo>
                    <a:pt x="432" y="1380"/>
                  </a:lnTo>
                  <a:close/>
                  <a:moveTo>
                    <a:pt x="246" y="1272"/>
                  </a:moveTo>
                  <a:lnTo>
                    <a:pt x="252" y="1272"/>
                  </a:lnTo>
                  <a:lnTo>
                    <a:pt x="252" y="1278"/>
                  </a:lnTo>
                  <a:lnTo>
                    <a:pt x="246" y="1278"/>
                  </a:lnTo>
                  <a:lnTo>
                    <a:pt x="246" y="1272"/>
                  </a:lnTo>
                  <a:close/>
                  <a:moveTo>
                    <a:pt x="426" y="1416"/>
                  </a:moveTo>
                  <a:lnTo>
                    <a:pt x="432" y="1410"/>
                  </a:lnTo>
                  <a:lnTo>
                    <a:pt x="438" y="1410"/>
                  </a:lnTo>
                  <a:lnTo>
                    <a:pt x="438" y="1416"/>
                  </a:lnTo>
                  <a:lnTo>
                    <a:pt x="438" y="1422"/>
                  </a:lnTo>
                  <a:lnTo>
                    <a:pt x="432" y="1422"/>
                  </a:lnTo>
                  <a:lnTo>
                    <a:pt x="426" y="1422"/>
                  </a:lnTo>
                  <a:lnTo>
                    <a:pt x="426" y="1416"/>
                  </a:lnTo>
                  <a:close/>
                  <a:moveTo>
                    <a:pt x="246" y="1266"/>
                  </a:moveTo>
                  <a:lnTo>
                    <a:pt x="252" y="1266"/>
                  </a:lnTo>
                  <a:lnTo>
                    <a:pt x="258" y="1272"/>
                  </a:lnTo>
                  <a:lnTo>
                    <a:pt x="258" y="1278"/>
                  </a:lnTo>
                  <a:lnTo>
                    <a:pt x="258" y="1284"/>
                  </a:lnTo>
                  <a:lnTo>
                    <a:pt x="252" y="1284"/>
                  </a:lnTo>
                  <a:lnTo>
                    <a:pt x="252" y="1278"/>
                  </a:lnTo>
                  <a:lnTo>
                    <a:pt x="252" y="1272"/>
                  </a:lnTo>
                  <a:lnTo>
                    <a:pt x="252" y="1266"/>
                  </a:lnTo>
                  <a:lnTo>
                    <a:pt x="246" y="1266"/>
                  </a:lnTo>
                  <a:close/>
                  <a:moveTo>
                    <a:pt x="408" y="1458"/>
                  </a:moveTo>
                  <a:lnTo>
                    <a:pt x="408" y="1452"/>
                  </a:lnTo>
                  <a:lnTo>
                    <a:pt x="414" y="1452"/>
                  </a:lnTo>
                  <a:lnTo>
                    <a:pt x="414" y="1446"/>
                  </a:lnTo>
                  <a:lnTo>
                    <a:pt x="414" y="1440"/>
                  </a:lnTo>
                  <a:lnTo>
                    <a:pt x="420" y="1440"/>
                  </a:lnTo>
                  <a:lnTo>
                    <a:pt x="420" y="1434"/>
                  </a:lnTo>
                  <a:lnTo>
                    <a:pt x="420" y="1428"/>
                  </a:lnTo>
                  <a:lnTo>
                    <a:pt x="420" y="1422"/>
                  </a:lnTo>
                  <a:lnTo>
                    <a:pt x="426" y="1422"/>
                  </a:lnTo>
                  <a:lnTo>
                    <a:pt x="432" y="1428"/>
                  </a:lnTo>
                  <a:lnTo>
                    <a:pt x="438" y="1428"/>
                  </a:lnTo>
                  <a:lnTo>
                    <a:pt x="438" y="1434"/>
                  </a:lnTo>
                  <a:lnTo>
                    <a:pt x="438" y="1428"/>
                  </a:lnTo>
                  <a:lnTo>
                    <a:pt x="438" y="1422"/>
                  </a:lnTo>
                  <a:lnTo>
                    <a:pt x="444" y="1416"/>
                  </a:lnTo>
                  <a:lnTo>
                    <a:pt x="444" y="1410"/>
                  </a:lnTo>
                  <a:lnTo>
                    <a:pt x="450" y="1416"/>
                  </a:lnTo>
                  <a:lnTo>
                    <a:pt x="456" y="1416"/>
                  </a:lnTo>
                  <a:lnTo>
                    <a:pt x="456" y="1422"/>
                  </a:lnTo>
                  <a:lnTo>
                    <a:pt x="456" y="1428"/>
                  </a:lnTo>
                  <a:lnTo>
                    <a:pt x="456" y="1434"/>
                  </a:lnTo>
                  <a:lnTo>
                    <a:pt x="456" y="1440"/>
                  </a:lnTo>
                  <a:lnTo>
                    <a:pt x="462" y="1440"/>
                  </a:lnTo>
                  <a:lnTo>
                    <a:pt x="462" y="1446"/>
                  </a:lnTo>
                  <a:lnTo>
                    <a:pt x="462" y="1452"/>
                  </a:lnTo>
                  <a:lnTo>
                    <a:pt x="456" y="1452"/>
                  </a:lnTo>
                  <a:lnTo>
                    <a:pt x="450" y="1452"/>
                  </a:lnTo>
                  <a:lnTo>
                    <a:pt x="444" y="1446"/>
                  </a:lnTo>
                  <a:lnTo>
                    <a:pt x="444" y="1452"/>
                  </a:lnTo>
                  <a:lnTo>
                    <a:pt x="450" y="1452"/>
                  </a:lnTo>
                  <a:lnTo>
                    <a:pt x="450" y="1458"/>
                  </a:lnTo>
                  <a:lnTo>
                    <a:pt x="444" y="1458"/>
                  </a:lnTo>
                  <a:lnTo>
                    <a:pt x="438" y="1464"/>
                  </a:lnTo>
                  <a:lnTo>
                    <a:pt x="438" y="1458"/>
                  </a:lnTo>
                  <a:lnTo>
                    <a:pt x="432" y="1458"/>
                  </a:lnTo>
                  <a:lnTo>
                    <a:pt x="426" y="1458"/>
                  </a:lnTo>
                  <a:lnTo>
                    <a:pt x="432" y="1458"/>
                  </a:lnTo>
                  <a:lnTo>
                    <a:pt x="438" y="1464"/>
                  </a:lnTo>
                  <a:lnTo>
                    <a:pt x="432" y="1464"/>
                  </a:lnTo>
                  <a:lnTo>
                    <a:pt x="432" y="1470"/>
                  </a:lnTo>
                  <a:lnTo>
                    <a:pt x="426" y="1470"/>
                  </a:lnTo>
                  <a:lnTo>
                    <a:pt x="420" y="1476"/>
                  </a:lnTo>
                  <a:lnTo>
                    <a:pt x="420" y="1470"/>
                  </a:lnTo>
                  <a:lnTo>
                    <a:pt x="414" y="1470"/>
                  </a:lnTo>
                  <a:lnTo>
                    <a:pt x="414" y="1464"/>
                  </a:lnTo>
                  <a:lnTo>
                    <a:pt x="414" y="1458"/>
                  </a:lnTo>
                  <a:lnTo>
                    <a:pt x="408" y="1458"/>
                  </a:lnTo>
                  <a:close/>
                  <a:moveTo>
                    <a:pt x="270" y="1326"/>
                  </a:moveTo>
                  <a:lnTo>
                    <a:pt x="270" y="1320"/>
                  </a:lnTo>
                  <a:lnTo>
                    <a:pt x="276" y="1320"/>
                  </a:lnTo>
                  <a:lnTo>
                    <a:pt x="282" y="1326"/>
                  </a:lnTo>
                  <a:lnTo>
                    <a:pt x="288" y="1326"/>
                  </a:lnTo>
                  <a:lnTo>
                    <a:pt x="288" y="1332"/>
                  </a:lnTo>
                  <a:lnTo>
                    <a:pt x="288" y="1338"/>
                  </a:lnTo>
                  <a:lnTo>
                    <a:pt x="288" y="1344"/>
                  </a:lnTo>
                  <a:lnTo>
                    <a:pt x="282" y="1344"/>
                  </a:lnTo>
                  <a:lnTo>
                    <a:pt x="282" y="1338"/>
                  </a:lnTo>
                  <a:lnTo>
                    <a:pt x="276" y="1338"/>
                  </a:lnTo>
                  <a:lnTo>
                    <a:pt x="276" y="1332"/>
                  </a:lnTo>
                  <a:lnTo>
                    <a:pt x="270" y="1332"/>
                  </a:lnTo>
                  <a:lnTo>
                    <a:pt x="270" y="1326"/>
                  </a:lnTo>
                  <a:close/>
                  <a:moveTo>
                    <a:pt x="288" y="1458"/>
                  </a:moveTo>
                  <a:lnTo>
                    <a:pt x="294" y="1458"/>
                  </a:lnTo>
                  <a:lnTo>
                    <a:pt x="294" y="1452"/>
                  </a:lnTo>
                  <a:lnTo>
                    <a:pt x="294" y="1446"/>
                  </a:lnTo>
                  <a:lnTo>
                    <a:pt x="300" y="1446"/>
                  </a:lnTo>
                  <a:lnTo>
                    <a:pt x="300" y="1440"/>
                  </a:lnTo>
                  <a:lnTo>
                    <a:pt x="306" y="1440"/>
                  </a:lnTo>
                  <a:lnTo>
                    <a:pt x="306" y="1446"/>
                  </a:lnTo>
                  <a:lnTo>
                    <a:pt x="312" y="1452"/>
                  </a:lnTo>
                  <a:lnTo>
                    <a:pt x="306" y="1452"/>
                  </a:lnTo>
                  <a:lnTo>
                    <a:pt x="306" y="1458"/>
                  </a:lnTo>
                  <a:lnTo>
                    <a:pt x="312" y="1464"/>
                  </a:lnTo>
                  <a:lnTo>
                    <a:pt x="306" y="1464"/>
                  </a:lnTo>
                  <a:lnTo>
                    <a:pt x="306" y="1470"/>
                  </a:lnTo>
                  <a:lnTo>
                    <a:pt x="300" y="1476"/>
                  </a:lnTo>
                  <a:lnTo>
                    <a:pt x="294" y="1476"/>
                  </a:lnTo>
                  <a:lnTo>
                    <a:pt x="294" y="1470"/>
                  </a:lnTo>
                  <a:lnTo>
                    <a:pt x="288" y="1470"/>
                  </a:lnTo>
                  <a:lnTo>
                    <a:pt x="288" y="1464"/>
                  </a:lnTo>
                  <a:lnTo>
                    <a:pt x="288" y="1458"/>
                  </a:lnTo>
                  <a:close/>
                  <a:moveTo>
                    <a:pt x="270" y="1296"/>
                  </a:moveTo>
                  <a:lnTo>
                    <a:pt x="276" y="1296"/>
                  </a:lnTo>
                  <a:lnTo>
                    <a:pt x="282" y="1296"/>
                  </a:lnTo>
                  <a:lnTo>
                    <a:pt x="288" y="1296"/>
                  </a:lnTo>
                  <a:lnTo>
                    <a:pt x="288" y="1302"/>
                  </a:lnTo>
                  <a:lnTo>
                    <a:pt x="282" y="1308"/>
                  </a:lnTo>
                  <a:lnTo>
                    <a:pt x="276" y="1308"/>
                  </a:lnTo>
                  <a:lnTo>
                    <a:pt x="276" y="1302"/>
                  </a:lnTo>
                  <a:lnTo>
                    <a:pt x="270" y="12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4" name="Freeform 19">
              <a:extLst>
                <a:ext uri="{FF2B5EF4-FFF2-40B4-BE49-F238E27FC236}">
                  <a16:creationId xmlns:a16="http://schemas.microsoft.com/office/drawing/2014/main" id="{5B9020B8-E1C1-4611-A248-9642BBD69C9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7043" y="3765821"/>
              <a:ext cx="333193" cy="398097"/>
            </a:xfrm>
            <a:custGeom>
              <a:avLst/>
              <a:gdLst>
                <a:gd name="T0" fmla="*/ 30 w 624"/>
                <a:gd name="T1" fmla="*/ 61 h 750"/>
                <a:gd name="T2" fmla="*/ 27 w 624"/>
                <a:gd name="T3" fmla="*/ 62 h 750"/>
                <a:gd name="T4" fmla="*/ 23 w 624"/>
                <a:gd name="T5" fmla="*/ 59 h 750"/>
                <a:gd name="T6" fmla="*/ 20 w 624"/>
                <a:gd name="T7" fmla="*/ 58 h 750"/>
                <a:gd name="T8" fmla="*/ 19 w 624"/>
                <a:gd name="T9" fmla="*/ 56 h 750"/>
                <a:gd name="T10" fmla="*/ 17 w 624"/>
                <a:gd name="T11" fmla="*/ 55 h 750"/>
                <a:gd name="T12" fmla="*/ 16 w 624"/>
                <a:gd name="T13" fmla="*/ 51 h 750"/>
                <a:gd name="T14" fmla="*/ 14 w 624"/>
                <a:gd name="T15" fmla="*/ 48 h 750"/>
                <a:gd name="T16" fmla="*/ 12 w 624"/>
                <a:gd name="T17" fmla="*/ 46 h 750"/>
                <a:gd name="T18" fmla="*/ 12 w 624"/>
                <a:gd name="T19" fmla="*/ 44 h 750"/>
                <a:gd name="T20" fmla="*/ 11 w 624"/>
                <a:gd name="T21" fmla="*/ 41 h 750"/>
                <a:gd name="T22" fmla="*/ 8 w 624"/>
                <a:gd name="T23" fmla="*/ 38 h 750"/>
                <a:gd name="T24" fmla="*/ 6 w 624"/>
                <a:gd name="T25" fmla="*/ 38 h 750"/>
                <a:gd name="T26" fmla="*/ 6 w 624"/>
                <a:gd name="T27" fmla="*/ 35 h 750"/>
                <a:gd name="T28" fmla="*/ 7 w 624"/>
                <a:gd name="T29" fmla="*/ 31 h 750"/>
                <a:gd name="T30" fmla="*/ 10 w 624"/>
                <a:gd name="T31" fmla="*/ 27 h 750"/>
                <a:gd name="T32" fmla="*/ 8 w 624"/>
                <a:gd name="T33" fmla="*/ 23 h 750"/>
                <a:gd name="T34" fmla="*/ 6 w 624"/>
                <a:gd name="T35" fmla="*/ 23 h 750"/>
                <a:gd name="T36" fmla="*/ 3 w 624"/>
                <a:gd name="T37" fmla="*/ 22 h 750"/>
                <a:gd name="T38" fmla="*/ 0 w 624"/>
                <a:gd name="T39" fmla="*/ 22 h 750"/>
                <a:gd name="T40" fmla="*/ 0 w 624"/>
                <a:gd name="T41" fmla="*/ 19 h 750"/>
                <a:gd name="T42" fmla="*/ 1 w 624"/>
                <a:gd name="T43" fmla="*/ 18 h 750"/>
                <a:gd name="T44" fmla="*/ 2 w 624"/>
                <a:gd name="T45" fmla="*/ 14 h 750"/>
                <a:gd name="T46" fmla="*/ 4 w 624"/>
                <a:gd name="T47" fmla="*/ 17 h 750"/>
                <a:gd name="T48" fmla="*/ 6 w 624"/>
                <a:gd name="T49" fmla="*/ 17 h 750"/>
                <a:gd name="T50" fmla="*/ 7 w 624"/>
                <a:gd name="T51" fmla="*/ 17 h 750"/>
                <a:gd name="T52" fmla="*/ 9 w 624"/>
                <a:gd name="T53" fmla="*/ 15 h 750"/>
                <a:gd name="T54" fmla="*/ 10 w 624"/>
                <a:gd name="T55" fmla="*/ 14 h 750"/>
                <a:gd name="T56" fmla="*/ 11 w 624"/>
                <a:gd name="T57" fmla="*/ 12 h 750"/>
                <a:gd name="T58" fmla="*/ 13 w 624"/>
                <a:gd name="T59" fmla="*/ 12 h 750"/>
                <a:gd name="T60" fmla="*/ 18 w 624"/>
                <a:gd name="T61" fmla="*/ 10 h 750"/>
                <a:gd name="T62" fmla="*/ 22 w 624"/>
                <a:gd name="T63" fmla="*/ 4 h 750"/>
                <a:gd name="T64" fmla="*/ 24 w 624"/>
                <a:gd name="T65" fmla="*/ 4 h 750"/>
                <a:gd name="T66" fmla="*/ 26 w 624"/>
                <a:gd name="T67" fmla="*/ 2 h 750"/>
                <a:gd name="T68" fmla="*/ 29 w 624"/>
                <a:gd name="T69" fmla="*/ 0 h 750"/>
                <a:gd name="T70" fmla="*/ 32 w 624"/>
                <a:gd name="T71" fmla="*/ 2 h 750"/>
                <a:gd name="T72" fmla="*/ 34 w 624"/>
                <a:gd name="T73" fmla="*/ 5 h 750"/>
                <a:gd name="T74" fmla="*/ 35 w 624"/>
                <a:gd name="T75" fmla="*/ 8 h 750"/>
                <a:gd name="T76" fmla="*/ 39 w 624"/>
                <a:gd name="T77" fmla="*/ 11 h 750"/>
                <a:gd name="T78" fmla="*/ 42 w 624"/>
                <a:gd name="T79" fmla="*/ 14 h 750"/>
                <a:gd name="T80" fmla="*/ 46 w 624"/>
                <a:gd name="T81" fmla="*/ 12 h 750"/>
                <a:gd name="T82" fmla="*/ 49 w 624"/>
                <a:gd name="T83" fmla="*/ 12 h 750"/>
                <a:gd name="T84" fmla="*/ 51 w 624"/>
                <a:gd name="T85" fmla="*/ 12 h 750"/>
                <a:gd name="T86" fmla="*/ 53 w 624"/>
                <a:gd name="T87" fmla="*/ 12 h 750"/>
                <a:gd name="T88" fmla="*/ 53 w 624"/>
                <a:gd name="T89" fmla="*/ 17 h 750"/>
                <a:gd name="T90" fmla="*/ 51 w 624"/>
                <a:gd name="T91" fmla="*/ 20 h 750"/>
                <a:gd name="T92" fmla="*/ 49 w 624"/>
                <a:gd name="T93" fmla="*/ 26 h 750"/>
                <a:gd name="T94" fmla="*/ 47 w 624"/>
                <a:gd name="T95" fmla="*/ 26 h 750"/>
                <a:gd name="T96" fmla="*/ 44 w 624"/>
                <a:gd name="T97" fmla="*/ 26 h 750"/>
                <a:gd name="T98" fmla="*/ 43 w 624"/>
                <a:gd name="T99" fmla="*/ 27 h 750"/>
                <a:gd name="T100" fmla="*/ 45 w 624"/>
                <a:gd name="T101" fmla="*/ 32 h 750"/>
                <a:gd name="T102" fmla="*/ 44 w 624"/>
                <a:gd name="T103" fmla="*/ 43 h 750"/>
                <a:gd name="T104" fmla="*/ 44 w 624"/>
                <a:gd name="T105" fmla="*/ 47 h 750"/>
                <a:gd name="T106" fmla="*/ 44 w 624"/>
                <a:gd name="T107" fmla="*/ 54 h 750"/>
                <a:gd name="T108" fmla="*/ 41 w 624"/>
                <a:gd name="T109" fmla="*/ 60 h 750"/>
                <a:gd name="T110" fmla="*/ 42 w 624"/>
                <a:gd name="T111" fmla="*/ 62 h 750"/>
                <a:gd name="T112" fmla="*/ 43 w 624"/>
                <a:gd name="T113" fmla="*/ 65 h 750"/>
                <a:gd name="T114" fmla="*/ 39 w 624"/>
                <a:gd name="T115" fmla="*/ 63 h 750"/>
                <a:gd name="T116" fmla="*/ 35 w 624"/>
                <a:gd name="T117" fmla="*/ 62 h 75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24"/>
                <a:gd name="T178" fmla="*/ 0 h 750"/>
                <a:gd name="T179" fmla="*/ 624 w 624"/>
                <a:gd name="T180" fmla="*/ 750 h 75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24" h="750">
                  <a:moveTo>
                    <a:pt x="390" y="702"/>
                  </a:moveTo>
                  <a:lnTo>
                    <a:pt x="372" y="696"/>
                  </a:lnTo>
                  <a:lnTo>
                    <a:pt x="360" y="702"/>
                  </a:lnTo>
                  <a:lnTo>
                    <a:pt x="348" y="702"/>
                  </a:lnTo>
                  <a:lnTo>
                    <a:pt x="336" y="702"/>
                  </a:lnTo>
                  <a:lnTo>
                    <a:pt x="330" y="702"/>
                  </a:lnTo>
                  <a:lnTo>
                    <a:pt x="318" y="708"/>
                  </a:lnTo>
                  <a:lnTo>
                    <a:pt x="306" y="708"/>
                  </a:lnTo>
                  <a:lnTo>
                    <a:pt x="294" y="690"/>
                  </a:lnTo>
                  <a:lnTo>
                    <a:pt x="294" y="684"/>
                  </a:lnTo>
                  <a:lnTo>
                    <a:pt x="276" y="684"/>
                  </a:lnTo>
                  <a:lnTo>
                    <a:pt x="270" y="678"/>
                  </a:lnTo>
                  <a:lnTo>
                    <a:pt x="240" y="672"/>
                  </a:lnTo>
                  <a:lnTo>
                    <a:pt x="234" y="672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6"/>
                  </a:lnTo>
                  <a:lnTo>
                    <a:pt x="216" y="660"/>
                  </a:lnTo>
                  <a:lnTo>
                    <a:pt x="216" y="654"/>
                  </a:lnTo>
                  <a:lnTo>
                    <a:pt x="216" y="642"/>
                  </a:lnTo>
                  <a:lnTo>
                    <a:pt x="210" y="642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36"/>
                  </a:lnTo>
                  <a:lnTo>
                    <a:pt x="192" y="624"/>
                  </a:lnTo>
                  <a:lnTo>
                    <a:pt x="186" y="612"/>
                  </a:lnTo>
                  <a:lnTo>
                    <a:pt x="186" y="600"/>
                  </a:lnTo>
                  <a:lnTo>
                    <a:pt x="186" y="588"/>
                  </a:lnTo>
                  <a:lnTo>
                    <a:pt x="180" y="582"/>
                  </a:lnTo>
                  <a:lnTo>
                    <a:pt x="180" y="570"/>
                  </a:lnTo>
                  <a:lnTo>
                    <a:pt x="174" y="558"/>
                  </a:lnTo>
                  <a:lnTo>
                    <a:pt x="162" y="558"/>
                  </a:lnTo>
                  <a:lnTo>
                    <a:pt x="144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38" y="534"/>
                  </a:lnTo>
                  <a:lnTo>
                    <a:pt x="138" y="528"/>
                  </a:lnTo>
                  <a:lnTo>
                    <a:pt x="132" y="522"/>
                  </a:lnTo>
                  <a:lnTo>
                    <a:pt x="144" y="522"/>
                  </a:lnTo>
                  <a:lnTo>
                    <a:pt x="144" y="510"/>
                  </a:lnTo>
                  <a:lnTo>
                    <a:pt x="144" y="504"/>
                  </a:lnTo>
                  <a:lnTo>
                    <a:pt x="138" y="492"/>
                  </a:lnTo>
                  <a:lnTo>
                    <a:pt x="138" y="474"/>
                  </a:lnTo>
                  <a:lnTo>
                    <a:pt x="126" y="468"/>
                  </a:lnTo>
                  <a:lnTo>
                    <a:pt x="120" y="456"/>
                  </a:lnTo>
                  <a:lnTo>
                    <a:pt x="114" y="450"/>
                  </a:lnTo>
                  <a:lnTo>
                    <a:pt x="108" y="438"/>
                  </a:lnTo>
                  <a:lnTo>
                    <a:pt x="96" y="432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60" y="426"/>
                  </a:lnTo>
                  <a:lnTo>
                    <a:pt x="66" y="420"/>
                  </a:lnTo>
                  <a:lnTo>
                    <a:pt x="66" y="408"/>
                  </a:lnTo>
                  <a:lnTo>
                    <a:pt x="72" y="408"/>
                  </a:lnTo>
                  <a:lnTo>
                    <a:pt x="72" y="384"/>
                  </a:lnTo>
                  <a:lnTo>
                    <a:pt x="72" y="366"/>
                  </a:lnTo>
                  <a:lnTo>
                    <a:pt x="78" y="354"/>
                  </a:lnTo>
                  <a:lnTo>
                    <a:pt x="84" y="354"/>
                  </a:lnTo>
                  <a:lnTo>
                    <a:pt x="90" y="348"/>
                  </a:lnTo>
                  <a:lnTo>
                    <a:pt x="102" y="336"/>
                  </a:lnTo>
                  <a:lnTo>
                    <a:pt x="114" y="324"/>
                  </a:lnTo>
                  <a:lnTo>
                    <a:pt x="120" y="312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20" y="276"/>
                  </a:lnTo>
                  <a:lnTo>
                    <a:pt x="96" y="270"/>
                  </a:lnTo>
                  <a:lnTo>
                    <a:pt x="84" y="270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72" y="264"/>
                  </a:lnTo>
                  <a:lnTo>
                    <a:pt x="60" y="252"/>
                  </a:lnTo>
                  <a:lnTo>
                    <a:pt x="42" y="252"/>
                  </a:lnTo>
                  <a:lnTo>
                    <a:pt x="42" y="258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18" y="252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42" y="156"/>
                  </a:lnTo>
                  <a:lnTo>
                    <a:pt x="48" y="198"/>
                  </a:lnTo>
                  <a:lnTo>
                    <a:pt x="48" y="204"/>
                  </a:lnTo>
                  <a:lnTo>
                    <a:pt x="54" y="198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204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192"/>
                  </a:lnTo>
                  <a:lnTo>
                    <a:pt x="96" y="186"/>
                  </a:lnTo>
                  <a:lnTo>
                    <a:pt x="102" y="180"/>
                  </a:lnTo>
                  <a:lnTo>
                    <a:pt x="102" y="174"/>
                  </a:lnTo>
                  <a:lnTo>
                    <a:pt x="108" y="168"/>
                  </a:lnTo>
                  <a:lnTo>
                    <a:pt x="108" y="162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0"/>
                  </a:lnTo>
                  <a:lnTo>
                    <a:pt x="132" y="144"/>
                  </a:lnTo>
                  <a:lnTo>
                    <a:pt x="138" y="138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0" y="132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74" y="126"/>
                  </a:lnTo>
                  <a:lnTo>
                    <a:pt x="204" y="120"/>
                  </a:lnTo>
                  <a:lnTo>
                    <a:pt x="210" y="78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54"/>
                  </a:lnTo>
                  <a:lnTo>
                    <a:pt x="276" y="54"/>
                  </a:lnTo>
                  <a:lnTo>
                    <a:pt x="276" y="48"/>
                  </a:lnTo>
                  <a:lnTo>
                    <a:pt x="282" y="48"/>
                  </a:lnTo>
                  <a:lnTo>
                    <a:pt x="288" y="42"/>
                  </a:lnTo>
                  <a:lnTo>
                    <a:pt x="294" y="42"/>
                  </a:lnTo>
                  <a:lnTo>
                    <a:pt x="294" y="18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0"/>
                  </a:lnTo>
                  <a:lnTo>
                    <a:pt x="336" y="0"/>
                  </a:lnTo>
                  <a:lnTo>
                    <a:pt x="342" y="0"/>
                  </a:lnTo>
                  <a:lnTo>
                    <a:pt x="354" y="6"/>
                  </a:lnTo>
                  <a:lnTo>
                    <a:pt x="366" y="18"/>
                  </a:lnTo>
                  <a:lnTo>
                    <a:pt x="378" y="36"/>
                  </a:lnTo>
                  <a:lnTo>
                    <a:pt x="390" y="42"/>
                  </a:lnTo>
                  <a:lnTo>
                    <a:pt x="390" y="48"/>
                  </a:lnTo>
                  <a:lnTo>
                    <a:pt x="396" y="60"/>
                  </a:lnTo>
                  <a:lnTo>
                    <a:pt x="402" y="72"/>
                  </a:lnTo>
                  <a:lnTo>
                    <a:pt x="408" y="78"/>
                  </a:lnTo>
                  <a:lnTo>
                    <a:pt x="402" y="84"/>
                  </a:lnTo>
                  <a:lnTo>
                    <a:pt x="408" y="90"/>
                  </a:lnTo>
                  <a:lnTo>
                    <a:pt x="414" y="102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50" y="126"/>
                  </a:lnTo>
                  <a:lnTo>
                    <a:pt x="456" y="126"/>
                  </a:lnTo>
                  <a:lnTo>
                    <a:pt x="462" y="144"/>
                  </a:lnTo>
                  <a:lnTo>
                    <a:pt x="480" y="156"/>
                  </a:lnTo>
                  <a:lnTo>
                    <a:pt x="492" y="156"/>
                  </a:lnTo>
                  <a:lnTo>
                    <a:pt x="516" y="150"/>
                  </a:lnTo>
                  <a:lnTo>
                    <a:pt x="516" y="144"/>
                  </a:lnTo>
                  <a:lnTo>
                    <a:pt x="516" y="138"/>
                  </a:lnTo>
                  <a:lnTo>
                    <a:pt x="528" y="138"/>
                  </a:lnTo>
                  <a:lnTo>
                    <a:pt x="546" y="144"/>
                  </a:lnTo>
                  <a:lnTo>
                    <a:pt x="546" y="138"/>
                  </a:lnTo>
                  <a:lnTo>
                    <a:pt x="552" y="138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76" y="138"/>
                  </a:lnTo>
                  <a:lnTo>
                    <a:pt x="582" y="138"/>
                  </a:lnTo>
                  <a:lnTo>
                    <a:pt x="588" y="138"/>
                  </a:lnTo>
                  <a:lnTo>
                    <a:pt x="594" y="138"/>
                  </a:lnTo>
                  <a:lnTo>
                    <a:pt x="594" y="144"/>
                  </a:lnTo>
                  <a:lnTo>
                    <a:pt x="600" y="138"/>
                  </a:lnTo>
                  <a:lnTo>
                    <a:pt x="606" y="138"/>
                  </a:lnTo>
                  <a:lnTo>
                    <a:pt x="606" y="144"/>
                  </a:lnTo>
                  <a:lnTo>
                    <a:pt x="612" y="144"/>
                  </a:lnTo>
                  <a:lnTo>
                    <a:pt x="618" y="156"/>
                  </a:lnTo>
                  <a:lnTo>
                    <a:pt x="612" y="198"/>
                  </a:lnTo>
                  <a:lnTo>
                    <a:pt x="624" y="198"/>
                  </a:lnTo>
                  <a:lnTo>
                    <a:pt x="624" y="204"/>
                  </a:lnTo>
                  <a:lnTo>
                    <a:pt x="612" y="216"/>
                  </a:lnTo>
                  <a:lnTo>
                    <a:pt x="594" y="234"/>
                  </a:lnTo>
                  <a:lnTo>
                    <a:pt x="588" y="252"/>
                  </a:lnTo>
                  <a:lnTo>
                    <a:pt x="576" y="270"/>
                  </a:lnTo>
                  <a:lnTo>
                    <a:pt x="564" y="282"/>
                  </a:lnTo>
                  <a:lnTo>
                    <a:pt x="564" y="294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8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34" y="294"/>
                  </a:lnTo>
                  <a:lnTo>
                    <a:pt x="522" y="300"/>
                  </a:lnTo>
                  <a:lnTo>
                    <a:pt x="510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498" y="324"/>
                  </a:lnTo>
                  <a:lnTo>
                    <a:pt x="504" y="336"/>
                  </a:lnTo>
                  <a:lnTo>
                    <a:pt x="510" y="348"/>
                  </a:lnTo>
                  <a:lnTo>
                    <a:pt x="516" y="366"/>
                  </a:lnTo>
                  <a:lnTo>
                    <a:pt x="522" y="432"/>
                  </a:lnTo>
                  <a:lnTo>
                    <a:pt x="522" y="456"/>
                  </a:lnTo>
                  <a:lnTo>
                    <a:pt x="504" y="492"/>
                  </a:lnTo>
                  <a:lnTo>
                    <a:pt x="504" y="498"/>
                  </a:lnTo>
                  <a:lnTo>
                    <a:pt x="498" y="504"/>
                  </a:lnTo>
                  <a:lnTo>
                    <a:pt x="498" y="522"/>
                  </a:lnTo>
                  <a:lnTo>
                    <a:pt x="504" y="534"/>
                  </a:lnTo>
                  <a:lnTo>
                    <a:pt x="510" y="546"/>
                  </a:lnTo>
                  <a:lnTo>
                    <a:pt x="516" y="558"/>
                  </a:lnTo>
                  <a:lnTo>
                    <a:pt x="516" y="588"/>
                  </a:lnTo>
                  <a:lnTo>
                    <a:pt x="516" y="600"/>
                  </a:lnTo>
                  <a:lnTo>
                    <a:pt x="510" y="618"/>
                  </a:lnTo>
                  <a:lnTo>
                    <a:pt x="504" y="636"/>
                  </a:lnTo>
                  <a:lnTo>
                    <a:pt x="504" y="642"/>
                  </a:lnTo>
                  <a:lnTo>
                    <a:pt x="474" y="654"/>
                  </a:lnTo>
                  <a:lnTo>
                    <a:pt x="474" y="690"/>
                  </a:lnTo>
                  <a:lnTo>
                    <a:pt x="474" y="696"/>
                  </a:lnTo>
                  <a:lnTo>
                    <a:pt x="480" y="702"/>
                  </a:lnTo>
                  <a:lnTo>
                    <a:pt x="486" y="708"/>
                  </a:lnTo>
                  <a:lnTo>
                    <a:pt x="492" y="708"/>
                  </a:lnTo>
                  <a:lnTo>
                    <a:pt x="498" y="726"/>
                  </a:lnTo>
                  <a:lnTo>
                    <a:pt x="504" y="726"/>
                  </a:lnTo>
                  <a:lnTo>
                    <a:pt x="504" y="738"/>
                  </a:lnTo>
                  <a:lnTo>
                    <a:pt x="498" y="744"/>
                  </a:lnTo>
                  <a:lnTo>
                    <a:pt x="486" y="750"/>
                  </a:lnTo>
                  <a:lnTo>
                    <a:pt x="474" y="744"/>
                  </a:lnTo>
                  <a:lnTo>
                    <a:pt x="462" y="744"/>
                  </a:lnTo>
                  <a:lnTo>
                    <a:pt x="456" y="732"/>
                  </a:lnTo>
                  <a:lnTo>
                    <a:pt x="444" y="732"/>
                  </a:lnTo>
                  <a:lnTo>
                    <a:pt x="432" y="726"/>
                  </a:lnTo>
                  <a:lnTo>
                    <a:pt x="420" y="720"/>
                  </a:lnTo>
                  <a:lnTo>
                    <a:pt x="408" y="708"/>
                  </a:lnTo>
                  <a:lnTo>
                    <a:pt x="402" y="708"/>
                  </a:lnTo>
                  <a:lnTo>
                    <a:pt x="390" y="70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5" name="Freeform 20">
              <a:extLst>
                <a:ext uri="{FF2B5EF4-FFF2-40B4-BE49-F238E27FC236}">
                  <a16:creationId xmlns:a16="http://schemas.microsoft.com/office/drawing/2014/main" id="{B8342C3B-ECEC-465F-AAFF-4815B8AC392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870937"/>
              <a:ext cx="313067" cy="377968"/>
            </a:xfrm>
            <a:custGeom>
              <a:avLst/>
              <a:gdLst>
                <a:gd name="T0" fmla="*/ 15 w 588"/>
                <a:gd name="T1" fmla="*/ 59 h 714"/>
                <a:gd name="T2" fmla="*/ 14 w 588"/>
                <a:gd name="T3" fmla="*/ 58 h 714"/>
                <a:gd name="T4" fmla="*/ 9 w 588"/>
                <a:gd name="T5" fmla="*/ 54 h 714"/>
                <a:gd name="T6" fmla="*/ 4 w 588"/>
                <a:gd name="T7" fmla="*/ 54 h 714"/>
                <a:gd name="T8" fmla="*/ 0 w 588"/>
                <a:gd name="T9" fmla="*/ 50 h 714"/>
                <a:gd name="T10" fmla="*/ 0 w 588"/>
                <a:gd name="T11" fmla="*/ 44 h 714"/>
                <a:gd name="T12" fmla="*/ 4 w 588"/>
                <a:gd name="T13" fmla="*/ 46 h 714"/>
                <a:gd name="T14" fmla="*/ 7 w 588"/>
                <a:gd name="T15" fmla="*/ 47 h 714"/>
                <a:gd name="T16" fmla="*/ 10 w 588"/>
                <a:gd name="T17" fmla="*/ 46 h 714"/>
                <a:gd name="T18" fmla="*/ 8 w 588"/>
                <a:gd name="T19" fmla="*/ 44 h 714"/>
                <a:gd name="T20" fmla="*/ 10 w 588"/>
                <a:gd name="T21" fmla="*/ 39 h 714"/>
                <a:gd name="T22" fmla="*/ 11 w 588"/>
                <a:gd name="T23" fmla="*/ 34 h 714"/>
                <a:gd name="T24" fmla="*/ 9 w 588"/>
                <a:gd name="T25" fmla="*/ 28 h 714"/>
                <a:gd name="T26" fmla="*/ 11 w 588"/>
                <a:gd name="T27" fmla="*/ 22 h 714"/>
                <a:gd name="T28" fmla="*/ 10 w 588"/>
                <a:gd name="T29" fmla="*/ 12 h 714"/>
                <a:gd name="T30" fmla="*/ 9 w 588"/>
                <a:gd name="T31" fmla="*/ 9 h 714"/>
                <a:gd name="T32" fmla="*/ 12 w 588"/>
                <a:gd name="T33" fmla="*/ 8 h 714"/>
                <a:gd name="T34" fmla="*/ 14 w 588"/>
                <a:gd name="T35" fmla="*/ 7 h 714"/>
                <a:gd name="T36" fmla="*/ 17 w 588"/>
                <a:gd name="T37" fmla="*/ 10 h 714"/>
                <a:gd name="T38" fmla="*/ 23 w 588"/>
                <a:gd name="T39" fmla="*/ 14 h 714"/>
                <a:gd name="T40" fmla="*/ 28 w 588"/>
                <a:gd name="T41" fmla="*/ 4 h 714"/>
                <a:gd name="T42" fmla="*/ 35 w 588"/>
                <a:gd name="T43" fmla="*/ 2 h 714"/>
                <a:gd name="T44" fmla="*/ 38 w 588"/>
                <a:gd name="T45" fmla="*/ 0 h 714"/>
                <a:gd name="T46" fmla="*/ 40 w 588"/>
                <a:gd name="T47" fmla="*/ 2 h 714"/>
                <a:gd name="T48" fmla="*/ 39 w 588"/>
                <a:gd name="T49" fmla="*/ 4 h 714"/>
                <a:gd name="T50" fmla="*/ 41 w 588"/>
                <a:gd name="T51" fmla="*/ 5 h 714"/>
                <a:gd name="T52" fmla="*/ 42 w 588"/>
                <a:gd name="T53" fmla="*/ 7 h 714"/>
                <a:gd name="T54" fmla="*/ 43 w 588"/>
                <a:gd name="T55" fmla="*/ 9 h 714"/>
                <a:gd name="T56" fmla="*/ 43 w 588"/>
                <a:gd name="T57" fmla="*/ 10 h 714"/>
                <a:gd name="T58" fmla="*/ 43 w 588"/>
                <a:gd name="T59" fmla="*/ 12 h 714"/>
                <a:gd name="T60" fmla="*/ 44 w 588"/>
                <a:gd name="T61" fmla="*/ 12 h 714"/>
                <a:gd name="T62" fmla="*/ 46 w 588"/>
                <a:gd name="T63" fmla="*/ 13 h 714"/>
                <a:gd name="T64" fmla="*/ 47 w 588"/>
                <a:gd name="T65" fmla="*/ 14 h 714"/>
                <a:gd name="T66" fmla="*/ 48 w 588"/>
                <a:gd name="T67" fmla="*/ 15 h 714"/>
                <a:gd name="T68" fmla="*/ 49 w 588"/>
                <a:gd name="T69" fmla="*/ 15 h 714"/>
                <a:gd name="T70" fmla="*/ 48 w 588"/>
                <a:gd name="T71" fmla="*/ 17 h 714"/>
                <a:gd name="T72" fmla="*/ 49 w 588"/>
                <a:gd name="T73" fmla="*/ 19 h 714"/>
                <a:gd name="T74" fmla="*/ 49 w 588"/>
                <a:gd name="T75" fmla="*/ 20 h 714"/>
                <a:gd name="T76" fmla="*/ 51 w 588"/>
                <a:gd name="T77" fmla="*/ 21 h 714"/>
                <a:gd name="T78" fmla="*/ 50 w 588"/>
                <a:gd name="T79" fmla="*/ 22 h 714"/>
                <a:gd name="T80" fmla="*/ 47 w 588"/>
                <a:gd name="T81" fmla="*/ 23 h 714"/>
                <a:gd name="T82" fmla="*/ 47 w 588"/>
                <a:gd name="T83" fmla="*/ 26 h 714"/>
                <a:gd name="T84" fmla="*/ 47 w 588"/>
                <a:gd name="T85" fmla="*/ 32 h 714"/>
                <a:gd name="T86" fmla="*/ 44 w 588"/>
                <a:gd name="T87" fmla="*/ 35 h 714"/>
                <a:gd name="T88" fmla="*/ 42 w 588"/>
                <a:gd name="T89" fmla="*/ 39 h 714"/>
                <a:gd name="T90" fmla="*/ 42 w 588"/>
                <a:gd name="T91" fmla="*/ 41 h 714"/>
                <a:gd name="T92" fmla="*/ 42 w 588"/>
                <a:gd name="T93" fmla="*/ 42 h 714"/>
                <a:gd name="T94" fmla="*/ 41 w 588"/>
                <a:gd name="T95" fmla="*/ 44 h 714"/>
                <a:gd name="T96" fmla="*/ 39 w 588"/>
                <a:gd name="T97" fmla="*/ 43 h 714"/>
                <a:gd name="T98" fmla="*/ 37 w 588"/>
                <a:gd name="T99" fmla="*/ 44 h 714"/>
                <a:gd name="T100" fmla="*/ 35 w 588"/>
                <a:gd name="T101" fmla="*/ 46 h 714"/>
                <a:gd name="T102" fmla="*/ 31 w 588"/>
                <a:gd name="T103" fmla="*/ 45 h 714"/>
                <a:gd name="T104" fmla="*/ 24 w 588"/>
                <a:gd name="T105" fmla="*/ 45 h 714"/>
                <a:gd name="T106" fmla="*/ 25 w 588"/>
                <a:gd name="T107" fmla="*/ 47 h 714"/>
                <a:gd name="T108" fmla="*/ 25 w 588"/>
                <a:gd name="T109" fmla="*/ 49 h 714"/>
                <a:gd name="T110" fmla="*/ 25 w 588"/>
                <a:gd name="T111" fmla="*/ 50 h 714"/>
                <a:gd name="T112" fmla="*/ 24 w 588"/>
                <a:gd name="T113" fmla="*/ 51 h 714"/>
                <a:gd name="T114" fmla="*/ 22 w 588"/>
                <a:gd name="T115" fmla="*/ 53 h 714"/>
                <a:gd name="T116" fmla="*/ 23 w 588"/>
                <a:gd name="T117" fmla="*/ 56 h 714"/>
                <a:gd name="T118" fmla="*/ 20 w 588"/>
                <a:gd name="T119" fmla="*/ 58 h 714"/>
                <a:gd name="T120" fmla="*/ 19 w 588"/>
                <a:gd name="T121" fmla="*/ 62 h 7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8"/>
                <a:gd name="T184" fmla="*/ 0 h 714"/>
                <a:gd name="T185" fmla="*/ 588 w 588"/>
                <a:gd name="T186" fmla="*/ 714 h 7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8" h="714">
                  <a:moveTo>
                    <a:pt x="216" y="714"/>
                  </a:moveTo>
                  <a:lnTo>
                    <a:pt x="198" y="702"/>
                  </a:lnTo>
                  <a:lnTo>
                    <a:pt x="186" y="696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74" y="678"/>
                  </a:lnTo>
                  <a:lnTo>
                    <a:pt x="168" y="672"/>
                  </a:lnTo>
                  <a:lnTo>
                    <a:pt x="162" y="666"/>
                  </a:lnTo>
                  <a:lnTo>
                    <a:pt x="156" y="636"/>
                  </a:lnTo>
                  <a:lnTo>
                    <a:pt x="144" y="630"/>
                  </a:lnTo>
                  <a:lnTo>
                    <a:pt x="108" y="630"/>
                  </a:lnTo>
                  <a:lnTo>
                    <a:pt x="102" y="624"/>
                  </a:lnTo>
                  <a:lnTo>
                    <a:pt x="96" y="624"/>
                  </a:lnTo>
                  <a:lnTo>
                    <a:pt x="72" y="624"/>
                  </a:lnTo>
                  <a:lnTo>
                    <a:pt x="54" y="624"/>
                  </a:lnTo>
                  <a:lnTo>
                    <a:pt x="42" y="618"/>
                  </a:lnTo>
                  <a:lnTo>
                    <a:pt x="30" y="612"/>
                  </a:lnTo>
                  <a:lnTo>
                    <a:pt x="6" y="606"/>
                  </a:lnTo>
                  <a:lnTo>
                    <a:pt x="0" y="606"/>
                  </a:lnTo>
                  <a:lnTo>
                    <a:pt x="0" y="570"/>
                  </a:lnTo>
                  <a:lnTo>
                    <a:pt x="6" y="552"/>
                  </a:lnTo>
                  <a:lnTo>
                    <a:pt x="6" y="522"/>
                  </a:lnTo>
                  <a:lnTo>
                    <a:pt x="0" y="510"/>
                  </a:lnTo>
                  <a:lnTo>
                    <a:pt x="0" y="504"/>
                  </a:lnTo>
                  <a:lnTo>
                    <a:pt x="12" y="510"/>
                  </a:lnTo>
                  <a:lnTo>
                    <a:pt x="18" y="510"/>
                  </a:lnTo>
                  <a:lnTo>
                    <a:pt x="30" y="522"/>
                  </a:lnTo>
                  <a:lnTo>
                    <a:pt x="42" y="528"/>
                  </a:lnTo>
                  <a:lnTo>
                    <a:pt x="54" y="534"/>
                  </a:lnTo>
                  <a:lnTo>
                    <a:pt x="66" y="534"/>
                  </a:lnTo>
                  <a:lnTo>
                    <a:pt x="72" y="546"/>
                  </a:lnTo>
                  <a:lnTo>
                    <a:pt x="84" y="546"/>
                  </a:lnTo>
                  <a:lnTo>
                    <a:pt x="96" y="552"/>
                  </a:lnTo>
                  <a:lnTo>
                    <a:pt x="108" y="546"/>
                  </a:lnTo>
                  <a:lnTo>
                    <a:pt x="114" y="540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90" y="504"/>
                  </a:lnTo>
                  <a:lnTo>
                    <a:pt x="84" y="498"/>
                  </a:lnTo>
                  <a:lnTo>
                    <a:pt x="84" y="492"/>
                  </a:lnTo>
                  <a:lnTo>
                    <a:pt x="84" y="456"/>
                  </a:lnTo>
                  <a:lnTo>
                    <a:pt x="114" y="444"/>
                  </a:lnTo>
                  <a:lnTo>
                    <a:pt x="114" y="438"/>
                  </a:lnTo>
                  <a:lnTo>
                    <a:pt x="120" y="420"/>
                  </a:lnTo>
                  <a:lnTo>
                    <a:pt x="126" y="402"/>
                  </a:lnTo>
                  <a:lnTo>
                    <a:pt x="126" y="390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14" y="336"/>
                  </a:lnTo>
                  <a:lnTo>
                    <a:pt x="108" y="324"/>
                  </a:lnTo>
                  <a:lnTo>
                    <a:pt x="108" y="306"/>
                  </a:lnTo>
                  <a:lnTo>
                    <a:pt x="114" y="300"/>
                  </a:lnTo>
                  <a:lnTo>
                    <a:pt x="114" y="294"/>
                  </a:lnTo>
                  <a:lnTo>
                    <a:pt x="132" y="258"/>
                  </a:lnTo>
                  <a:lnTo>
                    <a:pt x="132" y="234"/>
                  </a:lnTo>
                  <a:lnTo>
                    <a:pt x="126" y="168"/>
                  </a:lnTo>
                  <a:lnTo>
                    <a:pt x="120" y="150"/>
                  </a:lnTo>
                  <a:lnTo>
                    <a:pt x="114" y="138"/>
                  </a:lnTo>
                  <a:lnTo>
                    <a:pt x="108" y="126"/>
                  </a:lnTo>
                  <a:lnTo>
                    <a:pt x="108" y="120"/>
                  </a:lnTo>
                  <a:lnTo>
                    <a:pt x="108" y="114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20" y="96"/>
                  </a:lnTo>
                  <a:lnTo>
                    <a:pt x="132" y="102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56" y="90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96"/>
                  </a:lnTo>
                  <a:lnTo>
                    <a:pt x="186" y="96"/>
                  </a:lnTo>
                  <a:lnTo>
                    <a:pt x="192" y="114"/>
                  </a:lnTo>
                  <a:lnTo>
                    <a:pt x="204" y="132"/>
                  </a:lnTo>
                  <a:lnTo>
                    <a:pt x="216" y="144"/>
                  </a:lnTo>
                  <a:lnTo>
                    <a:pt x="240" y="162"/>
                  </a:lnTo>
                  <a:lnTo>
                    <a:pt x="270" y="156"/>
                  </a:lnTo>
                  <a:lnTo>
                    <a:pt x="282" y="126"/>
                  </a:lnTo>
                  <a:lnTo>
                    <a:pt x="282" y="96"/>
                  </a:lnTo>
                  <a:lnTo>
                    <a:pt x="294" y="54"/>
                  </a:lnTo>
                  <a:lnTo>
                    <a:pt x="324" y="48"/>
                  </a:lnTo>
                  <a:lnTo>
                    <a:pt x="342" y="48"/>
                  </a:lnTo>
                  <a:lnTo>
                    <a:pt x="384" y="48"/>
                  </a:lnTo>
                  <a:lnTo>
                    <a:pt x="390" y="30"/>
                  </a:lnTo>
                  <a:lnTo>
                    <a:pt x="402" y="18"/>
                  </a:lnTo>
                  <a:lnTo>
                    <a:pt x="438" y="6"/>
                  </a:lnTo>
                  <a:lnTo>
                    <a:pt x="438" y="0"/>
                  </a:lnTo>
                  <a:lnTo>
                    <a:pt x="444" y="0"/>
                  </a:lnTo>
                  <a:lnTo>
                    <a:pt x="444" y="6"/>
                  </a:lnTo>
                  <a:lnTo>
                    <a:pt x="450" y="6"/>
                  </a:lnTo>
                  <a:lnTo>
                    <a:pt x="456" y="12"/>
                  </a:lnTo>
                  <a:lnTo>
                    <a:pt x="456" y="18"/>
                  </a:lnTo>
                  <a:lnTo>
                    <a:pt x="462" y="24"/>
                  </a:lnTo>
                  <a:lnTo>
                    <a:pt x="462" y="30"/>
                  </a:lnTo>
                  <a:lnTo>
                    <a:pt x="468" y="36"/>
                  </a:lnTo>
                  <a:lnTo>
                    <a:pt x="462" y="36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74" y="60"/>
                  </a:lnTo>
                  <a:lnTo>
                    <a:pt x="486" y="78"/>
                  </a:lnTo>
                  <a:lnTo>
                    <a:pt x="486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8" y="102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498" y="114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504" y="126"/>
                  </a:lnTo>
                  <a:lnTo>
                    <a:pt x="498" y="132"/>
                  </a:lnTo>
                  <a:lnTo>
                    <a:pt x="504" y="138"/>
                  </a:lnTo>
                  <a:lnTo>
                    <a:pt x="504" y="132"/>
                  </a:lnTo>
                  <a:lnTo>
                    <a:pt x="510" y="132"/>
                  </a:lnTo>
                  <a:lnTo>
                    <a:pt x="510" y="138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56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6" y="168"/>
                  </a:lnTo>
                  <a:lnTo>
                    <a:pt x="552" y="168"/>
                  </a:lnTo>
                  <a:lnTo>
                    <a:pt x="546" y="168"/>
                  </a:lnTo>
                  <a:lnTo>
                    <a:pt x="546" y="174"/>
                  </a:lnTo>
                  <a:lnTo>
                    <a:pt x="558" y="180"/>
                  </a:lnTo>
                  <a:lnTo>
                    <a:pt x="564" y="180"/>
                  </a:lnTo>
                  <a:lnTo>
                    <a:pt x="564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52" y="198"/>
                  </a:lnTo>
                  <a:lnTo>
                    <a:pt x="558" y="204"/>
                  </a:lnTo>
                  <a:lnTo>
                    <a:pt x="564" y="204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22"/>
                  </a:lnTo>
                  <a:lnTo>
                    <a:pt x="576" y="228"/>
                  </a:lnTo>
                  <a:lnTo>
                    <a:pt x="570" y="228"/>
                  </a:lnTo>
                  <a:lnTo>
                    <a:pt x="570" y="234"/>
                  </a:lnTo>
                  <a:lnTo>
                    <a:pt x="576" y="234"/>
                  </a:lnTo>
                  <a:lnTo>
                    <a:pt x="582" y="234"/>
                  </a:lnTo>
                  <a:lnTo>
                    <a:pt x="588" y="234"/>
                  </a:lnTo>
                  <a:lnTo>
                    <a:pt x="588" y="240"/>
                  </a:lnTo>
                  <a:lnTo>
                    <a:pt x="588" y="246"/>
                  </a:lnTo>
                  <a:lnTo>
                    <a:pt x="588" y="252"/>
                  </a:lnTo>
                  <a:lnTo>
                    <a:pt x="582" y="252"/>
                  </a:lnTo>
                  <a:lnTo>
                    <a:pt x="576" y="252"/>
                  </a:lnTo>
                  <a:lnTo>
                    <a:pt x="582" y="258"/>
                  </a:lnTo>
                  <a:lnTo>
                    <a:pt x="582" y="264"/>
                  </a:lnTo>
                  <a:lnTo>
                    <a:pt x="576" y="264"/>
                  </a:lnTo>
                  <a:lnTo>
                    <a:pt x="546" y="264"/>
                  </a:lnTo>
                  <a:lnTo>
                    <a:pt x="546" y="276"/>
                  </a:lnTo>
                  <a:lnTo>
                    <a:pt x="540" y="282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40" y="324"/>
                  </a:lnTo>
                  <a:lnTo>
                    <a:pt x="552" y="330"/>
                  </a:lnTo>
                  <a:lnTo>
                    <a:pt x="558" y="342"/>
                  </a:lnTo>
                  <a:lnTo>
                    <a:pt x="546" y="372"/>
                  </a:lnTo>
                  <a:lnTo>
                    <a:pt x="534" y="372"/>
                  </a:lnTo>
                  <a:lnTo>
                    <a:pt x="534" y="384"/>
                  </a:lnTo>
                  <a:lnTo>
                    <a:pt x="522" y="384"/>
                  </a:lnTo>
                  <a:lnTo>
                    <a:pt x="510" y="402"/>
                  </a:lnTo>
                  <a:lnTo>
                    <a:pt x="504" y="420"/>
                  </a:lnTo>
                  <a:lnTo>
                    <a:pt x="492" y="426"/>
                  </a:lnTo>
                  <a:lnTo>
                    <a:pt x="486" y="432"/>
                  </a:lnTo>
                  <a:lnTo>
                    <a:pt x="486" y="444"/>
                  </a:lnTo>
                  <a:lnTo>
                    <a:pt x="486" y="450"/>
                  </a:lnTo>
                  <a:lnTo>
                    <a:pt x="486" y="456"/>
                  </a:lnTo>
                  <a:lnTo>
                    <a:pt x="486" y="462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80" y="474"/>
                  </a:lnTo>
                  <a:lnTo>
                    <a:pt x="480" y="480"/>
                  </a:lnTo>
                  <a:lnTo>
                    <a:pt x="480" y="486"/>
                  </a:lnTo>
                  <a:lnTo>
                    <a:pt x="480" y="492"/>
                  </a:lnTo>
                  <a:lnTo>
                    <a:pt x="480" y="498"/>
                  </a:lnTo>
                  <a:lnTo>
                    <a:pt x="474" y="504"/>
                  </a:lnTo>
                  <a:lnTo>
                    <a:pt x="468" y="510"/>
                  </a:lnTo>
                  <a:lnTo>
                    <a:pt x="462" y="510"/>
                  </a:lnTo>
                  <a:lnTo>
                    <a:pt x="456" y="504"/>
                  </a:lnTo>
                  <a:lnTo>
                    <a:pt x="456" y="498"/>
                  </a:lnTo>
                  <a:lnTo>
                    <a:pt x="450" y="498"/>
                  </a:lnTo>
                  <a:lnTo>
                    <a:pt x="444" y="498"/>
                  </a:lnTo>
                  <a:lnTo>
                    <a:pt x="438" y="498"/>
                  </a:lnTo>
                  <a:lnTo>
                    <a:pt x="432" y="498"/>
                  </a:lnTo>
                  <a:lnTo>
                    <a:pt x="426" y="504"/>
                  </a:lnTo>
                  <a:lnTo>
                    <a:pt x="426" y="510"/>
                  </a:lnTo>
                  <a:lnTo>
                    <a:pt x="420" y="516"/>
                  </a:lnTo>
                  <a:lnTo>
                    <a:pt x="414" y="522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84" y="528"/>
                  </a:lnTo>
                  <a:lnTo>
                    <a:pt x="366" y="540"/>
                  </a:lnTo>
                  <a:lnTo>
                    <a:pt x="360" y="522"/>
                  </a:lnTo>
                  <a:lnTo>
                    <a:pt x="348" y="504"/>
                  </a:lnTo>
                  <a:lnTo>
                    <a:pt x="330" y="504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34"/>
                  </a:lnTo>
                  <a:lnTo>
                    <a:pt x="288" y="540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2" y="540"/>
                  </a:lnTo>
                  <a:lnTo>
                    <a:pt x="282" y="546"/>
                  </a:lnTo>
                  <a:lnTo>
                    <a:pt x="288" y="552"/>
                  </a:lnTo>
                  <a:lnTo>
                    <a:pt x="294" y="564"/>
                  </a:lnTo>
                  <a:lnTo>
                    <a:pt x="300" y="564"/>
                  </a:lnTo>
                  <a:lnTo>
                    <a:pt x="300" y="570"/>
                  </a:lnTo>
                  <a:lnTo>
                    <a:pt x="294" y="570"/>
                  </a:lnTo>
                  <a:lnTo>
                    <a:pt x="288" y="570"/>
                  </a:lnTo>
                  <a:lnTo>
                    <a:pt x="288" y="576"/>
                  </a:lnTo>
                  <a:lnTo>
                    <a:pt x="288" y="582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606"/>
                  </a:lnTo>
                  <a:lnTo>
                    <a:pt x="264" y="612"/>
                  </a:lnTo>
                  <a:lnTo>
                    <a:pt x="258" y="612"/>
                  </a:lnTo>
                  <a:lnTo>
                    <a:pt x="252" y="612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52" y="630"/>
                  </a:lnTo>
                  <a:lnTo>
                    <a:pt x="264" y="642"/>
                  </a:lnTo>
                  <a:lnTo>
                    <a:pt x="258" y="648"/>
                  </a:lnTo>
                  <a:lnTo>
                    <a:pt x="246" y="654"/>
                  </a:lnTo>
                  <a:lnTo>
                    <a:pt x="240" y="660"/>
                  </a:lnTo>
                  <a:lnTo>
                    <a:pt x="234" y="672"/>
                  </a:lnTo>
                  <a:lnTo>
                    <a:pt x="234" y="678"/>
                  </a:lnTo>
                  <a:lnTo>
                    <a:pt x="228" y="684"/>
                  </a:lnTo>
                  <a:lnTo>
                    <a:pt x="228" y="696"/>
                  </a:lnTo>
                  <a:lnTo>
                    <a:pt x="216" y="71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6" name="Freeform 21">
              <a:extLst>
                <a:ext uri="{FF2B5EF4-FFF2-40B4-BE49-F238E27FC236}">
                  <a16:creationId xmlns:a16="http://schemas.microsoft.com/office/drawing/2014/main" id="{DCB1E808-522D-4C19-B741-CC5DD56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4178" y="3866464"/>
              <a:ext cx="250453" cy="371259"/>
            </a:xfrm>
            <a:custGeom>
              <a:avLst/>
              <a:gdLst>
                <a:gd name="T0" fmla="*/ 0 w 468"/>
                <a:gd name="T1" fmla="*/ 61 h 696"/>
                <a:gd name="T2" fmla="*/ 1 w 468"/>
                <a:gd name="T3" fmla="*/ 58 h 696"/>
                <a:gd name="T4" fmla="*/ 2 w 468"/>
                <a:gd name="T5" fmla="*/ 54 h 696"/>
                <a:gd name="T6" fmla="*/ 3 w 468"/>
                <a:gd name="T7" fmla="*/ 51 h 696"/>
                <a:gd name="T8" fmla="*/ 4 w 468"/>
                <a:gd name="T9" fmla="*/ 48 h 696"/>
                <a:gd name="T10" fmla="*/ 6 w 468"/>
                <a:gd name="T11" fmla="*/ 44 h 696"/>
                <a:gd name="T12" fmla="*/ 5 w 468"/>
                <a:gd name="T13" fmla="*/ 41 h 696"/>
                <a:gd name="T14" fmla="*/ 7 w 468"/>
                <a:gd name="T15" fmla="*/ 38 h 696"/>
                <a:gd name="T16" fmla="*/ 8 w 468"/>
                <a:gd name="T17" fmla="*/ 36 h 696"/>
                <a:gd name="T18" fmla="*/ 7 w 468"/>
                <a:gd name="T19" fmla="*/ 33 h 696"/>
                <a:gd name="T20" fmla="*/ 6 w 468"/>
                <a:gd name="T21" fmla="*/ 29 h 696"/>
                <a:gd name="T22" fmla="*/ 4 w 468"/>
                <a:gd name="T23" fmla="*/ 22 h 696"/>
                <a:gd name="T24" fmla="*/ 2 w 468"/>
                <a:gd name="T25" fmla="*/ 14 h 696"/>
                <a:gd name="T26" fmla="*/ 12 w 468"/>
                <a:gd name="T27" fmla="*/ 11 h 696"/>
                <a:gd name="T28" fmla="*/ 14 w 468"/>
                <a:gd name="T29" fmla="*/ 2 h 696"/>
                <a:gd name="T30" fmla="*/ 16 w 468"/>
                <a:gd name="T31" fmla="*/ 0 h 696"/>
                <a:gd name="T32" fmla="*/ 17 w 468"/>
                <a:gd name="T33" fmla="*/ 0 h 696"/>
                <a:gd name="T34" fmla="*/ 18 w 468"/>
                <a:gd name="T35" fmla="*/ 1 h 696"/>
                <a:gd name="T36" fmla="*/ 17 w 468"/>
                <a:gd name="T37" fmla="*/ 2 h 696"/>
                <a:gd name="T38" fmla="*/ 17 w 468"/>
                <a:gd name="T39" fmla="*/ 4 h 696"/>
                <a:gd name="T40" fmla="*/ 17 w 468"/>
                <a:gd name="T41" fmla="*/ 6 h 696"/>
                <a:gd name="T42" fmla="*/ 20 w 468"/>
                <a:gd name="T43" fmla="*/ 6 h 696"/>
                <a:gd name="T44" fmla="*/ 22 w 468"/>
                <a:gd name="T45" fmla="*/ 5 h 696"/>
                <a:gd name="T46" fmla="*/ 24 w 468"/>
                <a:gd name="T47" fmla="*/ 7 h 696"/>
                <a:gd name="T48" fmla="*/ 28 w 468"/>
                <a:gd name="T49" fmla="*/ 7 h 696"/>
                <a:gd name="T50" fmla="*/ 28 w 468"/>
                <a:gd name="T51" fmla="*/ 11 h 696"/>
                <a:gd name="T52" fmla="*/ 25 w 468"/>
                <a:gd name="T53" fmla="*/ 14 h 696"/>
                <a:gd name="T54" fmla="*/ 23 w 468"/>
                <a:gd name="T55" fmla="*/ 15 h 696"/>
                <a:gd name="T56" fmla="*/ 23 w 468"/>
                <a:gd name="T57" fmla="*/ 19 h 696"/>
                <a:gd name="T58" fmla="*/ 23 w 468"/>
                <a:gd name="T59" fmla="*/ 21 h 696"/>
                <a:gd name="T60" fmla="*/ 24 w 468"/>
                <a:gd name="T61" fmla="*/ 21 h 696"/>
                <a:gd name="T62" fmla="*/ 27 w 468"/>
                <a:gd name="T63" fmla="*/ 23 h 696"/>
                <a:gd name="T64" fmla="*/ 29 w 468"/>
                <a:gd name="T65" fmla="*/ 24 h 696"/>
                <a:gd name="T66" fmla="*/ 29 w 468"/>
                <a:gd name="T67" fmla="*/ 28 h 696"/>
                <a:gd name="T68" fmla="*/ 29 w 468"/>
                <a:gd name="T69" fmla="*/ 29 h 696"/>
                <a:gd name="T70" fmla="*/ 29 w 468"/>
                <a:gd name="T71" fmla="*/ 32 h 696"/>
                <a:gd name="T72" fmla="*/ 32 w 468"/>
                <a:gd name="T73" fmla="*/ 32 h 696"/>
                <a:gd name="T74" fmla="*/ 33 w 468"/>
                <a:gd name="T75" fmla="*/ 35 h 696"/>
                <a:gd name="T76" fmla="*/ 34 w 468"/>
                <a:gd name="T77" fmla="*/ 38 h 696"/>
                <a:gd name="T78" fmla="*/ 35 w 468"/>
                <a:gd name="T79" fmla="*/ 39 h 696"/>
                <a:gd name="T80" fmla="*/ 36 w 468"/>
                <a:gd name="T81" fmla="*/ 40 h 696"/>
                <a:gd name="T82" fmla="*/ 37 w 468"/>
                <a:gd name="T83" fmla="*/ 41 h 696"/>
                <a:gd name="T84" fmla="*/ 38 w 468"/>
                <a:gd name="T85" fmla="*/ 42 h 696"/>
                <a:gd name="T86" fmla="*/ 41 w 468"/>
                <a:gd name="T87" fmla="*/ 44 h 696"/>
                <a:gd name="T88" fmla="*/ 40 w 468"/>
                <a:gd name="T89" fmla="*/ 44 h 696"/>
                <a:gd name="T90" fmla="*/ 37 w 468"/>
                <a:gd name="T91" fmla="*/ 45 h 696"/>
                <a:gd name="T92" fmla="*/ 36 w 468"/>
                <a:gd name="T93" fmla="*/ 48 h 696"/>
                <a:gd name="T94" fmla="*/ 34 w 468"/>
                <a:gd name="T95" fmla="*/ 49 h 696"/>
                <a:gd name="T96" fmla="*/ 32 w 468"/>
                <a:gd name="T97" fmla="*/ 51 h 696"/>
                <a:gd name="T98" fmla="*/ 31 w 468"/>
                <a:gd name="T99" fmla="*/ 51 h 696"/>
                <a:gd name="T100" fmla="*/ 26 w 468"/>
                <a:gd name="T101" fmla="*/ 49 h 696"/>
                <a:gd name="T102" fmla="*/ 23 w 468"/>
                <a:gd name="T103" fmla="*/ 51 h 696"/>
                <a:gd name="T104" fmla="*/ 21 w 468"/>
                <a:gd name="T105" fmla="*/ 51 h 696"/>
                <a:gd name="T106" fmla="*/ 20 w 468"/>
                <a:gd name="T107" fmla="*/ 52 h 696"/>
                <a:gd name="T108" fmla="*/ 17 w 468"/>
                <a:gd name="T109" fmla="*/ 55 h 696"/>
                <a:gd name="T110" fmla="*/ 15 w 468"/>
                <a:gd name="T111" fmla="*/ 56 h 696"/>
                <a:gd name="T112" fmla="*/ 15 w 468"/>
                <a:gd name="T113" fmla="*/ 59 h 696"/>
                <a:gd name="T114" fmla="*/ 14 w 468"/>
                <a:gd name="T115" fmla="*/ 59 h 696"/>
                <a:gd name="T116" fmla="*/ 12 w 468"/>
                <a:gd name="T117" fmla="*/ 59 h 696"/>
                <a:gd name="T118" fmla="*/ 11 w 468"/>
                <a:gd name="T119" fmla="*/ 57 h 696"/>
                <a:gd name="T120" fmla="*/ 9 w 468"/>
                <a:gd name="T121" fmla="*/ 57 h 696"/>
                <a:gd name="T122" fmla="*/ 6 w 468"/>
                <a:gd name="T123" fmla="*/ 58 h 696"/>
                <a:gd name="T124" fmla="*/ 4 w 468"/>
                <a:gd name="T125" fmla="*/ 60 h 69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8"/>
                <a:gd name="T190" fmla="*/ 0 h 696"/>
                <a:gd name="T191" fmla="*/ 468 w 468"/>
                <a:gd name="T192" fmla="*/ 696 h 69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8" h="696">
                  <a:moveTo>
                    <a:pt x="30" y="696"/>
                  </a:moveTo>
                  <a:lnTo>
                    <a:pt x="18" y="696"/>
                  </a:lnTo>
                  <a:lnTo>
                    <a:pt x="6" y="696"/>
                  </a:lnTo>
                  <a:lnTo>
                    <a:pt x="0" y="690"/>
                  </a:lnTo>
                  <a:lnTo>
                    <a:pt x="6" y="678"/>
                  </a:lnTo>
                  <a:lnTo>
                    <a:pt x="12" y="666"/>
                  </a:lnTo>
                  <a:lnTo>
                    <a:pt x="18" y="654"/>
                  </a:lnTo>
                  <a:lnTo>
                    <a:pt x="18" y="642"/>
                  </a:lnTo>
                  <a:lnTo>
                    <a:pt x="18" y="618"/>
                  </a:lnTo>
                  <a:lnTo>
                    <a:pt x="24" y="606"/>
                  </a:lnTo>
                  <a:lnTo>
                    <a:pt x="30" y="594"/>
                  </a:lnTo>
                  <a:lnTo>
                    <a:pt x="30" y="582"/>
                  </a:lnTo>
                  <a:lnTo>
                    <a:pt x="36" y="576"/>
                  </a:lnTo>
                  <a:lnTo>
                    <a:pt x="42" y="564"/>
                  </a:lnTo>
                  <a:lnTo>
                    <a:pt x="48" y="546"/>
                  </a:lnTo>
                  <a:lnTo>
                    <a:pt x="48" y="528"/>
                  </a:lnTo>
                  <a:lnTo>
                    <a:pt x="60" y="516"/>
                  </a:lnTo>
                  <a:lnTo>
                    <a:pt x="66" y="504"/>
                  </a:lnTo>
                  <a:lnTo>
                    <a:pt x="66" y="492"/>
                  </a:lnTo>
                  <a:lnTo>
                    <a:pt x="60" y="480"/>
                  </a:lnTo>
                  <a:lnTo>
                    <a:pt x="54" y="468"/>
                  </a:lnTo>
                  <a:lnTo>
                    <a:pt x="60" y="456"/>
                  </a:lnTo>
                  <a:lnTo>
                    <a:pt x="72" y="450"/>
                  </a:lnTo>
                  <a:lnTo>
                    <a:pt x="84" y="438"/>
                  </a:lnTo>
                  <a:lnTo>
                    <a:pt x="90" y="426"/>
                  </a:lnTo>
                  <a:lnTo>
                    <a:pt x="90" y="420"/>
                  </a:lnTo>
                  <a:lnTo>
                    <a:pt x="90" y="408"/>
                  </a:lnTo>
                  <a:lnTo>
                    <a:pt x="90" y="402"/>
                  </a:lnTo>
                  <a:lnTo>
                    <a:pt x="84" y="396"/>
                  </a:lnTo>
                  <a:lnTo>
                    <a:pt x="78" y="378"/>
                  </a:lnTo>
                  <a:lnTo>
                    <a:pt x="72" y="360"/>
                  </a:lnTo>
                  <a:lnTo>
                    <a:pt x="66" y="348"/>
                  </a:lnTo>
                  <a:lnTo>
                    <a:pt x="72" y="336"/>
                  </a:lnTo>
                  <a:lnTo>
                    <a:pt x="66" y="306"/>
                  </a:lnTo>
                  <a:lnTo>
                    <a:pt x="54" y="276"/>
                  </a:lnTo>
                  <a:lnTo>
                    <a:pt x="42" y="252"/>
                  </a:lnTo>
                  <a:lnTo>
                    <a:pt x="36" y="222"/>
                  </a:lnTo>
                  <a:lnTo>
                    <a:pt x="30" y="192"/>
                  </a:lnTo>
                  <a:lnTo>
                    <a:pt x="24" y="162"/>
                  </a:lnTo>
                  <a:lnTo>
                    <a:pt x="42" y="174"/>
                  </a:lnTo>
                  <a:lnTo>
                    <a:pt x="120" y="138"/>
                  </a:lnTo>
                  <a:lnTo>
                    <a:pt x="132" y="126"/>
                  </a:lnTo>
                  <a:lnTo>
                    <a:pt x="120" y="54"/>
                  </a:lnTo>
                  <a:lnTo>
                    <a:pt x="156" y="30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0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8" y="18"/>
                  </a:lnTo>
                  <a:lnTo>
                    <a:pt x="198" y="24"/>
                  </a:lnTo>
                  <a:lnTo>
                    <a:pt x="198" y="30"/>
                  </a:lnTo>
                  <a:lnTo>
                    <a:pt x="198" y="42"/>
                  </a:lnTo>
                  <a:lnTo>
                    <a:pt x="198" y="48"/>
                  </a:lnTo>
                  <a:lnTo>
                    <a:pt x="192" y="60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28" y="60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34" y="60"/>
                  </a:lnTo>
                  <a:lnTo>
                    <a:pt x="252" y="60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312" y="84"/>
                  </a:lnTo>
                  <a:lnTo>
                    <a:pt x="318" y="96"/>
                  </a:lnTo>
                  <a:lnTo>
                    <a:pt x="318" y="102"/>
                  </a:lnTo>
                  <a:lnTo>
                    <a:pt x="312" y="120"/>
                  </a:lnTo>
                  <a:lnTo>
                    <a:pt x="306" y="132"/>
                  </a:lnTo>
                  <a:lnTo>
                    <a:pt x="294" y="144"/>
                  </a:lnTo>
                  <a:lnTo>
                    <a:pt x="282" y="156"/>
                  </a:lnTo>
                  <a:lnTo>
                    <a:pt x="276" y="162"/>
                  </a:lnTo>
                  <a:lnTo>
                    <a:pt x="270" y="162"/>
                  </a:lnTo>
                  <a:lnTo>
                    <a:pt x="264" y="174"/>
                  </a:lnTo>
                  <a:lnTo>
                    <a:pt x="264" y="192"/>
                  </a:lnTo>
                  <a:lnTo>
                    <a:pt x="264" y="216"/>
                  </a:lnTo>
                  <a:lnTo>
                    <a:pt x="258" y="216"/>
                  </a:lnTo>
                  <a:lnTo>
                    <a:pt x="258" y="228"/>
                  </a:lnTo>
                  <a:lnTo>
                    <a:pt x="252" y="234"/>
                  </a:lnTo>
                  <a:lnTo>
                    <a:pt x="258" y="240"/>
                  </a:lnTo>
                  <a:lnTo>
                    <a:pt x="264" y="240"/>
                  </a:lnTo>
                  <a:lnTo>
                    <a:pt x="270" y="240"/>
                  </a:lnTo>
                  <a:lnTo>
                    <a:pt x="276" y="240"/>
                  </a:lnTo>
                  <a:lnTo>
                    <a:pt x="288" y="240"/>
                  </a:lnTo>
                  <a:lnTo>
                    <a:pt x="300" y="246"/>
                  </a:lnTo>
                  <a:lnTo>
                    <a:pt x="306" y="258"/>
                  </a:lnTo>
                  <a:lnTo>
                    <a:pt x="312" y="264"/>
                  </a:lnTo>
                  <a:lnTo>
                    <a:pt x="318" y="276"/>
                  </a:lnTo>
                  <a:lnTo>
                    <a:pt x="330" y="282"/>
                  </a:lnTo>
                  <a:lnTo>
                    <a:pt x="330" y="300"/>
                  </a:lnTo>
                  <a:lnTo>
                    <a:pt x="336" y="312"/>
                  </a:lnTo>
                  <a:lnTo>
                    <a:pt x="336" y="318"/>
                  </a:lnTo>
                  <a:lnTo>
                    <a:pt x="336" y="330"/>
                  </a:lnTo>
                  <a:lnTo>
                    <a:pt x="324" y="330"/>
                  </a:lnTo>
                  <a:lnTo>
                    <a:pt x="330" y="336"/>
                  </a:lnTo>
                  <a:lnTo>
                    <a:pt x="330" y="342"/>
                  </a:lnTo>
                  <a:lnTo>
                    <a:pt x="336" y="348"/>
                  </a:lnTo>
                  <a:lnTo>
                    <a:pt x="330" y="360"/>
                  </a:lnTo>
                  <a:lnTo>
                    <a:pt x="336" y="372"/>
                  </a:lnTo>
                  <a:lnTo>
                    <a:pt x="354" y="366"/>
                  </a:lnTo>
                  <a:lnTo>
                    <a:pt x="366" y="366"/>
                  </a:lnTo>
                  <a:lnTo>
                    <a:pt x="372" y="378"/>
                  </a:lnTo>
                  <a:lnTo>
                    <a:pt x="372" y="390"/>
                  </a:lnTo>
                  <a:lnTo>
                    <a:pt x="378" y="396"/>
                  </a:lnTo>
                  <a:lnTo>
                    <a:pt x="378" y="408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44"/>
                  </a:lnTo>
                  <a:lnTo>
                    <a:pt x="390" y="444"/>
                  </a:lnTo>
                  <a:lnTo>
                    <a:pt x="396" y="444"/>
                  </a:lnTo>
                  <a:lnTo>
                    <a:pt x="402" y="450"/>
                  </a:lnTo>
                  <a:lnTo>
                    <a:pt x="408" y="450"/>
                  </a:lnTo>
                  <a:lnTo>
                    <a:pt x="408" y="462"/>
                  </a:lnTo>
                  <a:lnTo>
                    <a:pt x="408" y="468"/>
                  </a:lnTo>
                  <a:lnTo>
                    <a:pt x="414" y="474"/>
                  </a:lnTo>
                  <a:lnTo>
                    <a:pt x="420" y="474"/>
                  </a:lnTo>
                  <a:lnTo>
                    <a:pt x="420" y="480"/>
                  </a:lnTo>
                  <a:lnTo>
                    <a:pt x="426" y="480"/>
                  </a:lnTo>
                  <a:lnTo>
                    <a:pt x="432" y="480"/>
                  </a:lnTo>
                  <a:lnTo>
                    <a:pt x="462" y="486"/>
                  </a:lnTo>
                  <a:lnTo>
                    <a:pt x="468" y="492"/>
                  </a:lnTo>
                  <a:lnTo>
                    <a:pt x="468" y="498"/>
                  </a:lnTo>
                  <a:lnTo>
                    <a:pt x="462" y="498"/>
                  </a:lnTo>
                  <a:lnTo>
                    <a:pt x="456" y="498"/>
                  </a:lnTo>
                  <a:lnTo>
                    <a:pt x="456" y="504"/>
                  </a:lnTo>
                  <a:lnTo>
                    <a:pt x="456" y="510"/>
                  </a:lnTo>
                  <a:lnTo>
                    <a:pt x="450" y="516"/>
                  </a:lnTo>
                  <a:lnTo>
                    <a:pt x="426" y="516"/>
                  </a:lnTo>
                  <a:lnTo>
                    <a:pt x="408" y="528"/>
                  </a:lnTo>
                  <a:lnTo>
                    <a:pt x="408" y="546"/>
                  </a:lnTo>
                  <a:lnTo>
                    <a:pt x="414" y="552"/>
                  </a:lnTo>
                  <a:lnTo>
                    <a:pt x="408" y="558"/>
                  </a:lnTo>
                  <a:lnTo>
                    <a:pt x="402" y="564"/>
                  </a:lnTo>
                  <a:lnTo>
                    <a:pt x="384" y="564"/>
                  </a:lnTo>
                  <a:lnTo>
                    <a:pt x="372" y="564"/>
                  </a:lnTo>
                  <a:lnTo>
                    <a:pt x="372" y="576"/>
                  </a:lnTo>
                  <a:lnTo>
                    <a:pt x="366" y="576"/>
                  </a:lnTo>
                  <a:lnTo>
                    <a:pt x="366" y="582"/>
                  </a:lnTo>
                  <a:lnTo>
                    <a:pt x="360" y="582"/>
                  </a:lnTo>
                  <a:lnTo>
                    <a:pt x="348" y="576"/>
                  </a:lnTo>
                  <a:lnTo>
                    <a:pt x="336" y="570"/>
                  </a:lnTo>
                  <a:lnTo>
                    <a:pt x="324" y="570"/>
                  </a:lnTo>
                  <a:lnTo>
                    <a:pt x="300" y="564"/>
                  </a:lnTo>
                  <a:lnTo>
                    <a:pt x="282" y="564"/>
                  </a:lnTo>
                  <a:lnTo>
                    <a:pt x="270" y="570"/>
                  </a:lnTo>
                  <a:lnTo>
                    <a:pt x="264" y="576"/>
                  </a:lnTo>
                  <a:lnTo>
                    <a:pt x="258" y="576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34" y="594"/>
                  </a:lnTo>
                  <a:lnTo>
                    <a:pt x="228" y="600"/>
                  </a:lnTo>
                  <a:lnTo>
                    <a:pt x="210" y="618"/>
                  </a:lnTo>
                  <a:lnTo>
                    <a:pt x="210" y="624"/>
                  </a:lnTo>
                  <a:lnTo>
                    <a:pt x="192" y="630"/>
                  </a:lnTo>
                  <a:lnTo>
                    <a:pt x="186" y="630"/>
                  </a:lnTo>
                  <a:lnTo>
                    <a:pt x="180" y="636"/>
                  </a:lnTo>
                  <a:lnTo>
                    <a:pt x="174" y="642"/>
                  </a:lnTo>
                  <a:lnTo>
                    <a:pt x="168" y="642"/>
                  </a:lnTo>
                  <a:lnTo>
                    <a:pt x="168" y="654"/>
                  </a:lnTo>
                  <a:lnTo>
                    <a:pt x="168" y="678"/>
                  </a:lnTo>
                  <a:lnTo>
                    <a:pt x="162" y="684"/>
                  </a:lnTo>
                  <a:lnTo>
                    <a:pt x="156" y="684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72"/>
                  </a:lnTo>
                  <a:lnTo>
                    <a:pt x="138" y="672"/>
                  </a:lnTo>
                  <a:lnTo>
                    <a:pt x="138" y="666"/>
                  </a:lnTo>
                  <a:lnTo>
                    <a:pt x="132" y="660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48"/>
                  </a:lnTo>
                  <a:lnTo>
                    <a:pt x="102" y="654"/>
                  </a:lnTo>
                  <a:lnTo>
                    <a:pt x="90" y="654"/>
                  </a:lnTo>
                  <a:lnTo>
                    <a:pt x="84" y="654"/>
                  </a:lnTo>
                  <a:lnTo>
                    <a:pt x="72" y="660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36" y="684"/>
                  </a:lnTo>
                  <a:lnTo>
                    <a:pt x="30" y="6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7" name="Freeform 22">
              <a:extLst>
                <a:ext uri="{FF2B5EF4-FFF2-40B4-BE49-F238E27FC236}">
                  <a16:creationId xmlns:a16="http://schemas.microsoft.com/office/drawing/2014/main" id="{2F7A477D-6CF8-44B3-8B32-64EE03DC4D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2895" y="3967106"/>
              <a:ext cx="610479" cy="507686"/>
            </a:xfrm>
            <a:custGeom>
              <a:avLst/>
              <a:gdLst>
                <a:gd name="T0" fmla="*/ 87 w 1146"/>
                <a:gd name="T1" fmla="*/ 56 h 954"/>
                <a:gd name="T2" fmla="*/ 83 w 1146"/>
                <a:gd name="T3" fmla="*/ 66 h 954"/>
                <a:gd name="T4" fmla="*/ 74 w 1146"/>
                <a:gd name="T5" fmla="*/ 69 h 954"/>
                <a:gd name="T6" fmla="*/ 67 w 1146"/>
                <a:gd name="T7" fmla="*/ 75 h 954"/>
                <a:gd name="T8" fmla="*/ 59 w 1146"/>
                <a:gd name="T9" fmla="*/ 78 h 954"/>
                <a:gd name="T10" fmla="*/ 52 w 1146"/>
                <a:gd name="T11" fmla="*/ 77 h 954"/>
                <a:gd name="T12" fmla="*/ 48 w 1146"/>
                <a:gd name="T13" fmla="*/ 79 h 954"/>
                <a:gd name="T14" fmla="*/ 41 w 1146"/>
                <a:gd name="T15" fmla="*/ 82 h 954"/>
                <a:gd name="T16" fmla="*/ 29 w 1146"/>
                <a:gd name="T17" fmla="*/ 78 h 954"/>
                <a:gd name="T18" fmla="*/ 28 w 1146"/>
                <a:gd name="T19" fmla="*/ 76 h 954"/>
                <a:gd name="T20" fmla="*/ 28 w 1146"/>
                <a:gd name="T21" fmla="*/ 72 h 954"/>
                <a:gd name="T22" fmla="*/ 28 w 1146"/>
                <a:gd name="T23" fmla="*/ 74 h 954"/>
                <a:gd name="T24" fmla="*/ 21 w 1146"/>
                <a:gd name="T25" fmla="*/ 74 h 954"/>
                <a:gd name="T26" fmla="*/ 20 w 1146"/>
                <a:gd name="T27" fmla="*/ 67 h 954"/>
                <a:gd name="T28" fmla="*/ 23 w 1146"/>
                <a:gd name="T29" fmla="*/ 64 h 954"/>
                <a:gd name="T30" fmla="*/ 28 w 1146"/>
                <a:gd name="T31" fmla="*/ 65 h 954"/>
                <a:gd name="T32" fmla="*/ 32 w 1146"/>
                <a:gd name="T33" fmla="*/ 62 h 954"/>
                <a:gd name="T34" fmla="*/ 31 w 1146"/>
                <a:gd name="T35" fmla="*/ 56 h 954"/>
                <a:gd name="T36" fmla="*/ 36 w 1146"/>
                <a:gd name="T37" fmla="*/ 54 h 954"/>
                <a:gd name="T38" fmla="*/ 38 w 1146"/>
                <a:gd name="T39" fmla="*/ 54 h 954"/>
                <a:gd name="T40" fmla="*/ 32 w 1146"/>
                <a:gd name="T41" fmla="*/ 54 h 954"/>
                <a:gd name="T42" fmla="*/ 29 w 1146"/>
                <a:gd name="T43" fmla="*/ 59 h 954"/>
                <a:gd name="T44" fmla="*/ 26 w 1146"/>
                <a:gd name="T45" fmla="*/ 59 h 954"/>
                <a:gd name="T46" fmla="*/ 25 w 1146"/>
                <a:gd name="T47" fmla="*/ 61 h 954"/>
                <a:gd name="T48" fmla="*/ 20 w 1146"/>
                <a:gd name="T49" fmla="*/ 61 h 954"/>
                <a:gd name="T50" fmla="*/ 11 w 1146"/>
                <a:gd name="T51" fmla="*/ 54 h 954"/>
                <a:gd name="T52" fmla="*/ 14 w 1146"/>
                <a:gd name="T53" fmla="*/ 50 h 954"/>
                <a:gd name="T54" fmla="*/ 21 w 1146"/>
                <a:gd name="T55" fmla="*/ 51 h 954"/>
                <a:gd name="T56" fmla="*/ 24 w 1146"/>
                <a:gd name="T57" fmla="*/ 50 h 954"/>
                <a:gd name="T58" fmla="*/ 28 w 1146"/>
                <a:gd name="T59" fmla="*/ 48 h 954"/>
                <a:gd name="T60" fmla="*/ 30 w 1146"/>
                <a:gd name="T61" fmla="*/ 49 h 954"/>
                <a:gd name="T62" fmla="*/ 26 w 1146"/>
                <a:gd name="T63" fmla="*/ 47 h 954"/>
                <a:gd name="T64" fmla="*/ 20 w 1146"/>
                <a:gd name="T65" fmla="*/ 50 h 954"/>
                <a:gd name="T66" fmla="*/ 20 w 1146"/>
                <a:gd name="T67" fmla="*/ 44 h 954"/>
                <a:gd name="T68" fmla="*/ 19 w 1146"/>
                <a:gd name="T69" fmla="*/ 46 h 954"/>
                <a:gd name="T70" fmla="*/ 15 w 1146"/>
                <a:gd name="T71" fmla="*/ 49 h 954"/>
                <a:gd name="T72" fmla="*/ 8 w 1146"/>
                <a:gd name="T73" fmla="*/ 48 h 954"/>
                <a:gd name="T74" fmla="*/ 6 w 1146"/>
                <a:gd name="T75" fmla="*/ 41 h 954"/>
                <a:gd name="T76" fmla="*/ 10 w 1146"/>
                <a:gd name="T77" fmla="*/ 41 h 954"/>
                <a:gd name="T78" fmla="*/ 9 w 1146"/>
                <a:gd name="T79" fmla="*/ 39 h 954"/>
                <a:gd name="T80" fmla="*/ 14 w 1146"/>
                <a:gd name="T81" fmla="*/ 35 h 954"/>
                <a:gd name="T82" fmla="*/ 19 w 1146"/>
                <a:gd name="T83" fmla="*/ 32 h 954"/>
                <a:gd name="T84" fmla="*/ 20 w 1146"/>
                <a:gd name="T85" fmla="*/ 29 h 954"/>
                <a:gd name="T86" fmla="*/ 27 w 1146"/>
                <a:gd name="T87" fmla="*/ 27 h 954"/>
                <a:gd name="T88" fmla="*/ 33 w 1146"/>
                <a:gd name="T89" fmla="*/ 28 h 954"/>
                <a:gd name="T90" fmla="*/ 44 w 1146"/>
                <a:gd name="T91" fmla="*/ 27 h 954"/>
                <a:gd name="T92" fmla="*/ 52 w 1146"/>
                <a:gd name="T93" fmla="*/ 41 h 954"/>
                <a:gd name="T94" fmla="*/ 61 w 1146"/>
                <a:gd name="T95" fmla="*/ 40 h 954"/>
                <a:gd name="T96" fmla="*/ 69 w 1146"/>
                <a:gd name="T97" fmla="*/ 34 h 954"/>
                <a:gd name="T98" fmla="*/ 62 w 1146"/>
                <a:gd name="T99" fmla="*/ 12 h 954"/>
                <a:gd name="T100" fmla="*/ 74 w 1146"/>
                <a:gd name="T101" fmla="*/ 8 h 954"/>
                <a:gd name="T102" fmla="*/ 87 w 1146"/>
                <a:gd name="T103" fmla="*/ 1 h 954"/>
                <a:gd name="T104" fmla="*/ 99 w 1146"/>
                <a:gd name="T105" fmla="*/ 12 h 954"/>
                <a:gd name="T106" fmla="*/ 98 w 1146"/>
                <a:gd name="T107" fmla="*/ 27 h 954"/>
                <a:gd name="T108" fmla="*/ 16 w 1146"/>
                <a:gd name="T109" fmla="*/ 33 h 954"/>
                <a:gd name="T110" fmla="*/ 11 w 1146"/>
                <a:gd name="T111" fmla="*/ 36 h 954"/>
                <a:gd name="T112" fmla="*/ 5 w 1146"/>
                <a:gd name="T113" fmla="*/ 41 h 954"/>
                <a:gd name="T114" fmla="*/ 2 w 1146"/>
                <a:gd name="T115" fmla="*/ 36 h 954"/>
                <a:gd name="T116" fmla="*/ 5 w 1146"/>
                <a:gd name="T117" fmla="*/ 26 h 954"/>
                <a:gd name="T118" fmla="*/ 10 w 1146"/>
                <a:gd name="T119" fmla="*/ 20 h 954"/>
                <a:gd name="T120" fmla="*/ 13 w 1146"/>
                <a:gd name="T121" fmla="*/ 20 h 954"/>
                <a:gd name="T122" fmla="*/ 15 w 1146"/>
                <a:gd name="T123" fmla="*/ 27 h 95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46"/>
                <a:gd name="T187" fmla="*/ 0 h 954"/>
                <a:gd name="T188" fmla="*/ 1146 w 1146"/>
                <a:gd name="T189" fmla="*/ 954 h 95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46" h="954">
                  <a:moveTo>
                    <a:pt x="1056" y="498"/>
                  </a:moveTo>
                  <a:lnTo>
                    <a:pt x="1044" y="510"/>
                  </a:lnTo>
                  <a:lnTo>
                    <a:pt x="1032" y="516"/>
                  </a:lnTo>
                  <a:lnTo>
                    <a:pt x="1038" y="528"/>
                  </a:lnTo>
                  <a:lnTo>
                    <a:pt x="1050" y="540"/>
                  </a:lnTo>
                  <a:lnTo>
                    <a:pt x="1050" y="546"/>
                  </a:lnTo>
                  <a:lnTo>
                    <a:pt x="1050" y="564"/>
                  </a:lnTo>
                  <a:lnTo>
                    <a:pt x="1038" y="576"/>
                  </a:lnTo>
                  <a:lnTo>
                    <a:pt x="1032" y="588"/>
                  </a:lnTo>
                  <a:lnTo>
                    <a:pt x="1020" y="594"/>
                  </a:lnTo>
                  <a:lnTo>
                    <a:pt x="1008" y="594"/>
                  </a:lnTo>
                  <a:lnTo>
                    <a:pt x="1002" y="600"/>
                  </a:lnTo>
                  <a:lnTo>
                    <a:pt x="996" y="612"/>
                  </a:lnTo>
                  <a:lnTo>
                    <a:pt x="996" y="624"/>
                  </a:lnTo>
                  <a:lnTo>
                    <a:pt x="996" y="648"/>
                  </a:lnTo>
                  <a:lnTo>
                    <a:pt x="996" y="660"/>
                  </a:lnTo>
                  <a:lnTo>
                    <a:pt x="1002" y="672"/>
                  </a:lnTo>
                  <a:lnTo>
                    <a:pt x="1002" y="684"/>
                  </a:lnTo>
                  <a:lnTo>
                    <a:pt x="996" y="684"/>
                  </a:lnTo>
                  <a:lnTo>
                    <a:pt x="984" y="690"/>
                  </a:lnTo>
                  <a:lnTo>
                    <a:pt x="972" y="690"/>
                  </a:lnTo>
                  <a:lnTo>
                    <a:pt x="966" y="696"/>
                  </a:lnTo>
                  <a:lnTo>
                    <a:pt x="966" y="702"/>
                  </a:lnTo>
                  <a:lnTo>
                    <a:pt x="966" y="714"/>
                  </a:lnTo>
                  <a:lnTo>
                    <a:pt x="972" y="726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2" y="756"/>
                  </a:lnTo>
                  <a:lnTo>
                    <a:pt x="966" y="756"/>
                  </a:lnTo>
                  <a:lnTo>
                    <a:pt x="942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18" y="768"/>
                  </a:lnTo>
                  <a:lnTo>
                    <a:pt x="906" y="768"/>
                  </a:lnTo>
                  <a:lnTo>
                    <a:pt x="894" y="762"/>
                  </a:lnTo>
                  <a:lnTo>
                    <a:pt x="882" y="756"/>
                  </a:lnTo>
                  <a:lnTo>
                    <a:pt x="876" y="756"/>
                  </a:lnTo>
                  <a:lnTo>
                    <a:pt x="876" y="762"/>
                  </a:lnTo>
                  <a:lnTo>
                    <a:pt x="864" y="768"/>
                  </a:lnTo>
                  <a:lnTo>
                    <a:pt x="858" y="774"/>
                  </a:lnTo>
                  <a:lnTo>
                    <a:pt x="852" y="774"/>
                  </a:lnTo>
                  <a:lnTo>
                    <a:pt x="840" y="780"/>
                  </a:lnTo>
                  <a:lnTo>
                    <a:pt x="840" y="786"/>
                  </a:lnTo>
                  <a:lnTo>
                    <a:pt x="840" y="792"/>
                  </a:lnTo>
                  <a:lnTo>
                    <a:pt x="840" y="804"/>
                  </a:lnTo>
                  <a:lnTo>
                    <a:pt x="840" y="810"/>
                  </a:lnTo>
                  <a:lnTo>
                    <a:pt x="828" y="816"/>
                  </a:lnTo>
                  <a:lnTo>
                    <a:pt x="810" y="810"/>
                  </a:lnTo>
                  <a:lnTo>
                    <a:pt x="792" y="810"/>
                  </a:lnTo>
                  <a:lnTo>
                    <a:pt x="786" y="816"/>
                  </a:lnTo>
                  <a:lnTo>
                    <a:pt x="780" y="816"/>
                  </a:lnTo>
                  <a:lnTo>
                    <a:pt x="780" y="822"/>
                  </a:lnTo>
                  <a:lnTo>
                    <a:pt x="780" y="828"/>
                  </a:lnTo>
                  <a:lnTo>
                    <a:pt x="780" y="834"/>
                  </a:lnTo>
                  <a:lnTo>
                    <a:pt x="786" y="840"/>
                  </a:lnTo>
                  <a:lnTo>
                    <a:pt x="786" y="846"/>
                  </a:lnTo>
                  <a:lnTo>
                    <a:pt x="786" y="852"/>
                  </a:lnTo>
                  <a:lnTo>
                    <a:pt x="780" y="858"/>
                  </a:lnTo>
                  <a:lnTo>
                    <a:pt x="768" y="858"/>
                  </a:lnTo>
                  <a:lnTo>
                    <a:pt x="762" y="864"/>
                  </a:lnTo>
                  <a:lnTo>
                    <a:pt x="756" y="864"/>
                  </a:lnTo>
                  <a:lnTo>
                    <a:pt x="750" y="870"/>
                  </a:lnTo>
                  <a:lnTo>
                    <a:pt x="744" y="876"/>
                  </a:lnTo>
                  <a:lnTo>
                    <a:pt x="732" y="876"/>
                  </a:lnTo>
                  <a:lnTo>
                    <a:pt x="726" y="876"/>
                  </a:lnTo>
                  <a:lnTo>
                    <a:pt x="720" y="870"/>
                  </a:lnTo>
                  <a:lnTo>
                    <a:pt x="714" y="864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6" y="876"/>
                  </a:lnTo>
                  <a:lnTo>
                    <a:pt x="696" y="882"/>
                  </a:lnTo>
                  <a:lnTo>
                    <a:pt x="696" y="894"/>
                  </a:lnTo>
                  <a:lnTo>
                    <a:pt x="690" y="900"/>
                  </a:lnTo>
                  <a:lnTo>
                    <a:pt x="684" y="900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54" y="888"/>
                  </a:lnTo>
                  <a:lnTo>
                    <a:pt x="654" y="882"/>
                  </a:lnTo>
                  <a:lnTo>
                    <a:pt x="642" y="876"/>
                  </a:lnTo>
                  <a:lnTo>
                    <a:pt x="636" y="876"/>
                  </a:lnTo>
                  <a:lnTo>
                    <a:pt x="630" y="876"/>
                  </a:lnTo>
                  <a:lnTo>
                    <a:pt x="630" y="870"/>
                  </a:lnTo>
                  <a:lnTo>
                    <a:pt x="618" y="858"/>
                  </a:lnTo>
                  <a:lnTo>
                    <a:pt x="612" y="858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06" y="876"/>
                  </a:lnTo>
                  <a:lnTo>
                    <a:pt x="606" y="882"/>
                  </a:lnTo>
                  <a:lnTo>
                    <a:pt x="606" y="888"/>
                  </a:lnTo>
                  <a:lnTo>
                    <a:pt x="600" y="894"/>
                  </a:lnTo>
                  <a:lnTo>
                    <a:pt x="594" y="894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76" y="894"/>
                  </a:lnTo>
                  <a:lnTo>
                    <a:pt x="582" y="900"/>
                  </a:lnTo>
                  <a:lnTo>
                    <a:pt x="576" y="906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64" y="918"/>
                  </a:lnTo>
                  <a:lnTo>
                    <a:pt x="558" y="918"/>
                  </a:lnTo>
                  <a:lnTo>
                    <a:pt x="558" y="912"/>
                  </a:lnTo>
                  <a:lnTo>
                    <a:pt x="552" y="906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06"/>
                  </a:lnTo>
                  <a:lnTo>
                    <a:pt x="534" y="906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0" y="924"/>
                  </a:lnTo>
                  <a:lnTo>
                    <a:pt x="504" y="924"/>
                  </a:lnTo>
                  <a:lnTo>
                    <a:pt x="498" y="930"/>
                  </a:lnTo>
                  <a:lnTo>
                    <a:pt x="492" y="924"/>
                  </a:lnTo>
                  <a:lnTo>
                    <a:pt x="486" y="930"/>
                  </a:lnTo>
                  <a:lnTo>
                    <a:pt x="480" y="942"/>
                  </a:lnTo>
                  <a:lnTo>
                    <a:pt x="468" y="948"/>
                  </a:lnTo>
                  <a:lnTo>
                    <a:pt x="444" y="942"/>
                  </a:lnTo>
                  <a:lnTo>
                    <a:pt x="438" y="954"/>
                  </a:lnTo>
                  <a:lnTo>
                    <a:pt x="426" y="954"/>
                  </a:lnTo>
                  <a:lnTo>
                    <a:pt x="420" y="948"/>
                  </a:lnTo>
                  <a:lnTo>
                    <a:pt x="408" y="936"/>
                  </a:lnTo>
                  <a:lnTo>
                    <a:pt x="396" y="936"/>
                  </a:lnTo>
                  <a:lnTo>
                    <a:pt x="390" y="930"/>
                  </a:lnTo>
                  <a:lnTo>
                    <a:pt x="390" y="924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66" y="924"/>
                  </a:lnTo>
                  <a:lnTo>
                    <a:pt x="360" y="924"/>
                  </a:lnTo>
                  <a:lnTo>
                    <a:pt x="348" y="918"/>
                  </a:lnTo>
                  <a:lnTo>
                    <a:pt x="342" y="906"/>
                  </a:lnTo>
                  <a:lnTo>
                    <a:pt x="336" y="906"/>
                  </a:lnTo>
                  <a:lnTo>
                    <a:pt x="330" y="906"/>
                  </a:lnTo>
                  <a:lnTo>
                    <a:pt x="312" y="906"/>
                  </a:lnTo>
                  <a:lnTo>
                    <a:pt x="312" y="900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888"/>
                  </a:lnTo>
                  <a:lnTo>
                    <a:pt x="312" y="882"/>
                  </a:lnTo>
                  <a:lnTo>
                    <a:pt x="306" y="876"/>
                  </a:lnTo>
                  <a:lnTo>
                    <a:pt x="312" y="876"/>
                  </a:lnTo>
                  <a:lnTo>
                    <a:pt x="312" y="870"/>
                  </a:lnTo>
                  <a:lnTo>
                    <a:pt x="318" y="876"/>
                  </a:lnTo>
                  <a:lnTo>
                    <a:pt x="318" y="870"/>
                  </a:lnTo>
                  <a:lnTo>
                    <a:pt x="324" y="876"/>
                  </a:lnTo>
                  <a:lnTo>
                    <a:pt x="330" y="876"/>
                  </a:lnTo>
                  <a:lnTo>
                    <a:pt x="336" y="876"/>
                  </a:lnTo>
                  <a:lnTo>
                    <a:pt x="342" y="876"/>
                  </a:lnTo>
                  <a:lnTo>
                    <a:pt x="336" y="876"/>
                  </a:lnTo>
                  <a:lnTo>
                    <a:pt x="330" y="870"/>
                  </a:lnTo>
                  <a:lnTo>
                    <a:pt x="324" y="870"/>
                  </a:lnTo>
                  <a:lnTo>
                    <a:pt x="318" y="870"/>
                  </a:lnTo>
                  <a:lnTo>
                    <a:pt x="312" y="870"/>
                  </a:lnTo>
                  <a:lnTo>
                    <a:pt x="318" y="864"/>
                  </a:lnTo>
                  <a:lnTo>
                    <a:pt x="318" y="858"/>
                  </a:lnTo>
                  <a:lnTo>
                    <a:pt x="318" y="852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6" y="846"/>
                  </a:lnTo>
                  <a:lnTo>
                    <a:pt x="312" y="828"/>
                  </a:lnTo>
                  <a:lnTo>
                    <a:pt x="312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06" y="816"/>
                  </a:lnTo>
                  <a:lnTo>
                    <a:pt x="306" y="810"/>
                  </a:lnTo>
                  <a:lnTo>
                    <a:pt x="306" y="816"/>
                  </a:lnTo>
                  <a:lnTo>
                    <a:pt x="312" y="822"/>
                  </a:lnTo>
                  <a:lnTo>
                    <a:pt x="306" y="822"/>
                  </a:lnTo>
                  <a:lnTo>
                    <a:pt x="306" y="828"/>
                  </a:lnTo>
                  <a:lnTo>
                    <a:pt x="306" y="834"/>
                  </a:lnTo>
                  <a:lnTo>
                    <a:pt x="300" y="840"/>
                  </a:lnTo>
                  <a:lnTo>
                    <a:pt x="300" y="846"/>
                  </a:lnTo>
                  <a:lnTo>
                    <a:pt x="306" y="852"/>
                  </a:lnTo>
                  <a:lnTo>
                    <a:pt x="306" y="858"/>
                  </a:lnTo>
                  <a:lnTo>
                    <a:pt x="312" y="858"/>
                  </a:lnTo>
                  <a:lnTo>
                    <a:pt x="312" y="864"/>
                  </a:lnTo>
                  <a:lnTo>
                    <a:pt x="306" y="864"/>
                  </a:lnTo>
                  <a:lnTo>
                    <a:pt x="300" y="864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82" y="870"/>
                  </a:lnTo>
                  <a:lnTo>
                    <a:pt x="276" y="870"/>
                  </a:lnTo>
                  <a:lnTo>
                    <a:pt x="270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8" y="870"/>
                  </a:lnTo>
                  <a:lnTo>
                    <a:pt x="252" y="870"/>
                  </a:lnTo>
                  <a:lnTo>
                    <a:pt x="252" y="864"/>
                  </a:lnTo>
                  <a:lnTo>
                    <a:pt x="246" y="858"/>
                  </a:lnTo>
                  <a:lnTo>
                    <a:pt x="246" y="852"/>
                  </a:lnTo>
                  <a:lnTo>
                    <a:pt x="246" y="846"/>
                  </a:lnTo>
                  <a:lnTo>
                    <a:pt x="246" y="840"/>
                  </a:lnTo>
                  <a:lnTo>
                    <a:pt x="246" y="834"/>
                  </a:lnTo>
                  <a:lnTo>
                    <a:pt x="246" y="828"/>
                  </a:lnTo>
                  <a:lnTo>
                    <a:pt x="246" y="822"/>
                  </a:lnTo>
                  <a:lnTo>
                    <a:pt x="240" y="816"/>
                  </a:lnTo>
                  <a:lnTo>
                    <a:pt x="240" y="810"/>
                  </a:lnTo>
                  <a:lnTo>
                    <a:pt x="240" y="804"/>
                  </a:lnTo>
                  <a:lnTo>
                    <a:pt x="240" y="798"/>
                  </a:lnTo>
                  <a:lnTo>
                    <a:pt x="234" y="798"/>
                  </a:lnTo>
                  <a:lnTo>
                    <a:pt x="234" y="792"/>
                  </a:lnTo>
                  <a:lnTo>
                    <a:pt x="234" y="786"/>
                  </a:lnTo>
                  <a:lnTo>
                    <a:pt x="234" y="780"/>
                  </a:lnTo>
                  <a:lnTo>
                    <a:pt x="228" y="780"/>
                  </a:lnTo>
                  <a:lnTo>
                    <a:pt x="228" y="774"/>
                  </a:lnTo>
                  <a:lnTo>
                    <a:pt x="228" y="768"/>
                  </a:lnTo>
                  <a:lnTo>
                    <a:pt x="222" y="762"/>
                  </a:lnTo>
                  <a:lnTo>
                    <a:pt x="222" y="756"/>
                  </a:lnTo>
                  <a:lnTo>
                    <a:pt x="222" y="750"/>
                  </a:lnTo>
                  <a:lnTo>
                    <a:pt x="222" y="744"/>
                  </a:lnTo>
                  <a:lnTo>
                    <a:pt x="222" y="738"/>
                  </a:lnTo>
                  <a:lnTo>
                    <a:pt x="216" y="732"/>
                  </a:lnTo>
                  <a:lnTo>
                    <a:pt x="222" y="732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32"/>
                  </a:lnTo>
                  <a:lnTo>
                    <a:pt x="246" y="732"/>
                  </a:lnTo>
                  <a:lnTo>
                    <a:pt x="246" y="738"/>
                  </a:lnTo>
                  <a:lnTo>
                    <a:pt x="252" y="738"/>
                  </a:lnTo>
                  <a:lnTo>
                    <a:pt x="258" y="738"/>
                  </a:lnTo>
                  <a:lnTo>
                    <a:pt x="258" y="732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8" y="732"/>
                  </a:lnTo>
                  <a:lnTo>
                    <a:pt x="294" y="732"/>
                  </a:lnTo>
                  <a:lnTo>
                    <a:pt x="300" y="732"/>
                  </a:lnTo>
                  <a:lnTo>
                    <a:pt x="300" y="738"/>
                  </a:lnTo>
                  <a:lnTo>
                    <a:pt x="306" y="738"/>
                  </a:lnTo>
                  <a:lnTo>
                    <a:pt x="306" y="744"/>
                  </a:lnTo>
                  <a:lnTo>
                    <a:pt x="306" y="750"/>
                  </a:lnTo>
                  <a:lnTo>
                    <a:pt x="312" y="750"/>
                  </a:lnTo>
                  <a:lnTo>
                    <a:pt x="312" y="756"/>
                  </a:lnTo>
                  <a:lnTo>
                    <a:pt x="318" y="756"/>
                  </a:lnTo>
                  <a:lnTo>
                    <a:pt x="318" y="750"/>
                  </a:lnTo>
                  <a:lnTo>
                    <a:pt x="312" y="750"/>
                  </a:lnTo>
                  <a:lnTo>
                    <a:pt x="312" y="744"/>
                  </a:lnTo>
                  <a:lnTo>
                    <a:pt x="318" y="738"/>
                  </a:lnTo>
                  <a:lnTo>
                    <a:pt x="324" y="738"/>
                  </a:lnTo>
                  <a:lnTo>
                    <a:pt x="330" y="738"/>
                  </a:lnTo>
                  <a:lnTo>
                    <a:pt x="336" y="738"/>
                  </a:lnTo>
                  <a:lnTo>
                    <a:pt x="342" y="738"/>
                  </a:lnTo>
                  <a:lnTo>
                    <a:pt x="348" y="732"/>
                  </a:lnTo>
                  <a:lnTo>
                    <a:pt x="354" y="732"/>
                  </a:lnTo>
                  <a:lnTo>
                    <a:pt x="360" y="732"/>
                  </a:lnTo>
                  <a:lnTo>
                    <a:pt x="360" y="726"/>
                  </a:lnTo>
                  <a:lnTo>
                    <a:pt x="366" y="726"/>
                  </a:lnTo>
                  <a:lnTo>
                    <a:pt x="366" y="720"/>
                  </a:lnTo>
                  <a:lnTo>
                    <a:pt x="366" y="714"/>
                  </a:lnTo>
                  <a:lnTo>
                    <a:pt x="360" y="708"/>
                  </a:lnTo>
                  <a:lnTo>
                    <a:pt x="354" y="708"/>
                  </a:lnTo>
                  <a:lnTo>
                    <a:pt x="348" y="702"/>
                  </a:lnTo>
                  <a:lnTo>
                    <a:pt x="354" y="702"/>
                  </a:lnTo>
                  <a:lnTo>
                    <a:pt x="354" y="696"/>
                  </a:lnTo>
                  <a:lnTo>
                    <a:pt x="348" y="696"/>
                  </a:lnTo>
                  <a:lnTo>
                    <a:pt x="348" y="690"/>
                  </a:lnTo>
                  <a:lnTo>
                    <a:pt x="342" y="690"/>
                  </a:lnTo>
                  <a:lnTo>
                    <a:pt x="342" y="684"/>
                  </a:lnTo>
                  <a:lnTo>
                    <a:pt x="342" y="678"/>
                  </a:lnTo>
                  <a:lnTo>
                    <a:pt x="342" y="666"/>
                  </a:lnTo>
                  <a:lnTo>
                    <a:pt x="342" y="660"/>
                  </a:lnTo>
                  <a:lnTo>
                    <a:pt x="348" y="654"/>
                  </a:lnTo>
                  <a:lnTo>
                    <a:pt x="348" y="642"/>
                  </a:lnTo>
                  <a:lnTo>
                    <a:pt x="354" y="642"/>
                  </a:lnTo>
                  <a:lnTo>
                    <a:pt x="360" y="642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66" y="642"/>
                  </a:lnTo>
                  <a:lnTo>
                    <a:pt x="372" y="642"/>
                  </a:lnTo>
                  <a:lnTo>
                    <a:pt x="378" y="642"/>
                  </a:lnTo>
                  <a:lnTo>
                    <a:pt x="384" y="642"/>
                  </a:lnTo>
                  <a:lnTo>
                    <a:pt x="390" y="642"/>
                  </a:lnTo>
                  <a:lnTo>
                    <a:pt x="396" y="642"/>
                  </a:lnTo>
                  <a:lnTo>
                    <a:pt x="396" y="636"/>
                  </a:lnTo>
                  <a:lnTo>
                    <a:pt x="402" y="636"/>
                  </a:lnTo>
                  <a:lnTo>
                    <a:pt x="408" y="636"/>
                  </a:lnTo>
                  <a:lnTo>
                    <a:pt x="402" y="636"/>
                  </a:lnTo>
                  <a:lnTo>
                    <a:pt x="402" y="630"/>
                  </a:lnTo>
                  <a:lnTo>
                    <a:pt x="408" y="630"/>
                  </a:lnTo>
                  <a:lnTo>
                    <a:pt x="408" y="624"/>
                  </a:lnTo>
                  <a:lnTo>
                    <a:pt x="408" y="618"/>
                  </a:lnTo>
                  <a:lnTo>
                    <a:pt x="414" y="618"/>
                  </a:lnTo>
                  <a:lnTo>
                    <a:pt x="420" y="618"/>
                  </a:lnTo>
                  <a:lnTo>
                    <a:pt x="426" y="624"/>
                  </a:lnTo>
                  <a:lnTo>
                    <a:pt x="432" y="624"/>
                  </a:lnTo>
                  <a:lnTo>
                    <a:pt x="438" y="624"/>
                  </a:lnTo>
                  <a:lnTo>
                    <a:pt x="438" y="618"/>
                  </a:lnTo>
                  <a:lnTo>
                    <a:pt x="444" y="618"/>
                  </a:lnTo>
                  <a:lnTo>
                    <a:pt x="450" y="618"/>
                  </a:lnTo>
                  <a:lnTo>
                    <a:pt x="444" y="618"/>
                  </a:lnTo>
                  <a:lnTo>
                    <a:pt x="438" y="618"/>
                  </a:lnTo>
                  <a:lnTo>
                    <a:pt x="438" y="612"/>
                  </a:lnTo>
                  <a:lnTo>
                    <a:pt x="438" y="618"/>
                  </a:lnTo>
                  <a:lnTo>
                    <a:pt x="432" y="624"/>
                  </a:lnTo>
                  <a:lnTo>
                    <a:pt x="426" y="618"/>
                  </a:lnTo>
                  <a:lnTo>
                    <a:pt x="420" y="612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402" y="624"/>
                  </a:lnTo>
                  <a:lnTo>
                    <a:pt x="396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78" y="630"/>
                  </a:lnTo>
                  <a:lnTo>
                    <a:pt x="378" y="636"/>
                  </a:lnTo>
                  <a:lnTo>
                    <a:pt x="372" y="630"/>
                  </a:lnTo>
                  <a:lnTo>
                    <a:pt x="366" y="630"/>
                  </a:lnTo>
                  <a:lnTo>
                    <a:pt x="360" y="630"/>
                  </a:lnTo>
                  <a:lnTo>
                    <a:pt x="354" y="630"/>
                  </a:lnTo>
                  <a:lnTo>
                    <a:pt x="354" y="636"/>
                  </a:lnTo>
                  <a:lnTo>
                    <a:pt x="348" y="636"/>
                  </a:lnTo>
                  <a:lnTo>
                    <a:pt x="348" y="642"/>
                  </a:lnTo>
                  <a:lnTo>
                    <a:pt x="342" y="642"/>
                  </a:lnTo>
                  <a:lnTo>
                    <a:pt x="342" y="648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6" y="660"/>
                  </a:lnTo>
                  <a:lnTo>
                    <a:pt x="336" y="666"/>
                  </a:lnTo>
                  <a:lnTo>
                    <a:pt x="330" y="672"/>
                  </a:lnTo>
                  <a:lnTo>
                    <a:pt x="330" y="678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24" y="696"/>
                  </a:lnTo>
                  <a:lnTo>
                    <a:pt x="324" y="702"/>
                  </a:lnTo>
                  <a:lnTo>
                    <a:pt x="318" y="702"/>
                  </a:lnTo>
                  <a:lnTo>
                    <a:pt x="318" y="708"/>
                  </a:lnTo>
                  <a:lnTo>
                    <a:pt x="312" y="708"/>
                  </a:lnTo>
                  <a:lnTo>
                    <a:pt x="312" y="702"/>
                  </a:lnTo>
                  <a:lnTo>
                    <a:pt x="306" y="702"/>
                  </a:lnTo>
                  <a:lnTo>
                    <a:pt x="300" y="702"/>
                  </a:lnTo>
                  <a:lnTo>
                    <a:pt x="294" y="696"/>
                  </a:lnTo>
                  <a:lnTo>
                    <a:pt x="288" y="696"/>
                  </a:lnTo>
                  <a:lnTo>
                    <a:pt x="282" y="690"/>
                  </a:lnTo>
                  <a:lnTo>
                    <a:pt x="288" y="684"/>
                  </a:lnTo>
                  <a:lnTo>
                    <a:pt x="294" y="684"/>
                  </a:lnTo>
                  <a:lnTo>
                    <a:pt x="294" y="678"/>
                  </a:lnTo>
                  <a:lnTo>
                    <a:pt x="300" y="678"/>
                  </a:lnTo>
                  <a:lnTo>
                    <a:pt x="294" y="678"/>
                  </a:lnTo>
                  <a:lnTo>
                    <a:pt x="294" y="672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94" y="672"/>
                  </a:lnTo>
                  <a:lnTo>
                    <a:pt x="288" y="678"/>
                  </a:lnTo>
                  <a:lnTo>
                    <a:pt x="282" y="684"/>
                  </a:lnTo>
                  <a:lnTo>
                    <a:pt x="282" y="678"/>
                  </a:lnTo>
                  <a:lnTo>
                    <a:pt x="276" y="678"/>
                  </a:lnTo>
                  <a:lnTo>
                    <a:pt x="282" y="684"/>
                  </a:lnTo>
                  <a:lnTo>
                    <a:pt x="282" y="690"/>
                  </a:lnTo>
                  <a:lnTo>
                    <a:pt x="282" y="696"/>
                  </a:lnTo>
                  <a:lnTo>
                    <a:pt x="288" y="702"/>
                  </a:lnTo>
                  <a:lnTo>
                    <a:pt x="294" y="708"/>
                  </a:lnTo>
                  <a:lnTo>
                    <a:pt x="294" y="714"/>
                  </a:lnTo>
                  <a:lnTo>
                    <a:pt x="288" y="714"/>
                  </a:lnTo>
                  <a:lnTo>
                    <a:pt x="282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64" y="714"/>
                  </a:lnTo>
                  <a:lnTo>
                    <a:pt x="258" y="714"/>
                  </a:lnTo>
                  <a:lnTo>
                    <a:pt x="252" y="714"/>
                  </a:lnTo>
                  <a:lnTo>
                    <a:pt x="246" y="714"/>
                  </a:lnTo>
                  <a:lnTo>
                    <a:pt x="240" y="714"/>
                  </a:lnTo>
                  <a:lnTo>
                    <a:pt x="240" y="708"/>
                  </a:lnTo>
                  <a:lnTo>
                    <a:pt x="234" y="708"/>
                  </a:lnTo>
                  <a:lnTo>
                    <a:pt x="228" y="708"/>
                  </a:lnTo>
                  <a:lnTo>
                    <a:pt x="222" y="702"/>
                  </a:lnTo>
                  <a:lnTo>
                    <a:pt x="216" y="702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2" y="690"/>
                  </a:lnTo>
                  <a:lnTo>
                    <a:pt x="186" y="690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68" y="684"/>
                  </a:lnTo>
                  <a:lnTo>
                    <a:pt x="168" y="678"/>
                  </a:lnTo>
                  <a:lnTo>
                    <a:pt x="156" y="672"/>
                  </a:lnTo>
                  <a:lnTo>
                    <a:pt x="150" y="660"/>
                  </a:lnTo>
                  <a:lnTo>
                    <a:pt x="126" y="630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12"/>
                  </a:lnTo>
                  <a:lnTo>
                    <a:pt x="126" y="606"/>
                  </a:lnTo>
                  <a:lnTo>
                    <a:pt x="126" y="600"/>
                  </a:lnTo>
                  <a:lnTo>
                    <a:pt x="132" y="594"/>
                  </a:lnTo>
                  <a:lnTo>
                    <a:pt x="138" y="594"/>
                  </a:lnTo>
                  <a:lnTo>
                    <a:pt x="144" y="588"/>
                  </a:lnTo>
                  <a:lnTo>
                    <a:pt x="144" y="582"/>
                  </a:lnTo>
                  <a:lnTo>
                    <a:pt x="150" y="582"/>
                  </a:lnTo>
                  <a:lnTo>
                    <a:pt x="150" y="576"/>
                  </a:lnTo>
                  <a:lnTo>
                    <a:pt x="156" y="576"/>
                  </a:lnTo>
                  <a:lnTo>
                    <a:pt x="156" y="582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8" y="576"/>
                  </a:lnTo>
                  <a:lnTo>
                    <a:pt x="174" y="576"/>
                  </a:lnTo>
                  <a:lnTo>
                    <a:pt x="180" y="582"/>
                  </a:lnTo>
                  <a:lnTo>
                    <a:pt x="192" y="582"/>
                  </a:lnTo>
                  <a:lnTo>
                    <a:pt x="198" y="582"/>
                  </a:lnTo>
                  <a:lnTo>
                    <a:pt x="204" y="582"/>
                  </a:lnTo>
                  <a:lnTo>
                    <a:pt x="210" y="582"/>
                  </a:lnTo>
                  <a:lnTo>
                    <a:pt x="216" y="588"/>
                  </a:lnTo>
                  <a:lnTo>
                    <a:pt x="222" y="588"/>
                  </a:lnTo>
                  <a:lnTo>
                    <a:pt x="234" y="588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46" y="594"/>
                  </a:lnTo>
                  <a:lnTo>
                    <a:pt x="252" y="588"/>
                  </a:lnTo>
                  <a:lnTo>
                    <a:pt x="258" y="588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52" y="600"/>
                  </a:lnTo>
                  <a:lnTo>
                    <a:pt x="246" y="600"/>
                  </a:lnTo>
                  <a:lnTo>
                    <a:pt x="246" y="606"/>
                  </a:lnTo>
                  <a:lnTo>
                    <a:pt x="246" y="600"/>
                  </a:lnTo>
                  <a:lnTo>
                    <a:pt x="252" y="600"/>
                  </a:lnTo>
                  <a:lnTo>
                    <a:pt x="258" y="594"/>
                  </a:lnTo>
                  <a:lnTo>
                    <a:pt x="264" y="594"/>
                  </a:lnTo>
                  <a:lnTo>
                    <a:pt x="264" y="588"/>
                  </a:lnTo>
                  <a:lnTo>
                    <a:pt x="270" y="588"/>
                  </a:lnTo>
                  <a:lnTo>
                    <a:pt x="270" y="582"/>
                  </a:lnTo>
                  <a:lnTo>
                    <a:pt x="270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76" y="564"/>
                  </a:lnTo>
                  <a:lnTo>
                    <a:pt x="270" y="558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58"/>
                  </a:lnTo>
                  <a:lnTo>
                    <a:pt x="282" y="558"/>
                  </a:lnTo>
                  <a:lnTo>
                    <a:pt x="288" y="558"/>
                  </a:lnTo>
                  <a:lnTo>
                    <a:pt x="294" y="558"/>
                  </a:lnTo>
                  <a:lnTo>
                    <a:pt x="300" y="558"/>
                  </a:lnTo>
                  <a:lnTo>
                    <a:pt x="306" y="558"/>
                  </a:lnTo>
                  <a:lnTo>
                    <a:pt x="312" y="558"/>
                  </a:lnTo>
                  <a:lnTo>
                    <a:pt x="318" y="558"/>
                  </a:lnTo>
                  <a:lnTo>
                    <a:pt x="318" y="564"/>
                  </a:lnTo>
                  <a:lnTo>
                    <a:pt x="324" y="564"/>
                  </a:lnTo>
                  <a:lnTo>
                    <a:pt x="324" y="570"/>
                  </a:lnTo>
                  <a:lnTo>
                    <a:pt x="330" y="570"/>
                  </a:lnTo>
                  <a:lnTo>
                    <a:pt x="336" y="570"/>
                  </a:lnTo>
                  <a:lnTo>
                    <a:pt x="342" y="570"/>
                  </a:lnTo>
                  <a:lnTo>
                    <a:pt x="348" y="570"/>
                  </a:lnTo>
                  <a:lnTo>
                    <a:pt x="354" y="570"/>
                  </a:lnTo>
                  <a:lnTo>
                    <a:pt x="360" y="570"/>
                  </a:lnTo>
                  <a:lnTo>
                    <a:pt x="366" y="570"/>
                  </a:lnTo>
                  <a:lnTo>
                    <a:pt x="360" y="570"/>
                  </a:lnTo>
                  <a:lnTo>
                    <a:pt x="360" y="564"/>
                  </a:lnTo>
                  <a:lnTo>
                    <a:pt x="354" y="564"/>
                  </a:lnTo>
                  <a:lnTo>
                    <a:pt x="348" y="564"/>
                  </a:lnTo>
                  <a:lnTo>
                    <a:pt x="342" y="564"/>
                  </a:lnTo>
                  <a:lnTo>
                    <a:pt x="342" y="570"/>
                  </a:lnTo>
                  <a:lnTo>
                    <a:pt x="336" y="564"/>
                  </a:lnTo>
                  <a:lnTo>
                    <a:pt x="336" y="570"/>
                  </a:lnTo>
                  <a:lnTo>
                    <a:pt x="336" y="564"/>
                  </a:lnTo>
                  <a:lnTo>
                    <a:pt x="330" y="564"/>
                  </a:lnTo>
                  <a:lnTo>
                    <a:pt x="324" y="558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18" y="558"/>
                  </a:lnTo>
                  <a:lnTo>
                    <a:pt x="312" y="552"/>
                  </a:lnTo>
                  <a:lnTo>
                    <a:pt x="312" y="558"/>
                  </a:lnTo>
                  <a:lnTo>
                    <a:pt x="312" y="552"/>
                  </a:lnTo>
                  <a:lnTo>
                    <a:pt x="306" y="552"/>
                  </a:lnTo>
                  <a:lnTo>
                    <a:pt x="300" y="546"/>
                  </a:lnTo>
                  <a:lnTo>
                    <a:pt x="294" y="546"/>
                  </a:lnTo>
                  <a:lnTo>
                    <a:pt x="288" y="546"/>
                  </a:lnTo>
                  <a:lnTo>
                    <a:pt x="282" y="546"/>
                  </a:lnTo>
                  <a:lnTo>
                    <a:pt x="276" y="546"/>
                  </a:lnTo>
                  <a:lnTo>
                    <a:pt x="276" y="552"/>
                  </a:lnTo>
                  <a:lnTo>
                    <a:pt x="270" y="552"/>
                  </a:lnTo>
                  <a:lnTo>
                    <a:pt x="270" y="558"/>
                  </a:lnTo>
                  <a:lnTo>
                    <a:pt x="270" y="564"/>
                  </a:lnTo>
                  <a:lnTo>
                    <a:pt x="264" y="570"/>
                  </a:lnTo>
                  <a:lnTo>
                    <a:pt x="258" y="576"/>
                  </a:lnTo>
                  <a:lnTo>
                    <a:pt x="258" y="582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34" y="576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16" y="552"/>
                  </a:lnTo>
                  <a:lnTo>
                    <a:pt x="216" y="546"/>
                  </a:lnTo>
                  <a:lnTo>
                    <a:pt x="216" y="540"/>
                  </a:lnTo>
                  <a:lnTo>
                    <a:pt x="222" y="534"/>
                  </a:lnTo>
                  <a:lnTo>
                    <a:pt x="222" y="528"/>
                  </a:lnTo>
                  <a:lnTo>
                    <a:pt x="228" y="522"/>
                  </a:lnTo>
                  <a:lnTo>
                    <a:pt x="228" y="516"/>
                  </a:lnTo>
                  <a:lnTo>
                    <a:pt x="228" y="510"/>
                  </a:lnTo>
                  <a:lnTo>
                    <a:pt x="234" y="510"/>
                  </a:lnTo>
                  <a:lnTo>
                    <a:pt x="240" y="516"/>
                  </a:lnTo>
                  <a:lnTo>
                    <a:pt x="246" y="522"/>
                  </a:lnTo>
                  <a:lnTo>
                    <a:pt x="246" y="516"/>
                  </a:lnTo>
                  <a:lnTo>
                    <a:pt x="240" y="516"/>
                  </a:lnTo>
                  <a:lnTo>
                    <a:pt x="240" y="510"/>
                  </a:lnTo>
                  <a:lnTo>
                    <a:pt x="234" y="510"/>
                  </a:lnTo>
                  <a:lnTo>
                    <a:pt x="234" y="504"/>
                  </a:lnTo>
                  <a:lnTo>
                    <a:pt x="228" y="504"/>
                  </a:lnTo>
                  <a:lnTo>
                    <a:pt x="222" y="504"/>
                  </a:lnTo>
                  <a:lnTo>
                    <a:pt x="222" y="498"/>
                  </a:lnTo>
                  <a:lnTo>
                    <a:pt x="222" y="504"/>
                  </a:lnTo>
                  <a:lnTo>
                    <a:pt x="222" y="510"/>
                  </a:lnTo>
                  <a:lnTo>
                    <a:pt x="222" y="516"/>
                  </a:lnTo>
                  <a:lnTo>
                    <a:pt x="216" y="522"/>
                  </a:lnTo>
                  <a:lnTo>
                    <a:pt x="216" y="528"/>
                  </a:lnTo>
                  <a:lnTo>
                    <a:pt x="210" y="528"/>
                  </a:lnTo>
                  <a:lnTo>
                    <a:pt x="216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04" y="546"/>
                  </a:lnTo>
                  <a:lnTo>
                    <a:pt x="204" y="552"/>
                  </a:lnTo>
                  <a:lnTo>
                    <a:pt x="204" y="558"/>
                  </a:lnTo>
                  <a:lnTo>
                    <a:pt x="204" y="564"/>
                  </a:lnTo>
                  <a:lnTo>
                    <a:pt x="198" y="570"/>
                  </a:lnTo>
                  <a:lnTo>
                    <a:pt x="192" y="564"/>
                  </a:lnTo>
                  <a:lnTo>
                    <a:pt x="186" y="564"/>
                  </a:lnTo>
                  <a:lnTo>
                    <a:pt x="180" y="564"/>
                  </a:lnTo>
                  <a:lnTo>
                    <a:pt x="174" y="564"/>
                  </a:lnTo>
                  <a:lnTo>
                    <a:pt x="168" y="564"/>
                  </a:lnTo>
                  <a:lnTo>
                    <a:pt x="162" y="564"/>
                  </a:lnTo>
                  <a:lnTo>
                    <a:pt x="156" y="570"/>
                  </a:lnTo>
                  <a:lnTo>
                    <a:pt x="150" y="570"/>
                  </a:lnTo>
                  <a:lnTo>
                    <a:pt x="150" y="564"/>
                  </a:lnTo>
                  <a:lnTo>
                    <a:pt x="150" y="570"/>
                  </a:lnTo>
                  <a:lnTo>
                    <a:pt x="150" y="576"/>
                  </a:lnTo>
                  <a:lnTo>
                    <a:pt x="144" y="576"/>
                  </a:lnTo>
                  <a:lnTo>
                    <a:pt x="138" y="576"/>
                  </a:lnTo>
                  <a:lnTo>
                    <a:pt x="132" y="582"/>
                  </a:lnTo>
                  <a:lnTo>
                    <a:pt x="126" y="582"/>
                  </a:lnTo>
                  <a:lnTo>
                    <a:pt x="120" y="582"/>
                  </a:lnTo>
                  <a:lnTo>
                    <a:pt x="114" y="576"/>
                  </a:lnTo>
                  <a:lnTo>
                    <a:pt x="108" y="564"/>
                  </a:lnTo>
                  <a:lnTo>
                    <a:pt x="102" y="558"/>
                  </a:lnTo>
                  <a:lnTo>
                    <a:pt x="96" y="552"/>
                  </a:lnTo>
                  <a:lnTo>
                    <a:pt x="90" y="546"/>
                  </a:lnTo>
                  <a:lnTo>
                    <a:pt x="90" y="540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2"/>
                  </a:lnTo>
                  <a:lnTo>
                    <a:pt x="78" y="516"/>
                  </a:lnTo>
                  <a:lnTo>
                    <a:pt x="72" y="510"/>
                  </a:lnTo>
                  <a:lnTo>
                    <a:pt x="66" y="504"/>
                  </a:lnTo>
                  <a:lnTo>
                    <a:pt x="66" y="498"/>
                  </a:lnTo>
                  <a:lnTo>
                    <a:pt x="66" y="492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6" y="474"/>
                  </a:lnTo>
                  <a:lnTo>
                    <a:pt x="72" y="474"/>
                  </a:lnTo>
                  <a:lnTo>
                    <a:pt x="72" y="468"/>
                  </a:lnTo>
                  <a:lnTo>
                    <a:pt x="78" y="462"/>
                  </a:lnTo>
                  <a:lnTo>
                    <a:pt x="78" y="456"/>
                  </a:lnTo>
                  <a:lnTo>
                    <a:pt x="84" y="456"/>
                  </a:lnTo>
                  <a:lnTo>
                    <a:pt x="84" y="450"/>
                  </a:lnTo>
                  <a:lnTo>
                    <a:pt x="84" y="444"/>
                  </a:lnTo>
                  <a:lnTo>
                    <a:pt x="90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02" y="450"/>
                  </a:lnTo>
                  <a:lnTo>
                    <a:pt x="108" y="450"/>
                  </a:lnTo>
                  <a:lnTo>
                    <a:pt x="108" y="456"/>
                  </a:lnTo>
                  <a:lnTo>
                    <a:pt x="108" y="462"/>
                  </a:lnTo>
                  <a:lnTo>
                    <a:pt x="114" y="462"/>
                  </a:lnTo>
                  <a:lnTo>
                    <a:pt x="114" y="468"/>
                  </a:lnTo>
                  <a:lnTo>
                    <a:pt x="114" y="474"/>
                  </a:lnTo>
                  <a:lnTo>
                    <a:pt x="114" y="480"/>
                  </a:lnTo>
                  <a:lnTo>
                    <a:pt x="114" y="486"/>
                  </a:lnTo>
                  <a:lnTo>
                    <a:pt x="120" y="486"/>
                  </a:lnTo>
                  <a:lnTo>
                    <a:pt x="126" y="486"/>
                  </a:lnTo>
                  <a:lnTo>
                    <a:pt x="132" y="486"/>
                  </a:lnTo>
                  <a:lnTo>
                    <a:pt x="126" y="480"/>
                  </a:lnTo>
                  <a:lnTo>
                    <a:pt x="120" y="480"/>
                  </a:lnTo>
                  <a:lnTo>
                    <a:pt x="114" y="480"/>
                  </a:lnTo>
                  <a:lnTo>
                    <a:pt x="120" y="480"/>
                  </a:lnTo>
                  <a:lnTo>
                    <a:pt x="120" y="474"/>
                  </a:lnTo>
                  <a:lnTo>
                    <a:pt x="120" y="468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108" y="450"/>
                  </a:lnTo>
                  <a:lnTo>
                    <a:pt x="108" y="444"/>
                  </a:lnTo>
                  <a:lnTo>
                    <a:pt x="114" y="438"/>
                  </a:lnTo>
                  <a:lnTo>
                    <a:pt x="120" y="438"/>
                  </a:lnTo>
                  <a:lnTo>
                    <a:pt x="120" y="432"/>
                  </a:lnTo>
                  <a:lnTo>
                    <a:pt x="132" y="426"/>
                  </a:lnTo>
                  <a:lnTo>
                    <a:pt x="138" y="420"/>
                  </a:lnTo>
                  <a:lnTo>
                    <a:pt x="144" y="420"/>
                  </a:lnTo>
                  <a:lnTo>
                    <a:pt x="144" y="414"/>
                  </a:lnTo>
                  <a:lnTo>
                    <a:pt x="144" y="420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6" y="414"/>
                  </a:lnTo>
                  <a:lnTo>
                    <a:pt x="162" y="414"/>
                  </a:lnTo>
                  <a:lnTo>
                    <a:pt x="162" y="408"/>
                  </a:lnTo>
                  <a:lnTo>
                    <a:pt x="168" y="408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86" y="396"/>
                  </a:lnTo>
                  <a:lnTo>
                    <a:pt x="186" y="390"/>
                  </a:lnTo>
                  <a:lnTo>
                    <a:pt x="192" y="390"/>
                  </a:lnTo>
                  <a:lnTo>
                    <a:pt x="198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210" y="378"/>
                  </a:lnTo>
                  <a:lnTo>
                    <a:pt x="210" y="372"/>
                  </a:lnTo>
                  <a:lnTo>
                    <a:pt x="216" y="372"/>
                  </a:lnTo>
                  <a:lnTo>
                    <a:pt x="222" y="366"/>
                  </a:lnTo>
                  <a:lnTo>
                    <a:pt x="228" y="360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6" y="348"/>
                  </a:lnTo>
                  <a:lnTo>
                    <a:pt x="252" y="348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0" y="342"/>
                  </a:lnTo>
                  <a:lnTo>
                    <a:pt x="234" y="342"/>
                  </a:lnTo>
                  <a:lnTo>
                    <a:pt x="228" y="336"/>
                  </a:lnTo>
                  <a:lnTo>
                    <a:pt x="222" y="336"/>
                  </a:lnTo>
                  <a:lnTo>
                    <a:pt x="216" y="336"/>
                  </a:lnTo>
                  <a:lnTo>
                    <a:pt x="222" y="324"/>
                  </a:lnTo>
                  <a:lnTo>
                    <a:pt x="222" y="318"/>
                  </a:lnTo>
                  <a:lnTo>
                    <a:pt x="222" y="312"/>
                  </a:lnTo>
                  <a:lnTo>
                    <a:pt x="234" y="318"/>
                  </a:lnTo>
                  <a:lnTo>
                    <a:pt x="246" y="318"/>
                  </a:lnTo>
                  <a:lnTo>
                    <a:pt x="258" y="318"/>
                  </a:lnTo>
                  <a:lnTo>
                    <a:pt x="270" y="312"/>
                  </a:lnTo>
                  <a:lnTo>
                    <a:pt x="276" y="312"/>
                  </a:lnTo>
                  <a:lnTo>
                    <a:pt x="288" y="324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94" y="306"/>
                  </a:lnTo>
                  <a:lnTo>
                    <a:pt x="300" y="300"/>
                  </a:lnTo>
                  <a:lnTo>
                    <a:pt x="306" y="306"/>
                  </a:lnTo>
                  <a:lnTo>
                    <a:pt x="312" y="318"/>
                  </a:lnTo>
                  <a:lnTo>
                    <a:pt x="318" y="312"/>
                  </a:lnTo>
                  <a:lnTo>
                    <a:pt x="324" y="312"/>
                  </a:lnTo>
                  <a:lnTo>
                    <a:pt x="330" y="312"/>
                  </a:lnTo>
                  <a:lnTo>
                    <a:pt x="342" y="306"/>
                  </a:lnTo>
                  <a:lnTo>
                    <a:pt x="348" y="306"/>
                  </a:lnTo>
                  <a:lnTo>
                    <a:pt x="348" y="312"/>
                  </a:lnTo>
                  <a:lnTo>
                    <a:pt x="348" y="318"/>
                  </a:lnTo>
                  <a:lnTo>
                    <a:pt x="354" y="318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60" y="336"/>
                  </a:lnTo>
                  <a:lnTo>
                    <a:pt x="366" y="330"/>
                  </a:lnTo>
                  <a:lnTo>
                    <a:pt x="378" y="324"/>
                  </a:lnTo>
                  <a:lnTo>
                    <a:pt x="384" y="324"/>
                  </a:lnTo>
                  <a:lnTo>
                    <a:pt x="384" y="318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6"/>
                  </a:lnTo>
                  <a:lnTo>
                    <a:pt x="402" y="306"/>
                  </a:lnTo>
                  <a:lnTo>
                    <a:pt x="408" y="306"/>
                  </a:lnTo>
                  <a:lnTo>
                    <a:pt x="414" y="300"/>
                  </a:lnTo>
                  <a:lnTo>
                    <a:pt x="420" y="300"/>
                  </a:lnTo>
                  <a:lnTo>
                    <a:pt x="426" y="300"/>
                  </a:lnTo>
                  <a:lnTo>
                    <a:pt x="432" y="300"/>
                  </a:lnTo>
                  <a:lnTo>
                    <a:pt x="444" y="288"/>
                  </a:lnTo>
                  <a:lnTo>
                    <a:pt x="450" y="294"/>
                  </a:lnTo>
                  <a:lnTo>
                    <a:pt x="468" y="300"/>
                  </a:lnTo>
                  <a:lnTo>
                    <a:pt x="498" y="312"/>
                  </a:lnTo>
                  <a:lnTo>
                    <a:pt x="504" y="324"/>
                  </a:lnTo>
                  <a:lnTo>
                    <a:pt x="516" y="330"/>
                  </a:lnTo>
                  <a:lnTo>
                    <a:pt x="516" y="336"/>
                  </a:lnTo>
                  <a:lnTo>
                    <a:pt x="540" y="342"/>
                  </a:lnTo>
                  <a:lnTo>
                    <a:pt x="558" y="372"/>
                  </a:lnTo>
                  <a:lnTo>
                    <a:pt x="594" y="384"/>
                  </a:lnTo>
                  <a:lnTo>
                    <a:pt x="606" y="402"/>
                  </a:lnTo>
                  <a:lnTo>
                    <a:pt x="600" y="420"/>
                  </a:lnTo>
                  <a:lnTo>
                    <a:pt x="588" y="444"/>
                  </a:lnTo>
                  <a:lnTo>
                    <a:pt x="588" y="450"/>
                  </a:lnTo>
                  <a:lnTo>
                    <a:pt x="588" y="456"/>
                  </a:lnTo>
                  <a:lnTo>
                    <a:pt x="594" y="456"/>
                  </a:lnTo>
                  <a:lnTo>
                    <a:pt x="594" y="462"/>
                  </a:lnTo>
                  <a:lnTo>
                    <a:pt x="594" y="468"/>
                  </a:lnTo>
                  <a:lnTo>
                    <a:pt x="594" y="474"/>
                  </a:lnTo>
                  <a:lnTo>
                    <a:pt x="600" y="474"/>
                  </a:lnTo>
                  <a:lnTo>
                    <a:pt x="606" y="480"/>
                  </a:lnTo>
                  <a:lnTo>
                    <a:pt x="606" y="486"/>
                  </a:lnTo>
                  <a:lnTo>
                    <a:pt x="612" y="486"/>
                  </a:lnTo>
                  <a:lnTo>
                    <a:pt x="618" y="486"/>
                  </a:lnTo>
                  <a:lnTo>
                    <a:pt x="624" y="486"/>
                  </a:lnTo>
                  <a:lnTo>
                    <a:pt x="636" y="486"/>
                  </a:lnTo>
                  <a:lnTo>
                    <a:pt x="642" y="486"/>
                  </a:lnTo>
                  <a:lnTo>
                    <a:pt x="648" y="480"/>
                  </a:lnTo>
                  <a:lnTo>
                    <a:pt x="654" y="474"/>
                  </a:lnTo>
                  <a:lnTo>
                    <a:pt x="660" y="468"/>
                  </a:lnTo>
                  <a:lnTo>
                    <a:pt x="666" y="468"/>
                  </a:lnTo>
                  <a:lnTo>
                    <a:pt x="684" y="468"/>
                  </a:lnTo>
                  <a:lnTo>
                    <a:pt x="696" y="468"/>
                  </a:lnTo>
                  <a:lnTo>
                    <a:pt x="696" y="462"/>
                  </a:lnTo>
                  <a:lnTo>
                    <a:pt x="702" y="456"/>
                  </a:lnTo>
                  <a:lnTo>
                    <a:pt x="708" y="450"/>
                  </a:lnTo>
                  <a:lnTo>
                    <a:pt x="714" y="450"/>
                  </a:lnTo>
                  <a:lnTo>
                    <a:pt x="720" y="450"/>
                  </a:lnTo>
                  <a:lnTo>
                    <a:pt x="720" y="438"/>
                  </a:lnTo>
                  <a:lnTo>
                    <a:pt x="726" y="432"/>
                  </a:lnTo>
                  <a:lnTo>
                    <a:pt x="738" y="420"/>
                  </a:lnTo>
                  <a:lnTo>
                    <a:pt x="744" y="420"/>
                  </a:lnTo>
                  <a:lnTo>
                    <a:pt x="750" y="414"/>
                  </a:lnTo>
                  <a:lnTo>
                    <a:pt x="762" y="408"/>
                  </a:lnTo>
                  <a:lnTo>
                    <a:pt x="768" y="408"/>
                  </a:lnTo>
                  <a:lnTo>
                    <a:pt x="768" y="402"/>
                  </a:lnTo>
                  <a:lnTo>
                    <a:pt x="780" y="396"/>
                  </a:lnTo>
                  <a:lnTo>
                    <a:pt x="786" y="396"/>
                  </a:lnTo>
                  <a:lnTo>
                    <a:pt x="786" y="390"/>
                  </a:lnTo>
                  <a:lnTo>
                    <a:pt x="792" y="384"/>
                  </a:lnTo>
                  <a:lnTo>
                    <a:pt x="792" y="378"/>
                  </a:lnTo>
                  <a:lnTo>
                    <a:pt x="798" y="366"/>
                  </a:lnTo>
                  <a:lnTo>
                    <a:pt x="804" y="360"/>
                  </a:lnTo>
                  <a:lnTo>
                    <a:pt x="816" y="342"/>
                  </a:lnTo>
                  <a:lnTo>
                    <a:pt x="816" y="312"/>
                  </a:lnTo>
                  <a:lnTo>
                    <a:pt x="804" y="300"/>
                  </a:lnTo>
                  <a:lnTo>
                    <a:pt x="798" y="288"/>
                  </a:lnTo>
                  <a:lnTo>
                    <a:pt x="762" y="264"/>
                  </a:lnTo>
                  <a:lnTo>
                    <a:pt x="738" y="234"/>
                  </a:lnTo>
                  <a:lnTo>
                    <a:pt x="738" y="222"/>
                  </a:lnTo>
                  <a:lnTo>
                    <a:pt x="744" y="210"/>
                  </a:lnTo>
                  <a:lnTo>
                    <a:pt x="732" y="174"/>
                  </a:lnTo>
                  <a:lnTo>
                    <a:pt x="714" y="156"/>
                  </a:lnTo>
                  <a:lnTo>
                    <a:pt x="708" y="144"/>
                  </a:lnTo>
                  <a:lnTo>
                    <a:pt x="714" y="126"/>
                  </a:lnTo>
                  <a:lnTo>
                    <a:pt x="720" y="114"/>
                  </a:lnTo>
                  <a:lnTo>
                    <a:pt x="732" y="102"/>
                  </a:lnTo>
                  <a:lnTo>
                    <a:pt x="744" y="102"/>
                  </a:lnTo>
                  <a:lnTo>
                    <a:pt x="762" y="108"/>
                  </a:lnTo>
                  <a:lnTo>
                    <a:pt x="774" y="114"/>
                  </a:lnTo>
                  <a:lnTo>
                    <a:pt x="780" y="138"/>
                  </a:lnTo>
                  <a:lnTo>
                    <a:pt x="786" y="144"/>
                  </a:lnTo>
                  <a:lnTo>
                    <a:pt x="798" y="138"/>
                  </a:lnTo>
                  <a:lnTo>
                    <a:pt x="804" y="132"/>
                  </a:lnTo>
                  <a:lnTo>
                    <a:pt x="816" y="120"/>
                  </a:lnTo>
                  <a:lnTo>
                    <a:pt x="816" y="108"/>
                  </a:lnTo>
                  <a:lnTo>
                    <a:pt x="828" y="102"/>
                  </a:lnTo>
                  <a:lnTo>
                    <a:pt x="828" y="96"/>
                  </a:lnTo>
                  <a:lnTo>
                    <a:pt x="840" y="96"/>
                  </a:lnTo>
                  <a:lnTo>
                    <a:pt x="840" y="84"/>
                  </a:lnTo>
                  <a:lnTo>
                    <a:pt x="852" y="90"/>
                  </a:lnTo>
                  <a:lnTo>
                    <a:pt x="852" y="96"/>
                  </a:lnTo>
                  <a:lnTo>
                    <a:pt x="870" y="90"/>
                  </a:lnTo>
                  <a:lnTo>
                    <a:pt x="894" y="78"/>
                  </a:lnTo>
                  <a:lnTo>
                    <a:pt x="912" y="78"/>
                  </a:lnTo>
                  <a:lnTo>
                    <a:pt x="942" y="66"/>
                  </a:lnTo>
                  <a:lnTo>
                    <a:pt x="942" y="60"/>
                  </a:lnTo>
                  <a:lnTo>
                    <a:pt x="954" y="48"/>
                  </a:lnTo>
                  <a:lnTo>
                    <a:pt x="966" y="30"/>
                  </a:lnTo>
                  <a:lnTo>
                    <a:pt x="978" y="30"/>
                  </a:lnTo>
                  <a:lnTo>
                    <a:pt x="978" y="24"/>
                  </a:lnTo>
                  <a:lnTo>
                    <a:pt x="984" y="12"/>
                  </a:lnTo>
                  <a:lnTo>
                    <a:pt x="990" y="12"/>
                  </a:lnTo>
                  <a:lnTo>
                    <a:pt x="996" y="12"/>
                  </a:lnTo>
                  <a:lnTo>
                    <a:pt x="1014" y="6"/>
                  </a:lnTo>
                  <a:lnTo>
                    <a:pt x="1026" y="6"/>
                  </a:lnTo>
                  <a:lnTo>
                    <a:pt x="1044" y="6"/>
                  </a:lnTo>
                  <a:lnTo>
                    <a:pt x="1050" y="6"/>
                  </a:lnTo>
                  <a:lnTo>
                    <a:pt x="1056" y="6"/>
                  </a:lnTo>
                  <a:lnTo>
                    <a:pt x="1062" y="6"/>
                  </a:lnTo>
                  <a:lnTo>
                    <a:pt x="1068" y="6"/>
                  </a:lnTo>
                  <a:lnTo>
                    <a:pt x="1074" y="6"/>
                  </a:lnTo>
                  <a:lnTo>
                    <a:pt x="1080" y="6"/>
                  </a:lnTo>
                  <a:lnTo>
                    <a:pt x="1086" y="0"/>
                  </a:lnTo>
                  <a:lnTo>
                    <a:pt x="1092" y="30"/>
                  </a:lnTo>
                  <a:lnTo>
                    <a:pt x="1098" y="60"/>
                  </a:lnTo>
                  <a:lnTo>
                    <a:pt x="1110" y="84"/>
                  </a:lnTo>
                  <a:lnTo>
                    <a:pt x="1122" y="114"/>
                  </a:lnTo>
                  <a:lnTo>
                    <a:pt x="1128" y="144"/>
                  </a:lnTo>
                  <a:lnTo>
                    <a:pt x="1122" y="156"/>
                  </a:lnTo>
                  <a:lnTo>
                    <a:pt x="1128" y="168"/>
                  </a:lnTo>
                  <a:lnTo>
                    <a:pt x="1134" y="186"/>
                  </a:lnTo>
                  <a:lnTo>
                    <a:pt x="1140" y="204"/>
                  </a:lnTo>
                  <a:lnTo>
                    <a:pt x="1146" y="210"/>
                  </a:lnTo>
                  <a:lnTo>
                    <a:pt x="1146" y="216"/>
                  </a:lnTo>
                  <a:lnTo>
                    <a:pt x="1146" y="228"/>
                  </a:lnTo>
                  <a:lnTo>
                    <a:pt x="1146" y="234"/>
                  </a:lnTo>
                  <a:lnTo>
                    <a:pt x="1140" y="246"/>
                  </a:lnTo>
                  <a:lnTo>
                    <a:pt x="1128" y="258"/>
                  </a:lnTo>
                  <a:lnTo>
                    <a:pt x="1116" y="264"/>
                  </a:lnTo>
                  <a:lnTo>
                    <a:pt x="1110" y="276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2" y="312"/>
                  </a:lnTo>
                  <a:lnTo>
                    <a:pt x="1116" y="324"/>
                  </a:lnTo>
                  <a:lnTo>
                    <a:pt x="1104" y="336"/>
                  </a:lnTo>
                  <a:lnTo>
                    <a:pt x="1104" y="354"/>
                  </a:lnTo>
                  <a:lnTo>
                    <a:pt x="1098" y="372"/>
                  </a:lnTo>
                  <a:lnTo>
                    <a:pt x="1092" y="384"/>
                  </a:lnTo>
                  <a:lnTo>
                    <a:pt x="1086" y="390"/>
                  </a:lnTo>
                  <a:lnTo>
                    <a:pt x="1086" y="402"/>
                  </a:lnTo>
                  <a:lnTo>
                    <a:pt x="1080" y="414"/>
                  </a:lnTo>
                  <a:lnTo>
                    <a:pt x="1074" y="426"/>
                  </a:lnTo>
                  <a:lnTo>
                    <a:pt x="1074" y="450"/>
                  </a:lnTo>
                  <a:lnTo>
                    <a:pt x="1074" y="462"/>
                  </a:lnTo>
                  <a:lnTo>
                    <a:pt x="1068" y="474"/>
                  </a:lnTo>
                  <a:lnTo>
                    <a:pt x="1062" y="486"/>
                  </a:lnTo>
                  <a:lnTo>
                    <a:pt x="1056" y="498"/>
                  </a:lnTo>
                  <a:close/>
                  <a:moveTo>
                    <a:pt x="186" y="378"/>
                  </a:moveTo>
                  <a:lnTo>
                    <a:pt x="186" y="384"/>
                  </a:lnTo>
                  <a:lnTo>
                    <a:pt x="180" y="390"/>
                  </a:lnTo>
                  <a:lnTo>
                    <a:pt x="174" y="396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14"/>
                  </a:lnTo>
                  <a:lnTo>
                    <a:pt x="126" y="414"/>
                  </a:lnTo>
                  <a:lnTo>
                    <a:pt x="120" y="414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2" y="426"/>
                  </a:lnTo>
                  <a:lnTo>
                    <a:pt x="102" y="432"/>
                  </a:lnTo>
                  <a:lnTo>
                    <a:pt x="96" y="432"/>
                  </a:lnTo>
                  <a:lnTo>
                    <a:pt x="90" y="432"/>
                  </a:lnTo>
                  <a:lnTo>
                    <a:pt x="84" y="438"/>
                  </a:lnTo>
                  <a:lnTo>
                    <a:pt x="78" y="438"/>
                  </a:lnTo>
                  <a:lnTo>
                    <a:pt x="78" y="444"/>
                  </a:lnTo>
                  <a:lnTo>
                    <a:pt x="72" y="444"/>
                  </a:lnTo>
                  <a:lnTo>
                    <a:pt x="72" y="450"/>
                  </a:lnTo>
                  <a:lnTo>
                    <a:pt x="66" y="456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48" y="468"/>
                  </a:lnTo>
                  <a:lnTo>
                    <a:pt x="42" y="468"/>
                  </a:lnTo>
                  <a:lnTo>
                    <a:pt x="42" y="462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8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0" y="396"/>
                  </a:lnTo>
                  <a:lnTo>
                    <a:pt x="6" y="384"/>
                  </a:lnTo>
                  <a:lnTo>
                    <a:pt x="18" y="372"/>
                  </a:lnTo>
                  <a:lnTo>
                    <a:pt x="30" y="348"/>
                  </a:lnTo>
                  <a:lnTo>
                    <a:pt x="30" y="342"/>
                  </a:lnTo>
                  <a:lnTo>
                    <a:pt x="42" y="330"/>
                  </a:lnTo>
                  <a:lnTo>
                    <a:pt x="42" y="324"/>
                  </a:lnTo>
                  <a:lnTo>
                    <a:pt x="48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60" y="282"/>
                  </a:lnTo>
                  <a:lnTo>
                    <a:pt x="60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2" y="258"/>
                  </a:lnTo>
                  <a:lnTo>
                    <a:pt x="84" y="246"/>
                  </a:lnTo>
                  <a:lnTo>
                    <a:pt x="90" y="234"/>
                  </a:lnTo>
                  <a:lnTo>
                    <a:pt x="96" y="234"/>
                  </a:lnTo>
                  <a:lnTo>
                    <a:pt x="96" y="228"/>
                  </a:lnTo>
                  <a:lnTo>
                    <a:pt x="102" y="222"/>
                  </a:lnTo>
                  <a:lnTo>
                    <a:pt x="102" y="228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14" y="228"/>
                  </a:lnTo>
                  <a:lnTo>
                    <a:pt x="114" y="234"/>
                  </a:lnTo>
                  <a:lnTo>
                    <a:pt x="120" y="228"/>
                  </a:lnTo>
                  <a:lnTo>
                    <a:pt x="120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26" y="228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8" y="234"/>
                  </a:lnTo>
                  <a:lnTo>
                    <a:pt x="144" y="234"/>
                  </a:lnTo>
                  <a:lnTo>
                    <a:pt x="144" y="228"/>
                  </a:lnTo>
                  <a:lnTo>
                    <a:pt x="150" y="228"/>
                  </a:lnTo>
                  <a:lnTo>
                    <a:pt x="156" y="228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46"/>
                  </a:lnTo>
                  <a:lnTo>
                    <a:pt x="162" y="240"/>
                  </a:lnTo>
                  <a:lnTo>
                    <a:pt x="162" y="246"/>
                  </a:lnTo>
                  <a:lnTo>
                    <a:pt x="162" y="258"/>
                  </a:lnTo>
                  <a:lnTo>
                    <a:pt x="162" y="264"/>
                  </a:lnTo>
                  <a:lnTo>
                    <a:pt x="156" y="270"/>
                  </a:lnTo>
                  <a:lnTo>
                    <a:pt x="162" y="270"/>
                  </a:lnTo>
                  <a:lnTo>
                    <a:pt x="162" y="282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86" y="288"/>
                  </a:lnTo>
                  <a:lnTo>
                    <a:pt x="186" y="294"/>
                  </a:lnTo>
                  <a:lnTo>
                    <a:pt x="180" y="300"/>
                  </a:lnTo>
                  <a:lnTo>
                    <a:pt x="174" y="318"/>
                  </a:lnTo>
                  <a:lnTo>
                    <a:pt x="174" y="324"/>
                  </a:lnTo>
                  <a:lnTo>
                    <a:pt x="168" y="330"/>
                  </a:lnTo>
                  <a:lnTo>
                    <a:pt x="168" y="342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74" y="360"/>
                  </a:lnTo>
                  <a:lnTo>
                    <a:pt x="180" y="366"/>
                  </a:lnTo>
                  <a:lnTo>
                    <a:pt x="186" y="3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8" name="Freeform 23">
              <a:extLst>
                <a:ext uri="{FF2B5EF4-FFF2-40B4-BE49-F238E27FC236}">
                  <a16:creationId xmlns:a16="http://schemas.microsoft.com/office/drawing/2014/main" id="{A539A33E-3F6E-4AF7-BD88-1853165307F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6312" y="3604793"/>
              <a:ext cx="581410" cy="621747"/>
            </a:xfrm>
            <a:custGeom>
              <a:avLst/>
              <a:gdLst>
                <a:gd name="T0" fmla="*/ 90 w 1092"/>
                <a:gd name="T1" fmla="*/ 60 h 1170"/>
                <a:gd name="T2" fmla="*/ 83 w 1092"/>
                <a:gd name="T3" fmla="*/ 62 h 1170"/>
                <a:gd name="T4" fmla="*/ 72 w 1092"/>
                <a:gd name="T5" fmla="*/ 68 h 1170"/>
                <a:gd name="T6" fmla="*/ 68 w 1092"/>
                <a:gd name="T7" fmla="*/ 71 h 1170"/>
                <a:gd name="T8" fmla="*/ 61 w 1092"/>
                <a:gd name="T9" fmla="*/ 69 h 1170"/>
                <a:gd name="T10" fmla="*/ 64 w 1092"/>
                <a:gd name="T11" fmla="*/ 82 h 1170"/>
                <a:gd name="T12" fmla="*/ 67 w 1092"/>
                <a:gd name="T13" fmla="*/ 93 h 1170"/>
                <a:gd name="T14" fmla="*/ 62 w 1092"/>
                <a:gd name="T15" fmla="*/ 96 h 1170"/>
                <a:gd name="T16" fmla="*/ 59 w 1092"/>
                <a:gd name="T17" fmla="*/ 99 h 1170"/>
                <a:gd name="T18" fmla="*/ 53 w 1092"/>
                <a:gd name="T19" fmla="*/ 101 h 1170"/>
                <a:gd name="T20" fmla="*/ 50 w 1092"/>
                <a:gd name="T21" fmla="*/ 100 h 1170"/>
                <a:gd name="T22" fmla="*/ 50 w 1092"/>
                <a:gd name="T23" fmla="*/ 93 h 1170"/>
                <a:gd name="T24" fmla="*/ 37 w 1092"/>
                <a:gd name="T25" fmla="*/ 85 h 1170"/>
                <a:gd name="T26" fmla="*/ 32 w 1092"/>
                <a:gd name="T27" fmla="*/ 86 h 1170"/>
                <a:gd name="T28" fmla="*/ 29 w 1092"/>
                <a:gd name="T29" fmla="*/ 88 h 1170"/>
                <a:gd name="T30" fmla="*/ 27 w 1092"/>
                <a:gd name="T31" fmla="*/ 86 h 1170"/>
                <a:gd name="T32" fmla="*/ 23 w 1092"/>
                <a:gd name="T33" fmla="*/ 87 h 1170"/>
                <a:gd name="T34" fmla="*/ 17 w 1092"/>
                <a:gd name="T35" fmla="*/ 87 h 1170"/>
                <a:gd name="T36" fmla="*/ 18 w 1092"/>
                <a:gd name="T37" fmla="*/ 89 h 1170"/>
                <a:gd name="T38" fmla="*/ 16 w 1092"/>
                <a:gd name="T39" fmla="*/ 92 h 1170"/>
                <a:gd name="T40" fmla="*/ 12 w 1092"/>
                <a:gd name="T41" fmla="*/ 89 h 1170"/>
                <a:gd name="T42" fmla="*/ 13 w 1092"/>
                <a:gd name="T43" fmla="*/ 84 h 1170"/>
                <a:gd name="T44" fmla="*/ 12 w 1092"/>
                <a:gd name="T45" fmla="*/ 80 h 1170"/>
                <a:gd name="T46" fmla="*/ 10 w 1092"/>
                <a:gd name="T47" fmla="*/ 80 h 1170"/>
                <a:gd name="T48" fmla="*/ 8 w 1092"/>
                <a:gd name="T49" fmla="*/ 79 h 1170"/>
                <a:gd name="T50" fmla="*/ 6 w 1092"/>
                <a:gd name="T51" fmla="*/ 78 h 1170"/>
                <a:gd name="T52" fmla="*/ 6 w 1092"/>
                <a:gd name="T53" fmla="*/ 77 h 1170"/>
                <a:gd name="T54" fmla="*/ 4 w 1092"/>
                <a:gd name="T55" fmla="*/ 75 h 1170"/>
                <a:gd name="T56" fmla="*/ 0 w 1092"/>
                <a:gd name="T57" fmla="*/ 72 h 1170"/>
                <a:gd name="T58" fmla="*/ 0 w 1092"/>
                <a:gd name="T59" fmla="*/ 69 h 1170"/>
                <a:gd name="T60" fmla="*/ 3 w 1092"/>
                <a:gd name="T61" fmla="*/ 67 h 1170"/>
                <a:gd name="T62" fmla="*/ 6 w 1092"/>
                <a:gd name="T63" fmla="*/ 62 h 1170"/>
                <a:gd name="T64" fmla="*/ 8 w 1092"/>
                <a:gd name="T65" fmla="*/ 58 h 1170"/>
                <a:gd name="T66" fmla="*/ 5 w 1092"/>
                <a:gd name="T67" fmla="*/ 54 h 1170"/>
                <a:gd name="T68" fmla="*/ 6 w 1092"/>
                <a:gd name="T69" fmla="*/ 50 h 1170"/>
                <a:gd name="T70" fmla="*/ 8 w 1092"/>
                <a:gd name="T71" fmla="*/ 46 h 1170"/>
                <a:gd name="T72" fmla="*/ 10 w 1092"/>
                <a:gd name="T73" fmla="*/ 43 h 1170"/>
                <a:gd name="T74" fmla="*/ 14 w 1092"/>
                <a:gd name="T75" fmla="*/ 38 h 1170"/>
                <a:gd name="T76" fmla="*/ 31 w 1092"/>
                <a:gd name="T77" fmla="*/ 40 h 1170"/>
                <a:gd name="T78" fmla="*/ 30 w 1092"/>
                <a:gd name="T79" fmla="*/ 46 h 1170"/>
                <a:gd name="T80" fmla="*/ 36 w 1092"/>
                <a:gd name="T81" fmla="*/ 47 h 1170"/>
                <a:gd name="T82" fmla="*/ 41 w 1092"/>
                <a:gd name="T83" fmla="*/ 44 h 1170"/>
                <a:gd name="T84" fmla="*/ 43 w 1092"/>
                <a:gd name="T85" fmla="*/ 39 h 1170"/>
                <a:gd name="T86" fmla="*/ 44 w 1092"/>
                <a:gd name="T87" fmla="*/ 35 h 1170"/>
                <a:gd name="T88" fmla="*/ 44 w 1092"/>
                <a:gd name="T89" fmla="*/ 29 h 1170"/>
                <a:gd name="T90" fmla="*/ 48 w 1092"/>
                <a:gd name="T91" fmla="*/ 24 h 1170"/>
                <a:gd name="T92" fmla="*/ 49 w 1092"/>
                <a:gd name="T93" fmla="*/ 19 h 1170"/>
                <a:gd name="T94" fmla="*/ 51 w 1092"/>
                <a:gd name="T95" fmla="*/ 14 h 1170"/>
                <a:gd name="T96" fmla="*/ 54 w 1092"/>
                <a:gd name="T97" fmla="*/ 10 h 1170"/>
                <a:gd name="T98" fmla="*/ 53 w 1092"/>
                <a:gd name="T99" fmla="*/ 7 h 1170"/>
                <a:gd name="T100" fmla="*/ 55 w 1092"/>
                <a:gd name="T101" fmla="*/ 3 h 1170"/>
                <a:gd name="T102" fmla="*/ 58 w 1092"/>
                <a:gd name="T103" fmla="*/ 0 h 1170"/>
                <a:gd name="T104" fmla="*/ 65 w 1092"/>
                <a:gd name="T105" fmla="*/ 2 h 1170"/>
                <a:gd name="T106" fmla="*/ 61 w 1092"/>
                <a:gd name="T107" fmla="*/ 6 h 1170"/>
                <a:gd name="T108" fmla="*/ 67 w 1092"/>
                <a:gd name="T109" fmla="*/ 7 h 1170"/>
                <a:gd name="T110" fmla="*/ 71 w 1092"/>
                <a:gd name="T111" fmla="*/ 6 h 1170"/>
                <a:gd name="T112" fmla="*/ 75 w 1092"/>
                <a:gd name="T113" fmla="*/ 9 h 1170"/>
                <a:gd name="T114" fmla="*/ 82 w 1092"/>
                <a:gd name="T115" fmla="*/ 12 h 1170"/>
                <a:gd name="T116" fmla="*/ 84 w 1092"/>
                <a:gd name="T117" fmla="*/ 17 h 1170"/>
                <a:gd name="T118" fmla="*/ 94 w 1092"/>
                <a:gd name="T119" fmla="*/ 23 h 1170"/>
                <a:gd name="T120" fmla="*/ 94 w 1092"/>
                <a:gd name="T121" fmla="*/ 34 h 1170"/>
                <a:gd name="T122" fmla="*/ 90 w 1092"/>
                <a:gd name="T123" fmla="*/ 41 h 1170"/>
                <a:gd name="T124" fmla="*/ 91 w 1092"/>
                <a:gd name="T125" fmla="*/ 51 h 11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92"/>
                <a:gd name="T190" fmla="*/ 0 h 1170"/>
                <a:gd name="T191" fmla="*/ 1092 w 1092"/>
                <a:gd name="T192" fmla="*/ 1170 h 117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92" h="1170">
                  <a:moveTo>
                    <a:pt x="1056" y="654"/>
                  </a:moveTo>
                  <a:lnTo>
                    <a:pt x="1062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0"/>
                  </a:lnTo>
                  <a:lnTo>
                    <a:pt x="1038" y="690"/>
                  </a:lnTo>
                  <a:lnTo>
                    <a:pt x="1032" y="690"/>
                  </a:lnTo>
                  <a:lnTo>
                    <a:pt x="1026" y="690"/>
                  </a:lnTo>
                  <a:lnTo>
                    <a:pt x="1020" y="690"/>
                  </a:lnTo>
                  <a:lnTo>
                    <a:pt x="1002" y="690"/>
                  </a:lnTo>
                  <a:lnTo>
                    <a:pt x="990" y="690"/>
                  </a:lnTo>
                  <a:lnTo>
                    <a:pt x="972" y="696"/>
                  </a:lnTo>
                  <a:lnTo>
                    <a:pt x="966" y="696"/>
                  </a:lnTo>
                  <a:lnTo>
                    <a:pt x="960" y="696"/>
                  </a:lnTo>
                  <a:lnTo>
                    <a:pt x="954" y="708"/>
                  </a:lnTo>
                  <a:lnTo>
                    <a:pt x="954" y="714"/>
                  </a:lnTo>
                  <a:lnTo>
                    <a:pt x="942" y="714"/>
                  </a:lnTo>
                  <a:lnTo>
                    <a:pt x="930" y="732"/>
                  </a:lnTo>
                  <a:lnTo>
                    <a:pt x="918" y="744"/>
                  </a:lnTo>
                  <a:lnTo>
                    <a:pt x="918" y="750"/>
                  </a:lnTo>
                  <a:lnTo>
                    <a:pt x="888" y="762"/>
                  </a:lnTo>
                  <a:lnTo>
                    <a:pt x="870" y="762"/>
                  </a:lnTo>
                  <a:lnTo>
                    <a:pt x="846" y="774"/>
                  </a:lnTo>
                  <a:lnTo>
                    <a:pt x="828" y="780"/>
                  </a:lnTo>
                  <a:lnTo>
                    <a:pt x="828" y="774"/>
                  </a:lnTo>
                  <a:lnTo>
                    <a:pt x="816" y="768"/>
                  </a:lnTo>
                  <a:lnTo>
                    <a:pt x="816" y="780"/>
                  </a:lnTo>
                  <a:lnTo>
                    <a:pt x="804" y="780"/>
                  </a:lnTo>
                  <a:lnTo>
                    <a:pt x="804" y="786"/>
                  </a:lnTo>
                  <a:lnTo>
                    <a:pt x="792" y="792"/>
                  </a:lnTo>
                  <a:lnTo>
                    <a:pt x="792" y="804"/>
                  </a:lnTo>
                  <a:lnTo>
                    <a:pt x="780" y="816"/>
                  </a:lnTo>
                  <a:lnTo>
                    <a:pt x="774" y="822"/>
                  </a:lnTo>
                  <a:lnTo>
                    <a:pt x="762" y="828"/>
                  </a:lnTo>
                  <a:lnTo>
                    <a:pt x="756" y="822"/>
                  </a:lnTo>
                  <a:lnTo>
                    <a:pt x="750" y="798"/>
                  </a:lnTo>
                  <a:lnTo>
                    <a:pt x="738" y="792"/>
                  </a:lnTo>
                  <a:lnTo>
                    <a:pt x="720" y="786"/>
                  </a:lnTo>
                  <a:lnTo>
                    <a:pt x="708" y="786"/>
                  </a:lnTo>
                  <a:lnTo>
                    <a:pt x="696" y="798"/>
                  </a:lnTo>
                  <a:lnTo>
                    <a:pt x="690" y="810"/>
                  </a:lnTo>
                  <a:lnTo>
                    <a:pt x="684" y="828"/>
                  </a:lnTo>
                  <a:lnTo>
                    <a:pt x="690" y="840"/>
                  </a:lnTo>
                  <a:lnTo>
                    <a:pt x="708" y="858"/>
                  </a:lnTo>
                  <a:lnTo>
                    <a:pt x="720" y="894"/>
                  </a:lnTo>
                  <a:lnTo>
                    <a:pt x="714" y="906"/>
                  </a:lnTo>
                  <a:lnTo>
                    <a:pt x="714" y="918"/>
                  </a:lnTo>
                  <a:lnTo>
                    <a:pt x="738" y="948"/>
                  </a:lnTo>
                  <a:lnTo>
                    <a:pt x="774" y="972"/>
                  </a:lnTo>
                  <a:lnTo>
                    <a:pt x="780" y="984"/>
                  </a:lnTo>
                  <a:lnTo>
                    <a:pt x="792" y="996"/>
                  </a:lnTo>
                  <a:lnTo>
                    <a:pt x="792" y="1026"/>
                  </a:lnTo>
                  <a:lnTo>
                    <a:pt x="780" y="1044"/>
                  </a:lnTo>
                  <a:lnTo>
                    <a:pt x="774" y="1050"/>
                  </a:lnTo>
                  <a:lnTo>
                    <a:pt x="768" y="1062"/>
                  </a:lnTo>
                  <a:lnTo>
                    <a:pt x="768" y="1068"/>
                  </a:lnTo>
                  <a:lnTo>
                    <a:pt x="762" y="1074"/>
                  </a:lnTo>
                  <a:lnTo>
                    <a:pt x="762" y="1080"/>
                  </a:lnTo>
                  <a:lnTo>
                    <a:pt x="756" y="1080"/>
                  </a:lnTo>
                  <a:lnTo>
                    <a:pt x="744" y="1086"/>
                  </a:lnTo>
                  <a:lnTo>
                    <a:pt x="744" y="1092"/>
                  </a:lnTo>
                  <a:lnTo>
                    <a:pt x="738" y="1092"/>
                  </a:lnTo>
                  <a:lnTo>
                    <a:pt x="726" y="1098"/>
                  </a:lnTo>
                  <a:lnTo>
                    <a:pt x="720" y="1104"/>
                  </a:lnTo>
                  <a:lnTo>
                    <a:pt x="714" y="1104"/>
                  </a:lnTo>
                  <a:lnTo>
                    <a:pt x="702" y="1116"/>
                  </a:lnTo>
                  <a:lnTo>
                    <a:pt x="696" y="1122"/>
                  </a:lnTo>
                  <a:lnTo>
                    <a:pt x="696" y="1134"/>
                  </a:lnTo>
                  <a:lnTo>
                    <a:pt x="690" y="1134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72" y="1146"/>
                  </a:lnTo>
                  <a:lnTo>
                    <a:pt x="672" y="1152"/>
                  </a:lnTo>
                  <a:lnTo>
                    <a:pt x="660" y="1152"/>
                  </a:lnTo>
                  <a:lnTo>
                    <a:pt x="642" y="1152"/>
                  </a:lnTo>
                  <a:lnTo>
                    <a:pt x="636" y="1152"/>
                  </a:lnTo>
                  <a:lnTo>
                    <a:pt x="630" y="1158"/>
                  </a:lnTo>
                  <a:lnTo>
                    <a:pt x="624" y="1164"/>
                  </a:lnTo>
                  <a:lnTo>
                    <a:pt x="618" y="1170"/>
                  </a:lnTo>
                  <a:lnTo>
                    <a:pt x="612" y="1170"/>
                  </a:lnTo>
                  <a:lnTo>
                    <a:pt x="600" y="1170"/>
                  </a:lnTo>
                  <a:lnTo>
                    <a:pt x="594" y="1170"/>
                  </a:lnTo>
                  <a:lnTo>
                    <a:pt x="588" y="1170"/>
                  </a:lnTo>
                  <a:lnTo>
                    <a:pt x="582" y="1170"/>
                  </a:lnTo>
                  <a:lnTo>
                    <a:pt x="582" y="1164"/>
                  </a:lnTo>
                  <a:lnTo>
                    <a:pt x="576" y="1158"/>
                  </a:lnTo>
                  <a:lnTo>
                    <a:pt x="570" y="1158"/>
                  </a:lnTo>
                  <a:lnTo>
                    <a:pt x="570" y="1152"/>
                  </a:lnTo>
                  <a:lnTo>
                    <a:pt x="570" y="1146"/>
                  </a:lnTo>
                  <a:lnTo>
                    <a:pt x="570" y="1140"/>
                  </a:lnTo>
                  <a:lnTo>
                    <a:pt x="564" y="1140"/>
                  </a:lnTo>
                  <a:lnTo>
                    <a:pt x="564" y="1134"/>
                  </a:lnTo>
                  <a:lnTo>
                    <a:pt x="564" y="1128"/>
                  </a:lnTo>
                  <a:lnTo>
                    <a:pt x="576" y="1104"/>
                  </a:lnTo>
                  <a:lnTo>
                    <a:pt x="582" y="1086"/>
                  </a:lnTo>
                  <a:lnTo>
                    <a:pt x="570" y="1068"/>
                  </a:lnTo>
                  <a:lnTo>
                    <a:pt x="534" y="1056"/>
                  </a:lnTo>
                  <a:lnTo>
                    <a:pt x="516" y="1026"/>
                  </a:lnTo>
                  <a:lnTo>
                    <a:pt x="492" y="1020"/>
                  </a:lnTo>
                  <a:lnTo>
                    <a:pt x="492" y="1014"/>
                  </a:lnTo>
                  <a:lnTo>
                    <a:pt x="480" y="1008"/>
                  </a:lnTo>
                  <a:lnTo>
                    <a:pt x="474" y="996"/>
                  </a:lnTo>
                  <a:lnTo>
                    <a:pt x="444" y="984"/>
                  </a:lnTo>
                  <a:lnTo>
                    <a:pt x="426" y="978"/>
                  </a:lnTo>
                  <a:lnTo>
                    <a:pt x="420" y="972"/>
                  </a:lnTo>
                  <a:lnTo>
                    <a:pt x="408" y="984"/>
                  </a:lnTo>
                  <a:lnTo>
                    <a:pt x="402" y="984"/>
                  </a:lnTo>
                  <a:lnTo>
                    <a:pt x="396" y="984"/>
                  </a:lnTo>
                  <a:lnTo>
                    <a:pt x="390" y="984"/>
                  </a:lnTo>
                  <a:lnTo>
                    <a:pt x="384" y="990"/>
                  </a:lnTo>
                  <a:lnTo>
                    <a:pt x="378" y="990"/>
                  </a:lnTo>
                  <a:lnTo>
                    <a:pt x="372" y="990"/>
                  </a:lnTo>
                  <a:lnTo>
                    <a:pt x="372" y="996"/>
                  </a:lnTo>
                  <a:lnTo>
                    <a:pt x="366" y="996"/>
                  </a:lnTo>
                  <a:lnTo>
                    <a:pt x="360" y="1002"/>
                  </a:lnTo>
                  <a:lnTo>
                    <a:pt x="360" y="1008"/>
                  </a:lnTo>
                  <a:lnTo>
                    <a:pt x="354" y="1008"/>
                  </a:lnTo>
                  <a:lnTo>
                    <a:pt x="342" y="1014"/>
                  </a:lnTo>
                  <a:lnTo>
                    <a:pt x="336" y="1020"/>
                  </a:lnTo>
                  <a:lnTo>
                    <a:pt x="336" y="1014"/>
                  </a:lnTo>
                  <a:lnTo>
                    <a:pt x="330" y="1014"/>
                  </a:lnTo>
                  <a:lnTo>
                    <a:pt x="330" y="1008"/>
                  </a:lnTo>
                  <a:lnTo>
                    <a:pt x="330" y="1002"/>
                  </a:lnTo>
                  <a:lnTo>
                    <a:pt x="324" y="1002"/>
                  </a:lnTo>
                  <a:lnTo>
                    <a:pt x="324" y="996"/>
                  </a:lnTo>
                  <a:lnTo>
                    <a:pt x="324" y="990"/>
                  </a:lnTo>
                  <a:lnTo>
                    <a:pt x="318" y="990"/>
                  </a:lnTo>
                  <a:lnTo>
                    <a:pt x="306" y="996"/>
                  </a:lnTo>
                  <a:lnTo>
                    <a:pt x="300" y="996"/>
                  </a:lnTo>
                  <a:lnTo>
                    <a:pt x="294" y="996"/>
                  </a:lnTo>
                  <a:lnTo>
                    <a:pt x="288" y="1002"/>
                  </a:lnTo>
                  <a:lnTo>
                    <a:pt x="282" y="990"/>
                  </a:lnTo>
                  <a:lnTo>
                    <a:pt x="276" y="984"/>
                  </a:lnTo>
                  <a:lnTo>
                    <a:pt x="270" y="990"/>
                  </a:lnTo>
                  <a:lnTo>
                    <a:pt x="270" y="996"/>
                  </a:lnTo>
                  <a:lnTo>
                    <a:pt x="270" y="1002"/>
                  </a:lnTo>
                  <a:lnTo>
                    <a:pt x="264" y="1008"/>
                  </a:lnTo>
                  <a:lnTo>
                    <a:pt x="252" y="996"/>
                  </a:lnTo>
                  <a:lnTo>
                    <a:pt x="246" y="996"/>
                  </a:lnTo>
                  <a:lnTo>
                    <a:pt x="234" y="1002"/>
                  </a:lnTo>
                  <a:lnTo>
                    <a:pt x="222" y="1002"/>
                  </a:lnTo>
                  <a:lnTo>
                    <a:pt x="210" y="1002"/>
                  </a:lnTo>
                  <a:lnTo>
                    <a:pt x="198" y="996"/>
                  </a:lnTo>
                  <a:lnTo>
                    <a:pt x="198" y="1002"/>
                  </a:lnTo>
                  <a:lnTo>
                    <a:pt x="198" y="1008"/>
                  </a:lnTo>
                  <a:lnTo>
                    <a:pt x="192" y="1020"/>
                  </a:lnTo>
                  <a:lnTo>
                    <a:pt x="198" y="1020"/>
                  </a:lnTo>
                  <a:lnTo>
                    <a:pt x="204" y="1020"/>
                  </a:lnTo>
                  <a:lnTo>
                    <a:pt x="210" y="1026"/>
                  </a:lnTo>
                  <a:lnTo>
                    <a:pt x="216" y="1026"/>
                  </a:lnTo>
                  <a:lnTo>
                    <a:pt x="216" y="1032"/>
                  </a:lnTo>
                  <a:lnTo>
                    <a:pt x="210" y="1032"/>
                  </a:lnTo>
                  <a:lnTo>
                    <a:pt x="210" y="1038"/>
                  </a:lnTo>
                  <a:lnTo>
                    <a:pt x="204" y="1038"/>
                  </a:lnTo>
                  <a:lnTo>
                    <a:pt x="204" y="1044"/>
                  </a:lnTo>
                  <a:lnTo>
                    <a:pt x="198" y="1044"/>
                  </a:lnTo>
                  <a:lnTo>
                    <a:pt x="192" y="1044"/>
                  </a:lnTo>
                  <a:lnTo>
                    <a:pt x="186" y="1050"/>
                  </a:lnTo>
                  <a:lnTo>
                    <a:pt x="186" y="1056"/>
                  </a:lnTo>
                  <a:lnTo>
                    <a:pt x="180" y="1056"/>
                  </a:lnTo>
                  <a:lnTo>
                    <a:pt x="180" y="1062"/>
                  </a:lnTo>
                  <a:lnTo>
                    <a:pt x="174" y="1062"/>
                  </a:lnTo>
                  <a:lnTo>
                    <a:pt x="168" y="1062"/>
                  </a:lnTo>
                  <a:lnTo>
                    <a:pt x="162" y="1062"/>
                  </a:lnTo>
                  <a:lnTo>
                    <a:pt x="156" y="1050"/>
                  </a:lnTo>
                  <a:lnTo>
                    <a:pt x="150" y="1044"/>
                  </a:lnTo>
                  <a:lnTo>
                    <a:pt x="150" y="1038"/>
                  </a:lnTo>
                  <a:lnTo>
                    <a:pt x="144" y="1032"/>
                  </a:lnTo>
                  <a:lnTo>
                    <a:pt x="144" y="1026"/>
                  </a:lnTo>
                  <a:lnTo>
                    <a:pt x="144" y="1014"/>
                  </a:lnTo>
                  <a:lnTo>
                    <a:pt x="150" y="1008"/>
                  </a:lnTo>
                  <a:lnTo>
                    <a:pt x="150" y="1002"/>
                  </a:lnTo>
                  <a:lnTo>
                    <a:pt x="156" y="984"/>
                  </a:lnTo>
                  <a:lnTo>
                    <a:pt x="162" y="978"/>
                  </a:lnTo>
                  <a:lnTo>
                    <a:pt x="162" y="972"/>
                  </a:lnTo>
                  <a:lnTo>
                    <a:pt x="150" y="966"/>
                  </a:lnTo>
                  <a:lnTo>
                    <a:pt x="144" y="966"/>
                  </a:lnTo>
                  <a:lnTo>
                    <a:pt x="138" y="966"/>
                  </a:lnTo>
                  <a:lnTo>
                    <a:pt x="138" y="954"/>
                  </a:lnTo>
                  <a:lnTo>
                    <a:pt x="132" y="954"/>
                  </a:lnTo>
                  <a:lnTo>
                    <a:pt x="138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8" y="924"/>
                  </a:lnTo>
                  <a:lnTo>
                    <a:pt x="132" y="930"/>
                  </a:lnTo>
                  <a:lnTo>
                    <a:pt x="132" y="924"/>
                  </a:lnTo>
                  <a:lnTo>
                    <a:pt x="126" y="918"/>
                  </a:lnTo>
                  <a:lnTo>
                    <a:pt x="132" y="918"/>
                  </a:lnTo>
                  <a:lnTo>
                    <a:pt x="132" y="912"/>
                  </a:lnTo>
                  <a:lnTo>
                    <a:pt x="126" y="912"/>
                  </a:lnTo>
                  <a:lnTo>
                    <a:pt x="120" y="912"/>
                  </a:lnTo>
                  <a:lnTo>
                    <a:pt x="120" y="918"/>
                  </a:lnTo>
                  <a:lnTo>
                    <a:pt x="114" y="918"/>
                  </a:lnTo>
                  <a:lnTo>
                    <a:pt x="114" y="912"/>
                  </a:lnTo>
                  <a:lnTo>
                    <a:pt x="108" y="912"/>
                  </a:lnTo>
                  <a:lnTo>
                    <a:pt x="102" y="912"/>
                  </a:lnTo>
                  <a:lnTo>
                    <a:pt x="108" y="906"/>
                  </a:lnTo>
                  <a:lnTo>
                    <a:pt x="102" y="906"/>
                  </a:lnTo>
                  <a:lnTo>
                    <a:pt x="96" y="906"/>
                  </a:lnTo>
                  <a:lnTo>
                    <a:pt x="96" y="912"/>
                  </a:lnTo>
                  <a:lnTo>
                    <a:pt x="90" y="918"/>
                  </a:lnTo>
                  <a:lnTo>
                    <a:pt x="90" y="912"/>
                  </a:lnTo>
                  <a:lnTo>
                    <a:pt x="84" y="912"/>
                  </a:lnTo>
                  <a:lnTo>
                    <a:pt x="84" y="918"/>
                  </a:lnTo>
                  <a:lnTo>
                    <a:pt x="78" y="918"/>
                  </a:lnTo>
                  <a:lnTo>
                    <a:pt x="78" y="912"/>
                  </a:lnTo>
                  <a:lnTo>
                    <a:pt x="78" y="906"/>
                  </a:lnTo>
                  <a:lnTo>
                    <a:pt x="72" y="900"/>
                  </a:lnTo>
                  <a:lnTo>
                    <a:pt x="78" y="900"/>
                  </a:lnTo>
                  <a:lnTo>
                    <a:pt x="72" y="900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8" y="888"/>
                  </a:lnTo>
                  <a:lnTo>
                    <a:pt x="72" y="888"/>
                  </a:lnTo>
                  <a:lnTo>
                    <a:pt x="72" y="882"/>
                  </a:lnTo>
                  <a:lnTo>
                    <a:pt x="66" y="876"/>
                  </a:lnTo>
                  <a:lnTo>
                    <a:pt x="60" y="882"/>
                  </a:lnTo>
                  <a:lnTo>
                    <a:pt x="54" y="876"/>
                  </a:lnTo>
                  <a:lnTo>
                    <a:pt x="54" y="882"/>
                  </a:lnTo>
                  <a:lnTo>
                    <a:pt x="48" y="882"/>
                  </a:lnTo>
                  <a:lnTo>
                    <a:pt x="42" y="870"/>
                  </a:lnTo>
                  <a:lnTo>
                    <a:pt x="42" y="864"/>
                  </a:lnTo>
                  <a:lnTo>
                    <a:pt x="36" y="858"/>
                  </a:lnTo>
                  <a:lnTo>
                    <a:pt x="36" y="852"/>
                  </a:lnTo>
                  <a:lnTo>
                    <a:pt x="30" y="852"/>
                  </a:lnTo>
                  <a:lnTo>
                    <a:pt x="30" y="846"/>
                  </a:lnTo>
                  <a:lnTo>
                    <a:pt x="24" y="846"/>
                  </a:lnTo>
                  <a:lnTo>
                    <a:pt x="18" y="840"/>
                  </a:lnTo>
                  <a:lnTo>
                    <a:pt x="12" y="834"/>
                  </a:lnTo>
                  <a:lnTo>
                    <a:pt x="0" y="828"/>
                  </a:lnTo>
                  <a:lnTo>
                    <a:pt x="0" y="822"/>
                  </a:lnTo>
                  <a:lnTo>
                    <a:pt x="0" y="816"/>
                  </a:lnTo>
                  <a:lnTo>
                    <a:pt x="0" y="810"/>
                  </a:lnTo>
                  <a:lnTo>
                    <a:pt x="6" y="804"/>
                  </a:lnTo>
                  <a:lnTo>
                    <a:pt x="12" y="804"/>
                  </a:lnTo>
                  <a:lnTo>
                    <a:pt x="12" y="798"/>
                  </a:lnTo>
                  <a:lnTo>
                    <a:pt x="12" y="792"/>
                  </a:lnTo>
                  <a:lnTo>
                    <a:pt x="6" y="792"/>
                  </a:lnTo>
                  <a:lnTo>
                    <a:pt x="6" y="786"/>
                  </a:lnTo>
                  <a:lnTo>
                    <a:pt x="6" y="780"/>
                  </a:lnTo>
                  <a:lnTo>
                    <a:pt x="18" y="780"/>
                  </a:lnTo>
                  <a:lnTo>
                    <a:pt x="18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0" y="774"/>
                  </a:lnTo>
                  <a:lnTo>
                    <a:pt x="36" y="768"/>
                  </a:lnTo>
                  <a:lnTo>
                    <a:pt x="42" y="768"/>
                  </a:lnTo>
                  <a:lnTo>
                    <a:pt x="60" y="750"/>
                  </a:lnTo>
                  <a:lnTo>
                    <a:pt x="60" y="744"/>
                  </a:lnTo>
                  <a:lnTo>
                    <a:pt x="54" y="738"/>
                  </a:lnTo>
                  <a:lnTo>
                    <a:pt x="60" y="732"/>
                  </a:lnTo>
                  <a:lnTo>
                    <a:pt x="54" y="732"/>
                  </a:lnTo>
                  <a:lnTo>
                    <a:pt x="60" y="726"/>
                  </a:lnTo>
                  <a:lnTo>
                    <a:pt x="66" y="720"/>
                  </a:lnTo>
                  <a:lnTo>
                    <a:pt x="72" y="714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84" y="696"/>
                  </a:lnTo>
                  <a:lnTo>
                    <a:pt x="90" y="684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66"/>
                  </a:lnTo>
                  <a:lnTo>
                    <a:pt x="90" y="660"/>
                  </a:lnTo>
                  <a:lnTo>
                    <a:pt x="84" y="654"/>
                  </a:lnTo>
                  <a:lnTo>
                    <a:pt x="84" y="648"/>
                  </a:lnTo>
                  <a:lnTo>
                    <a:pt x="78" y="636"/>
                  </a:lnTo>
                  <a:lnTo>
                    <a:pt x="66" y="630"/>
                  </a:lnTo>
                  <a:lnTo>
                    <a:pt x="66" y="624"/>
                  </a:lnTo>
                  <a:lnTo>
                    <a:pt x="60" y="624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60" y="600"/>
                  </a:lnTo>
                  <a:lnTo>
                    <a:pt x="66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6" y="588"/>
                  </a:lnTo>
                  <a:lnTo>
                    <a:pt x="66" y="582"/>
                  </a:lnTo>
                  <a:lnTo>
                    <a:pt x="72" y="582"/>
                  </a:lnTo>
                  <a:lnTo>
                    <a:pt x="78" y="576"/>
                  </a:lnTo>
                  <a:lnTo>
                    <a:pt x="72" y="576"/>
                  </a:lnTo>
                  <a:lnTo>
                    <a:pt x="66" y="570"/>
                  </a:lnTo>
                  <a:lnTo>
                    <a:pt x="72" y="564"/>
                  </a:lnTo>
                  <a:lnTo>
                    <a:pt x="78" y="558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90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102" y="516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0" y="504"/>
                  </a:lnTo>
                  <a:lnTo>
                    <a:pt x="120" y="498"/>
                  </a:lnTo>
                  <a:lnTo>
                    <a:pt x="120" y="492"/>
                  </a:lnTo>
                  <a:lnTo>
                    <a:pt x="126" y="480"/>
                  </a:lnTo>
                  <a:lnTo>
                    <a:pt x="132" y="474"/>
                  </a:lnTo>
                  <a:lnTo>
                    <a:pt x="132" y="468"/>
                  </a:lnTo>
                  <a:lnTo>
                    <a:pt x="138" y="462"/>
                  </a:lnTo>
                  <a:lnTo>
                    <a:pt x="138" y="456"/>
                  </a:lnTo>
                  <a:lnTo>
                    <a:pt x="138" y="450"/>
                  </a:lnTo>
                  <a:lnTo>
                    <a:pt x="144" y="444"/>
                  </a:lnTo>
                  <a:lnTo>
                    <a:pt x="162" y="438"/>
                  </a:lnTo>
                  <a:lnTo>
                    <a:pt x="186" y="438"/>
                  </a:lnTo>
                  <a:lnTo>
                    <a:pt x="210" y="444"/>
                  </a:lnTo>
                  <a:lnTo>
                    <a:pt x="276" y="450"/>
                  </a:lnTo>
                  <a:lnTo>
                    <a:pt x="342" y="450"/>
                  </a:lnTo>
                  <a:lnTo>
                    <a:pt x="348" y="450"/>
                  </a:lnTo>
                  <a:lnTo>
                    <a:pt x="354" y="450"/>
                  </a:lnTo>
                  <a:lnTo>
                    <a:pt x="360" y="456"/>
                  </a:lnTo>
                  <a:lnTo>
                    <a:pt x="354" y="462"/>
                  </a:lnTo>
                  <a:lnTo>
                    <a:pt x="354" y="468"/>
                  </a:lnTo>
                  <a:lnTo>
                    <a:pt x="354" y="474"/>
                  </a:lnTo>
                  <a:lnTo>
                    <a:pt x="348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48" y="498"/>
                  </a:lnTo>
                  <a:lnTo>
                    <a:pt x="342" y="510"/>
                  </a:lnTo>
                  <a:lnTo>
                    <a:pt x="348" y="528"/>
                  </a:lnTo>
                  <a:lnTo>
                    <a:pt x="348" y="534"/>
                  </a:lnTo>
                  <a:lnTo>
                    <a:pt x="354" y="552"/>
                  </a:lnTo>
                  <a:lnTo>
                    <a:pt x="366" y="546"/>
                  </a:lnTo>
                  <a:lnTo>
                    <a:pt x="372" y="540"/>
                  </a:lnTo>
                  <a:lnTo>
                    <a:pt x="384" y="540"/>
                  </a:lnTo>
                  <a:lnTo>
                    <a:pt x="396" y="534"/>
                  </a:lnTo>
                  <a:lnTo>
                    <a:pt x="402" y="534"/>
                  </a:lnTo>
                  <a:lnTo>
                    <a:pt x="414" y="546"/>
                  </a:lnTo>
                  <a:lnTo>
                    <a:pt x="432" y="540"/>
                  </a:lnTo>
                  <a:lnTo>
                    <a:pt x="450" y="534"/>
                  </a:lnTo>
                  <a:lnTo>
                    <a:pt x="450" y="528"/>
                  </a:lnTo>
                  <a:lnTo>
                    <a:pt x="456" y="528"/>
                  </a:lnTo>
                  <a:lnTo>
                    <a:pt x="456" y="522"/>
                  </a:lnTo>
                  <a:lnTo>
                    <a:pt x="456" y="516"/>
                  </a:lnTo>
                  <a:lnTo>
                    <a:pt x="462" y="516"/>
                  </a:lnTo>
                  <a:lnTo>
                    <a:pt x="468" y="510"/>
                  </a:lnTo>
                  <a:lnTo>
                    <a:pt x="468" y="504"/>
                  </a:lnTo>
                  <a:lnTo>
                    <a:pt x="474" y="504"/>
                  </a:lnTo>
                  <a:lnTo>
                    <a:pt x="480" y="504"/>
                  </a:lnTo>
                  <a:lnTo>
                    <a:pt x="486" y="498"/>
                  </a:lnTo>
                  <a:lnTo>
                    <a:pt x="492" y="498"/>
                  </a:lnTo>
                  <a:lnTo>
                    <a:pt x="486" y="480"/>
                  </a:lnTo>
                  <a:lnTo>
                    <a:pt x="492" y="462"/>
                  </a:lnTo>
                  <a:lnTo>
                    <a:pt x="498" y="444"/>
                  </a:lnTo>
                  <a:lnTo>
                    <a:pt x="498" y="426"/>
                  </a:lnTo>
                  <a:lnTo>
                    <a:pt x="498" y="420"/>
                  </a:lnTo>
                  <a:lnTo>
                    <a:pt x="504" y="426"/>
                  </a:lnTo>
                  <a:lnTo>
                    <a:pt x="504" y="420"/>
                  </a:lnTo>
                  <a:lnTo>
                    <a:pt x="510" y="420"/>
                  </a:lnTo>
                  <a:lnTo>
                    <a:pt x="510" y="414"/>
                  </a:lnTo>
                  <a:lnTo>
                    <a:pt x="510" y="408"/>
                  </a:lnTo>
                  <a:lnTo>
                    <a:pt x="504" y="402"/>
                  </a:lnTo>
                  <a:lnTo>
                    <a:pt x="504" y="396"/>
                  </a:lnTo>
                  <a:lnTo>
                    <a:pt x="504" y="384"/>
                  </a:lnTo>
                  <a:lnTo>
                    <a:pt x="504" y="378"/>
                  </a:lnTo>
                  <a:lnTo>
                    <a:pt x="504" y="360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510" y="348"/>
                  </a:lnTo>
                  <a:lnTo>
                    <a:pt x="510" y="336"/>
                  </a:lnTo>
                  <a:lnTo>
                    <a:pt x="516" y="330"/>
                  </a:lnTo>
                  <a:lnTo>
                    <a:pt x="522" y="324"/>
                  </a:lnTo>
                  <a:lnTo>
                    <a:pt x="528" y="318"/>
                  </a:lnTo>
                  <a:lnTo>
                    <a:pt x="534" y="312"/>
                  </a:lnTo>
                  <a:lnTo>
                    <a:pt x="534" y="300"/>
                  </a:lnTo>
                  <a:lnTo>
                    <a:pt x="540" y="294"/>
                  </a:lnTo>
                  <a:lnTo>
                    <a:pt x="546" y="288"/>
                  </a:lnTo>
                  <a:lnTo>
                    <a:pt x="552" y="276"/>
                  </a:lnTo>
                  <a:lnTo>
                    <a:pt x="558" y="264"/>
                  </a:lnTo>
                  <a:lnTo>
                    <a:pt x="558" y="258"/>
                  </a:lnTo>
                  <a:lnTo>
                    <a:pt x="558" y="252"/>
                  </a:lnTo>
                  <a:lnTo>
                    <a:pt x="558" y="246"/>
                  </a:lnTo>
                  <a:lnTo>
                    <a:pt x="564" y="246"/>
                  </a:lnTo>
                  <a:lnTo>
                    <a:pt x="564" y="240"/>
                  </a:lnTo>
                  <a:lnTo>
                    <a:pt x="570" y="234"/>
                  </a:lnTo>
                  <a:lnTo>
                    <a:pt x="564" y="216"/>
                  </a:lnTo>
                  <a:lnTo>
                    <a:pt x="564" y="210"/>
                  </a:lnTo>
                  <a:lnTo>
                    <a:pt x="570" y="210"/>
                  </a:lnTo>
                  <a:lnTo>
                    <a:pt x="570" y="204"/>
                  </a:lnTo>
                  <a:lnTo>
                    <a:pt x="570" y="198"/>
                  </a:lnTo>
                  <a:lnTo>
                    <a:pt x="582" y="180"/>
                  </a:lnTo>
                  <a:lnTo>
                    <a:pt x="582" y="174"/>
                  </a:lnTo>
                  <a:lnTo>
                    <a:pt x="582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606" y="150"/>
                  </a:lnTo>
                  <a:lnTo>
                    <a:pt x="612" y="150"/>
                  </a:lnTo>
                  <a:lnTo>
                    <a:pt x="618" y="150"/>
                  </a:lnTo>
                  <a:lnTo>
                    <a:pt x="624" y="138"/>
                  </a:lnTo>
                  <a:lnTo>
                    <a:pt x="618" y="132"/>
                  </a:lnTo>
                  <a:lnTo>
                    <a:pt x="618" y="126"/>
                  </a:lnTo>
                  <a:lnTo>
                    <a:pt x="618" y="120"/>
                  </a:lnTo>
                  <a:lnTo>
                    <a:pt x="618" y="114"/>
                  </a:lnTo>
                  <a:lnTo>
                    <a:pt x="612" y="108"/>
                  </a:lnTo>
                  <a:lnTo>
                    <a:pt x="612" y="102"/>
                  </a:lnTo>
                  <a:lnTo>
                    <a:pt x="618" y="90"/>
                  </a:lnTo>
                  <a:lnTo>
                    <a:pt x="624" y="84"/>
                  </a:lnTo>
                  <a:lnTo>
                    <a:pt x="618" y="84"/>
                  </a:lnTo>
                  <a:lnTo>
                    <a:pt x="618" y="78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0" y="72"/>
                  </a:lnTo>
                  <a:lnTo>
                    <a:pt x="600" y="66"/>
                  </a:lnTo>
                  <a:lnTo>
                    <a:pt x="600" y="60"/>
                  </a:lnTo>
                  <a:lnTo>
                    <a:pt x="600" y="48"/>
                  </a:lnTo>
                  <a:lnTo>
                    <a:pt x="612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36"/>
                  </a:lnTo>
                  <a:lnTo>
                    <a:pt x="630" y="30"/>
                  </a:lnTo>
                  <a:lnTo>
                    <a:pt x="636" y="24"/>
                  </a:lnTo>
                  <a:lnTo>
                    <a:pt x="642" y="24"/>
                  </a:lnTo>
                  <a:lnTo>
                    <a:pt x="648" y="24"/>
                  </a:lnTo>
                  <a:lnTo>
                    <a:pt x="648" y="18"/>
                  </a:lnTo>
                  <a:lnTo>
                    <a:pt x="654" y="12"/>
                  </a:lnTo>
                  <a:lnTo>
                    <a:pt x="660" y="0"/>
                  </a:lnTo>
                  <a:lnTo>
                    <a:pt x="678" y="0"/>
                  </a:lnTo>
                  <a:lnTo>
                    <a:pt x="696" y="0"/>
                  </a:lnTo>
                  <a:lnTo>
                    <a:pt x="702" y="0"/>
                  </a:lnTo>
                  <a:lnTo>
                    <a:pt x="714" y="0"/>
                  </a:lnTo>
                  <a:lnTo>
                    <a:pt x="720" y="6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44" y="24"/>
                  </a:lnTo>
                  <a:lnTo>
                    <a:pt x="744" y="30"/>
                  </a:lnTo>
                  <a:lnTo>
                    <a:pt x="732" y="42"/>
                  </a:lnTo>
                  <a:lnTo>
                    <a:pt x="726" y="42"/>
                  </a:lnTo>
                  <a:lnTo>
                    <a:pt x="720" y="42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54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90"/>
                  </a:lnTo>
                  <a:lnTo>
                    <a:pt x="726" y="84"/>
                  </a:lnTo>
                  <a:lnTo>
                    <a:pt x="738" y="84"/>
                  </a:lnTo>
                  <a:lnTo>
                    <a:pt x="750" y="96"/>
                  </a:lnTo>
                  <a:lnTo>
                    <a:pt x="768" y="96"/>
                  </a:lnTo>
                  <a:lnTo>
                    <a:pt x="768" y="90"/>
                  </a:lnTo>
                  <a:lnTo>
                    <a:pt x="774" y="84"/>
                  </a:lnTo>
                  <a:lnTo>
                    <a:pt x="780" y="78"/>
                  </a:lnTo>
                  <a:lnTo>
                    <a:pt x="786" y="78"/>
                  </a:lnTo>
                  <a:lnTo>
                    <a:pt x="792" y="72"/>
                  </a:lnTo>
                  <a:lnTo>
                    <a:pt x="804" y="72"/>
                  </a:lnTo>
                  <a:lnTo>
                    <a:pt x="804" y="66"/>
                  </a:lnTo>
                  <a:lnTo>
                    <a:pt x="810" y="66"/>
                  </a:lnTo>
                  <a:lnTo>
                    <a:pt x="810" y="72"/>
                  </a:lnTo>
                  <a:lnTo>
                    <a:pt x="816" y="66"/>
                  </a:lnTo>
                  <a:lnTo>
                    <a:pt x="828" y="66"/>
                  </a:lnTo>
                  <a:lnTo>
                    <a:pt x="834" y="72"/>
                  </a:lnTo>
                  <a:lnTo>
                    <a:pt x="840" y="72"/>
                  </a:lnTo>
                  <a:lnTo>
                    <a:pt x="840" y="78"/>
                  </a:lnTo>
                  <a:lnTo>
                    <a:pt x="840" y="84"/>
                  </a:lnTo>
                  <a:lnTo>
                    <a:pt x="852" y="84"/>
                  </a:lnTo>
                  <a:lnTo>
                    <a:pt x="858" y="96"/>
                  </a:lnTo>
                  <a:lnTo>
                    <a:pt x="864" y="108"/>
                  </a:lnTo>
                  <a:lnTo>
                    <a:pt x="876" y="114"/>
                  </a:lnTo>
                  <a:lnTo>
                    <a:pt x="894" y="114"/>
                  </a:lnTo>
                  <a:lnTo>
                    <a:pt x="906" y="114"/>
                  </a:lnTo>
                  <a:lnTo>
                    <a:pt x="906" y="126"/>
                  </a:lnTo>
                  <a:lnTo>
                    <a:pt x="912" y="144"/>
                  </a:lnTo>
                  <a:lnTo>
                    <a:pt x="930" y="138"/>
                  </a:lnTo>
                  <a:lnTo>
                    <a:pt x="936" y="138"/>
                  </a:lnTo>
                  <a:lnTo>
                    <a:pt x="942" y="144"/>
                  </a:lnTo>
                  <a:lnTo>
                    <a:pt x="948" y="150"/>
                  </a:lnTo>
                  <a:lnTo>
                    <a:pt x="954" y="156"/>
                  </a:lnTo>
                  <a:lnTo>
                    <a:pt x="954" y="168"/>
                  </a:lnTo>
                  <a:lnTo>
                    <a:pt x="954" y="174"/>
                  </a:lnTo>
                  <a:lnTo>
                    <a:pt x="960" y="180"/>
                  </a:lnTo>
                  <a:lnTo>
                    <a:pt x="966" y="186"/>
                  </a:lnTo>
                  <a:lnTo>
                    <a:pt x="960" y="186"/>
                  </a:lnTo>
                  <a:lnTo>
                    <a:pt x="966" y="192"/>
                  </a:lnTo>
                  <a:lnTo>
                    <a:pt x="966" y="198"/>
                  </a:lnTo>
                  <a:lnTo>
                    <a:pt x="978" y="204"/>
                  </a:lnTo>
                  <a:lnTo>
                    <a:pt x="1050" y="186"/>
                  </a:lnTo>
                  <a:lnTo>
                    <a:pt x="1056" y="198"/>
                  </a:lnTo>
                  <a:lnTo>
                    <a:pt x="1068" y="210"/>
                  </a:lnTo>
                  <a:lnTo>
                    <a:pt x="1074" y="216"/>
                  </a:lnTo>
                  <a:lnTo>
                    <a:pt x="1080" y="252"/>
                  </a:lnTo>
                  <a:lnTo>
                    <a:pt x="1086" y="270"/>
                  </a:lnTo>
                  <a:lnTo>
                    <a:pt x="1092" y="282"/>
                  </a:lnTo>
                  <a:lnTo>
                    <a:pt x="1086" y="300"/>
                  </a:lnTo>
                  <a:lnTo>
                    <a:pt x="1074" y="330"/>
                  </a:lnTo>
                  <a:lnTo>
                    <a:pt x="1068" y="336"/>
                  </a:lnTo>
                  <a:lnTo>
                    <a:pt x="1062" y="348"/>
                  </a:lnTo>
                  <a:lnTo>
                    <a:pt x="1062" y="360"/>
                  </a:lnTo>
                  <a:lnTo>
                    <a:pt x="1068" y="378"/>
                  </a:lnTo>
                  <a:lnTo>
                    <a:pt x="1074" y="390"/>
                  </a:lnTo>
                  <a:lnTo>
                    <a:pt x="1068" y="396"/>
                  </a:lnTo>
                  <a:lnTo>
                    <a:pt x="1068" y="408"/>
                  </a:lnTo>
                  <a:lnTo>
                    <a:pt x="1062" y="414"/>
                  </a:lnTo>
                  <a:lnTo>
                    <a:pt x="1050" y="432"/>
                  </a:lnTo>
                  <a:lnTo>
                    <a:pt x="1044" y="450"/>
                  </a:lnTo>
                  <a:lnTo>
                    <a:pt x="1038" y="456"/>
                  </a:lnTo>
                  <a:lnTo>
                    <a:pt x="1026" y="468"/>
                  </a:lnTo>
                  <a:lnTo>
                    <a:pt x="1026" y="474"/>
                  </a:lnTo>
                  <a:lnTo>
                    <a:pt x="1026" y="480"/>
                  </a:lnTo>
                  <a:lnTo>
                    <a:pt x="1032" y="492"/>
                  </a:lnTo>
                  <a:lnTo>
                    <a:pt x="1044" y="504"/>
                  </a:lnTo>
                  <a:lnTo>
                    <a:pt x="1044" y="516"/>
                  </a:lnTo>
                  <a:lnTo>
                    <a:pt x="1038" y="528"/>
                  </a:lnTo>
                  <a:lnTo>
                    <a:pt x="1032" y="546"/>
                  </a:lnTo>
                  <a:lnTo>
                    <a:pt x="1032" y="570"/>
                  </a:lnTo>
                  <a:lnTo>
                    <a:pt x="1050" y="594"/>
                  </a:lnTo>
                  <a:lnTo>
                    <a:pt x="1056" y="624"/>
                  </a:lnTo>
                  <a:lnTo>
                    <a:pt x="1056" y="65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9" name="Freeform 24">
              <a:extLst>
                <a:ext uri="{FF2B5EF4-FFF2-40B4-BE49-F238E27FC236}">
                  <a16:creationId xmlns:a16="http://schemas.microsoft.com/office/drawing/2014/main" id="{CAE689DA-332A-4F73-BDE6-8865C9170AA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84829" y="3213406"/>
              <a:ext cx="851989" cy="744754"/>
            </a:xfrm>
            <a:custGeom>
              <a:avLst/>
              <a:gdLst>
                <a:gd name="T0" fmla="*/ 116 w 1602"/>
                <a:gd name="T1" fmla="*/ 91 h 1404"/>
                <a:gd name="T2" fmla="*/ 111 w 1602"/>
                <a:gd name="T3" fmla="*/ 95 h 1404"/>
                <a:gd name="T4" fmla="*/ 102 w 1602"/>
                <a:gd name="T5" fmla="*/ 101 h 1404"/>
                <a:gd name="T6" fmla="*/ 99 w 1602"/>
                <a:gd name="T7" fmla="*/ 103 h 1404"/>
                <a:gd name="T8" fmla="*/ 96 w 1602"/>
                <a:gd name="T9" fmla="*/ 106 h 1404"/>
                <a:gd name="T10" fmla="*/ 93 w 1602"/>
                <a:gd name="T11" fmla="*/ 108 h 1404"/>
                <a:gd name="T12" fmla="*/ 88 w 1602"/>
                <a:gd name="T13" fmla="*/ 106 h 1404"/>
                <a:gd name="T14" fmla="*/ 86 w 1602"/>
                <a:gd name="T15" fmla="*/ 108 h 1404"/>
                <a:gd name="T16" fmla="*/ 81 w 1602"/>
                <a:gd name="T17" fmla="*/ 119 h 1404"/>
                <a:gd name="T18" fmla="*/ 71 w 1602"/>
                <a:gd name="T19" fmla="*/ 109 h 1404"/>
                <a:gd name="T20" fmla="*/ 72 w 1602"/>
                <a:gd name="T21" fmla="*/ 101 h 1404"/>
                <a:gd name="T22" fmla="*/ 74 w 1602"/>
                <a:gd name="T23" fmla="*/ 93 h 1404"/>
                <a:gd name="T24" fmla="*/ 73 w 1602"/>
                <a:gd name="T25" fmla="*/ 82 h 1404"/>
                <a:gd name="T26" fmla="*/ 64 w 1602"/>
                <a:gd name="T27" fmla="*/ 79 h 1404"/>
                <a:gd name="T28" fmla="*/ 59 w 1602"/>
                <a:gd name="T29" fmla="*/ 75 h 1404"/>
                <a:gd name="T30" fmla="*/ 54 w 1602"/>
                <a:gd name="T31" fmla="*/ 71 h 1404"/>
                <a:gd name="T32" fmla="*/ 51 w 1602"/>
                <a:gd name="T33" fmla="*/ 70 h 1404"/>
                <a:gd name="T34" fmla="*/ 45 w 1602"/>
                <a:gd name="T35" fmla="*/ 71 h 1404"/>
                <a:gd name="T36" fmla="*/ 43 w 1602"/>
                <a:gd name="T37" fmla="*/ 68 h 1404"/>
                <a:gd name="T38" fmla="*/ 43 w 1602"/>
                <a:gd name="T39" fmla="*/ 64 h 1404"/>
                <a:gd name="T40" fmla="*/ 36 w 1602"/>
                <a:gd name="T41" fmla="*/ 66 h 1404"/>
                <a:gd name="T42" fmla="*/ 31 w 1602"/>
                <a:gd name="T43" fmla="*/ 55 h 1404"/>
                <a:gd name="T44" fmla="*/ 25 w 1602"/>
                <a:gd name="T45" fmla="*/ 53 h 1404"/>
                <a:gd name="T46" fmla="*/ 19 w 1602"/>
                <a:gd name="T47" fmla="*/ 51 h 1404"/>
                <a:gd name="T48" fmla="*/ 17 w 1602"/>
                <a:gd name="T49" fmla="*/ 43 h 1404"/>
                <a:gd name="T50" fmla="*/ 17 w 1602"/>
                <a:gd name="T51" fmla="*/ 39 h 1404"/>
                <a:gd name="T52" fmla="*/ 12 w 1602"/>
                <a:gd name="T53" fmla="*/ 39 h 1404"/>
                <a:gd name="T54" fmla="*/ 10 w 1602"/>
                <a:gd name="T55" fmla="*/ 35 h 1404"/>
                <a:gd name="T56" fmla="*/ 5 w 1602"/>
                <a:gd name="T57" fmla="*/ 30 h 1404"/>
                <a:gd name="T58" fmla="*/ 3 w 1602"/>
                <a:gd name="T59" fmla="*/ 27 h 1404"/>
                <a:gd name="T60" fmla="*/ 2 w 1602"/>
                <a:gd name="T61" fmla="*/ 25 h 1404"/>
                <a:gd name="T62" fmla="*/ 0 w 1602"/>
                <a:gd name="T63" fmla="*/ 22 h 1404"/>
                <a:gd name="T64" fmla="*/ 8 w 1602"/>
                <a:gd name="T65" fmla="*/ 14 h 1404"/>
                <a:gd name="T66" fmla="*/ 16 w 1602"/>
                <a:gd name="T67" fmla="*/ 16 h 1404"/>
                <a:gd name="T68" fmla="*/ 31 w 1602"/>
                <a:gd name="T69" fmla="*/ 18 h 1404"/>
                <a:gd name="T70" fmla="*/ 43 w 1602"/>
                <a:gd name="T71" fmla="*/ 17 h 1404"/>
                <a:gd name="T72" fmla="*/ 47 w 1602"/>
                <a:gd name="T73" fmla="*/ 6 h 1404"/>
                <a:gd name="T74" fmla="*/ 52 w 1602"/>
                <a:gd name="T75" fmla="*/ 0 h 1404"/>
                <a:gd name="T76" fmla="*/ 55 w 1602"/>
                <a:gd name="T77" fmla="*/ 3 h 1404"/>
                <a:gd name="T78" fmla="*/ 59 w 1602"/>
                <a:gd name="T79" fmla="*/ 9 h 1404"/>
                <a:gd name="T80" fmla="*/ 62 w 1602"/>
                <a:gd name="T81" fmla="*/ 16 h 1404"/>
                <a:gd name="T82" fmla="*/ 66 w 1602"/>
                <a:gd name="T83" fmla="*/ 20 h 1404"/>
                <a:gd name="T84" fmla="*/ 70 w 1602"/>
                <a:gd name="T85" fmla="*/ 25 h 1404"/>
                <a:gd name="T86" fmla="*/ 74 w 1602"/>
                <a:gd name="T87" fmla="*/ 30 h 1404"/>
                <a:gd name="T88" fmla="*/ 76 w 1602"/>
                <a:gd name="T89" fmla="*/ 27 h 1404"/>
                <a:gd name="T90" fmla="*/ 78 w 1602"/>
                <a:gd name="T91" fmla="*/ 27 h 1404"/>
                <a:gd name="T92" fmla="*/ 78 w 1602"/>
                <a:gd name="T93" fmla="*/ 23 h 1404"/>
                <a:gd name="T94" fmla="*/ 82 w 1602"/>
                <a:gd name="T95" fmla="*/ 20 h 1404"/>
                <a:gd name="T96" fmla="*/ 82 w 1602"/>
                <a:gd name="T97" fmla="*/ 18 h 1404"/>
                <a:gd name="T98" fmla="*/ 90 w 1602"/>
                <a:gd name="T99" fmla="*/ 24 h 1404"/>
                <a:gd name="T100" fmla="*/ 90 w 1602"/>
                <a:gd name="T101" fmla="*/ 45 h 1404"/>
                <a:gd name="T102" fmla="*/ 104 w 1602"/>
                <a:gd name="T103" fmla="*/ 41 h 1404"/>
                <a:gd name="T104" fmla="*/ 117 w 1602"/>
                <a:gd name="T105" fmla="*/ 39 h 1404"/>
                <a:gd name="T106" fmla="*/ 125 w 1602"/>
                <a:gd name="T107" fmla="*/ 39 h 1404"/>
                <a:gd name="T108" fmla="*/ 127 w 1602"/>
                <a:gd name="T109" fmla="*/ 43 h 1404"/>
                <a:gd name="T110" fmla="*/ 131 w 1602"/>
                <a:gd name="T111" fmla="*/ 53 h 1404"/>
                <a:gd name="T112" fmla="*/ 133 w 1602"/>
                <a:gd name="T113" fmla="*/ 60 h 1404"/>
                <a:gd name="T114" fmla="*/ 138 w 1602"/>
                <a:gd name="T115" fmla="*/ 73 h 1404"/>
                <a:gd name="T116" fmla="*/ 136 w 1602"/>
                <a:gd name="T117" fmla="*/ 80 h 1404"/>
                <a:gd name="T118" fmla="*/ 129 w 1602"/>
                <a:gd name="T119" fmla="*/ 87 h 1404"/>
                <a:gd name="T120" fmla="*/ 123 w 1602"/>
                <a:gd name="T121" fmla="*/ 95 h 14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02"/>
                <a:gd name="T184" fmla="*/ 0 h 1404"/>
                <a:gd name="T185" fmla="*/ 1602 w 1602"/>
                <a:gd name="T186" fmla="*/ 1404 h 14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02" h="1404">
                  <a:moveTo>
                    <a:pt x="1392" y="1080"/>
                  </a:moveTo>
                  <a:lnTo>
                    <a:pt x="1380" y="1074"/>
                  </a:lnTo>
                  <a:lnTo>
                    <a:pt x="1368" y="1056"/>
                  </a:lnTo>
                  <a:lnTo>
                    <a:pt x="1356" y="1044"/>
                  </a:lnTo>
                  <a:lnTo>
                    <a:pt x="1344" y="1038"/>
                  </a:lnTo>
                  <a:lnTo>
                    <a:pt x="1338" y="1038"/>
                  </a:lnTo>
                  <a:lnTo>
                    <a:pt x="1332" y="1038"/>
                  </a:lnTo>
                  <a:lnTo>
                    <a:pt x="1326" y="1044"/>
                  </a:lnTo>
                  <a:lnTo>
                    <a:pt x="1320" y="1044"/>
                  </a:lnTo>
                  <a:lnTo>
                    <a:pt x="1314" y="1044"/>
                  </a:lnTo>
                  <a:lnTo>
                    <a:pt x="1296" y="1056"/>
                  </a:lnTo>
                  <a:lnTo>
                    <a:pt x="1296" y="1080"/>
                  </a:lnTo>
                  <a:lnTo>
                    <a:pt x="1290" y="1080"/>
                  </a:lnTo>
                  <a:lnTo>
                    <a:pt x="1284" y="1086"/>
                  </a:lnTo>
                  <a:lnTo>
                    <a:pt x="1278" y="1086"/>
                  </a:lnTo>
                  <a:lnTo>
                    <a:pt x="1278" y="1092"/>
                  </a:lnTo>
                  <a:lnTo>
                    <a:pt x="1272" y="1092"/>
                  </a:lnTo>
                  <a:lnTo>
                    <a:pt x="1266" y="1086"/>
                  </a:lnTo>
                  <a:lnTo>
                    <a:pt x="1260" y="1086"/>
                  </a:lnTo>
                  <a:lnTo>
                    <a:pt x="1260" y="1098"/>
                  </a:lnTo>
                  <a:lnTo>
                    <a:pt x="1248" y="1098"/>
                  </a:lnTo>
                  <a:lnTo>
                    <a:pt x="1212" y="1116"/>
                  </a:lnTo>
                  <a:lnTo>
                    <a:pt x="1206" y="1158"/>
                  </a:lnTo>
                  <a:lnTo>
                    <a:pt x="1176" y="1164"/>
                  </a:lnTo>
                  <a:lnTo>
                    <a:pt x="1158" y="1164"/>
                  </a:lnTo>
                  <a:lnTo>
                    <a:pt x="1152" y="1164"/>
                  </a:lnTo>
                  <a:lnTo>
                    <a:pt x="1152" y="1170"/>
                  </a:lnTo>
                  <a:lnTo>
                    <a:pt x="1152" y="1176"/>
                  </a:lnTo>
                  <a:lnTo>
                    <a:pt x="1146" y="1176"/>
                  </a:lnTo>
                  <a:lnTo>
                    <a:pt x="1140" y="1176"/>
                  </a:lnTo>
                  <a:lnTo>
                    <a:pt x="1134" y="1182"/>
                  </a:lnTo>
                  <a:lnTo>
                    <a:pt x="1134" y="1188"/>
                  </a:lnTo>
                  <a:lnTo>
                    <a:pt x="1128" y="1194"/>
                  </a:lnTo>
                  <a:lnTo>
                    <a:pt x="1122" y="1194"/>
                  </a:lnTo>
                  <a:lnTo>
                    <a:pt x="1116" y="1194"/>
                  </a:lnTo>
                  <a:lnTo>
                    <a:pt x="1110" y="1200"/>
                  </a:lnTo>
                  <a:lnTo>
                    <a:pt x="1110" y="1206"/>
                  </a:lnTo>
                  <a:lnTo>
                    <a:pt x="1104" y="1212"/>
                  </a:lnTo>
                  <a:lnTo>
                    <a:pt x="1104" y="1218"/>
                  </a:lnTo>
                  <a:lnTo>
                    <a:pt x="1098" y="1224"/>
                  </a:lnTo>
                  <a:lnTo>
                    <a:pt x="1092" y="1230"/>
                  </a:lnTo>
                  <a:lnTo>
                    <a:pt x="1086" y="1230"/>
                  </a:lnTo>
                  <a:lnTo>
                    <a:pt x="1080" y="1230"/>
                  </a:lnTo>
                  <a:lnTo>
                    <a:pt x="1080" y="1242"/>
                  </a:lnTo>
                  <a:lnTo>
                    <a:pt x="1074" y="1242"/>
                  </a:lnTo>
                  <a:lnTo>
                    <a:pt x="1068" y="1242"/>
                  </a:lnTo>
                  <a:lnTo>
                    <a:pt x="1068" y="1236"/>
                  </a:lnTo>
                  <a:lnTo>
                    <a:pt x="1062" y="1242"/>
                  </a:lnTo>
                  <a:lnTo>
                    <a:pt x="1056" y="1236"/>
                  </a:lnTo>
                  <a:lnTo>
                    <a:pt x="1050" y="1242"/>
                  </a:lnTo>
                  <a:lnTo>
                    <a:pt x="1050" y="1236"/>
                  </a:lnTo>
                  <a:lnTo>
                    <a:pt x="1044" y="1194"/>
                  </a:lnTo>
                  <a:lnTo>
                    <a:pt x="1032" y="1194"/>
                  </a:lnTo>
                  <a:lnTo>
                    <a:pt x="1032" y="1200"/>
                  </a:lnTo>
                  <a:lnTo>
                    <a:pt x="1026" y="1200"/>
                  </a:lnTo>
                  <a:lnTo>
                    <a:pt x="1014" y="1218"/>
                  </a:lnTo>
                  <a:lnTo>
                    <a:pt x="1014" y="1224"/>
                  </a:lnTo>
                  <a:lnTo>
                    <a:pt x="1014" y="1236"/>
                  </a:lnTo>
                  <a:lnTo>
                    <a:pt x="1014" y="1242"/>
                  </a:lnTo>
                  <a:lnTo>
                    <a:pt x="1008" y="1242"/>
                  </a:lnTo>
                  <a:lnTo>
                    <a:pt x="1002" y="1236"/>
                  </a:lnTo>
                  <a:lnTo>
                    <a:pt x="1002" y="1230"/>
                  </a:lnTo>
                  <a:lnTo>
                    <a:pt x="996" y="1236"/>
                  </a:lnTo>
                  <a:lnTo>
                    <a:pt x="990" y="1236"/>
                  </a:lnTo>
                  <a:lnTo>
                    <a:pt x="990" y="1230"/>
                  </a:lnTo>
                  <a:lnTo>
                    <a:pt x="984" y="1236"/>
                  </a:lnTo>
                  <a:lnTo>
                    <a:pt x="978" y="1248"/>
                  </a:lnTo>
                  <a:lnTo>
                    <a:pt x="972" y="1254"/>
                  </a:lnTo>
                  <a:lnTo>
                    <a:pt x="966" y="1260"/>
                  </a:lnTo>
                  <a:lnTo>
                    <a:pt x="930" y="1284"/>
                  </a:lnTo>
                  <a:lnTo>
                    <a:pt x="942" y="1356"/>
                  </a:lnTo>
                  <a:lnTo>
                    <a:pt x="930" y="1368"/>
                  </a:lnTo>
                  <a:lnTo>
                    <a:pt x="852" y="1404"/>
                  </a:lnTo>
                  <a:lnTo>
                    <a:pt x="834" y="1392"/>
                  </a:lnTo>
                  <a:lnTo>
                    <a:pt x="834" y="1362"/>
                  </a:lnTo>
                  <a:lnTo>
                    <a:pt x="828" y="1332"/>
                  </a:lnTo>
                  <a:lnTo>
                    <a:pt x="810" y="1308"/>
                  </a:lnTo>
                  <a:lnTo>
                    <a:pt x="810" y="1284"/>
                  </a:lnTo>
                  <a:lnTo>
                    <a:pt x="816" y="1266"/>
                  </a:lnTo>
                  <a:lnTo>
                    <a:pt x="822" y="1254"/>
                  </a:lnTo>
                  <a:lnTo>
                    <a:pt x="822" y="1242"/>
                  </a:lnTo>
                  <a:lnTo>
                    <a:pt x="810" y="1230"/>
                  </a:lnTo>
                  <a:lnTo>
                    <a:pt x="804" y="1218"/>
                  </a:lnTo>
                  <a:lnTo>
                    <a:pt x="804" y="1212"/>
                  </a:lnTo>
                  <a:lnTo>
                    <a:pt x="804" y="1206"/>
                  </a:lnTo>
                  <a:lnTo>
                    <a:pt x="816" y="1194"/>
                  </a:lnTo>
                  <a:lnTo>
                    <a:pt x="822" y="1188"/>
                  </a:lnTo>
                  <a:lnTo>
                    <a:pt x="828" y="1170"/>
                  </a:lnTo>
                  <a:lnTo>
                    <a:pt x="840" y="1152"/>
                  </a:lnTo>
                  <a:lnTo>
                    <a:pt x="846" y="1146"/>
                  </a:lnTo>
                  <a:lnTo>
                    <a:pt x="846" y="1134"/>
                  </a:lnTo>
                  <a:lnTo>
                    <a:pt x="852" y="1128"/>
                  </a:lnTo>
                  <a:lnTo>
                    <a:pt x="846" y="1116"/>
                  </a:lnTo>
                  <a:lnTo>
                    <a:pt x="840" y="1098"/>
                  </a:lnTo>
                  <a:lnTo>
                    <a:pt x="840" y="1086"/>
                  </a:lnTo>
                  <a:lnTo>
                    <a:pt x="846" y="1074"/>
                  </a:lnTo>
                  <a:lnTo>
                    <a:pt x="852" y="1068"/>
                  </a:lnTo>
                  <a:lnTo>
                    <a:pt x="864" y="1038"/>
                  </a:lnTo>
                  <a:lnTo>
                    <a:pt x="870" y="1020"/>
                  </a:lnTo>
                  <a:lnTo>
                    <a:pt x="864" y="1008"/>
                  </a:lnTo>
                  <a:lnTo>
                    <a:pt x="858" y="990"/>
                  </a:lnTo>
                  <a:lnTo>
                    <a:pt x="852" y="954"/>
                  </a:lnTo>
                  <a:lnTo>
                    <a:pt x="846" y="948"/>
                  </a:lnTo>
                  <a:lnTo>
                    <a:pt x="834" y="936"/>
                  </a:lnTo>
                  <a:lnTo>
                    <a:pt x="828" y="924"/>
                  </a:lnTo>
                  <a:lnTo>
                    <a:pt x="756" y="942"/>
                  </a:lnTo>
                  <a:lnTo>
                    <a:pt x="744" y="936"/>
                  </a:lnTo>
                  <a:lnTo>
                    <a:pt x="744" y="930"/>
                  </a:lnTo>
                  <a:lnTo>
                    <a:pt x="738" y="924"/>
                  </a:lnTo>
                  <a:lnTo>
                    <a:pt x="744" y="924"/>
                  </a:lnTo>
                  <a:lnTo>
                    <a:pt x="738" y="918"/>
                  </a:lnTo>
                  <a:lnTo>
                    <a:pt x="732" y="912"/>
                  </a:lnTo>
                  <a:lnTo>
                    <a:pt x="732" y="906"/>
                  </a:lnTo>
                  <a:lnTo>
                    <a:pt x="732" y="894"/>
                  </a:lnTo>
                  <a:lnTo>
                    <a:pt x="726" y="888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6"/>
                  </a:lnTo>
                  <a:lnTo>
                    <a:pt x="690" y="882"/>
                  </a:lnTo>
                  <a:lnTo>
                    <a:pt x="684" y="864"/>
                  </a:lnTo>
                  <a:lnTo>
                    <a:pt x="684" y="852"/>
                  </a:lnTo>
                  <a:lnTo>
                    <a:pt x="672" y="852"/>
                  </a:lnTo>
                  <a:lnTo>
                    <a:pt x="654" y="852"/>
                  </a:lnTo>
                  <a:lnTo>
                    <a:pt x="642" y="846"/>
                  </a:lnTo>
                  <a:lnTo>
                    <a:pt x="636" y="834"/>
                  </a:lnTo>
                  <a:lnTo>
                    <a:pt x="630" y="822"/>
                  </a:lnTo>
                  <a:lnTo>
                    <a:pt x="618" y="822"/>
                  </a:lnTo>
                  <a:lnTo>
                    <a:pt x="618" y="816"/>
                  </a:lnTo>
                  <a:lnTo>
                    <a:pt x="618" y="810"/>
                  </a:lnTo>
                  <a:lnTo>
                    <a:pt x="612" y="810"/>
                  </a:lnTo>
                  <a:lnTo>
                    <a:pt x="606" y="804"/>
                  </a:lnTo>
                  <a:lnTo>
                    <a:pt x="594" y="804"/>
                  </a:lnTo>
                  <a:lnTo>
                    <a:pt x="588" y="810"/>
                  </a:lnTo>
                  <a:lnTo>
                    <a:pt x="588" y="804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70" y="810"/>
                  </a:lnTo>
                  <a:lnTo>
                    <a:pt x="564" y="816"/>
                  </a:lnTo>
                  <a:lnTo>
                    <a:pt x="558" y="816"/>
                  </a:lnTo>
                  <a:lnTo>
                    <a:pt x="552" y="822"/>
                  </a:lnTo>
                  <a:lnTo>
                    <a:pt x="546" y="828"/>
                  </a:lnTo>
                  <a:lnTo>
                    <a:pt x="546" y="834"/>
                  </a:lnTo>
                  <a:lnTo>
                    <a:pt x="528" y="834"/>
                  </a:lnTo>
                  <a:lnTo>
                    <a:pt x="516" y="822"/>
                  </a:lnTo>
                  <a:lnTo>
                    <a:pt x="504" y="822"/>
                  </a:lnTo>
                  <a:lnTo>
                    <a:pt x="492" y="82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6" y="792"/>
                  </a:lnTo>
                  <a:lnTo>
                    <a:pt x="492" y="786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504" y="780"/>
                  </a:lnTo>
                  <a:lnTo>
                    <a:pt x="510" y="780"/>
                  </a:lnTo>
                  <a:lnTo>
                    <a:pt x="522" y="768"/>
                  </a:lnTo>
                  <a:lnTo>
                    <a:pt x="522" y="762"/>
                  </a:lnTo>
                  <a:lnTo>
                    <a:pt x="504" y="756"/>
                  </a:lnTo>
                  <a:lnTo>
                    <a:pt x="498" y="756"/>
                  </a:lnTo>
                  <a:lnTo>
                    <a:pt x="498" y="744"/>
                  </a:lnTo>
                  <a:lnTo>
                    <a:pt x="492" y="738"/>
                  </a:lnTo>
                  <a:lnTo>
                    <a:pt x="480" y="738"/>
                  </a:lnTo>
                  <a:lnTo>
                    <a:pt x="474" y="738"/>
                  </a:lnTo>
                  <a:lnTo>
                    <a:pt x="456" y="738"/>
                  </a:lnTo>
                  <a:lnTo>
                    <a:pt x="438" y="738"/>
                  </a:lnTo>
                  <a:lnTo>
                    <a:pt x="432" y="750"/>
                  </a:lnTo>
                  <a:lnTo>
                    <a:pt x="426" y="756"/>
                  </a:lnTo>
                  <a:lnTo>
                    <a:pt x="426" y="762"/>
                  </a:lnTo>
                  <a:lnTo>
                    <a:pt x="420" y="762"/>
                  </a:lnTo>
                  <a:lnTo>
                    <a:pt x="408" y="744"/>
                  </a:lnTo>
                  <a:lnTo>
                    <a:pt x="408" y="732"/>
                  </a:lnTo>
                  <a:lnTo>
                    <a:pt x="390" y="714"/>
                  </a:lnTo>
                  <a:lnTo>
                    <a:pt x="384" y="702"/>
                  </a:lnTo>
                  <a:lnTo>
                    <a:pt x="384" y="690"/>
                  </a:lnTo>
                  <a:lnTo>
                    <a:pt x="372" y="690"/>
                  </a:lnTo>
                  <a:lnTo>
                    <a:pt x="366" y="660"/>
                  </a:lnTo>
                  <a:lnTo>
                    <a:pt x="354" y="630"/>
                  </a:lnTo>
                  <a:lnTo>
                    <a:pt x="348" y="630"/>
                  </a:lnTo>
                  <a:lnTo>
                    <a:pt x="336" y="630"/>
                  </a:lnTo>
                  <a:lnTo>
                    <a:pt x="330" y="630"/>
                  </a:lnTo>
                  <a:lnTo>
                    <a:pt x="318" y="630"/>
                  </a:lnTo>
                  <a:lnTo>
                    <a:pt x="312" y="624"/>
                  </a:lnTo>
                  <a:lnTo>
                    <a:pt x="306" y="624"/>
                  </a:lnTo>
                  <a:lnTo>
                    <a:pt x="294" y="618"/>
                  </a:lnTo>
                  <a:lnTo>
                    <a:pt x="288" y="612"/>
                  </a:lnTo>
                  <a:lnTo>
                    <a:pt x="276" y="600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58" y="588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8"/>
                  </a:lnTo>
                  <a:lnTo>
                    <a:pt x="216" y="582"/>
                  </a:lnTo>
                  <a:lnTo>
                    <a:pt x="210" y="588"/>
                  </a:lnTo>
                  <a:lnTo>
                    <a:pt x="198" y="582"/>
                  </a:lnTo>
                  <a:lnTo>
                    <a:pt x="180" y="582"/>
                  </a:lnTo>
                  <a:lnTo>
                    <a:pt x="174" y="552"/>
                  </a:lnTo>
                  <a:lnTo>
                    <a:pt x="168" y="504"/>
                  </a:lnTo>
                  <a:lnTo>
                    <a:pt x="186" y="504"/>
                  </a:lnTo>
                  <a:lnTo>
                    <a:pt x="192" y="504"/>
                  </a:lnTo>
                  <a:lnTo>
                    <a:pt x="192" y="498"/>
                  </a:lnTo>
                  <a:lnTo>
                    <a:pt x="192" y="492"/>
                  </a:lnTo>
                  <a:lnTo>
                    <a:pt x="192" y="486"/>
                  </a:lnTo>
                  <a:lnTo>
                    <a:pt x="198" y="486"/>
                  </a:lnTo>
                  <a:lnTo>
                    <a:pt x="198" y="480"/>
                  </a:lnTo>
                  <a:lnTo>
                    <a:pt x="204" y="474"/>
                  </a:lnTo>
                  <a:lnTo>
                    <a:pt x="210" y="468"/>
                  </a:lnTo>
                  <a:lnTo>
                    <a:pt x="198" y="462"/>
                  </a:lnTo>
                  <a:lnTo>
                    <a:pt x="192" y="444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32"/>
                  </a:lnTo>
                  <a:lnTo>
                    <a:pt x="168" y="438"/>
                  </a:lnTo>
                  <a:lnTo>
                    <a:pt x="150" y="450"/>
                  </a:lnTo>
                  <a:lnTo>
                    <a:pt x="144" y="456"/>
                  </a:lnTo>
                  <a:lnTo>
                    <a:pt x="132" y="456"/>
                  </a:lnTo>
                  <a:lnTo>
                    <a:pt x="126" y="468"/>
                  </a:lnTo>
                  <a:lnTo>
                    <a:pt x="114" y="468"/>
                  </a:lnTo>
                  <a:lnTo>
                    <a:pt x="108" y="468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14"/>
                  </a:lnTo>
                  <a:lnTo>
                    <a:pt x="108" y="396"/>
                  </a:lnTo>
                  <a:lnTo>
                    <a:pt x="120" y="396"/>
                  </a:lnTo>
                  <a:lnTo>
                    <a:pt x="126" y="384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84" y="354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0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60" y="318"/>
                  </a:lnTo>
                  <a:lnTo>
                    <a:pt x="42" y="324"/>
                  </a:lnTo>
                  <a:lnTo>
                    <a:pt x="36" y="318"/>
                  </a:lnTo>
                  <a:lnTo>
                    <a:pt x="36" y="312"/>
                  </a:lnTo>
                  <a:lnTo>
                    <a:pt x="36" y="306"/>
                  </a:lnTo>
                  <a:lnTo>
                    <a:pt x="36" y="300"/>
                  </a:lnTo>
                  <a:lnTo>
                    <a:pt x="30" y="300"/>
                  </a:lnTo>
                  <a:lnTo>
                    <a:pt x="30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24" y="276"/>
                  </a:lnTo>
                  <a:lnTo>
                    <a:pt x="18" y="276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18" y="234"/>
                  </a:lnTo>
                  <a:lnTo>
                    <a:pt x="30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42" y="192"/>
                  </a:lnTo>
                  <a:lnTo>
                    <a:pt x="66" y="186"/>
                  </a:lnTo>
                  <a:lnTo>
                    <a:pt x="90" y="156"/>
                  </a:lnTo>
                  <a:lnTo>
                    <a:pt x="102" y="144"/>
                  </a:lnTo>
                  <a:lnTo>
                    <a:pt x="138" y="150"/>
                  </a:lnTo>
                  <a:lnTo>
                    <a:pt x="162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0" y="180"/>
                  </a:lnTo>
                  <a:lnTo>
                    <a:pt x="174" y="180"/>
                  </a:lnTo>
                  <a:lnTo>
                    <a:pt x="180" y="186"/>
                  </a:lnTo>
                  <a:lnTo>
                    <a:pt x="186" y="186"/>
                  </a:lnTo>
                  <a:lnTo>
                    <a:pt x="198" y="192"/>
                  </a:lnTo>
                  <a:lnTo>
                    <a:pt x="216" y="198"/>
                  </a:lnTo>
                  <a:lnTo>
                    <a:pt x="252" y="204"/>
                  </a:lnTo>
                  <a:lnTo>
                    <a:pt x="258" y="210"/>
                  </a:lnTo>
                  <a:lnTo>
                    <a:pt x="306" y="216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84" y="210"/>
                  </a:lnTo>
                  <a:lnTo>
                    <a:pt x="408" y="222"/>
                  </a:lnTo>
                  <a:lnTo>
                    <a:pt x="438" y="228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86" y="222"/>
                  </a:lnTo>
                  <a:lnTo>
                    <a:pt x="492" y="210"/>
                  </a:lnTo>
                  <a:lnTo>
                    <a:pt x="492" y="198"/>
                  </a:lnTo>
                  <a:lnTo>
                    <a:pt x="486" y="180"/>
                  </a:lnTo>
                  <a:lnTo>
                    <a:pt x="492" y="162"/>
                  </a:lnTo>
                  <a:lnTo>
                    <a:pt x="510" y="96"/>
                  </a:lnTo>
                  <a:lnTo>
                    <a:pt x="516" y="84"/>
                  </a:lnTo>
                  <a:lnTo>
                    <a:pt x="522" y="84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34" y="72"/>
                  </a:lnTo>
                  <a:lnTo>
                    <a:pt x="534" y="60"/>
                  </a:lnTo>
                  <a:lnTo>
                    <a:pt x="540" y="36"/>
                  </a:lnTo>
                  <a:lnTo>
                    <a:pt x="546" y="6"/>
                  </a:lnTo>
                  <a:lnTo>
                    <a:pt x="558" y="6"/>
                  </a:lnTo>
                  <a:lnTo>
                    <a:pt x="564" y="0"/>
                  </a:lnTo>
                  <a:lnTo>
                    <a:pt x="582" y="0"/>
                  </a:lnTo>
                  <a:lnTo>
                    <a:pt x="588" y="0"/>
                  </a:lnTo>
                  <a:lnTo>
                    <a:pt x="594" y="6"/>
                  </a:lnTo>
                  <a:lnTo>
                    <a:pt x="600" y="12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24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36" y="36"/>
                  </a:lnTo>
                  <a:lnTo>
                    <a:pt x="642" y="36"/>
                  </a:lnTo>
                  <a:lnTo>
                    <a:pt x="642" y="42"/>
                  </a:lnTo>
                  <a:lnTo>
                    <a:pt x="648" y="54"/>
                  </a:lnTo>
                  <a:lnTo>
                    <a:pt x="660" y="72"/>
                  </a:lnTo>
                  <a:lnTo>
                    <a:pt x="666" y="78"/>
                  </a:lnTo>
                  <a:lnTo>
                    <a:pt x="672" y="90"/>
                  </a:lnTo>
                  <a:lnTo>
                    <a:pt x="678" y="102"/>
                  </a:lnTo>
                  <a:lnTo>
                    <a:pt x="678" y="114"/>
                  </a:lnTo>
                  <a:lnTo>
                    <a:pt x="684" y="132"/>
                  </a:lnTo>
                  <a:lnTo>
                    <a:pt x="684" y="144"/>
                  </a:lnTo>
                  <a:lnTo>
                    <a:pt x="690" y="162"/>
                  </a:lnTo>
                  <a:lnTo>
                    <a:pt x="696" y="168"/>
                  </a:lnTo>
                  <a:lnTo>
                    <a:pt x="696" y="180"/>
                  </a:lnTo>
                  <a:lnTo>
                    <a:pt x="702" y="186"/>
                  </a:lnTo>
                  <a:lnTo>
                    <a:pt x="708" y="186"/>
                  </a:lnTo>
                  <a:lnTo>
                    <a:pt x="714" y="198"/>
                  </a:lnTo>
                  <a:lnTo>
                    <a:pt x="720" y="198"/>
                  </a:lnTo>
                  <a:lnTo>
                    <a:pt x="732" y="204"/>
                  </a:lnTo>
                  <a:lnTo>
                    <a:pt x="738" y="210"/>
                  </a:lnTo>
                  <a:lnTo>
                    <a:pt x="738" y="216"/>
                  </a:lnTo>
                  <a:lnTo>
                    <a:pt x="744" y="222"/>
                  </a:lnTo>
                  <a:lnTo>
                    <a:pt x="750" y="228"/>
                  </a:lnTo>
                  <a:lnTo>
                    <a:pt x="756" y="228"/>
                  </a:lnTo>
                  <a:lnTo>
                    <a:pt x="768" y="240"/>
                  </a:lnTo>
                  <a:lnTo>
                    <a:pt x="774" y="252"/>
                  </a:lnTo>
                  <a:lnTo>
                    <a:pt x="780" y="258"/>
                  </a:lnTo>
                  <a:lnTo>
                    <a:pt x="786" y="258"/>
                  </a:lnTo>
                  <a:lnTo>
                    <a:pt x="798" y="264"/>
                  </a:lnTo>
                  <a:lnTo>
                    <a:pt x="798" y="270"/>
                  </a:lnTo>
                  <a:lnTo>
                    <a:pt x="798" y="276"/>
                  </a:lnTo>
                  <a:lnTo>
                    <a:pt x="810" y="288"/>
                  </a:lnTo>
                  <a:lnTo>
                    <a:pt x="816" y="288"/>
                  </a:lnTo>
                  <a:lnTo>
                    <a:pt x="816" y="300"/>
                  </a:lnTo>
                  <a:lnTo>
                    <a:pt x="816" y="306"/>
                  </a:lnTo>
                  <a:lnTo>
                    <a:pt x="822" y="318"/>
                  </a:lnTo>
                  <a:lnTo>
                    <a:pt x="828" y="324"/>
                  </a:lnTo>
                  <a:lnTo>
                    <a:pt x="834" y="330"/>
                  </a:lnTo>
                  <a:lnTo>
                    <a:pt x="846" y="336"/>
                  </a:lnTo>
                  <a:lnTo>
                    <a:pt x="846" y="342"/>
                  </a:lnTo>
                  <a:lnTo>
                    <a:pt x="852" y="348"/>
                  </a:lnTo>
                  <a:lnTo>
                    <a:pt x="852" y="354"/>
                  </a:lnTo>
                  <a:lnTo>
                    <a:pt x="858" y="354"/>
                  </a:lnTo>
                  <a:lnTo>
                    <a:pt x="858" y="348"/>
                  </a:lnTo>
                  <a:lnTo>
                    <a:pt x="864" y="342"/>
                  </a:lnTo>
                  <a:lnTo>
                    <a:pt x="864" y="336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76" y="306"/>
                  </a:lnTo>
                  <a:lnTo>
                    <a:pt x="870" y="300"/>
                  </a:lnTo>
                  <a:lnTo>
                    <a:pt x="870" y="294"/>
                  </a:lnTo>
                  <a:lnTo>
                    <a:pt x="876" y="294"/>
                  </a:lnTo>
                  <a:lnTo>
                    <a:pt x="882" y="300"/>
                  </a:lnTo>
                  <a:lnTo>
                    <a:pt x="888" y="300"/>
                  </a:lnTo>
                  <a:lnTo>
                    <a:pt x="888" y="306"/>
                  </a:lnTo>
                  <a:lnTo>
                    <a:pt x="894" y="300"/>
                  </a:lnTo>
                  <a:lnTo>
                    <a:pt x="900" y="294"/>
                  </a:lnTo>
                  <a:lnTo>
                    <a:pt x="894" y="288"/>
                  </a:lnTo>
                  <a:lnTo>
                    <a:pt x="888" y="282"/>
                  </a:lnTo>
                  <a:lnTo>
                    <a:pt x="888" y="276"/>
                  </a:lnTo>
                  <a:lnTo>
                    <a:pt x="894" y="276"/>
                  </a:lnTo>
                  <a:lnTo>
                    <a:pt x="900" y="276"/>
                  </a:lnTo>
                  <a:lnTo>
                    <a:pt x="900" y="270"/>
                  </a:lnTo>
                  <a:lnTo>
                    <a:pt x="906" y="264"/>
                  </a:lnTo>
                  <a:lnTo>
                    <a:pt x="906" y="258"/>
                  </a:lnTo>
                  <a:lnTo>
                    <a:pt x="918" y="264"/>
                  </a:lnTo>
                  <a:lnTo>
                    <a:pt x="918" y="258"/>
                  </a:lnTo>
                  <a:lnTo>
                    <a:pt x="924" y="252"/>
                  </a:lnTo>
                  <a:lnTo>
                    <a:pt x="930" y="252"/>
                  </a:lnTo>
                  <a:lnTo>
                    <a:pt x="930" y="246"/>
                  </a:lnTo>
                  <a:lnTo>
                    <a:pt x="936" y="234"/>
                  </a:lnTo>
                  <a:lnTo>
                    <a:pt x="942" y="228"/>
                  </a:lnTo>
                  <a:lnTo>
                    <a:pt x="942" y="222"/>
                  </a:lnTo>
                  <a:lnTo>
                    <a:pt x="948" y="222"/>
                  </a:lnTo>
                  <a:lnTo>
                    <a:pt x="948" y="216"/>
                  </a:lnTo>
                  <a:lnTo>
                    <a:pt x="942" y="216"/>
                  </a:lnTo>
                  <a:lnTo>
                    <a:pt x="936" y="216"/>
                  </a:lnTo>
                  <a:lnTo>
                    <a:pt x="936" y="210"/>
                  </a:lnTo>
                  <a:lnTo>
                    <a:pt x="942" y="210"/>
                  </a:lnTo>
                  <a:lnTo>
                    <a:pt x="972" y="210"/>
                  </a:lnTo>
                  <a:lnTo>
                    <a:pt x="1032" y="216"/>
                  </a:lnTo>
                  <a:lnTo>
                    <a:pt x="1068" y="216"/>
                  </a:lnTo>
                  <a:lnTo>
                    <a:pt x="1056" y="234"/>
                  </a:lnTo>
                  <a:lnTo>
                    <a:pt x="1050" y="240"/>
                  </a:lnTo>
                  <a:lnTo>
                    <a:pt x="1044" y="246"/>
                  </a:lnTo>
                  <a:lnTo>
                    <a:pt x="1038" y="246"/>
                  </a:lnTo>
                  <a:lnTo>
                    <a:pt x="1026" y="282"/>
                  </a:lnTo>
                  <a:lnTo>
                    <a:pt x="1032" y="306"/>
                  </a:lnTo>
                  <a:lnTo>
                    <a:pt x="1044" y="324"/>
                  </a:lnTo>
                  <a:lnTo>
                    <a:pt x="1044" y="342"/>
                  </a:lnTo>
                  <a:lnTo>
                    <a:pt x="1062" y="366"/>
                  </a:lnTo>
                  <a:lnTo>
                    <a:pt x="1056" y="396"/>
                  </a:lnTo>
                  <a:lnTo>
                    <a:pt x="1038" y="462"/>
                  </a:lnTo>
                  <a:lnTo>
                    <a:pt x="1038" y="498"/>
                  </a:lnTo>
                  <a:lnTo>
                    <a:pt x="1038" y="522"/>
                  </a:lnTo>
                  <a:lnTo>
                    <a:pt x="1038" y="534"/>
                  </a:lnTo>
                  <a:lnTo>
                    <a:pt x="1056" y="522"/>
                  </a:lnTo>
                  <a:lnTo>
                    <a:pt x="1098" y="504"/>
                  </a:lnTo>
                  <a:lnTo>
                    <a:pt x="1104" y="498"/>
                  </a:lnTo>
                  <a:lnTo>
                    <a:pt x="1128" y="492"/>
                  </a:lnTo>
                  <a:lnTo>
                    <a:pt x="1152" y="480"/>
                  </a:lnTo>
                  <a:lnTo>
                    <a:pt x="1170" y="474"/>
                  </a:lnTo>
                  <a:lnTo>
                    <a:pt x="1188" y="468"/>
                  </a:lnTo>
                  <a:lnTo>
                    <a:pt x="1200" y="462"/>
                  </a:lnTo>
                  <a:lnTo>
                    <a:pt x="1224" y="450"/>
                  </a:lnTo>
                  <a:lnTo>
                    <a:pt x="1248" y="450"/>
                  </a:lnTo>
                  <a:lnTo>
                    <a:pt x="1266" y="450"/>
                  </a:lnTo>
                  <a:lnTo>
                    <a:pt x="1296" y="456"/>
                  </a:lnTo>
                  <a:lnTo>
                    <a:pt x="1308" y="456"/>
                  </a:lnTo>
                  <a:lnTo>
                    <a:pt x="1326" y="456"/>
                  </a:lnTo>
                  <a:lnTo>
                    <a:pt x="1338" y="456"/>
                  </a:lnTo>
                  <a:lnTo>
                    <a:pt x="1350" y="462"/>
                  </a:lnTo>
                  <a:lnTo>
                    <a:pt x="1356" y="462"/>
                  </a:lnTo>
                  <a:lnTo>
                    <a:pt x="1374" y="456"/>
                  </a:lnTo>
                  <a:lnTo>
                    <a:pt x="1386" y="456"/>
                  </a:lnTo>
                  <a:lnTo>
                    <a:pt x="1392" y="456"/>
                  </a:lnTo>
                  <a:lnTo>
                    <a:pt x="1398" y="456"/>
                  </a:lnTo>
                  <a:lnTo>
                    <a:pt x="1422" y="456"/>
                  </a:lnTo>
                  <a:lnTo>
                    <a:pt x="1440" y="456"/>
                  </a:lnTo>
                  <a:lnTo>
                    <a:pt x="1446" y="456"/>
                  </a:lnTo>
                  <a:lnTo>
                    <a:pt x="1476" y="456"/>
                  </a:lnTo>
                  <a:lnTo>
                    <a:pt x="1470" y="468"/>
                  </a:lnTo>
                  <a:lnTo>
                    <a:pt x="1470" y="474"/>
                  </a:lnTo>
                  <a:lnTo>
                    <a:pt x="1470" y="486"/>
                  </a:lnTo>
                  <a:lnTo>
                    <a:pt x="1464" y="492"/>
                  </a:lnTo>
                  <a:lnTo>
                    <a:pt x="1464" y="498"/>
                  </a:lnTo>
                  <a:lnTo>
                    <a:pt x="1458" y="498"/>
                  </a:lnTo>
                  <a:lnTo>
                    <a:pt x="1458" y="510"/>
                  </a:lnTo>
                  <a:lnTo>
                    <a:pt x="1452" y="522"/>
                  </a:lnTo>
                  <a:lnTo>
                    <a:pt x="1458" y="528"/>
                  </a:lnTo>
                  <a:lnTo>
                    <a:pt x="1464" y="546"/>
                  </a:lnTo>
                  <a:lnTo>
                    <a:pt x="1470" y="552"/>
                  </a:lnTo>
                  <a:lnTo>
                    <a:pt x="1476" y="564"/>
                  </a:lnTo>
                  <a:lnTo>
                    <a:pt x="1488" y="588"/>
                  </a:lnTo>
                  <a:lnTo>
                    <a:pt x="1506" y="606"/>
                  </a:lnTo>
                  <a:lnTo>
                    <a:pt x="1506" y="612"/>
                  </a:lnTo>
                  <a:lnTo>
                    <a:pt x="1518" y="618"/>
                  </a:lnTo>
                  <a:lnTo>
                    <a:pt x="1512" y="630"/>
                  </a:lnTo>
                  <a:lnTo>
                    <a:pt x="1518" y="642"/>
                  </a:lnTo>
                  <a:lnTo>
                    <a:pt x="1518" y="648"/>
                  </a:lnTo>
                  <a:lnTo>
                    <a:pt x="1530" y="666"/>
                  </a:lnTo>
                  <a:lnTo>
                    <a:pt x="1518" y="672"/>
                  </a:lnTo>
                  <a:lnTo>
                    <a:pt x="1524" y="696"/>
                  </a:lnTo>
                  <a:lnTo>
                    <a:pt x="1518" y="732"/>
                  </a:lnTo>
                  <a:lnTo>
                    <a:pt x="1524" y="762"/>
                  </a:lnTo>
                  <a:lnTo>
                    <a:pt x="1524" y="780"/>
                  </a:lnTo>
                  <a:lnTo>
                    <a:pt x="1524" y="810"/>
                  </a:lnTo>
                  <a:lnTo>
                    <a:pt x="1530" y="834"/>
                  </a:lnTo>
                  <a:lnTo>
                    <a:pt x="1536" y="846"/>
                  </a:lnTo>
                  <a:lnTo>
                    <a:pt x="1542" y="846"/>
                  </a:lnTo>
                  <a:lnTo>
                    <a:pt x="1584" y="840"/>
                  </a:lnTo>
                  <a:lnTo>
                    <a:pt x="1590" y="846"/>
                  </a:lnTo>
                  <a:lnTo>
                    <a:pt x="1596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90" y="864"/>
                  </a:lnTo>
                  <a:lnTo>
                    <a:pt x="1578" y="882"/>
                  </a:lnTo>
                  <a:lnTo>
                    <a:pt x="1572" y="906"/>
                  </a:lnTo>
                  <a:lnTo>
                    <a:pt x="1560" y="924"/>
                  </a:lnTo>
                  <a:lnTo>
                    <a:pt x="1560" y="936"/>
                  </a:lnTo>
                  <a:lnTo>
                    <a:pt x="1548" y="960"/>
                  </a:lnTo>
                  <a:lnTo>
                    <a:pt x="1542" y="978"/>
                  </a:lnTo>
                  <a:lnTo>
                    <a:pt x="1536" y="990"/>
                  </a:lnTo>
                  <a:lnTo>
                    <a:pt x="1530" y="990"/>
                  </a:lnTo>
                  <a:lnTo>
                    <a:pt x="1506" y="996"/>
                  </a:lnTo>
                  <a:lnTo>
                    <a:pt x="1494" y="1002"/>
                  </a:lnTo>
                  <a:lnTo>
                    <a:pt x="1482" y="1002"/>
                  </a:lnTo>
                  <a:lnTo>
                    <a:pt x="1464" y="1008"/>
                  </a:lnTo>
                  <a:lnTo>
                    <a:pt x="1446" y="1026"/>
                  </a:lnTo>
                  <a:lnTo>
                    <a:pt x="1440" y="1026"/>
                  </a:lnTo>
                  <a:lnTo>
                    <a:pt x="1434" y="1038"/>
                  </a:lnTo>
                  <a:lnTo>
                    <a:pt x="1428" y="1044"/>
                  </a:lnTo>
                  <a:lnTo>
                    <a:pt x="1428" y="1062"/>
                  </a:lnTo>
                  <a:lnTo>
                    <a:pt x="1428" y="1086"/>
                  </a:lnTo>
                  <a:lnTo>
                    <a:pt x="1416" y="1092"/>
                  </a:lnTo>
                  <a:lnTo>
                    <a:pt x="1410" y="1080"/>
                  </a:lnTo>
                  <a:lnTo>
                    <a:pt x="1392" y="10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0" name="Freeform 25">
              <a:extLst>
                <a:ext uri="{FF2B5EF4-FFF2-40B4-BE49-F238E27FC236}">
                  <a16:creationId xmlns:a16="http://schemas.microsoft.com/office/drawing/2014/main" id="{39FDFF90-5ACF-4D65-81AD-C44D2CBE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70228" y="3063559"/>
              <a:ext cx="644023" cy="704498"/>
            </a:xfrm>
            <a:custGeom>
              <a:avLst/>
              <a:gdLst>
                <a:gd name="T0" fmla="*/ 74 w 1212"/>
                <a:gd name="T1" fmla="*/ 113 h 1326"/>
                <a:gd name="T2" fmla="*/ 60 w 1212"/>
                <a:gd name="T3" fmla="*/ 116 h 1326"/>
                <a:gd name="T4" fmla="*/ 62 w 1212"/>
                <a:gd name="T5" fmla="*/ 110 h 1326"/>
                <a:gd name="T6" fmla="*/ 60 w 1212"/>
                <a:gd name="T7" fmla="*/ 105 h 1326"/>
                <a:gd name="T8" fmla="*/ 52 w 1212"/>
                <a:gd name="T9" fmla="*/ 96 h 1326"/>
                <a:gd name="T10" fmla="*/ 47 w 1212"/>
                <a:gd name="T11" fmla="*/ 98 h 1326"/>
                <a:gd name="T12" fmla="*/ 44 w 1212"/>
                <a:gd name="T13" fmla="*/ 93 h 1326"/>
                <a:gd name="T14" fmla="*/ 40 w 1212"/>
                <a:gd name="T15" fmla="*/ 96 h 1326"/>
                <a:gd name="T16" fmla="*/ 35 w 1212"/>
                <a:gd name="T17" fmla="*/ 102 h 1326"/>
                <a:gd name="T18" fmla="*/ 27 w 1212"/>
                <a:gd name="T19" fmla="*/ 100 h 1326"/>
                <a:gd name="T20" fmla="*/ 23 w 1212"/>
                <a:gd name="T21" fmla="*/ 96 h 1326"/>
                <a:gd name="T22" fmla="*/ 20 w 1212"/>
                <a:gd name="T23" fmla="*/ 90 h 1326"/>
                <a:gd name="T24" fmla="*/ 18 w 1212"/>
                <a:gd name="T25" fmla="*/ 89 h 1326"/>
                <a:gd name="T26" fmla="*/ 18 w 1212"/>
                <a:gd name="T27" fmla="*/ 85 h 1326"/>
                <a:gd name="T28" fmla="*/ 19 w 1212"/>
                <a:gd name="T29" fmla="*/ 83 h 1326"/>
                <a:gd name="T30" fmla="*/ 19 w 1212"/>
                <a:gd name="T31" fmla="*/ 82 h 1326"/>
                <a:gd name="T32" fmla="*/ 20 w 1212"/>
                <a:gd name="T33" fmla="*/ 79 h 1326"/>
                <a:gd name="T34" fmla="*/ 19 w 1212"/>
                <a:gd name="T35" fmla="*/ 75 h 1326"/>
                <a:gd name="T36" fmla="*/ 17 w 1212"/>
                <a:gd name="T37" fmla="*/ 77 h 1326"/>
                <a:gd name="T38" fmla="*/ 14 w 1212"/>
                <a:gd name="T39" fmla="*/ 76 h 1326"/>
                <a:gd name="T40" fmla="*/ 12 w 1212"/>
                <a:gd name="T41" fmla="*/ 71 h 1326"/>
                <a:gd name="T42" fmla="*/ 8 w 1212"/>
                <a:gd name="T43" fmla="*/ 69 h 1326"/>
                <a:gd name="T44" fmla="*/ 0 w 1212"/>
                <a:gd name="T45" fmla="*/ 72 h 1326"/>
                <a:gd name="T46" fmla="*/ 2 w 1212"/>
                <a:gd name="T47" fmla="*/ 67 h 1326"/>
                <a:gd name="T48" fmla="*/ 3 w 1212"/>
                <a:gd name="T49" fmla="*/ 61 h 1326"/>
                <a:gd name="T50" fmla="*/ 4 w 1212"/>
                <a:gd name="T51" fmla="*/ 56 h 1326"/>
                <a:gd name="T52" fmla="*/ 4 w 1212"/>
                <a:gd name="T53" fmla="*/ 52 h 1326"/>
                <a:gd name="T54" fmla="*/ 2 w 1212"/>
                <a:gd name="T55" fmla="*/ 47 h 1326"/>
                <a:gd name="T56" fmla="*/ 2 w 1212"/>
                <a:gd name="T57" fmla="*/ 42 h 1326"/>
                <a:gd name="T58" fmla="*/ 5 w 1212"/>
                <a:gd name="T59" fmla="*/ 39 h 1326"/>
                <a:gd name="T60" fmla="*/ 5 w 1212"/>
                <a:gd name="T61" fmla="*/ 35 h 1326"/>
                <a:gd name="T62" fmla="*/ 7 w 1212"/>
                <a:gd name="T63" fmla="*/ 31 h 1326"/>
                <a:gd name="T64" fmla="*/ 14 w 1212"/>
                <a:gd name="T65" fmla="*/ 31 h 1326"/>
                <a:gd name="T66" fmla="*/ 18 w 1212"/>
                <a:gd name="T67" fmla="*/ 27 h 1326"/>
                <a:gd name="T68" fmla="*/ 22 w 1212"/>
                <a:gd name="T69" fmla="*/ 24 h 1326"/>
                <a:gd name="T70" fmla="*/ 27 w 1212"/>
                <a:gd name="T71" fmla="*/ 20 h 1326"/>
                <a:gd name="T72" fmla="*/ 35 w 1212"/>
                <a:gd name="T73" fmla="*/ 21 h 1326"/>
                <a:gd name="T74" fmla="*/ 61 w 1212"/>
                <a:gd name="T75" fmla="*/ 8 h 1326"/>
                <a:gd name="T76" fmla="*/ 73 w 1212"/>
                <a:gd name="T77" fmla="*/ 4 h 1326"/>
                <a:gd name="T78" fmla="*/ 86 w 1212"/>
                <a:gd name="T79" fmla="*/ 12 h 1326"/>
                <a:gd name="T80" fmla="*/ 92 w 1212"/>
                <a:gd name="T81" fmla="*/ 13 h 1326"/>
                <a:gd name="T82" fmla="*/ 86 w 1212"/>
                <a:gd name="T83" fmla="*/ 18 h 1326"/>
                <a:gd name="T84" fmla="*/ 88 w 1212"/>
                <a:gd name="T85" fmla="*/ 33 h 1326"/>
                <a:gd name="T86" fmla="*/ 97 w 1212"/>
                <a:gd name="T87" fmla="*/ 49 h 1326"/>
                <a:gd name="T88" fmla="*/ 102 w 1212"/>
                <a:gd name="T89" fmla="*/ 57 h 1326"/>
                <a:gd name="T90" fmla="*/ 104 w 1212"/>
                <a:gd name="T91" fmla="*/ 67 h 1326"/>
                <a:gd name="T92" fmla="*/ 101 w 1212"/>
                <a:gd name="T93" fmla="*/ 69 h 1326"/>
                <a:gd name="T94" fmla="*/ 97 w 1212"/>
                <a:gd name="T95" fmla="*/ 69 h 1326"/>
                <a:gd name="T96" fmla="*/ 96 w 1212"/>
                <a:gd name="T97" fmla="*/ 71 h 1326"/>
                <a:gd name="T98" fmla="*/ 93 w 1212"/>
                <a:gd name="T99" fmla="*/ 70 h 1326"/>
                <a:gd name="T100" fmla="*/ 86 w 1212"/>
                <a:gd name="T101" fmla="*/ 69 h 1326"/>
                <a:gd name="T102" fmla="*/ 82 w 1212"/>
                <a:gd name="T103" fmla="*/ 73 h 1326"/>
                <a:gd name="T104" fmla="*/ 79 w 1212"/>
                <a:gd name="T105" fmla="*/ 74 h 1326"/>
                <a:gd name="T106" fmla="*/ 78 w 1212"/>
                <a:gd name="T107" fmla="*/ 79 h 1326"/>
                <a:gd name="T108" fmla="*/ 78 w 1212"/>
                <a:gd name="T109" fmla="*/ 83 h 1326"/>
                <a:gd name="T110" fmla="*/ 82 w 1212"/>
                <a:gd name="T111" fmla="*/ 87 h 1326"/>
                <a:gd name="T112" fmla="*/ 83 w 1212"/>
                <a:gd name="T113" fmla="*/ 90 h 1326"/>
                <a:gd name="T114" fmla="*/ 82 w 1212"/>
                <a:gd name="T115" fmla="*/ 94 h 1326"/>
                <a:gd name="T116" fmla="*/ 82 w 1212"/>
                <a:gd name="T117" fmla="*/ 98 h 1326"/>
                <a:gd name="T118" fmla="*/ 82 w 1212"/>
                <a:gd name="T119" fmla="*/ 104 h 1326"/>
                <a:gd name="T120" fmla="*/ 78 w 1212"/>
                <a:gd name="T121" fmla="*/ 110 h 132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12"/>
                <a:gd name="T184" fmla="*/ 0 h 1326"/>
                <a:gd name="T185" fmla="*/ 1212 w 1212"/>
                <a:gd name="T186" fmla="*/ 1326 h 132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12" h="1326">
                  <a:moveTo>
                    <a:pt x="906" y="1290"/>
                  </a:moveTo>
                  <a:lnTo>
                    <a:pt x="906" y="1296"/>
                  </a:lnTo>
                  <a:lnTo>
                    <a:pt x="900" y="1296"/>
                  </a:lnTo>
                  <a:lnTo>
                    <a:pt x="876" y="1290"/>
                  </a:lnTo>
                  <a:lnTo>
                    <a:pt x="870" y="1290"/>
                  </a:lnTo>
                  <a:lnTo>
                    <a:pt x="864" y="1296"/>
                  </a:lnTo>
                  <a:lnTo>
                    <a:pt x="852" y="1296"/>
                  </a:lnTo>
                  <a:lnTo>
                    <a:pt x="840" y="1302"/>
                  </a:lnTo>
                  <a:lnTo>
                    <a:pt x="834" y="1308"/>
                  </a:lnTo>
                  <a:lnTo>
                    <a:pt x="822" y="1320"/>
                  </a:lnTo>
                  <a:lnTo>
                    <a:pt x="816" y="1320"/>
                  </a:lnTo>
                  <a:lnTo>
                    <a:pt x="732" y="1320"/>
                  </a:lnTo>
                  <a:lnTo>
                    <a:pt x="696" y="1320"/>
                  </a:lnTo>
                  <a:lnTo>
                    <a:pt x="690" y="1326"/>
                  </a:lnTo>
                  <a:lnTo>
                    <a:pt x="678" y="1326"/>
                  </a:lnTo>
                  <a:lnTo>
                    <a:pt x="672" y="1308"/>
                  </a:lnTo>
                  <a:lnTo>
                    <a:pt x="696" y="1302"/>
                  </a:lnTo>
                  <a:lnTo>
                    <a:pt x="708" y="1296"/>
                  </a:lnTo>
                  <a:lnTo>
                    <a:pt x="720" y="1284"/>
                  </a:lnTo>
                  <a:lnTo>
                    <a:pt x="714" y="1278"/>
                  </a:lnTo>
                  <a:lnTo>
                    <a:pt x="714" y="1266"/>
                  </a:lnTo>
                  <a:lnTo>
                    <a:pt x="708" y="1260"/>
                  </a:lnTo>
                  <a:lnTo>
                    <a:pt x="708" y="1254"/>
                  </a:lnTo>
                  <a:lnTo>
                    <a:pt x="708" y="1248"/>
                  </a:lnTo>
                  <a:lnTo>
                    <a:pt x="702" y="1236"/>
                  </a:lnTo>
                  <a:lnTo>
                    <a:pt x="702" y="1230"/>
                  </a:lnTo>
                  <a:lnTo>
                    <a:pt x="702" y="1218"/>
                  </a:lnTo>
                  <a:lnTo>
                    <a:pt x="696" y="1200"/>
                  </a:lnTo>
                  <a:lnTo>
                    <a:pt x="696" y="1182"/>
                  </a:lnTo>
                  <a:lnTo>
                    <a:pt x="666" y="1182"/>
                  </a:lnTo>
                  <a:lnTo>
                    <a:pt x="672" y="1134"/>
                  </a:lnTo>
                  <a:lnTo>
                    <a:pt x="666" y="1128"/>
                  </a:lnTo>
                  <a:lnTo>
                    <a:pt x="660" y="1092"/>
                  </a:lnTo>
                  <a:lnTo>
                    <a:pt x="654" y="1098"/>
                  </a:lnTo>
                  <a:lnTo>
                    <a:pt x="594" y="1098"/>
                  </a:lnTo>
                  <a:lnTo>
                    <a:pt x="576" y="1098"/>
                  </a:lnTo>
                  <a:lnTo>
                    <a:pt x="570" y="1104"/>
                  </a:lnTo>
                  <a:lnTo>
                    <a:pt x="564" y="1110"/>
                  </a:lnTo>
                  <a:lnTo>
                    <a:pt x="558" y="1110"/>
                  </a:lnTo>
                  <a:lnTo>
                    <a:pt x="552" y="1110"/>
                  </a:lnTo>
                  <a:lnTo>
                    <a:pt x="546" y="1110"/>
                  </a:lnTo>
                  <a:lnTo>
                    <a:pt x="546" y="1116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10" y="1128"/>
                  </a:lnTo>
                  <a:lnTo>
                    <a:pt x="522" y="1104"/>
                  </a:lnTo>
                  <a:lnTo>
                    <a:pt x="510" y="1098"/>
                  </a:lnTo>
                  <a:lnTo>
                    <a:pt x="510" y="1074"/>
                  </a:lnTo>
                  <a:lnTo>
                    <a:pt x="504" y="1068"/>
                  </a:lnTo>
                  <a:lnTo>
                    <a:pt x="498" y="1068"/>
                  </a:lnTo>
                  <a:lnTo>
                    <a:pt x="492" y="1068"/>
                  </a:lnTo>
                  <a:lnTo>
                    <a:pt x="474" y="1080"/>
                  </a:lnTo>
                  <a:lnTo>
                    <a:pt x="474" y="1086"/>
                  </a:lnTo>
                  <a:lnTo>
                    <a:pt x="474" y="1092"/>
                  </a:lnTo>
                  <a:lnTo>
                    <a:pt x="468" y="1098"/>
                  </a:lnTo>
                  <a:lnTo>
                    <a:pt x="462" y="1104"/>
                  </a:lnTo>
                  <a:lnTo>
                    <a:pt x="456" y="1110"/>
                  </a:lnTo>
                  <a:lnTo>
                    <a:pt x="456" y="1122"/>
                  </a:lnTo>
                  <a:lnTo>
                    <a:pt x="456" y="1128"/>
                  </a:lnTo>
                  <a:lnTo>
                    <a:pt x="450" y="1140"/>
                  </a:lnTo>
                  <a:lnTo>
                    <a:pt x="444" y="1146"/>
                  </a:lnTo>
                  <a:lnTo>
                    <a:pt x="426" y="1170"/>
                  </a:lnTo>
                  <a:lnTo>
                    <a:pt x="408" y="1176"/>
                  </a:lnTo>
                  <a:lnTo>
                    <a:pt x="402" y="1170"/>
                  </a:lnTo>
                  <a:lnTo>
                    <a:pt x="396" y="1170"/>
                  </a:lnTo>
                  <a:lnTo>
                    <a:pt x="396" y="1158"/>
                  </a:lnTo>
                  <a:lnTo>
                    <a:pt x="384" y="1152"/>
                  </a:lnTo>
                  <a:lnTo>
                    <a:pt x="372" y="1140"/>
                  </a:lnTo>
                  <a:lnTo>
                    <a:pt x="354" y="1140"/>
                  </a:lnTo>
                  <a:lnTo>
                    <a:pt x="306" y="1146"/>
                  </a:lnTo>
                  <a:lnTo>
                    <a:pt x="294" y="1134"/>
                  </a:lnTo>
                  <a:lnTo>
                    <a:pt x="294" y="1128"/>
                  </a:lnTo>
                  <a:lnTo>
                    <a:pt x="288" y="1122"/>
                  </a:lnTo>
                  <a:lnTo>
                    <a:pt x="276" y="1122"/>
                  </a:lnTo>
                  <a:lnTo>
                    <a:pt x="276" y="1110"/>
                  </a:lnTo>
                  <a:lnTo>
                    <a:pt x="276" y="1104"/>
                  </a:lnTo>
                  <a:lnTo>
                    <a:pt x="270" y="1098"/>
                  </a:lnTo>
                  <a:lnTo>
                    <a:pt x="264" y="1086"/>
                  </a:lnTo>
                  <a:lnTo>
                    <a:pt x="264" y="1074"/>
                  </a:lnTo>
                  <a:lnTo>
                    <a:pt x="258" y="1068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34" y="1038"/>
                  </a:lnTo>
                  <a:lnTo>
                    <a:pt x="228" y="1038"/>
                  </a:lnTo>
                  <a:lnTo>
                    <a:pt x="222" y="1038"/>
                  </a:lnTo>
                  <a:lnTo>
                    <a:pt x="216" y="1038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0"/>
                  </a:lnTo>
                  <a:lnTo>
                    <a:pt x="204" y="1014"/>
                  </a:lnTo>
                  <a:lnTo>
                    <a:pt x="204" y="1008"/>
                  </a:lnTo>
                  <a:lnTo>
                    <a:pt x="198" y="1002"/>
                  </a:lnTo>
                  <a:lnTo>
                    <a:pt x="198" y="996"/>
                  </a:lnTo>
                  <a:lnTo>
                    <a:pt x="198" y="990"/>
                  </a:lnTo>
                  <a:lnTo>
                    <a:pt x="204" y="990"/>
                  </a:lnTo>
                  <a:lnTo>
                    <a:pt x="204" y="984"/>
                  </a:lnTo>
                  <a:lnTo>
                    <a:pt x="210" y="978"/>
                  </a:lnTo>
                  <a:lnTo>
                    <a:pt x="210" y="972"/>
                  </a:lnTo>
                  <a:lnTo>
                    <a:pt x="210" y="966"/>
                  </a:lnTo>
                  <a:lnTo>
                    <a:pt x="216" y="960"/>
                  </a:lnTo>
                  <a:lnTo>
                    <a:pt x="216" y="954"/>
                  </a:lnTo>
                  <a:lnTo>
                    <a:pt x="210" y="954"/>
                  </a:lnTo>
                  <a:lnTo>
                    <a:pt x="204" y="954"/>
                  </a:lnTo>
                  <a:lnTo>
                    <a:pt x="216" y="954"/>
                  </a:lnTo>
                  <a:lnTo>
                    <a:pt x="216" y="948"/>
                  </a:lnTo>
                  <a:lnTo>
                    <a:pt x="210" y="948"/>
                  </a:lnTo>
                  <a:lnTo>
                    <a:pt x="210" y="942"/>
                  </a:lnTo>
                  <a:lnTo>
                    <a:pt x="216" y="942"/>
                  </a:lnTo>
                  <a:lnTo>
                    <a:pt x="222" y="942"/>
                  </a:lnTo>
                  <a:lnTo>
                    <a:pt x="222" y="936"/>
                  </a:lnTo>
                  <a:lnTo>
                    <a:pt x="216" y="936"/>
                  </a:lnTo>
                  <a:lnTo>
                    <a:pt x="210" y="936"/>
                  </a:lnTo>
                  <a:lnTo>
                    <a:pt x="210" y="930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22" y="918"/>
                  </a:lnTo>
                  <a:lnTo>
                    <a:pt x="228" y="912"/>
                  </a:lnTo>
                  <a:lnTo>
                    <a:pt x="228" y="906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2" y="888"/>
                  </a:lnTo>
                  <a:lnTo>
                    <a:pt x="222" y="882"/>
                  </a:lnTo>
                  <a:lnTo>
                    <a:pt x="222" y="876"/>
                  </a:lnTo>
                  <a:lnTo>
                    <a:pt x="222" y="858"/>
                  </a:lnTo>
                  <a:lnTo>
                    <a:pt x="216" y="858"/>
                  </a:lnTo>
                  <a:lnTo>
                    <a:pt x="216" y="852"/>
                  </a:lnTo>
                  <a:lnTo>
                    <a:pt x="210" y="852"/>
                  </a:lnTo>
                  <a:lnTo>
                    <a:pt x="210" y="840"/>
                  </a:lnTo>
                  <a:lnTo>
                    <a:pt x="198" y="840"/>
                  </a:lnTo>
                  <a:lnTo>
                    <a:pt x="198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0" y="894"/>
                  </a:lnTo>
                  <a:lnTo>
                    <a:pt x="180" y="906"/>
                  </a:lnTo>
                  <a:lnTo>
                    <a:pt x="156" y="912"/>
                  </a:lnTo>
                  <a:lnTo>
                    <a:pt x="156" y="894"/>
                  </a:lnTo>
                  <a:lnTo>
                    <a:pt x="156" y="882"/>
                  </a:lnTo>
                  <a:lnTo>
                    <a:pt x="156" y="876"/>
                  </a:lnTo>
                  <a:lnTo>
                    <a:pt x="150" y="876"/>
                  </a:lnTo>
                  <a:lnTo>
                    <a:pt x="144" y="876"/>
                  </a:lnTo>
                  <a:lnTo>
                    <a:pt x="138" y="870"/>
                  </a:lnTo>
                  <a:lnTo>
                    <a:pt x="132" y="864"/>
                  </a:lnTo>
                  <a:lnTo>
                    <a:pt x="138" y="840"/>
                  </a:lnTo>
                  <a:lnTo>
                    <a:pt x="132" y="840"/>
                  </a:lnTo>
                  <a:lnTo>
                    <a:pt x="138" y="810"/>
                  </a:lnTo>
                  <a:lnTo>
                    <a:pt x="144" y="804"/>
                  </a:lnTo>
                  <a:lnTo>
                    <a:pt x="144" y="798"/>
                  </a:lnTo>
                  <a:lnTo>
                    <a:pt x="156" y="798"/>
                  </a:lnTo>
                  <a:lnTo>
                    <a:pt x="156" y="792"/>
                  </a:lnTo>
                  <a:lnTo>
                    <a:pt x="120" y="792"/>
                  </a:lnTo>
                  <a:lnTo>
                    <a:pt x="108" y="786"/>
                  </a:lnTo>
                  <a:lnTo>
                    <a:pt x="96" y="786"/>
                  </a:lnTo>
                  <a:lnTo>
                    <a:pt x="96" y="780"/>
                  </a:lnTo>
                  <a:lnTo>
                    <a:pt x="78" y="780"/>
                  </a:lnTo>
                  <a:lnTo>
                    <a:pt x="72" y="804"/>
                  </a:lnTo>
                  <a:lnTo>
                    <a:pt x="60" y="816"/>
                  </a:lnTo>
                  <a:lnTo>
                    <a:pt x="36" y="828"/>
                  </a:lnTo>
                  <a:lnTo>
                    <a:pt x="18" y="840"/>
                  </a:lnTo>
                  <a:lnTo>
                    <a:pt x="0" y="822"/>
                  </a:lnTo>
                  <a:lnTo>
                    <a:pt x="6" y="816"/>
                  </a:lnTo>
                  <a:lnTo>
                    <a:pt x="12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18" y="786"/>
                  </a:lnTo>
                  <a:lnTo>
                    <a:pt x="24" y="780"/>
                  </a:lnTo>
                  <a:lnTo>
                    <a:pt x="24" y="768"/>
                  </a:lnTo>
                  <a:lnTo>
                    <a:pt x="24" y="762"/>
                  </a:lnTo>
                  <a:lnTo>
                    <a:pt x="24" y="750"/>
                  </a:lnTo>
                  <a:lnTo>
                    <a:pt x="36" y="714"/>
                  </a:lnTo>
                  <a:lnTo>
                    <a:pt x="36" y="708"/>
                  </a:lnTo>
                  <a:lnTo>
                    <a:pt x="42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6" y="690"/>
                  </a:lnTo>
                  <a:lnTo>
                    <a:pt x="42" y="684"/>
                  </a:lnTo>
                  <a:lnTo>
                    <a:pt x="42" y="672"/>
                  </a:lnTo>
                  <a:lnTo>
                    <a:pt x="42" y="666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48" y="648"/>
                  </a:lnTo>
                  <a:lnTo>
                    <a:pt x="54" y="642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54" y="612"/>
                  </a:lnTo>
                  <a:lnTo>
                    <a:pt x="48" y="606"/>
                  </a:lnTo>
                  <a:lnTo>
                    <a:pt x="48" y="600"/>
                  </a:lnTo>
                  <a:lnTo>
                    <a:pt x="42" y="600"/>
                  </a:lnTo>
                  <a:lnTo>
                    <a:pt x="36" y="594"/>
                  </a:lnTo>
                  <a:lnTo>
                    <a:pt x="36" y="588"/>
                  </a:lnTo>
                  <a:lnTo>
                    <a:pt x="30" y="582"/>
                  </a:lnTo>
                  <a:lnTo>
                    <a:pt x="30" y="570"/>
                  </a:lnTo>
                  <a:lnTo>
                    <a:pt x="18" y="552"/>
                  </a:lnTo>
                  <a:lnTo>
                    <a:pt x="18" y="546"/>
                  </a:lnTo>
                  <a:lnTo>
                    <a:pt x="18" y="540"/>
                  </a:lnTo>
                  <a:lnTo>
                    <a:pt x="18" y="528"/>
                  </a:lnTo>
                  <a:lnTo>
                    <a:pt x="18" y="522"/>
                  </a:lnTo>
                  <a:lnTo>
                    <a:pt x="24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30" y="474"/>
                  </a:lnTo>
                  <a:lnTo>
                    <a:pt x="36" y="474"/>
                  </a:lnTo>
                  <a:lnTo>
                    <a:pt x="42" y="468"/>
                  </a:lnTo>
                  <a:lnTo>
                    <a:pt x="48" y="468"/>
                  </a:lnTo>
                  <a:lnTo>
                    <a:pt x="48" y="462"/>
                  </a:lnTo>
                  <a:lnTo>
                    <a:pt x="48" y="456"/>
                  </a:lnTo>
                  <a:lnTo>
                    <a:pt x="54" y="450"/>
                  </a:lnTo>
                  <a:lnTo>
                    <a:pt x="60" y="438"/>
                  </a:lnTo>
                  <a:lnTo>
                    <a:pt x="54" y="438"/>
                  </a:lnTo>
                  <a:lnTo>
                    <a:pt x="54" y="432"/>
                  </a:ln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54" y="402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6" y="384"/>
                  </a:lnTo>
                  <a:lnTo>
                    <a:pt x="72" y="372"/>
                  </a:lnTo>
                  <a:lnTo>
                    <a:pt x="78" y="366"/>
                  </a:lnTo>
                  <a:lnTo>
                    <a:pt x="84" y="360"/>
                  </a:lnTo>
                  <a:lnTo>
                    <a:pt x="102" y="360"/>
                  </a:lnTo>
                  <a:lnTo>
                    <a:pt x="114" y="36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8" y="360"/>
                  </a:lnTo>
                  <a:lnTo>
                    <a:pt x="156" y="360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74" y="342"/>
                  </a:lnTo>
                  <a:lnTo>
                    <a:pt x="180" y="342"/>
                  </a:lnTo>
                  <a:lnTo>
                    <a:pt x="186" y="336"/>
                  </a:lnTo>
                  <a:lnTo>
                    <a:pt x="192" y="330"/>
                  </a:lnTo>
                  <a:lnTo>
                    <a:pt x="204" y="312"/>
                  </a:lnTo>
                  <a:lnTo>
                    <a:pt x="210" y="312"/>
                  </a:lnTo>
                  <a:lnTo>
                    <a:pt x="216" y="306"/>
                  </a:lnTo>
                  <a:lnTo>
                    <a:pt x="216" y="300"/>
                  </a:lnTo>
                  <a:lnTo>
                    <a:pt x="222" y="288"/>
                  </a:lnTo>
                  <a:lnTo>
                    <a:pt x="234" y="288"/>
                  </a:lnTo>
                  <a:lnTo>
                    <a:pt x="240" y="282"/>
                  </a:lnTo>
                  <a:lnTo>
                    <a:pt x="246" y="282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70" y="270"/>
                  </a:lnTo>
                  <a:lnTo>
                    <a:pt x="276" y="264"/>
                  </a:lnTo>
                  <a:lnTo>
                    <a:pt x="282" y="26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8" y="234"/>
                  </a:lnTo>
                  <a:lnTo>
                    <a:pt x="330" y="234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72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14" y="240"/>
                  </a:lnTo>
                  <a:lnTo>
                    <a:pt x="444" y="216"/>
                  </a:lnTo>
                  <a:lnTo>
                    <a:pt x="480" y="204"/>
                  </a:lnTo>
                  <a:lnTo>
                    <a:pt x="600" y="150"/>
                  </a:lnTo>
                  <a:lnTo>
                    <a:pt x="648" y="126"/>
                  </a:lnTo>
                  <a:lnTo>
                    <a:pt x="702" y="96"/>
                  </a:lnTo>
                  <a:lnTo>
                    <a:pt x="708" y="54"/>
                  </a:lnTo>
                  <a:lnTo>
                    <a:pt x="720" y="24"/>
                  </a:lnTo>
                  <a:lnTo>
                    <a:pt x="738" y="12"/>
                  </a:lnTo>
                  <a:lnTo>
                    <a:pt x="768" y="0"/>
                  </a:lnTo>
                  <a:lnTo>
                    <a:pt x="792" y="6"/>
                  </a:lnTo>
                  <a:lnTo>
                    <a:pt x="804" y="12"/>
                  </a:lnTo>
                  <a:lnTo>
                    <a:pt x="834" y="48"/>
                  </a:lnTo>
                  <a:lnTo>
                    <a:pt x="834" y="60"/>
                  </a:lnTo>
                  <a:lnTo>
                    <a:pt x="852" y="84"/>
                  </a:lnTo>
                  <a:lnTo>
                    <a:pt x="864" y="96"/>
                  </a:lnTo>
                  <a:lnTo>
                    <a:pt x="888" y="102"/>
                  </a:lnTo>
                  <a:lnTo>
                    <a:pt x="978" y="120"/>
                  </a:lnTo>
                  <a:lnTo>
                    <a:pt x="984" y="126"/>
                  </a:lnTo>
                  <a:lnTo>
                    <a:pt x="984" y="132"/>
                  </a:lnTo>
                  <a:lnTo>
                    <a:pt x="996" y="138"/>
                  </a:lnTo>
                  <a:lnTo>
                    <a:pt x="1038" y="126"/>
                  </a:lnTo>
                  <a:lnTo>
                    <a:pt x="1056" y="114"/>
                  </a:lnTo>
                  <a:lnTo>
                    <a:pt x="1068" y="126"/>
                  </a:lnTo>
                  <a:lnTo>
                    <a:pt x="1074" y="132"/>
                  </a:lnTo>
                  <a:lnTo>
                    <a:pt x="1068" y="138"/>
                  </a:lnTo>
                  <a:lnTo>
                    <a:pt x="1056" y="150"/>
                  </a:lnTo>
                  <a:lnTo>
                    <a:pt x="1038" y="162"/>
                  </a:lnTo>
                  <a:lnTo>
                    <a:pt x="1038" y="168"/>
                  </a:lnTo>
                  <a:lnTo>
                    <a:pt x="1020" y="174"/>
                  </a:lnTo>
                  <a:lnTo>
                    <a:pt x="1014" y="180"/>
                  </a:lnTo>
                  <a:lnTo>
                    <a:pt x="1008" y="186"/>
                  </a:lnTo>
                  <a:lnTo>
                    <a:pt x="1002" y="198"/>
                  </a:lnTo>
                  <a:lnTo>
                    <a:pt x="984" y="204"/>
                  </a:lnTo>
                  <a:lnTo>
                    <a:pt x="984" y="246"/>
                  </a:lnTo>
                  <a:lnTo>
                    <a:pt x="978" y="270"/>
                  </a:lnTo>
                  <a:lnTo>
                    <a:pt x="990" y="306"/>
                  </a:lnTo>
                  <a:lnTo>
                    <a:pt x="990" y="324"/>
                  </a:lnTo>
                  <a:lnTo>
                    <a:pt x="1002" y="336"/>
                  </a:lnTo>
                  <a:lnTo>
                    <a:pt x="1020" y="372"/>
                  </a:lnTo>
                  <a:lnTo>
                    <a:pt x="1014" y="378"/>
                  </a:lnTo>
                  <a:lnTo>
                    <a:pt x="1014" y="384"/>
                  </a:lnTo>
                  <a:lnTo>
                    <a:pt x="1020" y="384"/>
                  </a:lnTo>
                  <a:lnTo>
                    <a:pt x="1020" y="396"/>
                  </a:lnTo>
                  <a:lnTo>
                    <a:pt x="1062" y="468"/>
                  </a:lnTo>
                  <a:lnTo>
                    <a:pt x="1092" y="522"/>
                  </a:lnTo>
                  <a:lnTo>
                    <a:pt x="1110" y="546"/>
                  </a:lnTo>
                  <a:lnTo>
                    <a:pt x="1122" y="564"/>
                  </a:lnTo>
                  <a:lnTo>
                    <a:pt x="1134" y="576"/>
                  </a:lnTo>
                  <a:lnTo>
                    <a:pt x="1146" y="582"/>
                  </a:lnTo>
                  <a:lnTo>
                    <a:pt x="1146" y="588"/>
                  </a:lnTo>
                  <a:lnTo>
                    <a:pt x="1164" y="600"/>
                  </a:lnTo>
                  <a:lnTo>
                    <a:pt x="1170" y="612"/>
                  </a:lnTo>
                  <a:lnTo>
                    <a:pt x="1170" y="624"/>
                  </a:lnTo>
                  <a:lnTo>
                    <a:pt x="1176" y="654"/>
                  </a:lnTo>
                  <a:lnTo>
                    <a:pt x="1176" y="666"/>
                  </a:lnTo>
                  <a:lnTo>
                    <a:pt x="1182" y="684"/>
                  </a:lnTo>
                  <a:lnTo>
                    <a:pt x="1194" y="696"/>
                  </a:lnTo>
                  <a:lnTo>
                    <a:pt x="1212" y="696"/>
                  </a:lnTo>
                  <a:lnTo>
                    <a:pt x="1206" y="762"/>
                  </a:lnTo>
                  <a:lnTo>
                    <a:pt x="1200" y="768"/>
                  </a:lnTo>
                  <a:lnTo>
                    <a:pt x="1194" y="768"/>
                  </a:lnTo>
                  <a:lnTo>
                    <a:pt x="1194" y="774"/>
                  </a:lnTo>
                  <a:lnTo>
                    <a:pt x="1188" y="774"/>
                  </a:lnTo>
                  <a:lnTo>
                    <a:pt x="1182" y="780"/>
                  </a:lnTo>
                  <a:lnTo>
                    <a:pt x="1176" y="780"/>
                  </a:lnTo>
                  <a:lnTo>
                    <a:pt x="1170" y="780"/>
                  </a:lnTo>
                  <a:lnTo>
                    <a:pt x="1164" y="786"/>
                  </a:lnTo>
                  <a:lnTo>
                    <a:pt x="1158" y="786"/>
                  </a:lnTo>
                  <a:lnTo>
                    <a:pt x="1152" y="786"/>
                  </a:lnTo>
                  <a:lnTo>
                    <a:pt x="1140" y="786"/>
                  </a:lnTo>
                  <a:lnTo>
                    <a:pt x="1134" y="786"/>
                  </a:lnTo>
                  <a:lnTo>
                    <a:pt x="1134" y="780"/>
                  </a:lnTo>
                  <a:lnTo>
                    <a:pt x="1122" y="780"/>
                  </a:lnTo>
                  <a:lnTo>
                    <a:pt x="1116" y="786"/>
                  </a:lnTo>
                  <a:lnTo>
                    <a:pt x="1116" y="792"/>
                  </a:lnTo>
                  <a:lnTo>
                    <a:pt x="1122" y="804"/>
                  </a:lnTo>
                  <a:lnTo>
                    <a:pt x="1128" y="804"/>
                  </a:lnTo>
                  <a:lnTo>
                    <a:pt x="1128" y="816"/>
                  </a:lnTo>
                  <a:lnTo>
                    <a:pt x="1122" y="822"/>
                  </a:lnTo>
                  <a:lnTo>
                    <a:pt x="1116" y="816"/>
                  </a:lnTo>
                  <a:lnTo>
                    <a:pt x="1110" y="816"/>
                  </a:lnTo>
                  <a:lnTo>
                    <a:pt x="1104" y="816"/>
                  </a:lnTo>
                  <a:lnTo>
                    <a:pt x="1098" y="816"/>
                  </a:lnTo>
                  <a:lnTo>
                    <a:pt x="1098" y="822"/>
                  </a:lnTo>
                  <a:lnTo>
                    <a:pt x="1092" y="834"/>
                  </a:lnTo>
                  <a:lnTo>
                    <a:pt x="1092" y="840"/>
                  </a:lnTo>
                  <a:lnTo>
                    <a:pt x="1074" y="840"/>
                  </a:lnTo>
                  <a:lnTo>
                    <a:pt x="1074" y="828"/>
                  </a:lnTo>
                  <a:lnTo>
                    <a:pt x="1062" y="804"/>
                  </a:lnTo>
                  <a:lnTo>
                    <a:pt x="1056" y="792"/>
                  </a:lnTo>
                  <a:lnTo>
                    <a:pt x="1056" y="786"/>
                  </a:lnTo>
                  <a:lnTo>
                    <a:pt x="1026" y="780"/>
                  </a:lnTo>
                  <a:lnTo>
                    <a:pt x="1026" y="768"/>
                  </a:lnTo>
                  <a:lnTo>
                    <a:pt x="1008" y="768"/>
                  </a:lnTo>
                  <a:lnTo>
                    <a:pt x="1002" y="780"/>
                  </a:lnTo>
                  <a:lnTo>
                    <a:pt x="996" y="792"/>
                  </a:lnTo>
                  <a:lnTo>
                    <a:pt x="978" y="798"/>
                  </a:lnTo>
                  <a:lnTo>
                    <a:pt x="972" y="810"/>
                  </a:lnTo>
                  <a:lnTo>
                    <a:pt x="972" y="822"/>
                  </a:lnTo>
                  <a:lnTo>
                    <a:pt x="978" y="828"/>
                  </a:lnTo>
                  <a:lnTo>
                    <a:pt x="978" y="834"/>
                  </a:lnTo>
                  <a:lnTo>
                    <a:pt x="960" y="840"/>
                  </a:lnTo>
                  <a:lnTo>
                    <a:pt x="936" y="840"/>
                  </a:lnTo>
                  <a:lnTo>
                    <a:pt x="918" y="846"/>
                  </a:lnTo>
                  <a:lnTo>
                    <a:pt x="912" y="840"/>
                  </a:lnTo>
                  <a:lnTo>
                    <a:pt x="912" y="834"/>
                  </a:lnTo>
                  <a:lnTo>
                    <a:pt x="906" y="834"/>
                  </a:lnTo>
                  <a:lnTo>
                    <a:pt x="906" y="840"/>
                  </a:lnTo>
                  <a:lnTo>
                    <a:pt x="900" y="846"/>
                  </a:lnTo>
                  <a:lnTo>
                    <a:pt x="906" y="852"/>
                  </a:lnTo>
                  <a:lnTo>
                    <a:pt x="900" y="864"/>
                  </a:lnTo>
                  <a:lnTo>
                    <a:pt x="900" y="876"/>
                  </a:lnTo>
                  <a:lnTo>
                    <a:pt x="900" y="882"/>
                  </a:lnTo>
                  <a:lnTo>
                    <a:pt x="894" y="888"/>
                  </a:lnTo>
                  <a:lnTo>
                    <a:pt x="900" y="900"/>
                  </a:lnTo>
                  <a:lnTo>
                    <a:pt x="900" y="906"/>
                  </a:lnTo>
                  <a:lnTo>
                    <a:pt x="894" y="906"/>
                  </a:lnTo>
                  <a:lnTo>
                    <a:pt x="894" y="912"/>
                  </a:lnTo>
                  <a:lnTo>
                    <a:pt x="900" y="918"/>
                  </a:lnTo>
                  <a:lnTo>
                    <a:pt x="900" y="924"/>
                  </a:lnTo>
                  <a:lnTo>
                    <a:pt x="900" y="948"/>
                  </a:lnTo>
                  <a:lnTo>
                    <a:pt x="888" y="948"/>
                  </a:lnTo>
                  <a:lnTo>
                    <a:pt x="888" y="954"/>
                  </a:lnTo>
                  <a:lnTo>
                    <a:pt x="894" y="954"/>
                  </a:lnTo>
                  <a:lnTo>
                    <a:pt x="900" y="960"/>
                  </a:lnTo>
                  <a:lnTo>
                    <a:pt x="900" y="972"/>
                  </a:lnTo>
                  <a:lnTo>
                    <a:pt x="906" y="984"/>
                  </a:lnTo>
                  <a:lnTo>
                    <a:pt x="912" y="984"/>
                  </a:lnTo>
                  <a:lnTo>
                    <a:pt x="918" y="990"/>
                  </a:lnTo>
                  <a:lnTo>
                    <a:pt x="936" y="990"/>
                  </a:lnTo>
                  <a:lnTo>
                    <a:pt x="936" y="996"/>
                  </a:lnTo>
                  <a:lnTo>
                    <a:pt x="942" y="996"/>
                  </a:lnTo>
                  <a:lnTo>
                    <a:pt x="942" y="1002"/>
                  </a:lnTo>
                  <a:lnTo>
                    <a:pt x="942" y="1008"/>
                  </a:lnTo>
                  <a:lnTo>
                    <a:pt x="948" y="1008"/>
                  </a:lnTo>
                  <a:lnTo>
                    <a:pt x="948" y="1014"/>
                  </a:lnTo>
                  <a:lnTo>
                    <a:pt x="948" y="1020"/>
                  </a:lnTo>
                  <a:lnTo>
                    <a:pt x="954" y="1032"/>
                  </a:lnTo>
                  <a:lnTo>
                    <a:pt x="948" y="1038"/>
                  </a:lnTo>
                  <a:lnTo>
                    <a:pt x="954" y="1044"/>
                  </a:lnTo>
                  <a:lnTo>
                    <a:pt x="954" y="1056"/>
                  </a:lnTo>
                  <a:lnTo>
                    <a:pt x="960" y="1056"/>
                  </a:lnTo>
                  <a:lnTo>
                    <a:pt x="960" y="1062"/>
                  </a:lnTo>
                  <a:lnTo>
                    <a:pt x="954" y="1068"/>
                  </a:lnTo>
                  <a:lnTo>
                    <a:pt x="948" y="1074"/>
                  </a:lnTo>
                  <a:lnTo>
                    <a:pt x="948" y="1080"/>
                  </a:lnTo>
                  <a:lnTo>
                    <a:pt x="948" y="1086"/>
                  </a:lnTo>
                  <a:lnTo>
                    <a:pt x="942" y="1092"/>
                  </a:lnTo>
                  <a:lnTo>
                    <a:pt x="942" y="1098"/>
                  </a:lnTo>
                  <a:lnTo>
                    <a:pt x="942" y="1104"/>
                  </a:lnTo>
                  <a:lnTo>
                    <a:pt x="942" y="1110"/>
                  </a:lnTo>
                  <a:lnTo>
                    <a:pt x="936" y="1116"/>
                  </a:lnTo>
                  <a:lnTo>
                    <a:pt x="936" y="1122"/>
                  </a:lnTo>
                  <a:lnTo>
                    <a:pt x="936" y="1128"/>
                  </a:lnTo>
                  <a:lnTo>
                    <a:pt x="936" y="1134"/>
                  </a:lnTo>
                  <a:lnTo>
                    <a:pt x="942" y="1146"/>
                  </a:lnTo>
                  <a:lnTo>
                    <a:pt x="936" y="1158"/>
                  </a:lnTo>
                  <a:lnTo>
                    <a:pt x="936" y="1170"/>
                  </a:lnTo>
                  <a:lnTo>
                    <a:pt x="936" y="1194"/>
                  </a:lnTo>
                  <a:lnTo>
                    <a:pt x="930" y="1200"/>
                  </a:lnTo>
                  <a:lnTo>
                    <a:pt x="930" y="1212"/>
                  </a:lnTo>
                  <a:lnTo>
                    <a:pt x="918" y="1218"/>
                  </a:lnTo>
                  <a:lnTo>
                    <a:pt x="918" y="1230"/>
                  </a:lnTo>
                  <a:lnTo>
                    <a:pt x="906" y="1230"/>
                  </a:lnTo>
                  <a:lnTo>
                    <a:pt x="900" y="1254"/>
                  </a:lnTo>
                  <a:lnTo>
                    <a:pt x="900" y="1260"/>
                  </a:lnTo>
                  <a:lnTo>
                    <a:pt x="900" y="1266"/>
                  </a:lnTo>
                  <a:lnTo>
                    <a:pt x="900" y="1272"/>
                  </a:lnTo>
                  <a:lnTo>
                    <a:pt x="900" y="1278"/>
                  </a:lnTo>
                  <a:lnTo>
                    <a:pt x="900" y="1284"/>
                  </a:lnTo>
                  <a:lnTo>
                    <a:pt x="906" y="129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1" name="Freeform 26">
              <a:extLst>
                <a:ext uri="{FF2B5EF4-FFF2-40B4-BE49-F238E27FC236}">
                  <a16:creationId xmlns:a16="http://schemas.microsoft.com/office/drawing/2014/main" id="{25725EFE-FE00-49A8-A87A-6752B785C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79173" y="3477313"/>
              <a:ext cx="650731" cy="559125"/>
            </a:xfrm>
            <a:custGeom>
              <a:avLst/>
              <a:gdLst>
                <a:gd name="T0" fmla="*/ 95 w 1224"/>
                <a:gd name="T1" fmla="*/ 89 h 1050"/>
                <a:gd name="T2" fmla="*/ 90 w 1224"/>
                <a:gd name="T3" fmla="*/ 84 h 1050"/>
                <a:gd name="T4" fmla="*/ 84 w 1224"/>
                <a:gd name="T5" fmla="*/ 83 h 1050"/>
                <a:gd name="T6" fmla="*/ 82 w 1224"/>
                <a:gd name="T7" fmla="*/ 80 h 1050"/>
                <a:gd name="T8" fmla="*/ 85 w 1224"/>
                <a:gd name="T9" fmla="*/ 77 h 1050"/>
                <a:gd name="T10" fmla="*/ 81 w 1224"/>
                <a:gd name="T11" fmla="*/ 76 h 1050"/>
                <a:gd name="T12" fmla="*/ 77 w 1224"/>
                <a:gd name="T13" fmla="*/ 77 h 1050"/>
                <a:gd name="T14" fmla="*/ 78 w 1224"/>
                <a:gd name="T15" fmla="*/ 73 h 1050"/>
                <a:gd name="T16" fmla="*/ 59 w 1224"/>
                <a:gd name="T17" fmla="*/ 71 h 1050"/>
                <a:gd name="T18" fmla="*/ 41 w 1224"/>
                <a:gd name="T19" fmla="*/ 73 h 1050"/>
                <a:gd name="T20" fmla="*/ 33 w 1224"/>
                <a:gd name="T21" fmla="*/ 71 h 1050"/>
                <a:gd name="T22" fmla="*/ 30 w 1224"/>
                <a:gd name="T23" fmla="*/ 75 h 1050"/>
                <a:gd name="T24" fmla="*/ 27 w 1224"/>
                <a:gd name="T25" fmla="*/ 80 h 1050"/>
                <a:gd name="T26" fmla="*/ 12 w 1224"/>
                <a:gd name="T27" fmla="*/ 81 h 1050"/>
                <a:gd name="T28" fmla="*/ 9 w 1224"/>
                <a:gd name="T29" fmla="*/ 84 h 1050"/>
                <a:gd name="T30" fmla="*/ 6 w 1224"/>
                <a:gd name="T31" fmla="*/ 83 h 1050"/>
                <a:gd name="T32" fmla="*/ 1 w 1224"/>
                <a:gd name="T33" fmla="*/ 83 h 1050"/>
                <a:gd name="T34" fmla="*/ 3 w 1224"/>
                <a:gd name="T35" fmla="*/ 77 h 1050"/>
                <a:gd name="T36" fmla="*/ 5 w 1224"/>
                <a:gd name="T37" fmla="*/ 70 h 1050"/>
                <a:gd name="T38" fmla="*/ 2 w 1224"/>
                <a:gd name="T39" fmla="*/ 65 h 1050"/>
                <a:gd name="T40" fmla="*/ 3 w 1224"/>
                <a:gd name="T41" fmla="*/ 58 h 1050"/>
                <a:gd name="T42" fmla="*/ 4 w 1224"/>
                <a:gd name="T43" fmla="*/ 51 h 1050"/>
                <a:gd name="T44" fmla="*/ 3 w 1224"/>
                <a:gd name="T45" fmla="*/ 47 h 1050"/>
                <a:gd name="T46" fmla="*/ 4 w 1224"/>
                <a:gd name="T47" fmla="*/ 39 h 1050"/>
                <a:gd name="T48" fmla="*/ 6 w 1224"/>
                <a:gd name="T49" fmla="*/ 29 h 1050"/>
                <a:gd name="T50" fmla="*/ 3 w 1224"/>
                <a:gd name="T51" fmla="*/ 22 h 1050"/>
                <a:gd name="T52" fmla="*/ 2 w 1224"/>
                <a:gd name="T53" fmla="*/ 14 h 1050"/>
                <a:gd name="T54" fmla="*/ 0 w 1224"/>
                <a:gd name="T55" fmla="*/ 6 h 1050"/>
                <a:gd name="T56" fmla="*/ 9 w 1224"/>
                <a:gd name="T57" fmla="*/ 1 h 1050"/>
                <a:gd name="T58" fmla="*/ 11 w 1224"/>
                <a:gd name="T59" fmla="*/ 8 h 1050"/>
                <a:gd name="T60" fmla="*/ 15 w 1224"/>
                <a:gd name="T61" fmla="*/ 9 h 1050"/>
                <a:gd name="T62" fmla="*/ 18 w 1224"/>
                <a:gd name="T63" fmla="*/ 8 h 1050"/>
                <a:gd name="T64" fmla="*/ 18 w 1224"/>
                <a:gd name="T65" fmla="*/ 13 h 1050"/>
                <a:gd name="T66" fmla="*/ 17 w 1224"/>
                <a:gd name="T67" fmla="*/ 15 h 1050"/>
                <a:gd name="T68" fmla="*/ 17 w 1224"/>
                <a:gd name="T69" fmla="*/ 17 h 1050"/>
                <a:gd name="T70" fmla="*/ 17 w 1224"/>
                <a:gd name="T71" fmla="*/ 21 h 1050"/>
                <a:gd name="T72" fmla="*/ 21 w 1224"/>
                <a:gd name="T73" fmla="*/ 25 h 1050"/>
                <a:gd name="T74" fmla="*/ 24 w 1224"/>
                <a:gd name="T75" fmla="*/ 31 h 1050"/>
                <a:gd name="T76" fmla="*/ 35 w 1224"/>
                <a:gd name="T77" fmla="*/ 34 h 1050"/>
                <a:gd name="T78" fmla="*/ 40 w 1224"/>
                <a:gd name="T79" fmla="*/ 27 h 1050"/>
                <a:gd name="T80" fmla="*/ 46 w 1224"/>
                <a:gd name="T81" fmla="*/ 30 h 1050"/>
                <a:gd name="T82" fmla="*/ 51 w 1224"/>
                <a:gd name="T83" fmla="*/ 27 h 1050"/>
                <a:gd name="T84" fmla="*/ 59 w 1224"/>
                <a:gd name="T85" fmla="*/ 39 h 1050"/>
                <a:gd name="T86" fmla="*/ 59 w 1224"/>
                <a:gd name="T87" fmla="*/ 45 h 1050"/>
                <a:gd name="T88" fmla="*/ 72 w 1224"/>
                <a:gd name="T89" fmla="*/ 45 h 1050"/>
                <a:gd name="T90" fmla="*/ 79 w 1224"/>
                <a:gd name="T91" fmla="*/ 44 h 1050"/>
                <a:gd name="T92" fmla="*/ 87 w 1224"/>
                <a:gd name="T93" fmla="*/ 48 h 1050"/>
                <a:gd name="T94" fmla="*/ 93 w 1224"/>
                <a:gd name="T95" fmla="*/ 50 h 1050"/>
                <a:gd name="T96" fmla="*/ 98 w 1224"/>
                <a:gd name="T97" fmla="*/ 51 h 1050"/>
                <a:gd name="T98" fmla="*/ 106 w 1224"/>
                <a:gd name="T99" fmla="*/ 50 h 1050"/>
                <a:gd name="T100" fmla="*/ 104 w 1224"/>
                <a:gd name="T101" fmla="*/ 54 h 1050"/>
                <a:gd name="T102" fmla="*/ 104 w 1224"/>
                <a:gd name="T103" fmla="*/ 60 h 1050"/>
                <a:gd name="T104" fmla="*/ 101 w 1224"/>
                <a:gd name="T105" fmla="*/ 63 h 1050"/>
                <a:gd name="T106" fmla="*/ 98 w 1224"/>
                <a:gd name="T107" fmla="*/ 66 h 1050"/>
                <a:gd name="T108" fmla="*/ 95 w 1224"/>
                <a:gd name="T109" fmla="*/ 68 h 1050"/>
                <a:gd name="T110" fmla="*/ 93 w 1224"/>
                <a:gd name="T111" fmla="*/ 72 h 1050"/>
                <a:gd name="T112" fmla="*/ 98 w 1224"/>
                <a:gd name="T113" fmla="*/ 75 h 1050"/>
                <a:gd name="T114" fmla="*/ 102 w 1224"/>
                <a:gd name="T115" fmla="*/ 77 h 1050"/>
                <a:gd name="T116" fmla="*/ 107 w 1224"/>
                <a:gd name="T117" fmla="*/ 76 h 1050"/>
                <a:gd name="T118" fmla="*/ 104 w 1224"/>
                <a:gd name="T119" fmla="*/ 84 h 1050"/>
                <a:gd name="T120" fmla="*/ 103 w 1224"/>
                <a:gd name="T121" fmla="*/ 87 h 1050"/>
                <a:gd name="T122" fmla="*/ 104 w 1224"/>
                <a:gd name="T123" fmla="*/ 91 h 105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24"/>
                <a:gd name="T187" fmla="*/ 0 h 1050"/>
                <a:gd name="T188" fmla="*/ 1224 w 1224"/>
                <a:gd name="T189" fmla="*/ 1050 h 105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24" h="1050">
                  <a:moveTo>
                    <a:pt x="1128" y="1032"/>
                  </a:moveTo>
                  <a:lnTo>
                    <a:pt x="1122" y="1026"/>
                  </a:lnTo>
                  <a:lnTo>
                    <a:pt x="1116" y="1026"/>
                  </a:lnTo>
                  <a:lnTo>
                    <a:pt x="1110" y="1026"/>
                  </a:lnTo>
                  <a:lnTo>
                    <a:pt x="1104" y="1026"/>
                  </a:lnTo>
                  <a:lnTo>
                    <a:pt x="1104" y="1020"/>
                  </a:lnTo>
                  <a:lnTo>
                    <a:pt x="1098" y="1020"/>
                  </a:lnTo>
                  <a:lnTo>
                    <a:pt x="1092" y="1020"/>
                  </a:lnTo>
                  <a:lnTo>
                    <a:pt x="1086" y="1020"/>
                  </a:lnTo>
                  <a:lnTo>
                    <a:pt x="1080" y="1014"/>
                  </a:lnTo>
                  <a:lnTo>
                    <a:pt x="1068" y="1014"/>
                  </a:lnTo>
                  <a:lnTo>
                    <a:pt x="1062" y="1014"/>
                  </a:lnTo>
                  <a:lnTo>
                    <a:pt x="1062" y="1008"/>
                  </a:lnTo>
                  <a:lnTo>
                    <a:pt x="1062" y="990"/>
                  </a:lnTo>
                  <a:lnTo>
                    <a:pt x="1062" y="984"/>
                  </a:lnTo>
                  <a:lnTo>
                    <a:pt x="1062" y="972"/>
                  </a:lnTo>
                  <a:lnTo>
                    <a:pt x="1044" y="966"/>
                  </a:lnTo>
                  <a:lnTo>
                    <a:pt x="1026" y="966"/>
                  </a:lnTo>
                  <a:lnTo>
                    <a:pt x="1014" y="966"/>
                  </a:lnTo>
                  <a:lnTo>
                    <a:pt x="996" y="966"/>
                  </a:lnTo>
                  <a:lnTo>
                    <a:pt x="996" y="972"/>
                  </a:lnTo>
                  <a:lnTo>
                    <a:pt x="990" y="972"/>
                  </a:lnTo>
                  <a:lnTo>
                    <a:pt x="984" y="966"/>
                  </a:lnTo>
                  <a:lnTo>
                    <a:pt x="978" y="966"/>
                  </a:lnTo>
                  <a:lnTo>
                    <a:pt x="978" y="960"/>
                  </a:lnTo>
                  <a:lnTo>
                    <a:pt x="972" y="954"/>
                  </a:lnTo>
                  <a:lnTo>
                    <a:pt x="966" y="954"/>
                  </a:lnTo>
                  <a:lnTo>
                    <a:pt x="960" y="954"/>
                  </a:lnTo>
                  <a:lnTo>
                    <a:pt x="954" y="954"/>
                  </a:lnTo>
                  <a:lnTo>
                    <a:pt x="954" y="948"/>
                  </a:lnTo>
                  <a:lnTo>
                    <a:pt x="942" y="942"/>
                  </a:lnTo>
                  <a:lnTo>
                    <a:pt x="936" y="942"/>
                  </a:lnTo>
                  <a:lnTo>
                    <a:pt x="936" y="936"/>
                  </a:lnTo>
                  <a:lnTo>
                    <a:pt x="936" y="930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42" y="918"/>
                  </a:lnTo>
                  <a:lnTo>
                    <a:pt x="948" y="918"/>
                  </a:lnTo>
                  <a:lnTo>
                    <a:pt x="960" y="918"/>
                  </a:lnTo>
                  <a:lnTo>
                    <a:pt x="966" y="912"/>
                  </a:lnTo>
                  <a:lnTo>
                    <a:pt x="978" y="906"/>
                  </a:lnTo>
                  <a:lnTo>
                    <a:pt x="978" y="900"/>
                  </a:lnTo>
                  <a:lnTo>
                    <a:pt x="978" y="894"/>
                  </a:lnTo>
                  <a:lnTo>
                    <a:pt x="978" y="888"/>
                  </a:lnTo>
                  <a:lnTo>
                    <a:pt x="972" y="888"/>
                  </a:lnTo>
                  <a:lnTo>
                    <a:pt x="978" y="888"/>
                  </a:lnTo>
                  <a:lnTo>
                    <a:pt x="978" y="882"/>
                  </a:lnTo>
                  <a:lnTo>
                    <a:pt x="972" y="876"/>
                  </a:lnTo>
                  <a:lnTo>
                    <a:pt x="966" y="870"/>
                  </a:lnTo>
                  <a:lnTo>
                    <a:pt x="954" y="876"/>
                  </a:lnTo>
                  <a:lnTo>
                    <a:pt x="948" y="876"/>
                  </a:lnTo>
                  <a:lnTo>
                    <a:pt x="942" y="870"/>
                  </a:lnTo>
                  <a:lnTo>
                    <a:pt x="936" y="876"/>
                  </a:lnTo>
                  <a:lnTo>
                    <a:pt x="930" y="876"/>
                  </a:lnTo>
                  <a:lnTo>
                    <a:pt x="924" y="882"/>
                  </a:lnTo>
                  <a:lnTo>
                    <a:pt x="912" y="888"/>
                  </a:lnTo>
                  <a:lnTo>
                    <a:pt x="906" y="894"/>
                  </a:lnTo>
                  <a:lnTo>
                    <a:pt x="900" y="900"/>
                  </a:lnTo>
                  <a:lnTo>
                    <a:pt x="894" y="888"/>
                  </a:lnTo>
                  <a:lnTo>
                    <a:pt x="888" y="894"/>
                  </a:lnTo>
                  <a:lnTo>
                    <a:pt x="882" y="888"/>
                  </a:lnTo>
                  <a:lnTo>
                    <a:pt x="876" y="894"/>
                  </a:lnTo>
                  <a:lnTo>
                    <a:pt x="876" y="888"/>
                  </a:lnTo>
                  <a:lnTo>
                    <a:pt x="876" y="882"/>
                  </a:lnTo>
                  <a:lnTo>
                    <a:pt x="876" y="876"/>
                  </a:lnTo>
                  <a:lnTo>
                    <a:pt x="870" y="858"/>
                  </a:lnTo>
                  <a:lnTo>
                    <a:pt x="864" y="858"/>
                  </a:lnTo>
                  <a:lnTo>
                    <a:pt x="870" y="852"/>
                  </a:lnTo>
                  <a:lnTo>
                    <a:pt x="870" y="846"/>
                  </a:lnTo>
                  <a:lnTo>
                    <a:pt x="876" y="846"/>
                  </a:lnTo>
                  <a:lnTo>
                    <a:pt x="882" y="846"/>
                  </a:lnTo>
                  <a:lnTo>
                    <a:pt x="888" y="840"/>
                  </a:lnTo>
                  <a:lnTo>
                    <a:pt x="894" y="834"/>
                  </a:lnTo>
                  <a:lnTo>
                    <a:pt x="894" y="828"/>
                  </a:lnTo>
                  <a:lnTo>
                    <a:pt x="894" y="816"/>
                  </a:lnTo>
                  <a:lnTo>
                    <a:pt x="858" y="810"/>
                  </a:lnTo>
                  <a:lnTo>
                    <a:pt x="858" y="816"/>
                  </a:lnTo>
                  <a:lnTo>
                    <a:pt x="852" y="816"/>
                  </a:lnTo>
                  <a:lnTo>
                    <a:pt x="780" y="816"/>
                  </a:lnTo>
                  <a:lnTo>
                    <a:pt x="750" y="816"/>
                  </a:lnTo>
                  <a:lnTo>
                    <a:pt x="684" y="816"/>
                  </a:lnTo>
                  <a:lnTo>
                    <a:pt x="636" y="816"/>
                  </a:lnTo>
                  <a:lnTo>
                    <a:pt x="612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0" y="816"/>
                  </a:lnTo>
                  <a:lnTo>
                    <a:pt x="480" y="822"/>
                  </a:lnTo>
                  <a:lnTo>
                    <a:pt x="480" y="834"/>
                  </a:lnTo>
                  <a:lnTo>
                    <a:pt x="474" y="840"/>
                  </a:lnTo>
                  <a:lnTo>
                    <a:pt x="468" y="840"/>
                  </a:lnTo>
                  <a:lnTo>
                    <a:pt x="432" y="840"/>
                  </a:lnTo>
                  <a:lnTo>
                    <a:pt x="426" y="834"/>
                  </a:lnTo>
                  <a:lnTo>
                    <a:pt x="420" y="834"/>
                  </a:lnTo>
                  <a:lnTo>
                    <a:pt x="420" y="828"/>
                  </a:lnTo>
                  <a:lnTo>
                    <a:pt x="414" y="822"/>
                  </a:lnTo>
                  <a:lnTo>
                    <a:pt x="408" y="822"/>
                  </a:lnTo>
                  <a:lnTo>
                    <a:pt x="396" y="822"/>
                  </a:lnTo>
                  <a:lnTo>
                    <a:pt x="396" y="816"/>
                  </a:lnTo>
                  <a:lnTo>
                    <a:pt x="384" y="816"/>
                  </a:lnTo>
                  <a:lnTo>
                    <a:pt x="372" y="810"/>
                  </a:lnTo>
                  <a:lnTo>
                    <a:pt x="372" y="804"/>
                  </a:lnTo>
                  <a:lnTo>
                    <a:pt x="366" y="804"/>
                  </a:lnTo>
                  <a:lnTo>
                    <a:pt x="360" y="804"/>
                  </a:lnTo>
                  <a:lnTo>
                    <a:pt x="348" y="828"/>
                  </a:lnTo>
                  <a:lnTo>
                    <a:pt x="348" y="834"/>
                  </a:lnTo>
                  <a:lnTo>
                    <a:pt x="348" y="852"/>
                  </a:lnTo>
                  <a:lnTo>
                    <a:pt x="348" y="858"/>
                  </a:lnTo>
                  <a:lnTo>
                    <a:pt x="342" y="864"/>
                  </a:lnTo>
                  <a:lnTo>
                    <a:pt x="342" y="870"/>
                  </a:lnTo>
                  <a:lnTo>
                    <a:pt x="330" y="876"/>
                  </a:lnTo>
                  <a:lnTo>
                    <a:pt x="324" y="888"/>
                  </a:lnTo>
                  <a:lnTo>
                    <a:pt x="324" y="894"/>
                  </a:lnTo>
                  <a:lnTo>
                    <a:pt x="330" y="900"/>
                  </a:lnTo>
                  <a:lnTo>
                    <a:pt x="330" y="906"/>
                  </a:lnTo>
                  <a:lnTo>
                    <a:pt x="324" y="906"/>
                  </a:lnTo>
                  <a:lnTo>
                    <a:pt x="318" y="912"/>
                  </a:lnTo>
                  <a:lnTo>
                    <a:pt x="312" y="918"/>
                  </a:lnTo>
                  <a:lnTo>
                    <a:pt x="306" y="924"/>
                  </a:lnTo>
                  <a:lnTo>
                    <a:pt x="288" y="924"/>
                  </a:lnTo>
                  <a:lnTo>
                    <a:pt x="282" y="924"/>
                  </a:lnTo>
                  <a:lnTo>
                    <a:pt x="276" y="930"/>
                  </a:lnTo>
                  <a:lnTo>
                    <a:pt x="270" y="930"/>
                  </a:lnTo>
                  <a:lnTo>
                    <a:pt x="264" y="930"/>
                  </a:lnTo>
                  <a:lnTo>
                    <a:pt x="198" y="930"/>
                  </a:lnTo>
                  <a:lnTo>
                    <a:pt x="132" y="930"/>
                  </a:lnTo>
                  <a:lnTo>
                    <a:pt x="132" y="936"/>
                  </a:lnTo>
                  <a:lnTo>
                    <a:pt x="132" y="942"/>
                  </a:lnTo>
                  <a:lnTo>
                    <a:pt x="132" y="948"/>
                  </a:lnTo>
                  <a:lnTo>
                    <a:pt x="126" y="948"/>
                  </a:lnTo>
                  <a:lnTo>
                    <a:pt x="120" y="948"/>
                  </a:lnTo>
                  <a:lnTo>
                    <a:pt x="120" y="954"/>
                  </a:lnTo>
                  <a:lnTo>
                    <a:pt x="114" y="954"/>
                  </a:lnTo>
                  <a:lnTo>
                    <a:pt x="114" y="960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02" y="966"/>
                  </a:lnTo>
                  <a:lnTo>
                    <a:pt x="102" y="972"/>
                  </a:lnTo>
                  <a:lnTo>
                    <a:pt x="96" y="972"/>
                  </a:lnTo>
                  <a:lnTo>
                    <a:pt x="96" y="966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78" y="960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60"/>
                  </a:lnTo>
                  <a:lnTo>
                    <a:pt x="54" y="966"/>
                  </a:lnTo>
                  <a:lnTo>
                    <a:pt x="48" y="966"/>
                  </a:lnTo>
                  <a:lnTo>
                    <a:pt x="42" y="966"/>
                  </a:lnTo>
                  <a:lnTo>
                    <a:pt x="36" y="966"/>
                  </a:lnTo>
                  <a:lnTo>
                    <a:pt x="30" y="966"/>
                  </a:lnTo>
                  <a:lnTo>
                    <a:pt x="24" y="960"/>
                  </a:lnTo>
                  <a:lnTo>
                    <a:pt x="18" y="960"/>
                  </a:lnTo>
                  <a:lnTo>
                    <a:pt x="12" y="960"/>
                  </a:lnTo>
                  <a:lnTo>
                    <a:pt x="12" y="948"/>
                  </a:lnTo>
                  <a:lnTo>
                    <a:pt x="18" y="942"/>
                  </a:lnTo>
                  <a:lnTo>
                    <a:pt x="18" y="936"/>
                  </a:lnTo>
                  <a:lnTo>
                    <a:pt x="18" y="930"/>
                  </a:lnTo>
                  <a:lnTo>
                    <a:pt x="18" y="924"/>
                  </a:lnTo>
                  <a:lnTo>
                    <a:pt x="18" y="912"/>
                  </a:lnTo>
                  <a:lnTo>
                    <a:pt x="24" y="906"/>
                  </a:lnTo>
                  <a:lnTo>
                    <a:pt x="30" y="900"/>
                  </a:lnTo>
                  <a:lnTo>
                    <a:pt x="36" y="894"/>
                  </a:lnTo>
                  <a:lnTo>
                    <a:pt x="36" y="882"/>
                  </a:lnTo>
                  <a:lnTo>
                    <a:pt x="30" y="876"/>
                  </a:lnTo>
                  <a:lnTo>
                    <a:pt x="30" y="870"/>
                  </a:lnTo>
                  <a:lnTo>
                    <a:pt x="24" y="858"/>
                  </a:lnTo>
                  <a:lnTo>
                    <a:pt x="24" y="846"/>
                  </a:lnTo>
                  <a:lnTo>
                    <a:pt x="36" y="822"/>
                  </a:lnTo>
                  <a:lnTo>
                    <a:pt x="42" y="816"/>
                  </a:lnTo>
                  <a:lnTo>
                    <a:pt x="48" y="816"/>
                  </a:lnTo>
                  <a:lnTo>
                    <a:pt x="60" y="804"/>
                  </a:lnTo>
                  <a:lnTo>
                    <a:pt x="60" y="786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54" y="762"/>
                  </a:lnTo>
                  <a:lnTo>
                    <a:pt x="42" y="762"/>
                  </a:lnTo>
                  <a:lnTo>
                    <a:pt x="36" y="762"/>
                  </a:lnTo>
                  <a:lnTo>
                    <a:pt x="30" y="762"/>
                  </a:lnTo>
                  <a:lnTo>
                    <a:pt x="30" y="756"/>
                  </a:lnTo>
                  <a:lnTo>
                    <a:pt x="24" y="750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702"/>
                  </a:lnTo>
                  <a:lnTo>
                    <a:pt x="36" y="684"/>
                  </a:lnTo>
                  <a:lnTo>
                    <a:pt x="36" y="678"/>
                  </a:lnTo>
                  <a:lnTo>
                    <a:pt x="36" y="666"/>
                  </a:lnTo>
                  <a:lnTo>
                    <a:pt x="36" y="654"/>
                  </a:lnTo>
                  <a:lnTo>
                    <a:pt x="18" y="654"/>
                  </a:lnTo>
                  <a:lnTo>
                    <a:pt x="18" y="648"/>
                  </a:lnTo>
                  <a:lnTo>
                    <a:pt x="18" y="618"/>
                  </a:lnTo>
                  <a:lnTo>
                    <a:pt x="18" y="612"/>
                  </a:lnTo>
                  <a:lnTo>
                    <a:pt x="24" y="612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54" y="588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76"/>
                  </a:lnTo>
                  <a:lnTo>
                    <a:pt x="48" y="564"/>
                  </a:lnTo>
                  <a:lnTo>
                    <a:pt x="42" y="564"/>
                  </a:lnTo>
                  <a:lnTo>
                    <a:pt x="36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6" y="540"/>
                  </a:lnTo>
                  <a:lnTo>
                    <a:pt x="48" y="534"/>
                  </a:lnTo>
                  <a:lnTo>
                    <a:pt x="54" y="528"/>
                  </a:lnTo>
                  <a:lnTo>
                    <a:pt x="60" y="504"/>
                  </a:lnTo>
                  <a:lnTo>
                    <a:pt x="60" y="492"/>
                  </a:lnTo>
                  <a:lnTo>
                    <a:pt x="54" y="492"/>
                  </a:lnTo>
                  <a:lnTo>
                    <a:pt x="54" y="480"/>
                  </a:lnTo>
                  <a:lnTo>
                    <a:pt x="48" y="456"/>
                  </a:lnTo>
                  <a:lnTo>
                    <a:pt x="42" y="450"/>
                  </a:lnTo>
                  <a:lnTo>
                    <a:pt x="36" y="444"/>
                  </a:lnTo>
                  <a:lnTo>
                    <a:pt x="36" y="420"/>
                  </a:lnTo>
                  <a:lnTo>
                    <a:pt x="36" y="408"/>
                  </a:lnTo>
                  <a:lnTo>
                    <a:pt x="36" y="37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60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6" y="300"/>
                  </a:lnTo>
                  <a:lnTo>
                    <a:pt x="60" y="294"/>
                  </a:lnTo>
                  <a:lnTo>
                    <a:pt x="60" y="288"/>
                  </a:lnTo>
                  <a:lnTo>
                    <a:pt x="54" y="282"/>
                  </a:lnTo>
                  <a:lnTo>
                    <a:pt x="42" y="276"/>
                  </a:lnTo>
                  <a:lnTo>
                    <a:pt x="36" y="276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0" y="252"/>
                  </a:lnTo>
                  <a:lnTo>
                    <a:pt x="24" y="246"/>
                  </a:lnTo>
                  <a:lnTo>
                    <a:pt x="24" y="240"/>
                  </a:lnTo>
                  <a:lnTo>
                    <a:pt x="24" y="228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62"/>
                  </a:lnTo>
                  <a:lnTo>
                    <a:pt x="24" y="144"/>
                  </a:lnTo>
                  <a:lnTo>
                    <a:pt x="24" y="132"/>
                  </a:lnTo>
                  <a:lnTo>
                    <a:pt x="24" y="114"/>
                  </a:lnTo>
                  <a:lnTo>
                    <a:pt x="24" y="102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18" y="48"/>
                  </a:lnTo>
                  <a:lnTo>
                    <a:pt x="42" y="36"/>
                  </a:lnTo>
                  <a:lnTo>
                    <a:pt x="54" y="24"/>
                  </a:lnTo>
                  <a:lnTo>
                    <a:pt x="60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10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14" y="60"/>
                  </a:lnTo>
                  <a:lnTo>
                    <a:pt x="120" y="60"/>
                  </a:lnTo>
                  <a:lnTo>
                    <a:pt x="114" y="84"/>
                  </a:lnTo>
                  <a:lnTo>
                    <a:pt x="120" y="90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38" y="114"/>
                  </a:lnTo>
                  <a:lnTo>
                    <a:pt x="138" y="132"/>
                  </a:lnTo>
                  <a:lnTo>
                    <a:pt x="162" y="126"/>
                  </a:lnTo>
                  <a:lnTo>
                    <a:pt x="162" y="114"/>
                  </a:lnTo>
                  <a:lnTo>
                    <a:pt x="174" y="108"/>
                  </a:lnTo>
                  <a:lnTo>
                    <a:pt x="174" y="102"/>
                  </a:lnTo>
                  <a:lnTo>
                    <a:pt x="180" y="96"/>
                  </a:lnTo>
                  <a:lnTo>
                    <a:pt x="180" y="60"/>
                  </a:lnTo>
                  <a:lnTo>
                    <a:pt x="192" y="60"/>
                  </a:lnTo>
                  <a:lnTo>
                    <a:pt x="192" y="72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04" y="108"/>
                  </a:lnTo>
                  <a:lnTo>
                    <a:pt x="204" y="114"/>
                  </a:lnTo>
                  <a:lnTo>
                    <a:pt x="204" y="120"/>
                  </a:lnTo>
                  <a:lnTo>
                    <a:pt x="204" y="126"/>
                  </a:lnTo>
                  <a:lnTo>
                    <a:pt x="210" y="126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8" y="174"/>
                  </a:lnTo>
                  <a:lnTo>
                    <a:pt x="198" y="180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86" y="204"/>
                  </a:lnTo>
                  <a:lnTo>
                    <a:pt x="186" y="210"/>
                  </a:lnTo>
                  <a:lnTo>
                    <a:pt x="180" y="210"/>
                  </a:lnTo>
                  <a:lnTo>
                    <a:pt x="180" y="216"/>
                  </a:lnTo>
                  <a:lnTo>
                    <a:pt x="180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92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8" y="258"/>
                  </a:lnTo>
                  <a:lnTo>
                    <a:pt x="204" y="258"/>
                  </a:lnTo>
                  <a:lnTo>
                    <a:pt x="210" y="258"/>
                  </a:lnTo>
                  <a:lnTo>
                    <a:pt x="216" y="258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34" y="276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46" y="306"/>
                  </a:lnTo>
                  <a:lnTo>
                    <a:pt x="252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42"/>
                  </a:lnTo>
                  <a:lnTo>
                    <a:pt x="270" y="342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88" y="366"/>
                  </a:lnTo>
                  <a:lnTo>
                    <a:pt x="336" y="360"/>
                  </a:lnTo>
                  <a:lnTo>
                    <a:pt x="354" y="360"/>
                  </a:lnTo>
                  <a:lnTo>
                    <a:pt x="366" y="372"/>
                  </a:lnTo>
                  <a:lnTo>
                    <a:pt x="378" y="378"/>
                  </a:lnTo>
                  <a:lnTo>
                    <a:pt x="378" y="390"/>
                  </a:lnTo>
                  <a:lnTo>
                    <a:pt x="384" y="390"/>
                  </a:lnTo>
                  <a:lnTo>
                    <a:pt x="390" y="396"/>
                  </a:lnTo>
                  <a:lnTo>
                    <a:pt x="408" y="390"/>
                  </a:lnTo>
                  <a:lnTo>
                    <a:pt x="426" y="366"/>
                  </a:lnTo>
                  <a:lnTo>
                    <a:pt x="432" y="360"/>
                  </a:lnTo>
                  <a:lnTo>
                    <a:pt x="438" y="348"/>
                  </a:lnTo>
                  <a:lnTo>
                    <a:pt x="438" y="342"/>
                  </a:lnTo>
                  <a:lnTo>
                    <a:pt x="438" y="330"/>
                  </a:lnTo>
                  <a:lnTo>
                    <a:pt x="444" y="324"/>
                  </a:lnTo>
                  <a:lnTo>
                    <a:pt x="450" y="318"/>
                  </a:lnTo>
                  <a:lnTo>
                    <a:pt x="456" y="312"/>
                  </a:lnTo>
                  <a:lnTo>
                    <a:pt x="456" y="306"/>
                  </a:lnTo>
                  <a:lnTo>
                    <a:pt x="456" y="300"/>
                  </a:lnTo>
                  <a:lnTo>
                    <a:pt x="474" y="288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92" y="294"/>
                  </a:lnTo>
                  <a:lnTo>
                    <a:pt x="492" y="318"/>
                  </a:lnTo>
                  <a:lnTo>
                    <a:pt x="504" y="324"/>
                  </a:lnTo>
                  <a:lnTo>
                    <a:pt x="492" y="348"/>
                  </a:lnTo>
                  <a:lnTo>
                    <a:pt x="522" y="348"/>
                  </a:lnTo>
                  <a:lnTo>
                    <a:pt x="528" y="342"/>
                  </a:lnTo>
                  <a:lnTo>
                    <a:pt x="528" y="336"/>
                  </a:lnTo>
                  <a:lnTo>
                    <a:pt x="528" y="330"/>
                  </a:lnTo>
                  <a:lnTo>
                    <a:pt x="534" y="330"/>
                  </a:lnTo>
                  <a:lnTo>
                    <a:pt x="540" y="330"/>
                  </a:lnTo>
                  <a:lnTo>
                    <a:pt x="546" y="330"/>
                  </a:lnTo>
                  <a:lnTo>
                    <a:pt x="552" y="324"/>
                  </a:lnTo>
                  <a:lnTo>
                    <a:pt x="558" y="318"/>
                  </a:lnTo>
                  <a:lnTo>
                    <a:pt x="576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8" y="348"/>
                  </a:lnTo>
                  <a:lnTo>
                    <a:pt x="654" y="354"/>
                  </a:lnTo>
                  <a:lnTo>
                    <a:pt x="648" y="402"/>
                  </a:lnTo>
                  <a:lnTo>
                    <a:pt x="678" y="402"/>
                  </a:lnTo>
                  <a:lnTo>
                    <a:pt x="678" y="420"/>
                  </a:lnTo>
                  <a:lnTo>
                    <a:pt x="684" y="438"/>
                  </a:lnTo>
                  <a:lnTo>
                    <a:pt x="684" y="450"/>
                  </a:lnTo>
                  <a:lnTo>
                    <a:pt x="684" y="456"/>
                  </a:lnTo>
                  <a:lnTo>
                    <a:pt x="690" y="468"/>
                  </a:lnTo>
                  <a:lnTo>
                    <a:pt x="690" y="474"/>
                  </a:lnTo>
                  <a:lnTo>
                    <a:pt x="690" y="480"/>
                  </a:lnTo>
                  <a:lnTo>
                    <a:pt x="696" y="486"/>
                  </a:lnTo>
                  <a:lnTo>
                    <a:pt x="696" y="498"/>
                  </a:lnTo>
                  <a:lnTo>
                    <a:pt x="702" y="504"/>
                  </a:lnTo>
                  <a:lnTo>
                    <a:pt x="690" y="516"/>
                  </a:lnTo>
                  <a:lnTo>
                    <a:pt x="678" y="522"/>
                  </a:lnTo>
                  <a:lnTo>
                    <a:pt x="654" y="528"/>
                  </a:lnTo>
                  <a:lnTo>
                    <a:pt x="660" y="546"/>
                  </a:lnTo>
                  <a:lnTo>
                    <a:pt x="672" y="546"/>
                  </a:lnTo>
                  <a:lnTo>
                    <a:pt x="678" y="540"/>
                  </a:lnTo>
                  <a:lnTo>
                    <a:pt x="714" y="540"/>
                  </a:lnTo>
                  <a:lnTo>
                    <a:pt x="798" y="540"/>
                  </a:lnTo>
                  <a:lnTo>
                    <a:pt x="804" y="540"/>
                  </a:lnTo>
                  <a:lnTo>
                    <a:pt x="816" y="528"/>
                  </a:lnTo>
                  <a:lnTo>
                    <a:pt x="822" y="522"/>
                  </a:lnTo>
                  <a:lnTo>
                    <a:pt x="834" y="516"/>
                  </a:lnTo>
                  <a:lnTo>
                    <a:pt x="846" y="516"/>
                  </a:lnTo>
                  <a:lnTo>
                    <a:pt x="852" y="510"/>
                  </a:lnTo>
                  <a:lnTo>
                    <a:pt x="858" y="510"/>
                  </a:lnTo>
                  <a:lnTo>
                    <a:pt x="882" y="516"/>
                  </a:lnTo>
                  <a:lnTo>
                    <a:pt x="888" y="516"/>
                  </a:lnTo>
                  <a:lnTo>
                    <a:pt x="888" y="510"/>
                  </a:lnTo>
                  <a:lnTo>
                    <a:pt x="894" y="510"/>
                  </a:lnTo>
                  <a:lnTo>
                    <a:pt x="906" y="504"/>
                  </a:lnTo>
                  <a:lnTo>
                    <a:pt x="918" y="498"/>
                  </a:lnTo>
                  <a:lnTo>
                    <a:pt x="930" y="492"/>
                  </a:lnTo>
                  <a:lnTo>
                    <a:pt x="936" y="492"/>
                  </a:lnTo>
                  <a:lnTo>
                    <a:pt x="948" y="492"/>
                  </a:lnTo>
                  <a:lnTo>
                    <a:pt x="954" y="528"/>
                  </a:lnTo>
                  <a:lnTo>
                    <a:pt x="954" y="564"/>
                  </a:lnTo>
                  <a:lnTo>
                    <a:pt x="972" y="564"/>
                  </a:lnTo>
                  <a:lnTo>
                    <a:pt x="978" y="558"/>
                  </a:lnTo>
                  <a:lnTo>
                    <a:pt x="990" y="552"/>
                  </a:lnTo>
                  <a:lnTo>
                    <a:pt x="1002" y="540"/>
                  </a:lnTo>
                  <a:lnTo>
                    <a:pt x="1026" y="534"/>
                  </a:lnTo>
                  <a:lnTo>
                    <a:pt x="1032" y="540"/>
                  </a:lnTo>
                  <a:lnTo>
                    <a:pt x="1044" y="546"/>
                  </a:lnTo>
                  <a:lnTo>
                    <a:pt x="1062" y="552"/>
                  </a:lnTo>
                  <a:lnTo>
                    <a:pt x="1068" y="552"/>
                  </a:lnTo>
                  <a:lnTo>
                    <a:pt x="1068" y="570"/>
                  </a:lnTo>
                  <a:lnTo>
                    <a:pt x="1068" y="576"/>
                  </a:lnTo>
                  <a:lnTo>
                    <a:pt x="1068" y="582"/>
                  </a:lnTo>
                  <a:lnTo>
                    <a:pt x="1068" y="588"/>
                  </a:lnTo>
                  <a:lnTo>
                    <a:pt x="1068" y="594"/>
                  </a:lnTo>
                  <a:lnTo>
                    <a:pt x="1080" y="600"/>
                  </a:lnTo>
                  <a:lnTo>
                    <a:pt x="1086" y="606"/>
                  </a:lnTo>
                  <a:lnTo>
                    <a:pt x="1092" y="594"/>
                  </a:lnTo>
                  <a:lnTo>
                    <a:pt x="1104" y="588"/>
                  </a:lnTo>
                  <a:lnTo>
                    <a:pt x="1116" y="588"/>
                  </a:lnTo>
                  <a:lnTo>
                    <a:pt x="1122" y="588"/>
                  </a:lnTo>
                  <a:lnTo>
                    <a:pt x="1122" y="594"/>
                  </a:lnTo>
                  <a:lnTo>
                    <a:pt x="1128" y="594"/>
                  </a:lnTo>
                  <a:lnTo>
                    <a:pt x="1134" y="594"/>
                  </a:lnTo>
                  <a:lnTo>
                    <a:pt x="1140" y="594"/>
                  </a:lnTo>
                  <a:lnTo>
                    <a:pt x="1146" y="588"/>
                  </a:lnTo>
                  <a:lnTo>
                    <a:pt x="1158" y="582"/>
                  </a:lnTo>
                  <a:lnTo>
                    <a:pt x="1164" y="576"/>
                  </a:lnTo>
                  <a:lnTo>
                    <a:pt x="1176" y="576"/>
                  </a:lnTo>
                  <a:lnTo>
                    <a:pt x="1194" y="576"/>
                  </a:lnTo>
                  <a:lnTo>
                    <a:pt x="1218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24" y="594"/>
                  </a:lnTo>
                  <a:lnTo>
                    <a:pt x="1212" y="600"/>
                  </a:lnTo>
                  <a:lnTo>
                    <a:pt x="1206" y="606"/>
                  </a:lnTo>
                  <a:lnTo>
                    <a:pt x="1200" y="606"/>
                  </a:lnTo>
                  <a:lnTo>
                    <a:pt x="1200" y="612"/>
                  </a:lnTo>
                  <a:lnTo>
                    <a:pt x="1194" y="612"/>
                  </a:lnTo>
                  <a:lnTo>
                    <a:pt x="1194" y="618"/>
                  </a:lnTo>
                  <a:lnTo>
                    <a:pt x="1194" y="624"/>
                  </a:lnTo>
                  <a:lnTo>
                    <a:pt x="1194" y="630"/>
                  </a:lnTo>
                  <a:lnTo>
                    <a:pt x="1194" y="648"/>
                  </a:lnTo>
                  <a:lnTo>
                    <a:pt x="1194" y="660"/>
                  </a:lnTo>
                  <a:lnTo>
                    <a:pt x="1194" y="666"/>
                  </a:lnTo>
                  <a:lnTo>
                    <a:pt x="1194" y="672"/>
                  </a:lnTo>
                  <a:lnTo>
                    <a:pt x="1194" y="678"/>
                  </a:lnTo>
                  <a:lnTo>
                    <a:pt x="1188" y="684"/>
                  </a:lnTo>
                  <a:lnTo>
                    <a:pt x="1188" y="690"/>
                  </a:lnTo>
                  <a:lnTo>
                    <a:pt x="1188" y="696"/>
                  </a:lnTo>
                  <a:lnTo>
                    <a:pt x="1188" y="702"/>
                  </a:lnTo>
                  <a:lnTo>
                    <a:pt x="1188" y="708"/>
                  </a:lnTo>
                  <a:lnTo>
                    <a:pt x="1188" y="714"/>
                  </a:lnTo>
                  <a:lnTo>
                    <a:pt x="1182" y="720"/>
                  </a:lnTo>
                  <a:lnTo>
                    <a:pt x="1170" y="720"/>
                  </a:lnTo>
                  <a:lnTo>
                    <a:pt x="1158" y="726"/>
                  </a:lnTo>
                  <a:lnTo>
                    <a:pt x="1152" y="726"/>
                  </a:lnTo>
                  <a:lnTo>
                    <a:pt x="1152" y="732"/>
                  </a:lnTo>
                  <a:lnTo>
                    <a:pt x="1146" y="738"/>
                  </a:lnTo>
                  <a:lnTo>
                    <a:pt x="1140" y="738"/>
                  </a:lnTo>
                  <a:lnTo>
                    <a:pt x="1140" y="744"/>
                  </a:lnTo>
                  <a:lnTo>
                    <a:pt x="1134" y="744"/>
                  </a:lnTo>
                  <a:lnTo>
                    <a:pt x="1128" y="744"/>
                  </a:lnTo>
                  <a:lnTo>
                    <a:pt x="1122" y="750"/>
                  </a:lnTo>
                  <a:lnTo>
                    <a:pt x="1128" y="750"/>
                  </a:lnTo>
                  <a:lnTo>
                    <a:pt x="1122" y="756"/>
                  </a:lnTo>
                  <a:lnTo>
                    <a:pt x="1116" y="756"/>
                  </a:lnTo>
                  <a:lnTo>
                    <a:pt x="1110" y="762"/>
                  </a:lnTo>
                  <a:lnTo>
                    <a:pt x="1104" y="762"/>
                  </a:lnTo>
                  <a:lnTo>
                    <a:pt x="1104" y="768"/>
                  </a:lnTo>
                  <a:lnTo>
                    <a:pt x="1098" y="768"/>
                  </a:lnTo>
                  <a:lnTo>
                    <a:pt x="1098" y="774"/>
                  </a:lnTo>
                  <a:lnTo>
                    <a:pt x="1092" y="774"/>
                  </a:lnTo>
                  <a:lnTo>
                    <a:pt x="1092" y="780"/>
                  </a:lnTo>
                  <a:lnTo>
                    <a:pt x="1086" y="780"/>
                  </a:lnTo>
                  <a:lnTo>
                    <a:pt x="1086" y="786"/>
                  </a:lnTo>
                  <a:lnTo>
                    <a:pt x="1080" y="786"/>
                  </a:lnTo>
                  <a:lnTo>
                    <a:pt x="1080" y="792"/>
                  </a:lnTo>
                  <a:lnTo>
                    <a:pt x="1080" y="798"/>
                  </a:lnTo>
                  <a:lnTo>
                    <a:pt x="1080" y="804"/>
                  </a:lnTo>
                  <a:lnTo>
                    <a:pt x="1086" y="810"/>
                  </a:lnTo>
                  <a:lnTo>
                    <a:pt x="1080" y="816"/>
                  </a:lnTo>
                  <a:lnTo>
                    <a:pt x="1080" y="822"/>
                  </a:lnTo>
                  <a:lnTo>
                    <a:pt x="1074" y="822"/>
                  </a:lnTo>
                  <a:lnTo>
                    <a:pt x="1068" y="828"/>
                  </a:lnTo>
                  <a:lnTo>
                    <a:pt x="1074" y="828"/>
                  </a:lnTo>
                  <a:lnTo>
                    <a:pt x="1074" y="834"/>
                  </a:lnTo>
                  <a:lnTo>
                    <a:pt x="1080" y="846"/>
                  </a:lnTo>
                  <a:lnTo>
                    <a:pt x="1086" y="846"/>
                  </a:lnTo>
                  <a:lnTo>
                    <a:pt x="1092" y="852"/>
                  </a:lnTo>
                  <a:lnTo>
                    <a:pt x="1092" y="858"/>
                  </a:lnTo>
                  <a:lnTo>
                    <a:pt x="1098" y="858"/>
                  </a:lnTo>
                  <a:lnTo>
                    <a:pt x="1110" y="864"/>
                  </a:lnTo>
                  <a:lnTo>
                    <a:pt x="1116" y="864"/>
                  </a:lnTo>
                  <a:lnTo>
                    <a:pt x="1122" y="864"/>
                  </a:lnTo>
                  <a:lnTo>
                    <a:pt x="1128" y="864"/>
                  </a:lnTo>
                  <a:lnTo>
                    <a:pt x="1134" y="876"/>
                  </a:lnTo>
                  <a:lnTo>
                    <a:pt x="1140" y="882"/>
                  </a:lnTo>
                  <a:lnTo>
                    <a:pt x="1140" y="888"/>
                  </a:lnTo>
                  <a:lnTo>
                    <a:pt x="1152" y="918"/>
                  </a:lnTo>
                  <a:lnTo>
                    <a:pt x="1158" y="894"/>
                  </a:lnTo>
                  <a:lnTo>
                    <a:pt x="1164" y="888"/>
                  </a:lnTo>
                  <a:lnTo>
                    <a:pt x="1164" y="882"/>
                  </a:lnTo>
                  <a:lnTo>
                    <a:pt x="1176" y="864"/>
                  </a:lnTo>
                  <a:lnTo>
                    <a:pt x="1182" y="858"/>
                  </a:lnTo>
                  <a:lnTo>
                    <a:pt x="1188" y="846"/>
                  </a:lnTo>
                  <a:lnTo>
                    <a:pt x="1200" y="840"/>
                  </a:lnTo>
                  <a:lnTo>
                    <a:pt x="1212" y="840"/>
                  </a:lnTo>
                  <a:lnTo>
                    <a:pt x="1218" y="846"/>
                  </a:lnTo>
                  <a:lnTo>
                    <a:pt x="1224" y="858"/>
                  </a:lnTo>
                  <a:lnTo>
                    <a:pt x="1224" y="864"/>
                  </a:lnTo>
                  <a:lnTo>
                    <a:pt x="1224" y="876"/>
                  </a:lnTo>
                  <a:lnTo>
                    <a:pt x="1212" y="912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00" y="930"/>
                  </a:lnTo>
                  <a:lnTo>
                    <a:pt x="1200" y="942"/>
                  </a:lnTo>
                  <a:lnTo>
                    <a:pt x="1194" y="948"/>
                  </a:lnTo>
                  <a:lnTo>
                    <a:pt x="1194" y="960"/>
                  </a:lnTo>
                  <a:lnTo>
                    <a:pt x="1194" y="966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70" y="984"/>
                  </a:lnTo>
                  <a:lnTo>
                    <a:pt x="1164" y="984"/>
                  </a:lnTo>
                  <a:lnTo>
                    <a:pt x="1158" y="984"/>
                  </a:lnTo>
                  <a:lnTo>
                    <a:pt x="1146" y="984"/>
                  </a:lnTo>
                  <a:lnTo>
                    <a:pt x="1140" y="990"/>
                  </a:lnTo>
                  <a:lnTo>
                    <a:pt x="1140" y="996"/>
                  </a:lnTo>
                  <a:lnTo>
                    <a:pt x="1152" y="996"/>
                  </a:lnTo>
                  <a:lnTo>
                    <a:pt x="1176" y="1002"/>
                  </a:lnTo>
                  <a:lnTo>
                    <a:pt x="1194" y="1008"/>
                  </a:lnTo>
                  <a:lnTo>
                    <a:pt x="1206" y="1008"/>
                  </a:lnTo>
                  <a:lnTo>
                    <a:pt x="1218" y="1014"/>
                  </a:lnTo>
                  <a:lnTo>
                    <a:pt x="1212" y="1038"/>
                  </a:lnTo>
                  <a:lnTo>
                    <a:pt x="1212" y="1044"/>
                  </a:lnTo>
                  <a:lnTo>
                    <a:pt x="1206" y="1044"/>
                  </a:lnTo>
                  <a:lnTo>
                    <a:pt x="1206" y="1050"/>
                  </a:lnTo>
                  <a:lnTo>
                    <a:pt x="1194" y="1050"/>
                  </a:lnTo>
                  <a:lnTo>
                    <a:pt x="1188" y="1044"/>
                  </a:lnTo>
                  <a:lnTo>
                    <a:pt x="1158" y="1020"/>
                  </a:lnTo>
                  <a:lnTo>
                    <a:pt x="1152" y="1020"/>
                  </a:lnTo>
                  <a:lnTo>
                    <a:pt x="1140" y="1020"/>
                  </a:lnTo>
                  <a:lnTo>
                    <a:pt x="1134" y="1020"/>
                  </a:lnTo>
                  <a:lnTo>
                    <a:pt x="1134" y="1026"/>
                  </a:lnTo>
                  <a:lnTo>
                    <a:pt x="1134" y="1032"/>
                  </a:lnTo>
                  <a:lnTo>
                    <a:pt x="1128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2" name="Freeform 27">
              <a:extLst>
                <a:ext uri="{FF2B5EF4-FFF2-40B4-BE49-F238E27FC236}">
                  <a16:creationId xmlns:a16="http://schemas.microsoft.com/office/drawing/2014/main" id="{CE95C9DF-B651-4085-946F-65424BC51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2063" y="3421400"/>
              <a:ext cx="342138" cy="377969"/>
            </a:xfrm>
            <a:custGeom>
              <a:avLst/>
              <a:gdLst>
                <a:gd name="T0" fmla="*/ 43 w 642"/>
                <a:gd name="T1" fmla="*/ 41 h 708"/>
                <a:gd name="T2" fmla="*/ 39 w 642"/>
                <a:gd name="T3" fmla="*/ 41 h 708"/>
                <a:gd name="T4" fmla="*/ 38 w 642"/>
                <a:gd name="T5" fmla="*/ 47 h 708"/>
                <a:gd name="T6" fmla="*/ 38 w 642"/>
                <a:gd name="T7" fmla="*/ 49 h 708"/>
                <a:gd name="T8" fmla="*/ 38 w 642"/>
                <a:gd name="T9" fmla="*/ 50 h 708"/>
                <a:gd name="T10" fmla="*/ 36 w 642"/>
                <a:gd name="T11" fmla="*/ 52 h 708"/>
                <a:gd name="T12" fmla="*/ 35 w 642"/>
                <a:gd name="T13" fmla="*/ 53 h 708"/>
                <a:gd name="T14" fmla="*/ 33 w 642"/>
                <a:gd name="T15" fmla="*/ 55 h 708"/>
                <a:gd name="T16" fmla="*/ 32 w 642"/>
                <a:gd name="T17" fmla="*/ 56 h 708"/>
                <a:gd name="T18" fmla="*/ 31 w 642"/>
                <a:gd name="T19" fmla="*/ 59 h 708"/>
                <a:gd name="T20" fmla="*/ 26 w 642"/>
                <a:gd name="T21" fmla="*/ 59 h 708"/>
                <a:gd name="T22" fmla="*/ 23 w 642"/>
                <a:gd name="T23" fmla="*/ 61 h 708"/>
                <a:gd name="T24" fmla="*/ 20 w 642"/>
                <a:gd name="T25" fmla="*/ 61 h 708"/>
                <a:gd name="T26" fmla="*/ 17 w 642"/>
                <a:gd name="T27" fmla="*/ 59 h 708"/>
                <a:gd name="T28" fmla="*/ 15 w 642"/>
                <a:gd name="T29" fmla="*/ 56 h 708"/>
                <a:gd name="T30" fmla="*/ 9 w 642"/>
                <a:gd name="T31" fmla="*/ 58 h 708"/>
                <a:gd name="T32" fmla="*/ 6 w 642"/>
                <a:gd name="T33" fmla="*/ 52 h 708"/>
                <a:gd name="T34" fmla="*/ 2 w 642"/>
                <a:gd name="T35" fmla="*/ 53 h 708"/>
                <a:gd name="T36" fmla="*/ 1 w 642"/>
                <a:gd name="T37" fmla="*/ 51 h 708"/>
                <a:gd name="T38" fmla="*/ 4 w 642"/>
                <a:gd name="T39" fmla="*/ 47 h 708"/>
                <a:gd name="T40" fmla="*/ 5 w 642"/>
                <a:gd name="T41" fmla="*/ 41 h 708"/>
                <a:gd name="T42" fmla="*/ 5 w 642"/>
                <a:gd name="T43" fmla="*/ 38 h 708"/>
                <a:gd name="T44" fmla="*/ 5 w 642"/>
                <a:gd name="T45" fmla="*/ 35 h 708"/>
                <a:gd name="T46" fmla="*/ 6 w 642"/>
                <a:gd name="T47" fmla="*/ 33 h 708"/>
                <a:gd name="T48" fmla="*/ 5 w 642"/>
                <a:gd name="T49" fmla="*/ 29 h 708"/>
                <a:gd name="T50" fmla="*/ 4 w 642"/>
                <a:gd name="T51" fmla="*/ 28 h 708"/>
                <a:gd name="T52" fmla="*/ 1 w 642"/>
                <a:gd name="T53" fmla="*/ 26 h 708"/>
                <a:gd name="T54" fmla="*/ 1 w 642"/>
                <a:gd name="T55" fmla="*/ 24 h 708"/>
                <a:gd name="T56" fmla="*/ 1 w 642"/>
                <a:gd name="T57" fmla="*/ 20 h 708"/>
                <a:gd name="T58" fmla="*/ 1 w 642"/>
                <a:gd name="T59" fmla="*/ 16 h 708"/>
                <a:gd name="T60" fmla="*/ 2 w 642"/>
                <a:gd name="T61" fmla="*/ 14 h 708"/>
                <a:gd name="T62" fmla="*/ 8 w 642"/>
                <a:gd name="T63" fmla="*/ 14 h 708"/>
                <a:gd name="T64" fmla="*/ 9 w 642"/>
                <a:gd name="T65" fmla="*/ 10 h 708"/>
                <a:gd name="T66" fmla="*/ 15 w 642"/>
                <a:gd name="T67" fmla="*/ 9 h 708"/>
                <a:gd name="T68" fmla="*/ 18 w 642"/>
                <a:gd name="T69" fmla="*/ 14 h 708"/>
                <a:gd name="T70" fmla="*/ 20 w 642"/>
                <a:gd name="T71" fmla="*/ 12 h 708"/>
                <a:gd name="T72" fmla="*/ 20 w 642"/>
                <a:gd name="T73" fmla="*/ 11 h 708"/>
                <a:gd name="T74" fmla="*/ 21 w 642"/>
                <a:gd name="T75" fmla="*/ 9 h 708"/>
                <a:gd name="T76" fmla="*/ 24 w 642"/>
                <a:gd name="T77" fmla="*/ 9 h 708"/>
                <a:gd name="T78" fmla="*/ 27 w 642"/>
                <a:gd name="T79" fmla="*/ 8 h 708"/>
                <a:gd name="T80" fmla="*/ 33 w 642"/>
                <a:gd name="T81" fmla="*/ 2 h 708"/>
                <a:gd name="T82" fmla="*/ 42 w 642"/>
                <a:gd name="T83" fmla="*/ 2 h 708"/>
                <a:gd name="T84" fmla="*/ 49 w 642"/>
                <a:gd name="T85" fmla="*/ 1 h 708"/>
                <a:gd name="T86" fmla="*/ 53 w 642"/>
                <a:gd name="T87" fmla="*/ 4 h 708"/>
                <a:gd name="T88" fmla="*/ 55 w 642"/>
                <a:gd name="T89" fmla="*/ 4 h 708"/>
                <a:gd name="T90" fmla="*/ 55 w 642"/>
                <a:gd name="T91" fmla="*/ 7 h 708"/>
                <a:gd name="T92" fmla="*/ 52 w 642"/>
                <a:gd name="T93" fmla="*/ 9 h 708"/>
                <a:gd name="T94" fmla="*/ 49 w 642"/>
                <a:gd name="T95" fmla="*/ 12 h 708"/>
                <a:gd name="T96" fmla="*/ 47 w 642"/>
                <a:gd name="T97" fmla="*/ 14 h 708"/>
                <a:gd name="T98" fmla="*/ 47 w 642"/>
                <a:gd name="T99" fmla="*/ 17 h 708"/>
                <a:gd name="T100" fmla="*/ 45 w 642"/>
                <a:gd name="T101" fmla="*/ 26 h 708"/>
                <a:gd name="T102" fmla="*/ 50 w 642"/>
                <a:gd name="T103" fmla="*/ 37 h 70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42"/>
                <a:gd name="T157" fmla="*/ 0 h 708"/>
                <a:gd name="T158" fmla="*/ 642 w 642"/>
                <a:gd name="T159" fmla="*/ 708 h 70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42" h="708">
                  <a:moveTo>
                    <a:pt x="576" y="468"/>
                  </a:moveTo>
                  <a:lnTo>
                    <a:pt x="564" y="468"/>
                  </a:lnTo>
                  <a:lnTo>
                    <a:pt x="516" y="468"/>
                  </a:lnTo>
                  <a:lnTo>
                    <a:pt x="498" y="474"/>
                  </a:lnTo>
                  <a:lnTo>
                    <a:pt x="492" y="468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68" y="474"/>
                  </a:lnTo>
                  <a:lnTo>
                    <a:pt x="456" y="468"/>
                  </a:lnTo>
                  <a:lnTo>
                    <a:pt x="444" y="474"/>
                  </a:lnTo>
                  <a:lnTo>
                    <a:pt x="438" y="492"/>
                  </a:lnTo>
                  <a:lnTo>
                    <a:pt x="438" y="504"/>
                  </a:lnTo>
                  <a:lnTo>
                    <a:pt x="432" y="516"/>
                  </a:lnTo>
                  <a:lnTo>
                    <a:pt x="432" y="528"/>
                  </a:lnTo>
                  <a:lnTo>
                    <a:pt x="432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52"/>
                  </a:lnTo>
                  <a:lnTo>
                    <a:pt x="432" y="558"/>
                  </a:lnTo>
                  <a:lnTo>
                    <a:pt x="438" y="564"/>
                  </a:lnTo>
                  <a:lnTo>
                    <a:pt x="444" y="564"/>
                  </a:lnTo>
                  <a:lnTo>
                    <a:pt x="438" y="564"/>
                  </a:lnTo>
                  <a:lnTo>
                    <a:pt x="438" y="570"/>
                  </a:lnTo>
                  <a:lnTo>
                    <a:pt x="432" y="570"/>
                  </a:lnTo>
                  <a:lnTo>
                    <a:pt x="432" y="576"/>
                  </a:lnTo>
                  <a:lnTo>
                    <a:pt x="426" y="588"/>
                  </a:lnTo>
                  <a:lnTo>
                    <a:pt x="420" y="594"/>
                  </a:lnTo>
                  <a:lnTo>
                    <a:pt x="420" y="600"/>
                  </a:lnTo>
                  <a:lnTo>
                    <a:pt x="414" y="600"/>
                  </a:lnTo>
                  <a:lnTo>
                    <a:pt x="414" y="606"/>
                  </a:lnTo>
                  <a:lnTo>
                    <a:pt x="408" y="606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396" y="612"/>
                  </a:lnTo>
                  <a:lnTo>
                    <a:pt x="390" y="612"/>
                  </a:lnTo>
                  <a:lnTo>
                    <a:pt x="390" y="618"/>
                  </a:lnTo>
                  <a:lnTo>
                    <a:pt x="384" y="618"/>
                  </a:lnTo>
                  <a:lnTo>
                    <a:pt x="378" y="618"/>
                  </a:lnTo>
                  <a:lnTo>
                    <a:pt x="378" y="624"/>
                  </a:lnTo>
                  <a:lnTo>
                    <a:pt x="384" y="630"/>
                  </a:lnTo>
                  <a:lnTo>
                    <a:pt x="384" y="636"/>
                  </a:lnTo>
                  <a:lnTo>
                    <a:pt x="378" y="630"/>
                  </a:lnTo>
                  <a:lnTo>
                    <a:pt x="372" y="636"/>
                  </a:lnTo>
                  <a:lnTo>
                    <a:pt x="372" y="642"/>
                  </a:lnTo>
                  <a:lnTo>
                    <a:pt x="366" y="642"/>
                  </a:lnTo>
                  <a:lnTo>
                    <a:pt x="360" y="654"/>
                  </a:lnTo>
                  <a:lnTo>
                    <a:pt x="354" y="666"/>
                  </a:lnTo>
                  <a:lnTo>
                    <a:pt x="354" y="672"/>
                  </a:lnTo>
                  <a:lnTo>
                    <a:pt x="354" y="678"/>
                  </a:lnTo>
                  <a:lnTo>
                    <a:pt x="354" y="684"/>
                  </a:lnTo>
                  <a:lnTo>
                    <a:pt x="348" y="678"/>
                  </a:lnTo>
                  <a:lnTo>
                    <a:pt x="324" y="678"/>
                  </a:lnTo>
                  <a:lnTo>
                    <a:pt x="306" y="678"/>
                  </a:lnTo>
                  <a:lnTo>
                    <a:pt x="294" y="678"/>
                  </a:lnTo>
                  <a:lnTo>
                    <a:pt x="288" y="684"/>
                  </a:lnTo>
                  <a:lnTo>
                    <a:pt x="276" y="690"/>
                  </a:lnTo>
                  <a:lnTo>
                    <a:pt x="270" y="696"/>
                  </a:lnTo>
                  <a:lnTo>
                    <a:pt x="264" y="696"/>
                  </a:lnTo>
                  <a:lnTo>
                    <a:pt x="258" y="696"/>
                  </a:lnTo>
                  <a:lnTo>
                    <a:pt x="252" y="696"/>
                  </a:lnTo>
                  <a:lnTo>
                    <a:pt x="252" y="690"/>
                  </a:lnTo>
                  <a:lnTo>
                    <a:pt x="246" y="690"/>
                  </a:lnTo>
                  <a:lnTo>
                    <a:pt x="234" y="690"/>
                  </a:lnTo>
                  <a:lnTo>
                    <a:pt x="222" y="696"/>
                  </a:lnTo>
                  <a:lnTo>
                    <a:pt x="216" y="708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8" y="690"/>
                  </a:lnTo>
                  <a:lnTo>
                    <a:pt x="198" y="684"/>
                  </a:lnTo>
                  <a:lnTo>
                    <a:pt x="198" y="678"/>
                  </a:lnTo>
                  <a:lnTo>
                    <a:pt x="198" y="672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74" y="648"/>
                  </a:lnTo>
                  <a:lnTo>
                    <a:pt x="162" y="642"/>
                  </a:lnTo>
                  <a:lnTo>
                    <a:pt x="156" y="636"/>
                  </a:lnTo>
                  <a:lnTo>
                    <a:pt x="132" y="642"/>
                  </a:lnTo>
                  <a:lnTo>
                    <a:pt x="120" y="654"/>
                  </a:lnTo>
                  <a:lnTo>
                    <a:pt x="108" y="660"/>
                  </a:lnTo>
                  <a:lnTo>
                    <a:pt x="102" y="666"/>
                  </a:lnTo>
                  <a:lnTo>
                    <a:pt x="84" y="666"/>
                  </a:lnTo>
                  <a:lnTo>
                    <a:pt x="84" y="630"/>
                  </a:lnTo>
                  <a:lnTo>
                    <a:pt x="78" y="594"/>
                  </a:lnTo>
                  <a:lnTo>
                    <a:pt x="66" y="594"/>
                  </a:lnTo>
                  <a:lnTo>
                    <a:pt x="60" y="594"/>
                  </a:lnTo>
                  <a:lnTo>
                    <a:pt x="48" y="600"/>
                  </a:lnTo>
                  <a:lnTo>
                    <a:pt x="36" y="606"/>
                  </a:lnTo>
                  <a:lnTo>
                    <a:pt x="24" y="612"/>
                  </a:lnTo>
                  <a:lnTo>
                    <a:pt x="18" y="612"/>
                  </a:lnTo>
                  <a:lnTo>
                    <a:pt x="12" y="606"/>
                  </a:lnTo>
                  <a:lnTo>
                    <a:pt x="12" y="600"/>
                  </a:lnTo>
                  <a:lnTo>
                    <a:pt x="12" y="594"/>
                  </a:lnTo>
                  <a:lnTo>
                    <a:pt x="12" y="588"/>
                  </a:lnTo>
                  <a:lnTo>
                    <a:pt x="12" y="582"/>
                  </a:lnTo>
                  <a:lnTo>
                    <a:pt x="12" y="576"/>
                  </a:lnTo>
                  <a:lnTo>
                    <a:pt x="18" y="552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42" y="534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48" y="492"/>
                  </a:lnTo>
                  <a:lnTo>
                    <a:pt x="48" y="480"/>
                  </a:lnTo>
                  <a:lnTo>
                    <a:pt x="54" y="468"/>
                  </a:lnTo>
                  <a:lnTo>
                    <a:pt x="48" y="456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66" y="390"/>
                  </a:lnTo>
                  <a:lnTo>
                    <a:pt x="72" y="384"/>
                  </a:lnTo>
                  <a:lnTo>
                    <a:pt x="72" y="378"/>
                  </a:lnTo>
                  <a:lnTo>
                    <a:pt x="66" y="378"/>
                  </a:lnTo>
                  <a:lnTo>
                    <a:pt x="66" y="366"/>
                  </a:lnTo>
                  <a:lnTo>
                    <a:pt x="60" y="360"/>
                  </a:lnTo>
                  <a:lnTo>
                    <a:pt x="66" y="354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48" y="312"/>
                  </a:lnTo>
                  <a:lnTo>
                    <a:pt x="30" y="312"/>
                  </a:lnTo>
                  <a:lnTo>
                    <a:pt x="24" y="306"/>
                  </a:lnTo>
                  <a:lnTo>
                    <a:pt x="18" y="306"/>
                  </a:lnTo>
                  <a:lnTo>
                    <a:pt x="12" y="294"/>
                  </a:lnTo>
                  <a:lnTo>
                    <a:pt x="12" y="282"/>
                  </a:lnTo>
                  <a:lnTo>
                    <a:pt x="6" y="276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12" y="270"/>
                  </a:lnTo>
                  <a:lnTo>
                    <a:pt x="12" y="246"/>
                  </a:lnTo>
                  <a:lnTo>
                    <a:pt x="12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8" y="174"/>
                  </a:lnTo>
                  <a:lnTo>
                    <a:pt x="12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48" y="162"/>
                  </a:lnTo>
                  <a:lnTo>
                    <a:pt x="72" y="162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84" y="132"/>
                  </a:lnTo>
                  <a:lnTo>
                    <a:pt x="90" y="120"/>
                  </a:lnTo>
                  <a:lnTo>
                    <a:pt x="108" y="114"/>
                  </a:lnTo>
                  <a:lnTo>
                    <a:pt x="114" y="102"/>
                  </a:lnTo>
                  <a:lnTo>
                    <a:pt x="120" y="90"/>
                  </a:lnTo>
                  <a:lnTo>
                    <a:pt x="138" y="90"/>
                  </a:lnTo>
                  <a:lnTo>
                    <a:pt x="138" y="102"/>
                  </a:lnTo>
                  <a:lnTo>
                    <a:pt x="168" y="108"/>
                  </a:lnTo>
                  <a:lnTo>
                    <a:pt x="168" y="114"/>
                  </a:lnTo>
                  <a:lnTo>
                    <a:pt x="174" y="126"/>
                  </a:lnTo>
                  <a:lnTo>
                    <a:pt x="186" y="150"/>
                  </a:lnTo>
                  <a:lnTo>
                    <a:pt x="186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34" y="144"/>
                  </a:lnTo>
                  <a:lnTo>
                    <a:pt x="240" y="138"/>
                  </a:lnTo>
                  <a:lnTo>
                    <a:pt x="240" y="126"/>
                  </a:lnTo>
                  <a:lnTo>
                    <a:pt x="234" y="126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34" y="102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82" y="102"/>
                  </a:lnTo>
                  <a:lnTo>
                    <a:pt x="288" y="102"/>
                  </a:lnTo>
                  <a:lnTo>
                    <a:pt x="294" y="102"/>
                  </a:lnTo>
                  <a:lnTo>
                    <a:pt x="300" y="96"/>
                  </a:lnTo>
                  <a:lnTo>
                    <a:pt x="306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84"/>
                  </a:lnTo>
                  <a:lnTo>
                    <a:pt x="324" y="18"/>
                  </a:lnTo>
                  <a:lnTo>
                    <a:pt x="360" y="18"/>
                  </a:lnTo>
                  <a:lnTo>
                    <a:pt x="378" y="18"/>
                  </a:lnTo>
                  <a:lnTo>
                    <a:pt x="378" y="30"/>
                  </a:lnTo>
                  <a:lnTo>
                    <a:pt x="390" y="30"/>
                  </a:lnTo>
                  <a:lnTo>
                    <a:pt x="432" y="30"/>
                  </a:lnTo>
                  <a:lnTo>
                    <a:pt x="456" y="24"/>
                  </a:lnTo>
                  <a:lnTo>
                    <a:pt x="480" y="24"/>
                  </a:lnTo>
                  <a:lnTo>
                    <a:pt x="498" y="30"/>
                  </a:lnTo>
                  <a:lnTo>
                    <a:pt x="522" y="18"/>
                  </a:lnTo>
                  <a:lnTo>
                    <a:pt x="528" y="0"/>
                  </a:lnTo>
                  <a:lnTo>
                    <a:pt x="558" y="6"/>
                  </a:lnTo>
                  <a:lnTo>
                    <a:pt x="558" y="12"/>
                  </a:lnTo>
                  <a:lnTo>
                    <a:pt x="570" y="18"/>
                  </a:lnTo>
                  <a:lnTo>
                    <a:pt x="576" y="24"/>
                  </a:lnTo>
                  <a:lnTo>
                    <a:pt x="588" y="36"/>
                  </a:lnTo>
                  <a:lnTo>
                    <a:pt x="594" y="48"/>
                  </a:lnTo>
                  <a:lnTo>
                    <a:pt x="606" y="48"/>
                  </a:lnTo>
                  <a:lnTo>
                    <a:pt x="606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42"/>
                  </a:lnTo>
                  <a:lnTo>
                    <a:pt x="636" y="42"/>
                  </a:lnTo>
                  <a:lnTo>
                    <a:pt x="636" y="48"/>
                  </a:lnTo>
                  <a:lnTo>
                    <a:pt x="642" y="54"/>
                  </a:lnTo>
                  <a:lnTo>
                    <a:pt x="636" y="60"/>
                  </a:lnTo>
                  <a:lnTo>
                    <a:pt x="636" y="66"/>
                  </a:lnTo>
                  <a:lnTo>
                    <a:pt x="636" y="78"/>
                  </a:lnTo>
                  <a:lnTo>
                    <a:pt x="624" y="84"/>
                  </a:lnTo>
                  <a:lnTo>
                    <a:pt x="618" y="90"/>
                  </a:lnTo>
                  <a:lnTo>
                    <a:pt x="612" y="90"/>
                  </a:lnTo>
                  <a:lnTo>
                    <a:pt x="600" y="102"/>
                  </a:lnTo>
                  <a:lnTo>
                    <a:pt x="594" y="108"/>
                  </a:lnTo>
                  <a:lnTo>
                    <a:pt x="582" y="114"/>
                  </a:lnTo>
                  <a:lnTo>
                    <a:pt x="570" y="132"/>
                  </a:lnTo>
                  <a:lnTo>
                    <a:pt x="564" y="132"/>
                  </a:lnTo>
                  <a:lnTo>
                    <a:pt x="564" y="138"/>
                  </a:lnTo>
                  <a:lnTo>
                    <a:pt x="558" y="144"/>
                  </a:lnTo>
                  <a:lnTo>
                    <a:pt x="558" y="150"/>
                  </a:lnTo>
                  <a:lnTo>
                    <a:pt x="552" y="150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0" y="162"/>
                  </a:lnTo>
                  <a:lnTo>
                    <a:pt x="534" y="168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6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28" y="234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16" y="294"/>
                  </a:lnTo>
                  <a:lnTo>
                    <a:pt x="516" y="312"/>
                  </a:lnTo>
                  <a:lnTo>
                    <a:pt x="528" y="318"/>
                  </a:lnTo>
                  <a:lnTo>
                    <a:pt x="540" y="360"/>
                  </a:lnTo>
                  <a:lnTo>
                    <a:pt x="558" y="408"/>
                  </a:lnTo>
                  <a:lnTo>
                    <a:pt x="570" y="426"/>
                  </a:lnTo>
                  <a:lnTo>
                    <a:pt x="576" y="432"/>
                  </a:lnTo>
                  <a:lnTo>
                    <a:pt x="576" y="438"/>
                  </a:lnTo>
                  <a:lnTo>
                    <a:pt x="576" y="444"/>
                  </a:lnTo>
                  <a:lnTo>
                    <a:pt x="576" y="46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3" name="Freeform 28">
              <a:extLst>
                <a:ext uri="{FF2B5EF4-FFF2-40B4-BE49-F238E27FC236}">
                  <a16:creationId xmlns:a16="http://schemas.microsoft.com/office/drawing/2014/main" id="{CF9B4F31-BF73-448E-83AA-188F6CF1BDC5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4879" y="3432583"/>
              <a:ext cx="324248" cy="270616"/>
            </a:xfrm>
            <a:custGeom>
              <a:avLst/>
              <a:gdLst>
                <a:gd name="T0" fmla="*/ 5 w 606"/>
                <a:gd name="T1" fmla="*/ 36 h 510"/>
                <a:gd name="T2" fmla="*/ 4 w 606"/>
                <a:gd name="T3" fmla="*/ 34 h 510"/>
                <a:gd name="T4" fmla="*/ 0 w 606"/>
                <a:gd name="T5" fmla="*/ 25 h 510"/>
                <a:gd name="T6" fmla="*/ 1 w 606"/>
                <a:gd name="T7" fmla="*/ 20 h 510"/>
                <a:gd name="T8" fmla="*/ 2 w 606"/>
                <a:gd name="T9" fmla="*/ 15 h 510"/>
                <a:gd name="T10" fmla="*/ 2 w 606"/>
                <a:gd name="T11" fmla="*/ 13 h 510"/>
                <a:gd name="T12" fmla="*/ 3 w 606"/>
                <a:gd name="T13" fmla="*/ 12 h 510"/>
                <a:gd name="T14" fmla="*/ 4 w 606"/>
                <a:gd name="T15" fmla="*/ 11 h 510"/>
                <a:gd name="T16" fmla="*/ 4 w 606"/>
                <a:gd name="T17" fmla="*/ 10 h 510"/>
                <a:gd name="T18" fmla="*/ 7 w 606"/>
                <a:gd name="T19" fmla="*/ 8 h 510"/>
                <a:gd name="T20" fmla="*/ 9 w 606"/>
                <a:gd name="T21" fmla="*/ 6 h 510"/>
                <a:gd name="T22" fmla="*/ 11 w 606"/>
                <a:gd name="T23" fmla="*/ 4 h 510"/>
                <a:gd name="T24" fmla="*/ 12 w 606"/>
                <a:gd name="T25" fmla="*/ 3 h 510"/>
                <a:gd name="T26" fmla="*/ 13 w 606"/>
                <a:gd name="T27" fmla="*/ 4 h 510"/>
                <a:gd name="T28" fmla="*/ 15 w 606"/>
                <a:gd name="T29" fmla="*/ 2 h 510"/>
                <a:gd name="T30" fmla="*/ 17 w 606"/>
                <a:gd name="T31" fmla="*/ 2 h 510"/>
                <a:gd name="T32" fmla="*/ 19 w 606"/>
                <a:gd name="T33" fmla="*/ 5 h 510"/>
                <a:gd name="T34" fmla="*/ 22 w 606"/>
                <a:gd name="T35" fmla="*/ 5 h 510"/>
                <a:gd name="T36" fmla="*/ 25 w 606"/>
                <a:gd name="T37" fmla="*/ 6 h 510"/>
                <a:gd name="T38" fmla="*/ 29 w 606"/>
                <a:gd name="T39" fmla="*/ 1 h 510"/>
                <a:gd name="T40" fmla="*/ 38 w 606"/>
                <a:gd name="T41" fmla="*/ 0 h 510"/>
                <a:gd name="T42" fmla="*/ 38 w 606"/>
                <a:gd name="T43" fmla="*/ 5 h 510"/>
                <a:gd name="T44" fmla="*/ 41 w 606"/>
                <a:gd name="T45" fmla="*/ 4 h 510"/>
                <a:gd name="T46" fmla="*/ 45 w 606"/>
                <a:gd name="T47" fmla="*/ 2 h 510"/>
                <a:gd name="T48" fmla="*/ 46 w 606"/>
                <a:gd name="T49" fmla="*/ 2 h 510"/>
                <a:gd name="T50" fmla="*/ 47 w 606"/>
                <a:gd name="T51" fmla="*/ 5 h 510"/>
                <a:gd name="T52" fmla="*/ 45 w 606"/>
                <a:gd name="T53" fmla="*/ 6 h 510"/>
                <a:gd name="T54" fmla="*/ 45 w 606"/>
                <a:gd name="T55" fmla="*/ 7 h 510"/>
                <a:gd name="T56" fmla="*/ 43 w 606"/>
                <a:gd name="T57" fmla="*/ 8 h 510"/>
                <a:gd name="T58" fmla="*/ 45 w 606"/>
                <a:gd name="T59" fmla="*/ 15 h 510"/>
                <a:gd name="T60" fmla="*/ 49 w 606"/>
                <a:gd name="T61" fmla="*/ 15 h 510"/>
                <a:gd name="T62" fmla="*/ 51 w 606"/>
                <a:gd name="T63" fmla="*/ 15 h 510"/>
                <a:gd name="T64" fmla="*/ 53 w 606"/>
                <a:gd name="T65" fmla="*/ 16 h 510"/>
                <a:gd name="T66" fmla="*/ 52 w 606"/>
                <a:gd name="T67" fmla="*/ 20 h 510"/>
                <a:gd name="T68" fmla="*/ 48 w 606"/>
                <a:gd name="T69" fmla="*/ 23 h 510"/>
                <a:gd name="T70" fmla="*/ 45 w 606"/>
                <a:gd name="T71" fmla="*/ 25 h 510"/>
                <a:gd name="T72" fmla="*/ 44 w 606"/>
                <a:gd name="T73" fmla="*/ 28 h 510"/>
                <a:gd name="T74" fmla="*/ 43 w 606"/>
                <a:gd name="T75" fmla="*/ 33 h 510"/>
                <a:gd name="T76" fmla="*/ 39 w 606"/>
                <a:gd name="T77" fmla="*/ 38 h 510"/>
                <a:gd name="T78" fmla="*/ 37 w 606"/>
                <a:gd name="T79" fmla="*/ 41 h 510"/>
                <a:gd name="T80" fmla="*/ 31 w 606"/>
                <a:gd name="T81" fmla="*/ 44 h 510"/>
                <a:gd name="T82" fmla="*/ 28 w 606"/>
                <a:gd name="T83" fmla="*/ 43 h 510"/>
                <a:gd name="T84" fmla="*/ 28 w 606"/>
                <a:gd name="T85" fmla="*/ 41 h 510"/>
                <a:gd name="T86" fmla="*/ 28 w 606"/>
                <a:gd name="T87" fmla="*/ 40 h 510"/>
                <a:gd name="T88" fmla="*/ 27 w 606"/>
                <a:gd name="T89" fmla="*/ 38 h 510"/>
                <a:gd name="T90" fmla="*/ 27 w 606"/>
                <a:gd name="T91" fmla="*/ 36 h 510"/>
                <a:gd name="T92" fmla="*/ 24 w 606"/>
                <a:gd name="T93" fmla="*/ 35 h 510"/>
                <a:gd name="T94" fmla="*/ 16 w 606"/>
                <a:gd name="T95" fmla="*/ 34 h 510"/>
                <a:gd name="T96" fmla="*/ 13 w 606"/>
                <a:gd name="T97" fmla="*/ 34 h 510"/>
                <a:gd name="T98" fmla="*/ 9 w 606"/>
                <a:gd name="T99" fmla="*/ 36 h 510"/>
                <a:gd name="T100" fmla="*/ 8 w 606"/>
                <a:gd name="T101" fmla="*/ 38 h 510"/>
                <a:gd name="T102" fmla="*/ 7 w 606"/>
                <a:gd name="T103" fmla="*/ 39 h 51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06"/>
                <a:gd name="T157" fmla="*/ 0 h 510"/>
                <a:gd name="T158" fmla="*/ 606 w 606"/>
                <a:gd name="T159" fmla="*/ 510 h 51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06" h="510">
                  <a:moveTo>
                    <a:pt x="60" y="450"/>
                  </a:move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42" y="390"/>
                  </a:lnTo>
                  <a:lnTo>
                    <a:pt x="24" y="342"/>
                  </a:lnTo>
                  <a:lnTo>
                    <a:pt x="12" y="300"/>
                  </a:lnTo>
                  <a:lnTo>
                    <a:pt x="0" y="294"/>
                  </a:lnTo>
                  <a:lnTo>
                    <a:pt x="0" y="276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24" y="192"/>
                  </a:lnTo>
                  <a:lnTo>
                    <a:pt x="24" y="180"/>
                  </a:lnTo>
                  <a:lnTo>
                    <a:pt x="24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6" y="96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108" y="66"/>
                  </a:lnTo>
                  <a:lnTo>
                    <a:pt x="120" y="60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36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62" y="36"/>
                  </a:lnTo>
                  <a:lnTo>
                    <a:pt x="162" y="30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0" y="54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46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76" y="66"/>
                  </a:lnTo>
                  <a:lnTo>
                    <a:pt x="312" y="66"/>
                  </a:lnTo>
                  <a:lnTo>
                    <a:pt x="318" y="60"/>
                  </a:lnTo>
                  <a:lnTo>
                    <a:pt x="330" y="12"/>
                  </a:lnTo>
                  <a:lnTo>
                    <a:pt x="414" y="6"/>
                  </a:lnTo>
                  <a:lnTo>
                    <a:pt x="420" y="0"/>
                  </a:lnTo>
                  <a:lnTo>
                    <a:pt x="426" y="6"/>
                  </a:lnTo>
                  <a:lnTo>
                    <a:pt x="426" y="12"/>
                  </a:lnTo>
                  <a:lnTo>
                    <a:pt x="426" y="54"/>
                  </a:lnTo>
                  <a:lnTo>
                    <a:pt x="432" y="54"/>
                  </a:lnTo>
                  <a:lnTo>
                    <a:pt x="444" y="54"/>
                  </a:lnTo>
                  <a:lnTo>
                    <a:pt x="450" y="42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86" y="24"/>
                  </a:lnTo>
                  <a:lnTo>
                    <a:pt x="504" y="18"/>
                  </a:lnTo>
                  <a:lnTo>
                    <a:pt x="510" y="12"/>
                  </a:lnTo>
                  <a:lnTo>
                    <a:pt x="516" y="18"/>
                  </a:lnTo>
                  <a:lnTo>
                    <a:pt x="522" y="24"/>
                  </a:lnTo>
                  <a:lnTo>
                    <a:pt x="510" y="30"/>
                  </a:lnTo>
                  <a:lnTo>
                    <a:pt x="516" y="48"/>
                  </a:lnTo>
                  <a:lnTo>
                    <a:pt x="528" y="54"/>
                  </a:lnTo>
                  <a:lnTo>
                    <a:pt x="522" y="60"/>
                  </a:lnTo>
                  <a:lnTo>
                    <a:pt x="516" y="66"/>
                  </a:lnTo>
                  <a:lnTo>
                    <a:pt x="516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0" y="84"/>
                  </a:lnTo>
                  <a:lnTo>
                    <a:pt x="510" y="90"/>
                  </a:lnTo>
                  <a:lnTo>
                    <a:pt x="504" y="90"/>
                  </a:lnTo>
                  <a:lnTo>
                    <a:pt x="486" y="90"/>
                  </a:lnTo>
                  <a:lnTo>
                    <a:pt x="492" y="138"/>
                  </a:lnTo>
                  <a:lnTo>
                    <a:pt x="498" y="168"/>
                  </a:lnTo>
                  <a:lnTo>
                    <a:pt x="516" y="168"/>
                  </a:lnTo>
                  <a:lnTo>
                    <a:pt x="528" y="174"/>
                  </a:lnTo>
                  <a:lnTo>
                    <a:pt x="534" y="168"/>
                  </a:lnTo>
                  <a:lnTo>
                    <a:pt x="558" y="174"/>
                  </a:lnTo>
                  <a:lnTo>
                    <a:pt x="564" y="168"/>
                  </a:lnTo>
                  <a:lnTo>
                    <a:pt x="570" y="168"/>
                  </a:lnTo>
                  <a:lnTo>
                    <a:pt x="576" y="174"/>
                  </a:lnTo>
                  <a:lnTo>
                    <a:pt x="588" y="168"/>
                  </a:lnTo>
                  <a:lnTo>
                    <a:pt x="594" y="168"/>
                  </a:lnTo>
                  <a:lnTo>
                    <a:pt x="594" y="186"/>
                  </a:lnTo>
                  <a:lnTo>
                    <a:pt x="606" y="198"/>
                  </a:lnTo>
                  <a:lnTo>
                    <a:pt x="600" y="210"/>
                  </a:lnTo>
                  <a:lnTo>
                    <a:pt x="588" y="234"/>
                  </a:lnTo>
                  <a:lnTo>
                    <a:pt x="564" y="246"/>
                  </a:lnTo>
                  <a:lnTo>
                    <a:pt x="546" y="258"/>
                  </a:lnTo>
                  <a:lnTo>
                    <a:pt x="540" y="270"/>
                  </a:lnTo>
                  <a:lnTo>
                    <a:pt x="534" y="294"/>
                  </a:lnTo>
                  <a:lnTo>
                    <a:pt x="528" y="300"/>
                  </a:lnTo>
                  <a:lnTo>
                    <a:pt x="516" y="294"/>
                  </a:lnTo>
                  <a:lnTo>
                    <a:pt x="510" y="300"/>
                  </a:lnTo>
                  <a:lnTo>
                    <a:pt x="498" y="318"/>
                  </a:lnTo>
                  <a:lnTo>
                    <a:pt x="492" y="324"/>
                  </a:lnTo>
                  <a:lnTo>
                    <a:pt x="486" y="336"/>
                  </a:lnTo>
                  <a:lnTo>
                    <a:pt x="486" y="354"/>
                  </a:lnTo>
                  <a:lnTo>
                    <a:pt x="486" y="384"/>
                  </a:lnTo>
                  <a:lnTo>
                    <a:pt x="474" y="408"/>
                  </a:lnTo>
                  <a:lnTo>
                    <a:pt x="450" y="426"/>
                  </a:lnTo>
                  <a:lnTo>
                    <a:pt x="444" y="444"/>
                  </a:lnTo>
                  <a:lnTo>
                    <a:pt x="426" y="474"/>
                  </a:lnTo>
                  <a:lnTo>
                    <a:pt x="420" y="486"/>
                  </a:lnTo>
                  <a:lnTo>
                    <a:pt x="414" y="486"/>
                  </a:lnTo>
                  <a:lnTo>
                    <a:pt x="414" y="498"/>
                  </a:lnTo>
                  <a:lnTo>
                    <a:pt x="378" y="504"/>
                  </a:lnTo>
                  <a:lnTo>
                    <a:pt x="348" y="510"/>
                  </a:lnTo>
                  <a:lnTo>
                    <a:pt x="330" y="510"/>
                  </a:lnTo>
                  <a:lnTo>
                    <a:pt x="324" y="504"/>
                  </a:lnTo>
                  <a:lnTo>
                    <a:pt x="318" y="504"/>
                  </a:lnTo>
                  <a:lnTo>
                    <a:pt x="312" y="504"/>
                  </a:lnTo>
                  <a:lnTo>
                    <a:pt x="312" y="498"/>
                  </a:lnTo>
                  <a:lnTo>
                    <a:pt x="312" y="486"/>
                  </a:lnTo>
                  <a:lnTo>
                    <a:pt x="312" y="480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56"/>
                  </a:lnTo>
                  <a:lnTo>
                    <a:pt x="312" y="450"/>
                  </a:lnTo>
                  <a:lnTo>
                    <a:pt x="306" y="444"/>
                  </a:lnTo>
                  <a:lnTo>
                    <a:pt x="306" y="438"/>
                  </a:lnTo>
                  <a:lnTo>
                    <a:pt x="300" y="426"/>
                  </a:lnTo>
                  <a:lnTo>
                    <a:pt x="300" y="420"/>
                  </a:lnTo>
                  <a:lnTo>
                    <a:pt x="294" y="414"/>
                  </a:lnTo>
                  <a:lnTo>
                    <a:pt x="294" y="408"/>
                  </a:lnTo>
                  <a:lnTo>
                    <a:pt x="270" y="408"/>
                  </a:lnTo>
                  <a:lnTo>
                    <a:pt x="246" y="408"/>
                  </a:lnTo>
                  <a:lnTo>
                    <a:pt x="222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56" y="402"/>
                  </a:lnTo>
                  <a:lnTo>
                    <a:pt x="144" y="396"/>
                  </a:lnTo>
                  <a:lnTo>
                    <a:pt x="126" y="396"/>
                  </a:lnTo>
                  <a:lnTo>
                    <a:pt x="108" y="408"/>
                  </a:lnTo>
                  <a:lnTo>
                    <a:pt x="102" y="414"/>
                  </a:lnTo>
                  <a:lnTo>
                    <a:pt x="102" y="420"/>
                  </a:lnTo>
                  <a:lnTo>
                    <a:pt x="96" y="426"/>
                  </a:lnTo>
                  <a:lnTo>
                    <a:pt x="96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78" y="450"/>
                  </a:lnTo>
                  <a:lnTo>
                    <a:pt x="60" y="45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4" name="Freeform 29">
              <a:extLst>
                <a:ext uri="{FF2B5EF4-FFF2-40B4-BE49-F238E27FC236}">
                  <a16:creationId xmlns:a16="http://schemas.microsoft.com/office/drawing/2014/main" id="{B6AC2B96-1504-4082-8778-17130FDA021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401" y="3537698"/>
              <a:ext cx="559048" cy="641876"/>
            </a:xfrm>
            <a:custGeom>
              <a:avLst/>
              <a:gdLst>
                <a:gd name="T0" fmla="*/ 39 w 1056"/>
                <a:gd name="T1" fmla="*/ 94 h 1206"/>
                <a:gd name="T2" fmla="*/ 35 w 1056"/>
                <a:gd name="T3" fmla="*/ 103 h 1206"/>
                <a:gd name="T4" fmla="*/ 29 w 1056"/>
                <a:gd name="T5" fmla="*/ 99 h 1206"/>
                <a:gd name="T6" fmla="*/ 23 w 1056"/>
                <a:gd name="T7" fmla="*/ 94 h 1206"/>
                <a:gd name="T8" fmla="*/ 21 w 1056"/>
                <a:gd name="T9" fmla="*/ 91 h 1206"/>
                <a:gd name="T10" fmla="*/ 18 w 1056"/>
                <a:gd name="T11" fmla="*/ 89 h 1206"/>
                <a:gd name="T12" fmla="*/ 15 w 1056"/>
                <a:gd name="T13" fmla="*/ 86 h 1206"/>
                <a:gd name="T14" fmla="*/ 11 w 1056"/>
                <a:gd name="T15" fmla="*/ 83 h 1206"/>
                <a:gd name="T16" fmla="*/ 8 w 1056"/>
                <a:gd name="T17" fmla="*/ 81 h 1206"/>
                <a:gd name="T18" fmla="*/ 6 w 1056"/>
                <a:gd name="T19" fmla="*/ 79 h 1206"/>
                <a:gd name="T20" fmla="*/ 13 w 1056"/>
                <a:gd name="T21" fmla="*/ 78 h 1206"/>
                <a:gd name="T22" fmla="*/ 8 w 1056"/>
                <a:gd name="T23" fmla="*/ 75 h 1206"/>
                <a:gd name="T24" fmla="*/ 13 w 1056"/>
                <a:gd name="T25" fmla="*/ 71 h 1206"/>
                <a:gd name="T26" fmla="*/ 10 w 1056"/>
                <a:gd name="T27" fmla="*/ 63 h 1206"/>
                <a:gd name="T28" fmla="*/ 6 w 1056"/>
                <a:gd name="T29" fmla="*/ 66 h 1206"/>
                <a:gd name="T30" fmla="*/ 1 w 1056"/>
                <a:gd name="T31" fmla="*/ 63 h 1206"/>
                <a:gd name="T32" fmla="*/ 1 w 1056"/>
                <a:gd name="T33" fmla="*/ 59 h 1206"/>
                <a:gd name="T34" fmla="*/ 3 w 1056"/>
                <a:gd name="T35" fmla="*/ 57 h 1206"/>
                <a:gd name="T36" fmla="*/ 6 w 1056"/>
                <a:gd name="T37" fmla="*/ 55 h 1206"/>
                <a:gd name="T38" fmla="*/ 10 w 1056"/>
                <a:gd name="T39" fmla="*/ 51 h 1206"/>
                <a:gd name="T40" fmla="*/ 11 w 1056"/>
                <a:gd name="T41" fmla="*/ 46 h 1206"/>
                <a:gd name="T42" fmla="*/ 14 w 1056"/>
                <a:gd name="T43" fmla="*/ 42 h 1206"/>
                <a:gd name="T44" fmla="*/ 15 w 1056"/>
                <a:gd name="T45" fmla="*/ 36 h 1206"/>
                <a:gd name="T46" fmla="*/ 17 w 1056"/>
                <a:gd name="T47" fmla="*/ 34 h 1206"/>
                <a:gd name="T48" fmla="*/ 20 w 1056"/>
                <a:gd name="T49" fmla="*/ 31 h 1206"/>
                <a:gd name="T50" fmla="*/ 21 w 1056"/>
                <a:gd name="T51" fmla="*/ 29 h 1206"/>
                <a:gd name="T52" fmla="*/ 23 w 1056"/>
                <a:gd name="T53" fmla="*/ 22 h 1206"/>
                <a:gd name="T54" fmla="*/ 35 w 1056"/>
                <a:gd name="T55" fmla="*/ 22 h 1206"/>
                <a:gd name="T56" fmla="*/ 41 w 1056"/>
                <a:gd name="T57" fmla="*/ 18 h 1206"/>
                <a:gd name="T58" fmla="*/ 54 w 1056"/>
                <a:gd name="T59" fmla="*/ 20 h 1206"/>
                <a:gd name="T60" fmla="*/ 54 w 1056"/>
                <a:gd name="T61" fmla="*/ 26 h 1206"/>
                <a:gd name="T62" fmla="*/ 64 w 1056"/>
                <a:gd name="T63" fmla="*/ 25 h 1206"/>
                <a:gd name="T64" fmla="*/ 71 w 1056"/>
                <a:gd name="T65" fmla="*/ 10 h 1206"/>
                <a:gd name="T66" fmla="*/ 80 w 1056"/>
                <a:gd name="T67" fmla="*/ 1 h 1206"/>
                <a:gd name="T68" fmla="*/ 86 w 1056"/>
                <a:gd name="T69" fmla="*/ 2 h 1206"/>
                <a:gd name="T70" fmla="*/ 91 w 1056"/>
                <a:gd name="T71" fmla="*/ 13 h 1206"/>
                <a:gd name="T72" fmla="*/ 88 w 1056"/>
                <a:gd name="T73" fmla="*/ 17 h 1206"/>
                <a:gd name="T74" fmla="*/ 89 w 1056"/>
                <a:gd name="T75" fmla="*/ 21 h 1206"/>
                <a:gd name="T76" fmla="*/ 86 w 1056"/>
                <a:gd name="T77" fmla="*/ 25 h 1206"/>
                <a:gd name="T78" fmla="*/ 85 w 1056"/>
                <a:gd name="T79" fmla="*/ 31 h 1206"/>
                <a:gd name="T80" fmla="*/ 83 w 1056"/>
                <a:gd name="T81" fmla="*/ 36 h 1206"/>
                <a:gd name="T82" fmla="*/ 80 w 1056"/>
                <a:gd name="T83" fmla="*/ 42 h 1206"/>
                <a:gd name="T84" fmla="*/ 80 w 1056"/>
                <a:gd name="T85" fmla="*/ 47 h 1206"/>
                <a:gd name="T86" fmla="*/ 77 w 1056"/>
                <a:gd name="T87" fmla="*/ 55 h 1206"/>
                <a:gd name="T88" fmla="*/ 75 w 1056"/>
                <a:gd name="T89" fmla="*/ 57 h 1206"/>
                <a:gd name="T90" fmla="*/ 66 w 1056"/>
                <a:gd name="T91" fmla="*/ 57 h 1206"/>
                <a:gd name="T92" fmla="*/ 66 w 1056"/>
                <a:gd name="T93" fmla="*/ 51 h 1206"/>
                <a:gd name="T94" fmla="*/ 48 w 1056"/>
                <a:gd name="T95" fmla="*/ 50 h 1206"/>
                <a:gd name="T96" fmla="*/ 46 w 1056"/>
                <a:gd name="T97" fmla="*/ 55 h 1206"/>
                <a:gd name="T98" fmla="*/ 42 w 1056"/>
                <a:gd name="T99" fmla="*/ 59 h 1206"/>
                <a:gd name="T100" fmla="*/ 41 w 1056"/>
                <a:gd name="T101" fmla="*/ 62 h 1206"/>
                <a:gd name="T102" fmla="*/ 43 w 1056"/>
                <a:gd name="T103" fmla="*/ 67 h 1206"/>
                <a:gd name="T104" fmla="*/ 42 w 1056"/>
                <a:gd name="T105" fmla="*/ 72 h 1206"/>
                <a:gd name="T106" fmla="*/ 39 w 1056"/>
                <a:gd name="T107" fmla="*/ 77 h 1206"/>
                <a:gd name="T108" fmla="*/ 36 w 1056"/>
                <a:gd name="T109" fmla="*/ 80 h 1206"/>
                <a:gd name="T110" fmla="*/ 37 w 1056"/>
                <a:gd name="T111" fmla="*/ 83 h 1206"/>
                <a:gd name="T112" fmla="*/ 40 w 1056"/>
                <a:gd name="T113" fmla="*/ 87 h 1206"/>
                <a:gd name="T114" fmla="*/ 42 w 1056"/>
                <a:gd name="T115" fmla="*/ 89 h 12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56"/>
                <a:gd name="T175" fmla="*/ 0 h 1206"/>
                <a:gd name="T176" fmla="*/ 1056 w 1056"/>
                <a:gd name="T177" fmla="*/ 1206 h 12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56" h="1206">
                  <a:moveTo>
                    <a:pt x="492" y="1032"/>
                  </a:moveTo>
                  <a:lnTo>
                    <a:pt x="486" y="1038"/>
                  </a:lnTo>
                  <a:lnTo>
                    <a:pt x="486" y="1044"/>
                  </a:lnTo>
                  <a:lnTo>
                    <a:pt x="480" y="1044"/>
                  </a:lnTo>
                  <a:lnTo>
                    <a:pt x="474" y="1056"/>
                  </a:lnTo>
                  <a:lnTo>
                    <a:pt x="462" y="1068"/>
                  </a:lnTo>
                  <a:lnTo>
                    <a:pt x="456" y="1080"/>
                  </a:lnTo>
                  <a:lnTo>
                    <a:pt x="450" y="1080"/>
                  </a:lnTo>
                  <a:lnTo>
                    <a:pt x="450" y="1086"/>
                  </a:lnTo>
                  <a:lnTo>
                    <a:pt x="450" y="1092"/>
                  </a:lnTo>
                  <a:lnTo>
                    <a:pt x="444" y="1104"/>
                  </a:lnTo>
                  <a:lnTo>
                    <a:pt x="444" y="1116"/>
                  </a:lnTo>
                  <a:lnTo>
                    <a:pt x="438" y="1128"/>
                  </a:lnTo>
                  <a:lnTo>
                    <a:pt x="432" y="1134"/>
                  </a:lnTo>
                  <a:lnTo>
                    <a:pt x="432" y="1140"/>
                  </a:lnTo>
                  <a:lnTo>
                    <a:pt x="420" y="1152"/>
                  </a:lnTo>
                  <a:lnTo>
                    <a:pt x="420" y="1158"/>
                  </a:lnTo>
                  <a:lnTo>
                    <a:pt x="408" y="1182"/>
                  </a:lnTo>
                  <a:lnTo>
                    <a:pt x="396" y="1194"/>
                  </a:lnTo>
                  <a:lnTo>
                    <a:pt x="390" y="1206"/>
                  </a:lnTo>
                  <a:lnTo>
                    <a:pt x="390" y="1200"/>
                  </a:lnTo>
                  <a:lnTo>
                    <a:pt x="384" y="1194"/>
                  </a:lnTo>
                  <a:lnTo>
                    <a:pt x="378" y="1188"/>
                  </a:lnTo>
                  <a:lnTo>
                    <a:pt x="366" y="1176"/>
                  </a:lnTo>
                  <a:lnTo>
                    <a:pt x="366" y="1170"/>
                  </a:lnTo>
                  <a:lnTo>
                    <a:pt x="348" y="1152"/>
                  </a:lnTo>
                  <a:lnTo>
                    <a:pt x="336" y="1140"/>
                  </a:lnTo>
                  <a:lnTo>
                    <a:pt x="330" y="1134"/>
                  </a:lnTo>
                  <a:lnTo>
                    <a:pt x="324" y="1128"/>
                  </a:lnTo>
                  <a:lnTo>
                    <a:pt x="318" y="1122"/>
                  </a:lnTo>
                  <a:lnTo>
                    <a:pt x="312" y="1116"/>
                  </a:lnTo>
                  <a:lnTo>
                    <a:pt x="306" y="1110"/>
                  </a:lnTo>
                  <a:lnTo>
                    <a:pt x="300" y="1104"/>
                  </a:lnTo>
                  <a:lnTo>
                    <a:pt x="294" y="1098"/>
                  </a:lnTo>
                  <a:lnTo>
                    <a:pt x="276" y="1080"/>
                  </a:lnTo>
                  <a:lnTo>
                    <a:pt x="270" y="1080"/>
                  </a:lnTo>
                  <a:lnTo>
                    <a:pt x="270" y="1074"/>
                  </a:lnTo>
                  <a:lnTo>
                    <a:pt x="264" y="1068"/>
                  </a:lnTo>
                  <a:lnTo>
                    <a:pt x="258" y="1062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40" y="1050"/>
                  </a:lnTo>
                  <a:lnTo>
                    <a:pt x="234" y="1044"/>
                  </a:lnTo>
                  <a:lnTo>
                    <a:pt x="228" y="1044"/>
                  </a:lnTo>
                  <a:lnTo>
                    <a:pt x="222" y="1038"/>
                  </a:lnTo>
                  <a:lnTo>
                    <a:pt x="222" y="1032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6"/>
                  </a:lnTo>
                  <a:lnTo>
                    <a:pt x="204" y="1020"/>
                  </a:lnTo>
                  <a:lnTo>
                    <a:pt x="204" y="1014"/>
                  </a:lnTo>
                  <a:lnTo>
                    <a:pt x="198" y="1014"/>
                  </a:lnTo>
                  <a:lnTo>
                    <a:pt x="192" y="1014"/>
                  </a:lnTo>
                  <a:lnTo>
                    <a:pt x="192" y="1008"/>
                  </a:lnTo>
                  <a:lnTo>
                    <a:pt x="186" y="1008"/>
                  </a:lnTo>
                  <a:lnTo>
                    <a:pt x="186" y="1002"/>
                  </a:lnTo>
                  <a:lnTo>
                    <a:pt x="180" y="1002"/>
                  </a:lnTo>
                  <a:lnTo>
                    <a:pt x="174" y="996"/>
                  </a:lnTo>
                  <a:lnTo>
                    <a:pt x="168" y="996"/>
                  </a:lnTo>
                  <a:lnTo>
                    <a:pt x="168" y="990"/>
                  </a:lnTo>
                  <a:lnTo>
                    <a:pt x="162" y="990"/>
                  </a:lnTo>
                  <a:lnTo>
                    <a:pt x="162" y="984"/>
                  </a:lnTo>
                  <a:lnTo>
                    <a:pt x="150" y="978"/>
                  </a:lnTo>
                  <a:lnTo>
                    <a:pt x="144" y="972"/>
                  </a:lnTo>
                  <a:lnTo>
                    <a:pt x="138" y="972"/>
                  </a:lnTo>
                  <a:lnTo>
                    <a:pt x="138" y="966"/>
                  </a:lnTo>
                  <a:lnTo>
                    <a:pt x="132" y="966"/>
                  </a:lnTo>
                  <a:lnTo>
                    <a:pt x="126" y="960"/>
                  </a:lnTo>
                  <a:lnTo>
                    <a:pt x="126" y="954"/>
                  </a:lnTo>
                  <a:lnTo>
                    <a:pt x="120" y="954"/>
                  </a:lnTo>
                  <a:lnTo>
                    <a:pt x="114" y="948"/>
                  </a:lnTo>
                  <a:lnTo>
                    <a:pt x="108" y="948"/>
                  </a:lnTo>
                  <a:lnTo>
                    <a:pt x="108" y="942"/>
                  </a:lnTo>
                  <a:lnTo>
                    <a:pt x="102" y="942"/>
                  </a:lnTo>
                  <a:lnTo>
                    <a:pt x="96" y="942"/>
                  </a:lnTo>
                  <a:lnTo>
                    <a:pt x="96" y="936"/>
                  </a:lnTo>
                  <a:lnTo>
                    <a:pt x="90" y="936"/>
                  </a:lnTo>
                  <a:lnTo>
                    <a:pt x="90" y="930"/>
                  </a:lnTo>
                  <a:lnTo>
                    <a:pt x="84" y="930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18"/>
                  </a:lnTo>
                  <a:lnTo>
                    <a:pt x="66" y="918"/>
                  </a:lnTo>
                  <a:lnTo>
                    <a:pt x="66" y="912"/>
                  </a:lnTo>
                  <a:lnTo>
                    <a:pt x="66" y="906"/>
                  </a:lnTo>
                  <a:lnTo>
                    <a:pt x="72" y="906"/>
                  </a:lnTo>
                  <a:lnTo>
                    <a:pt x="84" y="906"/>
                  </a:lnTo>
                  <a:lnTo>
                    <a:pt x="90" y="906"/>
                  </a:lnTo>
                  <a:lnTo>
                    <a:pt x="120" y="930"/>
                  </a:lnTo>
                  <a:lnTo>
                    <a:pt x="126" y="936"/>
                  </a:lnTo>
                  <a:lnTo>
                    <a:pt x="138" y="936"/>
                  </a:lnTo>
                  <a:lnTo>
                    <a:pt x="138" y="930"/>
                  </a:lnTo>
                  <a:lnTo>
                    <a:pt x="144" y="930"/>
                  </a:lnTo>
                  <a:lnTo>
                    <a:pt x="144" y="924"/>
                  </a:lnTo>
                  <a:lnTo>
                    <a:pt x="150" y="900"/>
                  </a:lnTo>
                  <a:lnTo>
                    <a:pt x="138" y="894"/>
                  </a:lnTo>
                  <a:lnTo>
                    <a:pt x="126" y="894"/>
                  </a:lnTo>
                  <a:lnTo>
                    <a:pt x="108" y="888"/>
                  </a:lnTo>
                  <a:lnTo>
                    <a:pt x="84" y="882"/>
                  </a:lnTo>
                  <a:lnTo>
                    <a:pt x="72" y="882"/>
                  </a:lnTo>
                  <a:lnTo>
                    <a:pt x="72" y="876"/>
                  </a:lnTo>
                  <a:lnTo>
                    <a:pt x="78" y="870"/>
                  </a:lnTo>
                  <a:lnTo>
                    <a:pt x="90" y="870"/>
                  </a:lnTo>
                  <a:lnTo>
                    <a:pt x="96" y="870"/>
                  </a:lnTo>
                  <a:lnTo>
                    <a:pt x="102" y="870"/>
                  </a:lnTo>
                  <a:lnTo>
                    <a:pt x="114" y="870"/>
                  </a:lnTo>
                  <a:lnTo>
                    <a:pt x="120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34"/>
                  </a:lnTo>
                  <a:lnTo>
                    <a:pt x="132" y="828"/>
                  </a:lnTo>
                  <a:lnTo>
                    <a:pt x="132" y="816"/>
                  </a:lnTo>
                  <a:lnTo>
                    <a:pt x="150" y="816"/>
                  </a:lnTo>
                  <a:lnTo>
                    <a:pt x="150" y="804"/>
                  </a:lnTo>
                  <a:lnTo>
                    <a:pt x="144" y="798"/>
                  </a:lnTo>
                  <a:lnTo>
                    <a:pt x="156" y="762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32"/>
                  </a:lnTo>
                  <a:lnTo>
                    <a:pt x="144" y="726"/>
                  </a:lnTo>
                  <a:lnTo>
                    <a:pt x="132" y="726"/>
                  </a:lnTo>
                  <a:lnTo>
                    <a:pt x="120" y="732"/>
                  </a:lnTo>
                  <a:lnTo>
                    <a:pt x="114" y="744"/>
                  </a:lnTo>
                  <a:lnTo>
                    <a:pt x="108" y="750"/>
                  </a:lnTo>
                  <a:lnTo>
                    <a:pt x="96" y="768"/>
                  </a:lnTo>
                  <a:lnTo>
                    <a:pt x="96" y="774"/>
                  </a:lnTo>
                  <a:lnTo>
                    <a:pt x="90" y="780"/>
                  </a:lnTo>
                  <a:lnTo>
                    <a:pt x="84" y="804"/>
                  </a:lnTo>
                  <a:lnTo>
                    <a:pt x="72" y="774"/>
                  </a:lnTo>
                  <a:lnTo>
                    <a:pt x="72" y="768"/>
                  </a:lnTo>
                  <a:lnTo>
                    <a:pt x="66" y="762"/>
                  </a:lnTo>
                  <a:lnTo>
                    <a:pt x="60" y="750"/>
                  </a:lnTo>
                  <a:lnTo>
                    <a:pt x="54" y="750"/>
                  </a:lnTo>
                  <a:lnTo>
                    <a:pt x="48" y="750"/>
                  </a:lnTo>
                  <a:lnTo>
                    <a:pt x="42" y="750"/>
                  </a:lnTo>
                  <a:lnTo>
                    <a:pt x="30" y="744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12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2" y="702"/>
                  </a:lnTo>
                  <a:lnTo>
                    <a:pt x="18" y="696"/>
                  </a:lnTo>
                  <a:lnTo>
                    <a:pt x="12" y="690"/>
                  </a:lnTo>
                  <a:lnTo>
                    <a:pt x="12" y="684"/>
                  </a:lnTo>
                  <a:lnTo>
                    <a:pt x="12" y="678"/>
                  </a:lnTo>
                  <a:lnTo>
                    <a:pt x="12" y="672"/>
                  </a:lnTo>
                  <a:lnTo>
                    <a:pt x="18" y="672"/>
                  </a:lnTo>
                  <a:lnTo>
                    <a:pt x="18" y="666"/>
                  </a:lnTo>
                  <a:lnTo>
                    <a:pt x="24" y="666"/>
                  </a:lnTo>
                  <a:lnTo>
                    <a:pt x="24" y="660"/>
                  </a:lnTo>
                  <a:lnTo>
                    <a:pt x="30" y="660"/>
                  </a:lnTo>
                  <a:lnTo>
                    <a:pt x="30" y="654"/>
                  </a:lnTo>
                  <a:lnTo>
                    <a:pt x="36" y="654"/>
                  </a:lnTo>
                  <a:lnTo>
                    <a:pt x="36" y="648"/>
                  </a:lnTo>
                  <a:lnTo>
                    <a:pt x="42" y="648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60" y="630"/>
                  </a:lnTo>
                  <a:lnTo>
                    <a:pt x="66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78" y="624"/>
                  </a:lnTo>
                  <a:lnTo>
                    <a:pt x="84" y="618"/>
                  </a:lnTo>
                  <a:lnTo>
                    <a:pt x="84" y="612"/>
                  </a:lnTo>
                  <a:lnTo>
                    <a:pt x="90" y="612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20" y="588"/>
                  </a:lnTo>
                  <a:lnTo>
                    <a:pt x="120" y="582"/>
                  </a:lnTo>
                  <a:lnTo>
                    <a:pt x="120" y="576"/>
                  </a:lnTo>
                  <a:lnTo>
                    <a:pt x="120" y="570"/>
                  </a:lnTo>
                  <a:lnTo>
                    <a:pt x="126" y="564"/>
                  </a:lnTo>
                  <a:lnTo>
                    <a:pt x="126" y="558"/>
                  </a:lnTo>
                  <a:lnTo>
                    <a:pt x="126" y="552"/>
                  </a:lnTo>
                  <a:lnTo>
                    <a:pt x="126" y="546"/>
                  </a:lnTo>
                  <a:lnTo>
                    <a:pt x="126" y="534"/>
                  </a:lnTo>
                  <a:lnTo>
                    <a:pt x="126" y="516"/>
                  </a:lnTo>
                  <a:lnTo>
                    <a:pt x="126" y="510"/>
                  </a:lnTo>
                  <a:lnTo>
                    <a:pt x="126" y="504"/>
                  </a:lnTo>
                  <a:lnTo>
                    <a:pt x="126" y="498"/>
                  </a:lnTo>
                  <a:lnTo>
                    <a:pt x="132" y="498"/>
                  </a:lnTo>
                  <a:lnTo>
                    <a:pt x="132" y="492"/>
                  </a:lnTo>
                  <a:lnTo>
                    <a:pt x="138" y="492"/>
                  </a:lnTo>
                  <a:lnTo>
                    <a:pt x="144" y="486"/>
                  </a:lnTo>
                  <a:lnTo>
                    <a:pt x="156" y="480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6" y="462"/>
                  </a:lnTo>
                  <a:lnTo>
                    <a:pt x="156" y="456"/>
                  </a:lnTo>
                  <a:lnTo>
                    <a:pt x="156" y="450"/>
                  </a:lnTo>
                  <a:lnTo>
                    <a:pt x="162" y="438"/>
                  </a:lnTo>
                  <a:lnTo>
                    <a:pt x="168" y="426"/>
                  </a:lnTo>
                  <a:lnTo>
                    <a:pt x="174" y="426"/>
                  </a:lnTo>
                  <a:lnTo>
                    <a:pt x="174" y="420"/>
                  </a:lnTo>
                  <a:lnTo>
                    <a:pt x="180" y="414"/>
                  </a:lnTo>
                  <a:lnTo>
                    <a:pt x="186" y="420"/>
                  </a:lnTo>
                  <a:lnTo>
                    <a:pt x="186" y="414"/>
                  </a:lnTo>
                  <a:lnTo>
                    <a:pt x="180" y="408"/>
                  </a:lnTo>
                  <a:lnTo>
                    <a:pt x="180" y="402"/>
                  </a:lnTo>
                  <a:lnTo>
                    <a:pt x="186" y="402"/>
                  </a:lnTo>
                  <a:lnTo>
                    <a:pt x="192" y="402"/>
                  </a:lnTo>
                  <a:lnTo>
                    <a:pt x="192" y="396"/>
                  </a:lnTo>
                  <a:lnTo>
                    <a:pt x="198" y="396"/>
                  </a:lnTo>
                  <a:lnTo>
                    <a:pt x="204" y="396"/>
                  </a:lnTo>
                  <a:lnTo>
                    <a:pt x="210" y="396"/>
                  </a:lnTo>
                  <a:lnTo>
                    <a:pt x="210" y="390"/>
                  </a:lnTo>
                  <a:lnTo>
                    <a:pt x="216" y="390"/>
                  </a:lnTo>
                  <a:lnTo>
                    <a:pt x="216" y="384"/>
                  </a:lnTo>
                  <a:lnTo>
                    <a:pt x="222" y="384"/>
                  </a:lnTo>
                  <a:lnTo>
                    <a:pt x="222" y="378"/>
                  </a:lnTo>
                  <a:lnTo>
                    <a:pt x="228" y="372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0" y="348"/>
                  </a:lnTo>
                  <a:lnTo>
                    <a:pt x="234" y="342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46" y="330"/>
                  </a:lnTo>
                  <a:lnTo>
                    <a:pt x="246" y="324"/>
                  </a:lnTo>
                  <a:lnTo>
                    <a:pt x="234" y="318"/>
                  </a:lnTo>
                  <a:lnTo>
                    <a:pt x="234" y="312"/>
                  </a:lnTo>
                  <a:lnTo>
                    <a:pt x="234" y="300"/>
                  </a:lnTo>
                  <a:lnTo>
                    <a:pt x="240" y="288"/>
                  </a:lnTo>
                  <a:lnTo>
                    <a:pt x="240" y="276"/>
                  </a:lnTo>
                  <a:lnTo>
                    <a:pt x="246" y="258"/>
                  </a:lnTo>
                  <a:lnTo>
                    <a:pt x="258" y="252"/>
                  </a:lnTo>
                  <a:lnTo>
                    <a:pt x="270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294" y="252"/>
                  </a:lnTo>
                  <a:lnTo>
                    <a:pt x="300" y="258"/>
                  </a:lnTo>
                  <a:lnTo>
                    <a:pt x="318" y="252"/>
                  </a:lnTo>
                  <a:lnTo>
                    <a:pt x="366" y="252"/>
                  </a:lnTo>
                  <a:lnTo>
                    <a:pt x="378" y="252"/>
                  </a:lnTo>
                  <a:lnTo>
                    <a:pt x="396" y="252"/>
                  </a:lnTo>
                  <a:lnTo>
                    <a:pt x="408" y="252"/>
                  </a:lnTo>
                  <a:lnTo>
                    <a:pt x="408" y="246"/>
                  </a:lnTo>
                  <a:lnTo>
                    <a:pt x="414" y="240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20" y="216"/>
                  </a:lnTo>
                  <a:lnTo>
                    <a:pt x="426" y="210"/>
                  </a:lnTo>
                  <a:lnTo>
                    <a:pt x="444" y="198"/>
                  </a:lnTo>
                  <a:lnTo>
                    <a:pt x="462" y="198"/>
                  </a:lnTo>
                  <a:lnTo>
                    <a:pt x="474" y="204"/>
                  </a:lnTo>
                  <a:lnTo>
                    <a:pt x="498" y="198"/>
                  </a:lnTo>
                  <a:lnTo>
                    <a:pt x="498" y="204"/>
                  </a:lnTo>
                  <a:lnTo>
                    <a:pt x="540" y="210"/>
                  </a:lnTo>
                  <a:lnTo>
                    <a:pt x="564" y="210"/>
                  </a:lnTo>
                  <a:lnTo>
                    <a:pt x="588" y="210"/>
                  </a:lnTo>
                  <a:lnTo>
                    <a:pt x="612" y="210"/>
                  </a:lnTo>
                  <a:lnTo>
                    <a:pt x="612" y="216"/>
                  </a:lnTo>
                  <a:lnTo>
                    <a:pt x="618" y="222"/>
                  </a:lnTo>
                  <a:lnTo>
                    <a:pt x="618" y="228"/>
                  </a:lnTo>
                  <a:lnTo>
                    <a:pt x="624" y="240"/>
                  </a:lnTo>
                  <a:lnTo>
                    <a:pt x="624" y="246"/>
                  </a:lnTo>
                  <a:lnTo>
                    <a:pt x="630" y="252"/>
                  </a:lnTo>
                  <a:lnTo>
                    <a:pt x="630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0" y="282"/>
                  </a:lnTo>
                  <a:lnTo>
                    <a:pt x="630" y="288"/>
                  </a:lnTo>
                  <a:lnTo>
                    <a:pt x="630" y="300"/>
                  </a:lnTo>
                  <a:lnTo>
                    <a:pt x="630" y="306"/>
                  </a:lnTo>
                  <a:lnTo>
                    <a:pt x="636" y="306"/>
                  </a:lnTo>
                  <a:lnTo>
                    <a:pt x="642" y="306"/>
                  </a:lnTo>
                  <a:lnTo>
                    <a:pt x="648" y="312"/>
                  </a:lnTo>
                  <a:lnTo>
                    <a:pt x="666" y="312"/>
                  </a:lnTo>
                  <a:lnTo>
                    <a:pt x="696" y="306"/>
                  </a:lnTo>
                  <a:lnTo>
                    <a:pt x="732" y="300"/>
                  </a:lnTo>
                  <a:lnTo>
                    <a:pt x="732" y="288"/>
                  </a:lnTo>
                  <a:lnTo>
                    <a:pt x="738" y="288"/>
                  </a:lnTo>
                  <a:lnTo>
                    <a:pt x="744" y="276"/>
                  </a:lnTo>
                  <a:lnTo>
                    <a:pt x="762" y="246"/>
                  </a:lnTo>
                  <a:lnTo>
                    <a:pt x="768" y="228"/>
                  </a:lnTo>
                  <a:lnTo>
                    <a:pt x="792" y="210"/>
                  </a:lnTo>
                  <a:lnTo>
                    <a:pt x="804" y="186"/>
                  </a:lnTo>
                  <a:lnTo>
                    <a:pt x="804" y="156"/>
                  </a:lnTo>
                  <a:lnTo>
                    <a:pt x="804" y="138"/>
                  </a:lnTo>
                  <a:lnTo>
                    <a:pt x="810" y="126"/>
                  </a:lnTo>
                  <a:lnTo>
                    <a:pt x="816" y="120"/>
                  </a:lnTo>
                  <a:lnTo>
                    <a:pt x="828" y="102"/>
                  </a:lnTo>
                  <a:lnTo>
                    <a:pt x="834" y="96"/>
                  </a:lnTo>
                  <a:lnTo>
                    <a:pt x="846" y="102"/>
                  </a:lnTo>
                  <a:lnTo>
                    <a:pt x="852" y="96"/>
                  </a:lnTo>
                  <a:lnTo>
                    <a:pt x="858" y="72"/>
                  </a:lnTo>
                  <a:lnTo>
                    <a:pt x="864" y="60"/>
                  </a:lnTo>
                  <a:lnTo>
                    <a:pt x="882" y="48"/>
                  </a:lnTo>
                  <a:lnTo>
                    <a:pt x="906" y="36"/>
                  </a:lnTo>
                  <a:lnTo>
                    <a:pt x="918" y="12"/>
                  </a:lnTo>
                  <a:lnTo>
                    <a:pt x="924" y="0"/>
                  </a:lnTo>
                  <a:lnTo>
                    <a:pt x="930" y="6"/>
                  </a:lnTo>
                  <a:lnTo>
                    <a:pt x="942" y="12"/>
                  </a:lnTo>
                  <a:lnTo>
                    <a:pt x="948" y="12"/>
                  </a:lnTo>
                  <a:lnTo>
                    <a:pt x="954" y="18"/>
                  </a:lnTo>
                  <a:lnTo>
                    <a:pt x="966" y="18"/>
                  </a:lnTo>
                  <a:lnTo>
                    <a:pt x="972" y="18"/>
                  </a:lnTo>
                  <a:lnTo>
                    <a:pt x="984" y="18"/>
                  </a:lnTo>
                  <a:lnTo>
                    <a:pt x="990" y="18"/>
                  </a:lnTo>
                  <a:lnTo>
                    <a:pt x="1002" y="48"/>
                  </a:lnTo>
                  <a:lnTo>
                    <a:pt x="1008" y="78"/>
                  </a:lnTo>
                  <a:lnTo>
                    <a:pt x="1020" y="78"/>
                  </a:lnTo>
                  <a:lnTo>
                    <a:pt x="1020" y="90"/>
                  </a:lnTo>
                  <a:lnTo>
                    <a:pt x="1026" y="102"/>
                  </a:lnTo>
                  <a:lnTo>
                    <a:pt x="1044" y="120"/>
                  </a:lnTo>
                  <a:lnTo>
                    <a:pt x="1044" y="132"/>
                  </a:lnTo>
                  <a:lnTo>
                    <a:pt x="1056" y="150"/>
                  </a:lnTo>
                  <a:lnTo>
                    <a:pt x="1050" y="150"/>
                  </a:lnTo>
                  <a:lnTo>
                    <a:pt x="1044" y="156"/>
                  </a:lnTo>
                  <a:lnTo>
                    <a:pt x="1044" y="162"/>
                  </a:lnTo>
                  <a:lnTo>
                    <a:pt x="1038" y="162"/>
                  </a:lnTo>
                  <a:lnTo>
                    <a:pt x="1032" y="162"/>
                  </a:lnTo>
                  <a:lnTo>
                    <a:pt x="1026" y="168"/>
                  </a:lnTo>
                  <a:lnTo>
                    <a:pt x="1014" y="174"/>
                  </a:lnTo>
                  <a:lnTo>
                    <a:pt x="1014" y="186"/>
                  </a:lnTo>
                  <a:lnTo>
                    <a:pt x="1014" y="192"/>
                  </a:lnTo>
                  <a:lnTo>
                    <a:pt x="1014" y="198"/>
                  </a:lnTo>
                  <a:lnTo>
                    <a:pt x="1020" y="204"/>
                  </a:lnTo>
                  <a:lnTo>
                    <a:pt x="1026" y="204"/>
                  </a:lnTo>
                  <a:lnTo>
                    <a:pt x="1032" y="204"/>
                  </a:lnTo>
                  <a:lnTo>
                    <a:pt x="1032" y="210"/>
                  </a:lnTo>
                  <a:lnTo>
                    <a:pt x="1038" y="210"/>
                  </a:lnTo>
                  <a:lnTo>
                    <a:pt x="1032" y="216"/>
                  </a:lnTo>
                  <a:lnTo>
                    <a:pt x="1026" y="228"/>
                  </a:lnTo>
                  <a:lnTo>
                    <a:pt x="1026" y="234"/>
                  </a:lnTo>
                  <a:lnTo>
                    <a:pt x="1032" y="240"/>
                  </a:lnTo>
                  <a:lnTo>
                    <a:pt x="1032" y="246"/>
                  </a:lnTo>
                  <a:lnTo>
                    <a:pt x="1032" y="252"/>
                  </a:lnTo>
                  <a:lnTo>
                    <a:pt x="1032" y="258"/>
                  </a:lnTo>
                  <a:lnTo>
                    <a:pt x="1038" y="264"/>
                  </a:lnTo>
                  <a:lnTo>
                    <a:pt x="1032" y="276"/>
                  </a:lnTo>
                  <a:lnTo>
                    <a:pt x="1026" y="276"/>
                  </a:lnTo>
                  <a:lnTo>
                    <a:pt x="1020" y="276"/>
                  </a:lnTo>
                  <a:lnTo>
                    <a:pt x="996" y="282"/>
                  </a:lnTo>
                  <a:lnTo>
                    <a:pt x="996" y="288"/>
                  </a:lnTo>
                  <a:lnTo>
                    <a:pt x="996" y="294"/>
                  </a:lnTo>
                  <a:lnTo>
                    <a:pt x="996" y="300"/>
                  </a:lnTo>
                  <a:lnTo>
                    <a:pt x="996" y="306"/>
                  </a:lnTo>
                  <a:lnTo>
                    <a:pt x="984" y="324"/>
                  </a:lnTo>
                  <a:lnTo>
                    <a:pt x="984" y="330"/>
                  </a:lnTo>
                  <a:lnTo>
                    <a:pt x="984" y="336"/>
                  </a:lnTo>
                  <a:lnTo>
                    <a:pt x="978" y="336"/>
                  </a:lnTo>
                  <a:lnTo>
                    <a:pt x="978" y="342"/>
                  </a:lnTo>
                  <a:lnTo>
                    <a:pt x="984" y="360"/>
                  </a:lnTo>
                  <a:lnTo>
                    <a:pt x="978" y="366"/>
                  </a:lnTo>
                  <a:lnTo>
                    <a:pt x="978" y="372"/>
                  </a:lnTo>
                  <a:lnTo>
                    <a:pt x="972" y="372"/>
                  </a:lnTo>
                  <a:lnTo>
                    <a:pt x="972" y="378"/>
                  </a:lnTo>
                  <a:lnTo>
                    <a:pt x="972" y="384"/>
                  </a:lnTo>
                  <a:lnTo>
                    <a:pt x="972" y="390"/>
                  </a:lnTo>
                  <a:lnTo>
                    <a:pt x="966" y="402"/>
                  </a:lnTo>
                  <a:lnTo>
                    <a:pt x="960" y="414"/>
                  </a:lnTo>
                  <a:lnTo>
                    <a:pt x="954" y="420"/>
                  </a:lnTo>
                  <a:lnTo>
                    <a:pt x="948" y="426"/>
                  </a:lnTo>
                  <a:lnTo>
                    <a:pt x="948" y="438"/>
                  </a:lnTo>
                  <a:lnTo>
                    <a:pt x="942" y="444"/>
                  </a:lnTo>
                  <a:lnTo>
                    <a:pt x="936" y="450"/>
                  </a:lnTo>
                  <a:lnTo>
                    <a:pt x="930" y="456"/>
                  </a:lnTo>
                  <a:lnTo>
                    <a:pt x="924" y="462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18" y="522"/>
                  </a:lnTo>
                  <a:lnTo>
                    <a:pt x="918" y="528"/>
                  </a:lnTo>
                  <a:lnTo>
                    <a:pt x="924" y="534"/>
                  </a:lnTo>
                  <a:lnTo>
                    <a:pt x="924" y="540"/>
                  </a:lnTo>
                  <a:lnTo>
                    <a:pt x="924" y="546"/>
                  </a:lnTo>
                  <a:lnTo>
                    <a:pt x="918" y="546"/>
                  </a:lnTo>
                  <a:lnTo>
                    <a:pt x="918" y="552"/>
                  </a:lnTo>
                  <a:lnTo>
                    <a:pt x="912" y="546"/>
                  </a:lnTo>
                  <a:lnTo>
                    <a:pt x="912" y="552"/>
                  </a:lnTo>
                  <a:lnTo>
                    <a:pt x="912" y="570"/>
                  </a:lnTo>
                  <a:lnTo>
                    <a:pt x="906" y="588"/>
                  </a:lnTo>
                  <a:lnTo>
                    <a:pt x="900" y="606"/>
                  </a:lnTo>
                  <a:lnTo>
                    <a:pt x="906" y="624"/>
                  </a:lnTo>
                  <a:lnTo>
                    <a:pt x="900" y="624"/>
                  </a:lnTo>
                  <a:lnTo>
                    <a:pt x="894" y="630"/>
                  </a:lnTo>
                  <a:lnTo>
                    <a:pt x="888" y="630"/>
                  </a:lnTo>
                  <a:lnTo>
                    <a:pt x="882" y="630"/>
                  </a:lnTo>
                  <a:lnTo>
                    <a:pt x="882" y="636"/>
                  </a:lnTo>
                  <a:lnTo>
                    <a:pt x="876" y="642"/>
                  </a:lnTo>
                  <a:lnTo>
                    <a:pt x="870" y="642"/>
                  </a:lnTo>
                  <a:lnTo>
                    <a:pt x="870" y="648"/>
                  </a:lnTo>
                  <a:lnTo>
                    <a:pt x="870" y="654"/>
                  </a:lnTo>
                  <a:lnTo>
                    <a:pt x="864" y="654"/>
                  </a:lnTo>
                  <a:lnTo>
                    <a:pt x="864" y="660"/>
                  </a:lnTo>
                  <a:lnTo>
                    <a:pt x="846" y="666"/>
                  </a:lnTo>
                  <a:lnTo>
                    <a:pt x="828" y="672"/>
                  </a:lnTo>
                  <a:lnTo>
                    <a:pt x="816" y="660"/>
                  </a:lnTo>
                  <a:lnTo>
                    <a:pt x="810" y="660"/>
                  </a:lnTo>
                  <a:lnTo>
                    <a:pt x="798" y="666"/>
                  </a:lnTo>
                  <a:lnTo>
                    <a:pt x="786" y="666"/>
                  </a:lnTo>
                  <a:lnTo>
                    <a:pt x="780" y="672"/>
                  </a:lnTo>
                  <a:lnTo>
                    <a:pt x="768" y="678"/>
                  </a:lnTo>
                  <a:lnTo>
                    <a:pt x="762" y="660"/>
                  </a:lnTo>
                  <a:lnTo>
                    <a:pt x="762" y="654"/>
                  </a:lnTo>
                  <a:lnTo>
                    <a:pt x="756" y="636"/>
                  </a:lnTo>
                  <a:lnTo>
                    <a:pt x="762" y="624"/>
                  </a:lnTo>
                  <a:lnTo>
                    <a:pt x="756" y="606"/>
                  </a:lnTo>
                  <a:lnTo>
                    <a:pt x="756" y="600"/>
                  </a:lnTo>
                  <a:lnTo>
                    <a:pt x="762" y="594"/>
                  </a:lnTo>
                  <a:lnTo>
                    <a:pt x="768" y="600"/>
                  </a:lnTo>
                  <a:lnTo>
                    <a:pt x="768" y="594"/>
                  </a:lnTo>
                  <a:lnTo>
                    <a:pt x="768" y="588"/>
                  </a:lnTo>
                  <a:lnTo>
                    <a:pt x="774" y="582"/>
                  </a:lnTo>
                  <a:lnTo>
                    <a:pt x="768" y="576"/>
                  </a:lnTo>
                  <a:lnTo>
                    <a:pt x="762" y="576"/>
                  </a:lnTo>
                  <a:lnTo>
                    <a:pt x="756" y="576"/>
                  </a:lnTo>
                  <a:lnTo>
                    <a:pt x="690" y="576"/>
                  </a:lnTo>
                  <a:lnTo>
                    <a:pt x="624" y="570"/>
                  </a:lnTo>
                  <a:lnTo>
                    <a:pt x="600" y="564"/>
                  </a:lnTo>
                  <a:lnTo>
                    <a:pt x="576" y="564"/>
                  </a:lnTo>
                  <a:lnTo>
                    <a:pt x="558" y="570"/>
                  </a:lnTo>
                  <a:lnTo>
                    <a:pt x="552" y="576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46" y="594"/>
                  </a:lnTo>
                  <a:lnTo>
                    <a:pt x="546" y="600"/>
                  </a:lnTo>
                  <a:lnTo>
                    <a:pt x="540" y="606"/>
                  </a:lnTo>
                  <a:lnTo>
                    <a:pt x="534" y="618"/>
                  </a:lnTo>
                  <a:lnTo>
                    <a:pt x="534" y="624"/>
                  </a:lnTo>
                  <a:lnTo>
                    <a:pt x="534" y="630"/>
                  </a:lnTo>
                  <a:lnTo>
                    <a:pt x="534" y="636"/>
                  </a:lnTo>
                  <a:lnTo>
                    <a:pt x="528" y="636"/>
                  </a:lnTo>
                  <a:lnTo>
                    <a:pt x="516" y="642"/>
                  </a:lnTo>
                  <a:lnTo>
                    <a:pt x="516" y="648"/>
                  </a:lnTo>
                  <a:lnTo>
                    <a:pt x="510" y="648"/>
                  </a:lnTo>
                  <a:lnTo>
                    <a:pt x="504" y="654"/>
                  </a:lnTo>
                  <a:lnTo>
                    <a:pt x="492" y="666"/>
                  </a:lnTo>
                  <a:lnTo>
                    <a:pt x="492" y="672"/>
                  </a:lnTo>
                  <a:lnTo>
                    <a:pt x="492" y="684"/>
                  </a:lnTo>
                  <a:lnTo>
                    <a:pt x="486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92" y="702"/>
                  </a:lnTo>
                  <a:lnTo>
                    <a:pt x="486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74" y="720"/>
                  </a:lnTo>
                  <a:lnTo>
                    <a:pt x="480" y="726"/>
                  </a:lnTo>
                  <a:lnTo>
                    <a:pt x="474" y="726"/>
                  </a:lnTo>
                  <a:lnTo>
                    <a:pt x="474" y="738"/>
                  </a:lnTo>
                  <a:lnTo>
                    <a:pt x="474" y="744"/>
                  </a:lnTo>
                  <a:lnTo>
                    <a:pt x="474" y="750"/>
                  </a:lnTo>
                  <a:lnTo>
                    <a:pt x="480" y="750"/>
                  </a:lnTo>
                  <a:lnTo>
                    <a:pt x="480" y="756"/>
                  </a:lnTo>
                  <a:lnTo>
                    <a:pt x="492" y="762"/>
                  </a:lnTo>
                  <a:lnTo>
                    <a:pt x="498" y="774"/>
                  </a:lnTo>
                  <a:lnTo>
                    <a:pt x="498" y="780"/>
                  </a:lnTo>
                  <a:lnTo>
                    <a:pt x="504" y="786"/>
                  </a:lnTo>
                  <a:lnTo>
                    <a:pt x="510" y="792"/>
                  </a:lnTo>
                  <a:lnTo>
                    <a:pt x="504" y="798"/>
                  </a:lnTo>
                  <a:lnTo>
                    <a:pt x="504" y="804"/>
                  </a:lnTo>
                  <a:lnTo>
                    <a:pt x="504" y="810"/>
                  </a:lnTo>
                  <a:lnTo>
                    <a:pt x="498" y="822"/>
                  </a:lnTo>
                  <a:lnTo>
                    <a:pt x="492" y="828"/>
                  </a:lnTo>
                  <a:lnTo>
                    <a:pt x="492" y="834"/>
                  </a:lnTo>
                  <a:lnTo>
                    <a:pt x="486" y="840"/>
                  </a:lnTo>
                  <a:lnTo>
                    <a:pt x="480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74" y="858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876"/>
                  </a:lnTo>
                  <a:lnTo>
                    <a:pt x="456" y="894"/>
                  </a:lnTo>
                  <a:lnTo>
                    <a:pt x="450" y="894"/>
                  </a:lnTo>
                  <a:lnTo>
                    <a:pt x="444" y="900"/>
                  </a:lnTo>
                  <a:lnTo>
                    <a:pt x="444" y="894"/>
                  </a:lnTo>
                  <a:lnTo>
                    <a:pt x="438" y="894"/>
                  </a:lnTo>
                  <a:lnTo>
                    <a:pt x="432" y="900"/>
                  </a:lnTo>
                  <a:lnTo>
                    <a:pt x="432" y="906"/>
                  </a:lnTo>
                  <a:lnTo>
                    <a:pt x="420" y="906"/>
                  </a:lnTo>
                  <a:lnTo>
                    <a:pt x="420" y="912"/>
                  </a:lnTo>
                  <a:lnTo>
                    <a:pt x="420" y="918"/>
                  </a:lnTo>
                  <a:lnTo>
                    <a:pt x="426" y="918"/>
                  </a:lnTo>
                  <a:lnTo>
                    <a:pt x="426" y="924"/>
                  </a:lnTo>
                  <a:lnTo>
                    <a:pt x="426" y="930"/>
                  </a:lnTo>
                  <a:lnTo>
                    <a:pt x="420" y="930"/>
                  </a:lnTo>
                  <a:lnTo>
                    <a:pt x="414" y="936"/>
                  </a:lnTo>
                  <a:lnTo>
                    <a:pt x="414" y="942"/>
                  </a:lnTo>
                  <a:lnTo>
                    <a:pt x="414" y="948"/>
                  </a:lnTo>
                  <a:lnTo>
                    <a:pt x="414" y="954"/>
                  </a:lnTo>
                  <a:lnTo>
                    <a:pt x="426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44" y="972"/>
                  </a:lnTo>
                  <a:lnTo>
                    <a:pt x="444" y="978"/>
                  </a:lnTo>
                  <a:lnTo>
                    <a:pt x="450" y="978"/>
                  </a:lnTo>
                  <a:lnTo>
                    <a:pt x="450" y="984"/>
                  </a:lnTo>
                  <a:lnTo>
                    <a:pt x="456" y="990"/>
                  </a:lnTo>
                  <a:lnTo>
                    <a:pt x="456" y="996"/>
                  </a:lnTo>
                  <a:lnTo>
                    <a:pt x="462" y="1008"/>
                  </a:lnTo>
                  <a:lnTo>
                    <a:pt x="468" y="1008"/>
                  </a:lnTo>
                  <a:lnTo>
                    <a:pt x="468" y="1002"/>
                  </a:lnTo>
                  <a:lnTo>
                    <a:pt x="474" y="1008"/>
                  </a:lnTo>
                  <a:lnTo>
                    <a:pt x="480" y="1002"/>
                  </a:lnTo>
                  <a:lnTo>
                    <a:pt x="486" y="1008"/>
                  </a:lnTo>
                  <a:lnTo>
                    <a:pt x="486" y="1014"/>
                  </a:lnTo>
                  <a:lnTo>
                    <a:pt x="492" y="1014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86" y="1026"/>
                  </a:lnTo>
                  <a:lnTo>
                    <a:pt x="492" y="1026"/>
                  </a:lnTo>
                  <a:lnTo>
                    <a:pt x="486" y="1026"/>
                  </a:lnTo>
                  <a:lnTo>
                    <a:pt x="492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5" name="Freeform 30">
              <a:extLst>
                <a:ext uri="{FF2B5EF4-FFF2-40B4-BE49-F238E27FC236}">
                  <a16:creationId xmlns:a16="http://schemas.microsoft.com/office/drawing/2014/main" id="{85C7B827-0C1A-4D72-AEBD-F01CFE7EC12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3645" y="3904484"/>
              <a:ext cx="559048" cy="111825"/>
            </a:xfrm>
            <a:custGeom>
              <a:avLst/>
              <a:gdLst>
                <a:gd name="T0" fmla="*/ 69 w 1056"/>
                <a:gd name="T1" fmla="*/ 7 h 210"/>
                <a:gd name="T2" fmla="*/ 63 w 1056"/>
                <a:gd name="T3" fmla="*/ 5 h 210"/>
                <a:gd name="T4" fmla="*/ 57 w 1056"/>
                <a:gd name="T5" fmla="*/ 5 h 210"/>
                <a:gd name="T6" fmla="*/ 54 w 1056"/>
                <a:gd name="T7" fmla="*/ 6 h 210"/>
                <a:gd name="T8" fmla="*/ 51 w 1056"/>
                <a:gd name="T9" fmla="*/ 7 h 210"/>
                <a:gd name="T10" fmla="*/ 46 w 1056"/>
                <a:gd name="T11" fmla="*/ 9 h 210"/>
                <a:gd name="T12" fmla="*/ 42 w 1056"/>
                <a:gd name="T13" fmla="*/ 8 h 210"/>
                <a:gd name="T14" fmla="*/ 42 w 1056"/>
                <a:gd name="T15" fmla="*/ 5 h 210"/>
                <a:gd name="T16" fmla="*/ 41 w 1056"/>
                <a:gd name="T17" fmla="*/ 7 h 210"/>
                <a:gd name="T18" fmla="*/ 38 w 1056"/>
                <a:gd name="T19" fmla="*/ 10 h 210"/>
                <a:gd name="T20" fmla="*/ 37 w 1056"/>
                <a:gd name="T21" fmla="*/ 12 h 210"/>
                <a:gd name="T22" fmla="*/ 37 w 1056"/>
                <a:gd name="T23" fmla="*/ 15 h 210"/>
                <a:gd name="T24" fmla="*/ 37 w 1056"/>
                <a:gd name="T25" fmla="*/ 16 h 210"/>
                <a:gd name="T26" fmla="*/ 38 w 1056"/>
                <a:gd name="T27" fmla="*/ 16 h 210"/>
                <a:gd name="T28" fmla="*/ 34 w 1056"/>
                <a:gd name="T29" fmla="*/ 16 h 210"/>
                <a:gd name="T30" fmla="*/ 26 w 1056"/>
                <a:gd name="T31" fmla="*/ 16 h 210"/>
                <a:gd name="T32" fmla="*/ 20 w 1056"/>
                <a:gd name="T33" fmla="*/ 17 h 210"/>
                <a:gd name="T34" fmla="*/ 13 w 1056"/>
                <a:gd name="T35" fmla="*/ 17 h 210"/>
                <a:gd name="T36" fmla="*/ 6 w 1056"/>
                <a:gd name="T37" fmla="*/ 17 h 210"/>
                <a:gd name="T38" fmla="*/ 1 w 1056"/>
                <a:gd name="T39" fmla="*/ 18 h 210"/>
                <a:gd name="T40" fmla="*/ 3 w 1056"/>
                <a:gd name="T41" fmla="*/ 14 h 210"/>
                <a:gd name="T42" fmla="*/ 8 w 1056"/>
                <a:gd name="T43" fmla="*/ 15 h 210"/>
                <a:gd name="T44" fmla="*/ 11 w 1056"/>
                <a:gd name="T45" fmla="*/ 12 h 210"/>
                <a:gd name="T46" fmla="*/ 26 w 1056"/>
                <a:gd name="T47" fmla="*/ 10 h 210"/>
                <a:gd name="T48" fmla="*/ 29 w 1056"/>
                <a:gd name="T49" fmla="*/ 5 h 210"/>
                <a:gd name="T50" fmla="*/ 34 w 1056"/>
                <a:gd name="T51" fmla="*/ 1 h 210"/>
                <a:gd name="T52" fmla="*/ 41 w 1056"/>
                <a:gd name="T53" fmla="*/ 3 h 210"/>
                <a:gd name="T54" fmla="*/ 73 w 1056"/>
                <a:gd name="T55" fmla="*/ 1 h 210"/>
                <a:gd name="T56" fmla="*/ 75 w 1056"/>
                <a:gd name="T57" fmla="*/ 4 h 210"/>
                <a:gd name="T58" fmla="*/ 85 w 1056"/>
                <a:gd name="T59" fmla="*/ 15 h 210"/>
                <a:gd name="T60" fmla="*/ 91 w 1056"/>
                <a:gd name="T61" fmla="*/ 18 h 210"/>
                <a:gd name="T62" fmla="*/ 85 w 1056"/>
                <a:gd name="T63" fmla="*/ 18 h 210"/>
                <a:gd name="T64" fmla="*/ 79 w 1056"/>
                <a:gd name="T65" fmla="*/ 16 h 210"/>
                <a:gd name="T66" fmla="*/ 74 w 1056"/>
                <a:gd name="T67" fmla="*/ 16 h 210"/>
                <a:gd name="T68" fmla="*/ 69 w 1056"/>
                <a:gd name="T69" fmla="*/ 15 h 210"/>
                <a:gd name="T70" fmla="*/ 65 w 1056"/>
                <a:gd name="T71" fmla="*/ 14 h 210"/>
                <a:gd name="T72" fmla="*/ 59 w 1056"/>
                <a:gd name="T73" fmla="*/ 15 h 210"/>
                <a:gd name="T74" fmla="*/ 54 w 1056"/>
                <a:gd name="T75" fmla="*/ 15 h 210"/>
                <a:gd name="T76" fmla="*/ 49 w 1056"/>
                <a:gd name="T77" fmla="*/ 15 h 210"/>
                <a:gd name="T78" fmla="*/ 42 w 1056"/>
                <a:gd name="T79" fmla="*/ 15 h 210"/>
                <a:gd name="T80" fmla="*/ 38 w 1056"/>
                <a:gd name="T81" fmla="*/ 16 h 210"/>
                <a:gd name="T82" fmla="*/ 41 w 1056"/>
                <a:gd name="T83" fmla="*/ 14 h 210"/>
                <a:gd name="T84" fmla="*/ 42 w 1056"/>
                <a:gd name="T85" fmla="*/ 13 h 210"/>
                <a:gd name="T86" fmla="*/ 45 w 1056"/>
                <a:gd name="T87" fmla="*/ 13 h 210"/>
                <a:gd name="T88" fmla="*/ 48 w 1056"/>
                <a:gd name="T89" fmla="*/ 12 h 210"/>
                <a:gd name="T90" fmla="*/ 51 w 1056"/>
                <a:gd name="T91" fmla="*/ 11 h 210"/>
                <a:gd name="T92" fmla="*/ 54 w 1056"/>
                <a:gd name="T93" fmla="*/ 9 h 210"/>
                <a:gd name="T94" fmla="*/ 57 w 1056"/>
                <a:gd name="T95" fmla="*/ 8 h 210"/>
                <a:gd name="T96" fmla="*/ 60 w 1056"/>
                <a:gd name="T97" fmla="*/ 5 h 210"/>
                <a:gd name="T98" fmla="*/ 65 w 1056"/>
                <a:gd name="T99" fmla="*/ 5 h 210"/>
                <a:gd name="T100" fmla="*/ 72 w 1056"/>
                <a:gd name="T101" fmla="*/ 7 h 210"/>
                <a:gd name="T102" fmla="*/ 77 w 1056"/>
                <a:gd name="T103" fmla="*/ 11 h 210"/>
                <a:gd name="T104" fmla="*/ 69 w 1056"/>
                <a:gd name="T105" fmla="*/ 10 h 210"/>
                <a:gd name="T106" fmla="*/ 72 w 1056"/>
                <a:gd name="T107" fmla="*/ 12 h 210"/>
                <a:gd name="T108" fmla="*/ 78 w 1056"/>
                <a:gd name="T109" fmla="*/ 15 h 210"/>
                <a:gd name="T110" fmla="*/ 84 w 1056"/>
                <a:gd name="T111" fmla="*/ 14 h 210"/>
                <a:gd name="T112" fmla="*/ 84 w 1056"/>
                <a:gd name="T113" fmla="*/ 14 h 210"/>
                <a:gd name="T114" fmla="*/ 78 w 1056"/>
                <a:gd name="T115" fmla="*/ 13 h 210"/>
                <a:gd name="T116" fmla="*/ 76 w 1056"/>
                <a:gd name="T117" fmla="*/ 14 h 210"/>
                <a:gd name="T118" fmla="*/ 38 w 1056"/>
                <a:gd name="T119" fmla="*/ 12 h 210"/>
                <a:gd name="T120" fmla="*/ 41 w 1056"/>
                <a:gd name="T121" fmla="*/ 12 h 210"/>
                <a:gd name="T122" fmla="*/ 40 w 1056"/>
                <a:gd name="T123" fmla="*/ 14 h 2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6"/>
                <a:gd name="T187" fmla="*/ 0 h 210"/>
                <a:gd name="T188" fmla="*/ 1056 w 1056"/>
                <a:gd name="T189" fmla="*/ 210 h 21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6" h="210">
                  <a:moveTo>
                    <a:pt x="870" y="90"/>
                  </a:moveTo>
                  <a:lnTo>
                    <a:pt x="864" y="90"/>
                  </a:lnTo>
                  <a:lnTo>
                    <a:pt x="852" y="84"/>
                  </a:lnTo>
                  <a:lnTo>
                    <a:pt x="846" y="84"/>
                  </a:lnTo>
                  <a:lnTo>
                    <a:pt x="846" y="78"/>
                  </a:lnTo>
                  <a:lnTo>
                    <a:pt x="840" y="78"/>
                  </a:lnTo>
                  <a:lnTo>
                    <a:pt x="834" y="78"/>
                  </a:lnTo>
                  <a:lnTo>
                    <a:pt x="834" y="72"/>
                  </a:lnTo>
                  <a:lnTo>
                    <a:pt x="804" y="78"/>
                  </a:lnTo>
                  <a:lnTo>
                    <a:pt x="798" y="78"/>
                  </a:lnTo>
                  <a:lnTo>
                    <a:pt x="792" y="72"/>
                  </a:lnTo>
                  <a:lnTo>
                    <a:pt x="780" y="60"/>
                  </a:lnTo>
                  <a:lnTo>
                    <a:pt x="768" y="54"/>
                  </a:lnTo>
                  <a:lnTo>
                    <a:pt x="756" y="54"/>
                  </a:lnTo>
                  <a:lnTo>
                    <a:pt x="750" y="54"/>
                  </a:lnTo>
                  <a:lnTo>
                    <a:pt x="750" y="48"/>
                  </a:lnTo>
                  <a:lnTo>
                    <a:pt x="744" y="48"/>
                  </a:lnTo>
                  <a:lnTo>
                    <a:pt x="738" y="48"/>
                  </a:lnTo>
                  <a:lnTo>
                    <a:pt x="732" y="48"/>
                  </a:lnTo>
                  <a:lnTo>
                    <a:pt x="732" y="54"/>
                  </a:lnTo>
                  <a:lnTo>
                    <a:pt x="726" y="48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48"/>
                  </a:lnTo>
                  <a:lnTo>
                    <a:pt x="702" y="48"/>
                  </a:lnTo>
                  <a:lnTo>
                    <a:pt x="696" y="48"/>
                  </a:lnTo>
                  <a:lnTo>
                    <a:pt x="684" y="48"/>
                  </a:lnTo>
                  <a:lnTo>
                    <a:pt x="678" y="48"/>
                  </a:lnTo>
                  <a:lnTo>
                    <a:pt x="672" y="48"/>
                  </a:lnTo>
                  <a:lnTo>
                    <a:pt x="666" y="54"/>
                  </a:lnTo>
                  <a:lnTo>
                    <a:pt x="660" y="54"/>
                  </a:lnTo>
                  <a:lnTo>
                    <a:pt x="660" y="48"/>
                  </a:lnTo>
                  <a:lnTo>
                    <a:pt x="654" y="48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42" y="54"/>
                  </a:lnTo>
                  <a:lnTo>
                    <a:pt x="63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30" y="66"/>
                  </a:lnTo>
                  <a:lnTo>
                    <a:pt x="624" y="66"/>
                  </a:lnTo>
                  <a:lnTo>
                    <a:pt x="618" y="66"/>
                  </a:lnTo>
                  <a:lnTo>
                    <a:pt x="618" y="72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6" y="84"/>
                  </a:lnTo>
                  <a:lnTo>
                    <a:pt x="600" y="84"/>
                  </a:lnTo>
                  <a:lnTo>
                    <a:pt x="594" y="90"/>
                  </a:lnTo>
                  <a:lnTo>
                    <a:pt x="588" y="90"/>
                  </a:lnTo>
                  <a:lnTo>
                    <a:pt x="588" y="84"/>
                  </a:lnTo>
                  <a:lnTo>
                    <a:pt x="582" y="84"/>
                  </a:lnTo>
                  <a:lnTo>
                    <a:pt x="576" y="84"/>
                  </a:lnTo>
                  <a:lnTo>
                    <a:pt x="570" y="84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58" y="96"/>
                  </a:lnTo>
                  <a:lnTo>
                    <a:pt x="552" y="96"/>
                  </a:lnTo>
                  <a:lnTo>
                    <a:pt x="546" y="102"/>
                  </a:lnTo>
                  <a:lnTo>
                    <a:pt x="540" y="102"/>
                  </a:lnTo>
                  <a:lnTo>
                    <a:pt x="534" y="102"/>
                  </a:lnTo>
                  <a:lnTo>
                    <a:pt x="528" y="102"/>
                  </a:lnTo>
                  <a:lnTo>
                    <a:pt x="528" y="108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16" y="102"/>
                  </a:lnTo>
                  <a:lnTo>
                    <a:pt x="510" y="102"/>
                  </a:lnTo>
                  <a:lnTo>
                    <a:pt x="504" y="102"/>
                  </a:lnTo>
                  <a:lnTo>
                    <a:pt x="498" y="102"/>
                  </a:lnTo>
                  <a:lnTo>
                    <a:pt x="498" y="96"/>
                  </a:lnTo>
                  <a:lnTo>
                    <a:pt x="492" y="96"/>
                  </a:lnTo>
                  <a:lnTo>
                    <a:pt x="492" y="90"/>
                  </a:lnTo>
                  <a:lnTo>
                    <a:pt x="492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498" y="66"/>
                  </a:lnTo>
                  <a:lnTo>
                    <a:pt x="504" y="60"/>
                  </a:lnTo>
                  <a:lnTo>
                    <a:pt x="498" y="60"/>
                  </a:lnTo>
                  <a:lnTo>
                    <a:pt x="498" y="54"/>
                  </a:lnTo>
                  <a:lnTo>
                    <a:pt x="492" y="54"/>
                  </a:lnTo>
                  <a:lnTo>
                    <a:pt x="492" y="60"/>
                  </a:lnTo>
                  <a:lnTo>
                    <a:pt x="486" y="60"/>
                  </a:lnTo>
                  <a:lnTo>
                    <a:pt x="486" y="66"/>
                  </a:lnTo>
                  <a:lnTo>
                    <a:pt x="480" y="66"/>
                  </a:lnTo>
                  <a:lnTo>
                    <a:pt x="474" y="72"/>
                  </a:lnTo>
                  <a:lnTo>
                    <a:pt x="474" y="66"/>
                  </a:lnTo>
                  <a:lnTo>
                    <a:pt x="474" y="72"/>
                  </a:lnTo>
                  <a:lnTo>
                    <a:pt x="468" y="72"/>
                  </a:lnTo>
                  <a:lnTo>
                    <a:pt x="468" y="78"/>
                  </a:lnTo>
                  <a:lnTo>
                    <a:pt x="468" y="84"/>
                  </a:lnTo>
                  <a:lnTo>
                    <a:pt x="462" y="90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0" y="84"/>
                  </a:lnTo>
                  <a:lnTo>
                    <a:pt x="450" y="90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44" y="102"/>
                  </a:lnTo>
                  <a:lnTo>
                    <a:pt x="444" y="108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38" y="126"/>
                  </a:lnTo>
                  <a:lnTo>
                    <a:pt x="438" y="132"/>
                  </a:lnTo>
                  <a:lnTo>
                    <a:pt x="438" y="138"/>
                  </a:lnTo>
                  <a:lnTo>
                    <a:pt x="438" y="144"/>
                  </a:lnTo>
                  <a:lnTo>
                    <a:pt x="432" y="144"/>
                  </a:lnTo>
                  <a:lnTo>
                    <a:pt x="432" y="150"/>
                  </a:lnTo>
                  <a:lnTo>
                    <a:pt x="432" y="144"/>
                  </a:lnTo>
                  <a:lnTo>
                    <a:pt x="426" y="144"/>
                  </a:lnTo>
                  <a:lnTo>
                    <a:pt x="426" y="150"/>
                  </a:lnTo>
                  <a:lnTo>
                    <a:pt x="426" y="156"/>
                  </a:lnTo>
                  <a:lnTo>
                    <a:pt x="432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2"/>
                  </a:lnTo>
                  <a:lnTo>
                    <a:pt x="432" y="168"/>
                  </a:lnTo>
                  <a:lnTo>
                    <a:pt x="426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44" y="168"/>
                  </a:lnTo>
                  <a:lnTo>
                    <a:pt x="444" y="174"/>
                  </a:lnTo>
                  <a:lnTo>
                    <a:pt x="444" y="180"/>
                  </a:lnTo>
                  <a:lnTo>
                    <a:pt x="444" y="186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2" y="192"/>
                  </a:lnTo>
                  <a:lnTo>
                    <a:pt x="426" y="192"/>
                  </a:lnTo>
                  <a:lnTo>
                    <a:pt x="420" y="186"/>
                  </a:lnTo>
                  <a:lnTo>
                    <a:pt x="414" y="186"/>
                  </a:lnTo>
                  <a:lnTo>
                    <a:pt x="408" y="186"/>
                  </a:lnTo>
                  <a:lnTo>
                    <a:pt x="402" y="186"/>
                  </a:lnTo>
                  <a:lnTo>
                    <a:pt x="396" y="186"/>
                  </a:lnTo>
                  <a:lnTo>
                    <a:pt x="390" y="186"/>
                  </a:lnTo>
                  <a:lnTo>
                    <a:pt x="384" y="186"/>
                  </a:lnTo>
                  <a:lnTo>
                    <a:pt x="378" y="186"/>
                  </a:lnTo>
                  <a:lnTo>
                    <a:pt x="372" y="186"/>
                  </a:lnTo>
                  <a:lnTo>
                    <a:pt x="354" y="186"/>
                  </a:lnTo>
                  <a:lnTo>
                    <a:pt x="342" y="186"/>
                  </a:lnTo>
                  <a:lnTo>
                    <a:pt x="324" y="186"/>
                  </a:lnTo>
                  <a:lnTo>
                    <a:pt x="312" y="186"/>
                  </a:lnTo>
                  <a:lnTo>
                    <a:pt x="306" y="186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82" y="186"/>
                  </a:lnTo>
                  <a:lnTo>
                    <a:pt x="270" y="186"/>
                  </a:lnTo>
                  <a:lnTo>
                    <a:pt x="264" y="186"/>
                  </a:lnTo>
                  <a:lnTo>
                    <a:pt x="258" y="192"/>
                  </a:lnTo>
                  <a:lnTo>
                    <a:pt x="258" y="186"/>
                  </a:lnTo>
                  <a:lnTo>
                    <a:pt x="246" y="186"/>
                  </a:lnTo>
                  <a:lnTo>
                    <a:pt x="240" y="186"/>
                  </a:lnTo>
                  <a:lnTo>
                    <a:pt x="234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2"/>
                  </a:lnTo>
                  <a:lnTo>
                    <a:pt x="204" y="192"/>
                  </a:lnTo>
                  <a:lnTo>
                    <a:pt x="198" y="192"/>
                  </a:lnTo>
                  <a:lnTo>
                    <a:pt x="192" y="192"/>
                  </a:lnTo>
                  <a:lnTo>
                    <a:pt x="180" y="192"/>
                  </a:lnTo>
                  <a:lnTo>
                    <a:pt x="168" y="192"/>
                  </a:lnTo>
                  <a:lnTo>
                    <a:pt x="162" y="192"/>
                  </a:lnTo>
                  <a:lnTo>
                    <a:pt x="150" y="192"/>
                  </a:lnTo>
                  <a:lnTo>
                    <a:pt x="138" y="192"/>
                  </a:lnTo>
                  <a:lnTo>
                    <a:pt x="132" y="192"/>
                  </a:lnTo>
                  <a:lnTo>
                    <a:pt x="120" y="192"/>
                  </a:lnTo>
                  <a:lnTo>
                    <a:pt x="114" y="192"/>
                  </a:lnTo>
                  <a:lnTo>
                    <a:pt x="108" y="192"/>
                  </a:lnTo>
                  <a:lnTo>
                    <a:pt x="102" y="192"/>
                  </a:lnTo>
                  <a:lnTo>
                    <a:pt x="90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2" y="198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36" y="198"/>
                  </a:lnTo>
                  <a:lnTo>
                    <a:pt x="30" y="204"/>
                  </a:lnTo>
                  <a:lnTo>
                    <a:pt x="24" y="204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6" y="210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54" y="156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56"/>
                  </a:lnTo>
                  <a:lnTo>
                    <a:pt x="78" y="162"/>
                  </a:lnTo>
                  <a:lnTo>
                    <a:pt x="84" y="162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9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0" y="126"/>
                  </a:lnTo>
                  <a:lnTo>
                    <a:pt x="276" y="120"/>
                  </a:lnTo>
                  <a:lnTo>
                    <a:pt x="282" y="120"/>
                  </a:lnTo>
                  <a:lnTo>
                    <a:pt x="300" y="120"/>
                  </a:lnTo>
                  <a:lnTo>
                    <a:pt x="306" y="114"/>
                  </a:lnTo>
                  <a:lnTo>
                    <a:pt x="312" y="108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8"/>
                  </a:lnTo>
                  <a:lnTo>
                    <a:pt x="342" y="30"/>
                  </a:lnTo>
                  <a:lnTo>
                    <a:pt x="342" y="24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8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24"/>
                  </a:lnTo>
                  <a:lnTo>
                    <a:pt x="414" y="30"/>
                  </a:lnTo>
                  <a:lnTo>
                    <a:pt x="420" y="30"/>
                  </a:lnTo>
                  <a:lnTo>
                    <a:pt x="42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74" y="30"/>
                  </a:lnTo>
                  <a:lnTo>
                    <a:pt x="474" y="18"/>
                  </a:lnTo>
                  <a:lnTo>
                    <a:pt x="474" y="12"/>
                  </a:lnTo>
                  <a:lnTo>
                    <a:pt x="480" y="12"/>
                  </a:lnTo>
                  <a:lnTo>
                    <a:pt x="486" y="12"/>
                  </a:lnTo>
                  <a:lnTo>
                    <a:pt x="606" y="12"/>
                  </a:lnTo>
                  <a:lnTo>
                    <a:pt x="630" y="12"/>
                  </a:lnTo>
                  <a:lnTo>
                    <a:pt x="678" y="12"/>
                  </a:lnTo>
                  <a:lnTo>
                    <a:pt x="744" y="12"/>
                  </a:lnTo>
                  <a:lnTo>
                    <a:pt x="774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2" y="6"/>
                  </a:lnTo>
                  <a:lnTo>
                    <a:pt x="888" y="12"/>
                  </a:lnTo>
                  <a:lnTo>
                    <a:pt x="888" y="24"/>
                  </a:lnTo>
                  <a:lnTo>
                    <a:pt x="888" y="30"/>
                  </a:lnTo>
                  <a:lnTo>
                    <a:pt x="882" y="36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64" y="42"/>
                  </a:lnTo>
                  <a:lnTo>
                    <a:pt x="864" y="48"/>
                  </a:lnTo>
                  <a:lnTo>
                    <a:pt x="858" y="54"/>
                  </a:lnTo>
                  <a:lnTo>
                    <a:pt x="864" y="54"/>
                  </a:lnTo>
                  <a:lnTo>
                    <a:pt x="870" y="72"/>
                  </a:lnTo>
                  <a:lnTo>
                    <a:pt x="870" y="78"/>
                  </a:lnTo>
                  <a:lnTo>
                    <a:pt x="870" y="84"/>
                  </a:lnTo>
                  <a:lnTo>
                    <a:pt x="870" y="90"/>
                  </a:lnTo>
                  <a:close/>
                  <a:moveTo>
                    <a:pt x="972" y="156"/>
                  </a:moveTo>
                  <a:lnTo>
                    <a:pt x="972" y="162"/>
                  </a:lnTo>
                  <a:lnTo>
                    <a:pt x="978" y="162"/>
                  </a:lnTo>
                  <a:lnTo>
                    <a:pt x="984" y="168"/>
                  </a:lnTo>
                  <a:lnTo>
                    <a:pt x="990" y="168"/>
                  </a:lnTo>
                  <a:lnTo>
                    <a:pt x="990" y="162"/>
                  </a:lnTo>
                  <a:lnTo>
                    <a:pt x="1008" y="162"/>
                  </a:lnTo>
                  <a:lnTo>
                    <a:pt x="1020" y="162"/>
                  </a:lnTo>
                  <a:lnTo>
                    <a:pt x="1038" y="162"/>
                  </a:lnTo>
                  <a:lnTo>
                    <a:pt x="1056" y="168"/>
                  </a:lnTo>
                  <a:lnTo>
                    <a:pt x="1056" y="180"/>
                  </a:lnTo>
                  <a:lnTo>
                    <a:pt x="1056" y="186"/>
                  </a:lnTo>
                  <a:lnTo>
                    <a:pt x="1056" y="204"/>
                  </a:lnTo>
                  <a:lnTo>
                    <a:pt x="1050" y="204"/>
                  </a:lnTo>
                  <a:lnTo>
                    <a:pt x="1044" y="204"/>
                  </a:lnTo>
                  <a:lnTo>
                    <a:pt x="1038" y="204"/>
                  </a:lnTo>
                  <a:lnTo>
                    <a:pt x="1032" y="204"/>
                  </a:lnTo>
                  <a:lnTo>
                    <a:pt x="1026" y="204"/>
                  </a:lnTo>
                  <a:lnTo>
                    <a:pt x="1020" y="204"/>
                  </a:lnTo>
                  <a:lnTo>
                    <a:pt x="1014" y="204"/>
                  </a:lnTo>
                  <a:lnTo>
                    <a:pt x="1008" y="204"/>
                  </a:lnTo>
                  <a:lnTo>
                    <a:pt x="1002" y="204"/>
                  </a:lnTo>
                  <a:lnTo>
                    <a:pt x="996" y="204"/>
                  </a:lnTo>
                  <a:lnTo>
                    <a:pt x="984" y="204"/>
                  </a:lnTo>
                  <a:lnTo>
                    <a:pt x="984" y="198"/>
                  </a:lnTo>
                  <a:lnTo>
                    <a:pt x="978" y="198"/>
                  </a:lnTo>
                  <a:lnTo>
                    <a:pt x="966" y="198"/>
                  </a:lnTo>
                  <a:lnTo>
                    <a:pt x="948" y="192"/>
                  </a:lnTo>
                  <a:lnTo>
                    <a:pt x="942" y="192"/>
                  </a:lnTo>
                  <a:lnTo>
                    <a:pt x="936" y="192"/>
                  </a:lnTo>
                  <a:lnTo>
                    <a:pt x="924" y="192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12" y="186"/>
                  </a:lnTo>
                  <a:lnTo>
                    <a:pt x="906" y="186"/>
                  </a:lnTo>
                  <a:lnTo>
                    <a:pt x="900" y="186"/>
                  </a:lnTo>
                  <a:lnTo>
                    <a:pt x="894" y="186"/>
                  </a:lnTo>
                  <a:lnTo>
                    <a:pt x="888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76" y="180"/>
                  </a:lnTo>
                  <a:lnTo>
                    <a:pt x="870" y="180"/>
                  </a:lnTo>
                  <a:lnTo>
                    <a:pt x="864" y="180"/>
                  </a:lnTo>
                  <a:lnTo>
                    <a:pt x="858" y="180"/>
                  </a:lnTo>
                  <a:lnTo>
                    <a:pt x="852" y="180"/>
                  </a:lnTo>
                  <a:lnTo>
                    <a:pt x="852" y="174"/>
                  </a:lnTo>
                  <a:lnTo>
                    <a:pt x="846" y="174"/>
                  </a:lnTo>
                  <a:lnTo>
                    <a:pt x="840" y="174"/>
                  </a:lnTo>
                  <a:lnTo>
                    <a:pt x="834" y="174"/>
                  </a:lnTo>
                  <a:lnTo>
                    <a:pt x="828" y="174"/>
                  </a:lnTo>
                  <a:lnTo>
                    <a:pt x="822" y="174"/>
                  </a:lnTo>
                  <a:lnTo>
                    <a:pt x="816" y="174"/>
                  </a:lnTo>
                  <a:lnTo>
                    <a:pt x="810" y="168"/>
                  </a:lnTo>
                  <a:lnTo>
                    <a:pt x="804" y="168"/>
                  </a:lnTo>
                  <a:lnTo>
                    <a:pt x="798" y="168"/>
                  </a:lnTo>
                  <a:lnTo>
                    <a:pt x="792" y="168"/>
                  </a:lnTo>
                  <a:lnTo>
                    <a:pt x="786" y="168"/>
                  </a:lnTo>
                  <a:lnTo>
                    <a:pt x="780" y="168"/>
                  </a:lnTo>
                  <a:lnTo>
                    <a:pt x="774" y="168"/>
                  </a:lnTo>
                  <a:lnTo>
                    <a:pt x="768" y="168"/>
                  </a:lnTo>
                  <a:lnTo>
                    <a:pt x="762" y="168"/>
                  </a:lnTo>
                  <a:lnTo>
                    <a:pt x="756" y="168"/>
                  </a:lnTo>
                  <a:lnTo>
                    <a:pt x="750" y="168"/>
                  </a:lnTo>
                  <a:lnTo>
                    <a:pt x="750" y="162"/>
                  </a:lnTo>
                  <a:lnTo>
                    <a:pt x="744" y="168"/>
                  </a:lnTo>
                  <a:lnTo>
                    <a:pt x="738" y="162"/>
                  </a:lnTo>
                  <a:lnTo>
                    <a:pt x="732" y="162"/>
                  </a:lnTo>
                  <a:lnTo>
                    <a:pt x="726" y="162"/>
                  </a:lnTo>
                  <a:lnTo>
                    <a:pt x="714" y="162"/>
                  </a:lnTo>
                  <a:lnTo>
                    <a:pt x="702" y="162"/>
                  </a:lnTo>
                  <a:lnTo>
                    <a:pt x="696" y="168"/>
                  </a:lnTo>
                  <a:lnTo>
                    <a:pt x="690" y="168"/>
                  </a:lnTo>
                  <a:lnTo>
                    <a:pt x="684" y="168"/>
                  </a:lnTo>
                  <a:lnTo>
                    <a:pt x="678" y="168"/>
                  </a:lnTo>
                  <a:lnTo>
                    <a:pt x="672" y="168"/>
                  </a:lnTo>
                  <a:lnTo>
                    <a:pt x="666" y="168"/>
                  </a:lnTo>
                  <a:lnTo>
                    <a:pt x="660" y="168"/>
                  </a:lnTo>
                  <a:lnTo>
                    <a:pt x="654" y="168"/>
                  </a:lnTo>
                  <a:lnTo>
                    <a:pt x="648" y="174"/>
                  </a:lnTo>
                  <a:lnTo>
                    <a:pt x="648" y="168"/>
                  </a:lnTo>
                  <a:lnTo>
                    <a:pt x="642" y="174"/>
                  </a:lnTo>
                  <a:lnTo>
                    <a:pt x="636" y="174"/>
                  </a:lnTo>
                  <a:lnTo>
                    <a:pt x="630" y="174"/>
                  </a:lnTo>
                  <a:lnTo>
                    <a:pt x="624" y="174"/>
                  </a:lnTo>
                  <a:lnTo>
                    <a:pt x="618" y="174"/>
                  </a:lnTo>
                  <a:lnTo>
                    <a:pt x="612" y="174"/>
                  </a:lnTo>
                  <a:lnTo>
                    <a:pt x="606" y="174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74"/>
                  </a:lnTo>
                  <a:lnTo>
                    <a:pt x="582" y="174"/>
                  </a:lnTo>
                  <a:lnTo>
                    <a:pt x="576" y="174"/>
                  </a:lnTo>
                  <a:lnTo>
                    <a:pt x="570" y="174"/>
                  </a:lnTo>
                  <a:lnTo>
                    <a:pt x="564" y="174"/>
                  </a:lnTo>
                  <a:lnTo>
                    <a:pt x="558" y="174"/>
                  </a:lnTo>
                  <a:lnTo>
                    <a:pt x="552" y="174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0" y="174"/>
                  </a:lnTo>
                  <a:lnTo>
                    <a:pt x="504" y="174"/>
                  </a:lnTo>
                  <a:lnTo>
                    <a:pt x="498" y="174"/>
                  </a:lnTo>
                  <a:lnTo>
                    <a:pt x="492" y="174"/>
                  </a:lnTo>
                  <a:lnTo>
                    <a:pt x="486" y="174"/>
                  </a:lnTo>
                  <a:lnTo>
                    <a:pt x="480" y="174"/>
                  </a:lnTo>
                  <a:lnTo>
                    <a:pt x="474" y="174"/>
                  </a:lnTo>
                  <a:lnTo>
                    <a:pt x="468" y="174"/>
                  </a:lnTo>
                  <a:lnTo>
                    <a:pt x="462" y="174"/>
                  </a:lnTo>
                  <a:lnTo>
                    <a:pt x="456" y="174"/>
                  </a:lnTo>
                  <a:lnTo>
                    <a:pt x="450" y="180"/>
                  </a:lnTo>
                  <a:lnTo>
                    <a:pt x="450" y="186"/>
                  </a:lnTo>
                  <a:lnTo>
                    <a:pt x="450" y="192"/>
                  </a:lnTo>
                  <a:lnTo>
                    <a:pt x="444" y="192"/>
                  </a:lnTo>
                  <a:lnTo>
                    <a:pt x="444" y="186"/>
                  </a:lnTo>
                  <a:lnTo>
                    <a:pt x="444" y="180"/>
                  </a:lnTo>
                  <a:lnTo>
                    <a:pt x="450" y="180"/>
                  </a:lnTo>
                  <a:lnTo>
                    <a:pt x="450" y="174"/>
                  </a:lnTo>
                  <a:lnTo>
                    <a:pt x="450" y="168"/>
                  </a:lnTo>
                  <a:lnTo>
                    <a:pt x="450" y="162"/>
                  </a:lnTo>
                  <a:lnTo>
                    <a:pt x="456" y="162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62" y="162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74" y="168"/>
                  </a:lnTo>
                  <a:lnTo>
                    <a:pt x="480" y="168"/>
                  </a:lnTo>
                  <a:lnTo>
                    <a:pt x="480" y="162"/>
                  </a:lnTo>
                  <a:lnTo>
                    <a:pt x="480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56"/>
                  </a:lnTo>
                  <a:lnTo>
                    <a:pt x="492" y="156"/>
                  </a:lnTo>
                  <a:lnTo>
                    <a:pt x="486" y="150"/>
                  </a:lnTo>
                  <a:lnTo>
                    <a:pt x="492" y="150"/>
                  </a:lnTo>
                  <a:lnTo>
                    <a:pt x="498" y="150"/>
                  </a:lnTo>
                  <a:lnTo>
                    <a:pt x="498" y="156"/>
                  </a:lnTo>
                  <a:lnTo>
                    <a:pt x="504" y="156"/>
                  </a:lnTo>
                  <a:lnTo>
                    <a:pt x="504" y="162"/>
                  </a:lnTo>
                  <a:lnTo>
                    <a:pt x="504" y="156"/>
                  </a:lnTo>
                  <a:lnTo>
                    <a:pt x="510" y="156"/>
                  </a:lnTo>
                  <a:lnTo>
                    <a:pt x="510" y="150"/>
                  </a:lnTo>
                  <a:lnTo>
                    <a:pt x="516" y="150"/>
                  </a:lnTo>
                  <a:lnTo>
                    <a:pt x="522" y="150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28" y="150"/>
                  </a:lnTo>
                  <a:lnTo>
                    <a:pt x="528" y="144"/>
                  </a:lnTo>
                  <a:lnTo>
                    <a:pt x="540" y="144"/>
                  </a:lnTo>
                  <a:lnTo>
                    <a:pt x="546" y="144"/>
                  </a:lnTo>
                  <a:lnTo>
                    <a:pt x="552" y="138"/>
                  </a:lnTo>
                  <a:lnTo>
                    <a:pt x="552" y="132"/>
                  </a:lnTo>
                  <a:lnTo>
                    <a:pt x="558" y="132"/>
                  </a:lnTo>
                  <a:lnTo>
                    <a:pt x="558" y="126"/>
                  </a:lnTo>
                  <a:lnTo>
                    <a:pt x="558" y="120"/>
                  </a:lnTo>
                  <a:lnTo>
                    <a:pt x="558" y="114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6" y="114"/>
                  </a:lnTo>
                  <a:lnTo>
                    <a:pt x="582" y="120"/>
                  </a:lnTo>
                  <a:lnTo>
                    <a:pt x="588" y="120"/>
                  </a:lnTo>
                  <a:lnTo>
                    <a:pt x="588" y="126"/>
                  </a:lnTo>
                  <a:lnTo>
                    <a:pt x="588" y="120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600" y="114"/>
                  </a:lnTo>
                  <a:lnTo>
                    <a:pt x="606" y="114"/>
                  </a:lnTo>
                  <a:lnTo>
                    <a:pt x="618" y="114"/>
                  </a:lnTo>
                  <a:lnTo>
                    <a:pt x="618" y="108"/>
                  </a:lnTo>
                  <a:lnTo>
                    <a:pt x="624" y="108"/>
                  </a:lnTo>
                  <a:lnTo>
                    <a:pt x="624" y="102"/>
                  </a:lnTo>
                  <a:lnTo>
                    <a:pt x="630" y="102"/>
                  </a:lnTo>
                  <a:lnTo>
                    <a:pt x="636" y="102"/>
                  </a:lnTo>
                  <a:lnTo>
                    <a:pt x="636" y="108"/>
                  </a:lnTo>
                  <a:lnTo>
                    <a:pt x="642" y="108"/>
                  </a:lnTo>
                  <a:lnTo>
                    <a:pt x="648" y="108"/>
                  </a:lnTo>
                  <a:lnTo>
                    <a:pt x="648" y="102"/>
                  </a:lnTo>
                  <a:lnTo>
                    <a:pt x="654" y="102"/>
                  </a:lnTo>
                  <a:lnTo>
                    <a:pt x="660" y="102"/>
                  </a:lnTo>
                  <a:lnTo>
                    <a:pt x="660" y="96"/>
                  </a:lnTo>
                  <a:lnTo>
                    <a:pt x="660" y="90"/>
                  </a:lnTo>
                  <a:lnTo>
                    <a:pt x="666" y="90"/>
                  </a:lnTo>
                  <a:lnTo>
                    <a:pt x="666" y="84"/>
                  </a:lnTo>
                  <a:lnTo>
                    <a:pt x="672" y="78"/>
                  </a:lnTo>
                  <a:lnTo>
                    <a:pt x="672" y="72"/>
                  </a:lnTo>
                  <a:lnTo>
                    <a:pt x="678" y="66"/>
                  </a:lnTo>
                  <a:lnTo>
                    <a:pt x="684" y="66"/>
                  </a:lnTo>
                  <a:lnTo>
                    <a:pt x="684" y="60"/>
                  </a:lnTo>
                  <a:lnTo>
                    <a:pt x="690" y="60"/>
                  </a:lnTo>
                  <a:lnTo>
                    <a:pt x="696" y="60"/>
                  </a:lnTo>
                  <a:lnTo>
                    <a:pt x="702" y="60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66"/>
                  </a:lnTo>
                  <a:lnTo>
                    <a:pt x="720" y="66"/>
                  </a:lnTo>
                  <a:lnTo>
                    <a:pt x="720" y="60"/>
                  </a:lnTo>
                  <a:lnTo>
                    <a:pt x="726" y="60"/>
                  </a:lnTo>
                  <a:lnTo>
                    <a:pt x="732" y="60"/>
                  </a:lnTo>
                  <a:lnTo>
                    <a:pt x="744" y="60"/>
                  </a:lnTo>
                  <a:lnTo>
                    <a:pt x="750" y="54"/>
                  </a:lnTo>
                  <a:lnTo>
                    <a:pt x="762" y="60"/>
                  </a:lnTo>
                  <a:lnTo>
                    <a:pt x="774" y="60"/>
                  </a:lnTo>
                  <a:lnTo>
                    <a:pt x="774" y="66"/>
                  </a:lnTo>
                  <a:lnTo>
                    <a:pt x="780" y="72"/>
                  </a:lnTo>
                  <a:lnTo>
                    <a:pt x="786" y="78"/>
                  </a:lnTo>
                  <a:lnTo>
                    <a:pt x="792" y="78"/>
                  </a:lnTo>
                  <a:lnTo>
                    <a:pt x="810" y="84"/>
                  </a:lnTo>
                  <a:lnTo>
                    <a:pt x="822" y="84"/>
                  </a:lnTo>
                  <a:lnTo>
                    <a:pt x="828" y="84"/>
                  </a:lnTo>
                  <a:lnTo>
                    <a:pt x="834" y="84"/>
                  </a:lnTo>
                  <a:lnTo>
                    <a:pt x="840" y="96"/>
                  </a:lnTo>
                  <a:lnTo>
                    <a:pt x="846" y="102"/>
                  </a:lnTo>
                  <a:lnTo>
                    <a:pt x="858" y="102"/>
                  </a:lnTo>
                  <a:lnTo>
                    <a:pt x="864" y="102"/>
                  </a:lnTo>
                  <a:lnTo>
                    <a:pt x="876" y="96"/>
                  </a:lnTo>
                  <a:lnTo>
                    <a:pt x="882" y="102"/>
                  </a:lnTo>
                  <a:lnTo>
                    <a:pt x="888" y="108"/>
                  </a:lnTo>
                  <a:lnTo>
                    <a:pt x="888" y="114"/>
                  </a:lnTo>
                  <a:lnTo>
                    <a:pt x="888" y="120"/>
                  </a:lnTo>
                  <a:lnTo>
                    <a:pt x="888" y="126"/>
                  </a:lnTo>
                  <a:lnTo>
                    <a:pt x="888" y="132"/>
                  </a:lnTo>
                  <a:lnTo>
                    <a:pt x="882" y="132"/>
                  </a:lnTo>
                  <a:lnTo>
                    <a:pt x="864" y="126"/>
                  </a:lnTo>
                  <a:lnTo>
                    <a:pt x="852" y="120"/>
                  </a:lnTo>
                  <a:lnTo>
                    <a:pt x="840" y="126"/>
                  </a:lnTo>
                  <a:lnTo>
                    <a:pt x="834" y="120"/>
                  </a:lnTo>
                  <a:lnTo>
                    <a:pt x="828" y="120"/>
                  </a:lnTo>
                  <a:lnTo>
                    <a:pt x="822" y="120"/>
                  </a:lnTo>
                  <a:lnTo>
                    <a:pt x="810" y="114"/>
                  </a:lnTo>
                  <a:lnTo>
                    <a:pt x="804" y="114"/>
                  </a:lnTo>
                  <a:lnTo>
                    <a:pt x="798" y="114"/>
                  </a:lnTo>
                  <a:lnTo>
                    <a:pt x="792" y="114"/>
                  </a:lnTo>
                  <a:lnTo>
                    <a:pt x="786" y="114"/>
                  </a:lnTo>
                  <a:lnTo>
                    <a:pt x="780" y="114"/>
                  </a:lnTo>
                  <a:lnTo>
                    <a:pt x="780" y="126"/>
                  </a:lnTo>
                  <a:lnTo>
                    <a:pt x="786" y="126"/>
                  </a:lnTo>
                  <a:lnTo>
                    <a:pt x="798" y="126"/>
                  </a:lnTo>
                  <a:lnTo>
                    <a:pt x="804" y="126"/>
                  </a:lnTo>
                  <a:lnTo>
                    <a:pt x="822" y="132"/>
                  </a:lnTo>
                  <a:lnTo>
                    <a:pt x="828" y="132"/>
                  </a:lnTo>
                  <a:lnTo>
                    <a:pt x="834" y="132"/>
                  </a:lnTo>
                  <a:lnTo>
                    <a:pt x="840" y="144"/>
                  </a:lnTo>
                  <a:lnTo>
                    <a:pt x="846" y="150"/>
                  </a:lnTo>
                  <a:lnTo>
                    <a:pt x="858" y="150"/>
                  </a:lnTo>
                  <a:lnTo>
                    <a:pt x="864" y="162"/>
                  </a:lnTo>
                  <a:lnTo>
                    <a:pt x="870" y="162"/>
                  </a:lnTo>
                  <a:lnTo>
                    <a:pt x="876" y="168"/>
                  </a:lnTo>
                  <a:lnTo>
                    <a:pt x="888" y="168"/>
                  </a:lnTo>
                  <a:lnTo>
                    <a:pt x="894" y="174"/>
                  </a:lnTo>
                  <a:lnTo>
                    <a:pt x="900" y="174"/>
                  </a:lnTo>
                  <a:lnTo>
                    <a:pt x="918" y="174"/>
                  </a:lnTo>
                  <a:lnTo>
                    <a:pt x="924" y="174"/>
                  </a:lnTo>
                  <a:lnTo>
                    <a:pt x="930" y="174"/>
                  </a:lnTo>
                  <a:lnTo>
                    <a:pt x="942" y="174"/>
                  </a:lnTo>
                  <a:lnTo>
                    <a:pt x="954" y="174"/>
                  </a:lnTo>
                  <a:lnTo>
                    <a:pt x="960" y="174"/>
                  </a:lnTo>
                  <a:lnTo>
                    <a:pt x="966" y="174"/>
                  </a:lnTo>
                  <a:lnTo>
                    <a:pt x="966" y="168"/>
                  </a:lnTo>
                  <a:lnTo>
                    <a:pt x="972" y="162"/>
                  </a:lnTo>
                  <a:lnTo>
                    <a:pt x="972" y="156"/>
                  </a:lnTo>
                  <a:close/>
                  <a:moveTo>
                    <a:pt x="942" y="174"/>
                  </a:moveTo>
                  <a:lnTo>
                    <a:pt x="936" y="174"/>
                  </a:lnTo>
                  <a:lnTo>
                    <a:pt x="936" y="168"/>
                  </a:lnTo>
                  <a:lnTo>
                    <a:pt x="936" y="162"/>
                  </a:lnTo>
                  <a:lnTo>
                    <a:pt x="948" y="162"/>
                  </a:lnTo>
                  <a:lnTo>
                    <a:pt x="948" y="156"/>
                  </a:lnTo>
                  <a:lnTo>
                    <a:pt x="954" y="156"/>
                  </a:lnTo>
                  <a:lnTo>
                    <a:pt x="960" y="156"/>
                  </a:lnTo>
                  <a:lnTo>
                    <a:pt x="966" y="156"/>
                  </a:lnTo>
                  <a:lnTo>
                    <a:pt x="966" y="162"/>
                  </a:lnTo>
                  <a:lnTo>
                    <a:pt x="960" y="168"/>
                  </a:lnTo>
                  <a:lnTo>
                    <a:pt x="942" y="174"/>
                  </a:lnTo>
                  <a:close/>
                  <a:moveTo>
                    <a:pt x="900" y="168"/>
                  </a:moveTo>
                  <a:lnTo>
                    <a:pt x="894" y="168"/>
                  </a:lnTo>
                  <a:lnTo>
                    <a:pt x="882" y="156"/>
                  </a:lnTo>
                  <a:lnTo>
                    <a:pt x="882" y="150"/>
                  </a:lnTo>
                  <a:lnTo>
                    <a:pt x="888" y="156"/>
                  </a:lnTo>
                  <a:lnTo>
                    <a:pt x="894" y="150"/>
                  </a:lnTo>
                  <a:lnTo>
                    <a:pt x="900" y="150"/>
                  </a:lnTo>
                  <a:lnTo>
                    <a:pt x="906" y="150"/>
                  </a:lnTo>
                  <a:lnTo>
                    <a:pt x="912" y="150"/>
                  </a:lnTo>
                  <a:lnTo>
                    <a:pt x="924" y="150"/>
                  </a:lnTo>
                  <a:lnTo>
                    <a:pt x="924" y="156"/>
                  </a:lnTo>
                  <a:lnTo>
                    <a:pt x="924" y="162"/>
                  </a:lnTo>
                  <a:lnTo>
                    <a:pt x="924" y="168"/>
                  </a:lnTo>
                  <a:lnTo>
                    <a:pt x="918" y="168"/>
                  </a:lnTo>
                  <a:lnTo>
                    <a:pt x="906" y="168"/>
                  </a:lnTo>
                  <a:lnTo>
                    <a:pt x="900" y="168"/>
                  </a:lnTo>
                  <a:close/>
                  <a:moveTo>
                    <a:pt x="870" y="162"/>
                  </a:moveTo>
                  <a:lnTo>
                    <a:pt x="876" y="162"/>
                  </a:lnTo>
                  <a:lnTo>
                    <a:pt x="876" y="168"/>
                  </a:lnTo>
                  <a:lnTo>
                    <a:pt x="870" y="168"/>
                  </a:lnTo>
                  <a:lnTo>
                    <a:pt x="870" y="162"/>
                  </a:lnTo>
                  <a:close/>
                  <a:moveTo>
                    <a:pt x="450" y="162"/>
                  </a:moveTo>
                  <a:lnTo>
                    <a:pt x="444" y="162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2" y="150"/>
                  </a:lnTo>
                  <a:lnTo>
                    <a:pt x="438" y="150"/>
                  </a:lnTo>
                  <a:lnTo>
                    <a:pt x="438" y="144"/>
                  </a:lnTo>
                  <a:lnTo>
                    <a:pt x="438" y="150"/>
                  </a:lnTo>
                  <a:lnTo>
                    <a:pt x="444" y="150"/>
                  </a:lnTo>
                  <a:lnTo>
                    <a:pt x="450" y="150"/>
                  </a:lnTo>
                  <a:lnTo>
                    <a:pt x="450" y="156"/>
                  </a:lnTo>
                  <a:lnTo>
                    <a:pt x="456" y="156"/>
                  </a:lnTo>
                  <a:lnTo>
                    <a:pt x="456" y="150"/>
                  </a:lnTo>
                  <a:lnTo>
                    <a:pt x="456" y="156"/>
                  </a:lnTo>
                  <a:lnTo>
                    <a:pt x="462" y="150"/>
                  </a:lnTo>
                  <a:lnTo>
                    <a:pt x="462" y="144"/>
                  </a:lnTo>
                  <a:lnTo>
                    <a:pt x="468" y="144"/>
                  </a:lnTo>
                  <a:lnTo>
                    <a:pt x="468" y="150"/>
                  </a:lnTo>
                  <a:lnTo>
                    <a:pt x="474" y="150"/>
                  </a:lnTo>
                  <a:lnTo>
                    <a:pt x="480" y="150"/>
                  </a:lnTo>
                  <a:lnTo>
                    <a:pt x="480" y="156"/>
                  </a:lnTo>
                  <a:lnTo>
                    <a:pt x="480" y="162"/>
                  </a:lnTo>
                  <a:lnTo>
                    <a:pt x="474" y="162"/>
                  </a:lnTo>
                  <a:lnTo>
                    <a:pt x="474" y="168"/>
                  </a:lnTo>
                  <a:lnTo>
                    <a:pt x="474" y="162"/>
                  </a:lnTo>
                  <a:lnTo>
                    <a:pt x="468" y="162"/>
                  </a:lnTo>
                  <a:lnTo>
                    <a:pt x="462" y="162"/>
                  </a:lnTo>
                  <a:lnTo>
                    <a:pt x="456" y="162"/>
                  </a:lnTo>
                  <a:lnTo>
                    <a:pt x="450" y="16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6" name="Freeform 31">
              <a:extLst>
                <a:ext uri="{FF2B5EF4-FFF2-40B4-BE49-F238E27FC236}">
                  <a16:creationId xmlns:a16="http://schemas.microsoft.com/office/drawing/2014/main" id="{0989F057-38E8-4AA5-8B73-27F6355E235C}"/>
                </a:ext>
              </a:extLst>
            </p:cNvPr>
            <p:cNvSpPr>
              <a:spLocks/>
            </p:cNvSpPr>
            <p:nvPr/>
          </p:nvSpPr>
          <p:spPr bwMode="gray">
            <a:xfrm>
              <a:off x="792590" y="2728084"/>
              <a:ext cx="1182944" cy="740282"/>
            </a:xfrm>
            <a:custGeom>
              <a:avLst/>
              <a:gdLst>
                <a:gd name="T0" fmla="*/ 138 w 2226"/>
                <a:gd name="T1" fmla="*/ 121 h 1392"/>
                <a:gd name="T2" fmla="*/ 133 w 2226"/>
                <a:gd name="T3" fmla="*/ 119 h 1392"/>
                <a:gd name="T4" fmla="*/ 128 w 2226"/>
                <a:gd name="T5" fmla="*/ 117 h 1392"/>
                <a:gd name="T6" fmla="*/ 119 w 2226"/>
                <a:gd name="T7" fmla="*/ 116 h 1392"/>
                <a:gd name="T8" fmla="*/ 101 w 2226"/>
                <a:gd name="T9" fmla="*/ 116 h 1392"/>
                <a:gd name="T10" fmla="*/ 94 w 2226"/>
                <a:gd name="T11" fmla="*/ 104 h 1392"/>
                <a:gd name="T12" fmla="*/ 82 w 2226"/>
                <a:gd name="T13" fmla="*/ 83 h 1392"/>
                <a:gd name="T14" fmla="*/ 87 w 2226"/>
                <a:gd name="T15" fmla="*/ 69 h 1392"/>
                <a:gd name="T16" fmla="*/ 82 w 2226"/>
                <a:gd name="T17" fmla="*/ 65 h 1392"/>
                <a:gd name="T18" fmla="*/ 59 w 2226"/>
                <a:gd name="T19" fmla="*/ 57 h 1392"/>
                <a:gd name="T20" fmla="*/ 29 w 2226"/>
                <a:gd name="T21" fmla="*/ 77 h 1392"/>
                <a:gd name="T22" fmla="*/ 20 w 2226"/>
                <a:gd name="T23" fmla="*/ 78 h 1392"/>
                <a:gd name="T24" fmla="*/ 15 w 2226"/>
                <a:gd name="T25" fmla="*/ 82 h 1392"/>
                <a:gd name="T26" fmla="*/ 8 w 2226"/>
                <a:gd name="T27" fmla="*/ 86 h 1392"/>
                <a:gd name="T28" fmla="*/ 1 w 2226"/>
                <a:gd name="T29" fmla="*/ 88 h 1392"/>
                <a:gd name="T30" fmla="*/ 0 w 2226"/>
                <a:gd name="T31" fmla="*/ 82 h 1392"/>
                <a:gd name="T32" fmla="*/ 0 w 2226"/>
                <a:gd name="T33" fmla="*/ 76 h 1392"/>
                <a:gd name="T34" fmla="*/ 2 w 2226"/>
                <a:gd name="T35" fmla="*/ 70 h 1392"/>
                <a:gd name="T36" fmla="*/ 3 w 2226"/>
                <a:gd name="T37" fmla="*/ 65 h 1392"/>
                <a:gd name="T38" fmla="*/ 2 w 2226"/>
                <a:gd name="T39" fmla="*/ 63 h 1392"/>
                <a:gd name="T40" fmla="*/ 9 w 2226"/>
                <a:gd name="T41" fmla="*/ 60 h 1392"/>
                <a:gd name="T42" fmla="*/ 17 w 2226"/>
                <a:gd name="T43" fmla="*/ 59 h 1392"/>
                <a:gd name="T44" fmla="*/ 22 w 2226"/>
                <a:gd name="T45" fmla="*/ 51 h 1392"/>
                <a:gd name="T46" fmla="*/ 23 w 2226"/>
                <a:gd name="T47" fmla="*/ 43 h 1392"/>
                <a:gd name="T48" fmla="*/ 27 w 2226"/>
                <a:gd name="T49" fmla="*/ 34 h 1392"/>
                <a:gd name="T50" fmla="*/ 30 w 2226"/>
                <a:gd name="T51" fmla="*/ 27 h 1392"/>
                <a:gd name="T52" fmla="*/ 33 w 2226"/>
                <a:gd name="T53" fmla="*/ 22 h 1392"/>
                <a:gd name="T54" fmla="*/ 42 w 2226"/>
                <a:gd name="T55" fmla="*/ 17 h 1392"/>
                <a:gd name="T56" fmla="*/ 47 w 2226"/>
                <a:gd name="T57" fmla="*/ 14 h 1392"/>
                <a:gd name="T58" fmla="*/ 49 w 2226"/>
                <a:gd name="T59" fmla="*/ 5 h 1392"/>
                <a:gd name="T60" fmla="*/ 53 w 2226"/>
                <a:gd name="T61" fmla="*/ 0 h 1392"/>
                <a:gd name="T62" fmla="*/ 55 w 2226"/>
                <a:gd name="T63" fmla="*/ 4 h 1392"/>
                <a:gd name="T64" fmla="*/ 59 w 2226"/>
                <a:gd name="T65" fmla="*/ 7 h 1392"/>
                <a:gd name="T66" fmla="*/ 63 w 2226"/>
                <a:gd name="T67" fmla="*/ 7 h 1392"/>
                <a:gd name="T68" fmla="*/ 66 w 2226"/>
                <a:gd name="T69" fmla="*/ 9 h 1392"/>
                <a:gd name="T70" fmla="*/ 67 w 2226"/>
                <a:gd name="T71" fmla="*/ 12 h 1392"/>
                <a:gd name="T72" fmla="*/ 67 w 2226"/>
                <a:gd name="T73" fmla="*/ 13 h 1392"/>
                <a:gd name="T74" fmla="*/ 70 w 2226"/>
                <a:gd name="T75" fmla="*/ 15 h 1392"/>
                <a:gd name="T76" fmla="*/ 74 w 2226"/>
                <a:gd name="T77" fmla="*/ 17 h 1392"/>
                <a:gd name="T78" fmla="*/ 78 w 2226"/>
                <a:gd name="T79" fmla="*/ 18 h 1392"/>
                <a:gd name="T80" fmla="*/ 97 w 2226"/>
                <a:gd name="T81" fmla="*/ 40 h 1392"/>
                <a:gd name="T82" fmla="*/ 102 w 2226"/>
                <a:gd name="T83" fmla="*/ 44 h 1392"/>
                <a:gd name="T84" fmla="*/ 110 w 2226"/>
                <a:gd name="T85" fmla="*/ 49 h 1392"/>
                <a:gd name="T86" fmla="*/ 113 w 2226"/>
                <a:gd name="T87" fmla="*/ 53 h 1392"/>
                <a:gd name="T88" fmla="*/ 118 w 2226"/>
                <a:gd name="T89" fmla="*/ 57 h 1392"/>
                <a:gd name="T90" fmla="*/ 124 w 2226"/>
                <a:gd name="T91" fmla="*/ 54 h 1392"/>
                <a:gd name="T92" fmla="*/ 133 w 2226"/>
                <a:gd name="T93" fmla="*/ 58 h 1392"/>
                <a:gd name="T94" fmla="*/ 137 w 2226"/>
                <a:gd name="T95" fmla="*/ 64 h 1392"/>
                <a:gd name="T96" fmla="*/ 145 w 2226"/>
                <a:gd name="T97" fmla="*/ 65 h 1392"/>
                <a:gd name="T98" fmla="*/ 152 w 2226"/>
                <a:gd name="T99" fmla="*/ 67 h 1392"/>
                <a:gd name="T100" fmla="*/ 161 w 2226"/>
                <a:gd name="T101" fmla="*/ 72 h 1392"/>
                <a:gd name="T102" fmla="*/ 168 w 2226"/>
                <a:gd name="T103" fmla="*/ 76 h 1392"/>
                <a:gd name="T104" fmla="*/ 177 w 2226"/>
                <a:gd name="T105" fmla="*/ 78 h 1392"/>
                <a:gd name="T106" fmla="*/ 184 w 2226"/>
                <a:gd name="T107" fmla="*/ 78 h 1392"/>
                <a:gd name="T108" fmla="*/ 190 w 2226"/>
                <a:gd name="T109" fmla="*/ 81 h 1392"/>
                <a:gd name="T110" fmla="*/ 192 w 2226"/>
                <a:gd name="T111" fmla="*/ 86 h 1392"/>
                <a:gd name="T112" fmla="*/ 187 w 2226"/>
                <a:gd name="T113" fmla="*/ 99 h 1392"/>
                <a:gd name="T114" fmla="*/ 165 w 2226"/>
                <a:gd name="T115" fmla="*/ 97 h 1392"/>
                <a:gd name="T116" fmla="*/ 155 w 2226"/>
                <a:gd name="T117" fmla="*/ 92 h 1392"/>
                <a:gd name="T118" fmla="*/ 146 w 2226"/>
                <a:gd name="T119" fmla="*/ 102 h 1392"/>
                <a:gd name="T120" fmla="*/ 149 w 2226"/>
                <a:gd name="T121" fmla="*/ 106 h 1392"/>
                <a:gd name="T122" fmla="*/ 151 w 2226"/>
                <a:gd name="T123" fmla="*/ 108 h 1392"/>
                <a:gd name="T124" fmla="*/ 157 w 2226"/>
                <a:gd name="T125" fmla="*/ 113 h 13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1392"/>
                <a:gd name="T191" fmla="*/ 2226 w 2226"/>
                <a:gd name="T192" fmla="*/ 1392 h 13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1392">
                  <a:moveTo>
                    <a:pt x="1782" y="1326"/>
                  </a:moveTo>
                  <a:lnTo>
                    <a:pt x="1776" y="1332"/>
                  </a:lnTo>
                  <a:lnTo>
                    <a:pt x="1692" y="1338"/>
                  </a:lnTo>
                  <a:lnTo>
                    <a:pt x="1680" y="1386"/>
                  </a:lnTo>
                  <a:lnTo>
                    <a:pt x="1674" y="1392"/>
                  </a:lnTo>
                  <a:lnTo>
                    <a:pt x="1638" y="1392"/>
                  </a:lnTo>
                  <a:lnTo>
                    <a:pt x="1620" y="1392"/>
                  </a:lnTo>
                  <a:lnTo>
                    <a:pt x="1614" y="1392"/>
                  </a:lnTo>
                  <a:lnTo>
                    <a:pt x="1608" y="1386"/>
                  </a:lnTo>
                  <a:lnTo>
                    <a:pt x="1584" y="1386"/>
                  </a:lnTo>
                  <a:lnTo>
                    <a:pt x="1578" y="1386"/>
                  </a:lnTo>
                  <a:lnTo>
                    <a:pt x="1572" y="1380"/>
                  </a:lnTo>
                  <a:lnTo>
                    <a:pt x="1578" y="1356"/>
                  </a:lnTo>
                  <a:lnTo>
                    <a:pt x="1572" y="1356"/>
                  </a:lnTo>
                  <a:lnTo>
                    <a:pt x="1560" y="1350"/>
                  </a:lnTo>
                  <a:lnTo>
                    <a:pt x="1554" y="1350"/>
                  </a:lnTo>
                  <a:lnTo>
                    <a:pt x="1542" y="1350"/>
                  </a:lnTo>
                  <a:lnTo>
                    <a:pt x="1530" y="1350"/>
                  </a:lnTo>
                  <a:lnTo>
                    <a:pt x="1524" y="1356"/>
                  </a:lnTo>
                  <a:lnTo>
                    <a:pt x="1524" y="1362"/>
                  </a:lnTo>
                  <a:lnTo>
                    <a:pt x="1512" y="1374"/>
                  </a:lnTo>
                  <a:lnTo>
                    <a:pt x="1506" y="1374"/>
                  </a:lnTo>
                  <a:lnTo>
                    <a:pt x="1500" y="1368"/>
                  </a:lnTo>
                  <a:lnTo>
                    <a:pt x="1500" y="1362"/>
                  </a:lnTo>
                  <a:lnTo>
                    <a:pt x="1488" y="1362"/>
                  </a:lnTo>
                  <a:lnTo>
                    <a:pt x="1482" y="1356"/>
                  </a:lnTo>
                  <a:lnTo>
                    <a:pt x="1482" y="1350"/>
                  </a:lnTo>
                  <a:lnTo>
                    <a:pt x="1476" y="1350"/>
                  </a:lnTo>
                  <a:lnTo>
                    <a:pt x="1470" y="1344"/>
                  </a:lnTo>
                  <a:lnTo>
                    <a:pt x="1464" y="1344"/>
                  </a:lnTo>
                  <a:lnTo>
                    <a:pt x="1452" y="1350"/>
                  </a:lnTo>
                  <a:lnTo>
                    <a:pt x="1452" y="1356"/>
                  </a:lnTo>
                  <a:lnTo>
                    <a:pt x="1440" y="1356"/>
                  </a:lnTo>
                  <a:lnTo>
                    <a:pt x="1434" y="1344"/>
                  </a:lnTo>
                  <a:lnTo>
                    <a:pt x="1422" y="1332"/>
                  </a:lnTo>
                  <a:lnTo>
                    <a:pt x="1416" y="1326"/>
                  </a:lnTo>
                  <a:lnTo>
                    <a:pt x="1404" y="1320"/>
                  </a:lnTo>
                  <a:lnTo>
                    <a:pt x="1404" y="1314"/>
                  </a:lnTo>
                  <a:lnTo>
                    <a:pt x="1374" y="1308"/>
                  </a:lnTo>
                  <a:lnTo>
                    <a:pt x="1368" y="1326"/>
                  </a:lnTo>
                  <a:lnTo>
                    <a:pt x="1344" y="1338"/>
                  </a:lnTo>
                  <a:lnTo>
                    <a:pt x="1326" y="1332"/>
                  </a:lnTo>
                  <a:lnTo>
                    <a:pt x="1302" y="1332"/>
                  </a:lnTo>
                  <a:lnTo>
                    <a:pt x="1278" y="1338"/>
                  </a:lnTo>
                  <a:lnTo>
                    <a:pt x="1236" y="1338"/>
                  </a:lnTo>
                  <a:lnTo>
                    <a:pt x="1224" y="1338"/>
                  </a:lnTo>
                  <a:lnTo>
                    <a:pt x="1224" y="1326"/>
                  </a:lnTo>
                  <a:lnTo>
                    <a:pt x="1206" y="1326"/>
                  </a:lnTo>
                  <a:lnTo>
                    <a:pt x="1170" y="1326"/>
                  </a:lnTo>
                  <a:lnTo>
                    <a:pt x="1152" y="1326"/>
                  </a:lnTo>
                  <a:lnTo>
                    <a:pt x="1140" y="1314"/>
                  </a:lnTo>
                  <a:lnTo>
                    <a:pt x="1134" y="1296"/>
                  </a:lnTo>
                  <a:lnTo>
                    <a:pt x="1134" y="1284"/>
                  </a:lnTo>
                  <a:lnTo>
                    <a:pt x="1128" y="1254"/>
                  </a:lnTo>
                  <a:lnTo>
                    <a:pt x="1128" y="1242"/>
                  </a:lnTo>
                  <a:lnTo>
                    <a:pt x="1122" y="1230"/>
                  </a:lnTo>
                  <a:lnTo>
                    <a:pt x="1104" y="1218"/>
                  </a:lnTo>
                  <a:lnTo>
                    <a:pt x="1104" y="1212"/>
                  </a:lnTo>
                  <a:lnTo>
                    <a:pt x="1092" y="1206"/>
                  </a:lnTo>
                  <a:lnTo>
                    <a:pt x="1080" y="1194"/>
                  </a:lnTo>
                  <a:lnTo>
                    <a:pt x="1068" y="1176"/>
                  </a:lnTo>
                  <a:lnTo>
                    <a:pt x="1050" y="1152"/>
                  </a:lnTo>
                  <a:lnTo>
                    <a:pt x="1020" y="1098"/>
                  </a:lnTo>
                  <a:lnTo>
                    <a:pt x="978" y="1026"/>
                  </a:lnTo>
                  <a:lnTo>
                    <a:pt x="978" y="1014"/>
                  </a:lnTo>
                  <a:lnTo>
                    <a:pt x="972" y="1014"/>
                  </a:lnTo>
                  <a:lnTo>
                    <a:pt x="972" y="1008"/>
                  </a:lnTo>
                  <a:lnTo>
                    <a:pt x="978" y="1002"/>
                  </a:lnTo>
                  <a:lnTo>
                    <a:pt x="960" y="966"/>
                  </a:lnTo>
                  <a:lnTo>
                    <a:pt x="948" y="954"/>
                  </a:lnTo>
                  <a:lnTo>
                    <a:pt x="948" y="936"/>
                  </a:lnTo>
                  <a:lnTo>
                    <a:pt x="936" y="900"/>
                  </a:lnTo>
                  <a:lnTo>
                    <a:pt x="942" y="876"/>
                  </a:lnTo>
                  <a:lnTo>
                    <a:pt x="942" y="834"/>
                  </a:lnTo>
                  <a:lnTo>
                    <a:pt x="960" y="828"/>
                  </a:lnTo>
                  <a:lnTo>
                    <a:pt x="966" y="816"/>
                  </a:lnTo>
                  <a:lnTo>
                    <a:pt x="972" y="810"/>
                  </a:lnTo>
                  <a:lnTo>
                    <a:pt x="978" y="804"/>
                  </a:lnTo>
                  <a:lnTo>
                    <a:pt x="996" y="798"/>
                  </a:lnTo>
                  <a:lnTo>
                    <a:pt x="996" y="792"/>
                  </a:lnTo>
                  <a:lnTo>
                    <a:pt x="1014" y="780"/>
                  </a:lnTo>
                  <a:lnTo>
                    <a:pt x="1026" y="768"/>
                  </a:lnTo>
                  <a:lnTo>
                    <a:pt x="1032" y="762"/>
                  </a:lnTo>
                  <a:lnTo>
                    <a:pt x="1026" y="756"/>
                  </a:lnTo>
                  <a:lnTo>
                    <a:pt x="1014" y="744"/>
                  </a:lnTo>
                  <a:lnTo>
                    <a:pt x="996" y="756"/>
                  </a:lnTo>
                  <a:lnTo>
                    <a:pt x="954" y="768"/>
                  </a:lnTo>
                  <a:lnTo>
                    <a:pt x="942" y="762"/>
                  </a:lnTo>
                  <a:lnTo>
                    <a:pt x="942" y="756"/>
                  </a:lnTo>
                  <a:lnTo>
                    <a:pt x="936" y="750"/>
                  </a:lnTo>
                  <a:lnTo>
                    <a:pt x="846" y="732"/>
                  </a:lnTo>
                  <a:lnTo>
                    <a:pt x="822" y="726"/>
                  </a:lnTo>
                  <a:lnTo>
                    <a:pt x="810" y="714"/>
                  </a:lnTo>
                  <a:lnTo>
                    <a:pt x="792" y="690"/>
                  </a:lnTo>
                  <a:lnTo>
                    <a:pt x="792" y="678"/>
                  </a:lnTo>
                  <a:lnTo>
                    <a:pt x="762" y="642"/>
                  </a:lnTo>
                  <a:lnTo>
                    <a:pt x="750" y="636"/>
                  </a:lnTo>
                  <a:lnTo>
                    <a:pt x="726" y="630"/>
                  </a:lnTo>
                  <a:lnTo>
                    <a:pt x="696" y="642"/>
                  </a:lnTo>
                  <a:lnTo>
                    <a:pt x="678" y="654"/>
                  </a:lnTo>
                  <a:lnTo>
                    <a:pt x="666" y="684"/>
                  </a:lnTo>
                  <a:lnTo>
                    <a:pt x="660" y="726"/>
                  </a:lnTo>
                  <a:lnTo>
                    <a:pt x="606" y="756"/>
                  </a:lnTo>
                  <a:lnTo>
                    <a:pt x="558" y="780"/>
                  </a:lnTo>
                  <a:lnTo>
                    <a:pt x="438" y="834"/>
                  </a:lnTo>
                  <a:lnTo>
                    <a:pt x="402" y="846"/>
                  </a:lnTo>
                  <a:lnTo>
                    <a:pt x="372" y="870"/>
                  </a:lnTo>
                  <a:lnTo>
                    <a:pt x="360" y="876"/>
                  </a:lnTo>
                  <a:lnTo>
                    <a:pt x="354" y="876"/>
                  </a:lnTo>
                  <a:lnTo>
                    <a:pt x="330" y="882"/>
                  </a:lnTo>
                  <a:lnTo>
                    <a:pt x="306" y="882"/>
                  </a:lnTo>
                  <a:lnTo>
                    <a:pt x="300" y="876"/>
                  </a:lnTo>
                  <a:lnTo>
                    <a:pt x="294" y="876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76" y="864"/>
                  </a:lnTo>
                  <a:lnTo>
                    <a:pt x="270" y="870"/>
                  </a:lnTo>
                  <a:lnTo>
                    <a:pt x="264" y="870"/>
                  </a:lnTo>
                  <a:lnTo>
                    <a:pt x="240" y="894"/>
                  </a:lnTo>
                  <a:lnTo>
                    <a:pt x="234" y="894"/>
                  </a:lnTo>
                  <a:lnTo>
                    <a:pt x="228" y="900"/>
                  </a:lnTo>
                  <a:lnTo>
                    <a:pt x="222" y="906"/>
                  </a:lnTo>
                  <a:lnTo>
                    <a:pt x="210" y="912"/>
                  </a:lnTo>
                  <a:lnTo>
                    <a:pt x="204" y="912"/>
                  </a:lnTo>
                  <a:lnTo>
                    <a:pt x="198" y="912"/>
                  </a:lnTo>
                  <a:lnTo>
                    <a:pt x="192" y="918"/>
                  </a:lnTo>
                  <a:lnTo>
                    <a:pt x="180" y="918"/>
                  </a:lnTo>
                  <a:lnTo>
                    <a:pt x="174" y="930"/>
                  </a:lnTo>
                  <a:lnTo>
                    <a:pt x="174" y="936"/>
                  </a:lnTo>
                  <a:lnTo>
                    <a:pt x="168" y="942"/>
                  </a:lnTo>
                  <a:lnTo>
                    <a:pt x="162" y="942"/>
                  </a:lnTo>
                  <a:lnTo>
                    <a:pt x="150" y="960"/>
                  </a:lnTo>
                  <a:lnTo>
                    <a:pt x="144" y="966"/>
                  </a:lnTo>
                  <a:lnTo>
                    <a:pt x="138" y="972"/>
                  </a:lnTo>
                  <a:lnTo>
                    <a:pt x="132" y="972"/>
                  </a:lnTo>
                  <a:lnTo>
                    <a:pt x="126" y="984"/>
                  </a:lnTo>
                  <a:lnTo>
                    <a:pt x="120" y="984"/>
                  </a:lnTo>
                  <a:lnTo>
                    <a:pt x="114" y="990"/>
                  </a:lnTo>
                  <a:lnTo>
                    <a:pt x="96" y="990"/>
                  </a:lnTo>
                  <a:lnTo>
                    <a:pt x="90" y="990"/>
                  </a:lnTo>
                  <a:lnTo>
                    <a:pt x="78" y="990"/>
                  </a:lnTo>
                  <a:lnTo>
                    <a:pt x="72" y="990"/>
                  </a:lnTo>
                  <a:lnTo>
                    <a:pt x="60" y="990"/>
                  </a:lnTo>
                  <a:lnTo>
                    <a:pt x="42" y="990"/>
                  </a:lnTo>
                  <a:lnTo>
                    <a:pt x="36" y="996"/>
                  </a:lnTo>
                  <a:lnTo>
                    <a:pt x="30" y="1002"/>
                  </a:lnTo>
                  <a:lnTo>
                    <a:pt x="24" y="1014"/>
                  </a:lnTo>
                  <a:lnTo>
                    <a:pt x="24" y="1020"/>
                  </a:lnTo>
                  <a:lnTo>
                    <a:pt x="18" y="1020"/>
                  </a:lnTo>
                  <a:lnTo>
                    <a:pt x="12" y="1014"/>
                  </a:lnTo>
                  <a:lnTo>
                    <a:pt x="12" y="1008"/>
                  </a:lnTo>
                  <a:lnTo>
                    <a:pt x="12" y="990"/>
                  </a:lnTo>
                  <a:lnTo>
                    <a:pt x="12" y="984"/>
                  </a:lnTo>
                  <a:lnTo>
                    <a:pt x="12" y="972"/>
                  </a:lnTo>
                  <a:lnTo>
                    <a:pt x="12" y="966"/>
                  </a:lnTo>
                  <a:lnTo>
                    <a:pt x="6" y="966"/>
                  </a:lnTo>
                  <a:lnTo>
                    <a:pt x="6" y="960"/>
                  </a:lnTo>
                  <a:lnTo>
                    <a:pt x="6" y="954"/>
                  </a:lnTo>
                  <a:lnTo>
                    <a:pt x="6" y="948"/>
                  </a:lnTo>
                  <a:lnTo>
                    <a:pt x="6" y="942"/>
                  </a:lnTo>
                  <a:lnTo>
                    <a:pt x="12" y="930"/>
                  </a:lnTo>
                  <a:lnTo>
                    <a:pt x="6" y="924"/>
                  </a:lnTo>
                  <a:lnTo>
                    <a:pt x="6" y="918"/>
                  </a:lnTo>
                  <a:lnTo>
                    <a:pt x="6" y="912"/>
                  </a:lnTo>
                  <a:lnTo>
                    <a:pt x="6" y="906"/>
                  </a:lnTo>
                  <a:lnTo>
                    <a:pt x="6" y="900"/>
                  </a:lnTo>
                  <a:lnTo>
                    <a:pt x="0" y="894"/>
                  </a:lnTo>
                  <a:lnTo>
                    <a:pt x="0" y="888"/>
                  </a:lnTo>
                  <a:lnTo>
                    <a:pt x="0" y="882"/>
                  </a:lnTo>
                  <a:lnTo>
                    <a:pt x="6" y="876"/>
                  </a:lnTo>
                  <a:lnTo>
                    <a:pt x="6" y="870"/>
                  </a:lnTo>
                  <a:lnTo>
                    <a:pt x="18" y="864"/>
                  </a:lnTo>
                  <a:lnTo>
                    <a:pt x="18" y="858"/>
                  </a:lnTo>
                  <a:lnTo>
                    <a:pt x="18" y="846"/>
                  </a:lnTo>
                  <a:lnTo>
                    <a:pt x="18" y="834"/>
                  </a:lnTo>
                  <a:lnTo>
                    <a:pt x="18" y="828"/>
                  </a:lnTo>
                  <a:lnTo>
                    <a:pt x="24" y="828"/>
                  </a:lnTo>
                  <a:lnTo>
                    <a:pt x="24" y="810"/>
                  </a:lnTo>
                  <a:lnTo>
                    <a:pt x="24" y="804"/>
                  </a:lnTo>
                  <a:lnTo>
                    <a:pt x="18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24" y="792"/>
                  </a:lnTo>
                  <a:lnTo>
                    <a:pt x="30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6" y="762"/>
                  </a:lnTo>
                  <a:lnTo>
                    <a:pt x="36" y="756"/>
                  </a:lnTo>
                  <a:lnTo>
                    <a:pt x="30" y="756"/>
                  </a:lnTo>
                  <a:lnTo>
                    <a:pt x="30" y="750"/>
                  </a:lnTo>
                  <a:lnTo>
                    <a:pt x="36" y="750"/>
                  </a:lnTo>
                  <a:lnTo>
                    <a:pt x="36" y="744"/>
                  </a:lnTo>
                  <a:lnTo>
                    <a:pt x="30" y="744"/>
                  </a:lnTo>
                  <a:lnTo>
                    <a:pt x="30" y="738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0" y="732"/>
                  </a:lnTo>
                  <a:lnTo>
                    <a:pt x="36" y="726"/>
                  </a:lnTo>
                  <a:lnTo>
                    <a:pt x="30" y="726"/>
                  </a:lnTo>
                  <a:lnTo>
                    <a:pt x="24" y="726"/>
                  </a:lnTo>
                  <a:lnTo>
                    <a:pt x="30" y="720"/>
                  </a:lnTo>
                  <a:lnTo>
                    <a:pt x="30" y="714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696"/>
                  </a:lnTo>
                  <a:lnTo>
                    <a:pt x="66" y="702"/>
                  </a:lnTo>
                  <a:lnTo>
                    <a:pt x="78" y="702"/>
                  </a:lnTo>
                  <a:lnTo>
                    <a:pt x="84" y="702"/>
                  </a:lnTo>
                  <a:lnTo>
                    <a:pt x="96" y="696"/>
                  </a:lnTo>
                  <a:lnTo>
                    <a:pt x="102" y="690"/>
                  </a:lnTo>
                  <a:lnTo>
                    <a:pt x="102" y="684"/>
                  </a:lnTo>
                  <a:lnTo>
                    <a:pt x="114" y="684"/>
                  </a:lnTo>
                  <a:lnTo>
                    <a:pt x="144" y="684"/>
                  </a:lnTo>
                  <a:lnTo>
                    <a:pt x="150" y="690"/>
                  </a:lnTo>
                  <a:lnTo>
                    <a:pt x="162" y="696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6" y="690"/>
                  </a:lnTo>
                  <a:lnTo>
                    <a:pt x="192" y="690"/>
                  </a:lnTo>
                  <a:lnTo>
                    <a:pt x="198" y="684"/>
                  </a:lnTo>
                  <a:lnTo>
                    <a:pt x="204" y="684"/>
                  </a:lnTo>
                  <a:lnTo>
                    <a:pt x="210" y="684"/>
                  </a:lnTo>
                  <a:lnTo>
                    <a:pt x="222" y="678"/>
                  </a:lnTo>
                  <a:lnTo>
                    <a:pt x="228" y="678"/>
                  </a:lnTo>
                  <a:lnTo>
                    <a:pt x="228" y="660"/>
                  </a:lnTo>
                  <a:lnTo>
                    <a:pt x="234" y="642"/>
                  </a:lnTo>
                  <a:lnTo>
                    <a:pt x="246" y="618"/>
                  </a:lnTo>
                  <a:lnTo>
                    <a:pt x="252" y="618"/>
                  </a:lnTo>
                  <a:lnTo>
                    <a:pt x="252" y="600"/>
                  </a:lnTo>
                  <a:lnTo>
                    <a:pt x="252" y="588"/>
                  </a:lnTo>
                  <a:lnTo>
                    <a:pt x="252" y="582"/>
                  </a:lnTo>
                  <a:lnTo>
                    <a:pt x="258" y="576"/>
                  </a:lnTo>
                  <a:lnTo>
                    <a:pt x="270" y="564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70" y="522"/>
                  </a:lnTo>
                  <a:lnTo>
                    <a:pt x="270" y="510"/>
                  </a:lnTo>
                  <a:lnTo>
                    <a:pt x="270" y="498"/>
                  </a:lnTo>
                  <a:lnTo>
                    <a:pt x="258" y="468"/>
                  </a:lnTo>
                  <a:lnTo>
                    <a:pt x="252" y="456"/>
                  </a:lnTo>
                  <a:lnTo>
                    <a:pt x="258" y="444"/>
                  </a:lnTo>
                  <a:lnTo>
                    <a:pt x="264" y="432"/>
                  </a:lnTo>
                  <a:lnTo>
                    <a:pt x="270" y="426"/>
                  </a:lnTo>
                  <a:lnTo>
                    <a:pt x="276" y="420"/>
                  </a:lnTo>
                  <a:lnTo>
                    <a:pt x="288" y="420"/>
                  </a:lnTo>
                  <a:lnTo>
                    <a:pt x="288" y="414"/>
                  </a:lnTo>
                  <a:lnTo>
                    <a:pt x="294" y="414"/>
                  </a:lnTo>
                  <a:lnTo>
                    <a:pt x="306" y="390"/>
                  </a:lnTo>
                  <a:lnTo>
                    <a:pt x="312" y="384"/>
                  </a:lnTo>
                  <a:lnTo>
                    <a:pt x="318" y="378"/>
                  </a:lnTo>
                  <a:lnTo>
                    <a:pt x="318" y="372"/>
                  </a:lnTo>
                  <a:lnTo>
                    <a:pt x="324" y="366"/>
                  </a:lnTo>
                  <a:lnTo>
                    <a:pt x="330" y="354"/>
                  </a:lnTo>
                  <a:lnTo>
                    <a:pt x="336" y="348"/>
                  </a:lnTo>
                  <a:lnTo>
                    <a:pt x="336" y="330"/>
                  </a:lnTo>
                  <a:lnTo>
                    <a:pt x="342" y="324"/>
                  </a:lnTo>
                  <a:lnTo>
                    <a:pt x="342" y="318"/>
                  </a:lnTo>
                  <a:lnTo>
                    <a:pt x="348" y="318"/>
                  </a:lnTo>
                  <a:lnTo>
                    <a:pt x="360" y="318"/>
                  </a:lnTo>
                  <a:lnTo>
                    <a:pt x="372" y="318"/>
                  </a:lnTo>
                  <a:lnTo>
                    <a:pt x="384" y="306"/>
                  </a:lnTo>
                  <a:lnTo>
                    <a:pt x="396" y="300"/>
                  </a:lnTo>
                  <a:lnTo>
                    <a:pt x="396" y="294"/>
                  </a:lnTo>
                  <a:lnTo>
                    <a:pt x="396" y="288"/>
                  </a:lnTo>
                  <a:lnTo>
                    <a:pt x="390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2"/>
                  </a:lnTo>
                  <a:lnTo>
                    <a:pt x="378" y="246"/>
                  </a:lnTo>
                  <a:lnTo>
                    <a:pt x="384" y="228"/>
                  </a:lnTo>
                  <a:lnTo>
                    <a:pt x="390" y="216"/>
                  </a:lnTo>
                  <a:lnTo>
                    <a:pt x="402" y="210"/>
                  </a:lnTo>
                  <a:lnTo>
                    <a:pt x="408" y="210"/>
                  </a:lnTo>
                  <a:lnTo>
                    <a:pt x="420" y="204"/>
                  </a:lnTo>
                  <a:lnTo>
                    <a:pt x="444" y="198"/>
                  </a:lnTo>
                  <a:lnTo>
                    <a:pt x="462" y="192"/>
                  </a:lnTo>
                  <a:lnTo>
                    <a:pt x="474" y="186"/>
                  </a:lnTo>
                  <a:lnTo>
                    <a:pt x="480" y="192"/>
                  </a:lnTo>
                  <a:lnTo>
                    <a:pt x="492" y="192"/>
                  </a:lnTo>
                  <a:lnTo>
                    <a:pt x="498" y="192"/>
                  </a:lnTo>
                  <a:lnTo>
                    <a:pt x="504" y="192"/>
                  </a:lnTo>
                  <a:lnTo>
                    <a:pt x="510" y="192"/>
                  </a:lnTo>
                  <a:lnTo>
                    <a:pt x="516" y="186"/>
                  </a:lnTo>
                  <a:lnTo>
                    <a:pt x="522" y="180"/>
                  </a:lnTo>
                  <a:lnTo>
                    <a:pt x="522" y="174"/>
                  </a:lnTo>
                  <a:lnTo>
                    <a:pt x="528" y="168"/>
                  </a:lnTo>
                  <a:lnTo>
                    <a:pt x="534" y="168"/>
                  </a:lnTo>
                  <a:lnTo>
                    <a:pt x="534" y="156"/>
                  </a:lnTo>
                  <a:lnTo>
                    <a:pt x="534" y="150"/>
                  </a:lnTo>
                  <a:lnTo>
                    <a:pt x="552" y="138"/>
                  </a:lnTo>
                  <a:lnTo>
                    <a:pt x="558" y="126"/>
                  </a:lnTo>
                  <a:lnTo>
                    <a:pt x="558" y="114"/>
                  </a:lnTo>
                  <a:lnTo>
                    <a:pt x="564" y="102"/>
                  </a:lnTo>
                  <a:lnTo>
                    <a:pt x="564" y="96"/>
                  </a:lnTo>
                  <a:lnTo>
                    <a:pt x="564" y="90"/>
                  </a:lnTo>
                  <a:lnTo>
                    <a:pt x="564" y="72"/>
                  </a:lnTo>
                  <a:lnTo>
                    <a:pt x="564" y="60"/>
                  </a:lnTo>
                  <a:lnTo>
                    <a:pt x="564" y="54"/>
                  </a:lnTo>
                  <a:lnTo>
                    <a:pt x="570" y="42"/>
                  </a:lnTo>
                  <a:lnTo>
                    <a:pt x="576" y="42"/>
                  </a:lnTo>
                  <a:lnTo>
                    <a:pt x="582" y="36"/>
                  </a:lnTo>
                  <a:lnTo>
                    <a:pt x="594" y="36"/>
                  </a:lnTo>
                  <a:lnTo>
                    <a:pt x="594" y="30"/>
                  </a:lnTo>
                  <a:lnTo>
                    <a:pt x="600" y="24"/>
                  </a:lnTo>
                  <a:lnTo>
                    <a:pt x="600" y="12"/>
                  </a:lnTo>
                  <a:lnTo>
                    <a:pt x="606" y="6"/>
                  </a:lnTo>
                  <a:lnTo>
                    <a:pt x="606" y="0"/>
                  </a:lnTo>
                  <a:lnTo>
                    <a:pt x="612" y="0"/>
                  </a:lnTo>
                  <a:lnTo>
                    <a:pt x="618" y="0"/>
                  </a:lnTo>
                  <a:lnTo>
                    <a:pt x="624" y="6"/>
                  </a:lnTo>
                  <a:lnTo>
                    <a:pt x="624" y="12"/>
                  </a:lnTo>
                  <a:lnTo>
                    <a:pt x="624" y="18"/>
                  </a:lnTo>
                  <a:lnTo>
                    <a:pt x="624" y="24"/>
                  </a:lnTo>
                  <a:lnTo>
                    <a:pt x="624" y="30"/>
                  </a:lnTo>
                  <a:lnTo>
                    <a:pt x="630" y="30"/>
                  </a:lnTo>
                  <a:lnTo>
                    <a:pt x="630" y="36"/>
                  </a:lnTo>
                  <a:lnTo>
                    <a:pt x="630" y="42"/>
                  </a:lnTo>
                  <a:lnTo>
                    <a:pt x="630" y="48"/>
                  </a:lnTo>
                  <a:lnTo>
                    <a:pt x="636" y="54"/>
                  </a:lnTo>
                  <a:lnTo>
                    <a:pt x="642" y="48"/>
                  </a:lnTo>
                  <a:lnTo>
                    <a:pt x="648" y="48"/>
                  </a:lnTo>
                  <a:lnTo>
                    <a:pt x="648" y="60"/>
                  </a:lnTo>
                  <a:lnTo>
                    <a:pt x="654" y="66"/>
                  </a:lnTo>
                  <a:lnTo>
                    <a:pt x="660" y="72"/>
                  </a:lnTo>
                  <a:lnTo>
                    <a:pt x="666" y="72"/>
                  </a:lnTo>
                  <a:lnTo>
                    <a:pt x="666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72" y="66"/>
                  </a:lnTo>
                  <a:lnTo>
                    <a:pt x="678" y="66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6" y="66"/>
                  </a:lnTo>
                  <a:lnTo>
                    <a:pt x="696" y="72"/>
                  </a:lnTo>
                  <a:lnTo>
                    <a:pt x="702" y="72"/>
                  </a:lnTo>
                  <a:lnTo>
                    <a:pt x="708" y="72"/>
                  </a:lnTo>
                  <a:lnTo>
                    <a:pt x="720" y="66"/>
                  </a:lnTo>
                  <a:lnTo>
                    <a:pt x="726" y="78"/>
                  </a:lnTo>
                  <a:lnTo>
                    <a:pt x="744" y="84"/>
                  </a:lnTo>
                  <a:lnTo>
                    <a:pt x="744" y="90"/>
                  </a:lnTo>
                  <a:lnTo>
                    <a:pt x="744" y="96"/>
                  </a:lnTo>
                  <a:lnTo>
                    <a:pt x="738" y="96"/>
                  </a:lnTo>
                  <a:lnTo>
                    <a:pt x="738" y="102"/>
                  </a:lnTo>
                  <a:lnTo>
                    <a:pt x="732" y="102"/>
                  </a:lnTo>
                  <a:lnTo>
                    <a:pt x="732" y="108"/>
                  </a:lnTo>
                  <a:lnTo>
                    <a:pt x="738" y="108"/>
                  </a:lnTo>
                  <a:lnTo>
                    <a:pt x="744" y="114"/>
                  </a:lnTo>
                  <a:lnTo>
                    <a:pt x="750" y="108"/>
                  </a:lnTo>
                  <a:lnTo>
                    <a:pt x="756" y="108"/>
                  </a:lnTo>
                  <a:lnTo>
                    <a:pt x="762" y="108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80" y="120"/>
                  </a:lnTo>
                  <a:lnTo>
                    <a:pt x="774" y="120"/>
                  </a:lnTo>
                  <a:lnTo>
                    <a:pt x="768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74" y="138"/>
                  </a:lnTo>
                  <a:lnTo>
                    <a:pt x="774" y="132"/>
                  </a:lnTo>
                  <a:lnTo>
                    <a:pt x="780" y="132"/>
                  </a:lnTo>
                  <a:lnTo>
                    <a:pt x="786" y="132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44"/>
                  </a:lnTo>
                  <a:lnTo>
                    <a:pt x="786" y="150"/>
                  </a:lnTo>
                  <a:lnTo>
                    <a:pt x="780" y="150"/>
                  </a:lnTo>
                  <a:lnTo>
                    <a:pt x="774" y="150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74" y="162"/>
                  </a:lnTo>
                  <a:lnTo>
                    <a:pt x="780" y="162"/>
                  </a:lnTo>
                  <a:lnTo>
                    <a:pt x="786" y="168"/>
                  </a:lnTo>
                  <a:lnTo>
                    <a:pt x="792" y="162"/>
                  </a:lnTo>
                  <a:lnTo>
                    <a:pt x="798" y="168"/>
                  </a:lnTo>
                  <a:lnTo>
                    <a:pt x="798" y="174"/>
                  </a:lnTo>
                  <a:lnTo>
                    <a:pt x="804" y="168"/>
                  </a:lnTo>
                  <a:lnTo>
                    <a:pt x="810" y="168"/>
                  </a:lnTo>
                  <a:lnTo>
                    <a:pt x="810" y="174"/>
                  </a:lnTo>
                  <a:lnTo>
                    <a:pt x="816" y="168"/>
                  </a:lnTo>
                  <a:lnTo>
                    <a:pt x="822" y="162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74"/>
                  </a:lnTo>
                  <a:lnTo>
                    <a:pt x="834" y="192"/>
                  </a:lnTo>
                  <a:lnTo>
                    <a:pt x="834" y="198"/>
                  </a:lnTo>
                  <a:lnTo>
                    <a:pt x="840" y="192"/>
                  </a:lnTo>
                  <a:lnTo>
                    <a:pt x="846" y="192"/>
                  </a:lnTo>
                  <a:lnTo>
                    <a:pt x="852" y="186"/>
                  </a:lnTo>
                  <a:lnTo>
                    <a:pt x="858" y="192"/>
                  </a:lnTo>
                  <a:lnTo>
                    <a:pt x="864" y="192"/>
                  </a:lnTo>
                  <a:lnTo>
                    <a:pt x="870" y="198"/>
                  </a:lnTo>
                  <a:lnTo>
                    <a:pt x="876" y="180"/>
                  </a:lnTo>
                  <a:lnTo>
                    <a:pt x="882" y="180"/>
                  </a:lnTo>
                  <a:lnTo>
                    <a:pt x="888" y="180"/>
                  </a:lnTo>
                  <a:lnTo>
                    <a:pt x="894" y="186"/>
                  </a:lnTo>
                  <a:lnTo>
                    <a:pt x="888" y="198"/>
                  </a:lnTo>
                  <a:lnTo>
                    <a:pt x="894" y="204"/>
                  </a:lnTo>
                  <a:lnTo>
                    <a:pt x="906" y="210"/>
                  </a:lnTo>
                  <a:lnTo>
                    <a:pt x="918" y="246"/>
                  </a:lnTo>
                  <a:lnTo>
                    <a:pt x="930" y="258"/>
                  </a:lnTo>
                  <a:lnTo>
                    <a:pt x="942" y="282"/>
                  </a:lnTo>
                  <a:lnTo>
                    <a:pt x="966" y="288"/>
                  </a:lnTo>
                  <a:lnTo>
                    <a:pt x="972" y="300"/>
                  </a:lnTo>
                  <a:lnTo>
                    <a:pt x="972" y="318"/>
                  </a:lnTo>
                  <a:lnTo>
                    <a:pt x="996" y="336"/>
                  </a:lnTo>
                  <a:lnTo>
                    <a:pt x="1050" y="390"/>
                  </a:lnTo>
                  <a:lnTo>
                    <a:pt x="1116" y="462"/>
                  </a:lnTo>
                  <a:lnTo>
                    <a:pt x="1122" y="468"/>
                  </a:lnTo>
                  <a:lnTo>
                    <a:pt x="1128" y="474"/>
                  </a:lnTo>
                  <a:lnTo>
                    <a:pt x="1140" y="474"/>
                  </a:lnTo>
                  <a:lnTo>
                    <a:pt x="1152" y="486"/>
                  </a:lnTo>
                  <a:lnTo>
                    <a:pt x="1152" y="492"/>
                  </a:lnTo>
                  <a:lnTo>
                    <a:pt x="1158" y="492"/>
                  </a:lnTo>
                  <a:lnTo>
                    <a:pt x="1164" y="492"/>
                  </a:lnTo>
                  <a:lnTo>
                    <a:pt x="1170" y="504"/>
                  </a:lnTo>
                  <a:lnTo>
                    <a:pt x="1176" y="504"/>
                  </a:lnTo>
                  <a:lnTo>
                    <a:pt x="1176" y="510"/>
                  </a:lnTo>
                  <a:lnTo>
                    <a:pt x="1200" y="516"/>
                  </a:lnTo>
                  <a:lnTo>
                    <a:pt x="1200" y="522"/>
                  </a:lnTo>
                  <a:lnTo>
                    <a:pt x="1212" y="534"/>
                  </a:lnTo>
                  <a:lnTo>
                    <a:pt x="1218" y="540"/>
                  </a:lnTo>
                  <a:lnTo>
                    <a:pt x="1224" y="552"/>
                  </a:lnTo>
                  <a:lnTo>
                    <a:pt x="1230" y="552"/>
                  </a:lnTo>
                  <a:lnTo>
                    <a:pt x="1242" y="552"/>
                  </a:lnTo>
                  <a:lnTo>
                    <a:pt x="1248" y="558"/>
                  </a:lnTo>
                  <a:lnTo>
                    <a:pt x="1254" y="558"/>
                  </a:lnTo>
                  <a:lnTo>
                    <a:pt x="1260" y="564"/>
                  </a:lnTo>
                  <a:lnTo>
                    <a:pt x="1266" y="564"/>
                  </a:lnTo>
                  <a:lnTo>
                    <a:pt x="1272" y="564"/>
                  </a:lnTo>
                  <a:lnTo>
                    <a:pt x="1284" y="564"/>
                  </a:lnTo>
                  <a:lnTo>
                    <a:pt x="1290" y="570"/>
                  </a:lnTo>
                  <a:lnTo>
                    <a:pt x="1296" y="576"/>
                  </a:lnTo>
                  <a:lnTo>
                    <a:pt x="1302" y="588"/>
                  </a:lnTo>
                  <a:lnTo>
                    <a:pt x="1296" y="594"/>
                  </a:lnTo>
                  <a:lnTo>
                    <a:pt x="1296" y="600"/>
                  </a:lnTo>
                  <a:lnTo>
                    <a:pt x="1296" y="606"/>
                  </a:lnTo>
                  <a:lnTo>
                    <a:pt x="1290" y="612"/>
                  </a:lnTo>
                  <a:lnTo>
                    <a:pt x="1290" y="624"/>
                  </a:lnTo>
                  <a:lnTo>
                    <a:pt x="1290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308" y="654"/>
                  </a:lnTo>
                  <a:lnTo>
                    <a:pt x="1320" y="654"/>
                  </a:lnTo>
                  <a:lnTo>
                    <a:pt x="1326" y="660"/>
                  </a:lnTo>
                  <a:lnTo>
                    <a:pt x="1338" y="654"/>
                  </a:lnTo>
                  <a:lnTo>
                    <a:pt x="1344" y="654"/>
                  </a:lnTo>
                  <a:lnTo>
                    <a:pt x="1356" y="654"/>
                  </a:lnTo>
                  <a:lnTo>
                    <a:pt x="1362" y="648"/>
                  </a:lnTo>
                  <a:lnTo>
                    <a:pt x="1368" y="642"/>
                  </a:lnTo>
                  <a:lnTo>
                    <a:pt x="1374" y="636"/>
                  </a:lnTo>
                  <a:lnTo>
                    <a:pt x="1380" y="636"/>
                  </a:lnTo>
                  <a:lnTo>
                    <a:pt x="1392" y="636"/>
                  </a:lnTo>
                  <a:lnTo>
                    <a:pt x="1398" y="636"/>
                  </a:lnTo>
                  <a:lnTo>
                    <a:pt x="1404" y="636"/>
                  </a:lnTo>
                  <a:lnTo>
                    <a:pt x="1410" y="630"/>
                  </a:lnTo>
                  <a:lnTo>
                    <a:pt x="1410" y="624"/>
                  </a:lnTo>
                  <a:lnTo>
                    <a:pt x="1422" y="618"/>
                  </a:lnTo>
                  <a:lnTo>
                    <a:pt x="1428" y="618"/>
                  </a:lnTo>
                  <a:lnTo>
                    <a:pt x="1440" y="612"/>
                  </a:lnTo>
                  <a:lnTo>
                    <a:pt x="1446" y="612"/>
                  </a:lnTo>
                  <a:lnTo>
                    <a:pt x="1458" y="612"/>
                  </a:lnTo>
                  <a:lnTo>
                    <a:pt x="1470" y="624"/>
                  </a:lnTo>
                  <a:lnTo>
                    <a:pt x="1488" y="642"/>
                  </a:lnTo>
                  <a:lnTo>
                    <a:pt x="1500" y="648"/>
                  </a:lnTo>
                  <a:lnTo>
                    <a:pt x="1512" y="654"/>
                  </a:lnTo>
                  <a:lnTo>
                    <a:pt x="1518" y="660"/>
                  </a:lnTo>
                  <a:lnTo>
                    <a:pt x="1524" y="660"/>
                  </a:lnTo>
                  <a:lnTo>
                    <a:pt x="1530" y="660"/>
                  </a:lnTo>
                  <a:lnTo>
                    <a:pt x="1536" y="666"/>
                  </a:lnTo>
                  <a:lnTo>
                    <a:pt x="1542" y="672"/>
                  </a:lnTo>
                  <a:lnTo>
                    <a:pt x="1548" y="672"/>
                  </a:lnTo>
                  <a:lnTo>
                    <a:pt x="1554" y="684"/>
                  </a:lnTo>
                  <a:lnTo>
                    <a:pt x="1554" y="690"/>
                  </a:lnTo>
                  <a:lnTo>
                    <a:pt x="1566" y="702"/>
                  </a:lnTo>
                  <a:lnTo>
                    <a:pt x="1572" y="720"/>
                  </a:lnTo>
                  <a:lnTo>
                    <a:pt x="1572" y="726"/>
                  </a:lnTo>
                  <a:lnTo>
                    <a:pt x="1578" y="732"/>
                  </a:lnTo>
                  <a:lnTo>
                    <a:pt x="1584" y="738"/>
                  </a:lnTo>
                  <a:lnTo>
                    <a:pt x="1590" y="738"/>
                  </a:lnTo>
                  <a:lnTo>
                    <a:pt x="1596" y="738"/>
                  </a:lnTo>
                  <a:lnTo>
                    <a:pt x="1602" y="744"/>
                  </a:lnTo>
                  <a:lnTo>
                    <a:pt x="1608" y="744"/>
                  </a:lnTo>
                  <a:lnTo>
                    <a:pt x="1614" y="744"/>
                  </a:lnTo>
                  <a:lnTo>
                    <a:pt x="1626" y="744"/>
                  </a:lnTo>
                  <a:lnTo>
                    <a:pt x="1638" y="744"/>
                  </a:lnTo>
                  <a:lnTo>
                    <a:pt x="1650" y="744"/>
                  </a:lnTo>
                  <a:lnTo>
                    <a:pt x="1662" y="744"/>
                  </a:lnTo>
                  <a:lnTo>
                    <a:pt x="1668" y="744"/>
                  </a:lnTo>
                  <a:lnTo>
                    <a:pt x="1674" y="744"/>
                  </a:lnTo>
                  <a:lnTo>
                    <a:pt x="1686" y="744"/>
                  </a:lnTo>
                  <a:lnTo>
                    <a:pt x="1698" y="750"/>
                  </a:lnTo>
                  <a:lnTo>
                    <a:pt x="1704" y="750"/>
                  </a:lnTo>
                  <a:lnTo>
                    <a:pt x="1716" y="756"/>
                  </a:lnTo>
                  <a:lnTo>
                    <a:pt x="1722" y="756"/>
                  </a:lnTo>
                  <a:lnTo>
                    <a:pt x="1728" y="756"/>
                  </a:lnTo>
                  <a:lnTo>
                    <a:pt x="1734" y="762"/>
                  </a:lnTo>
                  <a:lnTo>
                    <a:pt x="1740" y="768"/>
                  </a:lnTo>
                  <a:lnTo>
                    <a:pt x="1758" y="780"/>
                  </a:lnTo>
                  <a:lnTo>
                    <a:pt x="1770" y="780"/>
                  </a:lnTo>
                  <a:lnTo>
                    <a:pt x="1776" y="780"/>
                  </a:lnTo>
                  <a:lnTo>
                    <a:pt x="1782" y="780"/>
                  </a:lnTo>
                  <a:lnTo>
                    <a:pt x="1800" y="798"/>
                  </a:lnTo>
                  <a:lnTo>
                    <a:pt x="1818" y="810"/>
                  </a:lnTo>
                  <a:lnTo>
                    <a:pt x="1830" y="816"/>
                  </a:lnTo>
                  <a:lnTo>
                    <a:pt x="1836" y="822"/>
                  </a:lnTo>
                  <a:lnTo>
                    <a:pt x="1836" y="828"/>
                  </a:lnTo>
                  <a:lnTo>
                    <a:pt x="1842" y="828"/>
                  </a:lnTo>
                  <a:lnTo>
                    <a:pt x="1848" y="834"/>
                  </a:lnTo>
                  <a:lnTo>
                    <a:pt x="1854" y="840"/>
                  </a:lnTo>
                  <a:lnTo>
                    <a:pt x="1860" y="846"/>
                  </a:lnTo>
                  <a:lnTo>
                    <a:pt x="1872" y="852"/>
                  </a:lnTo>
                  <a:lnTo>
                    <a:pt x="1884" y="852"/>
                  </a:lnTo>
                  <a:lnTo>
                    <a:pt x="1896" y="852"/>
                  </a:lnTo>
                  <a:lnTo>
                    <a:pt x="1902" y="846"/>
                  </a:lnTo>
                  <a:lnTo>
                    <a:pt x="1908" y="852"/>
                  </a:lnTo>
                  <a:lnTo>
                    <a:pt x="1920" y="858"/>
                  </a:lnTo>
                  <a:lnTo>
                    <a:pt x="1926" y="870"/>
                  </a:lnTo>
                  <a:lnTo>
                    <a:pt x="1938" y="888"/>
                  </a:lnTo>
                  <a:lnTo>
                    <a:pt x="1944" y="900"/>
                  </a:lnTo>
                  <a:lnTo>
                    <a:pt x="1950" y="900"/>
                  </a:lnTo>
                  <a:lnTo>
                    <a:pt x="1962" y="906"/>
                  </a:lnTo>
                  <a:lnTo>
                    <a:pt x="1968" y="906"/>
                  </a:lnTo>
                  <a:lnTo>
                    <a:pt x="1980" y="906"/>
                  </a:lnTo>
                  <a:lnTo>
                    <a:pt x="1998" y="906"/>
                  </a:lnTo>
                  <a:lnTo>
                    <a:pt x="2010" y="900"/>
                  </a:lnTo>
                  <a:lnTo>
                    <a:pt x="2022" y="900"/>
                  </a:lnTo>
                  <a:lnTo>
                    <a:pt x="2028" y="900"/>
                  </a:lnTo>
                  <a:lnTo>
                    <a:pt x="2034" y="906"/>
                  </a:lnTo>
                  <a:lnTo>
                    <a:pt x="2046" y="906"/>
                  </a:lnTo>
                  <a:lnTo>
                    <a:pt x="2052" y="900"/>
                  </a:lnTo>
                  <a:lnTo>
                    <a:pt x="2058" y="900"/>
                  </a:lnTo>
                  <a:lnTo>
                    <a:pt x="2064" y="900"/>
                  </a:lnTo>
                  <a:lnTo>
                    <a:pt x="2070" y="900"/>
                  </a:lnTo>
                  <a:lnTo>
                    <a:pt x="2076" y="900"/>
                  </a:lnTo>
                  <a:lnTo>
                    <a:pt x="2076" y="906"/>
                  </a:lnTo>
                  <a:lnTo>
                    <a:pt x="2088" y="906"/>
                  </a:lnTo>
                  <a:lnTo>
                    <a:pt x="2106" y="900"/>
                  </a:lnTo>
                  <a:lnTo>
                    <a:pt x="2118" y="900"/>
                  </a:lnTo>
                  <a:lnTo>
                    <a:pt x="2130" y="900"/>
                  </a:lnTo>
                  <a:lnTo>
                    <a:pt x="2142" y="900"/>
                  </a:lnTo>
                  <a:lnTo>
                    <a:pt x="2148" y="906"/>
                  </a:lnTo>
                  <a:lnTo>
                    <a:pt x="2154" y="906"/>
                  </a:lnTo>
                  <a:lnTo>
                    <a:pt x="2160" y="906"/>
                  </a:lnTo>
                  <a:lnTo>
                    <a:pt x="2166" y="906"/>
                  </a:lnTo>
                  <a:lnTo>
                    <a:pt x="2178" y="918"/>
                  </a:lnTo>
                  <a:lnTo>
                    <a:pt x="2178" y="924"/>
                  </a:lnTo>
                  <a:lnTo>
                    <a:pt x="2184" y="924"/>
                  </a:lnTo>
                  <a:lnTo>
                    <a:pt x="2190" y="924"/>
                  </a:lnTo>
                  <a:lnTo>
                    <a:pt x="2196" y="924"/>
                  </a:lnTo>
                  <a:lnTo>
                    <a:pt x="2202" y="918"/>
                  </a:lnTo>
                  <a:lnTo>
                    <a:pt x="2208" y="918"/>
                  </a:lnTo>
                  <a:lnTo>
                    <a:pt x="2214" y="918"/>
                  </a:lnTo>
                  <a:lnTo>
                    <a:pt x="2226" y="918"/>
                  </a:lnTo>
                  <a:lnTo>
                    <a:pt x="2220" y="948"/>
                  </a:lnTo>
                  <a:lnTo>
                    <a:pt x="2214" y="972"/>
                  </a:lnTo>
                  <a:lnTo>
                    <a:pt x="2214" y="984"/>
                  </a:lnTo>
                  <a:lnTo>
                    <a:pt x="2208" y="990"/>
                  </a:lnTo>
                  <a:lnTo>
                    <a:pt x="2208" y="996"/>
                  </a:lnTo>
                  <a:lnTo>
                    <a:pt x="2202" y="996"/>
                  </a:lnTo>
                  <a:lnTo>
                    <a:pt x="2196" y="996"/>
                  </a:lnTo>
                  <a:lnTo>
                    <a:pt x="2190" y="1008"/>
                  </a:lnTo>
                  <a:lnTo>
                    <a:pt x="2172" y="1074"/>
                  </a:lnTo>
                  <a:lnTo>
                    <a:pt x="2166" y="1092"/>
                  </a:lnTo>
                  <a:lnTo>
                    <a:pt x="2172" y="1110"/>
                  </a:lnTo>
                  <a:lnTo>
                    <a:pt x="2172" y="1122"/>
                  </a:lnTo>
                  <a:lnTo>
                    <a:pt x="2166" y="1134"/>
                  </a:lnTo>
                  <a:lnTo>
                    <a:pt x="2148" y="1140"/>
                  </a:lnTo>
                  <a:lnTo>
                    <a:pt x="2148" y="1134"/>
                  </a:lnTo>
                  <a:lnTo>
                    <a:pt x="2118" y="1140"/>
                  </a:lnTo>
                  <a:lnTo>
                    <a:pt x="2088" y="1134"/>
                  </a:lnTo>
                  <a:lnTo>
                    <a:pt x="2064" y="1122"/>
                  </a:lnTo>
                  <a:lnTo>
                    <a:pt x="2034" y="1122"/>
                  </a:lnTo>
                  <a:lnTo>
                    <a:pt x="2022" y="1128"/>
                  </a:lnTo>
                  <a:lnTo>
                    <a:pt x="1986" y="1128"/>
                  </a:lnTo>
                  <a:lnTo>
                    <a:pt x="1938" y="1122"/>
                  </a:lnTo>
                  <a:lnTo>
                    <a:pt x="1932" y="1116"/>
                  </a:lnTo>
                  <a:lnTo>
                    <a:pt x="1896" y="1110"/>
                  </a:lnTo>
                  <a:lnTo>
                    <a:pt x="1878" y="1104"/>
                  </a:lnTo>
                  <a:lnTo>
                    <a:pt x="1866" y="1098"/>
                  </a:lnTo>
                  <a:lnTo>
                    <a:pt x="1860" y="1098"/>
                  </a:lnTo>
                  <a:lnTo>
                    <a:pt x="1854" y="1092"/>
                  </a:lnTo>
                  <a:lnTo>
                    <a:pt x="1860" y="1092"/>
                  </a:lnTo>
                  <a:lnTo>
                    <a:pt x="1860" y="1086"/>
                  </a:lnTo>
                  <a:lnTo>
                    <a:pt x="1854" y="1086"/>
                  </a:lnTo>
                  <a:lnTo>
                    <a:pt x="1842" y="1080"/>
                  </a:lnTo>
                  <a:lnTo>
                    <a:pt x="1818" y="1062"/>
                  </a:lnTo>
                  <a:lnTo>
                    <a:pt x="1782" y="1056"/>
                  </a:lnTo>
                  <a:lnTo>
                    <a:pt x="1770" y="1068"/>
                  </a:lnTo>
                  <a:lnTo>
                    <a:pt x="1746" y="1098"/>
                  </a:lnTo>
                  <a:lnTo>
                    <a:pt x="1722" y="1104"/>
                  </a:lnTo>
                  <a:lnTo>
                    <a:pt x="1710" y="1122"/>
                  </a:lnTo>
                  <a:lnTo>
                    <a:pt x="1710" y="1128"/>
                  </a:lnTo>
                  <a:lnTo>
                    <a:pt x="1710" y="1140"/>
                  </a:lnTo>
                  <a:lnTo>
                    <a:pt x="1698" y="1146"/>
                  </a:lnTo>
                  <a:lnTo>
                    <a:pt x="1686" y="1152"/>
                  </a:lnTo>
                  <a:lnTo>
                    <a:pt x="1680" y="1164"/>
                  </a:lnTo>
                  <a:lnTo>
                    <a:pt x="1680" y="1170"/>
                  </a:lnTo>
                  <a:lnTo>
                    <a:pt x="1686" y="1170"/>
                  </a:lnTo>
                  <a:lnTo>
                    <a:pt x="1686" y="1176"/>
                  </a:lnTo>
                  <a:lnTo>
                    <a:pt x="1698" y="1188"/>
                  </a:lnTo>
                  <a:lnTo>
                    <a:pt x="1704" y="1188"/>
                  </a:lnTo>
                  <a:lnTo>
                    <a:pt x="1698" y="1194"/>
                  </a:lnTo>
                  <a:lnTo>
                    <a:pt x="1704" y="1194"/>
                  </a:lnTo>
                  <a:lnTo>
                    <a:pt x="1704" y="1200"/>
                  </a:lnTo>
                  <a:lnTo>
                    <a:pt x="1704" y="1206"/>
                  </a:lnTo>
                  <a:lnTo>
                    <a:pt x="1704" y="1212"/>
                  </a:lnTo>
                  <a:lnTo>
                    <a:pt x="1704" y="1218"/>
                  </a:lnTo>
                  <a:lnTo>
                    <a:pt x="1710" y="1218"/>
                  </a:lnTo>
                  <a:lnTo>
                    <a:pt x="1710" y="1212"/>
                  </a:lnTo>
                  <a:lnTo>
                    <a:pt x="1716" y="1212"/>
                  </a:lnTo>
                  <a:lnTo>
                    <a:pt x="1716" y="1218"/>
                  </a:lnTo>
                  <a:lnTo>
                    <a:pt x="1716" y="1224"/>
                  </a:lnTo>
                  <a:lnTo>
                    <a:pt x="1716" y="1230"/>
                  </a:lnTo>
                  <a:lnTo>
                    <a:pt x="1722" y="1236"/>
                  </a:lnTo>
                  <a:lnTo>
                    <a:pt x="1740" y="1230"/>
                  </a:lnTo>
                  <a:lnTo>
                    <a:pt x="1734" y="1236"/>
                  </a:lnTo>
                  <a:lnTo>
                    <a:pt x="1734" y="1242"/>
                  </a:lnTo>
                  <a:lnTo>
                    <a:pt x="1734" y="1248"/>
                  </a:lnTo>
                  <a:lnTo>
                    <a:pt x="1734" y="1254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52" y="1266"/>
                  </a:lnTo>
                  <a:lnTo>
                    <a:pt x="1764" y="1266"/>
                  </a:lnTo>
                  <a:lnTo>
                    <a:pt x="1788" y="1260"/>
                  </a:lnTo>
                  <a:lnTo>
                    <a:pt x="1800" y="1260"/>
                  </a:lnTo>
                  <a:lnTo>
                    <a:pt x="1806" y="1272"/>
                  </a:lnTo>
                  <a:lnTo>
                    <a:pt x="1806" y="1296"/>
                  </a:lnTo>
                  <a:lnTo>
                    <a:pt x="1800" y="1308"/>
                  </a:lnTo>
                  <a:lnTo>
                    <a:pt x="1788" y="1308"/>
                  </a:lnTo>
                  <a:lnTo>
                    <a:pt x="1782" y="1326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7" name="Freeform 32">
              <a:extLst>
                <a:ext uri="{FF2B5EF4-FFF2-40B4-BE49-F238E27FC236}">
                  <a16:creationId xmlns:a16="http://schemas.microsoft.com/office/drawing/2014/main" id="{1EF84438-BF7A-47D2-9156-E231EA2A279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3295" y="2316568"/>
              <a:ext cx="1290281" cy="1084704"/>
            </a:xfrm>
            <a:custGeom>
              <a:avLst/>
              <a:gdLst>
                <a:gd name="T0" fmla="*/ 177 w 2430"/>
                <a:gd name="T1" fmla="*/ 169 h 2040"/>
                <a:gd name="T2" fmla="*/ 174 w 2430"/>
                <a:gd name="T3" fmla="*/ 173 h 2040"/>
                <a:gd name="T4" fmla="*/ 169 w 2430"/>
                <a:gd name="T5" fmla="*/ 171 h 2040"/>
                <a:gd name="T6" fmla="*/ 160 w 2430"/>
                <a:gd name="T7" fmla="*/ 163 h 2040"/>
                <a:gd name="T8" fmla="*/ 154 w 2430"/>
                <a:gd name="T9" fmla="*/ 149 h 2040"/>
                <a:gd name="T10" fmla="*/ 144 w 2430"/>
                <a:gd name="T11" fmla="*/ 147 h 2040"/>
                <a:gd name="T12" fmla="*/ 133 w 2430"/>
                <a:gd name="T13" fmla="*/ 146 h 2040"/>
                <a:gd name="T14" fmla="*/ 121 w 2430"/>
                <a:gd name="T15" fmla="*/ 145 h 2040"/>
                <a:gd name="T16" fmla="*/ 110 w 2430"/>
                <a:gd name="T17" fmla="*/ 137 h 2040"/>
                <a:gd name="T18" fmla="*/ 97 w 2430"/>
                <a:gd name="T19" fmla="*/ 131 h 2040"/>
                <a:gd name="T20" fmla="*/ 87 w 2430"/>
                <a:gd name="T21" fmla="*/ 125 h 2040"/>
                <a:gd name="T22" fmla="*/ 75 w 2430"/>
                <a:gd name="T23" fmla="*/ 122 h 2040"/>
                <a:gd name="T24" fmla="*/ 65 w 2430"/>
                <a:gd name="T25" fmla="*/ 122 h 2040"/>
                <a:gd name="T26" fmla="*/ 59 w 2430"/>
                <a:gd name="T27" fmla="*/ 115 h 2040"/>
                <a:gd name="T28" fmla="*/ 50 w 2430"/>
                <a:gd name="T29" fmla="*/ 107 h 2040"/>
                <a:gd name="T30" fmla="*/ 28 w 2430"/>
                <a:gd name="T31" fmla="*/ 84 h 2040"/>
                <a:gd name="T32" fmla="*/ 22 w 2430"/>
                <a:gd name="T33" fmla="*/ 82 h 2040"/>
                <a:gd name="T34" fmla="*/ 20 w 2430"/>
                <a:gd name="T35" fmla="*/ 79 h 2040"/>
                <a:gd name="T36" fmla="*/ 16 w 2430"/>
                <a:gd name="T37" fmla="*/ 76 h 2040"/>
                <a:gd name="T38" fmla="*/ 11 w 2430"/>
                <a:gd name="T39" fmla="*/ 74 h 2040"/>
                <a:gd name="T40" fmla="*/ 7 w 2430"/>
                <a:gd name="T41" fmla="*/ 69 h 2040"/>
                <a:gd name="T42" fmla="*/ 0 w 2430"/>
                <a:gd name="T43" fmla="*/ 60 h 2040"/>
                <a:gd name="T44" fmla="*/ 10 w 2430"/>
                <a:gd name="T45" fmla="*/ 53 h 2040"/>
                <a:gd name="T46" fmla="*/ 15 w 2430"/>
                <a:gd name="T47" fmla="*/ 40 h 2040"/>
                <a:gd name="T48" fmla="*/ 9 w 2430"/>
                <a:gd name="T49" fmla="*/ 29 h 2040"/>
                <a:gd name="T50" fmla="*/ 7 w 2430"/>
                <a:gd name="T51" fmla="*/ 16 h 2040"/>
                <a:gd name="T52" fmla="*/ 18 w 2430"/>
                <a:gd name="T53" fmla="*/ 21 h 2040"/>
                <a:gd name="T54" fmla="*/ 48 w 2430"/>
                <a:gd name="T55" fmla="*/ 27 h 2040"/>
                <a:gd name="T56" fmla="*/ 62 w 2430"/>
                <a:gd name="T57" fmla="*/ 25 h 2040"/>
                <a:gd name="T58" fmla="*/ 59 w 2430"/>
                <a:gd name="T59" fmla="*/ 42 h 2040"/>
                <a:gd name="T60" fmla="*/ 54 w 2430"/>
                <a:gd name="T61" fmla="*/ 65 h 2040"/>
                <a:gd name="T62" fmla="*/ 65 w 2430"/>
                <a:gd name="T63" fmla="*/ 60 h 2040"/>
                <a:gd name="T64" fmla="*/ 68 w 2430"/>
                <a:gd name="T65" fmla="*/ 40 h 2040"/>
                <a:gd name="T66" fmla="*/ 75 w 2430"/>
                <a:gd name="T67" fmla="*/ 36 h 2040"/>
                <a:gd name="T68" fmla="*/ 83 w 2430"/>
                <a:gd name="T69" fmla="*/ 29 h 2040"/>
                <a:gd name="T70" fmla="*/ 81 w 2430"/>
                <a:gd name="T71" fmla="*/ 17 h 2040"/>
                <a:gd name="T72" fmla="*/ 66 w 2430"/>
                <a:gd name="T73" fmla="*/ 7 h 2040"/>
                <a:gd name="T74" fmla="*/ 80 w 2430"/>
                <a:gd name="T75" fmla="*/ 5 h 2040"/>
                <a:gd name="T76" fmla="*/ 89 w 2430"/>
                <a:gd name="T77" fmla="*/ 1 h 2040"/>
                <a:gd name="T78" fmla="*/ 101 w 2430"/>
                <a:gd name="T79" fmla="*/ 10 h 2040"/>
                <a:gd name="T80" fmla="*/ 103 w 2430"/>
                <a:gd name="T81" fmla="*/ 18 h 2040"/>
                <a:gd name="T82" fmla="*/ 110 w 2430"/>
                <a:gd name="T83" fmla="*/ 23 h 2040"/>
                <a:gd name="T84" fmla="*/ 121 w 2430"/>
                <a:gd name="T85" fmla="*/ 20 h 2040"/>
                <a:gd name="T86" fmla="*/ 129 w 2430"/>
                <a:gd name="T87" fmla="*/ 15 h 2040"/>
                <a:gd name="T88" fmla="*/ 142 w 2430"/>
                <a:gd name="T89" fmla="*/ 23 h 2040"/>
                <a:gd name="T90" fmla="*/ 141 w 2430"/>
                <a:gd name="T91" fmla="*/ 30 h 2040"/>
                <a:gd name="T92" fmla="*/ 140 w 2430"/>
                <a:gd name="T93" fmla="*/ 38 h 2040"/>
                <a:gd name="T94" fmla="*/ 139 w 2430"/>
                <a:gd name="T95" fmla="*/ 46 h 2040"/>
                <a:gd name="T96" fmla="*/ 147 w 2430"/>
                <a:gd name="T97" fmla="*/ 54 h 2040"/>
                <a:gd name="T98" fmla="*/ 152 w 2430"/>
                <a:gd name="T99" fmla="*/ 50 h 2040"/>
                <a:gd name="T100" fmla="*/ 159 w 2430"/>
                <a:gd name="T101" fmla="*/ 43 h 2040"/>
                <a:gd name="T102" fmla="*/ 174 w 2430"/>
                <a:gd name="T103" fmla="*/ 41 h 2040"/>
                <a:gd name="T104" fmla="*/ 190 w 2430"/>
                <a:gd name="T105" fmla="*/ 57 h 2040"/>
                <a:gd name="T106" fmla="*/ 187 w 2430"/>
                <a:gd name="T107" fmla="*/ 66 h 2040"/>
                <a:gd name="T108" fmla="*/ 183 w 2430"/>
                <a:gd name="T109" fmla="*/ 72 h 2040"/>
                <a:gd name="T110" fmla="*/ 194 w 2430"/>
                <a:gd name="T111" fmla="*/ 73 h 2040"/>
                <a:gd name="T112" fmla="*/ 202 w 2430"/>
                <a:gd name="T113" fmla="*/ 74 h 2040"/>
                <a:gd name="T114" fmla="*/ 204 w 2430"/>
                <a:gd name="T115" fmla="*/ 89 h 2040"/>
                <a:gd name="T116" fmla="*/ 208 w 2430"/>
                <a:gd name="T117" fmla="*/ 99 h 2040"/>
                <a:gd name="T118" fmla="*/ 203 w 2430"/>
                <a:gd name="T119" fmla="*/ 103 h 2040"/>
                <a:gd name="T120" fmla="*/ 209 w 2430"/>
                <a:gd name="T121" fmla="*/ 111 h 2040"/>
                <a:gd name="T122" fmla="*/ 204 w 2430"/>
                <a:gd name="T123" fmla="*/ 124 h 2040"/>
                <a:gd name="T124" fmla="*/ 190 w 2430"/>
                <a:gd name="T125" fmla="*/ 117 h 20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30"/>
                <a:gd name="T190" fmla="*/ 0 h 2040"/>
                <a:gd name="T191" fmla="*/ 2430 w 2430"/>
                <a:gd name="T192" fmla="*/ 2040 h 20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30" h="2040">
                  <a:moveTo>
                    <a:pt x="2076" y="1896"/>
                  </a:moveTo>
                  <a:lnTo>
                    <a:pt x="2070" y="1896"/>
                  </a:lnTo>
                  <a:lnTo>
                    <a:pt x="2070" y="1902"/>
                  </a:lnTo>
                  <a:lnTo>
                    <a:pt x="2076" y="1902"/>
                  </a:lnTo>
                  <a:lnTo>
                    <a:pt x="2082" y="1902"/>
                  </a:lnTo>
                  <a:lnTo>
                    <a:pt x="2082" y="1908"/>
                  </a:lnTo>
                  <a:lnTo>
                    <a:pt x="2076" y="1908"/>
                  </a:lnTo>
                  <a:lnTo>
                    <a:pt x="2076" y="1914"/>
                  </a:lnTo>
                  <a:lnTo>
                    <a:pt x="2070" y="1920"/>
                  </a:lnTo>
                  <a:lnTo>
                    <a:pt x="2064" y="1932"/>
                  </a:lnTo>
                  <a:lnTo>
                    <a:pt x="2064" y="1938"/>
                  </a:lnTo>
                  <a:lnTo>
                    <a:pt x="2058" y="1938"/>
                  </a:lnTo>
                  <a:lnTo>
                    <a:pt x="2052" y="1944"/>
                  </a:lnTo>
                  <a:lnTo>
                    <a:pt x="2052" y="1950"/>
                  </a:lnTo>
                  <a:lnTo>
                    <a:pt x="2040" y="1944"/>
                  </a:lnTo>
                  <a:lnTo>
                    <a:pt x="2040" y="1950"/>
                  </a:lnTo>
                  <a:lnTo>
                    <a:pt x="2034" y="1956"/>
                  </a:lnTo>
                  <a:lnTo>
                    <a:pt x="2034" y="1962"/>
                  </a:lnTo>
                  <a:lnTo>
                    <a:pt x="2028" y="1962"/>
                  </a:lnTo>
                  <a:lnTo>
                    <a:pt x="2022" y="1962"/>
                  </a:lnTo>
                  <a:lnTo>
                    <a:pt x="2022" y="1968"/>
                  </a:lnTo>
                  <a:lnTo>
                    <a:pt x="2028" y="1974"/>
                  </a:lnTo>
                  <a:lnTo>
                    <a:pt x="2034" y="1980"/>
                  </a:lnTo>
                  <a:lnTo>
                    <a:pt x="2028" y="1986"/>
                  </a:lnTo>
                  <a:lnTo>
                    <a:pt x="2022" y="1992"/>
                  </a:lnTo>
                  <a:lnTo>
                    <a:pt x="2022" y="1986"/>
                  </a:lnTo>
                  <a:lnTo>
                    <a:pt x="2016" y="1986"/>
                  </a:lnTo>
                  <a:lnTo>
                    <a:pt x="2010" y="1980"/>
                  </a:lnTo>
                  <a:lnTo>
                    <a:pt x="2004" y="1980"/>
                  </a:lnTo>
                  <a:lnTo>
                    <a:pt x="2004" y="1986"/>
                  </a:lnTo>
                  <a:lnTo>
                    <a:pt x="2010" y="1992"/>
                  </a:lnTo>
                  <a:lnTo>
                    <a:pt x="2010" y="1998"/>
                  </a:lnTo>
                  <a:lnTo>
                    <a:pt x="2004" y="2004"/>
                  </a:lnTo>
                  <a:lnTo>
                    <a:pt x="1998" y="2004"/>
                  </a:lnTo>
                  <a:lnTo>
                    <a:pt x="1998" y="2022"/>
                  </a:lnTo>
                  <a:lnTo>
                    <a:pt x="1998" y="2028"/>
                  </a:lnTo>
                  <a:lnTo>
                    <a:pt x="1992" y="2034"/>
                  </a:lnTo>
                  <a:lnTo>
                    <a:pt x="1992" y="2040"/>
                  </a:lnTo>
                  <a:lnTo>
                    <a:pt x="1986" y="2040"/>
                  </a:lnTo>
                  <a:lnTo>
                    <a:pt x="1986" y="2034"/>
                  </a:lnTo>
                  <a:lnTo>
                    <a:pt x="1980" y="2028"/>
                  </a:lnTo>
                  <a:lnTo>
                    <a:pt x="1980" y="2022"/>
                  </a:lnTo>
                  <a:lnTo>
                    <a:pt x="1968" y="2016"/>
                  </a:lnTo>
                  <a:lnTo>
                    <a:pt x="1962" y="2010"/>
                  </a:lnTo>
                  <a:lnTo>
                    <a:pt x="1956" y="2004"/>
                  </a:lnTo>
                  <a:lnTo>
                    <a:pt x="1950" y="1992"/>
                  </a:lnTo>
                  <a:lnTo>
                    <a:pt x="1950" y="1986"/>
                  </a:lnTo>
                  <a:lnTo>
                    <a:pt x="1950" y="1974"/>
                  </a:lnTo>
                  <a:lnTo>
                    <a:pt x="1944" y="1974"/>
                  </a:lnTo>
                  <a:lnTo>
                    <a:pt x="1932" y="1962"/>
                  </a:lnTo>
                  <a:lnTo>
                    <a:pt x="1932" y="1956"/>
                  </a:lnTo>
                  <a:lnTo>
                    <a:pt x="1932" y="1950"/>
                  </a:lnTo>
                  <a:lnTo>
                    <a:pt x="1920" y="1944"/>
                  </a:lnTo>
                  <a:lnTo>
                    <a:pt x="1914" y="1944"/>
                  </a:lnTo>
                  <a:lnTo>
                    <a:pt x="1908" y="1938"/>
                  </a:lnTo>
                  <a:lnTo>
                    <a:pt x="1902" y="1926"/>
                  </a:lnTo>
                  <a:lnTo>
                    <a:pt x="1890" y="1914"/>
                  </a:lnTo>
                  <a:lnTo>
                    <a:pt x="1884" y="1914"/>
                  </a:lnTo>
                  <a:lnTo>
                    <a:pt x="1878" y="1908"/>
                  </a:lnTo>
                  <a:lnTo>
                    <a:pt x="1872" y="1902"/>
                  </a:lnTo>
                  <a:lnTo>
                    <a:pt x="1872" y="1896"/>
                  </a:lnTo>
                  <a:lnTo>
                    <a:pt x="1866" y="1890"/>
                  </a:lnTo>
                  <a:lnTo>
                    <a:pt x="1854" y="1884"/>
                  </a:lnTo>
                  <a:lnTo>
                    <a:pt x="1848" y="1884"/>
                  </a:lnTo>
                  <a:lnTo>
                    <a:pt x="1842" y="1872"/>
                  </a:lnTo>
                  <a:lnTo>
                    <a:pt x="1836" y="1872"/>
                  </a:lnTo>
                  <a:lnTo>
                    <a:pt x="1830" y="1866"/>
                  </a:lnTo>
                  <a:lnTo>
                    <a:pt x="1830" y="1854"/>
                  </a:lnTo>
                  <a:lnTo>
                    <a:pt x="1824" y="1848"/>
                  </a:lnTo>
                  <a:lnTo>
                    <a:pt x="1818" y="1830"/>
                  </a:lnTo>
                  <a:lnTo>
                    <a:pt x="1818" y="1818"/>
                  </a:lnTo>
                  <a:lnTo>
                    <a:pt x="1812" y="1800"/>
                  </a:lnTo>
                  <a:lnTo>
                    <a:pt x="1812" y="1788"/>
                  </a:lnTo>
                  <a:lnTo>
                    <a:pt x="1806" y="1776"/>
                  </a:lnTo>
                  <a:lnTo>
                    <a:pt x="1800" y="1764"/>
                  </a:lnTo>
                  <a:lnTo>
                    <a:pt x="1794" y="1758"/>
                  </a:lnTo>
                  <a:lnTo>
                    <a:pt x="1782" y="1740"/>
                  </a:lnTo>
                  <a:lnTo>
                    <a:pt x="1776" y="1728"/>
                  </a:lnTo>
                  <a:lnTo>
                    <a:pt x="1776" y="1722"/>
                  </a:lnTo>
                  <a:lnTo>
                    <a:pt x="1770" y="1722"/>
                  </a:lnTo>
                  <a:lnTo>
                    <a:pt x="1770" y="1716"/>
                  </a:lnTo>
                  <a:lnTo>
                    <a:pt x="1764" y="1716"/>
                  </a:lnTo>
                  <a:lnTo>
                    <a:pt x="1758" y="1710"/>
                  </a:lnTo>
                  <a:lnTo>
                    <a:pt x="1752" y="1704"/>
                  </a:lnTo>
                  <a:lnTo>
                    <a:pt x="1746" y="1704"/>
                  </a:lnTo>
                  <a:lnTo>
                    <a:pt x="1740" y="1704"/>
                  </a:lnTo>
                  <a:lnTo>
                    <a:pt x="1734" y="1704"/>
                  </a:lnTo>
                  <a:lnTo>
                    <a:pt x="1734" y="1698"/>
                  </a:lnTo>
                  <a:lnTo>
                    <a:pt x="1728" y="1692"/>
                  </a:lnTo>
                  <a:lnTo>
                    <a:pt x="1722" y="1686"/>
                  </a:lnTo>
                  <a:lnTo>
                    <a:pt x="1716" y="1686"/>
                  </a:lnTo>
                  <a:lnTo>
                    <a:pt x="1698" y="1686"/>
                  </a:lnTo>
                  <a:lnTo>
                    <a:pt x="1692" y="1692"/>
                  </a:lnTo>
                  <a:lnTo>
                    <a:pt x="1680" y="1692"/>
                  </a:lnTo>
                  <a:lnTo>
                    <a:pt x="1668" y="1692"/>
                  </a:lnTo>
                  <a:lnTo>
                    <a:pt x="1662" y="1692"/>
                  </a:lnTo>
                  <a:lnTo>
                    <a:pt x="1656" y="1692"/>
                  </a:lnTo>
                  <a:lnTo>
                    <a:pt x="1650" y="1698"/>
                  </a:lnTo>
                  <a:lnTo>
                    <a:pt x="1644" y="1698"/>
                  </a:lnTo>
                  <a:lnTo>
                    <a:pt x="1638" y="1698"/>
                  </a:lnTo>
                  <a:lnTo>
                    <a:pt x="1632" y="1698"/>
                  </a:lnTo>
                  <a:lnTo>
                    <a:pt x="1632" y="1692"/>
                  </a:lnTo>
                  <a:lnTo>
                    <a:pt x="1620" y="1680"/>
                  </a:lnTo>
                  <a:lnTo>
                    <a:pt x="1614" y="1680"/>
                  </a:lnTo>
                  <a:lnTo>
                    <a:pt x="1608" y="1680"/>
                  </a:lnTo>
                  <a:lnTo>
                    <a:pt x="1602" y="1680"/>
                  </a:lnTo>
                  <a:lnTo>
                    <a:pt x="1596" y="1674"/>
                  </a:lnTo>
                  <a:lnTo>
                    <a:pt x="1584" y="1674"/>
                  </a:lnTo>
                  <a:lnTo>
                    <a:pt x="1572" y="1674"/>
                  </a:lnTo>
                  <a:lnTo>
                    <a:pt x="1560" y="1674"/>
                  </a:lnTo>
                  <a:lnTo>
                    <a:pt x="1542" y="1680"/>
                  </a:lnTo>
                  <a:lnTo>
                    <a:pt x="1530" y="1680"/>
                  </a:lnTo>
                  <a:lnTo>
                    <a:pt x="1530" y="1674"/>
                  </a:lnTo>
                  <a:lnTo>
                    <a:pt x="1524" y="1674"/>
                  </a:lnTo>
                  <a:lnTo>
                    <a:pt x="1518" y="1674"/>
                  </a:lnTo>
                  <a:lnTo>
                    <a:pt x="1512" y="1674"/>
                  </a:lnTo>
                  <a:lnTo>
                    <a:pt x="1506" y="1674"/>
                  </a:lnTo>
                  <a:lnTo>
                    <a:pt x="1500" y="1680"/>
                  </a:lnTo>
                  <a:lnTo>
                    <a:pt x="1488" y="1680"/>
                  </a:lnTo>
                  <a:lnTo>
                    <a:pt x="1482" y="1674"/>
                  </a:lnTo>
                  <a:lnTo>
                    <a:pt x="1476" y="1674"/>
                  </a:lnTo>
                  <a:lnTo>
                    <a:pt x="1464" y="1674"/>
                  </a:lnTo>
                  <a:lnTo>
                    <a:pt x="1452" y="1680"/>
                  </a:lnTo>
                  <a:lnTo>
                    <a:pt x="1434" y="1680"/>
                  </a:lnTo>
                  <a:lnTo>
                    <a:pt x="1422" y="1680"/>
                  </a:lnTo>
                  <a:lnTo>
                    <a:pt x="1416" y="1680"/>
                  </a:lnTo>
                  <a:lnTo>
                    <a:pt x="1404" y="1674"/>
                  </a:lnTo>
                  <a:lnTo>
                    <a:pt x="1398" y="1674"/>
                  </a:lnTo>
                  <a:lnTo>
                    <a:pt x="1392" y="1662"/>
                  </a:lnTo>
                  <a:lnTo>
                    <a:pt x="1380" y="1644"/>
                  </a:lnTo>
                  <a:lnTo>
                    <a:pt x="1374" y="1632"/>
                  </a:lnTo>
                  <a:lnTo>
                    <a:pt x="1362" y="1626"/>
                  </a:lnTo>
                  <a:lnTo>
                    <a:pt x="1356" y="1620"/>
                  </a:lnTo>
                  <a:lnTo>
                    <a:pt x="1350" y="1626"/>
                  </a:lnTo>
                  <a:lnTo>
                    <a:pt x="1338" y="1626"/>
                  </a:lnTo>
                  <a:lnTo>
                    <a:pt x="1326" y="1626"/>
                  </a:lnTo>
                  <a:lnTo>
                    <a:pt x="1314" y="1620"/>
                  </a:lnTo>
                  <a:lnTo>
                    <a:pt x="1308" y="1614"/>
                  </a:lnTo>
                  <a:lnTo>
                    <a:pt x="1302" y="1608"/>
                  </a:lnTo>
                  <a:lnTo>
                    <a:pt x="1296" y="1602"/>
                  </a:lnTo>
                  <a:lnTo>
                    <a:pt x="1290" y="1602"/>
                  </a:lnTo>
                  <a:lnTo>
                    <a:pt x="1290" y="1596"/>
                  </a:lnTo>
                  <a:lnTo>
                    <a:pt x="1284" y="1590"/>
                  </a:lnTo>
                  <a:lnTo>
                    <a:pt x="1272" y="1584"/>
                  </a:lnTo>
                  <a:lnTo>
                    <a:pt x="1254" y="1572"/>
                  </a:lnTo>
                  <a:lnTo>
                    <a:pt x="1236" y="1554"/>
                  </a:lnTo>
                  <a:lnTo>
                    <a:pt x="1230" y="1554"/>
                  </a:lnTo>
                  <a:lnTo>
                    <a:pt x="1224" y="1554"/>
                  </a:lnTo>
                  <a:lnTo>
                    <a:pt x="1212" y="1554"/>
                  </a:lnTo>
                  <a:lnTo>
                    <a:pt x="1194" y="1542"/>
                  </a:lnTo>
                  <a:lnTo>
                    <a:pt x="1188" y="1536"/>
                  </a:lnTo>
                  <a:lnTo>
                    <a:pt x="1182" y="1530"/>
                  </a:lnTo>
                  <a:lnTo>
                    <a:pt x="1176" y="1530"/>
                  </a:lnTo>
                  <a:lnTo>
                    <a:pt x="1170" y="1530"/>
                  </a:lnTo>
                  <a:lnTo>
                    <a:pt x="1158" y="1524"/>
                  </a:lnTo>
                  <a:lnTo>
                    <a:pt x="1152" y="1524"/>
                  </a:lnTo>
                  <a:lnTo>
                    <a:pt x="1140" y="1518"/>
                  </a:lnTo>
                  <a:lnTo>
                    <a:pt x="1128" y="1518"/>
                  </a:lnTo>
                  <a:lnTo>
                    <a:pt x="1122" y="1518"/>
                  </a:lnTo>
                  <a:lnTo>
                    <a:pt x="1116" y="1518"/>
                  </a:lnTo>
                  <a:lnTo>
                    <a:pt x="1104" y="1518"/>
                  </a:lnTo>
                  <a:lnTo>
                    <a:pt x="1092" y="1518"/>
                  </a:lnTo>
                  <a:lnTo>
                    <a:pt x="1080" y="1518"/>
                  </a:lnTo>
                  <a:lnTo>
                    <a:pt x="1068" y="1518"/>
                  </a:lnTo>
                  <a:lnTo>
                    <a:pt x="1062" y="1518"/>
                  </a:lnTo>
                  <a:lnTo>
                    <a:pt x="1056" y="1518"/>
                  </a:lnTo>
                  <a:lnTo>
                    <a:pt x="1050" y="1512"/>
                  </a:lnTo>
                  <a:lnTo>
                    <a:pt x="1044" y="1512"/>
                  </a:lnTo>
                  <a:lnTo>
                    <a:pt x="1038" y="1512"/>
                  </a:lnTo>
                  <a:lnTo>
                    <a:pt x="1032" y="1506"/>
                  </a:lnTo>
                  <a:lnTo>
                    <a:pt x="1026" y="1500"/>
                  </a:lnTo>
                  <a:lnTo>
                    <a:pt x="1026" y="1494"/>
                  </a:lnTo>
                  <a:lnTo>
                    <a:pt x="1020" y="1476"/>
                  </a:lnTo>
                  <a:lnTo>
                    <a:pt x="1008" y="1464"/>
                  </a:lnTo>
                  <a:lnTo>
                    <a:pt x="1008" y="1458"/>
                  </a:lnTo>
                  <a:lnTo>
                    <a:pt x="1002" y="1446"/>
                  </a:lnTo>
                  <a:lnTo>
                    <a:pt x="996" y="1446"/>
                  </a:lnTo>
                  <a:lnTo>
                    <a:pt x="990" y="1440"/>
                  </a:lnTo>
                  <a:lnTo>
                    <a:pt x="984" y="1434"/>
                  </a:lnTo>
                  <a:lnTo>
                    <a:pt x="978" y="1434"/>
                  </a:lnTo>
                  <a:lnTo>
                    <a:pt x="972" y="1434"/>
                  </a:lnTo>
                  <a:lnTo>
                    <a:pt x="966" y="1428"/>
                  </a:lnTo>
                  <a:lnTo>
                    <a:pt x="954" y="1422"/>
                  </a:lnTo>
                  <a:lnTo>
                    <a:pt x="942" y="1416"/>
                  </a:lnTo>
                  <a:lnTo>
                    <a:pt x="924" y="1398"/>
                  </a:lnTo>
                  <a:lnTo>
                    <a:pt x="912" y="1386"/>
                  </a:lnTo>
                  <a:lnTo>
                    <a:pt x="900" y="1386"/>
                  </a:lnTo>
                  <a:lnTo>
                    <a:pt x="894" y="1386"/>
                  </a:lnTo>
                  <a:lnTo>
                    <a:pt x="882" y="1392"/>
                  </a:lnTo>
                  <a:lnTo>
                    <a:pt x="876" y="1392"/>
                  </a:lnTo>
                  <a:lnTo>
                    <a:pt x="864" y="1398"/>
                  </a:lnTo>
                  <a:lnTo>
                    <a:pt x="864" y="1404"/>
                  </a:lnTo>
                  <a:lnTo>
                    <a:pt x="858" y="1410"/>
                  </a:lnTo>
                  <a:lnTo>
                    <a:pt x="852" y="1410"/>
                  </a:lnTo>
                  <a:lnTo>
                    <a:pt x="846" y="1410"/>
                  </a:lnTo>
                  <a:lnTo>
                    <a:pt x="834" y="1410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10" y="1428"/>
                  </a:lnTo>
                  <a:lnTo>
                    <a:pt x="798" y="1428"/>
                  </a:lnTo>
                  <a:lnTo>
                    <a:pt x="792" y="1428"/>
                  </a:lnTo>
                  <a:lnTo>
                    <a:pt x="780" y="1434"/>
                  </a:lnTo>
                  <a:lnTo>
                    <a:pt x="774" y="1428"/>
                  </a:lnTo>
                  <a:lnTo>
                    <a:pt x="762" y="1428"/>
                  </a:lnTo>
                  <a:lnTo>
                    <a:pt x="756" y="1422"/>
                  </a:lnTo>
                  <a:lnTo>
                    <a:pt x="750" y="1416"/>
                  </a:lnTo>
                  <a:lnTo>
                    <a:pt x="744" y="1410"/>
                  </a:lnTo>
                  <a:lnTo>
                    <a:pt x="744" y="1398"/>
                  </a:lnTo>
                  <a:lnTo>
                    <a:pt x="744" y="1386"/>
                  </a:lnTo>
                  <a:lnTo>
                    <a:pt x="750" y="1380"/>
                  </a:lnTo>
                  <a:lnTo>
                    <a:pt x="750" y="1374"/>
                  </a:lnTo>
                  <a:lnTo>
                    <a:pt x="750" y="1368"/>
                  </a:lnTo>
                  <a:lnTo>
                    <a:pt x="756" y="1362"/>
                  </a:lnTo>
                  <a:lnTo>
                    <a:pt x="750" y="1350"/>
                  </a:lnTo>
                  <a:lnTo>
                    <a:pt x="744" y="1344"/>
                  </a:lnTo>
                  <a:lnTo>
                    <a:pt x="738" y="1338"/>
                  </a:lnTo>
                  <a:lnTo>
                    <a:pt x="726" y="1338"/>
                  </a:lnTo>
                  <a:lnTo>
                    <a:pt x="720" y="1338"/>
                  </a:lnTo>
                  <a:lnTo>
                    <a:pt x="714" y="1338"/>
                  </a:lnTo>
                  <a:lnTo>
                    <a:pt x="708" y="1332"/>
                  </a:lnTo>
                  <a:lnTo>
                    <a:pt x="702" y="1332"/>
                  </a:lnTo>
                  <a:lnTo>
                    <a:pt x="696" y="1326"/>
                  </a:lnTo>
                  <a:lnTo>
                    <a:pt x="684" y="1326"/>
                  </a:lnTo>
                  <a:lnTo>
                    <a:pt x="678" y="1326"/>
                  </a:lnTo>
                  <a:lnTo>
                    <a:pt x="672" y="1314"/>
                  </a:lnTo>
                  <a:lnTo>
                    <a:pt x="666" y="1308"/>
                  </a:lnTo>
                  <a:lnTo>
                    <a:pt x="654" y="1296"/>
                  </a:lnTo>
                  <a:lnTo>
                    <a:pt x="654" y="1290"/>
                  </a:lnTo>
                  <a:lnTo>
                    <a:pt x="630" y="1284"/>
                  </a:lnTo>
                  <a:lnTo>
                    <a:pt x="630" y="1278"/>
                  </a:lnTo>
                  <a:lnTo>
                    <a:pt x="624" y="1278"/>
                  </a:lnTo>
                  <a:lnTo>
                    <a:pt x="618" y="1266"/>
                  </a:lnTo>
                  <a:lnTo>
                    <a:pt x="612" y="1266"/>
                  </a:lnTo>
                  <a:lnTo>
                    <a:pt x="606" y="1266"/>
                  </a:lnTo>
                  <a:lnTo>
                    <a:pt x="606" y="1260"/>
                  </a:lnTo>
                  <a:lnTo>
                    <a:pt x="594" y="1248"/>
                  </a:lnTo>
                  <a:lnTo>
                    <a:pt x="582" y="1248"/>
                  </a:lnTo>
                  <a:lnTo>
                    <a:pt x="576" y="1242"/>
                  </a:lnTo>
                  <a:lnTo>
                    <a:pt x="570" y="1236"/>
                  </a:lnTo>
                  <a:lnTo>
                    <a:pt x="504" y="1164"/>
                  </a:lnTo>
                  <a:lnTo>
                    <a:pt x="450" y="1110"/>
                  </a:lnTo>
                  <a:lnTo>
                    <a:pt x="426" y="1092"/>
                  </a:lnTo>
                  <a:lnTo>
                    <a:pt x="426" y="1074"/>
                  </a:lnTo>
                  <a:lnTo>
                    <a:pt x="420" y="1062"/>
                  </a:lnTo>
                  <a:lnTo>
                    <a:pt x="396" y="1056"/>
                  </a:lnTo>
                  <a:lnTo>
                    <a:pt x="384" y="1032"/>
                  </a:lnTo>
                  <a:lnTo>
                    <a:pt x="372" y="1020"/>
                  </a:lnTo>
                  <a:lnTo>
                    <a:pt x="360" y="984"/>
                  </a:lnTo>
                  <a:lnTo>
                    <a:pt x="348" y="978"/>
                  </a:lnTo>
                  <a:lnTo>
                    <a:pt x="342" y="972"/>
                  </a:lnTo>
                  <a:lnTo>
                    <a:pt x="348" y="960"/>
                  </a:lnTo>
                  <a:lnTo>
                    <a:pt x="342" y="954"/>
                  </a:lnTo>
                  <a:lnTo>
                    <a:pt x="336" y="954"/>
                  </a:lnTo>
                  <a:lnTo>
                    <a:pt x="330" y="954"/>
                  </a:lnTo>
                  <a:lnTo>
                    <a:pt x="324" y="972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0" y="966"/>
                  </a:lnTo>
                  <a:lnTo>
                    <a:pt x="294" y="966"/>
                  </a:lnTo>
                  <a:lnTo>
                    <a:pt x="288" y="972"/>
                  </a:lnTo>
                  <a:lnTo>
                    <a:pt x="288" y="966"/>
                  </a:lnTo>
                  <a:lnTo>
                    <a:pt x="282" y="948"/>
                  </a:lnTo>
                  <a:lnTo>
                    <a:pt x="282" y="942"/>
                  </a:lnTo>
                  <a:lnTo>
                    <a:pt x="276" y="942"/>
                  </a:lnTo>
                  <a:lnTo>
                    <a:pt x="276" y="936"/>
                  </a:lnTo>
                  <a:lnTo>
                    <a:pt x="270" y="942"/>
                  </a:lnTo>
                  <a:lnTo>
                    <a:pt x="264" y="948"/>
                  </a:lnTo>
                  <a:lnTo>
                    <a:pt x="264" y="942"/>
                  </a:lnTo>
                  <a:lnTo>
                    <a:pt x="258" y="942"/>
                  </a:lnTo>
                  <a:lnTo>
                    <a:pt x="252" y="948"/>
                  </a:lnTo>
                  <a:lnTo>
                    <a:pt x="252" y="942"/>
                  </a:lnTo>
                  <a:lnTo>
                    <a:pt x="246" y="936"/>
                  </a:lnTo>
                  <a:lnTo>
                    <a:pt x="240" y="942"/>
                  </a:lnTo>
                  <a:lnTo>
                    <a:pt x="234" y="936"/>
                  </a:lnTo>
                  <a:lnTo>
                    <a:pt x="228" y="936"/>
                  </a:lnTo>
                  <a:lnTo>
                    <a:pt x="222" y="936"/>
                  </a:lnTo>
                  <a:lnTo>
                    <a:pt x="222" y="930"/>
                  </a:lnTo>
                  <a:lnTo>
                    <a:pt x="222" y="924"/>
                  </a:lnTo>
                  <a:lnTo>
                    <a:pt x="228" y="924"/>
                  </a:lnTo>
                  <a:lnTo>
                    <a:pt x="234" y="924"/>
                  </a:lnTo>
                  <a:lnTo>
                    <a:pt x="240" y="924"/>
                  </a:lnTo>
                  <a:lnTo>
                    <a:pt x="240" y="918"/>
                  </a:lnTo>
                  <a:lnTo>
                    <a:pt x="246" y="918"/>
                  </a:lnTo>
                  <a:lnTo>
                    <a:pt x="246" y="912"/>
                  </a:lnTo>
                  <a:lnTo>
                    <a:pt x="240" y="906"/>
                  </a:lnTo>
                  <a:lnTo>
                    <a:pt x="234" y="906"/>
                  </a:lnTo>
                  <a:lnTo>
                    <a:pt x="228" y="906"/>
                  </a:lnTo>
                  <a:lnTo>
                    <a:pt x="228" y="912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8" y="894"/>
                  </a:lnTo>
                  <a:lnTo>
                    <a:pt x="234" y="894"/>
                  </a:lnTo>
                  <a:lnTo>
                    <a:pt x="228" y="888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198" y="888"/>
                  </a:lnTo>
                  <a:lnTo>
                    <a:pt x="192" y="882"/>
                  </a:lnTo>
                  <a:lnTo>
                    <a:pt x="186" y="882"/>
                  </a:lnTo>
                  <a:lnTo>
                    <a:pt x="186" y="876"/>
                  </a:lnTo>
                  <a:lnTo>
                    <a:pt x="192" y="876"/>
                  </a:lnTo>
                  <a:lnTo>
                    <a:pt x="192" y="870"/>
                  </a:lnTo>
                  <a:lnTo>
                    <a:pt x="198" y="870"/>
                  </a:lnTo>
                  <a:lnTo>
                    <a:pt x="198" y="864"/>
                  </a:lnTo>
                  <a:lnTo>
                    <a:pt x="198" y="858"/>
                  </a:lnTo>
                  <a:lnTo>
                    <a:pt x="180" y="852"/>
                  </a:lnTo>
                  <a:lnTo>
                    <a:pt x="174" y="840"/>
                  </a:lnTo>
                  <a:lnTo>
                    <a:pt x="162" y="846"/>
                  </a:lnTo>
                  <a:lnTo>
                    <a:pt x="156" y="846"/>
                  </a:lnTo>
                  <a:lnTo>
                    <a:pt x="150" y="846"/>
                  </a:lnTo>
                  <a:lnTo>
                    <a:pt x="150" y="840"/>
                  </a:lnTo>
                  <a:lnTo>
                    <a:pt x="138" y="834"/>
                  </a:lnTo>
                  <a:lnTo>
                    <a:pt x="132" y="834"/>
                  </a:lnTo>
                  <a:lnTo>
                    <a:pt x="132" y="840"/>
                  </a:lnTo>
                  <a:lnTo>
                    <a:pt x="126" y="840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58"/>
                  </a:lnTo>
                  <a:lnTo>
                    <a:pt x="120" y="846"/>
                  </a:lnTo>
                  <a:lnTo>
                    <a:pt x="114" y="846"/>
                  </a:lnTo>
                  <a:lnTo>
                    <a:pt x="108" y="840"/>
                  </a:lnTo>
                  <a:lnTo>
                    <a:pt x="102" y="834"/>
                  </a:lnTo>
                  <a:lnTo>
                    <a:pt x="102" y="822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78" y="804"/>
                  </a:lnTo>
                  <a:lnTo>
                    <a:pt x="78" y="798"/>
                  </a:lnTo>
                  <a:lnTo>
                    <a:pt x="78" y="792"/>
                  </a:lnTo>
                  <a:lnTo>
                    <a:pt x="78" y="786"/>
                  </a:lnTo>
                  <a:lnTo>
                    <a:pt x="78" y="780"/>
                  </a:lnTo>
                  <a:lnTo>
                    <a:pt x="72" y="774"/>
                  </a:lnTo>
                  <a:lnTo>
                    <a:pt x="66" y="774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60" y="762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6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2" y="666"/>
                  </a:lnTo>
                  <a:lnTo>
                    <a:pt x="18" y="648"/>
                  </a:lnTo>
                  <a:lnTo>
                    <a:pt x="24" y="636"/>
                  </a:lnTo>
                  <a:lnTo>
                    <a:pt x="30" y="630"/>
                  </a:lnTo>
                  <a:lnTo>
                    <a:pt x="30" y="624"/>
                  </a:lnTo>
                  <a:lnTo>
                    <a:pt x="30" y="612"/>
                  </a:lnTo>
                  <a:lnTo>
                    <a:pt x="30" y="606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66" y="582"/>
                  </a:lnTo>
                  <a:lnTo>
                    <a:pt x="72" y="588"/>
                  </a:lnTo>
                  <a:lnTo>
                    <a:pt x="84" y="594"/>
                  </a:lnTo>
                  <a:lnTo>
                    <a:pt x="90" y="600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14" y="612"/>
                  </a:lnTo>
                  <a:lnTo>
                    <a:pt x="120" y="612"/>
                  </a:lnTo>
                  <a:lnTo>
                    <a:pt x="126" y="618"/>
                  </a:lnTo>
                  <a:lnTo>
                    <a:pt x="138" y="594"/>
                  </a:lnTo>
                  <a:lnTo>
                    <a:pt x="138" y="582"/>
                  </a:lnTo>
                  <a:lnTo>
                    <a:pt x="138" y="570"/>
                  </a:lnTo>
                  <a:lnTo>
                    <a:pt x="138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50" y="528"/>
                  </a:lnTo>
                  <a:lnTo>
                    <a:pt x="156" y="510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62"/>
                  </a:lnTo>
                  <a:lnTo>
                    <a:pt x="168" y="450"/>
                  </a:lnTo>
                  <a:lnTo>
                    <a:pt x="168" y="444"/>
                  </a:lnTo>
                  <a:lnTo>
                    <a:pt x="162" y="432"/>
                  </a:lnTo>
                  <a:lnTo>
                    <a:pt x="162" y="426"/>
                  </a:lnTo>
                  <a:lnTo>
                    <a:pt x="156" y="420"/>
                  </a:lnTo>
                  <a:lnTo>
                    <a:pt x="144" y="414"/>
                  </a:lnTo>
                  <a:lnTo>
                    <a:pt x="132" y="402"/>
                  </a:lnTo>
                  <a:lnTo>
                    <a:pt x="126" y="390"/>
                  </a:lnTo>
                  <a:lnTo>
                    <a:pt x="120" y="384"/>
                  </a:lnTo>
                  <a:lnTo>
                    <a:pt x="120" y="372"/>
                  </a:lnTo>
                  <a:lnTo>
                    <a:pt x="114" y="360"/>
                  </a:lnTo>
                  <a:lnTo>
                    <a:pt x="108" y="360"/>
                  </a:lnTo>
                  <a:lnTo>
                    <a:pt x="108" y="354"/>
                  </a:lnTo>
                  <a:lnTo>
                    <a:pt x="102" y="348"/>
                  </a:lnTo>
                  <a:lnTo>
                    <a:pt x="102" y="342"/>
                  </a:lnTo>
                  <a:lnTo>
                    <a:pt x="108" y="330"/>
                  </a:lnTo>
                  <a:lnTo>
                    <a:pt x="114" y="312"/>
                  </a:lnTo>
                  <a:lnTo>
                    <a:pt x="114" y="300"/>
                  </a:lnTo>
                  <a:lnTo>
                    <a:pt x="120" y="288"/>
                  </a:lnTo>
                  <a:lnTo>
                    <a:pt x="120" y="282"/>
                  </a:lnTo>
                  <a:lnTo>
                    <a:pt x="114" y="270"/>
                  </a:lnTo>
                  <a:lnTo>
                    <a:pt x="114" y="258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84" y="222"/>
                  </a:lnTo>
                  <a:lnTo>
                    <a:pt x="84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84" y="186"/>
                  </a:lnTo>
                  <a:lnTo>
                    <a:pt x="84" y="180"/>
                  </a:lnTo>
                  <a:lnTo>
                    <a:pt x="108" y="174"/>
                  </a:lnTo>
                  <a:lnTo>
                    <a:pt x="132" y="186"/>
                  </a:lnTo>
                  <a:lnTo>
                    <a:pt x="138" y="192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56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74" y="204"/>
                  </a:lnTo>
                  <a:lnTo>
                    <a:pt x="180" y="216"/>
                  </a:lnTo>
                  <a:lnTo>
                    <a:pt x="186" y="228"/>
                  </a:lnTo>
                  <a:lnTo>
                    <a:pt x="192" y="234"/>
                  </a:lnTo>
                  <a:lnTo>
                    <a:pt x="198" y="234"/>
                  </a:lnTo>
                  <a:lnTo>
                    <a:pt x="204" y="240"/>
                  </a:lnTo>
                  <a:lnTo>
                    <a:pt x="210" y="240"/>
                  </a:lnTo>
                  <a:lnTo>
                    <a:pt x="216" y="240"/>
                  </a:lnTo>
                  <a:lnTo>
                    <a:pt x="222" y="240"/>
                  </a:lnTo>
                  <a:lnTo>
                    <a:pt x="228" y="246"/>
                  </a:lnTo>
                  <a:lnTo>
                    <a:pt x="234" y="246"/>
                  </a:lnTo>
                  <a:lnTo>
                    <a:pt x="240" y="246"/>
                  </a:lnTo>
                  <a:lnTo>
                    <a:pt x="252" y="252"/>
                  </a:lnTo>
                  <a:lnTo>
                    <a:pt x="330" y="246"/>
                  </a:lnTo>
                  <a:lnTo>
                    <a:pt x="360" y="228"/>
                  </a:lnTo>
                  <a:lnTo>
                    <a:pt x="396" y="228"/>
                  </a:lnTo>
                  <a:lnTo>
                    <a:pt x="402" y="240"/>
                  </a:lnTo>
                  <a:lnTo>
                    <a:pt x="432" y="240"/>
                  </a:lnTo>
                  <a:lnTo>
                    <a:pt x="450" y="258"/>
                  </a:lnTo>
                  <a:lnTo>
                    <a:pt x="468" y="258"/>
                  </a:lnTo>
                  <a:lnTo>
                    <a:pt x="474" y="294"/>
                  </a:lnTo>
                  <a:lnTo>
                    <a:pt x="558" y="318"/>
                  </a:lnTo>
                  <a:lnTo>
                    <a:pt x="588" y="318"/>
                  </a:lnTo>
                  <a:lnTo>
                    <a:pt x="588" y="312"/>
                  </a:lnTo>
                  <a:lnTo>
                    <a:pt x="594" y="306"/>
                  </a:lnTo>
                  <a:lnTo>
                    <a:pt x="600" y="306"/>
                  </a:lnTo>
                  <a:lnTo>
                    <a:pt x="612" y="300"/>
                  </a:lnTo>
                  <a:lnTo>
                    <a:pt x="618" y="300"/>
                  </a:lnTo>
                  <a:lnTo>
                    <a:pt x="630" y="300"/>
                  </a:lnTo>
                  <a:lnTo>
                    <a:pt x="642" y="306"/>
                  </a:lnTo>
                  <a:lnTo>
                    <a:pt x="660" y="306"/>
                  </a:lnTo>
                  <a:lnTo>
                    <a:pt x="666" y="306"/>
                  </a:lnTo>
                  <a:lnTo>
                    <a:pt x="672" y="306"/>
                  </a:lnTo>
                  <a:lnTo>
                    <a:pt x="684" y="300"/>
                  </a:lnTo>
                  <a:lnTo>
                    <a:pt x="696" y="294"/>
                  </a:lnTo>
                  <a:lnTo>
                    <a:pt x="702" y="288"/>
                  </a:lnTo>
                  <a:lnTo>
                    <a:pt x="714" y="282"/>
                  </a:lnTo>
                  <a:lnTo>
                    <a:pt x="714" y="288"/>
                  </a:lnTo>
                  <a:lnTo>
                    <a:pt x="726" y="300"/>
                  </a:lnTo>
                  <a:lnTo>
                    <a:pt x="732" y="306"/>
                  </a:lnTo>
                  <a:lnTo>
                    <a:pt x="732" y="318"/>
                  </a:lnTo>
                  <a:lnTo>
                    <a:pt x="732" y="330"/>
                  </a:lnTo>
                  <a:lnTo>
                    <a:pt x="726" y="342"/>
                  </a:lnTo>
                  <a:lnTo>
                    <a:pt x="720" y="354"/>
                  </a:lnTo>
                  <a:lnTo>
                    <a:pt x="720" y="360"/>
                  </a:lnTo>
                  <a:lnTo>
                    <a:pt x="714" y="372"/>
                  </a:lnTo>
                  <a:lnTo>
                    <a:pt x="714" y="378"/>
                  </a:lnTo>
                  <a:lnTo>
                    <a:pt x="714" y="408"/>
                  </a:lnTo>
                  <a:lnTo>
                    <a:pt x="708" y="420"/>
                  </a:lnTo>
                  <a:lnTo>
                    <a:pt x="714" y="432"/>
                  </a:lnTo>
                  <a:lnTo>
                    <a:pt x="708" y="450"/>
                  </a:lnTo>
                  <a:lnTo>
                    <a:pt x="708" y="468"/>
                  </a:lnTo>
                  <a:lnTo>
                    <a:pt x="696" y="480"/>
                  </a:lnTo>
                  <a:lnTo>
                    <a:pt x="684" y="486"/>
                  </a:lnTo>
                  <a:lnTo>
                    <a:pt x="672" y="492"/>
                  </a:lnTo>
                  <a:lnTo>
                    <a:pt x="660" y="498"/>
                  </a:lnTo>
                  <a:lnTo>
                    <a:pt x="654" y="510"/>
                  </a:lnTo>
                  <a:lnTo>
                    <a:pt x="648" y="516"/>
                  </a:lnTo>
                  <a:lnTo>
                    <a:pt x="642" y="522"/>
                  </a:lnTo>
                  <a:lnTo>
                    <a:pt x="630" y="522"/>
                  </a:lnTo>
                  <a:lnTo>
                    <a:pt x="624" y="528"/>
                  </a:lnTo>
                  <a:lnTo>
                    <a:pt x="618" y="540"/>
                  </a:lnTo>
                  <a:lnTo>
                    <a:pt x="618" y="558"/>
                  </a:lnTo>
                  <a:lnTo>
                    <a:pt x="612" y="576"/>
                  </a:lnTo>
                  <a:lnTo>
                    <a:pt x="612" y="684"/>
                  </a:lnTo>
                  <a:lnTo>
                    <a:pt x="618" y="696"/>
                  </a:lnTo>
                  <a:lnTo>
                    <a:pt x="636" y="696"/>
                  </a:lnTo>
                  <a:lnTo>
                    <a:pt x="636" y="720"/>
                  </a:lnTo>
                  <a:lnTo>
                    <a:pt x="636" y="732"/>
                  </a:lnTo>
                  <a:lnTo>
                    <a:pt x="618" y="750"/>
                  </a:lnTo>
                  <a:lnTo>
                    <a:pt x="606" y="762"/>
                  </a:lnTo>
                  <a:lnTo>
                    <a:pt x="600" y="774"/>
                  </a:lnTo>
                  <a:lnTo>
                    <a:pt x="594" y="798"/>
                  </a:lnTo>
                  <a:lnTo>
                    <a:pt x="606" y="798"/>
                  </a:lnTo>
                  <a:lnTo>
                    <a:pt x="660" y="792"/>
                  </a:lnTo>
                  <a:lnTo>
                    <a:pt x="696" y="798"/>
                  </a:lnTo>
                  <a:lnTo>
                    <a:pt x="720" y="798"/>
                  </a:lnTo>
                  <a:lnTo>
                    <a:pt x="720" y="786"/>
                  </a:lnTo>
                  <a:lnTo>
                    <a:pt x="720" y="774"/>
                  </a:lnTo>
                  <a:lnTo>
                    <a:pt x="702" y="762"/>
                  </a:lnTo>
                  <a:lnTo>
                    <a:pt x="702" y="750"/>
                  </a:lnTo>
                  <a:lnTo>
                    <a:pt x="702" y="726"/>
                  </a:lnTo>
                  <a:lnTo>
                    <a:pt x="714" y="714"/>
                  </a:lnTo>
                  <a:lnTo>
                    <a:pt x="720" y="702"/>
                  </a:lnTo>
                  <a:lnTo>
                    <a:pt x="720" y="696"/>
                  </a:lnTo>
                  <a:lnTo>
                    <a:pt x="744" y="690"/>
                  </a:lnTo>
                  <a:lnTo>
                    <a:pt x="744" y="696"/>
                  </a:lnTo>
                  <a:lnTo>
                    <a:pt x="756" y="696"/>
                  </a:lnTo>
                  <a:lnTo>
                    <a:pt x="762" y="690"/>
                  </a:lnTo>
                  <a:lnTo>
                    <a:pt x="768" y="690"/>
                  </a:lnTo>
                  <a:lnTo>
                    <a:pt x="774" y="696"/>
                  </a:lnTo>
                  <a:lnTo>
                    <a:pt x="780" y="696"/>
                  </a:lnTo>
                  <a:lnTo>
                    <a:pt x="786" y="696"/>
                  </a:lnTo>
                  <a:lnTo>
                    <a:pt x="804" y="684"/>
                  </a:lnTo>
                  <a:lnTo>
                    <a:pt x="810" y="684"/>
                  </a:lnTo>
                  <a:lnTo>
                    <a:pt x="810" y="654"/>
                  </a:lnTo>
                  <a:lnTo>
                    <a:pt x="816" y="588"/>
                  </a:lnTo>
                  <a:lnTo>
                    <a:pt x="804" y="582"/>
                  </a:lnTo>
                  <a:lnTo>
                    <a:pt x="798" y="552"/>
                  </a:lnTo>
                  <a:lnTo>
                    <a:pt x="798" y="480"/>
                  </a:lnTo>
                  <a:lnTo>
                    <a:pt x="780" y="468"/>
                  </a:lnTo>
                  <a:lnTo>
                    <a:pt x="780" y="462"/>
                  </a:lnTo>
                  <a:lnTo>
                    <a:pt x="774" y="450"/>
                  </a:lnTo>
                  <a:lnTo>
                    <a:pt x="762" y="444"/>
                  </a:lnTo>
                  <a:lnTo>
                    <a:pt x="762" y="438"/>
                  </a:lnTo>
                  <a:lnTo>
                    <a:pt x="768" y="432"/>
                  </a:lnTo>
                  <a:lnTo>
                    <a:pt x="774" y="426"/>
                  </a:lnTo>
                  <a:lnTo>
                    <a:pt x="780" y="426"/>
                  </a:lnTo>
                  <a:lnTo>
                    <a:pt x="780" y="414"/>
                  </a:lnTo>
                  <a:lnTo>
                    <a:pt x="834" y="414"/>
                  </a:lnTo>
                  <a:lnTo>
                    <a:pt x="834" y="426"/>
                  </a:lnTo>
                  <a:lnTo>
                    <a:pt x="840" y="432"/>
                  </a:lnTo>
                  <a:lnTo>
                    <a:pt x="846" y="432"/>
                  </a:lnTo>
                  <a:lnTo>
                    <a:pt x="852" y="432"/>
                  </a:lnTo>
                  <a:lnTo>
                    <a:pt x="858" y="432"/>
                  </a:lnTo>
                  <a:lnTo>
                    <a:pt x="870" y="432"/>
                  </a:lnTo>
                  <a:lnTo>
                    <a:pt x="870" y="426"/>
                  </a:lnTo>
                  <a:lnTo>
                    <a:pt x="870" y="420"/>
                  </a:lnTo>
                  <a:lnTo>
                    <a:pt x="876" y="420"/>
                  </a:lnTo>
                  <a:lnTo>
                    <a:pt x="882" y="420"/>
                  </a:lnTo>
                  <a:lnTo>
                    <a:pt x="894" y="414"/>
                  </a:lnTo>
                  <a:lnTo>
                    <a:pt x="900" y="414"/>
                  </a:lnTo>
                  <a:lnTo>
                    <a:pt x="906" y="408"/>
                  </a:lnTo>
                  <a:lnTo>
                    <a:pt x="918" y="408"/>
                  </a:lnTo>
                  <a:lnTo>
                    <a:pt x="924" y="402"/>
                  </a:lnTo>
                  <a:lnTo>
                    <a:pt x="930" y="384"/>
                  </a:lnTo>
                  <a:lnTo>
                    <a:pt x="948" y="396"/>
                  </a:lnTo>
                  <a:lnTo>
                    <a:pt x="954" y="384"/>
                  </a:lnTo>
                  <a:lnTo>
                    <a:pt x="960" y="384"/>
                  </a:lnTo>
                  <a:lnTo>
                    <a:pt x="972" y="384"/>
                  </a:lnTo>
                  <a:lnTo>
                    <a:pt x="978" y="378"/>
                  </a:lnTo>
                  <a:lnTo>
                    <a:pt x="972" y="366"/>
                  </a:lnTo>
                  <a:lnTo>
                    <a:pt x="966" y="342"/>
                  </a:lnTo>
                  <a:lnTo>
                    <a:pt x="960" y="330"/>
                  </a:lnTo>
                  <a:lnTo>
                    <a:pt x="942" y="324"/>
                  </a:lnTo>
                  <a:lnTo>
                    <a:pt x="936" y="318"/>
                  </a:lnTo>
                  <a:lnTo>
                    <a:pt x="936" y="294"/>
                  </a:lnTo>
                  <a:lnTo>
                    <a:pt x="942" y="294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282"/>
                  </a:lnTo>
                  <a:lnTo>
                    <a:pt x="954" y="276"/>
                  </a:lnTo>
                  <a:lnTo>
                    <a:pt x="960" y="276"/>
                  </a:lnTo>
                  <a:lnTo>
                    <a:pt x="966" y="276"/>
                  </a:lnTo>
                  <a:lnTo>
                    <a:pt x="960" y="258"/>
                  </a:lnTo>
                  <a:lnTo>
                    <a:pt x="954" y="240"/>
                  </a:lnTo>
                  <a:lnTo>
                    <a:pt x="948" y="204"/>
                  </a:lnTo>
                  <a:lnTo>
                    <a:pt x="954" y="204"/>
                  </a:lnTo>
                  <a:lnTo>
                    <a:pt x="960" y="198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00" y="186"/>
                  </a:lnTo>
                  <a:lnTo>
                    <a:pt x="876" y="180"/>
                  </a:lnTo>
                  <a:lnTo>
                    <a:pt x="858" y="180"/>
                  </a:lnTo>
                  <a:lnTo>
                    <a:pt x="852" y="168"/>
                  </a:lnTo>
                  <a:lnTo>
                    <a:pt x="834" y="156"/>
                  </a:lnTo>
                  <a:lnTo>
                    <a:pt x="822" y="156"/>
                  </a:lnTo>
                  <a:lnTo>
                    <a:pt x="804" y="156"/>
                  </a:lnTo>
                  <a:lnTo>
                    <a:pt x="804" y="150"/>
                  </a:lnTo>
                  <a:lnTo>
                    <a:pt x="792" y="144"/>
                  </a:lnTo>
                  <a:lnTo>
                    <a:pt x="762" y="138"/>
                  </a:lnTo>
                  <a:lnTo>
                    <a:pt x="768" y="120"/>
                  </a:lnTo>
                  <a:lnTo>
                    <a:pt x="756" y="120"/>
                  </a:lnTo>
                  <a:lnTo>
                    <a:pt x="744" y="108"/>
                  </a:lnTo>
                  <a:lnTo>
                    <a:pt x="744" y="96"/>
                  </a:lnTo>
                  <a:lnTo>
                    <a:pt x="762" y="84"/>
                  </a:lnTo>
                  <a:lnTo>
                    <a:pt x="768" y="84"/>
                  </a:lnTo>
                  <a:lnTo>
                    <a:pt x="768" y="72"/>
                  </a:lnTo>
                  <a:lnTo>
                    <a:pt x="780" y="66"/>
                  </a:lnTo>
                  <a:lnTo>
                    <a:pt x="798" y="54"/>
                  </a:lnTo>
                  <a:lnTo>
                    <a:pt x="792" y="54"/>
                  </a:lnTo>
                  <a:lnTo>
                    <a:pt x="798" y="36"/>
                  </a:lnTo>
                  <a:lnTo>
                    <a:pt x="804" y="36"/>
                  </a:lnTo>
                  <a:lnTo>
                    <a:pt x="816" y="30"/>
                  </a:lnTo>
                  <a:lnTo>
                    <a:pt x="828" y="30"/>
                  </a:lnTo>
                  <a:lnTo>
                    <a:pt x="846" y="12"/>
                  </a:lnTo>
                  <a:lnTo>
                    <a:pt x="876" y="0"/>
                  </a:lnTo>
                  <a:lnTo>
                    <a:pt x="882" y="6"/>
                  </a:lnTo>
                  <a:lnTo>
                    <a:pt x="900" y="6"/>
                  </a:lnTo>
                  <a:lnTo>
                    <a:pt x="912" y="36"/>
                  </a:lnTo>
                  <a:lnTo>
                    <a:pt x="918" y="42"/>
                  </a:lnTo>
                  <a:lnTo>
                    <a:pt x="924" y="54"/>
                  </a:lnTo>
                  <a:lnTo>
                    <a:pt x="930" y="54"/>
                  </a:lnTo>
                  <a:lnTo>
                    <a:pt x="930" y="78"/>
                  </a:lnTo>
                  <a:lnTo>
                    <a:pt x="954" y="72"/>
                  </a:lnTo>
                  <a:lnTo>
                    <a:pt x="954" y="60"/>
                  </a:lnTo>
                  <a:lnTo>
                    <a:pt x="966" y="66"/>
                  </a:lnTo>
                  <a:lnTo>
                    <a:pt x="966" y="78"/>
                  </a:lnTo>
                  <a:lnTo>
                    <a:pt x="960" y="84"/>
                  </a:lnTo>
                  <a:lnTo>
                    <a:pt x="954" y="102"/>
                  </a:lnTo>
                  <a:lnTo>
                    <a:pt x="972" y="102"/>
                  </a:lnTo>
                  <a:lnTo>
                    <a:pt x="978" y="84"/>
                  </a:lnTo>
                  <a:lnTo>
                    <a:pt x="984" y="72"/>
                  </a:lnTo>
                  <a:lnTo>
                    <a:pt x="990" y="72"/>
                  </a:lnTo>
                  <a:lnTo>
                    <a:pt x="996" y="18"/>
                  </a:lnTo>
                  <a:lnTo>
                    <a:pt x="990" y="12"/>
                  </a:lnTo>
                  <a:lnTo>
                    <a:pt x="1014" y="12"/>
                  </a:lnTo>
                  <a:lnTo>
                    <a:pt x="1026" y="12"/>
                  </a:lnTo>
                  <a:lnTo>
                    <a:pt x="1026" y="24"/>
                  </a:lnTo>
                  <a:lnTo>
                    <a:pt x="1050" y="24"/>
                  </a:lnTo>
                  <a:lnTo>
                    <a:pt x="1050" y="36"/>
                  </a:lnTo>
                  <a:lnTo>
                    <a:pt x="1062" y="66"/>
                  </a:lnTo>
                  <a:lnTo>
                    <a:pt x="1074" y="66"/>
                  </a:lnTo>
                  <a:lnTo>
                    <a:pt x="1080" y="60"/>
                  </a:lnTo>
                  <a:lnTo>
                    <a:pt x="1074" y="24"/>
                  </a:lnTo>
                  <a:lnTo>
                    <a:pt x="1086" y="18"/>
                  </a:lnTo>
                  <a:lnTo>
                    <a:pt x="1086" y="12"/>
                  </a:lnTo>
                  <a:lnTo>
                    <a:pt x="1104" y="6"/>
                  </a:lnTo>
                  <a:lnTo>
                    <a:pt x="1122" y="0"/>
                  </a:lnTo>
                  <a:lnTo>
                    <a:pt x="1134" y="6"/>
                  </a:lnTo>
                  <a:lnTo>
                    <a:pt x="1134" y="42"/>
                  </a:lnTo>
                  <a:lnTo>
                    <a:pt x="1140" y="72"/>
                  </a:lnTo>
                  <a:lnTo>
                    <a:pt x="1158" y="114"/>
                  </a:lnTo>
                  <a:lnTo>
                    <a:pt x="1170" y="114"/>
                  </a:lnTo>
                  <a:lnTo>
                    <a:pt x="1170" y="126"/>
                  </a:lnTo>
                  <a:lnTo>
                    <a:pt x="1182" y="126"/>
                  </a:lnTo>
                  <a:lnTo>
                    <a:pt x="1182" y="138"/>
                  </a:lnTo>
                  <a:lnTo>
                    <a:pt x="1194" y="144"/>
                  </a:lnTo>
                  <a:lnTo>
                    <a:pt x="1194" y="156"/>
                  </a:lnTo>
                  <a:lnTo>
                    <a:pt x="1188" y="156"/>
                  </a:lnTo>
                  <a:lnTo>
                    <a:pt x="1194" y="162"/>
                  </a:lnTo>
                  <a:lnTo>
                    <a:pt x="1194" y="168"/>
                  </a:lnTo>
                  <a:lnTo>
                    <a:pt x="1188" y="168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82" y="180"/>
                  </a:lnTo>
                  <a:lnTo>
                    <a:pt x="1188" y="186"/>
                  </a:lnTo>
                  <a:lnTo>
                    <a:pt x="1188" y="192"/>
                  </a:lnTo>
                  <a:lnTo>
                    <a:pt x="1182" y="198"/>
                  </a:lnTo>
                  <a:lnTo>
                    <a:pt x="1182" y="204"/>
                  </a:lnTo>
                  <a:lnTo>
                    <a:pt x="1182" y="210"/>
                  </a:lnTo>
                  <a:lnTo>
                    <a:pt x="1188" y="210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2"/>
                  </a:lnTo>
                  <a:lnTo>
                    <a:pt x="1194" y="264"/>
                  </a:lnTo>
                  <a:lnTo>
                    <a:pt x="1200" y="264"/>
                  </a:lnTo>
                  <a:lnTo>
                    <a:pt x="1212" y="264"/>
                  </a:lnTo>
                  <a:lnTo>
                    <a:pt x="1212" y="258"/>
                  </a:lnTo>
                  <a:lnTo>
                    <a:pt x="1224" y="258"/>
                  </a:lnTo>
                  <a:lnTo>
                    <a:pt x="1248" y="252"/>
                  </a:lnTo>
                  <a:lnTo>
                    <a:pt x="1248" y="264"/>
                  </a:lnTo>
                  <a:lnTo>
                    <a:pt x="1254" y="264"/>
                  </a:lnTo>
                  <a:lnTo>
                    <a:pt x="1254" y="270"/>
                  </a:lnTo>
                  <a:lnTo>
                    <a:pt x="1260" y="270"/>
                  </a:lnTo>
                  <a:lnTo>
                    <a:pt x="1266" y="270"/>
                  </a:lnTo>
                  <a:lnTo>
                    <a:pt x="1272" y="270"/>
                  </a:lnTo>
                  <a:lnTo>
                    <a:pt x="1272" y="264"/>
                  </a:lnTo>
                  <a:lnTo>
                    <a:pt x="1272" y="258"/>
                  </a:lnTo>
                  <a:lnTo>
                    <a:pt x="1278" y="258"/>
                  </a:lnTo>
                  <a:lnTo>
                    <a:pt x="1278" y="252"/>
                  </a:lnTo>
                  <a:lnTo>
                    <a:pt x="1290" y="252"/>
                  </a:lnTo>
                  <a:lnTo>
                    <a:pt x="1296" y="246"/>
                  </a:lnTo>
                  <a:lnTo>
                    <a:pt x="1308" y="246"/>
                  </a:lnTo>
                  <a:lnTo>
                    <a:pt x="1308" y="240"/>
                  </a:lnTo>
                  <a:lnTo>
                    <a:pt x="1320" y="240"/>
                  </a:lnTo>
                  <a:lnTo>
                    <a:pt x="1326" y="246"/>
                  </a:lnTo>
                  <a:lnTo>
                    <a:pt x="1338" y="246"/>
                  </a:lnTo>
                  <a:lnTo>
                    <a:pt x="1338" y="240"/>
                  </a:lnTo>
                  <a:lnTo>
                    <a:pt x="1350" y="240"/>
                  </a:lnTo>
                  <a:lnTo>
                    <a:pt x="1386" y="234"/>
                  </a:lnTo>
                  <a:lnTo>
                    <a:pt x="1398" y="228"/>
                  </a:lnTo>
                  <a:lnTo>
                    <a:pt x="1404" y="216"/>
                  </a:lnTo>
                  <a:lnTo>
                    <a:pt x="1416" y="204"/>
                  </a:lnTo>
                  <a:lnTo>
                    <a:pt x="1434" y="192"/>
                  </a:lnTo>
                  <a:lnTo>
                    <a:pt x="1446" y="198"/>
                  </a:lnTo>
                  <a:lnTo>
                    <a:pt x="1446" y="204"/>
                  </a:lnTo>
                  <a:lnTo>
                    <a:pt x="1452" y="210"/>
                  </a:lnTo>
                  <a:lnTo>
                    <a:pt x="1464" y="222"/>
                  </a:lnTo>
                  <a:lnTo>
                    <a:pt x="1464" y="228"/>
                  </a:lnTo>
                  <a:lnTo>
                    <a:pt x="1464" y="234"/>
                  </a:lnTo>
                  <a:lnTo>
                    <a:pt x="1470" y="240"/>
                  </a:lnTo>
                  <a:lnTo>
                    <a:pt x="1476" y="228"/>
                  </a:lnTo>
                  <a:lnTo>
                    <a:pt x="1476" y="222"/>
                  </a:lnTo>
                  <a:lnTo>
                    <a:pt x="1482" y="210"/>
                  </a:lnTo>
                  <a:lnTo>
                    <a:pt x="1488" y="192"/>
                  </a:lnTo>
                  <a:lnTo>
                    <a:pt x="1488" y="186"/>
                  </a:lnTo>
                  <a:lnTo>
                    <a:pt x="1488" y="180"/>
                  </a:lnTo>
                  <a:lnTo>
                    <a:pt x="1500" y="180"/>
                  </a:lnTo>
                  <a:lnTo>
                    <a:pt x="1500" y="174"/>
                  </a:lnTo>
                  <a:lnTo>
                    <a:pt x="1518" y="162"/>
                  </a:lnTo>
                  <a:lnTo>
                    <a:pt x="1536" y="150"/>
                  </a:lnTo>
                  <a:lnTo>
                    <a:pt x="1554" y="168"/>
                  </a:lnTo>
                  <a:lnTo>
                    <a:pt x="1572" y="180"/>
                  </a:lnTo>
                  <a:lnTo>
                    <a:pt x="1596" y="216"/>
                  </a:lnTo>
                  <a:lnTo>
                    <a:pt x="1602" y="216"/>
                  </a:lnTo>
                  <a:lnTo>
                    <a:pt x="1614" y="228"/>
                  </a:lnTo>
                  <a:lnTo>
                    <a:pt x="1614" y="234"/>
                  </a:lnTo>
                  <a:lnTo>
                    <a:pt x="1620" y="240"/>
                  </a:lnTo>
                  <a:lnTo>
                    <a:pt x="1620" y="246"/>
                  </a:lnTo>
                  <a:lnTo>
                    <a:pt x="1626" y="252"/>
                  </a:lnTo>
                  <a:lnTo>
                    <a:pt x="1632" y="258"/>
                  </a:lnTo>
                  <a:lnTo>
                    <a:pt x="1632" y="264"/>
                  </a:lnTo>
                  <a:lnTo>
                    <a:pt x="1638" y="264"/>
                  </a:lnTo>
                  <a:lnTo>
                    <a:pt x="1638" y="270"/>
                  </a:lnTo>
                  <a:lnTo>
                    <a:pt x="1638" y="276"/>
                  </a:lnTo>
                  <a:lnTo>
                    <a:pt x="1638" y="282"/>
                  </a:lnTo>
                  <a:lnTo>
                    <a:pt x="1644" y="288"/>
                  </a:lnTo>
                  <a:lnTo>
                    <a:pt x="1644" y="294"/>
                  </a:lnTo>
                  <a:lnTo>
                    <a:pt x="1644" y="300"/>
                  </a:lnTo>
                  <a:lnTo>
                    <a:pt x="1644" y="306"/>
                  </a:lnTo>
                  <a:lnTo>
                    <a:pt x="1650" y="306"/>
                  </a:lnTo>
                  <a:lnTo>
                    <a:pt x="1650" y="312"/>
                  </a:lnTo>
                  <a:lnTo>
                    <a:pt x="1650" y="318"/>
                  </a:lnTo>
                  <a:lnTo>
                    <a:pt x="1650" y="324"/>
                  </a:lnTo>
                  <a:lnTo>
                    <a:pt x="1644" y="330"/>
                  </a:lnTo>
                  <a:lnTo>
                    <a:pt x="1626" y="330"/>
                  </a:lnTo>
                  <a:lnTo>
                    <a:pt x="1626" y="336"/>
                  </a:lnTo>
                  <a:lnTo>
                    <a:pt x="1626" y="342"/>
                  </a:lnTo>
                  <a:lnTo>
                    <a:pt x="1626" y="348"/>
                  </a:lnTo>
                  <a:lnTo>
                    <a:pt x="1620" y="354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14" y="390"/>
                  </a:lnTo>
                  <a:lnTo>
                    <a:pt x="1614" y="396"/>
                  </a:lnTo>
                  <a:lnTo>
                    <a:pt x="1614" y="402"/>
                  </a:lnTo>
                  <a:lnTo>
                    <a:pt x="1614" y="408"/>
                  </a:lnTo>
                  <a:lnTo>
                    <a:pt x="1614" y="414"/>
                  </a:lnTo>
                  <a:lnTo>
                    <a:pt x="1602" y="420"/>
                  </a:lnTo>
                  <a:lnTo>
                    <a:pt x="1602" y="426"/>
                  </a:lnTo>
                  <a:lnTo>
                    <a:pt x="1608" y="432"/>
                  </a:lnTo>
                  <a:lnTo>
                    <a:pt x="1614" y="426"/>
                  </a:lnTo>
                  <a:lnTo>
                    <a:pt x="1620" y="438"/>
                  </a:lnTo>
                  <a:lnTo>
                    <a:pt x="1626" y="438"/>
                  </a:lnTo>
                  <a:lnTo>
                    <a:pt x="1632" y="444"/>
                  </a:lnTo>
                  <a:lnTo>
                    <a:pt x="1626" y="456"/>
                  </a:lnTo>
                  <a:lnTo>
                    <a:pt x="1626" y="468"/>
                  </a:lnTo>
                  <a:lnTo>
                    <a:pt x="1620" y="474"/>
                  </a:lnTo>
                  <a:lnTo>
                    <a:pt x="1614" y="474"/>
                  </a:lnTo>
                  <a:lnTo>
                    <a:pt x="1614" y="486"/>
                  </a:lnTo>
                  <a:lnTo>
                    <a:pt x="1614" y="492"/>
                  </a:lnTo>
                  <a:lnTo>
                    <a:pt x="1620" y="492"/>
                  </a:lnTo>
                  <a:lnTo>
                    <a:pt x="1626" y="498"/>
                  </a:lnTo>
                  <a:lnTo>
                    <a:pt x="1626" y="504"/>
                  </a:lnTo>
                  <a:lnTo>
                    <a:pt x="1626" y="510"/>
                  </a:lnTo>
                  <a:lnTo>
                    <a:pt x="1620" y="516"/>
                  </a:lnTo>
                  <a:lnTo>
                    <a:pt x="1620" y="522"/>
                  </a:lnTo>
                  <a:lnTo>
                    <a:pt x="1614" y="522"/>
                  </a:lnTo>
                  <a:lnTo>
                    <a:pt x="1608" y="528"/>
                  </a:lnTo>
                  <a:lnTo>
                    <a:pt x="1602" y="522"/>
                  </a:lnTo>
                  <a:lnTo>
                    <a:pt x="1602" y="528"/>
                  </a:lnTo>
                  <a:lnTo>
                    <a:pt x="1602" y="540"/>
                  </a:lnTo>
                  <a:lnTo>
                    <a:pt x="1602" y="558"/>
                  </a:lnTo>
                  <a:lnTo>
                    <a:pt x="1602" y="564"/>
                  </a:lnTo>
                  <a:lnTo>
                    <a:pt x="1602" y="570"/>
                  </a:lnTo>
                  <a:lnTo>
                    <a:pt x="1602" y="576"/>
                  </a:lnTo>
                  <a:lnTo>
                    <a:pt x="1596" y="576"/>
                  </a:lnTo>
                  <a:lnTo>
                    <a:pt x="1632" y="582"/>
                  </a:lnTo>
                  <a:lnTo>
                    <a:pt x="1644" y="618"/>
                  </a:lnTo>
                  <a:lnTo>
                    <a:pt x="1650" y="648"/>
                  </a:lnTo>
                  <a:lnTo>
                    <a:pt x="1662" y="636"/>
                  </a:lnTo>
                  <a:lnTo>
                    <a:pt x="1668" y="636"/>
                  </a:lnTo>
                  <a:lnTo>
                    <a:pt x="1674" y="636"/>
                  </a:lnTo>
                  <a:lnTo>
                    <a:pt x="1680" y="630"/>
                  </a:lnTo>
                  <a:lnTo>
                    <a:pt x="1686" y="630"/>
                  </a:lnTo>
                  <a:lnTo>
                    <a:pt x="1692" y="630"/>
                  </a:lnTo>
                  <a:lnTo>
                    <a:pt x="1698" y="630"/>
                  </a:lnTo>
                  <a:lnTo>
                    <a:pt x="1704" y="630"/>
                  </a:lnTo>
                  <a:lnTo>
                    <a:pt x="1704" y="624"/>
                  </a:lnTo>
                  <a:lnTo>
                    <a:pt x="1710" y="624"/>
                  </a:lnTo>
                  <a:lnTo>
                    <a:pt x="1716" y="624"/>
                  </a:lnTo>
                  <a:lnTo>
                    <a:pt x="1722" y="624"/>
                  </a:lnTo>
                  <a:lnTo>
                    <a:pt x="1728" y="624"/>
                  </a:lnTo>
                  <a:lnTo>
                    <a:pt x="1722" y="618"/>
                  </a:lnTo>
                  <a:lnTo>
                    <a:pt x="1728" y="606"/>
                  </a:lnTo>
                  <a:lnTo>
                    <a:pt x="1734" y="606"/>
                  </a:lnTo>
                  <a:lnTo>
                    <a:pt x="1740" y="600"/>
                  </a:lnTo>
                  <a:lnTo>
                    <a:pt x="1746" y="594"/>
                  </a:lnTo>
                  <a:lnTo>
                    <a:pt x="1752" y="588"/>
                  </a:lnTo>
                  <a:lnTo>
                    <a:pt x="1752" y="582"/>
                  </a:lnTo>
                  <a:lnTo>
                    <a:pt x="1758" y="576"/>
                  </a:lnTo>
                  <a:lnTo>
                    <a:pt x="1764" y="576"/>
                  </a:lnTo>
                  <a:lnTo>
                    <a:pt x="1770" y="570"/>
                  </a:lnTo>
                  <a:lnTo>
                    <a:pt x="1776" y="564"/>
                  </a:lnTo>
                  <a:lnTo>
                    <a:pt x="1788" y="558"/>
                  </a:lnTo>
                  <a:lnTo>
                    <a:pt x="1788" y="546"/>
                  </a:lnTo>
                  <a:lnTo>
                    <a:pt x="1788" y="540"/>
                  </a:lnTo>
                  <a:lnTo>
                    <a:pt x="1794" y="540"/>
                  </a:lnTo>
                  <a:lnTo>
                    <a:pt x="1788" y="534"/>
                  </a:lnTo>
                  <a:lnTo>
                    <a:pt x="1788" y="528"/>
                  </a:lnTo>
                  <a:lnTo>
                    <a:pt x="1794" y="516"/>
                  </a:lnTo>
                  <a:lnTo>
                    <a:pt x="1800" y="510"/>
                  </a:lnTo>
                  <a:lnTo>
                    <a:pt x="1812" y="510"/>
                  </a:lnTo>
                  <a:lnTo>
                    <a:pt x="1818" y="504"/>
                  </a:lnTo>
                  <a:lnTo>
                    <a:pt x="1824" y="504"/>
                  </a:lnTo>
                  <a:lnTo>
                    <a:pt x="1830" y="498"/>
                  </a:lnTo>
                  <a:lnTo>
                    <a:pt x="1836" y="498"/>
                  </a:lnTo>
                  <a:lnTo>
                    <a:pt x="1848" y="492"/>
                  </a:lnTo>
                  <a:lnTo>
                    <a:pt x="1848" y="480"/>
                  </a:lnTo>
                  <a:lnTo>
                    <a:pt x="1854" y="480"/>
                  </a:lnTo>
                  <a:lnTo>
                    <a:pt x="1890" y="504"/>
                  </a:lnTo>
                  <a:lnTo>
                    <a:pt x="1908" y="534"/>
                  </a:lnTo>
                  <a:lnTo>
                    <a:pt x="1902" y="534"/>
                  </a:lnTo>
                  <a:lnTo>
                    <a:pt x="1920" y="528"/>
                  </a:lnTo>
                  <a:lnTo>
                    <a:pt x="1920" y="516"/>
                  </a:lnTo>
                  <a:lnTo>
                    <a:pt x="1944" y="516"/>
                  </a:lnTo>
                  <a:lnTo>
                    <a:pt x="2004" y="516"/>
                  </a:lnTo>
                  <a:lnTo>
                    <a:pt x="2010" y="510"/>
                  </a:lnTo>
                  <a:lnTo>
                    <a:pt x="2004" y="510"/>
                  </a:lnTo>
                  <a:lnTo>
                    <a:pt x="2010" y="498"/>
                  </a:lnTo>
                  <a:lnTo>
                    <a:pt x="2004" y="486"/>
                  </a:lnTo>
                  <a:lnTo>
                    <a:pt x="2004" y="480"/>
                  </a:lnTo>
                  <a:lnTo>
                    <a:pt x="2004" y="474"/>
                  </a:lnTo>
                  <a:lnTo>
                    <a:pt x="2004" y="462"/>
                  </a:lnTo>
                  <a:lnTo>
                    <a:pt x="2004" y="456"/>
                  </a:lnTo>
                  <a:lnTo>
                    <a:pt x="2058" y="462"/>
                  </a:lnTo>
                  <a:lnTo>
                    <a:pt x="2076" y="474"/>
                  </a:lnTo>
                  <a:lnTo>
                    <a:pt x="2082" y="522"/>
                  </a:lnTo>
                  <a:lnTo>
                    <a:pt x="2088" y="516"/>
                  </a:lnTo>
                  <a:lnTo>
                    <a:pt x="2094" y="522"/>
                  </a:lnTo>
                  <a:lnTo>
                    <a:pt x="2100" y="528"/>
                  </a:lnTo>
                  <a:lnTo>
                    <a:pt x="2130" y="540"/>
                  </a:lnTo>
                  <a:lnTo>
                    <a:pt x="2160" y="564"/>
                  </a:lnTo>
                  <a:lnTo>
                    <a:pt x="2166" y="600"/>
                  </a:lnTo>
                  <a:lnTo>
                    <a:pt x="2160" y="618"/>
                  </a:lnTo>
                  <a:lnTo>
                    <a:pt x="2142" y="636"/>
                  </a:lnTo>
                  <a:lnTo>
                    <a:pt x="2148" y="648"/>
                  </a:lnTo>
                  <a:lnTo>
                    <a:pt x="2154" y="660"/>
                  </a:lnTo>
                  <a:lnTo>
                    <a:pt x="2196" y="654"/>
                  </a:lnTo>
                  <a:lnTo>
                    <a:pt x="2214" y="660"/>
                  </a:lnTo>
                  <a:lnTo>
                    <a:pt x="2214" y="666"/>
                  </a:lnTo>
                  <a:lnTo>
                    <a:pt x="2220" y="672"/>
                  </a:lnTo>
                  <a:lnTo>
                    <a:pt x="2214" y="678"/>
                  </a:lnTo>
                  <a:lnTo>
                    <a:pt x="2214" y="684"/>
                  </a:lnTo>
                  <a:lnTo>
                    <a:pt x="2214" y="690"/>
                  </a:lnTo>
                  <a:lnTo>
                    <a:pt x="2208" y="690"/>
                  </a:lnTo>
                  <a:lnTo>
                    <a:pt x="2202" y="696"/>
                  </a:lnTo>
                  <a:lnTo>
                    <a:pt x="2196" y="702"/>
                  </a:lnTo>
                  <a:lnTo>
                    <a:pt x="2190" y="708"/>
                  </a:lnTo>
                  <a:lnTo>
                    <a:pt x="2190" y="720"/>
                  </a:lnTo>
                  <a:lnTo>
                    <a:pt x="2184" y="720"/>
                  </a:lnTo>
                  <a:lnTo>
                    <a:pt x="2178" y="726"/>
                  </a:lnTo>
                  <a:lnTo>
                    <a:pt x="2166" y="732"/>
                  </a:lnTo>
                  <a:lnTo>
                    <a:pt x="2160" y="744"/>
                  </a:lnTo>
                  <a:lnTo>
                    <a:pt x="2154" y="756"/>
                  </a:lnTo>
                  <a:lnTo>
                    <a:pt x="2148" y="762"/>
                  </a:lnTo>
                  <a:lnTo>
                    <a:pt x="2124" y="762"/>
                  </a:lnTo>
                  <a:lnTo>
                    <a:pt x="2124" y="768"/>
                  </a:lnTo>
                  <a:lnTo>
                    <a:pt x="2118" y="768"/>
                  </a:lnTo>
                  <a:lnTo>
                    <a:pt x="2124" y="774"/>
                  </a:lnTo>
                  <a:lnTo>
                    <a:pt x="2118" y="774"/>
                  </a:lnTo>
                  <a:lnTo>
                    <a:pt x="2112" y="774"/>
                  </a:lnTo>
                  <a:lnTo>
                    <a:pt x="2106" y="780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06" y="798"/>
                  </a:lnTo>
                  <a:lnTo>
                    <a:pt x="2106" y="810"/>
                  </a:lnTo>
                  <a:lnTo>
                    <a:pt x="2112" y="828"/>
                  </a:lnTo>
                  <a:lnTo>
                    <a:pt x="2112" y="834"/>
                  </a:lnTo>
                  <a:lnTo>
                    <a:pt x="2112" y="840"/>
                  </a:lnTo>
                  <a:lnTo>
                    <a:pt x="2112" y="834"/>
                  </a:lnTo>
                  <a:lnTo>
                    <a:pt x="2124" y="834"/>
                  </a:lnTo>
                  <a:lnTo>
                    <a:pt x="2130" y="834"/>
                  </a:lnTo>
                  <a:lnTo>
                    <a:pt x="2136" y="840"/>
                  </a:lnTo>
                  <a:lnTo>
                    <a:pt x="2142" y="840"/>
                  </a:lnTo>
                  <a:lnTo>
                    <a:pt x="2154" y="852"/>
                  </a:lnTo>
                  <a:lnTo>
                    <a:pt x="2160" y="852"/>
                  </a:lnTo>
                  <a:lnTo>
                    <a:pt x="2172" y="846"/>
                  </a:lnTo>
                  <a:lnTo>
                    <a:pt x="2178" y="846"/>
                  </a:lnTo>
                  <a:lnTo>
                    <a:pt x="2184" y="846"/>
                  </a:lnTo>
                  <a:lnTo>
                    <a:pt x="2190" y="846"/>
                  </a:lnTo>
                  <a:lnTo>
                    <a:pt x="2196" y="852"/>
                  </a:lnTo>
                  <a:lnTo>
                    <a:pt x="2196" y="858"/>
                  </a:lnTo>
                  <a:lnTo>
                    <a:pt x="2202" y="852"/>
                  </a:lnTo>
                  <a:lnTo>
                    <a:pt x="2208" y="846"/>
                  </a:lnTo>
                  <a:lnTo>
                    <a:pt x="2214" y="846"/>
                  </a:lnTo>
                  <a:lnTo>
                    <a:pt x="2226" y="846"/>
                  </a:lnTo>
                  <a:lnTo>
                    <a:pt x="2232" y="852"/>
                  </a:lnTo>
                  <a:lnTo>
                    <a:pt x="2238" y="852"/>
                  </a:lnTo>
                  <a:lnTo>
                    <a:pt x="2244" y="858"/>
                  </a:lnTo>
                  <a:lnTo>
                    <a:pt x="2250" y="858"/>
                  </a:lnTo>
                  <a:lnTo>
                    <a:pt x="2256" y="858"/>
                  </a:lnTo>
                  <a:lnTo>
                    <a:pt x="2262" y="858"/>
                  </a:lnTo>
                  <a:lnTo>
                    <a:pt x="2268" y="852"/>
                  </a:lnTo>
                  <a:lnTo>
                    <a:pt x="2274" y="852"/>
                  </a:lnTo>
                  <a:lnTo>
                    <a:pt x="2280" y="852"/>
                  </a:lnTo>
                  <a:lnTo>
                    <a:pt x="2286" y="852"/>
                  </a:lnTo>
                  <a:lnTo>
                    <a:pt x="2298" y="858"/>
                  </a:lnTo>
                  <a:lnTo>
                    <a:pt x="2304" y="858"/>
                  </a:lnTo>
                  <a:lnTo>
                    <a:pt x="2310" y="858"/>
                  </a:lnTo>
                  <a:lnTo>
                    <a:pt x="2316" y="852"/>
                  </a:lnTo>
                  <a:lnTo>
                    <a:pt x="2322" y="858"/>
                  </a:lnTo>
                  <a:lnTo>
                    <a:pt x="2328" y="858"/>
                  </a:lnTo>
                  <a:lnTo>
                    <a:pt x="2328" y="852"/>
                  </a:lnTo>
                  <a:lnTo>
                    <a:pt x="2364" y="858"/>
                  </a:lnTo>
                  <a:lnTo>
                    <a:pt x="2376" y="876"/>
                  </a:lnTo>
                  <a:lnTo>
                    <a:pt x="2382" y="936"/>
                  </a:lnTo>
                  <a:lnTo>
                    <a:pt x="2388" y="966"/>
                  </a:lnTo>
                  <a:lnTo>
                    <a:pt x="2382" y="972"/>
                  </a:lnTo>
                  <a:lnTo>
                    <a:pt x="2382" y="978"/>
                  </a:lnTo>
                  <a:lnTo>
                    <a:pt x="2382" y="984"/>
                  </a:lnTo>
                  <a:lnTo>
                    <a:pt x="2388" y="990"/>
                  </a:lnTo>
                  <a:lnTo>
                    <a:pt x="2382" y="990"/>
                  </a:lnTo>
                  <a:lnTo>
                    <a:pt x="2382" y="996"/>
                  </a:lnTo>
                  <a:lnTo>
                    <a:pt x="2376" y="996"/>
                  </a:lnTo>
                  <a:lnTo>
                    <a:pt x="2376" y="1020"/>
                  </a:lnTo>
                  <a:lnTo>
                    <a:pt x="2370" y="1032"/>
                  </a:lnTo>
                  <a:lnTo>
                    <a:pt x="2352" y="1032"/>
                  </a:lnTo>
                  <a:lnTo>
                    <a:pt x="2346" y="1020"/>
                  </a:lnTo>
                  <a:lnTo>
                    <a:pt x="2328" y="1032"/>
                  </a:lnTo>
                  <a:lnTo>
                    <a:pt x="2316" y="1038"/>
                  </a:lnTo>
                  <a:lnTo>
                    <a:pt x="2328" y="1044"/>
                  </a:lnTo>
                  <a:lnTo>
                    <a:pt x="2340" y="1056"/>
                  </a:lnTo>
                  <a:lnTo>
                    <a:pt x="2376" y="1062"/>
                  </a:lnTo>
                  <a:lnTo>
                    <a:pt x="2376" y="1068"/>
                  </a:lnTo>
                  <a:lnTo>
                    <a:pt x="2382" y="1086"/>
                  </a:lnTo>
                  <a:lnTo>
                    <a:pt x="2376" y="1086"/>
                  </a:lnTo>
                  <a:lnTo>
                    <a:pt x="2370" y="1086"/>
                  </a:lnTo>
                  <a:lnTo>
                    <a:pt x="2364" y="1086"/>
                  </a:lnTo>
                  <a:lnTo>
                    <a:pt x="2364" y="1098"/>
                  </a:lnTo>
                  <a:lnTo>
                    <a:pt x="2388" y="1104"/>
                  </a:lnTo>
                  <a:lnTo>
                    <a:pt x="2400" y="1122"/>
                  </a:lnTo>
                  <a:lnTo>
                    <a:pt x="2400" y="1134"/>
                  </a:lnTo>
                  <a:lnTo>
                    <a:pt x="2400" y="1146"/>
                  </a:lnTo>
                  <a:lnTo>
                    <a:pt x="2394" y="1146"/>
                  </a:lnTo>
                  <a:lnTo>
                    <a:pt x="2394" y="1152"/>
                  </a:lnTo>
                  <a:lnTo>
                    <a:pt x="2388" y="1152"/>
                  </a:lnTo>
                  <a:lnTo>
                    <a:pt x="2388" y="1146"/>
                  </a:lnTo>
                  <a:lnTo>
                    <a:pt x="2382" y="1152"/>
                  </a:lnTo>
                  <a:lnTo>
                    <a:pt x="2376" y="1152"/>
                  </a:lnTo>
                  <a:lnTo>
                    <a:pt x="2370" y="1158"/>
                  </a:lnTo>
                  <a:lnTo>
                    <a:pt x="2370" y="1164"/>
                  </a:lnTo>
                  <a:lnTo>
                    <a:pt x="2364" y="1170"/>
                  </a:lnTo>
                  <a:lnTo>
                    <a:pt x="2370" y="1170"/>
                  </a:lnTo>
                  <a:lnTo>
                    <a:pt x="2376" y="1170"/>
                  </a:lnTo>
                  <a:lnTo>
                    <a:pt x="2370" y="1176"/>
                  </a:lnTo>
                  <a:lnTo>
                    <a:pt x="2364" y="1176"/>
                  </a:lnTo>
                  <a:lnTo>
                    <a:pt x="2358" y="1182"/>
                  </a:lnTo>
                  <a:lnTo>
                    <a:pt x="2352" y="1182"/>
                  </a:lnTo>
                  <a:lnTo>
                    <a:pt x="2346" y="1188"/>
                  </a:lnTo>
                  <a:lnTo>
                    <a:pt x="2340" y="1182"/>
                  </a:lnTo>
                  <a:lnTo>
                    <a:pt x="2334" y="1182"/>
                  </a:lnTo>
                  <a:lnTo>
                    <a:pt x="2334" y="1188"/>
                  </a:lnTo>
                  <a:lnTo>
                    <a:pt x="2328" y="1194"/>
                  </a:lnTo>
                  <a:lnTo>
                    <a:pt x="2328" y="1200"/>
                  </a:lnTo>
                  <a:lnTo>
                    <a:pt x="2322" y="1224"/>
                  </a:lnTo>
                  <a:lnTo>
                    <a:pt x="2328" y="1230"/>
                  </a:lnTo>
                  <a:lnTo>
                    <a:pt x="2358" y="1230"/>
                  </a:lnTo>
                  <a:lnTo>
                    <a:pt x="2358" y="1242"/>
                  </a:lnTo>
                  <a:lnTo>
                    <a:pt x="2358" y="1254"/>
                  </a:lnTo>
                  <a:lnTo>
                    <a:pt x="2346" y="1254"/>
                  </a:lnTo>
                  <a:lnTo>
                    <a:pt x="2346" y="1278"/>
                  </a:lnTo>
                  <a:lnTo>
                    <a:pt x="2358" y="1278"/>
                  </a:lnTo>
                  <a:lnTo>
                    <a:pt x="2358" y="1284"/>
                  </a:lnTo>
                  <a:lnTo>
                    <a:pt x="2376" y="1284"/>
                  </a:lnTo>
                  <a:lnTo>
                    <a:pt x="2388" y="1278"/>
                  </a:lnTo>
                  <a:lnTo>
                    <a:pt x="2406" y="1278"/>
                  </a:lnTo>
                  <a:lnTo>
                    <a:pt x="2430" y="1284"/>
                  </a:lnTo>
                  <a:lnTo>
                    <a:pt x="2430" y="1302"/>
                  </a:lnTo>
                  <a:lnTo>
                    <a:pt x="2430" y="1314"/>
                  </a:lnTo>
                  <a:lnTo>
                    <a:pt x="2424" y="1326"/>
                  </a:lnTo>
                  <a:lnTo>
                    <a:pt x="2412" y="1326"/>
                  </a:lnTo>
                  <a:lnTo>
                    <a:pt x="2412" y="1344"/>
                  </a:lnTo>
                  <a:lnTo>
                    <a:pt x="2406" y="1344"/>
                  </a:lnTo>
                  <a:lnTo>
                    <a:pt x="2400" y="1362"/>
                  </a:lnTo>
                  <a:lnTo>
                    <a:pt x="2394" y="1368"/>
                  </a:lnTo>
                  <a:lnTo>
                    <a:pt x="2388" y="1374"/>
                  </a:lnTo>
                  <a:lnTo>
                    <a:pt x="2382" y="1380"/>
                  </a:lnTo>
                  <a:lnTo>
                    <a:pt x="2376" y="1386"/>
                  </a:lnTo>
                  <a:lnTo>
                    <a:pt x="2376" y="1392"/>
                  </a:lnTo>
                  <a:lnTo>
                    <a:pt x="2370" y="1404"/>
                  </a:lnTo>
                  <a:lnTo>
                    <a:pt x="2364" y="1416"/>
                  </a:lnTo>
                  <a:lnTo>
                    <a:pt x="2346" y="1434"/>
                  </a:lnTo>
                  <a:lnTo>
                    <a:pt x="2328" y="1440"/>
                  </a:lnTo>
                  <a:lnTo>
                    <a:pt x="2328" y="1446"/>
                  </a:lnTo>
                  <a:lnTo>
                    <a:pt x="2322" y="1452"/>
                  </a:lnTo>
                  <a:lnTo>
                    <a:pt x="2316" y="1452"/>
                  </a:lnTo>
                  <a:lnTo>
                    <a:pt x="2304" y="1446"/>
                  </a:lnTo>
                  <a:lnTo>
                    <a:pt x="2298" y="1446"/>
                  </a:lnTo>
                  <a:lnTo>
                    <a:pt x="2298" y="1434"/>
                  </a:lnTo>
                  <a:lnTo>
                    <a:pt x="2292" y="1434"/>
                  </a:lnTo>
                  <a:lnTo>
                    <a:pt x="2286" y="1428"/>
                  </a:lnTo>
                  <a:lnTo>
                    <a:pt x="2274" y="1416"/>
                  </a:lnTo>
                  <a:lnTo>
                    <a:pt x="2256" y="1404"/>
                  </a:lnTo>
                  <a:lnTo>
                    <a:pt x="2244" y="1386"/>
                  </a:lnTo>
                  <a:lnTo>
                    <a:pt x="2220" y="1368"/>
                  </a:lnTo>
                  <a:lnTo>
                    <a:pt x="2208" y="1362"/>
                  </a:lnTo>
                  <a:lnTo>
                    <a:pt x="2202" y="1350"/>
                  </a:lnTo>
                  <a:lnTo>
                    <a:pt x="2196" y="1350"/>
                  </a:lnTo>
                  <a:lnTo>
                    <a:pt x="2190" y="1356"/>
                  </a:lnTo>
                  <a:lnTo>
                    <a:pt x="2184" y="1356"/>
                  </a:lnTo>
                  <a:lnTo>
                    <a:pt x="2094" y="1350"/>
                  </a:lnTo>
                  <a:lnTo>
                    <a:pt x="2058" y="1350"/>
                  </a:lnTo>
                  <a:lnTo>
                    <a:pt x="2034" y="1890"/>
                  </a:lnTo>
                  <a:lnTo>
                    <a:pt x="2064" y="1890"/>
                  </a:lnTo>
                  <a:lnTo>
                    <a:pt x="2070" y="1896"/>
                  </a:lnTo>
                  <a:lnTo>
                    <a:pt x="2076" y="18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8" name="Freeform 33">
              <a:extLst>
                <a:ext uri="{FF2B5EF4-FFF2-40B4-BE49-F238E27FC236}">
                  <a16:creationId xmlns:a16="http://schemas.microsoft.com/office/drawing/2014/main" id="{0E96F118-1F4D-4E52-AF27-149259451CD6}"/>
                </a:ext>
              </a:extLst>
            </p:cNvPr>
            <p:cNvSpPr>
              <a:spLocks/>
            </p:cNvSpPr>
            <p:nvPr/>
          </p:nvSpPr>
          <p:spPr bwMode="gray">
            <a:xfrm>
              <a:off x="1266662" y="1459989"/>
              <a:ext cx="903421" cy="778302"/>
            </a:xfrm>
            <a:custGeom>
              <a:avLst/>
              <a:gdLst>
                <a:gd name="T0" fmla="*/ 143 w 1698"/>
                <a:gd name="T1" fmla="*/ 43 h 1464"/>
                <a:gd name="T2" fmla="*/ 131 w 1698"/>
                <a:gd name="T3" fmla="*/ 44 h 1464"/>
                <a:gd name="T4" fmla="*/ 126 w 1698"/>
                <a:gd name="T5" fmla="*/ 41 h 1464"/>
                <a:gd name="T6" fmla="*/ 119 w 1698"/>
                <a:gd name="T7" fmla="*/ 45 h 1464"/>
                <a:gd name="T8" fmla="*/ 111 w 1698"/>
                <a:gd name="T9" fmla="*/ 46 h 1464"/>
                <a:gd name="T10" fmla="*/ 107 w 1698"/>
                <a:gd name="T11" fmla="*/ 50 h 1464"/>
                <a:gd name="T12" fmla="*/ 107 w 1698"/>
                <a:gd name="T13" fmla="*/ 60 h 1464"/>
                <a:gd name="T14" fmla="*/ 104 w 1698"/>
                <a:gd name="T15" fmla="*/ 62 h 1464"/>
                <a:gd name="T16" fmla="*/ 97 w 1698"/>
                <a:gd name="T17" fmla="*/ 59 h 1464"/>
                <a:gd name="T18" fmla="*/ 92 w 1698"/>
                <a:gd name="T19" fmla="*/ 59 h 1464"/>
                <a:gd name="T20" fmla="*/ 90 w 1698"/>
                <a:gd name="T21" fmla="*/ 62 h 1464"/>
                <a:gd name="T22" fmla="*/ 93 w 1698"/>
                <a:gd name="T23" fmla="*/ 77 h 1464"/>
                <a:gd name="T24" fmla="*/ 85 w 1698"/>
                <a:gd name="T25" fmla="*/ 88 h 1464"/>
                <a:gd name="T26" fmla="*/ 70 w 1698"/>
                <a:gd name="T27" fmla="*/ 89 h 1464"/>
                <a:gd name="T28" fmla="*/ 65 w 1698"/>
                <a:gd name="T29" fmla="*/ 88 h 1464"/>
                <a:gd name="T30" fmla="*/ 50 w 1698"/>
                <a:gd name="T31" fmla="*/ 88 h 1464"/>
                <a:gd name="T32" fmla="*/ 48 w 1698"/>
                <a:gd name="T33" fmla="*/ 107 h 1464"/>
                <a:gd name="T34" fmla="*/ 47 w 1698"/>
                <a:gd name="T35" fmla="*/ 120 h 1464"/>
                <a:gd name="T36" fmla="*/ 43 w 1698"/>
                <a:gd name="T37" fmla="*/ 121 h 1464"/>
                <a:gd name="T38" fmla="*/ 40 w 1698"/>
                <a:gd name="T39" fmla="*/ 120 h 1464"/>
                <a:gd name="T40" fmla="*/ 35 w 1698"/>
                <a:gd name="T41" fmla="*/ 122 h 1464"/>
                <a:gd name="T42" fmla="*/ 29 w 1698"/>
                <a:gd name="T43" fmla="*/ 123 h 1464"/>
                <a:gd name="T44" fmla="*/ 24 w 1698"/>
                <a:gd name="T45" fmla="*/ 125 h 1464"/>
                <a:gd name="T46" fmla="*/ 20 w 1698"/>
                <a:gd name="T47" fmla="*/ 125 h 1464"/>
                <a:gd name="T48" fmla="*/ 18 w 1698"/>
                <a:gd name="T49" fmla="*/ 122 h 1464"/>
                <a:gd name="T50" fmla="*/ 26 w 1698"/>
                <a:gd name="T51" fmla="*/ 108 h 1464"/>
                <a:gd name="T52" fmla="*/ 24 w 1698"/>
                <a:gd name="T53" fmla="*/ 89 h 1464"/>
                <a:gd name="T54" fmla="*/ 28 w 1698"/>
                <a:gd name="T55" fmla="*/ 85 h 1464"/>
                <a:gd name="T56" fmla="*/ 32 w 1698"/>
                <a:gd name="T57" fmla="*/ 80 h 1464"/>
                <a:gd name="T58" fmla="*/ 36 w 1698"/>
                <a:gd name="T59" fmla="*/ 86 h 1464"/>
                <a:gd name="T60" fmla="*/ 39 w 1698"/>
                <a:gd name="T61" fmla="*/ 80 h 1464"/>
                <a:gd name="T62" fmla="*/ 41 w 1698"/>
                <a:gd name="T63" fmla="*/ 73 h 1464"/>
                <a:gd name="T64" fmla="*/ 38 w 1698"/>
                <a:gd name="T65" fmla="*/ 64 h 1464"/>
                <a:gd name="T66" fmla="*/ 39 w 1698"/>
                <a:gd name="T67" fmla="*/ 59 h 1464"/>
                <a:gd name="T68" fmla="*/ 32 w 1698"/>
                <a:gd name="T69" fmla="*/ 54 h 1464"/>
                <a:gd name="T70" fmla="*/ 32 w 1698"/>
                <a:gd name="T71" fmla="*/ 45 h 1464"/>
                <a:gd name="T72" fmla="*/ 31 w 1698"/>
                <a:gd name="T73" fmla="*/ 41 h 1464"/>
                <a:gd name="T74" fmla="*/ 24 w 1698"/>
                <a:gd name="T75" fmla="*/ 43 h 1464"/>
                <a:gd name="T76" fmla="*/ 17 w 1698"/>
                <a:gd name="T77" fmla="*/ 40 h 1464"/>
                <a:gd name="T78" fmla="*/ 11 w 1698"/>
                <a:gd name="T79" fmla="*/ 38 h 1464"/>
                <a:gd name="T80" fmla="*/ 2 w 1698"/>
                <a:gd name="T81" fmla="*/ 36 h 1464"/>
                <a:gd name="T82" fmla="*/ 0 w 1698"/>
                <a:gd name="T83" fmla="*/ 24 h 1464"/>
                <a:gd name="T84" fmla="*/ 11 w 1698"/>
                <a:gd name="T85" fmla="*/ 18 h 1464"/>
                <a:gd name="T86" fmla="*/ 19 w 1698"/>
                <a:gd name="T87" fmla="*/ 10 h 1464"/>
                <a:gd name="T88" fmla="*/ 28 w 1698"/>
                <a:gd name="T89" fmla="*/ 9 h 1464"/>
                <a:gd name="T90" fmla="*/ 40 w 1698"/>
                <a:gd name="T91" fmla="*/ 6 h 1464"/>
                <a:gd name="T92" fmla="*/ 49 w 1698"/>
                <a:gd name="T93" fmla="*/ 8 h 1464"/>
                <a:gd name="T94" fmla="*/ 56 w 1698"/>
                <a:gd name="T95" fmla="*/ 8 h 1464"/>
                <a:gd name="T96" fmla="*/ 64 w 1698"/>
                <a:gd name="T97" fmla="*/ 7 h 1464"/>
                <a:gd name="T98" fmla="*/ 74 w 1698"/>
                <a:gd name="T99" fmla="*/ 1 h 1464"/>
                <a:gd name="T100" fmla="*/ 83 w 1698"/>
                <a:gd name="T101" fmla="*/ 3 h 1464"/>
                <a:gd name="T102" fmla="*/ 99 w 1698"/>
                <a:gd name="T103" fmla="*/ 9 h 1464"/>
                <a:gd name="T104" fmla="*/ 112 w 1698"/>
                <a:gd name="T105" fmla="*/ 14 h 1464"/>
                <a:gd name="T106" fmla="*/ 119 w 1698"/>
                <a:gd name="T107" fmla="*/ 12 h 1464"/>
                <a:gd name="T108" fmla="*/ 128 w 1698"/>
                <a:gd name="T109" fmla="*/ 17 h 1464"/>
                <a:gd name="T110" fmla="*/ 141 w 1698"/>
                <a:gd name="T111" fmla="*/ 29 h 1464"/>
                <a:gd name="T112" fmla="*/ 145 w 1698"/>
                <a:gd name="T113" fmla="*/ 35 h 14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98"/>
                <a:gd name="T172" fmla="*/ 0 h 1464"/>
                <a:gd name="T173" fmla="*/ 1698 w 1698"/>
                <a:gd name="T174" fmla="*/ 1464 h 14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98" h="1464">
                  <a:moveTo>
                    <a:pt x="1698" y="462"/>
                  </a:moveTo>
                  <a:lnTo>
                    <a:pt x="1686" y="468"/>
                  </a:lnTo>
                  <a:lnTo>
                    <a:pt x="1680" y="474"/>
                  </a:lnTo>
                  <a:lnTo>
                    <a:pt x="1674" y="480"/>
                  </a:lnTo>
                  <a:lnTo>
                    <a:pt x="1668" y="480"/>
                  </a:lnTo>
                  <a:lnTo>
                    <a:pt x="1662" y="486"/>
                  </a:lnTo>
                  <a:lnTo>
                    <a:pt x="1656" y="492"/>
                  </a:lnTo>
                  <a:lnTo>
                    <a:pt x="1644" y="498"/>
                  </a:lnTo>
                  <a:lnTo>
                    <a:pt x="1626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0" y="516"/>
                  </a:lnTo>
                  <a:lnTo>
                    <a:pt x="1590" y="522"/>
                  </a:lnTo>
                  <a:lnTo>
                    <a:pt x="1566" y="522"/>
                  </a:lnTo>
                  <a:lnTo>
                    <a:pt x="1506" y="510"/>
                  </a:lnTo>
                  <a:lnTo>
                    <a:pt x="1500" y="510"/>
                  </a:lnTo>
                  <a:lnTo>
                    <a:pt x="1488" y="504"/>
                  </a:lnTo>
                  <a:lnTo>
                    <a:pt x="1482" y="498"/>
                  </a:lnTo>
                  <a:lnTo>
                    <a:pt x="1476" y="498"/>
                  </a:lnTo>
                  <a:lnTo>
                    <a:pt x="1476" y="492"/>
                  </a:lnTo>
                  <a:lnTo>
                    <a:pt x="1470" y="492"/>
                  </a:lnTo>
                  <a:lnTo>
                    <a:pt x="1464" y="486"/>
                  </a:lnTo>
                  <a:lnTo>
                    <a:pt x="1452" y="486"/>
                  </a:lnTo>
                  <a:lnTo>
                    <a:pt x="1446" y="474"/>
                  </a:lnTo>
                  <a:lnTo>
                    <a:pt x="1434" y="468"/>
                  </a:lnTo>
                  <a:lnTo>
                    <a:pt x="1416" y="468"/>
                  </a:lnTo>
                  <a:lnTo>
                    <a:pt x="1392" y="468"/>
                  </a:lnTo>
                  <a:lnTo>
                    <a:pt x="1374" y="474"/>
                  </a:lnTo>
                  <a:lnTo>
                    <a:pt x="1368" y="474"/>
                  </a:lnTo>
                  <a:lnTo>
                    <a:pt x="1368" y="486"/>
                  </a:lnTo>
                  <a:lnTo>
                    <a:pt x="1368" y="498"/>
                  </a:lnTo>
                  <a:lnTo>
                    <a:pt x="1368" y="522"/>
                  </a:lnTo>
                  <a:lnTo>
                    <a:pt x="1368" y="534"/>
                  </a:lnTo>
                  <a:lnTo>
                    <a:pt x="1362" y="546"/>
                  </a:lnTo>
                  <a:lnTo>
                    <a:pt x="1356" y="546"/>
                  </a:lnTo>
                  <a:lnTo>
                    <a:pt x="1344" y="540"/>
                  </a:lnTo>
                  <a:lnTo>
                    <a:pt x="1338" y="534"/>
                  </a:lnTo>
                  <a:lnTo>
                    <a:pt x="1308" y="522"/>
                  </a:lnTo>
                  <a:lnTo>
                    <a:pt x="1296" y="522"/>
                  </a:lnTo>
                  <a:lnTo>
                    <a:pt x="1278" y="528"/>
                  </a:lnTo>
                  <a:lnTo>
                    <a:pt x="1260" y="534"/>
                  </a:lnTo>
                  <a:lnTo>
                    <a:pt x="1242" y="546"/>
                  </a:lnTo>
                  <a:lnTo>
                    <a:pt x="1236" y="552"/>
                  </a:lnTo>
                  <a:lnTo>
                    <a:pt x="1224" y="558"/>
                  </a:lnTo>
                  <a:lnTo>
                    <a:pt x="1218" y="558"/>
                  </a:lnTo>
                  <a:lnTo>
                    <a:pt x="1218" y="564"/>
                  </a:lnTo>
                  <a:lnTo>
                    <a:pt x="1224" y="570"/>
                  </a:lnTo>
                  <a:lnTo>
                    <a:pt x="1224" y="582"/>
                  </a:lnTo>
                  <a:lnTo>
                    <a:pt x="1224" y="594"/>
                  </a:lnTo>
                  <a:lnTo>
                    <a:pt x="1212" y="618"/>
                  </a:lnTo>
                  <a:lnTo>
                    <a:pt x="1212" y="624"/>
                  </a:lnTo>
                  <a:lnTo>
                    <a:pt x="1212" y="630"/>
                  </a:lnTo>
                  <a:lnTo>
                    <a:pt x="1212" y="636"/>
                  </a:lnTo>
                  <a:lnTo>
                    <a:pt x="1218" y="654"/>
                  </a:lnTo>
                  <a:lnTo>
                    <a:pt x="1224" y="672"/>
                  </a:lnTo>
                  <a:lnTo>
                    <a:pt x="1230" y="696"/>
                  </a:lnTo>
                  <a:lnTo>
                    <a:pt x="1236" y="708"/>
                  </a:lnTo>
                  <a:lnTo>
                    <a:pt x="1236" y="714"/>
                  </a:lnTo>
                  <a:lnTo>
                    <a:pt x="1236" y="720"/>
                  </a:lnTo>
                  <a:lnTo>
                    <a:pt x="1218" y="726"/>
                  </a:lnTo>
                  <a:lnTo>
                    <a:pt x="1212" y="726"/>
                  </a:lnTo>
                  <a:lnTo>
                    <a:pt x="1206" y="726"/>
                  </a:lnTo>
                  <a:lnTo>
                    <a:pt x="1194" y="720"/>
                  </a:lnTo>
                  <a:lnTo>
                    <a:pt x="1194" y="714"/>
                  </a:lnTo>
                  <a:lnTo>
                    <a:pt x="1176" y="714"/>
                  </a:lnTo>
                  <a:lnTo>
                    <a:pt x="1164" y="708"/>
                  </a:lnTo>
                  <a:lnTo>
                    <a:pt x="1158" y="708"/>
                  </a:lnTo>
                  <a:lnTo>
                    <a:pt x="1140" y="702"/>
                  </a:lnTo>
                  <a:lnTo>
                    <a:pt x="1134" y="696"/>
                  </a:lnTo>
                  <a:lnTo>
                    <a:pt x="1128" y="690"/>
                  </a:lnTo>
                  <a:lnTo>
                    <a:pt x="1116" y="678"/>
                  </a:lnTo>
                  <a:lnTo>
                    <a:pt x="1110" y="678"/>
                  </a:lnTo>
                  <a:lnTo>
                    <a:pt x="1104" y="672"/>
                  </a:lnTo>
                  <a:lnTo>
                    <a:pt x="1092" y="672"/>
                  </a:lnTo>
                  <a:lnTo>
                    <a:pt x="1086" y="672"/>
                  </a:lnTo>
                  <a:lnTo>
                    <a:pt x="1080" y="672"/>
                  </a:lnTo>
                  <a:lnTo>
                    <a:pt x="1074" y="672"/>
                  </a:lnTo>
                  <a:lnTo>
                    <a:pt x="1068" y="672"/>
                  </a:lnTo>
                  <a:lnTo>
                    <a:pt x="1062" y="678"/>
                  </a:lnTo>
                  <a:lnTo>
                    <a:pt x="1056" y="678"/>
                  </a:lnTo>
                  <a:lnTo>
                    <a:pt x="1056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6"/>
                  </a:lnTo>
                  <a:lnTo>
                    <a:pt x="1032" y="708"/>
                  </a:lnTo>
                  <a:lnTo>
                    <a:pt x="1026" y="708"/>
                  </a:lnTo>
                  <a:lnTo>
                    <a:pt x="1032" y="714"/>
                  </a:lnTo>
                  <a:lnTo>
                    <a:pt x="1026" y="720"/>
                  </a:lnTo>
                  <a:lnTo>
                    <a:pt x="1020" y="720"/>
                  </a:lnTo>
                  <a:lnTo>
                    <a:pt x="1014" y="732"/>
                  </a:lnTo>
                  <a:lnTo>
                    <a:pt x="1014" y="744"/>
                  </a:lnTo>
                  <a:lnTo>
                    <a:pt x="1038" y="810"/>
                  </a:lnTo>
                  <a:lnTo>
                    <a:pt x="1050" y="834"/>
                  </a:lnTo>
                  <a:lnTo>
                    <a:pt x="1056" y="858"/>
                  </a:lnTo>
                  <a:lnTo>
                    <a:pt x="1062" y="876"/>
                  </a:lnTo>
                  <a:lnTo>
                    <a:pt x="1068" y="882"/>
                  </a:lnTo>
                  <a:lnTo>
                    <a:pt x="1062" y="972"/>
                  </a:lnTo>
                  <a:lnTo>
                    <a:pt x="1056" y="972"/>
                  </a:lnTo>
                  <a:lnTo>
                    <a:pt x="1050" y="996"/>
                  </a:lnTo>
                  <a:lnTo>
                    <a:pt x="1044" y="1014"/>
                  </a:lnTo>
                  <a:lnTo>
                    <a:pt x="1008" y="1014"/>
                  </a:lnTo>
                  <a:lnTo>
                    <a:pt x="1008" y="1008"/>
                  </a:lnTo>
                  <a:lnTo>
                    <a:pt x="990" y="1008"/>
                  </a:lnTo>
                  <a:lnTo>
                    <a:pt x="972" y="1014"/>
                  </a:lnTo>
                  <a:lnTo>
                    <a:pt x="948" y="1020"/>
                  </a:lnTo>
                  <a:lnTo>
                    <a:pt x="918" y="1026"/>
                  </a:lnTo>
                  <a:lnTo>
                    <a:pt x="840" y="1032"/>
                  </a:lnTo>
                  <a:lnTo>
                    <a:pt x="834" y="1032"/>
                  </a:lnTo>
                  <a:lnTo>
                    <a:pt x="834" y="1026"/>
                  </a:lnTo>
                  <a:lnTo>
                    <a:pt x="822" y="1026"/>
                  </a:lnTo>
                  <a:lnTo>
                    <a:pt x="816" y="1032"/>
                  </a:lnTo>
                  <a:lnTo>
                    <a:pt x="804" y="1032"/>
                  </a:lnTo>
                  <a:lnTo>
                    <a:pt x="798" y="1026"/>
                  </a:lnTo>
                  <a:lnTo>
                    <a:pt x="780" y="1026"/>
                  </a:lnTo>
                  <a:lnTo>
                    <a:pt x="762" y="1026"/>
                  </a:lnTo>
                  <a:lnTo>
                    <a:pt x="756" y="1026"/>
                  </a:lnTo>
                  <a:lnTo>
                    <a:pt x="750" y="1026"/>
                  </a:lnTo>
                  <a:lnTo>
                    <a:pt x="756" y="1020"/>
                  </a:lnTo>
                  <a:lnTo>
                    <a:pt x="750" y="1020"/>
                  </a:lnTo>
                  <a:lnTo>
                    <a:pt x="744" y="1014"/>
                  </a:lnTo>
                  <a:lnTo>
                    <a:pt x="684" y="1020"/>
                  </a:lnTo>
                  <a:lnTo>
                    <a:pt x="648" y="1020"/>
                  </a:lnTo>
                  <a:lnTo>
                    <a:pt x="630" y="1020"/>
                  </a:lnTo>
                  <a:lnTo>
                    <a:pt x="618" y="1020"/>
                  </a:lnTo>
                  <a:lnTo>
                    <a:pt x="606" y="1014"/>
                  </a:lnTo>
                  <a:lnTo>
                    <a:pt x="582" y="1014"/>
                  </a:lnTo>
                  <a:lnTo>
                    <a:pt x="576" y="1014"/>
                  </a:lnTo>
                  <a:lnTo>
                    <a:pt x="570" y="1014"/>
                  </a:lnTo>
                  <a:lnTo>
                    <a:pt x="564" y="1020"/>
                  </a:lnTo>
                  <a:lnTo>
                    <a:pt x="558" y="1026"/>
                  </a:lnTo>
                  <a:lnTo>
                    <a:pt x="552" y="1032"/>
                  </a:lnTo>
                  <a:lnTo>
                    <a:pt x="552" y="1038"/>
                  </a:lnTo>
                  <a:lnTo>
                    <a:pt x="558" y="1194"/>
                  </a:lnTo>
                  <a:lnTo>
                    <a:pt x="558" y="1206"/>
                  </a:lnTo>
                  <a:lnTo>
                    <a:pt x="552" y="1218"/>
                  </a:lnTo>
                  <a:lnTo>
                    <a:pt x="552" y="1236"/>
                  </a:lnTo>
                  <a:lnTo>
                    <a:pt x="546" y="1272"/>
                  </a:lnTo>
                  <a:lnTo>
                    <a:pt x="546" y="1308"/>
                  </a:lnTo>
                  <a:lnTo>
                    <a:pt x="540" y="1332"/>
                  </a:lnTo>
                  <a:lnTo>
                    <a:pt x="546" y="1356"/>
                  </a:lnTo>
                  <a:lnTo>
                    <a:pt x="546" y="1362"/>
                  </a:lnTo>
                  <a:lnTo>
                    <a:pt x="546" y="1374"/>
                  </a:lnTo>
                  <a:lnTo>
                    <a:pt x="546" y="1380"/>
                  </a:lnTo>
                  <a:lnTo>
                    <a:pt x="540" y="1380"/>
                  </a:lnTo>
                  <a:lnTo>
                    <a:pt x="522" y="1380"/>
                  </a:lnTo>
                  <a:lnTo>
                    <a:pt x="516" y="1380"/>
                  </a:lnTo>
                  <a:lnTo>
                    <a:pt x="516" y="1386"/>
                  </a:lnTo>
                  <a:lnTo>
                    <a:pt x="516" y="1392"/>
                  </a:lnTo>
                  <a:lnTo>
                    <a:pt x="510" y="1392"/>
                  </a:lnTo>
                  <a:lnTo>
                    <a:pt x="504" y="1386"/>
                  </a:lnTo>
                  <a:lnTo>
                    <a:pt x="498" y="1392"/>
                  </a:lnTo>
                  <a:lnTo>
                    <a:pt x="492" y="1398"/>
                  </a:lnTo>
                  <a:lnTo>
                    <a:pt x="486" y="1398"/>
                  </a:lnTo>
                  <a:lnTo>
                    <a:pt x="486" y="1392"/>
                  </a:lnTo>
                  <a:lnTo>
                    <a:pt x="486" y="1380"/>
                  </a:lnTo>
                  <a:lnTo>
                    <a:pt x="486" y="1374"/>
                  </a:lnTo>
                  <a:lnTo>
                    <a:pt x="480" y="1374"/>
                  </a:lnTo>
                  <a:lnTo>
                    <a:pt x="474" y="1374"/>
                  </a:lnTo>
                  <a:lnTo>
                    <a:pt x="468" y="1380"/>
                  </a:lnTo>
                  <a:lnTo>
                    <a:pt x="462" y="1380"/>
                  </a:lnTo>
                  <a:lnTo>
                    <a:pt x="456" y="1380"/>
                  </a:lnTo>
                  <a:lnTo>
                    <a:pt x="450" y="1386"/>
                  </a:lnTo>
                  <a:lnTo>
                    <a:pt x="444" y="1386"/>
                  </a:lnTo>
                  <a:lnTo>
                    <a:pt x="444" y="1392"/>
                  </a:lnTo>
                  <a:lnTo>
                    <a:pt x="432" y="1398"/>
                  </a:lnTo>
                  <a:lnTo>
                    <a:pt x="426" y="1404"/>
                  </a:lnTo>
                  <a:lnTo>
                    <a:pt x="420" y="1404"/>
                  </a:lnTo>
                  <a:lnTo>
                    <a:pt x="408" y="1404"/>
                  </a:lnTo>
                  <a:lnTo>
                    <a:pt x="378" y="1410"/>
                  </a:lnTo>
                  <a:lnTo>
                    <a:pt x="372" y="1410"/>
                  </a:lnTo>
                  <a:lnTo>
                    <a:pt x="360" y="1410"/>
                  </a:lnTo>
                  <a:lnTo>
                    <a:pt x="354" y="1416"/>
                  </a:lnTo>
                  <a:lnTo>
                    <a:pt x="348" y="1416"/>
                  </a:lnTo>
                  <a:lnTo>
                    <a:pt x="342" y="1410"/>
                  </a:lnTo>
                  <a:lnTo>
                    <a:pt x="336" y="1410"/>
                  </a:lnTo>
                  <a:lnTo>
                    <a:pt x="336" y="1416"/>
                  </a:lnTo>
                  <a:lnTo>
                    <a:pt x="330" y="1422"/>
                  </a:lnTo>
                  <a:lnTo>
                    <a:pt x="324" y="1422"/>
                  </a:lnTo>
                  <a:lnTo>
                    <a:pt x="318" y="1422"/>
                  </a:lnTo>
                  <a:lnTo>
                    <a:pt x="312" y="1428"/>
                  </a:lnTo>
                  <a:lnTo>
                    <a:pt x="312" y="1434"/>
                  </a:lnTo>
                  <a:lnTo>
                    <a:pt x="300" y="1428"/>
                  </a:lnTo>
                  <a:lnTo>
                    <a:pt x="288" y="1434"/>
                  </a:lnTo>
                  <a:lnTo>
                    <a:pt x="282" y="1440"/>
                  </a:lnTo>
                  <a:lnTo>
                    <a:pt x="282" y="1446"/>
                  </a:lnTo>
                  <a:lnTo>
                    <a:pt x="276" y="1446"/>
                  </a:lnTo>
                  <a:lnTo>
                    <a:pt x="276" y="1452"/>
                  </a:lnTo>
                  <a:lnTo>
                    <a:pt x="270" y="1452"/>
                  </a:lnTo>
                  <a:lnTo>
                    <a:pt x="258" y="1464"/>
                  </a:lnTo>
                  <a:lnTo>
                    <a:pt x="240" y="1458"/>
                  </a:lnTo>
                  <a:lnTo>
                    <a:pt x="234" y="1452"/>
                  </a:lnTo>
                  <a:lnTo>
                    <a:pt x="234" y="1446"/>
                  </a:lnTo>
                  <a:lnTo>
                    <a:pt x="228" y="1446"/>
                  </a:lnTo>
                  <a:lnTo>
                    <a:pt x="222" y="1440"/>
                  </a:lnTo>
                  <a:lnTo>
                    <a:pt x="216" y="1440"/>
                  </a:lnTo>
                  <a:lnTo>
                    <a:pt x="210" y="1428"/>
                  </a:lnTo>
                  <a:lnTo>
                    <a:pt x="210" y="1422"/>
                  </a:lnTo>
                  <a:lnTo>
                    <a:pt x="198" y="1416"/>
                  </a:lnTo>
                  <a:lnTo>
                    <a:pt x="204" y="1410"/>
                  </a:lnTo>
                  <a:lnTo>
                    <a:pt x="210" y="1404"/>
                  </a:lnTo>
                  <a:lnTo>
                    <a:pt x="210" y="1398"/>
                  </a:lnTo>
                  <a:lnTo>
                    <a:pt x="252" y="1368"/>
                  </a:lnTo>
                  <a:lnTo>
                    <a:pt x="276" y="1350"/>
                  </a:lnTo>
                  <a:lnTo>
                    <a:pt x="300" y="1338"/>
                  </a:lnTo>
                  <a:lnTo>
                    <a:pt x="294" y="1314"/>
                  </a:lnTo>
                  <a:lnTo>
                    <a:pt x="288" y="1308"/>
                  </a:lnTo>
                  <a:lnTo>
                    <a:pt x="300" y="1266"/>
                  </a:lnTo>
                  <a:lnTo>
                    <a:pt x="300" y="1242"/>
                  </a:lnTo>
                  <a:lnTo>
                    <a:pt x="300" y="1206"/>
                  </a:lnTo>
                  <a:lnTo>
                    <a:pt x="300" y="1164"/>
                  </a:lnTo>
                  <a:lnTo>
                    <a:pt x="294" y="1134"/>
                  </a:lnTo>
                  <a:lnTo>
                    <a:pt x="282" y="1086"/>
                  </a:lnTo>
                  <a:lnTo>
                    <a:pt x="276" y="1074"/>
                  </a:lnTo>
                  <a:lnTo>
                    <a:pt x="276" y="1056"/>
                  </a:lnTo>
                  <a:lnTo>
                    <a:pt x="270" y="1038"/>
                  </a:lnTo>
                  <a:lnTo>
                    <a:pt x="270" y="1020"/>
                  </a:lnTo>
                  <a:lnTo>
                    <a:pt x="282" y="1020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94" y="1002"/>
                  </a:lnTo>
                  <a:lnTo>
                    <a:pt x="306" y="996"/>
                  </a:lnTo>
                  <a:lnTo>
                    <a:pt x="312" y="990"/>
                  </a:lnTo>
                  <a:lnTo>
                    <a:pt x="318" y="990"/>
                  </a:lnTo>
                  <a:lnTo>
                    <a:pt x="324" y="984"/>
                  </a:lnTo>
                  <a:lnTo>
                    <a:pt x="324" y="978"/>
                  </a:lnTo>
                  <a:lnTo>
                    <a:pt x="324" y="972"/>
                  </a:lnTo>
                  <a:lnTo>
                    <a:pt x="324" y="954"/>
                  </a:lnTo>
                  <a:lnTo>
                    <a:pt x="336" y="948"/>
                  </a:lnTo>
                  <a:lnTo>
                    <a:pt x="342" y="936"/>
                  </a:lnTo>
                  <a:lnTo>
                    <a:pt x="348" y="924"/>
                  </a:lnTo>
                  <a:lnTo>
                    <a:pt x="354" y="924"/>
                  </a:lnTo>
                  <a:lnTo>
                    <a:pt x="372" y="924"/>
                  </a:lnTo>
                  <a:lnTo>
                    <a:pt x="372" y="930"/>
                  </a:lnTo>
                  <a:lnTo>
                    <a:pt x="378" y="930"/>
                  </a:lnTo>
                  <a:lnTo>
                    <a:pt x="378" y="936"/>
                  </a:lnTo>
                  <a:lnTo>
                    <a:pt x="384" y="936"/>
                  </a:lnTo>
                  <a:lnTo>
                    <a:pt x="384" y="942"/>
                  </a:lnTo>
                  <a:lnTo>
                    <a:pt x="402" y="942"/>
                  </a:lnTo>
                  <a:lnTo>
                    <a:pt x="402" y="996"/>
                  </a:lnTo>
                  <a:lnTo>
                    <a:pt x="414" y="996"/>
                  </a:lnTo>
                  <a:lnTo>
                    <a:pt x="420" y="996"/>
                  </a:lnTo>
                  <a:lnTo>
                    <a:pt x="426" y="996"/>
                  </a:lnTo>
                  <a:lnTo>
                    <a:pt x="432" y="996"/>
                  </a:lnTo>
                  <a:lnTo>
                    <a:pt x="438" y="996"/>
                  </a:lnTo>
                  <a:lnTo>
                    <a:pt x="438" y="942"/>
                  </a:lnTo>
                  <a:lnTo>
                    <a:pt x="444" y="930"/>
                  </a:lnTo>
                  <a:lnTo>
                    <a:pt x="444" y="924"/>
                  </a:lnTo>
                  <a:lnTo>
                    <a:pt x="444" y="918"/>
                  </a:lnTo>
                  <a:lnTo>
                    <a:pt x="462" y="918"/>
                  </a:lnTo>
                  <a:lnTo>
                    <a:pt x="474" y="906"/>
                  </a:lnTo>
                  <a:lnTo>
                    <a:pt x="480" y="900"/>
                  </a:lnTo>
                  <a:lnTo>
                    <a:pt x="486" y="888"/>
                  </a:lnTo>
                  <a:lnTo>
                    <a:pt x="492" y="876"/>
                  </a:lnTo>
                  <a:lnTo>
                    <a:pt x="492" y="858"/>
                  </a:lnTo>
                  <a:lnTo>
                    <a:pt x="480" y="858"/>
                  </a:lnTo>
                  <a:lnTo>
                    <a:pt x="474" y="840"/>
                  </a:lnTo>
                  <a:lnTo>
                    <a:pt x="450" y="834"/>
                  </a:lnTo>
                  <a:lnTo>
                    <a:pt x="438" y="816"/>
                  </a:lnTo>
                  <a:lnTo>
                    <a:pt x="432" y="792"/>
                  </a:lnTo>
                  <a:lnTo>
                    <a:pt x="432" y="786"/>
                  </a:lnTo>
                  <a:lnTo>
                    <a:pt x="432" y="774"/>
                  </a:lnTo>
                  <a:lnTo>
                    <a:pt x="432" y="762"/>
                  </a:lnTo>
                  <a:lnTo>
                    <a:pt x="438" y="750"/>
                  </a:lnTo>
                  <a:lnTo>
                    <a:pt x="438" y="738"/>
                  </a:lnTo>
                  <a:lnTo>
                    <a:pt x="444" y="732"/>
                  </a:lnTo>
                  <a:lnTo>
                    <a:pt x="450" y="732"/>
                  </a:lnTo>
                  <a:lnTo>
                    <a:pt x="456" y="732"/>
                  </a:lnTo>
                  <a:lnTo>
                    <a:pt x="456" y="726"/>
                  </a:lnTo>
                  <a:lnTo>
                    <a:pt x="456" y="714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44" y="684"/>
                  </a:lnTo>
                  <a:lnTo>
                    <a:pt x="438" y="666"/>
                  </a:lnTo>
                  <a:lnTo>
                    <a:pt x="426" y="666"/>
                  </a:lnTo>
                  <a:lnTo>
                    <a:pt x="432" y="666"/>
                  </a:lnTo>
                  <a:lnTo>
                    <a:pt x="420" y="666"/>
                  </a:lnTo>
                  <a:lnTo>
                    <a:pt x="414" y="660"/>
                  </a:lnTo>
                  <a:lnTo>
                    <a:pt x="396" y="654"/>
                  </a:lnTo>
                  <a:lnTo>
                    <a:pt x="384" y="642"/>
                  </a:lnTo>
                  <a:lnTo>
                    <a:pt x="366" y="624"/>
                  </a:lnTo>
                  <a:lnTo>
                    <a:pt x="354" y="606"/>
                  </a:lnTo>
                  <a:lnTo>
                    <a:pt x="342" y="588"/>
                  </a:lnTo>
                  <a:lnTo>
                    <a:pt x="342" y="582"/>
                  </a:lnTo>
                  <a:lnTo>
                    <a:pt x="360" y="564"/>
                  </a:lnTo>
                  <a:lnTo>
                    <a:pt x="372" y="540"/>
                  </a:lnTo>
                  <a:lnTo>
                    <a:pt x="366" y="528"/>
                  </a:lnTo>
                  <a:lnTo>
                    <a:pt x="366" y="522"/>
                  </a:lnTo>
                  <a:lnTo>
                    <a:pt x="372" y="516"/>
                  </a:lnTo>
                  <a:lnTo>
                    <a:pt x="384" y="504"/>
                  </a:lnTo>
                  <a:lnTo>
                    <a:pt x="378" y="492"/>
                  </a:lnTo>
                  <a:lnTo>
                    <a:pt x="378" y="486"/>
                  </a:lnTo>
                  <a:lnTo>
                    <a:pt x="378" y="480"/>
                  </a:lnTo>
                  <a:lnTo>
                    <a:pt x="378" y="474"/>
                  </a:lnTo>
                  <a:lnTo>
                    <a:pt x="378" y="468"/>
                  </a:lnTo>
                  <a:lnTo>
                    <a:pt x="366" y="468"/>
                  </a:lnTo>
                  <a:lnTo>
                    <a:pt x="360" y="474"/>
                  </a:lnTo>
                  <a:lnTo>
                    <a:pt x="354" y="480"/>
                  </a:lnTo>
                  <a:lnTo>
                    <a:pt x="348" y="486"/>
                  </a:lnTo>
                  <a:lnTo>
                    <a:pt x="348" y="492"/>
                  </a:lnTo>
                  <a:lnTo>
                    <a:pt x="336" y="510"/>
                  </a:lnTo>
                  <a:lnTo>
                    <a:pt x="300" y="516"/>
                  </a:lnTo>
                  <a:lnTo>
                    <a:pt x="300" y="510"/>
                  </a:lnTo>
                  <a:lnTo>
                    <a:pt x="282" y="504"/>
                  </a:lnTo>
                  <a:lnTo>
                    <a:pt x="282" y="498"/>
                  </a:lnTo>
                  <a:lnTo>
                    <a:pt x="264" y="486"/>
                  </a:lnTo>
                  <a:lnTo>
                    <a:pt x="258" y="492"/>
                  </a:lnTo>
                  <a:lnTo>
                    <a:pt x="234" y="492"/>
                  </a:lnTo>
                  <a:lnTo>
                    <a:pt x="222" y="486"/>
                  </a:lnTo>
                  <a:lnTo>
                    <a:pt x="204" y="480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92" y="462"/>
                  </a:lnTo>
                  <a:lnTo>
                    <a:pt x="186" y="462"/>
                  </a:lnTo>
                  <a:lnTo>
                    <a:pt x="180" y="468"/>
                  </a:lnTo>
                  <a:lnTo>
                    <a:pt x="150" y="450"/>
                  </a:lnTo>
                  <a:lnTo>
                    <a:pt x="144" y="438"/>
                  </a:lnTo>
                  <a:lnTo>
                    <a:pt x="138" y="438"/>
                  </a:lnTo>
                  <a:lnTo>
                    <a:pt x="132" y="432"/>
                  </a:lnTo>
                  <a:lnTo>
                    <a:pt x="126" y="432"/>
                  </a:lnTo>
                  <a:lnTo>
                    <a:pt x="120" y="432"/>
                  </a:lnTo>
                  <a:lnTo>
                    <a:pt x="102" y="426"/>
                  </a:lnTo>
                  <a:lnTo>
                    <a:pt x="96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2" y="414"/>
                  </a:lnTo>
                  <a:lnTo>
                    <a:pt x="60" y="414"/>
                  </a:lnTo>
                  <a:lnTo>
                    <a:pt x="30" y="414"/>
                  </a:lnTo>
                  <a:lnTo>
                    <a:pt x="24" y="414"/>
                  </a:lnTo>
                  <a:lnTo>
                    <a:pt x="12" y="414"/>
                  </a:lnTo>
                  <a:lnTo>
                    <a:pt x="0" y="420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0" y="336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30" y="270"/>
                  </a:lnTo>
                  <a:lnTo>
                    <a:pt x="42" y="270"/>
                  </a:lnTo>
                  <a:lnTo>
                    <a:pt x="54" y="264"/>
                  </a:lnTo>
                  <a:lnTo>
                    <a:pt x="78" y="240"/>
                  </a:lnTo>
                  <a:lnTo>
                    <a:pt x="102" y="216"/>
                  </a:lnTo>
                  <a:lnTo>
                    <a:pt x="114" y="210"/>
                  </a:lnTo>
                  <a:lnTo>
                    <a:pt x="120" y="204"/>
                  </a:lnTo>
                  <a:lnTo>
                    <a:pt x="126" y="198"/>
                  </a:lnTo>
                  <a:lnTo>
                    <a:pt x="138" y="18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38"/>
                  </a:lnTo>
                  <a:lnTo>
                    <a:pt x="210" y="126"/>
                  </a:lnTo>
                  <a:lnTo>
                    <a:pt x="216" y="120"/>
                  </a:lnTo>
                  <a:lnTo>
                    <a:pt x="222" y="120"/>
                  </a:lnTo>
                  <a:lnTo>
                    <a:pt x="258" y="114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300" y="102"/>
                  </a:lnTo>
                  <a:lnTo>
                    <a:pt x="312" y="102"/>
                  </a:lnTo>
                  <a:lnTo>
                    <a:pt x="318" y="102"/>
                  </a:lnTo>
                  <a:lnTo>
                    <a:pt x="348" y="96"/>
                  </a:lnTo>
                  <a:lnTo>
                    <a:pt x="366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408" y="84"/>
                  </a:lnTo>
                  <a:lnTo>
                    <a:pt x="420" y="84"/>
                  </a:lnTo>
                  <a:lnTo>
                    <a:pt x="462" y="72"/>
                  </a:lnTo>
                  <a:lnTo>
                    <a:pt x="474" y="72"/>
                  </a:lnTo>
                  <a:lnTo>
                    <a:pt x="474" y="78"/>
                  </a:lnTo>
                  <a:lnTo>
                    <a:pt x="492" y="90"/>
                  </a:lnTo>
                  <a:lnTo>
                    <a:pt x="498" y="90"/>
                  </a:lnTo>
                  <a:lnTo>
                    <a:pt x="522" y="96"/>
                  </a:lnTo>
                  <a:lnTo>
                    <a:pt x="540" y="96"/>
                  </a:lnTo>
                  <a:lnTo>
                    <a:pt x="546" y="96"/>
                  </a:lnTo>
                  <a:lnTo>
                    <a:pt x="558" y="96"/>
                  </a:lnTo>
                  <a:lnTo>
                    <a:pt x="564" y="96"/>
                  </a:lnTo>
                  <a:lnTo>
                    <a:pt x="576" y="96"/>
                  </a:lnTo>
                  <a:lnTo>
                    <a:pt x="588" y="96"/>
                  </a:lnTo>
                  <a:lnTo>
                    <a:pt x="612" y="90"/>
                  </a:lnTo>
                  <a:lnTo>
                    <a:pt x="624" y="90"/>
                  </a:lnTo>
                  <a:lnTo>
                    <a:pt x="636" y="90"/>
                  </a:lnTo>
                  <a:lnTo>
                    <a:pt x="642" y="90"/>
                  </a:lnTo>
                  <a:lnTo>
                    <a:pt x="648" y="96"/>
                  </a:lnTo>
                  <a:lnTo>
                    <a:pt x="660" y="96"/>
                  </a:lnTo>
                  <a:lnTo>
                    <a:pt x="666" y="96"/>
                  </a:lnTo>
                  <a:lnTo>
                    <a:pt x="672" y="96"/>
                  </a:lnTo>
                  <a:lnTo>
                    <a:pt x="684" y="96"/>
                  </a:lnTo>
                  <a:lnTo>
                    <a:pt x="708" y="96"/>
                  </a:lnTo>
                  <a:lnTo>
                    <a:pt x="714" y="96"/>
                  </a:lnTo>
                  <a:lnTo>
                    <a:pt x="726" y="96"/>
                  </a:lnTo>
                  <a:lnTo>
                    <a:pt x="738" y="84"/>
                  </a:lnTo>
                  <a:lnTo>
                    <a:pt x="744" y="78"/>
                  </a:lnTo>
                  <a:lnTo>
                    <a:pt x="756" y="66"/>
                  </a:lnTo>
                  <a:lnTo>
                    <a:pt x="774" y="42"/>
                  </a:lnTo>
                  <a:lnTo>
                    <a:pt x="780" y="30"/>
                  </a:lnTo>
                  <a:lnTo>
                    <a:pt x="816" y="24"/>
                  </a:lnTo>
                  <a:lnTo>
                    <a:pt x="840" y="18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64" y="6"/>
                  </a:lnTo>
                  <a:lnTo>
                    <a:pt x="870" y="6"/>
                  </a:lnTo>
                  <a:lnTo>
                    <a:pt x="894" y="0"/>
                  </a:lnTo>
                  <a:lnTo>
                    <a:pt x="900" y="6"/>
                  </a:lnTo>
                  <a:lnTo>
                    <a:pt x="930" y="18"/>
                  </a:lnTo>
                  <a:lnTo>
                    <a:pt x="942" y="24"/>
                  </a:lnTo>
                  <a:lnTo>
                    <a:pt x="954" y="30"/>
                  </a:lnTo>
                  <a:lnTo>
                    <a:pt x="1026" y="60"/>
                  </a:lnTo>
                  <a:lnTo>
                    <a:pt x="1032" y="60"/>
                  </a:lnTo>
                  <a:lnTo>
                    <a:pt x="1038" y="66"/>
                  </a:lnTo>
                  <a:lnTo>
                    <a:pt x="1068" y="72"/>
                  </a:lnTo>
                  <a:lnTo>
                    <a:pt x="1098" y="84"/>
                  </a:lnTo>
                  <a:lnTo>
                    <a:pt x="1122" y="90"/>
                  </a:lnTo>
                  <a:lnTo>
                    <a:pt x="1122" y="96"/>
                  </a:lnTo>
                  <a:lnTo>
                    <a:pt x="1140" y="102"/>
                  </a:lnTo>
                  <a:lnTo>
                    <a:pt x="1182" y="114"/>
                  </a:lnTo>
                  <a:lnTo>
                    <a:pt x="1188" y="114"/>
                  </a:lnTo>
                  <a:lnTo>
                    <a:pt x="1200" y="120"/>
                  </a:lnTo>
                  <a:lnTo>
                    <a:pt x="1212" y="126"/>
                  </a:lnTo>
                  <a:lnTo>
                    <a:pt x="1224" y="126"/>
                  </a:lnTo>
                  <a:lnTo>
                    <a:pt x="1248" y="138"/>
                  </a:lnTo>
                  <a:lnTo>
                    <a:pt x="1272" y="150"/>
                  </a:lnTo>
                  <a:lnTo>
                    <a:pt x="1284" y="156"/>
                  </a:lnTo>
                  <a:lnTo>
                    <a:pt x="1290" y="162"/>
                  </a:lnTo>
                  <a:lnTo>
                    <a:pt x="1296" y="162"/>
                  </a:lnTo>
                  <a:lnTo>
                    <a:pt x="1308" y="156"/>
                  </a:lnTo>
                  <a:lnTo>
                    <a:pt x="1320" y="150"/>
                  </a:lnTo>
                  <a:lnTo>
                    <a:pt x="1326" y="150"/>
                  </a:lnTo>
                  <a:lnTo>
                    <a:pt x="1338" y="144"/>
                  </a:lnTo>
                  <a:lnTo>
                    <a:pt x="1362" y="144"/>
                  </a:lnTo>
                  <a:lnTo>
                    <a:pt x="1368" y="144"/>
                  </a:lnTo>
                  <a:lnTo>
                    <a:pt x="1374" y="144"/>
                  </a:lnTo>
                  <a:lnTo>
                    <a:pt x="1386" y="150"/>
                  </a:lnTo>
                  <a:lnTo>
                    <a:pt x="1392" y="150"/>
                  </a:lnTo>
                  <a:lnTo>
                    <a:pt x="1398" y="150"/>
                  </a:lnTo>
                  <a:lnTo>
                    <a:pt x="1416" y="162"/>
                  </a:lnTo>
                  <a:lnTo>
                    <a:pt x="1458" y="186"/>
                  </a:lnTo>
                  <a:lnTo>
                    <a:pt x="1464" y="186"/>
                  </a:lnTo>
                  <a:lnTo>
                    <a:pt x="1470" y="192"/>
                  </a:lnTo>
                  <a:lnTo>
                    <a:pt x="1482" y="204"/>
                  </a:lnTo>
                  <a:lnTo>
                    <a:pt x="1512" y="234"/>
                  </a:lnTo>
                  <a:lnTo>
                    <a:pt x="1554" y="276"/>
                  </a:lnTo>
                  <a:lnTo>
                    <a:pt x="1560" y="276"/>
                  </a:lnTo>
                  <a:lnTo>
                    <a:pt x="1566" y="282"/>
                  </a:lnTo>
                  <a:lnTo>
                    <a:pt x="1578" y="294"/>
                  </a:lnTo>
                  <a:lnTo>
                    <a:pt x="1602" y="318"/>
                  </a:lnTo>
                  <a:lnTo>
                    <a:pt x="1614" y="330"/>
                  </a:lnTo>
                  <a:lnTo>
                    <a:pt x="1620" y="336"/>
                  </a:lnTo>
                  <a:lnTo>
                    <a:pt x="1626" y="342"/>
                  </a:lnTo>
                  <a:lnTo>
                    <a:pt x="1632" y="354"/>
                  </a:lnTo>
                  <a:lnTo>
                    <a:pt x="1644" y="366"/>
                  </a:lnTo>
                  <a:lnTo>
                    <a:pt x="1650" y="378"/>
                  </a:lnTo>
                  <a:lnTo>
                    <a:pt x="1650" y="384"/>
                  </a:lnTo>
                  <a:lnTo>
                    <a:pt x="1656" y="384"/>
                  </a:lnTo>
                  <a:lnTo>
                    <a:pt x="1662" y="402"/>
                  </a:lnTo>
                  <a:lnTo>
                    <a:pt x="1668" y="408"/>
                  </a:lnTo>
                  <a:lnTo>
                    <a:pt x="1674" y="426"/>
                  </a:lnTo>
                  <a:lnTo>
                    <a:pt x="1686" y="438"/>
                  </a:lnTo>
                  <a:lnTo>
                    <a:pt x="1698" y="46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9" name="Freeform 34">
              <a:extLst>
                <a:ext uri="{FF2B5EF4-FFF2-40B4-BE49-F238E27FC236}">
                  <a16:creationId xmlns:a16="http://schemas.microsoft.com/office/drawing/2014/main" id="{94603F24-8CF7-4226-A433-00D18CA7D9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1988" y="1681402"/>
              <a:ext cx="869877" cy="1060101"/>
            </a:xfrm>
            <a:custGeom>
              <a:avLst/>
              <a:gdLst>
                <a:gd name="T0" fmla="*/ 4 w 1638"/>
                <a:gd name="T1" fmla="*/ 111 h 1998"/>
                <a:gd name="T2" fmla="*/ 6 w 1638"/>
                <a:gd name="T3" fmla="*/ 87 h 1998"/>
                <a:gd name="T4" fmla="*/ 10 w 1638"/>
                <a:gd name="T5" fmla="*/ 80 h 1998"/>
                <a:gd name="T6" fmla="*/ 10 w 1638"/>
                <a:gd name="T7" fmla="*/ 71 h 1998"/>
                <a:gd name="T8" fmla="*/ 9 w 1638"/>
                <a:gd name="T9" fmla="*/ 56 h 1998"/>
                <a:gd name="T10" fmla="*/ 8 w 1638"/>
                <a:gd name="T11" fmla="*/ 40 h 1998"/>
                <a:gd name="T12" fmla="*/ 20 w 1638"/>
                <a:gd name="T13" fmla="*/ 30 h 1998"/>
                <a:gd name="T14" fmla="*/ 30 w 1638"/>
                <a:gd name="T15" fmla="*/ 19 h 1998"/>
                <a:gd name="T16" fmla="*/ 35 w 1638"/>
                <a:gd name="T17" fmla="*/ 2 h 1998"/>
                <a:gd name="T18" fmla="*/ 47 w 1638"/>
                <a:gd name="T19" fmla="*/ 2 h 1998"/>
                <a:gd name="T20" fmla="*/ 56 w 1638"/>
                <a:gd name="T21" fmla="*/ 7 h 1998"/>
                <a:gd name="T22" fmla="*/ 67 w 1638"/>
                <a:gd name="T23" fmla="*/ 5 h 1998"/>
                <a:gd name="T24" fmla="*/ 65 w 1638"/>
                <a:gd name="T25" fmla="*/ 15 h 1998"/>
                <a:gd name="T26" fmla="*/ 74 w 1638"/>
                <a:gd name="T27" fmla="*/ 24 h 1998"/>
                <a:gd name="T28" fmla="*/ 73 w 1638"/>
                <a:gd name="T29" fmla="*/ 33 h 1998"/>
                <a:gd name="T30" fmla="*/ 74 w 1638"/>
                <a:gd name="T31" fmla="*/ 44 h 1998"/>
                <a:gd name="T32" fmla="*/ 68 w 1638"/>
                <a:gd name="T33" fmla="*/ 45 h 1998"/>
                <a:gd name="T34" fmla="*/ 63 w 1638"/>
                <a:gd name="T35" fmla="*/ 50 h 1998"/>
                <a:gd name="T36" fmla="*/ 61 w 1638"/>
                <a:gd name="T37" fmla="*/ 62 h 1998"/>
                <a:gd name="T38" fmla="*/ 53 w 1638"/>
                <a:gd name="T39" fmla="*/ 86 h 1998"/>
                <a:gd name="T40" fmla="*/ 59 w 1638"/>
                <a:gd name="T41" fmla="*/ 90 h 1998"/>
                <a:gd name="T42" fmla="*/ 65 w 1638"/>
                <a:gd name="T43" fmla="*/ 86 h 1998"/>
                <a:gd name="T44" fmla="*/ 74 w 1638"/>
                <a:gd name="T45" fmla="*/ 84 h 1998"/>
                <a:gd name="T46" fmla="*/ 79 w 1638"/>
                <a:gd name="T47" fmla="*/ 85 h 1998"/>
                <a:gd name="T48" fmla="*/ 84 w 1638"/>
                <a:gd name="T49" fmla="*/ 84 h 1998"/>
                <a:gd name="T50" fmla="*/ 91 w 1638"/>
                <a:gd name="T51" fmla="*/ 84 h 1998"/>
                <a:gd name="T52" fmla="*/ 94 w 1638"/>
                <a:gd name="T53" fmla="*/ 81 h 1998"/>
                <a:gd name="T54" fmla="*/ 100 w 1638"/>
                <a:gd name="T55" fmla="*/ 81 h 1998"/>
                <a:gd name="T56" fmla="*/ 102 w 1638"/>
                <a:gd name="T57" fmla="*/ 84 h 1998"/>
                <a:gd name="T58" fmla="*/ 108 w 1638"/>
                <a:gd name="T59" fmla="*/ 85 h 1998"/>
                <a:gd name="T60" fmla="*/ 113 w 1638"/>
                <a:gd name="T61" fmla="*/ 88 h 1998"/>
                <a:gd name="T62" fmla="*/ 116 w 1638"/>
                <a:gd name="T63" fmla="*/ 88 h 1998"/>
                <a:gd name="T64" fmla="*/ 123 w 1638"/>
                <a:gd name="T65" fmla="*/ 87 h 1998"/>
                <a:gd name="T66" fmla="*/ 128 w 1638"/>
                <a:gd name="T67" fmla="*/ 86 h 1998"/>
                <a:gd name="T68" fmla="*/ 132 w 1638"/>
                <a:gd name="T69" fmla="*/ 90 h 1998"/>
                <a:gd name="T70" fmla="*/ 138 w 1638"/>
                <a:gd name="T71" fmla="*/ 96 h 1998"/>
                <a:gd name="T72" fmla="*/ 138 w 1638"/>
                <a:gd name="T73" fmla="*/ 110 h 1998"/>
                <a:gd name="T74" fmla="*/ 137 w 1638"/>
                <a:gd name="T75" fmla="*/ 118 h 1998"/>
                <a:gd name="T76" fmla="*/ 133 w 1638"/>
                <a:gd name="T77" fmla="*/ 124 h 1998"/>
                <a:gd name="T78" fmla="*/ 122 w 1638"/>
                <a:gd name="T79" fmla="*/ 125 h 1998"/>
                <a:gd name="T80" fmla="*/ 116 w 1638"/>
                <a:gd name="T81" fmla="*/ 127 h 1998"/>
                <a:gd name="T82" fmla="*/ 108 w 1638"/>
                <a:gd name="T83" fmla="*/ 123 h 1998"/>
                <a:gd name="T84" fmla="*/ 109 w 1638"/>
                <a:gd name="T85" fmla="*/ 119 h 1998"/>
                <a:gd name="T86" fmla="*/ 104 w 1638"/>
                <a:gd name="T87" fmla="*/ 104 h 1998"/>
                <a:gd name="T88" fmla="*/ 94 w 1638"/>
                <a:gd name="T89" fmla="*/ 105 h 1998"/>
                <a:gd name="T90" fmla="*/ 88 w 1638"/>
                <a:gd name="T91" fmla="*/ 109 h 1998"/>
                <a:gd name="T92" fmla="*/ 76 w 1638"/>
                <a:gd name="T93" fmla="*/ 107 h 1998"/>
                <a:gd name="T94" fmla="*/ 72 w 1638"/>
                <a:gd name="T95" fmla="*/ 114 h 1998"/>
                <a:gd name="T96" fmla="*/ 86 w 1638"/>
                <a:gd name="T97" fmla="*/ 121 h 1998"/>
                <a:gd name="T98" fmla="*/ 87 w 1638"/>
                <a:gd name="T99" fmla="*/ 129 h 1998"/>
                <a:gd name="T100" fmla="*/ 86 w 1638"/>
                <a:gd name="T101" fmla="*/ 137 h 1998"/>
                <a:gd name="T102" fmla="*/ 79 w 1638"/>
                <a:gd name="T103" fmla="*/ 141 h 1998"/>
                <a:gd name="T104" fmla="*/ 73 w 1638"/>
                <a:gd name="T105" fmla="*/ 144 h 1998"/>
                <a:gd name="T106" fmla="*/ 72 w 1638"/>
                <a:gd name="T107" fmla="*/ 164 h 1998"/>
                <a:gd name="T108" fmla="*/ 68 w 1638"/>
                <a:gd name="T109" fmla="*/ 172 h 1998"/>
                <a:gd name="T110" fmla="*/ 59 w 1638"/>
                <a:gd name="T111" fmla="*/ 164 h 1998"/>
                <a:gd name="T112" fmla="*/ 65 w 1638"/>
                <a:gd name="T113" fmla="*/ 146 h 1998"/>
                <a:gd name="T114" fmla="*/ 69 w 1638"/>
                <a:gd name="T115" fmla="*/ 133 h 1998"/>
                <a:gd name="T116" fmla="*/ 61 w 1638"/>
                <a:gd name="T117" fmla="*/ 131 h 1998"/>
                <a:gd name="T118" fmla="*/ 43 w 1638"/>
                <a:gd name="T119" fmla="*/ 125 h 1998"/>
                <a:gd name="T120" fmla="*/ 23 w 1638"/>
                <a:gd name="T121" fmla="*/ 125 h 1998"/>
                <a:gd name="T122" fmla="*/ 17 w 1638"/>
                <a:gd name="T123" fmla="*/ 121 h 19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638"/>
                <a:gd name="T187" fmla="*/ 0 h 1998"/>
                <a:gd name="T188" fmla="*/ 1638 w 1638"/>
                <a:gd name="T189" fmla="*/ 1998 h 19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638" h="1998">
                  <a:moveTo>
                    <a:pt x="144" y="1380"/>
                  </a:moveTo>
                  <a:lnTo>
                    <a:pt x="150" y="1368"/>
                  </a:lnTo>
                  <a:lnTo>
                    <a:pt x="150" y="1362"/>
                  </a:lnTo>
                  <a:lnTo>
                    <a:pt x="150" y="1356"/>
                  </a:lnTo>
                  <a:lnTo>
                    <a:pt x="144" y="1356"/>
                  </a:lnTo>
                  <a:lnTo>
                    <a:pt x="138" y="1356"/>
                  </a:lnTo>
                  <a:lnTo>
                    <a:pt x="126" y="1356"/>
                  </a:lnTo>
                  <a:lnTo>
                    <a:pt x="114" y="1344"/>
                  </a:lnTo>
                  <a:lnTo>
                    <a:pt x="84" y="1320"/>
                  </a:lnTo>
                  <a:lnTo>
                    <a:pt x="54" y="1296"/>
                  </a:lnTo>
                  <a:lnTo>
                    <a:pt x="48" y="1290"/>
                  </a:lnTo>
                  <a:lnTo>
                    <a:pt x="42" y="1278"/>
                  </a:lnTo>
                  <a:lnTo>
                    <a:pt x="30" y="1272"/>
                  </a:lnTo>
                  <a:lnTo>
                    <a:pt x="0" y="1248"/>
                  </a:lnTo>
                  <a:lnTo>
                    <a:pt x="6" y="1230"/>
                  </a:lnTo>
                  <a:lnTo>
                    <a:pt x="12" y="1194"/>
                  </a:lnTo>
                  <a:lnTo>
                    <a:pt x="18" y="1170"/>
                  </a:lnTo>
                  <a:lnTo>
                    <a:pt x="30" y="1134"/>
                  </a:lnTo>
                  <a:lnTo>
                    <a:pt x="36" y="1086"/>
                  </a:lnTo>
                  <a:lnTo>
                    <a:pt x="42" y="1050"/>
                  </a:lnTo>
                  <a:lnTo>
                    <a:pt x="48" y="1044"/>
                  </a:lnTo>
                  <a:lnTo>
                    <a:pt x="54" y="1026"/>
                  </a:lnTo>
                  <a:lnTo>
                    <a:pt x="60" y="1014"/>
                  </a:lnTo>
                  <a:lnTo>
                    <a:pt x="66" y="1002"/>
                  </a:lnTo>
                  <a:lnTo>
                    <a:pt x="66" y="996"/>
                  </a:lnTo>
                  <a:lnTo>
                    <a:pt x="72" y="996"/>
                  </a:lnTo>
                  <a:lnTo>
                    <a:pt x="72" y="990"/>
                  </a:lnTo>
                  <a:lnTo>
                    <a:pt x="78" y="990"/>
                  </a:lnTo>
                  <a:lnTo>
                    <a:pt x="90" y="978"/>
                  </a:lnTo>
                  <a:lnTo>
                    <a:pt x="96" y="966"/>
                  </a:lnTo>
                  <a:lnTo>
                    <a:pt x="102" y="966"/>
                  </a:lnTo>
                  <a:lnTo>
                    <a:pt x="114" y="954"/>
                  </a:lnTo>
                  <a:lnTo>
                    <a:pt x="120" y="954"/>
                  </a:lnTo>
                  <a:lnTo>
                    <a:pt x="120" y="948"/>
                  </a:lnTo>
                  <a:lnTo>
                    <a:pt x="114" y="930"/>
                  </a:lnTo>
                  <a:lnTo>
                    <a:pt x="114" y="924"/>
                  </a:lnTo>
                  <a:lnTo>
                    <a:pt x="108" y="918"/>
                  </a:lnTo>
                  <a:lnTo>
                    <a:pt x="102" y="912"/>
                  </a:lnTo>
                  <a:lnTo>
                    <a:pt x="90" y="906"/>
                  </a:lnTo>
                  <a:lnTo>
                    <a:pt x="84" y="900"/>
                  </a:lnTo>
                  <a:lnTo>
                    <a:pt x="84" y="888"/>
                  </a:lnTo>
                  <a:lnTo>
                    <a:pt x="84" y="882"/>
                  </a:lnTo>
                  <a:lnTo>
                    <a:pt x="78" y="858"/>
                  </a:lnTo>
                  <a:lnTo>
                    <a:pt x="78" y="852"/>
                  </a:lnTo>
                  <a:lnTo>
                    <a:pt x="84" y="846"/>
                  </a:lnTo>
                  <a:lnTo>
                    <a:pt x="84" y="840"/>
                  </a:lnTo>
                  <a:lnTo>
                    <a:pt x="96" y="828"/>
                  </a:lnTo>
                  <a:lnTo>
                    <a:pt x="114" y="816"/>
                  </a:lnTo>
                  <a:lnTo>
                    <a:pt x="114" y="810"/>
                  </a:lnTo>
                  <a:lnTo>
                    <a:pt x="114" y="804"/>
                  </a:lnTo>
                  <a:lnTo>
                    <a:pt x="108" y="780"/>
                  </a:lnTo>
                  <a:lnTo>
                    <a:pt x="96" y="756"/>
                  </a:lnTo>
                  <a:lnTo>
                    <a:pt x="96" y="750"/>
                  </a:lnTo>
                  <a:lnTo>
                    <a:pt x="90" y="720"/>
                  </a:lnTo>
                  <a:lnTo>
                    <a:pt x="90" y="708"/>
                  </a:lnTo>
                  <a:lnTo>
                    <a:pt x="90" y="690"/>
                  </a:lnTo>
                  <a:lnTo>
                    <a:pt x="96" y="672"/>
                  </a:lnTo>
                  <a:lnTo>
                    <a:pt x="90" y="666"/>
                  </a:lnTo>
                  <a:lnTo>
                    <a:pt x="96" y="666"/>
                  </a:lnTo>
                  <a:lnTo>
                    <a:pt x="102" y="642"/>
                  </a:lnTo>
                  <a:lnTo>
                    <a:pt x="108" y="624"/>
                  </a:lnTo>
                  <a:lnTo>
                    <a:pt x="102" y="618"/>
                  </a:lnTo>
                  <a:lnTo>
                    <a:pt x="102" y="588"/>
                  </a:lnTo>
                  <a:lnTo>
                    <a:pt x="102" y="564"/>
                  </a:lnTo>
                  <a:lnTo>
                    <a:pt x="102" y="546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0"/>
                  </a:lnTo>
                  <a:lnTo>
                    <a:pt x="96" y="498"/>
                  </a:lnTo>
                  <a:lnTo>
                    <a:pt x="96" y="486"/>
                  </a:lnTo>
                  <a:lnTo>
                    <a:pt x="96" y="474"/>
                  </a:lnTo>
                  <a:lnTo>
                    <a:pt x="96" y="462"/>
                  </a:lnTo>
                  <a:lnTo>
                    <a:pt x="114" y="450"/>
                  </a:lnTo>
                  <a:lnTo>
                    <a:pt x="126" y="438"/>
                  </a:lnTo>
                  <a:lnTo>
                    <a:pt x="132" y="432"/>
                  </a:lnTo>
                  <a:lnTo>
                    <a:pt x="144" y="426"/>
                  </a:lnTo>
                  <a:lnTo>
                    <a:pt x="144" y="420"/>
                  </a:lnTo>
                  <a:lnTo>
                    <a:pt x="156" y="414"/>
                  </a:lnTo>
                  <a:lnTo>
                    <a:pt x="162" y="408"/>
                  </a:lnTo>
                  <a:lnTo>
                    <a:pt x="180" y="396"/>
                  </a:lnTo>
                  <a:lnTo>
                    <a:pt x="210" y="372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34" y="348"/>
                  </a:lnTo>
                  <a:lnTo>
                    <a:pt x="240" y="348"/>
                  </a:lnTo>
                  <a:lnTo>
                    <a:pt x="246" y="342"/>
                  </a:lnTo>
                  <a:lnTo>
                    <a:pt x="276" y="318"/>
                  </a:lnTo>
                  <a:lnTo>
                    <a:pt x="282" y="312"/>
                  </a:lnTo>
                  <a:lnTo>
                    <a:pt x="288" y="306"/>
                  </a:lnTo>
                  <a:lnTo>
                    <a:pt x="300" y="288"/>
                  </a:lnTo>
                  <a:lnTo>
                    <a:pt x="306" y="276"/>
                  </a:lnTo>
                  <a:lnTo>
                    <a:pt x="324" y="246"/>
                  </a:lnTo>
                  <a:lnTo>
                    <a:pt x="330" y="240"/>
                  </a:lnTo>
                  <a:lnTo>
                    <a:pt x="336" y="234"/>
                  </a:lnTo>
                  <a:lnTo>
                    <a:pt x="342" y="228"/>
                  </a:lnTo>
                  <a:lnTo>
                    <a:pt x="342" y="216"/>
                  </a:lnTo>
                  <a:lnTo>
                    <a:pt x="354" y="204"/>
                  </a:lnTo>
                  <a:lnTo>
                    <a:pt x="360" y="204"/>
                  </a:lnTo>
                  <a:lnTo>
                    <a:pt x="366" y="186"/>
                  </a:lnTo>
                  <a:lnTo>
                    <a:pt x="384" y="162"/>
                  </a:lnTo>
                  <a:lnTo>
                    <a:pt x="390" y="144"/>
                  </a:lnTo>
                  <a:lnTo>
                    <a:pt x="396" y="114"/>
                  </a:lnTo>
                  <a:lnTo>
                    <a:pt x="396" y="102"/>
                  </a:lnTo>
                  <a:lnTo>
                    <a:pt x="402" y="90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08" y="36"/>
                  </a:lnTo>
                  <a:lnTo>
                    <a:pt x="408" y="24"/>
                  </a:lnTo>
                  <a:lnTo>
                    <a:pt x="408" y="6"/>
                  </a:lnTo>
                  <a:lnTo>
                    <a:pt x="420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68" y="0"/>
                  </a:lnTo>
                  <a:lnTo>
                    <a:pt x="480" y="0"/>
                  </a:lnTo>
                  <a:lnTo>
                    <a:pt x="492" y="0"/>
                  </a:lnTo>
                  <a:lnTo>
                    <a:pt x="498" y="0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8" y="18"/>
                  </a:lnTo>
                  <a:lnTo>
                    <a:pt x="534" y="18"/>
                  </a:lnTo>
                  <a:lnTo>
                    <a:pt x="540" y="18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8" y="36"/>
                  </a:lnTo>
                  <a:lnTo>
                    <a:pt x="588" y="54"/>
                  </a:lnTo>
                  <a:lnTo>
                    <a:pt x="594" y="48"/>
                  </a:lnTo>
                  <a:lnTo>
                    <a:pt x="600" y="48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12" y="66"/>
                  </a:lnTo>
                  <a:lnTo>
                    <a:pt x="630" y="72"/>
                  </a:lnTo>
                  <a:lnTo>
                    <a:pt x="642" y="78"/>
                  </a:lnTo>
                  <a:lnTo>
                    <a:pt x="666" y="78"/>
                  </a:lnTo>
                  <a:lnTo>
                    <a:pt x="672" y="72"/>
                  </a:lnTo>
                  <a:lnTo>
                    <a:pt x="690" y="84"/>
                  </a:lnTo>
                  <a:lnTo>
                    <a:pt x="690" y="90"/>
                  </a:lnTo>
                  <a:lnTo>
                    <a:pt x="708" y="96"/>
                  </a:lnTo>
                  <a:lnTo>
                    <a:pt x="708" y="102"/>
                  </a:lnTo>
                  <a:lnTo>
                    <a:pt x="744" y="96"/>
                  </a:lnTo>
                  <a:lnTo>
                    <a:pt x="756" y="78"/>
                  </a:lnTo>
                  <a:lnTo>
                    <a:pt x="756" y="72"/>
                  </a:lnTo>
                  <a:lnTo>
                    <a:pt x="762" y="66"/>
                  </a:lnTo>
                  <a:lnTo>
                    <a:pt x="768" y="60"/>
                  </a:lnTo>
                  <a:lnTo>
                    <a:pt x="774" y="54"/>
                  </a:lnTo>
                  <a:lnTo>
                    <a:pt x="786" y="54"/>
                  </a:lnTo>
                  <a:lnTo>
                    <a:pt x="786" y="60"/>
                  </a:lnTo>
                  <a:lnTo>
                    <a:pt x="786" y="66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92" y="90"/>
                  </a:lnTo>
                  <a:lnTo>
                    <a:pt x="780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26"/>
                  </a:lnTo>
                  <a:lnTo>
                    <a:pt x="768" y="150"/>
                  </a:lnTo>
                  <a:lnTo>
                    <a:pt x="750" y="168"/>
                  </a:lnTo>
                  <a:lnTo>
                    <a:pt x="750" y="174"/>
                  </a:lnTo>
                  <a:lnTo>
                    <a:pt x="762" y="192"/>
                  </a:lnTo>
                  <a:lnTo>
                    <a:pt x="774" y="210"/>
                  </a:lnTo>
                  <a:lnTo>
                    <a:pt x="792" y="228"/>
                  </a:lnTo>
                  <a:lnTo>
                    <a:pt x="804" y="240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40" y="252"/>
                  </a:lnTo>
                  <a:lnTo>
                    <a:pt x="834" y="252"/>
                  </a:lnTo>
                  <a:lnTo>
                    <a:pt x="846" y="252"/>
                  </a:lnTo>
                  <a:lnTo>
                    <a:pt x="852" y="270"/>
                  </a:lnTo>
                  <a:lnTo>
                    <a:pt x="858" y="282"/>
                  </a:lnTo>
                  <a:lnTo>
                    <a:pt x="858" y="288"/>
                  </a:lnTo>
                  <a:lnTo>
                    <a:pt x="864" y="300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58" y="318"/>
                  </a:lnTo>
                  <a:lnTo>
                    <a:pt x="852" y="318"/>
                  </a:lnTo>
                  <a:lnTo>
                    <a:pt x="846" y="324"/>
                  </a:lnTo>
                  <a:lnTo>
                    <a:pt x="846" y="336"/>
                  </a:lnTo>
                  <a:lnTo>
                    <a:pt x="840" y="348"/>
                  </a:lnTo>
                  <a:lnTo>
                    <a:pt x="840" y="360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46" y="402"/>
                  </a:lnTo>
                  <a:lnTo>
                    <a:pt x="858" y="420"/>
                  </a:lnTo>
                  <a:lnTo>
                    <a:pt x="882" y="426"/>
                  </a:lnTo>
                  <a:lnTo>
                    <a:pt x="888" y="444"/>
                  </a:lnTo>
                  <a:lnTo>
                    <a:pt x="900" y="444"/>
                  </a:lnTo>
                  <a:lnTo>
                    <a:pt x="900" y="462"/>
                  </a:lnTo>
                  <a:lnTo>
                    <a:pt x="894" y="474"/>
                  </a:lnTo>
                  <a:lnTo>
                    <a:pt x="888" y="486"/>
                  </a:lnTo>
                  <a:lnTo>
                    <a:pt x="882" y="492"/>
                  </a:lnTo>
                  <a:lnTo>
                    <a:pt x="870" y="504"/>
                  </a:lnTo>
                  <a:lnTo>
                    <a:pt x="852" y="504"/>
                  </a:lnTo>
                  <a:lnTo>
                    <a:pt x="852" y="510"/>
                  </a:lnTo>
                  <a:lnTo>
                    <a:pt x="852" y="516"/>
                  </a:lnTo>
                  <a:lnTo>
                    <a:pt x="846" y="528"/>
                  </a:lnTo>
                  <a:lnTo>
                    <a:pt x="846" y="582"/>
                  </a:lnTo>
                  <a:lnTo>
                    <a:pt x="840" y="582"/>
                  </a:lnTo>
                  <a:lnTo>
                    <a:pt x="834" y="582"/>
                  </a:lnTo>
                  <a:lnTo>
                    <a:pt x="828" y="582"/>
                  </a:lnTo>
                  <a:lnTo>
                    <a:pt x="822" y="582"/>
                  </a:lnTo>
                  <a:lnTo>
                    <a:pt x="810" y="582"/>
                  </a:lnTo>
                  <a:lnTo>
                    <a:pt x="810" y="528"/>
                  </a:lnTo>
                  <a:lnTo>
                    <a:pt x="792" y="528"/>
                  </a:lnTo>
                  <a:lnTo>
                    <a:pt x="792" y="522"/>
                  </a:lnTo>
                  <a:lnTo>
                    <a:pt x="786" y="522"/>
                  </a:lnTo>
                  <a:lnTo>
                    <a:pt x="786" y="516"/>
                  </a:lnTo>
                  <a:lnTo>
                    <a:pt x="780" y="516"/>
                  </a:lnTo>
                  <a:lnTo>
                    <a:pt x="780" y="510"/>
                  </a:lnTo>
                  <a:lnTo>
                    <a:pt x="762" y="510"/>
                  </a:lnTo>
                  <a:lnTo>
                    <a:pt x="756" y="510"/>
                  </a:lnTo>
                  <a:lnTo>
                    <a:pt x="750" y="522"/>
                  </a:lnTo>
                  <a:lnTo>
                    <a:pt x="744" y="534"/>
                  </a:lnTo>
                  <a:lnTo>
                    <a:pt x="732" y="540"/>
                  </a:lnTo>
                  <a:lnTo>
                    <a:pt x="732" y="558"/>
                  </a:lnTo>
                  <a:lnTo>
                    <a:pt x="732" y="564"/>
                  </a:lnTo>
                  <a:lnTo>
                    <a:pt x="732" y="570"/>
                  </a:lnTo>
                  <a:lnTo>
                    <a:pt x="726" y="576"/>
                  </a:lnTo>
                  <a:lnTo>
                    <a:pt x="720" y="576"/>
                  </a:lnTo>
                  <a:lnTo>
                    <a:pt x="714" y="582"/>
                  </a:lnTo>
                  <a:lnTo>
                    <a:pt x="702" y="588"/>
                  </a:lnTo>
                  <a:lnTo>
                    <a:pt x="696" y="594"/>
                  </a:lnTo>
                  <a:lnTo>
                    <a:pt x="690" y="600"/>
                  </a:lnTo>
                  <a:lnTo>
                    <a:pt x="690" y="606"/>
                  </a:lnTo>
                  <a:lnTo>
                    <a:pt x="678" y="606"/>
                  </a:lnTo>
                  <a:lnTo>
                    <a:pt x="678" y="624"/>
                  </a:lnTo>
                  <a:lnTo>
                    <a:pt x="684" y="642"/>
                  </a:lnTo>
                  <a:lnTo>
                    <a:pt x="684" y="660"/>
                  </a:lnTo>
                  <a:lnTo>
                    <a:pt x="690" y="672"/>
                  </a:lnTo>
                  <a:lnTo>
                    <a:pt x="702" y="720"/>
                  </a:lnTo>
                  <a:lnTo>
                    <a:pt x="708" y="750"/>
                  </a:lnTo>
                  <a:lnTo>
                    <a:pt x="708" y="792"/>
                  </a:lnTo>
                  <a:lnTo>
                    <a:pt x="708" y="828"/>
                  </a:lnTo>
                  <a:lnTo>
                    <a:pt x="708" y="852"/>
                  </a:lnTo>
                  <a:lnTo>
                    <a:pt x="696" y="894"/>
                  </a:lnTo>
                  <a:lnTo>
                    <a:pt x="702" y="900"/>
                  </a:lnTo>
                  <a:lnTo>
                    <a:pt x="708" y="924"/>
                  </a:lnTo>
                  <a:lnTo>
                    <a:pt x="684" y="936"/>
                  </a:lnTo>
                  <a:lnTo>
                    <a:pt x="660" y="954"/>
                  </a:lnTo>
                  <a:lnTo>
                    <a:pt x="618" y="984"/>
                  </a:lnTo>
                  <a:lnTo>
                    <a:pt x="618" y="990"/>
                  </a:lnTo>
                  <a:lnTo>
                    <a:pt x="612" y="996"/>
                  </a:lnTo>
                  <a:lnTo>
                    <a:pt x="606" y="1002"/>
                  </a:lnTo>
                  <a:lnTo>
                    <a:pt x="618" y="1008"/>
                  </a:lnTo>
                  <a:lnTo>
                    <a:pt x="618" y="1014"/>
                  </a:lnTo>
                  <a:lnTo>
                    <a:pt x="624" y="1026"/>
                  </a:lnTo>
                  <a:lnTo>
                    <a:pt x="630" y="1026"/>
                  </a:lnTo>
                  <a:lnTo>
                    <a:pt x="636" y="1032"/>
                  </a:lnTo>
                  <a:lnTo>
                    <a:pt x="642" y="1032"/>
                  </a:lnTo>
                  <a:lnTo>
                    <a:pt x="642" y="1038"/>
                  </a:lnTo>
                  <a:lnTo>
                    <a:pt x="648" y="1044"/>
                  </a:lnTo>
                  <a:lnTo>
                    <a:pt x="666" y="1050"/>
                  </a:lnTo>
                  <a:lnTo>
                    <a:pt x="678" y="1038"/>
                  </a:lnTo>
                  <a:lnTo>
                    <a:pt x="684" y="1038"/>
                  </a:lnTo>
                  <a:lnTo>
                    <a:pt x="684" y="1032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20"/>
                  </a:lnTo>
                  <a:lnTo>
                    <a:pt x="708" y="1014"/>
                  </a:lnTo>
                  <a:lnTo>
                    <a:pt x="720" y="1020"/>
                  </a:lnTo>
                  <a:lnTo>
                    <a:pt x="720" y="1014"/>
                  </a:lnTo>
                  <a:lnTo>
                    <a:pt x="726" y="1008"/>
                  </a:lnTo>
                  <a:lnTo>
                    <a:pt x="732" y="1008"/>
                  </a:lnTo>
                  <a:lnTo>
                    <a:pt x="738" y="1008"/>
                  </a:lnTo>
                  <a:lnTo>
                    <a:pt x="744" y="1002"/>
                  </a:lnTo>
                  <a:lnTo>
                    <a:pt x="744" y="996"/>
                  </a:lnTo>
                  <a:lnTo>
                    <a:pt x="750" y="996"/>
                  </a:lnTo>
                  <a:lnTo>
                    <a:pt x="756" y="1002"/>
                  </a:lnTo>
                  <a:lnTo>
                    <a:pt x="762" y="1002"/>
                  </a:lnTo>
                  <a:lnTo>
                    <a:pt x="768" y="996"/>
                  </a:lnTo>
                  <a:lnTo>
                    <a:pt x="780" y="996"/>
                  </a:lnTo>
                  <a:lnTo>
                    <a:pt x="786" y="996"/>
                  </a:lnTo>
                  <a:lnTo>
                    <a:pt x="816" y="990"/>
                  </a:lnTo>
                  <a:lnTo>
                    <a:pt x="828" y="990"/>
                  </a:lnTo>
                  <a:lnTo>
                    <a:pt x="834" y="990"/>
                  </a:lnTo>
                  <a:lnTo>
                    <a:pt x="840" y="984"/>
                  </a:lnTo>
                  <a:lnTo>
                    <a:pt x="852" y="978"/>
                  </a:lnTo>
                  <a:lnTo>
                    <a:pt x="852" y="972"/>
                  </a:lnTo>
                  <a:lnTo>
                    <a:pt x="858" y="972"/>
                  </a:lnTo>
                  <a:lnTo>
                    <a:pt x="864" y="966"/>
                  </a:lnTo>
                  <a:lnTo>
                    <a:pt x="870" y="966"/>
                  </a:lnTo>
                  <a:lnTo>
                    <a:pt x="876" y="966"/>
                  </a:lnTo>
                  <a:lnTo>
                    <a:pt x="882" y="960"/>
                  </a:lnTo>
                  <a:lnTo>
                    <a:pt x="888" y="960"/>
                  </a:lnTo>
                  <a:lnTo>
                    <a:pt x="894" y="960"/>
                  </a:lnTo>
                  <a:lnTo>
                    <a:pt x="894" y="966"/>
                  </a:lnTo>
                  <a:lnTo>
                    <a:pt x="894" y="978"/>
                  </a:lnTo>
                  <a:lnTo>
                    <a:pt x="894" y="984"/>
                  </a:lnTo>
                  <a:lnTo>
                    <a:pt x="900" y="984"/>
                  </a:lnTo>
                  <a:lnTo>
                    <a:pt x="906" y="978"/>
                  </a:lnTo>
                  <a:lnTo>
                    <a:pt x="912" y="972"/>
                  </a:lnTo>
                  <a:lnTo>
                    <a:pt x="918" y="978"/>
                  </a:lnTo>
                  <a:lnTo>
                    <a:pt x="924" y="978"/>
                  </a:lnTo>
                  <a:lnTo>
                    <a:pt x="924" y="972"/>
                  </a:lnTo>
                  <a:lnTo>
                    <a:pt x="924" y="966"/>
                  </a:lnTo>
                  <a:lnTo>
                    <a:pt x="930" y="966"/>
                  </a:lnTo>
                  <a:lnTo>
                    <a:pt x="948" y="966"/>
                  </a:lnTo>
                  <a:lnTo>
                    <a:pt x="954" y="966"/>
                  </a:lnTo>
                  <a:lnTo>
                    <a:pt x="954" y="960"/>
                  </a:lnTo>
                  <a:lnTo>
                    <a:pt x="960" y="960"/>
                  </a:lnTo>
                  <a:lnTo>
                    <a:pt x="966" y="960"/>
                  </a:lnTo>
                  <a:lnTo>
                    <a:pt x="966" y="966"/>
                  </a:lnTo>
                  <a:lnTo>
                    <a:pt x="978" y="972"/>
                  </a:lnTo>
                  <a:lnTo>
                    <a:pt x="978" y="978"/>
                  </a:lnTo>
                  <a:lnTo>
                    <a:pt x="978" y="984"/>
                  </a:lnTo>
                  <a:lnTo>
                    <a:pt x="984" y="978"/>
                  </a:lnTo>
                  <a:lnTo>
                    <a:pt x="990" y="978"/>
                  </a:lnTo>
                  <a:lnTo>
                    <a:pt x="996" y="984"/>
                  </a:lnTo>
                  <a:lnTo>
                    <a:pt x="1002" y="990"/>
                  </a:lnTo>
                  <a:lnTo>
                    <a:pt x="1008" y="972"/>
                  </a:lnTo>
                  <a:lnTo>
                    <a:pt x="1026" y="972"/>
                  </a:lnTo>
                  <a:lnTo>
                    <a:pt x="1032" y="972"/>
                  </a:lnTo>
                  <a:lnTo>
                    <a:pt x="1038" y="972"/>
                  </a:lnTo>
                  <a:lnTo>
                    <a:pt x="1050" y="972"/>
                  </a:lnTo>
                  <a:lnTo>
                    <a:pt x="1056" y="972"/>
                  </a:lnTo>
                  <a:lnTo>
                    <a:pt x="1062" y="966"/>
                  </a:lnTo>
                  <a:lnTo>
                    <a:pt x="1074" y="966"/>
                  </a:lnTo>
                  <a:lnTo>
                    <a:pt x="1074" y="960"/>
                  </a:lnTo>
                  <a:lnTo>
                    <a:pt x="1080" y="954"/>
                  </a:lnTo>
                  <a:lnTo>
                    <a:pt x="1080" y="948"/>
                  </a:lnTo>
                  <a:lnTo>
                    <a:pt x="1074" y="948"/>
                  </a:lnTo>
                  <a:lnTo>
                    <a:pt x="1068" y="948"/>
                  </a:lnTo>
                  <a:lnTo>
                    <a:pt x="1062" y="942"/>
                  </a:lnTo>
                  <a:lnTo>
                    <a:pt x="1068" y="936"/>
                  </a:lnTo>
                  <a:lnTo>
                    <a:pt x="1074" y="936"/>
                  </a:lnTo>
                  <a:lnTo>
                    <a:pt x="1080" y="936"/>
                  </a:lnTo>
                  <a:lnTo>
                    <a:pt x="1086" y="942"/>
                  </a:lnTo>
                  <a:lnTo>
                    <a:pt x="1092" y="942"/>
                  </a:lnTo>
                  <a:lnTo>
                    <a:pt x="1098" y="948"/>
                  </a:lnTo>
                  <a:lnTo>
                    <a:pt x="1104" y="954"/>
                  </a:lnTo>
                  <a:lnTo>
                    <a:pt x="1110" y="954"/>
                  </a:lnTo>
                  <a:lnTo>
                    <a:pt x="1116" y="948"/>
                  </a:lnTo>
                  <a:lnTo>
                    <a:pt x="1122" y="942"/>
                  </a:lnTo>
                  <a:lnTo>
                    <a:pt x="1128" y="942"/>
                  </a:lnTo>
                  <a:lnTo>
                    <a:pt x="1134" y="942"/>
                  </a:lnTo>
                  <a:lnTo>
                    <a:pt x="1140" y="948"/>
                  </a:lnTo>
                  <a:lnTo>
                    <a:pt x="1146" y="942"/>
                  </a:lnTo>
                  <a:lnTo>
                    <a:pt x="1152" y="942"/>
                  </a:lnTo>
                  <a:lnTo>
                    <a:pt x="1152" y="930"/>
                  </a:lnTo>
                  <a:lnTo>
                    <a:pt x="1164" y="936"/>
                  </a:lnTo>
                  <a:lnTo>
                    <a:pt x="1158" y="942"/>
                  </a:lnTo>
                  <a:lnTo>
                    <a:pt x="1158" y="948"/>
                  </a:lnTo>
                  <a:lnTo>
                    <a:pt x="1146" y="954"/>
                  </a:lnTo>
                  <a:lnTo>
                    <a:pt x="1152" y="954"/>
                  </a:lnTo>
                  <a:lnTo>
                    <a:pt x="1158" y="954"/>
                  </a:lnTo>
                  <a:lnTo>
                    <a:pt x="1158" y="948"/>
                  </a:lnTo>
                  <a:lnTo>
                    <a:pt x="1164" y="948"/>
                  </a:lnTo>
                  <a:lnTo>
                    <a:pt x="1170" y="948"/>
                  </a:lnTo>
                  <a:lnTo>
                    <a:pt x="1176" y="954"/>
                  </a:lnTo>
                  <a:lnTo>
                    <a:pt x="1176" y="966"/>
                  </a:lnTo>
                  <a:lnTo>
                    <a:pt x="1182" y="972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88" y="984"/>
                  </a:lnTo>
                  <a:lnTo>
                    <a:pt x="1194" y="984"/>
                  </a:lnTo>
                  <a:lnTo>
                    <a:pt x="1200" y="984"/>
                  </a:lnTo>
                  <a:lnTo>
                    <a:pt x="1212" y="984"/>
                  </a:lnTo>
                  <a:lnTo>
                    <a:pt x="1218" y="990"/>
                  </a:lnTo>
                  <a:lnTo>
                    <a:pt x="1224" y="990"/>
                  </a:lnTo>
                  <a:lnTo>
                    <a:pt x="1224" y="984"/>
                  </a:lnTo>
                  <a:lnTo>
                    <a:pt x="1230" y="990"/>
                  </a:lnTo>
                  <a:lnTo>
                    <a:pt x="1236" y="984"/>
                  </a:lnTo>
                  <a:lnTo>
                    <a:pt x="1242" y="984"/>
                  </a:lnTo>
                  <a:lnTo>
                    <a:pt x="1248" y="990"/>
                  </a:lnTo>
                  <a:lnTo>
                    <a:pt x="1254" y="990"/>
                  </a:lnTo>
                  <a:lnTo>
                    <a:pt x="1254" y="996"/>
                  </a:lnTo>
                  <a:lnTo>
                    <a:pt x="1254" y="1002"/>
                  </a:lnTo>
                  <a:lnTo>
                    <a:pt x="1254" y="1008"/>
                  </a:lnTo>
                  <a:lnTo>
                    <a:pt x="1260" y="1014"/>
                  </a:lnTo>
                  <a:lnTo>
                    <a:pt x="1266" y="1014"/>
                  </a:lnTo>
                  <a:lnTo>
                    <a:pt x="1272" y="1014"/>
                  </a:lnTo>
                  <a:lnTo>
                    <a:pt x="1278" y="1020"/>
                  </a:lnTo>
                  <a:lnTo>
                    <a:pt x="1284" y="1020"/>
                  </a:lnTo>
                  <a:lnTo>
                    <a:pt x="1290" y="1014"/>
                  </a:lnTo>
                  <a:lnTo>
                    <a:pt x="1290" y="1008"/>
                  </a:lnTo>
                  <a:lnTo>
                    <a:pt x="1296" y="1008"/>
                  </a:lnTo>
                  <a:lnTo>
                    <a:pt x="1302" y="1014"/>
                  </a:lnTo>
                  <a:lnTo>
                    <a:pt x="1308" y="1014"/>
                  </a:lnTo>
                  <a:lnTo>
                    <a:pt x="1314" y="1008"/>
                  </a:lnTo>
                  <a:lnTo>
                    <a:pt x="1320" y="1008"/>
                  </a:lnTo>
                  <a:lnTo>
                    <a:pt x="1320" y="1002"/>
                  </a:lnTo>
                  <a:lnTo>
                    <a:pt x="1320" y="996"/>
                  </a:lnTo>
                  <a:lnTo>
                    <a:pt x="1332" y="1002"/>
                  </a:lnTo>
                  <a:lnTo>
                    <a:pt x="1332" y="1008"/>
                  </a:lnTo>
                  <a:lnTo>
                    <a:pt x="1326" y="1014"/>
                  </a:lnTo>
                  <a:lnTo>
                    <a:pt x="1332" y="1014"/>
                  </a:lnTo>
                  <a:lnTo>
                    <a:pt x="1338" y="1014"/>
                  </a:lnTo>
                  <a:lnTo>
                    <a:pt x="1338" y="1008"/>
                  </a:lnTo>
                  <a:lnTo>
                    <a:pt x="1344" y="1008"/>
                  </a:lnTo>
                  <a:lnTo>
                    <a:pt x="1350" y="1008"/>
                  </a:lnTo>
                  <a:lnTo>
                    <a:pt x="1356" y="1014"/>
                  </a:lnTo>
                  <a:lnTo>
                    <a:pt x="1356" y="1008"/>
                  </a:lnTo>
                  <a:lnTo>
                    <a:pt x="1362" y="1014"/>
                  </a:lnTo>
                  <a:lnTo>
                    <a:pt x="1392" y="1014"/>
                  </a:lnTo>
                  <a:lnTo>
                    <a:pt x="1398" y="1014"/>
                  </a:lnTo>
                  <a:lnTo>
                    <a:pt x="1404" y="1008"/>
                  </a:lnTo>
                  <a:lnTo>
                    <a:pt x="1404" y="1014"/>
                  </a:lnTo>
                  <a:lnTo>
                    <a:pt x="1410" y="1008"/>
                  </a:lnTo>
                  <a:lnTo>
                    <a:pt x="1416" y="1008"/>
                  </a:lnTo>
                  <a:lnTo>
                    <a:pt x="1422" y="1002"/>
                  </a:lnTo>
                  <a:lnTo>
                    <a:pt x="1428" y="1002"/>
                  </a:lnTo>
                  <a:lnTo>
                    <a:pt x="1428" y="996"/>
                  </a:lnTo>
                  <a:lnTo>
                    <a:pt x="1428" y="990"/>
                  </a:lnTo>
                  <a:lnTo>
                    <a:pt x="1440" y="1002"/>
                  </a:lnTo>
                  <a:lnTo>
                    <a:pt x="1446" y="1002"/>
                  </a:lnTo>
                  <a:lnTo>
                    <a:pt x="1452" y="1002"/>
                  </a:lnTo>
                  <a:lnTo>
                    <a:pt x="1446" y="996"/>
                  </a:lnTo>
                  <a:lnTo>
                    <a:pt x="1452" y="996"/>
                  </a:lnTo>
                  <a:lnTo>
                    <a:pt x="1458" y="996"/>
                  </a:lnTo>
                  <a:lnTo>
                    <a:pt x="1464" y="996"/>
                  </a:lnTo>
                  <a:lnTo>
                    <a:pt x="1464" y="1002"/>
                  </a:lnTo>
                  <a:lnTo>
                    <a:pt x="1476" y="1014"/>
                  </a:lnTo>
                  <a:lnTo>
                    <a:pt x="1476" y="1008"/>
                  </a:lnTo>
                  <a:lnTo>
                    <a:pt x="1482" y="1008"/>
                  </a:lnTo>
                  <a:lnTo>
                    <a:pt x="1488" y="1020"/>
                  </a:lnTo>
                  <a:lnTo>
                    <a:pt x="1494" y="1020"/>
                  </a:lnTo>
                  <a:lnTo>
                    <a:pt x="1500" y="1014"/>
                  </a:lnTo>
                  <a:lnTo>
                    <a:pt x="1500" y="1020"/>
                  </a:lnTo>
                  <a:lnTo>
                    <a:pt x="1506" y="1026"/>
                  </a:lnTo>
                  <a:lnTo>
                    <a:pt x="1512" y="1032"/>
                  </a:lnTo>
                  <a:lnTo>
                    <a:pt x="1518" y="1032"/>
                  </a:lnTo>
                  <a:lnTo>
                    <a:pt x="1518" y="1038"/>
                  </a:lnTo>
                  <a:lnTo>
                    <a:pt x="1518" y="1044"/>
                  </a:lnTo>
                  <a:lnTo>
                    <a:pt x="1524" y="1044"/>
                  </a:lnTo>
                  <a:lnTo>
                    <a:pt x="1524" y="1050"/>
                  </a:lnTo>
                  <a:lnTo>
                    <a:pt x="1530" y="1056"/>
                  </a:lnTo>
                  <a:lnTo>
                    <a:pt x="1548" y="1062"/>
                  </a:lnTo>
                  <a:lnTo>
                    <a:pt x="1560" y="1074"/>
                  </a:lnTo>
                  <a:lnTo>
                    <a:pt x="1560" y="1080"/>
                  </a:lnTo>
                  <a:lnTo>
                    <a:pt x="1560" y="1086"/>
                  </a:lnTo>
                  <a:lnTo>
                    <a:pt x="1566" y="1086"/>
                  </a:lnTo>
                  <a:lnTo>
                    <a:pt x="1572" y="1098"/>
                  </a:lnTo>
                  <a:lnTo>
                    <a:pt x="1572" y="1104"/>
                  </a:lnTo>
                  <a:lnTo>
                    <a:pt x="1584" y="1110"/>
                  </a:lnTo>
                  <a:lnTo>
                    <a:pt x="1590" y="1116"/>
                  </a:lnTo>
                  <a:lnTo>
                    <a:pt x="1596" y="1116"/>
                  </a:lnTo>
                  <a:lnTo>
                    <a:pt x="1608" y="1122"/>
                  </a:lnTo>
                  <a:lnTo>
                    <a:pt x="1620" y="1140"/>
                  </a:lnTo>
                  <a:lnTo>
                    <a:pt x="1626" y="1158"/>
                  </a:lnTo>
                  <a:lnTo>
                    <a:pt x="1638" y="1200"/>
                  </a:lnTo>
                  <a:lnTo>
                    <a:pt x="1638" y="1218"/>
                  </a:lnTo>
                  <a:lnTo>
                    <a:pt x="1620" y="1230"/>
                  </a:lnTo>
                  <a:lnTo>
                    <a:pt x="1554" y="1230"/>
                  </a:lnTo>
                  <a:lnTo>
                    <a:pt x="1560" y="1248"/>
                  </a:lnTo>
                  <a:lnTo>
                    <a:pt x="1584" y="1260"/>
                  </a:lnTo>
                  <a:lnTo>
                    <a:pt x="1584" y="1266"/>
                  </a:lnTo>
                  <a:lnTo>
                    <a:pt x="1578" y="1272"/>
                  </a:lnTo>
                  <a:lnTo>
                    <a:pt x="1572" y="1272"/>
                  </a:lnTo>
                  <a:lnTo>
                    <a:pt x="1566" y="1278"/>
                  </a:lnTo>
                  <a:lnTo>
                    <a:pt x="1566" y="1284"/>
                  </a:lnTo>
                  <a:lnTo>
                    <a:pt x="1560" y="1290"/>
                  </a:lnTo>
                  <a:lnTo>
                    <a:pt x="1554" y="1290"/>
                  </a:lnTo>
                  <a:lnTo>
                    <a:pt x="1554" y="1296"/>
                  </a:lnTo>
                  <a:lnTo>
                    <a:pt x="1554" y="1302"/>
                  </a:lnTo>
                  <a:lnTo>
                    <a:pt x="1560" y="1332"/>
                  </a:lnTo>
                  <a:lnTo>
                    <a:pt x="1566" y="1356"/>
                  </a:lnTo>
                  <a:lnTo>
                    <a:pt x="1572" y="1356"/>
                  </a:lnTo>
                  <a:lnTo>
                    <a:pt x="1572" y="1362"/>
                  </a:lnTo>
                  <a:lnTo>
                    <a:pt x="1578" y="1362"/>
                  </a:lnTo>
                  <a:lnTo>
                    <a:pt x="1560" y="1374"/>
                  </a:lnTo>
                  <a:lnTo>
                    <a:pt x="1560" y="1380"/>
                  </a:lnTo>
                  <a:lnTo>
                    <a:pt x="1548" y="1380"/>
                  </a:lnTo>
                  <a:lnTo>
                    <a:pt x="1548" y="1386"/>
                  </a:lnTo>
                  <a:lnTo>
                    <a:pt x="1548" y="1392"/>
                  </a:lnTo>
                  <a:lnTo>
                    <a:pt x="1542" y="1410"/>
                  </a:lnTo>
                  <a:lnTo>
                    <a:pt x="1536" y="1422"/>
                  </a:lnTo>
                  <a:lnTo>
                    <a:pt x="1536" y="1428"/>
                  </a:lnTo>
                  <a:lnTo>
                    <a:pt x="1530" y="1440"/>
                  </a:lnTo>
                  <a:lnTo>
                    <a:pt x="1524" y="1434"/>
                  </a:lnTo>
                  <a:lnTo>
                    <a:pt x="1524" y="1428"/>
                  </a:lnTo>
                  <a:lnTo>
                    <a:pt x="1524" y="1422"/>
                  </a:lnTo>
                  <a:lnTo>
                    <a:pt x="1512" y="1410"/>
                  </a:lnTo>
                  <a:lnTo>
                    <a:pt x="1506" y="1404"/>
                  </a:lnTo>
                  <a:lnTo>
                    <a:pt x="1506" y="1398"/>
                  </a:lnTo>
                  <a:lnTo>
                    <a:pt x="1494" y="1392"/>
                  </a:lnTo>
                  <a:lnTo>
                    <a:pt x="1476" y="1404"/>
                  </a:lnTo>
                  <a:lnTo>
                    <a:pt x="1464" y="1416"/>
                  </a:lnTo>
                  <a:lnTo>
                    <a:pt x="1458" y="1428"/>
                  </a:lnTo>
                  <a:lnTo>
                    <a:pt x="1446" y="1434"/>
                  </a:lnTo>
                  <a:lnTo>
                    <a:pt x="1410" y="1440"/>
                  </a:lnTo>
                  <a:lnTo>
                    <a:pt x="1398" y="1440"/>
                  </a:lnTo>
                  <a:lnTo>
                    <a:pt x="1398" y="1446"/>
                  </a:lnTo>
                  <a:lnTo>
                    <a:pt x="1386" y="1446"/>
                  </a:lnTo>
                  <a:lnTo>
                    <a:pt x="1380" y="1440"/>
                  </a:lnTo>
                  <a:lnTo>
                    <a:pt x="1368" y="1440"/>
                  </a:lnTo>
                  <a:lnTo>
                    <a:pt x="1368" y="1446"/>
                  </a:lnTo>
                  <a:lnTo>
                    <a:pt x="1356" y="1446"/>
                  </a:lnTo>
                  <a:lnTo>
                    <a:pt x="1350" y="1452"/>
                  </a:lnTo>
                  <a:lnTo>
                    <a:pt x="1338" y="1452"/>
                  </a:lnTo>
                  <a:lnTo>
                    <a:pt x="1338" y="1458"/>
                  </a:lnTo>
                  <a:lnTo>
                    <a:pt x="1332" y="1458"/>
                  </a:lnTo>
                  <a:lnTo>
                    <a:pt x="1332" y="1464"/>
                  </a:lnTo>
                  <a:lnTo>
                    <a:pt x="1332" y="1470"/>
                  </a:lnTo>
                  <a:lnTo>
                    <a:pt x="1326" y="1470"/>
                  </a:lnTo>
                  <a:lnTo>
                    <a:pt x="1320" y="1470"/>
                  </a:lnTo>
                  <a:lnTo>
                    <a:pt x="1314" y="1470"/>
                  </a:lnTo>
                  <a:lnTo>
                    <a:pt x="1314" y="1464"/>
                  </a:lnTo>
                  <a:lnTo>
                    <a:pt x="1308" y="1464"/>
                  </a:lnTo>
                  <a:lnTo>
                    <a:pt x="1308" y="1452"/>
                  </a:lnTo>
                  <a:lnTo>
                    <a:pt x="1284" y="1458"/>
                  </a:lnTo>
                  <a:lnTo>
                    <a:pt x="1272" y="1458"/>
                  </a:lnTo>
                  <a:lnTo>
                    <a:pt x="1272" y="1464"/>
                  </a:lnTo>
                  <a:lnTo>
                    <a:pt x="1260" y="1464"/>
                  </a:lnTo>
                  <a:lnTo>
                    <a:pt x="1254" y="1464"/>
                  </a:lnTo>
                  <a:lnTo>
                    <a:pt x="1242" y="1422"/>
                  </a:lnTo>
                  <a:lnTo>
                    <a:pt x="1242" y="1416"/>
                  </a:lnTo>
                  <a:lnTo>
                    <a:pt x="1242" y="1410"/>
                  </a:lnTo>
                  <a:lnTo>
                    <a:pt x="1248" y="1410"/>
                  </a:lnTo>
                  <a:lnTo>
                    <a:pt x="1242" y="1410"/>
                  </a:lnTo>
                  <a:lnTo>
                    <a:pt x="1242" y="1404"/>
                  </a:lnTo>
                  <a:lnTo>
                    <a:pt x="1242" y="1398"/>
                  </a:lnTo>
                  <a:lnTo>
                    <a:pt x="1248" y="1392"/>
                  </a:lnTo>
                  <a:lnTo>
                    <a:pt x="1248" y="1386"/>
                  </a:lnTo>
                  <a:lnTo>
                    <a:pt x="1242" y="1380"/>
                  </a:lnTo>
                  <a:lnTo>
                    <a:pt x="1248" y="1380"/>
                  </a:lnTo>
                  <a:lnTo>
                    <a:pt x="1248" y="1374"/>
                  </a:lnTo>
                  <a:lnTo>
                    <a:pt x="1248" y="1368"/>
                  </a:lnTo>
                  <a:lnTo>
                    <a:pt x="1254" y="1368"/>
                  </a:lnTo>
                  <a:lnTo>
                    <a:pt x="1254" y="1362"/>
                  </a:lnTo>
                  <a:lnTo>
                    <a:pt x="1248" y="1356"/>
                  </a:lnTo>
                  <a:lnTo>
                    <a:pt x="1254" y="1356"/>
                  </a:lnTo>
                  <a:lnTo>
                    <a:pt x="1254" y="1344"/>
                  </a:lnTo>
                  <a:lnTo>
                    <a:pt x="1242" y="1338"/>
                  </a:lnTo>
                  <a:lnTo>
                    <a:pt x="1242" y="1326"/>
                  </a:lnTo>
                  <a:lnTo>
                    <a:pt x="1230" y="1326"/>
                  </a:lnTo>
                  <a:lnTo>
                    <a:pt x="1230" y="1314"/>
                  </a:lnTo>
                  <a:lnTo>
                    <a:pt x="1218" y="1314"/>
                  </a:lnTo>
                  <a:lnTo>
                    <a:pt x="1200" y="1272"/>
                  </a:lnTo>
                  <a:lnTo>
                    <a:pt x="1194" y="1242"/>
                  </a:lnTo>
                  <a:lnTo>
                    <a:pt x="1194" y="1206"/>
                  </a:lnTo>
                  <a:lnTo>
                    <a:pt x="1182" y="1200"/>
                  </a:lnTo>
                  <a:lnTo>
                    <a:pt x="1164" y="1206"/>
                  </a:lnTo>
                  <a:lnTo>
                    <a:pt x="1146" y="1212"/>
                  </a:lnTo>
                  <a:lnTo>
                    <a:pt x="1146" y="1218"/>
                  </a:lnTo>
                  <a:lnTo>
                    <a:pt x="1134" y="1224"/>
                  </a:lnTo>
                  <a:lnTo>
                    <a:pt x="1140" y="1260"/>
                  </a:lnTo>
                  <a:lnTo>
                    <a:pt x="1134" y="1266"/>
                  </a:lnTo>
                  <a:lnTo>
                    <a:pt x="1122" y="1266"/>
                  </a:lnTo>
                  <a:lnTo>
                    <a:pt x="1110" y="1236"/>
                  </a:lnTo>
                  <a:lnTo>
                    <a:pt x="1110" y="1224"/>
                  </a:lnTo>
                  <a:lnTo>
                    <a:pt x="1086" y="1224"/>
                  </a:lnTo>
                  <a:lnTo>
                    <a:pt x="1086" y="1212"/>
                  </a:lnTo>
                  <a:lnTo>
                    <a:pt x="1074" y="1212"/>
                  </a:lnTo>
                  <a:lnTo>
                    <a:pt x="1050" y="1212"/>
                  </a:lnTo>
                  <a:lnTo>
                    <a:pt x="1056" y="1218"/>
                  </a:lnTo>
                  <a:lnTo>
                    <a:pt x="1050" y="1272"/>
                  </a:lnTo>
                  <a:lnTo>
                    <a:pt x="1044" y="1272"/>
                  </a:lnTo>
                  <a:lnTo>
                    <a:pt x="1038" y="1284"/>
                  </a:lnTo>
                  <a:lnTo>
                    <a:pt x="1032" y="1302"/>
                  </a:lnTo>
                  <a:lnTo>
                    <a:pt x="1014" y="1302"/>
                  </a:lnTo>
                  <a:lnTo>
                    <a:pt x="1020" y="1284"/>
                  </a:lnTo>
                  <a:lnTo>
                    <a:pt x="1026" y="1278"/>
                  </a:lnTo>
                  <a:lnTo>
                    <a:pt x="1026" y="1266"/>
                  </a:lnTo>
                  <a:lnTo>
                    <a:pt x="1014" y="1260"/>
                  </a:lnTo>
                  <a:lnTo>
                    <a:pt x="1014" y="1272"/>
                  </a:lnTo>
                  <a:lnTo>
                    <a:pt x="990" y="1278"/>
                  </a:lnTo>
                  <a:lnTo>
                    <a:pt x="990" y="1254"/>
                  </a:lnTo>
                  <a:lnTo>
                    <a:pt x="984" y="1254"/>
                  </a:lnTo>
                  <a:lnTo>
                    <a:pt x="978" y="1242"/>
                  </a:lnTo>
                  <a:lnTo>
                    <a:pt x="972" y="1236"/>
                  </a:lnTo>
                  <a:lnTo>
                    <a:pt x="960" y="1206"/>
                  </a:lnTo>
                  <a:lnTo>
                    <a:pt x="942" y="1206"/>
                  </a:lnTo>
                  <a:lnTo>
                    <a:pt x="936" y="1200"/>
                  </a:lnTo>
                  <a:lnTo>
                    <a:pt x="906" y="1212"/>
                  </a:lnTo>
                  <a:lnTo>
                    <a:pt x="888" y="1230"/>
                  </a:lnTo>
                  <a:lnTo>
                    <a:pt x="876" y="1230"/>
                  </a:lnTo>
                  <a:lnTo>
                    <a:pt x="864" y="1236"/>
                  </a:lnTo>
                  <a:lnTo>
                    <a:pt x="858" y="1236"/>
                  </a:lnTo>
                  <a:lnTo>
                    <a:pt x="852" y="1254"/>
                  </a:lnTo>
                  <a:lnTo>
                    <a:pt x="858" y="1254"/>
                  </a:lnTo>
                  <a:lnTo>
                    <a:pt x="840" y="1266"/>
                  </a:lnTo>
                  <a:lnTo>
                    <a:pt x="828" y="1272"/>
                  </a:lnTo>
                  <a:lnTo>
                    <a:pt x="828" y="1284"/>
                  </a:lnTo>
                  <a:lnTo>
                    <a:pt x="822" y="1284"/>
                  </a:lnTo>
                  <a:lnTo>
                    <a:pt x="804" y="1296"/>
                  </a:lnTo>
                  <a:lnTo>
                    <a:pt x="804" y="1308"/>
                  </a:lnTo>
                  <a:lnTo>
                    <a:pt x="816" y="1320"/>
                  </a:lnTo>
                  <a:lnTo>
                    <a:pt x="828" y="1320"/>
                  </a:lnTo>
                  <a:lnTo>
                    <a:pt x="822" y="1338"/>
                  </a:lnTo>
                  <a:lnTo>
                    <a:pt x="852" y="1344"/>
                  </a:lnTo>
                  <a:lnTo>
                    <a:pt x="864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94" y="1356"/>
                  </a:lnTo>
                  <a:lnTo>
                    <a:pt x="912" y="1368"/>
                  </a:lnTo>
                  <a:lnTo>
                    <a:pt x="918" y="1380"/>
                  </a:lnTo>
                  <a:lnTo>
                    <a:pt x="936" y="1380"/>
                  </a:lnTo>
                  <a:lnTo>
                    <a:pt x="960" y="1386"/>
                  </a:lnTo>
                  <a:lnTo>
                    <a:pt x="990" y="1386"/>
                  </a:lnTo>
                  <a:lnTo>
                    <a:pt x="990" y="1392"/>
                  </a:lnTo>
                  <a:lnTo>
                    <a:pt x="1020" y="1398"/>
                  </a:lnTo>
                  <a:lnTo>
                    <a:pt x="1014" y="1404"/>
                  </a:lnTo>
                  <a:lnTo>
                    <a:pt x="1008" y="1404"/>
                  </a:lnTo>
                  <a:lnTo>
                    <a:pt x="1014" y="1440"/>
                  </a:lnTo>
                  <a:lnTo>
                    <a:pt x="1020" y="1458"/>
                  </a:lnTo>
                  <a:lnTo>
                    <a:pt x="1026" y="1476"/>
                  </a:lnTo>
                  <a:lnTo>
                    <a:pt x="1020" y="1476"/>
                  </a:lnTo>
                  <a:lnTo>
                    <a:pt x="1014" y="1476"/>
                  </a:lnTo>
                  <a:lnTo>
                    <a:pt x="1014" y="1482"/>
                  </a:lnTo>
                  <a:lnTo>
                    <a:pt x="1014" y="1488"/>
                  </a:lnTo>
                  <a:lnTo>
                    <a:pt x="1002" y="1488"/>
                  </a:lnTo>
                  <a:lnTo>
                    <a:pt x="1002" y="1494"/>
                  </a:lnTo>
                  <a:lnTo>
                    <a:pt x="996" y="1494"/>
                  </a:lnTo>
                  <a:lnTo>
                    <a:pt x="996" y="1518"/>
                  </a:lnTo>
                  <a:lnTo>
                    <a:pt x="1002" y="1524"/>
                  </a:lnTo>
                  <a:lnTo>
                    <a:pt x="1020" y="1530"/>
                  </a:lnTo>
                  <a:lnTo>
                    <a:pt x="1026" y="1542"/>
                  </a:lnTo>
                  <a:lnTo>
                    <a:pt x="1032" y="1566"/>
                  </a:lnTo>
                  <a:lnTo>
                    <a:pt x="1038" y="1578"/>
                  </a:lnTo>
                  <a:lnTo>
                    <a:pt x="1032" y="1584"/>
                  </a:lnTo>
                  <a:lnTo>
                    <a:pt x="1020" y="1584"/>
                  </a:lnTo>
                  <a:lnTo>
                    <a:pt x="1014" y="1584"/>
                  </a:lnTo>
                  <a:lnTo>
                    <a:pt x="1008" y="1596"/>
                  </a:lnTo>
                  <a:lnTo>
                    <a:pt x="990" y="1584"/>
                  </a:lnTo>
                  <a:lnTo>
                    <a:pt x="984" y="1602"/>
                  </a:lnTo>
                  <a:lnTo>
                    <a:pt x="978" y="1608"/>
                  </a:lnTo>
                  <a:lnTo>
                    <a:pt x="966" y="1608"/>
                  </a:lnTo>
                  <a:lnTo>
                    <a:pt x="960" y="1614"/>
                  </a:lnTo>
                  <a:lnTo>
                    <a:pt x="954" y="1614"/>
                  </a:lnTo>
                  <a:lnTo>
                    <a:pt x="942" y="1620"/>
                  </a:lnTo>
                  <a:lnTo>
                    <a:pt x="936" y="1620"/>
                  </a:lnTo>
                  <a:lnTo>
                    <a:pt x="930" y="1620"/>
                  </a:lnTo>
                  <a:lnTo>
                    <a:pt x="930" y="1626"/>
                  </a:lnTo>
                  <a:lnTo>
                    <a:pt x="930" y="1632"/>
                  </a:lnTo>
                  <a:lnTo>
                    <a:pt x="918" y="1632"/>
                  </a:lnTo>
                  <a:lnTo>
                    <a:pt x="912" y="1632"/>
                  </a:lnTo>
                  <a:lnTo>
                    <a:pt x="906" y="1632"/>
                  </a:lnTo>
                  <a:lnTo>
                    <a:pt x="900" y="1632"/>
                  </a:lnTo>
                  <a:lnTo>
                    <a:pt x="894" y="1626"/>
                  </a:lnTo>
                  <a:lnTo>
                    <a:pt x="894" y="1614"/>
                  </a:lnTo>
                  <a:lnTo>
                    <a:pt x="840" y="1614"/>
                  </a:lnTo>
                  <a:lnTo>
                    <a:pt x="840" y="1626"/>
                  </a:lnTo>
                  <a:lnTo>
                    <a:pt x="834" y="1626"/>
                  </a:lnTo>
                  <a:lnTo>
                    <a:pt x="828" y="1632"/>
                  </a:lnTo>
                  <a:lnTo>
                    <a:pt x="822" y="1638"/>
                  </a:lnTo>
                  <a:lnTo>
                    <a:pt x="822" y="1644"/>
                  </a:lnTo>
                  <a:lnTo>
                    <a:pt x="834" y="1650"/>
                  </a:lnTo>
                  <a:lnTo>
                    <a:pt x="840" y="1662"/>
                  </a:lnTo>
                  <a:lnTo>
                    <a:pt x="840" y="1668"/>
                  </a:lnTo>
                  <a:lnTo>
                    <a:pt x="858" y="1680"/>
                  </a:lnTo>
                  <a:lnTo>
                    <a:pt x="858" y="1752"/>
                  </a:lnTo>
                  <a:lnTo>
                    <a:pt x="864" y="1782"/>
                  </a:lnTo>
                  <a:lnTo>
                    <a:pt x="876" y="1788"/>
                  </a:lnTo>
                  <a:lnTo>
                    <a:pt x="870" y="1854"/>
                  </a:lnTo>
                  <a:lnTo>
                    <a:pt x="870" y="1884"/>
                  </a:lnTo>
                  <a:lnTo>
                    <a:pt x="864" y="1884"/>
                  </a:lnTo>
                  <a:lnTo>
                    <a:pt x="846" y="1896"/>
                  </a:lnTo>
                  <a:lnTo>
                    <a:pt x="840" y="1896"/>
                  </a:lnTo>
                  <a:lnTo>
                    <a:pt x="834" y="1896"/>
                  </a:lnTo>
                  <a:lnTo>
                    <a:pt x="828" y="1890"/>
                  </a:lnTo>
                  <a:lnTo>
                    <a:pt x="822" y="1890"/>
                  </a:lnTo>
                  <a:lnTo>
                    <a:pt x="816" y="1896"/>
                  </a:lnTo>
                  <a:lnTo>
                    <a:pt x="804" y="1896"/>
                  </a:lnTo>
                  <a:lnTo>
                    <a:pt x="804" y="1890"/>
                  </a:lnTo>
                  <a:lnTo>
                    <a:pt x="780" y="1896"/>
                  </a:lnTo>
                  <a:lnTo>
                    <a:pt x="780" y="1902"/>
                  </a:lnTo>
                  <a:lnTo>
                    <a:pt x="774" y="1914"/>
                  </a:lnTo>
                  <a:lnTo>
                    <a:pt x="762" y="1926"/>
                  </a:lnTo>
                  <a:lnTo>
                    <a:pt x="762" y="1950"/>
                  </a:lnTo>
                  <a:lnTo>
                    <a:pt x="762" y="1962"/>
                  </a:lnTo>
                  <a:lnTo>
                    <a:pt x="780" y="1974"/>
                  </a:lnTo>
                  <a:lnTo>
                    <a:pt x="780" y="1986"/>
                  </a:lnTo>
                  <a:lnTo>
                    <a:pt x="780" y="1998"/>
                  </a:lnTo>
                  <a:lnTo>
                    <a:pt x="756" y="1998"/>
                  </a:lnTo>
                  <a:lnTo>
                    <a:pt x="720" y="1992"/>
                  </a:lnTo>
                  <a:lnTo>
                    <a:pt x="666" y="1998"/>
                  </a:lnTo>
                  <a:lnTo>
                    <a:pt x="654" y="1998"/>
                  </a:lnTo>
                  <a:lnTo>
                    <a:pt x="660" y="1974"/>
                  </a:lnTo>
                  <a:lnTo>
                    <a:pt x="666" y="1962"/>
                  </a:lnTo>
                  <a:lnTo>
                    <a:pt x="678" y="1950"/>
                  </a:lnTo>
                  <a:lnTo>
                    <a:pt x="696" y="1932"/>
                  </a:lnTo>
                  <a:lnTo>
                    <a:pt x="696" y="1920"/>
                  </a:lnTo>
                  <a:lnTo>
                    <a:pt x="696" y="1896"/>
                  </a:lnTo>
                  <a:lnTo>
                    <a:pt x="678" y="1896"/>
                  </a:lnTo>
                  <a:lnTo>
                    <a:pt x="672" y="1884"/>
                  </a:lnTo>
                  <a:lnTo>
                    <a:pt x="672" y="1776"/>
                  </a:lnTo>
                  <a:lnTo>
                    <a:pt x="678" y="1758"/>
                  </a:lnTo>
                  <a:lnTo>
                    <a:pt x="678" y="1740"/>
                  </a:lnTo>
                  <a:lnTo>
                    <a:pt x="684" y="1728"/>
                  </a:lnTo>
                  <a:lnTo>
                    <a:pt x="690" y="1722"/>
                  </a:lnTo>
                  <a:lnTo>
                    <a:pt x="702" y="1722"/>
                  </a:lnTo>
                  <a:lnTo>
                    <a:pt x="708" y="1716"/>
                  </a:lnTo>
                  <a:lnTo>
                    <a:pt x="714" y="1710"/>
                  </a:lnTo>
                  <a:lnTo>
                    <a:pt x="720" y="1698"/>
                  </a:lnTo>
                  <a:lnTo>
                    <a:pt x="732" y="1692"/>
                  </a:lnTo>
                  <a:lnTo>
                    <a:pt x="744" y="1686"/>
                  </a:lnTo>
                  <a:lnTo>
                    <a:pt x="756" y="1680"/>
                  </a:lnTo>
                  <a:lnTo>
                    <a:pt x="768" y="1668"/>
                  </a:lnTo>
                  <a:lnTo>
                    <a:pt x="768" y="1650"/>
                  </a:lnTo>
                  <a:lnTo>
                    <a:pt x="774" y="1632"/>
                  </a:lnTo>
                  <a:lnTo>
                    <a:pt x="768" y="1620"/>
                  </a:lnTo>
                  <a:lnTo>
                    <a:pt x="774" y="1608"/>
                  </a:lnTo>
                  <a:lnTo>
                    <a:pt x="774" y="1578"/>
                  </a:lnTo>
                  <a:lnTo>
                    <a:pt x="774" y="1572"/>
                  </a:lnTo>
                  <a:lnTo>
                    <a:pt x="780" y="1560"/>
                  </a:lnTo>
                  <a:lnTo>
                    <a:pt x="780" y="1554"/>
                  </a:lnTo>
                  <a:lnTo>
                    <a:pt x="786" y="1542"/>
                  </a:lnTo>
                  <a:lnTo>
                    <a:pt x="792" y="1530"/>
                  </a:lnTo>
                  <a:lnTo>
                    <a:pt x="792" y="1518"/>
                  </a:lnTo>
                  <a:lnTo>
                    <a:pt x="792" y="1506"/>
                  </a:lnTo>
                  <a:lnTo>
                    <a:pt x="786" y="1500"/>
                  </a:lnTo>
                  <a:lnTo>
                    <a:pt x="774" y="1488"/>
                  </a:lnTo>
                  <a:lnTo>
                    <a:pt x="774" y="1482"/>
                  </a:lnTo>
                  <a:lnTo>
                    <a:pt x="762" y="1488"/>
                  </a:lnTo>
                  <a:lnTo>
                    <a:pt x="756" y="1494"/>
                  </a:lnTo>
                  <a:lnTo>
                    <a:pt x="744" y="1500"/>
                  </a:lnTo>
                  <a:lnTo>
                    <a:pt x="732" y="1506"/>
                  </a:lnTo>
                  <a:lnTo>
                    <a:pt x="726" y="1506"/>
                  </a:lnTo>
                  <a:lnTo>
                    <a:pt x="720" y="1506"/>
                  </a:lnTo>
                  <a:lnTo>
                    <a:pt x="702" y="1506"/>
                  </a:lnTo>
                  <a:lnTo>
                    <a:pt x="690" y="1500"/>
                  </a:lnTo>
                  <a:lnTo>
                    <a:pt x="678" y="1500"/>
                  </a:lnTo>
                  <a:lnTo>
                    <a:pt x="672" y="1500"/>
                  </a:lnTo>
                  <a:lnTo>
                    <a:pt x="660" y="1506"/>
                  </a:lnTo>
                  <a:lnTo>
                    <a:pt x="654" y="1506"/>
                  </a:lnTo>
                  <a:lnTo>
                    <a:pt x="648" y="1512"/>
                  </a:lnTo>
                  <a:lnTo>
                    <a:pt x="648" y="1518"/>
                  </a:lnTo>
                  <a:lnTo>
                    <a:pt x="618" y="1518"/>
                  </a:lnTo>
                  <a:lnTo>
                    <a:pt x="534" y="1494"/>
                  </a:lnTo>
                  <a:lnTo>
                    <a:pt x="528" y="1458"/>
                  </a:lnTo>
                  <a:lnTo>
                    <a:pt x="510" y="1458"/>
                  </a:lnTo>
                  <a:lnTo>
                    <a:pt x="492" y="1440"/>
                  </a:lnTo>
                  <a:lnTo>
                    <a:pt x="462" y="1440"/>
                  </a:lnTo>
                  <a:lnTo>
                    <a:pt x="456" y="1428"/>
                  </a:lnTo>
                  <a:lnTo>
                    <a:pt x="420" y="1428"/>
                  </a:lnTo>
                  <a:lnTo>
                    <a:pt x="390" y="1446"/>
                  </a:lnTo>
                  <a:lnTo>
                    <a:pt x="312" y="1452"/>
                  </a:lnTo>
                  <a:lnTo>
                    <a:pt x="300" y="1446"/>
                  </a:lnTo>
                  <a:lnTo>
                    <a:pt x="294" y="1446"/>
                  </a:lnTo>
                  <a:lnTo>
                    <a:pt x="288" y="1446"/>
                  </a:lnTo>
                  <a:lnTo>
                    <a:pt x="282" y="1440"/>
                  </a:lnTo>
                  <a:lnTo>
                    <a:pt x="276" y="1440"/>
                  </a:lnTo>
                  <a:lnTo>
                    <a:pt x="270" y="1440"/>
                  </a:lnTo>
                  <a:lnTo>
                    <a:pt x="264" y="1440"/>
                  </a:lnTo>
                  <a:lnTo>
                    <a:pt x="258" y="1434"/>
                  </a:lnTo>
                  <a:lnTo>
                    <a:pt x="252" y="1434"/>
                  </a:lnTo>
                  <a:lnTo>
                    <a:pt x="246" y="1428"/>
                  </a:lnTo>
                  <a:lnTo>
                    <a:pt x="240" y="1416"/>
                  </a:lnTo>
                  <a:lnTo>
                    <a:pt x="234" y="1404"/>
                  </a:lnTo>
                  <a:lnTo>
                    <a:pt x="228" y="1398"/>
                  </a:lnTo>
                  <a:lnTo>
                    <a:pt x="222" y="1398"/>
                  </a:lnTo>
                  <a:lnTo>
                    <a:pt x="216" y="1404"/>
                  </a:lnTo>
                  <a:lnTo>
                    <a:pt x="210" y="1404"/>
                  </a:lnTo>
                  <a:lnTo>
                    <a:pt x="204" y="1404"/>
                  </a:lnTo>
                  <a:lnTo>
                    <a:pt x="204" y="1398"/>
                  </a:lnTo>
                  <a:lnTo>
                    <a:pt x="198" y="1392"/>
                  </a:lnTo>
                  <a:lnTo>
                    <a:pt x="192" y="1386"/>
                  </a:lnTo>
                  <a:lnTo>
                    <a:pt x="168" y="1374"/>
                  </a:lnTo>
                  <a:lnTo>
                    <a:pt x="144" y="13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0" name="Freeform 35">
              <a:extLst>
                <a:ext uri="{FF2B5EF4-FFF2-40B4-BE49-F238E27FC236}">
                  <a16:creationId xmlns:a16="http://schemas.microsoft.com/office/drawing/2014/main" id="{F64BF16E-9D62-438E-A1CC-CD4088AC7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2895" y="1706004"/>
              <a:ext cx="767013" cy="785011"/>
            </a:xfrm>
            <a:custGeom>
              <a:avLst/>
              <a:gdLst>
                <a:gd name="T0" fmla="*/ 102 w 1440"/>
                <a:gd name="T1" fmla="*/ 104 h 1476"/>
                <a:gd name="T2" fmla="*/ 99 w 1440"/>
                <a:gd name="T3" fmla="*/ 108 h 1476"/>
                <a:gd name="T4" fmla="*/ 98 w 1440"/>
                <a:gd name="T5" fmla="*/ 112 h 1476"/>
                <a:gd name="T6" fmla="*/ 96 w 1440"/>
                <a:gd name="T7" fmla="*/ 116 h 1476"/>
                <a:gd name="T8" fmla="*/ 91 w 1440"/>
                <a:gd name="T9" fmla="*/ 118 h 1476"/>
                <a:gd name="T10" fmla="*/ 87 w 1440"/>
                <a:gd name="T11" fmla="*/ 120 h 1476"/>
                <a:gd name="T12" fmla="*/ 75 w 1440"/>
                <a:gd name="T13" fmla="*/ 120 h 1476"/>
                <a:gd name="T14" fmla="*/ 72 w 1440"/>
                <a:gd name="T15" fmla="*/ 123 h 1476"/>
                <a:gd name="T16" fmla="*/ 69 w 1440"/>
                <a:gd name="T17" fmla="*/ 128 h 1476"/>
                <a:gd name="T18" fmla="*/ 67 w 1440"/>
                <a:gd name="T19" fmla="*/ 127 h 1476"/>
                <a:gd name="T20" fmla="*/ 66 w 1440"/>
                <a:gd name="T21" fmla="*/ 123 h 1476"/>
                <a:gd name="T22" fmla="*/ 63 w 1440"/>
                <a:gd name="T23" fmla="*/ 119 h 1476"/>
                <a:gd name="T24" fmla="*/ 54 w 1440"/>
                <a:gd name="T25" fmla="*/ 114 h 1476"/>
                <a:gd name="T26" fmla="*/ 55 w 1440"/>
                <a:gd name="T27" fmla="*/ 106 h 1476"/>
                <a:gd name="T28" fmla="*/ 60 w 1440"/>
                <a:gd name="T29" fmla="*/ 100 h 1476"/>
                <a:gd name="T30" fmla="*/ 55 w 1440"/>
                <a:gd name="T31" fmla="*/ 91 h 1476"/>
                <a:gd name="T32" fmla="*/ 51 w 1440"/>
                <a:gd name="T33" fmla="*/ 86 h 1476"/>
                <a:gd name="T34" fmla="*/ 47 w 1440"/>
                <a:gd name="T35" fmla="*/ 85 h 1476"/>
                <a:gd name="T36" fmla="*/ 44 w 1440"/>
                <a:gd name="T37" fmla="*/ 82 h 1476"/>
                <a:gd name="T38" fmla="*/ 41 w 1440"/>
                <a:gd name="T39" fmla="*/ 83 h 1476"/>
                <a:gd name="T40" fmla="*/ 36 w 1440"/>
                <a:gd name="T41" fmla="*/ 83 h 1476"/>
                <a:gd name="T42" fmla="*/ 33 w 1440"/>
                <a:gd name="T43" fmla="*/ 83 h 1476"/>
                <a:gd name="T44" fmla="*/ 30 w 1440"/>
                <a:gd name="T45" fmla="*/ 83 h 1476"/>
                <a:gd name="T46" fmla="*/ 27 w 1440"/>
                <a:gd name="T47" fmla="*/ 83 h 1476"/>
                <a:gd name="T48" fmla="*/ 24 w 1440"/>
                <a:gd name="T49" fmla="*/ 82 h 1476"/>
                <a:gd name="T50" fmla="*/ 21 w 1440"/>
                <a:gd name="T51" fmla="*/ 80 h 1476"/>
                <a:gd name="T52" fmla="*/ 18 w 1440"/>
                <a:gd name="T53" fmla="*/ 79 h 1476"/>
                <a:gd name="T54" fmla="*/ 17 w 1440"/>
                <a:gd name="T55" fmla="*/ 78 h 1476"/>
                <a:gd name="T56" fmla="*/ 12 w 1440"/>
                <a:gd name="T57" fmla="*/ 78 h 1476"/>
                <a:gd name="T58" fmla="*/ 12 w 1440"/>
                <a:gd name="T59" fmla="*/ 78 h 1476"/>
                <a:gd name="T60" fmla="*/ 7 w 1440"/>
                <a:gd name="T61" fmla="*/ 80 h 1476"/>
                <a:gd name="T62" fmla="*/ 3 w 1440"/>
                <a:gd name="T63" fmla="*/ 81 h 1476"/>
                <a:gd name="T64" fmla="*/ 0 w 1440"/>
                <a:gd name="T65" fmla="*/ 76 h 1476"/>
                <a:gd name="T66" fmla="*/ 1 w 1440"/>
                <a:gd name="T67" fmla="*/ 50 h 1476"/>
                <a:gd name="T68" fmla="*/ 8 w 1440"/>
                <a:gd name="T69" fmla="*/ 48 h 1476"/>
                <a:gd name="T70" fmla="*/ 20 w 1440"/>
                <a:gd name="T71" fmla="*/ 49 h 1476"/>
                <a:gd name="T72" fmla="*/ 26 w 1440"/>
                <a:gd name="T73" fmla="*/ 50 h 1476"/>
                <a:gd name="T74" fmla="*/ 44 w 1440"/>
                <a:gd name="T75" fmla="*/ 47 h 1476"/>
                <a:gd name="T76" fmla="*/ 41 w 1440"/>
                <a:gd name="T77" fmla="*/ 24 h 1476"/>
                <a:gd name="T78" fmla="*/ 44 w 1440"/>
                <a:gd name="T79" fmla="*/ 20 h 1476"/>
                <a:gd name="T80" fmla="*/ 47 w 1440"/>
                <a:gd name="T81" fmla="*/ 18 h 1476"/>
                <a:gd name="T82" fmla="*/ 54 w 1440"/>
                <a:gd name="T83" fmla="*/ 21 h 1476"/>
                <a:gd name="T84" fmla="*/ 61 w 1440"/>
                <a:gd name="T85" fmla="*/ 23 h 1476"/>
                <a:gd name="T86" fmla="*/ 59 w 1440"/>
                <a:gd name="T87" fmla="*/ 14 h 1476"/>
                <a:gd name="T88" fmla="*/ 61 w 1440"/>
                <a:gd name="T89" fmla="*/ 8 h 1476"/>
                <a:gd name="T90" fmla="*/ 71 w 1440"/>
                <a:gd name="T91" fmla="*/ 7 h 1476"/>
                <a:gd name="T92" fmla="*/ 75 w 1440"/>
                <a:gd name="T93" fmla="*/ 0 h 1476"/>
                <a:gd name="T94" fmla="*/ 82 w 1440"/>
                <a:gd name="T95" fmla="*/ 3 h 1476"/>
                <a:gd name="T96" fmla="*/ 93 w 1440"/>
                <a:gd name="T97" fmla="*/ 5 h 1476"/>
                <a:gd name="T98" fmla="*/ 100 w 1440"/>
                <a:gd name="T99" fmla="*/ 1 h 1476"/>
                <a:gd name="T100" fmla="*/ 104 w 1440"/>
                <a:gd name="T101" fmla="*/ 4 h 1476"/>
                <a:gd name="T102" fmla="*/ 110 w 1440"/>
                <a:gd name="T103" fmla="*/ 10 h 1476"/>
                <a:gd name="T104" fmla="*/ 115 w 1440"/>
                <a:gd name="T105" fmla="*/ 23 h 1476"/>
                <a:gd name="T106" fmla="*/ 117 w 1440"/>
                <a:gd name="T107" fmla="*/ 42 h 1476"/>
                <a:gd name="T108" fmla="*/ 121 w 1440"/>
                <a:gd name="T109" fmla="*/ 52 h 1476"/>
                <a:gd name="T110" fmla="*/ 118 w 1440"/>
                <a:gd name="T111" fmla="*/ 62 h 1476"/>
                <a:gd name="T112" fmla="*/ 124 w 1440"/>
                <a:gd name="T113" fmla="*/ 66 h 1476"/>
                <a:gd name="T114" fmla="*/ 121 w 1440"/>
                <a:gd name="T115" fmla="*/ 71 h 1476"/>
                <a:gd name="T116" fmla="*/ 115 w 1440"/>
                <a:gd name="T117" fmla="*/ 76 h 1476"/>
                <a:gd name="T118" fmla="*/ 109 w 1440"/>
                <a:gd name="T119" fmla="*/ 76 h 1476"/>
                <a:gd name="T120" fmla="*/ 105 w 1440"/>
                <a:gd name="T121" fmla="*/ 86 h 1476"/>
                <a:gd name="T122" fmla="*/ 107 w 1440"/>
                <a:gd name="T123" fmla="*/ 97 h 147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40"/>
                <a:gd name="T187" fmla="*/ 0 h 1476"/>
                <a:gd name="T188" fmla="*/ 1440 w 1440"/>
                <a:gd name="T189" fmla="*/ 1476 h 147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40" h="1476">
                  <a:moveTo>
                    <a:pt x="1212" y="1164"/>
                  </a:moveTo>
                  <a:lnTo>
                    <a:pt x="1206" y="1170"/>
                  </a:lnTo>
                  <a:lnTo>
                    <a:pt x="1200" y="1176"/>
                  </a:lnTo>
                  <a:lnTo>
                    <a:pt x="1194" y="1176"/>
                  </a:lnTo>
                  <a:lnTo>
                    <a:pt x="1188" y="1188"/>
                  </a:lnTo>
                  <a:lnTo>
                    <a:pt x="1182" y="1194"/>
                  </a:lnTo>
                  <a:lnTo>
                    <a:pt x="1176" y="1194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64" y="1206"/>
                  </a:lnTo>
                  <a:lnTo>
                    <a:pt x="1158" y="1206"/>
                  </a:lnTo>
                  <a:lnTo>
                    <a:pt x="1152" y="1212"/>
                  </a:lnTo>
                  <a:lnTo>
                    <a:pt x="1146" y="1212"/>
                  </a:lnTo>
                  <a:lnTo>
                    <a:pt x="1140" y="1224"/>
                  </a:lnTo>
                  <a:lnTo>
                    <a:pt x="1134" y="1230"/>
                  </a:lnTo>
                  <a:lnTo>
                    <a:pt x="1128" y="1236"/>
                  </a:lnTo>
                  <a:lnTo>
                    <a:pt x="1128" y="1242"/>
                  </a:lnTo>
                  <a:lnTo>
                    <a:pt x="1128" y="1254"/>
                  </a:lnTo>
                  <a:lnTo>
                    <a:pt x="1128" y="1260"/>
                  </a:lnTo>
                  <a:lnTo>
                    <a:pt x="1122" y="1260"/>
                  </a:lnTo>
                  <a:lnTo>
                    <a:pt x="1122" y="1266"/>
                  </a:lnTo>
                  <a:lnTo>
                    <a:pt x="1128" y="1278"/>
                  </a:lnTo>
                  <a:lnTo>
                    <a:pt x="1122" y="1278"/>
                  </a:lnTo>
                  <a:lnTo>
                    <a:pt x="1122" y="1284"/>
                  </a:lnTo>
                  <a:lnTo>
                    <a:pt x="1128" y="1290"/>
                  </a:lnTo>
                  <a:lnTo>
                    <a:pt x="1122" y="1296"/>
                  </a:lnTo>
                  <a:lnTo>
                    <a:pt x="1122" y="1302"/>
                  </a:lnTo>
                  <a:lnTo>
                    <a:pt x="1116" y="1302"/>
                  </a:lnTo>
                  <a:lnTo>
                    <a:pt x="1110" y="1314"/>
                  </a:lnTo>
                  <a:lnTo>
                    <a:pt x="1110" y="1320"/>
                  </a:lnTo>
                  <a:lnTo>
                    <a:pt x="1110" y="1326"/>
                  </a:lnTo>
                  <a:lnTo>
                    <a:pt x="1098" y="1332"/>
                  </a:lnTo>
                  <a:lnTo>
                    <a:pt x="1092" y="1338"/>
                  </a:lnTo>
                  <a:lnTo>
                    <a:pt x="1092" y="1344"/>
                  </a:lnTo>
                  <a:lnTo>
                    <a:pt x="1086" y="1350"/>
                  </a:lnTo>
                  <a:lnTo>
                    <a:pt x="1080" y="1350"/>
                  </a:lnTo>
                  <a:lnTo>
                    <a:pt x="1074" y="1350"/>
                  </a:lnTo>
                  <a:lnTo>
                    <a:pt x="1068" y="1356"/>
                  </a:lnTo>
                  <a:lnTo>
                    <a:pt x="1062" y="1356"/>
                  </a:lnTo>
                  <a:lnTo>
                    <a:pt x="1044" y="1356"/>
                  </a:lnTo>
                  <a:lnTo>
                    <a:pt x="1038" y="1362"/>
                  </a:lnTo>
                  <a:lnTo>
                    <a:pt x="1032" y="1368"/>
                  </a:lnTo>
                  <a:lnTo>
                    <a:pt x="1026" y="1368"/>
                  </a:lnTo>
                  <a:lnTo>
                    <a:pt x="1020" y="1374"/>
                  </a:lnTo>
                  <a:lnTo>
                    <a:pt x="1008" y="1374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74"/>
                  </a:lnTo>
                  <a:lnTo>
                    <a:pt x="978" y="1380"/>
                  </a:lnTo>
                  <a:lnTo>
                    <a:pt x="972" y="1380"/>
                  </a:lnTo>
                  <a:lnTo>
                    <a:pt x="954" y="1368"/>
                  </a:lnTo>
                  <a:lnTo>
                    <a:pt x="930" y="1368"/>
                  </a:lnTo>
                  <a:lnTo>
                    <a:pt x="918" y="1368"/>
                  </a:lnTo>
                  <a:lnTo>
                    <a:pt x="906" y="1368"/>
                  </a:lnTo>
                  <a:lnTo>
                    <a:pt x="894" y="1368"/>
                  </a:lnTo>
                  <a:lnTo>
                    <a:pt x="864" y="1374"/>
                  </a:lnTo>
                  <a:lnTo>
                    <a:pt x="852" y="1374"/>
                  </a:lnTo>
                  <a:lnTo>
                    <a:pt x="846" y="1386"/>
                  </a:lnTo>
                  <a:lnTo>
                    <a:pt x="846" y="1392"/>
                  </a:lnTo>
                  <a:lnTo>
                    <a:pt x="840" y="1398"/>
                  </a:lnTo>
                  <a:lnTo>
                    <a:pt x="840" y="1404"/>
                  </a:lnTo>
                  <a:lnTo>
                    <a:pt x="834" y="1416"/>
                  </a:lnTo>
                  <a:lnTo>
                    <a:pt x="828" y="1416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04" y="1428"/>
                  </a:lnTo>
                  <a:lnTo>
                    <a:pt x="804" y="1434"/>
                  </a:lnTo>
                  <a:lnTo>
                    <a:pt x="804" y="1440"/>
                  </a:lnTo>
                  <a:lnTo>
                    <a:pt x="798" y="1446"/>
                  </a:lnTo>
                  <a:lnTo>
                    <a:pt x="798" y="1458"/>
                  </a:lnTo>
                  <a:lnTo>
                    <a:pt x="792" y="1464"/>
                  </a:lnTo>
                  <a:lnTo>
                    <a:pt x="786" y="1476"/>
                  </a:lnTo>
                  <a:lnTo>
                    <a:pt x="780" y="1470"/>
                  </a:lnTo>
                  <a:lnTo>
                    <a:pt x="774" y="1470"/>
                  </a:lnTo>
                  <a:lnTo>
                    <a:pt x="768" y="1470"/>
                  </a:lnTo>
                  <a:lnTo>
                    <a:pt x="762" y="1476"/>
                  </a:lnTo>
                  <a:lnTo>
                    <a:pt x="762" y="1470"/>
                  </a:lnTo>
                  <a:lnTo>
                    <a:pt x="762" y="1464"/>
                  </a:lnTo>
                  <a:lnTo>
                    <a:pt x="762" y="1458"/>
                  </a:lnTo>
                  <a:lnTo>
                    <a:pt x="756" y="1458"/>
                  </a:lnTo>
                  <a:lnTo>
                    <a:pt x="756" y="1452"/>
                  </a:lnTo>
                  <a:lnTo>
                    <a:pt x="756" y="1446"/>
                  </a:lnTo>
                  <a:lnTo>
                    <a:pt x="756" y="1440"/>
                  </a:lnTo>
                  <a:lnTo>
                    <a:pt x="750" y="1434"/>
                  </a:lnTo>
                  <a:lnTo>
                    <a:pt x="750" y="1428"/>
                  </a:lnTo>
                  <a:lnTo>
                    <a:pt x="750" y="1422"/>
                  </a:lnTo>
                  <a:lnTo>
                    <a:pt x="750" y="1416"/>
                  </a:lnTo>
                  <a:lnTo>
                    <a:pt x="744" y="1416"/>
                  </a:lnTo>
                  <a:lnTo>
                    <a:pt x="744" y="1410"/>
                  </a:lnTo>
                  <a:lnTo>
                    <a:pt x="738" y="1404"/>
                  </a:lnTo>
                  <a:lnTo>
                    <a:pt x="732" y="1398"/>
                  </a:lnTo>
                  <a:lnTo>
                    <a:pt x="732" y="1392"/>
                  </a:lnTo>
                  <a:lnTo>
                    <a:pt x="726" y="1386"/>
                  </a:lnTo>
                  <a:lnTo>
                    <a:pt x="726" y="1380"/>
                  </a:lnTo>
                  <a:lnTo>
                    <a:pt x="714" y="1368"/>
                  </a:lnTo>
                  <a:lnTo>
                    <a:pt x="708" y="1368"/>
                  </a:lnTo>
                  <a:lnTo>
                    <a:pt x="684" y="1332"/>
                  </a:lnTo>
                  <a:lnTo>
                    <a:pt x="666" y="1320"/>
                  </a:lnTo>
                  <a:lnTo>
                    <a:pt x="648" y="1302"/>
                  </a:lnTo>
                  <a:lnTo>
                    <a:pt x="630" y="1314"/>
                  </a:lnTo>
                  <a:lnTo>
                    <a:pt x="624" y="1314"/>
                  </a:lnTo>
                  <a:lnTo>
                    <a:pt x="624" y="1308"/>
                  </a:lnTo>
                  <a:lnTo>
                    <a:pt x="618" y="1308"/>
                  </a:lnTo>
                  <a:lnTo>
                    <a:pt x="612" y="1284"/>
                  </a:lnTo>
                  <a:lnTo>
                    <a:pt x="606" y="1254"/>
                  </a:lnTo>
                  <a:lnTo>
                    <a:pt x="606" y="1248"/>
                  </a:lnTo>
                  <a:lnTo>
                    <a:pt x="606" y="1242"/>
                  </a:lnTo>
                  <a:lnTo>
                    <a:pt x="612" y="1242"/>
                  </a:lnTo>
                  <a:lnTo>
                    <a:pt x="618" y="1236"/>
                  </a:lnTo>
                  <a:lnTo>
                    <a:pt x="618" y="1230"/>
                  </a:lnTo>
                  <a:lnTo>
                    <a:pt x="624" y="1224"/>
                  </a:lnTo>
                  <a:lnTo>
                    <a:pt x="630" y="1224"/>
                  </a:lnTo>
                  <a:lnTo>
                    <a:pt x="636" y="1218"/>
                  </a:lnTo>
                  <a:lnTo>
                    <a:pt x="636" y="1212"/>
                  </a:lnTo>
                  <a:lnTo>
                    <a:pt x="612" y="1200"/>
                  </a:lnTo>
                  <a:lnTo>
                    <a:pt x="606" y="1182"/>
                  </a:lnTo>
                  <a:lnTo>
                    <a:pt x="672" y="1182"/>
                  </a:lnTo>
                  <a:lnTo>
                    <a:pt x="690" y="1170"/>
                  </a:lnTo>
                  <a:lnTo>
                    <a:pt x="690" y="1152"/>
                  </a:lnTo>
                  <a:lnTo>
                    <a:pt x="678" y="1110"/>
                  </a:lnTo>
                  <a:lnTo>
                    <a:pt x="672" y="1092"/>
                  </a:lnTo>
                  <a:lnTo>
                    <a:pt x="660" y="1074"/>
                  </a:lnTo>
                  <a:lnTo>
                    <a:pt x="648" y="1068"/>
                  </a:lnTo>
                  <a:lnTo>
                    <a:pt x="642" y="1068"/>
                  </a:lnTo>
                  <a:lnTo>
                    <a:pt x="636" y="1062"/>
                  </a:lnTo>
                  <a:lnTo>
                    <a:pt x="624" y="1056"/>
                  </a:lnTo>
                  <a:lnTo>
                    <a:pt x="624" y="1050"/>
                  </a:lnTo>
                  <a:lnTo>
                    <a:pt x="618" y="1038"/>
                  </a:lnTo>
                  <a:lnTo>
                    <a:pt x="612" y="1038"/>
                  </a:lnTo>
                  <a:lnTo>
                    <a:pt x="612" y="1032"/>
                  </a:lnTo>
                  <a:lnTo>
                    <a:pt x="612" y="1026"/>
                  </a:lnTo>
                  <a:lnTo>
                    <a:pt x="600" y="1014"/>
                  </a:lnTo>
                  <a:lnTo>
                    <a:pt x="582" y="1008"/>
                  </a:lnTo>
                  <a:lnTo>
                    <a:pt x="576" y="1002"/>
                  </a:lnTo>
                  <a:lnTo>
                    <a:pt x="576" y="996"/>
                  </a:lnTo>
                  <a:lnTo>
                    <a:pt x="570" y="996"/>
                  </a:lnTo>
                  <a:lnTo>
                    <a:pt x="570" y="990"/>
                  </a:lnTo>
                  <a:lnTo>
                    <a:pt x="570" y="984"/>
                  </a:lnTo>
                  <a:lnTo>
                    <a:pt x="564" y="984"/>
                  </a:lnTo>
                  <a:lnTo>
                    <a:pt x="558" y="978"/>
                  </a:lnTo>
                  <a:lnTo>
                    <a:pt x="552" y="972"/>
                  </a:lnTo>
                  <a:lnTo>
                    <a:pt x="552" y="966"/>
                  </a:lnTo>
                  <a:lnTo>
                    <a:pt x="546" y="972"/>
                  </a:lnTo>
                  <a:lnTo>
                    <a:pt x="540" y="972"/>
                  </a:lnTo>
                  <a:lnTo>
                    <a:pt x="534" y="960"/>
                  </a:lnTo>
                  <a:lnTo>
                    <a:pt x="528" y="960"/>
                  </a:lnTo>
                  <a:lnTo>
                    <a:pt x="528" y="966"/>
                  </a:lnTo>
                  <a:lnTo>
                    <a:pt x="516" y="954"/>
                  </a:lnTo>
                  <a:lnTo>
                    <a:pt x="516" y="948"/>
                  </a:lnTo>
                  <a:lnTo>
                    <a:pt x="510" y="948"/>
                  </a:lnTo>
                  <a:lnTo>
                    <a:pt x="504" y="948"/>
                  </a:lnTo>
                  <a:lnTo>
                    <a:pt x="498" y="948"/>
                  </a:lnTo>
                  <a:lnTo>
                    <a:pt x="504" y="954"/>
                  </a:lnTo>
                  <a:lnTo>
                    <a:pt x="498" y="954"/>
                  </a:lnTo>
                  <a:lnTo>
                    <a:pt x="492" y="954"/>
                  </a:lnTo>
                  <a:lnTo>
                    <a:pt x="480" y="942"/>
                  </a:lnTo>
                  <a:lnTo>
                    <a:pt x="480" y="948"/>
                  </a:lnTo>
                  <a:lnTo>
                    <a:pt x="480" y="954"/>
                  </a:lnTo>
                  <a:lnTo>
                    <a:pt x="474" y="954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56" y="966"/>
                  </a:lnTo>
                  <a:lnTo>
                    <a:pt x="456" y="960"/>
                  </a:lnTo>
                  <a:lnTo>
                    <a:pt x="450" y="966"/>
                  </a:lnTo>
                  <a:lnTo>
                    <a:pt x="444" y="966"/>
                  </a:lnTo>
                  <a:lnTo>
                    <a:pt x="414" y="966"/>
                  </a:lnTo>
                  <a:lnTo>
                    <a:pt x="408" y="960"/>
                  </a:lnTo>
                  <a:lnTo>
                    <a:pt x="408" y="966"/>
                  </a:lnTo>
                  <a:lnTo>
                    <a:pt x="402" y="960"/>
                  </a:lnTo>
                  <a:lnTo>
                    <a:pt x="396" y="960"/>
                  </a:lnTo>
                  <a:lnTo>
                    <a:pt x="390" y="960"/>
                  </a:lnTo>
                  <a:lnTo>
                    <a:pt x="390" y="966"/>
                  </a:lnTo>
                  <a:lnTo>
                    <a:pt x="384" y="966"/>
                  </a:lnTo>
                  <a:lnTo>
                    <a:pt x="378" y="966"/>
                  </a:lnTo>
                  <a:lnTo>
                    <a:pt x="384" y="960"/>
                  </a:lnTo>
                  <a:lnTo>
                    <a:pt x="384" y="954"/>
                  </a:lnTo>
                  <a:lnTo>
                    <a:pt x="372" y="948"/>
                  </a:lnTo>
                  <a:lnTo>
                    <a:pt x="372" y="954"/>
                  </a:lnTo>
                  <a:lnTo>
                    <a:pt x="372" y="960"/>
                  </a:lnTo>
                  <a:lnTo>
                    <a:pt x="366" y="960"/>
                  </a:lnTo>
                  <a:lnTo>
                    <a:pt x="360" y="966"/>
                  </a:lnTo>
                  <a:lnTo>
                    <a:pt x="354" y="966"/>
                  </a:lnTo>
                  <a:lnTo>
                    <a:pt x="348" y="960"/>
                  </a:lnTo>
                  <a:lnTo>
                    <a:pt x="342" y="960"/>
                  </a:lnTo>
                  <a:lnTo>
                    <a:pt x="342" y="966"/>
                  </a:lnTo>
                  <a:lnTo>
                    <a:pt x="336" y="972"/>
                  </a:lnTo>
                  <a:lnTo>
                    <a:pt x="330" y="972"/>
                  </a:lnTo>
                  <a:lnTo>
                    <a:pt x="324" y="966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6" y="954"/>
                  </a:lnTo>
                  <a:lnTo>
                    <a:pt x="306" y="948"/>
                  </a:lnTo>
                  <a:lnTo>
                    <a:pt x="306" y="942"/>
                  </a:lnTo>
                  <a:lnTo>
                    <a:pt x="300" y="942"/>
                  </a:lnTo>
                  <a:lnTo>
                    <a:pt x="294" y="936"/>
                  </a:lnTo>
                  <a:lnTo>
                    <a:pt x="288" y="936"/>
                  </a:lnTo>
                  <a:lnTo>
                    <a:pt x="282" y="942"/>
                  </a:lnTo>
                  <a:lnTo>
                    <a:pt x="276" y="936"/>
                  </a:lnTo>
                  <a:lnTo>
                    <a:pt x="276" y="942"/>
                  </a:lnTo>
                  <a:lnTo>
                    <a:pt x="270" y="942"/>
                  </a:lnTo>
                  <a:lnTo>
                    <a:pt x="264" y="936"/>
                  </a:lnTo>
                  <a:lnTo>
                    <a:pt x="252" y="936"/>
                  </a:lnTo>
                  <a:lnTo>
                    <a:pt x="246" y="936"/>
                  </a:lnTo>
                  <a:lnTo>
                    <a:pt x="240" y="936"/>
                  </a:lnTo>
                  <a:lnTo>
                    <a:pt x="234" y="936"/>
                  </a:lnTo>
                  <a:lnTo>
                    <a:pt x="240" y="924"/>
                  </a:lnTo>
                  <a:lnTo>
                    <a:pt x="234" y="924"/>
                  </a:lnTo>
                  <a:lnTo>
                    <a:pt x="228" y="918"/>
                  </a:lnTo>
                  <a:lnTo>
                    <a:pt x="228" y="906"/>
                  </a:lnTo>
                  <a:lnTo>
                    <a:pt x="222" y="900"/>
                  </a:lnTo>
                  <a:lnTo>
                    <a:pt x="216" y="900"/>
                  </a:lnTo>
                  <a:lnTo>
                    <a:pt x="210" y="900"/>
                  </a:lnTo>
                  <a:lnTo>
                    <a:pt x="210" y="906"/>
                  </a:lnTo>
                  <a:lnTo>
                    <a:pt x="204" y="906"/>
                  </a:lnTo>
                  <a:lnTo>
                    <a:pt x="198" y="906"/>
                  </a:lnTo>
                  <a:lnTo>
                    <a:pt x="210" y="900"/>
                  </a:lnTo>
                  <a:lnTo>
                    <a:pt x="210" y="894"/>
                  </a:lnTo>
                  <a:lnTo>
                    <a:pt x="216" y="888"/>
                  </a:lnTo>
                  <a:lnTo>
                    <a:pt x="204" y="882"/>
                  </a:lnTo>
                  <a:lnTo>
                    <a:pt x="204" y="894"/>
                  </a:lnTo>
                  <a:lnTo>
                    <a:pt x="198" y="894"/>
                  </a:lnTo>
                  <a:lnTo>
                    <a:pt x="192" y="900"/>
                  </a:lnTo>
                  <a:lnTo>
                    <a:pt x="186" y="894"/>
                  </a:lnTo>
                  <a:lnTo>
                    <a:pt x="180" y="894"/>
                  </a:lnTo>
                  <a:lnTo>
                    <a:pt x="174" y="894"/>
                  </a:lnTo>
                  <a:lnTo>
                    <a:pt x="168" y="900"/>
                  </a:lnTo>
                  <a:lnTo>
                    <a:pt x="162" y="906"/>
                  </a:lnTo>
                  <a:lnTo>
                    <a:pt x="156" y="906"/>
                  </a:lnTo>
                  <a:lnTo>
                    <a:pt x="150" y="900"/>
                  </a:lnTo>
                  <a:lnTo>
                    <a:pt x="144" y="894"/>
                  </a:lnTo>
                  <a:lnTo>
                    <a:pt x="138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0" y="888"/>
                  </a:lnTo>
                  <a:lnTo>
                    <a:pt x="114" y="894"/>
                  </a:lnTo>
                  <a:lnTo>
                    <a:pt x="120" y="900"/>
                  </a:lnTo>
                  <a:lnTo>
                    <a:pt x="126" y="900"/>
                  </a:lnTo>
                  <a:lnTo>
                    <a:pt x="132" y="900"/>
                  </a:lnTo>
                  <a:lnTo>
                    <a:pt x="132" y="906"/>
                  </a:lnTo>
                  <a:lnTo>
                    <a:pt x="126" y="912"/>
                  </a:lnTo>
                  <a:lnTo>
                    <a:pt x="126" y="918"/>
                  </a:lnTo>
                  <a:lnTo>
                    <a:pt x="114" y="918"/>
                  </a:lnTo>
                  <a:lnTo>
                    <a:pt x="108" y="924"/>
                  </a:lnTo>
                  <a:lnTo>
                    <a:pt x="102" y="924"/>
                  </a:lnTo>
                  <a:lnTo>
                    <a:pt x="90" y="924"/>
                  </a:lnTo>
                  <a:lnTo>
                    <a:pt x="84" y="924"/>
                  </a:lnTo>
                  <a:lnTo>
                    <a:pt x="78" y="924"/>
                  </a:lnTo>
                  <a:lnTo>
                    <a:pt x="60" y="924"/>
                  </a:lnTo>
                  <a:lnTo>
                    <a:pt x="54" y="942"/>
                  </a:lnTo>
                  <a:lnTo>
                    <a:pt x="48" y="936"/>
                  </a:lnTo>
                  <a:lnTo>
                    <a:pt x="42" y="930"/>
                  </a:lnTo>
                  <a:lnTo>
                    <a:pt x="36" y="930"/>
                  </a:lnTo>
                  <a:lnTo>
                    <a:pt x="30" y="936"/>
                  </a:lnTo>
                  <a:lnTo>
                    <a:pt x="30" y="930"/>
                  </a:lnTo>
                  <a:lnTo>
                    <a:pt x="30" y="924"/>
                  </a:lnTo>
                  <a:lnTo>
                    <a:pt x="18" y="918"/>
                  </a:lnTo>
                  <a:lnTo>
                    <a:pt x="18" y="912"/>
                  </a:lnTo>
                  <a:lnTo>
                    <a:pt x="12" y="912"/>
                  </a:lnTo>
                  <a:lnTo>
                    <a:pt x="6" y="912"/>
                  </a:lnTo>
                  <a:lnTo>
                    <a:pt x="6" y="900"/>
                  </a:lnTo>
                  <a:lnTo>
                    <a:pt x="6" y="894"/>
                  </a:lnTo>
                  <a:lnTo>
                    <a:pt x="0" y="870"/>
                  </a:lnTo>
                  <a:lnTo>
                    <a:pt x="6" y="846"/>
                  </a:lnTo>
                  <a:lnTo>
                    <a:pt x="6" y="810"/>
                  </a:lnTo>
                  <a:lnTo>
                    <a:pt x="12" y="774"/>
                  </a:lnTo>
                  <a:lnTo>
                    <a:pt x="12" y="756"/>
                  </a:lnTo>
                  <a:lnTo>
                    <a:pt x="18" y="744"/>
                  </a:lnTo>
                  <a:lnTo>
                    <a:pt x="18" y="732"/>
                  </a:lnTo>
                  <a:lnTo>
                    <a:pt x="12" y="576"/>
                  </a:lnTo>
                  <a:lnTo>
                    <a:pt x="12" y="570"/>
                  </a:lnTo>
                  <a:lnTo>
                    <a:pt x="18" y="564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42" y="552"/>
                  </a:lnTo>
                  <a:lnTo>
                    <a:pt x="66" y="552"/>
                  </a:lnTo>
                  <a:lnTo>
                    <a:pt x="78" y="558"/>
                  </a:lnTo>
                  <a:lnTo>
                    <a:pt x="90" y="558"/>
                  </a:lnTo>
                  <a:lnTo>
                    <a:pt x="108" y="558"/>
                  </a:lnTo>
                  <a:lnTo>
                    <a:pt x="144" y="558"/>
                  </a:lnTo>
                  <a:lnTo>
                    <a:pt x="204" y="552"/>
                  </a:lnTo>
                  <a:lnTo>
                    <a:pt x="210" y="558"/>
                  </a:lnTo>
                  <a:lnTo>
                    <a:pt x="216" y="558"/>
                  </a:lnTo>
                  <a:lnTo>
                    <a:pt x="210" y="564"/>
                  </a:lnTo>
                  <a:lnTo>
                    <a:pt x="216" y="564"/>
                  </a:lnTo>
                  <a:lnTo>
                    <a:pt x="222" y="564"/>
                  </a:lnTo>
                  <a:lnTo>
                    <a:pt x="240" y="564"/>
                  </a:lnTo>
                  <a:lnTo>
                    <a:pt x="258" y="564"/>
                  </a:lnTo>
                  <a:lnTo>
                    <a:pt x="264" y="570"/>
                  </a:lnTo>
                  <a:lnTo>
                    <a:pt x="276" y="570"/>
                  </a:lnTo>
                  <a:lnTo>
                    <a:pt x="282" y="564"/>
                  </a:lnTo>
                  <a:lnTo>
                    <a:pt x="294" y="564"/>
                  </a:lnTo>
                  <a:lnTo>
                    <a:pt x="294" y="570"/>
                  </a:lnTo>
                  <a:lnTo>
                    <a:pt x="300" y="570"/>
                  </a:lnTo>
                  <a:lnTo>
                    <a:pt x="378" y="564"/>
                  </a:lnTo>
                  <a:lnTo>
                    <a:pt x="408" y="558"/>
                  </a:lnTo>
                  <a:lnTo>
                    <a:pt x="432" y="552"/>
                  </a:lnTo>
                  <a:lnTo>
                    <a:pt x="450" y="546"/>
                  </a:lnTo>
                  <a:lnTo>
                    <a:pt x="468" y="546"/>
                  </a:lnTo>
                  <a:lnTo>
                    <a:pt x="468" y="552"/>
                  </a:lnTo>
                  <a:lnTo>
                    <a:pt x="504" y="552"/>
                  </a:lnTo>
                  <a:lnTo>
                    <a:pt x="510" y="534"/>
                  </a:lnTo>
                  <a:lnTo>
                    <a:pt x="516" y="510"/>
                  </a:lnTo>
                  <a:lnTo>
                    <a:pt x="522" y="510"/>
                  </a:lnTo>
                  <a:lnTo>
                    <a:pt x="528" y="420"/>
                  </a:lnTo>
                  <a:lnTo>
                    <a:pt x="522" y="414"/>
                  </a:lnTo>
                  <a:lnTo>
                    <a:pt x="516" y="396"/>
                  </a:lnTo>
                  <a:lnTo>
                    <a:pt x="510" y="372"/>
                  </a:lnTo>
                  <a:lnTo>
                    <a:pt x="498" y="348"/>
                  </a:lnTo>
                  <a:lnTo>
                    <a:pt x="474" y="282"/>
                  </a:lnTo>
                  <a:lnTo>
                    <a:pt x="474" y="270"/>
                  </a:lnTo>
                  <a:lnTo>
                    <a:pt x="480" y="258"/>
                  </a:lnTo>
                  <a:lnTo>
                    <a:pt x="486" y="258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92" y="246"/>
                  </a:lnTo>
                  <a:lnTo>
                    <a:pt x="504" y="234"/>
                  </a:lnTo>
                  <a:lnTo>
                    <a:pt x="510" y="228"/>
                  </a:lnTo>
                  <a:lnTo>
                    <a:pt x="516" y="228"/>
                  </a:lnTo>
                  <a:lnTo>
                    <a:pt x="516" y="222"/>
                  </a:lnTo>
                  <a:lnTo>
                    <a:pt x="516" y="216"/>
                  </a:lnTo>
                  <a:lnTo>
                    <a:pt x="522" y="216"/>
                  </a:lnTo>
                  <a:lnTo>
                    <a:pt x="528" y="210"/>
                  </a:lnTo>
                  <a:lnTo>
                    <a:pt x="534" y="210"/>
                  </a:lnTo>
                  <a:lnTo>
                    <a:pt x="540" y="210"/>
                  </a:lnTo>
                  <a:lnTo>
                    <a:pt x="546" y="210"/>
                  </a:lnTo>
                  <a:lnTo>
                    <a:pt x="552" y="210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16"/>
                  </a:lnTo>
                  <a:lnTo>
                    <a:pt x="588" y="228"/>
                  </a:lnTo>
                  <a:lnTo>
                    <a:pt x="594" y="234"/>
                  </a:lnTo>
                  <a:lnTo>
                    <a:pt x="600" y="240"/>
                  </a:lnTo>
                  <a:lnTo>
                    <a:pt x="618" y="246"/>
                  </a:lnTo>
                  <a:lnTo>
                    <a:pt x="624" y="246"/>
                  </a:lnTo>
                  <a:lnTo>
                    <a:pt x="636" y="252"/>
                  </a:lnTo>
                  <a:lnTo>
                    <a:pt x="654" y="252"/>
                  </a:lnTo>
                  <a:lnTo>
                    <a:pt x="654" y="258"/>
                  </a:lnTo>
                  <a:lnTo>
                    <a:pt x="666" y="264"/>
                  </a:lnTo>
                  <a:lnTo>
                    <a:pt x="672" y="264"/>
                  </a:lnTo>
                  <a:lnTo>
                    <a:pt x="678" y="264"/>
                  </a:lnTo>
                  <a:lnTo>
                    <a:pt x="696" y="258"/>
                  </a:lnTo>
                  <a:lnTo>
                    <a:pt x="696" y="252"/>
                  </a:lnTo>
                  <a:lnTo>
                    <a:pt x="696" y="246"/>
                  </a:lnTo>
                  <a:lnTo>
                    <a:pt x="690" y="234"/>
                  </a:lnTo>
                  <a:lnTo>
                    <a:pt x="684" y="210"/>
                  </a:lnTo>
                  <a:lnTo>
                    <a:pt x="678" y="192"/>
                  </a:lnTo>
                  <a:lnTo>
                    <a:pt x="672" y="174"/>
                  </a:lnTo>
                  <a:lnTo>
                    <a:pt x="672" y="168"/>
                  </a:lnTo>
                  <a:lnTo>
                    <a:pt x="672" y="162"/>
                  </a:lnTo>
                  <a:lnTo>
                    <a:pt x="672" y="156"/>
                  </a:lnTo>
                  <a:lnTo>
                    <a:pt x="684" y="132"/>
                  </a:lnTo>
                  <a:lnTo>
                    <a:pt x="684" y="120"/>
                  </a:lnTo>
                  <a:lnTo>
                    <a:pt x="684" y="108"/>
                  </a:lnTo>
                  <a:lnTo>
                    <a:pt x="678" y="102"/>
                  </a:lnTo>
                  <a:lnTo>
                    <a:pt x="678" y="96"/>
                  </a:lnTo>
                  <a:lnTo>
                    <a:pt x="684" y="96"/>
                  </a:lnTo>
                  <a:lnTo>
                    <a:pt x="696" y="90"/>
                  </a:lnTo>
                  <a:lnTo>
                    <a:pt x="702" y="84"/>
                  </a:lnTo>
                  <a:lnTo>
                    <a:pt x="720" y="72"/>
                  </a:lnTo>
                  <a:lnTo>
                    <a:pt x="738" y="66"/>
                  </a:lnTo>
                  <a:lnTo>
                    <a:pt x="756" y="60"/>
                  </a:lnTo>
                  <a:lnTo>
                    <a:pt x="768" y="60"/>
                  </a:lnTo>
                  <a:lnTo>
                    <a:pt x="798" y="72"/>
                  </a:lnTo>
                  <a:lnTo>
                    <a:pt x="804" y="78"/>
                  </a:lnTo>
                  <a:lnTo>
                    <a:pt x="816" y="84"/>
                  </a:lnTo>
                  <a:lnTo>
                    <a:pt x="822" y="84"/>
                  </a:lnTo>
                  <a:lnTo>
                    <a:pt x="828" y="72"/>
                  </a:lnTo>
                  <a:lnTo>
                    <a:pt x="828" y="60"/>
                  </a:lnTo>
                  <a:lnTo>
                    <a:pt x="828" y="36"/>
                  </a:lnTo>
                  <a:lnTo>
                    <a:pt x="828" y="24"/>
                  </a:lnTo>
                  <a:lnTo>
                    <a:pt x="828" y="12"/>
                  </a:lnTo>
                  <a:lnTo>
                    <a:pt x="834" y="12"/>
                  </a:lnTo>
                  <a:lnTo>
                    <a:pt x="852" y="6"/>
                  </a:lnTo>
                  <a:lnTo>
                    <a:pt x="876" y="6"/>
                  </a:lnTo>
                  <a:lnTo>
                    <a:pt x="894" y="6"/>
                  </a:lnTo>
                  <a:lnTo>
                    <a:pt x="906" y="12"/>
                  </a:lnTo>
                  <a:lnTo>
                    <a:pt x="912" y="24"/>
                  </a:lnTo>
                  <a:lnTo>
                    <a:pt x="924" y="24"/>
                  </a:lnTo>
                  <a:lnTo>
                    <a:pt x="930" y="30"/>
                  </a:lnTo>
                  <a:lnTo>
                    <a:pt x="936" y="30"/>
                  </a:lnTo>
                  <a:lnTo>
                    <a:pt x="936" y="36"/>
                  </a:lnTo>
                  <a:lnTo>
                    <a:pt x="942" y="36"/>
                  </a:lnTo>
                  <a:lnTo>
                    <a:pt x="948" y="42"/>
                  </a:lnTo>
                  <a:lnTo>
                    <a:pt x="960" y="48"/>
                  </a:lnTo>
                  <a:lnTo>
                    <a:pt x="966" y="48"/>
                  </a:lnTo>
                  <a:lnTo>
                    <a:pt x="1026" y="60"/>
                  </a:lnTo>
                  <a:lnTo>
                    <a:pt x="1050" y="60"/>
                  </a:lnTo>
                  <a:lnTo>
                    <a:pt x="1050" y="54"/>
                  </a:lnTo>
                  <a:lnTo>
                    <a:pt x="1062" y="54"/>
                  </a:lnTo>
                  <a:lnTo>
                    <a:pt x="1074" y="48"/>
                  </a:lnTo>
                  <a:lnTo>
                    <a:pt x="1086" y="42"/>
                  </a:lnTo>
                  <a:lnTo>
                    <a:pt x="1104" y="36"/>
                  </a:lnTo>
                  <a:lnTo>
                    <a:pt x="1116" y="30"/>
                  </a:lnTo>
                  <a:lnTo>
                    <a:pt x="1122" y="24"/>
                  </a:lnTo>
                  <a:lnTo>
                    <a:pt x="1128" y="18"/>
                  </a:lnTo>
                  <a:lnTo>
                    <a:pt x="1134" y="18"/>
                  </a:lnTo>
                  <a:lnTo>
                    <a:pt x="1140" y="12"/>
                  </a:lnTo>
                  <a:lnTo>
                    <a:pt x="1146" y="6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24"/>
                  </a:lnTo>
                  <a:lnTo>
                    <a:pt x="1176" y="36"/>
                  </a:lnTo>
                  <a:lnTo>
                    <a:pt x="1188" y="42"/>
                  </a:lnTo>
                  <a:lnTo>
                    <a:pt x="1200" y="54"/>
                  </a:lnTo>
                  <a:lnTo>
                    <a:pt x="1224" y="84"/>
                  </a:lnTo>
                  <a:lnTo>
                    <a:pt x="1224" y="90"/>
                  </a:lnTo>
                  <a:lnTo>
                    <a:pt x="1236" y="96"/>
                  </a:lnTo>
                  <a:lnTo>
                    <a:pt x="1236" y="108"/>
                  </a:lnTo>
                  <a:lnTo>
                    <a:pt x="1248" y="114"/>
                  </a:lnTo>
                  <a:lnTo>
                    <a:pt x="1254" y="114"/>
                  </a:lnTo>
                  <a:lnTo>
                    <a:pt x="1260" y="114"/>
                  </a:lnTo>
                  <a:lnTo>
                    <a:pt x="1296" y="114"/>
                  </a:lnTo>
                  <a:lnTo>
                    <a:pt x="1302" y="114"/>
                  </a:lnTo>
                  <a:lnTo>
                    <a:pt x="1320" y="108"/>
                  </a:lnTo>
                  <a:lnTo>
                    <a:pt x="1326" y="108"/>
                  </a:lnTo>
                  <a:lnTo>
                    <a:pt x="1326" y="138"/>
                  </a:lnTo>
                  <a:lnTo>
                    <a:pt x="1326" y="210"/>
                  </a:lnTo>
                  <a:lnTo>
                    <a:pt x="1320" y="252"/>
                  </a:lnTo>
                  <a:lnTo>
                    <a:pt x="1320" y="270"/>
                  </a:lnTo>
                  <a:lnTo>
                    <a:pt x="1320" y="288"/>
                  </a:lnTo>
                  <a:lnTo>
                    <a:pt x="1320" y="318"/>
                  </a:lnTo>
                  <a:lnTo>
                    <a:pt x="1326" y="354"/>
                  </a:lnTo>
                  <a:lnTo>
                    <a:pt x="1326" y="372"/>
                  </a:lnTo>
                  <a:lnTo>
                    <a:pt x="1332" y="420"/>
                  </a:lnTo>
                  <a:lnTo>
                    <a:pt x="1332" y="450"/>
                  </a:lnTo>
                  <a:lnTo>
                    <a:pt x="1338" y="480"/>
                  </a:lnTo>
                  <a:lnTo>
                    <a:pt x="1344" y="486"/>
                  </a:lnTo>
                  <a:lnTo>
                    <a:pt x="1338" y="492"/>
                  </a:lnTo>
                  <a:lnTo>
                    <a:pt x="1344" y="492"/>
                  </a:lnTo>
                  <a:lnTo>
                    <a:pt x="1344" y="498"/>
                  </a:lnTo>
                  <a:lnTo>
                    <a:pt x="1350" y="498"/>
                  </a:lnTo>
                  <a:lnTo>
                    <a:pt x="1350" y="522"/>
                  </a:lnTo>
                  <a:lnTo>
                    <a:pt x="1362" y="564"/>
                  </a:lnTo>
                  <a:lnTo>
                    <a:pt x="1368" y="582"/>
                  </a:lnTo>
                  <a:lnTo>
                    <a:pt x="1380" y="600"/>
                  </a:lnTo>
                  <a:lnTo>
                    <a:pt x="1386" y="636"/>
                  </a:lnTo>
                  <a:lnTo>
                    <a:pt x="1380" y="660"/>
                  </a:lnTo>
                  <a:lnTo>
                    <a:pt x="1380" y="678"/>
                  </a:lnTo>
                  <a:lnTo>
                    <a:pt x="1380" y="684"/>
                  </a:lnTo>
                  <a:lnTo>
                    <a:pt x="1374" y="684"/>
                  </a:lnTo>
                  <a:lnTo>
                    <a:pt x="1368" y="690"/>
                  </a:lnTo>
                  <a:lnTo>
                    <a:pt x="1356" y="702"/>
                  </a:lnTo>
                  <a:lnTo>
                    <a:pt x="1350" y="708"/>
                  </a:lnTo>
                  <a:lnTo>
                    <a:pt x="1356" y="714"/>
                  </a:lnTo>
                  <a:lnTo>
                    <a:pt x="1368" y="726"/>
                  </a:lnTo>
                  <a:lnTo>
                    <a:pt x="1380" y="738"/>
                  </a:lnTo>
                  <a:lnTo>
                    <a:pt x="1386" y="744"/>
                  </a:lnTo>
                  <a:lnTo>
                    <a:pt x="1392" y="744"/>
                  </a:lnTo>
                  <a:lnTo>
                    <a:pt x="1410" y="750"/>
                  </a:lnTo>
                  <a:lnTo>
                    <a:pt x="1416" y="756"/>
                  </a:lnTo>
                  <a:lnTo>
                    <a:pt x="1422" y="756"/>
                  </a:lnTo>
                  <a:lnTo>
                    <a:pt x="1422" y="762"/>
                  </a:lnTo>
                  <a:lnTo>
                    <a:pt x="1428" y="774"/>
                  </a:lnTo>
                  <a:lnTo>
                    <a:pt x="1428" y="780"/>
                  </a:lnTo>
                  <a:lnTo>
                    <a:pt x="1434" y="780"/>
                  </a:lnTo>
                  <a:lnTo>
                    <a:pt x="1440" y="798"/>
                  </a:lnTo>
                  <a:lnTo>
                    <a:pt x="1422" y="816"/>
                  </a:lnTo>
                  <a:lnTo>
                    <a:pt x="1386" y="810"/>
                  </a:lnTo>
                  <a:lnTo>
                    <a:pt x="1380" y="816"/>
                  </a:lnTo>
                  <a:lnTo>
                    <a:pt x="1374" y="840"/>
                  </a:lnTo>
                  <a:lnTo>
                    <a:pt x="1350" y="852"/>
                  </a:lnTo>
                  <a:lnTo>
                    <a:pt x="1350" y="858"/>
                  </a:lnTo>
                  <a:lnTo>
                    <a:pt x="1350" y="864"/>
                  </a:lnTo>
                  <a:lnTo>
                    <a:pt x="1344" y="864"/>
                  </a:lnTo>
                  <a:lnTo>
                    <a:pt x="1338" y="870"/>
                  </a:lnTo>
                  <a:lnTo>
                    <a:pt x="1332" y="876"/>
                  </a:lnTo>
                  <a:lnTo>
                    <a:pt x="1314" y="876"/>
                  </a:lnTo>
                  <a:lnTo>
                    <a:pt x="1314" y="870"/>
                  </a:lnTo>
                  <a:lnTo>
                    <a:pt x="1308" y="870"/>
                  </a:lnTo>
                  <a:lnTo>
                    <a:pt x="1302" y="864"/>
                  </a:lnTo>
                  <a:lnTo>
                    <a:pt x="1296" y="864"/>
                  </a:lnTo>
                  <a:lnTo>
                    <a:pt x="1284" y="870"/>
                  </a:lnTo>
                  <a:lnTo>
                    <a:pt x="1266" y="870"/>
                  </a:lnTo>
                  <a:lnTo>
                    <a:pt x="1260" y="870"/>
                  </a:lnTo>
                  <a:lnTo>
                    <a:pt x="1248" y="876"/>
                  </a:lnTo>
                  <a:lnTo>
                    <a:pt x="1236" y="876"/>
                  </a:lnTo>
                  <a:lnTo>
                    <a:pt x="1230" y="882"/>
                  </a:lnTo>
                  <a:lnTo>
                    <a:pt x="1224" y="894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18" y="942"/>
                  </a:lnTo>
                  <a:lnTo>
                    <a:pt x="1212" y="948"/>
                  </a:lnTo>
                  <a:lnTo>
                    <a:pt x="1200" y="984"/>
                  </a:lnTo>
                  <a:lnTo>
                    <a:pt x="1194" y="1008"/>
                  </a:lnTo>
                  <a:lnTo>
                    <a:pt x="1218" y="1038"/>
                  </a:lnTo>
                  <a:lnTo>
                    <a:pt x="1224" y="1044"/>
                  </a:lnTo>
                  <a:lnTo>
                    <a:pt x="1224" y="1062"/>
                  </a:lnTo>
                  <a:lnTo>
                    <a:pt x="1236" y="1080"/>
                  </a:lnTo>
                  <a:lnTo>
                    <a:pt x="1236" y="1086"/>
                  </a:lnTo>
                  <a:lnTo>
                    <a:pt x="1230" y="1092"/>
                  </a:lnTo>
                  <a:lnTo>
                    <a:pt x="1224" y="1110"/>
                  </a:lnTo>
                  <a:lnTo>
                    <a:pt x="1218" y="1122"/>
                  </a:lnTo>
                  <a:lnTo>
                    <a:pt x="1224" y="1140"/>
                  </a:lnTo>
                  <a:lnTo>
                    <a:pt x="1218" y="1146"/>
                  </a:lnTo>
                  <a:lnTo>
                    <a:pt x="1218" y="1152"/>
                  </a:lnTo>
                  <a:lnTo>
                    <a:pt x="1212" y="116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1" name="Freeform 36">
              <a:extLst>
                <a:ext uri="{FF2B5EF4-FFF2-40B4-BE49-F238E27FC236}">
                  <a16:creationId xmlns:a16="http://schemas.microsoft.com/office/drawing/2014/main" id="{B9C0D6BE-CB1C-4E69-B224-1ABF097AA8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90208" y="1647855"/>
              <a:ext cx="742415" cy="758173"/>
            </a:xfrm>
            <a:custGeom>
              <a:avLst/>
              <a:gdLst>
                <a:gd name="T0" fmla="*/ 75 w 1398"/>
                <a:gd name="T1" fmla="*/ 48 h 1428"/>
                <a:gd name="T2" fmla="*/ 68 w 1398"/>
                <a:gd name="T3" fmla="*/ 54 h 1428"/>
                <a:gd name="T4" fmla="*/ 57 w 1398"/>
                <a:gd name="T5" fmla="*/ 59 h 1428"/>
                <a:gd name="T6" fmla="*/ 55 w 1398"/>
                <a:gd name="T7" fmla="*/ 68 h 1428"/>
                <a:gd name="T8" fmla="*/ 55 w 1398"/>
                <a:gd name="T9" fmla="*/ 77 h 1428"/>
                <a:gd name="T10" fmla="*/ 57 w 1398"/>
                <a:gd name="T11" fmla="*/ 81 h 1428"/>
                <a:gd name="T12" fmla="*/ 56 w 1398"/>
                <a:gd name="T13" fmla="*/ 86 h 1428"/>
                <a:gd name="T14" fmla="*/ 57 w 1398"/>
                <a:gd name="T15" fmla="*/ 89 h 1428"/>
                <a:gd name="T16" fmla="*/ 58 w 1398"/>
                <a:gd name="T17" fmla="*/ 92 h 1428"/>
                <a:gd name="T18" fmla="*/ 58 w 1398"/>
                <a:gd name="T19" fmla="*/ 96 h 1428"/>
                <a:gd name="T20" fmla="*/ 49 w 1398"/>
                <a:gd name="T21" fmla="*/ 100 h 1428"/>
                <a:gd name="T22" fmla="*/ 47 w 1398"/>
                <a:gd name="T23" fmla="*/ 108 h 1428"/>
                <a:gd name="T24" fmla="*/ 48 w 1398"/>
                <a:gd name="T25" fmla="*/ 113 h 1428"/>
                <a:gd name="T26" fmla="*/ 43 w 1398"/>
                <a:gd name="T27" fmla="*/ 114 h 1428"/>
                <a:gd name="T28" fmla="*/ 39 w 1398"/>
                <a:gd name="T29" fmla="*/ 113 h 1428"/>
                <a:gd name="T30" fmla="*/ 33 w 1398"/>
                <a:gd name="T31" fmla="*/ 109 h 1428"/>
                <a:gd name="T32" fmla="*/ 29 w 1398"/>
                <a:gd name="T33" fmla="*/ 114 h 1428"/>
                <a:gd name="T34" fmla="*/ 22 w 1398"/>
                <a:gd name="T35" fmla="*/ 115 h 1428"/>
                <a:gd name="T36" fmla="*/ 21 w 1398"/>
                <a:gd name="T37" fmla="*/ 121 h 1428"/>
                <a:gd name="T38" fmla="*/ 12 w 1398"/>
                <a:gd name="T39" fmla="*/ 119 h 1428"/>
                <a:gd name="T40" fmla="*/ 9 w 1398"/>
                <a:gd name="T41" fmla="*/ 113 h 1428"/>
                <a:gd name="T42" fmla="*/ 2 w 1398"/>
                <a:gd name="T43" fmla="*/ 109 h 1428"/>
                <a:gd name="T44" fmla="*/ 4 w 1398"/>
                <a:gd name="T45" fmla="*/ 103 h 1428"/>
                <a:gd name="T46" fmla="*/ 2 w 1398"/>
                <a:gd name="T47" fmla="*/ 91 h 1428"/>
                <a:gd name="T48" fmla="*/ 6 w 1398"/>
                <a:gd name="T49" fmla="*/ 85 h 1428"/>
                <a:gd name="T50" fmla="*/ 10 w 1398"/>
                <a:gd name="T51" fmla="*/ 85 h 1428"/>
                <a:gd name="T52" fmla="*/ 15 w 1398"/>
                <a:gd name="T53" fmla="*/ 82 h 1428"/>
                <a:gd name="T54" fmla="*/ 20 w 1398"/>
                <a:gd name="T55" fmla="*/ 77 h 1428"/>
                <a:gd name="T56" fmla="*/ 16 w 1398"/>
                <a:gd name="T57" fmla="*/ 73 h 1428"/>
                <a:gd name="T58" fmla="*/ 16 w 1398"/>
                <a:gd name="T59" fmla="*/ 69 h 1428"/>
                <a:gd name="T60" fmla="*/ 14 w 1398"/>
                <a:gd name="T61" fmla="*/ 54 h 1428"/>
                <a:gd name="T62" fmla="*/ 12 w 1398"/>
                <a:gd name="T63" fmla="*/ 48 h 1428"/>
                <a:gd name="T64" fmla="*/ 11 w 1398"/>
                <a:gd name="T65" fmla="*/ 31 h 1428"/>
                <a:gd name="T66" fmla="*/ 14 w 1398"/>
                <a:gd name="T67" fmla="*/ 18 h 1428"/>
                <a:gd name="T68" fmla="*/ 19 w 1398"/>
                <a:gd name="T69" fmla="*/ 15 h 1428"/>
                <a:gd name="T70" fmla="*/ 26 w 1398"/>
                <a:gd name="T71" fmla="*/ 13 h 1428"/>
                <a:gd name="T72" fmla="*/ 34 w 1398"/>
                <a:gd name="T73" fmla="*/ 12 h 1428"/>
                <a:gd name="T74" fmla="*/ 39 w 1398"/>
                <a:gd name="T75" fmla="*/ 9 h 1428"/>
                <a:gd name="T76" fmla="*/ 43 w 1398"/>
                <a:gd name="T77" fmla="*/ 7 h 1428"/>
                <a:gd name="T78" fmla="*/ 48 w 1398"/>
                <a:gd name="T79" fmla="*/ 3 h 1428"/>
                <a:gd name="T80" fmla="*/ 54 w 1398"/>
                <a:gd name="T81" fmla="*/ 0 h 1428"/>
                <a:gd name="T82" fmla="*/ 58 w 1398"/>
                <a:gd name="T83" fmla="*/ 0 h 1428"/>
                <a:gd name="T84" fmla="*/ 66 w 1398"/>
                <a:gd name="T85" fmla="*/ 2 h 1428"/>
                <a:gd name="T86" fmla="*/ 70 w 1398"/>
                <a:gd name="T87" fmla="*/ 3 h 1428"/>
                <a:gd name="T88" fmla="*/ 75 w 1398"/>
                <a:gd name="T89" fmla="*/ 6 h 1428"/>
                <a:gd name="T90" fmla="*/ 80 w 1398"/>
                <a:gd name="T91" fmla="*/ 9 h 1428"/>
                <a:gd name="T92" fmla="*/ 83 w 1398"/>
                <a:gd name="T93" fmla="*/ 12 h 1428"/>
                <a:gd name="T94" fmla="*/ 87 w 1398"/>
                <a:gd name="T95" fmla="*/ 15 h 1428"/>
                <a:gd name="T96" fmla="*/ 94 w 1398"/>
                <a:gd name="T97" fmla="*/ 15 h 1428"/>
                <a:gd name="T98" fmla="*/ 99 w 1398"/>
                <a:gd name="T99" fmla="*/ 21 h 1428"/>
                <a:gd name="T100" fmla="*/ 103 w 1398"/>
                <a:gd name="T101" fmla="*/ 23 h 1428"/>
                <a:gd name="T102" fmla="*/ 110 w 1398"/>
                <a:gd name="T103" fmla="*/ 26 h 1428"/>
                <a:gd name="T104" fmla="*/ 116 w 1398"/>
                <a:gd name="T105" fmla="*/ 27 h 1428"/>
                <a:gd name="T106" fmla="*/ 120 w 1398"/>
                <a:gd name="T107" fmla="*/ 27 h 1428"/>
                <a:gd name="T108" fmla="*/ 116 w 1398"/>
                <a:gd name="T109" fmla="*/ 35 h 1428"/>
                <a:gd name="T110" fmla="*/ 104 w 1398"/>
                <a:gd name="T111" fmla="*/ 37 h 1428"/>
                <a:gd name="T112" fmla="*/ 97 w 1398"/>
                <a:gd name="T113" fmla="*/ 34 h 1428"/>
                <a:gd name="T114" fmla="*/ 91 w 1398"/>
                <a:gd name="T115" fmla="*/ 29 h 1428"/>
                <a:gd name="T116" fmla="*/ 75 w 1398"/>
                <a:gd name="T117" fmla="*/ 29 h 1428"/>
                <a:gd name="T118" fmla="*/ 72 w 1398"/>
                <a:gd name="T119" fmla="*/ 39 h 1428"/>
                <a:gd name="T120" fmla="*/ 80 w 1398"/>
                <a:gd name="T121" fmla="*/ 41 h 142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98"/>
                <a:gd name="T184" fmla="*/ 0 h 1428"/>
                <a:gd name="T185" fmla="*/ 1398 w 1398"/>
                <a:gd name="T186" fmla="*/ 1428 h 142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98" h="1428">
                  <a:moveTo>
                    <a:pt x="924" y="474"/>
                  </a:moveTo>
                  <a:lnTo>
                    <a:pt x="900" y="480"/>
                  </a:lnTo>
                  <a:lnTo>
                    <a:pt x="864" y="486"/>
                  </a:lnTo>
                  <a:lnTo>
                    <a:pt x="864" y="504"/>
                  </a:lnTo>
                  <a:lnTo>
                    <a:pt x="858" y="522"/>
                  </a:lnTo>
                  <a:lnTo>
                    <a:pt x="864" y="528"/>
                  </a:lnTo>
                  <a:lnTo>
                    <a:pt x="864" y="552"/>
                  </a:lnTo>
                  <a:lnTo>
                    <a:pt x="852" y="552"/>
                  </a:lnTo>
                  <a:lnTo>
                    <a:pt x="846" y="564"/>
                  </a:lnTo>
                  <a:lnTo>
                    <a:pt x="840" y="582"/>
                  </a:lnTo>
                  <a:lnTo>
                    <a:pt x="834" y="594"/>
                  </a:lnTo>
                  <a:lnTo>
                    <a:pt x="828" y="606"/>
                  </a:lnTo>
                  <a:lnTo>
                    <a:pt x="828" y="618"/>
                  </a:lnTo>
                  <a:lnTo>
                    <a:pt x="786" y="630"/>
                  </a:lnTo>
                  <a:lnTo>
                    <a:pt x="774" y="636"/>
                  </a:lnTo>
                  <a:lnTo>
                    <a:pt x="762" y="642"/>
                  </a:lnTo>
                  <a:lnTo>
                    <a:pt x="744" y="648"/>
                  </a:lnTo>
                  <a:lnTo>
                    <a:pt x="714" y="660"/>
                  </a:lnTo>
                  <a:lnTo>
                    <a:pt x="696" y="666"/>
                  </a:lnTo>
                  <a:lnTo>
                    <a:pt x="666" y="672"/>
                  </a:lnTo>
                  <a:lnTo>
                    <a:pt x="654" y="684"/>
                  </a:lnTo>
                  <a:lnTo>
                    <a:pt x="648" y="684"/>
                  </a:lnTo>
                  <a:lnTo>
                    <a:pt x="642" y="696"/>
                  </a:lnTo>
                  <a:lnTo>
                    <a:pt x="636" y="696"/>
                  </a:lnTo>
                  <a:lnTo>
                    <a:pt x="630" y="714"/>
                  </a:lnTo>
                  <a:lnTo>
                    <a:pt x="624" y="738"/>
                  </a:lnTo>
                  <a:lnTo>
                    <a:pt x="624" y="762"/>
                  </a:lnTo>
                  <a:lnTo>
                    <a:pt x="630" y="780"/>
                  </a:lnTo>
                  <a:lnTo>
                    <a:pt x="636" y="804"/>
                  </a:lnTo>
                  <a:lnTo>
                    <a:pt x="642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6" y="834"/>
                  </a:lnTo>
                  <a:lnTo>
                    <a:pt x="636" y="870"/>
                  </a:lnTo>
                  <a:lnTo>
                    <a:pt x="636" y="882"/>
                  </a:lnTo>
                  <a:lnTo>
                    <a:pt x="636" y="906"/>
                  </a:lnTo>
                  <a:lnTo>
                    <a:pt x="630" y="906"/>
                  </a:lnTo>
                  <a:lnTo>
                    <a:pt x="636" y="918"/>
                  </a:lnTo>
                  <a:lnTo>
                    <a:pt x="642" y="918"/>
                  </a:lnTo>
                  <a:lnTo>
                    <a:pt x="642" y="930"/>
                  </a:lnTo>
                  <a:lnTo>
                    <a:pt x="648" y="936"/>
                  </a:lnTo>
                  <a:lnTo>
                    <a:pt x="654" y="936"/>
                  </a:lnTo>
                  <a:lnTo>
                    <a:pt x="654" y="942"/>
                  </a:lnTo>
                  <a:lnTo>
                    <a:pt x="654" y="948"/>
                  </a:lnTo>
                  <a:lnTo>
                    <a:pt x="648" y="954"/>
                  </a:lnTo>
                  <a:lnTo>
                    <a:pt x="648" y="960"/>
                  </a:lnTo>
                  <a:lnTo>
                    <a:pt x="648" y="966"/>
                  </a:lnTo>
                  <a:lnTo>
                    <a:pt x="648" y="972"/>
                  </a:lnTo>
                  <a:lnTo>
                    <a:pt x="648" y="990"/>
                  </a:lnTo>
                  <a:lnTo>
                    <a:pt x="654" y="996"/>
                  </a:lnTo>
                  <a:lnTo>
                    <a:pt x="648" y="1002"/>
                  </a:lnTo>
                  <a:lnTo>
                    <a:pt x="648" y="1008"/>
                  </a:lnTo>
                  <a:lnTo>
                    <a:pt x="654" y="1014"/>
                  </a:lnTo>
                  <a:lnTo>
                    <a:pt x="654" y="1020"/>
                  </a:lnTo>
                  <a:lnTo>
                    <a:pt x="654" y="1026"/>
                  </a:lnTo>
                  <a:lnTo>
                    <a:pt x="660" y="1026"/>
                  </a:lnTo>
                  <a:lnTo>
                    <a:pt x="660" y="1032"/>
                  </a:lnTo>
                  <a:lnTo>
                    <a:pt x="660" y="1038"/>
                  </a:lnTo>
                  <a:lnTo>
                    <a:pt x="666" y="1044"/>
                  </a:lnTo>
                  <a:lnTo>
                    <a:pt x="672" y="1050"/>
                  </a:lnTo>
                  <a:lnTo>
                    <a:pt x="672" y="1056"/>
                  </a:lnTo>
                  <a:lnTo>
                    <a:pt x="672" y="1062"/>
                  </a:lnTo>
                  <a:lnTo>
                    <a:pt x="672" y="1068"/>
                  </a:lnTo>
                  <a:lnTo>
                    <a:pt x="672" y="1074"/>
                  </a:lnTo>
                  <a:lnTo>
                    <a:pt x="678" y="1074"/>
                  </a:lnTo>
                  <a:lnTo>
                    <a:pt x="678" y="1080"/>
                  </a:lnTo>
                  <a:lnTo>
                    <a:pt x="678" y="1086"/>
                  </a:lnTo>
                  <a:lnTo>
                    <a:pt x="672" y="1092"/>
                  </a:lnTo>
                  <a:lnTo>
                    <a:pt x="672" y="1098"/>
                  </a:lnTo>
                  <a:lnTo>
                    <a:pt x="672" y="1104"/>
                  </a:lnTo>
                  <a:lnTo>
                    <a:pt x="666" y="1116"/>
                  </a:lnTo>
                  <a:lnTo>
                    <a:pt x="624" y="1122"/>
                  </a:lnTo>
                  <a:lnTo>
                    <a:pt x="576" y="1134"/>
                  </a:lnTo>
                  <a:lnTo>
                    <a:pt x="570" y="1140"/>
                  </a:lnTo>
                  <a:lnTo>
                    <a:pt x="570" y="1146"/>
                  </a:lnTo>
                  <a:lnTo>
                    <a:pt x="564" y="1146"/>
                  </a:lnTo>
                  <a:lnTo>
                    <a:pt x="564" y="1152"/>
                  </a:lnTo>
                  <a:lnTo>
                    <a:pt x="564" y="1164"/>
                  </a:lnTo>
                  <a:lnTo>
                    <a:pt x="564" y="1170"/>
                  </a:lnTo>
                  <a:lnTo>
                    <a:pt x="564" y="1176"/>
                  </a:lnTo>
                  <a:lnTo>
                    <a:pt x="546" y="1176"/>
                  </a:lnTo>
                  <a:lnTo>
                    <a:pt x="540" y="1212"/>
                  </a:lnTo>
                  <a:lnTo>
                    <a:pt x="540" y="1230"/>
                  </a:lnTo>
                  <a:lnTo>
                    <a:pt x="546" y="1242"/>
                  </a:lnTo>
                  <a:lnTo>
                    <a:pt x="546" y="1254"/>
                  </a:lnTo>
                  <a:lnTo>
                    <a:pt x="558" y="1266"/>
                  </a:lnTo>
                  <a:lnTo>
                    <a:pt x="576" y="1272"/>
                  </a:lnTo>
                  <a:lnTo>
                    <a:pt x="570" y="1278"/>
                  </a:lnTo>
                  <a:lnTo>
                    <a:pt x="576" y="1284"/>
                  </a:lnTo>
                  <a:lnTo>
                    <a:pt x="570" y="1296"/>
                  </a:lnTo>
                  <a:lnTo>
                    <a:pt x="558" y="1302"/>
                  </a:lnTo>
                  <a:lnTo>
                    <a:pt x="540" y="1308"/>
                  </a:lnTo>
                  <a:lnTo>
                    <a:pt x="522" y="1314"/>
                  </a:lnTo>
                  <a:lnTo>
                    <a:pt x="516" y="1314"/>
                  </a:lnTo>
                  <a:lnTo>
                    <a:pt x="510" y="1314"/>
                  </a:lnTo>
                  <a:lnTo>
                    <a:pt x="504" y="1314"/>
                  </a:lnTo>
                  <a:lnTo>
                    <a:pt x="498" y="1320"/>
                  </a:lnTo>
                  <a:lnTo>
                    <a:pt x="492" y="1320"/>
                  </a:lnTo>
                  <a:lnTo>
                    <a:pt x="492" y="1326"/>
                  </a:lnTo>
                  <a:lnTo>
                    <a:pt x="486" y="1326"/>
                  </a:lnTo>
                  <a:lnTo>
                    <a:pt x="480" y="1326"/>
                  </a:lnTo>
                  <a:lnTo>
                    <a:pt x="480" y="1320"/>
                  </a:lnTo>
                  <a:lnTo>
                    <a:pt x="468" y="1314"/>
                  </a:lnTo>
                  <a:lnTo>
                    <a:pt x="462" y="1308"/>
                  </a:lnTo>
                  <a:lnTo>
                    <a:pt x="456" y="1302"/>
                  </a:lnTo>
                  <a:lnTo>
                    <a:pt x="444" y="1296"/>
                  </a:lnTo>
                  <a:lnTo>
                    <a:pt x="420" y="1290"/>
                  </a:lnTo>
                  <a:lnTo>
                    <a:pt x="414" y="1278"/>
                  </a:lnTo>
                  <a:lnTo>
                    <a:pt x="408" y="1278"/>
                  </a:lnTo>
                  <a:lnTo>
                    <a:pt x="408" y="1266"/>
                  </a:lnTo>
                  <a:lnTo>
                    <a:pt x="402" y="1260"/>
                  </a:lnTo>
                  <a:lnTo>
                    <a:pt x="384" y="1260"/>
                  </a:lnTo>
                  <a:lnTo>
                    <a:pt x="372" y="1266"/>
                  </a:lnTo>
                  <a:lnTo>
                    <a:pt x="360" y="1272"/>
                  </a:lnTo>
                  <a:lnTo>
                    <a:pt x="348" y="1272"/>
                  </a:lnTo>
                  <a:lnTo>
                    <a:pt x="342" y="1284"/>
                  </a:lnTo>
                  <a:lnTo>
                    <a:pt x="336" y="1290"/>
                  </a:lnTo>
                  <a:lnTo>
                    <a:pt x="336" y="1308"/>
                  </a:lnTo>
                  <a:lnTo>
                    <a:pt x="336" y="1314"/>
                  </a:lnTo>
                  <a:lnTo>
                    <a:pt x="336" y="1320"/>
                  </a:lnTo>
                  <a:lnTo>
                    <a:pt x="330" y="1326"/>
                  </a:lnTo>
                  <a:lnTo>
                    <a:pt x="330" y="1332"/>
                  </a:lnTo>
                  <a:lnTo>
                    <a:pt x="330" y="1338"/>
                  </a:lnTo>
                  <a:lnTo>
                    <a:pt x="300" y="1338"/>
                  </a:lnTo>
                  <a:lnTo>
                    <a:pt x="288" y="1338"/>
                  </a:lnTo>
                  <a:lnTo>
                    <a:pt x="258" y="1326"/>
                  </a:lnTo>
                  <a:lnTo>
                    <a:pt x="246" y="1332"/>
                  </a:lnTo>
                  <a:lnTo>
                    <a:pt x="240" y="1338"/>
                  </a:lnTo>
                  <a:lnTo>
                    <a:pt x="234" y="1338"/>
                  </a:lnTo>
                  <a:lnTo>
                    <a:pt x="228" y="1350"/>
                  </a:lnTo>
                  <a:lnTo>
                    <a:pt x="228" y="1374"/>
                  </a:lnTo>
                  <a:lnTo>
                    <a:pt x="234" y="1392"/>
                  </a:lnTo>
                  <a:lnTo>
                    <a:pt x="246" y="1398"/>
                  </a:lnTo>
                  <a:lnTo>
                    <a:pt x="246" y="1410"/>
                  </a:lnTo>
                  <a:lnTo>
                    <a:pt x="216" y="1428"/>
                  </a:lnTo>
                  <a:lnTo>
                    <a:pt x="198" y="1428"/>
                  </a:lnTo>
                  <a:lnTo>
                    <a:pt x="192" y="1422"/>
                  </a:lnTo>
                  <a:lnTo>
                    <a:pt x="174" y="1410"/>
                  </a:lnTo>
                  <a:lnTo>
                    <a:pt x="156" y="1386"/>
                  </a:lnTo>
                  <a:lnTo>
                    <a:pt x="132" y="1374"/>
                  </a:lnTo>
                  <a:lnTo>
                    <a:pt x="108" y="1368"/>
                  </a:lnTo>
                  <a:lnTo>
                    <a:pt x="84" y="1368"/>
                  </a:lnTo>
                  <a:lnTo>
                    <a:pt x="96" y="1356"/>
                  </a:lnTo>
                  <a:lnTo>
                    <a:pt x="102" y="1344"/>
                  </a:lnTo>
                  <a:lnTo>
                    <a:pt x="102" y="1332"/>
                  </a:lnTo>
                  <a:lnTo>
                    <a:pt x="108" y="1320"/>
                  </a:lnTo>
                  <a:lnTo>
                    <a:pt x="108" y="1302"/>
                  </a:lnTo>
                  <a:lnTo>
                    <a:pt x="96" y="1278"/>
                  </a:lnTo>
                  <a:lnTo>
                    <a:pt x="66" y="1284"/>
                  </a:lnTo>
                  <a:lnTo>
                    <a:pt x="54" y="1278"/>
                  </a:lnTo>
                  <a:lnTo>
                    <a:pt x="36" y="1278"/>
                  </a:lnTo>
                  <a:lnTo>
                    <a:pt x="18" y="1284"/>
                  </a:lnTo>
                  <a:lnTo>
                    <a:pt x="18" y="1272"/>
                  </a:lnTo>
                  <a:lnTo>
                    <a:pt x="24" y="1260"/>
                  </a:lnTo>
                  <a:lnTo>
                    <a:pt x="24" y="1254"/>
                  </a:lnTo>
                  <a:lnTo>
                    <a:pt x="30" y="1248"/>
                  </a:lnTo>
                  <a:lnTo>
                    <a:pt x="24" y="1230"/>
                  </a:lnTo>
                  <a:lnTo>
                    <a:pt x="30" y="1218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30" y="1170"/>
                  </a:lnTo>
                  <a:lnTo>
                    <a:pt x="30" y="1152"/>
                  </a:lnTo>
                  <a:lnTo>
                    <a:pt x="24" y="1146"/>
                  </a:lnTo>
                  <a:lnTo>
                    <a:pt x="0" y="1116"/>
                  </a:lnTo>
                  <a:lnTo>
                    <a:pt x="6" y="1092"/>
                  </a:lnTo>
                  <a:lnTo>
                    <a:pt x="18" y="1056"/>
                  </a:lnTo>
                  <a:lnTo>
                    <a:pt x="24" y="1050"/>
                  </a:lnTo>
                  <a:lnTo>
                    <a:pt x="24" y="1038"/>
                  </a:lnTo>
                  <a:lnTo>
                    <a:pt x="24" y="1026"/>
                  </a:lnTo>
                  <a:lnTo>
                    <a:pt x="30" y="1002"/>
                  </a:lnTo>
                  <a:lnTo>
                    <a:pt x="36" y="990"/>
                  </a:lnTo>
                  <a:lnTo>
                    <a:pt x="42" y="984"/>
                  </a:lnTo>
                  <a:lnTo>
                    <a:pt x="54" y="984"/>
                  </a:lnTo>
                  <a:lnTo>
                    <a:pt x="66" y="978"/>
                  </a:lnTo>
                  <a:lnTo>
                    <a:pt x="72" y="978"/>
                  </a:lnTo>
                  <a:lnTo>
                    <a:pt x="90" y="978"/>
                  </a:lnTo>
                  <a:lnTo>
                    <a:pt x="102" y="972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78"/>
                  </a:lnTo>
                  <a:lnTo>
                    <a:pt x="120" y="984"/>
                  </a:lnTo>
                  <a:lnTo>
                    <a:pt x="138" y="984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6" y="972"/>
                  </a:lnTo>
                  <a:lnTo>
                    <a:pt x="156" y="966"/>
                  </a:lnTo>
                  <a:lnTo>
                    <a:pt x="156" y="960"/>
                  </a:lnTo>
                  <a:lnTo>
                    <a:pt x="180" y="948"/>
                  </a:lnTo>
                  <a:lnTo>
                    <a:pt x="186" y="924"/>
                  </a:lnTo>
                  <a:lnTo>
                    <a:pt x="192" y="918"/>
                  </a:lnTo>
                  <a:lnTo>
                    <a:pt x="228" y="924"/>
                  </a:lnTo>
                  <a:lnTo>
                    <a:pt x="246" y="906"/>
                  </a:lnTo>
                  <a:lnTo>
                    <a:pt x="240" y="888"/>
                  </a:lnTo>
                  <a:lnTo>
                    <a:pt x="234" y="888"/>
                  </a:lnTo>
                  <a:lnTo>
                    <a:pt x="234" y="882"/>
                  </a:lnTo>
                  <a:lnTo>
                    <a:pt x="228" y="870"/>
                  </a:lnTo>
                  <a:lnTo>
                    <a:pt x="228" y="864"/>
                  </a:lnTo>
                  <a:lnTo>
                    <a:pt x="222" y="864"/>
                  </a:lnTo>
                  <a:lnTo>
                    <a:pt x="216" y="858"/>
                  </a:lnTo>
                  <a:lnTo>
                    <a:pt x="198" y="852"/>
                  </a:lnTo>
                  <a:lnTo>
                    <a:pt x="192" y="852"/>
                  </a:lnTo>
                  <a:lnTo>
                    <a:pt x="186" y="846"/>
                  </a:lnTo>
                  <a:lnTo>
                    <a:pt x="174" y="834"/>
                  </a:lnTo>
                  <a:lnTo>
                    <a:pt x="162" y="822"/>
                  </a:lnTo>
                  <a:lnTo>
                    <a:pt x="156" y="816"/>
                  </a:lnTo>
                  <a:lnTo>
                    <a:pt x="162" y="810"/>
                  </a:lnTo>
                  <a:lnTo>
                    <a:pt x="174" y="798"/>
                  </a:lnTo>
                  <a:lnTo>
                    <a:pt x="180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68"/>
                  </a:lnTo>
                  <a:lnTo>
                    <a:pt x="192" y="744"/>
                  </a:lnTo>
                  <a:lnTo>
                    <a:pt x="186" y="708"/>
                  </a:lnTo>
                  <a:lnTo>
                    <a:pt x="174" y="690"/>
                  </a:lnTo>
                  <a:lnTo>
                    <a:pt x="168" y="672"/>
                  </a:lnTo>
                  <a:lnTo>
                    <a:pt x="156" y="630"/>
                  </a:lnTo>
                  <a:lnTo>
                    <a:pt x="156" y="606"/>
                  </a:lnTo>
                  <a:lnTo>
                    <a:pt x="150" y="606"/>
                  </a:lnTo>
                  <a:lnTo>
                    <a:pt x="150" y="600"/>
                  </a:lnTo>
                  <a:lnTo>
                    <a:pt x="144" y="600"/>
                  </a:lnTo>
                  <a:lnTo>
                    <a:pt x="150" y="594"/>
                  </a:lnTo>
                  <a:lnTo>
                    <a:pt x="144" y="588"/>
                  </a:lnTo>
                  <a:lnTo>
                    <a:pt x="138" y="558"/>
                  </a:lnTo>
                  <a:lnTo>
                    <a:pt x="138" y="528"/>
                  </a:lnTo>
                  <a:lnTo>
                    <a:pt x="132" y="480"/>
                  </a:lnTo>
                  <a:lnTo>
                    <a:pt x="132" y="462"/>
                  </a:lnTo>
                  <a:lnTo>
                    <a:pt x="126" y="426"/>
                  </a:lnTo>
                  <a:lnTo>
                    <a:pt x="126" y="396"/>
                  </a:lnTo>
                  <a:lnTo>
                    <a:pt x="126" y="378"/>
                  </a:lnTo>
                  <a:lnTo>
                    <a:pt x="126" y="360"/>
                  </a:lnTo>
                  <a:lnTo>
                    <a:pt x="132" y="318"/>
                  </a:lnTo>
                  <a:lnTo>
                    <a:pt x="132" y="24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2" y="210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92" y="198"/>
                  </a:lnTo>
                  <a:lnTo>
                    <a:pt x="198" y="198"/>
                  </a:lnTo>
                  <a:lnTo>
                    <a:pt x="216" y="180"/>
                  </a:lnTo>
                  <a:lnTo>
                    <a:pt x="222" y="174"/>
                  </a:lnTo>
                  <a:lnTo>
                    <a:pt x="222" y="168"/>
                  </a:lnTo>
                  <a:lnTo>
                    <a:pt x="228" y="168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44"/>
                  </a:lnTo>
                  <a:lnTo>
                    <a:pt x="258" y="144"/>
                  </a:lnTo>
                  <a:lnTo>
                    <a:pt x="276" y="150"/>
                  </a:lnTo>
                  <a:lnTo>
                    <a:pt x="300" y="150"/>
                  </a:lnTo>
                  <a:lnTo>
                    <a:pt x="312" y="150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8" y="156"/>
                  </a:lnTo>
                  <a:lnTo>
                    <a:pt x="354" y="150"/>
                  </a:lnTo>
                  <a:lnTo>
                    <a:pt x="372" y="144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08" y="126"/>
                  </a:lnTo>
                  <a:lnTo>
                    <a:pt x="414" y="120"/>
                  </a:lnTo>
                  <a:lnTo>
                    <a:pt x="420" y="120"/>
                  </a:lnTo>
                  <a:lnTo>
                    <a:pt x="426" y="120"/>
                  </a:lnTo>
                  <a:lnTo>
                    <a:pt x="432" y="114"/>
                  </a:lnTo>
                  <a:lnTo>
                    <a:pt x="450" y="102"/>
                  </a:lnTo>
                  <a:lnTo>
                    <a:pt x="456" y="96"/>
                  </a:lnTo>
                  <a:lnTo>
                    <a:pt x="468" y="90"/>
                  </a:lnTo>
                  <a:lnTo>
                    <a:pt x="474" y="90"/>
                  </a:lnTo>
                  <a:lnTo>
                    <a:pt x="480" y="84"/>
                  </a:lnTo>
                  <a:lnTo>
                    <a:pt x="486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504" y="72"/>
                  </a:lnTo>
                  <a:lnTo>
                    <a:pt x="510" y="66"/>
                  </a:lnTo>
                  <a:lnTo>
                    <a:pt x="516" y="66"/>
                  </a:lnTo>
                  <a:lnTo>
                    <a:pt x="522" y="60"/>
                  </a:lnTo>
                  <a:lnTo>
                    <a:pt x="552" y="42"/>
                  </a:lnTo>
                  <a:lnTo>
                    <a:pt x="558" y="36"/>
                  </a:lnTo>
                  <a:lnTo>
                    <a:pt x="576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94" y="18"/>
                  </a:lnTo>
                  <a:lnTo>
                    <a:pt x="600" y="12"/>
                  </a:lnTo>
                  <a:lnTo>
                    <a:pt x="612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6"/>
                  </a:lnTo>
                  <a:lnTo>
                    <a:pt x="648" y="6"/>
                  </a:lnTo>
                  <a:lnTo>
                    <a:pt x="660" y="6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38" y="18"/>
                  </a:lnTo>
                  <a:lnTo>
                    <a:pt x="744" y="18"/>
                  </a:lnTo>
                  <a:lnTo>
                    <a:pt x="756" y="18"/>
                  </a:lnTo>
                  <a:lnTo>
                    <a:pt x="762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80" y="24"/>
                  </a:lnTo>
                  <a:lnTo>
                    <a:pt x="792" y="24"/>
                  </a:lnTo>
                  <a:lnTo>
                    <a:pt x="792" y="30"/>
                  </a:lnTo>
                  <a:lnTo>
                    <a:pt x="810" y="30"/>
                  </a:lnTo>
                  <a:lnTo>
                    <a:pt x="822" y="36"/>
                  </a:lnTo>
                  <a:lnTo>
                    <a:pt x="834" y="42"/>
                  </a:lnTo>
                  <a:lnTo>
                    <a:pt x="840" y="48"/>
                  </a:lnTo>
                  <a:lnTo>
                    <a:pt x="846" y="54"/>
                  </a:lnTo>
                  <a:lnTo>
                    <a:pt x="852" y="60"/>
                  </a:lnTo>
                  <a:lnTo>
                    <a:pt x="858" y="66"/>
                  </a:lnTo>
                  <a:lnTo>
                    <a:pt x="864" y="66"/>
                  </a:lnTo>
                  <a:lnTo>
                    <a:pt x="864" y="72"/>
                  </a:lnTo>
                  <a:lnTo>
                    <a:pt x="876" y="78"/>
                  </a:lnTo>
                  <a:lnTo>
                    <a:pt x="900" y="84"/>
                  </a:lnTo>
                  <a:lnTo>
                    <a:pt x="906" y="90"/>
                  </a:lnTo>
                  <a:lnTo>
                    <a:pt x="912" y="90"/>
                  </a:lnTo>
                  <a:lnTo>
                    <a:pt x="912" y="96"/>
                  </a:lnTo>
                  <a:lnTo>
                    <a:pt x="924" y="108"/>
                  </a:lnTo>
                  <a:lnTo>
                    <a:pt x="930" y="108"/>
                  </a:lnTo>
                  <a:lnTo>
                    <a:pt x="936" y="114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60" y="138"/>
                  </a:lnTo>
                  <a:lnTo>
                    <a:pt x="966" y="144"/>
                  </a:lnTo>
                  <a:lnTo>
                    <a:pt x="972" y="156"/>
                  </a:lnTo>
                  <a:lnTo>
                    <a:pt x="978" y="162"/>
                  </a:lnTo>
                  <a:lnTo>
                    <a:pt x="984" y="162"/>
                  </a:lnTo>
                  <a:lnTo>
                    <a:pt x="990" y="168"/>
                  </a:lnTo>
                  <a:lnTo>
                    <a:pt x="996" y="174"/>
                  </a:lnTo>
                  <a:lnTo>
                    <a:pt x="1002" y="180"/>
                  </a:lnTo>
                  <a:lnTo>
                    <a:pt x="1008" y="180"/>
                  </a:lnTo>
                  <a:lnTo>
                    <a:pt x="1020" y="180"/>
                  </a:lnTo>
                  <a:lnTo>
                    <a:pt x="1038" y="174"/>
                  </a:lnTo>
                  <a:lnTo>
                    <a:pt x="1050" y="174"/>
                  </a:lnTo>
                  <a:lnTo>
                    <a:pt x="1056" y="174"/>
                  </a:lnTo>
                  <a:lnTo>
                    <a:pt x="1068" y="180"/>
                  </a:lnTo>
                  <a:lnTo>
                    <a:pt x="1080" y="180"/>
                  </a:lnTo>
                  <a:lnTo>
                    <a:pt x="1086" y="186"/>
                  </a:lnTo>
                  <a:lnTo>
                    <a:pt x="1098" y="192"/>
                  </a:lnTo>
                  <a:lnTo>
                    <a:pt x="1116" y="204"/>
                  </a:lnTo>
                  <a:lnTo>
                    <a:pt x="1122" y="210"/>
                  </a:lnTo>
                  <a:lnTo>
                    <a:pt x="1134" y="222"/>
                  </a:lnTo>
                  <a:lnTo>
                    <a:pt x="1146" y="234"/>
                  </a:lnTo>
                  <a:lnTo>
                    <a:pt x="1146" y="240"/>
                  </a:lnTo>
                  <a:lnTo>
                    <a:pt x="1152" y="246"/>
                  </a:lnTo>
                  <a:lnTo>
                    <a:pt x="1152" y="252"/>
                  </a:lnTo>
                  <a:lnTo>
                    <a:pt x="1152" y="258"/>
                  </a:lnTo>
                  <a:lnTo>
                    <a:pt x="1164" y="258"/>
                  </a:lnTo>
                  <a:lnTo>
                    <a:pt x="1170" y="264"/>
                  </a:lnTo>
                  <a:lnTo>
                    <a:pt x="1182" y="270"/>
                  </a:lnTo>
                  <a:lnTo>
                    <a:pt x="1188" y="270"/>
                  </a:lnTo>
                  <a:lnTo>
                    <a:pt x="1194" y="270"/>
                  </a:lnTo>
                  <a:lnTo>
                    <a:pt x="1206" y="276"/>
                  </a:lnTo>
                  <a:lnTo>
                    <a:pt x="1224" y="282"/>
                  </a:lnTo>
                  <a:lnTo>
                    <a:pt x="1236" y="282"/>
                  </a:lnTo>
                  <a:lnTo>
                    <a:pt x="1242" y="288"/>
                  </a:lnTo>
                  <a:lnTo>
                    <a:pt x="1254" y="288"/>
                  </a:lnTo>
                  <a:lnTo>
                    <a:pt x="1266" y="294"/>
                  </a:lnTo>
                  <a:lnTo>
                    <a:pt x="1272" y="294"/>
                  </a:lnTo>
                  <a:lnTo>
                    <a:pt x="1284" y="300"/>
                  </a:lnTo>
                  <a:lnTo>
                    <a:pt x="1290" y="300"/>
                  </a:lnTo>
                  <a:lnTo>
                    <a:pt x="1296" y="300"/>
                  </a:lnTo>
                  <a:lnTo>
                    <a:pt x="1302" y="306"/>
                  </a:lnTo>
                  <a:lnTo>
                    <a:pt x="1326" y="312"/>
                  </a:lnTo>
                  <a:lnTo>
                    <a:pt x="1338" y="312"/>
                  </a:lnTo>
                  <a:lnTo>
                    <a:pt x="1338" y="318"/>
                  </a:lnTo>
                  <a:lnTo>
                    <a:pt x="1344" y="318"/>
                  </a:lnTo>
                  <a:lnTo>
                    <a:pt x="1350" y="318"/>
                  </a:lnTo>
                  <a:lnTo>
                    <a:pt x="1362" y="324"/>
                  </a:lnTo>
                  <a:lnTo>
                    <a:pt x="1368" y="318"/>
                  </a:lnTo>
                  <a:lnTo>
                    <a:pt x="1374" y="318"/>
                  </a:lnTo>
                  <a:lnTo>
                    <a:pt x="1386" y="318"/>
                  </a:lnTo>
                  <a:lnTo>
                    <a:pt x="1398" y="324"/>
                  </a:lnTo>
                  <a:lnTo>
                    <a:pt x="1398" y="342"/>
                  </a:lnTo>
                  <a:lnTo>
                    <a:pt x="1356" y="342"/>
                  </a:lnTo>
                  <a:lnTo>
                    <a:pt x="1350" y="348"/>
                  </a:lnTo>
                  <a:lnTo>
                    <a:pt x="1350" y="372"/>
                  </a:lnTo>
                  <a:lnTo>
                    <a:pt x="1338" y="384"/>
                  </a:lnTo>
                  <a:lnTo>
                    <a:pt x="1332" y="408"/>
                  </a:lnTo>
                  <a:lnTo>
                    <a:pt x="1320" y="420"/>
                  </a:lnTo>
                  <a:lnTo>
                    <a:pt x="1254" y="426"/>
                  </a:lnTo>
                  <a:lnTo>
                    <a:pt x="1248" y="432"/>
                  </a:lnTo>
                  <a:lnTo>
                    <a:pt x="1230" y="432"/>
                  </a:lnTo>
                  <a:lnTo>
                    <a:pt x="1212" y="432"/>
                  </a:lnTo>
                  <a:lnTo>
                    <a:pt x="1212" y="426"/>
                  </a:lnTo>
                  <a:lnTo>
                    <a:pt x="1200" y="426"/>
                  </a:lnTo>
                  <a:lnTo>
                    <a:pt x="1182" y="414"/>
                  </a:lnTo>
                  <a:lnTo>
                    <a:pt x="1182" y="420"/>
                  </a:lnTo>
                  <a:lnTo>
                    <a:pt x="1164" y="420"/>
                  </a:lnTo>
                  <a:lnTo>
                    <a:pt x="1158" y="414"/>
                  </a:lnTo>
                  <a:lnTo>
                    <a:pt x="1152" y="408"/>
                  </a:lnTo>
                  <a:lnTo>
                    <a:pt x="1146" y="402"/>
                  </a:lnTo>
                  <a:lnTo>
                    <a:pt x="1122" y="396"/>
                  </a:lnTo>
                  <a:lnTo>
                    <a:pt x="1116" y="366"/>
                  </a:lnTo>
                  <a:lnTo>
                    <a:pt x="1116" y="348"/>
                  </a:lnTo>
                  <a:lnTo>
                    <a:pt x="1110" y="342"/>
                  </a:lnTo>
                  <a:lnTo>
                    <a:pt x="1104" y="336"/>
                  </a:lnTo>
                  <a:lnTo>
                    <a:pt x="1092" y="330"/>
                  </a:lnTo>
                  <a:lnTo>
                    <a:pt x="1074" y="330"/>
                  </a:lnTo>
                  <a:lnTo>
                    <a:pt x="1044" y="330"/>
                  </a:lnTo>
                  <a:lnTo>
                    <a:pt x="1014" y="336"/>
                  </a:lnTo>
                  <a:lnTo>
                    <a:pt x="984" y="342"/>
                  </a:lnTo>
                  <a:lnTo>
                    <a:pt x="978" y="330"/>
                  </a:lnTo>
                  <a:lnTo>
                    <a:pt x="966" y="324"/>
                  </a:lnTo>
                  <a:lnTo>
                    <a:pt x="888" y="336"/>
                  </a:lnTo>
                  <a:lnTo>
                    <a:pt x="888" y="330"/>
                  </a:lnTo>
                  <a:lnTo>
                    <a:pt x="870" y="336"/>
                  </a:lnTo>
                  <a:lnTo>
                    <a:pt x="858" y="336"/>
                  </a:lnTo>
                  <a:lnTo>
                    <a:pt x="852" y="354"/>
                  </a:lnTo>
                  <a:lnTo>
                    <a:pt x="852" y="402"/>
                  </a:lnTo>
                  <a:lnTo>
                    <a:pt x="840" y="414"/>
                  </a:lnTo>
                  <a:lnTo>
                    <a:pt x="834" y="420"/>
                  </a:lnTo>
                  <a:lnTo>
                    <a:pt x="834" y="444"/>
                  </a:lnTo>
                  <a:lnTo>
                    <a:pt x="834" y="450"/>
                  </a:lnTo>
                  <a:lnTo>
                    <a:pt x="852" y="456"/>
                  </a:lnTo>
                  <a:lnTo>
                    <a:pt x="864" y="462"/>
                  </a:lnTo>
                  <a:lnTo>
                    <a:pt x="894" y="456"/>
                  </a:lnTo>
                  <a:lnTo>
                    <a:pt x="900" y="468"/>
                  </a:lnTo>
                  <a:lnTo>
                    <a:pt x="918" y="462"/>
                  </a:lnTo>
                  <a:lnTo>
                    <a:pt x="924" y="468"/>
                  </a:lnTo>
                  <a:lnTo>
                    <a:pt x="924" y="47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2" name="Freeform 37">
              <a:extLst>
                <a:ext uri="{FF2B5EF4-FFF2-40B4-BE49-F238E27FC236}">
                  <a16:creationId xmlns:a16="http://schemas.microsoft.com/office/drawing/2014/main" id="{DED8A1FF-B656-4D37-BD26-5B0A7B1A4A6D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441" y="1898343"/>
              <a:ext cx="567992" cy="686605"/>
            </a:xfrm>
            <a:custGeom>
              <a:avLst/>
              <a:gdLst>
                <a:gd name="T0" fmla="*/ 79 w 1068"/>
                <a:gd name="T1" fmla="*/ 72 h 1290"/>
                <a:gd name="T2" fmla="*/ 75 w 1068"/>
                <a:gd name="T3" fmla="*/ 73 h 1290"/>
                <a:gd name="T4" fmla="*/ 72 w 1068"/>
                <a:gd name="T5" fmla="*/ 76 h 1290"/>
                <a:gd name="T6" fmla="*/ 70 w 1068"/>
                <a:gd name="T7" fmla="*/ 78 h 1290"/>
                <a:gd name="T8" fmla="*/ 67 w 1068"/>
                <a:gd name="T9" fmla="*/ 82 h 1290"/>
                <a:gd name="T10" fmla="*/ 61 w 1068"/>
                <a:gd name="T11" fmla="*/ 86 h 1290"/>
                <a:gd name="T12" fmla="*/ 60 w 1068"/>
                <a:gd name="T13" fmla="*/ 93 h 1290"/>
                <a:gd name="T14" fmla="*/ 59 w 1068"/>
                <a:gd name="T15" fmla="*/ 97 h 1290"/>
                <a:gd name="T16" fmla="*/ 61 w 1068"/>
                <a:gd name="T17" fmla="*/ 101 h 1290"/>
                <a:gd name="T18" fmla="*/ 63 w 1068"/>
                <a:gd name="T19" fmla="*/ 104 h 1290"/>
                <a:gd name="T20" fmla="*/ 62 w 1068"/>
                <a:gd name="T21" fmla="*/ 108 h 1290"/>
                <a:gd name="T22" fmla="*/ 60 w 1068"/>
                <a:gd name="T23" fmla="*/ 111 h 1290"/>
                <a:gd name="T24" fmla="*/ 56 w 1068"/>
                <a:gd name="T25" fmla="*/ 111 h 1290"/>
                <a:gd name="T26" fmla="*/ 53 w 1068"/>
                <a:gd name="T27" fmla="*/ 110 h 1290"/>
                <a:gd name="T28" fmla="*/ 50 w 1068"/>
                <a:gd name="T29" fmla="*/ 109 h 1290"/>
                <a:gd name="T30" fmla="*/ 47 w 1068"/>
                <a:gd name="T31" fmla="*/ 110 h 1290"/>
                <a:gd name="T32" fmla="*/ 51 w 1068"/>
                <a:gd name="T33" fmla="*/ 104 h 1290"/>
                <a:gd name="T34" fmla="*/ 50 w 1068"/>
                <a:gd name="T35" fmla="*/ 95 h 1290"/>
                <a:gd name="T36" fmla="*/ 51 w 1068"/>
                <a:gd name="T37" fmla="*/ 90 h 1290"/>
                <a:gd name="T38" fmla="*/ 47 w 1068"/>
                <a:gd name="T39" fmla="*/ 84 h 1290"/>
                <a:gd name="T40" fmla="*/ 42 w 1068"/>
                <a:gd name="T41" fmla="*/ 78 h 1290"/>
                <a:gd name="T42" fmla="*/ 33 w 1068"/>
                <a:gd name="T43" fmla="*/ 73 h 1290"/>
                <a:gd name="T44" fmla="*/ 26 w 1068"/>
                <a:gd name="T45" fmla="*/ 68 h 1290"/>
                <a:gd name="T46" fmla="*/ 22 w 1068"/>
                <a:gd name="T47" fmla="*/ 63 h 1290"/>
                <a:gd name="T48" fmla="*/ 11 w 1068"/>
                <a:gd name="T49" fmla="*/ 67 h 1290"/>
                <a:gd name="T50" fmla="*/ 0 w 1068"/>
                <a:gd name="T51" fmla="*/ 68 h 1290"/>
                <a:gd name="T52" fmla="*/ 2 w 1068"/>
                <a:gd name="T53" fmla="*/ 59 h 1290"/>
                <a:gd name="T54" fmla="*/ 12 w 1068"/>
                <a:gd name="T55" fmla="*/ 55 h 1290"/>
                <a:gd name="T56" fmla="*/ 12 w 1068"/>
                <a:gd name="T57" fmla="*/ 51 h 1290"/>
                <a:gd name="T58" fmla="*/ 10 w 1068"/>
                <a:gd name="T59" fmla="*/ 47 h 1290"/>
                <a:gd name="T60" fmla="*/ 9 w 1068"/>
                <a:gd name="T61" fmla="*/ 42 h 1290"/>
                <a:gd name="T62" fmla="*/ 8 w 1068"/>
                <a:gd name="T63" fmla="*/ 38 h 1290"/>
                <a:gd name="T64" fmla="*/ 8 w 1068"/>
                <a:gd name="T65" fmla="*/ 29 h 1290"/>
                <a:gd name="T66" fmla="*/ 10 w 1068"/>
                <a:gd name="T67" fmla="*/ 18 h 1290"/>
                <a:gd name="T68" fmla="*/ 25 w 1068"/>
                <a:gd name="T69" fmla="*/ 12 h 1290"/>
                <a:gd name="T70" fmla="*/ 27 w 1068"/>
                <a:gd name="T71" fmla="*/ 4 h 1290"/>
                <a:gd name="T72" fmla="*/ 35 w 1068"/>
                <a:gd name="T73" fmla="*/ 6 h 1290"/>
                <a:gd name="T74" fmla="*/ 39 w 1068"/>
                <a:gd name="T75" fmla="*/ 8 h 1290"/>
                <a:gd name="T76" fmla="*/ 41 w 1068"/>
                <a:gd name="T77" fmla="*/ 3 h 1290"/>
                <a:gd name="T78" fmla="*/ 45 w 1068"/>
                <a:gd name="T79" fmla="*/ 0 h 1290"/>
                <a:gd name="T80" fmla="*/ 51 w 1068"/>
                <a:gd name="T81" fmla="*/ 0 h 1290"/>
                <a:gd name="T82" fmla="*/ 56 w 1068"/>
                <a:gd name="T83" fmla="*/ 4 h 1290"/>
                <a:gd name="T84" fmla="*/ 62 w 1068"/>
                <a:gd name="T85" fmla="*/ 12 h 1290"/>
                <a:gd name="T86" fmla="*/ 58 w 1068"/>
                <a:gd name="T87" fmla="*/ 17 h 1290"/>
                <a:gd name="T88" fmla="*/ 60 w 1068"/>
                <a:gd name="T89" fmla="*/ 18 h 1290"/>
                <a:gd name="T90" fmla="*/ 64 w 1068"/>
                <a:gd name="T91" fmla="*/ 16 h 1290"/>
                <a:gd name="T92" fmla="*/ 68 w 1068"/>
                <a:gd name="T93" fmla="*/ 18 h 1290"/>
                <a:gd name="T94" fmla="*/ 71 w 1068"/>
                <a:gd name="T95" fmla="*/ 27 h 1290"/>
                <a:gd name="T96" fmla="*/ 74 w 1068"/>
                <a:gd name="T97" fmla="*/ 30 h 1290"/>
                <a:gd name="T98" fmla="*/ 82 w 1068"/>
                <a:gd name="T99" fmla="*/ 30 h 1290"/>
                <a:gd name="T100" fmla="*/ 87 w 1068"/>
                <a:gd name="T101" fmla="*/ 35 h 1290"/>
                <a:gd name="T102" fmla="*/ 85 w 1068"/>
                <a:gd name="T103" fmla="*/ 42 h 1290"/>
                <a:gd name="T104" fmla="*/ 81 w 1068"/>
                <a:gd name="T105" fmla="*/ 46 h 1290"/>
                <a:gd name="T106" fmla="*/ 86 w 1068"/>
                <a:gd name="T107" fmla="*/ 50 h 1290"/>
                <a:gd name="T108" fmla="*/ 89 w 1068"/>
                <a:gd name="T109" fmla="*/ 58 h 1290"/>
                <a:gd name="T110" fmla="*/ 92 w 1068"/>
                <a:gd name="T111" fmla="*/ 61 h 1290"/>
                <a:gd name="T112" fmla="*/ 86 w 1068"/>
                <a:gd name="T113" fmla="*/ 66 h 1290"/>
                <a:gd name="T114" fmla="*/ 85 w 1068"/>
                <a:gd name="T115" fmla="*/ 70 h 129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68"/>
                <a:gd name="T175" fmla="*/ 0 h 1290"/>
                <a:gd name="T176" fmla="*/ 1068 w 1068"/>
                <a:gd name="T177" fmla="*/ 1290 h 129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68" h="1290">
                  <a:moveTo>
                    <a:pt x="978" y="804"/>
                  </a:moveTo>
                  <a:lnTo>
                    <a:pt x="972" y="810"/>
                  </a:lnTo>
                  <a:lnTo>
                    <a:pt x="966" y="810"/>
                  </a:lnTo>
                  <a:lnTo>
                    <a:pt x="966" y="816"/>
                  </a:lnTo>
                  <a:lnTo>
                    <a:pt x="936" y="828"/>
                  </a:lnTo>
                  <a:lnTo>
                    <a:pt x="924" y="822"/>
                  </a:lnTo>
                  <a:lnTo>
                    <a:pt x="912" y="822"/>
                  </a:lnTo>
                  <a:lnTo>
                    <a:pt x="906" y="828"/>
                  </a:lnTo>
                  <a:lnTo>
                    <a:pt x="900" y="828"/>
                  </a:lnTo>
                  <a:lnTo>
                    <a:pt x="900" y="822"/>
                  </a:lnTo>
                  <a:lnTo>
                    <a:pt x="894" y="822"/>
                  </a:lnTo>
                  <a:lnTo>
                    <a:pt x="888" y="828"/>
                  </a:lnTo>
                  <a:lnTo>
                    <a:pt x="882" y="834"/>
                  </a:lnTo>
                  <a:lnTo>
                    <a:pt x="876" y="834"/>
                  </a:lnTo>
                  <a:lnTo>
                    <a:pt x="870" y="840"/>
                  </a:lnTo>
                  <a:lnTo>
                    <a:pt x="864" y="840"/>
                  </a:lnTo>
                  <a:lnTo>
                    <a:pt x="864" y="846"/>
                  </a:lnTo>
                  <a:lnTo>
                    <a:pt x="858" y="846"/>
                  </a:lnTo>
                  <a:lnTo>
                    <a:pt x="852" y="846"/>
                  </a:lnTo>
                  <a:lnTo>
                    <a:pt x="852" y="858"/>
                  </a:lnTo>
                  <a:lnTo>
                    <a:pt x="846" y="864"/>
                  </a:lnTo>
                  <a:lnTo>
                    <a:pt x="840" y="870"/>
                  </a:lnTo>
                  <a:lnTo>
                    <a:pt x="834" y="870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34" y="876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10" y="894"/>
                  </a:lnTo>
                  <a:lnTo>
                    <a:pt x="810" y="900"/>
                  </a:lnTo>
                  <a:lnTo>
                    <a:pt x="804" y="900"/>
                  </a:lnTo>
                  <a:lnTo>
                    <a:pt x="798" y="900"/>
                  </a:lnTo>
                  <a:lnTo>
                    <a:pt x="798" y="906"/>
                  </a:lnTo>
                  <a:lnTo>
                    <a:pt x="792" y="906"/>
                  </a:lnTo>
                  <a:lnTo>
                    <a:pt x="792" y="912"/>
                  </a:lnTo>
                  <a:lnTo>
                    <a:pt x="792" y="924"/>
                  </a:lnTo>
                  <a:lnTo>
                    <a:pt x="786" y="930"/>
                  </a:lnTo>
                  <a:lnTo>
                    <a:pt x="774" y="942"/>
                  </a:lnTo>
                  <a:lnTo>
                    <a:pt x="774" y="948"/>
                  </a:lnTo>
                  <a:lnTo>
                    <a:pt x="768" y="954"/>
                  </a:lnTo>
                  <a:lnTo>
                    <a:pt x="762" y="954"/>
                  </a:lnTo>
                  <a:lnTo>
                    <a:pt x="750" y="972"/>
                  </a:lnTo>
                  <a:lnTo>
                    <a:pt x="720" y="978"/>
                  </a:lnTo>
                  <a:lnTo>
                    <a:pt x="714" y="978"/>
                  </a:lnTo>
                  <a:lnTo>
                    <a:pt x="708" y="978"/>
                  </a:lnTo>
                  <a:lnTo>
                    <a:pt x="702" y="990"/>
                  </a:lnTo>
                  <a:lnTo>
                    <a:pt x="696" y="990"/>
                  </a:lnTo>
                  <a:lnTo>
                    <a:pt x="696" y="1008"/>
                  </a:lnTo>
                  <a:lnTo>
                    <a:pt x="690" y="1008"/>
                  </a:lnTo>
                  <a:lnTo>
                    <a:pt x="690" y="1014"/>
                  </a:lnTo>
                  <a:lnTo>
                    <a:pt x="684" y="1032"/>
                  </a:lnTo>
                  <a:lnTo>
                    <a:pt x="690" y="1050"/>
                  </a:lnTo>
                  <a:lnTo>
                    <a:pt x="690" y="1062"/>
                  </a:lnTo>
                  <a:lnTo>
                    <a:pt x="690" y="1068"/>
                  </a:lnTo>
                  <a:lnTo>
                    <a:pt x="690" y="1074"/>
                  </a:lnTo>
                  <a:lnTo>
                    <a:pt x="684" y="1074"/>
                  </a:lnTo>
                  <a:lnTo>
                    <a:pt x="684" y="1080"/>
                  </a:lnTo>
                  <a:lnTo>
                    <a:pt x="678" y="1086"/>
                  </a:lnTo>
                  <a:lnTo>
                    <a:pt x="678" y="1104"/>
                  </a:lnTo>
                  <a:lnTo>
                    <a:pt x="678" y="1110"/>
                  </a:lnTo>
                  <a:lnTo>
                    <a:pt x="678" y="1116"/>
                  </a:lnTo>
                  <a:lnTo>
                    <a:pt x="684" y="1116"/>
                  </a:lnTo>
                  <a:lnTo>
                    <a:pt x="678" y="1128"/>
                  </a:lnTo>
                  <a:lnTo>
                    <a:pt x="684" y="1128"/>
                  </a:lnTo>
                  <a:lnTo>
                    <a:pt x="690" y="1134"/>
                  </a:lnTo>
                  <a:lnTo>
                    <a:pt x="690" y="1140"/>
                  </a:lnTo>
                  <a:lnTo>
                    <a:pt x="696" y="1140"/>
                  </a:lnTo>
                  <a:lnTo>
                    <a:pt x="696" y="1146"/>
                  </a:lnTo>
                  <a:lnTo>
                    <a:pt x="696" y="1152"/>
                  </a:lnTo>
                  <a:lnTo>
                    <a:pt x="702" y="1152"/>
                  </a:lnTo>
                  <a:lnTo>
                    <a:pt x="708" y="1152"/>
                  </a:lnTo>
                  <a:lnTo>
                    <a:pt x="714" y="1158"/>
                  </a:lnTo>
                  <a:lnTo>
                    <a:pt x="714" y="1164"/>
                  </a:lnTo>
                  <a:lnTo>
                    <a:pt x="720" y="1170"/>
                  </a:lnTo>
                  <a:lnTo>
                    <a:pt x="720" y="1176"/>
                  </a:lnTo>
                  <a:lnTo>
                    <a:pt x="720" y="1182"/>
                  </a:lnTo>
                  <a:lnTo>
                    <a:pt x="726" y="1188"/>
                  </a:lnTo>
                  <a:lnTo>
                    <a:pt x="726" y="1194"/>
                  </a:lnTo>
                  <a:lnTo>
                    <a:pt x="732" y="1194"/>
                  </a:lnTo>
                  <a:lnTo>
                    <a:pt x="732" y="1200"/>
                  </a:lnTo>
                  <a:lnTo>
                    <a:pt x="738" y="1212"/>
                  </a:lnTo>
                  <a:lnTo>
                    <a:pt x="732" y="1218"/>
                  </a:lnTo>
                  <a:lnTo>
                    <a:pt x="732" y="1224"/>
                  </a:lnTo>
                  <a:lnTo>
                    <a:pt x="726" y="1230"/>
                  </a:lnTo>
                  <a:lnTo>
                    <a:pt x="720" y="1230"/>
                  </a:lnTo>
                  <a:lnTo>
                    <a:pt x="720" y="1236"/>
                  </a:lnTo>
                  <a:lnTo>
                    <a:pt x="720" y="1242"/>
                  </a:lnTo>
                  <a:lnTo>
                    <a:pt x="720" y="1248"/>
                  </a:lnTo>
                  <a:lnTo>
                    <a:pt x="714" y="1248"/>
                  </a:lnTo>
                  <a:lnTo>
                    <a:pt x="714" y="1254"/>
                  </a:lnTo>
                  <a:lnTo>
                    <a:pt x="708" y="1260"/>
                  </a:lnTo>
                  <a:lnTo>
                    <a:pt x="702" y="1272"/>
                  </a:lnTo>
                  <a:lnTo>
                    <a:pt x="696" y="1272"/>
                  </a:lnTo>
                  <a:lnTo>
                    <a:pt x="696" y="1278"/>
                  </a:lnTo>
                  <a:lnTo>
                    <a:pt x="690" y="1284"/>
                  </a:lnTo>
                  <a:lnTo>
                    <a:pt x="690" y="1290"/>
                  </a:lnTo>
                  <a:lnTo>
                    <a:pt x="684" y="1290"/>
                  </a:lnTo>
                  <a:lnTo>
                    <a:pt x="660" y="1284"/>
                  </a:lnTo>
                  <a:lnTo>
                    <a:pt x="660" y="1278"/>
                  </a:lnTo>
                  <a:lnTo>
                    <a:pt x="654" y="1272"/>
                  </a:lnTo>
                  <a:lnTo>
                    <a:pt x="648" y="1272"/>
                  </a:lnTo>
                  <a:lnTo>
                    <a:pt x="642" y="1272"/>
                  </a:lnTo>
                  <a:lnTo>
                    <a:pt x="642" y="1266"/>
                  </a:lnTo>
                  <a:lnTo>
                    <a:pt x="636" y="1266"/>
                  </a:lnTo>
                  <a:lnTo>
                    <a:pt x="630" y="1266"/>
                  </a:lnTo>
                  <a:lnTo>
                    <a:pt x="624" y="1266"/>
                  </a:lnTo>
                  <a:lnTo>
                    <a:pt x="624" y="1260"/>
                  </a:lnTo>
                  <a:lnTo>
                    <a:pt x="618" y="1260"/>
                  </a:lnTo>
                  <a:lnTo>
                    <a:pt x="612" y="1260"/>
                  </a:lnTo>
                  <a:lnTo>
                    <a:pt x="606" y="1260"/>
                  </a:lnTo>
                  <a:lnTo>
                    <a:pt x="600" y="1260"/>
                  </a:lnTo>
                  <a:lnTo>
                    <a:pt x="600" y="1254"/>
                  </a:lnTo>
                  <a:lnTo>
                    <a:pt x="594" y="1254"/>
                  </a:lnTo>
                  <a:lnTo>
                    <a:pt x="588" y="1248"/>
                  </a:lnTo>
                  <a:lnTo>
                    <a:pt x="588" y="1254"/>
                  </a:lnTo>
                  <a:lnTo>
                    <a:pt x="582" y="1254"/>
                  </a:lnTo>
                  <a:lnTo>
                    <a:pt x="582" y="1248"/>
                  </a:lnTo>
                  <a:lnTo>
                    <a:pt x="576" y="1248"/>
                  </a:lnTo>
                  <a:lnTo>
                    <a:pt x="576" y="1254"/>
                  </a:lnTo>
                  <a:lnTo>
                    <a:pt x="570" y="1248"/>
                  </a:lnTo>
                  <a:lnTo>
                    <a:pt x="564" y="1248"/>
                  </a:lnTo>
                  <a:lnTo>
                    <a:pt x="564" y="1254"/>
                  </a:lnTo>
                  <a:lnTo>
                    <a:pt x="558" y="1254"/>
                  </a:lnTo>
                  <a:lnTo>
                    <a:pt x="552" y="1254"/>
                  </a:lnTo>
                  <a:lnTo>
                    <a:pt x="552" y="1260"/>
                  </a:lnTo>
                  <a:lnTo>
                    <a:pt x="546" y="1260"/>
                  </a:lnTo>
                  <a:lnTo>
                    <a:pt x="540" y="1260"/>
                  </a:lnTo>
                  <a:lnTo>
                    <a:pt x="540" y="1254"/>
                  </a:lnTo>
                  <a:lnTo>
                    <a:pt x="534" y="1254"/>
                  </a:lnTo>
                  <a:lnTo>
                    <a:pt x="528" y="1224"/>
                  </a:lnTo>
                  <a:lnTo>
                    <a:pt x="534" y="1212"/>
                  </a:lnTo>
                  <a:lnTo>
                    <a:pt x="546" y="1206"/>
                  </a:lnTo>
                  <a:lnTo>
                    <a:pt x="582" y="1206"/>
                  </a:lnTo>
                  <a:lnTo>
                    <a:pt x="588" y="1188"/>
                  </a:lnTo>
                  <a:lnTo>
                    <a:pt x="582" y="1188"/>
                  </a:lnTo>
                  <a:lnTo>
                    <a:pt x="582" y="1182"/>
                  </a:lnTo>
                  <a:lnTo>
                    <a:pt x="576" y="1176"/>
                  </a:lnTo>
                  <a:lnTo>
                    <a:pt x="558" y="1128"/>
                  </a:lnTo>
                  <a:lnTo>
                    <a:pt x="558" y="1122"/>
                  </a:lnTo>
                  <a:lnTo>
                    <a:pt x="576" y="1098"/>
                  </a:lnTo>
                  <a:lnTo>
                    <a:pt x="576" y="1092"/>
                  </a:lnTo>
                  <a:lnTo>
                    <a:pt x="582" y="1092"/>
                  </a:lnTo>
                  <a:lnTo>
                    <a:pt x="582" y="1086"/>
                  </a:lnTo>
                  <a:lnTo>
                    <a:pt x="582" y="1080"/>
                  </a:lnTo>
                  <a:lnTo>
                    <a:pt x="582" y="1074"/>
                  </a:lnTo>
                  <a:lnTo>
                    <a:pt x="588" y="1074"/>
                  </a:lnTo>
                  <a:lnTo>
                    <a:pt x="588" y="1062"/>
                  </a:lnTo>
                  <a:lnTo>
                    <a:pt x="588" y="1056"/>
                  </a:lnTo>
                  <a:lnTo>
                    <a:pt x="588" y="1044"/>
                  </a:lnTo>
                  <a:lnTo>
                    <a:pt x="588" y="1038"/>
                  </a:lnTo>
                  <a:lnTo>
                    <a:pt x="588" y="1032"/>
                  </a:lnTo>
                  <a:lnTo>
                    <a:pt x="582" y="1026"/>
                  </a:lnTo>
                  <a:lnTo>
                    <a:pt x="582" y="1020"/>
                  </a:lnTo>
                  <a:lnTo>
                    <a:pt x="582" y="1008"/>
                  </a:lnTo>
                  <a:lnTo>
                    <a:pt x="576" y="990"/>
                  </a:lnTo>
                  <a:lnTo>
                    <a:pt x="570" y="972"/>
                  </a:lnTo>
                  <a:lnTo>
                    <a:pt x="552" y="972"/>
                  </a:lnTo>
                  <a:lnTo>
                    <a:pt x="540" y="960"/>
                  </a:lnTo>
                  <a:lnTo>
                    <a:pt x="534" y="954"/>
                  </a:lnTo>
                  <a:lnTo>
                    <a:pt x="534" y="948"/>
                  </a:lnTo>
                  <a:lnTo>
                    <a:pt x="516" y="948"/>
                  </a:lnTo>
                  <a:lnTo>
                    <a:pt x="522" y="936"/>
                  </a:lnTo>
                  <a:lnTo>
                    <a:pt x="522" y="930"/>
                  </a:lnTo>
                  <a:lnTo>
                    <a:pt x="504" y="918"/>
                  </a:lnTo>
                  <a:lnTo>
                    <a:pt x="492" y="906"/>
                  </a:lnTo>
                  <a:lnTo>
                    <a:pt x="486" y="894"/>
                  </a:lnTo>
                  <a:lnTo>
                    <a:pt x="468" y="876"/>
                  </a:lnTo>
                  <a:lnTo>
                    <a:pt x="450" y="876"/>
                  </a:lnTo>
                  <a:lnTo>
                    <a:pt x="414" y="882"/>
                  </a:lnTo>
                  <a:lnTo>
                    <a:pt x="402" y="870"/>
                  </a:lnTo>
                  <a:lnTo>
                    <a:pt x="390" y="864"/>
                  </a:lnTo>
                  <a:lnTo>
                    <a:pt x="384" y="852"/>
                  </a:lnTo>
                  <a:lnTo>
                    <a:pt x="378" y="840"/>
                  </a:lnTo>
                  <a:lnTo>
                    <a:pt x="378" y="834"/>
                  </a:lnTo>
                  <a:lnTo>
                    <a:pt x="360" y="822"/>
                  </a:lnTo>
                  <a:lnTo>
                    <a:pt x="342" y="828"/>
                  </a:lnTo>
                  <a:lnTo>
                    <a:pt x="324" y="816"/>
                  </a:lnTo>
                  <a:lnTo>
                    <a:pt x="318" y="816"/>
                  </a:lnTo>
                  <a:lnTo>
                    <a:pt x="306" y="810"/>
                  </a:lnTo>
                  <a:lnTo>
                    <a:pt x="306" y="804"/>
                  </a:lnTo>
                  <a:lnTo>
                    <a:pt x="300" y="804"/>
                  </a:lnTo>
                  <a:lnTo>
                    <a:pt x="300" y="780"/>
                  </a:lnTo>
                  <a:lnTo>
                    <a:pt x="300" y="774"/>
                  </a:lnTo>
                  <a:lnTo>
                    <a:pt x="306" y="774"/>
                  </a:lnTo>
                  <a:lnTo>
                    <a:pt x="312" y="756"/>
                  </a:lnTo>
                  <a:lnTo>
                    <a:pt x="312" y="732"/>
                  </a:lnTo>
                  <a:lnTo>
                    <a:pt x="300" y="720"/>
                  </a:lnTo>
                  <a:lnTo>
                    <a:pt x="288" y="702"/>
                  </a:lnTo>
                  <a:lnTo>
                    <a:pt x="276" y="702"/>
                  </a:lnTo>
                  <a:lnTo>
                    <a:pt x="258" y="714"/>
                  </a:lnTo>
                  <a:lnTo>
                    <a:pt x="246" y="726"/>
                  </a:lnTo>
                  <a:lnTo>
                    <a:pt x="222" y="726"/>
                  </a:lnTo>
                  <a:lnTo>
                    <a:pt x="192" y="726"/>
                  </a:lnTo>
                  <a:lnTo>
                    <a:pt x="174" y="738"/>
                  </a:lnTo>
                  <a:lnTo>
                    <a:pt x="162" y="750"/>
                  </a:lnTo>
                  <a:lnTo>
                    <a:pt x="144" y="762"/>
                  </a:lnTo>
                  <a:lnTo>
                    <a:pt x="138" y="768"/>
                  </a:lnTo>
                  <a:lnTo>
                    <a:pt x="126" y="774"/>
                  </a:lnTo>
                  <a:lnTo>
                    <a:pt x="114" y="780"/>
                  </a:lnTo>
                  <a:lnTo>
                    <a:pt x="108" y="786"/>
                  </a:lnTo>
                  <a:lnTo>
                    <a:pt x="102" y="786"/>
                  </a:lnTo>
                  <a:lnTo>
                    <a:pt x="54" y="786"/>
                  </a:lnTo>
                  <a:lnTo>
                    <a:pt x="48" y="792"/>
                  </a:lnTo>
                  <a:lnTo>
                    <a:pt x="36" y="798"/>
                  </a:lnTo>
                  <a:lnTo>
                    <a:pt x="18" y="792"/>
                  </a:lnTo>
                  <a:lnTo>
                    <a:pt x="6" y="780"/>
                  </a:lnTo>
                  <a:lnTo>
                    <a:pt x="6" y="768"/>
                  </a:lnTo>
                  <a:lnTo>
                    <a:pt x="0" y="756"/>
                  </a:lnTo>
                  <a:lnTo>
                    <a:pt x="0" y="738"/>
                  </a:lnTo>
                  <a:lnTo>
                    <a:pt x="6" y="702"/>
                  </a:lnTo>
                  <a:lnTo>
                    <a:pt x="24" y="702"/>
                  </a:lnTo>
                  <a:lnTo>
                    <a:pt x="24" y="696"/>
                  </a:lnTo>
                  <a:lnTo>
                    <a:pt x="24" y="690"/>
                  </a:lnTo>
                  <a:lnTo>
                    <a:pt x="24" y="678"/>
                  </a:lnTo>
                  <a:lnTo>
                    <a:pt x="24" y="672"/>
                  </a:lnTo>
                  <a:lnTo>
                    <a:pt x="30" y="672"/>
                  </a:lnTo>
                  <a:lnTo>
                    <a:pt x="30" y="666"/>
                  </a:lnTo>
                  <a:lnTo>
                    <a:pt x="36" y="660"/>
                  </a:lnTo>
                  <a:lnTo>
                    <a:pt x="84" y="648"/>
                  </a:lnTo>
                  <a:lnTo>
                    <a:pt x="126" y="642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32" y="618"/>
                  </a:lnTo>
                  <a:lnTo>
                    <a:pt x="138" y="612"/>
                  </a:lnTo>
                  <a:lnTo>
                    <a:pt x="138" y="606"/>
                  </a:lnTo>
                  <a:lnTo>
                    <a:pt x="138" y="600"/>
                  </a:lnTo>
                  <a:lnTo>
                    <a:pt x="132" y="600"/>
                  </a:lnTo>
                  <a:lnTo>
                    <a:pt x="132" y="594"/>
                  </a:lnTo>
                  <a:lnTo>
                    <a:pt x="132" y="588"/>
                  </a:lnTo>
                  <a:lnTo>
                    <a:pt x="132" y="582"/>
                  </a:lnTo>
                  <a:lnTo>
                    <a:pt x="132" y="576"/>
                  </a:lnTo>
                  <a:lnTo>
                    <a:pt x="126" y="570"/>
                  </a:lnTo>
                  <a:lnTo>
                    <a:pt x="120" y="564"/>
                  </a:lnTo>
                  <a:lnTo>
                    <a:pt x="120" y="558"/>
                  </a:lnTo>
                  <a:lnTo>
                    <a:pt x="120" y="552"/>
                  </a:lnTo>
                  <a:lnTo>
                    <a:pt x="114" y="552"/>
                  </a:lnTo>
                  <a:lnTo>
                    <a:pt x="114" y="546"/>
                  </a:lnTo>
                  <a:lnTo>
                    <a:pt x="114" y="540"/>
                  </a:lnTo>
                  <a:lnTo>
                    <a:pt x="108" y="534"/>
                  </a:lnTo>
                  <a:lnTo>
                    <a:pt x="108" y="528"/>
                  </a:lnTo>
                  <a:lnTo>
                    <a:pt x="114" y="522"/>
                  </a:lnTo>
                  <a:lnTo>
                    <a:pt x="108" y="516"/>
                  </a:lnTo>
                  <a:lnTo>
                    <a:pt x="108" y="498"/>
                  </a:lnTo>
                  <a:lnTo>
                    <a:pt x="108" y="492"/>
                  </a:lnTo>
                  <a:lnTo>
                    <a:pt x="108" y="486"/>
                  </a:lnTo>
                  <a:lnTo>
                    <a:pt x="108" y="480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08" y="462"/>
                  </a:lnTo>
                  <a:lnTo>
                    <a:pt x="102" y="456"/>
                  </a:lnTo>
                  <a:lnTo>
                    <a:pt x="102" y="444"/>
                  </a:lnTo>
                  <a:lnTo>
                    <a:pt x="96" y="444"/>
                  </a:lnTo>
                  <a:lnTo>
                    <a:pt x="90" y="432"/>
                  </a:lnTo>
                  <a:lnTo>
                    <a:pt x="96" y="432"/>
                  </a:lnTo>
                  <a:lnTo>
                    <a:pt x="96" y="408"/>
                  </a:lnTo>
                  <a:lnTo>
                    <a:pt x="96" y="396"/>
                  </a:lnTo>
                  <a:lnTo>
                    <a:pt x="96" y="360"/>
                  </a:lnTo>
                  <a:lnTo>
                    <a:pt x="96" y="354"/>
                  </a:lnTo>
                  <a:lnTo>
                    <a:pt x="102" y="354"/>
                  </a:lnTo>
                  <a:lnTo>
                    <a:pt x="102" y="348"/>
                  </a:lnTo>
                  <a:lnTo>
                    <a:pt x="96" y="330"/>
                  </a:lnTo>
                  <a:lnTo>
                    <a:pt x="90" y="306"/>
                  </a:lnTo>
                  <a:lnTo>
                    <a:pt x="84" y="288"/>
                  </a:lnTo>
                  <a:lnTo>
                    <a:pt x="84" y="264"/>
                  </a:lnTo>
                  <a:lnTo>
                    <a:pt x="90" y="240"/>
                  </a:lnTo>
                  <a:lnTo>
                    <a:pt x="96" y="222"/>
                  </a:lnTo>
                  <a:lnTo>
                    <a:pt x="102" y="222"/>
                  </a:lnTo>
                  <a:lnTo>
                    <a:pt x="108" y="210"/>
                  </a:lnTo>
                  <a:lnTo>
                    <a:pt x="114" y="210"/>
                  </a:lnTo>
                  <a:lnTo>
                    <a:pt x="126" y="198"/>
                  </a:lnTo>
                  <a:lnTo>
                    <a:pt x="156" y="192"/>
                  </a:lnTo>
                  <a:lnTo>
                    <a:pt x="174" y="186"/>
                  </a:lnTo>
                  <a:lnTo>
                    <a:pt x="204" y="174"/>
                  </a:lnTo>
                  <a:lnTo>
                    <a:pt x="222" y="168"/>
                  </a:lnTo>
                  <a:lnTo>
                    <a:pt x="234" y="162"/>
                  </a:lnTo>
                  <a:lnTo>
                    <a:pt x="246" y="156"/>
                  </a:lnTo>
                  <a:lnTo>
                    <a:pt x="288" y="144"/>
                  </a:lnTo>
                  <a:lnTo>
                    <a:pt x="288" y="132"/>
                  </a:lnTo>
                  <a:lnTo>
                    <a:pt x="294" y="120"/>
                  </a:lnTo>
                  <a:lnTo>
                    <a:pt x="300" y="108"/>
                  </a:lnTo>
                  <a:lnTo>
                    <a:pt x="306" y="90"/>
                  </a:lnTo>
                  <a:lnTo>
                    <a:pt x="312" y="78"/>
                  </a:lnTo>
                  <a:lnTo>
                    <a:pt x="324" y="78"/>
                  </a:lnTo>
                  <a:lnTo>
                    <a:pt x="324" y="54"/>
                  </a:lnTo>
                  <a:lnTo>
                    <a:pt x="318" y="48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60" y="6"/>
                  </a:lnTo>
                  <a:lnTo>
                    <a:pt x="384" y="0"/>
                  </a:lnTo>
                  <a:lnTo>
                    <a:pt x="390" y="6"/>
                  </a:lnTo>
                  <a:lnTo>
                    <a:pt x="390" y="18"/>
                  </a:lnTo>
                  <a:lnTo>
                    <a:pt x="390" y="54"/>
                  </a:lnTo>
                  <a:lnTo>
                    <a:pt x="396" y="66"/>
                  </a:lnTo>
                  <a:lnTo>
                    <a:pt x="414" y="84"/>
                  </a:lnTo>
                  <a:lnTo>
                    <a:pt x="426" y="90"/>
                  </a:lnTo>
                  <a:lnTo>
                    <a:pt x="432" y="96"/>
                  </a:lnTo>
                  <a:lnTo>
                    <a:pt x="426" y="102"/>
                  </a:lnTo>
                  <a:lnTo>
                    <a:pt x="438" y="102"/>
                  </a:lnTo>
                  <a:lnTo>
                    <a:pt x="444" y="108"/>
                  </a:lnTo>
                  <a:lnTo>
                    <a:pt x="444" y="102"/>
                  </a:lnTo>
                  <a:lnTo>
                    <a:pt x="450" y="90"/>
                  </a:lnTo>
                  <a:lnTo>
                    <a:pt x="450" y="84"/>
                  </a:lnTo>
                  <a:lnTo>
                    <a:pt x="450" y="78"/>
                  </a:lnTo>
                  <a:lnTo>
                    <a:pt x="456" y="72"/>
                  </a:lnTo>
                  <a:lnTo>
                    <a:pt x="462" y="66"/>
                  </a:lnTo>
                  <a:lnTo>
                    <a:pt x="462" y="60"/>
                  </a:lnTo>
                  <a:lnTo>
                    <a:pt x="462" y="54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74" y="24"/>
                  </a:lnTo>
                  <a:lnTo>
                    <a:pt x="480" y="18"/>
                  </a:lnTo>
                  <a:lnTo>
                    <a:pt x="486" y="12"/>
                  </a:lnTo>
                  <a:lnTo>
                    <a:pt x="492" y="12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2" y="6"/>
                  </a:lnTo>
                  <a:lnTo>
                    <a:pt x="534" y="6"/>
                  </a:lnTo>
                  <a:lnTo>
                    <a:pt x="540" y="6"/>
                  </a:lnTo>
                  <a:lnTo>
                    <a:pt x="546" y="6"/>
                  </a:lnTo>
                  <a:lnTo>
                    <a:pt x="564" y="0"/>
                  </a:lnTo>
                  <a:lnTo>
                    <a:pt x="570" y="0"/>
                  </a:lnTo>
                  <a:lnTo>
                    <a:pt x="576" y="6"/>
                  </a:lnTo>
                  <a:lnTo>
                    <a:pt x="582" y="6"/>
                  </a:lnTo>
                  <a:lnTo>
                    <a:pt x="594" y="6"/>
                  </a:lnTo>
                  <a:lnTo>
                    <a:pt x="600" y="6"/>
                  </a:lnTo>
                  <a:lnTo>
                    <a:pt x="606" y="6"/>
                  </a:lnTo>
                  <a:lnTo>
                    <a:pt x="624" y="0"/>
                  </a:lnTo>
                  <a:lnTo>
                    <a:pt x="636" y="0"/>
                  </a:lnTo>
                  <a:lnTo>
                    <a:pt x="636" y="6"/>
                  </a:lnTo>
                  <a:lnTo>
                    <a:pt x="654" y="18"/>
                  </a:lnTo>
                  <a:lnTo>
                    <a:pt x="654" y="30"/>
                  </a:lnTo>
                  <a:lnTo>
                    <a:pt x="642" y="42"/>
                  </a:lnTo>
                  <a:lnTo>
                    <a:pt x="630" y="66"/>
                  </a:lnTo>
                  <a:lnTo>
                    <a:pt x="636" y="84"/>
                  </a:lnTo>
                  <a:lnTo>
                    <a:pt x="636" y="96"/>
                  </a:lnTo>
                  <a:lnTo>
                    <a:pt x="648" y="102"/>
                  </a:lnTo>
                  <a:lnTo>
                    <a:pt x="672" y="114"/>
                  </a:lnTo>
                  <a:lnTo>
                    <a:pt x="702" y="120"/>
                  </a:lnTo>
                  <a:lnTo>
                    <a:pt x="714" y="126"/>
                  </a:lnTo>
                  <a:lnTo>
                    <a:pt x="720" y="144"/>
                  </a:lnTo>
                  <a:lnTo>
                    <a:pt x="720" y="156"/>
                  </a:lnTo>
                  <a:lnTo>
                    <a:pt x="708" y="156"/>
                  </a:lnTo>
                  <a:lnTo>
                    <a:pt x="702" y="162"/>
                  </a:lnTo>
                  <a:lnTo>
                    <a:pt x="702" y="174"/>
                  </a:lnTo>
                  <a:lnTo>
                    <a:pt x="696" y="174"/>
                  </a:lnTo>
                  <a:lnTo>
                    <a:pt x="690" y="180"/>
                  </a:lnTo>
                  <a:lnTo>
                    <a:pt x="678" y="186"/>
                  </a:lnTo>
                  <a:lnTo>
                    <a:pt x="672" y="192"/>
                  </a:lnTo>
                  <a:lnTo>
                    <a:pt x="654" y="210"/>
                  </a:lnTo>
                  <a:lnTo>
                    <a:pt x="654" y="216"/>
                  </a:lnTo>
                  <a:lnTo>
                    <a:pt x="648" y="246"/>
                  </a:lnTo>
                  <a:lnTo>
                    <a:pt x="660" y="246"/>
                  </a:lnTo>
                  <a:lnTo>
                    <a:pt x="666" y="234"/>
                  </a:lnTo>
                  <a:lnTo>
                    <a:pt x="678" y="240"/>
                  </a:lnTo>
                  <a:lnTo>
                    <a:pt x="684" y="228"/>
                  </a:lnTo>
                  <a:lnTo>
                    <a:pt x="690" y="210"/>
                  </a:lnTo>
                  <a:lnTo>
                    <a:pt x="696" y="204"/>
                  </a:lnTo>
                  <a:lnTo>
                    <a:pt x="702" y="204"/>
                  </a:lnTo>
                  <a:lnTo>
                    <a:pt x="708" y="192"/>
                  </a:lnTo>
                  <a:lnTo>
                    <a:pt x="714" y="192"/>
                  </a:lnTo>
                  <a:lnTo>
                    <a:pt x="714" y="186"/>
                  </a:lnTo>
                  <a:lnTo>
                    <a:pt x="726" y="186"/>
                  </a:lnTo>
                  <a:lnTo>
                    <a:pt x="732" y="186"/>
                  </a:lnTo>
                  <a:lnTo>
                    <a:pt x="738" y="186"/>
                  </a:lnTo>
                  <a:lnTo>
                    <a:pt x="744" y="216"/>
                  </a:lnTo>
                  <a:lnTo>
                    <a:pt x="750" y="210"/>
                  </a:lnTo>
                  <a:lnTo>
                    <a:pt x="750" y="204"/>
                  </a:lnTo>
                  <a:lnTo>
                    <a:pt x="756" y="192"/>
                  </a:lnTo>
                  <a:lnTo>
                    <a:pt x="762" y="192"/>
                  </a:lnTo>
                  <a:lnTo>
                    <a:pt x="768" y="192"/>
                  </a:lnTo>
                  <a:lnTo>
                    <a:pt x="780" y="186"/>
                  </a:lnTo>
                  <a:lnTo>
                    <a:pt x="786" y="204"/>
                  </a:lnTo>
                  <a:lnTo>
                    <a:pt x="774" y="210"/>
                  </a:lnTo>
                  <a:lnTo>
                    <a:pt x="774" y="234"/>
                  </a:lnTo>
                  <a:lnTo>
                    <a:pt x="780" y="246"/>
                  </a:lnTo>
                  <a:lnTo>
                    <a:pt x="804" y="264"/>
                  </a:lnTo>
                  <a:lnTo>
                    <a:pt x="816" y="276"/>
                  </a:lnTo>
                  <a:lnTo>
                    <a:pt x="822" y="288"/>
                  </a:lnTo>
                  <a:lnTo>
                    <a:pt x="822" y="312"/>
                  </a:lnTo>
                  <a:lnTo>
                    <a:pt x="816" y="312"/>
                  </a:lnTo>
                  <a:lnTo>
                    <a:pt x="810" y="318"/>
                  </a:lnTo>
                  <a:lnTo>
                    <a:pt x="810" y="348"/>
                  </a:lnTo>
                  <a:lnTo>
                    <a:pt x="816" y="348"/>
                  </a:lnTo>
                  <a:lnTo>
                    <a:pt x="816" y="342"/>
                  </a:lnTo>
                  <a:lnTo>
                    <a:pt x="834" y="342"/>
                  </a:lnTo>
                  <a:lnTo>
                    <a:pt x="834" y="348"/>
                  </a:lnTo>
                  <a:lnTo>
                    <a:pt x="846" y="348"/>
                  </a:lnTo>
                  <a:lnTo>
                    <a:pt x="846" y="342"/>
                  </a:lnTo>
                  <a:lnTo>
                    <a:pt x="882" y="342"/>
                  </a:lnTo>
                  <a:lnTo>
                    <a:pt x="894" y="366"/>
                  </a:lnTo>
                  <a:lnTo>
                    <a:pt x="900" y="372"/>
                  </a:lnTo>
                  <a:lnTo>
                    <a:pt x="906" y="384"/>
                  </a:lnTo>
                  <a:lnTo>
                    <a:pt x="924" y="384"/>
                  </a:lnTo>
                  <a:lnTo>
                    <a:pt x="930" y="372"/>
                  </a:lnTo>
                  <a:lnTo>
                    <a:pt x="936" y="372"/>
                  </a:lnTo>
                  <a:lnTo>
                    <a:pt x="942" y="348"/>
                  </a:lnTo>
                  <a:lnTo>
                    <a:pt x="954" y="348"/>
                  </a:lnTo>
                  <a:lnTo>
                    <a:pt x="954" y="342"/>
                  </a:lnTo>
                  <a:lnTo>
                    <a:pt x="984" y="342"/>
                  </a:lnTo>
                  <a:lnTo>
                    <a:pt x="978" y="390"/>
                  </a:lnTo>
                  <a:lnTo>
                    <a:pt x="984" y="390"/>
                  </a:lnTo>
                  <a:lnTo>
                    <a:pt x="990" y="396"/>
                  </a:lnTo>
                  <a:lnTo>
                    <a:pt x="996" y="396"/>
                  </a:lnTo>
                  <a:lnTo>
                    <a:pt x="1002" y="396"/>
                  </a:lnTo>
                  <a:lnTo>
                    <a:pt x="1002" y="408"/>
                  </a:lnTo>
                  <a:lnTo>
                    <a:pt x="990" y="414"/>
                  </a:lnTo>
                  <a:lnTo>
                    <a:pt x="984" y="426"/>
                  </a:lnTo>
                  <a:lnTo>
                    <a:pt x="990" y="444"/>
                  </a:lnTo>
                  <a:lnTo>
                    <a:pt x="996" y="450"/>
                  </a:lnTo>
                  <a:lnTo>
                    <a:pt x="990" y="462"/>
                  </a:lnTo>
                  <a:lnTo>
                    <a:pt x="990" y="468"/>
                  </a:lnTo>
                  <a:lnTo>
                    <a:pt x="984" y="480"/>
                  </a:lnTo>
                  <a:lnTo>
                    <a:pt x="978" y="486"/>
                  </a:lnTo>
                  <a:lnTo>
                    <a:pt x="972" y="486"/>
                  </a:lnTo>
                  <a:lnTo>
                    <a:pt x="966" y="492"/>
                  </a:lnTo>
                  <a:lnTo>
                    <a:pt x="966" y="498"/>
                  </a:lnTo>
                  <a:lnTo>
                    <a:pt x="954" y="510"/>
                  </a:lnTo>
                  <a:lnTo>
                    <a:pt x="948" y="510"/>
                  </a:lnTo>
                  <a:lnTo>
                    <a:pt x="942" y="516"/>
                  </a:lnTo>
                  <a:lnTo>
                    <a:pt x="936" y="528"/>
                  </a:lnTo>
                  <a:lnTo>
                    <a:pt x="936" y="534"/>
                  </a:lnTo>
                  <a:lnTo>
                    <a:pt x="936" y="546"/>
                  </a:lnTo>
                  <a:lnTo>
                    <a:pt x="936" y="558"/>
                  </a:lnTo>
                  <a:lnTo>
                    <a:pt x="948" y="558"/>
                  </a:lnTo>
                  <a:lnTo>
                    <a:pt x="954" y="558"/>
                  </a:lnTo>
                  <a:lnTo>
                    <a:pt x="996" y="558"/>
                  </a:lnTo>
                  <a:lnTo>
                    <a:pt x="1002" y="570"/>
                  </a:lnTo>
                  <a:lnTo>
                    <a:pt x="996" y="576"/>
                  </a:lnTo>
                  <a:lnTo>
                    <a:pt x="996" y="588"/>
                  </a:lnTo>
                  <a:lnTo>
                    <a:pt x="984" y="588"/>
                  </a:lnTo>
                  <a:lnTo>
                    <a:pt x="990" y="612"/>
                  </a:lnTo>
                  <a:lnTo>
                    <a:pt x="1014" y="606"/>
                  </a:lnTo>
                  <a:lnTo>
                    <a:pt x="1014" y="636"/>
                  </a:lnTo>
                  <a:lnTo>
                    <a:pt x="1014" y="648"/>
                  </a:lnTo>
                  <a:lnTo>
                    <a:pt x="1020" y="648"/>
                  </a:lnTo>
                  <a:lnTo>
                    <a:pt x="1026" y="660"/>
                  </a:lnTo>
                  <a:lnTo>
                    <a:pt x="1038" y="654"/>
                  </a:lnTo>
                  <a:lnTo>
                    <a:pt x="1050" y="654"/>
                  </a:lnTo>
                  <a:lnTo>
                    <a:pt x="1062" y="654"/>
                  </a:lnTo>
                  <a:lnTo>
                    <a:pt x="1068" y="660"/>
                  </a:lnTo>
                  <a:lnTo>
                    <a:pt x="1068" y="678"/>
                  </a:lnTo>
                  <a:lnTo>
                    <a:pt x="1068" y="684"/>
                  </a:lnTo>
                  <a:lnTo>
                    <a:pt x="1062" y="690"/>
                  </a:lnTo>
                  <a:lnTo>
                    <a:pt x="1056" y="696"/>
                  </a:lnTo>
                  <a:lnTo>
                    <a:pt x="1056" y="702"/>
                  </a:lnTo>
                  <a:lnTo>
                    <a:pt x="1038" y="714"/>
                  </a:lnTo>
                  <a:lnTo>
                    <a:pt x="1026" y="720"/>
                  </a:lnTo>
                  <a:lnTo>
                    <a:pt x="1008" y="726"/>
                  </a:lnTo>
                  <a:lnTo>
                    <a:pt x="1008" y="732"/>
                  </a:lnTo>
                  <a:lnTo>
                    <a:pt x="990" y="732"/>
                  </a:lnTo>
                  <a:lnTo>
                    <a:pt x="984" y="744"/>
                  </a:lnTo>
                  <a:lnTo>
                    <a:pt x="990" y="750"/>
                  </a:lnTo>
                  <a:lnTo>
                    <a:pt x="984" y="762"/>
                  </a:lnTo>
                  <a:lnTo>
                    <a:pt x="984" y="768"/>
                  </a:lnTo>
                  <a:lnTo>
                    <a:pt x="984" y="774"/>
                  </a:lnTo>
                  <a:lnTo>
                    <a:pt x="984" y="780"/>
                  </a:lnTo>
                  <a:lnTo>
                    <a:pt x="984" y="786"/>
                  </a:lnTo>
                  <a:lnTo>
                    <a:pt x="984" y="792"/>
                  </a:lnTo>
                  <a:lnTo>
                    <a:pt x="978" y="798"/>
                  </a:lnTo>
                  <a:lnTo>
                    <a:pt x="978" y="80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3" name="Freeform 38">
              <a:extLst>
                <a:ext uri="{FF2B5EF4-FFF2-40B4-BE49-F238E27FC236}">
                  <a16:creationId xmlns:a16="http://schemas.microsoft.com/office/drawing/2014/main" id="{819B99CE-D972-4530-8964-A992C1EC87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2825" y="1634436"/>
              <a:ext cx="959326" cy="959458"/>
            </a:xfrm>
            <a:custGeom>
              <a:avLst/>
              <a:gdLst>
                <a:gd name="T0" fmla="*/ 105 w 1806"/>
                <a:gd name="T1" fmla="*/ 155 h 1806"/>
                <a:gd name="T2" fmla="*/ 103 w 1806"/>
                <a:gd name="T3" fmla="*/ 155 h 1806"/>
                <a:gd name="T4" fmla="*/ 103 w 1806"/>
                <a:gd name="T5" fmla="*/ 150 h 1806"/>
                <a:gd name="T6" fmla="*/ 104 w 1806"/>
                <a:gd name="T7" fmla="*/ 141 h 1806"/>
                <a:gd name="T8" fmla="*/ 104 w 1806"/>
                <a:gd name="T9" fmla="*/ 136 h 1806"/>
                <a:gd name="T10" fmla="*/ 100 w 1806"/>
                <a:gd name="T11" fmla="*/ 131 h 1806"/>
                <a:gd name="T12" fmla="*/ 96 w 1806"/>
                <a:gd name="T13" fmla="*/ 127 h 1806"/>
                <a:gd name="T14" fmla="*/ 91 w 1806"/>
                <a:gd name="T15" fmla="*/ 121 h 1806"/>
                <a:gd name="T16" fmla="*/ 87 w 1806"/>
                <a:gd name="T17" fmla="*/ 120 h 1806"/>
                <a:gd name="T18" fmla="*/ 81 w 1806"/>
                <a:gd name="T19" fmla="*/ 117 h 1806"/>
                <a:gd name="T20" fmla="*/ 65 w 1806"/>
                <a:gd name="T21" fmla="*/ 113 h 1806"/>
                <a:gd name="T22" fmla="*/ 69 w 1806"/>
                <a:gd name="T23" fmla="*/ 105 h 1806"/>
                <a:gd name="T24" fmla="*/ 66 w 1806"/>
                <a:gd name="T25" fmla="*/ 89 h 1806"/>
                <a:gd name="T26" fmla="*/ 63 w 1806"/>
                <a:gd name="T27" fmla="*/ 84 h 1806"/>
                <a:gd name="T28" fmla="*/ 62 w 1806"/>
                <a:gd name="T29" fmla="*/ 74 h 1806"/>
                <a:gd name="T30" fmla="*/ 58 w 1806"/>
                <a:gd name="T31" fmla="*/ 52 h 1806"/>
                <a:gd name="T32" fmla="*/ 53 w 1806"/>
                <a:gd name="T33" fmla="*/ 49 h 1806"/>
                <a:gd name="T34" fmla="*/ 51 w 1806"/>
                <a:gd name="T35" fmla="*/ 36 h 1806"/>
                <a:gd name="T36" fmla="*/ 43 w 1806"/>
                <a:gd name="T37" fmla="*/ 32 h 1806"/>
                <a:gd name="T38" fmla="*/ 33 w 1806"/>
                <a:gd name="T39" fmla="*/ 30 h 1806"/>
                <a:gd name="T40" fmla="*/ 30 w 1806"/>
                <a:gd name="T41" fmla="*/ 21 h 1806"/>
                <a:gd name="T42" fmla="*/ 17 w 1806"/>
                <a:gd name="T43" fmla="*/ 25 h 1806"/>
                <a:gd name="T44" fmla="*/ 4 w 1806"/>
                <a:gd name="T45" fmla="*/ 33 h 1806"/>
                <a:gd name="T46" fmla="*/ 7 w 1806"/>
                <a:gd name="T47" fmla="*/ 26 h 1806"/>
                <a:gd name="T48" fmla="*/ 11 w 1806"/>
                <a:gd name="T49" fmla="*/ 20 h 1806"/>
                <a:gd name="T50" fmla="*/ 18 w 1806"/>
                <a:gd name="T51" fmla="*/ 12 h 1806"/>
                <a:gd name="T52" fmla="*/ 26 w 1806"/>
                <a:gd name="T53" fmla="*/ 8 h 1806"/>
                <a:gd name="T54" fmla="*/ 35 w 1806"/>
                <a:gd name="T55" fmla="*/ 6 h 1806"/>
                <a:gd name="T56" fmla="*/ 44 w 1806"/>
                <a:gd name="T57" fmla="*/ 5 h 1806"/>
                <a:gd name="T58" fmla="*/ 54 w 1806"/>
                <a:gd name="T59" fmla="*/ 2 h 1806"/>
                <a:gd name="T60" fmla="*/ 65 w 1806"/>
                <a:gd name="T61" fmla="*/ 0 h 1806"/>
                <a:gd name="T62" fmla="*/ 76 w 1806"/>
                <a:gd name="T63" fmla="*/ 0 h 1806"/>
                <a:gd name="T64" fmla="*/ 85 w 1806"/>
                <a:gd name="T65" fmla="*/ 0 h 1806"/>
                <a:gd name="T66" fmla="*/ 97 w 1806"/>
                <a:gd name="T67" fmla="*/ 0 h 1806"/>
                <a:gd name="T68" fmla="*/ 108 w 1806"/>
                <a:gd name="T69" fmla="*/ 3 h 1806"/>
                <a:gd name="T70" fmla="*/ 115 w 1806"/>
                <a:gd name="T71" fmla="*/ 5 h 1806"/>
                <a:gd name="T72" fmla="*/ 123 w 1806"/>
                <a:gd name="T73" fmla="*/ 7 h 1806"/>
                <a:gd name="T74" fmla="*/ 133 w 1806"/>
                <a:gd name="T75" fmla="*/ 14 h 1806"/>
                <a:gd name="T76" fmla="*/ 138 w 1806"/>
                <a:gd name="T77" fmla="*/ 16 h 1806"/>
                <a:gd name="T78" fmla="*/ 140 w 1806"/>
                <a:gd name="T79" fmla="*/ 14 h 1806"/>
                <a:gd name="T80" fmla="*/ 145 w 1806"/>
                <a:gd name="T81" fmla="*/ 16 h 1806"/>
                <a:gd name="T82" fmla="*/ 147 w 1806"/>
                <a:gd name="T83" fmla="*/ 16 h 1806"/>
                <a:gd name="T84" fmla="*/ 150 w 1806"/>
                <a:gd name="T85" fmla="*/ 17 h 1806"/>
                <a:gd name="T86" fmla="*/ 152 w 1806"/>
                <a:gd name="T87" fmla="*/ 18 h 1806"/>
                <a:gd name="T88" fmla="*/ 155 w 1806"/>
                <a:gd name="T89" fmla="*/ 37 h 1806"/>
                <a:gd name="T90" fmla="*/ 146 w 1806"/>
                <a:gd name="T91" fmla="*/ 66 h 1806"/>
                <a:gd name="T92" fmla="*/ 143 w 1806"/>
                <a:gd name="T93" fmla="*/ 88 h 1806"/>
                <a:gd name="T94" fmla="*/ 144 w 1806"/>
                <a:gd name="T95" fmla="*/ 98 h 1806"/>
                <a:gd name="T96" fmla="*/ 137 w 1806"/>
                <a:gd name="T97" fmla="*/ 118 h 1806"/>
                <a:gd name="T98" fmla="*/ 132 w 1806"/>
                <a:gd name="T99" fmla="*/ 129 h 1806"/>
                <a:gd name="T100" fmla="*/ 124 w 1806"/>
                <a:gd name="T101" fmla="*/ 135 h 1806"/>
                <a:gd name="T102" fmla="*/ 119 w 1806"/>
                <a:gd name="T103" fmla="*/ 136 h 1806"/>
                <a:gd name="T104" fmla="*/ 116 w 1806"/>
                <a:gd name="T105" fmla="*/ 137 h 1806"/>
                <a:gd name="T106" fmla="*/ 112 w 1806"/>
                <a:gd name="T107" fmla="*/ 139 h 1806"/>
                <a:gd name="T108" fmla="*/ 112 w 1806"/>
                <a:gd name="T109" fmla="*/ 141 h 1806"/>
                <a:gd name="T110" fmla="*/ 116 w 1806"/>
                <a:gd name="T111" fmla="*/ 146 h 1806"/>
                <a:gd name="T112" fmla="*/ 116 w 1806"/>
                <a:gd name="T113" fmla="*/ 151 h 1806"/>
                <a:gd name="T114" fmla="*/ 113 w 1806"/>
                <a:gd name="T115" fmla="*/ 153 h 18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6"/>
                <a:gd name="T175" fmla="*/ 0 h 1806"/>
                <a:gd name="T176" fmla="*/ 1806 w 1806"/>
                <a:gd name="T177" fmla="*/ 1806 h 18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6" h="1806">
                  <a:moveTo>
                    <a:pt x="1260" y="1776"/>
                  </a:moveTo>
                  <a:lnTo>
                    <a:pt x="1254" y="1776"/>
                  </a:lnTo>
                  <a:lnTo>
                    <a:pt x="1248" y="1776"/>
                  </a:lnTo>
                  <a:lnTo>
                    <a:pt x="1242" y="1782"/>
                  </a:lnTo>
                  <a:lnTo>
                    <a:pt x="1236" y="1782"/>
                  </a:lnTo>
                  <a:lnTo>
                    <a:pt x="1230" y="1788"/>
                  </a:lnTo>
                  <a:lnTo>
                    <a:pt x="1224" y="1782"/>
                  </a:lnTo>
                  <a:lnTo>
                    <a:pt x="1218" y="1782"/>
                  </a:lnTo>
                  <a:lnTo>
                    <a:pt x="1218" y="1788"/>
                  </a:lnTo>
                  <a:lnTo>
                    <a:pt x="1212" y="1788"/>
                  </a:lnTo>
                  <a:lnTo>
                    <a:pt x="1206" y="1788"/>
                  </a:lnTo>
                  <a:lnTo>
                    <a:pt x="1206" y="1794"/>
                  </a:lnTo>
                  <a:lnTo>
                    <a:pt x="1200" y="1806"/>
                  </a:lnTo>
                  <a:lnTo>
                    <a:pt x="1194" y="1800"/>
                  </a:lnTo>
                  <a:lnTo>
                    <a:pt x="1194" y="1794"/>
                  </a:lnTo>
                  <a:lnTo>
                    <a:pt x="1194" y="1788"/>
                  </a:lnTo>
                  <a:lnTo>
                    <a:pt x="1188" y="1788"/>
                  </a:lnTo>
                  <a:lnTo>
                    <a:pt x="1188" y="1782"/>
                  </a:lnTo>
                  <a:lnTo>
                    <a:pt x="1188" y="1776"/>
                  </a:lnTo>
                  <a:lnTo>
                    <a:pt x="1194" y="1770"/>
                  </a:lnTo>
                  <a:lnTo>
                    <a:pt x="1194" y="1764"/>
                  </a:lnTo>
                  <a:lnTo>
                    <a:pt x="1194" y="1758"/>
                  </a:lnTo>
                  <a:lnTo>
                    <a:pt x="1194" y="1752"/>
                  </a:lnTo>
                  <a:lnTo>
                    <a:pt x="1200" y="1746"/>
                  </a:lnTo>
                  <a:lnTo>
                    <a:pt x="1200" y="1740"/>
                  </a:lnTo>
                  <a:lnTo>
                    <a:pt x="1200" y="1734"/>
                  </a:lnTo>
                  <a:lnTo>
                    <a:pt x="1188" y="1722"/>
                  </a:lnTo>
                  <a:lnTo>
                    <a:pt x="1188" y="1716"/>
                  </a:lnTo>
                  <a:lnTo>
                    <a:pt x="1194" y="1704"/>
                  </a:lnTo>
                  <a:lnTo>
                    <a:pt x="1194" y="1692"/>
                  </a:lnTo>
                  <a:lnTo>
                    <a:pt x="1200" y="1680"/>
                  </a:lnTo>
                  <a:lnTo>
                    <a:pt x="1200" y="1662"/>
                  </a:lnTo>
                  <a:lnTo>
                    <a:pt x="1200" y="1650"/>
                  </a:lnTo>
                  <a:lnTo>
                    <a:pt x="1206" y="1644"/>
                  </a:lnTo>
                  <a:lnTo>
                    <a:pt x="1206" y="1638"/>
                  </a:lnTo>
                  <a:lnTo>
                    <a:pt x="1206" y="1626"/>
                  </a:lnTo>
                  <a:lnTo>
                    <a:pt x="1206" y="1620"/>
                  </a:lnTo>
                  <a:lnTo>
                    <a:pt x="1206" y="1614"/>
                  </a:lnTo>
                  <a:lnTo>
                    <a:pt x="1200" y="1608"/>
                  </a:lnTo>
                  <a:lnTo>
                    <a:pt x="1200" y="1602"/>
                  </a:lnTo>
                  <a:lnTo>
                    <a:pt x="1200" y="1596"/>
                  </a:lnTo>
                  <a:lnTo>
                    <a:pt x="1200" y="1590"/>
                  </a:lnTo>
                  <a:lnTo>
                    <a:pt x="1200" y="1572"/>
                  </a:lnTo>
                  <a:lnTo>
                    <a:pt x="1200" y="1566"/>
                  </a:lnTo>
                  <a:lnTo>
                    <a:pt x="1200" y="1560"/>
                  </a:lnTo>
                  <a:lnTo>
                    <a:pt x="1194" y="1554"/>
                  </a:lnTo>
                  <a:lnTo>
                    <a:pt x="1188" y="1548"/>
                  </a:lnTo>
                  <a:lnTo>
                    <a:pt x="1188" y="1542"/>
                  </a:lnTo>
                  <a:lnTo>
                    <a:pt x="1176" y="1536"/>
                  </a:lnTo>
                  <a:lnTo>
                    <a:pt x="1176" y="1530"/>
                  </a:lnTo>
                  <a:lnTo>
                    <a:pt x="1170" y="1524"/>
                  </a:lnTo>
                  <a:lnTo>
                    <a:pt x="1170" y="1518"/>
                  </a:lnTo>
                  <a:lnTo>
                    <a:pt x="1164" y="1512"/>
                  </a:lnTo>
                  <a:lnTo>
                    <a:pt x="1158" y="1506"/>
                  </a:lnTo>
                  <a:lnTo>
                    <a:pt x="1152" y="1500"/>
                  </a:lnTo>
                  <a:lnTo>
                    <a:pt x="1146" y="1494"/>
                  </a:lnTo>
                  <a:lnTo>
                    <a:pt x="1140" y="1488"/>
                  </a:lnTo>
                  <a:lnTo>
                    <a:pt x="1134" y="1482"/>
                  </a:lnTo>
                  <a:lnTo>
                    <a:pt x="1128" y="1476"/>
                  </a:lnTo>
                  <a:lnTo>
                    <a:pt x="1122" y="1470"/>
                  </a:lnTo>
                  <a:lnTo>
                    <a:pt x="1116" y="1464"/>
                  </a:lnTo>
                  <a:lnTo>
                    <a:pt x="1110" y="1464"/>
                  </a:lnTo>
                  <a:lnTo>
                    <a:pt x="1104" y="1458"/>
                  </a:lnTo>
                  <a:lnTo>
                    <a:pt x="1098" y="1464"/>
                  </a:lnTo>
                  <a:lnTo>
                    <a:pt x="1092" y="1464"/>
                  </a:lnTo>
                  <a:lnTo>
                    <a:pt x="1086" y="1446"/>
                  </a:lnTo>
                  <a:lnTo>
                    <a:pt x="1086" y="1440"/>
                  </a:lnTo>
                  <a:lnTo>
                    <a:pt x="1080" y="1416"/>
                  </a:lnTo>
                  <a:lnTo>
                    <a:pt x="1068" y="1404"/>
                  </a:lnTo>
                  <a:lnTo>
                    <a:pt x="1062" y="1398"/>
                  </a:lnTo>
                  <a:lnTo>
                    <a:pt x="1056" y="1398"/>
                  </a:lnTo>
                  <a:lnTo>
                    <a:pt x="1050" y="1398"/>
                  </a:lnTo>
                  <a:lnTo>
                    <a:pt x="1044" y="1398"/>
                  </a:lnTo>
                  <a:lnTo>
                    <a:pt x="1044" y="1392"/>
                  </a:lnTo>
                  <a:lnTo>
                    <a:pt x="1038" y="1392"/>
                  </a:lnTo>
                  <a:lnTo>
                    <a:pt x="1032" y="1392"/>
                  </a:lnTo>
                  <a:lnTo>
                    <a:pt x="1020" y="1386"/>
                  </a:lnTo>
                  <a:lnTo>
                    <a:pt x="1014" y="1386"/>
                  </a:lnTo>
                  <a:lnTo>
                    <a:pt x="1014" y="1380"/>
                  </a:lnTo>
                  <a:lnTo>
                    <a:pt x="1008" y="1380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62"/>
                  </a:lnTo>
                  <a:lnTo>
                    <a:pt x="984" y="1356"/>
                  </a:lnTo>
                  <a:lnTo>
                    <a:pt x="978" y="1356"/>
                  </a:lnTo>
                  <a:lnTo>
                    <a:pt x="972" y="1356"/>
                  </a:lnTo>
                  <a:lnTo>
                    <a:pt x="966" y="1356"/>
                  </a:lnTo>
                  <a:lnTo>
                    <a:pt x="966" y="1350"/>
                  </a:lnTo>
                  <a:lnTo>
                    <a:pt x="948" y="1350"/>
                  </a:lnTo>
                  <a:lnTo>
                    <a:pt x="936" y="1344"/>
                  </a:lnTo>
                  <a:lnTo>
                    <a:pt x="930" y="1338"/>
                  </a:lnTo>
                  <a:lnTo>
                    <a:pt x="918" y="1332"/>
                  </a:lnTo>
                  <a:lnTo>
                    <a:pt x="900" y="1326"/>
                  </a:lnTo>
                  <a:lnTo>
                    <a:pt x="864" y="1332"/>
                  </a:lnTo>
                  <a:lnTo>
                    <a:pt x="828" y="1332"/>
                  </a:lnTo>
                  <a:lnTo>
                    <a:pt x="792" y="1314"/>
                  </a:lnTo>
                  <a:lnTo>
                    <a:pt x="780" y="1314"/>
                  </a:lnTo>
                  <a:lnTo>
                    <a:pt x="780" y="1308"/>
                  </a:lnTo>
                  <a:lnTo>
                    <a:pt x="756" y="1296"/>
                  </a:lnTo>
                  <a:lnTo>
                    <a:pt x="756" y="1278"/>
                  </a:lnTo>
                  <a:lnTo>
                    <a:pt x="768" y="1278"/>
                  </a:lnTo>
                  <a:lnTo>
                    <a:pt x="774" y="1272"/>
                  </a:lnTo>
                  <a:lnTo>
                    <a:pt x="780" y="1266"/>
                  </a:lnTo>
                  <a:lnTo>
                    <a:pt x="786" y="1260"/>
                  </a:lnTo>
                  <a:lnTo>
                    <a:pt x="792" y="1254"/>
                  </a:lnTo>
                  <a:lnTo>
                    <a:pt x="798" y="1242"/>
                  </a:lnTo>
                  <a:lnTo>
                    <a:pt x="804" y="1242"/>
                  </a:lnTo>
                  <a:lnTo>
                    <a:pt x="804" y="1206"/>
                  </a:lnTo>
                  <a:lnTo>
                    <a:pt x="804" y="1182"/>
                  </a:lnTo>
                  <a:lnTo>
                    <a:pt x="804" y="1158"/>
                  </a:lnTo>
                  <a:lnTo>
                    <a:pt x="804" y="1134"/>
                  </a:lnTo>
                  <a:lnTo>
                    <a:pt x="798" y="1116"/>
                  </a:lnTo>
                  <a:lnTo>
                    <a:pt x="792" y="1092"/>
                  </a:lnTo>
                  <a:lnTo>
                    <a:pt x="786" y="1062"/>
                  </a:lnTo>
                  <a:lnTo>
                    <a:pt x="768" y="1032"/>
                  </a:lnTo>
                  <a:lnTo>
                    <a:pt x="762" y="1032"/>
                  </a:lnTo>
                  <a:lnTo>
                    <a:pt x="762" y="1020"/>
                  </a:lnTo>
                  <a:lnTo>
                    <a:pt x="762" y="1014"/>
                  </a:lnTo>
                  <a:lnTo>
                    <a:pt x="756" y="1008"/>
                  </a:lnTo>
                  <a:lnTo>
                    <a:pt x="750" y="1002"/>
                  </a:lnTo>
                  <a:lnTo>
                    <a:pt x="738" y="1002"/>
                  </a:lnTo>
                  <a:lnTo>
                    <a:pt x="738" y="990"/>
                  </a:lnTo>
                  <a:lnTo>
                    <a:pt x="726" y="990"/>
                  </a:lnTo>
                  <a:lnTo>
                    <a:pt x="726" y="978"/>
                  </a:lnTo>
                  <a:lnTo>
                    <a:pt x="732" y="972"/>
                  </a:lnTo>
                  <a:lnTo>
                    <a:pt x="732" y="966"/>
                  </a:lnTo>
                  <a:lnTo>
                    <a:pt x="726" y="966"/>
                  </a:lnTo>
                  <a:lnTo>
                    <a:pt x="732" y="948"/>
                  </a:lnTo>
                  <a:lnTo>
                    <a:pt x="726" y="942"/>
                  </a:lnTo>
                  <a:lnTo>
                    <a:pt x="726" y="930"/>
                  </a:lnTo>
                  <a:lnTo>
                    <a:pt x="720" y="924"/>
                  </a:lnTo>
                  <a:lnTo>
                    <a:pt x="714" y="912"/>
                  </a:lnTo>
                  <a:lnTo>
                    <a:pt x="714" y="882"/>
                  </a:lnTo>
                  <a:lnTo>
                    <a:pt x="714" y="870"/>
                  </a:lnTo>
                  <a:lnTo>
                    <a:pt x="714" y="858"/>
                  </a:lnTo>
                  <a:lnTo>
                    <a:pt x="714" y="846"/>
                  </a:lnTo>
                  <a:lnTo>
                    <a:pt x="708" y="822"/>
                  </a:lnTo>
                  <a:lnTo>
                    <a:pt x="702" y="798"/>
                  </a:lnTo>
                  <a:lnTo>
                    <a:pt x="696" y="792"/>
                  </a:lnTo>
                  <a:lnTo>
                    <a:pt x="684" y="726"/>
                  </a:lnTo>
                  <a:lnTo>
                    <a:pt x="678" y="666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66" y="600"/>
                  </a:lnTo>
                  <a:lnTo>
                    <a:pt x="660" y="594"/>
                  </a:lnTo>
                  <a:lnTo>
                    <a:pt x="654" y="594"/>
                  </a:lnTo>
                  <a:lnTo>
                    <a:pt x="636" y="582"/>
                  </a:lnTo>
                  <a:lnTo>
                    <a:pt x="630" y="576"/>
                  </a:lnTo>
                  <a:lnTo>
                    <a:pt x="624" y="576"/>
                  </a:lnTo>
                  <a:lnTo>
                    <a:pt x="618" y="570"/>
                  </a:lnTo>
                  <a:lnTo>
                    <a:pt x="612" y="564"/>
                  </a:lnTo>
                  <a:lnTo>
                    <a:pt x="606" y="558"/>
                  </a:lnTo>
                  <a:lnTo>
                    <a:pt x="606" y="564"/>
                  </a:lnTo>
                  <a:lnTo>
                    <a:pt x="600" y="564"/>
                  </a:lnTo>
                  <a:lnTo>
                    <a:pt x="594" y="558"/>
                  </a:lnTo>
                  <a:lnTo>
                    <a:pt x="594" y="540"/>
                  </a:lnTo>
                  <a:lnTo>
                    <a:pt x="594" y="528"/>
                  </a:lnTo>
                  <a:lnTo>
                    <a:pt x="594" y="516"/>
                  </a:lnTo>
                  <a:lnTo>
                    <a:pt x="594" y="510"/>
                  </a:lnTo>
                  <a:lnTo>
                    <a:pt x="594" y="492"/>
                  </a:lnTo>
                  <a:lnTo>
                    <a:pt x="594" y="456"/>
                  </a:lnTo>
                  <a:lnTo>
                    <a:pt x="588" y="414"/>
                  </a:lnTo>
                  <a:lnTo>
                    <a:pt x="588" y="408"/>
                  </a:lnTo>
                  <a:lnTo>
                    <a:pt x="582" y="396"/>
                  </a:lnTo>
                  <a:lnTo>
                    <a:pt x="582" y="384"/>
                  </a:lnTo>
                  <a:lnTo>
                    <a:pt x="582" y="372"/>
                  </a:lnTo>
                  <a:lnTo>
                    <a:pt x="564" y="372"/>
                  </a:lnTo>
                  <a:lnTo>
                    <a:pt x="552" y="366"/>
                  </a:lnTo>
                  <a:lnTo>
                    <a:pt x="552" y="372"/>
                  </a:lnTo>
                  <a:lnTo>
                    <a:pt x="498" y="372"/>
                  </a:lnTo>
                  <a:lnTo>
                    <a:pt x="498" y="366"/>
                  </a:lnTo>
                  <a:lnTo>
                    <a:pt x="474" y="360"/>
                  </a:lnTo>
                  <a:lnTo>
                    <a:pt x="456" y="354"/>
                  </a:lnTo>
                  <a:lnTo>
                    <a:pt x="438" y="348"/>
                  </a:lnTo>
                  <a:lnTo>
                    <a:pt x="426" y="354"/>
                  </a:lnTo>
                  <a:lnTo>
                    <a:pt x="408" y="360"/>
                  </a:lnTo>
                  <a:lnTo>
                    <a:pt x="378" y="360"/>
                  </a:lnTo>
                  <a:lnTo>
                    <a:pt x="378" y="354"/>
                  </a:lnTo>
                  <a:lnTo>
                    <a:pt x="378" y="348"/>
                  </a:lnTo>
                  <a:lnTo>
                    <a:pt x="378" y="342"/>
                  </a:lnTo>
                  <a:lnTo>
                    <a:pt x="390" y="330"/>
                  </a:lnTo>
                  <a:lnTo>
                    <a:pt x="396" y="312"/>
                  </a:lnTo>
                  <a:lnTo>
                    <a:pt x="396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8"/>
                  </a:lnTo>
                  <a:lnTo>
                    <a:pt x="372" y="234"/>
                  </a:lnTo>
                  <a:lnTo>
                    <a:pt x="354" y="234"/>
                  </a:lnTo>
                  <a:lnTo>
                    <a:pt x="342" y="246"/>
                  </a:lnTo>
                  <a:lnTo>
                    <a:pt x="330" y="252"/>
                  </a:lnTo>
                  <a:lnTo>
                    <a:pt x="318" y="252"/>
                  </a:lnTo>
                  <a:lnTo>
                    <a:pt x="276" y="258"/>
                  </a:lnTo>
                  <a:lnTo>
                    <a:pt x="276" y="264"/>
                  </a:lnTo>
                  <a:lnTo>
                    <a:pt x="252" y="270"/>
                  </a:lnTo>
                  <a:lnTo>
                    <a:pt x="240" y="270"/>
                  </a:lnTo>
                  <a:lnTo>
                    <a:pt x="228" y="276"/>
                  </a:lnTo>
                  <a:lnTo>
                    <a:pt x="210" y="282"/>
                  </a:lnTo>
                  <a:lnTo>
                    <a:pt x="198" y="288"/>
                  </a:lnTo>
                  <a:lnTo>
                    <a:pt x="186" y="294"/>
                  </a:lnTo>
                  <a:lnTo>
                    <a:pt x="174" y="330"/>
                  </a:lnTo>
                  <a:lnTo>
                    <a:pt x="162" y="342"/>
                  </a:lnTo>
                  <a:lnTo>
                    <a:pt x="156" y="354"/>
                  </a:lnTo>
                  <a:lnTo>
                    <a:pt x="150" y="360"/>
                  </a:lnTo>
                  <a:lnTo>
                    <a:pt x="150" y="366"/>
                  </a:lnTo>
                  <a:lnTo>
                    <a:pt x="108" y="372"/>
                  </a:lnTo>
                  <a:lnTo>
                    <a:pt x="60" y="378"/>
                  </a:lnTo>
                  <a:lnTo>
                    <a:pt x="42" y="378"/>
                  </a:lnTo>
                  <a:lnTo>
                    <a:pt x="12" y="378"/>
                  </a:lnTo>
                  <a:lnTo>
                    <a:pt x="6" y="378"/>
                  </a:lnTo>
                  <a:lnTo>
                    <a:pt x="0" y="366"/>
                  </a:lnTo>
                  <a:lnTo>
                    <a:pt x="12" y="360"/>
                  </a:lnTo>
                  <a:lnTo>
                    <a:pt x="24" y="348"/>
                  </a:lnTo>
                  <a:lnTo>
                    <a:pt x="30" y="342"/>
                  </a:lnTo>
                  <a:lnTo>
                    <a:pt x="36" y="330"/>
                  </a:lnTo>
                  <a:lnTo>
                    <a:pt x="72" y="300"/>
                  </a:lnTo>
                  <a:lnTo>
                    <a:pt x="78" y="294"/>
                  </a:lnTo>
                  <a:lnTo>
                    <a:pt x="78" y="288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96" y="270"/>
                  </a:lnTo>
                  <a:lnTo>
                    <a:pt x="102" y="264"/>
                  </a:lnTo>
                  <a:lnTo>
                    <a:pt x="108" y="258"/>
                  </a:lnTo>
                  <a:lnTo>
                    <a:pt x="114" y="246"/>
                  </a:lnTo>
                  <a:lnTo>
                    <a:pt x="120" y="240"/>
                  </a:lnTo>
                  <a:lnTo>
                    <a:pt x="126" y="234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0" y="210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86" y="174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22" y="138"/>
                  </a:lnTo>
                  <a:lnTo>
                    <a:pt x="234" y="132"/>
                  </a:lnTo>
                  <a:lnTo>
                    <a:pt x="246" y="126"/>
                  </a:lnTo>
                  <a:lnTo>
                    <a:pt x="246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88" y="102"/>
                  </a:lnTo>
                  <a:lnTo>
                    <a:pt x="300" y="96"/>
                  </a:lnTo>
                  <a:lnTo>
                    <a:pt x="306" y="90"/>
                  </a:lnTo>
                  <a:lnTo>
                    <a:pt x="318" y="90"/>
                  </a:lnTo>
                  <a:lnTo>
                    <a:pt x="324" y="84"/>
                  </a:lnTo>
                  <a:lnTo>
                    <a:pt x="348" y="72"/>
                  </a:lnTo>
                  <a:lnTo>
                    <a:pt x="354" y="72"/>
                  </a:lnTo>
                  <a:lnTo>
                    <a:pt x="384" y="66"/>
                  </a:lnTo>
                  <a:lnTo>
                    <a:pt x="390" y="66"/>
                  </a:lnTo>
                  <a:lnTo>
                    <a:pt x="396" y="66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66"/>
                  </a:lnTo>
                  <a:lnTo>
                    <a:pt x="438" y="66"/>
                  </a:lnTo>
                  <a:lnTo>
                    <a:pt x="468" y="66"/>
                  </a:lnTo>
                  <a:lnTo>
                    <a:pt x="480" y="66"/>
                  </a:lnTo>
                  <a:lnTo>
                    <a:pt x="486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22" y="60"/>
                  </a:lnTo>
                  <a:lnTo>
                    <a:pt x="534" y="54"/>
                  </a:lnTo>
                  <a:lnTo>
                    <a:pt x="564" y="42"/>
                  </a:lnTo>
                  <a:lnTo>
                    <a:pt x="570" y="42"/>
                  </a:lnTo>
                  <a:lnTo>
                    <a:pt x="582" y="36"/>
                  </a:lnTo>
                  <a:lnTo>
                    <a:pt x="588" y="36"/>
                  </a:lnTo>
                  <a:lnTo>
                    <a:pt x="600" y="30"/>
                  </a:lnTo>
                  <a:lnTo>
                    <a:pt x="606" y="30"/>
                  </a:lnTo>
                  <a:lnTo>
                    <a:pt x="618" y="24"/>
                  </a:lnTo>
                  <a:lnTo>
                    <a:pt x="642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72" y="12"/>
                  </a:lnTo>
                  <a:lnTo>
                    <a:pt x="696" y="12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50" y="6"/>
                  </a:lnTo>
                  <a:lnTo>
                    <a:pt x="768" y="6"/>
                  </a:lnTo>
                  <a:lnTo>
                    <a:pt x="774" y="6"/>
                  </a:lnTo>
                  <a:lnTo>
                    <a:pt x="786" y="6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6" y="6"/>
                  </a:lnTo>
                  <a:lnTo>
                    <a:pt x="846" y="6"/>
                  </a:lnTo>
                  <a:lnTo>
                    <a:pt x="852" y="0"/>
                  </a:lnTo>
                  <a:lnTo>
                    <a:pt x="876" y="0"/>
                  </a:lnTo>
                  <a:lnTo>
                    <a:pt x="876" y="6"/>
                  </a:lnTo>
                  <a:lnTo>
                    <a:pt x="888" y="0"/>
                  </a:lnTo>
                  <a:lnTo>
                    <a:pt x="900" y="0"/>
                  </a:lnTo>
                  <a:lnTo>
                    <a:pt x="906" y="0"/>
                  </a:lnTo>
                  <a:lnTo>
                    <a:pt x="912" y="0"/>
                  </a:lnTo>
                  <a:lnTo>
                    <a:pt x="948" y="0"/>
                  </a:lnTo>
                  <a:lnTo>
                    <a:pt x="954" y="0"/>
                  </a:lnTo>
                  <a:lnTo>
                    <a:pt x="972" y="0"/>
                  </a:lnTo>
                  <a:lnTo>
                    <a:pt x="978" y="0"/>
                  </a:lnTo>
                  <a:lnTo>
                    <a:pt x="996" y="0"/>
                  </a:lnTo>
                  <a:lnTo>
                    <a:pt x="1032" y="0"/>
                  </a:lnTo>
                  <a:lnTo>
                    <a:pt x="1044" y="0"/>
                  </a:lnTo>
                  <a:lnTo>
                    <a:pt x="1050" y="0"/>
                  </a:lnTo>
                  <a:lnTo>
                    <a:pt x="1056" y="6"/>
                  </a:lnTo>
                  <a:lnTo>
                    <a:pt x="1056" y="0"/>
                  </a:lnTo>
                  <a:lnTo>
                    <a:pt x="1074" y="0"/>
                  </a:lnTo>
                  <a:lnTo>
                    <a:pt x="1098" y="6"/>
                  </a:lnTo>
                  <a:lnTo>
                    <a:pt x="1116" y="6"/>
                  </a:lnTo>
                  <a:lnTo>
                    <a:pt x="1140" y="12"/>
                  </a:lnTo>
                  <a:lnTo>
                    <a:pt x="1152" y="12"/>
                  </a:lnTo>
                  <a:lnTo>
                    <a:pt x="1158" y="12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6" y="12"/>
                  </a:lnTo>
                  <a:lnTo>
                    <a:pt x="1194" y="18"/>
                  </a:lnTo>
                  <a:lnTo>
                    <a:pt x="1206" y="18"/>
                  </a:lnTo>
                  <a:lnTo>
                    <a:pt x="1242" y="36"/>
                  </a:lnTo>
                  <a:lnTo>
                    <a:pt x="1248" y="36"/>
                  </a:lnTo>
                  <a:lnTo>
                    <a:pt x="1254" y="36"/>
                  </a:lnTo>
                  <a:lnTo>
                    <a:pt x="1260" y="42"/>
                  </a:lnTo>
                  <a:lnTo>
                    <a:pt x="1272" y="48"/>
                  </a:lnTo>
                  <a:lnTo>
                    <a:pt x="1278" y="48"/>
                  </a:lnTo>
                  <a:lnTo>
                    <a:pt x="1284" y="48"/>
                  </a:lnTo>
                  <a:lnTo>
                    <a:pt x="1290" y="54"/>
                  </a:lnTo>
                  <a:lnTo>
                    <a:pt x="1308" y="60"/>
                  </a:lnTo>
                  <a:lnTo>
                    <a:pt x="1326" y="60"/>
                  </a:lnTo>
                  <a:lnTo>
                    <a:pt x="1338" y="66"/>
                  </a:lnTo>
                  <a:lnTo>
                    <a:pt x="1344" y="66"/>
                  </a:lnTo>
                  <a:lnTo>
                    <a:pt x="1350" y="66"/>
                  </a:lnTo>
                  <a:lnTo>
                    <a:pt x="1356" y="66"/>
                  </a:lnTo>
                  <a:lnTo>
                    <a:pt x="1362" y="72"/>
                  </a:lnTo>
                  <a:lnTo>
                    <a:pt x="1368" y="72"/>
                  </a:lnTo>
                  <a:lnTo>
                    <a:pt x="1380" y="72"/>
                  </a:lnTo>
                  <a:lnTo>
                    <a:pt x="1386" y="72"/>
                  </a:lnTo>
                  <a:lnTo>
                    <a:pt x="1422" y="84"/>
                  </a:lnTo>
                  <a:lnTo>
                    <a:pt x="1428" y="84"/>
                  </a:lnTo>
                  <a:lnTo>
                    <a:pt x="1446" y="90"/>
                  </a:lnTo>
                  <a:lnTo>
                    <a:pt x="1458" y="102"/>
                  </a:lnTo>
                  <a:lnTo>
                    <a:pt x="1494" y="126"/>
                  </a:lnTo>
                  <a:lnTo>
                    <a:pt x="1500" y="132"/>
                  </a:lnTo>
                  <a:lnTo>
                    <a:pt x="1512" y="138"/>
                  </a:lnTo>
                  <a:lnTo>
                    <a:pt x="1512" y="144"/>
                  </a:lnTo>
                  <a:lnTo>
                    <a:pt x="1518" y="150"/>
                  </a:lnTo>
                  <a:lnTo>
                    <a:pt x="1530" y="156"/>
                  </a:lnTo>
                  <a:lnTo>
                    <a:pt x="1530" y="162"/>
                  </a:lnTo>
                  <a:lnTo>
                    <a:pt x="1548" y="168"/>
                  </a:lnTo>
                  <a:lnTo>
                    <a:pt x="1566" y="180"/>
                  </a:lnTo>
                  <a:lnTo>
                    <a:pt x="1578" y="186"/>
                  </a:lnTo>
                  <a:lnTo>
                    <a:pt x="1578" y="180"/>
                  </a:lnTo>
                  <a:lnTo>
                    <a:pt x="1584" y="186"/>
                  </a:lnTo>
                  <a:lnTo>
                    <a:pt x="1584" y="174"/>
                  </a:lnTo>
                  <a:lnTo>
                    <a:pt x="1590" y="174"/>
                  </a:lnTo>
                  <a:lnTo>
                    <a:pt x="1590" y="180"/>
                  </a:lnTo>
                  <a:lnTo>
                    <a:pt x="1596" y="180"/>
                  </a:lnTo>
                  <a:lnTo>
                    <a:pt x="1596" y="174"/>
                  </a:lnTo>
                  <a:lnTo>
                    <a:pt x="1602" y="174"/>
                  </a:lnTo>
                  <a:lnTo>
                    <a:pt x="1608" y="174"/>
                  </a:lnTo>
                  <a:lnTo>
                    <a:pt x="1614" y="180"/>
                  </a:lnTo>
                  <a:lnTo>
                    <a:pt x="1620" y="174"/>
                  </a:lnTo>
                  <a:lnTo>
                    <a:pt x="1614" y="168"/>
                  </a:lnTo>
                  <a:lnTo>
                    <a:pt x="1614" y="162"/>
                  </a:lnTo>
                  <a:lnTo>
                    <a:pt x="1620" y="162"/>
                  </a:lnTo>
                  <a:lnTo>
                    <a:pt x="1626" y="162"/>
                  </a:lnTo>
                  <a:lnTo>
                    <a:pt x="1632" y="162"/>
                  </a:lnTo>
                  <a:lnTo>
                    <a:pt x="1638" y="168"/>
                  </a:lnTo>
                  <a:lnTo>
                    <a:pt x="1644" y="168"/>
                  </a:lnTo>
                  <a:lnTo>
                    <a:pt x="1650" y="174"/>
                  </a:lnTo>
                  <a:lnTo>
                    <a:pt x="1656" y="168"/>
                  </a:lnTo>
                  <a:lnTo>
                    <a:pt x="1668" y="168"/>
                  </a:lnTo>
                  <a:lnTo>
                    <a:pt x="1674" y="174"/>
                  </a:lnTo>
                  <a:lnTo>
                    <a:pt x="1674" y="180"/>
                  </a:lnTo>
                  <a:lnTo>
                    <a:pt x="1674" y="186"/>
                  </a:lnTo>
                  <a:lnTo>
                    <a:pt x="1680" y="186"/>
                  </a:lnTo>
                  <a:lnTo>
                    <a:pt x="1680" y="192"/>
                  </a:lnTo>
                  <a:lnTo>
                    <a:pt x="1686" y="192"/>
                  </a:lnTo>
                  <a:lnTo>
                    <a:pt x="1686" y="186"/>
                  </a:lnTo>
                  <a:lnTo>
                    <a:pt x="1680" y="186"/>
                  </a:lnTo>
                  <a:lnTo>
                    <a:pt x="1686" y="180"/>
                  </a:lnTo>
                  <a:lnTo>
                    <a:pt x="1692" y="180"/>
                  </a:lnTo>
                  <a:lnTo>
                    <a:pt x="1698" y="180"/>
                  </a:lnTo>
                  <a:lnTo>
                    <a:pt x="1704" y="180"/>
                  </a:lnTo>
                  <a:lnTo>
                    <a:pt x="1704" y="186"/>
                  </a:lnTo>
                  <a:lnTo>
                    <a:pt x="1710" y="186"/>
                  </a:lnTo>
                  <a:lnTo>
                    <a:pt x="1716" y="186"/>
                  </a:lnTo>
                  <a:lnTo>
                    <a:pt x="1716" y="192"/>
                  </a:lnTo>
                  <a:lnTo>
                    <a:pt x="1716" y="198"/>
                  </a:lnTo>
                  <a:lnTo>
                    <a:pt x="1722" y="192"/>
                  </a:lnTo>
                  <a:lnTo>
                    <a:pt x="1722" y="186"/>
                  </a:lnTo>
                  <a:lnTo>
                    <a:pt x="1728" y="192"/>
                  </a:lnTo>
                  <a:lnTo>
                    <a:pt x="1734" y="192"/>
                  </a:lnTo>
                  <a:lnTo>
                    <a:pt x="1734" y="186"/>
                  </a:lnTo>
                  <a:lnTo>
                    <a:pt x="1740" y="186"/>
                  </a:lnTo>
                  <a:lnTo>
                    <a:pt x="1740" y="192"/>
                  </a:lnTo>
                  <a:lnTo>
                    <a:pt x="1746" y="192"/>
                  </a:lnTo>
                  <a:lnTo>
                    <a:pt x="1758" y="192"/>
                  </a:lnTo>
                  <a:lnTo>
                    <a:pt x="1764" y="192"/>
                  </a:lnTo>
                  <a:lnTo>
                    <a:pt x="1764" y="198"/>
                  </a:lnTo>
                  <a:lnTo>
                    <a:pt x="1758" y="204"/>
                  </a:lnTo>
                  <a:lnTo>
                    <a:pt x="1752" y="210"/>
                  </a:lnTo>
                  <a:lnTo>
                    <a:pt x="1746" y="216"/>
                  </a:lnTo>
                  <a:lnTo>
                    <a:pt x="1746" y="222"/>
                  </a:lnTo>
                  <a:lnTo>
                    <a:pt x="1734" y="228"/>
                  </a:lnTo>
                  <a:lnTo>
                    <a:pt x="1734" y="234"/>
                  </a:lnTo>
                  <a:lnTo>
                    <a:pt x="1734" y="258"/>
                  </a:lnTo>
                  <a:lnTo>
                    <a:pt x="1740" y="330"/>
                  </a:lnTo>
                  <a:lnTo>
                    <a:pt x="1746" y="372"/>
                  </a:lnTo>
                  <a:lnTo>
                    <a:pt x="1788" y="426"/>
                  </a:lnTo>
                  <a:lnTo>
                    <a:pt x="1806" y="438"/>
                  </a:lnTo>
                  <a:lnTo>
                    <a:pt x="1794" y="480"/>
                  </a:lnTo>
                  <a:lnTo>
                    <a:pt x="1770" y="516"/>
                  </a:lnTo>
                  <a:lnTo>
                    <a:pt x="1746" y="546"/>
                  </a:lnTo>
                  <a:lnTo>
                    <a:pt x="1716" y="570"/>
                  </a:lnTo>
                  <a:lnTo>
                    <a:pt x="1680" y="594"/>
                  </a:lnTo>
                  <a:lnTo>
                    <a:pt x="1668" y="630"/>
                  </a:lnTo>
                  <a:lnTo>
                    <a:pt x="1680" y="684"/>
                  </a:lnTo>
                  <a:lnTo>
                    <a:pt x="1686" y="756"/>
                  </a:lnTo>
                  <a:lnTo>
                    <a:pt x="1662" y="870"/>
                  </a:lnTo>
                  <a:lnTo>
                    <a:pt x="1656" y="888"/>
                  </a:lnTo>
                  <a:lnTo>
                    <a:pt x="1650" y="972"/>
                  </a:lnTo>
                  <a:lnTo>
                    <a:pt x="1656" y="978"/>
                  </a:lnTo>
                  <a:lnTo>
                    <a:pt x="1650" y="984"/>
                  </a:lnTo>
                  <a:lnTo>
                    <a:pt x="1650" y="990"/>
                  </a:lnTo>
                  <a:lnTo>
                    <a:pt x="1650" y="1002"/>
                  </a:lnTo>
                  <a:lnTo>
                    <a:pt x="1656" y="1008"/>
                  </a:lnTo>
                  <a:lnTo>
                    <a:pt x="1656" y="1014"/>
                  </a:lnTo>
                  <a:lnTo>
                    <a:pt x="1662" y="1026"/>
                  </a:lnTo>
                  <a:lnTo>
                    <a:pt x="1650" y="1032"/>
                  </a:lnTo>
                  <a:lnTo>
                    <a:pt x="1638" y="1044"/>
                  </a:lnTo>
                  <a:lnTo>
                    <a:pt x="1626" y="1080"/>
                  </a:lnTo>
                  <a:lnTo>
                    <a:pt x="1614" y="1116"/>
                  </a:lnTo>
                  <a:lnTo>
                    <a:pt x="1614" y="1128"/>
                  </a:lnTo>
                  <a:lnTo>
                    <a:pt x="1626" y="1134"/>
                  </a:lnTo>
                  <a:lnTo>
                    <a:pt x="1644" y="1134"/>
                  </a:lnTo>
                  <a:lnTo>
                    <a:pt x="1662" y="1134"/>
                  </a:lnTo>
                  <a:lnTo>
                    <a:pt x="1680" y="1140"/>
                  </a:lnTo>
                  <a:lnTo>
                    <a:pt x="1698" y="1170"/>
                  </a:lnTo>
                  <a:lnTo>
                    <a:pt x="1704" y="1194"/>
                  </a:lnTo>
                  <a:lnTo>
                    <a:pt x="1692" y="1206"/>
                  </a:lnTo>
                  <a:lnTo>
                    <a:pt x="1662" y="1242"/>
                  </a:lnTo>
                  <a:lnTo>
                    <a:pt x="1632" y="1266"/>
                  </a:lnTo>
                  <a:lnTo>
                    <a:pt x="1620" y="1314"/>
                  </a:lnTo>
                  <a:lnTo>
                    <a:pt x="1584" y="1356"/>
                  </a:lnTo>
                  <a:lnTo>
                    <a:pt x="1578" y="1356"/>
                  </a:lnTo>
                  <a:lnTo>
                    <a:pt x="1578" y="1362"/>
                  </a:lnTo>
                  <a:lnTo>
                    <a:pt x="1572" y="1410"/>
                  </a:lnTo>
                  <a:lnTo>
                    <a:pt x="1584" y="1452"/>
                  </a:lnTo>
                  <a:lnTo>
                    <a:pt x="1608" y="1476"/>
                  </a:lnTo>
                  <a:lnTo>
                    <a:pt x="1596" y="1476"/>
                  </a:lnTo>
                  <a:lnTo>
                    <a:pt x="1584" y="1482"/>
                  </a:lnTo>
                  <a:lnTo>
                    <a:pt x="1560" y="1482"/>
                  </a:lnTo>
                  <a:lnTo>
                    <a:pt x="1536" y="1482"/>
                  </a:lnTo>
                  <a:lnTo>
                    <a:pt x="1524" y="1482"/>
                  </a:lnTo>
                  <a:lnTo>
                    <a:pt x="1506" y="1500"/>
                  </a:lnTo>
                  <a:lnTo>
                    <a:pt x="1482" y="1530"/>
                  </a:lnTo>
                  <a:lnTo>
                    <a:pt x="1452" y="1542"/>
                  </a:lnTo>
                  <a:lnTo>
                    <a:pt x="1446" y="1542"/>
                  </a:lnTo>
                  <a:lnTo>
                    <a:pt x="1440" y="1542"/>
                  </a:lnTo>
                  <a:lnTo>
                    <a:pt x="1440" y="1548"/>
                  </a:lnTo>
                  <a:lnTo>
                    <a:pt x="1434" y="1548"/>
                  </a:lnTo>
                  <a:lnTo>
                    <a:pt x="1428" y="1548"/>
                  </a:lnTo>
                  <a:lnTo>
                    <a:pt x="1428" y="1554"/>
                  </a:lnTo>
                  <a:lnTo>
                    <a:pt x="1422" y="1560"/>
                  </a:lnTo>
                  <a:lnTo>
                    <a:pt x="1416" y="1560"/>
                  </a:lnTo>
                  <a:lnTo>
                    <a:pt x="1410" y="1566"/>
                  </a:lnTo>
                  <a:lnTo>
                    <a:pt x="1410" y="1560"/>
                  </a:lnTo>
                  <a:lnTo>
                    <a:pt x="1404" y="1560"/>
                  </a:lnTo>
                  <a:lnTo>
                    <a:pt x="1392" y="1560"/>
                  </a:lnTo>
                  <a:lnTo>
                    <a:pt x="1386" y="1560"/>
                  </a:lnTo>
                  <a:lnTo>
                    <a:pt x="1380" y="1566"/>
                  </a:lnTo>
                  <a:lnTo>
                    <a:pt x="1374" y="1560"/>
                  </a:lnTo>
                  <a:lnTo>
                    <a:pt x="1368" y="1566"/>
                  </a:lnTo>
                  <a:lnTo>
                    <a:pt x="1362" y="1566"/>
                  </a:lnTo>
                  <a:lnTo>
                    <a:pt x="1362" y="1572"/>
                  </a:lnTo>
                  <a:lnTo>
                    <a:pt x="1356" y="1572"/>
                  </a:lnTo>
                  <a:lnTo>
                    <a:pt x="1356" y="1578"/>
                  </a:lnTo>
                  <a:lnTo>
                    <a:pt x="1350" y="1578"/>
                  </a:lnTo>
                  <a:lnTo>
                    <a:pt x="1350" y="1572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32" y="1584"/>
                  </a:lnTo>
                  <a:lnTo>
                    <a:pt x="1326" y="1590"/>
                  </a:lnTo>
                  <a:lnTo>
                    <a:pt x="1320" y="1584"/>
                  </a:lnTo>
                  <a:lnTo>
                    <a:pt x="1314" y="1590"/>
                  </a:lnTo>
                  <a:lnTo>
                    <a:pt x="1308" y="1596"/>
                  </a:lnTo>
                  <a:lnTo>
                    <a:pt x="1302" y="1596"/>
                  </a:lnTo>
                  <a:lnTo>
                    <a:pt x="1296" y="1596"/>
                  </a:lnTo>
                  <a:lnTo>
                    <a:pt x="1290" y="1596"/>
                  </a:lnTo>
                  <a:lnTo>
                    <a:pt x="1284" y="1596"/>
                  </a:lnTo>
                  <a:lnTo>
                    <a:pt x="1278" y="1602"/>
                  </a:lnTo>
                  <a:lnTo>
                    <a:pt x="1266" y="1602"/>
                  </a:lnTo>
                  <a:lnTo>
                    <a:pt x="1272" y="1608"/>
                  </a:lnTo>
                  <a:lnTo>
                    <a:pt x="1278" y="1608"/>
                  </a:lnTo>
                  <a:lnTo>
                    <a:pt x="1284" y="1608"/>
                  </a:lnTo>
                  <a:lnTo>
                    <a:pt x="1290" y="1614"/>
                  </a:lnTo>
                  <a:lnTo>
                    <a:pt x="1296" y="1620"/>
                  </a:lnTo>
                  <a:lnTo>
                    <a:pt x="1302" y="1626"/>
                  </a:lnTo>
                  <a:lnTo>
                    <a:pt x="1308" y="1632"/>
                  </a:lnTo>
                  <a:lnTo>
                    <a:pt x="1314" y="1638"/>
                  </a:lnTo>
                  <a:lnTo>
                    <a:pt x="1314" y="1644"/>
                  </a:lnTo>
                  <a:lnTo>
                    <a:pt x="1320" y="1644"/>
                  </a:lnTo>
                  <a:lnTo>
                    <a:pt x="1320" y="1650"/>
                  </a:lnTo>
                  <a:lnTo>
                    <a:pt x="1326" y="1656"/>
                  </a:lnTo>
                  <a:lnTo>
                    <a:pt x="1332" y="1668"/>
                  </a:lnTo>
                  <a:lnTo>
                    <a:pt x="1338" y="1680"/>
                  </a:lnTo>
                  <a:lnTo>
                    <a:pt x="1338" y="1698"/>
                  </a:lnTo>
                  <a:lnTo>
                    <a:pt x="1350" y="1710"/>
                  </a:lnTo>
                  <a:lnTo>
                    <a:pt x="1350" y="1716"/>
                  </a:lnTo>
                  <a:lnTo>
                    <a:pt x="1350" y="1722"/>
                  </a:lnTo>
                  <a:lnTo>
                    <a:pt x="1350" y="1728"/>
                  </a:lnTo>
                  <a:lnTo>
                    <a:pt x="1356" y="1728"/>
                  </a:lnTo>
                  <a:lnTo>
                    <a:pt x="1356" y="1734"/>
                  </a:lnTo>
                  <a:lnTo>
                    <a:pt x="1350" y="1734"/>
                  </a:lnTo>
                  <a:lnTo>
                    <a:pt x="1344" y="1740"/>
                  </a:lnTo>
                  <a:lnTo>
                    <a:pt x="1338" y="1740"/>
                  </a:lnTo>
                  <a:lnTo>
                    <a:pt x="1332" y="1746"/>
                  </a:lnTo>
                  <a:lnTo>
                    <a:pt x="1326" y="1746"/>
                  </a:lnTo>
                  <a:lnTo>
                    <a:pt x="1326" y="1752"/>
                  </a:lnTo>
                  <a:lnTo>
                    <a:pt x="1320" y="1752"/>
                  </a:lnTo>
                  <a:lnTo>
                    <a:pt x="1320" y="1758"/>
                  </a:lnTo>
                  <a:lnTo>
                    <a:pt x="1314" y="1758"/>
                  </a:lnTo>
                  <a:lnTo>
                    <a:pt x="1308" y="1758"/>
                  </a:lnTo>
                  <a:lnTo>
                    <a:pt x="1302" y="1758"/>
                  </a:lnTo>
                  <a:lnTo>
                    <a:pt x="1296" y="1758"/>
                  </a:lnTo>
                  <a:lnTo>
                    <a:pt x="1290" y="1764"/>
                  </a:lnTo>
                  <a:lnTo>
                    <a:pt x="1284" y="1770"/>
                  </a:lnTo>
                  <a:lnTo>
                    <a:pt x="1278" y="1770"/>
                  </a:lnTo>
                  <a:lnTo>
                    <a:pt x="1272" y="1770"/>
                  </a:lnTo>
                  <a:lnTo>
                    <a:pt x="1266" y="1770"/>
                  </a:lnTo>
                  <a:lnTo>
                    <a:pt x="1266" y="1776"/>
                  </a:lnTo>
                  <a:lnTo>
                    <a:pt x="1260" y="177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4" name="Freeform 39">
              <a:extLst>
                <a:ext uri="{FF2B5EF4-FFF2-40B4-BE49-F238E27FC236}">
                  <a16:creationId xmlns:a16="http://schemas.microsoft.com/office/drawing/2014/main" id="{E01CDA8B-32C7-421A-B23E-968CAC7F78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2974" y="1759680"/>
              <a:ext cx="825155" cy="700024"/>
            </a:xfrm>
            <a:custGeom>
              <a:avLst/>
              <a:gdLst>
                <a:gd name="T0" fmla="*/ 60 w 1554"/>
                <a:gd name="T1" fmla="*/ 86 h 1320"/>
                <a:gd name="T2" fmla="*/ 66 w 1554"/>
                <a:gd name="T3" fmla="*/ 80 h 1320"/>
                <a:gd name="T4" fmla="*/ 61 w 1554"/>
                <a:gd name="T5" fmla="*/ 73 h 1320"/>
                <a:gd name="T6" fmla="*/ 57 w 1554"/>
                <a:gd name="T7" fmla="*/ 67 h 1320"/>
                <a:gd name="T8" fmla="*/ 60 w 1554"/>
                <a:gd name="T9" fmla="*/ 59 h 1320"/>
                <a:gd name="T10" fmla="*/ 56 w 1554"/>
                <a:gd name="T11" fmla="*/ 55 h 1320"/>
                <a:gd name="T12" fmla="*/ 45 w 1554"/>
                <a:gd name="T13" fmla="*/ 53 h 1320"/>
                <a:gd name="T14" fmla="*/ 42 w 1554"/>
                <a:gd name="T15" fmla="*/ 41 h 1320"/>
                <a:gd name="T16" fmla="*/ 37 w 1554"/>
                <a:gd name="T17" fmla="*/ 39 h 1320"/>
                <a:gd name="T18" fmla="*/ 31 w 1554"/>
                <a:gd name="T19" fmla="*/ 44 h 1320"/>
                <a:gd name="T20" fmla="*/ 37 w 1554"/>
                <a:gd name="T21" fmla="*/ 35 h 1320"/>
                <a:gd name="T22" fmla="*/ 30 w 1554"/>
                <a:gd name="T23" fmla="*/ 23 h 1320"/>
                <a:gd name="T24" fmla="*/ 21 w 1554"/>
                <a:gd name="T25" fmla="*/ 23 h 1320"/>
                <a:gd name="T26" fmla="*/ 15 w 1554"/>
                <a:gd name="T27" fmla="*/ 27 h 1320"/>
                <a:gd name="T28" fmla="*/ 11 w 1554"/>
                <a:gd name="T29" fmla="*/ 32 h 1320"/>
                <a:gd name="T30" fmla="*/ 6 w 1554"/>
                <a:gd name="T31" fmla="*/ 22 h 1320"/>
                <a:gd name="T32" fmla="*/ 3 w 1554"/>
                <a:gd name="T33" fmla="*/ 11 h 1320"/>
                <a:gd name="T34" fmla="*/ 24 w 1554"/>
                <a:gd name="T35" fmla="*/ 12 h 1320"/>
                <a:gd name="T36" fmla="*/ 33 w 1554"/>
                <a:gd name="T37" fmla="*/ 19 h 1320"/>
                <a:gd name="T38" fmla="*/ 49 w 1554"/>
                <a:gd name="T39" fmla="*/ 12 h 1320"/>
                <a:gd name="T40" fmla="*/ 58 w 1554"/>
                <a:gd name="T41" fmla="*/ 10 h 1320"/>
                <a:gd name="T42" fmla="*/ 68 w 1554"/>
                <a:gd name="T43" fmla="*/ 11 h 1320"/>
                <a:gd name="T44" fmla="*/ 79 w 1554"/>
                <a:gd name="T45" fmla="*/ 12 h 1320"/>
                <a:gd name="T46" fmla="*/ 96 w 1554"/>
                <a:gd name="T47" fmla="*/ 11 h 1320"/>
                <a:gd name="T48" fmla="*/ 107 w 1554"/>
                <a:gd name="T49" fmla="*/ 2 h 1320"/>
                <a:gd name="T50" fmla="*/ 117 w 1554"/>
                <a:gd name="T51" fmla="*/ 8 h 1320"/>
                <a:gd name="T52" fmla="*/ 126 w 1554"/>
                <a:gd name="T53" fmla="*/ 12 h 1320"/>
                <a:gd name="T54" fmla="*/ 134 w 1554"/>
                <a:gd name="T55" fmla="*/ 24 h 1320"/>
                <a:gd name="T56" fmla="*/ 133 w 1554"/>
                <a:gd name="T57" fmla="*/ 29 h 1320"/>
                <a:gd name="T58" fmla="*/ 129 w 1554"/>
                <a:gd name="T59" fmla="*/ 31 h 1320"/>
                <a:gd name="T60" fmla="*/ 125 w 1554"/>
                <a:gd name="T61" fmla="*/ 32 h 1320"/>
                <a:gd name="T62" fmla="*/ 115 w 1554"/>
                <a:gd name="T63" fmla="*/ 34 h 1320"/>
                <a:gd name="T64" fmla="*/ 113 w 1554"/>
                <a:gd name="T65" fmla="*/ 44 h 1320"/>
                <a:gd name="T66" fmla="*/ 111 w 1554"/>
                <a:gd name="T67" fmla="*/ 54 h 1320"/>
                <a:gd name="T68" fmla="*/ 107 w 1554"/>
                <a:gd name="T69" fmla="*/ 56 h 1320"/>
                <a:gd name="T70" fmla="*/ 102 w 1554"/>
                <a:gd name="T71" fmla="*/ 58 h 1320"/>
                <a:gd name="T72" fmla="*/ 99 w 1554"/>
                <a:gd name="T73" fmla="*/ 60 h 1320"/>
                <a:gd name="T74" fmla="*/ 93 w 1554"/>
                <a:gd name="T75" fmla="*/ 62 h 1320"/>
                <a:gd name="T76" fmla="*/ 87 w 1554"/>
                <a:gd name="T77" fmla="*/ 64 h 1320"/>
                <a:gd name="T78" fmla="*/ 84 w 1554"/>
                <a:gd name="T79" fmla="*/ 65 h 1320"/>
                <a:gd name="T80" fmla="*/ 81 w 1554"/>
                <a:gd name="T81" fmla="*/ 69 h 1320"/>
                <a:gd name="T82" fmla="*/ 83 w 1554"/>
                <a:gd name="T83" fmla="*/ 72 h 1320"/>
                <a:gd name="T84" fmla="*/ 92 w 1554"/>
                <a:gd name="T85" fmla="*/ 73 h 1320"/>
                <a:gd name="T86" fmla="*/ 93 w 1554"/>
                <a:gd name="T87" fmla="*/ 87 h 1320"/>
                <a:gd name="T88" fmla="*/ 104 w 1554"/>
                <a:gd name="T89" fmla="*/ 98 h 1320"/>
                <a:gd name="T90" fmla="*/ 108 w 1554"/>
                <a:gd name="T91" fmla="*/ 98 h 1320"/>
                <a:gd name="T92" fmla="*/ 112 w 1554"/>
                <a:gd name="T93" fmla="*/ 100 h 1320"/>
                <a:gd name="T94" fmla="*/ 118 w 1554"/>
                <a:gd name="T95" fmla="*/ 100 h 1320"/>
                <a:gd name="T96" fmla="*/ 122 w 1554"/>
                <a:gd name="T97" fmla="*/ 102 h 1320"/>
                <a:gd name="T98" fmla="*/ 118 w 1554"/>
                <a:gd name="T99" fmla="*/ 105 h 1320"/>
                <a:gd name="T100" fmla="*/ 114 w 1554"/>
                <a:gd name="T101" fmla="*/ 107 h 1320"/>
                <a:gd name="T102" fmla="*/ 113 w 1554"/>
                <a:gd name="T103" fmla="*/ 113 h 1320"/>
                <a:gd name="T104" fmla="*/ 104 w 1554"/>
                <a:gd name="T105" fmla="*/ 113 h 1320"/>
                <a:gd name="T106" fmla="*/ 93 w 1554"/>
                <a:gd name="T107" fmla="*/ 109 h 1320"/>
                <a:gd name="T108" fmla="*/ 96 w 1554"/>
                <a:gd name="T109" fmla="*/ 103 h 1320"/>
                <a:gd name="T110" fmla="*/ 95 w 1554"/>
                <a:gd name="T111" fmla="*/ 97 h 1320"/>
                <a:gd name="T112" fmla="*/ 87 w 1554"/>
                <a:gd name="T113" fmla="*/ 98 h 1320"/>
                <a:gd name="T114" fmla="*/ 81 w 1554"/>
                <a:gd name="T115" fmla="*/ 98 h 1320"/>
                <a:gd name="T116" fmla="*/ 78 w 1554"/>
                <a:gd name="T117" fmla="*/ 93 h 1320"/>
                <a:gd name="T118" fmla="*/ 65 w 1554"/>
                <a:gd name="T119" fmla="*/ 92 h 1320"/>
                <a:gd name="T120" fmla="*/ 59 w 1554"/>
                <a:gd name="T121" fmla="*/ 92 h 13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54"/>
                <a:gd name="T184" fmla="*/ 0 h 1320"/>
                <a:gd name="T185" fmla="*/ 1554 w 1554"/>
                <a:gd name="T186" fmla="*/ 1320 h 132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54" h="1320">
                  <a:moveTo>
                    <a:pt x="684" y="1068"/>
                  </a:moveTo>
                  <a:lnTo>
                    <a:pt x="684" y="1062"/>
                  </a:lnTo>
                  <a:lnTo>
                    <a:pt x="690" y="1056"/>
                  </a:lnTo>
                  <a:lnTo>
                    <a:pt x="690" y="1050"/>
                  </a:lnTo>
                  <a:lnTo>
                    <a:pt x="690" y="1044"/>
                  </a:lnTo>
                  <a:lnTo>
                    <a:pt x="690" y="1038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14"/>
                  </a:lnTo>
                  <a:lnTo>
                    <a:pt x="690" y="1008"/>
                  </a:lnTo>
                  <a:lnTo>
                    <a:pt x="696" y="996"/>
                  </a:lnTo>
                  <a:lnTo>
                    <a:pt x="714" y="996"/>
                  </a:lnTo>
                  <a:lnTo>
                    <a:pt x="714" y="990"/>
                  </a:lnTo>
                  <a:lnTo>
                    <a:pt x="732" y="984"/>
                  </a:lnTo>
                  <a:lnTo>
                    <a:pt x="744" y="978"/>
                  </a:lnTo>
                  <a:lnTo>
                    <a:pt x="762" y="966"/>
                  </a:lnTo>
                  <a:lnTo>
                    <a:pt x="762" y="960"/>
                  </a:lnTo>
                  <a:lnTo>
                    <a:pt x="768" y="954"/>
                  </a:lnTo>
                  <a:lnTo>
                    <a:pt x="774" y="948"/>
                  </a:lnTo>
                  <a:lnTo>
                    <a:pt x="774" y="942"/>
                  </a:lnTo>
                  <a:lnTo>
                    <a:pt x="774" y="924"/>
                  </a:lnTo>
                  <a:lnTo>
                    <a:pt x="768" y="918"/>
                  </a:lnTo>
                  <a:lnTo>
                    <a:pt x="756" y="918"/>
                  </a:lnTo>
                  <a:lnTo>
                    <a:pt x="744" y="918"/>
                  </a:lnTo>
                  <a:lnTo>
                    <a:pt x="732" y="924"/>
                  </a:lnTo>
                  <a:lnTo>
                    <a:pt x="726" y="912"/>
                  </a:lnTo>
                  <a:lnTo>
                    <a:pt x="720" y="912"/>
                  </a:lnTo>
                  <a:lnTo>
                    <a:pt x="720" y="900"/>
                  </a:lnTo>
                  <a:lnTo>
                    <a:pt x="720" y="870"/>
                  </a:lnTo>
                  <a:lnTo>
                    <a:pt x="696" y="876"/>
                  </a:lnTo>
                  <a:lnTo>
                    <a:pt x="690" y="852"/>
                  </a:lnTo>
                  <a:lnTo>
                    <a:pt x="702" y="852"/>
                  </a:lnTo>
                  <a:lnTo>
                    <a:pt x="702" y="840"/>
                  </a:lnTo>
                  <a:lnTo>
                    <a:pt x="708" y="834"/>
                  </a:lnTo>
                  <a:lnTo>
                    <a:pt x="702" y="822"/>
                  </a:lnTo>
                  <a:lnTo>
                    <a:pt x="660" y="822"/>
                  </a:lnTo>
                  <a:lnTo>
                    <a:pt x="654" y="822"/>
                  </a:lnTo>
                  <a:lnTo>
                    <a:pt x="642" y="822"/>
                  </a:lnTo>
                  <a:lnTo>
                    <a:pt x="642" y="810"/>
                  </a:lnTo>
                  <a:lnTo>
                    <a:pt x="642" y="798"/>
                  </a:lnTo>
                  <a:lnTo>
                    <a:pt x="642" y="792"/>
                  </a:lnTo>
                  <a:lnTo>
                    <a:pt x="648" y="780"/>
                  </a:lnTo>
                  <a:lnTo>
                    <a:pt x="654" y="774"/>
                  </a:lnTo>
                  <a:lnTo>
                    <a:pt x="660" y="774"/>
                  </a:lnTo>
                  <a:lnTo>
                    <a:pt x="672" y="762"/>
                  </a:lnTo>
                  <a:lnTo>
                    <a:pt x="672" y="756"/>
                  </a:lnTo>
                  <a:lnTo>
                    <a:pt x="678" y="750"/>
                  </a:lnTo>
                  <a:lnTo>
                    <a:pt x="684" y="750"/>
                  </a:lnTo>
                  <a:lnTo>
                    <a:pt x="690" y="744"/>
                  </a:lnTo>
                  <a:lnTo>
                    <a:pt x="696" y="732"/>
                  </a:lnTo>
                  <a:lnTo>
                    <a:pt x="696" y="726"/>
                  </a:lnTo>
                  <a:lnTo>
                    <a:pt x="702" y="714"/>
                  </a:lnTo>
                  <a:lnTo>
                    <a:pt x="696" y="708"/>
                  </a:lnTo>
                  <a:lnTo>
                    <a:pt x="690" y="690"/>
                  </a:lnTo>
                  <a:lnTo>
                    <a:pt x="696" y="678"/>
                  </a:lnTo>
                  <a:lnTo>
                    <a:pt x="708" y="672"/>
                  </a:lnTo>
                  <a:lnTo>
                    <a:pt x="708" y="660"/>
                  </a:lnTo>
                  <a:lnTo>
                    <a:pt x="702" y="660"/>
                  </a:lnTo>
                  <a:lnTo>
                    <a:pt x="696" y="660"/>
                  </a:lnTo>
                  <a:lnTo>
                    <a:pt x="690" y="654"/>
                  </a:lnTo>
                  <a:lnTo>
                    <a:pt x="684" y="654"/>
                  </a:lnTo>
                  <a:lnTo>
                    <a:pt x="690" y="606"/>
                  </a:lnTo>
                  <a:lnTo>
                    <a:pt x="660" y="606"/>
                  </a:lnTo>
                  <a:lnTo>
                    <a:pt x="660" y="612"/>
                  </a:lnTo>
                  <a:lnTo>
                    <a:pt x="648" y="612"/>
                  </a:lnTo>
                  <a:lnTo>
                    <a:pt x="642" y="636"/>
                  </a:lnTo>
                  <a:lnTo>
                    <a:pt x="636" y="636"/>
                  </a:lnTo>
                  <a:lnTo>
                    <a:pt x="630" y="648"/>
                  </a:lnTo>
                  <a:lnTo>
                    <a:pt x="612" y="648"/>
                  </a:lnTo>
                  <a:lnTo>
                    <a:pt x="606" y="636"/>
                  </a:lnTo>
                  <a:lnTo>
                    <a:pt x="600" y="630"/>
                  </a:lnTo>
                  <a:lnTo>
                    <a:pt x="588" y="606"/>
                  </a:lnTo>
                  <a:lnTo>
                    <a:pt x="552" y="606"/>
                  </a:lnTo>
                  <a:lnTo>
                    <a:pt x="552" y="612"/>
                  </a:lnTo>
                  <a:lnTo>
                    <a:pt x="540" y="612"/>
                  </a:lnTo>
                  <a:lnTo>
                    <a:pt x="540" y="606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16" y="612"/>
                  </a:lnTo>
                  <a:lnTo>
                    <a:pt x="516" y="582"/>
                  </a:lnTo>
                  <a:lnTo>
                    <a:pt x="522" y="576"/>
                  </a:lnTo>
                  <a:lnTo>
                    <a:pt x="528" y="576"/>
                  </a:lnTo>
                  <a:lnTo>
                    <a:pt x="528" y="552"/>
                  </a:lnTo>
                  <a:lnTo>
                    <a:pt x="522" y="540"/>
                  </a:lnTo>
                  <a:lnTo>
                    <a:pt x="510" y="528"/>
                  </a:lnTo>
                  <a:lnTo>
                    <a:pt x="486" y="510"/>
                  </a:lnTo>
                  <a:lnTo>
                    <a:pt x="480" y="498"/>
                  </a:lnTo>
                  <a:lnTo>
                    <a:pt x="480" y="474"/>
                  </a:lnTo>
                  <a:lnTo>
                    <a:pt x="492" y="468"/>
                  </a:lnTo>
                  <a:lnTo>
                    <a:pt x="486" y="450"/>
                  </a:lnTo>
                  <a:lnTo>
                    <a:pt x="474" y="456"/>
                  </a:lnTo>
                  <a:lnTo>
                    <a:pt x="468" y="456"/>
                  </a:lnTo>
                  <a:lnTo>
                    <a:pt x="462" y="456"/>
                  </a:lnTo>
                  <a:lnTo>
                    <a:pt x="456" y="468"/>
                  </a:lnTo>
                  <a:lnTo>
                    <a:pt x="456" y="474"/>
                  </a:lnTo>
                  <a:lnTo>
                    <a:pt x="450" y="480"/>
                  </a:lnTo>
                  <a:lnTo>
                    <a:pt x="444" y="450"/>
                  </a:lnTo>
                  <a:lnTo>
                    <a:pt x="438" y="450"/>
                  </a:lnTo>
                  <a:lnTo>
                    <a:pt x="432" y="450"/>
                  </a:lnTo>
                  <a:lnTo>
                    <a:pt x="420" y="450"/>
                  </a:lnTo>
                  <a:lnTo>
                    <a:pt x="420" y="456"/>
                  </a:lnTo>
                  <a:lnTo>
                    <a:pt x="414" y="456"/>
                  </a:lnTo>
                  <a:lnTo>
                    <a:pt x="408" y="468"/>
                  </a:lnTo>
                  <a:lnTo>
                    <a:pt x="402" y="468"/>
                  </a:lnTo>
                  <a:lnTo>
                    <a:pt x="396" y="474"/>
                  </a:lnTo>
                  <a:lnTo>
                    <a:pt x="390" y="492"/>
                  </a:lnTo>
                  <a:lnTo>
                    <a:pt x="384" y="504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54" y="510"/>
                  </a:lnTo>
                  <a:lnTo>
                    <a:pt x="360" y="480"/>
                  </a:lnTo>
                  <a:lnTo>
                    <a:pt x="360" y="474"/>
                  </a:lnTo>
                  <a:lnTo>
                    <a:pt x="378" y="456"/>
                  </a:lnTo>
                  <a:lnTo>
                    <a:pt x="384" y="450"/>
                  </a:lnTo>
                  <a:lnTo>
                    <a:pt x="396" y="444"/>
                  </a:lnTo>
                  <a:lnTo>
                    <a:pt x="402" y="438"/>
                  </a:lnTo>
                  <a:lnTo>
                    <a:pt x="408" y="438"/>
                  </a:lnTo>
                  <a:lnTo>
                    <a:pt x="408" y="426"/>
                  </a:lnTo>
                  <a:lnTo>
                    <a:pt x="414" y="420"/>
                  </a:lnTo>
                  <a:lnTo>
                    <a:pt x="426" y="420"/>
                  </a:lnTo>
                  <a:lnTo>
                    <a:pt x="426" y="408"/>
                  </a:lnTo>
                  <a:lnTo>
                    <a:pt x="420" y="390"/>
                  </a:lnTo>
                  <a:lnTo>
                    <a:pt x="408" y="384"/>
                  </a:lnTo>
                  <a:lnTo>
                    <a:pt x="378" y="378"/>
                  </a:lnTo>
                  <a:lnTo>
                    <a:pt x="354" y="366"/>
                  </a:lnTo>
                  <a:lnTo>
                    <a:pt x="342" y="360"/>
                  </a:lnTo>
                  <a:lnTo>
                    <a:pt x="342" y="348"/>
                  </a:lnTo>
                  <a:lnTo>
                    <a:pt x="336" y="330"/>
                  </a:lnTo>
                  <a:lnTo>
                    <a:pt x="348" y="306"/>
                  </a:lnTo>
                  <a:lnTo>
                    <a:pt x="360" y="294"/>
                  </a:lnTo>
                  <a:lnTo>
                    <a:pt x="360" y="282"/>
                  </a:lnTo>
                  <a:lnTo>
                    <a:pt x="342" y="270"/>
                  </a:lnTo>
                  <a:lnTo>
                    <a:pt x="342" y="264"/>
                  </a:lnTo>
                  <a:lnTo>
                    <a:pt x="330" y="264"/>
                  </a:lnTo>
                  <a:lnTo>
                    <a:pt x="312" y="270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88" y="270"/>
                  </a:lnTo>
                  <a:lnTo>
                    <a:pt x="282" y="270"/>
                  </a:lnTo>
                  <a:lnTo>
                    <a:pt x="276" y="264"/>
                  </a:lnTo>
                  <a:lnTo>
                    <a:pt x="270" y="264"/>
                  </a:lnTo>
                  <a:lnTo>
                    <a:pt x="252" y="270"/>
                  </a:lnTo>
                  <a:lnTo>
                    <a:pt x="246" y="270"/>
                  </a:lnTo>
                  <a:lnTo>
                    <a:pt x="240" y="270"/>
                  </a:lnTo>
                  <a:lnTo>
                    <a:pt x="228" y="270"/>
                  </a:lnTo>
                  <a:lnTo>
                    <a:pt x="216" y="276"/>
                  </a:lnTo>
                  <a:lnTo>
                    <a:pt x="210" y="270"/>
                  </a:lnTo>
                  <a:lnTo>
                    <a:pt x="204" y="270"/>
                  </a:lnTo>
                  <a:lnTo>
                    <a:pt x="198" y="276"/>
                  </a:lnTo>
                  <a:lnTo>
                    <a:pt x="192" y="276"/>
                  </a:lnTo>
                  <a:lnTo>
                    <a:pt x="186" y="282"/>
                  </a:lnTo>
                  <a:lnTo>
                    <a:pt x="180" y="288"/>
                  </a:lnTo>
                  <a:lnTo>
                    <a:pt x="174" y="300"/>
                  </a:lnTo>
                  <a:lnTo>
                    <a:pt x="168" y="306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8" y="330"/>
                  </a:lnTo>
                  <a:lnTo>
                    <a:pt x="162" y="336"/>
                  </a:lnTo>
                  <a:lnTo>
                    <a:pt x="156" y="342"/>
                  </a:lnTo>
                  <a:lnTo>
                    <a:pt x="156" y="348"/>
                  </a:lnTo>
                  <a:lnTo>
                    <a:pt x="156" y="354"/>
                  </a:lnTo>
                  <a:lnTo>
                    <a:pt x="150" y="366"/>
                  </a:lnTo>
                  <a:lnTo>
                    <a:pt x="150" y="372"/>
                  </a:lnTo>
                  <a:lnTo>
                    <a:pt x="144" y="366"/>
                  </a:lnTo>
                  <a:lnTo>
                    <a:pt x="132" y="366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20" y="348"/>
                  </a:lnTo>
                  <a:lnTo>
                    <a:pt x="102" y="330"/>
                  </a:lnTo>
                  <a:lnTo>
                    <a:pt x="96" y="318"/>
                  </a:lnTo>
                  <a:lnTo>
                    <a:pt x="96" y="282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0" y="258"/>
                  </a:lnTo>
                  <a:lnTo>
                    <a:pt x="84" y="252"/>
                  </a:lnTo>
                  <a:lnTo>
                    <a:pt x="66" y="258"/>
                  </a:lnTo>
                  <a:lnTo>
                    <a:pt x="60" y="246"/>
                  </a:lnTo>
                  <a:lnTo>
                    <a:pt x="30" y="252"/>
                  </a:lnTo>
                  <a:lnTo>
                    <a:pt x="18" y="246"/>
                  </a:lnTo>
                  <a:lnTo>
                    <a:pt x="0" y="240"/>
                  </a:lnTo>
                  <a:lnTo>
                    <a:pt x="0" y="234"/>
                  </a:lnTo>
                  <a:lnTo>
                    <a:pt x="0" y="210"/>
                  </a:lnTo>
                  <a:lnTo>
                    <a:pt x="6" y="204"/>
                  </a:lnTo>
                  <a:lnTo>
                    <a:pt x="18" y="192"/>
                  </a:lnTo>
                  <a:lnTo>
                    <a:pt x="18" y="144"/>
                  </a:lnTo>
                  <a:lnTo>
                    <a:pt x="24" y="126"/>
                  </a:lnTo>
                  <a:lnTo>
                    <a:pt x="36" y="126"/>
                  </a:lnTo>
                  <a:lnTo>
                    <a:pt x="54" y="120"/>
                  </a:lnTo>
                  <a:lnTo>
                    <a:pt x="54" y="126"/>
                  </a:lnTo>
                  <a:lnTo>
                    <a:pt x="132" y="114"/>
                  </a:lnTo>
                  <a:lnTo>
                    <a:pt x="144" y="120"/>
                  </a:lnTo>
                  <a:lnTo>
                    <a:pt x="150" y="132"/>
                  </a:lnTo>
                  <a:lnTo>
                    <a:pt x="180" y="126"/>
                  </a:lnTo>
                  <a:lnTo>
                    <a:pt x="210" y="120"/>
                  </a:lnTo>
                  <a:lnTo>
                    <a:pt x="240" y="120"/>
                  </a:lnTo>
                  <a:lnTo>
                    <a:pt x="258" y="120"/>
                  </a:lnTo>
                  <a:lnTo>
                    <a:pt x="270" y="126"/>
                  </a:lnTo>
                  <a:lnTo>
                    <a:pt x="276" y="132"/>
                  </a:lnTo>
                  <a:lnTo>
                    <a:pt x="282" y="138"/>
                  </a:lnTo>
                  <a:lnTo>
                    <a:pt x="282" y="156"/>
                  </a:lnTo>
                  <a:lnTo>
                    <a:pt x="288" y="186"/>
                  </a:lnTo>
                  <a:lnTo>
                    <a:pt x="312" y="192"/>
                  </a:lnTo>
                  <a:lnTo>
                    <a:pt x="318" y="198"/>
                  </a:lnTo>
                  <a:lnTo>
                    <a:pt x="324" y="204"/>
                  </a:lnTo>
                  <a:lnTo>
                    <a:pt x="330" y="210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66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86" y="210"/>
                  </a:lnTo>
                  <a:lnTo>
                    <a:pt x="498" y="198"/>
                  </a:lnTo>
                  <a:lnTo>
                    <a:pt x="504" y="174"/>
                  </a:lnTo>
                  <a:lnTo>
                    <a:pt x="516" y="162"/>
                  </a:lnTo>
                  <a:lnTo>
                    <a:pt x="516" y="138"/>
                  </a:lnTo>
                  <a:lnTo>
                    <a:pt x="522" y="132"/>
                  </a:lnTo>
                  <a:lnTo>
                    <a:pt x="564" y="132"/>
                  </a:lnTo>
                  <a:lnTo>
                    <a:pt x="564" y="114"/>
                  </a:lnTo>
                  <a:lnTo>
                    <a:pt x="582" y="114"/>
                  </a:lnTo>
                  <a:lnTo>
                    <a:pt x="594" y="114"/>
                  </a:lnTo>
                  <a:lnTo>
                    <a:pt x="606" y="114"/>
                  </a:lnTo>
                  <a:lnTo>
                    <a:pt x="612" y="114"/>
                  </a:lnTo>
                  <a:lnTo>
                    <a:pt x="630" y="114"/>
                  </a:lnTo>
                  <a:lnTo>
                    <a:pt x="636" y="114"/>
                  </a:lnTo>
                  <a:lnTo>
                    <a:pt x="648" y="114"/>
                  </a:lnTo>
                  <a:lnTo>
                    <a:pt x="654" y="114"/>
                  </a:lnTo>
                  <a:lnTo>
                    <a:pt x="660" y="120"/>
                  </a:lnTo>
                  <a:lnTo>
                    <a:pt x="672" y="120"/>
                  </a:lnTo>
                  <a:lnTo>
                    <a:pt x="684" y="120"/>
                  </a:lnTo>
                  <a:lnTo>
                    <a:pt x="690" y="120"/>
                  </a:lnTo>
                  <a:lnTo>
                    <a:pt x="702" y="120"/>
                  </a:lnTo>
                  <a:lnTo>
                    <a:pt x="708" y="120"/>
                  </a:lnTo>
                  <a:lnTo>
                    <a:pt x="726" y="126"/>
                  </a:lnTo>
                  <a:lnTo>
                    <a:pt x="732" y="126"/>
                  </a:lnTo>
                  <a:lnTo>
                    <a:pt x="738" y="126"/>
                  </a:lnTo>
                  <a:lnTo>
                    <a:pt x="750" y="126"/>
                  </a:lnTo>
                  <a:lnTo>
                    <a:pt x="756" y="126"/>
                  </a:lnTo>
                  <a:lnTo>
                    <a:pt x="768" y="126"/>
                  </a:lnTo>
                  <a:lnTo>
                    <a:pt x="780" y="126"/>
                  </a:lnTo>
                  <a:lnTo>
                    <a:pt x="786" y="120"/>
                  </a:lnTo>
                  <a:lnTo>
                    <a:pt x="792" y="120"/>
                  </a:lnTo>
                  <a:lnTo>
                    <a:pt x="810" y="120"/>
                  </a:lnTo>
                  <a:lnTo>
                    <a:pt x="822" y="120"/>
                  </a:lnTo>
                  <a:lnTo>
                    <a:pt x="846" y="126"/>
                  </a:lnTo>
                  <a:lnTo>
                    <a:pt x="858" y="126"/>
                  </a:lnTo>
                  <a:lnTo>
                    <a:pt x="870" y="132"/>
                  </a:lnTo>
                  <a:lnTo>
                    <a:pt x="882" y="132"/>
                  </a:lnTo>
                  <a:lnTo>
                    <a:pt x="894" y="132"/>
                  </a:lnTo>
                  <a:lnTo>
                    <a:pt x="900" y="132"/>
                  </a:lnTo>
                  <a:lnTo>
                    <a:pt x="912" y="132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36" y="132"/>
                  </a:lnTo>
                  <a:lnTo>
                    <a:pt x="960" y="132"/>
                  </a:lnTo>
                  <a:lnTo>
                    <a:pt x="966" y="144"/>
                  </a:lnTo>
                  <a:lnTo>
                    <a:pt x="972" y="144"/>
                  </a:lnTo>
                  <a:lnTo>
                    <a:pt x="1002" y="144"/>
                  </a:lnTo>
                  <a:lnTo>
                    <a:pt x="1020" y="144"/>
                  </a:lnTo>
                  <a:lnTo>
                    <a:pt x="1068" y="138"/>
                  </a:lnTo>
                  <a:lnTo>
                    <a:pt x="1110" y="132"/>
                  </a:lnTo>
                  <a:lnTo>
                    <a:pt x="1110" y="126"/>
                  </a:lnTo>
                  <a:lnTo>
                    <a:pt x="1116" y="120"/>
                  </a:lnTo>
                  <a:lnTo>
                    <a:pt x="1122" y="108"/>
                  </a:lnTo>
                  <a:lnTo>
                    <a:pt x="1134" y="96"/>
                  </a:lnTo>
                  <a:lnTo>
                    <a:pt x="1146" y="60"/>
                  </a:lnTo>
                  <a:lnTo>
                    <a:pt x="1158" y="54"/>
                  </a:lnTo>
                  <a:lnTo>
                    <a:pt x="1170" y="48"/>
                  </a:lnTo>
                  <a:lnTo>
                    <a:pt x="1188" y="42"/>
                  </a:lnTo>
                  <a:lnTo>
                    <a:pt x="1200" y="36"/>
                  </a:lnTo>
                  <a:lnTo>
                    <a:pt x="1212" y="36"/>
                  </a:lnTo>
                  <a:lnTo>
                    <a:pt x="1236" y="30"/>
                  </a:lnTo>
                  <a:lnTo>
                    <a:pt x="1236" y="24"/>
                  </a:lnTo>
                  <a:lnTo>
                    <a:pt x="1278" y="18"/>
                  </a:lnTo>
                  <a:lnTo>
                    <a:pt x="1290" y="18"/>
                  </a:lnTo>
                  <a:lnTo>
                    <a:pt x="1302" y="12"/>
                  </a:lnTo>
                  <a:lnTo>
                    <a:pt x="1314" y="0"/>
                  </a:lnTo>
                  <a:lnTo>
                    <a:pt x="1332" y="0"/>
                  </a:lnTo>
                  <a:lnTo>
                    <a:pt x="1338" y="24"/>
                  </a:lnTo>
                  <a:lnTo>
                    <a:pt x="1344" y="30"/>
                  </a:lnTo>
                  <a:lnTo>
                    <a:pt x="1350" y="42"/>
                  </a:lnTo>
                  <a:lnTo>
                    <a:pt x="1356" y="48"/>
                  </a:lnTo>
                  <a:lnTo>
                    <a:pt x="1356" y="78"/>
                  </a:lnTo>
                  <a:lnTo>
                    <a:pt x="1350" y="96"/>
                  </a:lnTo>
                  <a:lnTo>
                    <a:pt x="1338" y="108"/>
                  </a:lnTo>
                  <a:lnTo>
                    <a:pt x="1338" y="114"/>
                  </a:lnTo>
                  <a:lnTo>
                    <a:pt x="1338" y="120"/>
                  </a:lnTo>
                  <a:lnTo>
                    <a:pt x="1338" y="126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398" y="114"/>
                  </a:lnTo>
                  <a:lnTo>
                    <a:pt x="1416" y="120"/>
                  </a:lnTo>
                  <a:lnTo>
                    <a:pt x="1434" y="126"/>
                  </a:lnTo>
                  <a:lnTo>
                    <a:pt x="1458" y="132"/>
                  </a:lnTo>
                  <a:lnTo>
                    <a:pt x="1458" y="138"/>
                  </a:lnTo>
                  <a:lnTo>
                    <a:pt x="1512" y="138"/>
                  </a:lnTo>
                  <a:lnTo>
                    <a:pt x="1512" y="132"/>
                  </a:lnTo>
                  <a:lnTo>
                    <a:pt x="1524" y="138"/>
                  </a:lnTo>
                  <a:lnTo>
                    <a:pt x="1542" y="138"/>
                  </a:lnTo>
                  <a:lnTo>
                    <a:pt x="1542" y="150"/>
                  </a:lnTo>
                  <a:lnTo>
                    <a:pt x="1542" y="162"/>
                  </a:lnTo>
                  <a:lnTo>
                    <a:pt x="1548" y="174"/>
                  </a:lnTo>
                  <a:lnTo>
                    <a:pt x="1548" y="180"/>
                  </a:lnTo>
                  <a:lnTo>
                    <a:pt x="1554" y="222"/>
                  </a:lnTo>
                  <a:lnTo>
                    <a:pt x="1554" y="258"/>
                  </a:lnTo>
                  <a:lnTo>
                    <a:pt x="1554" y="276"/>
                  </a:lnTo>
                  <a:lnTo>
                    <a:pt x="1554" y="282"/>
                  </a:lnTo>
                  <a:lnTo>
                    <a:pt x="1554" y="294"/>
                  </a:lnTo>
                  <a:lnTo>
                    <a:pt x="1554" y="306"/>
                  </a:lnTo>
                  <a:lnTo>
                    <a:pt x="1554" y="324"/>
                  </a:lnTo>
                  <a:lnTo>
                    <a:pt x="1554" y="330"/>
                  </a:lnTo>
                  <a:lnTo>
                    <a:pt x="1548" y="330"/>
                  </a:lnTo>
                  <a:lnTo>
                    <a:pt x="1548" y="336"/>
                  </a:lnTo>
                  <a:lnTo>
                    <a:pt x="1548" y="342"/>
                  </a:lnTo>
                  <a:lnTo>
                    <a:pt x="1542" y="336"/>
                  </a:lnTo>
                  <a:lnTo>
                    <a:pt x="1542" y="330"/>
                  </a:lnTo>
                  <a:lnTo>
                    <a:pt x="1536" y="330"/>
                  </a:lnTo>
                  <a:lnTo>
                    <a:pt x="1530" y="330"/>
                  </a:lnTo>
                  <a:lnTo>
                    <a:pt x="1530" y="336"/>
                  </a:lnTo>
                  <a:lnTo>
                    <a:pt x="1536" y="342"/>
                  </a:lnTo>
                  <a:lnTo>
                    <a:pt x="1530" y="342"/>
                  </a:lnTo>
                  <a:lnTo>
                    <a:pt x="1518" y="348"/>
                  </a:lnTo>
                  <a:lnTo>
                    <a:pt x="1512" y="354"/>
                  </a:lnTo>
                  <a:lnTo>
                    <a:pt x="1506" y="354"/>
                  </a:lnTo>
                  <a:lnTo>
                    <a:pt x="1500" y="354"/>
                  </a:lnTo>
                  <a:lnTo>
                    <a:pt x="1494" y="354"/>
                  </a:lnTo>
                  <a:lnTo>
                    <a:pt x="1494" y="360"/>
                  </a:lnTo>
                  <a:lnTo>
                    <a:pt x="1488" y="360"/>
                  </a:lnTo>
                  <a:lnTo>
                    <a:pt x="1488" y="366"/>
                  </a:lnTo>
                  <a:lnTo>
                    <a:pt x="1488" y="372"/>
                  </a:lnTo>
                  <a:lnTo>
                    <a:pt x="1482" y="372"/>
                  </a:lnTo>
                  <a:lnTo>
                    <a:pt x="1476" y="372"/>
                  </a:lnTo>
                  <a:lnTo>
                    <a:pt x="1470" y="372"/>
                  </a:lnTo>
                  <a:lnTo>
                    <a:pt x="1470" y="378"/>
                  </a:lnTo>
                  <a:lnTo>
                    <a:pt x="1470" y="384"/>
                  </a:lnTo>
                  <a:lnTo>
                    <a:pt x="1470" y="390"/>
                  </a:lnTo>
                  <a:lnTo>
                    <a:pt x="1464" y="402"/>
                  </a:lnTo>
                  <a:lnTo>
                    <a:pt x="1446" y="402"/>
                  </a:lnTo>
                  <a:lnTo>
                    <a:pt x="1440" y="372"/>
                  </a:lnTo>
                  <a:lnTo>
                    <a:pt x="1410" y="372"/>
                  </a:lnTo>
                  <a:lnTo>
                    <a:pt x="1380" y="372"/>
                  </a:lnTo>
                  <a:lnTo>
                    <a:pt x="1374" y="372"/>
                  </a:lnTo>
                  <a:lnTo>
                    <a:pt x="1368" y="378"/>
                  </a:lnTo>
                  <a:lnTo>
                    <a:pt x="1362" y="378"/>
                  </a:lnTo>
                  <a:lnTo>
                    <a:pt x="1356" y="378"/>
                  </a:lnTo>
                  <a:lnTo>
                    <a:pt x="1350" y="384"/>
                  </a:lnTo>
                  <a:lnTo>
                    <a:pt x="1350" y="390"/>
                  </a:lnTo>
                  <a:lnTo>
                    <a:pt x="1344" y="390"/>
                  </a:lnTo>
                  <a:lnTo>
                    <a:pt x="1338" y="390"/>
                  </a:lnTo>
                  <a:lnTo>
                    <a:pt x="1332" y="390"/>
                  </a:lnTo>
                  <a:lnTo>
                    <a:pt x="1332" y="396"/>
                  </a:lnTo>
                  <a:lnTo>
                    <a:pt x="1332" y="390"/>
                  </a:lnTo>
                  <a:lnTo>
                    <a:pt x="1326" y="402"/>
                  </a:lnTo>
                  <a:lnTo>
                    <a:pt x="1320" y="402"/>
                  </a:lnTo>
                  <a:lnTo>
                    <a:pt x="1302" y="474"/>
                  </a:lnTo>
                  <a:lnTo>
                    <a:pt x="1308" y="480"/>
                  </a:lnTo>
                  <a:lnTo>
                    <a:pt x="1314" y="480"/>
                  </a:lnTo>
                  <a:lnTo>
                    <a:pt x="1308" y="498"/>
                  </a:lnTo>
                  <a:lnTo>
                    <a:pt x="1308" y="504"/>
                  </a:lnTo>
                  <a:lnTo>
                    <a:pt x="1314" y="510"/>
                  </a:lnTo>
                  <a:lnTo>
                    <a:pt x="1308" y="510"/>
                  </a:lnTo>
                  <a:lnTo>
                    <a:pt x="1308" y="516"/>
                  </a:lnTo>
                  <a:lnTo>
                    <a:pt x="1302" y="516"/>
                  </a:lnTo>
                  <a:lnTo>
                    <a:pt x="1296" y="510"/>
                  </a:lnTo>
                  <a:lnTo>
                    <a:pt x="1296" y="516"/>
                  </a:lnTo>
                  <a:lnTo>
                    <a:pt x="1290" y="540"/>
                  </a:lnTo>
                  <a:lnTo>
                    <a:pt x="1290" y="552"/>
                  </a:lnTo>
                  <a:lnTo>
                    <a:pt x="1284" y="558"/>
                  </a:lnTo>
                  <a:lnTo>
                    <a:pt x="1290" y="576"/>
                  </a:lnTo>
                  <a:lnTo>
                    <a:pt x="1290" y="600"/>
                  </a:lnTo>
                  <a:lnTo>
                    <a:pt x="1284" y="618"/>
                  </a:lnTo>
                  <a:lnTo>
                    <a:pt x="1290" y="624"/>
                  </a:lnTo>
                  <a:lnTo>
                    <a:pt x="1284" y="630"/>
                  </a:lnTo>
                  <a:lnTo>
                    <a:pt x="1278" y="630"/>
                  </a:lnTo>
                  <a:lnTo>
                    <a:pt x="1272" y="630"/>
                  </a:lnTo>
                  <a:lnTo>
                    <a:pt x="1266" y="636"/>
                  </a:lnTo>
                  <a:lnTo>
                    <a:pt x="1260" y="642"/>
                  </a:lnTo>
                  <a:lnTo>
                    <a:pt x="1260" y="636"/>
                  </a:lnTo>
                  <a:lnTo>
                    <a:pt x="1254" y="636"/>
                  </a:lnTo>
                  <a:lnTo>
                    <a:pt x="1248" y="636"/>
                  </a:lnTo>
                  <a:lnTo>
                    <a:pt x="1248" y="642"/>
                  </a:lnTo>
                  <a:lnTo>
                    <a:pt x="1242" y="642"/>
                  </a:lnTo>
                  <a:lnTo>
                    <a:pt x="1242" y="648"/>
                  </a:lnTo>
                  <a:lnTo>
                    <a:pt x="1236" y="654"/>
                  </a:lnTo>
                  <a:lnTo>
                    <a:pt x="1230" y="654"/>
                  </a:lnTo>
                  <a:lnTo>
                    <a:pt x="1224" y="654"/>
                  </a:lnTo>
                  <a:lnTo>
                    <a:pt x="1218" y="660"/>
                  </a:lnTo>
                  <a:lnTo>
                    <a:pt x="1212" y="660"/>
                  </a:lnTo>
                  <a:lnTo>
                    <a:pt x="1206" y="660"/>
                  </a:lnTo>
                  <a:lnTo>
                    <a:pt x="1200" y="660"/>
                  </a:lnTo>
                  <a:lnTo>
                    <a:pt x="1200" y="666"/>
                  </a:lnTo>
                  <a:lnTo>
                    <a:pt x="1194" y="666"/>
                  </a:lnTo>
                  <a:lnTo>
                    <a:pt x="1188" y="666"/>
                  </a:lnTo>
                  <a:lnTo>
                    <a:pt x="1182" y="672"/>
                  </a:lnTo>
                  <a:lnTo>
                    <a:pt x="1176" y="672"/>
                  </a:lnTo>
                  <a:lnTo>
                    <a:pt x="1170" y="672"/>
                  </a:lnTo>
                  <a:lnTo>
                    <a:pt x="1164" y="678"/>
                  </a:lnTo>
                  <a:lnTo>
                    <a:pt x="1170" y="678"/>
                  </a:lnTo>
                  <a:lnTo>
                    <a:pt x="1164" y="684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52" y="684"/>
                  </a:lnTo>
                  <a:lnTo>
                    <a:pt x="1152" y="690"/>
                  </a:lnTo>
                  <a:lnTo>
                    <a:pt x="1146" y="690"/>
                  </a:lnTo>
                  <a:lnTo>
                    <a:pt x="1140" y="690"/>
                  </a:lnTo>
                  <a:lnTo>
                    <a:pt x="1134" y="696"/>
                  </a:lnTo>
                  <a:lnTo>
                    <a:pt x="1128" y="696"/>
                  </a:lnTo>
                  <a:lnTo>
                    <a:pt x="1122" y="702"/>
                  </a:lnTo>
                  <a:lnTo>
                    <a:pt x="1116" y="702"/>
                  </a:lnTo>
                  <a:lnTo>
                    <a:pt x="1110" y="708"/>
                  </a:lnTo>
                  <a:lnTo>
                    <a:pt x="1104" y="708"/>
                  </a:lnTo>
                  <a:lnTo>
                    <a:pt x="1098" y="708"/>
                  </a:lnTo>
                  <a:lnTo>
                    <a:pt x="1092" y="708"/>
                  </a:lnTo>
                  <a:lnTo>
                    <a:pt x="1092" y="714"/>
                  </a:lnTo>
                  <a:lnTo>
                    <a:pt x="1086" y="720"/>
                  </a:lnTo>
                  <a:lnTo>
                    <a:pt x="1080" y="720"/>
                  </a:lnTo>
                  <a:lnTo>
                    <a:pt x="1074" y="720"/>
                  </a:lnTo>
                  <a:lnTo>
                    <a:pt x="1068" y="720"/>
                  </a:lnTo>
                  <a:lnTo>
                    <a:pt x="1062" y="720"/>
                  </a:lnTo>
                  <a:lnTo>
                    <a:pt x="1050" y="726"/>
                  </a:lnTo>
                  <a:lnTo>
                    <a:pt x="1044" y="726"/>
                  </a:lnTo>
                  <a:lnTo>
                    <a:pt x="1038" y="732"/>
                  </a:lnTo>
                  <a:lnTo>
                    <a:pt x="1026" y="732"/>
                  </a:lnTo>
                  <a:lnTo>
                    <a:pt x="1020" y="732"/>
                  </a:lnTo>
                  <a:lnTo>
                    <a:pt x="1014" y="738"/>
                  </a:lnTo>
                  <a:lnTo>
                    <a:pt x="1008" y="738"/>
                  </a:lnTo>
                  <a:lnTo>
                    <a:pt x="1002" y="738"/>
                  </a:lnTo>
                  <a:lnTo>
                    <a:pt x="996" y="738"/>
                  </a:lnTo>
                  <a:lnTo>
                    <a:pt x="990" y="738"/>
                  </a:lnTo>
                  <a:lnTo>
                    <a:pt x="990" y="732"/>
                  </a:lnTo>
                  <a:lnTo>
                    <a:pt x="984" y="732"/>
                  </a:lnTo>
                  <a:lnTo>
                    <a:pt x="978" y="738"/>
                  </a:lnTo>
                  <a:lnTo>
                    <a:pt x="978" y="744"/>
                  </a:lnTo>
                  <a:lnTo>
                    <a:pt x="984" y="744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8" y="756"/>
                  </a:lnTo>
                  <a:lnTo>
                    <a:pt x="972" y="756"/>
                  </a:lnTo>
                  <a:lnTo>
                    <a:pt x="972" y="762"/>
                  </a:lnTo>
                  <a:lnTo>
                    <a:pt x="966" y="768"/>
                  </a:lnTo>
                  <a:lnTo>
                    <a:pt x="966" y="762"/>
                  </a:lnTo>
                  <a:lnTo>
                    <a:pt x="960" y="762"/>
                  </a:lnTo>
                  <a:lnTo>
                    <a:pt x="954" y="768"/>
                  </a:lnTo>
                  <a:lnTo>
                    <a:pt x="954" y="774"/>
                  </a:lnTo>
                  <a:lnTo>
                    <a:pt x="948" y="774"/>
                  </a:lnTo>
                  <a:lnTo>
                    <a:pt x="948" y="780"/>
                  </a:lnTo>
                  <a:lnTo>
                    <a:pt x="948" y="786"/>
                  </a:lnTo>
                  <a:lnTo>
                    <a:pt x="942" y="786"/>
                  </a:lnTo>
                  <a:lnTo>
                    <a:pt x="942" y="792"/>
                  </a:lnTo>
                  <a:lnTo>
                    <a:pt x="936" y="792"/>
                  </a:lnTo>
                  <a:lnTo>
                    <a:pt x="942" y="798"/>
                  </a:lnTo>
                  <a:lnTo>
                    <a:pt x="942" y="804"/>
                  </a:lnTo>
                  <a:lnTo>
                    <a:pt x="942" y="810"/>
                  </a:lnTo>
                  <a:lnTo>
                    <a:pt x="948" y="810"/>
                  </a:lnTo>
                  <a:lnTo>
                    <a:pt x="942" y="816"/>
                  </a:lnTo>
                  <a:lnTo>
                    <a:pt x="948" y="816"/>
                  </a:lnTo>
                  <a:lnTo>
                    <a:pt x="948" y="822"/>
                  </a:lnTo>
                  <a:lnTo>
                    <a:pt x="954" y="822"/>
                  </a:lnTo>
                  <a:lnTo>
                    <a:pt x="960" y="828"/>
                  </a:lnTo>
                  <a:lnTo>
                    <a:pt x="960" y="834"/>
                  </a:lnTo>
                  <a:lnTo>
                    <a:pt x="966" y="834"/>
                  </a:lnTo>
                  <a:lnTo>
                    <a:pt x="960" y="840"/>
                  </a:lnTo>
                  <a:lnTo>
                    <a:pt x="966" y="846"/>
                  </a:lnTo>
                  <a:lnTo>
                    <a:pt x="966" y="840"/>
                  </a:lnTo>
                  <a:lnTo>
                    <a:pt x="972" y="840"/>
                  </a:lnTo>
                  <a:lnTo>
                    <a:pt x="990" y="840"/>
                  </a:lnTo>
                  <a:lnTo>
                    <a:pt x="1002" y="834"/>
                  </a:lnTo>
                  <a:lnTo>
                    <a:pt x="1020" y="828"/>
                  </a:lnTo>
                  <a:lnTo>
                    <a:pt x="1032" y="828"/>
                  </a:lnTo>
                  <a:lnTo>
                    <a:pt x="1050" y="828"/>
                  </a:lnTo>
                  <a:lnTo>
                    <a:pt x="1062" y="846"/>
                  </a:lnTo>
                  <a:lnTo>
                    <a:pt x="1074" y="876"/>
                  </a:lnTo>
                  <a:lnTo>
                    <a:pt x="1068" y="900"/>
                  </a:lnTo>
                  <a:lnTo>
                    <a:pt x="1074" y="912"/>
                  </a:lnTo>
                  <a:lnTo>
                    <a:pt x="1074" y="936"/>
                  </a:lnTo>
                  <a:lnTo>
                    <a:pt x="1068" y="942"/>
                  </a:lnTo>
                  <a:lnTo>
                    <a:pt x="1062" y="954"/>
                  </a:lnTo>
                  <a:lnTo>
                    <a:pt x="1056" y="978"/>
                  </a:lnTo>
                  <a:lnTo>
                    <a:pt x="1056" y="996"/>
                  </a:lnTo>
                  <a:lnTo>
                    <a:pt x="1068" y="990"/>
                  </a:lnTo>
                  <a:lnTo>
                    <a:pt x="1074" y="990"/>
                  </a:lnTo>
                  <a:lnTo>
                    <a:pt x="1074" y="1008"/>
                  </a:lnTo>
                  <a:lnTo>
                    <a:pt x="1080" y="1008"/>
                  </a:lnTo>
                  <a:lnTo>
                    <a:pt x="1092" y="1014"/>
                  </a:lnTo>
                  <a:lnTo>
                    <a:pt x="1110" y="1044"/>
                  </a:lnTo>
                  <a:lnTo>
                    <a:pt x="1110" y="1062"/>
                  </a:lnTo>
                  <a:lnTo>
                    <a:pt x="1128" y="1068"/>
                  </a:lnTo>
                  <a:lnTo>
                    <a:pt x="1128" y="1092"/>
                  </a:lnTo>
                  <a:lnTo>
                    <a:pt x="1134" y="1098"/>
                  </a:lnTo>
                  <a:lnTo>
                    <a:pt x="1158" y="1122"/>
                  </a:lnTo>
                  <a:lnTo>
                    <a:pt x="1188" y="1122"/>
                  </a:lnTo>
                  <a:lnTo>
                    <a:pt x="1188" y="1128"/>
                  </a:lnTo>
                  <a:lnTo>
                    <a:pt x="1200" y="1134"/>
                  </a:lnTo>
                  <a:lnTo>
                    <a:pt x="1206" y="1134"/>
                  </a:lnTo>
                  <a:lnTo>
                    <a:pt x="1206" y="1128"/>
                  </a:lnTo>
                  <a:lnTo>
                    <a:pt x="1212" y="1128"/>
                  </a:lnTo>
                  <a:lnTo>
                    <a:pt x="1218" y="1128"/>
                  </a:lnTo>
                  <a:lnTo>
                    <a:pt x="1224" y="1122"/>
                  </a:lnTo>
                  <a:lnTo>
                    <a:pt x="1224" y="1128"/>
                  </a:lnTo>
                  <a:lnTo>
                    <a:pt x="1230" y="1128"/>
                  </a:lnTo>
                  <a:lnTo>
                    <a:pt x="1236" y="1128"/>
                  </a:lnTo>
                  <a:lnTo>
                    <a:pt x="1236" y="1122"/>
                  </a:lnTo>
                  <a:lnTo>
                    <a:pt x="1242" y="1122"/>
                  </a:lnTo>
                  <a:lnTo>
                    <a:pt x="1248" y="1128"/>
                  </a:lnTo>
                  <a:lnTo>
                    <a:pt x="1254" y="1128"/>
                  </a:lnTo>
                  <a:lnTo>
                    <a:pt x="1260" y="1134"/>
                  </a:lnTo>
                  <a:lnTo>
                    <a:pt x="1260" y="1140"/>
                  </a:lnTo>
                  <a:lnTo>
                    <a:pt x="1266" y="1140"/>
                  </a:lnTo>
                  <a:lnTo>
                    <a:pt x="1272" y="1140"/>
                  </a:lnTo>
                  <a:lnTo>
                    <a:pt x="1278" y="1140"/>
                  </a:lnTo>
                  <a:lnTo>
                    <a:pt x="1284" y="1140"/>
                  </a:lnTo>
                  <a:lnTo>
                    <a:pt x="1290" y="1146"/>
                  </a:lnTo>
                  <a:lnTo>
                    <a:pt x="1290" y="1152"/>
                  </a:lnTo>
                  <a:lnTo>
                    <a:pt x="1296" y="1146"/>
                  </a:lnTo>
                  <a:lnTo>
                    <a:pt x="1296" y="1152"/>
                  </a:lnTo>
                  <a:lnTo>
                    <a:pt x="1308" y="1152"/>
                  </a:lnTo>
                  <a:lnTo>
                    <a:pt x="1314" y="1152"/>
                  </a:lnTo>
                  <a:lnTo>
                    <a:pt x="1320" y="1152"/>
                  </a:lnTo>
                  <a:lnTo>
                    <a:pt x="1332" y="1152"/>
                  </a:lnTo>
                  <a:lnTo>
                    <a:pt x="1338" y="1152"/>
                  </a:lnTo>
                  <a:lnTo>
                    <a:pt x="1344" y="1152"/>
                  </a:lnTo>
                  <a:lnTo>
                    <a:pt x="1344" y="1158"/>
                  </a:lnTo>
                  <a:lnTo>
                    <a:pt x="1350" y="1158"/>
                  </a:lnTo>
                  <a:lnTo>
                    <a:pt x="1356" y="1158"/>
                  </a:lnTo>
                  <a:lnTo>
                    <a:pt x="1362" y="1158"/>
                  </a:lnTo>
                  <a:lnTo>
                    <a:pt x="1368" y="1158"/>
                  </a:lnTo>
                  <a:lnTo>
                    <a:pt x="1374" y="1164"/>
                  </a:lnTo>
                  <a:lnTo>
                    <a:pt x="1380" y="1164"/>
                  </a:lnTo>
                  <a:lnTo>
                    <a:pt x="1386" y="1170"/>
                  </a:lnTo>
                  <a:lnTo>
                    <a:pt x="1392" y="1170"/>
                  </a:lnTo>
                  <a:lnTo>
                    <a:pt x="1398" y="1164"/>
                  </a:lnTo>
                  <a:lnTo>
                    <a:pt x="1404" y="1164"/>
                  </a:lnTo>
                  <a:lnTo>
                    <a:pt x="1410" y="1164"/>
                  </a:lnTo>
                  <a:lnTo>
                    <a:pt x="1416" y="1164"/>
                  </a:lnTo>
                  <a:lnTo>
                    <a:pt x="1416" y="1170"/>
                  </a:lnTo>
                  <a:lnTo>
                    <a:pt x="1422" y="1176"/>
                  </a:lnTo>
                  <a:lnTo>
                    <a:pt x="1416" y="1176"/>
                  </a:lnTo>
                  <a:lnTo>
                    <a:pt x="1416" y="1182"/>
                  </a:lnTo>
                  <a:lnTo>
                    <a:pt x="1410" y="1188"/>
                  </a:lnTo>
                  <a:lnTo>
                    <a:pt x="1404" y="1194"/>
                  </a:lnTo>
                  <a:lnTo>
                    <a:pt x="1404" y="1200"/>
                  </a:lnTo>
                  <a:lnTo>
                    <a:pt x="1404" y="1206"/>
                  </a:lnTo>
                  <a:lnTo>
                    <a:pt x="1398" y="1212"/>
                  </a:lnTo>
                  <a:lnTo>
                    <a:pt x="1398" y="1206"/>
                  </a:lnTo>
                  <a:lnTo>
                    <a:pt x="1392" y="1206"/>
                  </a:lnTo>
                  <a:lnTo>
                    <a:pt x="1386" y="1206"/>
                  </a:lnTo>
                  <a:lnTo>
                    <a:pt x="1380" y="1212"/>
                  </a:lnTo>
                  <a:lnTo>
                    <a:pt x="1374" y="1212"/>
                  </a:lnTo>
                  <a:lnTo>
                    <a:pt x="1368" y="1218"/>
                  </a:lnTo>
                  <a:lnTo>
                    <a:pt x="1362" y="1218"/>
                  </a:lnTo>
                  <a:lnTo>
                    <a:pt x="1362" y="1224"/>
                  </a:lnTo>
                  <a:lnTo>
                    <a:pt x="1356" y="1230"/>
                  </a:lnTo>
                  <a:lnTo>
                    <a:pt x="1350" y="1230"/>
                  </a:lnTo>
                  <a:lnTo>
                    <a:pt x="1344" y="1236"/>
                  </a:lnTo>
                  <a:lnTo>
                    <a:pt x="1338" y="1230"/>
                  </a:lnTo>
                  <a:lnTo>
                    <a:pt x="1332" y="1230"/>
                  </a:lnTo>
                  <a:lnTo>
                    <a:pt x="1326" y="1230"/>
                  </a:lnTo>
                  <a:lnTo>
                    <a:pt x="1320" y="1230"/>
                  </a:lnTo>
                  <a:lnTo>
                    <a:pt x="1314" y="1230"/>
                  </a:lnTo>
                  <a:lnTo>
                    <a:pt x="1296" y="1242"/>
                  </a:lnTo>
                  <a:lnTo>
                    <a:pt x="1296" y="1248"/>
                  </a:lnTo>
                  <a:lnTo>
                    <a:pt x="1290" y="1248"/>
                  </a:lnTo>
                  <a:lnTo>
                    <a:pt x="1290" y="1260"/>
                  </a:lnTo>
                  <a:lnTo>
                    <a:pt x="1278" y="1272"/>
                  </a:lnTo>
                  <a:lnTo>
                    <a:pt x="1278" y="1278"/>
                  </a:lnTo>
                  <a:lnTo>
                    <a:pt x="1278" y="1284"/>
                  </a:lnTo>
                  <a:lnTo>
                    <a:pt x="1278" y="1290"/>
                  </a:lnTo>
                  <a:lnTo>
                    <a:pt x="1284" y="1296"/>
                  </a:lnTo>
                  <a:lnTo>
                    <a:pt x="1302" y="1302"/>
                  </a:lnTo>
                  <a:lnTo>
                    <a:pt x="1308" y="1308"/>
                  </a:lnTo>
                  <a:lnTo>
                    <a:pt x="1308" y="1314"/>
                  </a:lnTo>
                  <a:lnTo>
                    <a:pt x="1302" y="1320"/>
                  </a:lnTo>
                  <a:lnTo>
                    <a:pt x="1278" y="1314"/>
                  </a:lnTo>
                  <a:lnTo>
                    <a:pt x="1266" y="1308"/>
                  </a:lnTo>
                  <a:lnTo>
                    <a:pt x="1260" y="1296"/>
                  </a:lnTo>
                  <a:lnTo>
                    <a:pt x="1236" y="1296"/>
                  </a:lnTo>
                  <a:lnTo>
                    <a:pt x="1224" y="1308"/>
                  </a:lnTo>
                  <a:lnTo>
                    <a:pt x="1218" y="1308"/>
                  </a:lnTo>
                  <a:lnTo>
                    <a:pt x="1218" y="1302"/>
                  </a:lnTo>
                  <a:lnTo>
                    <a:pt x="1212" y="1302"/>
                  </a:lnTo>
                  <a:lnTo>
                    <a:pt x="1206" y="1302"/>
                  </a:lnTo>
                  <a:lnTo>
                    <a:pt x="1170" y="1314"/>
                  </a:lnTo>
                  <a:lnTo>
                    <a:pt x="1134" y="1296"/>
                  </a:lnTo>
                  <a:lnTo>
                    <a:pt x="1122" y="1290"/>
                  </a:lnTo>
                  <a:lnTo>
                    <a:pt x="1104" y="1290"/>
                  </a:lnTo>
                  <a:lnTo>
                    <a:pt x="1098" y="1278"/>
                  </a:lnTo>
                  <a:lnTo>
                    <a:pt x="1092" y="1242"/>
                  </a:lnTo>
                  <a:lnTo>
                    <a:pt x="1086" y="1242"/>
                  </a:lnTo>
                  <a:lnTo>
                    <a:pt x="1086" y="1248"/>
                  </a:lnTo>
                  <a:lnTo>
                    <a:pt x="1086" y="1254"/>
                  </a:lnTo>
                  <a:lnTo>
                    <a:pt x="1080" y="1254"/>
                  </a:lnTo>
                  <a:lnTo>
                    <a:pt x="1080" y="1260"/>
                  </a:lnTo>
                  <a:lnTo>
                    <a:pt x="1074" y="1260"/>
                  </a:lnTo>
                  <a:lnTo>
                    <a:pt x="1068" y="1236"/>
                  </a:lnTo>
                  <a:lnTo>
                    <a:pt x="1068" y="1206"/>
                  </a:lnTo>
                  <a:lnTo>
                    <a:pt x="1080" y="1194"/>
                  </a:lnTo>
                  <a:lnTo>
                    <a:pt x="1086" y="1194"/>
                  </a:lnTo>
                  <a:lnTo>
                    <a:pt x="1092" y="1200"/>
                  </a:lnTo>
                  <a:lnTo>
                    <a:pt x="1098" y="1206"/>
                  </a:lnTo>
                  <a:lnTo>
                    <a:pt x="1104" y="1200"/>
                  </a:lnTo>
                  <a:lnTo>
                    <a:pt x="1104" y="1194"/>
                  </a:lnTo>
                  <a:lnTo>
                    <a:pt x="1110" y="1194"/>
                  </a:lnTo>
                  <a:lnTo>
                    <a:pt x="1110" y="1188"/>
                  </a:lnTo>
                  <a:lnTo>
                    <a:pt x="1116" y="1182"/>
                  </a:lnTo>
                  <a:lnTo>
                    <a:pt x="1110" y="1182"/>
                  </a:lnTo>
                  <a:lnTo>
                    <a:pt x="1110" y="1170"/>
                  </a:lnTo>
                  <a:lnTo>
                    <a:pt x="1110" y="1158"/>
                  </a:lnTo>
                  <a:lnTo>
                    <a:pt x="1110" y="1152"/>
                  </a:lnTo>
                  <a:lnTo>
                    <a:pt x="1104" y="1146"/>
                  </a:lnTo>
                  <a:lnTo>
                    <a:pt x="1098" y="1140"/>
                  </a:lnTo>
                  <a:lnTo>
                    <a:pt x="1098" y="1134"/>
                  </a:lnTo>
                  <a:lnTo>
                    <a:pt x="1098" y="1128"/>
                  </a:lnTo>
                  <a:lnTo>
                    <a:pt x="1092" y="1128"/>
                  </a:lnTo>
                  <a:lnTo>
                    <a:pt x="1092" y="1122"/>
                  </a:lnTo>
                  <a:lnTo>
                    <a:pt x="1092" y="1116"/>
                  </a:lnTo>
                  <a:lnTo>
                    <a:pt x="1092" y="1110"/>
                  </a:lnTo>
                  <a:lnTo>
                    <a:pt x="1056" y="1122"/>
                  </a:lnTo>
                  <a:lnTo>
                    <a:pt x="1038" y="1128"/>
                  </a:lnTo>
                  <a:lnTo>
                    <a:pt x="1032" y="1128"/>
                  </a:lnTo>
                  <a:lnTo>
                    <a:pt x="1026" y="1128"/>
                  </a:lnTo>
                  <a:lnTo>
                    <a:pt x="1020" y="1128"/>
                  </a:lnTo>
                  <a:lnTo>
                    <a:pt x="1014" y="1128"/>
                  </a:lnTo>
                  <a:lnTo>
                    <a:pt x="1014" y="1122"/>
                  </a:lnTo>
                  <a:lnTo>
                    <a:pt x="1008" y="1122"/>
                  </a:lnTo>
                  <a:lnTo>
                    <a:pt x="1002" y="1128"/>
                  </a:lnTo>
                  <a:lnTo>
                    <a:pt x="1002" y="1134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84" y="1140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66" y="1140"/>
                  </a:lnTo>
                  <a:lnTo>
                    <a:pt x="954" y="1140"/>
                  </a:lnTo>
                  <a:lnTo>
                    <a:pt x="954" y="1134"/>
                  </a:lnTo>
                  <a:lnTo>
                    <a:pt x="948" y="1134"/>
                  </a:lnTo>
                  <a:lnTo>
                    <a:pt x="942" y="1134"/>
                  </a:lnTo>
                  <a:lnTo>
                    <a:pt x="936" y="1134"/>
                  </a:lnTo>
                  <a:lnTo>
                    <a:pt x="930" y="1134"/>
                  </a:lnTo>
                  <a:lnTo>
                    <a:pt x="924" y="1134"/>
                  </a:lnTo>
                  <a:lnTo>
                    <a:pt x="918" y="1134"/>
                  </a:lnTo>
                  <a:lnTo>
                    <a:pt x="918" y="1128"/>
                  </a:lnTo>
                  <a:lnTo>
                    <a:pt x="918" y="1104"/>
                  </a:lnTo>
                  <a:lnTo>
                    <a:pt x="906" y="1104"/>
                  </a:lnTo>
                  <a:lnTo>
                    <a:pt x="900" y="1098"/>
                  </a:lnTo>
                  <a:lnTo>
                    <a:pt x="900" y="1092"/>
                  </a:lnTo>
                  <a:lnTo>
                    <a:pt x="900" y="1086"/>
                  </a:lnTo>
                  <a:lnTo>
                    <a:pt x="900" y="1080"/>
                  </a:lnTo>
                  <a:lnTo>
                    <a:pt x="894" y="1080"/>
                  </a:lnTo>
                  <a:lnTo>
                    <a:pt x="858" y="1074"/>
                  </a:lnTo>
                  <a:lnTo>
                    <a:pt x="852" y="1080"/>
                  </a:lnTo>
                  <a:lnTo>
                    <a:pt x="846" y="1086"/>
                  </a:lnTo>
                  <a:lnTo>
                    <a:pt x="840" y="1086"/>
                  </a:lnTo>
                  <a:lnTo>
                    <a:pt x="840" y="1092"/>
                  </a:lnTo>
                  <a:lnTo>
                    <a:pt x="834" y="1092"/>
                  </a:lnTo>
                  <a:lnTo>
                    <a:pt x="828" y="1098"/>
                  </a:lnTo>
                  <a:lnTo>
                    <a:pt x="822" y="1098"/>
                  </a:lnTo>
                  <a:lnTo>
                    <a:pt x="762" y="1074"/>
                  </a:lnTo>
                  <a:lnTo>
                    <a:pt x="756" y="1068"/>
                  </a:lnTo>
                  <a:lnTo>
                    <a:pt x="750" y="1068"/>
                  </a:lnTo>
                  <a:lnTo>
                    <a:pt x="744" y="1062"/>
                  </a:lnTo>
                  <a:lnTo>
                    <a:pt x="744" y="1068"/>
                  </a:lnTo>
                  <a:lnTo>
                    <a:pt x="744" y="1074"/>
                  </a:lnTo>
                  <a:lnTo>
                    <a:pt x="738" y="1074"/>
                  </a:lnTo>
                  <a:lnTo>
                    <a:pt x="738" y="1068"/>
                  </a:lnTo>
                  <a:lnTo>
                    <a:pt x="732" y="1068"/>
                  </a:lnTo>
                  <a:lnTo>
                    <a:pt x="726" y="1068"/>
                  </a:lnTo>
                  <a:lnTo>
                    <a:pt x="726" y="1074"/>
                  </a:lnTo>
                  <a:lnTo>
                    <a:pt x="720" y="1074"/>
                  </a:lnTo>
                  <a:lnTo>
                    <a:pt x="684" y="106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5" name="Freeform 40">
              <a:extLst>
                <a:ext uri="{FF2B5EF4-FFF2-40B4-BE49-F238E27FC236}">
                  <a16:creationId xmlns:a16="http://schemas.microsoft.com/office/drawing/2014/main" id="{37EC2F22-BDB9-4162-8FA4-08493F6898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3558" y="1520374"/>
              <a:ext cx="1057717" cy="1252440"/>
            </a:xfrm>
            <a:custGeom>
              <a:avLst/>
              <a:gdLst>
                <a:gd name="T0" fmla="*/ 98 w 1992"/>
                <a:gd name="T1" fmla="*/ 162 h 2358"/>
                <a:gd name="T2" fmla="*/ 93 w 1992"/>
                <a:gd name="T3" fmla="*/ 172 h 2358"/>
                <a:gd name="T4" fmla="*/ 82 w 1992"/>
                <a:gd name="T5" fmla="*/ 179 h 2358"/>
                <a:gd name="T6" fmla="*/ 70 w 1992"/>
                <a:gd name="T7" fmla="*/ 174 h 2358"/>
                <a:gd name="T8" fmla="*/ 62 w 1992"/>
                <a:gd name="T9" fmla="*/ 182 h 2358"/>
                <a:gd name="T10" fmla="*/ 45 w 1992"/>
                <a:gd name="T11" fmla="*/ 189 h 2358"/>
                <a:gd name="T12" fmla="*/ 24 w 1992"/>
                <a:gd name="T13" fmla="*/ 205 h 2358"/>
                <a:gd name="T14" fmla="*/ 17 w 1992"/>
                <a:gd name="T15" fmla="*/ 204 h 2358"/>
                <a:gd name="T16" fmla="*/ 7 w 1992"/>
                <a:gd name="T17" fmla="*/ 197 h 2358"/>
                <a:gd name="T18" fmla="*/ 1 w 1992"/>
                <a:gd name="T19" fmla="*/ 191 h 2358"/>
                <a:gd name="T20" fmla="*/ 4 w 1992"/>
                <a:gd name="T21" fmla="*/ 175 h 2358"/>
                <a:gd name="T22" fmla="*/ 7 w 1992"/>
                <a:gd name="T23" fmla="*/ 172 h 2358"/>
                <a:gd name="T24" fmla="*/ 11 w 1992"/>
                <a:gd name="T25" fmla="*/ 168 h 2358"/>
                <a:gd name="T26" fmla="*/ 5 w 1992"/>
                <a:gd name="T27" fmla="*/ 159 h 2358"/>
                <a:gd name="T28" fmla="*/ 10 w 1992"/>
                <a:gd name="T29" fmla="*/ 156 h 2358"/>
                <a:gd name="T30" fmla="*/ 15 w 1992"/>
                <a:gd name="T31" fmla="*/ 155 h 2358"/>
                <a:gd name="T32" fmla="*/ 24 w 1992"/>
                <a:gd name="T33" fmla="*/ 149 h 2358"/>
                <a:gd name="T34" fmla="*/ 38 w 1992"/>
                <a:gd name="T35" fmla="*/ 127 h 2358"/>
                <a:gd name="T36" fmla="*/ 38 w 1992"/>
                <a:gd name="T37" fmla="*/ 107 h 2358"/>
                <a:gd name="T38" fmla="*/ 45 w 1992"/>
                <a:gd name="T39" fmla="*/ 66 h 2358"/>
                <a:gd name="T40" fmla="*/ 47 w 1992"/>
                <a:gd name="T41" fmla="*/ 36 h 2358"/>
                <a:gd name="T42" fmla="*/ 51 w 1992"/>
                <a:gd name="T43" fmla="*/ 35 h 2358"/>
                <a:gd name="T44" fmla="*/ 55 w 1992"/>
                <a:gd name="T45" fmla="*/ 30 h 2358"/>
                <a:gd name="T46" fmla="*/ 56 w 1992"/>
                <a:gd name="T47" fmla="*/ 27 h 2358"/>
                <a:gd name="T48" fmla="*/ 60 w 1992"/>
                <a:gd name="T49" fmla="*/ 23 h 2358"/>
                <a:gd name="T50" fmla="*/ 63 w 1992"/>
                <a:gd name="T51" fmla="*/ 23 h 2358"/>
                <a:gd name="T52" fmla="*/ 70 w 1992"/>
                <a:gd name="T53" fmla="*/ 18 h 2358"/>
                <a:gd name="T54" fmla="*/ 71 w 1992"/>
                <a:gd name="T55" fmla="*/ 15 h 2358"/>
                <a:gd name="T56" fmla="*/ 72 w 1992"/>
                <a:gd name="T57" fmla="*/ 13 h 2358"/>
                <a:gd name="T58" fmla="*/ 77 w 1992"/>
                <a:gd name="T59" fmla="*/ 12 h 2358"/>
                <a:gd name="T60" fmla="*/ 83 w 1992"/>
                <a:gd name="T61" fmla="*/ 10 h 2358"/>
                <a:gd name="T62" fmla="*/ 87 w 1992"/>
                <a:gd name="T63" fmla="*/ 10 h 2358"/>
                <a:gd name="T64" fmla="*/ 89 w 1992"/>
                <a:gd name="T65" fmla="*/ 10 h 2358"/>
                <a:gd name="T66" fmla="*/ 93 w 1992"/>
                <a:gd name="T67" fmla="*/ 8 h 2358"/>
                <a:gd name="T68" fmla="*/ 95 w 1992"/>
                <a:gd name="T69" fmla="*/ 4 h 2358"/>
                <a:gd name="T70" fmla="*/ 99 w 1992"/>
                <a:gd name="T71" fmla="*/ 0 h 2358"/>
                <a:gd name="T72" fmla="*/ 111 w 1992"/>
                <a:gd name="T73" fmla="*/ 0 h 2358"/>
                <a:gd name="T74" fmla="*/ 121 w 1992"/>
                <a:gd name="T75" fmla="*/ 9 h 2358"/>
                <a:gd name="T76" fmla="*/ 128 w 1992"/>
                <a:gd name="T77" fmla="*/ 19 h 2358"/>
                <a:gd name="T78" fmla="*/ 138 w 1992"/>
                <a:gd name="T79" fmla="*/ 33 h 2358"/>
                <a:gd name="T80" fmla="*/ 142 w 1992"/>
                <a:gd name="T81" fmla="*/ 47 h 2358"/>
                <a:gd name="T82" fmla="*/ 145 w 1992"/>
                <a:gd name="T83" fmla="*/ 62 h 2358"/>
                <a:gd name="T84" fmla="*/ 145 w 1992"/>
                <a:gd name="T85" fmla="*/ 70 h 2358"/>
                <a:gd name="T86" fmla="*/ 147 w 1992"/>
                <a:gd name="T87" fmla="*/ 75 h 2358"/>
                <a:gd name="T88" fmla="*/ 153 w 1992"/>
                <a:gd name="T89" fmla="*/ 75 h 2358"/>
                <a:gd name="T90" fmla="*/ 160 w 1992"/>
                <a:gd name="T91" fmla="*/ 76 h 2358"/>
                <a:gd name="T92" fmla="*/ 164 w 1992"/>
                <a:gd name="T93" fmla="*/ 79 h 2358"/>
                <a:gd name="T94" fmla="*/ 168 w 1992"/>
                <a:gd name="T95" fmla="*/ 83 h 2358"/>
                <a:gd name="T96" fmla="*/ 172 w 1992"/>
                <a:gd name="T97" fmla="*/ 86 h 2358"/>
                <a:gd name="T98" fmla="*/ 170 w 1992"/>
                <a:gd name="T99" fmla="*/ 93 h 2358"/>
                <a:gd name="T100" fmla="*/ 170 w 1992"/>
                <a:gd name="T101" fmla="*/ 99 h 2358"/>
                <a:gd name="T102" fmla="*/ 169 w 1992"/>
                <a:gd name="T103" fmla="*/ 106 h 2358"/>
                <a:gd name="T104" fmla="*/ 166 w 1992"/>
                <a:gd name="T105" fmla="*/ 113 h 2358"/>
                <a:gd name="T106" fmla="*/ 170 w 1992"/>
                <a:gd name="T107" fmla="*/ 122 h 2358"/>
                <a:gd name="T108" fmla="*/ 159 w 1992"/>
                <a:gd name="T109" fmla="*/ 128 h 2358"/>
                <a:gd name="T110" fmla="*/ 148 w 1992"/>
                <a:gd name="T111" fmla="*/ 134 h 2358"/>
                <a:gd name="T112" fmla="*/ 139 w 1992"/>
                <a:gd name="T113" fmla="*/ 136 h 2358"/>
                <a:gd name="T114" fmla="*/ 132 w 1992"/>
                <a:gd name="T115" fmla="*/ 138 h 2358"/>
                <a:gd name="T116" fmla="*/ 128 w 1992"/>
                <a:gd name="T117" fmla="*/ 145 h 2358"/>
                <a:gd name="T118" fmla="*/ 124 w 1992"/>
                <a:gd name="T119" fmla="*/ 150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92"/>
                <a:gd name="T181" fmla="*/ 0 h 2358"/>
                <a:gd name="T182" fmla="*/ 1992 w 1992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92" h="2358">
                  <a:moveTo>
                    <a:pt x="1356" y="1782"/>
                  </a:moveTo>
                  <a:lnTo>
                    <a:pt x="1350" y="1788"/>
                  </a:lnTo>
                  <a:lnTo>
                    <a:pt x="1266" y="1788"/>
                  </a:lnTo>
                  <a:lnTo>
                    <a:pt x="1260" y="1800"/>
                  </a:lnTo>
                  <a:lnTo>
                    <a:pt x="1242" y="1806"/>
                  </a:lnTo>
                  <a:lnTo>
                    <a:pt x="1218" y="1812"/>
                  </a:lnTo>
                  <a:lnTo>
                    <a:pt x="1182" y="1812"/>
                  </a:lnTo>
                  <a:lnTo>
                    <a:pt x="1158" y="1806"/>
                  </a:lnTo>
                  <a:lnTo>
                    <a:pt x="1134" y="1800"/>
                  </a:lnTo>
                  <a:lnTo>
                    <a:pt x="1134" y="1806"/>
                  </a:lnTo>
                  <a:lnTo>
                    <a:pt x="1134" y="1830"/>
                  </a:lnTo>
                  <a:lnTo>
                    <a:pt x="1128" y="1842"/>
                  </a:lnTo>
                  <a:lnTo>
                    <a:pt x="1128" y="1854"/>
                  </a:lnTo>
                  <a:lnTo>
                    <a:pt x="1128" y="1860"/>
                  </a:lnTo>
                  <a:lnTo>
                    <a:pt x="1128" y="1866"/>
                  </a:lnTo>
                  <a:lnTo>
                    <a:pt x="1128" y="1872"/>
                  </a:lnTo>
                  <a:lnTo>
                    <a:pt x="1128" y="1884"/>
                  </a:lnTo>
                  <a:lnTo>
                    <a:pt x="1128" y="1890"/>
                  </a:lnTo>
                  <a:lnTo>
                    <a:pt x="1128" y="1896"/>
                  </a:lnTo>
                  <a:lnTo>
                    <a:pt x="1122" y="1902"/>
                  </a:lnTo>
                  <a:lnTo>
                    <a:pt x="1122" y="1920"/>
                  </a:lnTo>
                  <a:lnTo>
                    <a:pt x="1116" y="1920"/>
                  </a:lnTo>
                  <a:lnTo>
                    <a:pt x="1110" y="1926"/>
                  </a:lnTo>
                  <a:lnTo>
                    <a:pt x="1110" y="1932"/>
                  </a:lnTo>
                  <a:lnTo>
                    <a:pt x="1104" y="1938"/>
                  </a:lnTo>
                  <a:lnTo>
                    <a:pt x="1086" y="1962"/>
                  </a:lnTo>
                  <a:lnTo>
                    <a:pt x="1074" y="1974"/>
                  </a:lnTo>
                  <a:lnTo>
                    <a:pt x="1074" y="1980"/>
                  </a:lnTo>
                  <a:lnTo>
                    <a:pt x="1068" y="1986"/>
                  </a:lnTo>
                  <a:lnTo>
                    <a:pt x="1062" y="1998"/>
                  </a:lnTo>
                  <a:lnTo>
                    <a:pt x="1062" y="2004"/>
                  </a:lnTo>
                  <a:lnTo>
                    <a:pt x="1068" y="2004"/>
                  </a:lnTo>
                  <a:lnTo>
                    <a:pt x="1056" y="2034"/>
                  </a:lnTo>
                  <a:lnTo>
                    <a:pt x="1050" y="2076"/>
                  </a:lnTo>
                  <a:lnTo>
                    <a:pt x="1056" y="2100"/>
                  </a:lnTo>
                  <a:lnTo>
                    <a:pt x="1038" y="2106"/>
                  </a:lnTo>
                  <a:lnTo>
                    <a:pt x="1002" y="2106"/>
                  </a:lnTo>
                  <a:lnTo>
                    <a:pt x="978" y="2094"/>
                  </a:lnTo>
                  <a:lnTo>
                    <a:pt x="972" y="2082"/>
                  </a:lnTo>
                  <a:lnTo>
                    <a:pt x="966" y="2070"/>
                  </a:lnTo>
                  <a:lnTo>
                    <a:pt x="954" y="2064"/>
                  </a:lnTo>
                  <a:lnTo>
                    <a:pt x="942" y="2058"/>
                  </a:lnTo>
                  <a:lnTo>
                    <a:pt x="936" y="2058"/>
                  </a:lnTo>
                  <a:lnTo>
                    <a:pt x="918" y="2046"/>
                  </a:lnTo>
                  <a:lnTo>
                    <a:pt x="906" y="2028"/>
                  </a:lnTo>
                  <a:lnTo>
                    <a:pt x="900" y="2022"/>
                  </a:lnTo>
                  <a:lnTo>
                    <a:pt x="894" y="2022"/>
                  </a:lnTo>
                  <a:lnTo>
                    <a:pt x="882" y="2022"/>
                  </a:lnTo>
                  <a:lnTo>
                    <a:pt x="870" y="2016"/>
                  </a:lnTo>
                  <a:lnTo>
                    <a:pt x="864" y="2016"/>
                  </a:lnTo>
                  <a:lnTo>
                    <a:pt x="852" y="2010"/>
                  </a:lnTo>
                  <a:lnTo>
                    <a:pt x="846" y="2004"/>
                  </a:lnTo>
                  <a:lnTo>
                    <a:pt x="840" y="2004"/>
                  </a:lnTo>
                  <a:lnTo>
                    <a:pt x="828" y="1998"/>
                  </a:lnTo>
                  <a:lnTo>
                    <a:pt x="816" y="1998"/>
                  </a:lnTo>
                  <a:lnTo>
                    <a:pt x="810" y="1998"/>
                  </a:lnTo>
                  <a:lnTo>
                    <a:pt x="804" y="1998"/>
                  </a:lnTo>
                  <a:lnTo>
                    <a:pt x="798" y="1998"/>
                  </a:lnTo>
                  <a:lnTo>
                    <a:pt x="792" y="2004"/>
                  </a:lnTo>
                  <a:lnTo>
                    <a:pt x="786" y="2010"/>
                  </a:lnTo>
                  <a:lnTo>
                    <a:pt x="762" y="2010"/>
                  </a:lnTo>
                  <a:lnTo>
                    <a:pt x="756" y="2010"/>
                  </a:lnTo>
                  <a:lnTo>
                    <a:pt x="744" y="2022"/>
                  </a:lnTo>
                  <a:lnTo>
                    <a:pt x="738" y="2034"/>
                  </a:lnTo>
                  <a:lnTo>
                    <a:pt x="732" y="2040"/>
                  </a:lnTo>
                  <a:lnTo>
                    <a:pt x="732" y="2046"/>
                  </a:lnTo>
                  <a:lnTo>
                    <a:pt x="726" y="2058"/>
                  </a:lnTo>
                  <a:lnTo>
                    <a:pt x="720" y="2064"/>
                  </a:lnTo>
                  <a:lnTo>
                    <a:pt x="714" y="2070"/>
                  </a:lnTo>
                  <a:lnTo>
                    <a:pt x="708" y="2088"/>
                  </a:lnTo>
                  <a:lnTo>
                    <a:pt x="702" y="2100"/>
                  </a:lnTo>
                  <a:lnTo>
                    <a:pt x="690" y="2100"/>
                  </a:lnTo>
                  <a:lnTo>
                    <a:pt x="684" y="2094"/>
                  </a:lnTo>
                  <a:lnTo>
                    <a:pt x="666" y="2100"/>
                  </a:lnTo>
                  <a:lnTo>
                    <a:pt x="636" y="2106"/>
                  </a:lnTo>
                  <a:lnTo>
                    <a:pt x="636" y="2112"/>
                  </a:lnTo>
                  <a:lnTo>
                    <a:pt x="636" y="2118"/>
                  </a:lnTo>
                  <a:lnTo>
                    <a:pt x="636" y="2124"/>
                  </a:lnTo>
                  <a:lnTo>
                    <a:pt x="630" y="2124"/>
                  </a:lnTo>
                  <a:lnTo>
                    <a:pt x="630" y="2148"/>
                  </a:lnTo>
                  <a:lnTo>
                    <a:pt x="612" y="2160"/>
                  </a:lnTo>
                  <a:lnTo>
                    <a:pt x="576" y="2172"/>
                  </a:lnTo>
                  <a:lnTo>
                    <a:pt x="546" y="2172"/>
                  </a:lnTo>
                  <a:lnTo>
                    <a:pt x="516" y="2172"/>
                  </a:lnTo>
                  <a:lnTo>
                    <a:pt x="486" y="2172"/>
                  </a:lnTo>
                  <a:lnTo>
                    <a:pt x="462" y="2172"/>
                  </a:lnTo>
                  <a:lnTo>
                    <a:pt x="444" y="2196"/>
                  </a:lnTo>
                  <a:lnTo>
                    <a:pt x="432" y="2232"/>
                  </a:lnTo>
                  <a:lnTo>
                    <a:pt x="408" y="2238"/>
                  </a:lnTo>
                  <a:lnTo>
                    <a:pt x="390" y="2256"/>
                  </a:lnTo>
                  <a:lnTo>
                    <a:pt x="372" y="2274"/>
                  </a:lnTo>
                  <a:lnTo>
                    <a:pt x="360" y="2274"/>
                  </a:lnTo>
                  <a:lnTo>
                    <a:pt x="336" y="2328"/>
                  </a:lnTo>
                  <a:lnTo>
                    <a:pt x="324" y="2340"/>
                  </a:lnTo>
                  <a:lnTo>
                    <a:pt x="300" y="2346"/>
                  </a:lnTo>
                  <a:lnTo>
                    <a:pt x="294" y="2352"/>
                  </a:lnTo>
                  <a:lnTo>
                    <a:pt x="288" y="2352"/>
                  </a:lnTo>
                  <a:lnTo>
                    <a:pt x="282" y="2352"/>
                  </a:lnTo>
                  <a:lnTo>
                    <a:pt x="276" y="2352"/>
                  </a:lnTo>
                  <a:lnTo>
                    <a:pt x="270" y="2352"/>
                  </a:lnTo>
                  <a:lnTo>
                    <a:pt x="270" y="2346"/>
                  </a:lnTo>
                  <a:lnTo>
                    <a:pt x="264" y="2346"/>
                  </a:lnTo>
                  <a:lnTo>
                    <a:pt x="258" y="2352"/>
                  </a:lnTo>
                  <a:lnTo>
                    <a:pt x="252" y="2352"/>
                  </a:lnTo>
                  <a:lnTo>
                    <a:pt x="240" y="2352"/>
                  </a:lnTo>
                  <a:lnTo>
                    <a:pt x="228" y="2352"/>
                  </a:lnTo>
                  <a:lnTo>
                    <a:pt x="222" y="2352"/>
                  </a:lnTo>
                  <a:lnTo>
                    <a:pt x="216" y="2358"/>
                  </a:lnTo>
                  <a:lnTo>
                    <a:pt x="216" y="2352"/>
                  </a:lnTo>
                  <a:lnTo>
                    <a:pt x="210" y="2346"/>
                  </a:lnTo>
                  <a:lnTo>
                    <a:pt x="204" y="2346"/>
                  </a:lnTo>
                  <a:lnTo>
                    <a:pt x="198" y="2340"/>
                  </a:lnTo>
                  <a:lnTo>
                    <a:pt x="192" y="2340"/>
                  </a:lnTo>
                  <a:lnTo>
                    <a:pt x="186" y="2340"/>
                  </a:lnTo>
                  <a:lnTo>
                    <a:pt x="180" y="2340"/>
                  </a:lnTo>
                  <a:lnTo>
                    <a:pt x="174" y="2340"/>
                  </a:lnTo>
                  <a:lnTo>
                    <a:pt x="162" y="2328"/>
                  </a:lnTo>
                  <a:lnTo>
                    <a:pt x="156" y="2322"/>
                  </a:lnTo>
                  <a:lnTo>
                    <a:pt x="156" y="2316"/>
                  </a:lnTo>
                  <a:lnTo>
                    <a:pt x="156" y="2310"/>
                  </a:lnTo>
                  <a:lnTo>
                    <a:pt x="132" y="2286"/>
                  </a:lnTo>
                  <a:lnTo>
                    <a:pt x="120" y="2280"/>
                  </a:lnTo>
                  <a:lnTo>
                    <a:pt x="96" y="2274"/>
                  </a:lnTo>
                  <a:lnTo>
                    <a:pt x="84" y="2268"/>
                  </a:lnTo>
                  <a:lnTo>
                    <a:pt x="78" y="2268"/>
                  </a:lnTo>
                  <a:lnTo>
                    <a:pt x="78" y="2262"/>
                  </a:lnTo>
                  <a:lnTo>
                    <a:pt x="78" y="2256"/>
                  </a:lnTo>
                  <a:lnTo>
                    <a:pt x="78" y="2250"/>
                  </a:lnTo>
                  <a:lnTo>
                    <a:pt x="72" y="2250"/>
                  </a:lnTo>
                  <a:lnTo>
                    <a:pt x="66" y="2250"/>
                  </a:lnTo>
                  <a:lnTo>
                    <a:pt x="60" y="2250"/>
                  </a:lnTo>
                  <a:lnTo>
                    <a:pt x="48" y="2244"/>
                  </a:lnTo>
                  <a:lnTo>
                    <a:pt x="36" y="2238"/>
                  </a:lnTo>
                  <a:lnTo>
                    <a:pt x="36" y="2226"/>
                  </a:lnTo>
                  <a:lnTo>
                    <a:pt x="30" y="2226"/>
                  </a:lnTo>
                  <a:lnTo>
                    <a:pt x="30" y="2220"/>
                  </a:lnTo>
                  <a:lnTo>
                    <a:pt x="24" y="2208"/>
                  </a:lnTo>
                  <a:lnTo>
                    <a:pt x="18" y="2202"/>
                  </a:lnTo>
                  <a:lnTo>
                    <a:pt x="18" y="2196"/>
                  </a:lnTo>
                  <a:lnTo>
                    <a:pt x="12" y="2190"/>
                  </a:lnTo>
                  <a:lnTo>
                    <a:pt x="0" y="2190"/>
                  </a:lnTo>
                  <a:lnTo>
                    <a:pt x="6" y="2184"/>
                  </a:lnTo>
                  <a:lnTo>
                    <a:pt x="12" y="2178"/>
                  </a:lnTo>
                  <a:lnTo>
                    <a:pt x="18" y="2172"/>
                  </a:lnTo>
                  <a:lnTo>
                    <a:pt x="24" y="2166"/>
                  </a:lnTo>
                  <a:lnTo>
                    <a:pt x="30" y="2166"/>
                  </a:lnTo>
                  <a:lnTo>
                    <a:pt x="24" y="2160"/>
                  </a:lnTo>
                  <a:lnTo>
                    <a:pt x="30" y="2160"/>
                  </a:lnTo>
                  <a:lnTo>
                    <a:pt x="36" y="2154"/>
                  </a:lnTo>
                  <a:lnTo>
                    <a:pt x="36" y="2136"/>
                  </a:lnTo>
                  <a:lnTo>
                    <a:pt x="36" y="2118"/>
                  </a:lnTo>
                  <a:lnTo>
                    <a:pt x="48" y="2058"/>
                  </a:lnTo>
                  <a:lnTo>
                    <a:pt x="48" y="2022"/>
                  </a:lnTo>
                  <a:lnTo>
                    <a:pt x="48" y="2016"/>
                  </a:lnTo>
                  <a:lnTo>
                    <a:pt x="48" y="2010"/>
                  </a:lnTo>
                  <a:lnTo>
                    <a:pt x="48" y="2004"/>
                  </a:lnTo>
                  <a:lnTo>
                    <a:pt x="42" y="2004"/>
                  </a:lnTo>
                  <a:lnTo>
                    <a:pt x="42" y="1998"/>
                  </a:lnTo>
                  <a:lnTo>
                    <a:pt x="36" y="1992"/>
                  </a:lnTo>
                  <a:lnTo>
                    <a:pt x="42" y="1992"/>
                  </a:lnTo>
                  <a:lnTo>
                    <a:pt x="42" y="1986"/>
                  </a:lnTo>
                  <a:lnTo>
                    <a:pt x="48" y="1986"/>
                  </a:lnTo>
                  <a:lnTo>
                    <a:pt x="54" y="1986"/>
                  </a:lnTo>
                  <a:lnTo>
                    <a:pt x="60" y="1986"/>
                  </a:lnTo>
                  <a:lnTo>
                    <a:pt x="66" y="1980"/>
                  </a:lnTo>
                  <a:lnTo>
                    <a:pt x="72" y="1974"/>
                  </a:lnTo>
                  <a:lnTo>
                    <a:pt x="78" y="1974"/>
                  </a:lnTo>
                  <a:lnTo>
                    <a:pt x="84" y="1974"/>
                  </a:lnTo>
                  <a:lnTo>
                    <a:pt x="90" y="1974"/>
                  </a:lnTo>
                  <a:lnTo>
                    <a:pt x="96" y="1974"/>
                  </a:lnTo>
                  <a:lnTo>
                    <a:pt x="96" y="1968"/>
                  </a:lnTo>
                  <a:lnTo>
                    <a:pt x="102" y="1968"/>
                  </a:lnTo>
                  <a:lnTo>
                    <a:pt x="102" y="1962"/>
                  </a:lnTo>
                  <a:lnTo>
                    <a:pt x="108" y="1962"/>
                  </a:lnTo>
                  <a:lnTo>
                    <a:pt x="114" y="1956"/>
                  </a:lnTo>
                  <a:lnTo>
                    <a:pt x="120" y="1956"/>
                  </a:lnTo>
                  <a:lnTo>
                    <a:pt x="126" y="1950"/>
                  </a:lnTo>
                  <a:lnTo>
                    <a:pt x="132" y="1950"/>
                  </a:lnTo>
                  <a:lnTo>
                    <a:pt x="132" y="1944"/>
                  </a:lnTo>
                  <a:lnTo>
                    <a:pt x="126" y="1944"/>
                  </a:lnTo>
                  <a:lnTo>
                    <a:pt x="126" y="1938"/>
                  </a:lnTo>
                  <a:lnTo>
                    <a:pt x="126" y="1932"/>
                  </a:lnTo>
                  <a:lnTo>
                    <a:pt x="126" y="1926"/>
                  </a:lnTo>
                  <a:lnTo>
                    <a:pt x="114" y="1914"/>
                  </a:lnTo>
                  <a:lnTo>
                    <a:pt x="114" y="1896"/>
                  </a:lnTo>
                  <a:lnTo>
                    <a:pt x="108" y="1884"/>
                  </a:lnTo>
                  <a:lnTo>
                    <a:pt x="102" y="1872"/>
                  </a:lnTo>
                  <a:lnTo>
                    <a:pt x="96" y="1866"/>
                  </a:lnTo>
                  <a:lnTo>
                    <a:pt x="96" y="1860"/>
                  </a:lnTo>
                  <a:lnTo>
                    <a:pt x="90" y="1860"/>
                  </a:lnTo>
                  <a:lnTo>
                    <a:pt x="90" y="1854"/>
                  </a:lnTo>
                  <a:lnTo>
                    <a:pt x="84" y="1848"/>
                  </a:lnTo>
                  <a:lnTo>
                    <a:pt x="78" y="1842"/>
                  </a:lnTo>
                  <a:lnTo>
                    <a:pt x="72" y="1836"/>
                  </a:lnTo>
                  <a:lnTo>
                    <a:pt x="66" y="1830"/>
                  </a:lnTo>
                  <a:lnTo>
                    <a:pt x="60" y="1824"/>
                  </a:lnTo>
                  <a:lnTo>
                    <a:pt x="54" y="1824"/>
                  </a:lnTo>
                  <a:lnTo>
                    <a:pt x="48" y="1824"/>
                  </a:lnTo>
                  <a:lnTo>
                    <a:pt x="42" y="1818"/>
                  </a:lnTo>
                  <a:lnTo>
                    <a:pt x="54" y="1818"/>
                  </a:lnTo>
                  <a:lnTo>
                    <a:pt x="60" y="1812"/>
                  </a:lnTo>
                  <a:lnTo>
                    <a:pt x="66" y="1812"/>
                  </a:lnTo>
                  <a:lnTo>
                    <a:pt x="72" y="1812"/>
                  </a:lnTo>
                  <a:lnTo>
                    <a:pt x="78" y="1812"/>
                  </a:lnTo>
                  <a:lnTo>
                    <a:pt x="84" y="1812"/>
                  </a:lnTo>
                  <a:lnTo>
                    <a:pt x="90" y="1806"/>
                  </a:lnTo>
                  <a:lnTo>
                    <a:pt x="96" y="1800"/>
                  </a:lnTo>
                  <a:lnTo>
                    <a:pt x="102" y="1806"/>
                  </a:lnTo>
                  <a:lnTo>
                    <a:pt x="108" y="1800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26" y="1788"/>
                  </a:lnTo>
                  <a:lnTo>
                    <a:pt x="126" y="1794"/>
                  </a:lnTo>
                  <a:lnTo>
                    <a:pt x="132" y="1794"/>
                  </a:lnTo>
                  <a:lnTo>
                    <a:pt x="132" y="1788"/>
                  </a:lnTo>
                  <a:lnTo>
                    <a:pt x="138" y="1788"/>
                  </a:lnTo>
                  <a:lnTo>
                    <a:pt x="138" y="1782"/>
                  </a:lnTo>
                  <a:lnTo>
                    <a:pt x="144" y="1782"/>
                  </a:lnTo>
                  <a:lnTo>
                    <a:pt x="150" y="1776"/>
                  </a:lnTo>
                  <a:lnTo>
                    <a:pt x="156" y="1782"/>
                  </a:lnTo>
                  <a:lnTo>
                    <a:pt x="162" y="1776"/>
                  </a:lnTo>
                  <a:lnTo>
                    <a:pt x="168" y="1776"/>
                  </a:lnTo>
                  <a:lnTo>
                    <a:pt x="180" y="1776"/>
                  </a:lnTo>
                  <a:lnTo>
                    <a:pt x="186" y="1776"/>
                  </a:lnTo>
                  <a:lnTo>
                    <a:pt x="186" y="1782"/>
                  </a:lnTo>
                  <a:lnTo>
                    <a:pt x="192" y="1776"/>
                  </a:lnTo>
                  <a:lnTo>
                    <a:pt x="198" y="1776"/>
                  </a:lnTo>
                  <a:lnTo>
                    <a:pt x="204" y="1770"/>
                  </a:lnTo>
                  <a:lnTo>
                    <a:pt x="204" y="1764"/>
                  </a:lnTo>
                  <a:lnTo>
                    <a:pt x="210" y="1764"/>
                  </a:lnTo>
                  <a:lnTo>
                    <a:pt x="216" y="1764"/>
                  </a:lnTo>
                  <a:lnTo>
                    <a:pt x="216" y="1758"/>
                  </a:lnTo>
                  <a:lnTo>
                    <a:pt x="222" y="1758"/>
                  </a:lnTo>
                  <a:lnTo>
                    <a:pt x="228" y="1758"/>
                  </a:lnTo>
                  <a:lnTo>
                    <a:pt x="258" y="1746"/>
                  </a:lnTo>
                  <a:lnTo>
                    <a:pt x="282" y="1716"/>
                  </a:lnTo>
                  <a:lnTo>
                    <a:pt x="300" y="1698"/>
                  </a:lnTo>
                  <a:lnTo>
                    <a:pt x="312" y="1698"/>
                  </a:lnTo>
                  <a:lnTo>
                    <a:pt x="336" y="1698"/>
                  </a:lnTo>
                  <a:lnTo>
                    <a:pt x="360" y="1698"/>
                  </a:lnTo>
                  <a:lnTo>
                    <a:pt x="372" y="1692"/>
                  </a:lnTo>
                  <a:lnTo>
                    <a:pt x="384" y="1692"/>
                  </a:lnTo>
                  <a:lnTo>
                    <a:pt x="360" y="1668"/>
                  </a:lnTo>
                  <a:lnTo>
                    <a:pt x="348" y="1626"/>
                  </a:lnTo>
                  <a:lnTo>
                    <a:pt x="354" y="1578"/>
                  </a:lnTo>
                  <a:lnTo>
                    <a:pt x="354" y="1572"/>
                  </a:lnTo>
                  <a:lnTo>
                    <a:pt x="360" y="1572"/>
                  </a:lnTo>
                  <a:lnTo>
                    <a:pt x="396" y="1530"/>
                  </a:lnTo>
                  <a:lnTo>
                    <a:pt x="408" y="1482"/>
                  </a:lnTo>
                  <a:lnTo>
                    <a:pt x="438" y="1458"/>
                  </a:lnTo>
                  <a:lnTo>
                    <a:pt x="468" y="1422"/>
                  </a:lnTo>
                  <a:lnTo>
                    <a:pt x="480" y="1410"/>
                  </a:lnTo>
                  <a:lnTo>
                    <a:pt x="474" y="1386"/>
                  </a:lnTo>
                  <a:lnTo>
                    <a:pt x="456" y="1356"/>
                  </a:lnTo>
                  <a:lnTo>
                    <a:pt x="438" y="1350"/>
                  </a:lnTo>
                  <a:lnTo>
                    <a:pt x="420" y="1350"/>
                  </a:lnTo>
                  <a:lnTo>
                    <a:pt x="402" y="1350"/>
                  </a:lnTo>
                  <a:lnTo>
                    <a:pt x="390" y="1344"/>
                  </a:lnTo>
                  <a:lnTo>
                    <a:pt x="390" y="1332"/>
                  </a:lnTo>
                  <a:lnTo>
                    <a:pt x="402" y="1296"/>
                  </a:lnTo>
                  <a:lnTo>
                    <a:pt x="414" y="1260"/>
                  </a:lnTo>
                  <a:lnTo>
                    <a:pt x="426" y="1248"/>
                  </a:lnTo>
                  <a:lnTo>
                    <a:pt x="438" y="1242"/>
                  </a:lnTo>
                  <a:lnTo>
                    <a:pt x="432" y="1230"/>
                  </a:lnTo>
                  <a:lnTo>
                    <a:pt x="432" y="1224"/>
                  </a:lnTo>
                  <a:lnTo>
                    <a:pt x="426" y="1218"/>
                  </a:lnTo>
                  <a:lnTo>
                    <a:pt x="426" y="1206"/>
                  </a:lnTo>
                  <a:lnTo>
                    <a:pt x="426" y="1200"/>
                  </a:lnTo>
                  <a:lnTo>
                    <a:pt x="432" y="1194"/>
                  </a:lnTo>
                  <a:lnTo>
                    <a:pt x="426" y="1188"/>
                  </a:lnTo>
                  <a:lnTo>
                    <a:pt x="432" y="1104"/>
                  </a:lnTo>
                  <a:lnTo>
                    <a:pt x="438" y="1086"/>
                  </a:lnTo>
                  <a:lnTo>
                    <a:pt x="462" y="972"/>
                  </a:lnTo>
                  <a:lnTo>
                    <a:pt x="456" y="900"/>
                  </a:lnTo>
                  <a:lnTo>
                    <a:pt x="444" y="846"/>
                  </a:lnTo>
                  <a:lnTo>
                    <a:pt x="456" y="810"/>
                  </a:lnTo>
                  <a:lnTo>
                    <a:pt x="492" y="786"/>
                  </a:lnTo>
                  <a:lnTo>
                    <a:pt x="522" y="762"/>
                  </a:lnTo>
                  <a:lnTo>
                    <a:pt x="546" y="732"/>
                  </a:lnTo>
                  <a:lnTo>
                    <a:pt x="570" y="696"/>
                  </a:lnTo>
                  <a:lnTo>
                    <a:pt x="582" y="654"/>
                  </a:lnTo>
                  <a:lnTo>
                    <a:pt x="564" y="642"/>
                  </a:lnTo>
                  <a:lnTo>
                    <a:pt x="522" y="588"/>
                  </a:lnTo>
                  <a:lnTo>
                    <a:pt x="516" y="546"/>
                  </a:lnTo>
                  <a:lnTo>
                    <a:pt x="510" y="474"/>
                  </a:lnTo>
                  <a:lnTo>
                    <a:pt x="510" y="450"/>
                  </a:lnTo>
                  <a:lnTo>
                    <a:pt x="510" y="444"/>
                  </a:lnTo>
                  <a:lnTo>
                    <a:pt x="522" y="438"/>
                  </a:lnTo>
                  <a:lnTo>
                    <a:pt x="522" y="432"/>
                  </a:lnTo>
                  <a:lnTo>
                    <a:pt x="528" y="426"/>
                  </a:lnTo>
                  <a:lnTo>
                    <a:pt x="534" y="420"/>
                  </a:lnTo>
                  <a:lnTo>
                    <a:pt x="540" y="414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08"/>
                  </a:lnTo>
                  <a:lnTo>
                    <a:pt x="546" y="408"/>
                  </a:lnTo>
                  <a:lnTo>
                    <a:pt x="558" y="414"/>
                  </a:lnTo>
                  <a:lnTo>
                    <a:pt x="564" y="414"/>
                  </a:lnTo>
                  <a:lnTo>
                    <a:pt x="570" y="414"/>
                  </a:lnTo>
                  <a:lnTo>
                    <a:pt x="582" y="414"/>
                  </a:lnTo>
                  <a:lnTo>
                    <a:pt x="582" y="420"/>
                  </a:lnTo>
                  <a:lnTo>
                    <a:pt x="588" y="414"/>
                  </a:lnTo>
                  <a:lnTo>
                    <a:pt x="582" y="408"/>
                  </a:lnTo>
                  <a:lnTo>
                    <a:pt x="588" y="402"/>
                  </a:lnTo>
                  <a:lnTo>
                    <a:pt x="594" y="402"/>
                  </a:lnTo>
                  <a:lnTo>
                    <a:pt x="594" y="396"/>
                  </a:lnTo>
                  <a:lnTo>
                    <a:pt x="594" y="390"/>
                  </a:lnTo>
                  <a:lnTo>
                    <a:pt x="594" y="384"/>
                  </a:lnTo>
                  <a:lnTo>
                    <a:pt x="594" y="378"/>
                  </a:lnTo>
                  <a:lnTo>
                    <a:pt x="600" y="366"/>
                  </a:lnTo>
                  <a:lnTo>
                    <a:pt x="606" y="366"/>
                  </a:lnTo>
                  <a:lnTo>
                    <a:pt x="612" y="360"/>
                  </a:lnTo>
                  <a:lnTo>
                    <a:pt x="612" y="366"/>
                  </a:lnTo>
                  <a:lnTo>
                    <a:pt x="618" y="366"/>
                  </a:lnTo>
                  <a:lnTo>
                    <a:pt x="624" y="366"/>
                  </a:lnTo>
                  <a:lnTo>
                    <a:pt x="630" y="360"/>
                  </a:lnTo>
                  <a:lnTo>
                    <a:pt x="636" y="354"/>
                  </a:lnTo>
                  <a:lnTo>
                    <a:pt x="630" y="354"/>
                  </a:lnTo>
                  <a:lnTo>
                    <a:pt x="630" y="348"/>
                  </a:lnTo>
                  <a:lnTo>
                    <a:pt x="630" y="342"/>
                  </a:lnTo>
                  <a:lnTo>
                    <a:pt x="636" y="342"/>
                  </a:lnTo>
                  <a:lnTo>
                    <a:pt x="642" y="336"/>
                  </a:lnTo>
                  <a:lnTo>
                    <a:pt x="636" y="330"/>
                  </a:lnTo>
                  <a:lnTo>
                    <a:pt x="630" y="336"/>
                  </a:lnTo>
                  <a:lnTo>
                    <a:pt x="624" y="336"/>
                  </a:lnTo>
                  <a:lnTo>
                    <a:pt x="624" y="330"/>
                  </a:lnTo>
                  <a:lnTo>
                    <a:pt x="624" y="324"/>
                  </a:lnTo>
                  <a:lnTo>
                    <a:pt x="618" y="324"/>
                  </a:lnTo>
                  <a:lnTo>
                    <a:pt x="624" y="324"/>
                  </a:lnTo>
                  <a:lnTo>
                    <a:pt x="630" y="330"/>
                  </a:lnTo>
                  <a:lnTo>
                    <a:pt x="630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2" y="306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8" y="288"/>
                  </a:lnTo>
                  <a:lnTo>
                    <a:pt x="648" y="282"/>
                  </a:lnTo>
                  <a:lnTo>
                    <a:pt x="654" y="288"/>
                  </a:lnTo>
                  <a:lnTo>
                    <a:pt x="654" y="282"/>
                  </a:lnTo>
                  <a:lnTo>
                    <a:pt x="660" y="282"/>
                  </a:lnTo>
                  <a:lnTo>
                    <a:pt x="666" y="282"/>
                  </a:lnTo>
                  <a:lnTo>
                    <a:pt x="672" y="282"/>
                  </a:lnTo>
                  <a:lnTo>
                    <a:pt x="678" y="282"/>
                  </a:lnTo>
                  <a:lnTo>
                    <a:pt x="684" y="276"/>
                  </a:lnTo>
                  <a:lnTo>
                    <a:pt x="690" y="270"/>
                  </a:lnTo>
                  <a:lnTo>
                    <a:pt x="690" y="264"/>
                  </a:lnTo>
                  <a:lnTo>
                    <a:pt x="690" y="270"/>
                  </a:lnTo>
                  <a:lnTo>
                    <a:pt x="690" y="276"/>
                  </a:lnTo>
                  <a:lnTo>
                    <a:pt x="696" y="276"/>
                  </a:lnTo>
                  <a:lnTo>
                    <a:pt x="702" y="276"/>
                  </a:lnTo>
                  <a:lnTo>
                    <a:pt x="702" y="282"/>
                  </a:lnTo>
                  <a:lnTo>
                    <a:pt x="708" y="282"/>
                  </a:lnTo>
                  <a:lnTo>
                    <a:pt x="720" y="270"/>
                  </a:lnTo>
                  <a:lnTo>
                    <a:pt x="720" y="264"/>
                  </a:lnTo>
                  <a:lnTo>
                    <a:pt x="720" y="258"/>
                  </a:lnTo>
                  <a:lnTo>
                    <a:pt x="726" y="258"/>
                  </a:lnTo>
                  <a:lnTo>
                    <a:pt x="732" y="258"/>
                  </a:lnTo>
                  <a:lnTo>
                    <a:pt x="732" y="264"/>
                  </a:lnTo>
                  <a:lnTo>
                    <a:pt x="738" y="264"/>
                  </a:lnTo>
                  <a:lnTo>
                    <a:pt x="738" y="258"/>
                  </a:lnTo>
                  <a:lnTo>
                    <a:pt x="732" y="258"/>
                  </a:lnTo>
                  <a:lnTo>
                    <a:pt x="732" y="252"/>
                  </a:lnTo>
                  <a:lnTo>
                    <a:pt x="744" y="252"/>
                  </a:lnTo>
                  <a:lnTo>
                    <a:pt x="750" y="252"/>
                  </a:lnTo>
                  <a:lnTo>
                    <a:pt x="750" y="246"/>
                  </a:lnTo>
                  <a:lnTo>
                    <a:pt x="750" y="240"/>
                  </a:lnTo>
                  <a:lnTo>
                    <a:pt x="762" y="234"/>
                  </a:lnTo>
                  <a:lnTo>
                    <a:pt x="768" y="234"/>
                  </a:lnTo>
                  <a:lnTo>
                    <a:pt x="774" y="234"/>
                  </a:lnTo>
                  <a:lnTo>
                    <a:pt x="780" y="228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16"/>
                  </a:lnTo>
                  <a:lnTo>
                    <a:pt x="792" y="210"/>
                  </a:lnTo>
                  <a:lnTo>
                    <a:pt x="804" y="204"/>
                  </a:lnTo>
                  <a:lnTo>
                    <a:pt x="804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0" y="192"/>
                  </a:lnTo>
                  <a:lnTo>
                    <a:pt x="798" y="186"/>
                  </a:lnTo>
                  <a:lnTo>
                    <a:pt x="810" y="186"/>
                  </a:lnTo>
                  <a:lnTo>
                    <a:pt x="810" y="180"/>
                  </a:lnTo>
                  <a:lnTo>
                    <a:pt x="810" y="186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0" y="180"/>
                  </a:lnTo>
                  <a:lnTo>
                    <a:pt x="816" y="174"/>
                  </a:lnTo>
                  <a:lnTo>
                    <a:pt x="822" y="174"/>
                  </a:lnTo>
                  <a:lnTo>
                    <a:pt x="822" y="180"/>
                  </a:lnTo>
                  <a:lnTo>
                    <a:pt x="828" y="180"/>
                  </a:lnTo>
                  <a:lnTo>
                    <a:pt x="828" y="174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62"/>
                  </a:lnTo>
                  <a:lnTo>
                    <a:pt x="828" y="156"/>
                  </a:lnTo>
                  <a:lnTo>
                    <a:pt x="822" y="156"/>
                  </a:lnTo>
                  <a:lnTo>
                    <a:pt x="828" y="156"/>
                  </a:lnTo>
                  <a:lnTo>
                    <a:pt x="828" y="150"/>
                  </a:lnTo>
                  <a:lnTo>
                    <a:pt x="834" y="150"/>
                  </a:lnTo>
                  <a:lnTo>
                    <a:pt x="840" y="156"/>
                  </a:lnTo>
                  <a:lnTo>
                    <a:pt x="840" y="150"/>
                  </a:lnTo>
                  <a:lnTo>
                    <a:pt x="834" y="150"/>
                  </a:lnTo>
                  <a:lnTo>
                    <a:pt x="834" y="144"/>
                  </a:lnTo>
                  <a:lnTo>
                    <a:pt x="840" y="138"/>
                  </a:lnTo>
                  <a:lnTo>
                    <a:pt x="846" y="144"/>
                  </a:lnTo>
                  <a:lnTo>
                    <a:pt x="846" y="150"/>
                  </a:lnTo>
                  <a:lnTo>
                    <a:pt x="852" y="150"/>
                  </a:lnTo>
                  <a:lnTo>
                    <a:pt x="858" y="150"/>
                  </a:lnTo>
                  <a:lnTo>
                    <a:pt x="870" y="150"/>
                  </a:lnTo>
                  <a:lnTo>
                    <a:pt x="870" y="144"/>
                  </a:lnTo>
                  <a:lnTo>
                    <a:pt x="876" y="138"/>
                  </a:lnTo>
                  <a:lnTo>
                    <a:pt x="882" y="138"/>
                  </a:lnTo>
                  <a:lnTo>
                    <a:pt x="888" y="132"/>
                  </a:lnTo>
                  <a:lnTo>
                    <a:pt x="888" y="138"/>
                  </a:lnTo>
                  <a:lnTo>
                    <a:pt x="894" y="138"/>
                  </a:lnTo>
                  <a:lnTo>
                    <a:pt x="894" y="132"/>
                  </a:lnTo>
                  <a:lnTo>
                    <a:pt x="900" y="126"/>
                  </a:lnTo>
                  <a:lnTo>
                    <a:pt x="900" y="132"/>
                  </a:lnTo>
                  <a:lnTo>
                    <a:pt x="906" y="132"/>
                  </a:lnTo>
                  <a:lnTo>
                    <a:pt x="912" y="132"/>
                  </a:lnTo>
                  <a:lnTo>
                    <a:pt x="918" y="126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24" y="126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8" y="120"/>
                  </a:lnTo>
                  <a:lnTo>
                    <a:pt x="948" y="114"/>
                  </a:lnTo>
                  <a:lnTo>
                    <a:pt x="948" y="108"/>
                  </a:lnTo>
                  <a:lnTo>
                    <a:pt x="954" y="114"/>
                  </a:lnTo>
                  <a:lnTo>
                    <a:pt x="960" y="108"/>
                  </a:lnTo>
                  <a:lnTo>
                    <a:pt x="966" y="108"/>
                  </a:lnTo>
                  <a:lnTo>
                    <a:pt x="972" y="108"/>
                  </a:lnTo>
                  <a:lnTo>
                    <a:pt x="966" y="114"/>
                  </a:lnTo>
                  <a:lnTo>
                    <a:pt x="960" y="114"/>
                  </a:lnTo>
                  <a:lnTo>
                    <a:pt x="960" y="120"/>
                  </a:lnTo>
                  <a:lnTo>
                    <a:pt x="966" y="126"/>
                  </a:lnTo>
                  <a:lnTo>
                    <a:pt x="972" y="126"/>
                  </a:lnTo>
                  <a:lnTo>
                    <a:pt x="978" y="126"/>
                  </a:lnTo>
                  <a:lnTo>
                    <a:pt x="984" y="120"/>
                  </a:lnTo>
                  <a:lnTo>
                    <a:pt x="984" y="114"/>
                  </a:lnTo>
                  <a:lnTo>
                    <a:pt x="996" y="126"/>
                  </a:lnTo>
                  <a:lnTo>
                    <a:pt x="996" y="120"/>
                  </a:lnTo>
                  <a:lnTo>
                    <a:pt x="1002" y="120"/>
                  </a:lnTo>
                  <a:lnTo>
                    <a:pt x="996" y="114"/>
                  </a:lnTo>
                  <a:lnTo>
                    <a:pt x="1002" y="114"/>
                  </a:lnTo>
                  <a:lnTo>
                    <a:pt x="1008" y="114"/>
                  </a:lnTo>
                  <a:lnTo>
                    <a:pt x="1008" y="108"/>
                  </a:lnTo>
                  <a:lnTo>
                    <a:pt x="1014" y="108"/>
                  </a:lnTo>
                  <a:lnTo>
                    <a:pt x="1008" y="114"/>
                  </a:lnTo>
                  <a:lnTo>
                    <a:pt x="1008" y="120"/>
                  </a:lnTo>
                  <a:lnTo>
                    <a:pt x="1008" y="126"/>
                  </a:lnTo>
                  <a:lnTo>
                    <a:pt x="1014" y="126"/>
                  </a:lnTo>
                  <a:lnTo>
                    <a:pt x="1014" y="132"/>
                  </a:lnTo>
                  <a:lnTo>
                    <a:pt x="1020" y="132"/>
                  </a:lnTo>
                  <a:lnTo>
                    <a:pt x="1020" y="126"/>
                  </a:lnTo>
                  <a:lnTo>
                    <a:pt x="1020" y="120"/>
                  </a:lnTo>
                  <a:lnTo>
                    <a:pt x="1032" y="120"/>
                  </a:lnTo>
                  <a:lnTo>
                    <a:pt x="1038" y="120"/>
                  </a:lnTo>
                  <a:lnTo>
                    <a:pt x="1038" y="126"/>
                  </a:lnTo>
                  <a:lnTo>
                    <a:pt x="1044" y="132"/>
                  </a:lnTo>
                  <a:lnTo>
                    <a:pt x="1044" y="126"/>
                  </a:lnTo>
                  <a:lnTo>
                    <a:pt x="1050" y="120"/>
                  </a:lnTo>
                  <a:lnTo>
                    <a:pt x="1050" y="114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68" y="102"/>
                  </a:lnTo>
                  <a:lnTo>
                    <a:pt x="1074" y="96"/>
                  </a:lnTo>
                  <a:lnTo>
                    <a:pt x="1074" y="90"/>
                  </a:lnTo>
                  <a:lnTo>
                    <a:pt x="1068" y="90"/>
                  </a:lnTo>
                  <a:lnTo>
                    <a:pt x="1068" y="84"/>
                  </a:lnTo>
                  <a:lnTo>
                    <a:pt x="1080" y="84"/>
                  </a:lnTo>
                  <a:lnTo>
                    <a:pt x="1086" y="78"/>
                  </a:lnTo>
                  <a:lnTo>
                    <a:pt x="1086" y="72"/>
                  </a:lnTo>
                  <a:lnTo>
                    <a:pt x="1080" y="78"/>
                  </a:lnTo>
                  <a:lnTo>
                    <a:pt x="1080" y="72"/>
                  </a:lnTo>
                  <a:lnTo>
                    <a:pt x="1080" y="66"/>
                  </a:lnTo>
                  <a:lnTo>
                    <a:pt x="1074" y="66"/>
                  </a:lnTo>
                  <a:lnTo>
                    <a:pt x="1080" y="66"/>
                  </a:lnTo>
                  <a:lnTo>
                    <a:pt x="1080" y="60"/>
                  </a:lnTo>
                  <a:lnTo>
                    <a:pt x="1086" y="60"/>
                  </a:lnTo>
                  <a:lnTo>
                    <a:pt x="1086" y="54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2" y="42"/>
                  </a:lnTo>
                  <a:lnTo>
                    <a:pt x="1098" y="42"/>
                  </a:lnTo>
                  <a:lnTo>
                    <a:pt x="1104" y="36"/>
                  </a:lnTo>
                  <a:lnTo>
                    <a:pt x="1110" y="36"/>
                  </a:lnTo>
                  <a:lnTo>
                    <a:pt x="1110" y="30"/>
                  </a:lnTo>
                  <a:lnTo>
                    <a:pt x="1110" y="24"/>
                  </a:lnTo>
                  <a:lnTo>
                    <a:pt x="1116" y="24"/>
                  </a:lnTo>
                  <a:lnTo>
                    <a:pt x="1116" y="18"/>
                  </a:lnTo>
                  <a:lnTo>
                    <a:pt x="1122" y="18"/>
                  </a:lnTo>
                  <a:lnTo>
                    <a:pt x="1128" y="18"/>
                  </a:lnTo>
                  <a:lnTo>
                    <a:pt x="1134" y="12"/>
                  </a:lnTo>
                  <a:lnTo>
                    <a:pt x="1134" y="6"/>
                  </a:lnTo>
                  <a:lnTo>
                    <a:pt x="1140" y="6"/>
                  </a:lnTo>
                  <a:lnTo>
                    <a:pt x="1146" y="0"/>
                  </a:lnTo>
                  <a:lnTo>
                    <a:pt x="1152" y="0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70" y="0"/>
                  </a:lnTo>
                  <a:lnTo>
                    <a:pt x="1176" y="6"/>
                  </a:lnTo>
                  <a:lnTo>
                    <a:pt x="1182" y="6"/>
                  </a:lnTo>
                  <a:lnTo>
                    <a:pt x="1194" y="6"/>
                  </a:lnTo>
                  <a:lnTo>
                    <a:pt x="1200" y="6"/>
                  </a:lnTo>
                  <a:lnTo>
                    <a:pt x="1212" y="0"/>
                  </a:lnTo>
                  <a:lnTo>
                    <a:pt x="1212" y="6"/>
                  </a:lnTo>
                  <a:lnTo>
                    <a:pt x="1218" y="6"/>
                  </a:lnTo>
                  <a:lnTo>
                    <a:pt x="1266" y="6"/>
                  </a:lnTo>
                  <a:lnTo>
                    <a:pt x="1272" y="0"/>
                  </a:lnTo>
                  <a:lnTo>
                    <a:pt x="1278" y="6"/>
                  </a:lnTo>
                  <a:lnTo>
                    <a:pt x="1290" y="6"/>
                  </a:lnTo>
                  <a:lnTo>
                    <a:pt x="1296" y="6"/>
                  </a:lnTo>
                  <a:lnTo>
                    <a:pt x="1308" y="6"/>
                  </a:lnTo>
                  <a:lnTo>
                    <a:pt x="1314" y="6"/>
                  </a:lnTo>
                  <a:lnTo>
                    <a:pt x="1320" y="6"/>
                  </a:lnTo>
                  <a:lnTo>
                    <a:pt x="1326" y="12"/>
                  </a:lnTo>
                  <a:lnTo>
                    <a:pt x="1338" y="30"/>
                  </a:lnTo>
                  <a:lnTo>
                    <a:pt x="1344" y="36"/>
                  </a:lnTo>
                  <a:lnTo>
                    <a:pt x="1356" y="48"/>
                  </a:lnTo>
                  <a:lnTo>
                    <a:pt x="1362" y="60"/>
                  </a:lnTo>
                  <a:lnTo>
                    <a:pt x="1368" y="66"/>
                  </a:lnTo>
                  <a:lnTo>
                    <a:pt x="1374" y="72"/>
                  </a:lnTo>
                  <a:lnTo>
                    <a:pt x="1374" y="78"/>
                  </a:lnTo>
                  <a:lnTo>
                    <a:pt x="1398" y="108"/>
                  </a:lnTo>
                  <a:lnTo>
                    <a:pt x="1398" y="114"/>
                  </a:lnTo>
                  <a:lnTo>
                    <a:pt x="1404" y="114"/>
                  </a:lnTo>
                  <a:lnTo>
                    <a:pt x="1404" y="120"/>
                  </a:lnTo>
                  <a:lnTo>
                    <a:pt x="1410" y="132"/>
                  </a:lnTo>
                  <a:lnTo>
                    <a:pt x="1416" y="132"/>
                  </a:lnTo>
                  <a:lnTo>
                    <a:pt x="1416" y="138"/>
                  </a:lnTo>
                  <a:lnTo>
                    <a:pt x="1422" y="144"/>
                  </a:lnTo>
                  <a:lnTo>
                    <a:pt x="1428" y="150"/>
                  </a:lnTo>
                  <a:lnTo>
                    <a:pt x="1428" y="156"/>
                  </a:lnTo>
                  <a:lnTo>
                    <a:pt x="1458" y="192"/>
                  </a:lnTo>
                  <a:lnTo>
                    <a:pt x="1458" y="198"/>
                  </a:lnTo>
                  <a:lnTo>
                    <a:pt x="1464" y="204"/>
                  </a:lnTo>
                  <a:lnTo>
                    <a:pt x="1470" y="210"/>
                  </a:lnTo>
                  <a:lnTo>
                    <a:pt x="1476" y="216"/>
                  </a:lnTo>
                  <a:lnTo>
                    <a:pt x="1482" y="228"/>
                  </a:lnTo>
                  <a:lnTo>
                    <a:pt x="1488" y="234"/>
                  </a:lnTo>
                  <a:lnTo>
                    <a:pt x="1512" y="270"/>
                  </a:lnTo>
                  <a:lnTo>
                    <a:pt x="1512" y="276"/>
                  </a:lnTo>
                  <a:lnTo>
                    <a:pt x="1530" y="300"/>
                  </a:lnTo>
                  <a:lnTo>
                    <a:pt x="1536" y="306"/>
                  </a:lnTo>
                  <a:lnTo>
                    <a:pt x="1542" y="312"/>
                  </a:lnTo>
                  <a:lnTo>
                    <a:pt x="1542" y="318"/>
                  </a:lnTo>
                  <a:lnTo>
                    <a:pt x="1560" y="336"/>
                  </a:lnTo>
                  <a:lnTo>
                    <a:pt x="1566" y="348"/>
                  </a:lnTo>
                  <a:lnTo>
                    <a:pt x="1572" y="354"/>
                  </a:lnTo>
                  <a:lnTo>
                    <a:pt x="1578" y="360"/>
                  </a:lnTo>
                  <a:lnTo>
                    <a:pt x="1584" y="378"/>
                  </a:lnTo>
                  <a:lnTo>
                    <a:pt x="1590" y="378"/>
                  </a:lnTo>
                  <a:lnTo>
                    <a:pt x="1596" y="390"/>
                  </a:lnTo>
                  <a:lnTo>
                    <a:pt x="1602" y="396"/>
                  </a:lnTo>
                  <a:lnTo>
                    <a:pt x="1608" y="408"/>
                  </a:lnTo>
                  <a:lnTo>
                    <a:pt x="1614" y="408"/>
                  </a:lnTo>
                  <a:lnTo>
                    <a:pt x="1614" y="432"/>
                  </a:lnTo>
                  <a:lnTo>
                    <a:pt x="1620" y="438"/>
                  </a:lnTo>
                  <a:lnTo>
                    <a:pt x="1620" y="450"/>
                  </a:lnTo>
                  <a:lnTo>
                    <a:pt x="1620" y="462"/>
                  </a:lnTo>
                  <a:lnTo>
                    <a:pt x="1626" y="474"/>
                  </a:lnTo>
                  <a:lnTo>
                    <a:pt x="1626" y="480"/>
                  </a:lnTo>
                  <a:lnTo>
                    <a:pt x="1626" y="486"/>
                  </a:lnTo>
                  <a:lnTo>
                    <a:pt x="1632" y="522"/>
                  </a:lnTo>
                  <a:lnTo>
                    <a:pt x="1632" y="528"/>
                  </a:lnTo>
                  <a:lnTo>
                    <a:pt x="1632" y="534"/>
                  </a:lnTo>
                  <a:lnTo>
                    <a:pt x="1638" y="540"/>
                  </a:lnTo>
                  <a:lnTo>
                    <a:pt x="1638" y="558"/>
                  </a:lnTo>
                  <a:lnTo>
                    <a:pt x="1638" y="570"/>
                  </a:lnTo>
                  <a:lnTo>
                    <a:pt x="1644" y="582"/>
                  </a:lnTo>
                  <a:lnTo>
                    <a:pt x="1650" y="618"/>
                  </a:lnTo>
                  <a:lnTo>
                    <a:pt x="1650" y="624"/>
                  </a:lnTo>
                  <a:lnTo>
                    <a:pt x="1650" y="636"/>
                  </a:lnTo>
                  <a:lnTo>
                    <a:pt x="1656" y="642"/>
                  </a:lnTo>
                  <a:lnTo>
                    <a:pt x="1656" y="648"/>
                  </a:lnTo>
                  <a:lnTo>
                    <a:pt x="1656" y="654"/>
                  </a:lnTo>
                  <a:lnTo>
                    <a:pt x="1656" y="660"/>
                  </a:lnTo>
                  <a:lnTo>
                    <a:pt x="1662" y="696"/>
                  </a:lnTo>
                  <a:lnTo>
                    <a:pt x="1668" y="708"/>
                  </a:lnTo>
                  <a:lnTo>
                    <a:pt x="1668" y="714"/>
                  </a:lnTo>
                  <a:lnTo>
                    <a:pt x="1668" y="732"/>
                  </a:lnTo>
                  <a:lnTo>
                    <a:pt x="1668" y="744"/>
                  </a:lnTo>
                  <a:lnTo>
                    <a:pt x="1674" y="756"/>
                  </a:lnTo>
                  <a:lnTo>
                    <a:pt x="1680" y="762"/>
                  </a:lnTo>
                  <a:lnTo>
                    <a:pt x="1680" y="768"/>
                  </a:lnTo>
                  <a:lnTo>
                    <a:pt x="1680" y="774"/>
                  </a:lnTo>
                  <a:lnTo>
                    <a:pt x="1680" y="780"/>
                  </a:lnTo>
                  <a:lnTo>
                    <a:pt x="1674" y="786"/>
                  </a:lnTo>
                  <a:lnTo>
                    <a:pt x="1668" y="792"/>
                  </a:lnTo>
                  <a:lnTo>
                    <a:pt x="1668" y="798"/>
                  </a:lnTo>
                  <a:lnTo>
                    <a:pt x="1668" y="804"/>
                  </a:lnTo>
                  <a:lnTo>
                    <a:pt x="1674" y="804"/>
                  </a:lnTo>
                  <a:lnTo>
                    <a:pt x="1668" y="810"/>
                  </a:lnTo>
                  <a:lnTo>
                    <a:pt x="1674" y="810"/>
                  </a:lnTo>
                  <a:lnTo>
                    <a:pt x="1680" y="810"/>
                  </a:lnTo>
                  <a:lnTo>
                    <a:pt x="1680" y="816"/>
                  </a:lnTo>
                  <a:lnTo>
                    <a:pt x="1680" y="822"/>
                  </a:lnTo>
                  <a:lnTo>
                    <a:pt x="1674" y="822"/>
                  </a:lnTo>
                  <a:lnTo>
                    <a:pt x="1674" y="828"/>
                  </a:lnTo>
                  <a:lnTo>
                    <a:pt x="1668" y="828"/>
                  </a:lnTo>
                  <a:lnTo>
                    <a:pt x="1674" y="834"/>
                  </a:lnTo>
                  <a:lnTo>
                    <a:pt x="1668" y="834"/>
                  </a:lnTo>
                  <a:lnTo>
                    <a:pt x="1668" y="840"/>
                  </a:lnTo>
                  <a:lnTo>
                    <a:pt x="1674" y="840"/>
                  </a:lnTo>
                  <a:lnTo>
                    <a:pt x="1686" y="852"/>
                  </a:lnTo>
                  <a:lnTo>
                    <a:pt x="1692" y="858"/>
                  </a:lnTo>
                  <a:lnTo>
                    <a:pt x="1698" y="858"/>
                  </a:lnTo>
                  <a:lnTo>
                    <a:pt x="1698" y="864"/>
                  </a:lnTo>
                  <a:lnTo>
                    <a:pt x="1698" y="870"/>
                  </a:lnTo>
                  <a:lnTo>
                    <a:pt x="1704" y="864"/>
                  </a:lnTo>
                  <a:lnTo>
                    <a:pt x="1716" y="864"/>
                  </a:lnTo>
                  <a:lnTo>
                    <a:pt x="1722" y="864"/>
                  </a:lnTo>
                  <a:lnTo>
                    <a:pt x="1728" y="864"/>
                  </a:lnTo>
                  <a:lnTo>
                    <a:pt x="1734" y="864"/>
                  </a:lnTo>
                  <a:lnTo>
                    <a:pt x="1740" y="864"/>
                  </a:lnTo>
                  <a:lnTo>
                    <a:pt x="1746" y="876"/>
                  </a:lnTo>
                  <a:lnTo>
                    <a:pt x="1746" y="870"/>
                  </a:lnTo>
                  <a:lnTo>
                    <a:pt x="1740" y="864"/>
                  </a:lnTo>
                  <a:lnTo>
                    <a:pt x="1746" y="864"/>
                  </a:lnTo>
                  <a:lnTo>
                    <a:pt x="1752" y="870"/>
                  </a:lnTo>
                  <a:lnTo>
                    <a:pt x="1758" y="864"/>
                  </a:lnTo>
                  <a:lnTo>
                    <a:pt x="1764" y="864"/>
                  </a:lnTo>
                  <a:lnTo>
                    <a:pt x="1770" y="858"/>
                  </a:lnTo>
                  <a:lnTo>
                    <a:pt x="1782" y="864"/>
                  </a:lnTo>
                  <a:lnTo>
                    <a:pt x="1782" y="870"/>
                  </a:lnTo>
                  <a:lnTo>
                    <a:pt x="1788" y="864"/>
                  </a:lnTo>
                  <a:lnTo>
                    <a:pt x="1794" y="864"/>
                  </a:lnTo>
                  <a:lnTo>
                    <a:pt x="1800" y="870"/>
                  </a:lnTo>
                  <a:lnTo>
                    <a:pt x="1818" y="864"/>
                  </a:lnTo>
                  <a:lnTo>
                    <a:pt x="1824" y="870"/>
                  </a:lnTo>
                  <a:lnTo>
                    <a:pt x="1830" y="864"/>
                  </a:lnTo>
                  <a:lnTo>
                    <a:pt x="1836" y="864"/>
                  </a:lnTo>
                  <a:lnTo>
                    <a:pt x="1842" y="870"/>
                  </a:lnTo>
                  <a:lnTo>
                    <a:pt x="1842" y="876"/>
                  </a:lnTo>
                  <a:lnTo>
                    <a:pt x="1848" y="876"/>
                  </a:lnTo>
                  <a:lnTo>
                    <a:pt x="1848" y="870"/>
                  </a:lnTo>
                  <a:lnTo>
                    <a:pt x="1854" y="870"/>
                  </a:lnTo>
                  <a:lnTo>
                    <a:pt x="1860" y="870"/>
                  </a:lnTo>
                  <a:lnTo>
                    <a:pt x="1860" y="876"/>
                  </a:lnTo>
                  <a:lnTo>
                    <a:pt x="1866" y="876"/>
                  </a:lnTo>
                  <a:lnTo>
                    <a:pt x="1866" y="882"/>
                  </a:lnTo>
                  <a:lnTo>
                    <a:pt x="1872" y="882"/>
                  </a:lnTo>
                  <a:lnTo>
                    <a:pt x="1878" y="888"/>
                  </a:lnTo>
                  <a:lnTo>
                    <a:pt x="1890" y="888"/>
                  </a:lnTo>
                  <a:lnTo>
                    <a:pt x="1890" y="894"/>
                  </a:lnTo>
                  <a:lnTo>
                    <a:pt x="1890" y="900"/>
                  </a:lnTo>
                  <a:lnTo>
                    <a:pt x="1884" y="900"/>
                  </a:lnTo>
                  <a:lnTo>
                    <a:pt x="1884" y="906"/>
                  </a:lnTo>
                  <a:lnTo>
                    <a:pt x="1884" y="912"/>
                  </a:lnTo>
                  <a:lnTo>
                    <a:pt x="1890" y="912"/>
                  </a:lnTo>
                  <a:lnTo>
                    <a:pt x="1896" y="912"/>
                  </a:lnTo>
                  <a:lnTo>
                    <a:pt x="1902" y="912"/>
                  </a:lnTo>
                  <a:lnTo>
                    <a:pt x="1908" y="918"/>
                  </a:lnTo>
                  <a:lnTo>
                    <a:pt x="1908" y="924"/>
                  </a:lnTo>
                  <a:lnTo>
                    <a:pt x="1908" y="930"/>
                  </a:lnTo>
                  <a:lnTo>
                    <a:pt x="1908" y="936"/>
                  </a:lnTo>
                  <a:lnTo>
                    <a:pt x="1914" y="936"/>
                  </a:lnTo>
                  <a:lnTo>
                    <a:pt x="1914" y="942"/>
                  </a:lnTo>
                  <a:lnTo>
                    <a:pt x="1908" y="948"/>
                  </a:lnTo>
                  <a:lnTo>
                    <a:pt x="1914" y="948"/>
                  </a:lnTo>
                  <a:lnTo>
                    <a:pt x="1920" y="954"/>
                  </a:lnTo>
                  <a:lnTo>
                    <a:pt x="1926" y="954"/>
                  </a:lnTo>
                  <a:lnTo>
                    <a:pt x="1932" y="954"/>
                  </a:lnTo>
                  <a:lnTo>
                    <a:pt x="1938" y="954"/>
                  </a:lnTo>
                  <a:lnTo>
                    <a:pt x="1938" y="960"/>
                  </a:lnTo>
                  <a:lnTo>
                    <a:pt x="1944" y="966"/>
                  </a:lnTo>
                  <a:lnTo>
                    <a:pt x="1944" y="972"/>
                  </a:lnTo>
                  <a:lnTo>
                    <a:pt x="1944" y="978"/>
                  </a:lnTo>
                  <a:lnTo>
                    <a:pt x="1950" y="978"/>
                  </a:lnTo>
                  <a:lnTo>
                    <a:pt x="1950" y="984"/>
                  </a:lnTo>
                  <a:lnTo>
                    <a:pt x="1956" y="984"/>
                  </a:lnTo>
                  <a:lnTo>
                    <a:pt x="1962" y="984"/>
                  </a:lnTo>
                  <a:lnTo>
                    <a:pt x="1962" y="978"/>
                  </a:lnTo>
                  <a:lnTo>
                    <a:pt x="1968" y="978"/>
                  </a:lnTo>
                  <a:lnTo>
                    <a:pt x="1974" y="978"/>
                  </a:lnTo>
                  <a:lnTo>
                    <a:pt x="1980" y="972"/>
                  </a:lnTo>
                  <a:lnTo>
                    <a:pt x="1980" y="978"/>
                  </a:lnTo>
                  <a:lnTo>
                    <a:pt x="1980" y="984"/>
                  </a:lnTo>
                  <a:lnTo>
                    <a:pt x="1986" y="984"/>
                  </a:lnTo>
                  <a:lnTo>
                    <a:pt x="1992" y="990"/>
                  </a:lnTo>
                  <a:lnTo>
                    <a:pt x="1992" y="996"/>
                  </a:lnTo>
                  <a:lnTo>
                    <a:pt x="1992" y="1002"/>
                  </a:lnTo>
                  <a:lnTo>
                    <a:pt x="1974" y="1008"/>
                  </a:lnTo>
                  <a:lnTo>
                    <a:pt x="1974" y="1014"/>
                  </a:lnTo>
                  <a:lnTo>
                    <a:pt x="1974" y="1020"/>
                  </a:lnTo>
                  <a:lnTo>
                    <a:pt x="1974" y="1026"/>
                  </a:lnTo>
                  <a:lnTo>
                    <a:pt x="1968" y="1038"/>
                  </a:lnTo>
                  <a:lnTo>
                    <a:pt x="1968" y="1044"/>
                  </a:lnTo>
                  <a:lnTo>
                    <a:pt x="1974" y="1056"/>
                  </a:lnTo>
                  <a:lnTo>
                    <a:pt x="1968" y="1062"/>
                  </a:lnTo>
                  <a:lnTo>
                    <a:pt x="1962" y="1062"/>
                  </a:lnTo>
                  <a:lnTo>
                    <a:pt x="1956" y="1068"/>
                  </a:lnTo>
                  <a:lnTo>
                    <a:pt x="1956" y="1074"/>
                  </a:lnTo>
                  <a:lnTo>
                    <a:pt x="1956" y="1080"/>
                  </a:lnTo>
                  <a:lnTo>
                    <a:pt x="1956" y="1086"/>
                  </a:lnTo>
                  <a:lnTo>
                    <a:pt x="1956" y="1092"/>
                  </a:lnTo>
                  <a:lnTo>
                    <a:pt x="1962" y="1092"/>
                  </a:lnTo>
                  <a:lnTo>
                    <a:pt x="1962" y="1104"/>
                  </a:lnTo>
                  <a:lnTo>
                    <a:pt x="1968" y="1110"/>
                  </a:lnTo>
                  <a:lnTo>
                    <a:pt x="1968" y="1116"/>
                  </a:lnTo>
                  <a:lnTo>
                    <a:pt x="1974" y="1116"/>
                  </a:lnTo>
                  <a:lnTo>
                    <a:pt x="1974" y="1122"/>
                  </a:lnTo>
                  <a:lnTo>
                    <a:pt x="1980" y="1122"/>
                  </a:lnTo>
                  <a:lnTo>
                    <a:pt x="1974" y="1128"/>
                  </a:lnTo>
                  <a:lnTo>
                    <a:pt x="1968" y="1134"/>
                  </a:lnTo>
                  <a:lnTo>
                    <a:pt x="1962" y="1140"/>
                  </a:lnTo>
                  <a:lnTo>
                    <a:pt x="1962" y="1146"/>
                  </a:lnTo>
                  <a:lnTo>
                    <a:pt x="1968" y="1152"/>
                  </a:lnTo>
                  <a:lnTo>
                    <a:pt x="1968" y="1158"/>
                  </a:lnTo>
                  <a:lnTo>
                    <a:pt x="1962" y="1158"/>
                  </a:lnTo>
                  <a:lnTo>
                    <a:pt x="1962" y="1164"/>
                  </a:lnTo>
                  <a:lnTo>
                    <a:pt x="1956" y="1164"/>
                  </a:lnTo>
                  <a:lnTo>
                    <a:pt x="1956" y="1170"/>
                  </a:lnTo>
                  <a:lnTo>
                    <a:pt x="1944" y="1182"/>
                  </a:lnTo>
                  <a:lnTo>
                    <a:pt x="1944" y="1188"/>
                  </a:lnTo>
                  <a:lnTo>
                    <a:pt x="1950" y="1188"/>
                  </a:lnTo>
                  <a:lnTo>
                    <a:pt x="1944" y="1200"/>
                  </a:lnTo>
                  <a:lnTo>
                    <a:pt x="1944" y="1206"/>
                  </a:lnTo>
                  <a:lnTo>
                    <a:pt x="1944" y="1212"/>
                  </a:lnTo>
                  <a:lnTo>
                    <a:pt x="1944" y="1218"/>
                  </a:lnTo>
                  <a:lnTo>
                    <a:pt x="1944" y="1230"/>
                  </a:lnTo>
                  <a:lnTo>
                    <a:pt x="1944" y="1236"/>
                  </a:lnTo>
                  <a:lnTo>
                    <a:pt x="1944" y="1242"/>
                  </a:lnTo>
                  <a:lnTo>
                    <a:pt x="1938" y="1248"/>
                  </a:lnTo>
                  <a:lnTo>
                    <a:pt x="1938" y="1254"/>
                  </a:lnTo>
                  <a:lnTo>
                    <a:pt x="1932" y="1254"/>
                  </a:lnTo>
                  <a:lnTo>
                    <a:pt x="1926" y="1260"/>
                  </a:lnTo>
                  <a:lnTo>
                    <a:pt x="1920" y="1266"/>
                  </a:lnTo>
                  <a:lnTo>
                    <a:pt x="1914" y="1272"/>
                  </a:lnTo>
                  <a:lnTo>
                    <a:pt x="1908" y="1272"/>
                  </a:lnTo>
                  <a:lnTo>
                    <a:pt x="1908" y="1278"/>
                  </a:lnTo>
                  <a:lnTo>
                    <a:pt x="1914" y="1278"/>
                  </a:lnTo>
                  <a:lnTo>
                    <a:pt x="1914" y="1290"/>
                  </a:lnTo>
                  <a:lnTo>
                    <a:pt x="1920" y="1296"/>
                  </a:lnTo>
                  <a:lnTo>
                    <a:pt x="1938" y="1302"/>
                  </a:lnTo>
                  <a:lnTo>
                    <a:pt x="1944" y="1308"/>
                  </a:lnTo>
                  <a:lnTo>
                    <a:pt x="1950" y="1314"/>
                  </a:lnTo>
                  <a:lnTo>
                    <a:pt x="1956" y="1314"/>
                  </a:lnTo>
                  <a:lnTo>
                    <a:pt x="1962" y="1320"/>
                  </a:lnTo>
                  <a:lnTo>
                    <a:pt x="1962" y="1326"/>
                  </a:lnTo>
                  <a:lnTo>
                    <a:pt x="1968" y="1326"/>
                  </a:lnTo>
                  <a:lnTo>
                    <a:pt x="1968" y="1332"/>
                  </a:lnTo>
                  <a:lnTo>
                    <a:pt x="1968" y="1344"/>
                  </a:lnTo>
                  <a:lnTo>
                    <a:pt x="1968" y="1350"/>
                  </a:lnTo>
                  <a:lnTo>
                    <a:pt x="1968" y="1368"/>
                  </a:lnTo>
                  <a:lnTo>
                    <a:pt x="1962" y="1380"/>
                  </a:lnTo>
                  <a:lnTo>
                    <a:pt x="1968" y="1392"/>
                  </a:lnTo>
                  <a:lnTo>
                    <a:pt x="1962" y="1398"/>
                  </a:lnTo>
                  <a:lnTo>
                    <a:pt x="1956" y="1404"/>
                  </a:lnTo>
                  <a:lnTo>
                    <a:pt x="1950" y="1410"/>
                  </a:lnTo>
                  <a:lnTo>
                    <a:pt x="1944" y="1410"/>
                  </a:lnTo>
                  <a:lnTo>
                    <a:pt x="1932" y="1416"/>
                  </a:lnTo>
                  <a:lnTo>
                    <a:pt x="1926" y="1416"/>
                  </a:lnTo>
                  <a:lnTo>
                    <a:pt x="1896" y="1428"/>
                  </a:lnTo>
                  <a:lnTo>
                    <a:pt x="1884" y="1434"/>
                  </a:lnTo>
                  <a:lnTo>
                    <a:pt x="1878" y="1434"/>
                  </a:lnTo>
                  <a:lnTo>
                    <a:pt x="1866" y="1434"/>
                  </a:lnTo>
                  <a:lnTo>
                    <a:pt x="1854" y="1440"/>
                  </a:lnTo>
                  <a:lnTo>
                    <a:pt x="1848" y="1440"/>
                  </a:lnTo>
                  <a:lnTo>
                    <a:pt x="1842" y="1446"/>
                  </a:lnTo>
                  <a:lnTo>
                    <a:pt x="1842" y="1458"/>
                  </a:lnTo>
                  <a:lnTo>
                    <a:pt x="1836" y="1470"/>
                  </a:lnTo>
                  <a:lnTo>
                    <a:pt x="1830" y="1476"/>
                  </a:lnTo>
                  <a:lnTo>
                    <a:pt x="1824" y="1476"/>
                  </a:lnTo>
                  <a:lnTo>
                    <a:pt x="1806" y="1482"/>
                  </a:lnTo>
                  <a:lnTo>
                    <a:pt x="1800" y="1488"/>
                  </a:lnTo>
                  <a:lnTo>
                    <a:pt x="1794" y="1488"/>
                  </a:lnTo>
                  <a:lnTo>
                    <a:pt x="1788" y="1488"/>
                  </a:lnTo>
                  <a:lnTo>
                    <a:pt x="1776" y="1494"/>
                  </a:lnTo>
                  <a:lnTo>
                    <a:pt x="1764" y="1494"/>
                  </a:lnTo>
                  <a:lnTo>
                    <a:pt x="1758" y="1500"/>
                  </a:lnTo>
                  <a:lnTo>
                    <a:pt x="1746" y="1506"/>
                  </a:lnTo>
                  <a:lnTo>
                    <a:pt x="1728" y="1518"/>
                  </a:lnTo>
                  <a:lnTo>
                    <a:pt x="1716" y="1524"/>
                  </a:lnTo>
                  <a:lnTo>
                    <a:pt x="1710" y="1530"/>
                  </a:lnTo>
                  <a:lnTo>
                    <a:pt x="1704" y="1536"/>
                  </a:lnTo>
                  <a:lnTo>
                    <a:pt x="1698" y="1542"/>
                  </a:lnTo>
                  <a:lnTo>
                    <a:pt x="1692" y="1554"/>
                  </a:lnTo>
                  <a:lnTo>
                    <a:pt x="1686" y="1560"/>
                  </a:lnTo>
                  <a:lnTo>
                    <a:pt x="1680" y="1560"/>
                  </a:lnTo>
                  <a:lnTo>
                    <a:pt x="1674" y="1560"/>
                  </a:lnTo>
                  <a:lnTo>
                    <a:pt x="1656" y="1572"/>
                  </a:lnTo>
                  <a:lnTo>
                    <a:pt x="1650" y="1572"/>
                  </a:lnTo>
                  <a:lnTo>
                    <a:pt x="1644" y="1572"/>
                  </a:lnTo>
                  <a:lnTo>
                    <a:pt x="1638" y="1578"/>
                  </a:lnTo>
                  <a:lnTo>
                    <a:pt x="1632" y="1578"/>
                  </a:lnTo>
                  <a:lnTo>
                    <a:pt x="1626" y="1578"/>
                  </a:lnTo>
                  <a:lnTo>
                    <a:pt x="1620" y="1572"/>
                  </a:lnTo>
                  <a:lnTo>
                    <a:pt x="1614" y="1572"/>
                  </a:lnTo>
                  <a:lnTo>
                    <a:pt x="1608" y="1566"/>
                  </a:lnTo>
                  <a:lnTo>
                    <a:pt x="1602" y="1560"/>
                  </a:lnTo>
                  <a:lnTo>
                    <a:pt x="1596" y="1554"/>
                  </a:lnTo>
                  <a:lnTo>
                    <a:pt x="1590" y="1548"/>
                  </a:lnTo>
                  <a:lnTo>
                    <a:pt x="1578" y="1548"/>
                  </a:lnTo>
                  <a:lnTo>
                    <a:pt x="1572" y="1548"/>
                  </a:lnTo>
                  <a:lnTo>
                    <a:pt x="1566" y="1548"/>
                  </a:lnTo>
                  <a:lnTo>
                    <a:pt x="1554" y="1536"/>
                  </a:lnTo>
                  <a:lnTo>
                    <a:pt x="1548" y="1536"/>
                  </a:lnTo>
                  <a:lnTo>
                    <a:pt x="1542" y="1542"/>
                  </a:lnTo>
                  <a:lnTo>
                    <a:pt x="1536" y="1548"/>
                  </a:lnTo>
                  <a:lnTo>
                    <a:pt x="1536" y="1566"/>
                  </a:lnTo>
                  <a:lnTo>
                    <a:pt x="1530" y="1572"/>
                  </a:lnTo>
                  <a:lnTo>
                    <a:pt x="1524" y="1578"/>
                  </a:lnTo>
                  <a:lnTo>
                    <a:pt x="1518" y="1584"/>
                  </a:lnTo>
                  <a:lnTo>
                    <a:pt x="1512" y="1596"/>
                  </a:lnTo>
                  <a:lnTo>
                    <a:pt x="1506" y="1602"/>
                  </a:lnTo>
                  <a:lnTo>
                    <a:pt x="1506" y="1608"/>
                  </a:lnTo>
                  <a:lnTo>
                    <a:pt x="1506" y="1614"/>
                  </a:lnTo>
                  <a:lnTo>
                    <a:pt x="1500" y="1614"/>
                  </a:lnTo>
                  <a:lnTo>
                    <a:pt x="1500" y="1620"/>
                  </a:lnTo>
                  <a:lnTo>
                    <a:pt x="1500" y="1626"/>
                  </a:lnTo>
                  <a:lnTo>
                    <a:pt x="1494" y="1632"/>
                  </a:lnTo>
                  <a:lnTo>
                    <a:pt x="1488" y="1638"/>
                  </a:lnTo>
                  <a:lnTo>
                    <a:pt x="1482" y="1638"/>
                  </a:lnTo>
                  <a:lnTo>
                    <a:pt x="1482" y="1644"/>
                  </a:lnTo>
                  <a:lnTo>
                    <a:pt x="1482" y="1650"/>
                  </a:lnTo>
                  <a:lnTo>
                    <a:pt x="1482" y="1656"/>
                  </a:lnTo>
                  <a:lnTo>
                    <a:pt x="1476" y="1662"/>
                  </a:lnTo>
                  <a:lnTo>
                    <a:pt x="1470" y="1668"/>
                  </a:lnTo>
                  <a:lnTo>
                    <a:pt x="1464" y="1674"/>
                  </a:lnTo>
                  <a:lnTo>
                    <a:pt x="1464" y="1680"/>
                  </a:lnTo>
                  <a:lnTo>
                    <a:pt x="1458" y="1680"/>
                  </a:lnTo>
                  <a:lnTo>
                    <a:pt x="1452" y="1686"/>
                  </a:lnTo>
                  <a:lnTo>
                    <a:pt x="1446" y="1686"/>
                  </a:lnTo>
                  <a:lnTo>
                    <a:pt x="1440" y="1698"/>
                  </a:lnTo>
                  <a:lnTo>
                    <a:pt x="1440" y="1704"/>
                  </a:lnTo>
                  <a:lnTo>
                    <a:pt x="1434" y="1710"/>
                  </a:lnTo>
                  <a:lnTo>
                    <a:pt x="1434" y="1716"/>
                  </a:lnTo>
                  <a:lnTo>
                    <a:pt x="1428" y="1716"/>
                  </a:lnTo>
                  <a:lnTo>
                    <a:pt x="1428" y="1722"/>
                  </a:lnTo>
                  <a:lnTo>
                    <a:pt x="1428" y="1728"/>
                  </a:lnTo>
                  <a:lnTo>
                    <a:pt x="1422" y="1728"/>
                  </a:lnTo>
                  <a:lnTo>
                    <a:pt x="1422" y="1734"/>
                  </a:lnTo>
                  <a:lnTo>
                    <a:pt x="1416" y="1734"/>
                  </a:lnTo>
                  <a:lnTo>
                    <a:pt x="1410" y="1734"/>
                  </a:lnTo>
                  <a:lnTo>
                    <a:pt x="1392" y="1746"/>
                  </a:lnTo>
                  <a:lnTo>
                    <a:pt x="1386" y="1746"/>
                  </a:lnTo>
                  <a:lnTo>
                    <a:pt x="1368" y="1752"/>
                  </a:lnTo>
                  <a:lnTo>
                    <a:pt x="1362" y="1758"/>
                  </a:lnTo>
                  <a:lnTo>
                    <a:pt x="1362" y="1770"/>
                  </a:lnTo>
                  <a:lnTo>
                    <a:pt x="1356" y="178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</p:grpSp>
      <p:graphicFrame>
        <p:nvGraphicFramePr>
          <p:cNvPr id="357" name="Group 76">
            <a:extLst>
              <a:ext uri="{FF2B5EF4-FFF2-40B4-BE49-F238E27FC236}">
                <a16:creationId xmlns:a16="http://schemas.microsoft.com/office/drawing/2014/main" id="{57830D68-CF73-4A3E-9D36-141B03AADB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9900003"/>
              </p:ext>
            </p:extLst>
          </p:nvPr>
        </p:nvGraphicFramePr>
        <p:xfrm>
          <a:off x="541338" y="3402013"/>
          <a:ext cx="3735387" cy="1827306"/>
        </p:xfrm>
        <a:graphic>
          <a:graphicData uri="http://schemas.openxmlformats.org/drawingml/2006/table">
            <a:tbl>
              <a:tblPr/>
              <a:tblGrid>
                <a:gridCol w="1316931">
                  <a:extLst>
                    <a:ext uri="{9D8B030D-6E8A-4147-A177-3AD203B41FA5}">
                      <a16:colId xmlns:a16="http://schemas.microsoft.com/office/drawing/2014/main" val="2027704273"/>
                    </a:ext>
                  </a:extLst>
                </a:gridCol>
                <a:gridCol w="603796">
                  <a:extLst>
                    <a:ext uri="{9D8B030D-6E8A-4147-A177-3AD203B41FA5}">
                      <a16:colId xmlns:a16="http://schemas.microsoft.com/office/drawing/2014/main" val="3432768286"/>
                    </a:ext>
                  </a:extLst>
                </a:gridCol>
                <a:gridCol w="744015">
                  <a:extLst>
                    <a:ext uri="{9D8B030D-6E8A-4147-A177-3AD203B41FA5}">
                      <a16:colId xmlns:a16="http://schemas.microsoft.com/office/drawing/2014/main" val="3730294207"/>
                    </a:ext>
                  </a:extLst>
                </a:gridCol>
                <a:gridCol w="1070645">
                  <a:extLst>
                    <a:ext uri="{9D8B030D-6E8A-4147-A177-3AD203B41FA5}">
                      <a16:colId xmlns:a16="http://schemas.microsoft.com/office/drawing/2014/main" val="2258321117"/>
                    </a:ext>
                  </a:extLst>
                </a:gridCol>
              </a:tblGrid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apital</a:t>
                      </a:r>
                      <a:endParaRPr kumimoji="0" lang="en-SG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292929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SG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Yol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703009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nd Are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38,700 km</a:t>
                      </a:r>
                      <a:r>
                        <a:rPr kumimoji="0" lang="en-US" altLang="en-US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7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603614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Population (2017E)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4,230,946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24 of 37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505851"/>
                  </a:ext>
                </a:extLst>
              </a:tr>
              <a:tr h="203024">
                <a:tc row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Dem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0-14: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,888,382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45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130093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5-64: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,195,423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52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387564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65+: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   147,140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[3%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38801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bour force 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,489,492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29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797882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limate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ropical savann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3942226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op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Mountainous river valleys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32899"/>
                  </a:ext>
                </a:extLst>
              </a:tr>
            </a:tbl>
          </a:graphicData>
        </a:graphic>
      </p:graphicFrame>
      <p:pic>
        <p:nvPicPr>
          <p:cNvPr id="23609" name="Picture 13">
            <a:extLst>
              <a:ext uri="{FF2B5EF4-FFF2-40B4-BE49-F238E27FC236}">
                <a16:creationId xmlns:a16="http://schemas.microsoft.com/office/drawing/2014/main" id="{952964D5-F0ED-4CAE-B71C-DB4A723FA5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0" y="3006725"/>
            <a:ext cx="1116013" cy="155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9" name="TextBox 378">
            <a:extLst>
              <a:ext uri="{FF2B5EF4-FFF2-40B4-BE49-F238E27FC236}">
                <a16:creationId xmlns:a16="http://schemas.microsoft.com/office/drawing/2014/main" id="{1B3FD4BF-4685-4C74-821F-10048D6246BF}"/>
              </a:ext>
            </a:extLst>
          </p:cNvPr>
          <p:cNvSpPr txBox="1"/>
          <p:nvPr/>
        </p:nvSpPr>
        <p:spPr>
          <a:xfrm>
            <a:off x="6124575" y="957263"/>
            <a:ext cx="3475038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mpetitive Advantages</a:t>
            </a: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455FE7A1-ADE5-4F7B-A489-00196671A53E}"/>
              </a:ext>
            </a:extLst>
          </p:cNvPr>
          <p:cNvSpPr/>
          <p:nvPr/>
        </p:nvSpPr>
        <p:spPr>
          <a:xfrm>
            <a:off x="4267248" y="1187511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6.2bn/$20.3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EBB25788-D073-4A78-9D6C-DF3836CFFFBB}"/>
              </a:ext>
            </a:extLst>
          </p:cNvPr>
          <p:cNvSpPr txBox="1"/>
          <p:nvPr/>
        </p:nvSpPr>
        <p:spPr>
          <a:xfrm>
            <a:off x="4267200" y="955675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GR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6F07DF39-553B-44F0-8864-1F897C2BD79A}"/>
              </a:ext>
            </a:extLst>
          </p:cNvPr>
          <p:cNvSpPr/>
          <p:nvPr/>
        </p:nvSpPr>
        <p:spPr>
          <a:xfrm>
            <a:off x="4267252" y="1809750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177.9bn/$283.3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2508695A-2D2C-45A3-80FE-9C2CB18200C2}"/>
              </a:ext>
            </a:extLst>
          </p:cNvPr>
          <p:cNvSpPr txBox="1"/>
          <p:nvPr/>
        </p:nvSpPr>
        <p:spPr>
          <a:xfrm>
            <a:off x="4267200" y="1576388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Budget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8)</a:t>
            </a: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86A33ABE-3AE3-40A7-A6A6-1B757A6A9B0F}"/>
              </a:ext>
            </a:extLst>
          </p:cNvPr>
          <p:cNvSpPr/>
          <p:nvPr/>
        </p:nvSpPr>
        <p:spPr>
          <a:xfrm>
            <a:off x="4256076" y="2667155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1.2tn 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/$4bn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1E919764-A18B-4532-A533-A84A31D7FEFE}"/>
              </a:ext>
            </a:extLst>
          </p:cNvPr>
          <p:cNvSpPr txBox="1"/>
          <p:nvPr/>
        </p:nvSpPr>
        <p:spPr>
          <a:xfrm>
            <a:off x="4256088" y="2185988"/>
            <a:ext cx="1811337" cy="50641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Household </a:t>
            </a:r>
          </a:p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nsumption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96" name="Plaque 95">
            <a:extLst>
              <a:ext uri="{FF2B5EF4-FFF2-40B4-BE49-F238E27FC236}">
                <a16:creationId xmlns:a16="http://schemas.microsoft.com/office/drawing/2014/main" id="{E3BE1182-17B4-4194-8641-F1EA2CCBB757}"/>
              </a:ext>
            </a:extLst>
          </p:cNvPr>
          <p:cNvSpPr/>
          <p:nvPr/>
        </p:nvSpPr>
        <p:spPr>
          <a:xfrm>
            <a:off x="5638800" y="2805162"/>
            <a:ext cx="428625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0 of 36</a:t>
            </a:r>
          </a:p>
        </p:txBody>
      </p:sp>
      <p:sp>
        <p:nvSpPr>
          <p:cNvPr id="99" name="Plaque 98">
            <a:extLst>
              <a:ext uri="{FF2B5EF4-FFF2-40B4-BE49-F238E27FC236}">
                <a16:creationId xmlns:a16="http://schemas.microsoft.com/office/drawing/2014/main" id="{8620E393-1C52-4CE1-9888-20922FA6DFEA}"/>
              </a:ext>
            </a:extLst>
          </p:cNvPr>
          <p:cNvSpPr/>
          <p:nvPr/>
        </p:nvSpPr>
        <p:spPr>
          <a:xfrm>
            <a:off x="5638800" y="1951087"/>
            <a:ext cx="428625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9 of 36</a:t>
            </a:r>
          </a:p>
        </p:txBody>
      </p:sp>
      <p:sp>
        <p:nvSpPr>
          <p:cNvPr id="100" name="Plaque 99">
            <a:extLst>
              <a:ext uri="{FF2B5EF4-FFF2-40B4-BE49-F238E27FC236}">
                <a16:creationId xmlns:a16="http://schemas.microsoft.com/office/drawing/2014/main" id="{3BFA6D28-9A42-4459-8BF1-090CE1B45216}"/>
              </a:ext>
            </a:extLst>
          </p:cNvPr>
          <p:cNvSpPr/>
          <p:nvPr/>
        </p:nvSpPr>
        <p:spPr>
          <a:xfrm>
            <a:off x="5638800" y="1333500"/>
            <a:ext cx="430213" cy="1539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latin typeface="Calibri" panose="020F0502020204030204" pitchFamily="34" charset="0"/>
                <a:cs typeface="Calibri" panose="020F0502020204030204" pitchFamily="34" charset="0"/>
              </a:rPr>
              <a:t>25 of 36</a:t>
            </a:r>
          </a:p>
        </p:txBody>
      </p:sp>
      <p:sp>
        <p:nvSpPr>
          <p:cNvPr id="101" name="Pentagon 19">
            <a:extLst>
              <a:ext uri="{FF2B5EF4-FFF2-40B4-BE49-F238E27FC236}">
                <a16:creationId xmlns:a16="http://schemas.microsoft.com/office/drawing/2014/main" id="{CCD74FA4-19D0-4356-90C9-B3B49BCC3F54}"/>
              </a:ext>
            </a:extLst>
          </p:cNvPr>
          <p:cNvSpPr>
            <a:spLocks/>
          </p:cNvSpPr>
          <p:nvPr/>
        </p:nvSpPr>
        <p:spPr bwMode="auto">
          <a:xfrm>
            <a:off x="688340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36 of 37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12EE735-1E43-4799-A46A-5D0787F375CE}"/>
              </a:ext>
            </a:extLst>
          </p:cNvPr>
          <p:cNvSpPr/>
          <p:nvPr/>
        </p:nvSpPr>
        <p:spPr>
          <a:xfrm>
            <a:off x="6880225" y="5726113"/>
            <a:ext cx="642938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Starting a Business</a:t>
            </a:r>
          </a:p>
        </p:txBody>
      </p:sp>
      <p:pic>
        <p:nvPicPr>
          <p:cNvPr id="23622" name="Picture 3">
            <a:extLst>
              <a:ext uri="{FF2B5EF4-FFF2-40B4-BE49-F238E27FC236}">
                <a16:creationId xmlns:a16="http://schemas.microsoft.com/office/drawing/2014/main" id="{53FAD0C6-8FFE-437B-B7E4-F2A938D3BE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350" y="5249863"/>
            <a:ext cx="41910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23" name="Freeform 15">
            <a:extLst>
              <a:ext uri="{FF2B5EF4-FFF2-40B4-BE49-F238E27FC236}">
                <a16:creationId xmlns:a16="http://schemas.microsoft.com/office/drawing/2014/main" id="{183A3C8B-011E-4D99-9165-3FF03A2D3207}"/>
              </a:ext>
            </a:extLst>
          </p:cNvPr>
          <p:cNvSpPr>
            <a:spLocks noEditPoints="1"/>
          </p:cNvSpPr>
          <p:nvPr/>
        </p:nvSpPr>
        <p:spPr bwMode="auto">
          <a:xfrm>
            <a:off x="9093200" y="5257800"/>
            <a:ext cx="276225" cy="347663"/>
          </a:xfrm>
          <a:custGeom>
            <a:avLst/>
            <a:gdLst>
              <a:gd name="T0" fmla="*/ 2147483646 w 3556"/>
              <a:gd name="T1" fmla="*/ 2147483646 h 3950"/>
              <a:gd name="T2" fmla="*/ 2147483646 w 3556"/>
              <a:gd name="T3" fmla="*/ 2147483646 h 3950"/>
              <a:gd name="T4" fmla="*/ 2147483646 w 3556"/>
              <a:gd name="T5" fmla="*/ 2147483646 h 3950"/>
              <a:gd name="T6" fmla="*/ 2147483646 w 3556"/>
              <a:gd name="T7" fmla="*/ 2147483646 h 3950"/>
              <a:gd name="T8" fmla="*/ 2147483646 w 3556"/>
              <a:gd name="T9" fmla="*/ 2147483646 h 3950"/>
              <a:gd name="T10" fmla="*/ 2147483646 w 3556"/>
              <a:gd name="T11" fmla="*/ 2147483646 h 3950"/>
              <a:gd name="T12" fmla="*/ 2147483646 w 3556"/>
              <a:gd name="T13" fmla="*/ 2147483646 h 3950"/>
              <a:gd name="T14" fmla="*/ 2147483646 w 3556"/>
              <a:gd name="T15" fmla="*/ 2147483646 h 3950"/>
              <a:gd name="T16" fmla="*/ 2147483646 w 3556"/>
              <a:gd name="T17" fmla="*/ 2147483646 h 3950"/>
              <a:gd name="T18" fmla="*/ 2147483646 w 3556"/>
              <a:gd name="T19" fmla="*/ 2147483646 h 3950"/>
              <a:gd name="T20" fmla="*/ 2147483646 w 3556"/>
              <a:gd name="T21" fmla="*/ 2147483646 h 3950"/>
              <a:gd name="T22" fmla="*/ 0 w 3556"/>
              <a:gd name="T23" fmla="*/ 2147483646 h 3950"/>
              <a:gd name="T24" fmla="*/ 2147483646 w 3556"/>
              <a:gd name="T25" fmla="*/ 2147483646 h 3950"/>
              <a:gd name="T26" fmla="*/ 2147483646 w 3556"/>
              <a:gd name="T27" fmla="*/ 2147483646 h 3950"/>
              <a:gd name="T28" fmla="*/ 2147483646 w 3556"/>
              <a:gd name="T29" fmla="*/ 2147483646 h 3950"/>
              <a:gd name="T30" fmla="*/ 2147483646 w 3556"/>
              <a:gd name="T31" fmla="*/ 2147483646 h 3950"/>
              <a:gd name="T32" fmla="*/ 2147483646 w 3556"/>
              <a:gd name="T33" fmla="*/ 2147483646 h 3950"/>
              <a:gd name="T34" fmla="*/ 2147483646 w 3556"/>
              <a:gd name="T35" fmla="*/ 2147483646 h 3950"/>
              <a:gd name="T36" fmla="*/ 2147483646 w 3556"/>
              <a:gd name="T37" fmla="*/ 2147483646 h 3950"/>
              <a:gd name="T38" fmla="*/ 2147483646 w 3556"/>
              <a:gd name="T39" fmla="*/ 2147483646 h 3950"/>
              <a:gd name="T40" fmla="*/ 2147483646 w 3556"/>
              <a:gd name="T41" fmla="*/ 2147483646 h 3950"/>
              <a:gd name="T42" fmla="*/ 2147483646 w 3556"/>
              <a:gd name="T43" fmla="*/ 2147483646 h 3950"/>
              <a:gd name="T44" fmla="*/ 2147483646 w 3556"/>
              <a:gd name="T45" fmla="*/ 2147483646 h 3950"/>
              <a:gd name="T46" fmla="*/ 2147483646 w 3556"/>
              <a:gd name="T47" fmla="*/ 2147483646 h 3950"/>
              <a:gd name="T48" fmla="*/ 2147483646 w 3556"/>
              <a:gd name="T49" fmla="*/ 2147483646 h 3950"/>
              <a:gd name="T50" fmla="*/ 2147483646 w 3556"/>
              <a:gd name="T51" fmla="*/ 2147483646 h 3950"/>
              <a:gd name="T52" fmla="*/ 2147483646 w 3556"/>
              <a:gd name="T53" fmla="*/ 2147483646 h 3950"/>
              <a:gd name="T54" fmla="*/ 2147483646 w 3556"/>
              <a:gd name="T55" fmla="*/ 2147483646 h 3950"/>
              <a:gd name="T56" fmla="*/ 2147483646 w 3556"/>
              <a:gd name="T57" fmla="*/ 2147483646 h 3950"/>
              <a:gd name="T58" fmla="*/ 2147483646 w 3556"/>
              <a:gd name="T59" fmla="*/ 2147483646 h 3950"/>
              <a:gd name="T60" fmla="*/ 2147483646 w 3556"/>
              <a:gd name="T61" fmla="*/ 2147483646 h 3950"/>
              <a:gd name="T62" fmla="*/ 2147483646 w 3556"/>
              <a:gd name="T63" fmla="*/ 2147483646 h 3950"/>
              <a:gd name="T64" fmla="*/ 2147483646 w 3556"/>
              <a:gd name="T65" fmla="*/ 2147483646 h 3950"/>
              <a:gd name="T66" fmla="*/ 2147483646 w 3556"/>
              <a:gd name="T67" fmla="*/ 2147483646 h 3950"/>
              <a:gd name="T68" fmla="*/ 2147483646 w 3556"/>
              <a:gd name="T69" fmla="*/ 2147483646 h 3950"/>
              <a:gd name="T70" fmla="*/ 2147483646 w 3556"/>
              <a:gd name="T71" fmla="*/ 2147483646 h 3950"/>
              <a:gd name="T72" fmla="*/ 2147483646 w 3556"/>
              <a:gd name="T73" fmla="*/ 2147483646 h 3950"/>
              <a:gd name="T74" fmla="*/ 2147483646 w 3556"/>
              <a:gd name="T75" fmla="*/ 2147483646 h 3950"/>
              <a:gd name="T76" fmla="*/ 2147483646 w 3556"/>
              <a:gd name="T77" fmla="*/ 2147483646 h 3950"/>
              <a:gd name="T78" fmla="*/ 2147483646 w 3556"/>
              <a:gd name="T79" fmla="*/ 2147483646 h 3950"/>
              <a:gd name="T80" fmla="*/ 2147483646 w 3556"/>
              <a:gd name="T81" fmla="*/ 0 h 3950"/>
              <a:gd name="T82" fmla="*/ 2147483646 w 3556"/>
              <a:gd name="T83" fmla="*/ 2147483646 h 3950"/>
              <a:gd name="T84" fmla="*/ 2147483646 w 3556"/>
              <a:gd name="T85" fmla="*/ 2147483646 h 3950"/>
              <a:gd name="T86" fmla="*/ 2147483646 w 3556"/>
              <a:gd name="T87" fmla="*/ 2147483646 h 395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556"/>
              <a:gd name="T133" fmla="*/ 0 h 3950"/>
              <a:gd name="T134" fmla="*/ 3556 w 3556"/>
              <a:gd name="T135" fmla="*/ 3950 h 395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556" h="3950">
                <a:moveTo>
                  <a:pt x="909" y="3917"/>
                </a:moveTo>
                <a:cubicBezTo>
                  <a:pt x="824" y="3832"/>
                  <a:pt x="894" y="3725"/>
                  <a:pt x="1036" y="3725"/>
                </a:cubicBezTo>
                <a:cubicBezTo>
                  <a:pt x="1119" y="3725"/>
                  <a:pt x="1129" y="3717"/>
                  <a:pt x="1129" y="3645"/>
                </a:cubicBezTo>
                <a:cubicBezTo>
                  <a:pt x="1129" y="3472"/>
                  <a:pt x="1135" y="3471"/>
                  <a:pt x="2192" y="3471"/>
                </a:cubicBezTo>
                <a:cubicBezTo>
                  <a:pt x="3086" y="3471"/>
                  <a:pt x="3155" y="3475"/>
                  <a:pt x="3199" y="3523"/>
                </a:cubicBezTo>
                <a:cubicBezTo>
                  <a:pt x="3225" y="3551"/>
                  <a:pt x="3246" y="3608"/>
                  <a:pt x="3246" y="3648"/>
                </a:cubicBezTo>
                <a:cubicBezTo>
                  <a:pt x="3246" y="3712"/>
                  <a:pt x="3259" y="3723"/>
                  <a:pt x="3349" y="3730"/>
                </a:cubicBezTo>
                <a:cubicBezTo>
                  <a:pt x="3470" y="3741"/>
                  <a:pt x="3530" y="3811"/>
                  <a:pt x="3482" y="3887"/>
                </a:cubicBezTo>
                <a:cubicBezTo>
                  <a:pt x="3453" y="3933"/>
                  <a:pt x="3356" y="3937"/>
                  <a:pt x="2197" y="3944"/>
                </a:cubicBezTo>
                <a:cubicBezTo>
                  <a:pt x="1245" y="3950"/>
                  <a:pt x="935" y="3943"/>
                  <a:pt x="909" y="3917"/>
                </a:cubicBezTo>
                <a:close/>
                <a:moveTo>
                  <a:pt x="87" y="3370"/>
                </a:moveTo>
                <a:cubicBezTo>
                  <a:pt x="24" y="3317"/>
                  <a:pt x="0" y="3272"/>
                  <a:pt x="0" y="3209"/>
                </a:cubicBezTo>
                <a:cubicBezTo>
                  <a:pt x="0" y="3132"/>
                  <a:pt x="86" y="3035"/>
                  <a:pt x="705" y="2414"/>
                </a:cubicBezTo>
                <a:lnTo>
                  <a:pt x="1411" y="1706"/>
                </a:lnTo>
                <a:lnTo>
                  <a:pt x="1235" y="1530"/>
                </a:lnTo>
                <a:lnTo>
                  <a:pt x="1059" y="1355"/>
                </a:lnTo>
                <a:lnTo>
                  <a:pt x="1510" y="903"/>
                </a:lnTo>
                <a:lnTo>
                  <a:pt x="1960" y="452"/>
                </a:lnTo>
                <a:lnTo>
                  <a:pt x="2135" y="624"/>
                </a:lnTo>
                <a:cubicBezTo>
                  <a:pt x="2305" y="793"/>
                  <a:pt x="2310" y="796"/>
                  <a:pt x="2374" y="751"/>
                </a:cubicBezTo>
                <a:cubicBezTo>
                  <a:pt x="2469" y="685"/>
                  <a:pt x="2547" y="695"/>
                  <a:pt x="2633" y="785"/>
                </a:cubicBezTo>
                <a:cubicBezTo>
                  <a:pt x="2720" y="875"/>
                  <a:pt x="2731" y="974"/>
                  <a:pt x="2662" y="1050"/>
                </a:cubicBezTo>
                <a:cubicBezTo>
                  <a:pt x="2616" y="1100"/>
                  <a:pt x="2624" y="1112"/>
                  <a:pt x="2823" y="1313"/>
                </a:cubicBezTo>
                <a:lnTo>
                  <a:pt x="3033" y="1524"/>
                </a:lnTo>
                <a:lnTo>
                  <a:pt x="2582" y="1975"/>
                </a:lnTo>
                <a:lnTo>
                  <a:pt x="2132" y="2427"/>
                </a:lnTo>
                <a:lnTo>
                  <a:pt x="1933" y="2229"/>
                </a:lnTo>
                <a:cubicBezTo>
                  <a:pt x="1824" y="2121"/>
                  <a:pt x="1722" y="2032"/>
                  <a:pt x="1707" y="2032"/>
                </a:cubicBezTo>
                <a:cubicBezTo>
                  <a:pt x="1693" y="2032"/>
                  <a:pt x="1362" y="2349"/>
                  <a:pt x="973" y="2737"/>
                </a:cubicBezTo>
                <a:cubicBezTo>
                  <a:pt x="584" y="3125"/>
                  <a:pt x="245" y="3443"/>
                  <a:pt x="220" y="3443"/>
                </a:cubicBezTo>
                <a:cubicBezTo>
                  <a:pt x="194" y="3443"/>
                  <a:pt x="135" y="3410"/>
                  <a:pt x="87" y="3370"/>
                </a:cubicBezTo>
                <a:close/>
                <a:moveTo>
                  <a:pt x="2258" y="2887"/>
                </a:moveTo>
                <a:cubicBezTo>
                  <a:pt x="2196" y="2865"/>
                  <a:pt x="2145" y="2792"/>
                  <a:pt x="2145" y="2725"/>
                </a:cubicBezTo>
                <a:cubicBezTo>
                  <a:pt x="2145" y="2686"/>
                  <a:pt x="2337" y="2474"/>
                  <a:pt x="2703" y="2109"/>
                </a:cubicBezTo>
                <a:cubicBezTo>
                  <a:pt x="3289" y="1523"/>
                  <a:pt x="3346" y="1485"/>
                  <a:pt x="3453" y="1604"/>
                </a:cubicBezTo>
                <a:cubicBezTo>
                  <a:pt x="3556" y="1717"/>
                  <a:pt x="3522" y="1766"/>
                  <a:pt x="2956" y="2331"/>
                </a:cubicBezTo>
                <a:cubicBezTo>
                  <a:pt x="2657" y="2630"/>
                  <a:pt x="2388" y="2880"/>
                  <a:pt x="2357" y="2888"/>
                </a:cubicBezTo>
                <a:cubicBezTo>
                  <a:pt x="2326" y="2895"/>
                  <a:pt x="2281" y="2895"/>
                  <a:pt x="2258" y="2887"/>
                </a:cubicBezTo>
                <a:close/>
                <a:moveTo>
                  <a:pt x="637" y="1282"/>
                </a:moveTo>
                <a:cubicBezTo>
                  <a:pt x="528" y="1172"/>
                  <a:pt x="568" y="1113"/>
                  <a:pt x="1137" y="544"/>
                </a:cubicBezTo>
                <a:cubicBezTo>
                  <a:pt x="1607" y="74"/>
                  <a:pt x="1693" y="0"/>
                  <a:pt x="1767" y="0"/>
                </a:cubicBezTo>
                <a:cubicBezTo>
                  <a:pt x="1862" y="0"/>
                  <a:pt x="1947" y="73"/>
                  <a:pt x="1947" y="156"/>
                </a:cubicBezTo>
                <a:cubicBezTo>
                  <a:pt x="1947" y="186"/>
                  <a:pt x="1715" y="442"/>
                  <a:pt x="1391" y="767"/>
                </a:cubicBezTo>
                <a:cubicBezTo>
                  <a:pt x="808" y="1353"/>
                  <a:pt x="749" y="1393"/>
                  <a:pt x="637" y="12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4" name="Group 118">
            <a:extLst>
              <a:ext uri="{FF2B5EF4-FFF2-40B4-BE49-F238E27FC236}">
                <a16:creationId xmlns:a16="http://schemas.microsoft.com/office/drawing/2014/main" id="{FB3D6A90-C4FD-433A-A1C1-A4B3864804A5}"/>
              </a:ext>
            </a:extLst>
          </p:cNvPr>
          <p:cNvGrpSpPr/>
          <p:nvPr/>
        </p:nvGrpSpPr>
        <p:grpSpPr>
          <a:xfrm>
            <a:off x="8409631" y="5248358"/>
            <a:ext cx="346498" cy="347472"/>
            <a:chOff x="1468138" y="5997240"/>
            <a:chExt cx="283642" cy="307072"/>
          </a:xfrm>
          <a:solidFill>
            <a:schemeClr val="bg1"/>
          </a:solidFill>
        </p:grpSpPr>
        <p:sp>
          <p:nvSpPr>
            <p:cNvPr id="120" name="Freeform 16">
              <a:extLst>
                <a:ext uri="{FF2B5EF4-FFF2-40B4-BE49-F238E27FC236}">
                  <a16:creationId xmlns:a16="http://schemas.microsoft.com/office/drawing/2014/main" id="{D6134FC8-4249-4088-8AE8-003C8AAC7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6136" y="6255221"/>
              <a:ext cx="26428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1 w 349"/>
                <a:gd name="T25" fmla="*/ 226 h 350"/>
                <a:gd name="T26" fmla="*/ 225 w 349"/>
                <a:gd name="T27" fmla="*/ 213 h 350"/>
                <a:gd name="T28" fmla="*/ 234 w 349"/>
                <a:gd name="T29" fmla="*/ 194 h 350"/>
                <a:gd name="T30" fmla="*/ 237 w 349"/>
                <a:gd name="T31" fmla="*/ 175 h 350"/>
                <a:gd name="T32" fmla="*/ 235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5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4 w 349"/>
                <a:gd name="T47" fmla="*/ 3 h 350"/>
                <a:gd name="T48" fmla="*/ 234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8 w 349"/>
                <a:gd name="T55" fmla="*/ 63 h 350"/>
                <a:gd name="T56" fmla="*/ 325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5 w 349"/>
                <a:gd name="T65" fmla="*/ 210 h 350"/>
                <a:gd name="T66" fmla="*/ 335 w 349"/>
                <a:gd name="T67" fmla="*/ 243 h 350"/>
                <a:gd name="T68" fmla="*/ 319 w 349"/>
                <a:gd name="T69" fmla="*/ 273 h 350"/>
                <a:gd name="T70" fmla="*/ 297 w 349"/>
                <a:gd name="T71" fmla="*/ 299 h 350"/>
                <a:gd name="T72" fmla="*/ 272 w 349"/>
                <a:gd name="T73" fmla="*/ 319 h 350"/>
                <a:gd name="T74" fmla="*/ 242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39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29 w 349"/>
                <a:gd name="T89" fmla="*/ 273 h 350"/>
                <a:gd name="T90" fmla="*/ 14 w 349"/>
                <a:gd name="T91" fmla="*/ 243 h 350"/>
                <a:gd name="T92" fmla="*/ 3 w 349"/>
                <a:gd name="T93" fmla="*/ 210 h 350"/>
                <a:gd name="T94" fmla="*/ 0 w 349"/>
                <a:gd name="T95" fmla="*/ 175 h 350"/>
                <a:gd name="T96" fmla="*/ 3 w 349"/>
                <a:gd name="T97" fmla="*/ 140 h 350"/>
                <a:gd name="T98" fmla="*/ 14 w 349"/>
                <a:gd name="T99" fmla="*/ 107 h 350"/>
                <a:gd name="T100" fmla="*/ 29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39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1" y="226"/>
                  </a:lnTo>
                  <a:lnTo>
                    <a:pt x="225" y="213"/>
                  </a:lnTo>
                  <a:lnTo>
                    <a:pt x="234" y="194"/>
                  </a:lnTo>
                  <a:lnTo>
                    <a:pt x="237" y="175"/>
                  </a:lnTo>
                  <a:lnTo>
                    <a:pt x="235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5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4" y="3"/>
                  </a:lnTo>
                  <a:lnTo>
                    <a:pt x="234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8" y="63"/>
                  </a:lnTo>
                  <a:lnTo>
                    <a:pt x="325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5" y="210"/>
                  </a:lnTo>
                  <a:lnTo>
                    <a:pt x="335" y="243"/>
                  </a:lnTo>
                  <a:lnTo>
                    <a:pt x="319" y="273"/>
                  </a:lnTo>
                  <a:lnTo>
                    <a:pt x="297" y="299"/>
                  </a:lnTo>
                  <a:lnTo>
                    <a:pt x="272" y="319"/>
                  </a:lnTo>
                  <a:lnTo>
                    <a:pt x="242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39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29" y="273"/>
                  </a:lnTo>
                  <a:lnTo>
                    <a:pt x="14" y="243"/>
                  </a:lnTo>
                  <a:lnTo>
                    <a:pt x="3" y="210"/>
                  </a:lnTo>
                  <a:lnTo>
                    <a:pt x="0" y="175"/>
                  </a:lnTo>
                  <a:lnTo>
                    <a:pt x="3" y="140"/>
                  </a:lnTo>
                  <a:lnTo>
                    <a:pt x="14" y="107"/>
                  </a:lnTo>
                  <a:lnTo>
                    <a:pt x="29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39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1" name="Freeform 17">
              <a:extLst>
                <a:ext uri="{FF2B5EF4-FFF2-40B4-BE49-F238E27FC236}">
                  <a16:creationId xmlns:a16="http://schemas.microsoft.com/office/drawing/2014/main" id="{67A5F0B0-C078-4A85-9E32-409FF0B3D5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2133" y="6255221"/>
              <a:ext cx="26656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2 w 349"/>
                <a:gd name="T25" fmla="*/ 226 h 350"/>
                <a:gd name="T26" fmla="*/ 226 w 349"/>
                <a:gd name="T27" fmla="*/ 213 h 350"/>
                <a:gd name="T28" fmla="*/ 235 w 349"/>
                <a:gd name="T29" fmla="*/ 194 h 350"/>
                <a:gd name="T30" fmla="*/ 237 w 349"/>
                <a:gd name="T31" fmla="*/ 175 h 350"/>
                <a:gd name="T32" fmla="*/ 236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7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5 w 349"/>
                <a:gd name="T47" fmla="*/ 3 h 350"/>
                <a:gd name="T48" fmla="*/ 235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9 w 349"/>
                <a:gd name="T55" fmla="*/ 63 h 350"/>
                <a:gd name="T56" fmla="*/ 326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6 w 349"/>
                <a:gd name="T65" fmla="*/ 210 h 350"/>
                <a:gd name="T66" fmla="*/ 336 w 349"/>
                <a:gd name="T67" fmla="*/ 243 h 350"/>
                <a:gd name="T68" fmla="*/ 319 w 349"/>
                <a:gd name="T69" fmla="*/ 273 h 350"/>
                <a:gd name="T70" fmla="*/ 298 w 349"/>
                <a:gd name="T71" fmla="*/ 299 h 350"/>
                <a:gd name="T72" fmla="*/ 272 w 349"/>
                <a:gd name="T73" fmla="*/ 319 h 350"/>
                <a:gd name="T74" fmla="*/ 243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40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30 w 349"/>
                <a:gd name="T89" fmla="*/ 273 h 350"/>
                <a:gd name="T90" fmla="*/ 14 w 349"/>
                <a:gd name="T91" fmla="*/ 243 h 350"/>
                <a:gd name="T92" fmla="*/ 4 w 349"/>
                <a:gd name="T93" fmla="*/ 210 h 350"/>
                <a:gd name="T94" fmla="*/ 0 w 349"/>
                <a:gd name="T95" fmla="*/ 175 h 350"/>
                <a:gd name="T96" fmla="*/ 4 w 349"/>
                <a:gd name="T97" fmla="*/ 140 h 350"/>
                <a:gd name="T98" fmla="*/ 14 w 349"/>
                <a:gd name="T99" fmla="*/ 107 h 350"/>
                <a:gd name="T100" fmla="*/ 30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40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7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7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5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19" y="273"/>
                  </a:lnTo>
                  <a:lnTo>
                    <a:pt x="298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2" name="Freeform 18">
              <a:extLst>
                <a:ext uri="{FF2B5EF4-FFF2-40B4-BE49-F238E27FC236}">
                  <a16:creationId xmlns:a16="http://schemas.microsoft.com/office/drawing/2014/main" id="{BF1784DA-3E40-44FD-998D-DB1DD379C0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8357" y="6255221"/>
              <a:ext cx="26428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7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1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7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8 w 350"/>
                <a:gd name="T31" fmla="*/ 175 h 350"/>
                <a:gd name="T32" fmla="*/ 236 w 350"/>
                <a:gd name="T33" fmla="*/ 158 h 350"/>
                <a:gd name="T34" fmla="*/ 229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7 w 350"/>
                <a:gd name="T53" fmla="*/ 41 h 350"/>
                <a:gd name="T54" fmla="*/ 309 w 350"/>
                <a:gd name="T55" fmla="*/ 63 h 350"/>
                <a:gd name="T56" fmla="*/ 326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2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7 w 350"/>
                <a:gd name="T85" fmla="*/ 319 h 350"/>
                <a:gd name="T86" fmla="*/ 51 w 350"/>
                <a:gd name="T87" fmla="*/ 299 h 350"/>
                <a:gd name="T88" fmla="*/ 30 w 350"/>
                <a:gd name="T89" fmla="*/ 273 h 350"/>
                <a:gd name="T90" fmla="*/ 14 w 350"/>
                <a:gd name="T91" fmla="*/ 243 h 350"/>
                <a:gd name="T92" fmla="*/ 4 w 350"/>
                <a:gd name="T93" fmla="*/ 210 h 350"/>
                <a:gd name="T94" fmla="*/ 0 w 350"/>
                <a:gd name="T95" fmla="*/ 175 h 350"/>
                <a:gd name="T96" fmla="*/ 4 w 350"/>
                <a:gd name="T97" fmla="*/ 140 h 350"/>
                <a:gd name="T98" fmla="*/ 14 w 350"/>
                <a:gd name="T99" fmla="*/ 107 h 350"/>
                <a:gd name="T100" fmla="*/ 30 w 350"/>
                <a:gd name="T101" fmla="*/ 78 h 350"/>
                <a:gd name="T102" fmla="*/ 51 w 350"/>
                <a:gd name="T103" fmla="*/ 52 h 350"/>
                <a:gd name="T104" fmla="*/ 77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8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3" name="Freeform 19">
              <a:extLst>
                <a:ext uri="{FF2B5EF4-FFF2-40B4-BE49-F238E27FC236}">
                  <a16:creationId xmlns:a16="http://schemas.microsoft.com/office/drawing/2014/main" id="{FF26547B-24B3-4108-8095-A2794E966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4353" y="6255221"/>
              <a:ext cx="26656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8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3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8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9 w 350"/>
                <a:gd name="T31" fmla="*/ 175 h 350"/>
                <a:gd name="T32" fmla="*/ 236 w 350"/>
                <a:gd name="T33" fmla="*/ 158 h 350"/>
                <a:gd name="T34" fmla="*/ 231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8 w 350"/>
                <a:gd name="T53" fmla="*/ 41 h 350"/>
                <a:gd name="T54" fmla="*/ 309 w 350"/>
                <a:gd name="T55" fmla="*/ 63 h 350"/>
                <a:gd name="T56" fmla="*/ 327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3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8 w 350"/>
                <a:gd name="T85" fmla="*/ 319 h 350"/>
                <a:gd name="T86" fmla="*/ 53 w 350"/>
                <a:gd name="T87" fmla="*/ 299 h 350"/>
                <a:gd name="T88" fmla="*/ 31 w 350"/>
                <a:gd name="T89" fmla="*/ 273 h 350"/>
                <a:gd name="T90" fmla="*/ 15 w 350"/>
                <a:gd name="T91" fmla="*/ 243 h 350"/>
                <a:gd name="T92" fmla="*/ 5 w 350"/>
                <a:gd name="T93" fmla="*/ 210 h 350"/>
                <a:gd name="T94" fmla="*/ 0 w 350"/>
                <a:gd name="T95" fmla="*/ 175 h 350"/>
                <a:gd name="T96" fmla="*/ 5 w 350"/>
                <a:gd name="T97" fmla="*/ 140 h 350"/>
                <a:gd name="T98" fmla="*/ 15 w 350"/>
                <a:gd name="T99" fmla="*/ 107 h 350"/>
                <a:gd name="T100" fmla="*/ 31 w 350"/>
                <a:gd name="T101" fmla="*/ 78 h 350"/>
                <a:gd name="T102" fmla="*/ 53 w 350"/>
                <a:gd name="T103" fmla="*/ 52 h 350"/>
                <a:gd name="T104" fmla="*/ 78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8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3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8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9" y="175"/>
                  </a:lnTo>
                  <a:lnTo>
                    <a:pt x="236" y="158"/>
                  </a:lnTo>
                  <a:lnTo>
                    <a:pt x="231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8" y="41"/>
                  </a:lnTo>
                  <a:lnTo>
                    <a:pt x="309" y="63"/>
                  </a:lnTo>
                  <a:lnTo>
                    <a:pt x="327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3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8" y="319"/>
                  </a:lnTo>
                  <a:lnTo>
                    <a:pt x="53" y="299"/>
                  </a:lnTo>
                  <a:lnTo>
                    <a:pt x="31" y="273"/>
                  </a:lnTo>
                  <a:lnTo>
                    <a:pt x="15" y="243"/>
                  </a:lnTo>
                  <a:lnTo>
                    <a:pt x="5" y="210"/>
                  </a:lnTo>
                  <a:lnTo>
                    <a:pt x="0" y="175"/>
                  </a:lnTo>
                  <a:lnTo>
                    <a:pt x="5" y="140"/>
                  </a:lnTo>
                  <a:lnTo>
                    <a:pt x="15" y="107"/>
                  </a:lnTo>
                  <a:lnTo>
                    <a:pt x="31" y="78"/>
                  </a:lnTo>
                  <a:lnTo>
                    <a:pt x="53" y="52"/>
                  </a:lnTo>
                  <a:lnTo>
                    <a:pt x="78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4" name="Freeform 20">
              <a:extLst>
                <a:ext uri="{FF2B5EF4-FFF2-40B4-BE49-F238E27FC236}">
                  <a16:creationId xmlns:a16="http://schemas.microsoft.com/office/drawing/2014/main" id="{6F553FA1-4728-401A-8C20-F18E165CA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80832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2 h 111"/>
                <a:gd name="T10" fmla="*/ 168 w 171"/>
                <a:gd name="T11" fmla="*/ 37 h 111"/>
                <a:gd name="T12" fmla="*/ 171 w 171"/>
                <a:gd name="T13" fmla="*/ 55 h 111"/>
                <a:gd name="T14" fmla="*/ 168 w 171"/>
                <a:gd name="T15" fmla="*/ 72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8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8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2 h 111"/>
                <a:gd name="T34" fmla="*/ 0 w 171"/>
                <a:gd name="T35" fmla="*/ 55 h 111"/>
                <a:gd name="T36" fmla="*/ 2 w 171"/>
                <a:gd name="T37" fmla="*/ 37 h 111"/>
                <a:gd name="T38" fmla="*/ 10 w 171"/>
                <a:gd name="T39" fmla="*/ 22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2"/>
                  </a:lnTo>
                  <a:lnTo>
                    <a:pt x="168" y="37"/>
                  </a:lnTo>
                  <a:lnTo>
                    <a:pt x="171" y="55"/>
                  </a:lnTo>
                  <a:lnTo>
                    <a:pt x="168" y="72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8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8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2"/>
                  </a:lnTo>
                  <a:lnTo>
                    <a:pt x="0" y="55"/>
                  </a:lnTo>
                  <a:lnTo>
                    <a:pt x="2" y="37"/>
                  </a:lnTo>
                  <a:lnTo>
                    <a:pt x="10" y="22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5" name="Freeform 21">
              <a:extLst>
                <a:ext uri="{FF2B5EF4-FFF2-40B4-BE49-F238E27FC236}">
                  <a16:creationId xmlns:a16="http://schemas.microsoft.com/office/drawing/2014/main" id="{2A783787-5E9B-43C9-9BF4-073950C97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95860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3 h 111"/>
                <a:gd name="T10" fmla="*/ 168 w 171"/>
                <a:gd name="T11" fmla="*/ 38 h 111"/>
                <a:gd name="T12" fmla="*/ 171 w 171"/>
                <a:gd name="T13" fmla="*/ 55 h 111"/>
                <a:gd name="T14" fmla="*/ 168 w 171"/>
                <a:gd name="T15" fmla="*/ 74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9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9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4 h 111"/>
                <a:gd name="T34" fmla="*/ 0 w 171"/>
                <a:gd name="T35" fmla="*/ 55 h 111"/>
                <a:gd name="T36" fmla="*/ 2 w 171"/>
                <a:gd name="T37" fmla="*/ 38 h 111"/>
                <a:gd name="T38" fmla="*/ 10 w 171"/>
                <a:gd name="T39" fmla="*/ 23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3"/>
                  </a:lnTo>
                  <a:lnTo>
                    <a:pt x="168" y="38"/>
                  </a:lnTo>
                  <a:lnTo>
                    <a:pt x="171" y="55"/>
                  </a:lnTo>
                  <a:lnTo>
                    <a:pt x="168" y="74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9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9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4"/>
                  </a:lnTo>
                  <a:lnTo>
                    <a:pt x="0" y="55"/>
                  </a:lnTo>
                  <a:lnTo>
                    <a:pt x="2" y="38"/>
                  </a:lnTo>
                  <a:lnTo>
                    <a:pt x="10" y="23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6" name="Freeform 22">
              <a:extLst>
                <a:ext uri="{FF2B5EF4-FFF2-40B4-BE49-F238E27FC236}">
                  <a16:creationId xmlns:a16="http://schemas.microsoft.com/office/drawing/2014/main" id="{6465D05A-ED22-49B3-924E-6DFC4C8C8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8138" y="5997240"/>
              <a:ext cx="283642" cy="307072"/>
            </a:xfrm>
            <a:custGeom>
              <a:avLst/>
              <a:gdLst>
                <a:gd name="T0" fmla="*/ 185 w 3736"/>
                <a:gd name="T1" fmla="*/ 3069 h 3678"/>
                <a:gd name="T2" fmla="*/ 125 w 3736"/>
                <a:gd name="T3" fmla="*/ 3352 h 3678"/>
                <a:gd name="T4" fmla="*/ 325 w 3736"/>
                <a:gd name="T5" fmla="*/ 3554 h 3678"/>
                <a:gd name="T6" fmla="*/ 2002 w 3736"/>
                <a:gd name="T7" fmla="*/ 3518 h 3678"/>
                <a:gd name="T8" fmla="*/ 2140 w 3736"/>
                <a:gd name="T9" fmla="*/ 3266 h 3678"/>
                <a:gd name="T10" fmla="*/ 2002 w 3736"/>
                <a:gd name="T11" fmla="*/ 3013 h 3678"/>
                <a:gd name="T12" fmla="*/ 943 w 3736"/>
                <a:gd name="T13" fmla="*/ 2853 h 3678"/>
                <a:gd name="T14" fmla="*/ 2970 w 3736"/>
                <a:gd name="T15" fmla="*/ 2765 h 3678"/>
                <a:gd name="T16" fmla="*/ 3240 w 3736"/>
                <a:gd name="T17" fmla="*/ 2787 h 3678"/>
                <a:gd name="T18" fmla="*/ 3506 w 3736"/>
                <a:gd name="T19" fmla="*/ 2599 h 3678"/>
                <a:gd name="T20" fmla="*/ 302 w 3736"/>
                <a:gd name="T21" fmla="*/ 2099 h 3678"/>
                <a:gd name="T22" fmla="*/ 333 w 3736"/>
                <a:gd name="T23" fmla="*/ 2613 h 3678"/>
                <a:gd name="T24" fmla="*/ 3524 w 3736"/>
                <a:gd name="T25" fmla="*/ 1966 h 3678"/>
                <a:gd name="T26" fmla="*/ 3542 w 3736"/>
                <a:gd name="T27" fmla="*/ 2077 h 3678"/>
                <a:gd name="T28" fmla="*/ 3622 w 3736"/>
                <a:gd name="T29" fmla="*/ 1998 h 3678"/>
                <a:gd name="T30" fmla="*/ 893 w 3736"/>
                <a:gd name="T31" fmla="*/ 1458 h 3678"/>
                <a:gd name="T32" fmla="*/ 1843 w 3736"/>
                <a:gd name="T33" fmla="*/ 2616 h 3678"/>
                <a:gd name="T34" fmla="*/ 1132 w 3736"/>
                <a:gd name="T35" fmla="*/ 2414 h 3678"/>
                <a:gd name="T36" fmla="*/ 954 w 3736"/>
                <a:gd name="T37" fmla="*/ 2256 h 3678"/>
                <a:gd name="T38" fmla="*/ 1082 w 3736"/>
                <a:gd name="T39" fmla="*/ 2271 h 3678"/>
                <a:gd name="T40" fmla="*/ 1271 w 3736"/>
                <a:gd name="T41" fmla="*/ 1557 h 3678"/>
                <a:gd name="T42" fmla="*/ 1360 w 3736"/>
                <a:gd name="T43" fmla="*/ 1601 h 3678"/>
                <a:gd name="T44" fmla="*/ 1958 w 3736"/>
                <a:gd name="T45" fmla="*/ 2171 h 3678"/>
                <a:gd name="T46" fmla="*/ 1525 w 3736"/>
                <a:gd name="T47" fmla="*/ 1457 h 3678"/>
                <a:gd name="T48" fmla="*/ 2749 w 3736"/>
                <a:gd name="T49" fmla="*/ 361 h 3678"/>
                <a:gd name="T50" fmla="*/ 3541 w 3736"/>
                <a:gd name="T51" fmla="*/ 1844 h 3678"/>
                <a:gd name="T52" fmla="*/ 1658 w 3736"/>
                <a:gd name="T53" fmla="*/ 1439 h 3678"/>
                <a:gd name="T54" fmla="*/ 2419 w 3736"/>
                <a:gd name="T55" fmla="*/ 427 h 3678"/>
                <a:gd name="T56" fmla="*/ 2498 w 3736"/>
                <a:gd name="T57" fmla="*/ 124 h 3678"/>
                <a:gd name="T58" fmla="*/ 2441 w 3736"/>
                <a:gd name="T59" fmla="*/ 287 h 3678"/>
                <a:gd name="T60" fmla="*/ 2599 w 3736"/>
                <a:gd name="T61" fmla="*/ 347 h 3678"/>
                <a:gd name="T62" fmla="*/ 2672 w 3736"/>
                <a:gd name="T63" fmla="*/ 256 h 3678"/>
                <a:gd name="T64" fmla="*/ 2625 w 3736"/>
                <a:gd name="T65" fmla="*/ 136 h 3678"/>
                <a:gd name="T66" fmla="*/ 2665 w 3736"/>
                <a:gd name="T67" fmla="*/ 28 h 3678"/>
                <a:gd name="T68" fmla="*/ 3734 w 3736"/>
                <a:gd name="T69" fmla="*/ 1986 h 3678"/>
                <a:gd name="T70" fmla="*/ 3646 w 3736"/>
                <a:gd name="T71" fmla="*/ 2170 h 3678"/>
                <a:gd name="T72" fmla="*/ 3580 w 3736"/>
                <a:gd name="T73" fmla="*/ 2724 h 3678"/>
                <a:gd name="T74" fmla="*/ 3180 w 3736"/>
                <a:gd name="T75" fmla="*/ 2918 h 3678"/>
                <a:gd name="T76" fmla="*/ 2865 w 3736"/>
                <a:gd name="T77" fmla="*/ 2826 h 3678"/>
                <a:gd name="T78" fmla="*/ 2459 w 3736"/>
                <a:gd name="T79" fmla="*/ 2397 h 3678"/>
                <a:gd name="T80" fmla="*/ 3431 w 3736"/>
                <a:gd name="T81" fmla="*/ 2200 h 3678"/>
                <a:gd name="T82" fmla="*/ 3506 w 3736"/>
                <a:gd name="T83" fmla="*/ 2183 h 3678"/>
                <a:gd name="T84" fmla="*/ 1983 w 3736"/>
                <a:gd name="T85" fmla="*/ 1926 h 3678"/>
                <a:gd name="T86" fmla="*/ 2073 w 3736"/>
                <a:gd name="T87" fmla="*/ 2433 h 3678"/>
                <a:gd name="T88" fmla="*/ 2059 w 3736"/>
                <a:gd name="T89" fmla="*/ 2469 h 3678"/>
                <a:gd name="T90" fmla="*/ 2043 w 3736"/>
                <a:gd name="T91" fmla="*/ 2482 h 3678"/>
                <a:gd name="T92" fmla="*/ 2024 w 3736"/>
                <a:gd name="T93" fmla="*/ 2489 h 3678"/>
                <a:gd name="T94" fmla="*/ 1942 w 3736"/>
                <a:gd name="T95" fmla="*/ 2705 h 3678"/>
                <a:gd name="T96" fmla="*/ 1890 w 3736"/>
                <a:gd name="T97" fmla="*/ 2857 h 3678"/>
                <a:gd name="T98" fmla="*/ 2177 w 3736"/>
                <a:gd name="T99" fmla="*/ 3030 h 3678"/>
                <a:gd name="T100" fmla="*/ 2238 w 3736"/>
                <a:gd name="T101" fmla="*/ 3367 h 3678"/>
                <a:gd name="T102" fmla="*/ 2032 w 3736"/>
                <a:gd name="T103" fmla="*/ 3630 h 3678"/>
                <a:gd name="T104" fmla="*/ 311 w 3736"/>
                <a:gd name="T105" fmla="*/ 3666 h 3678"/>
                <a:gd name="T106" fmla="*/ 49 w 3736"/>
                <a:gd name="T107" fmla="*/ 3460 h 3678"/>
                <a:gd name="T108" fmla="*/ 28 w 3736"/>
                <a:gd name="T109" fmla="*/ 3116 h 3678"/>
                <a:gd name="T110" fmla="*/ 263 w 3736"/>
                <a:gd name="T111" fmla="*/ 2882 h 3678"/>
                <a:gd name="T112" fmla="*/ 317 w 3736"/>
                <a:gd name="T113" fmla="*/ 2724 h 3678"/>
                <a:gd name="T114" fmla="*/ 178 w 3736"/>
                <a:gd name="T115" fmla="*/ 2553 h 3678"/>
                <a:gd name="T116" fmla="*/ 284 w 3736"/>
                <a:gd name="T117" fmla="*/ 1975 h 3678"/>
                <a:gd name="T118" fmla="*/ 740 w 3736"/>
                <a:gd name="T119" fmla="*/ 1477 h 3678"/>
                <a:gd name="T120" fmla="*/ 963 w 3736"/>
                <a:gd name="T121" fmla="*/ 1310 h 3678"/>
                <a:gd name="T122" fmla="*/ 2410 w 3736"/>
                <a:gd name="T123" fmla="*/ 48 h 3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6" h="3678">
                  <a:moveTo>
                    <a:pt x="413" y="2964"/>
                  </a:moveTo>
                  <a:lnTo>
                    <a:pt x="367" y="2968"/>
                  </a:lnTo>
                  <a:lnTo>
                    <a:pt x="325" y="2978"/>
                  </a:lnTo>
                  <a:lnTo>
                    <a:pt x="286" y="2993"/>
                  </a:lnTo>
                  <a:lnTo>
                    <a:pt x="248" y="3013"/>
                  </a:lnTo>
                  <a:lnTo>
                    <a:pt x="215" y="3039"/>
                  </a:lnTo>
                  <a:lnTo>
                    <a:pt x="185" y="3069"/>
                  </a:lnTo>
                  <a:lnTo>
                    <a:pt x="160" y="3102"/>
                  </a:lnTo>
                  <a:lnTo>
                    <a:pt x="139" y="3139"/>
                  </a:lnTo>
                  <a:lnTo>
                    <a:pt x="125" y="3179"/>
                  </a:lnTo>
                  <a:lnTo>
                    <a:pt x="114" y="3222"/>
                  </a:lnTo>
                  <a:lnTo>
                    <a:pt x="111" y="3266"/>
                  </a:lnTo>
                  <a:lnTo>
                    <a:pt x="114" y="3310"/>
                  </a:lnTo>
                  <a:lnTo>
                    <a:pt x="125" y="3352"/>
                  </a:lnTo>
                  <a:lnTo>
                    <a:pt x="139" y="3393"/>
                  </a:lnTo>
                  <a:lnTo>
                    <a:pt x="160" y="3430"/>
                  </a:lnTo>
                  <a:lnTo>
                    <a:pt x="185" y="3464"/>
                  </a:lnTo>
                  <a:lnTo>
                    <a:pt x="215" y="3493"/>
                  </a:lnTo>
                  <a:lnTo>
                    <a:pt x="248" y="3518"/>
                  </a:lnTo>
                  <a:lnTo>
                    <a:pt x="286" y="3538"/>
                  </a:lnTo>
                  <a:lnTo>
                    <a:pt x="325" y="3554"/>
                  </a:lnTo>
                  <a:lnTo>
                    <a:pt x="367" y="3563"/>
                  </a:lnTo>
                  <a:lnTo>
                    <a:pt x="413" y="3567"/>
                  </a:lnTo>
                  <a:lnTo>
                    <a:pt x="1838" y="3567"/>
                  </a:lnTo>
                  <a:lnTo>
                    <a:pt x="1882" y="3563"/>
                  </a:lnTo>
                  <a:lnTo>
                    <a:pt x="1925" y="3554"/>
                  </a:lnTo>
                  <a:lnTo>
                    <a:pt x="1965" y="3538"/>
                  </a:lnTo>
                  <a:lnTo>
                    <a:pt x="2002" y="3518"/>
                  </a:lnTo>
                  <a:lnTo>
                    <a:pt x="2035" y="3493"/>
                  </a:lnTo>
                  <a:lnTo>
                    <a:pt x="2065" y="3464"/>
                  </a:lnTo>
                  <a:lnTo>
                    <a:pt x="2091" y="3430"/>
                  </a:lnTo>
                  <a:lnTo>
                    <a:pt x="2111" y="3393"/>
                  </a:lnTo>
                  <a:lnTo>
                    <a:pt x="2126" y="3352"/>
                  </a:lnTo>
                  <a:lnTo>
                    <a:pt x="2136" y="3310"/>
                  </a:lnTo>
                  <a:lnTo>
                    <a:pt x="2140" y="3266"/>
                  </a:lnTo>
                  <a:lnTo>
                    <a:pt x="2136" y="3222"/>
                  </a:lnTo>
                  <a:lnTo>
                    <a:pt x="2126" y="3179"/>
                  </a:lnTo>
                  <a:lnTo>
                    <a:pt x="2111" y="3139"/>
                  </a:lnTo>
                  <a:lnTo>
                    <a:pt x="2091" y="3102"/>
                  </a:lnTo>
                  <a:lnTo>
                    <a:pt x="2065" y="3069"/>
                  </a:lnTo>
                  <a:lnTo>
                    <a:pt x="2035" y="3039"/>
                  </a:lnTo>
                  <a:lnTo>
                    <a:pt x="2002" y="3013"/>
                  </a:lnTo>
                  <a:lnTo>
                    <a:pt x="1965" y="2993"/>
                  </a:lnTo>
                  <a:lnTo>
                    <a:pt x="1925" y="2978"/>
                  </a:lnTo>
                  <a:lnTo>
                    <a:pt x="1882" y="2968"/>
                  </a:lnTo>
                  <a:lnTo>
                    <a:pt x="1838" y="2964"/>
                  </a:lnTo>
                  <a:lnTo>
                    <a:pt x="413" y="2964"/>
                  </a:lnTo>
                  <a:close/>
                  <a:moveTo>
                    <a:pt x="943" y="2727"/>
                  </a:moveTo>
                  <a:lnTo>
                    <a:pt x="943" y="2853"/>
                  </a:lnTo>
                  <a:lnTo>
                    <a:pt x="1307" y="2853"/>
                  </a:lnTo>
                  <a:lnTo>
                    <a:pt x="1307" y="2727"/>
                  </a:lnTo>
                  <a:lnTo>
                    <a:pt x="943" y="2727"/>
                  </a:lnTo>
                  <a:close/>
                  <a:moveTo>
                    <a:pt x="3407" y="2328"/>
                  </a:moveTo>
                  <a:lnTo>
                    <a:pt x="2754" y="2590"/>
                  </a:lnTo>
                  <a:lnTo>
                    <a:pt x="2936" y="2741"/>
                  </a:lnTo>
                  <a:lnTo>
                    <a:pt x="2970" y="2765"/>
                  </a:lnTo>
                  <a:lnTo>
                    <a:pt x="3005" y="2783"/>
                  </a:lnTo>
                  <a:lnTo>
                    <a:pt x="3042" y="2797"/>
                  </a:lnTo>
                  <a:lnTo>
                    <a:pt x="3081" y="2806"/>
                  </a:lnTo>
                  <a:lnTo>
                    <a:pt x="3121" y="2809"/>
                  </a:lnTo>
                  <a:lnTo>
                    <a:pt x="3161" y="2808"/>
                  </a:lnTo>
                  <a:lnTo>
                    <a:pt x="3201" y="2800"/>
                  </a:lnTo>
                  <a:lnTo>
                    <a:pt x="3240" y="2787"/>
                  </a:lnTo>
                  <a:lnTo>
                    <a:pt x="3429" y="2711"/>
                  </a:lnTo>
                  <a:lnTo>
                    <a:pt x="3452" y="2700"/>
                  </a:lnTo>
                  <a:lnTo>
                    <a:pt x="3470" y="2684"/>
                  </a:lnTo>
                  <a:lnTo>
                    <a:pt x="3485" y="2666"/>
                  </a:lnTo>
                  <a:lnTo>
                    <a:pt x="3496" y="2646"/>
                  </a:lnTo>
                  <a:lnTo>
                    <a:pt x="3504" y="2623"/>
                  </a:lnTo>
                  <a:lnTo>
                    <a:pt x="3506" y="2599"/>
                  </a:lnTo>
                  <a:lnTo>
                    <a:pt x="3504" y="2575"/>
                  </a:lnTo>
                  <a:lnTo>
                    <a:pt x="3497" y="2551"/>
                  </a:lnTo>
                  <a:lnTo>
                    <a:pt x="3407" y="2328"/>
                  </a:lnTo>
                  <a:close/>
                  <a:moveTo>
                    <a:pt x="353" y="2073"/>
                  </a:moveTo>
                  <a:lnTo>
                    <a:pt x="333" y="2076"/>
                  </a:lnTo>
                  <a:lnTo>
                    <a:pt x="315" y="2085"/>
                  </a:lnTo>
                  <a:lnTo>
                    <a:pt x="302" y="2099"/>
                  </a:lnTo>
                  <a:lnTo>
                    <a:pt x="292" y="2116"/>
                  </a:lnTo>
                  <a:lnTo>
                    <a:pt x="289" y="2136"/>
                  </a:lnTo>
                  <a:lnTo>
                    <a:pt x="289" y="2553"/>
                  </a:lnTo>
                  <a:lnTo>
                    <a:pt x="292" y="2572"/>
                  </a:lnTo>
                  <a:lnTo>
                    <a:pt x="302" y="2590"/>
                  </a:lnTo>
                  <a:lnTo>
                    <a:pt x="315" y="2604"/>
                  </a:lnTo>
                  <a:lnTo>
                    <a:pt x="333" y="2613"/>
                  </a:lnTo>
                  <a:lnTo>
                    <a:pt x="353" y="2616"/>
                  </a:lnTo>
                  <a:lnTo>
                    <a:pt x="713" y="2616"/>
                  </a:lnTo>
                  <a:lnTo>
                    <a:pt x="713" y="2073"/>
                  </a:lnTo>
                  <a:lnTo>
                    <a:pt x="353" y="2073"/>
                  </a:lnTo>
                  <a:close/>
                  <a:moveTo>
                    <a:pt x="3562" y="1955"/>
                  </a:moveTo>
                  <a:lnTo>
                    <a:pt x="3542" y="1957"/>
                  </a:lnTo>
                  <a:lnTo>
                    <a:pt x="3524" y="1966"/>
                  </a:lnTo>
                  <a:lnTo>
                    <a:pt x="3511" y="1980"/>
                  </a:lnTo>
                  <a:lnTo>
                    <a:pt x="3502" y="1998"/>
                  </a:lnTo>
                  <a:lnTo>
                    <a:pt x="3498" y="2017"/>
                  </a:lnTo>
                  <a:lnTo>
                    <a:pt x="3502" y="2038"/>
                  </a:lnTo>
                  <a:lnTo>
                    <a:pt x="3511" y="2055"/>
                  </a:lnTo>
                  <a:lnTo>
                    <a:pt x="3524" y="2068"/>
                  </a:lnTo>
                  <a:lnTo>
                    <a:pt x="3542" y="2077"/>
                  </a:lnTo>
                  <a:lnTo>
                    <a:pt x="3562" y="2081"/>
                  </a:lnTo>
                  <a:lnTo>
                    <a:pt x="3582" y="2077"/>
                  </a:lnTo>
                  <a:lnTo>
                    <a:pt x="3599" y="2068"/>
                  </a:lnTo>
                  <a:lnTo>
                    <a:pt x="3613" y="2055"/>
                  </a:lnTo>
                  <a:lnTo>
                    <a:pt x="3622" y="2038"/>
                  </a:lnTo>
                  <a:lnTo>
                    <a:pt x="3625" y="2017"/>
                  </a:lnTo>
                  <a:lnTo>
                    <a:pt x="3622" y="1998"/>
                  </a:lnTo>
                  <a:lnTo>
                    <a:pt x="3613" y="1980"/>
                  </a:lnTo>
                  <a:lnTo>
                    <a:pt x="3599" y="1966"/>
                  </a:lnTo>
                  <a:lnTo>
                    <a:pt x="3582" y="1957"/>
                  </a:lnTo>
                  <a:lnTo>
                    <a:pt x="3562" y="1955"/>
                  </a:lnTo>
                  <a:close/>
                  <a:moveTo>
                    <a:pt x="950" y="1428"/>
                  </a:moveTo>
                  <a:lnTo>
                    <a:pt x="921" y="1441"/>
                  </a:lnTo>
                  <a:lnTo>
                    <a:pt x="893" y="1458"/>
                  </a:lnTo>
                  <a:lnTo>
                    <a:pt x="871" y="1481"/>
                  </a:lnTo>
                  <a:lnTo>
                    <a:pt x="851" y="1507"/>
                  </a:lnTo>
                  <a:lnTo>
                    <a:pt x="837" y="1536"/>
                  </a:lnTo>
                  <a:lnTo>
                    <a:pt x="828" y="1568"/>
                  </a:lnTo>
                  <a:lnTo>
                    <a:pt x="824" y="1601"/>
                  </a:lnTo>
                  <a:lnTo>
                    <a:pt x="824" y="2616"/>
                  </a:lnTo>
                  <a:lnTo>
                    <a:pt x="1843" y="2616"/>
                  </a:lnTo>
                  <a:lnTo>
                    <a:pt x="1843" y="2489"/>
                  </a:lnTo>
                  <a:lnTo>
                    <a:pt x="1556" y="2489"/>
                  </a:lnTo>
                  <a:lnTo>
                    <a:pt x="1468" y="2487"/>
                  </a:lnTo>
                  <a:lnTo>
                    <a:pt x="1382" y="2478"/>
                  </a:lnTo>
                  <a:lnTo>
                    <a:pt x="1297" y="2462"/>
                  </a:lnTo>
                  <a:lnTo>
                    <a:pt x="1213" y="2441"/>
                  </a:lnTo>
                  <a:lnTo>
                    <a:pt x="1132" y="2414"/>
                  </a:lnTo>
                  <a:lnTo>
                    <a:pt x="1050" y="2382"/>
                  </a:lnTo>
                  <a:lnTo>
                    <a:pt x="1026" y="2369"/>
                  </a:lnTo>
                  <a:lnTo>
                    <a:pt x="1005" y="2352"/>
                  </a:lnTo>
                  <a:lnTo>
                    <a:pt x="985" y="2331"/>
                  </a:lnTo>
                  <a:lnTo>
                    <a:pt x="971" y="2309"/>
                  </a:lnTo>
                  <a:lnTo>
                    <a:pt x="960" y="2284"/>
                  </a:lnTo>
                  <a:lnTo>
                    <a:pt x="954" y="2256"/>
                  </a:lnTo>
                  <a:lnTo>
                    <a:pt x="950" y="2228"/>
                  </a:lnTo>
                  <a:lnTo>
                    <a:pt x="950" y="1428"/>
                  </a:lnTo>
                  <a:close/>
                  <a:moveTo>
                    <a:pt x="1062" y="1419"/>
                  </a:moveTo>
                  <a:lnTo>
                    <a:pt x="1062" y="2228"/>
                  </a:lnTo>
                  <a:lnTo>
                    <a:pt x="1065" y="2245"/>
                  </a:lnTo>
                  <a:lnTo>
                    <a:pt x="1071" y="2259"/>
                  </a:lnTo>
                  <a:lnTo>
                    <a:pt x="1082" y="2271"/>
                  </a:lnTo>
                  <a:lnTo>
                    <a:pt x="1095" y="2280"/>
                  </a:lnTo>
                  <a:lnTo>
                    <a:pt x="1171" y="2311"/>
                  </a:lnTo>
                  <a:lnTo>
                    <a:pt x="1248" y="2335"/>
                  </a:lnTo>
                  <a:lnTo>
                    <a:pt x="1248" y="1601"/>
                  </a:lnTo>
                  <a:lnTo>
                    <a:pt x="1251" y="1584"/>
                  </a:lnTo>
                  <a:lnTo>
                    <a:pt x="1259" y="1568"/>
                  </a:lnTo>
                  <a:lnTo>
                    <a:pt x="1271" y="1557"/>
                  </a:lnTo>
                  <a:lnTo>
                    <a:pt x="1286" y="1549"/>
                  </a:lnTo>
                  <a:lnTo>
                    <a:pt x="1304" y="1545"/>
                  </a:lnTo>
                  <a:lnTo>
                    <a:pt x="1321" y="1549"/>
                  </a:lnTo>
                  <a:lnTo>
                    <a:pt x="1337" y="1557"/>
                  </a:lnTo>
                  <a:lnTo>
                    <a:pt x="1348" y="1568"/>
                  </a:lnTo>
                  <a:lnTo>
                    <a:pt x="1356" y="1584"/>
                  </a:lnTo>
                  <a:lnTo>
                    <a:pt x="1360" y="1601"/>
                  </a:lnTo>
                  <a:lnTo>
                    <a:pt x="1360" y="2361"/>
                  </a:lnTo>
                  <a:lnTo>
                    <a:pt x="1424" y="2370"/>
                  </a:lnTo>
                  <a:lnTo>
                    <a:pt x="1490" y="2376"/>
                  </a:lnTo>
                  <a:lnTo>
                    <a:pt x="1556" y="2378"/>
                  </a:lnTo>
                  <a:lnTo>
                    <a:pt x="1961" y="2378"/>
                  </a:lnTo>
                  <a:lnTo>
                    <a:pt x="1961" y="2221"/>
                  </a:lnTo>
                  <a:lnTo>
                    <a:pt x="1958" y="2171"/>
                  </a:lnTo>
                  <a:lnTo>
                    <a:pt x="1949" y="2123"/>
                  </a:lnTo>
                  <a:lnTo>
                    <a:pt x="1936" y="2076"/>
                  </a:lnTo>
                  <a:lnTo>
                    <a:pt x="1915" y="2031"/>
                  </a:lnTo>
                  <a:lnTo>
                    <a:pt x="1890" y="1988"/>
                  </a:lnTo>
                  <a:lnTo>
                    <a:pt x="1566" y="1500"/>
                  </a:lnTo>
                  <a:lnTo>
                    <a:pt x="1547" y="1477"/>
                  </a:lnTo>
                  <a:lnTo>
                    <a:pt x="1525" y="1457"/>
                  </a:lnTo>
                  <a:lnTo>
                    <a:pt x="1500" y="1441"/>
                  </a:lnTo>
                  <a:lnTo>
                    <a:pt x="1473" y="1428"/>
                  </a:lnTo>
                  <a:lnTo>
                    <a:pt x="1445" y="1422"/>
                  </a:lnTo>
                  <a:lnTo>
                    <a:pt x="1414" y="1419"/>
                  </a:lnTo>
                  <a:lnTo>
                    <a:pt x="1062" y="1419"/>
                  </a:lnTo>
                  <a:close/>
                  <a:moveTo>
                    <a:pt x="2753" y="353"/>
                  </a:moveTo>
                  <a:lnTo>
                    <a:pt x="2749" y="361"/>
                  </a:lnTo>
                  <a:lnTo>
                    <a:pt x="2571" y="659"/>
                  </a:lnTo>
                  <a:lnTo>
                    <a:pt x="3419" y="1917"/>
                  </a:lnTo>
                  <a:lnTo>
                    <a:pt x="3437" y="1895"/>
                  </a:lnTo>
                  <a:lnTo>
                    <a:pt x="3460" y="1876"/>
                  </a:lnTo>
                  <a:lnTo>
                    <a:pt x="3485" y="1861"/>
                  </a:lnTo>
                  <a:lnTo>
                    <a:pt x="3512" y="1850"/>
                  </a:lnTo>
                  <a:lnTo>
                    <a:pt x="3541" y="1844"/>
                  </a:lnTo>
                  <a:lnTo>
                    <a:pt x="2753" y="353"/>
                  </a:lnTo>
                  <a:close/>
                  <a:moveTo>
                    <a:pt x="2334" y="320"/>
                  </a:moveTo>
                  <a:lnTo>
                    <a:pt x="1562" y="1348"/>
                  </a:lnTo>
                  <a:lnTo>
                    <a:pt x="1590" y="1366"/>
                  </a:lnTo>
                  <a:lnTo>
                    <a:pt x="1616" y="1387"/>
                  </a:lnTo>
                  <a:lnTo>
                    <a:pt x="1638" y="1411"/>
                  </a:lnTo>
                  <a:lnTo>
                    <a:pt x="1658" y="1439"/>
                  </a:lnTo>
                  <a:lnTo>
                    <a:pt x="1827" y="1690"/>
                  </a:lnTo>
                  <a:lnTo>
                    <a:pt x="2555" y="467"/>
                  </a:lnTo>
                  <a:lnTo>
                    <a:pt x="2551" y="467"/>
                  </a:lnTo>
                  <a:lnTo>
                    <a:pt x="2515" y="465"/>
                  </a:lnTo>
                  <a:lnTo>
                    <a:pt x="2481" y="457"/>
                  </a:lnTo>
                  <a:lnTo>
                    <a:pt x="2448" y="444"/>
                  </a:lnTo>
                  <a:lnTo>
                    <a:pt x="2419" y="427"/>
                  </a:lnTo>
                  <a:lnTo>
                    <a:pt x="2391" y="405"/>
                  </a:lnTo>
                  <a:lnTo>
                    <a:pt x="2369" y="380"/>
                  </a:lnTo>
                  <a:lnTo>
                    <a:pt x="2349" y="351"/>
                  </a:lnTo>
                  <a:lnTo>
                    <a:pt x="2334" y="320"/>
                  </a:lnTo>
                  <a:close/>
                  <a:moveTo>
                    <a:pt x="2551" y="111"/>
                  </a:moveTo>
                  <a:lnTo>
                    <a:pt x="2523" y="115"/>
                  </a:lnTo>
                  <a:lnTo>
                    <a:pt x="2498" y="124"/>
                  </a:lnTo>
                  <a:lnTo>
                    <a:pt x="2475" y="138"/>
                  </a:lnTo>
                  <a:lnTo>
                    <a:pt x="2456" y="157"/>
                  </a:lnTo>
                  <a:lnTo>
                    <a:pt x="2441" y="180"/>
                  </a:lnTo>
                  <a:lnTo>
                    <a:pt x="2432" y="205"/>
                  </a:lnTo>
                  <a:lnTo>
                    <a:pt x="2429" y="234"/>
                  </a:lnTo>
                  <a:lnTo>
                    <a:pt x="2432" y="262"/>
                  </a:lnTo>
                  <a:lnTo>
                    <a:pt x="2441" y="287"/>
                  </a:lnTo>
                  <a:lnTo>
                    <a:pt x="2456" y="311"/>
                  </a:lnTo>
                  <a:lnTo>
                    <a:pt x="2475" y="329"/>
                  </a:lnTo>
                  <a:lnTo>
                    <a:pt x="2498" y="344"/>
                  </a:lnTo>
                  <a:lnTo>
                    <a:pt x="2523" y="353"/>
                  </a:lnTo>
                  <a:lnTo>
                    <a:pt x="2551" y="356"/>
                  </a:lnTo>
                  <a:lnTo>
                    <a:pt x="2576" y="354"/>
                  </a:lnTo>
                  <a:lnTo>
                    <a:pt x="2599" y="347"/>
                  </a:lnTo>
                  <a:lnTo>
                    <a:pt x="2619" y="336"/>
                  </a:lnTo>
                  <a:lnTo>
                    <a:pt x="2638" y="321"/>
                  </a:lnTo>
                  <a:lnTo>
                    <a:pt x="2653" y="303"/>
                  </a:lnTo>
                  <a:lnTo>
                    <a:pt x="2656" y="298"/>
                  </a:lnTo>
                  <a:lnTo>
                    <a:pt x="2657" y="297"/>
                  </a:lnTo>
                  <a:lnTo>
                    <a:pt x="2666" y="278"/>
                  </a:lnTo>
                  <a:lnTo>
                    <a:pt x="2672" y="256"/>
                  </a:lnTo>
                  <a:lnTo>
                    <a:pt x="2674" y="234"/>
                  </a:lnTo>
                  <a:lnTo>
                    <a:pt x="2672" y="210"/>
                  </a:lnTo>
                  <a:lnTo>
                    <a:pt x="2665" y="187"/>
                  </a:lnTo>
                  <a:lnTo>
                    <a:pt x="2661" y="180"/>
                  </a:lnTo>
                  <a:lnTo>
                    <a:pt x="2658" y="174"/>
                  </a:lnTo>
                  <a:lnTo>
                    <a:pt x="2643" y="153"/>
                  </a:lnTo>
                  <a:lnTo>
                    <a:pt x="2625" y="136"/>
                  </a:lnTo>
                  <a:lnTo>
                    <a:pt x="2603" y="123"/>
                  </a:lnTo>
                  <a:lnTo>
                    <a:pt x="2579" y="115"/>
                  </a:lnTo>
                  <a:lnTo>
                    <a:pt x="2551" y="111"/>
                  </a:lnTo>
                  <a:close/>
                  <a:moveTo>
                    <a:pt x="2551" y="0"/>
                  </a:moveTo>
                  <a:lnTo>
                    <a:pt x="2591" y="3"/>
                  </a:lnTo>
                  <a:lnTo>
                    <a:pt x="2630" y="12"/>
                  </a:lnTo>
                  <a:lnTo>
                    <a:pt x="2665" y="28"/>
                  </a:lnTo>
                  <a:lnTo>
                    <a:pt x="2696" y="50"/>
                  </a:lnTo>
                  <a:lnTo>
                    <a:pt x="2724" y="75"/>
                  </a:lnTo>
                  <a:lnTo>
                    <a:pt x="2747" y="106"/>
                  </a:lnTo>
                  <a:lnTo>
                    <a:pt x="2766" y="138"/>
                  </a:lnTo>
                  <a:lnTo>
                    <a:pt x="3713" y="1930"/>
                  </a:lnTo>
                  <a:lnTo>
                    <a:pt x="3726" y="1957"/>
                  </a:lnTo>
                  <a:lnTo>
                    <a:pt x="3734" y="1986"/>
                  </a:lnTo>
                  <a:lnTo>
                    <a:pt x="3736" y="2017"/>
                  </a:lnTo>
                  <a:lnTo>
                    <a:pt x="3733" y="2050"/>
                  </a:lnTo>
                  <a:lnTo>
                    <a:pt x="3725" y="2080"/>
                  </a:lnTo>
                  <a:lnTo>
                    <a:pt x="3711" y="2108"/>
                  </a:lnTo>
                  <a:lnTo>
                    <a:pt x="3693" y="2132"/>
                  </a:lnTo>
                  <a:lnTo>
                    <a:pt x="3672" y="2153"/>
                  </a:lnTo>
                  <a:lnTo>
                    <a:pt x="3646" y="2170"/>
                  </a:lnTo>
                  <a:lnTo>
                    <a:pt x="3617" y="2183"/>
                  </a:lnTo>
                  <a:lnTo>
                    <a:pt x="3617" y="2612"/>
                  </a:lnTo>
                  <a:lnTo>
                    <a:pt x="3617" y="2620"/>
                  </a:lnTo>
                  <a:lnTo>
                    <a:pt x="3616" y="2626"/>
                  </a:lnTo>
                  <a:lnTo>
                    <a:pt x="3609" y="2660"/>
                  </a:lnTo>
                  <a:lnTo>
                    <a:pt x="3597" y="2693"/>
                  </a:lnTo>
                  <a:lnTo>
                    <a:pt x="3580" y="2724"/>
                  </a:lnTo>
                  <a:lnTo>
                    <a:pt x="3559" y="2752"/>
                  </a:lnTo>
                  <a:lnTo>
                    <a:pt x="3533" y="2777"/>
                  </a:lnTo>
                  <a:lnTo>
                    <a:pt x="3504" y="2799"/>
                  </a:lnTo>
                  <a:lnTo>
                    <a:pt x="3471" y="2815"/>
                  </a:lnTo>
                  <a:lnTo>
                    <a:pt x="3282" y="2891"/>
                  </a:lnTo>
                  <a:lnTo>
                    <a:pt x="3231" y="2908"/>
                  </a:lnTo>
                  <a:lnTo>
                    <a:pt x="3180" y="2918"/>
                  </a:lnTo>
                  <a:lnTo>
                    <a:pt x="3127" y="2920"/>
                  </a:lnTo>
                  <a:lnTo>
                    <a:pt x="3081" y="2918"/>
                  </a:lnTo>
                  <a:lnTo>
                    <a:pt x="3034" y="2910"/>
                  </a:lnTo>
                  <a:lnTo>
                    <a:pt x="2989" y="2896"/>
                  </a:lnTo>
                  <a:lnTo>
                    <a:pt x="2946" y="2878"/>
                  </a:lnTo>
                  <a:lnTo>
                    <a:pt x="2904" y="2855"/>
                  </a:lnTo>
                  <a:lnTo>
                    <a:pt x="2865" y="2826"/>
                  </a:lnTo>
                  <a:lnTo>
                    <a:pt x="2454" y="2487"/>
                  </a:lnTo>
                  <a:lnTo>
                    <a:pt x="2442" y="2474"/>
                  </a:lnTo>
                  <a:lnTo>
                    <a:pt x="2436" y="2458"/>
                  </a:lnTo>
                  <a:lnTo>
                    <a:pt x="2433" y="2441"/>
                  </a:lnTo>
                  <a:lnTo>
                    <a:pt x="2438" y="2424"/>
                  </a:lnTo>
                  <a:lnTo>
                    <a:pt x="2447" y="2409"/>
                  </a:lnTo>
                  <a:lnTo>
                    <a:pt x="2459" y="2397"/>
                  </a:lnTo>
                  <a:lnTo>
                    <a:pt x="2475" y="2390"/>
                  </a:lnTo>
                  <a:lnTo>
                    <a:pt x="2492" y="2388"/>
                  </a:lnTo>
                  <a:lnTo>
                    <a:pt x="2509" y="2393"/>
                  </a:lnTo>
                  <a:lnTo>
                    <a:pt x="2525" y="2402"/>
                  </a:lnTo>
                  <a:lnTo>
                    <a:pt x="2656" y="2509"/>
                  </a:lnTo>
                  <a:lnTo>
                    <a:pt x="3418" y="2203"/>
                  </a:lnTo>
                  <a:lnTo>
                    <a:pt x="3431" y="2200"/>
                  </a:lnTo>
                  <a:lnTo>
                    <a:pt x="3446" y="2200"/>
                  </a:lnTo>
                  <a:lnTo>
                    <a:pt x="3460" y="2204"/>
                  </a:lnTo>
                  <a:lnTo>
                    <a:pt x="3472" y="2211"/>
                  </a:lnTo>
                  <a:lnTo>
                    <a:pt x="3482" y="2221"/>
                  </a:lnTo>
                  <a:lnTo>
                    <a:pt x="3490" y="2235"/>
                  </a:lnTo>
                  <a:lnTo>
                    <a:pt x="3506" y="2275"/>
                  </a:lnTo>
                  <a:lnTo>
                    <a:pt x="3506" y="2183"/>
                  </a:lnTo>
                  <a:lnTo>
                    <a:pt x="3478" y="2170"/>
                  </a:lnTo>
                  <a:lnTo>
                    <a:pt x="3452" y="2152"/>
                  </a:lnTo>
                  <a:lnTo>
                    <a:pt x="3429" y="2131"/>
                  </a:lnTo>
                  <a:lnTo>
                    <a:pt x="3411" y="2106"/>
                  </a:lnTo>
                  <a:lnTo>
                    <a:pt x="2507" y="766"/>
                  </a:lnTo>
                  <a:lnTo>
                    <a:pt x="1895" y="1794"/>
                  </a:lnTo>
                  <a:lnTo>
                    <a:pt x="1983" y="1926"/>
                  </a:lnTo>
                  <a:lnTo>
                    <a:pt x="2010" y="1971"/>
                  </a:lnTo>
                  <a:lnTo>
                    <a:pt x="2032" y="2018"/>
                  </a:lnTo>
                  <a:lnTo>
                    <a:pt x="2050" y="2067"/>
                  </a:lnTo>
                  <a:lnTo>
                    <a:pt x="2063" y="2117"/>
                  </a:lnTo>
                  <a:lnTo>
                    <a:pt x="2069" y="2168"/>
                  </a:lnTo>
                  <a:lnTo>
                    <a:pt x="2073" y="2221"/>
                  </a:lnTo>
                  <a:lnTo>
                    <a:pt x="2073" y="2433"/>
                  </a:lnTo>
                  <a:lnTo>
                    <a:pt x="2072" y="2441"/>
                  </a:lnTo>
                  <a:lnTo>
                    <a:pt x="2069" y="2452"/>
                  </a:lnTo>
                  <a:lnTo>
                    <a:pt x="2066" y="2460"/>
                  </a:lnTo>
                  <a:lnTo>
                    <a:pt x="2064" y="2463"/>
                  </a:lnTo>
                  <a:lnTo>
                    <a:pt x="2063" y="2465"/>
                  </a:lnTo>
                  <a:lnTo>
                    <a:pt x="2060" y="2469"/>
                  </a:lnTo>
                  <a:lnTo>
                    <a:pt x="2059" y="2469"/>
                  </a:lnTo>
                  <a:lnTo>
                    <a:pt x="2058" y="2471"/>
                  </a:lnTo>
                  <a:lnTo>
                    <a:pt x="2056" y="2473"/>
                  </a:lnTo>
                  <a:lnTo>
                    <a:pt x="2055" y="2474"/>
                  </a:lnTo>
                  <a:lnTo>
                    <a:pt x="2052" y="2477"/>
                  </a:lnTo>
                  <a:lnTo>
                    <a:pt x="2050" y="2478"/>
                  </a:lnTo>
                  <a:lnTo>
                    <a:pt x="2048" y="2480"/>
                  </a:lnTo>
                  <a:lnTo>
                    <a:pt x="2043" y="2482"/>
                  </a:lnTo>
                  <a:lnTo>
                    <a:pt x="2039" y="2485"/>
                  </a:lnTo>
                  <a:lnTo>
                    <a:pt x="2039" y="2485"/>
                  </a:lnTo>
                  <a:lnTo>
                    <a:pt x="2035" y="2486"/>
                  </a:lnTo>
                  <a:lnTo>
                    <a:pt x="2033" y="2487"/>
                  </a:lnTo>
                  <a:lnTo>
                    <a:pt x="2031" y="2488"/>
                  </a:lnTo>
                  <a:lnTo>
                    <a:pt x="2027" y="2488"/>
                  </a:lnTo>
                  <a:lnTo>
                    <a:pt x="2024" y="2489"/>
                  </a:lnTo>
                  <a:lnTo>
                    <a:pt x="2023" y="2489"/>
                  </a:lnTo>
                  <a:lnTo>
                    <a:pt x="2019" y="2489"/>
                  </a:lnTo>
                  <a:lnTo>
                    <a:pt x="2017" y="2489"/>
                  </a:lnTo>
                  <a:lnTo>
                    <a:pt x="1954" y="2489"/>
                  </a:lnTo>
                  <a:lnTo>
                    <a:pt x="1954" y="2672"/>
                  </a:lnTo>
                  <a:lnTo>
                    <a:pt x="1950" y="2689"/>
                  </a:lnTo>
                  <a:lnTo>
                    <a:pt x="1942" y="2705"/>
                  </a:lnTo>
                  <a:lnTo>
                    <a:pt x="1931" y="2716"/>
                  </a:lnTo>
                  <a:lnTo>
                    <a:pt x="1915" y="2724"/>
                  </a:lnTo>
                  <a:lnTo>
                    <a:pt x="1898" y="2727"/>
                  </a:lnTo>
                  <a:lnTo>
                    <a:pt x="1418" y="2727"/>
                  </a:lnTo>
                  <a:lnTo>
                    <a:pt x="1418" y="2853"/>
                  </a:lnTo>
                  <a:lnTo>
                    <a:pt x="1838" y="2853"/>
                  </a:lnTo>
                  <a:lnTo>
                    <a:pt x="1890" y="2857"/>
                  </a:lnTo>
                  <a:lnTo>
                    <a:pt x="1940" y="2866"/>
                  </a:lnTo>
                  <a:lnTo>
                    <a:pt x="1988" y="2882"/>
                  </a:lnTo>
                  <a:lnTo>
                    <a:pt x="2032" y="2902"/>
                  </a:lnTo>
                  <a:lnTo>
                    <a:pt x="2074" y="2927"/>
                  </a:lnTo>
                  <a:lnTo>
                    <a:pt x="2112" y="2958"/>
                  </a:lnTo>
                  <a:lnTo>
                    <a:pt x="2146" y="2992"/>
                  </a:lnTo>
                  <a:lnTo>
                    <a:pt x="2177" y="3030"/>
                  </a:lnTo>
                  <a:lnTo>
                    <a:pt x="2202" y="3072"/>
                  </a:lnTo>
                  <a:lnTo>
                    <a:pt x="2222" y="3116"/>
                  </a:lnTo>
                  <a:lnTo>
                    <a:pt x="2238" y="3164"/>
                  </a:lnTo>
                  <a:lnTo>
                    <a:pt x="2247" y="3214"/>
                  </a:lnTo>
                  <a:lnTo>
                    <a:pt x="2251" y="3266"/>
                  </a:lnTo>
                  <a:lnTo>
                    <a:pt x="2247" y="3317"/>
                  </a:lnTo>
                  <a:lnTo>
                    <a:pt x="2238" y="3367"/>
                  </a:lnTo>
                  <a:lnTo>
                    <a:pt x="2222" y="3415"/>
                  </a:lnTo>
                  <a:lnTo>
                    <a:pt x="2202" y="3460"/>
                  </a:lnTo>
                  <a:lnTo>
                    <a:pt x="2177" y="3501"/>
                  </a:lnTo>
                  <a:lnTo>
                    <a:pt x="2146" y="3540"/>
                  </a:lnTo>
                  <a:lnTo>
                    <a:pt x="2112" y="3574"/>
                  </a:lnTo>
                  <a:lnTo>
                    <a:pt x="2074" y="3604"/>
                  </a:lnTo>
                  <a:lnTo>
                    <a:pt x="2032" y="3630"/>
                  </a:lnTo>
                  <a:lnTo>
                    <a:pt x="1988" y="3651"/>
                  </a:lnTo>
                  <a:lnTo>
                    <a:pt x="1940" y="3666"/>
                  </a:lnTo>
                  <a:lnTo>
                    <a:pt x="1890" y="3676"/>
                  </a:lnTo>
                  <a:lnTo>
                    <a:pt x="1838" y="3678"/>
                  </a:lnTo>
                  <a:lnTo>
                    <a:pt x="413" y="3678"/>
                  </a:lnTo>
                  <a:lnTo>
                    <a:pt x="360" y="3676"/>
                  </a:lnTo>
                  <a:lnTo>
                    <a:pt x="311" y="3666"/>
                  </a:lnTo>
                  <a:lnTo>
                    <a:pt x="263" y="3651"/>
                  </a:lnTo>
                  <a:lnTo>
                    <a:pt x="219" y="3630"/>
                  </a:lnTo>
                  <a:lnTo>
                    <a:pt x="177" y="3604"/>
                  </a:lnTo>
                  <a:lnTo>
                    <a:pt x="138" y="3574"/>
                  </a:lnTo>
                  <a:lnTo>
                    <a:pt x="104" y="3540"/>
                  </a:lnTo>
                  <a:lnTo>
                    <a:pt x="74" y="3501"/>
                  </a:lnTo>
                  <a:lnTo>
                    <a:pt x="49" y="3460"/>
                  </a:lnTo>
                  <a:lnTo>
                    <a:pt x="28" y="3415"/>
                  </a:lnTo>
                  <a:lnTo>
                    <a:pt x="12" y="3367"/>
                  </a:lnTo>
                  <a:lnTo>
                    <a:pt x="3" y="3317"/>
                  </a:lnTo>
                  <a:lnTo>
                    <a:pt x="0" y="3266"/>
                  </a:lnTo>
                  <a:lnTo>
                    <a:pt x="3" y="3214"/>
                  </a:lnTo>
                  <a:lnTo>
                    <a:pt x="12" y="3164"/>
                  </a:lnTo>
                  <a:lnTo>
                    <a:pt x="28" y="3116"/>
                  </a:lnTo>
                  <a:lnTo>
                    <a:pt x="49" y="3072"/>
                  </a:lnTo>
                  <a:lnTo>
                    <a:pt x="74" y="3030"/>
                  </a:lnTo>
                  <a:lnTo>
                    <a:pt x="104" y="2992"/>
                  </a:lnTo>
                  <a:lnTo>
                    <a:pt x="138" y="2958"/>
                  </a:lnTo>
                  <a:lnTo>
                    <a:pt x="177" y="2927"/>
                  </a:lnTo>
                  <a:lnTo>
                    <a:pt x="219" y="2902"/>
                  </a:lnTo>
                  <a:lnTo>
                    <a:pt x="263" y="2882"/>
                  </a:lnTo>
                  <a:lnTo>
                    <a:pt x="311" y="2866"/>
                  </a:lnTo>
                  <a:lnTo>
                    <a:pt x="360" y="2857"/>
                  </a:lnTo>
                  <a:lnTo>
                    <a:pt x="413" y="2853"/>
                  </a:lnTo>
                  <a:lnTo>
                    <a:pt x="832" y="2853"/>
                  </a:lnTo>
                  <a:lnTo>
                    <a:pt x="832" y="2727"/>
                  </a:lnTo>
                  <a:lnTo>
                    <a:pt x="353" y="2727"/>
                  </a:lnTo>
                  <a:lnTo>
                    <a:pt x="317" y="2724"/>
                  </a:lnTo>
                  <a:lnTo>
                    <a:pt x="284" y="2714"/>
                  </a:lnTo>
                  <a:lnTo>
                    <a:pt x="255" y="2698"/>
                  </a:lnTo>
                  <a:lnTo>
                    <a:pt x="229" y="2676"/>
                  </a:lnTo>
                  <a:lnTo>
                    <a:pt x="209" y="2650"/>
                  </a:lnTo>
                  <a:lnTo>
                    <a:pt x="192" y="2621"/>
                  </a:lnTo>
                  <a:lnTo>
                    <a:pt x="181" y="2588"/>
                  </a:lnTo>
                  <a:lnTo>
                    <a:pt x="178" y="2553"/>
                  </a:lnTo>
                  <a:lnTo>
                    <a:pt x="178" y="2136"/>
                  </a:lnTo>
                  <a:lnTo>
                    <a:pt x="181" y="2101"/>
                  </a:lnTo>
                  <a:lnTo>
                    <a:pt x="192" y="2068"/>
                  </a:lnTo>
                  <a:lnTo>
                    <a:pt x="209" y="2039"/>
                  </a:lnTo>
                  <a:lnTo>
                    <a:pt x="229" y="2013"/>
                  </a:lnTo>
                  <a:lnTo>
                    <a:pt x="255" y="1991"/>
                  </a:lnTo>
                  <a:lnTo>
                    <a:pt x="284" y="1975"/>
                  </a:lnTo>
                  <a:lnTo>
                    <a:pt x="317" y="1965"/>
                  </a:lnTo>
                  <a:lnTo>
                    <a:pt x="353" y="1962"/>
                  </a:lnTo>
                  <a:lnTo>
                    <a:pt x="713" y="1962"/>
                  </a:lnTo>
                  <a:lnTo>
                    <a:pt x="713" y="1601"/>
                  </a:lnTo>
                  <a:lnTo>
                    <a:pt x="717" y="1558"/>
                  </a:lnTo>
                  <a:lnTo>
                    <a:pt x="726" y="1517"/>
                  </a:lnTo>
                  <a:lnTo>
                    <a:pt x="740" y="1477"/>
                  </a:lnTo>
                  <a:lnTo>
                    <a:pt x="761" y="1442"/>
                  </a:lnTo>
                  <a:lnTo>
                    <a:pt x="785" y="1409"/>
                  </a:lnTo>
                  <a:lnTo>
                    <a:pt x="814" y="1380"/>
                  </a:lnTo>
                  <a:lnTo>
                    <a:pt x="847" y="1355"/>
                  </a:lnTo>
                  <a:lnTo>
                    <a:pt x="883" y="1335"/>
                  </a:lnTo>
                  <a:lnTo>
                    <a:pt x="922" y="1321"/>
                  </a:lnTo>
                  <a:lnTo>
                    <a:pt x="963" y="1310"/>
                  </a:lnTo>
                  <a:lnTo>
                    <a:pt x="1007" y="1308"/>
                  </a:lnTo>
                  <a:lnTo>
                    <a:pt x="1414" y="1308"/>
                  </a:lnTo>
                  <a:lnTo>
                    <a:pt x="1452" y="1310"/>
                  </a:lnTo>
                  <a:lnTo>
                    <a:pt x="2359" y="101"/>
                  </a:lnTo>
                  <a:lnTo>
                    <a:pt x="2359" y="101"/>
                  </a:lnTo>
                  <a:lnTo>
                    <a:pt x="2382" y="73"/>
                  </a:lnTo>
                  <a:lnTo>
                    <a:pt x="2410" y="48"/>
                  </a:lnTo>
                  <a:lnTo>
                    <a:pt x="2441" y="27"/>
                  </a:lnTo>
                  <a:lnTo>
                    <a:pt x="2475" y="12"/>
                  </a:lnTo>
                  <a:lnTo>
                    <a:pt x="2513" y="3"/>
                  </a:lnTo>
                  <a:lnTo>
                    <a:pt x="2551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</p:grpSp>
      <p:sp>
        <p:nvSpPr>
          <p:cNvPr id="23625" name="TextBox 158">
            <a:extLst>
              <a:ext uri="{FF2B5EF4-FFF2-40B4-BE49-F238E27FC236}">
                <a16:creationId xmlns:a16="http://schemas.microsoft.com/office/drawing/2014/main" id="{E039C87F-72AD-4054-B63A-554ACFFB9E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4663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6" name="TextBox 159">
            <a:extLst>
              <a:ext uri="{FF2B5EF4-FFF2-40B4-BE49-F238E27FC236}">
                <a16:creationId xmlns:a16="http://schemas.microsoft.com/office/drawing/2014/main" id="{C89D28E8-6E73-4458-A352-42A749EC09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3488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7" name="TextBox 127">
            <a:extLst>
              <a:ext uri="{FF2B5EF4-FFF2-40B4-BE49-F238E27FC236}">
                <a16:creationId xmlns:a16="http://schemas.microsoft.com/office/drawing/2014/main" id="{D2C4F5E9-E854-4896-8355-45DEC69063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7813" y="6378575"/>
            <a:ext cx="426243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Sources: National Bureau of Statistics, World Bank Report on Doing Business in Nigeria 2018, climate-</a:t>
            </a:r>
            <a:r>
              <a:rPr lang="en-GB" altLang="en-US" sz="800" dirty="0" err="1">
                <a:latin typeface="Calibri" panose="020F0502020204030204" pitchFamily="34" charset="0"/>
              </a:rPr>
              <a:t>data.org</a:t>
            </a:r>
            <a:r>
              <a:rPr lang="en-GB" altLang="en-US" sz="800" dirty="0">
                <a:latin typeface="Calibri" panose="020F0502020204030204" pitchFamily="34" charset="0"/>
              </a:rPr>
              <a:t>, State Government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Exchange rate= $1/N305 (Central Bank of Nigeria)</a:t>
            </a:r>
          </a:p>
        </p:txBody>
      </p:sp>
      <p:sp>
        <p:nvSpPr>
          <p:cNvPr id="23628" name="TextBox 128">
            <a:extLst>
              <a:ext uri="{FF2B5EF4-FFF2-40B4-BE49-F238E27FC236}">
                <a16:creationId xmlns:a16="http://schemas.microsoft.com/office/drawing/2014/main" id="{409BCC6F-A5F0-4C79-BB4A-38A1ABC14F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80022" y="3649889"/>
            <a:ext cx="56778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Tourism</a:t>
            </a:r>
          </a:p>
        </p:txBody>
      </p:sp>
      <p:sp>
        <p:nvSpPr>
          <p:cNvPr id="23629" name="TextBox 129">
            <a:extLst>
              <a:ext uri="{FF2B5EF4-FFF2-40B4-BE49-F238E27FC236}">
                <a16:creationId xmlns:a16="http://schemas.microsoft.com/office/drawing/2014/main" id="{489E7B41-20C9-4493-8E7D-07238EB8FA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2892" y="3655173"/>
            <a:ext cx="468313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Maize</a:t>
            </a:r>
          </a:p>
        </p:txBody>
      </p:sp>
      <p:sp>
        <p:nvSpPr>
          <p:cNvPr id="23630" name="TextBox 130">
            <a:extLst>
              <a:ext uri="{FF2B5EF4-FFF2-40B4-BE49-F238E27FC236}">
                <a16:creationId xmlns:a16="http://schemas.microsoft.com/office/drawing/2014/main" id="{048DE5D8-5309-42DA-9D97-2935A10CB7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31" name="TextBox 131">
            <a:extLst>
              <a:ext uri="{FF2B5EF4-FFF2-40B4-BE49-F238E27FC236}">
                <a16:creationId xmlns:a16="http://schemas.microsoft.com/office/drawing/2014/main" id="{FF8B6C80-43E2-43AF-A364-A31845F05C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5388" y="3656013"/>
            <a:ext cx="552450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Cassava</a:t>
            </a:r>
          </a:p>
        </p:txBody>
      </p:sp>
      <p:sp>
        <p:nvSpPr>
          <p:cNvPr id="23632" name="TextBox 132">
            <a:extLst>
              <a:ext uri="{FF2B5EF4-FFF2-40B4-BE49-F238E27FC236}">
                <a16:creationId xmlns:a16="http://schemas.microsoft.com/office/drawing/2014/main" id="{A1C640C1-61D1-4BA5-8A76-E684397E8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46689" y="3650683"/>
            <a:ext cx="46198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Millet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879574" y="3819649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23638" name="TextBox 141">
            <a:extLst>
              <a:ext uri="{FF2B5EF4-FFF2-40B4-BE49-F238E27FC236}">
                <a16:creationId xmlns:a16="http://schemas.microsoft.com/office/drawing/2014/main" id="{EE481231-8673-4FD7-B5CC-900AEE7A9F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8233" y="3652271"/>
            <a:ext cx="61587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Livestock</a:t>
            </a:r>
          </a:p>
        </p:txBody>
      </p:sp>
      <p:sp>
        <p:nvSpPr>
          <p:cNvPr id="23650" name="TextBox 166">
            <a:extLst>
              <a:ext uri="{FF2B5EF4-FFF2-40B4-BE49-F238E27FC236}">
                <a16:creationId xmlns:a16="http://schemas.microsoft.com/office/drawing/2014/main" id="{6B51369B-8FA6-464A-B908-12B0FFE6B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08991" y="4458812"/>
            <a:ext cx="38023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Rice</a:t>
            </a:r>
          </a:p>
        </p:txBody>
      </p:sp>
      <p:sp>
        <p:nvSpPr>
          <p:cNvPr id="23651" name="TextBox 167">
            <a:extLst>
              <a:ext uri="{FF2B5EF4-FFF2-40B4-BE49-F238E27FC236}">
                <a16:creationId xmlns:a16="http://schemas.microsoft.com/office/drawing/2014/main" id="{4F9404E1-8339-401B-8B10-4C7D1A8CEC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15961" y="4457881"/>
            <a:ext cx="86113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Industrial Park</a:t>
            </a:r>
          </a:p>
        </p:txBody>
      </p:sp>
      <p:sp>
        <p:nvSpPr>
          <p:cNvPr id="23652" name="TextBox 168">
            <a:extLst>
              <a:ext uri="{FF2B5EF4-FFF2-40B4-BE49-F238E27FC236}">
                <a16:creationId xmlns:a16="http://schemas.microsoft.com/office/drawing/2014/main" id="{1C04917D-B2C3-4C21-8CC2-A45C349B4B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65456" y="4457133"/>
            <a:ext cx="49564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Health</a:t>
            </a:r>
          </a:p>
        </p:txBody>
      </p:sp>
      <p:sp>
        <p:nvSpPr>
          <p:cNvPr id="23653" name="TextBox 169">
            <a:extLst>
              <a:ext uri="{FF2B5EF4-FFF2-40B4-BE49-F238E27FC236}">
                <a16:creationId xmlns:a16="http://schemas.microsoft.com/office/drawing/2014/main" id="{4BADA327-4F2D-4897-B7C0-4647A1484B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52501" y="4457973"/>
            <a:ext cx="47160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Hydro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8A28B48-1841-45BB-BFBC-EADE77B37C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1716711"/>
              </p:ext>
            </p:extLst>
          </p:nvPr>
        </p:nvGraphicFramePr>
        <p:xfrm>
          <a:off x="2779712" y="2589213"/>
          <a:ext cx="1482725" cy="812800"/>
        </p:xfrm>
        <a:graphic>
          <a:graphicData uri="http://schemas.openxmlformats.org/drawingml/2006/table">
            <a:tbl>
              <a:tblPr/>
              <a:tblGrid>
                <a:gridCol w="11367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9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32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GB" sz="1000" b="1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Domestic</a:t>
                      </a:r>
                      <a:r>
                        <a:rPr lang="en-GB" sz="10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US" sz="1000" b="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International 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Railway</a:t>
                      </a:r>
                      <a:r>
                        <a:rPr lang="en-GB" sz="1000" b="1" kern="1200" baseline="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 Station</a:t>
                      </a:r>
                      <a:endParaRPr lang="en-GB" sz="1000" b="1" kern="1200" dirty="0">
                        <a:solidFill>
                          <a:srgbClr val="292929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32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Sea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7" name="TextBox 136">
            <a:extLst>
              <a:ext uri="{FF2B5EF4-FFF2-40B4-BE49-F238E27FC236}">
                <a16:creationId xmlns:a16="http://schemas.microsoft.com/office/drawing/2014/main" id="{2F4C4876-7073-4C13-A183-127A8909BDC0}"/>
              </a:ext>
            </a:extLst>
          </p:cNvPr>
          <p:cNvSpPr txBox="1"/>
          <p:nvPr/>
        </p:nvSpPr>
        <p:spPr>
          <a:xfrm>
            <a:off x="538163" y="5268913"/>
            <a:ext cx="373856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For further details</a:t>
            </a:r>
          </a:p>
        </p:txBody>
      </p:sp>
      <p:sp>
        <p:nvSpPr>
          <p:cNvPr id="23676" name="TextBox 156">
            <a:extLst>
              <a:ext uri="{FF2B5EF4-FFF2-40B4-BE49-F238E27FC236}">
                <a16:creationId xmlns:a16="http://schemas.microsoft.com/office/drawing/2014/main" id="{95D66AAF-6B48-4B9E-9E5B-F1BB063A89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6300" y="6342063"/>
            <a:ext cx="37306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Abbreviations: </a:t>
            </a:r>
            <a:r>
              <a:rPr lang="en-GB" altLang="en-US" sz="800" b="1" dirty="0">
                <a:latin typeface="Calibri" panose="020F0502020204030204" pitchFamily="34" charset="0"/>
              </a:rPr>
              <a:t>	NICPS</a:t>
            </a:r>
            <a:r>
              <a:rPr lang="en-GB" altLang="en-US" sz="800" dirty="0">
                <a:latin typeface="Calibri" panose="020F0502020204030204" pitchFamily="34" charset="0"/>
              </a:rPr>
              <a:t>: Nigerian Investment Certification Programme for States                  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	</a:t>
            </a:r>
            <a:r>
              <a:rPr lang="en-GB" altLang="en-US" sz="800" b="1" dirty="0">
                <a:latin typeface="Calibri" panose="020F0502020204030204" pitchFamily="34" charset="0"/>
              </a:rPr>
              <a:t>IGR</a:t>
            </a:r>
            <a:r>
              <a:rPr lang="en-GB" altLang="en-US" sz="800" dirty="0">
                <a:latin typeface="Calibri" panose="020F0502020204030204" pitchFamily="34" charset="0"/>
              </a:rPr>
              <a:t>:     Internal Generated Revenue</a:t>
            </a:r>
          </a:p>
        </p:txBody>
      </p:sp>
      <p:sp>
        <p:nvSpPr>
          <p:cNvPr id="23678" name="TextBox 152">
            <a:extLst>
              <a:ext uri="{FF2B5EF4-FFF2-40B4-BE49-F238E27FC236}">
                <a16:creationId xmlns:a16="http://schemas.microsoft.com/office/drawing/2014/main" id="{BFAF6896-F732-45FC-AC47-950DF99D9E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4575" y="928055"/>
            <a:ext cx="3446463" cy="19082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15888" indent="-11588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indent="0"/>
            <a:endParaRPr lang="en-GB" sz="1300" dirty="0">
              <a:latin typeface="Calibri" panose="020F050202020403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</a:rPr>
              <a:t>Strategic location (borders Cameroun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</a:rPr>
              <a:t>Major cattle rearing stat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</a:rPr>
              <a:t>Mount </a:t>
            </a:r>
            <a:r>
              <a:rPr lang="en-US" sz="1300" dirty="0" err="1">
                <a:latin typeface="Calibri" panose="020F0502020204030204" pitchFamily="34" charset="0"/>
              </a:rPr>
              <a:t>Dimlang</a:t>
            </a:r>
            <a:r>
              <a:rPr lang="en-US" sz="1300" dirty="0">
                <a:latin typeface="Calibri" panose="020F0502020204030204" pitchFamily="34" charset="0"/>
              </a:rPr>
              <a:t> (4</a:t>
            </a:r>
            <a:r>
              <a:rPr lang="en-US" sz="1300" baseline="30000" dirty="0">
                <a:latin typeface="Calibri" panose="020F0502020204030204" pitchFamily="34" charset="0"/>
              </a:rPr>
              <a:t>th</a:t>
            </a:r>
            <a:r>
              <a:rPr lang="en-US" sz="1300" dirty="0">
                <a:latin typeface="Calibri" panose="020F0502020204030204" pitchFamily="34" charset="0"/>
              </a:rPr>
              <a:t> highest point in Nigeria 6,699ft)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</a:rPr>
              <a:t>Tourist attraction (</a:t>
            </a:r>
            <a:r>
              <a:rPr lang="en-US" sz="1300" dirty="0" err="1">
                <a:latin typeface="Calibri" panose="020F0502020204030204" pitchFamily="34" charset="0"/>
              </a:rPr>
              <a:t>Sukur</a:t>
            </a:r>
            <a:r>
              <a:rPr lang="en-US" sz="1300" dirty="0">
                <a:latin typeface="Calibri" panose="020F0502020204030204" pitchFamily="34" charset="0"/>
              </a:rPr>
              <a:t> cultural landscape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</a:rPr>
              <a:t>Largest landscape (500,000 hectares) reserved for raw sugar production 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400" dirty="0"/>
              <a:t>Richly endowed with industrial metals </a:t>
            </a:r>
            <a:endParaRPr lang="en-GB" sz="1300" dirty="0">
              <a:latin typeface="Calibri" panose="020F0502020204030204" pitchFamily="34" charset="0"/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D4E23C6-26A0-4545-B8F7-7007C8EEBFE4}"/>
              </a:ext>
            </a:extLst>
          </p:cNvPr>
          <p:cNvSpPr txBox="1"/>
          <p:nvPr/>
        </p:nvSpPr>
        <p:spPr>
          <a:xfrm>
            <a:off x="4338638" y="5265738"/>
            <a:ext cx="247491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id you know?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132" name="Text Placeholder 42">
            <a:extLst>
              <a:ext uri="{FF2B5EF4-FFF2-40B4-BE49-F238E27FC236}">
                <a16:creationId xmlns:a16="http://schemas.microsoft.com/office/drawing/2014/main" id="{D510D0DC-1548-4249-8DB1-9A1055126D07}"/>
              </a:ext>
            </a:extLst>
          </p:cNvPr>
          <p:cNvSpPr txBox="1">
            <a:spLocks/>
          </p:cNvSpPr>
          <p:nvPr/>
        </p:nvSpPr>
        <p:spPr>
          <a:xfrm>
            <a:off x="522288" y="5511800"/>
            <a:ext cx="3733800" cy="701675"/>
          </a:xfrm>
          <a:prstGeom prst="rect">
            <a:avLst/>
          </a:prstGeom>
        </p:spPr>
        <p:txBody>
          <a:bodyPr lIns="36576" tIns="0" rIns="36576" bIns="0"/>
          <a:lstStyle>
            <a:lvl1pPr marL="0" indent="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/>
              <a:buNone/>
              <a:defRPr sz="800" b="1" baseline="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6575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93763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 charset="0"/>
              <a:buChar char="►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50950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619250" indent="-188913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0764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25336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29908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34480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NIGERIAN INVESTMENT PROMOTION COMMISSION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>
                <a:solidFill>
                  <a:schemeClr val="tx1"/>
                </a:solidFill>
                <a:hlinkClick r:id="rId7"/>
              </a:rPr>
              <a:t>statesco@nipc.gov.ng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endParaRPr lang="en-US" sz="5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ADAMAWA STATE INVESTMENT AND PROPERTY DEV. COMPANY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 err="1">
                <a:solidFill>
                  <a:schemeClr val="tx1"/>
                </a:solidFill>
                <a:hlinkClick r:id="rId8"/>
              </a:rPr>
              <a:t>abbas_fufore@yahoo.co.uk</a:t>
            </a:r>
            <a:r>
              <a:rPr lang="en-US" sz="1000" b="0" kern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FF015425-7997-4612-9D0E-1F6C433DFCC7}"/>
              </a:ext>
            </a:extLst>
          </p:cNvPr>
          <p:cNvSpPr/>
          <p:nvPr/>
        </p:nvSpPr>
        <p:spPr>
          <a:xfrm>
            <a:off x="6080877" y="3040856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4C0B7457-CABD-4AC8-8A1A-1FD468581E4D}"/>
              </a:ext>
            </a:extLst>
          </p:cNvPr>
          <p:cNvSpPr/>
          <p:nvPr/>
        </p:nvSpPr>
        <p:spPr>
          <a:xfrm>
            <a:off x="6784796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2D626A89-F50C-45A3-9271-5D3F2EEA9C83}"/>
              </a:ext>
            </a:extLst>
          </p:cNvPr>
          <p:cNvSpPr/>
          <p:nvPr/>
        </p:nvSpPr>
        <p:spPr>
          <a:xfrm>
            <a:off x="7518399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240713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A62E850A-D87D-46D0-9257-0071E677FCF0}"/>
              </a:ext>
            </a:extLst>
          </p:cNvPr>
          <p:cNvSpPr/>
          <p:nvPr/>
        </p:nvSpPr>
        <p:spPr>
          <a:xfrm>
            <a:off x="8947150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4D1FAA17-3EFF-404B-B4C4-B468BCE2E9A5}"/>
              </a:ext>
            </a:extLst>
          </p:cNvPr>
          <p:cNvSpPr/>
          <p:nvPr/>
        </p:nvSpPr>
        <p:spPr>
          <a:xfrm>
            <a:off x="6078265" y="3836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E861211D-5D09-4577-8A09-FD96D972A5D4}"/>
              </a:ext>
            </a:extLst>
          </p:cNvPr>
          <p:cNvSpPr/>
          <p:nvPr/>
        </p:nvSpPr>
        <p:spPr>
          <a:xfrm>
            <a:off x="6780509" y="3833831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3CBEFD1C-6360-47CD-AEDD-DFB49FC0E0C7}"/>
              </a:ext>
            </a:extLst>
          </p:cNvPr>
          <p:cNvSpPr/>
          <p:nvPr/>
        </p:nvSpPr>
        <p:spPr>
          <a:xfrm>
            <a:off x="7518603" y="3830834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pic>
        <p:nvPicPr>
          <p:cNvPr id="149" name="Picture 148" descr="livestock.jpg">
            <a:extLst>
              <a:ext uri="{FF2B5EF4-FFF2-40B4-BE49-F238E27FC236}">
                <a16:creationId xmlns:a16="http://schemas.microsoft.com/office/drawing/2014/main" id="{2916B6B9-288D-4F21-A768-AB0DFC8AD85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t="17215" r="72671" b="56268"/>
          <a:stretch>
            <a:fillRect/>
          </a:stretch>
        </p:blipFill>
        <p:spPr>
          <a:xfrm>
            <a:off x="6038511" y="3048061"/>
            <a:ext cx="750278" cy="524341"/>
          </a:xfrm>
          <a:prstGeom prst="rect">
            <a:avLst/>
          </a:prstGeom>
        </p:spPr>
      </p:pic>
      <p:pic>
        <p:nvPicPr>
          <p:cNvPr id="150" name="Picture 149" descr="Maize.jpg">
            <a:extLst>
              <a:ext uri="{FF2B5EF4-FFF2-40B4-BE49-F238E27FC236}">
                <a16:creationId xmlns:a16="http://schemas.microsoft.com/office/drawing/2014/main" id="{97425EFD-73B4-42B4-B835-AC30D101C28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785624" y="3095737"/>
            <a:ext cx="604911" cy="591587"/>
          </a:xfrm>
          <a:prstGeom prst="rect">
            <a:avLst/>
          </a:prstGeom>
        </p:spPr>
      </p:pic>
      <p:pic>
        <p:nvPicPr>
          <p:cNvPr id="151" name="Picture 6">
            <a:extLst>
              <a:ext uri="{FF2B5EF4-FFF2-40B4-BE49-F238E27FC236}">
                <a16:creationId xmlns:a16="http://schemas.microsoft.com/office/drawing/2014/main" id="{2AAD6D87-F0F0-4C67-9DD4-09CB0ADE366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814" r="8128"/>
          <a:stretch/>
        </p:blipFill>
        <p:spPr bwMode="auto">
          <a:xfrm>
            <a:off x="7541116" y="3131066"/>
            <a:ext cx="577630" cy="4210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3" name="Picture 152">
            <a:extLst>
              <a:ext uri="{FF2B5EF4-FFF2-40B4-BE49-F238E27FC236}">
                <a16:creationId xmlns:a16="http://schemas.microsoft.com/office/drawing/2014/main" id="{6C87D9E3-BCC5-4F77-B960-B75AC5BC7754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1565" y="3082262"/>
            <a:ext cx="524933" cy="489661"/>
          </a:xfrm>
          <a:prstGeom prst="rect">
            <a:avLst/>
          </a:prstGeom>
        </p:spPr>
      </p:pic>
      <p:pic>
        <p:nvPicPr>
          <p:cNvPr id="154" name="Picture 153" descr="Power.jpg">
            <a:extLst>
              <a:ext uri="{FF2B5EF4-FFF2-40B4-BE49-F238E27FC236}">
                <a16:creationId xmlns:a16="http://schemas.microsoft.com/office/drawing/2014/main" id="{30CB8C46-0758-4F08-8B71-D252B286169B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12320" t="35282" r="71508" b="46256"/>
          <a:stretch>
            <a:fillRect/>
          </a:stretch>
        </p:blipFill>
        <p:spPr>
          <a:xfrm>
            <a:off x="6141594" y="3958318"/>
            <a:ext cx="485975" cy="388780"/>
          </a:xfrm>
          <a:prstGeom prst="rect">
            <a:avLst/>
          </a:prstGeom>
        </p:spPr>
      </p:pic>
      <p:pic>
        <p:nvPicPr>
          <p:cNvPr id="155" name="Picture 154">
            <a:extLst>
              <a:ext uri="{FF2B5EF4-FFF2-40B4-BE49-F238E27FC236}">
                <a16:creationId xmlns:a16="http://schemas.microsoft.com/office/drawing/2014/main" id="{198F41C3-F812-4084-AB54-1FF99CDE96A6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15706" y="3110579"/>
            <a:ext cx="464155" cy="464155"/>
          </a:xfrm>
          <a:prstGeom prst="rect">
            <a:avLst/>
          </a:prstGeom>
        </p:spPr>
      </p:pic>
      <p:pic>
        <p:nvPicPr>
          <p:cNvPr id="156" name="Picture 155">
            <a:extLst>
              <a:ext uri="{FF2B5EF4-FFF2-40B4-BE49-F238E27FC236}">
                <a16:creationId xmlns:a16="http://schemas.microsoft.com/office/drawing/2014/main" id="{FFBF998B-95D6-473D-8D1A-568960869CAB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16" t="17956" b="25500"/>
          <a:stretch/>
        </p:blipFill>
        <p:spPr>
          <a:xfrm>
            <a:off x="6833012" y="3918235"/>
            <a:ext cx="512712" cy="457533"/>
          </a:xfrm>
          <a:prstGeom prst="rect">
            <a:avLst/>
          </a:prstGeom>
        </p:spPr>
      </p:pic>
      <p:pic>
        <p:nvPicPr>
          <p:cNvPr id="158" name="Picture 157">
            <a:extLst>
              <a:ext uri="{FF2B5EF4-FFF2-40B4-BE49-F238E27FC236}">
                <a16:creationId xmlns:a16="http://schemas.microsoft.com/office/drawing/2014/main" id="{5E1DAF66-EA61-4A6F-B053-83B78425DCC0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8305" y="3896880"/>
            <a:ext cx="469246" cy="487053"/>
          </a:xfrm>
          <a:prstGeom prst="rect">
            <a:avLst/>
          </a:prstGeom>
        </p:spPr>
      </p:pic>
      <p:pic>
        <p:nvPicPr>
          <p:cNvPr id="159" name="Picture 158">
            <a:extLst>
              <a:ext uri="{FF2B5EF4-FFF2-40B4-BE49-F238E27FC236}">
                <a16:creationId xmlns:a16="http://schemas.microsoft.com/office/drawing/2014/main" id="{6AACF72C-8EE3-4DEE-952C-B1E058DF4BE4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620036" y="3894386"/>
            <a:ext cx="417708" cy="417708"/>
          </a:xfrm>
          <a:prstGeom prst="rect">
            <a:avLst/>
          </a:prstGeom>
        </p:spPr>
      </p:pic>
      <p:sp>
        <p:nvSpPr>
          <p:cNvPr id="160" name="TextBox 159">
            <a:extLst>
              <a:ext uri="{FF2B5EF4-FFF2-40B4-BE49-F238E27FC236}">
                <a16:creationId xmlns:a16="http://schemas.microsoft.com/office/drawing/2014/main" id="{D8A0A7FC-2A26-40C4-A442-FAA7F2DC656E}"/>
              </a:ext>
            </a:extLst>
          </p:cNvPr>
          <p:cNvSpPr txBox="1"/>
          <p:nvPr/>
        </p:nvSpPr>
        <p:spPr>
          <a:xfrm>
            <a:off x="4374578" y="4541674"/>
            <a:ext cx="17988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te Investment Certification Process Not Started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262436" y="5428652"/>
            <a:ext cx="2606099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Adamawa was named after a warrior, </a:t>
            </a:r>
            <a:r>
              <a:rPr lang="en-US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Modibbo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Adama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 Bin </a:t>
            </a:r>
            <a:r>
              <a:rPr lang="en-US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Ardo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 Hassan, that conquered the region in the 19th century</a:t>
            </a:r>
          </a:p>
        </p:txBody>
      </p:sp>
      <p:sp>
        <p:nvSpPr>
          <p:cNvPr id="118" name="Oval 117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238751" y="3833813"/>
            <a:ext cx="595313" cy="59067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27" name="Picture 126"/>
          <p:cNvPicPr>
            <a:picLocks noChangeAspect="1"/>
          </p:cNvPicPr>
          <p:nvPr/>
        </p:nvPicPr>
        <p:blipFill>
          <a:blip r:embed="rId19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8860" y="3929268"/>
            <a:ext cx="313908" cy="432976"/>
          </a:xfrm>
          <a:prstGeom prst="rect">
            <a:avLst/>
          </a:prstGeom>
        </p:spPr>
      </p:pic>
      <p:sp>
        <p:nvSpPr>
          <p:cNvPr id="134" name="TextBox 168">
            <a:extLst>
              <a:ext uri="{FF2B5EF4-FFF2-40B4-BE49-F238E27FC236}">
                <a16:creationId xmlns:a16="http://schemas.microsoft.com/office/drawing/2014/main" id="{1C04917D-B2C3-4C21-8CC2-A45C349B4B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56006" y="4457133"/>
            <a:ext cx="66877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Sugarcane</a:t>
            </a:r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0E61E7-4037-4865-A35A-C0DB8BD4F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active investment promotion</a:t>
            </a:r>
          </a:p>
        </p:txBody>
      </p:sp>
      <p:graphicFrame>
        <p:nvGraphicFramePr>
          <p:cNvPr id="8" name="Content Placeholder 3">
            <a:extLst>
              <a:ext uri="{FF2B5EF4-FFF2-40B4-BE49-F238E27FC236}">
                <a16:creationId xmlns:a16="http://schemas.microsoft.com/office/drawing/2014/main" id="{3E7408D9-F506-4A25-BCC9-321A39C32901}"/>
              </a:ext>
            </a:extLst>
          </p:cNvPr>
          <p:cNvGraphicFramePr>
            <a:graphicFrameLocks noGrp="1"/>
          </p:cNvGraphicFramePr>
          <p:nvPr>
            <p:ph sz="quarter" idx="10"/>
            <p:extLst/>
          </p:nvPr>
        </p:nvGraphicFramePr>
        <p:xfrm>
          <a:off x="382588" y="1057275"/>
          <a:ext cx="9144000" cy="5033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9194937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Pentagon 19">
            <a:extLst>
              <a:ext uri="{FF2B5EF4-FFF2-40B4-BE49-F238E27FC236}">
                <a16:creationId xmlns:a16="http://schemas.microsoft.com/office/drawing/2014/main" id="{CAD93C59-72A9-4F6D-A654-02B9F8A5EFF9}"/>
              </a:ext>
            </a:extLst>
          </p:cNvPr>
          <p:cNvSpPr>
            <a:spLocks/>
          </p:cNvSpPr>
          <p:nvPr/>
        </p:nvSpPr>
        <p:spPr bwMode="auto">
          <a:xfrm>
            <a:off x="756602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6 of 37</a:t>
            </a:r>
          </a:p>
        </p:txBody>
      </p:sp>
      <p:sp>
        <p:nvSpPr>
          <p:cNvPr id="376" name="Pentagon 19">
            <a:extLst>
              <a:ext uri="{FF2B5EF4-FFF2-40B4-BE49-F238E27FC236}">
                <a16:creationId xmlns:a16="http://schemas.microsoft.com/office/drawing/2014/main" id="{1BDC5465-6022-4404-B4D8-ED55CF961B8A}"/>
              </a:ext>
            </a:extLst>
          </p:cNvPr>
          <p:cNvSpPr>
            <a:spLocks/>
          </p:cNvSpPr>
          <p:nvPr/>
        </p:nvSpPr>
        <p:spPr bwMode="auto">
          <a:xfrm>
            <a:off x="824865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8 of 3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57F1EBC-D01A-4083-B657-63AFB1490839}"/>
              </a:ext>
            </a:extLst>
          </p:cNvPr>
          <p:cNvSpPr txBox="1"/>
          <p:nvPr/>
        </p:nvSpPr>
        <p:spPr>
          <a:xfrm>
            <a:off x="6122988" y="2749550"/>
            <a:ext cx="3475037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nvestment Opportunit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D251BD-538A-4F4F-847E-620EEDA298A0}"/>
              </a:ext>
            </a:extLst>
          </p:cNvPr>
          <p:cNvSpPr txBox="1"/>
          <p:nvPr/>
        </p:nvSpPr>
        <p:spPr>
          <a:xfrm>
            <a:off x="6881813" y="4632911"/>
            <a:ext cx="2697162" cy="33855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oing Business Ranking(2018)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1B8F13C-F732-4DA1-9250-DB02936E7688}"/>
              </a:ext>
            </a:extLst>
          </p:cNvPr>
          <p:cNvSpPr/>
          <p:nvPr/>
        </p:nvSpPr>
        <p:spPr>
          <a:xfrm>
            <a:off x="756602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Registering Propert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6BA1818-32ED-44D1-975C-958200BDD124}"/>
              </a:ext>
            </a:extLst>
          </p:cNvPr>
          <p:cNvSpPr/>
          <p:nvPr/>
        </p:nvSpPr>
        <p:spPr>
          <a:xfrm>
            <a:off x="8248650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Dealing with Construction Permits</a:t>
            </a:r>
          </a:p>
        </p:txBody>
      </p:sp>
      <p:sp>
        <p:nvSpPr>
          <p:cNvPr id="23560" name="TextBox 174">
            <a:extLst>
              <a:ext uri="{FF2B5EF4-FFF2-40B4-BE49-F238E27FC236}">
                <a16:creationId xmlns:a16="http://schemas.microsoft.com/office/drawing/2014/main" id="{1573FD4E-62B9-45E8-8F28-CED990ED2D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0B63A6C-2A5E-4CA3-BC66-4CBC6008BC9A}"/>
              </a:ext>
            </a:extLst>
          </p:cNvPr>
          <p:cNvSpPr/>
          <p:nvPr/>
        </p:nvSpPr>
        <p:spPr>
          <a:xfrm>
            <a:off x="893127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Enforcing Contracts</a:t>
            </a:r>
          </a:p>
        </p:txBody>
      </p:sp>
      <p:pic>
        <p:nvPicPr>
          <p:cNvPr id="23562" name="Picture 4">
            <a:extLst>
              <a:ext uri="{FF2B5EF4-FFF2-40B4-BE49-F238E27FC236}">
                <a16:creationId xmlns:a16="http://schemas.microsoft.com/office/drawing/2014/main" id="{7C8EEAB2-0239-4BB5-94B3-23E319AF1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513" y="5249863"/>
            <a:ext cx="439737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6" name="Pentagon 19">
            <a:extLst>
              <a:ext uri="{FF2B5EF4-FFF2-40B4-BE49-F238E27FC236}">
                <a16:creationId xmlns:a16="http://schemas.microsoft.com/office/drawing/2014/main" id="{5F8E9670-D71A-4765-B6B5-D711BC9AD6E1}"/>
              </a:ext>
            </a:extLst>
          </p:cNvPr>
          <p:cNvSpPr>
            <a:spLocks/>
          </p:cNvSpPr>
          <p:nvPr/>
        </p:nvSpPr>
        <p:spPr bwMode="auto">
          <a:xfrm>
            <a:off x="893127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4</a:t>
            </a:r>
            <a:r>
              <a:rPr lang="en-GB" sz="1000" baseline="3000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of 37</a:t>
            </a:r>
          </a:p>
        </p:txBody>
      </p:sp>
      <p:sp>
        <p:nvSpPr>
          <p:cNvPr id="23564" name="Title 3">
            <a:extLst>
              <a:ext uri="{FF2B5EF4-FFF2-40B4-BE49-F238E27FC236}">
                <a16:creationId xmlns:a16="http://schemas.microsoft.com/office/drawing/2014/main" id="{C62A749B-CFC7-4224-A789-D20A772AC33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77813" y="222250"/>
            <a:ext cx="8543925" cy="5619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en-GB" altLang="en-US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kwa</a:t>
            </a:r>
            <a:r>
              <a:rPr lang="en-GB" alt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Ibom State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6882DF2C-9120-4A66-8487-575D9494F4D6}"/>
              </a:ext>
            </a:extLst>
          </p:cNvPr>
          <p:cNvSpPr txBox="1"/>
          <p:nvPr/>
        </p:nvSpPr>
        <p:spPr>
          <a:xfrm rot="16200000">
            <a:off x="-2290084" y="3478372"/>
            <a:ext cx="5303837" cy="2743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Land of Promise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grpSp>
        <p:nvGrpSpPr>
          <p:cNvPr id="23566" name="Group 9">
            <a:extLst>
              <a:ext uri="{FF2B5EF4-FFF2-40B4-BE49-F238E27FC236}">
                <a16:creationId xmlns:a16="http://schemas.microsoft.com/office/drawing/2014/main" id="{5B6131BD-3CE3-4FC4-B13A-FA9B797C1EF5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41338" y="963613"/>
            <a:ext cx="2897187" cy="2319337"/>
            <a:chOff x="770228" y="1459989"/>
            <a:chExt cx="4081047" cy="3267527"/>
          </a:xfrm>
        </p:grpSpPr>
        <p:sp>
          <p:nvSpPr>
            <p:cNvPr id="299" name="Freeform 4">
              <a:extLst>
                <a:ext uri="{FF2B5EF4-FFF2-40B4-BE49-F238E27FC236}">
                  <a16:creationId xmlns:a16="http://schemas.microsoft.com/office/drawing/2014/main" id="{B6150C82-CBE5-48B4-B60C-C210BB7B26A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91538" y="4349548"/>
              <a:ext cx="418167" cy="377968"/>
            </a:xfrm>
            <a:custGeom>
              <a:avLst/>
              <a:gdLst>
                <a:gd name="T0" fmla="*/ 12 w 786"/>
                <a:gd name="T1" fmla="*/ 19 h 714"/>
                <a:gd name="T2" fmla="*/ 22 w 786"/>
                <a:gd name="T3" fmla="*/ 18 h 714"/>
                <a:gd name="T4" fmla="*/ 27 w 786"/>
                <a:gd name="T5" fmla="*/ 17 h 714"/>
                <a:gd name="T6" fmla="*/ 30 w 786"/>
                <a:gd name="T7" fmla="*/ 14 h 714"/>
                <a:gd name="T8" fmla="*/ 37 w 786"/>
                <a:gd name="T9" fmla="*/ 16 h 714"/>
                <a:gd name="T10" fmla="*/ 43 w 786"/>
                <a:gd name="T11" fmla="*/ 13 h 714"/>
                <a:gd name="T12" fmla="*/ 48 w 786"/>
                <a:gd name="T13" fmla="*/ 8 h 714"/>
                <a:gd name="T14" fmla="*/ 55 w 786"/>
                <a:gd name="T15" fmla="*/ 4 h 714"/>
                <a:gd name="T16" fmla="*/ 66 w 786"/>
                <a:gd name="T17" fmla="*/ 0 h 714"/>
                <a:gd name="T18" fmla="*/ 63 w 786"/>
                <a:gd name="T19" fmla="*/ 12 h 714"/>
                <a:gd name="T20" fmla="*/ 59 w 786"/>
                <a:gd name="T21" fmla="*/ 19 h 714"/>
                <a:gd name="T22" fmla="*/ 57 w 786"/>
                <a:gd name="T23" fmla="*/ 29 h 714"/>
                <a:gd name="T24" fmla="*/ 59 w 786"/>
                <a:gd name="T25" fmla="*/ 36 h 714"/>
                <a:gd name="T26" fmla="*/ 66 w 786"/>
                <a:gd name="T27" fmla="*/ 35 h 714"/>
                <a:gd name="T28" fmla="*/ 64 w 786"/>
                <a:gd name="T29" fmla="*/ 41 h 714"/>
                <a:gd name="T30" fmla="*/ 64 w 786"/>
                <a:gd name="T31" fmla="*/ 48 h 714"/>
                <a:gd name="T32" fmla="*/ 63 w 786"/>
                <a:gd name="T33" fmla="*/ 56 h 714"/>
                <a:gd name="T34" fmla="*/ 60 w 786"/>
                <a:gd name="T35" fmla="*/ 60 h 714"/>
                <a:gd name="T36" fmla="*/ 57 w 786"/>
                <a:gd name="T37" fmla="*/ 58 h 714"/>
                <a:gd name="T38" fmla="*/ 54 w 786"/>
                <a:gd name="T39" fmla="*/ 54 h 714"/>
                <a:gd name="T40" fmla="*/ 53 w 786"/>
                <a:gd name="T41" fmla="*/ 51 h 714"/>
                <a:gd name="T42" fmla="*/ 51 w 786"/>
                <a:gd name="T43" fmla="*/ 53 h 714"/>
                <a:gd name="T44" fmla="*/ 49 w 786"/>
                <a:gd name="T45" fmla="*/ 54 h 714"/>
                <a:gd name="T46" fmla="*/ 47 w 786"/>
                <a:gd name="T47" fmla="*/ 50 h 714"/>
                <a:gd name="T48" fmla="*/ 48 w 786"/>
                <a:gd name="T49" fmla="*/ 54 h 714"/>
                <a:gd name="T50" fmla="*/ 47 w 786"/>
                <a:gd name="T51" fmla="*/ 54 h 714"/>
                <a:gd name="T52" fmla="*/ 46 w 786"/>
                <a:gd name="T53" fmla="*/ 59 h 714"/>
                <a:gd name="T54" fmla="*/ 47 w 786"/>
                <a:gd name="T55" fmla="*/ 62 h 714"/>
                <a:gd name="T56" fmla="*/ 42 w 786"/>
                <a:gd name="T57" fmla="*/ 62 h 714"/>
                <a:gd name="T58" fmla="*/ 39 w 786"/>
                <a:gd name="T59" fmla="*/ 57 h 714"/>
                <a:gd name="T60" fmla="*/ 40 w 786"/>
                <a:gd name="T61" fmla="*/ 54 h 714"/>
                <a:gd name="T62" fmla="*/ 43 w 786"/>
                <a:gd name="T63" fmla="*/ 55 h 714"/>
                <a:gd name="T64" fmla="*/ 40 w 786"/>
                <a:gd name="T65" fmla="*/ 53 h 714"/>
                <a:gd name="T66" fmla="*/ 38 w 786"/>
                <a:gd name="T67" fmla="*/ 57 h 714"/>
                <a:gd name="T68" fmla="*/ 37 w 786"/>
                <a:gd name="T69" fmla="*/ 57 h 714"/>
                <a:gd name="T70" fmla="*/ 37 w 786"/>
                <a:gd name="T71" fmla="*/ 60 h 714"/>
                <a:gd name="T72" fmla="*/ 33 w 786"/>
                <a:gd name="T73" fmla="*/ 56 h 714"/>
                <a:gd name="T74" fmla="*/ 32 w 786"/>
                <a:gd name="T75" fmla="*/ 58 h 714"/>
                <a:gd name="T76" fmla="*/ 26 w 786"/>
                <a:gd name="T77" fmla="*/ 54 h 714"/>
                <a:gd name="T78" fmla="*/ 26 w 786"/>
                <a:gd name="T79" fmla="*/ 54 h 714"/>
                <a:gd name="T80" fmla="*/ 24 w 786"/>
                <a:gd name="T81" fmla="*/ 51 h 714"/>
                <a:gd name="T82" fmla="*/ 22 w 786"/>
                <a:gd name="T83" fmla="*/ 51 h 714"/>
                <a:gd name="T84" fmla="*/ 20 w 786"/>
                <a:gd name="T85" fmla="*/ 50 h 714"/>
                <a:gd name="T86" fmla="*/ 20 w 786"/>
                <a:gd name="T87" fmla="*/ 48 h 714"/>
                <a:gd name="T88" fmla="*/ 18 w 786"/>
                <a:gd name="T89" fmla="*/ 47 h 714"/>
                <a:gd name="T90" fmla="*/ 15 w 786"/>
                <a:gd name="T91" fmla="*/ 45 h 714"/>
                <a:gd name="T92" fmla="*/ 11 w 786"/>
                <a:gd name="T93" fmla="*/ 39 h 714"/>
                <a:gd name="T94" fmla="*/ 12 w 786"/>
                <a:gd name="T95" fmla="*/ 36 h 714"/>
                <a:gd name="T96" fmla="*/ 7 w 786"/>
                <a:gd name="T97" fmla="*/ 33 h 714"/>
                <a:gd name="T98" fmla="*/ 5 w 786"/>
                <a:gd name="T99" fmla="*/ 28 h 714"/>
                <a:gd name="T100" fmla="*/ 7 w 786"/>
                <a:gd name="T101" fmla="*/ 30 h 714"/>
                <a:gd name="T102" fmla="*/ 4 w 786"/>
                <a:gd name="T103" fmla="*/ 24 h 714"/>
                <a:gd name="T104" fmla="*/ 2 w 786"/>
                <a:gd name="T105" fmla="*/ 20 h 714"/>
                <a:gd name="T106" fmla="*/ 0 w 786"/>
                <a:gd name="T107" fmla="*/ 15 h 714"/>
                <a:gd name="T108" fmla="*/ 4 w 786"/>
                <a:gd name="T109" fmla="*/ 16 h 714"/>
                <a:gd name="T110" fmla="*/ 55 w 786"/>
                <a:gd name="T111" fmla="*/ 60 h 714"/>
                <a:gd name="T112" fmla="*/ 47 w 786"/>
                <a:gd name="T113" fmla="*/ 60 h 714"/>
                <a:gd name="T114" fmla="*/ 51 w 786"/>
                <a:gd name="T115" fmla="*/ 54 h 714"/>
                <a:gd name="T116" fmla="*/ 54 w 786"/>
                <a:gd name="T117" fmla="*/ 56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86"/>
                <a:gd name="T178" fmla="*/ 0 h 714"/>
                <a:gd name="T179" fmla="*/ 786 w 786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86" h="714">
                  <a:moveTo>
                    <a:pt x="54" y="186"/>
                  </a:moveTo>
                  <a:lnTo>
                    <a:pt x="54" y="192"/>
                  </a:lnTo>
                  <a:lnTo>
                    <a:pt x="72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204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20" y="210"/>
                  </a:lnTo>
                  <a:lnTo>
                    <a:pt x="126" y="210"/>
                  </a:lnTo>
                  <a:lnTo>
                    <a:pt x="132" y="210"/>
                  </a:lnTo>
                  <a:lnTo>
                    <a:pt x="132" y="216"/>
                  </a:lnTo>
                  <a:lnTo>
                    <a:pt x="138" y="222"/>
                  </a:lnTo>
                  <a:lnTo>
                    <a:pt x="150" y="222"/>
                  </a:lnTo>
                  <a:lnTo>
                    <a:pt x="162" y="234"/>
                  </a:lnTo>
                  <a:lnTo>
                    <a:pt x="168" y="240"/>
                  </a:lnTo>
                  <a:lnTo>
                    <a:pt x="180" y="240"/>
                  </a:lnTo>
                  <a:lnTo>
                    <a:pt x="186" y="228"/>
                  </a:lnTo>
                  <a:lnTo>
                    <a:pt x="210" y="234"/>
                  </a:lnTo>
                  <a:lnTo>
                    <a:pt x="222" y="228"/>
                  </a:lnTo>
                  <a:lnTo>
                    <a:pt x="228" y="216"/>
                  </a:lnTo>
                  <a:lnTo>
                    <a:pt x="234" y="210"/>
                  </a:lnTo>
                  <a:lnTo>
                    <a:pt x="240" y="216"/>
                  </a:lnTo>
                  <a:lnTo>
                    <a:pt x="246" y="210"/>
                  </a:lnTo>
                  <a:lnTo>
                    <a:pt x="252" y="210"/>
                  </a:lnTo>
                  <a:lnTo>
                    <a:pt x="258" y="210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192"/>
                  </a:lnTo>
                  <a:lnTo>
                    <a:pt x="270" y="192"/>
                  </a:lnTo>
                  <a:lnTo>
                    <a:pt x="276" y="192"/>
                  </a:lnTo>
                  <a:lnTo>
                    <a:pt x="282" y="192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192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198"/>
                  </a:lnTo>
                  <a:lnTo>
                    <a:pt x="312" y="198"/>
                  </a:lnTo>
                  <a:lnTo>
                    <a:pt x="312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24" y="186"/>
                  </a:lnTo>
                  <a:lnTo>
                    <a:pt x="318" y="180"/>
                  </a:lnTo>
                  <a:lnTo>
                    <a:pt x="324" y="180"/>
                  </a:lnTo>
                  <a:lnTo>
                    <a:pt x="330" y="186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74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54" y="144"/>
                  </a:lnTo>
                  <a:lnTo>
                    <a:pt x="360" y="144"/>
                  </a:lnTo>
                  <a:lnTo>
                    <a:pt x="372" y="156"/>
                  </a:lnTo>
                  <a:lnTo>
                    <a:pt x="372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96" y="168"/>
                  </a:lnTo>
                  <a:lnTo>
                    <a:pt x="396" y="174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26" y="186"/>
                  </a:lnTo>
                  <a:lnTo>
                    <a:pt x="432" y="186"/>
                  </a:lnTo>
                  <a:lnTo>
                    <a:pt x="438" y="180"/>
                  </a:lnTo>
                  <a:lnTo>
                    <a:pt x="438" y="168"/>
                  </a:lnTo>
                  <a:lnTo>
                    <a:pt x="438" y="162"/>
                  </a:lnTo>
                  <a:lnTo>
                    <a:pt x="444" y="156"/>
                  </a:lnTo>
                  <a:lnTo>
                    <a:pt x="450" y="156"/>
                  </a:lnTo>
                  <a:lnTo>
                    <a:pt x="456" y="150"/>
                  </a:lnTo>
                  <a:lnTo>
                    <a:pt x="462" y="156"/>
                  </a:lnTo>
                  <a:lnTo>
                    <a:pt x="468" y="162"/>
                  </a:lnTo>
                  <a:lnTo>
                    <a:pt x="474" y="162"/>
                  </a:lnTo>
                  <a:lnTo>
                    <a:pt x="486" y="162"/>
                  </a:lnTo>
                  <a:lnTo>
                    <a:pt x="492" y="156"/>
                  </a:lnTo>
                  <a:lnTo>
                    <a:pt x="498" y="150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28" y="126"/>
                  </a:lnTo>
                  <a:lnTo>
                    <a:pt x="522" y="120"/>
                  </a:lnTo>
                  <a:lnTo>
                    <a:pt x="522" y="114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28" y="102"/>
                  </a:lnTo>
                  <a:lnTo>
                    <a:pt x="534" y="96"/>
                  </a:lnTo>
                  <a:lnTo>
                    <a:pt x="552" y="96"/>
                  </a:lnTo>
                  <a:lnTo>
                    <a:pt x="570" y="102"/>
                  </a:lnTo>
                  <a:lnTo>
                    <a:pt x="582" y="96"/>
                  </a:lnTo>
                  <a:lnTo>
                    <a:pt x="582" y="90"/>
                  </a:lnTo>
                  <a:lnTo>
                    <a:pt x="582" y="78"/>
                  </a:lnTo>
                  <a:lnTo>
                    <a:pt x="582" y="72"/>
                  </a:lnTo>
                  <a:lnTo>
                    <a:pt x="582" y="66"/>
                  </a:lnTo>
                  <a:lnTo>
                    <a:pt x="594" y="60"/>
                  </a:lnTo>
                  <a:lnTo>
                    <a:pt x="600" y="60"/>
                  </a:lnTo>
                  <a:lnTo>
                    <a:pt x="606" y="54"/>
                  </a:lnTo>
                  <a:lnTo>
                    <a:pt x="618" y="48"/>
                  </a:lnTo>
                  <a:lnTo>
                    <a:pt x="618" y="42"/>
                  </a:lnTo>
                  <a:lnTo>
                    <a:pt x="624" y="42"/>
                  </a:lnTo>
                  <a:lnTo>
                    <a:pt x="636" y="48"/>
                  </a:lnTo>
                  <a:lnTo>
                    <a:pt x="648" y="54"/>
                  </a:lnTo>
                  <a:lnTo>
                    <a:pt x="660" y="54"/>
                  </a:lnTo>
                  <a:lnTo>
                    <a:pt x="666" y="60"/>
                  </a:lnTo>
                  <a:lnTo>
                    <a:pt x="672" y="54"/>
                  </a:lnTo>
                  <a:lnTo>
                    <a:pt x="684" y="48"/>
                  </a:lnTo>
                  <a:lnTo>
                    <a:pt x="708" y="42"/>
                  </a:lnTo>
                  <a:lnTo>
                    <a:pt x="714" y="42"/>
                  </a:lnTo>
                  <a:lnTo>
                    <a:pt x="720" y="36"/>
                  </a:lnTo>
                  <a:lnTo>
                    <a:pt x="720" y="30"/>
                  </a:lnTo>
                  <a:lnTo>
                    <a:pt x="714" y="12"/>
                  </a:lnTo>
                  <a:lnTo>
                    <a:pt x="708" y="0"/>
                  </a:lnTo>
                  <a:lnTo>
                    <a:pt x="738" y="6"/>
                  </a:lnTo>
                  <a:lnTo>
                    <a:pt x="756" y="6"/>
                  </a:lnTo>
                  <a:lnTo>
                    <a:pt x="762" y="42"/>
                  </a:lnTo>
                  <a:lnTo>
                    <a:pt x="738" y="72"/>
                  </a:lnTo>
                  <a:lnTo>
                    <a:pt x="750" y="90"/>
                  </a:lnTo>
                  <a:lnTo>
                    <a:pt x="762" y="96"/>
                  </a:lnTo>
                  <a:lnTo>
                    <a:pt x="756" y="102"/>
                  </a:lnTo>
                  <a:lnTo>
                    <a:pt x="750" y="108"/>
                  </a:lnTo>
                  <a:lnTo>
                    <a:pt x="750" y="114"/>
                  </a:lnTo>
                  <a:lnTo>
                    <a:pt x="750" y="120"/>
                  </a:lnTo>
                  <a:lnTo>
                    <a:pt x="750" y="126"/>
                  </a:lnTo>
                  <a:lnTo>
                    <a:pt x="750" y="132"/>
                  </a:lnTo>
                  <a:lnTo>
                    <a:pt x="738" y="132"/>
                  </a:lnTo>
                  <a:lnTo>
                    <a:pt x="732" y="138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14" y="144"/>
                  </a:lnTo>
                  <a:lnTo>
                    <a:pt x="714" y="150"/>
                  </a:lnTo>
                  <a:lnTo>
                    <a:pt x="720" y="156"/>
                  </a:lnTo>
                  <a:lnTo>
                    <a:pt x="720" y="162"/>
                  </a:lnTo>
                  <a:lnTo>
                    <a:pt x="714" y="162"/>
                  </a:lnTo>
                  <a:lnTo>
                    <a:pt x="708" y="168"/>
                  </a:lnTo>
                  <a:lnTo>
                    <a:pt x="708" y="180"/>
                  </a:lnTo>
                  <a:lnTo>
                    <a:pt x="708" y="192"/>
                  </a:lnTo>
                  <a:lnTo>
                    <a:pt x="696" y="198"/>
                  </a:lnTo>
                  <a:lnTo>
                    <a:pt x="696" y="204"/>
                  </a:lnTo>
                  <a:lnTo>
                    <a:pt x="684" y="210"/>
                  </a:lnTo>
                  <a:lnTo>
                    <a:pt x="684" y="216"/>
                  </a:lnTo>
                  <a:lnTo>
                    <a:pt x="684" y="222"/>
                  </a:lnTo>
                  <a:lnTo>
                    <a:pt x="678" y="228"/>
                  </a:lnTo>
                  <a:lnTo>
                    <a:pt x="678" y="234"/>
                  </a:lnTo>
                  <a:lnTo>
                    <a:pt x="672" y="240"/>
                  </a:lnTo>
                  <a:lnTo>
                    <a:pt x="672" y="252"/>
                  </a:lnTo>
                  <a:lnTo>
                    <a:pt x="672" y="258"/>
                  </a:lnTo>
                  <a:lnTo>
                    <a:pt x="666" y="264"/>
                  </a:lnTo>
                  <a:lnTo>
                    <a:pt x="678" y="264"/>
                  </a:lnTo>
                  <a:lnTo>
                    <a:pt x="684" y="276"/>
                  </a:lnTo>
                  <a:lnTo>
                    <a:pt x="684" y="288"/>
                  </a:lnTo>
                  <a:lnTo>
                    <a:pt x="672" y="300"/>
                  </a:lnTo>
                  <a:lnTo>
                    <a:pt x="660" y="318"/>
                  </a:lnTo>
                  <a:lnTo>
                    <a:pt x="660" y="336"/>
                  </a:lnTo>
                  <a:lnTo>
                    <a:pt x="654" y="342"/>
                  </a:lnTo>
                  <a:lnTo>
                    <a:pt x="660" y="354"/>
                  </a:lnTo>
                  <a:lnTo>
                    <a:pt x="660" y="366"/>
                  </a:lnTo>
                  <a:lnTo>
                    <a:pt x="666" y="378"/>
                  </a:lnTo>
                  <a:lnTo>
                    <a:pt x="672" y="390"/>
                  </a:lnTo>
                  <a:lnTo>
                    <a:pt x="678" y="396"/>
                  </a:lnTo>
                  <a:lnTo>
                    <a:pt x="684" y="390"/>
                  </a:lnTo>
                  <a:lnTo>
                    <a:pt x="690" y="390"/>
                  </a:lnTo>
                  <a:lnTo>
                    <a:pt x="690" y="396"/>
                  </a:lnTo>
                  <a:lnTo>
                    <a:pt x="684" y="396"/>
                  </a:lnTo>
                  <a:lnTo>
                    <a:pt x="684" y="402"/>
                  </a:lnTo>
                  <a:lnTo>
                    <a:pt x="684" y="408"/>
                  </a:lnTo>
                  <a:lnTo>
                    <a:pt x="678" y="414"/>
                  </a:lnTo>
                  <a:lnTo>
                    <a:pt x="684" y="414"/>
                  </a:lnTo>
                  <a:lnTo>
                    <a:pt x="684" y="420"/>
                  </a:lnTo>
                  <a:lnTo>
                    <a:pt x="684" y="426"/>
                  </a:lnTo>
                  <a:lnTo>
                    <a:pt x="690" y="420"/>
                  </a:lnTo>
                  <a:lnTo>
                    <a:pt x="696" y="420"/>
                  </a:lnTo>
                  <a:lnTo>
                    <a:pt x="696" y="426"/>
                  </a:lnTo>
                  <a:lnTo>
                    <a:pt x="690" y="426"/>
                  </a:lnTo>
                  <a:lnTo>
                    <a:pt x="696" y="426"/>
                  </a:lnTo>
                  <a:lnTo>
                    <a:pt x="708" y="426"/>
                  </a:lnTo>
                  <a:lnTo>
                    <a:pt x="726" y="414"/>
                  </a:lnTo>
                  <a:lnTo>
                    <a:pt x="732" y="408"/>
                  </a:lnTo>
                  <a:lnTo>
                    <a:pt x="744" y="402"/>
                  </a:lnTo>
                  <a:lnTo>
                    <a:pt x="756" y="402"/>
                  </a:lnTo>
                  <a:lnTo>
                    <a:pt x="768" y="402"/>
                  </a:lnTo>
                  <a:lnTo>
                    <a:pt x="786" y="408"/>
                  </a:lnTo>
                  <a:lnTo>
                    <a:pt x="786" y="414"/>
                  </a:lnTo>
                  <a:lnTo>
                    <a:pt x="774" y="420"/>
                  </a:lnTo>
                  <a:lnTo>
                    <a:pt x="774" y="426"/>
                  </a:lnTo>
                  <a:lnTo>
                    <a:pt x="768" y="432"/>
                  </a:lnTo>
                  <a:lnTo>
                    <a:pt x="762" y="438"/>
                  </a:lnTo>
                  <a:lnTo>
                    <a:pt x="756" y="438"/>
                  </a:lnTo>
                  <a:lnTo>
                    <a:pt x="756" y="444"/>
                  </a:lnTo>
                  <a:lnTo>
                    <a:pt x="756" y="450"/>
                  </a:lnTo>
                  <a:lnTo>
                    <a:pt x="762" y="450"/>
                  </a:lnTo>
                  <a:lnTo>
                    <a:pt x="750" y="456"/>
                  </a:lnTo>
                  <a:lnTo>
                    <a:pt x="738" y="468"/>
                  </a:lnTo>
                  <a:lnTo>
                    <a:pt x="726" y="480"/>
                  </a:lnTo>
                  <a:lnTo>
                    <a:pt x="726" y="486"/>
                  </a:lnTo>
                  <a:lnTo>
                    <a:pt x="732" y="486"/>
                  </a:lnTo>
                  <a:lnTo>
                    <a:pt x="732" y="492"/>
                  </a:lnTo>
                  <a:lnTo>
                    <a:pt x="732" y="504"/>
                  </a:lnTo>
                  <a:lnTo>
                    <a:pt x="738" y="504"/>
                  </a:lnTo>
                  <a:lnTo>
                    <a:pt x="744" y="510"/>
                  </a:lnTo>
                  <a:lnTo>
                    <a:pt x="738" y="522"/>
                  </a:lnTo>
                  <a:lnTo>
                    <a:pt x="744" y="528"/>
                  </a:lnTo>
                  <a:lnTo>
                    <a:pt x="756" y="534"/>
                  </a:lnTo>
                  <a:lnTo>
                    <a:pt x="756" y="540"/>
                  </a:lnTo>
                  <a:lnTo>
                    <a:pt x="744" y="552"/>
                  </a:lnTo>
                  <a:lnTo>
                    <a:pt x="738" y="552"/>
                  </a:lnTo>
                  <a:lnTo>
                    <a:pt x="738" y="558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64"/>
                  </a:lnTo>
                  <a:lnTo>
                    <a:pt x="744" y="576"/>
                  </a:lnTo>
                  <a:lnTo>
                    <a:pt x="738" y="588"/>
                  </a:lnTo>
                  <a:lnTo>
                    <a:pt x="738" y="594"/>
                  </a:lnTo>
                  <a:lnTo>
                    <a:pt x="738" y="600"/>
                  </a:lnTo>
                  <a:lnTo>
                    <a:pt x="738" y="606"/>
                  </a:lnTo>
                  <a:lnTo>
                    <a:pt x="732" y="612"/>
                  </a:lnTo>
                  <a:lnTo>
                    <a:pt x="726" y="624"/>
                  </a:lnTo>
                  <a:lnTo>
                    <a:pt x="726" y="636"/>
                  </a:lnTo>
                  <a:lnTo>
                    <a:pt x="726" y="648"/>
                  </a:lnTo>
                  <a:lnTo>
                    <a:pt x="738" y="654"/>
                  </a:lnTo>
                  <a:lnTo>
                    <a:pt x="750" y="660"/>
                  </a:lnTo>
                  <a:lnTo>
                    <a:pt x="750" y="666"/>
                  </a:lnTo>
                  <a:lnTo>
                    <a:pt x="750" y="678"/>
                  </a:lnTo>
                  <a:lnTo>
                    <a:pt x="744" y="678"/>
                  </a:lnTo>
                  <a:lnTo>
                    <a:pt x="738" y="684"/>
                  </a:lnTo>
                  <a:lnTo>
                    <a:pt x="732" y="684"/>
                  </a:lnTo>
                  <a:lnTo>
                    <a:pt x="720" y="678"/>
                  </a:lnTo>
                  <a:lnTo>
                    <a:pt x="714" y="684"/>
                  </a:lnTo>
                  <a:lnTo>
                    <a:pt x="708" y="684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0" y="690"/>
                  </a:lnTo>
                  <a:lnTo>
                    <a:pt x="690" y="684"/>
                  </a:lnTo>
                  <a:lnTo>
                    <a:pt x="690" y="690"/>
                  </a:lnTo>
                  <a:lnTo>
                    <a:pt x="684" y="690"/>
                  </a:lnTo>
                  <a:lnTo>
                    <a:pt x="684" y="684"/>
                  </a:lnTo>
                  <a:lnTo>
                    <a:pt x="678" y="684"/>
                  </a:lnTo>
                  <a:lnTo>
                    <a:pt x="672" y="678"/>
                  </a:lnTo>
                  <a:lnTo>
                    <a:pt x="672" y="672"/>
                  </a:lnTo>
                  <a:lnTo>
                    <a:pt x="678" y="672"/>
                  </a:lnTo>
                  <a:lnTo>
                    <a:pt x="672" y="672"/>
                  </a:lnTo>
                  <a:lnTo>
                    <a:pt x="666" y="672"/>
                  </a:lnTo>
                  <a:lnTo>
                    <a:pt x="660" y="672"/>
                  </a:lnTo>
                  <a:lnTo>
                    <a:pt x="654" y="672"/>
                  </a:lnTo>
                  <a:lnTo>
                    <a:pt x="654" y="666"/>
                  </a:lnTo>
                  <a:lnTo>
                    <a:pt x="648" y="666"/>
                  </a:lnTo>
                  <a:lnTo>
                    <a:pt x="642" y="660"/>
                  </a:lnTo>
                  <a:lnTo>
                    <a:pt x="642" y="654"/>
                  </a:lnTo>
                  <a:lnTo>
                    <a:pt x="642" y="648"/>
                  </a:lnTo>
                  <a:lnTo>
                    <a:pt x="636" y="648"/>
                  </a:lnTo>
                  <a:lnTo>
                    <a:pt x="630" y="648"/>
                  </a:lnTo>
                  <a:lnTo>
                    <a:pt x="624" y="648"/>
                  </a:lnTo>
                  <a:lnTo>
                    <a:pt x="624" y="642"/>
                  </a:lnTo>
                  <a:lnTo>
                    <a:pt x="618" y="636"/>
                  </a:lnTo>
                  <a:lnTo>
                    <a:pt x="624" y="636"/>
                  </a:lnTo>
                  <a:lnTo>
                    <a:pt x="624" y="630"/>
                  </a:lnTo>
                  <a:lnTo>
                    <a:pt x="618" y="630"/>
                  </a:lnTo>
                  <a:lnTo>
                    <a:pt x="618" y="624"/>
                  </a:lnTo>
                  <a:lnTo>
                    <a:pt x="618" y="618"/>
                  </a:lnTo>
                  <a:lnTo>
                    <a:pt x="618" y="612"/>
                  </a:lnTo>
                  <a:lnTo>
                    <a:pt x="618" y="606"/>
                  </a:lnTo>
                  <a:lnTo>
                    <a:pt x="624" y="606"/>
                  </a:lnTo>
                  <a:lnTo>
                    <a:pt x="624" y="600"/>
                  </a:lnTo>
                  <a:lnTo>
                    <a:pt x="618" y="600"/>
                  </a:lnTo>
                  <a:lnTo>
                    <a:pt x="618" y="594"/>
                  </a:lnTo>
                  <a:lnTo>
                    <a:pt x="618" y="588"/>
                  </a:lnTo>
                  <a:lnTo>
                    <a:pt x="618" y="582"/>
                  </a:lnTo>
                  <a:lnTo>
                    <a:pt x="612" y="582"/>
                  </a:lnTo>
                  <a:lnTo>
                    <a:pt x="606" y="582"/>
                  </a:lnTo>
                  <a:lnTo>
                    <a:pt x="612" y="582"/>
                  </a:lnTo>
                  <a:lnTo>
                    <a:pt x="612" y="588"/>
                  </a:lnTo>
                  <a:lnTo>
                    <a:pt x="612" y="594"/>
                  </a:lnTo>
                  <a:lnTo>
                    <a:pt x="618" y="594"/>
                  </a:lnTo>
                  <a:lnTo>
                    <a:pt x="618" y="600"/>
                  </a:lnTo>
                  <a:lnTo>
                    <a:pt x="618" y="606"/>
                  </a:lnTo>
                  <a:lnTo>
                    <a:pt x="618" y="612"/>
                  </a:lnTo>
                  <a:lnTo>
                    <a:pt x="612" y="612"/>
                  </a:lnTo>
                  <a:lnTo>
                    <a:pt x="612" y="618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94" y="612"/>
                  </a:lnTo>
                  <a:lnTo>
                    <a:pt x="588" y="606"/>
                  </a:lnTo>
                  <a:lnTo>
                    <a:pt x="588" y="612"/>
                  </a:lnTo>
                  <a:lnTo>
                    <a:pt x="594" y="612"/>
                  </a:lnTo>
                  <a:lnTo>
                    <a:pt x="594" y="618"/>
                  </a:lnTo>
                  <a:lnTo>
                    <a:pt x="588" y="618"/>
                  </a:lnTo>
                  <a:lnTo>
                    <a:pt x="588" y="624"/>
                  </a:lnTo>
                  <a:lnTo>
                    <a:pt x="582" y="624"/>
                  </a:lnTo>
                  <a:lnTo>
                    <a:pt x="582" y="630"/>
                  </a:lnTo>
                  <a:lnTo>
                    <a:pt x="576" y="630"/>
                  </a:lnTo>
                  <a:lnTo>
                    <a:pt x="576" y="636"/>
                  </a:lnTo>
                  <a:lnTo>
                    <a:pt x="570" y="636"/>
                  </a:lnTo>
                  <a:lnTo>
                    <a:pt x="570" y="642"/>
                  </a:lnTo>
                  <a:lnTo>
                    <a:pt x="564" y="642"/>
                  </a:lnTo>
                  <a:lnTo>
                    <a:pt x="564" y="636"/>
                  </a:lnTo>
                  <a:lnTo>
                    <a:pt x="564" y="630"/>
                  </a:lnTo>
                  <a:lnTo>
                    <a:pt x="564" y="624"/>
                  </a:lnTo>
                  <a:lnTo>
                    <a:pt x="564" y="618"/>
                  </a:lnTo>
                  <a:lnTo>
                    <a:pt x="570" y="612"/>
                  </a:lnTo>
                  <a:lnTo>
                    <a:pt x="564" y="606"/>
                  </a:lnTo>
                  <a:lnTo>
                    <a:pt x="564" y="600"/>
                  </a:lnTo>
                  <a:lnTo>
                    <a:pt x="564" y="594"/>
                  </a:lnTo>
                  <a:lnTo>
                    <a:pt x="558" y="594"/>
                  </a:lnTo>
                  <a:lnTo>
                    <a:pt x="558" y="588"/>
                  </a:lnTo>
                  <a:lnTo>
                    <a:pt x="552" y="582"/>
                  </a:lnTo>
                  <a:lnTo>
                    <a:pt x="552" y="576"/>
                  </a:lnTo>
                  <a:lnTo>
                    <a:pt x="552" y="570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6" y="582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58" y="588"/>
                  </a:lnTo>
                  <a:lnTo>
                    <a:pt x="558" y="594"/>
                  </a:lnTo>
                  <a:lnTo>
                    <a:pt x="558" y="600"/>
                  </a:lnTo>
                  <a:lnTo>
                    <a:pt x="558" y="606"/>
                  </a:lnTo>
                  <a:lnTo>
                    <a:pt x="552" y="612"/>
                  </a:lnTo>
                  <a:lnTo>
                    <a:pt x="558" y="612"/>
                  </a:lnTo>
                  <a:lnTo>
                    <a:pt x="558" y="618"/>
                  </a:lnTo>
                  <a:lnTo>
                    <a:pt x="558" y="624"/>
                  </a:lnTo>
                  <a:lnTo>
                    <a:pt x="558" y="630"/>
                  </a:lnTo>
                  <a:lnTo>
                    <a:pt x="552" y="630"/>
                  </a:lnTo>
                  <a:lnTo>
                    <a:pt x="552" y="624"/>
                  </a:lnTo>
                  <a:lnTo>
                    <a:pt x="546" y="624"/>
                  </a:lnTo>
                  <a:lnTo>
                    <a:pt x="546" y="618"/>
                  </a:lnTo>
                  <a:lnTo>
                    <a:pt x="546" y="612"/>
                  </a:lnTo>
                  <a:lnTo>
                    <a:pt x="540" y="612"/>
                  </a:lnTo>
                  <a:lnTo>
                    <a:pt x="534" y="612"/>
                  </a:lnTo>
                  <a:lnTo>
                    <a:pt x="528" y="612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28" y="618"/>
                  </a:lnTo>
                  <a:lnTo>
                    <a:pt x="534" y="618"/>
                  </a:lnTo>
                  <a:lnTo>
                    <a:pt x="540" y="618"/>
                  </a:lnTo>
                  <a:lnTo>
                    <a:pt x="540" y="624"/>
                  </a:lnTo>
                  <a:lnTo>
                    <a:pt x="546" y="624"/>
                  </a:lnTo>
                  <a:lnTo>
                    <a:pt x="546" y="630"/>
                  </a:lnTo>
                  <a:lnTo>
                    <a:pt x="552" y="630"/>
                  </a:lnTo>
                  <a:lnTo>
                    <a:pt x="552" y="636"/>
                  </a:lnTo>
                  <a:lnTo>
                    <a:pt x="546" y="642"/>
                  </a:lnTo>
                  <a:lnTo>
                    <a:pt x="546" y="648"/>
                  </a:lnTo>
                  <a:lnTo>
                    <a:pt x="540" y="648"/>
                  </a:lnTo>
                  <a:lnTo>
                    <a:pt x="540" y="654"/>
                  </a:lnTo>
                  <a:lnTo>
                    <a:pt x="540" y="660"/>
                  </a:lnTo>
                  <a:lnTo>
                    <a:pt x="534" y="666"/>
                  </a:lnTo>
                  <a:lnTo>
                    <a:pt x="534" y="672"/>
                  </a:lnTo>
                  <a:lnTo>
                    <a:pt x="534" y="678"/>
                  </a:lnTo>
                  <a:lnTo>
                    <a:pt x="534" y="684"/>
                  </a:lnTo>
                  <a:lnTo>
                    <a:pt x="534" y="678"/>
                  </a:lnTo>
                  <a:lnTo>
                    <a:pt x="528" y="678"/>
                  </a:lnTo>
                  <a:lnTo>
                    <a:pt x="528" y="684"/>
                  </a:lnTo>
                  <a:lnTo>
                    <a:pt x="522" y="690"/>
                  </a:lnTo>
                  <a:lnTo>
                    <a:pt x="528" y="690"/>
                  </a:lnTo>
                  <a:lnTo>
                    <a:pt x="528" y="684"/>
                  </a:lnTo>
                  <a:lnTo>
                    <a:pt x="534" y="684"/>
                  </a:lnTo>
                  <a:lnTo>
                    <a:pt x="534" y="690"/>
                  </a:lnTo>
                  <a:lnTo>
                    <a:pt x="534" y="696"/>
                  </a:lnTo>
                  <a:lnTo>
                    <a:pt x="540" y="696"/>
                  </a:lnTo>
                  <a:lnTo>
                    <a:pt x="540" y="702"/>
                  </a:lnTo>
                  <a:lnTo>
                    <a:pt x="540" y="708"/>
                  </a:lnTo>
                  <a:lnTo>
                    <a:pt x="534" y="708"/>
                  </a:lnTo>
                  <a:lnTo>
                    <a:pt x="528" y="708"/>
                  </a:lnTo>
                  <a:lnTo>
                    <a:pt x="522" y="708"/>
                  </a:lnTo>
                  <a:lnTo>
                    <a:pt x="516" y="708"/>
                  </a:lnTo>
                  <a:lnTo>
                    <a:pt x="510" y="708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2" y="708"/>
                  </a:lnTo>
                  <a:lnTo>
                    <a:pt x="486" y="714"/>
                  </a:lnTo>
                  <a:lnTo>
                    <a:pt x="480" y="708"/>
                  </a:lnTo>
                  <a:lnTo>
                    <a:pt x="474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68" y="714"/>
                  </a:lnTo>
                  <a:lnTo>
                    <a:pt x="456" y="714"/>
                  </a:lnTo>
                  <a:lnTo>
                    <a:pt x="450" y="714"/>
                  </a:lnTo>
                  <a:lnTo>
                    <a:pt x="450" y="708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50" y="690"/>
                  </a:lnTo>
                  <a:lnTo>
                    <a:pt x="450" y="684"/>
                  </a:lnTo>
                  <a:lnTo>
                    <a:pt x="450" y="678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56" y="660"/>
                  </a:lnTo>
                  <a:lnTo>
                    <a:pt x="462" y="660"/>
                  </a:lnTo>
                  <a:lnTo>
                    <a:pt x="462" y="654"/>
                  </a:lnTo>
                  <a:lnTo>
                    <a:pt x="456" y="654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48"/>
                  </a:lnTo>
                  <a:lnTo>
                    <a:pt x="444" y="648"/>
                  </a:lnTo>
                  <a:lnTo>
                    <a:pt x="444" y="642"/>
                  </a:lnTo>
                  <a:lnTo>
                    <a:pt x="444" y="636"/>
                  </a:lnTo>
                  <a:lnTo>
                    <a:pt x="450" y="636"/>
                  </a:lnTo>
                  <a:lnTo>
                    <a:pt x="450" y="630"/>
                  </a:lnTo>
                  <a:lnTo>
                    <a:pt x="456" y="630"/>
                  </a:lnTo>
                  <a:lnTo>
                    <a:pt x="462" y="630"/>
                  </a:lnTo>
                  <a:lnTo>
                    <a:pt x="462" y="624"/>
                  </a:lnTo>
                  <a:lnTo>
                    <a:pt x="468" y="624"/>
                  </a:lnTo>
                  <a:lnTo>
                    <a:pt x="474" y="624"/>
                  </a:lnTo>
                  <a:lnTo>
                    <a:pt x="474" y="618"/>
                  </a:lnTo>
                  <a:lnTo>
                    <a:pt x="480" y="618"/>
                  </a:lnTo>
                  <a:lnTo>
                    <a:pt x="486" y="618"/>
                  </a:lnTo>
                  <a:lnTo>
                    <a:pt x="486" y="624"/>
                  </a:lnTo>
                  <a:lnTo>
                    <a:pt x="486" y="636"/>
                  </a:lnTo>
                  <a:lnTo>
                    <a:pt x="486" y="642"/>
                  </a:lnTo>
                  <a:lnTo>
                    <a:pt x="486" y="648"/>
                  </a:lnTo>
                  <a:lnTo>
                    <a:pt x="492" y="648"/>
                  </a:lnTo>
                  <a:lnTo>
                    <a:pt x="492" y="642"/>
                  </a:lnTo>
                  <a:lnTo>
                    <a:pt x="498" y="636"/>
                  </a:lnTo>
                  <a:lnTo>
                    <a:pt x="492" y="636"/>
                  </a:lnTo>
                  <a:lnTo>
                    <a:pt x="492" y="630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6" y="618"/>
                  </a:lnTo>
                  <a:lnTo>
                    <a:pt x="486" y="612"/>
                  </a:lnTo>
                  <a:lnTo>
                    <a:pt x="486" y="606"/>
                  </a:lnTo>
                  <a:lnTo>
                    <a:pt x="480" y="606"/>
                  </a:lnTo>
                  <a:lnTo>
                    <a:pt x="480" y="612"/>
                  </a:lnTo>
                  <a:lnTo>
                    <a:pt x="474" y="618"/>
                  </a:lnTo>
                  <a:lnTo>
                    <a:pt x="468" y="618"/>
                  </a:lnTo>
                  <a:lnTo>
                    <a:pt x="462" y="618"/>
                  </a:lnTo>
                  <a:lnTo>
                    <a:pt x="462" y="612"/>
                  </a:lnTo>
                  <a:lnTo>
                    <a:pt x="456" y="612"/>
                  </a:lnTo>
                  <a:lnTo>
                    <a:pt x="456" y="618"/>
                  </a:lnTo>
                  <a:lnTo>
                    <a:pt x="462" y="618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30"/>
                  </a:lnTo>
                  <a:lnTo>
                    <a:pt x="444" y="630"/>
                  </a:lnTo>
                  <a:lnTo>
                    <a:pt x="444" y="636"/>
                  </a:lnTo>
                  <a:lnTo>
                    <a:pt x="444" y="642"/>
                  </a:lnTo>
                  <a:lnTo>
                    <a:pt x="444" y="654"/>
                  </a:lnTo>
                  <a:lnTo>
                    <a:pt x="444" y="660"/>
                  </a:lnTo>
                  <a:lnTo>
                    <a:pt x="438" y="660"/>
                  </a:lnTo>
                  <a:lnTo>
                    <a:pt x="432" y="660"/>
                  </a:lnTo>
                  <a:lnTo>
                    <a:pt x="432" y="654"/>
                  </a:lnTo>
                  <a:lnTo>
                    <a:pt x="438" y="654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48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26" y="660"/>
                  </a:lnTo>
                  <a:lnTo>
                    <a:pt x="432" y="666"/>
                  </a:lnTo>
                  <a:lnTo>
                    <a:pt x="432" y="672"/>
                  </a:lnTo>
                  <a:lnTo>
                    <a:pt x="438" y="672"/>
                  </a:lnTo>
                  <a:lnTo>
                    <a:pt x="438" y="678"/>
                  </a:lnTo>
                  <a:lnTo>
                    <a:pt x="444" y="678"/>
                  </a:lnTo>
                  <a:lnTo>
                    <a:pt x="444" y="684"/>
                  </a:lnTo>
                  <a:lnTo>
                    <a:pt x="438" y="690"/>
                  </a:lnTo>
                  <a:lnTo>
                    <a:pt x="438" y="696"/>
                  </a:lnTo>
                  <a:lnTo>
                    <a:pt x="438" y="702"/>
                  </a:lnTo>
                  <a:lnTo>
                    <a:pt x="432" y="702"/>
                  </a:lnTo>
                  <a:lnTo>
                    <a:pt x="426" y="702"/>
                  </a:lnTo>
                  <a:lnTo>
                    <a:pt x="426" y="696"/>
                  </a:lnTo>
                  <a:lnTo>
                    <a:pt x="414" y="696"/>
                  </a:lnTo>
                  <a:lnTo>
                    <a:pt x="402" y="696"/>
                  </a:lnTo>
                  <a:lnTo>
                    <a:pt x="402" y="690"/>
                  </a:lnTo>
                  <a:lnTo>
                    <a:pt x="396" y="690"/>
                  </a:lnTo>
                  <a:lnTo>
                    <a:pt x="390" y="690"/>
                  </a:lnTo>
                  <a:lnTo>
                    <a:pt x="384" y="690"/>
                  </a:lnTo>
                  <a:lnTo>
                    <a:pt x="384" y="684"/>
                  </a:lnTo>
                  <a:lnTo>
                    <a:pt x="384" y="678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390" y="660"/>
                  </a:lnTo>
                  <a:lnTo>
                    <a:pt x="390" y="654"/>
                  </a:lnTo>
                  <a:lnTo>
                    <a:pt x="384" y="648"/>
                  </a:lnTo>
                  <a:lnTo>
                    <a:pt x="384" y="642"/>
                  </a:lnTo>
                  <a:lnTo>
                    <a:pt x="378" y="636"/>
                  </a:lnTo>
                  <a:lnTo>
                    <a:pt x="378" y="642"/>
                  </a:lnTo>
                  <a:lnTo>
                    <a:pt x="378" y="648"/>
                  </a:lnTo>
                  <a:lnTo>
                    <a:pt x="372" y="648"/>
                  </a:lnTo>
                  <a:lnTo>
                    <a:pt x="378" y="654"/>
                  </a:lnTo>
                  <a:lnTo>
                    <a:pt x="378" y="660"/>
                  </a:lnTo>
                  <a:lnTo>
                    <a:pt x="378" y="666"/>
                  </a:lnTo>
                  <a:lnTo>
                    <a:pt x="372" y="672"/>
                  </a:lnTo>
                  <a:lnTo>
                    <a:pt x="378" y="672"/>
                  </a:lnTo>
                  <a:lnTo>
                    <a:pt x="378" y="678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54" y="666"/>
                  </a:lnTo>
                  <a:lnTo>
                    <a:pt x="354" y="660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0" y="654"/>
                  </a:lnTo>
                  <a:lnTo>
                    <a:pt x="324" y="648"/>
                  </a:lnTo>
                  <a:lnTo>
                    <a:pt x="318" y="648"/>
                  </a:lnTo>
                  <a:lnTo>
                    <a:pt x="318" y="642"/>
                  </a:lnTo>
                  <a:lnTo>
                    <a:pt x="312" y="642"/>
                  </a:lnTo>
                  <a:lnTo>
                    <a:pt x="306" y="636"/>
                  </a:lnTo>
                  <a:lnTo>
                    <a:pt x="300" y="636"/>
                  </a:lnTo>
                  <a:lnTo>
                    <a:pt x="300" y="630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0" y="618"/>
                  </a:lnTo>
                  <a:lnTo>
                    <a:pt x="306" y="612"/>
                  </a:lnTo>
                  <a:lnTo>
                    <a:pt x="300" y="612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294" y="612"/>
                  </a:lnTo>
                  <a:lnTo>
                    <a:pt x="288" y="618"/>
                  </a:lnTo>
                  <a:lnTo>
                    <a:pt x="288" y="612"/>
                  </a:lnTo>
                  <a:lnTo>
                    <a:pt x="288" y="618"/>
                  </a:lnTo>
                  <a:lnTo>
                    <a:pt x="294" y="618"/>
                  </a:lnTo>
                  <a:lnTo>
                    <a:pt x="300" y="624"/>
                  </a:lnTo>
                  <a:lnTo>
                    <a:pt x="294" y="624"/>
                  </a:lnTo>
                  <a:lnTo>
                    <a:pt x="288" y="624"/>
                  </a:lnTo>
                  <a:lnTo>
                    <a:pt x="282" y="61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70" y="600"/>
                  </a:lnTo>
                  <a:lnTo>
                    <a:pt x="270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82" y="588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594"/>
                  </a:lnTo>
                  <a:lnTo>
                    <a:pt x="264" y="600"/>
                  </a:lnTo>
                  <a:lnTo>
                    <a:pt x="264" y="594"/>
                  </a:lnTo>
                  <a:lnTo>
                    <a:pt x="270" y="594"/>
                  </a:lnTo>
                  <a:lnTo>
                    <a:pt x="270" y="588"/>
                  </a:lnTo>
                  <a:lnTo>
                    <a:pt x="264" y="594"/>
                  </a:lnTo>
                  <a:lnTo>
                    <a:pt x="258" y="594"/>
                  </a:lnTo>
                  <a:lnTo>
                    <a:pt x="258" y="588"/>
                  </a:lnTo>
                  <a:lnTo>
                    <a:pt x="252" y="588"/>
                  </a:lnTo>
                  <a:lnTo>
                    <a:pt x="246" y="588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52" y="588"/>
                  </a:lnTo>
                  <a:lnTo>
                    <a:pt x="252" y="594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46" y="594"/>
                  </a:lnTo>
                  <a:lnTo>
                    <a:pt x="246" y="588"/>
                  </a:lnTo>
                  <a:lnTo>
                    <a:pt x="240" y="588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2" y="570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64"/>
                  </a:lnTo>
                  <a:lnTo>
                    <a:pt x="234" y="564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34" y="558"/>
                  </a:lnTo>
                  <a:lnTo>
                    <a:pt x="228" y="558"/>
                  </a:lnTo>
                  <a:lnTo>
                    <a:pt x="222" y="558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2" y="564"/>
                  </a:lnTo>
                  <a:lnTo>
                    <a:pt x="222" y="558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04" y="546"/>
                  </a:lnTo>
                  <a:lnTo>
                    <a:pt x="204" y="540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10" y="540"/>
                  </a:lnTo>
                  <a:lnTo>
                    <a:pt x="210" y="534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8"/>
                  </a:lnTo>
                  <a:lnTo>
                    <a:pt x="174" y="516"/>
                  </a:lnTo>
                  <a:lnTo>
                    <a:pt x="168" y="510"/>
                  </a:lnTo>
                  <a:lnTo>
                    <a:pt x="162" y="504"/>
                  </a:lnTo>
                  <a:lnTo>
                    <a:pt x="156" y="498"/>
                  </a:lnTo>
                  <a:lnTo>
                    <a:pt x="156" y="492"/>
                  </a:lnTo>
                  <a:lnTo>
                    <a:pt x="150" y="486"/>
                  </a:lnTo>
                  <a:lnTo>
                    <a:pt x="144" y="480"/>
                  </a:lnTo>
                  <a:lnTo>
                    <a:pt x="144" y="474"/>
                  </a:lnTo>
                  <a:lnTo>
                    <a:pt x="138" y="474"/>
                  </a:lnTo>
                  <a:lnTo>
                    <a:pt x="138" y="468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26" y="450"/>
                  </a:lnTo>
                  <a:lnTo>
                    <a:pt x="126" y="444"/>
                  </a:lnTo>
                  <a:lnTo>
                    <a:pt x="114" y="438"/>
                  </a:lnTo>
                  <a:lnTo>
                    <a:pt x="114" y="432"/>
                  </a:lnTo>
                  <a:lnTo>
                    <a:pt x="114" y="426"/>
                  </a:lnTo>
                  <a:lnTo>
                    <a:pt x="114" y="432"/>
                  </a:lnTo>
                  <a:lnTo>
                    <a:pt x="120" y="432"/>
                  </a:lnTo>
                  <a:lnTo>
                    <a:pt x="120" y="438"/>
                  </a:lnTo>
                  <a:lnTo>
                    <a:pt x="120" y="444"/>
                  </a:lnTo>
                  <a:lnTo>
                    <a:pt x="126" y="444"/>
                  </a:lnTo>
                  <a:lnTo>
                    <a:pt x="126" y="438"/>
                  </a:lnTo>
                  <a:lnTo>
                    <a:pt x="120" y="438"/>
                  </a:lnTo>
                  <a:lnTo>
                    <a:pt x="126" y="432"/>
                  </a:lnTo>
                  <a:lnTo>
                    <a:pt x="126" y="426"/>
                  </a:lnTo>
                  <a:lnTo>
                    <a:pt x="132" y="420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08" y="414"/>
                  </a:lnTo>
                  <a:lnTo>
                    <a:pt x="102" y="414"/>
                  </a:lnTo>
                  <a:lnTo>
                    <a:pt x="102" y="408"/>
                  </a:lnTo>
                  <a:lnTo>
                    <a:pt x="96" y="402"/>
                  </a:lnTo>
                  <a:lnTo>
                    <a:pt x="96" y="396"/>
                  </a:lnTo>
                  <a:lnTo>
                    <a:pt x="96" y="390"/>
                  </a:lnTo>
                  <a:lnTo>
                    <a:pt x="90" y="390"/>
                  </a:lnTo>
                  <a:lnTo>
                    <a:pt x="90" y="384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78" y="372"/>
                  </a:lnTo>
                  <a:lnTo>
                    <a:pt x="78" y="366"/>
                  </a:lnTo>
                  <a:lnTo>
                    <a:pt x="78" y="360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6" y="348"/>
                  </a:lnTo>
                  <a:lnTo>
                    <a:pt x="66" y="342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6" y="336"/>
                  </a:lnTo>
                  <a:lnTo>
                    <a:pt x="66" y="342"/>
                  </a:lnTo>
                  <a:lnTo>
                    <a:pt x="72" y="348"/>
                  </a:lnTo>
                  <a:lnTo>
                    <a:pt x="78" y="354"/>
                  </a:lnTo>
                  <a:lnTo>
                    <a:pt x="84" y="360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0" y="360"/>
                  </a:lnTo>
                  <a:lnTo>
                    <a:pt x="84" y="360"/>
                  </a:lnTo>
                  <a:lnTo>
                    <a:pt x="84" y="354"/>
                  </a:lnTo>
                  <a:lnTo>
                    <a:pt x="78" y="348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66" y="330"/>
                  </a:lnTo>
                  <a:lnTo>
                    <a:pt x="66" y="324"/>
                  </a:lnTo>
                  <a:lnTo>
                    <a:pt x="60" y="318"/>
                  </a:lnTo>
                  <a:lnTo>
                    <a:pt x="60" y="312"/>
                  </a:lnTo>
                  <a:lnTo>
                    <a:pt x="54" y="306"/>
                  </a:lnTo>
                  <a:lnTo>
                    <a:pt x="54" y="300"/>
                  </a:lnTo>
                  <a:lnTo>
                    <a:pt x="54" y="294"/>
                  </a:lnTo>
                  <a:lnTo>
                    <a:pt x="48" y="288"/>
                  </a:lnTo>
                  <a:lnTo>
                    <a:pt x="48" y="294"/>
                  </a:lnTo>
                  <a:lnTo>
                    <a:pt x="48" y="288"/>
                  </a:lnTo>
                  <a:lnTo>
                    <a:pt x="48" y="282"/>
                  </a:lnTo>
                  <a:lnTo>
                    <a:pt x="48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18" y="216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62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68"/>
                  </a:lnTo>
                  <a:lnTo>
                    <a:pt x="42" y="168"/>
                  </a:lnTo>
                  <a:lnTo>
                    <a:pt x="42" y="174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86"/>
                  </a:lnTo>
                  <a:close/>
                  <a:moveTo>
                    <a:pt x="642" y="660"/>
                  </a:moveTo>
                  <a:lnTo>
                    <a:pt x="642" y="666"/>
                  </a:lnTo>
                  <a:lnTo>
                    <a:pt x="648" y="666"/>
                  </a:lnTo>
                  <a:lnTo>
                    <a:pt x="648" y="672"/>
                  </a:lnTo>
                  <a:lnTo>
                    <a:pt x="648" y="678"/>
                  </a:lnTo>
                  <a:lnTo>
                    <a:pt x="654" y="678"/>
                  </a:lnTo>
                  <a:lnTo>
                    <a:pt x="654" y="684"/>
                  </a:lnTo>
                  <a:lnTo>
                    <a:pt x="660" y="684"/>
                  </a:lnTo>
                  <a:lnTo>
                    <a:pt x="660" y="690"/>
                  </a:lnTo>
                  <a:lnTo>
                    <a:pt x="654" y="690"/>
                  </a:lnTo>
                  <a:lnTo>
                    <a:pt x="648" y="690"/>
                  </a:lnTo>
                  <a:lnTo>
                    <a:pt x="636" y="696"/>
                  </a:lnTo>
                  <a:lnTo>
                    <a:pt x="630" y="696"/>
                  </a:lnTo>
                  <a:lnTo>
                    <a:pt x="624" y="696"/>
                  </a:lnTo>
                  <a:lnTo>
                    <a:pt x="618" y="696"/>
                  </a:lnTo>
                  <a:lnTo>
                    <a:pt x="612" y="696"/>
                  </a:lnTo>
                  <a:lnTo>
                    <a:pt x="594" y="696"/>
                  </a:lnTo>
                  <a:lnTo>
                    <a:pt x="588" y="696"/>
                  </a:lnTo>
                  <a:lnTo>
                    <a:pt x="582" y="696"/>
                  </a:lnTo>
                  <a:lnTo>
                    <a:pt x="570" y="702"/>
                  </a:lnTo>
                  <a:lnTo>
                    <a:pt x="564" y="702"/>
                  </a:lnTo>
                  <a:lnTo>
                    <a:pt x="558" y="702"/>
                  </a:lnTo>
                  <a:lnTo>
                    <a:pt x="552" y="702"/>
                  </a:lnTo>
                  <a:lnTo>
                    <a:pt x="552" y="696"/>
                  </a:lnTo>
                  <a:lnTo>
                    <a:pt x="546" y="696"/>
                  </a:lnTo>
                  <a:lnTo>
                    <a:pt x="546" y="690"/>
                  </a:lnTo>
                  <a:lnTo>
                    <a:pt x="552" y="684"/>
                  </a:lnTo>
                  <a:lnTo>
                    <a:pt x="552" y="678"/>
                  </a:lnTo>
                  <a:lnTo>
                    <a:pt x="558" y="672"/>
                  </a:lnTo>
                  <a:lnTo>
                    <a:pt x="558" y="666"/>
                  </a:lnTo>
                  <a:lnTo>
                    <a:pt x="564" y="666"/>
                  </a:lnTo>
                  <a:lnTo>
                    <a:pt x="570" y="666"/>
                  </a:lnTo>
                  <a:lnTo>
                    <a:pt x="570" y="654"/>
                  </a:lnTo>
                  <a:lnTo>
                    <a:pt x="570" y="648"/>
                  </a:lnTo>
                  <a:lnTo>
                    <a:pt x="582" y="642"/>
                  </a:lnTo>
                  <a:lnTo>
                    <a:pt x="582" y="636"/>
                  </a:lnTo>
                  <a:lnTo>
                    <a:pt x="588" y="636"/>
                  </a:lnTo>
                  <a:lnTo>
                    <a:pt x="588" y="630"/>
                  </a:lnTo>
                  <a:lnTo>
                    <a:pt x="594" y="624"/>
                  </a:lnTo>
                  <a:lnTo>
                    <a:pt x="594" y="618"/>
                  </a:lnTo>
                  <a:lnTo>
                    <a:pt x="600" y="618"/>
                  </a:lnTo>
                  <a:lnTo>
                    <a:pt x="600" y="612"/>
                  </a:lnTo>
                  <a:lnTo>
                    <a:pt x="606" y="612"/>
                  </a:lnTo>
                  <a:lnTo>
                    <a:pt x="606" y="618"/>
                  </a:lnTo>
                  <a:lnTo>
                    <a:pt x="612" y="618"/>
                  </a:lnTo>
                  <a:lnTo>
                    <a:pt x="618" y="618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18" y="636"/>
                  </a:lnTo>
                  <a:lnTo>
                    <a:pt x="618" y="642"/>
                  </a:lnTo>
                  <a:lnTo>
                    <a:pt x="618" y="648"/>
                  </a:lnTo>
                  <a:lnTo>
                    <a:pt x="624" y="648"/>
                  </a:lnTo>
                  <a:lnTo>
                    <a:pt x="630" y="648"/>
                  </a:lnTo>
                  <a:lnTo>
                    <a:pt x="636" y="654"/>
                  </a:lnTo>
                  <a:lnTo>
                    <a:pt x="642" y="654"/>
                  </a:lnTo>
                  <a:lnTo>
                    <a:pt x="642" y="66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0" name="Freeform 5">
              <a:extLst>
                <a:ext uri="{FF2B5EF4-FFF2-40B4-BE49-F238E27FC236}">
                  <a16:creationId xmlns:a16="http://schemas.microsoft.com/office/drawing/2014/main" id="{5577BDCA-F2C7-42E0-A391-018D79AA29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0384" y="4231013"/>
              <a:ext cx="404750" cy="480848"/>
            </a:xfrm>
            <a:custGeom>
              <a:avLst/>
              <a:gdLst>
                <a:gd name="T0" fmla="*/ 9 w 762"/>
                <a:gd name="T1" fmla="*/ 58 h 900"/>
                <a:gd name="T2" fmla="*/ 4 w 762"/>
                <a:gd name="T3" fmla="*/ 56 h 900"/>
                <a:gd name="T4" fmla="*/ 0 w 762"/>
                <a:gd name="T5" fmla="*/ 49 h 900"/>
                <a:gd name="T6" fmla="*/ 4 w 762"/>
                <a:gd name="T7" fmla="*/ 36 h 900"/>
                <a:gd name="T8" fmla="*/ 8 w 762"/>
                <a:gd name="T9" fmla="*/ 28 h 900"/>
                <a:gd name="T10" fmla="*/ 7 w 762"/>
                <a:gd name="T11" fmla="*/ 13 h 900"/>
                <a:gd name="T12" fmla="*/ 15 w 762"/>
                <a:gd name="T13" fmla="*/ 0 h 900"/>
                <a:gd name="T14" fmla="*/ 16 w 762"/>
                <a:gd name="T15" fmla="*/ 13 h 900"/>
                <a:gd name="T16" fmla="*/ 31 w 762"/>
                <a:gd name="T17" fmla="*/ 28 h 900"/>
                <a:gd name="T18" fmla="*/ 49 w 762"/>
                <a:gd name="T19" fmla="*/ 33 h 900"/>
                <a:gd name="T20" fmla="*/ 42 w 762"/>
                <a:gd name="T21" fmla="*/ 48 h 900"/>
                <a:gd name="T22" fmla="*/ 51 w 762"/>
                <a:gd name="T23" fmla="*/ 48 h 900"/>
                <a:gd name="T24" fmla="*/ 61 w 762"/>
                <a:gd name="T25" fmla="*/ 51 h 900"/>
                <a:gd name="T26" fmla="*/ 63 w 762"/>
                <a:gd name="T27" fmla="*/ 60 h 900"/>
                <a:gd name="T28" fmla="*/ 63 w 762"/>
                <a:gd name="T29" fmla="*/ 66 h 900"/>
                <a:gd name="T30" fmla="*/ 65 w 762"/>
                <a:gd name="T31" fmla="*/ 69 h 900"/>
                <a:gd name="T32" fmla="*/ 66 w 762"/>
                <a:gd name="T33" fmla="*/ 72 h 900"/>
                <a:gd name="T34" fmla="*/ 56 w 762"/>
                <a:gd name="T35" fmla="*/ 73 h 900"/>
                <a:gd name="T36" fmla="*/ 55 w 762"/>
                <a:gd name="T37" fmla="*/ 69 h 900"/>
                <a:gd name="T38" fmla="*/ 57 w 762"/>
                <a:gd name="T39" fmla="*/ 67 h 900"/>
                <a:gd name="T40" fmla="*/ 55 w 762"/>
                <a:gd name="T41" fmla="*/ 65 h 900"/>
                <a:gd name="T42" fmla="*/ 53 w 762"/>
                <a:gd name="T43" fmla="*/ 68 h 900"/>
                <a:gd name="T44" fmla="*/ 49 w 762"/>
                <a:gd name="T45" fmla="*/ 68 h 900"/>
                <a:gd name="T46" fmla="*/ 44 w 762"/>
                <a:gd name="T47" fmla="*/ 63 h 900"/>
                <a:gd name="T48" fmla="*/ 40 w 762"/>
                <a:gd name="T49" fmla="*/ 59 h 900"/>
                <a:gd name="T50" fmla="*/ 38 w 762"/>
                <a:gd name="T51" fmla="*/ 57 h 900"/>
                <a:gd name="T52" fmla="*/ 43 w 762"/>
                <a:gd name="T53" fmla="*/ 62 h 900"/>
                <a:gd name="T54" fmla="*/ 43 w 762"/>
                <a:gd name="T55" fmla="*/ 66 h 900"/>
                <a:gd name="T56" fmla="*/ 41 w 762"/>
                <a:gd name="T57" fmla="*/ 71 h 900"/>
                <a:gd name="T58" fmla="*/ 37 w 762"/>
                <a:gd name="T59" fmla="*/ 69 h 900"/>
                <a:gd name="T60" fmla="*/ 35 w 762"/>
                <a:gd name="T61" fmla="*/ 64 h 900"/>
                <a:gd name="T62" fmla="*/ 31 w 762"/>
                <a:gd name="T63" fmla="*/ 57 h 900"/>
                <a:gd name="T64" fmla="*/ 30 w 762"/>
                <a:gd name="T65" fmla="*/ 62 h 900"/>
                <a:gd name="T66" fmla="*/ 29 w 762"/>
                <a:gd name="T67" fmla="*/ 61 h 900"/>
                <a:gd name="T68" fmla="*/ 31 w 762"/>
                <a:gd name="T69" fmla="*/ 66 h 900"/>
                <a:gd name="T70" fmla="*/ 33 w 762"/>
                <a:gd name="T71" fmla="*/ 72 h 900"/>
                <a:gd name="T72" fmla="*/ 32 w 762"/>
                <a:gd name="T73" fmla="*/ 76 h 900"/>
                <a:gd name="T74" fmla="*/ 28 w 762"/>
                <a:gd name="T75" fmla="*/ 75 h 900"/>
                <a:gd name="T76" fmla="*/ 24 w 762"/>
                <a:gd name="T77" fmla="*/ 69 h 900"/>
                <a:gd name="T78" fmla="*/ 24 w 762"/>
                <a:gd name="T79" fmla="*/ 62 h 900"/>
                <a:gd name="T80" fmla="*/ 23 w 762"/>
                <a:gd name="T81" fmla="*/ 62 h 900"/>
                <a:gd name="T82" fmla="*/ 23 w 762"/>
                <a:gd name="T83" fmla="*/ 68 h 900"/>
                <a:gd name="T84" fmla="*/ 25 w 762"/>
                <a:gd name="T85" fmla="*/ 77 h 900"/>
                <a:gd name="T86" fmla="*/ 17 w 762"/>
                <a:gd name="T87" fmla="*/ 74 h 900"/>
                <a:gd name="T88" fmla="*/ 17 w 762"/>
                <a:gd name="T89" fmla="*/ 67 h 900"/>
                <a:gd name="T90" fmla="*/ 16 w 762"/>
                <a:gd name="T91" fmla="*/ 67 h 900"/>
                <a:gd name="T92" fmla="*/ 15 w 762"/>
                <a:gd name="T93" fmla="*/ 71 h 900"/>
                <a:gd name="T94" fmla="*/ 12 w 762"/>
                <a:gd name="T95" fmla="*/ 68 h 900"/>
                <a:gd name="T96" fmla="*/ 15 w 762"/>
                <a:gd name="T97" fmla="*/ 72 h 900"/>
                <a:gd name="T98" fmla="*/ 17 w 762"/>
                <a:gd name="T99" fmla="*/ 77 h 900"/>
                <a:gd name="T100" fmla="*/ 11 w 762"/>
                <a:gd name="T101" fmla="*/ 77 h 900"/>
                <a:gd name="T102" fmla="*/ 10 w 762"/>
                <a:gd name="T103" fmla="*/ 69 h 900"/>
                <a:gd name="T104" fmla="*/ 11 w 762"/>
                <a:gd name="T105" fmla="*/ 72 h 900"/>
                <a:gd name="T106" fmla="*/ 9 w 762"/>
                <a:gd name="T107" fmla="*/ 78 h 900"/>
                <a:gd name="T108" fmla="*/ 43 w 762"/>
                <a:gd name="T109" fmla="*/ 71 h 900"/>
                <a:gd name="T110" fmla="*/ 51 w 762"/>
                <a:gd name="T111" fmla="*/ 69 h 900"/>
                <a:gd name="T112" fmla="*/ 43 w 762"/>
                <a:gd name="T113" fmla="*/ 76 h 900"/>
                <a:gd name="T114" fmla="*/ 36 w 762"/>
                <a:gd name="T115" fmla="*/ 65 h 900"/>
                <a:gd name="T116" fmla="*/ 38 w 762"/>
                <a:gd name="T117" fmla="*/ 72 h 900"/>
                <a:gd name="T118" fmla="*/ 34 w 762"/>
                <a:gd name="T119" fmla="*/ 69 h 900"/>
                <a:gd name="T120" fmla="*/ 29 w 762"/>
                <a:gd name="T121" fmla="*/ 64 h 900"/>
                <a:gd name="T122" fmla="*/ 32 w 762"/>
                <a:gd name="T123" fmla="*/ 66 h 9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900"/>
                <a:gd name="T188" fmla="*/ 762 w 762"/>
                <a:gd name="T189" fmla="*/ 900 h 90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900">
                  <a:moveTo>
                    <a:pt x="90" y="768"/>
                  </a:moveTo>
                  <a:lnTo>
                    <a:pt x="102" y="756"/>
                  </a:lnTo>
                  <a:lnTo>
                    <a:pt x="102" y="750"/>
                  </a:lnTo>
                  <a:lnTo>
                    <a:pt x="90" y="744"/>
                  </a:lnTo>
                  <a:lnTo>
                    <a:pt x="84" y="738"/>
                  </a:lnTo>
                  <a:lnTo>
                    <a:pt x="90" y="726"/>
                  </a:lnTo>
                  <a:lnTo>
                    <a:pt x="84" y="720"/>
                  </a:lnTo>
                  <a:lnTo>
                    <a:pt x="78" y="720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72" y="702"/>
                  </a:lnTo>
                  <a:lnTo>
                    <a:pt x="72" y="696"/>
                  </a:lnTo>
                  <a:lnTo>
                    <a:pt x="84" y="684"/>
                  </a:lnTo>
                  <a:lnTo>
                    <a:pt x="96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102" y="654"/>
                  </a:lnTo>
                  <a:lnTo>
                    <a:pt x="108" y="654"/>
                  </a:lnTo>
                  <a:lnTo>
                    <a:pt x="114" y="648"/>
                  </a:lnTo>
                  <a:lnTo>
                    <a:pt x="120" y="642"/>
                  </a:lnTo>
                  <a:lnTo>
                    <a:pt x="120" y="636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14" y="618"/>
                  </a:lnTo>
                  <a:lnTo>
                    <a:pt x="102" y="618"/>
                  </a:lnTo>
                  <a:lnTo>
                    <a:pt x="90" y="618"/>
                  </a:lnTo>
                  <a:lnTo>
                    <a:pt x="78" y="624"/>
                  </a:lnTo>
                  <a:lnTo>
                    <a:pt x="72" y="630"/>
                  </a:lnTo>
                  <a:lnTo>
                    <a:pt x="54" y="642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42" y="642"/>
                  </a:lnTo>
                  <a:lnTo>
                    <a:pt x="42" y="636"/>
                  </a:lnTo>
                  <a:lnTo>
                    <a:pt x="36" y="636"/>
                  </a:lnTo>
                  <a:lnTo>
                    <a:pt x="30" y="642"/>
                  </a:lnTo>
                  <a:lnTo>
                    <a:pt x="30" y="636"/>
                  </a:lnTo>
                  <a:lnTo>
                    <a:pt x="30" y="630"/>
                  </a:lnTo>
                  <a:lnTo>
                    <a:pt x="24" y="630"/>
                  </a:lnTo>
                  <a:lnTo>
                    <a:pt x="30" y="624"/>
                  </a:lnTo>
                  <a:lnTo>
                    <a:pt x="30" y="618"/>
                  </a:lnTo>
                  <a:lnTo>
                    <a:pt x="30" y="612"/>
                  </a:lnTo>
                  <a:lnTo>
                    <a:pt x="36" y="612"/>
                  </a:lnTo>
                  <a:lnTo>
                    <a:pt x="36" y="606"/>
                  </a:lnTo>
                  <a:lnTo>
                    <a:pt x="30" y="606"/>
                  </a:lnTo>
                  <a:lnTo>
                    <a:pt x="24" y="612"/>
                  </a:lnTo>
                  <a:lnTo>
                    <a:pt x="18" y="606"/>
                  </a:lnTo>
                  <a:lnTo>
                    <a:pt x="12" y="594"/>
                  </a:lnTo>
                  <a:lnTo>
                    <a:pt x="6" y="582"/>
                  </a:lnTo>
                  <a:lnTo>
                    <a:pt x="6" y="570"/>
                  </a:lnTo>
                  <a:lnTo>
                    <a:pt x="0" y="558"/>
                  </a:lnTo>
                  <a:lnTo>
                    <a:pt x="6" y="552"/>
                  </a:lnTo>
                  <a:lnTo>
                    <a:pt x="6" y="534"/>
                  </a:lnTo>
                  <a:lnTo>
                    <a:pt x="18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12" y="480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54" y="408"/>
                  </a:lnTo>
                  <a:lnTo>
                    <a:pt x="54" y="396"/>
                  </a:lnTo>
                  <a:lnTo>
                    <a:pt x="54" y="384"/>
                  </a:lnTo>
                  <a:lnTo>
                    <a:pt x="60" y="378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66"/>
                  </a:lnTo>
                  <a:lnTo>
                    <a:pt x="60" y="360"/>
                  </a:lnTo>
                  <a:lnTo>
                    <a:pt x="66" y="360"/>
                  </a:lnTo>
                  <a:lnTo>
                    <a:pt x="72" y="354"/>
                  </a:lnTo>
                  <a:lnTo>
                    <a:pt x="78" y="354"/>
                  </a:lnTo>
                  <a:lnTo>
                    <a:pt x="84" y="348"/>
                  </a:lnTo>
                  <a:lnTo>
                    <a:pt x="96" y="348"/>
                  </a:lnTo>
                  <a:lnTo>
                    <a:pt x="96" y="342"/>
                  </a:lnTo>
                  <a:lnTo>
                    <a:pt x="96" y="336"/>
                  </a:lnTo>
                  <a:lnTo>
                    <a:pt x="96" y="330"/>
                  </a:lnTo>
                  <a:lnTo>
                    <a:pt x="96" y="324"/>
                  </a:lnTo>
                  <a:lnTo>
                    <a:pt x="102" y="318"/>
                  </a:lnTo>
                  <a:lnTo>
                    <a:pt x="108" y="312"/>
                  </a:lnTo>
                  <a:lnTo>
                    <a:pt x="96" y="306"/>
                  </a:lnTo>
                  <a:lnTo>
                    <a:pt x="84" y="288"/>
                  </a:lnTo>
                  <a:lnTo>
                    <a:pt x="108" y="258"/>
                  </a:lnTo>
                  <a:lnTo>
                    <a:pt x="102" y="222"/>
                  </a:lnTo>
                  <a:lnTo>
                    <a:pt x="84" y="222"/>
                  </a:lnTo>
                  <a:lnTo>
                    <a:pt x="54" y="216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2"/>
                  </a:lnTo>
                  <a:lnTo>
                    <a:pt x="72" y="192"/>
                  </a:lnTo>
                  <a:lnTo>
                    <a:pt x="84" y="186"/>
                  </a:lnTo>
                  <a:lnTo>
                    <a:pt x="90" y="186"/>
                  </a:lnTo>
                  <a:lnTo>
                    <a:pt x="90" y="174"/>
                  </a:lnTo>
                  <a:lnTo>
                    <a:pt x="84" y="162"/>
                  </a:lnTo>
                  <a:lnTo>
                    <a:pt x="84" y="150"/>
                  </a:lnTo>
                  <a:lnTo>
                    <a:pt x="84" y="126"/>
                  </a:lnTo>
                  <a:lnTo>
                    <a:pt x="84" y="114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8" y="96"/>
                  </a:lnTo>
                  <a:lnTo>
                    <a:pt x="120" y="90"/>
                  </a:lnTo>
                  <a:lnTo>
                    <a:pt x="126" y="78"/>
                  </a:lnTo>
                  <a:lnTo>
                    <a:pt x="138" y="66"/>
                  </a:lnTo>
                  <a:lnTo>
                    <a:pt x="138" y="48"/>
                  </a:lnTo>
                  <a:lnTo>
                    <a:pt x="138" y="42"/>
                  </a:lnTo>
                  <a:lnTo>
                    <a:pt x="126" y="30"/>
                  </a:lnTo>
                  <a:lnTo>
                    <a:pt x="120" y="18"/>
                  </a:lnTo>
                  <a:lnTo>
                    <a:pt x="132" y="12"/>
                  </a:lnTo>
                  <a:lnTo>
                    <a:pt x="144" y="0"/>
                  </a:lnTo>
                  <a:lnTo>
                    <a:pt x="150" y="6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6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74" y="66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68" y="72"/>
                  </a:lnTo>
                  <a:lnTo>
                    <a:pt x="156" y="150"/>
                  </a:lnTo>
                  <a:lnTo>
                    <a:pt x="168" y="144"/>
                  </a:lnTo>
                  <a:lnTo>
                    <a:pt x="180" y="150"/>
                  </a:lnTo>
                  <a:lnTo>
                    <a:pt x="186" y="150"/>
                  </a:lnTo>
                  <a:lnTo>
                    <a:pt x="186" y="144"/>
                  </a:lnTo>
                  <a:lnTo>
                    <a:pt x="192" y="150"/>
                  </a:lnTo>
                  <a:lnTo>
                    <a:pt x="222" y="150"/>
                  </a:lnTo>
                  <a:lnTo>
                    <a:pt x="222" y="168"/>
                  </a:lnTo>
                  <a:lnTo>
                    <a:pt x="222" y="186"/>
                  </a:lnTo>
                  <a:lnTo>
                    <a:pt x="234" y="198"/>
                  </a:lnTo>
                  <a:lnTo>
                    <a:pt x="234" y="234"/>
                  </a:lnTo>
                  <a:lnTo>
                    <a:pt x="228" y="270"/>
                  </a:lnTo>
                  <a:lnTo>
                    <a:pt x="246" y="282"/>
                  </a:lnTo>
                  <a:lnTo>
                    <a:pt x="258" y="294"/>
                  </a:lnTo>
                  <a:lnTo>
                    <a:pt x="270" y="300"/>
                  </a:lnTo>
                  <a:lnTo>
                    <a:pt x="294" y="300"/>
                  </a:lnTo>
                  <a:lnTo>
                    <a:pt x="288" y="306"/>
                  </a:lnTo>
                  <a:lnTo>
                    <a:pt x="300" y="312"/>
                  </a:lnTo>
                  <a:lnTo>
                    <a:pt x="306" y="318"/>
                  </a:lnTo>
                  <a:lnTo>
                    <a:pt x="324" y="324"/>
                  </a:lnTo>
                  <a:lnTo>
                    <a:pt x="354" y="318"/>
                  </a:lnTo>
                  <a:lnTo>
                    <a:pt x="354" y="312"/>
                  </a:lnTo>
                  <a:lnTo>
                    <a:pt x="366" y="312"/>
                  </a:lnTo>
                  <a:lnTo>
                    <a:pt x="384" y="312"/>
                  </a:lnTo>
                  <a:lnTo>
                    <a:pt x="390" y="306"/>
                  </a:lnTo>
                  <a:lnTo>
                    <a:pt x="396" y="306"/>
                  </a:lnTo>
                  <a:lnTo>
                    <a:pt x="408" y="306"/>
                  </a:lnTo>
                  <a:lnTo>
                    <a:pt x="426" y="312"/>
                  </a:lnTo>
                  <a:lnTo>
                    <a:pt x="456" y="324"/>
                  </a:lnTo>
                  <a:lnTo>
                    <a:pt x="504" y="330"/>
                  </a:lnTo>
                  <a:lnTo>
                    <a:pt x="510" y="336"/>
                  </a:lnTo>
                  <a:lnTo>
                    <a:pt x="534" y="336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58" y="330"/>
                  </a:lnTo>
                  <a:lnTo>
                    <a:pt x="564" y="330"/>
                  </a:lnTo>
                  <a:lnTo>
                    <a:pt x="570" y="354"/>
                  </a:lnTo>
                  <a:lnTo>
                    <a:pt x="564" y="378"/>
                  </a:lnTo>
                  <a:lnTo>
                    <a:pt x="558" y="396"/>
                  </a:lnTo>
                  <a:lnTo>
                    <a:pt x="546" y="414"/>
                  </a:lnTo>
                  <a:lnTo>
                    <a:pt x="546" y="438"/>
                  </a:lnTo>
                  <a:lnTo>
                    <a:pt x="540" y="456"/>
                  </a:lnTo>
                  <a:lnTo>
                    <a:pt x="540" y="474"/>
                  </a:lnTo>
                  <a:lnTo>
                    <a:pt x="528" y="480"/>
                  </a:lnTo>
                  <a:lnTo>
                    <a:pt x="522" y="492"/>
                  </a:lnTo>
                  <a:lnTo>
                    <a:pt x="504" y="498"/>
                  </a:lnTo>
                  <a:lnTo>
                    <a:pt x="498" y="498"/>
                  </a:lnTo>
                  <a:lnTo>
                    <a:pt x="492" y="504"/>
                  </a:lnTo>
                  <a:lnTo>
                    <a:pt x="486" y="510"/>
                  </a:lnTo>
                  <a:lnTo>
                    <a:pt x="480" y="510"/>
                  </a:lnTo>
                  <a:lnTo>
                    <a:pt x="480" y="516"/>
                  </a:lnTo>
                  <a:lnTo>
                    <a:pt x="474" y="522"/>
                  </a:lnTo>
                  <a:lnTo>
                    <a:pt x="474" y="528"/>
                  </a:lnTo>
                  <a:lnTo>
                    <a:pt x="474" y="534"/>
                  </a:lnTo>
                  <a:lnTo>
                    <a:pt x="480" y="540"/>
                  </a:lnTo>
                  <a:lnTo>
                    <a:pt x="492" y="540"/>
                  </a:lnTo>
                  <a:lnTo>
                    <a:pt x="498" y="546"/>
                  </a:lnTo>
                  <a:lnTo>
                    <a:pt x="504" y="552"/>
                  </a:lnTo>
                  <a:lnTo>
                    <a:pt x="510" y="552"/>
                  </a:lnTo>
                  <a:lnTo>
                    <a:pt x="516" y="558"/>
                  </a:lnTo>
                  <a:lnTo>
                    <a:pt x="528" y="558"/>
                  </a:lnTo>
                  <a:lnTo>
                    <a:pt x="534" y="552"/>
                  </a:lnTo>
                  <a:lnTo>
                    <a:pt x="540" y="552"/>
                  </a:lnTo>
                  <a:lnTo>
                    <a:pt x="546" y="552"/>
                  </a:lnTo>
                  <a:lnTo>
                    <a:pt x="558" y="546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70" y="546"/>
                  </a:lnTo>
                  <a:lnTo>
                    <a:pt x="570" y="540"/>
                  </a:lnTo>
                  <a:lnTo>
                    <a:pt x="570" y="546"/>
                  </a:lnTo>
                  <a:lnTo>
                    <a:pt x="576" y="546"/>
                  </a:lnTo>
                  <a:lnTo>
                    <a:pt x="582" y="546"/>
                  </a:lnTo>
                  <a:lnTo>
                    <a:pt x="588" y="540"/>
                  </a:lnTo>
                  <a:lnTo>
                    <a:pt x="594" y="546"/>
                  </a:lnTo>
                  <a:lnTo>
                    <a:pt x="606" y="546"/>
                  </a:lnTo>
                  <a:lnTo>
                    <a:pt x="612" y="546"/>
                  </a:lnTo>
                  <a:lnTo>
                    <a:pt x="612" y="552"/>
                  </a:lnTo>
                  <a:lnTo>
                    <a:pt x="618" y="552"/>
                  </a:lnTo>
                  <a:lnTo>
                    <a:pt x="624" y="552"/>
                  </a:lnTo>
                  <a:lnTo>
                    <a:pt x="630" y="552"/>
                  </a:lnTo>
                  <a:lnTo>
                    <a:pt x="648" y="546"/>
                  </a:lnTo>
                  <a:lnTo>
                    <a:pt x="654" y="546"/>
                  </a:lnTo>
                  <a:lnTo>
                    <a:pt x="654" y="552"/>
                  </a:lnTo>
                  <a:lnTo>
                    <a:pt x="660" y="558"/>
                  </a:lnTo>
                  <a:lnTo>
                    <a:pt x="666" y="564"/>
                  </a:lnTo>
                  <a:lnTo>
                    <a:pt x="672" y="564"/>
                  </a:lnTo>
                  <a:lnTo>
                    <a:pt x="678" y="564"/>
                  </a:lnTo>
                  <a:lnTo>
                    <a:pt x="696" y="576"/>
                  </a:lnTo>
                  <a:lnTo>
                    <a:pt x="696" y="582"/>
                  </a:lnTo>
                  <a:lnTo>
                    <a:pt x="708" y="588"/>
                  </a:lnTo>
                  <a:lnTo>
                    <a:pt x="708" y="594"/>
                  </a:lnTo>
                  <a:lnTo>
                    <a:pt x="720" y="606"/>
                  </a:lnTo>
                  <a:lnTo>
                    <a:pt x="720" y="618"/>
                  </a:lnTo>
                  <a:lnTo>
                    <a:pt x="720" y="624"/>
                  </a:lnTo>
                  <a:lnTo>
                    <a:pt x="726" y="630"/>
                  </a:lnTo>
                  <a:lnTo>
                    <a:pt x="732" y="636"/>
                  </a:lnTo>
                  <a:lnTo>
                    <a:pt x="732" y="642"/>
                  </a:lnTo>
                  <a:lnTo>
                    <a:pt x="732" y="648"/>
                  </a:lnTo>
                  <a:lnTo>
                    <a:pt x="726" y="654"/>
                  </a:lnTo>
                  <a:lnTo>
                    <a:pt x="720" y="660"/>
                  </a:lnTo>
                  <a:lnTo>
                    <a:pt x="714" y="666"/>
                  </a:lnTo>
                  <a:lnTo>
                    <a:pt x="714" y="672"/>
                  </a:lnTo>
                  <a:lnTo>
                    <a:pt x="714" y="678"/>
                  </a:lnTo>
                  <a:lnTo>
                    <a:pt x="720" y="678"/>
                  </a:lnTo>
                  <a:lnTo>
                    <a:pt x="720" y="684"/>
                  </a:lnTo>
                  <a:lnTo>
                    <a:pt x="714" y="690"/>
                  </a:lnTo>
                  <a:lnTo>
                    <a:pt x="714" y="696"/>
                  </a:lnTo>
                  <a:lnTo>
                    <a:pt x="714" y="702"/>
                  </a:lnTo>
                  <a:lnTo>
                    <a:pt x="714" y="708"/>
                  </a:lnTo>
                  <a:lnTo>
                    <a:pt x="720" y="708"/>
                  </a:lnTo>
                  <a:lnTo>
                    <a:pt x="720" y="720"/>
                  </a:lnTo>
                  <a:lnTo>
                    <a:pt x="720" y="726"/>
                  </a:lnTo>
                  <a:lnTo>
                    <a:pt x="726" y="726"/>
                  </a:lnTo>
                  <a:lnTo>
                    <a:pt x="726" y="732"/>
                  </a:lnTo>
                  <a:lnTo>
                    <a:pt x="732" y="732"/>
                  </a:lnTo>
                  <a:lnTo>
                    <a:pt x="732" y="738"/>
                  </a:lnTo>
                  <a:lnTo>
                    <a:pt x="726" y="738"/>
                  </a:lnTo>
                  <a:lnTo>
                    <a:pt x="720" y="738"/>
                  </a:lnTo>
                  <a:lnTo>
                    <a:pt x="720" y="744"/>
                  </a:lnTo>
                  <a:lnTo>
                    <a:pt x="720" y="750"/>
                  </a:lnTo>
                  <a:lnTo>
                    <a:pt x="714" y="750"/>
                  </a:lnTo>
                  <a:lnTo>
                    <a:pt x="714" y="756"/>
                  </a:lnTo>
                  <a:lnTo>
                    <a:pt x="720" y="756"/>
                  </a:lnTo>
                  <a:lnTo>
                    <a:pt x="714" y="762"/>
                  </a:lnTo>
                  <a:lnTo>
                    <a:pt x="720" y="762"/>
                  </a:lnTo>
                  <a:lnTo>
                    <a:pt x="726" y="768"/>
                  </a:lnTo>
                  <a:lnTo>
                    <a:pt x="726" y="774"/>
                  </a:lnTo>
                  <a:lnTo>
                    <a:pt x="732" y="774"/>
                  </a:lnTo>
                  <a:lnTo>
                    <a:pt x="732" y="780"/>
                  </a:lnTo>
                  <a:lnTo>
                    <a:pt x="726" y="780"/>
                  </a:lnTo>
                  <a:lnTo>
                    <a:pt x="726" y="786"/>
                  </a:lnTo>
                  <a:lnTo>
                    <a:pt x="720" y="786"/>
                  </a:lnTo>
                  <a:lnTo>
                    <a:pt x="726" y="786"/>
                  </a:lnTo>
                  <a:lnTo>
                    <a:pt x="732" y="780"/>
                  </a:lnTo>
                  <a:lnTo>
                    <a:pt x="738" y="780"/>
                  </a:lnTo>
                  <a:lnTo>
                    <a:pt x="744" y="780"/>
                  </a:lnTo>
                  <a:lnTo>
                    <a:pt x="744" y="786"/>
                  </a:lnTo>
                  <a:lnTo>
                    <a:pt x="750" y="786"/>
                  </a:lnTo>
                  <a:lnTo>
                    <a:pt x="744" y="786"/>
                  </a:lnTo>
                  <a:lnTo>
                    <a:pt x="744" y="792"/>
                  </a:lnTo>
                  <a:lnTo>
                    <a:pt x="744" y="786"/>
                  </a:lnTo>
                  <a:lnTo>
                    <a:pt x="738" y="792"/>
                  </a:lnTo>
                  <a:lnTo>
                    <a:pt x="744" y="792"/>
                  </a:lnTo>
                  <a:lnTo>
                    <a:pt x="750" y="792"/>
                  </a:lnTo>
                  <a:lnTo>
                    <a:pt x="750" y="786"/>
                  </a:lnTo>
                  <a:lnTo>
                    <a:pt x="756" y="786"/>
                  </a:lnTo>
                  <a:lnTo>
                    <a:pt x="756" y="792"/>
                  </a:lnTo>
                  <a:lnTo>
                    <a:pt x="762" y="792"/>
                  </a:lnTo>
                  <a:lnTo>
                    <a:pt x="756" y="798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0" y="810"/>
                  </a:lnTo>
                  <a:lnTo>
                    <a:pt x="756" y="810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6" y="816"/>
                  </a:lnTo>
                  <a:lnTo>
                    <a:pt x="750" y="816"/>
                  </a:lnTo>
                  <a:lnTo>
                    <a:pt x="738" y="810"/>
                  </a:lnTo>
                  <a:lnTo>
                    <a:pt x="732" y="810"/>
                  </a:lnTo>
                  <a:lnTo>
                    <a:pt x="732" y="816"/>
                  </a:lnTo>
                  <a:lnTo>
                    <a:pt x="726" y="810"/>
                  </a:lnTo>
                  <a:lnTo>
                    <a:pt x="714" y="816"/>
                  </a:lnTo>
                  <a:lnTo>
                    <a:pt x="708" y="816"/>
                  </a:lnTo>
                  <a:lnTo>
                    <a:pt x="702" y="816"/>
                  </a:lnTo>
                  <a:lnTo>
                    <a:pt x="696" y="816"/>
                  </a:lnTo>
                  <a:lnTo>
                    <a:pt x="690" y="822"/>
                  </a:lnTo>
                  <a:lnTo>
                    <a:pt x="684" y="822"/>
                  </a:lnTo>
                  <a:lnTo>
                    <a:pt x="678" y="822"/>
                  </a:lnTo>
                  <a:lnTo>
                    <a:pt x="672" y="822"/>
                  </a:lnTo>
                  <a:lnTo>
                    <a:pt x="666" y="822"/>
                  </a:lnTo>
                  <a:lnTo>
                    <a:pt x="666" y="828"/>
                  </a:lnTo>
                  <a:lnTo>
                    <a:pt x="654" y="828"/>
                  </a:lnTo>
                  <a:lnTo>
                    <a:pt x="648" y="828"/>
                  </a:lnTo>
                  <a:lnTo>
                    <a:pt x="642" y="828"/>
                  </a:lnTo>
                  <a:lnTo>
                    <a:pt x="630" y="828"/>
                  </a:lnTo>
                  <a:lnTo>
                    <a:pt x="624" y="822"/>
                  </a:lnTo>
                  <a:lnTo>
                    <a:pt x="618" y="822"/>
                  </a:lnTo>
                  <a:lnTo>
                    <a:pt x="612" y="822"/>
                  </a:lnTo>
                  <a:lnTo>
                    <a:pt x="606" y="822"/>
                  </a:lnTo>
                  <a:lnTo>
                    <a:pt x="600" y="822"/>
                  </a:lnTo>
                  <a:lnTo>
                    <a:pt x="594" y="822"/>
                  </a:lnTo>
                  <a:lnTo>
                    <a:pt x="594" y="816"/>
                  </a:lnTo>
                  <a:lnTo>
                    <a:pt x="594" y="810"/>
                  </a:lnTo>
                  <a:lnTo>
                    <a:pt x="600" y="804"/>
                  </a:lnTo>
                  <a:lnTo>
                    <a:pt x="600" y="798"/>
                  </a:lnTo>
                  <a:lnTo>
                    <a:pt x="600" y="792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2" y="786"/>
                  </a:lnTo>
                  <a:lnTo>
                    <a:pt x="618" y="786"/>
                  </a:lnTo>
                  <a:lnTo>
                    <a:pt x="624" y="786"/>
                  </a:lnTo>
                  <a:lnTo>
                    <a:pt x="624" y="780"/>
                  </a:lnTo>
                  <a:lnTo>
                    <a:pt x="630" y="780"/>
                  </a:lnTo>
                  <a:lnTo>
                    <a:pt x="630" y="774"/>
                  </a:lnTo>
                  <a:lnTo>
                    <a:pt x="636" y="774"/>
                  </a:lnTo>
                  <a:lnTo>
                    <a:pt x="642" y="780"/>
                  </a:lnTo>
                  <a:lnTo>
                    <a:pt x="642" y="786"/>
                  </a:lnTo>
                  <a:lnTo>
                    <a:pt x="642" y="792"/>
                  </a:lnTo>
                  <a:lnTo>
                    <a:pt x="648" y="792"/>
                  </a:lnTo>
                  <a:lnTo>
                    <a:pt x="648" y="786"/>
                  </a:lnTo>
                  <a:lnTo>
                    <a:pt x="642" y="786"/>
                  </a:lnTo>
                  <a:lnTo>
                    <a:pt x="642" y="780"/>
                  </a:lnTo>
                  <a:lnTo>
                    <a:pt x="642" y="774"/>
                  </a:lnTo>
                  <a:lnTo>
                    <a:pt x="648" y="768"/>
                  </a:lnTo>
                  <a:lnTo>
                    <a:pt x="642" y="768"/>
                  </a:lnTo>
                  <a:lnTo>
                    <a:pt x="648" y="768"/>
                  </a:lnTo>
                  <a:lnTo>
                    <a:pt x="648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66" y="762"/>
                  </a:lnTo>
                  <a:lnTo>
                    <a:pt x="672" y="756"/>
                  </a:lnTo>
                  <a:lnTo>
                    <a:pt x="666" y="756"/>
                  </a:lnTo>
                  <a:lnTo>
                    <a:pt x="660" y="756"/>
                  </a:lnTo>
                  <a:lnTo>
                    <a:pt x="660" y="750"/>
                  </a:lnTo>
                  <a:lnTo>
                    <a:pt x="654" y="750"/>
                  </a:lnTo>
                  <a:lnTo>
                    <a:pt x="648" y="750"/>
                  </a:lnTo>
                  <a:lnTo>
                    <a:pt x="648" y="756"/>
                  </a:lnTo>
                  <a:lnTo>
                    <a:pt x="642" y="756"/>
                  </a:lnTo>
                  <a:lnTo>
                    <a:pt x="642" y="750"/>
                  </a:lnTo>
                  <a:lnTo>
                    <a:pt x="642" y="744"/>
                  </a:lnTo>
                  <a:lnTo>
                    <a:pt x="642" y="750"/>
                  </a:lnTo>
                  <a:lnTo>
                    <a:pt x="636" y="750"/>
                  </a:lnTo>
                  <a:lnTo>
                    <a:pt x="636" y="744"/>
                  </a:lnTo>
                  <a:lnTo>
                    <a:pt x="630" y="744"/>
                  </a:lnTo>
                  <a:lnTo>
                    <a:pt x="630" y="738"/>
                  </a:lnTo>
                  <a:lnTo>
                    <a:pt x="630" y="744"/>
                  </a:lnTo>
                  <a:lnTo>
                    <a:pt x="630" y="750"/>
                  </a:lnTo>
                  <a:lnTo>
                    <a:pt x="636" y="750"/>
                  </a:lnTo>
                  <a:lnTo>
                    <a:pt x="636" y="756"/>
                  </a:lnTo>
                  <a:lnTo>
                    <a:pt x="630" y="756"/>
                  </a:lnTo>
                  <a:lnTo>
                    <a:pt x="636" y="762"/>
                  </a:lnTo>
                  <a:lnTo>
                    <a:pt x="630" y="762"/>
                  </a:lnTo>
                  <a:lnTo>
                    <a:pt x="624" y="762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24" y="786"/>
                  </a:lnTo>
                  <a:lnTo>
                    <a:pt x="618" y="786"/>
                  </a:lnTo>
                  <a:lnTo>
                    <a:pt x="618" y="78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12" y="774"/>
                  </a:lnTo>
                  <a:lnTo>
                    <a:pt x="612" y="780"/>
                  </a:lnTo>
                  <a:lnTo>
                    <a:pt x="606" y="780"/>
                  </a:lnTo>
                  <a:lnTo>
                    <a:pt x="600" y="780"/>
                  </a:lnTo>
                  <a:lnTo>
                    <a:pt x="600" y="774"/>
                  </a:lnTo>
                  <a:lnTo>
                    <a:pt x="594" y="768"/>
                  </a:lnTo>
                  <a:lnTo>
                    <a:pt x="594" y="762"/>
                  </a:lnTo>
                  <a:lnTo>
                    <a:pt x="594" y="756"/>
                  </a:lnTo>
                  <a:lnTo>
                    <a:pt x="594" y="762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594" y="780"/>
                  </a:lnTo>
                  <a:lnTo>
                    <a:pt x="588" y="780"/>
                  </a:lnTo>
                  <a:lnTo>
                    <a:pt x="582" y="780"/>
                  </a:lnTo>
                  <a:lnTo>
                    <a:pt x="576" y="780"/>
                  </a:lnTo>
                  <a:lnTo>
                    <a:pt x="570" y="780"/>
                  </a:lnTo>
                  <a:lnTo>
                    <a:pt x="564" y="780"/>
                  </a:lnTo>
                  <a:lnTo>
                    <a:pt x="564" y="786"/>
                  </a:lnTo>
                  <a:lnTo>
                    <a:pt x="558" y="786"/>
                  </a:lnTo>
                  <a:lnTo>
                    <a:pt x="552" y="786"/>
                  </a:lnTo>
                  <a:lnTo>
                    <a:pt x="552" y="780"/>
                  </a:lnTo>
                  <a:lnTo>
                    <a:pt x="552" y="774"/>
                  </a:lnTo>
                  <a:lnTo>
                    <a:pt x="552" y="768"/>
                  </a:lnTo>
                  <a:lnTo>
                    <a:pt x="546" y="768"/>
                  </a:lnTo>
                  <a:lnTo>
                    <a:pt x="540" y="762"/>
                  </a:lnTo>
                  <a:lnTo>
                    <a:pt x="540" y="756"/>
                  </a:lnTo>
                  <a:lnTo>
                    <a:pt x="534" y="756"/>
                  </a:lnTo>
                  <a:lnTo>
                    <a:pt x="534" y="750"/>
                  </a:lnTo>
                  <a:lnTo>
                    <a:pt x="534" y="744"/>
                  </a:lnTo>
                  <a:lnTo>
                    <a:pt x="528" y="738"/>
                  </a:lnTo>
                  <a:lnTo>
                    <a:pt x="522" y="738"/>
                  </a:lnTo>
                  <a:lnTo>
                    <a:pt x="522" y="732"/>
                  </a:lnTo>
                  <a:lnTo>
                    <a:pt x="510" y="726"/>
                  </a:lnTo>
                  <a:lnTo>
                    <a:pt x="510" y="720"/>
                  </a:lnTo>
                  <a:lnTo>
                    <a:pt x="504" y="720"/>
                  </a:lnTo>
                  <a:lnTo>
                    <a:pt x="504" y="714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8" y="702"/>
                  </a:lnTo>
                  <a:lnTo>
                    <a:pt x="498" y="696"/>
                  </a:lnTo>
                  <a:lnTo>
                    <a:pt x="492" y="690"/>
                  </a:lnTo>
                  <a:lnTo>
                    <a:pt x="492" y="684"/>
                  </a:lnTo>
                  <a:lnTo>
                    <a:pt x="486" y="684"/>
                  </a:lnTo>
                  <a:lnTo>
                    <a:pt x="486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74" y="678"/>
                  </a:lnTo>
                  <a:lnTo>
                    <a:pt x="468" y="678"/>
                  </a:lnTo>
                  <a:lnTo>
                    <a:pt x="462" y="678"/>
                  </a:lnTo>
                  <a:lnTo>
                    <a:pt x="462" y="672"/>
                  </a:lnTo>
                  <a:lnTo>
                    <a:pt x="456" y="672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44" y="666"/>
                  </a:lnTo>
                  <a:lnTo>
                    <a:pt x="438" y="660"/>
                  </a:lnTo>
                  <a:lnTo>
                    <a:pt x="438" y="648"/>
                  </a:lnTo>
                  <a:lnTo>
                    <a:pt x="438" y="642"/>
                  </a:lnTo>
                  <a:lnTo>
                    <a:pt x="438" y="636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36"/>
                  </a:lnTo>
                  <a:lnTo>
                    <a:pt x="420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60"/>
                  </a:lnTo>
                  <a:lnTo>
                    <a:pt x="432" y="666"/>
                  </a:lnTo>
                  <a:lnTo>
                    <a:pt x="438" y="666"/>
                  </a:lnTo>
                  <a:lnTo>
                    <a:pt x="438" y="672"/>
                  </a:lnTo>
                  <a:lnTo>
                    <a:pt x="444" y="672"/>
                  </a:lnTo>
                  <a:lnTo>
                    <a:pt x="444" y="678"/>
                  </a:lnTo>
                  <a:lnTo>
                    <a:pt x="450" y="678"/>
                  </a:lnTo>
                  <a:lnTo>
                    <a:pt x="456" y="678"/>
                  </a:lnTo>
                  <a:lnTo>
                    <a:pt x="456" y="684"/>
                  </a:lnTo>
                  <a:lnTo>
                    <a:pt x="462" y="684"/>
                  </a:lnTo>
                  <a:lnTo>
                    <a:pt x="468" y="684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80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86" y="708"/>
                  </a:lnTo>
                  <a:lnTo>
                    <a:pt x="492" y="714"/>
                  </a:lnTo>
                  <a:lnTo>
                    <a:pt x="492" y="720"/>
                  </a:lnTo>
                  <a:lnTo>
                    <a:pt x="492" y="726"/>
                  </a:lnTo>
                  <a:lnTo>
                    <a:pt x="498" y="732"/>
                  </a:lnTo>
                  <a:lnTo>
                    <a:pt x="492" y="738"/>
                  </a:lnTo>
                  <a:lnTo>
                    <a:pt x="492" y="744"/>
                  </a:lnTo>
                  <a:lnTo>
                    <a:pt x="492" y="750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68" y="738"/>
                  </a:lnTo>
                  <a:lnTo>
                    <a:pt x="468" y="744"/>
                  </a:lnTo>
                  <a:lnTo>
                    <a:pt x="474" y="750"/>
                  </a:lnTo>
                  <a:lnTo>
                    <a:pt x="480" y="756"/>
                  </a:lnTo>
                  <a:lnTo>
                    <a:pt x="486" y="756"/>
                  </a:lnTo>
                  <a:lnTo>
                    <a:pt x="492" y="762"/>
                  </a:lnTo>
                  <a:lnTo>
                    <a:pt x="498" y="768"/>
                  </a:lnTo>
                  <a:lnTo>
                    <a:pt x="492" y="774"/>
                  </a:lnTo>
                  <a:lnTo>
                    <a:pt x="492" y="780"/>
                  </a:lnTo>
                  <a:lnTo>
                    <a:pt x="498" y="780"/>
                  </a:lnTo>
                  <a:lnTo>
                    <a:pt x="492" y="786"/>
                  </a:lnTo>
                  <a:lnTo>
                    <a:pt x="492" y="792"/>
                  </a:lnTo>
                  <a:lnTo>
                    <a:pt x="492" y="79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0" y="810"/>
                  </a:lnTo>
                  <a:lnTo>
                    <a:pt x="480" y="804"/>
                  </a:lnTo>
                  <a:lnTo>
                    <a:pt x="474" y="804"/>
                  </a:lnTo>
                  <a:lnTo>
                    <a:pt x="474" y="798"/>
                  </a:lnTo>
                  <a:lnTo>
                    <a:pt x="474" y="804"/>
                  </a:lnTo>
                  <a:lnTo>
                    <a:pt x="468" y="804"/>
                  </a:lnTo>
                  <a:lnTo>
                    <a:pt x="468" y="810"/>
                  </a:lnTo>
                  <a:lnTo>
                    <a:pt x="462" y="810"/>
                  </a:lnTo>
                  <a:lnTo>
                    <a:pt x="456" y="810"/>
                  </a:lnTo>
                  <a:lnTo>
                    <a:pt x="450" y="810"/>
                  </a:lnTo>
                  <a:lnTo>
                    <a:pt x="450" y="816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50" y="822"/>
                  </a:lnTo>
                  <a:lnTo>
                    <a:pt x="450" y="816"/>
                  </a:lnTo>
                  <a:lnTo>
                    <a:pt x="444" y="816"/>
                  </a:lnTo>
                  <a:lnTo>
                    <a:pt x="438" y="810"/>
                  </a:lnTo>
                  <a:lnTo>
                    <a:pt x="432" y="810"/>
                  </a:lnTo>
                  <a:lnTo>
                    <a:pt x="426" y="804"/>
                  </a:lnTo>
                  <a:lnTo>
                    <a:pt x="426" y="798"/>
                  </a:lnTo>
                  <a:lnTo>
                    <a:pt x="420" y="798"/>
                  </a:lnTo>
                  <a:lnTo>
                    <a:pt x="426" y="798"/>
                  </a:lnTo>
                  <a:lnTo>
                    <a:pt x="426" y="792"/>
                  </a:lnTo>
                  <a:lnTo>
                    <a:pt x="426" y="786"/>
                  </a:lnTo>
                  <a:lnTo>
                    <a:pt x="432" y="786"/>
                  </a:lnTo>
                  <a:lnTo>
                    <a:pt x="432" y="780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0" y="756"/>
                  </a:lnTo>
                  <a:lnTo>
                    <a:pt x="420" y="750"/>
                  </a:lnTo>
                  <a:lnTo>
                    <a:pt x="414" y="750"/>
                  </a:lnTo>
                  <a:lnTo>
                    <a:pt x="420" y="750"/>
                  </a:lnTo>
                  <a:lnTo>
                    <a:pt x="420" y="744"/>
                  </a:lnTo>
                  <a:lnTo>
                    <a:pt x="414" y="744"/>
                  </a:lnTo>
                  <a:lnTo>
                    <a:pt x="414" y="738"/>
                  </a:lnTo>
                  <a:lnTo>
                    <a:pt x="414" y="732"/>
                  </a:lnTo>
                  <a:lnTo>
                    <a:pt x="408" y="732"/>
                  </a:lnTo>
                  <a:lnTo>
                    <a:pt x="408" y="726"/>
                  </a:lnTo>
                  <a:lnTo>
                    <a:pt x="402" y="726"/>
                  </a:lnTo>
                  <a:lnTo>
                    <a:pt x="396" y="726"/>
                  </a:lnTo>
                  <a:lnTo>
                    <a:pt x="390" y="726"/>
                  </a:lnTo>
                  <a:lnTo>
                    <a:pt x="390" y="720"/>
                  </a:lnTo>
                  <a:lnTo>
                    <a:pt x="390" y="714"/>
                  </a:lnTo>
                  <a:lnTo>
                    <a:pt x="384" y="708"/>
                  </a:lnTo>
                  <a:lnTo>
                    <a:pt x="384" y="702"/>
                  </a:lnTo>
                  <a:lnTo>
                    <a:pt x="378" y="702"/>
                  </a:lnTo>
                  <a:lnTo>
                    <a:pt x="378" y="696"/>
                  </a:lnTo>
                  <a:lnTo>
                    <a:pt x="378" y="690"/>
                  </a:lnTo>
                  <a:lnTo>
                    <a:pt x="372" y="684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66" y="666"/>
                  </a:lnTo>
                  <a:lnTo>
                    <a:pt x="366" y="660"/>
                  </a:lnTo>
                  <a:lnTo>
                    <a:pt x="366" y="654"/>
                  </a:lnTo>
                  <a:lnTo>
                    <a:pt x="360" y="648"/>
                  </a:lnTo>
                  <a:lnTo>
                    <a:pt x="360" y="654"/>
                  </a:lnTo>
                  <a:lnTo>
                    <a:pt x="360" y="660"/>
                  </a:lnTo>
                  <a:lnTo>
                    <a:pt x="360" y="666"/>
                  </a:lnTo>
                  <a:lnTo>
                    <a:pt x="360" y="672"/>
                  </a:lnTo>
                  <a:lnTo>
                    <a:pt x="360" y="678"/>
                  </a:lnTo>
                  <a:lnTo>
                    <a:pt x="366" y="678"/>
                  </a:lnTo>
                  <a:lnTo>
                    <a:pt x="366" y="684"/>
                  </a:lnTo>
                  <a:lnTo>
                    <a:pt x="366" y="690"/>
                  </a:lnTo>
                  <a:lnTo>
                    <a:pt x="372" y="696"/>
                  </a:lnTo>
                  <a:lnTo>
                    <a:pt x="372" y="702"/>
                  </a:lnTo>
                  <a:lnTo>
                    <a:pt x="372" y="708"/>
                  </a:lnTo>
                  <a:lnTo>
                    <a:pt x="372" y="714"/>
                  </a:lnTo>
                  <a:lnTo>
                    <a:pt x="366" y="714"/>
                  </a:lnTo>
                  <a:lnTo>
                    <a:pt x="360" y="714"/>
                  </a:lnTo>
                  <a:lnTo>
                    <a:pt x="354" y="714"/>
                  </a:lnTo>
                  <a:lnTo>
                    <a:pt x="348" y="714"/>
                  </a:lnTo>
                  <a:lnTo>
                    <a:pt x="348" y="708"/>
                  </a:lnTo>
                  <a:lnTo>
                    <a:pt x="342" y="708"/>
                  </a:lnTo>
                  <a:lnTo>
                    <a:pt x="342" y="702"/>
                  </a:lnTo>
                  <a:lnTo>
                    <a:pt x="342" y="696"/>
                  </a:lnTo>
                  <a:lnTo>
                    <a:pt x="336" y="696"/>
                  </a:lnTo>
                  <a:lnTo>
                    <a:pt x="336" y="690"/>
                  </a:lnTo>
                  <a:lnTo>
                    <a:pt x="336" y="684"/>
                  </a:lnTo>
                  <a:lnTo>
                    <a:pt x="330" y="684"/>
                  </a:lnTo>
                  <a:lnTo>
                    <a:pt x="330" y="678"/>
                  </a:lnTo>
                  <a:lnTo>
                    <a:pt x="324" y="672"/>
                  </a:lnTo>
                  <a:lnTo>
                    <a:pt x="324" y="666"/>
                  </a:lnTo>
                  <a:lnTo>
                    <a:pt x="318" y="666"/>
                  </a:lnTo>
                  <a:lnTo>
                    <a:pt x="318" y="672"/>
                  </a:lnTo>
                  <a:lnTo>
                    <a:pt x="324" y="672"/>
                  </a:lnTo>
                  <a:lnTo>
                    <a:pt x="324" y="678"/>
                  </a:lnTo>
                  <a:lnTo>
                    <a:pt x="324" y="684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30" y="696"/>
                  </a:lnTo>
                  <a:lnTo>
                    <a:pt x="336" y="702"/>
                  </a:lnTo>
                  <a:lnTo>
                    <a:pt x="342" y="708"/>
                  </a:lnTo>
                  <a:lnTo>
                    <a:pt x="342" y="714"/>
                  </a:lnTo>
                  <a:lnTo>
                    <a:pt x="348" y="720"/>
                  </a:lnTo>
                  <a:lnTo>
                    <a:pt x="342" y="720"/>
                  </a:lnTo>
                  <a:lnTo>
                    <a:pt x="336" y="720"/>
                  </a:lnTo>
                  <a:lnTo>
                    <a:pt x="330" y="720"/>
                  </a:lnTo>
                  <a:lnTo>
                    <a:pt x="330" y="726"/>
                  </a:lnTo>
                  <a:lnTo>
                    <a:pt x="336" y="726"/>
                  </a:lnTo>
                  <a:lnTo>
                    <a:pt x="330" y="732"/>
                  </a:lnTo>
                  <a:lnTo>
                    <a:pt x="330" y="738"/>
                  </a:lnTo>
                  <a:lnTo>
                    <a:pt x="330" y="744"/>
                  </a:lnTo>
                  <a:lnTo>
                    <a:pt x="336" y="744"/>
                  </a:lnTo>
                  <a:lnTo>
                    <a:pt x="342" y="744"/>
                  </a:lnTo>
                  <a:lnTo>
                    <a:pt x="348" y="744"/>
                  </a:lnTo>
                  <a:lnTo>
                    <a:pt x="348" y="750"/>
                  </a:lnTo>
                  <a:lnTo>
                    <a:pt x="354" y="750"/>
                  </a:lnTo>
                  <a:lnTo>
                    <a:pt x="360" y="756"/>
                  </a:lnTo>
                  <a:lnTo>
                    <a:pt x="360" y="762"/>
                  </a:lnTo>
                  <a:lnTo>
                    <a:pt x="366" y="762"/>
                  </a:lnTo>
                  <a:lnTo>
                    <a:pt x="366" y="768"/>
                  </a:lnTo>
                  <a:lnTo>
                    <a:pt x="366" y="774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72" y="792"/>
                  </a:lnTo>
                  <a:lnTo>
                    <a:pt x="372" y="798"/>
                  </a:lnTo>
                  <a:lnTo>
                    <a:pt x="372" y="804"/>
                  </a:lnTo>
                  <a:lnTo>
                    <a:pt x="378" y="804"/>
                  </a:lnTo>
                  <a:lnTo>
                    <a:pt x="378" y="810"/>
                  </a:lnTo>
                  <a:lnTo>
                    <a:pt x="378" y="816"/>
                  </a:lnTo>
                  <a:lnTo>
                    <a:pt x="372" y="816"/>
                  </a:lnTo>
                  <a:lnTo>
                    <a:pt x="378" y="816"/>
                  </a:lnTo>
                  <a:lnTo>
                    <a:pt x="378" y="822"/>
                  </a:lnTo>
                  <a:lnTo>
                    <a:pt x="378" y="828"/>
                  </a:lnTo>
                  <a:lnTo>
                    <a:pt x="378" y="834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0" y="864"/>
                  </a:lnTo>
                  <a:lnTo>
                    <a:pt x="384" y="864"/>
                  </a:lnTo>
                  <a:lnTo>
                    <a:pt x="384" y="870"/>
                  </a:lnTo>
                  <a:lnTo>
                    <a:pt x="378" y="864"/>
                  </a:lnTo>
                  <a:lnTo>
                    <a:pt x="372" y="864"/>
                  </a:lnTo>
                  <a:lnTo>
                    <a:pt x="366" y="858"/>
                  </a:lnTo>
                  <a:lnTo>
                    <a:pt x="366" y="852"/>
                  </a:lnTo>
                  <a:lnTo>
                    <a:pt x="360" y="852"/>
                  </a:lnTo>
                  <a:lnTo>
                    <a:pt x="360" y="858"/>
                  </a:lnTo>
                  <a:lnTo>
                    <a:pt x="366" y="858"/>
                  </a:lnTo>
                  <a:lnTo>
                    <a:pt x="366" y="864"/>
                  </a:lnTo>
                  <a:lnTo>
                    <a:pt x="360" y="864"/>
                  </a:lnTo>
                  <a:lnTo>
                    <a:pt x="354" y="864"/>
                  </a:lnTo>
                  <a:lnTo>
                    <a:pt x="354" y="870"/>
                  </a:lnTo>
                  <a:lnTo>
                    <a:pt x="354" y="864"/>
                  </a:lnTo>
                  <a:lnTo>
                    <a:pt x="348" y="864"/>
                  </a:lnTo>
                  <a:lnTo>
                    <a:pt x="342" y="864"/>
                  </a:lnTo>
                  <a:lnTo>
                    <a:pt x="342" y="858"/>
                  </a:lnTo>
                  <a:lnTo>
                    <a:pt x="336" y="858"/>
                  </a:lnTo>
                  <a:lnTo>
                    <a:pt x="330" y="858"/>
                  </a:lnTo>
                  <a:lnTo>
                    <a:pt x="324" y="858"/>
                  </a:lnTo>
                  <a:lnTo>
                    <a:pt x="318" y="858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0" y="852"/>
                  </a:lnTo>
                  <a:lnTo>
                    <a:pt x="294" y="852"/>
                  </a:lnTo>
                  <a:lnTo>
                    <a:pt x="294" y="846"/>
                  </a:lnTo>
                  <a:lnTo>
                    <a:pt x="288" y="840"/>
                  </a:lnTo>
                  <a:lnTo>
                    <a:pt x="288" y="828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2" y="816"/>
                  </a:lnTo>
                  <a:lnTo>
                    <a:pt x="282" y="810"/>
                  </a:lnTo>
                  <a:lnTo>
                    <a:pt x="276" y="810"/>
                  </a:lnTo>
                  <a:lnTo>
                    <a:pt x="276" y="804"/>
                  </a:lnTo>
                  <a:lnTo>
                    <a:pt x="276" y="798"/>
                  </a:lnTo>
                  <a:lnTo>
                    <a:pt x="276" y="792"/>
                  </a:lnTo>
                  <a:lnTo>
                    <a:pt x="270" y="786"/>
                  </a:lnTo>
                  <a:lnTo>
                    <a:pt x="270" y="780"/>
                  </a:lnTo>
                  <a:lnTo>
                    <a:pt x="270" y="774"/>
                  </a:lnTo>
                  <a:lnTo>
                    <a:pt x="264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64" y="750"/>
                  </a:lnTo>
                  <a:lnTo>
                    <a:pt x="264" y="744"/>
                  </a:lnTo>
                  <a:lnTo>
                    <a:pt x="264" y="738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26"/>
                  </a:lnTo>
                  <a:lnTo>
                    <a:pt x="276" y="720"/>
                  </a:lnTo>
                  <a:lnTo>
                    <a:pt x="282" y="720"/>
                  </a:lnTo>
                  <a:lnTo>
                    <a:pt x="282" y="714"/>
                  </a:lnTo>
                  <a:lnTo>
                    <a:pt x="282" y="708"/>
                  </a:lnTo>
                  <a:lnTo>
                    <a:pt x="276" y="708"/>
                  </a:lnTo>
                  <a:lnTo>
                    <a:pt x="276" y="702"/>
                  </a:lnTo>
                  <a:lnTo>
                    <a:pt x="270" y="702"/>
                  </a:lnTo>
                  <a:lnTo>
                    <a:pt x="270" y="696"/>
                  </a:lnTo>
                  <a:lnTo>
                    <a:pt x="264" y="690"/>
                  </a:lnTo>
                  <a:lnTo>
                    <a:pt x="258" y="690"/>
                  </a:lnTo>
                  <a:lnTo>
                    <a:pt x="258" y="684"/>
                  </a:lnTo>
                  <a:lnTo>
                    <a:pt x="252" y="684"/>
                  </a:lnTo>
                  <a:lnTo>
                    <a:pt x="252" y="678"/>
                  </a:lnTo>
                  <a:lnTo>
                    <a:pt x="246" y="678"/>
                  </a:lnTo>
                  <a:lnTo>
                    <a:pt x="240" y="678"/>
                  </a:lnTo>
                  <a:lnTo>
                    <a:pt x="240" y="684"/>
                  </a:lnTo>
                  <a:lnTo>
                    <a:pt x="246" y="684"/>
                  </a:lnTo>
                  <a:lnTo>
                    <a:pt x="252" y="690"/>
                  </a:lnTo>
                  <a:lnTo>
                    <a:pt x="258" y="690"/>
                  </a:lnTo>
                  <a:lnTo>
                    <a:pt x="258" y="696"/>
                  </a:lnTo>
                  <a:lnTo>
                    <a:pt x="258" y="702"/>
                  </a:lnTo>
                  <a:lnTo>
                    <a:pt x="264" y="702"/>
                  </a:lnTo>
                  <a:lnTo>
                    <a:pt x="270" y="708"/>
                  </a:lnTo>
                  <a:lnTo>
                    <a:pt x="270" y="714"/>
                  </a:lnTo>
                  <a:lnTo>
                    <a:pt x="270" y="720"/>
                  </a:lnTo>
                  <a:lnTo>
                    <a:pt x="276" y="720"/>
                  </a:lnTo>
                  <a:lnTo>
                    <a:pt x="270" y="720"/>
                  </a:lnTo>
                  <a:lnTo>
                    <a:pt x="270" y="726"/>
                  </a:lnTo>
                  <a:lnTo>
                    <a:pt x="264" y="726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52" y="738"/>
                  </a:lnTo>
                  <a:lnTo>
                    <a:pt x="252" y="744"/>
                  </a:lnTo>
                  <a:lnTo>
                    <a:pt x="252" y="750"/>
                  </a:lnTo>
                  <a:lnTo>
                    <a:pt x="252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58" y="774"/>
                  </a:lnTo>
                  <a:lnTo>
                    <a:pt x="258" y="780"/>
                  </a:lnTo>
                  <a:lnTo>
                    <a:pt x="264" y="786"/>
                  </a:lnTo>
                  <a:lnTo>
                    <a:pt x="264" y="792"/>
                  </a:lnTo>
                  <a:lnTo>
                    <a:pt x="264" y="798"/>
                  </a:lnTo>
                  <a:lnTo>
                    <a:pt x="270" y="810"/>
                  </a:lnTo>
                  <a:lnTo>
                    <a:pt x="270" y="816"/>
                  </a:lnTo>
                  <a:lnTo>
                    <a:pt x="270" y="822"/>
                  </a:lnTo>
                  <a:lnTo>
                    <a:pt x="276" y="822"/>
                  </a:lnTo>
                  <a:lnTo>
                    <a:pt x="276" y="828"/>
                  </a:lnTo>
                  <a:lnTo>
                    <a:pt x="276" y="834"/>
                  </a:lnTo>
                  <a:lnTo>
                    <a:pt x="276" y="840"/>
                  </a:lnTo>
                  <a:lnTo>
                    <a:pt x="276" y="846"/>
                  </a:lnTo>
                  <a:lnTo>
                    <a:pt x="282" y="852"/>
                  </a:lnTo>
                  <a:lnTo>
                    <a:pt x="282" y="858"/>
                  </a:lnTo>
                  <a:lnTo>
                    <a:pt x="294" y="864"/>
                  </a:lnTo>
                  <a:lnTo>
                    <a:pt x="300" y="870"/>
                  </a:lnTo>
                  <a:lnTo>
                    <a:pt x="300" y="876"/>
                  </a:lnTo>
                  <a:lnTo>
                    <a:pt x="288" y="876"/>
                  </a:lnTo>
                  <a:lnTo>
                    <a:pt x="282" y="876"/>
                  </a:lnTo>
                  <a:lnTo>
                    <a:pt x="276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2" y="882"/>
                  </a:lnTo>
                  <a:lnTo>
                    <a:pt x="246" y="882"/>
                  </a:lnTo>
                  <a:lnTo>
                    <a:pt x="240" y="882"/>
                  </a:lnTo>
                  <a:lnTo>
                    <a:pt x="234" y="882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204" y="876"/>
                  </a:lnTo>
                  <a:lnTo>
                    <a:pt x="198" y="876"/>
                  </a:lnTo>
                  <a:lnTo>
                    <a:pt x="198" y="870"/>
                  </a:lnTo>
                  <a:lnTo>
                    <a:pt x="198" y="852"/>
                  </a:lnTo>
                  <a:lnTo>
                    <a:pt x="198" y="846"/>
                  </a:lnTo>
                  <a:lnTo>
                    <a:pt x="204" y="846"/>
                  </a:lnTo>
                  <a:lnTo>
                    <a:pt x="198" y="840"/>
                  </a:lnTo>
                  <a:lnTo>
                    <a:pt x="198" y="834"/>
                  </a:lnTo>
                  <a:lnTo>
                    <a:pt x="198" y="828"/>
                  </a:lnTo>
                  <a:lnTo>
                    <a:pt x="198" y="822"/>
                  </a:lnTo>
                  <a:lnTo>
                    <a:pt x="198" y="816"/>
                  </a:lnTo>
                  <a:lnTo>
                    <a:pt x="198" y="810"/>
                  </a:lnTo>
                  <a:lnTo>
                    <a:pt x="192" y="810"/>
                  </a:lnTo>
                  <a:lnTo>
                    <a:pt x="192" y="804"/>
                  </a:lnTo>
                  <a:lnTo>
                    <a:pt x="192" y="798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2" y="774"/>
                  </a:lnTo>
                  <a:lnTo>
                    <a:pt x="192" y="768"/>
                  </a:lnTo>
                  <a:lnTo>
                    <a:pt x="198" y="768"/>
                  </a:lnTo>
                  <a:lnTo>
                    <a:pt x="198" y="762"/>
                  </a:lnTo>
                  <a:lnTo>
                    <a:pt x="198" y="756"/>
                  </a:lnTo>
                  <a:lnTo>
                    <a:pt x="204" y="756"/>
                  </a:lnTo>
                  <a:lnTo>
                    <a:pt x="204" y="750"/>
                  </a:lnTo>
                  <a:lnTo>
                    <a:pt x="210" y="744"/>
                  </a:lnTo>
                  <a:lnTo>
                    <a:pt x="210" y="738"/>
                  </a:lnTo>
                  <a:lnTo>
                    <a:pt x="210" y="732"/>
                  </a:lnTo>
                  <a:lnTo>
                    <a:pt x="210" y="726"/>
                  </a:lnTo>
                  <a:lnTo>
                    <a:pt x="210" y="720"/>
                  </a:lnTo>
                  <a:lnTo>
                    <a:pt x="204" y="714"/>
                  </a:lnTo>
                  <a:lnTo>
                    <a:pt x="204" y="720"/>
                  </a:lnTo>
                  <a:lnTo>
                    <a:pt x="204" y="732"/>
                  </a:lnTo>
                  <a:lnTo>
                    <a:pt x="204" y="738"/>
                  </a:lnTo>
                  <a:lnTo>
                    <a:pt x="198" y="738"/>
                  </a:lnTo>
                  <a:lnTo>
                    <a:pt x="198" y="744"/>
                  </a:lnTo>
                  <a:lnTo>
                    <a:pt x="198" y="750"/>
                  </a:lnTo>
                  <a:lnTo>
                    <a:pt x="192" y="756"/>
                  </a:lnTo>
                  <a:lnTo>
                    <a:pt x="186" y="762"/>
                  </a:lnTo>
                  <a:lnTo>
                    <a:pt x="186" y="768"/>
                  </a:lnTo>
                  <a:lnTo>
                    <a:pt x="186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98"/>
                  </a:lnTo>
                  <a:lnTo>
                    <a:pt x="186" y="804"/>
                  </a:lnTo>
                  <a:lnTo>
                    <a:pt x="186" y="810"/>
                  </a:lnTo>
                  <a:lnTo>
                    <a:pt x="192" y="816"/>
                  </a:lnTo>
                  <a:lnTo>
                    <a:pt x="192" y="828"/>
                  </a:lnTo>
                  <a:lnTo>
                    <a:pt x="192" y="834"/>
                  </a:lnTo>
                  <a:lnTo>
                    <a:pt x="186" y="834"/>
                  </a:lnTo>
                  <a:lnTo>
                    <a:pt x="186" y="828"/>
                  </a:lnTo>
                  <a:lnTo>
                    <a:pt x="180" y="822"/>
                  </a:lnTo>
                  <a:lnTo>
                    <a:pt x="180" y="816"/>
                  </a:lnTo>
                  <a:lnTo>
                    <a:pt x="180" y="810"/>
                  </a:lnTo>
                  <a:lnTo>
                    <a:pt x="174" y="810"/>
                  </a:lnTo>
                  <a:lnTo>
                    <a:pt x="174" y="804"/>
                  </a:lnTo>
                  <a:lnTo>
                    <a:pt x="174" y="798"/>
                  </a:lnTo>
                  <a:lnTo>
                    <a:pt x="174" y="792"/>
                  </a:lnTo>
                  <a:lnTo>
                    <a:pt x="168" y="786"/>
                  </a:lnTo>
                  <a:lnTo>
                    <a:pt x="168" y="780"/>
                  </a:lnTo>
                  <a:lnTo>
                    <a:pt x="162" y="780"/>
                  </a:lnTo>
                  <a:lnTo>
                    <a:pt x="168" y="774"/>
                  </a:lnTo>
                  <a:lnTo>
                    <a:pt x="168" y="768"/>
                  </a:lnTo>
                  <a:lnTo>
                    <a:pt x="174" y="768"/>
                  </a:lnTo>
                  <a:lnTo>
                    <a:pt x="168" y="768"/>
                  </a:lnTo>
                  <a:lnTo>
                    <a:pt x="162" y="774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50" y="774"/>
                  </a:lnTo>
                  <a:lnTo>
                    <a:pt x="144" y="774"/>
                  </a:lnTo>
                  <a:lnTo>
                    <a:pt x="144" y="768"/>
                  </a:lnTo>
                  <a:lnTo>
                    <a:pt x="144" y="762"/>
                  </a:lnTo>
                  <a:lnTo>
                    <a:pt x="138" y="756"/>
                  </a:lnTo>
                  <a:lnTo>
                    <a:pt x="132" y="756"/>
                  </a:lnTo>
                  <a:lnTo>
                    <a:pt x="138" y="756"/>
                  </a:lnTo>
                  <a:lnTo>
                    <a:pt x="138" y="762"/>
                  </a:lnTo>
                  <a:lnTo>
                    <a:pt x="138" y="768"/>
                  </a:lnTo>
                  <a:lnTo>
                    <a:pt x="144" y="768"/>
                  </a:lnTo>
                  <a:lnTo>
                    <a:pt x="144" y="774"/>
                  </a:lnTo>
                  <a:lnTo>
                    <a:pt x="150" y="780"/>
                  </a:lnTo>
                  <a:lnTo>
                    <a:pt x="156" y="780"/>
                  </a:lnTo>
                  <a:lnTo>
                    <a:pt x="156" y="786"/>
                  </a:lnTo>
                  <a:lnTo>
                    <a:pt x="162" y="786"/>
                  </a:lnTo>
                  <a:lnTo>
                    <a:pt x="168" y="792"/>
                  </a:lnTo>
                  <a:lnTo>
                    <a:pt x="168" y="798"/>
                  </a:lnTo>
                  <a:lnTo>
                    <a:pt x="168" y="804"/>
                  </a:lnTo>
                  <a:lnTo>
                    <a:pt x="174" y="810"/>
                  </a:lnTo>
                  <a:lnTo>
                    <a:pt x="174" y="816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68" y="828"/>
                  </a:lnTo>
                  <a:lnTo>
                    <a:pt x="168" y="834"/>
                  </a:lnTo>
                  <a:lnTo>
                    <a:pt x="174" y="840"/>
                  </a:lnTo>
                  <a:lnTo>
                    <a:pt x="180" y="840"/>
                  </a:lnTo>
                  <a:lnTo>
                    <a:pt x="180" y="846"/>
                  </a:lnTo>
                  <a:lnTo>
                    <a:pt x="186" y="846"/>
                  </a:lnTo>
                  <a:lnTo>
                    <a:pt x="186" y="852"/>
                  </a:lnTo>
                  <a:lnTo>
                    <a:pt x="186" y="858"/>
                  </a:lnTo>
                  <a:lnTo>
                    <a:pt x="186" y="864"/>
                  </a:lnTo>
                  <a:lnTo>
                    <a:pt x="192" y="864"/>
                  </a:lnTo>
                  <a:lnTo>
                    <a:pt x="192" y="870"/>
                  </a:lnTo>
                  <a:lnTo>
                    <a:pt x="192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6" y="888"/>
                  </a:lnTo>
                  <a:lnTo>
                    <a:pt x="180" y="888"/>
                  </a:lnTo>
                  <a:lnTo>
                    <a:pt x="174" y="888"/>
                  </a:lnTo>
                  <a:lnTo>
                    <a:pt x="168" y="894"/>
                  </a:lnTo>
                  <a:lnTo>
                    <a:pt x="162" y="894"/>
                  </a:lnTo>
                  <a:lnTo>
                    <a:pt x="156" y="894"/>
                  </a:lnTo>
                  <a:lnTo>
                    <a:pt x="150" y="894"/>
                  </a:lnTo>
                  <a:lnTo>
                    <a:pt x="144" y="894"/>
                  </a:lnTo>
                  <a:lnTo>
                    <a:pt x="144" y="900"/>
                  </a:lnTo>
                  <a:lnTo>
                    <a:pt x="138" y="894"/>
                  </a:lnTo>
                  <a:lnTo>
                    <a:pt x="138" y="900"/>
                  </a:lnTo>
                  <a:lnTo>
                    <a:pt x="132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6" y="882"/>
                  </a:lnTo>
                  <a:lnTo>
                    <a:pt x="126" y="876"/>
                  </a:lnTo>
                  <a:lnTo>
                    <a:pt x="120" y="876"/>
                  </a:lnTo>
                  <a:lnTo>
                    <a:pt x="126" y="870"/>
                  </a:lnTo>
                  <a:lnTo>
                    <a:pt x="126" y="864"/>
                  </a:lnTo>
                  <a:lnTo>
                    <a:pt x="126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26" y="828"/>
                  </a:lnTo>
                  <a:lnTo>
                    <a:pt x="126" y="822"/>
                  </a:lnTo>
                  <a:lnTo>
                    <a:pt x="126" y="816"/>
                  </a:lnTo>
                  <a:lnTo>
                    <a:pt x="126" y="810"/>
                  </a:lnTo>
                  <a:lnTo>
                    <a:pt x="126" y="804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20" y="792"/>
                  </a:lnTo>
                  <a:lnTo>
                    <a:pt x="114" y="792"/>
                  </a:lnTo>
                  <a:lnTo>
                    <a:pt x="114" y="786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96" y="780"/>
                  </a:lnTo>
                  <a:lnTo>
                    <a:pt x="96" y="774"/>
                  </a:lnTo>
                  <a:lnTo>
                    <a:pt x="90" y="774"/>
                  </a:lnTo>
                  <a:lnTo>
                    <a:pt x="90" y="768"/>
                  </a:lnTo>
                  <a:close/>
                  <a:moveTo>
                    <a:pt x="96" y="780"/>
                  </a:moveTo>
                  <a:lnTo>
                    <a:pt x="102" y="780"/>
                  </a:lnTo>
                  <a:lnTo>
                    <a:pt x="102" y="786"/>
                  </a:lnTo>
                  <a:lnTo>
                    <a:pt x="108" y="786"/>
                  </a:lnTo>
                  <a:lnTo>
                    <a:pt x="114" y="792"/>
                  </a:lnTo>
                  <a:lnTo>
                    <a:pt x="120" y="798"/>
                  </a:lnTo>
                  <a:lnTo>
                    <a:pt x="120" y="804"/>
                  </a:lnTo>
                  <a:lnTo>
                    <a:pt x="126" y="810"/>
                  </a:lnTo>
                  <a:lnTo>
                    <a:pt x="126" y="816"/>
                  </a:lnTo>
                  <a:lnTo>
                    <a:pt x="126" y="822"/>
                  </a:lnTo>
                  <a:lnTo>
                    <a:pt x="120" y="828"/>
                  </a:lnTo>
                  <a:lnTo>
                    <a:pt x="120" y="840"/>
                  </a:lnTo>
                  <a:lnTo>
                    <a:pt x="120" y="852"/>
                  </a:lnTo>
                  <a:lnTo>
                    <a:pt x="120" y="858"/>
                  </a:lnTo>
                  <a:lnTo>
                    <a:pt x="120" y="864"/>
                  </a:lnTo>
                  <a:lnTo>
                    <a:pt x="120" y="870"/>
                  </a:lnTo>
                  <a:lnTo>
                    <a:pt x="114" y="870"/>
                  </a:lnTo>
                  <a:lnTo>
                    <a:pt x="108" y="870"/>
                  </a:lnTo>
                  <a:lnTo>
                    <a:pt x="108" y="876"/>
                  </a:lnTo>
                  <a:lnTo>
                    <a:pt x="114" y="876"/>
                  </a:lnTo>
                  <a:lnTo>
                    <a:pt x="120" y="876"/>
                  </a:lnTo>
                  <a:lnTo>
                    <a:pt x="120" y="882"/>
                  </a:lnTo>
                  <a:lnTo>
                    <a:pt x="114" y="888"/>
                  </a:lnTo>
                  <a:lnTo>
                    <a:pt x="120" y="888"/>
                  </a:lnTo>
                  <a:lnTo>
                    <a:pt x="120" y="894"/>
                  </a:lnTo>
                  <a:lnTo>
                    <a:pt x="114" y="894"/>
                  </a:lnTo>
                  <a:lnTo>
                    <a:pt x="108" y="894"/>
                  </a:lnTo>
                  <a:lnTo>
                    <a:pt x="96" y="894"/>
                  </a:lnTo>
                  <a:lnTo>
                    <a:pt x="96" y="882"/>
                  </a:lnTo>
                  <a:lnTo>
                    <a:pt x="96" y="876"/>
                  </a:lnTo>
                  <a:lnTo>
                    <a:pt x="84" y="870"/>
                  </a:lnTo>
                  <a:lnTo>
                    <a:pt x="72" y="864"/>
                  </a:lnTo>
                  <a:lnTo>
                    <a:pt x="72" y="852"/>
                  </a:lnTo>
                  <a:lnTo>
                    <a:pt x="72" y="840"/>
                  </a:lnTo>
                  <a:lnTo>
                    <a:pt x="78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90" y="792"/>
                  </a:lnTo>
                  <a:lnTo>
                    <a:pt x="96" y="780"/>
                  </a:lnTo>
                  <a:close/>
                  <a:moveTo>
                    <a:pt x="492" y="810"/>
                  </a:moveTo>
                  <a:lnTo>
                    <a:pt x="498" y="810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510" y="792"/>
                  </a:lnTo>
                  <a:lnTo>
                    <a:pt x="516" y="786"/>
                  </a:lnTo>
                  <a:lnTo>
                    <a:pt x="522" y="780"/>
                  </a:lnTo>
                  <a:lnTo>
                    <a:pt x="522" y="774"/>
                  </a:lnTo>
                  <a:lnTo>
                    <a:pt x="528" y="768"/>
                  </a:lnTo>
                  <a:lnTo>
                    <a:pt x="528" y="762"/>
                  </a:lnTo>
                  <a:lnTo>
                    <a:pt x="534" y="762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46" y="780"/>
                  </a:lnTo>
                  <a:lnTo>
                    <a:pt x="552" y="786"/>
                  </a:lnTo>
                  <a:lnTo>
                    <a:pt x="558" y="786"/>
                  </a:lnTo>
                  <a:lnTo>
                    <a:pt x="564" y="786"/>
                  </a:lnTo>
                  <a:lnTo>
                    <a:pt x="576" y="786"/>
                  </a:lnTo>
                  <a:lnTo>
                    <a:pt x="582" y="786"/>
                  </a:lnTo>
                  <a:lnTo>
                    <a:pt x="588" y="786"/>
                  </a:lnTo>
                  <a:lnTo>
                    <a:pt x="594" y="786"/>
                  </a:lnTo>
                  <a:lnTo>
                    <a:pt x="588" y="792"/>
                  </a:lnTo>
                  <a:lnTo>
                    <a:pt x="588" y="798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82" y="822"/>
                  </a:lnTo>
                  <a:lnTo>
                    <a:pt x="588" y="828"/>
                  </a:lnTo>
                  <a:lnTo>
                    <a:pt x="588" y="834"/>
                  </a:lnTo>
                  <a:lnTo>
                    <a:pt x="582" y="840"/>
                  </a:lnTo>
                  <a:lnTo>
                    <a:pt x="570" y="840"/>
                  </a:lnTo>
                  <a:lnTo>
                    <a:pt x="558" y="846"/>
                  </a:lnTo>
                  <a:lnTo>
                    <a:pt x="552" y="846"/>
                  </a:lnTo>
                  <a:lnTo>
                    <a:pt x="534" y="852"/>
                  </a:lnTo>
                  <a:lnTo>
                    <a:pt x="522" y="858"/>
                  </a:lnTo>
                  <a:lnTo>
                    <a:pt x="510" y="858"/>
                  </a:lnTo>
                  <a:lnTo>
                    <a:pt x="498" y="864"/>
                  </a:lnTo>
                  <a:lnTo>
                    <a:pt x="474" y="864"/>
                  </a:lnTo>
                  <a:lnTo>
                    <a:pt x="468" y="858"/>
                  </a:lnTo>
                  <a:lnTo>
                    <a:pt x="468" y="852"/>
                  </a:lnTo>
                  <a:lnTo>
                    <a:pt x="468" y="846"/>
                  </a:lnTo>
                  <a:lnTo>
                    <a:pt x="474" y="840"/>
                  </a:lnTo>
                  <a:lnTo>
                    <a:pt x="474" y="834"/>
                  </a:lnTo>
                  <a:lnTo>
                    <a:pt x="480" y="828"/>
                  </a:lnTo>
                  <a:lnTo>
                    <a:pt x="492" y="822"/>
                  </a:lnTo>
                  <a:lnTo>
                    <a:pt x="492" y="810"/>
                  </a:lnTo>
                  <a:close/>
                  <a:moveTo>
                    <a:pt x="384" y="720"/>
                  </a:moveTo>
                  <a:lnTo>
                    <a:pt x="384" y="726"/>
                  </a:lnTo>
                  <a:lnTo>
                    <a:pt x="390" y="726"/>
                  </a:lnTo>
                  <a:lnTo>
                    <a:pt x="396" y="726"/>
                  </a:lnTo>
                  <a:lnTo>
                    <a:pt x="402" y="732"/>
                  </a:lnTo>
                  <a:lnTo>
                    <a:pt x="408" y="732"/>
                  </a:lnTo>
                  <a:lnTo>
                    <a:pt x="414" y="732"/>
                  </a:lnTo>
                  <a:lnTo>
                    <a:pt x="414" y="738"/>
                  </a:lnTo>
                  <a:lnTo>
                    <a:pt x="414" y="744"/>
                  </a:lnTo>
                  <a:lnTo>
                    <a:pt x="414" y="750"/>
                  </a:lnTo>
                  <a:lnTo>
                    <a:pt x="414" y="756"/>
                  </a:lnTo>
                  <a:lnTo>
                    <a:pt x="414" y="762"/>
                  </a:lnTo>
                  <a:lnTo>
                    <a:pt x="420" y="768"/>
                  </a:lnTo>
                  <a:lnTo>
                    <a:pt x="420" y="774"/>
                  </a:lnTo>
                  <a:lnTo>
                    <a:pt x="426" y="780"/>
                  </a:lnTo>
                  <a:lnTo>
                    <a:pt x="426" y="786"/>
                  </a:lnTo>
                  <a:lnTo>
                    <a:pt x="420" y="786"/>
                  </a:lnTo>
                  <a:lnTo>
                    <a:pt x="420" y="792"/>
                  </a:lnTo>
                  <a:lnTo>
                    <a:pt x="420" y="798"/>
                  </a:lnTo>
                  <a:lnTo>
                    <a:pt x="420" y="804"/>
                  </a:lnTo>
                  <a:lnTo>
                    <a:pt x="426" y="804"/>
                  </a:lnTo>
                  <a:lnTo>
                    <a:pt x="426" y="810"/>
                  </a:lnTo>
                  <a:lnTo>
                    <a:pt x="426" y="816"/>
                  </a:lnTo>
                  <a:lnTo>
                    <a:pt x="432" y="816"/>
                  </a:lnTo>
                  <a:lnTo>
                    <a:pt x="438" y="816"/>
                  </a:lnTo>
                  <a:lnTo>
                    <a:pt x="438" y="822"/>
                  </a:lnTo>
                  <a:lnTo>
                    <a:pt x="432" y="822"/>
                  </a:lnTo>
                  <a:lnTo>
                    <a:pt x="426" y="828"/>
                  </a:lnTo>
                  <a:lnTo>
                    <a:pt x="420" y="828"/>
                  </a:lnTo>
                  <a:lnTo>
                    <a:pt x="414" y="828"/>
                  </a:lnTo>
                  <a:lnTo>
                    <a:pt x="408" y="828"/>
                  </a:lnTo>
                  <a:lnTo>
                    <a:pt x="402" y="828"/>
                  </a:lnTo>
                  <a:lnTo>
                    <a:pt x="402" y="822"/>
                  </a:lnTo>
                  <a:lnTo>
                    <a:pt x="396" y="822"/>
                  </a:lnTo>
                  <a:lnTo>
                    <a:pt x="402" y="822"/>
                  </a:lnTo>
                  <a:lnTo>
                    <a:pt x="402" y="816"/>
                  </a:lnTo>
                  <a:lnTo>
                    <a:pt x="396" y="816"/>
                  </a:lnTo>
                  <a:lnTo>
                    <a:pt x="396" y="810"/>
                  </a:lnTo>
                  <a:lnTo>
                    <a:pt x="396" y="804"/>
                  </a:lnTo>
                  <a:lnTo>
                    <a:pt x="390" y="798"/>
                  </a:lnTo>
                  <a:lnTo>
                    <a:pt x="390" y="792"/>
                  </a:lnTo>
                  <a:lnTo>
                    <a:pt x="390" y="786"/>
                  </a:lnTo>
                  <a:lnTo>
                    <a:pt x="390" y="780"/>
                  </a:lnTo>
                  <a:lnTo>
                    <a:pt x="390" y="774"/>
                  </a:lnTo>
                  <a:lnTo>
                    <a:pt x="390" y="768"/>
                  </a:lnTo>
                  <a:lnTo>
                    <a:pt x="390" y="762"/>
                  </a:lnTo>
                  <a:lnTo>
                    <a:pt x="384" y="756"/>
                  </a:lnTo>
                  <a:lnTo>
                    <a:pt x="384" y="750"/>
                  </a:lnTo>
                  <a:lnTo>
                    <a:pt x="384" y="744"/>
                  </a:lnTo>
                  <a:lnTo>
                    <a:pt x="378" y="744"/>
                  </a:lnTo>
                  <a:lnTo>
                    <a:pt x="384" y="744"/>
                  </a:lnTo>
                  <a:lnTo>
                    <a:pt x="384" y="738"/>
                  </a:lnTo>
                  <a:lnTo>
                    <a:pt x="378" y="738"/>
                  </a:lnTo>
                  <a:lnTo>
                    <a:pt x="378" y="732"/>
                  </a:lnTo>
                  <a:lnTo>
                    <a:pt x="378" y="726"/>
                  </a:lnTo>
                  <a:lnTo>
                    <a:pt x="378" y="720"/>
                  </a:lnTo>
                  <a:lnTo>
                    <a:pt x="384" y="720"/>
                  </a:lnTo>
                  <a:close/>
                  <a:moveTo>
                    <a:pt x="330" y="738"/>
                  </a:moveTo>
                  <a:lnTo>
                    <a:pt x="336" y="732"/>
                  </a:lnTo>
                  <a:lnTo>
                    <a:pt x="336" y="726"/>
                  </a:lnTo>
                  <a:lnTo>
                    <a:pt x="342" y="720"/>
                  </a:lnTo>
                  <a:lnTo>
                    <a:pt x="348" y="720"/>
                  </a:lnTo>
                  <a:lnTo>
                    <a:pt x="360" y="720"/>
                  </a:lnTo>
                  <a:lnTo>
                    <a:pt x="366" y="726"/>
                  </a:lnTo>
                  <a:lnTo>
                    <a:pt x="372" y="732"/>
                  </a:lnTo>
                  <a:lnTo>
                    <a:pt x="372" y="738"/>
                  </a:lnTo>
                  <a:lnTo>
                    <a:pt x="366" y="750"/>
                  </a:lnTo>
                  <a:lnTo>
                    <a:pt x="372" y="756"/>
                  </a:lnTo>
                  <a:lnTo>
                    <a:pt x="372" y="762"/>
                  </a:lnTo>
                  <a:lnTo>
                    <a:pt x="372" y="768"/>
                  </a:lnTo>
                  <a:lnTo>
                    <a:pt x="372" y="774"/>
                  </a:lnTo>
                  <a:lnTo>
                    <a:pt x="372" y="780"/>
                  </a:lnTo>
                  <a:lnTo>
                    <a:pt x="372" y="774"/>
                  </a:lnTo>
                  <a:lnTo>
                    <a:pt x="366" y="768"/>
                  </a:lnTo>
                  <a:lnTo>
                    <a:pt x="366" y="762"/>
                  </a:lnTo>
                  <a:lnTo>
                    <a:pt x="366" y="756"/>
                  </a:lnTo>
                  <a:lnTo>
                    <a:pt x="360" y="756"/>
                  </a:lnTo>
                  <a:lnTo>
                    <a:pt x="360" y="750"/>
                  </a:lnTo>
                  <a:lnTo>
                    <a:pt x="354" y="750"/>
                  </a:lnTo>
                  <a:lnTo>
                    <a:pt x="348" y="744"/>
                  </a:lnTo>
                  <a:lnTo>
                    <a:pt x="342" y="744"/>
                  </a:lnTo>
                  <a:lnTo>
                    <a:pt x="336" y="744"/>
                  </a:lnTo>
                  <a:lnTo>
                    <a:pt x="330" y="73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1" name="Freeform 6">
              <a:extLst>
                <a:ext uri="{FF2B5EF4-FFF2-40B4-BE49-F238E27FC236}">
                  <a16:creationId xmlns:a16="http://schemas.microsoft.com/office/drawing/2014/main" id="{0656C385-F30A-4AC8-AE9F-B1F66208B38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3123" y="4163918"/>
              <a:ext cx="266107" cy="248252"/>
            </a:xfrm>
            <a:custGeom>
              <a:avLst/>
              <a:gdLst>
                <a:gd name="T0" fmla="*/ 33 w 504"/>
                <a:gd name="T1" fmla="*/ 41 h 468"/>
                <a:gd name="T2" fmla="*/ 26 w 504"/>
                <a:gd name="T3" fmla="*/ 39 h 468"/>
                <a:gd name="T4" fmla="*/ 21 w 504"/>
                <a:gd name="T5" fmla="*/ 38 h 468"/>
                <a:gd name="T6" fmla="*/ 18 w 504"/>
                <a:gd name="T7" fmla="*/ 38 h 468"/>
                <a:gd name="T8" fmla="*/ 15 w 504"/>
                <a:gd name="T9" fmla="*/ 39 h 468"/>
                <a:gd name="T10" fmla="*/ 12 w 504"/>
                <a:gd name="T11" fmla="*/ 38 h 468"/>
                <a:gd name="T12" fmla="*/ 9 w 504"/>
                <a:gd name="T13" fmla="*/ 37 h 468"/>
                <a:gd name="T14" fmla="*/ 7 w 504"/>
                <a:gd name="T15" fmla="*/ 32 h 468"/>
                <a:gd name="T16" fmla="*/ 6 w 504"/>
                <a:gd name="T17" fmla="*/ 26 h 468"/>
                <a:gd name="T18" fmla="*/ 3 w 504"/>
                <a:gd name="T19" fmla="*/ 24 h 468"/>
                <a:gd name="T20" fmla="*/ 1 w 504"/>
                <a:gd name="T21" fmla="*/ 24 h 468"/>
                <a:gd name="T22" fmla="*/ 2 w 504"/>
                <a:gd name="T23" fmla="*/ 18 h 468"/>
                <a:gd name="T24" fmla="*/ 1 w 504"/>
                <a:gd name="T25" fmla="*/ 17 h 468"/>
                <a:gd name="T26" fmla="*/ 0 w 504"/>
                <a:gd name="T27" fmla="*/ 17 h 468"/>
                <a:gd name="T28" fmla="*/ 0 w 504"/>
                <a:gd name="T29" fmla="*/ 15 h 468"/>
                <a:gd name="T30" fmla="*/ 2 w 504"/>
                <a:gd name="T31" fmla="*/ 12 h 468"/>
                <a:gd name="T32" fmla="*/ 4 w 504"/>
                <a:gd name="T33" fmla="*/ 10 h 468"/>
                <a:gd name="T34" fmla="*/ 6 w 504"/>
                <a:gd name="T35" fmla="*/ 8 h 468"/>
                <a:gd name="T36" fmla="*/ 8 w 504"/>
                <a:gd name="T37" fmla="*/ 8 h 468"/>
                <a:gd name="T38" fmla="*/ 10 w 504"/>
                <a:gd name="T39" fmla="*/ 9 h 468"/>
                <a:gd name="T40" fmla="*/ 12 w 504"/>
                <a:gd name="T41" fmla="*/ 10 h 468"/>
                <a:gd name="T42" fmla="*/ 12 w 504"/>
                <a:gd name="T43" fmla="*/ 11 h 468"/>
                <a:gd name="T44" fmla="*/ 14 w 504"/>
                <a:gd name="T45" fmla="*/ 8 h 468"/>
                <a:gd name="T46" fmla="*/ 15 w 504"/>
                <a:gd name="T47" fmla="*/ 7 h 468"/>
                <a:gd name="T48" fmla="*/ 17 w 504"/>
                <a:gd name="T49" fmla="*/ 6 h 468"/>
                <a:gd name="T50" fmla="*/ 19 w 504"/>
                <a:gd name="T51" fmla="*/ 3 h 468"/>
                <a:gd name="T52" fmla="*/ 20 w 504"/>
                <a:gd name="T53" fmla="*/ 2 h 468"/>
                <a:gd name="T54" fmla="*/ 22 w 504"/>
                <a:gd name="T55" fmla="*/ 1 h 468"/>
                <a:gd name="T56" fmla="*/ 27 w 504"/>
                <a:gd name="T57" fmla="*/ 1 h 468"/>
                <a:gd name="T58" fmla="*/ 30 w 504"/>
                <a:gd name="T59" fmla="*/ 2 h 468"/>
                <a:gd name="T60" fmla="*/ 31 w 504"/>
                <a:gd name="T61" fmla="*/ 2 h 468"/>
                <a:gd name="T62" fmla="*/ 34 w 504"/>
                <a:gd name="T63" fmla="*/ 0 h 468"/>
                <a:gd name="T64" fmla="*/ 37 w 504"/>
                <a:gd name="T65" fmla="*/ 1 h 468"/>
                <a:gd name="T66" fmla="*/ 41 w 504"/>
                <a:gd name="T67" fmla="*/ 2 h 468"/>
                <a:gd name="T68" fmla="*/ 42 w 504"/>
                <a:gd name="T69" fmla="*/ 4 h 468"/>
                <a:gd name="T70" fmla="*/ 42 w 504"/>
                <a:gd name="T71" fmla="*/ 10 h 468"/>
                <a:gd name="T72" fmla="*/ 41 w 504"/>
                <a:gd name="T73" fmla="*/ 14 h 468"/>
                <a:gd name="T74" fmla="*/ 42 w 504"/>
                <a:gd name="T75" fmla="*/ 15 h 468"/>
                <a:gd name="T76" fmla="*/ 44 w 504"/>
                <a:gd name="T77" fmla="*/ 18 h 468"/>
                <a:gd name="T78" fmla="*/ 43 w 504"/>
                <a:gd name="T79" fmla="*/ 19 h 468"/>
                <a:gd name="T80" fmla="*/ 42 w 504"/>
                <a:gd name="T81" fmla="*/ 21 h 468"/>
                <a:gd name="T82" fmla="*/ 42 w 504"/>
                <a:gd name="T83" fmla="*/ 23 h 468"/>
                <a:gd name="T84" fmla="*/ 39 w 504"/>
                <a:gd name="T85" fmla="*/ 27 h 468"/>
                <a:gd name="T86" fmla="*/ 38 w 504"/>
                <a:gd name="T87" fmla="*/ 29 h 468"/>
                <a:gd name="T88" fmla="*/ 38 w 504"/>
                <a:gd name="T89" fmla="*/ 31 h 468"/>
                <a:gd name="T90" fmla="*/ 36 w 504"/>
                <a:gd name="T91" fmla="*/ 32 h 468"/>
                <a:gd name="T92" fmla="*/ 35 w 504"/>
                <a:gd name="T93" fmla="*/ 34 h 468"/>
                <a:gd name="T94" fmla="*/ 34 w 504"/>
                <a:gd name="T95" fmla="*/ 38 h 46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04"/>
                <a:gd name="T145" fmla="*/ 0 h 468"/>
                <a:gd name="T146" fmla="*/ 504 w 504"/>
                <a:gd name="T147" fmla="*/ 468 h 46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04" h="468">
                  <a:moveTo>
                    <a:pt x="390" y="456"/>
                  </a:moveTo>
                  <a:lnTo>
                    <a:pt x="384" y="468"/>
                  </a:lnTo>
                  <a:lnTo>
                    <a:pt x="378" y="468"/>
                  </a:lnTo>
                  <a:lnTo>
                    <a:pt x="354" y="468"/>
                  </a:lnTo>
                  <a:lnTo>
                    <a:pt x="348" y="462"/>
                  </a:lnTo>
                  <a:lnTo>
                    <a:pt x="300" y="456"/>
                  </a:lnTo>
                  <a:lnTo>
                    <a:pt x="270" y="444"/>
                  </a:lnTo>
                  <a:lnTo>
                    <a:pt x="252" y="438"/>
                  </a:lnTo>
                  <a:lnTo>
                    <a:pt x="240" y="438"/>
                  </a:lnTo>
                  <a:lnTo>
                    <a:pt x="234" y="438"/>
                  </a:lnTo>
                  <a:lnTo>
                    <a:pt x="228" y="444"/>
                  </a:lnTo>
                  <a:lnTo>
                    <a:pt x="210" y="444"/>
                  </a:lnTo>
                  <a:lnTo>
                    <a:pt x="198" y="444"/>
                  </a:lnTo>
                  <a:lnTo>
                    <a:pt x="198" y="450"/>
                  </a:lnTo>
                  <a:lnTo>
                    <a:pt x="168" y="456"/>
                  </a:lnTo>
                  <a:lnTo>
                    <a:pt x="150" y="450"/>
                  </a:lnTo>
                  <a:lnTo>
                    <a:pt x="144" y="444"/>
                  </a:lnTo>
                  <a:lnTo>
                    <a:pt x="132" y="438"/>
                  </a:lnTo>
                  <a:lnTo>
                    <a:pt x="138" y="432"/>
                  </a:lnTo>
                  <a:lnTo>
                    <a:pt x="114" y="432"/>
                  </a:lnTo>
                  <a:lnTo>
                    <a:pt x="102" y="426"/>
                  </a:lnTo>
                  <a:lnTo>
                    <a:pt x="90" y="414"/>
                  </a:lnTo>
                  <a:lnTo>
                    <a:pt x="72" y="402"/>
                  </a:lnTo>
                  <a:lnTo>
                    <a:pt x="78" y="366"/>
                  </a:lnTo>
                  <a:lnTo>
                    <a:pt x="78" y="330"/>
                  </a:lnTo>
                  <a:lnTo>
                    <a:pt x="66" y="318"/>
                  </a:lnTo>
                  <a:lnTo>
                    <a:pt x="66" y="300"/>
                  </a:lnTo>
                  <a:lnTo>
                    <a:pt x="66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30" y="282"/>
                  </a:lnTo>
                  <a:lnTo>
                    <a:pt x="24" y="282"/>
                  </a:lnTo>
                  <a:lnTo>
                    <a:pt x="12" y="276"/>
                  </a:lnTo>
                  <a:lnTo>
                    <a:pt x="0" y="282"/>
                  </a:lnTo>
                  <a:lnTo>
                    <a:pt x="12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2" y="198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6" y="180"/>
                  </a:lnTo>
                  <a:lnTo>
                    <a:pt x="12" y="186"/>
                  </a:lnTo>
                  <a:lnTo>
                    <a:pt x="18" y="138"/>
                  </a:lnTo>
                  <a:lnTo>
                    <a:pt x="24" y="126"/>
                  </a:lnTo>
                  <a:lnTo>
                    <a:pt x="30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20" y="102"/>
                  </a:lnTo>
                  <a:lnTo>
                    <a:pt x="126" y="108"/>
                  </a:lnTo>
                  <a:lnTo>
                    <a:pt x="126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0"/>
                  </a:lnTo>
                  <a:lnTo>
                    <a:pt x="156" y="96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16" y="42"/>
                  </a:lnTo>
                  <a:lnTo>
                    <a:pt x="222" y="36"/>
                  </a:lnTo>
                  <a:lnTo>
                    <a:pt x="228" y="36"/>
                  </a:lnTo>
                  <a:lnTo>
                    <a:pt x="228" y="30"/>
                  </a:lnTo>
                  <a:lnTo>
                    <a:pt x="228" y="24"/>
                  </a:lnTo>
                  <a:lnTo>
                    <a:pt x="246" y="18"/>
                  </a:lnTo>
                  <a:lnTo>
                    <a:pt x="252" y="18"/>
                  </a:lnTo>
                  <a:lnTo>
                    <a:pt x="258" y="12"/>
                  </a:lnTo>
                  <a:lnTo>
                    <a:pt x="270" y="6"/>
                  </a:lnTo>
                  <a:lnTo>
                    <a:pt x="288" y="6"/>
                  </a:lnTo>
                  <a:lnTo>
                    <a:pt x="312" y="12"/>
                  </a:lnTo>
                  <a:lnTo>
                    <a:pt x="324" y="12"/>
                  </a:lnTo>
                  <a:lnTo>
                    <a:pt x="336" y="18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14" y="12"/>
                  </a:lnTo>
                  <a:lnTo>
                    <a:pt x="426" y="12"/>
                  </a:lnTo>
                  <a:lnTo>
                    <a:pt x="444" y="18"/>
                  </a:lnTo>
                  <a:lnTo>
                    <a:pt x="462" y="18"/>
                  </a:lnTo>
                  <a:lnTo>
                    <a:pt x="474" y="18"/>
                  </a:lnTo>
                  <a:lnTo>
                    <a:pt x="480" y="18"/>
                  </a:lnTo>
                  <a:lnTo>
                    <a:pt x="486" y="36"/>
                  </a:lnTo>
                  <a:lnTo>
                    <a:pt x="480" y="42"/>
                  </a:lnTo>
                  <a:lnTo>
                    <a:pt x="480" y="54"/>
                  </a:lnTo>
                  <a:lnTo>
                    <a:pt x="486" y="78"/>
                  </a:lnTo>
                  <a:lnTo>
                    <a:pt x="486" y="114"/>
                  </a:lnTo>
                  <a:lnTo>
                    <a:pt x="486" y="150"/>
                  </a:lnTo>
                  <a:lnTo>
                    <a:pt x="468" y="150"/>
                  </a:lnTo>
                  <a:lnTo>
                    <a:pt x="474" y="162"/>
                  </a:lnTo>
                  <a:lnTo>
                    <a:pt x="480" y="162"/>
                  </a:lnTo>
                  <a:lnTo>
                    <a:pt x="486" y="174"/>
                  </a:lnTo>
                  <a:lnTo>
                    <a:pt x="492" y="174"/>
                  </a:lnTo>
                  <a:lnTo>
                    <a:pt x="492" y="192"/>
                  </a:lnTo>
                  <a:lnTo>
                    <a:pt x="498" y="198"/>
                  </a:lnTo>
                  <a:lnTo>
                    <a:pt x="504" y="204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8" y="222"/>
                  </a:lnTo>
                  <a:lnTo>
                    <a:pt x="492" y="228"/>
                  </a:lnTo>
                  <a:lnTo>
                    <a:pt x="492" y="234"/>
                  </a:lnTo>
                  <a:lnTo>
                    <a:pt x="492" y="240"/>
                  </a:lnTo>
                  <a:lnTo>
                    <a:pt x="486" y="246"/>
                  </a:lnTo>
                  <a:lnTo>
                    <a:pt x="486" y="258"/>
                  </a:lnTo>
                  <a:lnTo>
                    <a:pt x="480" y="264"/>
                  </a:lnTo>
                  <a:lnTo>
                    <a:pt x="474" y="276"/>
                  </a:lnTo>
                  <a:lnTo>
                    <a:pt x="468" y="288"/>
                  </a:lnTo>
                  <a:lnTo>
                    <a:pt x="456" y="306"/>
                  </a:lnTo>
                  <a:lnTo>
                    <a:pt x="456" y="312"/>
                  </a:lnTo>
                  <a:lnTo>
                    <a:pt x="444" y="318"/>
                  </a:lnTo>
                  <a:lnTo>
                    <a:pt x="432" y="336"/>
                  </a:lnTo>
                  <a:lnTo>
                    <a:pt x="432" y="342"/>
                  </a:lnTo>
                  <a:lnTo>
                    <a:pt x="432" y="348"/>
                  </a:lnTo>
                  <a:lnTo>
                    <a:pt x="432" y="354"/>
                  </a:lnTo>
                  <a:lnTo>
                    <a:pt x="426" y="366"/>
                  </a:lnTo>
                  <a:lnTo>
                    <a:pt x="420" y="366"/>
                  </a:lnTo>
                  <a:lnTo>
                    <a:pt x="420" y="372"/>
                  </a:lnTo>
                  <a:lnTo>
                    <a:pt x="414" y="378"/>
                  </a:lnTo>
                  <a:lnTo>
                    <a:pt x="414" y="390"/>
                  </a:lnTo>
                  <a:lnTo>
                    <a:pt x="408" y="390"/>
                  </a:lnTo>
                  <a:lnTo>
                    <a:pt x="408" y="402"/>
                  </a:lnTo>
                  <a:lnTo>
                    <a:pt x="402" y="414"/>
                  </a:lnTo>
                  <a:lnTo>
                    <a:pt x="396" y="438"/>
                  </a:lnTo>
                  <a:lnTo>
                    <a:pt x="396" y="444"/>
                  </a:lnTo>
                  <a:lnTo>
                    <a:pt x="390" y="45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11" name="Freeform 7">
              <a:extLst>
                <a:ext uri="{FF2B5EF4-FFF2-40B4-BE49-F238E27FC236}">
                  <a16:creationId xmlns:a16="http://schemas.microsoft.com/office/drawing/2014/main" id="{0D8DE62D-4554-4314-9F3A-7208D89B4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90838" y="4128134"/>
              <a:ext cx="283995" cy="411516"/>
            </a:xfrm>
            <a:custGeom>
              <a:avLst/>
              <a:gdLst>
                <a:gd name="T0" fmla="*/ 39 w 534"/>
                <a:gd name="T1" fmla="*/ 35 h 774"/>
                <a:gd name="T2" fmla="*/ 35 w 534"/>
                <a:gd name="T3" fmla="*/ 31 h 774"/>
                <a:gd name="T4" fmla="*/ 32 w 534"/>
                <a:gd name="T5" fmla="*/ 29 h 774"/>
                <a:gd name="T6" fmla="*/ 32 w 534"/>
                <a:gd name="T7" fmla="*/ 31 h 774"/>
                <a:gd name="T8" fmla="*/ 29 w 534"/>
                <a:gd name="T9" fmla="*/ 33 h 774"/>
                <a:gd name="T10" fmla="*/ 27 w 534"/>
                <a:gd name="T11" fmla="*/ 36 h 774"/>
                <a:gd name="T12" fmla="*/ 30 w 534"/>
                <a:gd name="T13" fmla="*/ 38 h 774"/>
                <a:gd name="T14" fmla="*/ 29 w 534"/>
                <a:gd name="T15" fmla="*/ 40 h 774"/>
                <a:gd name="T16" fmla="*/ 25 w 534"/>
                <a:gd name="T17" fmla="*/ 40 h 774"/>
                <a:gd name="T18" fmla="*/ 23 w 534"/>
                <a:gd name="T19" fmla="*/ 42 h 774"/>
                <a:gd name="T20" fmla="*/ 22 w 534"/>
                <a:gd name="T21" fmla="*/ 47 h 774"/>
                <a:gd name="T22" fmla="*/ 22 w 534"/>
                <a:gd name="T23" fmla="*/ 51 h 774"/>
                <a:gd name="T24" fmla="*/ 22 w 534"/>
                <a:gd name="T25" fmla="*/ 54 h 774"/>
                <a:gd name="T26" fmla="*/ 21 w 534"/>
                <a:gd name="T27" fmla="*/ 56 h 774"/>
                <a:gd name="T28" fmla="*/ 19 w 534"/>
                <a:gd name="T29" fmla="*/ 58 h 774"/>
                <a:gd name="T30" fmla="*/ 20 w 534"/>
                <a:gd name="T31" fmla="*/ 59 h 774"/>
                <a:gd name="T32" fmla="*/ 19 w 534"/>
                <a:gd name="T33" fmla="*/ 62 h 774"/>
                <a:gd name="T34" fmla="*/ 19 w 534"/>
                <a:gd name="T35" fmla="*/ 64 h 774"/>
                <a:gd name="T36" fmla="*/ 20 w 534"/>
                <a:gd name="T37" fmla="*/ 66 h 774"/>
                <a:gd name="T38" fmla="*/ 17 w 534"/>
                <a:gd name="T39" fmla="*/ 66 h 774"/>
                <a:gd name="T40" fmla="*/ 16 w 534"/>
                <a:gd name="T41" fmla="*/ 65 h 774"/>
                <a:gd name="T42" fmla="*/ 13 w 534"/>
                <a:gd name="T43" fmla="*/ 65 h 774"/>
                <a:gd name="T44" fmla="*/ 11 w 534"/>
                <a:gd name="T45" fmla="*/ 65 h 774"/>
                <a:gd name="T46" fmla="*/ 8 w 534"/>
                <a:gd name="T47" fmla="*/ 65 h 774"/>
                <a:gd name="T48" fmla="*/ 8 w 534"/>
                <a:gd name="T49" fmla="*/ 64 h 774"/>
                <a:gd name="T50" fmla="*/ 5 w 534"/>
                <a:gd name="T51" fmla="*/ 65 h 774"/>
                <a:gd name="T52" fmla="*/ 3 w 534"/>
                <a:gd name="T53" fmla="*/ 65 h 774"/>
                <a:gd name="T54" fmla="*/ 0 w 534"/>
                <a:gd name="T55" fmla="*/ 64 h 774"/>
                <a:gd name="T56" fmla="*/ 0 w 534"/>
                <a:gd name="T57" fmla="*/ 62 h 774"/>
                <a:gd name="T58" fmla="*/ 3 w 534"/>
                <a:gd name="T59" fmla="*/ 60 h 774"/>
                <a:gd name="T60" fmla="*/ 6 w 534"/>
                <a:gd name="T61" fmla="*/ 57 h 774"/>
                <a:gd name="T62" fmla="*/ 8 w 534"/>
                <a:gd name="T63" fmla="*/ 50 h 774"/>
                <a:gd name="T64" fmla="*/ 6 w 534"/>
                <a:gd name="T65" fmla="*/ 45 h 774"/>
                <a:gd name="T66" fmla="*/ 8 w 534"/>
                <a:gd name="T67" fmla="*/ 41 h 774"/>
                <a:gd name="T68" fmla="*/ 9 w 534"/>
                <a:gd name="T69" fmla="*/ 38 h 774"/>
                <a:gd name="T70" fmla="*/ 10 w 534"/>
                <a:gd name="T71" fmla="*/ 36 h 774"/>
                <a:gd name="T72" fmla="*/ 12 w 534"/>
                <a:gd name="T73" fmla="*/ 33 h 774"/>
                <a:gd name="T74" fmla="*/ 14 w 534"/>
                <a:gd name="T75" fmla="*/ 29 h 774"/>
                <a:gd name="T76" fmla="*/ 16 w 534"/>
                <a:gd name="T77" fmla="*/ 26 h 774"/>
                <a:gd name="T78" fmla="*/ 16 w 534"/>
                <a:gd name="T79" fmla="*/ 24 h 774"/>
                <a:gd name="T80" fmla="*/ 16 w 534"/>
                <a:gd name="T81" fmla="*/ 21 h 774"/>
                <a:gd name="T82" fmla="*/ 13 w 534"/>
                <a:gd name="T83" fmla="*/ 19 h 774"/>
                <a:gd name="T84" fmla="*/ 14 w 534"/>
                <a:gd name="T85" fmla="*/ 10 h 774"/>
                <a:gd name="T86" fmla="*/ 14 w 534"/>
                <a:gd name="T87" fmla="*/ 7 h 774"/>
                <a:gd name="T88" fmla="*/ 8 w 534"/>
                <a:gd name="T89" fmla="*/ 7 h 774"/>
                <a:gd name="T90" fmla="*/ 7 w 534"/>
                <a:gd name="T91" fmla="*/ 3 h 774"/>
                <a:gd name="T92" fmla="*/ 11 w 534"/>
                <a:gd name="T93" fmla="*/ 1 h 774"/>
                <a:gd name="T94" fmla="*/ 12 w 534"/>
                <a:gd name="T95" fmla="*/ 0 h 774"/>
                <a:gd name="T96" fmla="*/ 16 w 534"/>
                <a:gd name="T97" fmla="*/ 2 h 774"/>
                <a:gd name="T98" fmla="*/ 20 w 534"/>
                <a:gd name="T99" fmla="*/ 2 h 774"/>
                <a:gd name="T100" fmla="*/ 23 w 534"/>
                <a:gd name="T101" fmla="*/ 3 h 774"/>
                <a:gd name="T102" fmla="*/ 23 w 534"/>
                <a:gd name="T103" fmla="*/ 10 h 774"/>
                <a:gd name="T104" fmla="*/ 29 w 534"/>
                <a:gd name="T105" fmla="*/ 12 h 774"/>
                <a:gd name="T106" fmla="*/ 35 w 534"/>
                <a:gd name="T107" fmla="*/ 12 h 774"/>
                <a:gd name="T108" fmla="*/ 38 w 534"/>
                <a:gd name="T109" fmla="*/ 17 h 774"/>
                <a:gd name="T110" fmla="*/ 40 w 534"/>
                <a:gd name="T111" fmla="*/ 19 h 774"/>
                <a:gd name="T112" fmla="*/ 44 w 534"/>
                <a:gd name="T113" fmla="*/ 23 h 774"/>
                <a:gd name="T114" fmla="*/ 44 w 534"/>
                <a:gd name="T115" fmla="*/ 30 h 774"/>
                <a:gd name="T116" fmla="*/ 46 w 534"/>
                <a:gd name="T117" fmla="*/ 36 h 774"/>
                <a:gd name="T118" fmla="*/ 41 w 534"/>
                <a:gd name="T119" fmla="*/ 37 h 77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34"/>
                <a:gd name="T181" fmla="*/ 0 h 774"/>
                <a:gd name="T182" fmla="*/ 534 w 534"/>
                <a:gd name="T183" fmla="*/ 774 h 77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34" h="774">
                  <a:moveTo>
                    <a:pt x="462" y="426"/>
                  </a:moveTo>
                  <a:lnTo>
                    <a:pt x="462" y="414"/>
                  </a:lnTo>
                  <a:lnTo>
                    <a:pt x="450" y="402"/>
                  </a:lnTo>
                  <a:lnTo>
                    <a:pt x="444" y="396"/>
                  </a:lnTo>
                  <a:lnTo>
                    <a:pt x="420" y="396"/>
                  </a:lnTo>
                  <a:lnTo>
                    <a:pt x="408" y="390"/>
                  </a:lnTo>
                  <a:lnTo>
                    <a:pt x="402" y="366"/>
                  </a:lnTo>
                  <a:lnTo>
                    <a:pt x="390" y="354"/>
                  </a:lnTo>
                  <a:lnTo>
                    <a:pt x="384" y="336"/>
                  </a:lnTo>
                  <a:lnTo>
                    <a:pt x="378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8" y="348"/>
                  </a:lnTo>
                  <a:lnTo>
                    <a:pt x="360" y="354"/>
                  </a:lnTo>
                  <a:lnTo>
                    <a:pt x="360" y="390"/>
                  </a:lnTo>
                  <a:lnTo>
                    <a:pt x="348" y="390"/>
                  </a:lnTo>
                  <a:lnTo>
                    <a:pt x="342" y="384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90"/>
                  </a:lnTo>
                  <a:lnTo>
                    <a:pt x="312" y="402"/>
                  </a:lnTo>
                  <a:lnTo>
                    <a:pt x="306" y="420"/>
                  </a:lnTo>
                  <a:lnTo>
                    <a:pt x="324" y="414"/>
                  </a:lnTo>
                  <a:lnTo>
                    <a:pt x="330" y="414"/>
                  </a:lnTo>
                  <a:lnTo>
                    <a:pt x="336" y="420"/>
                  </a:lnTo>
                  <a:lnTo>
                    <a:pt x="336" y="432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6"/>
                  </a:lnTo>
                  <a:lnTo>
                    <a:pt x="318" y="456"/>
                  </a:lnTo>
                  <a:lnTo>
                    <a:pt x="300" y="456"/>
                  </a:lnTo>
                  <a:lnTo>
                    <a:pt x="288" y="462"/>
                  </a:lnTo>
                  <a:lnTo>
                    <a:pt x="276" y="462"/>
                  </a:lnTo>
                  <a:lnTo>
                    <a:pt x="270" y="462"/>
                  </a:lnTo>
                  <a:lnTo>
                    <a:pt x="270" y="468"/>
                  </a:lnTo>
                  <a:lnTo>
                    <a:pt x="252" y="468"/>
                  </a:lnTo>
                  <a:lnTo>
                    <a:pt x="258" y="480"/>
                  </a:lnTo>
                  <a:lnTo>
                    <a:pt x="258" y="492"/>
                  </a:lnTo>
                  <a:lnTo>
                    <a:pt x="258" y="498"/>
                  </a:lnTo>
                  <a:lnTo>
                    <a:pt x="258" y="510"/>
                  </a:lnTo>
                  <a:lnTo>
                    <a:pt x="252" y="540"/>
                  </a:lnTo>
                  <a:lnTo>
                    <a:pt x="246" y="564"/>
                  </a:lnTo>
                  <a:lnTo>
                    <a:pt x="246" y="570"/>
                  </a:lnTo>
                  <a:lnTo>
                    <a:pt x="252" y="576"/>
                  </a:lnTo>
                  <a:lnTo>
                    <a:pt x="246" y="582"/>
                  </a:lnTo>
                  <a:lnTo>
                    <a:pt x="252" y="600"/>
                  </a:lnTo>
                  <a:lnTo>
                    <a:pt x="258" y="606"/>
                  </a:lnTo>
                  <a:lnTo>
                    <a:pt x="258" y="612"/>
                  </a:lnTo>
                  <a:lnTo>
                    <a:pt x="252" y="618"/>
                  </a:lnTo>
                  <a:lnTo>
                    <a:pt x="246" y="624"/>
                  </a:lnTo>
                  <a:lnTo>
                    <a:pt x="246" y="630"/>
                  </a:lnTo>
                  <a:lnTo>
                    <a:pt x="246" y="636"/>
                  </a:lnTo>
                  <a:lnTo>
                    <a:pt x="240" y="642"/>
                  </a:lnTo>
                  <a:lnTo>
                    <a:pt x="234" y="654"/>
                  </a:lnTo>
                  <a:lnTo>
                    <a:pt x="228" y="654"/>
                  </a:lnTo>
                  <a:lnTo>
                    <a:pt x="222" y="660"/>
                  </a:lnTo>
                  <a:lnTo>
                    <a:pt x="216" y="666"/>
                  </a:lnTo>
                  <a:lnTo>
                    <a:pt x="210" y="666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22" y="684"/>
                  </a:lnTo>
                  <a:lnTo>
                    <a:pt x="222" y="690"/>
                  </a:lnTo>
                  <a:lnTo>
                    <a:pt x="222" y="696"/>
                  </a:lnTo>
                  <a:lnTo>
                    <a:pt x="222" y="702"/>
                  </a:lnTo>
                  <a:lnTo>
                    <a:pt x="216" y="708"/>
                  </a:lnTo>
                  <a:lnTo>
                    <a:pt x="210" y="720"/>
                  </a:lnTo>
                  <a:lnTo>
                    <a:pt x="216" y="732"/>
                  </a:lnTo>
                  <a:lnTo>
                    <a:pt x="210" y="732"/>
                  </a:lnTo>
                  <a:lnTo>
                    <a:pt x="216" y="738"/>
                  </a:lnTo>
                  <a:lnTo>
                    <a:pt x="216" y="744"/>
                  </a:lnTo>
                  <a:lnTo>
                    <a:pt x="222" y="750"/>
                  </a:lnTo>
                  <a:lnTo>
                    <a:pt x="228" y="756"/>
                  </a:lnTo>
                  <a:lnTo>
                    <a:pt x="222" y="762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04" y="762"/>
                  </a:lnTo>
                  <a:lnTo>
                    <a:pt x="198" y="762"/>
                  </a:lnTo>
                  <a:lnTo>
                    <a:pt x="192" y="762"/>
                  </a:lnTo>
                  <a:lnTo>
                    <a:pt x="186" y="756"/>
                  </a:lnTo>
                  <a:lnTo>
                    <a:pt x="180" y="750"/>
                  </a:lnTo>
                  <a:lnTo>
                    <a:pt x="180" y="744"/>
                  </a:lnTo>
                  <a:lnTo>
                    <a:pt x="174" y="744"/>
                  </a:lnTo>
                  <a:lnTo>
                    <a:pt x="156" y="750"/>
                  </a:lnTo>
                  <a:lnTo>
                    <a:pt x="150" y="750"/>
                  </a:lnTo>
                  <a:lnTo>
                    <a:pt x="144" y="750"/>
                  </a:lnTo>
                  <a:lnTo>
                    <a:pt x="138" y="750"/>
                  </a:lnTo>
                  <a:lnTo>
                    <a:pt x="138" y="744"/>
                  </a:lnTo>
                  <a:lnTo>
                    <a:pt x="132" y="744"/>
                  </a:lnTo>
                  <a:lnTo>
                    <a:pt x="120" y="744"/>
                  </a:lnTo>
                  <a:lnTo>
                    <a:pt x="114" y="738"/>
                  </a:lnTo>
                  <a:lnTo>
                    <a:pt x="108" y="744"/>
                  </a:lnTo>
                  <a:lnTo>
                    <a:pt x="102" y="744"/>
                  </a:lnTo>
                  <a:lnTo>
                    <a:pt x="96" y="744"/>
                  </a:lnTo>
                  <a:lnTo>
                    <a:pt x="96" y="738"/>
                  </a:lnTo>
                  <a:lnTo>
                    <a:pt x="96" y="744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44"/>
                  </a:lnTo>
                  <a:lnTo>
                    <a:pt x="72" y="750"/>
                  </a:lnTo>
                  <a:lnTo>
                    <a:pt x="66" y="750"/>
                  </a:lnTo>
                  <a:lnTo>
                    <a:pt x="60" y="750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0"/>
                  </a:lnTo>
                  <a:lnTo>
                    <a:pt x="30" y="750"/>
                  </a:lnTo>
                  <a:lnTo>
                    <a:pt x="24" y="744"/>
                  </a:lnTo>
                  <a:lnTo>
                    <a:pt x="18" y="738"/>
                  </a:lnTo>
                  <a:lnTo>
                    <a:pt x="6" y="738"/>
                  </a:lnTo>
                  <a:lnTo>
                    <a:pt x="0" y="732"/>
                  </a:lnTo>
                  <a:lnTo>
                    <a:pt x="0" y="726"/>
                  </a:lnTo>
                  <a:lnTo>
                    <a:pt x="0" y="720"/>
                  </a:lnTo>
                  <a:lnTo>
                    <a:pt x="6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8" y="702"/>
                  </a:lnTo>
                  <a:lnTo>
                    <a:pt x="24" y="696"/>
                  </a:lnTo>
                  <a:lnTo>
                    <a:pt x="30" y="696"/>
                  </a:lnTo>
                  <a:lnTo>
                    <a:pt x="48" y="690"/>
                  </a:lnTo>
                  <a:lnTo>
                    <a:pt x="54" y="678"/>
                  </a:lnTo>
                  <a:lnTo>
                    <a:pt x="66" y="672"/>
                  </a:lnTo>
                  <a:lnTo>
                    <a:pt x="66" y="654"/>
                  </a:lnTo>
                  <a:lnTo>
                    <a:pt x="72" y="636"/>
                  </a:lnTo>
                  <a:lnTo>
                    <a:pt x="72" y="612"/>
                  </a:lnTo>
                  <a:lnTo>
                    <a:pt x="84" y="594"/>
                  </a:lnTo>
                  <a:lnTo>
                    <a:pt x="90" y="576"/>
                  </a:lnTo>
                  <a:lnTo>
                    <a:pt x="96" y="552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72" y="522"/>
                  </a:lnTo>
                  <a:lnTo>
                    <a:pt x="78" y="510"/>
                  </a:lnTo>
                  <a:lnTo>
                    <a:pt x="78" y="504"/>
                  </a:lnTo>
                  <a:lnTo>
                    <a:pt x="84" y="480"/>
                  </a:lnTo>
                  <a:lnTo>
                    <a:pt x="90" y="468"/>
                  </a:lnTo>
                  <a:lnTo>
                    <a:pt x="90" y="456"/>
                  </a:lnTo>
                  <a:lnTo>
                    <a:pt x="96" y="456"/>
                  </a:lnTo>
                  <a:lnTo>
                    <a:pt x="96" y="444"/>
                  </a:lnTo>
                  <a:lnTo>
                    <a:pt x="102" y="438"/>
                  </a:lnTo>
                  <a:lnTo>
                    <a:pt x="102" y="432"/>
                  </a:lnTo>
                  <a:lnTo>
                    <a:pt x="108" y="432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14" y="408"/>
                  </a:lnTo>
                  <a:lnTo>
                    <a:pt x="114" y="402"/>
                  </a:lnTo>
                  <a:lnTo>
                    <a:pt x="126" y="384"/>
                  </a:lnTo>
                  <a:lnTo>
                    <a:pt x="138" y="378"/>
                  </a:lnTo>
                  <a:lnTo>
                    <a:pt x="138" y="372"/>
                  </a:lnTo>
                  <a:lnTo>
                    <a:pt x="150" y="354"/>
                  </a:lnTo>
                  <a:lnTo>
                    <a:pt x="156" y="342"/>
                  </a:lnTo>
                  <a:lnTo>
                    <a:pt x="162" y="330"/>
                  </a:lnTo>
                  <a:lnTo>
                    <a:pt x="168" y="324"/>
                  </a:lnTo>
                  <a:lnTo>
                    <a:pt x="168" y="312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74" y="294"/>
                  </a:lnTo>
                  <a:lnTo>
                    <a:pt x="180" y="288"/>
                  </a:lnTo>
                  <a:lnTo>
                    <a:pt x="180" y="276"/>
                  </a:lnTo>
                  <a:lnTo>
                    <a:pt x="186" y="276"/>
                  </a:lnTo>
                  <a:lnTo>
                    <a:pt x="186" y="270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40"/>
                  </a:lnTo>
                  <a:lnTo>
                    <a:pt x="168" y="240"/>
                  </a:lnTo>
                  <a:lnTo>
                    <a:pt x="162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68" y="216"/>
                  </a:lnTo>
                  <a:lnTo>
                    <a:pt x="168" y="180"/>
                  </a:lnTo>
                  <a:lnTo>
                    <a:pt x="168" y="144"/>
                  </a:lnTo>
                  <a:lnTo>
                    <a:pt x="162" y="120"/>
                  </a:lnTo>
                  <a:lnTo>
                    <a:pt x="162" y="108"/>
                  </a:lnTo>
                  <a:lnTo>
                    <a:pt x="168" y="102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44" y="84"/>
                  </a:lnTo>
                  <a:lnTo>
                    <a:pt x="126" y="84"/>
                  </a:lnTo>
                  <a:lnTo>
                    <a:pt x="108" y="78"/>
                  </a:lnTo>
                  <a:lnTo>
                    <a:pt x="96" y="78"/>
                  </a:lnTo>
                  <a:lnTo>
                    <a:pt x="78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8" y="36"/>
                  </a:lnTo>
                  <a:lnTo>
                    <a:pt x="96" y="24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56" y="0"/>
                  </a:lnTo>
                  <a:lnTo>
                    <a:pt x="156" y="6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18"/>
                  </a:lnTo>
                  <a:lnTo>
                    <a:pt x="198" y="18"/>
                  </a:lnTo>
                  <a:lnTo>
                    <a:pt x="210" y="18"/>
                  </a:lnTo>
                  <a:lnTo>
                    <a:pt x="222" y="18"/>
                  </a:lnTo>
                  <a:lnTo>
                    <a:pt x="234" y="12"/>
                  </a:lnTo>
                  <a:lnTo>
                    <a:pt x="252" y="18"/>
                  </a:lnTo>
                  <a:lnTo>
                    <a:pt x="252" y="24"/>
                  </a:lnTo>
                  <a:lnTo>
                    <a:pt x="258" y="36"/>
                  </a:lnTo>
                  <a:lnTo>
                    <a:pt x="258" y="66"/>
                  </a:lnTo>
                  <a:lnTo>
                    <a:pt x="252" y="84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82" y="126"/>
                  </a:lnTo>
                  <a:lnTo>
                    <a:pt x="294" y="132"/>
                  </a:lnTo>
                  <a:lnTo>
                    <a:pt x="306" y="138"/>
                  </a:lnTo>
                  <a:lnTo>
                    <a:pt x="324" y="138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60" y="144"/>
                  </a:lnTo>
                  <a:lnTo>
                    <a:pt x="396" y="144"/>
                  </a:lnTo>
                  <a:lnTo>
                    <a:pt x="408" y="150"/>
                  </a:lnTo>
                  <a:lnTo>
                    <a:pt x="414" y="180"/>
                  </a:lnTo>
                  <a:lnTo>
                    <a:pt x="420" y="186"/>
                  </a:lnTo>
                  <a:lnTo>
                    <a:pt x="426" y="192"/>
                  </a:lnTo>
                  <a:lnTo>
                    <a:pt x="426" y="198"/>
                  </a:lnTo>
                  <a:lnTo>
                    <a:pt x="432" y="198"/>
                  </a:lnTo>
                  <a:lnTo>
                    <a:pt x="438" y="210"/>
                  </a:lnTo>
                  <a:lnTo>
                    <a:pt x="450" y="216"/>
                  </a:lnTo>
                  <a:lnTo>
                    <a:pt x="468" y="228"/>
                  </a:lnTo>
                  <a:lnTo>
                    <a:pt x="492" y="234"/>
                  </a:lnTo>
                  <a:lnTo>
                    <a:pt x="492" y="246"/>
                  </a:lnTo>
                  <a:lnTo>
                    <a:pt x="492" y="270"/>
                  </a:lnTo>
                  <a:lnTo>
                    <a:pt x="486" y="294"/>
                  </a:lnTo>
                  <a:lnTo>
                    <a:pt x="486" y="312"/>
                  </a:lnTo>
                  <a:lnTo>
                    <a:pt x="486" y="330"/>
                  </a:lnTo>
                  <a:lnTo>
                    <a:pt x="492" y="348"/>
                  </a:lnTo>
                  <a:lnTo>
                    <a:pt x="498" y="360"/>
                  </a:lnTo>
                  <a:lnTo>
                    <a:pt x="510" y="366"/>
                  </a:lnTo>
                  <a:lnTo>
                    <a:pt x="516" y="384"/>
                  </a:lnTo>
                  <a:lnTo>
                    <a:pt x="522" y="414"/>
                  </a:lnTo>
                  <a:lnTo>
                    <a:pt x="528" y="414"/>
                  </a:lnTo>
                  <a:lnTo>
                    <a:pt x="534" y="426"/>
                  </a:lnTo>
                  <a:lnTo>
                    <a:pt x="528" y="432"/>
                  </a:lnTo>
                  <a:lnTo>
                    <a:pt x="468" y="426"/>
                  </a:lnTo>
                  <a:lnTo>
                    <a:pt x="462" y="4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3" name="Freeform 8">
              <a:extLst>
                <a:ext uri="{FF2B5EF4-FFF2-40B4-BE49-F238E27FC236}">
                  <a16:creationId xmlns:a16="http://schemas.microsoft.com/office/drawing/2014/main" id="{D473457C-872E-4E31-888A-D60FD52063A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98175" y="4307054"/>
              <a:ext cx="295177" cy="348894"/>
            </a:xfrm>
            <a:custGeom>
              <a:avLst/>
              <a:gdLst>
                <a:gd name="T0" fmla="*/ 3 w 552"/>
                <a:gd name="T1" fmla="*/ 46 h 660"/>
                <a:gd name="T2" fmla="*/ 4 w 552"/>
                <a:gd name="T3" fmla="*/ 42 h 660"/>
                <a:gd name="T4" fmla="*/ 2 w 552"/>
                <a:gd name="T5" fmla="*/ 38 h 660"/>
                <a:gd name="T6" fmla="*/ 0 w 552"/>
                <a:gd name="T7" fmla="*/ 34 h 660"/>
                <a:gd name="T8" fmla="*/ 2 w 552"/>
                <a:gd name="T9" fmla="*/ 30 h 660"/>
                <a:gd name="T10" fmla="*/ 3 w 552"/>
                <a:gd name="T11" fmla="*/ 27 h 660"/>
                <a:gd name="T12" fmla="*/ 5 w 552"/>
                <a:gd name="T13" fmla="*/ 23 h 660"/>
                <a:gd name="T14" fmla="*/ 5 w 552"/>
                <a:gd name="T15" fmla="*/ 15 h 660"/>
                <a:gd name="T16" fmla="*/ 6 w 552"/>
                <a:gd name="T17" fmla="*/ 11 h 660"/>
                <a:gd name="T18" fmla="*/ 11 w 552"/>
                <a:gd name="T19" fmla="*/ 9 h 660"/>
                <a:gd name="T20" fmla="*/ 10 w 552"/>
                <a:gd name="T21" fmla="*/ 5 h 660"/>
                <a:gd name="T22" fmla="*/ 12 w 552"/>
                <a:gd name="T23" fmla="*/ 1 h 660"/>
                <a:gd name="T24" fmla="*/ 16 w 552"/>
                <a:gd name="T25" fmla="*/ 2 h 660"/>
                <a:gd name="T26" fmla="*/ 23 w 552"/>
                <a:gd name="T27" fmla="*/ 8 h 660"/>
                <a:gd name="T28" fmla="*/ 23 w 552"/>
                <a:gd name="T29" fmla="*/ 11 h 660"/>
                <a:gd name="T30" fmla="*/ 27 w 552"/>
                <a:gd name="T31" fmla="*/ 12 h 660"/>
                <a:gd name="T32" fmla="*/ 29 w 552"/>
                <a:gd name="T33" fmla="*/ 17 h 660"/>
                <a:gd name="T34" fmla="*/ 31 w 552"/>
                <a:gd name="T35" fmla="*/ 15 h 660"/>
                <a:gd name="T36" fmla="*/ 33 w 552"/>
                <a:gd name="T37" fmla="*/ 17 h 660"/>
                <a:gd name="T38" fmla="*/ 36 w 552"/>
                <a:gd name="T39" fmla="*/ 23 h 660"/>
                <a:gd name="T40" fmla="*/ 41 w 552"/>
                <a:gd name="T41" fmla="*/ 33 h 660"/>
                <a:gd name="T42" fmla="*/ 43 w 552"/>
                <a:gd name="T43" fmla="*/ 36 h 660"/>
                <a:gd name="T44" fmla="*/ 43 w 552"/>
                <a:gd name="T45" fmla="*/ 37 h 660"/>
                <a:gd name="T46" fmla="*/ 41 w 552"/>
                <a:gd name="T47" fmla="*/ 35 h 660"/>
                <a:gd name="T48" fmla="*/ 43 w 552"/>
                <a:gd name="T49" fmla="*/ 37 h 660"/>
                <a:gd name="T50" fmla="*/ 44 w 552"/>
                <a:gd name="T51" fmla="*/ 39 h 660"/>
                <a:gd name="T52" fmla="*/ 47 w 552"/>
                <a:gd name="T53" fmla="*/ 41 h 660"/>
                <a:gd name="T54" fmla="*/ 47 w 552"/>
                <a:gd name="T55" fmla="*/ 44 h 660"/>
                <a:gd name="T56" fmla="*/ 48 w 552"/>
                <a:gd name="T57" fmla="*/ 46 h 660"/>
                <a:gd name="T58" fmla="*/ 47 w 552"/>
                <a:gd name="T59" fmla="*/ 46 h 660"/>
                <a:gd name="T60" fmla="*/ 44 w 552"/>
                <a:gd name="T61" fmla="*/ 46 h 660"/>
                <a:gd name="T62" fmla="*/ 47 w 552"/>
                <a:gd name="T63" fmla="*/ 47 h 660"/>
                <a:gd name="T64" fmla="*/ 47 w 552"/>
                <a:gd name="T65" fmla="*/ 49 h 660"/>
                <a:gd name="T66" fmla="*/ 47 w 552"/>
                <a:gd name="T67" fmla="*/ 52 h 660"/>
                <a:gd name="T68" fmla="*/ 46 w 552"/>
                <a:gd name="T69" fmla="*/ 53 h 660"/>
                <a:gd name="T70" fmla="*/ 43 w 552"/>
                <a:gd name="T71" fmla="*/ 54 h 660"/>
                <a:gd name="T72" fmla="*/ 37 w 552"/>
                <a:gd name="T73" fmla="*/ 54 h 660"/>
                <a:gd name="T74" fmla="*/ 30 w 552"/>
                <a:gd name="T75" fmla="*/ 54 h 660"/>
                <a:gd name="T76" fmla="*/ 29 w 552"/>
                <a:gd name="T77" fmla="*/ 53 h 660"/>
                <a:gd name="T78" fmla="*/ 27 w 552"/>
                <a:gd name="T79" fmla="*/ 53 h 660"/>
                <a:gd name="T80" fmla="*/ 29 w 552"/>
                <a:gd name="T81" fmla="*/ 53 h 660"/>
                <a:gd name="T82" fmla="*/ 28 w 552"/>
                <a:gd name="T83" fmla="*/ 54 h 660"/>
                <a:gd name="T84" fmla="*/ 24 w 552"/>
                <a:gd name="T85" fmla="*/ 54 h 660"/>
                <a:gd name="T86" fmla="*/ 20 w 552"/>
                <a:gd name="T87" fmla="*/ 55 h 660"/>
                <a:gd name="T88" fmla="*/ 15 w 552"/>
                <a:gd name="T89" fmla="*/ 56 h 660"/>
                <a:gd name="T90" fmla="*/ 12 w 552"/>
                <a:gd name="T91" fmla="*/ 56 h 660"/>
                <a:gd name="T92" fmla="*/ 11 w 552"/>
                <a:gd name="T93" fmla="*/ 57 h 660"/>
                <a:gd name="T94" fmla="*/ 9 w 552"/>
                <a:gd name="T95" fmla="*/ 57 h 660"/>
                <a:gd name="T96" fmla="*/ 7 w 552"/>
                <a:gd name="T97" fmla="*/ 56 h 660"/>
                <a:gd name="T98" fmla="*/ 5 w 552"/>
                <a:gd name="T99" fmla="*/ 55 h 660"/>
                <a:gd name="T100" fmla="*/ 7 w 552"/>
                <a:gd name="T101" fmla="*/ 54 h 660"/>
                <a:gd name="T102" fmla="*/ 5 w 552"/>
                <a:gd name="T103" fmla="*/ 54 h 660"/>
                <a:gd name="T104" fmla="*/ 5 w 552"/>
                <a:gd name="T105" fmla="*/ 53 h 660"/>
                <a:gd name="T106" fmla="*/ 4 w 552"/>
                <a:gd name="T107" fmla="*/ 49 h 660"/>
                <a:gd name="T108" fmla="*/ 45 w 552"/>
                <a:gd name="T109" fmla="*/ 38 h 66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52"/>
                <a:gd name="T166" fmla="*/ 0 h 660"/>
                <a:gd name="T167" fmla="*/ 552 w 552"/>
                <a:gd name="T168" fmla="*/ 660 h 66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52" h="660">
                  <a:moveTo>
                    <a:pt x="36" y="564"/>
                  </a:moveTo>
                  <a:lnTo>
                    <a:pt x="36" y="558"/>
                  </a:lnTo>
                  <a:lnTo>
                    <a:pt x="36" y="552"/>
                  </a:lnTo>
                  <a:lnTo>
                    <a:pt x="42" y="546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34"/>
                  </a:lnTo>
                  <a:lnTo>
                    <a:pt x="36" y="528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54" y="510"/>
                  </a:lnTo>
                  <a:lnTo>
                    <a:pt x="54" y="504"/>
                  </a:lnTo>
                  <a:lnTo>
                    <a:pt x="54" y="498"/>
                  </a:lnTo>
                  <a:lnTo>
                    <a:pt x="48" y="492"/>
                  </a:lnTo>
                  <a:lnTo>
                    <a:pt x="42" y="486"/>
                  </a:lnTo>
                  <a:lnTo>
                    <a:pt x="42" y="480"/>
                  </a:lnTo>
                  <a:lnTo>
                    <a:pt x="42" y="468"/>
                  </a:lnTo>
                  <a:lnTo>
                    <a:pt x="30" y="456"/>
                  </a:lnTo>
                  <a:lnTo>
                    <a:pt x="30" y="450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2"/>
                  </a:lnTo>
                  <a:lnTo>
                    <a:pt x="18" y="426"/>
                  </a:lnTo>
                  <a:lnTo>
                    <a:pt x="24" y="420"/>
                  </a:lnTo>
                  <a:lnTo>
                    <a:pt x="18" y="414"/>
                  </a:lnTo>
                  <a:lnTo>
                    <a:pt x="12" y="408"/>
                  </a:lnTo>
                  <a:lnTo>
                    <a:pt x="12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6" y="384"/>
                  </a:lnTo>
                  <a:lnTo>
                    <a:pt x="12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8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36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54" y="270"/>
                  </a:lnTo>
                  <a:lnTo>
                    <a:pt x="48" y="264"/>
                  </a:lnTo>
                  <a:lnTo>
                    <a:pt x="42" y="246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8" y="204"/>
                  </a:lnTo>
                  <a:lnTo>
                    <a:pt x="54" y="174"/>
                  </a:lnTo>
                  <a:lnTo>
                    <a:pt x="54" y="162"/>
                  </a:lnTo>
                  <a:lnTo>
                    <a:pt x="54" y="156"/>
                  </a:lnTo>
                  <a:lnTo>
                    <a:pt x="54" y="144"/>
                  </a:lnTo>
                  <a:lnTo>
                    <a:pt x="48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72" y="126"/>
                  </a:lnTo>
                  <a:lnTo>
                    <a:pt x="84" y="126"/>
                  </a:lnTo>
                  <a:lnTo>
                    <a:pt x="96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2" y="84"/>
                  </a:lnTo>
                  <a:lnTo>
                    <a:pt x="126" y="78"/>
                  </a:lnTo>
                  <a:lnTo>
                    <a:pt x="120" y="78"/>
                  </a:lnTo>
                  <a:lnTo>
                    <a:pt x="102" y="84"/>
                  </a:lnTo>
                  <a:lnTo>
                    <a:pt x="108" y="66"/>
                  </a:lnTo>
                  <a:lnTo>
                    <a:pt x="114" y="54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8" y="4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6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74" y="0"/>
                  </a:lnTo>
                  <a:lnTo>
                    <a:pt x="180" y="0"/>
                  </a:lnTo>
                  <a:lnTo>
                    <a:pt x="186" y="18"/>
                  </a:lnTo>
                  <a:lnTo>
                    <a:pt x="198" y="30"/>
                  </a:lnTo>
                  <a:lnTo>
                    <a:pt x="204" y="54"/>
                  </a:lnTo>
                  <a:lnTo>
                    <a:pt x="216" y="60"/>
                  </a:lnTo>
                  <a:lnTo>
                    <a:pt x="240" y="60"/>
                  </a:lnTo>
                  <a:lnTo>
                    <a:pt x="246" y="66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2" y="120"/>
                  </a:lnTo>
                  <a:lnTo>
                    <a:pt x="25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6" y="126"/>
                  </a:lnTo>
                  <a:lnTo>
                    <a:pt x="282" y="120"/>
                  </a:lnTo>
                  <a:lnTo>
                    <a:pt x="282" y="126"/>
                  </a:lnTo>
                  <a:lnTo>
                    <a:pt x="294" y="126"/>
                  </a:lnTo>
                  <a:lnTo>
                    <a:pt x="300" y="132"/>
                  </a:lnTo>
                  <a:lnTo>
                    <a:pt x="306" y="144"/>
                  </a:lnTo>
                  <a:lnTo>
                    <a:pt x="312" y="144"/>
                  </a:lnTo>
                  <a:lnTo>
                    <a:pt x="312" y="150"/>
                  </a:lnTo>
                  <a:lnTo>
                    <a:pt x="312" y="162"/>
                  </a:lnTo>
                  <a:lnTo>
                    <a:pt x="312" y="174"/>
                  </a:lnTo>
                  <a:lnTo>
                    <a:pt x="324" y="180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30" y="192"/>
                  </a:lnTo>
                  <a:lnTo>
                    <a:pt x="336" y="198"/>
                  </a:lnTo>
                  <a:lnTo>
                    <a:pt x="342" y="192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54" y="180"/>
                  </a:lnTo>
                  <a:lnTo>
                    <a:pt x="354" y="174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84" y="192"/>
                  </a:lnTo>
                  <a:lnTo>
                    <a:pt x="390" y="204"/>
                  </a:lnTo>
                  <a:lnTo>
                    <a:pt x="390" y="210"/>
                  </a:lnTo>
                  <a:lnTo>
                    <a:pt x="390" y="216"/>
                  </a:lnTo>
                  <a:lnTo>
                    <a:pt x="384" y="234"/>
                  </a:lnTo>
                  <a:lnTo>
                    <a:pt x="390" y="240"/>
                  </a:lnTo>
                  <a:lnTo>
                    <a:pt x="408" y="252"/>
                  </a:lnTo>
                  <a:lnTo>
                    <a:pt x="414" y="264"/>
                  </a:lnTo>
                  <a:lnTo>
                    <a:pt x="408" y="300"/>
                  </a:lnTo>
                  <a:lnTo>
                    <a:pt x="414" y="312"/>
                  </a:lnTo>
                  <a:lnTo>
                    <a:pt x="426" y="336"/>
                  </a:lnTo>
                  <a:lnTo>
                    <a:pt x="438" y="354"/>
                  </a:lnTo>
                  <a:lnTo>
                    <a:pt x="444" y="366"/>
                  </a:lnTo>
                  <a:lnTo>
                    <a:pt x="456" y="366"/>
                  </a:lnTo>
                  <a:lnTo>
                    <a:pt x="474" y="378"/>
                  </a:lnTo>
                  <a:lnTo>
                    <a:pt x="474" y="384"/>
                  </a:lnTo>
                  <a:lnTo>
                    <a:pt x="480" y="390"/>
                  </a:lnTo>
                  <a:lnTo>
                    <a:pt x="486" y="396"/>
                  </a:lnTo>
                  <a:lnTo>
                    <a:pt x="486" y="402"/>
                  </a:lnTo>
                  <a:lnTo>
                    <a:pt x="480" y="408"/>
                  </a:lnTo>
                  <a:lnTo>
                    <a:pt x="486" y="408"/>
                  </a:lnTo>
                  <a:lnTo>
                    <a:pt x="486" y="414"/>
                  </a:lnTo>
                  <a:lnTo>
                    <a:pt x="492" y="414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32"/>
                  </a:lnTo>
                  <a:lnTo>
                    <a:pt x="498" y="438"/>
                  </a:lnTo>
                  <a:lnTo>
                    <a:pt x="492" y="432"/>
                  </a:lnTo>
                  <a:lnTo>
                    <a:pt x="486" y="426"/>
                  </a:lnTo>
                  <a:lnTo>
                    <a:pt x="486" y="420"/>
                  </a:lnTo>
                  <a:lnTo>
                    <a:pt x="486" y="414"/>
                  </a:lnTo>
                  <a:lnTo>
                    <a:pt x="480" y="414"/>
                  </a:lnTo>
                  <a:lnTo>
                    <a:pt x="480" y="408"/>
                  </a:lnTo>
                  <a:lnTo>
                    <a:pt x="474" y="408"/>
                  </a:lnTo>
                  <a:lnTo>
                    <a:pt x="468" y="408"/>
                  </a:lnTo>
                  <a:lnTo>
                    <a:pt x="468" y="402"/>
                  </a:lnTo>
                  <a:lnTo>
                    <a:pt x="462" y="402"/>
                  </a:lnTo>
                  <a:lnTo>
                    <a:pt x="462" y="408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80" y="426"/>
                  </a:lnTo>
                  <a:lnTo>
                    <a:pt x="486" y="426"/>
                  </a:lnTo>
                  <a:lnTo>
                    <a:pt x="486" y="432"/>
                  </a:lnTo>
                  <a:lnTo>
                    <a:pt x="492" y="438"/>
                  </a:lnTo>
                  <a:lnTo>
                    <a:pt x="498" y="438"/>
                  </a:lnTo>
                  <a:lnTo>
                    <a:pt x="504" y="444"/>
                  </a:lnTo>
                  <a:lnTo>
                    <a:pt x="510" y="444"/>
                  </a:lnTo>
                  <a:lnTo>
                    <a:pt x="510" y="450"/>
                  </a:lnTo>
                  <a:lnTo>
                    <a:pt x="510" y="456"/>
                  </a:lnTo>
                  <a:lnTo>
                    <a:pt x="516" y="456"/>
                  </a:lnTo>
                  <a:lnTo>
                    <a:pt x="516" y="462"/>
                  </a:lnTo>
                  <a:lnTo>
                    <a:pt x="522" y="462"/>
                  </a:lnTo>
                  <a:lnTo>
                    <a:pt x="522" y="468"/>
                  </a:lnTo>
                  <a:lnTo>
                    <a:pt x="528" y="468"/>
                  </a:lnTo>
                  <a:lnTo>
                    <a:pt x="534" y="468"/>
                  </a:lnTo>
                  <a:lnTo>
                    <a:pt x="534" y="474"/>
                  </a:lnTo>
                  <a:lnTo>
                    <a:pt x="540" y="474"/>
                  </a:lnTo>
                  <a:lnTo>
                    <a:pt x="540" y="480"/>
                  </a:lnTo>
                  <a:lnTo>
                    <a:pt x="546" y="486"/>
                  </a:lnTo>
                  <a:lnTo>
                    <a:pt x="546" y="492"/>
                  </a:lnTo>
                  <a:lnTo>
                    <a:pt x="546" y="498"/>
                  </a:lnTo>
                  <a:lnTo>
                    <a:pt x="546" y="504"/>
                  </a:lnTo>
                  <a:lnTo>
                    <a:pt x="540" y="504"/>
                  </a:lnTo>
                  <a:lnTo>
                    <a:pt x="546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10"/>
                  </a:lnTo>
                  <a:lnTo>
                    <a:pt x="552" y="516"/>
                  </a:lnTo>
                  <a:lnTo>
                    <a:pt x="552" y="522"/>
                  </a:lnTo>
                  <a:lnTo>
                    <a:pt x="552" y="528"/>
                  </a:lnTo>
                  <a:lnTo>
                    <a:pt x="552" y="534"/>
                  </a:lnTo>
                  <a:lnTo>
                    <a:pt x="552" y="540"/>
                  </a:lnTo>
                  <a:lnTo>
                    <a:pt x="546" y="540"/>
                  </a:lnTo>
                  <a:lnTo>
                    <a:pt x="546" y="546"/>
                  </a:lnTo>
                  <a:lnTo>
                    <a:pt x="546" y="540"/>
                  </a:lnTo>
                  <a:lnTo>
                    <a:pt x="546" y="534"/>
                  </a:lnTo>
                  <a:lnTo>
                    <a:pt x="540" y="534"/>
                  </a:lnTo>
                  <a:lnTo>
                    <a:pt x="540" y="528"/>
                  </a:lnTo>
                  <a:lnTo>
                    <a:pt x="534" y="528"/>
                  </a:lnTo>
                  <a:lnTo>
                    <a:pt x="528" y="528"/>
                  </a:lnTo>
                  <a:lnTo>
                    <a:pt x="522" y="528"/>
                  </a:lnTo>
                  <a:lnTo>
                    <a:pt x="516" y="528"/>
                  </a:lnTo>
                  <a:lnTo>
                    <a:pt x="510" y="528"/>
                  </a:lnTo>
                  <a:lnTo>
                    <a:pt x="510" y="534"/>
                  </a:lnTo>
                  <a:lnTo>
                    <a:pt x="510" y="528"/>
                  </a:lnTo>
                  <a:lnTo>
                    <a:pt x="516" y="528"/>
                  </a:lnTo>
                  <a:lnTo>
                    <a:pt x="522" y="528"/>
                  </a:lnTo>
                  <a:lnTo>
                    <a:pt x="528" y="528"/>
                  </a:lnTo>
                  <a:lnTo>
                    <a:pt x="534" y="534"/>
                  </a:lnTo>
                  <a:lnTo>
                    <a:pt x="540" y="534"/>
                  </a:lnTo>
                  <a:lnTo>
                    <a:pt x="540" y="540"/>
                  </a:lnTo>
                  <a:lnTo>
                    <a:pt x="540" y="546"/>
                  </a:lnTo>
                  <a:lnTo>
                    <a:pt x="546" y="546"/>
                  </a:lnTo>
                  <a:lnTo>
                    <a:pt x="546" y="552"/>
                  </a:lnTo>
                  <a:lnTo>
                    <a:pt x="552" y="552"/>
                  </a:lnTo>
                  <a:lnTo>
                    <a:pt x="552" y="558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0" y="576"/>
                  </a:lnTo>
                  <a:lnTo>
                    <a:pt x="540" y="582"/>
                  </a:lnTo>
                  <a:lnTo>
                    <a:pt x="540" y="588"/>
                  </a:lnTo>
                  <a:lnTo>
                    <a:pt x="534" y="594"/>
                  </a:lnTo>
                  <a:lnTo>
                    <a:pt x="534" y="600"/>
                  </a:lnTo>
                  <a:lnTo>
                    <a:pt x="528" y="600"/>
                  </a:lnTo>
                  <a:lnTo>
                    <a:pt x="522" y="594"/>
                  </a:lnTo>
                  <a:lnTo>
                    <a:pt x="528" y="600"/>
                  </a:lnTo>
                  <a:lnTo>
                    <a:pt x="534" y="600"/>
                  </a:lnTo>
                  <a:lnTo>
                    <a:pt x="534" y="606"/>
                  </a:lnTo>
                  <a:lnTo>
                    <a:pt x="528" y="606"/>
                  </a:lnTo>
                  <a:lnTo>
                    <a:pt x="528" y="612"/>
                  </a:lnTo>
                  <a:lnTo>
                    <a:pt x="522" y="612"/>
                  </a:lnTo>
                  <a:lnTo>
                    <a:pt x="522" y="618"/>
                  </a:lnTo>
                  <a:lnTo>
                    <a:pt x="522" y="624"/>
                  </a:lnTo>
                  <a:lnTo>
                    <a:pt x="510" y="624"/>
                  </a:lnTo>
                  <a:lnTo>
                    <a:pt x="498" y="624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0" y="624"/>
                  </a:lnTo>
                  <a:lnTo>
                    <a:pt x="474" y="624"/>
                  </a:lnTo>
                  <a:lnTo>
                    <a:pt x="468" y="618"/>
                  </a:lnTo>
                  <a:lnTo>
                    <a:pt x="456" y="618"/>
                  </a:lnTo>
                  <a:lnTo>
                    <a:pt x="450" y="618"/>
                  </a:lnTo>
                  <a:lnTo>
                    <a:pt x="426" y="618"/>
                  </a:lnTo>
                  <a:lnTo>
                    <a:pt x="420" y="618"/>
                  </a:lnTo>
                  <a:lnTo>
                    <a:pt x="414" y="618"/>
                  </a:lnTo>
                  <a:lnTo>
                    <a:pt x="408" y="618"/>
                  </a:lnTo>
                  <a:lnTo>
                    <a:pt x="396" y="618"/>
                  </a:lnTo>
                  <a:lnTo>
                    <a:pt x="366" y="618"/>
                  </a:lnTo>
                  <a:lnTo>
                    <a:pt x="348" y="624"/>
                  </a:lnTo>
                  <a:lnTo>
                    <a:pt x="342" y="624"/>
                  </a:lnTo>
                  <a:lnTo>
                    <a:pt x="342" y="618"/>
                  </a:lnTo>
                  <a:lnTo>
                    <a:pt x="336" y="618"/>
                  </a:lnTo>
                  <a:lnTo>
                    <a:pt x="336" y="612"/>
                  </a:lnTo>
                  <a:lnTo>
                    <a:pt x="342" y="612"/>
                  </a:lnTo>
                  <a:lnTo>
                    <a:pt x="348" y="612"/>
                  </a:lnTo>
                  <a:lnTo>
                    <a:pt x="342" y="612"/>
                  </a:lnTo>
                  <a:lnTo>
                    <a:pt x="336" y="612"/>
                  </a:lnTo>
                  <a:lnTo>
                    <a:pt x="336" y="606"/>
                  </a:lnTo>
                  <a:lnTo>
                    <a:pt x="330" y="606"/>
                  </a:lnTo>
                  <a:lnTo>
                    <a:pt x="330" y="600"/>
                  </a:lnTo>
                  <a:lnTo>
                    <a:pt x="324" y="600"/>
                  </a:lnTo>
                  <a:lnTo>
                    <a:pt x="324" y="606"/>
                  </a:lnTo>
                  <a:lnTo>
                    <a:pt x="318" y="606"/>
                  </a:lnTo>
                  <a:lnTo>
                    <a:pt x="318" y="612"/>
                  </a:lnTo>
                  <a:lnTo>
                    <a:pt x="312" y="612"/>
                  </a:lnTo>
                  <a:lnTo>
                    <a:pt x="306" y="606"/>
                  </a:lnTo>
                  <a:lnTo>
                    <a:pt x="306" y="612"/>
                  </a:lnTo>
                  <a:lnTo>
                    <a:pt x="312" y="612"/>
                  </a:lnTo>
                  <a:lnTo>
                    <a:pt x="318" y="612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30" y="606"/>
                  </a:lnTo>
                  <a:lnTo>
                    <a:pt x="336" y="612"/>
                  </a:lnTo>
                  <a:lnTo>
                    <a:pt x="336" y="618"/>
                  </a:lnTo>
                  <a:lnTo>
                    <a:pt x="330" y="618"/>
                  </a:lnTo>
                  <a:lnTo>
                    <a:pt x="336" y="618"/>
                  </a:lnTo>
                  <a:lnTo>
                    <a:pt x="336" y="624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288" y="624"/>
                  </a:lnTo>
                  <a:lnTo>
                    <a:pt x="282" y="624"/>
                  </a:lnTo>
                  <a:lnTo>
                    <a:pt x="270" y="630"/>
                  </a:lnTo>
                  <a:lnTo>
                    <a:pt x="264" y="630"/>
                  </a:lnTo>
                  <a:lnTo>
                    <a:pt x="258" y="630"/>
                  </a:lnTo>
                  <a:lnTo>
                    <a:pt x="252" y="630"/>
                  </a:lnTo>
                  <a:lnTo>
                    <a:pt x="246" y="630"/>
                  </a:lnTo>
                  <a:lnTo>
                    <a:pt x="240" y="630"/>
                  </a:lnTo>
                  <a:lnTo>
                    <a:pt x="228" y="636"/>
                  </a:lnTo>
                  <a:lnTo>
                    <a:pt x="222" y="636"/>
                  </a:lnTo>
                  <a:lnTo>
                    <a:pt x="210" y="636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42"/>
                  </a:lnTo>
                  <a:lnTo>
                    <a:pt x="186" y="642"/>
                  </a:lnTo>
                  <a:lnTo>
                    <a:pt x="180" y="642"/>
                  </a:lnTo>
                  <a:lnTo>
                    <a:pt x="168" y="642"/>
                  </a:lnTo>
                  <a:lnTo>
                    <a:pt x="162" y="642"/>
                  </a:lnTo>
                  <a:lnTo>
                    <a:pt x="162" y="648"/>
                  </a:lnTo>
                  <a:lnTo>
                    <a:pt x="156" y="648"/>
                  </a:lnTo>
                  <a:lnTo>
                    <a:pt x="150" y="648"/>
                  </a:lnTo>
                  <a:lnTo>
                    <a:pt x="144" y="648"/>
                  </a:lnTo>
                  <a:lnTo>
                    <a:pt x="138" y="648"/>
                  </a:lnTo>
                  <a:lnTo>
                    <a:pt x="132" y="648"/>
                  </a:lnTo>
                  <a:lnTo>
                    <a:pt x="126" y="642"/>
                  </a:lnTo>
                  <a:lnTo>
                    <a:pt x="126" y="636"/>
                  </a:lnTo>
                  <a:lnTo>
                    <a:pt x="120" y="636"/>
                  </a:lnTo>
                  <a:lnTo>
                    <a:pt x="126" y="642"/>
                  </a:lnTo>
                  <a:lnTo>
                    <a:pt x="126" y="648"/>
                  </a:lnTo>
                  <a:lnTo>
                    <a:pt x="132" y="648"/>
                  </a:lnTo>
                  <a:lnTo>
                    <a:pt x="126" y="654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54"/>
                  </a:lnTo>
                  <a:lnTo>
                    <a:pt x="108" y="660"/>
                  </a:lnTo>
                  <a:lnTo>
                    <a:pt x="108" y="654"/>
                  </a:lnTo>
                  <a:lnTo>
                    <a:pt x="102" y="654"/>
                  </a:lnTo>
                  <a:lnTo>
                    <a:pt x="102" y="660"/>
                  </a:lnTo>
                  <a:lnTo>
                    <a:pt x="108" y="660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0" y="660"/>
                  </a:lnTo>
                  <a:lnTo>
                    <a:pt x="90" y="654"/>
                  </a:lnTo>
                  <a:lnTo>
                    <a:pt x="84" y="648"/>
                  </a:lnTo>
                  <a:lnTo>
                    <a:pt x="84" y="642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72" y="636"/>
                  </a:lnTo>
                  <a:lnTo>
                    <a:pt x="78" y="636"/>
                  </a:lnTo>
                  <a:lnTo>
                    <a:pt x="72" y="636"/>
                  </a:lnTo>
                  <a:lnTo>
                    <a:pt x="66" y="636"/>
                  </a:lnTo>
                  <a:lnTo>
                    <a:pt x="60" y="636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60" y="618"/>
                  </a:lnTo>
                  <a:lnTo>
                    <a:pt x="66" y="618"/>
                  </a:lnTo>
                  <a:lnTo>
                    <a:pt x="72" y="618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2" y="612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12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54" y="618"/>
                  </a:lnTo>
                  <a:lnTo>
                    <a:pt x="54" y="624"/>
                  </a:lnTo>
                  <a:lnTo>
                    <a:pt x="48" y="618"/>
                  </a:lnTo>
                  <a:lnTo>
                    <a:pt x="42" y="618"/>
                  </a:lnTo>
                  <a:lnTo>
                    <a:pt x="42" y="612"/>
                  </a:lnTo>
                  <a:lnTo>
                    <a:pt x="48" y="606"/>
                  </a:lnTo>
                  <a:lnTo>
                    <a:pt x="54" y="606"/>
                  </a:lnTo>
                  <a:lnTo>
                    <a:pt x="54" y="600"/>
                  </a:lnTo>
                  <a:lnTo>
                    <a:pt x="54" y="594"/>
                  </a:lnTo>
                  <a:lnTo>
                    <a:pt x="54" y="588"/>
                  </a:lnTo>
                  <a:lnTo>
                    <a:pt x="48" y="588"/>
                  </a:lnTo>
                  <a:lnTo>
                    <a:pt x="48" y="582"/>
                  </a:lnTo>
                  <a:lnTo>
                    <a:pt x="42" y="582"/>
                  </a:lnTo>
                  <a:lnTo>
                    <a:pt x="42" y="570"/>
                  </a:lnTo>
                  <a:lnTo>
                    <a:pt x="42" y="564"/>
                  </a:lnTo>
                  <a:lnTo>
                    <a:pt x="36" y="564"/>
                  </a:lnTo>
                  <a:close/>
                  <a:moveTo>
                    <a:pt x="498" y="420"/>
                  </a:moveTo>
                  <a:lnTo>
                    <a:pt x="504" y="426"/>
                  </a:lnTo>
                  <a:lnTo>
                    <a:pt x="510" y="432"/>
                  </a:lnTo>
                  <a:lnTo>
                    <a:pt x="516" y="432"/>
                  </a:lnTo>
                  <a:lnTo>
                    <a:pt x="516" y="438"/>
                  </a:lnTo>
                  <a:lnTo>
                    <a:pt x="510" y="438"/>
                  </a:lnTo>
                  <a:lnTo>
                    <a:pt x="504" y="438"/>
                  </a:lnTo>
                  <a:lnTo>
                    <a:pt x="504" y="432"/>
                  </a:lnTo>
                  <a:lnTo>
                    <a:pt x="498" y="432"/>
                  </a:lnTo>
                  <a:lnTo>
                    <a:pt x="498" y="426"/>
                  </a:lnTo>
                  <a:lnTo>
                    <a:pt x="498" y="420"/>
                  </a:lnTo>
                  <a:close/>
                </a:path>
              </a:pathLst>
            </a:custGeom>
            <a:solidFill>
              <a:srgbClr val="2A4F1D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4" name="Freeform 9">
              <a:extLst>
                <a:ext uri="{FF2B5EF4-FFF2-40B4-BE49-F238E27FC236}">
                  <a16:creationId xmlns:a16="http://schemas.microsoft.com/office/drawing/2014/main" id="{E0116D32-BD2E-45EA-B818-A3082585D5F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3055" y="2468650"/>
              <a:ext cx="800556" cy="1207710"/>
            </a:xfrm>
            <a:custGeom>
              <a:avLst/>
              <a:gdLst>
                <a:gd name="T0" fmla="*/ 24 w 1506"/>
                <a:gd name="T1" fmla="*/ 190 h 2274"/>
                <a:gd name="T2" fmla="*/ 25 w 1506"/>
                <a:gd name="T3" fmla="*/ 180 h 2274"/>
                <a:gd name="T4" fmla="*/ 21 w 1506"/>
                <a:gd name="T5" fmla="*/ 174 h 2274"/>
                <a:gd name="T6" fmla="*/ 17 w 1506"/>
                <a:gd name="T7" fmla="*/ 170 h 2274"/>
                <a:gd name="T8" fmla="*/ 12 w 1506"/>
                <a:gd name="T9" fmla="*/ 168 h 2274"/>
                <a:gd name="T10" fmla="*/ 10 w 1506"/>
                <a:gd name="T11" fmla="*/ 173 h 2274"/>
                <a:gd name="T12" fmla="*/ 7 w 1506"/>
                <a:gd name="T13" fmla="*/ 174 h 2274"/>
                <a:gd name="T14" fmla="*/ 0 w 1506"/>
                <a:gd name="T15" fmla="*/ 163 h 2274"/>
                <a:gd name="T16" fmla="*/ 16 w 1506"/>
                <a:gd name="T17" fmla="*/ 140 h 2274"/>
                <a:gd name="T18" fmla="*/ 19 w 1506"/>
                <a:gd name="T19" fmla="*/ 137 h 2274"/>
                <a:gd name="T20" fmla="*/ 24 w 1506"/>
                <a:gd name="T21" fmla="*/ 126 h 2274"/>
                <a:gd name="T22" fmla="*/ 23 w 1506"/>
                <a:gd name="T23" fmla="*/ 105 h 2274"/>
                <a:gd name="T24" fmla="*/ 14 w 1506"/>
                <a:gd name="T25" fmla="*/ 86 h 2274"/>
                <a:gd name="T26" fmla="*/ 8 w 1506"/>
                <a:gd name="T27" fmla="*/ 84 h 2274"/>
                <a:gd name="T28" fmla="*/ 5 w 1506"/>
                <a:gd name="T29" fmla="*/ 79 h 2274"/>
                <a:gd name="T30" fmla="*/ 16 w 1506"/>
                <a:gd name="T31" fmla="*/ 71 h 2274"/>
                <a:gd name="T32" fmla="*/ 28 w 1506"/>
                <a:gd name="T33" fmla="*/ 55 h 2274"/>
                <a:gd name="T34" fmla="*/ 29 w 1506"/>
                <a:gd name="T35" fmla="*/ 48 h 2274"/>
                <a:gd name="T36" fmla="*/ 35 w 1506"/>
                <a:gd name="T37" fmla="*/ 50 h 2274"/>
                <a:gd name="T38" fmla="*/ 42 w 1506"/>
                <a:gd name="T39" fmla="*/ 47 h 2274"/>
                <a:gd name="T40" fmla="*/ 63 w 1506"/>
                <a:gd name="T41" fmla="*/ 34 h 2274"/>
                <a:gd name="T42" fmla="*/ 74 w 1506"/>
                <a:gd name="T43" fmla="*/ 27 h 2274"/>
                <a:gd name="T44" fmla="*/ 81 w 1506"/>
                <a:gd name="T45" fmla="*/ 20 h 2274"/>
                <a:gd name="T46" fmla="*/ 89 w 1506"/>
                <a:gd name="T47" fmla="*/ 20 h 2274"/>
                <a:gd name="T48" fmla="*/ 98 w 1506"/>
                <a:gd name="T49" fmla="*/ 27 h 2274"/>
                <a:gd name="T50" fmla="*/ 106 w 1506"/>
                <a:gd name="T51" fmla="*/ 17 h 2274"/>
                <a:gd name="T52" fmla="*/ 111 w 1506"/>
                <a:gd name="T53" fmla="*/ 8 h 2274"/>
                <a:gd name="T54" fmla="*/ 121 w 1506"/>
                <a:gd name="T55" fmla="*/ 2 h 2274"/>
                <a:gd name="T56" fmla="*/ 129 w 1506"/>
                <a:gd name="T57" fmla="*/ 5 h 2274"/>
                <a:gd name="T58" fmla="*/ 125 w 1506"/>
                <a:gd name="T59" fmla="*/ 12 h 2274"/>
                <a:gd name="T60" fmla="*/ 122 w 1506"/>
                <a:gd name="T61" fmla="*/ 20 h 2274"/>
                <a:gd name="T62" fmla="*/ 122 w 1506"/>
                <a:gd name="T63" fmla="*/ 27 h 2274"/>
                <a:gd name="T64" fmla="*/ 120 w 1506"/>
                <a:gd name="T65" fmla="*/ 36 h 2274"/>
                <a:gd name="T66" fmla="*/ 116 w 1506"/>
                <a:gd name="T67" fmla="*/ 43 h 2274"/>
                <a:gd name="T68" fmla="*/ 109 w 1506"/>
                <a:gd name="T69" fmla="*/ 47 h 2274"/>
                <a:gd name="T70" fmla="*/ 108 w 1506"/>
                <a:gd name="T71" fmla="*/ 54 h 2274"/>
                <a:gd name="T72" fmla="*/ 106 w 1506"/>
                <a:gd name="T73" fmla="*/ 59 h 2274"/>
                <a:gd name="T74" fmla="*/ 109 w 1506"/>
                <a:gd name="T75" fmla="*/ 64 h 2274"/>
                <a:gd name="T76" fmla="*/ 106 w 1506"/>
                <a:gd name="T77" fmla="*/ 70 h 2274"/>
                <a:gd name="T78" fmla="*/ 105 w 1506"/>
                <a:gd name="T79" fmla="*/ 75 h 2274"/>
                <a:gd name="T80" fmla="*/ 101 w 1506"/>
                <a:gd name="T81" fmla="*/ 78 h 2274"/>
                <a:gd name="T82" fmla="*/ 92 w 1506"/>
                <a:gd name="T83" fmla="*/ 81 h 2274"/>
                <a:gd name="T84" fmla="*/ 85 w 1506"/>
                <a:gd name="T85" fmla="*/ 85 h 2274"/>
                <a:gd name="T86" fmla="*/ 87 w 1506"/>
                <a:gd name="T87" fmla="*/ 91 h 2274"/>
                <a:gd name="T88" fmla="*/ 86 w 1506"/>
                <a:gd name="T89" fmla="*/ 98 h 2274"/>
                <a:gd name="T90" fmla="*/ 86 w 1506"/>
                <a:gd name="T91" fmla="*/ 103 h 2274"/>
                <a:gd name="T92" fmla="*/ 82 w 1506"/>
                <a:gd name="T93" fmla="*/ 111 h 2274"/>
                <a:gd name="T94" fmla="*/ 81 w 1506"/>
                <a:gd name="T95" fmla="*/ 116 h 2274"/>
                <a:gd name="T96" fmla="*/ 78 w 1506"/>
                <a:gd name="T97" fmla="*/ 120 h 2274"/>
                <a:gd name="T98" fmla="*/ 76 w 1506"/>
                <a:gd name="T99" fmla="*/ 126 h 2274"/>
                <a:gd name="T100" fmla="*/ 68 w 1506"/>
                <a:gd name="T101" fmla="*/ 129 h 2274"/>
                <a:gd name="T102" fmla="*/ 62 w 1506"/>
                <a:gd name="T103" fmla="*/ 131 h 2274"/>
                <a:gd name="T104" fmla="*/ 58 w 1506"/>
                <a:gd name="T105" fmla="*/ 136 h 2274"/>
                <a:gd name="T106" fmla="*/ 51 w 1506"/>
                <a:gd name="T107" fmla="*/ 138 h 2274"/>
                <a:gd name="T108" fmla="*/ 51 w 1506"/>
                <a:gd name="T109" fmla="*/ 147 h 2274"/>
                <a:gd name="T110" fmla="*/ 49 w 1506"/>
                <a:gd name="T111" fmla="*/ 159 h 2274"/>
                <a:gd name="T112" fmla="*/ 48 w 1506"/>
                <a:gd name="T113" fmla="*/ 166 h 2274"/>
                <a:gd name="T114" fmla="*/ 41 w 1506"/>
                <a:gd name="T115" fmla="*/ 174 h 2274"/>
                <a:gd name="T116" fmla="*/ 39 w 1506"/>
                <a:gd name="T117" fmla="*/ 181 h 2274"/>
                <a:gd name="T118" fmla="*/ 37 w 1506"/>
                <a:gd name="T119" fmla="*/ 190 h 2274"/>
                <a:gd name="T120" fmla="*/ 29 w 1506"/>
                <a:gd name="T121" fmla="*/ 198 h 22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06"/>
                <a:gd name="T184" fmla="*/ 0 h 2274"/>
                <a:gd name="T185" fmla="*/ 1506 w 1506"/>
                <a:gd name="T186" fmla="*/ 2274 h 227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06" h="2274">
                  <a:moveTo>
                    <a:pt x="330" y="2274"/>
                  </a:moveTo>
                  <a:lnTo>
                    <a:pt x="318" y="2262"/>
                  </a:lnTo>
                  <a:lnTo>
                    <a:pt x="312" y="2238"/>
                  </a:lnTo>
                  <a:lnTo>
                    <a:pt x="312" y="2232"/>
                  </a:lnTo>
                  <a:lnTo>
                    <a:pt x="294" y="2214"/>
                  </a:lnTo>
                  <a:lnTo>
                    <a:pt x="288" y="2208"/>
                  </a:lnTo>
                  <a:lnTo>
                    <a:pt x="288" y="2202"/>
                  </a:lnTo>
                  <a:lnTo>
                    <a:pt x="276" y="2196"/>
                  </a:lnTo>
                  <a:lnTo>
                    <a:pt x="276" y="2190"/>
                  </a:lnTo>
                  <a:lnTo>
                    <a:pt x="282" y="2190"/>
                  </a:lnTo>
                  <a:lnTo>
                    <a:pt x="282" y="2184"/>
                  </a:lnTo>
                  <a:lnTo>
                    <a:pt x="276" y="2172"/>
                  </a:lnTo>
                  <a:lnTo>
                    <a:pt x="276" y="2166"/>
                  </a:lnTo>
                  <a:lnTo>
                    <a:pt x="282" y="2166"/>
                  </a:lnTo>
                  <a:lnTo>
                    <a:pt x="282" y="2154"/>
                  </a:lnTo>
                  <a:lnTo>
                    <a:pt x="276" y="2136"/>
                  </a:lnTo>
                  <a:lnTo>
                    <a:pt x="276" y="2112"/>
                  </a:lnTo>
                  <a:lnTo>
                    <a:pt x="282" y="2088"/>
                  </a:lnTo>
                  <a:lnTo>
                    <a:pt x="282" y="2082"/>
                  </a:lnTo>
                  <a:lnTo>
                    <a:pt x="282" y="2076"/>
                  </a:lnTo>
                  <a:lnTo>
                    <a:pt x="282" y="2070"/>
                  </a:lnTo>
                  <a:lnTo>
                    <a:pt x="288" y="2070"/>
                  </a:lnTo>
                  <a:lnTo>
                    <a:pt x="288" y="2064"/>
                  </a:lnTo>
                  <a:lnTo>
                    <a:pt x="282" y="2052"/>
                  </a:lnTo>
                  <a:lnTo>
                    <a:pt x="282" y="2046"/>
                  </a:lnTo>
                  <a:lnTo>
                    <a:pt x="276" y="2040"/>
                  </a:lnTo>
                  <a:lnTo>
                    <a:pt x="270" y="2034"/>
                  </a:lnTo>
                  <a:lnTo>
                    <a:pt x="264" y="2022"/>
                  </a:lnTo>
                  <a:lnTo>
                    <a:pt x="258" y="2022"/>
                  </a:lnTo>
                  <a:lnTo>
                    <a:pt x="258" y="2016"/>
                  </a:lnTo>
                  <a:lnTo>
                    <a:pt x="252" y="2016"/>
                  </a:lnTo>
                  <a:lnTo>
                    <a:pt x="246" y="2016"/>
                  </a:lnTo>
                  <a:lnTo>
                    <a:pt x="240" y="2010"/>
                  </a:lnTo>
                  <a:lnTo>
                    <a:pt x="234" y="2004"/>
                  </a:lnTo>
                  <a:lnTo>
                    <a:pt x="228" y="2004"/>
                  </a:lnTo>
                  <a:lnTo>
                    <a:pt x="228" y="1998"/>
                  </a:lnTo>
                  <a:lnTo>
                    <a:pt x="228" y="1992"/>
                  </a:lnTo>
                  <a:lnTo>
                    <a:pt x="222" y="1992"/>
                  </a:lnTo>
                  <a:lnTo>
                    <a:pt x="222" y="1986"/>
                  </a:lnTo>
                  <a:lnTo>
                    <a:pt x="216" y="1986"/>
                  </a:lnTo>
                  <a:lnTo>
                    <a:pt x="210" y="1980"/>
                  </a:lnTo>
                  <a:lnTo>
                    <a:pt x="216" y="1974"/>
                  </a:lnTo>
                  <a:lnTo>
                    <a:pt x="210" y="1968"/>
                  </a:lnTo>
                  <a:lnTo>
                    <a:pt x="198" y="1956"/>
                  </a:lnTo>
                  <a:lnTo>
                    <a:pt x="192" y="1956"/>
                  </a:lnTo>
                  <a:lnTo>
                    <a:pt x="186" y="1956"/>
                  </a:lnTo>
                  <a:lnTo>
                    <a:pt x="180" y="1944"/>
                  </a:lnTo>
                  <a:lnTo>
                    <a:pt x="180" y="1938"/>
                  </a:lnTo>
                  <a:lnTo>
                    <a:pt x="174" y="1932"/>
                  </a:lnTo>
                  <a:lnTo>
                    <a:pt x="168" y="1932"/>
                  </a:lnTo>
                  <a:lnTo>
                    <a:pt x="162" y="1932"/>
                  </a:lnTo>
                  <a:lnTo>
                    <a:pt x="150" y="1932"/>
                  </a:lnTo>
                  <a:lnTo>
                    <a:pt x="150" y="1926"/>
                  </a:lnTo>
                  <a:lnTo>
                    <a:pt x="150" y="1932"/>
                  </a:lnTo>
                  <a:lnTo>
                    <a:pt x="144" y="1932"/>
                  </a:lnTo>
                  <a:lnTo>
                    <a:pt x="138" y="1932"/>
                  </a:lnTo>
                  <a:lnTo>
                    <a:pt x="132" y="1932"/>
                  </a:lnTo>
                  <a:lnTo>
                    <a:pt x="132" y="1938"/>
                  </a:lnTo>
                  <a:lnTo>
                    <a:pt x="126" y="1944"/>
                  </a:lnTo>
                  <a:lnTo>
                    <a:pt x="126" y="1956"/>
                  </a:lnTo>
                  <a:lnTo>
                    <a:pt x="120" y="1968"/>
                  </a:lnTo>
                  <a:lnTo>
                    <a:pt x="120" y="1974"/>
                  </a:lnTo>
                  <a:lnTo>
                    <a:pt x="120" y="1980"/>
                  </a:lnTo>
                  <a:lnTo>
                    <a:pt x="126" y="1980"/>
                  </a:lnTo>
                  <a:lnTo>
                    <a:pt x="120" y="1986"/>
                  </a:lnTo>
                  <a:lnTo>
                    <a:pt x="120" y="1992"/>
                  </a:lnTo>
                  <a:lnTo>
                    <a:pt x="114" y="1992"/>
                  </a:lnTo>
                  <a:lnTo>
                    <a:pt x="114" y="1986"/>
                  </a:lnTo>
                  <a:lnTo>
                    <a:pt x="108" y="1992"/>
                  </a:lnTo>
                  <a:lnTo>
                    <a:pt x="108" y="1998"/>
                  </a:lnTo>
                  <a:lnTo>
                    <a:pt x="114" y="2004"/>
                  </a:lnTo>
                  <a:lnTo>
                    <a:pt x="108" y="2004"/>
                  </a:lnTo>
                  <a:lnTo>
                    <a:pt x="102" y="2010"/>
                  </a:lnTo>
                  <a:lnTo>
                    <a:pt x="102" y="2004"/>
                  </a:lnTo>
                  <a:lnTo>
                    <a:pt x="90" y="2004"/>
                  </a:lnTo>
                  <a:lnTo>
                    <a:pt x="84" y="2004"/>
                  </a:lnTo>
                  <a:lnTo>
                    <a:pt x="78" y="1998"/>
                  </a:lnTo>
                  <a:lnTo>
                    <a:pt x="78" y="1992"/>
                  </a:lnTo>
                  <a:lnTo>
                    <a:pt x="78" y="1986"/>
                  </a:lnTo>
                  <a:lnTo>
                    <a:pt x="72" y="1986"/>
                  </a:lnTo>
                  <a:lnTo>
                    <a:pt x="66" y="1980"/>
                  </a:lnTo>
                  <a:lnTo>
                    <a:pt x="66" y="1968"/>
                  </a:lnTo>
                  <a:lnTo>
                    <a:pt x="60" y="1956"/>
                  </a:lnTo>
                  <a:lnTo>
                    <a:pt x="60" y="1950"/>
                  </a:lnTo>
                  <a:lnTo>
                    <a:pt x="48" y="1944"/>
                  </a:lnTo>
                  <a:lnTo>
                    <a:pt x="30" y="1926"/>
                  </a:lnTo>
                  <a:lnTo>
                    <a:pt x="12" y="1890"/>
                  </a:lnTo>
                  <a:lnTo>
                    <a:pt x="6" y="1872"/>
                  </a:lnTo>
                  <a:lnTo>
                    <a:pt x="0" y="1854"/>
                  </a:lnTo>
                  <a:lnTo>
                    <a:pt x="6" y="1824"/>
                  </a:lnTo>
                  <a:lnTo>
                    <a:pt x="30" y="1794"/>
                  </a:lnTo>
                  <a:lnTo>
                    <a:pt x="66" y="1752"/>
                  </a:lnTo>
                  <a:lnTo>
                    <a:pt x="72" y="1752"/>
                  </a:lnTo>
                  <a:lnTo>
                    <a:pt x="78" y="1746"/>
                  </a:lnTo>
                  <a:lnTo>
                    <a:pt x="84" y="1746"/>
                  </a:lnTo>
                  <a:lnTo>
                    <a:pt x="90" y="1746"/>
                  </a:lnTo>
                  <a:lnTo>
                    <a:pt x="138" y="1674"/>
                  </a:lnTo>
                  <a:lnTo>
                    <a:pt x="186" y="1620"/>
                  </a:lnTo>
                  <a:lnTo>
                    <a:pt x="186" y="1614"/>
                  </a:lnTo>
                  <a:lnTo>
                    <a:pt x="186" y="1608"/>
                  </a:lnTo>
                  <a:lnTo>
                    <a:pt x="192" y="1608"/>
                  </a:lnTo>
                  <a:lnTo>
                    <a:pt x="192" y="1614"/>
                  </a:lnTo>
                  <a:lnTo>
                    <a:pt x="198" y="1614"/>
                  </a:lnTo>
                  <a:lnTo>
                    <a:pt x="198" y="1608"/>
                  </a:lnTo>
                  <a:lnTo>
                    <a:pt x="198" y="1602"/>
                  </a:lnTo>
                  <a:lnTo>
                    <a:pt x="204" y="1602"/>
                  </a:lnTo>
                  <a:lnTo>
                    <a:pt x="204" y="1596"/>
                  </a:lnTo>
                  <a:lnTo>
                    <a:pt x="210" y="1590"/>
                  </a:lnTo>
                  <a:lnTo>
                    <a:pt x="216" y="1590"/>
                  </a:lnTo>
                  <a:lnTo>
                    <a:pt x="216" y="1584"/>
                  </a:lnTo>
                  <a:lnTo>
                    <a:pt x="222" y="1584"/>
                  </a:lnTo>
                  <a:lnTo>
                    <a:pt x="228" y="1572"/>
                  </a:lnTo>
                  <a:lnTo>
                    <a:pt x="222" y="1572"/>
                  </a:lnTo>
                  <a:lnTo>
                    <a:pt x="228" y="1566"/>
                  </a:lnTo>
                  <a:lnTo>
                    <a:pt x="228" y="1560"/>
                  </a:lnTo>
                  <a:lnTo>
                    <a:pt x="252" y="1548"/>
                  </a:lnTo>
                  <a:lnTo>
                    <a:pt x="276" y="1530"/>
                  </a:lnTo>
                  <a:lnTo>
                    <a:pt x="282" y="1512"/>
                  </a:lnTo>
                  <a:lnTo>
                    <a:pt x="282" y="1506"/>
                  </a:lnTo>
                  <a:lnTo>
                    <a:pt x="282" y="1494"/>
                  </a:lnTo>
                  <a:lnTo>
                    <a:pt x="282" y="1452"/>
                  </a:lnTo>
                  <a:lnTo>
                    <a:pt x="288" y="1440"/>
                  </a:lnTo>
                  <a:lnTo>
                    <a:pt x="294" y="1440"/>
                  </a:lnTo>
                  <a:lnTo>
                    <a:pt x="294" y="1428"/>
                  </a:lnTo>
                  <a:lnTo>
                    <a:pt x="324" y="1368"/>
                  </a:lnTo>
                  <a:lnTo>
                    <a:pt x="330" y="1362"/>
                  </a:lnTo>
                  <a:lnTo>
                    <a:pt x="330" y="1356"/>
                  </a:lnTo>
                  <a:lnTo>
                    <a:pt x="360" y="1338"/>
                  </a:lnTo>
                  <a:lnTo>
                    <a:pt x="366" y="1296"/>
                  </a:lnTo>
                  <a:lnTo>
                    <a:pt x="354" y="1278"/>
                  </a:lnTo>
                  <a:lnTo>
                    <a:pt x="336" y="1230"/>
                  </a:lnTo>
                  <a:lnTo>
                    <a:pt x="270" y="1212"/>
                  </a:lnTo>
                  <a:lnTo>
                    <a:pt x="264" y="1212"/>
                  </a:lnTo>
                  <a:lnTo>
                    <a:pt x="252" y="1200"/>
                  </a:lnTo>
                  <a:lnTo>
                    <a:pt x="234" y="1188"/>
                  </a:lnTo>
                  <a:lnTo>
                    <a:pt x="222" y="1182"/>
                  </a:lnTo>
                  <a:lnTo>
                    <a:pt x="228" y="1104"/>
                  </a:lnTo>
                  <a:lnTo>
                    <a:pt x="228" y="1098"/>
                  </a:lnTo>
                  <a:lnTo>
                    <a:pt x="198" y="1038"/>
                  </a:lnTo>
                  <a:lnTo>
                    <a:pt x="192" y="1032"/>
                  </a:lnTo>
                  <a:lnTo>
                    <a:pt x="180" y="1020"/>
                  </a:lnTo>
                  <a:lnTo>
                    <a:pt x="168" y="996"/>
                  </a:lnTo>
                  <a:lnTo>
                    <a:pt x="162" y="990"/>
                  </a:lnTo>
                  <a:lnTo>
                    <a:pt x="156" y="990"/>
                  </a:lnTo>
                  <a:lnTo>
                    <a:pt x="150" y="990"/>
                  </a:lnTo>
                  <a:lnTo>
                    <a:pt x="132" y="990"/>
                  </a:lnTo>
                  <a:lnTo>
                    <a:pt x="120" y="984"/>
                  </a:lnTo>
                  <a:lnTo>
                    <a:pt x="120" y="990"/>
                  </a:lnTo>
                  <a:lnTo>
                    <a:pt x="114" y="990"/>
                  </a:lnTo>
                  <a:lnTo>
                    <a:pt x="102" y="984"/>
                  </a:lnTo>
                  <a:lnTo>
                    <a:pt x="96" y="984"/>
                  </a:lnTo>
                  <a:lnTo>
                    <a:pt x="96" y="978"/>
                  </a:lnTo>
                  <a:lnTo>
                    <a:pt x="90" y="978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84" y="960"/>
                  </a:lnTo>
                  <a:lnTo>
                    <a:pt x="84" y="954"/>
                  </a:lnTo>
                  <a:lnTo>
                    <a:pt x="78" y="948"/>
                  </a:lnTo>
                  <a:lnTo>
                    <a:pt x="72" y="948"/>
                  </a:lnTo>
                  <a:lnTo>
                    <a:pt x="72" y="942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06"/>
                  </a:lnTo>
                  <a:lnTo>
                    <a:pt x="60" y="888"/>
                  </a:lnTo>
                  <a:lnTo>
                    <a:pt x="54" y="882"/>
                  </a:lnTo>
                  <a:lnTo>
                    <a:pt x="60" y="882"/>
                  </a:lnTo>
                  <a:lnTo>
                    <a:pt x="72" y="876"/>
                  </a:lnTo>
                  <a:lnTo>
                    <a:pt x="78" y="876"/>
                  </a:lnTo>
                  <a:lnTo>
                    <a:pt x="90" y="870"/>
                  </a:lnTo>
                  <a:lnTo>
                    <a:pt x="90" y="864"/>
                  </a:lnTo>
                  <a:lnTo>
                    <a:pt x="96" y="840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80" y="822"/>
                  </a:lnTo>
                  <a:lnTo>
                    <a:pt x="204" y="798"/>
                  </a:lnTo>
                  <a:lnTo>
                    <a:pt x="222" y="786"/>
                  </a:lnTo>
                  <a:lnTo>
                    <a:pt x="252" y="780"/>
                  </a:lnTo>
                  <a:lnTo>
                    <a:pt x="264" y="762"/>
                  </a:lnTo>
                  <a:lnTo>
                    <a:pt x="276" y="762"/>
                  </a:lnTo>
                  <a:lnTo>
                    <a:pt x="288" y="744"/>
                  </a:lnTo>
                  <a:lnTo>
                    <a:pt x="306" y="738"/>
                  </a:lnTo>
                  <a:lnTo>
                    <a:pt x="318" y="732"/>
                  </a:lnTo>
                  <a:lnTo>
                    <a:pt x="324" y="648"/>
                  </a:lnTo>
                  <a:lnTo>
                    <a:pt x="324" y="636"/>
                  </a:lnTo>
                  <a:lnTo>
                    <a:pt x="324" y="630"/>
                  </a:lnTo>
                  <a:lnTo>
                    <a:pt x="330" y="624"/>
                  </a:lnTo>
                  <a:lnTo>
                    <a:pt x="324" y="618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24" y="588"/>
                  </a:lnTo>
                  <a:lnTo>
                    <a:pt x="318" y="576"/>
                  </a:lnTo>
                  <a:lnTo>
                    <a:pt x="318" y="570"/>
                  </a:lnTo>
                  <a:lnTo>
                    <a:pt x="324" y="570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30" y="558"/>
                  </a:lnTo>
                  <a:lnTo>
                    <a:pt x="336" y="558"/>
                  </a:lnTo>
                  <a:lnTo>
                    <a:pt x="342" y="558"/>
                  </a:lnTo>
                  <a:lnTo>
                    <a:pt x="348" y="558"/>
                  </a:lnTo>
                  <a:lnTo>
                    <a:pt x="354" y="564"/>
                  </a:lnTo>
                  <a:lnTo>
                    <a:pt x="360" y="564"/>
                  </a:lnTo>
                  <a:lnTo>
                    <a:pt x="366" y="570"/>
                  </a:lnTo>
                  <a:lnTo>
                    <a:pt x="366" y="576"/>
                  </a:lnTo>
                  <a:lnTo>
                    <a:pt x="372" y="570"/>
                  </a:lnTo>
                  <a:lnTo>
                    <a:pt x="378" y="570"/>
                  </a:lnTo>
                  <a:lnTo>
                    <a:pt x="390" y="570"/>
                  </a:lnTo>
                  <a:lnTo>
                    <a:pt x="402" y="570"/>
                  </a:lnTo>
                  <a:lnTo>
                    <a:pt x="408" y="570"/>
                  </a:lnTo>
                  <a:lnTo>
                    <a:pt x="414" y="564"/>
                  </a:lnTo>
                  <a:lnTo>
                    <a:pt x="420" y="564"/>
                  </a:lnTo>
                  <a:lnTo>
                    <a:pt x="420" y="570"/>
                  </a:lnTo>
                  <a:lnTo>
                    <a:pt x="426" y="570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44" y="570"/>
                  </a:lnTo>
                  <a:lnTo>
                    <a:pt x="450" y="564"/>
                  </a:lnTo>
                  <a:lnTo>
                    <a:pt x="474" y="558"/>
                  </a:lnTo>
                  <a:lnTo>
                    <a:pt x="486" y="54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40" y="474"/>
                  </a:lnTo>
                  <a:lnTo>
                    <a:pt x="558" y="456"/>
                  </a:lnTo>
                  <a:lnTo>
                    <a:pt x="582" y="450"/>
                  </a:lnTo>
                  <a:lnTo>
                    <a:pt x="594" y="414"/>
                  </a:lnTo>
                  <a:lnTo>
                    <a:pt x="612" y="390"/>
                  </a:lnTo>
                  <a:lnTo>
                    <a:pt x="636" y="390"/>
                  </a:lnTo>
                  <a:lnTo>
                    <a:pt x="666" y="390"/>
                  </a:lnTo>
                  <a:lnTo>
                    <a:pt x="696" y="390"/>
                  </a:lnTo>
                  <a:lnTo>
                    <a:pt x="726" y="390"/>
                  </a:lnTo>
                  <a:lnTo>
                    <a:pt x="762" y="378"/>
                  </a:lnTo>
                  <a:lnTo>
                    <a:pt x="780" y="366"/>
                  </a:lnTo>
                  <a:lnTo>
                    <a:pt x="780" y="342"/>
                  </a:lnTo>
                  <a:lnTo>
                    <a:pt x="786" y="342"/>
                  </a:lnTo>
                  <a:lnTo>
                    <a:pt x="786" y="336"/>
                  </a:lnTo>
                  <a:lnTo>
                    <a:pt x="786" y="330"/>
                  </a:lnTo>
                  <a:lnTo>
                    <a:pt x="786" y="324"/>
                  </a:lnTo>
                  <a:lnTo>
                    <a:pt x="816" y="318"/>
                  </a:lnTo>
                  <a:lnTo>
                    <a:pt x="834" y="312"/>
                  </a:lnTo>
                  <a:lnTo>
                    <a:pt x="840" y="318"/>
                  </a:lnTo>
                  <a:lnTo>
                    <a:pt x="852" y="318"/>
                  </a:lnTo>
                  <a:lnTo>
                    <a:pt x="858" y="306"/>
                  </a:lnTo>
                  <a:lnTo>
                    <a:pt x="864" y="288"/>
                  </a:lnTo>
                  <a:lnTo>
                    <a:pt x="870" y="282"/>
                  </a:lnTo>
                  <a:lnTo>
                    <a:pt x="876" y="276"/>
                  </a:lnTo>
                  <a:lnTo>
                    <a:pt x="882" y="264"/>
                  </a:lnTo>
                  <a:lnTo>
                    <a:pt x="882" y="258"/>
                  </a:lnTo>
                  <a:lnTo>
                    <a:pt x="888" y="252"/>
                  </a:lnTo>
                  <a:lnTo>
                    <a:pt x="894" y="240"/>
                  </a:lnTo>
                  <a:lnTo>
                    <a:pt x="906" y="228"/>
                  </a:lnTo>
                  <a:lnTo>
                    <a:pt x="912" y="228"/>
                  </a:lnTo>
                  <a:lnTo>
                    <a:pt x="936" y="228"/>
                  </a:lnTo>
                  <a:lnTo>
                    <a:pt x="942" y="222"/>
                  </a:lnTo>
                  <a:lnTo>
                    <a:pt x="948" y="216"/>
                  </a:lnTo>
                  <a:lnTo>
                    <a:pt x="954" y="216"/>
                  </a:lnTo>
                  <a:lnTo>
                    <a:pt x="960" y="216"/>
                  </a:lnTo>
                  <a:lnTo>
                    <a:pt x="966" y="216"/>
                  </a:lnTo>
                  <a:lnTo>
                    <a:pt x="978" y="216"/>
                  </a:lnTo>
                  <a:lnTo>
                    <a:pt x="990" y="222"/>
                  </a:lnTo>
                  <a:lnTo>
                    <a:pt x="996" y="222"/>
                  </a:lnTo>
                  <a:lnTo>
                    <a:pt x="1002" y="228"/>
                  </a:lnTo>
                  <a:lnTo>
                    <a:pt x="1014" y="234"/>
                  </a:lnTo>
                  <a:lnTo>
                    <a:pt x="1020" y="234"/>
                  </a:lnTo>
                  <a:lnTo>
                    <a:pt x="1032" y="240"/>
                  </a:lnTo>
                  <a:lnTo>
                    <a:pt x="1044" y="240"/>
                  </a:lnTo>
                  <a:lnTo>
                    <a:pt x="1050" y="240"/>
                  </a:lnTo>
                  <a:lnTo>
                    <a:pt x="1056" y="246"/>
                  </a:lnTo>
                  <a:lnTo>
                    <a:pt x="1068" y="264"/>
                  </a:lnTo>
                  <a:lnTo>
                    <a:pt x="1086" y="276"/>
                  </a:lnTo>
                  <a:lnTo>
                    <a:pt x="1092" y="276"/>
                  </a:lnTo>
                  <a:lnTo>
                    <a:pt x="1104" y="282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8" y="312"/>
                  </a:lnTo>
                  <a:lnTo>
                    <a:pt x="1152" y="324"/>
                  </a:lnTo>
                  <a:lnTo>
                    <a:pt x="1188" y="324"/>
                  </a:lnTo>
                  <a:lnTo>
                    <a:pt x="1206" y="318"/>
                  </a:lnTo>
                  <a:lnTo>
                    <a:pt x="1200" y="294"/>
                  </a:lnTo>
                  <a:lnTo>
                    <a:pt x="1206" y="252"/>
                  </a:lnTo>
                  <a:lnTo>
                    <a:pt x="1218" y="222"/>
                  </a:lnTo>
                  <a:lnTo>
                    <a:pt x="1212" y="222"/>
                  </a:lnTo>
                  <a:lnTo>
                    <a:pt x="1212" y="216"/>
                  </a:lnTo>
                  <a:lnTo>
                    <a:pt x="1218" y="204"/>
                  </a:lnTo>
                  <a:lnTo>
                    <a:pt x="1224" y="198"/>
                  </a:lnTo>
                  <a:lnTo>
                    <a:pt x="1224" y="192"/>
                  </a:lnTo>
                  <a:lnTo>
                    <a:pt x="1236" y="180"/>
                  </a:lnTo>
                  <a:lnTo>
                    <a:pt x="1254" y="156"/>
                  </a:lnTo>
                  <a:lnTo>
                    <a:pt x="1260" y="150"/>
                  </a:lnTo>
                  <a:lnTo>
                    <a:pt x="1260" y="144"/>
                  </a:lnTo>
                  <a:lnTo>
                    <a:pt x="1266" y="138"/>
                  </a:lnTo>
                  <a:lnTo>
                    <a:pt x="1272" y="138"/>
                  </a:lnTo>
                  <a:lnTo>
                    <a:pt x="1272" y="120"/>
                  </a:lnTo>
                  <a:lnTo>
                    <a:pt x="1278" y="114"/>
                  </a:lnTo>
                  <a:lnTo>
                    <a:pt x="1278" y="108"/>
                  </a:lnTo>
                  <a:lnTo>
                    <a:pt x="1278" y="102"/>
                  </a:lnTo>
                  <a:lnTo>
                    <a:pt x="1278" y="90"/>
                  </a:lnTo>
                  <a:lnTo>
                    <a:pt x="1278" y="84"/>
                  </a:lnTo>
                  <a:lnTo>
                    <a:pt x="1278" y="78"/>
                  </a:lnTo>
                  <a:lnTo>
                    <a:pt x="1278" y="72"/>
                  </a:lnTo>
                  <a:lnTo>
                    <a:pt x="1278" y="60"/>
                  </a:lnTo>
                  <a:lnTo>
                    <a:pt x="1284" y="48"/>
                  </a:lnTo>
                  <a:lnTo>
                    <a:pt x="1284" y="24"/>
                  </a:lnTo>
                  <a:lnTo>
                    <a:pt x="1284" y="18"/>
                  </a:lnTo>
                  <a:lnTo>
                    <a:pt x="1308" y="24"/>
                  </a:lnTo>
                  <a:lnTo>
                    <a:pt x="1332" y="30"/>
                  </a:lnTo>
                  <a:lnTo>
                    <a:pt x="1368" y="30"/>
                  </a:lnTo>
                  <a:lnTo>
                    <a:pt x="1392" y="24"/>
                  </a:lnTo>
                  <a:lnTo>
                    <a:pt x="1410" y="18"/>
                  </a:lnTo>
                  <a:lnTo>
                    <a:pt x="1416" y="6"/>
                  </a:lnTo>
                  <a:lnTo>
                    <a:pt x="1500" y="6"/>
                  </a:lnTo>
                  <a:lnTo>
                    <a:pt x="1506" y="0"/>
                  </a:lnTo>
                  <a:lnTo>
                    <a:pt x="1506" y="6"/>
                  </a:lnTo>
                  <a:lnTo>
                    <a:pt x="1506" y="18"/>
                  </a:lnTo>
                  <a:lnTo>
                    <a:pt x="1506" y="24"/>
                  </a:lnTo>
                  <a:lnTo>
                    <a:pt x="1500" y="30"/>
                  </a:lnTo>
                  <a:lnTo>
                    <a:pt x="1500" y="42"/>
                  </a:lnTo>
                  <a:lnTo>
                    <a:pt x="1494" y="54"/>
                  </a:lnTo>
                  <a:lnTo>
                    <a:pt x="1488" y="60"/>
                  </a:lnTo>
                  <a:lnTo>
                    <a:pt x="1482" y="60"/>
                  </a:lnTo>
                  <a:lnTo>
                    <a:pt x="1476" y="66"/>
                  </a:lnTo>
                  <a:lnTo>
                    <a:pt x="1476" y="72"/>
                  </a:lnTo>
                  <a:lnTo>
                    <a:pt x="1476" y="78"/>
                  </a:lnTo>
                  <a:lnTo>
                    <a:pt x="1470" y="78"/>
                  </a:lnTo>
                  <a:lnTo>
                    <a:pt x="1464" y="90"/>
                  </a:lnTo>
                  <a:lnTo>
                    <a:pt x="1458" y="96"/>
                  </a:lnTo>
                  <a:lnTo>
                    <a:pt x="1458" y="102"/>
                  </a:lnTo>
                  <a:lnTo>
                    <a:pt x="1452" y="120"/>
                  </a:lnTo>
                  <a:lnTo>
                    <a:pt x="1452" y="132"/>
                  </a:lnTo>
                  <a:lnTo>
                    <a:pt x="1446" y="144"/>
                  </a:lnTo>
                  <a:lnTo>
                    <a:pt x="1446" y="150"/>
                  </a:lnTo>
                  <a:lnTo>
                    <a:pt x="1440" y="150"/>
                  </a:lnTo>
                  <a:lnTo>
                    <a:pt x="1434" y="156"/>
                  </a:lnTo>
                  <a:lnTo>
                    <a:pt x="1428" y="168"/>
                  </a:lnTo>
                  <a:lnTo>
                    <a:pt x="1422" y="168"/>
                  </a:lnTo>
                  <a:lnTo>
                    <a:pt x="1416" y="174"/>
                  </a:lnTo>
                  <a:lnTo>
                    <a:pt x="1410" y="186"/>
                  </a:lnTo>
                  <a:lnTo>
                    <a:pt x="1410" y="204"/>
                  </a:lnTo>
                  <a:lnTo>
                    <a:pt x="1404" y="210"/>
                  </a:lnTo>
                  <a:lnTo>
                    <a:pt x="1404" y="216"/>
                  </a:lnTo>
                  <a:lnTo>
                    <a:pt x="1410" y="228"/>
                  </a:lnTo>
                  <a:lnTo>
                    <a:pt x="1410" y="234"/>
                  </a:lnTo>
                  <a:lnTo>
                    <a:pt x="1410" y="240"/>
                  </a:lnTo>
                  <a:lnTo>
                    <a:pt x="1416" y="252"/>
                  </a:lnTo>
                  <a:lnTo>
                    <a:pt x="1416" y="258"/>
                  </a:lnTo>
                  <a:lnTo>
                    <a:pt x="1422" y="264"/>
                  </a:lnTo>
                  <a:lnTo>
                    <a:pt x="1422" y="270"/>
                  </a:lnTo>
                  <a:lnTo>
                    <a:pt x="1422" y="282"/>
                  </a:lnTo>
                  <a:lnTo>
                    <a:pt x="1416" y="288"/>
                  </a:lnTo>
                  <a:lnTo>
                    <a:pt x="1410" y="294"/>
                  </a:lnTo>
                  <a:lnTo>
                    <a:pt x="1404" y="300"/>
                  </a:lnTo>
                  <a:lnTo>
                    <a:pt x="1404" y="306"/>
                  </a:lnTo>
                  <a:lnTo>
                    <a:pt x="1398" y="324"/>
                  </a:lnTo>
                  <a:lnTo>
                    <a:pt x="1404" y="330"/>
                  </a:lnTo>
                  <a:lnTo>
                    <a:pt x="1404" y="342"/>
                  </a:lnTo>
                  <a:lnTo>
                    <a:pt x="1392" y="354"/>
                  </a:lnTo>
                  <a:lnTo>
                    <a:pt x="1392" y="360"/>
                  </a:lnTo>
                  <a:lnTo>
                    <a:pt x="1392" y="372"/>
                  </a:lnTo>
                  <a:lnTo>
                    <a:pt x="1392" y="384"/>
                  </a:lnTo>
                  <a:lnTo>
                    <a:pt x="1392" y="396"/>
                  </a:lnTo>
                  <a:lnTo>
                    <a:pt x="1392" y="408"/>
                  </a:lnTo>
                  <a:lnTo>
                    <a:pt x="1386" y="414"/>
                  </a:lnTo>
                  <a:lnTo>
                    <a:pt x="1380" y="420"/>
                  </a:lnTo>
                  <a:lnTo>
                    <a:pt x="1380" y="426"/>
                  </a:lnTo>
                  <a:lnTo>
                    <a:pt x="1368" y="432"/>
                  </a:lnTo>
                  <a:lnTo>
                    <a:pt x="1362" y="444"/>
                  </a:lnTo>
                  <a:lnTo>
                    <a:pt x="1362" y="450"/>
                  </a:lnTo>
                  <a:lnTo>
                    <a:pt x="1362" y="462"/>
                  </a:lnTo>
                  <a:lnTo>
                    <a:pt x="1362" y="468"/>
                  </a:lnTo>
                  <a:lnTo>
                    <a:pt x="1362" y="474"/>
                  </a:lnTo>
                  <a:lnTo>
                    <a:pt x="1356" y="474"/>
                  </a:lnTo>
                  <a:lnTo>
                    <a:pt x="1350" y="480"/>
                  </a:lnTo>
                  <a:lnTo>
                    <a:pt x="1344" y="486"/>
                  </a:lnTo>
                  <a:lnTo>
                    <a:pt x="1338" y="498"/>
                  </a:lnTo>
                  <a:lnTo>
                    <a:pt x="1332" y="510"/>
                  </a:lnTo>
                  <a:lnTo>
                    <a:pt x="1320" y="510"/>
                  </a:lnTo>
                  <a:lnTo>
                    <a:pt x="1314" y="516"/>
                  </a:lnTo>
                  <a:lnTo>
                    <a:pt x="1302" y="522"/>
                  </a:lnTo>
                  <a:lnTo>
                    <a:pt x="1296" y="522"/>
                  </a:lnTo>
                  <a:lnTo>
                    <a:pt x="1284" y="516"/>
                  </a:lnTo>
                  <a:lnTo>
                    <a:pt x="1278" y="516"/>
                  </a:lnTo>
                  <a:lnTo>
                    <a:pt x="1272" y="522"/>
                  </a:lnTo>
                  <a:lnTo>
                    <a:pt x="1266" y="522"/>
                  </a:lnTo>
                  <a:lnTo>
                    <a:pt x="1266" y="528"/>
                  </a:lnTo>
                  <a:lnTo>
                    <a:pt x="1254" y="540"/>
                  </a:lnTo>
                  <a:lnTo>
                    <a:pt x="1248" y="546"/>
                  </a:lnTo>
                  <a:lnTo>
                    <a:pt x="1242" y="558"/>
                  </a:lnTo>
                  <a:lnTo>
                    <a:pt x="1230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30" y="594"/>
                  </a:lnTo>
                  <a:lnTo>
                    <a:pt x="1230" y="600"/>
                  </a:lnTo>
                  <a:lnTo>
                    <a:pt x="1236" y="606"/>
                  </a:lnTo>
                  <a:lnTo>
                    <a:pt x="1242" y="606"/>
                  </a:lnTo>
                  <a:lnTo>
                    <a:pt x="1242" y="612"/>
                  </a:lnTo>
                  <a:lnTo>
                    <a:pt x="1242" y="618"/>
                  </a:lnTo>
                  <a:lnTo>
                    <a:pt x="1242" y="624"/>
                  </a:lnTo>
                  <a:lnTo>
                    <a:pt x="1236" y="630"/>
                  </a:lnTo>
                  <a:lnTo>
                    <a:pt x="1230" y="642"/>
                  </a:lnTo>
                  <a:lnTo>
                    <a:pt x="1230" y="648"/>
                  </a:lnTo>
                  <a:lnTo>
                    <a:pt x="1218" y="654"/>
                  </a:lnTo>
                  <a:lnTo>
                    <a:pt x="1212" y="654"/>
                  </a:lnTo>
                  <a:lnTo>
                    <a:pt x="1212" y="660"/>
                  </a:lnTo>
                  <a:lnTo>
                    <a:pt x="1212" y="666"/>
                  </a:lnTo>
                  <a:lnTo>
                    <a:pt x="1212" y="672"/>
                  </a:lnTo>
                  <a:lnTo>
                    <a:pt x="1212" y="678"/>
                  </a:lnTo>
                  <a:lnTo>
                    <a:pt x="1218" y="684"/>
                  </a:lnTo>
                  <a:lnTo>
                    <a:pt x="1218" y="690"/>
                  </a:lnTo>
                  <a:lnTo>
                    <a:pt x="1224" y="696"/>
                  </a:lnTo>
                  <a:lnTo>
                    <a:pt x="1230" y="702"/>
                  </a:lnTo>
                  <a:lnTo>
                    <a:pt x="1236" y="696"/>
                  </a:lnTo>
                  <a:lnTo>
                    <a:pt x="1242" y="702"/>
                  </a:lnTo>
                  <a:lnTo>
                    <a:pt x="1248" y="708"/>
                  </a:lnTo>
                  <a:lnTo>
                    <a:pt x="1254" y="714"/>
                  </a:lnTo>
                  <a:lnTo>
                    <a:pt x="1254" y="720"/>
                  </a:lnTo>
                  <a:lnTo>
                    <a:pt x="1260" y="720"/>
                  </a:lnTo>
                  <a:lnTo>
                    <a:pt x="1254" y="732"/>
                  </a:lnTo>
                  <a:lnTo>
                    <a:pt x="1248" y="738"/>
                  </a:lnTo>
                  <a:lnTo>
                    <a:pt x="1242" y="744"/>
                  </a:lnTo>
                  <a:lnTo>
                    <a:pt x="1236" y="750"/>
                  </a:lnTo>
                  <a:lnTo>
                    <a:pt x="1236" y="756"/>
                  </a:lnTo>
                  <a:lnTo>
                    <a:pt x="1236" y="762"/>
                  </a:lnTo>
                  <a:lnTo>
                    <a:pt x="1236" y="768"/>
                  </a:lnTo>
                  <a:lnTo>
                    <a:pt x="1236" y="780"/>
                  </a:lnTo>
                  <a:lnTo>
                    <a:pt x="1230" y="780"/>
                  </a:lnTo>
                  <a:lnTo>
                    <a:pt x="1230" y="786"/>
                  </a:lnTo>
                  <a:lnTo>
                    <a:pt x="1230" y="792"/>
                  </a:lnTo>
                  <a:lnTo>
                    <a:pt x="1230" y="804"/>
                  </a:lnTo>
                  <a:lnTo>
                    <a:pt x="1224" y="810"/>
                  </a:lnTo>
                  <a:lnTo>
                    <a:pt x="1218" y="816"/>
                  </a:lnTo>
                  <a:lnTo>
                    <a:pt x="1224" y="822"/>
                  </a:lnTo>
                  <a:lnTo>
                    <a:pt x="1224" y="828"/>
                  </a:lnTo>
                  <a:lnTo>
                    <a:pt x="1218" y="834"/>
                  </a:lnTo>
                  <a:lnTo>
                    <a:pt x="1224" y="834"/>
                  </a:lnTo>
                  <a:lnTo>
                    <a:pt x="1224" y="840"/>
                  </a:lnTo>
                  <a:lnTo>
                    <a:pt x="1224" y="846"/>
                  </a:lnTo>
                  <a:lnTo>
                    <a:pt x="1224" y="852"/>
                  </a:lnTo>
                  <a:lnTo>
                    <a:pt x="1218" y="858"/>
                  </a:lnTo>
                  <a:lnTo>
                    <a:pt x="1218" y="870"/>
                  </a:lnTo>
                  <a:lnTo>
                    <a:pt x="1212" y="870"/>
                  </a:lnTo>
                  <a:lnTo>
                    <a:pt x="1212" y="876"/>
                  </a:lnTo>
                  <a:lnTo>
                    <a:pt x="1206" y="888"/>
                  </a:lnTo>
                  <a:lnTo>
                    <a:pt x="1200" y="882"/>
                  </a:lnTo>
                  <a:lnTo>
                    <a:pt x="1194" y="888"/>
                  </a:lnTo>
                  <a:lnTo>
                    <a:pt x="1188" y="894"/>
                  </a:lnTo>
                  <a:lnTo>
                    <a:pt x="1182" y="894"/>
                  </a:lnTo>
                  <a:lnTo>
                    <a:pt x="1182" y="900"/>
                  </a:lnTo>
                  <a:lnTo>
                    <a:pt x="1176" y="900"/>
                  </a:lnTo>
                  <a:lnTo>
                    <a:pt x="1170" y="894"/>
                  </a:lnTo>
                  <a:lnTo>
                    <a:pt x="1164" y="900"/>
                  </a:lnTo>
                  <a:lnTo>
                    <a:pt x="1158" y="900"/>
                  </a:lnTo>
                  <a:lnTo>
                    <a:pt x="1152" y="900"/>
                  </a:lnTo>
                  <a:lnTo>
                    <a:pt x="1140" y="900"/>
                  </a:lnTo>
                  <a:lnTo>
                    <a:pt x="1134" y="900"/>
                  </a:lnTo>
                  <a:lnTo>
                    <a:pt x="1128" y="906"/>
                  </a:lnTo>
                  <a:lnTo>
                    <a:pt x="1110" y="906"/>
                  </a:lnTo>
                  <a:lnTo>
                    <a:pt x="1104" y="906"/>
                  </a:lnTo>
                  <a:lnTo>
                    <a:pt x="1098" y="906"/>
                  </a:lnTo>
                  <a:lnTo>
                    <a:pt x="1092" y="912"/>
                  </a:lnTo>
                  <a:lnTo>
                    <a:pt x="1080" y="918"/>
                  </a:lnTo>
                  <a:lnTo>
                    <a:pt x="1068" y="930"/>
                  </a:lnTo>
                  <a:lnTo>
                    <a:pt x="1062" y="930"/>
                  </a:lnTo>
                  <a:lnTo>
                    <a:pt x="1056" y="930"/>
                  </a:lnTo>
                  <a:lnTo>
                    <a:pt x="1050" y="930"/>
                  </a:lnTo>
                  <a:lnTo>
                    <a:pt x="1050" y="936"/>
                  </a:lnTo>
                  <a:lnTo>
                    <a:pt x="1038" y="942"/>
                  </a:lnTo>
                  <a:lnTo>
                    <a:pt x="1032" y="948"/>
                  </a:lnTo>
                  <a:lnTo>
                    <a:pt x="1026" y="954"/>
                  </a:lnTo>
                  <a:lnTo>
                    <a:pt x="1020" y="960"/>
                  </a:lnTo>
                  <a:lnTo>
                    <a:pt x="1014" y="966"/>
                  </a:lnTo>
                  <a:lnTo>
                    <a:pt x="1002" y="966"/>
                  </a:lnTo>
                  <a:lnTo>
                    <a:pt x="990" y="978"/>
                  </a:lnTo>
                  <a:lnTo>
                    <a:pt x="984" y="978"/>
                  </a:lnTo>
                  <a:lnTo>
                    <a:pt x="978" y="984"/>
                  </a:lnTo>
                  <a:lnTo>
                    <a:pt x="972" y="984"/>
                  </a:lnTo>
                  <a:lnTo>
                    <a:pt x="978" y="990"/>
                  </a:lnTo>
                  <a:lnTo>
                    <a:pt x="972" y="996"/>
                  </a:lnTo>
                  <a:lnTo>
                    <a:pt x="978" y="1002"/>
                  </a:lnTo>
                  <a:lnTo>
                    <a:pt x="1002" y="1002"/>
                  </a:lnTo>
                  <a:lnTo>
                    <a:pt x="1002" y="1008"/>
                  </a:lnTo>
                  <a:lnTo>
                    <a:pt x="1008" y="1020"/>
                  </a:lnTo>
                  <a:lnTo>
                    <a:pt x="1002" y="1026"/>
                  </a:lnTo>
                  <a:lnTo>
                    <a:pt x="1002" y="1032"/>
                  </a:lnTo>
                  <a:lnTo>
                    <a:pt x="1002" y="1050"/>
                  </a:lnTo>
                  <a:lnTo>
                    <a:pt x="1002" y="1056"/>
                  </a:lnTo>
                  <a:lnTo>
                    <a:pt x="1008" y="1062"/>
                  </a:lnTo>
                  <a:lnTo>
                    <a:pt x="1008" y="1074"/>
                  </a:lnTo>
                  <a:lnTo>
                    <a:pt x="1008" y="1086"/>
                  </a:lnTo>
                  <a:lnTo>
                    <a:pt x="996" y="1092"/>
                  </a:lnTo>
                  <a:lnTo>
                    <a:pt x="996" y="1098"/>
                  </a:lnTo>
                  <a:lnTo>
                    <a:pt x="996" y="1104"/>
                  </a:lnTo>
                  <a:lnTo>
                    <a:pt x="990" y="1110"/>
                  </a:lnTo>
                  <a:lnTo>
                    <a:pt x="990" y="1116"/>
                  </a:lnTo>
                  <a:lnTo>
                    <a:pt x="996" y="1122"/>
                  </a:lnTo>
                  <a:lnTo>
                    <a:pt x="990" y="1128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96" y="1140"/>
                  </a:lnTo>
                  <a:lnTo>
                    <a:pt x="996" y="1146"/>
                  </a:lnTo>
                  <a:lnTo>
                    <a:pt x="996" y="1152"/>
                  </a:lnTo>
                  <a:lnTo>
                    <a:pt x="996" y="1158"/>
                  </a:lnTo>
                  <a:lnTo>
                    <a:pt x="996" y="1164"/>
                  </a:lnTo>
                  <a:lnTo>
                    <a:pt x="996" y="1170"/>
                  </a:lnTo>
                  <a:lnTo>
                    <a:pt x="996" y="1176"/>
                  </a:lnTo>
                  <a:lnTo>
                    <a:pt x="990" y="1182"/>
                  </a:lnTo>
                  <a:lnTo>
                    <a:pt x="990" y="1188"/>
                  </a:lnTo>
                  <a:lnTo>
                    <a:pt x="984" y="1200"/>
                  </a:lnTo>
                  <a:lnTo>
                    <a:pt x="990" y="1206"/>
                  </a:lnTo>
                  <a:lnTo>
                    <a:pt x="990" y="1212"/>
                  </a:lnTo>
                  <a:lnTo>
                    <a:pt x="990" y="1218"/>
                  </a:lnTo>
                  <a:lnTo>
                    <a:pt x="978" y="1230"/>
                  </a:lnTo>
                  <a:lnTo>
                    <a:pt x="972" y="1236"/>
                  </a:lnTo>
                  <a:lnTo>
                    <a:pt x="972" y="1242"/>
                  </a:lnTo>
                  <a:lnTo>
                    <a:pt x="966" y="1248"/>
                  </a:lnTo>
                  <a:lnTo>
                    <a:pt x="960" y="1260"/>
                  </a:lnTo>
                  <a:lnTo>
                    <a:pt x="954" y="1266"/>
                  </a:lnTo>
                  <a:lnTo>
                    <a:pt x="942" y="1278"/>
                  </a:lnTo>
                  <a:lnTo>
                    <a:pt x="936" y="1278"/>
                  </a:lnTo>
                  <a:lnTo>
                    <a:pt x="936" y="1284"/>
                  </a:lnTo>
                  <a:lnTo>
                    <a:pt x="936" y="1296"/>
                  </a:lnTo>
                  <a:lnTo>
                    <a:pt x="936" y="1302"/>
                  </a:lnTo>
                  <a:lnTo>
                    <a:pt x="942" y="1302"/>
                  </a:lnTo>
                  <a:lnTo>
                    <a:pt x="942" y="1308"/>
                  </a:lnTo>
                  <a:lnTo>
                    <a:pt x="936" y="1314"/>
                  </a:lnTo>
                  <a:lnTo>
                    <a:pt x="930" y="1320"/>
                  </a:lnTo>
                  <a:lnTo>
                    <a:pt x="930" y="1326"/>
                  </a:lnTo>
                  <a:lnTo>
                    <a:pt x="930" y="1332"/>
                  </a:lnTo>
                  <a:lnTo>
                    <a:pt x="936" y="1338"/>
                  </a:lnTo>
                  <a:lnTo>
                    <a:pt x="936" y="1344"/>
                  </a:lnTo>
                  <a:lnTo>
                    <a:pt x="942" y="1356"/>
                  </a:lnTo>
                  <a:lnTo>
                    <a:pt x="948" y="1368"/>
                  </a:lnTo>
                  <a:lnTo>
                    <a:pt x="942" y="1380"/>
                  </a:lnTo>
                  <a:lnTo>
                    <a:pt x="936" y="1386"/>
                  </a:lnTo>
                  <a:lnTo>
                    <a:pt x="930" y="1392"/>
                  </a:lnTo>
                  <a:lnTo>
                    <a:pt x="924" y="1392"/>
                  </a:lnTo>
                  <a:lnTo>
                    <a:pt x="918" y="1386"/>
                  </a:lnTo>
                  <a:lnTo>
                    <a:pt x="912" y="1386"/>
                  </a:lnTo>
                  <a:lnTo>
                    <a:pt x="906" y="1386"/>
                  </a:lnTo>
                  <a:lnTo>
                    <a:pt x="900" y="1386"/>
                  </a:lnTo>
                  <a:lnTo>
                    <a:pt x="900" y="1392"/>
                  </a:lnTo>
                  <a:lnTo>
                    <a:pt x="894" y="1392"/>
                  </a:lnTo>
                  <a:lnTo>
                    <a:pt x="888" y="1392"/>
                  </a:lnTo>
                  <a:lnTo>
                    <a:pt x="888" y="1398"/>
                  </a:lnTo>
                  <a:lnTo>
                    <a:pt x="882" y="1404"/>
                  </a:lnTo>
                  <a:lnTo>
                    <a:pt x="882" y="1416"/>
                  </a:lnTo>
                  <a:lnTo>
                    <a:pt x="882" y="1428"/>
                  </a:lnTo>
                  <a:lnTo>
                    <a:pt x="882" y="1434"/>
                  </a:lnTo>
                  <a:lnTo>
                    <a:pt x="870" y="1440"/>
                  </a:lnTo>
                  <a:lnTo>
                    <a:pt x="864" y="1452"/>
                  </a:lnTo>
                  <a:lnTo>
                    <a:pt x="870" y="1452"/>
                  </a:lnTo>
                  <a:lnTo>
                    <a:pt x="864" y="1458"/>
                  </a:lnTo>
                  <a:lnTo>
                    <a:pt x="858" y="1464"/>
                  </a:lnTo>
                  <a:lnTo>
                    <a:pt x="852" y="1464"/>
                  </a:lnTo>
                  <a:lnTo>
                    <a:pt x="846" y="1458"/>
                  </a:lnTo>
                  <a:lnTo>
                    <a:pt x="840" y="1458"/>
                  </a:lnTo>
                  <a:lnTo>
                    <a:pt x="828" y="1470"/>
                  </a:lnTo>
                  <a:lnTo>
                    <a:pt x="810" y="1482"/>
                  </a:lnTo>
                  <a:lnTo>
                    <a:pt x="804" y="1488"/>
                  </a:lnTo>
                  <a:lnTo>
                    <a:pt x="798" y="1488"/>
                  </a:lnTo>
                  <a:lnTo>
                    <a:pt x="792" y="1488"/>
                  </a:lnTo>
                  <a:lnTo>
                    <a:pt x="786" y="1488"/>
                  </a:lnTo>
                  <a:lnTo>
                    <a:pt x="768" y="1482"/>
                  </a:lnTo>
                  <a:lnTo>
                    <a:pt x="762" y="1476"/>
                  </a:lnTo>
                  <a:lnTo>
                    <a:pt x="744" y="1476"/>
                  </a:lnTo>
                  <a:lnTo>
                    <a:pt x="738" y="1476"/>
                  </a:lnTo>
                  <a:lnTo>
                    <a:pt x="732" y="1476"/>
                  </a:lnTo>
                  <a:lnTo>
                    <a:pt x="726" y="1482"/>
                  </a:lnTo>
                  <a:lnTo>
                    <a:pt x="726" y="1488"/>
                  </a:lnTo>
                  <a:lnTo>
                    <a:pt x="726" y="1494"/>
                  </a:lnTo>
                  <a:lnTo>
                    <a:pt x="726" y="1500"/>
                  </a:lnTo>
                  <a:lnTo>
                    <a:pt x="720" y="1500"/>
                  </a:lnTo>
                  <a:lnTo>
                    <a:pt x="720" y="1506"/>
                  </a:lnTo>
                  <a:lnTo>
                    <a:pt x="714" y="1512"/>
                  </a:lnTo>
                  <a:lnTo>
                    <a:pt x="714" y="1518"/>
                  </a:lnTo>
                  <a:lnTo>
                    <a:pt x="708" y="1518"/>
                  </a:lnTo>
                  <a:lnTo>
                    <a:pt x="708" y="1530"/>
                  </a:lnTo>
                  <a:lnTo>
                    <a:pt x="708" y="1536"/>
                  </a:lnTo>
                  <a:lnTo>
                    <a:pt x="708" y="1542"/>
                  </a:lnTo>
                  <a:lnTo>
                    <a:pt x="696" y="1554"/>
                  </a:lnTo>
                  <a:lnTo>
                    <a:pt x="690" y="1560"/>
                  </a:lnTo>
                  <a:lnTo>
                    <a:pt x="684" y="1566"/>
                  </a:lnTo>
                  <a:lnTo>
                    <a:pt x="672" y="1566"/>
                  </a:lnTo>
                  <a:lnTo>
                    <a:pt x="666" y="1566"/>
                  </a:lnTo>
                  <a:lnTo>
                    <a:pt x="660" y="1566"/>
                  </a:lnTo>
                  <a:lnTo>
                    <a:pt x="654" y="1572"/>
                  </a:lnTo>
                  <a:lnTo>
                    <a:pt x="654" y="1578"/>
                  </a:lnTo>
                  <a:lnTo>
                    <a:pt x="642" y="1578"/>
                  </a:lnTo>
                  <a:lnTo>
                    <a:pt x="630" y="1572"/>
                  </a:lnTo>
                  <a:lnTo>
                    <a:pt x="624" y="1572"/>
                  </a:lnTo>
                  <a:lnTo>
                    <a:pt x="618" y="1578"/>
                  </a:lnTo>
                  <a:lnTo>
                    <a:pt x="612" y="1584"/>
                  </a:lnTo>
                  <a:lnTo>
                    <a:pt x="606" y="1584"/>
                  </a:lnTo>
                  <a:lnTo>
                    <a:pt x="600" y="1590"/>
                  </a:lnTo>
                  <a:lnTo>
                    <a:pt x="594" y="1590"/>
                  </a:lnTo>
                  <a:lnTo>
                    <a:pt x="588" y="1590"/>
                  </a:lnTo>
                  <a:lnTo>
                    <a:pt x="582" y="1590"/>
                  </a:lnTo>
                  <a:lnTo>
                    <a:pt x="582" y="1596"/>
                  </a:lnTo>
                  <a:lnTo>
                    <a:pt x="576" y="1614"/>
                  </a:lnTo>
                  <a:lnTo>
                    <a:pt x="570" y="1632"/>
                  </a:lnTo>
                  <a:lnTo>
                    <a:pt x="570" y="1638"/>
                  </a:lnTo>
                  <a:lnTo>
                    <a:pt x="576" y="1644"/>
                  </a:lnTo>
                  <a:lnTo>
                    <a:pt x="576" y="1650"/>
                  </a:lnTo>
                  <a:lnTo>
                    <a:pt x="582" y="1662"/>
                  </a:lnTo>
                  <a:lnTo>
                    <a:pt x="582" y="1668"/>
                  </a:lnTo>
                  <a:lnTo>
                    <a:pt x="588" y="1692"/>
                  </a:lnTo>
                  <a:lnTo>
                    <a:pt x="594" y="1728"/>
                  </a:lnTo>
                  <a:lnTo>
                    <a:pt x="594" y="1752"/>
                  </a:lnTo>
                  <a:lnTo>
                    <a:pt x="594" y="1764"/>
                  </a:lnTo>
                  <a:lnTo>
                    <a:pt x="582" y="1770"/>
                  </a:lnTo>
                  <a:lnTo>
                    <a:pt x="582" y="1782"/>
                  </a:lnTo>
                  <a:lnTo>
                    <a:pt x="576" y="1788"/>
                  </a:lnTo>
                  <a:lnTo>
                    <a:pt x="570" y="1794"/>
                  </a:lnTo>
                  <a:lnTo>
                    <a:pt x="564" y="1806"/>
                  </a:lnTo>
                  <a:lnTo>
                    <a:pt x="564" y="1812"/>
                  </a:lnTo>
                  <a:lnTo>
                    <a:pt x="558" y="1812"/>
                  </a:lnTo>
                  <a:lnTo>
                    <a:pt x="564" y="1824"/>
                  </a:lnTo>
                  <a:lnTo>
                    <a:pt x="564" y="1830"/>
                  </a:lnTo>
                  <a:lnTo>
                    <a:pt x="564" y="1842"/>
                  </a:lnTo>
                  <a:lnTo>
                    <a:pt x="564" y="1848"/>
                  </a:lnTo>
                  <a:lnTo>
                    <a:pt x="564" y="1854"/>
                  </a:lnTo>
                  <a:lnTo>
                    <a:pt x="570" y="1860"/>
                  </a:lnTo>
                  <a:lnTo>
                    <a:pt x="570" y="1866"/>
                  </a:lnTo>
                  <a:lnTo>
                    <a:pt x="570" y="1872"/>
                  </a:lnTo>
                  <a:lnTo>
                    <a:pt x="570" y="1878"/>
                  </a:lnTo>
                  <a:lnTo>
                    <a:pt x="564" y="1890"/>
                  </a:lnTo>
                  <a:lnTo>
                    <a:pt x="558" y="1896"/>
                  </a:lnTo>
                  <a:lnTo>
                    <a:pt x="552" y="1908"/>
                  </a:lnTo>
                  <a:lnTo>
                    <a:pt x="546" y="1914"/>
                  </a:lnTo>
                  <a:lnTo>
                    <a:pt x="540" y="1920"/>
                  </a:lnTo>
                  <a:lnTo>
                    <a:pt x="534" y="1932"/>
                  </a:lnTo>
                  <a:lnTo>
                    <a:pt x="528" y="1944"/>
                  </a:lnTo>
                  <a:lnTo>
                    <a:pt x="516" y="1950"/>
                  </a:lnTo>
                  <a:lnTo>
                    <a:pt x="510" y="1956"/>
                  </a:lnTo>
                  <a:lnTo>
                    <a:pt x="498" y="1962"/>
                  </a:lnTo>
                  <a:lnTo>
                    <a:pt x="492" y="1974"/>
                  </a:lnTo>
                  <a:lnTo>
                    <a:pt x="486" y="1980"/>
                  </a:lnTo>
                  <a:lnTo>
                    <a:pt x="480" y="1998"/>
                  </a:lnTo>
                  <a:lnTo>
                    <a:pt x="474" y="2004"/>
                  </a:lnTo>
                  <a:lnTo>
                    <a:pt x="474" y="2010"/>
                  </a:lnTo>
                  <a:lnTo>
                    <a:pt x="474" y="2016"/>
                  </a:lnTo>
                  <a:lnTo>
                    <a:pt x="468" y="2016"/>
                  </a:lnTo>
                  <a:lnTo>
                    <a:pt x="468" y="2028"/>
                  </a:lnTo>
                  <a:lnTo>
                    <a:pt x="462" y="2034"/>
                  </a:lnTo>
                  <a:lnTo>
                    <a:pt x="456" y="2040"/>
                  </a:lnTo>
                  <a:lnTo>
                    <a:pt x="456" y="2052"/>
                  </a:lnTo>
                  <a:lnTo>
                    <a:pt x="450" y="2058"/>
                  </a:lnTo>
                  <a:lnTo>
                    <a:pt x="450" y="2070"/>
                  </a:lnTo>
                  <a:lnTo>
                    <a:pt x="450" y="2076"/>
                  </a:lnTo>
                  <a:lnTo>
                    <a:pt x="450" y="2082"/>
                  </a:lnTo>
                  <a:lnTo>
                    <a:pt x="444" y="2088"/>
                  </a:lnTo>
                  <a:lnTo>
                    <a:pt x="438" y="2094"/>
                  </a:lnTo>
                  <a:lnTo>
                    <a:pt x="444" y="2100"/>
                  </a:lnTo>
                  <a:lnTo>
                    <a:pt x="444" y="2124"/>
                  </a:lnTo>
                  <a:lnTo>
                    <a:pt x="444" y="2142"/>
                  </a:lnTo>
                  <a:lnTo>
                    <a:pt x="444" y="2160"/>
                  </a:lnTo>
                  <a:lnTo>
                    <a:pt x="450" y="2166"/>
                  </a:lnTo>
                  <a:lnTo>
                    <a:pt x="456" y="2178"/>
                  </a:lnTo>
                  <a:lnTo>
                    <a:pt x="438" y="2184"/>
                  </a:lnTo>
                  <a:lnTo>
                    <a:pt x="432" y="2184"/>
                  </a:lnTo>
                  <a:lnTo>
                    <a:pt x="426" y="2190"/>
                  </a:lnTo>
                  <a:lnTo>
                    <a:pt x="408" y="2190"/>
                  </a:lnTo>
                  <a:lnTo>
                    <a:pt x="402" y="2196"/>
                  </a:lnTo>
                  <a:lnTo>
                    <a:pt x="396" y="2196"/>
                  </a:lnTo>
                  <a:lnTo>
                    <a:pt x="384" y="2208"/>
                  </a:lnTo>
                  <a:lnTo>
                    <a:pt x="378" y="2220"/>
                  </a:lnTo>
                  <a:lnTo>
                    <a:pt x="366" y="2232"/>
                  </a:lnTo>
                  <a:lnTo>
                    <a:pt x="366" y="2238"/>
                  </a:lnTo>
                  <a:lnTo>
                    <a:pt x="360" y="2238"/>
                  </a:lnTo>
                  <a:lnTo>
                    <a:pt x="360" y="2244"/>
                  </a:lnTo>
                  <a:lnTo>
                    <a:pt x="354" y="2244"/>
                  </a:lnTo>
                  <a:lnTo>
                    <a:pt x="330" y="227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5" name="Freeform 10">
              <a:extLst>
                <a:ext uri="{FF2B5EF4-FFF2-40B4-BE49-F238E27FC236}">
                  <a16:creationId xmlns:a16="http://schemas.microsoft.com/office/drawing/2014/main" id="{3AD2FC58-3490-4B7F-A8BE-621F3CDD69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1996" y="1931890"/>
              <a:ext cx="805029" cy="1037736"/>
            </a:xfrm>
            <a:custGeom>
              <a:avLst/>
              <a:gdLst>
                <a:gd name="T0" fmla="*/ 124 w 1512"/>
                <a:gd name="T1" fmla="*/ 76 h 1956"/>
                <a:gd name="T2" fmla="*/ 120 w 1512"/>
                <a:gd name="T3" fmla="*/ 80 h 1956"/>
                <a:gd name="T4" fmla="*/ 106 w 1512"/>
                <a:gd name="T5" fmla="*/ 84 h 1956"/>
                <a:gd name="T6" fmla="*/ 105 w 1512"/>
                <a:gd name="T7" fmla="*/ 91 h 1956"/>
                <a:gd name="T8" fmla="*/ 101 w 1512"/>
                <a:gd name="T9" fmla="*/ 99 h 1956"/>
                <a:gd name="T10" fmla="*/ 105 w 1512"/>
                <a:gd name="T11" fmla="*/ 107 h 1956"/>
                <a:gd name="T12" fmla="*/ 119 w 1512"/>
                <a:gd name="T13" fmla="*/ 116 h 1956"/>
                <a:gd name="T14" fmla="*/ 121 w 1512"/>
                <a:gd name="T15" fmla="*/ 128 h 1956"/>
                <a:gd name="T16" fmla="*/ 112 w 1512"/>
                <a:gd name="T17" fmla="*/ 136 h 1956"/>
                <a:gd name="T18" fmla="*/ 119 w 1512"/>
                <a:gd name="T19" fmla="*/ 143 h 1956"/>
                <a:gd name="T20" fmla="*/ 126 w 1512"/>
                <a:gd name="T21" fmla="*/ 148 h 1956"/>
                <a:gd name="T22" fmla="*/ 126 w 1512"/>
                <a:gd name="T23" fmla="*/ 160 h 1956"/>
                <a:gd name="T24" fmla="*/ 104 w 1512"/>
                <a:gd name="T25" fmla="*/ 170 h 1956"/>
                <a:gd name="T26" fmla="*/ 99 w 1512"/>
                <a:gd name="T27" fmla="*/ 164 h 1956"/>
                <a:gd name="T28" fmla="*/ 73 w 1512"/>
                <a:gd name="T29" fmla="*/ 152 h 1956"/>
                <a:gd name="T30" fmla="*/ 56 w 1512"/>
                <a:gd name="T31" fmla="*/ 165 h 1956"/>
                <a:gd name="T32" fmla="*/ 33 w 1512"/>
                <a:gd name="T33" fmla="*/ 162 h 1956"/>
                <a:gd name="T34" fmla="*/ 25 w 1512"/>
                <a:gd name="T35" fmla="*/ 155 h 1956"/>
                <a:gd name="T36" fmla="*/ 31 w 1512"/>
                <a:gd name="T37" fmla="*/ 142 h 1956"/>
                <a:gd name="T38" fmla="*/ 24 w 1512"/>
                <a:gd name="T39" fmla="*/ 137 h 1956"/>
                <a:gd name="T40" fmla="*/ 14 w 1512"/>
                <a:gd name="T41" fmla="*/ 136 h 1956"/>
                <a:gd name="T42" fmla="*/ 11 w 1512"/>
                <a:gd name="T43" fmla="*/ 125 h 1956"/>
                <a:gd name="T44" fmla="*/ 3 w 1512"/>
                <a:gd name="T45" fmla="*/ 116 h 1956"/>
                <a:gd name="T46" fmla="*/ 2 w 1512"/>
                <a:gd name="T47" fmla="*/ 106 h 1956"/>
                <a:gd name="T48" fmla="*/ 5 w 1512"/>
                <a:gd name="T49" fmla="*/ 101 h 1956"/>
                <a:gd name="T50" fmla="*/ 2 w 1512"/>
                <a:gd name="T51" fmla="*/ 95 h 1956"/>
                <a:gd name="T52" fmla="*/ 1 w 1512"/>
                <a:gd name="T53" fmla="*/ 88 h 1956"/>
                <a:gd name="T54" fmla="*/ 4 w 1512"/>
                <a:gd name="T55" fmla="*/ 80 h 1956"/>
                <a:gd name="T56" fmla="*/ 12 w 1512"/>
                <a:gd name="T57" fmla="*/ 73 h 1956"/>
                <a:gd name="T58" fmla="*/ 16 w 1512"/>
                <a:gd name="T59" fmla="*/ 68 h 1956"/>
                <a:gd name="T60" fmla="*/ 22 w 1512"/>
                <a:gd name="T61" fmla="*/ 66 h 1956"/>
                <a:gd name="T62" fmla="*/ 32 w 1512"/>
                <a:gd name="T63" fmla="*/ 65 h 1956"/>
                <a:gd name="T64" fmla="*/ 45 w 1512"/>
                <a:gd name="T65" fmla="*/ 66 h 1956"/>
                <a:gd name="T66" fmla="*/ 50 w 1512"/>
                <a:gd name="T67" fmla="*/ 70 h 1956"/>
                <a:gd name="T68" fmla="*/ 55 w 1512"/>
                <a:gd name="T69" fmla="*/ 70 h 1956"/>
                <a:gd name="T70" fmla="*/ 63 w 1512"/>
                <a:gd name="T71" fmla="*/ 71 h 1956"/>
                <a:gd name="T72" fmla="*/ 61 w 1512"/>
                <a:gd name="T73" fmla="*/ 75 h 1956"/>
                <a:gd name="T74" fmla="*/ 66 w 1512"/>
                <a:gd name="T75" fmla="*/ 84 h 1956"/>
                <a:gd name="T76" fmla="*/ 81 w 1512"/>
                <a:gd name="T77" fmla="*/ 85 h 1956"/>
                <a:gd name="T78" fmla="*/ 83 w 1512"/>
                <a:gd name="T79" fmla="*/ 79 h 1956"/>
                <a:gd name="T80" fmla="*/ 89 w 1512"/>
                <a:gd name="T81" fmla="*/ 77 h 1956"/>
                <a:gd name="T82" fmla="*/ 89 w 1512"/>
                <a:gd name="T83" fmla="*/ 73 h 1956"/>
                <a:gd name="T84" fmla="*/ 83 w 1512"/>
                <a:gd name="T85" fmla="*/ 72 h 1956"/>
                <a:gd name="T86" fmla="*/ 77 w 1512"/>
                <a:gd name="T87" fmla="*/ 70 h 1956"/>
                <a:gd name="T88" fmla="*/ 71 w 1512"/>
                <a:gd name="T89" fmla="*/ 70 h 1956"/>
                <a:gd name="T90" fmla="*/ 59 w 1512"/>
                <a:gd name="T91" fmla="*/ 58 h 1956"/>
                <a:gd name="T92" fmla="*/ 54 w 1512"/>
                <a:gd name="T93" fmla="*/ 45 h 1956"/>
                <a:gd name="T94" fmla="*/ 49 w 1512"/>
                <a:gd name="T95" fmla="*/ 42 h 1956"/>
                <a:gd name="T96" fmla="*/ 51 w 1512"/>
                <a:gd name="T97" fmla="*/ 39 h 1956"/>
                <a:gd name="T98" fmla="*/ 55 w 1512"/>
                <a:gd name="T99" fmla="*/ 36 h 1956"/>
                <a:gd name="T100" fmla="*/ 63 w 1512"/>
                <a:gd name="T101" fmla="*/ 34 h 1956"/>
                <a:gd name="T102" fmla="*/ 68 w 1512"/>
                <a:gd name="T103" fmla="*/ 32 h 1956"/>
                <a:gd name="T104" fmla="*/ 73 w 1512"/>
                <a:gd name="T105" fmla="*/ 29 h 1956"/>
                <a:gd name="T106" fmla="*/ 78 w 1512"/>
                <a:gd name="T107" fmla="*/ 27 h 1956"/>
                <a:gd name="T108" fmla="*/ 81 w 1512"/>
                <a:gd name="T109" fmla="*/ 17 h 1956"/>
                <a:gd name="T110" fmla="*/ 84 w 1512"/>
                <a:gd name="T111" fmla="*/ 6 h 1956"/>
                <a:gd name="T112" fmla="*/ 95 w 1512"/>
                <a:gd name="T113" fmla="*/ 6 h 1956"/>
                <a:gd name="T114" fmla="*/ 99 w 1512"/>
                <a:gd name="T115" fmla="*/ 3 h 1956"/>
                <a:gd name="T116" fmla="*/ 103 w 1512"/>
                <a:gd name="T117" fmla="*/ 0 h 1956"/>
                <a:gd name="T118" fmla="*/ 110 w 1512"/>
                <a:gd name="T119" fmla="*/ 4 h 1956"/>
                <a:gd name="T120" fmla="*/ 114 w 1512"/>
                <a:gd name="T121" fmla="*/ 33 h 1956"/>
                <a:gd name="T122" fmla="*/ 117 w 1512"/>
                <a:gd name="T123" fmla="*/ 41 h 1956"/>
                <a:gd name="T124" fmla="*/ 119 w 1512"/>
                <a:gd name="T125" fmla="*/ 62 h 195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12"/>
                <a:gd name="T190" fmla="*/ 0 h 1956"/>
                <a:gd name="T191" fmla="*/ 1512 w 1512"/>
                <a:gd name="T192" fmla="*/ 1956 h 195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12" h="1956">
                  <a:moveTo>
                    <a:pt x="1512" y="780"/>
                  </a:moveTo>
                  <a:lnTo>
                    <a:pt x="1482" y="786"/>
                  </a:lnTo>
                  <a:lnTo>
                    <a:pt x="1476" y="792"/>
                  </a:lnTo>
                  <a:lnTo>
                    <a:pt x="1476" y="798"/>
                  </a:lnTo>
                  <a:lnTo>
                    <a:pt x="1476" y="804"/>
                  </a:lnTo>
                  <a:lnTo>
                    <a:pt x="1476" y="816"/>
                  </a:lnTo>
                  <a:lnTo>
                    <a:pt x="1470" y="834"/>
                  </a:lnTo>
                  <a:lnTo>
                    <a:pt x="1464" y="840"/>
                  </a:lnTo>
                  <a:lnTo>
                    <a:pt x="1452" y="852"/>
                  </a:lnTo>
                  <a:lnTo>
                    <a:pt x="1440" y="864"/>
                  </a:lnTo>
                  <a:lnTo>
                    <a:pt x="1434" y="864"/>
                  </a:lnTo>
                  <a:lnTo>
                    <a:pt x="1434" y="870"/>
                  </a:lnTo>
                  <a:lnTo>
                    <a:pt x="1422" y="876"/>
                  </a:lnTo>
                  <a:lnTo>
                    <a:pt x="1410" y="894"/>
                  </a:lnTo>
                  <a:lnTo>
                    <a:pt x="1404" y="894"/>
                  </a:lnTo>
                  <a:lnTo>
                    <a:pt x="1404" y="900"/>
                  </a:lnTo>
                  <a:lnTo>
                    <a:pt x="1404" y="906"/>
                  </a:lnTo>
                  <a:lnTo>
                    <a:pt x="1410" y="918"/>
                  </a:lnTo>
                  <a:lnTo>
                    <a:pt x="1404" y="918"/>
                  </a:lnTo>
                  <a:lnTo>
                    <a:pt x="1392" y="924"/>
                  </a:lnTo>
                  <a:lnTo>
                    <a:pt x="1386" y="924"/>
                  </a:lnTo>
                  <a:lnTo>
                    <a:pt x="1380" y="924"/>
                  </a:lnTo>
                  <a:lnTo>
                    <a:pt x="1380" y="930"/>
                  </a:lnTo>
                  <a:lnTo>
                    <a:pt x="1374" y="930"/>
                  </a:lnTo>
                  <a:lnTo>
                    <a:pt x="1374" y="924"/>
                  </a:lnTo>
                  <a:lnTo>
                    <a:pt x="1374" y="918"/>
                  </a:lnTo>
                  <a:lnTo>
                    <a:pt x="1368" y="912"/>
                  </a:lnTo>
                  <a:lnTo>
                    <a:pt x="1368" y="906"/>
                  </a:lnTo>
                  <a:lnTo>
                    <a:pt x="1368" y="900"/>
                  </a:lnTo>
                  <a:lnTo>
                    <a:pt x="1368" y="894"/>
                  </a:lnTo>
                  <a:lnTo>
                    <a:pt x="1362" y="894"/>
                  </a:lnTo>
                  <a:lnTo>
                    <a:pt x="1326" y="894"/>
                  </a:lnTo>
                  <a:lnTo>
                    <a:pt x="1302" y="906"/>
                  </a:lnTo>
                  <a:lnTo>
                    <a:pt x="1284" y="918"/>
                  </a:lnTo>
                  <a:lnTo>
                    <a:pt x="1284" y="924"/>
                  </a:lnTo>
                  <a:lnTo>
                    <a:pt x="1278" y="930"/>
                  </a:lnTo>
                  <a:lnTo>
                    <a:pt x="1266" y="930"/>
                  </a:lnTo>
                  <a:lnTo>
                    <a:pt x="1236" y="954"/>
                  </a:lnTo>
                  <a:lnTo>
                    <a:pt x="1212" y="972"/>
                  </a:lnTo>
                  <a:lnTo>
                    <a:pt x="1218" y="996"/>
                  </a:lnTo>
                  <a:lnTo>
                    <a:pt x="1224" y="1008"/>
                  </a:lnTo>
                  <a:lnTo>
                    <a:pt x="1236" y="1014"/>
                  </a:lnTo>
                  <a:lnTo>
                    <a:pt x="1242" y="1026"/>
                  </a:lnTo>
                  <a:lnTo>
                    <a:pt x="1248" y="1038"/>
                  </a:lnTo>
                  <a:lnTo>
                    <a:pt x="1260" y="1050"/>
                  </a:lnTo>
                  <a:lnTo>
                    <a:pt x="1260" y="1056"/>
                  </a:lnTo>
                  <a:lnTo>
                    <a:pt x="1260" y="1074"/>
                  </a:lnTo>
                  <a:lnTo>
                    <a:pt x="1254" y="1074"/>
                  </a:lnTo>
                  <a:lnTo>
                    <a:pt x="1236" y="1056"/>
                  </a:lnTo>
                  <a:lnTo>
                    <a:pt x="1224" y="1050"/>
                  </a:lnTo>
                  <a:lnTo>
                    <a:pt x="1212" y="1050"/>
                  </a:lnTo>
                  <a:lnTo>
                    <a:pt x="1206" y="1050"/>
                  </a:lnTo>
                  <a:lnTo>
                    <a:pt x="1200" y="1056"/>
                  </a:lnTo>
                  <a:lnTo>
                    <a:pt x="1194" y="1062"/>
                  </a:lnTo>
                  <a:lnTo>
                    <a:pt x="1188" y="1068"/>
                  </a:lnTo>
                  <a:lnTo>
                    <a:pt x="1188" y="1074"/>
                  </a:lnTo>
                  <a:lnTo>
                    <a:pt x="1176" y="1086"/>
                  </a:lnTo>
                  <a:lnTo>
                    <a:pt x="1170" y="1086"/>
                  </a:lnTo>
                  <a:lnTo>
                    <a:pt x="1170" y="1092"/>
                  </a:lnTo>
                  <a:lnTo>
                    <a:pt x="1164" y="1098"/>
                  </a:lnTo>
                  <a:lnTo>
                    <a:pt x="1158" y="1110"/>
                  </a:lnTo>
                  <a:lnTo>
                    <a:pt x="1152" y="1116"/>
                  </a:lnTo>
                  <a:lnTo>
                    <a:pt x="1152" y="1122"/>
                  </a:lnTo>
                  <a:lnTo>
                    <a:pt x="1146" y="1128"/>
                  </a:lnTo>
                  <a:lnTo>
                    <a:pt x="1152" y="1140"/>
                  </a:lnTo>
                  <a:lnTo>
                    <a:pt x="1158" y="1140"/>
                  </a:lnTo>
                  <a:lnTo>
                    <a:pt x="1164" y="1146"/>
                  </a:lnTo>
                  <a:lnTo>
                    <a:pt x="1164" y="1152"/>
                  </a:lnTo>
                  <a:lnTo>
                    <a:pt x="1170" y="1164"/>
                  </a:lnTo>
                  <a:lnTo>
                    <a:pt x="1164" y="1176"/>
                  </a:lnTo>
                  <a:lnTo>
                    <a:pt x="1170" y="1182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82" y="1218"/>
                  </a:lnTo>
                  <a:lnTo>
                    <a:pt x="1188" y="1218"/>
                  </a:lnTo>
                  <a:lnTo>
                    <a:pt x="1194" y="1218"/>
                  </a:lnTo>
                  <a:lnTo>
                    <a:pt x="1194" y="1224"/>
                  </a:lnTo>
                  <a:lnTo>
                    <a:pt x="1200" y="1230"/>
                  </a:lnTo>
                  <a:lnTo>
                    <a:pt x="1200" y="1248"/>
                  </a:lnTo>
                  <a:lnTo>
                    <a:pt x="1212" y="1266"/>
                  </a:lnTo>
                  <a:lnTo>
                    <a:pt x="1218" y="1278"/>
                  </a:lnTo>
                  <a:lnTo>
                    <a:pt x="1224" y="1284"/>
                  </a:lnTo>
                  <a:lnTo>
                    <a:pt x="1236" y="1296"/>
                  </a:lnTo>
                  <a:lnTo>
                    <a:pt x="1242" y="1302"/>
                  </a:lnTo>
                  <a:lnTo>
                    <a:pt x="1242" y="1308"/>
                  </a:lnTo>
                  <a:lnTo>
                    <a:pt x="1272" y="1308"/>
                  </a:lnTo>
                  <a:lnTo>
                    <a:pt x="1296" y="1314"/>
                  </a:lnTo>
                  <a:lnTo>
                    <a:pt x="1320" y="1320"/>
                  </a:lnTo>
                  <a:lnTo>
                    <a:pt x="1338" y="1320"/>
                  </a:lnTo>
                  <a:lnTo>
                    <a:pt x="1356" y="1332"/>
                  </a:lnTo>
                  <a:lnTo>
                    <a:pt x="1368" y="1344"/>
                  </a:lnTo>
                  <a:lnTo>
                    <a:pt x="1374" y="1362"/>
                  </a:lnTo>
                  <a:lnTo>
                    <a:pt x="1368" y="1362"/>
                  </a:lnTo>
                  <a:lnTo>
                    <a:pt x="1368" y="1398"/>
                  </a:lnTo>
                  <a:lnTo>
                    <a:pt x="1368" y="1410"/>
                  </a:lnTo>
                  <a:lnTo>
                    <a:pt x="1368" y="1428"/>
                  </a:lnTo>
                  <a:lnTo>
                    <a:pt x="1368" y="1434"/>
                  </a:lnTo>
                  <a:lnTo>
                    <a:pt x="1368" y="1440"/>
                  </a:lnTo>
                  <a:lnTo>
                    <a:pt x="1374" y="1446"/>
                  </a:lnTo>
                  <a:lnTo>
                    <a:pt x="1374" y="1452"/>
                  </a:lnTo>
                  <a:lnTo>
                    <a:pt x="1380" y="1458"/>
                  </a:lnTo>
                  <a:lnTo>
                    <a:pt x="1386" y="1464"/>
                  </a:lnTo>
                  <a:lnTo>
                    <a:pt x="1386" y="1470"/>
                  </a:lnTo>
                  <a:lnTo>
                    <a:pt x="1380" y="1476"/>
                  </a:lnTo>
                  <a:lnTo>
                    <a:pt x="1374" y="1482"/>
                  </a:lnTo>
                  <a:lnTo>
                    <a:pt x="1362" y="1500"/>
                  </a:lnTo>
                  <a:lnTo>
                    <a:pt x="1362" y="1506"/>
                  </a:lnTo>
                  <a:lnTo>
                    <a:pt x="1362" y="1512"/>
                  </a:lnTo>
                  <a:lnTo>
                    <a:pt x="1362" y="1518"/>
                  </a:lnTo>
                  <a:lnTo>
                    <a:pt x="1362" y="1524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38" y="1548"/>
                  </a:lnTo>
                  <a:lnTo>
                    <a:pt x="1296" y="1548"/>
                  </a:lnTo>
                  <a:lnTo>
                    <a:pt x="1290" y="1554"/>
                  </a:lnTo>
                  <a:lnTo>
                    <a:pt x="1284" y="1560"/>
                  </a:lnTo>
                  <a:lnTo>
                    <a:pt x="1284" y="1566"/>
                  </a:lnTo>
                  <a:lnTo>
                    <a:pt x="1290" y="1578"/>
                  </a:lnTo>
                  <a:lnTo>
                    <a:pt x="1296" y="1590"/>
                  </a:lnTo>
                  <a:lnTo>
                    <a:pt x="1302" y="1590"/>
                  </a:lnTo>
                  <a:lnTo>
                    <a:pt x="1308" y="1596"/>
                  </a:lnTo>
                  <a:lnTo>
                    <a:pt x="1320" y="1602"/>
                  </a:lnTo>
                  <a:lnTo>
                    <a:pt x="1326" y="1602"/>
                  </a:lnTo>
                  <a:lnTo>
                    <a:pt x="1326" y="1608"/>
                  </a:lnTo>
                  <a:lnTo>
                    <a:pt x="1332" y="1614"/>
                  </a:lnTo>
                  <a:lnTo>
                    <a:pt x="1344" y="1620"/>
                  </a:lnTo>
                  <a:lnTo>
                    <a:pt x="1356" y="1626"/>
                  </a:lnTo>
                  <a:lnTo>
                    <a:pt x="1356" y="1632"/>
                  </a:lnTo>
                  <a:lnTo>
                    <a:pt x="1356" y="1638"/>
                  </a:lnTo>
                  <a:lnTo>
                    <a:pt x="1362" y="1644"/>
                  </a:lnTo>
                  <a:lnTo>
                    <a:pt x="1368" y="1644"/>
                  </a:lnTo>
                  <a:lnTo>
                    <a:pt x="1380" y="1650"/>
                  </a:lnTo>
                  <a:lnTo>
                    <a:pt x="1386" y="1650"/>
                  </a:lnTo>
                  <a:lnTo>
                    <a:pt x="1386" y="1656"/>
                  </a:lnTo>
                  <a:lnTo>
                    <a:pt x="1392" y="1656"/>
                  </a:lnTo>
                  <a:lnTo>
                    <a:pt x="1398" y="1662"/>
                  </a:lnTo>
                  <a:lnTo>
                    <a:pt x="1410" y="1674"/>
                  </a:lnTo>
                  <a:lnTo>
                    <a:pt x="1428" y="1680"/>
                  </a:lnTo>
                  <a:lnTo>
                    <a:pt x="1428" y="1686"/>
                  </a:lnTo>
                  <a:lnTo>
                    <a:pt x="1428" y="1698"/>
                  </a:lnTo>
                  <a:lnTo>
                    <a:pt x="1434" y="1704"/>
                  </a:lnTo>
                  <a:lnTo>
                    <a:pt x="1434" y="1710"/>
                  </a:lnTo>
                  <a:lnTo>
                    <a:pt x="1440" y="1710"/>
                  </a:lnTo>
                  <a:lnTo>
                    <a:pt x="1446" y="1710"/>
                  </a:lnTo>
                  <a:lnTo>
                    <a:pt x="1446" y="1716"/>
                  </a:lnTo>
                  <a:lnTo>
                    <a:pt x="1440" y="1722"/>
                  </a:lnTo>
                  <a:lnTo>
                    <a:pt x="1440" y="1728"/>
                  </a:lnTo>
                  <a:lnTo>
                    <a:pt x="1440" y="1734"/>
                  </a:lnTo>
                  <a:lnTo>
                    <a:pt x="1440" y="1740"/>
                  </a:lnTo>
                  <a:lnTo>
                    <a:pt x="1440" y="1746"/>
                  </a:lnTo>
                  <a:lnTo>
                    <a:pt x="1440" y="1788"/>
                  </a:lnTo>
                  <a:lnTo>
                    <a:pt x="1440" y="1800"/>
                  </a:lnTo>
                  <a:lnTo>
                    <a:pt x="1440" y="1806"/>
                  </a:lnTo>
                  <a:lnTo>
                    <a:pt x="1440" y="1836"/>
                  </a:lnTo>
                  <a:lnTo>
                    <a:pt x="1440" y="1848"/>
                  </a:lnTo>
                  <a:lnTo>
                    <a:pt x="1446" y="1848"/>
                  </a:lnTo>
                  <a:lnTo>
                    <a:pt x="1446" y="1854"/>
                  </a:lnTo>
                  <a:lnTo>
                    <a:pt x="1452" y="1848"/>
                  </a:lnTo>
                  <a:lnTo>
                    <a:pt x="1458" y="1854"/>
                  </a:lnTo>
                  <a:lnTo>
                    <a:pt x="1452" y="1860"/>
                  </a:lnTo>
                  <a:lnTo>
                    <a:pt x="1452" y="1866"/>
                  </a:lnTo>
                  <a:lnTo>
                    <a:pt x="1458" y="1872"/>
                  </a:lnTo>
                  <a:lnTo>
                    <a:pt x="1464" y="1884"/>
                  </a:lnTo>
                  <a:lnTo>
                    <a:pt x="1428" y="1878"/>
                  </a:lnTo>
                  <a:lnTo>
                    <a:pt x="1356" y="1890"/>
                  </a:lnTo>
                  <a:lnTo>
                    <a:pt x="1296" y="1926"/>
                  </a:lnTo>
                  <a:lnTo>
                    <a:pt x="1266" y="1944"/>
                  </a:lnTo>
                  <a:lnTo>
                    <a:pt x="1224" y="1944"/>
                  </a:lnTo>
                  <a:lnTo>
                    <a:pt x="1188" y="1956"/>
                  </a:lnTo>
                  <a:lnTo>
                    <a:pt x="1188" y="1950"/>
                  </a:lnTo>
                  <a:lnTo>
                    <a:pt x="1176" y="1944"/>
                  </a:lnTo>
                  <a:lnTo>
                    <a:pt x="1176" y="1938"/>
                  </a:lnTo>
                  <a:lnTo>
                    <a:pt x="1170" y="1938"/>
                  </a:lnTo>
                  <a:lnTo>
                    <a:pt x="1164" y="1932"/>
                  </a:lnTo>
                  <a:lnTo>
                    <a:pt x="1158" y="1926"/>
                  </a:lnTo>
                  <a:lnTo>
                    <a:pt x="1158" y="1920"/>
                  </a:lnTo>
                  <a:lnTo>
                    <a:pt x="1152" y="1920"/>
                  </a:lnTo>
                  <a:lnTo>
                    <a:pt x="1146" y="1914"/>
                  </a:lnTo>
                  <a:lnTo>
                    <a:pt x="1146" y="1908"/>
                  </a:lnTo>
                  <a:lnTo>
                    <a:pt x="1140" y="1908"/>
                  </a:lnTo>
                  <a:lnTo>
                    <a:pt x="1134" y="1902"/>
                  </a:lnTo>
                  <a:lnTo>
                    <a:pt x="1134" y="1896"/>
                  </a:lnTo>
                  <a:lnTo>
                    <a:pt x="1116" y="1896"/>
                  </a:lnTo>
                  <a:lnTo>
                    <a:pt x="1104" y="1884"/>
                  </a:lnTo>
                  <a:lnTo>
                    <a:pt x="1092" y="1860"/>
                  </a:lnTo>
                  <a:lnTo>
                    <a:pt x="1068" y="1854"/>
                  </a:lnTo>
                  <a:lnTo>
                    <a:pt x="1032" y="1842"/>
                  </a:lnTo>
                  <a:lnTo>
                    <a:pt x="1008" y="1836"/>
                  </a:lnTo>
                  <a:lnTo>
                    <a:pt x="978" y="1824"/>
                  </a:lnTo>
                  <a:lnTo>
                    <a:pt x="942" y="1818"/>
                  </a:lnTo>
                  <a:lnTo>
                    <a:pt x="924" y="1806"/>
                  </a:lnTo>
                  <a:lnTo>
                    <a:pt x="906" y="1788"/>
                  </a:lnTo>
                  <a:lnTo>
                    <a:pt x="894" y="1776"/>
                  </a:lnTo>
                  <a:lnTo>
                    <a:pt x="864" y="1758"/>
                  </a:lnTo>
                  <a:lnTo>
                    <a:pt x="834" y="1752"/>
                  </a:lnTo>
                  <a:lnTo>
                    <a:pt x="798" y="1746"/>
                  </a:lnTo>
                  <a:lnTo>
                    <a:pt x="792" y="1806"/>
                  </a:lnTo>
                  <a:lnTo>
                    <a:pt x="798" y="1812"/>
                  </a:lnTo>
                  <a:lnTo>
                    <a:pt x="810" y="1830"/>
                  </a:lnTo>
                  <a:lnTo>
                    <a:pt x="792" y="1842"/>
                  </a:lnTo>
                  <a:lnTo>
                    <a:pt x="768" y="1842"/>
                  </a:lnTo>
                  <a:lnTo>
                    <a:pt x="708" y="1848"/>
                  </a:lnTo>
                  <a:lnTo>
                    <a:pt x="690" y="1860"/>
                  </a:lnTo>
                  <a:lnTo>
                    <a:pt x="690" y="1866"/>
                  </a:lnTo>
                  <a:lnTo>
                    <a:pt x="678" y="1878"/>
                  </a:lnTo>
                  <a:lnTo>
                    <a:pt x="660" y="1884"/>
                  </a:lnTo>
                  <a:lnTo>
                    <a:pt x="660" y="1902"/>
                  </a:lnTo>
                  <a:lnTo>
                    <a:pt x="642" y="1902"/>
                  </a:lnTo>
                  <a:lnTo>
                    <a:pt x="582" y="1914"/>
                  </a:lnTo>
                  <a:lnTo>
                    <a:pt x="534" y="1908"/>
                  </a:lnTo>
                  <a:lnTo>
                    <a:pt x="510" y="1908"/>
                  </a:lnTo>
                  <a:lnTo>
                    <a:pt x="510" y="1896"/>
                  </a:lnTo>
                  <a:lnTo>
                    <a:pt x="492" y="1896"/>
                  </a:lnTo>
                  <a:lnTo>
                    <a:pt x="486" y="1902"/>
                  </a:lnTo>
                  <a:lnTo>
                    <a:pt x="474" y="1908"/>
                  </a:lnTo>
                  <a:lnTo>
                    <a:pt x="450" y="1908"/>
                  </a:lnTo>
                  <a:lnTo>
                    <a:pt x="432" y="1902"/>
                  </a:lnTo>
                  <a:lnTo>
                    <a:pt x="426" y="1896"/>
                  </a:lnTo>
                  <a:lnTo>
                    <a:pt x="402" y="1884"/>
                  </a:lnTo>
                  <a:lnTo>
                    <a:pt x="390" y="1872"/>
                  </a:lnTo>
                  <a:lnTo>
                    <a:pt x="384" y="1872"/>
                  </a:lnTo>
                  <a:lnTo>
                    <a:pt x="378" y="1872"/>
                  </a:lnTo>
                  <a:lnTo>
                    <a:pt x="378" y="1866"/>
                  </a:lnTo>
                  <a:lnTo>
                    <a:pt x="372" y="1860"/>
                  </a:lnTo>
                  <a:lnTo>
                    <a:pt x="372" y="1854"/>
                  </a:lnTo>
                  <a:lnTo>
                    <a:pt x="366" y="1842"/>
                  </a:lnTo>
                  <a:lnTo>
                    <a:pt x="366" y="1836"/>
                  </a:lnTo>
                  <a:lnTo>
                    <a:pt x="348" y="1830"/>
                  </a:lnTo>
                  <a:lnTo>
                    <a:pt x="348" y="1806"/>
                  </a:lnTo>
                  <a:lnTo>
                    <a:pt x="348" y="1800"/>
                  </a:lnTo>
                  <a:lnTo>
                    <a:pt x="348" y="1782"/>
                  </a:lnTo>
                  <a:lnTo>
                    <a:pt x="336" y="1788"/>
                  </a:lnTo>
                  <a:lnTo>
                    <a:pt x="312" y="1794"/>
                  </a:lnTo>
                  <a:lnTo>
                    <a:pt x="288" y="1788"/>
                  </a:lnTo>
                  <a:lnTo>
                    <a:pt x="264" y="1758"/>
                  </a:lnTo>
                  <a:lnTo>
                    <a:pt x="270" y="1758"/>
                  </a:lnTo>
                  <a:lnTo>
                    <a:pt x="270" y="1752"/>
                  </a:lnTo>
                  <a:lnTo>
                    <a:pt x="276" y="1752"/>
                  </a:lnTo>
                  <a:lnTo>
                    <a:pt x="282" y="1746"/>
                  </a:lnTo>
                  <a:lnTo>
                    <a:pt x="300" y="1746"/>
                  </a:lnTo>
                  <a:lnTo>
                    <a:pt x="312" y="1746"/>
                  </a:lnTo>
                  <a:lnTo>
                    <a:pt x="336" y="1710"/>
                  </a:lnTo>
                  <a:lnTo>
                    <a:pt x="342" y="1692"/>
                  </a:lnTo>
                  <a:lnTo>
                    <a:pt x="348" y="1680"/>
                  </a:lnTo>
                  <a:lnTo>
                    <a:pt x="342" y="1650"/>
                  </a:lnTo>
                  <a:lnTo>
                    <a:pt x="354" y="1644"/>
                  </a:lnTo>
                  <a:lnTo>
                    <a:pt x="354" y="1638"/>
                  </a:lnTo>
                  <a:lnTo>
                    <a:pt x="360" y="1632"/>
                  </a:lnTo>
                  <a:lnTo>
                    <a:pt x="354" y="1626"/>
                  </a:lnTo>
                  <a:lnTo>
                    <a:pt x="348" y="1626"/>
                  </a:lnTo>
                  <a:lnTo>
                    <a:pt x="348" y="1620"/>
                  </a:lnTo>
                  <a:lnTo>
                    <a:pt x="342" y="1620"/>
                  </a:lnTo>
                  <a:lnTo>
                    <a:pt x="348" y="1614"/>
                  </a:lnTo>
                  <a:lnTo>
                    <a:pt x="324" y="1566"/>
                  </a:lnTo>
                  <a:lnTo>
                    <a:pt x="318" y="1566"/>
                  </a:lnTo>
                  <a:lnTo>
                    <a:pt x="306" y="1572"/>
                  </a:lnTo>
                  <a:lnTo>
                    <a:pt x="300" y="1572"/>
                  </a:lnTo>
                  <a:lnTo>
                    <a:pt x="294" y="1578"/>
                  </a:lnTo>
                  <a:lnTo>
                    <a:pt x="288" y="1584"/>
                  </a:lnTo>
                  <a:lnTo>
                    <a:pt x="282" y="1584"/>
                  </a:lnTo>
                  <a:lnTo>
                    <a:pt x="282" y="1578"/>
                  </a:lnTo>
                  <a:lnTo>
                    <a:pt x="276" y="1578"/>
                  </a:lnTo>
                  <a:lnTo>
                    <a:pt x="270" y="1578"/>
                  </a:lnTo>
                  <a:lnTo>
                    <a:pt x="264" y="1578"/>
                  </a:lnTo>
                  <a:lnTo>
                    <a:pt x="258" y="1578"/>
                  </a:lnTo>
                  <a:lnTo>
                    <a:pt x="252" y="1578"/>
                  </a:lnTo>
                  <a:lnTo>
                    <a:pt x="252" y="1584"/>
                  </a:lnTo>
                  <a:lnTo>
                    <a:pt x="246" y="1584"/>
                  </a:lnTo>
                  <a:lnTo>
                    <a:pt x="210" y="1584"/>
                  </a:lnTo>
                  <a:lnTo>
                    <a:pt x="204" y="1584"/>
                  </a:lnTo>
                  <a:lnTo>
                    <a:pt x="192" y="1584"/>
                  </a:lnTo>
                  <a:lnTo>
                    <a:pt x="168" y="1596"/>
                  </a:lnTo>
                  <a:lnTo>
                    <a:pt x="156" y="1572"/>
                  </a:lnTo>
                  <a:lnTo>
                    <a:pt x="156" y="1566"/>
                  </a:lnTo>
                  <a:lnTo>
                    <a:pt x="156" y="1560"/>
                  </a:lnTo>
                  <a:lnTo>
                    <a:pt x="162" y="1548"/>
                  </a:lnTo>
                  <a:lnTo>
                    <a:pt x="162" y="1542"/>
                  </a:lnTo>
                  <a:lnTo>
                    <a:pt x="162" y="1536"/>
                  </a:lnTo>
                  <a:lnTo>
                    <a:pt x="168" y="1530"/>
                  </a:lnTo>
                  <a:lnTo>
                    <a:pt x="168" y="1524"/>
                  </a:lnTo>
                  <a:lnTo>
                    <a:pt x="168" y="1518"/>
                  </a:lnTo>
                  <a:lnTo>
                    <a:pt x="174" y="1518"/>
                  </a:lnTo>
                  <a:lnTo>
                    <a:pt x="174" y="1506"/>
                  </a:lnTo>
                  <a:lnTo>
                    <a:pt x="156" y="1470"/>
                  </a:lnTo>
                  <a:lnTo>
                    <a:pt x="138" y="1464"/>
                  </a:lnTo>
                  <a:lnTo>
                    <a:pt x="126" y="1446"/>
                  </a:lnTo>
                  <a:lnTo>
                    <a:pt x="126" y="1440"/>
                  </a:lnTo>
                  <a:lnTo>
                    <a:pt x="126" y="1434"/>
                  </a:lnTo>
                  <a:lnTo>
                    <a:pt x="120" y="1428"/>
                  </a:lnTo>
                  <a:lnTo>
                    <a:pt x="126" y="1398"/>
                  </a:lnTo>
                  <a:lnTo>
                    <a:pt x="120" y="1374"/>
                  </a:lnTo>
                  <a:lnTo>
                    <a:pt x="60" y="1374"/>
                  </a:lnTo>
                  <a:lnTo>
                    <a:pt x="60" y="1368"/>
                  </a:lnTo>
                  <a:lnTo>
                    <a:pt x="54" y="1362"/>
                  </a:lnTo>
                  <a:lnTo>
                    <a:pt x="48" y="1356"/>
                  </a:lnTo>
                  <a:lnTo>
                    <a:pt x="42" y="1356"/>
                  </a:lnTo>
                  <a:lnTo>
                    <a:pt x="42" y="1350"/>
                  </a:lnTo>
                  <a:lnTo>
                    <a:pt x="36" y="1344"/>
                  </a:lnTo>
                  <a:lnTo>
                    <a:pt x="36" y="1338"/>
                  </a:lnTo>
                  <a:lnTo>
                    <a:pt x="30" y="1332"/>
                  </a:lnTo>
                  <a:lnTo>
                    <a:pt x="30" y="1326"/>
                  </a:lnTo>
                  <a:lnTo>
                    <a:pt x="18" y="1326"/>
                  </a:lnTo>
                  <a:lnTo>
                    <a:pt x="18" y="1320"/>
                  </a:lnTo>
                  <a:lnTo>
                    <a:pt x="18" y="1326"/>
                  </a:lnTo>
                  <a:lnTo>
                    <a:pt x="6" y="1320"/>
                  </a:lnTo>
                  <a:lnTo>
                    <a:pt x="0" y="1314"/>
                  </a:lnTo>
                  <a:lnTo>
                    <a:pt x="12" y="1266"/>
                  </a:lnTo>
                  <a:lnTo>
                    <a:pt x="6" y="1242"/>
                  </a:lnTo>
                  <a:lnTo>
                    <a:pt x="12" y="1236"/>
                  </a:lnTo>
                  <a:lnTo>
                    <a:pt x="12" y="1230"/>
                  </a:lnTo>
                  <a:lnTo>
                    <a:pt x="18" y="1230"/>
                  </a:lnTo>
                  <a:lnTo>
                    <a:pt x="18" y="1224"/>
                  </a:lnTo>
                  <a:lnTo>
                    <a:pt x="24" y="1218"/>
                  </a:lnTo>
                  <a:lnTo>
                    <a:pt x="24" y="1212"/>
                  </a:lnTo>
                  <a:lnTo>
                    <a:pt x="30" y="1212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48" y="1188"/>
                  </a:lnTo>
                  <a:lnTo>
                    <a:pt x="48" y="1182"/>
                  </a:lnTo>
                  <a:lnTo>
                    <a:pt x="48" y="1176"/>
                  </a:lnTo>
                  <a:lnTo>
                    <a:pt x="48" y="1170"/>
                  </a:lnTo>
                  <a:lnTo>
                    <a:pt x="54" y="1170"/>
                  </a:lnTo>
                  <a:lnTo>
                    <a:pt x="60" y="1164"/>
                  </a:lnTo>
                  <a:lnTo>
                    <a:pt x="60" y="1158"/>
                  </a:lnTo>
                  <a:lnTo>
                    <a:pt x="66" y="1152"/>
                  </a:lnTo>
                  <a:lnTo>
                    <a:pt x="60" y="1140"/>
                  </a:lnTo>
                  <a:lnTo>
                    <a:pt x="60" y="1134"/>
                  </a:lnTo>
                  <a:lnTo>
                    <a:pt x="54" y="1134"/>
                  </a:lnTo>
                  <a:lnTo>
                    <a:pt x="54" y="1128"/>
                  </a:lnTo>
                  <a:lnTo>
                    <a:pt x="48" y="1122"/>
                  </a:lnTo>
                  <a:lnTo>
                    <a:pt x="48" y="1116"/>
                  </a:lnTo>
                  <a:lnTo>
                    <a:pt x="48" y="1110"/>
                  </a:lnTo>
                  <a:lnTo>
                    <a:pt x="42" y="1104"/>
                  </a:lnTo>
                  <a:lnTo>
                    <a:pt x="42" y="1098"/>
                  </a:lnTo>
                  <a:lnTo>
                    <a:pt x="36" y="1092"/>
                  </a:lnTo>
                  <a:lnTo>
                    <a:pt x="30" y="1092"/>
                  </a:lnTo>
                  <a:lnTo>
                    <a:pt x="24" y="1092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18" y="1080"/>
                  </a:lnTo>
                  <a:lnTo>
                    <a:pt x="18" y="1074"/>
                  </a:lnTo>
                  <a:lnTo>
                    <a:pt x="12" y="1068"/>
                  </a:lnTo>
                  <a:lnTo>
                    <a:pt x="6" y="1068"/>
                  </a:lnTo>
                  <a:lnTo>
                    <a:pt x="12" y="1056"/>
                  </a:lnTo>
                  <a:lnTo>
                    <a:pt x="6" y="1056"/>
                  </a:lnTo>
                  <a:lnTo>
                    <a:pt x="6" y="1050"/>
                  </a:lnTo>
                  <a:lnTo>
                    <a:pt x="6" y="1044"/>
                  </a:lnTo>
                  <a:lnTo>
                    <a:pt x="6" y="1026"/>
                  </a:lnTo>
                  <a:lnTo>
                    <a:pt x="12" y="1020"/>
                  </a:lnTo>
                  <a:lnTo>
                    <a:pt x="12" y="1014"/>
                  </a:lnTo>
                  <a:lnTo>
                    <a:pt x="18" y="1014"/>
                  </a:lnTo>
                  <a:lnTo>
                    <a:pt x="18" y="1008"/>
                  </a:lnTo>
                  <a:lnTo>
                    <a:pt x="18" y="1002"/>
                  </a:lnTo>
                  <a:lnTo>
                    <a:pt x="18" y="990"/>
                  </a:lnTo>
                  <a:lnTo>
                    <a:pt x="12" y="972"/>
                  </a:lnTo>
                  <a:lnTo>
                    <a:pt x="18" y="954"/>
                  </a:lnTo>
                  <a:lnTo>
                    <a:pt x="18" y="948"/>
                  </a:lnTo>
                  <a:lnTo>
                    <a:pt x="24" y="948"/>
                  </a:lnTo>
                  <a:lnTo>
                    <a:pt x="24" y="930"/>
                  </a:lnTo>
                  <a:lnTo>
                    <a:pt x="30" y="930"/>
                  </a:lnTo>
                  <a:lnTo>
                    <a:pt x="36" y="918"/>
                  </a:lnTo>
                  <a:lnTo>
                    <a:pt x="42" y="918"/>
                  </a:lnTo>
                  <a:lnTo>
                    <a:pt x="48" y="918"/>
                  </a:lnTo>
                  <a:lnTo>
                    <a:pt x="78" y="912"/>
                  </a:lnTo>
                  <a:lnTo>
                    <a:pt x="90" y="894"/>
                  </a:lnTo>
                  <a:lnTo>
                    <a:pt x="96" y="894"/>
                  </a:lnTo>
                  <a:lnTo>
                    <a:pt x="102" y="888"/>
                  </a:lnTo>
                  <a:lnTo>
                    <a:pt x="102" y="882"/>
                  </a:lnTo>
                  <a:lnTo>
                    <a:pt x="114" y="870"/>
                  </a:lnTo>
                  <a:lnTo>
                    <a:pt x="120" y="864"/>
                  </a:lnTo>
                  <a:lnTo>
                    <a:pt x="120" y="852"/>
                  </a:lnTo>
                  <a:lnTo>
                    <a:pt x="120" y="846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32" y="840"/>
                  </a:lnTo>
                  <a:lnTo>
                    <a:pt x="138" y="840"/>
                  </a:lnTo>
                  <a:lnTo>
                    <a:pt x="138" y="834"/>
                  </a:lnTo>
                  <a:lnTo>
                    <a:pt x="144" y="834"/>
                  </a:lnTo>
                  <a:lnTo>
                    <a:pt x="144" y="828"/>
                  </a:lnTo>
                  <a:lnTo>
                    <a:pt x="150" y="828"/>
                  </a:lnTo>
                  <a:lnTo>
                    <a:pt x="156" y="822"/>
                  </a:lnTo>
                  <a:lnTo>
                    <a:pt x="162" y="816"/>
                  </a:lnTo>
                  <a:lnTo>
                    <a:pt x="162" y="822"/>
                  </a:lnTo>
                  <a:lnTo>
                    <a:pt x="162" y="816"/>
                  </a:lnTo>
                  <a:lnTo>
                    <a:pt x="162" y="810"/>
                  </a:lnTo>
                  <a:lnTo>
                    <a:pt x="168" y="810"/>
                  </a:lnTo>
                  <a:lnTo>
                    <a:pt x="174" y="804"/>
                  </a:lnTo>
                  <a:lnTo>
                    <a:pt x="180" y="798"/>
                  </a:lnTo>
                  <a:lnTo>
                    <a:pt x="180" y="786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8" y="780"/>
                  </a:lnTo>
                  <a:lnTo>
                    <a:pt x="204" y="774"/>
                  </a:lnTo>
                  <a:lnTo>
                    <a:pt x="210" y="774"/>
                  </a:lnTo>
                  <a:lnTo>
                    <a:pt x="216" y="768"/>
                  </a:lnTo>
                  <a:lnTo>
                    <a:pt x="222" y="762"/>
                  </a:lnTo>
                  <a:lnTo>
                    <a:pt x="228" y="762"/>
                  </a:lnTo>
                  <a:lnTo>
                    <a:pt x="228" y="768"/>
                  </a:lnTo>
                  <a:lnTo>
                    <a:pt x="234" y="768"/>
                  </a:lnTo>
                  <a:lnTo>
                    <a:pt x="240" y="762"/>
                  </a:lnTo>
                  <a:lnTo>
                    <a:pt x="252" y="762"/>
                  </a:lnTo>
                  <a:lnTo>
                    <a:pt x="264" y="768"/>
                  </a:lnTo>
                  <a:lnTo>
                    <a:pt x="294" y="756"/>
                  </a:lnTo>
                  <a:lnTo>
                    <a:pt x="294" y="750"/>
                  </a:lnTo>
                  <a:lnTo>
                    <a:pt x="300" y="750"/>
                  </a:lnTo>
                  <a:lnTo>
                    <a:pt x="306" y="744"/>
                  </a:lnTo>
                  <a:lnTo>
                    <a:pt x="342" y="750"/>
                  </a:lnTo>
                  <a:lnTo>
                    <a:pt x="348" y="750"/>
                  </a:lnTo>
                  <a:lnTo>
                    <a:pt x="348" y="744"/>
                  </a:lnTo>
                  <a:lnTo>
                    <a:pt x="354" y="744"/>
                  </a:lnTo>
                  <a:lnTo>
                    <a:pt x="360" y="744"/>
                  </a:lnTo>
                  <a:lnTo>
                    <a:pt x="360" y="750"/>
                  </a:lnTo>
                  <a:lnTo>
                    <a:pt x="366" y="750"/>
                  </a:lnTo>
                  <a:lnTo>
                    <a:pt x="366" y="744"/>
                  </a:lnTo>
                  <a:lnTo>
                    <a:pt x="366" y="738"/>
                  </a:lnTo>
                  <a:lnTo>
                    <a:pt x="372" y="744"/>
                  </a:lnTo>
                  <a:lnTo>
                    <a:pt x="378" y="744"/>
                  </a:lnTo>
                  <a:lnTo>
                    <a:pt x="384" y="750"/>
                  </a:lnTo>
                  <a:lnTo>
                    <a:pt x="444" y="774"/>
                  </a:lnTo>
                  <a:lnTo>
                    <a:pt x="450" y="774"/>
                  </a:lnTo>
                  <a:lnTo>
                    <a:pt x="456" y="768"/>
                  </a:lnTo>
                  <a:lnTo>
                    <a:pt x="462" y="768"/>
                  </a:lnTo>
                  <a:lnTo>
                    <a:pt x="462" y="762"/>
                  </a:lnTo>
                  <a:lnTo>
                    <a:pt x="468" y="762"/>
                  </a:lnTo>
                  <a:lnTo>
                    <a:pt x="474" y="756"/>
                  </a:lnTo>
                  <a:lnTo>
                    <a:pt x="480" y="750"/>
                  </a:lnTo>
                  <a:lnTo>
                    <a:pt x="516" y="756"/>
                  </a:lnTo>
                  <a:lnTo>
                    <a:pt x="522" y="756"/>
                  </a:lnTo>
                  <a:lnTo>
                    <a:pt x="522" y="762"/>
                  </a:lnTo>
                  <a:lnTo>
                    <a:pt x="522" y="768"/>
                  </a:lnTo>
                  <a:lnTo>
                    <a:pt x="522" y="774"/>
                  </a:lnTo>
                  <a:lnTo>
                    <a:pt x="528" y="780"/>
                  </a:lnTo>
                  <a:lnTo>
                    <a:pt x="540" y="780"/>
                  </a:lnTo>
                  <a:lnTo>
                    <a:pt x="540" y="804"/>
                  </a:lnTo>
                  <a:lnTo>
                    <a:pt x="540" y="810"/>
                  </a:lnTo>
                  <a:lnTo>
                    <a:pt x="546" y="810"/>
                  </a:lnTo>
                  <a:lnTo>
                    <a:pt x="552" y="810"/>
                  </a:lnTo>
                  <a:lnTo>
                    <a:pt x="558" y="810"/>
                  </a:lnTo>
                  <a:lnTo>
                    <a:pt x="564" y="810"/>
                  </a:lnTo>
                  <a:lnTo>
                    <a:pt x="570" y="810"/>
                  </a:lnTo>
                  <a:lnTo>
                    <a:pt x="576" y="810"/>
                  </a:lnTo>
                  <a:lnTo>
                    <a:pt x="576" y="816"/>
                  </a:lnTo>
                  <a:lnTo>
                    <a:pt x="588" y="816"/>
                  </a:lnTo>
                  <a:lnTo>
                    <a:pt x="594" y="816"/>
                  </a:lnTo>
                  <a:lnTo>
                    <a:pt x="600" y="822"/>
                  </a:lnTo>
                  <a:lnTo>
                    <a:pt x="606" y="816"/>
                  </a:lnTo>
                  <a:lnTo>
                    <a:pt x="612" y="816"/>
                  </a:lnTo>
                  <a:lnTo>
                    <a:pt x="612" y="810"/>
                  </a:lnTo>
                  <a:lnTo>
                    <a:pt x="624" y="810"/>
                  </a:lnTo>
                  <a:lnTo>
                    <a:pt x="624" y="804"/>
                  </a:lnTo>
                  <a:lnTo>
                    <a:pt x="630" y="798"/>
                  </a:lnTo>
                  <a:lnTo>
                    <a:pt x="636" y="798"/>
                  </a:lnTo>
                  <a:lnTo>
                    <a:pt x="636" y="804"/>
                  </a:lnTo>
                  <a:lnTo>
                    <a:pt x="642" y="804"/>
                  </a:lnTo>
                  <a:lnTo>
                    <a:pt x="648" y="804"/>
                  </a:lnTo>
                  <a:lnTo>
                    <a:pt x="654" y="804"/>
                  </a:lnTo>
                  <a:lnTo>
                    <a:pt x="660" y="804"/>
                  </a:lnTo>
                  <a:lnTo>
                    <a:pt x="678" y="798"/>
                  </a:lnTo>
                  <a:lnTo>
                    <a:pt x="714" y="786"/>
                  </a:lnTo>
                  <a:lnTo>
                    <a:pt x="714" y="792"/>
                  </a:lnTo>
                  <a:lnTo>
                    <a:pt x="714" y="798"/>
                  </a:lnTo>
                  <a:lnTo>
                    <a:pt x="714" y="804"/>
                  </a:lnTo>
                  <a:lnTo>
                    <a:pt x="720" y="804"/>
                  </a:lnTo>
                  <a:lnTo>
                    <a:pt x="720" y="810"/>
                  </a:lnTo>
                  <a:lnTo>
                    <a:pt x="720" y="816"/>
                  </a:lnTo>
                  <a:lnTo>
                    <a:pt x="726" y="822"/>
                  </a:lnTo>
                  <a:lnTo>
                    <a:pt x="732" y="828"/>
                  </a:lnTo>
                  <a:lnTo>
                    <a:pt x="732" y="834"/>
                  </a:lnTo>
                  <a:lnTo>
                    <a:pt x="732" y="846"/>
                  </a:lnTo>
                  <a:lnTo>
                    <a:pt x="732" y="858"/>
                  </a:lnTo>
                  <a:lnTo>
                    <a:pt x="738" y="858"/>
                  </a:lnTo>
                  <a:lnTo>
                    <a:pt x="732" y="864"/>
                  </a:lnTo>
                  <a:lnTo>
                    <a:pt x="732" y="870"/>
                  </a:lnTo>
                  <a:lnTo>
                    <a:pt x="726" y="870"/>
                  </a:lnTo>
                  <a:lnTo>
                    <a:pt x="726" y="876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0" y="882"/>
                  </a:lnTo>
                  <a:lnTo>
                    <a:pt x="690" y="912"/>
                  </a:lnTo>
                  <a:lnTo>
                    <a:pt x="696" y="936"/>
                  </a:lnTo>
                  <a:lnTo>
                    <a:pt x="702" y="936"/>
                  </a:lnTo>
                  <a:lnTo>
                    <a:pt x="702" y="930"/>
                  </a:lnTo>
                  <a:lnTo>
                    <a:pt x="708" y="930"/>
                  </a:lnTo>
                  <a:lnTo>
                    <a:pt x="708" y="924"/>
                  </a:lnTo>
                  <a:lnTo>
                    <a:pt x="708" y="918"/>
                  </a:lnTo>
                  <a:lnTo>
                    <a:pt x="714" y="918"/>
                  </a:lnTo>
                  <a:lnTo>
                    <a:pt x="720" y="954"/>
                  </a:lnTo>
                  <a:lnTo>
                    <a:pt x="726" y="966"/>
                  </a:lnTo>
                  <a:lnTo>
                    <a:pt x="744" y="966"/>
                  </a:lnTo>
                  <a:lnTo>
                    <a:pt x="756" y="972"/>
                  </a:lnTo>
                  <a:lnTo>
                    <a:pt x="792" y="990"/>
                  </a:lnTo>
                  <a:lnTo>
                    <a:pt x="828" y="978"/>
                  </a:lnTo>
                  <a:lnTo>
                    <a:pt x="834" y="978"/>
                  </a:lnTo>
                  <a:lnTo>
                    <a:pt x="840" y="978"/>
                  </a:lnTo>
                  <a:lnTo>
                    <a:pt x="840" y="984"/>
                  </a:lnTo>
                  <a:lnTo>
                    <a:pt x="846" y="984"/>
                  </a:lnTo>
                  <a:lnTo>
                    <a:pt x="858" y="972"/>
                  </a:lnTo>
                  <a:lnTo>
                    <a:pt x="882" y="972"/>
                  </a:lnTo>
                  <a:lnTo>
                    <a:pt x="888" y="984"/>
                  </a:lnTo>
                  <a:lnTo>
                    <a:pt x="900" y="990"/>
                  </a:lnTo>
                  <a:lnTo>
                    <a:pt x="924" y="996"/>
                  </a:lnTo>
                  <a:lnTo>
                    <a:pt x="930" y="990"/>
                  </a:lnTo>
                  <a:lnTo>
                    <a:pt x="930" y="984"/>
                  </a:lnTo>
                  <a:lnTo>
                    <a:pt x="924" y="978"/>
                  </a:lnTo>
                  <a:lnTo>
                    <a:pt x="906" y="972"/>
                  </a:lnTo>
                  <a:lnTo>
                    <a:pt x="900" y="966"/>
                  </a:lnTo>
                  <a:lnTo>
                    <a:pt x="900" y="960"/>
                  </a:lnTo>
                  <a:lnTo>
                    <a:pt x="900" y="954"/>
                  </a:lnTo>
                  <a:lnTo>
                    <a:pt x="900" y="948"/>
                  </a:lnTo>
                  <a:lnTo>
                    <a:pt x="912" y="936"/>
                  </a:lnTo>
                  <a:lnTo>
                    <a:pt x="912" y="924"/>
                  </a:lnTo>
                  <a:lnTo>
                    <a:pt x="918" y="924"/>
                  </a:lnTo>
                  <a:lnTo>
                    <a:pt x="918" y="918"/>
                  </a:lnTo>
                  <a:lnTo>
                    <a:pt x="936" y="906"/>
                  </a:lnTo>
                  <a:lnTo>
                    <a:pt x="942" y="906"/>
                  </a:lnTo>
                  <a:lnTo>
                    <a:pt x="948" y="906"/>
                  </a:lnTo>
                  <a:lnTo>
                    <a:pt x="954" y="906"/>
                  </a:lnTo>
                  <a:lnTo>
                    <a:pt x="960" y="906"/>
                  </a:lnTo>
                  <a:lnTo>
                    <a:pt x="966" y="912"/>
                  </a:lnTo>
                  <a:lnTo>
                    <a:pt x="972" y="906"/>
                  </a:lnTo>
                  <a:lnTo>
                    <a:pt x="978" y="906"/>
                  </a:lnTo>
                  <a:lnTo>
                    <a:pt x="984" y="900"/>
                  </a:lnTo>
                  <a:lnTo>
                    <a:pt x="984" y="894"/>
                  </a:lnTo>
                  <a:lnTo>
                    <a:pt x="990" y="894"/>
                  </a:lnTo>
                  <a:lnTo>
                    <a:pt x="996" y="888"/>
                  </a:lnTo>
                  <a:lnTo>
                    <a:pt x="1002" y="888"/>
                  </a:lnTo>
                  <a:lnTo>
                    <a:pt x="1008" y="882"/>
                  </a:lnTo>
                  <a:lnTo>
                    <a:pt x="1014" y="882"/>
                  </a:lnTo>
                  <a:lnTo>
                    <a:pt x="1020" y="882"/>
                  </a:lnTo>
                  <a:lnTo>
                    <a:pt x="1020" y="888"/>
                  </a:lnTo>
                  <a:lnTo>
                    <a:pt x="1026" y="882"/>
                  </a:lnTo>
                  <a:lnTo>
                    <a:pt x="1026" y="876"/>
                  </a:lnTo>
                  <a:lnTo>
                    <a:pt x="1026" y="870"/>
                  </a:lnTo>
                  <a:lnTo>
                    <a:pt x="1032" y="864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44" y="852"/>
                  </a:lnTo>
                  <a:lnTo>
                    <a:pt x="1038" y="846"/>
                  </a:lnTo>
                  <a:lnTo>
                    <a:pt x="1038" y="840"/>
                  </a:lnTo>
                  <a:lnTo>
                    <a:pt x="1032" y="840"/>
                  </a:lnTo>
                  <a:lnTo>
                    <a:pt x="1026" y="840"/>
                  </a:lnTo>
                  <a:lnTo>
                    <a:pt x="1020" y="840"/>
                  </a:lnTo>
                  <a:lnTo>
                    <a:pt x="1014" y="846"/>
                  </a:lnTo>
                  <a:lnTo>
                    <a:pt x="1008" y="846"/>
                  </a:lnTo>
                  <a:lnTo>
                    <a:pt x="1002" y="840"/>
                  </a:lnTo>
                  <a:lnTo>
                    <a:pt x="996" y="840"/>
                  </a:lnTo>
                  <a:lnTo>
                    <a:pt x="990" y="834"/>
                  </a:lnTo>
                  <a:lnTo>
                    <a:pt x="984" y="834"/>
                  </a:lnTo>
                  <a:lnTo>
                    <a:pt x="978" y="834"/>
                  </a:lnTo>
                  <a:lnTo>
                    <a:pt x="972" y="834"/>
                  </a:lnTo>
                  <a:lnTo>
                    <a:pt x="966" y="834"/>
                  </a:lnTo>
                  <a:lnTo>
                    <a:pt x="966" y="828"/>
                  </a:lnTo>
                  <a:lnTo>
                    <a:pt x="960" y="828"/>
                  </a:lnTo>
                  <a:lnTo>
                    <a:pt x="954" y="828"/>
                  </a:lnTo>
                  <a:lnTo>
                    <a:pt x="942" y="828"/>
                  </a:lnTo>
                  <a:lnTo>
                    <a:pt x="936" y="828"/>
                  </a:lnTo>
                  <a:lnTo>
                    <a:pt x="930" y="828"/>
                  </a:lnTo>
                  <a:lnTo>
                    <a:pt x="918" y="828"/>
                  </a:lnTo>
                  <a:lnTo>
                    <a:pt x="918" y="822"/>
                  </a:lnTo>
                  <a:lnTo>
                    <a:pt x="912" y="828"/>
                  </a:lnTo>
                  <a:lnTo>
                    <a:pt x="912" y="822"/>
                  </a:lnTo>
                  <a:lnTo>
                    <a:pt x="906" y="816"/>
                  </a:lnTo>
                  <a:lnTo>
                    <a:pt x="900" y="816"/>
                  </a:lnTo>
                  <a:lnTo>
                    <a:pt x="894" y="816"/>
                  </a:lnTo>
                  <a:lnTo>
                    <a:pt x="888" y="816"/>
                  </a:lnTo>
                  <a:lnTo>
                    <a:pt x="882" y="816"/>
                  </a:lnTo>
                  <a:lnTo>
                    <a:pt x="882" y="810"/>
                  </a:lnTo>
                  <a:lnTo>
                    <a:pt x="876" y="804"/>
                  </a:lnTo>
                  <a:lnTo>
                    <a:pt x="870" y="804"/>
                  </a:lnTo>
                  <a:lnTo>
                    <a:pt x="864" y="798"/>
                  </a:lnTo>
                  <a:lnTo>
                    <a:pt x="858" y="798"/>
                  </a:lnTo>
                  <a:lnTo>
                    <a:pt x="858" y="804"/>
                  </a:lnTo>
                  <a:lnTo>
                    <a:pt x="852" y="804"/>
                  </a:lnTo>
                  <a:lnTo>
                    <a:pt x="846" y="804"/>
                  </a:lnTo>
                  <a:lnTo>
                    <a:pt x="846" y="798"/>
                  </a:lnTo>
                  <a:lnTo>
                    <a:pt x="840" y="804"/>
                  </a:lnTo>
                  <a:lnTo>
                    <a:pt x="834" y="804"/>
                  </a:lnTo>
                  <a:lnTo>
                    <a:pt x="828" y="804"/>
                  </a:lnTo>
                  <a:lnTo>
                    <a:pt x="828" y="810"/>
                  </a:lnTo>
                  <a:lnTo>
                    <a:pt x="822" y="810"/>
                  </a:lnTo>
                  <a:lnTo>
                    <a:pt x="810" y="804"/>
                  </a:lnTo>
                  <a:lnTo>
                    <a:pt x="810" y="798"/>
                  </a:lnTo>
                  <a:lnTo>
                    <a:pt x="780" y="798"/>
                  </a:lnTo>
                  <a:lnTo>
                    <a:pt x="756" y="774"/>
                  </a:lnTo>
                  <a:lnTo>
                    <a:pt x="750" y="768"/>
                  </a:lnTo>
                  <a:lnTo>
                    <a:pt x="750" y="744"/>
                  </a:lnTo>
                  <a:lnTo>
                    <a:pt x="732" y="738"/>
                  </a:lnTo>
                  <a:lnTo>
                    <a:pt x="732" y="720"/>
                  </a:lnTo>
                  <a:lnTo>
                    <a:pt x="714" y="690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6" y="666"/>
                  </a:lnTo>
                  <a:lnTo>
                    <a:pt x="690" y="666"/>
                  </a:lnTo>
                  <a:lnTo>
                    <a:pt x="678" y="672"/>
                  </a:lnTo>
                  <a:lnTo>
                    <a:pt x="678" y="654"/>
                  </a:lnTo>
                  <a:lnTo>
                    <a:pt x="684" y="630"/>
                  </a:lnTo>
                  <a:lnTo>
                    <a:pt x="690" y="618"/>
                  </a:lnTo>
                  <a:lnTo>
                    <a:pt x="696" y="612"/>
                  </a:lnTo>
                  <a:lnTo>
                    <a:pt x="696" y="588"/>
                  </a:lnTo>
                  <a:lnTo>
                    <a:pt x="690" y="576"/>
                  </a:lnTo>
                  <a:lnTo>
                    <a:pt x="696" y="552"/>
                  </a:lnTo>
                  <a:lnTo>
                    <a:pt x="684" y="522"/>
                  </a:lnTo>
                  <a:lnTo>
                    <a:pt x="672" y="504"/>
                  </a:lnTo>
                  <a:lnTo>
                    <a:pt x="654" y="504"/>
                  </a:lnTo>
                  <a:lnTo>
                    <a:pt x="642" y="504"/>
                  </a:lnTo>
                  <a:lnTo>
                    <a:pt x="624" y="510"/>
                  </a:lnTo>
                  <a:lnTo>
                    <a:pt x="612" y="516"/>
                  </a:lnTo>
                  <a:lnTo>
                    <a:pt x="594" y="516"/>
                  </a:lnTo>
                  <a:lnTo>
                    <a:pt x="588" y="516"/>
                  </a:lnTo>
                  <a:lnTo>
                    <a:pt x="588" y="522"/>
                  </a:lnTo>
                  <a:lnTo>
                    <a:pt x="582" y="516"/>
                  </a:lnTo>
                  <a:lnTo>
                    <a:pt x="588" y="510"/>
                  </a:lnTo>
                  <a:lnTo>
                    <a:pt x="582" y="510"/>
                  </a:lnTo>
                  <a:lnTo>
                    <a:pt x="582" y="504"/>
                  </a:lnTo>
                  <a:lnTo>
                    <a:pt x="576" y="498"/>
                  </a:lnTo>
                  <a:lnTo>
                    <a:pt x="570" y="498"/>
                  </a:lnTo>
                  <a:lnTo>
                    <a:pt x="570" y="492"/>
                  </a:lnTo>
                  <a:lnTo>
                    <a:pt x="564" y="492"/>
                  </a:lnTo>
                  <a:lnTo>
                    <a:pt x="570" y="486"/>
                  </a:lnTo>
                  <a:lnTo>
                    <a:pt x="564" y="486"/>
                  </a:lnTo>
                  <a:lnTo>
                    <a:pt x="564" y="480"/>
                  </a:lnTo>
                  <a:lnTo>
                    <a:pt x="564" y="474"/>
                  </a:lnTo>
                  <a:lnTo>
                    <a:pt x="558" y="468"/>
                  </a:lnTo>
                  <a:lnTo>
                    <a:pt x="564" y="468"/>
                  </a:lnTo>
                  <a:lnTo>
                    <a:pt x="564" y="462"/>
                  </a:lnTo>
                  <a:lnTo>
                    <a:pt x="570" y="462"/>
                  </a:lnTo>
                  <a:lnTo>
                    <a:pt x="570" y="456"/>
                  </a:lnTo>
                  <a:lnTo>
                    <a:pt x="570" y="450"/>
                  </a:lnTo>
                  <a:lnTo>
                    <a:pt x="576" y="450"/>
                  </a:lnTo>
                  <a:lnTo>
                    <a:pt x="576" y="444"/>
                  </a:lnTo>
                  <a:lnTo>
                    <a:pt x="582" y="438"/>
                  </a:lnTo>
                  <a:lnTo>
                    <a:pt x="588" y="438"/>
                  </a:lnTo>
                  <a:lnTo>
                    <a:pt x="588" y="444"/>
                  </a:lnTo>
                  <a:lnTo>
                    <a:pt x="594" y="438"/>
                  </a:lnTo>
                  <a:lnTo>
                    <a:pt x="594" y="432"/>
                  </a:lnTo>
                  <a:lnTo>
                    <a:pt x="600" y="432"/>
                  </a:lnTo>
                  <a:lnTo>
                    <a:pt x="600" y="426"/>
                  </a:lnTo>
                  <a:lnTo>
                    <a:pt x="600" y="420"/>
                  </a:lnTo>
                  <a:lnTo>
                    <a:pt x="606" y="420"/>
                  </a:lnTo>
                  <a:lnTo>
                    <a:pt x="600" y="420"/>
                  </a:lnTo>
                  <a:lnTo>
                    <a:pt x="600" y="414"/>
                  </a:lnTo>
                  <a:lnTo>
                    <a:pt x="606" y="408"/>
                  </a:lnTo>
                  <a:lnTo>
                    <a:pt x="612" y="408"/>
                  </a:lnTo>
                  <a:lnTo>
                    <a:pt x="612" y="414"/>
                  </a:lnTo>
                  <a:lnTo>
                    <a:pt x="618" y="414"/>
                  </a:lnTo>
                  <a:lnTo>
                    <a:pt x="624" y="414"/>
                  </a:lnTo>
                  <a:lnTo>
                    <a:pt x="630" y="414"/>
                  </a:lnTo>
                  <a:lnTo>
                    <a:pt x="636" y="414"/>
                  </a:lnTo>
                  <a:lnTo>
                    <a:pt x="642" y="408"/>
                  </a:lnTo>
                  <a:lnTo>
                    <a:pt x="648" y="408"/>
                  </a:lnTo>
                  <a:lnTo>
                    <a:pt x="660" y="408"/>
                  </a:lnTo>
                  <a:lnTo>
                    <a:pt x="666" y="402"/>
                  </a:lnTo>
                  <a:lnTo>
                    <a:pt x="672" y="402"/>
                  </a:lnTo>
                  <a:lnTo>
                    <a:pt x="684" y="396"/>
                  </a:lnTo>
                  <a:lnTo>
                    <a:pt x="690" y="396"/>
                  </a:lnTo>
                  <a:lnTo>
                    <a:pt x="696" y="396"/>
                  </a:lnTo>
                  <a:lnTo>
                    <a:pt x="702" y="396"/>
                  </a:lnTo>
                  <a:lnTo>
                    <a:pt x="708" y="396"/>
                  </a:lnTo>
                  <a:lnTo>
                    <a:pt x="714" y="390"/>
                  </a:lnTo>
                  <a:lnTo>
                    <a:pt x="714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32" y="384"/>
                  </a:lnTo>
                  <a:lnTo>
                    <a:pt x="738" y="378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56" y="372"/>
                  </a:lnTo>
                  <a:lnTo>
                    <a:pt x="762" y="366"/>
                  </a:lnTo>
                  <a:lnTo>
                    <a:pt x="768" y="366"/>
                  </a:lnTo>
                  <a:lnTo>
                    <a:pt x="774" y="366"/>
                  </a:lnTo>
                  <a:lnTo>
                    <a:pt x="774" y="360"/>
                  </a:lnTo>
                  <a:lnTo>
                    <a:pt x="780" y="366"/>
                  </a:lnTo>
                  <a:lnTo>
                    <a:pt x="786" y="366"/>
                  </a:lnTo>
                  <a:lnTo>
                    <a:pt x="786" y="360"/>
                  </a:lnTo>
                  <a:lnTo>
                    <a:pt x="792" y="354"/>
                  </a:lnTo>
                  <a:lnTo>
                    <a:pt x="786" y="354"/>
                  </a:lnTo>
                  <a:lnTo>
                    <a:pt x="792" y="348"/>
                  </a:lnTo>
                  <a:lnTo>
                    <a:pt x="798" y="348"/>
                  </a:lnTo>
                  <a:lnTo>
                    <a:pt x="804" y="348"/>
                  </a:lnTo>
                  <a:lnTo>
                    <a:pt x="810" y="342"/>
                  </a:lnTo>
                  <a:lnTo>
                    <a:pt x="816" y="342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28" y="336"/>
                  </a:lnTo>
                  <a:lnTo>
                    <a:pt x="834" y="336"/>
                  </a:lnTo>
                  <a:lnTo>
                    <a:pt x="840" y="336"/>
                  </a:lnTo>
                  <a:lnTo>
                    <a:pt x="846" y="330"/>
                  </a:lnTo>
                  <a:lnTo>
                    <a:pt x="852" y="330"/>
                  </a:lnTo>
                  <a:lnTo>
                    <a:pt x="858" y="330"/>
                  </a:lnTo>
                  <a:lnTo>
                    <a:pt x="864" y="324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0" y="312"/>
                  </a:lnTo>
                  <a:lnTo>
                    <a:pt x="876" y="312"/>
                  </a:lnTo>
                  <a:lnTo>
                    <a:pt x="882" y="312"/>
                  </a:lnTo>
                  <a:lnTo>
                    <a:pt x="882" y="318"/>
                  </a:lnTo>
                  <a:lnTo>
                    <a:pt x="888" y="312"/>
                  </a:lnTo>
                  <a:lnTo>
                    <a:pt x="894" y="306"/>
                  </a:lnTo>
                  <a:lnTo>
                    <a:pt x="900" y="306"/>
                  </a:lnTo>
                  <a:lnTo>
                    <a:pt x="906" y="306"/>
                  </a:lnTo>
                  <a:lnTo>
                    <a:pt x="912" y="300"/>
                  </a:lnTo>
                  <a:lnTo>
                    <a:pt x="906" y="294"/>
                  </a:lnTo>
                  <a:lnTo>
                    <a:pt x="912" y="276"/>
                  </a:lnTo>
                  <a:lnTo>
                    <a:pt x="912" y="252"/>
                  </a:lnTo>
                  <a:lnTo>
                    <a:pt x="906" y="234"/>
                  </a:lnTo>
                  <a:lnTo>
                    <a:pt x="912" y="228"/>
                  </a:lnTo>
                  <a:lnTo>
                    <a:pt x="912" y="216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24" y="192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36" y="186"/>
                  </a:lnTo>
                  <a:lnTo>
                    <a:pt x="930" y="180"/>
                  </a:lnTo>
                  <a:lnTo>
                    <a:pt x="930" y="174"/>
                  </a:lnTo>
                  <a:lnTo>
                    <a:pt x="936" y="156"/>
                  </a:lnTo>
                  <a:lnTo>
                    <a:pt x="930" y="156"/>
                  </a:lnTo>
                  <a:lnTo>
                    <a:pt x="924" y="150"/>
                  </a:lnTo>
                  <a:lnTo>
                    <a:pt x="942" y="78"/>
                  </a:lnTo>
                  <a:lnTo>
                    <a:pt x="948" y="78"/>
                  </a:lnTo>
                  <a:lnTo>
                    <a:pt x="954" y="66"/>
                  </a:lnTo>
                  <a:lnTo>
                    <a:pt x="954" y="72"/>
                  </a:lnTo>
                  <a:lnTo>
                    <a:pt x="954" y="66"/>
                  </a:lnTo>
                  <a:lnTo>
                    <a:pt x="960" y="66"/>
                  </a:lnTo>
                  <a:lnTo>
                    <a:pt x="966" y="66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54"/>
                  </a:lnTo>
                  <a:lnTo>
                    <a:pt x="990" y="54"/>
                  </a:lnTo>
                  <a:lnTo>
                    <a:pt x="996" y="48"/>
                  </a:lnTo>
                  <a:lnTo>
                    <a:pt x="1002" y="48"/>
                  </a:lnTo>
                  <a:lnTo>
                    <a:pt x="1032" y="48"/>
                  </a:lnTo>
                  <a:lnTo>
                    <a:pt x="1062" y="48"/>
                  </a:lnTo>
                  <a:lnTo>
                    <a:pt x="1068" y="78"/>
                  </a:lnTo>
                  <a:lnTo>
                    <a:pt x="1086" y="78"/>
                  </a:lnTo>
                  <a:lnTo>
                    <a:pt x="1092" y="66"/>
                  </a:lnTo>
                  <a:lnTo>
                    <a:pt x="1092" y="60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8" y="48"/>
                  </a:lnTo>
                  <a:lnTo>
                    <a:pt x="1104" y="48"/>
                  </a:lnTo>
                  <a:lnTo>
                    <a:pt x="1110" y="48"/>
                  </a:lnTo>
                  <a:lnTo>
                    <a:pt x="1110" y="42"/>
                  </a:lnTo>
                  <a:lnTo>
                    <a:pt x="1110" y="36"/>
                  </a:lnTo>
                  <a:lnTo>
                    <a:pt x="1116" y="36"/>
                  </a:lnTo>
                  <a:lnTo>
                    <a:pt x="1116" y="30"/>
                  </a:lnTo>
                  <a:lnTo>
                    <a:pt x="1122" y="30"/>
                  </a:lnTo>
                  <a:lnTo>
                    <a:pt x="1128" y="30"/>
                  </a:lnTo>
                  <a:lnTo>
                    <a:pt x="1134" y="30"/>
                  </a:lnTo>
                  <a:lnTo>
                    <a:pt x="1140" y="24"/>
                  </a:lnTo>
                  <a:lnTo>
                    <a:pt x="1152" y="18"/>
                  </a:lnTo>
                  <a:lnTo>
                    <a:pt x="1158" y="18"/>
                  </a:lnTo>
                  <a:lnTo>
                    <a:pt x="1152" y="12"/>
                  </a:lnTo>
                  <a:lnTo>
                    <a:pt x="1152" y="6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8"/>
                  </a:lnTo>
                  <a:lnTo>
                    <a:pt x="1170" y="12"/>
                  </a:lnTo>
                  <a:lnTo>
                    <a:pt x="1170" y="6"/>
                  </a:lnTo>
                  <a:lnTo>
                    <a:pt x="1176" y="6"/>
                  </a:lnTo>
                  <a:lnTo>
                    <a:pt x="1176" y="0"/>
                  </a:lnTo>
                  <a:lnTo>
                    <a:pt x="1182" y="6"/>
                  </a:lnTo>
                  <a:lnTo>
                    <a:pt x="1188" y="6"/>
                  </a:lnTo>
                  <a:lnTo>
                    <a:pt x="1188" y="0"/>
                  </a:lnTo>
                  <a:lnTo>
                    <a:pt x="1194" y="6"/>
                  </a:lnTo>
                  <a:lnTo>
                    <a:pt x="1200" y="12"/>
                  </a:lnTo>
                  <a:lnTo>
                    <a:pt x="1206" y="18"/>
                  </a:lnTo>
                  <a:lnTo>
                    <a:pt x="1212" y="18"/>
                  </a:lnTo>
                  <a:lnTo>
                    <a:pt x="1218" y="24"/>
                  </a:lnTo>
                  <a:lnTo>
                    <a:pt x="1236" y="36"/>
                  </a:lnTo>
                  <a:lnTo>
                    <a:pt x="1242" y="36"/>
                  </a:lnTo>
                  <a:lnTo>
                    <a:pt x="1248" y="42"/>
                  </a:lnTo>
                  <a:lnTo>
                    <a:pt x="1248" y="48"/>
                  </a:lnTo>
                  <a:lnTo>
                    <a:pt x="1260" y="48"/>
                  </a:lnTo>
                  <a:lnTo>
                    <a:pt x="1260" y="108"/>
                  </a:lnTo>
                  <a:lnTo>
                    <a:pt x="1266" y="168"/>
                  </a:lnTo>
                  <a:lnTo>
                    <a:pt x="1278" y="234"/>
                  </a:lnTo>
                  <a:lnTo>
                    <a:pt x="1284" y="240"/>
                  </a:lnTo>
                  <a:lnTo>
                    <a:pt x="1290" y="264"/>
                  </a:lnTo>
                  <a:lnTo>
                    <a:pt x="1296" y="288"/>
                  </a:lnTo>
                  <a:lnTo>
                    <a:pt x="1296" y="300"/>
                  </a:lnTo>
                  <a:lnTo>
                    <a:pt x="1296" y="312"/>
                  </a:lnTo>
                  <a:lnTo>
                    <a:pt x="1296" y="324"/>
                  </a:lnTo>
                  <a:lnTo>
                    <a:pt x="1296" y="354"/>
                  </a:lnTo>
                  <a:lnTo>
                    <a:pt x="1302" y="366"/>
                  </a:lnTo>
                  <a:lnTo>
                    <a:pt x="1308" y="372"/>
                  </a:lnTo>
                  <a:lnTo>
                    <a:pt x="1308" y="384"/>
                  </a:lnTo>
                  <a:lnTo>
                    <a:pt x="1314" y="390"/>
                  </a:lnTo>
                  <a:lnTo>
                    <a:pt x="1308" y="408"/>
                  </a:lnTo>
                  <a:lnTo>
                    <a:pt x="1314" y="408"/>
                  </a:lnTo>
                  <a:lnTo>
                    <a:pt x="1314" y="414"/>
                  </a:lnTo>
                  <a:lnTo>
                    <a:pt x="1308" y="420"/>
                  </a:lnTo>
                  <a:lnTo>
                    <a:pt x="1308" y="432"/>
                  </a:lnTo>
                  <a:lnTo>
                    <a:pt x="1320" y="432"/>
                  </a:lnTo>
                  <a:lnTo>
                    <a:pt x="1320" y="444"/>
                  </a:lnTo>
                  <a:lnTo>
                    <a:pt x="1332" y="444"/>
                  </a:lnTo>
                  <a:lnTo>
                    <a:pt x="1338" y="450"/>
                  </a:lnTo>
                  <a:lnTo>
                    <a:pt x="1344" y="456"/>
                  </a:lnTo>
                  <a:lnTo>
                    <a:pt x="1344" y="462"/>
                  </a:lnTo>
                  <a:lnTo>
                    <a:pt x="1344" y="474"/>
                  </a:lnTo>
                  <a:lnTo>
                    <a:pt x="1350" y="474"/>
                  </a:lnTo>
                  <a:lnTo>
                    <a:pt x="1368" y="504"/>
                  </a:lnTo>
                  <a:lnTo>
                    <a:pt x="1374" y="534"/>
                  </a:lnTo>
                  <a:lnTo>
                    <a:pt x="1380" y="558"/>
                  </a:lnTo>
                  <a:lnTo>
                    <a:pt x="1386" y="576"/>
                  </a:lnTo>
                  <a:lnTo>
                    <a:pt x="1386" y="600"/>
                  </a:lnTo>
                  <a:lnTo>
                    <a:pt x="1386" y="624"/>
                  </a:lnTo>
                  <a:lnTo>
                    <a:pt x="1386" y="648"/>
                  </a:lnTo>
                  <a:lnTo>
                    <a:pt x="1386" y="684"/>
                  </a:lnTo>
                  <a:lnTo>
                    <a:pt x="1380" y="684"/>
                  </a:lnTo>
                  <a:lnTo>
                    <a:pt x="1374" y="696"/>
                  </a:lnTo>
                  <a:lnTo>
                    <a:pt x="1368" y="702"/>
                  </a:lnTo>
                  <a:lnTo>
                    <a:pt x="1362" y="708"/>
                  </a:lnTo>
                  <a:lnTo>
                    <a:pt x="1356" y="714"/>
                  </a:lnTo>
                  <a:lnTo>
                    <a:pt x="1350" y="720"/>
                  </a:lnTo>
                  <a:lnTo>
                    <a:pt x="1338" y="720"/>
                  </a:lnTo>
                  <a:lnTo>
                    <a:pt x="1338" y="738"/>
                  </a:lnTo>
                  <a:lnTo>
                    <a:pt x="1362" y="750"/>
                  </a:lnTo>
                  <a:lnTo>
                    <a:pt x="1362" y="756"/>
                  </a:lnTo>
                  <a:lnTo>
                    <a:pt x="1374" y="756"/>
                  </a:lnTo>
                  <a:lnTo>
                    <a:pt x="1410" y="774"/>
                  </a:lnTo>
                  <a:lnTo>
                    <a:pt x="1446" y="774"/>
                  </a:lnTo>
                  <a:lnTo>
                    <a:pt x="1482" y="768"/>
                  </a:lnTo>
                  <a:lnTo>
                    <a:pt x="1500" y="774"/>
                  </a:lnTo>
                  <a:lnTo>
                    <a:pt x="1512" y="78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6" name="Freeform 11">
              <a:extLst>
                <a:ext uri="{FF2B5EF4-FFF2-40B4-BE49-F238E27FC236}">
                  <a16:creationId xmlns:a16="http://schemas.microsoft.com/office/drawing/2014/main" id="{1FF8E66F-B850-456A-B132-C45FEEDE95C6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2475" y="2345643"/>
              <a:ext cx="445003" cy="603855"/>
            </a:xfrm>
            <a:custGeom>
              <a:avLst/>
              <a:gdLst>
                <a:gd name="T0" fmla="*/ 47 w 840"/>
                <a:gd name="T1" fmla="*/ 98 h 1134"/>
                <a:gd name="T2" fmla="*/ 41 w 840"/>
                <a:gd name="T3" fmla="*/ 98 h 1134"/>
                <a:gd name="T4" fmla="*/ 37 w 840"/>
                <a:gd name="T5" fmla="*/ 98 h 1134"/>
                <a:gd name="T6" fmla="*/ 29 w 840"/>
                <a:gd name="T7" fmla="*/ 97 h 1134"/>
                <a:gd name="T8" fmla="*/ 27 w 840"/>
                <a:gd name="T9" fmla="*/ 94 h 1134"/>
                <a:gd name="T10" fmla="*/ 26 w 840"/>
                <a:gd name="T11" fmla="*/ 93 h 1134"/>
                <a:gd name="T12" fmla="*/ 26 w 840"/>
                <a:gd name="T13" fmla="*/ 83 h 1134"/>
                <a:gd name="T14" fmla="*/ 26 w 840"/>
                <a:gd name="T15" fmla="*/ 81 h 1134"/>
                <a:gd name="T16" fmla="*/ 23 w 840"/>
                <a:gd name="T17" fmla="*/ 77 h 1134"/>
                <a:gd name="T18" fmla="*/ 19 w 840"/>
                <a:gd name="T19" fmla="*/ 75 h 1134"/>
                <a:gd name="T20" fmla="*/ 16 w 840"/>
                <a:gd name="T21" fmla="*/ 72 h 1134"/>
                <a:gd name="T22" fmla="*/ 13 w 840"/>
                <a:gd name="T23" fmla="*/ 70 h 1134"/>
                <a:gd name="T24" fmla="*/ 17 w 840"/>
                <a:gd name="T25" fmla="*/ 67 h 1134"/>
                <a:gd name="T26" fmla="*/ 19 w 840"/>
                <a:gd name="T27" fmla="*/ 63 h 1134"/>
                <a:gd name="T28" fmla="*/ 20 w 840"/>
                <a:gd name="T29" fmla="*/ 59 h 1134"/>
                <a:gd name="T30" fmla="*/ 19 w 840"/>
                <a:gd name="T31" fmla="*/ 55 h 1134"/>
                <a:gd name="T32" fmla="*/ 17 w 840"/>
                <a:gd name="T33" fmla="*/ 47 h 1134"/>
                <a:gd name="T34" fmla="*/ 8 w 840"/>
                <a:gd name="T35" fmla="*/ 45 h 1134"/>
                <a:gd name="T36" fmla="*/ 4 w 840"/>
                <a:gd name="T37" fmla="*/ 39 h 1134"/>
                <a:gd name="T38" fmla="*/ 2 w 840"/>
                <a:gd name="T39" fmla="*/ 35 h 1134"/>
                <a:gd name="T40" fmla="*/ 0 w 840"/>
                <a:gd name="T41" fmla="*/ 31 h 1134"/>
                <a:gd name="T42" fmla="*/ 2 w 840"/>
                <a:gd name="T43" fmla="*/ 27 h 1134"/>
                <a:gd name="T44" fmla="*/ 5 w 840"/>
                <a:gd name="T45" fmla="*/ 24 h 1134"/>
                <a:gd name="T46" fmla="*/ 10 w 840"/>
                <a:gd name="T47" fmla="*/ 26 h 1134"/>
                <a:gd name="T48" fmla="*/ 7 w 840"/>
                <a:gd name="T49" fmla="*/ 20 h 1134"/>
                <a:gd name="T50" fmla="*/ 12 w 840"/>
                <a:gd name="T51" fmla="*/ 12 h 1134"/>
                <a:gd name="T52" fmla="*/ 19 w 840"/>
                <a:gd name="T53" fmla="*/ 10 h 1134"/>
                <a:gd name="T54" fmla="*/ 20 w 840"/>
                <a:gd name="T55" fmla="*/ 13 h 1134"/>
                <a:gd name="T56" fmla="*/ 22 w 840"/>
                <a:gd name="T57" fmla="*/ 11 h 1134"/>
                <a:gd name="T58" fmla="*/ 25 w 840"/>
                <a:gd name="T59" fmla="*/ 7 h 1134"/>
                <a:gd name="T60" fmla="*/ 29 w 840"/>
                <a:gd name="T61" fmla="*/ 2 h 1134"/>
                <a:gd name="T62" fmla="*/ 33 w 840"/>
                <a:gd name="T63" fmla="*/ 1 h 1134"/>
                <a:gd name="T64" fmla="*/ 37 w 840"/>
                <a:gd name="T65" fmla="*/ 2 h 1134"/>
                <a:gd name="T66" fmla="*/ 39 w 840"/>
                <a:gd name="T67" fmla="*/ 4 h 1134"/>
                <a:gd name="T68" fmla="*/ 43 w 840"/>
                <a:gd name="T69" fmla="*/ 5 h 1134"/>
                <a:gd name="T70" fmla="*/ 46 w 840"/>
                <a:gd name="T71" fmla="*/ 11 h 1134"/>
                <a:gd name="T72" fmla="*/ 49 w 840"/>
                <a:gd name="T73" fmla="*/ 12 h 1134"/>
                <a:gd name="T74" fmla="*/ 52 w 840"/>
                <a:gd name="T75" fmla="*/ 15 h 1134"/>
                <a:gd name="T76" fmla="*/ 54 w 840"/>
                <a:gd name="T77" fmla="*/ 18 h 1134"/>
                <a:gd name="T78" fmla="*/ 55 w 840"/>
                <a:gd name="T79" fmla="*/ 22 h 1134"/>
                <a:gd name="T80" fmla="*/ 56 w 840"/>
                <a:gd name="T81" fmla="*/ 26 h 1134"/>
                <a:gd name="T82" fmla="*/ 55 w 840"/>
                <a:gd name="T83" fmla="*/ 32 h 1134"/>
                <a:gd name="T84" fmla="*/ 55 w 840"/>
                <a:gd name="T85" fmla="*/ 36 h 1134"/>
                <a:gd name="T86" fmla="*/ 54 w 840"/>
                <a:gd name="T87" fmla="*/ 39 h 1134"/>
                <a:gd name="T88" fmla="*/ 56 w 840"/>
                <a:gd name="T89" fmla="*/ 39 h 1134"/>
                <a:gd name="T90" fmla="*/ 58 w 840"/>
                <a:gd name="T91" fmla="*/ 39 h 1134"/>
                <a:gd name="T92" fmla="*/ 61 w 840"/>
                <a:gd name="T93" fmla="*/ 39 h 1134"/>
                <a:gd name="T94" fmla="*/ 60 w 840"/>
                <a:gd name="T95" fmla="*/ 49 h 1134"/>
                <a:gd name="T96" fmla="*/ 59 w 840"/>
                <a:gd name="T97" fmla="*/ 53 h 1134"/>
                <a:gd name="T98" fmla="*/ 59 w 840"/>
                <a:gd name="T99" fmla="*/ 56 h 1134"/>
                <a:gd name="T100" fmla="*/ 60 w 840"/>
                <a:gd name="T101" fmla="*/ 59 h 1134"/>
                <a:gd name="T102" fmla="*/ 64 w 840"/>
                <a:gd name="T103" fmla="*/ 61 h 1134"/>
                <a:gd name="T104" fmla="*/ 69 w 840"/>
                <a:gd name="T105" fmla="*/ 63 h 1134"/>
                <a:gd name="T106" fmla="*/ 72 w 840"/>
                <a:gd name="T107" fmla="*/ 69 h 1134"/>
                <a:gd name="T108" fmla="*/ 72 w 840"/>
                <a:gd name="T109" fmla="*/ 73 h 1134"/>
                <a:gd name="T110" fmla="*/ 72 w 840"/>
                <a:gd name="T111" fmla="*/ 83 h 1134"/>
                <a:gd name="T112" fmla="*/ 63 w 840"/>
                <a:gd name="T113" fmla="*/ 88 h 1134"/>
                <a:gd name="T114" fmla="*/ 52 w 840"/>
                <a:gd name="T115" fmla="*/ 95 h 11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40"/>
                <a:gd name="T175" fmla="*/ 0 h 1134"/>
                <a:gd name="T176" fmla="*/ 840 w 840"/>
                <a:gd name="T177" fmla="*/ 1134 h 11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40" h="1134">
                  <a:moveTo>
                    <a:pt x="564" y="1110"/>
                  </a:moveTo>
                  <a:lnTo>
                    <a:pt x="564" y="1104"/>
                  </a:lnTo>
                  <a:lnTo>
                    <a:pt x="558" y="1104"/>
                  </a:lnTo>
                  <a:lnTo>
                    <a:pt x="552" y="1110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28" y="1128"/>
                  </a:lnTo>
                  <a:lnTo>
                    <a:pt x="498" y="1128"/>
                  </a:lnTo>
                  <a:lnTo>
                    <a:pt x="492" y="1128"/>
                  </a:lnTo>
                  <a:lnTo>
                    <a:pt x="486" y="1128"/>
                  </a:lnTo>
                  <a:lnTo>
                    <a:pt x="480" y="1128"/>
                  </a:lnTo>
                  <a:lnTo>
                    <a:pt x="474" y="1134"/>
                  </a:lnTo>
                  <a:lnTo>
                    <a:pt x="468" y="1134"/>
                  </a:lnTo>
                  <a:lnTo>
                    <a:pt x="462" y="1134"/>
                  </a:lnTo>
                  <a:lnTo>
                    <a:pt x="456" y="1134"/>
                  </a:lnTo>
                  <a:lnTo>
                    <a:pt x="456" y="1128"/>
                  </a:lnTo>
                  <a:lnTo>
                    <a:pt x="450" y="1122"/>
                  </a:lnTo>
                  <a:lnTo>
                    <a:pt x="426" y="1128"/>
                  </a:lnTo>
                  <a:lnTo>
                    <a:pt x="414" y="1128"/>
                  </a:lnTo>
                  <a:lnTo>
                    <a:pt x="348" y="1134"/>
                  </a:lnTo>
                  <a:lnTo>
                    <a:pt x="348" y="1128"/>
                  </a:lnTo>
                  <a:lnTo>
                    <a:pt x="342" y="1128"/>
                  </a:lnTo>
                  <a:lnTo>
                    <a:pt x="336" y="1122"/>
                  </a:lnTo>
                  <a:lnTo>
                    <a:pt x="330" y="1122"/>
                  </a:lnTo>
                  <a:lnTo>
                    <a:pt x="324" y="1116"/>
                  </a:lnTo>
                  <a:lnTo>
                    <a:pt x="324" y="1110"/>
                  </a:lnTo>
                  <a:lnTo>
                    <a:pt x="318" y="1110"/>
                  </a:lnTo>
                  <a:lnTo>
                    <a:pt x="318" y="1104"/>
                  </a:lnTo>
                  <a:lnTo>
                    <a:pt x="312" y="1092"/>
                  </a:lnTo>
                  <a:lnTo>
                    <a:pt x="306" y="1086"/>
                  </a:lnTo>
                  <a:lnTo>
                    <a:pt x="306" y="1080"/>
                  </a:lnTo>
                  <a:lnTo>
                    <a:pt x="312" y="1074"/>
                  </a:lnTo>
                  <a:lnTo>
                    <a:pt x="306" y="1068"/>
                  </a:lnTo>
                  <a:lnTo>
                    <a:pt x="300" y="1074"/>
                  </a:lnTo>
                  <a:lnTo>
                    <a:pt x="300" y="1068"/>
                  </a:lnTo>
                  <a:lnTo>
                    <a:pt x="294" y="1068"/>
                  </a:lnTo>
                  <a:lnTo>
                    <a:pt x="294" y="1056"/>
                  </a:lnTo>
                  <a:lnTo>
                    <a:pt x="294" y="1026"/>
                  </a:lnTo>
                  <a:lnTo>
                    <a:pt x="294" y="1020"/>
                  </a:lnTo>
                  <a:lnTo>
                    <a:pt x="294" y="1008"/>
                  </a:lnTo>
                  <a:lnTo>
                    <a:pt x="294" y="966"/>
                  </a:lnTo>
                  <a:lnTo>
                    <a:pt x="294" y="960"/>
                  </a:lnTo>
                  <a:lnTo>
                    <a:pt x="294" y="954"/>
                  </a:lnTo>
                  <a:lnTo>
                    <a:pt x="294" y="948"/>
                  </a:lnTo>
                  <a:lnTo>
                    <a:pt x="294" y="942"/>
                  </a:lnTo>
                  <a:lnTo>
                    <a:pt x="300" y="936"/>
                  </a:lnTo>
                  <a:lnTo>
                    <a:pt x="300" y="930"/>
                  </a:lnTo>
                  <a:lnTo>
                    <a:pt x="294" y="930"/>
                  </a:lnTo>
                  <a:lnTo>
                    <a:pt x="288" y="930"/>
                  </a:lnTo>
                  <a:lnTo>
                    <a:pt x="288" y="924"/>
                  </a:lnTo>
                  <a:lnTo>
                    <a:pt x="282" y="918"/>
                  </a:lnTo>
                  <a:lnTo>
                    <a:pt x="282" y="906"/>
                  </a:lnTo>
                  <a:lnTo>
                    <a:pt x="282" y="900"/>
                  </a:lnTo>
                  <a:lnTo>
                    <a:pt x="264" y="894"/>
                  </a:lnTo>
                  <a:lnTo>
                    <a:pt x="252" y="882"/>
                  </a:lnTo>
                  <a:lnTo>
                    <a:pt x="246" y="876"/>
                  </a:lnTo>
                  <a:lnTo>
                    <a:pt x="240" y="876"/>
                  </a:lnTo>
                  <a:lnTo>
                    <a:pt x="240" y="870"/>
                  </a:lnTo>
                  <a:lnTo>
                    <a:pt x="234" y="870"/>
                  </a:lnTo>
                  <a:lnTo>
                    <a:pt x="222" y="864"/>
                  </a:lnTo>
                  <a:lnTo>
                    <a:pt x="216" y="864"/>
                  </a:lnTo>
                  <a:lnTo>
                    <a:pt x="210" y="858"/>
                  </a:lnTo>
                  <a:lnTo>
                    <a:pt x="210" y="852"/>
                  </a:lnTo>
                  <a:lnTo>
                    <a:pt x="210" y="846"/>
                  </a:lnTo>
                  <a:lnTo>
                    <a:pt x="198" y="840"/>
                  </a:lnTo>
                  <a:lnTo>
                    <a:pt x="186" y="834"/>
                  </a:lnTo>
                  <a:lnTo>
                    <a:pt x="180" y="828"/>
                  </a:lnTo>
                  <a:lnTo>
                    <a:pt x="180" y="822"/>
                  </a:lnTo>
                  <a:lnTo>
                    <a:pt x="174" y="822"/>
                  </a:lnTo>
                  <a:lnTo>
                    <a:pt x="162" y="816"/>
                  </a:lnTo>
                  <a:lnTo>
                    <a:pt x="156" y="810"/>
                  </a:lnTo>
                  <a:lnTo>
                    <a:pt x="150" y="810"/>
                  </a:lnTo>
                  <a:lnTo>
                    <a:pt x="144" y="798"/>
                  </a:lnTo>
                  <a:lnTo>
                    <a:pt x="138" y="786"/>
                  </a:lnTo>
                  <a:lnTo>
                    <a:pt x="138" y="780"/>
                  </a:lnTo>
                  <a:lnTo>
                    <a:pt x="144" y="774"/>
                  </a:lnTo>
                  <a:lnTo>
                    <a:pt x="150" y="768"/>
                  </a:lnTo>
                  <a:lnTo>
                    <a:pt x="192" y="768"/>
                  </a:lnTo>
                  <a:lnTo>
                    <a:pt x="210" y="762"/>
                  </a:lnTo>
                  <a:lnTo>
                    <a:pt x="216" y="756"/>
                  </a:lnTo>
                  <a:lnTo>
                    <a:pt x="216" y="744"/>
                  </a:lnTo>
                  <a:lnTo>
                    <a:pt x="216" y="738"/>
                  </a:lnTo>
                  <a:lnTo>
                    <a:pt x="216" y="732"/>
                  </a:lnTo>
                  <a:lnTo>
                    <a:pt x="216" y="726"/>
                  </a:lnTo>
                  <a:lnTo>
                    <a:pt x="216" y="720"/>
                  </a:lnTo>
                  <a:lnTo>
                    <a:pt x="228" y="702"/>
                  </a:lnTo>
                  <a:lnTo>
                    <a:pt x="234" y="696"/>
                  </a:lnTo>
                  <a:lnTo>
                    <a:pt x="240" y="690"/>
                  </a:lnTo>
                  <a:lnTo>
                    <a:pt x="240" y="684"/>
                  </a:lnTo>
                  <a:lnTo>
                    <a:pt x="234" y="678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0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22" y="630"/>
                  </a:lnTo>
                  <a:lnTo>
                    <a:pt x="222" y="618"/>
                  </a:lnTo>
                  <a:lnTo>
                    <a:pt x="222" y="582"/>
                  </a:lnTo>
                  <a:lnTo>
                    <a:pt x="228" y="582"/>
                  </a:lnTo>
                  <a:lnTo>
                    <a:pt x="222" y="564"/>
                  </a:lnTo>
                  <a:lnTo>
                    <a:pt x="210" y="552"/>
                  </a:lnTo>
                  <a:lnTo>
                    <a:pt x="192" y="540"/>
                  </a:lnTo>
                  <a:lnTo>
                    <a:pt x="174" y="540"/>
                  </a:lnTo>
                  <a:lnTo>
                    <a:pt x="150" y="534"/>
                  </a:lnTo>
                  <a:lnTo>
                    <a:pt x="126" y="528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90" y="516"/>
                  </a:lnTo>
                  <a:lnTo>
                    <a:pt x="78" y="504"/>
                  </a:lnTo>
                  <a:lnTo>
                    <a:pt x="72" y="498"/>
                  </a:lnTo>
                  <a:lnTo>
                    <a:pt x="66" y="486"/>
                  </a:lnTo>
                  <a:lnTo>
                    <a:pt x="54" y="468"/>
                  </a:lnTo>
                  <a:lnTo>
                    <a:pt x="54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42" y="438"/>
                  </a:lnTo>
                  <a:lnTo>
                    <a:pt x="36" y="438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24" y="384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2" y="360"/>
                  </a:lnTo>
                  <a:lnTo>
                    <a:pt x="6" y="360"/>
                  </a:lnTo>
                  <a:lnTo>
                    <a:pt x="0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0"/>
                  </a:lnTo>
                  <a:lnTo>
                    <a:pt x="18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8" y="270"/>
                  </a:lnTo>
                  <a:lnTo>
                    <a:pt x="90" y="276"/>
                  </a:lnTo>
                  <a:lnTo>
                    <a:pt x="108" y="294"/>
                  </a:lnTo>
                  <a:lnTo>
                    <a:pt x="114" y="294"/>
                  </a:lnTo>
                  <a:lnTo>
                    <a:pt x="114" y="276"/>
                  </a:lnTo>
                  <a:lnTo>
                    <a:pt x="114" y="270"/>
                  </a:lnTo>
                  <a:lnTo>
                    <a:pt x="102" y="258"/>
                  </a:lnTo>
                  <a:lnTo>
                    <a:pt x="96" y="246"/>
                  </a:lnTo>
                  <a:lnTo>
                    <a:pt x="90" y="234"/>
                  </a:lnTo>
                  <a:lnTo>
                    <a:pt x="78" y="228"/>
                  </a:lnTo>
                  <a:lnTo>
                    <a:pt x="72" y="216"/>
                  </a:lnTo>
                  <a:lnTo>
                    <a:pt x="66" y="192"/>
                  </a:lnTo>
                  <a:lnTo>
                    <a:pt x="90" y="174"/>
                  </a:lnTo>
                  <a:lnTo>
                    <a:pt x="120" y="150"/>
                  </a:lnTo>
                  <a:lnTo>
                    <a:pt x="132" y="150"/>
                  </a:lnTo>
                  <a:lnTo>
                    <a:pt x="138" y="144"/>
                  </a:lnTo>
                  <a:lnTo>
                    <a:pt x="138" y="138"/>
                  </a:lnTo>
                  <a:lnTo>
                    <a:pt x="156" y="126"/>
                  </a:lnTo>
                  <a:lnTo>
                    <a:pt x="180" y="114"/>
                  </a:lnTo>
                  <a:lnTo>
                    <a:pt x="216" y="114"/>
                  </a:lnTo>
                  <a:lnTo>
                    <a:pt x="222" y="114"/>
                  </a:lnTo>
                  <a:lnTo>
                    <a:pt x="222" y="120"/>
                  </a:lnTo>
                  <a:lnTo>
                    <a:pt x="222" y="126"/>
                  </a:lnTo>
                  <a:lnTo>
                    <a:pt x="222" y="132"/>
                  </a:lnTo>
                  <a:lnTo>
                    <a:pt x="228" y="138"/>
                  </a:lnTo>
                  <a:lnTo>
                    <a:pt x="228" y="144"/>
                  </a:lnTo>
                  <a:lnTo>
                    <a:pt x="228" y="150"/>
                  </a:lnTo>
                  <a:lnTo>
                    <a:pt x="234" y="150"/>
                  </a:lnTo>
                  <a:lnTo>
                    <a:pt x="234" y="144"/>
                  </a:lnTo>
                  <a:lnTo>
                    <a:pt x="240" y="144"/>
                  </a:lnTo>
                  <a:lnTo>
                    <a:pt x="246" y="144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58" y="126"/>
                  </a:lnTo>
                  <a:lnTo>
                    <a:pt x="258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76" y="96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6" y="72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36"/>
                  </a:lnTo>
                  <a:lnTo>
                    <a:pt x="330" y="24"/>
                  </a:lnTo>
                  <a:lnTo>
                    <a:pt x="330" y="18"/>
                  </a:lnTo>
                  <a:lnTo>
                    <a:pt x="330" y="12"/>
                  </a:lnTo>
                  <a:lnTo>
                    <a:pt x="336" y="6"/>
                  </a:lnTo>
                  <a:lnTo>
                    <a:pt x="366" y="0"/>
                  </a:lnTo>
                  <a:lnTo>
                    <a:pt x="372" y="6"/>
                  </a:lnTo>
                  <a:lnTo>
                    <a:pt x="384" y="12"/>
                  </a:lnTo>
                  <a:lnTo>
                    <a:pt x="402" y="12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18"/>
                  </a:lnTo>
                  <a:lnTo>
                    <a:pt x="420" y="18"/>
                  </a:lnTo>
                  <a:lnTo>
                    <a:pt x="426" y="24"/>
                  </a:lnTo>
                  <a:lnTo>
                    <a:pt x="432" y="30"/>
                  </a:lnTo>
                  <a:lnTo>
                    <a:pt x="438" y="36"/>
                  </a:lnTo>
                  <a:lnTo>
                    <a:pt x="444" y="42"/>
                  </a:lnTo>
                  <a:lnTo>
                    <a:pt x="450" y="42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16" y="78"/>
                  </a:lnTo>
                  <a:lnTo>
                    <a:pt x="522" y="102"/>
                  </a:lnTo>
                  <a:lnTo>
                    <a:pt x="522" y="108"/>
                  </a:lnTo>
                  <a:lnTo>
                    <a:pt x="528" y="126"/>
                  </a:lnTo>
                  <a:lnTo>
                    <a:pt x="534" y="126"/>
                  </a:lnTo>
                  <a:lnTo>
                    <a:pt x="540" y="120"/>
                  </a:lnTo>
                  <a:lnTo>
                    <a:pt x="546" y="126"/>
                  </a:lnTo>
                  <a:lnTo>
                    <a:pt x="552" y="126"/>
                  </a:lnTo>
                  <a:lnTo>
                    <a:pt x="558" y="132"/>
                  </a:lnTo>
                  <a:lnTo>
                    <a:pt x="564" y="138"/>
                  </a:lnTo>
                  <a:lnTo>
                    <a:pt x="570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594" y="168"/>
                  </a:lnTo>
                  <a:lnTo>
                    <a:pt x="600" y="174"/>
                  </a:lnTo>
                  <a:lnTo>
                    <a:pt x="606" y="180"/>
                  </a:lnTo>
                  <a:lnTo>
                    <a:pt x="606" y="186"/>
                  </a:lnTo>
                  <a:lnTo>
                    <a:pt x="612" y="192"/>
                  </a:lnTo>
                  <a:lnTo>
                    <a:pt x="612" y="198"/>
                  </a:lnTo>
                  <a:lnTo>
                    <a:pt x="624" y="204"/>
                  </a:lnTo>
                  <a:lnTo>
                    <a:pt x="624" y="210"/>
                  </a:lnTo>
                  <a:lnTo>
                    <a:pt x="630" y="216"/>
                  </a:lnTo>
                  <a:lnTo>
                    <a:pt x="636" y="222"/>
                  </a:lnTo>
                  <a:lnTo>
                    <a:pt x="636" y="228"/>
                  </a:lnTo>
                  <a:lnTo>
                    <a:pt x="636" y="234"/>
                  </a:lnTo>
                  <a:lnTo>
                    <a:pt x="636" y="252"/>
                  </a:lnTo>
                  <a:lnTo>
                    <a:pt x="636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42" y="276"/>
                  </a:lnTo>
                  <a:lnTo>
                    <a:pt x="642" y="282"/>
                  </a:lnTo>
                  <a:lnTo>
                    <a:pt x="642" y="288"/>
                  </a:lnTo>
                  <a:lnTo>
                    <a:pt x="642" y="300"/>
                  </a:lnTo>
                  <a:lnTo>
                    <a:pt x="642" y="306"/>
                  </a:lnTo>
                  <a:lnTo>
                    <a:pt x="636" y="312"/>
                  </a:lnTo>
                  <a:lnTo>
                    <a:pt x="636" y="324"/>
                  </a:lnTo>
                  <a:lnTo>
                    <a:pt x="636" y="342"/>
                  </a:lnTo>
                  <a:lnTo>
                    <a:pt x="630" y="354"/>
                  </a:lnTo>
                  <a:lnTo>
                    <a:pt x="630" y="366"/>
                  </a:lnTo>
                  <a:lnTo>
                    <a:pt x="624" y="378"/>
                  </a:lnTo>
                  <a:lnTo>
                    <a:pt x="624" y="384"/>
                  </a:lnTo>
                  <a:lnTo>
                    <a:pt x="636" y="396"/>
                  </a:lnTo>
                  <a:lnTo>
                    <a:pt x="636" y="402"/>
                  </a:lnTo>
                  <a:lnTo>
                    <a:pt x="636" y="408"/>
                  </a:lnTo>
                  <a:lnTo>
                    <a:pt x="630" y="414"/>
                  </a:lnTo>
                  <a:lnTo>
                    <a:pt x="630" y="420"/>
                  </a:lnTo>
                  <a:lnTo>
                    <a:pt x="630" y="426"/>
                  </a:lnTo>
                  <a:lnTo>
                    <a:pt x="630" y="432"/>
                  </a:lnTo>
                  <a:lnTo>
                    <a:pt x="624" y="438"/>
                  </a:lnTo>
                  <a:lnTo>
                    <a:pt x="624" y="444"/>
                  </a:lnTo>
                  <a:lnTo>
                    <a:pt x="624" y="450"/>
                  </a:lnTo>
                  <a:lnTo>
                    <a:pt x="630" y="450"/>
                  </a:lnTo>
                  <a:lnTo>
                    <a:pt x="630" y="456"/>
                  </a:lnTo>
                  <a:lnTo>
                    <a:pt x="630" y="462"/>
                  </a:lnTo>
                  <a:lnTo>
                    <a:pt x="636" y="468"/>
                  </a:lnTo>
                  <a:lnTo>
                    <a:pt x="642" y="456"/>
                  </a:lnTo>
                  <a:lnTo>
                    <a:pt x="642" y="450"/>
                  </a:lnTo>
                  <a:lnTo>
                    <a:pt x="648" y="450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60" y="444"/>
                  </a:lnTo>
                  <a:lnTo>
                    <a:pt x="666" y="450"/>
                  </a:lnTo>
                  <a:lnTo>
                    <a:pt x="672" y="444"/>
                  </a:lnTo>
                  <a:lnTo>
                    <a:pt x="678" y="444"/>
                  </a:lnTo>
                  <a:lnTo>
                    <a:pt x="684" y="438"/>
                  </a:lnTo>
                  <a:lnTo>
                    <a:pt x="690" y="438"/>
                  </a:lnTo>
                  <a:lnTo>
                    <a:pt x="696" y="438"/>
                  </a:lnTo>
                  <a:lnTo>
                    <a:pt x="702" y="444"/>
                  </a:lnTo>
                  <a:lnTo>
                    <a:pt x="702" y="450"/>
                  </a:lnTo>
                  <a:lnTo>
                    <a:pt x="708" y="450"/>
                  </a:lnTo>
                  <a:lnTo>
                    <a:pt x="708" y="456"/>
                  </a:lnTo>
                  <a:lnTo>
                    <a:pt x="708" y="462"/>
                  </a:lnTo>
                  <a:lnTo>
                    <a:pt x="708" y="468"/>
                  </a:lnTo>
                  <a:lnTo>
                    <a:pt x="708" y="504"/>
                  </a:lnTo>
                  <a:lnTo>
                    <a:pt x="696" y="564"/>
                  </a:lnTo>
                  <a:lnTo>
                    <a:pt x="696" y="582"/>
                  </a:lnTo>
                  <a:lnTo>
                    <a:pt x="696" y="600"/>
                  </a:lnTo>
                  <a:lnTo>
                    <a:pt x="690" y="606"/>
                  </a:lnTo>
                  <a:lnTo>
                    <a:pt x="684" y="606"/>
                  </a:lnTo>
                  <a:lnTo>
                    <a:pt x="690" y="612"/>
                  </a:lnTo>
                  <a:lnTo>
                    <a:pt x="684" y="612"/>
                  </a:lnTo>
                  <a:lnTo>
                    <a:pt x="678" y="618"/>
                  </a:lnTo>
                  <a:lnTo>
                    <a:pt x="672" y="624"/>
                  </a:lnTo>
                  <a:lnTo>
                    <a:pt x="666" y="630"/>
                  </a:lnTo>
                  <a:lnTo>
                    <a:pt x="660" y="636"/>
                  </a:lnTo>
                  <a:lnTo>
                    <a:pt x="672" y="636"/>
                  </a:lnTo>
                  <a:lnTo>
                    <a:pt x="678" y="642"/>
                  </a:lnTo>
                  <a:lnTo>
                    <a:pt x="678" y="648"/>
                  </a:lnTo>
                  <a:lnTo>
                    <a:pt x="684" y="654"/>
                  </a:lnTo>
                  <a:lnTo>
                    <a:pt x="690" y="666"/>
                  </a:lnTo>
                  <a:lnTo>
                    <a:pt x="690" y="672"/>
                  </a:lnTo>
                  <a:lnTo>
                    <a:pt x="696" y="672"/>
                  </a:lnTo>
                  <a:lnTo>
                    <a:pt x="696" y="684"/>
                  </a:lnTo>
                  <a:lnTo>
                    <a:pt x="708" y="690"/>
                  </a:lnTo>
                  <a:lnTo>
                    <a:pt x="720" y="696"/>
                  </a:lnTo>
                  <a:lnTo>
                    <a:pt x="726" y="696"/>
                  </a:lnTo>
                  <a:lnTo>
                    <a:pt x="732" y="696"/>
                  </a:lnTo>
                  <a:lnTo>
                    <a:pt x="738" y="696"/>
                  </a:lnTo>
                  <a:lnTo>
                    <a:pt x="738" y="702"/>
                  </a:lnTo>
                  <a:lnTo>
                    <a:pt x="738" y="708"/>
                  </a:lnTo>
                  <a:lnTo>
                    <a:pt x="738" y="714"/>
                  </a:lnTo>
                  <a:lnTo>
                    <a:pt x="744" y="714"/>
                  </a:lnTo>
                  <a:lnTo>
                    <a:pt x="756" y="720"/>
                  </a:lnTo>
                  <a:lnTo>
                    <a:pt x="780" y="726"/>
                  </a:lnTo>
                  <a:lnTo>
                    <a:pt x="792" y="732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22" y="774"/>
                  </a:lnTo>
                  <a:lnTo>
                    <a:pt x="834" y="786"/>
                  </a:lnTo>
                  <a:lnTo>
                    <a:pt x="834" y="792"/>
                  </a:lnTo>
                  <a:lnTo>
                    <a:pt x="834" y="798"/>
                  </a:lnTo>
                  <a:lnTo>
                    <a:pt x="828" y="798"/>
                  </a:lnTo>
                  <a:lnTo>
                    <a:pt x="828" y="804"/>
                  </a:lnTo>
                  <a:lnTo>
                    <a:pt x="834" y="816"/>
                  </a:lnTo>
                  <a:lnTo>
                    <a:pt x="834" y="834"/>
                  </a:lnTo>
                  <a:lnTo>
                    <a:pt x="834" y="840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34" y="858"/>
                  </a:lnTo>
                  <a:lnTo>
                    <a:pt x="834" y="864"/>
                  </a:lnTo>
                  <a:lnTo>
                    <a:pt x="834" y="876"/>
                  </a:lnTo>
                  <a:lnTo>
                    <a:pt x="828" y="960"/>
                  </a:lnTo>
                  <a:lnTo>
                    <a:pt x="816" y="966"/>
                  </a:lnTo>
                  <a:lnTo>
                    <a:pt x="798" y="972"/>
                  </a:lnTo>
                  <a:lnTo>
                    <a:pt x="786" y="990"/>
                  </a:lnTo>
                  <a:lnTo>
                    <a:pt x="774" y="990"/>
                  </a:lnTo>
                  <a:lnTo>
                    <a:pt x="762" y="1008"/>
                  </a:lnTo>
                  <a:lnTo>
                    <a:pt x="732" y="1014"/>
                  </a:lnTo>
                  <a:lnTo>
                    <a:pt x="714" y="1026"/>
                  </a:lnTo>
                  <a:lnTo>
                    <a:pt x="690" y="1050"/>
                  </a:lnTo>
                  <a:lnTo>
                    <a:pt x="654" y="1056"/>
                  </a:lnTo>
                  <a:lnTo>
                    <a:pt x="630" y="1056"/>
                  </a:lnTo>
                  <a:lnTo>
                    <a:pt x="606" y="1068"/>
                  </a:lnTo>
                  <a:lnTo>
                    <a:pt x="600" y="1092"/>
                  </a:lnTo>
                  <a:lnTo>
                    <a:pt x="600" y="1098"/>
                  </a:lnTo>
                  <a:lnTo>
                    <a:pt x="588" y="1104"/>
                  </a:lnTo>
                  <a:lnTo>
                    <a:pt x="582" y="1104"/>
                  </a:lnTo>
                  <a:lnTo>
                    <a:pt x="570" y="1110"/>
                  </a:lnTo>
                  <a:lnTo>
                    <a:pt x="564" y="111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7" name="Freeform 12">
              <a:extLst>
                <a:ext uri="{FF2B5EF4-FFF2-40B4-BE49-F238E27FC236}">
                  <a16:creationId xmlns:a16="http://schemas.microsoft.com/office/drawing/2014/main" id="{6C93C114-E5D0-49BB-A44C-A127CE01CFE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810" y="2271838"/>
              <a:ext cx="923547" cy="845397"/>
            </a:xfrm>
            <a:custGeom>
              <a:avLst/>
              <a:gdLst>
                <a:gd name="T0" fmla="*/ 138 w 1740"/>
                <a:gd name="T1" fmla="*/ 134 h 1590"/>
                <a:gd name="T2" fmla="*/ 128 w 1740"/>
                <a:gd name="T3" fmla="*/ 131 h 1590"/>
                <a:gd name="T4" fmla="*/ 121 w 1740"/>
                <a:gd name="T5" fmla="*/ 130 h 1590"/>
                <a:gd name="T6" fmla="*/ 119 w 1740"/>
                <a:gd name="T7" fmla="*/ 134 h 1590"/>
                <a:gd name="T8" fmla="*/ 110 w 1740"/>
                <a:gd name="T9" fmla="*/ 132 h 1590"/>
                <a:gd name="T10" fmla="*/ 111 w 1740"/>
                <a:gd name="T11" fmla="*/ 127 h 1590"/>
                <a:gd name="T12" fmla="*/ 103 w 1740"/>
                <a:gd name="T13" fmla="*/ 117 h 1590"/>
                <a:gd name="T14" fmla="*/ 93 w 1740"/>
                <a:gd name="T15" fmla="*/ 123 h 1590"/>
                <a:gd name="T16" fmla="*/ 80 w 1740"/>
                <a:gd name="T17" fmla="*/ 118 h 1590"/>
                <a:gd name="T18" fmla="*/ 66 w 1740"/>
                <a:gd name="T19" fmla="*/ 117 h 1590"/>
                <a:gd name="T20" fmla="*/ 66 w 1740"/>
                <a:gd name="T21" fmla="*/ 110 h 1590"/>
                <a:gd name="T22" fmla="*/ 69 w 1740"/>
                <a:gd name="T23" fmla="*/ 107 h 1590"/>
                <a:gd name="T24" fmla="*/ 68 w 1740"/>
                <a:gd name="T25" fmla="*/ 102 h 1590"/>
                <a:gd name="T26" fmla="*/ 68 w 1740"/>
                <a:gd name="T27" fmla="*/ 96 h 1590"/>
                <a:gd name="T28" fmla="*/ 67 w 1740"/>
                <a:gd name="T29" fmla="*/ 82 h 1590"/>
                <a:gd name="T30" fmla="*/ 58 w 1740"/>
                <a:gd name="T31" fmla="*/ 82 h 1590"/>
                <a:gd name="T32" fmla="*/ 52 w 1740"/>
                <a:gd name="T33" fmla="*/ 82 h 1590"/>
                <a:gd name="T34" fmla="*/ 46 w 1740"/>
                <a:gd name="T35" fmla="*/ 80 h 1590"/>
                <a:gd name="T36" fmla="*/ 45 w 1740"/>
                <a:gd name="T37" fmla="*/ 74 h 1590"/>
                <a:gd name="T38" fmla="*/ 52 w 1740"/>
                <a:gd name="T39" fmla="*/ 70 h 1590"/>
                <a:gd name="T40" fmla="*/ 52 w 1740"/>
                <a:gd name="T41" fmla="*/ 64 h 1590"/>
                <a:gd name="T42" fmla="*/ 42 w 1740"/>
                <a:gd name="T43" fmla="*/ 53 h 1590"/>
                <a:gd name="T44" fmla="*/ 35 w 1740"/>
                <a:gd name="T45" fmla="*/ 52 h 1590"/>
                <a:gd name="T46" fmla="*/ 20 w 1740"/>
                <a:gd name="T47" fmla="*/ 51 h 1590"/>
                <a:gd name="T48" fmla="*/ 17 w 1740"/>
                <a:gd name="T49" fmla="*/ 56 h 1590"/>
                <a:gd name="T50" fmla="*/ 11 w 1740"/>
                <a:gd name="T51" fmla="*/ 61 h 1590"/>
                <a:gd name="T52" fmla="*/ 7 w 1740"/>
                <a:gd name="T53" fmla="*/ 63 h 1590"/>
                <a:gd name="T54" fmla="*/ 0 w 1740"/>
                <a:gd name="T55" fmla="*/ 55 h 1590"/>
                <a:gd name="T56" fmla="*/ 2 w 1740"/>
                <a:gd name="T57" fmla="*/ 50 h 1590"/>
                <a:gd name="T58" fmla="*/ 0 w 1740"/>
                <a:gd name="T59" fmla="*/ 44 h 1590"/>
                <a:gd name="T60" fmla="*/ 2 w 1740"/>
                <a:gd name="T61" fmla="*/ 38 h 1590"/>
                <a:gd name="T62" fmla="*/ 7 w 1740"/>
                <a:gd name="T63" fmla="*/ 35 h 1590"/>
                <a:gd name="T64" fmla="*/ 11 w 1740"/>
                <a:gd name="T65" fmla="*/ 30 h 1590"/>
                <a:gd name="T66" fmla="*/ 21 w 1740"/>
                <a:gd name="T67" fmla="*/ 26 h 1590"/>
                <a:gd name="T68" fmla="*/ 29 w 1740"/>
                <a:gd name="T69" fmla="*/ 25 h 1590"/>
                <a:gd name="T70" fmla="*/ 35 w 1740"/>
                <a:gd name="T71" fmla="*/ 21 h 1590"/>
                <a:gd name="T72" fmla="*/ 36 w 1740"/>
                <a:gd name="T73" fmla="*/ 16 h 1590"/>
                <a:gd name="T74" fmla="*/ 41 w 1740"/>
                <a:gd name="T75" fmla="*/ 11 h 1590"/>
                <a:gd name="T76" fmla="*/ 51 w 1740"/>
                <a:gd name="T77" fmla="*/ 9 h 1590"/>
                <a:gd name="T78" fmla="*/ 59 w 1740"/>
                <a:gd name="T79" fmla="*/ 21 h 1590"/>
                <a:gd name="T80" fmla="*/ 65 w 1740"/>
                <a:gd name="T81" fmla="*/ 13 h 1590"/>
                <a:gd name="T82" fmla="*/ 73 w 1740"/>
                <a:gd name="T83" fmla="*/ 8 h 1590"/>
                <a:gd name="T84" fmla="*/ 82 w 1740"/>
                <a:gd name="T85" fmla="*/ 12 h 1590"/>
                <a:gd name="T86" fmla="*/ 88 w 1740"/>
                <a:gd name="T87" fmla="*/ 12 h 1590"/>
                <a:gd name="T88" fmla="*/ 99 w 1740"/>
                <a:gd name="T89" fmla="*/ 7 h 1590"/>
                <a:gd name="T90" fmla="*/ 114 w 1740"/>
                <a:gd name="T91" fmla="*/ 0 h 1590"/>
                <a:gd name="T92" fmla="*/ 117 w 1740"/>
                <a:gd name="T93" fmla="*/ 10 h 1590"/>
                <a:gd name="T94" fmla="*/ 132 w 1740"/>
                <a:gd name="T95" fmla="*/ 17 h 1590"/>
                <a:gd name="T96" fmla="*/ 140 w 1740"/>
                <a:gd name="T97" fmla="*/ 25 h 1590"/>
                <a:gd name="T98" fmla="*/ 140 w 1740"/>
                <a:gd name="T99" fmla="*/ 33 h 1590"/>
                <a:gd name="T100" fmla="*/ 140 w 1740"/>
                <a:gd name="T101" fmla="*/ 44 h 1590"/>
                <a:gd name="T102" fmla="*/ 138 w 1740"/>
                <a:gd name="T103" fmla="*/ 48 h 1590"/>
                <a:gd name="T104" fmla="*/ 141 w 1740"/>
                <a:gd name="T105" fmla="*/ 49 h 1590"/>
                <a:gd name="T106" fmla="*/ 146 w 1740"/>
                <a:gd name="T107" fmla="*/ 50 h 1590"/>
                <a:gd name="T108" fmla="*/ 149 w 1740"/>
                <a:gd name="T109" fmla="*/ 59 h 1590"/>
                <a:gd name="T110" fmla="*/ 148 w 1740"/>
                <a:gd name="T111" fmla="*/ 67 h 1590"/>
                <a:gd name="T112" fmla="*/ 141 w 1740"/>
                <a:gd name="T113" fmla="*/ 78 h 1590"/>
                <a:gd name="T114" fmla="*/ 141 w 1740"/>
                <a:gd name="T115" fmla="*/ 91 h 1590"/>
                <a:gd name="T116" fmla="*/ 138 w 1740"/>
                <a:gd name="T117" fmla="*/ 102 h 1590"/>
                <a:gd name="T118" fmla="*/ 138 w 1740"/>
                <a:gd name="T119" fmla="*/ 110 h 1590"/>
                <a:gd name="T120" fmla="*/ 144 w 1740"/>
                <a:gd name="T121" fmla="*/ 118 h 1590"/>
                <a:gd name="T122" fmla="*/ 143 w 1740"/>
                <a:gd name="T123" fmla="*/ 125 h 159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740"/>
                <a:gd name="T187" fmla="*/ 0 h 1590"/>
                <a:gd name="T188" fmla="*/ 1740 w 1740"/>
                <a:gd name="T189" fmla="*/ 1590 h 159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740" h="1590">
                  <a:moveTo>
                    <a:pt x="1638" y="1458"/>
                  </a:moveTo>
                  <a:lnTo>
                    <a:pt x="1638" y="1482"/>
                  </a:lnTo>
                  <a:lnTo>
                    <a:pt x="1638" y="1500"/>
                  </a:lnTo>
                  <a:lnTo>
                    <a:pt x="1626" y="1500"/>
                  </a:lnTo>
                  <a:lnTo>
                    <a:pt x="1620" y="1500"/>
                  </a:lnTo>
                  <a:lnTo>
                    <a:pt x="1614" y="1500"/>
                  </a:lnTo>
                  <a:lnTo>
                    <a:pt x="1614" y="1506"/>
                  </a:lnTo>
                  <a:lnTo>
                    <a:pt x="1614" y="1512"/>
                  </a:lnTo>
                  <a:lnTo>
                    <a:pt x="1620" y="1518"/>
                  </a:lnTo>
                  <a:lnTo>
                    <a:pt x="1614" y="1524"/>
                  </a:lnTo>
                  <a:lnTo>
                    <a:pt x="1590" y="1536"/>
                  </a:lnTo>
                  <a:lnTo>
                    <a:pt x="1584" y="1566"/>
                  </a:lnTo>
                  <a:lnTo>
                    <a:pt x="1578" y="1590"/>
                  </a:lnTo>
                  <a:lnTo>
                    <a:pt x="1548" y="1590"/>
                  </a:lnTo>
                  <a:lnTo>
                    <a:pt x="1542" y="1584"/>
                  </a:lnTo>
                  <a:lnTo>
                    <a:pt x="1542" y="1572"/>
                  </a:lnTo>
                  <a:lnTo>
                    <a:pt x="1536" y="1566"/>
                  </a:lnTo>
                  <a:lnTo>
                    <a:pt x="1536" y="1554"/>
                  </a:lnTo>
                  <a:lnTo>
                    <a:pt x="1536" y="1548"/>
                  </a:lnTo>
                  <a:lnTo>
                    <a:pt x="1506" y="1530"/>
                  </a:lnTo>
                  <a:lnTo>
                    <a:pt x="1488" y="1506"/>
                  </a:lnTo>
                  <a:lnTo>
                    <a:pt x="1464" y="1500"/>
                  </a:lnTo>
                  <a:lnTo>
                    <a:pt x="1470" y="1494"/>
                  </a:lnTo>
                  <a:lnTo>
                    <a:pt x="1470" y="1488"/>
                  </a:lnTo>
                  <a:lnTo>
                    <a:pt x="1470" y="1482"/>
                  </a:lnTo>
                  <a:lnTo>
                    <a:pt x="1428" y="1464"/>
                  </a:lnTo>
                  <a:lnTo>
                    <a:pt x="1404" y="1470"/>
                  </a:lnTo>
                  <a:lnTo>
                    <a:pt x="1398" y="1470"/>
                  </a:lnTo>
                  <a:lnTo>
                    <a:pt x="1392" y="1476"/>
                  </a:lnTo>
                  <a:lnTo>
                    <a:pt x="1386" y="1476"/>
                  </a:lnTo>
                  <a:lnTo>
                    <a:pt x="1386" y="1482"/>
                  </a:lnTo>
                  <a:lnTo>
                    <a:pt x="1392" y="1482"/>
                  </a:lnTo>
                  <a:lnTo>
                    <a:pt x="1386" y="1488"/>
                  </a:lnTo>
                  <a:lnTo>
                    <a:pt x="1386" y="1494"/>
                  </a:lnTo>
                  <a:lnTo>
                    <a:pt x="1380" y="1494"/>
                  </a:lnTo>
                  <a:lnTo>
                    <a:pt x="1380" y="1500"/>
                  </a:lnTo>
                  <a:lnTo>
                    <a:pt x="1380" y="1512"/>
                  </a:lnTo>
                  <a:lnTo>
                    <a:pt x="1380" y="1518"/>
                  </a:lnTo>
                  <a:lnTo>
                    <a:pt x="1380" y="1524"/>
                  </a:lnTo>
                  <a:lnTo>
                    <a:pt x="1380" y="1530"/>
                  </a:lnTo>
                  <a:lnTo>
                    <a:pt x="1374" y="1536"/>
                  </a:lnTo>
                  <a:lnTo>
                    <a:pt x="1374" y="1542"/>
                  </a:lnTo>
                  <a:lnTo>
                    <a:pt x="1368" y="1542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44" y="1554"/>
                  </a:lnTo>
                  <a:lnTo>
                    <a:pt x="1332" y="1560"/>
                  </a:lnTo>
                  <a:lnTo>
                    <a:pt x="1302" y="1554"/>
                  </a:lnTo>
                  <a:lnTo>
                    <a:pt x="1290" y="1554"/>
                  </a:lnTo>
                  <a:lnTo>
                    <a:pt x="1278" y="1542"/>
                  </a:lnTo>
                  <a:lnTo>
                    <a:pt x="1272" y="1530"/>
                  </a:lnTo>
                  <a:lnTo>
                    <a:pt x="1272" y="1524"/>
                  </a:lnTo>
                  <a:lnTo>
                    <a:pt x="1272" y="1518"/>
                  </a:lnTo>
                  <a:lnTo>
                    <a:pt x="1266" y="1518"/>
                  </a:lnTo>
                  <a:lnTo>
                    <a:pt x="1266" y="1512"/>
                  </a:lnTo>
                  <a:lnTo>
                    <a:pt x="1266" y="1506"/>
                  </a:lnTo>
                  <a:lnTo>
                    <a:pt x="1272" y="1506"/>
                  </a:lnTo>
                  <a:lnTo>
                    <a:pt x="1272" y="1500"/>
                  </a:lnTo>
                  <a:lnTo>
                    <a:pt x="1278" y="1500"/>
                  </a:lnTo>
                  <a:lnTo>
                    <a:pt x="1278" y="1494"/>
                  </a:lnTo>
                  <a:lnTo>
                    <a:pt x="1278" y="1488"/>
                  </a:lnTo>
                  <a:lnTo>
                    <a:pt x="1284" y="1488"/>
                  </a:lnTo>
                  <a:lnTo>
                    <a:pt x="1284" y="1482"/>
                  </a:lnTo>
                  <a:lnTo>
                    <a:pt x="1290" y="1476"/>
                  </a:lnTo>
                  <a:lnTo>
                    <a:pt x="1284" y="1470"/>
                  </a:lnTo>
                  <a:lnTo>
                    <a:pt x="1278" y="1458"/>
                  </a:lnTo>
                  <a:lnTo>
                    <a:pt x="1278" y="1452"/>
                  </a:lnTo>
                  <a:lnTo>
                    <a:pt x="1260" y="1428"/>
                  </a:lnTo>
                  <a:lnTo>
                    <a:pt x="1254" y="1416"/>
                  </a:lnTo>
                  <a:lnTo>
                    <a:pt x="1254" y="1410"/>
                  </a:lnTo>
                  <a:lnTo>
                    <a:pt x="1248" y="1398"/>
                  </a:lnTo>
                  <a:lnTo>
                    <a:pt x="1242" y="1398"/>
                  </a:lnTo>
                  <a:lnTo>
                    <a:pt x="1236" y="1398"/>
                  </a:lnTo>
                  <a:lnTo>
                    <a:pt x="1218" y="1386"/>
                  </a:lnTo>
                  <a:lnTo>
                    <a:pt x="1212" y="1362"/>
                  </a:lnTo>
                  <a:lnTo>
                    <a:pt x="1200" y="1344"/>
                  </a:lnTo>
                  <a:lnTo>
                    <a:pt x="1188" y="1338"/>
                  </a:lnTo>
                  <a:lnTo>
                    <a:pt x="1164" y="1338"/>
                  </a:lnTo>
                  <a:lnTo>
                    <a:pt x="1158" y="1344"/>
                  </a:lnTo>
                  <a:lnTo>
                    <a:pt x="1152" y="1350"/>
                  </a:lnTo>
                  <a:lnTo>
                    <a:pt x="1152" y="1356"/>
                  </a:lnTo>
                  <a:lnTo>
                    <a:pt x="1140" y="1362"/>
                  </a:lnTo>
                  <a:lnTo>
                    <a:pt x="1134" y="1380"/>
                  </a:lnTo>
                  <a:lnTo>
                    <a:pt x="1116" y="1398"/>
                  </a:lnTo>
                  <a:lnTo>
                    <a:pt x="1110" y="1416"/>
                  </a:lnTo>
                  <a:lnTo>
                    <a:pt x="1086" y="1416"/>
                  </a:lnTo>
                  <a:lnTo>
                    <a:pt x="1080" y="1410"/>
                  </a:lnTo>
                  <a:lnTo>
                    <a:pt x="1074" y="1410"/>
                  </a:lnTo>
                  <a:lnTo>
                    <a:pt x="1074" y="1404"/>
                  </a:lnTo>
                  <a:lnTo>
                    <a:pt x="1062" y="1404"/>
                  </a:lnTo>
                  <a:lnTo>
                    <a:pt x="1062" y="1380"/>
                  </a:lnTo>
                  <a:lnTo>
                    <a:pt x="1038" y="1380"/>
                  </a:lnTo>
                  <a:lnTo>
                    <a:pt x="1026" y="1350"/>
                  </a:lnTo>
                  <a:lnTo>
                    <a:pt x="996" y="1326"/>
                  </a:lnTo>
                  <a:lnTo>
                    <a:pt x="966" y="1314"/>
                  </a:lnTo>
                  <a:lnTo>
                    <a:pt x="954" y="1320"/>
                  </a:lnTo>
                  <a:lnTo>
                    <a:pt x="942" y="1338"/>
                  </a:lnTo>
                  <a:lnTo>
                    <a:pt x="930" y="1338"/>
                  </a:lnTo>
                  <a:lnTo>
                    <a:pt x="924" y="1350"/>
                  </a:lnTo>
                  <a:lnTo>
                    <a:pt x="906" y="1356"/>
                  </a:lnTo>
                  <a:lnTo>
                    <a:pt x="846" y="1356"/>
                  </a:lnTo>
                  <a:lnTo>
                    <a:pt x="834" y="1368"/>
                  </a:lnTo>
                  <a:lnTo>
                    <a:pt x="810" y="1362"/>
                  </a:lnTo>
                  <a:lnTo>
                    <a:pt x="792" y="1362"/>
                  </a:lnTo>
                  <a:lnTo>
                    <a:pt x="780" y="1368"/>
                  </a:lnTo>
                  <a:lnTo>
                    <a:pt x="762" y="1368"/>
                  </a:lnTo>
                  <a:lnTo>
                    <a:pt x="762" y="1362"/>
                  </a:lnTo>
                  <a:lnTo>
                    <a:pt x="750" y="1362"/>
                  </a:lnTo>
                  <a:lnTo>
                    <a:pt x="750" y="1338"/>
                  </a:lnTo>
                  <a:lnTo>
                    <a:pt x="762" y="1338"/>
                  </a:lnTo>
                  <a:lnTo>
                    <a:pt x="762" y="1326"/>
                  </a:lnTo>
                  <a:lnTo>
                    <a:pt x="762" y="1314"/>
                  </a:lnTo>
                  <a:lnTo>
                    <a:pt x="732" y="1314"/>
                  </a:lnTo>
                  <a:lnTo>
                    <a:pt x="726" y="1308"/>
                  </a:lnTo>
                  <a:lnTo>
                    <a:pt x="732" y="1284"/>
                  </a:lnTo>
                  <a:lnTo>
                    <a:pt x="732" y="1278"/>
                  </a:lnTo>
                  <a:lnTo>
                    <a:pt x="738" y="1272"/>
                  </a:lnTo>
                  <a:lnTo>
                    <a:pt x="738" y="1266"/>
                  </a:lnTo>
                  <a:lnTo>
                    <a:pt x="744" y="1266"/>
                  </a:lnTo>
                  <a:lnTo>
                    <a:pt x="750" y="1272"/>
                  </a:lnTo>
                  <a:lnTo>
                    <a:pt x="756" y="1266"/>
                  </a:lnTo>
                  <a:lnTo>
                    <a:pt x="762" y="1266"/>
                  </a:lnTo>
                  <a:lnTo>
                    <a:pt x="768" y="1260"/>
                  </a:lnTo>
                  <a:lnTo>
                    <a:pt x="774" y="1260"/>
                  </a:lnTo>
                  <a:lnTo>
                    <a:pt x="780" y="1254"/>
                  </a:lnTo>
                  <a:lnTo>
                    <a:pt x="774" y="1254"/>
                  </a:lnTo>
                  <a:lnTo>
                    <a:pt x="768" y="1254"/>
                  </a:lnTo>
                  <a:lnTo>
                    <a:pt x="774" y="1248"/>
                  </a:lnTo>
                  <a:lnTo>
                    <a:pt x="774" y="1242"/>
                  </a:lnTo>
                  <a:lnTo>
                    <a:pt x="780" y="1236"/>
                  </a:lnTo>
                  <a:lnTo>
                    <a:pt x="786" y="1236"/>
                  </a:lnTo>
                  <a:lnTo>
                    <a:pt x="792" y="1230"/>
                  </a:lnTo>
                  <a:lnTo>
                    <a:pt x="792" y="1236"/>
                  </a:lnTo>
                  <a:lnTo>
                    <a:pt x="798" y="1236"/>
                  </a:lnTo>
                  <a:lnTo>
                    <a:pt x="798" y="1230"/>
                  </a:lnTo>
                  <a:lnTo>
                    <a:pt x="804" y="1230"/>
                  </a:lnTo>
                  <a:lnTo>
                    <a:pt x="804" y="1218"/>
                  </a:lnTo>
                  <a:lnTo>
                    <a:pt x="804" y="1206"/>
                  </a:lnTo>
                  <a:lnTo>
                    <a:pt x="792" y="1188"/>
                  </a:lnTo>
                  <a:lnTo>
                    <a:pt x="768" y="1182"/>
                  </a:lnTo>
                  <a:lnTo>
                    <a:pt x="768" y="1170"/>
                  </a:lnTo>
                  <a:lnTo>
                    <a:pt x="774" y="1170"/>
                  </a:lnTo>
                  <a:lnTo>
                    <a:pt x="780" y="1170"/>
                  </a:lnTo>
                  <a:lnTo>
                    <a:pt x="786" y="1170"/>
                  </a:lnTo>
                  <a:lnTo>
                    <a:pt x="780" y="1152"/>
                  </a:lnTo>
                  <a:lnTo>
                    <a:pt x="780" y="1146"/>
                  </a:lnTo>
                  <a:lnTo>
                    <a:pt x="744" y="1140"/>
                  </a:lnTo>
                  <a:lnTo>
                    <a:pt x="732" y="1128"/>
                  </a:lnTo>
                  <a:lnTo>
                    <a:pt x="720" y="1122"/>
                  </a:lnTo>
                  <a:lnTo>
                    <a:pt x="732" y="1116"/>
                  </a:lnTo>
                  <a:lnTo>
                    <a:pt x="750" y="1104"/>
                  </a:lnTo>
                  <a:lnTo>
                    <a:pt x="756" y="1116"/>
                  </a:lnTo>
                  <a:lnTo>
                    <a:pt x="774" y="1116"/>
                  </a:lnTo>
                  <a:lnTo>
                    <a:pt x="780" y="1104"/>
                  </a:lnTo>
                  <a:lnTo>
                    <a:pt x="780" y="1080"/>
                  </a:lnTo>
                  <a:lnTo>
                    <a:pt x="786" y="1080"/>
                  </a:lnTo>
                  <a:lnTo>
                    <a:pt x="786" y="1074"/>
                  </a:lnTo>
                  <a:lnTo>
                    <a:pt x="792" y="1074"/>
                  </a:lnTo>
                  <a:lnTo>
                    <a:pt x="786" y="1068"/>
                  </a:lnTo>
                  <a:lnTo>
                    <a:pt x="786" y="1062"/>
                  </a:lnTo>
                  <a:lnTo>
                    <a:pt x="786" y="1056"/>
                  </a:lnTo>
                  <a:lnTo>
                    <a:pt x="792" y="1050"/>
                  </a:lnTo>
                  <a:lnTo>
                    <a:pt x="786" y="1020"/>
                  </a:lnTo>
                  <a:lnTo>
                    <a:pt x="780" y="960"/>
                  </a:lnTo>
                  <a:lnTo>
                    <a:pt x="768" y="942"/>
                  </a:lnTo>
                  <a:lnTo>
                    <a:pt x="732" y="936"/>
                  </a:lnTo>
                  <a:lnTo>
                    <a:pt x="732" y="942"/>
                  </a:lnTo>
                  <a:lnTo>
                    <a:pt x="726" y="942"/>
                  </a:lnTo>
                  <a:lnTo>
                    <a:pt x="720" y="936"/>
                  </a:lnTo>
                  <a:lnTo>
                    <a:pt x="714" y="942"/>
                  </a:lnTo>
                  <a:lnTo>
                    <a:pt x="708" y="942"/>
                  </a:lnTo>
                  <a:lnTo>
                    <a:pt x="702" y="942"/>
                  </a:lnTo>
                  <a:lnTo>
                    <a:pt x="690" y="936"/>
                  </a:lnTo>
                  <a:lnTo>
                    <a:pt x="684" y="936"/>
                  </a:lnTo>
                  <a:lnTo>
                    <a:pt x="678" y="936"/>
                  </a:lnTo>
                  <a:lnTo>
                    <a:pt x="672" y="936"/>
                  </a:lnTo>
                  <a:lnTo>
                    <a:pt x="666" y="942"/>
                  </a:lnTo>
                  <a:lnTo>
                    <a:pt x="660" y="942"/>
                  </a:lnTo>
                  <a:lnTo>
                    <a:pt x="654" y="942"/>
                  </a:lnTo>
                  <a:lnTo>
                    <a:pt x="648" y="942"/>
                  </a:lnTo>
                  <a:lnTo>
                    <a:pt x="642" y="936"/>
                  </a:lnTo>
                  <a:lnTo>
                    <a:pt x="636" y="936"/>
                  </a:lnTo>
                  <a:lnTo>
                    <a:pt x="630" y="930"/>
                  </a:lnTo>
                  <a:lnTo>
                    <a:pt x="618" y="930"/>
                  </a:lnTo>
                  <a:lnTo>
                    <a:pt x="612" y="930"/>
                  </a:lnTo>
                  <a:lnTo>
                    <a:pt x="606" y="936"/>
                  </a:lnTo>
                  <a:lnTo>
                    <a:pt x="600" y="942"/>
                  </a:lnTo>
                  <a:lnTo>
                    <a:pt x="600" y="936"/>
                  </a:lnTo>
                  <a:lnTo>
                    <a:pt x="594" y="930"/>
                  </a:lnTo>
                  <a:lnTo>
                    <a:pt x="588" y="930"/>
                  </a:lnTo>
                  <a:lnTo>
                    <a:pt x="582" y="930"/>
                  </a:lnTo>
                  <a:lnTo>
                    <a:pt x="576" y="930"/>
                  </a:lnTo>
                  <a:lnTo>
                    <a:pt x="564" y="936"/>
                  </a:lnTo>
                  <a:lnTo>
                    <a:pt x="558" y="936"/>
                  </a:lnTo>
                  <a:lnTo>
                    <a:pt x="546" y="924"/>
                  </a:lnTo>
                  <a:lnTo>
                    <a:pt x="540" y="924"/>
                  </a:lnTo>
                  <a:lnTo>
                    <a:pt x="534" y="918"/>
                  </a:lnTo>
                  <a:lnTo>
                    <a:pt x="528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6" y="918"/>
                  </a:lnTo>
                  <a:lnTo>
                    <a:pt x="516" y="912"/>
                  </a:lnTo>
                  <a:lnTo>
                    <a:pt x="510" y="894"/>
                  </a:lnTo>
                  <a:lnTo>
                    <a:pt x="510" y="882"/>
                  </a:lnTo>
                  <a:lnTo>
                    <a:pt x="510" y="876"/>
                  </a:lnTo>
                  <a:lnTo>
                    <a:pt x="516" y="870"/>
                  </a:lnTo>
                  <a:lnTo>
                    <a:pt x="510" y="864"/>
                  </a:lnTo>
                  <a:lnTo>
                    <a:pt x="516" y="858"/>
                  </a:lnTo>
                  <a:lnTo>
                    <a:pt x="522" y="858"/>
                  </a:lnTo>
                  <a:lnTo>
                    <a:pt x="528" y="858"/>
                  </a:lnTo>
                  <a:lnTo>
                    <a:pt x="522" y="852"/>
                  </a:lnTo>
                  <a:lnTo>
                    <a:pt x="528" y="852"/>
                  </a:lnTo>
                  <a:lnTo>
                    <a:pt x="528" y="846"/>
                  </a:lnTo>
                  <a:lnTo>
                    <a:pt x="552" y="846"/>
                  </a:lnTo>
                  <a:lnTo>
                    <a:pt x="558" y="840"/>
                  </a:lnTo>
                  <a:lnTo>
                    <a:pt x="564" y="828"/>
                  </a:lnTo>
                  <a:lnTo>
                    <a:pt x="570" y="816"/>
                  </a:lnTo>
                  <a:lnTo>
                    <a:pt x="582" y="810"/>
                  </a:lnTo>
                  <a:lnTo>
                    <a:pt x="588" y="804"/>
                  </a:lnTo>
                  <a:lnTo>
                    <a:pt x="594" y="804"/>
                  </a:lnTo>
                  <a:lnTo>
                    <a:pt x="594" y="792"/>
                  </a:lnTo>
                  <a:lnTo>
                    <a:pt x="600" y="786"/>
                  </a:lnTo>
                  <a:lnTo>
                    <a:pt x="606" y="780"/>
                  </a:lnTo>
                  <a:lnTo>
                    <a:pt x="612" y="774"/>
                  </a:lnTo>
                  <a:lnTo>
                    <a:pt x="618" y="774"/>
                  </a:lnTo>
                  <a:lnTo>
                    <a:pt x="618" y="768"/>
                  </a:lnTo>
                  <a:lnTo>
                    <a:pt x="618" y="762"/>
                  </a:lnTo>
                  <a:lnTo>
                    <a:pt x="624" y="756"/>
                  </a:lnTo>
                  <a:lnTo>
                    <a:pt x="618" y="750"/>
                  </a:lnTo>
                  <a:lnTo>
                    <a:pt x="618" y="744"/>
                  </a:lnTo>
                  <a:lnTo>
                    <a:pt x="600" y="738"/>
                  </a:lnTo>
                  <a:lnTo>
                    <a:pt x="558" y="744"/>
                  </a:lnTo>
                  <a:lnTo>
                    <a:pt x="552" y="732"/>
                  </a:lnTo>
                  <a:lnTo>
                    <a:pt x="546" y="720"/>
                  </a:lnTo>
                  <a:lnTo>
                    <a:pt x="564" y="702"/>
                  </a:lnTo>
                  <a:lnTo>
                    <a:pt x="570" y="684"/>
                  </a:lnTo>
                  <a:lnTo>
                    <a:pt x="564" y="648"/>
                  </a:lnTo>
                  <a:lnTo>
                    <a:pt x="534" y="624"/>
                  </a:lnTo>
                  <a:lnTo>
                    <a:pt x="504" y="612"/>
                  </a:lnTo>
                  <a:lnTo>
                    <a:pt x="498" y="606"/>
                  </a:lnTo>
                  <a:lnTo>
                    <a:pt x="492" y="600"/>
                  </a:lnTo>
                  <a:lnTo>
                    <a:pt x="486" y="606"/>
                  </a:lnTo>
                  <a:lnTo>
                    <a:pt x="480" y="558"/>
                  </a:lnTo>
                  <a:lnTo>
                    <a:pt x="462" y="546"/>
                  </a:lnTo>
                  <a:lnTo>
                    <a:pt x="408" y="540"/>
                  </a:lnTo>
                  <a:lnTo>
                    <a:pt x="408" y="546"/>
                  </a:lnTo>
                  <a:lnTo>
                    <a:pt x="408" y="558"/>
                  </a:lnTo>
                  <a:lnTo>
                    <a:pt x="408" y="564"/>
                  </a:lnTo>
                  <a:lnTo>
                    <a:pt x="408" y="570"/>
                  </a:lnTo>
                  <a:lnTo>
                    <a:pt x="414" y="582"/>
                  </a:lnTo>
                  <a:lnTo>
                    <a:pt x="408" y="594"/>
                  </a:lnTo>
                  <a:lnTo>
                    <a:pt x="414" y="594"/>
                  </a:lnTo>
                  <a:lnTo>
                    <a:pt x="408" y="600"/>
                  </a:lnTo>
                  <a:lnTo>
                    <a:pt x="348" y="600"/>
                  </a:lnTo>
                  <a:lnTo>
                    <a:pt x="324" y="600"/>
                  </a:lnTo>
                  <a:lnTo>
                    <a:pt x="324" y="612"/>
                  </a:lnTo>
                  <a:lnTo>
                    <a:pt x="306" y="618"/>
                  </a:lnTo>
                  <a:lnTo>
                    <a:pt x="312" y="618"/>
                  </a:lnTo>
                  <a:lnTo>
                    <a:pt x="294" y="588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76"/>
                  </a:lnTo>
                  <a:lnTo>
                    <a:pt x="240" y="582"/>
                  </a:lnTo>
                  <a:lnTo>
                    <a:pt x="234" y="582"/>
                  </a:lnTo>
                  <a:lnTo>
                    <a:pt x="228" y="588"/>
                  </a:lnTo>
                  <a:lnTo>
                    <a:pt x="222" y="588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8" y="600"/>
                  </a:lnTo>
                  <a:lnTo>
                    <a:pt x="192" y="612"/>
                  </a:lnTo>
                  <a:lnTo>
                    <a:pt x="192" y="618"/>
                  </a:lnTo>
                  <a:lnTo>
                    <a:pt x="198" y="624"/>
                  </a:lnTo>
                  <a:lnTo>
                    <a:pt x="192" y="624"/>
                  </a:lnTo>
                  <a:lnTo>
                    <a:pt x="192" y="630"/>
                  </a:lnTo>
                  <a:lnTo>
                    <a:pt x="192" y="642"/>
                  </a:lnTo>
                  <a:lnTo>
                    <a:pt x="180" y="648"/>
                  </a:lnTo>
                  <a:lnTo>
                    <a:pt x="174" y="654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6"/>
                  </a:lnTo>
                  <a:lnTo>
                    <a:pt x="156" y="672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90"/>
                  </a:lnTo>
                  <a:lnTo>
                    <a:pt x="132" y="690"/>
                  </a:lnTo>
                  <a:lnTo>
                    <a:pt x="126" y="702"/>
                  </a:lnTo>
                  <a:lnTo>
                    <a:pt x="132" y="708"/>
                  </a:lnTo>
                  <a:lnTo>
                    <a:pt x="126" y="708"/>
                  </a:lnTo>
                  <a:lnTo>
                    <a:pt x="120" y="708"/>
                  </a:lnTo>
                  <a:lnTo>
                    <a:pt x="114" y="708"/>
                  </a:lnTo>
                  <a:lnTo>
                    <a:pt x="108" y="708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78" y="720"/>
                  </a:lnTo>
                  <a:lnTo>
                    <a:pt x="72" y="720"/>
                  </a:lnTo>
                  <a:lnTo>
                    <a:pt x="66" y="720"/>
                  </a:lnTo>
                  <a:lnTo>
                    <a:pt x="54" y="732"/>
                  </a:lnTo>
                  <a:lnTo>
                    <a:pt x="48" y="702"/>
                  </a:lnTo>
                  <a:lnTo>
                    <a:pt x="36" y="666"/>
                  </a:lnTo>
                  <a:lnTo>
                    <a:pt x="0" y="660"/>
                  </a:lnTo>
                  <a:lnTo>
                    <a:pt x="6" y="660"/>
                  </a:lnTo>
                  <a:lnTo>
                    <a:pt x="6" y="654"/>
                  </a:lnTo>
                  <a:lnTo>
                    <a:pt x="6" y="648"/>
                  </a:lnTo>
                  <a:lnTo>
                    <a:pt x="6" y="642"/>
                  </a:lnTo>
                  <a:lnTo>
                    <a:pt x="6" y="624"/>
                  </a:lnTo>
                  <a:lnTo>
                    <a:pt x="6" y="612"/>
                  </a:lnTo>
                  <a:lnTo>
                    <a:pt x="6" y="606"/>
                  </a:lnTo>
                  <a:lnTo>
                    <a:pt x="12" y="612"/>
                  </a:lnTo>
                  <a:lnTo>
                    <a:pt x="18" y="606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30" y="594"/>
                  </a:lnTo>
                  <a:lnTo>
                    <a:pt x="30" y="588"/>
                  </a:lnTo>
                  <a:lnTo>
                    <a:pt x="30" y="582"/>
                  </a:lnTo>
                  <a:lnTo>
                    <a:pt x="24" y="576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18" y="558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36" y="528"/>
                  </a:lnTo>
                  <a:lnTo>
                    <a:pt x="30" y="522"/>
                  </a:lnTo>
                  <a:lnTo>
                    <a:pt x="24" y="522"/>
                  </a:lnTo>
                  <a:lnTo>
                    <a:pt x="18" y="510"/>
                  </a:lnTo>
                  <a:lnTo>
                    <a:pt x="12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8" y="474"/>
                  </a:lnTo>
                  <a:lnTo>
                    <a:pt x="12" y="468"/>
                  </a:lnTo>
                  <a:lnTo>
                    <a:pt x="12" y="462"/>
                  </a:lnTo>
                  <a:lnTo>
                    <a:pt x="18" y="456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0" y="420"/>
                  </a:lnTo>
                  <a:lnTo>
                    <a:pt x="30" y="414"/>
                  </a:lnTo>
                  <a:lnTo>
                    <a:pt x="48" y="414"/>
                  </a:lnTo>
                  <a:lnTo>
                    <a:pt x="54" y="408"/>
                  </a:lnTo>
                  <a:lnTo>
                    <a:pt x="60" y="402"/>
                  </a:lnTo>
                  <a:lnTo>
                    <a:pt x="66" y="402"/>
                  </a:lnTo>
                  <a:lnTo>
                    <a:pt x="72" y="402"/>
                  </a:lnTo>
                  <a:lnTo>
                    <a:pt x="78" y="408"/>
                  </a:lnTo>
                  <a:lnTo>
                    <a:pt x="84" y="396"/>
                  </a:lnTo>
                  <a:lnTo>
                    <a:pt x="90" y="390"/>
                  </a:lnTo>
                  <a:lnTo>
                    <a:pt x="90" y="378"/>
                  </a:lnTo>
                  <a:lnTo>
                    <a:pt x="96" y="372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8" y="354"/>
                  </a:lnTo>
                  <a:lnTo>
                    <a:pt x="114" y="348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32" y="336"/>
                  </a:lnTo>
                  <a:lnTo>
                    <a:pt x="132" y="330"/>
                  </a:lnTo>
                  <a:lnTo>
                    <a:pt x="138" y="324"/>
                  </a:lnTo>
                  <a:lnTo>
                    <a:pt x="138" y="318"/>
                  </a:lnTo>
                  <a:lnTo>
                    <a:pt x="144" y="306"/>
                  </a:lnTo>
                  <a:lnTo>
                    <a:pt x="156" y="306"/>
                  </a:lnTo>
                  <a:lnTo>
                    <a:pt x="186" y="300"/>
                  </a:lnTo>
                  <a:lnTo>
                    <a:pt x="198" y="300"/>
                  </a:lnTo>
                  <a:lnTo>
                    <a:pt x="210" y="300"/>
                  </a:lnTo>
                  <a:lnTo>
                    <a:pt x="222" y="300"/>
                  </a:lnTo>
                  <a:lnTo>
                    <a:pt x="246" y="300"/>
                  </a:lnTo>
                  <a:lnTo>
                    <a:pt x="264" y="312"/>
                  </a:lnTo>
                  <a:lnTo>
                    <a:pt x="270" y="312"/>
                  </a:lnTo>
                  <a:lnTo>
                    <a:pt x="282" y="306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300" y="306"/>
                  </a:lnTo>
                  <a:lnTo>
                    <a:pt x="312" y="306"/>
                  </a:lnTo>
                  <a:lnTo>
                    <a:pt x="318" y="300"/>
                  </a:lnTo>
                  <a:lnTo>
                    <a:pt x="324" y="300"/>
                  </a:lnTo>
                  <a:lnTo>
                    <a:pt x="330" y="294"/>
                  </a:lnTo>
                  <a:lnTo>
                    <a:pt x="336" y="288"/>
                  </a:lnTo>
                  <a:lnTo>
                    <a:pt x="354" y="288"/>
                  </a:lnTo>
                  <a:lnTo>
                    <a:pt x="360" y="288"/>
                  </a:lnTo>
                  <a:lnTo>
                    <a:pt x="366" y="282"/>
                  </a:lnTo>
                  <a:lnTo>
                    <a:pt x="372" y="282"/>
                  </a:lnTo>
                  <a:lnTo>
                    <a:pt x="378" y="282"/>
                  </a:lnTo>
                  <a:lnTo>
                    <a:pt x="384" y="276"/>
                  </a:lnTo>
                  <a:lnTo>
                    <a:pt x="384" y="270"/>
                  </a:lnTo>
                  <a:lnTo>
                    <a:pt x="390" y="264"/>
                  </a:lnTo>
                  <a:lnTo>
                    <a:pt x="402" y="258"/>
                  </a:lnTo>
                  <a:lnTo>
                    <a:pt x="402" y="252"/>
                  </a:lnTo>
                  <a:lnTo>
                    <a:pt x="402" y="246"/>
                  </a:lnTo>
                  <a:lnTo>
                    <a:pt x="408" y="234"/>
                  </a:lnTo>
                  <a:lnTo>
                    <a:pt x="414" y="234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14" y="216"/>
                  </a:lnTo>
                  <a:lnTo>
                    <a:pt x="414" y="210"/>
                  </a:lnTo>
                  <a:lnTo>
                    <a:pt x="420" y="210"/>
                  </a:lnTo>
                  <a:lnTo>
                    <a:pt x="414" y="198"/>
                  </a:lnTo>
                  <a:lnTo>
                    <a:pt x="414" y="192"/>
                  </a:lnTo>
                  <a:lnTo>
                    <a:pt x="420" y="192"/>
                  </a:lnTo>
                  <a:lnTo>
                    <a:pt x="420" y="186"/>
                  </a:lnTo>
                  <a:lnTo>
                    <a:pt x="420" y="174"/>
                  </a:lnTo>
                  <a:lnTo>
                    <a:pt x="420" y="168"/>
                  </a:lnTo>
                  <a:lnTo>
                    <a:pt x="426" y="162"/>
                  </a:lnTo>
                  <a:lnTo>
                    <a:pt x="432" y="156"/>
                  </a:lnTo>
                  <a:lnTo>
                    <a:pt x="438" y="144"/>
                  </a:lnTo>
                  <a:lnTo>
                    <a:pt x="444" y="144"/>
                  </a:lnTo>
                  <a:lnTo>
                    <a:pt x="450" y="138"/>
                  </a:lnTo>
                  <a:lnTo>
                    <a:pt x="456" y="138"/>
                  </a:lnTo>
                  <a:lnTo>
                    <a:pt x="462" y="132"/>
                  </a:lnTo>
                  <a:lnTo>
                    <a:pt x="462" y="126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0"/>
                  </a:lnTo>
                  <a:lnTo>
                    <a:pt x="486" y="108"/>
                  </a:lnTo>
                  <a:lnTo>
                    <a:pt x="492" y="108"/>
                  </a:lnTo>
                  <a:lnTo>
                    <a:pt x="498" y="102"/>
                  </a:lnTo>
                  <a:lnTo>
                    <a:pt x="504" y="96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40" y="102"/>
                  </a:lnTo>
                  <a:lnTo>
                    <a:pt x="552" y="108"/>
                  </a:lnTo>
                  <a:lnTo>
                    <a:pt x="582" y="102"/>
                  </a:lnTo>
                  <a:lnTo>
                    <a:pt x="594" y="126"/>
                  </a:lnTo>
                  <a:lnTo>
                    <a:pt x="594" y="144"/>
                  </a:lnTo>
                  <a:lnTo>
                    <a:pt x="588" y="156"/>
                  </a:lnTo>
                  <a:lnTo>
                    <a:pt x="588" y="168"/>
                  </a:lnTo>
                  <a:lnTo>
                    <a:pt x="582" y="180"/>
                  </a:lnTo>
                  <a:lnTo>
                    <a:pt x="570" y="192"/>
                  </a:lnTo>
                  <a:lnTo>
                    <a:pt x="594" y="192"/>
                  </a:lnTo>
                  <a:lnTo>
                    <a:pt x="618" y="198"/>
                  </a:lnTo>
                  <a:lnTo>
                    <a:pt x="642" y="210"/>
                  </a:lnTo>
                  <a:lnTo>
                    <a:pt x="660" y="234"/>
                  </a:lnTo>
                  <a:lnTo>
                    <a:pt x="678" y="246"/>
                  </a:lnTo>
                  <a:lnTo>
                    <a:pt x="684" y="252"/>
                  </a:lnTo>
                  <a:lnTo>
                    <a:pt x="702" y="252"/>
                  </a:lnTo>
                  <a:lnTo>
                    <a:pt x="732" y="234"/>
                  </a:lnTo>
                  <a:lnTo>
                    <a:pt x="732" y="222"/>
                  </a:lnTo>
                  <a:lnTo>
                    <a:pt x="720" y="216"/>
                  </a:lnTo>
                  <a:lnTo>
                    <a:pt x="714" y="198"/>
                  </a:lnTo>
                  <a:lnTo>
                    <a:pt x="714" y="174"/>
                  </a:lnTo>
                  <a:lnTo>
                    <a:pt x="720" y="162"/>
                  </a:lnTo>
                  <a:lnTo>
                    <a:pt x="726" y="162"/>
                  </a:lnTo>
                  <a:lnTo>
                    <a:pt x="732" y="156"/>
                  </a:lnTo>
                  <a:lnTo>
                    <a:pt x="744" y="150"/>
                  </a:lnTo>
                  <a:lnTo>
                    <a:pt x="774" y="162"/>
                  </a:lnTo>
                  <a:lnTo>
                    <a:pt x="786" y="162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16" y="150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2" y="132"/>
                  </a:lnTo>
                  <a:lnTo>
                    <a:pt x="822" y="114"/>
                  </a:lnTo>
                  <a:lnTo>
                    <a:pt x="828" y="108"/>
                  </a:lnTo>
                  <a:lnTo>
                    <a:pt x="834" y="96"/>
                  </a:lnTo>
                  <a:lnTo>
                    <a:pt x="846" y="96"/>
                  </a:lnTo>
                  <a:lnTo>
                    <a:pt x="858" y="90"/>
                  </a:lnTo>
                  <a:lnTo>
                    <a:pt x="870" y="84"/>
                  </a:lnTo>
                  <a:lnTo>
                    <a:pt x="888" y="84"/>
                  </a:lnTo>
                  <a:lnTo>
                    <a:pt x="894" y="90"/>
                  </a:lnTo>
                  <a:lnTo>
                    <a:pt x="894" y="102"/>
                  </a:lnTo>
                  <a:lnTo>
                    <a:pt x="900" y="102"/>
                  </a:lnTo>
                  <a:lnTo>
                    <a:pt x="906" y="114"/>
                  </a:lnTo>
                  <a:lnTo>
                    <a:pt x="930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54" y="138"/>
                  </a:lnTo>
                  <a:lnTo>
                    <a:pt x="966" y="144"/>
                  </a:lnTo>
                  <a:lnTo>
                    <a:pt x="966" y="150"/>
                  </a:lnTo>
                  <a:lnTo>
                    <a:pt x="972" y="150"/>
                  </a:lnTo>
                  <a:lnTo>
                    <a:pt x="978" y="150"/>
                  </a:lnTo>
                  <a:lnTo>
                    <a:pt x="978" y="144"/>
                  </a:lnTo>
                  <a:lnTo>
                    <a:pt x="984" y="144"/>
                  </a:lnTo>
                  <a:lnTo>
                    <a:pt x="990" y="138"/>
                  </a:lnTo>
                  <a:lnTo>
                    <a:pt x="996" y="138"/>
                  </a:lnTo>
                  <a:lnTo>
                    <a:pt x="1002" y="138"/>
                  </a:lnTo>
                  <a:lnTo>
                    <a:pt x="1008" y="138"/>
                  </a:lnTo>
                  <a:lnTo>
                    <a:pt x="1026" y="132"/>
                  </a:lnTo>
                  <a:lnTo>
                    <a:pt x="1044" y="126"/>
                  </a:lnTo>
                  <a:lnTo>
                    <a:pt x="1056" y="120"/>
                  </a:lnTo>
                  <a:lnTo>
                    <a:pt x="1062" y="108"/>
                  </a:lnTo>
                  <a:lnTo>
                    <a:pt x="1056" y="102"/>
                  </a:lnTo>
                  <a:lnTo>
                    <a:pt x="1062" y="96"/>
                  </a:lnTo>
                  <a:lnTo>
                    <a:pt x="1074" y="90"/>
                  </a:lnTo>
                  <a:lnTo>
                    <a:pt x="1080" y="84"/>
                  </a:lnTo>
                  <a:lnTo>
                    <a:pt x="1128" y="84"/>
                  </a:lnTo>
                  <a:lnTo>
                    <a:pt x="1134" y="84"/>
                  </a:lnTo>
                  <a:lnTo>
                    <a:pt x="1140" y="78"/>
                  </a:lnTo>
                  <a:lnTo>
                    <a:pt x="1152" y="72"/>
                  </a:lnTo>
                  <a:lnTo>
                    <a:pt x="1164" y="66"/>
                  </a:lnTo>
                  <a:lnTo>
                    <a:pt x="1170" y="60"/>
                  </a:lnTo>
                  <a:lnTo>
                    <a:pt x="1188" y="48"/>
                  </a:lnTo>
                  <a:lnTo>
                    <a:pt x="1200" y="36"/>
                  </a:lnTo>
                  <a:lnTo>
                    <a:pt x="1218" y="24"/>
                  </a:lnTo>
                  <a:lnTo>
                    <a:pt x="1248" y="24"/>
                  </a:lnTo>
                  <a:lnTo>
                    <a:pt x="1272" y="24"/>
                  </a:lnTo>
                  <a:lnTo>
                    <a:pt x="1284" y="12"/>
                  </a:lnTo>
                  <a:lnTo>
                    <a:pt x="1302" y="0"/>
                  </a:lnTo>
                  <a:lnTo>
                    <a:pt x="1314" y="0"/>
                  </a:lnTo>
                  <a:lnTo>
                    <a:pt x="1326" y="18"/>
                  </a:lnTo>
                  <a:lnTo>
                    <a:pt x="1338" y="30"/>
                  </a:lnTo>
                  <a:lnTo>
                    <a:pt x="1338" y="54"/>
                  </a:lnTo>
                  <a:lnTo>
                    <a:pt x="1332" y="72"/>
                  </a:lnTo>
                  <a:lnTo>
                    <a:pt x="1326" y="72"/>
                  </a:lnTo>
                  <a:lnTo>
                    <a:pt x="1326" y="78"/>
                  </a:lnTo>
                  <a:lnTo>
                    <a:pt x="1326" y="102"/>
                  </a:lnTo>
                  <a:lnTo>
                    <a:pt x="1332" y="102"/>
                  </a:lnTo>
                  <a:lnTo>
                    <a:pt x="1332" y="108"/>
                  </a:lnTo>
                  <a:lnTo>
                    <a:pt x="1344" y="114"/>
                  </a:lnTo>
                  <a:lnTo>
                    <a:pt x="1350" y="114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404" y="132"/>
                  </a:lnTo>
                  <a:lnTo>
                    <a:pt x="1404" y="138"/>
                  </a:lnTo>
                  <a:lnTo>
                    <a:pt x="1410" y="150"/>
                  </a:lnTo>
                  <a:lnTo>
                    <a:pt x="1416" y="162"/>
                  </a:lnTo>
                  <a:lnTo>
                    <a:pt x="1428" y="168"/>
                  </a:lnTo>
                  <a:lnTo>
                    <a:pt x="1440" y="180"/>
                  </a:lnTo>
                  <a:lnTo>
                    <a:pt x="1476" y="174"/>
                  </a:lnTo>
                  <a:lnTo>
                    <a:pt x="1494" y="174"/>
                  </a:lnTo>
                  <a:lnTo>
                    <a:pt x="1512" y="192"/>
                  </a:lnTo>
                  <a:lnTo>
                    <a:pt x="1518" y="204"/>
                  </a:lnTo>
                  <a:lnTo>
                    <a:pt x="1530" y="216"/>
                  </a:lnTo>
                  <a:lnTo>
                    <a:pt x="1548" y="228"/>
                  </a:lnTo>
                  <a:lnTo>
                    <a:pt x="1548" y="234"/>
                  </a:lnTo>
                  <a:lnTo>
                    <a:pt x="1542" y="246"/>
                  </a:lnTo>
                  <a:lnTo>
                    <a:pt x="1560" y="246"/>
                  </a:lnTo>
                  <a:lnTo>
                    <a:pt x="1560" y="252"/>
                  </a:lnTo>
                  <a:lnTo>
                    <a:pt x="1566" y="258"/>
                  </a:lnTo>
                  <a:lnTo>
                    <a:pt x="1578" y="270"/>
                  </a:lnTo>
                  <a:lnTo>
                    <a:pt x="1596" y="270"/>
                  </a:lnTo>
                  <a:lnTo>
                    <a:pt x="1602" y="288"/>
                  </a:lnTo>
                  <a:lnTo>
                    <a:pt x="1608" y="306"/>
                  </a:lnTo>
                  <a:lnTo>
                    <a:pt x="1608" y="318"/>
                  </a:lnTo>
                  <a:lnTo>
                    <a:pt x="1608" y="324"/>
                  </a:lnTo>
                  <a:lnTo>
                    <a:pt x="1614" y="330"/>
                  </a:lnTo>
                  <a:lnTo>
                    <a:pt x="1614" y="336"/>
                  </a:lnTo>
                  <a:lnTo>
                    <a:pt x="1614" y="342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08" y="390"/>
                  </a:lnTo>
                  <a:lnTo>
                    <a:pt x="1602" y="390"/>
                  </a:lnTo>
                  <a:lnTo>
                    <a:pt x="1602" y="396"/>
                  </a:lnTo>
                  <a:lnTo>
                    <a:pt x="1584" y="420"/>
                  </a:lnTo>
                  <a:lnTo>
                    <a:pt x="1584" y="426"/>
                  </a:lnTo>
                  <a:lnTo>
                    <a:pt x="1602" y="474"/>
                  </a:lnTo>
                  <a:lnTo>
                    <a:pt x="1608" y="480"/>
                  </a:lnTo>
                  <a:lnTo>
                    <a:pt x="1608" y="486"/>
                  </a:lnTo>
                  <a:lnTo>
                    <a:pt x="1614" y="486"/>
                  </a:lnTo>
                  <a:lnTo>
                    <a:pt x="1608" y="504"/>
                  </a:lnTo>
                  <a:lnTo>
                    <a:pt x="1572" y="504"/>
                  </a:lnTo>
                  <a:lnTo>
                    <a:pt x="1560" y="510"/>
                  </a:lnTo>
                  <a:lnTo>
                    <a:pt x="1554" y="522"/>
                  </a:lnTo>
                  <a:lnTo>
                    <a:pt x="1560" y="552"/>
                  </a:lnTo>
                  <a:lnTo>
                    <a:pt x="1566" y="552"/>
                  </a:lnTo>
                  <a:lnTo>
                    <a:pt x="1566" y="558"/>
                  </a:lnTo>
                  <a:lnTo>
                    <a:pt x="1572" y="558"/>
                  </a:lnTo>
                  <a:lnTo>
                    <a:pt x="1578" y="558"/>
                  </a:lnTo>
                  <a:lnTo>
                    <a:pt x="1578" y="552"/>
                  </a:lnTo>
                  <a:lnTo>
                    <a:pt x="1584" y="552"/>
                  </a:lnTo>
                  <a:lnTo>
                    <a:pt x="1590" y="552"/>
                  </a:lnTo>
                  <a:lnTo>
                    <a:pt x="1590" y="546"/>
                  </a:lnTo>
                  <a:lnTo>
                    <a:pt x="1596" y="546"/>
                  </a:lnTo>
                  <a:lnTo>
                    <a:pt x="1602" y="552"/>
                  </a:lnTo>
                  <a:lnTo>
                    <a:pt x="1602" y="546"/>
                  </a:lnTo>
                  <a:lnTo>
                    <a:pt x="1608" y="546"/>
                  </a:lnTo>
                  <a:lnTo>
                    <a:pt x="1608" y="552"/>
                  </a:lnTo>
                  <a:lnTo>
                    <a:pt x="1614" y="552"/>
                  </a:lnTo>
                  <a:lnTo>
                    <a:pt x="1614" y="546"/>
                  </a:lnTo>
                  <a:lnTo>
                    <a:pt x="1620" y="552"/>
                  </a:lnTo>
                  <a:lnTo>
                    <a:pt x="1626" y="552"/>
                  </a:lnTo>
                  <a:lnTo>
                    <a:pt x="1626" y="558"/>
                  </a:lnTo>
                  <a:lnTo>
                    <a:pt x="1632" y="558"/>
                  </a:lnTo>
                  <a:lnTo>
                    <a:pt x="1638" y="558"/>
                  </a:lnTo>
                  <a:lnTo>
                    <a:pt x="1644" y="558"/>
                  </a:lnTo>
                  <a:lnTo>
                    <a:pt x="1650" y="558"/>
                  </a:lnTo>
                  <a:lnTo>
                    <a:pt x="1650" y="564"/>
                  </a:lnTo>
                  <a:lnTo>
                    <a:pt x="1656" y="564"/>
                  </a:lnTo>
                  <a:lnTo>
                    <a:pt x="1662" y="564"/>
                  </a:lnTo>
                  <a:lnTo>
                    <a:pt x="1668" y="564"/>
                  </a:lnTo>
                  <a:lnTo>
                    <a:pt x="1668" y="570"/>
                  </a:lnTo>
                  <a:lnTo>
                    <a:pt x="1674" y="570"/>
                  </a:lnTo>
                  <a:lnTo>
                    <a:pt x="1680" y="570"/>
                  </a:lnTo>
                  <a:lnTo>
                    <a:pt x="1686" y="576"/>
                  </a:lnTo>
                  <a:lnTo>
                    <a:pt x="1686" y="582"/>
                  </a:lnTo>
                  <a:lnTo>
                    <a:pt x="1710" y="588"/>
                  </a:lnTo>
                  <a:lnTo>
                    <a:pt x="1710" y="594"/>
                  </a:lnTo>
                  <a:lnTo>
                    <a:pt x="1704" y="600"/>
                  </a:lnTo>
                  <a:lnTo>
                    <a:pt x="1710" y="624"/>
                  </a:lnTo>
                  <a:lnTo>
                    <a:pt x="1698" y="672"/>
                  </a:lnTo>
                  <a:lnTo>
                    <a:pt x="1704" y="678"/>
                  </a:lnTo>
                  <a:lnTo>
                    <a:pt x="1716" y="684"/>
                  </a:lnTo>
                  <a:lnTo>
                    <a:pt x="1716" y="678"/>
                  </a:lnTo>
                  <a:lnTo>
                    <a:pt x="1716" y="684"/>
                  </a:lnTo>
                  <a:lnTo>
                    <a:pt x="1728" y="684"/>
                  </a:lnTo>
                  <a:lnTo>
                    <a:pt x="1728" y="690"/>
                  </a:lnTo>
                  <a:lnTo>
                    <a:pt x="1734" y="696"/>
                  </a:lnTo>
                  <a:lnTo>
                    <a:pt x="1734" y="702"/>
                  </a:lnTo>
                  <a:lnTo>
                    <a:pt x="1740" y="708"/>
                  </a:lnTo>
                  <a:lnTo>
                    <a:pt x="1740" y="714"/>
                  </a:lnTo>
                  <a:lnTo>
                    <a:pt x="1710" y="714"/>
                  </a:lnTo>
                  <a:lnTo>
                    <a:pt x="1710" y="756"/>
                  </a:lnTo>
                  <a:lnTo>
                    <a:pt x="1704" y="762"/>
                  </a:lnTo>
                  <a:lnTo>
                    <a:pt x="1698" y="762"/>
                  </a:lnTo>
                  <a:lnTo>
                    <a:pt x="1698" y="768"/>
                  </a:lnTo>
                  <a:lnTo>
                    <a:pt x="1698" y="774"/>
                  </a:lnTo>
                  <a:lnTo>
                    <a:pt x="1692" y="780"/>
                  </a:lnTo>
                  <a:lnTo>
                    <a:pt x="1692" y="786"/>
                  </a:lnTo>
                  <a:lnTo>
                    <a:pt x="1686" y="786"/>
                  </a:lnTo>
                  <a:lnTo>
                    <a:pt x="1668" y="798"/>
                  </a:lnTo>
                  <a:lnTo>
                    <a:pt x="1662" y="810"/>
                  </a:lnTo>
                  <a:lnTo>
                    <a:pt x="1650" y="810"/>
                  </a:lnTo>
                  <a:lnTo>
                    <a:pt x="1644" y="816"/>
                  </a:lnTo>
                  <a:lnTo>
                    <a:pt x="1638" y="816"/>
                  </a:lnTo>
                  <a:lnTo>
                    <a:pt x="1626" y="852"/>
                  </a:lnTo>
                  <a:lnTo>
                    <a:pt x="1620" y="888"/>
                  </a:lnTo>
                  <a:lnTo>
                    <a:pt x="1626" y="888"/>
                  </a:lnTo>
                  <a:lnTo>
                    <a:pt x="1638" y="912"/>
                  </a:lnTo>
                  <a:lnTo>
                    <a:pt x="1644" y="918"/>
                  </a:lnTo>
                  <a:lnTo>
                    <a:pt x="1650" y="966"/>
                  </a:lnTo>
                  <a:lnTo>
                    <a:pt x="1626" y="972"/>
                  </a:lnTo>
                  <a:lnTo>
                    <a:pt x="1608" y="978"/>
                  </a:lnTo>
                  <a:lnTo>
                    <a:pt x="1614" y="984"/>
                  </a:lnTo>
                  <a:lnTo>
                    <a:pt x="1620" y="984"/>
                  </a:lnTo>
                  <a:lnTo>
                    <a:pt x="1620" y="1020"/>
                  </a:lnTo>
                  <a:lnTo>
                    <a:pt x="1614" y="1038"/>
                  </a:lnTo>
                  <a:lnTo>
                    <a:pt x="1620" y="1044"/>
                  </a:lnTo>
                  <a:lnTo>
                    <a:pt x="1626" y="1056"/>
                  </a:lnTo>
                  <a:lnTo>
                    <a:pt x="1626" y="1074"/>
                  </a:lnTo>
                  <a:lnTo>
                    <a:pt x="1620" y="1080"/>
                  </a:lnTo>
                  <a:lnTo>
                    <a:pt x="1620" y="1104"/>
                  </a:lnTo>
                  <a:lnTo>
                    <a:pt x="1620" y="1110"/>
                  </a:lnTo>
                  <a:lnTo>
                    <a:pt x="1614" y="1116"/>
                  </a:lnTo>
                  <a:lnTo>
                    <a:pt x="1608" y="1140"/>
                  </a:lnTo>
                  <a:lnTo>
                    <a:pt x="1602" y="1146"/>
                  </a:lnTo>
                  <a:lnTo>
                    <a:pt x="1602" y="1164"/>
                  </a:lnTo>
                  <a:lnTo>
                    <a:pt x="1596" y="1170"/>
                  </a:lnTo>
                  <a:lnTo>
                    <a:pt x="1590" y="1164"/>
                  </a:lnTo>
                  <a:lnTo>
                    <a:pt x="1584" y="1164"/>
                  </a:lnTo>
                  <a:lnTo>
                    <a:pt x="1578" y="1164"/>
                  </a:lnTo>
                  <a:lnTo>
                    <a:pt x="1578" y="1188"/>
                  </a:lnTo>
                  <a:lnTo>
                    <a:pt x="1584" y="1194"/>
                  </a:lnTo>
                  <a:lnTo>
                    <a:pt x="1590" y="1194"/>
                  </a:lnTo>
                  <a:lnTo>
                    <a:pt x="1590" y="1212"/>
                  </a:lnTo>
                  <a:lnTo>
                    <a:pt x="1584" y="1212"/>
                  </a:lnTo>
                  <a:lnTo>
                    <a:pt x="1584" y="1224"/>
                  </a:lnTo>
                  <a:lnTo>
                    <a:pt x="1578" y="1224"/>
                  </a:lnTo>
                  <a:lnTo>
                    <a:pt x="1578" y="1236"/>
                  </a:lnTo>
                  <a:lnTo>
                    <a:pt x="1584" y="1254"/>
                  </a:lnTo>
                  <a:lnTo>
                    <a:pt x="1584" y="1260"/>
                  </a:lnTo>
                  <a:lnTo>
                    <a:pt x="1590" y="1260"/>
                  </a:lnTo>
                  <a:lnTo>
                    <a:pt x="1590" y="1266"/>
                  </a:lnTo>
                  <a:lnTo>
                    <a:pt x="1596" y="1284"/>
                  </a:lnTo>
                  <a:lnTo>
                    <a:pt x="1602" y="1278"/>
                  </a:lnTo>
                  <a:lnTo>
                    <a:pt x="1608" y="1284"/>
                  </a:lnTo>
                  <a:lnTo>
                    <a:pt x="1632" y="1350"/>
                  </a:lnTo>
                  <a:lnTo>
                    <a:pt x="1638" y="1356"/>
                  </a:lnTo>
                  <a:lnTo>
                    <a:pt x="1644" y="1356"/>
                  </a:lnTo>
                  <a:lnTo>
                    <a:pt x="1650" y="1356"/>
                  </a:lnTo>
                  <a:lnTo>
                    <a:pt x="1656" y="1356"/>
                  </a:lnTo>
                  <a:lnTo>
                    <a:pt x="1662" y="1362"/>
                  </a:lnTo>
                  <a:lnTo>
                    <a:pt x="1668" y="1356"/>
                  </a:lnTo>
                  <a:lnTo>
                    <a:pt x="1668" y="1380"/>
                  </a:lnTo>
                  <a:lnTo>
                    <a:pt x="1662" y="1392"/>
                  </a:lnTo>
                  <a:lnTo>
                    <a:pt x="1656" y="1404"/>
                  </a:lnTo>
                  <a:lnTo>
                    <a:pt x="1656" y="1410"/>
                  </a:lnTo>
                  <a:lnTo>
                    <a:pt x="1656" y="1416"/>
                  </a:lnTo>
                  <a:lnTo>
                    <a:pt x="1650" y="1422"/>
                  </a:lnTo>
                  <a:lnTo>
                    <a:pt x="1650" y="1428"/>
                  </a:lnTo>
                  <a:lnTo>
                    <a:pt x="1644" y="1428"/>
                  </a:lnTo>
                  <a:lnTo>
                    <a:pt x="1644" y="1434"/>
                  </a:lnTo>
                  <a:lnTo>
                    <a:pt x="1638" y="1434"/>
                  </a:lnTo>
                  <a:lnTo>
                    <a:pt x="1638" y="1440"/>
                  </a:lnTo>
                  <a:lnTo>
                    <a:pt x="1632" y="1440"/>
                  </a:lnTo>
                  <a:lnTo>
                    <a:pt x="1638" y="145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8" name="Freeform 13">
              <a:extLst>
                <a:ext uri="{FF2B5EF4-FFF2-40B4-BE49-F238E27FC236}">
                  <a16:creationId xmlns:a16="http://schemas.microsoft.com/office/drawing/2014/main" id="{66308D9B-1739-4227-AAC3-BB866CD1F5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63374" y="2969626"/>
              <a:ext cx="330956" cy="357840"/>
            </a:xfrm>
            <a:custGeom>
              <a:avLst/>
              <a:gdLst>
                <a:gd name="T0" fmla="*/ 11 w 624"/>
                <a:gd name="T1" fmla="*/ 59 h 672"/>
                <a:gd name="T2" fmla="*/ 4 w 624"/>
                <a:gd name="T3" fmla="*/ 58 h 672"/>
                <a:gd name="T4" fmla="*/ 3 w 624"/>
                <a:gd name="T5" fmla="*/ 58 h 672"/>
                <a:gd name="T6" fmla="*/ 2 w 624"/>
                <a:gd name="T7" fmla="*/ 11 h 672"/>
                <a:gd name="T8" fmla="*/ 13 w 624"/>
                <a:gd name="T9" fmla="*/ 11 h 672"/>
                <a:gd name="T10" fmla="*/ 14 w 624"/>
                <a:gd name="T11" fmla="*/ 11 h 672"/>
                <a:gd name="T12" fmla="*/ 15 w 624"/>
                <a:gd name="T13" fmla="*/ 12 h 672"/>
                <a:gd name="T14" fmla="*/ 18 w 624"/>
                <a:gd name="T15" fmla="*/ 14 h 672"/>
                <a:gd name="T16" fmla="*/ 21 w 624"/>
                <a:gd name="T17" fmla="*/ 16 h 672"/>
                <a:gd name="T18" fmla="*/ 22 w 624"/>
                <a:gd name="T19" fmla="*/ 18 h 672"/>
                <a:gd name="T20" fmla="*/ 23 w 624"/>
                <a:gd name="T21" fmla="*/ 19 h 672"/>
                <a:gd name="T22" fmla="*/ 24 w 624"/>
                <a:gd name="T23" fmla="*/ 19 h 672"/>
                <a:gd name="T24" fmla="*/ 26 w 624"/>
                <a:gd name="T25" fmla="*/ 19 h 672"/>
                <a:gd name="T26" fmla="*/ 27 w 624"/>
                <a:gd name="T27" fmla="*/ 18 h 672"/>
                <a:gd name="T28" fmla="*/ 29 w 624"/>
                <a:gd name="T29" fmla="*/ 15 h 672"/>
                <a:gd name="T30" fmla="*/ 30 w 624"/>
                <a:gd name="T31" fmla="*/ 14 h 672"/>
                <a:gd name="T32" fmla="*/ 31 w 624"/>
                <a:gd name="T33" fmla="*/ 12 h 672"/>
                <a:gd name="T34" fmla="*/ 32 w 624"/>
                <a:gd name="T35" fmla="*/ 12 h 672"/>
                <a:gd name="T36" fmla="*/ 33 w 624"/>
                <a:gd name="T37" fmla="*/ 10 h 672"/>
                <a:gd name="T38" fmla="*/ 34 w 624"/>
                <a:gd name="T39" fmla="*/ 8 h 672"/>
                <a:gd name="T40" fmla="*/ 34 w 624"/>
                <a:gd name="T41" fmla="*/ 6 h 672"/>
                <a:gd name="T42" fmla="*/ 35 w 624"/>
                <a:gd name="T43" fmla="*/ 4 h 672"/>
                <a:gd name="T44" fmla="*/ 42 w 624"/>
                <a:gd name="T45" fmla="*/ 3 h 672"/>
                <a:gd name="T46" fmla="*/ 44 w 624"/>
                <a:gd name="T47" fmla="*/ 2 h 672"/>
                <a:gd name="T48" fmla="*/ 46 w 624"/>
                <a:gd name="T49" fmla="*/ 0 h 672"/>
                <a:gd name="T50" fmla="*/ 51 w 624"/>
                <a:gd name="T51" fmla="*/ 3 h 672"/>
                <a:gd name="T52" fmla="*/ 54 w 624"/>
                <a:gd name="T53" fmla="*/ 6 h 672"/>
                <a:gd name="T54" fmla="*/ 54 w 624"/>
                <a:gd name="T55" fmla="*/ 8 h 672"/>
                <a:gd name="T56" fmla="*/ 52 w 624"/>
                <a:gd name="T57" fmla="*/ 9 h 672"/>
                <a:gd name="T58" fmla="*/ 49 w 624"/>
                <a:gd name="T59" fmla="*/ 11 h 672"/>
                <a:gd name="T60" fmla="*/ 48 w 624"/>
                <a:gd name="T61" fmla="*/ 14 h 672"/>
                <a:gd name="T62" fmla="*/ 46 w 624"/>
                <a:gd name="T63" fmla="*/ 22 h 672"/>
                <a:gd name="T64" fmla="*/ 45 w 624"/>
                <a:gd name="T65" fmla="*/ 39 h 672"/>
                <a:gd name="T66" fmla="*/ 43 w 624"/>
                <a:gd name="T67" fmla="*/ 43 h 672"/>
                <a:gd name="T68" fmla="*/ 39 w 624"/>
                <a:gd name="T69" fmla="*/ 50 h 672"/>
                <a:gd name="T70" fmla="*/ 36 w 624"/>
                <a:gd name="T71" fmla="*/ 53 h 672"/>
                <a:gd name="T72" fmla="*/ 32 w 624"/>
                <a:gd name="T73" fmla="*/ 56 h 672"/>
                <a:gd name="T74" fmla="*/ 30 w 624"/>
                <a:gd name="T75" fmla="*/ 58 h 672"/>
                <a:gd name="T76" fmla="*/ 20 w 624"/>
                <a:gd name="T77" fmla="*/ 59 h 672"/>
                <a:gd name="T78" fmla="*/ 15 w 624"/>
                <a:gd name="T79" fmla="*/ 59 h 67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24"/>
                <a:gd name="T121" fmla="*/ 0 h 672"/>
                <a:gd name="T122" fmla="*/ 624 w 624"/>
                <a:gd name="T123" fmla="*/ 672 h 67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24" h="672">
                  <a:moveTo>
                    <a:pt x="168" y="672"/>
                  </a:moveTo>
                  <a:lnTo>
                    <a:pt x="132" y="672"/>
                  </a:lnTo>
                  <a:lnTo>
                    <a:pt x="72" y="666"/>
                  </a:lnTo>
                  <a:lnTo>
                    <a:pt x="42" y="666"/>
                  </a:lnTo>
                  <a:lnTo>
                    <a:pt x="36" y="666"/>
                  </a:lnTo>
                  <a:lnTo>
                    <a:pt x="30" y="660"/>
                  </a:lnTo>
                  <a:lnTo>
                    <a:pt x="0" y="660"/>
                  </a:lnTo>
                  <a:lnTo>
                    <a:pt x="24" y="120"/>
                  </a:lnTo>
                  <a:lnTo>
                    <a:pt x="60" y="120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62" y="120"/>
                  </a:lnTo>
                  <a:lnTo>
                    <a:pt x="168" y="120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10" y="156"/>
                  </a:lnTo>
                  <a:lnTo>
                    <a:pt x="222" y="174"/>
                  </a:lnTo>
                  <a:lnTo>
                    <a:pt x="240" y="186"/>
                  </a:lnTo>
                  <a:lnTo>
                    <a:pt x="252" y="198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216"/>
                  </a:lnTo>
                  <a:lnTo>
                    <a:pt x="270" y="216"/>
                  </a:lnTo>
                  <a:lnTo>
                    <a:pt x="282" y="222"/>
                  </a:lnTo>
                  <a:lnTo>
                    <a:pt x="288" y="222"/>
                  </a:lnTo>
                  <a:lnTo>
                    <a:pt x="294" y="216"/>
                  </a:lnTo>
                  <a:lnTo>
                    <a:pt x="294" y="210"/>
                  </a:lnTo>
                  <a:lnTo>
                    <a:pt x="312" y="204"/>
                  </a:lnTo>
                  <a:lnTo>
                    <a:pt x="330" y="186"/>
                  </a:lnTo>
                  <a:lnTo>
                    <a:pt x="336" y="174"/>
                  </a:lnTo>
                  <a:lnTo>
                    <a:pt x="342" y="162"/>
                  </a:lnTo>
                  <a:lnTo>
                    <a:pt x="342" y="156"/>
                  </a:lnTo>
                  <a:lnTo>
                    <a:pt x="348" y="150"/>
                  </a:lnTo>
                  <a:lnTo>
                    <a:pt x="354" y="144"/>
                  </a:lnTo>
                  <a:lnTo>
                    <a:pt x="360" y="138"/>
                  </a:lnTo>
                  <a:lnTo>
                    <a:pt x="366" y="132"/>
                  </a:lnTo>
                  <a:lnTo>
                    <a:pt x="372" y="114"/>
                  </a:lnTo>
                  <a:lnTo>
                    <a:pt x="378" y="114"/>
                  </a:lnTo>
                  <a:lnTo>
                    <a:pt x="378" y="96"/>
                  </a:lnTo>
                  <a:lnTo>
                    <a:pt x="390" y="96"/>
                  </a:lnTo>
                  <a:lnTo>
                    <a:pt x="396" y="84"/>
                  </a:lnTo>
                  <a:lnTo>
                    <a:pt x="396" y="72"/>
                  </a:lnTo>
                  <a:lnTo>
                    <a:pt x="396" y="54"/>
                  </a:lnTo>
                  <a:lnTo>
                    <a:pt x="408" y="42"/>
                  </a:lnTo>
                  <a:lnTo>
                    <a:pt x="468" y="42"/>
                  </a:lnTo>
                  <a:lnTo>
                    <a:pt x="486" y="36"/>
                  </a:lnTo>
                  <a:lnTo>
                    <a:pt x="492" y="24"/>
                  </a:lnTo>
                  <a:lnTo>
                    <a:pt x="504" y="24"/>
                  </a:lnTo>
                  <a:lnTo>
                    <a:pt x="516" y="6"/>
                  </a:lnTo>
                  <a:lnTo>
                    <a:pt x="528" y="0"/>
                  </a:lnTo>
                  <a:lnTo>
                    <a:pt x="558" y="12"/>
                  </a:lnTo>
                  <a:lnTo>
                    <a:pt x="588" y="36"/>
                  </a:lnTo>
                  <a:lnTo>
                    <a:pt x="600" y="66"/>
                  </a:lnTo>
                  <a:lnTo>
                    <a:pt x="624" y="66"/>
                  </a:lnTo>
                  <a:lnTo>
                    <a:pt x="624" y="90"/>
                  </a:lnTo>
                  <a:lnTo>
                    <a:pt x="618" y="90"/>
                  </a:lnTo>
                  <a:lnTo>
                    <a:pt x="618" y="96"/>
                  </a:lnTo>
                  <a:lnTo>
                    <a:pt x="600" y="102"/>
                  </a:lnTo>
                  <a:lnTo>
                    <a:pt x="588" y="108"/>
                  </a:lnTo>
                  <a:lnTo>
                    <a:pt x="570" y="120"/>
                  </a:lnTo>
                  <a:lnTo>
                    <a:pt x="564" y="138"/>
                  </a:lnTo>
                  <a:lnTo>
                    <a:pt x="558" y="162"/>
                  </a:lnTo>
                  <a:lnTo>
                    <a:pt x="540" y="210"/>
                  </a:lnTo>
                  <a:lnTo>
                    <a:pt x="528" y="252"/>
                  </a:lnTo>
                  <a:lnTo>
                    <a:pt x="528" y="402"/>
                  </a:lnTo>
                  <a:lnTo>
                    <a:pt x="522" y="444"/>
                  </a:lnTo>
                  <a:lnTo>
                    <a:pt x="510" y="468"/>
                  </a:lnTo>
                  <a:lnTo>
                    <a:pt x="498" y="498"/>
                  </a:lnTo>
                  <a:lnTo>
                    <a:pt x="474" y="534"/>
                  </a:lnTo>
                  <a:lnTo>
                    <a:pt x="456" y="570"/>
                  </a:lnTo>
                  <a:lnTo>
                    <a:pt x="444" y="576"/>
                  </a:lnTo>
                  <a:lnTo>
                    <a:pt x="420" y="606"/>
                  </a:lnTo>
                  <a:lnTo>
                    <a:pt x="390" y="624"/>
                  </a:lnTo>
                  <a:lnTo>
                    <a:pt x="372" y="642"/>
                  </a:lnTo>
                  <a:lnTo>
                    <a:pt x="366" y="654"/>
                  </a:lnTo>
                  <a:lnTo>
                    <a:pt x="342" y="660"/>
                  </a:lnTo>
                  <a:lnTo>
                    <a:pt x="300" y="666"/>
                  </a:lnTo>
                  <a:lnTo>
                    <a:pt x="234" y="672"/>
                  </a:lnTo>
                  <a:lnTo>
                    <a:pt x="192" y="672"/>
                  </a:lnTo>
                  <a:lnTo>
                    <a:pt x="168" y="67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9" name="Freeform 14">
              <a:extLst>
                <a:ext uri="{FF2B5EF4-FFF2-40B4-BE49-F238E27FC236}">
                  <a16:creationId xmlns:a16="http://schemas.microsoft.com/office/drawing/2014/main" id="{2EA1E999-9CDF-4391-8BC9-7DE71AF9C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0460" y="2983045"/>
              <a:ext cx="905658" cy="561362"/>
            </a:xfrm>
            <a:custGeom>
              <a:avLst/>
              <a:gdLst>
                <a:gd name="T0" fmla="*/ 31 w 1704"/>
                <a:gd name="T1" fmla="*/ 78 h 1056"/>
                <a:gd name="T2" fmla="*/ 23 w 1704"/>
                <a:gd name="T3" fmla="*/ 78 h 1056"/>
                <a:gd name="T4" fmla="*/ 11 w 1704"/>
                <a:gd name="T5" fmla="*/ 79 h 1056"/>
                <a:gd name="T6" fmla="*/ 1 w 1704"/>
                <a:gd name="T7" fmla="*/ 81 h 1056"/>
                <a:gd name="T8" fmla="*/ 0 w 1704"/>
                <a:gd name="T9" fmla="*/ 62 h 1056"/>
                <a:gd name="T10" fmla="*/ 9 w 1704"/>
                <a:gd name="T11" fmla="*/ 56 h 1056"/>
                <a:gd name="T12" fmla="*/ 27 w 1704"/>
                <a:gd name="T13" fmla="*/ 48 h 1056"/>
                <a:gd name="T14" fmla="*/ 35 w 1704"/>
                <a:gd name="T15" fmla="*/ 20 h 1056"/>
                <a:gd name="T16" fmla="*/ 43 w 1704"/>
                <a:gd name="T17" fmla="*/ 6 h 1056"/>
                <a:gd name="T18" fmla="*/ 47 w 1704"/>
                <a:gd name="T19" fmla="*/ 7 h 1056"/>
                <a:gd name="T20" fmla="*/ 52 w 1704"/>
                <a:gd name="T21" fmla="*/ 0 h 1056"/>
                <a:gd name="T22" fmla="*/ 59 w 1704"/>
                <a:gd name="T23" fmla="*/ 5 h 1056"/>
                <a:gd name="T24" fmla="*/ 63 w 1704"/>
                <a:gd name="T25" fmla="*/ 12 h 1056"/>
                <a:gd name="T26" fmla="*/ 62 w 1704"/>
                <a:gd name="T27" fmla="*/ 15 h 1056"/>
                <a:gd name="T28" fmla="*/ 62 w 1704"/>
                <a:gd name="T29" fmla="*/ 18 h 1056"/>
                <a:gd name="T30" fmla="*/ 70 w 1704"/>
                <a:gd name="T31" fmla="*/ 18 h 1056"/>
                <a:gd name="T32" fmla="*/ 71 w 1704"/>
                <a:gd name="T33" fmla="*/ 14 h 1056"/>
                <a:gd name="T34" fmla="*/ 72 w 1704"/>
                <a:gd name="T35" fmla="*/ 12 h 1056"/>
                <a:gd name="T36" fmla="*/ 78 w 1704"/>
                <a:gd name="T37" fmla="*/ 14 h 1056"/>
                <a:gd name="T38" fmla="*/ 85 w 1704"/>
                <a:gd name="T39" fmla="*/ 21 h 1056"/>
                <a:gd name="T40" fmla="*/ 91 w 1704"/>
                <a:gd name="T41" fmla="*/ 15 h 1056"/>
                <a:gd name="T42" fmla="*/ 93 w 1704"/>
                <a:gd name="T43" fmla="*/ 10 h 1056"/>
                <a:gd name="T44" fmla="*/ 101 w 1704"/>
                <a:gd name="T45" fmla="*/ 14 h 1056"/>
                <a:gd name="T46" fmla="*/ 103 w 1704"/>
                <a:gd name="T47" fmla="*/ 19 h 1056"/>
                <a:gd name="T48" fmla="*/ 115 w 1704"/>
                <a:gd name="T49" fmla="*/ 20 h 1056"/>
                <a:gd name="T50" fmla="*/ 118 w 1704"/>
                <a:gd name="T51" fmla="*/ 23 h 1056"/>
                <a:gd name="T52" fmla="*/ 117 w 1704"/>
                <a:gd name="T53" fmla="*/ 27 h 1056"/>
                <a:gd name="T54" fmla="*/ 111 w 1704"/>
                <a:gd name="T55" fmla="*/ 33 h 1056"/>
                <a:gd name="T56" fmla="*/ 108 w 1704"/>
                <a:gd name="T57" fmla="*/ 36 h 1056"/>
                <a:gd name="T58" fmla="*/ 109 w 1704"/>
                <a:gd name="T59" fmla="*/ 40 h 1056"/>
                <a:gd name="T60" fmla="*/ 111 w 1704"/>
                <a:gd name="T61" fmla="*/ 43 h 1056"/>
                <a:gd name="T62" fmla="*/ 113 w 1704"/>
                <a:gd name="T63" fmla="*/ 50 h 1056"/>
                <a:gd name="T64" fmla="*/ 121 w 1704"/>
                <a:gd name="T65" fmla="*/ 55 h 1056"/>
                <a:gd name="T66" fmla="*/ 132 w 1704"/>
                <a:gd name="T67" fmla="*/ 52 h 1056"/>
                <a:gd name="T68" fmla="*/ 148 w 1704"/>
                <a:gd name="T69" fmla="*/ 58 h 1056"/>
                <a:gd name="T70" fmla="*/ 148 w 1704"/>
                <a:gd name="T71" fmla="*/ 61 h 1056"/>
                <a:gd name="T72" fmla="*/ 148 w 1704"/>
                <a:gd name="T73" fmla="*/ 64 h 1056"/>
                <a:gd name="T74" fmla="*/ 135 w 1704"/>
                <a:gd name="T75" fmla="*/ 61 h 1056"/>
                <a:gd name="T76" fmla="*/ 135 w 1704"/>
                <a:gd name="T77" fmla="*/ 66 h 1056"/>
                <a:gd name="T78" fmla="*/ 137 w 1704"/>
                <a:gd name="T79" fmla="*/ 71 h 1056"/>
                <a:gd name="T80" fmla="*/ 136 w 1704"/>
                <a:gd name="T81" fmla="*/ 79 h 1056"/>
                <a:gd name="T82" fmla="*/ 126 w 1704"/>
                <a:gd name="T83" fmla="*/ 84 h 1056"/>
                <a:gd name="T84" fmla="*/ 121 w 1704"/>
                <a:gd name="T85" fmla="*/ 79 h 1056"/>
                <a:gd name="T86" fmla="*/ 117 w 1704"/>
                <a:gd name="T87" fmla="*/ 75 h 1056"/>
                <a:gd name="T88" fmla="*/ 98 w 1704"/>
                <a:gd name="T89" fmla="*/ 74 h 1056"/>
                <a:gd name="T90" fmla="*/ 81 w 1704"/>
                <a:gd name="T91" fmla="*/ 75 h 1056"/>
                <a:gd name="T92" fmla="*/ 83 w 1704"/>
                <a:gd name="T93" fmla="*/ 88 h 1056"/>
                <a:gd name="T94" fmla="*/ 82 w 1704"/>
                <a:gd name="T95" fmla="*/ 91 h 1056"/>
                <a:gd name="T96" fmla="*/ 77 w 1704"/>
                <a:gd name="T97" fmla="*/ 90 h 1056"/>
                <a:gd name="T98" fmla="*/ 73 w 1704"/>
                <a:gd name="T99" fmla="*/ 86 h 1056"/>
                <a:gd name="T100" fmla="*/ 68 w 1704"/>
                <a:gd name="T101" fmla="*/ 85 h 1056"/>
                <a:gd name="T102" fmla="*/ 64 w 1704"/>
                <a:gd name="T103" fmla="*/ 83 h 1056"/>
                <a:gd name="T104" fmla="*/ 57 w 1704"/>
                <a:gd name="T105" fmla="*/ 81 h 1056"/>
                <a:gd name="T106" fmla="*/ 52 w 1704"/>
                <a:gd name="T107" fmla="*/ 80 h 1056"/>
                <a:gd name="T108" fmla="*/ 50 w 1704"/>
                <a:gd name="T109" fmla="*/ 80 h 1056"/>
                <a:gd name="T110" fmla="*/ 46 w 1704"/>
                <a:gd name="T111" fmla="*/ 79 h 1056"/>
                <a:gd name="T112" fmla="*/ 41 w 1704"/>
                <a:gd name="T113" fmla="*/ 78 h 10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04"/>
                <a:gd name="T172" fmla="*/ 0 h 1056"/>
                <a:gd name="T173" fmla="*/ 1704 w 1704"/>
                <a:gd name="T174" fmla="*/ 1056 h 10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04" h="1056">
                  <a:moveTo>
                    <a:pt x="450" y="888"/>
                  </a:moveTo>
                  <a:lnTo>
                    <a:pt x="420" y="888"/>
                  </a:lnTo>
                  <a:lnTo>
                    <a:pt x="414" y="888"/>
                  </a:lnTo>
                  <a:lnTo>
                    <a:pt x="396" y="888"/>
                  </a:lnTo>
                  <a:lnTo>
                    <a:pt x="372" y="888"/>
                  </a:lnTo>
                  <a:lnTo>
                    <a:pt x="366" y="888"/>
                  </a:lnTo>
                  <a:lnTo>
                    <a:pt x="360" y="888"/>
                  </a:lnTo>
                  <a:lnTo>
                    <a:pt x="348" y="888"/>
                  </a:lnTo>
                  <a:lnTo>
                    <a:pt x="330" y="894"/>
                  </a:lnTo>
                  <a:lnTo>
                    <a:pt x="324" y="894"/>
                  </a:lnTo>
                  <a:lnTo>
                    <a:pt x="312" y="888"/>
                  </a:lnTo>
                  <a:lnTo>
                    <a:pt x="300" y="888"/>
                  </a:lnTo>
                  <a:lnTo>
                    <a:pt x="282" y="888"/>
                  </a:lnTo>
                  <a:lnTo>
                    <a:pt x="270" y="888"/>
                  </a:lnTo>
                  <a:lnTo>
                    <a:pt x="240" y="882"/>
                  </a:lnTo>
                  <a:lnTo>
                    <a:pt x="222" y="882"/>
                  </a:lnTo>
                  <a:lnTo>
                    <a:pt x="198" y="882"/>
                  </a:lnTo>
                  <a:lnTo>
                    <a:pt x="174" y="894"/>
                  </a:lnTo>
                  <a:lnTo>
                    <a:pt x="162" y="900"/>
                  </a:lnTo>
                  <a:lnTo>
                    <a:pt x="144" y="906"/>
                  </a:lnTo>
                  <a:lnTo>
                    <a:pt x="126" y="912"/>
                  </a:lnTo>
                  <a:lnTo>
                    <a:pt x="102" y="924"/>
                  </a:lnTo>
                  <a:lnTo>
                    <a:pt x="78" y="930"/>
                  </a:lnTo>
                  <a:lnTo>
                    <a:pt x="72" y="936"/>
                  </a:lnTo>
                  <a:lnTo>
                    <a:pt x="30" y="954"/>
                  </a:lnTo>
                  <a:lnTo>
                    <a:pt x="12" y="966"/>
                  </a:lnTo>
                  <a:lnTo>
                    <a:pt x="12" y="954"/>
                  </a:lnTo>
                  <a:lnTo>
                    <a:pt x="12" y="930"/>
                  </a:lnTo>
                  <a:lnTo>
                    <a:pt x="12" y="894"/>
                  </a:lnTo>
                  <a:lnTo>
                    <a:pt x="30" y="828"/>
                  </a:lnTo>
                  <a:lnTo>
                    <a:pt x="36" y="798"/>
                  </a:lnTo>
                  <a:lnTo>
                    <a:pt x="18" y="774"/>
                  </a:lnTo>
                  <a:lnTo>
                    <a:pt x="18" y="756"/>
                  </a:lnTo>
                  <a:lnTo>
                    <a:pt x="6" y="738"/>
                  </a:lnTo>
                  <a:lnTo>
                    <a:pt x="0" y="714"/>
                  </a:lnTo>
                  <a:lnTo>
                    <a:pt x="12" y="678"/>
                  </a:lnTo>
                  <a:lnTo>
                    <a:pt x="18" y="678"/>
                  </a:lnTo>
                  <a:lnTo>
                    <a:pt x="24" y="672"/>
                  </a:lnTo>
                  <a:lnTo>
                    <a:pt x="30" y="666"/>
                  </a:lnTo>
                  <a:lnTo>
                    <a:pt x="42" y="648"/>
                  </a:lnTo>
                  <a:lnTo>
                    <a:pt x="66" y="648"/>
                  </a:lnTo>
                  <a:lnTo>
                    <a:pt x="108" y="648"/>
                  </a:lnTo>
                  <a:lnTo>
                    <a:pt x="174" y="642"/>
                  </a:lnTo>
                  <a:lnTo>
                    <a:pt x="216" y="636"/>
                  </a:lnTo>
                  <a:lnTo>
                    <a:pt x="240" y="630"/>
                  </a:lnTo>
                  <a:lnTo>
                    <a:pt x="246" y="618"/>
                  </a:lnTo>
                  <a:lnTo>
                    <a:pt x="264" y="600"/>
                  </a:lnTo>
                  <a:lnTo>
                    <a:pt x="294" y="582"/>
                  </a:lnTo>
                  <a:lnTo>
                    <a:pt x="318" y="552"/>
                  </a:lnTo>
                  <a:lnTo>
                    <a:pt x="330" y="546"/>
                  </a:lnTo>
                  <a:lnTo>
                    <a:pt x="348" y="510"/>
                  </a:lnTo>
                  <a:lnTo>
                    <a:pt x="372" y="474"/>
                  </a:lnTo>
                  <a:lnTo>
                    <a:pt x="384" y="444"/>
                  </a:lnTo>
                  <a:lnTo>
                    <a:pt x="396" y="420"/>
                  </a:lnTo>
                  <a:lnTo>
                    <a:pt x="402" y="378"/>
                  </a:lnTo>
                  <a:lnTo>
                    <a:pt x="402" y="228"/>
                  </a:lnTo>
                  <a:lnTo>
                    <a:pt x="414" y="186"/>
                  </a:lnTo>
                  <a:lnTo>
                    <a:pt x="432" y="138"/>
                  </a:lnTo>
                  <a:lnTo>
                    <a:pt x="438" y="114"/>
                  </a:lnTo>
                  <a:lnTo>
                    <a:pt x="444" y="96"/>
                  </a:lnTo>
                  <a:lnTo>
                    <a:pt x="462" y="84"/>
                  </a:lnTo>
                  <a:lnTo>
                    <a:pt x="474" y="78"/>
                  </a:lnTo>
                  <a:lnTo>
                    <a:pt x="492" y="72"/>
                  </a:lnTo>
                  <a:lnTo>
                    <a:pt x="492" y="66"/>
                  </a:lnTo>
                  <a:lnTo>
                    <a:pt x="498" y="66"/>
                  </a:lnTo>
                  <a:lnTo>
                    <a:pt x="510" y="66"/>
                  </a:lnTo>
                  <a:lnTo>
                    <a:pt x="510" y="72"/>
                  </a:lnTo>
                  <a:lnTo>
                    <a:pt x="516" y="72"/>
                  </a:lnTo>
                  <a:lnTo>
                    <a:pt x="522" y="78"/>
                  </a:lnTo>
                  <a:lnTo>
                    <a:pt x="546" y="78"/>
                  </a:lnTo>
                  <a:lnTo>
                    <a:pt x="552" y="60"/>
                  </a:lnTo>
                  <a:lnTo>
                    <a:pt x="570" y="42"/>
                  </a:lnTo>
                  <a:lnTo>
                    <a:pt x="576" y="24"/>
                  </a:lnTo>
                  <a:lnTo>
                    <a:pt x="588" y="18"/>
                  </a:lnTo>
                  <a:lnTo>
                    <a:pt x="588" y="12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624" y="0"/>
                  </a:lnTo>
                  <a:lnTo>
                    <a:pt x="636" y="6"/>
                  </a:lnTo>
                  <a:lnTo>
                    <a:pt x="648" y="24"/>
                  </a:lnTo>
                  <a:lnTo>
                    <a:pt x="654" y="48"/>
                  </a:lnTo>
                  <a:lnTo>
                    <a:pt x="672" y="60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0" y="72"/>
                  </a:lnTo>
                  <a:lnTo>
                    <a:pt x="690" y="78"/>
                  </a:lnTo>
                  <a:lnTo>
                    <a:pt x="696" y="90"/>
                  </a:lnTo>
                  <a:lnTo>
                    <a:pt x="714" y="114"/>
                  </a:lnTo>
                  <a:lnTo>
                    <a:pt x="714" y="120"/>
                  </a:lnTo>
                  <a:lnTo>
                    <a:pt x="720" y="132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20" y="150"/>
                  </a:lnTo>
                  <a:lnTo>
                    <a:pt x="714" y="150"/>
                  </a:lnTo>
                  <a:lnTo>
                    <a:pt x="714" y="156"/>
                  </a:lnTo>
                  <a:lnTo>
                    <a:pt x="714" y="162"/>
                  </a:lnTo>
                  <a:lnTo>
                    <a:pt x="708" y="162"/>
                  </a:lnTo>
                  <a:lnTo>
                    <a:pt x="708" y="168"/>
                  </a:lnTo>
                  <a:lnTo>
                    <a:pt x="702" y="168"/>
                  </a:lnTo>
                  <a:lnTo>
                    <a:pt x="702" y="174"/>
                  </a:lnTo>
                  <a:lnTo>
                    <a:pt x="702" y="180"/>
                  </a:lnTo>
                  <a:lnTo>
                    <a:pt x="708" y="180"/>
                  </a:lnTo>
                  <a:lnTo>
                    <a:pt x="708" y="186"/>
                  </a:lnTo>
                  <a:lnTo>
                    <a:pt x="708" y="192"/>
                  </a:lnTo>
                  <a:lnTo>
                    <a:pt x="714" y="204"/>
                  </a:lnTo>
                  <a:lnTo>
                    <a:pt x="726" y="216"/>
                  </a:lnTo>
                  <a:lnTo>
                    <a:pt x="738" y="216"/>
                  </a:lnTo>
                  <a:lnTo>
                    <a:pt x="768" y="222"/>
                  </a:lnTo>
                  <a:lnTo>
                    <a:pt x="780" y="216"/>
                  </a:lnTo>
                  <a:lnTo>
                    <a:pt x="792" y="204"/>
                  </a:lnTo>
                  <a:lnTo>
                    <a:pt x="798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6" y="192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6" y="174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22" y="156"/>
                  </a:lnTo>
                  <a:lnTo>
                    <a:pt x="822" y="150"/>
                  </a:lnTo>
                  <a:lnTo>
                    <a:pt x="828" y="144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8" y="138"/>
                  </a:lnTo>
                  <a:lnTo>
                    <a:pt x="834" y="132"/>
                  </a:lnTo>
                  <a:lnTo>
                    <a:pt x="840" y="132"/>
                  </a:lnTo>
                  <a:lnTo>
                    <a:pt x="864" y="126"/>
                  </a:lnTo>
                  <a:lnTo>
                    <a:pt x="906" y="144"/>
                  </a:lnTo>
                  <a:lnTo>
                    <a:pt x="906" y="150"/>
                  </a:lnTo>
                  <a:lnTo>
                    <a:pt x="906" y="156"/>
                  </a:lnTo>
                  <a:lnTo>
                    <a:pt x="900" y="162"/>
                  </a:lnTo>
                  <a:lnTo>
                    <a:pt x="924" y="168"/>
                  </a:lnTo>
                  <a:lnTo>
                    <a:pt x="942" y="192"/>
                  </a:lnTo>
                  <a:lnTo>
                    <a:pt x="972" y="210"/>
                  </a:lnTo>
                  <a:lnTo>
                    <a:pt x="972" y="216"/>
                  </a:lnTo>
                  <a:lnTo>
                    <a:pt x="972" y="228"/>
                  </a:lnTo>
                  <a:lnTo>
                    <a:pt x="978" y="234"/>
                  </a:lnTo>
                  <a:lnTo>
                    <a:pt x="978" y="246"/>
                  </a:lnTo>
                  <a:lnTo>
                    <a:pt x="984" y="252"/>
                  </a:lnTo>
                  <a:lnTo>
                    <a:pt x="1014" y="252"/>
                  </a:lnTo>
                  <a:lnTo>
                    <a:pt x="1020" y="228"/>
                  </a:lnTo>
                  <a:lnTo>
                    <a:pt x="1026" y="198"/>
                  </a:lnTo>
                  <a:lnTo>
                    <a:pt x="1050" y="186"/>
                  </a:lnTo>
                  <a:lnTo>
                    <a:pt x="1056" y="180"/>
                  </a:lnTo>
                  <a:lnTo>
                    <a:pt x="1050" y="174"/>
                  </a:lnTo>
                  <a:lnTo>
                    <a:pt x="1050" y="168"/>
                  </a:lnTo>
                  <a:lnTo>
                    <a:pt x="1050" y="162"/>
                  </a:lnTo>
                  <a:lnTo>
                    <a:pt x="1056" y="162"/>
                  </a:lnTo>
                  <a:lnTo>
                    <a:pt x="1062" y="162"/>
                  </a:lnTo>
                  <a:lnTo>
                    <a:pt x="1074" y="162"/>
                  </a:lnTo>
                  <a:lnTo>
                    <a:pt x="1074" y="144"/>
                  </a:lnTo>
                  <a:lnTo>
                    <a:pt x="1074" y="120"/>
                  </a:lnTo>
                  <a:lnTo>
                    <a:pt x="1092" y="120"/>
                  </a:lnTo>
                  <a:lnTo>
                    <a:pt x="1098" y="126"/>
                  </a:lnTo>
                  <a:lnTo>
                    <a:pt x="1134" y="132"/>
                  </a:lnTo>
                  <a:lnTo>
                    <a:pt x="1146" y="132"/>
                  </a:lnTo>
                  <a:lnTo>
                    <a:pt x="1158" y="150"/>
                  </a:lnTo>
                  <a:lnTo>
                    <a:pt x="1158" y="156"/>
                  </a:lnTo>
                  <a:lnTo>
                    <a:pt x="1158" y="162"/>
                  </a:lnTo>
                  <a:lnTo>
                    <a:pt x="1158" y="180"/>
                  </a:lnTo>
                  <a:lnTo>
                    <a:pt x="1158" y="186"/>
                  </a:lnTo>
                  <a:lnTo>
                    <a:pt x="1164" y="192"/>
                  </a:lnTo>
                  <a:lnTo>
                    <a:pt x="1176" y="198"/>
                  </a:lnTo>
                  <a:lnTo>
                    <a:pt x="1182" y="198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8"/>
                  </a:lnTo>
                  <a:lnTo>
                    <a:pt x="1188" y="234"/>
                  </a:lnTo>
                  <a:lnTo>
                    <a:pt x="1212" y="234"/>
                  </a:lnTo>
                  <a:lnTo>
                    <a:pt x="1242" y="234"/>
                  </a:lnTo>
                  <a:lnTo>
                    <a:pt x="1248" y="234"/>
                  </a:lnTo>
                  <a:lnTo>
                    <a:pt x="1278" y="240"/>
                  </a:lnTo>
                  <a:lnTo>
                    <a:pt x="1320" y="234"/>
                  </a:lnTo>
                  <a:lnTo>
                    <a:pt x="1332" y="228"/>
                  </a:lnTo>
                  <a:lnTo>
                    <a:pt x="1344" y="228"/>
                  </a:lnTo>
                  <a:lnTo>
                    <a:pt x="1350" y="234"/>
                  </a:lnTo>
                  <a:lnTo>
                    <a:pt x="1350" y="240"/>
                  </a:lnTo>
                  <a:lnTo>
                    <a:pt x="1356" y="246"/>
                  </a:lnTo>
                  <a:lnTo>
                    <a:pt x="1350" y="252"/>
                  </a:lnTo>
                  <a:lnTo>
                    <a:pt x="1356" y="264"/>
                  </a:lnTo>
                  <a:lnTo>
                    <a:pt x="1356" y="270"/>
                  </a:lnTo>
                  <a:lnTo>
                    <a:pt x="1356" y="276"/>
                  </a:lnTo>
                  <a:lnTo>
                    <a:pt x="1356" y="282"/>
                  </a:lnTo>
                  <a:lnTo>
                    <a:pt x="1356" y="288"/>
                  </a:lnTo>
                  <a:lnTo>
                    <a:pt x="1350" y="294"/>
                  </a:lnTo>
                  <a:lnTo>
                    <a:pt x="1344" y="300"/>
                  </a:lnTo>
                  <a:lnTo>
                    <a:pt x="1344" y="306"/>
                  </a:lnTo>
                  <a:lnTo>
                    <a:pt x="1338" y="312"/>
                  </a:lnTo>
                  <a:lnTo>
                    <a:pt x="1326" y="342"/>
                  </a:lnTo>
                  <a:lnTo>
                    <a:pt x="1320" y="348"/>
                  </a:lnTo>
                  <a:lnTo>
                    <a:pt x="1314" y="354"/>
                  </a:lnTo>
                  <a:lnTo>
                    <a:pt x="1290" y="354"/>
                  </a:lnTo>
                  <a:lnTo>
                    <a:pt x="1284" y="360"/>
                  </a:lnTo>
                  <a:lnTo>
                    <a:pt x="1278" y="378"/>
                  </a:lnTo>
                  <a:lnTo>
                    <a:pt x="1278" y="384"/>
                  </a:lnTo>
                  <a:lnTo>
                    <a:pt x="1272" y="390"/>
                  </a:lnTo>
                  <a:lnTo>
                    <a:pt x="1266" y="396"/>
                  </a:lnTo>
                  <a:lnTo>
                    <a:pt x="1260" y="396"/>
                  </a:lnTo>
                  <a:lnTo>
                    <a:pt x="1248" y="402"/>
                  </a:lnTo>
                  <a:lnTo>
                    <a:pt x="1242" y="408"/>
                  </a:lnTo>
                  <a:lnTo>
                    <a:pt x="1242" y="414"/>
                  </a:lnTo>
                  <a:lnTo>
                    <a:pt x="1242" y="420"/>
                  </a:lnTo>
                  <a:lnTo>
                    <a:pt x="1236" y="432"/>
                  </a:lnTo>
                  <a:lnTo>
                    <a:pt x="1242" y="432"/>
                  </a:lnTo>
                  <a:lnTo>
                    <a:pt x="1242" y="444"/>
                  </a:lnTo>
                  <a:lnTo>
                    <a:pt x="1242" y="456"/>
                  </a:lnTo>
                  <a:lnTo>
                    <a:pt x="1248" y="456"/>
                  </a:lnTo>
                  <a:lnTo>
                    <a:pt x="1254" y="462"/>
                  </a:lnTo>
                  <a:lnTo>
                    <a:pt x="1248" y="468"/>
                  </a:lnTo>
                  <a:lnTo>
                    <a:pt x="1254" y="468"/>
                  </a:lnTo>
                  <a:lnTo>
                    <a:pt x="1266" y="474"/>
                  </a:lnTo>
                  <a:lnTo>
                    <a:pt x="1266" y="480"/>
                  </a:lnTo>
                  <a:lnTo>
                    <a:pt x="1266" y="486"/>
                  </a:lnTo>
                  <a:lnTo>
                    <a:pt x="1272" y="486"/>
                  </a:lnTo>
                  <a:lnTo>
                    <a:pt x="1272" y="492"/>
                  </a:lnTo>
                  <a:lnTo>
                    <a:pt x="1290" y="510"/>
                  </a:lnTo>
                  <a:lnTo>
                    <a:pt x="1296" y="516"/>
                  </a:lnTo>
                  <a:lnTo>
                    <a:pt x="1302" y="540"/>
                  </a:lnTo>
                  <a:lnTo>
                    <a:pt x="1302" y="546"/>
                  </a:lnTo>
                  <a:lnTo>
                    <a:pt x="1302" y="558"/>
                  </a:lnTo>
                  <a:lnTo>
                    <a:pt x="1302" y="570"/>
                  </a:lnTo>
                  <a:lnTo>
                    <a:pt x="1302" y="576"/>
                  </a:lnTo>
                  <a:lnTo>
                    <a:pt x="1344" y="570"/>
                  </a:lnTo>
                  <a:lnTo>
                    <a:pt x="1350" y="582"/>
                  </a:lnTo>
                  <a:lnTo>
                    <a:pt x="1368" y="594"/>
                  </a:lnTo>
                  <a:lnTo>
                    <a:pt x="1374" y="600"/>
                  </a:lnTo>
                  <a:lnTo>
                    <a:pt x="1380" y="600"/>
                  </a:lnTo>
                  <a:lnTo>
                    <a:pt x="1380" y="618"/>
                  </a:lnTo>
                  <a:lnTo>
                    <a:pt x="1386" y="624"/>
                  </a:lnTo>
                  <a:lnTo>
                    <a:pt x="1404" y="624"/>
                  </a:lnTo>
                  <a:lnTo>
                    <a:pt x="1410" y="612"/>
                  </a:lnTo>
                  <a:lnTo>
                    <a:pt x="1428" y="606"/>
                  </a:lnTo>
                  <a:lnTo>
                    <a:pt x="1488" y="606"/>
                  </a:lnTo>
                  <a:lnTo>
                    <a:pt x="1506" y="606"/>
                  </a:lnTo>
                  <a:lnTo>
                    <a:pt x="1512" y="600"/>
                  </a:lnTo>
                  <a:lnTo>
                    <a:pt x="1524" y="594"/>
                  </a:lnTo>
                  <a:lnTo>
                    <a:pt x="1554" y="594"/>
                  </a:lnTo>
                  <a:lnTo>
                    <a:pt x="1578" y="606"/>
                  </a:lnTo>
                  <a:lnTo>
                    <a:pt x="1596" y="624"/>
                  </a:lnTo>
                  <a:lnTo>
                    <a:pt x="1650" y="642"/>
                  </a:lnTo>
                  <a:lnTo>
                    <a:pt x="1686" y="648"/>
                  </a:lnTo>
                  <a:lnTo>
                    <a:pt x="1698" y="654"/>
                  </a:lnTo>
                  <a:lnTo>
                    <a:pt x="1698" y="660"/>
                  </a:lnTo>
                  <a:lnTo>
                    <a:pt x="1692" y="666"/>
                  </a:lnTo>
                  <a:lnTo>
                    <a:pt x="1692" y="672"/>
                  </a:lnTo>
                  <a:lnTo>
                    <a:pt x="1698" y="678"/>
                  </a:lnTo>
                  <a:lnTo>
                    <a:pt x="1698" y="684"/>
                  </a:lnTo>
                  <a:lnTo>
                    <a:pt x="1692" y="684"/>
                  </a:lnTo>
                  <a:lnTo>
                    <a:pt x="1692" y="690"/>
                  </a:lnTo>
                  <a:lnTo>
                    <a:pt x="1698" y="696"/>
                  </a:lnTo>
                  <a:lnTo>
                    <a:pt x="1698" y="702"/>
                  </a:lnTo>
                  <a:lnTo>
                    <a:pt x="1698" y="708"/>
                  </a:lnTo>
                  <a:lnTo>
                    <a:pt x="1704" y="714"/>
                  </a:lnTo>
                  <a:lnTo>
                    <a:pt x="1704" y="720"/>
                  </a:lnTo>
                  <a:lnTo>
                    <a:pt x="1704" y="726"/>
                  </a:lnTo>
                  <a:lnTo>
                    <a:pt x="1704" y="732"/>
                  </a:lnTo>
                  <a:lnTo>
                    <a:pt x="1704" y="738"/>
                  </a:lnTo>
                  <a:lnTo>
                    <a:pt x="1698" y="726"/>
                  </a:lnTo>
                  <a:lnTo>
                    <a:pt x="1668" y="720"/>
                  </a:lnTo>
                  <a:lnTo>
                    <a:pt x="1626" y="714"/>
                  </a:lnTo>
                  <a:lnTo>
                    <a:pt x="1614" y="708"/>
                  </a:lnTo>
                  <a:lnTo>
                    <a:pt x="1578" y="696"/>
                  </a:lnTo>
                  <a:lnTo>
                    <a:pt x="1566" y="696"/>
                  </a:lnTo>
                  <a:lnTo>
                    <a:pt x="1548" y="702"/>
                  </a:lnTo>
                  <a:lnTo>
                    <a:pt x="1542" y="714"/>
                  </a:lnTo>
                  <a:lnTo>
                    <a:pt x="1536" y="732"/>
                  </a:lnTo>
                  <a:lnTo>
                    <a:pt x="1530" y="750"/>
                  </a:lnTo>
                  <a:lnTo>
                    <a:pt x="1536" y="750"/>
                  </a:lnTo>
                  <a:lnTo>
                    <a:pt x="1542" y="756"/>
                  </a:lnTo>
                  <a:lnTo>
                    <a:pt x="1542" y="762"/>
                  </a:lnTo>
                  <a:lnTo>
                    <a:pt x="1548" y="762"/>
                  </a:lnTo>
                  <a:lnTo>
                    <a:pt x="1554" y="762"/>
                  </a:lnTo>
                  <a:lnTo>
                    <a:pt x="1554" y="768"/>
                  </a:lnTo>
                  <a:lnTo>
                    <a:pt x="1560" y="774"/>
                  </a:lnTo>
                  <a:lnTo>
                    <a:pt x="1566" y="774"/>
                  </a:lnTo>
                  <a:lnTo>
                    <a:pt x="1584" y="792"/>
                  </a:lnTo>
                  <a:lnTo>
                    <a:pt x="1584" y="810"/>
                  </a:lnTo>
                  <a:lnTo>
                    <a:pt x="1572" y="816"/>
                  </a:lnTo>
                  <a:lnTo>
                    <a:pt x="1578" y="834"/>
                  </a:lnTo>
                  <a:lnTo>
                    <a:pt x="1578" y="846"/>
                  </a:lnTo>
                  <a:lnTo>
                    <a:pt x="1584" y="858"/>
                  </a:lnTo>
                  <a:lnTo>
                    <a:pt x="1590" y="864"/>
                  </a:lnTo>
                  <a:lnTo>
                    <a:pt x="1590" y="876"/>
                  </a:lnTo>
                  <a:lnTo>
                    <a:pt x="1578" y="888"/>
                  </a:lnTo>
                  <a:lnTo>
                    <a:pt x="1560" y="906"/>
                  </a:lnTo>
                  <a:lnTo>
                    <a:pt x="1536" y="930"/>
                  </a:lnTo>
                  <a:lnTo>
                    <a:pt x="1530" y="930"/>
                  </a:lnTo>
                  <a:lnTo>
                    <a:pt x="1506" y="942"/>
                  </a:lnTo>
                  <a:lnTo>
                    <a:pt x="1488" y="948"/>
                  </a:lnTo>
                  <a:lnTo>
                    <a:pt x="1476" y="954"/>
                  </a:lnTo>
                  <a:lnTo>
                    <a:pt x="1458" y="960"/>
                  </a:lnTo>
                  <a:lnTo>
                    <a:pt x="1452" y="966"/>
                  </a:lnTo>
                  <a:lnTo>
                    <a:pt x="1446" y="966"/>
                  </a:lnTo>
                  <a:lnTo>
                    <a:pt x="1434" y="972"/>
                  </a:lnTo>
                  <a:lnTo>
                    <a:pt x="1434" y="954"/>
                  </a:lnTo>
                  <a:lnTo>
                    <a:pt x="1422" y="942"/>
                  </a:lnTo>
                  <a:lnTo>
                    <a:pt x="1398" y="924"/>
                  </a:lnTo>
                  <a:lnTo>
                    <a:pt x="1398" y="912"/>
                  </a:lnTo>
                  <a:lnTo>
                    <a:pt x="1398" y="906"/>
                  </a:lnTo>
                  <a:lnTo>
                    <a:pt x="1398" y="900"/>
                  </a:lnTo>
                  <a:lnTo>
                    <a:pt x="1380" y="900"/>
                  </a:lnTo>
                  <a:lnTo>
                    <a:pt x="1380" y="894"/>
                  </a:lnTo>
                  <a:lnTo>
                    <a:pt x="1368" y="888"/>
                  </a:lnTo>
                  <a:lnTo>
                    <a:pt x="1362" y="882"/>
                  </a:lnTo>
                  <a:lnTo>
                    <a:pt x="1356" y="876"/>
                  </a:lnTo>
                  <a:lnTo>
                    <a:pt x="1350" y="864"/>
                  </a:lnTo>
                  <a:lnTo>
                    <a:pt x="1344" y="858"/>
                  </a:lnTo>
                  <a:lnTo>
                    <a:pt x="1314" y="870"/>
                  </a:lnTo>
                  <a:lnTo>
                    <a:pt x="1272" y="876"/>
                  </a:lnTo>
                  <a:lnTo>
                    <a:pt x="1218" y="870"/>
                  </a:lnTo>
                  <a:lnTo>
                    <a:pt x="1200" y="864"/>
                  </a:lnTo>
                  <a:lnTo>
                    <a:pt x="1182" y="864"/>
                  </a:lnTo>
                  <a:lnTo>
                    <a:pt x="1134" y="858"/>
                  </a:lnTo>
                  <a:lnTo>
                    <a:pt x="1110" y="840"/>
                  </a:lnTo>
                  <a:lnTo>
                    <a:pt x="1086" y="828"/>
                  </a:lnTo>
                  <a:lnTo>
                    <a:pt x="1044" y="816"/>
                  </a:lnTo>
                  <a:lnTo>
                    <a:pt x="1014" y="816"/>
                  </a:lnTo>
                  <a:lnTo>
                    <a:pt x="990" y="822"/>
                  </a:lnTo>
                  <a:lnTo>
                    <a:pt x="948" y="858"/>
                  </a:lnTo>
                  <a:lnTo>
                    <a:pt x="930" y="864"/>
                  </a:lnTo>
                  <a:lnTo>
                    <a:pt x="924" y="876"/>
                  </a:lnTo>
                  <a:lnTo>
                    <a:pt x="918" y="906"/>
                  </a:lnTo>
                  <a:lnTo>
                    <a:pt x="924" y="930"/>
                  </a:lnTo>
                  <a:lnTo>
                    <a:pt x="948" y="984"/>
                  </a:lnTo>
                  <a:lnTo>
                    <a:pt x="954" y="1008"/>
                  </a:lnTo>
                  <a:lnTo>
                    <a:pt x="948" y="1014"/>
                  </a:lnTo>
                  <a:lnTo>
                    <a:pt x="954" y="1014"/>
                  </a:lnTo>
                  <a:lnTo>
                    <a:pt x="954" y="1032"/>
                  </a:lnTo>
                  <a:lnTo>
                    <a:pt x="966" y="1044"/>
                  </a:lnTo>
                  <a:lnTo>
                    <a:pt x="960" y="1056"/>
                  </a:lnTo>
                  <a:lnTo>
                    <a:pt x="954" y="1056"/>
                  </a:lnTo>
                  <a:lnTo>
                    <a:pt x="948" y="1056"/>
                  </a:lnTo>
                  <a:lnTo>
                    <a:pt x="942" y="1056"/>
                  </a:lnTo>
                  <a:lnTo>
                    <a:pt x="936" y="1050"/>
                  </a:lnTo>
                  <a:lnTo>
                    <a:pt x="930" y="1044"/>
                  </a:lnTo>
                  <a:lnTo>
                    <a:pt x="924" y="1044"/>
                  </a:lnTo>
                  <a:lnTo>
                    <a:pt x="918" y="1038"/>
                  </a:lnTo>
                  <a:lnTo>
                    <a:pt x="912" y="1038"/>
                  </a:lnTo>
                  <a:lnTo>
                    <a:pt x="906" y="1032"/>
                  </a:lnTo>
                  <a:lnTo>
                    <a:pt x="900" y="1032"/>
                  </a:lnTo>
                  <a:lnTo>
                    <a:pt x="888" y="1026"/>
                  </a:lnTo>
                  <a:lnTo>
                    <a:pt x="882" y="1026"/>
                  </a:lnTo>
                  <a:lnTo>
                    <a:pt x="876" y="1026"/>
                  </a:lnTo>
                  <a:lnTo>
                    <a:pt x="864" y="1014"/>
                  </a:lnTo>
                  <a:lnTo>
                    <a:pt x="846" y="1008"/>
                  </a:lnTo>
                  <a:lnTo>
                    <a:pt x="840" y="996"/>
                  </a:lnTo>
                  <a:lnTo>
                    <a:pt x="840" y="990"/>
                  </a:lnTo>
                  <a:lnTo>
                    <a:pt x="834" y="990"/>
                  </a:lnTo>
                  <a:lnTo>
                    <a:pt x="828" y="990"/>
                  </a:lnTo>
                  <a:lnTo>
                    <a:pt x="816" y="990"/>
                  </a:lnTo>
                  <a:lnTo>
                    <a:pt x="810" y="990"/>
                  </a:lnTo>
                  <a:lnTo>
                    <a:pt x="804" y="984"/>
                  </a:lnTo>
                  <a:lnTo>
                    <a:pt x="792" y="978"/>
                  </a:lnTo>
                  <a:lnTo>
                    <a:pt x="786" y="972"/>
                  </a:lnTo>
                  <a:lnTo>
                    <a:pt x="780" y="972"/>
                  </a:lnTo>
                  <a:lnTo>
                    <a:pt x="768" y="966"/>
                  </a:lnTo>
                  <a:lnTo>
                    <a:pt x="762" y="966"/>
                  </a:lnTo>
                  <a:lnTo>
                    <a:pt x="756" y="966"/>
                  </a:lnTo>
                  <a:lnTo>
                    <a:pt x="750" y="966"/>
                  </a:lnTo>
                  <a:lnTo>
                    <a:pt x="744" y="966"/>
                  </a:lnTo>
                  <a:lnTo>
                    <a:pt x="738" y="960"/>
                  </a:lnTo>
                  <a:lnTo>
                    <a:pt x="732" y="954"/>
                  </a:lnTo>
                  <a:lnTo>
                    <a:pt x="720" y="954"/>
                  </a:lnTo>
                  <a:lnTo>
                    <a:pt x="714" y="948"/>
                  </a:lnTo>
                  <a:lnTo>
                    <a:pt x="708" y="948"/>
                  </a:lnTo>
                  <a:lnTo>
                    <a:pt x="696" y="948"/>
                  </a:lnTo>
                  <a:lnTo>
                    <a:pt x="684" y="942"/>
                  </a:lnTo>
                  <a:lnTo>
                    <a:pt x="678" y="936"/>
                  </a:lnTo>
                  <a:lnTo>
                    <a:pt x="660" y="930"/>
                  </a:lnTo>
                  <a:lnTo>
                    <a:pt x="642" y="924"/>
                  </a:lnTo>
                  <a:lnTo>
                    <a:pt x="636" y="924"/>
                  </a:lnTo>
                  <a:lnTo>
                    <a:pt x="630" y="924"/>
                  </a:lnTo>
                  <a:lnTo>
                    <a:pt x="618" y="924"/>
                  </a:lnTo>
                  <a:lnTo>
                    <a:pt x="618" y="918"/>
                  </a:lnTo>
                  <a:lnTo>
                    <a:pt x="606" y="918"/>
                  </a:lnTo>
                  <a:lnTo>
                    <a:pt x="600" y="918"/>
                  </a:lnTo>
                  <a:lnTo>
                    <a:pt x="594" y="918"/>
                  </a:lnTo>
                  <a:lnTo>
                    <a:pt x="594" y="912"/>
                  </a:lnTo>
                  <a:lnTo>
                    <a:pt x="588" y="912"/>
                  </a:lnTo>
                  <a:lnTo>
                    <a:pt x="582" y="912"/>
                  </a:lnTo>
                  <a:lnTo>
                    <a:pt x="582" y="918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58" y="918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12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00"/>
                  </a:lnTo>
                  <a:lnTo>
                    <a:pt x="516" y="900"/>
                  </a:lnTo>
                  <a:lnTo>
                    <a:pt x="510" y="900"/>
                  </a:lnTo>
                  <a:lnTo>
                    <a:pt x="486" y="894"/>
                  </a:lnTo>
                  <a:lnTo>
                    <a:pt x="474" y="888"/>
                  </a:lnTo>
                  <a:lnTo>
                    <a:pt x="468" y="888"/>
                  </a:lnTo>
                  <a:lnTo>
                    <a:pt x="450" y="88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0" name="Freeform 15">
              <a:extLst>
                <a:ext uri="{FF2B5EF4-FFF2-40B4-BE49-F238E27FC236}">
                  <a16:creationId xmlns:a16="http://schemas.microsoft.com/office/drawing/2014/main" id="{8B991D7A-45C6-40F6-A035-24DFC733305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382" y="2652043"/>
              <a:ext cx="724526" cy="695552"/>
            </a:xfrm>
            <a:custGeom>
              <a:avLst/>
              <a:gdLst>
                <a:gd name="T0" fmla="*/ 44 w 1362"/>
                <a:gd name="T1" fmla="*/ 106 h 1308"/>
                <a:gd name="T2" fmla="*/ 32 w 1362"/>
                <a:gd name="T3" fmla="*/ 109 h 1308"/>
                <a:gd name="T4" fmla="*/ 25 w 1362"/>
                <a:gd name="T5" fmla="*/ 105 h 1308"/>
                <a:gd name="T6" fmla="*/ 22 w 1362"/>
                <a:gd name="T7" fmla="*/ 97 h 1308"/>
                <a:gd name="T8" fmla="*/ 21 w 1362"/>
                <a:gd name="T9" fmla="*/ 95 h 1308"/>
                <a:gd name="T10" fmla="*/ 20 w 1362"/>
                <a:gd name="T11" fmla="*/ 90 h 1308"/>
                <a:gd name="T12" fmla="*/ 23 w 1362"/>
                <a:gd name="T13" fmla="*/ 87 h 1308"/>
                <a:gd name="T14" fmla="*/ 29 w 1362"/>
                <a:gd name="T15" fmla="*/ 81 h 1308"/>
                <a:gd name="T16" fmla="*/ 30 w 1362"/>
                <a:gd name="T17" fmla="*/ 78 h 1308"/>
                <a:gd name="T18" fmla="*/ 27 w 1362"/>
                <a:gd name="T19" fmla="*/ 75 h 1308"/>
                <a:gd name="T20" fmla="*/ 15 w 1362"/>
                <a:gd name="T21" fmla="*/ 73 h 1308"/>
                <a:gd name="T22" fmla="*/ 12 w 1362"/>
                <a:gd name="T23" fmla="*/ 69 h 1308"/>
                <a:gd name="T24" fmla="*/ 5 w 1362"/>
                <a:gd name="T25" fmla="*/ 65 h 1308"/>
                <a:gd name="T26" fmla="*/ 6 w 1362"/>
                <a:gd name="T27" fmla="*/ 62 h 1308"/>
                <a:gd name="T28" fmla="*/ 7 w 1362"/>
                <a:gd name="T29" fmla="*/ 56 h 1308"/>
                <a:gd name="T30" fmla="*/ 2 w 1362"/>
                <a:gd name="T31" fmla="*/ 49 h 1308"/>
                <a:gd name="T32" fmla="*/ 0 w 1362"/>
                <a:gd name="T33" fmla="*/ 44 h 1308"/>
                <a:gd name="T34" fmla="*/ 0 w 1362"/>
                <a:gd name="T35" fmla="*/ 39 h 1308"/>
                <a:gd name="T36" fmla="*/ 3 w 1362"/>
                <a:gd name="T37" fmla="*/ 35 h 1308"/>
                <a:gd name="T38" fmla="*/ 3 w 1362"/>
                <a:gd name="T39" fmla="*/ 28 h 1308"/>
                <a:gd name="T40" fmla="*/ 6 w 1362"/>
                <a:gd name="T41" fmla="*/ 18 h 1308"/>
                <a:gd name="T42" fmla="*/ 6 w 1362"/>
                <a:gd name="T43" fmla="*/ 8 h 1308"/>
                <a:gd name="T44" fmla="*/ 10 w 1362"/>
                <a:gd name="T45" fmla="*/ 5 h 1308"/>
                <a:gd name="T46" fmla="*/ 15 w 1362"/>
                <a:gd name="T47" fmla="*/ 0 h 1308"/>
                <a:gd name="T48" fmla="*/ 21 w 1362"/>
                <a:gd name="T49" fmla="*/ 7 h 1308"/>
                <a:gd name="T50" fmla="*/ 25 w 1362"/>
                <a:gd name="T51" fmla="*/ 15 h 1308"/>
                <a:gd name="T52" fmla="*/ 24 w 1362"/>
                <a:gd name="T53" fmla="*/ 19 h 1308"/>
                <a:gd name="T54" fmla="*/ 32 w 1362"/>
                <a:gd name="T55" fmla="*/ 19 h 1308"/>
                <a:gd name="T56" fmla="*/ 35 w 1362"/>
                <a:gd name="T57" fmla="*/ 20 h 1308"/>
                <a:gd name="T58" fmla="*/ 40 w 1362"/>
                <a:gd name="T59" fmla="*/ 23 h 1308"/>
                <a:gd name="T60" fmla="*/ 40 w 1362"/>
                <a:gd name="T61" fmla="*/ 26 h 1308"/>
                <a:gd name="T62" fmla="*/ 34 w 1362"/>
                <a:gd name="T63" fmla="*/ 35 h 1308"/>
                <a:gd name="T64" fmla="*/ 41 w 1362"/>
                <a:gd name="T65" fmla="*/ 37 h 1308"/>
                <a:gd name="T66" fmla="*/ 43 w 1362"/>
                <a:gd name="T67" fmla="*/ 44 h 1308"/>
                <a:gd name="T68" fmla="*/ 48 w 1362"/>
                <a:gd name="T69" fmla="*/ 47 h 1308"/>
                <a:gd name="T70" fmla="*/ 57 w 1362"/>
                <a:gd name="T71" fmla="*/ 48 h 1308"/>
                <a:gd name="T72" fmla="*/ 70 w 1362"/>
                <a:gd name="T73" fmla="*/ 44 h 1308"/>
                <a:gd name="T74" fmla="*/ 80 w 1362"/>
                <a:gd name="T75" fmla="*/ 34 h 1308"/>
                <a:gd name="T76" fmla="*/ 95 w 1362"/>
                <a:gd name="T77" fmla="*/ 41 h 1308"/>
                <a:gd name="T78" fmla="*/ 109 w 1362"/>
                <a:gd name="T79" fmla="*/ 47 h 1308"/>
                <a:gd name="T80" fmla="*/ 111 w 1362"/>
                <a:gd name="T81" fmla="*/ 50 h 1308"/>
                <a:gd name="T82" fmla="*/ 113 w 1362"/>
                <a:gd name="T83" fmla="*/ 53 h 1308"/>
                <a:gd name="T84" fmla="*/ 113 w 1362"/>
                <a:gd name="T85" fmla="*/ 55 h 1308"/>
                <a:gd name="T86" fmla="*/ 113 w 1362"/>
                <a:gd name="T87" fmla="*/ 59 h 1308"/>
                <a:gd name="T88" fmla="*/ 113 w 1362"/>
                <a:gd name="T89" fmla="*/ 62 h 1308"/>
                <a:gd name="T90" fmla="*/ 115 w 1362"/>
                <a:gd name="T91" fmla="*/ 65 h 1308"/>
                <a:gd name="T92" fmla="*/ 115 w 1362"/>
                <a:gd name="T93" fmla="*/ 67 h 1308"/>
                <a:gd name="T94" fmla="*/ 116 w 1362"/>
                <a:gd name="T95" fmla="*/ 69 h 1308"/>
                <a:gd name="T96" fmla="*/ 116 w 1362"/>
                <a:gd name="T97" fmla="*/ 71 h 1308"/>
                <a:gd name="T98" fmla="*/ 118 w 1362"/>
                <a:gd name="T99" fmla="*/ 75 h 1308"/>
                <a:gd name="T100" fmla="*/ 116 w 1362"/>
                <a:gd name="T101" fmla="*/ 77 h 1308"/>
                <a:gd name="T102" fmla="*/ 116 w 1362"/>
                <a:gd name="T103" fmla="*/ 79 h 1308"/>
                <a:gd name="T104" fmla="*/ 101 w 1362"/>
                <a:gd name="T105" fmla="*/ 87 h 1308"/>
                <a:gd name="T106" fmla="*/ 85 w 1362"/>
                <a:gd name="T107" fmla="*/ 103 h 1308"/>
                <a:gd name="T108" fmla="*/ 67 w 1362"/>
                <a:gd name="T109" fmla="*/ 114 h 130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62"/>
                <a:gd name="T166" fmla="*/ 0 h 1308"/>
                <a:gd name="T167" fmla="*/ 1362 w 1362"/>
                <a:gd name="T168" fmla="*/ 1308 h 130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62" h="1308">
                  <a:moveTo>
                    <a:pt x="684" y="1278"/>
                  </a:moveTo>
                  <a:lnTo>
                    <a:pt x="672" y="1272"/>
                  </a:lnTo>
                  <a:lnTo>
                    <a:pt x="636" y="1266"/>
                  </a:lnTo>
                  <a:lnTo>
                    <a:pt x="582" y="1248"/>
                  </a:lnTo>
                  <a:lnTo>
                    <a:pt x="564" y="1230"/>
                  </a:lnTo>
                  <a:lnTo>
                    <a:pt x="540" y="1218"/>
                  </a:lnTo>
                  <a:lnTo>
                    <a:pt x="510" y="1218"/>
                  </a:lnTo>
                  <a:lnTo>
                    <a:pt x="498" y="1224"/>
                  </a:lnTo>
                  <a:lnTo>
                    <a:pt x="492" y="1230"/>
                  </a:lnTo>
                  <a:lnTo>
                    <a:pt x="474" y="1230"/>
                  </a:lnTo>
                  <a:lnTo>
                    <a:pt x="414" y="1230"/>
                  </a:lnTo>
                  <a:lnTo>
                    <a:pt x="396" y="1236"/>
                  </a:lnTo>
                  <a:lnTo>
                    <a:pt x="390" y="1248"/>
                  </a:lnTo>
                  <a:lnTo>
                    <a:pt x="372" y="1248"/>
                  </a:lnTo>
                  <a:lnTo>
                    <a:pt x="366" y="1242"/>
                  </a:lnTo>
                  <a:lnTo>
                    <a:pt x="366" y="1224"/>
                  </a:lnTo>
                  <a:lnTo>
                    <a:pt x="360" y="1224"/>
                  </a:lnTo>
                  <a:lnTo>
                    <a:pt x="354" y="1218"/>
                  </a:lnTo>
                  <a:lnTo>
                    <a:pt x="336" y="1206"/>
                  </a:lnTo>
                  <a:lnTo>
                    <a:pt x="330" y="1194"/>
                  </a:lnTo>
                  <a:lnTo>
                    <a:pt x="288" y="1200"/>
                  </a:lnTo>
                  <a:lnTo>
                    <a:pt x="288" y="1194"/>
                  </a:lnTo>
                  <a:lnTo>
                    <a:pt x="288" y="1182"/>
                  </a:lnTo>
                  <a:lnTo>
                    <a:pt x="288" y="1170"/>
                  </a:lnTo>
                  <a:lnTo>
                    <a:pt x="288" y="1164"/>
                  </a:lnTo>
                  <a:lnTo>
                    <a:pt x="282" y="1140"/>
                  </a:lnTo>
                  <a:lnTo>
                    <a:pt x="276" y="1134"/>
                  </a:lnTo>
                  <a:lnTo>
                    <a:pt x="258" y="1116"/>
                  </a:lnTo>
                  <a:lnTo>
                    <a:pt x="258" y="1110"/>
                  </a:lnTo>
                  <a:lnTo>
                    <a:pt x="252" y="1110"/>
                  </a:lnTo>
                  <a:lnTo>
                    <a:pt x="252" y="1104"/>
                  </a:lnTo>
                  <a:lnTo>
                    <a:pt x="252" y="1098"/>
                  </a:lnTo>
                  <a:lnTo>
                    <a:pt x="240" y="1092"/>
                  </a:lnTo>
                  <a:lnTo>
                    <a:pt x="234" y="1092"/>
                  </a:lnTo>
                  <a:lnTo>
                    <a:pt x="240" y="1086"/>
                  </a:lnTo>
                  <a:lnTo>
                    <a:pt x="234" y="1080"/>
                  </a:lnTo>
                  <a:lnTo>
                    <a:pt x="228" y="1080"/>
                  </a:lnTo>
                  <a:lnTo>
                    <a:pt x="228" y="1068"/>
                  </a:lnTo>
                  <a:lnTo>
                    <a:pt x="228" y="1056"/>
                  </a:lnTo>
                  <a:lnTo>
                    <a:pt x="222" y="1056"/>
                  </a:lnTo>
                  <a:lnTo>
                    <a:pt x="228" y="1044"/>
                  </a:lnTo>
                  <a:lnTo>
                    <a:pt x="228" y="1038"/>
                  </a:lnTo>
                  <a:lnTo>
                    <a:pt x="228" y="1032"/>
                  </a:lnTo>
                  <a:lnTo>
                    <a:pt x="234" y="1026"/>
                  </a:lnTo>
                  <a:lnTo>
                    <a:pt x="246" y="1020"/>
                  </a:lnTo>
                  <a:lnTo>
                    <a:pt x="252" y="1020"/>
                  </a:lnTo>
                  <a:lnTo>
                    <a:pt x="258" y="1014"/>
                  </a:lnTo>
                  <a:lnTo>
                    <a:pt x="264" y="1008"/>
                  </a:lnTo>
                  <a:lnTo>
                    <a:pt x="264" y="1002"/>
                  </a:lnTo>
                  <a:lnTo>
                    <a:pt x="270" y="984"/>
                  </a:lnTo>
                  <a:lnTo>
                    <a:pt x="276" y="978"/>
                  </a:lnTo>
                  <a:lnTo>
                    <a:pt x="300" y="978"/>
                  </a:lnTo>
                  <a:lnTo>
                    <a:pt x="306" y="972"/>
                  </a:lnTo>
                  <a:lnTo>
                    <a:pt x="312" y="966"/>
                  </a:lnTo>
                  <a:lnTo>
                    <a:pt x="324" y="936"/>
                  </a:lnTo>
                  <a:lnTo>
                    <a:pt x="330" y="930"/>
                  </a:lnTo>
                  <a:lnTo>
                    <a:pt x="330" y="924"/>
                  </a:lnTo>
                  <a:lnTo>
                    <a:pt x="336" y="918"/>
                  </a:lnTo>
                  <a:lnTo>
                    <a:pt x="342" y="912"/>
                  </a:lnTo>
                  <a:lnTo>
                    <a:pt x="342" y="906"/>
                  </a:lnTo>
                  <a:lnTo>
                    <a:pt x="342" y="900"/>
                  </a:lnTo>
                  <a:lnTo>
                    <a:pt x="342" y="894"/>
                  </a:lnTo>
                  <a:lnTo>
                    <a:pt x="342" y="888"/>
                  </a:lnTo>
                  <a:lnTo>
                    <a:pt x="336" y="876"/>
                  </a:lnTo>
                  <a:lnTo>
                    <a:pt x="342" y="870"/>
                  </a:lnTo>
                  <a:lnTo>
                    <a:pt x="336" y="864"/>
                  </a:lnTo>
                  <a:lnTo>
                    <a:pt x="336" y="858"/>
                  </a:lnTo>
                  <a:lnTo>
                    <a:pt x="330" y="852"/>
                  </a:lnTo>
                  <a:lnTo>
                    <a:pt x="318" y="852"/>
                  </a:lnTo>
                  <a:lnTo>
                    <a:pt x="306" y="858"/>
                  </a:lnTo>
                  <a:lnTo>
                    <a:pt x="264" y="864"/>
                  </a:lnTo>
                  <a:lnTo>
                    <a:pt x="234" y="858"/>
                  </a:lnTo>
                  <a:lnTo>
                    <a:pt x="228" y="858"/>
                  </a:lnTo>
                  <a:lnTo>
                    <a:pt x="198" y="858"/>
                  </a:lnTo>
                  <a:lnTo>
                    <a:pt x="174" y="858"/>
                  </a:lnTo>
                  <a:lnTo>
                    <a:pt x="168" y="852"/>
                  </a:lnTo>
                  <a:lnTo>
                    <a:pt x="168" y="840"/>
                  </a:lnTo>
                  <a:lnTo>
                    <a:pt x="168" y="834"/>
                  </a:lnTo>
                  <a:lnTo>
                    <a:pt x="168" y="822"/>
                  </a:lnTo>
                  <a:lnTo>
                    <a:pt x="162" y="822"/>
                  </a:lnTo>
                  <a:lnTo>
                    <a:pt x="150" y="816"/>
                  </a:lnTo>
                  <a:lnTo>
                    <a:pt x="144" y="810"/>
                  </a:lnTo>
                  <a:lnTo>
                    <a:pt x="144" y="804"/>
                  </a:lnTo>
                  <a:lnTo>
                    <a:pt x="144" y="786"/>
                  </a:lnTo>
                  <a:lnTo>
                    <a:pt x="144" y="780"/>
                  </a:lnTo>
                  <a:lnTo>
                    <a:pt x="144" y="774"/>
                  </a:lnTo>
                  <a:lnTo>
                    <a:pt x="132" y="756"/>
                  </a:lnTo>
                  <a:lnTo>
                    <a:pt x="120" y="756"/>
                  </a:lnTo>
                  <a:lnTo>
                    <a:pt x="84" y="750"/>
                  </a:lnTo>
                  <a:lnTo>
                    <a:pt x="78" y="744"/>
                  </a:lnTo>
                  <a:lnTo>
                    <a:pt x="60" y="744"/>
                  </a:lnTo>
                  <a:lnTo>
                    <a:pt x="54" y="726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66" y="720"/>
                  </a:lnTo>
                  <a:lnTo>
                    <a:pt x="66" y="714"/>
                  </a:lnTo>
                  <a:lnTo>
                    <a:pt x="72" y="714"/>
                  </a:lnTo>
                  <a:lnTo>
                    <a:pt x="72" y="708"/>
                  </a:lnTo>
                  <a:lnTo>
                    <a:pt x="78" y="702"/>
                  </a:lnTo>
                  <a:lnTo>
                    <a:pt x="78" y="696"/>
                  </a:lnTo>
                  <a:lnTo>
                    <a:pt x="78" y="690"/>
                  </a:lnTo>
                  <a:lnTo>
                    <a:pt x="84" y="678"/>
                  </a:lnTo>
                  <a:lnTo>
                    <a:pt x="90" y="666"/>
                  </a:lnTo>
                  <a:lnTo>
                    <a:pt x="90" y="642"/>
                  </a:lnTo>
                  <a:lnTo>
                    <a:pt x="84" y="648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66" y="642"/>
                  </a:lnTo>
                  <a:lnTo>
                    <a:pt x="60" y="642"/>
                  </a:lnTo>
                  <a:lnTo>
                    <a:pt x="54" y="636"/>
                  </a:lnTo>
                  <a:lnTo>
                    <a:pt x="30" y="570"/>
                  </a:lnTo>
                  <a:lnTo>
                    <a:pt x="24" y="564"/>
                  </a:lnTo>
                  <a:lnTo>
                    <a:pt x="18" y="570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6"/>
                  </a:lnTo>
                  <a:lnTo>
                    <a:pt x="6" y="540"/>
                  </a:lnTo>
                  <a:lnTo>
                    <a:pt x="0" y="522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2" y="480"/>
                  </a:lnTo>
                  <a:lnTo>
                    <a:pt x="6" y="480"/>
                  </a:lnTo>
                  <a:lnTo>
                    <a:pt x="0" y="474"/>
                  </a:lnTo>
                  <a:lnTo>
                    <a:pt x="0" y="450"/>
                  </a:lnTo>
                  <a:lnTo>
                    <a:pt x="6" y="450"/>
                  </a:lnTo>
                  <a:lnTo>
                    <a:pt x="12" y="450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32"/>
                  </a:lnTo>
                  <a:lnTo>
                    <a:pt x="30" y="426"/>
                  </a:lnTo>
                  <a:lnTo>
                    <a:pt x="36" y="402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2" y="366"/>
                  </a:lnTo>
                  <a:lnTo>
                    <a:pt x="48" y="360"/>
                  </a:lnTo>
                  <a:lnTo>
                    <a:pt x="48" y="342"/>
                  </a:lnTo>
                  <a:lnTo>
                    <a:pt x="42" y="330"/>
                  </a:lnTo>
                  <a:lnTo>
                    <a:pt x="36" y="324"/>
                  </a:lnTo>
                  <a:lnTo>
                    <a:pt x="42" y="306"/>
                  </a:lnTo>
                  <a:lnTo>
                    <a:pt x="42" y="270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48" y="258"/>
                  </a:lnTo>
                  <a:lnTo>
                    <a:pt x="72" y="252"/>
                  </a:lnTo>
                  <a:lnTo>
                    <a:pt x="66" y="204"/>
                  </a:lnTo>
                  <a:lnTo>
                    <a:pt x="60" y="198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8" y="13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84" y="96"/>
                  </a:lnTo>
                  <a:lnTo>
                    <a:pt x="90" y="84"/>
                  </a:lnTo>
                  <a:lnTo>
                    <a:pt x="108" y="72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20" y="60"/>
                  </a:lnTo>
                  <a:lnTo>
                    <a:pt x="120" y="54"/>
                  </a:lnTo>
                  <a:lnTo>
                    <a:pt x="120" y="48"/>
                  </a:lnTo>
                  <a:lnTo>
                    <a:pt x="126" y="48"/>
                  </a:lnTo>
                  <a:lnTo>
                    <a:pt x="132" y="42"/>
                  </a:lnTo>
                  <a:lnTo>
                    <a:pt x="132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240" y="18"/>
                  </a:lnTo>
                  <a:lnTo>
                    <a:pt x="246" y="42"/>
                  </a:lnTo>
                  <a:lnTo>
                    <a:pt x="240" y="72"/>
                  </a:lnTo>
                  <a:lnTo>
                    <a:pt x="246" y="78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8" y="108"/>
                  </a:lnTo>
                  <a:lnTo>
                    <a:pt x="276" y="114"/>
                  </a:lnTo>
                  <a:lnTo>
                    <a:pt x="294" y="150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82" y="186"/>
                  </a:lnTo>
                  <a:lnTo>
                    <a:pt x="282" y="192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76" y="216"/>
                  </a:lnTo>
                  <a:lnTo>
                    <a:pt x="288" y="240"/>
                  </a:lnTo>
                  <a:lnTo>
                    <a:pt x="312" y="228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66" y="228"/>
                  </a:lnTo>
                  <a:lnTo>
                    <a:pt x="372" y="228"/>
                  </a:lnTo>
                  <a:lnTo>
                    <a:pt x="372" y="222"/>
                  </a:lnTo>
                  <a:lnTo>
                    <a:pt x="378" y="222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6" y="222"/>
                  </a:lnTo>
                  <a:lnTo>
                    <a:pt x="402" y="222"/>
                  </a:lnTo>
                  <a:lnTo>
                    <a:pt x="402" y="228"/>
                  </a:lnTo>
                  <a:lnTo>
                    <a:pt x="408" y="228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26" y="216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68" y="258"/>
                  </a:lnTo>
                  <a:lnTo>
                    <a:pt x="462" y="264"/>
                  </a:lnTo>
                  <a:lnTo>
                    <a:pt x="468" y="264"/>
                  </a:lnTo>
                  <a:lnTo>
                    <a:pt x="468" y="270"/>
                  </a:lnTo>
                  <a:lnTo>
                    <a:pt x="474" y="270"/>
                  </a:lnTo>
                  <a:lnTo>
                    <a:pt x="480" y="276"/>
                  </a:lnTo>
                  <a:lnTo>
                    <a:pt x="474" y="282"/>
                  </a:lnTo>
                  <a:lnTo>
                    <a:pt x="474" y="288"/>
                  </a:lnTo>
                  <a:lnTo>
                    <a:pt x="462" y="294"/>
                  </a:lnTo>
                  <a:lnTo>
                    <a:pt x="468" y="324"/>
                  </a:lnTo>
                  <a:lnTo>
                    <a:pt x="462" y="336"/>
                  </a:lnTo>
                  <a:lnTo>
                    <a:pt x="456" y="354"/>
                  </a:lnTo>
                  <a:lnTo>
                    <a:pt x="432" y="390"/>
                  </a:lnTo>
                  <a:lnTo>
                    <a:pt x="420" y="390"/>
                  </a:lnTo>
                  <a:lnTo>
                    <a:pt x="402" y="390"/>
                  </a:lnTo>
                  <a:lnTo>
                    <a:pt x="396" y="396"/>
                  </a:lnTo>
                  <a:lnTo>
                    <a:pt x="390" y="396"/>
                  </a:lnTo>
                  <a:lnTo>
                    <a:pt x="390" y="402"/>
                  </a:lnTo>
                  <a:lnTo>
                    <a:pt x="384" y="402"/>
                  </a:lnTo>
                  <a:lnTo>
                    <a:pt x="408" y="432"/>
                  </a:lnTo>
                  <a:lnTo>
                    <a:pt x="432" y="438"/>
                  </a:lnTo>
                  <a:lnTo>
                    <a:pt x="456" y="432"/>
                  </a:lnTo>
                  <a:lnTo>
                    <a:pt x="468" y="426"/>
                  </a:lnTo>
                  <a:lnTo>
                    <a:pt x="468" y="444"/>
                  </a:lnTo>
                  <a:lnTo>
                    <a:pt x="468" y="450"/>
                  </a:lnTo>
                  <a:lnTo>
                    <a:pt x="468" y="474"/>
                  </a:lnTo>
                  <a:lnTo>
                    <a:pt x="486" y="480"/>
                  </a:lnTo>
                  <a:lnTo>
                    <a:pt x="486" y="486"/>
                  </a:lnTo>
                  <a:lnTo>
                    <a:pt x="492" y="498"/>
                  </a:lnTo>
                  <a:lnTo>
                    <a:pt x="492" y="504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504" y="516"/>
                  </a:lnTo>
                  <a:lnTo>
                    <a:pt x="510" y="516"/>
                  </a:lnTo>
                  <a:lnTo>
                    <a:pt x="522" y="528"/>
                  </a:lnTo>
                  <a:lnTo>
                    <a:pt x="546" y="540"/>
                  </a:lnTo>
                  <a:lnTo>
                    <a:pt x="552" y="546"/>
                  </a:lnTo>
                  <a:lnTo>
                    <a:pt x="570" y="552"/>
                  </a:lnTo>
                  <a:lnTo>
                    <a:pt x="594" y="552"/>
                  </a:lnTo>
                  <a:lnTo>
                    <a:pt x="606" y="546"/>
                  </a:lnTo>
                  <a:lnTo>
                    <a:pt x="612" y="540"/>
                  </a:lnTo>
                  <a:lnTo>
                    <a:pt x="630" y="540"/>
                  </a:lnTo>
                  <a:lnTo>
                    <a:pt x="630" y="552"/>
                  </a:lnTo>
                  <a:lnTo>
                    <a:pt x="654" y="552"/>
                  </a:lnTo>
                  <a:lnTo>
                    <a:pt x="702" y="558"/>
                  </a:lnTo>
                  <a:lnTo>
                    <a:pt x="762" y="546"/>
                  </a:lnTo>
                  <a:lnTo>
                    <a:pt x="780" y="546"/>
                  </a:lnTo>
                  <a:lnTo>
                    <a:pt x="780" y="528"/>
                  </a:lnTo>
                  <a:lnTo>
                    <a:pt x="798" y="522"/>
                  </a:lnTo>
                  <a:lnTo>
                    <a:pt x="810" y="510"/>
                  </a:lnTo>
                  <a:lnTo>
                    <a:pt x="810" y="504"/>
                  </a:lnTo>
                  <a:lnTo>
                    <a:pt x="828" y="492"/>
                  </a:lnTo>
                  <a:lnTo>
                    <a:pt x="888" y="486"/>
                  </a:lnTo>
                  <a:lnTo>
                    <a:pt x="912" y="486"/>
                  </a:lnTo>
                  <a:lnTo>
                    <a:pt x="930" y="474"/>
                  </a:lnTo>
                  <a:lnTo>
                    <a:pt x="918" y="456"/>
                  </a:lnTo>
                  <a:lnTo>
                    <a:pt x="912" y="450"/>
                  </a:lnTo>
                  <a:lnTo>
                    <a:pt x="918" y="390"/>
                  </a:lnTo>
                  <a:lnTo>
                    <a:pt x="954" y="396"/>
                  </a:lnTo>
                  <a:lnTo>
                    <a:pt x="984" y="402"/>
                  </a:lnTo>
                  <a:lnTo>
                    <a:pt x="1014" y="420"/>
                  </a:lnTo>
                  <a:lnTo>
                    <a:pt x="1026" y="432"/>
                  </a:lnTo>
                  <a:lnTo>
                    <a:pt x="1044" y="450"/>
                  </a:lnTo>
                  <a:lnTo>
                    <a:pt x="1062" y="462"/>
                  </a:lnTo>
                  <a:lnTo>
                    <a:pt x="1098" y="468"/>
                  </a:lnTo>
                  <a:lnTo>
                    <a:pt x="1128" y="480"/>
                  </a:lnTo>
                  <a:lnTo>
                    <a:pt x="1152" y="486"/>
                  </a:lnTo>
                  <a:lnTo>
                    <a:pt x="1188" y="498"/>
                  </a:lnTo>
                  <a:lnTo>
                    <a:pt x="1212" y="504"/>
                  </a:lnTo>
                  <a:lnTo>
                    <a:pt x="1224" y="528"/>
                  </a:lnTo>
                  <a:lnTo>
                    <a:pt x="1236" y="540"/>
                  </a:lnTo>
                  <a:lnTo>
                    <a:pt x="1254" y="540"/>
                  </a:lnTo>
                  <a:lnTo>
                    <a:pt x="1254" y="546"/>
                  </a:lnTo>
                  <a:lnTo>
                    <a:pt x="1260" y="552"/>
                  </a:lnTo>
                  <a:lnTo>
                    <a:pt x="1266" y="552"/>
                  </a:lnTo>
                  <a:lnTo>
                    <a:pt x="1266" y="558"/>
                  </a:lnTo>
                  <a:lnTo>
                    <a:pt x="1272" y="564"/>
                  </a:lnTo>
                  <a:lnTo>
                    <a:pt x="1278" y="564"/>
                  </a:lnTo>
                  <a:lnTo>
                    <a:pt x="1278" y="570"/>
                  </a:lnTo>
                  <a:lnTo>
                    <a:pt x="1284" y="576"/>
                  </a:lnTo>
                  <a:lnTo>
                    <a:pt x="1290" y="582"/>
                  </a:lnTo>
                  <a:lnTo>
                    <a:pt x="1296" y="582"/>
                  </a:lnTo>
                  <a:lnTo>
                    <a:pt x="1296" y="588"/>
                  </a:lnTo>
                  <a:lnTo>
                    <a:pt x="1308" y="594"/>
                  </a:lnTo>
                  <a:lnTo>
                    <a:pt x="1308" y="600"/>
                  </a:lnTo>
                  <a:lnTo>
                    <a:pt x="1308" y="606"/>
                  </a:lnTo>
                  <a:lnTo>
                    <a:pt x="1314" y="612"/>
                  </a:lnTo>
                  <a:lnTo>
                    <a:pt x="1308" y="618"/>
                  </a:lnTo>
                  <a:lnTo>
                    <a:pt x="1314" y="618"/>
                  </a:lnTo>
                  <a:lnTo>
                    <a:pt x="1314" y="624"/>
                  </a:lnTo>
                  <a:lnTo>
                    <a:pt x="1308" y="624"/>
                  </a:lnTo>
                  <a:lnTo>
                    <a:pt x="1302" y="630"/>
                  </a:lnTo>
                  <a:lnTo>
                    <a:pt x="1302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296" y="654"/>
                  </a:lnTo>
                  <a:lnTo>
                    <a:pt x="1302" y="660"/>
                  </a:lnTo>
                  <a:lnTo>
                    <a:pt x="1302" y="666"/>
                  </a:lnTo>
                  <a:lnTo>
                    <a:pt x="1308" y="666"/>
                  </a:lnTo>
                  <a:lnTo>
                    <a:pt x="1308" y="672"/>
                  </a:lnTo>
                  <a:lnTo>
                    <a:pt x="1308" y="678"/>
                  </a:lnTo>
                  <a:lnTo>
                    <a:pt x="1308" y="684"/>
                  </a:lnTo>
                  <a:lnTo>
                    <a:pt x="1308" y="690"/>
                  </a:lnTo>
                  <a:lnTo>
                    <a:pt x="1302" y="696"/>
                  </a:lnTo>
                  <a:lnTo>
                    <a:pt x="1302" y="702"/>
                  </a:lnTo>
                  <a:lnTo>
                    <a:pt x="1308" y="702"/>
                  </a:lnTo>
                  <a:lnTo>
                    <a:pt x="1302" y="708"/>
                  </a:lnTo>
                  <a:lnTo>
                    <a:pt x="1308" y="714"/>
                  </a:lnTo>
                  <a:lnTo>
                    <a:pt x="1308" y="720"/>
                  </a:lnTo>
                  <a:lnTo>
                    <a:pt x="1308" y="726"/>
                  </a:lnTo>
                  <a:lnTo>
                    <a:pt x="1308" y="732"/>
                  </a:lnTo>
                  <a:lnTo>
                    <a:pt x="1314" y="732"/>
                  </a:lnTo>
                  <a:lnTo>
                    <a:pt x="1314" y="738"/>
                  </a:lnTo>
                  <a:lnTo>
                    <a:pt x="1320" y="744"/>
                  </a:lnTo>
                  <a:lnTo>
                    <a:pt x="1326" y="750"/>
                  </a:lnTo>
                  <a:lnTo>
                    <a:pt x="1320" y="750"/>
                  </a:lnTo>
                  <a:lnTo>
                    <a:pt x="1320" y="756"/>
                  </a:lnTo>
                  <a:lnTo>
                    <a:pt x="1314" y="756"/>
                  </a:lnTo>
                  <a:lnTo>
                    <a:pt x="1314" y="762"/>
                  </a:lnTo>
                  <a:lnTo>
                    <a:pt x="1314" y="768"/>
                  </a:lnTo>
                  <a:lnTo>
                    <a:pt x="1320" y="768"/>
                  </a:lnTo>
                  <a:lnTo>
                    <a:pt x="1320" y="762"/>
                  </a:lnTo>
                  <a:lnTo>
                    <a:pt x="1320" y="768"/>
                  </a:lnTo>
                  <a:lnTo>
                    <a:pt x="1326" y="774"/>
                  </a:lnTo>
                  <a:lnTo>
                    <a:pt x="1332" y="774"/>
                  </a:lnTo>
                  <a:lnTo>
                    <a:pt x="1332" y="780"/>
                  </a:lnTo>
                  <a:lnTo>
                    <a:pt x="1332" y="786"/>
                  </a:lnTo>
                  <a:lnTo>
                    <a:pt x="1332" y="792"/>
                  </a:lnTo>
                  <a:lnTo>
                    <a:pt x="1338" y="786"/>
                  </a:lnTo>
                  <a:lnTo>
                    <a:pt x="1338" y="792"/>
                  </a:lnTo>
                  <a:lnTo>
                    <a:pt x="1344" y="798"/>
                  </a:lnTo>
                  <a:lnTo>
                    <a:pt x="1344" y="804"/>
                  </a:lnTo>
                  <a:lnTo>
                    <a:pt x="1344" y="810"/>
                  </a:lnTo>
                  <a:lnTo>
                    <a:pt x="1344" y="816"/>
                  </a:lnTo>
                  <a:lnTo>
                    <a:pt x="1344" y="822"/>
                  </a:lnTo>
                  <a:lnTo>
                    <a:pt x="1338" y="828"/>
                  </a:lnTo>
                  <a:lnTo>
                    <a:pt x="1332" y="828"/>
                  </a:lnTo>
                  <a:lnTo>
                    <a:pt x="1338" y="840"/>
                  </a:lnTo>
                  <a:lnTo>
                    <a:pt x="1344" y="846"/>
                  </a:lnTo>
                  <a:lnTo>
                    <a:pt x="1344" y="852"/>
                  </a:lnTo>
                  <a:lnTo>
                    <a:pt x="1350" y="852"/>
                  </a:lnTo>
                  <a:lnTo>
                    <a:pt x="1356" y="858"/>
                  </a:lnTo>
                  <a:lnTo>
                    <a:pt x="1362" y="858"/>
                  </a:lnTo>
                  <a:lnTo>
                    <a:pt x="1362" y="870"/>
                  </a:lnTo>
                  <a:lnTo>
                    <a:pt x="1356" y="870"/>
                  </a:lnTo>
                  <a:lnTo>
                    <a:pt x="1356" y="876"/>
                  </a:lnTo>
                  <a:lnTo>
                    <a:pt x="1350" y="876"/>
                  </a:lnTo>
                  <a:lnTo>
                    <a:pt x="1344" y="876"/>
                  </a:lnTo>
                  <a:lnTo>
                    <a:pt x="1344" y="882"/>
                  </a:lnTo>
                  <a:lnTo>
                    <a:pt x="1338" y="882"/>
                  </a:lnTo>
                  <a:lnTo>
                    <a:pt x="1338" y="888"/>
                  </a:lnTo>
                  <a:lnTo>
                    <a:pt x="1338" y="894"/>
                  </a:lnTo>
                  <a:lnTo>
                    <a:pt x="1344" y="900"/>
                  </a:lnTo>
                  <a:lnTo>
                    <a:pt x="1344" y="906"/>
                  </a:lnTo>
                  <a:lnTo>
                    <a:pt x="1338" y="906"/>
                  </a:lnTo>
                  <a:lnTo>
                    <a:pt x="1332" y="912"/>
                  </a:lnTo>
                  <a:lnTo>
                    <a:pt x="1332" y="918"/>
                  </a:lnTo>
                  <a:lnTo>
                    <a:pt x="1326" y="918"/>
                  </a:lnTo>
                  <a:lnTo>
                    <a:pt x="1332" y="924"/>
                  </a:lnTo>
                  <a:lnTo>
                    <a:pt x="1284" y="942"/>
                  </a:lnTo>
                  <a:lnTo>
                    <a:pt x="1236" y="948"/>
                  </a:lnTo>
                  <a:lnTo>
                    <a:pt x="1194" y="966"/>
                  </a:lnTo>
                  <a:lnTo>
                    <a:pt x="1170" y="1002"/>
                  </a:lnTo>
                  <a:lnTo>
                    <a:pt x="1134" y="1020"/>
                  </a:lnTo>
                  <a:lnTo>
                    <a:pt x="1116" y="1032"/>
                  </a:lnTo>
                  <a:lnTo>
                    <a:pt x="1098" y="1050"/>
                  </a:lnTo>
                  <a:lnTo>
                    <a:pt x="1074" y="1074"/>
                  </a:lnTo>
                  <a:lnTo>
                    <a:pt x="1008" y="1134"/>
                  </a:lnTo>
                  <a:lnTo>
                    <a:pt x="990" y="1158"/>
                  </a:lnTo>
                  <a:lnTo>
                    <a:pt x="978" y="1182"/>
                  </a:lnTo>
                  <a:lnTo>
                    <a:pt x="960" y="1194"/>
                  </a:lnTo>
                  <a:lnTo>
                    <a:pt x="942" y="1212"/>
                  </a:lnTo>
                  <a:lnTo>
                    <a:pt x="912" y="1242"/>
                  </a:lnTo>
                  <a:lnTo>
                    <a:pt x="888" y="1254"/>
                  </a:lnTo>
                  <a:lnTo>
                    <a:pt x="864" y="1278"/>
                  </a:lnTo>
                  <a:lnTo>
                    <a:pt x="828" y="1296"/>
                  </a:lnTo>
                  <a:lnTo>
                    <a:pt x="774" y="1308"/>
                  </a:lnTo>
                  <a:lnTo>
                    <a:pt x="732" y="1302"/>
                  </a:lnTo>
                  <a:lnTo>
                    <a:pt x="702" y="1284"/>
                  </a:lnTo>
                  <a:lnTo>
                    <a:pt x="684" y="12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1" name="Freeform 16">
              <a:extLst>
                <a:ext uri="{FF2B5EF4-FFF2-40B4-BE49-F238E27FC236}">
                  <a16:creationId xmlns:a16="http://schemas.microsoft.com/office/drawing/2014/main" id="{D8D8591A-D9DB-4301-BEBD-D8F5A26DA9E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3001" y="2929369"/>
              <a:ext cx="914601" cy="1037736"/>
            </a:xfrm>
            <a:custGeom>
              <a:avLst/>
              <a:gdLst>
                <a:gd name="T0" fmla="*/ 144 w 1722"/>
                <a:gd name="T1" fmla="*/ 131 h 1956"/>
                <a:gd name="T2" fmla="*/ 142 w 1722"/>
                <a:gd name="T3" fmla="*/ 139 h 1956"/>
                <a:gd name="T4" fmla="*/ 137 w 1722"/>
                <a:gd name="T5" fmla="*/ 143 h 1956"/>
                <a:gd name="T6" fmla="*/ 133 w 1722"/>
                <a:gd name="T7" fmla="*/ 147 h 1956"/>
                <a:gd name="T8" fmla="*/ 132 w 1722"/>
                <a:gd name="T9" fmla="*/ 152 h 1956"/>
                <a:gd name="T10" fmla="*/ 130 w 1722"/>
                <a:gd name="T11" fmla="*/ 159 h 1956"/>
                <a:gd name="T12" fmla="*/ 127 w 1722"/>
                <a:gd name="T13" fmla="*/ 164 h 1956"/>
                <a:gd name="T14" fmla="*/ 123 w 1722"/>
                <a:gd name="T15" fmla="*/ 168 h 1956"/>
                <a:gd name="T16" fmla="*/ 117 w 1722"/>
                <a:gd name="T17" fmla="*/ 169 h 1956"/>
                <a:gd name="T18" fmla="*/ 110 w 1722"/>
                <a:gd name="T19" fmla="*/ 168 h 1956"/>
                <a:gd name="T20" fmla="*/ 104 w 1722"/>
                <a:gd name="T21" fmla="*/ 166 h 1956"/>
                <a:gd name="T22" fmla="*/ 101 w 1722"/>
                <a:gd name="T23" fmla="*/ 159 h 1956"/>
                <a:gd name="T24" fmla="*/ 95 w 1722"/>
                <a:gd name="T25" fmla="*/ 156 h 1956"/>
                <a:gd name="T26" fmla="*/ 89 w 1722"/>
                <a:gd name="T27" fmla="*/ 151 h 1956"/>
                <a:gd name="T28" fmla="*/ 87 w 1722"/>
                <a:gd name="T29" fmla="*/ 144 h 1956"/>
                <a:gd name="T30" fmla="*/ 82 w 1722"/>
                <a:gd name="T31" fmla="*/ 141 h 1956"/>
                <a:gd name="T32" fmla="*/ 76 w 1722"/>
                <a:gd name="T33" fmla="*/ 134 h 1956"/>
                <a:gd name="T34" fmla="*/ 74 w 1722"/>
                <a:gd name="T35" fmla="*/ 143 h 1956"/>
                <a:gd name="T36" fmla="*/ 68 w 1722"/>
                <a:gd name="T37" fmla="*/ 147 h 1956"/>
                <a:gd name="T38" fmla="*/ 54 w 1722"/>
                <a:gd name="T39" fmla="*/ 144 h 1956"/>
                <a:gd name="T40" fmla="*/ 51 w 1722"/>
                <a:gd name="T41" fmla="*/ 142 h 1956"/>
                <a:gd name="T42" fmla="*/ 42 w 1722"/>
                <a:gd name="T43" fmla="*/ 151 h 1956"/>
                <a:gd name="T44" fmla="*/ 33 w 1722"/>
                <a:gd name="T45" fmla="*/ 154 h 1956"/>
                <a:gd name="T46" fmla="*/ 31 w 1722"/>
                <a:gd name="T47" fmla="*/ 159 h 1956"/>
                <a:gd name="T48" fmla="*/ 29 w 1722"/>
                <a:gd name="T49" fmla="*/ 166 h 1956"/>
                <a:gd name="T50" fmla="*/ 25 w 1722"/>
                <a:gd name="T51" fmla="*/ 169 h 1956"/>
                <a:gd name="T52" fmla="*/ 27 w 1722"/>
                <a:gd name="T53" fmla="*/ 154 h 1956"/>
                <a:gd name="T54" fmla="*/ 37 w 1722"/>
                <a:gd name="T55" fmla="*/ 133 h 1956"/>
                <a:gd name="T56" fmla="*/ 36 w 1722"/>
                <a:gd name="T57" fmla="*/ 109 h 1956"/>
                <a:gd name="T58" fmla="*/ 27 w 1722"/>
                <a:gd name="T59" fmla="*/ 101 h 1956"/>
                <a:gd name="T60" fmla="*/ 5 w 1722"/>
                <a:gd name="T61" fmla="*/ 98 h 1956"/>
                <a:gd name="T62" fmla="*/ 2 w 1722"/>
                <a:gd name="T63" fmla="*/ 93 h 1956"/>
                <a:gd name="T64" fmla="*/ 12 w 1722"/>
                <a:gd name="T65" fmla="*/ 82 h 1956"/>
                <a:gd name="T66" fmla="*/ 9 w 1722"/>
                <a:gd name="T67" fmla="*/ 74 h 1956"/>
                <a:gd name="T68" fmla="*/ 23 w 1722"/>
                <a:gd name="T69" fmla="*/ 72 h 1956"/>
                <a:gd name="T70" fmla="*/ 22 w 1722"/>
                <a:gd name="T71" fmla="*/ 67 h 1956"/>
                <a:gd name="T72" fmla="*/ 48 w 1722"/>
                <a:gd name="T73" fmla="*/ 57 h 1956"/>
                <a:gd name="T74" fmla="*/ 78 w 1722"/>
                <a:gd name="T75" fmla="*/ 34 h 1956"/>
                <a:gd name="T76" fmla="*/ 81 w 1722"/>
                <a:gd name="T77" fmla="*/ 31 h 1956"/>
                <a:gd name="T78" fmla="*/ 80 w 1722"/>
                <a:gd name="T79" fmla="*/ 26 h 1956"/>
                <a:gd name="T80" fmla="*/ 78 w 1722"/>
                <a:gd name="T81" fmla="*/ 21 h 1956"/>
                <a:gd name="T82" fmla="*/ 77 w 1722"/>
                <a:gd name="T83" fmla="*/ 18 h 1956"/>
                <a:gd name="T84" fmla="*/ 77 w 1722"/>
                <a:gd name="T85" fmla="*/ 12 h 1956"/>
                <a:gd name="T86" fmla="*/ 77 w 1722"/>
                <a:gd name="T87" fmla="*/ 7 h 1956"/>
                <a:gd name="T88" fmla="*/ 102 w 1722"/>
                <a:gd name="T89" fmla="*/ 2 h 1956"/>
                <a:gd name="T90" fmla="*/ 115 w 1722"/>
                <a:gd name="T91" fmla="*/ 3 h 1956"/>
                <a:gd name="T92" fmla="*/ 123 w 1722"/>
                <a:gd name="T93" fmla="*/ 3 h 1956"/>
                <a:gd name="T94" fmla="*/ 125 w 1722"/>
                <a:gd name="T95" fmla="*/ 9 h 1956"/>
                <a:gd name="T96" fmla="*/ 133 w 1722"/>
                <a:gd name="T97" fmla="*/ 13 h 1956"/>
                <a:gd name="T98" fmla="*/ 149 w 1722"/>
                <a:gd name="T99" fmla="*/ 37 h 1956"/>
                <a:gd name="T100" fmla="*/ 141 w 1722"/>
                <a:gd name="T101" fmla="*/ 57 h 1956"/>
                <a:gd name="T102" fmla="*/ 135 w 1722"/>
                <a:gd name="T103" fmla="*/ 63 h 1956"/>
                <a:gd name="T104" fmla="*/ 124 w 1722"/>
                <a:gd name="T105" fmla="*/ 77 h 1956"/>
                <a:gd name="T106" fmla="*/ 123 w 1722"/>
                <a:gd name="T107" fmla="*/ 96 h 1956"/>
                <a:gd name="T108" fmla="*/ 127 w 1722"/>
                <a:gd name="T109" fmla="*/ 97 h 1956"/>
                <a:gd name="T110" fmla="*/ 129 w 1722"/>
                <a:gd name="T111" fmla="*/ 92 h 1956"/>
                <a:gd name="T112" fmla="*/ 134 w 1722"/>
                <a:gd name="T113" fmla="*/ 94 h 1956"/>
                <a:gd name="T114" fmla="*/ 138 w 1722"/>
                <a:gd name="T115" fmla="*/ 99 h 1956"/>
                <a:gd name="T116" fmla="*/ 142 w 1722"/>
                <a:gd name="T117" fmla="*/ 104 h 1956"/>
                <a:gd name="T118" fmla="*/ 141 w 1722"/>
                <a:gd name="T119" fmla="*/ 115 h 19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722"/>
                <a:gd name="T181" fmla="*/ 0 h 1956"/>
                <a:gd name="T182" fmla="*/ 1722 w 1722"/>
                <a:gd name="T183" fmla="*/ 1956 h 19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722" h="1956">
                  <a:moveTo>
                    <a:pt x="1686" y="1404"/>
                  </a:moveTo>
                  <a:lnTo>
                    <a:pt x="1680" y="1416"/>
                  </a:lnTo>
                  <a:lnTo>
                    <a:pt x="1674" y="1422"/>
                  </a:lnTo>
                  <a:lnTo>
                    <a:pt x="1674" y="1428"/>
                  </a:lnTo>
                  <a:lnTo>
                    <a:pt x="1668" y="1428"/>
                  </a:lnTo>
                  <a:lnTo>
                    <a:pt x="1668" y="1434"/>
                  </a:lnTo>
                  <a:lnTo>
                    <a:pt x="1662" y="1446"/>
                  </a:lnTo>
                  <a:lnTo>
                    <a:pt x="1656" y="1464"/>
                  </a:lnTo>
                  <a:lnTo>
                    <a:pt x="1656" y="1476"/>
                  </a:lnTo>
                  <a:lnTo>
                    <a:pt x="1656" y="1488"/>
                  </a:lnTo>
                  <a:lnTo>
                    <a:pt x="1662" y="1500"/>
                  </a:lnTo>
                  <a:lnTo>
                    <a:pt x="1662" y="1506"/>
                  </a:lnTo>
                  <a:lnTo>
                    <a:pt x="1662" y="1524"/>
                  </a:lnTo>
                  <a:lnTo>
                    <a:pt x="1668" y="1542"/>
                  </a:lnTo>
                  <a:lnTo>
                    <a:pt x="1674" y="1560"/>
                  </a:lnTo>
                  <a:lnTo>
                    <a:pt x="1680" y="1578"/>
                  </a:lnTo>
                  <a:lnTo>
                    <a:pt x="1686" y="1578"/>
                  </a:lnTo>
                  <a:lnTo>
                    <a:pt x="1686" y="1584"/>
                  </a:lnTo>
                  <a:lnTo>
                    <a:pt x="1686" y="1590"/>
                  </a:lnTo>
                  <a:lnTo>
                    <a:pt x="1686" y="1596"/>
                  </a:lnTo>
                  <a:lnTo>
                    <a:pt x="1680" y="1596"/>
                  </a:lnTo>
                  <a:lnTo>
                    <a:pt x="1674" y="1602"/>
                  </a:lnTo>
                  <a:lnTo>
                    <a:pt x="1662" y="1602"/>
                  </a:lnTo>
                  <a:lnTo>
                    <a:pt x="1638" y="1596"/>
                  </a:lnTo>
                  <a:lnTo>
                    <a:pt x="1632" y="1596"/>
                  </a:lnTo>
                  <a:lnTo>
                    <a:pt x="1626" y="1602"/>
                  </a:lnTo>
                  <a:lnTo>
                    <a:pt x="1620" y="1602"/>
                  </a:lnTo>
                  <a:lnTo>
                    <a:pt x="1614" y="1602"/>
                  </a:lnTo>
                  <a:lnTo>
                    <a:pt x="1602" y="1602"/>
                  </a:lnTo>
                  <a:lnTo>
                    <a:pt x="1602" y="1608"/>
                  </a:lnTo>
                  <a:lnTo>
                    <a:pt x="1602" y="1620"/>
                  </a:lnTo>
                  <a:lnTo>
                    <a:pt x="1596" y="1620"/>
                  </a:lnTo>
                  <a:lnTo>
                    <a:pt x="1590" y="1620"/>
                  </a:lnTo>
                  <a:lnTo>
                    <a:pt x="1584" y="1626"/>
                  </a:lnTo>
                  <a:lnTo>
                    <a:pt x="1584" y="1632"/>
                  </a:lnTo>
                  <a:lnTo>
                    <a:pt x="1578" y="1644"/>
                  </a:lnTo>
                  <a:lnTo>
                    <a:pt x="1572" y="1644"/>
                  </a:lnTo>
                  <a:lnTo>
                    <a:pt x="1566" y="1644"/>
                  </a:lnTo>
                  <a:lnTo>
                    <a:pt x="1566" y="1650"/>
                  </a:lnTo>
                  <a:lnTo>
                    <a:pt x="1560" y="1650"/>
                  </a:lnTo>
                  <a:lnTo>
                    <a:pt x="1554" y="1650"/>
                  </a:lnTo>
                  <a:lnTo>
                    <a:pt x="1548" y="1650"/>
                  </a:lnTo>
                  <a:lnTo>
                    <a:pt x="1548" y="1656"/>
                  </a:lnTo>
                  <a:lnTo>
                    <a:pt x="1542" y="1668"/>
                  </a:lnTo>
                  <a:lnTo>
                    <a:pt x="1542" y="1674"/>
                  </a:lnTo>
                  <a:lnTo>
                    <a:pt x="1542" y="1692"/>
                  </a:lnTo>
                  <a:lnTo>
                    <a:pt x="1536" y="1698"/>
                  </a:lnTo>
                  <a:lnTo>
                    <a:pt x="1530" y="1698"/>
                  </a:lnTo>
                  <a:lnTo>
                    <a:pt x="1524" y="1698"/>
                  </a:lnTo>
                  <a:lnTo>
                    <a:pt x="1518" y="1704"/>
                  </a:lnTo>
                  <a:lnTo>
                    <a:pt x="1512" y="1710"/>
                  </a:lnTo>
                  <a:lnTo>
                    <a:pt x="1506" y="1722"/>
                  </a:lnTo>
                  <a:lnTo>
                    <a:pt x="1500" y="1728"/>
                  </a:lnTo>
                  <a:lnTo>
                    <a:pt x="1500" y="1734"/>
                  </a:lnTo>
                  <a:lnTo>
                    <a:pt x="1512" y="1734"/>
                  </a:lnTo>
                  <a:lnTo>
                    <a:pt x="1518" y="1740"/>
                  </a:lnTo>
                  <a:lnTo>
                    <a:pt x="1518" y="1746"/>
                  </a:lnTo>
                  <a:lnTo>
                    <a:pt x="1518" y="1752"/>
                  </a:lnTo>
                  <a:lnTo>
                    <a:pt x="1518" y="1758"/>
                  </a:lnTo>
                  <a:lnTo>
                    <a:pt x="1524" y="1758"/>
                  </a:lnTo>
                  <a:lnTo>
                    <a:pt x="1524" y="1764"/>
                  </a:lnTo>
                  <a:lnTo>
                    <a:pt x="1530" y="1770"/>
                  </a:lnTo>
                  <a:lnTo>
                    <a:pt x="1518" y="1770"/>
                  </a:lnTo>
                  <a:lnTo>
                    <a:pt x="1512" y="1782"/>
                  </a:lnTo>
                  <a:lnTo>
                    <a:pt x="1512" y="1788"/>
                  </a:lnTo>
                  <a:lnTo>
                    <a:pt x="1518" y="1788"/>
                  </a:lnTo>
                  <a:lnTo>
                    <a:pt x="1524" y="1800"/>
                  </a:lnTo>
                  <a:lnTo>
                    <a:pt x="1524" y="1806"/>
                  </a:lnTo>
                  <a:lnTo>
                    <a:pt x="1518" y="1812"/>
                  </a:lnTo>
                  <a:lnTo>
                    <a:pt x="1512" y="1818"/>
                  </a:lnTo>
                  <a:lnTo>
                    <a:pt x="1506" y="1818"/>
                  </a:lnTo>
                  <a:lnTo>
                    <a:pt x="1500" y="1824"/>
                  </a:lnTo>
                  <a:lnTo>
                    <a:pt x="1500" y="1836"/>
                  </a:lnTo>
                  <a:lnTo>
                    <a:pt x="1500" y="1842"/>
                  </a:lnTo>
                  <a:lnTo>
                    <a:pt x="1500" y="1848"/>
                  </a:lnTo>
                  <a:lnTo>
                    <a:pt x="1500" y="1854"/>
                  </a:lnTo>
                  <a:lnTo>
                    <a:pt x="1494" y="1860"/>
                  </a:lnTo>
                  <a:lnTo>
                    <a:pt x="1488" y="1860"/>
                  </a:lnTo>
                  <a:lnTo>
                    <a:pt x="1488" y="1866"/>
                  </a:lnTo>
                  <a:lnTo>
                    <a:pt x="1482" y="1872"/>
                  </a:lnTo>
                  <a:lnTo>
                    <a:pt x="1482" y="1878"/>
                  </a:lnTo>
                  <a:lnTo>
                    <a:pt x="1482" y="1884"/>
                  </a:lnTo>
                  <a:lnTo>
                    <a:pt x="1476" y="1890"/>
                  </a:lnTo>
                  <a:lnTo>
                    <a:pt x="1470" y="1890"/>
                  </a:lnTo>
                  <a:lnTo>
                    <a:pt x="1470" y="1896"/>
                  </a:lnTo>
                  <a:lnTo>
                    <a:pt x="1464" y="1896"/>
                  </a:lnTo>
                  <a:lnTo>
                    <a:pt x="1458" y="1896"/>
                  </a:lnTo>
                  <a:lnTo>
                    <a:pt x="1452" y="1896"/>
                  </a:lnTo>
                  <a:lnTo>
                    <a:pt x="1440" y="1890"/>
                  </a:lnTo>
                  <a:lnTo>
                    <a:pt x="1434" y="1896"/>
                  </a:lnTo>
                  <a:lnTo>
                    <a:pt x="1428" y="1896"/>
                  </a:lnTo>
                  <a:lnTo>
                    <a:pt x="1422" y="1896"/>
                  </a:lnTo>
                  <a:lnTo>
                    <a:pt x="1422" y="1902"/>
                  </a:lnTo>
                  <a:lnTo>
                    <a:pt x="1416" y="1902"/>
                  </a:lnTo>
                  <a:lnTo>
                    <a:pt x="1422" y="1914"/>
                  </a:lnTo>
                  <a:lnTo>
                    <a:pt x="1422" y="1932"/>
                  </a:lnTo>
                  <a:lnTo>
                    <a:pt x="1416" y="1938"/>
                  </a:lnTo>
                  <a:lnTo>
                    <a:pt x="1422" y="1938"/>
                  </a:lnTo>
                  <a:lnTo>
                    <a:pt x="1404" y="1938"/>
                  </a:lnTo>
                  <a:lnTo>
                    <a:pt x="1392" y="1944"/>
                  </a:lnTo>
                  <a:lnTo>
                    <a:pt x="1386" y="1944"/>
                  </a:lnTo>
                  <a:lnTo>
                    <a:pt x="1374" y="1944"/>
                  </a:lnTo>
                  <a:lnTo>
                    <a:pt x="1368" y="1950"/>
                  </a:lnTo>
                  <a:lnTo>
                    <a:pt x="1374" y="1956"/>
                  </a:lnTo>
                  <a:lnTo>
                    <a:pt x="1368" y="1956"/>
                  </a:lnTo>
                  <a:lnTo>
                    <a:pt x="1356" y="1956"/>
                  </a:lnTo>
                  <a:lnTo>
                    <a:pt x="1350" y="1956"/>
                  </a:lnTo>
                  <a:lnTo>
                    <a:pt x="1350" y="1950"/>
                  </a:lnTo>
                  <a:lnTo>
                    <a:pt x="1344" y="1944"/>
                  </a:lnTo>
                  <a:lnTo>
                    <a:pt x="1332" y="1938"/>
                  </a:lnTo>
                  <a:lnTo>
                    <a:pt x="1326" y="1938"/>
                  </a:lnTo>
                  <a:lnTo>
                    <a:pt x="1320" y="1938"/>
                  </a:lnTo>
                  <a:lnTo>
                    <a:pt x="1314" y="1944"/>
                  </a:lnTo>
                  <a:lnTo>
                    <a:pt x="1308" y="1944"/>
                  </a:lnTo>
                  <a:lnTo>
                    <a:pt x="1302" y="1944"/>
                  </a:lnTo>
                  <a:lnTo>
                    <a:pt x="1296" y="1938"/>
                  </a:lnTo>
                  <a:lnTo>
                    <a:pt x="1284" y="1938"/>
                  </a:lnTo>
                  <a:lnTo>
                    <a:pt x="1278" y="1938"/>
                  </a:lnTo>
                  <a:lnTo>
                    <a:pt x="1272" y="1938"/>
                  </a:lnTo>
                  <a:lnTo>
                    <a:pt x="1266" y="1932"/>
                  </a:lnTo>
                  <a:lnTo>
                    <a:pt x="1260" y="1932"/>
                  </a:lnTo>
                  <a:lnTo>
                    <a:pt x="1254" y="1920"/>
                  </a:lnTo>
                  <a:lnTo>
                    <a:pt x="1248" y="1920"/>
                  </a:lnTo>
                  <a:lnTo>
                    <a:pt x="1242" y="1920"/>
                  </a:lnTo>
                  <a:lnTo>
                    <a:pt x="1236" y="1926"/>
                  </a:lnTo>
                  <a:lnTo>
                    <a:pt x="1236" y="1932"/>
                  </a:lnTo>
                  <a:lnTo>
                    <a:pt x="1230" y="1932"/>
                  </a:lnTo>
                  <a:lnTo>
                    <a:pt x="1224" y="1932"/>
                  </a:lnTo>
                  <a:lnTo>
                    <a:pt x="1218" y="1938"/>
                  </a:lnTo>
                  <a:lnTo>
                    <a:pt x="1212" y="1932"/>
                  </a:lnTo>
                  <a:lnTo>
                    <a:pt x="1206" y="1926"/>
                  </a:lnTo>
                  <a:lnTo>
                    <a:pt x="1206" y="1908"/>
                  </a:lnTo>
                  <a:lnTo>
                    <a:pt x="1206" y="1884"/>
                  </a:lnTo>
                  <a:lnTo>
                    <a:pt x="1206" y="1866"/>
                  </a:lnTo>
                  <a:lnTo>
                    <a:pt x="1212" y="1848"/>
                  </a:lnTo>
                  <a:lnTo>
                    <a:pt x="1212" y="1842"/>
                  </a:lnTo>
                  <a:lnTo>
                    <a:pt x="1206" y="1836"/>
                  </a:lnTo>
                  <a:lnTo>
                    <a:pt x="1200" y="1830"/>
                  </a:lnTo>
                  <a:lnTo>
                    <a:pt x="1194" y="1824"/>
                  </a:lnTo>
                  <a:lnTo>
                    <a:pt x="1188" y="1824"/>
                  </a:lnTo>
                  <a:lnTo>
                    <a:pt x="1182" y="1824"/>
                  </a:lnTo>
                  <a:lnTo>
                    <a:pt x="1176" y="1824"/>
                  </a:lnTo>
                  <a:lnTo>
                    <a:pt x="1170" y="1818"/>
                  </a:lnTo>
                  <a:lnTo>
                    <a:pt x="1164" y="1830"/>
                  </a:lnTo>
                  <a:lnTo>
                    <a:pt x="1152" y="1836"/>
                  </a:lnTo>
                  <a:lnTo>
                    <a:pt x="1146" y="1842"/>
                  </a:lnTo>
                  <a:lnTo>
                    <a:pt x="1140" y="1842"/>
                  </a:lnTo>
                  <a:lnTo>
                    <a:pt x="1134" y="1842"/>
                  </a:lnTo>
                  <a:lnTo>
                    <a:pt x="1128" y="1842"/>
                  </a:lnTo>
                  <a:lnTo>
                    <a:pt x="1116" y="1836"/>
                  </a:lnTo>
                  <a:lnTo>
                    <a:pt x="1110" y="1842"/>
                  </a:lnTo>
                  <a:lnTo>
                    <a:pt x="1092" y="1830"/>
                  </a:lnTo>
                  <a:lnTo>
                    <a:pt x="1092" y="1824"/>
                  </a:lnTo>
                  <a:lnTo>
                    <a:pt x="1092" y="1806"/>
                  </a:lnTo>
                  <a:lnTo>
                    <a:pt x="1092" y="1800"/>
                  </a:lnTo>
                  <a:lnTo>
                    <a:pt x="1092" y="1794"/>
                  </a:lnTo>
                  <a:lnTo>
                    <a:pt x="1086" y="1788"/>
                  </a:lnTo>
                  <a:lnTo>
                    <a:pt x="1080" y="1794"/>
                  </a:lnTo>
                  <a:lnTo>
                    <a:pt x="1074" y="1788"/>
                  </a:lnTo>
                  <a:lnTo>
                    <a:pt x="1068" y="1770"/>
                  </a:lnTo>
                  <a:lnTo>
                    <a:pt x="1056" y="1764"/>
                  </a:lnTo>
                  <a:lnTo>
                    <a:pt x="1050" y="1764"/>
                  </a:lnTo>
                  <a:lnTo>
                    <a:pt x="1044" y="1764"/>
                  </a:lnTo>
                  <a:lnTo>
                    <a:pt x="1038" y="1758"/>
                  </a:lnTo>
                  <a:lnTo>
                    <a:pt x="1032" y="1752"/>
                  </a:lnTo>
                  <a:lnTo>
                    <a:pt x="1032" y="1746"/>
                  </a:lnTo>
                  <a:lnTo>
                    <a:pt x="1032" y="1740"/>
                  </a:lnTo>
                  <a:lnTo>
                    <a:pt x="1032" y="1734"/>
                  </a:lnTo>
                  <a:lnTo>
                    <a:pt x="1026" y="1734"/>
                  </a:lnTo>
                  <a:lnTo>
                    <a:pt x="1032" y="1728"/>
                  </a:lnTo>
                  <a:lnTo>
                    <a:pt x="1032" y="1722"/>
                  </a:lnTo>
                  <a:lnTo>
                    <a:pt x="1044" y="1686"/>
                  </a:lnTo>
                  <a:lnTo>
                    <a:pt x="1044" y="1680"/>
                  </a:lnTo>
                  <a:lnTo>
                    <a:pt x="1032" y="1674"/>
                  </a:lnTo>
                  <a:lnTo>
                    <a:pt x="1026" y="1674"/>
                  </a:lnTo>
                  <a:lnTo>
                    <a:pt x="1026" y="1668"/>
                  </a:lnTo>
                  <a:lnTo>
                    <a:pt x="1020" y="1662"/>
                  </a:lnTo>
                  <a:lnTo>
                    <a:pt x="1014" y="1668"/>
                  </a:lnTo>
                  <a:lnTo>
                    <a:pt x="1008" y="1662"/>
                  </a:lnTo>
                  <a:lnTo>
                    <a:pt x="1002" y="1662"/>
                  </a:lnTo>
                  <a:lnTo>
                    <a:pt x="1002" y="1668"/>
                  </a:lnTo>
                  <a:lnTo>
                    <a:pt x="996" y="1668"/>
                  </a:lnTo>
                  <a:lnTo>
                    <a:pt x="996" y="1662"/>
                  </a:lnTo>
                  <a:lnTo>
                    <a:pt x="984" y="1662"/>
                  </a:lnTo>
                  <a:lnTo>
                    <a:pt x="984" y="1656"/>
                  </a:lnTo>
                  <a:lnTo>
                    <a:pt x="978" y="1650"/>
                  </a:lnTo>
                  <a:lnTo>
                    <a:pt x="978" y="1644"/>
                  </a:lnTo>
                  <a:lnTo>
                    <a:pt x="966" y="1650"/>
                  </a:lnTo>
                  <a:lnTo>
                    <a:pt x="960" y="1638"/>
                  </a:lnTo>
                  <a:lnTo>
                    <a:pt x="954" y="1632"/>
                  </a:lnTo>
                  <a:lnTo>
                    <a:pt x="948" y="1632"/>
                  </a:lnTo>
                  <a:lnTo>
                    <a:pt x="942" y="1626"/>
                  </a:lnTo>
                  <a:lnTo>
                    <a:pt x="942" y="1614"/>
                  </a:lnTo>
                  <a:lnTo>
                    <a:pt x="930" y="1608"/>
                  </a:lnTo>
                  <a:lnTo>
                    <a:pt x="924" y="1614"/>
                  </a:lnTo>
                  <a:lnTo>
                    <a:pt x="912" y="1608"/>
                  </a:lnTo>
                  <a:lnTo>
                    <a:pt x="888" y="1590"/>
                  </a:lnTo>
                  <a:lnTo>
                    <a:pt x="894" y="1578"/>
                  </a:lnTo>
                  <a:lnTo>
                    <a:pt x="894" y="1572"/>
                  </a:lnTo>
                  <a:lnTo>
                    <a:pt x="894" y="1566"/>
                  </a:lnTo>
                  <a:lnTo>
                    <a:pt x="894" y="1548"/>
                  </a:lnTo>
                  <a:lnTo>
                    <a:pt x="888" y="1548"/>
                  </a:lnTo>
                  <a:lnTo>
                    <a:pt x="882" y="1542"/>
                  </a:lnTo>
                  <a:lnTo>
                    <a:pt x="876" y="1542"/>
                  </a:lnTo>
                  <a:lnTo>
                    <a:pt x="876" y="1536"/>
                  </a:lnTo>
                  <a:lnTo>
                    <a:pt x="870" y="1542"/>
                  </a:lnTo>
                  <a:lnTo>
                    <a:pt x="870" y="1554"/>
                  </a:lnTo>
                  <a:lnTo>
                    <a:pt x="870" y="1566"/>
                  </a:lnTo>
                  <a:lnTo>
                    <a:pt x="870" y="1578"/>
                  </a:lnTo>
                  <a:lnTo>
                    <a:pt x="870" y="1584"/>
                  </a:lnTo>
                  <a:lnTo>
                    <a:pt x="864" y="1584"/>
                  </a:lnTo>
                  <a:lnTo>
                    <a:pt x="870" y="1602"/>
                  </a:lnTo>
                  <a:lnTo>
                    <a:pt x="864" y="1608"/>
                  </a:lnTo>
                  <a:lnTo>
                    <a:pt x="870" y="1614"/>
                  </a:lnTo>
                  <a:lnTo>
                    <a:pt x="864" y="1644"/>
                  </a:lnTo>
                  <a:lnTo>
                    <a:pt x="858" y="1650"/>
                  </a:lnTo>
                  <a:lnTo>
                    <a:pt x="858" y="1656"/>
                  </a:lnTo>
                  <a:lnTo>
                    <a:pt x="852" y="1662"/>
                  </a:lnTo>
                  <a:lnTo>
                    <a:pt x="852" y="1680"/>
                  </a:lnTo>
                  <a:lnTo>
                    <a:pt x="846" y="1686"/>
                  </a:lnTo>
                  <a:lnTo>
                    <a:pt x="834" y="1692"/>
                  </a:lnTo>
                  <a:lnTo>
                    <a:pt x="828" y="1692"/>
                  </a:lnTo>
                  <a:lnTo>
                    <a:pt x="822" y="1698"/>
                  </a:lnTo>
                  <a:lnTo>
                    <a:pt x="822" y="1704"/>
                  </a:lnTo>
                  <a:lnTo>
                    <a:pt x="816" y="1704"/>
                  </a:lnTo>
                  <a:lnTo>
                    <a:pt x="804" y="1692"/>
                  </a:lnTo>
                  <a:lnTo>
                    <a:pt x="786" y="1698"/>
                  </a:lnTo>
                  <a:lnTo>
                    <a:pt x="780" y="1698"/>
                  </a:lnTo>
                  <a:lnTo>
                    <a:pt x="756" y="1698"/>
                  </a:lnTo>
                  <a:lnTo>
                    <a:pt x="744" y="1698"/>
                  </a:lnTo>
                  <a:lnTo>
                    <a:pt x="738" y="1698"/>
                  </a:lnTo>
                  <a:lnTo>
                    <a:pt x="732" y="1704"/>
                  </a:lnTo>
                  <a:lnTo>
                    <a:pt x="726" y="1704"/>
                  </a:lnTo>
                  <a:lnTo>
                    <a:pt x="678" y="1710"/>
                  </a:lnTo>
                  <a:lnTo>
                    <a:pt x="642" y="1710"/>
                  </a:lnTo>
                  <a:lnTo>
                    <a:pt x="618" y="1680"/>
                  </a:lnTo>
                  <a:lnTo>
                    <a:pt x="618" y="1674"/>
                  </a:lnTo>
                  <a:lnTo>
                    <a:pt x="618" y="1668"/>
                  </a:lnTo>
                  <a:lnTo>
                    <a:pt x="624" y="1662"/>
                  </a:lnTo>
                  <a:lnTo>
                    <a:pt x="624" y="1656"/>
                  </a:lnTo>
                  <a:lnTo>
                    <a:pt x="624" y="1650"/>
                  </a:lnTo>
                  <a:lnTo>
                    <a:pt x="618" y="1650"/>
                  </a:lnTo>
                  <a:lnTo>
                    <a:pt x="618" y="1644"/>
                  </a:lnTo>
                  <a:lnTo>
                    <a:pt x="618" y="1638"/>
                  </a:lnTo>
                  <a:lnTo>
                    <a:pt x="618" y="1632"/>
                  </a:lnTo>
                  <a:lnTo>
                    <a:pt x="618" y="1626"/>
                  </a:lnTo>
                  <a:lnTo>
                    <a:pt x="612" y="1626"/>
                  </a:lnTo>
                  <a:lnTo>
                    <a:pt x="612" y="1620"/>
                  </a:lnTo>
                  <a:lnTo>
                    <a:pt x="606" y="1614"/>
                  </a:lnTo>
                  <a:lnTo>
                    <a:pt x="594" y="1626"/>
                  </a:lnTo>
                  <a:lnTo>
                    <a:pt x="594" y="1632"/>
                  </a:lnTo>
                  <a:lnTo>
                    <a:pt x="588" y="1638"/>
                  </a:lnTo>
                  <a:lnTo>
                    <a:pt x="582" y="1638"/>
                  </a:lnTo>
                  <a:lnTo>
                    <a:pt x="564" y="1656"/>
                  </a:lnTo>
                  <a:lnTo>
                    <a:pt x="558" y="1662"/>
                  </a:lnTo>
                  <a:lnTo>
                    <a:pt x="552" y="1662"/>
                  </a:lnTo>
                  <a:lnTo>
                    <a:pt x="540" y="1674"/>
                  </a:lnTo>
                  <a:lnTo>
                    <a:pt x="534" y="1680"/>
                  </a:lnTo>
                  <a:lnTo>
                    <a:pt x="522" y="1692"/>
                  </a:lnTo>
                  <a:lnTo>
                    <a:pt x="516" y="1704"/>
                  </a:lnTo>
                  <a:lnTo>
                    <a:pt x="510" y="1704"/>
                  </a:lnTo>
                  <a:lnTo>
                    <a:pt x="504" y="1704"/>
                  </a:lnTo>
                  <a:lnTo>
                    <a:pt x="486" y="1722"/>
                  </a:lnTo>
                  <a:lnTo>
                    <a:pt x="480" y="1740"/>
                  </a:lnTo>
                  <a:lnTo>
                    <a:pt x="474" y="1740"/>
                  </a:lnTo>
                  <a:lnTo>
                    <a:pt x="468" y="1746"/>
                  </a:lnTo>
                  <a:lnTo>
                    <a:pt x="456" y="1758"/>
                  </a:lnTo>
                  <a:lnTo>
                    <a:pt x="444" y="1770"/>
                  </a:lnTo>
                  <a:lnTo>
                    <a:pt x="438" y="1782"/>
                  </a:lnTo>
                  <a:lnTo>
                    <a:pt x="426" y="1788"/>
                  </a:lnTo>
                  <a:lnTo>
                    <a:pt x="420" y="1788"/>
                  </a:lnTo>
                  <a:lnTo>
                    <a:pt x="420" y="1782"/>
                  </a:lnTo>
                  <a:lnTo>
                    <a:pt x="414" y="1782"/>
                  </a:lnTo>
                  <a:lnTo>
                    <a:pt x="390" y="1782"/>
                  </a:lnTo>
                  <a:lnTo>
                    <a:pt x="390" y="1776"/>
                  </a:lnTo>
                  <a:lnTo>
                    <a:pt x="384" y="1776"/>
                  </a:lnTo>
                  <a:lnTo>
                    <a:pt x="378" y="1776"/>
                  </a:lnTo>
                  <a:lnTo>
                    <a:pt x="372" y="1776"/>
                  </a:lnTo>
                  <a:lnTo>
                    <a:pt x="366" y="1770"/>
                  </a:lnTo>
                  <a:lnTo>
                    <a:pt x="366" y="1776"/>
                  </a:lnTo>
                  <a:lnTo>
                    <a:pt x="360" y="1788"/>
                  </a:lnTo>
                  <a:lnTo>
                    <a:pt x="360" y="1794"/>
                  </a:lnTo>
                  <a:lnTo>
                    <a:pt x="360" y="1800"/>
                  </a:lnTo>
                  <a:lnTo>
                    <a:pt x="354" y="1806"/>
                  </a:lnTo>
                  <a:lnTo>
                    <a:pt x="354" y="1812"/>
                  </a:lnTo>
                  <a:lnTo>
                    <a:pt x="354" y="1824"/>
                  </a:lnTo>
                  <a:lnTo>
                    <a:pt x="348" y="1830"/>
                  </a:lnTo>
                  <a:lnTo>
                    <a:pt x="354" y="1836"/>
                  </a:lnTo>
                  <a:lnTo>
                    <a:pt x="348" y="1842"/>
                  </a:lnTo>
                  <a:lnTo>
                    <a:pt x="354" y="1848"/>
                  </a:lnTo>
                  <a:lnTo>
                    <a:pt x="348" y="1854"/>
                  </a:lnTo>
                  <a:lnTo>
                    <a:pt x="354" y="1854"/>
                  </a:lnTo>
                  <a:lnTo>
                    <a:pt x="348" y="1860"/>
                  </a:lnTo>
                  <a:lnTo>
                    <a:pt x="348" y="1866"/>
                  </a:lnTo>
                  <a:lnTo>
                    <a:pt x="342" y="1866"/>
                  </a:lnTo>
                  <a:lnTo>
                    <a:pt x="342" y="1872"/>
                  </a:lnTo>
                  <a:lnTo>
                    <a:pt x="342" y="1878"/>
                  </a:lnTo>
                  <a:lnTo>
                    <a:pt x="342" y="1884"/>
                  </a:lnTo>
                  <a:lnTo>
                    <a:pt x="336" y="1896"/>
                  </a:lnTo>
                  <a:lnTo>
                    <a:pt x="330" y="1914"/>
                  </a:lnTo>
                  <a:lnTo>
                    <a:pt x="324" y="1920"/>
                  </a:lnTo>
                  <a:lnTo>
                    <a:pt x="324" y="1926"/>
                  </a:lnTo>
                  <a:lnTo>
                    <a:pt x="318" y="1944"/>
                  </a:lnTo>
                  <a:lnTo>
                    <a:pt x="318" y="1950"/>
                  </a:lnTo>
                  <a:lnTo>
                    <a:pt x="312" y="1956"/>
                  </a:lnTo>
                  <a:lnTo>
                    <a:pt x="312" y="1950"/>
                  </a:lnTo>
                  <a:lnTo>
                    <a:pt x="306" y="1950"/>
                  </a:lnTo>
                  <a:lnTo>
                    <a:pt x="306" y="1956"/>
                  </a:lnTo>
                  <a:lnTo>
                    <a:pt x="300" y="1950"/>
                  </a:lnTo>
                  <a:lnTo>
                    <a:pt x="294" y="1956"/>
                  </a:lnTo>
                  <a:lnTo>
                    <a:pt x="288" y="1950"/>
                  </a:lnTo>
                  <a:lnTo>
                    <a:pt x="288" y="1944"/>
                  </a:lnTo>
                  <a:lnTo>
                    <a:pt x="282" y="1938"/>
                  </a:lnTo>
                  <a:lnTo>
                    <a:pt x="282" y="1932"/>
                  </a:lnTo>
                  <a:lnTo>
                    <a:pt x="282" y="1890"/>
                  </a:lnTo>
                  <a:lnTo>
                    <a:pt x="288" y="1860"/>
                  </a:lnTo>
                  <a:lnTo>
                    <a:pt x="294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300" y="1818"/>
                  </a:lnTo>
                  <a:lnTo>
                    <a:pt x="306" y="1794"/>
                  </a:lnTo>
                  <a:lnTo>
                    <a:pt x="306" y="1788"/>
                  </a:lnTo>
                  <a:lnTo>
                    <a:pt x="306" y="1782"/>
                  </a:lnTo>
                  <a:lnTo>
                    <a:pt x="312" y="1776"/>
                  </a:lnTo>
                  <a:lnTo>
                    <a:pt x="306" y="1776"/>
                  </a:lnTo>
                  <a:lnTo>
                    <a:pt x="312" y="1770"/>
                  </a:lnTo>
                  <a:lnTo>
                    <a:pt x="312" y="1740"/>
                  </a:lnTo>
                  <a:lnTo>
                    <a:pt x="318" y="1722"/>
                  </a:lnTo>
                  <a:lnTo>
                    <a:pt x="312" y="1722"/>
                  </a:lnTo>
                  <a:lnTo>
                    <a:pt x="300" y="1716"/>
                  </a:lnTo>
                  <a:lnTo>
                    <a:pt x="306" y="1716"/>
                  </a:lnTo>
                  <a:lnTo>
                    <a:pt x="312" y="1710"/>
                  </a:lnTo>
                  <a:lnTo>
                    <a:pt x="324" y="1674"/>
                  </a:lnTo>
                  <a:lnTo>
                    <a:pt x="366" y="1590"/>
                  </a:lnTo>
                  <a:lnTo>
                    <a:pt x="408" y="1548"/>
                  </a:lnTo>
                  <a:lnTo>
                    <a:pt x="426" y="1530"/>
                  </a:lnTo>
                  <a:lnTo>
                    <a:pt x="432" y="1500"/>
                  </a:lnTo>
                  <a:lnTo>
                    <a:pt x="426" y="1494"/>
                  </a:lnTo>
                  <a:lnTo>
                    <a:pt x="426" y="1482"/>
                  </a:lnTo>
                  <a:lnTo>
                    <a:pt x="432" y="1464"/>
                  </a:lnTo>
                  <a:lnTo>
                    <a:pt x="438" y="1428"/>
                  </a:lnTo>
                  <a:lnTo>
                    <a:pt x="462" y="1398"/>
                  </a:lnTo>
                  <a:lnTo>
                    <a:pt x="468" y="1362"/>
                  </a:lnTo>
                  <a:lnTo>
                    <a:pt x="462" y="1314"/>
                  </a:lnTo>
                  <a:lnTo>
                    <a:pt x="444" y="1284"/>
                  </a:lnTo>
                  <a:lnTo>
                    <a:pt x="432" y="1260"/>
                  </a:lnTo>
                  <a:lnTo>
                    <a:pt x="426" y="1260"/>
                  </a:lnTo>
                  <a:lnTo>
                    <a:pt x="420" y="1254"/>
                  </a:lnTo>
                  <a:lnTo>
                    <a:pt x="408" y="1260"/>
                  </a:lnTo>
                  <a:lnTo>
                    <a:pt x="402" y="1260"/>
                  </a:lnTo>
                  <a:lnTo>
                    <a:pt x="402" y="1254"/>
                  </a:lnTo>
                  <a:lnTo>
                    <a:pt x="396" y="1254"/>
                  </a:lnTo>
                  <a:lnTo>
                    <a:pt x="396" y="1248"/>
                  </a:lnTo>
                  <a:lnTo>
                    <a:pt x="384" y="1248"/>
                  </a:lnTo>
                  <a:lnTo>
                    <a:pt x="372" y="1230"/>
                  </a:lnTo>
                  <a:lnTo>
                    <a:pt x="360" y="1212"/>
                  </a:lnTo>
                  <a:lnTo>
                    <a:pt x="348" y="1188"/>
                  </a:lnTo>
                  <a:lnTo>
                    <a:pt x="324" y="1170"/>
                  </a:lnTo>
                  <a:lnTo>
                    <a:pt x="318" y="1170"/>
                  </a:lnTo>
                  <a:lnTo>
                    <a:pt x="312" y="1158"/>
                  </a:lnTo>
                  <a:lnTo>
                    <a:pt x="312" y="1152"/>
                  </a:lnTo>
                  <a:lnTo>
                    <a:pt x="306" y="1146"/>
                  </a:lnTo>
                  <a:lnTo>
                    <a:pt x="270" y="1122"/>
                  </a:lnTo>
                  <a:lnTo>
                    <a:pt x="240" y="1122"/>
                  </a:lnTo>
                  <a:lnTo>
                    <a:pt x="180" y="1116"/>
                  </a:lnTo>
                  <a:lnTo>
                    <a:pt x="174" y="1122"/>
                  </a:lnTo>
                  <a:lnTo>
                    <a:pt x="174" y="1128"/>
                  </a:lnTo>
                  <a:lnTo>
                    <a:pt x="168" y="1122"/>
                  </a:lnTo>
                  <a:lnTo>
                    <a:pt x="162" y="1116"/>
                  </a:lnTo>
                  <a:lnTo>
                    <a:pt x="144" y="1122"/>
                  </a:lnTo>
                  <a:lnTo>
                    <a:pt x="120" y="1122"/>
                  </a:lnTo>
                  <a:lnTo>
                    <a:pt x="54" y="1134"/>
                  </a:lnTo>
                  <a:lnTo>
                    <a:pt x="24" y="1152"/>
                  </a:lnTo>
                  <a:lnTo>
                    <a:pt x="6" y="1146"/>
                  </a:lnTo>
                  <a:lnTo>
                    <a:pt x="0" y="1134"/>
                  </a:lnTo>
                  <a:lnTo>
                    <a:pt x="0" y="1128"/>
                  </a:lnTo>
                  <a:lnTo>
                    <a:pt x="18" y="1110"/>
                  </a:lnTo>
                  <a:lnTo>
                    <a:pt x="24" y="1104"/>
                  </a:lnTo>
                  <a:lnTo>
                    <a:pt x="24" y="1098"/>
                  </a:lnTo>
                  <a:lnTo>
                    <a:pt x="30" y="1086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24" y="1074"/>
                  </a:lnTo>
                  <a:lnTo>
                    <a:pt x="18" y="1068"/>
                  </a:lnTo>
                  <a:lnTo>
                    <a:pt x="24" y="1062"/>
                  </a:lnTo>
                  <a:lnTo>
                    <a:pt x="42" y="1056"/>
                  </a:lnTo>
                  <a:lnTo>
                    <a:pt x="54" y="1050"/>
                  </a:lnTo>
                  <a:lnTo>
                    <a:pt x="72" y="1044"/>
                  </a:lnTo>
                  <a:lnTo>
                    <a:pt x="96" y="1032"/>
                  </a:lnTo>
                  <a:lnTo>
                    <a:pt x="102" y="1032"/>
                  </a:lnTo>
                  <a:lnTo>
                    <a:pt x="126" y="1008"/>
                  </a:lnTo>
                  <a:lnTo>
                    <a:pt x="144" y="990"/>
                  </a:lnTo>
                  <a:lnTo>
                    <a:pt x="156" y="978"/>
                  </a:lnTo>
                  <a:lnTo>
                    <a:pt x="156" y="966"/>
                  </a:lnTo>
                  <a:lnTo>
                    <a:pt x="150" y="960"/>
                  </a:lnTo>
                  <a:lnTo>
                    <a:pt x="144" y="948"/>
                  </a:lnTo>
                  <a:lnTo>
                    <a:pt x="144" y="936"/>
                  </a:lnTo>
                  <a:lnTo>
                    <a:pt x="138" y="918"/>
                  </a:lnTo>
                  <a:lnTo>
                    <a:pt x="150" y="912"/>
                  </a:lnTo>
                  <a:lnTo>
                    <a:pt x="150" y="894"/>
                  </a:lnTo>
                  <a:lnTo>
                    <a:pt x="132" y="876"/>
                  </a:lnTo>
                  <a:lnTo>
                    <a:pt x="126" y="876"/>
                  </a:lnTo>
                  <a:lnTo>
                    <a:pt x="120" y="870"/>
                  </a:lnTo>
                  <a:lnTo>
                    <a:pt x="120" y="864"/>
                  </a:lnTo>
                  <a:lnTo>
                    <a:pt x="114" y="864"/>
                  </a:lnTo>
                  <a:lnTo>
                    <a:pt x="108" y="864"/>
                  </a:lnTo>
                  <a:lnTo>
                    <a:pt x="108" y="858"/>
                  </a:lnTo>
                  <a:lnTo>
                    <a:pt x="102" y="852"/>
                  </a:lnTo>
                  <a:lnTo>
                    <a:pt x="96" y="852"/>
                  </a:lnTo>
                  <a:lnTo>
                    <a:pt x="102" y="834"/>
                  </a:lnTo>
                  <a:lnTo>
                    <a:pt x="108" y="816"/>
                  </a:lnTo>
                  <a:lnTo>
                    <a:pt x="114" y="804"/>
                  </a:lnTo>
                  <a:lnTo>
                    <a:pt x="132" y="798"/>
                  </a:lnTo>
                  <a:lnTo>
                    <a:pt x="144" y="798"/>
                  </a:lnTo>
                  <a:lnTo>
                    <a:pt x="180" y="810"/>
                  </a:lnTo>
                  <a:lnTo>
                    <a:pt x="192" y="816"/>
                  </a:lnTo>
                  <a:lnTo>
                    <a:pt x="234" y="822"/>
                  </a:lnTo>
                  <a:lnTo>
                    <a:pt x="264" y="828"/>
                  </a:lnTo>
                  <a:lnTo>
                    <a:pt x="270" y="840"/>
                  </a:lnTo>
                  <a:lnTo>
                    <a:pt x="270" y="834"/>
                  </a:lnTo>
                  <a:lnTo>
                    <a:pt x="270" y="828"/>
                  </a:lnTo>
                  <a:lnTo>
                    <a:pt x="270" y="822"/>
                  </a:lnTo>
                  <a:lnTo>
                    <a:pt x="270" y="816"/>
                  </a:lnTo>
                  <a:lnTo>
                    <a:pt x="264" y="810"/>
                  </a:lnTo>
                  <a:lnTo>
                    <a:pt x="264" y="804"/>
                  </a:lnTo>
                  <a:lnTo>
                    <a:pt x="264" y="798"/>
                  </a:lnTo>
                  <a:lnTo>
                    <a:pt x="258" y="792"/>
                  </a:lnTo>
                  <a:lnTo>
                    <a:pt x="258" y="786"/>
                  </a:lnTo>
                  <a:lnTo>
                    <a:pt x="264" y="786"/>
                  </a:lnTo>
                  <a:lnTo>
                    <a:pt x="264" y="780"/>
                  </a:lnTo>
                  <a:lnTo>
                    <a:pt x="258" y="774"/>
                  </a:lnTo>
                  <a:lnTo>
                    <a:pt x="258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82" y="762"/>
                  </a:lnTo>
                  <a:lnTo>
                    <a:pt x="312" y="780"/>
                  </a:lnTo>
                  <a:lnTo>
                    <a:pt x="354" y="786"/>
                  </a:lnTo>
                  <a:lnTo>
                    <a:pt x="408" y="774"/>
                  </a:lnTo>
                  <a:lnTo>
                    <a:pt x="444" y="756"/>
                  </a:lnTo>
                  <a:lnTo>
                    <a:pt x="468" y="732"/>
                  </a:lnTo>
                  <a:lnTo>
                    <a:pt x="492" y="720"/>
                  </a:lnTo>
                  <a:lnTo>
                    <a:pt x="522" y="690"/>
                  </a:lnTo>
                  <a:lnTo>
                    <a:pt x="540" y="672"/>
                  </a:lnTo>
                  <a:lnTo>
                    <a:pt x="558" y="660"/>
                  </a:lnTo>
                  <a:lnTo>
                    <a:pt x="570" y="636"/>
                  </a:lnTo>
                  <a:lnTo>
                    <a:pt x="588" y="612"/>
                  </a:lnTo>
                  <a:lnTo>
                    <a:pt x="654" y="552"/>
                  </a:lnTo>
                  <a:lnTo>
                    <a:pt x="678" y="528"/>
                  </a:lnTo>
                  <a:lnTo>
                    <a:pt x="696" y="510"/>
                  </a:lnTo>
                  <a:lnTo>
                    <a:pt x="714" y="498"/>
                  </a:lnTo>
                  <a:lnTo>
                    <a:pt x="750" y="480"/>
                  </a:lnTo>
                  <a:lnTo>
                    <a:pt x="774" y="444"/>
                  </a:lnTo>
                  <a:lnTo>
                    <a:pt x="816" y="426"/>
                  </a:lnTo>
                  <a:lnTo>
                    <a:pt x="864" y="420"/>
                  </a:lnTo>
                  <a:lnTo>
                    <a:pt x="912" y="402"/>
                  </a:lnTo>
                  <a:lnTo>
                    <a:pt x="906" y="396"/>
                  </a:lnTo>
                  <a:lnTo>
                    <a:pt x="912" y="396"/>
                  </a:lnTo>
                  <a:lnTo>
                    <a:pt x="912" y="390"/>
                  </a:lnTo>
                  <a:lnTo>
                    <a:pt x="918" y="384"/>
                  </a:lnTo>
                  <a:lnTo>
                    <a:pt x="924" y="384"/>
                  </a:lnTo>
                  <a:lnTo>
                    <a:pt x="924" y="378"/>
                  </a:lnTo>
                  <a:lnTo>
                    <a:pt x="918" y="372"/>
                  </a:lnTo>
                  <a:lnTo>
                    <a:pt x="918" y="366"/>
                  </a:lnTo>
                  <a:lnTo>
                    <a:pt x="918" y="360"/>
                  </a:lnTo>
                  <a:lnTo>
                    <a:pt x="924" y="360"/>
                  </a:lnTo>
                  <a:lnTo>
                    <a:pt x="924" y="354"/>
                  </a:lnTo>
                  <a:lnTo>
                    <a:pt x="930" y="354"/>
                  </a:lnTo>
                  <a:lnTo>
                    <a:pt x="936" y="354"/>
                  </a:lnTo>
                  <a:lnTo>
                    <a:pt x="936" y="348"/>
                  </a:lnTo>
                  <a:lnTo>
                    <a:pt x="942" y="348"/>
                  </a:lnTo>
                  <a:lnTo>
                    <a:pt x="942" y="336"/>
                  </a:lnTo>
                  <a:lnTo>
                    <a:pt x="936" y="336"/>
                  </a:lnTo>
                  <a:lnTo>
                    <a:pt x="930" y="330"/>
                  </a:lnTo>
                  <a:lnTo>
                    <a:pt x="924" y="330"/>
                  </a:lnTo>
                  <a:lnTo>
                    <a:pt x="924" y="324"/>
                  </a:lnTo>
                  <a:lnTo>
                    <a:pt x="918" y="318"/>
                  </a:lnTo>
                  <a:lnTo>
                    <a:pt x="912" y="306"/>
                  </a:lnTo>
                  <a:lnTo>
                    <a:pt x="918" y="306"/>
                  </a:lnTo>
                  <a:lnTo>
                    <a:pt x="924" y="300"/>
                  </a:lnTo>
                  <a:lnTo>
                    <a:pt x="924" y="294"/>
                  </a:lnTo>
                  <a:lnTo>
                    <a:pt x="924" y="288"/>
                  </a:lnTo>
                  <a:lnTo>
                    <a:pt x="924" y="282"/>
                  </a:lnTo>
                  <a:lnTo>
                    <a:pt x="924" y="276"/>
                  </a:lnTo>
                  <a:lnTo>
                    <a:pt x="918" y="270"/>
                  </a:lnTo>
                  <a:lnTo>
                    <a:pt x="918" y="264"/>
                  </a:lnTo>
                  <a:lnTo>
                    <a:pt x="912" y="270"/>
                  </a:lnTo>
                  <a:lnTo>
                    <a:pt x="912" y="264"/>
                  </a:lnTo>
                  <a:lnTo>
                    <a:pt x="912" y="258"/>
                  </a:lnTo>
                  <a:lnTo>
                    <a:pt x="912" y="252"/>
                  </a:lnTo>
                  <a:lnTo>
                    <a:pt x="906" y="252"/>
                  </a:lnTo>
                  <a:lnTo>
                    <a:pt x="900" y="246"/>
                  </a:lnTo>
                  <a:lnTo>
                    <a:pt x="900" y="240"/>
                  </a:lnTo>
                  <a:lnTo>
                    <a:pt x="900" y="246"/>
                  </a:lnTo>
                  <a:lnTo>
                    <a:pt x="894" y="246"/>
                  </a:lnTo>
                  <a:lnTo>
                    <a:pt x="894" y="240"/>
                  </a:lnTo>
                  <a:lnTo>
                    <a:pt x="894" y="234"/>
                  </a:lnTo>
                  <a:lnTo>
                    <a:pt x="900" y="234"/>
                  </a:lnTo>
                  <a:lnTo>
                    <a:pt x="900" y="228"/>
                  </a:lnTo>
                  <a:lnTo>
                    <a:pt x="906" y="228"/>
                  </a:lnTo>
                  <a:lnTo>
                    <a:pt x="900" y="222"/>
                  </a:lnTo>
                  <a:lnTo>
                    <a:pt x="894" y="216"/>
                  </a:lnTo>
                  <a:lnTo>
                    <a:pt x="894" y="210"/>
                  </a:lnTo>
                  <a:lnTo>
                    <a:pt x="888" y="210"/>
                  </a:lnTo>
                  <a:lnTo>
                    <a:pt x="888" y="204"/>
                  </a:lnTo>
                  <a:lnTo>
                    <a:pt x="888" y="198"/>
                  </a:lnTo>
                  <a:lnTo>
                    <a:pt x="888" y="192"/>
                  </a:lnTo>
                  <a:lnTo>
                    <a:pt x="882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82" y="174"/>
                  </a:lnTo>
                  <a:lnTo>
                    <a:pt x="888" y="168"/>
                  </a:lnTo>
                  <a:lnTo>
                    <a:pt x="888" y="162"/>
                  </a:lnTo>
                  <a:lnTo>
                    <a:pt x="888" y="156"/>
                  </a:lnTo>
                  <a:lnTo>
                    <a:pt x="888" y="150"/>
                  </a:lnTo>
                  <a:lnTo>
                    <a:pt x="888" y="144"/>
                  </a:lnTo>
                  <a:lnTo>
                    <a:pt x="882" y="144"/>
                  </a:lnTo>
                  <a:lnTo>
                    <a:pt x="882" y="138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76" y="120"/>
                  </a:lnTo>
                  <a:lnTo>
                    <a:pt x="882" y="114"/>
                  </a:lnTo>
                  <a:lnTo>
                    <a:pt x="882" y="108"/>
                  </a:lnTo>
                  <a:lnTo>
                    <a:pt x="888" y="102"/>
                  </a:lnTo>
                  <a:lnTo>
                    <a:pt x="894" y="102"/>
                  </a:lnTo>
                  <a:lnTo>
                    <a:pt x="894" y="96"/>
                  </a:lnTo>
                  <a:lnTo>
                    <a:pt x="888" y="96"/>
                  </a:lnTo>
                  <a:lnTo>
                    <a:pt x="894" y="90"/>
                  </a:lnTo>
                  <a:lnTo>
                    <a:pt x="888" y="84"/>
                  </a:lnTo>
                  <a:lnTo>
                    <a:pt x="888" y="78"/>
                  </a:lnTo>
                  <a:lnTo>
                    <a:pt x="924" y="66"/>
                  </a:lnTo>
                  <a:lnTo>
                    <a:pt x="966" y="66"/>
                  </a:lnTo>
                  <a:lnTo>
                    <a:pt x="996" y="48"/>
                  </a:lnTo>
                  <a:lnTo>
                    <a:pt x="1056" y="12"/>
                  </a:lnTo>
                  <a:lnTo>
                    <a:pt x="1128" y="0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0" y="18"/>
                  </a:lnTo>
                  <a:lnTo>
                    <a:pt x="1176" y="24"/>
                  </a:lnTo>
                  <a:lnTo>
                    <a:pt x="1182" y="24"/>
                  </a:lnTo>
                  <a:lnTo>
                    <a:pt x="1188" y="30"/>
                  </a:lnTo>
                  <a:lnTo>
                    <a:pt x="1194" y="30"/>
                  </a:lnTo>
                  <a:lnTo>
                    <a:pt x="1194" y="36"/>
                  </a:lnTo>
                  <a:lnTo>
                    <a:pt x="1260" y="30"/>
                  </a:lnTo>
                  <a:lnTo>
                    <a:pt x="1272" y="30"/>
                  </a:lnTo>
                  <a:lnTo>
                    <a:pt x="1296" y="24"/>
                  </a:lnTo>
                  <a:lnTo>
                    <a:pt x="1302" y="30"/>
                  </a:lnTo>
                  <a:lnTo>
                    <a:pt x="1302" y="36"/>
                  </a:lnTo>
                  <a:lnTo>
                    <a:pt x="1308" y="36"/>
                  </a:lnTo>
                  <a:lnTo>
                    <a:pt x="1314" y="36"/>
                  </a:lnTo>
                  <a:lnTo>
                    <a:pt x="1320" y="36"/>
                  </a:lnTo>
                  <a:lnTo>
                    <a:pt x="1326" y="30"/>
                  </a:lnTo>
                  <a:lnTo>
                    <a:pt x="1332" y="30"/>
                  </a:lnTo>
                  <a:lnTo>
                    <a:pt x="1338" y="30"/>
                  </a:lnTo>
                  <a:lnTo>
                    <a:pt x="1344" y="30"/>
                  </a:lnTo>
                  <a:lnTo>
                    <a:pt x="1374" y="30"/>
                  </a:lnTo>
                  <a:lnTo>
                    <a:pt x="1386" y="30"/>
                  </a:lnTo>
                  <a:lnTo>
                    <a:pt x="1392" y="24"/>
                  </a:lnTo>
                  <a:lnTo>
                    <a:pt x="1398" y="12"/>
                  </a:lnTo>
                  <a:lnTo>
                    <a:pt x="1404" y="6"/>
                  </a:lnTo>
                  <a:lnTo>
                    <a:pt x="1410" y="6"/>
                  </a:lnTo>
                  <a:lnTo>
                    <a:pt x="1410" y="12"/>
                  </a:lnTo>
                  <a:lnTo>
                    <a:pt x="1416" y="18"/>
                  </a:lnTo>
                  <a:lnTo>
                    <a:pt x="1416" y="36"/>
                  </a:lnTo>
                  <a:lnTo>
                    <a:pt x="1434" y="54"/>
                  </a:lnTo>
                  <a:lnTo>
                    <a:pt x="1434" y="60"/>
                  </a:lnTo>
                  <a:lnTo>
                    <a:pt x="1434" y="66"/>
                  </a:lnTo>
                  <a:lnTo>
                    <a:pt x="1434" y="72"/>
                  </a:lnTo>
                  <a:lnTo>
                    <a:pt x="1428" y="72"/>
                  </a:lnTo>
                  <a:lnTo>
                    <a:pt x="1428" y="78"/>
                  </a:lnTo>
                  <a:lnTo>
                    <a:pt x="1434" y="78"/>
                  </a:lnTo>
                  <a:lnTo>
                    <a:pt x="1440" y="84"/>
                  </a:lnTo>
                  <a:lnTo>
                    <a:pt x="1440" y="90"/>
                  </a:lnTo>
                  <a:lnTo>
                    <a:pt x="1440" y="96"/>
                  </a:lnTo>
                  <a:lnTo>
                    <a:pt x="1446" y="96"/>
                  </a:lnTo>
                  <a:lnTo>
                    <a:pt x="1446" y="108"/>
                  </a:lnTo>
                  <a:lnTo>
                    <a:pt x="1452" y="108"/>
                  </a:lnTo>
                  <a:lnTo>
                    <a:pt x="1452" y="114"/>
                  </a:lnTo>
                  <a:lnTo>
                    <a:pt x="1458" y="114"/>
                  </a:lnTo>
                  <a:lnTo>
                    <a:pt x="1470" y="120"/>
                  </a:lnTo>
                  <a:lnTo>
                    <a:pt x="1476" y="120"/>
                  </a:lnTo>
                  <a:lnTo>
                    <a:pt x="1476" y="114"/>
                  </a:lnTo>
                  <a:lnTo>
                    <a:pt x="1488" y="120"/>
                  </a:lnTo>
                  <a:lnTo>
                    <a:pt x="1506" y="120"/>
                  </a:lnTo>
                  <a:lnTo>
                    <a:pt x="1512" y="120"/>
                  </a:lnTo>
                  <a:lnTo>
                    <a:pt x="1518" y="120"/>
                  </a:lnTo>
                  <a:lnTo>
                    <a:pt x="1524" y="126"/>
                  </a:lnTo>
                  <a:lnTo>
                    <a:pt x="1536" y="150"/>
                  </a:lnTo>
                  <a:lnTo>
                    <a:pt x="1548" y="162"/>
                  </a:lnTo>
                  <a:lnTo>
                    <a:pt x="1554" y="168"/>
                  </a:lnTo>
                  <a:lnTo>
                    <a:pt x="1584" y="228"/>
                  </a:lnTo>
                  <a:lnTo>
                    <a:pt x="1584" y="234"/>
                  </a:lnTo>
                  <a:lnTo>
                    <a:pt x="1578" y="312"/>
                  </a:lnTo>
                  <a:lnTo>
                    <a:pt x="1590" y="318"/>
                  </a:lnTo>
                  <a:lnTo>
                    <a:pt x="1608" y="330"/>
                  </a:lnTo>
                  <a:lnTo>
                    <a:pt x="1620" y="342"/>
                  </a:lnTo>
                  <a:lnTo>
                    <a:pt x="1626" y="342"/>
                  </a:lnTo>
                  <a:lnTo>
                    <a:pt x="1692" y="360"/>
                  </a:lnTo>
                  <a:lnTo>
                    <a:pt x="1710" y="408"/>
                  </a:lnTo>
                  <a:lnTo>
                    <a:pt x="1722" y="426"/>
                  </a:lnTo>
                  <a:lnTo>
                    <a:pt x="1716" y="468"/>
                  </a:lnTo>
                  <a:lnTo>
                    <a:pt x="1686" y="486"/>
                  </a:lnTo>
                  <a:lnTo>
                    <a:pt x="1686" y="492"/>
                  </a:lnTo>
                  <a:lnTo>
                    <a:pt x="1680" y="498"/>
                  </a:lnTo>
                  <a:lnTo>
                    <a:pt x="1650" y="558"/>
                  </a:lnTo>
                  <a:lnTo>
                    <a:pt x="1650" y="570"/>
                  </a:lnTo>
                  <a:lnTo>
                    <a:pt x="1644" y="570"/>
                  </a:lnTo>
                  <a:lnTo>
                    <a:pt x="1638" y="582"/>
                  </a:lnTo>
                  <a:lnTo>
                    <a:pt x="1638" y="624"/>
                  </a:lnTo>
                  <a:lnTo>
                    <a:pt x="1638" y="636"/>
                  </a:lnTo>
                  <a:lnTo>
                    <a:pt x="1638" y="642"/>
                  </a:lnTo>
                  <a:lnTo>
                    <a:pt x="1632" y="660"/>
                  </a:lnTo>
                  <a:lnTo>
                    <a:pt x="1608" y="678"/>
                  </a:lnTo>
                  <a:lnTo>
                    <a:pt x="1584" y="690"/>
                  </a:lnTo>
                  <a:lnTo>
                    <a:pt x="1584" y="696"/>
                  </a:lnTo>
                  <a:lnTo>
                    <a:pt x="1578" y="702"/>
                  </a:lnTo>
                  <a:lnTo>
                    <a:pt x="1584" y="702"/>
                  </a:lnTo>
                  <a:lnTo>
                    <a:pt x="1578" y="714"/>
                  </a:lnTo>
                  <a:lnTo>
                    <a:pt x="1572" y="714"/>
                  </a:lnTo>
                  <a:lnTo>
                    <a:pt x="1572" y="720"/>
                  </a:lnTo>
                  <a:lnTo>
                    <a:pt x="1566" y="720"/>
                  </a:lnTo>
                  <a:lnTo>
                    <a:pt x="1560" y="726"/>
                  </a:lnTo>
                  <a:lnTo>
                    <a:pt x="1560" y="732"/>
                  </a:lnTo>
                  <a:lnTo>
                    <a:pt x="1554" y="732"/>
                  </a:lnTo>
                  <a:lnTo>
                    <a:pt x="1554" y="738"/>
                  </a:lnTo>
                  <a:lnTo>
                    <a:pt x="1554" y="744"/>
                  </a:lnTo>
                  <a:lnTo>
                    <a:pt x="1548" y="744"/>
                  </a:lnTo>
                  <a:lnTo>
                    <a:pt x="1548" y="738"/>
                  </a:lnTo>
                  <a:lnTo>
                    <a:pt x="1542" y="738"/>
                  </a:lnTo>
                  <a:lnTo>
                    <a:pt x="1542" y="744"/>
                  </a:lnTo>
                  <a:lnTo>
                    <a:pt x="1542" y="750"/>
                  </a:lnTo>
                  <a:lnTo>
                    <a:pt x="1494" y="804"/>
                  </a:lnTo>
                  <a:lnTo>
                    <a:pt x="1446" y="876"/>
                  </a:lnTo>
                  <a:lnTo>
                    <a:pt x="1440" y="876"/>
                  </a:lnTo>
                  <a:lnTo>
                    <a:pt x="1434" y="876"/>
                  </a:lnTo>
                  <a:lnTo>
                    <a:pt x="1428" y="882"/>
                  </a:lnTo>
                  <a:lnTo>
                    <a:pt x="1422" y="882"/>
                  </a:lnTo>
                  <a:lnTo>
                    <a:pt x="1386" y="924"/>
                  </a:lnTo>
                  <a:lnTo>
                    <a:pt x="1362" y="954"/>
                  </a:lnTo>
                  <a:lnTo>
                    <a:pt x="1356" y="984"/>
                  </a:lnTo>
                  <a:lnTo>
                    <a:pt x="1362" y="1002"/>
                  </a:lnTo>
                  <a:lnTo>
                    <a:pt x="1368" y="1020"/>
                  </a:lnTo>
                  <a:lnTo>
                    <a:pt x="1386" y="1056"/>
                  </a:lnTo>
                  <a:lnTo>
                    <a:pt x="1404" y="1074"/>
                  </a:lnTo>
                  <a:lnTo>
                    <a:pt x="1416" y="1080"/>
                  </a:lnTo>
                  <a:lnTo>
                    <a:pt x="1416" y="1086"/>
                  </a:lnTo>
                  <a:lnTo>
                    <a:pt x="1422" y="1098"/>
                  </a:lnTo>
                  <a:lnTo>
                    <a:pt x="1422" y="1110"/>
                  </a:lnTo>
                  <a:lnTo>
                    <a:pt x="1428" y="1116"/>
                  </a:lnTo>
                  <a:lnTo>
                    <a:pt x="1434" y="1116"/>
                  </a:lnTo>
                  <a:lnTo>
                    <a:pt x="1434" y="1122"/>
                  </a:lnTo>
                  <a:lnTo>
                    <a:pt x="1434" y="1128"/>
                  </a:lnTo>
                  <a:lnTo>
                    <a:pt x="1440" y="1134"/>
                  </a:lnTo>
                  <a:lnTo>
                    <a:pt x="1446" y="1134"/>
                  </a:lnTo>
                  <a:lnTo>
                    <a:pt x="1458" y="1134"/>
                  </a:lnTo>
                  <a:lnTo>
                    <a:pt x="1458" y="1140"/>
                  </a:lnTo>
                  <a:lnTo>
                    <a:pt x="1464" y="1134"/>
                  </a:lnTo>
                  <a:lnTo>
                    <a:pt x="1470" y="1134"/>
                  </a:lnTo>
                  <a:lnTo>
                    <a:pt x="1464" y="1128"/>
                  </a:lnTo>
                  <a:lnTo>
                    <a:pt x="1464" y="1122"/>
                  </a:lnTo>
                  <a:lnTo>
                    <a:pt x="1470" y="1116"/>
                  </a:lnTo>
                  <a:lnTo>
                    <a:pt x="1470" y="1122"/>
                  </a:lnTo>
                  <a:lnTo>
                    <a:pt x="1476" y="1122"/>
                  </a:lnTo>
                  <a:lnTo>
                    <a:pt x="1476" y="1116"/>
                  </a:lnTo>
                  <a:lnTo>
                    <a:pt x="1482" y="1110"/>
                  </a:lnTo>
                  <a:lnTo>
                    <a:pt x="1476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82" y="1086"/>
                  </a:lnTo>
                  <a:lnTo>
                    <a:pt x="1482" y="1074"/>
                  </a:lnTo>
                  <a:lnTo>
                    <a:pt x="1488" y="1068"/>
                  </a:lnTo>
                  <a:lnTo>
                    <a:pt x="1488" y="1062"/>
                  </a:lnTo>
                  <a:lnTo>
                    <a:pt x="1494" y="1062"/>
                  </a:lnTo>
                  <a:lnTo>
                    <a:pt x="1500" y="1062"/>
                  </a:lnTo>
                  <a:lnTo>
                    <a:pt x="1506" y="1062"/>
                  </a:lnTo>
                  <a:lnTo>
                    <a:pt x="1506" y="1056"/>
                  </a:lnTo>
                  <a:lnTo>
                    <a:pt x="1506" y="1062"/>
                  </a:lnTo>
                  <a:lnTo>
                    <a:pt x="1518" y="1062"/>
                  </a:lnTo>
                  <a:lnTo>
                    <a:pt x="1524" y="1062"/>
                  </a:lnTo>
                  <a:lnTo>
                    <a:pt x="1530" y="1062"/>
                  </a:lnTo>
                  <a:lnTo>
                    <a:pt x="1536" y="1068"/>
                  </a:lnTo>
                  <a:lnTo>
                    <a:pt x="1536" y="1074"/>
                  </a:lnTo>
                  <a:lnTo>
                    <a:pt x="1542" y="1086"/>
                  </a:lnTo>
                  <a:lnTo>
                    <a:pt x="1548" y="1086"/>
                  </a:lnTo>
                  <a:lnTo>
                    <a:pt x="1554" y="1086"/>
                  </a:lnTo>
                  <a:lnTo>
                    <a:pt x="1566" y="1098"/>
                  </a:lnTo>
                  <a:lnTo>
                    <a:pt x="1572" y="1104"/>
                  </a:lnTo>
                  <a:lnTo>
                    <a:pt x="1566" y="1110"/>
                  </a:lnTo>
                  <a:lnTo>
                    <a:pt x="1572" y="1116"/>
                  </a:lnTo>
                  <a:lnTo>
                    <a:pt x="1578" y="1116"/>
                  </a:lnTo>
                  <a:lnTo>
                    <a:pt x="1578" y="1122"/>
                  </a:lnTo>
                  <a:lnTo>
                    <a:pt x="1584" y="1122"/>
                  </a:lnTo>
                  <a:lnTo>
                    <a:pt x="1584" y="1128"/>
                  </a:lnTo>
                  <a:lnTo>
                    <a:pt x="1584" y="1134"/>
                  </a:lnTo>
                  <a:lnTo>
                    <a:pt x="1590" y="1134"/>
                  </a:lnTo>
                  <a:lnTo>
                    <a:pt x="1596" y="1140"/>
                  </a:lnTo>
                  <a:lnTo>
                    <a:pt x="1602" y="1146"/>
                  </a:lnTo>
                  <a:lnTo>
                    <a:pt x="1608" y="1146"/>
                  </a:lnTo>
                  <a:lnTo>
                    <a:pt x="1614" y="1146"/>
                  </a:lnTo>
                  <a:lnTo>
                    <a:pt x="1614" y="1152"/>
                  </a:lnTo>
                  <a:lnTo>
                    <a:pt x="1620" y="1152"/>
                  </a:lnTo>
                  <a:lnTo>
                    <a:pt x="1626" y="1164"/>
                  </a:lnTo>
                  <a:lnTo>
                    <a:pt x="1632" y="1170"/>
                  </a:lnTo>
                  <a:lnTo>
                    <a:pt x="1638" y="1176"/>
                  </a:lnTo>
                  <a:lnTo>
                    <a:pt x="1638" y="1182"/>
                  </a:lnTo>
                  <a:lnTo>
                    <a:pt x="1644" y="1194"/>
                  </a:lnTo>
                  <a:lnTo>
                    <a:pt x="1644" y="1200"/>
                  </a:lnTo>
                  <a:lnTo>
                    <a:pt x="1638" y="1200"/>
                  </a:lnTo>
                  <a:lnTo>
                    <a:pt x="1638" y="1206"/>
                  </a:lnTo>
                  <a:lnTo>
                    <a:pt x="1638" y="1212"/>
                  </a:lnTo>
                  <a:lnTo>
                    <a:pt x="1638" y="1218"/>
                  </a:lnTo>
                  <a:lnTo>
                    <a:pt x="1632" y="1242"/>
                  </a:lnTo>
                  <a:lnTo>
                    <a:pt x="1632" y="1266"/>
                  </a:lnTo>
                  <a:lnTo>
                    <a:pt x="1638" y="1284"/>
                  </a:lnTo>
                  <a:lnTo>
                    <a:pt x="1638" y="1296"/>
                  </a:lnTo>
                  <a:lnTo>
                    <a:pt x="1632" y="1296"/>
                  </a:lnTo>
                  <a:lnTo>
                    <a:pt x="1632" y="1302"/>
                  </a:lnTo>
                  <a:lnTo>
                    <a:pt x="1638" y="1314"/>
                  </a:lnTo>
                  <a:lnTo>
                    <a:pt x="1638" y="1320"/>
                  </a:lnTo>
                  <a:lnTo>
                    <a:pt x="1632" y="1320"/>
                  </a:lnTo>
                  <a:lnTo>
                    <a:pt x="1632" y="1326"/>
                  </a:lnTo>
                  <a:lnTo>
                    <a:pt x="1644" y="1332"/>
                  </a:lnTo>
                  <a:lnTo>
                    <a:pt x="1644" y="1338"/>
                  </a:lnTo>
                  <a:lnTo>
                    <a:pt x="1650" y="1344"/>
                  </a:lnTo>
                  <a:lnTo>
                    <a:pt x="1668" y="1362"/>
                  </a:lnTo>
                  <a:lnTo>
                    <a:pt x="1668" y="1368"/>
                  </a:lnTo>
                  <a:lnTo>
                    <a:pt x="1674" y="1392"/>
                  </a:lnTo>
                  <a:lnTo>
                    <a:pt x="1686" y="140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2" name="Freeform 17">
              <a:extLst>
                <a:ext uri="{FF2B5EF4-FFF2-40B4-BE49-F238E27FC236}">
                  <a16:creationId xmlns:a16="http://schemas.microsoft.com/office/drawing/2014/main" id="{9F9DF7AF-2203-4CCB-AF1B-32CDAF87CC5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416927"/>
              <a:ext cx="816209" cy="574781"/>
            </a:xfrm>
            <a:custGeom>
              <a:avLst/>
              <a:gdLst>
                <a:gd name="T0" fmla="*/ 115 w 1536"/>
                <a:gd name="T1" fmla="*/ 89 h 1080"/>
                <a:gd name="T2" fmla="*/ 113 w 1536"/>
                <a:gd name="T3" fmla="*/ 92 h 1080"/>
                <a:gd name="T4" fmla="*/ 107 w 1536"/>
                <a:gd name="T5" fmla="*/ 93 h 1080"/>
                <a:gd name="T6" fmla="*/ 108 w 1536"/>
                <a:gd name="T7" fmla="*/ 90 h 1080"/>
                <a:gd name="T8" fmla="*/ 105 w 1536"/>
                <a:gd name="T9" fmla="*/ 87 h 1080"/>
                <a:gd name="T10" fmla="*/ 102 w 1536"/>
                <a:gd name="T11" fmla="*/ 85 h 1080"/>
                <a:gd name="T12" fmla="*/ 89 w 1536"/>
                <a:gd name="T13" fmla="*/ 80 h 1080"/>
                <a:gd name="T14" fmla="*/ 85 w 1536"/>
                <a:gd name="T15" fmla="*/ 82 h 1080"/>
                <a:gd name="T16" fmla="*/ 82 w 1536"/>
                <a:gd name="T17" fmla="*/ 80 h 1080"/>
                <a:gd name="T18" fmla="*/ 80 w 1536"/>
                <a:gd name="T19" fmla="*/ 75 h 1080"/>
                <a:gd name="T20" fmla="*/ 75 w 1536"/>
                <a:gd name="T21" fmla="*/ 72 h 1080"/>
                <a:gd name="T22" fmla="*/ 61 w 1536"/>
                <a:gd name="T23" fmla="*/ 70 h 1080"/>
                <a:gd name="T24" fmla="*/ 62 w 1536"/>
                <a:gd name="T25" fmla="*/ 72 h 1080"/>
                <a:gd name="T26" fmla="*/ 58 w 1536"/>
                <a:gd name="T27" fmla="*/ 75 h 1080"/>
                <a:gd name="T28" fmla="*/ 49 w 1536"/>
                <a:gd name="T29" fmla="*/ 76 h 1080"/>
                <a:gd name="T30" fmla="*/ 41 w 1536"/>
                <a:gd name="T31" fmla="*/ 79 h 1080"/>
                <a:gd name="T32" fmla="*/ 41 w 1536"/>
                <a:gd name="T33" fmla="*/ 77 h 1080"/>
                <a:gd name="T34" fmla="*/ 39 w 1536"/>
                <a:gd name="T35" fmla="*/ 74 h 1080"/>
                <a:gd name="T36" fmla="*/ 28 w 1536"/>
                <a:gd name="T37" fmla="*/ 78 h 1080"/>
                <a:gd name="T38" fmla="*/ 18 w 1536"/>
                <a:gd name="T39" fmla="*/ 85 h 1080"/>
                <a:gd name="T40" fmla="*/ 18 w 1536"/>
                <a:gd name="T41" fmla="*/ 77 h 1080"/>
                <a:gd name="T42" fmla="*/ 19 w 1536"/>
                <a:gd name="T43" fmla="*/ 69 h 1080"/>
                <a:gd name="T44" fmla="*/ 16 w 1536"/>
                <a:gd name="T45" fmla="*/ 69 h 1080"/>
                <a:gd name="T46" fmla="*/ 11 w 1536"/>
                <a:gd name="T47" fmla="*/ 69 h 1080"/>
                <a:gd name="T48" fmla="*/ 5 w 1536"/>
                <a:gd name="T49" fmla="*/ 68 h 1080"/>
                <a:gd name="T50" fmla="*/ 1 w 1536"/>
                <a:gd name="T51" fmla="*/ 63 h 1080"/>
                <a:gd name="T52" fmla="*/ 3 w 1536"/>
                <a:gd name="T53" fmla="*/ 59 h 1080"/>
                <a:gd name="T54" fmla="*/ 9 w 1536"/>
                <a:gd name="T55" fmla="*/ 54 h 1080"/>
                <a:gd name="T56" fmla="*/ 15 w 1536"/>
                <a:gd name="T57" fmla="*/ 47 h 1080"/>
                <a:gd name="T58" fmla="*/ 17 w 1536"/>
                <a:gd name="T59" fmla="*/ 40 h 1080"/>
                <a:gd name="T60" fmla="*/ 12 w 1536"/>
                <a:gd name="T61" fmla="*/ 33 h 1080"/>
                <a:gd name="T62" fmla="*/ 10 w 1536"/>
                <a:gd name="T63" fmla="*/ 21 h 1080"/>
                <a:gd name="T64" fmla="*/ 6 w 1536"/>
                <a:gd name="T65" fmla="*/ 14 h 1080"/>
                <a:gd name="T66" fmla="*/ 7 w 1536"/>
                <a:gd name="T67" fmla="*/ 9 h 1080"/>
                <a:gd name="T68" fmla="*/ 12 w 1536"/>
                <a:gd name="T69" fmla="*/ 7 h 1080"/>
                <a:gd name="T70" fmla="*/ 16 w 1536"/>
                <a:gd name="T71" fmla="*/ 8 h 1080"/>
                <a:gd name="T72" fmla="*/ 19 w 1536"/>
                <a:gd name="T73" fmla="*/ 8 h 1080"/>
                <a:gd name="T74" fmla="*/ 22 w 1536"/>
                <a:gd name="T75" fmla="*/ 9 h 1080"/>
                <a:gd name="T76" fmla="*/ 29 w 1536"/>
                <a:gd name="T77" fmla="*/ 12 h 1080"/>
                <a:gd name="T78" fmla="*/ 33 w 1536"/>
                <a:gd name="T79" fmla="*/ 13 h 1080"/>
                <a:gd name="T80" fmla="*/ 38 w 1536"/>
                <a:gd name="T81" fmla="*/ 15 h 1080"/>
                <a:gd name="T82" fmla="*/ 42 w 1536"/>
                <a:gd name="T83" fmla="*/ 17 h 1080"/>
                <a:gd name="T84" fmla="*/ 47 w 1536"/>
                <a:gd name="T85" fmla="*/ 19 h 1080"/>
                <a:gd name="T86" fmla="*/ 51 w 1536"/>
                <a:gd name="T87" fmla="*/ 21 h 1080"/>
                <a:gd name="T88" fmla="*/ 50 w 1536"/>
                <a:gd name="T89" fmla="*/ 15 h 1080"/>
                <a:gd name="T90" fmla="*/ 56 w 1536"/>
                <a:gd name="T91" fmla="*/ 0 h 1080"/>
                <a:gd name="T92" fmla="*/ 74 w 1536"/>
                <a:gd name="T93" fmla="*/ 5 h 1080"/>
                <a:gd name="T94" fmla="*/ 87 w 1536"/>
                <a:gd name="T95" fmla="*/ 6 h 1080"/>
                <a:gd name="T96" fmla="*/ 92 w 1536"/>
                <a:gd name="T97" fmla="*/ 11 h 1080"/>
                <a:gd name="T98" fmla="*/ 95 w 1536"/>
                <a:gd name="T99" fmla="*/ 15 h 1080"/>
                <a:gd name="T100" fmla="*/ 93 w 1536"/>
                <a:gd name="T101" fmla="*/ 20 h 1080"/>
                <a:gd name="T102" fmla="*/ 108 w 1536"/>
                <a:gd name="T103" fmla="*/ 18 h 1080"/>
                <a:gd name="T104" fmla="*/ 120 w 1536"/>
                <a:gd name="T105" fmla="*/ 21 h 1080"/>
                <a:gd name="T106" fmla="*/ 127 w 1536"/>
                <a:gd name="T107" fmla="*/ 29 h 1080"/>
                <a:gd name="T108" fmla="*/ 130 w 1536"/>
                <a:gd name="T109" fmla="*/ 30 h 1080"/>
                <a:gd name="T110" fmla="*/ 130 w 1536"/>
                <a:gd name="T111" fmla="*/ 49 h 1080"/>
                <a:gd name="T112" fmla="*/ 120 w 1536"/>
                <a:gd name="T113" fmla="*/ 69 h 1080"/>
                <a:gd name="T114" fmla="*/ 119 w 1536"/>
                <a:gd name="T115" fmla="*/ 74 h 1080"/>
                <a:gd name="T116" fmla="*/ 118 w 1536"/>
                <a:gd name="T117" fmla="*/ 80 h 108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536"/>
                <a:gd name="T178" fmla="*/ 0 h 1080"/>
                <a:gd name="T179" fmla="*/ 1536 w 1536"/>
                <a:gd name="T180" fmla="*/ 1080 h 108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536" h="1080">
                  <a:moveTo>
                    <a:pt x="1350" y="1020"/>
                  </a:moveTo>
                  <a:lnTo>
                    <a:pt x="1350" y="1026"/>
                  </a:lnTo>
                  <a:lnTo>
                    <a:pt x="1344" y="1026"/>
                  </a:lnTo>
                  <a:lnTo>
                    <a:pt x="1338" y="1032"/>
                  </a:lnTo>
                  <a:lnTo>
                    <a:pt x="1332" y="1026"/>
                  </a:lnTo>
                  <a:lnTo>
                    <a:pt x="1326" y="1026"/>
                  </a:lnTo>
                  <a:lnTo>
                    <a:pt x="1320" y="1020"/>
                  </a:lnTo>
                  <a:lnTo>
                    <a:pt x="1314" y="1026"/>
                  </a:lnTo>
                  <a:lnTo>
                    <a:pt x="1314" y="1032"/>
                  </a:lnTo>
                  <a:lnTo>
                    <a:pt x="1308" y="1038"/>
                  </a:lnTo>
                  <a:lnTo>
                    <a:pt x="1308" y="1044"/>
                  </a:lnTo>
                  <a:lnTo>
                    <a:pt x="1308" y="1050"/>
                  </a:lnTo>
                  <a:lnTo>
                    <a:pt x="1308" y="1056"/>
                  </a:lnTo>
                  <a:lnTo>
                    <a:pt x="1308" y="1062"/>
                  </a:lnTo>
                  <a:lnTo>
                    <a:pt x="1296" y="1068"/>
                  </a:lnTo>
                  <a:lnTo>
                    <a:pt x="1284" y="1074"/>
                  </a:lnTo>
                  <a:lnTo>
                    <a:pt x="1272" y="1080"/>
                  </a:lnTo>
                  <a:lnTo>
                    <a:pt x="1260" y="1080"/>
                  </a:lnTo>
                  <a:lnTo>
                    <a:pt x="1254" y="1074"/>
                  </a:lnTo>
                  <a:lnTo>
                    <a:pt x="1236" y="1074"/>
                  </a:lnTo>
                  <a:lnTo>
                    <a:pt x="1230" y="1074"/>
                  </a:lnTo>
                  <a:lnTo>
                    <a:pt x="1236" y="1074"/>
                  </a:lnTo>
                  <a:lnTo>
                    <a:pt x="1236" y="1068"/>
                  </a:lnTo>
                  <a:lnTo>
                    <a:pt x="1236" y="1062"/>
                  </a:lnTo>
                  <a:lnTo>
                    <a:pt x="1236" y="1056"/>
                  </a:lnTo>
                  <a:lnTo>
                    <a:pt x="1242" y="1050"/>
                  </a:lnTo>
                  <a:lnTo>
                    <a:pt x="1242" y="1044"/>
                  </a:lnTo>
                  <a:lnTo>
                    <a:pt x="1242" y="1038"/>
                  </a:lnTo>
                  <a:lnTo>
                    <a:pt x="1248" y="1032"/>
                  </a:lnTo>
                  <a:lnTo>
                    <a:pt x="1236" y="1026"/>
                  </a:lnTo>
                  <a:lnTo>
                    <a:pt x="1218" y="1020"/>
                  </a:lnTo>
                  <a:lnTo>
                    <a:pt x="1224" y="1014"/>
                  </a:lnTo>
                  <a:lnTo>
                    <a:pt x="1218" y="1008"/>
                  </a:lnTo>
                  <a:lnTo>
                    <a:pt x="1218" y="1002"/>
                  </a:lnTo>
                  <a:lnTo>
                    <a:pt x="1212" y="1008"/>
                  </a:lnTo>
                  <a:lnTo>
                    <a:pt x="1206" y="1002"/>
                  </a:lnTo>
                  <a:lnTo>
                    <a:pt x="1212" y="1002"/>
                  </a:lnTo>
                  <a:lnTo>
                    <a:pt x="1212" y="996"/>
                  </a:lnTo>
                  <a:lnTo>
                    <a:pt x="1200" y="990"/>
                  </a:lnTo>
                  <a:lnTo>
                    <a:pt x="1200" y="984"/>
                  </a:lnTo>
                  <a:lnTo>
                    <a:pt x="1188" y="984"/>
                  </a:lnTo>
                  <a:lnTo>
                    <a:pt x="1176" y="978"/>
                  </a:lnTo>
                  <a:lnTo>
                    <a:pt x="1164" y="960"/>
                  </a:lnTo>
                  <a:lnTo>
                    <a:pt x="1152" y="936"/>
                  </a:lnTo>
                  <a:lnTo>
                    <a:pt x="1146" y="936"/>
                  </a:lnTo>
                  <a:lnTo>
                    <a:pt x="1128" y="900"/>
                  </a:lnTo>
                  <a:lnTo>
                    <a:pt x="1038" y="912"/>
                  </a:lnTo>
                  <a:lnTo>
                    <a:pt x="1038" y="918"/>
                  </a:lnTo>
                  <a:lnTo>
                    <a:pt x="1032" y="924"/>
                  </a:lnTo>
                  <a:lnTo>
                    <a:pt x="1026" y="918"/>
                  </a:lnTo>
                  <a:lnTo>
                    <a:pt x="1020" y="924"/>
                  </a:lnTo>
                  <a:lnTo>
                    <a:pt x="1008" y="936"/>
                  </a:lnTo>
                  <a:lnTo>
                    <a:pt x="990" y="936"/>
                  </a:lnTo>
                  <a:lnTo>
                    <a:pt x="990" y="942"/>
                  </a:lnTo>
                  <a:lnTo>
                    <a:pt x="996" y="942"/>
                  </a:lnTo>
                  <a:lnTo>
                    <a:pt x="984" y="948"/>
                  </a:lnTo>
                  <a:lnTo>
                    <a:pt x="972" y="948"/>
                  </a:lnTo>
                  <a:lnTo>
                    <a:pt x="960" y="948"/>
                  </a:lnTo>
                  <a:lnTo>
                    <a:pt x="948" y="942"/>
                  </a:lnTo>
                  <a:lnTo>
                    <a:pt x="948" y="936"/>
                  </a:lnTo>
                  <a:lnTo>
                    <a:pt x="942" y="936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30" y="924"/>
                  </a:lnTo>
                  <a:lnTo>
                    <a:pt x="936" y="918"/>
                  </a:lnTo>
                  <a:lnTo>
                    <a:pt x="918" y="918"/>
                  </a:lnTo>
                  <a:lnTo>
                    <a:pt x="918" y="900"/>
                  </a:lnTo>
                  <a:lnTo>
                    <a:pt x="924" y="900"/>
                  </a:lnTo>
                  <a:lnTo>
                    <a:pt x="924" y="894"/>
                  </a:lnTo>
                  <a:lnTo>
                    <a:pt x="924" y="870"/>
                  </a:lnTo>
                  <a:lnTo>
                    <a:pt x="924" y="864"/>
                  </a:lnTo>
                  <a:lnTo>
                    <a:pt x="918" y="858"/>
                  </a:lnTo>
                  <a:lnTo>
                    <a:pt x="918" y="852"/>
                  </a:lnTo>
                  <a:lnTo>
                    <a:pt x="906" y="840"/>
                  </a:lnTo>
                  <a:lnTo>
                    <a:pt x="894" y="834"/>
                  </a:lnTo>
                  <a:lnTo>
                    <a:pt x="876" y="822"/>
                  </a:lnTo>
                  <a:lnTo>
                    <a:pt x="870" y="828"/>
                  </a:lnTo>
                  <a:lnTo>
                    <a:pt x="858" y="816"/>
                  </a:lnTo>
                  <a:lnTo>
                    <a:pt x="810" y="798"/>
                  </a:lnTo>
                  <a:lnTo>
                    <a:pt x="774" y="792"/>
                  </a:lnTo>
                  <a:lnTo>
                    <a:pt x="732" y="798"/>
                  </a:lnTo>
                  <a:lnTo>
                    <a:pt x="726" y="804"/>
                  </a:lnTo>
                  <a:lnTo>
                    <a:pt x="714" y="810"/>
                  </a:lnTo>
                  <a:lnTo>
                    <a:pt x="702" y="810"/>
                  </a:lnTo>
                  <a:lnTo>
                    <a:pt x="690" y="810"/>
                  </a:lnTo>
                  <a:lnTo>
                    <a:pt x="696" y="816"/>
                  </a:lnTo>
                  <a:lnTo>
                    <a:pt x="696" y="822"/>
                  </a:lnTo>
                  <a:lnTo>
                    <a:pt x="702" y="822"/>
                  </a:lnTo>
                  <a:lnTo>
                    <a:pt x="708" y="822"/>
                  </a:lnTo>
                  <a:lnTo>
                    <a:pt x="708" y="828"/>
                  </a:lnTo>
                  <a:lnTo>
                    <a:pt x="708" y="834"/>
                  </a:lnTo>
                  <a:lnTo>
                    <a:pt x="714" y="834"/>
                  </a:lnTo>
                  <a:lnTo>
                    <a:pt x="708" y="846"/>
                  </a:lnTo>
                  <a:lnTo>
                    <a:pt x="708" y="852"/>
                  </a:lnTo>
                  <a:lnTo>
                    <a:pt x="702" y="852"/>
                  </a:lnTo>
                  <a:lnTo>
                    <a:pt x="696" y="858"/>
                  </a:lnTo>
                  <a:lnTo>
                    <a:pt x="690" y="864"/>
                  </a:lnTo>
                  <a:lnTo>
                    <a:pt x="666" y="870"/>
                  </a:lnTo>
                  <a:lnTo>
                    <a:pt x="660" y="876"/>
                  </a:lnTo>
                  <a:lnTo>
                    <a:pt x="642" y="876"/>
                  </a:lnTo>
                  <a:lnTo>
                    <a:pt x="606" y="882"/>
                  </a:lnTo>
                  <a:lnTo>
                    <a:pt x="588" y="882"/>
                  </a:lnTo>
                  <a:lnTo>
                    <a:pt x="582" y="876"/>
                  </a:lnTo>
                  <a:lnTo>
                    <a:pt x="576" y="876"/>
                  </a:lnTo>
                  <a:lnTo>
                    <a:pt x="564" y="876"/>
                  </a:lnTo>
                  <a:lnTo>
                    <a:pt x="552" y="882"/>
                  </a:lnTo>
                  <a:lnTo>
                    <a:pt x="540" y="894"/>
                  </a:lnTo>
                  <a:lnTo>
                    <a:pt x="534" y="906"/>
                  </a:lnTo>
                  <a:lnTo>
                    <a:pt x="528" y="912"/>
                  </a:lnTo>
                  <a:lnTo>
                    <a:pt x="516" y="924"/>
                  </a:lnTo>
                  <a:lnTo>
                    <a:pt x="486" y="930"/>
                  </a:lnTo>
                  <a:lnTo>
                    <a:pt x="474" y="912"/>
                  </a:lnTo>
                  <a:lnTo>
                    <a:pt x="474" y="906"/>
                  </a:lnTo>
                  <a:lnTo>
                    <a:pt x="468" y="906"/>
                  </a:lnTo>
                  <a:lnTo>
                    <a:pt x="468" y="900"/>
                  </a:lnTo>
                  <a:lnTo>
                    <a:pt x="462" y="894"/>
                  </a:lnTo>
                  <a:lnTo>
                    <a:pt x="456" y="894"/>
                  </a:lnTo>
                  <a:lnTo>
                    <a:pt x="462" y="888"/>
                  </a:lnTo>
                  <a:lnTo>
                    <a:pt x="468" y="888"/>
                  </a:lnTo>
                  <a:lnTo>
                    <a:pt x="462" y="882"/>
                  </a:lnTo>
                  <a:lnTo>
                    <a:pt x="462" y="876"/>
                  </a:lnTo>
                  <a:lnTo>
                    <a:pt x="456" y="870"/>
                  </a:lnTo>
                  <a:lnTo>
                    <a:pt x="456" y="864"/>
                  </a:lnTo>
                  <a:lnTo>
                    <a:pt x="450" y="858"/>
                  </a:lnTo>
                  <a:lnTo>
                    <a:pt x="444" y="858"/>
                  </a:lnTo>
                  <a:lnTo>
                    <a:pt x="444" y="852"/>
                  </a:lnTo>
                  <a:lnTo>
                    <a:pt x="438" y="852"/>
                  </a:lnTo>
                  <a:lnTo>
                    <a:pt x="438" y="858"/>
                  </a:lnTo>
                  <a:lnTo>
                    <a:pt x="402" y="870"/>
                  </a:lnTo>
                  <a:lnTo>
                    <a:pt x="390" y="882"/>
                  </a:lnTo>
                  <a:lnTo>
                    <a:pt x="384" y="900"/>
                  </a:lnTo>
                  <a:lnTo>
                    <a:pt x="342" y="900"/>
                  </a:lnTo>
                  <a:lnTo>
                    <a:pt x="324" y="900"/>
                  </a:lnTo>
                  <a:lnTo>
                    <a:pt x="294" y="906"/>
                  </a:lnTo>
                  <a:lnTo>
                    <a:pt x="282" y="948"/>
                  </a:lnTo>
                  <a:lnTo>
                    <a:pt x="282" y="978"/>
                  </a:lnTo>
                  <a:lnTo>
                    <a:pt x="270" y="1008"/>
                  </a:lnTo>
                  <a:lnTo>
                    <a:pt x="240" y="1014"/>
                  </a:lnTo>
                  <a:lnTo>
                    <a:pt x="216" y="996"/>
                  </a:lnTo>
                  <a:lnTo>
                    <a:pt x="204" y="984"/>
                  </a:lnTo>
                  <a:lnTo>
                    <a:pt x="192" y="966"/>
                  </a:lnTo>
                  <a:lnTo>
                    <a:pt x="186" y="948"/>
                  </a:lnTo>
                  <a:lnTo>
                    <a:pt x="174" y="948"/>
                  </a:lnTo>
                  <a:lnTo>
                    <a:pt x="174" y="936"/>
                  </a:lnTo>
                  <a:lnTo>
                    <a:pt x="186" y="924"/>
                  </a:lnTo>
                  <a:lnTo>
                    <a:pt x="198" y="906"/>
                  </a:lnTo>
                  <a:lnTo>
                    <a:pt x="204" y="888"/>
                  </a:lnTo>
                  <a:lnTo>
                    <a:pt x="222" y="870"/>
                  </a:lnTo>
                  <a:lnTo>
                    <a:pt x="234" y="858"/>
                  </a:lnTo>
                  <a:lnTo>
                    <a:pt x="234" y="852"/>
                  </a:lnTo>
                  <a:lnTo>
                    <a:pt x="222" y="852"/>
                  </a:lnTo>
                  <a:lnTo>
                    <a:pt x="228" y="810"/>
                  </a:lnTo>
                  <a:lnTo>
                    <a:pt x="222" y="798"/>
                  </a:lnTo>
                  <a:lnTo>
                    <a:pt x="216" y="798"/>
                  </a:lnTo>
                  <a:lnTo>
                    <a:pt x="216" y="792"/>
                  </a:lnTo>
                  <a:lnTo>
                    <a:pt x="210" y="792"/>
                  </a:lnTo>
                  <a:lnTo>
                    <a:pt x="204" y="798"/>
                  </a:lnTo>
                  <a:lnTo>
                    <a:pt x="204" y="792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0" y="786"/>
                  </a:lnTo>
                  <a:lnTo>
                    <a:pt x="174" y="792"/>
                  </a:lnTo>
                  <a:lnTo>
                    <a:pt x="162" y="792"/>
                  </a:lnTo>
                  <a:lnTo>
                    <a:pt x="156" y="792"/>
                  </a:lnTo>
                  <a:lnTo>
                    <a:pt x="156" y="798"/>
                  </a:lnTo>
                  <a:lnTo>
                    <a:pt x="138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6" y="804"/>
                  </a:lnTo>
                  <a:lnTo>
                    <a:pt x="102" y="810"/>
                  </a:lnTo>
                  <a:lnTo>
                    <a:pt x="90" y="810"/>
                  </a:lnTo>
                  <a:lnTo>
                    <a:pt x="72" y="798"/>
                  </a:lnTo>
                  <a:lnTo>
                    <a:pt x="66" y="780"/>
                  </a:lnTo>
                  <a:lnTo>
                    <a:pt x="60" y="780"/>
                  </a:lnTo>
                  <a:lnTo>
                    <a:pt x="60" y="768"/>
                  </a:lnTo>
                  <a:lnTo>
                    <a:pt x="54" y="768"/>
                  </a:lnTo>
                  <a:lnTo>
                    <a:pt x="24" y="756"/>
                  </a:lnTo>
                  <a:lnTo>
                    <a:pt x="18" y="744"/>
                  </a:lnTo>
                  <a:lnTo>
                    <a:pt x="12" y="738"/>
                  </a:lnTo>
                  <a:lnTo>
                    <a:pt x="18" y="732"/>
                  </a:lnTo>
                  <a:lnTo>
                    <a:pt x="12" y="726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8" y="696"/>
                  </a:lnTo>
                  <a:lnTo>
                    <a:pt x="24" y="708"/>
                  </a:lnTo>
                  <a:lnTo>
                    <a:pt x="36" y="702"/>
                  </a:lnTo>
                  <a:lnTo>
                    <a:pt x="36" y="678"/>
                  </a:lnTo>
                  <a:lnTo>
                    <a:pt x="36" y="660"/>
                  </a:lnTo>
                  <a:lnTo>
                    <a:pt x="42" y="654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72" y="624"/>
                  </a:lnTo>
                  <a:lnTo>
                    <a:pt x="90" y="618"/>
                  </a:lnTo>
                  <a:lnTo>
                    <a:pt x="102" y="618"/>
                  </a:lnTo>
                  <a:lnTo>
                    <a:pt x="114" y="612"/>
                  </a:lnTo>
                  <a:lnTo>
                    <a:pt x="138" y="606"/>
                  </a:lnTo>
                  <a:lnTo>
                    <a:pt x="144" y="606"/>
                  </a:lnTo>
                  <a:lnTo>
                    <a:pt x="150" y="594"/>
                  </a:lnTo>
                  <a:lnTo>
                    <a:pt x="156" y="576"/>
                  </a:lnTo>
                  <a:lnTo>
                    <a:pt x="168" y="552"/>
                  </a:lnTo>
                  <a:lnTo>
                    <a:pt x="168" y="540"/>
                  </a:lnTo>
                  <a:lnTo>
                    <a:pt x="180" y="522"/>
                  </a:lnTo>
                  <a:lnTo>
                    <a:pt x="186" y="498"/>
                  </a:lnTo>
                  <a:lnTo>
                    <a:pt x="198" y="480"/>
                  </a:lnTo>
                  <a:lnTo>
                    <a:pt x="204" y="486"/>
                  </a:lnTo>
                  <a:lnTo>
                    <a:pt x="210" y="480"/>
                  </a:lnTo>
                  <a:lnTo>
                    <a:pt x="204" y="474"/>
                  </a:lnTo>
                  <a:lnTo>
                    <a:pt x="198" y="462"/>
                  </a:lnTo>
                  <a:lnTo>
                    <a:pt x="192" y="456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50"/>
                  </a:lnTo>
                  <a:lnTo>
                    <a:pt x="132" y="426"/>
                  </a:lnTo>
                  <a:lnTo>
                    <a:pt x="132" y="396"/>
                  </a:lnTo>
                  <a:lnTo>
                    <a:pt x="132" y="378"/>
                  </a:lnTo>
                  <a:lnTo>
                    <a:pt x="126" y="348"/>
                  </a:lnTo>
                  <a:lnTo>
                    <a:pt x="132" y="312"/>
                  </a:lnTo>
                  <a:lnTo>
                    <a:pt x="126" y="288"/>
                  </a:lnTo>
                  <a:lnTo>
                    <a:pt x="138" y="282"/>
                  </a:lnTo>
                  <a:lnTo>
                    <a:pt x="126" y="264"/>
                  </a:lnTo>
                  <a:lnTo>
                    <a:pt x="126" y="258"/>
                  </a:lnTo>
                  <a:lnTo>
                    <a:pt x="120" y="246"/>
                  </a:lnTo>
                  <a:lnTo>
                    <a:pt x="126" y="234"/>
                  </a:lnTo>
                  <a:lnTo>
                    <a:pt x="114" y="228"/>
                  </a:lnTo>
                  <a:lnTo>
                    <a:pt x="114" y="222"/>
                  </a:lnTo>
                  <a:lnTo>
                    <a:pt x="96" y="204"/>
                  </a:lnTo>
                  <a:lnTo>
                    <a:pt x="84" y="180"/>
                  </a:lnTo>
                  <a:lnTo>
                    <a:pt x="78" y="168"/>
                  </a:lnTo>
                  <a:lnTo>
                    <a:pt x="72" y="162"/>
                  </a:lnTo>
                  <a:lnTo>
                    <a:pt x="66" y="144"/>
                  </a:lnTo>
                  <a:lnTo>
                    <a:pt x="60" y="138"/>
                  </a:lnTo>
                  <a:lnTo>
                    <a:pt x="66" y="126"/>
                  </a:lnTo>
                  <a:lnTo>
                    <a:pt x="66" y="114"/>
                  </a:lnTo>
                  <a:lnTo>
                    <a:pt x="72" y="114"/>
                  </a:lnTo>
                  <a:lnTo>
                    <a:pt x="72" y="108"/>
                  </a:lnTo>
                  <a:lnTo>
                    <a:pt x="78" y="102"/>
                  </a:lnTo>
                  <a:lnTo>
                    <a:pt x="78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120" y="78"/>
                  </a:lnTo>
                  <a:lnTo>
                    <a:pt x="144" y="84"/>
                  </a:lnTo>
                  <a:lnTo>
                    <a:pt x="150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74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92" y="102"/>
                  </a:lnTo>
                  <a:lnTo>
                    <a:pt x="198" y="96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16" y="96"/>
                  </a:lnTo>
                  <a:lnTo>
                    <a:pt x="222" y="96"/>
                  </a:lnTo>
                  <a:lnTo>
                    <a:pt x="228" y="96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94" y="114"/>
                  </a:lnTo>
                  <a:lnTo>
                    <a:pt x="312" y="120"/>
                  </a:lnTo>
                  <a:lnTo>
                    <a:pt x="318" y="126"/>
                  </a:lnTo>
                  <a:lnTo>
                    <a:pt x="330" y="132"/>
                  </a:lnTo>
                  <a:lnTo>
                    <a:pt x="342" y="132"/>
                  </a:lnTo>
                  <a:lnTo>
                    <a:pt x="348" y="132"/>
                  </a:lnTo>
                  <a:lnTo>
                    <a:pt x="354" y="138"/>
                  </a:lnTo>
                  <a:lnTo>
                    <a:pt x="366" y="138"/>
                  </a:lnTo>
                  <a:lnTo>
                    <a:pt x="372" y="144"/>
                  </a:lnTo>
                  <a:lnTo>
                    <a:pt x="378" y="150"/>
                  </a:lnTo>
                  <a:lnTo>
                    <a:pt x="384" y="150"/>
                  </a:lnTo>
                  <a:lnTo>
                    <a:pt x="390" y="150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14" y="156"/>
                  </a:lnTo>
                  <a:lnTo>
                    <a:pt x="420" y="156"/>
                  </a:lnTo>
                  <a:lnTo>
                    <a:pt x="426" y="162"/>
                  </a:lnTo>
                  <a:lnTo>
                    <a:pt x="438" y="168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62" y="174"/>
                  </a:lnTo>
                  <a:lnTo>
                    <a:pt x="468" y="174"/>
                  </a:lnTo>
                  <a:lnTo>
                    <a:pt x="474" y="174"/>
                  </a:lnTo>
                  <a:lnTo>
                    <a:pt x="474" y="180"/>
                  </a:lnTo>
                  <a:lnTo>
                    <a:pt x="480" y="192"/>
                  </a:lnTo>
                  <a:lnTo>
                    <a:pt x="498" y="198"/>
                  </a:lnTo>
                  <a:lnTo>
                    <a:pt x="510" y="210"/>
                  </a:lnTo>
                  <a:lnTo>
                    <a:pt x="516" y="210"/>
                  </a:lnTo>
                  <a:lnTo>
                    <a:pt x="522" y="210"/>
                  </a:lnTo>
                  <a:lnTo>
                    <a:pt x="534" y="216"/>
                  </a:lnTo>
                  <a:lnTo>
                    <a:pt x="540" y="216"/>
                  </a:lnTo>
                  <a:lnTo>
                    <a:pt x="546" y="222"/>
                  </a:lnTo>
                  <a:lnTo>
                    <a:pt x="552" y="222"/>
                  </a:lnTo>
                  <a:lnTo>
                    <a:pt x="558" y="228"/>
                  </a:lnTo>
                  <a:lnTo>
                    <a:pt x="564" y="228"/>
                  </a:lnTo>
                  <a:lnTo>
                    <a:pt x="570" y="234"/>
                  </a:lnTo>
                  <a:lnTo>
                    <a:pt x="576" y="240"/>
                  </a:lnTo>
                  <a:lnTo>
                    <a:pt x="582" y="240"/>
                  </a:lnTo>
                  <a:lnTo>
                    <a:pt x="588" y="240"/>
                  </a:lnTo>
                  <a:lnTo>
                    <a:pt x="594" y="240"/>
                  </a:lnTo>
                  <a:lnTo>
                    <a:pt x="600" y="228"/>
                  </a:lnTo>
                  <a:lnTo>
                    <a:pt x="588" y="216"/>
                  </a:lnTo>
                  <a:lnTo>
                    <a:pt x="588" y="198"/>
                  </a:lnTo>
                  <a:lnTo>
                    <a:pt x="582" y="198"/>
                  </a:lnTo>
                  <a:lnTo>
                    <a:pt x="588" y="192"/>
                  </a:lnTo>
                  <a:lnTo>
                    <a:pt x="582" y="168"/>
                  </a:lnTo>
                  <a:lnTo>
                    <a:pt x="558" y="114"/>
                  </a:lnTo>
                  <a:lnTo>
                    <a:pt x="552" y="90"/>
                  </a:lnTo>
                  <a:lnTo>
                    <a:pt x="558" y="60"/>
                  </a:lnTo>
                  <a:lnTo>
                    <a:pt x="564" y="48"/>
                  </a:lnTo>
                  <a:lnTo>
                    <a:pt x="582" y="42"/>
                  </a:lnTo>
                  <a:lnTo>
                    <a:pt x="624" y="6"/>
                  </a:lnTo>
                  <a:lnTo>
                    <a:pt x="648" y="0"/>
                  </a:lnTo>
                  <a:lnTo>
                    <a:pt x="678" y="0"/>
                  </a:lnTo>
                  <a:lnTo>
                    <a:pt x="720" y="12"/>
                  </a:lnTo>
                  <a:lnTo>
                    <a:pt x="744" y="24"/>
                  </a:lnTo>
                  <a:lnTo>
                    <a:pt x="768" y="42"/>
                  </a:lnTo>
                  <a:lnTo>
                    <a:pt x="816" y="48"/>
                  </a:lnTo>
                  <a:lnTo>
                    <a:pt x="834" y="48"/>
                  </a:lnTo>
                  <a:lnTo>
                    <a:pt x="852" y="54"/>
                  </a:lnTo>
                  <a:lnTo>
                    <a:pt x="906" y="60"/>
                  </a:lnTo>
                  <a:lnTo>
                    <a:pt x="948" y="54"/>
                  </a:lnTo>
                  <a:lnTo>
                    <a:pt x="978" y="42"/>
                  </a:lnTo>
                  <a:lnTo>
                    <a:pt x="984" y="48"/>
                  </a:lnTo>
                  <a:lnTo>
                    <a:pt x="990" y="60"/>
                  </a:lnTo>
                  <a:lnTo>
                    <a:pt x="996" y="66"/>
                  </a:lnTo>
                  <a:lnTo>
                    <a:pt x="1002" y="72"/>
                  </a:lnTo>
                  <a:lnTo>
                    <a:pt x="1014" y="78"/>
                  </a:lnTo>
                  <a:lnTo>
                    <a:pt x="1014" y="84"/>
                  </a:lnTo>
                  <a:lnTo>
                    <a:pt x="1032" y="84"/>
                  </a:lnTo>
                  <a:lnTo>
                    <a:pt x="1032" y="90"/>
                  </a:lnTo>
                  <a:lnTo>
                    <a:pt x="1032" y="96"/>
                  </a:lnTo>
                  <a:lnTo>
                    <a:pt x="1032" y="108"/>
                  </a:lnTo>
                  <a:lnTo>
                    <a:pt x="1056" y="126"/>
                  </a:lnTo>
                  <a:lnTo>
                    <a:pt x="1068" y="138"/>
                  </a:lnTo>
                  <a:lnTo>
                    <a:pt x="1068" y="156"/>
                  </a:lnTo>
                  <a:lnTo>
                    <a:pt x="1080" y="150"/>
                  </a:lnTo>
                  <a:lnTo>
                    <a:pt x="1086" y="150"/>
                  </a:lnTo>
                  <a:lnTo>
                    <a:pt x="1092" y="156"/>
                  </a:lnTo>
                  <a:lnTo>
                    <a:pt x="1092" y="162"/>
                  </a:lnTo>
                  <a:lnTo>
                    <a:pt x="1092" y="168"/>
                  </a:lnTo>
                  <a:lnTo>
                    <a:pt x="1098" y="168"/>
                  </a:lnTo>
                  <a:lnTo>
                    <a:pt x="1092" y="180"/>
                  </a:lnTo>
                  <a:lnTo>
                    <a:pt x="1092" y="186"/>
                  </a:lnTo>
                  <a:lnTo>
                    <a:pt x="1086" y="192"/>
                  </a:lnTo>
                  <a:lnTo>
                    <a:pt x="1068" y="210"/>
                  </a:lnTo>
                  <a:lnTo>
                    <a:pt x="1068" y="216"/>
                  </a:lnTo>
                  <a:lnTo>
                    <a:pt x="1074" y="228"/>
                  </a:lnTo>
                  <a:lnTo>
                    <a:pt x="1092" y="234"/>
                  </a:lnTo>
                  <a:lnTo>
                    <a:pt x="1122" y="216"/>
                  </a:lnTo>
                  <a:lnTo>
                    <a:pt x="1188" y="204"/>
                  </a:lnTo>
                  <a:lnTo>
                    <a:pt x="1212" y="204"/>
                  </a:lnTo>
                  <a:lnTo>
                    <a:pt x="1230" y="198"/>
                  </a:lnTo>
                  <a:lnTo>
                    <a:pt x="1236" y="204"/>
                  </a:lnTo>
                  <a:lnTo>
                    <a:pt x="1242" y="210"/>
                  </a:lnTo>
                  <a:lnTo>
                    <a:pt x="1242" y="204"/>
                  </a:lnTo>
                  <a:lnTo>
                    <a:pt x="1248" y="198"/>
                  </a:lnTo>
                  <a:lnTo>
                    <a:pt x="1308" y="204"/>
                  </a:lnTo>
                  <a:lnTo>
                    <a:pt x="1338" y="204"/>
                  </a:lnTo>
                  <a:lnTo>
                    <a:pt x="1374" y="228"/>
                  </a:lnTo>
                  <a:lnTo>
                    <a:pt x="1380" y="234"/>
                  </a:lnTo>
                  <a:lnTo>
                    <a:pt x="1380" y="240"/>
                  </a:lnTo>
                  <a:lnTo>
                    <a:pt x="1386" y="252"/>
                  </a:lnTo>
                  <a:lnTo>
                    <a:pt x="1392" y="252"/>
                  </a:lnTo>
                  <a:lnTo>
                    <a:pt x="1416" y="270"/>
                  </a:lnTo>
                  <a:lnTo>
                    <a:pt x="1428" y="294"/>
                  </a:lnTo>
                  <a:lnTo>
                    <a:pt x="1440" y="312"/>
                  </a:lnTo>
                  <a:lnTo>
                    <a:pt x="1452" y="330"/>
                  </a:lnTo>
                  <a:lnTo>
                    <a:pt x="1464" y="330"/>
                  </a:lnTo>
                  <a:lnTo>
                    <a:pt x="1464" y="336"/>
                  </a:lnTo>
                  <a:lnTo>
                    <a:pt x="1470" y="336"/>
                  </a:lnTo>
                  <a:lnTo>
                    <a:pt x="1470" y="342"/>
                  </a:lnTo>
                  <a:lnTo>
                    <a:pt x="1476" y="342"/>
                  </a:lnTo>
                  <a:lnTo>
                    <a:pt x="1488" y="336"/>
                  </a:lnTo>
                  <a:lnTo>
                    <a:pt x="1494" y="342"/>
                  </a:lnTo>
                  <a:lnTo>
                    <a:pt x="1500" y="342"/>
                  </a:lnTo>
                  <a:lnTo>
                    <a:pt x="1512" y="366"/>
                  </a:lnTo>
                  <a:lnTo>
                    <a:pt x="1530" y="396"/>
                  </a:lnTo>
                  <a:lnTo>
                    <a:pt x="1536" y="444"/>
                  </a:lnTo>
                  <a:lnTo>
                    <a:pt x="1530" y="480"/>
                  </a:lnTo>
                  <a:lnTo>
                    <a:pt x="1506" y="510"/>
                  </a:lnTo>
                  <a:lnTo>
                    <a:pt x="1500" y="546"/>
                  </a:lnTo>
                  <a:lnTo>
                    <a:pt x="1494" y="564"/>
                  </a:lnTo>
                  <a:lnTo>
                    <a:pt x="1494" y="576"/>
                  </a:lnTo>
                  <a:lnTo>
                    <a:pt x="1500" y="582"/>
                  </a:lnTo>
                  <a:lnTo>
                    <a:pt x="1494" y="612"/>
                  </a:lnTo>
                  <a:lnTo>
                    <a:pt x="1476" y="630"/>
                  </a:lnTo>
                  <a:lnTo>
                    <a:pt x="1434" y="672"/>
                  </a:lnTo>
                  <a:lnTo>
                    <a:pt x="1392" y="756"/>
                  </a:lnTo>
                  <a:lnTo>
                    <a:pt x="1380" y="792"/>
                  </a:lnTo>
                  <a:lnTo>
                    <a:pt x="1374" y="798"/>
                  </a:lnTo>
                  <a:lnTo>
                    <a:pt x="1368" y="798"/>
                  </a:lnTo>
                  <a:lnTo>
                    <a:pt x="1380" y="804"/>
                  </a:lnTo>
                  <a:lnTo>
                    <a:pt x="1386" y="804"/>
                  </a:lnTo>
                  <a:lnTo>
                    <a:pt x="1380" y="822"/>
                  </a:lnTo>
                  <a:lnTo>
                    <a:pt x="1380" y="852"/>
                  </a:lnTo>
                  <a:lnTo>
                    <a:pt x="1374" y="858"/>
                  </a:lnTo>
                  <a:lnTo>
                    <a:pt x="1380" y="858"/>
                  </a:lnTo>
                  <a:lnTo>
                    <a:pt x="1374" y="864"/>
                  </a:lnTo>
                  <a:lnTo>
                    <a:pt x="1374" y="870"/>
                  </a:lnTo>
                  <a:lnTo>
                    <a:pt x="1374" y="876"/>
                  </a:lnTo>
                  <a:lnTo>
                    <a:pt x="1368" y="900"/>
                  </a:lnTo>
                  <a:lnTo>
                    <a:pt x="1362" y="906"/>
                  </a:lnTo>
                  <a:lnTo>
                    <a:pt x="1362" y="918"/>
                  </a:lnTo>
                  <a:lnTo>
                    <a:pt x="1362" y="924"/>
                  </a:lnTo>
                  <a:lnTo>
                    <a:pt x="1356" y="942"/>
                  </a:lnTo>
                  <a:lnTo>
                    <a:pt x="1350" y="972"/>
                  </a:lnTo>
                  <a:lnTo>
                    <a:pt x="1350" y="1014"/>
                  </a:lnTo>
                  <a:lnTo>
                    <a:pt x="1350" y="10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3" name="Freeform 18">
              <a:extLst>
                <a:ext uri="{FF2B5EF4-FFF2-40B4-BE49-F238E27FC236}">
                  <a16:creationId xmlns:a16="http://schemas.microsoft.com/office/drawing/2014/main" id="{EC11F2E0-3C06-46E2-8AD2-66EBE00FFE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32346" y="3837389"/>
              <a:ext cx="556811" cy="818559"/>
            </a:xfrm>
            <a:custGeom>
              <a:avLst/>
              <a:gdLst>
                <a:gd name="T0" fmla="*/ 12 w 1044"/>
                <a:gd name="T1" fmla="*/ 95 h 1542"/>
                <a:gd name="T2" fmla="*/ 7 w 1044"/>
                <a:gd name="T3" fmla="*/ 93 h 1542"/>
                <a:gd name="T4" fmla="*/ 0 w 1044"/>
                <a:gd name="T5" fmla="*/ 88 h 1542"/>
                <a:gd name="T6" fmla="*/ 3 w 1044"/>
                <a:gd name="T7" fmla="*/ 74 h 1542"/>
                <a:gd name="T8" fmla="*/ 4 w 1044"/>
                <a:gd name="T9" fmla="*/ 59 h 1542"/>
                <a:gd name="T10" fmla="*/ 7 w 1044"/>
                <a:gd name="T11" fmla="*/ 52 h 1542"/>
                <a:gd name="T12" fmla="*/ 20 w 1044"/>
                <a:gd name="T13" fmla="*/ 50 h 1542"/>
                <a:gd name="T14" fmla="*/ 24 w 1044"/>
                <a:gd name="T15" fmla="*/ 46 h 1542"/>
                <a:gd name="T16" fmla="*/ 29 w 1044"/>
                <a:gd name="T17" fmla="*/ 33 h 1542"/>
                <a:gd name="T18" fmla="*/ 32 w 1044"/>
                <a:gd name="T19" fmla="*/ 26 h 1542"/>
                <a:gd name="T20" fmla="*/ 30 w 1044"/>
                <a:gd name="T21" fmla="*/ 20 h 1542"/>
                <a:gd name="T22" fmla="*/ 26 w 1044"/>
                <a:gd name="T23" fmla="*/ 17 h 1542"/>
                <a:gd name="T24" fmla="*/ 28 w 1044"/>
                <a:gd name="T25" fmla="*/ 12 h 1542"/>
                <a:gd name="T26" fmla="*/ 44 w 1044"/>
                <a:gd name="T27" fmla="*/ 5 h 1542"/>
                <a:gd name="T28" fmla="*/ 57 w 1044"/>
                <a:gd name="T29" fmla="*/ 2 h 1542"/>
                <a:gd name="T30" fmla="*/ 65 w 1044"/>
                <a:gd name="T31" fmla="*/ 12 h 1542"/>
                <a:gd name="T32" fmla="*/ 81 w 1044"/>
                <a:gd name="T33" fmla="*/ 9 h 1542"/>
                <a:gd name="T34" fmla="*/ 91 w 1044"/>
                <a:gd name="T35" fmla="*/ 20 h 1542"/>
                <a:gd name="T36" fmla="*/ 89 w 1044"/>
                <a:gd name="T37" fmla="*/ 28 h 1542"/>
                <a:gd name="T38" fmla="*/ 83 w 1044"/>
                <a:gd name="T39" fmla="*/ 33 h 1542"/>
                <a:gd name="T40" fmla="*/ 74 w 1044"/>
                <a:gd name="T41" fmla="*/ 42 h 1542"/>
                <a:gd name="T42" fmla="*/ 58 w 1044"/>
                <a:gd name="T43" fmla="*/ 57 h 1542"/>
                <a:gd name="T44" fmla="*/ 54 w 1044"/>
                <a:gd name="T45" fmla="*/ 65 h 1542"/>
                <a:gd name="T46" fmla="*/ 59 w 1044"/>
                <a:gd name="T47" fmla="*/ 74 h 1542"/>
                <a:gd name="T48" fmla="*/ 55 w 1044"/>
                <a:gd name="T49" fmla="*/ 84 h 1542"/>
                <a:gd name="T50" fmla="*/ 52 w 1044"/>
                <a:gd name="T51" fmla="*/ 98 h 1542"/>
                <a:gd name="T52" fmla="*/ 47 w 1044"/>
                <a:gd name="T53" fmla="*/ 105 h 1542"/>
                <a:gd name="T54" fmla="*/ 42 w 1044"/>
                <a:gd name="T55" fmla="*/ 111 h 1542"/>
                <a:gd name="T56" fmla="*/ 43 w 1044"/>
                <a:gd name="T57" fmla="*/ 120 h 1542"/>
                <a:gd name="T58" fmla="*/ 45 w 1044"/>
                <a:gd name="T59" fmla="*/ 125 h 1542"/>
                <a:gd name="T60" fmla="*/ 44 w 1044"/>
                <a:gd name="T61" fmla="*/ 130 h 1542"/>
                <a:gd name="T62" fmla="*/ 45 w 1044"/>
                <a:gd name="T63" fmla="*/ 131 h 1542"/>
                <a:gd name="T64" fmla="*/ 48 w 1044"/>
                <a:gd name="T65" fmla="*/ 133 h 1542"/>
                <a:gd name="T66" fmla="*/ 39 w 1044"/>
                <a:gd name="T67" fmla="*/ 133 h 1542"/>
                <a:gd name="T68" fmla="*/ 42 w 1044"/>
                <a:gd name="T69" fmla="*/ 132 h 1542"/>
                <a:gd name="T70" fmla="*/ 38 w 1044"/>
                <a:gd name="T71" fmla="*/ 133 h 1542"/>
                <a:gd name="T72" fmla="*/ 37 w 1044"/>
                <a:gd name="T73" fmla="*/ 129 h 1542"/>
                <a:gd name="T74" fmla="*/ 40 w 1044"/>
                <a:gd name="T75" fmla="*/ 125 h 1542"/>
                <a:gd name="T76" fmla="*/ 40 w 1044"/>
                <a:gd name="T77" fmla="*/ 120 h 1542"/>
                <a:gd name="T78" fmla="*/ 40 w 1044"/>
                <a:gd name="T79" fmla="*/ 117 h 1542"/>
                <a:gd name="T80" fmla="*/ 37 w 1044"/>
                <a:gd name="T81" fmla="*/ 120 h 1542"/>
                <a:gd name="T82" fmla="*/ 34 w 1044"/>
                <a:gd name="T83" fmla="*/ 122 h 1542"/>
                <a:gd name="T84" fmla="*/ 36 w 1044"/>
                <a:gd name="T85" fmla="*/ 120 h 1542"/>
                <a:gd name="T86" fmla="*/ 30 w 1044"/>
                <a:gd name="T87" fmla="*/ 120 h 1542"/>
                <a:gd name="T88" fmla="*/ 31 w 1044"/>
                <a:gd name="T89" fmla="*/ 113 h 1542"/>
                <a:gd name="T90" fmla="*/ 29 w 1044"/>
                <a:gd name="T91" fmla="*/ 112 h 1542"/>
                <a:gd name="T92" fmla="*/ 31 w 1044"/>
                <a:gd name="T93" fmla="*/ 117 h 1542"/>
                <a:gd name="T94" fmla="*/ 27 w 1044"/>
                <a:gd name="T95" fmla="*/ 116 h 1542"/>
                <a:gd name="T96" fmla="*/ 25 w 1044"/>
                <a:gd name="T97" fmla="*/ 112 h 1542"/>
                <a:gd name="T98" fmla="*/ 21 w 1044"/>
                <a:gd name="T99" fmla="*/ 109 h 1542"/>
                <a:gd name="T100" fmla="*/ 21 w 1044"/>
                <a:gd name="T101" fmla="*/ 113 h 1542"/>
                <a:gd name="T102" fmla="*/ 40 w 1044"/>
                <a:gd name="T103" fmla="*/ 120 h 1542"/>
                <a:gd name="T104" fmla="*/ 40 w 1044"/>
                <a:gd name="T105" fmla="*/ 121 h 1542"/>
                <a:gd name="T106" fmla="*/ 40 w 1044"/>
                <a:gd name="T107" fmla="*/ 116 h 1542"/>
                <a:gd name="T108" fmla="*/ 38 w 1044"/>
                <a:gd name="T109" fmla="*/ 120 h 1542"/>
                <a:gd name="T110" fmla="*/ 23 w 1044"/>
                <a:gd name="T111" fmla="*/ 110 h 1542"/>
                <a:gd name="T112" fmla="*/ 37 w 1044"/>
                <a:gd name="T113" fmla="*/ 124 h 1542"/>
                <a:gd name="T114" fmla="*/ 40 w 1044"/>
                <a:gd name="T115" fmla="*/ 125 h 1542"/>
                <a:gd name="T116" fmla="*/ 38 w 1044"/>
                <a:gd name="T117" fmla="*/ 128 h 1542"/>
                <a:gd name="T118" fmla="*/ 25 w 1044"/>
                <a:gd name="T119" fmla="*/ 117 h 1542"/>
                <a:gd name="T120" fmla="*/ 27 w 1044"/>
                <a:gd name="T121" fmla="*/ 127 h 1542"/>
                <a:gd name="T122" fmla="*/ 24 w 1044"/>
                <a:gd name="T123" fmla="*/ 113 h 15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4"/>
                <a:gd name="T187" fmla="*/ 0 h 1542"/>
                <a:gd name="T188" fmla="*/ 1044 w 1044"/>
                <a:gd name="T189" fmla="*/ 1542 h 154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4" h="1542">
                  <a:moveTo>
                    <a:pt x="234" y="1278"/>
                  </a:moveTo>
                  <a:lnTo>
                    <a:pt x="228" y="1272"/>
                  </a:lnTo>
                  <a:lnTo>
                    <a:pt x="222" y="1266"/>
                  </a:lnTo>
                  <a:lnTo>
                    <a:pt x="222" y="1260"/>
                  </a:lnTo>
                  <a:lnTo>
                    <a:pt x="204" y="1248"/>
                  </a:lnTo>
                  <a:lnTo>
                    <a:pt x="192" y="1248"/>
                  </a:lnTo>
                  <a:lnTo>
                    <a:pt x="186" y="1236"/>
                  </a:lnTo>
                  <a:lnTo>
                    <a:pt x="174" y="1218"/>
                  </a:lnTo>
                  <a:lnTo>
                    <a:pt x="162" y="1194"/>
                  </a:lnTo>
                  <a:lnTo>
                    <a:pt x="156" y="1182"/>
                  </a:lnTo>
                  <a:lnTo>
                    <a:pt x="162" y="1146"/>
                  </a:lnTo>
                  <a:lnTo>
                    <a:pt x="156" y="1134"/>
                  </a:lnTo>
                  <a:lnTo>
                    <a:pt x="138" y="1122"/>
                  </a:lnTo>
                  <a:lnTo>
                    <a:pt x="132" y="1116"/>
                  </a:lnTo>
                  <a:lnTo>
                    <a:pt x="138" y="1098"/>
                  </a:lnTo>
                  <a:lnTo>
                    <a:pt x="138" y="1092"/>
                  </a:lnTo>
                  <a:lnTo>
                    <a:pt x="138" y="1086"/>
                  </a:lnTo>
                  <a:lnTo>
                    <a:pt x="132" y="1074"/>
                  </a:lnTo>
                  <a:lnTo>
                    <a:pt x="126" y="1074"/>
                  </a:lnTo>
                  <a:lnTo>
                    <a:pt x="126" y="1068"/>
                  </a:lnTo>
                  <a:lnTo>
                    <a:pt x="120" y="1062"/>
                  </a:lnTo>
                  <a:lnTo>
                    <a:pt x="120" y="1056"/>
                  </a:lnTo>
                  <a:lnTo>
                    <a:pt x="114" y="1050"/>
                  </a:lnTo>
                  <a:lnTo>
                    <a:pt x="108" y="1050"/>
                  </a:lnTo>
                  <a:lnTo>
                    <a:pt x="102" y="1056"/>
                  </a:lnTo>
                  <a:lnTo>
                    <a:pt x="102" y="1062"/>
                  </a:lnTo>
                  <a:lnTo>
                    <a:pt x="96" y="1062"/>
                  </a:lnTo>
                  <a:lnTo>
                    <a:pt x="96" y="1068"/>
                  </a:lnTo>
                  <a:lnTo>
                    <a:pt x="96" y="1074"/>
                  </a:lnTo>
                  <a:lnTo>
                    <a:pt x="90" y="1074"/>
                  </a:lnTo>
                  <a:lnTo>
                    <a:pt x="84" y="1080"/>
                  </a:lnTo>
                  <a:lnTo>
                    <a:pt x="78" y="1074"/>
                  </a:lnTo>
                  <a:lnTo>
                    <a:pt x="72" y="1074"/>
                  </a:lnTo>
                  <a:lnTo>
                    <a:pt x="72" y="1068"/>
                  </a:lnTo>
                  <a:lnTo>
                    <a:pt x="72" y="1062"/>
                  </a:lnTo>
                  <a:lnTo>
                    <a:pt x="60" y="1056"/>
                  </a:lnTo>
                  <a:lnTo>
                    <a:pt x="60" y="1044"/>
                  </a:lnTo>
                  <a:lnTo>
                    <a:pt x="60" y="1032"/>
                  </a:lnTo>
                  <a:lnTo>
                    <a:pt x="60" y="1026"/>
                  </a:lnTo>
                  <a:lnTo>
                    <a:pt x="54" y="1026"/>
                  </a:lnTo>
                  <a:lnTo>
                    <a:pt x="48" y="1014"/>
                  </a:lnTo>
                  <a:lnTo>
                    <a:pt x="42" y="1008"/>
                  </a:lnTo>
                  <a:lnTo>
                    <a:pt x="30" y="1008"/>
                  </a:lnTo>
                  <a:lnTo>
                    <a:pt x="30" y="1002"/>
                  </a:lnTo>
                  <a:lnTo>
                    <a:pt x="24" y="1008"/>
                  </a:lnTo>
                  <a:lnTo>
                    <a:pt x="12" y="1008"/>
                  </a:lnTo>
                  <a:lnTo>
                    <a:pt x="6" y="1008"/>
                  </a:lnTo>
                  <a:lnTo>
                    <a:pt x="0" y="1008"/>
                  </a:lnTo>
                  <a:lnTo>
                    <a:pt x="0" y="1002"/>
                  </a:lnTo>
                  <a:lnTo>
                    <a:pt x="6" y="990"/>
                  </a:lnTo>
                  <a:lnTo>
                    <a:pt x="6" y="984"/>
                  </a:lnTo>
                  <a:lnTo>
                    <a:pt x="0" y="978"/>
                  </a:lnTo>
                  <a:lnTo>
                    <a:pt x="6" y="972"/>
                  </a:lnTo>
                  <a:lnTo>
                    <a:pt x="12" y="972"/>
                  </a:lnTo>
                  <a:lnTo>
                    <a:pt x="72" y="978"/>
                  </a:lnTo>
                  <a:lnTo>
                    <a:pt x="78" y="972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30"/>
                  </a:lnTo>
                  <a:lnTo>
                    <a:pt x="54" y="912"/>
                  </a:lnTo>
                  <a:lnTo>
                    <a:pt x="42" y="906"/>
                  </a:lnTo>
                  <a:lnTo>
                    <a:pt x="36" y="894"/>
                  </a:lnTo>
                  <a:lnTo>
                    <a:pt x="30" y="876"/>
                  </a:lnTo>
                  <a:lnTo>
                    <a:pt x="30" y="858"/>
                  </a:lnTo>
                  <a:lnTo>
                    <a:pt x="30" y="840"/>
                  </a:lnTo>
                  <a:lnTo>
                    <a:pt x="36" y="816"/>
                  </a:lnTo>
                  <a:lnTo>
                    <a:pt x="36" y="792"/>
                  </a:lnTo>
                  <a:lnTo>
                    <a:pt x="36" y="780"/>
                  </a:lnTo>
                  <a:lnTo>
                    <a:pt x="12" y="774"/>
                  </a:lnTo>
                  <a:lnTo>
                    <a:pt x="24" y="756"/>
                  </a:lnTo>
                  <a:lnTo>
                    <a:pt x="24" y="744"/>
                  </a:lnTo>
                  <a:lnTo>
                    <a:pt x="30" y="738"/>
                  </a:lnTo>
                  <a:lnTo>
                    <a:pt x="30" y="732"/>
                  </a:lnTo>
                  <a:lnTo>
                    <a:pt x="36" y="720"/>
                  </a:lnTo>
                  <a:lnTo>
                    <a:pt x="42" y="714"/>
                  </a:lnTo>
                  <a:lnTo>
                    <a:pt x="54" y="708"/>
                  </a:lnTo>
                  <a:lnTo>
                    <a:pt x="60" y="702"/>
                  </a:lnTo>
                  <a:lnTo>
                    <a:pt x="48" y="690"/>
                  </a:lnTo>
                  <a:lnTo>
                    <a:pt x="48" y="684"/>
                  </a:lnTo>
                  <a:lnTo>
                    <a:pt x="48" y="678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66"/>
                  </a:lnTo>
                  <a:lnTo>
                    <a:pt x="72" y="654"/>
                  </a:lnTo>
                  <a:lnTo>
                    <a:pt x="72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84" y="630"/>
                  </a:lnTo>
                  <a:lnTo>
                    <a:pt x="90" y="630"/>
                  </a:lnTo>
                  <a:lnTo>
                    <a:pt x="96" y="630"/>
                  </a:lnTo>
                  <a:lnTo>
                    <a:pt x="96" y="624"/>
                  </a:lnTo>
                  <a:lnTo>
                    <a:pt x="90" y="624"/>
                  </a:lnTo>
                  <a:lnTo>
                    <a:pt x="84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90" y="600"/>
                  </a:lnTo>
                  <a:lnTo>
                    <a:pt x="84" y="600"/>
                  </a:lnTo>
                  <a:lnTo>
                    <a:pt x="78" y="594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126" y="564"/>
                  </a:lnTo>
                  <a:lnTo>
                    <a:pt x="144" y="564"/>
                  </a:lnTo>
                  <a:lnTo>
                    <a:pt x="156" y="582"/>
                  </a:lnTo>
                  <a:lnTo>
                    <a:pt x="162" y="600"/>
                  </a:lnTo>
                  <a:lnTo>
                    <a:pt x="180" y="588"/>
                  </a:lnTo>
                  <a:lnTo>
                    <a:pt x="192" y="588"/>
                  </a:lnTo>
                  <a:lnTo>
                    <a:pt x="198" y="588"/>
                  </a:lnTo>
                  <a:lnTo>
                    <a:pt x="210" y="582"/>
                  </a:lnTo>
                  <a:lnTo>
                    <a:pt x="216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58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46" y="558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58" y="570"/>
                  </a:lnTo>
                  <a:lnTo>
                    <a:pt x="264" y="570"/>
                  </a:lnTo>
                  <a:lnTo>
                    <a:pt x="270" y="564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46"/>
                  </a:lnTo>
                  <a:lnTo>
                    <a:pt x="276" y="540"/>
                  </a:lnTo>
                  <a:lnTo>
                    <a:pt x="276" y="534"/>
                  </a:lnTo>
                  <a:lnTo>
                    <a:pt x="276" y="528"/>
                  </a:lnTo>
                  <a:lnTo>
                    <a:pt x="282" y="528"/>
                  </a:lnTo>
                  <a:lnTo>
                    <a:pt x="282" y="522"/>
                  </a:lnTo>
                  <a:lnTo>
                    <a:pt x="282" y="516"/>
                  </a:lnTo>
                  <a:lnTo>
                    <a:pt x="282" y="510"/>
                  </a:lnTo>
                  <a:lnTo>
                    <a:pt x="282" y="504"/>
                  </a:lnTo>
                  <a:lnTo>
                    <a:pt x="282" y="492"/>
                  </a:lnTo>
                  <a:lnTo>
                    <a:pt x="288" y="486"/>
                  </a:lnTo>
                  <a:lnTo>
                    <a:pt x="300" y="480"/>
                  </a:lnTo>
                  <a:lnTo>
                    <a:pt x="306" y="462"/>
                  </a:lnTo>
                  <a:lnTo>
                    <a:pt x="318" y="444"/>
                  </a:lnTo>
                  <a:lnTo>
                    <a:pt x="330" y="444"/>
                  </a:lnTo>
                  <a:lnTo>
                    <a:pt x="330" y="432"/>
                  </a:lnTo>
                  <a:lnTo>
                    <a:pt x="342" y="432"/>
                  </a:lnTo>
                  <a:lnTo>
                    <a:pt x="354" y="402"/>
                  </a:lnTo>
                  <a:lnTo>
                    <a:pt x="348" y="390"/>
                  </a:lnTo>
                  <a:lnTo>
                    <a:pt x="336" y="384"/>
                  </a:lnTo>
                  <a:lnTo>
                    <a:pt x="336" y="360"/>
                  </a:lnTo>
                  <a:lnTo>
                    <a:pt x="336" y="354"/>
                  </a:lnTo>
                  <a:lnTo>
                    <a:pt x="336" y="342"/>
                  </a:lnTo>
                  <a:lnTo>
                    <a:pt x="342" y="336"/>
                  </a:lnTo>
                  <a:lnTo>
                    <a:pt x="342" y="324"/>
                  </a:lnTo>
                  <a:lnTo>
                    <a:pt x="372" y="324"/>
                  </a:lnTo>
                  <a:lnTo>
                    <a:pt x="378" y="324"/>
                  </a:lnTo>
                  <a:lnTo>
                    <a:pt x="378" y="318"/>
                  </a:lnTo>
                  <a:lnTo>
                    <a:pt x="372" y="312"/>
                  </a:lnTo>
                  <a:lnTo>
                    <a:pt x="378" y="312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84" y="300"/>
                  </a:lnTo>
                  <a:lnTo>
                    <a:pt x="384" y="294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66" y="294"/>
                  </a:lnTo>
                  <a:lnTo>
                    <a:pt x="366" y="288"/>
                  </a:lnTo>
                  <a:lnTo>
                    <a:pt x="372" y="288"/>
                  </a:lnTo>
                  <a:lnTo>
                    <a:pt x="372" y="282"/>
                  </a:lnTo>
                  <a:lnTo>
                    <a:pt x="366" y="276"/>
                  </a:lnTo>
                  <a:lnTo>
                    <a:pt x="360" y="270"/>
                  </a:lnTo>
                  <a:lnTo>
                    <a:pt x="360" y="264"/>
                  </a:lnTo>
                  <a:lnTo>
                    <a:pt x="354" y="264"/>
                  </a:lnTo>
                  <a:lnTo>
                    <a:pt x="348" y="258"/>
                  </a:lnTo>
                  <a:lnTo>
                    <a:pt x="354" y="258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40"/>
                  </a:lnTo>
                  <a:lnTo>
                    <a:pt x="354" y="240"/>
                  </a:lnTo>
                  <a:lnTo>
                    <a:pt x="342" y="234"/>
                  </a:lnTo>
                  <a:lnTo>
                    <a:pt x="342" y="228"/>
                  </a:lnTo>
                  <a:lnTo>
                    <a:pt x="348" y="228"/>
                  </a:lnTo>
                  <a:lnTo>
                    <a:pt x="342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6" y="216"/>
                  </a:lnTo>
                  <a:lnTo>
                    <a:pt x="330" y="222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24" y="210"/>
                  </a:lnTo>
                  <a:lnTo>
                    <a:pt x="318" y="210"/>
                  </a:lnTo>
                  <a:lnTo>
                    <a:pt x="318" y="204"/>
                  </a:lnTo>
                  <a:lnTo>
                    <a:pt x="312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294" y="192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300" y="174"/>
                  </a:lnTo>
                  <a:lnTo>
                    <a:pt x="300" y="168"/>
                  </a:lnTo>
                  <a:lnTo>
                    <a:pt x="300" y="162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88" y="150"/>
                  </a:lnTo>
                  <a:lnTo>
                    <a:pt x="288" y="144"/>
                  </a:lnTo>
                  <a:lnTo>
                    <a:pt x="282" y="144"/>
                  </a:lnTo>
                  <a:lnTo>
                    <a:pt x="282" y="138"/>
                  </a:lnTo>
                  <a:lnTo>
                    <a:pt x="312" y="132"/>
                  </a:lnTo>
                  <a:lnTo>
                    <a:pt x="324" y="120"/>
                  </a:lnTo>
                  <a:lnTo>
                    <a:pt x="330" y="114"/>
                  </a:lnTo>
                  <a:lnTo>
                    <a:pt x="336" y="102"/>
                  </a:lnTo>
                  <a:lnTo>
                    <a:pt x="348" y="90"/>
                  </a:lnTo>
                  <a:lnTo>
                    <a:pt x="360" y="84"/>
                  </a:lnTo>
                  <a:lnTo>
                    <a:pt x="372" y="84"/>
                  </a:lnTo>
                  <a:lnTo>
                    <a:pt x="378" y="84"/>
                  </a:lnTo>
                  <a:lnTo>
                    <a:pt x="384" y="90"/>
                  </a:lnTo>
                  <a:lnTo>
                    <a:pt x="402" y="90"/>
                  </a:lnTo>
                  <a:lnTo>
                    <a:pt x="438" y="84"/>
                  </a:lnTo>
                  <a:lnTo>
                    <a:pt x="456" y="84"/>
                  </a:lnTo>
                  <a:lnTo>
                    <a:pt x="462" y="78"/>
                  </a:lnTo>
                  <a:lnTo>
                    <a:pt x="486" y="72"/>
                  </a:lnTo>
                  <a:lnTo>
                    <a:pt x="492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04" y="54"/>
                  </a:lnTo>
                  <a:lnTo>
                    <a:pt x="510" y="42"/>
                  </a:lnTo>
                  <a:lnTo>
                    <a:pt x="504" y="42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498" y="30"/>
                  </a:lnTo>
                  <a:lnTo>
                    <a:pt x="492" y="30"/>
                  </a:lnTo>
                  <a:lnTo>
                    <a:pt x="492" y="24"/>
                  </a:lnTo>
                  <a:lnTo>
                    <a:pt x="486" y="18"/>
                  </a:lnTo>
                  <a:lnTo>
                    <a:pt x="498" y="18"/>
                  </a:lnTo>
                  <a:lnTo>
                    <a:pt x="510" y="18"/>
                  </a:lnTo>
                  <a:lnTo>
                    <a:pt x="522" y="12"/>
                  </a:lnTo>
                  <a:lnTo>
                    <a:pt x="528" y="6"/>
                  </a:lnTo>
                  <a:lnTo>
                    <a:pt x="570" y="0"/>
                  </a:lnTo>
                  <a:lnTo>
                    <a:pt x="606" y="6"/>
                  </a:lnTo>
                  <a:lnTo>
                    <a:pt x="654" y="24"/>
                  </a:lnTo>
                  <a:lnTo>
                    <a:pt x="666" y="36"/>
                  </a:lnTo>
                  <a:lnTo>
                    <a:pt x="672" y="30"/>
                  </a:lnTo>
                  <a:lnTo>
                    <a:pt x="690" y="42"/>
                  </a:lnTo>
                  <a:lnTo>
                    <a:pt x="702" y="48"/>
                  </a:lnTo>
                  <a:lnTo>
                    <a:pt x="714" y="60"/>
                  </a:lnTo>
                  <a:lnTo>
                    <a:pt x="714" y="66"/>
                  </a:lnTo>
                  <a:lnTo>
                    <a:pt x="720" y="72"/>
                  </a:lnTo>
                  <a:lnTo>
                    <a:pt x="720" y="78"/>
                  </a:lnTo>
                  <a:lnTo>
                    <a:pt x="720" y="102"/>
                  </a:lnTo>
                  <a:lnTo>
                    <a:pt x="720" y="108"/>
                  </a:lnTo>
                  <a:lnTo>
                    <a:pt x="714" y="108"/>
                  </a:lnTo>
                  <a:lnTo>
                    <a:pt x="714" y="126"/>
                  </a:lnTo>
                  <a:lnTo>
                    <a:pt x="732" y="126"/>
                  </a:lnTo>
                  <a:lnTo>
                    <a:pt x="726" y="132"/>
                  </a:lnTo>
                  <a:lnTo>
                    <a:pt x="738" y="132"/>
                  </a:lnTo>
                  <a:lnTo>
                    <a:pt x="738" y="138"/>
                  </a:lnTo>
                  <a:lnTo>
                    <a:pt x="738" y="144"/>
                  </a:lnTo>
                  <a:lnTo>
                    <a:pt x="744" y="144"/>
                  </a:lnTo>
                  <a:lnTo>
                    <a:pt x="744" y="150"/>
                  </a:lnTo>
                  <a:lnTo>
                    <a:pt x="756" y="156"/>
                  </a:lnTo>
                  <a:lnTo>
                    <a:pt x="768" y="156"/>
                  </a:lnTo>
                  <a:lnTo>
                    <a:pt x="780" y="156"/>
                  </a:lnTo>
                  <a:lnTo>
                    <a:pt x="792" y="150"/>
                  </a:lnTo>
                  <a:lnTo>
                    <a:pt x="786" y="150"/>
                  </a:lnTo>
                  <a:lnTo>
                    <a:pt x="786" y="144"/>
                  </a:lnTo>
                  <a:lnTo>
                    <a:pt x="804" y="144"/>
                  </a:lnTo>
                  <a:lnTo>
                    <a:pt x="816" y="132"/>
                  </a:lnTo>
                  <a:lnTo>
                    <a:pt x="822" y="126"/>
                  </a:lnTo>
                  <a:lnTo>
                    <a:pt x="828" y="132"/>
                  </a:lnTo>
                  <a:lnTo>
                    <a:pt x="834" y="126"/>
                  </a:lnTo>
                  <a:lnTo>
                    <a:pt x="834" y="120"/>
                  </a:lnTo>
                  <a:lnTo>
                    <a:pt x="924" y="108"/>
                  </a:lnTo>
                  <a:lnTo>
                    <a:pt x="942" y="144"/>
                  </a:lnTo>
                  <a:lnTo>
                    <a:pt x="948" y="144"/>
                  </a:lnTo>
                  <a:lnTo>
                    <a:pt x="960" y="168"/>
                  </a:lnTo>
                  <a:lnTo>
                    <a:pt x="972" y="186"/>
                  </a:lnTo>
                  <a:lnTo>
                    <a:pt x="984" y="192"/>
                  </a:lnTo>
                  <a:lnTo>
                    <a:pt x="996" y="192"/>
                  </a:lnTo>
                  <a:lnTo>
                    <a:pt x="996" y="198"/>
                  </a:lnTo>
                  <a:lnTo>
                    <a:pt x="1008" y="204"/>
                  </a:lnTo>
                  <a:lnTo>
                    <a:pt x="1008" y="210"/>
                  </a:lnTo>
                  <a:lnTo>
                    <a:pt x="1002" y="210"/>
                  </a:lnTo>
                  <a:lnTo>
                    <a:pt x="1008" y="216"/>
                  </a:lnTo>
                  <a:lnTo>
                    <a:pt x="1014" y="210"/>
                  </a:lnTo>
                  <a:lnTo>
                    <a:pt x="1014" y="216"/>
                  </a:lnTo>
                  <a:lnTo>
                    <a:pt x="1020" y="222"/>
                  </a:lnTo>
                  <a:lnTo>
                    <a:pt x="1014" y="228"/>
                  </a:lnTo>
                  <a:lnTo>
                    <a:pt x="1032" y="234"/>
                  </a:lnTo>
                  <a:lnTo>
                    <a:pt x="1044" y="240"/>
                  </a:lnTo>
                  <a:lnTo>
                    <a:pt x="1038" y="246"/>
                  </a:lnTo>
                  <a:lnTo>
                    <a:pt x="1038" y="252"/>
                  </a:lnTo>
                  <a:lnTo>
                    <a:pt x="1038" y="258"/>
                  </a:lnTo>
                  <a:lnTo>
                    <a:pt x="1032" y="264"/>
                  </a:lnTo>
                  <a:lnTo>
                    <a:pt x="1032" y="270"/>
                  </a:lnTo>
                  <a:lnTo>
                    <a:pt x="1032" y="276"/>
                  </a:lnTo>
                  <a:lnTo>
                    <a:pt x="1032" y="282"/>
                  </a:lnTo>
                  <a:lnTo>
                    <a:pt x="1026" y="282"/>
                  </a:lnTo>
                  <a:lnTo>
                    <a:pt x="1026" y="288"/>
                  </a:lnTo>
                  <a:lnTo>
                    <a:pt x="1026" y="294"/>
                  </a:lnTo>
                  <a:lnTo>
                    <a:pt x="1026" y="300"/>
                  </a:lnTo>
                  <a:lnTo>
                    <a:pt x="1026" y="306"/>
                  </a:lnTo>
                  <a:lnTo>
                    <a:pt x="1020" y="318"/>
                  </a:lnTo>
                  <a:lnTo>
                    <a:pt x="1020" y="324"/>
                  </a:lnTo>
                  <a:lnTo>
                    <a:pt x="1014" y="324"/>
                  </a:lnTo>
                  <a:lnTo>
                    <a:pt x="1014" y="330"/>
                  </a:lnTo>
                  <a:lnTo>
                    <a:pt x="1014" y="336"/>
                  </a:lnTo>
                  <a:lnTo>
                    <a:pt x="1008" y="366"/>
                  </a:lnTo>
                  <a:lnTo>
                    <a:pt x="1002" y="366"/>
                  </a:lnTo>
                  <a:lnTo>
                    <a:pt x="984" y="354"/>
                  </a:lnTo>
                  <a:lnTo>
                    <a:pt x="978" y="354"/>
                  </a:lnTo>
                  <a:lnTo>
                    <a:pt x="972" y="354"/>
                  </a:lnTo>
                  <a:lnTo>
                    <a:pt x="966" y="348"/>
                  </a:lnTo>
                  <a:lnTo>
                    <a:pt x="954" y="348"/>
                  </a:lnTo>
                  <a:lnTo>
                    <a:pt x="948" y="348"/>
                  </a:lnTo>
                  <a:lnTo>
                    <a:pt x="948" y="360"/>
                  </a:lnTo>
                  <a:lnTo>
                    <a:pt x="948" y="366"/>
                  </a:lnTo>
                  <a:lnTo>
                    <a:pt x="948" y="372"/>
                  </a:lnTo>
                  <a:lnTo>
                    <a:pt x="948" y="378"/>
                  </a:lnTo>
                  <a:lnTo>
                    <a:pt x="948" y="384"/>
                  </a:lnTo>
                  <a:lnTo>
                    <a:pt x="942" y="384"/>
                  </a:lnTo>
                  <a:lnTo>
                    <a:pt x="942" y="390"/>
                  </a:lnTo>
                  <a:lnTo>
                    <a:pt x="936" y="390"/>
                  </a:lnTo>
                  <a:lnTo>
                    <a:pt x="942" y="390"/>
                  </a:lnTo>
                  <a:lnTo>
                    <a:pt x="936" y="396"/>
                  </a:lnTo>
                  <a:lnTo>
                    <a:pt x="930" y="402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2" y="432"/>
                  </a:lnTo>
                  <a:lnTo>
                    <a:pt x="900" y="450"/>
                  </a:lnTo>
                  <a:lnTo>
                    <a:pt x="894" y="456"/>
                  </a:lnTo>
                  <a:lnTo>
                    <a:pt x="888" y="456"/>
                  </a:lnTo>
                  <a:lnTo>
                    <a:pt x="882" y="456"/>
                  </a:lnTo>
                  <a:lnTo>
                    <a:pt x="876" y="456"/>
                  </a:lnTo>
                  <a:lnTo>
                    <a:pt x="864" y="462"/>
                  </a:lnTo>
                  <a:lnTo>
                    <a:pt x="852" y="474"/>
                  </a:lnTo>
                  <a:lnTo>
                    <a:pt x="846" y="480"/>
                  </a:lnTo>
                  <a:lnTo>
                    <a:pt x="840" y="486"/>
                  </a:lnTo>
                  <a:lnTo>
                    <a:pt x="834" y="498"/>
                  </a:lnTo>
                  <a:lnTo>
                    <a:pt x="828" y="510"/>
                  </a:lnTo>
                  <a:lnTo>
                    <a:pt x="816" y="522"/>
                  </a:lnTo>
                  <a:lnTo>
                    <a:pt x="798" y="540"/>
                  </a:lnTo>
                  <a:lnTo>
                    <a:pt x="780" y="558"/>
                  </a:lnTo>
                  <a:lnTo>
                    <a:pt x="774" y="558"/>
                  </a:lnTo>
                  <a:lnTo>
                    <a:pt x="756" y="576"/>
                  </a:lnTo>
                  <a:lnTo>
                    <a:pt x="732" y="600"/>
                  </a:lnTo>
                  <a:lnTo>
                    <a:pt x="726" y="600"/>
                  </a:lnTo>
                  <a:lnTo>
                    <a:pt x="720" y="606"/>
                  </a:lnTo>
                  <a:lnTo>
                    <a:pt x="714" y="612"/>
                  </a:lnTo>
                  <a:lnTo>
                    <a:pt x="690" y="630"/>
                  </a:lnTo>
                  <a:lnTo>
                    <a:pt x="678" y="636"/>
                  </a:lnTo>
                  <a:lnTo>
                    <a:pt x="672" y="642"/>
                  </a:lnTo>
                  <a:lnTo>
                    <a:pt x="660" y="660"/>
                  </a:lnTo>
                  <a:lnTo>
                    <a:pt x="642" y="666"/>
                  </a:lnTo>
                  <a:lnTo>
                    <a:pt x="636" y="678"/>
                  </a:lnTo>
                  <a:lnTo>
                    <a:pt x="630" y="678"/>
                  </a:lnTo>
                  <a:lnTo>
                    <a:pt x="630" y="684"/>
                  </a:lnTo>
                  <a:lnTo>
                    <a:pt x="630" y="690"/>
                  </a:lnTo>
                  <a:lnTo>
                    <a:pt x="636" y="696"/>
                  </a:lnTo>
                  <a:lnTo>
                    <a:pt x="642" y="696"/>
                  </a:lnTo>
                  <a:lnTo>
                    <a:pt x="648" y="702"/>
                  </a:lnTo>
                  <a:lnTo>
                    <a:pt x="648" y="708"/>
                  </a:lnTo>
                  <a:lnTo>
                    <a:pt x="642" y="708"/>
                  </a:lnTo>
                  <a:lnTo>
                    <a:pt x="636" y="714"/>
                  </a:lnTo>
                  <a:lnTo>
                    <a:pt x="636" y="720"/>
                  </a:lnTo>
                  <a:lnTo>
                    <a:pt x="642" y="726"/>
                  </a:lnTo>
                  <a:lnTo>
                    <a:pt x="636" y="738"/>
                  </a:lnTo>
                  <a:lnTo>
                    <a:pt x="618" y="756"/>
                  </a:lnTo>
                  <a:lnTo>
                    <a:pt x="612" y="750"/>
                  </a:lnTo>
                  <a:lnTo>
                    <a:pt x="612" y="756"/>
                  </a:lnTo>
                  <a:lnTo>
                    <a:pt x="618" y="762"/>
                  </a:lnTo>
                  <a:lnTo>
                    <a:pt x="618" y="768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36" y="786"/>
                  </a:lnTo>
                  <a:lnTo>
                    <a:pt x="642" y="792"/>
                  </a:lnTo>
                  <a:lnTo>
                    <a:pt x="642" y="798"/>
                  </a:lnTo>
                  <a:lnTo>
                    <a:pt x="648" y="804"/>
                  </a:lnTo>
                  <a:lnTo>
                    <a:pt x="654" y="810"/>
                  </a:lnTo>
                  <a:lnTo>
                    <a:pt x="660" y="816"/>
                  </a:lnTo>
                  <a:lnTo>
                    <a:pt x="666" y="816"/>
                  </a:lnTo>
                  <a:lnTo>
                    <a:pt x="666" y="822"/>
                  </a:lnTo>
                  <a:lnTo>
                    <a:pt x="672" y="828"/>
                  </a:lnTo>
                  <a:lnTo>
                    <a:pt x="672" y="840"/>
                  </a:lnTo>
                  <a:lnTo>
                    <a:pt x="672" y="846"/>
                  </a:lnTo>
                  <a:lnTo>
                    <a:pt x="666" y="852"/>
                  </a:lnTo>
                  <a:lnTo>
                    <a:pt x="660" y="864"/>
                  </a:lnTo>
                  <a:lnTo>
                    <a:pt x="654" y="876"/>
                  </a:lnTo>
                  <a:lnTo>
                    <a:pt x="648" y="882"/>
                  </a:lnTo>
                  <a:lnTo>
                    <a:pt x="642" y="888"/>
                  </a:lnTo>
                  <a:lnTo>
                    <a:pt x="642" y="894"/>
                  </a:lnTo>
                  <a:lnTo>
                    <a:pt x="642" y="906"/>
                  </a:lnTo>
                  <a:lnTo>
                    <a:pt x="630" y="918"/>
                  </a:lnTo>
                  <a:lnTo>
                    <a:pt x="630" y="924"/>
                  </a:lnTo>
                  <a:lnTo>
                    <a:pt x="624" y="930"/>
                  </a:lnTo>
                  <a:lnTo>
                    <a:pt x="630" y="936"/>
                  </a:lnTo>
                  <a:lnTo>
                    <a:pt x="630" y="942"/>
                  </a:lnTo>
                  <a:lnTo>
                    <a:pt x="630" y="948"/>
                  </a:lnTo>
                  <a:lnTo>
                    <a:pt x="630" y="954"/>
                  </a:lnTo>
                  <a:lnTo>
                    <a:pt x="630" y="960"/>
                  </a:lnTo>
                  <a:lnTo>
                    <a:pt x="624" y="966"/>
                  </a:lnTo>
                  <a:lnTo>
                    <a:pt x="618" y="990"/>
                  </a:lnTo>
                  <a:lnTo>
                    <a:pt x="618" y="1008"/>
                  </a:lnTo>
                  <a:lnTo>
                    <a:pt x="612" y="1026"/>
                  </a:lnTo>
                  <a:lnTo>
                    <a:pt x="612" y="1038"/>
                  </a:lnTo>
                  <a:lnTo>
                    <a:pt x="612" y="1050"/>
                  </a:lnTo>
                  <a:lnTo>
                    <a:pt x="612" y="1056"/>
                  </a:lnTo>
                  <a:lnTo>
                    <a:pt x="612" y="1062"/>
                  </a:lnTo>
                  <a:lnTo>
                    <a:pt x="612" y="1068"/>
                  </a:lnTo>
                  <a:lnTo>
                    <a:pt x="612" y="1086"/>
                  </a:lnTo>
                  <a:lnTo>
                    <a:pt x="612" y="1092"/>
                  </a:lnTo>
                  <a:lnTo>
                    <a:pt x="606" y="1098"/>
                  </a:lnTo>
                  <a:lnTo>
                    <a:pt x="600" y="1110"/>
                  </a:lnTo>
                  <a:lnTo>
                    <a:pt x="600" y="1116"/>
                  </a:lnTo>
                  <a:lnTo>
                    <a:pt x="594" y="1122"/>
                  </a:lnTo>
                  <a:lnTo>
                    <a:pt x="594" y="1128"/>
                  </a:lnTo>
                  <a:lnTo>
                    <a:pt x="588" y="1134"/>
                  </a:lnTo>
                  <a:lnTo>
                    <a:pt x="582" y="1140"/>
                  </a:lnTo>
                  <a:lnTo>
                    <a:pt x="570" y="1140"/>
                  </a:lnTo>
                  <a:lnTo>
                    <a:pt x="564" y="1146"/>
                  </a:lnTo>
                  <a:lnTo>
                    <a:pt x="570" y="1146"/>
                  </a:lnTo>
                  <a:lnTo>
                    <a:pt x="564" y="1152"/>
                  </a:lnTo>
                  <a:lnTo>
                    <a:pt x="558" y="1158"/>
                  </a:lnTo>
                  <a:lnTo>
                    <a:pt x="552" y="1164"/>
                  </a:lnTo>
                  <a:lnTo>
                    <a:pt x="552" y="1170"/>
                  </a:lnTo>
                  <a:lnTo>
                    <a:pt x="546" y="1176"/>
                  </a:lnTo>
                  <a:lnTo>
                    <a:pt x="546" y="1182"/>
                  </a:lnTo>
                  <a:lnTo>
                    <a:pt x="546" y="1188"/>
                  </a:lnTo>
                  <a:lnTo>
                    <a:pt x="540" y="1188"/>
                  </a:lnTo>
                  <a:lnTo>
                    <a:pt x="540" y="1194"/>
                  </a:lnTo>
                  <a:lnTo>
                    <a:pt x="528" y="1206"/>
                  </a:lnTo>
                  <a:lnTo>
                    <a:pt x="528" y="1212"/>
                  </a:lnTo>
                  <a:lnTo>
                    <a:pt x="534" y="1212"/>
                  </a:lnTo>
                  <a:lnTo>
                    <a:pt x="540" y="1218"/>
                  </a:lnTo>
                  <a:lnTo>
                    <a:pt x="534" y="1218"/>
                  </a:lnTo>
                  <a:lnTo>
                    <a:pt x="528" y="1218"/>
                  </a:lnTo>
                  <a:lnTo>
                    <a:pt x="528" y="1224"/>
                  </a:lnTo>
                  <a:lnTo>
                    <a:pt x="522" y="1230"/>
                  </a:lnTo>
                  <a:lnTo>
                    <a:pt x="516" y="1236"/>
                  </a:lnTo>
                  <a:lnTo>
                    <a:pt x="522" y="1236"/>
                  </a:lnTo>
                  <a:lnTo>
                    <a:pt x="516" y="1242"/>
                  </a:lnTo>
                  <a:lnTo>
                    <a:pt x="510" y="1242"/>
                  </a:lnTo>
                  <a:lnTo>
                    <a:pt x="504" y="1248"/>
                  </a:lnTo>
                  <a:lnTo>
                    <a:pt x="510" y="1260"/>
                  </a:lnTo>
                  <a:lnTo>
                    <a:pt x="504" y="1266"/>
                  </a:lnTo>
                  <a:lnTo>
                    <a:pt x="492" y="1266"/>
                  </a:lnTo>
                  <a:lnTo>
                    <a:pt x="486" y="1272"/>
                  </a:lnTo>
                  <a:lnTo>
                    <a:pt x="486" y="1278"/>
                  </a:lnTo>
                  <a:lnTo>
                    <a:pt x="480" y="1278"/>
                  </a:lnTo>
                  <a:lnTo>
                    <a:pt x="480" y="1284"/>
                  </a:lnTo>
                  <a:lnTo>
                    <a:pt x="480" y="1290"/>
                  </a:lnTo>
                  <a:lnTo>
                    <a:pt x="480" y="1296"/>
                  </a:lnTo>
                  <a:lnTo>
                    <a:pt x="492" y="1302"/>
                  </a:lnTo>
                  <a:lnTo>
                    <a:pt x="492" y="1308"/>
                  </a:lnTo>
                  <a:lnTo>
                    <a:pt x="492" y="1320"/>
                  </a:lnTo>
                  <a:lnTo>
                    <a:pt x="492" y="1332"/>
                  </a:lnTo>
                  <a:lnTo>
                    <a:pt x="498" y="1344"/>
                  </a:lnTo>
                  <a:lnTo>
                    <a:pt x="498" y="1350"/>
                  </a:lnTo>
                  <a:lnTo>
                    <a:pt x="498" y="1356"/>
                  </a:lnTo>
                  <a:lnTo>
                    <a:pt x="504" y="1362"/>
                  </a:lnTo>
                  <a:lnTo>
                    <a:pt x="498" y="1362"/>
                  </a:lnTo>
                  <a:lnTo>
                    <a:pt x="498" y="1368"/>
                  </a:lnTo>
                  <a:lnTo>
                    <a:pt x="492" y="1368"/>
                  </a:lnTo>
                  <a:lnTo>
                    <a:pt x="492" y="1374"/>
                  </a:lnTo>
                  <a:lnTo>
                    <a:pt x="492" y="1380"/>
                  </a:lnTo>
                  <a:lnTo>
                    <a:pt x="498" y="1380"/>
                  </a:lnTo>
                  <a:lnTo>
                    <a:pt x="504" y="1380"/>
                  </a:lnTo>
                  <a:lnTo>
                    <a:pt x="498" y="1386"/>
                  </a:lnTo>
                  <a:lnTo>
                    <a:pt x="498" y="1392"/>
                  </a:lnTo>
                  <a:lnTo>
                    <a:pt x="498" y="1398"/>
                  </a:lnTo>
                  <a:lnTo>
                    <a:pt x="498" y="1404"/>
                  </a:lnTo>
                  <a:lnTo>
                    <a:pt x="498" y="1410"/>
                  </a:lnTo>
                  <a:lnTo>
                    <a:pt x="498" y="1416"/>
                  </a:lnTo>
                  <a:lnTo>
                    <a:pt x="492" y="1416"/>
                  </a:lnTo>
                  <a:lnTo>
                    <a:pt x="498" y="1416"/>
                  </a:lnTo>
                  <a:lnTo>
                    <a:pt x="504" y="1416"/>
                  </a:lnTo>
                  <a:lnTo>
                    <a:pt x="504" y="1422"/>
                  </a:lnTo>
                  <a:lnTo>
                    <a:pt x="510" y="1428"/>
                  </a:lnTo>
                  <a:lnTo>
                    <a:pt x="510" y="1434"/>
                  </a:lnTo>
                  <a:lnTo>
                    <a:pt x="510" y="1440"/>
                  </a:lnTo>
                  <a:lnTo>
                    <a:pt x="516" y="1446"/>
                  </a:lnTo>
                  <a:lnTo>
                    <a:pt x="516" y="1452"/>
                  </a:lnTo>
                  <a:lnTo>
                    <a:pt x="516" y="1458"/>
                  </a:lnTo>
                  <a:lnTo>
                    <a:pt x="516" y="1464"/>
                  </a:lnTo>
                  <a:lnTo>
                    <a:pt x="516" y="1482"/>
                  </a:lnTo>
                  <a:lnTo>
                    <a:pt x="516" y="1488"/>
                  </a:lnTo>
                  <a:lnTo>
                    <a:pt x="522" y="1488"/>
                  </a:lnTo>
                  <a:lnTo>
                    <a:pt x="522" y="1494"/>
                  </a:lnTo>
                  <a:lnTo>
                    <a:pt x="522" y="1500"/>
                  </a:lnTo>
                  <a:lnTo>
                    <a:pt x="516" y="1506"/>
                  </a:lnTo>
                  <a:lnTo>
                    <a:pt x="510" y="1500"/>
                  </a:lnTo>
                  <a:lnTo>
                    <a:pt x="504" y="1500"/>
                  </a:lnTo>
                  <a:lnTo>
                    <a:pt x="504" y="1494"/>
                  </a:lnTo>
                  <a:lnTo>
                    <a:pt x="504" y="1488"/>
                  </a:lnTo>
                  <a:lnTo>
                    <a:pt x="504" y="1482"/>
                  </a:lnTo>
                  <a:lnTo>
                    <a:pt x="504" y="1488"/>
                  </a:lnTo>
                  <a:lnTo>
                    <a:pt x="504" y="1494"/>
                  </a:lnTo>
                  <a:lnTo>
                    <a:pt x="504" y="1500"/>
                  </a:lnTo>
                  <a:lnTo>
                    <a:pt x="498" y="1500"/>
                  </a:lnTo>
                  <a:lnTo>
                    <a:pt x="492" y="1500"/>
                  </a:lnTo>
                  <a:lnTo>
                    <a:pt x="492" y="1494"/>
                  </a:lnTo>
                  <a:lnTo>
                    <a:pt x="492" y="1488"/>
                  </a:lnTo>
                  <a:lnTo>
                    <a:pt x="492" y="1494"/>
                  </a:lnTo>
                  <a:lnTo>
                    <a:pt x="492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00"/>
                  </a:lnTo>
                  <a:lnTo>
                    <a:pt x="510" y="1500"/>
                  </a:lnTo>
                  <a:lnTo>
                    <a:pt x="510" y="1506"/>
                  </a:lnTo>
                  <a:lnTo>
                    <a:pt x="516" y="1506"/>
                  </a:lnTo>
                  <a:lnTo>
                    <a:pt x="510" y="1506"/>
                  </a:lnTo>
                  <a:lnTo>
                    <a:pt x="510" y="1512"/>
                  </a:lnTo>
                  <a:lnTo>
                    <a:pt x="516" y="1506"/>
                  </a:lnTo>
                  <a:lnTo>
                    <a:pt x="522" y="1506"/>
                  </a:lnTo>
                  <a:lnTo>
                    <a:pt x="528" y="1506"/>
                  </a:lnTo>
                  <a:lnTo>
                    <a:pt x="528" y="1500"/>
                  </a:lnTo>
                  <a:lnTo>
                    <a:pt x="534" y="1500"/>
                  </a:lnTo>
                  <a:lnTo>
                    <a:pt x="534" y="1506"/>
                  </a:lnTo>
                  <a:lnTo>
                    <a:pt x="540" y="1512"/>
                  </a:lnTo>
                  <a:lnTo>
                    <a:pt x="540" y="1518"/>
                  </a:lnTo>
                  <a:lnTo>
                    <a:pt x="546" y="1518"/>
                  </a:lnTo>
                  <a:lnTo>
                    <a:pt x="540" y="1518"/>
                  </a:lnTo>
                  <a:lnTo>
                    <a:pt x="540" y="1524"/>
                  </a:lnTo>
                  <a:lnTo>
                    <a:pt x="534" y="1524"/>
                  </a:lnTo>
                  <a:lnTo>
                    <a:pt x="540" y="1524"/>
                  </a:lnTo>
                  <a:lnTo>
                    <a:pt x="546" y="1524"/>
                  </a:lnTo>
                  <a:lnTo>
                    <a:pt x="546" y="1530"/>
                  </a:lnTo>
                  <a:lnTo>
                    <a:pt x="540" y="1530"/>
                  </a:lnTo>
                  <a:lnTo>
                    <a:pt x="540" y="1536"/>
                  </a:lnTo>
                  <a:lnTo>
                    <a:pt x="534" y="1542"/>
                  </a:lnTo>
                  <a:lnTo>
                    <a:pt x="528" y="1542"/>
                  </a:lnTo>
                  <a:lnTo>
                    <a:pt x="522" y="1542"/>
                  </a:lnTo>
                  <a:lnTo>
                    <a:pt x="516" y="1542"/>
                  </a:lnTo>
                  <a:lnTo>
                    <a:pt x="510" y="1542"/>
                  </a:lnTo>
                  <a:lnTo>
                    <a:pt x="504" y="1542"/>
                  </a:lnTo>
                  <a:lnTo>
                    <a:pt x="492" y="1542"/>
                  </a:lnTo>
                  <a:lnTo>
                    <a:pt x="486" y="1536"/>
                  </a:lnTo>
                  <a:lnTo>
                    <a:pt x="480" y="1536"/>
                  </a:lnTo>
                  <a:lnTo>
                    <a:pt x="468" y="1536"/>
                  </a:lnTo>
                  <a:lnTo>
                    <a:pt x="468" y="1542"/>
                  </a:lnTo>
                  <a:lnTo>
                    <a:pt x="462" y="1542"/>
                  </a:lnTo>
                  <a:lnTo>
                    <a:pt x="456" y="1542"/>
                  </a:lnTo>
                  <a:lnTo>
                    <a:pt x="450" y="1542"/>
                  </a:lnTo>
                  <a:lnTo>
                    <a:pt x="444" y="1542"/>
                  </a:lnTo>
                  <a:lnTo>
                    <a:pt x="444" y="1536"/>
                  </a:lnTo>
                  <a:lnTo>
                    <a:pt x="450" y="1536"/>
                  </a:lnTo>
                  <a:lnTo>
                    <a:pt x="456" y="1536"/>
                  </a:lnTo>
                  <a:lnTo>
                    <a:pt x="450" y="1536"/>
                  </a:lnTo>
                  <a:lnTo>
                    <a:pt x="444" y="1536"/>
                  </a:lnTo>
                  <a:lnTo>
                    <a:pt x="444" y="1530"/>
                  </a:lnTo>
                  <a:lnTo>
                    <a:pt x="450" y="1530"/>
                  </a:lnTo>
                  <a:lnTo>
                    <a:pt x="456" y="1524"/>
                  </a:lnTo>
                  <a:lnTo>
                    <a:pt x="456" y="1518"/>
                  </a:lnTo>
                  <a:lnTo>
                    <a:pt x="462" y="1518"/>
                  </a:lnTo>
                  <a:lnTo>
                    <a:pt x="462" y="1524"/>
                  </a:lnTo>
                  <a:lnTo>
                    <a:pt x="468" y="1524"/>
                  </a:lnTo>
                  <a:lnTo>
                    <a:pt x="474" y="1524"/>
                  </a:lnTo>
                  <a:lnTo>
                    <a:pt x="474" y="1518"/>
                  </a:lnTo>
                  <a:lnTo>
                    <a:pt x="480" y="1518"/>
                  </a:lnTo>
                  <a:lnTo>
                    <a:pt x="474" y="1518"/>
                  </a:lnTo>
                  <a:lnTo>
                    <a:pt x="474" y="1524"/>
                  </a:lnTo>
                  <a:lnTo>
                    <a:pt x="468" y="1524"/>
                  </a:lnTo>
                  <a:lnTo>
                    <a:pt x="462" y="1518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62" y="1512"/>
                  </a:lnTo>
                  <a:lnTo>
                    <a:pt x="462" y="1506"/>
                  </a:lnTo>
                  <a:lnTo>
                    <a:pt x="456" y="1506"/>
                  </a:lnTo>
                  <a:lnTo>
                    <a:pt x="456" y="1512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50" y="1518"/>
                  </a:lnTo>
                  <a:lnTo>
                    <a:pt x="444" y="1518"/>
                  </a:lnTo>
                  <a:lnTo>
                    <a:pt x="444" y="1524"/>
                  </a:lnTo>
                  <a:lnTo>
                    <a:pt x="438" y="1524"/>
                  </a:lnTo>
                  <a:lnTo>
                    <a:pt x="438" y="1530"/>
                  </a:lnTo>
                  <a:lnTo>
                    <a:pt x="432" y="1530"/>
                  </a:lnTo>
                  <a:lnTo>
                    <a:pt x="432" y="1536"/>
                  </a:lnTo>
                  <a:lnTo>
                    <a:pt x="426" y="1530"/>
                  </a:lnTo>
                  <a:lnTo>
                    <a:pt x="420" y="1530"/>
                  </a:lnTo>
                  <a:lnTo>
                    <a:pt x="414" y="1530"/>
                  </a:lnTo>
                  <a:lnTo>
                    <a:pt x="414" y="1524"/>
                  </a:lnTo>
                  <a:lnTo>
                    <a:pt x="408" y="1518"/>
                  </a:lnTo>
                  <a:lnTo>
                    <a:pt x="414" y="1512"/>
                  </a:lnTo>
                  <a:lnTo>
                    <a:pt x="408" y="1512"/>
                  </a:lnTo>
                  <a:lnTo>
                    <a:pt x="408" y="1506"/>
                  </a:lnTo>
                  <a:lnTo>
                    <a:pt x="408" y="1500"/>
                  </a:lnTo>
                  <a:lnTo>
                    <a:pt x="408" y="1494"/>
                  </a:lnTo>
                  <a:lnTo>
                    <a:pt x="408" y="1488"/>
                  </a:lnTo>
                  <a:lnTo>
                    <a:pt x="408" y="1494"/>
                  </a:lnTo>
                  <a:lnTo>
                    <a:pt x="414" y="1494"/>
                  </a:lnTo>
                  <a:lnTo>
                    <a:pt x="420" y="1494"/>
                  </a:lnTo>
                  <a:lnTo>
                    <a:pt x="420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82"/>
                  </a:lnTo>
                  <a:lnTo>
                    <a:pt x="426" y="1476"/>
                  </a:lnTo>
                  <a:lnTo>
                    <a:pt x="432" y="1476"/>
                  </a:lnTo>
                  <a:lnTo>
                    <a:pt x="432" y="1470"/>
                  </a:lnTo>
                  <a:lnTo>
                    <a:pt x="438" y="1470"/>
                  </a:lnTo>
                  <a:lnTo>
                    <a:pt x="444" y="1464"/>
                  </a:lnTo>
                  <a:lnTo>
                    <a:pt x="450" y="1458"/>
                  </a:lnTo>
                  <a:lnTo>
                    <a:pt x="456" y="1458"/>
                  </a:lnTo>
                  <a:lnTo>
                    <a:pt x="462" y="1452"/>
                  </a:lnTo>
                  <a:lnTo>
                    <a:pt x="468" y="1452"/>
                  </a:lnTo>
                  <a:lnTo>
                    <a:pt x="468" y="1446"/>
                  </a:lnTo>
                  <a:lnTo>
                    <a:pt x="462" y="1440"/>
                  </a:lnTo>
                  <a:lnTo>
                    <a:pt x="456" y="1434"/>
                  </a:lnTo>
                  <a:lnTo>
                    <a:pt x="456" y="1428"/>
                  </a:lnTo>
                  <a:lnTo>
                    <a:pt x="456" y="1422"/>
                  </a:lnTo>
                  <a:lnTo>
                    <a:pt x="456" y="1416"/>
                  </a:lnTo>
                  <a:lnTo>
                    <a:pt x="450" y="1410"/>
                  </a:lnTo>
                  <a:lnTo>
                    <a:pt x="444" y="1410"/>
                  </a:lnTo>
                  <a:lnTo>
                    <a:pt x="450" y="1410"/>
                  </a:lnTo>
                  <a:lnTo>
                    <a:pt x="450" y="1404"/>
                  </a:lnTo>
                  <a:lnTo>
                    <a:pt x="456" y="1404"/>
                  </a:lnTo>
                  <a:lnTo>
                    <a:pt x="462" y="1404"/>
                  </a:lnTo>
                  <a:lnTo>
                    <a:pt x="468" y="1398"/>
                  </a:lnTo>
                  <a:lnTo>
                    <a:pt x="462" y="1398"/>
                  </a:lnTo>
                  <a:lnTo>
                    <a:pt x="462" y="1392"/>
                  </a:lnTo>
                  <a:lnTo>
                    <a:pt x="456" y="1392"/>
                  </a:lnTo>
                  <a:lnTo>
                    <a:pt x="456" y="1386"/>
                  </a:lnTo>
                  <a:lnTo>
                    <a:pt x="462" y="1386"/>
                  </a:lnTo>
                  <a:lnTo>
                    <a:pt x="468" y="1386"/>
                  </a:lnTo>
                  <a:lnTo>
                    <a:pt x="474" y="1386"/>
                  </a:lnTo>
                  <a:lnTo>
                    <a:pt x="468" y="1386"/>
                  </a:lnTo>
                  <a:lnTo>
                    <a:pt x="462" y="1386"/>
                  </a:lnTo>
                  <a:lnTo>
                    <a:pt x="456" y="1380"/>
                  </a:lnTo>
                  <a:lnTo>
                    <a:pt x="456" y="1374"/>
                  </a:lnTo>
                  <a:lnTo>
                    <a:pt x="462" y="1374"/>
                  </a:lnTo>
                  <a:lnTo>
                    <a:pt x="462" y="1368"/>
                  </a:lnTo>
                  <a:lnTo>
                    <a:pt x="456" y="1374"/>
                  </a:lnTo>
                  <a:lnTo>
                    <a:pt x="456" y="1368"/>
                  </a:lnTo>
                  <a:lnTo>
                    <a:pt x="456" y="1362"/>
                  </a:lnTo>
                  <a:lnTo>
                    <a:pt x="450" y="1362"/>
                  </a:lnTo>
                  <a:lnTo>
                    <a:pt x="450" y="1356"/>
                  </a:lnTo>
                  <a:lnTo>
                    <a:pt x="450" y="1350"/>
                  </a:lnTo>
                  <a:lnTo>
                    <a:pt x="450" y="1344"/>
                  </a:lnTo>
                  <a:lnTo>
                    <a:pt x="456" y="1344"/>
                  </a:lnTo>
                  <a:lnTo>
                    <a:pt x="456" y="1338"/>
                  </a:lnTo>
                  <a:lnTo>
                    <a:pt x="462" y="1338"/>
                  </a:lnTo>
                  <a:lnTo>
                    <a:pt x="462" y="1332"/>
                  </a:lnTo>
                  <a:lnTo>
                    <a:pt x="456" y="1332"/>
                  </a:lnTo>
                  <a:lnTo>
                    <a:pt x="456" y="1326"/>
                  </a:lnTo>
                  <a:lnTo>
                    <a:pt x="450" y="1326"/>
                  </a:lnTo>
                  <a:lnTo>
                    <a:pt x="444" y="1326"/>
                  </a:lnTo>
                  <a:lnTo>
                    <a:pt x="444" y="1332"/>
                  </a:lnTo>
                  <a:lnTo>
                    <a:pt x="438" y="1332"/>
                  </a:lnTo>
                  <a:lnTo>
                    <a:pt x="438" y="1338"/>
                  </a:lnTo>
                  <a:lnTo>
                    <a:pt x="432" y="1338"/>
                  </a:lnTo>
                  <a:lnTo>
                    <a:pt x="432" y="1344"/>
                  </a:lnTo>
                  <a:lnTo>
                    <a:pt x="432" y="1350"/>
                  </a:lnTo>
                  <a:lnTo>
                    <a:pt x="426" y="1356"/>
                  </a:lnTo>
                  <a:lnTo>
                    <a:pt x="426" y="1368"/>
                  </a:lnTo>
                  <a:lnTo>
                    <a:pt x="426" y="1374"/>
                  </a:lnTo>
                  <a:lnTo>
                    <a:pt x="426" y="1380"/>
                  </a:lnTo>
                  <a:lnTo>
                    <a:pt x="432" y="1386"/>
                  </a:lnTo>
                  <a:lnTo>
                    <a:pt x="432" y="1392"/>
                  </a:lnTo>
                  <a:lnTo>
                    <a:pt x="432" y="1398"/>
                  </a:lnTo>
                  <a:lnTo>
                    <a:pt x="426" y="1398"/>
                  </a:lnTo>
                  <a:lnTo>
                    <a:pt x="420" y="1398"/>
                  </a:lnTo>
                  <a:lnTo>
                    <a:pt x="414" y="1398"/>
                  </a:lnTo>
                  <a:lnTo>
                    <a:pt x="420" y="1398"/>
                  </a:lnTo>
                  <a:lnTo>
                    <a:pt x="414" y="1404"/>
                  </a:lnTo>
                  <a:lnTo>
                    <a:pt x="420" y="1404"/>
                  </a:lnTo>
                  <a:lnTo>
                    <a:pt x="414" y="1404"/>
                  </a:lnTo>
                  <a:lnTo>
                    <a:pt x="408" y="1404"/>
                  </a:lnTo>
                  <a:lnTo>
                    <a:pt x="402" y="1410"/>
                  </a:lnTo>
                  <a:lnTo>
                    <a:pt x="402" y="1404"/>
                  </a:lnTo>
                  <a:lnTo>
                    <a:pt x="396" y="1404"/>
                  </a:lnTo>
                  <a:lnTo>
                    <a:pt x="390" y="1404"/>
                  </a:lnTo>
                  <a:lnTo>
                    <a:pt x="384" y="1404"/>
                  </a:lnTo>
                  <a:lnTo>
                    <a:pt x="384" y="1398"/>
                  </a:lnTo>
                  <a:lnTo>
                    <a:pt x="384" y="1392"/>
                  </a:lnTo>
                  <a:lnTo>
                    <a:pt x="390" y="1392"/>
                  </a:lnTo>
                  <a:lnTo>
                    <a:pt x="390" y="1386"/>
                  </a:lnTo>
                  <a:lnTo>
                    <a:pt x="390" y="1380"/>
                  </a:lnTo>
                  <a:lnTo>
                    <a:pt x="396" y="1380"/>
                  </a:lnTo>
                  <a:lnTo>
                    <a:pt x="402" y="1380"/>
                  </a:lnTo>
                  <a:lnTo>
                    <a:pt x="408" y="1380"/>
                  </a:lnTo>
                  <a:lnTo>
                    <a:pt x="408" y="1374"/>
                  </a:lnTo>
                  <a:lnTo>
                    <a:pt x="414" y="1374"/>
                  </a:lnTo>
                  <a:lnTo>
                    <a:pt x="414" y="1368"/>
                  </a:lnTo>
                  <a:lnTo>
                    <a:pt x="414" y="1362"/>
                  </a:lnTo>
                  <a:lnTo>
                    <a:pt x="414" y="1368"/>
                  </a:lnTo>
                  <a:lnTo>
                    <a:pt x="414" y="1374"/>
                  </a:lnTo>
                  <a:lnTo>
                    <a:pt x="408" y="1374"/>
                  </a:lnTo>
                  <a:lnTo>
                    <a:pt x="402" y="1380"/>
                  </a:lnTo>
                  <a:lnTo>
                    <a:pt x="396" y="1380"/>
                  </a:lnTo>
                  <a:lnTo>
                    <a:pt x="396" y="1374"/>
                  </a:lnTo>
                  <a:lnTo>
                    <a:pt x="390" y="1374"/>
                  </a:lnTo>
                  <a:lnTo>
                    <a:pt x="390" y="1368"/>
                  </a:lnTo>
                  <a:lnTo>
                    <a:pt x="384" y="1368"/>
                  </a:lnTo>
                  <a:lnTo>
                    <a:pt x="384" y="1374"/>
                  </a:lnTo>
                  <a:lnTo>
                    <a:pt x="378" y="1374"/>
                  </a:lnTo>
                  <a:lnTo>
                    <a:pt x="378" y="1380"/>
                  </a:lnTo>
                  <a:lnTo>
                    <a:pt x="372" y="1380"/>
                  </a:lnTo>
                  <a:lnTo>
                    <a:pt x="366" y="1386"/>
                  </a:lnTo>
                  <a:lnTo>
                    <a:pt x="360" y="1386"/>
                  </a:lnTo>
                  <a:lnTo>
                    <a:pt x="354" y="1386"/>
                  </a:lnTo>
                  <a:lnTo>
                    <a:pt x="354" y="1380"/>
                  </a:lnTo>
                  <a:lnTo>
                    <a:pt x="348" y="1380"/>
                  </a:lnTo>
                  <a:lnTo>
                    <a:pt x="342" y="1380"/>
                  </a:lnTo>
                  <a:lnTo>
                    <a:pt x="342" y="1374"/>
                  </a:lnTo>
                  <a:lnTo>
                    <a:pt x="336" y="1368"/>
                  </a:lnTo>
                  <a:lnTo>
                    <a:pt x="342" y="1368"/>
                  </a:lnTo>
                  <a:lnTo>
                    <a:pt x="342" y="1362"/>
                  </a:lnTo>
                  <a:lnTo>
                    <a:pt x="348" y="1362"/>
                  </a:lnTo>
                  <a:lnTo>
                    <a:pt x="354" y="1362"/>
                  </a:lnTo>
                  <a:lnTo>
                    <a:pt x="354" y="1356"/>
                  </a:lnTo>
                  <a:lnTo>
                    <a:pt x="348" y="1356"/>
                  </a:lnTo>
                  <a:lnTo>
                    <a:pt x="348" y="1350"/>
                  </a:lnTo>
                  <a:lnTo>
                    <a:pt x="348" y="1344"/>
                  </a:lnTo>
                  <a:lnTo>
                    <a:pt x="354" y="1338"/>
                  </a:lnTo>
                  <a:lnTo>
                    <a:pt x="354" y="1332"/>
                  </a:lnTo>
                  <a:lnTo>
                    <a:pt x="354" y="1326"/>
                  </a:lnTo>
                  <a:lnTo>
                    <a:pt x="354" y="1320"/>
                  </a:lnTo>
                  <a:lnTo>
                    <a:pt x="354" y="1314"/>
                  </a:lnTo>
                  <a:lnTo>
                    <a:pt x="354" y="1308"/>
                  </a:lnTo>
                  <a:lnTo>
                    <a:pt x="348" y="1308"/>
                  </a:lnTo>
                  <a:lnTo>
                    <a:pt x="348" y="1302"/>
                  </a:lnTo>
                  <a:lnTo>
                    <a:pt x="342" y="1296"/>
                  </a:lnTo>
                  <a:lnTo>
                    <a:pt x="336" y="1296"/>
                  </a:lnTo>
                  <a:lnTo>
                    <a:pt x="336" y="1290"/>
                  </a:lnTo>
                  <a:lnTo>
                    <a:pt x="330" y="1290"/>
                  </a:lnTo>
                  <a:lnTo>
                    <a:pt x="324" y="1290"/>
                  </a:lnTo>
                  <a:lnTo>
                    <a:pt x="324" y="1284"/>
                  </a:lnTo>
                  <a:lnTo>
                    <a:pt x="318" y="1284"/>
                  </a:lnTo>
                  <a:lnTo>
                    <a:pt x="318" y="1278"/>
                  </a:lnTo>
                  <a:lnTo>
                    <a:pt x="312" y="1278"/>
                  </a:lnTo>
                  <a:lnTo>
                    <a:pt x="312" y="1272"/>
                  </a:lnTo>
                  <a:lnTo>
                    <a:pt x="312" y="1278"/>
                  </a:lnTo>
                  <a:lnTo>
                    <a:pt x="318" y="1284"/>
                  </a:lnTo>
                  <a:lnTo>
                    <a:pt x="324" y="1290"/>
                  </a:lnTo>
                  <a:lnTo>
                    <a:pt x="330" y="1290"/>
                  </a:lnTo>
                  <a:lnTo>
                    <a:pt x="330" y="1296"/>
                  </a:lnTo>
                  <a:lnTo>
                    <a:pt x="336" y="1296"/>
                  </a:lnTo>
                  <a:lnTo>
                    <a:pt x="336" y="1302"/>
                  </a:lnTo>
                  <a:lnTo>
                    <a:pt x="342" y="1302"/>
                  </a:lnTo>
                  <a:lnTo>
                    <a:pt x="348" y="1302"/>
                  </a:lnTo>
                  <a:lnTo>
                    <a:pt x="348" y="1308"/>
                  </a:lnTo>
                  <a:lnTo>
                    <a:pt x="348" y="1314"/>
                  </a:lnTo>
                  <a:lnTo>
                    <a:pt x="354" y="1314"/>
                  </a:lnTo>
                  <a:lnTo>
                    <a:pt x="354" y="1320"/>
                  </a:lnTo>
                  <a:lnTo>
                    <a:pt x="354" y="1326"/>
                  </a:lnTo>
                  <a:lnTo>
                    <a:pt x="348" y="1326"/>
                  </a:lnTo>
                  <a:lnTo>
                    <a:pt x="348" y="1332"/>
                  </a:lnTo>
                  <a:lnTo>
                    <a:pt x="348" y="1338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2" y="1350"/>
                  </a:lnTo>
                  <a:lnTo>
                    <a:pt x="336" y="1350"/>
                  </a:lnTo>
                  <a:lnTo>
                    <a:pt x="330" y="1350"/>
                  </a:lnTo>
                  <a:lnTo>
                    <a:pt x="330" y="1356"/>
                  </a:lnTo>
                  <a:lnTo>
                    <a:pt x="330" y="1350"/>
                  </a:lnTo>
                  <a:lnTo>
                    <a:pt x="324" y="1350"/>
                  </a:lnTo>
                  <a:lnTo>
                    <a:pt x="318" y="1344"/>
                  </a:lnTo>
                  <a:lnTo>
                    <a:pt x="318" y="1350"/>
                  </a:lnTo>
                  <a:lnTo>
                    <a:pt x="312" y="1344"/>
                  </a:lnTo>
                  <a:lnTo>
                    <a:pt x="312" y="1338"/>
                  </a:lnTo>
                  <a:lnTo>
                    <a:pt x="306" y="1338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6" y="1326"/>
                  </a:lnTo>
                  <a:lnTo>
                    <a:pt x="306" y="1320"/>
                  </a:lnTo>
                  <a:lnTo>
                    <a:pt x="306" y="1326"/>
                  </a:lnTo>
                  <a:lnTo>
                    <a:pt x="312" y="1326"/>
                  </a:lnTo>
                  <a:lnTo>
                    <a:pt x="312" y="1320"/>
                  </a:lnTo>
                  <a:lnTo>
                    <a:pt x="306" y="1320"/>
                  </a:lnTo>
                  <a:lnTo>
                    <a:pt x="300" y="1320"/>
                  </a:lnTo>
                  <a:lnTo>
                    <a:pt x="294" y="1320"/>
                  </a:lnTo>
                  <a:lnTo>
                    <a:pt x="294" y="1314"/>
                  </a:lnTo>
                  <a:lnTo>
                    <a:pt x="288" y="1314"/>
                  </a:lnTo>
                  <a:lnTo>
                    <a:pt x="288" y="1308"/>
                  </a:lnTo>
                  <a:lnTo>
                    <a:pt x="288" y="1302"/>
                  </a:lnTo>
                  <a:lnTo>
                    <a:pt x="294" y="1302"/>
                  </a:lnTo>
                  <a:lnTo>
                    <a:pt x="294" y="1296"/>
                  </a:lnTo>
                  <a:lnTo>
                    <a:pt x="288" y="1296"/>
                  </a:lnTo>
                  <a:lnTo>
                    <a:pt x="288" y="1290"/>
                  </a:lnTo>
                  <a:lnTo>
                    <a:pt x="288" y="1296"/>
                  </a:lnTo>
                  <a:lnTo>
                    <a:pt x="294" y="1302"/>
                  </a:lnTo>
                  <a:lnTo>
                    <a:pt x="288" y="1302"/>
                  </a:lnTo>
                  <a:lnTo>
                    <a:pt x="282" y="1296"/>
                  </a:lnTo>
                  <a:lnTo>
                    <a:pt x="276" y="1296"/>
                  </a:lnTo>
                  <a:lnTo>
                    <a:pt x="276" y="1290"/>
                  </a:lnTo>
                  <a:lnTo>
                    <a:pt x="270" y="1290"/>
                  </a:lnTo>
                  <a:lnTo>
                    <a:pt x="264" y="1284"/>
                  </a:lnTo>
                  <a:lnTo>
                    <a:pt x="264" y="1278"/>
                  </a:lnTo>
                  <a:lnTo>
                    <a:pt x="264" y="1272"/>
                  </a:lnTo>
                  <a:lnTo>
                    <a:pt x="264" y="1266"/>
                  </a:lnTo>
                  <a:lnTo>
                    <a:pt x="258" y="1266"/>
                  </a:lnTo>
                  <a:lnTo>
                    <a:pt x="252" y="1266"/>
                  </a:lnTo>
                  <a:lnTo>
                    <a:pt x="246" y="1260"/>
                  </a:lnTo>
                  <a:lnTo>
                    <a:pt x="240" y="1254"/>
                  </a:lnTo>
                  <a:lnTo>
                    <a:pt x="240" y="1260"/>
                  </a:lnTo>
                  <a:lnTo>
                    <a:pt x="240" y="1266"/>
                  </a:lnTo>
                  <a:lnTo>
                    <a:pt x="240" y="1272"/>
                  </a:lnTo>
                  <a:lnTo>
                    <a:pt x="246" y="1272"/>
                  </a:lnTo>
                  <a:lnTo>
                    <a:pt x="246" y="1278"/>
                  </a:lnTo>
                  <a:lnTo>
                    <a:pt x="246" y="1284"/>
                  </a:lnTo>
                  <a:lnTo>
                    <a:pt x="252" y="1284"/>
                  </a:lnTo>
                  <a:lnTo>
                    <a:pt x="252" y="1290"/>
                  </a:lnTo>
                  <a:lnTo>
                    <a:pt x="258" y="1296"/>
                  </a:lnTo>
                  <a:lnTo>
                    <a:pt x="264" y="1302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58" y="1314"/>
                  </a:lnTo>
                  <a:lnTo>
                    <a:pt x="258" y="1308"/>
                  </a:lnTo>
                  <a:lnTo>
                    <a:pt x="252" y="1308"/>
                  </a:lnTo>
                  <a:lnTo>
                    <a:pt x="252" y="1302"/>
                  </a:lnTo>
                  <a:lnTo>
                    <a:pt x="246" y="1302"/>
                  </a:lnTo>
                  <a:lnTo>
                    <a:pt x="246" y="1296"/>
                  </a:lnTo>
                  <a:lnTo>
                    <a:pt x="240" y="1296"/>
                  </a:lnTo>
                  <a:lnTo>
                    <a:pt x="240" y="1290"/>
                  </a:lnTo>
                  <a:lnTo>
                    <a:pt x="234" y="1284"/>
                  </a:lnTo>
                  <a:lnTo>
                    <a:pt x="234" y="1278"/>
                  </a:lnTo>
                  <a:close/>
                  <a:moveTo>
                    <a:pt x="444" y="1332"/>
                  </a:moveTo>
                  <a:lnTo>
                    <a:pt x="450" y="1326"/>
                  </a:lnTo>
                  <a:lnTo>
                    <a:pt x="456" y="1326"/>
                  </a:lnTo>
                  <a:lnTo>
                    <a:pt x="456" y="1332"/>
                  </a:lnTo>
                  <a:lnTo>
                    <a:pt x="456" y="1338"/>
                  </a:lnTo>
                  <a:lnTo>
                    <a:pt x="450" y="1338"/>
                  </a:lnTo>
                  <a:lnTo>
                    <a:pt x="444" y="1338"/>
                  </a:lnTo>
                  <a:lnTo>
                    <a:pt x="444" y="1332"/>
                  </a:lnTo>
                  <a:close/>
                  <a:moveTo>
                    <a:pt x="444" y="1368"/>
                  </a:moveTo>
                  <a:lnTo>
                    <a:pt x="456" y="1368"/>
                  </a:lnTo>
                  <a:lnTo>
                    <a:pt x="456" y="1374"/>
                  </a:lnTo>
                  <a:lnTo>
                    <a:pt x="444" y="1374"/>
                  </a:lnTo>
                  <a:lnTo>
                    <a:pt x="444" y="1368"/>
                  </a:lnTo>
                  <a:close/>
                  <a:moveTo>
                    <a:pt x="444" y="1386"/>
                  </a:moveTo>
                  <a:lnTo>
                    <a:pt x="444" y="1380"/>
                  </a:lnTo>
                  <a:lnTo>
                    <a:pt x="444" y="1374"/>
                  </a:lnTo>
                  <a:lnTo>
                    <a:pt x="444" y="1380"/>
                  </a:lnTo>
                  <a:lnTo>
                    <a:pt x="450" y="1380"/>
                  </a:lnTo>
                  <a:lnTo>
                    <a:pt x="456" y="1380"/>
                  </a:lnTo>
                  <a:lnTo>
                    <a:pt x="456" y="1386"/>
                  </a:lnTo>
                  <a:lnTo>
                    <a:pt x="456" y="1392"/>
                  </a:lnTo>
                  <a:lnTo>
                    <a:pt x="462" y="1392"/>
                  </a:lnTo>
                  <a:lnTo>
                    <a:pt x="462" y="1398"/>
                  </a:lnTo>
                  <a:lnTo>
                    <a:pt x="462" y="1404"/>
                  </a:lnTo>
                  <a:lnTo>
                    <a:pt x="456" y="1404"/>
                  </a:lnTo>
                  <a:lnTo>
                    <a:pt x="450" y="1404"/>
                  </a:lnTo>
                  <a:lnTo>
                    <a:pt x="450" y="1398"/>
                  </a:lnTo>
                  <a:lnTo>
                    <a:pt x="444" y="1398"/>
                  </a:lnTo>
                  <a:lnTo>
                    <a:pt x="444" y="1392"/>
                  </a:lnTo>
                  <a:lnTo>
                    <a:pt x="444" y="1386"/>
                  </a:lnTo>
                  <a:close/>
                  <a:moveTo>
                    <a:pt x="438" y="1362"/>
                  </a:moveTo>
                  <a:lnTo>
                    <a:pt x="444" y="1356"/>
                  </a:lnTo>
                  <a:lnTo>
                    <a:pt x="450" y="1356"/>
                  </a:lnTo>
                  <a:lnTo>
                    <a:pt x="450" y="1362"/>
                  </a:lnTo>
                  <a:lnTo>
                    <a:pt x="450" y="1368"/>
                  </a:lnTo>
                  <a:lnTo>
                    <a:pt x="444" y="1368"/>
                  </a:lnTo>
                  <a:lnTo>
                    <a:pt x="444" y="1362"/>
                  </a:lnTo>
                  <a:lnTo>
                    <a:pt x="438" y="1362"/>
                  </a:lnTo>
                  <a:close/>
                  <a:moveTo>
                    <a:pt x="438" y="1350"/>
                  </a:moveTo>
                  <a:lnTo>
                    <a:pt x="438" y="1344"/>
                  </a:lnTo>
                  <a:lnTo>
                    <a:pt x="438" y="1338"/>
                  </a:lnTo>
                  <a:lnTo>
                    <a:pt x="444" y="1338"/>
                  </a:lnTo>
                  <a:lnTo>
                    <a:pt x="450" y="1338"/>
                  </a:lnTo>
                  <a:lnTo>
                    <a:pt x="456" y="1338"/>
                  </a:lnTo>
                  <a:lnTo>
                    <a:pt x="450" y="1344"/>
                  </a:lnTo>
                  <a:lnTo>
                    <a:pt x="444" y="1350"/>
                  </a:lnTo>
                  <a:lnTo>
                    <a:pt x="438" y="1350"/>
                  </a:lnTo>
                  <a:close/>
                  <a:moveTo>
                    <a:pt x="432" y="1380"/>
                  </a:moveTo>
                  <a:lnTo>
                    <a:pt x="432" y="1368"/>
                  </a:lnTo>
                  <a:lnTo>
                    <a:pt x="432" y="1362"/>
                  </a:lnTo>
                  <a:lnTo>
                    <a:pt x="432" y="1356"/>
                  </a:lnTo>
                  <a:lnTo>
                    <a:pt x="438" y="1356"/>
                  </a:lnTo>
                  <a:lnTo>
                    <a:pt x="438" y="1362"/>
                  </a:lnTo>
                  <a:lnTo>
                    <a:pt x="438" y="1368"/>
                  </a:lnTo>
                  <a:lnTo>
                    <a:pt x="438" y="1374"/>
                  </a:lnTo>
                  <a:lnTo>
                    <a:pt x="438" y="1380"/>
                  </a:lnTo>
                  <a:lnTo>
                    <a:pt x="438" y="1386"/>
                  </a:lnTo>
                  <a:lnTo>
                    <a:pt x="438" y="1380"/>
                  </a:lnTo>
                  <a:lnTo>
                    <a:pt x="432" y="1380"/>
                  </a:lnTo>
                  <a:close/>
                  <a:moveTo>
                    <a:pt x="246" y="1272"/>
                  </a:moveTo>
                  <a:lnTo>
                    <a:pt x="252" y="1272"/>
                  </a:lnTo>
                  <a:lnTo>
                    <a:pt x="252" y="1278"/>
                  </a:lnTo>
                  <a:lnTo>
                    <a:pt x="246" y="1278"/>
                  </a:lnTo>
                  <a:lnTo>
                    <a:pt x="246" y="1272"/>
                  </a:lnTo>
                  <a:close/>
                  <a:moveTo>
                    <a:pt x="426" y="1416"/>
                  </a:moveTo>
                  <a:lnTo>
                    <a:pt x="432" y="1410"/>
                  </a:lnTo>
                  <a:lnTo>
                    <a:pt x="438" y="1410"/>
                  </a:lnTo>
                  <a:lnTo>
                    <a:pt x="438" y="1416"/>
                  </a:lnTo>
                  <a:lnTo>
                    <a:pt x="438" y="1422"/>
                  </a:lnTo>
                  <a:lnTo>
                    <a:pt x="432" y="1422"/>
                  </a:lnTo>
                  <a:lnTo>
                    <a:pt x="426" y="1422"/>
                  </a:lnTo>
                  <a:lnTo>
                    <a:pt x="426" y="1416"/>
                  </a:lnTo>
                  <a:close/>
                  <a:moveTo>
                    <a:pt x="246" y="1266"/>
                  </a:moveTo>
                  <a:lnTo>
                    <a:pt x="252" y="1266"/>
                  </a:lnTo>
                  <a:lnTo>
                    <a:pt x="258" y="1272"/>
                  </a:lnTo>
                  <a:lnTo>
                    <a:pt x="258" y="1278"/>
                  </a:lnTo>
                  <a:lnTo>
                    <a:pt x="258" y="1284"/>
                  </a:lnTo>
                  <a:lnTo>
                    <a:pt x="252" y="1284"/>
                  </a:lnTo>
                  <a:lnTo>
                    <a:pt x="252" y="1278"/>
                  </a:lnTo>
                  <a:lnTo>
                    <a:pt x="252" y="1272"/>
                  </a:lnTo>
                  <a:lnTo>
                    <a:pt x="252" y="1266"/>
                  </a:lnTo>
                  <a:lnTo>
                    <a:pt x="246" y="1266"/>
                  </a:lnTo>
                  <a:close/>
                  <a:moveTo>
                    <a:pt x="408" y="1458"/>
                  </a:moveTo>
                  <a:lnTo>
                    <a:pt x="408" y="1452"/>
                  </a:lnTo>
                  <a:lnTo>
                    <a:pt x="414" y="1452"/>
                  </a:lnTo>
                  <a:lnTo>
                    <a:pt x="414" y="1446"/>
                  </a:lnTo>
                  <a:lnTo>
                    <a:pt x="414" y="1440"/>
                  </a:lnTo>
                  <a:lnTo>
                    <a:pt x="420" y="1440"/>
                  </a:lnTo>
                  <a:lnTo>
                    <a:pt x="420" y="1434"/>
                  </a:lnTo>
                  <a:lnTo>
                    <a:pt x="420" y="1428"/>
                  </a:lnTo>
                  <a:lnTo>
                    <a:pt x="420" y="1422"/>
                  </a:lnTo>
                  <a:lnTo>
                    <a:pt x="426" y="1422"/>
                  </a:lnTo>
                  <a:lnTo>
                    <a:pt x="432" y="1428"/>
                  </a:lnTo>
                  <a:lnTo>
                    <a:pt x="438" y="1428"/>
                  </a:lnTo>
                  <a:lnTo>
                    <a:pt x="438" y="1434"/>
                  </a:lnTo>
                  <a:lnTo>
                    <a:pt x="438" y="1428"/>
                  </a:lnTo>
                  <a:lnTo>
                    <a:pt x="438" y="1422"/>
                  </a:lnTo>
                  <a:lnTo>
                    <a:pt x="444" y="1416"/>
                  </a:lnTo>
                  <a:lnTo>
                    <a:pt x="444" y="1410"/>
                  </a:lnTo>
                  <a:lnTo>
                    <a:pt x="450" y="1416"/>
                  </a:lnTo>
                  <a:lnTo>
                    <a:pt x="456" y="1416"/>
                  </a:lnTo>
                  <a:lnTo>
                    <a:pt x="456" y="1422"/>
                  </a:lnTo>
                  <a:lnTo>
                    <a:pt x="456" y="1428"/>
                  </a:lnTo>
                  <a:lnTo>
                    <a:pt x="456" y="1434"/>
                  </a:lnTo>
                  <a:lnTo>
                    <a:pt x="456" y="1440"/>
                  </a:lnTo>
                  <a:lnTo>
                    <a:pt x="462" y="1440"/>
                  </a:lnTo>
                  <a:lnTo>
                    <a:pt x="462" y="1446"/>
                  </a:lnTo>
                  <a:lnTo>
                    <a:pt x="462" y="1452"/>
                  </a:lnTo>
                  <a:lnTo>
                    <a:pt x="456" y="1452"/>
                  </a:lnTo>
                  <a:lnTo>
                    <a:pt x="450" y="1452"/>
                  </a:lnTo>
                  <a:lnTo>
                    <a:pt x="444" y="1446"/>
                  </a:lnTo>
                  <a:lnTo>
                    <a:pt x="444" y="1452"/>
                  </a:lnTo>
                  <a:lnTo>
                    <a:pt x="450" y="1452"/>
                  </a:lnTo>
                  <a:lnTo>
                    <a:pt x="450" y="1458"/>
                  </a:lnTo>
                  <a:lnTo>
                    <a:pt x="444" y="1458"/>
                  </a:lnTo>
                  <a:lnTo>
                    <a:pt x="438" y="1464"/>
                  </a:lnTo>
                  <a:lnTo>
                    <a:pt x="438" y="1458"/>
                  </a:lnTo>
                  <a:lnTo>
                    <a:pt x="432" y="1458"/>
                  </a:lnTo>
                  <a:lnTo>
                    <a:pt x="426" y="1458"/>
                  </a:lnTo>
                  <a:lnTo>
                    <a:pt x="432" y="1458"/>
                  </a:lnTo>
                  <a:lnTo>
                    <a:pt x="438" y="1464"/>
                  </a:lnTo>
                  <a:lnTo>
                    <a:pt x="432" y="1464"/>
                  </a:lnTo>
                  <a:lnTo>
                    <a:pt x="432" y="1470"/>
                  </a:lnTo>
                  <a:lnTo>
                    <a:pt x="426" y="1470"/>
                  </a:lnTo>
                  <a:lnTo>
                    <a:pt x="420" y="1476"/>
                  </a:lnTo>
                  <a:lnTo>
                    <a:pt x="420" y="1470"/>
                  </a:lnTo>
                  <a:lnTo>
                    <a:pt x="414" y="1470"/>
                  </a:lnTo>
                  <a:lnTo>
                    <a:pt x="414" y="1464"/>
                  </a:lnTo>
                  <a:lnTo>
                    <a:pt x="414" y="1458"/>
                  </a:lnTo>
                  <a:lnTo>
                    <a:pt x="408" y="1458"/>
                  </a:lnTo>
                  <a:close/>
                  <a:moveTo>
                    <a:pt x="270" y="1326"/>
                  </a:moveTo>
                  <a:lnTo>
                    <a:pt x="270" y="1320"/>
                  </a:lnTo>
                  <a:lnTo>
                    <a:pt x="276" y="1320"/>
                  </a:lnTo>
                  <a:lnTo>
                    <a:pt x="282" y="1326"/>
                  </a:lnTo>
                  <a:lnTo>
                    <a:pt x="288" y="1326"/>
                  </a:lnTo>
                  <a:lnTo>
                    <a:pt x="288" y="1332"/>
                  </a:lnTo>
                  <a:lnTo>
                    <a:pt x="288" y="1338"/>
                  </a:lnTo>
                  <a:lnTo>
                    <a:pt x="288" y="1344"/>
                  </a:lnTo>
                  <a:lnTo>
                    <a:pt x="282" y="1344"/>
                  </a:lnTo>
                  <a:lnTo>
                    <a:pt x="282" y="1338"/>
                  </a:lnTo>
                  <a:lnTo>
                    <a:pt x="276" y="1338"/>
                  </a:lnTo>
                  <a:lnTo>
                    <a:pt x="276" y="1332"/>
                  </a:lnTo>
                  <a:lnTo>
                    <a:pt x="270" y="1332"/>
                  </a:lnTo>
                  <a:lnTo>
                    <a:pt x="270" y="1326"/>
                  </a:lnTo>
                  <a:close/>
                  <a:moveTo>
                    <a:pt x="288" y="1458"/>
                  </a:moveTo>
                  <a:lnTo>
                    <a:pt x="294" y="1458"/>
                  </a:lnTo>
                  <a:lnTo>
                    <a:pt x="294" y="1452"/>
                  </a:lnTo>
                  <a:lnTo>
                    <a:pt x="294" y="1446"/>
                  </a:lnTo>
                  <a:lnTo>
                    <a:pt x="300" y="1446"/>
                  </a:lnTo>
                  <a:lnTo>
                    <a:pt x="300" y="1440"/>
                  </a:lnTo>
                  <a:lnTo>
                    <a:pt x="306" y="1440"/>
                  </a:lnTo>
                  <a:lnTo>
                    <a:pt x="306" y="1446"/>
                  </a:lnTo>
                  <a:lnTo>
                    <a:pt x="312" y="1452"/>
                  </a:lnTo>
                  <a:lnTo>
                    <a:pt x="306" y="1452"/>
                  </a:lnTo>
                  <a:lnTo>
                    <a:pt x="306" y="1458"/>
                  </a:lnTo>
                  <a:lnTo>
                    <a:pt x="312" y="1464"/>
                  </a:lnTo>
                  <a:lnTo>
                    <a:pt x="306" y="1464"/>
                  </a:lnTo>
                  <a:lnTo>
                    <a:pt x="306" y="1470"/>
                  </a:lnTo>
                  <a:lnTo>
                    <a:pt x="300" y="1476"/>
                  </a:lnTo>
                  <a:lnTo>
                    <a:pt x="294" y="1476"/>
                  </a:lnTo>
                  <a:lnTo>
                    <a:pt x="294" y="1470"/>
                  </a:lnTo>
                  <a:lnTo>
                    <a:pt x="288" y="1470"/>
                  </a:lnTo>
                  <a:lnTo>
                    <a:pt x="288" y="1464"/>
                  </a:lnTo>
                  <a:lnTo>
                    <a:pt x="288" y="1458"/>
                  </a:lnTo>
                  <a:close/>
                  <a:moveTo>
                    <a:pt x="270" y="1296"/>
                  </a:moveTo>
                  <a:lnTo>
                    <a:pt x="276" y="1296"/>
                  </a:lnTo>
                  <a:lnTo>
                    <a:pt x="282" y="1296"/>
                  </a:lnTo>
                  <a:lnTo>
                    <a:pt x="288" y="1296"/>
                  </a:lnTo>
                  <a:lnTo>
                    <a:pt x="288" y="1302"/>
                  </a:lnTo>
                  <a:lnTo>
                    <a:pt x="282" y="1308"/>
                  </a:lnTo>
                  <a:lnTo>
                    <a:pt x="276" y="1308"/>
                  </a:lnTo>
                  <a:lnTo>
                    <a:pt x="276" y="1302"/>
                  </a:lnTo>
                  <a:lnTo>
                    <a:pt x="270" y="129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4" name="Freeform 19">
              <a:extLst>
                <a:ext uri="{FF2B5EF4-FFF2-40B4-BE49-F238E27FC236}">
                  <a16:creationId xmlns:a16="http://schemas.microsoft.com/office/drawing/2014/main" id="{5B9020B8-E1C1-4611-A248-9642BBD69C9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7043" y="3765821"/>
              <a:ext cx="333193" cy="398097"/>
            </a:xfrm>
            <a:custGeom>
              <a:avLst/>
              <a:gdLst>
                <a:gd name="T0" fmla="*/ 30 w 624"/>
                <a:gd name="T1" fmla="*/ 61 h 750"/>
                <a:gd name="T2" fmla="*/ 27 w 624"/>
                <a:gd name="T3" fmla="*/ 62 h 750"/>
                <a:gd name="T4" fmla="*/ 23 w 624"/>
                <a:gd name="T5" fmla="*/ 59 h 750"/>
                <a:gd name="T6" fmla="*/ 20 w 624"/>
                <a:gd name="T7" fmla="*/ 58 h 750"/>
                <a:gd name="T8" fmla="*/ 19 w 624"/>
                <a:gd name="T9" fmla="*/ 56 h 750"/>
                <a:gd name="T10" fmla="*/ 17 w 624"/>
                <a:gd name="T11" fmla="*/ 55 h 750"/>
                <a:gd name="T12" fmla="*/ 16 w 624"/>
                <a:gd name="T13" fmla="*/ 51 h 750"/>
                <a:gd name="T14" fmla="*/ 14 w 624"/>
                <a:gd name="T15" fmla="*/ 48 h 750"/>
                <a:gd name="T16" fmla="*/ 12 w 624"/>
                <a:gd name="T17" fmla="*/ 46 h 750"/>
                <a:gd name="T18" fmla="*/ 12 w 624"/>
                <a:gd name="T19" fmla="*/ 44 h 750"/>
                <a:gd name="T20" fmla="*/ 11 w 624"/>
                <a:gd name="T21" fmla="*/ 41 h 750"/>
                <a:gd name="T22" fmla="*/ 8 w 624"/>
                <a:gd name="T23" fmla="*/ 38 h 750"/>
                <a:gd name="T24" fmla="*/ 6 w 624"/>
                <a:gd name="T25" fmla="*/ 38 h 750"/>
                <a:gd name="T26" fmla="*/ 6 w 624"/>
                <a:gd name="T27" fmla="*/ 35 h 750"/>
                <a:gd name="T28" fmla="*/ 7 w 624"/>
                <a:gd name="T29" fmla="*/ 31 h 750"/>
                <a:gd name="T30" fmla="*/ 10 w 624"/>
                <a:gd name="T31" fmla="*/ 27 h 750"/>
                <a:gd name="T32" fmla="*/ 8 w 624"/>
                <a:gd name="T33" fmla="*/ 23 h 750"/>
                <a:gd name="T34" fmla="*/ 6 w 624"/>
                <a:gd name="T35" fmla="*/ 23 h 750"/>
                <a:gd name="T36" fmla="*/ 3 w 624"/>
                <a:gd name="T37" fmla="*/ 22 h 750"/>
                <a:gd name="T38" fmla="*/ 0 w 624"/>
                <a:gd name="T39" fmla="*/ 22 h 750"/>
                <a:gd name="T40" fmla="*/ 0 w 624"/>
                <a:gd name="T41" fmla="*/ 19 h 750"/>
                <a:gd name="T42" fmla="*/ 1 w 624"/>
                <a:gd name="T43" fmla="*/ 18 h 750"/>
                <a:gd name="T44" fmla="*/ 2 w 624"/>
                <a:gd name="T45" fmla="*/ 14 h 750"/>
                <a:gd name="T46" fmla="*/ 4 w 624"/>
                <a:gd name="T47" fmla="*/ 17 h 750"/>
                <a:gd name="T48" fmla="*/ 6 w 624"/>
                <a:gd name="T49" fmla="*/ 17 h 750"/>
                <a:gd name="T50" fmla="*/ 7 w 624"/>
                <a:gd name="T51" fmla="*/ 17 h 750"/>
                <a:gd name="T52" fmla="*/ 9 w 624"/>
                <a:gd name="T53" fmla="*/ 15 h 750"/>
                <a:gd name="T54" fmla="*/ 10 w 624"/>
                <a:gd name="T55" fmla="*/ 14 h 750"/>
                <a:gd name="T56" fmla="*/ 11 w 624"/>
                <a:gd name="T57" fmla="*/ 12 h 750"/>
                <a:gd name="T58" fmla="*/ 13 w 624"/>
                <a:gd name="T59" fmla="*/ 12 h 750"/>
                <a:gd name="T60" fmla="*/ 18 w 624"/>
                <a:gd name="T61" fmla="*/ 10 h 750"/>
                <a:gd name="T62" fmla="*/ 22 w 624"/>
                <a:gd name="T63" fmla="*/ 4 h 750"/>
                <a:gd name="T64" fmla="*/ 24 w 624"/>
                <a:gd name="T65" fmla="*/ 4 h 750"/>
                <a:gd name="T66" fmla="*/ 26 w 624"/>
                <a:gd name="T67" fmla="*/ 2 h 750"/>
                <a:gd name="T68" fmla="*/ 29 w 624"/>
                <a:gd name="T69" fmla="*/ 0 h 750"/>
                <a:gd name="T70" fmla="*/ 32 w 624"/>
                <a:gd name="T71" fmla="*/ 2 h 750"/>
                <a:gd name="T72" fmla="*/ 34 w 624"/>
                <a:gd name="T73" fmla="*/ 5 h 750"/>
                <a:gd name="T74" fmla="*/ 35 w 624"/>
                <a:gd name="T75" fmla="*/ 8 h 750"/>
                <a:gd name="T76" fmla="*/ 39 w 624"/>
                <a:gd name="T77" fmla="*/ 11 h 750"/>
                <a:gd name="T78" fmla="*/ 42 w 624"/>
                <a:gd name="T79" fmla="*/ 14 h 750"/>
                <a:gd name="T80" fmla="*/ 46 w 624"/>
                <a:gd name="T81" fmla="*/ 12 h 750"/>
                <a:gd name="T82" fmla="*/ 49 w 624"/>
                <a:gd name="T83" fmla="*/ 12 h 750"/>
                <a:gd name="T84" fmla="*/ 51 w 624"/>
                <a:gd name="T85" fmla="*/ 12 h 750"/>
                <a:gd name="T86" fmla="*/ 53 w 624"/>
                <a:gd name="T87" fmla="*/ 12 h 750"/>
                <a:gd name="T88" fmla="*/ 53 w 624"/>
                <a:gd name="T89" fmla="*/ 17 h 750"/>
                <a:gd name="T90" fmla="*/ 51 w 624"/>
                <a:gd name="T91" fmla="*/ 20 h 750"/>
                <a:gd name="T92" fmla="*/ 49 w 624"/>
                <a:gd name="T93" fmla="*/ 26 h 750"/>
                <a:gd name="T94" fmla="*/ 47 w 624"/>
                <a:gd name="T95" fmla="*/ 26 h 750"/>
                <a:gd name="T96" fmla="*/ 44 w 624"/>
                <a:gd name="T97" fmla="*/ 26 h 750"/>
                <a:gd name="T98" fmla="*/ 43 w 624"/>
                <a:gd name="T99" fmla="*/ 27 h 750"/>
                <a:gd name="T100" fmla="*/ 45 w 624"/>
                <a:gd name="T101" fmla="*/ 32 h 750"/>
                <a:gd name="T102" fmla="*/ 44 w 624"/>
                <a:gd name="T103" fmla="*/ 43 h 750"/>
                <a:gd name="T104" fmla="*/ 44 w 624"/>
                <a:gd name="T105" fmla="*/ 47 h 750"/>
                <a:gd name="T106" fmla="*/ 44 w 624"/>
                <a:gd name="T107" fmla="*/ 54 h 750"/>
                <a:gd name="T108" fmla="*/ 41 w 624"/>
                <a:gd name="T109" fmla="*/ 60 h 750"/>
                <a:gd name="T110" fmla="*/ 42 w 624"/>
                <a:gd name="T111" fmla="*/ 62 h 750"/>
                <a:gd name="T112" fmla="*/ 43 w 624"/>
                <a:gd name="T113" fmla="*/ 65 h 750"/>
                <a:gd name="T114" fmla="*/ 39 w 624"/>
                <a:gd name="T115" fmla="*/ 63 h 750"/>
                <a:gd name="T116" fmla="*/ 35 w 624"/>
                <a:gd name="T117" fmla="*/ 62 h 75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24"/>
                <a:gd name="T178" fmla="*/ 0 h 750"/>
                <a:gd name="T179" fmla="*/ 624 w 624"/>
                <a:gd name="T180" fmla="*/ 750 h 75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24" h="750">
                  <a:moveTo>
                    <a:pt x="390" y="702"/>
                  </a:moveTo>
                  <a:lnTo>
                    <a:pt x="372" y="696"/>
                  </a:lnTo>
                  <a:lnTo>
                    <a:pt x="360" y="702"/>
                  </a:lnTo>
                  <a:lnTo>
                    <a:pt x="348" y="702"/>
                  </a:lnTo>
                  <a:lnTo>
                    <a:pt x="336" y="702"/>
                  </a:lnTo>
                  <a:lnTo>
                    <a:pt x="330" y="702"/>
                  </a:lnTo>
                  <a:lnTo>
                    <a:pt x="318" y="708"/>
                  </a:lnTo>
                  <a:lnTo>
                    <a:pt x="306" y="708"/>
                  </a:lnTo>
                  <a:lnTo>
                    <a:pt x="294" y="690"/>
                  </a:lnTo>
                  <a:lnTo>
                    <a:pt x="294" y="684"/>
                  </a:lnTo>
                  <a:lnTo>
                    <a:pt x="276" y="684"/>
                  </a:lnTo>
                  <a:lnTo>
                    <a:pt x="270" y="678"/>
                  </a:lnTo>
                  <a:lnTo>
                    <a:pt x="240" y="672"/>
                  </a:lnTo>
                  <a:lnTo>
                    <a:pt x="234" y="672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6"/>
                  </a:lnTo>
                  <a:lnTo>
                    <a:pt x="216" y="660"/>
                  </a:lnTo>
                  <a:lnTo>
                    <a:pt x="216" y="654"/>
                  </a:lnTo>
                  <a:lnTo>
                    <a:pt x="216" y="642"/>
                  </a:lnTo>
                  <a:lnTo>
                    <a:pt x="210" y="642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36"/>
                  </a:lnTo>
                  <a:lnTo>
                    <a:pt x="192" y="624"/>
                  </a:lnTo>
                  <a:lnTo>
                    <a:pt x="186" y="612"/>
                  </a:lnTo>
                  <a:lnTo>
                    <a:pt x="186" y="600"/>
                  </a:lnTo>
                  <a:lnTo>
                    <a:pt x="186" y="588"/>
                  </a:lnTo>
                  <a:lnTo>
                    <a:pt x="180" y="582"/>
                  </a:lnTo>
                  <a:lnTo>
                    <a:pt x="180" y="570"/>
                  </a:lnTo>
                  <a:lnTo>
                    <a:pt x="174" y="558"/>
                  </a:lnTo>
                  <a:lnTo>
                    <a:pt x="162" y="558"/>
                  </a:lnTo>
                  <a:lnTo>
                    <a:pt x="144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38" y="534"/>
                  </a:lnTo>
                  <a:lnTo>
                    <a:pt x="138" y="528"/>
                  </a:lnTo>
                  <a:lnTo>
                    <a:pt x="132" y="522"/>
                  </a:lnTo>
                  <a:lnTo>
                    <a:pt x="144" y="522"/>
                  </a:lnTo>
                  <a:lnTo>
                    <a:pt x="144" y="510"/>
                  </a:lnTo>
                  <a:lnTo>
                    <a:pt x="144" y="504"/>
                  </a:lnTo>
                  <a:lnTo>
                    <a:pt x="138" y="492"/>
                  </a:lnTo>
                  <a:lnTo>
                    <a:pt x="138" y="474"/>
                  </a:lnTo>
                  <a:lnTo>
                    <a:pt x="126" y="468"/>
                  </a:lnTo>
                  <a:lnTo>
                    <a:pt x="120" y="456"/>
                  </a:lnTo>
                  <a:lnTo>
                    <a:pt x="114" y="450"/>
                  </a:lnTo>
                  <a:lnTo>
                    <a:pt x="108" y="438"/>
                  </a:lnTo>
                  <a:lnTo>
                    <a:pt x="96" y="432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60" y="426"/>
                  </a:lnTo>
                  <a:lnTo>
                    <a:pt x="66" y="420"/>
                  </a:lnTo>
                  <a:lnTo>
                    <a:pt x="66" y="408"/>
                  </a:lnTo>
                  <a:lnTo>
                    <a:pt x="72" y="408"/>
                  </a:lnTo>
                  <a:lnTo>
                    <a:pt x="72" y="384"/>
                  </a:lnTo>
                  <a:lnTo>
                    <a:pt x="72" y="366"/>
                  </a:lnTo>
                  <a:lnTo>
                    <a:pt x="78" y="354"/>
                  </a:lnTo>
                  <a:lnTo>
                    <a:pt x="84" y="354"/>
                  </a:lnTo>
                  <a:lnTo>
                    <a:pt x="90" y="348"/>
                  </a:lnTo>
                  <a:lnTo>
                    <a:pt x="102" y="336"/>
                  </a:lnTo>
                  <a:lnTo>
                    <a:pt x="114" y="324"/>
                  </a:lnTo>
                  <a:lnTo>
                    <a:pt x="120" y="312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20" y="276"/>
                  </a:lnTo>
                  <a:lnTo>
                    <a:pt x="96" y="270"/>
                  </a:lnTo>
                  <a:lnTo>
                    <a:pt x="84" y="270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72" y="264"/>
                  </a:lnTo>
                  <a:lnTo>
                    <a:pt x="60" y="252"/>
                  </a:lnTo>
                  <a:lnTo>
                    <a:pt x="42" y="252"/>
                  </a:lnTo>
                  <a:lnTo>
                    <a:pt x="42" y="258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18" y="252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42" y="156"/>
                  </a:lnTo>
                  <a:lnTo>
                    <a:pt x="48" y="198"/>
                  </a:lnTo>
                  <a:lnTo>
                    <a:pt x="48" y="204"/>
                  </a:lnTo>
                  <a:lnTo>
                    <a:pt x="54" y="198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204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192"/>
                  </a:lnTo>
                  <a:lnTo>
                    <a:pt x="96" y="186"/>
                  </a:lnTo>
                  <a:lnTo>
                    <a:pt x="102" y="180"/>
                  </a:lnTo>
                  <a:lnTo>
                    <a:pt x="102" y="174"/>
                  </a:lnTo>
                  <a:lnTo>
                    <a:pt x="108" y="168"/>
                  </a:lnTo>
                  <a:lnTo>
                    <a:pt x="108" y="162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0"/>
                  </a:lnTo>
                  <a:lnTo>
                    <a:pt x="132" y="144"/>
                  </a:lnTo>
                  <a:lnTo>
                    <a:pt x="138" y="138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0" y="132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74" y="126"/>
                  </a:lnTo>
                  <a:lnTo>
                    <a:pt x="204" y="120"/>
                  </a:lnTo>
                  <a:lnTo>
                    <a:pt x="210" y="78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54"/>
                  </a:lnTo>
                  <a:lnTo>
                    <a:pt x="276" y="54"/>
                  </a:lnTo>
                  <a:lnTo>
                    <a:pt x="276" y="48"/>
                  </a:lnTo>
                  <a:lnTo>
                    <a:pt x="282" y="48"/>
                  </a:lnTo>
                  <a:lnTo>
                    <a:pt x="288" y="42"/>
                  </a:lnTo>
                  <a:lnTo>
                    <a:pt x="294" y="42"/>
                  </a:lnTo>
                  <a:lnTo>
                    <a:pt x="294" y="18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0"/>
                  </a:lnTo>
                  <a:lnTo>
                    <a:pt x="336" y="0"/>
                  </a:lnTo>
                  <a:lnTo>
                    <a:pt x="342" y="0"/>
                  </a:lnTo>
                  <a:lnTo>
                    <a:pt x="354" y="6"/>
                  </a:lnTo>
                  <a:lnTo>
                    <a:pt x="366" y="18"/>
                  </a:lnTo>
                  <a:lnTo>
                    <a:pt x="378" y="36"/>
                  </a:lnTo>
                  <a:lnTo>
                    <a:pt x="390" y="42"/>
                  </a:lnTo>
                  <a:lnTo>
                    <a:pt x="390" y="48"/>
                  </a:lnTo>
                  <a:lnTo>
                    <a:pt x="396" y="60"/>
                  </a:lnTo>
                  <a:lnTo>
                    <a:pt x="402" y="72"/>
                  </a:lnTo>
                  <a:lnTo>
                    <a:pt x="408" y="78"/>
                  </a:lnTo>
                  <a:lnTo>
                    <a:pt x="402" y="84"/>
                  </a:lnTo>
                  <a:lnTo>
                    <a:pt x="408" y="90"/>
                  </a:lnTo>
                  <a:lnTo>
                    <a:pt x="414" y="102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50" y="126"/>
                  </a:lnTo>
                  <a:lnTo>
                    <a:pt x="456" y="126"/>
                  </a:lnTo>
                  <a:lnTo>
                    <a:pt x="462" y="144"/>
                  </a:lnTo>
                  <a:lnTo>
                    <a:pt x="480" y="156"/>
                  </a:lnTo>
                  <a:lnTo>
                    <a:pt x="492" y="156"/>
                  </a:lnTo>
                  <a:lnTo>
                    <a:pt x="516" y="150"/>
                  </a:lnTo>
                  <a:lnTo>
                    <a:pt x="516" y="144"/>
                  </a:lnTo>
                  <a:lnTo>
                    <a:pt x="516" y="138"/>
                  </a:lnTo>
                  <a:lnTo>
                    <a:pt x="528" y="138"/>
                  </a:lnTo>
                  <a:lnTo>
                    <a:pt x="546" y="144"/>
                  </a:lnTo>
                  <a:lnTo>
                    <a:pt x="546" y="138"/>
                  </a:lnTo>
                  <a:lnTo>
                    <a:pt x="552" y="138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76" y="138"/>
                  </a:lnTo>
                  <a:lnTo>
                    <a:pt x="582" y="138"/>
                  </a:lnTo>
                  <a:lnTo>
                    <a:pt x="588" y="138"/>
                  </a:lnTo>
                  <a:lnTo>
                    <a:pt x="594" y="138"/>
                  </a:lnTo>
                  <a:lnTo>
                    <a:pt x="594" y="144"/>
                  </a:lnTo>
                  <a:lnTo>
                    <a:pt x="600" y="138"/>
                  </a:lnTo>
                  <a:lnTo>
                    <a:pt x="606" y="138"/>
                  </a:lnTo>
                  <a:lnTo>
                    <a:pt x="606" y="144"/>
                  </a:lnTo>
                  <a:lnTo>
                    <a:pt x="612" y="144"/>
                  </a:lnTo>
                  <a:lnTo>
                    <a:pt x="618" y="156"/>
                  </a:lnTo>
                  <a:lnTo>
                    <a:pt x="612" y="198"/>
                  </a:lnTo>
                  <a:lnTo>
                    <a:pt x="624" y="198"/>
                  </a:lnTo>
                  <a:lnTo>
                    <a:pt x="624" y="204"/>
                  </a:lnTo>
                  <a:lnTo>
                    <a:pt x="612" y="216"/>
                  </a:lnTo>
                  <a:lnTo>
                    <a:pt x="594" y="234"/>
                  </a:lnTo>
                  <a:lnTo>
                    <a:pt x="588" y="252"/>
                  </a:lnTo>
                  <a:lnTo>
                    <a:pt x="576" y="270"/>
                  </a:lnTo>
                  <a:lnTo>
                    <a:pt x="564" y="282"/>
                  </a:lnTo>
                  <a:lnTo>
                    <a:pt x="564" y="294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8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34" y="294"/>
                  </a:lnTo>
                  <a:lnTo>
                    <a:pt x="522" y="300"/>
                  </a:lnTo>
                  <a:lnTo>
                    <a:pt x="510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498" y="324"/>
                  </a:lnTo>
                  <a:lnTo>
                    <a:pt x="504" y="336"/>
                  </a:lnTo>
                  <a:lnTo>
                    <a:pt x="510" y="348"/>
                  </a:lnTo>
                  <a:lnTo>
                    <a:pt x="516" y="366"/>
                  </a:lnTo>
                  <a:lnTo>
                    <a:pt x="522" y="432"/>
                  </a:lnTo>
                  <a:lnTo>
                    <a:pt x="522" y="456"/>
                  </a:lnTo>
                  <a:lnTo>
                    <a:pt x="504" y="492"/>
                  </a:lnTo>
                  <a:lnTo>
                    <a:pt x="504" y="498"/>
                  </a:lnTo>
                  <a:lnTo>
                    <a:pt x="498" y="504"/>
                  </a:lnTo>
                  <a:lnTo>
                    <a:pt x="498" y="522"/>
                  </a:lnTo>
                  <a:lnTo>
                    <a:pt x="504" y="534"/>
                  </a:lnTo>
                  <a:lnTo>
                    <a:pt x="510" y="546"/>
                  </a:lnTo>
                  <a:lnTo>
                    <a:pt x="516" y="558"/>
                  </a:lnTo>
                  <a:lnTo>
                    <a:pt x="516" y="588"/>
                  </a:lnTo>
                  <a:lnTo>
                    <a:pt x="516" y="600"/>
                  </a:lnTo>
                  <a:lnTo>
                    <a:pt x="510" y="618"/>
                  </a:lnTo>
                  <a:lnTo>
                    <a:pt x="504" y="636"/>
                  </a:lnTo>
                  <a:lnTo>
                    <a:pt x="504" y="642"/>
                  </a:lnTo>
                  <a:lnTo>
                    <a:pt x="474" y="654"/>
                  </a:lnTo>
                  <a:lnTo>
                    <a:pt x="474" y="690"/>
                  </a:lnTo>
                  <a:lnTo>
                    <a:pt x="474" y="696"/>
                  </a:lnTo>
                  <a:lnTo>
                    <a:pt x="480" y="702"/>
                  </a:lnTo>
                  <a:lnTo>
                    <a:pt x="486" y="708"/>
                  </a:lnTo>
                  <a:lnTo>
                    <a:pt x="492" y="708"/>
                  </a:lnTo>
                  <a:lnTo>
                    <a:pt x="498" y="726"/>
                  </a:lnTo>
                  <a:lnTo>
                    <a:pt x="504" y="726"/>
                  </a:lnTo>
                  <a:lnTo>
                    <a:pt x="504" y="738"/>
                  </a:lnTo>
                  <a:lnTo>
                    <a:pt x="498" y="744"/>
                  </a:lnTo>
                  <a:lnTo>
                    <a:pt x="486" y="750"/>
                  </a:lnTo>
                  <a:lnTo>
                    <a:pt x="474" y="744"/>
                  </a:lnTo>
                  <a:lnTo>
                    <a:pt x="462" y="744"/>
                  </a:lnTo>
                  <a:lnTo>
                    <a:pt x="456" y="732"/>
                  </a:lnTo>
                  <a:lnTo>
                    <a:pt x="444" y="732"/>
                  </a:lnTo>
                  <a:lnTo>
                    <a:pt x="432" y="726"/>
                  </a:lnTo>
                  <a:lnTo>
                    <a:pt x="420" y="720"/>
                  </a:lnTo>
                  <a:lnTo>
                    <a:pt x="408" y="708"/>
                  </a:lnTo>
                  <a:lnTo>
                    <a:pt x="402" y="708"/>
                  </a:lnTo>
                  <a:lnTo>
                    <a:pt x="390" y="70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5" name="Freeform 20">
              <a:extLst>
                <a:ext uri="{FF2B5EF4-FFF2-40B4-BE49-F238E27FC236}">
                  <a16:creationId xmlns:a16="http://schemas.microsoft.com/office/drawing/2014/main" id="{B8342C3B-ECEC-465F-AAFF-4815B8AC392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870937"/>
              <a:ext cx="313067" cy="377968"/>
            </a:xfrm>
            <a:custGeom>
              <a:avLst/>
              <a:gdLst>
                <a:gd name="T0" fmla="*/ 15 w 588"/>
                <a:gd name="T1" fmla="*/ 59 h 714"/>
                <a:gd name="T2" fmla="*/ 14 w 588"/>
                <a:gd name="T3" fmla="*/ 58 h 714"/>
                <a:gd name="T4" fmla="*/ 9 w 588"/>
                <a:gd name="T5" fmla="*/ 54 h 714"/>
                <a:gd name="T6" fmla="*/ 4 w 588"/>
                <a:gd name="T7" fmla="*/ 54 h 714"/>
                <a:gd name="T8" fmla="*/ 0 w 588"/>
                <a:gd name="T9" fmla="*/ 50 h 714"/>
                <a:gd name="T10" fmla="*/ 0 w 588"/>
                <a:gd name="T11" fmla="*/ 44 h 714"/>
                <a:gd name="T12" fmla="*/ 4 w 588"/>
                <a:gd name="T13" fmla="*/ 46 h 714"/>
                <a:gd name="T14" fmla="*/ 7 w 588"/>
                <a:gd name="T15" fmla="*/ 47 h 714"/>
                <a:gd name="T16" fmla="*/ 10 w 588"/>
                <a:gd name="T17" fmla="*/ 46 h 714"/>
                <a:gd name="T18" fmla="*/ 8 w 588"/>
                <a:gd name="T19" fmla="*/ 44 h 714"/>
                <a:gd name="T20" fmla="*/ 10 w 588"/>
                <a:gd name="T21" fmla="*/ 39 h 714"/>
                <a:gd name="T22" fmla="*/ 11 w 588"/>
                <a:gd name="T23" fmla="*/ 34 h 714"/>
                <a:gd name="T24" fmla="*/ 9 w 588"/>
                <a:gd name="T25" fmla="*/ 28 h 714"/>
                <a:gd name="T26" fmla="*/ 11 w 588"/>
                <a:gd name="T27" fmla="*/ 22 h 714"/>
                <a:gd name="T28" fmla="*/ 10 w 588"/>
                <a:gd name="T29" fmla="*/ 12 h 714"/>
                <a:gd name="T30" fmla="*/ 9 w 588"/>
                <a:gd name="T31" fmla="*/ 9 h 714"/>
                <a:gd name="T32" fmla="*/ 12 w 588"/>
                <a:gd name="T33" fmla="*/ 8 h 714"/>
                <a:gd name="T34" fmla="*/ 14 w 588"/>
                <a:gd name="T35" fmla="*/ 7 h 714"/>
                <a:gd name="T36" fmla="*/ 17 w 588"/>
                <a:gd name="T37" fmla="*/ 10 h 714"/>
                <a:gd name="T38" fmla="*/ 23 w 588"/>
                <a:gd name="T39" fmla="*/ 14 h 714"/>
                <a:gd name="T40" fmla="*/ 28 w 588"/>
                <a:gd name="T41" fmla="*/ 4 h 714"/>
                <a:gd name="T42" fmla="*/ 35 w 588"/>
                <a:gd name="T43" fmla="*/ 2 h 714"/>
                <a:gd name="T44" fmla="*/ 38 w 588"/>
                <a:gd name="T45" fmla="*/ 0 h 714"/>
                <a:gd name="T46" fmla="*/ 40 w 588"/>
                <a:gd name="T47" fmla="*/ 2 h 714"/>
                <a:gd name="T48" fmla="*/ 39 w 588"/>
                <a:gd name="T49" fmla="*/ 4 h 714"/>
                <a:gd name="T50" fmla="*/ 41 w 588"/>
                <a:gd name="T51" fmla="*/ 5 h 714"/>
                <a:gd name="T52" fmla="*/ 42 w 588"/>
                <a:gd name="T53" fmla="*/ 7 h 714"/>
                <a:gd name="T54" fmla="*/ 43 w 588"/>
                <a:gd name="T55" fmla="*/ 9 h 714"/>
                <a:gd name="T56" fmla="*/ 43 w 588"/>
                <a:gd name="T57" fmla="*/ 10 h 714"/>
                <a:gd name="T58" fmla="*/ 43 w 588"/>
                <a:gd name="T59" fmla="*/ 12 h 714"/>
                <a:gd name="T60" fmla="*/ 44 w 588"/>
                <a:gd name="T61" fmla="*/ 12 h 714"/>
                <a:gd name="T62" fmla="*/ 46 w 588"/>
                <a:gd name="T63" fmla="*/ 13 h 714"/>
                <a:gd name="T64" fmla="*/ 47 w 588"/>
                <a:gd name="T65" fmla="*/ 14 h 714"/>
                <a:gd name="T66" fmla="*/ 48 w 588"/>
                <a:gd name="T67" fmla="*/ 15 h 714"/>
                <a:gd name="T68" fmla="*/ 49 w 588"/>
                <a:gd name="T69" fmla="*/ 15 h 714"/>
                <a:gd name="T70" fmla="*/ 48 w 588"/>
                <a:gd name="T71" fmla="*/ 17 h 714"/>
                <a:gd name="T72" fmla="*/ 49 w 588"/>
                <a:gd name="T73" fmla="*/ 19 h 714"/>
                <a:gd name="T74" fmla="*/ 49 w 588"/>
                <a:gd name="T75" fmla="*/ 20 h 714"/>
                <a:gd name="T76" fmla="*/ 51 w 588"/>
                <a:gd name="T77" fmla="*/ 21 h 714"/>
                <a:gd name="T78" fmla="*/ 50 w 588"/>
                <a:gd name="T79" fmla="*/ 22 h 714"/>
                <a:gd name="T80" fmla="*/ 47 w 588"/>
                <a:gd name="T81" fmla="*/ 23 h 714"/>
                <a:gd name="T82" fmla="*/ 47 w 588"/>
                <a:gd name="T83" fmla="*/ 26 h 714"/>
                <a:gd name="T84" fmla="*/ 47 w 588"/>
                <a:gd name="T85" fmla="*/ 32 h 714"/>
                <a:gd name="T86" fmla="*/ 44 w 588"/>
                <a:gd name="T87" fmla="*/ 35 h 714"/>
                <a:gd name="T88" fmla="*/ 42 w 588"/>
                <a:gd name="T89" fmla="*/ 39 h 714"/>
                <a:gd name="T90" fmla="*/ 42 w 588"/>
                <a:gd name="T91" fmla="*/ 41 h 714"/>
                <a:gd name="T92" fmla="*/ 42 w 588"/>
                <a:gd name="T93" fmla="*/ 42 h 714"/>
                <a:gd name="T94" fmla="*/ 41 w 588"/>
                <a:gd name="T95" fmla="*/ 44 h 714"/>
                <a:gd name="T96" fmla="*/ 39 w 588"/>
                <a:gd name="T97" fmla="*/ 43 h 714"/>
                <a:gd name="T98" fmla="*/ 37 w 588"/>
                <a:gd name="T99" fmla="*/ 44 h 714"/>
                <a:gd name="T100" fmla="*/ 35 w 588"/>
                <a:gd name="T101" fmla="*/ 46 h 714"/>
                <a:gd name="T102" fmla="*/ 31 w 588"/>
                <a:gd name="T103" fmla="*/ 45 h 714"/>
                <a:gd name="T104" fmla="*/ 24 w 588"/>
                <a:gd name="T105" fmla="*/ 45 h 714"/>
                <a:gd name="T106" fmla="*/ 25 w 588"/>
                <a:gd name="T107" fmla="*/ 47 h 714"/>
                <a:gd name="T108" fmla="*/ 25 w 588"/>
                <a:gd name="T109" fmla="*/ 49 h 714"/>
                <a:gd name="T110" fmla="*/ 25 w 588"/>
                <a:gd name="T111" fmla="*/ 50 h 714"/>
                <a:gd name="T112" fmla="*/ 24 w 588"/>
                <a:gd name="T113" fmla="*/ 51 h 714"/>
                <a:gd name="T114" fmla="*/ 22 w 588"/>
                <a:gd name="T115" fmla="*/ 53 h 714"/>
                <a:gd name="T116" fmla="*/ 23 w 588"/>
                <a:gd name="T117" fmla="*/ 56 h 714"/>
                <a:gd name="T118" fmla="*/ 20 w 588"/>
                <a:gd name="T119" fmla="*/ 58 h 714"/>
                <a:gd name="T120" fmla="*/ 19 w 588"/>
                <a:gd name="T121" fmla="*/ 62 h 7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8"/>
                <a:gd name="T184" fmla="*/ 0 h 714"/>
                <a:gd name="T185" fmla="*/ 588 w 588"/>
                <a:gd name="T186" fmla="*/ 714 h 7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8" h="714">
                  <a:moveTo>
                    <a:pt x="216" y="714"/>
                  </a:moveTo>
                  <a:lnTo>
                    <a:pt x="198" y="702"/>
                  </a:lnTo>
                  <a:lnTo>
                    <a:pt x="186" y="696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74" y="678"/>
                  </a:lnTo>
                  <a:lnTo>
                    <a:pt x="168" y="672"/>
                  </a:lnTo>
                  <a:lnTo>
                    <a:pt x="162" y="666"/>
                  </a:lnTo>
                  <a:lnTo>
                    <a:pt x="156" y="636"/>
                  </a:lnTo>
                  <a:lnTo>
                    <a:pt x="144" y="630"/>
                  </a:lnTo>
                  <a:lnTo>
                    <a:pt x="108" y="630"/>
                  </a:lnTo>
                  <a:lnTo>
                    <a:pt x="102" y="624"/>
                  </a:lnTo>
                  <a:lnTo>
                    <a:pt x="96" y="624"/>
                  </a:lnTo>
                  <a:lnTo>
                    <a:pt x="72" y="624"/>
                  </a:lnTo>
                  <a:lnTo>
                    <a:pt x="54" y="624"/>
                  </a:lnTo>
                  <a:lnTo>
                    <a:pt x="42" y="618"/>
                  </a:lnTo>
                  <a:lnTo>
                    <a:pt x="30" y="612"/>
                  </a:lnTo>
                  <a:lnTo>
                    <a:pt x="6" y="606"/>
                  </a:lnTo>
                  <a:lnTo>
                    <a:pt x="0" y="606"/>
                  </a:lnTo>
                  <a:lnTo>
                    <a:pt x="0" y="570"/>
                  </a:lnTo>
                  <a:lnTo>
                    <a:pt x="6" y="552"/>
                  </a:lnTo>
                  <a:lnTo>
                    <a:pt x="6" y="522"/>
                  </a:lnTo>
                  <a:lnTo>
                    <a:pt x="0" y="510"/>
                  </a:lnTo>
                  <a:lnTo>
                    <a:pt x="0" y="504"/>
                  </a:lnTo>
                  <a:lnTo>
                    <a:pt x="12" y="510"/>
                  </a:lnTo>
                  <a:lnTo>
                    <a:pt x="18" y="510"/>
                  </a:lnTo>
                  <a:lnTo>
                    <a:pt x="30" y="522"/>
                  </a:lnTo>
                  <a:lnTo>
                    <a:pt x="42" y="528"/>
                  </a:lnTo>
                  <a:lnTo>
                    <a:pt x="54" y="534"/>
                  </a:lnTo>
                  <a:lnTo>
                    <a:pt x="66" y="534"/>
                  </a:lnTo>
                  <a:lnTo>
                    <a:pt x="72" y="546"/>
                  </a:lnTo>
                  <a:lnTo>
                    <a:pt x="84" y="546"/>
                  </a:lnTo>
                  <a:lnTo>
                    <a:pt x="96" y="552"/>
                  </a:lnTo>
                  <a:lnTo>
                    <a:pt x="108" y="546"/>
                  </a:lnTo>
                  <a:lnTo>
                    <a:pt x="114" y="540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90" y="504"/>
                  </a:lnTo>
                  <a:lnTo>
                    <a:pt x="84" y="498"/>
                  </a:lnTo>
                  <a:lnTo>
                    <a:pt x="84" y="492"/>
                  </a:lnTo>
                  <a:lnTo>
                    <a:pt x="84" y="456"/>
                  </a:lnTo>
                  <a:lnTo>
                    <a:pt x="114" y="444"/>
                  </a:lnTo>
                  <a:lnTo>
                    <a:pt x="114" y="438"/>
                  </a:lnTo>
                  <a:lnTo>
                    <a:pt x="120" y="420"/>
                  </a:lnTo>
                  <a:lnTo>
                    <a:pt x="126" y="402"/>
                  </a:lnTo>
                  <a:lnTo>
                    <a:pt x="126" y="390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14" y="336"/>
                  </a:lnTo>
                  <a:lnTo>
                    <a:pt x="108" y="324"/>
                  </a:lnTo>
                  <a:lnTo>
                    <a:pt x="108" y="306"/>
                  </a:lnTo>
                  <a:lnTo>
                    <a:pt x="114" y="300"/>
                  </a:lnTo>
                  <a:lnTo>
                    <a:pt x="114" y="294"/>
                  </a:lnTo>
                  <a:lnTo>
                    <a:pt x="132" y="258"/>
                  </a:lnTo>
                  <a:lnTo>
                    <a:pt x="132" y="234"/>
                  </a:lnTo>
                  <a:lnTo>
                    <a:pt x="126" y="168"/>
                  </a:lnTo>
                  <a:lnTo>
                    <a:pt x="120" y="150"/>
                  </a:lnTo>
                  <a:lnTo>
                    <a:pt x="114" y="138"/>
                  </a:lnTo>
                  <a:lnTo>
                    <a:pt x="108" y="126"/>
                  </a:lnTo>
                  <a:lnTo>
                    <a:pt x="108" y="120"/>
                  </a:lnTo>
                  <a:lnTo>
                    <a:pt x="108" y="114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20" y="96"/>
                  </a:lnTo>
                  <a:lnTo>
                    <a:pt x="132" y="102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56" y="90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96"/>
                  </a:lnTo>
                  <a:lnTo>
                    <a:pt x="186" y="96"/>
                  </a:lnTo>
                  <a:lnTo>
                    <a:pt x="192" y="114"/>
                  </a:lnTo>
                  <a:lnTo>
                    <a:pt x="204" y="132"/>
                  </a:lnTo>
                  <a:lnTo>
                    <a:pt x="216" y="144"/>
                  </a:lnTo>
                  <a:lnTo>
                    <a:pt x="240" y="162"/>
                  </a:lnTo>
                  <a:lnTo>
                    <a:pt x="270" y="156"/>
                  </a:lnTo>
                  <a:lnTo>
                    <a:pt x="282" y="126"/>
                  </a:lnTo>
                  <a:lnTo>
                    <a:pt x="282" y="96"/>
                  </a:lnTo>
                  <a:lnTo>
                    <a:pt x="294" y="54"/>
                  </a:lnTo>
                  <a:lnTo>
                    <a:pt x="324" y="48"/>
                  </a:lnTo>
                  <a:lnTo>
                    <a:pt x="342" y="48"/>
                  </a:lnTo>
                  <a:lnTo>
                    <a:pt x="384" y="48"/>
                  </a:lnTo>
                  <a:lnTo>
                    <a:pt x="390" y="30"/>
                  </a:lnTo>
                  <a:lnTo>
                    <a:pt x="402" y="18"/>
                  </a:lnTo>
                  <a:lnTo>
                    <a:pt x="438" y="6"/>
                  </a:lnTo>
                  <a:lnTo>
                    <a:pt x="438" y="0"/>
                  </a:lnTo>
                  <a:lnTo>
                    <a:pt x="444" y="0"/>
                  </a:lnTo>
                  <a:lnTo>
                    <a:pt x="444" y="6"/>
                  </a:lnTo>
                  <a:lnTo>
                    <a:pt x="450" y="6"/>
                  </a:lnTo>
                  <a:lnTo>
                    <a:pt x="456" y="12"/>
                  </a:lnTo>
                  <a:lnTo>
                    <a:pt x="456" y="18"/>
                  </a:lnTo>
                  <a:lnTo>
                    <a:pt x="462" y="24"/>
                  </a:lnTo>
                  <a:lnTo>
                    <a:pt x="462" y="30"/>
                  </a:lnTo>
                  <a:lnTo>
                    <a:pt x="468" y="36"/>
                  </a:lnTo>
                  <a:lnTo>
                    <a:pt x="462" y="36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74" y="60"/>
                  </a:lnTo>
                  <a:lnTo>
                    <a:pt x="486" y="78"/>
                  </a:lnTo>
                  <a:lnTo>
                    <a:pt x="486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8" y="102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498" y="114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504" y="126"/>
                  </a:lnTo>
                  <a:lnTo>
                    <a:pt x="498" y="132"/>
                  </a:lnTo>
                  <a:lnTo>
                    <a:pt x="504" y="138"/>
                  </a:lnTo>
                  <a:lnTo>
                    <a:pt x="504" y="132"/>
                  </a:lnTo>
                  <a:lnTo>
                    <a:pt x="510" y="132"/>
                  </a:lnTo>
                  <a:lnTo>
                    <a:pt x="510" y="138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56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6" y="168"/>
                  </a:lnTo>
                  <a:lnTo>
                    <a:pt x="552" y="168"/>
                  </a:lnTo>
                  <a:lnTo>
                    <a:pt x="546" y="168"/>
                  </a:lnTo>
                  <a:lnTo>
                    <a:pt x="546" y="174"/>
                  </a:lnTo>
                  <a:lnTo>
                    <a:pt x="558" y="180"/>
                  </a:lnTo>
                  <a:lnTo>
                    <a:pt x="564" y="180"/>
                  </a:lnTo>
                  <a:lnTo>
                    <a:pt x="564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52" y="198"/>
                  </a:lnTo>
                  <a:lnTo>
                    <a:pt x="558" y="204"/>
                  </a:lnTo>
                  <a:lnTo>
                    <a:pt x="564" y="204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22"/>
                  </a:lnTo>
                  <a:lnTo>
                    <a:pt x="576" y="228"/>
                  </a:lnTo>
                  <a:lnTo>
                    <a:pt x="570" y="228"/>
                  </a:lnTo>
                  <a:lnTo>
                    <a:pt x="570" y="234"/>
                  </a:lnTo>
                  <a:lnTo>
                    <a:pt x="576" y="234"/>
                  </a:lnTo>
                  <a:lnTo>
                    <a:pt x="582" y="234"/>
                  </a:lnTo>
                  <a:lnTo>
                    <a:pt x="588" y="234"/>
                  </a:lnTo>
                  <a:lnTo>
                    <a:pt x="588" y="240"/>
                  </a:lnTo>
                  <a:lnTo>
                    <a:pt x="588" y="246"/>
                  </a:lnTo>
                  <a:lnTo>
                    <a:pt x="588" y="252"/>
                  </a:lnTo>
                  <a:lnTo>
                    <a:pt x="582" y="252"/>
                  </a:lnTo>
                  <a:lnTo>
                    <a:pt x="576" y="252"/>
                  </a:lnTo>
                  <a:lnTo>
                    <a:pt x="582" y="258"/>
                  </a:lnTo>
                  <a:lnTo>
                    <a:pt x="582" y="264"/>
                  </a:lnTo>
                  <a:lnTo>
                    <a:pt x="576" y="264"/>
                  </a:lnTo>
                  <a:lnTo>
                    <a:pt x="546" y="264"/>
                  </a:lnTo>
                  <a:lnTo>
                    <a:pt x="546" y="276"/>
                  </a:lnTo>
                  <a:lnTo>
                    <a:pt x="540" y="282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40" y="324"/>
                  </a:lnTo>
                  <a:lnTo>
                    <a:pt x="552" y="330"/>
                  </a:lnTo>
                  <a:lnTo>
                    <a:pt x="558" y="342"/>
                  </a:lnTo>
                  <a:lnTo>
                    <a:pt x="546" y="372"/>
                  </a:lnTo>
                  <a:lnTo>
                    <a:pt x="534" y="372"/>
                  </a:lnTo>
                  <a:lnTo>
                    <a:pt x="534" y="384"/>
                  </a:lnTo>
                  <a:lnTo>
                    <a:pt x="522" y="384"/>
                  </a:lnTo>
                  <a:lnTo>
                    <a:pt x="510" y="402"/>
                  </a:lnTo>
                  <a:lnTo>
                    <a:pt x="504" y="420"/>
                  </a:lnTo>
                  <a:lnTo>
                    <a:pt x="492" y="426"/>
                  </a:lnTo>
                  <a:lnTo>
                    <a:pt x="486" y="432"/>
                  </a:lnTo>
                  <a:lnTo>
                    <a:pt x="486" y="444"/>
                  </a:lnTo>
                  <a:lnTo>
                    <a:pt x="486" y="450"/>
                  </a:lnTo>
                  <a:lnTo>
                    <a:pt x="486" y="456"/>
                  </a:lnTo>
                  <a:lnTo>
                    <a:pt x="486" y="462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80" y="474"/>
                  </a:lnTo>
                  <a:lnTo>
                    <a:pt x="480" y="480"/>
                  </a:lnTo>
                  <a:lnTo>
                    <a:pt x="480" y="486"/>
                  </a:lnTo>
                  <a:lnTo>
                    <a:pt x="480" y="492"/>
                  </a:lnTo>
                  <a:lnTo>
                    <a:pt x="480" y="498"/>
                  </a:lnTo>
                  <a:lnTo>
                    <a:pt x="474" y="504"/>
                  </a:lnTo>
                  <a:lnTo>
                    <a:pt x="468" y="510"/>
                  </a:lnTo>
                  <a:lnTo>
                    <a:pt x="462" y="510"/>
                  </a:lnTo>
                  <a:lnTo>
                    <a:pt x="456" y="504"/>
                  </a:lnTo>
                  <a:lnTo>
                    <a:pt x="456" y="498"/>
                  </a:lnTo>
                  <a:lnTo>
                    <a:pt x="450" y="498"/>
                  </a:lnTo>
                  <a:lnTo>
                    <a:pt x="444" y="498"/>
                  </a:lnTo>
                  <a:lnTo>
                    <a:pt x="438" y="498"/>
                  </a:lnTo>
                  <a:lnTo>
                    <a:pt x="432" y="498"/>
                  </a:lnTo>
                  <a:lnTo>
                    <a:pt x="426" y="504"/>
                  </a:lnTo>
                  <a:lnTo>
                    <a:pt x="426" y="510"/>
                  </a:lnTo>
                  <a:lnTo>
                    <a:pt x="420" y="516"/>
                  </a:lnTo>
                  <a:lnTo>
                    <a:pt x="414" y="522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84" y="528"/>
                  </a:lnTo>
                  <a:lnTo>
                    <a:pt x="366" y="540"/>
                  </a:lnTo>
                  <a:lnTo>
                    <a:pt x="360" y="522"/>
                  </a:lnTo>
                  <a:lnTo>
                    <a:pt x="348" y="504"/>
                  </a:lnTo>
                  <a:lnTo>
                    <a:pt x="330" y="504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34"/>
                  </a:lnTo>
                  <a:lnTo>
                    <a:pt x="288" y="540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2" y="540"/>
                  </a:lnTo>
                  <a:lnTo>
                    <a:pt x="282" y="546"/>
                  </a:lnTo>
                  <a:lnTo>
                    <a:pt x="288" y="552"/>
                  </a:lnTo>
                  <a:lnTo>
                    <a:pt x="294" y="564"/>
                  </a:lnTo>
                  <a:lnTo>
                    <a:pt x="300" y="564"/>
                  </a:lnTo>
                  <a:lnTo>
                    <a:pt x="300" y="570"/>
                  </a:lnTo>
                  <a:lnTo>
                    <a:pt x="294" y="570"/>
                  </a:lnTo>
                  <a:lnTo>
                    <a:pt x="288" y="570"/>
                  </a:lnTo>
                  <a:lnTo>
                    <a:pt x="288" y="576"/>
                  </a:lnTo>
                  <a:lnTo>
                    <a:pt x="288" y="582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606"/>
                  </a:lnTo>
                  <a:lnTo>
                    <a:pt x="264" y="612"/>
                  </a:lnTo>
                  <a:lnTo>
                    <a:pt x="258" y="612"/>
                  </a:lnTo>
                  <a:lnTo>
                    <a:pt x="252" y="612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52" y="630"/>
                  </a:lnTo>
                  <a:lnTo>
                    <a:pt x="264" y="642"/>
                  </a:lnTo>
                  <a:lnTo>
                    <a:pt x="258" y="648"/>
                  </a:lnTo>
                  <a:lnTo>
                    <a:pt x="246" y="654"/>
                  </a:lnTo>
                  <a:lnTo>
                    <a:pt x="240" y="660"/>
                  </a:lnTo>
                  <a:lnTo>
                    <a:pt x="234" y="672"/>
                  </a:lnTo>
                  <a:lnTo>
                    <a:pt x="234" y="678"/>
                  </a:lnTo>
                  <a:lnTo>
                    <a:pt x="228" y="684"/>
                  </a:lnTo>
                  <a:lnTo>
                    <a:pt x="228" y="696"/>
                  </a:lnTo>
                  <a:lnTo>
                    <a:pt x="216" y="71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6" name="Freeform 21">
              <a:extLst>
                <a:ext uri="{FF2B5EF4-FFF2-40B4-BE49-F238E27FC236}">
                  <a16:creationId xmlns:a16="http://schemas.microsoft.com/office/drawing/2014/main" id="{DCB1E808-522D-4C19-B741-CC5DD56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4178" y="3866464"/>
              <a:ext cx="250453" cy="371259"/>
            </a:xfrm>
            <a:custGeom>
              <a:avLst/>
              <a:gdLst>
                <a:gd name="T0" fmla="*/ 0 w 468"/>
                <a:gd name="T1" fmla="*/ 61 h 696"/>
                <a:gd name="T2" fmla="*/ 1 w 468"/>
                <a:gd name="T3" fmla="*/ 58 h 696"/>
                <a:gd name="T4" fmla="*/ 2 w 468"/>
                <a:gd name="T5" fmla="*/ 54 h 696"/>
                <a:gd name="T6" fmla="*/ 3 w 468"/>
                <a:gd name="T7" fmla="*/ 51 h 696"/>
                <a:gd name="T8" fmla="*/ 4 w 468"/>
                <a:gd name="T9" fmla="*/ 48 h 696"/>
                <a:gd name="T10" fmla="*/ 6 w 468"/>
                <a:gd name="T11" fmla="*/ 44 h 696"/>
                <a:gd name="T12" fmla="*/ 5 w 468"/>
                <a:gd name="T13" fmla="*/ 41 h 696"/>
                <a:gd name="T14" fmla="*/ 7 w 468"/>
                <a:gd name="T15" fmla="*/ 38 h 696"/>
                <a:gd name="T16" fmla="*/ 8 w 468"/>
                <a:gd name="T17" fmla="*/ 36 h 696"/>
                <a:gd name="T18" fmla="*/ 7 w 468"/>
                <a:gd name="T19" fmla="*/ 33 h 696"/>
                <a:gd name="T20" fmla="*/ 6 w 468"/>
                <a:gd name="T21" fmla="*/ 29 h 696"/>
                <a:gd name="T22" fmla="*/ 4 w 468"/>
                <a:gd name="T23" fmla="*/ 22 h 696"/>
                <a:gd name="T24" fmla="*/ 2 w 468"/>
                <a:gd name="T25" fmla="*/ 14 h 696"/>
                <a:gd name="T26" fmla="*/ 12 w 468"/>
                <a:gd name="T27" fmla="*/ 11 h 696"/>
                <a:gd name="T28" fmla="*/ 14 w 468"/>
                <a:gd name="T29" fmla="*/ 2 h 696"/>
                <a:gd name="T30" fmla="*/ 16 w 468"/>
                <a:gd name="T31" fmla="*/ 0 h 696"/>
                <a:gd name="T32" fmla="*/ 17 w 468"/>
                <a:gd name="T33" fmla="*/ 0 h 696"/>
                <a:gd name="T34" fmla="*/ 18 w 468"/>
                <a:gd name="T35" fmla="*/ 1 h 696"/>
                <a:gd name="T36" fmla="*/ 17 w 468"/>
                <a:gd name="T37" fmla="*/ 2 h 696"/>
                <a:gd name="T38" fmla="*/ 17 w 468"/>
                <a:gd name="T39" fmla="*/ 4 h 696"/>
                <a:gd name="T40" fmla="*/ 17 w 468"/>
                <a:gd name="T41" fmla="*/ 6 h 696"/>
                <a:gd name="T42" fmla="*/ 20 w 468"/>
                <a:gd name="T43" fmla="*/ 6 h 696"/>
                <a:gd name="T44" fmla="*/ 22 w 468"/>
                <a:gd name="T45" fmla="*/ 5 h 696"/>
                <a:gd name="T46" fmla="*/ 24 w 468"/>
                <a:gd name="T47" fmla="*/ 7 h 696"/>
                <a:gd name="T48" fmla="*/ 28 w 468"/>
                <a:gd name="T49" fmla="*/ 7 h 696"/>
                <a:gd name="T50" fmla="*/ 28 w 468"/>
                <a:gd name="T51" fmla="*/ 11 h 696"/>
                <a:gd name="T52" fmla="*/ 25 w 468"/>
                <a:gd name="T53" fmla="*/ 14 h 696"/>
                <a:gd name="T54" fmla="*/ 23 w 468"/>
                <a:gd name="T55" fmla="*/ 15 h 696"/>
                <a:gd name="T56" fmla="*/ 23 w 468"/>
                <a:gd name="T57" fmla="*/ 19 h 696"/>
                <a:gd name="T58" fmla="*/ 23 w 468"/>
                <a:gd name="T59" fmla="*/ 21 h 696"/>
                <a:gd name="T60" fmla="*/ 24 w 468"/>
                <a:gd name="T61" fmla="*/ 21 h 696"/>
                <a:gd name="T62" fmla="*/ 27 w 468"/>
                <a:gd name="T63" fmla="*/ 23 h 696"/>
                <a:gd name="T64" fmla="*/ 29 w 468"/>
                <a:gd name="T65" fmla="*/ 24 h 696"/>
                <a:gd name="T66" fmla="*/ 29 w 468"/>
                <a:gd name="T67" fmla="*/ 28 h 696"/>
                <a:gd name="T68" fmla="*/ 29 w 468"/>
                <a:gd name="T69" fmla="*/ 29 h 696"/>
                <a:gd name="T70" fmla="*/ 29 w 468"/>
                <a:gd name="T71" fmla="*/ 32 h 696"/>
                <a:gd name="T72" fmla="*/ 32 w 468"/>
                <a:gd name="T73" fmla="*/ 32 h 696"/>
                <a:gd name="T74" fmla="*/ 33 w 468"/>
                <a:gd name="T75" fmla="*/ 35 h 696"/>
                <a:gd name="T76" fmla="*/ 34 w 468"/>
                <a:gd name="T77" fmla="*/ 38 h 696"/>
                <a:gd name="T78" fmla="*/ 35 w 468"/>
                <a:gd name="T79" fmla="*/ 39 h 696"/>
                <a:gd name="T80" fmla="*/ 36 w 468"/>
                <a:gd name="T81" fmla="*/ 40 h 696"/>
                <a:gd name="T82" fmla="*/ 37 w 468"/>
                <a:gd name="T83" fmla="*/ 41 h 696"/>
                <a:gd name="T84" fmla="*/ 38 w 468"/>
                <a:gd name="T85" fmla="*/ 42 h 696"/>
                <a:gd name="T86" fmla="*/ 41 w 468"/>
                <a:gd name="T87" fmla="*/ 44 h 696"/>
                <a:gd name="T88" fmla="*/ 40 w 468"/>
                <a:gd name="T89" fmla="*/ 44 h 696"/>
                <a:gd name="T90" fmla="*/ 37 w 468"/>
                <a:gd name="T91" fmla="*/ 45 h 696"/>
                <a:gd name="T92" fmla="*/ 36 w 468"/>
                <a:gd name="T93" fmla="*/ 48 h 696"/>
                <a:gd name="T94" fmla="*/ 34 w 468"/>
                <a:gd name="T95" fmla="*/ 49 h 696"/>
                <a:gd name="T96" fmla="*/ 32 w 468"/>
                <a:gd name="T97" fmla="*/ 51 h 696"/>
                <a:gd name="T98" fmla="*/ 31 w 468"/>
                <a:gd name="T99" fmla="*/ 51 h 696"/>
                <a:gd name="T100" fmla="*/ 26 w 468"/>
                <a:gd name="T101" fmla="*/ 49 h 696"/>
                <a:gd name="T102" fmla="*/ 23 w 468"/>
                <a:gd name="T103" fmla="*/ 51 h 696"/>
                <a:gd name="T104" fmla="*/ 21 w 468"/>
                <a:gd name="T105" fmla="*/ 51 h 696"/>
                <a:gd name="T106" fmla="*/ 20 w 468"/>
                <a:gd name="T107" fmla="*/ 52 h 696"/>
                <a:gd name="T108" fmla="*/ 17 w 468"/>
                <a:gd name="T109" fmla="*/ 55 h 696"/>
                <a:gd name="T110" fmla="*/ 15 w 468"/>
                <a:gd name="T111" fmla="*/ 56 h 696"/>
                <a:gd name="T112" fmla="*/ 15 w 468"/>
                <a:gd name="T113" fmla="*/ 59 h 696"/>
                <a:gd name="T114" fmla="*/ 14 w 468"/>
                <a:gd name="T115" fmla="*/ 59 h 696"/>
                <a:gd name="T116" fmla="*/ 12 w 468"/>
                <a:gd name="T117" fmla="*/ 59 h 696"/>
                <a:gd name="T118" fmla="*/ 11 w 468"/>
                <a:gd name="T119" fmla="*/ 57 h 696"/>
                <a:gd name="T120" fmla="*/ 9 w 468"/>
                <a:gd name="T121" fmla="*/ 57 h 696"/>
                <a:gd name="T122" fmla="*/ 6 w 468"/>
                <a:gd name="T123" fmla="*/ 58 h 696"/>
                <a:gd name="T124" fmla="*/ 4 w 468"/>
                <a:gd name="T125" fmla="*/ 60 h 69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8"/>
                <a:gd name="T190" fmla="*/ 0 h 696"/>
                <a:gd name="T191" fmla="*/ 468 w 468"/>
                <a:gd name="T192" fmla="*/ 696 h 69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8" h="696">
                  <a:moveTo>
                    <a:pt x="30" y="696"/>
                  </a:moveTo>
                  <a:lnTo>
                    <a:pt x="18" y="696"/>
                  </a:lnTo>
                  <a:lnTo>
                    <a:pt x="6" y="696"/>
                  </a:lnTo>
                  <a:lnTo>
                    <a:pt x="0" y="690"/>
                  </a:lnTo>
                  <a:lnTo>
                    <a:pt x="6" y="678"/>
                  </a:lnTo>
                  <a:lnTo>
                    <a:pt x="12" y="666"/>
                  </a:lnTo>
                  <a:lnTo>
                    <a:pt x="18" y="654"/>
                  </a:lnTo>
                  <a:lnTo>
                    <a:pt x="18" y="642"/>
                  </a:lnTo>
                  <a:lnTo>
                    <a:pt x="18" y="618"/>
                  </a:lnTo>
                  <a:lnTo>
                    <a:pt x="24" y="606"/>
                  </a:lnTo>
                  <a:lnTo>
                    <a:pt x="30" y="594"/>
                  </a:lnTo>
                  <a:lnTo>
                    <a:pt x="30" y="582"/>
                  </a:lnTo>
                  <a:lnTo>
                    <a:pt x="36" y="576"/>
                  </a:lnTo>
                  <a:lnTo>
                    <a:pt x="42" y="564"/>
                  </a:lnTo>
                  <a:lnTo>
                    <a:pt x="48" y="546"/>
                  </a:lnTo>
                  <a:lnTo>
                    <a:pt x="48" y="528"/>
                  </a:lnTo>
                  <a:lnTo>
                    <a:pt x="60" y="516"/>
                  </a:lnTo>
                  <a:lnTo>
                    <a:pt x="66" y="504"/>
                  </a:lnTo>
                  <a:lnTo>
                    <a:pt x="66" y="492"/>
                  </a:lnTo>
                  <a:lnTo>
                    <a:pt x="60" y="480"/>
                  </a:lnTo>
                  <a:lnTo>
                    <a:pt x="54" y="468"/>
                  </a:lnTo>
                  <a:lnTo>
                    <a:pt x="60" y="456"/>
                  </a:lnTo>
                  <a:lnTo>
                    <a:pt x="72" y="450"/>
                  </a:lnTo>
                  <a:lnTo>
                    <a:pt x="84" y="438"/>
                  </a:lnTo>
                  <a:lnTo>
                    <a:pt x="90" y="426"/>
                  </a:lnTo>
                  <a:lnTo>
                    <a:pt x="90" y="420"/>
                  </a:lnTo>
                  <a:lnTo>
                    <a:pt x="90" y="408"/>
                  </a:lnTo>
                  <a:lnTo>
                    <a:pt x="90" y="402"/>
                  </a:lnTo>
                  <a:lnTo>
                    <a:pt x="84" y="396"/>
                  </a:lnTo>
                  <a:lnTo>
                    <a:pt x="78" y="378"/>
                  </a:lnTo>
                  <a:lnTo>
                    <a:pt x="72" y="360"/>
                  </a:lnTo>
                  <a:lnTo>
                    <a:pt x="66" y="348"/>
                  </a:lnTo>
                  <a:lnTo>
                    <a:pt x="72" y="336"/>
                  </a:lnTo>
                  <a:lnTo>
                    <a:pt x="66" y="306"/>
                  </a:lnTo>
                  <a:lnTo>
                    <a:pt x="54" y="276"/>
                  </a:lnTo>
                  <a:lnTo>
                    <a:pt x="42" y="252"/>
                  </a:lnTo>
                  <a:lnTo>
                    <a:pt x="36" y="222"/>
                  </a:lnTo>
                  <a:lnTo>
                    <a:pt x="30" y="192"/>
                  </a:lnTo>
                  <a:lnTo>
                    <a:pt x="24" y="162"/>
                  </a:lnTo>
                  <a:lnTo>
                    <a:pt x="42" y="174"/>
                  </a:lnTo>
                  <a:lnTo>
                    <a:pt x="120" y="138"/>
                  </a:lnTo>
                  <a:lnTo>
                    <a:pt x="132" y="126"/>
                  </a:lnTo>
                  <a:lnTo>
                    <a:pt x="120" y="54"/>
                  </a:lnTo>
                  <a:lnTo>
                    <a:pt x="156" y="30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0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8" y="18"/>
                  </a:lnTo>
                  <a:lnTo>
                    <a:pt x="198" y="24"/>
                  </a:lnTo>
                  <a:lnTo>
                    <a:pt x="198" y="30"/>
                  </a:lnTo>
                  <a:lnTo>
                    <a:pt x="198" y="42"/>
                  </a:lnTo>
                  <a:lnTo>
                    <a:pt x="198" y="48"/>
                  </a:lnTo>
                  <a:lnTo>
                    <a:pt x="192" y="60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28" y="60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34" y="60"/>
                  </a:lnTo>
                  <a:lnTo>
                    <a:pt x="252" y="60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312" y="84"/>
                  </a:lnTo>
                  <a:lnTo>
                    <a:pt x="318" y="96"/>
                  </a:lnTo>
                  <a:lnTo>
                    <a:pt x="318" y="102"/>
                  </a:lnTo>
                  <a:lnTo>
                    <a:pt x="312" y="120"/>
                  </a:lnTo>
                  <a:lnTo>
                    <a:pt x="306" y="132"/>
                  </a:lnTo>
                  <a:lnTo>
                    <a:pt x="294" y="144"/>
                  </a:lnTo>
                  <a:lnTo>
                    <a:pt x="282" y="156"/>
                  </a:lnTo>
                  <a:lnTo>
                    <a:pt x="276" y="162"/>
                  </a:lnTo>
                  <a:lnTo>
                    <a:pt x="270" y="162"/>
                  </a:lnTo>
                  <a:lnTo>
                    <a:pt x="264" y="174"/>
                  </a:lnTo>
                  <a:lnTo>
                    <a:pt x="264" y="192"/>
                  </a:lnTo>
                  <a:lnTo>
                    <a:pt x="264" y="216"/>
                  </a:lnTo>
                  <a:lnTo>
                    <a:pt x="258" y="216"/>
                  </a:lnTo>
                  <a:lnTo>
                    <a:pt x="258" y="228"/>
                  </a:lnTo>
                  <a:lnTo>
                    <a:pt x="252" y="234"/>
                  </a:lnTo>
                  <a:lnTo>
                    <a:pt x="258" y="240"/>
                  </a:lnTo>
                  <a:lnTo>
                    <a:pt x="264" y="240"/>
                  </a:lnTo>
                  <a:lnTo>
                    <a:pt x="270" y="240"/>
                  </a:lnTo>
                  <a:lnTo>
                    <a:pt x="276" y="240"/>
                  </a:lnTo>
                  <a:lnTo>
                    <a:pt x="288" y="240"/>
                  </a:lnTo>
                  <a:lnTo>
                    <a:pt x="300" y="246"/>
                  </a:lnTo>
                  <a:lnTo>
                    <a:pt x="306" y="258"/>
                  </a:lnTo>
                  <a:lnTo>
                    <a:pt x="312" y="264"/>
                  </a:lnTo>
                  <a:lnTo>
                    <a:pt x="318" y="276"/>
                  </a:lnTo>
                  <a:lnTo>
                    <a:pt x="330" y="282"/>
                  </a:lnTo>
                  <a:lnTo>
                    <a:pt x="330" y="300"/>
                  </a:lnTo>
                  <a:lnTo>
                    <a:pt x="336" y="312"/>
                  </a:lnTo>
                  <a:lnTo>
                    <a:pt x="336" y="318"/>
                  </a:lnTo>
                  <a:lnTo>
                    <a:pt x="336" y="330"/>
                  </a:lnTo>
                  <a:lnTo>
                    <a:pt x="324" y="330"/>
                  </a:lnTo>
                  <a:lnTo>
                    <a:pt x="330" y="336"/>
                  </a:lnTo>
                  <a:lnTo>
                    <a:pt x="330" y="342"/>
                  </a:lnTo>
                  <a:lnTo>
                    <a:pt x="336" y="348"/>
                  </a:lnTo>
                  <a:lnTo>
                    <a:pt x="330" y="360"/>
                  </a:lnTo>
                  <a:lnTo>
                    <a:pt x="336" y="372"/>
                  </a:lnTo>
                  <a:lnTo>
                    <a:pt x="354" y="366"/>
                  </a:lnTo>
                  <a:lnTo>
                    <a:pt x="366" y="366"/>
                  </a:lnTo>
                  <a:lnTo>
                    <a:pt x="372" y="378"/>
                  </a:lnTo>
                  <a:lnTo>
                    <a:pt x="372" y="390"/>
                  </a:lnTo>
                  <a:lnTo>
                    <a:pt x="378" y="396"/>
                  </a:lnTo>
                  <a:lnTo>
                    <a:pt x="378" y="408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44"/>
                  </a:lnTo>
                  <a:lnTo>
                    <a:pt x="390" y="444"/>
                  </a:lnTo>
                  <a:lnTo>
                    <a:pt x="396" y="444"/>
                  </a:lnTo>
                  <a:lnTo>
                    <a:pt x="402" y="450"/>
                  </a:lnTo>
                  <a:lnTo>
                    <a:pt x="408" y="450"/>
                  </a:lnTo>
                  <a:lnTo>
                    <a:pt x="408" y="462"/>
                  </a:lnTo>
                  <a:lnTo>
                    <a:pt x="408" y="468"/>
                  </a:lnTo>
                  <a:lnTo>
                    <a:pt x="414" y="474"/>
                  </a:lnTo>
                  <a:lnTo>
                    <a:pt x="420" y="474"/>
                  </a:lnTo>
                  <a:lnTo>
                    <a:pt x="420" y="480"/>
                  </a:lnTo>
                  <a:lnTo>
                    <a:pt x="426" y="480"/>
                  </a:lnTo>
                  <a:lnTo>
                    <a:pt x="432" y="480"/>
                  </a:lnTo>
                  <a:lnTo>
                    <a:pt x="462" y="486"/>
                  </a:lnTo>
                  <a:lnTo>
                    <a:pt x="468" y="492"/>
                  </a:lnTo>
                  <a:lnTo>
                    <a:pt x="468" y="498"/>
                  </a:lnTo>
                  <a:lnTo>
                    <a:pt x="462" y="498"/>
                  </a:lnTo>
                  <a:lnTo>
                    <a:pt x="456" y="498"/>
                  </a:lnTo>
                  <a:lnTo>
                    <a:pt x="456" y="504"/>
                  </a:lnTo>
                  <a:lnTo>
                    <a:pt x="456" y="510"/>
                  </a:lnTo>
                  <a:lnTo>
                    <a:pt x="450" y="516"/>
                  </a:lnTo>
                  <a:lnTo>
                    <a:pt x="426" y="516"/>
                  </a:lnTo>
                  <a:lnTo>
                    <a:pt x="408" y="528"/>
                  </a:lnTo>
                  <a:lnTo>
                    <a:pt x="408" y="546"/>
                  </a:lnTo>
                  <a:lnTo>
                    <a:pt x="414" y="552"/>
                  </a:lnTo>
                  <a:lnTo>
                    <a:pt x="408" y="558"/>
                  </a:lnTo>
                  <a:lnTo>
                    <a:pt x="402" y="564"/>
                  </a:lnTo>
                  <a:lnTo>
                    <a:pt x="384" y="564"/>
                  </a:lnTo>
                  <a:lnTo>
                    <a:pt x="372" y="564"/>
                  </a:lnTo>
                  <a:lnTo>
                    <a:pt x="372" y="576"/>
                  </a:lnTo>
                  <a:lnTo>
                    <a:pt x="366" y="576"/>
                  </a:lnTo>
                  <a:lnTo>
                    <a:pt x="366" y="582"/>
                  </a:lnTo>
                  <a:lnTo>
                    <a:pt x="360" y="582"/>
                  </a:lnTo>
                  <a:lnTo>
                    <a:pt x="348" y="576"/>
                  </a:lnTo>
                  <a:lnTo>
                    <a:pt x="336" y="570"/>
                  </a:lnTo>
                  <a:lnTo>
                    <a:pt x="324" y="570"/>
                  </a:lnTo>
                  <a:lnTo>
                    <a:pt x="300" y="564"/>
                  </a:lnTo>
                  <a:lnTo>
                    <a:pt x="282" y="564"/>
                  </a:lnTo>
                  <a:lnTo>
                    <a:pt x="270" y="570"/>
                  </a:lnTo>
                  <a:lnTo>
                    <a:pt x="264" y="576"/>
                  </a:lnTo>
                  <a:lnTo>
                    <a:pt x="258" y="576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34" y="594"/>
                  </a:lnTo>
                  <a:lnTo>
                    <a:pt x="228" y="600"/>
                  </a:lnTo>
                  <a:lnTo>
                    <a:pt x="210" y="618"/>
                  </a:lnTo>
                  <a:lnTo>
                    <a:pt x="210" y="624"/>
                  </a:lnTo>
                  <a:lnTo>
                    <a:pt x="192" y="630"/>
                  </a:lnTo>
                  <a:lnTo>
                    <a:pt x="186" y="630"/>
                  </a:lnTo>
                  <a:lnTo>
                    <a:pt x="180" y="636"/>
                  </a:lnTo>
                  <a:lnTo>
                    <a:pt x="174" y="642"/>
                  </a:lnTo>
                  <a:lnTo>
                    <a:pt x="168" y="642"/>
                  </a:lnTo>
                  <a:lnTo>
                    <a:pt x="168" y="654"/>
                  </a:lnTo>
                  <a:lnTo>
                    <a:pt x="168" y="678"/>
                  </a:lnTo>
                  <a:lnTo>
                    <a:pt x="162" y="684"/>
                  </a:lnTo>
                  <a:lnTo>
                    <a:pt x="156" y="684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72"/>
                  </a:lnTo>
                  <a:lnTo>
                    <a:pt x="138" y="672"/>
                  </a:lnTo>
                  <a:lnTo>
                    <a:pt x="138" y="666"/>
                  </a:lnTo>
                  <a:lnTo>
                    <a:pt x="132" y="660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48"/>
                  </a:lnTo>
                  <a:lnTo>
                    <a:pt x="102" y="654"/>
                  </a:lnTo>
                  <a:lnTo>
                    <a:pt x="90" y="654"/>
                  </a:lnTo>
                  <a:lnTo>
                    <a:pt x="84" y="654"/>
                  </a:lnTo>
                  <a:lnTo>
                    <a:pt x="72" y="660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36" y="684"/>
                  </a:lnTo>
                  <a:lnTo>
                    <a:pt x="30" y="6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7" name="Freeform 22">
              <a:extLst>
                <a:ext uri="{FF2B5EF4-FFF2-40B4-BE49-F238E27FC236}">
                  <a16:creationId xmlns:a16="http://schemas.microsoft.com/office/drawing/2014/main" id="{2F7A477D-6CF8-44B3-8B32-64EE03DC4D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2895" y="3967106"/>
              <a:ext cx="610479" cy="507686"/>
            </a:xfrm>
            <a:custGeom>
              <a:avLst/>
              <a:gdLst>
                <a:gd name="T0" fmla="*/ 87 w 1146"/>
                <a:gd name="T1" fmla="*/ 56 h 954"/>
                <a:gd name="T2" fmla="*/ 83 w 1146"/>
                <a:gd name="T3" fmla="*/ 66 h 954"/>
                <a:gd name="T4" fmla="*/ 74 w 1146"/>
                <a:gd name="T5" fmla="*/ 69 h 954"/>
                <a:gd name="T6" fmla="*/ 67 w 1146"/>
                <a:gd name="T7" fmla="*/ 75 h 954"/>
                <a:gd name="T8" fmla="*/ 59 w 1146"/>
                <a:gd name="T9" fmla="*/ 78 h 954"/>
                <a:gd name="T10" fmla="*/ 52 w 1146"/>
                <a:gd name="T11" fmla="*/ 77 h 954"/>
                <a:gd name="T12" fmla="*/ 48 w 1146"/>
                <a:gd name="T13" fmla="*/ 79 h 954"/>
                <a:gd name="T14" fmla="*/ 41 w 1146"/>
                <a:gd name="T15" fmla="*/ 82 h 954"/>
                <a:gd name="T16" fmla="*/ 29 w 1146"/>
                <a:gd name="T17" fmla="*/ 78 h 954"/>
                <a:gd name="T18" fmla="*/ 28 w 1146"/>
                <a:gd name="T19" fmla="*/ 76 h 954"/>
                <a:gd name="T20" fmla="*/ 28 w 1146"/>
                <a:gd name="T21" fmla="*/ 72 h 954"/>
                <a:gd name="T22" fmla="*/ 28 w 1146"/>
                <a:gd name="T23" fmla="*/ 74 h 954"/>
                <a:gd name="T24" fmla="*/ 21 w 1146"/>
                <a:gd name="T25" fmla="*/ 74 h 954"/>
                <a:gd name="T26" fmla="*/ 20 w 1146"/>
                <a:gd name="T27" fmla="*/ 67 h 954"/>
                <a:gd name="T28" fmla="*/ 23 w 1146"/>
                <a:gd name="T29" fmla="*/ 64 h 954"/>
                <a:gd name="T30" fmla="*/ 28 w 1146"/>
                <a:gd name="T31" fmla="*/ 65 h 954"/>
                <a:gd name="T32" fmla="*/ 32 w 1146"/>
                <a:gd name="T33" fmla="*/ 62 h 954"/>
                <a:gd name="T34" fmla="*/ 31 w 1146"/>
                <a:gd name="T35" fmla="*/ 56 h 954"/>
                <a:gd name="T36" fmla="*/ 36 w 1146"/>
                <a:gd name="T37" fmla="*/ 54 h 954"/>
                <a:gd name="T38" fmla="*/ 38 w 1146"/>
                <a:gd name="T39" fmla="*/ 54 h 954"/>
                <a:gd name="T40" fmla="*/ 32 w 1146"/>
                <a:gd name="T41" fmla="*/ 54 h 954"/>
                <a:gd name="T42" fmla="*/ 29 w 1146"/>
                <a:gd name="T43" fmla="*/ 59 h 954"/>
                <a:gd name="T44" fmla="*/ 26 w 1146"/>
                <a:gd name="T45" fmla="*/ 59 h 954"/>
                <a:gd name="T46" fmla="*/ 25 w 1146"/>
                <a:gd name="T47" fmla="*/ 61 h 954"/>
                <a:gd name="T48" fmla="*/ 20 w 1146"/>
                <a:gd name="T49" fmla="*/ 61 h 954"/>
                <a:gd name="T50" fmla="*/ 11 w 1146"/>
                <a:gd name="T51" fmla="*/ 54 h 954"/>
                <a:gd name="T52" fmla="*/ 14 w 1146"/>
                <a:gd name="T53" fmla="*/ 50 h 954"/>
                <a:gd name="T54" fmla="*/ 21 w 1146"/>
                <a:gd name="T55" fmla="*/ 51 h 954"/>
                <a:gd name="T56" fmla="*/ 24 w 1146"/>
                <a:gd name="T57" fmla="*/ 50 h 954"/>
                <a:gd name="T58" fmla="*/ 28 w 1146"/>
                <a:gd name="T59" fmla="*/ 48 h 954"/>
                <a:gd name="T60" fmla="*/ 30 w 1146"/>
                <a:gd name="T61" fmla="*/ 49 h 954"/>
                <a:gd name="T62" fmla="*/ 26 w 1146"/>
                <a:gd name="T63" fmla="*/ 47 h 954"/>
                <a:gd name="T64" fmla="*/ 20 w 1146"/>
                <a:gd name="T65" fmla="*/ 50 h 954"/>
                <a:gd name="T66" fmla="*/ 20 w 1146"/>
                <a:gd name="T67" fmla="*/ 44 h 954"/>
                <a:gd name="T68" fmla="*/ 19 w 1146"/>
                <a:gd name="T69" fmla="*/ 46 h 954"/>
                <a:gd name="T70" fmla="*/ 15 w 1146"/>
                <a:gd name="T71" fmla="*/ 49 h 954"/>
                <a:gd name="T72" fmla="*/ 8 w 1146"/>
                <a:gd name="T73" fmla="*/ 48 h 954"/>
                <a:gd name="T74" fmla="*/ 6 w 1146"/>
                <a:gd name="T75" fmla="*/ 41 h 954"/>
                <a:gd name="T76" fmla="*/ 10 w 1146"/>
                <a:gd name="T77" fmla="*/ 41 h 954"/>
                <a:gd name="T78" fmla="*/ 9 w 1146"/>
                <a:gd name="T79" fmla="*/ 39 h 954"/>
                <a:gd name="T80" fmla="*/ 14 w 1146"/>
                <a:gd name="T81" fmla="*/ 35 h 954"/>
                <a:gd name="T82" fmla="*/ 19 w 1146"/>
                <a:gd name="T83" fmla="*/ 32 h 954"/>
                <a:gd name="T84" fmla="*/ 20 w 1146"/>
                <a:gd name="T85" fmla="*/ 29 h 954"/>
                <a:gd name="T86" fmla="*/ 27 w 1146"/>
                <a:gd name="T87" fmla="*/ 27 h 954"/>
                <a:gd name="T88" fmla="*/ 33 w 1146"/>
                <a:gd name="T89" fmla="*/ 28 h 954"/>
                <a:gd name="T90" fmla="*/ 44 w 1146"/>
                <a:gd name="T91" fmla="*/ 27 h 954"/>
                <a:gd name="T92" fmla="*/ 52 w 1146"/>
                <a:gd name="T93" fmla="*/ 41 h 954"/>
                <a:gd name="T94" fmla="*/ 61 w 1146"/>
                <a:gd name="T95" fmla="*/ 40 h 954"/>
                <a:gd name="T96" fmla="*/ 69 w 1146"/>
                <a:gd name="T97" fmla="*/ 34 h 954"/>
                <a:gd name="T98" fmla="*/ 62 w 1146"/>
                <a:gd name="T99" fmla="*/ 12 h 954"/>
                <a:gd name="T100" fmla="*/ 74 w 1146"/>
                <a:gd name="T101" fmla="*/ 8 h 954"/>
                <a:gd name="T102" fmla="*/ 87 w 1146"/>
                <a:gd name="T103" fmla="*/ 1 h 954"/>
                <a:gd name="T104" fmla="*/ 99 w 1146"/>
                <a:gd name="T105" fmla="*/ 12 h 954"/>
                <a:gd name="T106" fmla="*/ 98 w 1146"/>
                <a:gd name="T107" fmla="*/ 27 h 954"/>
                <a:gd name="T108" fmla="*/ 16 w 1146"/>
                <a:gd name="T109" fmla="*/ 33 h 954"/>
                <a:gd name="T110" fmla="*/ 11 w 1146"/>
                <a:gd name="T111" fmla="*/ 36 h 954"/>
                <a:gd name="T112" fmla="*/ 5 w 1146"/>
                <a:gd name="T113" fmla="*/ 41 h 954"/>
                <a:gd name="T114" fmla="*/ 2 w 1146"/>
                <a:gd name="T115" fmla="*/ 36 h 954"/>
                <a:gd name="T116" fmla="*/ 5 w 1146"/>
                <a:gd name="T117" fmla="*/ 26 h 954"/>
                <a:gd name="T118" fmla="*/ 10 w 1146"/>
                <a:gd name="T119" fmla="*/ 20 h 954"/>
                <a:gd name="T120" fmla="*/ 13 w 1146"/>
                <a:gd name="T121" fmla="*/ 20 h 954"/>
                <a:gd name="T122" fmla="*/ 15 w 1146"/>
                <a:gd name="T123" fmla="*/ 27 h 95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46"/>
                <a:gd name="T187" fmla="*/ 0 h 954"/>
                <a:gd name="T188" fmla="*/ 1146 w 1146"/>
                <a:gd name="T189" fmla="*/ 954 h 95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46" h="954">
                  <a:moveTo>
                    <a:pt x="1056" y="498"/>
                  </a:moveTo>
                  <a:lnTo>
                    <a:pt x="1044" y="510"/>
                  </a:lnTo>
                  <a:lnTo>
                    <a:pt x="1032" y="516"/>
                  </a:lnTo>
                  <a:lnTo>
                    <a:pt x="1038" y="528"/>
                  </a:lnTo>
                  <a:lnTo>
                    <a:pt x="1050" y="540"/>
                  </a:lnTo>
                  <a:lnTo>
                    <a:pt x="1050" y="546"/>
                  </a:lnTo>
                  <a:lnTo>
                    <a:pt x="1050" y="564"/>
                  </a:lnTo>
                  <a:lnTo>
                    <a:pt x="1038" y="576"/>
                  </a:lnTo>
                  <a:lnTo>
                    <a:pt x="1032" y="588"/>
                  </a:lnTo>
                  <a:lnTo>
                    <a:pt x="1020" y="594"/>
                  </a:lnTo>
                  <a:lnTo>
                    <a:pt x="1008" y="594"/>
                  </a:lnTo>
                  <a:lnTo>
                    <a:pt x="1002" y="600"/>
                  </a:lnTo>
                  <a:lnTo>
                    <a:pt x="996" y="612"/>
                  </a:lnTo>
                  <a:lnTo>
                    <a:pt x="996" y="624"/>
                  </a:lnTo>
                  <a:lnTo>
                    <a:pt x="996" y="648"/>
                  </a:lnTo>
                  <a:lnTo>
                    <a:pt x="996" y="660"/>
                  </a:lnTo>
                  <a:lnTo>
                    <a:pt x="1002" y="672"/>
                  </a:lnTo>
                  <a:lnTo>
                    <a:pt x="1002" y="684"/>
                  </a:lnTo>
                  <a:lnTo>
                    <a:pt x="996" y="684"/>
                  </a:lnTo>
                  <a:lnTo>
                    <a:pt x="984" y="690"/>
                  </a:lnTo>
                  <a:lnTo>
                    <a:pt x="972" y="690"/>
                  </a:lnTo>
                  <a:lnTo>
                    <a:pt x="966" y="696"/>
                  </a:lnTo>
                  <a:lnTo>
                    <a:pt x="966" y="702"/>
                  </a:lnTo>
                  <a:lnTo>
                    <a:pt x="966" y="714"/>
                  </a:lnTo>
                  <a:lnTo>
                    <a:pt x="972" y="726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2" y="756"/>
                  </a:lnTo>
                  <a:lnTo>
                    <a:pt x="966" y="756"/>
                  </a:lnTo>
                  <a:lnTo>
                    <a:pt x="942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18" y="768"/>
                  </a:lnTo>
                  <a:lnTo>
                    <a:pt x="906" y="768"/>
                  </a:lnTo>
                  <a:lnTo>
                    <a:pt x="894" y="762"/>
                  </a:lnTo>
                  <a:lnTo>
                    <a:pt x="882" y="756"/>
                  </a:lnTo>
                  <a:lnTo>
                    <a:pt x="876" y="756"/>
                  </a:lnTo>
                  <a:lnTo>
                    <a:pt x="876" y="762"/>
                  </a:lnTo>
                  <a:lnTo>
                    <a:pt x="864" y="768"/>
                  </a:lnTo>
                  <a:lnTo>
                    <a:pt x="858" y="774"/>
                  </a:lnTo>
                  <a:lnTo>
                    <a:pt x="852" y="774"/>
                  </a:lnTo>
                  <a:lnTo>
                    <a:pt x="840" y="780"/>
                  </a:lnTo>
                  <a:lnTo>
                    <a:pt x="840" y="786"/>
                  </a:lnTo>
                  <a:lnTo>
                    <a:pt x="840" y="792"/>
                  </a:lnTo>
                  <a:lnTo>
                    <a:pt x="840" y="804"/>
                  </a:lnTo>
                  <a:lnTo>
                    <a:pt x="840" y="810"/>
                  </a:lnTo>
                  <a:lnTo>
                    <a:pt x="828" y="816"/>
                  </a:lnTo>
                  <a:lnTo>
                    <a:pt x="810" y="810"/>
                  </a:lnTo>
                  <a:lnTo>
                    <a:pt x="792" y="810"/>
                  </a:lnTo>
                  <a:lnTo>
                    <a:pt x="786" y="816"/>
                  </a:lnTo>
                  <a:lnTo>
                    <a:pt x="780" y="816"/>
                  </a:lnTo>
                  <a:lnTo>
                    <a:pt x="780" y="822"/>
                  </a:lnTo>
                  <a:lnTo>
                    <a:pt x="780" y="828"/>
                  </a:lnTo>
                  <a:lnTo>
                    <a:pt x="780" y="834"/>
                  </a:lnTo>
                  <a:lnTo>
                    <a:pt x="786" y="840"/>
                  </a:lnTo>
                  <a:lnTo>
                    <a:pt x="786" y="846"/>
                  </a:lnTo>
                  <a:lnTo>
                    <a:pt x="786" y="852"/>
                  </a:lnTo>
                  <a:lnTo>
                    <a:pt x="780" y="858"/>
                  </a:lnTo>
                  <a:lnTo>
                    <a:pt x="768" y="858"/>
                  </a:lnTo>
                  <a:lnTo>
                    <a:pt x="762" y="864"/>
                  </a:lnTo>
                  <a:lnTo>
                    <a:pt x="756" y="864"/>
                  </a:lnTo>
                  <a:lnTo>
                    <a:pt x="750" y="870"/>
                  </a:lnTo>
                  <a:lnTo>
                    <a:pt x="744" y="876"/>
                  </a:lnTo>
                  <a:lnTo>
                    <a:pt x="732" y="876"/>
                  </a:lnTo>
                  <a:lnTo>
                    <a:pt x="726" y="876"/>
                  </a:lnTo>
                  <a:lnTo>
                    <a:pt x="720" y="870"/>
                  </a:lnTo>
                  <a:lnTo>
                    <a:pt x="714" y="864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6" y="876"/>
                  </a:lnTo>
                  <a:lnTo>
                    <a:pt x="696" y="882"/>
                  </a:lnTo>
                  <a:lnTo>
                    <a:pt x="696" y="894"/>
                  </a:lnTo>
                  <a:lnTo>
                    <a:pt x="690" y="900"/>
                  </a:lnTo>
                  <a:lnTo>
                    <a:pt x="684" y="900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54" y="888"/>
                  </a:lnTo>
                  <a:lnTo>
                    <a:pt x="654" y="882"/>
                  </a:lnTo>
                  <a:lnTo>
                    <a:pt x="642" y="876"/>
                  </a:lnTo>
                  <a:lnTo>
                    <a:pt x="636" y="876"/>
                  </a:lnTo>
                  <a:lnTo>
                    <a:pt x="630" y="876"/>
                  </a:lnTo>
                  <a:lnTo>
                    <a:pt x="630" y="870"/>
                  </a:lnTo>
                  <a:lnTo>
                    <a:pt x="618" y="858"/>
                  </a:lnTo>
                  <a:lnTo>
                    <a:pt x="612" y="858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06" y="876"/>
                  </a:lnTo>
                  <a:lnTo>
                    <a:pt x="606" y="882"/>
                  </a:lnTo>
                  <a:lnTo>
                    <a:pt x="606" y="888"/>
                  </a:lnTo>
                  <a:lnTo>
                    <a:pt x="600" y="894"/>
                  </a:lnTo>
                  <a:lnTo>
                    <a:pt x="594" y="894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76" y="894"/>
                  </a:lnTo>
                  <a:lnTo>
                    <a:pt x="582" y="900"/>
                  </a:lnTo>
                  <a:lnTo>
                    <a:pt x="576" y="906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64" y="918"/>
                  </a:lnTo>
                  <a:lnTo>
                    <a:pt x="558" y="918"/>
                  </a:lnTo>
                  <a:lnTo>
                    <a:pt x="558" y="912"/>
                  </a:lnTo>
                  <a:lnTo>
                    <a:pt x="552" y="906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06"/>
                  </a:lnTo>
                  <a:lnTo>
                    <a:pt x="534" y="906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0" y="924"/>
                  </a:lnTo>
                  <a:lnTo>
                    <a:pt x="504" y="924"/>
                  </a:lnTo>
                  <a:lnTo>
                    <a:pt x="498" y="930"/>
                  </a:lnTo>
                  <a:lnTo>
                    <a:pt x="492" y="924"/>
                  </a:lnTo>
                  <a:lnTo>
                    <a:pt x="486" y="930"/>
                  </a:lnTo>
                  <a:lnTo>
                    <a:pt x="480" y="942"/>
                  </a:lnTo>
                  <a:lnTo>
                    <a:pt x="468" y="948"/>
                  </a:lnTo>
                  <a:lnTo>
                    <a:pt x="444" y="942"/>
                  </a:lnTo>
                  <a:lnTo>
                    <a:pt x="438" y="954"/>
                  </a:lnTo>
                  <a:lnTo>
                    <a:pt x="426" y="954"/>
                  </a:lnTo>
                  <a:lnTo>
                    <a:pt x="420" y="948"/>
                  </a:lnTo>
                  <a:lnTo>
                    <a:pt x="408" y="936"/>
                  </a:lnTo>
                  <a:lnTo>
                    <a:pt x="396" y="936"/>
                  </a:lnTo>
                  <a:lnTo>
                    <a:pt x="390" y="930"/>
                  </a:lnTo>
                  <a:lnTo>
                    <a:pt x="390" y="924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66" y="924"/>
                  </a:lnTo>
                  <a:lnTo>
                    <a:pt x="360" y="924"/>
                  </a:lnTo>
                  <a:lnTo>
                    <a:pt x="348" y="918"/>
                  </a:lnTo>
                  <a:lnTo>
                    <a:pt x="342" y="906"/>
                  </a:lnTo>
                  <a:lnTo>
                    <a:pt x="336" y="906"/>
                  </a:lnTo>
                  <a:lnTo>
                    <a:pt x="330" y="906"/>
                  </a:lnTo>
                  <a:lnTo>
                    <a:pt x="312" y="906"/>
                  </a:lnTo>
                  <a:lnTo>
                    <a:pt x="312" y="900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888"/>
                  </a:lnTo>
                  <a:lnTo>
                    <a:pt x="312" y="882"/>
                  </a:lnTo>
                  <a:lnTo>
                    <a:pt x="306" y="876"/>
                  </a:lnTo>
                  <a:lnTo>
                    <a:pt x="312" y="876"/>
                  </a:lnTo>
                  <a:lnTo>
                    <a:pt x="312" y="870"/>
                  </a:lnTo>
                  <a:lnTo>
                    <a:pt x="318" y="876"/>
                  </a:lnTo>
                  <a:lnTo>
                    <a:pt x="318" y="870"/>
                  </a:lnTo>
                  <a:lnTo>
                    <a:pt x="324" y="876"/>
                  </a:lnTo>
                  <a:lnTo>
                    <a:pt x="330" y="876"/>
                  </a:lnTo>
                  <a:lnTo>
                    <a:pt x="336" y="876"/>
                  </a:lnTo>
                  <a:lnTo>
                    <a:pt x="342" y="876"/>
                  </a:lnTo>
                  <a:lnTo>
                    <a:pt x="336" y="876"/>
                  </a:lnTo>
                  <a:lnTo>
                    <a:pt x="330" y="870"/>
                  </a:lnTo>
                  <a:lnTo>
                    <a:pt x="324" y="870"/>
                  </a:lnTo>
                  <a:lnTo>
                    <a:pt x="318" y="870"/>
                  </a:lnTo>
                  <a:lnTo>
                    <a:pt x="312" y="870"/>
                  </a:lnTo>
                  <a:lnTo>
                    <a:pt x="318" y="864"/>
                  </a:lnTo>
                  <a:lnTo>
                    <a:pt x="318" y="858"/>
                  </a:lnTo>
                  <a:lnTo>
                    <a:pt x="318" y="852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6" y="846"/>
                  </a:lnTo>
                  <a:lnTo>
                    <a:pt x="312" y="828"/>
                  </a:lnTo>
                  <a:lnTo>
                    <a:pt x="312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06" y="816"/>
                  </a:lnTo>
                  <a:lnTo>
                    <a:pt x="306" y="810"/>
                  </a:lnTo>
                  <a:lnTo>
                    <a:pt x="306" y="816"/>
                  </a:lnTo>
                  <a:lnTo>
                    <a:pt x="312" y="822"/>
                  </a:lnTo>
                  <a:lnTo>
                    <a:pt x="306" y="822"/>
                  </a:lnTo>
                  <a:lnTo>
                    <a:pt x="306" y="828"/>
                  </a:lnTo>
                  <a:lnTo>
                    <a:pt x="306" y="834"/>
                  </a:lnTo>
                  <a:lnTo>
                    <a:pt x="300" y="840"/>
                  </a:lnTo>
                  <a:lnTo>
                    <a:pt x="300" y="846"/>
                  </a:lnTo>
                  <a:lnTo>
                    <a:pt x="306" y="852"/>
                  </a:lnTo>
                  <a:lnTo>
                    <a:pt x="306" y="858"/>
                  </a:lnTo>
                  <a:lnTo>
                    <a:pt x="312" y="858"/>
                  </a:lnTo>
                  <a:lnTo>
                    <a:pt x="312" y="864"/>
                  </a:lnTo>
                  <a:lnTo>
                    <a:pt x="306" y="864"/>
                  </a:lnTo>
                  <a:lnTo>
                    <a:pt x="300" y="864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82" y="870"/>
                  </a:lnTo>
                  <a:lnTo>
                    <a:pt x="276" y="870"/>
                  </a:lnTo>
                  <a:lnTo>
                    <a:pt x="270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8" y="870"/>
                  </a:lnTo>
                  <a:lnTo>
                    <a:pt x="252" y="870"/>
                  </a:lnTo>
                  <a:lnTo>
                    <a:pt x="252" y="864"/>
                  </a:lnTo>
                  <a:lnTo>
                    <a:pt x="246" y="858"/>
                  </a:lnTo>
                  <a:lnTo>
                    <a:pt x="246" y="852"/>
                  </a:lnTo>
                  <a:lnTo>
                    <a:pt x="246" y="846"/>
                  </a:lnTo>
                  <a:lnTo>
                    <a:pt x="246" y="840"/>
                  </a:lnTo>
                  <a:lnTo>
                    <a:pt x="246" y="834"/>
                  </a:lnTo>
                  <a:lnTo>
                    <a:pt x="246" y="828"/>
                  </a:lnTo>
                  <a:lnTo>
                    <a:pt x="246" y="822"/>
                  </a:lnTo>
                  <a:lnTo>
                    <a:pt x="240" y="816"/>
                  </a:lnTo>
                  <a:lnTo>
                    <a:pt x="240" y="810"/>
                  </a:lnTo>
                  <a:lnTo>
                    <a:pt x="240" y="804"/>
                  </a:lnTo>
                  <a:lnTo>
                    <a:pt x="240" y="798"/>
                  </a:lnTo>
                  <a:lnTo>
                    <a:pt x="234" y="798"/>
                  </a:lnTo>
                  <a:lnTo>
                    <a:pt x="234" y="792"/>
                  </a:lnTo>
                  <a:lnTo>
                    <a:pt x="234" y="786"/>
                  </a:lnTo>
                  <a:lnTo>
                    <a:pt x="234" y="780"/>
                  </a:lnTo>
                  <a:lnTo>
                    <a:pt x="228" y="780"/>
                  </a:lnTo>
                  <a:lnTo>
                    <a:pt x="228" y="774"/>
                  </a:lnTo>
                  <a:lnTo>
                    <a:pt x="228" y="768"/>
                  </a:lnTo>
                  <a:lnTo>
                    <a:pt x="222" y="762"/>
                  </a:lnTo>
                  <a:lnTo>
                    <a:pt x="222" y="756"/>
                  </a:lnTo>
                  <a:lnTo>
                    <a:pt x="222" y="750"/>
                  </a:lnTo>
                  <a:lnTo>
                    <a:pt x="222" y="744"/>
                  </a:lnTo>
                  <a:lnTo>
                    <a:pt x="222" y="738"/>
                  </a:lnTo>
                  <a:lnTo>
                    <a:pt x="216" y="732"/>
                  </a:lnTo>
                  <a:lnTo>
                    <a:pt x="222" y="732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32"/>
                  </a:lnTo>
                  <a:lnTo>
                    <a:pt x="246" y="732"/>
                  </a:lnTo>
                  <a:lnTo>
                    <a:pt x="246" y="738"/>
                  </a:lnTo>
                  <a:lnTo>
                    <a:pt x="252" y="738"/>
                  </a:lnTo>
                  <a:lnTo>
                    <a:pt x="258" y="738"/>
                  </a:lnTo>
                  <a:lnTo>
                    <a:pt x="258" y="732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8" y="732"/>
                  </a:lnTo>
                  <a:lnTo>
                    <a:pt x="294" y="732"/>
                  </a:lnTo>
                  <a:lnTo>
                    <a:pt x="300" y="732"/>
                  </a:lnTo>
                  <a:lnTo>
                    <a:pt x="300" y="738"/>
                  </a:lnTo>
                  <a:lnTo>
                    <a:pt x="306" y="738"/>
                  </a:lnTo>
                  <a:lnTo>
                    <a:pt x="306" y="744"/>
                  </a:lnTo>
                  <a:lnTo>
                    <a:pt x="306" y="750"/>
                  </a:lnTo>
                  <a:lnTo>
                    <a:pt x="312" y="750"/>
                  </a:lnTo>
                  <a:lnTo>
                    <a:pt x="312" y="756"/>
                  </a:lnTo>
                  <a:lnTo>
                    <a:pt x="318" y="756"/>
                  </a:lnTo>
                  <a:lnTo>
                    <a:pt x="318" y="750"/>
                  </a:lnTo>
                  <a:lnTo>
                    <a:pt x="312" y="750"/>
                  </a:lnTo>
                  <a:lnTo>
                    <a:pt x="312" y="744"/>
                  </a:lnTo>
                  <a:lnTo>
                    <a:pt x="318" y="738"/>
                  </a:lnTo>
                  <a:lnTo>
                    <a:pt x="324" y="738"/>
                  </a:lnTo>
                  <a:lnTo>
                    <a:pt x="330" y="738"/>
                  </a:lnTo>
                  <a:lnTo>
                    <a:pt x="336" y="738"/>
                  </a:lnTo>
                  <a:lnTo>
                    <a:pt x="342" y="738"/>
                  </a:lnTo>
                  <a:lnTo>
                    <a:pt x="348" y="732"/>
                  </a:lnTo>
                  <a:lnTo>
                    <a:pt x="354" y="732"/>
                  </a:lnTo>
                  <a:lnTo>
                    <a:pt x="360" y="732"/>
                  </a:lnTo>
                  <a:lnTo>
                    <a:pt x="360" y="726"/>
                  </a:lnTo>
                  <a:lnTo>
                    <a:pt x="366" y="726"/>
                  </a:lnTo>
                  <a:lnTo>
                    <a:pt x="366" y="720"/>
                  </a:lnTo>
                  <a:lnTo>
                    <a:pt x="366" y="714"/>
                  </a:lnTo>
                  <a:lnTo>
                    <a:pt x="360" y="708"/>
                  </a:lnTo>
                  <a:lnTo>
                    <a:pt x="354" y="708"/>
                  </a:lnTo>
                  <a:lnTo>
                    <a:pt x="348" y="702"/>
                  </a:lnTo>
                  <a:lnTo>
                    <a:pt x="354" y="702"/>
                  </a:lnTo>
                  <a:lnTo>
                    <a:pt x="354" y="696"/>
                  </a:lnTo>
                  <a:lnTo>
                    <a:pt x="348" y="696"/>
                  </a:lnTo>
                  <a:lnTo>
                    <a:pt x="348" y="690"/>
                  </a:lnTo>
                  <a:lnTo>
                    <a:pt x="342" y="690"/>
                  </a:lnTo>
                  <a:lnTo>
                    <a:pt x="342" y="684"/>
                  </a:lnTo>
                  <a:lnTo>
                    <a:pt x="342" y="678"/>
                  </a:lnTo>
                  <a:lnTo>
                    <a:pt x="342" y="666"/>
                  </a:lnTo>
                  <a:lnTo>
                    <a:pt x="342" y="660"/>
                  </a:lnTo>
                  <a:lnTo>
                    <a:pt x="348" y="654"/>
                  </a:lnTo>
                  <a:lnTo>
                    <a:pt x="348" y="642"/>
                  </a:lnTo>
                  <a:lnTo>
                    <a:pt x="354" y="642"/>
                  </a:lnTo>
                  <a:lnTo>
                    <a:pt x="360" y="642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66" y="642"/>
                  </a:lnTo>
                  <a:lnTo>
                    <a:pt x="372" y="642"/>
                  </a:lnTo>
                  <a:lnTo>
                    <a:pt x="378" y="642"/>
                  </a:lnTo>
                  <a:lnTo>
                    <a:pt x="384" y="642"/>
                  </a:lnTo>
                  <a:lnTo>
                    <a:pt x="390" y="642"/>
                  </a:lnTo>
                  <a:lnTo>
                    <a:pt x="396" y="642"/>
                  </a:lnTo>
                  <a:lnTo>
                    <a:pt x="396" y="636"/>
                  </a:lnTo>
                  <a:lnTo>
                    <a:pt x="402" y="636"/>
                  </a:lnTo>
                  <a:lnTo>
                    <a:pt x="408" y="636"/>
                  </a:lnTo>
                  <a:lnTo>
                    <a:pt x="402" y="636"/>
                  </a:lnTo>
                  <a:lnTo>
                    <a:pt x="402" y="630"/>
                  </a:lnTo>
                  <a:lnTo>
                    <a:pt x="408" y="630"/>
                  </a:lnTo>
                  <a:lnTo>
                    <a:pt x="408" y="624"/>
                  </a:lnTo>
                  <a:lnTo>
                    <a:pt x="408" y="618"/>
                  </a:lnTo>
                  <a:lnTo>
                    <a:pt x="414" y="618"/>
                  </a:lnTo>
                  <a:lnTo>
                    <a:pt x="420" y="618"/>
                  </a:lnTo>
                  <a:lnTo>
                    <a:pt x="426" y="624"/>
                  </a:lnTo>
                  <a:lnTo>
                    <a:pt x="432" y="624"/>
                  </a:lnTo>
                  <a:lnTo>
                    <a:pt x="438" y="624"/>
                  </a:lnTo>
                  <a:lnTo>
                    <a:pt x="438" y="618"/>
                  </a:lnTo>
                  <a:lnTo>
                    <a:pt x="444" y="618"/>
                  </a:lnTo>
                  <a:lnTo>
                    <a:pt x="450" y="618"/>
                  </a:lnTo>
                  <a:lnTo>
                    <a:pt x="444" y="618"/>
                  </a:lnTo>
                  <a:lnTo>
                    <a:pt x="438" y="618"/>
                  </a:lnTo>
                  <a:lnTo>
                    <a:pt x="438" y="612"/>
                  </a:lnTo>
                  <a:lnTo>
                    <a:pt x="438" y="618"/>
                  </a:lnTo>
                  <a:lnTo>
                    <a:pt x="432" y="624"/>
                  </a:lnTo>
                  <a:lnTo>
                    <a:pt x="426" y="618"/>
                  </a:lnTo>
                  <a:lnTo>
                    <a:pt x="420" y="612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402" y="624"/>
                  </a:lnTo>
                  <a:lnTo>
                    <a:pt x="396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78" y="630"/>
                  </a:lnTo>
                  <a:lnTo>
                    <a:pt x="378" y="636"/>
                  </a:lnTo>
                  <a:lnTo>
                    <a:pt x="372" y="630"/>
                  </a:lnTo>
                  <a:lnTo>
                    <a:pt x="366" y="630"/>
                  </a:lnTo>
                  <a:lnTo>
                    <a:pt x="360" y="630"/>
                  </a:lnTo>
                  <a:lnTo>
                    <a:pt x="354" y="630"/>
                  </a:lnTo>
                  <a:lnTo>
                    <a:pt x="354" y="636"/>
                  </a:lnTo>
                  <a:lnTo>
                    <a:pt x="348" y="636"/>
                  </a:lnTo>
                  <a:lnTo>
                    <a:pt x="348" y="642"/>
                  </a:lnTo>
                  <a:lnTo>
                    <a:pt x="342" y="642"/>
                  </a:lnTo>
                  <a:lnTo>
                    <a:pt x="342" y="648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6" y="660"/>
                  </a:lnTo>
                  <a:lnTo>
                    <a:pt x="336" y="666"/>
                  </a:lnTo>
                  <a:lnTo>
                    <a:pt x="330" y="672"/>
                  </a:lnTo>
                  <a:lnTo>
                    <a:pt x="330" y="678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24" y="696"/>
                  </a:lnTo>
                  <a:lnTo>
                    <a:pt x="324" y="702"/>
                  </a:lnTo>
                  <a:lnTo>
                    <a:pt x="318" y="702"/>
                  </a:lnTo>
                  <a:lnTo>
                    <a:pt x="318" y="708"/>
                  </a:lnTo>
                  <a:lnTo>
                    <a:pt x="312" y="708"/>
                  </a:lnTo>
                  <a:lnTo>
                    <a:pt x="312" y="702"/>
                  </a:lnTo>
                  <a:lnTo>
                    <a:pt x="306" y="702"/>
                  </a:lnTo>
                  <a:lnTo>
                    <a:pt x="300" y="702"/>
                  </a:lnTo>
                  <a:lnTo>
                    <a:pt x="294" y="696"/>
                  </a:lnTo>
                  <a:lnTo>
                    <a:pt x="288" y="696"/>
                  </a:lnTo>
                  <a:lnTo>
                    <a:pt x="282" y="690"/>
                  </a:lnTo>
                  <a:lnTo>
                    <a:pt x="288" y="684"/>
                  </a:lnTo>
                  <a:lnTo>
                    <a:pt x="294" y="684"/>
                  </a:lnTo>
                  <a:lnTo>
                    <a:pt x="294" y="678"/>
                  </a:lnTo>
                  <a:lnTo>
                    <a:pt x="300" y="678"/>
                  </a:lnTo>
                  <a:lnTo>
                    <a:pt x="294" y="678"/>
                  </a:lnTo>
                  <a:lnTo>
                    <a:pt x="294" y="672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94" y="672"/>
                  </a:lnTo>
                  <a:lnTo>
                    <a:pt x="288" y="678"/>
                  </a:lnTo>
                  <a:lnTo>
                    <a:pt x="282" y="684"/>
                  </a:lnTo>
                  <a:lnTo>
                    <a:pt x="282" y="678"/>
                  </a:lnTo>
                  <a:lnTo>
                    <a:pt x="276" y="678"/>
                  </a:lnTo>
                  <a:lnTo>
                    <a:pt x="282" y="684"/>
                  </a:lnTo>
                  <a:lnTo>
                    <a:pt x="282" y="690"/>
                  </a:lnTo>
                  <a:lnTo>
                    <a:pt x="282" y="696"/>
                  </a:lnTo>
                  <a:lnTo>
                    <a:pt x="288" y="702"/>
                  </a:lnTo>
                  <a:lnTo>
                    <a:pt x="294" y="708"/>
                  </a:lnTo>
                  <a:lnTo>
                    <a:pt x="294" y="714"/>
                  </a:lnTo>
                  <a:lnTo>
                    <a:pt x="288" y="714"/>
                  </a:lnTo>
                  <a:lnTo>
                    <a:pt x="282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64" y="714"/>
                  </a:lnTo>
                  <a:lnTo>
                    <a:pt x="258" y="714"/>
                  </a:lnTo>
                  <a:lnTo>
                    <a:pt x="252" y="714"/>
                  </a:lnTo>
                  <a:lnTo>
                    <a:pt x="246" y="714"/>
                  </a:lnTo>
                  <a:lnTo>
                    <a:pt x="240" y="714"/>
                  </a:lnTo>
                  <a:lnTo>
                    <a:pt x="240" y="708"/>
                  </a:lnTo>
                  <a:lnTo>
                    <a:pt x="234" y="708"/>
                  </a:lnTo>
                  <a:lnTo>
                    <a:pt x="228" y="708"/>
                  </a:lnTo>
                  <a:lnTo>
                    <a:pt x="222" y="702"/>
                  </a:lnTo>
                  <a:lnTo>
                    <a:pt x="216" y="702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2" y="690"/>
                  </a:lnTo>
                  <a:lnTo>
                    <a:pt x="186" y="690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68" y="684"/>
                  </a:lnTo>
                  <a:lnTo>
                    <a:pt x="168" y="678"/>
                  </a:lnTo>
                  <a:lnTo>
                    <a:pt x="156" y="672"/>
                  </a:lnTo>
                  <a:lnTo>
                    <a:pt x="150" y="660"/>
                  </a:lnTo>
                  <a:lnTo>
                    <a:pt x="126" y="630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12"/>
                  </a:lnTo>
                  <a:lnTo>
                    <a:pt x="126" y="606"/>
                  </a:lnTo>
                  <a:lnTo>
                    <a:pt x="126" y="600"/>
                  </a:lnTo>
                  <a:lnTo>
                    <a:pt x="132" y="594"/>
                  </a:lnTo>
                  <a:lnTo>
                    <a:pt x="138" y="594"/>
                  </a:lnTo>
                  <a:lnTo>
                    <a:pt x="144" y="588"/>
                  </a:lnTo>
                  <a:lnTo>
                    <a:pt x="144" y="582"/>
                  </a:lnTo>
                  <a:lnTo>
                    <a:pt x="150" y="582"/>
                  </a:lnTo>
                  <a:lnTo>
                    <a:pt x="150" y="576"/>
                  </a:lnTo>
                  <a:lnTo>
                    <a:pt x="156" y="576"/>
                  </a:lnTo>
                  <a:lnTo>
                    <a:pt x="156" y="582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8" y="576"/>
                  </a:lnTo>
                  <a:lnTo>
                    <a:pt x="174" y="576"/>
                  </a:lnTo>
                  <a:lnTo>
                    <a:pt x="180" y="582"/>
                  </a:lnTo>
                  <a:lnTo>
                    <a:pt x="192" y="582"/>
                  </a:lnTo>
                  <a:lnTo>
                    <a:pt x="198" y="582"/>
                  </a:lnTo>
                  <a:lnTo>
                    <a:pt x="204" y="582"/>
                  </a:lnTo>
                  <a:lnTo>
                    <a:pt x="210" y="582"/>
                  </a:lnTo>
                  <a:lnTo>
                    <a:pt x="216" y="588"/>
                  </a:lnTo>
                  <a:lnTo>
                    <a:pt x="222" y="588"/>
                  </a:lnTo>
                  <a:lnTo>
                    <a:pt x="234" y="588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46" y="594"/>
                  </a:lnTo>
                  <a:lnTo>
                    <a:pt x="252" y="588"/>
                  </a:lnTo>
                  <a:lnTo>
                    <a:pt x="258" y="588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52" y="600"/>
                  </a:lnTo>
                  <a:lnTo>
                    <a:pt x="246" y="600"/>
                  </a:lnTo>
                  <a:lnTo>
                    <a:pt x="246" y="606"/>
                  </a:lnTo>
                  <a:lnTo>
                    <a:pt x="246" y="600"/>
                  </a:lnTo>
                  <a:lnTo>
                    <a:pt x="252" y="600"/>
                  </a:lnTo>
                  <a:lnTo>
                    <a:pt x="258" y="594"/>
                  </a:lnTo>
                  <a:lnTo>
                    <a:pt x="264" y="594"/>
                  </a:lnTo>
                  <a:lnTo>
                    <a:pt x="264" y="588"/>
                  </a:lnTo>
                  <a:lnTo>
                    <a:pt x="270" y="588"/>
                  </a:lnTo>
                  <a:lnTo>
                    <a:pt x="270" y="582"/>
                  </a:lnTo>
                  <a:lnTo>
                    <a:pt x="270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76" y="564"/>
                  </a:lnTo>
                  <a:lnTo>
                    <a:pt x="270" y="558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58"/>
                  </a:lnTo>
                  <a:lnTo>
                    <a:pt x="282" y="558"/>
                  </a:lnTo>
                  <a:lnTo>
                    <a:pt x="288" y="558"/>
                  </a:lnTo>
                  <a:lnTo>
                    <a:pt x="294" y="558"/>
                  </a:lnTo>
                  <a:lnTo>
                    <a:pt x="300" y="558"/>
                  </a:lnTo>
                  <a:lnTo>
                    <a:pt x="306" y="558"/>
                  </a:lnTo>
                  <a:lnTo>
                    <a:pt x="312" y="558"/>
                  </a:lnTo>
                  <a:lnTo>
                    <a:pt x="318" y="558"/>
                  </a:lnTo>
                  <a:lnTo>
                    <a:pt x="318" y="564"/>
                  </a:lnTo>
                  <a:lnTo>
                    <a:pt x="324" y="564"/>
                  </a:lnTo>
                  <a:lnTo>
                    <a:pt x="324" y="570"/>
                  </a:lnTo>
                  <a:lnTo>
                    <a:pt x="330" y="570"/>
                  </a:lnTo>
                  <a:lnTo>
                    <a:pt x="336" y="570"/>
                  </a:lnTo>
                  <a:lnTo>
                    <a:pt x="342" y="570"/>
                  </a:lnTo>
                  <a:lnTo>
                    <a:pt x="348" y="570"/>
                  </a:lnTo>
                  <a:lnTo>
                    <a:pt x="354" y="570"/>
                  </a:lnTo>
                  <a:lnTo>
                    <a:pt x="360" y="570"/>
                  </a:lnTo>
                  <a:lnTo>
                    <a:pt x="366" y="570"/>
                  </a:lnTo>
                  <a:lnTo>
                    <a:pt x="360" y="570"/>
                  </a:lnTo>
                  <a:lnTo>
                    <a:pt x="360" y="564"/>
                  </a:lnTo>
                  <a:lnTo>
                    <a:pt x="354" y="564"/>
                  </a:lnTo>
                  <a:lnTo>
                    <a:pt x="348" y="564"/>
                  </a:lnTo>
                  <a:lnTo>
                    <a:pt x="342" y="564"/>
                  </a:lnTo>
                  <a:lnTo>
                    <a:pt x="342" y="570"/>
                  </a:lnTo>
                  <a:lnTo>
                    <a:pt x="336" y="564"/>
                  </a:lnTo>
                  <a:lnTo>
                    <a:pt x="336" y="570"/>
                  </a:lnTo>
                  <a:lnTo>
                    <a:pt x="336" y="564"/>
                  </a:lnTo>
                  <a:lnTo>
                    <a:pt x="330" y="564"/>
                  </a:lnTo>
                  <a:lnTo>
                    <a:pt x="324" y="558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18" y="558"/>
                  </a:lnTo>
                  <a:lnTo>
                    <a:pt x="312" y="552"/>
                  </a:lnTo>
                  <a:lnTo>
                    <a:pt x="312" y="558"/>
                  </a:lnTo>
                  <a:lnTo>
                    <a:pt x="312" y="552"/>
                  </a:lnTo>
                  <a:lnTo>
                    <a:pt x="306" y="552"/>
                  </a:lnTo>
                  <a:lnTo>
                    <a:pt x="300" y="546"/>
                  </a:lnTo>
                  <a:lnTo>
                    <a:pt x="294" y="546"/>
                  </a:lnTo>
                  <a:lnTo>
                    <a:pt x="288" y="546"/>
                  </a:lnTo>
                  <a:lnTo>
                    <a:pt x="282" y="546"/>
                  </a:lnTo>
                  <a:lnTo>
                    <a:pt x="276" y="546"/>
                  </a:lnTo>
                  <a:lnTo>
                    <a:pt x="276" y="552"/>
                  </a:lnTo>
                  <a:lnTo>
                    <a:pt x="270" y="552"/>
                  </a:lnTo>
                  <a:lnTo>
                    <a:pt x="270" y="558"/>
                  </a:lnTo>
                  <a:lnTo>
                    <a:pt x="270" y="564"/>
                  </a:lnTo>
                  <a:lnTo>
                    <a:pt x="264" y="570"/>
                  </a:lnTo>
                  <a:lnTo>
                    <a:pt x="258" y="576"/>
                  </a:lnTo>
                  <a:lnTo>
                    <a:pt x="258" y="582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34" y="576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16" y="552"/>
                  </a:lnTo>
                  <a:lnTo>
                    <a:pt x="216" y="546"/>
                  </a:lnTo>
                  <a:lnTo>
                    <a:pt x="216" y="540"/>
                  </a:lnTo>
                  <a:lnTo>
                    <a:pt x="222" y="534"/>
                  </a:lnTo>
                  <a:lnTo>
                    <a:pt x="222" y="528"/>
                  </a:lnTo>
                  <a:lnTo>
                    <a:pt x="228" y="522"/>
                  </a:lnTo>
                  <a:lnTo>
                    <a:pt x="228" y="516"/>
                  </a:lnTo>
                  <a:lnTo>
                    <a:pt x="228" y="510"/>
                  </a:lnTo>
                  <a:lnTo>
                    <a:pt x="234" y="510"/>
                  </a:lnTo>
                  <a:lnTo>
                    <a:pt x="240" y="516"/>
                  </a:lnTo>
                  <a:lnTo>
                    <a:pt x="246" y="522"/>
                  </a:lnTo>
                  <a:lnTo>
                    <a:pt x="246" y="516"/>
                  </a:lnTo>
                  <a:lnTo>
                    <a:pt x="240" y="516"/>
                  </a:lnTo>
                  <a:lnTo>
                    <a:pt x="240" y="510"/>
                  </a:lnTo>
                  <a:lnTo>
                    <a:pt x="234" y="510"/>
                  </a:lnTo>
                  <a:lnTo>
                    <a:pt x="234" y="504"/>
                  </a:lnTo>
                  <a:lnTo>
                    <a:pt x="228" y="504"/>
                  </a:lnTo>
                  <a:lnTo>
                    <a:pt x="222" y="504"/>
                  </a:lnTo>
                  <a:lnTo>
                    <a:pt x="222" y="498"/>
                  </a:lnTo>
                  <a:lnTo>
                    <a:pt x="222" y="504"/>
                  </a:lnTo>
                  <a:lnTo>
                    <a:pt x="222" y="510"/>
                  </a:lnTo>
                  <a:lnTo>
                    <a:pt x="222" y="516"/>
                  </a:lnTo>
                  <a:lnTo>
                    <a:pt x="216" y="522"/>
                  </a:lnTo>
                  <a:lnTo>
                    <a:pt x="216" y="528"/>
                  </a:lnTo>
                  <a:lnTo>
                    <a:pt x="210" y="528"/>
                  </a:lnTo>
                  <a:lnTo>
                    <a:pt x="216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04" y="546"/>
                  </a:lnTo>
                  <a:lnTo>
                    <a:pt x="204" y="552"/>
                  </a:lnTo>
                  <a:lnTo>
                    <a:pt x="204" y="558"/>
                  </a:lnTo>
                  <a:lnTo>
                    <a:pt x="204" y="564"/>
                  </a:lnTo>
                  <a:lnTo>
                    <a:pt x="198" y="570"/>
                  </a:lnTo>
                  <a:lnTo>
                    <a:pt x="192" y="564"/>
                  </a:lnTo>
                  <a:lnTo>
                    <a:pt x="186" y="564"/>
                  </a:lnTo>
                  <a:lnTo>
                    <a:pt x="180" y="564"/>
                  </a:lnTo>
                  <a:lnTo>
                    <a:pt x="174" y="564"/>
                  </a:lnTo>
                  <a:lnTo>
                    <a:pt x="168" y="564"/>
                  </a:lnTo>
                  <a:lnTo>
                    <a:pt x="162" y="564"/>
                  </a:lnTo>
                  <a:lnTo>
                    <a:pt x="156" y="570"/>
                  </a:lnTo>
                  <a:lnTo>
                    <a:pt x="150" y="570"/>
                  </a:lnTo>
                  <a:lnTo>
                    <a:pt x="150" y="564"/>
                  </a:lnTo>
                  <a:lnTo>
                    <a:pt x="150" y="570"/>
                  </a:lnTo>
                  <a:lnTo>
                    <a:pt x="150" y="576"/>
                  </a:lnTo>
                  <a:lnTo>
                    <a:pt x="144" y="576"/>
                  </a:lnTo>
                  <a:lnTo>
                    <a:pt x="138" y="576"/>
                  </a:lnTo>
                  <a:lnTo>
                    <a:pt x="132" y="582"/>
                  </a:lnTo>
                  <a:lnTo>
                    <a:pt x="126" y="582"/>
                  </a:lnTo>
                  <a:lnTo>
                    <a:pt x="120" y="582"/>
                  </a:lnTo>
                  <a:lnTo>
                    <a:pt x="114" y="576"/>
                  </a:lnTo>
                  <a:lnTo>
                    <a:pt x="108" y="564"/>
                  </a:lnTo>
                  <a:lnTo>
                    <a:pt x="102" y="558"/>
                  </a:lnTo>
                  <a:lnTo>
                    <a:pt x="96" y="552"/>
                  </a:lnTo>
                  <a:lnTo>
                    <a:pt x="90" y="546"/>
                  </a:lnTo>
                  <a:lnTo>
                    <a:pt x="90" y="540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2"/>
                  </a:lnTo>
                  <a:lnTo>
                    <a:pt x="78" y="516"/>
                  </a:lnTo>
                  <a:lnTo>
                    <a:pt x="72" y="510"/>
                  </a:lnTo>
                  <a:lnTo>
                    <a:pt x="66" y="504"/>
                  </a:lnTo>
                  <a:lnTo>
                    <a:pt x="66" y="498"/>
                  </a:lnTo>
                  <a:lnTo>
                    <a:pt x="66" y="492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6" y="474"/>
                  </a:lnTo>
                  <a:lnTo>
                    <a:pt x="72" y="474"/>
                  </a:lnTo>
                  <a:lnTo>
                    <a:pt x="72" y="468"/>
                  </a:lnTo>
                  <a:lnTo>
                    <a:pt x="78" y="462"/>
                  </a:lnTo>
                  <a:lnTo>
                    <a:pt x="78" y="456"/>
                  </a:lnTo>
                  <a:lnTo>
                    <a:pt x="84" y="456"/>
                  </a:lnTo>
                  <a:lnTo>
                    <a:pt x="84" y="450"/>
                  </a:lnTo>
                  <a:lnTo>
                    <a:pt x="84" y="444"/>
                  </a:lnTo>
                  <a:lnTo>
                    <a:pt x="90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02" y="450"/>
                  </a:lnTo>
                  <a:lnTo>
                    <a:pt x="108" y="450"/>
                  </a:lnTo>
                  <a:lnTo>
                    <a:pt x="108" y="456"/>
                  </a:lnTo>
                  <a:lnTo>
                    <a:pt x="108" y="462"/>
                  </a:lnTo>
                  <a:lnTo>
                    <a:pt x="114" y="462"/>
                  </a:lnTo>
                  <a:lnTo>
                    <a:pt x="114" y="468"/>
                  </a:lnTo>
                  <a:lnTo>
                    <a:pt x="114" y="474"/>
                  </a:lnTo>
                  <a:lnTo>
                    <a:pt x="114" y="480"/>
                  </a:lnTo>
                  <a:lnTo>
                    <a:pt x="114" y="486"/>
                  </a:lnTo>
                  <a:lnTo>
                    <a:pt x="120" y="486"/>
                  </a:lnTo>
                  <a:lnTo>
                    <a:pt x="126" y="486"/>
                  </a:lnTo>
                  <a:lnTo>
                    <a:pt x="132" y="486"/>
                  </a:lnTo>
                  <a:lnTo>
                    <a:pt x="126" y="480"/>
                  </a:lnTo>
                  <a:lnTo>
                    <a:pt x="120" y="480"/>
                  </a:lnTo>
                  <a:lnTo>
                    <a:pt x="114" y="480"/>
                  </a:lnTo>
                  <a:lnTo>
                    <a:pt x="120" y="480"/>
                  </a:lnTo>
                  <a:lnTo>
                    <a:pt x="120" y="474"/>
                  </a:lnTo>
                  <a:lnTo>
                    <a:pt x="120" y="468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108" y="450"/>
                  </a:lnTo>
                  <a:lnTo>
                    <a:pt x="108" y="444"/>
                  </a:lnTo>
                  <a:lnTo>
                    <a:pt x="114" y="438"/>
                  </a:lnTo>
                  <a:lnTo>
                    <a:pt x="120" y="438"/>
                  </a:lnTo>
                  <a:lnTo>
                    <a:pt x="120" y="432"/>
                  </a:lnTo>
                  <a:lnTo>
                    <a:pt x="132" y="426"/>
                  </a:lnTo>
                  <a:lnTo>
                    <a:pt x="138" y="420"/>
                  </a:lnTo>
                  <a:lnTo>
                    <a:pt x="144" y="420"/>
                  </a:lnTo>
                  <a:lnTo>
                    <a:pt x="144" y="414"/>
                  </a:lnTo>
                  <a:lnTo>
                    <a:pt x="144" y="420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6" y="414"/>
                  </a:lnTo>
                  <a:lnTo>
                    <a:pt x="162" y="414"/>
                  </a:lnTo>
                  <a:lnTo>
                    <a:pt x="162" y="408"/>
                  </a:lnTo>
                  <a:lnTo>
                    <a:pt x="168" y="408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86" y="396"/>
                  </a:lnTo>
                  <a:lnTo>
                    <a:pt x="186" y="390"/>
                  </a:lnTo>
                  <a:lnTo>
                    <a:pt x="192" y="390"/>
                  </a:lnTo>
                  <a:lnTo>
                    <a:pt x="198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210" y="378"/>
                  </a:lnTo>
                  <a:lnTo>
                    <a:pt x="210" y="372"/>
                  </a:lnTo>
                  <a:lnTo>
                    <a:pt x="216" y="372"/>
                  </a:lnTo>
                  <a:lnTo>
                    <a:pt x="222" y="366"/>
                  </a:lnTo>
                  <a:lnTo>
                    <a:pt x="228" y="360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6" y="348"/>
                  </a:lnTo>
                  <a:lnTo>
                    <a:pt x="252" y="348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0" y="342"/>
                  </a:lnTo>
                  <a:lnTo>
                    <a:pt x="234" y="342"/>
                  </a:lnTo>
                  <a:lnTo>
                    <a:pt x="228" y="336"/>
                  </a:lnTo>
                  <a:lnTo>
                    <a:pt x="222" y="336"/>
                  </a:lnTo>
                  <a:lnTo>
                    <a:pt x="216" y="336"/>
                  </a:lnTo>
                  <a:lnTo>
                    <a:pt x="222" y="324"/>
                  </a:lnTo>
                  <a:lnTo>
                    <a:pt x="222" y="318"/>
                  </a:lnTo>
                  <a:lnTo>
                    <a:pt x="222" y="312"/>
                  </a:lnTo>
                  <a:lnTo>
                    <a:pt x="234" y="318"/>
                  </a:lnTo>
                  <a:lnTo>
                    <a:pt x="246" y="318"/>
                  </a:lnTo>
                  <a:lnTo>
                    <a:pt x="258" y="318"/>
                  </a:lnTo>
                  <a:lnTo>
                    <a:pt x="270" y="312"/>
                  </a:lnTo>
                  <a:lnTo>
                    <a:pt x="276" y="312"/>
                  </a:lnTo>
                  <a:lnTo>
                    <a:pt x="288" y="324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94" y="306"/>
                  </a:lnTo>
                  <a:lnTo>
                    <a:pt x="300" y="300"/>
                  </a:lnTo>
                  <a:lnTo>
                    <a:pt x="306" y="306"/>
                  </a:lnTo>
                  <a:lnTo>
                    <a:pt x="312" y="318"/>
                  </a:lnTo>
                  <a:lnTo>
                    <a:pt x="318" y="312"/>
                  </a:lnTo>
                  <a:lnTo>
                    <a:pt x="324" y="312"/>
                  </a:lnTo>
                  <a:lnTo>
                    <a:pt x="330" y="312"/>
                  </a:lnTo>
                  <a:lnTo>
                    <a:pt x="342" y="306"/>
                  </a:lnTo>
                  <a:lnTo>
                    <a:pt x="348" y="306"/>
                  </a:lnTo>
                  <a:lnTo>
                    <a:pt x="348" y="312"/>
                  </a:lnTo>
                  <a:lnTo>
                    <a:pt x="348" y="318"/>
                  </a:lnTo>
                  <a:lnTo>
                    <a:pt x="354" y="318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60" y="336"/>
                  </a:lnTo>
                  <a:lnTo>
                    <a:pt x="366" y="330"/>
                  </a:lnTo>
                  <a:lnTo>
                    <a:pt x="378" y="324"/>
                  </a:lnTo>
                  <a:lnTo>
                    <a:pt x="384" y="324"/>
                  </a:lnTo>
                  <a:lnTo>
                    <a:pt x="384" y="318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6"/>
                  </a:lnTo>
                  <a:lnTo>
                    <a:pt x="402" y="306"/>
                  </a:lnTo>
                  <a:lnTo>
                    <a:pt x="408" y="306"/>
                  </a:lnTo>
                  <a:lnTo>
                    <a:pt x="414" y="300"/>
                  </a:lnTo>
                  <a:lnTo>
                    <a:pt x="420" y="300"/>
                  </a:lnTo>
                  <a:lnTo>
                    <a:pt x="426" y="300"/>
                  </a:lnTo>
                  <a:lnTo>
                    <a:pt x="432" y="300"/>
                  </a:lnTo>
                  <a:lnTo>
                    <a:pt x="444" y="288"/>
                  </a:lnTo>
                  <a:lnTo>
                    <a:pt x="450" y="294"/>
                  </a:lnTo>
                  <a:lnTo>
                    <a:pt x="468" y="300"/>
                  </a:lnTo>
                  <a:lnTo>
                    <a:pt x="498" y="312"/>
                  </a:lnTo>
                  <a:lnTo>
                    <a:pt x="504" y="324"/>
                  </a:lnTo>
                  <a:lnTo>
                    <a:pt x="516" y="330"/>
                  </a:lnTo>
                  <a:lnTo>
                    <a:pt x="516" y="336"/>
                  </a:lnTo>
                  <a:lnTo>
                    <a:pt x="540" y="342"/>
                  </a:lnTo>
                  <a:lnTo>
                    <a:pt x="558" y="372"/>
                  </a:lnTo>
                  <a:lnTo>
                    <a:pt x="594" y="384"/>
                  </a:lnTo>
                  <a:lnTo>
                    <a:pt x="606" y="402"/>
                  </a:lnTo>
                  <a:lnTo>
                    <a:pt x="600" y="420"/>
                  </a:lnTo>
                  <a:lnTo>
                    <a:pt x="588" y="444"/>
                  </a:lnTo>
                  <a:lnTo>
                    <a:pt x="588" y="450"/>
                  </a:lnTo>
                  <a:lnTo>
                    <a:pt x="588" y="456"/>
                  </a:lnTo>
                  <a:lnTo>
                    <a:pt x="594" y="456"/>
                  </a:lnTo>
                  <a:lnTo>
                    <a:pt x="594" y="462"/>
                  </a:lnTo>
                  <a:lnTo>
                    <a:pt x="594" y="468"/>
                  </a:lnTo>
                  <a:lnTo>
                    <a:pt x="594" y="474"/>
                  </a:lnTo>
                  <a:lnTo>
                    <a:pt x="600" y="474"/>
                  </a:lnTo>
                  <a:lnTo>
                    <a:pt x="606" y="480"/>
                  </a:lnTo>
                  <a:lnTo>
                    <a:pt x="606" y="486"/>
                  </a:lnTo>
                  <a:lnTo>
                    <a:pt x="612" y="486"/>
                  </a:lnTo>
                  <a:lnTo>
                    <a:pt x="618" y="486"/>
                  </a:lnTo>
                  <a:lnTo>
                    <a:pt x="624" y="486"/>
                  </a:lnTo>
                  <a:lnTo>
                    <a:pt x="636" y="486"/>
                  </a:lnTo>
                  <a:lnTo>
                    <a:pt x="642" y="486"/>
                  </a:lnTo>
                  <a:lnTo>
                    <a:pt x="648" y="480"/>
                  </a:lnTo>
                  <a:lnTo>
                    <a:pt x="654" y="474"/>
                  </a:lnTo>
                  <a:lnTo>
                    <a:pt x="660" y="468"/>
                  </a:lnTo>
                  <a:lnTo>
                    <a:pt x="666" y="468"/>
                  </a:lnTo>
                  <a:lnTo>
                    <a:pt x="684" y="468"/>
                  </a:lnTo>
                  <a:lnTo>
                    <a:pt x="696" y="468"/>
                  </a:lnTo>
                  <a:lnTo>
                    <a:pt x="696" y="462"/>
                  </a:lnTo>
                  <a:lnTo>
                    <a:pt x="702" y="456"/>
                  </a:lnTo>
                  <a:lnTo>
                    <a:pt x="708" y="450"/>
                  </a:lnTo>
                  <a:lnTo>
                    <a:pt x="714" y="450"/>
                  </a:lnTo>
                  <a:lnTo>
                    <a:pt x="720" y="450"/>
                  </a:lnTo>
                  <a:lnTo>
                    <a:pt x="720" y="438"/>
                  </a:lnTo>
                  <a:lnTo>
                    <a:pt x="726" y="432"/>
                  </a:lnTo>
                  <a:lnTo>
                    <a:pt x="738" y="420"/>
                  </a:lnTo>
                  <a:lnTo>
                    <a:pt x="744" y="420"/>
                  </a:lnTo>
                  <a:lnTo>
                    <a:pt x="750" y="414"/>
                  </a:lnTo>
                  <a:lnTo>
                    <a:pt x="762" y="408"/>
                  </a:lnTo>
                  <a:lnTo>
                    <a:pt x="768" y="408"/>
                  </a:lnTo>
                  <a:lnTo>
                    <a:pt x="768" y="402"/>
                  </a:lnTo>
                  <a:lnTo>
                    <a:pt x="780" y="396"/>
                  </a:lnTo>
                  <a:lnTo>
                    <a:pt x="786" y="396"/>
                  </a:lnTo>
                  <a:lnTo>
                    <a:pt x="786" y="390"/>
                  </a:lnTo>
                  <a:lnTo>
                    <a:pt x="792" y="384"/>
                  </a:lnTo>
                  <a:lnTo>
                    <a:pt x="792" y="378"/>
                  </a:lnTo>
                  <a:lnTo>
                    <a:pt x="798" y="366"/>
                  </a:lnTo>
                  <a:lnTo>
                    <a:pt x="804" y="360"/>
                  </a:lnTo>
                  <a:lnTo>
                    <a:pt x="816" y="342"/>
                  </a:lnTo>
                  <a:lnTo>
                    <a:pt x="816" y="312"/>
                  </a:lnTo>
                  <a:lnTo>
                    <a:pt x="804" y="300"/>
                  </a:lnTo>
                  <a:lnTo>
                    <a:pt x="798" y="288"/>
                  </a:lnTo>
                  <a:lnTo>
                    <a:pt x="762" y="264"/>
                  </a:lnTo>
                  <a:lnTo>
                    <a:pt x="738" y="234"/>
                  </a:lnTo>
                  <a:lnTo>
                    <a:pt x="738" y="222"/>
                  </a:lnTo>
                  <a:lnTo>
                    <a:pt x="744" y="210"/>
                  </a:lnTo>
                  <a:lnTo>
                    <a:pt x="732" y="174"/>
                  </a:lnTo>
                  <a:lnTo>
                    <a:pt x="714" y="156"/>
                  </a:lnTo>
                  <a:lnTo>
                    <a:pt x="708" y="144"/>
                  </a:lnTo>
                  <a:lnTo>
                    <a:pt x="714" y="126"/>
                  </a:lnTo>
                  <a:lnTo>
                    <a:pt x="720" y="114"/>
                  </a:lnTo>
                  <a:lnTo>
                    <a:pt x="732" y="102"/>
                  </a:lnTo>
                  <a:lnTo>
                    <a:pt x="744" y="102"/>
                  </a:lnTo>
                  <a:lnTo>
                    <a:pt x="762" y="108"/>
                  </a:lnTo>
                  <a:lnTo>
                    <a:pt x="774" y="114"/>
                  </a:lnTo>
                  <a:lnTo>
                    <a:pt x="780" y="138"/>
                  </a:lnTo>
                  <a:lnTo>
                    <a:pt x="786" y="144"/>
                  </a:lnTo>
                  <a:lnTo>
                    <a:pt x="798" y="138"/>
                  </a:lnTo>
                  <a:lnTo>
                    <a:pt x="804" y="132"/>
                  </a:lnTo>
                  <a:lnTo>
                    <a:pt x="816" y="120"/>
                  </a:lnTo>
                  <a:lnTo>
                    <a:pt x="816" y="108"/>
                  </a:lnTo>
                  <a:lnTo>
                    <a:pt x="828" y="102"/>
                  </a:lnTo>
                  <a:lnTo>
                    <a:pt x="828" y="96"/>
                  </a:lnTo>
                  <a:lnTo>
                    <a:pt x="840" y="96"/>
                  </a:lnTo>
                  <a:lnTo>
                    <a:pt x="840" y="84"/>
                  </a:lnTo>
                  <a:lnTo>
                    <a:pt x="852" y="90"/>
                  </a:lnTo>
                  <a:lnTo>
                    <a:pt x="852" y="96"/>
                  </a:lnTo>
                  <a:lnTo>
                    <a:pt x="870" y="90"/>
                  </a:lnTo>
                  <a:lnTo>
                    <a:pt x="894" y="78"/>
                  </a:lnTo>
                  <a:lnTo>
                    <a:pt x="912" y="78"/>
                  </a:lnTo>
                  <a:lnTo>
                    <a:pt x="942" y="66"/>
                  </a:lnTo>
                  <a:lnTo>
                    <a:pt x="942" y="60"/>
                  </a:lnTo>
                  <a:lnTo>
                    <a:pt x="954" y="48"/>
                  </a:lnTo>
                  <a:lnTo>
                    <a:pt x="966" y="30"/>
                  </a:lnTo>
                  <a:lnTo>
                    <a:pt x="978" y="30"/>
                  </a:lnTo>
                  <a:lnTo>
                    <a:pt x="978" y="24"/>
                  </a:lnTo>
                  <a:lnTo>
                    <a:pt x="984" y="12"/>
                  </a:lnTo>
                  <a:lnTo>
                    <a:pt x="990" y="12"/>
                  </a:lnTo>
                  <a:lnTo>
                    <a:pt x="996" y="12"/>
                  </a:lnTo>
                  <a:lnTo>
                    <a:pt x="1014" y="6"/>
                  </a:lnTo>
                  <a:lnTo>
                    <a:pt x="1026" y="6"/>
                  </a:lnTo>
                  <a:lnTo>
                    <a:pt x="1044" y="6"/>
                  </a:lnTo>
                  <a:lnTo>
                    <a:pt x="1050" y="6"/>
                  </a:lnTo>
                  <a:lnTo>
                    <a:pt x="1056" y="6"/>
                  </a:lnTo>
                  <a:lnTo>
                    <a:pt x="1062" y="6"/>
                  </a:lnTo>
                  <a:lnTo>
                    <a:pt x="1068" y="6"/>
                  </a:lnTo>
                  <a:lnTo>
                    <a:pt x="1074" y="6"/>
                  </a:lnTo>
                  <a:lnTo>
                    <a:pt x="1080" y="6"/>
                  </a:lnTo>
                  <a:lnTo>
                    <a:pt x="1086" y="0"/>
                  </a:lnTo>
                  <a:lnTo>
                    <a:pt x="1092" y="30"/>
                  </a:lnTo>
                  <a:lnTo>
                    <a:pt x="1098" y="60"/>
                  </a:lnTo>
                  <a:lnTo>
                    <a:pt x="1110" y="84"/>
                  </a:lnTo>
                  <a:lnTo>
                    <a:pt x="1122" y="114"/>
                  </a:lnTo>
                  <a:lnTo>
                    <a:pt x="1128" y="144"/>
                  </a:lnTo>
                  <a:lnTo>
                    <a:pt x="1122" y="156"/>
                  </a:lnTo>
                  <a:lnTo>
                    <a:pt x="1128" y="168"/>
                  </a:lnTo>
                  <a:lnTo>
                    <a:pt x="1134" y="186"/>
                  </a:lnTo>
                  <a:lnTo>
                    <a:pt x="1140" y="204"/>
                  </a:lnTo>
                  <a:lnTo>
                    <a:pt x="1146" y="210"/>
                  </a:lnTo>
                  <a:lnTo>
                    <a:pt x="1146" y="216"/>
                  </a:lnTo>
                  <a:lnTo>
                    <a:pt x="1146" y="228"/>
                  </a:lnTo>
                  <a:lnTo>
                    <a:pt x="1146" y="234"/>
                  </a:lnTo>
                  <a:lnTo>
                    <a:pt x="1140" y="246"/>
                  </a:lnTo>
                  <a:lnTo>
                    <a:pt x="1128" y="258"/>
                  </a:lnTo>
                  <a:lnTo>
                    <a:pt x="1116" y="264"/>
                  </a:lnTo>
                  <a:lnTo>
                    <a:pt x="1110" y="276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2" y="312"/>
                  </a:lnTo>
                  <a:lnTo>
                    <a:pt x="1116" y="324"/>
                  </a:lnTo>
                  <a:lnTo>
                    <a:pt x="1104" y="336"/>
                  </a:lnTo>
                  <a:lnTo>
                    <a:pt x="1104" y="354"/>
                  </a:lnTo>
                  <a:lnTo>
                    <a:pt x="1098" y="372"/>
                  </a:lnTo>
                  <a:lnTo>
                    <a:pt x="1092" y="384"/>
                  </a:lnTo>
                  <a:lnTo>
                    <a:pt x="1086" y="390"/>
                  </a:lnTo>
                  <a:lnTo>
                    <a:pt x="1086" y="402"/>
                  </a:lnTo>
                  <a:lnTo>
                    <a:pt x="1080" y="414"/>
                  </a:lnTo>
                  <a:lnTo>
                    <a:pt x="1074" y="426"/>
                  </a:lnTo>
                  <a:lnTo>
                    <a:pt x="1074" y="450"/>
                  </a:lnTo>
                  <a:lnTo>
                    <a:pt x="1074" y="462"/>
                  </a:lnTo>
                  <a:lnTo>
                    <a:pt x="1068" y="474"/>
                  </a:lnTo>
                  <a:lnTo>
                    <a:pt x="1062" y="486"/>
                  </a:lnTo>
                  <a:lnTo>
                    <a:pt x="1056" y="498"/>
                  </a:lnTo>
                  <a:close/>
                  <a:moveTo>
                    <a:pt x="186" y="378"/>
                  </a:moveTo>
                  <a:lnTo>
                    <a:pt x="186" y="384"/>
                  </a:lnTo>
                  <a:lnTo>
                    <a:pt x="180" y="390"/>
                  </a:lnTo>
                  <a:lnTo>
                    <a:pt x="174" y="396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14"/>
                  </a:lnTo>
                  <a:lnTo>
                    <a:pt x="126" y="414"/>
                  </a:lnTo>
                  <a:lnTo>
                    <a:pt x="120" y="414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2" y="426"/>
                  </a:lnTo>
                  <a:lnTo>
                    <a:pt x="102" y="432"/>
                  </a:lnTo>
                  <a:lnTo>
                    <a:pt x="96" y="432"/>
                  </a:lnTo>
                  <a:lnTo>
                    <a:pt x="90" y="432"/>
                  </a:lnTo>
                  <a:lnTo>
                    <a:pt x="84" y="438"/>
                  </a:lnTo>
                  <a:lnTo>
                    <a:pt x="78" y="438"/>
                  </a:lnTo>
                  <a:lnTo>
                    <a:pt x="78" y="444"/>
                  </a:lnTo>
                  <a:lnTo>
                    <a:pt x="72" y="444"/>
                  </a:lnTo>
                  <a:lnTo>
                    <a:pt x="72" y="450"/>
                  </a:lnTo>
                  <a:lnTo>
                    <a:pt x="66" y="456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48" y="468"/>
                  </a:lnTo>
                  <a:lnTo>
                    <a:pt x="42" y="468"/>
                  </a:lnTo>
                  <a:lnTo>
                    <a:pt x="42" y="462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8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0" y="396"/>
                  </a:lnTo>
                  <a:lnTo>
                    <a:pt x="6" y="384"/>
                  </a:lnTo>
                  <a:lnTo>
                    <a:pt x="18" y="372"/>
                  </a:lnTo>
                  <a:lnTo>
                    <a:pt x="30" y="348"/>
                  </a:lnTo>
                  <a:lnTo>
                    <a:pt x="30" y="342"/>
                  </a:lnTo>
                  <a:lnTo>
                    <a:pt x="42" y="330"/>
                  </a:lnTo>
                  <a:lnTo>
                    <a:pt x="42" y="324"/>
                  </a:lnTo>
                  <a:lnTo>
                    <a:pt x="48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60" y="282"/>
                  </a:lnTo>
                  <a:lnTo>
                    <a:pt x="60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2" y="258"/>
                  </a:lnTo>
                  <a:lnTo>
                    <a:pt x="84" y="246"/>
                  </a:lnTo>
                  <a:lnTo>
                    <a:pt x="90" y="234"/>
                  </a:lnTo>
                  <a:lnTo>
                    <a:pt x="96" y="234"/>
                  </a:lnTo>
                  <a:lnTo>
                    <a:pt x="96" y="228"/>
                  </a:lnTo>
                  <a:lnTo>
                    <a:pt x="102" y="222"/>
                  </a:lnTo>
                  <a:lnTo>
                    <a:pt x="102" y="228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14" y="228"/>
                  </a:lnTo>
                  <a:lnTo>
                    <a:pt x="114" y="234"/>
                  </a:lnTo>
                  <a:lnTo>
                    <a:pt x="120" y="228"/>
                  </a:lnTo>
                  <a:lnTo>
                    <a:pt x="120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26" y="228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8" y="234"/>
                  </a:lnTo>
                  <a:lnTo>
                    <a:pt x="144" y="234"/>
                  </a:lnTo>
                  <a:lnTo>
                    <a:pt x="144" y="228"/>
                  </a:lnTo>
                  <a:lnTo>
                    <a:pt x="150" y="228"/>
                  </a:lnTo>
                  <a:lnTo>
                    <a:pt x="156" y="228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46"/>
                  </a:lnTo>
                  <a:lnTo>
                    <a:pt x="162" y="240"/>
                  </a:lnTo>
                  <a:lnTo>
                    <a:pt x="162" y="246"/>
                  </a:lnTo>
                  <a:lnTo>
                    <a:pt x="162" y="258"/>
                  </a:lnTo>
                  <a:lnTo>
                    <a:pt x="162" y="264"/>
                  </a:lnTo>
                  <a:lnTo>
                    <a:pt x="156" y="270"/>
                  </a:lnTo>
                  <a:lnTo>
                    <a:pt x="162" y="270"/>
                  </a:lnTo>
                  <a:lnTo>
                    <a:pt x="162" y="282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86" y="288"/>
                  </a:lnTo>
                  <a:lnTo>
                    <a:pt x="186" y="294"/>
                  </a:lnTo>
                  <a:lnTo>
                    <a:pt x="180" y="300"/>
                  </a:lnTo>
                  <a:lnTo>
                    <a:pt x="174" y="318"/>
                  </a:lnTo>
                  <a:lnTo>
                    <a:pt x="174" y="324"/>
                  </a:lnTo>
                  <a:lnTo>
                    <a:pt x="168" y="330"/>
                  </a:lnTo>
                  <a:lnTo>
                    <a:pt x="168" y="342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74" y="360"/>
                  </a:lnTo>
                  <a:lnTo>
                    <a:pt x="180" y="366"/>
                  </a:lnTo>
                  <a:lnTo>
                    <a:pt x="186" y="37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8" name="Freeform 23">
              <a:extLst>
                <a:ext uri="{FF2B5EF4-FFF2-40B4-BE49-F238E27FC236}">
                  <a16:creationId xmlns:a16="http://schemas.microsoft.com/office/drawing/2014/main" id="{A539A33E-3F6E-4AF7-BD88-1853165307F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6312" y="3604793"/>
              <a:ext cx="581410" cy="621747"/>
            </a:xfrm>
            <a:custGeom>
              <a:avLst/>
              <a:gdLst>
                <a:gd name="T0" fmla="*/ 90 w 1092"/>
                <a:gd name="T1" fmla="*/ 60 h 1170"/>
                <a:gd name="T2" fmla="*/ 83 w 1092"/>
                <a:gd name="T3" fmla="*/ 62 h 1170"/>
                <a:gd name="T4" fmla="*/ 72 w 1092"/>
                <a:gd name="T5" fmla="*/ 68 h 1170"/>
                <a:gd name="T6" fmla="*/ 68 w 1092"/>
                <a:gd name="T7" fmla="*/ 71 h 1170"/>
                <a:gd name="T8" fmla="*/ 61 w 1092"/>
                <a:gd name="T9" fmla="*/ 69 h 1170"/>
                <a:gd name="T10" fmla="*/ 64 w 1092"/>
                <a:gd name="T11" fmla="*/ 82 h 1170"/>
                <a:gd name="T12" fmla="*/ 67 w 1092"/>
                <a:gd name="T13" fmla="*/ 93 h 1170"/>
                <a:gd name="T14" fmla="*/ 62 w 1092"/>
                <a:gd name="T15" fmla="*/ 96 h 1170"/>
                <a:gd name="T16" fmla="*/ 59 w 1092"/>
                <a:gd name="T17" fmla="*/ 99 h 1170"/>
                <a:gd name="T18" fmla="*/ 53 w 1092"/>
                <a:gd name="T19" fmla="*/ 101 h 1170"/>
                <a:gd name="T20" fmla="*/ 50 w 1092"/>
                <a:gd name="T21" fmla="*/ 100 h 1170"/>
                <a:gd name="T22" fmla="*/ 50 w 1092"/>
                <a:gd name="T23" fmla="*/ 93 h 1170"/>
                <a:gd name="T24" fmla="*/ 37 w 1092"/>
                <a:gd name="T25" fmla="*/ 85 h 1170"/>
                <a:gd name="T26" fmla="*/ 32 w 1092"/>
                <a:gd name="T27" fmla="*/ 86 h 1170"/>
                <a:gd name="T28" fmla="*/ 29 w 1092"/>
                <a:gd name="T29" fmla="*/ 88 h 1170"/>
                <a:gd name="T30" fmla="*/ 27 w 1092"/>
                <a:gd name="T31" fmla="*/ 86 h 1170"/>
                <a:gd name="T32" fmla="*/ 23 w 1092"/>
                <a:gd name="T33" fmla="*/ 87 h 1170"/>
                <a:gd name="T34" fmla="*/ 17 w 1092"/>
                <a:gd name="T35" fmla="*/ 87 h 1170"/>
                <a:gd name="T36" fmla="*/ 18 w 1092"/>
                <a:gd name="T37" fmla="*/ 89 h 1170"/>
                <a:gd name="T38" fmla="*/ 16 w 1092"/>
                <a:gd name="T39" fmla="*/ 92 h 1170"/>
                <a:gd name="T40" fmla="*/ 12 w 1092"/>
                <a:gd name="T41" fmla="*/ 89 h 1170"/>
                <a:gd name="T42" fmla="*/ 13 w 1092"/>
                <a:gd name="T43" fmla="*/ 84 h 1170"/>
                <a:gd name="T44" fmla="*/ 12 w 1092"/>
                <a:gd name="T45" fmla="*/ 80 h 1170"/>
                <a:gd name="T46" fmla="*/ 10 w 1092"/>
                <a:gd name="T47" fmla="*/ 80 h 1170"/>
                <a:gd name="T48" fmla="*/ 8 w 1092"/>
                <a:gd name="T49" fmla="*/ 79 h 1170"/>
                <a:gd name="T50" fmla="*/ 6 w 1092"/>
                <a:gd name="T51" fmla="*/ 78 h 1170"/>
                <a:gd name="T52" fmla="*/ 6 w 1092"/>
                <a:gd name="T53" fmla="*/ 77 h 1170"/>
                <a:gd name="T54" fmla="*/ 4 w 1092"/>
                <a:gd name="T55" fmla="*/ 75 h 1170"/>
                <a:gd name="T56" fmla="*/ 0 w 1092"/>
                <a:gd name="T57" fmla="*/ 72 h 1170"/>
                <a:gd name="T58" fmla="*/ 0 w 1092"/>
                <a:gd name="T59" fmla="*/ 69 h 1170"/>
                <a:gd name="T60" fmla="*/ 3 w 1092"/>
                <a:gd name="T61" fmla="*/ 67 h 1170"/>
                <a:gd name="T62" fmla="*/ 6 w 1092"/>
                <a:gd name="T63" fmla="*/ 62 h 1170"/>
                <a:gd name="T64" fmla="*/ 8 w 1092"/>
                <a:gd name="T65" fmla="*/ 58 h 1170"/>
                <a:gd name="T66" fmla="*/ 5 w 1092"/>
                <a:gd name="T67" fmla="*/ 54 h 1170"/>
                <a:gd name="T68" fmla="*/ 6 w 1092"/>
                <a:gd name="T69" fmla="*/ 50 h 1170"/>
                <a:gd name="T70" fmla="*/ 8 w 1092"/>
                <a:gd name="T71" fmla="*/ 46 h 1170"/>
                <a:gd name="T72" fmla="*/ 10 w 1092"/>
                <a:gd name="T73" fmla="*/ 43 h 1170"/>
                <a:gd name="T74" fmla="*/ 14 w 1092"/>
                <a:gd name="T75" fmla="*/ 38 h 1170"/>
                <a:gd name="T76" fmla="*/ 31 w 1092"/>
                <a:gd name="T77" fmla="*/ 40 h 1170"/>
                <a:gd name="T78" fmla="*/ 30 w 1092"/>
                <a:gd name="T79" fmla="*/ 46 h 1170"/>
                <a:gd name="T80" fmla="*/ 36 w 1092"/>
                <a:gd name="T81" fmla="*/ 47 h 1170"/>
                <a:gd name="T82" fmla="*/ 41 w 1092"/>
                <a:gd name="T83" fmla="*/ 44 h 1170"/>
                <a:gd name="T84" fmla="*/ 43 w 1092"/>
                <a:gd name="T85" fmla="*/ 39 h 1170"/>
                <a:gd name="T86" fmla="*/ 44 w 1092"/>
                <a:gd name="T87" fmla="*/ 35 h 1170"/>
                <a:gd name="T88" fmla="*/ 44 w 1092"/>
                <a:gd name="T89" fmla="*/ 29 h 1170"/>
                <a:gd name="T90" fmla="*/ 48 w 1092"/>
                <a:gd name="T91" fmla="*/ 24 h 1170"/>
                <a:gd name="T92" fmla="*/ 49 w 1092"/>
                <a:gd name="T93" fmla="*/ 19 h 1170"/>
                <a:gd name="T94" fmla="*/ 51 w 1092"/>
                <a:gd name="T95" fmla="*/ 14 h 1170"/>
                <a:gd name="T96" fmla="*/ 54 w 1092"/>
                <a:gd name="T97" fmla="*/ 10 h 1170"/>
                <a:gd name="T98" fmla="*/ 53 w 1092"/>
                <a:gd name="T99" fmla="*/ 7 h 1170"/>
                <a:gd name="T100" fmla="*/ 55 w 1092"/>
                <a:gd name="T101" fmla="*/ 3 h 1170"/>
                <a:gd name="T102" fmla="*/ 58 w 1092"/>
                <a:gd name="T103" fmla="*/ 0 h 1170"/>
                <a:gd name="T104" fmla="*/ 65 w 1092"/>
                <a:gd name="T105" fmla="*/ 2 h 1170"/>
                <a:gd name="T106" fmla="*/ 61 w 1092"/>
                <a:gd name="T107" fmla="*/ 6 h 1170"/>
                <a:gd name="T108" fmla="*/ 67 w 1092"/>
                <a:gd name="T109" fmla="*/ 7 h 1170"/>
                <a:gd name="T110" fmla="*/ 71 w 1092"/>
                <a:gd name="T111" fmla="*/ 6 h 1170"/>
                <a:gd name="T112" fmla="*/ 75 w 1092"/>
                <a:gd name="T113" fmla="*/ 9 h 1170"/>
                <a:gd name="T114" fmla="*/ 82 w 1092"/>
                <a:gd name="T115" fmla="*/ 12 h 1170"/>
                <a:gd name="T116" fmla="*/ 84 w 1092"/>
                <a:gd name="T117" fmla="*/ 17 h 1170"/>
                <a:gd name="T118" fmla="*/ 94 w 1092"/>
                <a:gd name="T119" fmla="*/ 23 h 1170"/>
                <a:gd name="T120" fmla="*/ 94 w 1092"/>
                <a:gd name="T121" fmla="*/ 34 h 1170"/>
                <a:gd name="T122" fmla="*/ 90 w 1092"/>
                <a:gd name="T123" fmla="*/ 41 h 1170"/>
                <a:gd name="T124" fmla="*/ 91 w 1092"/>
                <a:gd name="T125" fmla="*/ 51 h 11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92"/>
                <a:gd name="T190" fmla="*/ 0 h 1170"/>
                <a:gd name="T191" fmla="*/ 1092 w 1092"/>
                <a:gd name="T192" fmla="*/ 1170 h 117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92" h="1170">
                  <a:moveTo>
                    <a:pt x="1056" y="654"/>
                  </a:moveTo>
                  <a:lnTo>
                    <a:pt x="1062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0"/>
                  </a:lnTo>
                  <a:lnTo>
                    <a:pt x="1038" y="690"/>
                  </a:lnTo>
                  <a:lnTo>
                    <a:pt x="1032" y="690"/>
                  </a:lnTo>
                  <a:lnTo>
                    <a:pt x="1026" y="690"/>
                  </a:lnTo>
                  <a:lnTo>
                    <a:pt x="1020" y="690"/>
                  </a:lnTo>
                  <a:lnTo>
                    <a:pt x="1002" y="690"/>
                  </a:lnTo>
                  <a:lnTo>
                    <a:pt x="990" y="690"/>
                  </a:lnTo>
                  <a:lnTo>
                    <a:pt x="972" y="696"/>
                  </a:lnTo>
                  <a:lnTo>
                    <a:pt x="966" y="696"/>
                  </a:lnTo>
                  <a:lnTo>
                    <a:pt x="960" y="696"/>
                  </a:lnTo>
                  <a:lnTo>
                    <a:pt x="954" y="708"/>
                  </a:lnTo>
                  <a:lnTo>
                    <a:pt x="954" y="714"/>
                  </a:lnTo>
                  <a:lnTo>
                    <a:pt x="942" y="714"/>
                  </a:lnTo>
                  <a:lnTo>
                    <a:pt x="930" y="732"/>
                  </a:lnTo>
                  <a:lnTo>
                    <a:pt x="918" y="744"/>
                  </a:lnTo>
                  <a:lnTo>
                    <a:pt x="918" y="750"/>
                  </a:lnTo>
                  <a:lnTo>
                    <a:pt x="888" y="762"/>
                  </a:lnTo>
                  <a:lnTo>
                    <a:pt x="870" y="762"/>
                  </a:lnTo>
                  <a:lnTo>
                    <a:pt x="846" y="774"/>
                  </a:lnTo>
                  <a:lnTo>
                    <a:pt x="828" y="780"/>
                  </a:lnTo>
                  <a:lnTo>
                    <a:pt x="828" y="774"/>
                  </a:lnTo>
                  <a:lnTo>
                    <a:pt x="816" y="768"/>
                  </a:lnTo>
                  <a:lnTo>
                    <a:pt x="816" y="780"/>
                  </a:lnTo>
                  <a:lnTo>
                    <a:pt x="804" y="780"/>
                  </a:lnTo>
                  <a:lnTo>
                    <a:pt x="804" y="786"/>
                  </a:lnTo>
                  <a:lnTo>
                    <a:pt x="792" y="792"/>
                  </a:lnTo>
                  <a:lnTo>
                    <a:pt x="792" y="804"/>
                  </a:lnTo>
                  <a:lnTo>
                    <a:pt x="780" y="816"/>
                  </a:lnTo>
                  <a:lnTo>
                    <a:pt x="774" y="822"/>
                  </a:lnTo>
                  <a:lnTo>
                    <a:pt x="762" y="828"/>
                  </a:lnTo>
                  <a:lnTo>
                    <a:pt x="756" y="822"/>
                  </a:lnTo>
                  <a:lnTo>
                    <a:pt x="750" y="798"/>
                  </a:lnTo>
                  <a:lnTo>
                    <a:pt x="738" y="792"/>
                  </a:lnTo>
                  <a:lnTo>
                    <a:pt x="720" y="786"/>
                  </a:lnTo>
                  <a:lnTo>
                    <a:pt x="708" y="786"/>
                  </a:lnTo>
                  <a:lnTo>
                    <a:pt x="696" y="798"/>
                  </a:lnTo>
                  <a:lnTo>
                    <a:pt x="690" y="810"/>
                  </a:lnTo>
                  <a:lnTo>
                    <a:pt x="684" y="828"/>
                  </a:lnTo>
                  <a:lnTo>
                    <a:pt x="690" y="840"/>
                  </a:lnTo>
                  <a:lnTo>
                    <a:pt x="708" y="858"/>
                  </a:lnTo>
                  <a:lnTo>
                    <a:pt x="720" y="894"/>
                  </a:lnTo>
                  <a:lnTo>
                    <a:pt x="714" y="906"/>
                  </a:lnTo>
                  <a:lnTo>
                    <a:pt x="714" y="918"/>
                  </a:lnTo>
                  <a:lnTo>
                    <a:pt x="738" y="948"/>
                  </a:lnTo>
                  <a:lnTo>
                    <a:pt x="774" y="972"/>
                  </a:lnTo>
                  <a:lnTo>
                    <a:pt x="780" y="984"/>
                  </a:lnTo>
                  <a:lnTo>
                    <a:pt x="792" y="996"/>
                  </a:lnTo>
                  <a:lnTo>
                    <a:pt x="792" y="1026"/>
                  </a:lnTo>
                  <a:lnTo>
                    <a:pt x="780" y="1044"/>
                  </a:lnTo>
                  <a:lnTo>
                    <a:pt x="774" y="1050"/>
                  </a:lnTo>
                  <a:lnTo>
                    <a:pt x="768" y="1062"/>
                  </a:lnTo>
                  <a:lnTo>
                    <a:pt x="768" y="1068"/>
                  </a:lnTo>
                  <a:lnTo>
                    <a:pt x="762" y="1074"/>
                  </a:lnTo>
                  <a:lnTo>
                    <a:pt x="762" y="1080"/>
                  </a:lnTo>
                  <a:lnTo>
                    <a:pt x="756" y="1080"/>
                  </a:lnTo>
                  <a:lnTo>
                    <a:pt x="744" y="1086"/>
                  </a:lnTo>
                  <a:lnTo>
                    <a:pt x="744" y="1092"/>
                  </a:lnTo>
                  <a:lnTo>
                    <a:pt x="738" y="1092"/>
                  </a:lnTo>
                  <a:lnTo>
                    <a:pt x="726" y="1098"/>
                  </a:lnTo>
                  <a:lnTo>
                    <a:pt x="720" y="1104"/>
                  </a:lnTo>
                  <a:lnTo>
                    <a:pt x="714" y="1104"/>
                  </a:lnTo>
                  <a:lnTo>
                    <a:pt x="702" y="1116"/>
                  </a:lnTo>
                  <a:lnTo>
                    <a:pt x="696" y="1122"/>
                  </a:lnTo>
                  <a:lnTo>
                    <a:pt x="696" y="1134"/>
                  </a:lnTo>
                  <a:lnTo>
                    <a:pt x="690" y="1134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72" y="1146"/>
                  </a:lnTo>
                  <a:lnTo>
                    <a:pt x="672" y="1152"/>
                  </a:lnTo>
                  <a:lnTo>
                    <a:pt x="660" y="1152"/>
                  </a:lnTo>
                  <a:lnTo>
                    <a:pt x="642" y="1152"/>
                  </a:lnTo>
                  <a:lnTo>
                    <a:pt x="636" y="1152"/>
                  </a:lnTo>
                  <a:lnTo>
                    <a:pt x="630" y="1158"/>
                  </a:lnTo>
                  <a:lnTo>
                    <a:pt x="624" y="1164"/>
                  </a:lnTo>
                  <a:lnTo>
                    <a:pt x="618" y="1170"/>
                  </a:lnTo>
                  <a:lnTo>
                    <a:pt x="612" y="1170"/>
                  </a:lnTo>
                  <a:lnTo>
                    <a:pt x="600" y="1170"/>
                  </a:lnTo>
                  <a:lnTo>
                    <a:pt x="594" y="1170"/>
                  </a:lnTo>
                  <a:lnTo>
                    <a:pt x="588" y="1170"/>
                  </a:lnTo>
                  <a:lnTo>
                    <a:pt x="582" y="1170"/>
                  </a:lnTo>
                  <a:lnTo>
                    <a:pt x="582" y="1164"/>
                  </a:lnTo>
                  <a:lnTo>
                    <a:pt x="576" y="1158"/>
                  </a:lnTo>
                  <a:lnTo>
                    <a:pt x="570" y="1158"/>
                  </a:lnTo>
                  <a:lnTo>
                    <a:pt x="570" y="1152"/>
                  </a:lnTo>
                  <a:lnTo>
                    <a:pt x="570" y="1146"/>
                  </a:lnTo>
                  <a:lnTo>
                    <a:pt x="570" y="1140"/>
                  </a:lnTo>
                  <a:lnTo>
                    <a:pt x="564" y="1140"/>
                  </a:lnTo>
                  <a:lnTo>
                    <a:pt x="564" y="1134"/>
                  </a:lnTo>
                  <a:lnTo>
                    <a:pt x="564" y="1128"/>
                  </a:lnTo>
                  <a:lnTo>
                    <a:pt x="576" y="1104"/>
                  </a:lnTo>
                  <a:lnTo>
                    <a:pt x="582" y="1086"/>
                  </a:lnTo>
                  <a:lnTo>
                    <a:pt x="570" y="1068"/>
                  </a:lnTo>
                  <a:lnTo>
                    <a:pt x="534" y="1056"/>
                  </a:lnTo>
                  <a:lnTo>
                    <a:pt x="516" y="1026"/>
                  </a:lnTo>
                  <a:lnTo>
                    <a:pt x="492" y="1020"/>
                  </a:lnTo>
                  <a:lnTo>
                    <a:pt x="492" y="1014"/>
                  </a:lnTo>
                  <a:lnTo>
                    <a:pt x="480" y="1008"/>
                  </a:lnTo>
                  <a:lnTo>
                    <a:pt x="474" y="996"/>
                  </a:lnTo>
                  <a:lnTo>
                    <a:pt x="444" y="984"/>
                  </a:lnTo>
                  <a:lnTo>
                    <a:pt x="426" y="978"/>
                  </a:lnTo>
                  <a:lnTo>
                    <a:pt x="420" y="972"/>
                  </a:lnTo>
                  <a:lnTo>
                    <a:pt x="408" y="984"/>
                  </a:lnTo>
                  <a:lnTo>
                    <a:pt x="402" y="984"/>
                  </a:lnTo>
                  <a:lnTo>
                    <a:pt x="396" y="984"/>
                  </a:lnTo>
                  <a:lnTo>
                    <a:pt x="390" y="984"/>
                  </a:lnTo>
                  <a:lnTo>
                    <a:pt x="384" y="990"/>
                  </a:lnTo>
                  <a:lnTo>
                    <a:pt x="378" y="990"/>
                  </a:lnTo>
                  <a:lnTo>
                    <a:pt x="372" y="990"/>
                  </a:lnTo>
                  <a:lnTo>
                    <a:pt x="372" y="996"/>
                  </a:lnTo>
                  <a:lnTo>
                    <a:pt x="366" y="996"/>
                  </a:lnTo>
                  <a:lnTo>
                    <a:pt x="360" y="1002"/>
                  </a:lnTo>
                  <a:lnTo>
                    <a:pt x="360" y="1008"/>
                  </a:lnTo>
                  <a:lnTo>
                    <a:pt x="354" y="1008"/>
                  </a:lnTo>
                  <a:lnTo>
                    <a:pt x="342" y="1014"/>
                  </a:lnTo>
                  <a:lnTo>
                    <a:pt x="336" y="1020"/>
                  </a:lnTo>
                  <a:lnTo>
                    <a:pt x="336" y="1014"/>
                  </a:lnTo>
                  <a:lnTo>
                    <a:pt x="330" y="1014"/>
                  </a:lnTo>
                  <a:lnTo>
                    <a:pt x="330" y="1008"/>
                  </a:lnTo>
                  <a:lnTo>
                    <a:pt x="330" y="1002"/>
                  </a:lnTo>
                  <a:lnTo>
                    <a:pt x="324" y="1002"/>
                  </a:lnTo>
                  <a:lnTo>
                    <a:pt x="324" y="996"/>
                  </a:lnTo>
                  <a:lnTo>
                    <a:pt x="324" y="990"/>
                  </a:lnTo>
                  <a:lnTo>
                    <a:pt x="318" y="990"/>
                  </a:lnTo>
                  <a:lnTo>
                    <a:pt x="306" y="996"/>
                  </a:lnTo>
                  <a:lnTo>
                    <a:pt x="300" y="996"/>
                  </a:lnTo>
                  <a:lnTo>
                    <a:pt x="294" y="996"/>
                  </a:lnTo>
                  <a:lnTo>
                    <a:pt x="288" y="1002"/>
                  </a:lnTo>
                  <a:lnTo>
                    <a:pt x="282" y="990"/>
                  </a:lnTo>
                  <a:lnTo>
                    <a:pt x="276" y="984"/>
                  </a:lnTo>
                  <a:lnTo>
                    <a:pt x="270" y="990"/>
                  </a:lnTo>
                  <a:lnTo>
                    <a:pt x="270" y="996"/>
                  </a:lnTo>
                  <a:lnTo>
                    <a:pt x="270" y="1002"/>
                  </a:lnTo>
                  <a:lnTo>
                    <a:pt x="264" y="1008"/>
                  </a:lnTo>
                  <a:lnTo>
                    <a:pt x="252" y="996"/>
                  </a:lnTo>
                  <a:lnTo>
                    <a:pt x="246" y="996"/>
                  </a:lnTo>
                  <a:lnTo>
                    <a:pt x="234" y="1002"/>
                  </a:lnTo>
                  <a:lnTo>
                    <a:pt x="222" y="1002"/>
                  </a:lnTo>
                  <a:lnTo>
                    <a:pt x="210" y="1002"/>
                  </a:lnTo>
                  <a:lnTo>
                    <a:pt x="198" y="996"/>
                  </a:lnTo>
                  <a:lnTo>
                    <a:pt x="198" y="1002"/>
                  </a:lnTo>
                  <a:lnTo>
                    <a:pt x="198" y="1008"/>
                  </a:lnTo>
                  <a:lnTo>
                    <a:pt x="192" y="1020"/>
                  </a:lnTo>
                  <a:lnTo>
                    <a:pt x="198" y="1020"/>
                  </a:lnTo>
                  <a:lnTo>
                    <a:pt x="204" y="1020"/>
                  </a:lnTo>
                  <a:lnTo>
                    <a:pt x="210" y="1026"/>
                  </a:lnTo>
                  <a:lnTo>
                    <a:pt x="216" y="1026"/>
                  </a:lnTo>
                  <a:lnTo>
                    <a:pt x="216" y="1032"/>
                  </a:lnTo>
                  <a:lnTo>
                    <a:pt x="210" y="1032"/>
                  </a:lnTo>
                  <a:lnTo>
                    <a:pt x="210" y="1038"/>
                  </a:lnTo>
                  <a:lnTo>
                    <a:pt x="204" y="1038"/>
                  </a:lnTo>
                  <a:lnTo>
                    <a:pt x="204" y="1044"/>
                  </a:lnTo>
                  <a:lnTo>
                    <a:pt x="198" y="1044"/>
                  </a:lnTo>
                  <a:lnTo>
                    <a:pt x="192" y="1044"/>
                  </a:lnTo>
                  <a:lnTo>
                    <a:pt x="186" y="1050"/>
                  </a:lnTo>
                  <a:lnTo>
                    <a:pt x="186" y="1056"/>
                  </a:lnTo>
                  <a:lnTo>
                    <a:pt x="180" y="1056"/>
                  </a:lnTo>
                  <a:lnTo>
                    <a:pt x="180" y="1062"/>
                  </a:lnTo>
                  <a:lnTo>
                    <a:pt x="174" y="1062"/>
                  </a:lnTo>
                  <a:lnTo>
                    <a:pt x="168" y="1062"/>
                  </a:lnTo>
                  <a:lnTo>
                    <a:pt x="162" y="1062"/>
                  </a:lnTo>
                  <a:lnTo>
                    <a:pt x="156" y="1050"/>
                  </a:lnTo>
                  <a:lnTo>
                    <a:pt x="150" y="1044"/>
                  </a:lnTo>
                  <a:lnTo>
                    <a:pt x="150" y="1038"/>
                  </a:lnTo>
                  <a:lnTo>
                    <a:pt x="144" y="1032"/>
                  </a:lnTo>
                  <a:lnTo>
                    <a:pt x="144" y="1026"/>
                  </a:lnTo>
                  <a:lnTo>
                    <a:pt x="144" y="1014"/>
                  </a:lnTo>
                  <a:lnTo>
                    <a:pt x="150" y="1008"/>
                  </a:lnTo>
                  <a:lnTo>
                    <a:pt x="150" y="1002"/>
                  </a:lnTo>
                  <a:lnTo>
                    <a:pt x="156" y="984"/>
                  </a:lnTo>
                  <a:lnTo>
                    <a:pt x="162" y="978"/>
                  </a:lnTo>
                  <a:lnTo>
                    <a:pt x="162" y="972"/>
                  </a:lnTo>
                  <a:lnTo>
                    <a:pt x="150" y="966"/>
                  </a:lnTo>
                  <a:lnTo>
                    <a:pt x="144" y="966"/>
                  </a:lnTo>
                  <a:lnTo>
                    <a:pt x="138" y="966"/>
                  </a:lnTo>
                  <a:lnTo>
                    <a:pt x="138" y="954"/>
                  </a:lnTo>
                  <a:lnTo>
                    <a:pt x="132" y="954"/>
                  </a:lnTo>
                  <a:lnTo>
                    <a:pt x="138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8" y="924"/>
                  </a:lnTo>
                  <a:lnTo>
                    <a:pt x="132" y="930"/>
                  </a:lnTo>
                  <a:lnTo>
                    <a:pt x="132" y="924"/>
                  </a:lnTo>
                  <a:lnTo>
                    <a:pt x="126" y="918"/>
                  </a:lnTo>
                  <a:lnTo>
                    <a:pt x="132" y="918"/>
                  </a:lnTo>
                  <a:lnTo>
                    <a:pt x="132" y="912"/>
                  </a:lnTo>
                  <a:lnTo>
                    <a:pt x="126" y="912"/>
                  </a:lnTo>
                  <a:lnTo>
                    <a:pt x="120" y="912"/>
                  </a:lnTo>
                  <a:lnTo>
                    <a:pt x="120" y="918"/>
                  </a:lnTo>
                  <a:lnTo>
                    <a:pt x="114" y="918"/>
                  </a:lnTo>
                  <a:lnTo>
                    <a:pt x="114" y="912"/>
                  </a:lnTo>
                  <a:lnTo>
                    <a:pt x="108" y="912"/>
                  </a:lnTo>
                  <a:lnTo>
                    <a:pt x="102" y="912"/>
                  </a:lnTo>
                  <a:lnTo>
                    <a:pt x="108" y="906"/>
                  </a:lnTo>
                  <a:lnTo>
                    <a:pt x="102" y="906"/>
                  </a:lnTo>
                  <a:lnTo>
                    <a:pt x="96" y="906"/>
                  </a:lnTo>
                  <a:lnTo>
                    <a:pt x="96" y="912"/>
                  </a:lnTo>
                  <a:lnTo>
                    <a:pt x="90" y="918"/>
                  </a:lnTo>
                  <a:lnTo>
                    <a:pt x="90" y="912"/>
                  </a:lnTo>
                  <a:lnTo>
                    <a:pt x="84" y="912"/>
                  </a:lnTo>
                  <a:lnTo>
                    <a:pt x="84" y="918"/>
                  </a:lnTo>
                  <a:lnTo>
                    <a:pt x="78" y="918"/>
                  </a:lnTo>
                  <a:lnTo>
                    <a:pt x="78" y="912"/>
                  </a:lnTo>
                  <a:lnTo>
                    <a:pt x="78" y="906"/>
                  </a:lnTo>
                  <a:lnTo>
                    <a:pt x="72" y="900"/>
                  </a:lnTo>
                  <a:lnTo>
                    <a:pt x="78" y="900"/>
                  </a:lnTo>
                  <a:lnTo>
                    <a:pt x="72" y="900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8" y="888"/>
                  </a:lnTo>
                  <a:lnTo>
                    <a:pt x="72" y="888"/>
                  </a:lnTo>
                  <a:lnTo>
                    <a:pt x="72" y="882"/>
                  </a:lnTo>
                  <a:lnTo>
                    <a:pt x="66" y="876"/>
                  </a:lnTo>
                  <a:lnTo>
                    <a:pt x="60" y="882"/>
                  </a:lnTo>
                  <a:lnTo>
                    <a:pt x="54" y="876"/>
                  </a:lnTo>
                  <a:lnTo>
                    <a:pt x="54" y="882"/>
                  </a:lnTo>
                  <a:lnTo>
                    <a:pt x="48" y="882"/>
                  </a:lnTo>
                  <a:lnTo>
                    <a:pt x="42" y="870"/>
                  </a:lnTo>
                  <a:lnTo>
                    <a:pt x="42" y="864"/>
                  </a:lnTo>
                  <a:lnTo>
                    <a:pt x="36" y="858"/>
                  </a:lnTo>
                  <a:lnTo>
                    <a:pt x="36" y="852"/>
                  </a:lnTo>
                  <a:lnTo>
                    <a:pt x="30" y="852"/>
                  </a:lnTo>
                  <a:lnTo>
                    <a:pt x="30" y="846"/>
                  </a:lnTo>
                  <a:lnTo>
                    <a:pt x="24" y="846"/>
                  </a:lnTo>
                  <a:lnTo>
                    <a:pt x="18" y="840"/>
                  </a:lnTo>
                  <a:lnTo>
                    <a:pt x="12" y="834"/>
                  </a:lnTo>
                  <a:lnTo>
                    <a:pt x="0" y="828"/>
                  </a:lnTo>
                  <a:lnTo>
                    <a:pt x="0" y="822"/>
                  </a:lnTo>
                  <a:lnTo>
                    <a:pt x="0" y="816"/>
                  </a:lnTo>
                  <a:lnTo>
                    <a:pt x="0" y="810"/>
                  </a:lnTo>
                  <a:lnTo>
                    <a:pt x="6" y="804"/>
                  </a:lnTo>
                  <a:lnTo>
                    <a:pt x="12" y="804"/>
                  </a:lnTo>
                  <a:lnTo>
                    <a:pt x="12" y="798"/>
                  </a:lnTo>
                  <a:lnTo>
                    <a:pt x="12" y="792"/>
                  </a:lnTo>
                  <a:lnTo>
                    <a:pt x="6" y="792"/>
                  </a:lnTo>
                  <a:lnTo>
                    <a:pt x="6" y="786"/>
                  </a:lnTo>
                  <a:lnTo>
                    <a:pt x="6" y="780"/>
                  </a:lnTo>
                  <a:lnTo>
                    <a:pt x="18" y="780"/>
                  </a:lnTo>
                  <a:lnTo>
                    <a:pt x="18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0" y="774"/>
                  </a:lnTo>
                  <a:lnTo>
                    <a:pt x="36" y="768"/>
                  </a:lnTo>
                  <a:lnTo>
                    <a:pt x="42" y="768"/>
                  </a:lnTo>
                  <a:lnTo>
                    <a:pt x="60" y="750"/>
                  </a:lnTo>
                  <a:lnTo>
                    <a:pt x="60" y="744"/>
                  </a:lnTo>
                  <a:lnTo>
                    <a:pt x="54" y="738"/>
                  </a:lnTo>
                  <a:lnTo>
                    <a:pt x="60" y="732"/>
                  </a:lnTo>
                  <a:lnTo>
                    <a:pt x="54" y="732"/>
                  </a:lnTo>
                  <a:lnTo>
                    <a:pt x="60" y="726"/>
                  </a:lnTo>
                  <a:lnTo>
                    <a:pt x="66" y="720"/>
                  </a:lnTo>
                  <a:lnTo>
                    <a:pt x="72" y="714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84" y="696"/>
                  </a:lnTo>
                  <a:lnTo>
                    <a:pt x="90" y="684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66"/>
                  </a:lnTo>
                  <a:lnTo>
                    <a:pt x="90" y="660"/>
                  </a:lnTo>
                  <a:lnTo>
                    <a:pt x="84" y="654"/>
                  </a:lnTo>
                  <a:lnTo>
                    <a:pt x="84" y="648"/>
                  </a:lnTo>
                  <a:lnTo>
                    <a:pt x="78" y="636"/>
                  </a:lnTo>
                  <a:lnTo>
                    <a:pt x="66" y="630"/>
                  </a:lnTo>
                  <a:lnTo>
                    <a:pt x="66" y="624"/>
                  </a:lnTo>
                  <a:lnTo>
                    <a:pt x="60" y="624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60" y="600"/>
                  </a:lnTo>
                  <a:lnTo>
                    <a:pt x="66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6" y="588"/>
                  </a:lnTo>
                  <a:lnTo>
                    <a:pt x="66" y="582"/>
                  </a:lnTo>
                  <a:lnTo>
                    <a:pt x="72" y="582"/>
                  </a:lnTo>
                  <a:lnTo>
                    <a:pt x="78" y="576"/>
                  </a:lnTo>
                  <a:lnTo>
                    <a:pt x="72" y="576"/>
                  </a:lnTo>
                  <a:lnTo>
                    <a:pt x="66" y="570"/>
                  </a:lnTo>
                  <a:lnTo>
                    <a:pt x="72" y="564"/>
                  </a:lnTo>
                  <a:lnTo>
                    <a:pt x="78" y="558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90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102" y="516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0" y="504"/>
                  </a:lnTo>
                  <a:lnTo>
                    <a:pt x="120" y="498"/>
                  </a:lnTo>
                  <a:lnTo>
                    <a:pt x="120" y="492"/>
                  </a:lnTo>
                  <a:lnTo>
                    <a:pt x="126" y="480"/>
                  </a:lnTo>
                  <a:lnTo>
                    <a:pt x="132" y="474"/>
                  </a:lnTo>
                  <a:lnTo>
                    <a:pt x="132" y="468"/>
                  </a:lnTo>
                  <a:lnTo>
                    <a:pt x="138" y="462"/>
                  </a:lnTo>
                  <a:lnTo>
                    <a:pt x="138" y="456"/>
                  </a:lnTo>
                  <a:lnTo>
                    <a:pt x="138" y="450"/>
                  </a:lnTo>
                  <a:lnTo>
                    <a:pt x="144" y="444"/>
                  </a:lnTo>
                  <a:lnTo>
                    <a:pt x="162" y="438"/>
                  </a:lnTo>
                  <a:lnTo>
                    <a:pt x="186" y="438"/>
                  </a:lnTo>
                  <a:lnTo>
                    <a:pt x="210" y="444"/>
                  </a:lnTo>
                  <a:lnTo>
                    <a:pt x="276" y="450"/>
                  </a:lnTo>
                  <a:lnTo>
                    <a:pt x="342" y="450"/>
                  </a:lnTo>
                  <a:lnTo>
                    <a:pt x="348" y="450"/>
                  </a:lnTo>
                  <a:lnTo>
                    <a:pt x="354" y="450"/>
                  </a:lnTo>
                  <a:lnTo>
                    <a:pt x="360" y="456"/>
                  </a:lnTo>
                  <a:lnTo>
                    <a:pt x="354" y="462"/>
                  </a:lnTo>
                  <a:lnTo>
                    <a:pt x="354" y="468"/>
                  </a:lnTo>
                  <a:lnTo>
                    <a:pt x="354" y="474"/>
                  </a:lnTo>
                  <a:lnTo>
                    <a:pt x="348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48" y="498"/>
                  </a:lnTo>
                  <a:lnTo>
                    <a:pt x="342" y="510"/>
                  </a:lnTo>
                  <a:lnTo>
                    <a:pt x="348" y="528"/>
                  </a:lnTo>
                  <a:lnTo>
                    <a:pt x="348" y="534"/>
                  </a:lnTo>
                  <a:lnTo>
                    <a:pt x="354" y="552"/>
                  </a:lnTo>
                  <a:lnTo>
                    <a:pt x="366" y="546"/>
                  </a:lnTo>
                  <a:lnTo>
                    <a:pt x="372" y="540"/>
                  </a:lnTo>
                  <a:lnTo>
                    <a:pt x="384" y="540"/>
                  </a:lnTo>
                  <a:lnTo>
                    <a:pt x="396" y="534"/>
                  </a:lnTo>
                  <a:lnTo>
                    <a:pt x="402" y="534"/>
                  </a:lnTo>
                  <a:lnTo>
                    <a:pt x="414" y="546"/>
                  </a:lnTo>
                  <a:lnTo>
                    <a:pt x="432" y="540"/>
                  </a:lnTo>
                  <a:lnTo>
                    <a:pt x="450" y="534"/>
                  </a:lnTo>
                  <a:lnTo>
                    <a:pt x="450" y="528"/>
                  </a:lnTo>
                  <a:lnTo>
                    <a:pt x="456" y="528"/>
                  </a:lnTo>
                  <a:lnTo>
                    <a:pt x="456" y="522"/>
                  </a:lnTo>
                  <a:lnTo>
                    <a:pt x="456" y="516"/>
                  </a:lnTo>
                  <a:lnTo>
                    <a:pt x="462" y="516"/>
                  </a:lnTo>
                  <a:lnTo>
                    <a:pt x="468" y="510"/>
                  </a:lnTo>
                  <a:lnTo>
                    <a:pt x="468" y="504"/>
                  </a:lnTo>
                  <a:lnTo>
                    <a:pt x="474" y="504"/>
                  </a:lnTo>
                  <a:lnTo>
                    <a:pt x="480" y="504"/>
                  </a:lnTo>
                  <a:lnTo>
                    <a:pt x="486" y="498"/>
                  </a:lnTo>
                  <a:lnTo>
                    <a:pt x="492" y="498"/>
                  </a:lnTo>
                  <a:lnTo>
                    <a:pt x="486" y="480"/>
                  </a:lnTo>
                  <a:lnTo>
                    <a:pt x="492" y="462"/>
                  </a:lnTo>
                  <a:lnTo>
                    <a:pt x="498" y="444"/>
                  </a:lnTo>
                  <a:lnTo>
                    <a:pt x="498" y="426"/>
                  </a:lnTo>
                  <a:lnTo>
                    <a:pt x="498" y="420"/>
                  </a:lnTo>
                  <a:lnTo>
                    <a:pt x="504" y="426"/>
                  </a:lnTo>
                  <a:lnTo>
                    <a:pt x="504" y="420"/>
                  </a:lnTo>
                  <a:lnTo>
                    <a:pt x="510" y="420"/>
                  </a:lnTo>
                  <a:lnTo>
                    <a:pt x="510" y="414"/>
                  </a:lnTo>
                  <a:lnTo>
                    <a:pt x="510" y="408"/>
                  </a:lnTo>
                  <a:lnTo>
                    <a:pt x="504" y="402"/>
                  </a:lnTo>
                  <a:lnTo>
                    <a:pt x="504" y="396"/>
                  </a:lnTo>
                  <a:lnTo>
                    <a:pt x="504" y="384"/>
                  </a:lnTo>
                  <a:lnTo>
                    <a:pt x="504" y="378"/>
                  </a:lnTo>
                  <a:lnTo>
                    <a:pt x="504" y="360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510" y="348"/>
                  </a:lnTo>
                  <a:lnTo>
                    <a:pt x="510" y="336"/>
                  </a:lnTo>
                  <a:lnTo>
                    <a:pt x="516" y="330"/>
                  </a:lnTo>
                  <a:lnTo>
                    <a:pt x="522" y="324"/>
                  </a:lnTo>
                  <a:lnTo>
                    <a:pt x="528" y="318"/>
                  </a:lnTo>
                  <a:lnTo>
                    <a:pt x="534" y="312"/>
                  </a:lnTo>
                  <a:lnTo>
                    <a:pt x="534" y="300"/>
                  </a:lnTo>
                  <a:lnTo>
                    <a:pt x="540" y="294"/>
                  </a:lnTo>
                  <a:lnTo>
                    <a:pt x="546" y="288"/>
                  </a:lnTo>
                  <a:lnTo>
                    <a:pt x="552" y="276"/>
                  </a:lnTo>
                  <a:lnTo>
                    <a:pt x="558" y="264"/>
                  </a:lnTo>
                  <a:lnTo>
                    <a:pt x="558" y="258"/>
                  </a:lnTo>
                  <a:lnTo>
                    <a:pt x="558" y="252"/>
                  </a:lnTo>
                  <a:lnTo>
                    <a:pt x="558" y="246"/>
                  </a:lnTo>
                  <a:lnTo>
                    <a:pt x="564" y="246"/>
                  </a:lnTo>
                  <a:lnTo>
                    <a:pt x="564" y="240"/>
                  </a:lnTo>
                  <a:lnTo>
                    <a:pt x="570" y="234"/>
                  </a:lnTo>
                  <a:lnTo>
                    <a:pt x="564" y="216"/>
                  </a:lnTo>
                  <a:lnTo>
                    <a:pt x="564" y="210"/>
                  </a:lnTo>
                  <a:lnTo>
                    <a:pt x="570" y="210"/>
                  </a:lnTo>
                  <a:lnTo>
                    <a:pt x="570" y="204"/>
                  </a:lnTo>
                  <a:lnTo>
                    <a:pt x="570" y="198"/>
                  </a:lnTo>
                  <a:lnTo>
                    <a:pt x="582" y="180"/>
                  </a:lnTo>
                  <a:lnTo>
                    <a:pt x="582" y="174"/>
                  </a:lnTo>
                  <a:lnTo>
                    <a:pt x="582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606" y="150"/>
                  </a:lnTo>
                  <a:lnTo>
                    <a:pt x="612" y="150"/>
                  </a:lnTo>
                  <a:lnTo>
                    <a:pt x="618" y="150"/>
                  </a:lnTo>
                  <a:lnTo>
                    <a:pt x="624" y="138"/>
                  </a:lnTo>
                  <a:lnTo>
                    <a:pt x="618" y="132"/>
                  </a:lnTo>
                  <a:lnTo>
                    <a:pt x="618" y="126"/>
                  </a:lnTo>
                  <a:lnTo>
                    <a:pt x="618" y="120"/>
                  </a:lnTo>
                  <a:lnTo>
                    <a:pt x="618" y="114"/>
                  </a:lnTo>
                  <a:lnTo>
                    <a:pt x="612" y="108"/>
                  </a:lnTo>
                  <a:lnTo>
                    <a:pt x="612" y="102"/>
                  </a:lnTo>
                  <a:lnTo>
                    <a:pt x="618" y="90"/>
                  </a:lnTo>
                  <a:lnTo>
                    <a:pt x="624" y="84"/>
                  </a:lnTo>
                  <a:lnTo>
                    <a:pt x="618" y="84"/>
                  </a:lnTo>
                  <a:lnTo>
                    <a:pt x="618" y="78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0" y="72"/>
                  </a:lnTo>
                  <a:lnTo>
                    <a:pt x="600" y="66"/>
                  </a:lnTo>
                  <a:lnTo>
                    <a:pt x="600" y="60"/>
                  </a:lnTo>
                  <a:lnTo>
                    <a:pt x="600" y="48"/>
                  </a:lnTo>
                  <a:lnTo>
                    <a:pt x="612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36"/>
                  </a:lnTo>
                  <a:lnTo>
                    <a:pt x="630" y="30"/>
                  </a:lnTo>
                  <a:lnTo>
                    <a:pt x="636" y="24"/>
                  </a:lnTo>
                  <a:lnTo>
                    <a:pt x="642" y="24"/>
                  </a:lnTo>
                  <a:lnTo>
                    <a:pt x="648" y="24"/>
                  </a:lnTo>
                  <a:lnTo>
                    <a:pt x="648" y="18"/>
                  </a:lnTo>
                  <a:lnTo>
                    <a:pt x="654" y="12"/>
                  </a:lnTo>
                  <a:lnTo>
                    <a:pt x="660" y="0"/>
                  </a:lnTo>
                  <a:lnTo>
                    <a:pt x="678" y="0"/>
                  </a:lnTo>
                  <a:lnTo>
                    <a:pt x="696" y="0"/>
                  </a:lnTo>
                  <a:lnTo>
                    <a:pt x="702" y="0"/>
                  </a:lnTo>
                  <a:lnTo>
                    <a:pt x="714" y="0"/>
                  </a:lnTo>
                  <a:lnTo>
                    <a:pt x="720" y="6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44" y="24"/>
                  </a:lnTo>
                  <a:lnTo>
                    <a:pt x="744" y="30"/>
                  </a:lnTo>
                  <a:lnTo>
                    <a:pt x="732" y="42"/>
                  </a:lnTo>
                  <a:lnTo>
                    <a:pt x="726" y="42"/>
                  </a:lnTo>
                  <a:lnTo>
                    <a:pt x="720" y="42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54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90"/>
                  </a:lnTo>
                  <a:lnTo>
                    <a:pt x="726" y="84"/>
                  </a:lnTo>
                  <a:lnTo>
                    <a:pt x="738" y="84"/>
                  </a:lnTo>
                  <a:lnTo>
                    <a:pt x="750" y="96"/>
                  </a:lnTo>
                  <a:lnTo>
                    <a:pt x="768" y="96"/>
                  </a:lnTo>
                  <a:lnTo>
                    <a:pt x="768" y="90"/>
                  </a:lnTo>
                  <a:lnTo>
                    <a:pt x="774" y="84"/>
                  </a:lnTo>
                  <a:lnTo>
                    <a:pt x="780" y="78"/>
                  </a:lnTo>
                  <a:lnTo>
                    <a:pt x="786" y="78"/>
                  </a:lnTo>
                  <a:lnTo>
                    <a:pt x="792" y="72"/>
                  </a:lnTo>
                  <a:lnTo>
                    <a:pt x="804" y="72"/>
                  </a:lnTo>
                  <a:lnTo>
                    <a:pt x="804" y="66"/>
                  </a:lnTo>
                  <a:lnTo>
                    <a:pt x="810" y="66"/>
                  </a:lnTo>
                  <a:lnTo>
                    <a:pt x="810" y="72"/>
                  </a:lnTo>
                  <a:lnTo>
                    <a:pt x="816" y="66"/>
                  </a:lnTo>
                  <a:lnTo>
                    <a:pt x="828" y="66"/>
                  </a:lnTo>
                  <a:lnTo>
                    <a:pt x="834" y="72"/>
                  </a:lnTo>
                  <a:lnTo>
                    <a:pt x="840" y="72"/>
                  </a:lnTo>
                  <a:lnTo>
                    <a:pt x="840" y="78"/>
                  </a:lnTo>
                  <a:lnTo>
                    <a:pt x="840" y="84"/>
                  </a:lnTo>
                  <a:lnTo>
                    <a:pt x="852" y="84"/>
                  </a:lnTo>
                  <a:lnTo>
                    <a:pt x="858" y="96"/>
                  </a:lnTo>
                  <a:lnTo>
                    <a:pt x="864" y="108"/>
                  </a:lnTo>
                  <a:lnTo>
                    <a:pt x="876" y="114"/>
                  </a:lnTo>
                  <a:lnTo>
                    <a:pt x="894" y="114"/>
                  </a:lnTo>
                  <a:lnTo>
                    <a:pt x="906" y="114"/>
                  </a:lnTo>
                  <a:lnTo>
                    <a:pt x="906" y="126"/>
                  </a:lnTo>
                  <a:lnTo>
                    <a:pt x="912" y="144"/>
                  </a:lnTo>
                  <a:lnTo>
                    <a:pt x="930" y="138"/>
                  </a:lnTo>
                  <a:lnTo>
                    <a:pt x="936" y="138"/>
                  </a:lnTo>
                  <a:lnTo>
                    <a:pt x="942" y="144"/>
                  </a:lnTo>
                  <a:lnTo>
                    <a:pt x="948" y="150"/>
                  </a:lnTo>
                  <a:lnTo>
                    <a:pt x="954" y="156"/>
                  </a:lnTo>
                  <a:lnTo>
                    <a:pt x="954" y="168"/>
                  </a:lnTo>
                  <a:lnTo>
                    <a:pt x="954" y="174"/>
                  </a:lnTo>
                  <a:lnTo>
                    <a:pt x="960" y="180"/>
                  </a:lnTo>
                  <a:lnTo>
                    <a:pt x="966" y="186"/>
                  </a:lnTo>
                  <a:lnTo>
                    <a:pt x="960" y="186"/>
                  </a:lnTo>
                  <a:lnTo>
                    <a:pt x="966" y="192"/>
                  </a:lnTo>
                  <a:lnTo>
                    <a:pt x="966" y="198"/>
                  </a:lnTo>
                  <a:lnTo>
                    <a:pt x="978" y="204"/>
                  </a:lnTo>
                  <a:lnTo>
                    <a:pt x="1050" y="186"/>
                  </a:lnTo>
                  <a:lnTo>
                    <a:pt x="1056" y="198"/>
                  </a:lnTo>
                  <a:lnTo>
                    <a:pt x="1068" y="210"/>
                  </a:lnTo>
                  <a:lnTo>
                    <a:pt x="1074" y="216"/>
                  </a:lnTo>
                  <a:lnTo>
                    <a:pt x="1080" y="252"/>
                  </a:lnTo>
                  <a:lnTo>
                    <a:pt x="1086" y="270"/>
                  </a:lnTo>
                  <a:lnTo>
                    <a:pt x="1092" y="282"/>
                  </a:lnTo>
                  <a:lnTo>
                    <a:pt x="1086" y="300"/>
                  </a:lnTo>
                  <a:lnTo>
                    <a:pt x="1074" y="330"/>
                  </a:lnTo>
                  <a:lnTo>
                    <a:pt x="1068" y="336"/>
                  </a:lnTo>
                  <a:lnTo>
                    <a:pt x="1062" y="348"/>
                  </a:lnTo>
                  <a:lnTo>
                    <a:pt x="1062" y="360"/>
                  </a:lnTo>
                  <a:lnTo>
                    <a:pt x="1068" y="378"/>
                  </a:lnTo>
                  <a:lnTo>
                    <a:pt x="1074" y="390"/>
                  </a:lnTo>
                  <a:lnTo>
                    <a:pt x="1068" y="396"/>
                  </a:lnTo>
                  <a:lnTo>
                    <a:pt x="1068" y="408"/>
                  </a:lnTo>
                  <a:lnTo>
                    <a:pt x="1062" y="414"/>
                  </a:lnTo>
                  <a:lnTo>
                    <a:pt x="1050" y="432"/>
                  </a:lnTo>
                  <a:lnTo>
                    <a:pt x="1044" y="450"/>
                  </a:lnTo>
                  <a:lnTo>
                    <a:pt x="1038" y="456"/>
                  </a:lnTo>
                  <a:lnTo>
                    <a:pt x="1026" y="468"/>
                  </a:lnTo>
                  <a:lnTo>
                    <a:pt x="1026" y="474"/>
                  </a:lnTo>
                  <a:lnTo>
                    <a:pt x="1026" y="480"/>
                  </a:lnTo>
                  <a:lnTo>
                    <a:pt x="1032" y="492"/>
                  </a:lnTo>
                  <a:lnTo>
                    <a:pt x="1044" y="504"/>
                  </a:lnTo>
                  <a:lnTo>
                    <a:pt x="1044" y="516"/>
                  </a:lnTo>
                  <a:lnTo>
                    <a:pt x="1038" y="528"/>
                  </a:lnTo>
                  <a:lnTo>
                    <a:pt x="1032" y="546"/>
                  </a:lnTo>
                  <a:lnTo>
                    <a:pt x="1032" y="570"/>
                  </a:lnTo>
                  <a:lnTo>
                    <a:pt x="1050" y="594"/>
                  </a:lnTo>
                  <a:lnTo>
                    <a:pt x="1056" y="624"/>
                  </a:lnTo>
                  <a:lnTo>
                    <a:pt x="1056" y="65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9" name="Freeform 24">
              <a:extLst>
                <a:ext uri="{FF2B5EF4-FFF2-40B4-BE49-F238E27FC236}">
                  <a16:creationId xmlns:a16="http://schemas.microsoft.com/office/drawing/2014/main" id="{CAE689DA-332A-4F73-BDE6-8865C9170AA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84829" y="3213406"/>
              <a:ext cx="851989" cy="744754"/>
            </a:xfrm>
            <a:custGeom>
              <a:avLst/>
              <a:gdLst>
                <a:gd name="T0" fmla="*/ 116 w 1602"/>
                <a:gd name="T1" fmla="*/ 91 h 1404"/>
                <a:gd name="T2" fmla="*/ 111 w 1602"/>
                <a:gd name="T3" fmla="*/ 95 h 1404"/>
                <a:gd name="T4" fmla="*/ 102 w 1602"/>
                <a:gd name="T5" fmla="*/ 101 h 1404"/>
                <a:gd name="T6" fmla="*/ 99 w 1602"/>
                <a:gd name="T7" fmla="*/ 103 h 1404"/>
                <a:gd name="T8" fmla="*/ 96 w 1602"/>
                <a:gd name="T9" fmla="*/ 106 h 1404"/>
                <a:gd name="T10" fmla="*/ 93 w 1602"/>
                <a:gd name="T11" fmla="*/ 108 h 1404"/>
                <a:gd name="T12" fmla="*/ 88 w 1602"/>
                <a:gd name="T13" fmla="*/ 106 h 1404"/>
                <a:gd name="T14" fmla="*/ 86 w 1602"/>
                <a:gd name="T15" fmla="*/ 108 h 1404"/>
                <a:gd name="T16" fmla="*/ 81 w 1602"/>
                <a:gd name="T17" fmla="*/ 119 h 1404"/>
                <a:gd name="T18" fmla="*/ 71 w 1602"/>
                <a:gd name="T19" fmla="*/ 109 h 1404"/>
                <a:gd name="T20" fmla="*/ 72 w 1602"/>
                <a:gd name="T21" fmla="*/ 101 h 1404"/>
                <a:gd name="T22" fmla="*/ 74 w 1602"/>
                <a:gd name="T23" fmla="*/ 93 h 1404"/>
                <a:gd name="T24" fmla="*/ 73 w 1602"/>
                <a:gd name="T25" fmla="*/ 82 h 1404"/>
                <a:gd name="T26" fmla="*/ 64 w 1602"/>
                <a:gd name="T27" fmla="*/ 79 h 1404"/>
                <a:gd name="T28" fmla="*/ 59 w 1602"/>
                <a:gd name="T29" fmla="*/ 75 h 1404"/>
                <a:gd name="T30" fmla="*/ 54 w 1602"/>
                <a:gd name="T31" fmla="*/ 71 h 1404"/>
                <a:gd name="T32" fmla="*/ 51 w 1602"/>
                <a:gd name="T33" fmla="*/ 70 h 1404"/>
                <a:gd name="T34" fmla="*/ 45 w 1602"/>
                <a:gd name="T35" fmla="*/ 71 h 1404"/>
                <a:gd name="T36" fmla="*/ 43 w 1602"/>
                <a:gd name="T37" fmla="*/ 68 h 1404"/>
                <a:gd name="T38" fmla="*/ 43 w 1602"/>
                <a:gd name="T39" fmla="*/ 64 h 1404"/>
                <a:gd name="T40" fmla="*/ 36 w 1602"/>
                <a:gd name="T41" fmla="*/ 66 h 1404"/>
                <a:gd name="T42" fmla="*/ 31 w 1602"/>
                <a:gd name="T43" fmla="*/ 55 h 1404"/>
                <a:gd name="T44" fmla="*/ 25 w 1602"/>
                <a:gd name="T45" fmla="*/ 53 h 1404"/>
                <a:gd name="T46" fmla="*/ 19 w 1602"/>
                <a:gd name="T47" fmla="*/ 51 h 1404"/>
                <a:gd name="T48" fmla="*/ 17 w 1602"/>
                <a:gd name="T49" fmla="*/ 43 h 1404"/>
                <a:gd name="T50" fmla="*/ 17 w 1602"/>
                <a:gd name="T51" fmla="*/ 39 h 1404"/>
                <a:gd name="T52" fmla="*/ 12 w 1602"/>
                <a:gd name="T53" fmla="*/ 39 h 1404"/>
                <a:gd name="T54" fmla="*/ 10 w 1602"/>
                <a:gd name="T55" fmla="*/ 35 h 1404"/>
                <a:gd name="T56" fmla="*/ 5 w 1602"/>
                <a:gd name="T57" fmla="*/ 30 h 1404"/>
                <a:gd name="T58" fmla="*/ 3 w 1602"/>
                <a:gd name="T59" fmla="*/ 27 h 1404"/>
                <a:gd name="T60" fmla="*/ 2 w 1602"/>
                <a:gd name="T61" fmla="*/ 25 h 1404"/>
                <a:gd name="T62" fmla="*/ 0 w 1602"/>
                <a:gd name="T63" fmla="*/ 22 h 1404"/>
                <a:gd name="T64" fmla="*/ 8 w 1602"/>
                <a:gd name="T65" fmla="*/ 14 h 1404"/>
                <a:gd name="T66" fmla="*/ 16 w 1602"/>
                <a:gd name="T67" fmla="*/ 16 h 1404"/>
                <a:gd name="T68" fmla="*/ 31 w 1602"/>
                <a:gd name="T69" fmla="*/ 18 h 1404"/>
                <a:gd name="T70" fmla="*/ 43 w 1602"/>
                <a:gd name="T71" fmla="*/ 17 h 1404"/>
                <a:gd name="T72" fmla="*/ 47 w 1602"/>
                <a:gd name="T73" fmla="*/ 6 h 1404"/>
                <a:gd name="T74" fmla="*/ 52 w 1602"/>
                <a:gd name="T75" fmla="*/ 0 h 1404"/>
                <a:gd name="T76" fmla="*/ 55 w 1602"/>
                <a:gd name="T77" fmla="*/ 3 h 1404"/>
                <a:gd name="T78" fmla="*/ 59 w 1602"/>
                <a:gd name="T79" fmla="*/ 9 h 1404"/>
                <a:gd name="T80" fmla="*/ 62 w 1602"/>
                <a:gd name="T81" fmla="*/ 16 h 1404"/>
                <a:gd name="T82" fmla="*/ 66 w 1602"/>
                <a:gd name="T83" fmla="*/ 20 h 1404"/>
                <a:gd name="T84" fmla="*/ 70 w 1602"/>
                <a:gd name="T85" fmla="*/ 25 h 1404"/>
                <a:gd name="T86" fmla="*/ 74 w 1602"/>
                <a:gd name="T87" fmla="*/ 30 h 1404"/>
                <a:gd name="T88" fmla="*/ 76 w 1602"/>
                <a:gd name="T89" fmla="*/ 27 h 1404"/>
                <a:gd name="T90" fmla="*/ 78 w 1602"/>
                <a:gd name="T91" fmla="*/ 27 h 1404"/>
                <a:gd name="T92" fmla="*/ 78 w 1602"/>
                <a:gd name="T93" fmla="*/ 23 h 1404"/>
                <a:gd name="T94" fmla="*/ 82 w 1602"/>
                <a:gd name="T95" fmla="*/ 20 h 1404"/>
                <a:gd name="T96" fmla="*/ 82 w 1602"/>
                <a:gd name="T97" fmla="*/ 18 h 1404"/>
                <a:gd name="T98" fmla="*/ 90 w 1602"/>
                <a:gd name="T99" fmla="*/ 24 h 1404"/>
                <a:gd name="T100" fmla="*/ 90 w 1602"/>
                <a:gd name="T101" fmla="*/ 45 h 1404"/>
                <a:gd name="T102" fmla="*/ 104 w 1602"/>
                <a:gd name="T103" fmla="*/ 41 h 1404"/>
                <a:gd name="T104" fmla="*/ 117 w 1602"/>
                <a:gd name="T105" fmla="*/ 39 h 1404"/>
                <a:gd name="T106" fmla="*/ 125 w 1602"/>
                <a:gd name="T107" fmla="*/ 39 h 1404"/>
                <a:gd name="T108" fmla="*/ 127 w 1602"/>
                <a:gd name="T109" fmla="*/ 43 h 1404"/>
                <a:gd name="T110" fmla="*/ 131 w 1602"/>
                <a:gd name="T111" fmla="*/ 53 h 1404"/>
                <a:gd name="T112" fmla="*/ 133 w 1602"/>
                <a:gd name="T113" fmla="*/ 60 h 1404"/>
                <a:gd name="T114" fmla="*/ 138 w 1602"/>
                <a:gd name="T115" fmla="*/ 73 h 1404"/>
                <a:gd name="T116" fmla="*/ 136 w 1602"/>
                <a:gd name="T117" fmla="*/ 80 h 1404"/>
                <a:gd name="T118" fmla="*/ 129 w 1602"/>
                <a:gd name="T119" fmla="*/ 87 h 1404"/>
                <a:gd name="T120" fmla="*/ 123 w 1602"/>
                <a:gd name="T121" fmla="*/ 95 h 14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02"/>
                <a:gd name="T184" fmla="*/ 0 h 1404"/>
                <a:gd name="T185" fmla="*/ 1602 w 1602"/>
                <a:gd name="T186" fmla="*/ 1404 h 14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02" h="1404">
                  <a:moveTo>
                    <a:pt x="1392" y="1080"/>
                  </a:moveTo>
                  <a:lnTo>
                    <a:pt x="1380" y="1074"/>
                  </a:lnTo>
                  <a:lnTo>
                    <a:pt x="1368" y="1056"/>
                  </a:lnTo>
                  <a:lnTo>
                    <a:pt x="1356" y="1044"/>
                  </a:lnTo>
                  <a:lnTo>
                    <a:pt x="1344" y="1038"/>
                  </a:lnTo>
                  <a:lnTo>
                    <a:pt x="1338" y="1038"/>
                  </a:lnTo>
                  <a:lnTo>
                    <a:pt x="1332" y="1038"/>
                  </a:lnTo>
                  <a:lnTo>
                    <a:pt x="1326" y="1044"/>
                  </a:lnTo>
                  <a:lnTo>
                    <a:pt x="1320" y="1044"/>
                  </a:lnTo>
                  <a:lnTo>
                    <a:pt x="1314" y="1044"/>
                  </a:lnTo>
                  <a:lnTo>
                    <a:pt x="1296" y="1056"/>
                  </a:lnTo>
                  <a:lnTo>
                    <a:pt x="1296" y="1080"/>
                  </a:lnTo>
                  <a:lnTo>
                    <a:pt x="1290" y="1080"/>
                  </a:lnTo>
                  <a:lnTo>
                    <a:pt x="1284" y="1086"/>
                  </a:lnTo>
                  <a:lnTo>
                    <a:pt x="1278" y="1086"/>
                  </a:lnTo>
                  <a:lnTo>
                    <a:pt x="1278" y="1092"/>
                  </a:lnTo>
                  <a:lnTo>
                    <a:pt x="1272" y="1092"/>
                  </a:lnTo>
                  <a:lnTo>
                    <a:pt x="1266" y="1086"/>
                  </a:lnTo>
                  <a:lnTo>
                    <a:pt x="1260" y="1086"/>
                  </a:lnTo>
                  <a:lnTo>
                    <a:pt x="1260" y="1098"/>
                  </a:lnTo>
                  <a:lnTo>
                    <a:pt x="1248" y="1098"/>
                  </a:lnTo>
                  <a:lnTo>
                    <a:pt x="1212" y="1116"/>
                  </a:lnTo>
                  <a:lnTo>
                    <a:pt x="1206" y="1158"/>
                  </a:lnTo>
                  <a:lnTo>
                    <a:pt x="1176" y="1164"/>
                  </a:lnTo>
                  <a:lnTo>
                    <a:pt x="1158" y="1164"/>
                  </a:lnTo>
                  <a:lnTo>
                    <a:pt x="1152" y="1164"/>
                  </a:lnTo>
                  <a:lnTo>
                    <a:pt x="1152" y="1170"/>
                  </a:lnTo>
                  <a:lnTo>
                    <a:pt x="1152" y="1176"/>
                  </a:lnTo>
                  <a:lnTo>
                    <a:pt x="1146" y="1176"/>
                  </a:lnTo>
                  <a:lnTo>
                    <a:pt x="1140" y="1176"/>
                  </a:lnTo>
                  <a:lnTo>
                    <a:pt x="1134" y="1182"/>
                  </a:lnTo>
                  <a:lnTo>
                    <a:pt x="1134" y="1188"/>
                  </a:lnTo>
                  <a:lnTo>
                    <a:pt x="1128" y="1194"/>
                  </a:lnTo>
                  <a:lnTo>
                    <a:pt x="1122" y="1194"/>
                  </a:lnTo>
                  <a:lnTo>
                    <a:pt x="1116" y="1194"/>
                  </a:lnTo>
                  <a:lnTo>
                    <a:pt x="1110" y="1200"/>
                  </a:lnTo>
                  <a:lnTo>
                    <a:pt x="1110" y="1206"/>
                  </a:lnTo>
                  <a:lnTo>
                    <a:pt x="1104" y="1212"/>
                  </a:lnTo>
                  <a:lnTo>
                    <a:pt x="1104" y="1218"/>
                  </a:lnTo>
                  <a:lnTo>
                    <a:pt x="1098" y="1224"/>
                  </a:lnTo>
                  <a:lnTo>
                    <a:pt x="1092" y="1230"/>
                  </a:lnTo>
                  <a:lnTo>
                    <a:pt x="1086" y="1230"/>
                  </a:lnTo>
                  <a:lnTo>
                    <a:pt x="1080" y="1230"/>
                  </a:lnTo>
                  <a:lnTo>
                    <a:pt x="1080" y="1242"/>
                  </a:lnTo>
                  <a:lnTo>
                    <a:pt x="1074" y="1242"/>
                  </a:lnTo>
                  <a:lnTo>
                    <a:pt x="1068" y="1242"/>
                  </a:lnTo>
                  <a:lnTo>
                    <a:pt x="1068" y="1236"/>
                  </a:lnTo>
                  <a:lnTo>
                    <a:pt x="1062" y="1242"/>
                  </a:lnTo>
                  <a:lnTo>
                    <a:pt x="1056" y="1236"/>
                  </a:lnTo>
                  <a:lnTo>
                    <a:pt x="1050" y="1242"/>
                  </a:lnTo>
                  <a:lnTo>
                    <a:pt x="1050" y="1236"/>
                  </a:lnTo>
                  <a:lnTo>
                    <a:pt x="1044" y="1194"/>
                  </a:lnTo>
                  <a:lnTo>
                    <a:pt x="1032" y="1194"/>
                  </a:lnTo>
                  <a:lnTo>
                    <a:pt x="1032" y="1200"/>
                  </a:lnTo>
                  <a:lnTo>
                    <a:pt x="1026" y="1200"/>
                  </a:lnTo>
                  <a:lnTo>
                    <a:pt x="1014" y="1218"/>
                  </a:lnTo>
                  <a:lnTo>
                    <a:pt x="1014" y="1224"/>
                  </a:lnTo>
                  <a:lnTo>
                    <a:pt x="1014" y="1236"/>
                  </a:lnTo>
                  <a:lnTo>
                    <a:pt x="1014" y="1242"/>
                  </a:lnTo>
                  <a:lnTo>
                    <a:pt x="1008" y="1242"/>
                  </a:lnTo>
                  <a:lnTo>
                    <a:pt x="1002" y="1236"/>
                  </a:lnTo>
                  <a:lnTo>
                    <a:pt x="1002" y="1230"/>
                  </a:lnTo>
                  <a:lnTo>
                    <a:pt x="996" y="1236"/>
                  </a:lnTo>
                  <a:lnTo>
                    <a:pt x="990" y="1236"/>
                  </a:lnTo>
                  <a:lnTo>
                    <a:pt x="990" y="1230"/>
                  </a:lnTo>
                  <a:lnTo>
                    <a:pt x="984" y="1236"/>
                  </a:lnTo>
                  <a:lnTo>
                    <a:pt x="978" y="1248"/>
                  </a:lnTo>
                  <a:lnTo>
                    <a:pt x="972" y="1254"/>
                  </a:lnTo>
                  <a:lnTo>
                    <a:pt x="966" y="1260"/>
                  </a:lnTo>
                  <a:lnTo>
                    <a:pt x="930" y="1284"/>
                  </a:lnTo>
                  <a:lnTo>
                    <a:pt x="942" y="1356"/>
                  </a:lnTo>
                  <a:lnTo>
                    <a:pt x="930" y="1368"/>
                  </a:lnTo>
                  <a:lnTo>
                    <a:pt x="852" y="1404"/>
                  </a:lnTo>
                  <a:lnTo>
                    <a:pt x="834" y="1392"/>
                  </a:lnTo>
                  <a:lnTo>
                    <a:pt x="834" y="1362"/>
                  </a:lnTo>
                  <a:lnTo>
                    <a:pt x="828" y="1332"/>
                  </a:lnTo>
                  <a:lnTo>
                    <a:pt x="810" y="1308"/>
                  </a:lnTo>
                  <a:lnTo>
                    <a:pt x="810" y="1284"/>
                  </a:lnTo>
                  <a:lnTo>
                    <a:pt x="816" y="1266"/>
                  </a:lnTo>
                  <a:lnTo>
                    <a:pt x="822" y="1254"/>
                  </a:lnTo>
                  <a:lnTo>
                    <a:pt x="822" y="1242"/>
                  </a:lnTo>
                  <a:lnTo>
                    <a:pt x="810" y="1230"/>
                  </a:lnTo>
                  <a:lnTo>
                    <a:pt x="804" y="1218"/>
                  </a:lnTo>
                  <a:lnTo>
                    <a:pt x="804" y="1212"/>
                  </a:lnTo>
                  <a:lnTo>
                    <a:pt x="804" y="1206"/>
                  </a:lnTo>
                  <a:lnTo>
                    <a:pt x="816" y="1194"/>
                  </a:lnTo>
                  <a:lnTo>
                    <a:pt x="822" y="1188"/>
                  </a:lnTo>
                  <a:lnTo>
                    <a:pt x="828" y="1170"/>
                  </a:lnTo>
                  <a:lnTo>
                    <a:pt x="840" y="1152"/>
                  </a:lnTo>
                  <a:lnTo>
                    <a:pt x="846" y="1146"/>
                  </a:lnTo>
                  <a:lnTo>
                    <a:pt x="846" y="1134"/>
                  </a:lnTo>
                  <a:lnTo>
                    <a:pt x="852" y="1128"/>
                  </a:lnTo>
                  <a:lnTo>
                    <a:pt x="846" y="1116"/>
                  </a:lnTo>
                  <a:lnTo>
                    <a:pt x="840" y="1098"/>
                  </a:lnTo>
                  <a:lnTo>
                    <a:pt x="840" y="1086"/>
                  </a:lnTo>
                  <a:lnTo>
                    <a:pt x="846" y="1074"/>
                  </a:lnTo>
                  <a:lnTo>
                    <a:pt x="852" y="1068"/>
                  </a:lnTo>
                  <a:lnTo>
                    <a:pt x="864" y="1038"/>
                  </a:lnTo>
                  <a:lnTo>
                    <a:pt x="870" y="1020"/>
                  </a:lnTo>
                  <a:lnTo>
                    <a:pt x="864" y="1008"/>
                  </a:lnTo>
                  <a:lnTo>
                    <a:pt x="858" y="990"/>
                  </a:lnTo>
                  <a:lnTo>
                    <a:pt x="852" y="954"/>
                  </a:lnTo>
                  <a:lnTo>
                    <a:pt x="846" y="948"/>
                  </a:lnTo>
                  <a:lnTo>
                    <a:pt x="834" y="936"/>
                  </a:lnTo>
                  <a:lnTo>
                    <a:pt x="828" y="924"/>
                  </a:lnTo>
                  <a:lnTo>
                    <a:pt x="756" y="942"/>
                  </a:lnTo>
                  <a:lnTo>
                    <a:pt x="744" y="936"/>
                  </a:lnTo>
                  <a:lnTo>
                    <a:pt x="744" y="930"/>
                  </a:lnTo>
                  <a:lnTo>
                    <a:pt x="738" y="924"/>
                  </a:lnTo>
                  <a:lnTo>
                    <a:pt x="744" y="924"/>
                  </a:lnTo>
                  <a:lnTo>
                    <a:pt x="738" y="918"/>
                  </a:lnTo>
                  <a:lnTo>
                    <a:pt x="732" y="912"/>
                  </a:lnTo>
                  <a:lnTo>
                    <a:pt x="732" y="906"/>
                  </a:lnTo>
                  <a:lnTo>
                    <a:pt x="732" y="894"/>
                  </a:lnTo>
                  <a:lnTo>
                    <a:pt x="726" y="888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6"/>
                  </a:lnTo>
                  <a:lnTo>
                    <a:pt x="690" y="882"/>
                  </a:lnTo>
                  <a:lnTo>
                    <a:pt x="684" y="864"/>
                  </a:lnTo>
                  <a:lnTo>
                    <a:pt x="684" y="852"/>
                  </a:lnTo>
                  <a:lnTo>
                    <a:pt x="672" y="852"/>
                  </a:lnTo>
                  <a:lnTo>
                    <a:pt x="654" y="852"/>
                  </a:lnTo>
                  <a:lnTo>
                    <a:pt x="642" y="846"/>
                  </a:lnTo>
                  <a:lnTo>
                    <a:pt x="636" y="834"/>
                  </a:lnTo>
                  <a:lnTo>
                    <a:pt x="630" y="822"/>
                  </a:lnTo>
                  <a:lnTo>
                    <a:pt x="618" y="822"/>
                  </a:lnTo>
                  <a:lnTo>
                    <a:pt x="618" y="816"/>
                  </a:lnTo>
                  <a:lnTo>
                    <a:pt x="618" y="810"/>
                  </a:lnTo>
                  <a:lnTo>
                    <a:pt x="612" y="810"/>
                  </a:lnTo>
                  <a:lnTo>
                    <a:pt x="606" y="804"/>
                  </a:lnTo>
                  <a:lnTo>
                    <a:pt x="594" y="804"/>
                  </a:lnTo>
                  <a:lnTo>
                    <a:pt x="588" y="810"/>
                  </a:lnTo>
                  <a:lnTo>
                    <a:pt x="588" y="804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70" y="810"/>
                  </a:lnTo>
                  <a:lnTo>
                    <a:pt x="564" y="816"/>
                  </a:lnTo>
                  <a:lnTo>
                    <a:pt x="558" y="816"/>
                  </a:lnTo>
                  <a:lnTo>
                    <a:pt x="552" y="822"/>
                  </a:lnTo>
                  <a:lnTo>
                    <a:pt x="546" y="828"/>
                  </a:lnTo>
                  <a:lnTo>
                    <a:pt x="546" y="834"/>
                  </a:lnTo>
                  <a:lnTo>
                    <a:pt x="528" y="834"/>
                  </a:lnTo>
                  <a:lnTo>
                    <a:pt x="516" y="822"/>
                  </a:lnTo>
                  <a:lnTo>
                    <a:pt x="504" y="822"/>
                  </a:lnTo>
                  <a:lnTo>
                    <a:pt x="492" y="82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6" y="792"/>
                  </a:lnTo>
                  <a:lnTo>
                    <a:pt x="492" y="786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504" y="780"/>
                  </a:lnTo>
                  <a:lnTo>
                    <a:pt x="510" y="780"/>
                  </a:lnTo>
                  <a:lnTo>
                    <a:pt x="522" y="768"/>
                  </a:lnTo>
                  <a:lnTo>
                    <a:pt x="522" y="762"/>
                  </a:lnTo>
                  <a:lnTo>
                    <a:pt x="504" y="756"/>
                  </a:lnTo>
                  <a:lnTo>
                    <a:pt x="498" y="756"/>
                  </a:lnTo>
                  <a:lnTo>
                    <a:pt x="498" y="744"/>
                  </a:lnTo>
                  <a:lnTo>
                    <a:pt x="492" y="738"/>
                  </a:lnTo>
                  <a:lnTo>
                    <a:pt x="480" y="738"/>
                  </a:lnTo>
                  <a:lnTo>
                    <a:pt x="474" y="738"/>
                  </a:lnTo>
                  <a:lnTo>
                    <a:pt x="456" y="738"/>
                  </a:lnTo>
                  <a:lnTo>
                    <a:pt x="438" y="738"/>
                  </a:lnTo>
                  <a:lnTo>
                    <a:pt x="432" y="750"/>
                  </a:lnTo>
                  <a:lnTo>
                    <a:pt x="426" y="756"/>
                  </a:lnTo>
                  <a:lnTo>
                    <a:pt x="426" y="762"/>
                  </a:lnTo>
                  <a:lnTo>
                    <a:pt x="420" y="762"/>
                  </a:lnTo>
                  <a:lnTo>
                    <a:pt x="408" y="744"/>
                  </a:lnTo>
                  <a:lnTo>
                    <a:pt x="408" y="732"/>
                  </a:lnTo>
                  <a:lnTo>
                    <a:pt x="390" y="714"/>
                  </a:lnTo>
                  <a:lnTo>
                    <a:pt x="384" y="702"/>
                  </a:lnTo>
                  <a:lnTo>
                    <a:pt x="384" y="690"/>
                  </a:lnTo>
                  <a:lnTo>
                    <a:pt x="372" y="690"/>
                  </a:lnTo>
                  <a:lnTo>
                    <a:pt x="366" y="660"/>
                  </a:lnTo>
                  <a:lnTo>
                    <a:pt x="354" y="630"/>
                  </a:lnTo>
                  <a:lnTo>
                    <a:pt x="348" y="630"/>
                  </a:lnTo>
                  <a:lnTo>
                    <a:pt x="336" y="630"/>
                  </a:lnTo>
                  <a:lnTo>
                    <a:pt x="330" y="630"/>
                  </a:lnTo>
                  <a:lnTo>
                    <a:pt x="318" y="630"/>
                  </a:lnTo>
                  <a:lnTo>
                    <a:pt x="312" y="624"/>
                  </a:lnTo>
                  <a:lnTo>
                    <a:pt x="306" y="624"/>
                  </a:lnTo>
                  <a:lnTo>
                    <a:pt x="294" y="618"/>
                  </a:lnTo>
                  <a:lnTo>
                    <a:pt x="288" y="612"/>
                  </a:lnTo>
                  <a:lnTo>
                    <a:pt x="276" y="600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58" y="588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8"/>
                  </a:lnTo>
                  <a:lnTo>
                    <a:pt x="216" y="582"/>
                  </a:lnTo>
                  <a:lnTo>
                    <a:pt x="210" y="588"/>
                  </a:lnTo>
                  <a:lnTo>
                    <a:pt x="198" y="582"/>
                  </a:lnTo>
                  <a:lnTo>
                    <a:pt x="180" y="582"/>
                  </a:lnTo>
                  <a:lnTo>
                    <a:pt x="174" y="552"/>
                  </a:lnTo>
                  <a:lnTo>
                    <a:pt x="168" y="504"/>
                  </a:lnTo>
                  <a:lnTo>
                    <a:pt x="186" y="504"/>
                  </a:lnTo>
                  <a:lnTo>
                    <a:pt x="192" y="504"/>
                  </a:lnTo>
                  <a:lnTo>
                    <a:pt x="192" y="498"/>
                  </a:lnTo>
                  <a:lnTo>
                    <a:pt x="192" y="492"/>
                  </a:lnTo>
                  <a:lnTo>
                    <a:pt x="192" y="486"/>
                  </a:lnTo>
                  <a:lnTo>
                    <a:pt x="198" y="486"/>
                  </a:lnTo>
                  <a:lnTo>
                    <a:pt x="198" y="480"/>
                  </a:lnTo>
                  <a:lnTo>
                    <a:pt x="204" y="474"/>
                  </a:lnTo>
                  <a:lnTo>
                    <a:pt x="210" y="468"/>
                  </a:lnTo>
                  <a:lnTo>
                    <a:pt x="198" y="462"/>
                  </a:lnTo>
                  <a:lnTo>
                    <a:pt x="192" y="444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32"/>
                  </a:lnTo>
                  <a:lnTo>
                    <a:pt x="168" y="438"/>
                  </a:lnTo>
                  <a:lnTo>
                    <a:pt x="150" y="450"/>
                  </a:lnTo>
                  <a:lnTo>
                    <a:pt x="144" y="456"/>
                  </a:lnTo>
                  <a:lnTo>
                    <a:pt x="132" y="456"/>
                  </a:lnTo>
                  <a:lnTo>
                    <a:pt x="126" y="468"/>
                  </a:lnTo>
                  <a:lnTo>
                    <a:pt x="114" y="468"/>
                  </a:lnTo>
                  <a:lnTo>
                    <a:pt x="108" y="468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14"/>
                  </a:lnTo>
                  <a:lnTo>
                    <a:pt x="108" y="396"/>
                  </a:lnTo>
                  <a:lnTo>
                    <a:pt x="120" y="396"/>
                  </a:lnTo>
                  <a:lnTo>
                    <a:pt x="126" y="384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84" y="354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0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60" y="318"/>
                  </a:lnTo>
                  <a:lnTo>
                    <a:pt x="42" y="324"/>
                  </a:lnTo>
                  <a:lnTo>
                    <a:pt x="36" y="318"/>
                  </a:lnTo>
                  <a:lnTo>
                    <a:pt x="36" y="312"/>
                  </a:lnTo>
                  <a:lnTo>
                    <a:pt x="36" y="306"/>
                  </a:lnTo>
                  <a:lnTo>
                    <a:pt x="36" y="300"/>
                  </a:lnTo>
                  <a:lnTo>
                    <a:pt x="30" y="300"/>
                  </a:lnTo>
                  <a:lnTo>
                    <a:pt x="30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24" y="276"/>
                  </a:lnTo>
                  <a:lnTo>
                    <a:pt x="18" y="276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18" y="234"/>
                  </a:lnTo>
                  <a:lnTo>
                    <a:pt x="30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42" y="192"/>
                  </a:lnTo>
                  <a:lnTo>
                    <a:pt x="66" y="186"/>
                  </a:lnTo>
                  <a:lnTo>
                    <a:pt x="90" y="156"/>
                  </a:lnTo>
                  <a:lnTo>
                    <a:pt x="102" y="144"/>
                  </a:lnTo>
                  <a:lnTo>
                    <a:pt x="138" y="150"/>
                  </a:lnTo>
                  <a:lnTo>
                    <a:pt x="162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0" y="180"/>
                  </a:lnTo>
                  <a:lnTo>
                    <a:pt x="174" y="180"/>
                  </a:lnTo>
                  <a:lnTo>
                    <a:pt x="180" y="186"/>
                  </a:lnTo>
                  <a:lnTo>
                    <a:pt x="186" y="186"/>
                  </a:lnTo>
                  <a:lnTo>
                    <a:pt x="198" y="192"/>
                  </a:lnTo>
                  <a:lnTo>
                    <a:pt x="216" y="198"/>
                  </a:lnTo>
                  <a:lnTo>
                    <a:pt x="252" y="204"/>
                  </a:lnTo>
                  <a:lnTo>
                    <a:pt x="258" y="210"/>
                  </a:lnTo>
                  <a:lnTo>
                    <a:pt x="306" y="216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84" y="210"/>
                  </a:lnTo>
                  <a:lnTo>
                    <a:pt x="408" y="222"/>
                  </a:lnTo>
                  <a:lnTo>
                    <a:pt x="438" y="228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86" y="222"/>
                  </a:lnTo>
                  <a:lnTo>
                    <a:pt x="492" y="210"/>
                  </a:lnTo>
                  <a:lnTo>
                    <a:pt x="492" y="198"/>
                  </a:lnTo>
                  <a:lnTo>
                    <a:pt x="486" y="180"/>
                  </a:lnTo>
                  <a:lnTo>
                    <a:pt x="492" y="162"/>
                  </a:lnTo>
                  <a:lnTo>
                    <a:pt x="510" y="96"/>
                  </a:lnTo>
                  <a:lnTo>
                    <a:pt x="516" y="84"/>
                  </a:lnTo>
                  <a:lnTo>
                    <a:pt x="522" y="84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34" y="72"/>
                  </a:lnTo>
                  <a:lnTo>
                    <a:pt x="534" y="60"/>
                  </a:lnTo>
                  <a:lnTo>
                    <a:pt x="540" y="36"/>
                  </a:lnTo>
                  <a:lnTo>
                    <a:pt x="546" y="6"/>
                  </a:lnTo>
                  <a:lnTo>
                    <a:pt x="558" y="6"/>
                  </a:lnTo>
                  <a:lnTo>
                    <a:pt x="564" y="0"/>
                  </a:lnTo>
                  <a:lnTo>
                    <a:pt x="582" y="0"/>
                  </a:lnTo>
                  <a:lnTo>
                    <a:pt x="588" y="0"/>
                  </a:lnTo>
                  <a:lnTo>
                    <a:pt x="594" y="6"/>
                  </a:lnTo>
                  <a:lnTo>
                    <a:pt x="600" y="12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24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36" y="36"/>
                  </a:lnTo>
                  <a:lnTo>
                    <a:pt x="642" y="36"/>
                  </a:lnTo>
                  <a:lnTo>
                    <a:pt x="642" y="42"/>
                  </a:lnTo>
                  <a:lnTo>
                    <a:pt x="648" y="54"/>
                  </a:lnTo>
                  <a:lnTo>
                    <a:pt x="660" y="72"/>
                  </a:lnTo>
                  <a:lnTo>
                    <a:pt x="666" y="78"/>
                  </a:lnTo>
                  <a:lnTo>
                    <a:pt x="672" y="90"/>
                  </a:lnTo>
                  <a:lnTo>
                    <a:pt x="678" y="102"/>
                  </a:lnTo>
                  <a:lnTo>
                    <a:pt x="678" y="114"/>
                  </a:lnTo>
                  <a:lnTo>
                    <a:pt x="684" y="132"/>
                  </a:lnTo>
                  <a:lnTo>
                    <a:pt x="684" y="144"/>
                  </a:lnTo>
                  <a:lnTo>
                    <a:pt x="690" y="162"/>
                  </a:lnTo>
                  <a:lnTo>
                    <a:pt x="696" y="168"/>
                  </a:lnTo>
                  <a:lnTo>
                    <a:pt x="696" y="180"/>
                  </a:lnTo>
                  <a:lnTo>
                    <a:pt x="702" y="186"/>
                  </a:lnTo>
                  <a:lnTo>
                    <a:pt x="708" y="186"/>
                  </a:lnTo>
                  <a:lnTo>
                    <a:pt x="714" y="198"/>
                  </a:lnTo>
                  <a:lnTo>
                    <a:pt x="720" y="198"/>
                  </a:lnTo>
                  <a:lnTo>
                    <a:pt x="732" y="204"/>
                  </a:lnTo>
                  <a:lnTo>
                    <a:pt x="738" y="210"/>
                  </a:lnTo>
                  <a:lnTo>
                    <a:pt x="738" y="216"/>
                  </a:lnTo>
                  <a:lnTo>
                    <a:pt x="744" y="222"/>
                  </a:lnTo>
                  <a:lnTo>
                    <a:pt x="750" y="228"/>
                  </a:lnTo>
                  <a:lnTo>
                    <a:pt x="756" y="228"/>
                  </a:lnTo>
                  <a:lnTo>
                    <a:pt x="768" y="240"/>
                  </a:lnTo>
                  <a:lnTo>
                    <a:pt x="774" y="252"/>
                  </a:lnTo>
                  <a:lnTo>
                    <a:pt x="780" y="258"/>
                  </a:lnTo>
                  <a:lnTo>
                    <a:pt x="786" y="258"/>
                  </a:lnTo>
                  <a:lnTo>
                    <a:pt x="798" y="264"/>
                  </a:lnTo>
                  <a:lnTo>
                    <a:pt x="798" y="270"/>
                  </a:lnTo>
                  <a:lnTo>
                    <a:pt x="798" y="276"/>
                  </a:lnTo>
                  <a:lnTo>
                    <a:pt x="810" y="288"/>
                  </a:lnTo>
                  <a:lnTo>
                    <a:pt x="816" y="288"/>
                  </a:lnTo>
                  <a:lnTo>
                    <a:pt x="816" y="300"/>
                  </a:lnTo>
                  <a:lnTo>
                    <a:pt x="816" y="306"/>
                  </a:lnTo>
                  <a:lnTo>
                    <a:pt x="822" y="318"/>
                  </a:lnTo>
                  <a:lnTo>
                    <a:pt x="828" y="324"/>
                  </a:lnTo>
                  <a:lnTo>
                    <a:pt x="834" y="330"/>
                  </a:lnTo>
                  <a:lnTo>
                    <a:pt x="846" y="336"/>
                  </a:lnTo>
                  <a:lnTo>
                    <a:pt x="846" y="342"/>
                  </a:lnTo>
                  <a:lnTo>
                    <a:pt x="852" y="348"/>
                  </a:lnTo>
                  <a:lnTo>
                    <a:pt x="852" y="354"/>
                  </a:lnTo>
                  <a:lnTo>
                    <a:pt x="858" y="354"/>
                  </a:lnTo>
                  <a:lnTo>
                    <a:pt x="858" y="348"/>
                  </a:lnTo>
                  <a:lnTo>
                    <a:pt x="864" y="342"/>
                  </a:lnTo>
                  <a:lnTo>
                    <a:pt x="864" y="336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76" y="306"/>
                  </a:lnTo>
                  <a:lnTo>
                    <a:pt x="870" y="300"/>
                  </a:lnTo>
                  <a:lnTo>
                    <a:pt x="870" y="294"/>
                  </a:lnTo>
                  <a:lnTo>
                    <a:pt x="876" y="294"/>
                  </a:lnTo>
                  <a:lnTo>
                    <a:pt x="882" y="300"/>
                  </a:lnTo>
                  <a:lnTo>
                    <a:pt x="888" y="300"/>
                  </a:lnTo>
                  <a:lnTo>
                    <a:pt x="888" y="306"/>
                  </a:lnTo>
                  <a:lnTo>
                    <a:pt x="894" y="300"/>
                  </a:lnTo>
                  <a:lnTo>
                    <a:pt x="900" y="294"/>
                  </a:lnTo>
                  <a:lnTo>
                    <a:pt x="894" y="288"/>
                  </a:lnTo>
                  <a:lnTo>
                    <a:pt x="888" y="282"/>
                  </a:lnTo>
                  <a:lnTo>
                    <a:pt x="888" y="276"/>
                  </a:lnTo>
                  <a:lnTo>
                    <a:pt x="894" y="276"/>
                  </a:lnTo>
                  <a:lnTo>
                    <a:pt x="900" y="276"/>
                  </a:lnTo>
                  <a:lnTo>
                    <a:pt x="900" y="270"/>
                  </a:lnTo>
                  <a:lnTo>
                    <a:pt x="906" y="264"/>
                  </a:lnTo>
                  <a:lnTo>
                    <a:pt x="906" y="258"/>
                  </a:lnTo>
                  <a:lnTo>
                    <a:pt x="918" y="264"/>
                  </a:lnTo>
                  <a:lnTo>
                    <a:pt x="918" y="258"/>
                  </a:lnTo>
                  <a:lnTo>
                    <a:pt x="924" y="252"/>
                  </a:lnTo>
                  <a:lnTo>
                    <a:pt x="930" y="252"/>
                  </a:lnTo>
                  <a:lnTo>
                    <a:pt x="930" y="246"/>
                  </a:lnTo>
                  <a:lnTo>
                    <a:pt x="936" y="234"/>
                  </a:lnTo>
                  <a:lnTo>
                    <a:pt x="942" y="228"/>
                  </a:lnTo>
                  <a:lnTo>
                    <a:pt x="942" y="222"/>
                  </a:lnTo>
                  <a:lnTo>
                    <a:pt x="948" y="222"/>
                  </a:lnTo>
                  <a:lnTo>
                    <a:pt x="948" y="216"/>
                  </a:lnTo>
                  <a:lnTo>
                    <a:pt x="942" y="216"/>
                  </a:lnTo>
                  <a:lnTo>
                    <a:pt x="936" y="216"/>
                  </a:lnTo>
                  <a:lnTo>
                    <a:pt x="936" y="210"/>
                  </a:lnTo>
                  <a:lnTo>
                    <a:pt x="942" y="210"/>
                  </a:lnTo>
                  <a:lnTo>
                    <a:pt x="972" y="210"/>
                  </a:lnTo>
                  <a:lnTo>
                    <a:pt x="1032" y="216"/>
                  </a:lnTo>
                  <a:lnTo>
                    <a:pt x="1068" y="216"/>
                  </a:lnTo>
                  <a:lnTo>
                    <a:pt x="1056" y="234"/>
                  </a:lnTo>
                  <a:lnTo>
                    <a:pt x="1050" y="240"/>
                  </a:lnTo>
                  <a:lnTo>
                    <a:pt x="1044" y="246"/>
                  </a:lnTo>
                  <a:lnTo>
                    <a:pt x="1038" y="246"/>
                  </a:lnTo>
                  <a:lnTo>
                    <a:pt x="1026" y="282"/>
                  </a:lnTo>
                  <a:lnTo>
                    <a:pt x="1032" y="306"/>
                  </a:lnTo>
                  <a:lnTo>
                    <a:pt x="1044" y="324"/>
                  </a:lnTo>
                  <a:lnTo>
                    <a:pt x="1044" y="342"/>
                  </a:lnTo>
                  <a:lnTo>
                    <a:pt x="1062" y="366"/>
                  </a:lnTo>
                  <a:lnTo>
                    <a:pt x="1056" y="396"/>
                  </a:lnTo>
                  <a:lnTo>
                    <a:pt x="1038" y="462"/>
                  </a:lnTo>
                  <a:lnTo>
                    <a:pt x="1038" y="498"/>
                  </a:lnTo>
                  <a:lnTo>
                    <a:pt x="1038" y="522"/>
                  </a:lnTo>
                  <a:lnTo>
                    <a:pt x="1038" y="534"/>
                  </a:lnTo>
                  <a:lnTo>
                    <a:pt x="1056" y="522"/>
                  </a:lnTo>
                  <a:lnTo>
                    <a:pt x="1098" y="504"/>
                  </a:lnTo>
                  <a:lnTo>
                    <a:pt x="1104" y="498"/>
                  </a:lnTo>
                  <a:lnTo>
                    <a:pt x="1128" y="492"/>
                  </a:lnTo>
                  <a:lnTo>
                    <a:pt x="1152" y="480"/>
                  </a:lnTo>
                  <a:lnTo>
                    <a:pt x="1170" y="474"/>
                  </a:lnTo>
                  <a:lnTo>
                    <a:pt x="1188" y="468"/>
                  </a:lnTo>
                  <a:lnTo>
                    <a:pt x="1200" y="462"/>
                  </a:lnTo>
                  <a:lnTo>
                    <a:pt x="1224" y="450"/>
                  </a:lnTo>
                  <a:lnTo>
                    <a:pt x="1248" y="450"/>
                  </a:lnTo>
                  <a:lnTo>
                    <a:pt x="1266" y="450"/>
                  </a:lnTo>
                  <a:lnTo>
                    <a:pt x="1296" y="456"/>
                  </a:lnTo>
                  <a:lnTo>
                    <a:pt x="1308" y="456"/>
                  </a:lnTo>
                  <a:lnTo>
                    <a:pt x="1326" y="456"/>
                  </a:lnTo>
                  <a:lnTo>
                    <a:pt x="1338" y="456"/>
                  </a:lnTo>
                  <a:lnTo>
                    <a:pt x="1350" y="462"/>
                  </a:lnTo>
                  <a:lnTo>
                    <a:pt x="1356" y="462"/>
                  </a:lnTo>
                  <a:lnTo>
                    <a:pt x="1374" y="456"/>
                  </a:lnTo>
                  <a:lnTo>
                    <a:pt x="1386" y="456"/>
                  </a:lnTo>
                  <a:lnTo>
                    <a:pt x="1392" y="456"/>
                  </a:lnTo>
                  <a:lnTo>
                    <a:pt x="1398" y="456"/>
                  </a:lnTo>
                  <a:lnTo>
                    <a:pt x="1422" y="456"/>
                  </a:lnTo>
                  <a:lnTo>
                    <a:pt x="1440" y="456"/>
                  </a:lnTo>
                  <a:lnTo>
                    <a:pt x="1446" y="456"/>
                  </a:lnTo>
                  <a:lnTo>
                    <a:pt x="1476" y="456"/>
                  </a:lnTo>
                  <a:lnTo>
                    <a:pt x="1470" y="468"/>
                  </a:lnTo>
                  <a:lnTo>
                    <a:pt x="1470" y="474"/>
                  </a:lnTo>
                  <a:lnTo>
                    <a:pt x="1470" y="486"/>
                  </a:lnTo>
                  <a:lnTo>
                    <a:pt x="1464" y="492"/>
                  </a:lnTo>
                  <a:lnTo>
                    <a:pt x="1464" y="498"/>
                  </a:lnTo>
                  <a:lnTo>
                    <a:pt x="1458" y="498"/>
                  </a:lnTo>
                  <a:lnTo>
                    <a:pt x="1458" y="510"/>
                  </a:lnTo>
                  <a:lnTo>
                    <a:pt x="1452" y="522"/>
                  </a:lnTo>
                  <a:lnTo>
                    <a:pt x="1458" y="528"/>
                  </a:lnTo>
                  <a:lnTo>
                    <a:pt x="1464" y="546"/>
                  </a:lnTo>
                  <a:lnTo>
                    <a:pt x="1470" y="552"/>
                  </a:lnTo>
                  <a:lnTo>
                    <a:pt x="1476" y="564"/>
                  </a:lnTo>
                  <a:lnTo>
                    <a:pt x="1488" y="588"/>
                  </a:lnTo>
                  <a:lnTo>
                    <a:pt x="1506" y="606"/>
                  </a:lnTo>
                  <a:lnTo>
                    <a:pt x="1506" y="612"/>
                  </a:lnTo>
                  <a:lnTo>
                    <a:pt x="1518" y="618"/>
                  </a:lnTo>
                  <a:lnTo>
                    <a:pt x="1512" y="630"/>
                  </a:lnTo>
                  <a:lnTo>
                    <a:pt x="1518" y="642"/>
                  </a:lnTo>
                  <a:lnTo>
                    <a:pt x="1518" y="648"/>
                  </a:lnTo>
                  <a:lnTo>
                    <a:pt x="1530" y="666"/>
                  </a:lnTo>
                  <a:lnTo>
                    <a:pt x="1518" y="672"/>
                  </a:lnTo>
                  <a:lnTo>
                    <a:pt x="1524" y="696"/>
                  </a:lnTo>
                  <a:lnTo>
                    <a:pt x="1518" y="732"/>
                  </a:lnTo>
                  <a:lnTo>
                    <a:pt x="1524" y="762"/>
                  </a:lnTo>
                  <a:lnTo>
                    <a:pt x="1524" y="780"/>
                  </a:lnTo>
                  <a:lnTo>
                    <a:pt x="1524" y="810"/>
                  </a:lnTo>
                  <a:lnTo>
                    <a:pt x="1530" y="834"/>
                  </a:lnTo>
                  <a:lnTo>
                    <a:pt x="1536" y="846"/>
                  </a:lnTo>
                  <a:lnTo>
                    <a:pt x="1542" y="846"/>
                  </a:lnTo>
                  <a:lnTo>
                    <a:pt x="1584" y="840"/>
                  </a:lnTo>
                  <a:lnTo>
                    <a:pt x="1590" y="846"/>
                  </a:lnTo>
                  <a:lnTo>
                    <a:pt x="1596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90" y="864"/>
                  </a:lnTo>
                  <a:lnTo>
                    <a:pt x="1578" y="882"/>
                  </a:lnTo>
                  <a:lnTo>
                    <a:pt x="1572" y="906"/>
                  </a:lnTo>
                  <a:lnTo>
                    <a:pt x="1560" y="924"/>
                  </a:lnTo>
                  <a:lnTo>
                    <a:pt x="1560" y="936"/>
                  </a:lnTo>
                  <a:lnTo>
                    <a:pt x="1548" y="960"/>
                  </a:lnTo>
                  <a:lnTo>
                    <a:pt x="1542" y="978"/>
                  </a:lnTo>
                  <a:lnTo>
                    <a:pt x="1536" y="990"/>
                  </a:lnTo>
                  <a:lnTo>
                    <a:pt x="1530" y="990"/>
                  </a:lnTo>
                  <a:lnTo>
                    <a:pt x="1506" y="996"/>
                  </a:lnTo>
                  <a:lnTo>
                    <a:pt x="1494" y="1002"/>
                  </a:lnTo>
                  <a:lnTo>
                    <a:pt x="1482" y="1002"/>
                  </a:lnTo>
                  <a:lnTo>
                    <a:pt x="1464" y="1008"/>
                  </a:lnTo>
                  <a:lnTo>
                    <a:pt x="1446" y="1026"/>
                  </a:lnTo>
                  <a:lnTo>
                    <a:pt x="1440" y="1026"/>
                  </a:lnTo>
                  <a:lnTo>
                    <a:pt x="1434" y="1038"/>
                  </a:lnTo>
                  <a:lnTo>
                    <a:pt x="1428" y="1044"/>
                  </a:lnTo>
                  <a:lnTo>
                    <a:pt x="1428" y="1062"/>
                  </a:lnTo>
                  <a:lnTo>
                    <a:pt x="1428" y="1086"/>
                  </a:lnTo>
                  <a:lnTo>
                    <a:pt x="1416" y="1092"/>
                  </a:lnTo>
                  <a:lnTo>
                    <a:pt x="1410" y="1080"/>
                  </a:lnTo>
                  <a:lnTo>
                    <a:pt x="1392" y="10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0" name="Freeform 25">
              <a:extLst>
                <a:ext uri="{FF2B5EF4-FFF2-40B4-BE49-F238E27FC236}">
                  <a16:creationId xmlns:a16="http://schemas.microsoft.com/office/drawing/2014/main" id="{39FDFF90-5ACF-4D65-81AD-C44D2CBE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70228" y="3063559"/>
              <a:ext cx="644023" cy="704498"/>
            </a:xfrm>
            <a:custGeom>
              <a:avLst/>
              <a:gdLst>
                <a:gd name="T0" fmla="*/ 74 w 1212"/>
                <a:gd name="T1" fmla="*/ 113 h 1326"/>
                <a:gd name="T2" fmla="*/ 60 w 1212"/>
                <a:gd name="T3" fmla="*/ 116 h 1326"/>
                <a:gd name="T4" fmla="*/ 62 w 1212"/>
                <a:gd name="T5" fmla="*/ 110 h 1326"/>
                <a:gd name="T6" fmla="*/ 60 w 1212"/>
                <a:gd name="T7" fmla="*/ 105 h 1326"/>
                <a:gd name="T8" fmla="*/ 52 w 1212"/>
                <a:gd name="T9" fmla="*/ 96 h 1326"/>
                <a:gd name="T10" fmla="*/ 47 w 1212"/>
                <a:gd name="T11" fmla="*/ 98 h 1326"/>
                <a:gd name="T12" fmla="*/ 44 w 1212"/>
                <a:gd name="T13" fmla="*/ 93 h 1326"/>
                <a:gd name="T14" fmla="*/ 40 w 1212"/>
                <a:gd name="T15" fmla="*/ 96 h 1326"/>
                <a:gd name="T16" fmla="*/ 35 w 1212"/>
                <a:gd name="T17" fmla="*/ 102 h 1326"/>
                <a:gd name="T18" fmla="*/ 27 w 1212"/>
                <a:gd name="T19" fmla="*/ 100 h 1326"/>
                <a:gd name="T20" fmla="*/ 23 w 1212"/>
                <a:gd name="T21" fmla="*/ 96 h 1326"/>
                <a:gd name="T22" fmla="*/ 20 w 1212"/>
                <a:gd name="T23" fmla="*/ 90 h 1326"/>
                <a:gd name="T24" fmla="*/ 18 w 1212"/>
                <a:gd name="T25" fmla="*/ 89 h 1326"/>
                <a:gd name="T26" fmla="*/ 18 w 1212"/>
                <a:gd name="T27" fmla="*/ 85 h 1326"/>
                <a:gd name="T28" fmla="*/ 19 w 1212"/>
                <a:gd name="T29" fmla="*/ 83 h 1326"/>
                <a:gd name="T30" fmla="*/ 19 w 1212"/>
                <a:gd name="T31" fmla="*/ 82 h 1326"/>
                <a:gd name="T32" fmla="*/ 20 w 1212"/>
                <a:gd name="T33" fmla="*/ 79 h 1326"/>
                <a:gd name="T34" fmla="*/ 19 w 1212"/>
                <a:gd name="T35" fmla="*/ 75 h 1326"/>
                <a:gd name="T36" fmla="*/ 17 w 1212"/>
                <a:gd name="T37" fmla="*/ 77 h 1326"/>
                <a:gd name="T38" fmla="*/ 14 w 1212"/>
                <a:gd name="T39" fmla="*/ 76 h 1326"/>
                <a:gd name="T40" fmla="*/ 12 w 1212"/>
                <a:gd name="T41" fmla="*/ 71 h 1326"/>
                <a:gd name="T42" fmla="*/ 8 w 1212"/>
                <a:gd name="T43" fmla="*/ 69 h 1326"/>
                <a:gd name="T44" fmla="*/ 0 w 1212"/>
                <a:gd name="T45" fmla="*/ 72 h 1326"/>
                <a:gd name="T46" fmla="*/ 2 w 1212"/>
                <a:gd name="T47" fmla="*/ 67 h 1326"/>
                <a:gd name="T48" fmla="*/ 3 w 1212"/>
                <a:gd name="T49" fmla="*/ 61 h 1326"/>
                <a:gd name="T50" fmla="*/ 4 w 1212"/>
                <a:gd name="T51" fmla="*/ 56 h 1326"/>
                <a:gd name="T52" fmla="*/ 4 w 1212"/>
                <a:gd name="T53" fmla="*/ 52 h 1326"/>
                <a:gd name="T54" fmla="*/ 2 w 1212"/>
                <a:gd name="T55" fmla="*/ 47 h 1326"/>
                <a:gd name="T56" fmla="*/ 2 w 1212"/>
                <a:gd name="T57" fmla="*/ 42 h 1326"/>
                <a:gd name="T58" fmla="*/ 5 w 1212"/>
                <a:gd name="T59" fmla="*/ 39 h 1326"/>
                <a:gd name="T60" fmla="*/ 5 w 1212"/>
                <a:gd name="T61" fmla="*/ 35 h 1326"/>
                <a:gd name="T62" fmla="*/ 7 w 1212"/>
                <a:gd name="T63" fmla="*/ 31 h 1326"/>
                <a:gd name="T64" fmla="*/ 14 w 1212"/>
                <a:gd name="T65" fmla="*/ 31 h 1326"/>
                <a:gd name="T66" fmla="*/ 18 w 1212"/>
                <a:gd name="T67" fmla="*/ 27 h 1326"/>
                <a:gd name="T68" fmla="*/ 22 w 1212"/>
                <a:gd name="T69" fmla="*/ 24 h 1326"/>
                <a:gd name="T70" fmla="*/ 27 w 1212"/>
                <a:gd name="T71" fmla="*/ 20 h 1326"/>
                <a:gd name="T72" fmla="*/ 35 w 1212"/>
                <a:gd name="T73" fmla="*/ 21 h 1326"/>
                <a:gd name="T74" fmla="*/ 61 w 1212"/>
                <a:gd name="T75" fmla="*/ 8 h 1326"/>
                <a:gd name="T76" fmla="*/ 73 w 1212"/>
                <a:gd name="T77" fmla="*/ 4 h 1326"/>
                <a:gd name="T78" fmla="*/ 86 w 1212"/>
                <a:gd name="T79" fmla="*/ 12 h 1326"/>
                <a:gd name="T80" fmla="*/ 92 w 1212"/>
                <a:gd name="T81" fmla="*/ 13 h 1326"/>
                <a:gd name="T82" fmla="*/ 86 w 1212"/>
                <a:gd name="T83" fmla="*/ 18 h 1326"/>
                <a:gd name="T84" fmla="*/ 88 w 1212"/>
                <a:gd name="T85" fmla="*/ 33 h 1326"/>
                <a:gd name="T86" fmla="*/ 97 w 1212"/>
                <a:gd name="T87" fmla="*/ 49 h 1326"/>
                <a:gd name="T88" fmla="*/ 102 w 1212"/>
                <a:gd name="T89" fmla="*/ 57 h 1326"/>
                <a:gd name="T90" fmla="*/ 104 w 1212"/>
                <a:gd name="T91" fmla="*/ 67 h 1326"/>
                <a:gd name="T92" fmla="*/ 101 w 1212"/>
                <a:gd name="T93" fmla="*/ 69 h 1326"/>
                <a:gd name="T94" fmla="*/ 97 w 1212"/>
                <a:gd name="T95" fmla="*/ 69 h 1326"/>
                <a:gd name="T96" fmla="*/ 96 w 1212"/>
                <a:gd name="T97" fmla="*/ 71 h 1326"/>
                <a:gd name="T98" fmla="*/ 93 w 1212"/>
                <a:gd name="T99" fmla="*/ 70 h 1326"/>
                <a:gd name="T100" fmla="*/ 86 w 1212"/>
                <a:gd name="T101" fmla="*/ 69 h 1326"/>
                <a:gd name="T102" fmla="*/ 82 w 1212"/>
                <a:gd name="T103" fmla="*/ 73 h 1326"/>
                <a:gd name="T104" fmla="*/ 79 w 1212"/>
                <a:gd name="T105" fmla="*/ 74 h 1326"/>
                <a:gd name="T106" fmla="*/ 78 w 1212"/>
                <a:gd name="T107" fmla="*/ 79 h 1326"/>
                <a:gd name="T108" fmla="*/ 78 w 1212"/>
                <a:gd name="T109" fmla="*/ 83 h 1326"/>
                <a:gd name="T110" fmla="*/ 82 w 1212"/>
                <a:gd name="T111" fmla="*/ 87 h 1326"/>
                <a:gd name="T112" fmla="*/ 83 w 1212"/>
                <a:gd name="T113" fmla="*/ 90 h 1326"/>
                <a:gd name="T114" fmla="*/ 82 w 1212"/>
                <a:gd name="T115" fmla="*/ 94 h 1326"/>
                <a:gd name="T116" fmla="*/ 82 w 1212"/>
                <a:gd name="T117" fmla="*/ 98 h 1326"/>
                <a:gd name="T118" fmla="*/ 82 w 1212"/>
                <a:gd name="T119" fmla="*/ 104 h 1326"/>
                <a:gd name="T120" fmla="*/ 78 w 1212"/>
                <a:gd name="T121" fmla="*/ 110 h 132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12"/>
                <a:gd name="T184" fmla="*/ 0 h 1326"/>
                <a:gd name="T185" fmla="*/ 1212 w 1212"/>
                <a:gd name="T186" fmla="*/ 1326 h 132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12" h="1326">
                  <a:moveTo>
                    <a:pt x="906" y="1290"/>
                  </a:moveTo>
                  <a:lnTo>
                    <a:pt x="906" y="1296"/>
                  </a:lnTo>
                  <a:lnTo>
                    <a:pt x="900" y="1296"/>
                  </a:lnTo>
                  <a:lnTo>
                    <a:pt x="876" y="1290"/>
                  </a:lnTo>
                  <a:lnTo>
                    <a:pt x="870" y="1290"/>
                  </a:lnTo>
                  <a:lnTo>
                    <a:pt x="864" y="1296"/>
                  </a:lnTo>
                  <a:lnTo>
                    <a:pt x="852" y="1296"/>
                  </a:lnTo>
                  <a:lnTo>
                    <a:pt x="840" y="1302"/>
                  </a:lnTo>
                  <a:lnTo>
                    <a:pt x="834" y="1308"/>
                  </a:lnTo>
                  <a:lnTo>
                    <a:pt x="822" y="1320"/>
                  </a:lnTo>
                  <a:lnTo>
                    <a:pt x="816" y="1320"/>
                  </a:lnTo>
                  <a:lnTo>
                    <a:pt x="732" y="1320"/>
                  </a:lnTo>
                  <a:lnTo>
                    <a:pt x="696" y="1320"/>
                  </a:lnTo>
                  <a:lnTo>
                    <a:pt x="690" y="1326"/>
                  </a:lnTo>
                  <a:lnTo>
                    <a:pt x="678" y="1326"/>
                  </a:lnTo>
                  <a:lnTo>
                    <a:pt x="672" y="1308"/>
                  </a:lnTo>
                  <a:lnTo>
                    <a:pt x="696" y="1302"/>
                  </a:lnTo>
                  <a:lnTo>
                    <a:pt x="708" y="1296"/>
                  </a:lnTo>
                  <a:lnTo>
                    <a:pt x="720" y="1284"/>
                  </a:lnTo>
                  <a:lnTo>
                    <a:pt x="714" y="1278"/>
                  </a:lnTo>
                  <a:lnTo>
                    <a:pt x="714" y="1266"/>
                  </a:lnTo>
                  <a:lnTo>
                    <a:pt x="708" y="1260"/>
                  </a:lnTo>
                  <a:lnTo>
                    <a:pt x="708" y="1254"/>
                  </a:lnTo>
                  <a:lnTo>
                    <a:pt x="708" y="1248"/>
                  </a:lnTo>
                  <a:lnTo>
                    <a:pt x="702" y="1236"/>
                  </a:lnTo>
                  <a:lnTo>
                    <a:pt x="702" y="1230"/>
                  </a:lnTo>
                  <a:lnTo>
                    <a:pt x="702" y="1218"/>
                  </a:lnTo>
                  <a:lnTo>
                    <a:pt x="696" y="1200"/>
                  </a:lnTo>
                  <a:lnTo>
                    <a:pt x="696" y="1182"/>
                  </a:lnTo>
                  <a:lnTo>
                    <a:pt x="666" y="1182"/>
                  </a:lnTo>
                  <a:lnTo>
                    <a:pt x="672" y="1134"/>
                  </a:lnTo>
                  <a:lnTo>
                    <a:pt x="666" y="1128"/>
                  </a:lnTo>
                  <a:lnTo>
                    <a:pt x="660" y="1092"/>
                  </a:lnTo>
                  <a:lnTo>
                    <a:pt x="654" y="1098"/>
                  </a:lnTo>
                  <a:lnTo>
                    <a:pt x="594" y="1098"/>
                  </a:lnTo>
                  <a:lnTo>
                    <a:pt x="576" y="1098"/>
                  </a:lnTo>
                  <a:lnTo>
                    <a:pt x="570" y="1104"/>
                  </a:lnTo>
                  <a:lnTo>
                    <a:pt x="564" y="1110"/>
                  </a:lnTo>
                  <a:lnTo>
                    <a:pt x="558" y="1110"/>
                  </a:lnTo>
                  <a:lnTo>
                    <a:pt x="552" y="1110"/>
                  </a:lnTo>
                  <a:lnTo>
                    <a:pt x="546" y="1110"/>
                  </a:lnTo>
                  <a:lnTo>
                    <a:pt x="546" y="1116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10" y="1128"/>
                  </a:lnTo>
                  <a:lnTo>
                    <a:pt x="522" y="1104"/>
                  </a:lnTo>
                  <a:lnTo>
                    <a:pt x="510" y="1098"/>
                  </a:lnTo>
                  <a:lnTo>
                    <a:pt x="510" y="1074"/>
                  </a:lnTo>
                  <a:lnTo>
                    <a:pt x="504" y="1068"/>
                  </a:lnTo>
                  <a:lnTo>
                    <a:pt x="498" y="1068"/>
                  </a:lnTo>
                  <a:lnTo>
                    <a:pt x="492" y="1068"/>
                  </a:lnTo>
                  <a:lnTo>
                    <a:pt x="474" y="1080"/>
                  </a:lnTo>
                  <a:lnTo>
                    <a:pt x="474" y="1086"/>
                  </a:lnTo>
                  <a:lnTo>
                    <a:pt x="474" y="1092"/>
                  </a:lnTo>
                  <a:lnTo>
                    <a:pt x="468" y="1098"/>
                  </a:lnTo>
                  <a:lnTo>
                    <a:pt x="462" y="1104"/>
                  </a:lnTo>
                  <a:lnTo>
                    <a:pt x="456" y="1110"/>
                  </a:lnTo>
                  <a:lnTo>
                    <a:pt x="456" y="1122"/>
                  </a:lnTo>
                  <a:lnTo>
                    <a:pt x="456" y="1128"/>
                  </a:lnTo>
                  <a:lnTo>
                    <a:pt x="450" y="1140"/>
                  </a:lnTo>
                  <a:lnTo>
                    <a:pt x="444" y="1146"/>
                  </a:lnTo>
                  <a:lnTo>
                    <a:pt x="426" y="1170"/>
                  </a:lnTo>
                  <a:lnTo>
                    <a:pt x="408" y="1176"/>
                  </a:lnTo>
                  <a:lnTo>
                    <a:pt x="402" y="1170"/>
                  </a:lnTo>
                  <a:lnTo>
                    <a:pt x="396" y="1170"/>
                  </a:lnTo>
                  <a:lnTo>
                    <a:pt x="396" y="1158"/>
                  </a:lnTo>
                  <a:lnTo>
                    <a:pt x="384" y="1152"/>
                  </a:lnTo>
                  <a:lnTo>
                    <a:pt x="372" y="1140"/>
                  </a:lnTo>
                  <a:lnTo>
                    <a:pt x="354" y="1140"/>
                  </a:lnTo>
                  <a:lnTo>
                    <a:pt x="306" y="1146"/>
                  </a:lnTo>
                  <a:lnTo>
                    <a:pt x="294" y="1134"/>
                  </a:lnTo>
                  <a:lnTo>
                    <a:pt x="294" y="1128"/>
                  </a:lnTo>
                  <a:lnTo>
                    <a:pt x="288" y="1122"/>
                  </a:lnTo>
                  <a:lnTo>
                    <a:pt x="276" y="1122"/>
                  </a:lnTo>
                  <a:lnTo>
                    <a:pt x="276" y="1110"/>
                  </a:lnTo>
                  <a:lnTo>
                    <a:pt x="276" y="1104"/>
                  </a:lnTo>
                  <a:lnTo>
                    <a:pt x="270" y="1098"/>
                  </a:lnTo>
                  <a:lnTo>
                    <a:pt x="264" y="1086"/>
                  </a:lnTo>
                  <a:lnTo>
                    <a:pt x="264" y="1074"/>
                  </a:lnTo>
                  <a:lnTo>
                    <a:pt x="258" y="1068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34" y="1038"/>
                  </a:lnTo>
                  <a:lnTo>
                    <a:pt x="228" y="1038"/>
                  </a:lnTo>
                  <a:lnTo>
                    <a:pt x="222" y="1038"/>
                  </a:lnTo>
                  <a:lnTo>
                    <a:pt x="216" y="1038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0"/>
                  </a:lnTo>
                  <a:lnTo>
                    <a:pt x="204" y="1014"/>
                  </a:lnTo>
                  <a:lnTo>
                    <a:pt x="204" y="1008"/>
                  </a:lnTo>
                  <a:lnTo>
                    <a:pt x="198" y="1002"/>
                  </a:lnTo>
                  <a:lnTo>
                    <a:pt x="198" y="996"/>
                  </a:lnTo>
                  <a:lnTo>
                    <a:pt x="198" y="990"/>
                  </a:lnTo>
                  <a:lnTo>
                    <a:pt x="204" y="990"/>
                  </a:lnTo>
                  <a:lnTo>
                    <a:pt x="204" y="984"/>
                  </a:lnTo>
                  <a:lnTo>
                    <a:pt x="210" y="978"/>
                  </a:lnTo>
                  <a:lnTo>
                    <a:pt x="210" y="972"/>
                  </a:lnTo>
                  <a:lnTo>
                    <a:pt x="210" y="966"/>
                  </a:lnTo>
                  <a:lnTo>
                    <a:pt x="216" y="960"/>
                  </a:lnTo>
                  <a:lnTo>
                    <a:pt x="216" y="954"/>
                  </a:lnTo>
                  <a:lnTo>
                    <a:pt x="210" y="954"/>
                  </a:lnTo>
                  <a:lnTo>
                    <a:pt x="204" y="954"/>
                  </a:lnTo>
                  <a:lnTo>
                    <a:pt x="216" y="954"/>
                  </a:lnTo>
                  <a:lnTo>
                    <a:pt x="216" y="948"/>
                  </a:lnTo>
                  <a:lnTo>
                    <a:pt x="210" y="948"/>
                  </a:lnTo>
                  <a:lnTo>
                    <a:pt x="210" y="942"/>
                  </a:lnTo>
                  <a:lnTo>
                    <a:pt x="216" y="942"/>
                  </a:lnTo>
                  <a:lnTo>
                    <a:pt x="222" y="942"/>
                  </a:lnTo>
                  <a:lnTo>
                    <a:pt x="222" y="936"/>
                  </a:lnTo>
                  <a:lnTo>
                    <a:pt x="216" y="936"/>
                  </a:lnTo>
                  <a:lnTo>
                    <a:pt x="210" y="936"/>
                  </a:lnTo>
                  <a:lnTo>
                    <a:pt x="210" y="930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22" y="918"/>
                  </a:lnTo>
                  <a:lnTo>
                    <a:pt x="228" y="912"/>
                  </a:lnTo>
                  <a:lnTo>
                    <a:pt x="228" y="906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2" y="888"/>
                  </a:lnTo>
                  <a:lnTo>
                    <a:pt x="222" y="882"/>
                  </a:lnTo>
                  <a:lnTo>
                    <a:pt x="222" y="876"/>
                  </a:lnTo>
                  <a:lnTo>
                    <a:pt x="222" y="858"/>
                  </a:lnTo>
                  <a:lnTo>
                    <a:pt x="216" y="858"/>
                  </a:lnTo>
                  <a:lnTo>
                    <a:pt x="216" y="852"/>
                  </a:lnTo>
                  <a:lnTo>
                    <a:pt x="210" y="852"/>
                  </a:lnTo>
                  <a:lnTo>
                    <a:pt x="210" y="840"/>
                  </a:lnTo>
                  <a:lnTo>
                    <a:pt x="198" y="840"/>
                  </a:lnTo>
                  <a:lnTo>
                    <a:pt x="198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0" y="894"/>
                  </a:lnTo>
                  <a:lnTo>
                    <a:pt x="180" y="906"/>
                  </a:lnTo>
                  <a:lnTo>
                    <a:pt x="156" y="912"/>
                  </a:lnTo>
                  <a:lnTo>
                    <a:pt x="156" y="894"/>
                  </a:lnTo>
                  <a:lnTo>
                    <a:pt x="156" y="882"/>
                  </a:lnTo>
                  <a:lnTo>
                    <a:pt x="156" y="876"/>
                  </a:lnTo>
                  <a:lnTo>
                    <a:pt x="150" y="876"/>
                  </a:lnTo>
                  <a:lnTo>
                    <a:pt x="144" y="876"/>
                  </a:lnTo>
                  <a:lnTo>
                    <a:pt x="138" y="870"/>
                  </a:lnTo>
                  <a:lnTo>
                    <a:pt x="132" y="864"/>
                  </a:lnTo>
                  <a:lnTo>
                    <a:pt x="138" y="840"/>
                  </a:lnTo>
                  <a:lnTo>
                    <a:pt x="132" y="840"/>
                  </a:lnTo>
                  <a:lnTo>
                    <a:pt x="138" y="810"/>
                  </a:lnTo>
                  <a:lnTo>
                    <a:pt x="144" y="804"/>
                  </a:lnTo>
                  <a:lnTo>
                    <a:pt x="144" y="798"/>
                  </a:lnTo>
                  <a:lnTo>
                    <a:pt x="156" y="798"/>
                  </a:lnTo>
                  <a:lnTo>
                    <a:pt x="156" y="792"/>
                  </a:lnTo>
                  <a:lnTo>
                    <a:pt x="120" y="792"/>
                  </a:lnTo>
                  <a:lnTo>
                    <a:pt x="108" y="786"/>
                  </a:lnTo>
                  <a:lnTo>
                    <a:pt x="96" y="786"/>
                  </a:lnTo>
                  <a:lnTo>
                    <a:pt x="96" y="780"/>
                  </a:lnTo>
                  <a:lnTo>
                    <a:pt x="78" y="780"/>
                  </a:lnTo>
                  <a:lnTo>
                    <a:pt x="72" y="804"/>
                  </a:lnTo>
                  <a:lnTo>
                    <a:pt x="60" y="816"/>
                  </a:lnTo>
                  <a:lnTo>
                    <a:pt x="36" y="828"/>
                  </a:lnTo>
                  <a:lnTo>
                    <a:pt x="18" y="840"/>
                  </a:lnTo>
                  <a:lnTo>
                    <a:pt x="0" y="822"/>
                  </a:lnTo>
                  <a:lnTo>
                    <a:pt x="6" y="816"/>
                  </a:lnTo>
                  <a:lnTo>
                    <a:pt x="12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18" y="786"/>
                  </a:lnTo>
                  <a:lnTo>
                    <a:pt x="24" y="780"/>
                  </a:lnTo>
                  <a:lnTo>
                    <a:pt x="24" y="768"/>
                  </a:lnTo>
                  <a:lnTo>
                    <a:pt x="24" y="762"/>
                  </a:lnTo>
                  <a:lnTo>
                    <a:pt x="24" y="750"/>
                  </a:lnTo>
                  <a:lnTo>
                    <a:pt x="36" y="714"/>
                  </a:lnTo>
                  <a:lnTo>
                    <a:pt x="36" y="708"/>
                  </a:lnTo>
                  <a:lnTo>
                    <a:pt x="42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6" y="690"/>
                  </a:lnTo>
                  <a:lnTo>
                    <a:pt x="42" y="684"/>
                  </a:lnTo>
                  <a:lnTo>
                    <a:pt x="42" y="672"/>
                  </a:lnTo>
                  <a:lnTo>
                    <a:pt x="42" y="666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48" y="648"/>
                  </a:lnTo>
                  <a:lnTo>
                    <a:pt x="54" y="642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54" y="612"/>
                  </a:lnTo>
                  <a:lnTo>
                    <a:pt x="48" y="606"/>
                  </a:lnTo>
                  <a:lnTo>
                    <a:pt x="48" y="600"/>
                  </a:lnTo>
                  <a:lnTo>
                    <a:pt x="42" y="600"/>
                  </a:lnTo>
                  <a:lnTo>
                    <a:pt x="36" y="594"/>
                  </a:lnTo>
                  <a:lnTo>
                    <a:pt x="36" y="588"/>
                  </a:lnTo>
                  <a:lnTo>
                    <a:pt x="30" y="582"/>
                  </a:lnTo>
                  <a:lnTo>
                    <a:pt x="30" y="570"/>
                  </a:lnTo>
                  <a:lnTo>
                    <a:pt x="18" y="552"/>
                  </a:lnTo>
                  <a:lnTo>
                    <a:pt x="18" y="546"/>
                  </a:lnTo>
                  <a:lnTo>
                    <a:pt x="18" y="540"/>
                  </a:lnTo>
                  <a:lnTo>
                    <a:pt x="18" y="528"/>
                  </a:lnTo>
                  <a:lnTo>
                    <a:pt x="18" y="522"/>
                  </a:lnTo>
                  <a:lnTo>
                    <a:pt x="24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30" y="474"/>
                  </a:lnTo>
                  <a:lnTo>
                    <a:pt x="36" y="474"/>
                  </a:lnTo>
                  <a:lnTo>
                    <a:pt x="42" y="468"/>
                  </a:lnTo>
                  <a:lnTo>
                    <a:pt x="48" y="468"/>
                  </a:lnTo>
                  <a:lnTo>
                    <a:pt x="48" y="462"/>
                  </a:lnTo>
                  <a:lnTo>
                    <a:pt x="48" y="456"/>
                  </a:lnTo>
                  <a:lnTo>
                    <a:pt x="54" y="450"/>
                  </a:lnTo>
                  <a:lnTo>
                    <a:pt x="60" y="438"/>
                  </a:lnTo>
                  <a:lnTo>
                    <a:pt x="54" y="438"/>
                  </a:lnTo>
                  <a:lnTo>
                    <a:pt x="54" y="432"/>
                  </a:ln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54" y="402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6" y="384"/>
                  </a:lnTo>
                  <a:lnTo>
                    <a:pt x="72" y="372"/>
                  </a:lnTo>
                  <a:lnTo>
                    <a:pt x="78" y="366"/>
                  </a:lnTo>
                  <a:lnTo>
                    <a:pt x="84" y="360"/>
                  </a:lnTo>
                  <a:lnTo>
                    <a:pt x="102" y="360"/>
                  </a:lnTo>
                  <a:lnTo>
                    <a:pt x="114" y="36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8" y="360"/>
                  </a:lnTo>
                  <a:lnTo>
                    <a:pt x="156" y="360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74" y="342"/>
                  </a:lnTo>
                  <a:lnTo>
                    <a:pt x="180" y="342"/>
                  </a:lnTo>
                  <a:lnTo>
                    <a:pt x="186" y="336"/>
                  </a:lnTo>
                  <a:lnTo>
                    <a:pt x="192" y="330"/>
                  </a:lnTo>
                  <a:lnTo>
                    <a:pt x="204" y="312"/>
                  </a:lnTo>
                  <a:lnTo>
                    <a:pt x="210" y="312"/>
                  </a:lnTo>
                  <a:lnTo>
                    <a:pt x="216" y="306"/>
                  </a:lnTo>
                  <a:lnTo>
                    <a:pt x="216" y="300"/>
                  </a:lnTo>
                  <a:lnTo>
                    <a:pt x="222" y="288"/>
                  </a:lnTo>
                  <a:lnTo>
                    <a:pt x="234" y="288"/>
                  </a:lnTo>
                  <a:lnTo>
                    <a:pt x="240" y="282"/>
                  </a:lnTo>
                  <a:lnTo>
                    <a:pt x="246" y="282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70" y="270"/>
                  </a:lnTo>
                  <a:lnTo>
                    <a:pt x="276" y="264"/>
                  </a:lnTo>
                  <a:lnTo>
                    <a:pt x="282" y="26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8" y="234"/>
                  </a:lnTo>
                  <a:lnTo>
                    <a:pt x="330" y="234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72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14" y="240"/>
                  </a:lnTo>
                  <a:lnTo>
                    <a:pt x="444" y="216"/>
                  </a:lnTo>
                  <a:lnTo>
                    <a:pt x="480" y="204"/>
                  </a:lnTo>
                  <a:lnTo>
                    <a:pt x="600" y="150"/>
                  </a:lnTo>
                  <a:lnTo>
                    <a:pt x="648" y="126"/>
                  </a:lnTo>
                  <a:lnTo>
                    <a:pt x="702" y="96"/>
                  </a:lnTo>
                  <a:lnTo>
                    <a:pt x="708" y="54"/>
                  </a:lnTo>
                  <a:lnTo>
                    <a:pt x="720" y="24"/>
                  </a:lnTo>
                  <a:lnTo>
                    <a:pt x="738" y="12"/>
                  </a:lnTo>
                  <a:lnTo>
                    <a:pt x="768" y="0"/>
                  </a:lnTo>
                  <a:lnTo>
                    <a:pt x="792" y="6"/>
                  </a:lnTo>
                  <a:lnTo>
                    <a:pt x="804" y="12"/>
                  </a:lnTo>
                  <a:lnTo>
                    <a:pt x="834" y="48"/>
                  </a:lnTo>
                  <a:lnTo>
                    <a:pt x="834" y="60"/>
                  </a:lnTo>
                  <a:lnTo>
                    <a:pt x="852" y="84"/>
                  </a:lnTo>
                  <a:lnTo>
                    <a:pt x="864" y="96"/>
                  </a:lnTo>
                  <a:lnTo>
                    <a:pt x="888" y="102"/>
                  </a:lnTo>
                  <a:lnTo>
                    <a:pt x="978" y="120"/>
                  </a:lnTo>
                  <a:lnTo>
                    <a:pt x="984" y="126"/>
                  </a:lnTo>
                  <a:lnTo>
                    <a:pt x="984" y="132"/>
                  </a:lnTo>
                  <a:lnTo>
                    <a:pt x="996" y="138"/>
                  </a:lnTo>
                  <a:lnTo>
                    <a:pt x="1038" y="126"/>
                  </a:lnTo>
                  <a:lnTo>
                    <a:pt x="1056" y="114"/>
                  </a:lnTo>
                  <a:lnTo>
                    <a:pt x="1068" y="126"/>
                  </a:lnTo>
                  <a:lnTo>
                    <a:pt x="1074" y="132"/>
                  </a:lnTo>
                  <a:lnTo>
                    <a:pt x="1068" y="138"/>
                  </a:lnTo>
                  <a:lnTo>
                    <a:pt x="1056" y="150"/>
                  </a:lnTo>
                  <a:lnTo>
                    <a:pt x="1038" y="162"/>
                  </a:lnTo>
                  <a:lnTo>
                    <a:pt x="1038" y="168"/>
                  </a:lnTo>
                  <a:lnTo>
                    <a:pt x="1020" y="174"/>
                  </a:lnTo>
                  <a:lnTo>
                    <a:pt x="1014" y="180"/>
                  </a:lnTo>
                  <a:lnTo>
                    <a:pt x="1008" y="186"/>
                  </a:lnTo>
                  <a:lnTo>
                    <a:pt x="1002" y="198"/>
                  </a:lnTo>
                  <a:lnTo>
                    <a:pt x="984" y="204"/>
                  </a:lnTo>
                  <a:lnTo>
                    <a:pt x="984" y="246"/>
                  </a:lnTo>
                  <a:lnTo>
                    <a:pt x="978" y="270"/>
                  </a:lnTo>
                  <a:lnTo>
                    <a:pt x="990" y="306"/>
                  </a:lnTo>
                  <a:lnTo>
                    <a:pt x="990" y="324"/>
                  </a:lnTo>
                  <a:lnTo>
                    <a:pt x="1002" y="336"/>
                  </a:lnTo>
                  <a:lnTo>
                    <a:pt x="1020" y="372"/>
                  </a:lnTo>
                  <a:lnTo>
                    <a:pt x="1014" y="378"/>
                  </a:lnTo>
                  <a:lnTo>
                    <a:pt x="1014" y="384"/>
                  </a:lnTo>
                  <a:lnTo>
                    <a:pt x="1020" y="384"/>
                  </a:lnTo>
                  <a:lnTo>
                    <a:pt x="1020" y="396"/>
                  </a:lnTo>
                  <a:lnTo>
                    <a:pt x="1062" y="468"/>
                  </a:lnTo>
                  <a:lnTo>
                    <a:pt x="1092" y="522"/>
                  </a:lnTo>
                  <a:lnTo>
                    <a:pt x="1110" y="546"/>
                  </a:lnTo>
                  <a:lnTo>
                    <a:pt x="1122" y="564"/>
                  </a:lnTo>
                  <a:lnTo>
                    <a:pt x="1134" y="576"/>
                  </a:lnTo>
                  <a:lnTo>
                    <a:pt x="1146" y="582"/>
                  </a:lnTo>
                  <a:lnTo>
                    <a:pt x="1146" y="588"/>
                  </a:lnTo>
                  <a:lnTo>
                    <a:pt x="1164" y="600"/>
                  </a:lnTo>
                  <a:lnTo>
                    <a:pt x="1170" y="612"/>
                  </a:lnTo>
                  <a:lnTo>
                    <a:pt x="1170" y="624"/>
                  </a:lnTo>
                  <a:lnTo>
                    <a:pt x="1176" y="654"/>
                  </a:lnTo>
                  <a:lnTo>
                    <a:pt x="1176" y="666"/>
                  </a:lnTo>
                  <a:lnTo>
                    <a:pt x="1182" y="684"/>
                  </a:lnTo>
                  <a:lnTo>
                    <a:pt x="1194" y="696"/>
                  </a:lnTo>
                  <a:lnTo>
                    <a:pt x="1212" y="696"/>
                  </a:lnTo>
                  <a:lnTo>
                    <a:pt x="1206" y="762"/>
                  </a:lnTo>
                  <a:lnTo>
                    <a:pt x="1200" y="768"/>
                  </a:lnTo>
                  <a:lnTo>
                    <a:pt x="1194" y="768"/>
                  </a:lnTo>
                  <a:lnTo>
                    <a:pt x="1194" y="774"/>
                  </a:lnTo>
                  <a:lnTo>
                    <a:pt x="1188" y="774"/>
                  </a:lnTo>
                  <a:lnTo>
                    <a:pt x="1182" y="780"/>
                  </a:lnTo>
                  <a:lnTo>
                    <a:pt x="1176" y="780"/>
                  </a:lnTo>
                  <a:lnTo>
                    <a:pt x="1170" y="780"/>
                  </a:lnTo>
                  <a:lnTo>
                    <a:pt x="1164" y="786"/>
                  </a:lnTo>
                  <a:lnTo>
                    <a:pt x="1158" y="786"/>
                  </a:lnTo>
                  <a:lnTo>
                    <a:pt x="1152" y="786"/>
                  </a:lnTo>
                  <a:lnTo>
                    <a:pt x="1140" y="786"/>
                  </a:lnTo>
                  <a:lnTo>
                    <a:pt x="1134" y="786"/>
                  </a:lnTo>
                  <a:lnTo>
                    <a:pt x="1134" y="780"/>
                  </a:lnTo>
                  <a:lnTo>
                    <a:pt x="1122" y="780"/>
                  </a:lnTo>
                  <a:lnTo>
                    <a:pt x="1116" y="786"/>
                  </a:lnTo>
                  <a:lnTo>
                    <a:pt x="1116" y="792"/>
                  </a:lnTo>
                  <a:lnTo>
                    <a:pt x="1122" y="804"/>
                  </a:lnTo>
                  <a:lnTo>
                    <a:pt x="1128" y="804"/>
                  </a:lnTo>
                  <a:lnTo>
                    <a:pt x="1128" y="816"/>
                  </a:lnTo>
                  <a:lnTo>
                    <a:pt x="1122" y="822"/>
                  </a:lnTo>
                  <a:lnTo>
                    <a:pt x="1116" y="816"/>
                  </a:lnTo>
                  <a:lnTo>
                    <a:pt x="1110" y="816"/>
                  </a:lnTo>
                  <a:lnTo>
                    <a:pt x="1104" y="816"/>
                  </a:lnTo>
                  <a:lnTo>
                    <a:pt x="1098" y="816"/>
                  </a:lnTo>
                  <a:lnTo>
                    <a:pt x="1098" y="822"/>
                  </a:lnTo>
                  <a:lnTo>
                    <a:pt x="1092" y="834"/>
                  </a:lnTo>
                  <a:lnTo>
                    <a:pt x="1092" y="840"/>
                  </a:lnTo>
                  <a:lnTo>
                    <a:pt x="1074" y="840"/>
                  </a:lnTo>
                  <a:lnTo>
                    <a:pt x="1074" y="828"/>
                  </a:lnTo>
                  <a:lnTo>
                    <a:pt x="1062" y="804"/>
                  </a:lnTo>
                  <a:lnTo>
                    <a:pt x="1056" y="792"/>
                  </a:lnTo>
                  <a:lnTo>
                    <a:pt x="1056" y="786"/>
                  </a:lnTo>
                  <a:lnTo>
                    <a:pt x="1026" y="780"/>
                  </a:lnTo>
                  <a:lnTo>
                    <a:pt x="1026" y="768"/>
                  </a:lnTo>
                  <a:lnTo>
                    <a:pt x="1008" y="768"/>
                  </a:lnTo>
                  <a:lnTo>
                    <a:pt x="1002" y="780"/>
                  </a:lnTo>
                  <a:lnTo>
                    <a:pt x="996" y="792"/>
                  </a:lnTo>
                  <a:lnTo>
                    <a:pt x="978" y="798"/>
                  </a:lnTo>
                  <a:lnTo>
                    <a:pt x="972" y="810"/>
                  </a:lnTo>
                  <a:lnTo>
                    <a:pt x="972" y="822"/>
                  </a:lnTo>
                  <a:lnTo>
                    <a:pt x="978" y="828"/>
                  </a:lnTo>
                  <a:lnTo>
                    <a:pt x="978" y="834"/>
                  </a:lnTo>
                  <a:lnTo>
                    <a:pt x="960" y="840"/>
                  </a:lnTo>
                  <a:lnTo>
                    <a:pt x="936" y="840"/>
                  </a:lnTo>
                  <a:lnTo>
                    <a:pt x="918" y="846"/>
                  </a:lnTo>
                  <a:lnTo>
                    <a:pt x="912" y="840"/>
                  </a:lnTo>
                  <a:lnTo>
                    <a:pt x="912" y="834"/>
                  </a:lnTo>
                  <a:lnTo>
                    <a:pt x="906" y="834"/>
                  </a:lnTo>
                  <a:lnTo>
                    <a:pt x="906" y="840"/>
                  </a:lnTo>
                  <a:lnTo>
                    <a:pt x="900" y="846"/>
                  </a:lnTo>
                  <a:lnTo>
                    <a:pt x="906" y="852"/>
                  </a:lnTo>
                  <a:lnTo>
                    <a:pt x="900" y="864"/>
                  </a:lnTo>
                  <a:lnTo>
                    <a:pt x="900" y="876"/>
                  </a:lnTo>
                  <a:lnTo>
                    <a:pt x="900" y="882"/>
                  </a:lnTo>
                  <a:lnTo>
                    <a:pt x="894" y="888"/>
                  </a:lnTo>
                  <a:lnTo>
                    <a:pt x="900" y="900"/>
                  </a:lnTo>
                  <a:lnTo>
                    <a:pt x="900" y="906"/>
                  </a:lnTo>
                  <a:lnTo>
                    <a:pt x="894" y="906"/>
                  </a:lnTo>
                  <a:lnTo>
                    <a:pt x="894" y="912"/>
                  </a:lnTo>
                  <a:lnTo>
                    <a:pt x="900" y="918"/>
                  </a:lnTo>
                  <a:lnTo>
                    <a:pt x="900" y="924"/>
                  </a:lnTo>
                  <a:lnTo>
                    <a:pt x="900" y="948"/>
                  </a:lnTo>
                  <a:lnTo>
                    <a:pt x="888" y="948"/>
                  </a:lnTo>
                  <a:lnTo>
                    <a:pt x="888" y="954"/>
                  </a:lnTo>
                  <a:lnTo>
                    <a:pt x="894" y="954"/>
                  </a:lnTo>
                  <a:lnTo>
                    <a:pt x="900" y="960"/>
                  </a:lnTo>
                  <a:lnTo>
                    <a:pt x="900" y="972"/>
                  </a:lnTo>
                  <a:lnTo>
                    <a:pt x="906" y="984"/>
                  </a:lnTo>
                  <a:lnTo>
                    <a:pt x="912" y="984"/>
                  </a:lnTo>
                  <a:lnTo>
                    <a:pt x="918" y="990"/>
                  </a:lnTo>
                  <a:lnTo>
                    <a:pt x="936" y="990"/>
                  </a:lnTo>
                  <a:lnTo>
                    <a:pt x="936" y="996"/>
                  </a:lnTo>
                  <a:lnTo>
                    <a:pt x="942" y="996"/>
                  </a:lnTo>
                  <a:lnTo>
                    <a:pt x="942" y="1002"/>
                  </a:lnTo>
                  <a:lnTo>
                    <a:pt x="942" y="1008"/>
                  </a:lnTo>
                  <a:lnTo>
                    <a:pt x="948" y="1008"/>
                  </a:lnTo>
                  <a:lnTo>
                    <a:pt x="948" y="1014"/>
                  </a:lnTo>
                  <a:lnTo>
                    <a:pt x="948" y="1020"/>
                  </a:lnTo>
                  <a:lnTo>
                    <a:pt x="954" y="1032"/>
                  </a:lnTo>
                  <a:lnTo>
                    <a:pt x="948" y="1038"/>
                  </a:lnTo>
                  <a:lnTo>
                    <a:pt x="954" y="1044"/>
                  </a:lnTo>
                  <a:lnTo>
                    <a:pt x="954" y="1056"/>
                  </a:lnTo>
                  <a:lnTo>
                    <a:pt x="960" y="1056"/>
                  </a:lnTo>
                  <a:lnTo>
                    <a:pt x="960" y="1062"/>
                  </a:lnTo>
                  <a:lnTo>
                    <a:pt x="954" y="1068"/>
                  </a:lnTo>
                  <a:lnTo>
                    <a:pt x="948" y="1074"/>
                  </a:lnTo>
                  <a:lnTo>
                    <a:pt x="948" y="1080"/>
                  </a:lnTo>
                  <a:lnTo>
                    <a:pt x="948" y="1086"/>
                  </a:lnTo>
                  <a:lnTo>
                    <a:pt x="942" y="1092"/>
                  </a:lnTo>
                  <a:lnTo>
                    <a:pt x="942" y="1098"/>
                  </a:lnTo>
                  <a:lnTo>
                    <a:pt x="942" y="1104"/>
                  </a:lnTo>
                  <a:lnTo>
                    <a:pt x="942" y="1110"/>
                  </a:lnTo>
                  <a:lnTo>
                    <a:pt x="936" y="1116"/>
                  </a:lnTo>
                  <a:lnTo>
                    <a:pt x="936" y="1122"/>
                  </a:lnTo>
                  <a:lnTo>
                    <a:pt x="936" y="1128"/>
                  </a:lnTo>
                  <a:lnTo>
                    <a:pt x="936" y="1134"/>
                  </a:lnTo>
                  <a:lnTo>
                    <a:pt x="942" y="1146"/>
                  </a:lnTo>
                  <a:lnTo>
                    <a:pt x="936" y="1158"/>
                  </a:lnTo>
                  <a:lnTo>
                    <a:pt x="936" y="1170"/>
                  </a:lnTo>
                  <a:lnTo>
                    <a:pt x="936" y="1194"/>
                  </a:lnTo>
                  <a:lnTo>
                    <a:pt x="930" y="1200"/>
                  </a:lnTo>
                  <a:lnTo>
                    <a:pt x="930" y="1212"/>
                  </a:lnTo>
                  <a:lnTo>
                    <a:pt x="918" y="1218"/>
                  </a:lnTo>
                  <a:lnTo>
                    <a:pt x="918" y="1230"/>
                  </a:lnTo>
                  <a:lnTo>
                    <a:pt x="906" y="1230"/>
                  </a:lnTo>
                  <a:lnTo>
                    <a:pt x="900" y="1254"/>
                  </a:lnTo>
                  <a:lnTo>
                    <a:pt x="900" y="1260"/>
                  </a:lnTo>
                  <a:lnTo>
                    <a:pt x="900" y="1266"/>
                  </a:lnTo>
                  <a:lnTo>
                    <a:pt x="900" y="1272"/>
                  </a:lnTo>
                  <a:lnTo>
                    <a:pt x="900" y="1278"/>
                  </a:lnTo>
                  <a:lnTo>
                    <a:pt x="900" y="1284"/>
                  </a:lnTo>
                  <a:lnTo>
                    <a:pt x="906" y="129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1" name="Freeform 26">
              <a:extLst>
                <a:ext uri="{FF2B5EF4-FFF2-40B4-BE49-F238E27FC236}">
                  <a16:creationId xmlns:a16="http://schemas.microsoft.com/office/drawing/2014/main" id="{25725EFE-FE00-49A8-A87A-6752B785C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79173" y="3477313"/>
              <a:ext cx="650731" cy="559125"/>
            </a:xfrm>
            <a:custGeom>
              <a:avLst/>
              <a:gdLst>
                <a:gd name="T0" fmla="*/ 95 w 1224"/>
                <a:gd name="T1" fmla="*/ 89 h 1050"/>
                <a:gd name="T2" fmla="*/ 90 w 1224"/>
                <a:gd name="T3" fmla="*/ 84 h 1050"/>
                <a:gd name="T4" fmla="*/ 84 w 1224"/>
                <a:gd name="T5" fmla="*/ 83 h 1050"/>
                <a:gd name="T6" fmla="*/ 82 w 1224"/>
                <a:gd name="T7" fmla="*/ 80 h 1050"/>
                <a:gd name="T8" fmla="*/ 85 w 1224"/>
                <a:gd name="T9" fmla="*/ 77 h 1050"/>
                <a:gd name="T10" fmla="*/ 81 w 1224"/>
                <a:gd name="T11" fmla="*/ 76 h 1050"/>
                <a:gd name="T12" fmla="*/ 77 w 1224"/>
                <a:gd name="T13" fmla="*/ 77 h 1050"/>
                <a:gd name="T14" fmla="*/ 78 w 1224"/>
                <a:gd name="T15" fmla="*/ 73 h 1050"/>
                <a:gd name="T16" fmla="*/ 59 w 1224"/>
                <a:gd name="T17" fmla="*/ 71 h 1050"/>
                <a:gd name="T18" fmla="*/ 41 w 1224"/>
                <a:gd name="T19" fmla="*/ 73 h 1050"/>
                <a:gd name="T20" fmla="*/ 33 w 1224"/>
                <a:gd name="T21" fmla="*/ 71 h 1050"/>
                <a:gd name="T22" fmla="*/ 30 w 1224"/>
                <a:gd name="T23" fmla="*/ 75 h 1050"/>
                <a:gd name="T24" fmla="*/ 27 w 1224"/>
                <a:gd name="T25" fmla="*/ 80 h 1050"/>
                <a:gd name="T26" fmla="*/ 12 w 1224"/>
                <a:gd name="T27" fmla="*/ 81 h 1050"/>
                <a:gd name="T28" fmla="*/ 9 w 1224"/>
                <a:gd name="T29" fmla="*/ 84 h 1050"/>
                <a:gd name="T30" fmla="*/ 6 w 1224"/>
                <a:gd name="T31" fmla="*/ 83 h 1050"/>
                <a:gd name="T32" fmla="*/ 1 w 1224"/>
                <a:gd name="T33" fmla="*/ 83 h 1050"/>
                <a:gd name="T34" fmla="*/ 3 w 1224"/>
                <a:gd name="T35" fmla="*/ 77 h 1050"/>
                <a:gd name="T36" fmla="*/ 5 w 1224"/>
                <a:gd name="T37" fmla="*/ 70 h 1050"/>
                <a:gd name="T38" fmla="*/ 2 w 1224"/>
                <a:gd name="T39" fmla="*/ 65 h 1050"/>
                <a:gd name="T40" fmla="*/ 3 w 1224"/>
                <a:gd name="T41" fmla="*/ 58 h 1050"/>
                <a:gd name="T42" fmla="*/ 4 w 1224"/>
                <a:gd name="T43" fmla="*/ 51 h 1050"/>
                <a:gd name="T44" fmla="*/ 3 w 1224"/>
                <a:gd name="T45" fmla="*/ 47 h 1050"/>
                <a:gd name="T46" fmla="*/ 4 w 1224"/>
                <a:gd name="T47" fmla="*/ 39 h 1050"/>
                <a:gd name="T48" fmla="*/ 6 w 1224"/>
                <a:gd name="T49" fmla="*/ 29 h 1050"/>
                <a:gd name="T50" fmla="*/ 3 w 1224"/>
                <a:gd name="T51" fmla="*/ 22 h 1050"/>
                <a:gd name="T52" fmla="*/ 2 w 1224"/>
                <a:gd name="T53" fmla="*/ 14 h 1050"/>
                <a:gd name="T54" fmla="*/ 0 w 1224"/>
                <a:gd name="T55" fmla="*/ 6 h 1050"/>
                <a:gd name="T56" fmla="*/ 9 w 1224"/>
                <a:gd name="T57" fmla="*/ 1 h 1050"/>
                <a:gd name="T58" fmla="*/ 11 w 1224"/>
                <a:gd name="T59" fmla="*/ 8 h 1050"/>
                <a:gd name="T60" fmla="*/ 15 w 1224"/>
                <a:gd name="T61" fmla="*/ 9 h 1050"/>
                <a:gd name="T62" fmla="*/ 18 w 1224"/>
                <a:gd name="T63" fmla="*/ 8 h 1050"/>
                <a:gd name="T64" fmla="*/ 18 w 1224"/>
                <a:gd name="T65" fmla="*/ 13 h 1050"/>
                <a:gd name="T66" fmla="*/ 17 w 1224"/>
                <a:gd name="T67" fmla="*/ 15 h 1050"/>
                <a:gd name="T68" fmla="*/ 17 w 1224"/>
                <a:gd name="T69" fmla="*/ 17 h 1050"/>
                <a:gd name="T70" fmla="*/ 17 w 1224"/>
                <a:gd name="T71" fmla="*/ 21 h 1050"/>
                <a:gd name="T72" fmla="*/ 21 w 1224"/>
                <a:gd name="T73" fmla="*/ 25 h 1050"/>
                <a:gd name="T74" fmla="*/ 24 w 1224"/>
                <a:gd name="T75" fmla="*/ 31 h 1050"/>
                <a:gd name="T76" fmla="*/ 35 w 1224"/>
                <a:gd name="T77" fmla="*/ 34 h 1050"/>
                <a:gd name="T78" fmla="*/ 40 w 1224"/>
                <a:gd name="T79" fmla="*/ 27 h 1050"/>
                <a:gd name="T80" fmla="*/ 46 w 1224"/>
                <a:gd name="T81" fmla="*/ 30 h 1050"/>
                <a:gd name="T82" fmla="*/ 51 w 1224"/>
                <a:gd name="T83" fmla="*/ 27 h 1050"/>
                <a:gd name="T84" fmla="*/ 59 w 1224"/>
                <a:gd name="T85" fmla="*/ 39 h 1050"/>
                <a:gd name="T86" fmla="*/ 59 w 1224"/>
                <a:gd name="T87" fmla="*/ 45 h 1050"/>
                <a:gd name="T88" fmla="*/ 72 w 1224"/>
                <a:gd name="T89" fmla="*/ 45 h 1050"/>
                <a:gd name="T90" fmla="*/ 79 w 1224"/>
                <a:gd name="T91" fmla="*/ 44 h 1050"/>
                <a:gd name="T92" fmla="*/ 87 w 1224"/>
                <a:gd name="T93" fmla="*/ 48 h 1050"/>
                <a:gd name="T94" fmla="*/ 93 w 1224"/>
                <a:gd name="T95" fmla="*/ 50 h 1050"/>
                <a:gd name="T96" fmla="*/ 98 w 1224"/>
                <a:gd name="T97" fmla="*/ 51 h 1050"/>
                <a:gd name="T98" fmla="*/ 106 w 1224"/>
                <a:gd name="T99" fmla="*/ 50 h 1050"/>
                <a:gd name="T100" fmla="*/ 104 w 1224"/>
                <a:gd name="T101" fmla="*/ 54 h 1050"/>
                <a:gd name="T102" fmla="*/ 104 w 1224"/>
                <a:gd name="T103" fmla="*/ 60 h 1050"/>
                <a:gd name="T104" fmla="*/ 101 w 1224"/>
                <a:gd name="T105" fmla="*/ 63 h 1050"/>
                <a:gd name="T106" fmla="*/ 98 w 1224"/>
                <a:gd name="T107" fmla="*/ 66 h 1050"/>
                <a:gd name="T108" fmla="*/ 95 w 1224"/>
                <a:gd name="T109" fmla="*/ 68 h 1050"/>
                <a:gd name="T110" fmla="*/ 93 w 1224"/>
                <a:gd name="T111" fmla="*/ 72 h 1050"/>
                <a:gd name="T112" fmla="*/ 98 w 1224"/>
                <a:gd name="T113" fmla="*/ 75 h 1050"/>
                <a:gd name="T114" fmla="*/ 102 w 1224"/>
                <a:gd name="T115" fmla="*/ 77 h 1050"/>
                <a:gd name="T116" fmla="*/ 107 w 1224"/>
                <a:gd name="T117" fmla="*/ 76 h 1050"/>
                <a:gd name="T118" fmla="*/ 104 w 1224"/>
                <a:gd name="T119" fmla="*/ 84 h 1050"/>
                <a:gd name="T120" fmla="*/ 103 w 1224"/>
                <a:gd name="T121" fmla="*/ 87 h 1050"/>
                <a:gd name="T122" fmla="*/ 104 w 1224"/>
                <a:gd name="T123" fmla="*/ 91 h 105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24"/>
                <a:gd name="T187" fmla="*/ 0 h 1050"/>
                <a:gd name="T188" fmla="*/ 1224 w 1224"/>
                <a:gd name="T189" fmla="*/ 1050 h 105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24" h="1050">
                  <a:moveTo>
                    <a:pt x="1128" y="1032"/>
                  </a:moveTo>
                  <a:lnTo>
                    <a:pt x="1122" y="1026"/>
                  </a:lnTo>
                  <a:lnTo>
                    <a:pt x="1116" y="1026"/>
                  </a:lnTo>
                  <a:lnTo>
                    <a:pt x="1110" y="1026"/>
                  </a:lnTo>
                  <a:lnTo>
                    <a:pt x="1104" y="1026"/>
                  </a:lnTo>
                  <a:lnTo>
                    <a:pt x="1104" y="1020"/>
                  </a:lnTo>
                  <a:lnTo>
                    <a:pt x="1098" y="1020"/>
                  </a:lnTo>
                  <a:lnTo>
                    <a:pt x="1092" y="1020"/>
                  </a:lnTo>
                  <a:lnTo>
                    <a:pt x="1086" y="1020"/>
                  </a:lnTo>
                  <a:lnTo>
                    <a:pt x="1080" y="1014"/>
                  </a:lnTo>
                  <a:lnTo>
                    <a:pt x="1068" y="1014"/>
                  </a:lnTo>
                  <a:lnTo>
                    <a:pt x="1062" y="1014"/>
                  </a:lnTo>
                  <a:lnTo>
                    <a:pt x="1062" y="1008"/>
                  </a:lnTo>
                  <a:lnTo>
                    <a:pt x="1062" y="990"/>
                  </a:lnTo>
                  <a:lnTo>
                    <a:pt x="1062" y="984"/>
                  </a:lnTo>
                  <a:lnTo>
                    <a:pt x="1062" y="972"/>
                  </a:lnTo>
                  <a:lnTo>
                    <a:pt x="1044" y="966"/>
                  </a:lnTo>
                  <a:lnTo>
                    <a:pt x="1026" y="966"/>
                  </a:lnTo>
                  <a:lnTo>
                    <a:pt x="1014" y="966"/>
                  </a:lnTo>
                  <a:lnTo>
                    <a:pt x="996" y="966"/>
                  </a:lnTo>
                  <a:lnTo>
                    <a:pt x="996" y="972"/>
                  </a:lnTo>
                  <a:lnTo>
                    <a:pt x="990" y="972"/>
                  </a:lnTo>
                  <a:lnTo>
                    <a:pt x="984" y="966"/>
                  </a:lnTo>
                  <a:lnTo>
                    <a:pt x="978" y="966"/>
                  </a:lnTo>
                  <a:lnTo>
                    <a:pt x="978" y="960"/>
                  </a:lnTo>
                  <a:lnTo>
                    <a:pt x="972" y="954"/>
                  </a:lnTo>
                  <a:lnTo>
                    <a:pt x="966" y="954"/>
                  </a:lnTo>
                  <a:lnTo>
                    <a:pt x="960" y="954"/>
                  </a:lnTo>
                  <a:lnTo>
                    <a:pt x="954" y="954"/>
                  </a:lnTo>
                  <a:lnTo>
                    <a:pt x="954" y="948"/>
                  </a:lnTo>
                  <a:lnTo>
                    <a:pt x="942" y="942"/>
                  </a:lnTo>
                  <a:lnTo>
                    <a:pt x="936" y="942"/>
                  </a:lnTo>
                  <a:lnTo>
                    <a:pt x="936" y="936"/>
                  </a:lnTo>
                  <a:lnTo>
                    <a:pt x="936" y="930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42" y="918"/>
                  </a:lnTo>
                  <a:lnTo>
                    <a:pt x="948" y="918"/>
                  </a:lnTo>
                  <a:lnTo>
                    <a:pt x="960" y="918"/>
                  </a:lnTo>
                  <a:lnTo>
                    <a:pt x="966" y="912"/>
                  </a:lnTo>
                  <a:lnTo>
                    <a:pt x="978" y="906"/>
                  </a:lnTo>
                  <a:lnTo>
                    <a:pt x="978" y="900"/>
                  </a:lnTo>
                  <a:lnTo>
                    <a:pt x="978" y="894"/>
                  </a:lnTo>
                  <a:lnTo>
                    <a:pt x="978" y="888"/>
                  </a:lnTo>
                  <a:lnTo>
                    <a:pt x="972" y="888"/>
                  </a:lnTo>
                  <a:lnTo>
                    <a:pt x="978" y="888"/>
                  </a:lnTo>
                  <a:lnTo>
                    <a:pt x="978" y="882"/>
                  </a:lnTo>
                  <a:lnTo>
                    <a:pt x="972" y="876"/>
                  </a:lnTo>
                  <a:lnTo>
                    <a:pt x="966" y="870"/>
                  </a:lnTo>
                  <a:lnTo>
                    <a:pt x="954" y="876"/>
                  </a:lnTo>
                  <a:lnTo>
                    <a:pt x="948" y="876"/>
                  </a:lnTo>
                  <a:lnTo>
                    <a:pt x="942" y="870"/>
                  </a:lnTo>
                  <a:lnTo>
                    <a:pt x="936" y="876"/>
                  </a:lnTo>
                  <a:lnTo>
                    <a:pt x="930" y="876"/>
                  </a:lnTo>
                  <a:lnTo>
                    <a:pt x="924" y="882"/>
                  </a:lnTo>
                  <a:lnTo>
                    <a:pt x="912" y="888"/>
                  </a:lnTo>
                  <a:lnTo>
                    <a:pt x="906" y="894"/>
                  </a:lnTo>
                  <a:lnTo>
                    <a:pt x="900" y="900"/>
                  </a:lnTo>
                  <a:lnTo>
                    <a:pt x="894" y="888"/>
                  </a:lnTo>
                  <a:lnTo>
                    <a:pt x="888" y="894"/>
                  </a:lnTo>
                  <a:lnTo>
                    <a:pt x="882" y="888"/>
                  </a:lnTo>
                  <a:lnTo>
                    <a:pt x="876" y="894"/>
                  </a:lnTo>
                  <a:lnTo>
                    <a:pt x="876" y="888"/>
                  </a:lnTo>
                  <a:lnTo>
                    <a:pt x="876" y="882"/>
                  </a:lnTo>
                  <a:lnTo>
                    <a:pt x="876" y="876"/>
                  </a:lnTo>
                  <a:lnTo>
                    <a:pt x="870" y="858"/>
                  </a:lnTo>
                  <a:lnTo>
                    <a:pt x="864" y="858"/>
                  </a:lnTo>
                  <a:lnTo>
                    <a:pt x="870" y="852"/>
                  </a:lnTo>
                  <a:lnTo>
                    <a:pt x="870" y="846"/>
                  </a:lnTo>
                  <a:lnTo>
                    <a:pt x="876" y="846"/>
                  </a:lnTo>
                  <a:lnTo>
                    <a:pt x="882" y="846"/>
                  </a:lnTo>
                  <a:lnTo>
                    <a:pt x="888" y="840"/>
                  </a:lnTo>
                  <a:lnTo>
                    <a:pt x="894" y="834"/>
                  </a:lnTo>
                  <a:lnTo>
                    <a:pt x="894" y="828"/>
                  </a:lnTo>
                  <a:lnTo>
                    <a:pt x="894" y="816"/>
                  </a:lnTo>
                  <a:lnTo>
                    <a:pt x="858" y="810"/>
                  </a:lnTo>
                  <a:lnTo>
                    <a:pt x="858" y="816"/>
                  </a:lnTo>
                  <a:lnTo>
                    <a:pt x="852" y="816"/>
                  </a:lnTo>
                  <a:lnTo>
                    <a:pt x="780" y="816"/>
                  </a:lnTo>
                  <a:lnTo>
                    <a:pt x="750" y="816"/>
                  </a:lnTo>
                  <a:lnTo>
                    <a:pt x="684" y="816"/>
                  </a:lnTo>
                  <a:lnTo>
                    <a:pt x="636" y="816"/>
                  </a:lnTo>
                  <a:lnTo>
                    <a:pt x="612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0" y="816"/>
                  </a:lnTo>
                  <a:lnTo>
                    <a:pt x="480" y="822"/>
                  </a:lnTo>
                  <a:lnTo>
                    <a:pt x="480" y="834"/>
                  </a:lnTo>
                  <a:lnTo>
                    <a:pt x="474" y="840"/>
                  </a:lnTo>
                  <a:lnTo>
                    <a:pt x="468" y="840"/>
                  </a:lnTo>
                  <a:lnTo>
                    <a:pt x="432" y="840"/>
                  </a:lnTo>
                  <a:lnTo>
                    <a:pt x="426" y="834"/>
                  </a:lnTo>
                  <a:lnTo>
                    <a:pt x="420" y="834"/>
                  </a:lnTo>
                  <a:lnTo>
                    <a:pt x="420" y="828"/>
                  </a:lnTo>
                  <a:lnTo>
                    <a:pt x="414" y="822"/>
                  </a:lnTo>
                  <a:lnTo>
                    <a:pt x="408" y="822"/>
                  </a:lnTo>
                  <a:lnTo>
                    <a:pt x="396" y="822"/>
                  </a:lnTo>
                  <a:lnTo>
                    <a:pt x="396" y="816"/>
                  </a:lnTo>
                  <a:lnTo>
                    <a:pt x="384" y="816"/>
                  </a:lnTo>
                  <a:lnTo>
                    <a:pt x="372" y="810"/>
                  </a:lnTo>
                  <a:lnTo>
                    <a:pt x="372" y="804"/>
                  </a:lnTo>
                  <a:lnTo>
                    <a:pt x="366" y="804"/>
                  </a:lnTo>
                  <a:lnTo>
                    <a:pt x="360" y="804"/>
                  </a:lnTo>
                  <a:lnTo>
                    <a:pt x="348" y="828"/>
                  </a:lnTo>
                  <a:lnTo>
                    <a:pt x="348" y="834"/>
                  </a:lnTo>
                  <a:lnTo>
                    <a:pt x="348" y="852"/>
                  </a:lnTo>
                  <a:lnTo>
                    <a:pt x="348" y="858"/>
                  </a:lnTo>
                  <a:lnTo>
                    <a:pt x="342" y="864"/>
                  </a:lnTo>
                  <a:lnTo>
                    <a:pt x="342" y="870"/>
                  </a:lnTo>
                  <a:lnTo>
                    <a:pt x="330" y="876"/>
                  </a:lnTo>
                  <a:lnTo>
                    <a:pt x="324" y="888"/>
                  </a:lnTo>
                  <a:lnTo>
                    <a:pt x="324" y="894"/>
                  </a:lnTo>
                  <a:lnTo>
                    <a:pt x="330" y="900"/>
                  </a:lnTo>
                  <a:lnTo>
                    <a:pt x="330" y="906"/>
                  </a:lnTo>
                  <a:lnTo>
                    <a:pt x="324" y="906"/>
                  </a:lnTo>
                  <a:lnTo>
                    <a:pt x="318" y="912"/>
                  </a:lnTo>
                  <a:lnTo>
                    <a:pt x="312" y="918"/>
                  </a:lnTo>
                  <a:lnTo>
                    <a:pt x="306" y="924"/>
                  </a:lnTo>
                  <a:lnTo>
                    <a:pt x="288" y="924"/>
                  </a:lnTo>
                  <a:lnTo>
                    <a:pt x="282" y="924"/>
                  </a:lnTo>
                  <a:lnTo>
                    <a:pt x="276" y="930"/>
                  </a:lnTo>
                  <a:lnTo>
                    <a:pt x="270" y="930"/>
                  </a:lnTo>
                  <a:lnTo>
                    <a:pt x="264" y="930"/>
                  </a:lnTo>
                  <a:lnTo>
                    <a:pt x="198" y="930"/>
                  </a:lnTo>
                  <a:lnTo>
                    <a:pt x="132" y="930"/>
                  </a:lnTo>
                  <a:lnTo>
                    <a:pt x="132" y="936"/>
                  </a:lnTo>
                  <a:lnTo>
                    <a:pt x="132" y="942"/>
                  </a:lnTo>
                  <a:lnTo>
                    <a:pt x="132" y="948"/>
                  </a:lnTo>
                  <a:lnTo>
                    <a:pt x="126" y="948"/>
                  </a:lnTo>
                  <a:lnTo>
                    <a:pt x="120" y="948"/>
                  </a:lnTo>
                  <a:lnTo>
                    <a:pt x="120" y="954"/>
                  </a:lnTo>
                  <a:lnTo>
                    <a:pt x="114" y="954"/>
                  </a:lnTo>
                  <a:lnTo>
                    <a:pt x="114" y="960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02" y="966"/>
                  </a:lnTo>
                  <a:lnTo>
                    <a:pt x="102" y="972"/>
                  </a:lnTo>
                  <a:lnTo>
                    <a:pt x="96" y="972"/>
                  </a:lnTo>
                  <a:lnTo>
                    <a:pt x="96" y="966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78" y="960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60"/>
                  </a:lnTo>
                  <a:lnTo>
                    <a:pt x="54" y="966"/>
                  </a:lnTo>
                  <a:lnTo>
                    <a:pt x="48" y="966"/>
                  </a:lnTo>
                  <a:lnTo>
                    <a:pt x="42" y="966"/>
                  </a:lnTo>
                  <a:lnTo>
                    <a:pt x="36" y="966"/>
                  </a:lnTo>
                  <a:lnTo>
                    <a:pt x="30" y="966"/>
                  </a:lnTo>
                  <a:lnTo>
                    <a:pt x="24" y="960"/>
                  </a:lnTo>
                  <a:lnTo>
                    <a:pt x="18" y="960"/>
                  </a:lnTo>
                  <a:lnTo>
                    <a:pt x="12" y="960"/>
                  </a:lnTo>
                  <a:lnTo>
                    <a:pt x="12" y="948"/>
                  </a:lnTo>
                  <a:lnTo>
                    <a:pt x="18" y="942"/>
                  </a:lnTo>
                  <a:lnTo>
                    <a:pt x="18" y="936"/>
                  </a:lnTo>
                  <a:lnTo>
                    <a:pt x="18" y="930"/>
                  </a:lnTo>
                  <a:lnTo>
                    <a:pt x="18" y="924"/>
                  </a:lnTo>
                  <a:lnTo>
                    <a:pt x="18" y="912"/>
                  </a:lnTo>
                  <a:lnTo>
                    <a:pt x="24" y="906"/>
                  </a:lnTo>
                  <a:lnTo>
                    <a:pt x="30" y="900"/>
                  </a:lnTo>
                  <a:lnTo>
                    <a:pt x="36" y="894"/>
                  </a:lnTo>
                  <a:lnTo>
                    <a:pt x="36" y="882"/>
                  </a:lnTo>
                  <a:lnTo>
                    <a:pt x="30" y="876"/>
                  </a:lnTo>
                  <a:lnTo>
                    <a:pt x="30" y="870"/>
                  </a:lnTo>
                  <a:lnTo>
                    <a:pt x="24" y="858"/>
                  </a:lnTo>
                  <a:lnTo>
                    <a:pt x="24" y="846"/>
                  </a:lnTo>
                  <a:lnTo>
                    <a:pt x="36" y="822"/>
                  </a:lnTo>
                  <a:lnTo>
                    <a:pt x="42" y="816"/>
                  </a:lnTo>
                  <a:lnTo>
                    <a:pt x="48" y="816"/>
                  </a:lnTo>
                  <a:lnTo>
                    <a:pt x="60" y="804"/>
                  </a:lnTo>
                  <a:lnTo>
                    <a:pt x="60" y="786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54" y="762"/>
                  </a:lnTo>
                  <a:lnTo>
                    <a:pt x="42" y="762"/>
                  </a:lnTo>
                  <a:lnTo>
                    <a:pt x="36" y="762"/>
                  </a:lnTo>
                  <a:lnTo>
                    <a:pt x="30" y="762"/>
                  </a:lnTo>
                  <a:lnTo>
                    <a:pt x="30" y="756"/>
                  </a:lnTo>
                  <a:lnTo>
                    <a:pt x="24" y="750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702"/>
                  </a:lnTo>
                  <a:lnTo>
                    <a:pt x="36" y="684"/>
                  </a:lnTo>
                  <a:lnTo>
                    <a:pt x="36" y="678"/>
                  </a:lnTo>
                  <a:lnTo>
                    <a:pt x="36" y="666"/>
                  </a:lnTo>
                  <a:lnTo>
                    <a:pt x="36" y="654"/>
                  </a:lnTo>
                  <a:lnTo>
                    <a:pt x="18" y="654"/>
                  </a:lnTo>
                  <a:lnTo>
                    <a:pt x="18" y="648"/>
                  </a:lnTo>
                  <a:lnTo>
                    <a:pt x="18" y="618"/>
                  </a:lnTo>
                  <a:lnTo>
                    <a:pt x="18" y="612"/>
                  </a:lnTo>
                  <a:lnTo>
                    <a:pt x="24" y="612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54" y="588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76"/>
                  </a:lnTo>
                  <a:lnTo>
                    <a:pt x="48" y="564"/>
                  </a:lnTo>
                  <a:lnTo>
                    <a:pt x="42" y="564"/>
                  </a:lnTo>
                  <a:lnTo>
                    <a:pt x="36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6" y="540"/>
                  </a:lnTo>
                  <a:lnTo>
                    <a:pt x="48" y="534"/>
                  </a:lnTo>
                  <a:lnTo>
                    <a:pt x="54" y="528"/>
                  </a:lnTo>
                  <a:lnTo>
                    <a:pt x="60" y="504"/>
                  </a:lnTo>
                  <a:lnTo>
                    <a:pt x="60" y="492"/>
                  </a:lnTo>
                  <a:lnTo>
                    <a:pt x="54" y="492"/>
                  </a:lnTo>
                  <a:lnTo>
                    <a:pt x="54" y="480"/>
                  </a:lnTo>
                  <a:lnTo>
                    <a:pt x="48" y="456"/>
                  </a:lnTo>
                  <a:lnTo>
                    <a:pt x="42" y="450"/>
                  </a:lnTo>
                  <a:lnTo>
                    <a:pt x="36" y="444"/>
                  </a:lnTo>
                  <a:lnTo>
                    <a:pt x="36" y="420"/>
                  </a:lnTo>
                  <a:lnTo>
                    <a:pt x="36" y="408"/>
                  </a:lnTo>
                  <a:lnTo>
                    <a:pt x="36" y="37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60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6" y="300"/>
                  </a:lnTo>
                  <a:lnTo>
                    <a:pt x="60" y="294"/>
                  </a:lnTo>
                  <a:lnTo>
                    <a:pt x="60" y="288"/>
                  </a:lnTo>
                  <a:lnTo>
                    <a:pt x="54" y="282"/>
                  </a:lnTo>
                  <a:lnTo>
                    <a:pt x="42" y="276"/>
                  </a:lnTo>
                  <a:lnTo>
                    <a:pt x="36" y="276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0" y="252"/>
                  </a:lnTo>
                  <a:lnTo>
                    <a:pt x="24" y="246"/>
                  </a:lnTo>
                  <a:lnTo>
                    <a:pt x="24" y="240"/>
                  </a:lnTo>
                  <a:lnTo>
                    <a:pt x="24" y="228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62"/>
                  </a:lnTo>
                  <a:lnTo>
                    <a:pt x="24" y="144"/>
                  </a:lnTo>
                  <a:lnTo>
                    <a:pt x="24" y="132"/>
                  </a:lnTo>
                  <a:lnTo>
                    <a:pt x="24" y="114"/>
                  </a:lnTo>
                  <a:lnTo>
                    <a:pt x="24" y="102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18" y="48"/>
                  </a:lnTo>
                  <a:lnTo>
                    <a:pt x="42" y="36"/>
                  </a:lnTo>
                  <a:lnTo>
                    <a:pt x="54" y="24"/>
                  </a:lnTo>
                  <a:lnTo>
                    <a:pt x="60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10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14" y="60"/>
                  </a:lnTo>
                  <a:lnTo>
                    <a:pt x="120" y="60"/>
                  </a:lnTo>
                  <a:lnTo>
                    <a:pt x="114" y="84"/>
                  </a:lnTo>
                  <a:lnTo>
                    <a:pt x="120" y="90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38" y="114"/>
                  </a:lnTo>
                  <a:lnTo>
                    <a:pt x="138" y="132"/>
                  </a:lnTo>
                  <a:lnTo>
                    <a:pt x="162" y="126"/>
                  </a:lnTo>
                  <a:lnTo>
                    <a:pt x="162" y="114"/>
                  </a:lnTo>
                  <a:lnTo>
                    <a:pt x="174" y="108"/>
                  </a:lnTo>
                  <a:lnTo>
                    <a:pt x="174" y="102"/>
                  </a:lnTo>
                  <a:lnTo>
                    <a:pt x="180" y="96"/>
                  </a:lnTo>
                  <a:lnTo>
                    <a:pt x="180" y="60"/>
                  </a:lnTo>
                  <a:lnTo>
                    <a:pt x="192" y="60"/>
                  </a:lnTo>
                  <a:lnTo>
                    <a:pt x="192" y="72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04" y="108"/>
                  </a:lnTo>
                  <a:lnTo>
                    <a:pt x="204" y="114"/>
                  </a:lnTo>
                  <a:lnTo>
                    <a:pt x="204" y="120"/>
                  </a:lnTo>
                  <a:lnTo>
                    <a:pt x="204" y="126"/>
                  </a:lnTo>
                  <a:lnTo>
                    <a:pt x="210" y="126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8" y="174"/>
                  </a:lnTo>
                  <a:lnTo>
                    <a:pt x="198" y="180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86" y="204"/>
                  </a:lnTo>
                  <a:lnTo>
                    <a:pt x="186" y="210"/>
                  </a:lnTo>
                  <a:lnTo>
                    <a:pt x="180" y="210"/>
                  </a:lnTo>
                  <a:lnTo>
                    <a:pt x="180" y="216"/>
                  </a:lnTo>
                  <a:lnTo>
                    <a:pt x="180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92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8" y="258"/>
                  </a:lnTo>
                  <a:lnTo>
                    <a:pt x="204" y="258"/>
                  </a:lnTo>
                  <a:lnTo>
                    <a:pt x="210" y="258"/>
                  </a:lnTo>
                  <a:lnTo>
                    <a:pt x="216" y="258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34" y="276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46" y="306"/>
                  </a:lnTo>
                  <a:lnTo>
                    <a:pt x="252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42"/>
                  </a:lnTo>
                  <a:lnTo>
                    <a:pt x="270" y="342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88" y="366"/>
                  </a:lnTo>
                  <a:lnTo>
                    <a:pt x="336" y="360"/>
                  </a:lnTo>
                  <a:lnTo>
                    <a:pt x="354" y="360"/>
                  </a:lnTo>
                  <a:lnTo>
                    <a:pt x="366" y="372"/>
                  </a:lnTo>
                  <a:lnTo>
                    <a:pt x="378" y="378"/>
                  </a:lnTo>
                  <a:lnTo>
                    <a:pt x="378" y="390"/>
                  </a:lnTo>
                  <a:lnTo>
                    <a:pt x="384" y="390"/>
                  </a:lnTo>
                  <a:lnTo>
                    <a:pt x="390" y="396"/>
                  </a:lnTo>
                  <a:lnTo>
                    <a:pt x="408" y="390"/>
                  </a:lnTo>
                  <a:lnTo>
                    <a:pt x="426" y="366"/>
                  </a:lnTo>
                  <a:lnTo>
                    <a:pt x="432" y="360"/>
                  </a:lnTo>
                  <a:lnTo>
                    <a:pt x="438" y="348"/>
                  </a:lnTo>
                  <a:lnTo>
                    <a:pt x="438" y="342"/>
                  </a:lnTo>
                  <a:lnTo>
                    <a:pt x="438" y="330"/>
                  </a:lnTo>
                  <a:lnTo>
                    <a:pt x="444" y="324"/>
                  </a:lnTo>
                  <a:lnTo>
                    <a:pt x="450" y="318"/>
                  </a:lnTo>
                  <a:lnTo>
                    <a:pt x="456" y="312"/>
                  </a:lnTo>
                  <a:lnTo>
                    <a:pt x="456" y="306"/>
                  </a:lnTo>
                  <a:lnTo>
                    <a:pt x="456" y="300"/>
                  </a:lnTo>
                  <a:lnTo>
                    <a:pt x="474" y="288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92" y="294"/>
                  </a:lnTo>
                  <a:lnTo>
                    <a:pt x="492" y="318"/>
                  </a:lnTo>
                  <a:lnTo>
                    <a:pt x="504" y="324"/>
                  </a:lnTo>
                  <a:lnTo>
                    <a:pt x="492" y="348"/>
                  </a:lnTo>
                  <a:lnTo>
                    <a:pt x="522" y="348"/>
                  </a:lnTo>
                  <a:lnTo>
                    <a:pt x="528" y="342"/>
                  </a:lnTo>
                  <a:lnTo>
                    <a:pt x="528" y="336"/>
                  </a:lnTo>
                  <a:lnTo>
                    <a:pt x="528" y="330"/>
                  </a:lnTo>
                  <a:lnTo>
                    <a:pt x="534" y="330"/>
                  </a:lnTo>
                  <a:lnTo>
                    <a:pt x="540" y="330"/>
                  </a:lnTo>
                  <a:lnTo>
                    <a:pt x="546" y="330"/>
                  </a:lnTo>
                  <a:lnTo>
                    <a:pt x="552" y="324"/>
                  </a:lnTo>
                  <a:lnTo>
                    <a:pt x="558" y="318"/>
                  </a:lnTo>
                  <a:lnTo>
                    <a:pt x="576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8" y="348"/>
                  </a:lnTo>
                  <a:lnTo>
                    <a:pt x="654" y="354"/>
                  </a:lnTo>
                  <a:lnTo>
                    <a:pt x="648" y="402"/>
                  </a:lnTo>
                  <a:lnTo>
                    <a:pt x="678" y="402"/>
                  </a:lnTo>
                  <a:lnTo>
                    <a:pt x="678" y="420"/>
                  </a:lnTo>
                  <a:lnTo>
                    <a:pt x="684" y="438"/>
                  </a:lnTo>
                  <a:lnTo>
                    <a:pt x="684" y="450"/>
                  </a:lnTo>
                  <a:lnTo>
                    <a:pt x="684" y="456"/>
                  </a:lnTo>
                  <a:lnTo>
                    <a:pt x="690" y="468"/>
                  </a:lnTo>
                  <a:lnTo>
                    <a:pt x="690" y="474"/>
                  </a:lnTo>
                  <a:lnTo>
                    <a:pt x="690" y="480"/>
                  </a:lnTo>
                  <a:lnTo>
                    <a:pt x="696" y="486"/>
                  </a:lnTo>
                  <a:lnTo>
                    <a:pt x="696" y="498"/>
                  </a:lnTo>
                  <a:lnTo>
                    <a:pt x="702" y="504"/>
                  </a:lnTo>
                  <a:lnTo>
                    <a:pt x="690" y="516"/>
                  </a:lnTo>
                  <a:lnTo>
                    <a:pt x="678" y="522"/>
                  </a:lnTo>
                  <a:lnTo>
                    <a:pt x="654" y="528"/>
                  </a:lnTo>
                  <a:lnTo>
                    <a:pt x="660" y="546"/>
                  </a:lnTo>
                  <a:lnTo>
                    <a:pt x="672" y="546"/>
                  </a:lnTo>
                  <a:lnTo>
                    <a:pt x="678" y="540"/>
                  </a:lnTo>
                  <a:lnTo>
                    <a:pt x="714" y="540"/>
                  </a:lnTo>
                  <a:lnTo>
                    <a:pt x="798" y="540"/>
                  </a:lnTo>
                  <a:lnTo>
                    <a:pt x="804" y="540"/>
                  </a:lnTo>
                  <a:lnTo>
                    <a:pt x="816" y="528"/>
                  </a:lnTo>
                  <a:lnTo>
                    <a:pt x="822" y="522"/>
                  </a:lnTo>
                  <a:lnTo>
                    <a:pt x="834" y="516"/>
                  </a:lnTo>
                  <a:lnTo>
                    <a:pt x="846" y="516"/>
                  </a:lnTo>
                  <a:lnTo>
                    <a:pt x="852" y="510"/>
                  </a:lnTo>
                  <a:lnTo>
                    <a:pt x="858" y="510"/>
                  </a:lnTo>
                  <a:lnTo>
                    <a:pt x="882" y="516"/>
                  </a:lnTo>
                  <a:lnTo>
                    <a:pt x="888" y="516"/>
                  </a:lnTo>
                  <a:lnTo>
                    <a:pt x="888" y="510"/>
                  </a:lnTo>
                  <a:lnTo>
                    <a:pt x="894" y="510"/>
                  </a:lnTo>
                  <a:lnTo>
                    <a:pt x="906" y="504"/>
                  </a:lnTo>
                  <a:lnTo>
                    <a:pt x="918" y="498"/>
                  </a:lnTo>
                  <a:lnTo>
                    <a:pt x="930" y="492"/>
                  </a:lnTo>
                  <a:lnTo>
                    <a:pt x="936" y="492"/>
                  </a:lnTo>
                  <a:lnTo>
                    <a:pt x="948" y="492"/>
                  </a:lnTo>
                  <a:lnTo>
                    <a:pt x="954" y="528"/>
                  </a:lnTo>
                  <a:lnTo>
                    <a:pt x="954" y="564"/>
                  </a:lnTo>
                  <a:lnTo>
                    <a:pt x="972" y="564"/>
                  </a:lnTo>
                  <a:lnTo>
                    <a:pt x="978" y="558"/>
                  </a:lnTo>
                  <a:lnTo>
                    <a:pt x="990" y="552"/>
                  </a:lnTo>
                  <a:lnTo>
                    <a:pt x="1002" y="540"/>
                  </a:lnTo>
                  <a:lnTo>
                    <a:pt x="1026" y="534"/>
                  </a:lnTo>
                  <a:lnTo>
                    <a:pt x="1032" y="540"/>
                  </a:lnTo>
                  <a:lnTo>
                    <a:pt x="1044" y="546"/>
                  </a:lnTo>
                  <a:lnTo>
                    <a:pt x="1062" y="552"/>
                  </a:lnTo>
                  <a:lnTo>
                    <a:pt x="1068" y="552"/>
                  </a:lnTo>
                  <a:lnTo>
                    <a:pt x="1068" y="570"/>
                  </a:lnTo>
                  <a:lnTo>
                    <a:pt x="1068" y="576"/>
                  </a:lnTo>
                  <a:lnTo>
                    <a:pt x="1068" y="582"/>
                  </a:lnTo>
                  <a:lnTo>
                    <a:pt x="1068" y="588"/>
                  </a:lnTo>
                  <a:lnTo>
                    <a:pt x="1068" y="594"/>
                  </a:lnTo>
                  <a:lnTo>
                    <a:pt x="1080" y="600"/>
                  </a:lnTo>
                  <a:lnTo>
                    <a:pt x="1086" y="606"/>
                  </a:lnTo>
                  <a:lnTo>
                    <a:pt x="1092" y="594"/>
                  </a:lnTo>
                  <a:lnTo>
                    <a:pt x="1104" y="588"/>
                  </a:lnTo>
                  <a:lnTo>
                    <a:pt x="1116" y="588"/>
                  </a:lnTo>
                  <a:lnTo>
                    <a:pt x="1122" y="588"/>
                  </a:lnTo>
                  <a:lnTo>
                    <a:pt x="1122" y="594"/>
                  </a:lnTo>
                  <a:lnTo>
                    <a:pt x="1128" y="594"/>
                  </a:lnTo>
                  <a:lnTo>
                    <a:pt x="1134" y="594"/>
                  </a:lnTo>
                  <a:lnTo>
                    <a:pt x="1140" y="594"/>
                  </a:lnTo>
                  <a:lnTo>
                    <a:pt x="1146" y="588"/>
                  </a:lnTo>
                  <a:lnTo>
                    <a:pt x="1158" y="582"/>
                  </a:lnTo>
                  <a:lnTo>
                    <a:pt x="1164" y="576"/>
                  </a:lnTo>
                  <a:lnTo>
                    <a:pt x="1176" y="576"/>
                  </a:lnTo>
                  <a:lnTo>
                    <a:pt x="1194" y="576"/>
                  </a:lnTo>
                  <a:lnTo>
                    <a:pt x="1218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24" y="594"/>
                  </a:lnTo>
                  <a:lnTo>
                    <a:pt x="1212" y="600"/>
                  </a:lnTo>
                  <a:lnTo>
                    <a:pt x="1206" y="606"/>
                  </a:lnTo>
                  <a:lnTo>
                    <a:pt x="1200" y="606"/>
                  </a:lnTo>
                  <a:lnTo>
                    <a:pt x="1200" y="612"/>
                  </a:lnTo>
                  <a:lnTo>
                    <a:pt x="1194" y="612"/>
                  </a:lnTo>
                  <a:lnTo>
                    <a:pt x="1194" y="618"/>
                  </a:lnTo>
                  <a:lnTo>
                    <a:pt x="1194" y="624"/>
                  </a:lnTo>
                  <a:lnTo>
                    <a:pt x="1194" y="630"/>
                  </a:lnTo>
                  <a:lnTo>
                    <a:pt x="1194" y="648"/>
                  </a:lnTo>
                  <a:lnTo>
                    <a:pt x="1194" y="660"/>
                  </a:lnTo>
                  <a:lnTo>
                    <a:pt x="1194" y="666"/>
                  </a:lnTo>
                  <a:lnTo>
                    <a:pt x="1194" y="672"/>
                  </a:lnTo>
                  <a:lnTo>
                    <a:pt x="1194" y="678"/>
                  </a:lnTo>
                  <a:lnTo>
                    <a:pt x="1188" y="684"/>
                  </a:lnTo>
                  <a:lnTo>
                    <a:pt x="1188" y="690"/>
                  </a:lnTo>
                  <a:lnTo>
                    <a:pt x="1188" y="696"/>
                  </a:lnTo>
                  <a:lnTo>
                    <a:pt x="1188" y="702"/>
                  </a:lnTo>
                  <a:lnTo>
                    <a:pt x="1188" y="708"/>
                  </a:lnTo>
                  <a:lnTo>
                    <a:pt x="1188" y="714"/>
                  </a:lnTo>
                  <a:lnTo>
                    <a:pt x="1182" y="720"/>
                  </a:lnTo>
                  <a:lnTo>
                    <a:pt x="1170" y="720"/>
                  </a:lnTo>
                  <a:lnTo>
                    <a:pt x="1158" y="726"/>
                  </a:lnTo>
                  <a:lnTo>
                    <a:pt x="1152" y="726"/>
                  </a:lnTo>
                  <a:lnTo>
                    <a:pt x="1152" y="732"/>
                  </a:lnTo>
                  <a:lnTo>
                    <a:pt x="1146" y="738"/>
                  </a:lnTo>
                  <a:lnTo>
                    <a:pt x="1140" y="738"/>
                  </a:lnTo>
                  <a:lnTo>
                    <a:pt x="1140" y="744"/>
                  </a:lnTo>
                  <a:lnTo>
                    <a:pt x="1134" y="744"/>
                  </a:lnTo>
                  <a:lnTo>
                    <a:pt x="1128" y="744"/>
                  </a:lnTo>
                  <a:lnTo>
                    <a:pt x="1122" y="750"/>
                  </a:lnTo>
                  <a:lnTo>
                    <a:pt x="1128" y="750"/>
                  </a:lnTo>
                  <a:lnTo>
                    <a:pt x="1122" y="756"/>
                  </a:lnTo>
                  <a:lnTo>
                    <a:pt x="1116" y="756"/>
                  </a:lnTo>
                  <a:lnTo>
                    <a:pt x="1110" y="762"/>
                  </a:lnTo>
                  <a:lnTo>
                    <a:pt x="1104" y="762"/>
                  </a:lnTo>
                  <a:lnTo>
                    <a:pt x="1104" y="768"/>
                  </a:lnTo>
                  <a:lnTo>
                    <a:pt x="1098" y="768"/>
                  </a:lnTo>
                  <a:lnTo>
                    <a:pt x="1098" y="774"/>
                  </a:lnTo>
                  <a:lnTo>
                    <a:pt x="1092" y="774"/>
                  </a:lnTo>
                  <a:lnTo>
                    <a:pt x="1092" y="780"/>
                  </a:lnTo>
                  <a:lnTo>
                    <a:pt x="1086" y="780"/>
                  </a:lnTo>
                  <a:lnTo>
                    <a:pt x="1086" y="786"/>
                  </a:lnTo>
                  <a:lnTo>
                    <a:pt x="1080" y="786"/>
                  </a:lnTo>
                  <a:lnTo>
                    <a:pt x="1080" y="792"/>
                  </a:lnTo>
                  <a:lnTo>
                    <a:pt x="1080" y="798"/>
                  </a:lnTo>
                  <a:lnTo>
                    <a:pt x="1080" y="804"/>
                  </a:lnTo>
                  <a:lnTo>
                    <a:pt x="1086" y="810"/>
                  </a:lnTo>
                  <a:lnTo>
                    <a:pt x="1080" y="816"/>
                  </a:lnTo>
                  <a:lnTo>
                    <a:pt x="1080" y="822"/>
                  </a:lnTo>
                  <a:lnTo>
                    <a:pt x="1074" y="822"/>
                  </a:lnTo>
                  <a:lnTo>
                    <a:pt x="1068" y="828"/>
                  </a:lnTo>
                  <a:lnTo>
                    <a:pt x="1074" y="828"/>
                  </a:lnTo>
                  <a:lnTo>
                    <a:pt x="1074" y="834"/>
                  </a:lnTo>
                  <a:lnTo>
                    <a:pt x="1080" y="846"/>
                  </a:lnTo>
                  <a:lnTo>
                    <a:pt x="1086" y="846"/>
                  </a:lnTo>
                  <a:lnTo>
                    <a:pt x="1092" y="852"/>
                  </a:lnTo>
                  <a:lnTo>
                    <a:pt x="1092" y="858"/>
                  </a:lnTo>
                  <a:lnTo>
                    <a:pt x="1098" y="858"/>
                  </a:lnTo>
                  <a:lnTo>
                    <a:pt x="1110" y="864"/>
                  </a:lnTo>
                  <a:lnTo>
                    <a:pt x="1116" y="864"/>
                  </a:lnTo>
                  <a:lnTo>
                    <a:pt x="1122" y="864"/>
                  </a:lnTo>
                  <a:lnTo>
                    <a:pt x="1128" y="864"/>
                  </a:lnTo>
                  <a:lnTo>
                    <a:pt x="1134" y="876"/>
                  </a:lnTo>
                  <a:lnTo>
                    <a:pt x="1140" y="882"/>
                  </a:lnTo>
                  <a:lnTo>
                    <a:pt x="1140" y="888"/>
                  </a:lnTo>
                  <a:lnTo>
                    <a:pt x="1152" y="918"/>
                  </a:lnTo>
                  <a:lnTo>
                    <a:pt x="1158" y="894"/>
                  </a:lnTo>
                  <a:lnTo>
                    <a:pt x="1164" y="888"/>
                  </a:lnTo>
                  <a:lnTo>
                    <a:pt x="1164" y="882"/>
                  </a:lnTo>
                  <a:lnTo>
                    <a:pt x="1176" y="864"/>
                  </a:lnTo>
                  <a:lnTo>
                    <a:pt x="1182" y="858"/>
                  </a:lnTo>
                  <a:lnTo>
                    <a:pt x="1188" y="846"/>
                  </a:lnTo>
                  <a:lnTo>
                    <a:pt x="1200" y="840"/>
                  </a:lnTo>
                  <a:lnTo>
                    <a:pt x="1212" y="840"/>
                  </a:lnTo>
                  <a:lnTo>
                    <a:pt x="1218" y="846"/>
                  </a:lnTo>
                  <a:lnTo>
                    <a:pt x="1224" y="858"/>
                  </a:lnTo>
                  <a:lnTo>
                    <a:pt x="1224" y="864"/>
                  </a:lnTo>
                  <a:lnTo>
                    <a:pt x="1224" y="876"/>
                  </a:lnTo>
                  <a:lnTo>
                    <a:pt x="1212" y="912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00" y="930"/>
                  </a:lnTo>
                  <a:lnTo>
                    <a:pt x="1200" y="942"/>
                  </a:lnTo>
                  <a:lnTo>
                    <a:pt x="1194" y="948"/>
                  </a:lnTo>
                  <a:lnTo>
                    <a:pt x="1194" y="960"/>
                  </a:lnTo>
                  <a:lnTo>
                    <a:pt x="1194" y="966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70" y="984"/>
                  </a:lnTo>
                  <a:lnTo>
                    <a:pt x="1164" y="984"/>
                  </a:lnTo>
                  <a:lnTo>
                    <a:pt x="1158" y="984"/>
                  </a:lnTo>
                  <a:lnTo>
                    <a:pt x="1146" y="984"/>
                  </a:lnTo>
                  <a:lnTo>
                    <a:pt x="1140" y="990"/>
                  </a:lnTo>
                  <a:lnTo>
                    <a:pt x="1140" y="996"/>
                  </a:lnTo>
                  <a:lnTo>
                    <a:pt x="1152" y="996"/>
                  </a:lnTo>
                  <a:lnTo>
                    <a:pt x="1176" y="1002"/>
                  </a:lnTo>
                  <a:lnTo>
                    <a:pt x="1194" y="1008"/>
                  </a:lnTo>
                  <a:lnTo>
                    <a:pt x="1206" y="1008"/>
                  </a:lnTo>
                  <a:lnTo>
                    <a:pt x="1218" y="1014"/>
                  </a:lnTo>
                  <a:lnTo>
                    <a:pt x="1212" y="1038"/>
                  </a:lnTo>
                  <a:lnTo>
                    <a:pt x="1212" y="1044"/>
                  </a:lnTo>
                  <a:lnTo>
                    <a:pt x="1206" y="1044"/>
                  </a:lnTo>
                  <a:lnTo>
                    <a:pt x="1206" y="1050"/>
                  </a:lnTo>
                  <a:lnTo>
                    <a:pt x="1194" y="1050"/>
                  </a:lnTo>
                  <a:lnTo>
                    <a:pt x="1188" y="1044"/>
                  </a:lnTo>
                  <a:lnTo>
                    <a:pt x="1158" y="1020"/>
                  </a:lnTo>
                  <a:lnTo>
                    <a:pt x="1152" y="1020"/>
                  </a:lnTo>
                  <a:lnTo>
                    <a:pt x="1140" y="1020"/>
                  </a:lnTo>
                  <a:lnTo>
                    <a:pt x="1134" y="1020"/>
                  </a:lnTo>
                  <a:lnTo>
                    <a:pt x="1134" y="1026"/>
                  </a:lnTo>
                  <a:lnTo>
                    <a:pt x="1134" y="1032"/>
                  </a:lnTo>
                  <a:lnTo>
                    <a:pt x="1128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2" name="Freeform 27">
              <a:extLst>
                <a:ext uri="{FF2B5EF4-FFF2-40B4-BE49-F238E27FC236}">
                  <a16:creationId xmlns:a16="http://schemas.microsoft.com/office/drawing/2014/main" id="{CE95C9DF-B651-4085-946F-65424BC51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2063" y="3421400"/>
              <a:ext cx="342138" cy="377969"/>
            </a:xfrm>
            <a:custGeom>
              <a:avLst/>
              <a:gdLst>
                <a:gd name="T0" fmla="*/ 43 w 642"/>
                <a:gd name="T1" fmla="*/ 41 h 708"/>
                <a:gd name="T2" fmla="*/ 39 w 642"/>
                <a:gd name="T3" fmla="*/ 41 h 708"/>
                <a:gd name="T4" fmla="*/ 38 w 642"/>
                <a:gd name="T5" fmla="*/ 47 h 708"/>
                <a:gd name="T6" fmla="*/ 38 w 642"/>
                <a:gd name="T7" fmla="*/ 49 h 708"/>
                <a:gd name="T8" fmla="*/ 38 w 642"/>
                <a:gd name="T9" fmla="*/ 50 h 708"/>
                <a:gd name="T10" fmla="*/ 36 w 642"/>
                <a:gd name="T11" fmla="*/ 52 h 708"/>
                <a:gd name="T12" fmla="*/ 35 w 642"/>
                <a:gd name="T13" fmla="*/ 53 h 708"/>
                <a:gd name="T14" fmla="*/ 33 w 642"/>
                <a:gd name="T15" fmla="*/ 55 h 708"/>
                <a:gd name="T16" fmla="*/ 32 w 642"/>
                <a:gd name="T17" fmla="*/ 56 h 708"/>
                <a:gd name="T18" fmla="*/ 31 w 642"/>
                <a:gd name="T19" fmla="*/ 59 h 708"/>
                <a:gd name="T20" fmla="*/ 26 w 642"/>
                <a:gd name="T21" fmla="*/ 59 h 708"/>
                <a:gd name="T22" fmla="*/ 23 w 642"/>
                <a:gd name="T23" fmla="*/ 61 h 708"/>
                <a:gd name="T24" fmla="*/ 20 w 642"/>
                <a:gd name="T25" fmla="*/ 61 h 708"/>
                <a:gd name="T26" fmla="*/ 17 w 642"/>
                <a:gd name="T27" fmla="*/ 59 h 708"/>
                <a:gd name="T28" fmla="*/ 15 w 642"/>
                <a:gd name="T29" fmla="*/ 56 h 708"/>
                <a:gd name="T30" fmla="*/ 9 w 642"/>
                <a:gd name="T31" fmla="*/ 58 h 708"/>
                <a:gd name="T32" fmla="*/ 6 w 642"/>
                <a:gd name="T33" fmla="*/ 52 h 708"/>
                <a:gd name="T34" fmla="*/ 2 w 642"/>
                <a:gd name="T35" fmla="*/ 53 h 708"/>
                <a:gd name="T36" fmla="*/ 1 w 642"/>
                <a:gd name="T37" fmla="*/ 51 h 708"/>
                <a:gd name="T38" fmla="*/ 4 w 642"/>
                <a:gd name="T39" fmla="*/ 47 h 708"/>
                <a:gd name="T40" fmla="*/ 5 w 642"/>
                <a:gd name="T41" fmla="*/ 41 h 708"/>
                <a:gd name="T42" fmla="*/ 5 w 642"/>
                <a:gd name="T43" fmla="*/ 38 h 708"/>
                <a:gd name="T44" fmla="*/ 5 w 642"/>
                <a:gd name="T45" fmla="*/ 35 h 708"/>
                <a:gd name="T46" fmla="*/ 6 w 642"/>
                <a:gd name="T47" fmla="*/ 33 h 708"/>
                <a:gd name="T48" fmla="*/ 5 w 642"/>
                <a:gd name="T49" fmla="*/ 29 h 708"/>
                <a:gd name="T50" fmla="*/ 4 w 642"/>
                <a:gd name="T51" fmla="*/ 28 h 708"/>
                <a:gd name="T52" fmla="*/ 1 w 642"/>
                <a:gd name="T53" fmla="*/ 26 h 708"/>
                <a:gd name="T54" fmla="*/ 1 w 642"/>
                <a:gd name="T55" fmla="*/ 24 h 708"/>
                <a:gd name="T56" fmla="*/ 1 w 642"/>
                <a:gd name="T57" fmla="*/ 20 h 708"/>
                <a:gd name="T58" fmla="*/ 1 w 642"/>
                <a:gd name="T59" fmla="*/ 16 h 708"/>
                <a:gd name="T60" fmla="*/ 2 w 642"/>
                <a:gd name="T61" fmla="*/ 14 h 708"/>
                <a:gd name="T62" fmla="*/ 8 w 642"/>
                <a:gd name="T63" fmla="*/ 14 h 708"/>
                <a:gd name="T64" fmla="*/ 9 w 642"/>
                <a:gd name="T65" fmla="*/ 10 h 708"/>
                <a:gd name="T66" fmla="*/ 15 w 642"/>
                <a:gd name="T67" fmla="*/ 9 h 708"/>
                <a:gd name="T68" fmla="*/ 18 w 642"/>
                <a:gd name="T69" fmla="*/ 14 h 708"/>
                <a:gd name="T70" fmla="*/ 20 w 642"/>
                <a:gd name="T71" fmla="*/ 12 h 708"/>
                <a:gd name="T72" fmla="*/ 20 w 642"/>
                <a:gd name="T73" fmla="*/ 11 h 708"/>
                <a:gd name="T74" fmla="*/ 21 w 642"/>
                <a:gd name="T75" fmla="*/ 9 h 708"/>
                <a:gd name="T76" fmla="*/ 24 w 642"/>
                <a:gd name="T77" fmla="*/ 9 h 708"/>
                <a:gd name="T78" fmla="*/ 27 w 642"/>
                <a:gd name="T79" fmla="*/ 8 h 708"/>
                <a:gd name="T80" fmla="*/ 33 w 642"/>
                <a:gd name="T81" fmla="*/ 2 h 708"/>
                <a:gd name="T82" fmla="*/ 42 w 642"/>
                <a:gd name="T83" fmla="*/ 2 h 708"/>
                <a:gd name="T84" fmla="*/ 49 w 642"/>
                <a:gd name="T85" fmla="*/ 1 h 708"/>
                <a:gd name="T86" fmla="*/ 53 w 642"/>
                <a:gd name="T87" fmla="*/ 4 h 708"/>
                <a:gd name="T88" fmla="*/ 55 w 642"/>
                <a:gd name="T89" fmla="*/ 4 h 708"/>
                <a:gd name="T90" fmla="*/ 55 w 642"/>
                <a:gd name="T91" fmla="*/ 7 h 708"/>
                <a:gd name="T92" fmla="*/ 52 w 642"/>
                <a:gd name="T93" fmla="*/ 9 h 708"/>
                <a:gd name="T94" fmla="*/ 49 w 642"/>
                <a:gd name="T95" fmla="*/ 12 h 708"/>
                <a:gd name="T96" fmla="*/ 47 w 642"/>
                <a:gd name="T97" fmla="*/ 14 h 708"/>
                <a:gd name="T98" fmla="*/ 47 w 642"/>
                <a:gd name="T99" fmla="*/ 17 h 708"/>
                <a:gd name="T100" fmla="*/ 45 w 642"/>
                <a:gd name="T101" fmla="*/ 26 h 708"/>
                <a:gd name="T102" fmla="*/ 50 w 642"/>
                <a:gd name="T103" fmla="*/ 37 h 70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42"/>
                <a:gd name="T157" fmla="*/ 0 h 708"/>
                <a:gd name="T158" fmla="*/ 642 w 642"/>
                <a:gd name="T159" fmla="*/ 708 h 70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42" h="708">
                  <a:moveTo>
                    <a:pt x="576" y="468"/>
                  </a:moveTo>
                  <a:lnTo>
                    <a:pt x="564" y="468"/>
                  </a:lnTo>
                  <a:lnTo>
                    <a:pt x="516" y="468"/>
                  </a:lnTo>
                  <a:lnTo>
                    <a:pt x="498" y="474"/>
                  </a:lnTo>
                  <a:lnTo>
                    <a:pt x="492" y="468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68" y="474"/>
                  </a:lnTo>
                  <a:lnTo>
                    <a:pt x="456" y="468"/>
                  </a:lnTo>
                  <a:lnTo>
                    <a:pt x="444" y="474"/>
                  </a:lnTo>
                  <a:lnTo>
                    <a:pt x="438" y="492"/>
                  </a:lnTo>
                  <a:lnTo>
                    <a:pt x="438" y="504"/>
                  </a:lnTo>
                  <a:lnTo>
                    <a:pt x="432" y="516"/>
                  </a:lnTo>
                  <a:lnTo>
                    <a:pt x="432" y="528"/>
                  </a:lnTo>
                  <a:lnTo>
                    <a:pt x="432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52"/>
                  </a:lnTo>
                  <a:lnTo>
                    <a:pt x="432" y="558"/>
                  </a:lnTo>
                  <a:lnTo>
                    <a:pt x="438" y="564"/>
                  </a:lnTo>
                  <a:lnTo>
                    <a:pt x="444" y="564"/>
                  </a:lnTo>
                  <a:lnTo>
                    <a:pt x="438" y="564"/>
                  </a:lnTo>
                  <a:lnTo>
                    <a:pt x="438" y="570"/>
                  </a:lnTo>
                  <a:lnTo>
                    <a:pt x="432" y="570"/>
                  </a:lnTo>
                  <a:lnTo>
                    <a:pt x="432" y="576"/>
                  </a:lnTo>
                  <a:lnTo>
                    <a:pt x="426" y="588"/>
                  </a:lnTo>
                  <a:lnTo>
                    <a:pt x="420" y="594"/>
                  </a:lnTo>
                  <a:lnTo>
                    <a:pt x="420" y="600"/>
                  </a:lnTo>
                  <a:lnTo>
                    <a:pt x="414" y="600"/>
                  </a:lnTo>
                  <a:lnTo>
                    <a:pt x="414" y="606"/>
                  </a:lnTo>
                  <a:lnTo>
                    <a:pt x="408" y="606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396" y="612"/>
                  </a:lnTo>
                  <a:lnTo>
                    <a:pt x="390" y="612"/>
                  </a:lnTo>
                  <a:lnTo>
                    <a:pt x="390" y="618"/>
                  </a:lnTo>
                  <a:lnTo>
                    <a:pt x="384" y="618"/>
                  </a:lnTo>
                  <a:lnTo>
                    <a:pt x="378" y="618"/>
                  </a:lnTo>
                  <a:lnTo>
                    <a:pt x="378" y="624"/>
                  </a:lnTo>
                  <a:lnTo>
                    <a:pt x="384" y="630"/>
                  </a:lnTo>
                  <a:lnTo>
                    <a:pt x="384" y="636"/>
                  </a:lnTo>
                  <a:lnTo>
                    <a:pt x="378" y="630"/>
                  </a:lnTo>
                  <a:lnTo>
                    <a:pt x="372" y="636"/>
                  </a:lnTo>
                  <a:lnTo>
                    <a:pt x="372" y="642"/>
                  </a:lnTo>
                  <a:lnTo>
                    <a:pt x="366" y="642"/>
                  </a:lnTo>
                  <a:lnTo>
                    <a:pt x="360" y="654"/>
                  </a:lnTo>
                  <a:lnTo>
                    <a:pt x="354" y="666"/>
                  </a:lnTo>
                  <a:lnTo>
                    <a:pt x="354" y="672"/>
                  </a:lnTo>
                  <a:lnTo>
                    <a:pt x="354" y="678"/>
                  </a:lnTo>
                  <a:lnTo>
                    <a:pt x="354" y="684"/>
                  </a:lnTo>
                  <a:lnTo>
                    <a:pt x="348" y="678"/>
                  </a:lnTo>
                  <a:lnTo>
                    <a:pt x="324" y="678"/>
                  </a:lnTo>
                  <a:lnTo>
                    <a:pt x="306" y="678"/>
                  </a:lnTo>
                  <a:lnTo>
                    <a:pt x="294" y="678"/>
                  </a:lnTo>
                  <a:lnTo>
                    <a:pt x="288" y="684"/>
                  </a:lnTo>
                  <a:lnTo>
                    <a:pt x="276" y="690"/>
                  </a:lnTo>
                  <a:lnTo>
                    <a:pt x="270" y="696"/>
                  </a:lnTo>
                  <a:lnTo>
                    <a:pt x="264" y="696"/>
                  </a:lnTo>
                  <a:lnTo>
                    <a:pt x="258" y="696"/>
                  </a:lnTo>
                  <a:lnTo>
                    <a:pt x="252" y="696"/>
                  </a:lnTo>
                  <a:lnTo>
                    <a:pt x="252" y="690"/>
                  </a:lnTo>
                  <a:lnTo>
                    <a:pt x="246" y="690"/>
                  </a:lnTo>
                  <a:lnTo>
                    <a:pt x="234" y="690"/>
                  </a:lnTo>
                  <a:lnTo>
                    <a:pt x="222" y="696"/>
                  </a:lnTo>
                  <a:lnTo>
                    <a:pt x="216" y="708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8" y="690"/>
                  </a:lnTo>
                  <a:lnTo>
                    <a:pt x="198" y="684"/>
                  </a:lnTo>
                  <a:lnTo>
                    <a:pt x="198" y="678"/>
                  </a:lnTo>
                  <a:lnTo>
                    <a:pt x="198" y="672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74" y="648"/>
                  </a:lnTo>
                  <a:lnTo>
                    <a:pt x="162" y="642"/>
                  </a:lnTo>
                  <a:lnTo>
                    <a:pt x="156" y="636"/>
                  </a:lnTo>
                  <a:lnTo>
                    <a:pt x="132" y="642"/>
                  </a:lnTo>
                  <a:lnTo>
                    <a:pt x="120" y="654"/>
                  </a:lnTo>
                  <a:lnTo>
                    <a:pt x="108" y="660"/>
                  </a:lnTo>
                  <a:lnTo>
                    <a:pt x="102" y="666"/>
                  </a:lnTo>
                  <a:lnTo>
                    <a:pt x="84" y="666"/>
                  </a:lnTo>
                  <a:lnTo>
                    <a:pt x="84" y="630"/>
                  </a:lnTo>
                  <a:lnTo>
                    <a:pt x="78" y="594"/>
                  </a:lnTo>
                  <a:lnTo>
                    <a:pt x="66" y="594"/>
                  </a:lnTo>
                  <a:lnTo>
                    <a:pt x="60" y="594"/>
                  </a:lnTo>
                  <a:lnTo>
                    <a:pt x="48" y="600"/>
                  </a:lnTo>
                  <a:lnTo>
                    <a:pt x="36" y="606"/>
                  </a:lnTo>
                  <a:lnTo>
                    <a:pt x="24" y="612"/>
                  </a:lnTo>
                  <a:lnTo>
                    <a:pt x="18" y="612"/>
                  </a:lnTo>
                  <a:lnTo>
                    <a:pt x="12" y="606"/>
                  </a:lnTo>
                  <a:lnTo>
                    <a:pt x="12" y="600"/>
                  </a:lnTo>
                  <a:lnTo>
                    <a:pt x="12" y="594"/>
                  </a:lnTo>
                  <a:lnTo>
                    <a:pt x="12" y="588"/>
                  </a:lnTo>
                  <a:lnTo>
                    <a:pt x="12" y="582"/>
                  </a:lnTo>
                  <a:lnTo>
                    <a:pt x="12" y="576"/>
                  </a:lnTo>
                  <a:lnTo>
                    <a:pt x="18" y="552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42" y="534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48" y="492"/>
                  </a:lnTo>
                  <a:lnTo>
                    <a:pt x="48" y="480"/>
                  </a:lnTo>
                  <a:lnTo>
                    <a:pt x="54" y="468"/>
                  </a:lnTo>
                  <a:lnTo>
                    <a:pt x="48" y="456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66" y="390"/>
                  </a:lnTo>
                  <a:lnTo>
                    <a:pt x="72" y="384"/>
                  </a:lnTo>
                  <a:lnTo>
                    <a:pt x="72" y="378"/>
                  </a:lnTo>
                  <a:lnTo>
                    <a:pt x="66" y="378"/>
                  </a:lnTo>
                  <a:lnTo>
                    <a:pt x="66" y="366"/>
                  </a:lnTo>
                  <a:lnTo>
                    <a:pt x="60" y="360"/>
                  </a:lnTo>
                  <a:lnTo>
                    <a:pt x="66" y="354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48" y="312"/>
                  </a:lnTo>
                  <a:lnTo>
                    <a:pt x="30" y="312"/>
                  </a:lnTo>
                  <a:lnTo>
                    <a:pt x="24" y="306"/>
                  </a:lnTo>
                  <a:lnTo>
                    <a:pt x="18" y="306"/>
                  </a:lnTo>
                  <a:lnTo>
                    <a:pt x="12" y="294"/>
                  </a:lnTo>
                  <a:lnTo>
                    <a:pt x="12" y="282"/>
                  </a:lnTo>
                  <a:lnTo>
                    <a:pt x="6" y="276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12" y="270"/>
                  </a:lnTo>
                  <a:lnTo>
                    <a:pt x="12" y="246"/>
                  </a:lnTo>
                  <a:lnTo>
                    <a:pt x="12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8" y="174"/>
                  </a:lnTo>
                  <a:lnTo>
                    <a:pt x="12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48" y="162"/>
                  </a:lnTo>
                  <a:lnTo>
                    <a:pt x="72" y="162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84" y="132"/>
                  </a:lnTo>
                  <a:lnTo>
                    <a:pt x="90" y="120"/>
                  </a:lnTo>
                  <a:lnTo>
                    <a:pt x="108" y="114"/>
                  </a:lnTo>
                  <a:lnTo>
                    <a:pt x="114" y="102"/>
                  </a:lnTo>
                  <a:lnTo>
                    <a:pt x="120" y="90"/>
                  </a:lnTo>
                  <a:lnTo>
                    <a:pt x="138" y="90"/>
                  </a:lnTo>
                  <a:lnTo>
                    <a:pt x="138" y="102"/>
                  </a:lnTo>
                  <a:lnTo>
                    <a:pt x="168" y="108"/>
                  </a:lnTo>
                  <a:lnTo>
                    <a:pt x="168" y="114"/>
                  </a:lnTo>
                  <a:lnTo>
                    <a:pt x="174" y="126"/>
                  </a:lnTo>
                  <a:lnTo>
                    <a:pt x="186" y="150"/>
                  </a:lnTo>
                  <a:lnTo>
                    <a:pt x="186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34" y="144"/>
                  </a:lnTo>
                  <a:lnTo>
                    <a:pt x="240" y="138"/>
                  </a:lnTo>
                  <a:lnTo>
                    <a:pt x="240" y="126"/>
                  </a:lnTo>
                  <a:lnTo>
                    <a:pt x="234" y="126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34" y="102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82" y="102"/>
                  </a:lnTo>
                  <a:lnTo>
                    <a:pt x="288" y="102"/>
                  </a:lnTo>
                  <a:lnTo>
                    <a:pt x="294" y="102"/>
                  </a:lnTo>
                  <a:lnTo>
                    <a:pt x="300" y="96"/>
                  </a:lnTo>
                  <a:lnTo>
                    <a:pt x="306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84"/>
                  </a:lnTo>
                  <a:lnTo>
                    <a:pt x="324" y="18"/>
                  </a:lnTo>
                  <a:lnTo>
                    <a:pt x="360" y="18"/>
                  </a:lnTo>
                  <a:lnTo>
                    <a:pt x="378" y="18"/>
                  </a:lnTo>
                  <a:lnTo>
                    <a:pt x="378" y="30"/>
                  </a:lnTo>
                  <a:lnTo>
                    <a:pt x="390" y="30"/>
                  </a:lnTo>
                  <a:lnTo>
                    <a:pt x="432" y="30"/>
                  </a:lnTo>
                  <a:lnTo>
                    <a:pt x="456" y="24"/>
                  </a:lnTo>
                  <a:lnTo>
                    <a:pt x="480" y="24"/>
                  </a:lnTo>
                  <a:lnTo>
                    <a:pt x="498" y="30"/>
                  </a:lnTo>
                  <a:lnTo>
                    <a:pt x="522" y="18"/>
                  </a:lnTo>
                  <a:lnTo>
                    <a:pt x="528" y="0"/>
                  </a:lnTo>
                  <a:lnTo>
                    <a:pt x="558" y="6"/>
                  </a:lnTo>
                  <a:lnTo>
                    <a:pt x="558" y="12"/>
                  </a:lnTo>
                  <a:lnTo>
                    <a:pt x="570" y="18"/>
                  </a:lnTo>
                  <a:lnTo>
                    <a:pt x="576" y="24"/>
                  </a:lnTo>
                  <a:lnTo>
                    <a:pt x="588" y="36"/>
                  </a:lnTo>
                  <a:lnTo>
                    <a:pt x="594" y="48"/>
                  </a:lnTo>
                  <a:lnTo>
                    <a:pt x="606" y="48"/>
                  </a:lnTo>
                  <a:lnTo>
                    <a:pt x="606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42"/>
                  </a:lnTo>
                  <a:lnTo>
                    <a:pt x="636" y="42"/>
                  </a:lnTo>
                  <a:lnTo>
                    <a:pt x="636" y="48"/>
                  </a:lnTo>
                  <a:lnTo>
                    <a:pt x="642" y="54"/>
                  </a:lnTo>
                  <a:lnTo>
                    <a:pt x="636" y="60"/>
                  </a:lnTo>
                  <a:lnTo>
                    <a:pt x="636" y="66"/>
                  </a:lnTo>
                  <a:lnTo>
                    <a:pt x="636" y="78"/>
                  </a:lnTo>
                  <a:lnTo>
                    <a:pt x="624" y="84"/>
                  </a:lnTo>
                  <a:lnTo>
                    <a:pt x="618" y="90"/>
                  </a:lnTo>
                  <a:lnTo>
                    <a:pt x="612" y="90"/>
                  </a:lnTo>
                  <a:lnTo>
                    <a:pt x="600" y="102"/>
                  </a:lnTo>
                  <a:lnTo>
                    <a:pt x="594" y="108"/>
                  </a:lnTo>
                  <a:lnTo>
                    <a:pt x="582" y="114"/>
                  </a:lnTo>
                  <a:lnTo>
                    <a:pt x="570" y="132"/>
                  </a:lnTo>
                  <a:lnTo>
                    <a:pt x="564" y="132"/>
                  </a:lnTo>
                  <a:lnTo>
                    <a:pt x="564" y="138"/>
                  </a:lnTo>
                  <a:lnTo>
                    <a:pt x="558" y="144"/>
                  </a:lnTo>
                  <a:lnTo>
                    <a:pt x="558" y="150"/>
                  </a:lnTo>
                  <a:lnTo>
                    <a:pt x="552" y="150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0" y="162"/>
                  </a:lnTo>
                  <a:lnTo>
                    <a:pt x="534" y="168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6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28" y="234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16" y="294"/>
                  </a:lnTo>
                  <a:lnTo>
                    <a:pt x="516" y="312"/>
                  </a:lnTo>
                  <a:lnTo>
                    <a:pt x="528" y="318"/>
                  </a:lnTo>
                  <a:lnTo>
                    <a:pt x="540" y="360"/>
                  </a:lnTo>
                  <a:lnTo>
                    <a:pt x="558" y="408"/>
                  </a:lnTo>
                  <a:lnTo>
                    <a:pt x="570" y="426"/>
                  </a:lnTo>
                  <a:lnTo>
                    <a:pt x="576" y="432"/>
                  </a:lnTo>
                  <a:lnTo>
                    <a:pt x="576" y="438"/>
                  </a:lnTo>
                  <a:lnTo>
                    <a:pt x="576" y="444"/>
                  </a:lnTo>
                  <a:lnTo>
                    <a:pt x="576" y="46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3" name="Freeform 28">
              <a:extLst>
                <a:ext uri="{FF2B5EF4-FFF2-40B4-BE49-F238E27FC236}">
                  <a16:creationId xmlns:a16="http://schemas.microsoft.com/office/drawing/2014/main" id="{CF9B4F31-BF73-448E-83AA-188F6CF1BDC5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4879" y="3432583"/>
              <a:ext cx="324248" cy="270616"/>
            </a:xfrm>
            <a:custGeom>
              <a:avLst/>
              <a:gdLst>
                <a:gd name="T0" fmla="*/ 5 w 606"/>
                <a:gd name="T1" fmla="*/ 36 h 510"/>
                <a:gd name="T2" fmla="*/ 4 w 606"/>
                <a:gd name="T3" fmla="*/ 34 h 510"/>
                <a:gd name="T4" fmla="*/ 0 w 606"/>
                <a:gd name="T5" fmla="*/ 25 h 510"/>
                <a:gd name="T6" fmla="*/ 1 w 606"/>
                <a:gd name="T7" fmla="*/ 20 h 510"/>
                <a:gd name="T8" fmla="*/ 2 w 606"/>
                <a:gd name="T9" fmla="*/ 15 h 510"/>
                <a:gd name="T10" fmla="*/ 2 w 606"/>
                <a:gd name="T11" fmla="*/ 13 h 510"/>
                <a:gd name="T12" fmla="*/ 3 w 606"/>
                <a:gd name="T13" fmla="*/ 12 h 510"/>
                <a:gd name="T14" fmla="*/ 4 w 606"/>
                <a:gd name="T15" fmla="*/ 11 h 510"/>
                <a:gd name="T16" fmla="*/ 4 w 606"/>
                <a:gd name="T17" fmla="*/ 10 h 510"/>
                <a:gd name="T18" fmla="*/ 7 w 606"/>
                <a:gd name="T19" fmla="*/ 8 h 510"/>
                <a:gd name="T20" fmla="*/ 9 w 606"/>
                <a:gd name="T21" fmla="*/ 6 h 510"/>
                <a:gd name="T22" fmla="*/ 11 w 606"/>
                <a:gd name="T23" fmla="*/ 4 h 510"/>
                <a:gd name="T24" fmla="*/ 12 w 606"/>
                <a:gd name="T25" fmla="*/ 3 h 510"/>
                <a:gd name="T26" fmla="*/ 13 w 606"/>
                <a:gd name="T27" fmla="*/ 4 h 510"/>
                <a:gd name="T28" fmla="*/ 15 w 606"/>
                <a:gd name="T29" fmla="*/ 2 h 510"/>
                <a:gd name="T30" fmla="*/ 17 w 606"/>
                <a:gd name="T31" fmla="*/ 2 h 510"/>
                <a:gd name="T32" fmla="*/ 19 w 606"/>
                <a:gd name="T33" fmla="*/ 5 h 510"/>
                <a:gd name="T34" fmla="*/ 22 w 606"/>
                <a:gd name="T35" fmla="*/ 5 h 510"/>
                <a:gd name="T36" fmla="*/ 25 w 606"/>
                <a:gd name="T37" fmla="*/ 6 h 510"/>
                <a:gd name="T38" fmla="*/ 29 w 606"/>
                <a:gd name="T39" fmla="*/ 1 h 510"/>
                <a:gd name="T40" fmla="*/ 38 w 606"/>
                <a:gd name="T41" fmla="*/ 0 h 510"/>
                <a:gd name="T42" fmla="*/ 38 w 606"/>
                <a:gd name="T43" fmla="*/ 5 h 510"/>
                <a:gd name="T44" fmla="*/ 41 w 606"/>
                <a:gd name="T45" fmla="*/ 4 h 510"/>
                <a:gd name="T46" fmla="*/ 45 w 606"/>
                <a:gd name="T47" fmla="*/ 2 h 510"/>
                <a:gd name="T48" fmla="*/ 46 w 606"/>
                <a:gd name="T49" fmla="*/ 2 h 510"/>
                <a:gd name="T50" fmla="*/ 47 w 606"/>
                <a:gd name="T51" fmla="*/ 5 h 510"/>
                <a:gd name="T52" fmla="*/ 45 w 606"/>
                <a:gd name="T53" fmla="*/ 6 h 510"/>
                <a:gd name="T54" fmla="*/ 45 w 606"/>
                <a:gd name="T55" fmla="*/ 7 h 510"/>
                <a:gd name="T56" fmla="*/ 43 w 606"/>
                <a:gd name="T57" fmla="*/ 8 h 510"/>
                <a:gd name="T58" fmla="*/ 45 w 606"/>
                <a:gd name="T59" fmla="*/ 15 h 510"/>
                <a:gd name="T60" fmla="*/ 49 w 606"/>
                <a:gd name="T61" fmla="*/ 15 h 510"/>
                <a:gd name="T62" fmla="*/ 51 w 606"/>
                <a:gd name="T63" fmla="*/ 15 h 510"/>
                <a:gd name="T64" fmla="*/ 53 w 606"/>
                <a:gd name="T65" fmla="*/ 16 h 510"/>
                <a:gd name="T66" fmla="*/ 52 w 606"/>
                <a:gd name="T67" fmla="*/ 20 h 510"/>
                <a:gd name="T68" fmla="*/ 48 w 606"/>
                <a:gd name="T69" fmla="*/ 23 h 510"/>
                <a:gd name="T70" fmla="*/ 45 w 606"/>
                <a:gd name="T71" fmla="*/ 25 h 510"/>
                <a:gd name="T72" fmla="*/ 44 w 606"/>
                <a:gd name="T73" fmla="*/ 28 h 510"/>
                <a:gd name="T74" fmla="*/ 43 w 606"/>
                <a:gd name="T75" fmla="*/ 33 h 510"/>
                <a:gd name="T76" fmla="*/ 39 w 606"/>
                <a:gd name="T77" fmla="*/ 38 h 510"/>
                <a:gd name="T78" fmla="*/ 37 w 606"/>
                <a:gd name="T79" fmla="*/ 41 h 510"/>
                <a:gd name="T80" fmla="*/ 31 w 606"/>
                <a:gd name="T81" fmla="*/ 44 h 510"/>
                <a:gd name="T82" fmla="*/ 28 w 606"/>
                <a:gd name="T83" fmla="*/ 43 h 510"/>
                <a:gd name="T84" fmla="*/ 28 w 606"/>
                <a:gd name="T85" fmla="*/ 41 h 510"/>
                <a:gd name="T86" fmla="*/ 28 w 606"/>
                <a:gd name="T87" fmla="*/ 40 h 510"/>
                <a:gd name="T88" fmla="*/ 27 w 606"/>
                <a:gd name="T89" fmla="*/ 38 h 510"/>
                <a:gd name="T90" fmla="*/ 27 w 606"/>
                <a:gd name="T91" fmla="*/ 36 h 510"/>
                <a:gd name="T92" fmla="*/ 24 w 606"/>
                <a:gd name="T93" fmla="*/ 35 h 510"/>
                <a:gd name="T94" fmla="*/ 16 w 606"/>
                <a:gd name="T95" fmla="*/ 34 h 510"/>
                <a:gd name="T96" fmla="*/ 13 w 606"/>
                <a:gd name="T97" fmla="*/ 34 h 510"/>
                <a:gd name="T98" fmla="*/ 9 w 606"/>
                <a:gd name="T99" fmla="*/ 36 h 510"/>
                <a:gd name="T100" fmla="*/ 8 w 606"/>
                <a:gd name="T101" fmla="*/ 38 h 510"/>
                <a:gd name="T102" fmla="*/ 7 w 606"/>
                <a:gd name="T103" fmla="*/ 39 h 51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06"/>
                <a:gd name="T157" fmla="*/ 0 h 510"/>
                <a:gd name="T158" fmla="*/ 606 w 606"/>
                <a:gd name="T159" fmla="*/ 510 h 51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06" h="510">
                  <a:moveTo>
                    <a:pt x="60" y="450"/>
                  </a:move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42" y="390"/>
                  </a:lnTo>
                  <a:lnTo>
                    <a:pt x="24" y="342"/>
                  </a:lnTo>
                  <a:lnTo>
                    <a:pt x="12" y="300"/>
                  </a:lnTo>
                  <a:lnTo>
                    <a:pt x="0" y="294"/>
                  </a:lnTo>
                  <a:lnTo>
                    <a:pt x="0" y="276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24" y="192"/>
                  </a:lnTo>
                  <a:lnTo>
                    <a:pt x="24" y="180"/>
                  </a:lnTo>
                  <a:lnTo>
                    <a:pt x="24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6" y="96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108" y="66"/>
                  </a:lnTo>
                  <a:lnTo>
                    <a:pt x="120" y="60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36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62" y="36"/>
                  </a:lnTo>
                  <a:lnTo>
                    <a:pt x="162" y="30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0" y="54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46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76" y="66"/>
                  </a:lnTo>
                  <a:lnTo>
                    <a:pt x="312" y="66"/>
                  </a:lnTo>
                  <a:lnTo>
                    <a:pt x="318" y="60"/>
                  </a:lnTo>
                  <a:lnTo>
                    <a:pt x="330" y="12"/>
                  </a:lnTo>
                  <a:lnTo>
                    <a:pt x="414" y="6"/>
                  </a:lnTo>
                  <a:lnTo>
                    <a:pt x="420" y="0"/>
                  </a:lnTo>
                  <a:lnTo>
                    <a:pt x="426" y="6"/>
                  </a:lnTo>
                  <a:lnTo>
                    <a:pt x="426" y="12"/>
                  </a:lnTo>
                  <a:lnTo>
                    <a:pt x="426" y="54"/>
                  </a:lnTo>
                  <a:lnTo>
                    <a:pt x="432" y="54"/>
                  </a:lnTo>
                  <a:lnTo>
                    <a:pt x="444" y="54"/>
                  </a:lnTo>
                  <a:lnTo>
                    <a:pt x="450" y="42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86" y="24"/>
                  </a:lnTo>
                  <a:lnTo>
                    <a:pt x="504" y="18"/>
                  </a:lnTo>
                  <a:lnTo>
                    <a:pt x="510" y="12"/>
                  </a:lnTo>
                  <a:lnTo>
                    <a:pt x="516" y="18"/>
                  </a:lnTo>
                  <a:lnTo>
                    <a:pt x="522" y="24"/>
                  </a:lnTo>
                  <a:lnTo>
                    <a:pt x="510" y="30"/>
                  </a:lnTo>
                  <a:lnTo>
                    <a:pt x="516" y="48"/>
                  </a:lnTo>
                  <a:lnTo>
                    <a:pt x="528" y="54"/>
                  </a:lnTo>
                  <a:lnTo>
                    <a:pt x="522" y="60"/>
                  </a:lnTo>
                  <a:lnTo>
                    <a:pt x="516" y="66"/>
                  </a:lnTo>
                  <a:lnTo>
                    <a:pt x="516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0" y="84"/>
                  </a:lnTo>
                  <a:lnTo>
                    <a:pt x="510" y="90"/>
                  </a:lnTo>
                  <a:lnTo>
                    <a:pt x="504" y="90"/>
                  </a:lnTo>
                  <a:lnTo>
                    <a:pt x="486" y="90"/>
                  </a:lnTo>
                  <a:lnTo>
                    <a:pt x="492" y="138"/>
                  </a:lnTo>
                  <a:lnTo>
                    <a:pt x="498" y="168"/>
                  </a:lnTo>
                  <a:lnTo>
                    <a:pt x="516" y="168"/>
                  </a:lnTo>
                  <a:lnTo>
                    <a:pt x="528" y="174"/>
                  </a:lnTo>
                  <a:lnTo>
                    <a:pt x="534" y="168"/>
                  </a:lnTo>
                  <a:lnTo>
                    <a:pt x="558" y="174"/>
                  </a:lnTo>
                  <a:lnTo>
                    <a:pt x="564" y="168"/>
                  </a:lnTo>
                  <a:lnTo>
                    <a:pt x="570" y="168"/>
                  </a:lnTo>
                  <a:lnTo>
                    <a:pt x="576" y="174"/>
                  </a:lnTo>
                  <a:lnTo>
                    <a:pt x="588" y="168"/>
                  </a:lnTo>
                  <a:lnTo>
                    <a:pt x="594" y="168"/>
                  </a:lnTo>
                  <a:lnTo>
                    <a:pt x="594" y="186"/>
                  </a:lnTo>
                  <a:lnTo>
                    <a:pt x="606" y="198"/>
                  </a:lnTo>
                  <a:lnTo>
                    <a:pt x="600" y="210"/>
                  </a:lnTo>
                  <a:lnTo>
                    <a:pt x="588" y="234"/>
                  </a:lnTo>
                  <a:lnTo>
                    <a:pt x="564" y="246"/>
                  </a:lnTo>
                  <a:lnTo>
                    <a:pt x="546" y="258"/>
                  </a:lnTo>
                  <a:lnTo>
                    <a:pt x="540" y="270"/>
                  </a:lnTo>
                  <a:lnTo>
                    <a:pt x="534" y="294"/>
                  </a:lnTo>
                  <a:lnTo>
                    <a:pt x="528" y="300"/>
                  </a:lnTo>
                  <a:lnTo>
                    <a:pt x="516" y="294"/>
                  </a:lnTo>
                  <a:lnTo>
                    <a:pt x="510" y="300"/>
                  </a:lnTo>
                  <a:lnTo>
                    <a:pt x="498" y="318"/>
                  </a:lnTo>
                  <a:lnTo>
                    <a:pt x="492" y="324"/>
                  </a:lnTo>
                  <a:lnTo>
                    <a:pt x="486" y="336"/>
                  </a:lnTo>
                  <a:lnTo>
                    <a:pt x="486" y="354"/>
                  </a:lnTo>
                  <a:lnTo>
                    <a:pt x="486" y="384"/>
                  </a:lnTo>
                  <a:lnTo>
                    <a:pt x="474" y="408"/>
                  </a:lnTo>
                  <a:lnTo>
                    <a:pt x="450" y="426"/>
                  </a:lnTo>
                  <a:lnTo>
                    <a:pt x="444" y="444"/>
                  </a:lnTo>
                  <a:lnTo>
                    <a:pt x="426" y="474"/>
                  </a:lnTo>
                  <a:lnTo>
                    <a:pt x="420" y="486"/>
                  </a:lnTo>
                  <a:lnTo>
                    <a:pt x="414" y="486"/>
                  </a:lnTo>
                  <a:lnTo>
                    <a:pt x="414" y="498"/>
                  </a:lnTo>
                  <a:lnTo>
                    <a:pt x="378" y="504"/>
                  </a:lnTo>
                  <a:lnTo>
                    <a:pt x="348" y="510"/>
                  </a:lnTo>
                  <a:lnTo>
                    <a:pt x="330" y="510"/>
                  </a:lnTo>
                  <a:lnTo>
                    <a:pt x="324" y="504"/>
                  </a:lnTo>
                  <a:lnTo>
                    <a:pt x="318" y="504"/>
                  </a:lnTo>
                  <a:lnTo>
                    <a:pt x="312" y="504"/>
                  </a:lnTo>
                  <a:lnTo>
                    <a:pt x="312" y="498"/>
                  </a:lnTo>
                  <a:lnTo>
                    <a:pt x="312" y="486"/>
                  </a:lnTo>
                  <a:lnTo>
                    <a:pt x="312" y="480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56"/>
                  </a:lnTo>
                  <a:lnTo>
                    <a:pt x="312" y="450"/>
                  </a:lnTo>
                  <a:lnTo>
                    <a:pt x="306" y="444"/>
                  </a:lnTo>
                  <a:lnTo>
                    <a:pt x="306" y="438"/>
                  </a:lnTo>
                  <a:lnTo>
                    <a:pt x="300" y="426"/>
                  </a:lnTo>
                  <a:lnTo>
                    <a:pt x="300" y="420"/>
                  </a:lnTo>
                  <a:lnTo>
                    <a:pt x="294" y="414"/>
                  </a:lnTo>
                  <a:lnTo>
                    <a:pt x="294" y="408"/>
                  </a:lnTo>
                  <a:lnTo>
                    <a:pt x="270" y="408"/>
                  </a:lnTo>
                  <a:lnTo>
                    <a:pt x="246" y="408"/>
                  </a:lnTo>
                  <a:lnTo>
                    <a:pt x="222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56" y="402"/>
                  </a:lnTo>
                  <a:lnTo>
                    <a:pt x="144" y="396"/>
                  </a:lnTo>
                  <a:lnTo>
                    <a:pt x="126" y="396"/>
                  </a:lnTo>
                  <a:lnTo>
                    <a:pt x="108" y="408"/>
                  </a:lnTo>
                  <a:lnTo>
                    <a:pt x="102" y="414"/>
                  </a:lnTo>
                  <a:lnTo>
                    <a:pt x="102" y="420"/>
                  </a:lnTo>
                  <a:lnTo>
                    <a:pt x="96" y="426"/>
                  </a:lnTo>
                  <a:lnTo>
                    <a:pt x="96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78" y="450"/>
                  </a:lnTo>
                  <a:lnTo>
                    <a:pt x="60" y="45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4" name="Freeform 29">
              <a:extLst>
                <a:ext uri="{FF2B5EF4-FFF2-40B4-BE49-F238E27FC236}">
                  <a16:creationId xmlns:a16="http://schemas.microsoft.com/office/drawing/2014/main" id="{B6AC2B96-1504-4082-8778-17130FDA021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401" y="3537698"/>
              <a:ext cx="559048" cy="641876"/>
            </a:xfrm>
            <a:custGeom>
              <a:avLst/>
              <a:gdLst>
                <a:gd name="T0" fmla="*/ 39 w 1056"/>
                <a:gd name="T1" fmla="*/ 94 h 1206"/>
                <a:gd name="T2" fmla="*/ 35 w 1056"/>
                <a:gd name="T3" fmla="*/ 103 h 1206"/>
                <a:gd name="T4" fmla="*/ 29 w 1056"/>
                <a:gd name="T5" fmla="*/ 99 h 1206"/>
                <a:gd name="T6" fmla="*/ 23 w 1056"/>
                <a:gd name="T7" fmla="*/ 94 h 1206"/>
                <a:gd name="T8" fmla="*/ 21 w 1056"/>
                <a:gd name="T9" fmla="*/ 91 h 1206"/>
                <a:gd name="T10" fmla="*/ 18 w 1056"/>
                <a:gd name="T11" fmla="*/ 89 h 1206"/>
                <a:gd name="T12" fmla="*/ 15 w 1056"/>
                <a:gd name="T13" fmla="*/ 86 h 1206"/>
                <a:gd name="T14" fmla="*/ 11 w 1056"/>
                <a:gd name="T15" fmla="*/ 83 h 1206"/>
                <a:gd name="T16" fmla="*/ 8 w 1056"/>
                <a:gd name="T17" fmla="*/ 81 h 1206"/>
                <a:gd name="T18" fmla="*/ 6 w 1056"/>
                <a:gd name="T19" fmla="*/ 79 h 1206"/>
                <a:gd name="T20" fmla="*/ 13 w 1056"/>
                <a:gd name="T21" fmla="*/ 78 h 1206"/>
                <a:gd name="T22" fmla="*/ 8 w 1056"/>
                <a:gd name="T23" fmla="*/ 75 h 1206"/>
                <a:gd name="T24" fmla="*/ 13 w 1056"/>
                <a:gd name="T25" fmla="*/ 71 h 1206"/>
                <a:gd name="T26" fmla="*/ 10 w 1056"/>
                <a:gd name="T27" fmla="*/ 63 h 1206"/>
                <a:gd name="T28" fmla="*/ 6 w 1056"/>
                <a:gd name="T29" fmla="*/ 66 h 1206"/>
                <a:gd name="T30" fmla="*/ 1 w 1056"/>
                <a:gd name="T31" fmla="*/ 63 h 1206"/>
                <a:gd name="T32" fmla="*/ 1 w 1056"/>
                <a:gd name="T33" fmla="*/ 59 h 1206"/>
                <a:gd name="T34" fmla="*/ 3 w 1056"/>
                <a:gd name="T35" fmla="*/ 57 h 1206"/>
                <a:gd name="T36" fmla="*/ 6 w 1056"/>
                <a:gd name="T37" fmla="*/ 55 h 1206"/>
                <a:gd name="T38" fmla="*/ 10 w 1056"/>
                <a:gd name="T39" fmla="*/ 51 h 1206"/>
                <a:gd name="T40" fmla="*/ 11 w 1056"/>
                <a:gd name="T41" fmla="*/ 46 h 1206"/>
                <a:gd name="T42" fmla="*/ 14 w 1056"/>
                <a:gd name="T43" fmla="*/ 42 h 1206"/>
                <a:gd name="T44" fmla="*/ 15 w 1056"/>
                <a:gd name="T45" fmla="*/ 36 h 1206"/>
                <a:gd name="T46" fmla="*/ 17 w 1056"/>
                <a:gd name="T47" fmla="*/ 34 h 1206"/>
                <a:gd name="T48" fmla="*/ 20 w 1056"/>
                <a:gd name="T49" fmla="*/ 31 h 1206"/>
                <a:gd name="T50" fmla="*/ 21 w 1056"/>
                <a:gd name="T51" fmla="*/ 29 h 1206"/>
                <a:gd name="T52" fmla="*/ 23 w 1056"/>
                <a:gd name="T53" fmla="*/ 22 h 1206"/>
                <a:gd name="T54" fmla="*/ 35 w 1056"/>
                <a:gd name="T55" fmla="*/ 22 h 1206"/>
                <a:gd name="T56" fmla="*/ 41 w 1056"/>
                <a:gd name="T57" fmla="*/ 18 h 1206"/>
                <a:gd name="T58" fmla="*/ 54 w 1056"/>
                <a:gd name="T59" fmla="*/ 20 h 1206"/>
                <a:gd name="T60" fmla="*/ 54 w 1056"/>
                <a:gd name="T61" fmla="*/ 26 h 1206"/>
                <a:gd name="T62" fmla="*/ 64 w 1056"/>
                <a:gd name="T63" fmla="*/ 25 h 1206"/>
                <a:gd name="T64" fmla="*/ 71 w 1056"/>
                <a:gd name="T65" fmla="*/ 10 h 1206"/>
                <a:gd name="T66" fmla="*/ 80 w 1056"/>
                <a:gd name="T67" fmla="*/ 1 h 1206"/>
                <a:gd name="T68" fmla="*/ 86 w 1056"/>
                <a:gd name="T69" fmla="*/ 2 h 1206"/>
                <a:gd name="T70" fmla="*/ 91 w 1056"/>
                <a:gd name="T71" fmla="*/ 13 h 1206"/>
                <a:gd name="T72" fmla="*/ 88 w 1056"/>
                <a:gd name="T73" fmla="*/ 17 h 1206"/>
                <a:gd name="T74" fmla="*/ 89 w 1056"/>
                <a:gd name="T75" fmla="*/ 21 h 1206"/>
                <a:gd name="T76" fmla="*/ 86 w 1056"/>
                <a:gd name="T77" fmla="*/ 25 h 1206"/>
                <a:gd name="T78" fmla="*/ 85 w 1056"/>
                <a:gd name="T79" fmla="*/ 31 h 1206"/>
                <a:gd name="T80" fmla="*/ 83 w 1056"/>
                <a:gd name="T81" fmla="*/ 36 h 1206"/>
                <a:gd name="T82" fmla="*/ 80 w 1056"/>
                <a:gd name="T83" fmla="*/ 42 h 1206"/>
                <a:gd name="T84" fmla="*/ 80 w 1056"/>
                <a:gd name="T85" fmla="*/ 47 h 1206"/>
                <a:gd name="T86" fmla="*/ 77 w 1056"/>
                <a:gd name="T87" fmla="*/ 55 h 1206"/>
                <a:gd name="T88" fmla="*/ 75 w 1056"/>
                <a:gd name="T89" fmla="*/ 57 h 1206"/>
                <a:gd name="T90" fmla="*/ 66 w 1056"/>
                <a:gd name="T91" fmla="*/ 57 h 1206"/>
                <a:gd name="T92" fmla="*/ 66 w 1056"/>
                <a:gd name="T93" fmla="*/ 51 h 1206"/>
                <a:gd name="T94" fmla="*/ 48 w 1056"/>
                <a:gd name="T95" fmla="*/ 50 h 1206"/>
                <a:gd name="T96" fmla="*/ 46 w 1056"/>
                <a:gd name="T97" fmla="*/ 55 h 1206"/>
                <a:gd name="T98" fmla="*/ 42 w 1056"/>
                <a:gd name="T99" fmla="*/ 59 h 1206"/>
                <a:gd name="T100" fmla="*/ 41 w 1056"/>
                <a:gd name="T101" fmla="*/ 62 h 1206"/>
                <a:gd name="T102" fmla="*/ 43 w 1056"/>
                <a:gd name="T103" fmla="*/ 67 h 1206"/>
                <a:gd name="T104" fmla="*/ 42 w 1056"/>
                <a:gd name="T105" fmla="*/ 72 h 1206"/>
                <a:gd name="T106" fmla="*/ 39 w 1056"/>
                <a:gd name="T107" fmla="*/ 77 h 1206"/>
                <a:gd name="T108" fmla="*/ 36 w 1056"/>
                <a:gd name="T109" fmla="*/ 80 h 1206"/>
                <a:gd name="T110" fmla="*/ 37 w 1056"/>
                <a:gd name="T111" fmla="*/ 83 h 1206"/>
                <a:gd name="T112" fmla="*/ 40 w 1056"/>
                <a:gd name="T113" fmla="*/ 87 h 1206"/>
                <a:gd name="T114" fmla="*/ 42 w 1056"/>
                <a:gd name="T115" fmla="*/ 89 h 12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56"/>
                <a:gd name="T175" fmla="*/ 0 h 1206"/>
                <a:gd name="T176" fmla="*/ 1056 w 1056"/>
                <a:gd name="T177" fmla="*/ 1206 h 12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56" h="1206">
                  <a:moveTo>
                    <a:pt x="492" y="1032"/>
                  </a:moveTo>
                  <a:lnTo>
                    <a:pt x="486" y="1038"/>
                  </a:lnTo>
                  <a:lnTo>
                    <a:pt x="486" y="1044"/>
                  </a:lnTo>
                  <a:lnTo>
                    <a:pt x="480" y="1044"/>
                  </a:lnTo>
                  <a:lnTo>
                    <a:pt x="474" y="1056"/>
                  </a:lnTo>
                  <a:lnTo>
                    <a:pt x="462" y="1068"/>
                  </a:lnTo>
                  <a:lnTo>
                    <a:pt x="456" y="1080"/>
                  </a:lnTo>
                  <a:lnTo>
                    <a:pt x="450" y="1080"/>
                  </a:lnTo>
                  <a:lnTo>
                    <a:pt x="450" y="1086"/>
                  </a:lnTo>
                  <a:lnTo>
                    <a:pt x="450" y="1092"/>
                  </a:lnTo>
                  <a:lnTo>
                    <a:pt x="444" y="1104"/>
                  </a:lnTo>
                  <a:lnTo>
                    <a:pt x="444" y="1116"/>
                  </a:lnTo>
                  <a:lnTo>
                    <a:pt x="438" y="1128"/>
                  </a:lnTo>
                  <a:lnTo>
                    <a:pt x="432" y="1134"/>
                  </a:lnTo>
                  <a:lnTo>
                    <a:pt x="432" y="1140"/>
                  </a:lnTo>
                  <a:lnTo>
                    <a:pt x="420" y="1152"/>
                  </a:lnTo>
                  <a:lnTo>
                    <a:pt x="420" y="1158"/>
                  </a:lnTo>
                  <a:lnTo>
                    <a:pt x="408" y="1182"/>
                  </a:lnTo>
                  <a:lnTo>
                    <a:pt x="396" y="1194"/>
                  </a:lnTo>
                  <a:lnTo>
                    <a:pt x="390" y="1206"/>
                  </a:lnTo>
                  <a:lnTo>
                    <a:pt x="390" y="1200"/>
                  </a:lnTo>
                  <a:lnTo>
                    <a:pt x="384" y="1194"/>
                  </a:lnTo>
                  <a:lnTo>
                    <a:pt x="378" y="1188"/>
                  </a:lnTo>
                  <a:lnTo>
                    <a:pt x="366" y="1176"/>
                  </a:lnTo>
                  <a:lnTo>
                    <a:pt x="366" y="1170"/>
                  </a:lnTo>
                  <a:lnTo>
                    <a:pt x="348" y="1152"/>
                  </a:lnTo>
                  <a:lnTo>
                    <a:pt x="336" y="1140"/>
                  </a:lnTo>
                  <a:lnTo>
                    <a:pt x="330" y="1134"/>
                  </a:lnTo>
                  <a:lnTo>
                    <a:pt x="324" y="1128"/>
                  </a:lnTo>
                  <a:lnTo>
                    <a:pt x="318" y="1122"/>
                  </a:lnTo>
                  <a:lnTo>
                    <a:pt x="312" y="1116"/>
                  </a:lnTo>
                  <a:lnTo>
                    <a:pt x="306" y="1110"/>
                  </a:lnTo>
                  <a:lnTo>
                    <a:pt x="300" y="1104"/>
                  </a:lnTo>
                  <a:lnTo>
                    <a:pt x="294" y="1098"/>
                  </a:lnTo>
                  <a:lnTo>
                    <a:pt x="276" y="1080"/>
                  </a:lnTo>
                  <a:lnTo>
                    <a:pt x="270" y="1080"/>
                  </a:lnTo>
                  <a:lnTo>
                    <a:pt x="270" y="1074"/>
                  </a:lnTo>
                  <a:lnTo>
                    <a:pt x="264" y="1068"/>
                  </a:lnTo>
                  <a:lnTo>
                    <a:pt x="258" y="1062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40" y="1050"/>
                  </a:lnTo>
                  <a:lnTo>
                    <a:pt x="234" y="1044"/>
                  </a:lnTo>
                  <a:lnTo>
                    <a:pt x="228" y="1044"/>
                  </a:lnTo>
                  <a:lnTo>
                    <a:pt x="222" y="1038"/>
                  </a:lnTo>
                  <a:lnTo>
                    <a:pt x="222" y="1032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6"/>
                  </a:lnTo>
                  <a:lnTo>
                    <a:pt x="204" y="1020"/>
                  </a:lnTo>
                  <a:lnTo>
                    <a:pt x="204" y="1014"/>
                  </a:lnTo>
                  <a:lnTo>
                    <a:pt x="198" y="1014"/>
                  </a:lnTo>
                  <a:lnTo>
                    <a:pt x="192" y="1014"/>
                  </a:lnTo>
                  <a:lnTo>
                    <a:pt x="192" y="1008"/>
                  </a:lnTo>
                  <a:lnTo>
                    <a:pt x="186" y="1008"/>
                  </a:lnTo>
                  <a:lnTo>
                    <a:pt x="186" y="1002"/>
                  </a:lnTo>
                  <a:lnTo>
                    <a:pt x="180" y="1002"/>
                  </a:lnTo>
                  <a:lnTo>
                    <a:pt x="174" y="996"/>
                  </a:lnTo>
                  <a:lnTo>
                    <a:pt x="168" y="996"/>
                  </a:lnTo>
                  <a:lnTo>
                    <a:pt x="168" y="990"/>
                  </a:lnTo>
                  <a:lnTo>
                    <a:pt x="162" y="990"/>
                  </a:lnTo>
                  <a:lnTo>
                    <a:pt x="162" y="984"/>
                  </a:lnTo>
                  <a:lnTo>
                    <a:pt x="150" y="978"/>
                  </a:lnTo>
                  <a:lnTo>
                    <a:pt x="144" y="972"/>
                  </a:lnTo>
                  <a:lnTo>
                    <a:pt x="138" y="972"/>
                  </a:lnTo>
                  <a:lnTo>
                    <a:pt x="138" y="966"/>
                  </a:lnTo>
                  <a:lnTo>
                    <a:pt x="132" y="966"/>
                  </a:lnTo>
                  <a:lnTo>
                    <a:pt x="126" y="960"/>
                  </a:lnTo>
                  <a:lnTo>
                    <a:pt x="126" y="954"/>
                  </a:lnTo>
                  <a:lnTo>
                    <a:pt x="120" y="954"/>
                  </a:lnTo>
                  <a:lnTo>
                    <a:pt x="114" y="948"/>
                  </a:lnTo>
                  <a:lnTo>
                    <a:pt x="108" y="948"/>
                  </a:lnTo>
                  <a:lnTo>
                    <a:pt x="108" y="942"/>
                  </a:lnTo>
                  <a:lnTo>
                    <a:pt x="102" y="942"/>
                  </a:lnTo>
                  <a:lnTo>
                    <a:pt x="96" y="942"/>
                  </a:lnTo>
                  <a:lnTo>
                    <a:pt x="96" y="936"/>
                  </a:lnTo>
                  <a:lnTo>
                    <a:pt x="90" y="936"/>
                  </a:lnTo>
                  <a:lnTo>
                    <a:pt x="90" y="930"/>
                  </a:lnTo>
                  <a:lnTo>
                    <a:pt x="84" y="930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18"/>
                  </a:lnTo>
                  <a:lnTo>
                    <a:pt x="66" y="918"/>
                  </a:lnTo>
                  <a:lnTo>
                    <a:pt x="66" y="912"/>
                  </a:lnTo>
                  <a:lnTo>
                    <a:pt x="66" y="906"/>
                  </a:lnTo>
                  <a:lnTo>
                    <a:pt x="72" y="906"/>
                  </a:lnTo>
                  <a:lnTo>
                    <a:pt x="84" y="906"/>
                  </a:lnTo>
                  <a:lnTo>
                    <a:pt x="90" y="906"/>
                  </a:lnTo>
                  <a:lnTo>
                    <a:pt x="120" y="930"/>
                  </a:lnTo>
                  <a:lnTo>
                    <a:pt x="126" y="936"/>
                  </a:lnTo>
                  <a:lnTo>
                    <a:pt x="138" y="936"/>
                  </a:lnTo>
                  <a:lnTo>
                    <a:pt x="138" y="930"/>
                  </a:lnTo>
                  <a:lnTo>
                    <a:pt x="144" y="930"/>
                  </a:lnTo>
                  <a:lnTo>
                    <a:pt x="144" y="924"/>
                  </a:lnTo>
                  <a:lnTo>
                    <a:pt x="150" y="900"/>
                  </a:lnTo>
                  <a:lnTo>
                    <a:pt x="138" y="894"/>
                  </a:lnTo>
                  <a:lnTo>
                    <a:pt x="126" y="894"/>
                  </a:lnTo>
                  <a:lnTo>
                    <a:pt x="108" y="888"/>
                  </a:lnTo>
                  <a:lnTo>
                    <a:pt x="84" y="882"/>
                  </a:lnTo>
                  <a:lnTo>
                    <a:pt x="72" y="882"/>
                  </a:lnTo>
                  <a:lnTo>
                    <a:pt x="72" y="876"/>
                  </a:lnTo>
                  <a:lnTo>
                    <a:pt x="78" y="870"/>
                  </a:lnTo>
                  <a:lnTo>
                    <a:pt x="90" y="870"/>
                  </a:lnTo>
                  <a:lnTo>
                    <a:pt x="96" y="870"/>
                  </a:lnTo>
                  <a:lnTo>
                    <a:pt x="102" y="870"/>
                  </a:lnTo>
                  <a:lnTo>
                    <a:pt x="114" y="870"/>
                  </a:lnTo>
                  <a:lnTo>
                    <a:pt x="120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34"/>
                  </a:lnTo>
                  <a:lnTo>
                    <a:pt x="132" y="828"/>
                  </a:lnTo>
                  <a:lnTo>
                    <a:pt x="132" y="816"/>
                  </a:lnTo>
                  <a:lnTo>
                    <a:pt x="150" y="816"/>
                  </a:lnTo>
                  <a:lnTo>
                    <a:pt x="150" y="804"/>
                  </a:lnTo>
                  <a:lnTo>
                    <a:pt x="144" y="798"/>
                  </a:lnTo>
                  <a:lnTo>
                    <a:pt x="156" y="762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32"/>
                  </a:lnTo>
                  <a:lnTo>
                    <a:pt x="144" y="726"/>
                  </a:lnTo>
                  <a:lnTo>
                    <a:pt x="132" y="726"/>
                  </a:lnTo>
                  <a:lnTo>
                    <a:pt x="120" y="732"/>
                  </a:lnTo>
                  <a:lnTo>
                    <a:pt x="114" y="744"/>
                  </a:lnTo>
                  <a:lnTo>
                    <a:pt x="108" y="750"/>
                  </a:lnTo>
                  <a:lnTo>
                    <a:pt x="96" y="768"/>
                  </a:lnTo>
                  <a:lnTo>
                    <a:pt x="96" y="774"/>
                  </a:lnTo>
                  <a:lnTo>
                    <a:pt x="90" y="780"/>
                  </a:lnTo>
                  <a:lnTo>
                    <a:pt x="84" y="804"/>
                  </a:lnTo>
                  <a:lnTo>
                    <a:pt x="72" y="774"/>
                  </a:lnTo>
                  <a:lnTo>
                    <a:pt x="72" y="768"/>
                  </a:lnTo>
                  <a:lnTo>
                    <a:pt x="66" y="762"/>
                  </a:lnTo>
                  <a:lnTo>
                    <a:pt x="60" y="750"/>
                  </a:lnTo>
                  <a:lnTo>
                    <a:pt x="54" y="750"/>
                  </a:lnTo>
                  <a:lnTo>
                    <a:pt x="48" y="750"/>
                  </a:lnTo>
                  <a:lnTo>
                    <a:pt x="42" y="750"/>
                  </a:lnTo>
                  <a:lnTo>
                    <a:pt x="30" y="744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12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2" y="702"/>
                  </a:lnTo>
                  <a:lnTo>
                    <a:pt x="18" y="696"/>
                  </a:lnTo>
                  <a:lnTo>
                    <a:pt x="12" y="690"/>
                  </a:lnTo>
                  <a:lnTo>
                    <a:pt x="12" y="684"/>
                  </a:lnTo>
                  <a:lnTo>
                    <a:pt x="12" y="678"/>
                  </a:lnTo>
                  <a:lnTo>
                    <a:pt x="12" y="672"/>
                  </a:lnTo>
                  <a:lnTo>
                    <a:pt x="18" y="672"/>
                  </a:lnTo>
                  <a:lnTo>
                    <a:pt x="18" y="666"/>
                  </a:lnTo>
                  <a:lnTo>
                    <a:pt x="24" y="666"/>
                  </a:lnTo>
                  <a:lnTo>
                    <a:pt x="24" y="660"/>
                  </a:lnTo>
                  <a:lnTo>
                    <a:pt x="30" y="660"/>
                  </a:lnTo>
                  <a:lnTo>
                    <a:pt x="30" y="654"/>
                  </a:lnTo>
                  <a:lnTo>
                    <a:pt x="36" y="654"/>
                  </a:lnTo>
                  <a:lnTo>
                    <a:pt x="36" y="648"/>
                  </a:lnTo>
                  <a:lnTo>
                    <a:pt x="42" y="648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60" y="630"/>
                  </a:lnTo>
                  <a:lnTo>
                    <a:pt x="66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78" y="624"/>
                  </a:lnTo>
                  <a:lnTo>
                    <a:pt x="84" y="618"/>
                  </a:lnTo>
                  <a:lnTo>
                    <a:pt x="84" y="612"/>
                  </a:lnTo>
                  <a:lnTo>
                    <a:pt x="90" y="612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20" y="588"/>
                  </a:lnTo>
                  <a:lnTo>
                    <a:pt x="120" y="582"/>
                  </a:lnTo>
                  <a:lnTo>
                    <a:pt x="120" y="576"/>
                  </a:lnTo>
                  <a:lnTo>
                    <a:pt x="120" y="570"/>
                  </a:lnTo>
                  <a:lnTo>
                    <a:pt x="126" y="564"/>
                  </a:lnTo>
                  <a:lnTo>
                    <a:pt x="126" y="558"/>
                  </a:lnTo>
                  <a:lnTo>
                    <a:pt x="126" y="552"/>
                  </a:lnTo>
                  <a:lnTo>
                    <a:pt x="126" y="546"/>
                  </a:lnTo>
                  <a:lnTo>
                    <a:pt x="126" y="534"/>
                  </a:lnTo>
                  <a:lnTo>
                    <a:pt x="126" y="516"/>
                  </a:lnTo>
                  <a:lnTo>
                    <a:pt x="126" y="510"/>
                  </a:lnTo>
                  <a:lnTo>
                    <a:pt x="126" y="504"/>
                  </a:lnTo>
                  <a:lnTo>
                    <a:pt x="126" y="498"/>
                  </a:lnTo>
                  <a:lnTo>
                    <a:pt x="132" y="498"/>
                  </a:lnTo>
                  <a:lnTo>
                    <a:pt x="132" y="492"/>
                  </a:lnTo>
                  <a:lnTo>
                    <a:pt x="138" y="492"/>
                  </a:lnTo>
                  <a:lnTo>
                    <a:pt x="144" y="486"/>
                  </a:lnTo>
                  <a:lnTo>
                    <a:pt x="156" y="480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6" y="462"/>
                  </a:lnTo>
                  <a:lnTo>
                    <a:pt x="156" y="456"/>
                  </a:lnTo>
                  <a:lnTo>
                    <a:pt x="156" y="450"/>
                  </a:lnTo>
                  <a:lnTo>
                    <a:pt x="162" y="438"/>
                  </a:lnTo>
                  <a:lnTo>
                    <a:pt x="168" y="426"/>
                  </a:lnTo>
                  <a:lnTo>
                    <a:pt x="174" y="426"/>
                  </a:lnTo>
                  <a:lnTo>
                    <a:pt x="174" y="420"/>
                  </a:lnTo>
                  <a:lnTo>
                    <a:pt x="180" y="414"/>
                  </a:lnTo>
                  <a:lnTo>
                    <a:pt x="186" y="420"/>
                  </a:lnTo>
                  <a:lnTo>
                    <a:pt x="186" y="414"/>
                  </a:lnTo>
                  <a:lnTo>
                    <a:pt x="180" y="408"/>
                  </a:lnTo>
                  <a:lnTo>
                    <a:pt x="180" y="402"/>
                  </a:lnTo>
                  <a:lnTo>
                    <a:pt x="186" y="402"/>
                  </a:lnTo>
                  <a:lnTo>
                    <a:pt x="192" y="402"/>
                  </a:lnTo>
                  <a:lnTo>
                    <a:pt x="192" y="396"/>
                  </a:lnTo>
                  <a:lnTo>
                    <a:pt x="198" y="396"/>
                  </a:lnTo>
                  <a:lnTo>
                    <a:pt x="204" y="396"/>
                  </a:lnTo>
                  <a:lnTo>
                    <a:pt x="210" y="396"/>
                  </a:lnTo>
                  <a:lnTo>
                    <a:pt x="210" y="390"/>
                  </a:lnTo>
                  <a:lnTo>
                    <a:pt x="216" y="390"/>
                  </a:lnTo>
                  <a:lnTo>
                    <a:pt x="216" y="384"/>
                  </a:lnTo>
                  <a:lnTo>
                    <a:pt x="222" y="384"/>
                  </a:lnTo>
                  <a:lnTo>
                    <a:pt x="222" y="378"/>
                  </a:lnTo>
                  <a:lnTo>
                    <a:pt x="228" y="372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0" y="348"/>
                  </a:lnTo>
                  <a:lnTo>
                    <a:pt x="234" y="342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46" y="330"/>
                  </a:lnTo>
                  <a:lnTo>
                    <a:pt x="246" y="324"/>
                  </a:lnTo>
                  <a:lnTo>
                    <a:pt x="234" y="318"/>
                  </a:lnTo>
                  <a:lnTo>
                    <a:pt x="234" y="312"/>
                  </a:lnTo>
                  <a:lnTo>
                    <a:pt x="234" y="300"/>
                  </a:lnTo>
                  <a:lnTo>
                    <a:pt x="240" y="288"/>
                  </a:lnTo>
                  <a:lnTo>
                    <a:pt x="240" y="276"/>
                  </a:lnTo>
                  <a:lnTo>
                    <a:pt x="246" y="258"/>
                  </a:lnTo>
                  <a:lnTo>
                    <a:pt x="258" y="252"/>
                  </a:lnTo>
                  <a:lnTo>
                    <a:pt x="270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294" y="252"/>
                  </a:lnTo>
                  <a:lnTo>
                    <a:pt x="300" y="258"/>
                  </a:lnTo>
                  <a:lnTo>
                    <a:pt x="318" y="252"/>
                  </a:lnTo>
                  <a:lnTo>
                    <a:pt x="366" y="252"/>
                  </a:lnTo>
                  <a:lnTo>
                    <a:pt x="378" y="252"/>
                  </a:lnTo>
                  <a:lnTo>
                    <a:pt x="396" y="252"/>
                  </a:lnTo>
                  <a:lnTo>
                    <a:pt x="408" y="252"/>
                  </a:lnTo>
                  <a:lnTo>
                    <a:pt x="408" y="246"/>
                  </a:lnTo>
                  <a:lnTo>
                    <a:pt x="414" y="240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20" y="216"/>
                  </a:lnTo>
                  <a:lnTo>
                    <a:pt x="426" y="210"/>
                  </a:lnTo>
                  <a:lnTo>
                    <a:pt x="444" y="198"/>
                  </a:lnTo>
                  <a:lnTo>
                    <a:pt x="462" y="198"/>
                  </a:lnTo>
                  <a:lnTo>
                    <a:pt x="474" y="204"/>
                  </a:lnTo>
                  <a:lnTo>
                    <a:pt x="498" y="198"/>
                  </a:lnTo>
                  <a:lnTo>
                    <a:pt x="498" y="204"/>
                  </a:lnTo>
                  <a:lnTo>
                    <a:pt x="540" y="210"/>
                  </a:lnTo>
                  <a:lnTo>
                    <a:pt x="564" y="210"/>
                  </a:lnTo>
                  <a:lnTo>
                    <a:pt x="588" y="210"/>
                  </a:lnTo>
                  <a:lnTo>
                    <a:pt x="612" y="210"/>
                  </a:lnTo>
                  <a:lnTo>
                    <a:pt x="612" y="216"/>
                  </a:lnTo>
                  <a:lnTo>
                    <a:pt x="618" y="222"/>
                  </a:lnTo>
                  <a:lnTo>
                    <a:pt x="618" y="228"/>
                  </a:lnTo>
                  <a:lnTo>
                    <a:pt x="624" y="240"/>
                  </a:lnTo>
                  <a:lnTo>
                    <a:pt x="624" y="246"/>
                  </a:lnTo>
                  <a:lnTo>
                    <a:pt x="630" y="252"/>
                  </a:lnTo>
                  <a:lnTo>
                    <a:pt x="630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0" y="282"/>
                  </a:lnTo>
                  <a:lnTo>
                    <a:pt x="630" y="288"/>
                  </a:lnTo>
                  <a:lnTo>
                    <a:pt x="630" y="300"/>
                  </a:lnTo>
                  <a:lnTo>
                    <a:pt x="630" y="306"/>
                  </a:lnTo>
                  <a:lnTo>
                    <a:pt x="636" y="306"/>
                  </a:lnTo>
                  <a:lnTo>
                    <a:pt x="642" y="306"/>
                  </a:lnTo>
                  <a:lnTo>
                    <a:pt x="648" y="312"/>
                  </a:lnTo>
                  <a:lnTo>
                    <a:pt x="666" y="312"/>
                  </a:lnTo>
                  <a:lnTo>
                    <a:pt x="696" y="306"/>
                  </a:lnTo>
                  <a:lnTo>
                    <a:pt x="732" y="300"/>
                  </a:lnTo>
                  <a:lnTo>
                    <a:pt x="732" y="288"/>
                  </a:lnTo>
                  <a:lnTo>
                    <a:pt x="738" y="288"/>
                  </a:lnTo>
                  <a:lnTo>
                    <a:pt x="744" y="276"/>
                  </a:lnTo>
                  <a:lnTo>
                    <a:pt x="762" y="246"/>
                  </a:lnTo>
                  <a:lnTo>
                    <a:pt x="768" y="228"/>
                  </a:lnTo>
                  <a:lnTo>
                    <a:pt x="792" y="210"/>
                  </a:lnTo>
                  <a:lnTo>
                    <a:pt x="804" y="186"/>
                  </a:lnTo>
                  <a:lnTo>
                    <a:pt x="804" y="156"/>
                  </a:lnTo>
                  <a:lnTo>
                    <a:pt x="804" y="138"/>
                  </a:lnTo>
                  <a:lnTo>
                    <a:pt x="810" y="126"/>
                  </a:lnTo>
                  <a:lnTo>
                    <a:pt x="816" y="120"/>
                  </a:lnTo>
                  <a:lnTo>
                    <a:pt x="828" y="102"/>
                  </a:lnTo>
                  <a:lnTo>
                    <a:pt x="834" y="96"/>
                  </a:lnTo>
                  <a:lnTo>
                    <a:pt x="846" y="102"/>
                  </a:lnTo>
                  <a:lnTo>
                    <a:pt x="852" y="96"/>
                  </a:lnTo>
                  <a:lnTo>
                    <a:pt x="858" y="72"/>
                  </a:lnTo>
                  <a:lnTo>
                    <a:pt x="864" y="60"/>
                  </a:lnTo>
                  <a:lnTo>
                    <a:pt x="882" y="48"/>
                  </a:lnTo>
                  <a:lnTo>
                    <a:pt x="906" y="36"/>
                  </a:lnTo>
                  <a:lnTo>
                    <a:pt x="918" y="12"/>
                  </a:lnTo>
                  <a:lnTo>
                    <a:pt x="924" y="0"/>
                  </a:lnTo>
                  <a:lnTo>
                    <a:pt x="930" y="6"/>
                  </a:lnTo>
                  <a:lnTo>
                    <a:pt x="942" y="12"/>
                  </a:lnTo>
                  <a:lnTo>
                    <a:pt x="948" y="12"/>
                  </a:lnTo>
                  <a:lnTo>
                    <a:pt x="954" y="18"/>
                  </a:lnTo>
                  <a:lnTo>
                    <a:pt x="966" y="18"/>
                  </a:lnTo>
                  <a:lnTo>
                    <a:pt x="972" y="18"/>
                  </a:lnTo>
                  <a:lnTo>
                    <a:pt x="984" y="18"/>
                  </a:lnTo>
                  <a:lnTo>
                    <a:pt x="990" y="18"/>
                  </a:lnTo>
                  <a:lnTo>
                    <a:pt x="1002" y="48"/>
                  </a:lnTo>
                  <a:lnTo>
                    <a:pt x="1008" y="78"/>
                  </a:lnTo>
                  <a:lnTo>
                    <a:pt x="1020" y="78"/>
                  </a:lnTo>
                  <a:lnTo>
                    <a:pt x="1020" y="90"/>
                  </a:lnTo>
                  <a:lnTo>
                    <a:pt x="1026" y="102"/>
                  </a:lnTo>
                  <a:lnTo>
                    <a:pt x="1044" y="120"/>
                  </a:lnTo>
                  <a:lnTo>
                    <a:pt x="1044" y="132"/>
                  </a:lnTo>
                  <a:lnTo>
                    <a:pt x="1056" y="150"/>
                  </a:lnTo>
                  <a:lnTo>
                    <a:pt x="1050" y="150"/>
                  </a:lnTo>
                  <a:lnTo>
                    <a:pt x="1044" y="156"/>
                  </a:lnTo>
                  <a:lnTo>
                    <a:pt x="1044" y="162"/>
                  </a:lnTo>
                  <a:lnTo>
                    <a:pt x="1038" y="162"/>
                  </a:lnTo>
                  <a:lnTo>
                    <a:pt x="1032" y="162"/>
                  </a:lnTo>
                  <a:lnTo>
                    <a:pt x="1026" y="168"/>
                  </a:lnTo>
                  <a:lnTo>
                    <a:pt x="1014" y="174"/>
                  </a:lnTo>
                  <a:lnTo>
                    <a:pt x="1014" y="186"/>
                  </a:lnTo>
                  <a:lnTo>
                    <a:pt x="1014" y="192"/>
                  </a:lnTo>
                  <a:lnTo>
                    <a:pt x="1014" y="198"/>
                  </a:lnTo>
                  <a:lnTo>
                    <a:pt x="1020" y="204"/>
                  </a:lnTo>
                  <a:lnTo>
                    <a:pt x="1026" y="204"/>
                  </a:lnTo>
                  <a:lnTo>
                    <a:pt x="1032" y="204"/>
                  </a:lnTo>
                  <a:lnTo>
                    <a:pt x="1032" y="210"/>
                  </a:lnTo>
                  <a:lnTo>
                    <a:pt x="1038" y="210"/>
                  </a:lnTo>
                  <a:lnTo>
                    <a:pt x="1032" y="216"/>
                  </a:lnTo>
                  <a:lnTo>
                    <a:pt x="1026" y="228"/>
                  </a:lnTo>
                  <a:lnTo>
                    <a:pt x="1026" y="234"/>
                  </a:lnTo>
                  <a:lnTo>
                    <a:pt x="1032" y="240"/>
                  </a:lnTo>
                  <a:lnTo>
                    <a:pt x="1032" y="246"/>
                  </a:lnTo>
                  <a:lnTo>
                    <a:pt x="1032" y="252"/>
                  </a:lnTo>
                  <a:lnTo>
                    <a:pt x="1032" y="258"/>
                  </a:lnTo>
                  <a:lnTo>
                    <a:pt x="1038" y="264"/>
                  </a:lnTo>
                  <a:lnTo>
                    <a:pt x="1032" y="276"/>
                  </a:lnTo>
                  <a:lnTo>
                    <a:pt x="1026" y="276"/>
                  </a:lnTo>
                  <a:lnTo>
                    <a:pt x="1020" y="276"/>
                  </a:lnTo>
                  <a:lnTo>
                    <a:pt x="996" y="282"/>
                  </a:lnTo>
                  <a:lnTo>
                    <a:pt x="996" y="288"/>
                  </a:lnTo>
                  <a:lnTo>
                    <a:pt x="996" y="294"/>
                  </a:lnTo>
                  <a:lnTo>
                    <a:pt x="996" y="300"/>
                  </a:lnTo>
                  <a:lnTo>
                    <a:pt x="996" y="306"/>
                  </a:lnTo>
                  <a:lnTo>
                    <a:pt x="984" y="324"/>
                  </a:lnTo>
                  <a:lnTo>
                    <a:pt x="984" y="330"/>
                  </a:lnTo>
                  <a:lnTo>
                    <a:pt x="984" y="336"/>
                  </a:lnTo>
                  <a:lnTo>
                    <a:pt x="978" y="336"/>
                  </a:lnTo>
                  <a:lnTo>
                    <a:pt x="978" y="342"/>
                  </a:lnTo>
                  <a:lnTo>
                    <a:pt x="984" y="360"/>
                  </a:lnTo>
                  <a:lnTo>
                    <a:pt x="978" y="366"/>
                  </a:lnTo>
                  <a:lnTo>
                    <a:pt x="978" y="372"/>
                  </a:lnTo>
                  <a:lnTo>
                    <a:pt x="972" y="372"/>
                  </a:lnTo>
                  <a:lnTo>
                    <a:pt x="972" y="378"/>
                  </a:lnTo>
                  <a:lnTo>
                    <a:pt x="972" y="384"/>
                  </a:lnTo>
                  <a:lnTo>
                    <a:pt x="972" y="390"/>
                  </a:lnTo>
                  <a:lnTo>
                    <a:pt x="966" y="402"/>
                  </a:lnTo>
                  <a:lnTo>
                    <a:pt x="960" y="414"/>
                  </a:lnTo>
                  <a:lnTo>
                    <a:pt x="954" y="420"/>
                  </a:lnTo>
                  <a:lnTo>
                    <a:pt x="948" y="426"/>
                  </a:lnTo>
                  <a:lnTo>
                    <a:pt x="948" y="438"/>
                  </a:lnTo>
                  <a:lnTo>
                    <a:pt x="942" y="444"/>
                  </a:lnTo>
                  <a:lnTo>
                    <a:pt x="936" y="450"/>
                  </a:lnTo>
                  <a:lnTo>
                    <a:pt x="930" y="456"/>
                  </a:lnTo>
                  <a:lnTo>
                    <a:pt x="924" y="462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18" y="522"/>
                  </a:lnTo>
                  <a:lnTo>
                    <a:pt x="918" y="528"/>
                  </a:lnTo>
                  <a:lnTo>
                    <a:pt x="924" y="534"/>
                  </a:lnTo>
                  <a:lnTo>
                    <a:pt x="924" y="540"/>
                  </a:lnTo>
                  <a:lnTo>
                    <a:pt x="924" y="546"/>
                  </a:lnTo>
                  <a:lnTo>
                    <a:pt x="918" y="546"/>
                  </a:lnTo>
                  <a:lnTo>
                    <a:pt x="918" y="552"/>
                  </a:lnTo>
                  <a:lnTo>
                    <a:pt x="912" y="546"/>
                  </a:lnTo>
                  <a:lnTo>
                    <a:pt x="912" y="552"/>
                  </a:lnTo>
                  <a:lnTo>
                    <a:pt x="912" y="570"/>
                  </a:lnTo>
                  <a:lnTo>
                    <a:pt x="906" y="588"/>
                  </a:lnTo>
                  <a:lnTo>
                    <a:pt x="900" y="606"/>
                  </a:lnTo>
                  <a:lnTo>
                    <a:pt x="906" y="624"/>
                  </a:lnTo>
                  <a:lnTo>
                    <a:pt x="900" y="624"/>
                  </a:lnTo>
                  <a:lnTo>
                    <a:pt x="894" y="630"/>
                  </a:lnTo>
                  <a:lnTo>
                    <a:pt x="888" y="630"/>
                  </a:lnTo>
                  <a:lnTo>
                    <a:pt x="882" y="630"/>
                  </a:lnTo>
                  <a:lnTo>
                    <a:pt x="882" y="636"/>
                  </a:lnTo>
                  <a:lnTo>
                    <a:pt x="876" y="642"/>
                  </a:lnTo>
                  <a:lnTo>
                    <a:pt x="870" y="642"/>
                  </a:lnTo>
                  <a:lnTo>
                    <a:pt x="870" y="648"/>
                  </a:lnTo>
                  <a:lnTo>
                    <a:pt x="870" y="654"/>
                  </a:lnTo>
                  <a:lnTo>
                    <a:pt x="864" y="654"/>
                  </a:lnTo>
                  <a:lnTo>
                    <a:pt x="864" y="660"/>
                  </a:lnTo>
                  <a:lnTo>
                    <a:pt x="846" y="666"/>
                  </a:lnTo>
                  <a:lnTo>
                    <a:pt x="828" y="672"/>
                  </a:lnTo>
                  <a:lnTo>
                    <a:pt x="816" y="660"/>
                  </a:lnTo>
                  <a:lnTo>
                    <a:pt x="810" y="660"/>
                  </a:lnTo>
                  <a:lnTo>
                    <a:pt x="798" y="666"/>
                  </a:lnTo>
                  <a:lnTo>
                    <a:pt x="786" y="666"/>
                  </a:lnTo>
                  <a:lnTo>
                    <a:pt x="780" y="672"/>
                  </a:lnTo>
                  <a:lnTo>
                    <a:pt x="768" y="678"/>
                  </a:lnTo>
                  <a:lnTo>
                    <a:pt x="762" y="660"/>
                  </a:lnTo>
                  <a:lnTo>
                    <a:pt x="762" y="654"/>
                  </a:lnTo>
                  <a:lnTo>
                    <a:pt x="756" y="636"/>
                  </a:lnTo>
                  <a:lnTo>
                    <a:pt x="762" y="624"/>
                  </a:lnTo>
                  <a:lnTo>
                    <a:pt x="756" y="606"/>
                  </a:lnTo>
                  <a:lnTo>
                    <a:pt x="756" y="600"/>
                  </a:lnTo>
                  <a:lnTo>
                    <a:pt x="762" y="594"/>
                  </a:lnTo>
                  <a:lnTo>
                    <a:pt x="768" y="600"/>
                  </a:lnTo>
                  <a:lnTo>
                    <a:pt x="768" y="594"/>
                  </a:lnTo>
                  <a:lnTo>
                    <a:pt x="768" y="588"/>
                  </a:lnTo>
                  <a:lnTo>
                    <a:pt x="774" y="582"/>
                  </a:lnTo>
                  <a:lnTo>
                    <a:pt x="768" y="576"/>
                  </a:lnTo>
                  <a:lnTo>
                    <a:pt x="762" y="576"/>
                  </a:lnTo>
                  <a:lnTo>
                    <a:pt x="756" y="576"/>
                  </a:lnTo>
                  <a:lnTo>
                    <a:pt x="690" y="576"/>
                  </a:lnTo>
                  <a:lnTo>
                    <a:pt x="624" y="570"/>
                  </a:lnTo>
                  <a:lnTo>
                    <a:pt x="600" y="564"/>
                  </a:lnTo>
                  <a:lnTo>
                    <a:pt x="576" y="564"/>
                  </a:lnTo>
                  <a:lnTo>
                    <a:pt x="558" y="570"/>
                  </a:lnTo>
                  <a:lnTo>
                    <a:pt x="552" y="576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46" y="594"/>
                  </a:lnTo>
                  <a:lnTo>
                    <a:pt x="546" y="600"/>
                  </a:lnTo>
                  <a:lnTo>
                    <a:pt x="540" y="606"/>
                  </a:lnTo>
                  <a:lnTo>
                    <a:pt x="534" y="618"/>
                  </a:lnTo>
                  <a:lnTo>
                    <a:pt x="534" y="624"/>
                  </a:lnTo>
                  <a:lnTo>
                    <a:pt x="534" y="630"/>
                  </a:lnTo>
                  <a:lnTo>
                    <a:pt x="534" y="636"/>
                  </a:lnTo>
                  <a:lnTo>
                    <a:pt x="528" y="636"/>
                  </a:lnTo>
                  <a:lnTo>
                    <a:pt x="516" y="642"/>
                  </a:lnTo>
                  <a:lnTo>
                    <a:pt x="516" y="648"/>
                  </a:lnTo>
                  <a:lnTo>
                    <a:pt x="510" y="648"/>
                  </a:lnTo>
                  <a:lnTo>
                    <a:pt x="504" y="654"/>
                  </a:lnTo>
                  <a:lnTo>
                    <a:pt x="492" y="666"/>
                  </a:lnTo>
                  <a:lnTo>
                    <a:pt x="492" y="672"/>
                  </a:lnTo>
                  <a:lnTo>
                    <a:pt x="492" y="684"/>
                  </a:lnTo>
                  <a:lnTo>
                    <a:pt x="486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92" y="702"/>
                  </a:lnTo>
                  <a:lnTo>
                    <a:pt x="486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74" y="720"/>
                  </a:lnTo>
                  <a:lnTo>
                    <a:pt x="480" y="726"/>
                  </a:lnTo>
                  <a:lnTo>
                    <a:pt x="474" y="726"/>
                  </a:lnTo>
                  <a:lnTo>
                    <a:pt x="474" y="738"/>
                  </a:lnTo>
                  <a:lnTo>
                    <a:pt x="474" y="744"/>
                  </a:lnTo>
                  <a:lnTo>
                    <a:pt x="474" y="750"/>
                  </a:lnTo>
                  <a:lnTo>
                    <a:pt x="480" y="750"/>
                  </a:lnTo>
                  <a:lnTo>
                    <a:pt x="480" y="756"/>
                  </a:lnTo>
                  <a:lnTo>
                    <a:pt x="492" y="762"/>
                  </a:lnTo>
                  <a:lnTo>
                    <a:pt x="498" y="774"/>
                  </a:lnTo>
                  <a:lnTo>
                    <a:pt x="498" y="780"/>
                  </a:lnTo>
                  <a:lnTo>
                    <a:pt x="504" y="786"/>
                  </a:lnTo>
                  <a:lnTo>
                    <a:pt x="510" y="792"/>
                  </a:lnTo>
                  <a:lnTo>
                    <a:pt x="504" y="798"/>
                  </a:lnTo>
                  <a:lnTo>
                    <a:pt x="504" y="804"/>
                  </a:lnTo>
                  <a:lnTo>
                    <a:pt x="504" y="810"/>
                  </a:lnTo>
                  <a:lnTo>
                    <a:pt x="498" y="822"/>
                  </a:lnTo>
                  <a:lnTo>
                    <a:pt x="492" y="828"/>
                  </a:lnTo>
                  <a:lnTo>
                    <a:pt x="492" y="834"/>
                  </a:lnTo>
                  <a:lnTo>
                    <a:pt x="486" y="840"/>
                  </a:lnTo>
                  <a:lnTo>
                    <a:pt x="480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74" y="858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876"/>
                  </a:lnTo>
                  <a:lnTo>
                    <a:pt x="456" y="894"/>
                  </a:lnTo>
                  <a:lnTo>
                    <a:pt x="450" y="894"/>
                  </a:lnTo>
                  <a:lnTo>
                    <a:pt x="444" y="900"/>
                  </a:lnTo>
                  <a:lnTo>
                    <a:pt x="444" y="894"/>
                  </a:lnTo>
                  <a:lnTo>
                    <a:pt x="438" y="894"/>
                  </a:lnTo>
                  <a:lnTo>
                    <a:pt x="432" y="900"/>
                  </a:lnTo>
                  <a:lnTo>
                    <a:pt x="432" y="906"/>
                  </a:lnTo>
                  <a:lnTo>
                    <a:pt x="420" y="906"/>
                  </a:lnTo>
                  <a:lnTo>
                    <a:pt x="420" y="912"/>
                  </a:lnTo>
                  <a:lnTo>
                    <a:pt x="420" y="918"/>
                  </a:lnTo>
                  <a:lnTo>
                    <a:pt x="426" y="918"/>
                  </a:lnTo>
                  <a:lnTo>
                    <a:pt x="426" y="924"/>
                  </a:lnTo>
                  <a:lnTo>
                    <a:pt x="426" y="930"/>
                  </a:lnTo>
                  <a:lnTo>
                    <a:pt x="420" y="930"/>
                  </a:lnTo>
                  <a:lnTo>
                    <a:pt x="414" y="936"/>
                  </a:lnTo>
                  <a:lnTo>
                    <a:pt x="414" y="942"/>
                  </a:lnTo>
                  <a:lnTo>
                    <a:pt x="414" y="948"/>
                  </a:lnTo>
                  <a:lnTo>
                    <a:pt x="414" y="954"/>
                  </a:lnTo>
                  <a:lnTo>
                    <a:pt x="426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44" y="972"/>
                  </a:lnTo>
                  <a:lnTo>
                    <a:pt x="444" y="978"/>
                  </a:lnTo>
                  <a:lnTo>
                    <a:pt x="450" y="978"/>
                  </a:lnTo>
                  <a:lnTo>
                    <a:pt x="450" y="984"/>
                  </a:lnTo>
                  <a:lnTo>
                    <a:pt x="456" y="990"/>
                  </a:lnTo>
                  <a:lnTo>
                    <a:pt x="456" y="996"/>
                  </a:lnTo>
                  <a:lnTo>
                    <a:pt x="462" y="1008"/>
                  </a:lnTo>
                  <a:lnTo>
                    <a:pt x="468" y="1008"/>
                  </a:lnTo>
                  <a:lnTo>
                    <a:pt x="468" y="1002"/>
                  </a:lnTo>
                  <a:lnTo>
                    <a:pt x="474" y="1008"/>
                  </a:lnTo>
                  <a:lnTo>
                    <a:pt x="480" y="1002"/>
                  </a:lnTo>
                  <a:lnTo>
                    <a:pt x="486" y="1008"/>
                  </a:lnTo>
                  <a:lnTo>
                    <a:pt x="486" y="1014"/>
                  </a:lnTo>
                  <a:lnTo>
                    <a:pt x="492" y="1014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86" y="1026"/>
                  </a:lnTo>
                  <a:lnTo>
                    <a:pt x="492" y="1026"/>
                  </a:lnTo>
                  <a:lnTo>
                    <a:pt x="486" y="1026"/>
                  </a:lnTo>
                  <a:lnTo>
                    <a:pt x="492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5" name="Freeform 30">
              <a:extLst>
                <a:ext uri="{FF2B5EF4-FFF2-40B4-BE49-F238E27FC236}">
                  <a16:creationId xmlns:a16="http://schemas.microsoft.com/office/drawing/2014/main" id="{85C7B827-0C1A-4D72-AEBD-F01CFE7EC12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3645" y="3904484"/>
              <a:ext cx="559048" cy="111825"/>
            </a:xfrm>
            <a:custGeom>
              <a:avLst/>
              <a:gdLst>
                <a:gd name="T0" fmla="*/ 69 w 1056"/>
                <a:gd name="T1" fmla="*/ 7 h 210"/>
                <a:gd name="T2" fmla="*/ 63 w 1056"/>
                <a:gd name="T3" fmla="*/ 5 h 210"/>
                <a:gd name="T4" fmla="*/ 57 w 1056"/>
                <a:gd name="T5" fmla="*/ 5 h 210"/>
                <a:gd name="T6" fmla="*/ 54 w 1056"/>
                <a:gd name="T7" fmla="*/ 6 h 210"/>
                <a:gd name="T8" fmla="*/ 51 w 1056"/>
                <a:gd name="T9" fmla="*/ 7 h 210"/>
                <a:gd name="T10" fmla="*/ 46 w 1056"/>
                <a:gd name="T11" fmla="*/ 9 h 210"/>
                <a:gd name="T12" fmla="*/ 42 w 1056"/>
                <a:gd name="T13" fmla="*/ 8 h 210"/>
                <a:gd name="T14" fmla="*/ 42 w 1056"/>
                <a:gd name="T15" fmla="*/ 5 h 210"/>
                <a:gd name="T16" fmla="*/ 41 w 1056"/>
                <a:gd name="T17" fmla="*/ 7 h 210"/>
                <a:gd name="T18" fmla="*/ 38 w 1056"/>
                <a:gd name="T19" fmla="*/ 10 h 210"/>
                <a:gd name="T20" fmla="*/ 37 w 1056"/>
                <a:gd name="T21" fmla="*/ 12 h 210"/>
                <a:gd name="T22" fmla="*/ 37 w 1056"/>
                <a:gd name="T23" fmla="*/ 15 h 210"/>
                <a:gd name="T24" fmla="*/ 37 w 1056"/>
                <a:gd name="T25" fmla="*/ 16 h 210"/>
                <a:gd name="T26" fmla="*/ 38 w 1056"/>
                <a:gd name="T27" fmla="*/ 16 h 210"/>
                <a:gd name="T28" fmla="*/ 34 w 1056"/>
                <a:gd name="T29" fmla="*/ 16 h 210"/>
                <a:gd name="T30" fmla="*/ 26 w 1056"/>
                <a:gd name="T31" fmla="*/ 16 h 210"/>
                <a:gd name="T32" fmla="*/ 20 w 1056"/>
                <a:gd name="T33" fmla="*/ 17 h 210"/>
                <a:gd name="T34" fmla="*/ 13 w 1056"/>
                <a:gd name="T35" fmla="*/ 17 h 210"/>
                <a:gd name="T36" fmla="*/ 6 w 1056"/>
                <a:gd name="T37" fmla="*/ 17 h 210"/>
                <a:gd name="T38" fmla="*/ 1 w 1056"/>
                <a:gd name="T39" fmla="*/ 18 h 210"/>
                <a:gd name="T40" fmla="*/ 3 w 1056"/>
                <a:gd name="T41" fmla="*/ 14 h 210"/>
                <a:gd name="T42" fmla="*/ 8 w 1056"/>
                <a:gd name="T43" fmla="*/ 15 h 210"/>
                <a:gd name="T44" fmla="*/ 11 w 1056"/>
                <a:gd name="T45" fmla="*/ 12 h 210"/>
                <a:gd name="T46" fmla="*/ 26 w 1056"/>
                <a:gd name="T47" fmla="*/ 10 h 210"/>
                <a:gd name="T48" fmla="*/ 29 w 1056"/>
                <a:gd name="T49" fmla="*/ 5 h 210"/>
                <a:gd name="T50" fmla="*/ 34 w 1056"/>
                <a:gd name="T51" fmla="*/ 1 h 210"/>
                <a:gd name="T52" fmla="*/ 41 w 1056"/>
                <a:gd name="T53" fmla="*/ 3 h 210"/>
                <a:gd name="T54" fmla="*/ 73 w 1056"/>
                <a:gd name="T55" fmla="*/ 1 h 210"/>
                <a:gd name="T56" fmla="*/ 75 w 1056"/>
                <a:gd name="T57" fmla="*/ 4 h 210"/>
                <a:gd name="T58" fmla="*/ 85 w 1056"/>
                <a:gd name="T59" fmla="*/ 15 h 210"/>
                <a:gd name="T60" fmla="*/ 91 w 1056"/>
                <a:gd name="T61" fmla="*/ 18 h 210"/>
                <a:gd name="T62" fmla="*/ 85 w 1056"/>
                <a:gd name="T63" fmla="*/ 18 h 210"/>
                <a:gd name="T64" fmla="*/ 79 w 1056"/>
                <a:gd name="T65" fmla="*/ 16 h 210"/>
                <a:gd name="T66" fmla="*/ 74 w 1056"/>
                <a:gd name="T67" fmla="*/ 16 h 210"/>
                <a:gd name="T68" fmla="*/ 69 w 1056"/>
                <a:gd name="T69" fmla="*/ 15 h 210"/>
                <a:gd name="T70" fmla="*/ 65 w 1056"/>
                <a:gd name="T71" fmla="*/ 14 h 210"/>
                <a:gd name="T72" fmla="*/ 59 w 1056"/>
                <a:gd name="T73" fmla="*/ 15 h 210"/>
                <a:gd name="T74" fmla="*/ 54 w 1056"/>
                <a:gd name="T75" fmla="*/ 15 h 210"/>
                <a:gd name="T76" fmla="*/ 49 w 1056"/>
                <a:gd name="T77" fmla="*/ 15 h 210"/>
                <a:gd name="T78" fmla="*/ 42 w 1056"/>
                <a:gd name="T79" fmla="*/ 15 h 210"/>
                <a:gd name="T80" fmla="*/ 38 w 1056"/>
                <a:gd name="T81" fmla="*/ 16 h 210"/>
                <a:gd name="T82" fmla="*/ 41 w 1056"/>
                <a:gd name="T83" fmla="*/ 14 h 210"/>
                <a:gd name="T84" fmla="*/ 42 w 1056"/>
                <a:gd name="T85" fmla="*/ 13 h 210"/>
                <a:gd name="T86" fmla="*/ 45 w 1056"/>
                <a:gd name="T87" fmla="*/ 13 h 210"/>
                <a:gd name="T88" fmla="*/ 48 w 1056"/>
                <a:gd name="T89" fmla="*/ 12 h 210"/>
                <a:gd name="T90" fmla="*/ 51 w 1056"/>
                <a:gd name="T91" fmla="*/ 11 h 210"/>
                <a:gd name="T92" fmla="*/ 54 w 1056"/>
                <a:gd name="T93" fmla="*/ 9 h 210"/>
                <a:gd name="T94" fmla="*/ 57 w 1056"/>
                <a:gd name="T95" fmla="*/ 8 h 210"/>
                <a:gd name="T96" fmla="*/ 60 w 1056"/>
                <a:gd name="T97" fmla="*/ 5 h 210"/>
                <a:gd name="T98" fmla="*/ 65 w 1056"/>
                <a:gd name="T99" fmla="*/ 5 h 210"/>
                <a:gd name="T100" fmla="*/ 72 w 1056"/>
                <a:gd name="T101" fmla="*/ 7 h 210"/>
                <a:gd name="T102" fmla="*/ 77 w 1056"/>
                <a:gd name="T103" fmla="*/ 11 h 210"/>
                <a:gd name="T104" fmla="*/ 69 w 1056"/>
                <a:gd name="T105" fmla="*/ 10 h 210"/>
                <a:gd name="T106" fmla="*/ 72 w 1056"/>
                <a:gd name="T107" fmla="*/ 12 h 210"/>
                <a:gd name="T108" fmla="*/ 78 w 1056"/>
                <a:gd name="T109" fmla="*/ 15 h 210"/>
                <a:gd name="T110" fmla="*/ 84 w 1056"/>
                <a:gd name="T111" fmla="*/ 14 h 210"/>
                <a:gd name="T112" fmla="*/ 84 w 1056"/>
                <a:gd name="T113" fmla="*/ 14 h 210"/>
                <a:gd name="T114" fmla="*/ 78 w 1056"/>
                <a:gd name="T115" fmla="*/ 13 h 210"/>
                <a:gd name="T116" fmla="*/ 76 w 1056"/>
                <a:gd name="T117" fmla="*/ 14 h 210"/>
                <a:gd name="T118" fmla="*/ 38 w 1056"/>
                <a:gd name="T119" fmla="*/ 12 h 210"/>
                <a:gd name="T120" fmla="*/ 41 w 1056"/>
                <a:gd name="T121" fmla="*/ 12 h 210"/>
                <a:gd name="T122" fmla="*/ 40 w 1056"/>
                <a:gd name="T123" fmla="*/ 14 h 2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6"/>
                <a:gd name="T187" fmla="*/ 0 h 210"/>
                <a:gd name="T188" fmla="*/ 1056 w 1056"/>
                <a:gd name="T189" fmla="*/ 210 h 21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6" h="210">
                  <a:moveTo>
                    <a:pt x="870" y="90"/>
                  </a:moveTo>
                  <a:lnTo>
                    <a:pt x="864" y="90"/>
                  </a:lnTo>
                  <a:lnTo>
                    <a:pt x="852" y="84"/>
                  </a:lnTo>
                  <a:lnTo>
                    <a:pt x="846" y="84"/>
                  </a:lnTo>
                  <a:lnTo>
                    <a:pt x="846" y="78"/>
                  </a:lnTo>
                  <a:lnTo>
                    <a:pt x="840" y="78"/>
                  </a:lnTo>
                  <a:lnTo>
                    <a:pt x="834" y="78"/>
                  </a:lnTo>
                  <a:lnTo>
                    <a:pt x="834" y="72"/>
                  </a:lnTo>
                  <a:lnTo>
                    <a:pt x="804" y="78"/>
                  </a:lnTo>
                  <a:lnTo>
                    <a:pt x="798" y="78"/>
                  </a:lnTo>
                  <a:lnTo>
                    <a:pt x="792" y="72"/>
                  </a:lnTo>
                  <a:lnTo>
                    <a:pt x="780" y="60"/>
                  </a:lnTo>
                  <a:lnTo>
                    <a:pt x="768" y="54"/>
                  </a:lnTo>
                  <a:lnTo>
                    <a:pt x="756" y="54"/>
                  </a:lnTo>
                  <a:lnTo>
                    <a:pt x="750" y="54"/>
                  </a:lnTo>
                  <a:lnTo>
                    <a:pt x="750" y="48"/>
                  </a:lnTo>
                  <a:lnTo>
                    <a:pt x="744" y="48"/>
                  </a:lnTo>
                  <a:lnTo>
                    <a:pt x="738" y="48"/>
                  </a:lnTo>
                  <a:lnTo>
                    <a:pt x="732" y="48"/>
                  </a:lnTo>
                  <a:lnTo>
                    <a:pt x="732" y="54"/>
                  </a:lnTo>
                  <a:lnTo>
                    <a:pt x="726" y="48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48"/>
                  </a:lnTo>
                  <a:lnTo>
                    <a:pt x="702" y="48"/>
                  </a:lnTo>
                  <a:lnTo>
                    <a:pt x="696" y="48"/>
                  </a:lnTo>
                  <a:lnTo>
                    <a:pt x="684" y="48"/>
                  </a:lnTo>
                  <a:lnTo>
                    <a:pt x="678" y="48"/>
                  </a:lnTo>
                  <a:lnTo>
                    <a:pt x="672" y="48"/>
                  </a:lnTo>
                  <a:lnTo>
                    <a:pt x="666" y="54"/>
                  </a:lnTo>
                  <a:lnTo>
                    <a:pt x="660" y="54"/>
                  </a:lnTo>
                  <a:lnTo>
                    <a:pt x="660" y="48"/>
                  </a:lnTo>
                  <a:lnTo>
                    <a:pt x="654" y="48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42" y="54"/>
                  </a:lnTo>
                  <a:lnTo>
                    <a:pt x="63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30" y="66"/>
                  </a:lnTo>
                  <a:lnTo>
                    <a:pt x="624" y="66"/>
                  </a:lnTo>
                  <a:lnTo>
                    <a:pt x="618" y="66"/>
                  </a:lnTo>
                  <a:lnTo>
                    <a:pt x="618" y="72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6" y="84"/>
                  </a:lnTo>
                  <a:lnTo>
                    <a:pt x="600" y="84"/>
                  </a:lnTo>
                  <a:lnTo>
                    <a:pt x="594" y="90"/>
                  </a:lnTo>
                  <a:lnTo>
                    <a:pt x="588" y="90"/>
                  </a:lnTo>
                  <a:lnTo>
                    <a:pt x="588" y="84"/>
                  </a:lnTo>
                  <a:lnTo>
                    <a:pt x="582" y="84"/>
                  </a:lnTo>
                  <a:lnTo>
                    <a:pt x="576" y="84"/>
                  </a:lnTo>
                  <a:lnTo>
                    <a:pt x="570" y="84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58" y="96"/>
                  </a:lnTo>
                  <a:lnTo>
                    <a:pt x="552" y="96"/>
                  </a:lnTo>
                  <a:lnTo>
                    <a:pt x="546" y="102"/>
                  </a:lnTo>
                  <a:lnTo>
                    <a:pt x="540" y="102"/>
                  </a:lnTo>
                  <a:lnTo>
                    <a:pt x="534" y="102"/>
                  </a:lnTo>
                  <a:lnTo>
                    <a:pt x="528" y="102"/>
                  </a:lnTo>
                  <a:lnTo>
                    <a:pt x="528" y="108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16" y="102"/>
                  </a:lnTo>
                  <a:lnTo>
                    <a:pt x="510" y="102"/>
                  </a:lnTo>
                  <a:lnTo>
                    <a:pt x="504" y="102"/>
                  </a:lnTo>
                  <a:lnTo>
                    <a:pt x="498" y="102"/>
                  </a:lnTo>
                  <a:lnTo>
                    <a:pt x="498" y="96"/>
                  </a:lnTo>
                  <a:lnTo>
                    <a:pt x="492" y="96"/>
                  </a:lnTo>
                  <a:lnTo>
                    <a:pt x="492" y="90"/>
                  </a:lnTo>
                  <a:lnTo>
                    <a:pt x="492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498" y="66"/>
                  </a:lnTo>
                  <a:lnTo>
                    <a:pt x="504" y="60"/>
                  </a:lnTo>
                  <a:lnTo>
                    <a:pt x="498" y="60"/>
                  </a:lnTo>
                  <a:lnTo>
                    <a:pt x="498" y="54"/>
                  </a:lnTo>
                  <a:lnTo>
                    <a:pt x="492" y="54"/>
                  </a:lnTo>
                  <a:lnTo>
                    <a:pt x="492" y="60"/>
                  </a:lnTo>
                  <a:lnTo>
                    <a:pt x="486" y="60"/>
                  </a:lnTo>
                  <a:lnTo>
                    <a:pt x="486" y="66"/>
                  </a:lnTo>
                  <a:lnTo>
                    <a:pt x="480" y="66"/>
                  </a:lnTo>
                  <a:lnTo>
                    <a:pt x="474" y="72"/>
                  </a:lnTo>
                  <a:lnTo>
                    <a:pt x="474" y="66"/>
                  </a:lnTo>
                  <a:lnTo>
                    <a:pt x="474" y="72"/>
                  </a:lnTo>
                  <a:lnTo>
                    <a:pt x="468" y="72"/>
                  </a:lnTo>
                  <a:lnTo>
                    <a:pt x="468" y="78"/>
                  </a:lnTo>
                  <a:lnTo>
                    <a:pt x="468" y="84"/>
                  </a:lnTo>
                  <a:lnTo>
                    <a:pt x="462" y="90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0" y="84"/>
                  </a:lnTo>
                  <a:lnTo>
                    <a:pt x="450" y="90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44" y="102"/>
                  </a:lnTo>
                  <a:lnTo>
                    <a:pt x="444" y="108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38" y="126"/>
                  </a:lnTo>
                  <a:lnTo>
                    <a:pt x="438" y="132"/>
                  </a:lnTo>
                  <a:lnTo>
                    <a:pt x="438" y="138"/>
                  </a:lnTo>
                  <a:lnTo>
                    <a:pt x="438" y="144"/>
                  </a:lnTo>
                  <a:lnTo>
                    <a:pt x="432" y="144"/>
                  </a:lnTo>
                  <a:lnTo>
                    <a:pt x="432" y="150"/>
                  </a:lnTo>
                  <a:lnTo>
                    <a:pt x="432" y="144"/>
                  </a:lnTo>
                  <a:lnTo>
                    <a:pt x="426" y="144"/>
                  </a:lnTo>
                  <a:lnTo>
                    <a:pt x="426" y="150"/>
                  </a:lnTo>
                  <a:lnTo>
                    <a:pt x="426" y="156"/>
                  </a:lnTo>
                  <a:lnTo>
                    <a:pt x="432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2"/>
                  </a:lnTo>
                  <a:lnTo>
                    <a:pt x="432" y="168"/>
                  </a:lnTo>
                  <a:lnTo>
                    <a:pt x="426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44" y="168"/>
                  </a:lnTo>
                  <a:lnTo>
                    <a:pt x="444" y="174"/>
                  </a:lnTo>
                  <a:lnTo>
                    <a:pt x="444" y="180"/>
                  </a:lnTo>
                  <a:lnTo>
                    <a:pt x="444" y="186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2" y="192"/>
                  </a:lnTo>
                  <a:lnTo>
                    <a:pt x="426" y="192"/>
                  </a:lnTo>
                  <a:lnTo>
                    <a:pt x="420" y="186"/>
                  </a:lnTo>
                  <a:lnTo>
                    <a:pt x="414" y="186"/>
                  </a:lnTo>
                  <a:lnTo>
                    <a:pt x="408" y="186"/>
                  </a:lnTo>
                  <a:lnTo>
                    <a:pt x="402" y="186"/>
                  </a:lnTo>
                  <a:lnTo>
                    <a:pt x="396" y="186"/>
                  </a:lnTo>
                  <a:lnTo>
                    <a:pt x="390" y="186"/>
                  </a:lnTo>
                  <a:lnTo>
                    <a:pt x="384" y="186"/>
                  </a:lnTo>
                  <a:lnTo>
                    <a:pt x="378" y="186"/>
                  </a:lnTo>
                  <a:lnTo>
                    <a:pt x="372" y="186"/>
                  </a:lnTo>
                  <a:lnTo>
                    <a:pt x="354" y="186"/>
                  </a:lnTo>
                  <a:lnTo>
                    <a:pt x="342" y="186"/>
                  </a:lnTo>
                  <a:lnTo>
                    <a:pt x="324" y="186"/>
                  </a:lnTo>
                  <a:lnTo>
                    <a:pt x="312" y="186"/>
                  </a:lnTo>
                  <a:lnTo>
                    <a:pt x="306" y="186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82" y="186"/>
                  </a:lnTo>
                  <a:lnTo>
                    <a:pt x="270" y="186"/>
                  </a:lnTo>
                  <a:lnTo>
                    <a:pt x="264" y="186"/>
                  </a:lnTo>
                  <a:lnTo>
                    <a:pt x="258" y="192"/>
                  </a:lnTo>
                  <a:lnTo>
                    <a:pt x="258" y="186"/>
                  </a:lnTo>
                  <a:lnTo>
                    <a:pt x="246" y="186"/>
                  </a:lnTo>
                  <a:lnTo>
                    <a:pt x="240" y="186"/>
                  </a:lnTo>
                  <a:lnTo>
                    <a:pt x="234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2"/>
                  </a:lnTo>
                  <a:lnTo>
                    <a:pt x="204" y="192"/>
                  </a:lnTo>
                  <a:lnTo>
                    <a:pt x="198" y="192"/>
                  </a:lnTo>
                  <a:lnTo>
                    <a:pt x="192" y="192"/>
                  </a:lnTo>
                  <a:lnTo>
                    <a:pt x="180" y="192"/>
                  </a:lnTo>
                  <a:lnTo>
                    <a:pt x="168" y="192"/>
                  </a:lnTo>
                  <a:lnTo>
                    <a:pt x="162" y="192"/>
                  </a:lnTo>
                  <a:lnTo>
                    <a:pt x="150" y="192"/>
                  </a:lnTo>
                  <a:lnTo>
                    <a:pt x="138" y="192"/>
                  </a:lnTo>
                  <a:lnTo>
                    <a:pt x="132" y="192"/>
                  </a:lnTo>
                  <a:lnTo>
                    <a:pt x="120" y="192"/>
                  </a:lnTo>
                  <a:lnTo>
                    <a:pt x="114" y="192"/>
                  </a:lnTo>
                  <a:lnTo>
                    <a:pt x="108" y="192"/>
                  </a:lnTo>
                  <a:lnTo>
                    <a:pt x="102" y="192"/>
                  </a:lnTo>
                  <a:lnTo>
                    <a:pt x="90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2" y="198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36" y="198"/>
                  </a:lnTo>
                  <a:lnTo>
                    <a:pt x="30" y="204"/>
                  </a:lnTo>
                  <a:lnTo>
                    <a:pt x="24" y="204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6" y="210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54" y="156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56"/>
                  </a:lnTo>
                  <a:lnTo>
                    <a:pt x="78" y="162"/>
                  </a:lnTo>
                  <a:lnTo>
                    <a:pt x="84" y="162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9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0" y="126"/>
                  </a:lnTo>
                  <a:lnTo>
                    <a:pt x="276" y="120"/>
                  </a:lnTo>
                  <a:lnTo>
                    <a:pt x="282" y="120"/>
                  </a:lnTo>
                  <a:lnTo>
                    <a:pt x="300" y="120"/>
                  </a:lnTo>
                  <a:lnTo>
                    <a:pt x="306" y="114"/>
                  </a:lnTo>
                  <a:lnTo>
                    <a:pt x="312" y="108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8"/>
                  </a:lnTo>
                  <a:lnTo>
                    <a:pt x="342" y="30"/>
                  </a:lnTo>
                  <a:lnTo>
                    <a:pt x="342" y="24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8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24"/>
                  </a:lnTo>
                  <a:lnTo>
                    <a:pt x="414" y="30"/>
                  </a:lnTo>
                  <a:lnTo>
                    <a:pt x="420" y="30"/>
                  </a:lnTo>
                  <a:lnTo>
                    <a:pt x="42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74" y="30"/>
                  </a:lnTo>
                  <a:lnTo>
                    <a:pt x="474" y="18"/>
                  </a:lnTo>
                  <a:lnTo>
                    <a:pt x="474" y="12"/>
                  </a:lnTo>
                  <a:lnTo>
                    <a:pt x="480" y="12"/>
                  </a:lnTo>
                  <a:lnTo>
                    <a:pt x="486" y="12"/>
                  </a:lnTo>
                  <a:lnTo>
                    <a:pt x="606" y="12"/>
                  </a:lnTo>
                  <a:lnTo>
                    <a:pt x="630" y="12"/>
                  </a:lnTo>
                  <a:lnTo>
                    <a:pt x="678" y="12"/>
                  </a:lnTo>
                  <a:lnTo>
                    <a:pt x="744" y="12"/>
                  </a:lnTo>
                  <a:lnTo>
                    <a:pt x="774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2" y="6"/>
                  </a:lnTo>
                  <a:lnTo>
                    <a:pt x="888" y="12"/>
                  </a:lnTo>
                  <a:lnTo>
                    <a:pt x="888" y="24"/>
                  </a:lnTo>
                  <a:lnTo>
                    <a:pt x="888" y="30"/>
                  </a:lnTo>
                  <a:lnTo>
                    <a:pt x="882" y="36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64" y="42"/>
                  </a:lnTo>
                  <a:lnTo>
                    <a:pt x="864" y="48"/>
                  </a:lnTo>
                  <a:lnTo>
                    <a:pt x="858" y="54"/>
                  </a:lnTo>
                  <a:lnTo>
                    <a:pt x="864" y="54"/>
                  </a:lnTo>
                  <a:lnTo>
                    <a:pt x="870" y="72"/>
                  </a:lnTo>
                  <a:lnTo>
                    <a:pt x="870" y="78"/>
                  </a:lnTo>
                  <a:lnTo>
                    <a:pt x="870" y="84"/>
                  </a:lnTo>
                  <a:lnTo>
                    <a:pt x="870" y="90"/>
                  </a:lnTo>
                  <a:close/>
                  <a:moveTo>
                    <a:pt x="972" y="156"/>
                  </a:moveTo>
                  <a:lnTo>
                    <a:pt x="972" y="162"/>
                  </a:lnTo>
                  <a:lnTo>
                    <a:pt x="978" y="162"/>
                  </a:lnTo>
                  <a:lnTo>
                    <a:pt x="984" y="168"/>
                  </a:lnTo>
                  <a:lnTo>
                    <a:pt x="990" y="168"/>
                  </a:lnTo>
                  <a:lnTo>
                    <a:pt x="990" y="162"/>
                  </a:lnTo>
                  <a:lnTo>
                    <a:pt x="1008" y="162"/>
                  </a:lnTo>
                  <a:lnTo>
                    <a:pt x="1020" y="162"/>
                  </a:lnTo>
                  <a:lnTo>
                    <a:pt x="1038" y="162"/>
                  </a:lnTo>
                  <a:lnTo>
                    <a:pt x="1056" y="168"/>
                  </a:lnTo>
                  <a:lnTo>
                    <a:pt x="1056" y="180"/>
                  </a:lnTo>
                  <a:lnTo>
                    <a:pt x="1056" y="186"/>
                  </a:lnTo>
                  <a:lnTo>
                    <a:pt x="1056" y="204"/>
                  </a:lnTo>
                  <a:lnTo>
                    <a:pt x="1050" y="204"/>
                  </a:lnTo>
                  <a:lnTo>
                    <a:pt x="1044" y="204"/>
                  </a:lnTo>
                  <a:lnTo>
                    <a:pt x="1038" y="204"/>
                  </a:lnTo>
                  <a:lnTo>
                    <a:pt x="1032" y="204"/>
                  </a:lnTo>
                  <a:lnTo>
                    <a:pt x="1026" y="204"/>
                  </a:lnTo>
                  <a:lnTo>
                    <a:pt x="1020" y="204"/>
                  </a:lnTo>
                  <a:lnTo>
                    <a:pt x="1014" y="204"/>
                  </a:lnTo>
                  <a:lnTo>
                    <a:pt x="1008" y="204"/>
                  </a:lnTo>
                  <a:lnTo>
                    <a:pt x="1002" y="204"/>
                  </a:lnTo>
                  <a:lnTo>
                    <a:pt x="996" y="204"/>
                  </a:lnTo>
                  <a:lnTo>
                    <a:pt x="984" y="204"/>
                  </a:lnTo>
                  <a:lnTo>
                    <a:pt x="984" y="198"/>
                  </a:lnTo>
                  <a:lnTo>
                    <a:pt x="978" y="198"/>
                  </a:lnTo>
                  <a:lnTo>
                    <a:pt x="966" y="198"/>
                  </a:lnTo>
                  <a:lnTo>
                    <a:pt x="948" y="192"/>
                  </a:lnTo>
                  <a:lnTo>
                    <a:pt x="942" y="192"/>
                  </a:lnTo>
                  <a:lnTo>
                    <a:pt x="936" y="192"/>
                  </a:lnTo>
                  <a:lnTo>
                    <a:pt x="924" y="192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12" y="186"/>
                  </a:lnTo>
                  <a:lnTo>
                    <a:pt x="906" y="186"/>
                  </a:lnTo>
                  <a:lnTo>
                    <a:pt x="900" y="186"/>
                  </a:lnTo>
                  <a:lnTo>
                    <a:pt x="894" y="186"/>
                  </a:lnTo>
                  <a:lnTo>
                    <a:pt x="888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76" y="180"/>
                  </a:lnTo>
                  <a:lnTo>
                    <a:pt x="870" y="180"/>
                  </a:lnTo>
                  <a:lnTo>
                    <a:pt x="864" y="180"/>
                  </a:lnTo>
                  <a:lnTo>
                    <a:pt x="858" y="180"/>
                  </a:lnTo>
                  <a:lnTo>
                    <a:pt x="852" y="180"/>
                  </a:lnTo>
                  <a:lnTo>
                    <a:pt x="852" y="174"/>
                  </a:lnTo>
                  <a:lnTo>
                    <a:pt x="846" y="174"/>
                  </a:lnTo>
                  <a:lnTo>
                    <a:pt x="840" y="174"/>
                  </a:lnTo>
                  <a:lnTo>
                    <a:pt x="834" y="174"/>
                  </a:lnTo>
                  <a:lnTo>
                    <a:pt x="828" y="174"/>
                  </a:lnTo>
                  <a:lnTo>
                    <a:pt x="822" y="174"/>
                  </a:lnTo>
                  <a:lnTo>
                    <a:pt x="816" y="174"/>
                  </a:lnTo>
                  <a:lnTo>
                    <a:pt x="810" y="168"/>
                  </a:lnTo>
                  <a:lnTo>
                    <a:pt x="804" y="168"/>
                  </a:lnTo>
                  <a:lnTo>
                    <a:pt x="798" y="168"/>
                  </a:lnTo>
                  <a:lnTo>
                    <a:pt x="792" y="168"/>
                  </a:lnTo>
                  <a:lnTo>
                    <a:pt x="786" y="168"/>
                  </a:lnTo>
                  <a:lnTo>
                    <a:pt x="780" y="168"/>
                  </a:lnTo>
                  <a:lnTo>
                    <a:pt x="774" y="168"/>
                  </a:lnTo>
                  <a:lnTo>
                    <a:pt x="768" y="168"/>
                  </a:lnTo>
                  <a:lnTo>
                    <a:pt x="762" y="168"/>
                  </a:lnTo>
                  <a:lnTo>
                    <a:pt x="756" y="168"/>
                  </a:lnTo>
                  <a:lnTo>
                    <a:pt x="750" y="168"/>
                  </a:lnTo>
                  <a:lnTo>
                    <a:pt x="750" y="162"/>
                  </a:lnTo>
                  <a:lnTo>
                    <a:pt x="744" y="168"/>
                  </a:lnTo>
                  <a:lnTo>
                    <a:pt x="738" y="162"/>
                  </a:lnTo>
                  <a:lnTo>
                    <a:pt x="732" y="162"/>
                  </a:lnTo>
                  <a:lnTo>
                    <a:pt x="726" y="162"/>
                  </a:lnTo>
                  <a:lnTo>
                    <a:pt x="714" y="162"/>
                  </a:lnTo>
                  <a:lnTo>
                    <a:pt x="702" y="162"/>
                  </a:lnTo>
                  <a:lnTo>
                    <a:pt x="696" y="168"/>
                  </a:lnTo>
                  <a:lnTo>
                    <a:pt x="690" y="168"/>
                  </a:lnTo>
                  <a:lnTo>
                    <a:pt x="684" y="168"/>
                  </a:lnTo>
                  <a:lnTo>
                    <a:pt x="678" y="168"/>
                  </a:lnTo>
                  <a:lnTo>
                    <a:pt x="672" y="168"/>
                  </a:lnTo>
                  <a:lnTo>
                    <a:pt x="666" y="168"/>
                  </a:lnTo>
                  <a:lnTo>
                    <a:pt x="660" y="168"/>
                  </a:lnTo>
                  <a:lnTo>
                    <a:pt x="654" y="168"/>
                  </a:lnTo>
                  <a:lnTo>
                    <a:pt x="648" y="174"/>
                  </a:lnTo>
                  <a:lnTo>
                    <a:pt x="648" y="168"/>
                  </a:lnTo>
                  <a:lnTo>
                    <a:pt x="642" y="174"/>
                  </a:lnTo>
                  <a:lnTo>
                    <a:pt x="636" y="174"/>
                  </a:lnTo>
                  <a:lnTo>
                    <a:pt x="630" y="174"/>
                  </a:lnTo>
                  <a:lnTo>
                    <a:pt x="624" y="174"/>
                  </a:lnTo>
                  <a:lnTo>
                    <a:pt x="618" y="174"/>
                  </a:lnTo>
                  <a:lnTo>
                    <a:pt x="612" y="174"/>
                  </a:lnTo>
                  <a:lnTo>
                    <a:pt x="606" y="174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74"/>
                  </a:lnTo>
                  <a:lnTo>
                    <a:pt x="582" y="174"/>
                  </a:lnTo>
                  <a:lnTo>
                    <a:pt x="576" y="174"/>
                  </a:lnTo>
                  <a:lnTo>
                    <a:pt x="570" y="174"/>
                  </a:lnTo>
                  <a:lnTo>
                    <a:pt x="564" y="174"/>
                  </a:lnTo>
                  <a:lnTo>
                    <a:pt x="558" y="174"/>
                  </a:lnTo>
                  <a:lnTo>
                    <a:pt x="552" y="174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0" y="174"/>
                  </a:lnTo>
                  <a:lnTo>
                    <a:pt x="504" y="174"/>
                  </a:lnTo>
                  <a:lnTo>
                    <a:pt x="498" y="174"/>
                  </a:lnTo>
                  <a:lnTo>
                    <a:pt x="492" y="174"/>
                  </a:lnTo>
                  <a:lnTo>
                    <a:pt x="486" y="174"/>
                  </a:lnTo>
                  <a:lnTo>
                    <a:pt x="480" y="174"/>
                  </a:lnTo>
                  <a:lnTo>
                    <a:pt x="474" y="174"/>
                  </a:lnTo>
                  <a:lnTo>
                    <a:pt x="468" y="174"/>
                  </a:lnTo>
                  <a:lnTo>
                    <a:pt x="462" y="174"/>
                  </a:lnTo>
                  <a:lnTo>
                    <a:pt x="456" y="174"/>
                  </a:lnTo>
                  <a:lnTo>
                    <a:pt x="450" y="180"/>
                  </a:lnTo>
                  <a:lnTo>
                    <a:pt x="450" y="186"/>
                  </a:lnTo>
                  <a:lnTo>
                    <a:pt x="450" y="192"/>
                  </a:lnTo>
                  <a:lnTo>
                    <a:pt x="444" y="192"/>
                  </a:lnTo>
                  <a:lnTo>
                    <a:pt x="444" y="186"/>
                  </a:lnTo>
                  <a:lnTo>
                    <a:pt x="444" y="180"/>
                  </a:lnTo>
                  <a:lnTo>
                    <a:pt x="450" y="180"/>
                  </a:lnTo>
                  <a:lnTo>
                    <a:pt x="450" y="174"/>
                  </a:lnTo>
                  <a:lnTo>
                    <a:pt x="450" y="168"/>
                  </a:lnTo>
                  <a:lnTo>
                    <a:pt x="450" y="162"/>
                  </a:lnTo>
                  <a:lnTo>
                    <a:pt x="456" y="162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62" y="162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74" y="168"/>
                  </a:lnTo>
                  <a:lnTo>
                    <a:pt x="480" y="168"/>
                  </a:lnTo>
                  <a:lnTo>
                    <a:pt x="480" y="162"/>
                  </a:lnTo>
                  <a:lnTo>
                    <a:pt x="480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56"/>
                  </a:lnTo>
                  <a:lnTo>
                    <a:pt x="492" y="156"/>
                  </a:lnTo>
                  <a:lnTo>
                    <a:pt x="486" y="150"/>
                  </a:lnTo>
                  <a:lnTo>
                    <a:pt x="492" y="150"/>
                  </a:lnTo>
                  <a:lnTo>
                    <a:pt x="498" y="150"/>
                  </a:lnTo>
                  <a:lnTo>
                    <a:pt x="498" y="156"/>
                  </a:lnTo>
                  <a:lnTo>
                    <a:pt x="504" y="156"/>
                  </a:lnTo>
                  <a:lnTo>
                    <a:pt x="504" y="162"/>
                  </a:lnTo>
                  <a:lnTo>
                    <a:pt x="504" y="156"/>
                  </a:lnTo>
                  <a:lnTo>
                    <a:pt x="510" y="156"/>
                  </a:lnTo>
                  <a:lnTo>
                    <a:pt x="510" y="150"/>
                  </a:lnTo>
                  <a:lnTo>
                    <a:pt x="516" y="150"/>
                  </a:lnTo>
                  <a:lnTo>
                    <a:pt x="522" y="150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28" y="150"/>
                  </a:lnTo>
                  <a:lnTo>
                    <a:pt x="528" y="144"/>
                  </a:lnTo>
                  <a:lnTo>
                    <a:pt x="540" y="144"/>
                  </a:lnTo>
                  <a:lnTo>
                    <a:pt x="546" y="144"/>
                  </a:lnTo>
                  <a:lnTo>
                    <a:pt x="552" y="138"/>
                  </a:lnTo>
                  <a:lnTo>
                    <a:pt x="552" y="132"/>
                  </a:lnTo>
                  <a:lnTo>
                    <a:pt x="558" y="132"/>
                  </a:lnTo>
                  <a:lnTo>
                    <a:pt x="558" y="126"/>
                  </a:lnTo>
                  <a:lnTo>
                    <a:pt x="558" y="120"/>
                  </a:lnTo>
                  <a:lnTo>
                    <a:pt x="558" y="114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6" y="114"/>
                  </a:lnTo>
                  <a:lnTo>
                    <a:pt x="582" y="120"/>
                  </a:lnTo>
                  <a:lnTo>
                    <a:pt x="588" y="120"/>
                  </a:lnTo>
                  <a:lnTo>
                    <a:pt x="588" y="126"/>
                  </a:lnTo>
                  <a:lnTo>
                    <a:pt x="588" y="120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600" y="114"/>
                  </a:lnTo>
                  <a:lnTo>
                    <a:pt x="606" y="114"/>
                  </a:lnTo>
                  <a:lnTo>
                    <a:pt x="618" y="114"/>
                  </a:lnTo>
                  <a:lnTo>
                    <a:pt x="618" y="108"/>
                  </a:lnTo>
                  <a:lnTo>
                    <a:pt x="624" y="108"/>
                  </a:lnTo>
                  <a:lnTo>
                    <a:pt x="624" y="102"/>
                  </a:lnTo>
                  <a:lnTo>
                    <a:pt x="630" y="102"/>
                  </a:lnTo>
                  <a:lnTo>
                    <a:pt x="636" y="102"/>
                  </a:lnTo>
                  <a:lnTo>
                    <a:pt x="636" y="108"/>
                  </a:lnTo>
                  <a:lnTo>
                    <a:pt x="642" y="108"/>
                  </a:lnTo>
                  <a:lnTo>
                    <a:pt x="648" y="108"/>
                  </a:lnTo>
                  <a:lnTo>
                    <a:pt x="648" y="102"/>
                  </a:lnTo>
                  <a:lnTo>
                    <a:pt x="654" y="102"/>
                  </a:lnTo>
                  <a:lnTo>
                    <a:pt x="660" y="102"/>
                  </a:lnTo>
                  <a:lnTo>
                    <a:pt x="660" y="96"/>
                  </a:lnTo>
                  <a:lnTo>
                    <a:pt x="660" y="90"/>
                  </a:lnTo>
                  <a:lnTo>
                    <a:pt x="666" y="90"/>
                  </a:lnTo>
                  <a:lnTo>
                    <a:pt x="666" y="84"/>
                  </a:lnTo>
                  <a:lnTo>
                    <a:pt x="672" y="78"/>
                  </a:lnTo>
                  <a:lnTo>
                    <a:pt x="672" y="72"/>
                  </a:lnTo>
                  <a:lnTo>
                    <a:pt x="678" y="66"/>
                  </a:lnTo>
                  <a:lnTo>
                    <a:pt x="684" y="66"/>
                  </a:lnTo>
                  <a:lnTo>
                    <a:pt x="684" y="60"/>
                  </a:lnTo>
                  <a:lnTo>
                    <a:pt x="690" y="60"/>
                  </a:lnTo>
                  <a:lnTo>
                    <a:pt x="696" y="60"/>
                  </a:lnTo>
                  <a:lnTo>
                    <a:pt x="702" y="60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66"/>
                  </a:lnTo>
                  <a:lnTo>
                    <a:pt x="720" y="66"/>
                  </a:lnTo>
                  <a:lnTo>
                    <a:pt x="720" y="60"/>
                  </a:lnTo>
                  <a:lnTo>
                    <a:pt x="726" y="60"/>
                  </a:lnTo>
                  <a:lnTo>
                    <a:pt x="732" y="60"/>
                  </a:lnTo>
                  <a:lnTo>
                    <a:pt x="744" y="60"/>
                  </a:lnTo>
                  <a:lnTo>
                    <a:pt x="750" y="54"/>
                  </a:lnTo>
                  <a:lnTo>
                    <a:pt x="762" y="60"/>
                  </a:lnTo>
                  <a:lnTo>
                    <a:pt x="774" y="60"/>
                  </a:lnTo>
                  <a:lnTo>
                    <a:pt x="774" y="66"/>
                  </a:lnTo>
                  <a:lnTo>
                    <a:pt x="780" y="72"/>
                  </a:lnTo>
                  <a:lnTo>
                    <a:pt x="786" y="78"/>
                  </a:lnTo>
                  <a:lnTo>
                    <a:pt x="792" y="78"/>
                  </a:lnTo>
                  <a:lnTo>
                    <a:pt x="810" y="84"/>
                  </a:lnTo>
                  <a:lnTo>
                    <a:pt x="822" y="84"/>
                  </a:lnTo>
                  <a:lnTo>
                    <a:pt x="828" y="84"/>
                  </a:lnTo>
                  <a:lnTo>
                    <a:pt x="834" y="84"/>
                  </a:lnTo>
                  <a:lnTo>
                    <a:pt x="840" y="96"/>
                  </a:lnTo>
                  <a:lnTo>
                    <a:pt x="846" y="102"/>
                  </a:lnTo>
                  <a:lnTo>
                    <a:pt x="858" y="102"/>
                  </a:lnTo>
                  <a:lnTo>
                    <a:pt x="864" y="102"/>
                  </a:lnTo>
                  <a:lnTo>
                    <a:pt x="876" y="96"/>
                  </a:lnTo>
                  <a:lnTo>
                    <a:pt x="882" y="102"/>
                  </a:lnTo>
                  <a:lnTo>
                    <a:pt x="888" y="108"/>
                  </a:lnTo>
                  <a:lnTo>
                    <a:pt x="888" y="114"/>
                  </a:lnTo>
                  <a:lnTo>
                    <a:pt x="888" y="120"/>
                  </a:lnTo>
                  <a:lnTo>
                    <a:pt x="888" y="126"/>
                  </a:lnTo>
                  <a:lnTo>
                    <a:pt x="888" y="132"/>
                  </a:lnTo>
                  <a:lnTo>
                    <a:pt x="882" y="132"/>
                  </a:lnTo>
                  <a:lnTo>
                    <a:pt x="864" y="126"/>
                  </a:lnTo>
                  <a:lnTo>
                    <a:pt x="852" y="120"/>
                  </a:lnTo>
                  <a:lnTo>
                    <a:pt x="840" y="126"/>
                  </a:lnTo>
                  <a:lnTo>
                    <a:pt x="834" y="120"/>
                  </a:lnTo>
                  <a:lnTo>
                    <a:pt x="828" y="120"/>
                  </a:lnTo>
                  <a:lnTo>
                    <a:pt x="822" y="120"/>
                  </a:lnTo>
                  <a:lnTo>
                    <a:pt x="810" y="114"/>
                  </a:lnTo>
                  <a:lnTo>
                    <a:pt x="804" y="114"/>
                  </a:lnTo>
                  <a:lnTo>
                    <a:pt x="798" y="114"/>
                  </a:lnTo>
                  <a:lnTo>
                    <a:pt x="792" y="114"/>
                  </a:lnTo>
                  <a:lnTo>
                    <a:pt x="786" y="114"/>
                  </a:lnTo>
                  <a:lnTo>
                    <a:pt x="780" y="114"/>
                  </a:lnTo>
                  <a:lnTo>
                    <a:pt x="780" y="126"/>
                  </a:lnTo>
                  <a:lnTo>
                    <a:pt x="786" y="126"/>
                  </a:lnTo>
                  <a:lnTo>
                    <a:pt x="798" y="126"/>
                  </a:lnTo>
                  <a:lnTo>
                    <a:pt x="804" y="126"/>
                  </a:lnTo>
                  <a:lnTo>
                    <a:pt x="822" y="132"/>
                  </a:lnTo>
                  <a:lnTo>
                    <a:pt x="828" y="132"/>
                  </a:lnTo>
                  <a:lnTo>
                    <a:pt x="834" y="132"/>
                  </a:lnTo>
                  <a:lnTo>
                    <a:pt x="840" y="144"/>
                  </a:lnTo>
                  <a:lnTo>
                    <a:pt x="846" y="150"/>
                  </a:lnTo>
                  <a:lnTo>
                    <a:pt x="858" y="150"/>
                  </a:lnTo>
                  <a:lnTo>
                    <a:pt x="864" y="162"/>
                  </a:lnTo>
                  <a:lnTo>
                    <a:pt x="870" y="162"/>
                  </a:lnTo>
                  <a:lnTo>
                    <a:pt x="876" y="168"/>
                  </a:lnTo>
                  <a:lnTo>
                    <a:pt x="888" y="168"/>
                  </a:lnTo>
                  <a:lnTo>
                    <a:pt x="894" y="174"/>
                  </a:lnTo>
                  <a:lnTo>
                    <a:pt x="900" y="174"/>
                  </a:lnTo>
                  <a:lnTo>
                    <a:pt x="918" y="174"/>
                  </a:lnTo>
                  <a:lnTo>
                    <a:pt x="924" y="174"/>
                  </a:lnTo>
                  <a:lnTo>
                    <a:pt x="930" y="174"/>
                  </a:lnTo>
                  <a:lnTo>
                    <a:pt x="942" y="174"/>
                  </a:lnTo>
                  <a:lnTo>
                    <a:pt x="954" y="174"/>
                  </a:lnTo>
                  <a:lnTo>
                    <a:pt x="960" y="174"/>
                  </a:lnTo>
                  <a:lnTo>
                    <a:pt x="966" y="174"/>
                  </a:lnTo>
                  <a:lnTo>
                    <a:pt x="966" y="168"/>
                  </a:lnTo>
                  <a:lnTo>
                    <a:pt x="972" y="162"/>
                  </a:lnTo>
                  <a:lnTo>
                    <a:pt x="972" y="156"/>
                  </a:lnTo>
                  <a:close/>
                  <a:moveTo>
                    <a:pt x="942" y="174"/>
                  </a:moveTo>
                  <a:lnTo>
                    <a:pt x="936" y="174"/>
                  </a:lnTo>
                  <a:lnTo>
                    <a:pt x="936" y="168"/>
                  </a:lnTo>
                  <a:lnTo>
                    <a:pt x="936" y="162"/>
                  </a:lnTo>
                  <a:lnTo>
                    <a:pt x="948" y="162"/>
                  </a:lnTo>
                  <a:lnTo>
                    <a:pt x="948" y="156"/>
                  </a:lnTo>
                  <a:lnTo>
                    <a:pt x="954" y="156"/>
                  </a:lnTo>
                  <a:lnTo>
                    <a:pt x="960" y="156"/>
                  </a:lnTo>
                  <a:lnTo>
                    <a:pt x="966" y="156"/>
                  </a:lnTo>
                  <a:lnTo>
                    <a:pt x="966" y="162"/>
                  </a:lnTo>
                  <a:lnTo>
                    <a:pt x="960" y="168"/>
                  </a:lnTo>
                  <a:lnTo>
                    <a:pt x="942" y="174"/>
                  </a:lnTo>
                  <a:close/>
                  <a:moveTo>
                    <a:pt x="900" y="168"/>
                  </a:moveTo>
                  <a:lnTo>
                    <a:pt x="894" y="168"/>
                  </a:lnTo>
                  <a:lnTo>
                    <a:pt x="882" y="156"/>
                  </a:lnTo>
                  <a:lnTo>
                    <a:pt x="882" y="150"/>
                  </a:lnTo>
                  <a:lnTo>
                    <a:pt x="888" y="156"/>
                  </a:lnTo>
                  <a:lnTo>
                    <a:pt x="894" y="150"/>
                  </a:lnTo>
                  <a:lnTo>
                    <a:pt x="900" y="150"/>
                  </a:lnTo>
                  <a:lnTo>
                    <a:pt x="906" y="150"/>
                  </a:lnTo>
                  <a:lnTo>
                    <a:pt x="912" y="150"/>
                  </a:lnTo>
                  <a:lnTo>
                    <a:pt x="924" y="150"/>
                  </a:lnTo>
                  <a:lnTo>
                    <a:pt x="924" y="156"/>
                  </a:lnTo>
                  <a:lnTo>
                    <a:pt x="924" y="162"/>
                  </a:lnTo>
                  <a:lnTo>
                    <a:pt x="924" y="168"/>
                  </a:lnTo>
                  <a:lnTo>
                    <a:pt x="918" y="168"/>
                  </a:lnTo>
                  <a:lnTo>
                    <a:pt x="906" y="168"/>
                  </a:lnTo>
                  <a:lnTo>
                    <a:pt x="900" y="168"/>
                  </a:lnTo>
                  <a:close/>
                  <a:moveTo>
                    <a:pt x="870" y="162"/>
                  </a:moveTo>
                  <a:lnTo>
                    <a:pt x="876" y="162"/>
                  </a:lnTo>
                  <a:lnTo>
                    <a:pt x="876" y="168"/>
                  </a:lnTo>
                  <a:lnTo>
                    <a:pt x="870" y="168"/>
                  </a:lnTo>
                  <a:lnTo>
                    <a:pt x="870" y="162"/>
                  </a:lnTo>
                  <a:close/>
                  <a:moveTo>
                    <a:pt x="450" y="162"/>
                  </a:moveTo>
                  <a:lnTo>
                    <a:pt x="444" y="162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2" y="150"/>
                  </a:lnTo>
                  <a:lnTo>
                    <a:pt x="438" y="150"/>
                  </a:lnTo>
                  <a:lnTo>
                    <a:pt x="438" y="144"/>
                  </a:lnTo>
                  <a:lnTo>
                    <a:pt x="438" y="150"/>
                  </a:lnTo>
                  <a:lnTo>
                    <a:pt x="444" y="150"/>
                  </a:lnTo>
                  <a:lnTo>
                    <a:pt x="450" y="150"/>
                  </a:lnTo>
                  <a:lnTo>
                    <a:pt x="450" y="156"/>
                  </a:lnTo>
                  <a:lnTo>
                    <a:pt x="456" y="156"/>
                  </a:lnTo>
                  <a:lnTo>
                    <a:pt x="456" y="150"/>
                  </a:lnTo>
                  <a:lnTo>
                    <a:pt x="456" y="156"/>
                  </a:lnTo>
                  <a:lnTo>
                    <a:pt x="462" y="150"/>
                  </a:lnTo>
                  <a:lnTo>
                    <a:pt x="462" y="144"/>
                  </a:lnTo>
                  <a:lnTo>
                    <a:pt x="468" y="144"/>
                  </a:lnTo>
                  <a:lnTo>
                    <a:pt x="468" y="150"/>
                  </a:lnTo>
                  <a:lnTo>
                    <a:pt x="474" y="150"/>
                  </a:lnTo>
                  <a:lnTo>
                    <a:pt x="480" y="150"/>
                  </a:lnTo>
                  <a:lnTo>
                    <a:pt x="480" y="156"/>
                  </a:lnTo>
                  <a:lnTo>
                    <a:pt x="480" y="162"/>
                  </a:lnTo>
                  <a:lnTo>
                    <a:pt x="474" y="162"/>
                  </a:lnTo>
                  <a:lnTo>
                    <a:pt x="474" y="168"/>
                  </a:lnTo>
                  <a:lnTo>
                    <a:pt x="474" y="162"/>
                  </a:lnTo>
                  <a:lnTo>
                    <a:pt x="468" y="162"/>
                  </a:lnTo>
                  <a:lnTo>
                    <a:pt x="462" y="162"/>
                  </a:lnTo>
                  <a:lnTo>
                    <a:pt x="456" y="162"/>
                  </a:lnTo>
                  <a:lnTo>
                    <a:pt x="450" y="16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6" name="Freeform 31">
              <a:extLst>
                <a:ext uri="{FF2B5EF4-FFF2-40B4-BE49-F238E27FC236}">
                  <a16:creationId xmlns:a16="http://schemas.microsoft.com/office/drawing/2014/main" id="{0989F057-38E8-4AA5-8B73-27F6355E235C}"/>
                </a:ext>
              </a:extLst>
            </p:cNvPr>
            <p:cNvSpPr>
              <a:spLocks/>
            </p:cNvSpPr>
            <p:nvPr/>
          </p:nvSpPr>
          <p:spPr bwMode="gray">
            <a:xfrm>
              <a:off x="792590" y="2728084"/>
              <a:ext cx="1182944" cy="740282"/>
            </a:xfrm>
            <a:custGeom>
              <a:avLst/>
              <a:gdLst>
                <a:gd name="T0" fmla="*/ 138 w 2226"/>
                <a:gd name="T1" fmla="*/ 121 h 1392"/>
                <a:gd name="T2" fmla="*/ 133 w 2226"/>
                <a:gd name="T3" fmla="*/ 119 h 1392"/>
                <a:gd name="T4" fmla="*/ 128 w 2226"/>
                <a:gd name="T5" fmla="*/ 117 h 1392"/>
                <a:gd name="T6" fmla="*/ 119 w 2226"/>
                <a:gd name="T7" fmla="*/ 116 h 1392"/>
                <a:gd name="T8" fmla="*/ 101 w 2226"/>
                <a:gd name="T9" fmla="*/ 116 h 1392"/>
                <a:gd name="T10" fmla="*/ 94 w 2226"/>
                <a:gd name="T11" fmla="*/ 104 h 1392"/>
                <a:gd name="T12" fmla="*/ 82 w 2226"/>
                <a:gd name="T13" fmla="*/ 83 h 1392"/>
                <a:gd name="T14" fmla="*/ 87 w 2226"/>
                <a:gd name="T15" fmla="*/ 69 h 1392"/>
                <a:gd name="T16" fmla="*/ 82 w 2226"/>
                <a:gd name="T17" fmla="*/ 65 h 1392"/>
                <a:gd name="T18" fmla="*/ 59 w 2226"/>
                <a:gd name="T19" fmla="*/ 57 h 1392"/>
                <a:gd name="T20" fmla="*/ 29 w 2226"/>
                <a:gd name="T21" fmla="*/ 77 h 1392"/>
                <a:gd name="T22" fmla="*/ 20 w 2226"/>
                <a:gd name="T23" fmla="*/ 78 h 1392"/>
                <a:gd name="T24" fmla="*/ 15 w 2226"/>
                <a:gd name="T25" fmla="*/ 82 h 1392"/>
                <a:gd name="T26" fmla="*/ 8 w 2226"/>
                <a:gd name="T27" fmla="*/ 86 h 1392"/>
                <a:gd name="T28" fmla="*/ 1 w 2226"/>
                <a:gd name="T29" fmla="*/ 88 h 1392"/>
                <a:gd name="T30" fmla="*/ 0 w 2226"/>
                <a:gd name="T31" fmla="*/ 82 h 1392"/>
                <a:gd name="T32" fmla="*/ 0 w 2226"/>
                <a:gd name="T33" fmla="*/ 76 h 1392"/>
                <a:gd name="T34" fmla="*/ 2 w 2226"/>
                <a:gd name="T35" fmla="*/ 70 h 1392"/>
                <a:gd name="T36" fmla="*/ 3 w 2226"/>
                <a:gd name="T37" fmla="*/ 65 h 1392"/>
                <a:gd name="T38" fmla="*/ 2 w 2226"/>
                <a:gd name="T39" fmla="*/ 63 h 1392"/>
                <a:gd name="T40" fmla="*/ 9 w 2226"/>
                <a:gd name="T41" fmla="*/ 60 h 1392"/>
                <a:gd name="T42" fmla="*/ 17 w 2226"/>
                <a:gd name="T43" fmla="*/ 59 h 1392"/>
                <a:gd name="T44" fmla="*/ 22 w 2226"/>
                <a:gd name="T45" fmla="*/ 51 h 1392"/>
                <a:gd name="T46" fmla="*/ 23 w 2226"/>
                <a:gd name="T47" fmla="*/ 43 h 1392"/>
                <a:gd name="T48" fmla="*/ 27 w 2226"/>
                <a:gd name="T49" fmla="*/ 34 h 1392"/>
                <a:gd name="T50" fmla="*/ 30 w 2226"/>
                <a:gd name="T51" fmla="*/ 27 h 1392"/>
                <a:gd name="T52" fmla="*/ 33 w 2226"/>
                <a:gd name="T53" fmla="*/ 22 h 1392"/>
                <a:gd name="T54" fmla="*/ 42 w 2226"/>
                <a:gd name="T55" fmla="*/ 17 h 1392"/>
                <a:gd name="T56" fmla="*/ 47 w 2226"/>
                <a:gd name="T57" fmla="*/ 14 h 1392"/>
                <a:gd name="T58" fmla="*/ 49 w 2226"/>
                <a:gd name="T59" fmla="*/ 5 h 1392"/>
                <a:gd name="T60" fmla="*/ 53 w 2226"/>
                <a:gd name="T61" fmla="*/ 0 h 1392"/>
                <a:gd name="T62" fmla="*/ 55 w 2226"/>
                <a:gd name="T63" fmla="*/ 4 h 1392"/>
                <a:gd name="T64" fmla="*/ 59 w 2226"/>
                <a:gd name="T65" fmla="*/ 7 h 1392"/>
                <a:gd name="T66" fmla="*/ 63 w 2226"/>
                <a:gd name="T67" fmla="*/ 7 h 1392"/>
                <a:gd name="T68" fmla="*/ 66 w 2226"/>
                <a:gd name="T69" fmla="*/ 9 h 1392"/>
                <a:gd name="T70" fmla="*/ 67 w 2226"/>
                <a:gd name="T71" fmla="*/ 12 h 1392"/>
                <a:gd name="T72" fmla="*/ 67 w 2226"/>
                <a:gd name="T73" fmla="*/ 13 h 1392"/>
                <a:gd name="T74" fmla="*/ 70 w 2226"/>
                <a:gd name="T75" fmla="*/ 15 h 1392"/>
                <a:gd name="T76" fmla="*/ 74 w 2226"/>
                <a:gd name="T77" fmla="*/ 17 h 1392"/>
                <a:gd name="T78" fmla="*/ 78 w 2226"/>
                <a:gd name="T79" fmla="*/ 18 h 1392"/>
                <a:gd name="T80" fmla="*/ 97 w 2226"/>
                <a:gd name="T81" fmla="*/ 40 h 1392"/>
                <a:gd name="T82" fmla="*/ 102 w 2226"/>
                <a:gd name="T83" fmla="*/ 44 h 1392"/>
                <a:gd name="T84" fmla="*/ 110 w 2226"/>
                <a:gd name="T85" fmla="*/ 49 h 1392"/>
                <a:gd name="T86" fmla="*/ 113 w 2226"/>
                <a:gd name="T87" fmla="*/ 53 h 1392"/>
                <a:gd name="T88" fmla="*/ 118 w 2226"/>
                <a:gd name="T89" fmla="*/ 57 h 1392"/>
                <a:gd name="T90" fmla="*/ 124 w 2226"/>
                <a:gd name="T91" fmla="*/ 54 h 1392"/>
                <a:gd name="T92" fmla="*/ 133 w 2226"/>
                <a:gd name="T93" fmla="*/ 58 h 1392"/>
                <a:gd name="T94" fmla="*/ 137 w 2226"/>
                <a:gd name="T95" fmla="*/ 64 h 1392"/>
                <a:gd name="T96" fmla="*/ 145 w 2226"/>
                <a:gd name="T97" fmla="*/ 65 h 1392"/>
                <a:gd name="T98" fmla="*/ 152 w 2226"/>
                <a:gd name="T99" fmla="*/ 67 h 1392"/>
                <a:gd name="T100" fmla="*/ 161 w 2226"/>
                <a:gd name="T101" fmla="*/ 72 h 1392"/>
                <a:gd name="T102" fmla="*/ 168 w 2226"/>
                <a:gd name="T103" fmla="*/ 76 h 1392"/>
                <a:gd name="T104" fmla="*/ 177 w 2226"/>
                <a:gd name="T105" fmla="*/ 78 h 1392"/>
                <a:gd name="T106" fmla="*/ 184 w 2226"/>
                <a:gd name="T107" fmla="*/ 78 h 1392"/>
                <a:gd name="T108" fmla="*/ 190 w 2226"/>
                <a:gd name="T109" fmla="*/ 81 h 1392"/>
                <a:gd name="T110" fmla="*/ 192 w 2226"/>
                <a:gd name="T111" fmla="*/ 86 h 1392"/>
                <a:gd name="T112" fmla="*/ 187 w 2226"/>
                <a:gd name="T113" fmla="*/ 99 h 1392"/>
                <a:gd name="T114" fmla="*/ 165 w 2226"/>
                <a:gd name="T115" fmla="*/ 97 h 1392"/>
                <a:gd name="T116" fmla="*/ 155 w 2226"/>
                <a:gd name="T117" fmla="*/ 92 h 1392"/>
                <a:gd name="T118" fmla="*/ 146 w 2226"/>
                <a:gd name="T119" fmla="*/ 102 h 1392"/>
                <a:gd name="T120" fmla="*/ 149 w 2226"/>
                <a:gd name="T121" fmla="*/ 106 h 1392"/>
                <a:gd name="T122" fmla="*/ 151 w 2226"/>
                <a:gd name="T123" fmla="*/ 108 h 1392"/>
                <a:gd name="T124" fmla="*/ 157 w 2226"/>
                <a:gd name="T125" fmla="*/ 113 h 13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1392"/>
                <a:gd name="T191" fmla="*/ 2226 w 2226"/>
                <a:gd name="T192" fmla="*/ 1392 h 13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1392">
                  <a:moveTo>
                    <a:pt x="1782" y="1326"/>
                  </a:moveTo>
                  <a:lnTo>
                    <a:pt x="1776" y="1332"/>
                  </a:lnTo>
                  <a:lnTo>
                    <a:pt x="1692" y="1338"/>
                  </a:lnTo>
                  <a:lnTo>
                    <a:pt x="1680" y="1386"/>
                  </a:lnTo>
                  <a:lnTo>
                    <a:pt x="1674" y="1392"/>
                  </a:lnTo>
                  <a:lnTo>
                    <a:pt x="1638" y="1392"/>
                  </a:lnTo>
                  <a:lnTo>
                    <a:pt x="1620" y="1392"/>
                  </a:lnTo>
                  <a:lnTo>
                    <a:pt x="1614" y="1392"/>
                  </a:lnTo>
                  <a:lnTo>
                    <a:pt x="1608" y="1386"/>
                  </a:lnTo>
                  <a:lnTo>
                    <a:pt x="1584" y="1386"/>
                  </a:lnTo>
                  <a:lnTo>
                    <a:pt x="1578" y="1386"/>
                  </a:lnTo>
                  <a:lnTo>
                    <a:pt x="1572" y="1380"/>
                  </a:lnTo>
                  <a:lnTo>
                    <a:pt x="1578" y="1356"/>
                  </a:lnTo>
                  <a:lnTo>
                    <a:pt x="1572" y="1356"/>
                  </a:lnTo>
                  <a:lnTo>
                    <a:pt x="1560" y="1350"/>
                  </a:lnTo>
                  <a:lnTo>
                    <a:pt x="1554" y="1350"/>
                  </a:lnTo>
                  <a:lnTo>
                    <a:pt x="1542" y="1350"/>
                  </a:lnTo>
                  <a:lnTo>
                    <a:pt x="1530" y="1350"/>
                  </a:lnTo>
                  <a:lnTo>
                    <a:pt x="1524" y="1356"/>
                  </a:lnTo>
                  <a:lnTo>
                    <a:pt x="1524" y="1362"/>
                  </a:lnTo>
                  <a:lnTo>
                    <a:pt x="1512" y="1374"/>
                  </a:lnTo>
                  <a:lnTo>
                    <a:pt x="1506" y="1374"/>
                  </a:lnTo>
                  <a:lnTo>
                    <a:pt x="1500" y="1368"/>
                  </a:lnTo>
                  <a:lnTo>
                    <a:pt x="1500" y="1362"/>
                  </a:lnTo>
                  <a:lnTo>
                    <a:pt x="1488" y="1362"/>
                  </a:lnTo>
                  <a:lnTo>
                    <a:pt x="1482" y="1356"/>
                  </a:lnTo>
                  <a:lnTo>
                    <a:pt x="1482" y="1350"/>
                  </a:lnTo>
                  <a:lnTo>
                    <a:pt x="1476" y="1350"/>
                  </a:lnTo>
                  <a:lnTo>
                    <a:pt x="1470" y="1344"/>
                  </a:lnTo>
                  <a:lnTo>
                    <a:pt x="1464" y="1344"/>
                  </a:lnTo>
                  <a:lnTo>
                    <a:pt x="1452" y="1350"/>
                  </a:lnTo>
                  <a:lnTo>
                    <a:pt x="1452" y="1356"/>
                  </a:lnTo>
                  <a:lnTo>
                    <a:pt x="1440" y="1356"/>
                  </a:lnTo>
                  <a:lnTo>
                    <a:pt x="1434" y="1344"/>
                  </a:lnTo>
                  <a:lnTo>
                    <a:pt x="1422" y="1332"/>
                  </a:lnTo>
                  <a:lnTo>
                    <a:pt x="1416" y="1326"/>
                  </a:lnTo>
                  <a:lnTo>
                    <a:pt x="1404" y="1320"/>
                  </a:lnTo>
                  <a:lnTo>
                    <a:pt x="1404" y="1314"/>
                  </a:lnTo>
                  <a:lnTo>
                    <a:pt x="1374" y="1308"/>
                  </a:lnTo>
                  <a:lnTo>
                    <a:pt x="1368" y="1326"/>
                  </a:lnTo>
                  <a:lnTo>
                    <a:pt x="1344" y="1338"/>
                  </a:lnTo>
                  <a:lnTo>
                    <a:pt x="1326" y="1332"/>
                  </a:lnTo>
                  <a:lnTo>
                    <a:pt x="1302" y="1332"/>
                  </a:lnTo>
                  <a:lnTo>
                    <a:pt x="1278" y="1338"/>
                  </a:lnTo>
                  <a:lnTo>
                    <a:pt x="1236" y="1338"/>
                  </a:lnTo>
                  <a:lnTo>
                    <a:pt x="1224" y="1338"/>
                  </a:lnTo>
                  <a:lnTo>
                    <a:pt x="1224" y="1326"/>
                  </a:lnTo>
                  <a:lnTo>
                    <a:pt x="1206" y="1326"/>
                  </a:lnTo>
                  <a:lnTo>
                    <a:pt x="1170" y="1326"/>
                  </a:lnTo>
                  <a:lnTo>
                    <a:pt x="1152" y="1326"/>
                  </a:lnTo>
                  <a:lnTo>
                    <a:pt x="1140" y="1314"/>
                  </a:lnTo>
                  <a:lnTo>
                    <a:pt x="1134" y="1296"/>
                  </a:lnTo>
                  <a:lnTo>
                    <a:pt x="1134" y="1284"/>
                  </a:lnTo>
                  <a:lnTo>
                    <a:pt x="1128" y="1254"/>
                  </a:lnTo>
                  <a:lnTo>
                    <a:pt x="1128" y="1242"/>
                  </a:lnTo>
                  <a:lnTo>
                    <a:pt x="1122" y="1230"/>
                  </a:lnTo>
                  <a:lnTo>
                    <a:pt x="1104" y="1218"/>
                  </a:lnTo>
                  <a:lnTo>
                    <a:pt x="1104" y="1212"/>
                  </a:lnTo>
                  <a:lnTo>
                    <a:pt x="1092" y="1206"/>
                  </a:lnTo>
                  <a:lnTo>
                    <a:pt x="1080" y="1194"/>
                  </a:lnTo>
                  <a:lnTo>
                    <a:pt x="1068" y="1176"/>
                  </a:lnTo>
                  <a:lnTo>
                    <a:pt x="1050" y="1152"/>
                  </a:lnTo>
                  <a:lnTo>
                    <a:pt x="1020" y="1098"/>
                  </a:lnTo>
                  <a:lnTo>
                    <a:pt x="978" y="1026"/>
                  </a:lnTo>
                  <a:lnTo>
                    <a:pt x="978" y="1014"/>
                  </a:lnTo>
                  <a:lnTo>
                    <a:pt x="972" y="1014"/>
                  </a:lnTo>
                  <a:lnTo>
                    <a:pt x="972" y="1008"/>
                  </a:lnTo>
                  <a:lnTo>
                    <a:pt x="978" y="1002"/>
                  </a:lnTo>
                  <a:lnTo>
                    <a:pt x="960" y="966"/>
                  </a:lnTo>
                  <a:lnTo>
                    <a:pt x="948" y="954"/>
                  </a:lnTo>
                  <a:lnTo>
                    <a:pt x="948" y="936"/>
                  </a:lnTo>
                  <a:lnTo>
                    <a:pt x="936" y="900"/>
                  </a:lnTo>
                  <a:lnTo>
                    <a:pt x="942" y="876"/>
                  </a:lnTo>
                  <a:lnTo>
                    <a:pt x="942" y="834"/>
                  </a:lnTo>
                  <a:lnTo>
                    <a:pt x="960" y="828"/>
                  </a:lnTo>
                  <a:lnTo>
                    <a:pt x="966" y="816"/>
                  </a:lnTo>
                  <a:lnTo>
                    <a:pt x="972" y="810"/>
                  </a:lnTo>
                  <a:lnTo>
                    <a:pt x="978" y="804"/>
                  </a:lnTo>
                  <a:lnTo>
                    <a:pt x="996" y="798"/>
                  </a:lnTo>
                  <a:lnTo>
                    <a:pt x="996" y="792"/>
                  </a:lnTo>
                  <a:lnTo>
                    <a:pt x="1014" y="780"/>
                  </a:lnTo>
                  <a:lnTo>
                    <a:pt x="1026" y="768"/>
                  </a:lnTo>
                  <a:lnTo>
                    <a:pt x="1032" y="762"/>
                  </a:lnTo>
                  <a:lnTo>
                    <a:pt x="1026" y="756"/>
                  </a:lnTo>
                  <a:lnTo>
                    <a:pt x="1014" y="744"/>
                  </a:lnTo>
                  <a:lnTo>
                    <a:pt x="996" y="756"/>
                  </a:lnTo>
                  <a:lnTo>
                    <a:pt x="954" y="768"/>
                  </a:lnTo>
                  <a:lnTo>
                    <a:pt x="942" y="762"/>
                  </a:lnTo>
                  <a:lnTo>
                    <a:pt x="942" y="756"/>
                  </a:lnTo>
                  <a:lnTo>
                    <a:pt x="936" y="750"/>
                  </a:lnTo>
                  <a:lnTo>
                    <a:pt x="846" y="732"/>
                  </a:lnTo>
                  <a:lnTo>
                    <a:pt x="822" y="726"/>
                  </a:lnTo>
                  <a:lnTo>
                    <a:pt x="810" y="714"/>
                  </a:lnTo>
                  <a:lnTo>
                    <a:pt x="792" y="690"/>
                  </a:lnTo>
                  <a:lnTo>
                    <a:pt x="792" y="678"/>
                  </a:lnTo>
                  <a:lnTo>
                    <a:pt x="762" y="642"/>
                  </a:lnTo>
                  <a:lnTo>
                    <a:pt x="750" y="636"/>
                  </a:lnTo>
                  <a:lnTo>
                    <a:pt x="726" y="630"/>
                  </a:lnTo>
                  <a:lnTo>
                    <a:pt x="696" y="642"/>
                  </a:lnTo>
                  <a:lnTo>
                    <a:pt x="678" y="654"/>
                  </a:lnTo>
                  <a:lnTo>
                    <a:pt x="666" y="684"/>
                  </a:lnTo>
                  <a:lnTo>
                    <a:pt x="660" y="726"/>
                  </a:lnTo>
                  <a:lnTo>
                    <a:pt x="606" y="756"/>
                  </a:lnTo>
                  <a:lnTo>
                    <a:pt x="558" y="780"/>
                  </a:lnTo>
                  <a:lnTo>
                    <a:pt x="438" y="834"/>
                  </a:lnTo>
                  <a:lnTo>
                    <a:pt x="402" y="846"/>
                  </a:lnTo>
                  <a:lnTo>
                    <a:pt x="372" y="870"/>
                  </a:lnTo>
                  <a:lnTo>
                    <a:pt x="360" y="876"/>
                  </a:lnTo>
                  <a:lnTo>
                    <a:pt x="354" y="876"/>
                  </a:lnTo>
                  <a:lnTo>
                    <a:pt x="330" y="882"/>
                  </a:lnTo>
                  <a:lnTo>
                    <a:pt x="306" y="882"/>
                  </a:lnTo>
                  <a:lnTo>
                    <a:pt x="300" y="876"/>
                  </a:lnTo>
                  <a:lnTo>
                    <a:pt x="294" y="876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76" y="864"/>
                  </a:lnTo>
                  <a:lnTo>
                    <a:pt x="270" y="870"/>
                  </a:lnTo>
                  <a:lnTo>
                    <a:pt x="264" y="870"/>
                  </a:lnTo>
                  <a:lnTo>
                    <a:pt x="240" y="894"/>
                  </a:lnTo>
                  <a:lnTo>
                    <a:pt x="234" y="894"/>
                  </a:lnTo>
                  <a:lnTo>
                    <a:pt x="228" y="900"/>
                  </a:lnTo>
                  <a:lnTo>
                    <a:pt x="222" y="906"/>
                  </a:lnTo>
                  <a:lnTo>
                    <a:pt x="210" y="912"/>
                  </a:lnTo>
                  <a:lnTo>
                    <a:pt x="204" y="912"/>
                  </a:lnTo>
                  <a:lnTo>
                    <a:pt x="198" y="912"/>
                  </a:lnTo>
                  <a:lnTo>
                    <a:pt x="192" y="918"/>
                  </a:lnTo>
                  <a:lnTo>
                    <a:pt x="180" y="918"/>
                  </a:lnTo>
                  <a:lnTo>
                    <a:pt x="174" y="930"/>
                  </a:lnTo>
                  <a:lnTo>
                    <a:pt x="174" y="936"/>
                  </a:lnTo>
                  <a:lnTo>
                    <a:pt x="168" y="942"/>
                  </a:lnTo>
                  <a:lnTo>
                    <a:pt x="162" y="942"/>
                  </a:lnTo>
                  <a:lnTo>
                    <a:pt x="150" y="960"/>
                  </a:lnTo>
                  <a:lnTo>
                    <a:pt x="144" y="966"/>
                  </a:lnTo>
                  <a:lnTo>
                    <a:pt x="138" y="972"/>
                  </a:lnTo>
                  <a:lnTo>
                    <a:pt x="132" y="972"/>
                  </a:lnTo>
                  <a:lnTo>
                    <a:pt x="126" y="984"/>
                  </a:lnTo>
                  <a:lnTo>
                    <a:pt x="120" y="984"/>
                  </a:lnTo>
                  <a:lnTo>
                    <a:pt x="114" y="990"/>
                  </a:lnTo>
                  <a:lnTo>
                    <a:pt x="96" y="990"/>
                  </a:lnTo>
                  <a:lnTo>
                    <a:pt x="90" y="990"/>
                  </a:lnTo>
                  <a:lnTo>
                    <a:pt x="78" y="990"/>
                  </a:lnTo>
                  <a:lnTo>
                    <a:pt x="72" y="990"/>
                  </a:lnTo>
                  <a:lnTo>
                    <a:pt x="60" y="990"/>
                  </a:lnTo>
                  <a:lnTo>
                    <a:pt x="42" y="990"/>
                  </a:lnTo>
                  <a:lnTo>
                    <a:pt x="36" y="996"/>
                  </a:lnTo>
                  <a:lnTo>
                    <a:pt x="30" y="1002"/>
                  </a:lnTo>
                  <a:lnTo>
                    <a:pt x="24" y="1014"/>
                  </a:lnTo>
                  <a:lnTo>
                    <a:pt x="24" y="1020"/>
                  </a:lnTo>
                  <a:lnTo>
                    <a:pt x="18" y="1020"/>
                  </a:lnTo>
                  <a:lnTo>
                    <a:pt x="12" y="1014"/>
                  </a:lnTo>
                  <a:lnTo>
                    <a:pt x="12" y="1008"/>
                  </a:lnTo>
                  <a:lnTo>
                    <a:pt x="12" y="990"/>
                  </a:lnTo>
                  <a:lnTo>
                    <a:pt x="12" y="984"/>
                  </a:lnTo>
                  <a:lnTo>
                    <a:pt x="12" y="972"/>
                  </a:lnTo>
                  <a:lnTo>
                    <a:pt x="12" y="966"/>
                  </a:lnTo>
                  <a:lnTo>
                    <a:pt x="6" y="966"/>
                  </a:lnTo>
                  <a:lnTo>
                    <a:pt x="6" y="960"/>
                  </a:lnTo>
                  <a:lnTo>
                    <a:pt x="6" y="954"/>
                  </a:lnTo>
                  <a:lnTo>
                    <a:pt x="6" y="948"/>
                  </a:lnTo>
                  <a:lnTo>
                    <a:pt x="6" y="942"/>
                  </a:lnTo>
                  <a:lnTo>
                    <a:pt x="12" y="930"/>
                  </a:lnTo>
                  <a:lnTo>
                    <a:pt x="6" y="924"/>
                  </a:lnTo>
                  <a:lnTo>
                    <a:pt x="6" y="918"/>
                  </a:lnTo>
                  <a:lnTo>
                    <a:pt x="6" y="912"/>
                  </a:lnTo>
                  <a:lnTo>
                    <a:pt x="6" y="906"/>
                  </a:lnTo>
                  <a:lnTo>
                    <a:pt x="6" y="900"/>
                  </a:lnTo>
                  <a:lnTo>
                    <a:pt x="0" y="894"/>
                  </a:lnTo>
                  <a:lnTo>
                    <a:pt x="0" y="888"/>
                  </a:lnTo>
                  <a:lnTo>
                    <a:pt x="0" y="882"/>
                  </a:lnTo>
                  <a:lnTo>
                    <a:pt x="6" y="876"/>
                  </a:lnTo>
                  <a:lnTo>
                    <a:pt x="6" y="870"/>
                  </a:lnTo>
                  <a:lnTo>
                    <a:pt x="18" y="864"/>
                  </a:lnTo>
                  <a:lnTo>
                    <a:pt x="18" y="858"/>
                  </a:lnTo>
                  <a:lnTo>
                    <a:pt x="18" y="846"/>
                  </a:lnTo>
                  <a:lnTo>
                    <a:pt x="18" y="834"/>
                  </a:lnTo>
                  <a:lnTo>
                    <a:pt x="18" y="828"/>
                  </a:lnTo>
                  <a:lnTo>
                    <a:pt x="24" y="828"/>
                  </a:lnTo>
                  <a:lnTo>
                    <a:pt x="24" y="810"/>
                  </a:lnTo>
                  <a:lnTo>
                    <a:pt x="24" y="804"/>
                  </a:lnTo>
                  <a:lnTo>
                    <a:pt x="18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24" y="792"/>
                  </a:lnTo>
                  <a:lnTo>
                    <a:pt x="30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6" y="762"/>
                  </a:lnTo>
                  <a:lnTo>
                    <a:pt x="36" y="756"/>
                  </a:lnTo>
                  <a:lnTo>
                    <a:pt x="30" y="756"/>
                  </a:lnTo>
                  <a:lnTo>
                    <a:pt x="30" y="750"/>
                  </a:lnTo>
                  <a:lnTo>
                    <a:pt x="36" y="750"/>
                  </a:lnTo>
                  <a:lnTo>
                    <a:pt x="36" y="744"/>
                  </a:lnTo>
                  <a:lnTo>
                    <a:pt x="30" y="744"/>
                  </a:lnTo>
                  <a:lnTo>
                    <a:pt x="30" y="738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0" y="732"/>
                  </a:lnTo>
                  <a:lnTo>
                    <a:pt x="36" y="726"/>
                  </a:lnTo>
                  <a:lnTo>
                    <a:pt x="30" y="726"/>
                  </a:lnTo>
                  <a:lnTo>
                    <a:pt x="24" y="726"/>
                  </a:lnTo>
                  <a:lnTo>
                    <a:pt x="30" y="720"/>
                  </a:lnTo>
                  <a:lnTo>
                    <a:pt x="30" y="714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696"/>
                  </a:lnTo>
                  <a:lnTo>
                    <a:pt x="66" y="702"/>
                  </a:lnTo>
                  <a:lnTo>
                    <a:pt x="78" y="702"/>
                  </a:lnTo>
                  <a:lnTo>
                    <a:pt x="84" y="702"/>
                  </a:lnTo>
                  <a:lnTo>
                    <a:pt x="96" y="696"/>
                  </a:lnTo>
                  <a:lnTo>
                    <a:pt x="102" y="690"/>
                  </a:lnTo>
                  <a:lnTo>
                    <a:pt x="102" y="684"/>
                  </a:lnTo>
                  <a:lnTo>
                    <a:pt x="114" y="684"/>
                  </a:lnTo>
                  <a:lnTo>
                    <a:pt x="144" y="684"/>
                  </a:lnTo>
                  <a:lnTo>
                    <a:pt x="150" y="690"/>
                  </a:lnTo>
                  <a:lnTo>
                    <a:pt x="162" y="696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6" y="690"/>
                  </a:lnTo>
                  <a:lnTo>
                    <a:pt x="192" y="690"/>
                  </a:lnTo>
                  <a:lnTo>
                    <a:pt x="198" y="684"/>
                  </a:lnTo>
                  <a:lnTo>
                    <a:pt x="204" y="684"/>
                  </a:lnTo>
                  <a:lnTo>
                    <a:pt x="210" y="684"/>
                  </a:lnTo>
                  <a:lnTo>
                    <a:pt x="222" y="678"/>
                  </a:lnTo>
                  <a:lnTo>
                    <a:pt x="228" y="678"/>
                  </a:lnTo>
                  <a:lnTo>
                    <a:pt x="228" y="660"/>
                  </a:lnTo>
                  <a:lnTo>
                    <a:pt x="234" y="642"/>
                  </a:lnTo>
                  <a:lnTo>
                    <a:pt x="246" y="618"/>
                  </a:lnTo>
                  <a:lnTo>
                    <a:pt x="252" y="618"/>
                  </a:lnTo>
                  <a:lnTo>
                    <a:pt x="252" y="600"/>
                  </a:lnTo>
                  <a:lnTo>
                    <a:pt x="252" y="588"/>
                  </a:lnTo>
                  <a:lnTo>
                    <a:pt x="252" y="582"/>
                  </a:lnTo>
                  <a:lnTo>
                    <a:pt x="258" y="576"/>
                  </a:lnTo>
                  <a:lnTo>
                    <a:pt x="270" y="564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70" y="522"/>
                  </a:lnTo>
                  <a:lnTo>
                    <a:pt x="270" y="510"/>
                  </a:lnTo>
                  <a:lnTo>
                    <a:pt x="270" y="498"/>
                  </a:lnTo>
                  <a:lnTo>
                    <a:pt x="258" y="468"/>
                  </a:lnTo>
                  <a:lnTo>
                    <a:pt x="252" y="456"/>
                  </a:lnTo>
                  <a:lnTo>
                    <a:pt x="258" y="444"/>
                  </a:lnTo>
                  <a:lnTo>
                    <a:pt x="264" y="432"/>
                  </a:lnTo>
                  <a:lnTo>
                    <a:pt x="270" y="426"/>
                  </a:lnTo>
                  <a:lnTo>
                    <a:pt x="276" y="420"/>
                  </a:lnTo>
                  <a:lnTo>
                    <a:pt x="288" y="420"/>
                  </a:lnTo>
                  <a:lnTo>
                    <a:pt x="288" y="414"/>
                  </a:lnTo>
                  <a:lnTo>
                    <a:pt x="294" y="414"/>
                  </a:lnTo>
                  <a:lnTo>
                    <a:pt x="306" y="390"/>
                  </a:lnTo>
                  <a:lnTo>
                    <a:pt x="312" y="384"/>
                  </a:lnTo>
                  <a:lnTo>
                    <a:pt x="318" y="378"/>
                  </a:lnTo>
                  <a:lnTo>
                    <a:pt x="318" y="372"/>
                  </a:lnTo>
                  <a:lnTo>
                    <a:pt x="324" y="366"/>
                  </a:lnTo>
                  <a:lnTo>
                    <a:pt x="330" y="354"/>
                  </a:lnTo>
                  <a:lnTo>
                    <a:pt x="336" y="348"/>
                  </a:lnTo>
                  <a:lnTo>
                    <a:pt x="336" y="330"/>
                  </a:lnTo>
                  <a:lnTo>
                    <a:pt x="342" y="324"/>
                  </a:lnTo>
                  <a:lnTo>
                    <a:pt x="342" y="318"/>
                  </a:lnTo>
                  <a:lnTo>
                    <a:pt x="348" y="318"/>
                  </a:lnTo>
                  <a:lnTo>
                    <a:pt x="360" y="318"/>
                  </a:lnTo>
                  <a:lnTo>
                    <a:pt x="372" y="318"/>
                  </a:lnTo>
                  <a:lnTo>
                    <a:pt x="384" y="306"/>
                  </a:lnTo>
                  <a:lnTo>
                    <a:pt x="396" y="300"/>
                  </a:lnTo>
                  <a:lnTo>
                    <a:pt x="396" y="294"/>
                  </a:lnTo>
                  <a:lnTo>
                    <a:pt x="396" y="288"/>
                  </a:lnTo>
                  <a:lnTo>
                    <a:pt x="390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2"/>
                  </a:lnTo>
                  <a:lnTo>
                    <a:pt x="378" y="246"/>
                  </a:lnTo>
                  <a:lnTo>
                    <a:pt x="384" y="228"/>
                  </a:lnTo>
                  <a:lnTo>
                    <a:pt x="390" y="216"/>
                  </a:lnTo>
                  <a:lnTo>
                    <a:pt x="402" y="210"/>
                  </a:lnTo>
                  <a:lnTo>
                    <a:pt x="408" y="210"/>
                  </a:lnTo>
                  <a:lnTo>
                    <a:pt x="420" y="204"/>
                  </a:lnTo>
                  <a:lnTo>
                    <a:pt x="444" y="198"/>
                  </a:lnTo>
                  <a:lnTo>
                    <a:pt x="462" y="192"/>
                  </a:lnTo>
                  <a:lnTo>
                    <a:pt x="474" y="186"/>
                  </a:lnTo>
                  <a:lnTo>
                    <a:pt x="480" y="192"/>
                  </a:lnTo>
                  <a:lnTo>
                    <a:pt x="492" y="192"/>
                  </a:lnTo>
                  <a:lnTo>
                    <a:pt x="498" y="192"/>
                  </a:lnTo>
                  <a:lnTo>
                    <a:pt x="504" y="192"/>
                  </a:lnTo>
                  <a:lnTo>
                    <a:pt x="510" y="192"/>
                  </a:lnTo>
                  <a:lnTo>
                    <a:pt x="516" y="186"/>
                  </a:lnTo>
                  <a:lnTo>
                    <a:pt x="522" y="180"/>
                  </a:lnTo>
                  <a:lnTo>
                    <a:pt x="522" y="174"/>
                  </a:lnTo>
                  <a:lnTo>
                    <a:pt x="528" y="168"/>
                  </a:lnTo>
                  <a:lnTo>
                    <a:pt x="534" y="168"/>
                  </a:lnTo>
                  <a:lnTo>
                    <a:pt x="534" y="156"/>
                  </a:lnTo>
                  <a:lnTo>
                    <a:pt x="534" y="150"/>
                  </a:lnTo>
                  <a:lnTo>
                    <a:pt x="552" y="138"/>
                  </a:lnTo>
                  <a:lnTo>
                    <a:pt x="558" y="126"/>
                  </a:lnTo>
                  <a:lnTo>
                    <a:pt x="558" y="114"/>
                  </a:lnTo>
                  <a:lnTo>
                    <a:pt x="564" y="102"/>
                  </a:lnTo>
                  <a:lnTo>
                    <a:pt x="564" y="96"/>
                  </a:lnTo>
                  <a:lnTo>
                    <a:pt x="564" y="90"/>
                  </a:lnTo>
                  <a:lnTo>
                    <a:pt x="564" y="72"/>
                  </a:lnTo>
                  <a:lnTo>
                    <a:pt x="564" y="60"/>
                  </a:lnTo>
                  <a:lnTo>
                    <a:pt x="564" y="54"/>
                  </a:lnTo>
                  <a:lnTo>
                    <a:pt x="570" y="42"/>
                  </a:lnTo>
                  <a:lnTo>
                    <a:pt x="576" y="42"/>
                  </a:lnTo>
                  <a:lnTo>
                    <a:pt x="582" y="36"/>
                  </a:lnTo>
                  <a:lnTo>
                    <a:pt x="594" y="36"/>
                  </a:lnTo>
                  <a:lnTo>
                    <a:pt x="594" y="30"/>
                  </a:lnTo>
                  <a:lnTo>
                    <a:pt x="600" y="24"/>
                  </a:lnTo>
                  <a:lnTo>
                    <a:pt x="600" y="12"/>
                  </a:lnTo>
                  <a:lnTo>
                    <a:pt x="606" y="6"/>
                  </a:lnTo>
                  <a:lnTo>
                    <a:pt x="606" y="0"/>
                  </a:lnTo>
                  <a:lnTo>
                    <a:pt x="612" y="0"/>
                  </a:lnTo>
                  <a:lnTo>
                    <a:pt x="618" y="0"/>
                  </a:lnTo>
                  <a:lnTo>
                    <a:pt x="624" y="6"/>
                  </a:lnTo>
                  <a:lnTo>
                    <a:pt x="624" y="12"/>
                  </a:lnTo>
                  <a:lnTo>
                    <a:pt x="624" y="18"/>
                  </a:lnTo>
                  <a:lnTo>
                    <a:pt x="624" y="24"/>
                  </a:lnTo>
                  <a:lnTo>
                    <a:pt x="624" y="30"/>
                  </a:lnTo>
                  <a:lnTo>
                    <a:pt x="630" y="30"/>
                  </a:lnTo>
                  <a:lnTo>
                    <a:pt x="630" y="36"/>
                  </a:lnTo>
                  <a:lnTo>
                    <a:pt x="630" y="42"/>
                  </a:lnTo>
                  <a:lnTo>
                    <a:pt x="630" y="48"/>
                  </a:lnTo>
                  <a:lnTo>
                    <a:pt x="636" y="54"/>
                  </a:lnTo>
                  <a:lnTo>
                    <a:pt x="642" y="48"/>
                  </a:lnTo>
                  <a:lnTo>
                    <a:pt x="648" y="48"/>
                  </a:lnTo>
                  <a:lnTo>
                    <a:pt x="648" y="60"/>
                  </a:lnTo>
                  <a:lnTo>
                    <a:pt x="654" y="66"/>
                  </a:lnTo>
                  <a:lnTo>
                    <a:pt x="660" y="72"/>
                  </a:lnTo>
                  <a:lnTo>
                    <a:pt x="666" y="72"/>
                  </a:lnTo>
                  <a:lnTo>
                    <a:pt x="666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72" y="66"/>
                  </a:lnTo>
                  <a:lnTo>
                    <a:pt x="678" y="66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6" y="66"/>
                  </a:lnTo>
                  <a:lnTo>
                    <a:pt x="696" y="72"/>
                  </a:lnTo>
                  <a:lnTo>
                    <a:pt x="702" y="72"/>
                  </a:lnTo>
                  <a:lnTo>
                    <a:pt x="708" y="72"/>
                  </a:lnTo>
                  <a:lnTo>
                    <a:pt x="720" y="66"/>
                  </a:lnTo>
                  <a:lnTo>
                    <a:pt x="726" y="78"/>
                  </a:lnTo>
                  <a:lnTo>
                    <a:pt x="744" y="84"/>
                  </a:lnTo>
                  <a:lnTo>
                    <a:pt x="744" y="90"/>
                  </a:lnTo>
                  <a:lnTo>
                    <a:pt x="744" y="96"/>
                  </a:lnTo>
                  <a:lnTo>
                    <a:pt x="738" y="96"/>
                  </a:lnTo>
                  <a:lnTo>
                    <a:pt x="738" y="102"/>
                  </a:lnTo>
                  <a:lnTo>
                    <a:pt x="732" y="102"/>
                  </a:lnTo>
                  <a:lnTo>
                    <a:pt x="732" y="108"/>
                  </a:lnTo>
                  <a:lnTo>
                    <a:pt x="738" y="108"/>
                  </a:lnTo>
                  <a:lnTo>
                    <a:pt x="744" y="114"/>
                  </a:lnTo>
                  <a:lnTo>
                    <a:pt x="750" y="108"/>
                  </a:lnTo>
                  <a:lnTo>
                    <a:pt x="756" y="108"/>
                  </a:lnTo>
                  <a:lnTo>
                    <a:pt x="762" y="108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80" y="120"/>
                  </a:lnTo>
                  <a:lnTo>
                    <a:pt x="774" y="120"/>
                  </a:lnTo>
                  <a:lnTo>
                    <a:pt x="768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74" y="138"/>
                  </a:lnTo>
                  <a:lnTo>
                    <a:pt x="774" y="132"/>
                  </a:lnTo>
                  <a:lnTo>
                    <a:pt x="780" y="132"/>
                  </a:lnTo>
                  <a:lnTo>
                    <a:pt x="786" y="132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44"/>
                  </a:lnTo>
                  <a:lnTo>
                    <a:pt x="786" y="150"/>
                  </a:lnTo>
                  <a:lnTo>
                    <a:pt x="780" y="150"/>
                  </a:lnTo>
                  <a:lnTo>
                    <a:pt x="774" y="150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74" y="162"/>
                  </a:lnTo>
                  <a:lnTo>
                    <a:pt x="780" y="162"/>
                  </a:lnTo>
                  <a:lnTo>
                    <a:pt x="786" y="168"/>
                  </a:lnTo>
                  <a:lnTo>
                    <a:pt x="792" y="162"/>
                  </a:lnTo>
                  <a:lnTo>
                    <a:pt x="798" y="168"/>
                  </a:lnTo>
                  <a:lnTo>
                    <a:pt x="798" y="174"/>
                  </a:lnTo>
                  <a:lnTo>
                    <a:pt x="804" y="168"/>
                  </a:lnTo>
                  <a:lnTo>
                    <a:pt x="810" y="168"/>
                  </a:lnTo>
                  <a:lnTo>
                    <a:pt x="810" y="174"/>
                  </a:lnTo>
                  <a:lnTo>
                    <a:pt x="816" y="168"/>
                  </a:lnTo>
                  <a:lnTo>
                    <a:pt x="822" y="162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74"/>
                  </a:lnTo>
                  <a:lnTo>
                    <a:pt x="834" y="192"/>
                  </a:lnTo>
                  <a:lnTo>
                    <a:pt x="834" y="198"/>
                  </a:lnTo>
                  <a:lnTo>
                    <a:pt x="840" y="192"/>
                  </a:lnTo>
                  <a:lnTo>
                    <a:pt x="846" y="192"/>
                  </a:lnTo>
                  <a:lnTo>
                    <a:pt x="852" y="186"/>
                  </a:lnTo>
                  <a:lnTo>
                    <a:pt x="858" y="192"/>
                  </a:lnTo>
                  <a:lnTo>
                    <a:pt x="864" y="192"/>
                  </a:lnTo>
                  <a:lnTo>
                    <a:pt x="870" y="198"/>
                  </a:lnTo>
                  <a:lnTo>
                    <a:pt x="876" y="180"/>
                  </a:lnTo>
                  <a:lnTo>
                    <a:pt x="882" y="180"/>
                  </a:lnTo>
                  <a:lnTo>
                    <a:pt x="888" y="180"/>
                  </a:lnTo>
                  <a:lnTo>
                    <a:pt x="894" y="186"/>
                  </a:lnTo>
                  <a:lnTo>
                    <a:pt x="888" y="198"/>
                  </a:lnTo>
                  <a:lnTo>
                    <a:pt x="894" y="204"/>
                  </a:lnTo>
                  <a:lnTo>
                    <a:pt x="906" y="210"/>
                  </a:lnTo>
                  <a:lnTo>
                    <a:pt x="918" y="246"/>
                  </a:lnTo>
                  <a:lnTo>
                    <a:pt x="930" y="258"/>
                  </a:lnTo>
                  <a:lnTo>
                    <a:pt x="942" y="282"/>
                  </a:lnTo>
                  <a:lnTo>
                    <a:pt x="966" y="288"/>
                  </a:lnTo>
                  <a:lnTo>
                    <a:pt x="972" y="300"/>
                  </a:lnTo>
                  <a:lnTo>
                    <a:pt x="972" y="318"/>
                  </a:lnTo>
                  <a:lnTo>
                    <a:pt x="996" y="336"/>
                  </a:lnTo>
                  <a:lnTo>
                    <a:pt x="1050" y="390"/>
                  </a:lnTo>
                  <a:lnTo>
                    <a:pt x="1116" y="462"/>
                  </a:lnTo>
                  <a:lnTo>
                    <a:pt x="1122" y="468"/>
                  </a:lnTo>
                  <a:lnTo>
                    <a:pt x="1128" y="474"/>
                  </a:lnTo>
                  <a:lnTo>
                    <a:pt x="1140" y="474"/>
                  </a:lnTo>
                  <a:lnTo>
                    <a:pt x="1152" y="486"/>
                  </a:lnTo>
                  <a:lnTo>
                    <a:pt x="1152" y="492"/>
                  </a:lnTo>
                  <a:lnTo>
                    <a:pt x="1158" y="492"/>
                  </a:lnTo>
                  <a:lnTo>
                    <a:pt x="1164" y="492"/>
                  </a:lnTo>
                  <a:lnTo>
                    <a:pt x="1170" y="504"/>
                  </a:lnTo>
                  <a:lnTo>
                    <a:pt x="1176" y="504"/>
                  </a:lnTo>
                  <a:lnTo>
                    <a:pt x="1176" y="510"/>
                  </a:lnTo>
                  <a:lnTo>
                    <a:pt x="1200" y="516"/>
                  </a:lnTo>
                  <a:lnTo>
                    <a:pt x="1200" y="522"/>
                  </a:lnTo>
                  <a:lnTo>
                    <a:pt x="1212" y="534"/>
                  </a:lnTo>
                  <a:lnTo>
                    <a:pt x="1218" y="540"/>
                  </a:lnTo>
                  <a:lnTo>
                    <a:pt x="1224" y="552"/>
                  </a:lnTo>
                  <a:lnTo>
                    <a:pt x="1230" y="552"/>
                  </a:lnTo>
                  <a:lnTo>
                    <a:pt x="1242" y="552"/>
                  </a:lnTo>
                  <a:lnTo>
                    <a:pt x="1248" y="558"/>
                  </a:lnTo>
                  <a:lnTo>
                    <a:pt x="1254" y="558"/>
                  </a:lnTo>
                  <a:lnTo>
                    <a:pt x="1260" y="564"/>
                  </a:lnTo>
                  <a:lnTo>
                    <a:pt x="1266" y="564"/>
                  </a:lnTo>
                  <a:lnTo>
                    <a:pt x="1272" y="564"/>
                  </a:lnTo>
                  <a:lnTo>
                    <a:pt x="1284" y="564"/>
                  </a:lnTo>
                  <a:lnTo>
                    <a:pt x="1290" y="570"/>
                  </a:lnTo>
                  <a:lnTo>
                    <a:pt x="1296" y="576"/>
                  </a:lnTo>
                  <a:lnTo>
                    <a:pt x="1302" y="588"/>
                  </a:lnTo>
                  <a:lnTo>
                    <a:pt x="1296" y="594"/>
                  </a:lnTo>
                  <a:lnTo>
                    <a:pt x="1296" y="600"/>
                  </a:lnTo>
                  <a:lnTo>
                    <a:pt x="1296" y="606"/>
                  </a:lnTo>
                  <a:lnTo>
                    <a:pt x="1290" y="612"/>
                  </a:lnTo>
                  <a:lnTo>
                    <a:pt x="1290" y="624"/>
                  </a:lnTo>
                  <a:lnTo>
                    <a:pt x="1290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308" y="654"/>
                  </a:lnTo>
                  <a:lnTo>
                    <a:pt x="1320" y="654"/>
                  </a:lnTo>
                  <a:lnTo>
                    <a:pt x="1326" y="660"/>
                  </a:lnTo>
                  <a:lnTo>
                    <a:pt x="1338" y="654"/>
                  </a:lnTo>
                  <a:lnTo>
                    <a:pt x="1344" y="654"/>
                  </a:lnTo>
                  <a:lnTo>
                    <a:pt x="1356" y="654"/>
                  </a:lnTo>
                  <a:lnTo>
                    <a:pt x="1362" y="648"/>
                  </a:lnTo>
                  <a:lnTo>
                    <a:pt x="1368" y="642"/>
                  </a:lnTo>
                  <a:lnTo>
                    <a:pt x="1374" y="636"/>
                  </a:lnTo>
                  <a:lnTo>
                    <a:pt x="1380" y="636"/>
                  </a:lnTo>
                  <a:lnTo>
                    <a:pt x="1392" y="636"/>
                  </a:lnTo>
                  <a:lnTo>
                    <a:pt x="1398" y="636"/>
                  </a:lnTo>
                  <a:lnTo>
                    <a:pt x="1404" y="636"/>
                  </a:lnTo>
                  <a:lnTo>
                    <a:pt x="1410" y="630"/>
                  </a:lnTo>
                  <a:lnTo>
                    <a:pt x="1410" y="624"/>
                  </a:lnTo>
                  <a:lnTo>
                    <a:pt x="1422" y="618"/>
                  </a:lnTo>
                  <a:lnTo>
                    <a:pt x="1428" y="618"/>
                  </a:lnTo>
                  <a:lnTo>
                    <a:pt x="1440" y="612"/>
                  </a:lnTo>
                  <a:lnTo>
                    <a:pt x="1446" y="612"/>
                  </a:lnTo>
                  <a:lnTo>
                    <a:pt x="1458" y="612"/>
                  </a:lnTo>
                  <a:lnTo>
                    <a:pt x="1470" y="624"/>
                  </a:lnTo>
                  <a:lnTo>
                    <a:pt x="1488" y="642"/>
                  </a:lnTo>
                  <a:lnTo>
                    <a:pt x="1500" y="648"/>
                  </a:lnTo>
                  <a:lnTo>
                    <a:pt x="1512" y="654"/>
                  </a:lnTo>
                  <a:lnTo>
                    <a:pt x="1518" y="660"/>
                  </a:lnTo>
                  <a:lnTo>
                    <a:pt x="1524" y="660"/>
                  </a:lnTo>
                  <a:lnTo>
                    <a:pt x="1530" y="660"/>
                  </a:lnTo>
                  <a:lnTo>
                    <a:pt x="1536" y="666"/>
                  </a:lnTo>
                  <a:lnTo>
                    <a:pt x="1542" y="672"/>
                  </a:lnTo>
                  <a:lnTo>
                    <a:pt x="1548" y="672"/>
                  </a:lnTo>
                  <a:lnTo>
                    <a:pt x="1554" y="684"/>
                  </a:lnTo>
                  <a:lnTo>
                    <a:pt x="1554" y="690"/>
                  </a:lnTo>
                  <a:lnTo>
                    <a:pt x="1566" y="702"/>
                  </a:lnTo>
                  <a:lnTo>
                    <a:pt x="1572" y="720"/>
                  </a:lnTo>
                  <a:lnTo>
                    <a:pt x="1572" y="726"/>
                  </a:lnTo>
                  <a:lnTo>
                    <a:pt x="1578" y="732"/>
                  </a:lnTo>
                  <a:lnTo>
                    <a:pt x="1584" y="738"/>
                  </a:lnTo>
                  <a:lnTo>
                    <a:pt x="1590" y="738"/>
                  </a:lnTo>
                  <a:lnTo>
                    <a:pt x="1596" y="738"/>
                  </a:lnTo>
                  <a:lnTo>
                    <a:pt x="1602" y="744"/>
                  </a:lnTo>
                  <a:lnTo>
                    <a:pt x="1608" y="744"/>
                  </a:lnTo>
                  <a:lnTo>
                    <a:pt x="1614" y="744"/>
                  </a:lnTo>
                  <a:lnTo>
                    <a:pt x="1626" y="744"/>
                  </a:lnTo>
                  <a:lnTo>
                    <a:pt x="1638" y="744"/>
                  </a:lnTo>
                  <a:lnTo>
                    <a:pt x="1650" y="744"/>
                  </a:lnTo>
                  <a:lnTo>
                    <a:pt x="1662" y="744"/>
                  </a:lnTo>
                  <a:lnTo>
                    <a:pt x="1668" y="744"/>
                  </a:lnTo>
                  <a:lnTo>
                    <a:pt x="1674" y="744"/>
                  </a:lnTo>
                  <a:lnTo>
                    <a:pt x="1686" y="744"/>
                  </a:lnTo>
                  <a:lnTo>
                    <a:pt x="1698" y="750"/>
                  </a:lnTo>
                  <a:lnTo>
                    <a:pt x="1704" y="750"/>
                  </a:lnTo>
                  <a:lnTo>
                    <a:pt x="1716" y="756"/>
                  </a:lnTo>
                  <a:lnTo>
                    <a:pt x="1722" y="756"/>
                  </a:lnTo>
                  <a:lnTo>
                    <a:pt x="1728" y="756"/>
                  </a:lnTo>
                  <a:lnTo>
                    <a:pt x="1734" y="762"/>
                  </a:lnTo>
                  <a:lnTo>
                    <a:pt x="1740" y="768"/>
                  </a:lnTo>
                  <a:lnTo>
                    <a:pt x="1758" y="780"/>
                  </a:lnTo>
                  <a:lnTo>
                    <a:pt x="1770" y="780"/>
                  </a:lnTo>
                  <a:lnTo>
                    <a:pt x="1776" y="780"/>
                  </a:lnTo>
                  <a:lnTo>
                    <a:pt x="1782" y="780"/>
                  </a:lnTo>
                  <a:lnTo>
                    <a:pt x="1800" y="798"/>
                  </a:lnTo>
                  <a:lnTo>
                    <a:pt x="1818" y="810"/>
                  </a:lnTo>
                  <a:lnTo>
                    <a:pt x="1830" y="816"/>
                  </a:lnTo>
                  <a:lnTo>
                    <a:pt x="1836" y="822"/>
                  </a:lnTo>
                  <a:lnTo>
                    <a:pt x="1836" y="828"/>
                  </a:lnTo>
                  <a:lnTo>
                    <a:pt x="1842" y="828"/>
                  </a:lnTo>
                  <a:lnTo>
                    <a:pt x="1848" y="834"/>
                  </a:lnTo>
                  <a:lnTo>
                    <a:pt x="1854" y="840"/>
                  </a:lnTo>
                  <a:lnTo>
                    <a:pt x="1860" y="846"/>
                  </a:lnTo>
                  <a:lnTo>
                    <a:pt x="1872" y="852"/>
                  </a:lnTo>
                  <a:lnTo>
                    <a:pt x="1884" y="852"/>
                  </a:lnTo>
                  <a:lnTo>
                    <a:pt x="1896" y="852"/>
                  </a:lnTo>
                  <a:lnTo>
                    <a:pt x="1902" y="846"/>
                  </a:lnTo>
                  <a:lnTo>
                    <a:pt x="1908" y="852"/>
                  </a:lnTo>
                  <a:lnTo>
                    <a:pt x="1920" y="858"/>
                  </a:lnTo>
                  <a:lnTo>
                    <a:pt x="1926" y="870"/>
                  </a:lnTo>
                  <a:lnTo>
                    <a:pt x="1938" y="888"/>
                  </a:lnTo>
                  <a:lnTo>
                    <a:pt x="1944" y="900"/>
                  </a:lnTo>
                  <a:lnTo>
                    <a:pt x="1950" y="900"/>
                  </a:lnTo>
                  <a:lnTo>
                    <a:pt x="1962" y="906"/>
                  </a:lnTo>
                  <a:lnTo>
                    <a:pt x="1968" y="906"/>
                  </a:lnTo>
                  <a:lnTo>
                    <a:pt x="1980" y="906"/>
                  </a:lnTo>
                  <a:lnTo>
                    <a:pt x="1998" y="906"/>
                  </a:lnTo>
                  <a:lnTo>
                    <a:pt x="2010" y="900"/>
                  </a:lnTo>
                  <a:lnTo>
                    <a:pt x="2022" y="900"/>
                  </a:lnTo>
                  <a:lnTo>
                    <a:pt x="2028" y="900"/>
                  </a:lnTo>
                  <a:lnTo>
                    <a:pt x="2034" y="906"/>
                  </a:lnTo>
                  <a:lnTo>
                    <a:pt x="2046" y="906"/>
                  </a:lnTo>
                  <a:lnTo>
                    <a:pt x="2052" y="900"/>
                  </a:lnTo>
                  <a:lnTo>
                    <a:pt x="2058" y="900"/>
                  </a:lnTo>
                  <a:lnTo>
                    <a:pt x="2064" y="900"/>
                  </a:lnTo>
                  <a:lnTo>
                    <a:pt x="2070" y="900"/>
                  </a:lnTo>
                  <a:lnTo>
                    <a:pt x="2076" y="900"/>
                  </a:lnTo>
                  <a:lnTo>
                    <a:pt x="2076" y="906"/>
                  </a:lnTo>
                  <a:lnTo>
                    <a:pt x="2088" y="906"/>
                  </a:lnTo>
                  <a:lnTo>
                    <a:pt x="2106" y="900"/>
                  </a:lnTo>
                  <a:lnTo>
                    <a:pt x="2118" y="900"/>
                  </a:lnTo>
                  <a:lnTo>
                    <a:pt x="2130" y="900"/>
                  </a:lnTo>
                  <a:lnTo>
                    <a:pt x="2142" y="900"/>
                  </a:lnTo>
                  <a:lnTo>
                    <a:pt x="2148" y="906"/>
                  </a:lnTo>
                  <a:lnTo>
                    <a:pt x="2154" y="906"/>
                  </a:lnTo>
                  <a:lnTo>
                    <a:pt x="2160" y="906"/>
                  </a:lnTo>
                  <a:lnTo>
                    <a:pt x="2166" y="906"/>
                  </a:lnTo>
                  <a:lnTo>
                    <a:pt x="2178" y="918"/>
                  </a:lnTo>
                  <a:lnTo>
                    <a:pt x="2178" y="924"/>
                  </a:lnTo>
                  <a:lnTo>
                    <a:pt x="2184" y="924"/>
                  </a:lnTo>
                  <a:lnTo>
                    <a:pt x="2190" y="924"/>
                  </a:lnTo>
                  <a:lnTo>
                    <a:pt x="2196" y="924"/>
                  </a:lnTo>
                  <a:lnTo>
                    <a:pt x="2202" y="918"/>
                  </a:lnTo>
                  <a:lnTo>
                    <a:pt x="2208" y="918"/>
                  </a:lnTo>
                  <a:lnTo>
                    <a:pt x="2214" y="918"/>
                  </a:lnTo>
                  <a:lnTo>
                    <a:pt x="2226" y="918"/>
                  </a:lnTo>
                  <a:lnTo>
                    <a:pt x="2220" y="948"/>
                  </a:lnTo>
                  <a:lnTo>
                    <a:pt x="2214" y="972"/>
                  </a:lnTo>
                  <a:lnTo>
                    <a:pt x="2214" y="984"/>
                  </a:lnTo>
                  <a:lnTo>
                    <a:pt x="2208" y="990"/>
                  </a:lnTo>
                  <a:lnTo>
                    <a:pt x="2208" y="996"/>
                  </a:lnTo>
                  <a:lnTo>
                    <a:pt x="2202" y="996"/>
                  </a:lnTo>
                  <a:lnTo>
                    <a:pt x="2196" y="996"/>
                  </a:lnTo>
                  <a:lnTo>
                    <a:pt x="2190" y="1008"/>
                  </a:lnTo>
                  <a:lnTo>
                    <a:pt x="2172" y="1074"/>
                  </a:lnTo>
                  <a:lnTo>
                    <a:pt x="2166" y="1092"/>
                  </a:lnTo>
                  <a:lnTo>
                    <a:pt x="2172" y="1110"/>
                  </a:lnTo>
                  <a:lnTo>
                    <a:pt x="2172" y="1122"/>
                  </a:lnTo>
                  <a:lnTo>
                    <a:pt x="2166" y="1134"/>
                  </a:lnTo>
                  <a:lnTo>
                    <a:pt x="2148" y="1140"/>
                  </a:lnTo>
                  <a:lnTo>
                    <a:pt x="2148" y="1134"/>
                  </a:lnTo>
                  <a:lnTo>
                    <a:pt x="2118" y="1140"/>
                  </a:lnTo>
                  <a:lnTo>
                    <a:pt x="2088" y="1134"/>
                  </a:lnTo>
                  <a:lnTo>
                    <a:pt x="2064" y="1122"/>
                  </a:lnTo>
                  <a:lnTo>
                    <a:pt x="2034" y="1122"/>
                  </a:lnTo>
                  <a:lnTo>
                    <a:pt x="2022" y="1128"/>
                  </a:lnTo>
                  <a:lnTo>
                    <a:pt x="1986" y="1128"/>
                  </a:lnTo>
                  <a:lnTo>
                    <a:pt x="1938" y="1122"/>
                  </a:lnTo>
                  <a:lnTo>
                    <a:pt x="1932" y="1116"/>
                  </a:lnTo>
                  <a:lnTo>
                    <a:pt x="1896" y="1110"/>
                  </a:lnTo>
                  <a:lnTo>
                    <a:pt x="1878" y="1104"/>
                  </a:lnTo>
                  <a:lnTo>
                    <a:pt x="1866" y="1098"/>
                  </a:lnTo>
                  <a:lnTo>
                    <a:pt x="1860" y="1098"/>
                  </a:lnTo>
                  <a:lnTo>
                    <a:pt x="1854" y="1092"/>
                  </a:lnTo>
                  <a:lnTo>
                    <a:pt x="1860" y="1092"/>
                  </a:lnTo>
                  <a:lnTo>
                    <a:pt x="1860" y="1086"/>
                  </a:lnTo>
                  <a:lnTo>
                    <a:pt x="1854" y="1086"/>
                  </a:lnTo>
                  <a:lnTo>
                    <a:pt x="1842" y="1080"/>
                  </a:lnTo>
                  <a:lnTo>
                    <a:pt x="1818" y="1062"/>
                  </a:lnTo>
                  <a:lnTo>
                    <a:pt x="1782" y="1056"/>
                  </a:lnTo>
                  <a:lnTo>
                    <a:pt x="1770" y="1068"/>
                  </a:lnTo>
                  <a:lnTo>
                    <a:pt x="1746" y="1098"/>
                  </a:lnTo>
                  <a:lnTo>
                    <a:pt x="1722" y="1104"/>
                  </a:lnTo>
                  <a:lnTo>
                    <a:pt x="1710" y="1122"/>
                  </a:lnTo>
                  <a:lnTo>
                    <a:pt x="1710" y="1128"/>
                  </a:lnTo>
                  <a:lnTo>
                    <a:pt x="1710" y="1140"/>
                  </a:lnTo>
                  <a:lnTo>
                    <a:pt x="1698" y="1146"/>
                  </a:lnTo>
                  <a:lnTo>
                    <a:pt x="1686" y="1152"/>
                  </a:lnTo>
                  <a:lnTo>
                    <a:pt x="1680" y="1164"/>
                  </a:lnTo>
                  <a:lnTo>
                    <a:pt x="1680" y="1170"/>
                  </a:lnTo>
                  <a:lnTo>
                    <a:pt x="1686" y="1170"/>
                  </a:lnTo>
                  <a:lnTo>
                    <a:pt x="1686" y="1176"/>
                  </a:lnTo>
                  <a:lnTo>
                    <a:pt x="1698" y="1188"/>
                  </a:lnTo>
                  <a:lnTo>
                    <a:pt x="1704" y="1188"/>
                  </a:lnTo>
                  <a:lnTo>
                    <a:pt x="1698" y="1194"/>
                  </a:lnTo>
                  <a:lnTo>
                    <a:pt x="1704" y="1194"/>
                  </a:lnTo>
                  <a:lnTo>
                    <a:pt x="1704" y="1200"/>
                  </a:lnTo>
                  <a:lnTo>
                    <a:pt x="1704" y="1206"/>
                  </a:lnTo>
                  <a:lnTo>
                    <a:pt x="1704" y="1212"/>
                  </a:lnTo>
                  <a:lnTo>
                    <a:pt x="1704" y="1218"/>
                  </a:lnTo>
                  <a:lnTo>
                    <a:pt x="1710" y="1218"/>
                  </a:lnTo>
                  <a:lnTo>
                    <a:pt x="1710" y="1212"/>
                  </a:lnTo>
                  <a:lnTo>
                    <a:pt x="1716" y="1212"/>
                  </a:lnTo>
                  <a:lnTo>
                    <a:pt x="1716" y="1218"/>
                  </a:lnTo>
                  <a:lnTo>
                    <a:pt x="1716" y="1224"/>
                  </a:lnTo>
                  <a:lnTo>
                    <a:pt x="1716" y="1230"/>
                  </a:lnTo>
                  <a:lnTo>
                    <a:pt x="1722" y="1236"/>
                  </a:lnTo>
                  <a:lnTo>
                    <a:pt x="1740" y="1230"/>
                  </a:lnTo>
                  <a:lnTo>
                    <a:pt x="1734" y="1236"/>
                  </a:lnTo>
                  <a:lnTo>
                    <a:pt x="1734" y="1242"/>
                  </a:lnTo>
                  <a:lnTo>
                    <a:pt x="1734" y="1248"/>
                  </a:lnTo>
                  <a:lnTo>
                    <a:pt x="1734" y="1254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52" y="1266"/>
                  </a:lnTo>
                  <a:lnTo>
                    <a:pt x="1764" y="1266"/>
                  </a:lnTo>
                  <a:lnTo>
                    <a:pt x="1788" y="1260"/>
                  </a:lnTo>
                  <a:lnTo>
                    <a:pt x="1800" y="1260"/>
                  </a:lnTo>
                  <a:lnTo>
                    <a:pt x="1806" y="1272"/>
                  </a:lnTo>
                  <a:lnTo>
                    <a:pt x="1806" y="1296"/>
                  </a:lnTo>
                  <a:lnTo>
                    <a:pt x="1800" y="1308"/>
                  </a:lnTo>
                  <a:lnTo>
                    <a:pt x="1788" y="1308"/>
                  </a:lnTo>
                  <a:lnTo>
                    <a:pt x="1782" y="13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7" name="Freeform 32">
              <a:extLst>
                <a:ext uri="{FF2B5EF4-FFF2-40B4-BE49-F238E27FC236}">
                  <a16:creationId xmlns:a16="http://schemas.microsoft.com/office/drawing/2014/main" id="{1EF84438-BF7A-47D2-9156-E231EA2A279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3295" y="2316568"/>
              <a:ext cx="1290281" cy="1084704"/>
            </a:xfrm>
            <a:custGeom>
              <a:avLst/>
              <a:gdLst>
                <a:gd name="T0" fmla="*/ 177 w 2430"/>
                <a:gd name="T1" fmla="*/ 169 h 2040"/>
                <a:gd name="T2" fmla="*/ 174 w 2430"/>
                <a:gd name="T3" fmla="*/ 173 h 2040"/>
                <a:gd name="T4" fmla="*/ 169 w 2430"/>
                <a:gd name="T5" fmla="*/ 171 h 2040"/>
                <a:gd name="T6" fmla="*/ 160 w 2430"/>
                <a:gd name="T7" fmla="*/ 163 h 2040"/>
                <a:gd name="T8" fmla="*/ 154 w 2430"/>
                <a:gd name="T9" fmla="*/ 149 h 2040"/>
                <a:gd name="T10" fmla="*/ 144 w 2430"/>
                <a:gd name="T11" fmla="*/ 147 h 2040"/>
                <a:gd name="T12" fmla="*/ 133 w 2430"/>
                <a:gd name="T13" fmla="*/ 146 h 2040"/>
                <a:gd name="T14" fmla="*/ 121 w 2430"/>
                <a:gd name="T15" fmla="*/ 145 h 2040"/>
                <a:gd name="T16" fmla="*/ 110 w 2430"/>
                <a:gd name="T17" fmla="*/ 137 h 2040"/>
                <a:gd name="T18" fmla="*/ 97 w 2430"/>
                <a:gd name="T19" fmla="*/ 131 h 2040"/>
                <a:gd name="T20" fmla="*/ 87 w 2430"/>
                <a:gd name="T21" fmla="*/ 125 h 2040"/>
                <a:gd name="T22" fmla="*/ 75 w 2430"/>
                <a:gd name="T23" fmla="*/ 122 h 2040"/>
                <a:gd name="T24" fmla="*/ 65 w 2430"/>
                <a:gd name="T25" fmla="*/ 122 h 2040"/>
                <a:gd name="T26" fmla="*/ 59 w 2430"/>
                <a:gd name="T27" fmla="*/ 115 h 2040"/>
                <a:gd name="T28" fmla="*/ 50 w 2430"/>
                <a:gd name="T29" fmla="*/ 107 h 2040"/>
                <a:gd name="T30" fmla="*/ 28 w 2430"/>
                <a:gd name="T31" fmla="*/ 84 h 2040"/>
                <a:gd name="T32" fmla="*/ 22 w 2430"/>
                <a:gd name="T33" fmla="*/ 82 h 2040"/>
                <a:gd name="T34" fmla="*/ 20 w 2430"/>
                <a:gd name="T35" fmla="*/ 79 h 2040"/>
                <a:gd name="T36" fmla="*/ 16 w 2430"/>
                <a:gd name="T37" fmla="*/ 76 h 2040"/>
                <a:gd name="T38" fmla="*/ 11 w 2430"/>
                <a:gd name="T39" fmla="*/ 74 h 2040"/>
                <a:gd name="T40" fmla="*/ 7 w 2430"/>
                <a:gd name="T41" fmla="*/ 69 h 2040"/>
                <a:gd name="T42" fmla="*/ 0 w 2430"/>
                <a:gd name="T43" fmla="*/ 60 h 2040"/>
                <a:gd name="T44" fmla="*/ 10 w 2430"/>
                <a:gd name="T45" fmla="*/ 53 h 2040"/>
                <a:gd name="T46" fmla="*/ 15 w 2430"/>
                <a:gd name="T47" fmla="*/ 40 h 2040"/>
                <a:gd name="T48" fmla="*/ 9 w 2430"/>
                <a:gd name="T49" fmla="*/ 29 h 2040"/>
                <a:gd name="T50" fmla="*/ 7 w 2430"/>
                <a:gd name="T51" fmla="*/ 16 h 2040"/>
                <a:gd name="T52" fmla="*/ 18 w 2430"/>
                <a:gd name="T53" fmla="*/ 21 h 2040"/>
                <a:gd name="T54" fmla="*/ 48 w 2430"/>
                <a:gd name="T55" fmla="*/ 27 h 2040"/>
                <a:gd name="T56" fmla="*/ 62 w 2430"/>
                <a:gd name="T57" fmla="*/ 25 h 2040"/>
                <a:gd name="T58" fmla="*/ 59 w 2430"/>
                <a:gd name="T59" fmla="*/ 42 h 2040"/>
                <a:gd name="T60" fmla="*/ 54 w 2430"/>
                <a:gd name="T61" fmla="*/ 65 h 2040"/>
                <a:gd name="T62" fmla="*/ 65 w 2430"/>
                <a:gd name="T63" fmla="*/ 60 h 2040"/>
                <a:gd name="T64" fmla="*/ 68 w 2430"/>
                <a:gd name="T65" fmla="*/ 40 h 2040"/>
                <a:gd name="T66" fmla="*/ 75 w 2430"/>
                <a:gd name="T67" fmla="*/ 36 h 2040"/>
                <a:gd name="T68" fmla="*/ 83 w 2430"/>
                <a:gd name="T69" fmla="*/ 29 h 2040"/>
                <a:gd name="T70" fmla="*/ 81 w 2430"/>
                <a:gd name="T71" fmla="*/ 17 h 2040"/>
                <a:gd name="T72" fmla="*/ 66 w 2430"/>
                <a:gd name="T73" fmla="*/ 7 h 2040"/>
                <a:gd name="T74" fmla="*/ 80 w 2430"/>
                <a:gd name="T75" fmla="*/ 5 h 2040"/>
                <a:gd name="T76" fmla="*/ 89 w 2430"/>
                <a:gd name="T77" fmla="*/ 1 h 2040"/>
                <a:gd name="T78" fmla="*/ 101 w 2430"/>
                <a:gd name="T79" fmla="*/ 10 h 2040"/>
                <a:gd name="T80" fmla="*/ 103 w 2430"/>
                <a:gd name="T81" fmla="*/ 18 h 2040"/>
                <a:gd name="T82" fmla="*/ 110 w 2430"/>
                <a:gd name="T83" fmla="*/ 23 h 2040"/>
                <a:gd name="T84" fmla="*/ 121 w 2430"/>
                <a:gd name="T85" fmla="*/ 20 h 2040"/>
                <a:gd name="T86" fmla="*/ 129 w 2430"/>
                <a:gd name="T87" fmla="*/ 15 h 2040"/>
                <a:gd name="T88" fmla="*/ 142 w 2430"/>
                <a:gd name="T89" fmla="*/ 23 h 2040"/>
                <a:gd name="T90" fmla="*/ 141 w 2430"/>
                <a:gd name="T91" fmla="*/ 30 h 2040"/>
                <a:gd name="T92" fmla="*/ 140 w 2430"/>
                <a:gd name="T93" fmla="*/ 38 h 2040"/>
                <a:gd name="T94" fmla="*/ 139 w 2430"/>
                <a:gd name="T95" fmla="*/ 46 h 2040"/>
                <a:gd name="T96" fmla="*/ 147 w 2430"/>
                <a:gd name="T97" fmla="*/ 54 h 2040"/>
                <a:gd name="T98" fmla="*/ 152 w 2430"/>
                <a:gd name="T99" fmla="*/ 50 h 2040"/>
                <a:gd name="T100" fmla="*/ 159 w 2430"/>
                <a:gd name="T101" fmla="*/ 43 h 2040"/>
                <a:gd name="T102" fmla="*/ 174 w 2430"/>
                <a:gd name="T103" fmla="*/ 41 h 2040"/>
                <a:gd name="T104" fmla="*/ 190 w 2430"/>
                <a:gd name="T105" fmla="*/ 57 h 2040"/>
                <a:gd name="T106" fmla="*/ 187 w 2430"/>
                <a:gd name="T107" fmla="*/ 66 h 2040"/>
                <a:gd name="T108" fmla="*/ 183 w 2430"/>
                <a:gd name="T109" fmla="*/ 72 h 2040"/>
                <a:gd name="T110" fmla="*/ 194 w 2430"/>
                <a:gd name="T111" fmla="*/ 73 h 2040"/>
                <a:gd name="T112" fmla="*/ 202 w 2430"/>
                <a:gd name="T113" fmla="*/ 74 h 2040"/>
                <a:gd name="T114" fmla="*/ 204 w 2430"/>
                <a:gd name="T115" fmla="*/ 89 h 2040"/>
                <a:gd name="T116" fmla="*/ 208 w 2430"/>
                <a:gd name="T117" fmla="*/ 99 h 2040"/>
                <a:gd name="T118" fmla="*/ 203 w 2430"/>
                <a:gd name="T119" fmla="*/ 103 h 2040"/>
                <a:gd name="T120" fmla="*/ 209 w 2430"/>
                <a:gd name="T121" fmla="*/ 111 h 2040"/>
                <a:gd name="T122" fmla="*/ 204 w 2430"/>
                <a:gd name="T123" fmla="*/ 124 h 2040"/>
                <a:gd name="T124" fmla="*/ 190 w 2430"/>
                <a:gd name="T125" fmla="*/ 117 h 20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30"/>
                <a:gd name="T190" fmla="*/ 0 h 2040"/>
                <a:gd name="T191" fmla="*/ 2430 w 2430"/>
                <a:gd name="T192" fmla="*/ 2040 h 20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30" h="2040">
                  <a:moveTo>
                    <a:pt x="2076" y="1896"/>
                  </a:moveTo>
                  <a:lnTo>
                    <a:pt x="2070" y="1896"/>
                  </a:lnTo>
                  <a:lnTo>
                    <a:pt x="2070" y="1902"/>
                  </a:lnTo>
                  <a:lnTo>
                    <a:pt x="2076" y="1902"/>
                  </a:lnTo>
                  <a:lnTo>
                    <a:pt x="2082" y="1902"/>
                  </a:lnTo>
                  <a:lnTo>
                    <a:pt x="2082" y="1908"/>
                  </a:lnTo>
                  <a:lnTo>
                    <a:pt x="2076" y="1908"/>
                  </a:lnTo>
                  <a:lnTo>
                    <a:pt x="2076" y="1914"/>
                  </a:lnTo>
                  <a:lnTo>
                    <a:pt x="2070" y="1920"/>
                  </a:lnTo>
                  <a:lnTo>
                    <a:pt x="2064" y="1932"/>
                  </a:lnTo>
                  <a:lnTo>
                    <a:pt x="2064" y="1938"/>
                  </a:lnTo>
                  <a:lnTo>
                    <a:pt x="2058" y="1938"/>
                  </a:lnTo>
                  <a:lnTo>
                    <a:pt x="2052" y="1944"/>
                  </a:lnTo>
                  <a:lnTo>
                    <a:pt x="2052" y="1950"/>
                  </a:lnTo>
                  <a:lnTo>
                    <a:pt x="2040" y="1944"/>
                  </a:lnTo>
                  <a:lnTo>
                    <a:pt x="2040" y="1950"/>
                  </a:lnTo>
                  <a:lnTo>
                    <a:pt x="2034" y="1956"/>
                  </a:lnTo>
                  <a:lnTo>
                    <a:pt x="2034" y="1962"/>
                  </a:lnTo>
                  <a:lnTo>
                    <a:pt x="2028" y="1962"/>
                  </a:lnTo>
                  <a:lnTo>
                    <a:pt x="2022" y="1962"/>
                  </a:lnTo>
                  <a:lnTo>
                    <a:pt x="2022" y="1968"/>
                  </a:lnTo>
                  <a:lnTo>
                    <a:pt x="2028" y="1974"/>
                  </a:lnTo>
                  <a:lnTo>
                    <a:pt x="2034" y="1980"/>
                  </a:lnTo>
                  <a:lnTo>
                    <a:pt x="2028" y="1986"/>
                  </a:lnTo>
                  <a:lnTo>
                    <a:pt x="2022" y="1992"/>
                  </a:lnTo>
                  <a:lnTo>
                    <a:pt x="2022" y="1986"/>
                  </a:lnTo>
                  <a:lnTo>
                    <a:pt x="2016" y="1986"/>
                  </a:lnTo>
                  <a:lnTo>
                    <a:pt x="2010" y="1980"/>
                  </a:lnTo>
                  <a:lnTo>
                    <a:pt x="2004" y="1980"/>
                  </a:lnTo>
                  <a:lnTo>
                    <a:pt x="2004" y="1986"/>
                  </a:lnTo>
                  <a:lnTo>
                    <a:pt x="2010" y="1992"/>
                  </a:lnTo>
                  <a:lnTo>
                    <a:pt x="2010" y="1998"/>
                  </a:lnTo>
                  <a:lnTo>
                    <a:pt x="2004" y="2004"/>
                  </a:lnTo>
                  <a:lnTo>
                    <a:pt x="1998" y="2004"/>
                  </a:lnTo>
                  <a:lnTo>
                    <a:pt x="1998" y="2022"/>
                  </a:lnTo>
                  <a:lnTo>
                    <a:pt x="1998" y="2028"/>
                  </a:lnTo>
                  <a:lnTo>
                    <a:pt x="1992" y="2034"/>
                  </a:lnTo>
                  <a:lnTo>
                    <a:pt x="1992" y="2040"/>
                  </a:lnTo>
                  <a:lnTo>
                    <a:pt x="1986" y="2040"/>
                  </a:lnTo>
                  <a:lnTo>
                    <a:pt x="1986" y="2034"/>
                  </a:lnTo>
                  <a:lnTo>
                    <a:pt x="1980" y="2028"/>
                  </a:lnTo>
                  <a:lnTo>
                    <a:pt x="1980" y="2022"/>
                  </a:lnTo>
                  <a:lnTo>
                    <a:pt x="1968" y="2016"/>
                  </a:lnTo>
                  <a:lnTo>
                    <a:pt x="1962" y="2010"/>
                  </a:lnTo>
                  <a:lnTo>
                    <a:pt x="1956" y="2004"/>
                  </a:lnTo>
                  <a:lnTo>
                    <a:pt x="1950" y="1992"/>
                  </a:lnTo>
                  <a:lnTo>
                    <a:pt x="1950" y="1986"/>
                  </a:lnTo>
                  <a:lnTo>
                    <a:pt x="1950" y="1974"/>
                  </a:lnTo>
                  <a:lnTo>
                    <a:pt x="1944" y="1974"/>
                  </a:lnTo>
                  <a:lnTo>
                    <a:pt x="1932" y="1962"/>
                  </a:lnTo>
                  <a:lnTo>
                    <a:pt x="1932" y="1956"/>
                  </a:lnTo>
                  <a:lnTo>
                    <a:pt x="1932" y="1950"/>
                  </a:lnTo>
                  <a:lnTo>
                    <a:pt x="1920" y="1944"/>
                  </a:lnTo>
                  <a:lnTo>
                    <a:pt x="1914" y="1944"/>
                  </a:lnTo>
                  <a:lnTo>
                    <a:pt x="1908" y="1938"/>
                  </a:lnTo>
                  <a:lnTo>
                    <a:pt x="1902" y="1926"/>
                  </a:lnTo>
                  <a:lnTo>
                    <a:pt x="1890" y="1914"/>
                  </a:lnTo>
                  <a:lnTo>
                    <a:pt x="1884" y="1914"/>
                  </a:lnTo>
                  <a:lnTo>
                    <a:pt x="1878" y="1908"/>
                  </a:lnTo>
                  <a:lnTo>
                    <a:pt x="1872" y="1902"/>
                  </a:lnTo>
                  <a:lnTo>
                    <a:pt x="1872" y="1896"/>
                  </a:lnTo>
                  <a:lnTo>
                    <a:pt x="1866" y="1890"/>
                  </a:lnTo>
                  <a:lnTo>
                    <a:pt x="1854" y="1884"/>
                  </a:lnTo>
                  <a:lnTo>
                    <a:pt x="1848" y="1884"/>
                  </a:lnTo>
                  <a:lnTo>
                    <a:pt x="1842" y="1872"/>
                  </a:lnTo>
                  <a:lnTo>
                    <a:pt x="1836" y="1872"/>
                  </a:lnTo>
                  <a:lnTo>
                    <a:pt x="1830" y="1866"/>
                  </a:lnTo>
                  <a:lnTo>
                    <a:pt x="1830" y="1854"/>
                  </a:lnTo>
                  <a:lnTo>
                    <a:pt x="1824" y="1848"/>
                  </a:lnTo>
                  <a:lnTo>
                    <a:pt x="1818" y="1830"/>
                  </a:lnTo>
                  <a:lnTo>
                    <a:pt x="1818" y="1818"/>
                  </a:lnTo>
                  <a:lnTo>
                    <a:pt x="1812" y="1800"/>
                  </a:lnTo>
                  <a:lnTo>
                    <a:pt x="1812" y="1788"/>
                  </a:lnTo>
                  <a:lnTo>
                    <a:pt x="1806" y="1776"/>
                  </a:lnTo>
                  <a:lnTo>
                    <a:pt x="1800" y="1764"/>
                  </a:lnTo>
                  <a:lnTo>
                    <a:pt x="1794" y="1758"/>
                  </a:lnTo>
                  <a:lnTo>
                    <a:pt x="1782" y="1740"/>
                  </a:lnTo>
                  <a:lnTo>
                    <a:pt x="1776" y="1728"/>
                  </a:lnTo>
                  <a:lnTo>
                    <a:pt x="1776" y="1722"/>
                  </a:lnTo>
                  <a:lnTo>
                    <a:pt x="1770" y="1722"/>
                  </a:lnTo>
                  <a:lnTo>
                    <a:pt x="1770" y="1716"/>
                  </a:lnTo>
                  <a:lnTo>
                    <a:pt x="1764" y="1716"/>
                  </a:lnTo>
                  <a:lnTo>
                    <a:pt x="1758" y="1710"/>
                  </a:lnTo>
                  <a:lnTo>
                    <a:pt x="1752" y="1704"/>
                  </a:lnTo>
                  <a:lnTo>
                    <a:pt x="1746" y="1704"/>
                  </a:lnTo>
                  <a:lnTo>
                    <a:pt x="1740" y="1704"/>
                  </a:lnTo>
                  <a:lnTo>
                    <a:pt x="1734" y="1704"/>
                  </a:lnTo>
                  <a:lnTo>
                    <a:pt x="1734" y="1698"/>
                  </a:lnTo>
                  <a:lnTo>
                    <a:pt x="1728" y="1692"/>
                  </a:lnTo>
                  <a:lnTo>
                    <a:pt x="1722" y="1686"/>
                  </a:lnTo>
                  <a:lnTo>
                    <a:pt x="1716" y="1686"/>
                  </a:lnTo>
                  <a:lnTo>
                    <a:pt x="1698" y="1686"/>
                  </a:lnTo>
                  <a:lnTo>
                    <a:pt x="1692" y="1692"/>
                  </a:lnTo>
                  <a:lnTo>
                    <a:pt x="1680" y="1692"/>
                  </a:lnTo>
                  <a:lnTo>
                    <a:pt x="1668" y="1692"/>
                  </a:lnTo>
                  <a:lnTo>
                    <a:pt x="1662" y="1692"/>
                  </a:lnTo>
                  <a:lnTo>
                    <a:pt x="1656" y="1692"/>
                  </a:lnTo>
                  <a:lnTo>
                    <a:pt x="1650" y="1698"/>
                  </a:lnTo>
                  <a:lnTo>
                    <a:pt x="1644" y="1698"/>
                  </a:lnTo>
                  <a:lnTo>
                    <a:pt x="1638" y="1698"/>
                  </a:lnTo>
                  <a:lnTo>
                    <a:pt x="1632" y="1698"/>
                  </a:lnTo>
                  <a:lnTo>
                    <a:pt x="1632" y="1692"/>
                  </a:lnTo>
                  <a:lnTo>
                    <a:pt x="1620" y="1680"/>
                  </a:lnTo>
                  <a:lnTo>
                    <a:pt x="1614" y="1680"/>
                  </a:lnTo>
                  <a:lnTo>
                    <a:pt x="1608" y="1680"/>
                  </a:lnTo>
                  <a:lnTo>
                    <a:pt x="1602" y="1680"/>
                  </a:lnTo>
                  <a:lnTo>
                    <a:pt x="1596" y="1674"/>
                  </a:lnTo>
                  <a:lnTo>
                    <a:pt x="1584" y="1674"/>
                  </a:lnTo>
                  <a:lnTo>
                    <a:pt x="1572" y="1674"/>
                  </a:lnTo>
                  <a:lnTo>
                    <a:pt x="1560" y="1674"/>
                  </a:lnTo>
                  <a:lnTo>
                    <a:pt x="1542" y="1680"/>
                  </a:lnTo>
                  <a:lnTo>
                    <a:pt x="1530" y="1680"/>
                  </a:lnTo>
                  <a:lnTo>
                    <a:pt x="1530" y="1674"/>
                  </a:lnTo>
                  <a:lnTo>
                    <a:pt x="1524" y="1674"/>
                  </a:lnTo>
                  <a:lnTo>
                    <a:pt x="1518" y="1674"/>
                  </a:lnTo>
                  <a:lnTo>
                    <a:pt x="1512" y="1674"/>
                  </a:lnTo>
                  <a:lnTo>
                    <a:pt x="1506" y="1674"/>
                  </a:lnTo>
                  <a:lnTo>
                    <a:pt x="1500" y="1680"/>
                  </a:lnTo>
                  <a:lnTo>
                    <a:pt x="1488" y="1680"/>
                  </a:lnTo>
                  <a:lnTo>
                    <a:pt x="1482" y="1674"/>
                  </a:lnTo>
                  <a:lnTo>
                    <a:pt x="1476" y="1674"/>
                  </a:lnTo>
                  <a:lnTo>
                    <a:pt x="1464" y="1674"/>
                  </a:lnTo>
                  <a:lnTo>
                    <a:pt x="1452" y="1680"/>
                  </a:lnTo>
                  <a:lnTo>
                    <a:pt x="1434" y="1680"/>
                  </a:lnTo>
                  <a:lnTo>
                    <a:pt x="1422" y="1680"/>
                  </a:lnTo>
                  <a:lnTo>
                    <a:pt x="1416" y="1680"/>
                  </a:lnTo>
                  <a:lnTo>
                    <a:pt x="1404" y="1674"/>
                  </a:lnTo>
                  <a:lnTo>
                    <a:pt x="1398" y="1674"/>
                  </a:lnTo>
                  <a:lnTo>
                    <a:pt x="1392" y="1662"/>
                  </a:lnTo>
                  <a:lnTo>
                    <a:pt x="1380" y="1644"/>
                  </a:lnTo>
                  <a:lnTo>
                    <a:pt x="1374" y="1632"/>
                  </a:lnTo>
                  <a:lnTo>
                    <a:pt x="1362" y="1626"/>
                  </a:lnTo>
                  <a:lnTo>
                    <a:pt x="1356" y="1620"/>
                  </a:lnTo>
                  <a:lnTo>
                    <a:pt x="1350" y="1626"/>
                  </a:lnTo>
                  <a:lnTo>
                    <a:pt x="1338" y="1626"/>
                  </a:lnTo>
                  <a:lnTo>
                    <a:pt x="1326" y="1626"/>
                  </a:lnTo>
                  <a:lnTo>
                    <a:pt x="1314" y="1620"/>
                  </a:lnTo>
                  <a:lnTo>
                    <a:pt x="1308" y="1614"/>
                  </a:lnTo>
                  <a:lnTo>
                    <a:pt x="1302" y="1608"/>
                  </a:lnTo>
                  <a:lnTo>
                    <a:pt x="1296" y="1602"/>
                  </a:lnTo>
                  <a:lnTo>
                    <a:pt x="1290" y="1602"/>
                  </a:lnTo>
                  <a:lnTo>
                    <a:pt x="1290" y="1596"/>
                  </a:lnTo>
                  <a:lnTo>
                    <a:pt x="1284" y="1590"/>
                  </a:lnTo>
                  <a:lnTo>
                    <a:pt x="1272" y="1584"/>
                  </a:lnTo>
                  <a:lnTo>
                    <a:pt x="1254" y="1572"/>
                  </a:lnTo>
                  <a:lnTo>
                    <a:pt x="1236" y="1554"/>
                  </a:lnTo>
                  <a:lnTo>
                    <a:pt x="1230" y="1554"/>
                  </a:lnTo>
                  <a:lnTo>
                    <a:pt x="1224" y="1554"/>
                  </a:lnTo>
                  <a:lnTo>
                    <a:pt x="1212" y="1554"/>
                  </a:lnTo>
                  <a:lnTo>
                    <a:pt x="1194" y="1542"/>
                  </a:lnTo>
                  <a:lnTo>
                    <a:pt x="1188" y="1536"/>
                  </a:lnTo>
                  <a:lnTo>
                    <a:pt x="1182" y="1530"/>
                  </a:lnTo>
                  <a:lnTo>
                    <a:pt x="1176" y="1530"/>
                  </a:lnTo>
                  <a:lnTo>
                    <a:pt x="1170" y="1530"/>
                  </a:lnTo>
                  <a:lnTo>
                    <a:pt x="1158" y="1524"/>
                  </a:lnTo>
                  <a:lnTo>
                    <a:pt x="1152" y="1524"/>
                  </a:lnTo>
                  <a:lnTo>
                    <a:pt x="1140" y="1518"/>
                  </a:lnTo>
                  <a:lnTo>
                    <a:pt x="1128" y="1518"/>
                  </a:lnTo>
                  <a:lnTo>
                    <a:pt x="1122" y="1518"/>
                  </a:lnTo>
                  <a:lnTo>
                    <a:pt x="1116" y="1518"/>
                  </a:lnTo>
                  <a:lnTo>
                    <a:pt x="1104" y="1518"/>
                  </a:lnTo>
                  <a:lnTo>
                    <a:pt x="1092" y="1518"/>
                  </a:lnTo>
                  <a:lnTo>
                    <a:pt x="1080" y="1518"/>
                  </a:lnTo>
                  <a:lnTo>
                    <a:pt x="1068" y="1518"/>
                  </a:lnTo>
                  <a:lnTo>
                    <a:pt x="1062" y="1518"/>
                  </a:lnTo>
                  <a:lnTo>
                    <a:pt x="1056" y="1518"/>
                  </a:lnTo>
                  <a:lnTo>
                    <a:pt x="1050" y="1512"/>
                  </a:lnTo>
                  <a:lnTo>
                    <a:pt x="1044" y="1512"/>
                  </a:lnTo>
                  <a:lnTo>
                    <a:pt x="1038" y="1512"/>
                  </a:lnTo>
                  <a:lnTo>
                    <a:pt x="1032" y="1506"/>
                  </a:lnTo>
                  <a:lnTo>
                    <a:pt x="1026" y="1500"/>
                  </a:lnTo>
                  <a:lnTo>
                    <a:pt x="1026" y="1494"/>
                  </a:lnTo>
                  <a:lnTo>
                    <a:pt x="1020" y="1476"/>
                  </a:lnTo>
                  <a:lnTo>
                    <a:pt x="1008" y="1464"/>
                  </a:lnTo>
                  <a:lnTo>
                    <a:pt x="1008" y="1458"/>
                  </a:lnTo>
                  <a:lnTo>
                    <a:pt x="1002" y="1446"/>
                  </a:lnTo>
                  <a:lnTo>
                    <a:pt x="996" y="1446"/>
                  </a:lnTo>
                  <a:lnTo>
                    <a:pt x="990" y="1440"/>
                  </a:lnTo>
                  <a:lnTo>
                    <a:pt x="984" y="1434"/>
                  </a:lnTo>
                  <a:lnTo>
                    <a:pt x="978" y="1434"/>
                  </a:lnTo>
                  <a:lnTo>
                    <a:pt x="972" y="1434"/>
                  </a:lnTo>
                  <a:lnTo>
                    <a:pt x="966" y="1428"/>
                  </a:lnTo>
                  <a:lnTo>
                    <a:pt x="954" y="1422"/>
                  </a:lnTo>
                  <a:lnTo>
                    <a:pt x="942" y="1416"/>
                  </a:lnTo>
                  <a:lnTo>
                    <a:pt x="924" y="1398"/>
                  </a:lnTo>
                  <a:lnTo>
                    <a:pt x="912" y="1386"/>
                  </a:lnTo>
                  <a:lnTo>
                    <a:pt x="900" y="1386"/>
                  </a:lnTo>
                  <a:lnTo>
                    <a:pt x="894" y="1386"/>
                  </a:lnTo>
                  <a:lnTo>
                    <a:pt x="882" y="1392"/>
                  </a:lnTo>
                  <a:lnTo>
                    <a:pt x="876" y="1392"/>
                  </a:lnTo>
                  <a:lnTo>
                    <a:pt x="864" y="1398"/>
                  </a:lnTo>
                  <a:lnTo>
                    <a:pt x="864" y="1404"/>
                  </a:lnTo>
                  <a:lnTo>
                    <a:pt x="858" y="1410"/>
                  </a:lnTo>
                  <a:lnTo>
                    <a:pt x="852" y="1410"/>
                  </a:lnTo>
                  <a:lnTo>
                    <a:pt x="846" y="1410"/>
                  </a:lnTo>
                  <a:lnTo>
                    <a:pt x="834" y="1410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10" y="1428"/>
                  </a:lnTo>
                  <a:lnTo>
                    <a:pt x="798" y="1428"/>
                  </a:lnTo>
                  <a:lnTo>
                    <a:pt x="792" y="1428"/>
                  </a:lnTo>
                  <a:lnTo>
                    <a:pt x="780" y="1434"/>
                  </a:lnTo>
                  <a:lnTo>
                    <a:pt x="774" y="1428"/>
                  </a:lnTo>
                  <a:lnTo>
                    <a:pt x="762" y="1428"/>
                  </a:lnTo>
                  <a:lnTo>
                    <a:pt x="756" y="1422"/>
                  </a:lnTo>
                  <a:lnTo>
                    <a:pt x="750" y="1416"/>
                  </a:lnTo>
                  <a:lnTo>
                    <a:pt x="744" y="1410"/>
                  </a:lnTo>
                  <a:lnTo>
                    <a:pt x="744" y="1398"/>
                  </a:lnTo>
                  <a:lnTo>
                    <a:pt x="744" y="1386"/>
                  </a:lnTo>
                  <a:lnTo>
                    <a:pt x="750" y="1380"/>
                  </a:lnTo>
                  <a:lnTo>
                    <a:pt x="750" y="1374"/>
                  </a:lnTo>
                  <a:lnTo>
                    <a:pt x="750" y="1368"/>
                  </a:lnTo>
                  <a:lnTo>
                    <a:pt x="756" y="1362"/>
                  </a:lnTo>
                  <a:lnTo>
                    <a:pt x="750" y="1350"/>
                  </a:lnTo>
                  <a:lnTo>
                    <a:pt x="744" y="1344"/>
                  </a:lnTo>
                  <a:lnTo>
                    <a:pt x="738" y="1338"/>
                  </a:lnTo>
                  <a:lnTo>
                    <a:pt x="726" y="1338"/>
                  </a:lnTo>
                  <a:lnTo>
                    <a:pt x="720" y="1338"/>
                  </a:lnTo>
                  <a:lnTo>
                    <a:pt x="714" y="1338"/>
                  </a:lnTo>
                  <a:lnTo>
                    <a:pt x="708" y="1332"/>
                  </a:lnTo>
                  <a:lnTo>
                    <a:pt x="702" y="1332"/>
                  </a:lnTo>
                  <a:lnTo>
                    <a:pt x="696" y="1326"/>
                  </a:lnTo>
                  <a:lnTo>
                    <a:pt x="684" y="1326"/>
                  </a:lnTo>
                  <a:lnTo>
                    <a:pt x="678" y="1326"/>
                  </a:lnTo>
                  <a:lnTo>
                    <a:pt x="672" y="1314"/>
                  </a:lnTo>
                  <a:lnTo>
                    <a:pt x="666" y="1308"/>
                  </a:lnTo>
                  <a:lnTo>
                    <a:pt x="654" y="1296"/>
                  </a:lnTo>
                  <a:lnTo>
                    <a:pt x="654" y="1290"/>
                  </a:lnTo>
                  <a:lnTo>
                    <a:pt x="630" y="1284"/>
                  </a:lnTo>
                  <a:lnTo>
                    <a:pt x="630" y="1278"/>
                  </a:lnTo>
                  <a:lnTo>
                    <a:pt x="624" y="1278"/>
                  </a:lnTo>
                  <a:lnTo>
                    <a:pt x="618" y="1266"/>
                  </a:lnTo>
                  <a:lnTo>
                    <a:pt x="612" y="1266"/>
                  </a:lnTo>
                  <a:lnTo>
                    <a:pt x="606" y="1266"/>
                  </a:lnTo>
                  <a:lnTo>
                    <a:pt x="606" y="1260"/>
                  </a:lnTo>
                  <a:lnTo>
                    <a:pt x="594" y="1248"/>
                  </a:lnTo>
                  <a:lnTo>
                    <a:pt x="582" y="1248"/>
                  </a:lnTo>
                  <a:lnTo>
                    <a:pt x="576" y="1242"/>
                  </a:lnTo>
                  <a:lnTo>
                    <a:pt x="570" y="1236"/>
                  </a:lnTo>
                  <a:lnTo>
                    <a:pt x="504" y="1164"/>
                  </a:lnTo>
                  <a:lnTo>
                    <a:pt x="450" y="1110"/>
                  </a:lnTo>
                  <a:lnTo>
                    <a:pt x="426" y="1092"/>
                  </a:lnTo>
                  <a:lnTo>
                    <a:pt x="426" y="1074"/>
                  </a:lnTo>
                  <a:lnTo>
                    <a:pt x="420" y="1062"/>
                  </a:lnTo>
                  <a:lnTo>
                    <a:pt x="396" y="1056"/>
                  </a:lnTo>
                  <a:lnTo>
                    <a:pt x="384" y="1032"/>
                  </a:lnTo>
                  <a:lnTo>
                    <a:pt x="372" y="1020"/>
                  </a:lnTo>
                  <a:lnTo>
                    <a:pt x="360" y="984"/>
                  </a:lnTo>
                  <a:lnTo>
                    <a:pt x="348" y="978"/>
                  </a:lnTo>
                  <a:lnTo>
                    <a:pt x="342" y="972"/>
                  </a:lnTo>
                  <a:lnTo>
                    <a:pt x="348" y="960"/>
                  </a:lnTo>
                  <a:lnTo>
                    <a:pt x="342" y="954"/>
                  </a:lnTo>
                  <a:lnTo>
                    <a:pt x="336" y="954"/>
                  </a:lnTo>
                  <a:lnTo>
                    <a:pt x="330" y="954"/>
                  </a:lnTo>
                  <a:lnTo>
                    <a:pt x="324" y="972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0" y="966"/>
                  </a:lnTo>
                  <a:lnTo>
                    <a:pt x="294" y="966"/>
                  </a:lnTo>
                  <a:lnTo>
                    <a:pt x="288" y="972"/>
                  </a:lnTo>
                  <a:lnTo>
                    <a:pt x="288" y="966"/>
                  </a:lnTo>
                  <a:lnTo>
                    <a:pt x="282" y="948"/>
                  </a:lnTo>
                  <a:lnTo>
                    <a:pt x="282" y="942"/>
                  </a:lnTo>
                  <a:lnTo>
                    <a:pt x="276" y="942"/>
                  </a:lnTo>
                  <a:lnTo>
                    <a:pt x="276" y="936"/>
                  </a:lnTo>
                  <a:lnTo>
                    <a:pt x="270" y="942"/>
                  </a:lnTo>
                  <a:lnTo>
                    <a:pt x="264" y="948"/>
                  </a:lnTo>
                  <a:lnTo>
                    <a:pt x="264" y="942"/>
                  </a:lnTo>
                  <a:lnTo>
                    <a:pt x="258" y="942"/>
                  </a:lnTo>
                  <a:lnTo>
                    <a:pt x="252" y="948"/>
                  </a:lnTo>
                  <a:lnTo>
                    <a:pt x="252" y="942"/>
                  </a:lnTo>
                  <a:lnTo>
                    <a:pt x="246" y="936"/>
                  </a:lnTo>
                  <a:lnTo>
                    <a:pt x="240" y="942"/>
                  </a:lnTo>
                  <a:lnTo>
                    <a:pt x="234" y="936"/>
                  </a:lnTo>
                  <a:lnTo>
                    <a:pt x="228" y="936"/>
                  </a:lnTo>
                  <a:lnTo>
                    <a:pt x="222" y="936"/>
                  </a:lnTo>
                  <a:lnTo>
                    <a:pt x="222" y="930"/>
                  </a:lnTo>
                  <a:lnTo>
                    <a:pt x="222" y="924"/>
                  </a:lnTo>
                  <a:lnTo>
                    <a:pt x="228" y="924"/>
                  </a:lnTo>
                  <a:lnTo>
                    <a:pt x="234" y="924"/>
                  </a:lnTo>
                  <a:lnTo>
                    <a:pt x="240" y="924"/>
                  </a:lnTo>
                  <a:lnTo>
                    <a:pt x="240" y="918"/>
                  </a:lnTo>
                  <a:lnTo>
                    <a:pt x="246" y="918"/>
                  </a:lnTo>
                  <a:lnTo>
                    <a:pt x="246" y="912"/>
                  </a:lnTo>
                  <a:lnTo>
                    <a:pt x="240" y="906"/>
                  </a:lnTo>
                  <a:lnTo>
                    <a:pt x="234" y="906"/>
                  </a:lnTo>
                  <a:lnTo>
                    <a:pt x="228" y="906"/>
                  </a:lnTo>
                  <a:lnTo>
                    <a:pt x="228" y="912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8" y="894"/>
                  </a:lnTo>
                  <a:lnTo>
                    <a:pt x="234" y="894"/>
                  </a:lnTo>
                  <a:lnTo>
                    <a:pt x="228" y="888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198" y="888"/>
                  </a:lnTo>
                  <a:lnTo>
                    <a:pt x="192" y="882"/>
                  </a:lnTo>
                  <a:lnTo>
                    <a:pt x="186" y="882"/>
                  </a:lnTo>
                  <a:lnTo>
                    <a:pt x="186" y="876"/>
                  </a:lnTo>
                  <a:lnTo>
                    <a:pt x="192" y="876"/>
                  </a:lnTo>
                  <a:lnTo>
                    <a:pt x="192" y="870"/>
                  </a:lnTo>
                  <a:lnTo>
                    <a:pt x="198" y="870"/>
                  </a:lnTo>
                  <a:lnTo>
                    <a:pt x="198" y="864"/>
                  </a:lnTo>
                  <a:lnTo>
                    <a:pt x="198" y="858"/>
                  </a:lnTo>
                  <a:lnTo>
                    <a:pt x="180" y="852"/>
                  </a:lnTo>
                  <a:lnTo>
                    <a:pt x="174" y="840"/>
                  </a:lnTo>
                  <a:lnTo>
                    <a:pt x="162" y="846"/>
                  </a:lnTo>
                  <a:lnTo>
                    <a:pt x="156" y="846"/>
                  </a:lnTo>
                  <a:lnTo>
                    <a:pt x="150" y="846"/>
                  </a:lnTo>
                  <a:lnTo>
                    <a:pt x="150" y="840"/>
                  </a:lnTo>
                  <a:lnTo>
                    <a:pt x="138" y="834"/>
                  </a:lnTo>
                  <a:lnTo>
                    <a:pt x="132" y="834"/>
                  </a:lnTo>
                  <a:lnTo>
                    <a:pt x="132" y="840"/>
                  </a:lnTo>
                  <a:lnTo>
                    <a:pt x="126" y="840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58"/>
                  </a:lnTo>
                  <a:lnTo>
                    <a:pt x="120" y="846"/>
                  </a:lnTo>
                  <a:lnTo>
                    <a:pt x="114" y="846"/>
                  </a:lnTo>
                  <a:lnTo>
                    <a:pt x="108" y="840"/>
                  </a:lnTo>
                  <a:lnTo>
                    <a:pt x="102" y="834"/>
                  </a:lnTo>
                  <a:lnTo>
                    <a:pt x="102" y="822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78" y="804"/>
                  </a:lnTo>
                  <a:lnTo>
                    <a:pt x="78" y="798"/>
                  </a:lnTo>
                  <a:lnTo>
                    <a:pt x="78" y="792"/>
                  </a:lnTo>
                  <a:lnTo>
                    <a:pt x="78" y="786"/>
                  </a:lnTo>
                  <a:lnTo>
                    <a:pt x="78" y="780"/>
                  </a:lnTo>
                  <a:lnTo>
                    <a:pt x="72" y="774"/>
                  </a:lnTo>
                  <a:lnTo>
                    <a:pt x="66" y="774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60" y="762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6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2" y="666"/>
                  </a:lnTo>
                  <a:lnTo>
                    <a:pt x="18" y="648"/>
                  </a:lnTo>
                  <a:lnTo>
                    <a:pt x="24" y="636"/>
                  </a:lnTo>
                  <a:lnTo>
                    <a:pt x="30" y="630"/>
                  </a:lnTo>
                  <a:lnTo>
                    <a:pt x="30" y="624"/>
                  </a:lnTo>
                  <a:lnTo>
                    <a:pt x="30" y="612"/>
                  </a:lnTo>
                  <a:lnTo>
                    <a:pt x="30" y="606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66" y="582"/>
                  </a:lnTo>
                  <a:lnTo>
                    <a:pt x="72" y="588"/>
                  </a:lnTo>
                  <a:lnTo>
                    <a:pt x="84" y="594"/>
                  </a:lnTo>
                  <a:lnTo>
                    <a:pt x="90" y="600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14" y="612"/>
                  </a:lnTo>
                  <a:lnTo>
                    <a:pt x="120" y="612"/>
                  </a:lnTo>
                  <a:lnTo>
                    <a:pt x="126" y="618"/>
                  </a:lnTo>
                  <a:lnTo>
                    <a:pt x="138" y="594"/>
                  </a:lnTo>
                  <a:lnTo>
                    <a:pt x="138" y="582"/>
                  </a:lnTo>
                  <a:lnTo>
                    <a:pt x="138" y="570"/>
                  </a:lnTo>
                  <a:lnTo>
                    <a:pt x="138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50" y="528"/>
                  </a:lnTo>
                  <a:lnTo>
                    <a:pt x="156" y="510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62"/>
                  </a:lnTo>
                  <a:lnTo>
                    <a:pt x="168" y="450"/>
                  </a:lnTo>
                  <a:lnTo>
                    <a:pt x="168" y="444"/>
                  </a:lnTo>
                  <a:lnTo>
                    <a:pt x="162" y="432"/>
                  </a:lnTo>
                  <a:lnTo>
                    <a:pt x="162" y="426"/>
                  </a:lnTo>
                  <a:lnTo>
                    <a:pt x="156" y="420"/>
                  </a:lnTo>
                  <a:lnTo>
                    <a:pt x="144" y="414"/>
                  </a:lnTo>
                  <a:lnTo>
                    <a:pt x="132" y="402"/>
                  </a:lnTo>
                  <a:lnTo>
                    <a:pt x="126" y="390"/>
                  </a:lnTo>
                  <a:lnTo>
                    <a:pt x="120" y="384"/>
                  </a:lnTo>
                  <a:lnTo>
                    <a:pt x="120" y="372"/>
                  </a:lnTo>
                  <a:lnTo>
                    <a:pt x="114" y="360"/>
                  </a:lnTo>
                  <a:lnTo>
                    <a:pt x="108" y="360"/>
                  </a:lnTo>
                  <a:lnTo>
                    <a:pt x="108" y="354"/>
                  </a:lnTo>
                  <a:lnTo>
                    <a:pt x="102" y="348"/>
                  </a:lnTo>
                  <a:lnTo>
                    <a:pt x="102" y="342"/>
                  </a:lnTo>
                  <a:lnTo>
                    <a:pt x="108" y="330"/>
                  </a:lnTo>
                  <a:lnTo>
                    <a:pt x="114" y="312"/>
                  </a:lnTo>
                  <a:lnTo>
                    <a:pt x="114" y="300"/>
                  </a:lnTo>
                  <a:lnTo>
                    <a:pt x="120" y="288"/>
                  </a:lnTo>
                  <a:lnTo>
                    <a:pt x="120" y="282"/>
                  </a:lnTo>
                  <a:lnTo>
                    <a:pt x="114" y="270"/>
                  </a:lnTo>
                  <a:lnTo>
                    <a:pt x="114" y="258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84" y="222"/>
                  </a:lnTo>
                  <a:lnTo>
                    <a:pt x="84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84" y="186"/>
                  </a:lnTo>
                  <a:lnTo>
                    <a:pt x="84" y="180"/>
                  </a:lnTo>
                  <a:lnTo>
                    <a:pt x="108" y="174"/>
                  </a:lnTo>
                  <a:lnTo>
                    <a:pt x="132" y="186"/>
                  </a:lnTo>
                  <a:lnTo>
                    <a:pt x="138" y="192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56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74" y="204"/>
                  </a:lnTo>
                  <a:lnTo>
                    <a:pt x="180" y="216"/>
                  </a:lnTo>
                  <a:lnTo>
                    <a:pt x="186" y="228"/>
                  </a:lnTo>
                  <a:lnTo>
                    <a:pt x="192" y="234"/>
                  </a:lnTo>
                  <a:lnTo>
                    <a:pt x="198" y="234"/>
                  </a:lnTo>
                  <a:lnTo>
                    <a:pt x="204" y="240"/>
                  </a:lnTo>
                  <a:lnTo>
                    <a:pt x="210" y="240"/>
                  </a:lnTo>
                  <a:lnTo>
                    <a:pt x="216" y="240"/>
                  </a:lnTo>
                  <a:lnTo>
                    <a:pt x="222" y="240"/>
                  </a:lnTo>
                  <a:lnTo>
                    <a:pt x="228" y="246"/>
                  </a:lnTo>
                  <a:lnTo>
                    <a:pt x="234" y="246"/>
                  </a:lnTo>
                  <a:lnTo>
                    <a:pt x="240" y="246"/>
                  </a:lnTo>
                  <a:lnTo>
                    <a:pt x="252" y="252"/>
                  </a:lnTo>
                  <a:lnTo>
                    <a:pt x="330" y="246"/>
                  </a:lnTo>
                  <a:lnTo>
                    <a:pt x="360" y="228"/>
                  </a:lnTo>
                  <a:lnTo>
                    <a:pt x="396" y="228"/>
                  </a:lnTo>
                  <a:lnTo>
                    <a:pt x="402" y="240"/>
                  </a:lnTo>
                  <a:lnTo>
                    <a:pt x="432" y="240"/>
                  </a:lnTo>
                  <a:lnTo>
                    <a:pt x="450" y="258"/>
                  </a:lnTo>
                  <a:lnTo>
                    <a:pt x="468" y="258"/>
                  </a:lnTo>
                  <a:lnTo>
                    <a:pt x="474" y="294"/>
                  </a:lnTo>
                  <a:lnTo>
                    <a:pt x="558" y="318"/>
                  </a:lnTo>
                  <a:lnTo>
                    <a:pt x="588" y="318"/>
                  </a:lnTo>
                  <a:lnTo>
                    <a:pt x="588" y="312"/>
                  </a:lnTo>
                  <a:lnTo>
                    <a:pt x="594" y="306"/>
                  </a:lnTo>
                  <a:lnTo>
                    <a:pt x="600" y="306"/>
                  </a:lnTo>
                  <a:lnTo>
                    <a:pt x="612" y="300"/>
                  </a:lnTo>
                  <a:lnTo>
                    <a:pt x="618" y="300"/>
                  </a:lnTo>
                  <a:lnTo>
                    <a:pt x="630" y="300"/>
                  </a:lnTo>
                  <a:lnTo>
                    <a:pt x="642" y="306"/>
                  </a:lnTo>
                  <a:lnTo>
                    <a:pt x="660" y="306"/>
                  </a:lnTo>
                  <a:lnTo>
                    <a:pt x="666" y="306"/>
                  </a:lnTo>
                  <a:lnTo>
                    <a:pt x="672" y="306"/>
                  </a:lnTo>
                  <a:lnTo>
                    <a:pt x="684" y="300"/>
                  </a:lnTo>
                  <a:lnTo>
                    <a:pt x="696" y="294"/>
                  </a:lnTo>
                  <a:lnTo>
                    <a:pt x="702" y="288"/>
                  </a:lnTo>
                  <a:lnTo>
                    <a:pt x="714" y="282"/>
                  </a:lnTo>
                  <a:lnTo>
                    <a:pt x="714" y="288"/>
                  </a:lnTo>
                  <a:lnTo>
                    <a:pt x="726" y="300"/>
                  </a:lnTo>
                  <a:lnTo>
                    <a:pt x="732" y="306"/>
                  </a:lnTo>
                  <a:lnTo>
                    <a:pt x="732" y="318"/>
                  </a:lnTo>
                  <a:lnTo>
                    <a:pt x="732" y="330"/>
                  </a:lnTo>
                  <a:lnTo>
                    <a:pt x="726" y="342"/>
                  </a:lnTo>
                  <a:lnTo>
                    <a:pt x="720" y="354"/>
                  </a:lnTo>
                  <a:lnTo>
                    <a:pt x="720" y="360"/>
                  </a:lnTo>
                  <a:lnTo>
                    <a:pt x="714" y="372"/>
                  </a:lnTo>
                  <a:lnTo>
                    <a:pt x="714" y="378"/>
                  </a:lnTo>
                  <a:lnTo>
                    <a:pt x="714" y="408"/>
                  </a:lnTo>
                  <a:lnTo>
                    <a:pt x="708" y="420"/>
                  </a:lnTo>
                  <a:lnTo>
                    <a:pt x="714" y="432"/>
                  </a:lnTo>
                  <a:lnTo>
                    <a:pt x="708" y="450"/>
                  </a:lnTo>
                  <a:lnTo>
                    <a:pt x="708" y="468"/>
                  </a:lnTo>
                  <a:lnTo>
                    <a:pt x="696" y="480"/>
                  </a:lnTo>
                  <a:lnTo>
                    <a:pt x="684" y="486"/>
                  </a:lnTo>
                  <a:lnTo>
                    <a:pt x="672" y="492"/>
                  </a:lnTo>
                  <a:lnTo>
                    <a:pt x="660" y="498"/>
                  </a:lnTo>
                  <a:lnTo>
                    <a:pt x="654" y="510"/>
                  </a:lnTo>
                  <a:lnTo>
                    <a:pt x="648" y="516"/>
                  </a:lnTo>
                  <a:lnTo>
                    <a:pt x="642" y="522"/>
                  </a:lnTo>
                  <a:lnTo>
                    <a:pt x="630" y="522"/>
                  </a:lnTo>
                  <a:lnTo>
                    <a:pt x="624" y="528"/>
                  </a:lnTo>
                  <a:lnTo>
                    <a:pt x="618" y="540"/>
                  </a:lnTo>
                  <a:lnTo>
                    <a:pt x="618" y="558"/>
                  </a:lnTo>
                  <a:lnTo>
                    <a:pt x="612" y="576"/>
                  </a:lnTo>
                  <a:lnTo>
                    <a:pt x="612" y="684"/>
                  </a:lnTo>
                  <a:lnTo>
                    <a:pt x="618" y="696"/>
                  </a:lnTo>
                  <a:lnTo>
                    <a:pt x="636" y="696"/>
                  </a:lnTo>
                  <a:lnTo>
                    <a:pt x="636" y="720"/>
                  </a:lnTo>
                  <a:lnTo>
                    <a:pt x="636" y="732"/>
                  </a:lnTo>
                  <a:lnTo>
                    <a:pt x="618" y="750"/>
                  </a:lnTo>
                  <a:lnTo>
                    <a:pt x="606" y="762"/>
                  </a:lnTo>
                  <a:lnTo>
                    <a:pt x="600" y="774"/>
                  </a:lnTo>
                  <a:lnTo>
                    <a:pt x="594" y="798"/>
                  </a:lnTo>
                  <a:lnTo>
                    <a:pt x="606" y="798"/>
                  </a:lnTo>
                  <a:lnTo>
                    <a:pt x="660" y="792"/>
                  </a:lnTo>
                  <a:lnTo>
                    <a:pt x="696" y="798"/>
                  </a:lnTo>
                  <a:lnTo>
                    <a:pt x="720" y="798"/>
                  </a:lnTo>
                  <a:lnTo>
                    <a:pt x="720" y="786"/>
                  </a:lnTo>
                  <a:lnTo>
                    <a:pt x="720" y="774"/>
                  </a:lnTo>
                  <a:lnTo>
                    <a:pt x="702" y="762"/>
                  </a:lnTo>
                  <a:lnTo>
                    <a:pt x="702" y="750"/>
                  </a:lnTo>
                  <a:lnTo>
                    <a:pt x="702" y="726"/>
                  </a:lnTo>
                  <a:lnTo>
                    <a:pt x="714" y="714"/>
                  </a:lnTo>
                  <a:lnTo>
                    <a:pt x="720" y="702"/>
                  </a:lnTo>
                  <a:lnTo>
                    <a:pt x="720" y="696"/>
                  </a:lnTo>
                  <a:lnTo>
                    <a:pt x="744" y="690"/>
                  </a:lnTo>
                  <a:lnTo>
                    <a:pt x="744" y="696"/>
                  </a:lnTo>
                  <a:lnTo>
                    <a:pt x="756" y="696"/>
                  </a:lnTo>
                  <a:lnTo>
                    <a:pt x="762" y="690"/>
                  </a:lnTo>
                  <a:lnTo>
                    <a:pt x="768" y="690"/>
                  </a:lnTo>
                  <a:lnTo>
                    <a:pt x="774" y="696"/>
                  </a:lnTo>
                  <a:lnTo>
                    <a:pt x="780" y="696"/>
                  </a:lnTo>
                  <a:lnTo>
                    <a:pt x="786" y="696"/>
                  </a:lnTo>
                  <a:lnTo>
                    <a:pt x="804" y="684"/>
                  </a:lnTo>
                  <a:lnTo>
                    <a:pt x="810" y="684"/>
                  </a:lnTo>
                  <a:lnTo>
                    <a:pt x="810" y="654"/>
                  </a:lnTo>
                  <a:lnTo>
                    <a:pt x="816" y="588"/>
                  </a:lnTo>
                  <a:lnTo>
                    <a:pt x="804" y="582"/>
                  </a:lnTo>
                  <a:lnTo>
                    <a:pt x="798" y="552"/>
                  </a:lnTo>
                  <a:lnTo>
                    <a:pt x="798" y="480"/>
                  </a:lnTo>
                  <a:lnTo>
                    <a:pt x="780" y="468"/>
                  </a:lnTo>
                  <a:lnTo>
                    <a:pt x="780" y="462"/>
                  </a:lnTo>
                  <a:lnTo>
                    <a:pt x="774" y="450"/>
                  </a:lnTo>
                  <a:lnTo>
                    <a:pt x="762" y="444"/>
                  </a:lnTo>
                  <a:lnTo>
                    <a:pt x="762" y="438"/>
                  </a:lnTo>
                  <a:lnTo>
                    <a:pt x="768" y="432"/>
                  </a:lnTo>
                  <a:lnTo>
                    <a:pt x="774" y="426"/>
                  </a:lnTo>
                  <a:lnTo>
                    <a:pt x="780" y="426"/>
                  </a:lnTo>
                  <a:lnTo>
                    <a:pt x="780" y="414"/>
                  </a:lnTo>
                  <a:lnTo>
                    <a:pt x="834" y="414"/>
                  </a:lnTo>
                  <a:lnTo>
                    <a:pt x="834" y="426"/>
                  </a:lnTo>
                  <a:lnTo>
                    <a:pt x="840" y="432"/>
                  </a:lnTo>
                  <a:lnTo>
                    <a:pt x="846" y="432"/>
                  </a:lnTo>
                  <a:lnTo>
                    <a:pt x="852" y="432"/>
                  </a:lnTo>
                  <a:lnTo>
                    <a:pt x="858" y="432"/>
                  </a:lnTo>
                  <a:lnTo>
                    <a:pt x="870" y="432"/>
                  </a:lnTo>
                  <a:lnTo>
                    <a:pt x="870" y="426"/>
                  </a:lnTo>
                  <a:lnTo>
                    <a:pt x="870" y="420"/>
                  </a:lnTo>
                  <a:lnTo>
                    <a:pt x="876" y="420"/>
                  </a:lnTo>
                  <a:lnTo>
                    <a:pt x="882" y="420"/>
                  </a:lnTo>
                  <a:lnTo>
                    <a:pt x="894" y="414"/>
                  </a:lnTo>
                  <a:lnTo>
                    <a:pt x="900" y="414"/>
                  </a:lnTo>
                  <a:lnTo>
                    <a:pt x="906" y="408"/>
                  </a:lnTo>
                  <a:lnTo>
                    <a:pt x="918" y="408"/>
                  </a:lnTo>
                  <a:lnTo>
                    <a:pt x="924" y="402"/>
                  </a:lnTo>
                  <a:lnTo>
                    <a:pt x="930" y="384"/>
                  </a:lnTo>
                  <a:lnTo>
                    <a:pt x="948" y="396"/>
                  </a:lnTo>
                  <a:lnTo>
                    <a:pt x="954" y="384"/>
                  </a:lnTo>
                  <a:lnTo>
                    <a:pt x="960" y="384"/>
                  </a:lnTo>
                  <a:lnTo>
                    <a:pt x="972" y="384"/>
                  </a:lnTo>
                  <a:lnTo>
                    <a:pt x="978" y="378"/>
                  </a:lnTo>
                  <a:lnTo>
                    <a:pt x="972" y="366"/>
                  </a:lnTo>
                  <a:lnTo>
                    <a:pt x="966" y="342"/>
                  </a:lnTo>
                  <a:lnTo>
                    <a:pt x="960" y="330"/>
                  </a:lnTo>
                  <a:lnTo>
                    <a:pt x="942" y="324"/>
                  </a:lnTo>
                  <a:lnTo>
                    <a:pt x="936" y="318"/>
                  </a:lnTo>
                  <a:lnTo>
                    <a:pt x="936" y="294"/>
                  </a:lnTo>
                  <a:lnTo>
                    <a:pt x="942" y="294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282"/>
                  </a:lnTo>
                  <a:lnTo>
                    <a:pt x="954" y="276"/>
                  </a:lnTo>
                  <a:lnTo>
                    <a:pt x="960" y="276"/>
                  </a:lnTo>
                  <a:lnTo>
                    <a:pt x="966" y="276"/>
                  </a:lnTo>
                  <a:lnTo>
                    <a:pt x="960" y="258"/>
                  </a:lnTo>
                  <a:lnTo>
                    <a:pt x="954" y="240"/>
                  </a:lnTo>
                  <a:lnTo>
                    <a:pt x="948" y="204"/>
                  </a:lnTo>
                  <a:lnTo>
                    <a:pt x="954" y="204"/>
                  </a:lnTo>
                  <a:lnTo>
                    <a:pt x="960" y="198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00" y="186"/>
                  </a:lnTo>
                  <a:lnTo>
                    <a:pt x="876" y="180"/>
                  </a:lnTo>
                  <a:lnTo>
                    <a:pt x="858" y="180"/>
                  </a:lnTo>
                  <a:lnTo>
                    <a:pt x="852" y="168"/>
                  </a:lnTo>
                  <a:lnTo>
                    <a:pt x="834" y="156"/>
                  </a:lnTo>
                  <a:lnTo>
                    <a:pt x="822" y="156"/>
                  </a:lnTo>
                  <a:lnTo>
                    <a:pt x="804" y="156"/>
                  </a:lnTo>
                  <a:lnTo>
                    <a:pt x="804" y="150"/>
                  </a:lnTo>
                  <a:lnTo>
                    <a:pt x="792" y="144"/>
                  </a:lnTo>
                  <a:lnTo>
                    <a:pt x="762" y="138"/>
                  </a:lnTo>
                  <a:lnTo>
                    <a:pt x="768" y="120"/>
                  </a:lnTo>
                  <a:lnTo>
                    <a:pt x="756" y="120"/>
                  </a:lnTo>
                  <a:lnTo>
                    <a:pt x="744" y="108"/>
                  </a:lnTo>
                  <a:lnTo>
                    <a:pt x="744" y="96"/>
                  </a:lnTo>
                  <a:lnTo>
                    <a:pt x="762" y="84"/>
                  </a:lnTo>
                  <a:lnTo>
                    <a:pt x="768" y="84"/>
                  </a:lnTo>
                  <a:lnTo>
                    <a:pt x="768" y="72"/>
                  </a:lnTo>
                  <a:lnTo>
                    <a:pt x="780" y="66"/>
                  </a:lnTo>
                  <a:lnTo>
                    <a:pt x="798" y="54"/>
                  </a:lnTo>
                  <a:lnTo>
                    <a:pt x="792" y="54"/>
                  </a:lnTo>
                  <a:lnTo>
                    <a:pt x="798" y="36"/>
                  </a:lnTo>
                  <a:lnTo>
                    <a:pt x="804" y="36"/>
                  </a:lnTo>
                  <a:lnTo>
                    <a:pt x="816" y="30"/>
                  </a:lnTo>
                  <a:lnTo>
                    <a:pt x="828" y="30"/>
                  </a:lnTo>
                  <a:lnTo>
                    <a:pt x="846" y="12"/>
                  </a:lnTo>
                  <a:lnTo>
                    <a:pt x="876" y="0"/>
                  </a:lnTo>
                  <a:lnTo>
                    <a:pt x="882" y="6"/>
                  </a:lnTo>
                  <a:lnTo>
                    <a:pt x="900" y="6"/>
                  </a:lnTo>
                  <a:lnTo>
                    <a:pt x="912" y="36"/>
                  </a:lnTo>
                  <a:lnTo>
                    <a:pt x="918" y="42"/>
                  </a:lnTo>
                  <a:lnTo>
                    <a:pt x="924" y="54"/>
                  </a:lnTo>
                  <a:lnTo>
                    <a:pt x="930" y="54"/>
                  </a:lnTo>
                  <a:lnTo>
                    <a:pt x="930" y="78"/>
                  </a:lnTo>
                  <a:lnTo>
                    <a:pt x="954" y="72"/>
                  </a:lnTo>
                  <a:lnTo>
                    <a:pt x="954" y="60"/>
                  </a:lnTo>
                  <a:lnTo>
                    <a:pt x="966" y="66"/>
                  </a:lnTo>
                  <a:lnTo>
                    <a:pt x="966" y="78"/>
                  </a:lnTo>
                  <a:lnTo>
                    <a:pt x="960" y="84"/>
                  </a:lnTo>
                  <a:lnTo>
                    <a:pt x="954" y="102"/>
                  </a:lnTo>
                  <a:lnTo>
                    <a:pt x="972" y="102"/>
                  </a:lnTo>
                  <a:lnTo>
                    <a:pt x="978" y="84"/>
                  </a:lnTo>
                  <a:lnTo>
                    <a:pt x="984" y="72"/>
                  </a:lnTo>
                  <a:lnTo>
                    <a:pt x="990" y="72"/>
                  </a:lnTo>
                  <a:lnTo>
                    <a:pt x="996" y="18"/>
                  </a:lnTo>
                  <a:lnTo>
                    <a:pt x="990" y="12"/>
                  </a:lnTo>
                  <a:lnTo>
                    <a:pt x="1014" y="12"/>
                  </a:lnTo>
                  <a:lnTo>
                    <a:pt x="1026" y="12"/>
                  </a:lnTo>
                  <a:lnTo>
                    <a:pt x="1026" y="24"/>
                  </a:lnTo>
                  <a:lnTo>
                    <a:pt x="1050" y="24"/>
                  </a:lnTo>
                  <a:lnTo>
                    <a:pt x="1050" y="36"/>
                  </a:lnTo>
                  <a:lnTo>
                    <a:pt x="1062" y="66"/>
                  </a:lnTo>
                  <a:lnTo>
                    <a:pt x="1074" y="66"/>
                  </a:lnTo>
                  <a:lnTo>
                    <a:pt x="1080" y="60"/>
                  </a:lnTo>
                  <a:lnTo>
                    <a:pt x="1074" y="24"/>
                  </a:lnTo>
                  <a:lnTo>
                    <a:pt x="1086" y="18"/>
                  </a:lnTo>
                  <a:lnTo>
                    <a:pt x="1086" y="12"/>
                  </a:lnTo>
                  <a:lnTo>
                    <a:pt x="1104" y="6"/>
                  </a:lnTo>
                  <a:lnTo>
                    <a:pt x="1122" y="0"/>
                  </a:lnTo>
                  <a:lnTo>
                    <a:pt x="1134" y="6"/>
                  </a:lnTo>
                  <a:lnTo>
                    <a:pt x="1134" y="42"/>
                  </a:lnTo>
                  <a:lnTo>
                    <a:pt x="1140" y="72"/>
                  </a:lnTo>
                  <a:lnTo>
                    <a:pt x="1158" y="114"/>
                  </a:lnTo>
                  <a:lnTo>
                    <a:pt x="1170" y="114"/>
                  </a:lnTo>
                  <a:lnTo>
                    <a:pt x="1170" y="126"/>
                  </a:lnTo>
                  <a:lnTo>
                    <a:pt x="1182" y="126"/>
                  </a:lnTo>
                  <a:lnTo>
                    <a:pt x="1182" y="138"/>
                  </a:lnTo>
                  <a:lnTo>
                    <a:pt x="1194" y="144"/>
                  </a:lnTo>
                  <a:lnTo>
                    <a:pt x="1194" y="156"/>
                  </a:lnTo>
                  <a:lnTo>
                    <a:pt x="1188" y="156"/>
                  </a:lnTo>
                  <a:lnTo>
                    <a:pt x="1194" y="162"/>
                  </a:lnTo>
                  <a:lnTo>
                    <a:pt x="1194" y="168"/>
                  </a:lnTo>
                  <a:lnTo>
                    <a:pt x="1188" y="168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82" y="180"/>
                  </a:lnTo>
                  <a:lnTo>
                    <a:pt x="1188" y="186"/>
                  </a:lnTo>
                  <a:lnTo>
                    <a:pt x="1188" y="192"/>
                  </a:lnTo>
                  <a:lnTo>
                    <a:pt x="1182" y="198"/>
                  </a:lnTo>
                  <a:lnTo>
                    <a:pt x="1182" y="204"/>
                  </a:lnTo>
                  <a:lnTo>
                    <a:pt x="1182" y="210"/>
                  </a:lnTo>
                  <a:lnTo>
                    <a:pt x="1188" y="210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2"/>
                  </a:lnTo>
                  <a:lnTo>
                    <a:pt x="1194" y="264"/>
                  </a:lnTo>
                  <a:lnTo>
                    <a:pt x="1200" y="264"/>
                  </a:lnTo>
                  <a:lnTo>
                    <a:pt x="1212" y="264"/>
                  </a:lnTo>
                  <a:lnTo>
                    <a:pt x="1212" y="258"/>
                  </a:lnTo>
                  <a:lnTo>
                    <a:pt x="1224" y="258"/>
                  </a:lnTo>
                  <a:lnTo>
                    <a:pt x="1248" y="252"/>
                  </a:lnTo>
                  <a:lnTo>
                    <a:pt x="1248" y="264"/>
                  </a:lnTo>
                  <a:lnTo>
                    <a:pt x="1254" y="264"/>
                  </a:lnTo>
                  <a:lnTo>
                    <a:pt x="1254" y="270"/>
                  </a:lnTo>
                  <a:lnTo>
                    <a:pt x="1260" y="270"/>
                  </a:lnTo>
                  <a:lnTo>
                    <a:pt x="1266" y="270"/>
                  </a:lnTo>
                  <a:lnTo>
                    <a:pt x="1272" y="270"/>
                  </a:lnTo>
                  <a:lnTo>
                    <a:pt x="1272" y="264"/>
                  </a:lnTo>
                  <a:lnTo>
                    <a:pt x="1272" y="258"/>
                  </a:lnTo>
                  <a:lnTo>
                    <a:pt x="1278" y="258"/>
                  </a:lnTo>
                  <a:lnTo>
                    <a:pt x="1278" y="252"/>
                  </a:lnTo>
                  <a:lnTo>
                    <a:pt x="1290" y="252"/>
                  </a:lnTo>
                  <a:lnTo>
                    <a:pt x="1296" y="246"/>
                  </a:lnTo>
                  <a:lnTo>
                    <a:pt x="1308" y="246"/>
                  </a:lnTo>
                  <a:lnTo>
                    <a:pt x="1308" y="240"/>
                  </a:lnTo>
                  <a:lnTo>
                    <a:pt x="1320" y="240"/>
                  </a:lnTo>
                  <a:lnTo>
                    <a:pt x="1326" y="246"/>
                  </a:lnTo>
                  <a:lnTo>
                    <a:pt x="1338" y="246"/>
                  </a:lnTo>
                  <a:lnTo>
                    <a:pt x="1338" y="240"/>
                  </a:lnTo>
                  <a:lnTo>
                    <a:pt x="1350" y="240"/>
                  </a:lnTo>
                  <a:lnTo>
                    <a:pt x="1386" y="234"/>
                  </a:lnTo>
                  <a:lnTo>
                    <a:pt x="1398" y="228"/>
                  </a:lnTo>
                  <a:lnTo>
                    <a:pt x="1404" y="216"/>
                  </a:lnTo>
                  <a:lnTo>
                    <a:pt x="1416" y="204"/>
                  </a:lnTo>
                  <a:lnTo>
                    <a:pt x="1434" y="192"/>
                  </a:lnTo>
                  <a:lnTo>
                    <a:pt x="1446" y="198"/>
                  </a:lnTo>
                  <a:lnTo>
                    <a:pt x="1446" y="204"/>
                  </a:lnTo>
                  <a:lnTo>
                    <a:pt x="1452" y="210"/>
                  </a:lnTo>
                  <a:lnTo>
                    <a:pt x="1464" y="222"/>
                  </a:lnTo>
                  <a:lnTo>
                    <a:pt x="1464" y="228"/>
                  </a:lnTo>
                  <a:lnTo>
                    <a:pt x="1464" y="234"/>
                  </a:lnTo>
                  <a:lnTo>
                    <a:pt x="1470" y="240"/>
                  </a:lnTo>
                  <a:lnTo>
                    <a:pt x="1476" y="228"/>
                  </a:lnTo>
                  <a:lnTo>
                    <a:pt x="1476" y="222"/>
                  </a:lnTo>
                  <a:lnTo>
                    <a:pt x="1482" y="210"/>
                  </a:lnTo>
                  <a:lnTo>
                    <a:pt x="1488" y="192"/>
                  </a:lnTo>
                  <a:lnTo>
                    <a:pt x="1488" y="186"/>
                  </a:lnTo>
                  <a:lnTo>
                    <a:pt x="1488" y="180"/>
                  </a:lnTo>
                  <a:lnTo>
                    <a:pt x="1500" y="180"/>
                  </a:lnTo>
                  <a:lnTo>
                    <a:pt x="1500" y="174"/>
                  </a:lnTo>
                  <a:lnTo>
                    <a:pt x="1518" y="162"/>
                  </a:lnTo>
                  <a:lnTo>
                    <a:pt x="1536" y="150"/>
                  </a:lnTo>
                  <a:lnTo>
                    <a:pt x="1554" y="168"/>
                  </a:lnTo>
                  <a:lnTo>
                    <a:pt x="1572" y="180"/>
                  </a:lnTo>
                  <a:lnTo>
                    <a:pt x="1596" y="216"/>
                  </a:lnTo>
                  <a:lnTo>
                    <a:pt x="1602" y="216"/>
                  </a:lnTo>
                  <a:lnTo>
                    <a:pt x="1614" y="228"/>
                  </a:lnTo>
                  <a:lnTo>
                    <a:pt x="1614" y="234"/>
                  </a:lnTo>
                  <a:lnTo>
                    <a:pt x="1620" y="240"/>
                  </a:lnTo>
                  <a:lnTo>
                    <a:pt x="1620" y="246"/>
                  </a:lnTo>
                  <a:lnTo>
                    <a:pt x="1626" y="252"/>
                  </a:lnTo>
                  <a:lnTo>
                    <a:pt x="1632" y="258"/>
                  </a:lnTo>
                  <a:lnTo>
                    <a:pt x="1632" y="264"/>
                  </a:lnTo>
                  <a:lnTo>
                    <a:pt x="1638" y="264"/>
                  </a:lnTo>
                  <a:lnTo>
                    <a:pt x="1638" y="270"/>
                  </a:lnTo>
                  <a:lnTo>
                    <a:pt x="1638" y="276"/>
                  </a:lnTo>
                  <a:lnTo>
                    <a:pt x="1638" y="282"/>
                  </a:lnTo>
                  <a:lnTo>
                    <a:pt x="1644" y="288"/>
                  </a:lnTo>
                  <a:lnTo>
                    <a:pt x="1644" y="294"/>
                  </a:lnTo>
                  <a:lnTo>
                    <a:pt x="1644" y="300"/>
                  </a:lnTo>
                  <a:lnTo>
                    <a:pt x="1644" y="306"/>
                  </a:lnTo>
                  <a:lnTo>
                    <a:pt x="1650" y="306"/>
                  </a:lnTo>
                  <a:lnTo>
                    <a:pt x="1650" y="312"/>
                  </a:lnTo>
                  <a:lnTo>
                    <a:pt x="1650" y="318"/>
                  </a:lnTo>
                  <a:lnTo>
                    <a:pt x="1650" y="324"/>
                  </a:lnTo>
                  <a:lnTo>
                    <a:pt x="1644" y="330"/>
                  </a:lnTo>
                  <a:lnTo>
                    <a:pt x="1626" y="330"/>
                  </a:lnTo>
                  <a:lnTo>
                    <a:pt x="1626" y="336"/>
                  </a:lnTo>
                  <a:lnTo>
                    <a:pt x="1626" y="342"/>
                  </a:lnTo>
                  <a:lnTo>
                    <a:pt x="1626" y="348"/>
                  </a:lnTo>
                  <a:lnTo>
                    <a:pt x="1620" y="354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14" y="390"/>
                  </a:lnTo>
                  <a:lnTo>
                    <a:pt x="1614" y="396"/>
                  </a:lnTo>
                  <a:lnTo>
                    <a:pt x="1614" y="402"/>
                  </a:lnTo>
                  <a:lnTo>
                    <a:pt x="1614" y="408"/>
                  </a:lnTo>
                  <a:lnTo>
                    <a:pt x="1614" y="414"/>
                  </a:lnTo>
                  <a:lnTo>
                    <a:pt x="1602" y="420"/>
                  </a:lnTo>
                  <a:lnTo>
                    <a:pt x="1602" y="426"/>
                  </a:lnTo>
                  <a:lnTo>
                    <a:pt x="1608" y="432"/>
                  </a:lnTo>
                  <a:lnTo>
                    <a:pt x="1614" y="426"/>
                  </a:lnTo>
                  <a:lnTo>
                    <a:pt x="1620" y="438"/>
                  </a:lnTo>
                  <a:lnTo>
                    <a:pt x="1626" y="438"/>
                  </a:lnTo>
                  <a:lnTo>
                    <a:pt x="1632" y="444"/>
                  </a:lnTo>
                  <a:lnTo>
                    <a:pt x="1626" y="456"/>
                  </a:lnTo>
                  <a:lnTo>
                    <a:pt x="1626" y="468"/>
                  </a:lnTo>
                  <a:lnTo>
                    <a:pt x="1620" y="474"/>
                  </a:lnTo>
                  <a:lnTo>
                    <a:pt x="1614" y="474"/>
                  </a:lnTo>
                  <a:lnTo>
                    <a:pt x="1614" y="486"/>
                  </a:lnTo>
                  <a:lnTo>
                    <a:pt x="1614" y="492"/>
                  </a:lnTo>
                  <a:lnTo>
                    <a:pt x="1620" y="492"/>
                  </a:lnTo>
                  <a:lnTo>
                    <a:pt x="1626" y="498"/>
                  </a:lnTo>
                  <a:lnTo>
                    <a:pt x="1626" y="504"/>
                  </a:lnTo>
                  <a:lnTo>
                    <a:pt x="1626" y="510"/>
                  </a:lnTo>
                  <a:lnTo>
                    <a:pt x="1620" y="516"/>
                  </a:lnTo>
                  <a:lnTo>
                    <a:pt x="1620" y="522"/>
                  </a:lnTo>
                  <a:lnTo>
                    <a:pt x="1614" y="522"/>
                  </a:lnTo>
                  <a:lnTo>
                    <a:pt x="1608" y="528"/>
                  </a:lnTo>
                  <a:lnTo>
                    <a:pt x="1602" y="522"/>
                  </a:lnTo>
                  <a:lnTo>
                    <a:pt x="1602" y="528"/>
                  </a:lnTo>
                  <a:lnTo>
                    <a:pt x="1602" y="540"/>
                  </a:lnTo>
                  <a:lnTo>
                    <a:pt x="1602" y="558"/>
                  </a:lnTo>
                  <a:lnTo>
                    <a:pt x="1602" y="564"/>
                  </a:lnTo>
                  <a:lnTo>
                    <a:pt x="1602" y="570"/>
                  </a:lnTo>
                  <a:lnTo>
                    <a:pt x="1602" y="576"/>
                  </a:lnTo>
                  <a:lnTo>
                    <a:pt x="1596" y="576"/>
                  </a:lnTo>
                  <a:lnTo>
                    <a:pt x="1632" y="582"/>
                  </a:lnTo>
                  <a:lnTo>
                    <a:pt x="1644" y="618"/>
                  </a:lnTo>
                  <a:lnTo>
                    <a:pt x="1650" y="648"/>
                  </a:lnTo>
                  <a:lnTo>
                    <a:pt x="1662" y="636"/>
                  </a:lnTo>
                  <a:lnTo>
                    <a:pt x="1668" y="636"/>
                  </a:lnTo>
                  <a:lnTo>
                    <a:pt x="1674" y="636"/>
                  </a:lnTo>
                  <a:lnTo>
                    <a:pt x="1680" y="630"/>
                  </a:lnTo>
                  <a:lnTo>
                    <a:pt x="1686" y="630"/>
                  </a:lnTo>
                  <a:lnTo>
                    <a:pt x="1692" y="630"/>
                  </a:lnTo>
                  <a:lnTo>
                    <a:pt x="1698" y="630"/>
                  </a:lnTo>
                  <a:lnTo>
                    <a:pt x="1704" y="630"/>
                  </a:lnTo>
                  <a:lnTo>
                    <a:pt x="1704" y="624"/>
                  </a:lnTo>
                  <a:lnTo>
                    <a:pt x="1710" y="624"/>
                  </a:lnTo>
                  <a:lnTo>
                    <a:pt x="1716" y="624"/>
                  </a:lnTo>
                  <a:lnTo>
                    <a:pt x="1722" y="624"/>
                  </a:lnTo>
                  <a:lnTo>
                    <a:pt x="1728" y="624"/>
                  </a:lnTo>
                  <a:lnTo>
                    <a:pt x="1722" y="618"/>
                  </a:lnTo>
                  <a:lnTo>
                    <a:pt x="1728" y="606"/>
                  </a:lnTo>
                  <a:lnTo>
                    <a:pt x="1734" y="606"/>
                  </a:lnTo>
                  <a:lnTo>
                    <a:pt x="1740" y="600"/>
                  </a:lnTo>
                  <a:lnTo>
                    <a:pt x="1746" y="594"/>
                  </a:lnTo>
                  <a:lnTo>
                    <a:pt x="1752" y="588"/>
                  </a:lnTo>
                  <a:lnTo>
                    <a:pt x="1752" y="582"/>
                  </a:lnTo>
                  <a:lnTo>
                    <a:pt x="1758" y="576"/>
                  </a:lnTo>
                  <a:lnTo>
                    <a:pt x="1764" y="576"/>
                  </a:lnTo>
                  <a:lnTo>
                    <a:pt x="1770" y="570"/>
                  </a:lnTo>
                  <a:lnTo>
                    <a:pt x="1776" y="564"/>
                  </a:lnTo>
                  <a:lnTo>
                    <a:pt x="1788" y="558"/>
                  </a:lnTo>
                  <a:lnTo>
                    <a:pt x="1788" y="546"/>
                  </a:lnTo>
                  <a:lnTo>
                    <a:pt x="1788" y="540"/>
                  </a:lnTo>
                  <a:lnTo>
                    <a:pt x="1794" y="540"/>
                  </a:lnTo>
                  <a:lnTo>
                    <a:pt x="1788" y="534"/>
                  </a:lnTo>
                  <a:lnTo>
                    <a:pt x="1788" y="528"/>
                  </a:lnTo>
                  <a:lnTo>
                    <a:pt x="1794" y="516"/>
                  </a:lnTo>
                  <a:lnTo>
                    <a:pt x="1800" y="510"/>
                  </a:lnTo>
                  <a:lnTo>
                    <a:pt x="1812" y="510"/>
                  </a:lnTo>
                  <a:lnTo>
                    <a:pt x="1818" y="504"/>
                  </a:lnTo>
                  <a:lnTo>
                    <a:pt x="1824" y="504"/>
                  </a:lnTo>
                  <a:lnTo>
                    <a:pt x="1830" y="498"/>
                  </a:lnTo>
                  <a:lnTo>
                    <a:pt x="1836" y="498"/>
                  </a:lnTo>
                  <a:lnTo>
                    <a:pt x="1848" y="492"/>
                  </a:lnTo>
                  <a:lnTo>
                    <a:pt x="1848" y="480"/>
                  </a:lnTo>
                  <a:lnTo>
                    <a:pt x="1854" y="480"/>
                  </a:lnTo>
                  <a:lnTo>
                    <a:pt x="1890" y="504"/>
                  </a:lnTo>
                  <a:lnTo>
                    <a:pt x="1908" y="534"/>
                  </a:lnTo>
                  <a:lnTo>
                    <a:pt x="1902" y="534"/>
                  </a:lnTo>
                  <a:lnTo>
                    <a:pt x="1920" y="528"/>
                  </a:lnTo>
                  <a:lnTo>
                    <a:pt x="1920" y="516"/>
                  </a:lnTo>
                  <a:lnTo>
                    <a:pt x="1944" y="516"/>
                  </a:lnTo>
                  <a:lnTo>
                    <a:pt x="2004" y="516"/>
                  </a:lnTo>
                  <a:lnTo>
                    <a:pt x="2010" y="510"/>
                  </a:lnTo>
                  <a:lnTo>
                    <a:pt x="2004" y="510"/>
                  </a:lnTo>
                  <a:lnTo>
                    <a:pt x="2010" y="498"/>
                  </a:lnTo>
                  <a:lnTo>
                    <a:pt x="2004" y="486"/>
                  </a:lnTo>
                  <a:lnTo>
                    <a:pt x="2004" y="480"/>
                  </a:lnTo>
                  <a:lnTo>
                    <a:pt x="2004" y="474"/>
                  </a:lnTo>
                  <a:lnTo>
                    <a:pt x="2004" y="462"/>
                  </a:lnTo>
                  <a:lnTo>
                    <a:pt x="2004" y="456"/>
                  </a:lnTo>
                  <a:lnTo>
                    <a:pt x="2058" y="462"/>
                  </a:lnTo>
                  <a:lnTo>
                    <a:pt x="2076" y="474"/>
                  </a:lnTo>
                  <a:lnTo>
                    <a:pt x="2082" y="522"/>
                  </a:lnTo>
                  <a:lnTo>
                    <a:pt x="2088" y="516"/>
                  </a:lnTo>
                  <a:lnTo>
                    <a:pt x="2094" y="522"/>
                  </a:lnTo>
                  <a:lnTo>
                    <a:pt x="2100" y="528"/>
                  </a:lnTo>
                  <a:lnTo>
                    <a:pt x="2130" y="540"/>
                  </a:lnTo>
                  <a:lnTo>
                    <a:pt x="2160" y="564"/>
                  </a:lnTo>
                  <a:lnTo>
                    <a:pt x="2166" y="600"/>
                  </a:lnTo>
                  <a:lnTo>
                    <a:pt x="2160" y="618"/>
                  </a:lnTo>
                  <a:lnTo>
                    <a:pt x="2142" y="636"/>
                  </a:lnTo>
                  <a:lnTo>
                    <a:pt x="2148" y="648"/>
                  </a:lnTo>
                  <a:lnTo>
                    <a:pt x="2154" y="660"/>
                  </a:lnTo>
                  <a:lnTo>
                    <a:pt x="2196" y="654"/>
                  </a:lnTo>
                  <a:lnTo>
                    <a:pt x="2214" y="660"/>
                  </a:lnTo>
                  <a:lnTo>
                    <a:pt x="2214" y="666"/>
                  </a:lnTo>
                  <a:lnTo>
                    <a:pt x="2220" y="672"/>
                  </a:lnTo>
                  <a:lnTo>
                    <a:pt x="2214" y="678"/>
                  </a:lnTo>
                  <a:lnTo>
                    <a:pt x="2214" y="684"/>
                  </a:lnTo>
                  <a:lnTo>
                    <a:pt x="2214" y="690"/>
                  </a:lnTo>
                  <a:lnTo>
                    <a:pt x="2208" y="690"/>
                  </a:lnTo>
                  <a:lnTo>
                    <a:pt x="2202" y="696"/>
                  </a:lnTo>
                  <a:lnTo>
                    <a:pt x="2196" y="702"/>
                  </a:lnTo>
                  <a:lnTo>
                    <a:pt x="2190" y="708"/>
                  </a:lnTo>
                  <a:lnTo>
                    <a:pt x="2190" y="720"/>
                  </a:lnTo>
                  <a:lnTo>
                    <a:pt x="2184" y="720"/>
                  </a:lnTo>
                  <a:lnTo>
                    <a:pt x="2178" y="726"/>
                  </a:lnTo>
                  <a:lnTo>
                    <a:pt x="2166" y="732"/>
                  </a:lnTo>
                  <a:lnTo>
                    <a:pt x="2160" y="744"/>
                  </a:lnTo>
                  <a:lnTo>
                    <a:pt x="2154" y="756"/>
                  </a:lnTo>
                  <a:lnTo>
                    <a:pt x="2148" y="762"/>
                  </a:lnTo>
                  <a:lnTo>
                    <a:pt x="2124" y="762"/>
                  </a:lnTo>
                  <a:lnTo>
                    <a:pt x="2124" y="768"/>
                  </a:lnTo>
                  <a:lnTo>
                    <a:pt x="2118" y="768"/>
                  </a:lnTo>
                  <a:lnTo>
                    <a:pt x="2124" y="774"/>
                  </a:lnTo>
                  <a:lnTo>
                    <a:pt x="2118" y="774"/>
                  </a:lnTo>
                  <a:lnTo>
                    <a:pt x="2112" y="774"/>
                  </a:lnTo>
                  <a:lnTo>
                    <a:pt x="2106" y="780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06" y="798"/>
                  </a:lnTo>
                  <a:lnTo>
                    <a:pt x="2106" y="810"/>
                  </a:lnTo>
                  <a:lnTo>
                    <a:pt x="2112" y="828"/>
                  </a:lnTo>
                  <a:lnTo>
                    <a:pt x="2112" y="834"/>
                  </a:lnTo>
                  <a:lnTo>
                    <a:pt x="2112" y="840"/>
                  </a:lnTo>
                  <a:lnTo>
                    <a:pt x="2112" y="834"/>
                  </a:lnTo>
                  <a:lnTo>
                    <a:pt x="2124" y="834"/>
                  </a:lnTo>
                  <a:lnTo>
                    <a:pt x="2130" y="834"/>
                  </a:lnTo>
                  <a:lnTo>
                    <a:pt x="2136" y="840"/>
                  </a:lnTo>
                  <a:lnTo>
                    <a:pt x="2142" y="840"/>
                  </a:lnTo>
                  <a:lnTo>
                    <a:pt x="2154" y="852"/>
                  </a:lnTo>
                  <a:lnTo>
                    <a:pt x="2160" y="852"/>
                  </a:lnTo>
                  <a:lnTo>
                    <a:pt x="2172" y="846"/>
                  </a:lnTo>
                  <a:lnTo>
                    <a:pt x="2178" y="846"/>
                  </a:lnTo>
                  <a:lnTo>
                    <a:pt x="2184" y="846"/>
                  </a:lnTo>
                  <a:lnTo>
                    <a:pt x="2190" y="846"/>
                  </a:lnTo>
                  <a:lnTo>
                    <a:pt x="2196" y="852"/>
                  </a:lnTo>
                  <a:lnTo>
                    <a:pt x="2196" y="858"/>
                  </a:lnTo>
                  <a:lnTo>
                    <a:pt x="2202" y="852"/>
                  </a:lnTo>
                  <a:lnTo>
                    <a:pt x="2208" y="846"/>
                  </a:lnTo>
                  <a:lnTo>
                    <a:pt x="2214" y="846"/>
                  </a:lnTo>
                  <a:lnTo>
                    <a:pt x="2226" y="846"/>
                  </a:lnTo>
                  <a:lnTo>
                    <a:pt x="2232" y="852"/>
                  </a:lnTo>
                  <a:lnTo>
                    <a:pt x="2238" y="852"/>
                  </a:lnTo>
                  <a:lnTo>
                    <a:pt x="2244" y="858"/>
                  </a:lnTo>
                  <a:lnTo>
                    <a:pt x="2250" y="858"/>
                  </a:lnTo>
                  <a:lnTo>
                    <a:pt x="2256" y="858"/>
                  </a:lnTo>
                  <a:lnTo>
                    <a:pt x="2262" y="858"/>
                  </a:lnTo>
                  <a:lnTo>
                    <a:pt x="2268" y="852"/>
                  </a:lnTo>
                  <a:lnTo>
                    <a:pt x="2274" y="852"/>
                  </a:lnTo>
                  <a:lnTo>
                    <a:pt x="2280" y="852"/>
                  </a:lnTo>
                  <a:lnTo>
                    <a:pt x="2286" y="852"/>
                  </a:lnTo>
                  <a:lnTo>
                    <a:pt x="2298" y="858"/>
                  </a:lnTo>
                  <a:lnTo>
                    <a:pt x="2304" y="858"/>
                  </a:lnTo>
                  <a:lnTo>
                    <a:pt x="2310" y="858"/>
                  </a:lnTo>
                  <a:lnTo>
                    <a:pt x="2316" y="852"/>
                  </a:lnTo>
                  <a:lnTo>
                    <a:pt x="2322" y="858"/>
                  </a:lnTo>
                  <a:lnTo>
                    <a:pt x="2328" y="858"/>
                  </a:lnTo>
                  <a:lnTo>
                    <a:pt x="2328" y="852"/>
                  </a:lnTo>
                  <a:lnTo>
                    <a:pt x="2364" y="858"/>
                  </a:lnTo>
                  <a:lnTo>
                    <a:pt x="2376" y="876"/>
                  </a:lnTo>
                  <a:lnTo>
                    <a:pt x="2382" y="936"/>
                  </a:lnTo>
                  <a:lnTo>
                    <a:pt x="2388" y="966"/>
                  </a:lnTo>
                  <a:lnTo>
                    <a:pt x="2382" y="972"/>
                  </a:lnTo>
                  <a:lnTo>
                    <a:pt x="2382" y="978"/>
                  </a:lnTo>
                  <a:lnTo>
                    <a:pt x="2382" y="984"/>
                  </a:lnTo>
                  <a:lnTo>
                    <a:pt x="2388" y="990"/>
                  </a:lnTo>
                  <a:lnTo>
                    <a:pt x="2382" y="990"/>
                  </a:lnTo>
                  <a:lnTo>
                    <a:pt x="2382" y="996"/>
                  </a:lnTo>
                  <a:lnTo>
                    <a:pt x="2376" y="996"/>
                  </a:lnTo>
                  <a:lnTo>
                    <a:pt x="2376" y="1020"/>
                  </a:lnTo>
                  <a:lnTo>
                    <a:pt x="2370" y="1032"/>
                  </a:lnTo>
                  <a:lnTo>
                    <a:pt x="2352" y="1032"/>
                  </a:lnTo>
                  <a:lnTo>
                    <a:pt x="2346" y="1020"/>
                  </a:lnTo>
                  <a:lnTo>
                    <a:pt x="2328" y="1032"/>
                  </a:lnTo>
                  <a:lnTo>
                    <a:pt x="2316" y="1038"/>
                  </a:lnTo>
                  <a:lnTo>
                    <a:pt x="2328" y="1044"/>
                  </a:lnTo>
                  <a:lnTo>
                    <a:pt x="2340" y="1056"/>
                  </a:lnTo>
                  <a:lnTo>
                    <a:pt x="2376" y="1062"/>
                  </a:lnTo>
                  <a:lnTo>
                    <a:pt x="2376" y="1068"/>
                  </a:lnTo>
                  <a:lnTo>
                    <a:pt x="2382" y="1086"/>
                  </a:lnTo>
                  <a:lnTo>
                    <a:pt x="2376" y="1086"/>
                  </a:lnTo>
                  <a:lnTo>
                    <a:pt x="2370" y="1086"/>
                  </a:lnTo>
                  <a:lnTo>
                    <a:pt x="2364" y="1086"/>
                  </a:lnTo>
                  <a:lnTo>
                    <a:pt x="2364" y="1098"/>
                  </a:lnTo>
                  <a:lnTo>
                    <a:pt x="2388" y="1104"/>
                  </a:lnTo>
                  <a:lnTo>
                    <a:pt x="2400" y="1122"/>
                  </a:lnTo>
                  <a:lnTo>
                    <a:pt x="2400" y="1134"/>
                  </a:lnTo>
                  <a:lnTo>
                    <a:pt x="2400" y="1146"/>
                  </a:lnTo>
                  <a:lnTo>
                    <a:pt x="2394" y="1146"/>
                  </a:lnTo>
                  <a:lnTo>
                    <a:pt x="2394" y="1152"/>
                  </a:lnTo>
                  <a:lnTo>
                    <a:pt x="2388" y="1152"/>
                  </a:lnTo>
                  <a:lnTo>
                    <a:pt x="2388" y="1146"/>
                  </a:lnTo>
                  <a:lnTo>
                    <a:pt x="2382" y="1152"/>
                  </a:lnTo>
                  <a:lnTo>
                    <a:pt x="2376" y="1152"/>
                  </a:lnTo>
                  <a:lnTo>
                    <a:pt x="2370" y="1158"/>
                  </a:lnTo>
                  <a:lnTo>
                    <a:pt x="2370" y="1164"/>
                  </a:lnTo>
                  <a:lnTo>
                    <a:pt x="2364" y="1170"/>
                  </a:lnTo>
                  <a:lnTo>
                    <a:pt x="2370" y="1170"/>
                  </a:lnTo>
                  <a:lnTo>
                    <a:pt x="2376" y="1170"/>
                  </a:lnTo>
                  <a:lnTo>
                    <a:pt x="2370" y="1176"/>
                  </a:lnTo>
                  <a:lnTo>
                    <a:pt x="2364" y="1176"/>
                  </a:lnTo>
                  <a:lnTo>
                    <a:pt x="2358" y="1182"/>
                  </a:lnTo>
                  <a:lnTo>
                    <a:pt x="2352" y="1182"/>
                  </a:lnTo>
                  <a:lnTo>
                    <a:pt x="2346" y="1188"/>
                  </a:lnTo>
                  <a:lnTo>
                    <a:pt x="2340" y="1182"/>
                  </a:lnTo>
                  <a:lnTo>
                    <a:pt x="2334" y="1182"/>
                  </a:lnTo>
                  <a:lnTo>
                    <a:pt x="2334" y="1188"/>
                  </a:lnTo>
                  <a:lnTo>
                    <a:pt x="2328" y="1194"/>
                  </a:lnTo>
                  <a:lnTo>
                    <a:pt x="2328" y="1200"/>
                  </a:lnTo>
                  <a:lnTo>
                    <a:pt x="2322" y="1224"/>
                  </a:lnTo>
                  <a:lnTo>
                    <a:pt x="2328" y="1230"/>
                  </a:lnTo>
                  <a:lnTo>
                    <a:pt x="2358" y="1230"/>
                  </a:lnTo>
                  <a:lnTo>
                    <a:pt x="2358" y="1242"/>
                  </a:lnTo>
                  <a:lnTo>
                    <a:pt x="2358" y="1254"/>
                  </a:lnTo>
                  <a:lnTo>
                    <a:pt x="2346" y="1254"/>
                  </a:lnTo>
                  <a:lnTo>
                    <a:pt x="2346" y="1278"/>
                  </a:lnTo>
                  <a:lnTo>
                    <a:pt x="2358" y="1278"/>
                  </a:lnTo>
                  <a:lnTo>
                    <a:pt x="2358" y="1284"/>
                  </a:lnTo>
                  <a:lnTo>
                    <a:pt x="2376" y="1284"/>
                  </a:lnTo>
                  <a:lnTo>
                    <a:pt x="2388" y="1278"/>
                  </a:lnTo>
                  <a:lnTo>
                    <a:pt x="2406" y="1278"/>
                  </a:lnTo>
                  <a:lnTo>
                    <a:pt x="2430" y="1284"/>
                  </a:lnTo>
                  <a:lnTo>
                    <a:pt x="2430" y="1302"/>
                  </a:lnTo>
                  <a:lnTo>
                    <a:pt x="2430" y="1314"/>
                  </a:lnTo>
                  <a:lnTo>
                    <a:pt x="2424" y="1326"/>
                  </a:lnTo>
                  <a:lnTo>
                    <a:pt x="2412" y="1326"/>
                  </a:lnTo>
                  <a:lnTo>
                    <a:pt x="2412" y="1344"/>
                  </a:lnTo>
                  <a:lnTo>
                    <a:pt x="2406" y="1344"/>
                  </a:lnTo>
                  <a:lnTo>
                    <a:pt x="2400" y="1362"/>
                  </a:lnTo>
                  <a:lnTo>
                    <a:pt x="2394" y="1368"/>
                  </a:lnTo>
                  <a:lnTo>
                    <a:pt x="2388" y="1374"/>
                  </a:lnTo>
                  <a:lnTo>
                    <a:pt x="2382" y="1380"/>
                  </a:lnTo>
                  <a:lnTo>
                    <a:pt x="2376" y="1386"/>
                  </a:lnTo>
                  <a:lnTo>
                    <a:pt x="2376" y="1392"/>
                  </a:lnTo>
                  <a:lnTo>
                    <a:pt x="2370" y="1404"/>
                  </a:lnTo>
                  <a:lnTo>
                    <a:pt x="2364" y="1416"/>
                  </a:lnTo>
                  <a:lnTo>
                    <a:pt x="2346" y="1434"/>
                  </a:lnTo>
                  <a:lnTo>
                    <a:pt x="2328" y="1440"/>
                  </a:lnTo>
                  <a:lnTo>
                    <a:pt x="2328" y="1446"/>
                  </a:lnTo>
                  <a:lnTo>
                    <a:pt x="2322" y="1452"/>
                  </a:lnTo>
                  <a:lnTo>
                    <a:pt x="2316" y="1452"/>
                  </a:lnTo>
                  <a:lnTo>
                    <a:pt x="2304" y="1446"/>
                  </a:lnTo>
                  <a:lnTo>
                    <a:pt x="2298" y="1446"/>
                  </a:lnTo>
                  <a:lnTo>
                    <a:pt x="2298" y="1434"/>
                  </a:lnTo>
                  <a:lnTo>
                    <a:pt x="2292" y="1434"/>
                  </a:lnTo>
                  <a:lnTo>
                    <a:pt x="2286" y="1428"/>
                  </a:lnTo>
                  <a:lnTo>
                    <a:pt x="2274" y="1416"/>
                  </a:lnTo>
                  <a:lnTo>
                    <a:pt x="2256" y="1404"/>
                  </a:lnTo>
                  <a:lnTo>
                    <a:pt x="2244" y="1386"/>
                  </a:lnTo>
                  <a:lnTo>
                    <a:pt x="2220" y="1368"/>
                  </a:lnTo>
                  <a:lnTo>
                    <a:pt x="2208" y="1362"/>
                  </a:lnTo>
                  <a:lnTo>
                    <a:pt x="2202" y="1350"/>
                  </a:lnTo>
                  <a:lnTo>
                    <a:pt x="2196" y="1350"/>
                  </a:lnTo>
                  <a:lnTo>
                    <a:pt x="2190" y="1356"/>
                  </a:lnTo>
                  <a:lnTo>
                    <a:pt x="2184" y="1356"/>
                  </a:lnTo>
                  <a:lnTo>
                    <a:pt x="2094" y="1350"/>
                  </a:lnTo>
                  <a:lnTo>
                    <a:pt x="2058" y="1350"/>
                  </a:lnTo>
                  <a:lnTo>
                    <a:pt x="2034" y="1890"/>
                  </a:lnTo>
                  <a:lnTo>
                    <a:pt x="2064" y="1890"/>
                  </a:lnTo>
                  <a:lnTo>
                    <a:pt x="2070" y="1896"/>
                  </a:lnTo>
                  <a:lnTo>
                    <a:pt x="2076" y="18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8" name="Freeform 33">
              <a:extLst>
                <a:ext uri="{FF2B5EF4-FFF2-40B4-BE49-F238E27FC236}">
                  <a16:creationId xmlns:a16="http://schemas.microsoft.com/office/drawing/2014/main" id="{0E96F118-1F4D-4E52-AF27-149259451CD6}"/>
                </a:ext>
              </a:extLst>
            </p:cNvPr>
            <p:cNvSpPr>
              <a:spLocks/>
            </p:cNvSpPr>
            <p:nvPr/>
          </p:nvSpPr>
          <p:spPr bwMode="gray">
            <a:xfrm>
              <a:off x="1266662" y="1459989"/>
              <a:ext cx="903421" cy="778302"/>
            </a:xfrm>
            <a:custGeom>
              <a:avLst/>
              <a:gdLst>
                <a:gd name="T0" fmla="*/ 143 w 1698"/>
                <a:gd name="T1" fmla="*/ 43 h 1464"/>
                <a:gd name="T2" fmla="*/ 131 w 1698"/>
                <a:gd name="T3" fmla="*/ 44 h 1464"/>
                <a:gd name="T4" fmla="*/ 126 w 1698"/>
                <a:gd name="T5" fmla="*/ 41 h 1464"/>
                <a:gd name="T6" fmla="*/ 119 w 1698"/>
                <a:gd name="T7" fmla="*/ 45 h 1464"/>
                <a:gd name="T8" fmla="*/ 111 w 1698"/>
                <a:gd name="T9" fmla="*/ 46 h 1464"/>
                <a:gd name="T10" fmla="*/ 107 w 1698"/>
                <a:gd name="T11" fmla="*/ 50 h 1464"/>
                <a:gd name="T12" fmla="*/ 107 w 1698"/>
                <a:gd name="T13" fmla="*/ 60 h 1464"/>
                <a:gd name="T14" fmla="*/ 104 w 1698"/>
                <a:gd name="T15" fmla="*/ 62 h 1464"/>
                <a:gd name="T16" fmla="*/ 97 w 1698"/>
                <a:gd name="T17" fmla="*/ 59 h 1464"/>
                <a:gd name="T18" fmla="*/ 92 w 1698"/>
                <a:gd name="T19" fmla="*/ 59 h 1464"/>
                <a:gd name="T20" fmla="*/ 90 w 1698"/>
                <a:gd name="T21" fmla="*/ 62 h 1464"/>
                <a:gd name="T22" fmla="*/ 93 w 1698"/>
                <a:gd name="T23" fmla="*/ 77 h 1464"/>
                <a:gd name="T24" fmla="*/ 85 w 1698"/>
                <a:gd name="T25" fmla="*/ 88 h 1464"/>
                <a:gd name="T26" fmla="*/ 70 w 1698"/>
                <a:gd name="T27" fmla="*/ 89 h 1464"/>
                <a:gd name="T28" fmla="*/ 65 w 1698"/>
                <a:gd name="T29" fmla="*/ 88 h 1464"/>
                <a:gd name="T30" fmla="*/ 50 w 1698"/>
                <a:gd name="T31" fmla="*/ 88 h 1464"/>
                <a:gd name="T32" fmla="*/ 48 w 1698"/>
                <a:gd name="T33" fmla="*/ 107 h 1464"/>
                <a:gd name="T34" fmla="*/ 47 w 1698"/>
                <a:gd name="T35" fmla="*/ 120 h 1464"/>
                <a:gd name="T36" fmla="*/ 43 w 1698"/>
                <a:gd name="T37" fmla="*/ 121 h 1464"/>
                <a:gd name="T38" fmla="*/ 40 w 1698"/>
                <a:gd name="T39" fmla="*/ 120 h 1464"/>
                <a:gd name="T40" fmla="*/ 35 w 1698"/>
                <a:gd name="T41" fmla="*/ 122 h 1464"/>
                <a:gd name="T42" fmla="*/ 29 w 1698"/>
                <a:gd name="T43" fmla="*/ 123 h 1464"/>
                <a:gd name="T44" fmla="*/ 24 w 1698"/>
                <a:gd name="T45" fmla="*/ 125 h 1464"/>
                <a:gd name="T46" fmla="*/ 20 w 1698"/>
                <a:gd name="T47" fmla="*/ 125 h 1464"/>
                <a:gd name="T48" fmla="*/ 18 w 1698"/>
                <a:gd name="T49" fmla="*/ 122 h 1464"/>
                <a:gd name="T50" fmla="*/ 26 w 1698"/>
                <a:gd name="T51" fmla="*/ 108 h 1464"/>
                <a:gd name="T52" fmla="*/ 24 w 1698"/>
                <a:gd name="T53" fmla="*/ 89 h 1464"/>
                <a:gd name="T54" fmla="*/ 28 w 1698"/>
                <a:gd name="T55" fmla="*/ 85 h 1464"/>
                <a:gd name="T56" fmla="*/ 32 w 1698"/>
                <a:gd name="T57" fmla="*/ 80 h 1464"/>
                <a:gd name="T58" fmla="*/ 36 w 1698"/>
                <a:gd name="T59" fmla="*/ 86 h 1464"/>
                <a:gd name="T60" fmla="*/ 39 w 1698"/>
                <a:gd name="T61" fmla="*/ 80 h 1464"/>
                <a:gd name="T62" fmla="*/ 41 w 1698"/>
                <a:gd name="T63" fmla="*/ 73 h 1464"/>
                <a:gd name="T64" fmla="*/ 38 w 1698"/>
                <a:gd name="T65" fmla="*/ 64 h 1464"/>
                <a:gd name="T66" fmla="*/ 39 w 1698"/>
                <a:gd name="T67" fmla="*/ 59 h 1464"/>
                <a:gd name="T68" fmla="*/ 32 w 1698"/>
                <a:gd name="T69" fmla="*/ 54 h 1464"/>
                <a:gd name="T70" fmla="*/ 32 w 1698"/>
                <a:gd name="T71" fmla="*/ 45 h 1464"/>
                <a:gd name="T72" fmla="*/ 31 w 1698"/>
                <a:gd name="T73" fmla="*/ 41 h 1464"/>
                <a:gd name="T74" fmla="*/ 24 w 1698"/>
                <a:gd name="T75" fmla="*/ 43 h 1464"/>
                <a:gd name="T76" fmla="*/ 17 w 1698"/>
                <a:gd name="T77" fmla="*/ 40 h 1464"/>
                <a:gd name="T78" fmla="*/ 11 w 1698"/>
                <a:gd name="T79" fmla="*/ 38 h 1464"/>
                <a:gd name="T80" fmla="*/ 2 w 1698"/>
                <a:gd name="T81" fmla="*/ 36 h 1464"/>
                <a:gd name="T82" fmla="*/ 0 w 1698"/>
                <a:gd name="T83" fmla="*/ 24 h 1464"/>
                <a:gd name="T84" fmla="*/ 11 w 1698"/>
                <a:gd name="T85" fmla="*/ 18 h 1464"/>
                <a:gd name="T86" fmla="*/ 19 w 1698"/>
                <a:gd name="T87" fmla="*/ 10 h 1464"/>
                <a:gd name="T88" fmla="*/ 28 w 1698"/>
                <a:gd name="T89" fmla="*/ 9 h 1464"/>
                <a:gd name="T90" fmla="*/ 40 w 1698"/>
                <a:gd name="T91" fmla="*/ 6 h 1464"/>
                <a:gd name="T92" fmla="*/ 49 w 1698"/>
                <a:gd name="T93" fmla="*/ 8 h 1464"/>
                <a:gd name="T94" fmla="*/ 56 w 1698"/>
                <a:gd name="T95" fmla="*/ 8 h 1464"/>
                <a:gd name="T96" fmla="*/ 64 w 1698"/>
                <a:gd name="T97" fmla="*/ 7 h 1464"/>
                <a:gd name="T98" fmla="*/ 74 w 1698"/>
                <a:gd name="T99" fmla="*/ 1 h 1464"/>
                <a:gd name="T100" fmla="*/ 83 w 1698"/>
                <a:gd name="T101" fmla="*/ 3 h 1464"/>
                <a:gd name="T102" fmla="*/ 99 w 1698"/>
                <a:gd name="T103" fmla="*/ 9 h 1464"/>
                <a:gd name="T104" fmla="*/ 112 w 1698"/>
                <a:gd name="T105" fmla="*/ 14 h 1464"/>
                <a:gd name="T106" fmla="*/ 119 w 1698"/>
                <a:gd name="T107" fmla="*/ 12 h 1464"/>
                <a:gd name="T108" fmla="*/ 128 w 1698"/>
                <a:gd name="T109" fmla="*/ 17 h 1464"/>
                <a:gd name="T110" fmla="*/ 141 w 1698"/>
                <a:gd name="T111" fmla="*/ 29 h 1464"/>
                <a:gd name="T112" fmla="*/ 145 w 1698"/>
                <a:gd name="T113" fmla="*/ 35 h 14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98"/>
                <a:gd name="T172" fmla="*/ 0 h 1464"/>
                <a:gd name="T173" fmla="*/ 1698 w 1698"/>
                <a:gd name="T174" fmla="*/ 1464 h 14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98" h="1464">
                  <a:moveTo>
                    <a:pt x="1698" y="462"/>
                  </a:moveTo>
                  <a:lnTo>
                    <a:pt x="1686" y="468"/>
                  </a:lnTo>
                  <a:lnTo>
                    <a:pt x="1680" y="474"/>
                  </a:lnTo>
                  <a:lnTo>
                    <a:pt x="1674" y="480"/>
                  </a:lnTo>
                  <a:lnTo>
                    <a:pt x="1668" y="480"/>
                  </a:lnTo>
                  <a:lnTo>
                    <a:pt x="1662" y="486"/>
                  </a:lnTo>
                  <a:lnTo>
                    <a:pt x="1656" y="492"/>
                  </a:lnTo>
                  <a:lnTo>
                    <a:pt x="1644" y="498"/>
                  </a:lnTo>
                  <a:lnTo>
                    <a:pt x="1626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0" y="516"/>
                  </a:lnTo>
                  <a:lnTo>
                    <a:pt x="1590" y="522"/>
                  </a:lnTo>
                  <a:lnTo>
                    <a:pt x="1566" y="522"/>
                  </a:lnTo>
                  <a:lnTo>
                    <a:pt x="1506" y="510"/>
                  </a:lnTo>
                  <a:lnTo>
                    <a:pt x="1500" y="510"/>
                  </a:lnTo>
                  <a:lnTo>
                    <a:pt x="1488" y="504"/>
                  </a:lnTo>
                  <a:lnTo>
                    <a:pt x="1482" y="498"/>
                  </a:lnTo>
                  <a:lnTo>
                    <a:pt x="1476" y="498"/>
                  </a:lnTo>
                  <a:lnTo>
                    <a:pt x="1476" y="492"/>
                  </a:lnTo>
                  <a:lnTo>
                    <a:pt x="1470" y="492"/>
                  </a:lnTo>
                  <a:lnTo>
                    <a:pt x="1464" y="486"/>
                  </a:lnTo>
                  <a:lnTo>
                    <a:pt x="1452" y="486"/>
                  </a:lnTo>
                  <a:lnTo>
                    <a:pt x="1446" y="474"/>
                  </a:lnTo>
                  <a:lnTo>
                    <a:pt x="1434" y="468"/>
                  </a:lnTo>
                  <a:lnTo>
                    <a:pt x="1416" y="468"/>
                  </a:lnTo>
                  <a:lnTo>
                    <a:pt x="1392" y="468"/>
                  </a:lnTo>
                  <a:lnTo>
                    <a:pt x="1374" y="474"/>
                  </a:lnTo>
                  <a:lnTo>
                    <a:pt x="1368" y="474"/>
                  </a:lnTo>
                  <a:lnTo>
                    <a:pt x="1368" y="486"/>
                  </a:lnTo>
                  <a:lnTo>
                    <a:pt x="1368" y="498"/>
                  </a:lnTo>
                  <a:lnTo>
                    <a:pt x="1368" y="522"/>
                  </a:lnTo>
                  <a:lnTo>
                    <a:pt x="1368" y="534"/>
                  </a:lnTo>
                  <a:lnTo>
                    <a:pt x="1362" y="546"/>
                  </a:lnTo>
                  <a:lnTo>
                    <a:pt x="1356" y="546"/>
                  </a:lnTo>
                  <a:lnTo>
                    <a:pt x="1344" y="540"/>
                  </a:lnTo>
                  <a:lnTo>
                    <a:pt x="1338" y="534"/>
                  </a:lnTo>
                  <a:lnTo>
                    <a:pt x="1308" y="522"/>
                  </a:lnTo>
                  <a:lnTo>
                    <a:pt x="1296" y="522"/>
                  </a:lnTo>
                  <a:lnTo>
                    <a:pt x="1278" y="528"/>
                  </a:lnTo>
                  <a:lnTo>
                    <a:pt x="1260" y="534"/>
                  </a:lnTo>
                  <a:lnTo>
                    <a:pt x="1242" y="546"/>
                  </a:lnTo>
                  <a:lnTo>
                    <a:pt x="1236" y="552"/>
                  </a:lnTo>
                  <a:lnTo>
                    <a:pt x="1224" y="558"/>
                  </a:lnTo>
                  <a:lnTo>
                    <a:pt x="1218" y="558"/>
                  </a:lnTo>
                  <a:lnTo>
                    <a:pt x="1218" y="564"/>
                  </a:lnTo>
                  <a:lnTo>
                    <a:pt x="1224" y="570"/>
                  </a:lnTo>
                  <a:lnTo>
                    <a:pt x="1224" y="582"/>
                  </a:lnTo>
                  <a:lnTo>
                    <a:pt x="1224" y="594"/>
                  </a:lnTo>
                  <a:lnTo>
                    <a:pt x="1212" y="618"/>
                  </a:lnTo>
                  <a:lnTo>
                    <a:pt x="1212" y="624"/>
                  </a:lnTo>
                  <a:lnTo>
                    <a:pt x="1212" y="630"/>
                  </a:lnTo>
                  <a:lnTo>
                    <a:pt x="1212" y="636"/>
                  </a:lnTo>
                  <a:lnTo>
                    <a:pt x="1218" y="654"/>
                  </a:lnTo>
                  <a:lnTo>
                    <a:pt x="1224" y="672"/>
                  </a:lnTo>
                  <a:lnTo>
                    <a:pt x="1230" y="696"/>
                  </a:lnTo>
                  <a:lnTo>
                    <a:pt x="1236" y="708"/>
                  </a:lnTo>
                  <a:lnTo>
                    <a:pt x="1236" y="714"/>
                  </a:lnTo>
                  <a:lnTo>
                    <a:pt x="1236" y="720"/>
                  </a:lnTo>
                  <a:lnTo>
                    <a:pt x="1218" y="726"/>
                  </a:lnTo>
                  <a:lnTo>
                    <a:pt x="1212" y="726"/>
                  </a:lnTo>
                  <a:lnTo>
                    <a:pt x="1206" y="726"/>
                  </a:lnTo>
                  <a:lnTo>
                    <a:pt x="1194" y="720"/>
                  </a:lnTo>
                  <a:lnTo>
                    <a:pt x="1194" y="714"/>
                  </a:lnTo>
                  <a:lnTo>
                    <a:pt x="1176" y="714"/>
                  </a:lnTo>
                  <a:lnTo>
                    <a:pt x="1164" y="708"/>
                  </a:lnTo>
                  <a:lnTo>
                    <a:pt x="1158" y="708"/>
                  </a:lnTo>
                  <a:lnTo>
                    <a:pt x="1140" y="702"/>
                  </a:lnTo>
                  <a:lnTo>
                    <a:pt x="1134" y="696"/>
                  </a:lnTo>
                  <a:lnTo>
                    <a:pt x="1128" y="690"/>
                  </a:lnTo>
                  <a:lnTo>
                    <a:pt x="1116" y="678"/>
                  </a:lnTo>
                  <a:lnTo>
                    <a:pt x="1110" y="678"/>
                  </a:lnTo>
                  <a:lnTo>
                    <a:pt x="1104" y="672"/>
                  </a:lnTo>
                  <a:lnTo>
                    <a:pt x="1092" y="672"/>
                  </a:lnTo>
                  <a:lnTo>
                    <a:pt x="1086" y="672"/>
                  </a:lnTo>
                  <a:lnTo>
                    <a:pt x="1080" y="672"/>
                  </a:lnTo>
                  <a:lnTo>
                    <a:pt x="1074" y="672"/>
                  </a:lnTo>
                  <a:lnTo>
                    <a:pt x="1068" y="672"/>
                  </a:lnTo>
                  <a:lnTo>
                    <a:pt x="1062" y="678"/>
                  </a:lnTo>
                  <a:lnTo>
                    <a:pt x="1056" y="678"/>
                  </a:lnTo>
                  <a:lnTo>
                    <a:pt x="1056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6"/>
                  </a:lnTo>
                  <a:lnTo>
                    <a:pt x="1032" y="708"/>
                  </a:lnTo>
                  <a:lnTo>
                    <a:pt x="1026" y="708"/>
                  </a:lnTo>
                  <a:lnTo>
                    <a:pt x="1032" y="714"/>
                  </a:lnTo>
                  <a:lnTo>
                    <a:pt x="1026" y="720"/>
                  </a:lnTo>
                  <a:lnTo>
                    <a:pt x="1020" y="720"/>
                  </a:lnTo>
                  <a:lnTo>
                    <a:pt x="1014" y="732"/>
                  </a:lnTo>
                  <a:lnTo>
                    <a:pt x="1014" y="744"/>
                  </a:lnTo>
                  <a:lnTo>
                    <a:pt x="1038" y="810"/>
                  </a:lnTo>
                  <a:lnTo>
                    <a:pt x="1050" y="834"/>
                  </a:lnTo>
                  <a:lnTo>
                    <a:pt x="1056" y="858"/>
                  </a:lnTo>
                  <a:lnTo>
                    <a:pt x="1062" y="876"/>
                  </a:lnTo>
                  <a:lnTo>
                    <a:pt x="1068" y="882"/>
                  </a:lnTo>
                  <a:lnTo>
                    <a:pt x="1062" y="972"/>
                  </a:lnTo>
                  <a:lnTo>
                    <a:pt x="1056" y="972"/>
                  </a:lnTo>
                  <a:lnTo>
                    <a:pt x="1050" y="996"/>
                  </a:lnTo>
                  <a:lnTo>
                    <a:pt x="1044" y="1014"/>
                  </a:lnTo>
                  <a:lnTo>
                    <a:pt x="1008" y="1014"/>
                  </a:lnTo>
                  <a:lnTo>
                    <a:pt x="1008" y="1008"/>
                  </a:lnTo>
                  <a:lnTo>
                    <a:pt x="990" y="1008"/>
                  </a:lnTo>
                  <a:lnTo>
                    <a:pt x="972" y="1014"/>
                  </a:lnTo>
                  <a:lnTo>
                    <a:pt x="948" y="1020"/>
                  </a:lnTo>
                  <a:lnTo>
                    <a:pt x="918" y="1026"/>
                  </a:lnTo>
                  <a:lnTo>
                    <a:pt x="840" y="1032"/>
                  </a:lnTo>
                  <a:lnTo>
                    <a:pt x="834" y="1032"/>
                  </a:lnTo>
                  <a:lnTo>
                    <a:pt x="834" y="1026"/>
                  </a:lnTo>
                  <a:lnTo>
                    <a:pt x="822" y="1026"/>
                  </a:lnTo>
                  <a:lnTo>
                    <a:pt x="816" y="1032"/>
                  </a:lnTo>
                  <a:lnTo>
                    <a:pt x="804" y="1032"/>
                  </a:lnTo>
                  <a:lnTo>
                    <a:pt x="798" y="1026"/>
                  </a:lnTo>
                  <a:lnTo>
                    <a:pt x="780" y="1026"/>
                  </a:lnTo>
                  <a:lnTo>
                    <a:pt x="762" y="1026"/>
                  </a:lnTo>
                  <a:lnTo>
                    <a:pt x="756" y="1026"/>
                  </a:lnTo>
                  <a:lnTo>
                    <a:pt x="750" y="1026"/>
                  </a:lnTo>
                  <a:lnTo>
                    <a:pt x="756" y="1020"/>
                  </a:lnTo>
                  <a:lnTo>
                    <a:pt x="750" y="1020"/>
                  </a:lnTo>
                  <a:lnTo>
                    <a:pt x="744" y="1014"/>
                  </a:lnTo>
                  <a:lnTo>
                    <a:pt x="684" y="1020"/>
                  </a:lnTo>
                  <a:lnTo>
                    <a:pt x="648" y="1020"/>
                  </a:lnTo>
                  <a:lnTo>
                    <a:pt x="630" y="1020"/>
                  </a:lnTo>
                  <a:lnTo>
                    <a:pt x="618" y="1020"/>
                  </a:lnTo>
                  <a:lnTo>
                    <a:pt x="606" y="1014"/>
                  </a:lnTo>
                  <a:lnTo>
                    <a:pt x="582" y="1014"/>
                  </a:lnTo>
                  <a:lnTo>
                    <a:pt x="576" y="1014"/>
                  </a:lnTo>
                  <a:lnTo>
                    <a:pt x="570" y="1014"/>
                  </a:lnTo>
                  <a:lnTo>
                    <a:pt x="564" y="1020"/>
                  </a:lnTo>
                  <a:lnTo>
                    <a:pt x="558" y="1026"/>
                  </a:lnTo>
                  <a:lnTo>
                    <a:pt x="552" y="1032"/>
                  </a:lnTo>
                  <a:lnTo>
                    <a:pt x="552" y="1038"/>
                  </a:lnTo>
                  <a:lnTo>
                    <a:pt x="558" y="1194"/>
                  </a:lnTo>
                  <a:lnTo>
                    <a:pt x="558" y="1206"/>
                  </a:lnTo>
                  <a:lnTo>
                    <a:pt x="552" y="1218"/>
                  </a:lnTo>
                  <a:lnTo>
                    <a:pt x="552" y="1236"/>
                  </a:lnTo>
                  <a:lnTo>
                    <a:pt x="546" y="1272"/>
                  </a:lnTo>
                  <a:lnTo>
                    <a:pt x="546" y="1308"/>
                  </a:lnTo>
                  <a:lnTo>
                    <a:pt x="540" y="1332"/>
                  </a:lnTo>
                  <a:lnTo>
                    <a:pt x="546" y="1356"/>
                  </a:lnTo>
                  <a:lnTo>
                    <a:pt x="546" y="1362"/>
                  </a:lnTo>
                  <a:lnTo>
                    <a:pt x="546" y="1374"/>
                  </a:lnTo>
                  <a:lnTo>
                    <a:pt x="546" y="1380"/>
                  </a:lnTo>
                  <a:lnTo>
                    <a:pt x="540" y="1380"/>
                  </a:lnTo>
                  <a:lnTo>
                    <a:pt x="522" y="1380"/>
                  </a:lnTo>
                  <a:lnTo>
                    <a:pt x="516" y="1380"/>
                  </a:lnTo>
                  <a:lnTo>
                    <a:pt x="516" y="1386"/>
                  </a:lnTo>
                  <a:lnTo>
                    <a:pt x="516" y="1392"/>
                  </a:lnTo>
                  <a:lnTo>
                    <a:pt x="510" y="1392"/>
                  </a:lnTo>
                  <a:lnTo>
                    <a:pt x="504" y="1386"/>
                  </a:lnTo>
                  <a:lnTo>
                    <a:pt x="498" y="1392"/>
                  </a:lnTo>
                  <a:lnTo>
                    <a:pt x="492" y="1398"/>
                  </a:lnTo>
                  <a:lnTo>
                    <a:pt x="486" y="1398"/>
                  </a:lnTo>
                  <a:lnTo>
                    <a:pt x="486" y="1392"/>
                  </a:lnTo>
                  <a:lnTo>
                    <a:pt x="486" y="1380"/>
                  </a:lnTo>
                  <a:lnTo>
                    <a:pt x="486" y="1374"/>
                  </a:lnTo>
                  <a:lnTo>
                    <a:pt x="480" y="1374"/>
                  </a:lnTo>
                  <a:lnTo>
                    <a:pt x="474" y="1374"/>
                  </a:lnTo>
                  <a:lnTo>
                    <a:pt x="468" y="1380"/>
                  </a:lnTo>
                  <a:lnTo>
                    <a:pt x="462" y="1380"/>
                  </a:lnTo>
                  <a:lnTo>
                    <a:pt x="456" y="1380"/>
                  </a:lnTo>
                  <a:lnTo>
                    <a:pt x="450" y="1386"/>
                  </a:lnTo>
                  <a:lnTo>
                    <a:pt x="444" y="1386"/>
                  </a:lnTo>
                  <a:lnTo>
                    <a:pt x="444" y="1392"/>
                  </a:lnTo>
                  <a:lnTo>
                    <a:pt x="432" y="1398"/>
                  </a:lnTo>
                  <a:lnTo>
                    <a:pt x="426" y="1404"/>
                  </a:lnTo>
                  <a:lnTo>
                    <a:pt x="420" y="1404"/>
                  </a:lnTo>
                  <a:lnTo>
                    <a:pt x="408" y="1404"/>
                  </a:lnTo>
                  <a:lnTo>
                    <a:pt x="378" y="1410"/>
                  </a:lnTo>
                  <a:lnTo>
                    <a:pt x="372" y="1410"/>
                  </a:lnTo>
                  <a:lnTo>
                    <a:pt x="360" y="1410"/>
                  </a:lnTo>
                  <a:lnTo>
                    <a:pt x="354" y="1416"/>
                  </a:lnTo>
                  <a:lnTo>
                    <a:pt x="348" y="1416"/>
                  </a:lnTo>
                  <a:lnTo>
                    <a:pt x="342" y="1410"/>
                  </a:lnTo>
                  <a:lnTo>
                    <a:pt x="336" y="1410"/>
                  </a:lnTo>
                  <a:lnTo>
                    <a:pt x="336" y="1416"/>
                  </a:lnTo>
                  <a:lnTo>
                    <a:pt x="330" y="1422"/>
                  </a:lnTo>
                  <a:lnTo>
                    <a:pt x="324" y="1422"/>
                  </a:lnTo>
                  <a:lnTo>
                    <a:pt x="318" y="1422"/>
                  </a:lnTo>
                  <a:lnTo>
                    <a:pt x="312" y="1428"/>
                  </a:lnTo>
                  <a:lnTo>
                    <a:pt x="312" y="1434"/>
                  </a:lnTo>
                  <a:lnTo>
                    <a:pt x="300" y="1428"/>
                  </a:lnTo>
                  <a:lnTo>
                    <a:pt x="288" y="1434"/>
                  </a:lnTo>
                  <a:lnTo>
                    <a:pt x="282" y="1440"/>
                  </a:lnTo>
                  <a:lnTo>
                    <a:pt x="282" y="1446"/>
                  </a:lnTo>
                  <a:lnTo>
                    <a:pt x="276" y="1446"/>
                  </a:lnTo>
                  <a:lnTo>
                    <a:pt x="276" y="1452"/>
                  </a:lnTo>
                  <a:lnTo>
                    <a:pt x="270" y="1452"/>
                  </a:lnTo>
                  <a:lnTo>
                    <a:pt x="258" y="1464"/>
                  </a:lnTo>
                  <a:lnTo>
                    <a:pt x="240" y="1458"/>
                  </a:lnTo>
                  <a:lnTo>
                    <a:pt x="234" y="1452"/>
                  </a:lnTo>
                  <a:lnTo>
                    <a:pt x="234" y="1446"/>
                  </a:lnTo>
                  <a:lnTo>
                    <a:pt x="228" y="1446"/>
                  </a:lnTo>
                  <a:lnTo>
                    <a:pt x="222" y="1440"/>
                  </a:lnTo>
                  <a:lnTo>
                    <a:pt x="216" y="1440"/>
                  </a:lnTo>
                  <a:lnTo>
                    <a:pt x="210" y="1428"/>
                  </a:lnTo>
                  <a:lnTo>
                    <a:pt x="210" y="1422"/>
                  </a:lnTo>
                  <a:lnTo>
                    <a:pt x="198" y="1416"/>
                  </a:lnTo>
                  <a:lnTo>
                    <a:pt x="204" y="1410"/>
                  </a:lnTo>
                  <a:lnTo>
                    <a:pt x="210" y="1404"/>
                  </a:lnTo>
                  <a:lnTo>
                    <a:pt x="210" y="1398"/>
                  </a:lnTo>
                  <a:lnTo>
                    <a:pt x="252" y="1368"/>
                  </a:lnTo>
                  <a:lnTo>
                    <a:pt x="276" y="1350"/>
                  </a:lnTo>
                  <a:lnTo>
                    <a:pt x="300" y="1338"/>
                  </a:lnTo>
                  <a:lnTo>
                    <a:pt x="294" y="1314"/>
                  </a:lnTo>
                  <a:lnTo>
                    <a:pt x="288" y="1308"/>
                  </a:lnTo>
                  <a:lnTo>
                    <a:pt x="300" y="1266"/>
                  </a:lnTo>
                  <a:lnTo>
                    <a:pt x="300" y="1242"/>
                  </a:lnTo>
                  <a:lnTo>
                    <a:pt x="300" y="1206"/>
                  </a:lnTo>
                  <a:lnTo>
                    <a:pt x="300" y="1164"/>
                  </a:lnTo>
                  <a:lnTo>
                    <a:pt x="294" y="1134"/>
                  </a:lnTo>
                  <a:lnTo>
                    <a:pt x="282" y="1086"/>
                  </a:lnTo>
                  <a:lnTo>
                    <a:pt x="276" y="1074"/>
                  </a:lnTo>
                  <a:lnTo>
                    <a:pt x="276" y="1056"/>
                  </a:lnTo>
                  <a:lnTo>
                    <a:pt x="270" y="1038"/>
                  </a:lnTo>
                  <a:lnTo>
                    <a:pt x="270" y="1020"/>
                  </a:lnTo>
                  <a:lnTo>
                    <a:pt x="282" y="1020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94" y="1002"/>
                  </a:lnTo>
                  <a:lnTo>
                    <a:pt x="306" y="996"/>
                  </a:lnTo>
                  <a:lnTo>
                    <a:pt x="312" y="990"/>
                  </a:lnTo>
                  <a:lnTo>
                    <a:pt x="318" y="990"/>
                  </a:lnTo>
                  <a:lnTo>
                    <a:pt x="324" y="984"/>
                  </a:lnTo>
                  <a:lnTo>
                    <a:pt x="324" y="978"/>
                  </a:lnTo>
                  <a:lnTo>
                    <a:pt x="324" y="972"/>
                  </a:lnTo>
                  <a:lnTo>
                    <a:pt x="324" y="954"/>
                  </a:lnTo>
                  <a:lnTo>
                    <a:pt x="336" y="948"/>
                  </a:lnTo>
                  <a:lnTo>
                    <a:pt x="342" y="936"/>
                  </a:lnTo>
                  <a:lnTo>
                    <a:pt x="348" y="924"/>
                  </a:lnTo>
                  <a:lnTo>
                    <a:pt x="354" y="924"/>
                  </a:lnTo>
                  <a:lnTo>
                    <a:pt x="372" y="924"/>
                  </a:lnTo>
                  <a:lnTo>
                    <a:pt x="372" y="930"/>
                  </a:lnTo>
                  <a:lnTo>
                    <a:pt x="378" y="930"/>
                  </a:lnTo>
                  <a:lnTo>
                    <a:pt x="378" y="936"/>
                  </a:lnTo>
                  <a:lnTo>
                    <a:pt x="384" y="936"/>
                  </a:lnTo>
                  <a:lnTo>
                    <a:pt x="384" y="942"/>
                  </a:lnTo>
                  <a:lnTo>
                    <a:pt x="402" y="942"/>
                  </a:lnTo>
                  <a:lnTo>
                    <a:pt x="402" y="996"/>
                  </a:lnTo>
                  <a:lnTo>
                    <a:pt x="414" y="996"/>
                  </a:lnTo>
                  <a:lnTo>
                    <a:pt x="420" y="996"/>
                  </a:lnTo>
                  <a:lnTo>
                    <a:pt x="426" y="996"/>
                  </a:lnTo>
                  <a:lnTo>
                    <a:pt x="432" y="996"/>
                  </a:lnTo>
                  <a:lnTo>
                    <a:pt x="438" y="996"/>
                  </a:lnTo>
                  <a:lnTo>
                    <a:pt x="438" y="942"/>
                  </a:lnTo>
                  <a:lnTo>
                    <a:pt x="444" y="930"/>
                  </a:lnTo>
                  <a:lnTo>
                    <a:pt x="444" y="924"/>
                  </a:lnTo>
                  <a:lnTo>
                    <a:pt x="444" y="918"/>
                  </a:lnTo>
                  <a:lnTo>
                    <a:pt x="462" y="918"/>
                  </a:lnTo>
                  <a:lnTo>
                    <a:pt x="474" y="906"/>
                  </a:lnTo>
                  <a:lnTo>
                    <a:pt x="480" y="900"/>
                  </a:lnTo>
                  <a:lnTo>
                    <a:pt x="486" y="888"/>
                  </a:lnTo>
                  <a:lnTo>
                    <a:pt x="492" y="876"/>
                  </a:lnTo>
                  <a:lnTo>
                    <a:pt x="492" y="858"/>
                  </a:lnTo>
                  <a:lnTo>
                    <a:pt x="480" y="858"/>
                  </a:lnTo>
                  <a:lnTo>
                    <a:pt x="474" y="840"/>
                  </a:lnTo>
                  <a:lnTo>
                    <a:pt x="450" y="834"/>
                  </a:lnTo>
                  <a:lnTo>
                    <a:pt x="438" y="816"/>
                  </a:lnTo>
                  <a:lnTo>
                    <a:pt x="432" y="792"/>
                  </a:lnTo>
                  <a:lnTo>
                    <a:pt x="432" y="786"/>
                  </a:lnTo>
                  <a:lnTo>
                    <a:pt x="432" y="774"/>
                  </a:lnTo>
                  <a:lnTo>
                    <a:pt x="432" y="762"/>
                  </a:lnTo>
                  <a:lnTo>
                    <a:pt x="438" y="750"/>
                  </a:lnTo>
                  <a:lnTo>
                    <a:pt x="438" y="738"/>
                  </a:lnTo>
                  <a:lnTo>
                    <a:pt x="444" y="732"/>
                  </a:lnTo>
                  <a:lnTo>
                    <a:pt x="450" y="732"/>
                  </a:lnTo>
                  <a:lnTo>
                    <a:pt x="456" y="732"/>
                  </a:lnTo>
                  <a:lnTo>
                    <a:pt x="456" y="726"/>
                  </a:lnTo>
                  <a:lnTo>
                    <a:pt x="456" y="714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44" y="684"/>
                  </a:lnTo>
                  <a:lnTo>
                    <a:pt x="438" y="666"/>
                  </a:lnTo>
                  <a:lnTo>
                    <a:pt x="426" y="666"/>
                  </a:lnTo>
                  <a:lnTo>
                    <a:pt x="432" y="666"/>
                  </a:lnTo>
                  <a:lnTo>
                    <a:pt x="420" y="666"/>
                  </a:lnTo>
                  <a:lnTo>
                    <a:pt x="414" y="660"/>
                  </a:lnTo>
                  <a:lnTo>
                    <a:pt x="396" y="654"/>
                  </a:lnTo>
                  <a:lnTo>
                    <a:pt x="384" y="642"/>
                  </a:lnTo>
                  <a:lnTo>
                    <a:pt x="366" y="624"/>
                  </a:lnTo>
                  <a:lnTo>
                    <a:pt x="354" y="606"/>
                  </a:lnTo>
                  <a:lnTo>
                    <a:pt x="342" y="588"/>
                  </a:lnTo>
                  <a:lnTo>
                    <a:pt x="342" y="582"/>
                  </a:lnTo>
                  <a:lnTo>
                    <a:pt x="360" y="564"/>
                  </a:lnTo>
                  <a:lnTo>
                    <a:pt x="372" y="540"/>
                  </a:lnTo>
                  <a:lnTo>
                    <a:pt x="366" y="528"/>
                  </a:lnTo>
                  <a:lnTo>
                    <a:pt x="366" y="522"/>
                  </a:lnTo>
                  <a:lnTo>
                    <a:pt x="372" y="516"/>
                  </a:lnTo>
                  <a:lnTo>
                    <a:pt x="384" y="504"/>
                  </a:lnTo>
                  <a:lnTo>
                    <a:pt x="378" y="492"/>
                  </a:lnTo>
                  <a:lnTo>
                    <a:pt x="378" y="486"/>
                  </a:lnTo>
                  <a:lnTo>
                    <a:pt x="378" y="480"/>
                  </a:lnTo>
                  <a:lnTo>
                    <a:pt x="378" y="474"/>
                  </a:lnTo>
                  <a:lnTo>
                    <a:pt x="378" y="468"/>
                  </a:lnTo>
                  <a:lnTo>
                    <a:pt x="366" y="468"/>
                  </a:lnTo>
                  <a:lnTo>
                    <a:pt x="360" y="474"/>
                  </a:lnTo>
                  <a:lnTo>
                    <a:pt x="354" y="480"/>
                  </a:lnTo>
                  <a:lnTo>
                    <a:pt x="348" y="486"/>
                  </a:lnTo>
                  <a:lnTo>
                    <a:pt x="348" y="492"/>
                  </a:lnTo>
                  <a:lnTo>
                    <a:pt x="336" y="510"/>
                  </a:lnTo>
                  <a:lnTo>
                    <a:pt x="300" y="516"/>
                  </a:lnTo>
                  <a:lnTo>
                    <a:pt x="300" y="510"/>
                  </a:lnTo>
                  <a:lnTo>
                    <a:pt x="282" y="504"/>
                  </a:lnTo>
                  <a:lnTo>
                    <a:pt x="282" y="498"/>
                  </a:lnTo>
                  <a:lnTo>
                    <a:pt x="264" y="486"/>
                  </a:lnTo>
                  <a:lnTo>
                    <a:pt x="258" y="492"/>
                  </a:lnTo>
                  <a:lnTo>
                    <a:pt x="234" y="492"/>
                  </a:lnTo>
                  <a:lnTo>
                    <a:pt x="222" y="486"/>
                  </a:lnTo>
                  <a:lnTo>
                    <a:pt x="204" y="480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92" y="462"/>
                  </a:lnTo>
                  <a:lnTo>
                    <a:pt x="186" y="462"/>
                  </a:lnTo>
                  <a:lnTo>
                    <a:pt x="180" y="468"/>
                  </a:lnTo>
                  <a:lnTo>
                    <a:pt x="150" y="450"/>
                  </a:lnTo>
                  <a:lnTo>
                    <a:pt x="144" y="438"/>
                  </a:lnTo>
                  <a:lnTo>
                    <a:pt x="138" y="438"/>
                  </a:lnTo>
                  <a:lnTo>
                    <a:pt x="132" y="432"/>
                  </a:lnTo>
                  <a:lnTo>
                    <a:pt x="126" y="432"/>
                  </a:lnTo>
                  <a:lnTo>
                    <a:pt x="120" y="432"/>
                  </a:lnTo>
                  <a:lnTo>
                    <a:pt x="102" y="426"/>
                  </a:lnTo>
                  <a:lnTo>
                    <a:pt x="96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2" y="414"/>
                  </a:lnTo>
                  <a:lnTo>
                    <a:pt x="60" y="414"/>
                  </a:lnTo>
                  <a:lnTo>
                    <a:pt x="30" y="414"/>
                  </a:lnTo>
                  <a:lnTo>
                    <a:pt x="24" y="414"/>
                  </a:lnTo>
                  <a:lnTo>
                    <a:pt x="12" y="414"/>
                  </a:lnTo>
                  <a:lnTo>
                    <a:pt x="0" y="420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0" y="336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30" y="270"/>
                  </a:lnTo>
                  <a:lnTo>
                    <a:pt x="42" y="270"/>
                  </a:lnTo>
                  <a:lnTo>
                    <a:pt x="54" y="264"/>
                  </a:lnTo>
                  <a:lnTo>
                    <a:pt x="78" y="240"/>
                  </a:lnTo>
                  <a:lnTo>
                    <a:pt x="102" y="216"/>
                  </a:lnTo>
                  <a:lnTo>
                    <a:pt x="114" y="210"/>
                  </a:lnTo>
                  <a:lnTo>
                    <a:pt x="120" y="204"/>
                  </a:lnTo>
                  <a:lnTo>
                    <a:pt x="126" y="198"/>
                  </a:lnTo>
                  <a:lnTo>
                    <a:pt x="138" y="18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38"/>
                  </a:lnTo>
                  <a:lnTo>
                    <a:pt x="210" y="126"/>
                  </a:lnTo>
                  <a:lnTo>
                    <a:pt x="216" y="120"/>
                  </a:lnTo>
                  <a:lnTo>
                    <a:pt x="222" y="120"/>
                  </a:lnTo>
                  <a:lnTo>
                    <a:pt x="258" y="114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300" y="102"/>
                  </a:lnTo>
                  <a:lnTo>
                    <a:pt x="312" y="102"/>
                  </a:lnTo>
                  <a:lnTo>
                    <a:pt x="318" y="102"/>
                  </a:lnTo>
                  <a:lnTo>
                    <a:pt x="348" y="96"/>
                  </a:lnTo>
                  <a:lnTo>
                    <a:pt x="366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408" y="84"/>
                  </a:lnTo>
                  <a:lnTo>
                    <a:pt x="420" y="84"/>
                  </a:lnTo>
                  <a:lnTo>
                    <a:pt x="462" y="72"/>
                  </a:lnTo>
                  <a:lnTo>
                    <a:pt x="474" y="72"/>
                  </a:lnTo>
                  <a:lnTo>
                    <a:pt x="474" y="78"/>
                  </a:lnTo>
                  <a:lnTo>
                    <a:pt x="492" y="90"/>
                  </a:lnTo>
                  <a:lnTo>
                    <a:pt x="498" y="90"/>
                  </a:lnTo>
                  <a:lnTo>
                    <a:pt x="522" y="96"/>
                  </a:lnTo>
                  <a:lnTo>
                    <a:pt x="540" y="96"/>
                  </a:lnTo>
                  <a:lnTo>
                    <a:pt x="546" y="96"/>
                  </a:lnTo>
                  <a:lnTo>
                    <a:pt x="558" y="96"/>
                  </a:lnTo>
                  <a:lnTo>
                    <a:pt x="564" y="96"/>
                  </a:lnTo>
                  <a:lnTo>
                    <a:pt x="576" y="96"/>
                  </a:lnTo>
                  <a:lnTo>
                    <a:pt x="588" y="96"/>
                  </a:lnTo>
                  <a:lnTo>
                    <a:pt x="612" y="90"/>
                  </a:lnTo>
                  <a:lnTo>
                    <a:pt x="624" y="90"/>
                  </a:lnTo>
                  <a:lnTo>
                    <a:pt x="636" y="90"/>
                  </a:lnTo>
                  <a:lnTo>
                    <a:pt x="642" y="90"/>
                  </a:lnTo>
                  <a:lnTo>
                    <a:pt x="648" y="96"/>
                  </a:lnTo>
                  <a:lnTo>
                    <a:pt x="660" y="96"/>
                  </a:lnTo>
                  <a:lnTo>
                    <a:pt x="666" y="96"/>
                  </a:lnTo>
                  <a:lnTo>
                    <a:pt x="672" y="96"/>
                  </a:lnTo>
                  <a:lnTo>
                    <a:pt x="684" y="96"/>
                  </a:lnTo>
                  <a:lnTo>
                    <a:pt x="708" y="96"/>
                  </a:lnTo>
                  <a:lnTo>
                    <a:pt x="714" y="96"/>
                  </a:lnTo>
                  <a:lnTo>
                    <a:pt x="726" y="96"/>
                  </a:lnTo>
                  <a:lnTo>
                    <a:pt x="738" y="84"/>
                  </a:lnTo>
                  <a:lnTo>
                    <a:pt x="744" y="78"/>
                  </a:lnTo>
                  <a:lnTo>
                    <a:pt x="756" y="66"/>
                  </a:lnTo>
                  <a:lnTo>
                    <a:pt x="774" y="42"/>
                  </a:lnTo>
                  <a:lnTo>
                    <a:pt x="780" y="30"/>
                  </a:lnTo>
                  <a:lnTo>
                    <a:pt x="816" y="24"/>
                  </a:lnTo>
                  <a:lnTo>
                    <a:pt x="840" y="18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64" y="6"/>
                  </a:lnTo>
                  <a:lnTo>
                    <a:pt x="870" y="6"/>
                  </a:lnTo>
                  <a:lnTo>
                    <a:pt x="894" y="0"/>
                  </a:lnTo>
                  <a:lnTo>
                    <a:pt x="900" y="6"/>
                  </a:lnTo>
                  <a:lnTo>
                    <a:pt x="930" y="18"/>
                  </a:lnTo>
                  <a:lnTo>
                    <a:pt x="942" y="24"/>
                  </a:lnTo>
                  <a:lnTo>
                    <a:pt x="954" y="30"/>
                  </a:lnTo>
                  <a:lnTo>
                    <a:pt x="1026" y="60"/>
                  </a:lnTo>
                  <a:lnTo>
                    <a:pt x="1032" y="60"/>
                  </a:lnTo>
                  <a:lnTo>
                    <a:pt x="1038" y="66"/>
                  </a:lnTo>
                  <a:lnTo>
                    <a:pt x="1068" y="72"/>
                  </a:lnTo>
                  <a:lnTo>
                    <a:pt x="1098" y="84"/>
                  </a:lnTo>
                  <a:lnTo>
                    <a:pt x="1122" y="90"/>
                  </a:lnTo>
                  <a:lnTo>
                    <a:pt x="1122" y="96"/>
                  </a:lnTo>
                  <a:lnTo>
                    <a:pt x="1140" y="102"/>
                  </a:lnTo>
                  <a:lnTo>
                    <a:pt x="1182" y="114"/>
                  </a:lnTo>
                  <a:lnTo>
                    <a:pt x="1188" y="114"/>
                  </a:lnTo>
                  <a:lnTo>
                    <a:pt x="1200" y="120"/>
                  </a:lnTo>
                  <a:lnTo>
                    <a:pt x="1212" y="126"/>
                  </a:lnTo>
                  <a:lnTo>
                    <a:pt x="1224" y="126"/>
                  </a:lnTo>
                  <a:lnTo>
                    <a:pt x="1248" y="138"/>
                  </a:lnTo>
                  <a:lnTo>
                    <a:pt x="1272" y="150"/>
                  </a:lnTo>
                  <a:lnTo>
                    <a:pt x="1284" y="156"/>
                  </a:lnTo>
                  <a:lnTo>
                    <a:pt x="1290" y="162"/>
                  </a:lnTo>
                  <a:lnTo>
                    <a:pt x="1296" y="162"/>
                  </a:lnTo>
                  <a:lnTo>
                    <a:pt x="1308" y="156"/>
                  </a:lnTo>
                  <a:lnTo>
                    <a:pt x="1320" y="150"/>
                  </a:lnTo>
                  <a:lnTo>
                    <a:pt x="1326" y="150"/>
                  </a:lnTo>
                  <a:lnTo>
                    <a:pt x="1338" y="144"/>
                  </a:lnTo>
                  <a:lnTo>
                    <a:pt x="1362" y="144"/>
                  </a:lnTo>
                  <a:lnTo>
                    <a:pt x="1368" y="144"/>
                  </a:lnTo>
                  <a:lnTo>
                    <a:pt x="1374" y="144"/>
                  </a:lnTo>
                  <a:lnTo>
                    <a:pt x="1386" y="150"/>
                  </a:lnTo>
                  <a:lnTo>
                    <a:pt x="1392" y="150"/>
                  </a:lnTo>
                  <a:lnTo>
                    <a:pt x="1398" y="150"/>
                  </a:lnTo>
                  <a:lnTo>
                    <a:pt x="1416" y="162"/>
                  </a:lnTo>
                  <a:lnTo>
                    <a:pt x="1458" y="186"/>
                  </a:lnTo>
                  <a:lnTo>
                    <a:pt x="1464" y="186"/>
                  </a:lnTo>
                  <a:lnTo>
                    <a:pt x="1470" y="192"/>
                  </a:lnTo>
                  <a:lnTo>
                    <a:pt x="1482" y="204"/>
                  </a:lnTo>
                  <a:lnTo>
                    <a:pt x="1512" y="234"/>
                  </a:lnTo>
                  <a:lnTo>
                    <a:pt x="1554" y="276"/>
                  </a:lnTo>
                  <a:lnTo>
                    <a:pt x="1560" y="276"/>
                  </a:lnTo>
                  <a:lnTo>
                    <a:pt x="1566" y="282"/>
                  </a:lnTo>
                  <a:lnTo>
                    <a:pt x="1578" y="294"/>
                  </a:lnTo>
                  <a:lnTo>
                    <a:pt x="1602" y="318"/>
                  </a:lnTo>
                  <a:lnTo>
                    <a:pt x="1614" y="330"/>
                  </a:lnTo>
                  <a:lnTo>
                    <a:pt x="1620" y="336"/>
                  </a:lnTo>
                  <a:lnTo>
                    <a:pt x="1626" y="342"/>
                  </a:lnTo>
                  <a:lnTo>
                    <a:pt x="1632" y="354"/>
                  </a:lnTo>
                  <a:lnTo>
                    <a:pt x="1644" y="366"/>
                  </a:lnTo>
                  <a:lnTo>
                    <a:pt x="1650" y="378"/>
                  </a:lnTo>
                  <a:lnTo>
                    <a:pt x="1650" y="384"/>
                  </a:lnTo>
                  <a:lnTo>
                    <a:pt x="1656" y="384"/>
                  </a:lnTo>
                  <a:lnTo>
                    <a:pt x="1662" y="402"/>
                  </a:lnTo>
                  <a:lnTo>
                    <a:pt x="1668" y="408"/>
                  </a:lnTo>
                  <a:lnTo>
                    <a:pt x="1674" y="426"/>
                  </a:lnTo>
                  <a:lnTo>
                    <a:pt x="1686" y="438"/>
                  </a:lnTo>
                  <a:lnTo>
                    <a:pt x="1698" y="46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9" name="Freeform 34">
              <a:extLst>
                <a:ext uri="{FF2B5EF4-FFF2-40B4-BE49-F238E27FC236}">
                  <a16:creationId xmlns:a16="http://schemas.microsoft.com/office/drawing/2014/main" id="{94603F24-8CF7-4226-A433-00D18CA7D9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1988" y="1681402"/>
              <a:ext cx="869877" cy="1060101"/>
            </a:xfrm>
            <a:custGeom>
              <a:avLst/>
              <a:gdLst>
                <a:gd name="T0" fmla="*/ 4 w 1638"/>
                <a:gd name="T1" fmla="*/ 111 h 1998"/>
                <a:gd name="T2" fmla="*/ 6 w 1638"/>
                <a:gd name="T3" fmla="*/ 87 h 1998"/>
                <a:gd name="T4" fmla="*/ 10 w 1638"/>
                <a:gd name="T5" fmla="*/ 80 h 1998"/>
                <a:gd name="T6" fmla="*/ 10 w 1638"/>
                <a:gd name="T7" fmla="*/ 71 h 1998"/>
                <a:gd name="T8" fmla="*/ 9 w 1638"/>
                <a:gd name="T9" fmla="*/ 56 h 1998"/>
                <a:gd name="T10" fmla="*/ 8 w 1638"/>
                <a:gd name="T11" fmla="*/ 40 h 1998"/>
                <a:gd name="T12" fmla="*/ 20 w 1638"/>
                <a:gd name="T13" fmla="*/ 30 h 1998"/>
                <a:gd name="T14" fmla="*/ 30 w 1638"/>
                <a:gd name="T15" fmla="*/ 19 h 1998"/>
                <a:gd name="T16" fmla="*/ 35 w 1638"/>
                <a:gd name="T17" fmla="*/ 2 h 1998"/>
                <a:gd name="T18" fmla="*/ 47 w 1638"/>
                <a:gd name="T19" fmla="*/ 2 h 1998"/>
                <a:gd name="T20" fmla="*/ 56 w 1638"/>
                <a:gd name="T21" fmla="*/ 7 h 1998"/>
                <a:gd name="T22" fmla="*/ 67 w 1638"/>
                <a:gd name="T23" fmla="*/ 5 h 1998"/>
                <a:gd name="T24" fmla="*/ 65 w 1638"/>
                <a:gd name="T25" fmla="*/ 15 h 1998"/>
                <a:gd name="T26" fmla="*/ 74 w 1638"/>
                <a:gd name="T27" fmla="*/ 24 h 1998"/>
                <a:gd name="T28" fmla="*/ 73 w 1638"/>
                <a:gd name="T29" fmla="*/ 33 h 1998"/>
                <a:gd name="T30" fmla="*/ 74 w 1638"/>
                <a:gd name="T31" fmla="*/ 44 h 1998"/>
                <a:gd name="T32" fmla="*/ 68 w 1638"/>
                <a:gd name="T33" fmla="*/ 45 h 1998"/>
                <a:gd name="T34" fmla="*/ 63 w 1638"/>
                <a:gd name="T35" fmla="*/ 50 h 1998"/>
                <a:gd name="T36" fmla="*/ 61 w 1638"/>
                <a:gd name="T37" fmla="*/ 62 h 1998"/>
                <a:gd name="T38" fmla="*/ 53 w 1638"/>
                <a:gd name="T39" fmla="*/ 86 h 1998"/>
                <a:gd name="T40" fmla="*/ 59 w 1638"/>
                <a:gd name="T41" fmla="*/ 90 h 1998"/>
                <a:gd name="T42" fmla="*/ 65 w 1638"/>
                <a:gd name="T43" fmla="*/ 86 h 1998"/>
                <a:gd name="T44" fmla="*/ 74 w 1638"/>
                <a:gd name="T45" fmla="*/ 84 h 1998"/>
                <a:gd name="T46" fmla="*/ 79 w 1638"/>
                <a:gd name="T47" fmla="*/ 85 h 1998"/>
                <a:gd name="T48" fmla="*/ 84 w 1638"/>
                <a:gd name="T49" fmla="*/ 84 h 1998"/>
                <a:gd name="T50" fmla="*/ 91 w 1638"/>
                <a:gd name="T51" fmla="*/ 84 h 1998"/>
                <a:gd name="T52" fmla="*/ 94 w 1638"/>
                <a:gd name="T53" fmla="*/ 81 h 1998"/>
                <a:gd name="T54" fmla="*/ 100 w 1638"/>
                <a:gd name="T55" fmla="*/ 81 h 1998"/>
                <a:gd name="T56" fmla="*/ 102 w 1638"/>
                <a:gd name="T57" fmla="*/ 84 h 1998"/>
                <a:gd name="T58" fmla="*/ 108 w 1638"/>
                <a:gd name="T59" fmla="*/ 85 h 1998"/>
                <a:gd name="T60" fmla="*/ 113 w 1638"/>
                <a:gd name="T61" fmla="*/ 88 h 1998"/>
                <a:gd name="T62" fmla="*/ 116 w 1638"/>
                <a:gd name="T63" fmla="*/ 88 h 1998"/>
                <a:gd name="T64" fmla="*/ 123 w 1638"/>
                <a:gd name="T65" fmla="*/ 87 h 1998"/>
                <a:gd name="T66" fmla="*/ 128 w 1638"/>
                <a:gd name="T67" fmla="*/ 86 h 1998"/>
                <a:gd name="T68" fmla="*/ 132 w 1638"/>
                <a:gd name="T69" fmla="*/ 90 h 1998"/>
                <a:gd name="T70" fmla="*/ 138 w 1638"/>
                <a:gd name="T71" fmla="*/ 96 h 1998"/>
                <a:gd name="T72" fmla="*/ 138 w 1638"/>
                <a:gd name="T73" fmla="*/ 110 h 1998"/>
                <a:gd name="T74" fmla="*/ 137 w 1638"/>
                <a:gd name="T75" fmla="*/ 118 h 1998"/>
                <a:gd name="T76" fmla="*/ 133 w 1638"/>
                <a:gd name="T77" fmla="*/ 124 h 1998"/>
                <a:gd name="T78" fmla="*/ 122 w 1638"/>
                <a:gd name="T79" fmla="*/ 125 h 1998"/>
                <a:gd name="T80" fmla="*/ 116 w 1638"/>
                <a:gd name="T81" fmla="*/ 127 h 1998"/>
                <a:gd name="T82" fmla="*/ 108 w 1638"/>
                <a:gd name="T83" fmla="*/ 123 h 1998"/>
                <a:gd name="T84" fmla="*/ 109 w 1638"/>
                <a:gd name="T85" fmla="*/ 119 h 1998"/>
                <a:gd name="T86" fmla="*/ 104 w 1638"/>
                <a:gd name="T87" fmla="*/ 104 h 1998"/>
                <a:gd name="T88" fmla="*/ 94 w 1638"/>
                <a:gd name="T89" fmla="*/ 105 h 1998"/>
                <a:gd name="T90" fmla="*/ 88 w 1638"/>
                <a:gd name="T91" fmla="*/ 109 h 1998"/>
                <a:gd name="T92" fmla="*/ 76 w 1638"/>
                <a:gd name="T93" fmla="*/ 107 h 1998"/>
                <a:gd name="T94" fmla="*/ 72 w 1638"/>
                <a:gd name="T95" fmla="*/ 114 h 1998"/>
                <a:gd name="T96" fmla="*/ 86 w 1638"/>
                <a:gd name="T97" fmla="*/ 121 h 1998"/>
                <a:gd name="T98" fmla="*/ 87 w 1638"/>
                <a:gd name="T99" fmla="*/ 129 h 1998"/>
                <a:gd name="T100" fmla="*/ 86 w 1638"/>
                <a:gd name="T101" fmla="*/ 137 h 1998"/>
                <a:gd name="T102" fmla="*/ 79 w 1638"/>
                <a:gd name="T103" fmla="*/ 141 h 1998"/>
                <a:gd name="T104" fmla="*/ 73 w 1638"/>
                <a:gd name="T105" fmla="*/ 144 h 1998"/>
                <a:gd name="T106" fmla="*/ 72 w 1638"/>
                <a:gd name="T107" fmla="*/ 164 h 1998"/>
                <a:gd name="T108" fmla="*/ 68 w 1638"/>
                <a:gd name="T109" fmla="*/ 172 h 1998"/>
                <a:gd name="T110" fmla="*/ 59 w 1638"/>
                <a:gd name="T111" fmla="*/ 164 h 1998"/>
                <a:gd name="T112" fmla="*/ 65 w 1638"/>
                <a:gd name="T113" fmla="*/ 146 h 1998"/>
                <a:gd name="T114" fmla="*/ 69 w 1638"/>
                <a:gd name="T115" fmla="*/ 133 h 1998"/>
                <a:gd name="T116" fmla="*/ 61 w 1638"/>
                <a:gd name="T117" fmla="*/ 131 h 1998"/>
                <a:gd name="T118" fmla="*/ 43 w 1638"/>
                <a:gd name="T119" fmla="*/ 125 h 1998"/>
                <a:gd name="T120" fmla="*/ 23 w 1638"/>
                <a:gd name="T121" fmla="*/ 125 h 1998"/>
                <a:gd name="T122" fmla="*/ 17 w 1638"/>
                <a:gd name="T123" fmla="*/ 121 h 19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638"/>
                <a:gd name="T187" fmla="*/ 0 h 1998"/>
                <a:gd name="T188" fmla="*/ 1638 w 1638"/>
                <a:gd name="T189" fmla="*/ 1998 h 19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638" h="1998">
                  <a:moveTo>
                    <a:pt x="144" y="1380"/>
                  </a:moveTo>
                  <a:lnTo>
                    <a:pt x="150" y="1368"/>
                  </a:lnTo>
                  <a:lnTo>
                    <a:pt x="150" y="1362"/>
                  </a:lnTo>
                  <a:lnTo>
                    <a:pt x="150" y="1356"/>
                  </a:lnTo>
                  <a:lnTo>
                    <a:pt x="144" y="1356"/>
                  </a:lnTo>
                  <a:lnTo>
                    <a:pt x="138" y="1356"/>
                  </a:lnTo>
                  <a:lnTo>
                    <a:pt x="126" y="1356"/>
                  </a:lnTo>
                  <a:lnTo>
                    <a:pt x="114" y="1344"/>
                  </a:lnTo>
                  <a:lnTo>
                    <a:pt x="84" y="1320"/>
                  </a:lnTo>
                  <a:lnTo>
                    <a:pt x="54" y="1296"/>
                  </a:lnTo>
                  <a:lnTo>
                    <a:pt x="48" y="1290"/>
                  </a:lnTo>
                  <a:lnTo>
                    <a:pt x="42" y="1278"/>
                  </a:lnTo>
                  <a:lnTo>
                    <a:pt x="30" y="1272"/>
                  </a:lnTo>
                  <a:lnTo>
                    <a:pt x="0" y="1248"/>
                  </a:lnTo>
                  <a:lnTo>
                    <a:pt x="6" y="1230"/>
                  </a:lnTo>
                  <a:lnTo>
                    <a:pt x="12" y="1194"/>
                  </a:lnTo>
                  <a:lnTo>
                    <a:pt x="18" y="1170"/>
                  </a:lnTo>
                  <a:lnTo>
                    <a:pt x="30" y="1134"/>
                  </a:lnTo>
                  <a:lnTo>
                    <a:pt x="36" y="1086"/>
                  </a:lnTo>
                  <a:lnTo>
                    <a:pt x="42" y="1050"/>
                  </a:lnTo>
                  <a:lnTo>
                    <a:pt x="48" y="1044"/>
                  </a:lnTo>
                  <a:lnTo>
                    <a:pt x="54" y="1026"/>
                  </a:lnTo>
                  <a:lnTo>
                    <a:pt x="60" y="1014"/>
                  </a:lnTo>
                  <a:lnTo>
                    <a:pt x="66" y="1002"/>
                  </a:lnTo>
                  <a:lnTo>
                    <a:pt x="66" y="996"/>
                  </a:lnTo>
                  <a:lnTo>
                    <a:pt x="72" y="996"/>
                  </a:lnTo>
                  <a:lnTo>
                    <a:pt x="72" y="990"/>
                  </a:lnTo>
                  <a:lnTo>
                    <a:pt x="78" y="990"/>
                  </a:lnTo>
                  <a:lnTo>
                    <a:pt x="90" y="978"/>
                  </a:lnTo>
                  <a:lnTo>
                    <a:pt x="96" y="966"/>
                  </a:lnTo>
                  <a:lnTo>
                    <a:pt x="102" y="966"/>
                  </a:lnTo>
                  <a:lnTo>
                    <a:pt x="114" y="954"/>
                  </a:lnTo>
                  <a:lnTo>
                    <a:pt x="120" y="954"/>
                  </a:lnTo>
                  <a:lnTo>
                    <a:pt x="120" y="948"/>
                  </a:lnTo>
                  <a:lnTo>
                    <a:pt x="114" y="930"/>
                  </a:lnTo>
                  <a:lnTo>
                    <a:pt x="114" y="924"/>
                  </a:lnTo>
                  <a:lnTo>
                    <a:pt x="108" y="918"/>
                  </a:lnTo>
                  <a:lnTo>
                    <a:pt x="102" y="912"/>
                  </a:lnTo>
                  <a:lnTo>
                    <a:pt x="90" y="906"/>
                  </a:lnTo>
                  <a:lnTo>
                    <a:pt x="84" y="900"/>
                  </a:lnTo>
                  <a:lnTo>
                    <a:pt x="84" y="888"/>
                  </a:lnTo>
                  <a:lnTo>
                    <a:pt x="84" y="882"/>
                  </a:lnTo>
                  <a:lnTo>
                    <a:pt x="78" y="858"/>
                  </a:lnTo>
                  <a:lnTo>
                    <a:pt x="78" y="852"/>
                  </a:lnTo>
                  <a:lnTo>
                    <a:pt x="84" y="846"/>
                  </a:lnTo>
                  <a:lnTo>
                    <a:pt x="84" y="840"/>
                  </a:lnTo>
                  <a:lnTo>
                    <a:pt x="96" y="828"/>
                  </a:lnTo>
                  <a:lnTo>
                    <a:pt x="114" y="816"/>
                  </a:lnTo>
                  <a:lnTo>
                    <a:pt x="114" y="810"/>
                  </a:lnTo>
                  <a:lnTo>
                    <a:pt x="114" y="804"/>
                  </a:lnTo>
                  <a:lnTo>
                    <a:pt x="108" y="780"/>
                  </a:lnTo>
                  <a:lnTo>
                    <a:pt x="96" y="756"/>
                  </a:lnTo>
                  <a:lnTo>
                    <a:pt x="96" y="750"/>
                  </a:lnTo>
                  <a:lnTo>
                    <a:pt x="90" y="720"/>
                  </a:lnTo>
                  <a:lnTo>
                    <a:pt x="90" y="708"/>
                  </a:lnTo>
                  <a:lnTo>
                    <a:pt x="90" y="690"/>
                  </a:lnTo>
                  <a:lnTo>
                    <a:pt x="96" y="672"/>
                  </a:lnTo>
                  <a:lnTo>
                    <a:pt x="90" y="666"/>
                  </a:lnTo>
                  <a:lnTo>
                    <a:pt x="96" y="666"/>
                  </a:lnTo>
                  <a:lnTo>
                    <a:pt x="102" y="642"/>
                  </a:lnTo>
                  <a:lnTo>
                    <a:pt x="108" y="624"/>
                  </a:lnTo>
                  <a:lnTo>
                    <a:pt x="102" y="618"/>
                  </a:lnTo>
                  <a:lnTo>
                    <a:pt x="102" y="588"/>
                  </a:lnTo>
                  <a:lnTo>
                    <a:pt x="102" y="564"/>
                  </a:lnTo>
                  <a:lnTo>
                    <a:pt x="102" y="546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0"/>
                  </a:lnTo>
                  <a:lnTo>
                    <a:pt x="96" y="498"/>
                  </a:lnTo>
                  <a:lnTo>
                    <a:pt x="96" y="486"/>
                  </a:lnTo>
                  <a:lnTo>
                    <a:pt x="96" y="474"/>
                  </a:lnTo>
                  <a:lnTo>
                    <a:pt x="96" y="462"/>
                  </a:lnTo>
                  <a:lnTo>
                    <a:pt x="114" y="450"/>
                  </a:lnTo>
                  <a:lnTo>
                    <a:pt x="126" y="438"/>
                  </a:lnTo>
                  <a:lnTo>
                    <a:pt x="132" y="432"/>
                  </a:lnTo>
                  <a:lnTo>
                    <a:pt x="144" y="426"/>
                  </a:lnTo>
                  <a:lnTo>
                    <a:pt x="144" y="420"/>
                  </a:lnTo>
                  <a:lnTo>
                    <a:pt x="156" y="414"/>
                  </a:lnTo>
                  <a:lnTo>
                    <a:pt x="162" y="408"/>
                  </a:lnTo>
                  <a:lnTo>
                    <a:pt x="180" y="396"/>
                  </a:lnTo>
                  <a:lnTo>
                    <a:pt x="210" y="372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34" y="348"/>
                  </a:lnTo>
                  <a:lnTo>
                    <a:pt x="240" y="348"/>
                  </a:lnTo>
                  <a:lnTo>
                    <a:pt x="246" y="342"/>
                  </a:lnTo>
                  <a:lnTo>
                    <a:pt x="276" y="318"/>
                  </a:lnTo>
                  <a:lnTo>
                    <a:pt x="282" y="312"/>
                  </a:lnTo>
                  <a:lnTo>
                    <a:pt x="288" y="306"/>
                  </a:lnTo>
                  <a:lnTo>
                    <a:pt x="300" y="288"/>
                  </a:lnTo>
                  <a:lnTo>
                    <a:pt x="306" y="276"/>
                  </a:lnTo>
                  <a:lnTo>
                    <a:pt x="324" y="246"/>
                  </a:lnTo>
                  <a:lnTo>
                    <a:pt x="330" y="240"/>
                  </a:lnTo>
                  <a:lnTo>
                    <a:pt x="336" y="234"/>
                  </a:lnTo>
                  <a:lnTo>
                    <a:pt x="342" y="228"/>
                  </a:lnTo>
                  <a:lnTo>
                    <a:pt x="342" y="216"/>
                  </a:lnTo>
                  <a:lnTo>
                    <a:pt x="354" y="204"/>
                  </a:lnTo>
                  <a:lnTo>
                    <a:pt x="360" y="204"/>
                  </a:lnTo>
                  <a:lnTo>
                    <a:pt x="366" y="186"/>
                  </a:lnTo>
                  <a:lnTo>
                    <a:pt x="384" y="162"/>
                  </a:lnTo>
                  <a:lnTo>
                    <a:pt x="390" y="144"/>
                  </a:lnTo>
                  <a:lnTo>
                    <a:pt x="396" y="114"/>
                  </a:lnTo>
                  <a:lnTo>
                    <a:pt x="396" y="102"/>
                  </a:lnTo>
                  <a:lnTo>
                    <a:pt x="402" y="90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08" y="36"/>
                  </a:lnTo>
                  <a:lnTo>
                    <a:pt x="408" y="24"/>
                  </a:lnTo>
                  <a:lnTo>
                    <a:pt x="408" y="6"/>
                  </a:lnTo>
                  <a:lnTo>
                    <a:pt x="420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68" y="0"/>
                  </a:lnTo>
                  <a:lnTo>
                    <a:pt x="480" y="0"/>
                  </a:lnTo>
                  <a:lnTo>
                    <a:pt x="492" y="0"/>
                  </a:lnTo>
                  <a:lnTo>
                    <a:pt x="498" y="0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8" y="18"/>
                  </a:lnTo>
                  <a:lnTo>
                    <a:pt x="534" y="18"/>
                  </a:lnTo>
                  <a:lnTo>
                    <a:pt x="540" y="18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8" y="36"/>
                  </a:lnTo>
                  <a:lnTo>
                    <a:pt x="588" y="54"/>
                  </a:lnTo>
                  <a:lnTo>
                    <a:pt x="594" y="48"/>
                  </a:lnTo>
                  <a:lnTo>
                    <a:pt x="600" y="48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12" y="66"/>
                  </a:lnTo>
                  <a:lnTo>
                    <a:pt x="630" y="72"/>
                  </a:lnTo>
                  <a:lnTo>
                    <a:pt x="642" y="78"/>
                  </a:lnTo>
                  <a:lnTo>
                    <a:pt x="666" y="78"/>
                  </a:lnTo>
                  <a:lnTo>
                    <a:pt x="672" y="72"/>
                  </a:lnTo>
                  <a:lnTo>
                    <a:pt x="690" y="84"/>
                  </a:lnTo>
                  <a:lnTo>
                    <a:pt x="690" y="90"/>
                  </a:lnTo>
                  <a:lnTo>
                    <a:pt x="708" y="96"/>
                  </a:lnTo>
                  <a:lnTo>
                    <a:pt x="708" y="102"/>
                  </a:lnTo>
                  <a:lnTo>
                    <a:pt x="744" y="96"/>
                  </a:lnTo>
                  <a:lnTo>
                    <a:pt x="756" y="78"/>
                  </a:lnTo>
                  <a:lnTo>
                    <a:pt x="756" y="72"/>
                  </a:lnTo>
                  <a:lnTo>
                    <a:pt x="762" y="66"/>
                  </a:lnTo>
                  <a:lnTo>
                    <a:pt x="768" y="60"/>
                  </a:lnTo>
                  <a:lnTo>
                    <a:pt x="774" y="54"/>
                  </a:lnTo>
                  <a:lnTo>
                    <a:pt x="786" y="54"/>
                  </a:lnTo>
                  <a:lnTo>
                    <a:pt x="786" y="60"/>
                  </a:lnTo>
                  <a:lnTo>
                    <a:pt x="786" y="66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92" y="90"/>
                  </a:lnTo>
                  <a:lnTo>
                    <a:pt x="780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26"/>
                  </a:lnTo>
                  <a:lnTo>
                    <a:pt x="768" y="150"/>
                  </a:lnTo>
                  <a:lnTo>
                    <a:pt x="750" y="168"/>
                  </a:lnTo>
                  <a:lnTo>
                    <a:pt x="750" y="174"/>
                  </a:lnTo>
                  <a:lnTo>
                    <a:pt x="762" y="192"/>
                  </a:lnTo>
                  <a:lnTo>
                    <a:pt x="774" y="210"/>
                  </a:lnTo>
                  <a:lnTo>
                    <a:pt x="792" y="228"/>
                  </a:lnTo>
                  <a:lnTo>
                    <a:pt x="804" y="240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40" y="252"/>
                  </a:lnTo>
                  <a:lnTo>
                    <a:pt x="834" y="252"/>
                  </a:lnTo>
                  <a:lnTo>
                    <a:pt x="846" y="252"/>
                  </a:lnTo>
                  <a:lnTo>
                    <a:pt x="852" y="270"/>
                  </a:lnTo>
                  <a:lnTo>
                    <a:pt x="858" y="282"/>
                  </a:lnTo>
                  <a:lnTo>
                    <a:pt x="858" y="288"/>
                  </a:lnTo>
                  <a:lnTo>
                    <a:pt x="864" y="300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58" y="318"/>
                  </a:lnTo>
                  <a:lnTo>
                    <a:pt x="852" y="318"/>
                  </a:lnTo>
                  <a:lnTo>
                    <a:pt x="846" y="324"/>
                  </a:lnTo>
                  <a:lnTo>
                    <a:pt x="846" y="336"/>
                  </a:lnTo>
                  <a:lnTo>
                    <a:pt x="840" y="348"/>
                  </a:lnTo>
                  <a:lnTo>
                    <a:pt x="840" y="360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46" y="402"/>
                  </a:lnTo>
                  <a:lnTo>
                    <a:pt x="858" y="420"/>
                  </a:lnTo>
                  <a:lnTo>
                    <a:pt x="882" y="426"/>
                  </a:lnTo>
                  <a:lnTo>
                    <a:pt x="888" y="444"/>
                  </a:lnTo>
                  <a:lnTo>
                    <a:pt x="900" y="444"/>
                  </a:lnTo>
                  <a:lnTo>
                    <a:pt x="900" y="462"/>
                  </a:lnTo>
                  <a:lnTo>
                    <a:pt x="894" y="474"/>
                  </a:lnTo>
                  <a:lnTo>
                    <a:pt x="888" y="486"/>
                  </a:lnTo>
                  <a:lnTo>
                    <a:pt x="882" y="492"/>
                  </a:lnTo>
                  <a:lnTo>
                    <a:pt x="870" y="504"/>
                  </a:lnTo>
                  <a:lnTo>
                    <a:pt x="852" y="504"/>
                  </a:lnTo>
                  <a:lnTo>
                    <a:pt x="852" y="510"/>
                  </a:lnTo>
                  <a:lnTo>
                    <a:pt x="852" y="516"/>
                  </a:lnTo>
                  <a:lnTo>
                    <a:pt x="846" y="528"/>
                  </a:lnTo>
                  <a:lnTo>
                    <a:pt x="846" y="582"/>
                  </a:lnTo>
                  <a:lnTo>
                    <a:pt x="840" y="582"/>
                  </a:lnTo>
                  <a:lnTo>
                    <a:pt x="834" y="582"/>
                  </a:lnTo>
                  <a:lnTo>
                    <a:pt x="828" y="582"/>
                  </a:lnTo>
                  <a:lnTo>
                    <a:pt x="822" y="582"/>
                  </a:lnTo>
                  <a:lnTo>
                    <a:pt x="810" y="582"/>
                  </a:lnTo>
                  <a:lnTo>
                    <a:pt x="810" y="528"/>
                  </a:lnTo>
                  <a:lnTo>
                    <a:pt x="792" y="528"/>
                  </a:lnTo>
                  <a:lnTo>
                    <a:pt x="792" y="522"/>
                  </a:lnTo>
                  <a:lnTo>
                    <a:pt x="786" y="522"/>
                  </a:lnTo>
                  <a:lnTo>
                    <a:pt x="786" y="516"/>
                  </a:lnTo>
                  <a:lnTo>
                    <a:pt x="780" y="516"/>
                  </a:lnTo>
                  <a:lnTo>
                    <a:pt x="780" y="510"/>
                  </a:lnTo>
                  <a:lnTo>
                    <a:pt x="762" y="510"/>
                  </a:lnTo>
                  <a:lnTo>
                    <a:pt x="756" y="510"/>
                  </a:lnTo>
                  <a:lnTo>
                    <a:pt x="750" y="522"/>
                  </a:lnTo>
                  <a:lnTo>
                    <a:pt x="744" y="534"/>
                  </a:lnTo>
                  <a:lnTo>
                    <a:pt x="732" y="540"/>
                  </a:lnTo>
                  <a:lnTo>
                    <a:pt x="732" y="558"/>
                  </a:lnTo>
                  <a:lnTo>
                    <a:pt x="732" y="564"/>
                  </a:lnTo>
                  <a:lnTo>
                    <a:pt x="732" y="570"/>
                  </a:lnTo>
                  <a:lnTo>
                    <a:pt x="726" y="576"/>
                  </a:lnTo>
                  <a:lnTo>
                    <a:pt x="720" y="576"/>
                  </a:lnTo>
                  <a:lnTo>
                    <a:pt x="714" y="582"/>
                  </a:lnTo>
                  <a:lnTo>
                    <a:pt x="702" y="588"/>
                  </a:lnTo>
                  <a:lnTo>
                    <a:pt x="696" y="594"/>
                  </a:lnTo>
                  <a:lnTo>
                    <a:pt x="690" y="600"/>
                  </a:lnTo>
                  <a:lnTo>
                    <a:pt x="690" y="606"/>
                  </a:lnTo>
                  <a:lnTo>
                    <a:pt x="678" y="606"/>
                  </a:lnTo>
                  <a:lnTo>
                    <a:pt x="678" y="624"/>
                  </a:lnTo>
                  <a:lnTo>
                    <a:pt x="684" y="642"/>
                  </a:lnTo>
                  <a:lnTo>
                    <a:pt x="684" y="660"/>
                  </a:lnTo>
                  <a:lnTo>
                    <a:pt x="690" y="672"/>
                  </a:lnTo>
                  <a:lnTo>
                    <a:pt x="702" y="720"/>
                  </a:lnTo>
                  <a:lnTo>
                    <a:pt x="708" y="750"/>
                  </a:lnTo>
                  <a:lnTo>
                    <a:pt x="708" y="792"/>
                  </a:lnTo>
                  <a:lnTo>
                    <a:pt x="708" y="828"/>
                  </a:lnTo>
                  <a:lnTo>
                    <a:pt x="708" y="852"/>
                  </a:lnTo>
                  <a:lnTo>
                    <a:pt x="696" y="894"/>
                  </a:lnTo>
                  <a:lnTo>
                    <a:pt x="702" y="900"/>
                  </a:lnTo>
                  <a:lnTo>
                    <a:pt x="708" y="924"/>
                  </a:lnTo>
                  <a:lnTo>
                    <a:pt x="684" y="936"/>
                  </a:lnTo>
                  <a:lnTo>
                    <a:pt x="660" y="954"/>
                  </a:lnTo>
                  <a:lnTo>
                    <a:pt x="618" y="984"/>
                  </a:lnTo>
                  <a:lnTo>
                    <a:pt x="618" y="990"/>
                  </a:lnTo>
                  <a:lnTo>
                    <a:pt x="612" y="996"/>
                  </a:lnTo>
                  <a:lnTo>
                    <a:pt x="606" y="1002"/>
                  </a:lnTo>
                  <a:lnTo>
                    <a:pt x="618" y="1008"/>
                  </a:lnTo>
                  <a:lnTo>
                    <a:pt x="618" y="1014"/>
                  </a:lnTo>
                  <a:lnTo>
                    <a:pt x="624" y="1026"/>
                  </a:lnTo>
                  <a:lnTo>
                    <a:pt x="630" y="1026"/>
                  </a:lnTo>
                  <a:lnTo>
                    <a:pt x="636" y="1032"/>
                  </a:lnTo>
                  <a:lnTo>
                    <a:pt x="642" y="1032"/>
                  </a:lnTo>
                  <a:lnTo>
                    <a:pt x="642" y="1038"/>
                  </a:lnTo>
                  <a:lnTo>
                    <a:pt x="648" y="1044"/>
                  </a:lnTo>
                  <a:lnTo>
                    <a:pt x="666" y="1050"/>
                  </a:lnTo>
                  <a:lnTo>
                    <a:pt x="678" y="1038"/>
                  </a:lnTo>
                  <a:lnTo>
                    <a:pt x="684" y="1038"/>
                  </a:lnTo>
                  <a:lnTo>
                    <a:pt x="684" y="1032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20"/>
                  </a:lnTo>
                  <a:lnTo>
                    <a:pt x="708" y="1014"/>
                  </a:lnTo>
                  <a:lnTo>
                    <a:pt x="720" y="1020"/>
                  </a:lnTo>
                  <a:lnTo>
                    <a:pt x="720" y="1014"/>
                  </a:lnTo>
                  <a:lnTo>
                    <a:pt x="726" y="1008"/>
                  </a:lnTo>
                  <a:lnTo>
                    <a:pt x="732" y="1008"/>
                  </a:lnTo>
                  <a:lnTo>
                    <a:pt x="738" y="1008"/>
                  </a:lnTo>
                  <a:lnTo>
                    <a:pt x="744" y="1002"/>
                  </a:lnTo>
                  <a:lnTo>
                    <a:pt x="744" y="996"/>
                  </a:lnTo>
                  <a:lnTo>
                    <a:pt x="750" y="996"/>
                  </a:lnTo>
                  <a:lnTo>
                    <a:pt x="756" y="1002"/>
                  </a:lnTo>
                  <a:lnTo>
                    <a:pt x="762" y="1002"/>
                  </a:lnTo>
                  <a:lnTo>
                    <a:pt x="768" y="996"/>
                  </a:lnTo>
                  <a:lnTo>
                    <a:pt x="780" y="996"/>
                  </a:lnTo>
                  <a:lnTo>
                    <a:pt x="786" y="996"/>
                  </a:lnTo>
                  <a:lnTo>
                    <a:pt x="816" y="990"/>
                  </a:lnTo>
                  <a:lnTo>
                    <a:pt x="828" y="990"/>
                  </a:lnTo>
                  <a:lnTo>
                    <a:pt x="834" y="990"/>
                  </a:lnTo>
                  <a:lnTo>
                    <a:pt x="840" y="984"/>
                  </a:lnTo>
                  <a:lnTo>
                    <a:pt x="852" y="978"/>
                  </a:lnTo>
                  <a:lnTo>
                    <a:pt x="852" y="972"/>
                  </a:lnTo>
                  <a:lnTo>
                    <a:pt x="858" y="972"/>
                  </a:lnTo>
                  <a:lnTo>
                    <a:pt x="864" y="966"/>
                  </a:lnTo>
                  <a:lnTo>
                    <a:pt x="870" y="966"/>
                  </a:lnTo>
                  <a:lnTo>
                    <a:pt x="876" y="966"/>
                  </a:lnTo>
                  <a:lnTo>
                    <a:pt x="882" y="960"/>
                  </a:lnTo>
                  <a:lnTo>
                    <a:pt x="888" y="960"/>
                  </a:lnTo>
                  <a:lnTo>
                    <a:pt x="894" y="960"/>
                  </a:lnTo>
                  <a:lnTo>
                    <a:pt x="894" y="966"/>
                  </a:lnTo>
                  <a:lnTo>
                    <a:pt x="894" y="978"/>
                  </a:lnTo>
                  <a:lnTo>
                    <a:pt x="894" y="984"/>
                  </a:lnTo>
                  <a:lnTo>
                    <a:pt x="900" y="984"/>
                  </a:lnTo>
                  <a:lnTo>
                    <a:pt x="906" y="978"/>
                  </a:lnTo>
                  <a:lnTo>
                    <a:pt x="912" y="972"/>
                  </a:lnTo>
                  <a:lnTo>
                    <a:pt x="918" y="978"/>
                  </a:lnTo>
                  <a:lnTo>
                    <a:pt x="924" y="978"/>
                  </a:lnTo>
                  <a:lnTo>
                    <a:pt x="924" y="972"/>
                  </a:lnTo>
                  <a:lnTo>
                    <a:pt x="924" y="966"/>
                  </a:lnTo>
                  <a:lnTo>
                    <a:pt x="930" y="966"/>
                  </a:lnTo>
                  <a:lnTo>
                    <a:pt x="948" y="966"/>
                  </a:lnTo>
                  <a:lnTo>
                    <a:pt x="954" y="966"/>
                  </a:lnTo>
                  <a:lnTo>
                    <a:pt x="954" y="960"/>
                  </a:lnTo>
                  <a:lnTo>
                    <a:pt x="960" y="960"/>
                  </a:lnTo>
                  <a:lnTo>
                    <a:pt x="966" y="960"/>
                  </a:lnTo>
                  <a:lnTo>
                    <a:pt x="966" y="966"/>
                  </a:lnTo>
                  <a:lnTo>
                    <a:pt x="978" y="972"/>
                  </a:lnTo>
                  <a:lnTo>
                    <a:pt x="978" y="978"/>
                  </a:lnTo>
                  <a:lnTo>
                    <a:pt x="978" y="984"/>
                  </a:lnTo>
                  <a:lnTo>
                    <a:pt x="984" y="978"/>
                  </a:lnTo>
                  <a:lnTo>
                    <a:pt x="990" y="978"/>
                  </a:lnTo>
                  <a:lnTo>
                    <a:pt x="996" y="984"/>
                  </a:lnTo>
                  <a:lnTo>
                    <a:pt x="1002" y="990"/>
                  </a:lnTo>
                  <a:lnTo>
                    <a:pt x="1008" y="972"/>
                  </a:lnTo>
                  <a:lnTo>
                    <a:pt x="1026" y="972"/>
                  </a:lnTo>
                  <a:lnTo>
                    <a:pt x="1032" y="972"/>
                  </a:lnTo>
                  <a:lnTo>
                    <a:pt x="1038" y="972"/>
                  </a:lnTo>
                  <a:lnTo>
                    <a:pt x="1050" y="972"/>
                  </a:lnTo>
                  <a:lnTo>
                    <a:pt x="1056" y="972"/>
                  </a:lnTo>
                  <a:lnTo>
                    <a:pt x="1062" y="966"/>
                  </a:lnTo>
                  <a:lnTo>
                    <a:pt x="1074" y="966"/>
                  </a:lnTo>
                  <a:lnTo>
                    <a:pt x="1074" y="960"/>
                  </a:lnTo>
                  <a:lnTo>
                    <a:pt x="1080" y="954"/>
                  </a:lnTo>
                  <a:lnTo>
                    <a:pt x="1080" y="948"/>
                  </a:lnTo>
                  <a:lnTo>
                    <a:pt x="1074" y="948"/>
                  </a:lnTo>
                  <a:lnTo>
                    <a:pt x="1068" y="948"/>
                  </a:lnTo>
                  <a:lnTo>
                    <a:pt x="1062" y="942"/>
                  </a:lnTo>
                  <a:lnTo>
                    <a:pt x="1068" y="936"/>
                  </a:lnTo>
                  <a:lnTo>
                    <a:pt x="1074" y="936"/>
                  </a:lnTo>
                  <a:lnTo>
                    <a:pt x="1080" y="936"/>
                  </a:lnTo>
                  <a:lnTo>
                    <a:pt x="1086" y="942"/>
                  </a:lnTo>
                  <a:lnTo>
                    <a:pt x="1092" y="942"/>
                  </a:lnTo>
                  <a:lnTo>
                    <a:pt x="1098" y="948"/>
                  </a:lnTo>
                  <a:lnTo>
                    <a:pt x="1104" y="954"/>
                  </a:lnTo>
                  <a:lnTo>
                    <a:pt x="1110" y="954"/>
                  </a:lnTo>
                  <a:lnTo>
                    <a:pt x="1116" y="948"/>
                  </a:lnTo>
                  <a:lnTo>
                    <a:pt x="1122" y="942"/>
                  </a:lnTo>
                  <a:lnTo>
                    <a:pt x="1128" y="942"/>
                  </a:lnTo>
                  <a:lnTo>
                    <a:pt x="1134" y="942"/>
                  </a:lnTo>
                  <a:lnTo>
                    <a:pt x="1140" y="948"/>
                  </a:lnTo>
                  <a:lnTo>
                    <a:pt x="1146" y="942"/>
                  </a:lnTo>
                  <a:lnTo>
                    <a:pt x="1152" y="942"/>
                  </a:lnTo>
                  <a:lnTo>
                    <a:pt x="1152" y="930"/>
                  </a:lnTo>
                  <a:lnTo>
                    <a:pt x="1164" y="936"/>
                  </a:lnTo>
                  <a:lnTo>
                    <a:pt x="1158" y="942"/>
                  </a:lnTo>
                  <a:lnTo>
                    <a:pt x="1158" y="948"/>
                  </a:lnTo>
                  <a:lnTo>
                    <a:pt x="1146" y="954"/>
                  </a:lnTo>
                  <a:lnTo>
                    <a:pt x="1152" y="954"/>
                  </a:lnTo>
                  <a:lnTo>
                    <a:pt x="1158" y="954"/>
                  </a:lnTo>
                  <a:lnTo>
                    <a:pt x="1158" y="948"/>
                  </a:lnTo>
                  <a:lnTo>
                    <a:pt x="1164" y="948"/>
                  </a:lnTo>
                  <a:lnTo>
                    <a:pt x="1170" y="948"/>
                  </a:lnTo>
                  <a:lnTo>
                    <a:pt x="1176" y="954"/>
                  </a:lnTo>
                  <a:lnTo>
                    <a:pt x="1176" y="966"/>
                  </a:lnTo>
                  <a:lnTo>
                    <a:pt x="1182" y="972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88" y="984"/>
                  </a:lnTo>
                  <a:lnTo>
                    <a:pt x="1194" y="984"/>
                  </a:lnTo>
                  <a:lnTo>
                    <a:pt x="1200" y="984"/>
                  </a:lnTo>
                  <a:lnTo>
                    <a:pt x="1212" y="984"/>
                  </a:lnTo>
                  <a:lnTo>
                    <a:pt x="1218" y="990"/>
                  </a:lnTo>
                  <a:lnTo>
                    <a:pt x="1224" y="990"/>
                  </a:lnTo>
                  <a:lnTo>
                    <a:pt x="1224" y="984"/>
                  </a:lnTo>
                  <a:lnTo>
                    <a:pt x="1230" y="990"/>
                  </a:lnTo>
                  <a:lnTo>
                    <a:pt x="1236" y="984"/>
                  </a:lnTo>
                  <a:lnTo>
                    <a:pt x="1242" y="984"/>
                  </a:lnTo>
                  <a:lnTo>
                    <a:pt x="1248" y="990"/>
                  </a:lnTo>
                  <a:lnTo>
                    <a:pt x="1254" y="990"/>
                  </a:lnTo>
                  <a:lnTo>
                    <a:pt x="1254" y="996"/>
                  </a:lnTo>
                  <a:lnTo>
                    <a:pt x="1254" y="1002"/>
                  </a:lnTo>
                  <a:lnTo>
                    <a:pt x="1254" y="1008"/>
                  </a:lnTo>
                  <a:lnTo>
                    <a:pt x="1260" y="1014"/>
                  </a:lnTo>
                  <a:lnTo>
                    <a:pt x="1266" y="1014"/>
                  </a:lnTo>
                  <a:lnTo>
                    <a:pt x="1272" y="1014"/>
                  </a:lnTo>
                  <a:lnTo>
                    <a:pt x="1278" y="1020"/>
                  </a:lnTo>
                  <a:lnTo>
                    <a:pt x="1284" y="1020"/>
                  </a:lnTo>
                  <a:lnTo>
                    <a:pt x="1290" y="1014"/>
                  </a:lnTo>
                  <a:lnTo>
                    <a:pt x="1290" y="1008"/>
                  </a:lnTo>
                  <a:lnTo>
                    <a:pt x="1296" y="1008"/>
                  </a:lnTo>
                  <a:lnTo>
                    <a:pt x="1302" y="1014"/>
                  </a:lnTo>
                  <a:lnTo>
                    <a:pt x="1308" y="1014"/>
                  </a:lnTo>
                  <a:lnTo>
                    <a:pt x="1314" y="1008"/>
                  </a:lnTo>
                  <a:lnTo>
                    <a:pt x="1320" y="1008"/>
                  </a:lnTo>
                  <a:lnTo>
                    <a:pt x="1320" y="1002"/>
                  </a:lnTo>
                  <a:lnTo>
                    <a:pt x="1320" y="996"/>
                  </a:lnTo>
                  <a:lnTo>
                    <a:pt x="1332" y="1002"/>
                  </a:lnTo>
                  <a:lnTo>
                    <a:pt x="1332" y="1008"/>
                  </a:lnTo>
                  <a:lnTo>
                    <a:pt x="1326" y="1014"/>
                  </a:lnTo>
                  <a:lnTo>
                    <a:pt x="1332" y="1014"/>
                  </a:lnTo>
                  <a:lnTo>
                    <a:pt x="1338" y="1014"/>
                  </a:lnTo>
                  <a:lnTo>
                    <a:pt x="1338" y="1008"/>
                  </a:lnTo>
                  <a:lnTo>
                    <a:pt x="1344" y="1008"/>
                  </a:lnTo>
                  <a:lnTo>
                    <a:pt x="1350" y="1008"/>
                  </a:lnTo>
                  <a:lnTo>
                    <a:pt x="1356" y="1014"/>
                  </a:lnTo>
                  <a:lnTo>
                    <a:pt x="1356" y="1008"/>
                  </a:lnTo>
                  <a:lnTo>
                    <a:pt x="1362" y="1014"/>
                  </a:lnTo>
                  <a:lnTo>
                    <a:pt x="1392" y="1014"/>
                  </a:lnTo>
                  <a:lnTo>
                    <a:pt x="1398" y="1014"/>
                  </a:lnTo>
                  <a:lnTo>
                    <a:pt x="1404" y="1008"/>
                  </a:lnTo>
                  <a:lnTo>
                    <a:pt x="1404" y="1014"/>
                  </a:lnTo>
                  <a:lnTo>
                    <a:pt x="1410" y="1008"/>
                  </a:lnTo>
                  <a:lnTo>
                    <a:pt x="1416" y="1008"/>
                  </a:lnTo>
                  <a:lnTo>
                    <a:pt x="1422" y="1002"/>
                  </a:lnTo>
                  <a:lnTo>
                    <a:pt x="1428" y="1002"/>
                  </a:lnTo>
                  <a:lnTo>
                    <a:pt x="1428" y="996"/>
                  </a:lnTo>
                  <a:lnTo>
                    <a:pt x="1428" y="990"/>
                  </a:lnTo>
                  <a:lnTo>
                    <a:pt x="1440" y="1002"/>
                  </a:lnTo>
                  <a:lnTo>
                    <a:pt x="1446" y="1002"/>
                  </a:lnTo>
                  <a:lnTo>
                    <a:pt x="1452" y="1002"/>
                  </a:lnTo>
                  <a:lnTo>
                    <a:pt x="1446" y="996"/>
                  </a:lnTo>
                  <a:lnTo>
                    <a:pt x="1452" y="996"/>
                  </a:lnTo>
                  <a:lnTo>
                    <a:pt x="1458" y="996"/>
                  </a:lnTo>
                  <a:lnTo>
                    <a:pt x="1464" y="996"/>
                  </a:lnTo>
                  <a:lnTo>
                    <a:pt x="1464" y="1002"/>
                  </a:lnTo>
                  <a:lnTo>
                    <a:pt x="1476" y="1014"/>
                  </a:lnTo>
                  <a:lnTo>
                    <a:pt x="1476" y="1008"/>
                  </a:lnTo>
                  <a:lnTo>
                    <a:pt x="1482" y="1008"/>
                  </a:lnTo>
                  <a:lnTo>
                    <a:pt x="1488" y="1020"/>
                  </a:lnTo>
                  <a:lnTo>
                    <a:pt x="1494" y="1020"/>
                  </a:lnTo>
                  <a:lnTo>
                    <a:pt x="1500" y="1014"/>
                  </a:lnTo>
                  <a:lnTo>
                    <a:pt x="1500" y="1020"/>
                  </a:lnTo>
                  <a:lnTo>
                    <a:pt x="1506" y="1026"/>
                  </a:lnTo>
                  <a:lnTo>
                    <a:pt x="1512" y="1032"/>
                  </a:lnTo>
                  <a:lnTo>
                    <a:pt x="1518" y="1032"/>
                  </a:lnTo>
                  <a:lnTo>
                    <a:pt x="1518" y="1038"/>
                  </a:lnTo>
                  <a:lnTo>
                    <a:pt x="1518" y="1044"/>
                  </a:lnTo>
                  <a:lnTo>
                    <a:pt x="1524" y="1044"/>
                  </a:lnTo>
                  <a:lnTo>
                    <a:pt x="1524" y="1050"/>
                  </a:lnTo>
                  <a:lnTo>
                    <a:pt x="1530" y="1056"/>
                  </a:lnTo>
                  <a:lnTo>
                    <a:pt x="1548" y="1062"/>
                  </a:lnTo>
                  <a:lnTo>
                    <a:pt x="1560" y="1074"/>
                  </a:lnTo>
                  <a:lnTo>
                    <a:pt x="1560" y="1080"/>
                  </a:lnTo>
                  <a:lnTo>
                    <a:pt x="1560" y="1086"/>
                  </a:lnTo>
                  <a:lnTo>
                    <a:pt x="1566" y="1086"/>
                  </a:lnTo>
                  <a:lnTo>
                    <a:pt x="1572" y="1098"/>
                  </a:lnTo>
                  <a:lnTo>
                    <a:pt x="1572" y="1104"/>
                  </a:lnTo>
                  <a:lnTo>
                    <a:pt x="1584" y="1110"/>
                  </a:lnTo>
                  <a:lnTo>
                    <a:pt x="1590" y="1116"/>
                  </a:lnTo>
                  <a:lnTo>
                    <a:pt x="1596" y="1116"/>
                  </a:lnTo>
                  <a:lnTo>
                    <a:pt x="1608" y="1122"/>
                  </a:lnTo>
                  <a:lnTo>
                    <a:pt x="1620" y="1140"/>
                  </a:lnTo>
                  <a:lnTo>
                    <a:pt x="1626" y="1158"/>
                  </a:lnTo>
                  <a:lnTo>
                    <a:pt x="1638" y="1200"/>
                  </a:lnTo>
                  <a:lnTo>
                    <a:pt x="1638" y="1218"/>
                  </a:lnTo>
                  <a:lnTo>
                    <a:pt x="1620" y="1230"/>
                  </a:lnTo>
                  <a:lnTo>
                    <a:pt x="1554" y="1230"/>
                  </a:lnTo>
                  <a:lnTo>
                    <a:pt x="1560" y="1248"/>
                  </a:lnTo>
                  <a:lnTo>
                    <a:pt x="1584" y="1260"/>
                  </a:lnTo>
                  <a:lnTo>
                    <a:pt x="1584" y="1266"/>
                  </a:lnTo>
                  <a:lnTo>
                    <a:pt x="1578" y="1272"/>
                  </a:lnTo>
                  <a:lnTo>
                    <a:pt x="1572" y="1272"/>
                  </a:lnTo>
                  <a:lnTo>
                    <a:pt x="1566" y="1278"/>
                  </a:lnTo>
                  <a:lnTo>
                    <a:pt x="1566" y="1284"/>
                  </a:lnTo>
                  <a:lnTo>
                    <a:pt x="1560" y="1290"/>
                  </a:lnTo>
                  <a:lnTo>
                    <a:pt x="1554" y="1290"/>
                  </a:lnTo>
                  <a:lnTo>
                    <a:pt x="1554" y="1296"/>
                  </a:lnTo>
                  <a:lnTo>
                    <a:pt x="1554" y="1302"/>
                  </a:lnTo>
                  <a:lnTo>
                    <a:pt x="1560" y="1332"/>
                  </a:lnTo>
                  <a:lnTo>
                    <a:pt x="1566" y="1356"/>
                  </a:lnTo>
                  <a:lnTo>
                    <a:pt x="1572" y="1356"/>
                  </a:lnTo>
                  <a:lnTo>
                    <a:pt x="1572" y="1362"/>
                  </a:lnTo>
                  <a:lnTo>
                    <a:pt x="1578" y="1362"/>
                  </a:lnTo>
                  <a:lnTo>
                    <a:pt x="1560" y="1374"/>
                  </a:lnTo>
                  <a:lnTo>
                    <a:pt x="1560" y="1380"/>
                  </a:lnTo>
                  <a:lnTo>
                    <a:pt x="1548" y="1380"/>
                  </a:lnTo>
                  <a:lnTo>
                    <a:pt x="1548" y="1386"/>
                  </a:lnTo>
                  <a:lnTo>
                    <a:pt x="1548" y="1392"/>
                  </a:lnTo>
                  <a:lnTo>
                    <a:pt x="1542" y="1410"/>
                  </a:lnTo>
                  <a:lnTo>
                    <a:pt x="1536" y="1422"/>
                  </a:lnTo>
                  <a:lnTo>
                    <a:pt x="1536" y="1428"/>
                  </a:lnTo>
                  <a:lnTo>
                    <a:pt x="1530" y="1440"/>
                  </a:lnTo>
                  <a:lnTo>
                    <a:pt x="1524" y="1434"/>
                  </a:lnTo>
                  <a:lnTo>
                    <a:pt x="1524" y="1428"/>
                  </a:lnTo>
                  <a:lnTo>
                    <a:pt x="1524" y="1422"/>
                  </a:lnTo>
                  <a:lnTo>
                    <a:pt x="1512" y="1410"/>
                  </a:lnTo>
                  <a:lnTo>
                    <a:pt x="1506" y="1404"/>
                  </a:lnTo>
                  <a:lnTo>
                    <a:pt x="1506" y="1398"/>
                  </a:lnTo>
                  <a:lnTo>
                    <a:pt x="1494" y="1392"/>
                  </a:lnTo>
                  <a:lnTo>
                    <a:pt x="1476" y="1404"/>
                  </a:lnTo>
                  <a:lnTo>
                    <a:pt x="1464" y="1416"/>
                  </a:lnTo>
                  <a:lnTo>
                    <a:pt x="1458" y="1428"/>
                  </a:lnTo>
                  <a:lnTo>
                    <a:pt x="1446" y="1434"/>
                  </a:lnTo>
                  <a:lnTo>
                    <a:pt x="1410" y="1440"/>
                  </a:lnTo>
                  <a:lnTo>
                    <a:pt x="1398" y="1440"/>
                  </a:lnTo>
                  <a:lnTo>
                    <a:pt x="1398" y="1446"/>
                  </a:lnTo>
                  <a:lnTo>
                    <a:pt x="1386" y="1446"/>
                  </a:lnTo>
                  <a:lnTo>
                    <a:pt x="1380" y="1440"/>
                  </a:lnTo>
                  <a:lnTo>
                    <a:pt x="1368" y="1440"/>
                  </a:lnTo>
                  <a:lnTo>
                    <a:pt x="1368" y="1446"/>
                  </a:lnTo>
                  <a:lnTo>
                    <a:pt x="1356" y="1446"/>
                  </a:lnTo>
                  <a:lnTo>
                    <a:pt x="1350" y="1452"/>
                  </a:lnTo>
                  <a:lnTo>
                    <a:pt x="1338" y="1452"/>
                  </a:lnTo>
                  <a:lnTo>
                    <a:pt x="1338" y="1458"/>
                  </a:lnTo>
                  <a:lnTo>
                    <a:pt x="1332" y="1458"/>
                  </a:lnTo>
                  <a:lnTo>
                    <a:pt x="1332" y="1464"/>
                  </a:lnTo>
                  <a:lnTo>
                    <a:pt x="1332" y="1470"/>
                  </a:lnTo>
                  <a:lnTo>
                    <a:pt x="1326" y="1470"/>
                  </a:lnTo>
                  <a:lnTo>
                    <a:pt x="1320" y="1470"/>
                  </a:lnTo>
                  <a:lnTo>
                    <a:pt x="1314" y="1470"/>
                  </a:lnTo>
                  <a:lnTo>
                    <a:pt x="1314" y="1464"/>
                  </a:lnTo>
                  <a:lnTo>
                    <a:pt x="1308" y="1464"/>
                  </a:lnTo>
                  <a:lnTo>
                    <a:pt x="1308" y="1452"/>
                  </a:lnTo>
                  <a:lnTo>
                    <a:pt x="1284" y="1458"/>
                  </a:lnTo>
                  <a:lnTo>
                    <a:pt x="1272" y="1458"/>
                  </a:lnTo>
                  <a:lnTo>
                    <a:pt x="1272" y="1464"/>
                  </a:lnTo>
                  <a:lnTo>
                    <a:pt x="1260" y="1464"/>
                  </a:lnTo>
                  <a:lnTo>
                    <a:pt x="1254" y="1464"/>
                  </a:lnTo>
                  <a:lnTo>
                    <a:pt x="1242" y="1422"/>
                  </a:lnTo>
                  <a:lnTo>
                    <a:pt x="1242" y="1416"/>
                  </a:lnTo>
                  <a:lnTo>
                    <a:pt x="1242" y="1410"/>
                  </a:lnTo>
                  <a:lnTo>
                    <a:pt x="1248" y="1410"/>
                  </a:lnTo>
                  <a:lnTo>
                    <a:pt x="1242" y="1410"/>
                  </a:lnTo>
                  <a:lnTo>
                    <a:pt x="1242" y="1404"/>
                  </a:lnTo>
                  <a:lnTo>
                    <a:pt x="1242" y="1398"/>
                  </a:lnTo>
                  <a:lnTo>
                    <a:pt x="1248" y="1392"/>
                  </a:lnTo>
                  <a:lnTo>
                    <a:pt x="1248" y="1386"/>
                  </a:lnTo>
                  <a:lnTo>
                    <a:pt x="1242" y="1380"/>
                  </a:lnTo>
                  <a:lnTo>
                    <a:pt x="1248" y="1380"/>
                  </a:lnTo>
                  <a:lnTo>
                    <a:pt x="1248" y="1374"/>
                  </a:lnTo>
                  <a:lnTo>
                    <a:pt x="1248" y="1368"/>
                  </a:lnTo>
                  <a:lnTo>
                    <a:pt x="1254" y="1368"/>
                  </a:lnTo>
                  <a:lnTo>
                    <a:pt x="1254" y="1362"/>
                  </a:lnTo>
                  <a:lnTo>
                    <a:pt x="1248" y="1356"/>
                  </a:lnTo>
                  <a:lnTo>
                    <a:pt x="1254" y="1356"/>
                  </a:lnTo>
                  <a:lnTo>
                    <a:pt x="1254" y="1344"/>
                  </a:lnTo>
                  <a:lnTo>
                    <a:pt x="1242" y="1338"/>
                  </a:lnTo>
                  <a:lnTo>
                    <a:pt x="1242" y="1326"/>
                  </a:lnTo>
                  <a:lnTo>
                    <a:pt x="1230" y="1326"/>
                  </a:lnTo>
                  <a:lnTo>
                    <a:pt x="1230" y="1314"/>
                  </a:lnTo>
                  <a:lnTo>
                    <a:pt x="1218" y="1314"/>
                  </a:lnTo>
                  <a:lnTo>
                    <a:pt x="1200" y="1272"/>
                  </a:lnTo>
                  <a:lnTo>
                    <a:pt x="1194" y="1242"/>
                  </a:lnTo>
                  <a:lnTo>
                    <a:pt x="1194" y="1206"/>
                  </a:lnTo>
                  <a:lnTo>
                    <a:pt x="1182" y="1200"/>
                  </a:lnTo>
                  <a:lnTo>
                    <a:pt x="1164" y="1206"/>
                  </a:lnTo>
                  <a:lnTo>
                    <a:pt x="1146" y="1212"/>
                  </a:lnTo>
                  <a:lnTo>
                    <a:pt x="1146" y="1218"/>
                  </a:lnTo>
                  <a:lnTo>
                    <a:pt x="1134" y="1224"/>
                  </a:lnTo>
                  <a:lnTo>
                    <a:pt x="1140" y="1260"/>
                  </a:lnTo>
                  <a:lnTo>
                    <a:pt x="1134" y="1266"/>
                  </a:lnTo>
                  <a:lnTo>
                    <a:pt x="1122" y="1266"/>
                  </a:lnTo>
                  <a:lnTo>
                    <a:pt x="1110" y="1236"/>
                  </a:lnTo>
                  <a:lnTo>
                    <a:pt x="1110" y="1224"/>
                  </a:lnTo>
                  <a:lnTo>
                    <a:pt x="1086" y="1224"/>
                  </a:lnTo>
                  <a:lnTo>
                    <a:pt x="1086" y="1212"/>
                  </a:lnTo>
                  <a:lnTo>
                    <a:pt x="1074" y="1212"/>
                  </a:lnTo>
                  <a:lnTo>
                    <a:pt x="1050" y="1212"/>
                  </a:lnTo>
                  <a:lnTo>
                    <a:pt x="1056" y="1218"/>
                  </a:lnTo>
                  <a:lnTo>
                    <a:pt x="1050" y="1272"/>
                  </a:lnTo>
                  <a:lnTo>
                    <a:pt x="1044" y="1272"/>
                  </a:lnTo>
                  <a:lnTo>
                    <a:pt x="1038" y="1284"/>
                  </a:lnTo>
                  <a:lnTo>
                    <a:pt x="1032" y="1302"/>
                  </a:lnTo>
                  <a:lnTo>
                    <a:pt x="1014" y="1302"/>
                  </a:lnTo>
                  <a:lnTo>
                    <a:pt x="1020" y="1284"/>
                  </a:lnTo>
                  <a:lnTo>
                    <a:pt x="1026" y="1278"/>
                  </a:lnTo>
                  <a:lnTo>
                    <a:pt x="1026" y="1266"/>
                  </a:lnTo>
                  <a:lnTo>
                    <a:pt x="1014" y="1260"/>
                  </a:lnTo>
                  <a:lnTo>
                    <a:pt x="1014" y="1272"/>
                  </a:lnTo>
                  <a:lnTo>
                    <a:pt x="990" y="1278"/>
                  </a:lnTo>
                  <a:lnTo>
                    <a:pt x="990" y="1254"/>
                  </a:lnTo>
                  <a:lnTo>
                    <a:pt x="984" y="1254"/>
                  </a:lnTo>
                  <a:lnTo>
                    <a:pt x="978" y="1242"/>
                  </a:lnTo>
                  <a:lnTo>
                    <a:pt x="972" y="1236"/>
                  </a:lnTo>
                  <a:lnTo>
                    <a:pt x="960" y="1206"/>
                  </a:lnTo>
                  <a:lnTo>
                    <a:pt x="942" y="1206"/>
                  </a:lnTo>
                  <a:lnTo>
                    <a:pt x="936" y="1200"/>
                  </a:lnTo>
                  <a:lnTo>
                    <a:pt x="906" y="1212"/>
                  </a:lnTo>
                  <a:lnTo>
                    <a:pt x="888" y="1230"/>
                  </a:lnTo>
                  <a:lnTo>
                    <a:pt x="876" y="1230"/>
                  </a:lnTo>
                  <a:lnTo>
                    <a:pt x="864" y="1236"/>
                  </a:lnTo>
                  <a:lnTo>
                    <a:pt x="858" y="1236"/>
                  </a:lnTo>
                  <a:lnTo>
                    <a:pt x="852" y="1254"/>
                  </a:lnTo>
                  <a:lnTo>
                    <a:pt x="858" y="1254"/>
                  </a:lnTo>
                  <a:lnTo>
                    <a:pt x="840" y="1266"/>
                  </a:lnTo>
                  <a:lnTo>
                    <a:pt x="828" y="1272"/>
                  </a:lnTo>
                  <a:lnTo>
                    <a:pt x="828" y="1284"/>
                  </a:lnTo>
                  <a:lnTo>
                    <a:pt x="822" y="1284"/>
                  </a:lnTo>
                  <a:lnTo>
                    <a:pt x="804" y="1296"/>
                  </a:lnTo>
                  <a:lnTo>
                    <a:pt x="804" y="1308"/>
                  </a:lnTo>
                  <a:lnTo>
                    <a:pt x="816" y="1320"/>
                  </a:lnTo>
                  <a:lnTo>
                    <a:pt x="828" y="1320"/>
                  </a:lnTo>
                  <a:lnTo>
                    <a:pt x="822" y="1338"/>
                  </a:lnTo>
                  <a:lnTo>
                    <a:pt x="852" y="1344"/>
                  </a:lnTo>
                  <a:lnTo>
                    <a:pt x="864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94" y="1356"/>
                  </a:lnTo>
                  <a:lnTo>
                    <a:pt x="912" y="1368"/>
                  </a:lnTo>
                  <a:lnTo>
                    <a:pt x="918" y="1380"/>
                  </a:lnTo>
                  <a:lnTo>
                    <a:pt x="936" y="1380"/>
                  </a:lnTo>
                  <a:lnTo>
                    <a:pt x="960" y="1386"/>
                  </a:lnTo>
                  <a:lnTo>
                    <a:pt x="990" y="1386"/>
                  </a:lnTo>
                  <a:lnTo>
                    <a:pt x="990" y="1392"/>
                  </a:lnTo>
                  <a:lnTo>
                    <a:pt x="1020" y="1398"/>
                  </a:lnTo>
                  <a:lnTo>
                    <a:pt x="1014" y="1404"/>
                  </a:lnTo>
                  <a:lnTo>
                    <a:pt x="1008" y="1404"/>
                  </a:lnTo>
                  <a:lnTo>
                    <a:pt x="1014" y="1440"/>
                  </a:lnTo>
                  <a:lnTo>
                    <a:pt x="1020" y="1458"/>
                  </a:lnTo>
                  <a:lnTo>
                    <a:pt x="1026" y="1476"/>
                  </a:lnTo>
                  <a:lnTo>
                    <a:pt x="1020" y="1476"/>
                  </a:lnTo>
                  <a:lnTo>
                    <a:pt x="1014" y="1476"/>
                  </a:lnTo>
                  <a:lnTo>
                    <a:pt x="1014" y="1482"/>
                  </a:lnTo>
                  <a:lnTo>
                    <a:pt x="1014" y="1488"/>
                  </a:lnTo>
                  <a:lnTo>
                    <a:pt x="1002" y="1488"/>
                  </a:lnTo>
                  <a:lnTo>
                    <a:pt x="1002" y="1494"/>
                  </a:lnTo>
                  <a:lnTo>
                    <a:pt x="996" y="1494"/>
                  </a:lnTo>
                  <a:lnTo>
                    <a:pt x="996" y="1518"/>
                  </a:lnTo>
                  <a:lnTo>
                    <a:pt x="1002" y="1524"/>
                  </a:lnTo>
                  <a:lnTo>
                    <a:pt x="1020" y="1530"/>
                  </a:lnTo>
                  <a:lnTo>
                    <a:pt x="1026" y="1542"/>
                  </a:lnTo>
                  <a:lnTo>
                    <a:pt x="1032" y="1566"/>
                  </a:lnTo>
                  <a:lnTo>
                    <a:pt x="1038" y="1578"/>
                  </a:lnTo>
                  <a:lnTo>
                    <a:pt x="1032" y="1584"/>
                  </a:lnTo>
                  <a:lnTo>
                    <a:pt x="1020" y="1584"/>
                  </a:lnTo>
                  <a:lnTo>
                    <a:pt x="1014" y="1584"/>
                  </a:lnTo>
                  <a:lnTo>
                    <a:pt x="1008" y="1596"/>
                  </a:lnTo>
                  <a:lnTo>
                    <a:pt x="990" y="1584"/>
                  </a:lnTo>
                  <a:lnTo>
                    <a:pt x="984" y="1602"/>
                  </a:lnTo>
                  <a:lnTo>
                    <a:pt x="978" y="1608"/>
                  </a:lnTo>
                  <a:lnTo>
                    <a:pt x="966" y="1608"/>
                  </a:lnTo>
                  <a:lnTo>
                    <a:pt x="960" y="1614"/>
                  </a:lnTo>
                  <a:lnTo>
                    <a:pt x="954" y="1614"/>
                  </a:lnTo>
                  <a:lnTo>
                    <a:pt x="942" y="1620"/>
                  </a:lnTo>
                  <a:lnTo>
                    <a:pt x="936" y="1620"/>
                  </a:lnTo>
                  <a:lnTo>
                    <a:pt x="930" y="1620"/>
                  </a:lnTo>
                  <a:lnTo>
                    <a:pt x="930" y="1626"/>
                  </a:lnTo>
                  <a:lnTo>
                    <a:pt x="930" y="1632"/>
                  </a:lnTo>
                  <a:lnTo>
                    <a:pt x="918" y="1632"/>
                  </a:lnTo>
                  <a:lnTo>
                    <a:pt x="912" y="1632"/>
                  </a:lnTo>
                  <a:lnTo>
                    <a:pt x="906" y="1632"/>
                  </a:lnTo>
                  <a:lnTo>
                    <a:pt x="900" y="1632"/>
                  </a:lnTo>
                  <a:lnTo>
                    <a:pt x="894" y="1626"/>
                  </a:lnTo>
                  <a:lnTo>
                    <a:pt x="894" y="1614"/>
                  </a:lnTo>
                  <a:lnTo>
                    <a:pt x="840" y="1614"/>
                  </a:lnTo>
                  <a:lnTo>
                    <a:pt x="840" y="1626"/>
                  </a:lnTo>
                  <a:lnTo>
                    <a:pt x="834" y="1626"/>
                  </a:lnTo>
                  <a:lnTo>
                    <a:pt x="828" y="1632"/>
                  </a:lnTo>
                  <a:lnTo>
                    <a:pt x="822" y="1638"/>
                  </a:lnTo>
                  <a:lnTo>
                    <a:pt x="822" y="1644"/>
                  </a:lnTo>
                  <a:lnTo>
                    <a:pt x="834" y="1650"/>
                  </a:lnTo>
                  <a:lnTo>
                    <a:pt x="840" y="1662"/>
                  </a:lnTo>
                  <a:lnTo>
                    <a:pt x="840" y="1668"/>
                  </a:lnTo>
                  <a:lnTo>
                    <a:pt x="858" y="1680"/>
                  </a:lnTo>
                  <a:lnTo>
                    <a:pt x="858" y="1752"/>
                  </a:lnTo>
                  <a:lnTo>
                    <a:pt x="864" y="1782"/>
                  </a:lnTo>
                  <a:lnTo>
                    <a:pt x="876" y="1788"/>
                  </a:lnTo>
                  <a:lnTo>
                    <a:pt x="870" y="1854"/>
                  </a:lnTo>
                  <a:lnTo>
                    <a:pt x="870" y="1884"/>
                  </a:lnTo>
                  <a:lnTo>
                    <a:pt x="864" y="1884"/>
                  </a:lnTo>
                  <a:lnTo>
                    <a:pt x="846" y="1896"/>
                  </a:lnTo>
                  <a:lnTo>
                    <a:pt x="840" y="1896"/>
                  </a:lnTo>
                  <a:lnTo>
                    <a:pt x="834" y="1896"/>
                  </a:lnTo>
                  <a:lnTo>
                    <a:pt x="828" y="1890"/>
                  </a:lnTo>
                  <a:lnTo>
                    <a:pt x="822" y="1890"/>
                  </a:lnTo>
                  <a:lnTo>
                    <a:pt x="816" y="1896"/>
                  </a:lnTo>
                  <a:lnTo>
                    <a:pt x="804" y="1896"/>
                  </a:lnTo>
                  <a:lnTo>
                    <a:pt x="804" y="1890"/>
                  </a:lnTo>
                  <a:lnTo>
                    <a:pt x="780" y="1896"/>
                  </a:lnTo>
                  <a:lnTo>
                    <a:pt x="780" y="1902"/>
                  </a:lnTo>
                  <a:lnTo>
                    <a:pt x="774" y="1914"/>
                  </a:lnTo>
                  <a:lnTo>
                    <a:pt x="762" y="1926"/>
                  </a:lnTo>
                  <a:lnTo>
                    <a:pt x="762" y="1950"/>
                  </a:lnTo>
                  <a:lnTo>
                    <a:pt x="762" y="1962"/>
                  </a:lnTo>
                  <a:lnTo>
                    <a:pt x="780" y="1974"/>
                  </a:lnTo>
                  <a:lnTo>
                    <a:pt x="780" y="1986"/>
                  </a:lnTo>
                  <a:lnTo>
                    <a:pt x="780" y="1998"/>
                  </a:lnTo>
                  <a:lnTo>
                    <a:pt x="756" y="1998"/>
                  </a:lnTo>
                  <a:lnTo>
                    <a:pt x="720" y="1992"/>
                  </a:lnTo>
                  <a:lnTo>
                    <a:pt x="666" y="1998"/>
                  </a:lnTo>
                  <a:lnTo>
                    <a:pt x="654" y="1998"/>
                  </a:lnTo>
                  <a:lnTo>
                    <a:pt x="660" y="1974"/>
                  </a:lnTo>
                  <a:lnTo>
                    <a:pt x="666" y="1962"/>
                  </a:lnTo>
                  <a:lnTo>
                    <a:pt x="678" y="1950"/>
                  </a:lnTo>
                  <a:lnTo>
                    <a:pt x="696" y="1932"/>
                  </a:lnTo>
                  <a:lnTo>
                    <a:pt x="696" y="1920"/>
                  </a:lnTo>
                  <a:lnTo>
                    <a:pt x="696" y="1896"/>
                  </a:lnTo>
                  <a:lnTo>
                    <a:pt x="678" y="1896"/>
                  </a:lnTo>
                  <a:lnTo>
                    <a:pt x="672" y="1884"/>
                  </a:lnTo>
                  <a:lnTo>
                    <a:pt x="672" y="1776"/>
                  </a:lnTo>
                  <a:lnTo>
                    <a:pt x="678" y="1758"/>
                  </a:lnTo>
                  <a:lnTo>
                    <a:pt x="678" y="1740"/>
                  </a:lnTo>
                  <a:lnTo>
                    <a:pt x="684" y="1728"/>
                  </a:lnTo>
                  <a:lnTo>
                    <a:pt x="690" y="1722"/>
                  </a:lnTo>
                  <a:lnTo>
                    <a:pt x="702" y="1722"/>
                  </a:lnTo>
                  <a:lnTo>
                    <a:pt x="708" y="1716"/>
                  </a:lnTo>
                  <a:lnTo>
                    <a:pt x="714" y="1710"/>
                  </a:lnTo>
                  <a:lnTo>
                    <a:pt x="720" y="1698"/>
                  </a:lnTo>
                  <a:lnTo>
                    <a:pt x="732" y="1692"/>
                  </a:lnTo>
                  <a:lnTo>
                    <a:pt x="744" y="1686"/>
                  </a:lnTo>
                  <a:lnTo>
                    <a:pt x="756" y="1680"/>
                  </a:lnTo>
                  <a:lnTo>
                    <a:pt x="768" y="1668"/>
                  </a:lnTo>
                  <a:lnTo>
                    <a:pt x="768" y="1650"/>
                  </a:lnTo>
                  <a:lnTo>
                    <a:pt x="774" y="1632"/>
                  </a:lnTo>
                  <a:lnTo>
                    <a:pt x="768" y="1620"/>
                  </a:lnTo>
                  <a:lnTo>
                    <a:pt x="774" y="1608"/>
                  </a:lnTo>
                  <a:lnTo>
                    <a:pt x="774" y="1578"/>
                  </a:lnTo>
                  <a:lnTo>
                    <a:pt x="774" y="1572"/>
                  </a:lnTo>
                  <a:lnTo>
                    <a:pt x="780" y="1560"/>
                  </a:lnTo>
                  <a:lnTo>
                    <a:pt x="780" y="1554"/>
                  </a:lnTo>
                  <a:lnTo>
                    <a:pt x="786" y="1542"/>
                  </a:lnTo>
                  <a:lnTo>
                    <a:pt x="792" y="1530"/>
                  </a:lnTo>
                  <a:lnTo>
                    <a:pt x="792" y="1518"/>
                  </a:lnTo>
                  <a:lnTo>
                    <a:pt x="792" y="1506"/>
                  </a:lnTo>
                  <a:lnTo>
                    <a:pt x="786" y="1500"/>
                  </a:lnTo>
                  <a:lnTo>
                    <a:pt x="774" y="1488"/>
                  </a:lnTo>
                  <a:lnTo>
                    <a:pt x="774" y="1482"/>
                  </a:lnTo>
                  <a:lnTo>
                    <a:pt x="762" y="1488"/>
                  </a:lnTo>
                  <a:lnTo>
                    <a:pt x="756" y="1494"/>
                  </a:lnTo>
                  <a:lnTo>
                    <a:pt x="744" y="1500"/>
                  </a:lnTo>
                  <a:lnTo>
                    <a:pt x="732" y="1506"/>
                  </a:lnTo>
                  <a:lnTo>
                    <a:pt x="726" y="1506"/>
                  </a:lnTo>
                  <a:lnTo>
                    <a:pt x="720" y="1506"/>
                  </a:lnTo>
                  <a:lnTo>
                    <a:pt x="702" y="1506"/>
                  </a:lnTo>
                  <a:lnTo>
                    <a:pt x="690" y="1500"/>
                  </a:lnTo>
                  <a:lnTo>
                    <a:pt x="678" y="1500"/>
                  </a:lnTo>
                  <a:lnTo>
                    <a:pt x="672" y="1500"/>
                  </a:lnTo>
                  <a:lnTo>
                    <a:pt x="660" y="1506"/>
                  </a:lnTo>
                  <a:lnTo>
                    <a:pt x="654" y="1506"/>
                  </a:lnTo>
                  <a:lnTo>
                    <a:pt x="648" y="1512"/>
                  </a:lnTo>
                  <a:lnTo>
                    <a:pt x="648" y="1518"/>
                  </a:lnTo>
                  <a:lnTo>
                    <a:pt x="618" y="1518"/>
                  </a:lnTo>
                  <a:lnTo>
                    <a:pt x="534" y="1494"/>
                  </a:lnTo>
                  <a:lnTo>
                    <a:pt x="528" y="1458"/>
                  </a:lnTo>
                  <a:lnTo>
                    <a:pt x="510" y="1458"/>
                  </a:lnTo>
                  <a:lnTo>
                    <a:pt x="492" y="1440"/>
                  </a:lnTo>
                  <a:lnTo>
                    <a:pt x="462" y="1440"/>
                  </a:lnTo>
                  <a:lnTo>
                    <a:pt x="456" y="1428"/>
                  </a:lnTo>
                  <a:lnTo>
                    <a:pt x="420" y="1428"/>
                  </a:lnTo>
                  <a:lnTo>
                    <a:pt x="390" y="1446"/>
                  </a:lnTo>
                  <a:lnTo>
                    <a:pt x="312" y="1452"/>
                  </a:lnTo>
                  <a:lnTo>
                    <a:pt x="300" y="1446"/>
                  </a:lnTo>
                  <a:lnTo>
                    <a:pt x="294" y="1446"/>
                  </a:lnTo>
                  <a:lnTo>
                    <a:pt x="288" y="1446"/>
                  </a:lnTo>
                  <a:lnTo>
                    <a:pt x="282" y="1440"/>
                  </a:lnTo>
                  <a:lnTo>
                    <a:pt x="276" y="1440"/>
                  </a:lnTo>
                  <a:lnTo>
                    <a:pt x="270" y="1440"/>
                  </a:lnTo>
                  <a:lnTo>
                    <a:pt x="264" y="1440"/>
                  </a:lnTo>
                  <a:lnTo>
                    <a:pt x="258" y="1434"/>
                  </a:lnTo>
                  <a:lnTo>
                    <a:pt x="252" y="1434"/>
                  </a:lnTo>
                  <a:lnTo>
                    <a:pt x="246" y="1428"/>
                  </a:lnTo>
                  <a:lnTo>
                    <a:pt x="240" y="1416"/>
                  </a:lnTo>
                  <a:lnTo>
                    <a:pt x="234" y="1404"/>
                  </a:lnTo>
                  <a:lnTo>
                    <a:pt x="228" y="1398"/>
                  </a:lnTo>
                  <a:lnTo>
                    <a:pt x="222" y="1398"/>
                  </a:lnTo>
                  <a:lnTo>
                    <a:pt x="216" y="1404"/>
                  </a:lnTo>
                  <a:lnTo>
                    <a:pt x="210" y="1404"/>
                  </a:lnTo>
                  <a:lnTo>
                    <a:pt x="204" y="1404"/>
                  </a:lnTo>
                  <a:lnTo>
                    <a:pt x="204" y="1398"/>
                  </a:lnTo>
                  <a:lnTo>
                    <a:pt x="198" y="1392"/>
                  </a:lnTo>
                  <a:lnTo>
                    <a:pt x="192" y="1386"/>
                  </a:lnTo>
                  <a:lnTo>
                    <a:pt x="168" y="1374"/>
                  </a:lnTo>
                  <a:lnTo>
                    <a:pt x="144" y="13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0" name="Freeform 35">
              <a:extLst>
                <a:ext uri="{FF2B5EF4-FFF2-40B4-BE49-F238E27FC236}">
                  <a16:creationId xmlns:a16="http://schemas.microsoft.com/office/drawing/2014/main" id="{F64BF16E-9D62-438E-A1CC-CD4088AC7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2895" y="1706004"/>
              <a:ext cx="767013" cy="785011"/>
            </a:xfrm>
            <a:custGeom>
              <a:avLst/>
              <a:gdLst>
                <a:gd name="T0" fmla="*/ 102 w 1440"/>
                <a:gd name="T1" fmla="*/ 104 h 1476"/>
                <a:gd name="T2" fmla="*/ 99 w 1440"/>
                <a:gd name="T3" fmla="*/ 108 h 1476"/>
                <a:gd name="T4" fmla="*/ 98 w 1440"/>
                <a:gd name="T5" fmla="*/ 112 h 1476"/>
                <a:gd name="T6" fmla="*/ 96 w 1440"/>
                <a:gd name="T7" fmla="*/ 116 h 1476"/>
                <a:gd name="T8" fmla="*/ 91 w 1440"/>
                <a:gd name="T9" fmla="*/ 118 h 1476"/>
                <a:gd name="T10" fmla="*/ 87 w 1440"/>
                <a:gd name="T11" fmla="*/ 120 h 1476"/>
                <a:gd name="T12" fmla="*/ 75 w 1440"/>
                <a:gd name="T13" fmla="*/ 120 h 1476"/>
                <a:gd name="T14" fmla="*/ 72 w 1440"/>
                <a:gd name="T15" fmla="*/ 123 h 1476"/>
                <a:gd name="T16" fmla="*/ 69 w 1440"/>
                <a:gd name="T17" fmla="*/ 128 h 1476"/>
                <a:gd name="T18" fmla="*/ 67 w 1440"/>
                <a:gd name="T19" fmla="*/ 127 h 1476"/>
                <a:gd name="T20" fmla="*/ 66 w 1440"/>
                <a:gd name="T21" fmla="*/ 123 h 1476"/>
                <a:gd name="T22" fmla="*/ 63 w 1440"/>
                <a:gd name="T23" fmla="*/ 119 h 1476"/>
                <a:gd name="T24" fmla="*/ 54 w 1440"/>
                <a:gd name="T25" fmla="*/ 114 h 1476"/>
                <a:gd name="T26" fmla="*/ 55 w 1440"/>
                <a:gd name="T27" fmla="*/ 106 h 1476"/>
                <a:gd name="T28" fmla="*/ 60 w 1440"/>
                <a:gd name="T29" fmla="*/ 100 h 1476"/>
                <a:gd name="T30" fmla="*/ 55 w 1440"/>
                <a:gd name="T31" fmla="*/ 91 h 1476"/>
                <a:gd name="T32" fmla="*/ 51 w 1440"/>
                <a:gd name="T33" fmla="*/ 86 h 1476"/>
                <a:gd name="T34" fmla="*/ 47 w 1440"/>
                <a:gd name="T35" fmla="*/ 85 h 1476"/>
                <a:gd name="T36" fmla="*/ 44 w 1440"/>
                <a:gd name="T37" fmla="*/ 82 h 1476"/>
                <a:gd name="T38" fmla="*/ 41 w 1440"/>
                <a:gd name="T39" fmla="*/ 83 h 1476"/>
                <a:gd name="T40" fmla="*/ 36 w 1440"/>
                <a:gd name="T41" fmla="*/ 83 h 1476"/>
                <a:gd name="T42" fmla="*/ 33 w 1440"/>
                <a:gd name="T43" fmla="*/ 83 h 1476"/>
                <a:gd name="T44" fmla="*/ 30 w 1440"/>
                <a:gd name="T45" fmla="*/ 83 h 1476"/>
                <a:gd name="T46" fmla="*/ 27 w 1440"/>
                <a:gd name="T47" fmla="*/ 83 h 1476"/>
                <a:gd name="T48" fmla="*/ 24 w 1440"/>
                <a:gd name="T49" fmla="*/ 82 h 1476"/>
                <a:gd name="T50" fmla="*/ 21 w 1440"/>
                <a:gd name="T51" fmla="*/ 80 h 1476"/>
                <a:gd name="T52" fmla="*/ 18 w 1440"/>
                <a:gd name="T53" fmla="*/ 79 h 1476"/>
                <a:gd name="T54" fmla="*/ 17 w 1440"/>
                <a:gd name="T55" fmla="*/ 78 h 1476"/>
                <a:gd name="T56" fmla="*/ 12 w 1440"/>
                <a:gd name="T57" fmla="*/ 78 h 1476"/>
                <a:gd name="T58" fmla="*/ 12 w 1440"/>
                <a:gd name="T59" fmla="*/ 78 h 1476"/>
                <a:gd name="T60" fmla="*/ 7 w 1440"/>
                <a:gd name="T61" fmla="*/ 80 h 1476"/>
                <a:gd name="T62" fmla="*/ 3 w 1440"/>
                <a:gd name="T63" fmla="*/ 81 h 1476"/>
                <a:gd name="T64" fmla="*/ 0 w 1440"/>
                <a:gd name="T65" fmla="*/ 76 h 1476"/>
                <a:gd name="T66" fmla="*/ 1 w 1440"/>
                <a:gd name="T67" fmla="*/ 50 h 1476"/>
                <a:gd name="T68" fmla="*/ 8 w 1440"/>
                <a:gd name="T69" fmla="*/ 48 h 1476"/>
                <a:gd name="T70" fmla="*/ 20 w 1440"/>
                <a:gd name="T71" fmla="*/ 49 h 1476"/>
                <a:gd name="T72" fmla="*/ 26 w 1440"/>
                <a:gd name="T73" fmla="*/ 50 h 1476"/>
                <a:gd name="T74" fmla="*/ 44 w 1440"/>
                <a:gd name="T75" fmla="*/ 47 h 1476"/>
                <a:gd name="T76" fmla="*/ 41 w 1440"/>
                <a:gd name="T77" fmla="*/ 24 h 1476"/>
                <a:gd name="T78" fmla="*/ 44 w 1440"/>
                <a:gd name="T79" fmla="*/ 20 h 1476"/>
                <a:gd name="T80" fmla="*/ 47 w 1440"/>
                <a:gd name="T81" fmla="*/ 18 h 1476"/>
                <a:gd name="T82" fmla="*/ 54 w 1440"/>
                <a:gd name="T83" fmla="*/ 21 h 1476"/>
                <a:gd name="T84" fmla="*/ 61 w 1440"/>
                <a:gd name="T85" fmla="*/ 23 h 1476"/>
                <a:gd name="T86" fmla="*/ 59 w 1440"/>
                <a:gd name="T87" fmla="*/ 14 h 1476"/>
                <a:gd name="T88" fmla="*/ 61 w 1440"/>
                <a:gd name="T89" fmla="*/ 8 h 1476"/>
                <a:gd name="T90" fmla="*/ 71 w 1440"/>
                <a:gd name="T91" fmla="*/ 7 h 1476"/>
                <a:gd name="T92" fmla="*/ 75 w 1440"/>
                <a:gd name="T93" fmla="*/ 0 h 1476"/>
                <a:gd name="T94" fmla="*/ 82 w 1440"/>
                <a:gd name="T95" fmla="*/ 3 h 1476"/>
                <a:gd name="T96" fmla="*/ 93 w 1440"/>
                <a:gd name="T97" fmla="*/ 5 h 1476"/>
                <a:gd name="T98" fmla="*/ 100 w 1440"/>
                <a:gd name="T99" fmla="*/ 1 h 1476"/>
                <a:gd name="T100" fmla="*/ 104 w 1440"/>
                <a:gd name="T101" fmla="*/ 4 h 1476"/>
                <a:gd name="T102" fmla="*/ 110 w 1440"/>
                <a:gd name="T103" fmla="*/ 10 h 1476"/>
                <a:gd name="T104" fmla="*/ 115 w 1440"/>
                <a:gd name="T105" fmla="*/ 23 h 1476"/>
                <a:gd name="T106" fmla="*/ 117 w 1440"/>
                <a:gd name="T107" fmla="*/ 42 h 1476"/>
                <a:gd name="T108" fmla="*/ 121 w 1440"/>
                <a:gd name="T109" fmla="*/ 52 h 1476"/>
                <a:gd name="T110" fmla="*/ 118 w 1440"/>
                <a:gd name="T111" fmla="*/ 62 h 1476"/>
                <a:gd name="T112" fmla="*/ 124 w 1440"/>
                <a:gd name="T113" fmla="*/ 66 h 1476"/>
                <a:gd name="T114" fmla="*/ 121 w 1440"/>
                <a:gd name="T115" fmla="*/ 71 h 1476"/>
                <a:gd name="T116" fmla="*/ 115 w 1440"/>
                <a:gd name="T117" fmla="*/ 76 h 1476"/>
                <a:gd name="T118" fmla="*/ 109 w 1440"/>
                <a:gd name="T119" fmla="*/ 76 h 1476"/>
                <a:gd name="T120" fmla="*/ 105 w 1440"/>
                <a:gd name="T121" fmla="*/ 86 h 1476"/>
                <a:gd name="T122" fmla="*/ 107 w 1440"/>
                <a:gd name="T123" fmla="*/ 97 h 147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40"/>
                <a:gd name="T187" fmla="*/ 0 h 1476"/>
                <a:gd name="T188" fmla="*/ 1440 w 1440"/>
                <a:gd name="T189" fmla="*/ 1476 h 147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40" h="1476">
                  <a:moveTo>
                    <a:pt x="1212" y="1164"/>
                  </a:moveTo>
                  <a:lnTo>
                    <a:pt x="1206" y="1170"/>
                  </a:lnTo>
                  <a:lnTo>
                    <a:pt x="1200" y="1176"/>
                  </a:lnTo>
                  <a:lnTo>
                    <a:pt x="1194" y="1176"/>
                  </a:lnTo>
                  <a:lnTo>
                    <a:pt x="1188" y="1188"/>
                  </a:lnTo>
                  <a:lnTo>
                    <a:pt x="1182" y="1194"/>
                  </a:lnTo>
                  <a:lnTo>
                    <a:pt x="1176" y="1194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64" y="1206"/>
                  </a:lnTo>
                  <a:lnTo>
                    <a:pt x="1158" y="1206"/>
                  </a:lnTo>
                  <a:lnTo>
                    <a:pt x="1152" y="1212"/>
                  </a:lnTo>
                  <a:lnTo>
                    <a:pt x="1146" y="1212"/>
                  </a:lnTo>
                  <a:lnTo>
                    <a:pt x="1140" y="1224"/>
                  </a:lnTo>
                  <a:lnTo>
                    <a:pt x="1134" y="1230"/>
                  </a:lnTo>
                  <a:lnTo>
                    <a:pt x="1128" y="1236"/>
                  </a:lnTo>
                  <a:lnTo>
                    <a:pt x="1128" y="1242"/>
                  </a:lnTo>
                  <a:lnTo>
                    <a:pt x="1128" y="1254"/>
                  </a:lnTo>
                  <a:lnTo>
                    <a:pt x="1128" y="1260"/>
                  </a:lnTo>
                  <a:lnTo>
                    <a:pt x="1122" y="1260"/>
                  </a:lnTo>
                  <a:lnTo>
                    <a:pt x="1122" y="1266"/>
                  </a:lnTo>
                  <a:lnTo>
                    <a:pt x="1128" y="1278"/>
                  </a:lnTo>
                  <a:lnTo>
                    <a:pt x="1122" y="1278"/>
                  </a:lnTo>
                  <a:lnTo>
                    <a:pt x="1122" y="1284"/>
                  </a:lnTo>
                  <a:lnTo>
                    <a:pt x="1128" y="1290"/>
                  </a:lnTo>
                  <a:lnTo>
                    <a:pt x="1122" y="1296"/>
                  </a:lnTo>
                  <a:lnTo>
                    <a:pt x="1122" y="1302"/>
                  </a:lnTo>
                  <a:lnTo>
                    <a:pt x="1116" y="1302"/>
                  </a:lnTo>
                  <a:lnTo>
                    <a:pt x="1110" y="1314"/>
                  </a:lnTo>
                  <a:lnTo>
                    <a:pt x="1110" y="1320"/>
                  </a:lnTo>
                  <a:lnTo>
                    <a:pt x="1110" y="1326"/>
                  </a:lnTo>
                  <a:lnTo>
                    <a:pt x="1098" y="1332"/>
                  </a:lnTo>
                  <a:lnTo>
                    <a:pt x="1092" y="1338"/>
                  </a:lnTo>
                  <a:lnTo>
                    <a:pt x="1092" y="1344"/>
                  </a:lnTo>
                  <a:lnTo>
                    <a:pt x="1086" y="1350"/>
                  </a:lnTo>
                  <a:lnTo>
                    <a:pt x="1080" y="1350"/>
                  </a:lnTo>
                  <a:lnTo>
                    <a:pt x="1074" y="1350"/>
                  </a:lnTo>
                  <a:lnTo>
                    <a:pt x="1068" y="1356"/>
                  </a:lnTo>
                  <a:lnTo>
                    <a:pt x="1062" y="1356"/>
                  </a:lnTo>
                  <a:lnTo>
                    <a:pt x="1044" y="1356"/>
                  </a:lnTo>
                  <a:lnTo>
                    <a:pt x="1038" y="1362"/>
                  </a:lnTo>
                  <a:lnTo>
                    <a:pt x="1032" y="1368"/>
                  </a:lnTo>
                  <a:lnTo>
                    <a:pt x="1026" y="1368"/>
                  </a:lnTo>
                  <a:lnTo>
                    <a:pt x="1020" y="1374"/>
                  </a:lnTo>
                  <a:lnTo>
                    <a:pt x="1008" y="1374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74"/>
                  </a:lnTo>
                  <a:lnTo>
                    <a:pt x="978" y="1380"/>
                  </a:lnTo>
                  <a:lnTo>
                    <a:pt x="972" y="1380"/>
                  </a:lnTo>
                  <a:lnTo>
                    <a:pt x="954" y="1368"/>
                  </a:lnTo>
                  <a:lnTo>
                    <a:pt x="930" y="1368"/>
                  </a:lnTo>
                  <a:lnTo>
                    <a:pt x="918" y="1368"/>
                  </a:lnTo>
                  <a:lnTo>
                    <a:pt x="906" y="1368"/>
                  </a:lnTo>
                  <a:lnTo>
                    <a:pt x="894" y="1368"/>
                  </a:lnTo>
                  <a:lnTo>
                    <a:pt x="864" y="1374"/>
                  </a:lnTo>
                  <a:lnTo>
                    <a:pt x="852" y="1374"/>
                  </a:lnTo>
                  <a:lnTo>
                    <a:pt x="846" y="1386"/>
                  </a:lnTo>
                  <a:lnTo>
                    <a:pt x="846" y="1392"/>
                  </a:lnTo>
                  <a:lnTo>
                    <a:pt x="840" y="1398"/>
                  </a:lnTo>
                  <a:lnTo>
                    <a:pt x="840" y="1404"/>
                  </a:lnTo>
                  <a:lnTo>
                    <a:pt x="834" y="1416"/>
                  </a:lnTo>
                  <a:lnTo>
                    <a:pt x="828" y="1416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04" y="1428"/>
                  </a:lnTo>
                  <a:lnTo>
                    <a:pt x="804" y="1434"/>
                  </a:lnTo>
                  <a:lnTo>
                    <a:pt x="804" y="1440"/>
                  </a:lnTo>
                  <a:lnTo>
                    <a:pt x="798" y="1446"/>
                  </a:lnTo>
                  <a:lnTo>
                    <a:pt x="798" y="1458"/>
                  </a:lnTo>
                  <a:lnTo>
                    <a:pt x="792" y="1464"/>
                  </a:lnTo>
                  <a:lnTo>
                    <a:pt x="786" y="1476"/>
                  </a:lnTo>
                  <a:lnTo>
                    <a:pt x="780" y="1470"/>
                  </a:lnTo>
                  <a:lnTo>
                    <a:pt x="774" y="1470"/>
                  </a:lnTo>
                  <a:lnTo>
                    <a:pt x="768" y="1470"/>
                  </a:lnTo>
                  <a:lnTo>
                    <a:pt x="762" y="1476"/>
                  </a:lnTo>
                  <a:lnTo>
                    <a:pt x="762" y="1470"/>
                  </a:lnTo>
                  <a:lnTo>
                    <a:pt x="762" y="1464"/>
                  </a:lnTo>
                  <a:lnTo>
                    <a:pt x="762" y="1458"/>
                  </a:lnTo>
                  <a:lnTo>
                    <a:pt x="756" y="1458"/>
                  </a:lnTo>
                  <a:lnTo>
                    <a:pt x="756" y="1452"/>
                  </a:lnTo>
                  <a:lnTo>
                    <a:pt x="756" y="1446"/>
                  </a:lnTo>
                  <a:lnTo>
                    <a:pt x="756" y="1440"/>
                  </a:lnTo>
                  <a:lnTo>
                    <a:pt x="750" y="1434"/>
                  </a:lnTo>
                  <a:lnTo>
                    <a:pt x="750" y="1428"/>
                  </a:lnTo>
                  <a:lnTo>
                    <a:pt x="750" y="1422"/>
                  </a:lnTo>
                  <a:lnTo>
                    <a:pt x="750" y="1416"/>
                  </a:lnTo>
                  <a:lnTo>
                    <a:pt x="744" y="1416"/>
                  </a:lnTo>
                  <a:lnTo>
                    <a:pt x="744" y="1410"/>
                  </a:lnTo>
                  <a:lnTo>
                    <a:pt x="738" y="1404"/>
                  </a:lnTo>
                  <a:lnTo>
                    <a:pt x="732" y="1398"/>
                  </a:lnTo>
                  <a:lnTo>
                    <a:pt x="732" y="1392"/>
                  </a:lnTo>
                  <a:lnTo>
                    <a:pt x="726" y="1386"/>
                  </a:lnTo>
                  <a:lnTo>
                    <a:pt x="726" y="1380"/>
                  </a:lnTo>
                  <a:lnTo>
                    <a:pt x="714" y="1368"/>
                  </a:lnTo>
                  <a:lnTo>
                    <a:pt x="708" y="1368"/>
                  </a:lnTo>
                  <a:lnTo>
                    <a:pt x="684" y="1332"/>
                  </a:lnTo>
                  <a:lnTo>
                    <a:pt x="666" y="1320"/>
                  </a:lnTo>
                  <a:lnTo>
                    <a:pt x="648" y="1302"/>
                  </a:lnTo>
                  <a:lnTo>
                    <a:pt x="630" y="1314"/>
                  </a:lnTo>
                  <a:lnTo>
                    <a:pt x="624" y="1314"/>
                  </a:lnTo>
                  <a:lnTo>
                    <a:pt x="624" y="1308"/>
                  </a:lnTo>
                  <a:lnTo>
                    <a:pt x="618" y="1308"/>
                  </a:lnTo>
                  <a:lnTo>
                    <a:pt x="612" y="1284"/>
                  </a:lnTo>
                  <a:lnTo>
                    <a:pt x="606" y="1254"/>
                  </a:lnTo>
                  <a:lnTo>
                    <a:pt x="606" y="1248"/>
                  </a:lnTo>
                  <a:lnTo>
                    <a:pt x="606" y="1242"/>
                  </a:lnTo>
                  <a:lnTo>
                    <a:pt x="612" y="1242"/>
                  </a:lnTo>
                  <a:lnTo>
                    <a:pt x="618" y="1236"/>
                  </a:lnTo>
                  <a:lnTo>
                    <a:pt x="618" y="1230"/>
                  </a:lnTo>
                  <a:lnTo>
                    <a:pt x="624" y="1224"/>
                  </a:lnTo>
                  <a:lnTo>
                    <a:pt x="630" y="1224"/>
                  </a:lnTo>
                  <a:lnTo>
                    <a:pt x="636" y="1218"/>
                  </a:lnTo>
                  <a:lnTo>
                    <a:pt x="636" y="1212"/>
                  </a:lnTo>
                  <a:lnTo>
                    <a:pt x="612" y="1200"/>
                  </a:lnTo>
                  <a:lnTo>
                    <a:pt x="606" y="1182"/>
                  </a:lnTo>
                  <a:lnTo>
                    <a:pt x="672" y="1182"/>
                  </a:lnTo>
                  <a:lnTo>
                    <a:pt x="690" y="1170"/>
                  </a:lnTo>
                  <a:lnTo>
                    <a:pt x="690" y="1152"/>
                  </a:lnTo>
                  <a:lnTo>
                    <a:pt x="678" y="1110"/>
                  </a:lnTo>
                  <a:lnTo>
                    <a:pt x="672" y="1092"/>
                  </a:lnTo>
                  <a:lnTo>
                    <a:pt x="660" y="1074"/>
                  </a:lnTo>
                  <a:lnTo>
                    <a:pt x="648" y="1068"/>
                  </a:lnTo>
                  <a:lnTo>
                    <a:pt x="642" y="1068"/>
                  </a:lnTo>
                  <a:lnTo>
                    <a:pt x="636" y="1062"/>
                  </a:lnTo>
                  <a:lnTo>
                    <a:pt x="624" y="1056"/>
                  </a:lnTo>
                  <a:lnTo>
                    <a:pt x="624" y="1050"/>
                  </a:lnTo>
                  <a:lnTo>
                    <a:pt x="618" y="1038"/>
                  </a:lnTo>
                  <a:lnTo>
                    <a:pt x="612" y="1038"/>
                  </a:lnTo>
                  <a:lnTo>
                    <a:pt x="612" y="1032"/>
                  </a:lnTo>
                  <a:lnTo>
                    <a:pt x="612" y="1026"/>
                  </a:lnTo>
                  <a:lnTo>
                    <a:pt x="600" y="1014"/>
                  </a:lnTo>
                  <a:lnTo>
                    <a:pt x="582" y="1008"/>
                  </a:lnTo>
                  <a:lnTo>
                    <a:pt x="576" y="1002"/>
                  </a:lnTo>
                  <a:lnTo>
                    <a:pt x="576" y="996"/>
                  </a:lnTo>
                  <a:lnTo>
                    <a:pt x="570" y="996"/>
                  </a:lnTo>
                  <a:lnTo>
                    <a:pt x="570" y="990"/>
                  </a:lnTo>
                  <a:lnTo>
                    <a:pt x="570" y="984"/>
                  </a:lnTo>
                  <a:lnTo>
                    <a:pt x="564" y="984"/>
                  </a:lnTo>
                  <a:lnTo>
                    <a:pt x="558" y="978"/>
                  </a:lnTo>
                  <a:lnTo>
                    <a:pt x="552" y="972"/>
                  </a:lnTo>
                  <a:lnTo>
                    <a:pt x="552" y="966"/>
                  </a:lnTo>
                  <a:lnTo>
                    <a:pt x="546" y="972"/>
                  </a:lnTo>
                  <a:lnTo>
                    <a:pt x="540" y="972"/>
                  </a:lnTo>
                  <a:lnTo>
                    <a:pt x="534" y="960"/>
                  </a:lnTo>
                  <a:lnTo>
                    <a:pt x="528" y="960"/>
                  </a:lnTo>
                  <a:lnTo>
                    <a:pt x="528" y="966"/>
                  </a:lnTo>
                  <a:lnTo>
                    <a:pt x="516" y="954"/>
                  </a:lnTo>
                  <a:lnTo>
                    <a:pt x="516" y="948"/>
                  </a:lnTo>
                  <a:lnTo>
                    <a:pt x="510" y="948"/>
                  </a:lnTo>
                  <a:lnTo>
                    <a:pt x="504" y="948"/>
                  </a:lnTo>
                  <a:lnTo>
                    <a:pt x="498" y="948"/>
                  </a:lnTo>
                  <a:lnTo>
                    <a:pt x="504" y="954"/>
                  </a:lnTo>
                  <a:lnTo>
                    <a:pt x="498" y="954"/>
                  </a:lnTo>
                  <a:lnTo>
                    <a:pt x="492" y="954"/>
                  </a:lnTo>
                  <a:lnTo>
                    <a:pt x="480" y="942"/>
                  </a:lnTo>
                  <a:lnTo>
                    <a:pt x="480" y="948"/>
                  </a:lnTo>
                  <a:lnTo>
                    <a:pt x="480" y="954"/>
                  </a:lnTo>
                  <a:lnTo>
                    <a:pt x="474" y="954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56" y="966"/>
                  </a:lnTo>
                  <a:lnTo>
                    <a:pt x="456" y="960"/>
                  </a:lnTo>
                  <a:lnTo>
                    <a:pt x="450" y="966"/>
                  </a:lnTo>
                  <a:lnTo>
                    <a:pt x="444" y="966"/>
                  </a:lnTo>
                  <a:lnTo>
                    <a:pt x="414" y="966"/>
                  </a:lnTo>
                  <a:lnTo>
                    <a:pt x="408" y="960"/>
                  </a:lnTo>
                  <a:lnTo>
                    <a:pt x="408" y="966"/>
                  </a:lnTo>
                  <a:lnTo>
                    <a:pt x="402" y="960"/>
                  </a:lnTo>
                  <a:lnTo>
                    <a:pt x="396" y="960"/>
                  </a:lnTo>
                  <a:lnTo>
                    <a:pt x="390" y="960"/>
                  </a:lnTo>
                  <a:lnTo>
                    <a:pt x="390" y="966"/>
                  </a:lnTo>
                  <a:lnTo>
                    <a:pt x="384" y="966"/>
                  </a:lnTo>
                  <a:lnTo>
                    <a:pt x="378" y="966"/>
                  </a:lnTo>
                  <a:lnTo>
                    <a:pt x="384" y="960"/>
                  </a:lnTo>
                  <a:lnTo>
                    <a:pt x="384" y="954"/>
                  </a:lnTo>
                  <a:lnTo>
                    <a:pt x="372" y="948"/>
                  </a:lnTo>
                  <a:lnTo>
                    <a:pt x="372" y="954"/>
                  </a:lnTo>
                  <a:lnTo>
                    <a:pt x="372" y="960"/>
                  </a:lnTo>
                  <a:lnTo>
                    <a:pt x="366" y="960"/>
                  </a:lnTo>
                  <a:lnTo>
                    <a:pt x="360" y="966"/>
                  </a:lnTo>
                  <a:lnTo>
                    <a:pt x="354" y="966"/>
                  </a:lnTo>
                  <a:lnTo>
                    <a:pt x="348" y="960"/>
                  </a:lnTo>
                  <a:lnTo>
                    <a:pt x="342" y="960"/>
                  </a:lnTo>
                  <a:lnTo>
                    <a:pt x="342" y="966"/>
                  </a:lnTo>
                  <a:lnTo>
                    <a:pt x="336" y="972"/>
                  </a:lnTo>
                  <a:lnTo>
                    <a:pt x="330" y="972"/>
                  </a:lnTo>
                  <a:lnTo>
                    <a:pt x="324" y="966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6" y="954"/>
                  </a:lnTo>
                  <a:lnTo>
                    <a:pt x="306" y="948"/>
                  </a:lnTo>
                  <a:lnTo>
                    <a:pt x="306" y="942"/>
                  </a:lnTo>
                  <a:lnTo>
                    <a:pt x="300" y="942"/>
                  </a:lnTo>
                  <a:lnTo>
                    <a:pt x="294" y="936"/>
                  </a:lnTo>
                  <a:lnTo>
                    <a:pt x="288" y="936"/>
                  </a:lnTo>
                  <a:lnTo>
                    <a:pt x="282" y="942"/>
                  </a:lnTo>
                  <a:lnTo>
                    <a:pt x="276" y="936"/>
                  </a:lnTo>
                  <a:lnTo>
                    <a:pt x="276" y="942"/>
                  </a:lnTo>
                  <a:lnTo>
                    <a:pt x="270" y="942"/>
                  </a:lnTo>
                  <a:lnTo>
                    <a:pt x="264" y="936"/>
                  </a:lnTo>
                  <a:lnTo>
                    <a:pt x="252" y="936"/>
                  </a:lnTo>
                  <a:lnTo>
                    <a:pt x="246" y="936"/>
                  </a:lnTo>
                  <a:lnTo>
                    <a:pt x="240" y="936"/>
                  </a:lnTo>
                  <a:lnTo>
                    <a:pt x="234" y="936"/>
                  </a:lnTo>
                  <a:lnTo>
                    <a:pt x="240" y="924"/>
                  </a:lnTo>
                  <a:lnTo>
                    <a:pt x="234" y="924"/>
                  </a:lnTo>
                  <a:lnTo>
                    <a:pt x="228" y="918"/>
                  </a:lnTo>
                  <a:lnTo>
                    <a:pt x="228" y="906"/>
                  </a:lnTo>
                  <a:lnTo>
                    <a:pt x="222" y="900"/>
                  </a:lnTo>
                  <a:lnTo>
                    <a:pt x="216" y="900"/>
                  </a:lnTo>
                  <a:lnTo>
                    <a:pt x="210" y="900"/>
                  </a:lnTo>
                  <a:lnTo>
                    <a:pt x="210" y="906"/>
                  </a:lnTo>
                  <a:lnTo>
                    <a:pt x="204" y="906"/>
                  </a:lnTo>
                  <a:lnTo>
                    <a:pt x="198" y="906"/>
                  </a:lnTo>
                  <a:lnTo>
                    <a:pt x="210" y="900"/>
                  </a:lnTo>
                  <a:lnTo>
                    <a:pt x="210" y="894"/>
                  </a:lnTo>
                  <a:lnTo>
                    <a:pt x="216" y="888"/>
                  </a:lnTo>
                  <a:lnTo>
                    <a:pt x="204" y="882"/>
                  </a:lnTo>
                  <a:lnTo>
                    <a:pt x="204" y="894"/>
                  </a:lnTo>
                  <a:lnTo>
                    <a:pt x="198" y="894"/>
                  </a:lnTo>
                  <a:lnTo>
                    <a:pt x="192" y="900"/>
                  </a:lnTo>
                  <a:lnTo>
                    <a:pt x="186" y="894"/>
                  </a:lnTo>
                  <a:lnTo>
                    <a:pt x="180" y="894"/>
                  </a:lnTo>
                  <a:lnTo>
                    <a:pt x="174" y="894"/>
                  </a:lnTo>
                  <a:lnTo>
                    <a:pt x="168" y="900"/>
                  </a:lnTo>
                  <a:lnTo>
                    <a:pt x="162" y="906"/>
                  </a:lnTo>
                  <a:lnTo>
                    <a:pt x="156" y="906"/>
                  </a:lnTo>
                  <a:lnTo>
                    <a:pt x="150" y="900"/>
                  </a:lnTo>
                  <a:lnTo>
                    <a:pt x="144" y="894"/>
                  </a:lnTo>
                  <a:lnTo>
                    <a:pt x="138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0" y="888"/>
                  </a:lnTo>
                  <a:lnTo>
                    <a:pt x="114" y="894"/>
                  </a:lnTo>
                  <a:lnTo>
                    <a:pt x="120" y="900"/>
                  </a:lnTo>
                  <a:lnTo>
                    <a:pt x="126" y="900"/>
                  </a:lnTo>
                  <a:lnTo>
                    <a:pt x="132" y="900"/>
                  </a:lnTo>
                  <a:lnTo>
                    <a:pt x="132" y="906"/>
                  </a:lnTo>
                  <a:lnTo>
                    <a:pt x="126" y="912"/>
                  </a:lnTo>
                  <a:lnTo>
                    <a:pt x="126" y="918"/>
                  </a:lnTo>
                  <a:lnTo>
                    <a:pt x="114" y="918"/>
                  </a:lnTo>
                  <a:lnTo>
                    <a:pt x="108" y="924"/>
                  </a:lnTo>
                  <a:lnTo>
                    <a:pt x="102" y="924"/>
                  </a:lnTo>
                  <a:lnTo>
                    <a:pt x="90" y="924"/>
                  </a:lnTo>
                  <a:lnTo>
                    <a:pt x="84" y="924"/>
                  </a:lnTo>
                  <a:lnTo>
                    <a:pt x="78" y="924"/>
                  </a:lnTo>
                  <a:lnTo>
                    <a:pt x="60" y="924"/>
                  </a:lnTo>
                  <a:lnTo>
                    <a:pt x="54" y="942"/>
                  </a:lnTo>
                  <a:lnTo>
                    <a:pt x="48" y="936"/>
                  </a:lnTo>
                  <a:lnTo>
                    <a:pt x="42" y="930"/>
                  </a:lnTo>
                  <a:lnTo>
                    <a:pt x="36" y="930"/>
                  </a:lnTo>
                  <a:lnTo>
                    <a:pt x="30" y="936"/>
                  </a:lnTo>
                  <a:lnTo>
                    <a:pt x="30" y="930"/>
                  </a:lnTo>
                  <a:lnTo>
                    <a:pt x="30" y="924"/>
                  </a:lnTo>
                  <a:lnTo>
                    <a:pt x="18" y="918"/>
                  </a:lnTo>
                  <a:lnTo>
                    <a:pt x="18" y="912"/>
                  </a:lnTo>
                  <a:lnTo>
                    <a:pt x="12" y="912"/>
                  </a:lnTo>
                  <a:lnTo>
                    <a:pt x="6" y="912"/>
                  </a:lnTo>
                  <a:lnTo>
                    <a:pt x="6" y="900"/>
                  </a:lnTo>
                  <a:lnTo>
                    <a:pt x="6" y="894"/>
                  </a:lnTo>
                  <a:lnTo>
                    <a:pt x="0" y="870"/>
                  </a:lnTo>
                  <a:lnTo>
                    <a:pt x="6" y="846"/>
                  </a:lnTo>
                  <a:lnTo>
                    <a:pt x="6" y="810"/>
                  </a:lnTo>
                  <a:lnTo>
                    <a:pt x="12" y="774"/>
                  </a:lnTo>
                  <a:lnTo>
                    <a:pt x="12" y="756"/>
                  </a:lnTo>
                  <a:lnTo>
                    <a:pt x="18" y="744"/>
                  </a:lnTo>
                  <a:lnTo>
                    <a:pt x="18" y="732"/>
                  </a:lnTo>
                  <a:lnTo>
                    <a:pt x="12" y="576"/>
                  </a:lnTo>
                  <a:lnTo>
                    <a:pt x="12" y="570"/>
                  </a:lnTo>
                  <a:lnTo>
                    <a:pt x="18" y="564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42" y="552"/>
                  </a:lnTo>
                  <a:lnTo>
                    <a:pt x="66" y="552"/>
                  </a:lnTo>
                  <a:lnTo>
                    <a:pt x="78" y="558"/>
                  </a:lnTo>
                  <a:lnTo>
                    <a:pt x="90" y="558"/>
                  </a:lnTo>
                  <a:lnTo>
                    <a:pt x="108" y="558"/>
                  </a:lnTo>
                  <a:lnTo>
                    <a:pt x="144" y="558"/>
                  </a:lnTo>
                  <a:lnTo>
                    <a:pt x="204" y="552"/>
                  </a:lnTo>
                  <a:lnTo>
                    <a:pt x="210" y="558"/>
                  </a:lnTo>
                  <a:lnTo>
                    <a:pt x="216" y="558"/>
                  </a:lnTo>
                  <a:lnTo>
                    <a:pt x="210" y="564"/>
                  </a:lnTo>
                  <a:lnTo>
                    <a:pt x="216" y="564"/>
                  </a:lnTo>
                  <a:lnTo>
                    <a:pt x="222" y="564"/>
                  </a:lnTo>
                  <a:lnTo>
                    <a:pt x="240" y="564"/>
                  </a:lnTo>
                  <a:lnTo>
                    <a:pt x="258" y="564"/>
                  </a:lnTo>
                  <a:lnTo>
                    <a:pt x="264" y="570"/>
                  </a:lnTo>
                  <a:lnTo>
                    <a:pt x="276" y="570"/>
                  </a:lnTo>
                  <a:lnTo>
                    <a:pt x="282" y="564"/>
                  </a:lnTo>
                  <a:lnTo>
                    <a:pt x="294" y="564"/>
                  </a:lnTo>
                  <a:lnTo>
                    <a:pt x="294" y="570"/>
                  </a:lnTo>
                  <a:lnTo>
                    <a:pt x="300" y="570"/>
                  </a:lnTo>
                  <a:lnTo>
                    <a:pt x="378" y="564"/>
                  </a:lnTo>
                  <a:lnTo>
                    <a:pt x="408" y="558"/>
                  </a:lnTo>
                  <a:lnTo>
                    <a:pt x="432" y="552"/>
                  </a:lnTo>
                  <a:lnTo>
                    <a:pt x="450" y="546"/>
                  </a:lnTo>
                  <a:lnTo>
                    <a:pt x="468" y="546"/>
                  </a:lnTo>
                  <a:lnTo>
                    <a:pt x="468" y="552"/>
                  </a:lnTo>
                  <a:lnTo>
                    <a:pt x="504" y="552"/>
                  </a:lnTo>
                  <a:lnTo>
                    <a:pt x="510" y="534"/>
                  </a:lnTo>
                  <a:lnTo>
                    <a:pt x="516" y="510"/>
                  </a:lnTo>
                  <a:lnTo>
                    <a:pt x="522" y="510"/>
                  </a:lnTo>
                  <a:lnTo>
                    <a:pt x="528" y="420"/>
                  </a:lnTo>
                  <a:lnTo>
                    <a:pt x="522" y="414"/>
                  </a:lnTo>
                  <a:lnTo>
                    <a:pt x="516" y="396"/>
                  </a:lnTo>
                  <a:lnTo>
                    <a:pt x="510" y="372"/>
                  </a:lnTo>
                  <a:lnTo>
                    <a:pt x="498" y="348"/>
                  </a:lnTo>
                  <a:lnTo>
                    <a:pt x="474" y="282"/>
                  </a:lnTo>
                  <a:lnTo>
                    <a:pt x="474" y="270"/>
                  </a:lnTo>
                  <a:lnTo>
                    <a:pt x="480" y="258"/>
                  </a:lnTo>
                  <a:lnTo>
                    <a:pt x="486" y="258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92" y="246"/>
                  </a:lnTo>
                  <a:lnTo>
                    <a:pt x="504" y="234"/>
                  </a:lnTo>
                  <a:lnTo>
                    <a:pt x="510" y="228"/>
                  </a:lnTo>
                  <a:lnTo>
                    <a:pt x="516" y="228"/>
                  </a:lnTo>
                  <a:lnTo>
                    <a:pt x="516" y="222"/>
                  </a:lnTo>
                  <a:lnTo>
                    <a:pt x="516" y="216"/>
                  </a:lnTo>
                  <a:lnTo>
                    <a:pt x="522" y="216"/>
                  </a:lnTo>
                  <a:lnTo>
                    <a:pt x="528" y="210"/>
                  </a:lnTo>
                  <a:lnTo>
                    <a:pt x="534" y="210"/>
                  </a:lnTo>
                  <a:lnTo>
                    <a:pt x="540" y="210"/>
                  </a:lnTo>
                  <a:lnTo>
                    <a:pt x="546" y="210"/>
                  </a:lnTo>
                  <a:lnTo>
                    <a:pt x="552" y="210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16"/>
                  </a:lnTo>
                  <a:lnTo>
                    <a:pt x="588" y="228"/>
                  </a:lnTo>
                  <a:lnTo>
                    <a:pt x="594" y="234"/>
                  </a:lnTo>
                  <a:lnTo>
                    <a:pt x="600" y="240"/>
                  </a:lnTo>
                  <a:lnTo>
                    <a:pt x="618" y="246"/>
                  </a:lnTo>
                  <a:lnTo>
                    <a:pt x="624" y="246"/>
                  </a:lnTo>
                  <a:lnTo>
                    <a:pt x="636" y="252"/>
                  </a:lnTo>
                  <a:lnTo>
                    <a:pt x="654" y="252"/>
                  </a:lnTo>
                  <a:lnTo>
                    <a:pt x="654" y="258"/>
                  </a:lnTo>
                  <a:lnTo>
                    <a:pt x="666" y="264"/>
                  </a:lnTo>
                  <a:lnTo>
                    <a:pt x="672" y="264"/>
                  </a:lnTo>
                  <a:lnTo>
                    <a:pt x="678" y="264"/>
                  </a:lnTo>
                  <a:lnTo>
                    <a:pt x="696" y="258"/>
                  </a:lnTo>
                  <a:lnTo>
                    <a:pt x="696" y="252"/>
                  </a:lnTo>
                  <a:lnTo>
                    <a:pt x="696" y="246"/>
                  </a:lnTo>
                  <a:lnTo>
                    <a:pt x="690" y="234"/>
                  </a:lnTo>
                  <a:lnTo>
                    <a:pt x="684" y="210"/>
                  </a:lnTo>
                  <a:lnTo>
                    <a:pt x="678" y="192"/>
                  </a:lnTo>
                  <a:lnTo>
                    <a:pt x="672" y="174"/>
                  </a:lnTo>
                  <a:lnTo>
                    <a:pt x="672" y="168"/>
                  </a:lnTo>
                  <a:lnTo>
                    <a:pt x="672" y="162"/>
                  </a:lnTo>
                  <a:lnTo>
                    <a:pt x="672" y="156"/>
                  </a:lnTo>
                  <a:lnTo>
                    <a:pt x="684" y="132"/>
                  </a:lnTo>
                  <a:lnTo>
                    <a:pt x="684" y="120"/>
                  </a:lnTo>
                  <a:lnTo>
                    <a:pt x="684" y="108"/>
                  </a:lnTo>
                  <a:lnTo>
                    <a:pt x="678" y="102"/>
                  </a:lnTo>
                  <a:lnTo>
                    <a:pt x="678" y="96"/>
                  </a:lnTo>
                  <a:lnTo>
                    <a:pt x="684" y="96"/>
                  </a:lnTo>
                  <a:lnTo>
                    <a:pt x="696" y="90"/>
                  </a:lnTo>
                  <a:lnTo>
                    <a:pt x="702" y="84"/>
                  </a:lnTo>
                  <a:lnTo>
                    <a:pt x="720" y="72"/>
                  </a:lnTo>
                  <a:lnTo>
                    <a:pt x="738" y="66"/>
                  </a:lnTo>
                  <a:lnTo>
                    <a:pt x="756" y="60"/>
                  </a:lnTo>
                  <a:lnTo>
                    <a:pt x="768" y="60"/>
                  </a:lnTo>
                  <a:lnTo>
                    <a:pt x="798" y="72"/>
                  </a:lnTo>
                  <a:lnTo>
                    <a:pt x="804" y="78"/>
                  </a:lnTo>
                  <a:lnTo>
                    <a:pt x="816" y="84"/>
                  </a:lnTo>
                  <a:lnTo>
                    <a:pt x="822" y="84"/>
                  </a:lnTo>
                  <a:lnTo>
                    <a:pt x="828" y="72"/>
                  </a:lnTo>
                  <a:lnTo>
                    <a:pt x="828" y="60"/>
                  </a:lnTo>
                  <a:lnTo>
                    <a:pt x="828" y="36"/>
                  </a:lnTo>
                  <a:lnTo>
                    <a:pt x="828" y="24"/>
                  </a:lnTo>
                  <a:lnTo>
                    <a:pt x="828" y="12"/>
                  </a:lnTo>
                  <a:lnTo>
                    <a:pt x="834" y="12"/>
                  </a:lnTo>
                  <a:lnTo>
                    <a:pt x="852" y="6"/>
                  </a:lnTo>
                  <a:lnTo>
                    <a:pt x="876" y="6"/>
                  </a:lnTo>
                  <a:lnTo>
                    <a:pt x="894" y="6"/>
                  </a:lnTo>
                  <a:lnTo>
                    <a:pt x="906" y="12"/>
                  </a:lnTo>
                  <a:lnTo>
                    <a:pt x="912" y="24"/>
                  </a:lnTo>
                  <a:lnTo>
                    <a:pt x="924" y="24"/>
                  </a:lnTo>
                  <a:lnTo>
                    <a:pt x="930" y="30"/>
                  </a:lnTo>
                  <a:lnTo>
                    <a:pt x="936" y="30"/>
                  </a:lnTo>
                  <a:lnTo>
                    <a:pt x="936" y="36"/>
                  </a:lnTo>
                  <a:lnTo>
                    <a:pt x="942" y="36"/>
                  </a:lnTo>
                  <a:lnTo>
                    <a:pt x="948" y="42"/>
                  </a:lnTo>
                  <a:lnTo>
                    <a:pt x="960" y="48"/>
                  </a:lnTo>
                  <a:lnTo>
                    <a:pt x="966" y="48"/>
                  </a:lnTo>
                  <a:lnTo>
                    <a:pt x="1026" y="60"/>
                  </a:lnTo>
                  <a:lnTo>
                    <a:pt x="1050" y="60"/>
                  </a:lnTo>
                  <a:lnTo>
                    <a:pt x="1050" y="54"/>
                  </a:lnTo>
                  <a:lnTo>
                    <a:pt x="1062" y="54"/>
                  </a:lnTo>
                  <a:lnTo>
                    <a:pt x="1074" y="48"/>
                  </a:lnTo>
                  <a:lnTo>
                    <a:pt x="1086" y="42"/>
                  </a:lnTo>
                  <a:lnTo>
                    <a:pt x="1104" y="36"/>
                  </a:lnTo>
                  <a:lnTo>
                    <a:pt x="1116" y="30"/>
                  </a:lnTo>
                  <a:lnTo>
                    <a:pt x="1122" y="24"/>
                  </a:lnTo>
                  <a:lnTo>
                    <a:pt x="1128" y="18"/>
                  </a:lnTo>
                  <a:lnTo>
                    <a:pt x="1134" y="18"/>
                  </a:lnTo>
                  <a:lnTo>
                    <a:pt x="1140" y="12"/>
                  </a:lnTo>
                  <a:lnTo>
                    <a:pt x="1146" y="6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24"/>
                  </a:lnTo>
                  <a:lnTo>
                    <a:pt x="1176" y="36"/>
                  </a:lnTo>
                  <a:lnTo>
                    <a:pt x="1188" y="42"/>
                  </a:lnTo>
                  <a:lnTo>
                    <a:pt x="1200" y="54"/>
                  </a:lnTo>
                  <a:lnTo>
                    <a:pt x="1224" y="84"/>
                  </a:lnTo>
                  <a:lnTo>
                    <a:pt x="1224" y="90"/>
                  </a:lnTo>
                  <a:lnTo>
                    <a:pt x="1236" y="96"/>
                  </a:lnTo>
                  <a:lnTo>
                    <a:pt x="1236" y="108"/>
                  </a:lnTo>
                  <a:lnTo>
                    <a:pt x="1248" y="114"/>
                  </a:lnTo>
                  <a:lnTo>
                    <a:pt x="1254" y="114"/>
                  </a:lnTo>
                  <a:lnTo>
                    <a:pt x="1260" y="114"/>
                  </a:lnTo>
                  <a:lnTo>
                    <a:pt x="1296" y="114"/>
                  </a:lnTo>
                  <a:lnTo>
                    <a:pt x="1302" y="114"/>
                  </a:lnTo>
                  <a:lnTo>
                    <a:pt x="1320" y="108"/>
                  </a:lnTo>
                  <a:lnTo>
                    <a:pt x="1326" y="108"/>
                  </a:lnTo>
                  <a:lnTo>
                    <a:pt x="1326" y="138"/>
                  </a:lnTo>
                  <a:lnTo>
                    <a:pt x="1326" y="210"/>
                  </a:lnTo>
                  <a:lnTo>
                    <a:pt x="1320" y="252"/>
                  </a:lnTo>
                  <a:lnTo>
                    <a:pt x="1320" y="270"/>
                  </a:lnTo>
                  <a:lnTo>
                    <a:pt x="1320" y="288"/>
                  </a:lnTo>
                  <a:lnTo>
                    <a:pt x="1320" y="318"/>
                  </a:lnTo>
                  <a:lnTo>
                    <a:pt x="1326" y="354"/>
                  </a:lnTo>
                  <a:lnTo>
                    <a:pt x="1326" y="372"/>
                  </a:lnTo>
                  <a:lnTo>
                    <a:pt x="1332" y="420"/>
                  </a:lnTo>
                  <a:lnTo>
                    <a:pt x="1332" y="450"/>
                  </a:lnTo>
                  <a:lnTo>
                    <a:pt x="1338" y="480"/>
                  </a:lnTo>
                  <a:lnTo>
                    <a:pt x="1344" y="486"/>
                  </a:lnTo>
                  <a:lnTo>
                    <a:pt x="1338" y="492"/>
                  </a:lnTo>
                  <a:lnTo>
                    <a:pt x="1344" y="492"/>
                  </a:lnTo>
                  <a:lnTo>
                    <a:pt x="1344" y="498"/>
                  </a:lnTo>
                  <a:lnTo>
                    <a:pt x="1350" y="498"/>
                  </a:lnTo>
                  <a:lnTo>
                    <a:pt x="1350" y="522"/>
                  </a:lnTo>
                  <a:lnTo>
                    <a:pt x="1362" y="564"/>
                  </a:lnTo>
                  <a:lnTo>
                    <a:pt x="1368" y="582"/>
                  </a:lnTo>
                  <a:lnTo>
                    <a:pt x="1380" y="600"/>
                  </a:lnTo>
                  <a:lnTo>
                    <a:pt x="1386" y="636"/>
                  </a:lnTo>
                  <a:lnTo>
                    <a:pt x="1380" y="660"/>
                  </a:lnTo>
                  <a:lnTo>
                    <a:pt x="1380" y="678"/>
                  </a:lnTo>
                  <a:lnTo>
                    <a:pt x="1380" y="684"/>
                  </a:lnTo>
                  <a:lnTo>
                    <a:pt x="1374" y="684"/>
                  </a:lnTo>
                  <a:lnTo>
                    <a:pt x="1368" y="690"/>
                  </a:lnTo>
                  <a:lnTo>
                    <a:pt x="1356" y="702"/>
                  </a:lnTo>
                  <a:lnTo>
                    <a:pt x="1350" y="708"/>
                  </a:lnTo>
                  <a:lnTo>
                    <a:pt x="1356" y="714"/>
                  </a:lnTo>
                  <a:lnTo>
                    <a:pt x="1368" y="726"/>
                  </a:lnTo>
                  <a:lnTo>
                    <a:pt x="1380" y="738"/>
                  </a:lnTo>
                  <a:lnTo>
                    <a:pt x="1386" y="744"/>
                  </a:lnTo>
                  <a:lnTo>
                    <a:pt x="1392" y="744"/>
                  </a:lnTo>
                  <a:lnTo>
                    <a:pt x="1410" y="750"/>
                  </a:lnTo>
                  <a:lnTo>
                    <a:pt x="1416" y="756"/>
                  </a:lnTo>
                  <a:lnTo>
                    <a:pt x="1422" y="756"/>
                  </a:lnTo>
                  <a:lnTo>
                    <a:pt x="1422" y="762"/>
                  </a:lnTo>
                  <a:lnTo>
                    <a:pt x="1428" y="774"/>
                  </a:lnTo>
                  <a:lnTo>
                    <a:pt x="1428" y="780"/>
                  </a:lnTo>
                  <a:lnTo>
                    <a:pt x="1434" y="780"/>
                  </a:lnTo>
                  <a:lnTo>
                    <a:pt x="1440" y="798"/>
                  </a:lnTo>
                  <a:lnTo>
                    <a:pt x="1422" y="816"/>
                  </a:lnTo>
                  <a:lnTo>
                    <a:pt x="1386" y="810"/>
                  </a:lnTo>
                  <a:lnTo>
                    <a:pt x="1380" y="816"/>
                  </a:lnTo>
                  <a:lnTo>
                    <a:pt x="1374" y="840"/>
                  </a:lnTo>
                  <a:lnTo>
                    <a:pt x="1350" y="852"/>
                  </a:lnTo>
                  <a:lnTo>
                    <a:pt x="1350" y="858"/>
                  </a:lnTo>
                  <a:lnTo>
                    <a:pt x="1350" y="864"/>
                  </a:lnTo>
                  <a:lnTo>
                    <a:pt x="1344" y="864"/>
                  </a:lnTo>
                  <a:lnTo>
                    <a:pt x="1338" y="870"/>
                  </a:lnTo>
                  <a:lnTo>
                    <a:pt x="1332" y="876"/>
                  </a:lnTo>
                  <a:lnTo>
                    <a:pt x="1314" y="876"/>
                  </a:lnTo>
                  <a:lnTo>
                    <a:pt x="1314" y="870"/>
                  </a:lnTo>
                  <a:lnTo>
                    <a:pt x="1308" y="870"/>
                  </a:lnTo>
                  <a:lnTo>
                    <a:pt x="1302" y="864"/>
                  </a:lnTo>
                  <a:lnTo>
                    <a:pt x="1296" y="864"/>
                  </a:lnTo>
                  <a:lnTo>
                    <a:pt x="1284" y="870"/>
                  </a:lnTo>
                  <a:lnTo>
                    <a:pt x="1266" y="870"/>
                  </a:lnTo>
                  <a:lnTo>
                    <a:pt x="1260" y="870"/>
                  </a:lnTo>
                  <a:lnTo>
                    <a:pt x="1248" y="876"/>
                  </a:lnTo>
                  <a:lnTo>
                    <a:pt x="1236" y="876"/>
                  </a:lnTo>
                  <a:lnTo>
                    <a:pt x="1230" y="882"/>
                  </a:lnTo>
                  <a:lnTo>
                    <a:pt x="1224" y="894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18" y="942"/>
                  </a:lnTo>
                  <a:lnTo>
                    <a:pt x="1212" y="948"/>
                  </a:lnTo>
                  <a:lnTo>
                    <a:pt x="1200" y="984"/>
                  </a:lnTo>
                  <a:lnTo>
                    <a:pt x="1194" y="1008"/>
                  </a:lnTo>
                  <a:lnTo>
                    <a:pt x="1218" y="1038"/>
                  </a:lnTo>
                  <a:lnTo>
                    <a:pt x="1224" y="1044"/>
                  </a:lnTo>
                  <a:lnTo>
                    <a:pt x="1224" y="1062"/>
                  </a:lnTo>
                  <a:lnTo>
                    <a:pt x="1236" y="1080"/>
                  </a:lnTo>
                  <a:lnTo>
                    <a:pt x="1236" y="1086"/>
                  </a:lnTo>
                  <a:lnTo>
                    <a:pt x="1230" y="1092"/>
                  </a:lnTo>
                  <a:lnTo>
                    <a:pt x="1224" y="1110"/>
                  </a:lnTo>
                  <a:lnTo>
                    <a:pt x="1218" y="1122"/>
                  </a:lnTo>
                  <a:lnTo>
                    <a:pt x="1224" y="1140"/>
                  </a:lnTo>
                  <a:lnTo>
                    <a:pt x="1218" y="1146"/>
                  </a:lnTo>
                  <a:lnTo>
                    <a:pt x="1218" y="1152"/>
                  </a:lnTo>
                  <a:lnTo>
                    <a:pt x="1212" y="116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1" name="Freeform 36">
              <a:extLst>
                <a:ext uri="{FF2B5EF4-FFF2-40B4-BE49-F238E27FC236}">
                  <a16:creationId xmlns:a16="http://schemas.microsoft.com/office/drawing/2014/main" id="{B9C0D6BE-CB1C-4E69-B224-1ABF097AA8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90208" y="1647855"/>
              <a:ext cx="742415" cy="758173"/>
            </a:xfrm>
            <a:custGeom>
              <a:avLst/>
              <a:gdLst>
                <a:gd name="T0" fmla="*/ 75 w 1398"/>
                <a:gd name="T1" fmla="*/ 48 h 1428"/>
                <a:gd name="T2" fmla="*/ 68 w 1398"/>
                <a:gd name="T3" fmla="*/ 54 h 1428"/>
                <a:gd name="T4" fmla="*/ 57 w 1398"/>
                <a:gd name="T5" fmla="*/ 59 h 1428"/>
                <a:gd name="T6" fmla="*/ 55 w 1398"/>
                <a:gd name="T7" fmla="*/ 68 h 1428"/>
                <a:gd name="T8" fmla="*/ 55 w 1398"/>
                <a:gd name="T9" fmla="*/ 77 h 1428"/>
                <a:gd name="T10" fmla="*/ 57 w 1398"/>
                <a:gd name="T11" fmla="*/ 81 h 1428"/>
                <a:gd name="T12" fmla="*/ 56 w 1398"/>
                <a:gd name="T13" fmla="*/ 86 h 1428"/>
                <a:gd name="T14" fmla="*/ 57 w 1398"/>
                <a:gd name="T15" fmla="*/ 89 h 1428"/>
                <a:gd name="T16" fmla="*/ 58 w 1398"/>
                <a:gd name="T17" fmla="*/ 92 h 1428"/>
                <a:gd name="T18" fmla="*/ 58 w 1398"/>
                <a:gd name="T19" fmla="*/ 96 h 1428"/>
                <a:gd name="T20" fmla="*/ 49 w 1398"/>
                <a:gd name="T21" fmla="*/ 100 h 1428"/>
                <a:gd name="T22" fmla="*/ 47 w 1398"/>
                <a:gd name="T23" fmla="*/ 108 h 1428"/>
                <a:gd name="T24" fmla="*/ 48 w 1398"/>
                <a:gd name="T25" fmla="*/ 113 h 1428"/>
                <a:gd name="T26" fmla="*/ 43 w 1398"/>
                <a:gd name="T27" fmla="*/ 114 h 1428"/>
                <a:gd name="T28" fmla="*/ 39 w 1398"/>
                <a:gd name="T29" fmla="*/ 113 h 1428"/>
                <a:gd name="T30" fmla="*/ 33 w 1398"/>
                <a:gd name="T31" fmla="*/ 109 h 1428"/>
                <a:gd name="T32" fmla="*/ 29 w 1398"/>
                <a:gd name="T33" fmla="*/ 114 h 1428"/>
                <a:gd name="T34" fmla="*/ 22 w 1398"/>
                <a:gd name="T35" fmla="*/ 115 h 1428"/>
                <a:gd name="T36" fmla="*/ 21 w 1398"/>
                <a:gd name="T37" fmla="*/ 121 h 1428"/>
                <a:gd name="T38" fmla="*/ 12 w 1398"/>
                <a:gd name="T39" fmla="*/ 119 h 1428"/>
                <a:gd name="T40" fmla="*/ 9 w 1398"/>
                <a:gd name="T41" fmla="*/ 113 h 1428"/>
                <a:gd name="T42" fmla="*/ 2 w 1398"/>
                <a:gd name="T43" fmla="*/ 109 h 1428"/>
                <a:gd name="T44" fmla="*/ 4 w 1398"/>
                <a:gd name="T45" fmla="*/ 103 h 1428"/>
                <a:gd name="T46" fmla="*/ 2 w 1398"/>
                <a:gd name="T47" fmla="*/ 91 h 1428"/>
                <a:gd name="T48" fmla="*/ 6 w 1398"/>
                <a:gd name="T49" fmla="*/ 85 h 1428"/>
                <a:gd name="T50" fmla="*/ 10 w 1398"/>
                <a:gd name="T51" fmla="*/ 85 h 1428"/>
                <a:gd name="T52" fmla="*/ 15 w 1398"/>
                <a:gd name="T53" fmla="*/ 82 h 1428"/>
                <a:gd name="T54" fmla="*/ 20 w 1398"/>
                <a:gd name="T55" fmla="*/ 77 h 1428"/>
                <a:gd name="T56" fmla="*/ 16 w 1398"/>
                <a:gd name="T57" fmla="*/ 73 h 1428"/>
                <a:gd name="T58" fmla="*/ 16 w 1398"/>
                <a:gd name="T59" fmla="*/ 69 h 1428"/>
                <a:gd name="T60" fmla="*/ 14 w 1398"/>
                <a:gd name="T61" fmla="*/ 54 h 1428"/>
                <a:gd name="T62" fmla="*/ 12 w 1398"/>
                <a:gd name="T63" fmla="*/ 48 h 1428"/>
                <a:gd name="T64" fmla="*/ 11 w 1398"/>
                <a:gd name="T65" fmla="*/ 31 h 1428"/>
                <a:gd name="T66" fmla="*/ 14 w 1398"/>
                <a:gd name="T67" fmla="*/ 18 h 1428"/>
                <a:gd name="T68" fmla="*/ 19 w 1398"/>
                <a:gd name="T69" fmla="*/ 15 h 1428"/>
                <a:gd name="T70" fmla="*/ 26 w 1398"/>
                <a:gd name="T71" fmla="*/ 13 h 1428"/>
                <a:gd name="T72" fmla="*/ 34 w 1398"/>
                <a:gd name="T73" fmla="*/ 12 h 1428"/>
                <a:gd name="T74" fmla="*/ 39 w 1398"/>
                <a:gd name="T75" fmla="*/ 9 h 1428"/>
                <a:gd name="T76" fmla="*/ 43 w 1398"/>
                <a:gd name="T77" fmla="*/ 7 h 1428"/>
                <a:gd name="T78" fmla="*/ 48 w 1398"/>
                <a:gd name="T79" fmla="*/ 3 h 1428"/>
                <a:gd name="T80" fmla="*/ 54 w 1398"/>
                <a:gd name="T81" fmla="*/ 0 h 1428"/>
                <a:gd name="T82" fmla="*/ 58 w 1398"/>
                <a:gd name="T83" fmla="*/ 0 h 1428"/>
                <a:gd name="T84" fmla="*/ 66 w 1398"/>
                <a:gd name="T85" fmla="*/ 2 h 1428"/>
                <a:gd name="T86" fmla="*/ 70 w 1398"/>
                <a:gd name="T87" fmla="*/ 3 h 1428"/>
                <a:gd name="T88" fmla="*/ 75 w 1398"/>
                <a:gd name="T89" fmla="*/ 6 h 1428"/>
                <a:gd name="T90" fmla="*/ 80 w 1398"/>
                <a:gd name="T91" fmla="*/ 9 h 1428"/>
                <a:gd name="T92" fmla="*/ 83 w 1398"/>
                <a:gd name="T93" fmla="*/ 12 h 1428"/>
                <a:gd name="T94" fmla="*/ 87 w 1398"/>
                <a:gd name="T95" fmla="*/ 15 h 1428"/>
                <a:gd name="T96" fmla="*/ 94 w 1398"/>
                <a:gd name="T97" fmla="*/ 15 h 1428"/>
                <a:gd name="T98" fmla="*/ 99 w 1398"/>
                <a:gd name="T99" fmla="*/ 21 h 1428"/>
                <a:gd name="T100" fmla="*/ 103 w 1398"/>
                <a:gd name="T101" fmla="*/ 23 h 1428"/>
                <a:gd name="T102" fmla="*/ 110 w 1398"/>
                <a:gd name="T103" fmla="*/ 26 h 1428"/>
                <a:gd name="T104" fmla="*/ 116 w 1398"/>
                <a:gd name="T105" fmla="*/ 27 h 1428"/>
                <a:gd name="T106" fmla="*/ 120 w 1398"/>
                <a:gd name="T107" fmla="*/ 27 h 1428"/>
                <a:gd name="T108" fmla="*/ 116 w 1398"/>
                <a:gd name="T109" fmla="*/ 35 h 1428"/>
                <a:gd name="T110" fmla="*/ 104 w 1398"/>
                <a:gd name="T111" fmla="*/ 37 h 1428"/>
                <a:gd name="T112" fmla="*/ 97 w 1398"/>
                <a:gd name="T113" fmla="*/ 34 h 1428"/>
                <a:gd name="T114" fmla="*/ 91 w 1398"/>
                <a:gd name="T115" fmla="*/ 29 h 1428"/>
                <a:gd name="T116" fmla="*/ 75 w 1398"/>
                <a:gd name="T117" fmla="*/ 29 h 1428"/>
                <a:gd name="T118" fmla="*/ 72 w 1398"/>
                <a:gd name="T119" fmla="*/ 39 h 1428"/>
                <a:gd name="T120" fmla="*/ 80 w 1398"/>
                <a:gd name="T121" fmla="*/ 41 h 142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98"/>
                <a:gd name="T184" fmla="*/ 0 h 1428"/>
                <a:gd name="T185" fmla="*/ 1398 w 1398"/>
                <a:gd name="T186" fmla="*/ 1428 h 142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98" h="1428">
                  <a:moveTo>
                    <a:pt x="924" y="474"/>
                  </a:moveTo>
                  <a:lnTo>
                    <a:pt x="900" y="480"/>
                  </a:lnTo>
                  <a:lnTo>
                    <a:pt x="864" y="486"/>
                  </a:lnTo>
                  <a:lnTo>
                    <a:pt x="864" y="504"/>
                  </a:lnTo>
                  <a:lnTo>
                    <a:pt x="858" y="522"/>
                  </a:lnTo>
                  <a:lnTo>
                    <a:pt x="864" y="528"/>
                  </a:lnTo>
                  <a:lnTo>
                    <a:pt x="864" y="552"/>
                  </a:lnTo>
                  <a:lnTo>
                    <a:pt x="852" y="552"/>
                  </a:lnTo>
                  <a:lnTo>
                    <a:pt x="846" y="564"/>
                  </a:lnTo>
                  <a:lnTo>
                    <a:pt x="840" y="582"/>
                  </a:lnTo>
                  <a:lnTo>
                    <a:pt x="834" y="594"/>
                  </a:lnTo>
                  <a:lnTo>
                    <a:pt x="828" y="606"/>
                  </a:lnTo>
                  <a:lnTo>
                    <a:pt x="828" y="618"/>
                  </a:lnTo>
                  <a:lnTo>
                    <a:pt x="786" y="630"/>
                  </a:lnTo>
                  <a:lnTo>
                    <a:pt x="774" y="636"/>
                  </a:lnTo>
                  <a:lnTo>
                    <a:pt x="762" y="642"/>
                  </a:lnTo>
                  <a:lnTo>
                    <a:pt x="744" y="648"/>
                  </a:lnTo>
                  <a:lnTo>
                    <a:pt x="714" y="660"/>
                  </a:lnTo>
                  <a:lnTo>
                    <a:pt x="696" y="666"/>
                  </a:lnTo>
                  <a:lnTo>
                    <a:pt x="666" y="672"/>
                  </a:lnTo>
                  <a:lnTo>
                    <a:pt x="654" y="684"/>
                  </a:lnTo>
                  <a:lnTo>
                    <a:pt x="648" y="684"/>
                  </a:lnTo>
                  <a:lnTo>
                    <a:pt x="642" y="696"/>
                  </a:lnTo>
                  <a:lnTo>
                    <a:pt x="636" y="696"/>
                  </a:lnTo>
                  <a:lnTo>
                    <a:pt x="630" y="714"/>
                  </a:lnTo>
                  <a:lnTo>
                    <a:pt x="624" y="738"/>
                  </a:lnTo>
                  <a:lnTo>
                    <a:pt x="624" y="762"/>
                  </a:lnTo>
                  <a:lnTo>
                    <a:pt x="630" y="780"/>
                  </a:lnTo>
                  <a:lnTo>
                    <a:pt x="636" y="804"/>
                  </a:lnTo>
                  <a:lnTo>
                    <a:pt x="642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6" y="834"/>
                  </a:lnTo>
                  <a:lnTo>
                    <a:pt x="636" y="870"/>
                  </a:lnTo>
                  <a:lnTo>
                    <a:pt x="636" y="882"/>
                  </a:lnTo>
                  <a:lnTo>
                    <a:pt x="636" y="906"/>
                  </a:lnTo>
                  <a:lnTo>
                    <a:pt x="630" y="906"/>
                  </a:lnTo>
                  <a:lnTo>
                    <a:pt x="636" y="918"/>
                  </a:lnTo>
                  <a:lnTo>
                    <a:pt x="642" y="918"/>
                  </a:lnTo>
                  <a:lnTo>
                    <a:pt x="642" y="930"/>
                  </a:lnTo>
                  <a:lnTo>
                    <a:pt x="648" y="936"/>
                  </a:lnTo>
                  <a:lnTo>
                    <a:pt x="654" y="936"/>
                  </a:lnTo>
                  <a:lnTo>
                    <a:pt x="654" y="942"/>
                  </a:lnTo>
                  <a:lnTo>
                    <a:pt x="654" y="948"/>
                  </a:lnTo>
                  <a:lnTo>
                    <a:pt x="648" y="954"/>
                  </a:lnTo>
                  <a:lnTo>
                    <a:pt x="648" y="960"/>
                  </a:lnTo>
                  <a:lnTo>
                    <a:pt x="648" y="966"/>
                  </a:lnTo>
                  <a:lnTo>
                    <a:pt x="648" y="972"/>
                  </a:lnTo>
                  <a:lnTo>
                    <a:pt x="648" y="990"/>
                  </a:lnTo>
                  <a:lnTo>
                    <a:pt x="654" y="996"/>
                  </a:lnTo>
                  <a:lnTo>
                    <a:pt x="648" y="1002"/>
                  </a:lnTo>
                  <a:lnTo>
                    <a:pt x="648" y="1008"/>
                  </a:lnTo>
                  <a:lnTo>
                    <a:pt x="654" y="1014"/>
                  </a:lnTo>
                  <a:lnTo>
                    <a:pt x="654" y="1020"/>
                  </a:lnTo>
                  <a:lnTo>
                    <a:pt x="654" y="1026"/>
                  </a:lnTo>
                  <a:lnTo>
                    <a:pt x="660" y="1026"/>
                  </a:lnTo>
                  <a:lnTo>
                    <a:pt x="660" y="1032"/>
                  </a:lnTo>
                  <a:lnTo>
                    <a:pt x="660" y="1038"/>
                  </a:lnTo>
                  <a:lnTo>
                    <a:pt x="666" y="1044"/>
                  </a:lnTo>
                  <a:lnTo>
                    <a:pt x="672" y="1050"/>
                  </a:lnTo>
                  <a:lnTo>
                    <a:pt x="672" y="1056"/>
                  </a:lnTo>
                  <a:lnTo>
                    <a:pt x="672" y="1062"/>
                  </a:lnTo>
                  <a:lnTo>
                    <a:pt x="672" y="1068"/>
                  </a:lnTo>
                  <a:lnTo>
                    <a:pt x="672" y="1074"/>
                  </a:lnTo>
                  <a:lnTo>
                    <a:pt x="678" y="1074"/>
                  </a:lnTo>
                  <a:lnTo>
                    <a:pt x="678" y="1080"/>
                  </a:lnTo>
                  <a:lnTo>
                    <a:pt x="678" y="1086"/>
                  </a:lnTo>
                  <a:lnTo>
                    <a:pt x="672" y="1092"/>
                  </a:lnTo>
                  <a:lnTo>
                    <a:pt x="672" y="1098"/>
                  </a:lnTo>
                  <a:lnTo>
                    <a:pt x="672" y="1104"/>
                  </a:lnTo>
                  <a:lnTo>
                    <a:pt x="666" y="1116"/>
                  </a:lnTo>
                  <a:lnTo>
                    <a:pt x="624" y="1122"/>
                  </a:lnTo>
                  <a:lnTo>
                    <a:pt x="576" y="1134"/>
                  </a:lnTo>
                  <a:lnTo>
                    <a:pt x="570" y="1140"/>
                  </a:lnTo>
                  <a:lnTo>
                    <a:pt x="570" y="1146"/>
                  </a:lnTo>
                  <a:lnTo>
                    <a:pt x="564" y="1146"/>
                  </a:lnTo>
                  <a:lnTo>
                    <a:pt x="564" y="1152"/>
                  </a:lnTo>
                  <a:lnTo>
                    <a:pt x="564" y="1164"/>
                  </a:lnTo>
                  <a:lnTo>
                    <a:pt x="564" y="1170"/>
                  </a:lnTo>
                  <a:lnTo>
                    <a:pt x="564" y="1176"/>
                  </a:lnTo>
                  <a:lnTo>
                    <a:pt x="546" y="1176"/>
                  </a:lnTo>
                  <a:lnTo>
                    <a:pt x="540" y="1212"/>
                  </a:lnTo>
                  <a:lnTo>
                    <a:pt x="540" y="1230"/>
                  </a:lnTo>
                  <a:lnTo>
                    <a:pt x="546" y="1242"/>
                  </a:lnTo>
                  <a:lnTo>
                    <a:pt x="546" y="1254"/>
                  </a:lnTo>
                  <a:lnTo>
                    <a:pt x="558" y="1266"/>
                  </a:lnTo>
                  <a:lnTo>
                    <a:pt x="576" y="1272"/>
                  </a:lnTo>
                  <a:lnTo>
                    <a:pt x="570" y="1278"/>
                  </a:lnTo>
                  <a:lnTo>
                    <a:pt x="576" y="1284"/>
                  </a:lnTo>
                  <a:lnTo>
                    <a:pt x="570" y="1296"/>
                  </a:lnTo>
                  <a:lnTo>
                    <a:pt x="558" y="1302"/>
                  </a:lnTo>
                  <a:lnTo>
                    <a:pt x="540" y="1308"/>
                  </a:lnTo>
                  <a:lnTo>
                    <a:pt x="522" y="1314"/>
                  </a:lnTo>
                  <a:lnTo>
                    <a:pt x="516" y="1314"/>
                  </a:lnTo>
                  <a:lnTo>
                    <a:pt x="510" y="1314"/>
                  </a:lnTo>
                  <a:lnTo>
                    <a:pt x="504" y="1314"/>
                  </a:lnTo>
                  <a:lnTo>
                    <a:pt x="498" y="1320"/>
                  </a:lnTo>
                  <a:lnTo>
                    <a:pt x="492" y="1320"/>
                  </a:lnTo>
                  <a:lnTo>
                    <a:pt x="492" y="1326"/>
                  </a:lnTo>
                  <a:lnTo>
                    <a:pt x="486" y="1326"/>
                  </a:lnTo>
                  <a:lnTo>
                    <a:pt x="480" y="1326"/>
                  </a:lnTo>
                  <a:lnTo>
                    <a:pt x="480" y="1320"/>
                  </a:lnTo>
                  <a:lnTo>
                    <a:pt x="468" y="1314"/>
                  </a:lnTo>
                  <a:lnTo>
                    <a:pt x="462" y="1308"/>
                  </a:lnTo>
                  <a:lnTo>
                    <a:pt x="456" y="1302"/>
                  </a:lnTo>
                  <a:lnTo>
                    <a:pt x="444" y="1296"/>
                  </a:lnTo>
                  <a:lnTo>
                    <a:pt x="420" y="1290"/>
                  </a:lnTo>
                  <a:lnTo>
                    <a:pt x="414" y="1278"/>
                  </a:lnTo>
                  <a:lnTo>
                    <a:pt x="408" y="1278"/>
                  </a:lnTo>
                  <a:lnTo>
                    <a:pt x="408" y="1266"/>
                  </a:lnTo>
                  <a:lnTo>
                    <a:pt x="402" y="1260"/>
                  </a:lnTo>
                  <a:lnTo>
                    <a:pt x="384" y="1260"/>
                  </a:lnTo>
                  <a:lnTo>
                    <a:pt x="372" y="1266"/>
                  </a:lnTo>
                  <a:lnTo>
                    <a:pt x="360" y="1272"/>
                  </a:lnTo>
                  <a:lnTo>
                    <a:pt x="348" y="1272"/>
                  </a:lnTo>
                  <a:lnTo>
                    <a:pt x="342" y="1284"/>
                  </a:lnTo>
                  <a:lnTo>
                    <a:pt x="336" y="1290"/>
                  </a:lnTo>
                  <a:lnTo>
                    <a:pt x="336" y="1308"/>
                  </a:lnTo>
                  <a:lnTo>
                    <a:pt x="336" y="1314"/>
                  </a:lnTo>
                  <a:lnTo>
                    <a:pt x="336" y="1320"/>
                  </a:lnTo>
                  <a:lnTo>
                    <a:pt x="330" y="1326"/>
                  </a:lnTo>
                  <a:lnTo>
                    <a:pt x="330" y="1332"/>
                  </a:lnTo>
                  <a:lnTo>
                    <a:pt x="330" y="1338"/>
                  </a:lnTo>
                  <a:lnTo>
                    <a:pt x="300" y="1338"/>
                  </a:lnTo>
                  <a:lnTo>
                    <a:pt x="288" y="1338"/>
                  </a:lnTo>
                  <a:lnTo>
                    <a:pt x="258" y="1326"/>
                  </a:lnTo>
                  <a:lnTo>
                    <a:pt x="246" y="1332"/>
                  </a:lnTo>
                  <a:lnTo>
                    <a:pt x="240" y="1338"/>
                  </a:lnTo>
                  <a:lnTo>
                    <a:pt x="234" y="1338"/>
                  </a:lnTo>
                  <a:lnTo>
                    <a:pt x="228" y="1350"/>
                  </a:lnTo>
                  <a:lnTo>
                    <a:pt x="228" y="1374"/>
                  </a:lnTo>
                  <a:lnTo>
                    <a:pt x="234" y="1392"/>
                  </a:lnTo>
                  <a:lnTo>
                    <a:pt x="246" y="1398"/>
                  </a:lnTo>
                  <a:lnTo>
                    <a:pt x="246" y="1410"/>
                  </a:lnTo>
                  <a:lnTo>
                    <a:pt x="216" y="1428"/>
                  </a:lnTo>
                  <a:lnTo>
                    <a:pt x="198" y="1428"/>
                  </a:lnTo>
                  <a:lnTo>
                    <a:pt x="192" y="1422"/>
                  </a:lnTo>
                  <a:lnTo>
                    <a:pt x="174" y="1410"/>
                  </a:lnTo>
                  <a:lnTo>
                    <a:pt x="156" y="1386"/>
                  </a:lnTo>
                  <a:lnTo>
                    <a:pt x="132" y="1374"/>
                  </a:lnTo>
                  <a:lnTo>
                    <a:pt x="108" y="1368"/>
                  </a:lnTo>
                  <a:lnTo>
                    <a:pt x="84" y="1368"/>
                  </a:lnTo>
                  <a:lnTo>
                    <a:pt x="96" y="1356"/>
                  </a:lnTo>
                  <a:lnTo>
                    <a:pt x="102" y="1344"/>
                  </a:lnTo>
                  <a:lnTo>
                    <a:pt x="102" y="1332"/>
                  </a:lnTo>
                  <a:lnTo>
                    <a:pt x="108" y="1320"/>
                  </a:lnTo>
                  <a:lnTo>
                    <a:pt x="108" y="1302"/>
                  </a:lnTo>
                  <a:lnTo>
                    <a:pt x="96" y="1278"/>
                  </a:lnTo>
                  <a:lnTo>
                    <a:pt x="66" y="1284"/>
                  </a:lnTo>
                  <a:lnTo>
                    <a:pt x="54" y="1278"/>
                  </a:lnTo>
                  <a:lnTo>
                    <a:pt x="36" y="1278"/>
                  </a:lnTo>
                  <a:lnTo>
                    <a:pt x="18" y="1284"/>
                  </a:lnTo>
                  <a:lnTo>
                    <a:pt x="18" y="1272"/>
                  </a:lnTo>
                  <a:lnTo>
                    <a:pt x="24" y="1260"/>
                  </a:lnTo>
                  <a:lnTo>
                    <a:pt x="24" y="1254"/>
                  </a:lnTo>
                  <a:lnTo>
                    <a:pt x="30" y="1248"/>
                  </a:lnTo>
                  <a:lnTo>
                    <a:pt x="24" y="1230"/>
                  </a:lnTo>
                  <a:lnTo>
                    <a:pt x="30" y="1218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30" y="1170"/>
                  </a:lnTo>
                  <a:lnTo>
                    <a:pt x="30" y="1152"/>
                  </a:lnTo>
                  <a:lnTo>
                    <a:pt x="24" y="1146"/>
                  </a:lnTo>
                  <a:lnTo>
                    <a:pt x="0" y="1116"/>
                  </a:lnTo>
                  <a:lnTo>
                    <a:pt x="6" y="1092"/>
                  </a:lnTo>
                  <a:lnTo>
                    <a:pt x="18" y="1056"/>
                  </a:lnTo>
                  <a:lnTo>
                    <a:pt x="24" y="1050"/>
                  </a:lnTo>
                  <a:lnTo>
                    <a:pt x="24" y="1038"/>
                  </a:lnTo>
                  <a:lnTo>
                    <a:pt x="24" y="1026"/>
                  </a:lnTo>
                  <a:lnTo>
                    <a:pt x="30" y="1002"/>
                  </a:lnTo>
                  <a:lnTo>
                    <a:pt x="36" y="990"/>
                  </a:lnTo>
                  <a:lnTo>
                    <a:pt x="42" y="984"/>
                  </a:lnTo>
                  <a:lnTo>
                    <a:pt x="54" y="984"/>
                  </a:lnTo>
                  <a:lnTo>
                    <a:pt x="66" y="978"/>
                  </a:lnTo>
                  <a:lnTo>
                    <a:pt x="72" y="978"/>
                  </a:lnTo>
                  <a:lnTo>
                    <a:pt x="90" y="978"/>
                  </a:lnTo>
                  <a:lnTo>
                    <a:pt x="102" y="972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78"/>
                  </a:lnTo>
                  <a:lnTo>
                    <a:pt x="120" y="984"/>
                  </a:lnTo>
                  <a:lnTo>
                    <a:pt x="138" y="984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6" y="972"/>
                  </a:lnTo>
                  <a:lnTo>
                    <a:pt x="156" y="966"/>
                  </a:lnTo>
                  <a:lnTo>
                    <a:pt x="156" y="960"/>
                  </a:lnTo>
                  <a:lnTo>
                    <a:pt x="180" y="948"/>
                  </a:lnTo>
                  <a:lnTo>
                    <a:pt x="186" y="924"/>
                  </a:lnTo>
                  <a:lnTo>
                    <a:pt x="192" y="918"/>
                  </a:lnTo>
                  <a:lnTo>
                    <a:pt x="228" y="924"/>
                  </a:lnTo>
                  <a:lnTo>
                    <a:pt x="246" y="906"/>
                  </a:lnTo>
                  <a:lnTo>
                    <a:pt x="240" y="888"/>
                  </a:lnTo>
                  <a:lnTo>
                    <a:pt x="234" y="888"/>
                  </a:lnTo>
                  <a:lnTo>
                    <a:pt x="234" y="882"/>
                  </a:lnTo>
                  <a:lnTo>
                    <a:pt x="228" y="870"/>
                  </a:lnTo>
                  <a:lnTo>
                    <a:pt x="228" y="864"/>
                  </a:lnTo>
                  <a:lnTo>
                    <a:pt x="222" y="864"/>
                  </a:lnTo>
                  <a:lnTo>
                    <a:pt x="216" y="858"/>
                  </a:lnTo>
                  <a:lnTo>
                    <a:pt x="198" y="852"/>
                  </a:lnTo>
                  <a:lnTo>
                    <a:pt x="192" y="852"/>
                  </a:lnTo>
                  <a:lnTo>
                    <a:pt x="186" y="846"/>
                  </a:lnTo>
                  <a:lnTo>
                    <a:pt x="174" y="834"/>
                  </a:lnTo>
                  <a:lnTo>
                    <a:pt x="162" y="822"/>
                  </a:lnTo>
                  <a:lnTo>
                    <a:pt x="156" y="816"/>
                  </a:lnTo>
                  <a:lnTo>
                    <a:pt x="162" y="810"/>
                  </a:lnTo>
                  <a:lnTo>
                    <a:pt x="174" y="798"/>
                  </a:lnTo>
                  <a:lnTo>
                    <a:pt x="180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68"/>
                  </a:lnTo>
                  <a:lnTo>
                    <a:pt x="192" y="744"/>
                  </a:lnTo>
                  <a:lnTo>
                    <a:pt x="186" y="708"/>
                  </a:lnTo>
                  <a:lnTo>
                    <a:pt x="174" y="690"/>
                  </a:lnTo>
                  <a:lnTo>
                    <a:pt x="168" y="672"/>
                  </a:lnTo>
                  <a:lnTo>
                    <a:pt x="156" y="630"/>
                  </a:lnTo>
                  <a:lnTo>
                    <a:pt x="156" y="606"/>
                  </a:lnTo>
                  <a:lnTo>
                    <a:pt x="150" y="606"/>
                  </a:lnTo>
                  <a:lnTo>
                    <a:pt x="150" y="600"/>
                  </a:lnTo>
                  <a:lnTo>
                    <a:pt x="144" y="600"/>
                  </a:lnTo>
                  <a:lnTo>
                    <a:pt x="150" y="594"/>
                  </a:lnTo>
                  <a:lnTo>
                    <a:pt x="144" y="588"/>
                  </a:lnTo>
                  <a:lnTo>
                    <a:pt x="138" y="558"/>
                  </a:lnTo>
                  <a:lnTo>
                    <a:pt x="138" y="528"/>
                  </a:lnTo>
                  <a:lnTo>
                    <a:pt x="132" y="480"/>
                  </a:lnTo>
                  <a:lnTo>
                    <a:pt x="132" y="462"/>
                  </a:lnTo>
                  <a:lnTo>
                    <a:pt x="126" y="426"/>
                  </a:lnTo>
                  <a:lnTo>
                    <a:pt x="126" y="396"/>
                  </a:lnTo>
                  <a:lnTo>
                    <a:pt x="126" y="378"/>
                  </a:lnTo>
                  <a:lnTo>
                    <a:pt x="126" y="360"/>
                  </a:lnTo>
                  <a:lnTo>
                    <a:pt x="132" y="318"/>
                  </a:lnTo>
                  <a:lnTo>
                    <a:pt x="132" y="24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2" y="210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92" y="198"/>
                  </a:lnTo>
                  <a:lnTo>
                    <a:pt x="198" y="198"/>
                  </a:lnTo>
                  <a:lnTo>
                    <a:pt x="216" y="180"/>
                  </a:lnTo>
                  <a:lnTo>
                    <a:pt x="222" y="174"/>
                  </a:lnTo>
                  <a:lnTo>
                    <a:pt x="222" y="168"/>
                  </a:lnTo>
                  <a:lnTo>
                    <a:pt x="228" y="168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44"/>
                  </a:lnTo>
                  <a:lnTo>
                    <a:pt x="258" y="144"/>
                  </a:lnTo>
                  <a:lnTo>
                    <a:pt x="276" y="150"/>
                  </a:lnTo>
                  <a:lnTo>
                    <a:pt x="300" y="150"/>
                  </a:lnTo>
                  <a:lnTo>
                    <a:pt x="312" y="150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8" y="156"/>
                  </a:lnTo>
                  <a:lnTo>
                    <a:pt x="354" y="150"/>
                  </a:lnTo>
                  <a:lnTo>
                    <a:pt x="372" y="144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08" y="126"/>
                  </a:lnTo>
                  <a:lnTo>
                    <a:pt x="414" y="120"/>
                  </a:lnTo>
                  <a:lnTo>
                    <a:pt x="420" y="120"/>
                  </a:lnTo>
                  <a:lnTo>
                    <a:pt x="426" y="120"/>
                  </a:lnTo>
                  <a:lnTo>
                    <a:pt x="432" y="114"/>
                  </a:lnTo>
                  <a:lnTo>
                    <a:pt x="450" y="102"/>
                  </a:lnTo>
                  <a:lnTo>
                    <a:pt x="456" y="96"/>
                  </a:lnTo>
                  <a:lnTo>
                    <a:pt x="468" y="90"/>
                  </a:lnTo>
                  <a:lnTo>
                    <a:pt x="474" y="90"/>
                  </a:lnTo>
                  <a:lnTo>
                    <a:pt x="480" y="84"/>
                  </a:lnTo>
                  <a:lnTo>
                    <a:pt x="486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504" y="72"/>
                  </a:lnTo>
                  <a:lnTo>
                    <a:pt x="510" y="66"/>
                  </a:lnTo>
                  <a:lnTo>
                    <a:pt x="516" y="66"/>
                  </a:lnTo>
                  <a:lnTo>
                    <a:pt x="522" y="60"/>
                  </a:lnTo>
                  <a:lnTo>
                    <a:pt x="552" y="42"/>
                  </a:lnTo>
                  <a:lnTo>
                    <a:pt x="558" y="36"/>
                  </a:lnTo>
                  <a:lnTo>
                    <a:pt x="576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94" y="18"/>
                  </a:lnTo>
                  <a:lnTo>
                    <a:pt x="600" y="12"/>
                  </a:lnTo>
                  <a:lnTo>
                    <a:pt x="612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6"/>
                  </a:lnTo>
                  <a:lnTo>
                    <a:pt x="648" y="6"/>
                  </a:lnTo>
                  <a:lnTo>
                    <a:pt x="660" y="6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38" y="18"/>
                  </a:lnTo>
                  <a:lnTo>
                    <a:pt x="744" y="18"/>
                  </a:lnTo>
                  <a:lnTo>
                    <a:pt x="756" y="18"/>
                  </a:lnTo>
                  <a:lnTo>
                    <a:pt x="762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80" y="24"/>
                  </a:lnTo>
                  <a:lnTo>
                    <a:pt x="792" y="24"/>
                  </a:lnTo>
                  <a:lnTo>
                    <a:pt x="792" y="30"/>
                  </a:lnTo>
                  <a:lnTo>
                    <a:pt x="810" y="30"/>
                  </a:lnTo>
                  <a:lnTo>
                    <a:pt x="822" y="36"/>
                  </a:lnTo>
                  <a:lnTo>
                    <a:pt x="834" y="42"/>
                  </a:lnTo>
                  <a:lnTo>
                    <a:pt x="840" y="48"/>
                  </a:lnTo>
                  <a:lnTo>
                    <a:pt x="846" y="54"/>
                  </a:lnTo>
                  <a:lnTo>
                    <a:pt x="852" y="60"/>
                  </a:lnTo>
                  <a:lnTo>
                    <a:pt x="858" y="66"/>
                  </a:lnTo>
                  <a:lnTo>
                    <a:pt x="864" y="66"/>
                  </a:lnTo>
                  <a:lnTo>
                    <a:pt x="864" y="72"/>
                  </a:lnTo>
                  <a:lnTo>
                    <a:pt x="876" y="78"/>
                  </a:lnTo>
                  <a:lnTo>
                    <a:pt x="900" y="84"/>
                  </a:lnTo>
                  <a:lnTo>
                    <a:pt x="906" y="90"/>
                  </a:lnTo>
                  <a:lnTo>
                    <a:pt x="912" y="90"/>
                  </a:lnTo>
                  <a:lnTo>
                    <a:pt x="912" y="96"/>
                  </a:lnTo>
                  <a:lnTo>
                    <a:pt x="924" y="108"/>
                  </a:lnTo>
                  <a:lnTo>
                    <a:pt x="930" y="108"/>
                  </a:lnTo>
                  <a:lnTo>
                    <a:pt x="936" y="114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60" y="138"/>
                  </a:lnTo>
                  <a:lnTo>
                    <a:pt x="966" y="144"/>
                  </a:lnTo>
                  <a:lnTo>
                    <a:pt x="972" y="156"/>
                  </a:lnTo>
                  <a:lnTo>
                    <a:pt x="978" y="162"/>
                  </a:lnTo>
                  <a:lnTo>
                    <a:pt x="984" y="162"/>
                  </a:lnTo>
                  <a:lnTo>
                    <a:pt x="990" y="168"/>
                  </a:lnTo>
                  <a:lnTo>
                    <a:pt x="996" y="174"/>
                  </a:lnTo>
                  <a:lnTo>
                    <a:pt x="1002" y="180"/>
                  </a:lnTo>
                  <a:lnTo>
                    <a:pt x="1008" y="180"/>
                  </a:lnTo>
                  <a:lnTo>
                    <a:pt x="1020" y="180"/>
                  </a:lnTo>
                  <a:lnTo>
                    <a:pt x="1038" y="174"/>
                  </a:lnTo>
                  <a:lnTo>
                    <a:pt x="1050" y="174"/>
                  </a:lnTo>
                  <a:lnTo>
                    <a:pt x="1056" y="174"/>
                  </a:lnTo>
                  <a:lnTo>
                    <a:pt x="1068" y="180"/>
                  </a:lnTo>
                  <a:lnTo>
                    <a:pt x="1080" y="180"/>
                  </a:lnTo>
                  <a:lnTo>
                    <a:pt x="1086" y="186"/>
                  </a:lnTo>
                  <a:lnTo>
                    <a:pt x="1098" y="192"/>
                  </a:lnTo>
                  <a:lnTo>
                    <a:pt x="1116" y="204"/>
                  </a:lnTo>
                  <a:lnTo>
                    <a:pt x="1122" y="210"/>
                  </a:lnTo>
                  <a:lnTo>
                    <a:pt x="1134" y="222"/>
                  </a:lnTo>
                  <a:lnTo>
                    <a:pt x="1146" y="234"/>
                  </a:lnTo>
                  <a:lnTo>
                    <a:pt x="1146" y="240"/>
                  </a:lnTo>
                  <a:lnTo>
                    <a:pt x="1152" y="246"/>
                  </a:lnTo>
                  <a:lnTo>
                    <a:pt x="1152" y="252"/>
                  </a:lnTo>
                  <a:lnTo>
                    <a:pt x="1152" y="258"/>
                  </a:lnTo>
                  <a:lnTo>
                    <a:pt x="1164" y="258"/>
                  </a:lnTo>
                  <a:lnTo>
                    <a:pt x="1170" y="264"/>
                  </a:lnTo>
                  <a:lnTo>
                    <a:pt x="1182" y="270"/>
                  </a:lnTo>
                  <a:lnTo>
                    <a:pt x="1188" y="270"/>
                  </a:lnTo>
                  <a:lnTo>
                    <a:pt x="1194" y="270"/>
                  </a:lnTo>
                  <a:lnTo>
                    <a:pt x="1206" y="276"/>
                  </a:lnTo>
                  <a:lnTo>
                    <a:pt x="1224" y="282"/>
                  </a:lnTo>
                  <a:lnTo>
                    <a:pt x="1236" y="282"/>
                  </a:lnTo>
                  <a:lnTo>
                    <a:pt x="1242" y="288"/>
                  </a:lnTo>
                  <a:lnTo>
                    <a:pt x="1254" y="288"/>
                  </a:lnTo>
                  <a:lnTo>
                    <a:pt x="1266" y="294"/>
                  </a:lnTo>
                  <a:lnTo>
                    <a:pt x="1272" y="294"/>
                  </a:lnTo>
                  <a:lnTo>
                    <a:pt x="1284" y="300"/>
                  </a:lnTo>
                  <a:lnTo>
                    <a:pt x="1290" y="300"/>
                  </a:lnTo>
                  <a:lnTo>
                    <a:pt x="1296" y="300"/>
                  </a:lnTo>
                  <a:lnTo>
                    <a:pt x="1302" y="306"/>
                  </a:lnTo>
                  <a:lnTo>
                    <a:pt x="1326" y="312"/>
                  </a:lnTo>
                  <a:lnTo>
                    <a:pt x="1338" y="312"/>
                  </a:lnTo>
                  <a:lnTo>
                    <a:pt x="1338" y="318"/>
                  </a:lnTo>
                  <a:lnTo>
                    <a:pt x="1344" y="318"/>
                  </a:lnTo>
                  <a:lnTo>
                    <a:pt x="1350" y="318"/>
                  </a:lnTo>
                  <a:lnTo>
                    <a:pt x="1362" y="324"/>
                  </a:lnTo>
                  <a:lnTo>
                    <a:pt x="1368" y="318"/>
                  </a:lnTo>
                  <a:lnTo>
                    <a:pt x="1374" y="318"/>
                  </a:lnTo>
                  <a:lnTo>
                    <a:pt x="1386" y="318"/>
                  </a:lnTo>
                  <a:lnTo>
                    <a:pt x="1398" y="324"/>
                  </a:lnTo>
                  <a:lnTo>
                    <a:pt x="1398" y="342"/>
                  </a:lnTo>
                  <a:lnTo>
                    <a:pt x="1356" y="342"/>
                  </a:lnTo>
                  <a:lnTo>
                    <a:pt x="1350" y="348"/>
                  </a:lnTo>
                  <a:lnTo>
                    <a:pt x="1350" y="372"/>
                  </a:lnTo>
                  <a:lnTo>
                    <a:pt x="1338" y="384"/>
                  </a:lnTo>
                  <a:lnTo>
                    <a:pt x="1332" y="408"/>
                  </a:lnTo>
                  <a:lnTo>
                    <a:pt x="1320" y="420"/>
                  </a:lnTo>
                  <a:lnTo>
                    <a:pt x="1254" y="426"/>
                  </a:lnTo>
                  <a:lnTo>
                    <a:pt x="1248" y="432"/>
                  </a:lnTo>
                  <a:lnTo>
                    <a:pt x="1230" y="432"/>
                  </a:lnTo>
                  <a:lnTo>
                    <a:pt x="1212" y="432"/>
                  </a:lnTo>
                  <a:lnTo>
                    <a:pt x="1212" y="426"/>
                  </a:lnTo>
                  <a:lnTo>
                    <a:pt x="1200" y="426"/>
                  </a:lnTo>
                  <a:lnTo>
                    <a:pt x="1182" y="414"/>
                  </a:lnTo>
                  <a:lnTo>
                    <a:pt x="1182" y="420"/>
                  </a:lnTo>
                  <a:lnTo>
                    <a:pt x="1164" y="420"/>
                  </a:lnTo>
                  <a:lnTo>
                    <a:pt x="1158" y="414"/>
                  </a:lnTo>
                  <a:lnTo>
                    <a:pt x="1152" y="408"/>
                  </a:lnTo>
                  <a:lnTo>
                    <a:pt x="1146" y="402"/>
                  </a:lnTo>
                  <a:lnTo>
                    <a:pt x="1122" y="396"/>
                  </a:lnTo>
                  <a:lnTo>
                    <a:pt x="1116" y="366"/>
                  </a:lnTo>
                  <a:lnTo>
                    <a:pt x="1116" y="348"/>
                  </a:lnTo>
                  <a:lnTo>
                    <a:pt x="1110" y="342"/>
                  </a:lnTo>
                  <a:lnTo>
                    <a:pt x="1104" y="336"/>
                  </a:lnTo>
                  <a:lnTo>
                    <a:pt x="1092" y="330"/>
                  </a:lnTo>
                  <a:lnTo>
                    <a:pt x="1074" y="330"/>
                  </a:lnTo>
                  <a:lnTo>
                    <a:pt x="1044" y="330"/>
                  </a:lnTo>
                  <a:lnTo>
                    <a:pt x="1014" y="336"/>
                  </a:lnTo>
                  <a:lnTo>
                    <a:pt x="984" y="342"/>
                  </a:lnTo>
                  <a:lnTo>
                    <a:pt x="978" y="330"/>
                  </a:lnTo>
                  <a:lnTo>
                    <a:pt x="966" y="324"/>
                  </a:lnTo>
                  <a:lnTo>
                    <a:pt x="888" y="336"/>
                  </a:lnTo>
                  <a:lnTo>
                    <a:pt x="888" y="330"/>
                  </a:lnTo>
                  <a:lnTo>
                    <a:pt x="870" y="336"/>
                  </a:lnTo>
                  <a:lnTo>
                    <a:pt x="858" y="336"/>
                  </a:lnTo>
                  <a:lnTo>
                    <a:pt x="852" y="354"/>
                  </a:lnTo>
                  <a:lnTo>
                    <a:pt x="852" y="402"/>
                  </a:lnTo>
                  <a:lnTo>
                    <a:pt x="840" y="414"/>
                  </a:lnTo>
                  <a:lnTo>
                    <a:pt x="834" y="420"/>
                  </a:lnTo>
                  <a:lnTo>
                    <a:pt x="834" y="444"/>
                  </a:lnTo>
                  <a:lnTo>
                    <a:pt x="834" y="450"/>
                  </a:lnTo>
                  <a:lnTo>
                    <a:pt x="852" y="456"/>
                  </a:lnTo>
                  <a:lnTo>
                    <a:pt x="864" y="462"/>
                  </a:lnTo>
                  <a:lnTo>
                    <a:pt x="894" y="456"/>
                  </a:lnTo>
                  <a:lnTo>
                    <a:pt x="900" y="468"/>
                  </a:lnTo>
                  <a:lnTo>
                    <a:pt x="918" y="462"/>
                  </a:lnTo>
                  <a:lnTo>
                    <a:pt x="924" y="468"/>
                  </a:lnTo>
                  <a:lnTo>
                    <a:pt x="924" y="47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2" name="Freeform 37">
              <a:extLst>
                <a:ext uri="{FF2B5EF4-FFF2-40B4-BE49-F238E27FC236}">
                  <a16:creationId xmlns:a16="http://schemas.microsoft.com/office/drawing/2014/main" id="{DED8A1FF-B656-4D37-BD26-5B0A7B1A4A6D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441" y="1898343"/>
              <a:ext cx="567992" cy="686605"/>
            </a:xfrm>
            <a:custGeom>
              <a:avLst/>
              <a:gdLst>
                <a:gd name="T0" fmla="*/ 79 w 1068"/>
                <a:gd name="T1" fmla="*/ 72 h 1290"/>
                <a:gd name="T2" fmla="*/ 75 w 1068"/>
                <a:gd name="T3" fmla="*/ 73 h 1290"/>
                <a:gd name="T4" fmla="*/ 72 w 1068"/>
                <a:gd name="T5" fmla="*/ 76 h 1290"/>
                <a:gd name="T6" fmla="*/ 70 w 1068"/>
                <a:gd name="T7" fmla="*/ 78 h 1290"/>
                <a:gd name="T8" fmla="*/ 67 w 1068"/>
                <a:gd name="T9" fmla="*/ 82 h 1290"/>
                <a:gd name="T10" fmla="*/ 61 w 1068"/>
                <a:gd name="T11" fmla="*/ 86 h 1290"/>
                <a:gd name="T12" fmla="*/ 60 w 1068"/>
                <a:gd name="T13" fmla="*/ 93 h 1290"/>
                <a:gd name="T14" fmla="*/ 59 w 1068"/>
                <a:gd name="T15" fmla="*/ 97 h 1290"/>
                <a:gd name="T16" fmla="*/ 61 w 1068"/>
                <a:gd name="T17" fmla="*/ 101 h 1290"/>
                <a:gd name="T18" fmla="*/ 63 w 1068"/>
                <a:gd name="T19" fmla="*/ 104 h 1290"/>
                <a:gd name="T20" fmla="*/ 62 w 1068"/>
                <a:gd name="T21" fmla="*/ 108 h 1290"/>
                <a:gd name="T22" fmla="*/ 60 w 1068"/>
                <a:gd name="T23" fmla="*/ 111 h 1290"/>
                <a:gd name="T24" fmla="*/ 56 w 1068"/>
                <a:gd name="T25" fmla="*/ 111 h 1290"/>
                <a:gd name="T26" fmla="*/ 53 w 1068"/>
                <a:gd name="T27" fmla="*/ 110 h 1290"/>
                <a:gd name="T28" fmla="*/ 50 w 1068"/>
                <a:gd name="T29" fmla="*/ 109 h 1290"/>
                <a:gd name="T30" fmla="*/ 47 w 1068"/>
                <a:gd name="T31" fmla="*/ 110 h 1290"/>
                <a:gd name="T32" fmla="*/ 51 w 1068"/>
                <a:gd name="T33" fmla="*/ 104 h 1290"/>
                <a:gd name="T34" fmla="*/ 50 w 1068"/>
                <a:gd name="T35" fmla="*/ 95 h 1290"/>
                <a:gd name="T36" fmla="*/ 51 w 1068"/>
                <a:gd name="T37" fmla="*/ 90 h 1290"/>
                <a:gd name="T38" fmla="*/ 47 w 1068"/>
                <a:gd name="T39" fmla="*/ 84 h 1290"/>
                <a:gd name="T40" fmla="*/ 42 w 1068"/>
                <a:gd name="T41" fmla="*/ 78 h 1290"/>
                <a:gd name="T42" fmla="*/ 33 w 1068"/>
                <a:gd name="T43" fmla="*/ 73 h 1290"/>
                <a:gd name="T44" fmla="*/ 26 w 1068"/>
                <a:gd name="T45" fmla="*/ 68 h 1290"/>
                <a:gd name="T46" fmla="*/ 22 w 1068"/>
                <a:gd name="T47" fmla="*/ 63 h 1290"/>
                <a:gd name="T48" fmla="*/ 11 w 1068"/>
                <a:gd name="T49" fmla="*/ 67 h 1290"/>
                <a:gd name="T50" fmla="*/ 0 w 1068"/>
                <a:gd name="T51" fmla="*/ 68 h 1290"/>
                <a:gd name="T52" fmla="*/ 2 w 1068"/>
                <a:gd name="T53" fmla="*/ 59 h 1290"/>
                <a:gd name="T54" fmla="*/ 12 w 1068"/>
                <a:gd name="T55" fmla="*/ 55 h 1290"/>
                <a:gd name="T56" fmla="*/ 12 w 1068"/>
                <a:gd name="T57" fmla="*/ 51 h 1290"/>
                <a:gd name="T58" fmla="*/ 10 w 1068"/>
                <a:gd name="T59" fmla="*/ 47 h 1290"/>
                <a:gd name="T60" fmla="*/ 9 w 1068"/>
                <a:gd name="T61" fmla="*/ 42 h 1290"/>
                <a:gd name="T62" fmla="*/ 8 w 1068"/>
                <a:gd name="T63" fmla="*/ 38 h 1290"/>
                <a:gd name="T64" fmla="*/ 8 w 1068"/>
                <a:gd name="T65" fmla="*/ 29 h 1290"/>
                <a:gd name="T66" fmla="*/ 10 w 1068"/>
                <a:gd name="T67" fmla="*/ 18 h 1290"/>
                <a:gd name="T68" fmla="*/ 25 w 1068"/>
                <a:gd name="T69" fmla="*/ 12 h 1290"/>
                <a:gd name="T70" fmla="*/ 27 w 1068"/>
                <a:gd name="T71" fmla="*/ 4 h 1290"/>
                <a:gd name="T72" fmla="*/ 35 w 1068"/>
                <a:gd name="T73" fmla="*/ 6 h 1290"/>
                <a:gd name="T74" fmla="*/ 39 w 1068"/>
                <a:gd name="T75" fmla="*/ 8 h 1290"/>
                <a:gd name="T76" fmla="*/ 41 w 1068"/>
                <a:gd name="T77" fmla="*/ 3 h 1290"/>
                <a:gd name="T78" fmla="*/ 45 w 1068"/>
                <a:gd name="T79" fmla="*/ 0 h 1290"/>
                <a:gd name="T80" fmla="*/ 51 w 1068"/>
                <a:gd name="T81" fmla="*/ 0 h 1290"/>
                <a:gd name="T82" fmla="*/ 56 w 1068"/>
                <a:gd name="T83" fmla="*/ 4 h 1290"/>
                <a:gd name="T84" fmla="*/ 62 w 1068"/>
                <a:gd name="T85" fmla="*/ 12 h 1290"/>
                <a:gd name="T86" fmla="*/ 58 w 1068"/>
                <a:gd name="T87" fmla="*/ 17 h 1290"/>
                <a:gd name="T88" fmla="*/ 60 w 1068"/>
                <a:gd name="T89" fmla="*/ 18 h 1290"/>
                <a:gd name="T90" fmla="*/ 64 w 1068"/>
                <a:gd name="T91" fmla="*/ 16 h 1290"/>
                <a:gd name="T92" fmla="*/ 68 w 1068"/>
                <a:gd name="T93" fmla="*/ 18 h 1290"/>
                <a:gd name="T94" fmla="*/ 71 w 1068"/>
                <a:gd name="T95" fmla="*/ 27 h 1290"/>
                <a:gd name="T96" fmla="*/ 74 w 1068"/>
                <a:gd name="T97" fmla="*/ 30 h 1290"/>
                <a:gd name="T98" fmla="*/ 82 w 1068"/>
                <a:gd name="T99" fmla="*/ 30 h 1290"/>
                <a:gd name="T100" fmla="*/ 87 w 1068"/>
                <a:gd name="T101" fmla="*/ 35 h 1290"/>
                <a:gd name="T102" fmla="*/ 85 w 1068"/>
                <a:gd name="T103" fmla="*/ 42 h 1290"/>
                <a:gd name="T104" fmla="*/ 81 w 1068"/>
                <a:gd name="T105" fmla="*/ 46 h 1290"/>
                <a:gd name="T106" fmla="*/ 86 w 1068"/>
                <a:gd name="T107" fmla="*/ 50 h 1290"/>
                <a:gd name="T108" fmla="*/ 89 w 1068"/>
                <a:gd name="T109" fmla="*/ 58 h 1290"/>
                <a:gd name="T110" fmla="*/ 92 w 1068"/>
                <a:gd name="T111" fmla="*/ 61 h 1290"/>
                <a:gd name="T112" fmla="*/ 86 w 1068"/>
                <a:gd name="T113" fmla="*/ 66 h 1290"/>
                <a:gd name="T114" fmla="*/ 85 w 1068"/>
                <a:gd name="T115" fmla="*/ 70 h 129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68"/>
                <a:gd name="T175" fmla="*/ 0 h 1290"/>
                <a:gd name="T176" fmla="*/ 1068 w 1068"/>
                <a:gd name="T177" fmla="*/ 1290 h 129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68" h="1290">
                  <a:moveTo>
                    <a:pt x="978" y="804"/>
                  </a:moveTo>
                  <a:lnTo>
                    <a:pt x="972" y="810"/>
                  </a:lnTo>
                  <a:lnTo>
                    <a:pt x="966" y="810"/>
                  </a:lnTo>
                  <a:lnTo>
                    <a:pt x="966" y="816"/>
                  </a:lnTo>
                  <a:lnTo>
                    <a:pt x="936" y="828"/>
                  </a:lnTo>
                  <a:lnTo>
                    <a:pt x="924" y="822"/>
                  </a:lnTo>
                  <a:lnTo>
                    <a:pt x="912" y="822"/>
                  </a:lnTo>
                  <a:lnTo>
                    <a:pt x="906" y="828"/>
                  </a:lnTo>
                  <a:lnTo>
                    <a:pt x="900" y="828"/>
                  </a:lnTo>
                  <a:lnTo>
                    <a:pt x="900" y="822"/>
                  </a:lnTo>
                  <a:lnTo>
                    <a:pt x="894" y="822"/>
                  </a:lnTo>
                  <a:lnTo>
                    <a:pt x="888" y="828"/>
                  </a:lnTo>
                  <a:lnTo>
                    <a:pt x="882" y="834"/>
                  </a:lnTo>
                  <a:lnTo>
                    <a:pt x="876" y="834"/>
                  </a:lnTo>
                  <a:lnTo>
                    <a:pt x="870" y="840"/>
                  </a:lnTo>
                  <a:lnTo>
                    <a:pt x="864" y="840"/>
                  </a:lnTo>
                  <a:lnTo>
                    <a:pt x="864" y="846"/>
                  </a:lnTo>
                  <a:lnTo>
                    <a:pt x="858" y="846"/>
                  </a:lnTo>
                  <a:lnTo>
                    <a:pt x="852" y="846"/>
                  </a:lnTo>
                  <a:lnTo>
                    <a:pt x="852" y="858"/>
                  </a:lnTo>
                  <a:lnTo>
                    <a:pt x="846" y="864"/>
                  </a:lnTo>
                  <a:lnTo>
                    <a:pt x="840" y="870"/>
                  </a:lnTo>
                  <a:lnTo>
                    <a:pt x="834" y="870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34" y="876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10" y="894"/>
                  </a:lnTo>
                  <a:lnTo>
                    <a:pt x="810" y="900"/>
                  </a:lnTo>
                  <a:lnTo>
                    <a:pt x="804" y="900"/>
                  </a:lnTo>
                  <a:lnTo>
                    <a:pt x="798" y="900"/>
                  </a:lnTo>
                  <a:lnTo>
                    <a:pt x="798" y="906"/>
                  </a:lnTo>
                  <a:lnTo>
                    <a:pt x="792" y="906"/>
                  </a:lnTo>
                  <a:lnTo>
                    <a:pt x="792" y="912"/>
                  </a:lnTo>
                  <a:lnTo>
                    <a:pt x="792" y="924"/>
                  </a:lnTo>
                  <a:lnTo>
                    <a:pt x="786" y="930"/>
                  </a:lnTo>
                  <a:lnTo>
                    <a:pt x="774" y="942"/>
                  </a:lnTo>
                  <a:lnTo>
                    <a:pt x="774" y="948"/>
                  </a:lnTo>
                  <a:lnTo>
                    <a:pt x="768" y="954"/>
                  </a:lnTo>
                  <a:lnTo>
                    <a:pt x="762" y="954"/>
                  </a:lnTo>
                  <a:lnTo>
                    <a:pt x="750" y="972"/>
                  </a:lnTo>
                  <a:lnTo>
                    <a:pt x="720" y="978"/>
                  </a:lnTo>
                  <a:lnTo>
                    <a:pt x="714" y="978"/>
                  </a:lnTo>
                  <a:lnTo>
                    <a:pt x="708" y="978"/>
                  </a:lnTo>
                  <a:lnTo>
                    <a:pt x="702" y="990"/>
                  </a:lnTo>
                  <a:lnTo>
                    <a:pt x="696" y="990"/>
                  </a:lnTo>
                  <a:lnTo>
                    <a:pt x="696" y="1008"/>
                  </a:lnTo>
                  <a:lnTo>
                    <a:pt x="690" y="1008"/>
                  </a:lnTo>
                  <a:lnTo>
                    <a:pt x="690" y="1014"/>
                  </a:lnTo>
                  <a:lnTo>
                    <a:pt x="684" y="1032"/>
                  </a:lnTo>
                  <a:lnTo>
                    <a:pt x="690" y="1050"/>
                  </a:lnTo>
                  <a:lnTo>
                    <a:pt x="690" y="1062"/>
                  </a:lnTo>
                  <a:lnTo>
                    <a:pt x="690" y="1068"/>
                  </a:lnTo>
                  <a:lnTo>
                    <a:pt x="690" y="1074"/>
                  </a:lnTo>
                  <a:lnTo>
                    <a:pt x="684" y="1074"/>
                  </a:lnTo>
                  <a:lnTo>
                    <a:pt x="684" y="1080"/>
                  </a:lnTo>
                  <a:lnTo>
                    <a:pt x="678" y="1086"/>
                  </a:lnTo>
                  <a:lnTo>
                    <a:pt x="678" y="1104"/>
                  </a:lnTo>
                  <a:lnTo>
                    <a:pt x="678" y="1110"/>
                  </a:lnTo>
                  <a:lnTo>
                    <a:pt x="678" y="1116"/>
                  </a:lnTo>
                  <a:lnTo>
                    <a:pt x="684" y="1116"/>
                  </a:lnTo>
                  <a:lnTo>
                    <a:pt x="678" y="1128"/>
                  </a:lnTo>
                  <a:lnTo>
                    <a:pt x="684" y="1128"/>
                  </a:lnTo>
                  <a:lnTo>
                    <a:pt x="690" y="1134"/>
                  </a:lnTo>
                  <a:lnTo>
                    <a:pt x="690" y="1140"/>
                  </a:lnTo>
                  <a:lnTo>
                    <a:pt x="696" y="1140"/>
                  </a:lnTo>
                  <a:lnTo>
                    <a:pt x="696" y="1146"/>
                  </a:lnTo>
                  <a:lnTo>
                    <a:pt x="696" y="1152"/>
                  </a:lnTo>
                  <a:lnTo>
                    <a:pt x="702" y="1152"/>
                  </a:lnTo>
                  <a:lnTo>
                    <a:pt x="708" y="1152"/>
                  </a:lnTo>
                  <a:lnTo>
                    <a:pt x="714" y="1158"/>
                  </a:lnTo>
                  <a:lnTo>
                    <a:pt x="714" y="1164"/>
                  </a:lnTo>
                  <a:lnTo>
                    <a:pt x="720" y="1170"/>
                  </a:lnTo>
                  <a:lnTo>
                    <a:pt x="720" y="1176"/>
                  </a:lnTo>
                  <a:lnTo>
                    <a:pt x="720" y="1182"/>
                  </a:lnTo>
                  <a:lnTo>
                    <a:pt x="726" y="1188"/>
                  </a:lnTo>
                  <a:lnTo>
                    <a:pt x="726" y="1194"/>
                  </a:lnTo>
                  <a:lnTo>
                    <a:pt x="732" y="1194"/>
                  </a:lnTo>
                  <a:lnTo>
                    <a:pt x="732" y="1200"/>
                  </a:lnTo>
                  <a:lnTo>
                    <a:pt x="738" y="1212"/>
                  </a:lnTo>
                  <a:lnTo>
                    <a:pt x="732" y="1218"/>
                  </a:lnTo>
                  <a:lnTo>
                    <a:pt x="732" y="1224"/>
                  </a:lnTo>
                  <a:lnTo>
                    <a:pt x="726" y="1230"/>
                  </a:lnTo>
                  <a:lnTo>
                    <a:pt x="720" y="1230"/>
                  </a:lnTo>
                  <a:lnTo>
                    <a:pt x="720" y="1236"/>
                  </a:lnTo>
                  <a:lnTo>
                    <a:pt x="720" y="1242"/>
                  </a:lnTo>
                  <a:lnTo>
                    <a:pt x="720" y="1248"/>
                  </a:lnTo>
                  <a:lnTo>
                    <a:pt x="714" y="1248"/>
                  </a:lnTo>
                  <a:lnTo>
                    <a:pt x="714" y="1254"/>
                  </a:lnTo>
                  <a:lnTo>
                    <a:pt x="708" y="1260"/>
                  </a:lnTo>
                  <a:lnTo>
                    <a:pt x="702" y="1272"/>
                  </a:lnTo>
                  <a:lnTo>
                    <a:pt x="696" y="1272"/>
                  </a:lnTo>
                  <a:lnTo>
                    <a:pt x="696" y="1278"/>
                  </a:lnTo>
                  <a:lnTo>
                    <a:pt x="690" y="1284"/>
                  </a:lnTo>
                  <a:lnTo>
                    <a:pt x="690" y="1290"/>
                  </a:lnTo>
                  <a:lnTo>
                    <a:pt x="684" y="1290"/>
                  </a:lnTo>
                  <a:lnTo>
                    <a:pt x="660" y="1284"/>
                  </a:lnTo>
                  <a:lnTo>
                    <a:pt x="660" y="1278"/>
                  </a:lnTo>
                  <a:lnTo>
                    <a:pt x="654" y="1272"/>
                  </a:lnTo>
                  <a:lnTo>
                    <a:pt x="648" y="1272"/>
                  </a:lnTo>
                  <a:lnTo>
                    <a:pt x="642" y="1272"/>
                  </a:lnTo>
                  <a:lnTo>
                    <a:pt x="642" y="1266"/>
                  </a:lnTo>
                  <a:lnTo>
                    <a:pt x="636" y="1266"/>
                  </a:lnTo>
                  <a:lnTo>
                    <a:pt x="630" y="1266"/>
                  </a:lnTo>
                  <a:lnTo>
                    <a:pt x="624" y="1266"/>
                  </a:lnTo>
                  <a:lnTo>
                    <a:pt x="624" y="1260"/>
                  </a:lnTo>
                  <a:lnTo>
                    <a:pt x="618" y="1260"/>
                  </a:lnTo>
                  <a:lnTo>
                    <a:pt x="612" y="1260"/>
                  </a:lnTo>
                  <a:lnTo>
                    <a:pt x="606" y="1260"/>
                  </a:lnTo>
                  <a:lnTo>
                    <a:pt x="600" y="1260"/>
                  </a:lnTo>
                  <a:lnTo>
                    <a:pt x="600" y="1254"/>
                  </a:lnTo>
                  <a:lnTo>
                    <a:pt x="594" y="1254"/>
                  </a:lnTo>
                  <a:lnTo>
                    <a:pt x="588" y="1248"/>
                  </a:lnTo>
                  <a:lnTo>
                    <a:pt x="588" y="1254"/>
                  </a:lnTo>
                  <a:lnTo>
                    <a:pt x="582" y="1254"/>
                  </a:lnTo>
                  <a:lnTo>
                    <a:pt x="582" y="1248"/>
                  </a:lnTo>
                  <a:lnTo>
                    <a:pt x="576" y="1248"/>
                  </a:lnTo>
                  <a:lnTo>
                    <a:pt x="576" y="1254"/>
                  </a:lnTo>
                  <a:lnTo>
                    <a:pt x="570" y="1248"/>
                  </a:lnTo>
                  <a:lnTo>
                    <a:pt x="564" y="1248"/>
                  </a:lnTo>
                  <a:lnTo>
                    <a:pt x="564" y="1254"/>
                  </a:lnTo>
                  <a:lnTo>
                    <a:pt x="558" y="1254"/>
                  </a:lnTo>
                  <a:lnTo>
                    <a:pt x="552" y="1254"/>
                  </a:lnTo>
                  <a:lnTo>
                    <a:pt x="552" y="1260"/>
                  </a:lnTo>
                  <a:lnTo>
                    <a:pt x="546" y="1260"/>
                  </a:lnTo>
                  <a:lnTo>
                    <a:pt x="540" y="1260"/>
                  </a:lnTo>
                  <a:lnTo>
                    <a:pt x="540" y="1254"/>
                  </a:lnTo>
                  <a:lnTo>
                    <a:pt x="534" y="1254"/>
                  </a:lnTo>
                  <a:lnTo>
                    <a:pt x="528" y="1224"/>
                  </a:lnTo>
                  <a:lnTo>
                    <a:pt x="534" y="1212"/>
                  </a:lnTo>
                  <a:lnTo>
                    <a:pt x="546" y="1206"/>
                  </a:lnTo>
                  <a:lnTo>
                    <a:pt x="582" y="1206"/>
                  </a:lnTo>
                  <a:lnTo>
                    <a:pt x="588" y="1188"/>
                  </a:lnTo>
                  <a:lnTo>
                    <a:pt x="582" y="1188"/>
                  </a:lnTo>
                  <a:lnTo>
                    <a:pt x="582" y="1182"/>
                  </a:lnTo>
                  <a:lnTo>
                    <a:pt x="576" y="1176"/>
                  </a:lnTo>
                  <a:lnTo>
                    <a:pt x="558" y="1128"/>
                  </a:lnTo>
                  <a:lnTo>
                    <a:pt x="558" y="1122"/>
                  </a:lnTo>
                  <a:lnTo>
                    <a:pt x="576" y="1098"/>
                  </a:lnTo>
                  <a:lnTo>
                    <a:pt x="576" y="1092"/>
                  </a:lnTo>
                  <a:lnTo>
                    <a:pt x="582" y="1092"/>
                  </a:lnTo>
                  <a:lnTo>
                    <a:pt x="582" y="1086"/>
                  </a:lnTo>
                  <a:lnTo>
                    <a:pt x="582" y="1080"/>
                  </a:lnTo>
                  <a:lnTo>
                    <a:pt x="582" y="1074"/>
                  </a:lnTo>
                  <a:lnTo>
                    <a:pt x="588" y="1074"/>
                  </a:lnTo>
                  <a:lnTo>
                    <a:pt x="588" y="1062"/>
                  </a:lnTo>
                  <a:lnTo>
                    <a:pt x="588" y="1056"/>
                  </a:lnTo>
                  <a:lnTo>
                    <a:pt x="588" y="1044"/>
                  </a:lnTo>
                  <a:lnTo>
                    <a:pt x="588" y="1038"/>
                  </a:lnTo>
                  <a:lnTo>
                    <a:pt x="588" y="1032"/>
                  </a:lnTo>
                  <a:lnTo>
                    <a:pt x="582" y="1026"/>
                  </a:lnTo>
                  <a:lnTo>
                    <a:pt x="582" y="1020"/>
                  </a:lnTo>
                  <a:lnTo>
                    <a:pt x="582" y="1008"/>
                  </a:lnTo>
                  <a:lnTo>
                    <a:pt x="576" y="990"/>
                  </a:lnTo>
                  <a:lnTo>
                    <a:pt x="570" y="972"/>
                  </a:lnTo>
                  <a:lnTo>
                    <a:pt x="552" y="972"/>
                  </a:lnTo>
                  <a:lnTo>
                    <a:pt x="540" y="960"/>
                  </a:lnTo>
                  <a:lnTo>
                    <a:pt x="534" y="954"/>
                  </a:lnTo>
                  <a:lnTo>
                    <a:pt x="534" y="948"/>
                  </a:lnTo>
                  <a:lnTo>
                    <a:pt x="516" y="948"/>
                  </a:lnTo>
                  <a:lnTo>
                    <a:pt x="522" y="936"/>
                  </a:lnTo>
                  <a:lnTo>
                    <a:pt x="522" y="930"/>
                  </a:lnTo>
                  <a:lnTo>
                    <a:pt x="504" y="918"/>
                  </a:lnTo>
                  <a:lnTo>
                    <a:pt x="492" y="906"/>
                  </a:lnTo>
                  <a:lnTo>
                    <a:pt x="486" y="894"/>
                  </a:lnTo>
                  <a:lnTo>
                    <a:pt x="468" y="876"/>
                  </a:lnTo>
                  <a:lnTo>
                    <a:pt x="450" y="876"/>
                  </a:lnTo>
                  <a:lnTo>
                    <a:pt x="414" y="882"/>
                  </a:lnTo>
                  <a:lnTo>
                    <a:pt x="402" y="870"/>
                  </a:lnTo>
                  <a:lnTo>
                    <a:pt x="390" y="864"/>
                  </a:lnTo>
                  <a:lnTo>
                    <a:pt x="384" y="852"/>
                  </a:lnTo>
                  <a:lnTo>
                    <a:pt x="378" y="840"/>
                  </a:lnTo>
                  <a:lnTo>
                    <a:pt x="378" y="834"/>
                  </a:lnTo>
                  <a:lnTo>
                    <a:pt x="360" y="822"/>
                  </a:lnTo>
                  <a:lnTo>
                    <a:pt x="342" y="828"/>
                  </a:lnTo>
                  <a:lnTo>
                    <a:pt x="324" y="816"/>
                  </a:lnTo>
                  <a:lnTo>
                    <a:pt x="318" y="816"/>
                  </a:lnTo>
                  <a:lnTo>
                    <a:pt x="306" y="810"/>
                  </a:lnTo>
                  <a:lnTo>
                    <a:pt x="306" y="804"/>
                  </a:lnTo>
                  <a:lnTo>
                    <a:pt x="300" y="804"/>
                  </a:lnTo>
                  <a:lnTo>
                    <a:pt x="300" y="780"/>
                  </a:lnTo>
                  <a:lnTo>
                    <a:pt x="300" y="774"/>
                  </a:lnTo>
                  <a:lnTo>
                    <a:pt x="306" y="774"/>
                  </a:lnTo>
                  <a:lnTo>
                    <a:pt x="312" y="756"/>
                  </a:lnTo>
                  <a:lnTo>
                    <a:pt x="312" y="732"/>
                  </a:lnTo>
                  <a:lnTo>
                    <a:pt x="300" y="720"/>
                  </a:lnTo>
                  <a:lnTo>
                    <a:pt x="288" y="702"/>
                  </a:lnTo>
                  <a:lnTo>
                    <a:pt x="276" y="702"/>
                  </a:lnTo>
                  <a:lnTo>
                    <a:pt x="258" y="714"/>
                  </a:lnTo>
                  <a:lnTo>
                    <a:pt x="246" y="726"/>
                  </a:lnTo>
                  <a:lnTo>
                    <a:pt x="222" y="726"/>
                  </a:lnTo>
                  <a:lnTo>
                    <a:pt x="192" y="726"/>
                  </a:lnTo>
                  <a:lnTo>
                    <a:pt x="174" y="738"/>
                  </a:lnTo>
                  <a:lnTo>
                    <a:pt x="162" y="750"/>
                  </a:lnTo>
                  <a:lnTo>
                    <a:pt x="144" y="762"/>
                  </a:lnTo>
                  <a:lnTo>
                    <a:pt x="138" y="768"/>
                  </a:lnTo>
                  <a:lnTo>
                    <a:pt x="126" y="774"/>
                  </a:lnTo>
                  <a:lnTo>
                    <a:pt x="114" y="780"/>
                  </a:lnTo>
                  <a:lnTo>
                    <a:pt x="108" y="786"/>
                  </a:lnTo>
                  <a:lnTo>
                    <a:pt x="102" y="786"/>
                  </a:lnTo>
                  <a:lnTo>
                    <a:pt x="54" y="786"/>
                  </a:lnTo>
                  <a:lnTo>
                    <a:pt x="48" y="792"/>
                  </a:lnTo>
                  <a:lnTo>
                    <a:pt x="36" y="798"/>
                  </a:lnTo>
                  <a:lnTo>
                    <a:pt x="18" y="792"/>
                  </a:lnTo>
                  <a:lnTo>
                    <a:pt x="6" y="780"/>
                  </a:lnTo>
                  <a:lnTo>
                    <a:pt x="6" y="768"/>
                  </a:lnTo>
                  <a:lnTo>
                    <a:pt x="0" y="756"/>
                  </a:lnTo>
                  <a:lnTo>
                    <a:pt x="0" y="738"/>
                  </a:lnTo>
                  <a:lnTo>
                    <a:pt x="6" y="702"/>
                  </a:lnTo>
                  <a:lnTo>
                    <a:pt x="24" y="702"/>
                  </a:lnTo>
                  <a:lnTo>
                    <a:pt x="24" y="696"/>
                  </a:lnTo>
                  <a:lnTo>
                    <a:pt x="24" y="690"/>
                  </a:lnTo>
                  <a:lnTo>
                    <a:pt x="24" y="678"/>
                  </a:lnTo>
                  <a:lnTo>
                    <a:pt x="24" y="672"/>
                  </a:lnTo>
                  <a:lnTo>
                    <a:pt x="30" y="672"/>
                  </a:lnTo>
                  <a:lnTo>
                    <a:pt x="30" y="666"/>
                  </a:lnTo>
                  <a:lnTo>
                    <a:pt x="36" y="660"/>
                  </a:lnTo>
                  <a:lnTo>
                    <a:pt x="84" y="648"/>
                  </a:lnTo>
                  <a:lnTo>
                    <a:pt x="126" y="642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32" y="618"/>
                  </a:lnTo>
                  <a:lnTo>
                    <a:pt x="138" y="612"/>
                  </a:lnTo>
                  <a:lnTo>
                    <a:pt x="138" y="606"/>
                  </a:lnTo>
                  <a:lnTo>
                    <a:pt x="138" y="600"/>
                  </a:lnTo>
                  <a:lnTo>
                    <a:pt x="132" y="600"/>
                  </a:lnTo>
                  <a:lnTo>
                    <a:pt x="132" y="594"/>
                  </a:lnTo>
                  <a:lnTo>
                    <a:pt x="132" y="588"/>
                  </a:lnTo>
                  <a:lnTo>
                    <a:pt x="132" y="582"/>
                  </a:lnTo>
                  <a:lnTo>
                    <a:pt x="132" y="576"/>
                  </a:lnTo>
                  <a:lnTo>
                    <a:pt x="126" y="570"/>
                  </a:lnTo>
                  <a:lnTo>
                    <a:pt x="120" y="564"/>
                  </a:lnTo>
                  <a:lnTo>
                    <a:pt x="120" y="558"/>
                  </a:lnTo>
                  <a:lnTo>
                    <a:pt x="120" y="552"/>
                  </a:lnTo>
                  <a:lnTo>
                    <a:pt x="114" y="552"/>
                  </a:lnTo>
                  <a:lnTo>
                    <a:pt x="114" y="546"/>
                  </a:lnTo>
                  <a:lnTo>
                    <a:pt x="114" y="540"/>
                  </a:lnTo>
                  <a:lnTo>
                    <a:pt x="108" y="534"/>
                  </a:lnTo>
                  <a:lnTo>
                    <a:pt x="108" y="528"/>
                  </a:lnTo>
                  <a:lnTo>
                    <a:pt x="114" y="522"/>
                  </a:lnTo>
                  <a:lnTo>
                    <a:pt x="108" y="516"/>
                  </a:lnTo>
                  <a:lnTo>
                    <a:pt x="108" y="498"/>
                  </a:lnTo>
                  <a:lnTo>
                    <a:pt x="108" y="492"/>
                  </a:lnTo>
                  <a:lnTo>
                    <a:pt x="108" y="486"/>
                  </a:lnTo>
                  <a:lnTo>
                    <a:pt x="108" y="480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08" y="462"/>
                  </a:lnTo>
                  <a:lnTo>
                    <a:pt x="102" y="456"/>
                  </a:lnTo>
                  <a:lnTo>
                    <a:pt x="102" y="444"/>
                  </a:lnTo>
                  <a:lnTo>
                    <a:pt x="96" y="444"/>
                  </a:lnTo>
                  <a:lnTo>
                    <a:pt x="90" y="432"/>
                  </a:lnTo>
                  <a:lnTo>
                    <a:pt x="96" y="432"/>
                  </a:lnTo>
                  <a:lnTo>
                    <a:pt x="96" y="408"/>
                  </a:lnTo>
                  <a:lnTo>
                    <a:pt x="96" y="396"/>
                  </a:lnTo>
                  <a:lnTo>
                    <a:pt x="96" y="360"/>
                  </a:lnTo>
                  <a:lnTo>
                    <a:pt x="96" y="354"/>
                  </a:lnTo>
                  <a:lnTo>
                    <a:pt x="102" y="354"/>
                  </a:lnTo>
                  <a:lnTo>
                    <a:pt x="102" y="348"/>
                  </a:lnTo>
                  <a:lnTo>
                    <a:pt x="96" y="330"/>
                  </a:lnTo>
                  <a:lnTo>
                    <a:pt x="90" y="306"/>
                  </a:lnTo>
                  <a:lnTo>
                    <a:pt x="84" y="288"/>
                  </a:lnTo>
                  <a:lnTo>
                    <a:pt x="84" y="264"/>
                  </a:lnTo>
                  <a:lnTo>
                    <a:pt x="90" y="240"/>
                  </a:lnTo>
                  <a:lnTo>
                    <a:pt x="96" y="222"/>
                  </a:lnTo>
                  <a:lnTo>
                    <a:pt x="102" y="222"/>
                  </a:lnTo>
                  <a:lnTo>
                    <a:pt x="108" y="210"/>
                  </a:lnTo>
                  <a:lnTo>
                    <a:pt x="114" y="210"/>
                  </a:lnTo>
                  <a:lnTo>
                    <a:pt x="126" y="198"/>
                  </a:lnTo>
                  <a:lnTo>
                    <a:pt x="156" y="192"/>
                  </a:lnTo>
                  <a:lnTo>
                    <a:pt x="174" y="186"/>
                  </a:lnTo>
                  <a:lnTo>
                    <a:pt x="204" y="174"/>
                  </a:lnTo>
                  <a:lnTo>
                    <a:pt x="222" y="168"/>
                  </a:lnTo>
                  <a:lnTo>
                    <a:pt x="234" y="162"/>
                  </a:lnTo>
                  <a:lnTo>
                    <a:pt x="246" y="156"/>
                  </a:lnTo>
                  <a:lnTo>
                    <a:pt x="288" y="144"/>
                  </a:lnTo>
                  <a:lnTo>
                    <a:pt x="288" y="132"/>
                  </a:lnTo>
                  <a:lnTo>
                    <a:pt x="294" y="120"/>
                  </a:lnTo>
                  <a:lnTo>
                    <a:pt x="300" y="108"/>
                  </a:lnTo>
                  <a:lnTo>
                    <a:pt x="306" y="90"/>
                  </a:lnTo>
                  <a:lnTo>
                    <a:pt x="312" y="78"/>
                  </a:lnTo>
                  <a:lnTo>
                    <a:pt x="324" y="78"/>
                  </a:lnTo>
                  <a:lnTo>
                    <a:pt x="324" y="54"/>
                  </a:lnTo>
                  <a:lnTo>
                    <a:pt x="318" y="48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60" y="6"/>
                  </a:lnTo>
                  <a:lnTo>
                    <a:pt x="384" y="0"/>
                  </a:lnTo>
                  <a:lnTo>
                    <a:pt x="390" y="6"/>
                  </a:lnTo>
                  <a:lnTo>
                    <a:pt x="390" y="18"/>
                  </a:lnTo>
                  <a:lnTo>
                    <a:pt x="390" y="54"/>
                  </a:lnTo>
                  <a:lnTo>
                    <a:pt x="396" y="66"/>
                  </a:lnTo>
                  <a:lnTo>
                    <a:pt x="414" y="84"/>
                  </a:lnTo>
                  <a:lnTo>
                    <a:pt x="426" y="90"/>
                  </a:lnTo>
                  <a:lnTo>
                    <a:pt x="432" y="96"/>
                  </a:lnTo>
                  <a:lnTo>
                    <a:pt x="426" y="102"/>
                  </a:lnTo>
                  <a:lnTo>
                    <a:pt x="438" y="102"/>
                  </a:lnTo>
                  <a:lnTo>
                    <a:pt x="444" y="108"/>
                  </a:lnTo>
                  <a:lnTo>
                    <a:pt x="444" y="102"/>
                  </a:lnTo>
                  <a:lnTo>
                    <a:pt x="450" y="90"/>
                  </a:lnTo>
                  <a:lnTo>
                    <a:pt x="450" y="84"/>
                  </a:lnTo>
                  <a:lnTo>
                    <a:pt x="450" y="78"/>
                  </a:lnTo>
                  <a:lnTo>
                    <a:pt x="456" y="72"/>
                  </a:lnTo>
                  <a:lnTo>
                    <a:pt x="462" y="66"/>
                  </a:lnTo>
                  <a:lnTo>
                    <a:pt x="462" y="60"/>
                  </a:lnTo>
                  <a:lnTo>
                    <a:pt x="462" y="54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74" y="24"/>
                  </a:lnTo>
                  <a:lnTo>
                    <a:pt x="480" y="18"/>
                  </a:lnTo>
                  <a:lnTo>
                    <a:pt x="486" y="12"/>
                  </a:lnTo>
                  <a:lnTo>
                    <a:pt x="492" y="12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2" y="6"/>
                  </a:lnTo>
                  <a:lnTo>
                    <a:pt x="534" y="6"/>
                  </a:lnTo>
                  <a:lnTo>
                    <a:pt x="540" y="6"/>
                  </a:lnTo>
                  <a:lnTo>
                    <a:pt x="546" y="6"/>
                  </a:lnTo>
                  <a:lnTo>
                    <a:pt x="564" y="0"/>
                  </a:lnTo>
                  <a:lnTo>
                    <a:pt x="570" y="0"/>
                  </a:lnTo>
                  <a:lnTo>
                    <a:pt x="576" y="6"/>
                  </a:lnTo>
                  <a:lnTo>
                    <a:pt x="582" y="6"/>
                  </a:lnTo>
                  <a:lnTo>
                    <a:pt x="594" y="6"/>
                  </a:lnTo>
                  <a:lnTo>
                    <a:pt x="600" y="6"/>
                  </a:lnTo>
                  <a:lnTo>
                    <a:pt x="606" y="6"/>
                  </a:lnTo>
                  <a:lnTo>
                    <a:pt x="624" y="0"/>
                  </a:lnTo>
                  <a:lnTo>
                    <a:pt x="636" y="0"/>
                  </a:lnTo>
                  <a:lnTo>
                    <a:pt x="636" y="6"/>
                  </a:lnTo>
                  <a:lnTo>
                    <a:pt x="654" y="18"/>
                  </a:lnTo>
                  <a:lnTo>
                    <a:pt x="654" y="30"/>
                  </a:lnTo>
                  <a:lnTo>
                    <a:pt x="642" y="42"/>
                  </a:lnTo>
                  <a:lnTo>
                    <a:pt x="630" y="66"/>
                  </a:lnTo>
                  <a:lnTo>
                    <a:pt x="636" y="84"/>
                  </a:lnTo>
                  <a:lnTo>
                    <a:pt x="636" y="96"/>
                  </a:lnTo>
                  <a:lnTo>
                    <a:pt x="648" y="102"/>
                  </a:lnTo>
                  <a:lnTo>
                    <a:pt x="672" y="114"/>
                  </a:lnTo>
                  <a:lnTo>
                    <a:pt x="702" y="120"/>
                  </a:lnTo>
                  <a:lnTo>
                    <a:pt x="714" y="126"/>
                  </a:lnTo>
                  <a:lnTo>
                    <a:pt x="720" y="144"/>
                  </a:lnTo>
                  <a:lnTo>
                    <a:pt x="720" y="156"/>
                  </a:lnTo>
                  <a:lnTo>
                    <a:pt x="708" y="156"/>
                  </a:lnTo>
                  <a:lnTo>
                    <a:pt x="702" y="162"/>
                  </a:lnTo>
                  <a:lnTo>
                    <a:pt x="702" y="174"/>
                  </a:lnTo>
                  <a:lnTo>
                    <a:pt x="696" y="174"/>
                  </a:lnTo>
                  <a:lnTo>
                    <a:pt x="690" y="180"/>
                  </a:lnTo>
                  <a:lnTo>
                    <a:pt x="678" y="186"/>
                  </a:lnTo>
                  <a:lnTo>
                    <a:pt x="672" y="192"/>
                  </a:lnTo>
                  <a:lnTo>
                    <a:pt x="654" y="210"/>
                  </a:lnTo>
                  <a:lnTo>
                    <a:pt x="654" y="216"/>
                  </a:lnTo>
                  <a:lnTo>
                    <a:pt x="648" y="246"/>
                  </a:lnTo>
                  <a:lnTo>
                    <a:pt x="660" y="246"/>
                  </a:lnTo>
                  <a:lnTo>
                    <a:pt x="666" y="234"/>
                  </a:lnTo>
                  <a:lnTo>
                    <a:pt x="678" y="240"/>
                  </a:lnTo>
                  <a:lnTo>
                    <a:pt x="684" y="228"/>
                  </a:lnTo>
                  <a:lnTo>
                    <a:pt x="690" y="210"/>
                  </a:lnTo>
                  <a:lnTo>
                    <a:pt x="696" y="204"/>
                  </a:lnTo>
                  <a:lnTo>
                    <a:pt x="702" y="204"/>
                  </a:lnTo>
                  <a:lnTo>
                    <a:pt x="708" y="192"/>
                  </a:lnTo>
                  <a:lnTo>
                    <a:pt x="714" y="192"/>
                  </a:lnTo>
                  <a:lnTo>
                    <a:pt x="714" y="186"/>
                  </a:lnTo>
                  <a:lnTo>
                    <a:pt x="726" y="186"/>
                  </a:lnTo>
                  <a:lnTo>
                    <a:pt x="732" y="186"/>
                  </a:lnTo>
                  <a:lnTo>
                    <a:pt x="738" y="186"/>
                  </a:lnTo>
                  <a:lnTo>
                    <a:pt x="744" y="216"/>
                  </a:lnTo>
                  <a:lnTo>
                    <a:pt x="750" y="210"/>
                  </a:lnTo>
                  <a:lnTo>
                    <a:pt x="750" y="204"/>
                  </a:lnTo>
                  <a:lnTo>
                    <a:pt x="756" y="192"/>
                  </a:lnTo>
                  <a:lnTo>
                    <a:pt x="762" y="192"/>
                  </a:lnTo>
                  <a:lnTo>
                    <a:pt x="768" y="192"/>
                  </a:lnTo>
                  <a:lnTo>
                    <a:pt x="780" y="186"/>
                  </a:lnTo>
                  <a:lnTo>
                    <a:pt x="786" y="204"/>
                  </a:lnTo>
                  <a:lnTo>
                    <a:pt x="774" y="210"/>
                  </a:lnTo>
                  <a:lnTo>
                    <a:pt x="774" y="234"/>
                  </a:lnTo>
                  <a:lnTo>
                    <a:pt x="780" y="246"/>
                  </a:lnTo>
                  <a:lnTo>
                    <a:pt x="804" y="264"/>
                  </a:lnTo>
                  <a:lnTo>
                    <a:pt x="816" y="276"/>
                  </a:lnTo>
                  <a:lnTo>
                    <a:pt x="822" y="288"/>
                  </a:lnTo>
                  <a:lnTo>
                    <a:pt x="822" y="312"/>
                  </a:lnTo>
                  <a:lnTo>
                    <a:pt x="816" y="312"/>
                  </a:lnTo>
                  <a:lnTo>
                    <a:pt x="810" y="318"/>
                  </a:lnTo>
                  <a:lnTo>
                    <a:pt x="810" y="348"/>
                  </a:lnTo>
                  <a:lnTo>
                    <a:pt x="816" y="348"/>
                  </a:lnTo>
                  <a:lnTo>
                    <a:pt x="816" y="342"/>
                  </a:lnTo>
                  <a:lnTo>
                    <a:pt x="834" y="342"/>
                  </a:lnTo>
                  <a:lnTo>
                    <a:pt x="834" y="348"/>
                  </a:lnTo>
                  <a:lnTo>
                    <a:pt x="846" y="348"/>
                  </a:lnTo>
                  <a:lnTo>
                    <a:pt x="846" y="342"/>
                  </a:lnTo>
                  <a:lnTo>
                    <a:pt x="882" y="342"/>
                  </a:lnTo>
                  <a:lnTo>
                    <a:pt x="894" y="366"/>
                  </a:lnTo>
                  <a:lnTo>
                    <a:pt x="900" y="372"/>
                  </a:lnTo>
                  <a:lnTo>
                    <a:pt x="906" y="384"/>
                  </a:lnTo>
                  <a:lnTo>
                    <a:pt x="924" y="384"/>
                  </a:lnTo>
                  <a:lnTo>
                    <a:pt x="930" y="372"/>
                  </a:lnTo>
                  <a:lnTo>
                    <a:pt x="936" y="372"/>
                  </a:lnTo>
                  <a:lnTo>
                    <a:pt x="942" y="348"/>
                  </a:lnTo>
                  <a:lnTo>
                    <a:pt x="954" y="348"/>
                  </a:lnTo>
                  <a:lnTo>
                    <a:pt x="954" y="342"/>
                  </a:lnTo>
                  <a:lnTo>
                    <a:pt x="984" y="342"/>
                  </a:lnTo>
                  <a:lnTo>
                    <a:pt x="978" y="390"/>
                  </a:lnTo>
                  <a:lnTo>
                    <a:pt x="984" y="390"/>
                  </a:lnTo>
                  <a:lnTo>
                    <a:pt x="990" y="396"/>
                  </a:lnTo>
                  <a:lnTo>
                    <a:pt x="996" y="396"/>
                  </a:lnTo>
                  <a:lnTo>
                    <a:pt x="1002" y="396"/>
                  </a:lnTo>
                  <a:lnTo>
                    <a:pt x="1002" y="408"/>
                  </a:lnTo>
                  <a:lnTo>
                    <a:pt x="990" y="414"/>
                  </a:lnTo>
                  <a:lnTo>
                    <a:pt x="984" y="426"/>
                  </a:lnTo>
                  <a:lnTo>
                    <a:pt x="990" y="444"/>
                  </a:lnTo>
                  <a:lnTo>
                    <a:pt x="996" y="450"/>
                  </a:lnTo>
                  <a:lnTo>
                    <a:pt x="990" y="462"/>
                  </a:lnTo>
                  <a:lnTo>
                    <a:pt x="990" y="468"/>
                  </a:lnTo>
                  <a:lnTo>
                    <a:pt x="984" y="480"/>
                  </a:lnTo>
                  <a:lnTo>
                    <a:pt x="978" y="486"/>
                  </a:lnTo>
                  <a:lnTo>
                    <a:pt x="972" y="486"/>
                  </a:lnTo>
                  <a:lnTo>
                    <a:pt x="966" y="492"/>
                  </a:lnTo>
                  <a:lnTo>
                    <a:pt x="966" y="498"/>
                  </a:lnTo>
                  <a:lnTo>
                    <a:pt x="954" y="510"/>
                  </a:lnTo>
                  <a:lnTo>
                    <a:pt x="948" y="510"/>
                  </a:lnTo>
                  <a:lnTo>
                    <a:pt x="942" y="516"/>
                  </a:lnTo>
                  <a:lnTo>
                    <a:pt x="936" y="528"/>
                  </a:lnTo>
                  <a:lnTo>
                    <a:pt x="936" y="534"/>
                  </a:lnTo>
                  <a:lnTo>
                    <a:pt x="936" y="546"/>
                  </a:lnTo>
                  <a:lnTo>
                    <a:pt x="936" y="558"/>
                  </a:lnTo>
                  <a:lnTo>
                    <a:pt x="948" y="558"/>
                  </a:lnTo>
                  <a:lnTo>
                    <a:pt x="954" y="558"/>
                  </a:lnTo>
                  <a:lnTo>
                    <a:pt x="996" y="558"/>
                  </a:lnTo>
                  <a:lnTo>
                    <a:pt x="1002" y="570"/>
                  </a:lnTo>
                  <a:lnTo>
                    <a:pt x="996" y="576"/>
                  </a:lnTo>
                  <a:lnTo>
                    <a:pt x="996" y="588"/>
                  </a:lnTo>
                  <a:lnTo>
                    <a:pt x="984" y="588"/>
                  </a:lnTo>
                  <a:lnTo>
                    <a:pt x="990" y="612"/>
                  </a:lnTo>
                  <a:lnTo>
                    <a:pt x="1014" y="606"/>
                  </a:lnTo>
                  <a:lnTo>
                    <a:pt x="1014" y="636"/>
                  </a:lnTo>
                  <a:lnTo>
                    <a:pt x="1014" y="648"/>
                  </a:lnTo>
                  <a:lnTo>
                    <a:pt x="1020" y="648"/>
                  </a:lnTo>
                  <a:lnTo>
                    <a:pt x="1026" y="660"/>
                  </a:lnTo>
                  <a:lnTo>
                    <a:pt x="1038" y="654"/>
                  </a:lnTo>
                  <a:lnTo>
                    <a:pt x="1050" y="654"/>
                  </a:lnTo>
                  <a:lnTo>
                    <a:pt x="1062" y="654"/>
                  </a:lnTo>
                  <a:lnTo>
                    <a:pt x="1068" y="660"/>
                  </a:lnTo>
                  <a:lnTo>
                    <a:pt x="1068" y="678"/>
                  </a:lnTo>
                  <a:lnTo>
                    <a:pt x="1068" y="684"/>
                  </a:lnTo>
                  <a:lnTo>
                    <a:pt x="1062" y="690"/>
                  </a:lnTo>
                  <a:lnTo>
                    <a:pt x="1056" y="696"/>
                  </a:lnTo>
                  <a:lnTo>
                    <a:pt x="1056" y="702"/>
                  </a:lnTo>
                  <a:lnTo>
                    <a:pt x="1038" y="714"/>
                  </a:lnTo>
                  <a:lnTo>
                    <a:pt x="1026" y="720"/>
                  </a:lnTo>
                  <a:lnTo>
                    <a:pt x="1008" y="726"/>
                  </a:lnTo>
                  <a:lnTo>
                    <a:pt x="1008" y="732"/>
                  </a:lnTo>
                  <a:lnTo>
                    <a:pt x="990" y="732"/>
                  </a:lnTo>
                  <a:lnTo>
                    <a:pt x="984" y="744"/>
                  </a:lnTo>
                  <a:lnTo>
                    <a:pt x="990" y="750"/>
                  </a:lnTo>
                  <a:lnTo>
                    <a:pt x="984" y="762"/>
                  </a:lnTo>
                  <a:lnTo>
                    <a:pt x="984" y="768"/>
                  </a:lnTo>
                  <a:lnTo>
                    <a:pt x="984" y="774"/>
                  </a:lnTo>
                  <a:lnTo>
                    <a:pt x="984" y="780"/>
                  </a:lnTo>
                  <a:lnTo>
                    <a:pt x="984" y="786"/>
                  </a:lnTo>
                  <a:lnTo>
                    <a:pt x="984" y="792"/>
                  </a:lnTo>
                  <a:lnTo>
                    <a:pt x="978" y="798"/>
                  </a:lnTo>
                  <a:lnTo>
                    <a:pt x="978" y="80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3" name="Freeform 38">
              <a:extLst>
                <a:ext uri="{FF2B5EF4-FFF2-40B4-BE49-F238E27FC236}">
                  <a16:creationId xmlns:a16="http://schemas.microsoft.com/office/drawing/2014/main" id="{819B99CE-D972-4530-8964-A992C1EC87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2825" y="1634436"/>
              <a:ext cx="959326" cy="959458"/>
            </a:xfrm>
            <a:custGeom>
              <a:avLst/>
              <a:gdLst>
                <a:gd name="T0" fmla="*/ 105 w 1806"/>
                <a:gd name="T1" fmla="*/ 155 h 1806"/>
                <a:gd name="T2" fmla="*/ 103 w 1806"/>
                <a:gd name="T3" fmla="*/ 155 h 1806"/>
                <a:gd name="T4" fmla="*/ 103 w 1806"/>
                <a:gd name="T5" fmla="*/ 150 h 1806"/>
                <a:gd name="T6" fmla="*/ 104 w 1806"/>
                <a:gd name="T7" fmla="*/ 141 h 1806"/>
                <a:gd name="T8" fmla="*/ 104 w 1806"/>
                <a:gd name="T9" fmla="*/ 136 h 1806"/>
                <a:gd name="T10" fmla="*/ 100 w 1806"/>
                <a:gd name="T11" fmla="*/ 131 h 1806"/>
                <a:gd name="T12" fmla="*/ 96 w 1806"/>
                <a:gd name="T13" fmla="*/ 127 h 1806"/>
                <a:gd name="T14" fmla="*/ 91 w 1806"/>
                <a:gd name="T15" fmla="*/ 121 h 1806"/>
                <a:gd name="T16" fmla="*/ 87 w 1806"/>
                <a:gd name="T17" fmla="*/ 120 h 1806"/>
                <a:gd name="T18" fmla="*/ 81 w 1806"/>
                <a:gd name="T19" fmla="*/ 117 h 1806"/>
                <a:gd name="T20" fmla="*/ 65 w 1806"/>
                <a:gd name="T21" fmla="*/ 113 h 1806"/>
                <a:gd name="T22" fmla="*/ 69 w 1806"/>
                <a:gd name="T23" fmla="*/ 105 h 1806"/>
                <a:gd name="T24" fmla="*/ 66 w 1806"/>
                <a:gd name="T25" fmla="*/ 89 h 1806"/>
                <a:gd name="T26" fmla="*/ 63 w 1806"/>
                <a:gd name="T27" fmla="*/ 84 h 1806"/>
                <a:gd name="T28" fmla="*/ 62 w 1806"/>
                <a:gd name="T29" fmla="*/ 74 h 1806"/>
                <a:gd name="T30" fmla="*/ 58 w 1806"/>
                <a:gd name="T31" fmla="*/ 52 h 1806"/>
                <a:gd name="T32" fmla="*/ 53 w 1806"/>
                <a:gd name="T33" fmla="*/ 49 h 1806"/>
                <a:gd name="T34" fmla="*/ 51 w 1806"/>
                <a:gd name="T35" fmla="*/ 36 h 1806"/>
                <a:gd name="T36" fmla="*/ 43 w 1806"/>
                <a:gd name="T37" fmla="*/ 32 h 1806"/>
                <a:gd name="T38" fmla="*/ 33 w 1806"/>
                <a:gd name="T39" fmla="*/ 30 h 1806"/>
                <a:gd name="T40" fmla="*/ 30 w 1806"/>
                <a:gd name="T41" fmla="*/ 21 h 1806"/>
                <a:gd name="T42" fmla="*/ 17 w 1806"/>
                <a:gd name="T43" fmla="*/ 25 h 1806"/>
                <a:gd name="T44" fmla="*/ 4 w 1806"/>
                <a:gd name="T45" fmla="*/ 33 h 1806"/>
                <a:gd name="T46" fmla="*/ 7 w 1806"/>
                <a:gd name="T47" fmla="*/ 26 h 1806"/>
                <a:gd name="T48" fmla="*/ 11 w 1806"/>
                <a:gd name="T49" fmla="*/ 20 h 1806"/>
                <a:gd name="T50" fmla="*/ 18 w 1806"/>
                <a:gd name="T51" fmla="*/ 12 h 1806"/>
                <a:gd name="T52" fmla="*/ 26 w 1806"/>
                <a:gd name="T53" fmla="*/ 8 h 1806"/>
                <a:gd name="T54" fmla="*/ 35 w 1806"/>
                <a:gd name="T55" fmla="*/ 6 h 1806"/>
                <a:gd name="T56" fmla="*/ 44 w 1806"/>
                <a:gd name="T57" fmla="*/ 5 h 1806"/>
                <a:gd name="T58" fmla="*/ 54 w 1806"/>
                <a:gd name="T59" fmla="*/ 2 h 1806"/>
                <a:gd name="T60" fmla="*/ 65 w 1806"/>
                <a:gd name="T61" fmla="*/ 0 h 1806"/>
                <a:gd name="T62" fmla="*/ 76 w 1806"/>
                <a:gd name="T63" fmla="*/ 0 h 1806"/>
                <a:gd name="T64" fmla="*/ 85 w 1806"/>
                <a:gd name="T65" fmla="*/ 0 h 1806"/>
                <a:gd name="T66" fmla="*/ 97 w 1806"/>
                <a:gd name="T67" fmla="*/ 0 h 1806"/>
                <a:gd name="T68" fmla="*/ 108 w 1806"/>
                <a:gd name="T69" fmla="*/ 3 h 1806"/>
                <a:gd name="T70" fmla="*/ 115 w 1806"/>
                <a:gd name="T71" fmla="*/ 5 h 1806"/>
                <a:gd name="T72" fmla="*/ 123 w 1806"/>
                <a:gd name="T73" fmla="*/ 7 h 1806"/>
                <a:gd name="T74" fmla="*/ 133 w 1806"/>
                <a:gd name="T75" fmla="*/ 14 h 1806"/>
                <a:gd name="T76" fmla="*/ 138 w 1806"/>
                <a:gd name="T77" fmla="*/ 16 h 1806"/>
                <a:gd name="T78" fmla="*/ 140 w 1806"/>
                <a:gd name="T79" fmla="*/ 14 h 1806"/>
                <a:gd name="T80" fmla="*/ 145 w 1806"/>
                <a:gd name="T81" fmla="*/ 16 h 1806"/>
                <a:gd name="T82" fmla="*/ 147 w 1806"/>
                <a:gd name="T83" fmla="*/ 16 h 1806"/>
                <a:gd name="T84" fmla="*/ 150 w 1806"/>
                <a:gd name="T85" fmla="*/ 17 h 1806"/>
                <a:gd name="T86" fmla="*/ 152 w 1806"/>
                <a:gd name="T87" fmla="*/ 18 h 1806"/>
                <a:gd name="T88" fmla="*/ 155 w 1806"/>
                <a:gd name="T89" fmla="*/ 37 h 1806"/>
                <a:gd name="T90" fmla="*/ 146 w 1806"/>
                <a:gd name="T91" fmla="*/ 66 h 1806"/>
                <a:gd name="T92" fmla="*/ 143 w 1806"/>
                <a:gd name="T93" fmla="*/ 88 h 1806"/>
                <a:gd name="T94" fmla="*/ 144 w 1806"/>
                <a:gd name="T95" fmla="*/ 98 h 1806"/>
                <a:gd name="T96" fmla="*/ 137 w 1806"/>
                <a:gd name="T97" fmla="*/ 118 h 1806"/>
                <a:gd name="T98" fmla="*/ 132 w 1806"/>
                <a:gd name="T99" fmla="*/ 129 h 1806"/>
                <a:gd name="T100" fmla="*/ 124 w 1806"/>
                <a:gd name="T101" fmla="*/ 135 h 1806"/>
                <a:gd name="T102" fmla="*/ 119 w 1806"/>
                <a:gd name="T103" fmla="*/ 136 h 1806"/>
                <a:gd name="T104" fmla="*/ 116 w 1806"/>
                <a:gd name="T105" fmla="*/ 137 h 1806"/>
                <a:gd name="T106" fmla="*/ 112 w 1806"/>
                <a:gd name="T107" fmla="*/ 139 h 1806"/>
                <a:gd name="T108" fmla="*/ 112 w 1806"/>
                <a:gd name="T109" fmla="*/ 141 h 1806"/>
                <a:gd name="T110" fmla="*/ 116 w 1806"/>
                <a:gd name="T111" fmla="*/ 146 h 1806"/>
                <a:gd name="T112" fmla="*/ 116 w 1806"/>
                <a:gd name="T113" fmla="*/ 151 h 1806"/>
                <a:gd name="T114" fmla="*/ 113 w 1806"/>
                <a:gd name="T115" fmla="*/ 153 h 18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6"/>
                <a:gd name="T175" fmla="*/ 0 h 1806"/>
                <a:gd name="T176" fmla="*/ 1806 w 1806"/>
                <a:gd name="T177" fmla="*/ 1806 h 18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6" h="1806">
                  <a:moveTo>
                    <a:pt x="1260" y="1776"/>
                  </a:moveTo>
                  <a:lnTo>
                    <a:pt x="1254" y="1776"/>
                  </a:lnTo>
                  <a:lnTo>
                    <a:pt x="1248" y="1776"/>
                  </a:lnTo>
                  <a:lnTo>
                    <a:pt x="1242" y="1782"/>
                  </a:lnTo>
                  <a:lnTo>
                    <a:pt x="1236" y="1782"/>
                  </a:lnTo>
                  <a:lnTo>
                    <a:pt x="1230" y="1788"/>
                  </a:lnTo>
                  <a:lnTo>
                    <a:pt x="1224" y="1782"/>
                  </a:lnTo>
                  <a:lnTo>
                    <a:pt x="1218" y="1782"/>
                  </a:lnTo>
                  <a:lnTo>
                    <a:pt x="1218" y="1788"/>
                  </a:lnTo>
                  <a:lnTo>
                    <a:pt x="1212" y="1788"/>
                  </a:lnTo>
                  <a:lnTo>
                    <a:pt x="1206" y="1788"/>
                  </a:lnTo>
                  <a:lnTo>
                    <a:pt x="1206" y="1794"/>
                  </a:lnTo>
                  <a:lnTo>
                    <a:pt x="1200" y="1806"/>
                  </a:lnTo>
                  <a:lnTo>
                    <a:pt x="1194" y="1800"/>
                  </a:lnTo>
                  <a:lnTo>
                    <a:pt x="1194" y="1794"/>
                  </a:lnTo>
                  <a:lnTo>
                    <a:pt x="1194" y="1788"/>
                  </a:lnTo>
                  <a:lnTo>
                    <a:pt x="1188" y="1788"/>
                  </a:lnTo>
                  <a:lnTo>
                    <a:pt x="1188" y="1782"/>
                  </a:lnTo>
                  <a:lnTo>
                    <a:pt x="1188" y="1776"/>
                  </a:lnTo>
                  <a:lnTo>
                    <a:pt x="1194" y="1770"/>
                  </a:lnTo>
                  <a:lnTo>
                    <a:pt x="1194" y="1764"/>
                  </a:lnTo>
                  <a:lnTo>
                    <a:pt x="1194" y="1758"/>
                  </a:lnTo>
                  <a:lnTo>
                    <a:pt x="1194" y="1752"/>
                  </a:lnTo>
                  <a:lnTo>
                    <a:pt x="1200" y="1746"/>
                  </a:lnTo>
                  <a:lnTo>
                    <a:pt x="1200" y="1740"/>
                  </a:lnTo>
                  <a:lnTo>
                    <a:pt x="1200" y="1734"/>
                  </a:lnTo>
                  <a:lnTo>
                    <a:pt x="1188" y="1722"/>
                  </a:lnTo>
                  <a:lnTo>
                    <a:pt x="1188" y="1716"/>
                  </a:lnTo>
                  <a:lnTo>
                    <a:pt x="1194" y="1704"/>
                  </a:lnTo>
                  <a:lnTo>
                    <a:pt x="1194" y="1692"/>
                  </a:lnTo>
                  <a:lnTo>
                    <a:pt x="1200" y="1680"/>
                  </a:lnTo>
                  <a:lnTo>
                    <a:pt x="1200" y="1662"/>
                  </a:lnTo>
                  <a:lnTo>
                    <a:pt x="1200" y="1650"/>
                  </a:lnTo>
                  <a:lnTo>
                    <a:pt x="1206" y="1644"/>
                  </a:lnTo>
                  <a:lnTo>
                    <a:pt x="1206" y="1638"/>
                  </a:lnTo>
                  <a:lnTo>
                    <a:pt x="1206" y="1626"/>
                  </a:lnTo>
                  <a:lnTo>
                    <a:pt x="1206" y="1620"/>
                  </a:lnTo>
                  <a:lnTo>
                    <a:pt x="1206" y="1614"/>
                  </a:lnTo>
                  <a:lnTo>
                    <a:pt x="1200" y="1608"/>
                  </a:lnTo>
                  <a:lnTo>
                    <a:pt x="1200" y="1602"/>
                  </a:lnTo>
                  <a:lnTo>
                    <a:pt x="1200" y="1596"/>
                  </a:lnTo>
                  <a:lnTo>
                    <a:pt x="1200" y="1590"/>
                  </a:lnTo>
                  <a:lnTo>
                    <a:pt x="1200" y="1572"/>
                  </a:lnTo>
                  <a:lnTo>
                    <a:pt x="1200" y="1566"/>
                  </a:lnTo>
                  <a:lnTo>
                    <a:pt x="1200" y="1560"/>
                  </a:lnTo>
                  <a:lnTo>
                    <a:pt x="1194" y="1554"/>
                  </a:lnTo>
                  <a:lnTo>
                    <a:pt x="1188" y="1548"/>
                  </a:lnTo>
                  <a:lnTo>
                    <a:pt x="1188" y="1542"/>
                  </a:lnTo>
                  <a:lnTo>
                    <a:pt x="1176" y="1536"/>
                  </a:lnTo>
                  <a:lnTo>
                    <a:pt x="1176" y="1530"/>
                  </a:lnTo>
                  <a:lnTo>
                    <a:pt x="1170" y="1524"/>
                  </a:lnTo>
                  <a:lnTo>
                    <a:pt x="1170" y="1518"/>
                  </a:lnTo>
                  <a:lnTo>
                    <a:pt x="1164" y="1512"/>
                  </a:lnTo>
                  <a:lnTo>
                    <a:pt x="1158" y="1506"/>
                  </a:lnTo>
                  <a:lnTo>
                    <a:pt x="1152" y="1500"/>
                  </a:lnTo>
                  <a:lnTo>
                    <a:pt x="1146" y="1494"/>
                  </a:lnTo>
                  <a:lnTo>
                    <a:pt x="1140" y="1488"/>
                  </a:lnTo>
                  <a:lnTo>
                    <a:pt x="1134" y="1482"/>
                  </a:lnTo>
                  <a:lnTo>
                    <a:pt x="1128" y="1476"/>
                  </a:lnTo>
                  <a:lnTo>
                    <a:pt x="1122" y="1470"/>
                  </a:lnTo>
                  <a:lnTo>
                    <a:pt x="1116" y="1464"/>
                  </a:lnTo>
                  <a:lnTo>
                    <a:pt x="1110" y="1464"/>
                  </a:lnTo>
                  <a:lnTo>
                    <a:pt x="1104" y="1458"/>
                  </a:lnTo>
                  <a:lnTo>
                    <a:pt x="1098" y="1464"/>
                  </a:lnTo>
                  <a:lnTo>
                    <a:pt x="1092" y="1464"/>
                  </a:lnTo>
                  <a:lnTo>
                    <a:pt x="1086" y="1446"/>
                  </a:lnTo>
                  <a:lnTo>
                    <a:pt x="1086" y="1440"/>
                  </a:lnTo>
                  <a:lnTo>
                    <a:pt x="1080" y="1416"/>
                  </a:lnTo>
                  <a:lnTo>
                    <a:pt x="1068" y="1404"/>
                  </a:lnTo>
                  <a:lnTo>
                    <a:pt x="1062" y="1398"/>
                  </a:lnTo>
                  <a:lnTo>
                    <a:pt x="1056" y="1398"/>
                  </a:lnTo>
                  <a:lnTo>
                    <a:pt x="1050" y="1398"/>
                  </a:lnTo>
                  <a:lnTo>
                    <a:pt x="1044" y="1398"/>
                  </a:lnTo>
                  <a:lnTo>
                    <a:pt x="1044" y="1392"/>
                  </a:lnTo>
                  <a:lnTo>
                    <a:pt x="1038" y="1392"/>
                  </a:lnTo>
                  <a:lnTo>
                    <a:pt x="1032" y="1392"/>
                  </a:lnTo>
                  <a:lnTo>
                    <a:pt x="1020" y="1386"/>
                  </a:lnTo>
                  <a:lnTo>
                    <a:pt x="1014" y="1386"/>
                  </a:lnTo>
                  <a:lnTo>
                    <a:pt x="1014" y="1380"/>
                  </a:lnTo>
                  <a:lnTo>
                    <a:pt x="1008" y="1380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62"/>
                  </a:lnTo>
                  <a:lnTo>
                    <a:pt x="984" y="1356"/>
                  </a:lnTo>
                  <a:lnTo>
                    <a:pt x="978" y="1356"/>
                  </a:lnTo>
                  <a:lnTo>
                    <a:pt x="972" y="1356"/>
                  </a:lnTo>
                  <a:lnTo>
                    <a:pt x="966" y="1356"/>
                  </a:lnTo>
                  <a:lnTo>
                    <a:pt x="966" y="1350"/>
                  </a:lnTo>
                  <a:lnTo>
                    <a:pt x="948" y="1350"/>
                  </a:lnTo>
                  <a:lnTo>
                    <a:pt x="936" y="1344"/>
                  </a:lnTo>
                  <a:lnTo>
                    <a:pt x="930" y="1338"/>
                  </a:lnTo>
                  <a:lnTo>
                    <a:pt x="918" y="1332"/>
                  </a:lnTo>
                  <a:lnTo>
                    <a:pt x="900" y="1326"/>
                  </a:lnTo>
                  <a:lnTo>
                    <a:pt x="864" y="1332"/>
                  </a:lnTo>
                  <a:lnTo>
                    <a:pt x="828" y="1332"/>
                  </a:lnTo>
                  <a:lnTo>
                    <a:pt x="792" y="1314"/>
                  </a:lnTo>
                  <a:lnTo>
                    <a:pt x="780" y="1314"/>
                  </a:lnTo>
                  <a:lnTo>
                    <a:pt x="780" y="1308"/>
                  </a:lnTo>
                  <a:lnTo>
                    <a:pt x="756" y="1296"/>
                  </a:lnTo>
                  <a:lnTo>
                    <a:pt x="756" y="1278"/>
                  </a:lnTo>
                  <a:lnTo>
                    <a:pt x="768" y="1278"/>
                  </a:lnTo>
                  <a:lnTo>
                    <a:pt x="774" y="1272"/>
                  </a:lnTo>
                  <a:lnTo>
                    <a:pt x="780" y="1266"/>
                  </a:lnTo>
                  <a:lnTo>
                    <a:pt x="786" y="1260"/>
                  </a:lnTo>
                  <a:lnTo>
                    <a:pt x="792" y="1254"/>
                  </a:lnTo>
                  <a:lnTo>
                    <a:pt x="798" y="1242"/>
                  </a:lnTo>
                  <a:lnTo>
                    <a:pt x="804" y="1242"/>
                  </a:lnTo>
                  <a:lnTo>
                    <a:pt x="804" y="1206"/>
                  </a:lnTo>
                  <a:lnTo>
                    <a:pt x="804" y="1182"/>
                  </a:lnTo>
                  <a:lnTo>
                    <a:pt x="804" y="1158"/>
                  </a:lnTo>
                  <a:lnTo>
                    <a:pt x="804" y="1134"/>
                  </a:lnTo>
                  <a:lnTo>
                    <a:pt x="798" y="1116"/>
                  </a:lnTo>
                  <a:lnTo>
                    <a:pt x="792" y="1092"/>
                  </a:lnTo>
                  <a:lnTo>
                    <a:pt x="786" y="1062"/>
                  </a:lnTo>
                  <a:lnTo>
                    <a:pt x="768" y="1032"/>
                  </a:lnTo>
                  <a:lnTo>
                    <a:pt x="762" y="1032"/>
                  </a:lnTo>
                  <a:lnTo>
                    <a:pt x="762" y="1020"/>
                  </a:lnTo>
                  <a:lnTo>
                    <a:pt x="762" y="1014"/>
                  </a:lnTo>
                  <a:lnTo>
                    <a:pt x="756" y="1008"/>
                  </a:lnTo>
                  <a:lnTo>
                    <a:pt x="750" y="1002"/>
                  </a:lnTo>
                  <a:lnTo>
                    <a:pt x="738" y="1002"/>
                  </a:lnTo>
                  <a:lnTo>
                    <a:pt x="738" y="990"/>
                  </a:lnTo>
                  <a:lnTo>
                    <a:pt x="726" y="990"/>
                  </a:lnTo>
                  <a:lnTo>
                    <a:pt x="726" y="978"/>
                  </a:lnTo>
                  <a:lnTo>
                    <a:pt x="732" y="972"/>
                  </a:lnTo>
                  <a:lnTo>
                    <a:pt x="732" y="966"/>
                  </a:lnTo>
                  <a:lnTo>
                    <a:pt x="726" y="966"/>
                  </a:lnTo>
                  <a:lnTo>
                    <a:pt x="732" y="948"/>
                  </a:lnTo>
                  <a:lnTo>
                    <a:pt x="726" y="942"/>
                  </a:lnTo>
                  <a:lnTo>
                    <a:pt x="726" y="930"/>
                  </a:lnTo>
                  <a:lnTo>
                    <a:pt x="720" y="924"/>
                  </a:lnTo>
                  <a:lnTo>
                    <a:pt x="714" y="912"/>
                  </a:lnTo>
                  <a:lnTo>
                    <a:pt x="714" y="882"/>
                  </a:lnTo>
                  <a:lnTo>
                    <a:pt x="714" y="870"/>
                  </a:lnTo>
                  <a:lnTo>
                    <a:pt x="714" y="858"/>
                  </a:lnTo>
                  <a:lnTo>
                    <a:pt x="714" y="846"/>
                  </a:lnTo>
                  <a:lnTo>
                    <a:pt x="708" y="822"/>
                  </a:lnTo>
                  <a:lnTo>
                    <a:pt x="702" y="798"/>
                  </a:lnTo>
                  <a:lnTo>
                    <a:pt x="696" y="792"/>
                  </a:lnTo>
                  <a:lnTo>
                    <a:pt x="684" y="726"/>
                  </a:lnTo>
                  <a:lnTo>
                    <a:pt x="678" y="666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66" y="600"/>
                  </a:lnTo>
                  <a:lnTo>
                    <a:pt x="660" y="594"/>
                  </a:lnTo>
                  <a:lnTo>
                    <a:pt x="654" y="594"/>
                  </a:lnTo>
                  <a:lnTo>
                    <a:pt x="636" y="582"/>
                  </a:lnTo>
                  <a:lnTo>
                    <a:pt x="630" y="576"/>
                  </a:lnTo>
                  <a:lnTo>
                    <a:pt x="624" y="576"/>
                  </a:lnTo>
                  <a:lnTo>
                    <a:pt x="618" y="570"/>
                  </a:lnTo>
                  <a:lnTo>
                    <a:pt x="612" y="564"/>
                  </a:lnTo>
                  <a:lnTo>
                    <a:pt x="606" y="558"/>
                  </a:lnTo>
                  <a:lnTo>
                    <a:pt x="606" y="564"/>
                  </a:lnTo>
                  <a:lnTo>
                    <a:pt x="600" y="564"/>
                  </a:lnTo>
                  <a:lnTo>
                    <a:pt x="594" y="558"/>
                  </a:lnTo>
                  <a:lnTo>
                    <a:pt x="594" y="540"/>
                  </a:lnTo>
                  <a:lnTo>
                    <a:pt x="594" y="528"/>
                  </a:lnTo>
                  <a:lnTo>
                    <a:pt x="594" y="516"/>
                  </a:lnTo>
                  <a:lnTo>
                    <a:pt x="594" y="510"/>
                  </a:lnTo>
                  <a:lnTo>
                    <a:pt x="594" y="492"/>
                  </a:lnTo>
                  <a:lnTo>
                    <a:pt x="594" y="456"/>
                  </a:lnTo>
                  <a:lnTo>
                    <a:pt x="588" y="414"/>
                  </a:lnTo>
                  <a:lnTo>
                    <a:pt x="588" y="408"/>
                  </a:lnTo>
                  <a:lnTo>
                    <a:pt x="582" y="396"/>
                  </a:lnTo>
                  <a:lnTo>
                    <a:pt x="582" y="384"/>
                  </a:lnTo>
                  <a:lnTo>
                    <a:pt x="582" y="372"/>
                  </a:lnTo>
                  <a:lnTo>
                    <a:pt x="564" y="372"/>
                  </a:lnTo>
                  <a:lnTo>
                    <a:pt x="552" y="366"/>
                  </a:lnTo>
                  <a:lnTo>
                    <a:pt x="552" y="372"/>
                  </a:lnTo>
                  <a:lnTo>
                    <a:pt x="498" y="372"/>
                  </a:lnTo>
                  <a:lnTo>
                    <a:pt x="498" y="366"/>
                  </a:lnTo>
                  <a:lnTo>
                    <a:pt x="474" y="360"/>
                  </a:lnTo>
                  <a:lnTo>
                    <a:pt x="456" y="354"/>
                  </a:lnTo>
                  <a:lnTo>
                    <a:pt x="438" y="348"/>
                  </a:lnTo>
                  <a:lnTo>
                    <a:pt x="426" y="354"/>
                  </a:lnTo>
                  <a:lnTo>
                    <a:pt x="408" y="360"/>
                  </a:lnTo>
                  <a:lnTo>
                    <a:pt x="378" y="360"/>
                  </a:lnTo>
                  <a:lnTo>
                    <a:pt x="378" y="354"/>
                  </a:lnTo>
                  <a:lnTo>
                    <a:pt x="378" y="348"/>
                  </a:lnTo>
                  <a:lnTo>
                    <a:pt x="378" y="342"/>
                  </a:lnTo>
                  <a:lnTo>
                    <a:pt x="390" y="330"/>
                  </a:lnTo>
                  <a:lnTo>
                    <a:pt x="396" y="312"/>
                  </a:lnTo>
                  <a:lnTo>
                    <a:pt x="396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8"/>
                  </a:lnTo>
                  <a:lnTo>
                    <a:pt x="372" y="234"/>
                  </a:lnTo>
                  <a:lnTo>
                    <a:pt x="354" y="234"/>
                  </a:lnTo>
                  <a:lnTo>
                    <a:pt x="342" y="246"/>
                  </a:lnTo>
                  <a:lnTo>
                    <a:pt x="330" y="252"/>
                  </a:lnTo>
                  <a:lnTo>
                    <a:pt x="318" y="252"/>
                  </a:lnTo>
                  <a:lnTo>
                    <a:pt x="276" y="258"/>
                  </a:lnTo>
                  <a:lnTo>
                    <a:pt x="276" y="264"/>
                  </a:lnTo>
                  <a:lnTo>
                    <a:pt x="252" y="270"/>
                  </a:lnTo>
                  <a:lnTo>
                    <a:pt x="240" y="270"/>
                  </a:lnTo>
                  <a:lnTo>
                    <a:pt x="228" y="276"/>
                  </a:lnTo>
                  <a:lnTo>
                    <a:pt x="210" y="282"/>
                  </a:lnTo>
                  <a:lnTo>
                    <a:pt x="198" y="288"/>
                  </a:lnTo>
                  <a:lnTo>
                    <a:pt x="186" y="294"/>
                  </a:lnTo>
                  <a:lnTo>
                    <a:pt x="174" y="330"/>
                  </a:lnTo>
                  <a:lnTo>
                    <a:pt x="162" y="342"/>
                  </a:lnTo>
                  <a:lnTo>
                    <a:pt x="156" y="354"/>
                  </a:lnTo>
                  <a:lnTo>
                    <a:pt x="150" y="360"/>
                  </a:lnTo>
                  <a:lnTo>
                    <a:pt x="150" y="366"/>
                  </a:lnTo>
                  <a:lnTo>
                    <a:pt x="108" y="372"/>
                  </a:lnTo>
                  <a:lnTo>
                    <a:pt x="60" y="378"/>
                  </a:lnTo>
                  <a:lnTo>
                    <a:pt x="42" y="378"/>
                  </a:lnTo>
                  <a:lnTo>
                    <a:pt x="12" y="378"/>
                  </a:lnTo>
                  <a:lnTo>
                    <a:pt x="6" y="378"/>
                  </a:lnTo>
                  <a:lnTo>
                    <a:pt x="0" y="366"/>
                  </a:lnTo>
                  <a:lnTo>
                    <a:pt x="12" y="360"/>
                  </a:lnTo>
                  <a:lnTo>
                    <a:pt x="24" y="348"/>
                  </a:lnTo>
                  <a:lnTo>
                    <a:pt x="30" y="342"/>
                  </a:lnTo>
                  <a:lnTo>
                    <a:pt x="36" y="330"/>
                  </a:lnTo>
                  <a:lnTo>
                    <a:pt x="72" y="300"/>
                  </a:lnTo>
                  <a:lnTo>
                    <a:pt x="78" y="294"/>
                  </a:lnTo>
                  <a:lnTo>
                    <a:pt x="78" y="288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96" y="270"/>
                  </a:lnTo>
                  <a:lnTo>
                    <a:pt x="102" y="264"/>
                  </a:lnTo>
                  <a:lnTo>
                    <a:pt x="108" y="258"/>
                  </a:lnTo>
                  <a:lnTo>
                    <a:pt x="114" y="246"/>
                  </a:lnTo>
                  <a:lnTo>
                    <a:pt x="120" y="240"/>
                  </a:lnTo>
                  <a:lnTo>
                    <a:pt x="126" y="234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0" y="210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86" y="174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22" y="138"/>
                  </a:lnTo>
                  <a:lnTo>
                    <a:pt x="234" y="132"/>
                  </a:lnTo>
                  <a:lnTo>
                    <a:pt x="246" y="126"/>
                  </a:lnTo>
                  <a:lnTo>
                    <a:pt x="246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88" y="102"/>
                  </a:lnTo>
                  <a:lnTo>
                    <a:pt x="300" y="96"/>
                  </a:lnTo>
                  <a:lnTo>
                    <a:pt x="306" y="90"/>
                  </a:lnTo>
                  <a:lnTo>
                    <a:pt x="318" y="90"/>
                  </a:lnTo>
                  <a:lnTo>
                    <a:pt x="324" y="84"/>
                  </a:lnTo>
                  <a:lnTo>
                    <a:pt x="348" y="72"/>
                  </a:lnTo>
                  <a:lnTo>
                    <a:pt x="354" y="72"/>
                  </a:lnTo>
                  <a:lnTo>
                    <a:pt x="384" y="66"/>
                  </a:lnTo>
                  <a:lnTo>
                    <a:pt x="390" y="66"/>
                  </a:lnTo>
                  <a:lnTo>
                    <a:pt x="396" y="66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66"/>
                  </a:lnTo>
                  <a:lnTo>
                    <a:pt x="438" y="66"/>
                  </a:lnTo>
                  <a:lnTo>
                    <a:pt x="468" y="66"/>
                  </a:lnTo>
                  <a:lnTo>
                    <a:pt x="480" y="66"/>
                  </a:lnTo>
                  <a:lnTo>
                    <a:pt x="486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22" y="60"/>
                  </a:lnTo>
                  <a:lnTo>
                    <a:pt x="534" y="54"/>
                  </a:lnTo>
                  <a:lnTo>
                    <a:pt x="564" y="42"/>
                  </a:lnTo>
                  <a:lnTo>
                    <a:pt x="570" y="42"/>
                  </a:lnTo>
                  <a:lnTo>
                    <a:pt x="582" y="36"/>
                  </a:lnTo>
                  <a:lnTo>
                    <a:pt x="588" y="36"/>
                  </a:lnTo>
                  <a:lnTo>
                    <a:pt x="600" y="30"/>
                  </a:lnTo>
                  <a:lnTo>
                    <a:pt x="606" y="30"/>
                  </a:lnTo>
                  <a:lnTo>
                    <a:pt x="618" y="24"/>
                  </a:lnTo>
                  <a:lnTo>
                    <a:pt x="642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72" y="12"/>
                  </a:lnTo>
                  <a:lnTo>
                    <a:pt x="696" y="12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50" y="6"/>
                  </a:lnTo>
                  <a:lnTo>
                    <a:pt x="768" y="6"/>
                  </a:lnTo>
                  <a:lnTo>
                    <a:pt x="774" y="6"/>
                  </a:lnTo>
                  <a:lnTo>
                    <a:pt x="786" y="6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6" y="6"/>
                  </a:lnTo>
                  <a:lnTo>
                    <a:pt x="846" y="6"/>
                  </a:lnTo>
                  <a:lnTo>
                    <a:pt x="852" y="0"/>
                  </a:lnTo>
                  <a:lnTo>
                    <a:pt x="876" y="0"/>
                  </a:lnTo>
                  <a:lnTo>
                    <a:pt x="876" y="6"/>
                  </a:lnTo>
                  <a:lnTo>
                    <a:pt x="888" y="0"/>
                  </a:lnTo>
                  <a:lnTo>
                    <a:pt x="900" y="0"/>
                  </a:lnTo>
                  <a:lnTo>
                    <a:pt x="906" y="0"/>
                  </a:lnTo>
                  <a:lnTo>
                    <a:pt x="912" y="0"/>
                  </a:lnTo>
                  <a:lnTo>
                    <a:pt x="948" y="0"/>
                  </a:lnTo>
                  <a:lnTo>
                    <a:pt x="954" y="0"/>
                  </a:lnTo>
                  <a:lnTo>
                    <a:pt x="972" y="0"/>
                  </a:lnTo>
                  <a:lnTo>
                    <a:pt x="978" y="0"/>
                  </a:lnTo>
                  <a:lnTo>
                    <a:pt x="996" y="0"/>
                  </a:lnTo>
                  <a:lnTo>
                    <a:pt x="1032" y="0"/>
                  </a:lnTo>
                  <a:lnTo>
                    <a:pt x="1044" y="0"/>
                  </a:lnTo>
                  <a:lnTo>
                    <a:pt x="1050" y="0"/>
                  </a:lnTo>
                  <a:lnTo>
                    <a:pt x="1056" y="6"/>
                  </a:lnTo>
                  <a:lnTo>
                    <a:pt x="1056" y="0"/>
                  </a:lnTo>
                  <a:lnTo>
                    <a:pt x="1074" y="0"/>
                  </a:lnTo>
                  <a:lnTo>
                    <a:pt x="1098" y="6"/>
                  </a:lnTo>
                  <a:lnTo>
                    <a:pt x="1116" y="6"/>
                  </a:lnTo>
                  <a:lnTo>
                    <a:pt x="1140" y="12"/>
                  </a:lnTo>
                  <a:lnTo>
                    <a:pt x="1152" y="12"/>
                  </a:lnTo>
                  <a:lnTo>
                    <a:pt x="1158" y="12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6" y="12"/>
                  </a:lnTo>
                  <a:lnTo>
                    <a:pt x="1194" y="18"/>
                  </a:lnTo>
                  <a:lnTo>
                    <a:pt x="1206" y="18"/>
                  </a:lnTo>
                  <a:lnTo>
                    <a:pt x="1242" y="36"/>
                  </a:lnTo>
                  <a:lnTo>
                    <a:pt x="1248" y="36"/>
                  </a:lnTo>
                  <a:lnTo>
                    <a:pt x="1254" y="36"/>
                  </a:lnTo>
                  <a:lnTo>
                    <a:pt x="1260" y="42"/>
                  </a:lnTo>
                  <a:lnTo>
                    <a:pt x="1272" y="48"/>
                  </a:lnTo>
                  <a:lnTo>
                    <a:pt x="1278" y="48"/>
                  </a:lnTo>
                  <a:lnTo>
                    <a:pt x="1284" y="48"/>
                  </a:lnTo>
                  <a:lnTo>
                    <a:pt x="1290" y="54"/>
                  </a:lnTo>
                  <a:lnTo>
                    <a:pt x="1308" y="60"/>
                  </a:lnTo>
                  <a:lnTo>
                    <a:pt x="1326" y="60"/>
                  </a:lnTo>
                  <a:lnTo>
                    <a:pt x="1338" y="66"/>
                  </a:lnTo>
                  <a:lnTo>
                    <a:pt x="1344" y="66"/>
                  </a:lnTo>
                  <a:lnTo>
                    <a:pt x="1350" y="66"/>
                  </a:lnTo>
                  <a:lnTo>
                    <a:pt x="1356" y="66"/>
                  </a:lnTo>
                  <a:lnTo>
                    <a:pt x="1362" y="72"/>
                  </a:lnTo>
                  <a:lnTo>
                    <a:pt x="1368" y="72"/>
                  </a:lnTo>
                  <a:lnTo>
                    <a:pt x="1380" y="72"/>
                  </a:lnTo>
                  <a:lnTo>
                    <a:pt x="1386" y="72"/>
                  </a:lnTo>
                  <a:lnTo>
                    <a:pt x="1422" y="84"/>
                  </a:lnTo>
                  <a:lnTo>
                    <a:pt x="1428" y="84"/>
                  </a:lnTo>
                  <a:lnTo>
                    <a:pt x="1446" y="90"/>
                  </a:lnTo>
                  <a:lnTo>
                    <a:pt x="1458" y="102"/>
                  </a:lnTo>
                  <a:lnTo>
                    <a:pt x="1494" y="126"/>
                  </a:lnTo>
                  <a:lnTo>
                    <a:pt x="1500" y="132"/>
                  </a:lnTo>
                  <a:lnTo>
                    <a:pt x="1512" y="138"/>
                  </a:lnTo>
                  <a:lnTo>
                    <a:pt x="1512" y="144"/>
                  </a:lnTo>
                  <a:lnTo>
                    <a:pt x="1518" y="150"/>
                  </a:lnTo>
                  <a:lnTo>
                    <a:pt x="1530" y="156"/>
                  </a:lnTo>
                  <a:lnTo>
                    <a:pt x="1530" y="162"/>
                  </a:lnTo>
                  <a:lnTo>
                    <a:pt x="1548" y="168"/>
                  </a:lnTo>
                  <a:lnTo>
                    <a:pt x="1566" y="180"/>
                  </a:lnTo>
                  <a:lnTo>
                    <a:pt x="1578" y="186"/>
                  </a:lnTo>
                  <a:lnTo>
                    <a:pt x="1578" y="180"/>
                  </a:lnTo>
                  <a:lnTo>
                    <a:pt x="1584" y="186"/>
                  </a:lnTo>
                  <a:lnTo>
                    <a:pt x="1584" y="174"/>
                  </a:lnTo>
                  <a:lnTo>
                    <a:pt x="1590" y="174"/>
                  </a:lnTo>
                  <a:lnTo>
                    <a:pt x="1590" y="180"/>
                  </a:lnTo>
                  <a:lnTo>
                    <a:pt x="1596" y="180"/>
                  </a:lnTo>
                  <a:lnTo>
                    <a:pt x="1596" y="174"/>
                  </a:lnTo>
                  <a:lnTo>
                    <a:pt x="1602" y="174"/>
                  </a:lnTo>
                  <a:lnTo>
                    <a:pt x="1608" y="174"/>
                  </a:lnTo>
                  <a:lnTo>
                    <a:pt x="1614" y="180"/>
                  </a:lnTo>
                  <a:lnTo>
                    <a:pt x="1620" y="174"/>
                  </a:lnTo>
                  <a:lnTo>
                    <a:pt x="1614" y="168"/>
                  </a:lnTo>
                  <a:lnTo>
                    <a:pt x="1614" y="162"/>
                  </a:lnTo>
                  <a:lnTo>
                    <a:pt x="1620" y="162"/>
                  </a:lnTo>
                  <a:lnTo>
                    <a:pt x="1626" y="162"/>
                  </a:lnTo>
                  <a:lnTo>
                    <a:pt x="1632" y="162"/>
                  </a:lnTo>
                  <a:lnTo>
                    <a:pt x="1638" y="168"/>
                  </a:lnTo>
                  <a:lnTo>
                    <a:pt x="1644" y="168"/>
                  </a:lnTo>
                  <a:lnTo>
                    <a:pt x="1650" y="174"/>
                  </a:lnTo>
                  <a:lnTo>
                    <a:pt x="1656" y="168"/>
                  </a:lnTo>
                  <a:lnTo>
                    <a:pt x="1668" y="168"/>
                  </a:lnTo>
                  <a:lnTo>
                    <a:pt x="1674" y="174"/>
                  </a:lnTo>
                  <a:lnTo>
                    <a:pt x="1674" y="180"/>
                  </a:lnTo>
                  <a:lnTo>
                    <a:pt x="1674" y="186"/>
                  </a:lnTo>
                  <a:lnTo>
                    <a:pt x="1680" y="186"/>
                  </a:lnTo>
                  <a:lnTo>
                    <a:pt x="1680" y="192"/>
                  </a:lnTo>
                  <a:lnTo>
                    <a:pt x="1686" y="192"/>
                  </a:lnTo>
                  <a:lnTo>
                    <a:pt x="1686" y="186"/>
                  </a:lnTo>
                  <a:lnTo>
                    <a:pt x="1680" y="186"/>
                  </a:lnTo>
                  <a:lnTo>
                    <a:pt x="1686" y="180"/>
                  </a:lnTo>
                  <a:lnTo>
                    <a:pt x="1692" y="180"/>
                  </a:lnTo>
                  <a:lnTo>
                    <a:pt x="1698" y="180"/>
                  </a:lnTo>
                  <a:lnTo>
                    <a:pt x="1704" y="180"/>
                  </a:lnTo>
                  <a:lnTo>
                    <a:pt x="1704" y="186"/>
                  </a:lnTo>
                  <a:lnTo>
                    <a:pt x="1710" y="186"/>
                  </a:lnTo>
                  <a:lnTo>
                    <a:pt x="1716" y="186"/>
                  </a:lnTo>
                  <a:lnTo>
                    <a:pt x="1716" y="192"/>
                  </a:lnTo>
                  <a:lnTo>
                    <a:pt x="1716" y="198"/>
                  </a:lnTo>
                  <a:lnTo>
                    <a:pt x="1722" y="192"/>
                  </a:lnTo>
                  <a:lnTo>
                    <a:pt x="1722" y="186"/>
                  </a:lnTo>
                  <a:lnTo>
                    <a:pt x="1728" y="192"/>
                  </a:lnTo>
                  <a:lnTo>
                    <a:pt x="1734" y="192"/>
                  </a:lnTo>
                  <a:lnTo>
                    <a:pt x="1734" y="186"/>
                  </a:lnTo>
                  <a:lnTo>
                    <a:pt x="1740" y="186"/>
                  </a:lnTo>
                  <a:lnTo>
                    <a:pt x="1740" y="192"/>
                  </a:lnTo>
                  <a:lnTo>
                    <a:pt x="1746" y="192"/>
                  </a:lnTo>
                  <a:lnTo>
                    <a:pt x="1758" y="192"/>
                  </a:lnTo>
                  <a:lnTo>
                    <a:pt x="1764" y="192"/>
                  </a:lnTo>
                  <a:lnTo>
                    <a:pt x="1764" y="198"/>
                  </a:lnTo>
                  <a:lnTo>
                    <a:pt x="1758" y="204"/>
                  </a:lnTo>
                  <a:lnTo>
                    <a:pt x="1752" y="210"/>
                  </a:lnTo>
                  <a:lnTo>
                    <a:pt x="1746" y="216"/>
                  </a:lnTo>
                  <a:lnTo>
                    <a:pt x="1746" y="222"/>
                  </a:lnTo>
                  <a:lnTo>
                    <a:pt x="1734" y="228"/>
                  </a:lnTo>
                  <a:lnTo>
                    <a:pt x="1734" y="234"/>
                  </a:lnTo>
                  <a:lnTo>
                    <a:pt x="1734" y="258"/>
                  </a:lnTo>
                  <a:lnTo>
                    <a:pt x="1740" y="330"/>
                  </a:lnTo>
                  <a:lnTo>
                    <a:pt x="1746" y="372"/>
                  </a:lnTo>
                  <a:lnTo>
                    <a:pt x="1788" y="426"/>
                  </a:lnTo>
                  <a:lnTo>
                    <a:pt x="1806" y="438"/>
                  </a:lnTo>
                  <a:lnTo>
                    <a:pt x="1794" y="480"/>
                  </a:lnTo>
                  <a:lnTo>
                    <a:pt x="1770" y="516"/>
                  </a:lnTo>
                  <a:lnTo>
                    <a:pt x="1746" y="546"/>
                  </a:lnTo>
                  <a:lnTo>
                    <a:pt x="1716" y="570"/>
                  </a:lnTo>
                  <a:lnTo>
                    <a:pt x="1680" y="594"/>
                  </a:lnTo>
                  <a:lnTo>
                    <a:pt x="1668" y="630"/>
                  </a:lnTo>
                  <a:lnTo>
                    <a:pt x="1680" y="684"/>
                  </a:lnTo>
                  <a:lnTo>
                    <a:pt x="1686" y="756"/>
                  </a:lnTo>
                  <a:lnTo>
                    <a:pt x="1662" y="870"/>
                  </a:lnTo>
                  <a:lnTo>
                    <a:pt x="1656" y="888"/>
                  </a:lnTo>
                  <a:lnTo>
                    <a:pt x="1650" y="972"/>
                  </a:lnTo>
                  <a:lnTo>
                    <a:pt x="1656" y="978"/>
                  </a:lnTo>
                  <a:lnTo>
                    <a:pt x="1650" y="984"/>
                  </a:lnTo>
                  <a:lnTo>
                    <a:pt x="1650" y="990"/>
                  </a:lnTo>
                  <a:lnTo>
                    <a:pt x="1650" y="1002"/>
                  </a:lnTo>
                  <a:lnTo>
                    <a:pt x="1656" y="1008"/>
                  </a:lnTo>
                  <a:lnTo>
                    <a:pt x="1656" y="1014"/>
                  </a:lnTo>
                  <a:lnTo>
                    <a:pt x="1662" y="1026"/>
                  </a:lnTo>
                  <a:lnTo>
                    <a:pt x="1650" y="1032"/>
                  </a:lnTo>
                  <a:lnTo>
                    <a:pt x="1638" y="1044"/>
                  </a:lnTo>
                  <a:lnTo>
                    <a:pt x="1626" y="1080"/>
                  </a:lnTo>
                  <a:lnTo>
                    <a:pt x="1614" y="1116"/>
                  </a:lnTo>
                  <a:lnTo>
                    <a:pt x="1614" y="1128"/>
                  </a:lnTo>
                  <a:lnTo>
                    <a:pt x="1626" y="1134"/>
                  </a:lnTo>
                  <a:lnTo>
                    <a:pt x="1644" y="1134"/>
                  </a:lnTo>
                  <a:lnTo>
                    <a:pt x="1662" y="1134"/>
                  </a:lnTo>
                  <a:lnTo>
                    <a:pt x="1680" y="1140"/>
                  </a:lnTo>
                  <a:lnTo>
                    <a:pt x="1698" y="1170"/>
                  </a:lnTo>
                  <a:lnTo>
                    <a:pt x="1704" y="1194"/>
                  </a:lnTo>
                  <a:lnTo>
                    <a:pt x="1692" y="1206"/>
                  </a:lnTo>
                  <a:lnTo>
                    <a:pt x="1662" y="1242"/>
                  </a:lnTo>
                  <a:lnTo>
                    <a:pt x="1632" y="1266"/>
                  </a:lnTo>
                  <a:lnTo>
                    <a:pt x="1620" y="1314"/>
                  </a:lnTo>
                  <a:lnTo>
                    <a:pt x="1584" y="1356"/>
                  </a:lnTo>
                  <a:lnTo>
                    <a:pt x="1578" y="1356"/>
                  </a:lnTo>
                  <a:lnTo>
                    <a:pt x="1578" y="1362"/>
                  </a:lnTo>
                  <a:lnTo>
                    <a:pt x="1572" y="1410"/>
                  </a:lnTo>
                  <a:lnTo>
                    <a:pt x="1584" y="1452"/>
                  </a:lnTo>
                  <a:lnTo>
                    <a:pt x="1608" y="1476"/>
                  </a:lnTo>
                  <a:lnTo>
                    <a:pt x="1596" y="1476"/>
                  </a:lnTo>
                  <a:lnTo>
                    <a:pt x="1584" y="1482"/>
                  </a:lnTo>
                  <a:lnTo>
                    <a:pt x="1560" y="1482"/>
                  </a:lnTo>
                  <a:lnTo>
                    <a:pt x="1536" y="1482"/>
                  </a:lnTo>
                  <a:lnTo>
                    <a:pt x="1524" y="1482"/>
                  </a:lnTo>
                  <a:lnTo>
                    <a:pt x="1506" y="1500"/>
                  </a:lnTo>
                  <a:lnTo>
                    <a:pt x="1482" y="1530"/>
                  </a:lnTo>
                  <a:lnTo>
                    <a:pt x="1452" y="1542"/>
                  </a:lnTo>
                  <a:lnTo>
                    <a:pt x="1446" y="1542"/>
                  </a:lnTo>
                  <a:lnTo>
                    <a:pt x="1440" y="1542"/>
                  </a:lnTo>
                  <a:lnTo>
                    <a:pt x="1440" y="1548"/>
                  </a:lnTo>
                  <a:lnTo>
                    <a:pt x="1434" y="1548"/>
                  </a:lnTo>
                  <a:lnTo>
                    <a:pt x="1428" y="1548"/>
                  </a:lnTo>
                  <a:lnTo>
                    <a:pt x="1428" y="1554"/>
                  </a:lnTo>
                  <a:lnTo>
                    <a:pt x="1422" y="1560"/>
                  </a:lnTo>
                  <a:lnTo>
                    <a:pt x="1416" y="1560"/>
                  </a:lnTo>
                  <a:lnTo>
                    <a:pt x="1410" y="1566"/>
                  </a:lnTo>
                  <a:lnTo>
                    <a:pt x="1410" y="1560"/>
                  </a:lnTo>
                  <a:lnTo>
                    <a:pt x="1404" y="1560"/>
                  </a:lnTo>
                  <a:lnTo>
                    <a:pt x="1392" y="1560"/>
                  </a:lnTo>
                  <a:lnTo>
                    <a:pt x="1386" y="1560"/>
                  </a:lnTo>
                  <a:lnTo>
                    <a:pt x="1380" y="1566"/>
                  </a:lnTo>
                  <a:lnTo>
                    <a:pt x="1374" y="1560"/>
                  </a:lnTo>
                  <a:lnTo>
                    <a:pt x="1368" y="1566"/>
                  </a:lnTo>
                  <a:lnTo>
                    <a:pt x="1362" y="1566"/>
                  </a:lnTo>
                  <a:lnTo>
                    <a:pt x="1362" y="1572"/>
                  </a:lnTo>
                  <a:lnTo>
                    <a:pt x="1356" y="1572"/>
                  </a:lnTo>
                  <a:lnTo>
                    <a:pt x="1356" y="1578"/>
                  </a:lnTo>
                  <a:lnTo>
                    <a:pt x="1350" y="1578"/>
                  </a:lnTo>
                  <a:lnTo>
                    <a:pt x="1350" y="1572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32" y="1584"/>
                  </a:lnTo>
                  <a:lnTo>
                    <a:pt x="1326" y="1590"/>
                  </a:lnTo>
                  <a:lnTo>
                    <a:pt x="1320" y="1584"/>
                  </a:lnTo>
                  <a:lnTo>
                    <a:pt x="1314" y="1590"/>
                  </a:lnTo>
                  <a:lnTo>
                    <a:pt x="1308" y="1596"/>
                  </a:lnTo>
                  <a:lnTo>
                    <a:pt x="1302" y="1596"/>
                  </a:lnTo>
                  <a:lnTo>
                    <a:pt x="1296" y="1596"/>
                  </a:lnTo>
                  <a:lnTo>
                    <a:pt x="1290" y="1596"/>
                  </a:lnTo>
                  <a:lnTo>
                    <a:pt x="1284" y="1596"/>
                  </a:lnTo>
                  <a:lnTo>
                    <a:pt x="1278" y="1602"/>
                  </a:lnTo>
                  <a:lnTo>
                    <a:pt x="1266" y="1602"/>
                  </a:lnTo>
                  <a:lnTo>
                    <a:pt x="1272" y="1608"/>
                  </a:lnTo>
                  <a:lnTo>
                    <a:pt x="1278" y="1608"/>
                  </a:lnTo>
                  <a:lnTo>
                    <a:pt x="1284" y="1608"/>
                  </a:lnTo>
                  <a:lnTo>
                    <a:pt x="1290" y="1614"/>
                  </a:lnTo>
                  <a:lnTo>
                    <a:pt x="1296" y="1620"/>
                  </a:lnTo>
                  <a:lnTo>
                    <a:pt x="1302" y="1626"/>
                  </a:lnTo>
                  <a:lnTo>
                    <a:pt x="1308" y="1632"/>
                  </a:lnTo>
                  <a:lnTo>
                    <a:pt x="1314" y="1638"/>
                  </a:lnTo>
                  <a:lnTo>
                    <a:pt x="1314" y="1644"/>
                  </a:lnTo>
                  <a:lnTo>
                    <a:pt x="1320" y="1644"/>
                  </a:lnTo>
                  <a:lnTo>
                    <a:pt x="1320" y="1650"/>
                  </a:lnTo>
                  <a:lnTo>
                    <a:pt x="1326" y="1656"/>
                  </a:lnTo>
                  <a:lnTo>
                    <a:pt x="1332" y="1668"/>
                  </a:lnTo>
                  <a:lnTo>
                    <a:pt x="1338" y="1680"/>
                  </a:lnTo>
                  <a:lnTo>
                    <a:pt x="1338" y="1698"/>
                  </a:lnTo>
                  <a:lnTo>
                    <a:pt x="1350" y="1710"/>
                  </a:lnTo>
                  <a:lnTo>
                    <a:pt x="1350" y="1716"/>
                  </a:lnTo>
                  <a:lnTo>
                    <a:pt x="1350" y="1722"/>
                  </a:lnTo>
                  <a:lnTo>
                    <a:pt x="1350" y="1728"/>
                  </a:lnTo>
                  <a:lnTo>
                    <a:pt x="1356" y="1728"/>
                  </a:lnTo>
                  <a:lnTo>
                    <a:pt x="1356" y="1734"/>
                  </a:lnTo>
                  <a:lnTo>
                    <a:pt x="1350" y="1734"/>
                  </a:lnTo>
                  <a:lnTo>
                    <a:pt x="1344" y="1740"/>
                  </a:lnTo>
                  <a:lnTo>
                    <a:pt x="1338" y="1740"/>
                  </a:lnTo>
                  <a:lnTo>
                    <a:pt x="1332" y="1746"/>
                  </a:lnTo>
                  <a:lnTo>
                    <a:pt x="1326" y="1746"/>
                  </a:lnTo>
                  <a:lnTo>
                    <a:pt x="1326" y="1752"/>
                  </a:lnTo>
                  <a:lnTo>
                    <a:pt x="1320" y="1752"/>
                  </a:lnTo>
                  <a:lnTo>
                    <a:pt x="1320" y="1758"/>
                  </a:lnTo>
                  <a:lnTo>
                    <a:pt x="1314" y="1758"/>
                  </a:lnTo>
                  <a:lnTo>
                    <a:pt x="1308" y="1758"/>
                  </a:lnTo>
                  <a:lnTo>
                    <a:pt x="1302" y="1758"/>
                  </a:lnTo>
                  <a:lnTo>
                    <a:pt x="1296" y="1758"/>
                  </a:lnTo>
                  <a:lnTo>
                    <a:pt x="1290" y="1764"/>
                  </a:lnTo>
                  <a:lnTo>
                    <a:pt x="1284" y="1770"/>
                  </a:lnTo>
                  <a:lnTo>
                    <a:pt x="1278" y="1770"/>
                  </a:lnTo>
                  <a:lnTo>
                    <a:pt x="1272" y="1770"/>
                  </a:lnTo>
                  <a:lnTo>
                    <a:pt x="1266" y="1770"/>
                  </a:lnTo>
                  <a:lnTo>
                    <a:pt x="1266" y="1776"/>
                  </a:lnTo>
                  <a:lnTo>
                    <a:pt x="1260" y="1776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4" name="Freeform 39">
              <a:extLst>
                <a:ext uri="{FF2B5EF4-FFF2-40B4-BE49-F238E27FC236}">
                  <a16:creationId xmlns:a16="http://schemas.microsoft.com/office/drawing/2014/main" id="{E01CDA8B-32C7-421A-B23E-968CAC7F78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2974" y="1759680"/>
              <a:ext cx="825155" cy="700024"/>
            </a:xfrm>
            <a:custGeom>
              <a:avLst/>
              <a:gdLst>
                <a:gd name="T0" fmla="*/ 60 w 1554"/>
                <a:gd name="T1" fmla="*/ 86 h 1320"/>
                <a:gd name="T2" fmla="*/ 66 w 1554"/>
                <a:gd name="T3" fmla="*/ 80 h 1320"/>
                <a:gd name="T4" fmla="*/ 61 w 1554"/>
                <a:gd name="T5" fmla="*/ 73 h 1320"/>
                <a:gd name="T6" fmla="*/ 57 w 1554"/>
                <a:gd name="T7" fmla="*/ 67 h 1320"/>
                <a:gd name="T8" fmla="*/ 60 w 1554"/>
                <a:gd name="T9" fmla="*/ 59 h 1320"/>
                <a:gd name="T10" fmla="*/ 56 w 1554"/>
                <a:gd name="T11" fmla="*/ 55 h 1320"/>
                <a:gd name="T12" fmla="*/ 45 w 1554"/>
                <a:gd name="T13" fmla="*/ 53 h 1320"/>
                <a:gd name="T14" fmla="*/ 42 w 1554"/>
                <a:gd name="T15" fmla="*/ 41 h 1320"/>
                <a:gd name="T16" fmla="*/ 37 w 1554"/>
                <a:gd name="T17" fmla="*/ 39 h 1320"/>
                <a:gd name="T18" fmla="*/ 31 w 1554"/>
                <a:gd name="T19" fmla="*/ 44 h 1320"/>
                <a:gd name="T20" fmla="*/ 37 w 1554"/>
                <a:gd name="T21" fmla="*/ 35 h 1320"/>
                <a:gd name="T22" fmla="*/ 30 w 1554"/>
                <a:gd name="T23" fmla="*/ 23 h 1320"/>
                <a:gd name="T24" fmla="*/ 21 w 1554"/>
                <a:gd name="T25" fmla="*/ 23 h 1320"/>
                <a:gd name="T26" fmla="*/ 15 w 1554"/>
                <a:gd name="T27" fmla="*/ 27 h 1320"/>
                <a:gd name="T28" fmla="*/ 11 w 1554"/>
                <a:gd name="T29" fmla="*/ 32 h 1320"/>
                <a:gd name="T30" fmla="*/ 6 w 1554"/>
                <a:gd name="T31" fmla="*/ 22 h 1320"/>
                <a:gd name="T32" fmla="*/ 3 w 1554"/>
                <a:gd name="T33" fmla="*/ 11 h 1320"/>
                <a:gd name="T34" fmla="*/ 24 w 1554"/>
                <a:gd name="T35" fmla="*/ 12 h 1320"/>
                <a:gd name="T36" fmla="*/ 33 w 1554"/>
                <a:gd name="T37" fmla="*/ 19 h 1320"/>
                <a:gd name="T38" fmla="*/ 49 w 1554"/>
                <a:gd name="T39" fmla="*/ 12 h 1320"/>
                <a:gd name="T40" fmla="*/ 58 w 1554"/>
                <a:gd name="T41" fmla="*/ 10 h 1320"/>
                <a:gd name="T42" fmla="*/ 68 w 1554"/>
                <a:gd name="T43" fmla="*/ 11 h 1320"/>
                <a:gd name="T44" fmla="*/ 79 w 1554"/>
                <a:gd name="T45" fmla="*/ 12 h 1320"/>
                <a:gd name="T46" fmla="*/ 96 w 1554"/>
                <a:gd name="T47" fmla="*/ 11 h 1320"/>
                <a:gd name="T48" fmla="*/ 107 w 1554"/>
                <a:gd name="T49" fmla="*/ 2 h 1320"/>
                <a:gd name="T50" fmla="*/ 117 w 1554"/>
                <a:gd name="T51" fmla="*/ 8 h 1320"/>
                <a:gd name="T52" fmla="*/ 126 w 1554"/>
                <a:gd name="T53" fmla="*/ 12 h 1320"/>
                <a:gd name="T54" fmla="*/ 134 w 1554"/>
                <a:gd name="T55" fmla="*/ 24 h 1320"/>
                <a:gd name="T56" fmla="*/ 133 w 1554"/>
                <a:gd name="T57" fmla="*/ 29 h 1320"/>
                <a:gd name="T58" fmla="*/ 129 w 1554"/>
                <a:gd name="T59" fmla="*/ 31 h 1320"/>
                <a:gd name="T60" fmla="*/ 125 w 1554"/>
                <a:gd name="T61" fmla="*/ 32 h 1320"/>
                <a:gd name="T62" fmla="*/ 115 w 1554"/>
                <a:gd name="T63" fmla="*/ 34 h 1320"/>
                <a:gd name="T64" fmla="*/ 113 w 1554"/>
                <a:gd name="T65" fmla="*/ 44 h 1320"/>
                <a:gd name="T66" fmla="*/ 111 w 1554"/>
                <a:gd name="T67" fmla="*/ 54 h 1320"/>
                <a:gd name="T68" fmla="*/ 107 w 1554"/>
                <a:gd name="T69" fmla="*/ 56 h 1320"/>
                <a:gd name="T70" fmla="*/ 102 w 1554"/>
                <a:gd name="T71" fmla="*/ 58 h 1320"/>
                <a:gd name="T72" fmla="*/ 99 w 1554"/>
                <a:gd name="T73" fmla="*/ 60 h 1320"/>
                <a:gd name="T74" fmla="*/ 93 w 1554"/>
                <a:gd name="T75" fmla="*/ 62 h 1320"/>
                <a:gd name="T76" fmla="*/ 87 w 1554"/>
                <a:gd name="T77" fmla="*/ 64 h 1320"/>
                <a:gd name="T78" fmla="*/ 84 w 1554"/>
                <a:gd name="T79" fmla="*/ 65 h 1320"/>
                <a:gd name="T80" fmla="*/ 81 w 1554"/>
                <a:gd name="T81" fmla="*/ 69 h 1320"/>
                <a:gd name="T82" fmla="*/ 83 w 1554"/>
                <a:gd name="T83" fmla="*/ 72 h 1320"/>
                <a:gd name="T84" fmla="*/ 92 w 1554"/>
                <a:gd name="T85" fmla="*/ 73 h 1320"/>
                <a:gd name="T86" fmla="*/ 93 w 1554"/>
                <a:gd name="T87" fmla="*/ 87 h 1320"/>
                <a:gd name="T88" fmla="*/ 104 w 1554"/>
                <a:gd name="T89" fmla="*/ 98 h 1320"/>
                <a:gd name="T90" fmla="*/ 108 w 1554"/>
                <a:gd name="T91" fmla="*/ 98 h 1320"/>
                <a:gd name="T92" fmla="*/ 112 w 1554"/>
                <a:gd name="T93" fmla="*/ 100 h 1320"/>
                <a:gd name="T94" fmla="*/ 118 w 1554"/>
                <a:gd name="T95" fmla="*/ 100 h 1320"/>
                <a:gd name="T96" fmla="*/ 122 w 1554"/>
                <a:gd name="T97" fmla="*/ 102 h 1320"/>
                <a:gd name="T98" fmla="*/ 118 w 1554"/>
                <a:gd name="T99" fmla="*/ 105 h 1320"/>
                <a:gd name="T100" fmla="*/ 114 w 1554"/>
                <a:gd name="T101" fmla="*/ 107 h 1320"/>
                <a:gd name="T102" fmla="*/ 113 w 1554"/>
                <a:gd name="T103" fmla="*/ 113 h 1320"/>
                <a:gd name="T104" fmla="*/ 104 w 1554"/>
                <a:gd name="T105" fmla="*/ 113 h 1320"/>
                <a:gd name="T106" fmla="*/ 93 w 1554"/>
                <a:gd name="T107" fmla="*/ 109 h 1320"/>
                <a:gd name="T108" fmla="*/ 96 w 1554"/>
                <a:gd name="T109" fmla="*/ 103 h 1320"/>
                <a:gd name="T110" fmla="*/ 95 w 1554"/>
                <a:gd name="T111" fmla="*/ 97 h 1320"/>
                <a:gd name="T112" fmla="*/ 87 w 1554"/>
                <a:gd name="T113" fmla="*/ 98 h 1320"/>
                <a:gd name="T114" fmla="*/ 81 w 1554"/>
                <a:gd name="T115" fmla="*/ 98 h 1320"/>
                <a:gd name="T116" fmla="*/ 78 w 1554"/>
                <a:gd name="T117" fmla="*/ 93 h 1320"/>
                <a:gd name="T118" fmla="*/ 65 w 1554"/>
                <a:gd name="T119" fmla="*/ 92 h 1320"/>
                <a:gd name="T120" fmla="*/ 59 w 1554"/>
                <a:gd name="T121" fmla="*/ 92 h 13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54"/>
                <a:gd name="T184" fmla="*/ 0 h 1320"/>
                <a:gd name="T185" fmla="*/ 1554 w 1554"/>
                <a:gd name="T186" fmla="*/ 1320 h 132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54" h="1320">
                  <a:moveTo>
                    <a:pt x="684" y="1068"/>
                  </a:moveTo>
                  <a:lnTo>
                    <a:pt x="684" y="1062"/>
                  </a:lnTo>
                  <a:lnTo>
                    <a:pt x="690" y="1056"/>
                  </a:lnTo>
                  <a:lnTo>
                    <a:pt x="690" y="1050"/>
                  </a:lnTo>
                  <a:lnTo>
                    <a:pt x="690" y="1044"/>
                  </a:lnTo>
                  <a:lnTo>
                    <a:pt x="690" y="1038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14"/>
                  </a:lnTo>
                  <a:lnTo>
                    <a:pt x="690" y="1008"/>
                  </a:lnTo>
                  <a:lnTo>
                    <a:pt x="696" y="996"/>
                  </a:lnTo>
                  <a:lnTo>
                    <a:pt x="714" y="996"/>
                  </a:lnTo>
                  <a:lnTo>
                    <a:pt x="714" y="990"/>
                  </a:lnTo>
                  <a:lnTo>
                    <a:pt x="732" y="984"/>
                  </a:lnTo>
                  <a:lnTo>
                    <a:pt x="744" y="978"/>
                  </a:lnTo>
                  <a:lnTo>
                    <a:pt x="762" y="966"/>
                  </a:lnTo>
                  <a:lnTo>
                    <a:pt x="762" y="960"/>
                  </a:lnTo>
                  <a:lnTo>
                    <a:pt x="768" y="954"/>
                  </a:lnTo>
                  <a:lnTo>
                    <a:pt x="774" y="948"/>
                  </a:lnTo>
                  <a:lnTo>
                    <a:pt x="774" y="942"/>
                  </a:lnTo>
                  <a:lnTo>
                    <a:pt x="774" y="924"/>
                  </a:lnTo>
                  <a:lnTo>
                    <a:pt x="768" y="918"/>
                  </a:lnTo>
                  <a:lnTo>
                    <a:pt x="756" y="918"/>
                  </a:lnTo>
                  <a:lnTo>
                    <a:pt x="744" y="918"/>
                  </a:lnTo>
                  <a:lnTo>
                    <a:pt x="732" y="924"/>
                  </a:lnTo>
                  <a:lnTo>
                    <a:pt x="726" y="912"/>
                  </a:lnTo>
                  <a:lnTo>
                    <a:pt x="720" y="912"/>
                  </a:lnTo>
                  <a:lnTo>
                    <a:pt x="720" y="900"/>
                  </a:lnTo>
                  <a:lnTo>
                    <a:pt x="720" y="870"/>
                  </a:lnTo>
                  <a:lnTo>
                    <a:pt x="696" y="876"/>
                  </a:lnTo>
                  <a:lnTo>
                    <a:pt x="690" y="852"/>
                  </a:lnTo>
                  <a:lnTo>
                    <a:pt x="702" y="852"/>
                  </a:lnTo>
                  <a:lnTo>
                    <a:pt x="702" y="840"/>
                  </a:lnTo>
                  <a:lnTo>
                    <a:pt x="708" y="834"/>
                  </a:lnTo>
                  <a:lnTo>
                    <a:pt x="702" y="822"/>
                  </a:lnTo>
                  <a:lnTo>
                    <a:pt x="660" y="822"/>
                  </a:lnTo>
                  <a:lnTo>
                    <a:pt x="654" y="822"/>
                  </a:lnTo>
                  <a:lnTo>
                    <a:pt x="642" y="822"/>
                  </a:lnTo>
                  <a:lnTo>
                    <a:pt x="642" y="810"/>
                  </a:lnTo>
                  <a:lnTo>
                    <a:pt x="642" y="798"/>
                  </a:lnTo>
                  <a:lnTo>
                    <a:pt x="642" y="792"/>
                  </a:lnTo>
                  <a:lnTo>
                    <a:pt x="648" y="780"/>
                  </a:lnTo>
                  <a:lnTo>
                    <a:pt x="654" y="774"/>
                  </a:lnTo>
                  <a:lnTo>
                    <a:pt x="660" y="774"/>
                  </a:lnTo>
                  <a:lnTo>
                    <a:pt x="672" y="762"/>
                  </a:lnTo>
                  <a:lnTo>
                    <a:pt x="672" y="756"/>
                  </a:lnTo>
                  <a:lnTo>
                    <a:pt x="678" y="750"/>
                  </a:lnTo>
                  <a:lnTo>
                    <a:pt x="684" y="750"/>
                  </a:lnTo>
                  <a:lnTo>
                    <a:pt x="690" y="744"/>
                  </a:lnTo>
                  <a:lnTo>
                    <a:pt x="696" y="732"/>
                  </a:lnTo>
                  <a:lnTo>
                    <a:pt x="696" y="726"/>
                  </a:lnTo>
                  <a:lnTo>
                    <a:pt x="702" y="714"/>
                  </a:lnTo>
                  <a:lnTo>
                    <a:pt x="696" y="708"/>
                  </a:lnTo>
                  <a:lnTo>
                    <a:pt x="690" y="690"/>
                  </a:lnTo>
                  <a:lnTo>
                    <a:pt x="696" y="678"/>
                  </a:lnTo>
                  <a:lnTo>
                    <a:pt x="708" y="672"/>
                  </a:lnTo>
                  <a:lnTo>
                    <a:pt x="708" y="660"/>
                  </a:lnTo>
                  <a:lnTo>
                    <a:pt x="702" y="660"/>
                  </a:lnTo>
                  <a:lnTo>
                    <a:pt x="696" y="660"/>
                  </a:lnTo>
                  <a:lnTo>
                    <a:pt x="690" y="654"/>
                  </a:lnTo>
                  <a:lnTo>
                    <a:pt x="684" y="654"/>
                  </a:lnTo>
                  <a:lnTo>
                    <a:pt x="690" y="606"/>
                  </a:lnTo>
                  <a:lnTo>
                    <a:pt x="660" y="606"/>
                  </a:lnTo>
                  <a:lnTo>
                    <a:pt x="660" y="612"/>
                  </a:lnTo>
                  <a:lnTo>
                    <a:pt x="648" y="612"/>
                  </a:lnTo>
                  <a:lnTo>
                    <a:pt x="642" y="636"/>
                  </a:lnTo>
                  <a:lnTo>
                    <a:pt x="636" y="636"/>
                  </a:lnTo>
                  <a:lnTo>
                    <a:pt x="630" y="648"/>
                  </a:lnTo>
                  <a:lnTo>
                    <a:pt x="612" y="648"/>
                  </a:lnTo>
                  <a:lnTo>
                    <a:pt x="606" y="636"/>
                  </a:lnTo>
                  <a:lnTo>
                    <a:pt x="600" y="630"/>
                  </a:lnTo>
                  <a:lnTo>
                    <a:pt x="588" y="606"/>
                  </a:lnTo>
                  <a:lnTo>
                    <a:pt x="552" y="606"/>
                  </a:lnTo>
                  <a:lnTo>
                    <a:pt x="552" y="612"/>
                  </a:lnTo>
                  <a:lnTo>
                    <a:pt x="540" y="612"/>
                  </a:lnTo>
                  <a:lnTo>
                    <a:pt x="540" y="606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16" y="612"/>
                  </a:lnTo>
                  <a:lnTo>
                    <a:pt x="516" y="582"/>
                  </a:lnTo>
                  <a:lnTo>
                    <a:pt x="522" y="576"/>
                  </a:lnTo>
                  <a:lnTo>
                    <a:pt x="528" y="576"/>
                  </a:lnTo>
                  <a:lnTo>
                    <a:pt x="528" y="552"/>
                  </a:lnTo>
                  <a:lnTo>
                    <a:pt x="522" y="540"/>
                  </a:lnTo>
                  <a:lnTo>
                    <a:pt x="510" y="528"/>
                  </a:lnTo>
                  <a:lnTo>
                    <a:pt x="486" y="510"/>
                  </a:lnTo>
                  <a:lnTo>
                    <a:pt x="480" y="498"/>
                  </a:lnTo>
                  <a:lnTo>
                    <a:pt x="480" y="474"/>
                  </a:lnTo>
                  <a:lnTo>
                    <a:pt x="492" y="468"/>
                  </a:lnTo>
                  <a:lnTo>
                    <a:pt x="486" y="450"/>
                  </a:lnTo>
                  <a:lnTo>
                    <a:pt x="474" y="456"/>
                  </a:lnTo>
                  <a:lnTo>
                    <a:pt x="468" y="456"/>
                  </a:lnTo>
                  <a:lnTo>
                    <a:pt x="462" y="456"/>
                  </a:lnTo>
                  <a:lnTo>
                    <a:pt x="456" y="468"/>
                  </a:lnTo>
                  <a:lnTo>
                    <a:pt x="456" y="474"/>
                  </a:lnTo>
                  <a:lnTo>
                    <a:pt x="450" y="480"/>
                  </a:lnTo>
                  <a:lnTo>
                    <a:pt x="444" y="450"/>
                  </a:lnTo>
                  <a:lnTo>
                    <a:pt x="438" y="450"/>
                  </a:lnTo>
                  <a:lnTo>
                    <a:pt x="432" y="450"/>
                  </a:lnTo>
                  <a:lnTo>
                    <a:pt x="420" y="450"/>
                  </a:lnTo>
                  <a:lnTo>
                    <a:pt x="420" y="456"/>
                  </a:lnTo>
                  <a:lnTo>
                    <a:pt x="414" y="456"/>
                  </a:lnTo>
                  <a:lnTo>
                    <a:pt x="408" y="468"/>
                  </a:lnTo>
                  <a:lnTo>
                    <a:pt x="402" y="468"/>
                  </a:lnTo>
                  <a:lnTo>
                    <a:pt x="396" y="474"/>
                  </a:lnTo>
                  <a:lnTo>
                    <a:pt x="390" y="492"/>
                  </a:lnTo>
                  <a:lnTo>
                    <a:pt x="384" y="504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54" y="510"/>
                  </a:lnTo>
                  <a:lnTo>
                    <a:pt x="360" y="480"/>
                  </a:lnTo>
                  <a:lnTo>
                    <a:pt x="360" y="474"/>
                  </a:lnTo>
                  <a:lnTo>
                    <a:pt x="378" y="456"/>
                  </a:lnTo>
                  <a:lnTo>
                    <a:pt x="384" y="450"/>
                  </a:lnTo>
                  <a:lnTo>
                    <a:pt x="396" y="444"/>
                  </a:lnTo>
                  <a:lnTo>
                    <a:pt x="402" y="438"/>
                  </a:lnTo>
                  <a:lnTo>
                    <a:pt x="408" y="438"/>
                  </a:lnTo>
                  <a:lnTo>
                    <a:pt x="408" y="426"/>
                  </a:lnTo>
                  <a:lnTo>
                    <a:pt x="414" y="420"/>
                  </a:lnTo>
                  <a:lnTo>
                    <a:pt x="426" y="420"/>
                  </a:lnTo>
                  <a:lnTo>
                    <a:pt x="426" y="408"/>
                  </a:lnTo>
                  <a:lnTo>
                    <a:pt x="420" y="390"/>
                  </a:lnTo>
                  <a:lnTo>
                    <a:pt x="408" y="384"/>
                  </a:lnTo>
                  <a:lnTo>
                    <a:pt x="378" y="378"/>
                  </a:lnTo>
                  <a:lnTo>
                    <a:pt x="354" y="366"/>
                  </a:lnTo>
                  <a:lnTo>
                    <a:pt x="342" y="360"/>
                  </a:lnTo>
                  <a:lnTo>
                    <a:pt x="342" y="348"/>
                  </a:lnTo>
                  <a:lnTo>
                    <a:pt x="336" y="330"/>
                  </a:lnTo>
                  <a:lnTo>
                    <a:pt x="348" y="306"/>
                  </a:lnTo>
                  <a:lnTo>
                    <a:pt x="360" y="294"/>
                  </a:lnTo>
                  <a:lnTo>
                    <a:pt x="360" y="282"/>
                  </a:lnTo>
                  <a:lnTo>
                    <a:pt x="342" y="270"/>
                  </a:lnTo>
                  <a:lnTo>
                    <a:pt x="342" y="264"/>
                  </a:lnTo>
                  <a:lnTo>
                    <a:pt x="330" y="264"/>
                  </a:lnTo>
                  <a:lnTo>
                    <a:pt x="312" y="270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88" y="270"/>
                  </a:lnTo>
                  <a:lnTo>
                    <a:pt x="282" y="270"/>
                  </a:lnTo>
                  <a:lnTo>
                    <a:pt x="276" y="264"/>
                  </a:lnTo>
                  <a:lnTo>
                    <a:pt x="270" y="264"/>
                  </a:lnTo>
                  <a:lnTo>
                    <a:pt x="252" y="270"/>
                  </a:lnTo>
                  <a:lnTo>
                    <a:pt x="246" y="270"/>
                  </a:lnTo>
                  <a:lnTo>
                    <a:pt x="240" y="270"/>
                  </a:lnTo>
                  <a:lnTo>
                    <a:pt x="228" y="270"/>
                  </a:lnTo>
                  <a:lnTo>
                    <a:pt x="216" y="276"/>
                  </a:lnTo>
                  <a:lnTo>
                    <a:pt x="210" y="270"/>
                  </a:lnTo>
                  <a:lnTo>
                    <a:pt x="204" y="270"/>
                  </a:lnTo>
                  <a:lnTo>
                    <a:pt x="198" y="276"/>
                  </a:lnTo>
                  <a:lnTo>
                    <a:pt x="192" y="276"/>
                  </a:lnTo>
                  <a:lnTo>
                    <a:pt x="186" y="282"/>
                  </a:lnTo>
                  <a:lnTo>
                    <a:pt x="180" y="288"/>
                  </a:lnTo>
                  <a:lnTo>
                    <a:pt x="174" y="300"/>
                  </a:lnTo>
                  <a:lnTo>
                    <a:pt x="168" y="306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8" y="330"/>
                  </a:lnTo>
                  <a:lnTo>
                    <a:pt x="162" y="336"/>
                  </a:lnTo>
                  <a:lnTo>
                    <a:pt x="156" y="342"/>
                  </a:lnTo>
                  <a:lnTo>
                    <a:pt x="156" y="348"/>
                  </a:lnTo>
                  <a:lnTo>
                    <a:pt x="156" y="354"/>
                  </a:lnTo>
                  <a:lnTo>
                    <a:pt x="150" y="366"/>
                  </a:lnTo>
                  <a:lnTo>
                    <a:pt x="150" y="372"/>
                  </a:lnTo>
                  <a:lnTo>
                    <a:pt x="144" y="366"/>
                  </a:lnTo>
                  <a:lnTo>
                    <a:pt x="132" y="366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20" y="348"/>
                  </a:lnTo>
                  <a:lnTo>
                    <a:pt x="102" y="330"/>
                  </a:lnTo>
                  <a:lnTo>
                    <a:pt x="96" y="318"/>
                  </a:lnTo>
                  <a:lnTo>
                    <a:pt x="96" y="282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0" y="258"/>
                  </a:lnTo>
                  <a:lnTo>
                    <a:pt x="84" y="252"/>
                  </a:lnTo>
                  <a:lnTo>
                    <a:pt x="66" y="258"/>
                  </a:lnTo>
                  <a:lnTo>
                    <a:pt x="60" y="246"/>
                  </a:lnTo>
                  <a:lnTo>
                    <a:pt x="30" y="252"/>
                  </a:lnTo>
                  <a:lnTo>
                    <a:pt x="18" y="246"/>
                  </a:lnTo>
                  <a:lnTo>
                    <a:pt x="0" y="240"/>
                  </a:lnTo>
                  <a:lnTo>
                    <a:pt x="0" y="234"/>
                  </a:lnTo>
                  <a:lnTo>
                    <a:pt x="0" y="210"/>
                  </a:lnTo>
                  <a:lnTo>
                    <a:pt x="6" y="204"/>
                  </a:lnTo>
                  <a:lnTo>
                    <a:pt x="18" y="192"/>
                  </a:lnTo>
                  <a:lnTo>
                    <a:pt x="18" y="144"/>
                  </a:lnTo>
                  <a:lnTo>
                    <a:pt x="24" y="126"/>
                  </a:lnTo>
                  <a:lnTo>
                    <a:pt x="36" y="126"/>
                  </a:lnTo>
                  <a:lnTo>
                    <a:pt x="54" y="120"/>
                  </a:lnTo>
                  <a:lnTo>
                    <a:pt x="54" y="126"/>
                  </a:lnTo>
                  <a:lnTo>
                    <a:pt x="132" y="114"/>
                  </a:lnTo>
                  <a:lnTo>
                    <a:pt x="144" y="120"/>
                  </a:lnTo>
                  <a:lnTo>
                    <a:pt x="150" y="132"/>
                  </a:lnTo>
                  <a:lnTo>
                    <a:pt x="180" y="126"/>
                  </a:lnTo>
                  <a:lnTo>
                    <a:pt x="210" y="120"/>
                  </a:lnTo>
                  <a:lnTo>
                    <a:pt x="240" y="120"/>
                  </a:lnTo>
                  <a:lnTo>
                    <a:pt x="258" y="120"/>
                  </a:lnTo>
                  <a:lnTo>
                    <a:pt x="270" y="126"/>
                  </a:lnTo>
                  <a:lnTo>
                    <a:pt x="276" y="132"/>
                  </a:lnTo>
                  <a:lnTo>
                    <a:pt x="282" y="138"/>
                  </a:lnTo>
                  <a:lnTo>
                    <a:pt x="282" y="156"/>
                  </a:lnTo>
                  <a:lnTo>
                    <a:pt x="288" y="186"/>
                  </a:lnTo>
                  <a:lnTo>
                    <a:pt x="312" y="192"/>
                  </a:lnTo>
                  <a:lnTo>
                    <a:pt x="318" y="198"/>
                  </a:lnTo>
                  <a:lnTo>
                    <a:pt x="324" y="204"/>
                  </a:lnTo>
                  <a:lnTo>
                    <a:pt x="330" y="210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66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86" y="210"/>
                  </a:lnTo>
                  <a:lnTo>
                    <a:pt x="498" y="198"/>
                  </a:lnTo>
                  <a:lnTo>
                    <a:pt x="504" y="174"/>
                  </a:lnTo>
                  <a:lnTo>
                    <a:pt x="516" y="162"/>
                  </a:lnTo>
                  <a:lnTo>
                    <a:pt x="516" y="138"/>
                  </a:lnTo>
                  <a:lnTo>
                    <a:pt x="522" y="132"/>
                  </a:lnTo>
                  <a:lnTo>
                    <a:pt x="564" y="132"/>
                  </a:lnTo>
                  <a:lnTo>
                    <a:pt x="564" y="114"/>
                  </a:lnTo>
                  <a:lnTo>
                    <a:pt x="582" y="114"/>
                  </a:lnTo>
                  <a:lnTo>
                    <a:pt x="594" y="114"/>
                  </a:lnTo>
                  <a:lnTo>
                    <a:pt x="606" y="114"/>
                  </a:lnTo>
                  <a:lnTo>
                    <a:pt x="612" y="114"/>
                  </a:lnTo>
                  <a:lnTo>
                    <a:pt x="630" y="114"/>
                  </a:lnTo>
                  <a:lnTo>
                    <a:pt x="636" y="114"/>
                  </a:lnTo>
                  <a:lnTo>
                    <a:pt x="648" y="114"/>
                  </a:lnTo>
                  <a:lnTo>
                    <a:pt x="654" y="114"/>
                  </a:lnTo>
                  <a:lnTo>
                    <a:pt x="660" y="120"/>
                  </a:lnTo>
                  <a:lnTo>
                    <a:pt x="672" y="120"/>
                  </a:lnTo>
                  <a:lnTo>
                    <a:pt x="684" y="120"/>
                  </a:lnTo>
                  <a:lnTo>
                    <a:pt x="690" y="120"/>
                  </a:lnTo>
                  <a:lnTo>
                    <a:pt x="702" y="120"/>
                  </a:lnTo>
                  <a:lnTo>
                    <a:pt x="708" y="120"/>
                  </a:lnTo>
                  <a:lnTo>
                    <a:pt x="726" y="126"/>
                  </a:lnTo>
                  <a:lnTo>
                    <a:pt x="732" y="126"/>
                  </a:lnTo>
                  <a:lnTo>
                    <a:pt x="738" y="126"/>
                  </a:lnTo>
                  <a:lnTo>
                    <a:pt x="750" y="126"/>
                  </a:lnTo>
                  <a:lnTo>
                    <a:pt x="756" y="126"/>
                  </a:lnTo>
                  <a:lnTo>
                    <a:pt x="768" y="126"/>
                  </a:lnTo>
                  <a:lnTo>
                    <a:pt x="780" y="126"/>
                  </a:lnTo>
                  <a:lnTo>
                    <a:pt x="786" y="120"/>
                  </a:lnTo>
                  <a:lnTo>
                    <a:pt x="792" y="120"/>
                  </a:lnTo>
                  <a:lnTo>
                    <a:pt x="810" y="120"/>
                  </a:lnTo>
                  <a:lnTo>
                    <a:pt x="822" y="120"/>
                  </a:lnTo>
                  <a:lnTo>
                    <a:pt x="846" y="126"/>
                  </a:lnTo>
                  <a:lnTo>
                    <a:pt x="858" y="126"/>
                  </a:lnTo>
                  <a:lnTo>
                    <a:pt x="870" y="132"/>
                  </a:lnTo>
                  <a:lnTo>
                    <a:pt x="882" y="132"/>
                  </a:lnTo>
                  <a:lnTo>
                    <a:pt x="894" y="132"/>
                  </a:lnTo>
                  <a:lnTo>
                    <a:pt x="900" y="132"/>
                  </a:lnTo>
                  <a:lnTo>
                    <a:pt x="912" y="132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36" y="132"/>
                  </a:lnTo>
                  <a:lnTo>
                    <a:pt x="960" y="132"/>
                  </a:lnTo>
                  <a:lnTo>
                    <a:pt x="966" y="144"/>
                  </a:lnTo>
                  <a:lnTo>
                    <a:pt x="972" y="144"/>
                  </a:lnTo>
                  <a:lnTo>
                    <a:pt x="1002" y="144"/>
                  </a:lnTo>
                  <a:lnTo>
                    <a:pt x="1020" y="144"/>
                  </a:lnTo>
                  <a:lnTo>
                    <a:pt x="1068" y="138"/>
                  </a:lnTo>
                  <a:lnTo>
                    <a:pt x="1110" y="132"/>
                  </a:lnTo>
                  <a:lnTo>
                    <a:pt x="1110" y="126"/>
                  </a:lnTo>
                  <a:lnTo>
                    <a:pt x="1116" y="120"/>
                  </a:lnTo>
                  <a:lnTo>
                    <a:pt x="1122" y="108"/>
                  </a:lnTo>
                  <a:lnTo>
                    <a:pt x="1134" y="96"/>
                  </a:lnTo>
                  <a:lnTo>
                    <a:pt x="1146" y="60"/>
                  </a:lnTo>
                  <a:lnTo>
                    <a:pt x="1158" y="54"/>
                  </a:lnTo>
                  <a:lnTo>
                    <a:pt x="1170" y="48"/>
                  </a:lnTo>
                  <a:lnTo>
                    <a:pt x="1188" y="42"/>
                  </a:lnTo>
                  <a:lnTo>
                    <a:pt x="1200" y="36"/>
                  </a:lnTo>
                  <a:lnTo>
                    <a:pt x="1212" y="36"/>
                  </a:lnTo>
                  <a:lnTo>
                    <a:pt x="1236" y="30"/>
                  </a:lnTo>
                  <a:lnTo>
                    <a:pt x="1236" y="24"/>
                  </a:lnTo>
                  <a:lnTo>
                    <a:pt x="1278" y="18"/>
                  </a:lnTo>
                  <a:lnTo>
                    <a:pt x="1290" y="18"/>
                  </a:lnTo>
                  <a:lnTo>
                    <a:pt x="1302" y="12"/>
                  </a:lnTo>
                  <a:lnTo>
                    <a:pt x="1314" y="0"/>
                  </a:lnTo>
                  <a:lnTo>
                    <a:pt x="1332" y="0"/>
                  </a:lnTo>
                  <a:lnTo>
                    <a:pt x="1338" y="24"/>
                  </a:lnTo>
                  <a:lnTo>
                    <a:pt x="1344" y="30"/>
                  </a:lnTo>
                  <a:lnTo>
                    <a:pt x="1350" y="42"/>
                  </a:lnTo>
                  <a:lnTo>
                    <a:pt x="1356" y="48"/>
                  </a:lnTo>
                  <a:lnTo>
                    <a:pt x="1356" y="78"/>
                  </a:lnTo>
                  <a:lnTo>
                    <a:pt x="1350" y="96"/>
                  </a:lnTo>
                  <a:lnTo>
                    <a:pt x="1338" y="108"/>
                  </a:lnTo>
                  <a:lnTo>
                    <a:pt x="1338" y="114"/>
                  </a:lnTo>
                  <a:lnTo>
                    <a:pt x="1338" y="120"/>
                  </a:lnTo>
                  <a:lnTo>
                    <a:pt x="1338" y="126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398" y="114"/>
                  </a:lnTo>
                  <a:lnTo>
                    <a:pt x="1416" y="120"/>
                  </a:lnTo>
                  <a:lnTo>
                    <a:pt x="1434" y="126"/>
                  </a:lnTo>
                  <a:lnTo>
                    <a:pt x="1458" y="132"/>
                  </a:lnTo>
                  <a:lnTo>
                    <a:pt x="1458" y="138"/>
                  </a:lnTo>
                  <a:lnTo>
                    <a:pt x="1512" y="138"/>
                  </a:lnTo>
                  <a:lnTo>
                    <a:pt x="1512" y="132"/>
                  </a:lnTo>
                  <a:lnTo>
                    <a:pt x="1524" y="138"/>
                  </a:lnTo>
                  <a:lnTo>
                    <a:pt x="1542" y="138"/>
                  </a:lnTo>
                  <a:lnTo>
                    <a:pt x="1542" y="150"/>
                  </a:lnTo>
                  <a:lnTo>
                    <a:pt x="1542" y="162"/>
                  </a:lnTo>
                  <a:lnTo>
                    <a:pt x="1548" y="174"/>
                  </a:lnTo>
                  <a:lnTo>
                    <a:pt x="1548" y="180"/>
                  </a:lnTo>
                  <a:lnTo>
                    <a:pt x="1554" y="222"/>
                  </a:lnTo>
                  <a:lnTo>
                    <a:pt x="1554" y="258"/>
                  </a:lnTo>
                  <a:lnTo>
                    <a:pt x="1554" y="276"/>
                  </a:lnTo>
                  <a:lnTo>
                    <a:pt x="1554" y="282"/>
                  </a:lnTo>
                  <a:lnTo>
                    <a:pt x="1554" y="294"/>
                  </a:lnTo>
                  <a:lnTo>
                    <a:pt x="1554" y="306"/>
                  </a:lnTo>
                  <a:lnTo>
                    <a:pt x="1554" y="324"/>
                  </a:lnTo>
                  <a:lnTo>
                    <a:pt x="1554" y="330"/>
                  </a:lnTo>
                  <a:lnTo>
                    <a:pt x="1548" y="330"/>
                  </a:lnTo>
                  <a:lnTo>
                    <a:pt x="1548" y="336"/>
                  </a:lnTo>
                  <a:lnTo>
                    <a:pt x="1548" y="342"/>
                  </a:lnTo>
                  <a:lnTo>
                    <a:pt x="1542" y="336"/>
                  </a:lnTo>
                  <a:lnTo>
                    <a:pt x="1542" y="330"/>
                  </a:lnTo>
                  <a:lnTo>
                    <a:pt x="1536" y="330"/>
                  </a:lnTo>
                  <a:lnTo>
                    <a:pt x="1530" y="330"/>
                  </a:lnTo>
                  <a:lnTo>
                    <a:pt x="1530" y="336"/>
                  </a:lnTo>
                  <a:lnTo>
                    <a:pt x="1536" y="342"/>
                  </a:lnTo>
                  <a:lnTo>
                    <a:pt x="1530" y="342"/>
                  </a:lnTo>
                  <a:lnTo>
                    <a:pt x="1518" y="348"/>
                  </a:lnTo>
                  <a:lnTo>
                    <a:pt x="1512" y="354"/>
                  </a:lnTo>
                  <a:lnTo>
                    <a:pt x="1506" y="354"/>
                  </a:lnTo>
                  <a:lnTo>
                    <a:pt x="1500" y="354"/>
                  </a:lnTo>
                  <a:lnTo>
                    <a:pt x="1494" y="354"/>
                  </a:lnTo>
                  <a:lnTo>
                    <a:pt x="1494" y="360"/>
                  </a:lnTo>
                  <a:lnTo>
                    <a:pt x="1488" y="360"/>
                  </a:lnTo>
                  <a:lnTo>
                    <a:pt x="1488" y="366"/>
                  </a:lnTo>
                  <a:lnTo>
                    <a:pt x="1488" y="372"/>
                  </a:lnTo>
                  <a:lnTo>
                    <a:pt x="1482" y="372"/>
                  </a:lnTo>
                  <a:lnTo>
                    <a:pt x="1476" y="372"/>
                  </a:lnTo>
                  <a:lnTo>
                    <a:pt x="1470" y="372"/>
                  </a:lnTo>
                  <a:lnTo>
                    <a:pt x="1470" y="378"/>
                  </a:lnTo>
                  <a:lnTo>
                    <a:pt x="1470" y="384"/>
                  </a:lnTo>
                  <a:lnTo>
                    <a:pt x="1470" y="390"/>
                  </a:lnTo>
                  <a:lnTo>
                    <a:pt x="1464" y="402"/>
                  </a:lnTo>
                  <a:lnTo>
                    <a:pt x="1446" y="402"/>
                  </a:lnTo>
                  <a:lnTo>
                    <a:pt x="1440" y="372"/>
                  </a:lnTo>
                  <a:lnTo>
                    <a:pt x="1410" y="372"/>
                  </a:lnTo>
                  <a:lnTo>
                    <a:pt x="1380" y="372"/>
                  </a:lnTo>
                  <a:lnTo>
                    <a:pt x="1374" y="372"/>
                  </a:lnTo>
                  <a:lnTo>
                    <a:pt x="1368" y="378"/>
                  </a:lnTo>
                  <a:lnTo>
                    <a:pt x="1362" y="378"/>
                  </a:lnTo>
                  <a:lnTo>
                    <a:pt x="1356" y="378"/>
                  </a:lnTo>
                  <a:lnTo>
                    <a:pt x="1350" y="384"/>
                  </a:lnTo>
                  <a:lnTo>
                    <a:pt x="1350" y="390"/>
                  </a:lnTo>
                  <a:lnTo>
                    <a:pt x="1344" y="390"/>
                  </a:lnTo>
                  <a:lnTo>
                    <a:pt x="1338" y="390"/>
                  </a:lnTo>
                  <a:lnTo>
                    <a:pt x="1332" y="390"/>
                  </a:lnTo>
                  <a:lnTo>
                    <a:pt x="1332" y="396"/>
                  </a:lnTo>
                  <a:lnTo>
                    <a:pt x="1332" y="390"/>
                  </a:lnTo>
                  <a:lnTo>
                    <a:pt x="1326" y="402"/>
                  </a:lnTo>
                  <a:lnTo>
                    <a:pt x="1320" y="402"/>
                  </a:lnTo>
                  <a:lnTo>
                    <a:pt x="1302" y="474"/>
                  </a:lnTo>
                  <a:lnTo>
                    <a:pt x="1308" y="480"/>
                  </a:lnTo>
                  <a:lnTo>
                    <a:pt x="1314" y="480"/>
                  </a:lnTo>
                  <a:lnTo>
                    <a:pt x="1308" y="498"/>
                  </a:lnTo>
                  <a:lnTo>
                    <a:pt x="1308" y="504"/>
                  </a:lnTo>
                  <a:lnTo>
                    <a:pt x="1314" y="510"/>
                  </a:lnTo>
                  <a:lnTo>
                    <a:pt x="1308" y="510"/>
                  </a:lnTo>
                  <a:lnTo>
                    <a:pt x="1308" y="516"/>
                  </a:lnTo>
                  <a:lnTo>
                    <a:pt x="1302" y="516"/>
                  </a:lnTo>
                  <a:lnTo>
                    <a:pt x="1296" y="510"/>
                  </a:lnTo>
                  <a:lnTo>
                    <a:pt x="1296" y="516"/>
                  </a:lnTo>
                  <a:lnTo>
                    <a:pt x="1290" y="540"/>
                  </a:lnTo>
                  <a:lnTo>
                    <a:pt x="1290" y="552"/>
                  </a:lnTo>
                  <a:lnTo>
                    <a:pt x="1284" y="558"/>
                  </a:lnTo>
                  <a:lnTo>
                    <a:pt x="1290" y="576"/>
                  </a:lnTo>
                  <a:lnTo>
                    <a:pt x="1290" y="600"/>
                  </a:lnTo>
                  <a:lnTo>
                    <a:pt x="1284" y="618"/>
                  </a:lnTo>
                  <a:lnTo>
                    <a:pt x="1290" y="624"/>
                  </a:lnTo>
                  <a:lnTo>
                    <a:pt x="1284" y="630"/>
                  </a:lnTo>
                  <a:lnTo>
                    <a:pt x="1278" y="630"/>
                  </a:lnTo>
                  <a:lnTo>
                    <a:pt x="1272" y="630"/>
                  </a:lnTo>
                  <a:lnTo>
                    <a:pt x="1266" y="636"/>
                  </a:lnTo>
                  <a:lnTo>
                    <a:pt x="1260" y="642"/>
                  </a:lnTo>
                  <a:lnTo>
                    <a:pt x="1260" y="636"/>
                  </a:lnTo>
                  <a:lnTo>
                    <a:pt x="1254" y="636"/>
                  </a:lnTo>
                  <a:lnTo>
                    <a:pt x="1248" y="636"/>
                  </a:lnTo>
                  <a:lnTo>
                    <a:pt x="1248" y="642"/>
                  </a:lnTo>
                  <a:lnTo>
                    <a:pt x="1242" y="642"/>
                  </a:lnTo>
                  <a:lnTo>
                    <a:pt x="1242" y="648"/>
                  </a:lnTo>
                  <a:lnTo>
                    <a:pt x="1236" y="654"/>
                  </a:lnTo>
                  <a:lnTo>
                    <a:pt x="1230" y="654"/>
                  </a:lnTo>
                  <a:lnTo>
                    <a:pt x="1224" y="654"/>
                  </a:lnTo>
                  <a:lnTo>
                    <a:pt x="1218" y="660"/>
                  </a:lnTo>
                  <a:lnTo>
                    <a:pt x="1212" y="660"/>
                  </a:lnTo>
                  <a:lnTo>
                    <a:pt x="1206" y="660"/>
                  </a:lnTo>
                  <a:lnTo>
                    <a:pt x="1200" y="660"/>
                  </a:lnTo>
                  <a:lnTo>
                    <a:pt x="1200" y="666"/>
                  </a:lnTo>
                  <a:lnTo>
                    <a:pt x="1194" y="666"/>
                  </a:lnTo>
                  <a:lnTo>
                    <a:pt x="1188" y="666"/>
                  </a:lnTo>
                  <a:lnTo>
                    <a:pt x="1182" y="672"/>
                  </a:lnTo>
                  <a:lnTo>
                    <a:pt x="1176" y="672"/>
                  </a:lnTo>
                  <a:lnTo>
                    <a:pt x="1170" y="672"/>
                  </a:lnTo>
                  <a:lnTo>
                    <a:pt x="1164" y="678"/>
                  </a:lnTo>
                  <a:lnTo>
                    <a:pt x="1170" y="678"/>
                  </a:lnTo>
                  <a:lnTo>
                    <a:pt x="1164" y="684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52" y="684"/>
                  </a:lnTo>
                  <a:lnTo>
                    <a:pt x="1152" y="690"/>
                  </a:lnTo>
                  <a:lnTo>
                    <a:pt x="1146" y="690"/>
                  </a:lnTo>
                  <a:lnTo>
                    <a:pt x="1140" y="690"/>
                  </a:lnTo>
                  <a:lnTo>
                    <a:pt x="1134" y="696"/>
                  </a:lnTo>
                  <a:lnTo>
                    <a:pt x="1128" y="696"/>
                  </a:lnTo>
                  <a:lnTo>
                    <a:pt x="1122" y="702"/>
                  </a:lnTo>
                  <a:lnTo>
                    <a:pt x="1116" y="702"/>
                  </a:lnTo>
                  <a:lnTo>
                    <a:pt x="1110" y="708"/>
                  </a:lnTo>
                  <a:lnTo>
                    <a:pt x="1104" y="708"/>
                  </a:lnTo>
                  <a:lnTo>
                    <a:pt x="1098" y="708"/>
                  </a:lnTo>
                  <a:lnTo>
                    <a:pt x="1092" y="708"/>
                  </a:lnTo>
                  <a:lnTo>
                    <a:pt x="1092" y="714"/>
                  </a:lnTo>
                  <a:lnTo>
                    <a:pt x="1086" y="720"/>
                  </a:lnTo>
                  <a:lnTo>
                    <a:pt x="1080" y="720"/>
                  </a:lnTo>
                  <a:lnTo>
                    <a:pt x="1074" y="720"/>
                  </a:lnTo>
                  <a:lnTo>
                    <a:pt x="1068" y="720"/>
                  </a:lnTo>
                  <a:lnTo>
                    <a:pt x="1062" y="720"/>
                  </a:lnTo>
                  <a:lnTo>
                    <a:pt x="1050" y="726"/>
                  </a:lnTo>
                  <a:lnTo>
                    <a:pt x="1044" y="726"/>
                  </a:lnTo>
                  <a:lnTo>
                    <a:pt x="1038" y="732"/>
                  </a:lnTo>
                  <a:lnTo>
                    <a:pt x="1026" y="732"/>
                  </a:lnTo>
                  <a:lnTo>
                    <a:pt x="1020" y="732"/>
                  </a:lnTo>
                  <a:lnTo>
                    <a:pt x="1014" y="738"/>
                  </a:lnTo>
                  <a:lnTo>
                    <a:pt x="1008" y="738"/>
                  </a:lnTo>
                  <a:lnTo>
                    <a:pt x="1002" y="738"/>
                  </a:lnTo>
                  <a:lnTo>
                    <a:pt x="996" y="738"/>
                  </a:lnTo>
                  <a:lnTo>
                    <a:pt x="990" y="738"/>
                  </a:lnTo>
                  <a:lnTo>
                    <a:pt x="990" y="732"/>
                  </a:lnTo>
                  <a:lnTo>
                    <a:pt x="984" y="732"/>
                  </a:lnTo>
                  <a:lnTo>
                    <a:pt x="978" y="738"/>
                  </a:lnTo>
                  <a:lnTo>
                    <a:pt x="978" y="744"/>
                  </a:lnTo>
                  <a:lnTo>
                    <a:pt x="984" y="744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8" y="756"/>
                  </a:lnTo>
                  <a:lnTo>
                    <a:pt x="972" y="756"/>
                  </a:lnTo>
                  <a:lnTo>
                    <a:pt x="972" y="762"/>
                  </a:lnTo>
                  <a:lnTo>
                    <a:pt x="966" y="768"/>
                  </a:lnTo>
                  <a:lnTo>
                    <a:pt x="966" y="762"/>
                  </a:lnTo>
                  <a:lnTo>
                    <a:pt x="960" y="762"/>
                  </a:lnTo>
                  <a:lnTo>
                    <a:pt x="954" y="768"/>
                  </a:lnTo>
                  <a:lnTo>
                    <a:pt x="954" y="774"/>
                  </a:lnTo>
                  <a:lnTo>
                    <a:pt x="948" y="774"/>
                  </a:lnTo>
                  <a:lnTo>
                    <a:pt x="948" y="780"/>
                  </a:lnTo>
                  <a:lnTo>
                    <a:pt x="948" y="786"/>
                  </a:lnTo>
                  <a:lnTo>
                    <a:pt x="942" y="786"/>
                  </a:lnTo>
                  <a:lnTo>
                    <a:pt x="942" y="792"/>
                  </a:lnTo>
                  <a:lnTo>
                    <a:pt x="936" y="792"/>
                  </a:lnTo>
                  <a:lnTo>
                    <a:pt x="942" y="798"/>
                  </a:lnTo>
                  <a:lnTo>
                    <a:pt x="942" y="804"/>
                  </a:lnTo>
                  <a:lnTo>
                    <a:pt x="942" y="810"/>
                  </a:lnTo>
                  <a:lnTo>
                    <a:pt x="948" y="810"/>
                  </a:lnTo>
                  <a:lnTo>
                    <a:pt x="942" y="816"/>
                  </a:lnTo>
                  <a:lnTo>
                    <a:pt x="948" y="816"/>
                  </a:lnTo>
                  <a:lnTo>
                    <a:pt x="948" y="822"/>
                  </a:lnTo>
                  <a:lnTo>
                    <a:pt x="954" y="822"/>
                  </a:lnTo>
                  <a:lnTo>
                    <a:pt x="960" y="828"/>
                  </a:lnTo>
                  <a:lnTo>
                    <a:pt x="960" y="834"/>
                  </a:lnTo>
                  <a:lnTo>
                    <a:pt x="966" y="834"/>
                  </a:lnTo>
                  <a:lnTo>
                    <a:pt x="960" y="840"/>
                  </a:lnTo>
                  <a:lnTo>
                    <a:pt x="966" y="846"/>
                  </a:lnTo>
                  <a:lnTo>
                    <a:pt x="966" y="840"/>
                  </a:lnTo>
                  <a:lnTo>
                    <a:pt x="972" y="840"/>
                  </a:lnTo>
                  <a:lnTo>
                    <a:pt x="990" y="840"/>
                  </a:lnTo>
                  <a:lnTo>
                    <a:pt x="1002" y="834"/>
                  </a:lnTo>
                  <a:lnTo>
                    <a:pt x="1020" y="828"/>
                  </a:lnTo>
                  <a:lnTo>
                    <a:pt x="1032" y="828"/>
                  </a:lnTo>
                  <a:lnTo>
                    <a:pt x="1050" y="828"/>
                  </a:lnTo>
                  <a:lnTo>
                    <a:pt x="1062" y="846"/>
                  </a:lnTo>
                  <a:lnTo>
                    <a:pt x="1074" y="876"/>
                  </a:lnTo>
                  <a:lnTo>
                    <a:pt x="1068" y="900"/>
                  </a:lnTo>
                  <a:lnTo>
                    <a:pt x="1074" y="912"/>
                  </a:lnTo>
                  <a:lnTo>
                    <a:pt x="1074" y="936"/>
                  </a:lnTo>
                  <a:lnTo>
                    <a:pt x="1068" y="942"/>
                  </a:lnTo>
                  <a:lnTo>
                    <a:pt x="1062" y="954"/>
                  </a:lnTo>
                  <a:lnTo>
                    <a:pt x="1056" y="978"/>
                  </a:lnTo>
                  <a:lnTo>
                    <a:pt x="1056" y="996"/>
                  </a:lnTo>
                  <a:lnTo>
                    <a:pt x="1068" y="990"/>
                  </a:lnTo>
                  <a:lnTo>
                    <a:pt x="1074" y="990"/>
                  </a:lnTo>
                  <a:lnTo>
                    <a:pt x="1074" y="1008"/>
                  </a:lnTo>
                  <a:lnTo>
                    <a:pt x="1080" y="1008"/>
                  </a:lnTo>
                  <a:lnTo>
                    <a:pt x="1092" y="1014"/>
                  </a:lnTo>
                  <a:lnTo>
                    <a:pt x="1110" y="1044"/>
                  </a:lnTo>
                  <a:lnTo>
                    <a:pt x="1110" y="1062"/>
                  </a:lnTo>
                  <a:lnTo>
                    <a:pt x="1128" y="1068"/>
                  </a:lnTo>
                  <a:lnTo>
                    <a:pt x="1128" y="1092"/>
                  </a:lnTo>
                  <a:lnTo>
                    <a:pt x="1134" y="1098"/>
                  </a:lnTo>
                  <a:lnTo>
                    <a:pt x="1158" y="1122"/>
                  </a:lnTo>
                  <a:lnTo>
                    <a:pt x="1188" y="1122"/>
                  </a:lnTo>
                  <a:lnTo>
                    <a:pt x="1188" y="1128"/>
                  </a:lnTo>
                  <a:lnTo>
                    <a:pt x="1200" y="1134"/>
                  </a:lnTo>
                  <a:lnTo>
                    <a:pt x="1206" y="1134"/>
                  </a:lnTo>
                  <a:lnTo>
                    <a:pt x="1206" y="1128"/>
                  </a:lnTo>
                  <a:lnTo>
                    <a:pt x="1212" y="1128"/>
                  </a:lnTo>
                  <a:lnTo>
                    <a:pt x="1218" y="1128"/>
                  </a:lnTo>
                  <a:lnTo>
                    <a:pt x="1224" y="1122"/>
                  </a:lnTo>
                  <a:lnTo>
                    <a:pt x="1224" y="1128"/>
                  </a:lnTo>
                  <a:lnTo>
                    <a:pt x="1230" y="1128"/>
                  </a:lnTo>
                  <a:lnTo>
                    <a:pt x="1236" y="1128"/>
                  </a:lnTo>
                  <a:lnTo>
                    <a:pt x="1236" y="1122"/>
                  </a:lnTo>
                  <a:lnTo>
                    <a:pt x="1242" y="1122"/>
                  </a:lnTo>
                  <a:lnTo>
                    <a:pt x="1248" y="1128"/>
                  </a:lnTo>
                  <a:lnTo>
                    <a:pt x="1254" y="1128"/>
                  </a:lnTo>
                  <a:lnTo>
                    <a:pt x="1260" y="1134"/>
                  </a:lnTo>
                  <a:lnTo>
                    <a:pt x="1260" y="1140"/>
                  </a:lnTo>
                  <a:lnTo>
                    <a:pt x="1266" y="1140"/>
                  </a:lnTo>
                  <a:lnTo>
                    <a:pt x="1272" y="1140"/>
                  </a:lnTo>
                  <a:lnTo>
                    <a:pt x="1278" y="1140"/>
                  </a:lnTo>
                  <a:lnTo>
                    <a:pt x="1284" y="1140"/>
                  </a:lnTo>
                  <a:lnTo>
                    <a:pt x="1290" y="1146"/>
                  </a:lnTo>
                  <a:lnTo>
                    <a:pt x="1290" y="1152"/>
                  </a:lnTo>
                  <a:lnTo>
                    <a:pt x="1296" y="1146"/>
                  </a:lnTo>
                  <a:lnTo>
                    <a:pt x="1296" y="1152"/>
                  </a:lnTo>
                  <a:lnTo>
                    <a:pt x="1308" y="1152"/>
                  </a:lnTo>
                  <a:lnTo>
                    <a:pt x="1314" y="1152"/>
                  </a:lnTo>
                  <a:lnTo>
                    <a:pt x="1320" y="1152"/>
                  </a:lnTo>
                  <a:lnTo>
                    <a:pt x="1332" y="1152"/>
                  </a:lnTo>
                  <a:lnTo>
                    <a:pt x="1338" y="1152"/>
                  </a:lnTo>
                  <a:lnTo>
                    <a:pt x="1344" y="1152"/>
                  </a:lnTo>
                  <a:lnTo>
                    <a:pt x="1344" y="1158"/>
                  </a:lnTo>
                  <a:lnTo>
                    <a:pt x="1350" y="1158"/>
                  </a:lnTo>
                  <a:lnTo>
                    <a:pt x="1356" y="1158"/>
                  </a:lnTo>
                  <a:lnTo>
                    <a:pt x="1362" y="1158"/>
                  </a:lnTo>
                  <a:lnTo>
                    <a:pt x="1368" y="1158"/>
                  </a:lnTo>
                  <a:lnTo>
                    <a:pt x="1374" y="1164"/>
                  </a:lnTo>
                  <a:lnTo>
                    <a:pt x="1380" y="1164"/>
                  </a:lnTo>
                  <a:lnTo>
                    <a:pt x="1386" y="1170"/>
                  </a:lnTo>
                  <a:lnTo>
                    <a:pt x="1392" y="1170"/>
                  </a:lnTo>
                  <a:lnTo>
                    <a:pt x="1398" y="1164"/>
                  </a:lnTo>
                  <a:lnTo>
                    <a:pt x="1404" y="1164"/>
                  </a:lnTo>
                  <a:lnTo>
                    <a:pt x="1410" y="1164"/>
                  </a:lnTo>
                  <a:lnTo>
                    <a:pt x="1416" y="1164"/>
                  </a:lnTo>
                  <a:lnTo>
                    <a:pt x="1416" y="1170"/>
                  </a:lnTo>
                  <a:lnTo>
                    <a:pt x="1422" y="1176"/>
                  </a:lnTo>
                  <a:lnTo>
                    <a:pt x="1416" y="1176"/>
                  </a:lnTo>
                  <a:lnTo>
                    <a:pt x="1416" y="1182"/>
                  </a:lnTo>
                  <a:lnTo>
                    <a:pt x="1410" y="1188"/>
                  </a:lnTo>
                  <a:lnTo>
                    <a:pt x="1404" y="1194"/>
                  </a:lnTo>
                  <a:lnTo>
                    <a:pt x="1404" y="1200"/>
                  </a:lnTo>
                  <a:lnTo>
                    <a:pt x="1404" y="1206"/>
                  </a:lnTo>
                  <a:lnTo>
                    <a:pt x="1398" y="1212"/>
                  </a:lnTo>
                  <a:lnTo>
                    <a:pt x="1398" y="1206"/>
                  </a:lnTo>
                  <a:lnTo>
                    <a:pt x="1392" y="1206"/>
                  </a:lnTo>
                  <a:lnTo>
                    <a:pt x="1386" y="1206"/>
                  </a:lnTo>
                  <a:lnTo>
                    <a:pt x="1380" y="1212"/>
                  </a:lnTo>
                  <a:lnTo>
                    <a:pt x="1374" y="1212"/>
                  </a:lnTo>
                  <a:lnTo>
                    <a:pt x="1368" y="1218"/>
                  </a:lnTo>
                  <a:lnTo>
                    <a:pt x="1362" y="1218"/>
                  </a:lnTo>
                  <a:lnTo>
                    <a:pt x="1362" y="1224"/>
                  </a:lnTo>
                  <a:lnTo>
                    <a:pt x="1356" y="1230"/>
                  </a:lnTo>
                  <a:lnTo>
                    <a:pt x="1350" y="1230"/>
                  </a:lnTo>
                  <a:lnTo>
                    <a:pt x="1344" y="1236"/>
                  </a:lnTo>
                  <a:lnTo>
                    <a:pt x="1338" y="1230"/>
                  </a:lnTo>
                  <a:lnTo>
                    <a:pt x="1332" y="1230"/>
                  </a:lnTo>
                  <a:lnTo>
                    <a:pt x="1326" y="1230"/>
                  </a:lnTo>
                  <a:lnTo>
                    <a:pt x="1320" y="1230"/>
                  </a:lnTo>
                  <a:lnTo>
                    <a:pt x="1314" y="1230"/>
                  </a:lnTo>
                  <a:lnTo>
                    <a:pt x="1296" y="1242"/>
                  </a:lnTo>
                  <a:lnTo>
                    <a:pt x="1296" y="1248"/>
                  </a:lnTo>
                  <a:lnTo>
                    <a:pt x="1290" y="1248"/>
                  </a:lnTo>
                  <a:lnTo>
                    <a:pt x="1290" y="1260"/>
                  </a:lnTo>
                  <a:lnTo>
                    <a:pt x="1278" y="1272"/>
                  </a:lnTo>
                  <a:lnTo>
                    <a:pt x="1278" y="1278"/>
                  </a:lnTo>
                  <a:lnTo>
                    <a:pt x="1278" y="1284"/>
                  </a:lnTo>
                  <a:lnTo>
                    <a:pt x="1278" y="1290"/>
                  </a:lnTo>
                  <a:lnTo>
                    <a:pt x="1284" y="1296"/>
                  </a:lnTo>
                  <a:lnTo>
                    <a:pt x="1302" y="1302"/>
                  </a:lnTo>
                  <a:lnTo>
                    <a:pt x="1308" y="1308"/>
                  </a:lnTo>
                  <a:lnTo>
                    <a:pt x="1308" y="1314"/>
                  </a:lnTo>
                  <a:lnTo>
                    <a:pt x="1302" y="1320"/>
                  </a:lnTo>
                  <a:lnTo>
                    <a:pt x="1278" y="1314"/>
                  </a:lnTo>
                  <a:lnTo>
                    <a:pt x="1266" y="1308"/>
                  </a:lnTo>
                  <a:lnTo>
                    <a:pt x="1260" y="1296"/>
                  </a:lnTo>
                  <a:lnTo>
                    <a:pt x="1236" y="1296"/>
                  </a:lnTo>
                  <a:lnTo>
                    <a:pt x="1224" y="1308"/>
                  </a:lnTo>
                  <a:lnTo>
                    <a:pt x="1218" y="1308"/>
                  </a:lnTo>
                  <a:lnTo>
                    <a:pt x="1218" y="1302"/>
                  </a:lnTo>
                  <a:lnTo>
                    <a:pt x="1212" y="1302"/>
                  </a:lnTo>
                  <a:lnTo>
                    <a:pt x="1206" y="1302"/>
                  </a:lnTo>
                  <a:lnTo>
                    <a:pt x="1170" y="1314"/>
                  </a:lnTo>
                  <a:lnTo>
                    <a:pt x="1134" y="1296"/>
                  </a:lnTo>
                  <a:lnTo>
                    <a:pt x="1122" y="1290"/>
                  </a:lnTo>
                  <a:lnTo>
                    <a:pt x="1104" y="1290"/>
                  </a:lnTo>
                  <a:lnTo>
                    <a:pt x="1098" y="1278"/>
                  </a:lnTo>
                  <a:lnTo>
                    <a:pt x="1092" y="1242"/>
                  </a:lnTo>
                  <a:lnTo>
                    <a:pt x="1086" y="1242"/>
                  </a:lnTo>
                  <a:lnTo>
                    <a:pt x="1086" y="1248"/>
                  </a:lnTo>
                  <a:lnTo>
                    <a:pt x="1086" y="1254"/>
                  </a:lnTo>
                  <a:lnTo>
                    <a:pt x="1080" y="1254"/>
                  </a:lnTo>
                  <a:lnTo>
                    <a:pt x="1080" y="1260"/>
                  </a:lnTo>
                  <a:lnTo>
                    <a:pt x="1074" y="1260"/>
                  </a:lnTo>
                  <a:lnTo>
                    <a:pt x="1068" y="1236"/>
                  </a:lnTo>
                  <a:lnTo>
                    <a:pt x="1068" y="1206"/>
                  </a:lnTo>
                  <a:lnTo>
                    <a:pt x="1080" y="1194"/>
                  </a:lnTo>
                  <a:lnTo>
                    <a:pt x="1086" y="1194"/>
                  </a:lnTo>
                  <a:lnTo>
                    <a:pt x="1092" y="1200"/>
                  </a:lnTo>
                  <a:lnTo>
                    <a:pt x="1098" y="1206"/>
                  </a:lnTo>
                  <a:lnTo>
                    <a:pt x="1104" y="1200"/>
                  </a:lnTo>
                  <a:lnTo>
                    <a:pt x="1104" y="1194"/>
                  </a:lnTo>
                  <a:lnTo>
                    <a:pt x="1110" y="1194"/>
                  </a:lnTo>
                  <a:lnTo>
                    <a:pt x="1110" y="1188"/>
                  </a:lnTo>
                  <a:lnTo>
                    <a:pt x="1116" y="1182"/>
                  </a:lnTo>
                  <a:lnTo>
                    <a:pt x="1110" y="1182"/>
                  </a:lnTo>
                  <a:lnTo>
                    <a:pt x="1110" y="1170"/>
                  </a:lnTo>
                  <a:lnTo>
                    <a:pt x="1110" y="1158"/>
                  </a:lnTo>
                  <a:lnTo>
                    <a:pt x="1110" y="1152"/>
                  </a:lnTo>
                  <a:lnTo>
                    <a:pt x="1104" y="1146"/>
                  </a:lnTo>
                  <a:lnTo>
                    <a:pt x="1098" y="1140"/>
                  </a:lnTo>
                  <a:lnTo>
                    <a:pt x="1098" y="1134"/>
                  </a:lnTo>
                  <a:lnTo>
                    <a:pt x="1098" y="1128"/>
                  </a:lnTo>
                  <a:lnTo>
                    <a:pt x="1092" y="1128"/>
                  </a:lnTo>
                  <a:lnTo>
                    <a:pt x="1092" y="1122"/>
                  </a:lnTo>
                  <a:lnTo>
                    <a:pt x="1092" y="1116"/>
                  </a:lnTo>
                  <a:lnTo>
                    <a:pt x="1092" y="1110"/>
                  </a:lnTo>
                  <a:lnTo>
                    <a:pt x="1056" y="1122"/>
                  </a:lnTo>
                  <a:lnTo>
                    <a:pt x="1038" y="1128"/>
                  </a:lnTo>
                  <a:lnTo>
                    <a:pt x="1032" y="1128"/>
                  </a:lnTo>
                  <a:lnTo>
                    <a:pt x="1026" y="1128"/>
                  </a:lnTo>
                  <a:lnTo>
                    <a:pt x="1020" y="1128"/>
                  </a:lnTo>
                  <a:lnTo>
                    <a:pt x="1014" y="1128"/>
                  </a:lnTo>
                  <a:lnTo>
                    <a:pt x="1014" y="1122"/>
                  </a:lnTo>
                  <a:lnTo>
                    <a:pt x="1008" y="1122"/>
                  </a:lnTo>
                  <a:lnTo>
                    <a:pt x="1002" y="1128"/>
                  </a:lnTo>
                  <a:lnTo>
                    <a:pt x="1002" y="1134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84" y="1140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66" y="1140"/>
                  </a:lnTo>
                  <a:lnTo>
                    <a:pt x="954" y="1140"/>
                  </a:lnTo>
                  <a:lnTo>
                    <a:pt x="954" y="1134"/>
                  </a:lnTo>
                  <a:lnTo>
                    <a:pt x="948" y="1134"/>
                  </a:lnTo>
                  <a:lnTo>
                    <a:pt x="942" y="1134"/>
                  </a:lnTo>
                  <a:lnTo>
                    <a:pt x="936" y="1134"/>
                  </a:lnTo>
                  <a:lnTo>
                    <a:pt x="930" y="1134"/>
                  </a:lnTo>
                  <a:lnTo>
                    <a:pt x="924" y="1134"/>
                  </a:lnTo>
                  <a:lnTo>
                    <a:pt x="918" y="1134"/>
                  </a:lnTo>
                  <a:lnTo>
                    <a:pt x="918" y="1128"/>
                  </a:lnTo>
                  <a:lnTo>
                    <a:pt x="918" y="1104"/>
                  </a:lnTo>
                  <a:lnTo>
                    <a:pt x="906" y="1104"/>
                  </a:lnTo>
                  <a:lnTo>
                    <a:pt x="900" y="1098"/>
                  </a:lnTo>
                  <a:lnTo>
                    <a:pt x="900" y="1092"/>
                  </a:lnTo>
                  <a:lnTo>
                    <a:pt x="900" y="1086"/>
                  </a:lnTo>
                  <a:lnTo>
                    <a:pt x="900" y="1080"/>
                  </a:lnTo>
                  <a:lnTo>
                    <a:pt x="894" y="1080"/>
                  </a:lnTo>
                  <a:lnTo>
                    <a:pt x="858" y="1074"/>
                  </a:lnTo>
                  <a:lnTo>
                    <a:pt x="852" y="1080"/>
                  </a:lnTo>
                  <a:lnTo>
                    <a:pt x="846" y="1086"/>
                  </a:lnTo>
                  <a:lnTo>
                    <a:pt x="840" y="1086"/>
                  </a:lnTo>
                  <a:lnTo>
                    <a:pt x="840" y="1092"/>
                  </a:lnTo>
                  <a:lnTo>
                    <a:pt x="834" y="1092"/>
                  </a:lnTo>
                  <a:lnTo>
                    <a:pt x="828" y="1098"/>
                  </a:lnTo>
                  <a:lnTo>
                    <a:pt x="822" y="1098"/>
                  </a:lnTo>
                  <a:lnTo>
                    <a:pt x="762" y="1074"/>
                  </a:lnTo>
                  <a:lnTo>
                    <a:pt x="756" y="1068"/>
                  </a:lnTo>
                  <a:lnTo>
                    <a:pt x="750" y="1068"/>
                  </a:lnTo>
                  <a:lnTo>
                    <a:pt x="744" y="1062"/>
                  </a:lnTo>
                  <a:lnTo>
                    <a:pt x="744" y="1068"/>
                  </a:lnTo>
                  <a:lnTo>
                    <a:pt x="744" y="1074"/>
                  </a:lnTo>
                  <a:lnTo>
                    <a:pt x="738" y="1074"/>
                  </a:lnTo>
                  <a:lnTo>
                    <a:pt x="738" y="1068"/>
                  </a:lnTo>
                  <a:lnTo>
                    <a:pt x="732" y="1068"/>
                  </a:lnTo>
                  <a:lnTo>
                    <a:pt x="726" y="1068"/>
                  </a:lnTo>
                  <a:lnTo>
                    <a:pt x="726" y="1074"/>
                  </a:lnTo>
                  <a:lnTo>
                    <a:pt x="720" y="1074"/>
                  </a:lnTo>
                  <a:lnTo>
                    <a:pt x="684" y="106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5" name="Freeform 40">
              <a:extLst>
                <a:ext uri="{FF2B5EF4-FFF2-40B4-BE49-F238E27FC236}">
                  <a16:creationId xmlns:a16="http://schemas.microsoft.com/office/drawing/2014/main" id="{37EC2F22-BDB9-4162-8FA4-08493F6898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3558" y="1520374"/>
              <a:ext cx="1057717" cy="1252440"/>
            </a:xfrm>
            <a:custGeom>
              <a:avLst/>
              <a:gdLst>
                <a:gd name="T0" fmla="*/ 98 w 1992"/>
                <a:gd name="T1" fmla="*/ 162 h 2358"/>
                <a:gd name="T2" fmla="*/ 93 w 1992"/>
                <a:gd name="T3" fmla="*/ 172 h 2358"/>
                <a:gd name="T4" fmla="*/ 82 w 1992"/>
                <a:gd name="T5" fmla="*/ 179 h 2358"/>
                <a:gd name="T6" fmla="*/ 70 w 1992"/>
                <a:gd name="T7" fmla="*/ 174 h 2358"/>
                <a:gd name="T8" fmla="*/ 62 w 1992"/>
                <a:gd name="T9" fmla="*/ 182 h 2358"/>
                <a:gd name="T10" fmla="*/ 45 w 1992"/>
                <a:gd name="T11" fmla="*/ 189 h 2358"/>
                <a:gd name="T12" fmla="*/ 24 w 1992"/>
                <a:gd name="T13" fmla="*/ 205 h 2358"/>
                <a:gd name="T14" fmla="*/ 17 w 1992"/>
                <a:gd name="T15" fmla="*/ 204 h 2358"/>
                <a:gd name="T16" fmla="*/ 7 w 1992"/>
                <a:gd name="T17" fmla="*/ 197 h 2358"/>
                <a:gd name="T18" fmla="*/ 1 w 1992"/>
                <a:gd name="T19" fmla="*/ 191 h 2358"/>
                <a:gd name="T20" fmla="*/ 4 w 1992"/>
                <a:gd name="T21" fmla="*/ 175 h 2358"/>
                <a:gd name="T22" fmla="*/ 7 w 1992"/>
                <a:gd name="T23" fmla="*/ 172 h 2358"/>
                <a:gd name="T24" fmla="*/ 11 w 1992"/>
                <a:gd name="T25" fmla="*/ 168 h 2358"/>
                <a:gd name="T26" fmla="*/ 5 w 1992"/>
                <a:gd name="T27" fmla="*/ 159 h 2358"/>
                <a:gd name="T28" fmla="*/ 10 w 1992"/>
                <a:gd name="T29" fmla="*/ 156 h 2358"/>
                <a:gd name="T30" fmla="*/ 15 w 1992"/>
                <a:gd name="T31" fmla="*/ 155 h 2358"/>
                <a:gd name="T32" fmla="*/ 24 w 1992"/>
                <a:gd name="T33" fmla="*/ 149 h 2358"/>
                <a:gd name="T34" fmla="*/ 38 w 1992"/>
                <a:gd name="T35" fmla="*/ 127 h 2358"/>
                <a:gd name="T36" fmla="*/ 38 w 1992"/>
                <a:gd name="T37" fmla="*/ 107 h 2358"/>
                <a:gd name="T38" fmla="*/ 45 w 1992"/>
                <a:gd name="T39" fmla="*/ 66 h 2358"/>
                <a:gd name="T40" fmla="*/ 47 w 1992"/>
                <a:gd name="T41" fmla="*/ 36 h 2358"/>
                <a:gd name="T42" fmla="*/ 51 w 1992"/>
                <a:gd name="T43" fmla="*/ 35 h 2358"/>
                <a:gd name="T44" fmla="*/ 55 w 1992"/>
                <a:gd name="T45" fmla="*/ 30 h 2358"/>
                <a:gd name="T46" fmla="*/ 56 w 1992"/>
                <a:gd name="T47" fmla="*/ 27 h 2358"/>
                <a:gd name="T48" fmla="*/ 60 w 1992"/>
                <a:gd name="T49" fmla="*/ 23 h 2358"/>
                <a:gd name="T50" fmla="*/ 63 w 1992"/>
                <a:gd name="T51" fmla="*/ 23 h 2358"/>
                <a:gd name="T52" fmla="*/ 70 w 1992"/>
                <a:gd name="T53" fmla="*/ 18 h 2358"/>
                <a:gd name="T54" fmla="*/ 71 w 1992"/>
                <a:gd name="T55" fmla="*/ 15 h 2358"/>
                <a:gd name="T56" fmla="*/ 72 w 1992"/>
                <a:gd name="T57" fmla="*/ 13 h 2358"/>
                <a:gd name="T58" fmla="*/ 77 w 1992"/>
                <a:gd name="T59" fmla="*/ 12 h 2358"/>
                <a:gd name="T60" fmla="*/ 83 w 1992"/>
                <a:gd name="T61" fmla="*/ 10 h 2358"/>
                <a:gd name="T62" fmla="*/ 87 w 1992"/>
                <a:gd name="T63" fmla="*/ 10 h 2358"/>
                <a:gd name="T64" fmla="*/ 89 w 1992"/>
                <a:gd name="T65" fmla="*/ 10 h 2358"/>
                <a:gd name="T66" fmla="*/ 93 w 1992"/>
                <a:gd name="T67" fmla="*/ 8 h 2358"/>
                <a:gd name="T68" fmla="*/ 95 w 1992"/>
                <a:gd name="T69" fmla="*/ 4 h 2358"/>
                <a:gd name="T70" fmla="*/ 99 w 1992"/>
                <a:gd name="T71" fmla="*/ 0 h 2358"/>
                <a:gd name="T72" fmla="*/ 111 w 1992"/>
                <a:gd name="T73" fmla="*/ 0 h 2358"/>
                <a:gd name="T74" fmla="*/ 121 w 1992"/>
                <a:gd name="T75" fmla="*/ 9 h 2358"/>
                <a:gd name="T76" fmla="*/ 128 w 1992"/>
                <a:gd name="T77" fmla="*/ 19 h 2358"/>
                <a:gd name="T78" fmla="*/ 138 w 1992"/>
                <a:gd name="T79" fmla="*/ 33 h 2358"/>
                <a:gd name="T80" fmla="*/ 142 w 1992"/>
                <a:gd name="T81" fmla="*/ 47 h 2358"/>
                <a:gd name="T82" fmla="*/ 145 w 1992"/>
                <a:gd name="T83" fmla="*/ 62 h 2358"/>
                <a:gd name="T84" fmla="*/ 145 w 1992"/>
                <a:gd name="T85" fmla="*/ 70 h 2358"/>
                <a:gd name="T86" fmla="*/ 147 w 1992"/>
                <a:gd name="T87" fmla="*/ 75 h 2358"/>
                <a:gd name="T88" fmla="*/ 153 w 1992"/>
                <a:gd name="T89" fmla="*/ 75 h 2358"/>
                <a:gd name="T90" fmla="*/ 160 w 1992"/>
                <a:gd name="T91" fmla="*/ 76 h 2358"/>
                <a:gd name="T92" fmla="*/ 164 w 1992"/>
                <a:gd name="T93" fmla="*/ 79 h 2358"/>
                <a:gd name="T94" fmla="*/ 168 w 1992"/>
                <a:gd name="T95" fmla="*/ 83 h 2358"/>
                <a:gd name="T96" fmla="*/ 172 w 1992"/>
                <a:gd name="T97" fmla="*/ 86 h 2358"/>
                <a:gd name="T98" fmla="*/ 170 w 1992"/>
                <a:gd name="T99" fmla="*/ 93 h 2358"/>
                <a:gd name="T100" fmla="*/ 170 w 1992"/>
                <a:gd name="T101" fmla="*/ 99 h 2358"/>
                <a:gd name="T102" fmla="*/ 169 w 1992"/>
                <a:gd name="T103" fmla="*/ 106 h 2358"/>
                <a:gd name="T104" fmla="*/ 166 w 1992"/>
                <a:gd name="T105" fmla="*/ 113 h 2358"/>
                <a:gd name="T106" fmla="*/ 170 w 1992"/>
                <a:gd name="T107" fmla="*/ 122 h 2358"/>
                <a:gd name="T108" fmla="*/ 159 w 1992"/>
                <a:gd name="T109" fmla="*/ 128 h 2358"/>
                <a:gd name="T110" fmla="*/ 148 w 1992"/>
                <a:gd name="T111" fmla="*/ 134 h 2358"/>
                <a:gd name="T112" fmla="*/ 139 w 1992"/>
                <a:gd name="T113" fmla="*/ 136 h 2358"/>
                <a:gd name="T114" fmla="*/ 132 w 1992"/>
                <a:gd name="T115" fmla="*/ 138 h 2358"/>
                <a:gd name="T116" fmla="*/ 128 w 1992"/>
                <a:gd name="T117" fmla="*/ 145 h 2358"/>
                <a:gd name="T118" fmla="*/ 124 w 1992"/>
                <a:gd name="T119" fmla="*/ 150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92"/>
                <a:gd name="T181" fmla="*/ 0 h 2358"/>
                <a:gd name="T182" fmla="*/ 1992 w 1992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92" h="2358">
                  <a:moveTo>
                    <a:pt x="1356" y="1782"/>
                  </a:moveTo>
                  <a:lnTo>
                    <a:pt x="1350" y="1788"/>
                  </a:lnTo>
                  <a:lnTo>
                    <a:pt x="1266" y="1788"/>
                  </a:lnTo>
                  <a:lnTo>
                    <a:pt x="1260" y="1800"/>
                  </a:lnTo>
                  <a:lnTo>
                    <a:pt x="1242" y="1806"/>
                  </a:lnTo>
                  <a:lnTo>
                    <a:pt x="1218" y="1812"/>
                  </a:lnTo>
                  <a:lnTo>
                    <a:pt x="1182" y="1812"/>
                  </a:lnTo>
                  <a:lnTo>
                    <a:pt x="1158" y="1806"/>
                  </a:lnTo>
                  <a:lnTo>
                    <a:pt x="1134" y="1800"/>
                  </a:lnTo>
                  <a:lnTo>
                    <a:pt x="1134" y="1806"/>
                  </a:lnTo>
                  <a:lnTo>
                    <a:pt x="1134" y="1830"/>
                  </a:lnTo>
                  <a:lnTo>
                    <a:pt x="1128" y="1842"/>
                  </a:lnTo>
                  <a:lnTo>
                    <a:pt x="1128" y="1854"/>
                  </a:lnTo>
                  <a:lnTo>
                    <a:pt x="1128" y="1860"/>
                  </a:lnTo>
                  <a:lnTo>
                    <a:pt x="1128" y="1866"/>
                  </a:lnTo>
                  <a:lnTo>
                    <a:pt x="1128" y="1872"/>
                  </a:lnTo>
                  <a:lnTo>
                    <a:pt x="1128" y="1884"/>
                  </a:lnTo>
                  <a:lnTo>
                    <a:pt x="1128" y="1890"/>
                  </a:lnTo>
                  <a:lnTo>
                    <a:pt x="1128" y="1896"/>
                  </a:lnTo>
                  <a:lnTo>
                    <a:pt x="1122" y="1902"/>
                  </a:lnTo>
                  <a:lnTo>
                    <a:pt x="1122" y="1920"/>
                  </a:lnTo>
                  <a:lnTo>
                    <a:pt x="1116" y="1920"/>
                  </a:lnTo>
                  <a:lnTo>
                    <a:pt x="1110" y="1926"/>
                  </a:lnTo>
                  <a:lnTo>
                    <a:pt x="1110" y="1932"/>
                  </a:lnTo>
                  <a:lnTo>
                    <a:pt x="1104" y="1938"/>
                  </a:lnTo>
                  <a:lnTo>
                    <a:pt x="1086" y="1962"/>
                  </a:lnTo>
                  <a:lnTo>
                    <a:pt x="1074" y="1974"/>
                  </a:lnTo>
                  <a:lnTo>
                    <a:pt x="1074" y="1980"/>
                  </a:lnTo>
                  <a:lnTo>
                    <a:pt x="1068" y="1986"/>
                  </a:lnTo>
                  <a:lnTo>
                    <a:pt x="1062" y="1998"/>
                  </a:lnTo>
                  <a:lnTo>
                    <a:pt x="1062" y="2004"/>
                  </a:lnTo>
                  <a:lnTo>
                    <a:pt x="1068" y="2004"/>
                  </a:lnTo>
                  <a:lnTo>
                    <a:pt x="1056" y="2034"/>
                  </a:lnTo>
                  <a:lnTo>
                    <a:pt x="1050" y="2076"/>
                  </a:lnTo>
                  <a:lnTo>
                    <a:pt x="1056" y="2100"/>
                  </a:lnTo>
                  <a:lnTo>
                    <a:pt x="1038" y="2106"/>
                  </a:lnTo>
                  <a:lnTo>
                    <a:pt x="1002" y="2106"/>
                  </a:lnTo>
                  <a:lnTo>
                    <a:pt x="978" y="2094"/>
                  </a:lnTo>
                  <a:lnTo>
                    <a:pt x="972" y="2082"/>
                  </a:lnTo>
                  <a:lnTo>
                    <a:pt x="966" y="2070"/>
                  </a:lnTo>
                  <a:lnTo>
                    <a:pt x="954" y="2064"/>
                  </a:lnTo>
                  <a:lnTo>
                    <a:pt x="942" y="2058"/>
                  </a:lnTo>
                  <a:lnTo>
                    <a:pt x="936" y="2058"/>
                  </a:lnTo>
                  <a:lnTo>
                    <a:pt x="918" y="2046"/>
                  </a:lnTo>
                  <a:lnTo>
                    <a:pt x="906" y="2028"/>
                  </a:lnTo>
                  <a:lnTo>
                    <a:pt x="900" y="2022"/>
                  </a:lnTo>
                  <a:lnTo>
                    <a:pt x="894" y="2022"/>
                  </a:lnTo>
                  <a:lnTo>
                    <a:pt x="882" y="2022"/>
                  </a:lnTo>
                  <a:lnTo>
                    <a:pt x="870" y="2016"/>
                  </a:lnTo>
                  <a:lnTo>
                    <a:pt x="864" y="2016"/>
                  </a:lnTo>
                  <a:lnTo>
                    <a:pt x="852" y="2010"/>
                  </a:lnTo>
                  <a:lnTo>
                    <a:pt x="846" y="2004"/>
                  </a:lnTo>
                  <a:lnTo>
                    <a:pt x="840" y="2004"/>
                  </a:lnTo>
                  <a:lnTo>
                    <a:pt x="828" y="1998"/>
                  </a:lnTo>
                  <a:lnTo>
                    <a:pt x="816" y="1998"/>
                  </a:lnTo>
                  <a:lnTo>
                    <a:pt x="810" y="1998"/>
                  </a:lnTo>
                  <a:lnTo>
                    <a:pt x="804" y="1998"/>
                  </a:lnTo>
                  <a:lnTo>
                    <a:pt x="798" y="1998"/>
                  </a:lnTo>
                  <a:lnTo>
                    <a:pt x="792" y="2004"/>
                  </a:lnTo>
                  <a:lnTo>
                    <a:pt x="786" y="2010"/>
                  </a:lnTo>
                  <a:lnTo>
                    <a:pt x="762" y="2010"/>
                  </a:lnTo>
                  <a:lnTo>
                    <a:pt x="756" y="2010"/>
                  </a:lnTo>
                  <a:lnTo>
                    <a:pt x="744" y="2022"/>
                  </a:lnTo>
                  <a:lnTo>
                    <a:pt x="738" y="2034"/>
                  </a:lnTo>
                  <a:lnTo>
                    <a:pt x="732" y="2040"/>
                  </a:lnTo>
                  <a:lnTo>
                    <a:pt x="732" y="2046"/>
                  </a:lnTo>
                  <a:lnTo>
                    <a:pt x="726" y="2058"/>
                  </a:lnTo>
                  <a:lnTo>
                    <a:pt x="720" y="2064"/>
                  </a:lnTo>
                  <a:lnTo>
                    <a:pt x="714" y="2070"/>
                  </a:lnTo>
                  <a:lnTo>
                    <a:pt x="708" y="2088"/>
                  </a:lnTo>
                  <a:lnTo>
                    <a:pt x="702" y="2100"/>
                  </a:lnTo>
                  <a:lnTo>
                    <a:pt x="690" y="2100"/>
                  </a:lnTo>
                  <a:lnTo>
                    <a:pt x="684" y="2094"/>
                  </a:lnTo>
                  <a:lnTo>
                    <a:pt x="666" y="2100"/>
                  </a:lnTo>
                  <a:lnTo>
                    <a:pt x="636" y="2106"/>
                  </a:lnTo>
                  <a:lnTo>
                    <a:pt x="636" y="2112"/>
                  </a:lnTo>
                  <a:lnTo>
                    <a:pt x="636" y="2118"/>
                  </a:lnTo>
                  <a:lnTo>
                    <a:pt x="636" y="2124"/>
                  </a:lnTo>
                  <a:lnTo>
                    <a:pt x="630" y="2124"/>
                  </a:lnTo>
                  <a:lnTo>
                    <a:pt x="630" y="2148"/>
                  </a:lnTo>
                  <a:lnTo>
                    <a:pt x="612" y="2160"/>
                  </a:lnTo>
                  <a:lnTo>
                    <a:pt x="576" y="2172"/>
                  </a:lnTo>
                  <a:lnTo>
                    <a:pt x="546" y="2172"/>
                  </a:lnTo>
                  <a:lnTo>
                    <a:pt x="516" y="2172"/>
                  </a:lnTo>
                  <a:lnTo>
                    <a:pt x="486" y="2172"/>
                  </a:lnTo>
                  <a:lnTo>
                    <a:pt x="462" y="2172"/>
                  </a:lnTo>
                  <a:lnTo>
                    <a:pt x="444" y="2196"/>
                  </a:lnTo>
                  <a:lnTo>
                    <a:pt x="432" y="2232"/>
                  </a:lnTo>
                  <a:lnTo>
                    <a:pt x="408" y="2238"/>
                  </a:lnTo>
                  <a:lnTo>
                    <a:pt x="390" y="2256"/>
                  </a:lnTo>
                  <a:lnTo>
                    <a:pt x="372" y="2274"/>
                  </a:lnTo>
                  <a:lnTo>
                    <a:pt x="360" y="2274"/>
                  </a:lnTo>
                  <a:lnTo>
                    <a:pt x="336" y="2328"/>
                  </a:lnTo>
                  <a:lnTo>
                    <a:pt x="324" y="2340"/>
                  </a:lnTo>
                  <a:lnTo>
                    <a:pt x="300" y="2346"/>
                  </a:lnTo>
                  <a:lnTo>
                    <a:pt x="294" y="2352"/>
                  </a:lnTo>
                  <a:lnTo>
                    <a:pt x="288" y="2352"/>
                  </a:lnTo>
                  <a:lnTo>
                    <a:pt x="282" y="2352"/>
                  </a:lnTo>
                  <a:lnTo>
                    <a:pt x="276" y="2352"/>
                  </a:lnTo>
                  <a:lnTo>
                    <a:pt x="270" y="2352"/>
                  </a:lnTo>
                  <a:lnTo>
                    <a:pt x="270" y="2346"/>
                  </a:lnTo>
                  <a:lnTo>
                    <a:pt x="264" y="2346"/>
                  </a:lnTo>
                  <a:lnTo>
                    <a:pt x="258" y="2352"/>
                  </a:lnTo>
                  <a:lnTo>
                    <a:pt x="252" y="2352"/>
                  </a:lnTo>
                  <a:lnTo>
                    <a:pt x="240" y="2352"/>
                  </a:lnTo>
                  <a:lnTo>
                    <a:pt x="228" y="2352"/>
                  </a:lnTo>
                  <a:lnTo>
                    <a:pt x="222" y="2352"/>
                  </a:lnTo>
                  <a:lnTo>
                    <a:pt x="216" y="2358"/>
                  </a:lnTo>
                  <a:lnTo>
                    <a:pt x="216" y="2352"/>
                  </a:lnTo>
                  <a:lnTo>
                    <a:pt x="210" y="2346"/>
                  </a:lnTo>
                  <a:lnTo>
                    <a:pt x="204" y="2346"/>
                  </a:lnTo>
                  <a:lnTo>
                    <a:pt x="198" y="2340"/>
                  </a:lnTo>
                  <a:lnTo>
                    <a:pt x="192" y="2340"/>
                  </a:lnTo>
                  <a:lnTo>
                    <a:pt x="186" y="2340"/>
                  </a:lnTo>
                  <a:lnTo>
                    <a:pt x="180" y="2340"/>
                  </a:lnTo>
                  <a:lnTo>
                    <a:pt x="174" y="2340"/>
                  </a:lnTo>
                  <a:lnTo>
                    <a:pt x="162" y="2328"/>
                  </a:lnTo>
                  <a:lnTo>
                    <a:pt x="156" y="2322"/>
                  </a:lnTo>
                  <a:lnTo>
                    <a:pt x="156" y="2316"/>
                  </a:lnTo>
                  <a:lnTo>
                    <a:pt x="156" y="2310"/>
                  </a:lnTo>
                  <a:lnTo>
                    <a:pt x="132" y="2286"/>
                  </a:lnTo>
                  <a:lnTo>
                    <a:pt x="120" y="2280"/>
                  </a:lnTo>
                  <a:lnTo>
                    <a:pt x="96" y="2274"/>
                  </a:lnTo>
                  <a:lnTo>
                    <a:pt x="84" y="2268"/>
                  </a:lnTo>
                  <a:lnTo>
                    <a:pt x="78" y="2268"/>
                  </a:lnTo>
                  <a:lnTo>
                    <a:pt x="78" y="2262"/>
                  </a:lnTo>
                  <a:lnTo>
                    <a:pt x="78" y="2256"/>
                  </a:lnTo>
                  <a:lnTo>
                    <a:pt x="78" y="2250"/>
                  </a:lnTo>
                  <a:lnTo>
                    <a:pt x="72" y="2250"/>
                  </a:lnTo>
                  <a:lnTo>
                    <a:pt x="66" y="2250"/>
                  </a:lnTo>
                  <a:lnTo>
                    <a:pt x="60" y="2250"/>
                  </a:lnTo>
                  <a:lnTo>
                    <a:pt x="48" y="2244"/>
                  </a:lnTo>
                  <a:lnTo>
                    <a:pt x="36" y="2238"/>
                  </a:lnTo>
                  <a:lnTo>
                    <a:pt x="36" y="2226"/>
                  </a:lnTo>
                  <a:lnTo>
                    <a:pt x="30" y="2226"/>
                  </a:lnTo>
                  <a:lnTo>
                    <a:pt x="30" y="2220"/>
                  </a:lnTo>
                  <a:lnTo>
                    <a:pt x="24" y="2208"/>
                  </a:lnTo>
                  <a:lnTo>
                    <a:pt x="18" y="2202"/>
                  </a:lnTo>
                  <a:lnTo>
                    <a:pt x="18" y="2196"/>
                  </a:lnTo>
                  <a:lnTo>
                    <a:pt x="12" y="2190"/>
                  </a:lnTo>
                  <a:lnTo>
                    <a:pt x="0" y="2190"/>
                  </a:lnTo>
                  <a:lnTo>
                    <a:pt x="6" y="2184"/>
                  </a:lnTo>
                  <a:lnTo>
                    <a:pt x="12" y="2178"/>
                  </a:lnTo>
                  <a:lnTo>
                    <a:pt x="18" y="2172"/>
                  </a:lnTo>
                  <a:lnTo>
                    <a:pt x="24" y="2166"/>
                  </a:lnTo>
                  <a:lnTo>
                    <a:pt x="30" y="2166"/>
                  </a:lnTo>
                  <a:lnTo>
                    <a:pt x="24" y="2160"/>
                  </a:lnTo>
                  <a:lnTo>
                    <a:pt x="30" y="2160"/>
                  </a:lnTo>
                  <a:lnTo>
                    <a:pt x="36" y="2154"/>
                  </a:lnTo>
                  <a:lnTo>
                    <a:pt x="36" y="2136"/>
                  </a:lnTo>
                  <a:lnTo>
                    <a:pt x="36" y="2118"/>
                  </a:lnTo>
                  <a:lnTo>
                    <a:pt x="48" y="2058"/>
                  </a:lnTo>
                  <a:lnTo>
                    <a:pt x="48" y="2022"/>
                  </a:lnTo>
                  <a:lnTo>
                    <a:pt x="48" y="2016"/>
                  </a:lnTo>
                  <a:lnTo>
                    <a:pt x="48" y="2010"/>
                  </a:lnTo>
                  <a:lnTo>
                    <a:pt x="48" y="2004"/>
                  </a:lnTo>
                  <a:lnTo>
                    <a:pt x="42" y="2004"/>
                  </a:lnTo>
                  <a:lnTo>
                    <a:pt x="42" y="1998"/>
                  </a:lnTo>
                  <a:lnTo>
                    <a:pt x="36" y="1992"/>
                  </a:lnTo>
                  <a:lnTo>
                    <a:pt x="42" y="1992"/>
                  </a:lnTo>
                  <a:lnTo>
                    <a:pt x="42" y="1986"/>
                  </a:lnTo>
                  <a:lnTo>
                    <a:pt x="48" y="1986"/>
                  </a:lnTo>
                  <a:lnTo>
                    <a:pt x="54" y="1986"/>
                  </a:lnTo>
                  <a:lnTo>
                    <a:pt x="60" y="1986"/>
                  </a:lnTo>
                  <a:lnTo>
                    <a:pt x="66" y="1980"/>
                  </a:lnTo>
                  <a:lnTo>
                    <a:pt x="72" y="1974"/>
                  </a:lnTo>
                  <a:lnTo>
                    <a:pt x="78" y="1974"/>
                  </a:lnTo>
                  <a:lnTo>
                    <a:pt x="84" y="1974"/>
                  </a:lnTo>
                  <a:lnTo>
                    <a:pt x="90" y="1974"/>
                  </a:lnTo>
                  <a:lnTo>
                    <a:pt x="96" y="1974"/>
                  </a:lnTo>
                  <a:lnTo>
                    <a:pt x="96" y="1968"/>
                  </a:lnTo>
                  <a:lnTo>
                    <a:pt x="102" y="1968"/>
                  </a:lnTo>
                  <a:lnTo>
                    <a:pt x="102" y="1962"/>
                  </a:lnTo>
                  <a:lnTo>
                    <a:pt x="108" y="1962"/>
                  </a:lnTo>
                  <a:lnTo>
                    <a:pt x="114" y="1956"/>
                  </a:lnTo>
                  <a:lnTo>
                    <a:pt x="120" y="1956"/>
                  </a:lnTo>
                  <a:lnTo>
                    <a:pt x="126" y="1950"/>
                  </a:lnTo>
                  <a:lnTo>
                    <a:pt x="132" y="1950"/>
                  </a:lnTo>
                  <a:lnTo>
                    <a:pt x="132" y="1944"/>
                  </a:lnTo>
                  <a:lnTo>
                    <a:pt x="126" y="1944"/>
                  </a:lnTo>
                  <a:lnTo>
                    <a:pt x="126" y="1938"/>
                  </a:lnTo>
                  <a:lnTo>
                    <a:pt x="126" y="1932"/>
                  </a:lnTo>
                  <a:lnTo>
                    <a:pt x="126" y="1926"/>
                  </a:lnTo>
                  <a:lnTo>
                    <a:pt x="114" y="1914"/>
                  </a:lnTo>
                  <a:lnTo>
                    <a:pt x="114" y="1896"/>
                  </a:lnTo>
                  <a:lnTo>
                    <a:pt x="108" y="1884"/>
                  </a:lnTo>
                  <a:lnTo>
                    <a:pt x="102" y="1872"/>
                  </a:lnTo>
                  <a:lnTo>
                    <a:pt x="96" y="1866"/>
                  </a:lnTo>
                  <a:lnTo>
                    <a:pt x="96" y="1860"/>
                  </a:lnTo>
                  <a:lnTo>
                    <a:pt x="90" y="1860"/>
                  </a:lnTo>
                  <a:lnTo>
                    <a:pt x="90" y="1854"/>
                  </a:lnTo>
                  <a:lnTo>
                    <a:pt x="84" y="1848"/>
                  </a:lnTo>
                  <a:lnTo>
                    <a:pt x="78" y="1842"/>
                  </a:lnTo>
                  <a:lnTo>
                    <a:pt x="72" y="1836"/>
                  </a:lnTo>
                  <a:lnTo>
                    <a:pt x="66" y="1830"/>
                  </a:lnTo>
                  <a:lnTo>
                    <a:pt x="60" y="1824"/>
                  </a:lnTo>
                  <a:lnTo>
                    <a:pt x="54" y="1824"/>
                  </a:lnTo>
                  <a:lnTo>
                    <a:pt x="48" y="1824"/>
                  </a:lnTo>
                  <a:lnTo>
                    <a:pt x="42" y="1818"/>
                  </a:lnTo>
                  <a:lnTo>
                    <a:pt x="54" y="1818"/>
                  </a:lnTo>
                  <a:lnTo>
                    <a:pt x="60" y="1812"/>
                  </a:lnTo>
                  <a:lnTo>
                    <a:pt x="66" y="1812"/>
                  </a:lnTo>
                  <a:lnTo>
                    <a:pt x="72" y="1812"/>
                  </a:lnTo>
                  <a:lnTo>
                    <a:pt x="78" y="1812"/>
                  </a:lnTo>
                  <a:lnTo>
                    <a:pt x="84" y="1812"/>
                  </a:lnTo>
                  <a:lnTo>
                    <a:pt x="90" y="1806"/>
                  </a:lnTo>
                  <a:lnTo>
                    <a:pt x="96" y="1800"/>
                  </a:lnTo>
                  <a:lnTo>
                    <a:pt x="102" y="1806"/>
                  </a:lnTo>
                  <a:lnTo>
                    <a:pt x="108" y="1800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26" y="1788"/>
                  </a:lnTo>
                  <a:lnTo>
                    <a:pt x="126" y="1794"/>
                  </a:lnTo>
                  <a:lnTo>
                    <a:pt x="132" y="1794"/>
                  </a:lnTo>
                  <a:lnTo>
                    <a:pt x="132" y="1788"/>
                  </a:lnTo>
                  <a:lnTo>
                    <a:pt x="138" y="1788"/>
                  </a:lnTo>
                  <a:lnTo>
                    <a:pt x="138" y="1782"/>
                  </a:lnTo>
                  <a:lnTo>
                    <a:pt x="144" y="1782"/>
                  </a:lnTo>
                  <a:lnTo>
                    <a:pt x="150" y="1776"/>
                  </a:lnTo>
                  <a:lnTo>
                    <a:pt x="156" y="1782"/>
                  </a:lnTo>
                  <a:lnTo>
                    <a:pt x="162" y="1776"/>
                  </a:lnTo>
                  <a:lnTo>
                    <a:pt x="168" y="1776"/>
                  </a:lnTo>
                  <a:lnTo>
                    <a:pt x="180" y="1776"/>
                  </a:lnTo>
                  <a:lnTo>
                    <a:pt x="186" y="1776"/>
                  </a:lnTo>
                  <a:lnTo>
                    <a:pt x="186" y="1782"/>
                  </a:lnTo>
                  <a:lnTo>
                    <a:pt x="192" y="1776"/>
                  </a:lnTo>
                  <a:lnTo>
                    <a:pt x="198" y="1776"/>
                  </a:lnTo>
                  <a:lnTo>
                    <a:pt x="204" y="1770"/>
                  </a:lnTo>
                  <a:lnTo>
                    <a:pt x="204" y="1764"/>
                  </a:lnTo>
                  <a:lnTo>
                    <a:pt x="210" y="1764"/>
                  </a:lnTo>
                  <a:lnTo>
                    <a:pt x="216" y="1764"/>
                  </a:lnTo>
                  <a:lnTo>
                    <a:pt x="216" y="1758"/>
                  </a:lnTo>
                  <a:lnTo>
                    <a:pt x="222" y="1758"/>
                  </a:lnTo>
                  <a:lnTo>
                    <a:pt x="228" y="1758"/>
                  </a:lnTo>
                  <a:lnTo>
                    <a:pt x="258" y="1746"/>
                  </a:lnTo>
                  <a:lnTo>
                    <a:pt x="282" y="1716"/>
                  </a:lnTo>
                  <a:lnTo>
                    <a:pt x="300" y="1698"/>
                  </a:lnTo>
                  <a:lnTo>
                    <a:pt x="312" y="1698"/>
                  </a:lnTo>
                  <a:lnTo>
                    <a:pt x="336" y="1698"/>
                  </a:lnTo>
                  <a:lnTo>
                    <a:pt x="360" y="1698"/>
                  </a:lnTo>
                  <a:lnTo>
                    <a:pt x="372" y="1692"/>
                  </a:lnTo>
                  <a:lnTo>
                    <a:pt x="384" y="1692"/>
                  </a:lnTo>
                  <a:lnTo>
                    <a:pt x="360" y="1668"/>
                  </a:lnTo>
                  <a:lnTo>
                    <a:pt x="348" y="1626"/>
                  </a:lnTo>
                  <a:lnTo>
                    <a:pt x="354" y="1578"/>
                  </a:lnTo>
                  <a:lnTo>
                    <a:pt x="354" y="1572"/>
                  </a:lnTo>
                  <a:lnTo>
                    <a:pt x="360" y="1572"/>
                  </a:lnTo>
                  <a:lnTo>
                    <a:pt x="396" y="1530"/>
                  </a:lnTo>
                  <a:lnTo>
                    <a:pt x="408" y="1482"/>
                  </a:lnTo>
                  <a:lnTo>
                    <a:pt x="438" y="1458"/>
                  </a:lnTo>
                  <a:lnTo>
                    <a:pt x="468" y="1422"/>
                  </a:lnTo>
                  <a:lnTo>
                    <a:pt x="480" y="1410"/>
                  </a:lnTo>
                  <a:lnTo>
                    <a:pt x="474" y="1386"/>
                  </a:lnTo>
                  <a:lnTo>
                    <a:pt x="456" y="1356"/>
                  </a:lnTo>
                  <a:lnTo>
                    <a:pt x="438" y="1350"/>
                  </a:lnTo>
                  <a:lnTo>
                    <a:pt x="420" y="1350"/>
                  </a:lnTo>
                  <a:lnTo>
                    <a:pt x="402" y="1350"/>
                  </a:lnTo>
                  <a:lnTo>
                    <a:pt x="390" y="1344"/>
                  </a:lnTo>
                  <a:lnTo>
                    <a:pt x="390" y="1332"/>
                  </a:lnTo>
                  <a:lnTo>
                    <a:pt x="402" y="1296"/>
                  </a:lnTo>
                  <a:lnTo>
                    <a:pt x="414" y="1260"/>
                  </a:lnTo>
                  <a:lnTo>
                    <a:pt x="426" y="1248"/>
                  </a:lnTo>
                  <a:lnTo>
                    <a:pt x="438" y="1242"/>
                  </a:lnTo>
                  <a:lnTo>
                    <a:pt x="432" y="1230"/>
                  </a:lnTo>
                  <a:lnTo>
                    <a:pt x="432" y="1224"/>
                  </a:lnTo>
                  <a:lnTo>
                    <a:pt x="426" y="1218"/>
                  </a:lnTo>
                  <a:lnTo>
                    <a:pt x="426" y="1206"/>
                  </a:lnTo>
                  <a:lnTo>
                    <a:pt x="426" y="1200"/>
                  </a:lnTo>
                  <a:lnTo>
                    <a:pt x="432" y="1194"/>
                  </a:lnTo>
                  <a:lnTo>
                    <a:pt x="426" y="1188"/>
                  </a:lnTo>
                  <a:lnTo>
                    <a:pt x="432" y="1104"/>
                  </a:lnTo>
                  <a:lnTo>
                    <a:pt x="438" y="1086"/>
                  </a:lnTo>
                  <a:lnTo>
                    <a:pt x="462" y="972"/>
                  </a:lnTo>
                  <a:lnTo>
                    <a:pt x="456" y="900"/>
                  </a:lnTo>
                  <a:lnTo>
                    <a:pt x="444" y="846"/>
                  </a:lnTo>
                  <a:lnTo>
                    <a:pt x="456" y="810"/>
                  </a:lnTo>
                  <a:lnTo>
                    <a:pt x="492" y="786"/>
                  </a:lnTo>
                  <a:lnTo>
                    <a:pt x="522" y="762"/>
                  </a:lnTo>
                  <a:lnTo>
                    <a:pt x="546" y="732"/>
                  </a:lnTo>
                  <a:lnTo>
                    <a:pt x="570" y="696"/>
                  </a:lnTo>
                  <a:lnTo>
                    <a:pt x="582" y="654"/>
                  </a:lnTo>
                  <a:lnTo>
                    <a:pt x="564" y="642"/>
                  </a:lnTo>
                  <a:lnTo>
                    <a:pt x="522" y="588"/>
                  </a:lnTo>
                  <a:lnTo>
                    <a:pt x="516" y="546"/>
                  </a:lnTo>
                  <a:lnTo>
                    <a:pt x="510" y="474"/>
                  </a:lnTo>
                  <a:lnTo>
                    <a:pt x="510" y="450"/>
                  </a:lnTo>
                  <a:lnTo>
                    <a:pt x="510" y="444"/>
                  </a:lnTo>
                  <a:lnTo>
                    <a:pt x="522" y="438"/>
                  </a:lnTo>
                  <a:lnTo>
                    <a:pt x="522" y="432"/>
                  </a:lnTo>
                  <a:lnTo>
                    <a:pt x="528" y="426"/>
                  </a:lnTo>
                  <a:lnTo>
                    <a:pt x="534" y="420"/>
                  </a:lnTo>
                  <a:lnTo>
                    <a:pt x="540" y="414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08"/>
                  </a:lnTo>
                  <a:lnTo>
                    <a:pt x="546" y="408"/>
                  </a:lnTo>
                  <a:lnTo>
                    <a:pt x="558" y="414"/>
                  </a:lnTo>
                  <a:lnTo>
                    <a:pt x="564" y="414"/>
                  </a:lnTo>
                  <a:lnTo>
                    <a:pt x="570" y="414"/>
                  </a:lnTo>
                  <a:lnTo>
                    <a:pt x="582" y="414"/>
                  </a:lnTo>
                  <a:lnTo>
                    <a:pt x="582" y="420"/>
                  </a:lnTo>
                  <a:lnTo>
                    <a:pt x="588" y="414"/>
                  </a:lnTo>
                  <a:lnTo>
                    <a:pt x="582" y="408"/>
                  </a:lnTo>
                  <a:lnTo>
                    <a:pt x="588" y="402"/>
                  </a:lnTo>
                  <a:lnTo>
                    <a:pt x="594" y="402"/>
                  </a:lnTo>
                  <a:lnTo>
                    <a:pt x="594" y="396"/>
                  </a:lnTo>
                  <a:lnTo>
                    <a:pt x="594" y="390"/>
                  </a:lnTo>
                  <a:lnTo>
                    <a:pt x="594" y="384"/>
                  </a:lnTo>
                  <a:lnTo>
                    <a:pt x="594" y="378"/>
                  </a:lnTo>
                  <a:lnTo>
                    <a:pt x="600" y="366"/>
                  </a:lnTo>
                  <a:lnTo>
                    <a:pt x="606" y="366"/>
                  </a:lnTo>
                  <a:lnTo>
                    <a:pt x="612" y="360"/>
                  </a:lnTo>
                  <a:lnTo>
                    <a:pt x="612" y="366"/>
                  </a:lnTo>
                  <a:lnTo>
                    <a:pt x="618" y="366"/>
                  </a:lnTo>
                  <a:lnTo>
                    <a:pt x="624" y="366"/>
                  </a:lnTo>
                  <a:lnTo>
                    <a:pt x="630" y="360"/>
                  </a:lnTo>
                  <a:lnTo>
                    <a:pt x="636" y="354"/>
                  </a:lnTo>
                  <a:lnTo>
                    <a:pt x="630" y="354"/>
                  </a:lnTo>
                  <a:lnTo>
                    <a:pt x="630" y="348"/>
                  </a:lnTo>
                  <a:lnTo>
                    <a:pt x="630" y="342"/>
                  </a:lnTo>
                  <a:lnTo>
                    <a:pt x="636" y="342"/>
                  </a:lnTo>
                  <a:lnTo>
                    <a:pt x="642" y="336"/>
                  </a:lnTo>
                  <a:lnTo>
                    <a:pt x="636" y="330"/>
                  </a:lnTo>
                  <a:lnTo>
                    <a:pt x="630" y="336"/>
                  </a:lnTo>
                  <a:lnTo>
                    <a:pt x="624" y="336"/>
                  </a:lnTo>
                  <a:lnTo>
                    <a:pt x="624" y="330"/>
                  </a:lnTo>
                  <a:lnTo>
                    <a:pt x="624" y="324"/>
                  </a:lnTo>
                  <a:lnTo>
                    <a:pt x="618" y="324"/>
                  </a:lnTo>
                  <a:lnTo>
                    <a:pt x="624" y="324"/>
                  </a:lnTo>
                  <a:lnTo>
                    <a:pt x="630" y="330"/>
                  </a:lnTo>
                  <a:lnTo>
                    <a:pt x="630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2" y="306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8" y="288"/>
                  </a:lnTo>
                  <a:lnTo>
                    <a:pt x="648" y="282"/>
                  </a:lnTo>
                  <a:lnTo>
                    <a:pt x="654" y="288"/>
                  </a:lnTo>
                  <a:lnTo>
                    <a:pt x="654" y="282"/>
                  </a:lnTo>
                  <a:lnTo>
                    <a:pt x="660" y="282"/>
                  </a:lnTo>
                  <a:lnTo>
                    <a:pt x="666" y="282"/>
                  </a:lnTo>
                  <a:lnTo>
                    <a:pt x="672" y="282"/>
                  </a:lnTo>
                  <a:lnTo>
                    <a:pt x="678" y="282"/>
                  </a:lnTo>
                  <a:lnTo>
                    <a:pt x="684" y="276"/>
                  </a:lnTo>
                  <a:lnTo>
                    <a:pt x="690" y="270"/>
                  </a:lnTo>
                  <a:lnTo>
                    <a:pt x="690" y="264"/>
                  </a:lnTo>
                  <a:lnTo>
                    <a:pt x="690" y="270"/>
                  </a:lnTo>
                  <a:lnTo>
                    <a:pt x="690" y="276"/>
                  </a:lnTo>
                  <a:lnTo>
                    <a:pt x="696" y="276"/>
                  </a:lnTo>
                  <a:lnTo>
                    <a:pt x="702" y="276"/>
                  </a:lnTo>
                  <a:lnTo>
                    <a:pt x="702" y="282"/>
                  </a:lnTo>
                  <a:lnTo>
                    <a:pt x="708" y="282"/>
                  </a:lnTo>
                  <a:lnTo>
                    <a:pt x="720" y="270"/>
                  </a:lnTo>
                  <a:lnTo>
                    <a:pt x="720" y="264"/>
                  </a:lnTo>
                  <a:lnTo>
                    <a:pt x="720" y="258"/>
                  </a:lnTo>
                  <a:lnTo>
                    <a:pt x="726" y="258"/>
                  </a:lnTo>
                  <a:lnTo>
                    <a:pt x="732" y="258"/>
                  </a:lnTo>
                  <a:lnTo>
                    <a:pt x="732" y="264"/>
                  </a:lnTo>
                  <a:lnTo>
                    <a:pt x="738" y="264"/>
                  </a:lnTo>
                  <a:lnTo>
                    <a:pt x="738" y="258"/>
                  </a:lnTo>
                  <a:lnTo>
                    <a:pt x="732" y="258"/>
                  </a:lnTo>
                  <a:lnTo>
                    <a:pt x="732" y="252"/>
                  </a:lnTo>
                  <a:lnTo>
                    <a:pt x="744" y="252"/>
                  </a:lnTo>
                  <a:lnTo>
                    <a:pt x="750" y="252"/>
                  </a:lnTo>
                  <a:lnTo>
                    <a:pt x="750" y="246"/>
                  </a:lnTo>
                  <a:lnTo>
                    <a:pt x="750" y="240"/>
                  </a:lnTo>
                  <a:lnTo>
                    <a:pt x="762" y="234"/>
                  </a:lnTo>
                  <a:lnTo>
                    <a:pt x="768" y="234"/>
                  </a:lnTo>
                  <a:lnTo>
                    <a:pt x="774" y="234"/>
                  </a:lnTo>
                  <a:lnTo>
                    <a:pt x="780" y="228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16"/>
                  </a:lnTo>
                  <a:lnTo>
                    <a:pt x="792" y="210"/>
                  </a:lnTo>
                  <a:lnTo>
                    <a:pt x="804" y="204"/>
                  </a:lnTo>
                  <a:lnTo>
                    <a:pt x="804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0" y="192"/>
                  </a:lnTo>
                  <a:lnTo>
                    <a:pt x="798" y="186"/>
                  </a:lnTo>
                  <a:lnTo>
                    <a:pt x="810" y="186"/>
                  </a:lnTo>
                  <a:lnTo>
                    <a:pt x="810" y="180"/>
                  </a:lnTo>
                  <a:lnTo>
                    <a:pt x="810" y="186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0" y="180"/>
                  </a:lnTo>
                  <a:lnTo>
                    <a:pt x="816" y="174"/>
                  </a:lnTo>
                  <a:lnTo>
                    <a:pt x="822" y="174"/>
                  </a:lnTo>
                  <a:lnTo>
                    <a:pt x="822" y="180"/>
                  </a:lnTo>
                  <a:lnTo>
                    <a:pt x="828" y="180"/>
                  </a:lnTo>
                  <a:lnTo>
                    <a:pt x="828" y="174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62"/>
                  </a:lnTo>
                  <a:lnTo>
                    <a:pt x="828" y="156"/>
                  </a:lnTo>
                  <a:lnTo>
                    <a:pt x="822" y="156"/>
                  </a:lnTo>
                  <a:lnTo>
                    <a:pt x="828" y="156"/>
                  </a:lnTo>
                  <a:lnTo>
                    <a:pt x="828" y="150"/>
                  </a:lnTo>
                  <a:lnTo>
                    <a:pt x="834" y="150"/>
                  </a:lnTo>
                  <a:lnTo>
                    <a:pt x="840" y="156"/>
                  </a:lnTo>
                  <a:lnTo>
                    <a:pt x="840" y="150"/>
                  </a:lnTo>
                  <a:lnTo>
                    <a:pt x="834" y="150"/>
                  </a:lnTo>
                  <a:lnTo>
                    <a:pt x="834" y="144"/>
                  </a:lnTo>
                  <a:lnTo>
                    <a:pt x="840" y="138"/>
                  </a:lnTo>
                  <a:lnTo>
                    <a:pt x="846" y="144"/>
                  </a:lnTo>
                  <a:lnTo>
                    <a:pt x="846" y="150"/>
                  </a:lnTo>
                  <a:lnTo>
                    <a:pt x="852" y="150"/>
                  </a:lnTo>
                  <a:lnTo>
                    <a:pt x="858" y="150"/>
                  </a:lnTo>
                  <a:lnTo>
                    <a:pt x="870" y="150"/>
                  </a:lnTo>
                  <a:lnTo>
                    <a:pt x="870" y="144"/>
                  </a:lnTo>
                  <a:lnTo>
                    <a:pt x="876" y="138"/>
                  </a:lnTo>
                  <a:lnTo>
                    <a:pt x="882" y="138"/>
                  </a:lnTo>
                  <a:lnTo>
                    <a:pt x="888" y="132"/>
                  </a:lnTo>
                  <a:lnTo>
                    <a:pt x="888" y="138"/>
                  </a:lnTo>
                  <a:lnTo>
                    <a:pt x="894" y="138"/>
                  </a:lnTo>
                  <a:lnTo>
                    <a:pt x="894" y="132"/>
                  </a:lnTo>
                  <a:lnTo>
                    <a:pt x="900" y="126"/>
                  </a:lnTo>
                  <a:lnTo>
                    <a:pt x="900" y="132"/>
                  </a:lnTo>
                  <a:lnTo>
                    <a:pt x="906" y="132"/>
                  </a:lnTo>
                  <a:lnTo>
                    <a:pt x="912" y="132"/>
                  </a:lnTo>
                  <a:lnTo>
                    <a:pt x="918" y="126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24" y="126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8" y="120"/>
                  </a:lnTo>
                  <a:lnTo>
                    <a:pt x="948" y="114"/>
                  </a:lnTo>
                  <a:lnTo>
                    <a:pt x="948" y="108"/>
                  </a:lnTo>
                  <a:lnTo>
                    <a:pt x="954" y="114"/>
                  </a:lnTo>
                  <a:lnTo>
                    <a:pt x="960" y="108"/>
                  </a:lnTo>
                  <a:lnTo>
                    <a:pt x="966" y="108"/>
                  </a:lnTo>
                  <a:lnTo>
                    <a:pt x="972" y="108"/>
                  </a:lnTo>
                  <a:lnTo>
                    <a:pt x="966" y="114"/>
                  </a:lnTo>
                  <a:lnTo>
                    <a:pt x="960" y="114"/>
                  </a:lnTo>
                  <a:lnTo>
                    <a:pt x="960" y="120"/>
                  </a:lnTo>
                  <a:lnTo>
                    <a:pt x="966" y="126"/>
                  </a:lnTo>
                  <a:lnTo>
                    <a:pt x="972" y="126"/>
                  </a:lnTo>
                  <a:lnTo>
                    <a:pt x="978" y="126"/>
                  </a:lnTo>
                  <a:lnTo>
                    <a:pt x="984" y="120"/>
                  </a:lnTo>
                  <a:lnTo>
                    <a:pt x="984" y="114"/>
                  </a:lnTo>
                  <a:lnTo>
                    <a:pt x="996" y="126"/>
                  </a:lnTo>
                  <a:lnTo>
                    <a:pt x="996" y="120"/>
                  </a:lnTo>
                  <a:lnTo>
                    <a:pt x="1002" y="120"/>
                  </a:lnTo>
                  <a:lnTo>
                    <a:pt x="996" y="114"/>
                  </a:lnTo>
                  <a:lnTo>
                    <a:pt x="1002" y="114"/>
                  </a:lnTo>
                  <a:lnTo>
                    <a:pt x="1008" y="114"/>
                  </a:lnTo>
                  <a:lnTo>
                    <a:pt x="1008" y="108"/>
                  </a:lnTo>
                  <a:lnTo>
                    <a:pt x="1014" y="108"/>
                  </a:lnTo>
                  <a:lnTo>
                    <a:pt x="1008" y="114"/>
                  </a:lnTo>
                  <a:lnTo>
                    <a:pt x="1008" y="120"/>
                  </a:lnTo>
                  <a:lnTo>
                    <a:pt x="1008" y="126"/>
                  </a:lnTo>
                  <a:lnTo>
                    <a:pt x="1014" y="126"/>
                  </a:lnTo>
                  <a:lnTo>
                    <a:pt x="1014" y="132"/>
                  </a:lnTo>
                  <a:lnTo>
                    <a:pt x="1020" y="132"/>
                  </a:lnTo>
                  <a:lnTo>
                    <a:pt x="1020" y="126"/>
                  </a:lnTo>
                  <a:lnTo>
                    <a:pt x="1020" y="120"/>
                  </a:lnTo>
                  <a:lnTo>
                    <a:pt x="1032" y="120"/>
                  </a:lnTo>
                  <a:lnTo>
                    <a:pt x="1038" y="120"/>
                  </a:lnTo>
                  <a:lnTo>
                    <a:pt x="1038" y="126"/>
                  </a:lnTo>
                  <a:lnTo>
                    <a:pt x="1044" y="132"/>
                  </a:lnTo>
                  <a:lnTo>
                    <a:pt x="1044" y="126"/>
                  </a:lnTo>
                  <a:lnTo>
                    <a:pt x="1050" y="120"/>
                  </a:lnTo>
                  <a:lnTo>
                    <a:pt x="1050" y="114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68" y="102"/>
                  </a:lnTo>
                  <a:lnTo>
                    <a:pt x="1074" y="96"/>
                  </a:lnTo>
                  <a:lnTo>
                    <a:pt x="1074" y="90"/>
                  </a:lnTo>
                  <a:lnTo>
                    <a:pt x="1068" y="90"/>
                  </a:lnTo>
                  <a:lnTo>
                    <a:pt x="1068" y="84"/>
                  </a:lnTo>
                  <a:lnTo>
                    <a:pt x="1080" y="84"/>
                  </a:lnTo>
                  <a:lnTo>
                    <a:pt x="1086" y="78"/>
                  </a:lnTo>
                  <a:lnTo>
                    <a:pt x="1086" y="72"/>
                  </a:lnTo>
                  <a:lnTo>
                    <a:pt x="1080" y="78"/>
                  </a:lnTo>
                  <a:lnTo>
                    <a:pt x="1080" y="72"/>
                  </a:lnTo>
                  <a:lnTo>
                    <a:pt x="1080" y="66"/>
                  </a:lnTo>
                  <a:lnTo>
                    <a:pt x="1074" y="66"/>
                  </a:lnTo>
                  <a:lnTo>
                    <a:pt x="1080" y="66"/>
                  </a:lnTo>
                  <a:lnTo>
                    <a:pt x="1080" y="60"/>
                  </a:lnTo>
                  <a:lnTo>
                    <a:pt x="1086" y="60"/>
                  </a:lnTo>
                  <a:lnTo>
                    <a:pt x="1086" y="54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2" y="42"/>
                  </a:lnTo>
                  <a:lnTo>
                    <a:pt x="1098" y="42"/>
                  </a:lnTo>
                  <a:lnTo>
                    <a:pt x="1104" y="36"/>
                  </a:lnTo>
                  <a:lnTo>
                    <a:pt x="1110" y="36"/>
                  </a:lnTo>
                  <a:lnTo>
                    <a:pt x="1110" y="30"/>
                  </a:lnTo>
                  <a:lnTo>
                    <a:pt x="1110" y="24"/>
                  </a:lnTo>
                  <a:lnTo>
                    <a:pt x="1116" y="24"/>
                  </a:lnTo>
                  <a:lnTo>
                    <a:pt x="1116" y="18"/>
                  </a:lnTo>
                  <a:lnTo>
                    <a:pt x="1122" y="18"/>
                  </a:lnTo>
                  <a:lnTo>
                    <a:pt x="1128" y="18"/>
                  </a:lnTo>
                  <a:lnTo>
                    <a:pt x="1134" y="12"/>
                  </a:lnTo>
                  <a:lnTo>
                    <a:pt x="1134" y="6"/>
                  </a:lnTo>
                  <a:lnTo>
                    <a:pt x="1140" y="6"/>
                  </a:lnTo>
                  <a:lnTo>
                    <a:pt x="1146" y="0"/>
                  </a:lnTo>
                  <a:lnTo>
                    <a:pt x="1152" y="0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70" y="0"/>
                  </a:lnTo>
                  <a:lnTo>
                    <a:pt x="1176" y="6"/>
                  </a:lnTo>
                  <a:lnTo>
                    <a:pt x="1182" y="6"/>
                  </a:lnTo>
                  <a:lnTo>
                    <a:pt x="1194" y="6"/>
                  </a:lnTo>
                  <a:lnTo>
                    <a:pt x="1200" y="6"/>
                  </a:lnTo>
                  <a:lnTo>
                    <a:pt x="1212" y="0"/>
                  </a:lnTo>
                  <a:lnTo>
                    <a:pt x="1212" y="6"/>
                  </a:lnTo>
                  <a:lnTo>
                    <a:pt x="1218" y="6"/>
                  </a:lnTo>
                  <a:lnTo>
                    <a:pt x="1266" y="6"/>
                  </a:lnTo>
                  <a:lnTo>
                    <a:pt x="1272" y="0"/>
                  </a:lnTo>
                  <a:lnTo>
                    <a:pt x="1278" y="6"/>
                  </a:lnTo>
                  <a:lnTo>
                    <a:pt x="1290" y="6"/>
                  </a:lnTo>
                  <a:lnTo>
                    <a:pt x="1296" y="6"/>
                  </a:lnTo>
                  <a:lnTo>
                    <a:pt x="1308" y="6"/>
                  </a:lnTo>
                  <a:lnTo>
                    <a:pt x="1314" y="6"/>
                  </a:lnTo>
                  <a:lnTo>
                    <a:pt x="1320" y="6"/>
                  </a:lnTo>
                  <a:lnTo>
                    <a:pt x="1326" y="12"/>
                  </a:lnTo>
                  <a:lnTo>
                    <a:pt x="1338" y="30"/>
                  </a:lnTo>
                  <a:lnTo>
                    <a:pt x="1344" y="36"/>
                  </a:lnTo>
                  <a:lnTo>
                    <a:pt x="1356" y="48"/>
                  </a:lnTo>
                  <a:lnTo>
                    <a:pt x="1362" y="60"/>
                  </a:lnTo>
                  <a:lnTo>
                    <a:pt x="1368" y="66"/>
                  </a:lnTo>
                  <a:lnTo>
                    <a:pt x="1374" y="72"/>
                  </a:lnTo>
                  <a:lnTo>
                    <a:pt x="1374" y="78"/>
                  </a:lnTo>
                  <a:lnTo>
                    <a:pt x="1398" y="108"/>
                  </a:lnTo>
                  <a:lnTo>
                    <a:pt x="1398" y="114"/>
                  </a:lnTo>
                  <a:lnTo>
                    <a:pt x="1404" y="114"/>
                  </a:lnTo>
                  <a:lnTo>
                    <a:pt x="1404" y="120"/>
                  </a:lnTo>
                  <a:lnTo>
                    <a:pt x="1410" y="132"/>
                  </a:lnTo>
                  <a:lnTo>
                    <a:pt x="1416" y="132"/>
                  </a:lnTo>
                  <a:lnTo>
                    <a:pt x="1416" y="138"/>
                  </a:lnTo>
                  <a:lnTo>
                    <a:pt x="1422" y="144"/>
                  </a:lnTo>
                  <a:lnTo>
                    <a:pt x="1428" y="150"/>
                  </a:lnTo>
                  <a:lnTo>
                    <a:pt x="1428" y="156"/>
                  </a:lnTo>
                  <a:lnTo>
                    <a:pt x="1458" y="192"/>
                  </a:lnTo>
                  <a:lnTo>
                    <a:pt x="1458" y="198"/>
                  </a:lnTo>
                  <a:lnTo>
                    <a:pt x="1464" y="204"/>
                  </a:lnTo>
                  <a:lnTo>
                    <a:pt x="1470" y="210"/>
                  </a:lnTo>
                  <a:lnTo>
                    <a:pt x="1476" y="216"/>
                  </a:lnTo>
                  <a:lnTo>
                    <a:pt x="1482" y="228"/>
                  </a:lnTo>
                  <a:lnTo>
                    <a:pt x="1488" y="234"/>
                  </a:lnTo>
                  <a:lnTo>
                    <a:pt x="1512" y="270"/>
                  </a:lnTo>
                  <a:lnTo>
                    <a:pt x="1512" y="276"/>
                  </a:lnTo>
                  <a:lnTo>
                    <a:pt x="1530" y="300"/>
                  </a:lnTo>
                  <a:lnTo>
                    <a:pt x="1536" y="306"/>
                  </a:lnTo>
                  <a:lnTo>
                    <a:pt x="1542" y="312"/>
                  </a:lnTo>
                  <a:lnTo>
                    <a:pt x="1542" y="318"/>
                  </a:lnTo>
                  <a:lnTo>
                    <a:pt x="1560" y="336"/>
                  </a:lnTo>
                  <a:lnTo>
                    <a:pt x="1566" y="348"/>
                  </a:lnTo>
                  <a:lnTo>
                    <a:pt x="1572" y="354"/>
                  </a:lnTo>
                  <a:lnTo>
                    <a:pt x="1578" y="360"/>
                  </a:lnTo>
                  <a:lnTo>
                    <a:pt x="1584" y="378"/>
                  </a:lnTo>
                  <a:lnTo>
                    <a:pt x="1590" y="378"/>
                  </a:lnTo>
                  <a:lnTo>
                    <a:pt x="1596" y="390"/>
                  </a:lnTo>
                  <a:lnTo>
                    <a:pt x="1602" y="396"/>
                  </a:lnTo>
                  <a:lnTo>
                    <a:pt x="1608" y="408"/>
                  </a:lnTo>
                  <a:lnTo>
                    <a:pt x="1614" y="408"/>
                  </a:lnTo>
                  <a:lnTo>
                    <a:pt x="1614" y="432"/>
                  </a:lnTo>
                  <a:lnTo>
                    <a:pt x="1620" y="438"/>
                  </a:lnTo>
                  <a:lnTo>
                    <a:pt x="1620" y="450"/>
                  </a:lnTo>
                  <a:lnTo>
                    <a:pt x="1620" y="462"/>
                  </a:lnTo>
                  <a:lnTo>
                    <a:pt x="1626" y="474"/>
                  </a:lnTo>
                  <a:lnTo>
                    <a:pt x="1626" y="480"/>
                  </a:lnTo>
                  <a:lnTo>
                    <a:pt x="1626" y="486"/>
                  </a:lnTo>
                  <a:lnTo>
                    <a:pt x="1632" y="522"/>
                  </a:lnTo>
                  <a:lnTo>
                    <a:pt x="1632" y="528"/>
                  </a:lnTo>
                  <a:lnTo>
                    <a:pt x="1632" y="534"/>
                  </a:lnTo>
                  <a:lnTo>
                    <a:pt x="1638" y="540"/>
                  </a:lnTo>
                  <a:lnTo>
                    <a:pt x="1638" y="558"/>
                  </a:lnTo>
                  <a:lnTo>
                    <a:pt x="1638" y="570"/>
                  </a:lnTo>
                  <a:lnTo>
                    <a:pt x="1644" y="582"/>
                  </a:lnTo>
                  <a:lnTo>
                    <a:pt x="1650" y="618"/>
                  </a:lnTo>
                  <a:lnTo>
                    <a:pt x="1650" y="624"/>
                  </a:lnTo>
                  <a:lnTo>
                    <a:pt x="1650" y="636"/>
                  </a:lnTo>
                  <a:lnTo>
                    <a:pt x="1656" y="642"/>
                  </a:lnTo>
                  <a:lnTo>
                    <a:pt x="1656" y="648"/>
                  </a:lnTo>
                  <a:lnTo>
                    <a:pt x="1656" y="654"/>
                  </a:lnTo>
                  <a:lnTo>
                    <a:pt x="1656" y="660"/>
                  </a:lnTo>
                  <a:lnTo>
                    <a:pt x="1662" y="696"/>
                  </a:lnTo>
                  <a:lnTo>
                    <a:pt x="1668" y="708"/>
                  </a:lnTo>
                  <a:lnTo>
                    <a:pt x="1668" y="714"/>
                  </a:lnTo>
                  <a:lnTo>
                    <a:pt x="1668" y="732"/>
                  </a:lnTo>
                  <a:lnTo>
                    <a:pt x="1668" y="744"/>
                  </a:lnTo>
                  <a:lnTo>
                    <a:pt x="1674" y="756"/>
                  </a:lnTo>
                  <a:lnTo>
                    <a:pt x="1680" y="762"/>
                  </a:lnTo>
                  <a:lnTo>
                    <a:pt x="1680" y="768"/>
                  </a:lnTo>
                  <a:lnTo>
                    <a:pt x="1680" y="774"/>
                  </a:lnTo>
                  <a:lnTo>
                    <a:pt x="1680" y="780"/>
                  </a:lnTo>
                  <a:lnTo>
                    <a:pt x="1674" y="786"/>
                  </a:lnTo>
                  <a:lnTo>
                    <a:pt x="1668" y="792"/>
                  </a:lnTo>
                  <a:lnTo>
                    <a:pt x="1668" y="798"/>
                  </a:lnTo>
                  <a:lnTo>
                    <a:pt x="1668" y="804"/>
                  </a:lnTo>
                  <a:lnTo>
                    <a:pt x="1674" y="804"/>
                  </a:lnTo>
                  <a:lnTo>
                    <a:pt x="1668" y="810"/>
                  </a:lnTo>
                  <a:lnTo>
                    <a:pt x="1674" y="810"/>
                  </a:lnTo>
                  <a:lnTo>
                    <a:pt x="1680" y="810"/>
                  </a:lnTo>
                  <a:lnTo>
                    <a:pt x="1680" y="816"/>
                  </a:lnTo>
                  <a:lnTo>
                    <a:pt x="1680" y="822"/>
                  </a:lnTo>
                  <a:lnTo>
                    <a:pt x="1674" y="822"/>
                  </a:lnTo>
                  <a:lnTo>
                    <a:pt x="1674" y="828"/>
                  </a:lnTo>
                  <a:lnTo>
                    <a:pt x="1668" y="828"/>
                  </a:lnTo>
                  <a:lnTo>
                    <a:pt x="1674" y="834"/>
                  </a:lnTo>
                  <a:lnTo>
                    <a:pt x="1668" y="834"/>
                  </a:lnTo>
                  <a:lnTo>
                    <a:pt x="1668" y="840"/>
                  </a:lnTo>
                  <a:lnTo>
                    <a:pt x="1674" y="840"/>
                  </a:lnTo>
                  <a:lnTo>
                    <a:pt x="1686" y="852"/>
                  </a:lnTo>
                  <a:lnTo>
                    <a:pt x="1692" y="858"/>
                  </a:lnTo>
                  <a:lnTo>
                    <a:pt x="1698" y="858"/>
                  </a:lnTo>
                  <a:lnTo>
                    <a:pt x="1698" y="864"/>
                  </a:lnTo>
                  <a:lnTo>
                    <a:pt x="1698" y="870"/>
                  </a:lnTo>
                  <a:lnTo>
                    <a:pt x="1704" y="864"/>
                  </a:lnTo>
                  <a:lnTo>
                    <a:pt x="1716" y="864"/>
                  </a:lnTo>
                  <a:lnTo>
                    <a:pt x="1722" y="864"/>
                  </a:lnTo>
                  <a:lnTo>
                    <a:pt x="1728" y="864"/>
                  </a:lnTo>
                  <a:lnTo>
                    <a:pt x="1734" y="864"/>
                  </a:lnTo>
                  <a:lnTo>
                    <a:pt x="1740" y="864"/>
                  </a:lnTo>
                  <a:lnTo>
                    <a:pt x="1746" y="876"/>
                  </a:lnTo>
                  <a:lnTo>
                    <a:pt x="1746" y="870"/>
                  </a:lnTo>
                  <a:lnTo>
                    <a:pt x="1740" y="864"/>
                  </a:lnTo>
                  <a:lnTo>
                    <a:pt x="1746" y="864"/>
                  </a:lnTo>
                  <a:lnTo>
                    <a:pt x="1752" y="870"/>
                  </a:lnTo>
                  <a:lnTo>
                    <a:pt x="1758" y="864"/>
                  </a:lnTo>
                  <a:lnTo>
                    <a:pt x="1764" y="864"/>
                  </a:lnTo>
                  <a:lnTo>
                    <a:pt x="1770" y="858"/>
                  </a:lnTo>
                  <a:lnTo>
                    <a:pt x="1782" y="864"/>
                  </a:lnTo>
                  <a:lnTo>
                    <a:pt x="1782" y="870"/>
                  </a:lnTo>
                  <a:lnTo>
                    <a:pt x="1788" y="864"/>
                  </a:lnTo>
                  <a:lnTo>
                    <a:pt x="1794" y="864"/>
                  </a:lnTo>
                  <a:lnTo>
                    <a:pt x="1800" y="870"/>
                  </a:lnTo>
                  <a:lnTo>
                    <a:pt x="1818" y="864"/>
                  </a:lnTo>
                  <a:lnTo>
                    <a:pt x="1824" y="870"/>
                  </a:lnTo>
                  <a:lnTo>
                    <a:pt x="1830" y="864"/>
                  </a:lnTo>
                  <a:lnTo>
                    <a:pt x="1836" y="864"/>
                  </a:lnTo>
                  <a:lnTo>
                    <a:pt x="1842" y="870"/>
                  </a:lnTo>
                  <a:lnTo>
                    <a:pt x="1842" y="876"/>
                  </a:lnTo>
                  <a:lnTo>
                    <a:pt x="1848" y="876"/>
                  </a:lnTo>
                  <a:lnTo>
                    <a:pt x="1848" y="870"/>
                  </a:lnTo>
                  <a:lnTo>
                    <a:pt x="1854" y="870"/>
                  </a:lnTo>
                  <a:lnTo>
                    <a:pt x="1860" y="870"/>
                  </a:lnTo>
                  <a:lnTo>
                    <a:pt x="1860" y="876"/>
                  </a:lnTo>
                  <a:lnTo>
                    <a:pt x="1866" y="876"/>
                  </a:lnTo>
                  <a:lnTo>
                    <a:pt x="1866" y="882"/>
                  </a:lnTo>
                  <a:lnTo>
                    <a:pt x="1872" y="882"/>
                  </a:lnTo>
                  <a:lnTo>
                    <a:pt x="1878" y="888"/>
                  </a:lnTo>
                  <a:lnTo>
                    <a:pt x="1890" y="888"/>
                  </a:lnTo>
                  <a:lnTo>
                    <a:pt x="1890" y="894"/>
                  </a:lnTo>
                  <a:lnTo>
                    <a:pt x="1890" y="900"/>
                  </a:lnTo>
                  <a:lnTo>
                    <a:pt x="1884" y="900"/>
                  </a:lnTo>
                  <a:lnTo>
                    <a:pt x="1884" y="906"/>
                  </a:lnTo>
                  <a:lnTo>
                    <a:pt x="1884" y="912"/>
                  </a:lnTo>
                  <a:lnTo>
                    <a:pt x="1890" y="912"/>
                  </a:lnTo>
                  <a:lnTo>
                    <a:pt x="1896" y="912"/>
                  </a:lnTo>
                  <a:lnTo>
                    <a:pt x="1902" y="912"/>
                  </a:lnTo>
                  <a:lnTo>
                    <a:pt x="1908" y="918"/>
                  </a:lnTo>
                  <a:lnTo>
                    <a:pt x="1908" y="924"/>
                  </a:lnTo>
                  <a:lnTo>
                    <a:pt x="1908" y="930"/>
                  </a:lnTo>
                  <a:lnTo>
                    <a:pt x="1908" y="936"/>
                  </a:lnTo>
                  <a:lnTo>
                    <a:pt x="1914" y="936"/>
                  </a:lnTo>
                  <a:lnTo>
                    <a:pt x="1914" y="942"/>
                  </a:lnTo>
                  <a:lnTo>
                    <a:pt x="1908" y="948"/>
                  </a:lnTo>
                  <a:lnTo>
                    <a:pt x="1914" y="948"/>
                  </a:lnTo>
                  <a:lnTo>
                    <a:pt x="1920" y="954"/>
                  </a:lnTo>
                  <a:lnTo>
                    <a:pt x="1926" y="954"/>
                  </a:lnTo>
                  <a:lnTo>
                    <a:pt x="1932" y="954"/>
                  </a:lnTo>
                  <a:lnTo>
                    <a:pt x="1938" y="954"/>
                  </a:lnTo>
                  <a:lnTo>
                    <a:pt x="1938" y="960"/>
                  </a:lnTo>
                  <a:lnTo>
                    <a:pt x="1944" y="966"/>
                  </a:lnTo>
                  <a:lnTo>
                    <a:pt x="1944" y="972"/>
                  </a:lnTo>
                  <a:lnTo>
                    <a:pt x="1944" y="978"/>
                  </a:lnTo>
                  <a:lnTo>
                    <a:pt x="1950" y="978"/>
                  </a:lnTo>
                  <a:lnTo>
                    <a:pt x="1950" y="984"/>
                  </a:lnTo>
                  <a:lnTo>
                    <a:pt x="1956" y="984"/>
                  </a:lnTo>
                  <a:lnTo>
                    <a:pt x="1962" y="984"/>
                  </a:lnTo>
                  <a:lnTo>
                    <a:pt x="1962" y="978"/>
                  </a:lnTo>
                  <a:lnTo>
                    <a:pt x="1968" y="978"/>
                  </a:lnTo>
                  <a:lnTo>
                    <a:pt x="1974" y="978"/>
                  </a:lnTo>
                  <a:lnTo>
                    <a:pt x="1980" y="972"/>
                  </a:lnTo>
                  <a:lnTo>
                    <a:pt x="1980" y="978"/>
                  </a:lnTo>
                  <a:lnTo>
                    <a:pt x="1980" y="984"/>
                  </a:lnTo>
                  <a:lnTo>
                    <a:pt x="1986" y="984"/>
                  </a:lnTo>
                  <a:lnTo>
                    <a:pt x="1992" y="990"/>
                  </a:lnTo>
                  <a:lnTo>
                    <a:pt x="1992" y="996"/>
                  </a:lnTo>
                  <a:lnTo>
                    <a:pt x="1992" y="1002"/>
                  </a:lnTo>
                  <a:lnTo>
                    <a:pt x="1974" y="1008"/>
                  </a:lnTo>
                  <a:lnTo>
                    <a:pt x="1974" y="1014"/>
                  </a:lnTo>
                  <a:lnTo>
                    <a:pt x="1974" y="1020"/>
                  </a:lnTo>
                  <a:lnTo>
                    <a:pt x="1974" y="1026"/>
                  </a:lnTo>
                  <a:lnTo>
                    <a:pt x="1968" y="1038"/>
                  </a:lnTo>
                  <a:lnTo>
                    <a:pt x="1968" y="1044"/>
                  </a:lnTo>
                  <a:lnTo>
                    <a:pt x="1974" y="1056"/>
                  </a:lnTo>
                  <a:lnTo>
                    <a:pt x="1968" y="1062"/>
                  </a:lnTo>
                  <a:lnTo>
                    <a:pt x="1962" y="1062"/>
                  </a:lnTo>
                  <a:lnTo>
                    <a:pt x="1956" y="1068"/>
                  </a:lnTo>
                  <a:lnTo>
                    <a:pt x="1956" y="1074"/>
                  </a:lnTo>
                  <a:lnTo>
                    <a:pt x="1956" y="1080"/>
                  </a:lnTo>
                  <a:lnTo>
                    <a:pt x="1956" y="1086"/>
                  </a:lnTo>
                  <a:lnTo>
                    <a:pt x="1956" y="1092"/>
                  </a:lnTo>
                  <a:lnTo>
                    <a:pt x="1962" y="1092"/>
                  </a:lnTo>
                  <a:lnTo>
                    <a:pt x="1962" y="1104"/>
                  </a:lnTo>
                  <a:lnTo>
                    <a:pt x="1968" y="1110"/>
                  </a:lnTo>
                  <a:lnTo>
                    <a:pt x="1968" y="1116"/>
                  </a:lnTo>
                  <a:lnTo>
                    <a:pt x="1974" y="1116"/>
                  </a:lnTo>
                  <a:lnTo>
                    <a:pt x="1974" y="1122"/>
                  </a:lnTo>
                  <a:lnTo>
                    <a:pt x="1980" y="1122"/>
                  </a:lnTo>
                  <a:lnTo>
                    <a:pt x="1974" y="1128"/>
                  </a:lnTo>
                  <a:lnTo>
                    <a:pt x="1968" y="1134"/>
                  </a:lnTo>
                  <a:lnTo>
                    <a:pt x="1962" y="1140"/>
                  </a:lnTo>
                  <a:lnTo>
                    <a:pt x="1962" y="1146"/>
                  </a:lnTo>
                  <a:lnTo>
                    <a:pt x="1968" y="1152"/>
                  </a:lnTo>
                  <a:lnTo>
                    <a:pt x="1968" y="1158"/>
                  </a:lnTo>
                  <a:lnTo>
                    <a:pt x="1962" y="1158"/>
                  </a:lnTo>
                  <a:lnTo>
                    <a:pt x="1962" y="1164"/>
                  </a:lnTo>
                  <a:lnTo>
                    <a:pt x="1956" y="1164"/>
                  </a:lnTo>
                  <a:lnTo>
                    <a:pt x="1956" y="1170"/>
                  </a:lnTo>
                  <a:lnTo>
                    <a:pt x="1944" y="1182"/>
                  </a:lnTo>
                  <a:lnTo>
                    <a:pt x="1944" y="1188"/>
                  </a:lnTo>
                  <a:lnTo>
                    <a:pt x="1950" y="1188"/>
                  </a:lnTo>
                  <a:lnTo>
                    <a:pt x="1944" y="1200"/>
                  </a:lnTo>
                  <a:lnTo>
                    <a:pt x="1944" y="1206"/>
                  </a:lnTo>
                  <a:lnTo>
                    <a:pt x="1944" y="1212"/>
                  </a:lnTo>
                  <a:lnTo>
                    <a:pt x="1944" y="1218"/>
                  </a:lnTo>
                  <a:lnTo>
                    <a:pt x="1944" y="1230"/>
                  </a:lnTo>
                  <a:lnTo>
                    <a:pt x="1944" y="1236"/>
                  </a:lnTo>
                  <a:lnTo>
                    <a:pt x="1944" y="1242"/>
                  </a:lnTo>
                  <a:lnTo>
                    <a:pt x="1938" y="1248"/>
                  </a:lnTo>
                  <a:lnTo>
                    <a:pt x="1938" y="1254"/>
                  </a:lnTo>
                  <a:lnTo>
                    <a:pt x="1932" y="1254"/>
                  </a:lnTo>
                  <a:lnTo>
                    <a:pt x="1926" y="1260"/>
                  </a:lnTo>
                  <a:lnTo>
                    <a:pt x="1920" y="1266"/>
                  </a:lnTo>
                  <a:lnTo>
                    <a:pt x="1914" y="1272"/>
                  </a:lnTo>
                  <a:lnTo>
                    <a:pt x="1908" y="1272"/>
                  </a:lnTo>
                  <a:lnTo>
                    <a:pt x="1908" y="1278"/>
                  </a:lnTo>
                  <a:lnTo>
                    <a:pt x="1914" y="1278"/>
                  </a:lnTo>
                  <a:lnTo>
                    <a:pt x="1914" y="1290"/>
                  </a:lnTo>
                  <a:lnTo>
                    <a:pt x="1920" y="1296"/>
                  </a:lnTo>
                  <a:lnTo>
                    <a:pt x="1938" y="1302"/>
                  </a:lnTo>
                  <a:lnTo>
                    <a:pt x="1944" y="1308"/>
                  </a:lnTo>
                  <a:lnTo>
                    <a:pt x="1950" y="1314"/>
                  </a:lnTo>
                  <a:lnTo>
                    <a:pt x="1956" y="1314"/>
                  </a:lnTo>
                  <a:lnTo>
                    <a:pt x="1962" y="1320"/>
                  </a:lnTo>
                  <a:lnTo>
                    <a:pt x="1962" y="1326"/>
                  </a:lnTo>
                  <a:lnTo>
                    <a:pt x="1968" y="1326"/>
                  </a:lnTo>
                  <a:lnTo>
                    <a:pt x="1968" y="1332"/>
                  </a:lnTo>
                  <a:lnTo>
                    <a:pt x="1968" y="1344"/>
                  </a:lnTo>
                  <a:lnTo>
                    <a:pt x="1968" y="1350"/>
                  </a:lnTo>
                  <a:lnTo>
                    <a:pt x="1968" y="1368"/>
                  </a:lnTo>
                  <a:lnTo>
                    <a:pt x="1962" y="1380"/>
                  </a:lnTo>
                  <a:lnTo>
                    <a:pt x="1968" y="1392"/>
                  </a:lnTo>
                  <a:lnTo>
                    <a:pt x="1962" y="1398"/>
                  </a:lnTo>
                  <a:lnTo>
                    <a:pt x="1956" y="1404"/>
                  </a:lnTo>
                  <a:lnTo>
                    <a:pt x="1950" y="1410"/>
                  </a:lnTo>
                  <a:lnTo>
                    <a:pt x="1944" y="1410"/>
                  </a:lnTo>
                  <a:lnTo>
                    <a:pt x="1932" y="1416"/>
                  </a:lnTo>
                  <a:lnTo>
                    <a:pt x="1926" y="1416"/>
                  </a:lnTo>
                  <a:lnTo>
                    <a:pt x="1896" y="1428"/>
                  </a:lnTo>
                  <a:lnTo>
                    <a:pt x="1884" y="1434"/>
                  </a:lnTo>
                  <a:lnTo>
                    <a:pt x="1878" y="1434"/>
                  </a:lnTo>
                  <a:lnTo>
                    <a:pt x="1866" y="1434"/>
                  </a:lnTo>
                  <a:lnTo>
                    <a:pt x="1854" y="1440"/>
                  </a:lnTo>
                  <a:lnTo>
                    <a:pt x="1848" y="1440"/>
                  </a:lnTo>
                  <a:lnTo>
                    <a:pt x="1842" y="1446"/>
                  </a:lnTo>
                  <a:lnTo>
                    <a:pt x="1842" y="1458"/>
                  </a:lnTo>
                  <a:lnTo>
                    <a:pt x="1836" y="1470"/>
                  </a:lnTo>
                  <a:lnTo>
                    <a:pt x="1830" y="1476"/>
                  </a:lnTo>
                  <a:lnTo>
                    <a:pt x="1824" y="1476"/>
                  </a:lnTo>
                  <a:lnTo>
                    <a:pt x="1806" y="1482"/>
                  </a:lnTo>
                  <a:lnTo>
                    <a:pt x="1800" y="1488"/>
                  </a:lnTo>
                  <a:lnTo>
                    <a:pt x="1794" y="1488"/>
                  </a:lnTo>
                  <a:lnTo>
                    <a:pt x="1788" y="1488"/>
                  </a:lnTo>
                  <a:lnTo>
                    <a:pt x="1776" y="1494"/>
                  </a:lnTo>
                  <a:lnTo>
                    <a:pt x="1764" y="1494"/>
                  </a:lnTo>
                  <a:lnTo>
                    <a:pt x="1758" y="1500"/>
                  </a:lnTo>
                  <a:lnTo>
                    <a:pt x="1746" y="1506"/>
                  </a:lnTo>
                  <a:lnTo>
                    <a:pt x="1728" y="1518"/>
                  </a:lnTo>
                  <a:lnTo>
                    <a:pt x="1716" y="1524"/>
                  </a:lnTo>
                  <a:lnTo>
                    <a:pt x="1710" y="1530"/>
                  </a:lnTo>
                  <a:lnTo>
                    <a:pt x="1704" y="1536"/>
                  </a:lnTo>
                  <a:lnTo>
                    <a:pt x="1698" y="1542"/>
                  </a:lnTo>
                  <a:lnTo>
                    <a:pt x="1692" y="1554"/>
                  </a:lnTo>
                  <a:lnTo>
                    <a:pt x="1686" y="1560"/>
                  </a:lnTo>
                  <a:lnTo>
                    <a:pt x="1680" y="1560"/>
                  </a:lnTo>
                  <a:lnTo>
                    <a:pt x="1674" y="1560"/>
                  </a:lnTo>
                  <a:lnTo>
                    <a:pt x="1656" y="1572"/>
                  </a:lnTo>
                  <a:lnTo>
                    <a:pt x="1650" y="1572"/>
                  </a:lnTo>
                  <a:lnTo>
                    <a:pt x="1644" y="1572"/>
                  </a:lnTo>
                  <a:lnTo>
                    <a:pt x="1638" y="1578"/>
                  </a:lnTo>
                  <a:lnTo>
                    <a:pt x="1632" y="1578"/>
                  </a:lnTo>
                  <a:lnTo>
                    <a:pt x="1626" y="1578"/>
                  </a:lnTo>
                  <a:lnTo>
                    <a:pt x="1620" y="1572"/>
                  </a:lnTo>
                  <a:lnTo>
                    <a:pt x="1614" y="1572"/>
                  </a:lnTo>
                  <a:lnTo>
                    <a:pt x="1608" y="1566"/>
                  </a:lnTo>
                  <a:lnTo>
                    <a:pt x="1602" y="1560"/>
                  </a:lnTo>
                  <a:lnTo>
                    <a:pt x="1596" y="1554"/>
                  </a:lnTo>
                  <a:lnTo>
                    <a:pt x="1590" y="1548"/>
                  </a:lnTo>
                  <a:lnTo>
                    <a:pt x="1578" y="1548"/>
                  </a:lnTo>
                  <a:lnTo>
                    <a:pt x="1572" y="1548"/>
                  </a:lnTo>
                  <a:lnTo>
                    <a:pt x="1566" y="1548"/>
                  </a:lnTo>
                  <a:lnTo>
                    <a:pt x="1554" y="1536"/>
                  </a:lnTo>
                  <a:lnTo>
                    <a:pt x="1548" y="1536"/>
                  </a:lnTo>
                  <a:lnTo>
                    <a:pt x="1542" y="1542"/>
                  </a:lnTo>
                  <a:lnTo>
                    <a:pt x="1536" y="1548"/>
                  </a:lnTo>
                  <a:lnTo>
                    <a:pt x="1536" y="1566"/>
                  </a:lnTo>
                  <a:lnTo>
                    <a:pt x="1530" y="1572"/>
                  </a:lnTo>
                  <a:lnTo>
                    <a:pt x="1524" y="1578"/>
                  </a:lnTo>
                  <a:lnTo>
                    <a:pt x="1518" y="1584"/>
                  </a:lnTo>
                  <a:lnTo>
                    <a:pt x="1512" y="1596"/>
                  </a:lnTo>
                  <a:lnTo>
                    <a:pt x="1506" y="1602"/>
                  </a:lnTo>
                  <a:lnTo>
                    <a:pt x="1506" y="1608"/>
                  </a:lnTo>
                  <a:lnTo>
                    <a:pt x="1506" y="1614"/>
                  </a:lnTo>
                  <a:lnTo>
                    <a:pt x="1500" y="1614"/>
                  </a:lnTo>
                  <a:lnTo>
                    <a:pt x="1500" y="1620"/>
                  </a:lnTo>
                  <a:lnTo>
                    <a:pt x="1500" y="1626"/>
                  </a:lnTo>
                  <a:lnTo>
                    <a:pt x="1494" y="1632"/>
                  </a:lnTo>
                  <a:lnTo>
                    <a:pt x="1488" y="1638"/>
                  </a:lnTo>
                  <a:lnTo>
                    <a:pt x="1482" y="1638"/>
                  </a:lnTo>
                  <a:lnTo>
                    <a:pt x="1482" y="1644"/>
                  </a:lnTo>
                  <a:lnTo>
                    <a:pt x="1482" y="1650"/>
                  </a:lnTo>
                  <a:lnTo>
                    <a:pt x="1482" y="1656"/>
                  </a:lnTo>
                  <a:lnTo>
                    <a:pt x="1476" y="1662"/>
                  </a:lnTo>
                  <a:lnTo>
                    <a:pt x="1470" y="1668"/>
                  </a:lnTo>
                  <a:lnTo>
                    <a:pt x="1464" y="1674"/>
                  </a:lnTo>
                  <a:lnTo>
                    <a:pt x="1464" y="1680"/>
                  </a:lnTo>
                  <a:lnTo>
                    <a:pt x="1458" y="1680"/>
                  </a:lnTo>
                  <a:lnTo>
                    <a:pt x="1452" y="1686"/>
                  </a:lnTo>
                  <a:lnTo>
                    <a:pt x="1446" y="1686"/>
                  </a:lnTo>
                  <a:lnTo>
                    <a:pt x="1440" y="1698"/>
                  </a:lnTo>
                  <a:lnTo>
                    <a:pt x="1440" y="1704"/>
                  </a:lnTo>
                  <a:lnTo>
                    <a:pt x="1434" y="1710"/>
                  </a:lnTo>
                  <a:lnTo>
                    <a:pt x="1434" y="1716"/>
                  </a:lnTo>
                  <a:lnTo>
                    <a:pt x="1428" y="1716"/>
                  </a:lnTo>
                  <a:lnTo>
                    <a:pt x="1428" y="1722"/>
                  </a:lnTo>
                  <a:lnTo>
                    <a:pt x="1428" y="1728"/>
                  </a:lnTo>
                  <a:lnTo>
                    <a:pt x="1422" y="1728"/>
                  </a:lnTo>
                  <a:lnTo>
                    <a:pt x="1422" y="1734"/>
                  </a:lnTo>
                  <a:lnTo>
                    <a:pt x="1416" y="1734"/>
                  </a:lnTo>
                  <a:lnTo>
                    <a:pt x="1410" y="1734"/>
                  </a:lnTo>
                  <a:lnTo>
                    <a:pt x="1392" y="1746"/>
                  </a:lnTo>
                  <a:lnTo>
                    <a:pt x="1386" y="1746"/>
                  </a:lnTo>
                  <a:lnTo>
                    <a:pt x="1368" y="1752"/>
                  </a:lnTo>
                  <a:lnTo>
                    <a:pt x="1362" y="1758"/>
                  </a:lnTo>
                  <a:lnTo>
                    <a:pt x="1362" y="1770"/>
                  </a:lnTo>
                  <a:lnTo>
                    <a:pt x="1356" y="178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</p:grpSp>
      <p:graphicFrame>
        <p:nvGraphicFramePr>
          <p:cNvPr id="357" name="Group 76">
            <a:extLst>
              <a:ext uri="{FF2B5EF4-FFF2-40B4-BE49-F238E27FC236}">
                <a16:creationId xmlns:a16="http://schemas.microsoft.com/office/drawing/2014/main" id="{57830D68-CF73-4A3E-9D36-141B03AADB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7778754"/>
              </p:ext>
            </p:extLst>
          </p:nvPr>
        </p:nvGraphicFramePr>
        <p:xfrm>
          <a:off x="541338" y="3402013"/>
          <a:ext cx="3735387" cy="1827306"/>
        </p:xfrm>
        <a:graphic>
          <a:graphicData uri="http://schemas.openxmlformats.org/drawingml/2006/table">
            <a:tbl>
              <a:tblPr/>
              <a:tblGrid>
                <a:gridCol w="1316931">
                  <a:extLst>
                    <a:ext uri="{9D8B030D-6E8A-4147-A177-3AD203B41FA5}">
                      <a16:colId xmlns:a16="http://schemas.microsoft.com/office/drawing/2014/main" val="2027704273"/>
                    </a:ext>
                  </a:extLst>
                </a:gridCol>
                <a:gridCol w="603796">
                  <a:extLst>
                    <a:ext uri="{9D8B030D-6E8A-4147-A177-3AD203B41FA5}">
                      <a16:colId xmlns:a16="http://schemas.microsoft.com/office/drawing/2014/main" val="3432768286"/>
                    </a:ext>
                  </a:extLst>
                </a:gridCol>
                <a:gridCol w="744015">
                  <a:extLst>
                    <a:ext uri="{9D8B030D-6E8A-4147-A177-3AD203B41FA5}">
                      <a16:colId xmlns:a16="http://schemas.microsoft.com/office/drawing/2014/main" val="3730294207"/>
                    </a:ext>
                  </a:extLst>
                </a:gridCol>
                <a:gridCol w="1070645">
                  <a:extLst>
                    <a:ext uri="{9D8B030D-6E8A-4147-A177-3AD203B41FA5}">
                      <a16:colId xmlns:a16="http://schemas.microsoft.com/office/drawing/2014/main" val="2258321117"/>
                    </a:ext>
                  </a:extLst>
                </a:gridCol>
              </a:tblGrid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apital</a:t>
                      </a:r>
                      <a:endParaRPr kumimoji="0" lang="en-SG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292929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SG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Uyo</a:t>
                      </a:r>
                      <a:endParaRPr kumimoji="0" lang="en-SG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703009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nd Are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6,900 km</a:t>
                      </a:r>
                      <a:r>
                        <a:rPr kumimoji="0" lang="en-US" altLang="en-US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1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603614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Population (2017E)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5,451,278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14 of 37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505851"/>
                  </a:ext>
                </a:extLst>
              </a:tr>
              <a:tr h="203024">
                <a:tc row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Dem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0-14: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,035,359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7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130093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5-64: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3,238,530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59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387564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65+: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   177,389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[4%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38801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bour force 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3,314,394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5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797882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limate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ropical monsoon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3942226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op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Saline water swamp forest, rain forest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32899"/>
                  </a:ext>
                </a:extLst>
              </a:tr>
            </a:tbl>
          </a:graphicData>
        </a:graphic>
      </p:graphicFrame>
      <p:pic>
        <p:nvPicPr>
          <p:cNvPr id="23609" name="Picture 13">
            <a:extLst>
              <a:ext uri="{FF2B5EF4-FFF2-40B4-BE49-F238E27FC236}">
                <a16:creationId xmlns:a16="http://schemas.microsoft.com/office/drawing/2014/main" id="{952964D5-F0ED-4CAE-B71C-DB4A723FA5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0" y="3006725"/>
            <a:ext cx="1116013" cy="155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9" name="TextBox 378">
            <a:extLst>
              <a:ext uri="{FF2B5EF4-FFF2-40B4-BE49-F238E27FC236}">
                <a16:creationId xmlns:a16="http://schemas.microsoft.com/office/drawing/2014/main" id="{1B3FD4BF-4685-4C74-821F-10048D6246BF}"/>
              </a:ext>
            </a:extLst>
          </p:cNvPr>
          <p:cNvSpPr txBox="1"/>
          <p:nvPr/>
        </p:nvSpPr>
        <p:spPr>
          <a:xfrm>
            <a:off x="6124575" y="957263"/>
            <a:ext cx="3475038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mpetitive Advantages</a:t>
            </a: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455FE7A1-ADE5-4F7B-A489-00196671A53E}"/>
              </a:ext>
            </a:extLst>
          </p:cNvPr>
          <p:cNvSpPr/>
          <p:nvPr/>
        </p:nvSpPr>
        <p:spPr>
          <a:xfrm>
            <a:off x="4267248" y="1187511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15.9bn/$52.3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EBB25788-D073-4A78-9D6C-DF3836CFFFBB}"/>
              </a:ext>
            </a:extLst>
          </p:cNvPr>
          <p:cNvSpPr txBox="1"/>
          <p:nvPr/>
        </p:nvSpPr>
        <p:spPr>
          <a:xfrm>
            <a:off x="4267200" y="955675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GR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6F07DF39-553B-44F0-8864-1F897C2BD79A}"/>
              </a:ext>
            </a:extLst>
          </p:cNvPr>
          <p:cNvSpPr/>
          <p:nvPr/>
        </p:nvSpPr>
        <p:spPr>
          <a:xfrm>
            <a:off x="4267252" y="1809750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646.7bn/$2.1bn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2508695A-2D2C-45A3-80FE-9C2CB18200C2}"/>
              </a:ext>
            </a:extLst>
          </p:cNvPr>
          <p:cNvSpPr txBox="1"/>
          <p:nvPr/>
        </p:nvSpPr>
        <p:spPr>
          <a:xfrm>
            <a:off x="4267200" y="1576388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Budget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8)</a:t>
            </a: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86A33ABE-3AE3-40A7-A6A6-1B757A6A9B0F}"/>
              </a:ext>
            </a:extLst>
          </p:cNvPr>
          <p:cNvSpPr/>
          <p:nvPr/>
        </p:nvSpPr>
        <p:spPr>
          <a:xfrm>
            <a:off x="4256076" y="2667155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2.6tn /$8.4bn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1E919764-A18B-4532-A533-A84A31D7FEFE}"/>
              </a:ext>
            </a:extLst>
          </p:cNvPr>
          <p:cNvSpPr txBox="1"/>
          <p:nvPr/>
        </p:nvSpPr>
        <p:spPr>
          <a:xfrm>
            <a:off x="4256088" y="2185988"/>
            <a:ext cx="1811337" cy="50641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Household </a:t>
            </a:r>
          </a:p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nsumption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96" name="Plaque 95">
            <a:extLst>
              <a:ext uri="{FF2B5EF4-FFF2-40B4-BE49-F238E27FC236}">
                <a16:creationId xmlns:a16="http://schemas.microsoft.com/office/drawing/2014/main" id="{E3BE1182-17B4-4194-8641-F1EA2CCBB757}"/>
              </a:ext>
            </a:extLst>
          </p:cNvPr>
          <p:cNvSpPr/>
          <p:nvPr/>
        </p:nvSpPr>
        <p:spPr>
          <a:xfrm>
            <a:off x="5656263" y="2805113"/>
            <a:ext cx="411162" cy="153987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5 of 36</a:t>
            </a:r>
          </a:p>
        </p:txBody>
      </p:sp>
      <p:sp>
        <p:nvSpPr>
          <p:cNvPr id="99" name="Plaque 98">
            <a:extLst>
              <a:ext uri="{FF2B5EF4-FFF2-40B4-BE49-F238E27FC236}">
                <a16:creationId xmlns:a16="http://schemas.microsoft.com/office/drawing/2014/main" id="{8620E393-1C52-4CE1-9888-20922FA6DFEA}"/>
              </a:ext>
            </a:extLst>
          </p:cNvPr>
          <p:cNvSpPr/>
          <p:nvPr/>
        </p:nvSpPr>
        <p:spPr>
          <a:xfrm>
            <a:off x="5689600" y="1951038"/>
            <a:ext cx="377825" cy="153987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3 of 36</a:t>
            </a:r>
          </a:p>
        </p:txBody>
      </p:sp>
      <p:sp>
        <p:nvSpPr>
          <p:cNvPr id="100" name="Plaque 99">
            <a:extLst>
              <a:ext uri="{FF2B5EF4-FFF2-40B4-BE49-F238E27FC236}">
                <a16:creationId xmlns:a16="http://schemas.microsoft.com/office/drawing/2014/main" id="{3BFA6D28-9A42-4459-8BF1-090CE1B45216}"/>
              </a:ext>
            </a:extLst>
          </p:cNvPr>
          <p:cNvSpPr/>
          <p:nvPr/>
        </p:nvSpPr>
        <p:spPr>
          <a:xfrm>
            <a:off x="5638800" y="1333500"/>
            <a:ext cx="430213" cy="1539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latin typeface="Calibri" panose="020F0502020204030204" pitchFamily="34" charset="0"/>
                <a:cs typeface="Calibri" panose="020F0502020204030204" pitchFamily="34" charset="0"/>
              </a:rPr>
              <a:t>13 of 36</a:t>
            </a:r>
          </a:p>
        </p:txBody>
      </p:sp>
      <p:sp>
        <p:nvSpPr>
          <p:cNvPr id="101" name="Pentagon 19">
            <a:extLst>
              <a:ext uri="{FF2B5EF4-FFF2-40B4-BE49-F238E27FC236}">
                <a16:creationId xmlns:a16="http://schemas.microsoft.com/office/drawing/2014/main" id="{CCD74FA4-19D0-4356-90C9-B3B49BCC3F54}"/>
              </a:ext>
            </a:extLst>
          </p:cNvPr>
          <p:cNvSpPr>
            <a:spLocks/>
          </p:cNvSpPr>
          <p:nvPr/>
        </p:nvSpPr>
        <p:spPr bwMode="auto">
          <a:xfrm>
            <a:off x="688340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1 of 37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12EE735-1E43-4799-A46A-5D0787F375CE}"/>
              </a:ext>
            </a:extLst>
          </p:cNvPr>
          <p:cNvSpPr/>
          <p:nvPr/>
        </p:nvSpPr>
        <p:spPr>
          <a:xfrm>
            <a:off x="6880225" y="5726113"/>
            <a:ext cx="642938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Starting a Business</a:t>
            </a:r>
          </a:p>
        </p:txBody>
      </p:sp>
      <p:pic>
        <p:nvPicPr>
          <p:cNvPr id="23622" name="Picture 3">
            <a:extLst>
              <a:ext uri="{FF2B5EF4-FFF2-40B4-BE49-F238E27FC236}">
                <a16:creationId xmlns:a16="http://schemas.microsoft.com/office/drawing/2014/main" id="{53FAD0C6-8FFE-437B-B7E4-F2A938D3BE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350" y="5249863"/>
            <a:ext cx="41910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23" name="Freeform 15">
            <a:extLst>
              <a:ext uri="{FF2B5EF4-FFF2-40B4-BE49-F238E27FC236}">
                <a16:creationId xmlns:a16="http://schemas.microsoft.com/office/drawing/2014/main" id="{183A3C8B-011E-4D99-9165-3FF03A2D3207}"/>
              </a:ext>
            </a:extLst>
          </p:cNvPr>
          <p:cNvSpPr>
            <a:spLocks noEditPoints="1"/>
          </p:cNvSpPr>
          <p:nvPr/>
        </p:nvSpPr>
        <p:spPr bwMode="auto">
          <a:xfrm>
            <a:off x="9093200" y="5257800"/>
            <a:ext cx="276225" cy="347663"/>
          </a:xfrm>
          <a:custGeom>
            <a:avLst/>
            <a:gdLst>
              <a:gd name="T0" fmla="*/ 2147483646 w 3556"/>
              <a:gd name="T1" fmla="*/ 2147483646 h 3950"/>
              <a:gd name="T2" fmla="*/ 2147483646 w 3556"/>
              <a:gd name="T3" fmla="*/ 2147483646 h 3950"/>
              <a:gd name="T4" fmla="*/ 2147483646 w 3556"/>
              <a:gd name="T5" fmla="*/ 2147483646 h 3950"/>
              <a:gd name="T6" fmla="*/ 2147483646 w 3556"/>
              <a:gd name="T7" fmla="*/ 2147483646 h 3950"/>
              <a:gd name="T8" fmla="*/ 2147483646 w 3556"/>
              <a:gd name="T9" fmla="*/ 2147483646 h 3950"/>
              <a:gd name="T10" fmla="*/ 2147483646 w 3556"/>
              <a:gd name="T11" fmla="*/ 2147483646 h 3950"/>
              <a:gd name="T12" fmla="*/ 2147483646 w 3556"/>
              <a:gd name="T13" fmla="*/ 2147483646 h 3950"/>
              <a:gd name="T14" fmla="*/ 2147483646 w 3556"/>
              <a:gd name="T15" fmla="*/ 2147483646 h 3950"/>
              <a:gd name="T16" fmla="*/ 2147483646 w 3556"/>
              <a:gd name="T17" fmla="*/ 2147483646 h 3950"/>
              <a:gd name="T18" fmla="*/ 2147483646 w 3556"/>
              <a:gd name="T19" fmla="*/ 2147483646 h 3950"/>
              <a:gd name="T20" fmla="*/ 2147483646 w 3556"/>
              <a:gd name="T21" fmla="*/ 2147483646 h 3950"/>
              <a:gd name="T22" fmla="*/ 0 w 3556"/>
              <a:gd name="T23" fmla="*/ 2147483646 h 3950"/>
              <a:gd name="T24" fmla="*/ 2147483646 w 3556"/>
              <a:gd name="T25" fmla="*/ 2147483646 h 3950"/>
              <a:gd name="T26" fmla="*/ 2147483646 w 3556"/>
              <a:gd name="T27" fmla="*/ 2147483646 h 3950"/>
              <a:gd name="T28" fmla="*/ 2147483646 w 3556"/>
              <a:gd name="T29" fmla="*/ 2147483646 h 3950"/>
              <a:gd name="T30" fmla="*/ 2147483646 w 3556"/>
              <a:gd name="T31" fmla="*/ 2147483646 h 3950"/>
              <a:gd name="T32" fmla="*/ 2147483646 w 3556"/>
              <a:gd name="T33" fmla="*/ 2147483646 h 3950"/>
              <a:gd name="T34" fmla="*/ 2147483646 w 3556"/>
              <a:gd name="T35" fmla="*/ 2147483646 h 3950"/>
              <a:gd name="T36" fmla="*/ 2147483646 w 3556"/>
              <a:gd name="T37" fmla="*/ 2147483646 h 3950"/>
              <a:gd name="T38" fmla="*/ 2147483646 w 3556"/>
              <a:gd name="T39" fmla="*/ 2147483646 h 3950"/>
              <a:gd name="T40" fmla="*/ 2147483646 w 3556"/>
              <a:gd name="T41" fmla="*/ 2147483646 h 3950"/>
              <a:gd name="T42" fmla="*/ 2147483646 w 3556"/>
              <a:gd name="T43" fmla="*/ 2147483646 h 3950"/>
              <a:gd name="T44" fmla="*/ 2147483646 w 3556"/>
              <a:gd name="T45" fmla="*/ 2147483646 h 3950"/>
              <a:gd name="T46" fmla="*/ 2147483646 w 3556"/>
              <a:gd name="T47" fmla="*/ 2147483646 h 3950"/>
              <a:gd name="T48" fmla="*/ 2147483646 w 3556"/>
              <a:gd name="T49" fmla="*/ 2147483646 h 3950"/>
              <a:gd name="T50" fmla="*/ 2147483646 w 3556"/>
              <a:gd name="T51" fmla="*/ 2147483646 h 3950"/>
              <a:gd name="T52" fmla="*/ 2147483646 w 3556"/>
              <a:gd name="T53" fmla="*/ 2147483646 h 3950"/>
              <a:gd name="T54" fmla="*/ 2147483646 w 3556"/>
              <a:gd name="T55" fmla="*/ 2147483646 h 3950"/>
              <a:gd name="T56" fmla="*/ 2147483646 w 3556"/>
              <a:gd name="T57" fmla="*/ 2147483646 h 3950"/>
              <a:gd name="T58" fmla="*/ 2147483646 w 3556"/>
              <a:gd name="T59" fmla="*/ 2147483646 h 3950"/>
              <a:gd name="T60" fmla="*/ 2147483646 w 3556"/>
              <a:gd name="T61" fmla="*/ 2147483646 h 3950"/>
              <a:gd name="T62" fmla="*/ 2147483646 w 3556"/>
              <a:gd name="T63" fmla="*/ 2147483646 h 3950"/>
              <a:gd name="T64" fmla="*/ 2147483646 w 3556"/>
              <a:gd name="T65" fmla="*/ 2147483646 h 3950"/>
              <a:gd name="T66" fmla="*/ 2147483646 w 3556"/>
              <a:gd name="T67" fmla="*/ 2147483646 h 3950"/>
              <a:gd name="T68" fmla="*/ 2147483646 w 3556"/>
              <a:gd name="T69" fmla="*/ 2147483646 h 3950"/>
              <a:gd name="T70" fmla="*/ 2147483646 w 3556"/>
              <a:gd name="T71" fmla="*/ 2147483646 h 3950"/>
              <a:gd name="T72" fmla="*/ 2147483646 w 3556"/>
              <a:gd name="T73" fmla="*/ 2147483646 h 3950"/>
              <a:gd name="T74" fmla="*/ 2147483646 w 3556"/>
              <a:gd name="T75" fmla="*/ 2147483646 h 3950"/>
              <a:gd name="T76" fmla="*/ 2147483646 w 3556"/>
              <a:gd name="T77" fmla="*/ 2147483646 h 3950"/>
              <a:gd name="T78" fmla="*/ 2147483646 w 3556"/>
              <a:gd name="T79" fmla="*/ 2147483646 h 3950"/>
              <a:gd name="T80" fmla="*/ 2147483646 w 3556"/>
              <a:gd name="T81" fmla="*/ 0 h 3950"/>
              <a:gd name="T82" fmla="*/ 2147483646 w 3556"/>
              <a:gd name="T83" fmla="*/ 2147483646 h 3950"/>
              <a:gd name="T84" fmla="*/ 2147483646 w 3556"/>
              <a:gd name="T85" fmla="*/ 2147483646 h 3950"/>
              <a:gd name="T86" fmla="*/ 2147483646 w 3556"/>
              <a:gd name="T87" fmla="*/ 2147483646 h 395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556"/>
              <a:gd name="T133" fmla="*/ 0 h 3950"/>
              <a:gd name="T134" fmla="*/ 3556 w 3556"/>
              <a:gd name="T135" fmla="*/ 3950 h 395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556" h="3950">
                <a:moveTo>
                  <a:pt x="909" y="3917"/>
                </a:moveTo>
                <a:cubicBezTo>
                  <a:pt x="824" y="3832"/>
                  <a:pt x="894" y="3725"/>
                  <a:pt x="1036" y="3725"/>
                </a:cubicBezTo>
                <a:cubicBezTo>
                  <a:pt x="1119" y="3725"/>
                  <a:pt x="1129" y="3717"/>
                  <a:pt x="1129" y="3645"/>
                </a:cubicBezTo>
                <a:cubicBezTo>
                  <a:pt x="1129" y="3472"/>
                  <a:pt x="1135" y="3471"/>
                  <a:pt x="2192" y="3471"/>
                </a:cubicBezTo>
                <a:cubicBezTo>
                  <a:pt x="3086" y="3471"/>
                  <a:pt x="3155" y="3475"/>
                  <a:pt x="3199" y="3523"/>
                </a:cubicBezTo>
                <a:cubicBezTo>
                  <a:pt x="3225" y="3551"/>
                  <a:pt x="3246" y="3608"/>
                  <a:pt x="3246" y="3648"/>
                </a:cubicBezTo>
                <a:cubicBezTo>
                  <a:pt x="3246" y="3712"/>
                  <a:pt x="3259" y="3723"/>
                  <a:pt x="3349" y="3730"/>
                </a:cubicBezTo>
                <a:cubicBezTo>
                  <a:pt x="3470" y="3741"/>
                  <a:pt x="3530" y="3811"/>
                  <a:pt x="3482" y="3887"/>
                </a:cubicBezTo>
                <a:cubicBezTo>
                  <a:pt x="3453" y="3933"/>
                  <a:pt x="3356" y="3937"/>
                  <a:pt x="2197" y="3944"/>
                </a:cubicBezTo>
                <a:cubicBezTo>
                  <a:pt x="1245" y="3950"/>
                  <a:pt x="935" y="3943"/>
                  <a:pt x="909" y="3917"/>
                </a:cubicBezTo>
                <a:close/>
                <a:moveTo>
                  <a:pt x="87" y="3370"/>
                </a:moveTo>
                <a:cubicBezTo>
                  <a:pt x="24" y="3317"/>
                  <a:pt x="0" y="3272"/>
                  <a:pt x="0" y="3209"/>
                </a:cubicBezTo>
                <a:cubicBezTo>
                  <a:pt x="0" y="3132"/>
                  <a:pt x="86" y="3035"/>
                  <a:pt x="705" y="2414"/>
                </a:cubicBezTo>
                <a:lnTo>
                  <a:pt x="1411" y="1706"/>
                </a:lnTo>
                <a:lnTo>
                  <a:pt x="1235" y="1530"/>
                </a:lnTo>
                <a:lnTo>
                  <a:pt x="1059" y="1355"/>
                </a:lnTo>
                <a:lnTo>
                  <a:pt x="1510" y="903"/>
                </a:lnTo>
                <a:lnTo>
                  <a:pt x="1960" y="452"/>
                </a:lnTo>
                <a:lnTo>
                  <a:pt x="2135" y="624"/>
                </a:lnTo>
                <a:cubicBezTo>
                  <a:pt x="2305" y="793"/>
                  <a:pt x="2310" y="796"/>
                  <a:pt x="2374" y="751"/>
                </a:cubicBezTo>
                <a:cubicBezTo>
                  <a:pt x="2469" y="685"/>
                  <a:pt x="2547" y="695"/>
                  <a:pt x="2633" y="785"/>
                </a:cubicBezTo>
                <a:cubicBezTo>
                  <a:pt x="2720" y="875"/>
                  <a:pt x="2731" y="974"/>
                  <a:pt x="2662" y="1050"/>
                </a:cubicBezTo>
                <a:cubicBezTo>
                  <a:pt x="2616" y="1100"/>
                  <a:pt x="2624" y="1112"/>
                  <a:pt x="2823" y="1313"/>
                </a:cubicBezTo>
                <a:lnTo>
                  <a:pt x="3033" y="1524"/>
                </a:lnTo>
                <a:lnTo>
                  <a:pt x="2582" y="1975"/>
                </a:lnTo>
                <a:lnTo>
                  <a:pt x="2132" y="2427"/>
                </a:lnTo>
                <a:lnTo>
                  <a:pt x="1933" y="2229"/>
                </a:lnTo>
                <a:cubicBezTo>
                  <a:pt x="1824" y="2121"/>
                  <a:pt x="1722" y="2032"/>
                  <a:pt x="1707" y="2032"/>
                </a:cubicBezTo>
                <a:cubicBezTo>
                  <a:pt x="1693" y="2032"/>
                  <a:pt x="1362" y="2349"/>
                  <a:pt x="973" y="2737"/>
                </a:cubicBezTo>
                <a:cubicBezTo>
                  <a:pt x="584" y="3125"/>
                  <a:pt x="245" y="3443"/>
                  <a:pt x="220" y="3443"/>
                </a:cubicBezTo>
                <a:cubicBezTo>
                  <a:pt x="194" y="3443"/>
                  <a:pt x="135" y="3410"/>
                  <a:pt x="87" y="3370"/>
                </a:cubicBezTo>
                <a:close/>
                <a:moveTo>
                  <a:pt x="2258" y="2887"/>
                </a:moveTo>
                <a:cubicBezTo>
                  <a:pt x="2196" y="2865"/>
                  <a:pt x="2145" y="2792"/>
                  <a:pt x="2145" y="2725"/>
                </a:cubicBezTo>
                <a:cubicBezTo>
                  <a:pt x="2145" y="2686"/>
                  <a:pt x="2337" y="2474"/>
                  <a:pt x="2703" y="2109"/>
                </a:cubicBezTo>
                <a:cubicBezTo>
                  <a:pt x="3289" y="1523"/>
                  <a:pt x="3346" y="1485"/>
                  <a:pt x="3453" y="1604"/>
                </a:cubicBezTo>
                <a:cubicBezTo>
                  <a:pt x="3556" y="1717"/>
                  <a:pt x="3522" y="1766"/>
                  <a:pt x="2956" y="2331"/>
                </a:cubicBezTo>
                <a:cubicBezTo>
                  <a:pt x="2657" y="2630"/>
                  <a:pt x="2388" y="2880"/>
                  <a:pt x="2357" y="2888"/>
                </a:cubicBezTo>
                <a:cubicBezTo>
                  <a:pt x="2326" y="2895"/>
                  <a:pt x="2281" y="2895"/>
                  <a:pt x="2258" y="2887"/>
                </a:cubicBezTo>
                <a:close/>
                <a:moveTo>
                  <a:pt x="637" y="1282"/>
                </a:moveTo>
                <a:cubicBezTo>
                  <a:pt x="528" y="1172"/>
                  <a:pt x="568" y="1113"/>
                  <a:pt x="1137" y="544"/>
                </a:cubicBezTo>
                <a:cubicBezTo>
                  <a:pt x="1607" y="74"/>
                  <a:pt x="1693" y="0"/>
                  <a:pt x="1767" y="0"/>
                </a:cubicBezTo>
                <a:cubicBezTo>
                  <a:pt x="1862" y="0"/>
                  <a:pt x="1947" y="73"/>
                  <a:pt x="1947" y="156"/>
                </a:cubicBezTo>
                <a:cubicBezTo>
                  <a:pt x="1947" y="186"/>
                  <a:pt x="1715" y="442"/>
                  <a:pt x="1391" y="767"/>
                </a:cubicBezTo>
                <a:cubicBezTo>
                  <a:pt x="808" y="1353"/>
                  <a:pt x="749" y="1393"/>
                  <a:pt x="637" y="12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4" name="Group 118">
            <a:extLst>
              <a:ext uri="{FF2B5EF4-FFF2-40B4-BE49-F238E27FC236}">
                <a16:creationId xmlns:a16="http://schemas.microsoft.com/office/drawing/2014/main" id="{FB3D6A90-C4FD-433A-A1C1-A4B3864804A5}"/>
              </a:ext>
            </a:extLst>
          </p:cNvPr>
          <p:cNvGrpSpPr/>
          <p:nvPr/>
        </p:nvGrpSpPr>
        <p:grpSpPr>
          <a:xfrm>
            <a:off x="8409631" y="5248358"/>
            <a:ext cx="346498" cy="347472"/>
            <a:chOff x="1468138" y="5997240"/>
            <a:chExt cx="283642" cy="307072"/>
          </a:xfrm>
          <a:solidFill>
            <a:schemeClr val="bg1"/>
          </a:solidFill>
        </p:grpSpPr>
        <p:sp>
          <p:nvSpPr>
            <p:cNvPr id="120" name="Freeform 16">
              <a:extLst>
                <a:ext uri="{FF2B5EF4-FFF2-40B4-BE49-F238E27FC236}">
                  <a16:creationId xmlns:a16="http://schemas.microsoft.com/office/drawing/2014/main" id="{D6134FC8-4249-4088-8AE8-003C8AAC7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6136" y="6255221"/>
              <a:ext cx="26428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1 w 349"/>
                <a:gd name="T25" fmla="*/ 226 h 350"/>
                <a:gd name="T26" fmla="*/ 225 w 349"/>
                <a:gd name="T27" fmla="*/ 213 h 350"/>
                <a:gd name="T28" fmla="*/ 234 w 349"/>
                <a:gd name="T29" fmla="*/ 194 h 350"/>
                <a:gd name="T30" fmla="*/ 237 w 349"/>
                <a:gd name="T31" fmla="*/ 175 h 350"/>
                <a:gd name="T32" fmla="*/ 235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5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4 w 349"/>
                <a:gd name="T47" fmla="*/ 3 h 350"/>
                <a:gd name="T48" fmla="*/ 234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8 w 349"/>
                <a:gd name="T55" fmla="*/ 63 h 350"/>
                <a:gd name="T56" fmla="*/ 325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5 w 349"/>
                <a:gd name="T65" fmla="*/ 210 h 350"/>
                <a:gd name="T66" fmla="*/ 335 w 349"/>
                <a:gd name="T67" fmla="*/ 243 h 350"/>
                <a:gd name="T68" fmla="*/ 319 w 349"/>
                <a:gd name="T69" fmla="*/ 273 h 350"/>
                <a:gd name="T70" fmla="*/ 297 w 349"/>
                <a:gd name="T71" fmla="*/ 299 h 350"/>
                <a:gd name="T72" fmla="*/ 272 w 349"/>
                <a:gd name="T73" fmla="*/ 319 h 350"/>
                <a:gd name="T74" fmla="*/ 242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39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29 w 349"/>
                <a:gd name="T89" fmla="*/ 273 h 350"/>
                <a:gd name="T90" fmla="*/ 14 w 349"/>
                <a:gd name="T91" fmla="*/ 243 h 350"/>
                <a:gd name="T92" fmla="*/ 3 w 349"/>
                <a:gd name="T93" fmla="*/ 210 h 350"/>
                <a:gd name="T94" fmla="*/ 0 w 349"/>
                <a:gd name="T95" fmla="*/ 175 h 350"/>
                <a:gd name="T96" fmla="*/ 3 w 349"/>
                <a:gd name="T97" fmla="*/ 140 h 350"/>
                <a:gd name="T98" fmla="*/ 14 w 349"/>
                <a:gd name="T99" fmla="*/ 107 h 350"/>
                <a:gd name="T100" fmla="*/ 29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39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1" y="226"/>
                  </a:lnTo>
                  <a:lnTo>
                    <a:pt x="225" y="213"/>
                  </a:lnTo>
                  <a:lnTo>
                    <a:pt x="234" y="194"/>
                  </a:lnTo>
                  <a:lnTo>
                    <a:pt x="237" y="175"/>
                  </a:lnTo>
                  <a:lnTo>
                    <a:pt x="235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5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4" y="3"/>
                  </a:lnTo>
                  <a:lnTo>
                    <a:pt x="234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8" y="63"/>
                  </a:lnTo>
                  <a:lnTo>
                    <a:pt x="325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5" y="210"/>
                  </a:lnTo>
                  <a:lnTo>
                    <a:pt x="335" y="243"/>
                  </a:lnTo>
                  <a:lnTo>
                    <a:pt x="319" y="273"/>
                  </a:lnTo>
                  <a:lnTo>
                    <a:pt x="297" y="299"/>
                  </a:lnTo>
                  <a:lnTo>
                    <a:pt x="272" y="319"/>
                  </a:lnTo>
                  <a:lnTo>
                    <a:pt x="242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39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29" y="273"/>
                  </a:lnTo>
                  <a:lnTo>
                    <a:pt x="14" y="243"/>
                  </a:lnTo>
                  <a:lnTo>
                    <a:pt x="3" y="210"/>
                  </a:lnTo>
                  <a:lnTo>
                    <a:pt x="0" y="175"/>
                  </a:lnTo>
                  <a:lnTo>
                    <a:pt x="3" y="140"/>
                  </a:lnTo>
                  <a:lnTo>
                    <a:pt x="14" y="107"/>
                  </a:lnTo>
                  <a:lnTo>
                    <a:pt x="29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39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1" name="Freeform 17">
              <a:extLst>
                <a:ext uri="{FF2B5EF4-FFF2-40B4-BE49-F238E27FC236}">
                  <a16:creationId xmlns:a16="http://schemas.microsoft.com/office/drawing/2014/main" id="{67A5F0B0-C078-4A85-9E32-409FF0B3D5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2133" y="6255221"/>
              <a:ext cx="26656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2 w 349"/>
                <a:gd name="T25" fmla="*/ 226 h 350"/>
                <a:gd name="T26" fmla="*/ 226 w 349"/>
                <a:gd name="T27" fmla="*/ 213 h 350"/>
                <a:gd name="T28" fmla="*/ 235 w 349"/>
                <a:gd name="T29" fmla="*/ 194 h 350"/>
                <a:gd name="T30" fmla="*/ 237 w 349"/>
                <a:gd name="T31" fmla="*/ 175 h 350"/>
                <a:gd name="T32" fmla="*/ 236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7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5 w 349"/>
                <a:gd name="T47" fmla="*/ 3 h 350"/>
                <a:gd name="T48" fmla="*/ 235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9 w 349"/>
                <a:gd name="T55" fmla="*/ 63 h 350"/>
                <a:gd name="T56" fmla="*/ 326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6 w 349"/>
                <a:gd name="T65" fmla="*/ 210 h 350"/>
                <a:gd name="T66" fmla="*/ 336 w 349"/>
                <a:gd name="T67" fmla="*/ 243 h 350"/>
                <a:gd name="T68" fmla="*/ 319 w 349"/>
                <a:gd name="T69" fmla="*/ 273 h 350"/>
                <a:gd name="T70" fmla="*/ 298 w 349"/>
                <a:gd name="T71" fmla="*/ 299 h 350"/>
                <a:gd name="T72" fmla="*/ 272 w 349"/>
                <a:gd name="T73" fmla="*/ 319 h 350"/>
                <a:gd name="T74" fmla="*/ 243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40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30 w 349"/>
                <a:gd name="T89" fmla="*/ 273 h 350"/>
                <a:gd name="T90" fmla="*/ 14 w 349"/>
                <a:gd name="T91" fmla="*/ 243 h 350"/>
                <a:gd name="T92" fmla="*/ 4 w 349"/>
                <a:gd name="T93" fmla="*/ 210 h 350"/>
                <a:gd name="T94" fmla="*/ 0 w 349"/>
                <a:gd name="T95" fmla="*/ 175 h 350"/>
                <a:gd name="T96" fmla="*/ 4 w 349"/>
                <a:gd name="T97" fmla="*/ 140 h 350"/>
                <a:gd name="T98" fmla="*/ 14 w 349"/>
                <a:gd name="T99" fmla="*/ 107 h 350"/>
                <a:gd name="T100" fmla="*/ 30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40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7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7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5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19" y="273"/>
                  </a:lnTo>
                  <a:lnTo>
                    <a:pt x="298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2" name="Freeform 18">
              <a:extLst>
                <a:ext uri="{FF2B5EF4-FFF2-40B4-BE49-F238E27FC236}">
                  <a16:creationId xmlns:a16="http://schemas.microsoft.com/office/drawing/2014/main" id="{BF1784DA-3E40-44FD-998D-DB1DD379C0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8357" y="6255221"/>
              <a:ext cx="26428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7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1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7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8 w 350"/>
                <a:gd name="T31" fmla="*/ 175 h 350"/>
                <a:gd name="T32" fmla="*/ 236 w 350"/>
                <a:gd name="T33" fmla="*/ 158 h 350"/>
                <a:gd name="T34" fmla="*/ 229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7 w 350"/>
                <a:gd name="T53" fmla="*/ 41 h 350"/>
                <a:gd name="T54" fmla="*/ 309 w 350"/>
                <a:gd name="T55" fmla="*/ 63 h 350"/>
                <a:gd name="T56" fmla="*/ 326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2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7 w 350"/>
                <a:gd name="T85" fmla="*/ 319 h 350"/>
                <a:gd name="T86" fmla="*/ 51 w 350"/>
                <a:gd name="T87" fmla="*/ 299 h 350"/>
                <a:gd name="T88" fmla="*/ 30 w 350"/>
                <a:gd name="T89" fmla="*/ 273 h 350"/>
                <a:gd name="T90" fmla="*/ 14 w 350"/>
                <a:gd name="T91" fmla="*/ 243 h 350"/>
                <a:gd name="T92" fmla="*/ 4 w 350"/>
                <a:gd name="T93" fmla="*/ 210 h 350"/>
                <a:gd name="T94" fmla="*/ 0 w 350"/>
                <a:gd name="T95" fmla="*/ 175 h 350"/>
                <a:gd name="T96" fmla="*/ 4 w 350"/>
                <a:gd name="T97" fmla="*/ 140 h 350"/>
                <a:gd name="T98" fmla="*/ 14 w 350"/>
                <a:gd name="T99" fmla="*/ 107 h 350"/>
                <a:gd name="T100" fmla="*/ 30 w 350"/>
                <a:gd name="T101" fmla="*/ 78 h 350"/>
                <a:gd name="T102" fmla="*/ 51 w 350"/>
                <a:gd name="T103" fmla="*/ 52 h 350"/>
                <a:gd name="T104" fmla="*/ 77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8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3" name="Freeform 19">
              <a:extLst>
                <a:ext uri="{FF2B5EF4-FFF2-40B4-BE49-F238E27FC236}">
                  <a16:creationId xmlns:a16="http://schemas.microsoft.com/office/drawing/2014/main" id="{FF26547B-24B3-4108-8095-A2794E966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4353" y="6255221"/>
              <a:ext cx="26656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8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3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8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9 w 350"/>
                <a:gd name="T31" fmla="*/ 175 h 350"/>
                <a:gd name="T32" fmla="*/ 236 w 350"/>
                <a:gd name="T33" fmla="*/ 158 h 350"/>
                <a:gd name="T34" fmla="*/ 231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8 w 350"/>
                <a:gd name="T53" fmla="*/ 41 h 350"/>
                <a:gd name="T54" fmla="*/ 309 w 350"/>
                <a:gd name="T55" fmla="*/ 63 h 350"/>
                <a:gd name="T56" fmla="*/ 327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3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8 w 350"/>
                <a:gd name="T85" fmla="*/ 319 h 350"/>
                <a:gd name="T86" fmla="*/ 53 w 350"/>
                <a:gd name="T87" fmla="*/ 299 h 350"/>
                <a:gd name="T88" fmla="*/ 31 w 350"/>
                <a:gd name="T89" fmla="*/ 273 h 350"/>
                <a:gd name="T90" fmla="*/ 15 w 350"/>
                <a:gd name="T91" fmla="*/ 243 h 350"/>
                <a:gd name="T92" fmla="*/ 5 w 350"/>
                <a:gd name="T93" fmla="*/ 210 h 350"/>
                <a:gd name="T94" fmla="*/ 0 w 350"/>
                <a:gd name="T95" fmla="*/ 175 h 350"/>
                <a:gd name="T96" fmla="*/ 5 w 350"/>
                <a:gd name="T97" fmla="*/ 140 h 350"/>
                <a:gd name="T98" fmla="*/ 15 w 350"/>
                <a:gd name="T99" fmla="*/ 107 h 350"/>
                <a:gd name="T100" fmla="*/ 31 w 350"/>
                <a:gd name="T101" fmla="*/ 78 h 350"/>
                <a:gd name="T102" fmla="*/ 53 w 350"/>
                <a:gd name="T103" fmla="*/ 52 h 350"/>
                <a:gd name="T104" fmla="*/ 78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8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3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8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9" y="175"/>
                  </a:lnTo>
                  <a:lnTo>
                    <a:pt x="236" y="158"/>
                  </a:lnTo>
                  <a:lnTo>
                    <a:pt x="231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8" y="41"/>
                  </a:lnTo>
                  <a:lnTo>
                    <a:pt x="309" y="63"/>
                  </a:lnTo>
                  <a:lnTo>
                    <a:pt x="327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3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8" y="319"/>
                  </a:lnTo>
                  <a:lnTo>
                    <a:pt x="53" y="299"/>
                  </a:lnTo>
                  <a:lnTo>
                    <a:pt x="31" y="273"/>
                  </a:lnTo>
                  <a:lnTo>
                    <a:pt x="15" y="243"/>
                  </a:lnTo>
                  <a:lnTo>
                    <a:pt x="5" y="210"/>
                  </a:lnTo>
                  <a:lnTo>
                    <a:pt x="0" y="175"/>
                  </a:lnTo>
                  <a:lnTo>
                    <a:pt x="5" y="140"/>
                  </a:lnTo>
                  <a:lnTo>
                    <a:pt x="15" y="107"/>
                  </a:lnTo>
                  <a:lnTo>
                    <a:pt x="31" y="78"/>
                  </a:lnTo>
                  <a:lnTo>
                    <a:pt x="53" y="52"/>
                  </a:lnTo>
                  <a:lnTo>
                    <a:pt x="78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4" name="Freeform 20">
              <a:extLst>
                <a:ext uri="{FF2B5EF4-FFF2-40B4-BE49-F238E27FC236}">
                  <a16:creationId xmlns:a16="http://schemas.microsoft.com/office/drawing/2014/main" id="{6F553FA1-4728-401A-8C20-F18E165CA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80832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2 h 111"/>
                <a:gd name="T10" fmla="*/ 168 w 171"/>
                <a:gd name="T11" fmla="*/ 37 h 111"/>
                <a:gd name="T12" fmla="*/ 171 w 171"/>
                <a:gd name="T13" fmla="*/ 55 h 111"/>
                <a:gd name="T14" fmla="*/ 168 w 171"/>
                <a:gd name="T15" fmla="*/ 72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8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8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2 h 111"/>
                <a:gd name="T34" fmla="*/ 0 w 171"/>
                <a:gd name="T35" fmla="*/ 55 h 111"/>
                <a:gd name="T36" fmla="*/ 2 w 171"/>
                <a:gd name="T37" fmla="*/ 37 h 111"/>
                <a:gd name="T38" fmla="*/ 10 w 171"/>
                <a:gd name="T39" fmla="*/ 22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2"/>
                  </a:lnTo>
                  <a:lnTo>
                    <a:pt x="168" y="37"/>
                  </a:lnTo>
                  <a:lnTo>
                    <a:pt x="171" y="55"/>
                  </a:lnTo>
                  <a:lnTo>
                    <a:pt x="168" y="72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8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8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2"/>
                  </a:lnTo>
                  <a:lnTo>
                    <a:pt x="0" y="55"/>
                  </a:lnTo>
                  <a:lnTo>
                    <a:pt x="2" y="37"/>
                  </a:lnTo>
                  <a:lnTo>
                    <a:pt x="10" y="22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5" name="Freeform 21">
              <a:extLst>
                <a:ext uri="{FF2B5EF4-FFF2-40B4-BE49-F238E27FC236}">
                  <a16:creationId xmlns:a16="http://schemas.microsoft.com/office/drawing/2014/main" id="{2A783787-5E9B-43C9-9BF4-073950C97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95860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3 h 111"/>
                <a:gd name="T10" fmla="*/ 168 w 171"/>
                <a:gd name="T11" fmla="*/ 38 h 111"/>
                <a:gd name="T12" fmla="*/ 171 w 171"/>
                <a:gd name="T13" fmla="*/ 55 h 111"/>
                <a:gd name="T14" fmla="*/ 168 w 171"/>
                <a:gd name="T15" fmla="*/ 74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9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9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4 h 111"/>
                <a:gd name="T34" fmla="*/ 0 w 171"/>
                <a:gd name="T35" fmla="*/ 55 h 111"/>
                <a:gd name="T36" fmla="*/ 2 w 171"/>
                <a:gd name="T37" fmla="*/ 38 h 111"/>
                <a:gd name="T38" fmla="*/ 10 w 171"/>
                <a:gd name="T39" fmla="*/ 23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3"/>
                  </a:lnTo>
                  <a:lnTo>
                    <a:pt x="168" y="38"/>
                  </a:lnTo>
                  <a:lnTo>
                    <a:pt x="171" y="55"/>
                  </a:lnTo>
                  <a:lnTo>
                    <a:pt x="168" y="74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9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9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4"/>
                  </a:lnTo>
                  <a:lnTo>
                    <a:pt x="0" y="55"/>
                  </a:lnTo>
                  <a:lnTo>
                    <a:pt x="2" y="38"/>
                  </a:lnTo>
                  <a:lnTo>
                    <a:pt x="10" y="23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6" name="Freeform 22">
              <a:extLst>
                <a:ext uri="{FF2B5EF4-FFF2-40B4-BE49-F238E27FC236}">
                  <a16:creationId xmlns:a16="http://schemas.microsoft.com/office/drawing/2014/main" id="{6465D05A-ED22-49B3-924E-6DFC4C8C8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8138" y="5997240"/>
              <a:ext cx="283642" cy="307072"/>
            </a:xfrm>
            <a:custGeom>
              <a:avLst/>
              <a:gdLst>
                <a:gd name="T0" fmla="*/ 185 w 3736"/>
                <a:gd name="T1" fmla="*/ 3069 h 3678"/>
                <a:gd name="T2" fmla="*/ 125 w 3736"/>
                <a:gd name="T3" fmla="*/ 3352 h 3678"/>
                <a:gd name="T4" fmla="*/ 325 w 3736"/>
                <a:gd name="T5" fmla="*/ 3554 h 3678"/>
                <a:gd name="T6" fmla="*/ 2002 w 3736"/>
                <a:gd name="T7" fmla="*/ 3518 h 3678"/>
                <a:gd name="T8" fmla="*/ 2140 w 3736"/>
                <a:gd name="T9" fmla="*/ 3266 h 3678"/>
                <a:gd name="T10" fmla="*/ 2002 w 3736"/>
                <a:gd name="T11" fmla="*/ 3013 h 3678"/>
                <a:gd name="T12" fmla="*/ 943 w 3736"/>
                <a:gd name="T13" fmla="*/ 2853 h 3678"/>
                <a:gd name="T14" fmla="*/ 2970 w 3736"/>
                <a:gd name="T15" fmla="*/ 2765 h 3678"/>
                <a:gd name="T16" fmla="*/ 3240 w 3736"/>
                <a:gd name="T17" fmla="*/ 2787 h 3678"/>
                <a:gd name="T18" fmla="*/ 3506 w 3736"/>
                <a:gd name="T19" fmla="*/ 2599 h 3678"/>
                <a:gd name="T20" fmla="*/ 302 w 3736"/>
                <a:gd name="T21" fmla="*/ 2099 h 3678"/>
                <a:gd name="T22" fmla="*/ 333 w 3736"/>
                <a:gd name="T23" fmla="*/ 2613 h 3678"/>
                <a:gd name="T24" fmla="*/ 3524 w 3736"/>
                <a:gd name="T25" fmla="*/ 1966 h 3678"/>
                <a:gd name="T26" fmla="*/ 3542 w 3736"/>
                <a:gd name="T27" fmla="*/ 2077 h 3678"/>
                <a:gd name="T28" fmla="*/ 3622 w 3736"/>
                <a:gd name="T29" fmla="*/ 1998 h 3678"/>
                <a:gd name="T30" fmla="*/ 893 w 3736"/>
                <a:gd name="T31" fmla="*/ 1458 h 3678"/>
                <a:gd name="T32" fmla="*/ 1843 w 3736"/>
                <a:gd name="T33" fmla="*/ 2616 h 3678"/>
                <a:gd name="T34" fmla="*/ 1132 w 3736"/>
                <a:gd name="T35" fmla="*/ 2414 h 3678"/>
                <a:gd name="T36" fmla="*/ 954 w 3736"/>
                <a:gd name="T37" fmla="*/ 2256 h 3678"/>
                <a:gd name="T38" fmla="*/ 1082 w 3736"/>
                <a:gd name="T39" fmla="*/ 2271 h 3678"/>
                <a:gd name="T40" fmla="*/ 1271 w 3736"/>
                <a:gd name="T41" fmla="*/ 1557 h 3678"/>
                <a:gd name="T42" fmla="*/ 1360 w 3736"/>
                <a:gd name="T43" fmla="*/ 1601 h 3678"/>
                <a:gd name="T44" fmla="*/ 1958 w 3736"/>
                <a:gd name="T45" fmla="*/ 2171 h 3678"/>
                <a:gd name="T46" fmla="*/ 1525 w 3736"/>
                <a:gd name="T47" fmla="*/ 1457 h 3678"/>
                <a:gd name="T48" fmla="*/ 2749 w 3736"/>
                <a:gd name="T49" fmla="*/ 361 h 3678"/>
                <a:gd name="T50" fmla="*/ 3541 w 3736"/>
                <a:gd name="T51" fmla="*/ 1844 h 3678"/>
                <a:gd name="T52" fmla="*/ 1658 w 3736"/>
                <a:gd name="T53" fmla="*/ 1439 h 3678"/>
                <a:gd name="T54" fmla="*/ 2419 w 3736"/>
                <a:gd name="T55" fmla="*/ 427 h 3678"/>
                <a:gd name="T56" fmla="*/ 2498 w 3736"/>
                <a:gd name="T57" fmla="*/ 124 h 3678"/>
                <a:gd name="T58" fmla="*/ 2441 w 3736"/>
                <a:gd name="T59" fmla="*/ 287 h 3678"/>
                <a:gd name="T60" fmla="*/ 2599 w 3736"/>
                <a:gd name="T61" fmla="*/ 347 h 3678"/>
                <a:gd name="T62" fmla="*/ 2672 w 3736"/>
                <a:gd name="T63" fmla="*/ 256 h 3678"/>
                <a:gd name="T64" fmla="*/ 2625 w 3736"/>
                <a:gd name="T65" fmla="*/ 136 h 3678"/>
                <a:gd name="T66" fmla="*/ 2665 w 3736"/>
                <a:gd name="T67" fmla="*/ 28 h 3678"/>
                <a:gd name="T68" fmla="*/ 3734 w 3736"/>
                <a:gd name="T69" fmla="*/ 1986 h 3678"/>
                <a:gd name="T70" fmla="*/ 3646 w 3736"/>
                <a:gd name="T71" fmla="*/ 2170 h 3678"/>
                <a:gd name="T72" fmla="*/ 3580 w 3736"/>
                <a:gd name="T73" fmla="*/ 2724 h 3678"/>
                <a:gd name="T74" fmla="*/ 3180 w 3736"/>
                <a:gd name="T75" fmla="*/ 2918 h 3678"/>
                <a:gd name="T76" fmla="*/ 2865 w 3736"/>
                <a:gd name="T77" fmla="*/ 2826 h 3678"/>
                <a:gd name="T78" fmla="*/ 2459 w 3736"/>
                <a:gd name="T79" fmla="*/ 2397 h 3678"/>
                <a:gd name="T80" fmla="*/ 3431 w 3736"/>
                <a:gd name="T81" fmla="*/ 2200 h 3678"/>
                <a:gd name="T82" fmla="*/ 3506 w 3736"/>
                <a:gd name="T83" fmla="*/ 2183 h 3678"/>
                <a:gd name="T84" fmla="*/ 1983 w 3736"/>
                <a:gd name="T85" fmla="*/ 1926 h 3678"/>
                <a:gd name="T86" fmla="*/ 2073 w 3736"/>
                <a:gd name="T87" fmla="*/ 2433 h 3678"/>
                <a:gd name="T88" fmla="*/ 2059 w 3736"/>
                <a:gd name="T89" fmla="*/ 2469 h 3678"/>
                <a:gd name="T90" fmla="*/ 2043 w 3736"/>
                <a:gd name="T91" fmla="*/ 2482 h 3678"/>
                <a:gd name="T92" fmla="*/ 2024 w 3736"/>
                <a:gd name="T93" fmla="*/ 2489 h 3678"/>
                <a:gd name="T94" fmla="*/ 1942 w 3736"/>
                <a:gd name="T95" fmla="*/ 2705 h 3678"/>
                <a:gd name="T96" fmla="*/ 1890 w 3736"/>
                <a:gd name="T97" fmla="*/ 2857 h 3678"/>
                <a:gd name="T98" fmla="*/ 2177 w 3736"/>
                <a:gd name="T99" fmla="*/ 3030 h 3678"/>
                <a:gd name="T100" fmla="*/ 2238 w 3736"/>
                <a:gd name="T101" fmla="*/ 3367 h 3678"/>
                <a:gd name="T102" fmla="*/ 2032 w 3736"/>
                <a:gd name="T103" fmla="*/ 3630 h 3678"/>
                <a:gd name="T104" fmla="*/ 311 w 3736"/>
                <a:gd name="T105" fmla="*/ 3666 h 3678"/>
                <a:gd name="T106" fmla="*/ 49 w 3736"/>
                <a:gd name="T107" fmla="*/ 3460 h 3678"/>
                <a:gd name="T108" fmla="*/ 28 w 3736"/>
                <a:gd name="T109" fmla="*/ 3116 h 3678"/>
                <a:gd name="T110" fmla="*/ 263 w 3736"/>
                <a:gd name="T111" fmla="*/ 2882 h 3678"/>
                <a:gd name="T112" fmla="*/ 317 w 3736"/>
                <a:gd name="T113" fmla="*/ 2724 h 3678"/>
                <a:gd name="T114" fmla="*/ 178 w 3736"/>
                <a:gd name="T115" fmla="*/ 2553 h 3678"/>
                <a:gd name="T116" fmla="*/ 284 w 3736"/>
                <a:gd name="T117" fmla="*/ 1975 h 3678"/>
                <a:gd name="T118" fmla="*/ 740 w 3736"/>
                <a:gd name="T119" fmla="*/ 1477 h 3678"/>
                <a:gd name="T120" fmla="*/ 963 w 3736"/>
                <a:gd name="T121" fmla="*/ 1310 h 3678"/>
                <a:gd name="T122" fmla="*/ 2410 w 3736"/>
                <a:gd name="T123" fmla="*/ 48 h 3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6" h="3678">
                  <a:moveTo>
                    <a:pt x="413" y="2964"/>
                  </a:moveTo>
                  <a:lnTo>
                    <a:pt x="367" y="2968"/>
                  </a:lnTo>
                  <a:lnTo>
                    <a:pt x="325" y="2978"/>
                  </a:lnTo>
                  <a:lnTo>
                    <a:pt x="286" y="2993"/>
                  </a:lnTo>
                  <a:lnTo>
                    <a:pt x="248" y="3013"/>
                  </a:lnTo>
                  <a:lnTo>
                    <a:pt x="215" y="3039"/>
                  </a:lnTo>
                  <a:lnTo>
                    <a:pt x="185" y="3069"/>
                  </a:lnTo>
                  <a:lnTo>
                    <a:pt x="160" y="3102"/>
                  </a:lnTo>
                  <a:lnTo>
                    <a:pt x="139" y="3139"/>
                  </a:lnTo>
                  <a:lnTo>
                    <a:pt x="125" y="3179"/>
                  </a:lnTo>
                  <a:lnTo>
                    <a:pt x="114" y="3222"/>
                  </a:lnTo>
                  <a:lnTo>
                    <a:pt x="111" y="3266"/>
                  </a:lnTo>
                  <a:lnTo>
                    <a:pt x="114" y="3310"/>
                  </a:lnTo>
                  <a:lnTo>
                    <a:pt x="125" y="3352"/>
                  </a:lnTo>
                  <a:lnTo>
                    <a:pt x="139" y="3393"/>
                  </a:lnTo>
                  <a:lnTo>
                    <a:pt x="160" y="3430"/>
                  </a:lnTo>
                  <a:lnTo>
                    <a:pt x="185" y="3464"/>
                  </a:lnTo>
                  <a:lnTo>
                    <a:pt x="215" y="3493"/>
                  </a:lnTo>
                  <a:lnTo>
                    <a:pt x="248" y="3518"/>
                  </a:lnTo>
                  <a:lnTo>
                    <a:pt x="286" y="3538"/>
                  </a:lnTo>
                  <a:lnTo>
                    <a:pt x="325" y="3554"/>
                  </a:lnTo>
                  <a:lnTo>
                    <a:pt x="367" y="3563"/>
                  </a:lnTo>
                  <a:lnTo>
                    <a:pt x="413" y="3567"/>
                  </a:lnTo>
                  <a:lnTo>
                    <a:pt x="1838" y="3567"/>
                  </a:lnTo>
                  <a:lnTo>
                    <a:pt x="1882" y="3563"/>
                  </a:lnTo>
                  <a:lnTo>
                    <a:pt x="1925" y="3554"/>
                  </a:lnTo>
                  <a:lnTo>
                    <a:pt x="1965" y="3538"/>
                  </a:lnTo>
                  <a:lnTo>
                    <a:pt x="2002" y="3518"/>
                  </a:lnTo>
                  <a:lnTo>
                    <a:pt x="2035" y="3493"/>
                  </a:lnTo>
                  <a:lnTo>
                    <a:pt x="2065" y="3464"/>
                  </a:lnTo>
                  <a:lnTo>
                    <a:pt x="2091" y="3430"/>
                  </a:lnTo>
                  <a:lnTo>
                    <a:pt x="2111" y="3393"/>
                  </a:lnTo>
                  <a:lnTo>
                    <a:pt x="2126" y="3352"/>
                  </a:lnTo>
                  <a:lnTo>
                    <a:pt x="2136" y="3310"/>
                  </a:lnTo>
                  <a:lnTo>
                    <a:pt x="2140" y="3266"/>
                  </a:lnTo>
                  <a:lnTo>
                    <a:pt x="2136" y="3222"/>
                  </a:lnTo>
                  <a:lnTo>
                    <a:pt x="2126" y="3179"/>
                  </a:lnTo>
                  <a:lnTo>
                    <a:pt x="2111" y="3139"/>
                  </a:lnTo>
                  <a:lnTo>
                    <a:pt x="2091" y="3102"/>
                  </a:lnTo>
                  <a:lnTo>
                    <a:pt x="2065" y="3069"/>
                  </a:lnTo>
                  <a:lnTo>
                    <a:pt x="2035" y="3039"/>
                  </a:lnTo>
                  <a:lnTo>
                    <a:pt x="2002" y="3013"/>
                  </a:lnTo>
                  <a:lnTo>
                    <a:pt x="1965" y="2993"/>
                  </a:lnTo>
                  <a:lnTo>
                    <a:pt x="1925" y="2978"/>
                  </a:lnTo>
                  <a:lnTo>
                    <a:pt x="1882" y="2968"/>
                  </a:lnTo>
                  <a:lnTo>
                    <a:pt x="1838" y="2964"/>
                  </a:lnTo>
                  <a:lnTo>
                    <a:pt x="413" y="2964"/>
                  </a:lnTo>
                  <a:close/>
                  <a:moveTo>
                    <a:pt x="943" y="2727"/>
                  </a:moveTo>
                  <a:lnTo>
                    <a:pt x="943" y="2853"/>
                  </a:lnTo>
                  <a:lnTo>
                    <a:pt x="1307" y="2853"/>
                  </a:lnTo>
                  <a:lnTo>
                    <a:pt x="1307" y="2727"/>
                  </a:lnTo>
                  <a:lnTo>
                    <a:pt x="943" y="2727"/>
                  </a:lnTo>
                  <a:close/>
                  <a:moveTo>
                    <a:pt x="3407" y="2328"/>
                  </a:moveTo>
                  <a:lnTo>
                    <a:pt x="2754" y="2590"/>
                  </a:lnTo>
                  <a:lnTo>
                    <a:pt x="2936" y="2741"/>
                  </a:lnTo>
                  <a:lnTo>
                    <a:pt x="2970" y="2765"/>
                  </a:lnTo>
                  <a:lnTo>
                    <a:pt x="3005" y="2783"/>
                  </a:lnTo>
                  <a:lnTo>
                    <a:pt x="3042" y="2797"/>
                  </a:lnTo>
                  <a:lnTo>
                    <a:pt x="3081" y="2806"/>
                  </a:lnTo>
                  <a:lnTo>
                    <a:pt x="3121" y="2809"/>
                  </a:lnTo>
                  <a:lnTo>
                    <a:pt x="3161" y="2808"/>
                  </a:lnTo>
                  <a:lnTo>
                    <a:pt x="3201" y="2800"/>
                  </a:lnTo>
                  <a:lnTo>
                    <a:pt x="3240" y="2787"/>
                  </a:lnTo>
                  <a:lnTo>
                    <a:pt x="3429" y="2711"/>
                  </a:lnTo>
                  <a:lnTo>
                    <a:pt x="3452" y="2700"/>
                  </a:lnTo>
                  <a:lnTo>
                    <a:pt x="3470" y="2684"/>
                  </a:lnTo>
                  <a:lnTo>
                    <a:pt x="3485" y="2666"/>
                  </a:lnTo>
                  <a:lnTo>
                    <a:pt x="3496" y="2646"/>
                  </a:lnTo>
                  <a:lnTo>
                    <a:pt x="3504" y="2623"/>
                  </a:lnTo>
                  <a:lnTo>
                    <a:pt x="3506" y="2599"/>
                  </a:lnTo>
                  <a:lnTo>
                    <a:pt x="3504" y="2575"/>
                  </a:lnTo>
                  <a:lnTo>
                    <a:pt x="3497" y="2551"/>
                  </a:lnTo>
                  <a:lnTo>
                    <a:pt x="3407" y="2328"/>
                  </a:lnTo>
                  <a:close/>
                  <a:moveTo>
                    <a:pt x="353" y="2073"/>
                  </a:moveTo>
                  <a:lnTo>
                    <a:pt x="333" y="2076"/>
                  </a:lnTo>
                  <a:lnTo>
                    <a:pt x="315" y="2085"/>
                  </a:lnTo>
                  <a:lnTo>
                    <a:pt x="302" y="2099"/>
                  </a:lnTo>
                  <a:lnTo>
                    <a:pt x="292" y="2116"/>
                  </a:lnTo>
                  <a:lnTo>
                    <a:pt x="289" y="2136"/>
                  </a:lnTo>
                  <a:lnTo>
                    <a:pt x="289" y="2553"/>
                  </a:lnTo>
                  <a:lnTo>
                    <a:pt x="292" y="2572"/>
                  </a:lnTo>
                  <a:lnTo>
                    <a:pt x="302" y="2590"/>
                  </a:lnTo>
                  <a:lnTo>
                    <a:pt x="315" y="2604"/>
                  </a:lnTo>
                  <a:lnTo>
                    <a:pt x="333" y="2613"/>
                  </a:lnTo>
                  <a:lnTo>
                    <a:pt x="353" y="2616"/>
                  </a:lnTo>
                  <a:lnTo>
                    <a:pt x="713" y="2616"/>
                  </a:lnTo>
                  <a:lnTo>
                    <a:pt x="713" y="2073"/>
                  </a:lnTo>
                  <a:lnTo>
                    <a:pt x="353" y="2073"/>
                  </a:lnTo>
                  <a:close/>
                  <a:moveTo>
                    <a:pt x="3562" y="1955"/>
                  </a:moveTo>
                  <a:lnTo>
                    <a:pt x="3542" y="1957"/>
                  </a:lnTo>
                  <a:lnTo>
                    <a:pt x="3524" y="1966"/>
                  </a:lnTo>
                  <a:lnTo>
                    <a:pt x="3511" y="1980"/>
                  </a:lnTo>
                  <a:lnTo>
                    <a:pt x="3502" y="1998"/>
                  </a:lnTo>
                  <a:lnTo>
                    <a:pt x="3498" y="2017"/>
                  </a:lnTo>
                  <a:lnTo>
                    <a:pt x="3502" y="2038"/>
                  </a:lnTo>
                  <a:lnTo>
                    <a:pt x="3511" y="2055"/>
                  </a:lnTo>
                  <a:lnTo>
                    <a:pt x="3524" y="2068"/>
                  </a:lnTo>
                  <a:lnTo>
                    <a:pt x="3542" y="2077"/>
                  </a:lnTo>
                  <a:lnTo>
                    <a:pt x="3562" y="2081"/>
                  </a:lnTo>
                  <a:lnTo>
                    <a:pt x="3582" y="2077"/>
                  </a:lnTo>
                  <a:lnTo>
                    <a:pt x="3599" y="2068"/>
                  </a:lnTo>
                  <a:lnTo>
                    <a:pt x="3613" y="2055"/>
                  </a:lnTo>
                  <a:lnTo>
                    <a:pt x="3622" y="2038"/>
                  </a:lnTo>
                  <a:lnTo>
                    <a:pt x="3625" y="2017"/>
                  </a:lnTo>
                  <a:lnTo>
                    <a:pt x="3622" y="1998"/>
                  </a:lnTo>
                  <a:lnTo>
                    <a:pt x="3613" y="1980"/>
                  </a:lnTo>
                  <a:lnTo>
                    <a:pt x="3599" y="1966"/>
                  </a:lnTo>
                  <a:lnTo>
                    <a:pt x="3582" y="1957"/>
                  </a:lnTo>
                  <a:lnTo>
                    <a:pt x="3562" y="1955"/>
                  </a:lnTo>
                  <a:close/>
                  <a:moveTo>
                    <a:pt x="950" y="1428"/>
                  </a:moveTo>
                  <a:lnTo>
                    <a:pt x="921" y="1441"/>
                  </a:lnTo>
                  <a:lnTo>
                    <a:pt x="893" y="1458"/>
                  </a:lnTo>
                  <a:lnTo>
                    <a:pt x="871" y="1481"/>
                  </a:lnTo>
                  <a:lnTo>
                    <a:pt x="851" y="1507"/>
                  </a:lnTo>
                  <a:lnTo>
                    <a:pt x="837" y="1536"/>
                  </a:lnTo>
                  <a:lnTo>
                    <a:pt x="828" y="1568"/>
                  </a:lnTo>
                  <a:lnTo>
                    <a:pt x="824" y="1601"/>
                  </a:lnTo>
                  <a:lnTo>
                    <a:pt x="824" y="2616"/>
                  </a:lnTo>
                  <a:lnTo>
                    <a:pt x="1843" y="2616"/>
                  </a:lnTo>
                  <a:lnTo>
                    <a:pt x="1843" y="2489"/>
                  </a:lnTo>
                  <a:lnTo>
                    <a:pt x="1556" y="2489"/>
                  </a:lnTo>
                  <a:lnTo>
                    <a:pt x="1468" y="2487"/>
                  </a:lnTo>
                  <a:lnTo>
                    <a:pt x="1382" y="2478"/>
                  </a:lnTo>
                  <a:lnTo>
                    <a:pt x="1297" y="2462"/>
                  </a:lnTo>
                  <a:lnTo>
                    <a:pt x="1213" y="2441"/>
                  </a:lnTo>
                  <a:lnTo>
                    <a:pt x="1132" y="2414"/>
                  </a:lnTo>
                  <a:lnTo>
                    <a:pt x="1050" y="2382"/>
                  </a:lnTo>
                  <a:lnTo>
                    <a:pt x="1026" y="2369"/>
                  </a:lnTo>
                  <a:lnTo>
                    <a:pt x="1005" y="2352"/>
                  </a:lnTo>
                  <a:lnTo>
                    <a:pt x="985" y="2331"/>
                  </a:lnTo>
                  <a:lnTo>
                    <a:pt x="971" y="2309"/>
                  </a:lnTo>
                  <a:lnTo>
                    <a:pt x="960" y="2284"/>
                  </a:lnTo>
                  <a:lnTo>
                    <a:pt x="954" y="2256"/>
                  </a:lnTo>
                  <a:lnTo>
                    <a:pt x="950" y="2228"/>
                  </a:lnTo>
                  <a:lnTo>
                    <a:pt x="950" y="1428"/>
                  </a:lnTo>
                  <a:close/>
                  <a:moveTo>
                    <a:pt x="1062" y="1419"/>
                  </a:moveTo>
                  <a:lnTo>
                    <a:pt x="1062" y="2228"/>
                  </a:lnTo>
                  <a:lnTo>
                    <a:pt x="1065" y="2245"/>
                  </a:lnTo>
                  <a:lnTo>
                    <a:pt x="1071" y="2259"/>
                  </a:lnTo>
                  <a:lnTo>
                    <a:pt x="1082" y="2271"/>
                  </a:lnTo>
                  <a:lnTo>
                    <a:pt x="1095" y="2280"/>
                  </a:lnTo>
                  <a:lnTo>
                    <a:pt x="1171" y="2311"/>
                  </a:lnTo>
                  <a:lnTo>
                    <a:pt x="1248" y="2335"/>
                  </a:lnTo>
                  <a:lnTo>
                    <a:pt x="1248" y="1601"/>
                  </a:lnTo>
                  <a:lnTo>
                    <a:pt x="1251" y="1584"/>
                  </a:lnTo>
                  <a:lnTo>
                    <a:pt x="1259" y="1568"/>
                  </a:lnTo>
                  <a:lnTo>
                    <a:pt x="1271" y="1557"/>
                  </a:lnTo>
                  <a:lnTo>
                    <a:pt x="1286" y="1549"/>
                  </a:lnTo>
                  <a:lnTo>
                    <a:pt x="1304" y="1545"/>
                  </a:lnTo>
                  <a:lnTo>
                    <a:pt x="1321" y="1549"/>
                  </a:lnTo>
                  <a:lnTo>
                    <a:pt x="1337" y="1557"/>
                  </a:lnTo>
                  <a:lnTo>
                    <a:pt x="1348" y="1568"/>
                  </a:lnTo>
                  <a:lnTo>
                    <a:pt x="1356" y="1584"/>
                  </a:lnTo>
                  <a:lnTo>
                    <a:pt x="1360" y="1601"/>
                  </a:lnTo>
                  <a:lnTo>
                    <a:pt x="1360" y="2361"/>
                  </a:lnTo>
                  <a:lnTo>
                    <a:pt x="1424" y="2370"/>
                  </a:lnTo>
                  <a:lnTo>
                    <a:pt x="1490" y="2376"/>
                  </a:lnTo>
                  <a:lnTo>
                    <a:pt x="1556" y="2378"/>
                  </a:lnTo>
                  <a:lnTo>
                    <a:pt x="1961" y="2378"/>
                  </a:lnTo>
                  <a:lnTo>
                    <a:pt x="1961" y="2221"/>
                  </a:lnTo>
                  <a:lnTo>
                    <a:pt x="1958" y="2171"/>
                  </a:lnTo>
                  <a:lnTo>
                    <a:pt x="1949" y="2123"/>
                  </a:lnTo>
                  <a:lnTo>
                    <a:pt x="1936" y="2076"/>
                  </a:lnTo>
                  <a:lnTo>
                    <a:pt x="1915" y="2031"/>
                  </a:lnTo>
                  <a:lnTo>
                    <a:pt x="1890" y="1988"/>
                  </a:lnTo>
                  <a:lnTo>
                    <a:pt x="1566" y="1500"/>
                  </a:lnTo>
                  <a:lnTo>
                    <a:pt x="1547" y="1477"/>
                  </a:lnTo>
                  <a:lnTo>
                    <a:pt x="1525" y="1457"/>
                  </a:lnTo>
                  <a:lnTo>
                    <a:pt x="1500" y="1441"/>
                  </a:lnTo>
                  <a:lnTo>
                    <a:pt x="1473" y="1428"/>
                  </a:lnTo>
                  <a:lnTo>
                    <a:pt x="1445" y="1422"/>
                  </a:lnTo>
                  <a:lnTo>
                    <a:pt x="1414" y="1419"/>
                  </a:lnTo>
                  <a:lnTo>
                    <a:pt x="1062" y="1419"/>
                  </a:lnTo>
                  <a:close/>
                  <a:moveTo>
                    <a:pt x="2753" y="353"/>
                  </a:moveTo>
                  <a:lnTo>
                    <a:pt x="2749" y="361"/>
                  </a:lnTo>
                  <a:lnTo>
                    <a:pt x="2571" y="659"/>
                  </a:lnTo>
                  <a:lnTo>
                    <a:pt x="3419" y="1917"/>
                  </a:lnTo>
                  <a:lnTo>
                    <a:pt x="3437" y="1895"/>
                  </a:lnTo>
                  <a:lnTo>
                    <a:pt x="3460" y="1876"/>
                  </a:lnTo>
                  <a:lnTo>
                    <a:pt x="3485" y="1861"/>
                  </a:lnTo>
                  <a:lnTo>
                    <a:pt x="3512" y="1850"/>
                  </a:lnTo>
                  <a:lnTo>
                    <a:pt x="3541" y="1844"/>
                  </a:lnTo>
                  <a:lnTo>
                    <a:pt x="2753" y="353"/>
                  </a:lnTo>
                  <a:close/>
                  <a:moveTo>
                    <a:pt x="2334" y="320"/>
                  </a:moveTo>
                  <a:lnTo>
                    <a:pt x="1562" y="1348"/>
                  </a:lnTo>
                  <a:lnTo>
                    <a:pt x="1590" y="1366"/>
                  </a:lnTo>
                  <a:lnTo>
                    <a:pt x="1616" y="1387"/>
                  </a:lnTo>
                  <a:lnTo>
                    <a:pt x="1638" y="1411"/>
                  </a:lnTo>
                  <a:lnTo>
                    <a:pt x="1658" y="1439"/>
                  </a:lnTo>
                  <a:lnTo>
                    <a:pt x="1827" y="1690"/>
                  </a:lnTo>
                  <a:lnTo>
                    <a:pt x="2555" y="467"/>
                  </a:lnTo>
                  <a:lnTo>
                    <a:pt x="2551" y="467"/>
                  </a:lnTo>
                  <a:lnTo>
                    <a:pt x="2515" y="465"/>
                  </a:lnTo>
                  <a:lnTo>
                    <a:pt x="2481" y="457"/>
                  </a:lnTo>
                  <a:lnTo>
                    <a:pt x="2448" y="444"/>
                  </a:lnTo>
                  <a:lnTo>
                    <a:pt x="2419" y="427"/>
                  </a:lnTo>
                  <a:lnTo>
                    <a:pt x="2391" y="405"/>
                  </a:lnTo>
                  <a:lnTo>
                    <a:pt x="2369" y="380"/>
                  </a:lnTo>
                  <a:lnTo>
                    <a:pt x="2349" y="351"/>
                  </a:lnTo>
                  <a:lnTo>
                    <a:pt x="2334" y="320"/>
                  </a:lnTo>
                  <a:close/>
                  <a:moveTo>
                    <a:pt x="2551" y="111"/>
                  </a:moveTo>
                  <a:lnTo>
                    <a:pt x="2523" y="115"/>
                  </a:lnTo>
                  <a:lnTo>
                    <a:pt x="2498" y="124"/>
                  </a:lnTo>
                  <a:lnTo>
                    <a:pt x="2475" y="138"/>
                  </a:lnTo>
                  <a:lnTo>
                    <a:pt x="2456" y="157"/>
                  </a:lnTo>
                  <a:lnTo>
                    <a:pt x="2441" y="180"/>
                  </a:lnTo>
                  <a:lnTo>
                    <a:pt x="2432" y="205"/>
                  </a:lnTo>
                  <a:lnTo>
                    <a:pt x="2429" y="234"/>
                  </a:lnTo>
                  <a:lnTo>
                    <a:pt x="2432" y="262"/>
                  </a:lnTo>
                  <a:lnTo>
                    <a:pt x="2441" y="287"/>
                  </a:lnTo>
                  <a:lnTo>
                    <a:pt x="2456" y="311"/>
                  </a:lnTo>
                  <a:lnTo>
                    <a:pt x="2475" y="329"/>
                  </a:lnTo>
                  <a:lnTo>
                    <a:pt x="2498" y="344"/>
                  </a:lnTo>
                  <a:lnTo>
                    <a:pt x="2523" y="353"/>
                  </a:lnTo>
                  <a:lnTo>
                    <a:pt x="2551" y="356"/>
                  </a:lnTo>
                  <a:lnTo>
                    <a:pt x="2576" y="354"/>
                  </a:lnTo>
                  <a:lnTo>
                    <a:pt x="2599" y="347"/>
                  </a:lnTo>
                  <a:lnTo>
                    <a:pt x="2619" y="336"/>
                  </a:lnTo>
                  <a:lnTo>
                    <a:pt x="2638" y="321"/>
                  </a:lnTo>
                  <a:lnTo>
                    <a:pt x="2653" y="303"/>
                  </a:lnTo>
                  <a:lnTo>
                    <a:pt x="2656" y="298"/>
                  </a:lnTo>
                  <a:lnTo>
                    <a:pt x="2657" y="297"/>
                  </a:lnTo>
                  <a:lnTo>
                    <a:pt x="2666" y="278"/>
                  </a:lnTo>
                  <a:lnTo>
                    <a:pt x="2672" y="256"/>
                  </a:lnTo>
                  <a:lnTo>
                    <a:pt x="2674" y="234"/>
                  </a:lnTo>
                  <a:lnTo>
                    <a:pt x="2672" y="210"/>
                  </a:lnTo>
                  <a:lnTo>
                    <a:pt x="2665" y="187"/>
                  </a:lnTo>
                  <a:lnTo>
                    <a:pt x="2661" y="180"/>
                  </a:lnTo>
                  <a:lnTo>
                    <a:pt x="2658" y="174"/>
                  </a:lnTo>
                  <a:lnTo>
                    <a:pt x="2643" y="153"/>
                  </a:lnTo>
                  <a:lnTo>
                    <a:pt x="2625" y="136"/>
                  </a:lnTo>
                  <a:lnTo>
                    <a:pt x="2603" y="123"/>
                  </a:lnTo>
                  <a:lnTo>
                    <a:pt x="2579" y="115"/>
                  </a:lnTo>
                  <a:lnTo>
                    <a:pt x="2551" y="111"/>
                  </a:lnTo>
                  <a:close/>
                  <a:moveTo>
                    <a:pt x="2551" y="0"/>
                  </a:moveTo>
                  <a:lnTo>
                    <a:pt x="2591" y="3"/>
                  </a:lnTo>
                  <a:lnTo>
                    <a:pt x="2630" y="12"/>
                  </a:lnTo>
                  <a:lnTo>
                    <a:pt x="2665" y="28"/>
                  </a:lnTo>
                  <a:lnTo>
                    <a:pt x="2696" y="50"/>
                  </a:lnTo>
                  <a:lnTo>
                    <a:pt x="2724" y="75"/>
                  </a:lnTo>
                  <a:lnTo>
                    <a:pt x="2747" y="106"/>
                  </a:lnTo>
                  <a:lnTo>
                    <a:pt x="2766" y="138"/>
                  </a:lnTo>
                  <a:lnTo>
                    <a:pt x="3713" y="1930"/>
                  </a:lnTo>
                  <a:lnTo>
                    <a:pt x="3726" y="1957"/>
                  </a:lnTo>
                  <a:lnTo>
                    <a:pt x="3734" y="1986"/>
                  </a:lnTo>
                  <a:lnTo>
                    <a:pt x="3736" y="2017"/>
                  </a:lnTo>
                  <a:lnTo>
                    <a:pt x="3733" y="2050"/>
                  </a:lnTo>
                  <a:lnTo>
                    <a:pt x="3725" y="2080"/>
                  </a:lnTo>
                  <a:lnTo>
                    <a:pt x="3711" y="2108"/>
                  </a:lnTo>
                  <a:lnTo>
                    <a:pt x="3693" y="2132"/>
                  </a:lnTo>
                  <a:lnTo>
                    <a:pt x="3672" y="2153"/>
                  </a:lnTo>
                  <a:lnTo>
                    <a:pt x="3646" y="2170"/>
                  </a:lnTo>
                  <a:lnTo>
                    <a:pt x="3617" y="2183"/>
                  </a:lnTo>
                  <a:lnTo>
                    <a:pt x="3617" y="2612"/>
                  </a:lnTo>
                  <a:lnTo>
                    <a:pt x="3617" y="2620"/>
                  </a:lnTo>
                  <a:lnTo>
                    <a:pt x="3616" y="2626"/>
                  </a:lnTo>
                  <a:lnTo>
                    <a:pt x="3609" y="2660"/>
                  </a:lnTo>
                  <a:lnTo>
                    <a:pt x="3597" y="2693"/>
                  </a:lnTo>
                  <a:lnTo>
                    <a:pt x="3580" y="2724"/>
                  </a:lnTo>
                  <a:lnTo>
                    <a:pt x="3559" y="2752"/>
                  </a:lnTo>
                  <a:lnTo>
                    <a:pt x="3533" y="2777"/>
                  </a:lnTo>
                  <a:lnTo>
                    <a:pt x="3504" y="2799"/>
                  </a:lnTo>
                  <a:lnTo>
                    <a:pt x="3471" y="2815"/>
                  </a:lnTo>
                  <a:lnTo>
                    <a:pt x="3282" y="2891"/>
                  </a:lnTo>
                  <a:lnTo>
                    <a:pt x="3231" y="2908"/>
                  </a:lnTo>
                  <a:lnTo>
                    <a:pt x="3180" y="2918"/>
                  </a:lnTo>
                  <a:lnTo>
                    <a:pt x="3127" y="2920"/>
                  </a:lnTo>
                  <a:lnTo>
                    <a:pt x="3081" y="2918"/>
                  </a:lnTo>
                  <a:lnTo>
                    <a:pt x="3034" y="2910"/>
                  </a:lnTo>
                  <a:lnTo>
                    <a:pt x="2989" y="2896"/>
                  </a:lnTo>
                  <a:lnTo>
                    <a:pt x="2946" y="2878"/>
                  </a:lnTo>
                  <a:lnTo>
                    <a:pt x="2904" y="2855"/>
                  </a:lnTo>
                  <a:lnTo>
                    <a:pt x="2865" y="2826"/>
                  </a:lnTo>
                  <a:lnTo>
                    <a:pt x="2454" y="2487"/>
                  </a:lnTo>
                  <a:lnTo>
                    <a:pt x="2442" y="2474"/>
                  </a:lnTo>
                  <a:lnTo>
                    <a:pt x="2436" y="2458"/>
                  </a:lnTo>
                  <a:lnTo>
                    <a:pt x="2433" y="2441"/>
                  </a:lnTo>
                  <a:lnTo>
                    <a:pt x="2438" y="2424"/>
                  </a:lnTo>
                  <a:lnTo>
                    <a:pt x="2447" y="2409"/>
                  </a:lnTo>
                  <a:lnTo>
                    <a:pt x="2459" y="2397"/>
                  </a:lnTo>
                  <a:lnTo>
                    <a:pt x="2475" y="2390"/>
                  </a:lnTo>
                  <a:lnTo>
                    <a:pt x="2492" y="2388"/>
                  </a:lnTo>
                  <a:lnTo>
                    <a:pt x="2509" y="2393"/>
                  </a:lnTo>
                  <a:lnTo>
                    <a:pt x="2525" y="2402"/>
                  </a:lnTo>
                  <a:lnTo>
                    <a:pt x="2656" y="2509"/>
                  </a:lnTo>
                  <a:lnTo>
                    <a:pt x="3418" y="2203"/>
                  </a:lnTo>
                  <a:lnTo>
                    <a:pt x="3431" y="2200"/>
                  </a:lnTo>
                  <a:lnTo>
                    <a:pt x="3446" y="2200"/>
                  </a:lnTo>
                  <a:lnTo>
                    <a:pt x="3460" y="2204"/>
                  </a:lnTo>
                  <a:lnTo>
                    <a:pt x="3472" y="2211"/>
                  </a:lnTo>
                  <a:lnTo>
                    <a:pt x="3482" y="2221"/>
                  </a:lnTo>
                  <a:lnTo>
                    <a:pt x="3490" y="2235"/>
                  </a:lnTo>
                  <a:lnTo>
                    <a:pt x="3506" y="2275"/>
                  </a:lnTo>
                  <a:lnTo>
                    <a:pt x="3506" y="2183"/>
                  </a:lnTo>
                  <a:lnTo>
                    <a:pt x="3478" y="2170"/>
                  </a:lnTo>
                  <a:lnTo>
                    <a:pt x="3452" y="2152"/>
                  </a:lnTo>
                  <a:lnTo>
                    <a:pt x="3429" y="2131"/>
                  </a:lnTo>
                  <a:lnTo>
                    <a:pt x="3411" y="2106"/>
                  </a:lnTo>
                  <a:lnTo>
                    <a:pt x="2507" y="766"/>
                  </a:lnTo>
                  <a:lnTo>
                    <a:pt x="1895" y="1794"/>
                  </a:lnTo>
                  <a:lnTo>
                    <a:pt x="1983" y="1926"/>
                  </a:lnTo>
                  <a:lnTo>
                    <a:pt x="2010" y="1971"/>
                  </a:lnTo>
                  <a:lnTo>
                    <a:pt x="2032" y="2018"/>
                  </a:lnTo>
                  <a:lnTo>
                    <a:pt x="2050" y="2067"/>
                  </a:lnTo>
                  <a:lnTo>
                    <a:pt x="2063" y="2117"/>
                  </a:lnTo>
                  <a:lnTo>
                    <a:pt x="2069" y="2168"/>
                  </a:lnTo>
                  <a:lnTo>
                    <a:pt x="2073" y="2221"/>
                  </a:lnTo>
                  <a:lnTo>
                    <a:pt x="2073" y="2433"/>
                  </a:lnTo>
                  <a:lnTo>
                    <a:pt x="2072" y="2441"/>
                  </a:lnTo>
                  <a:lnTo>
                    <a:pt x="2069" y="2452"/>
                  </a:lnTo>
                  <a:lnTo>
                    <a:pt x="2066" y="2460"/>
                  </a:lnTo>
                  <a:lnTo>
                    <a:pt x="2064" y="2463"/>
                  </a:lnTo>
                  <a:lnTo>
                    <a:pt x="2063" y="2465"/>
                  </a:lnTo>
                  <a:lnTo>
                    <a:pt x="2060" y="2469"/>
                  </a:lnTo>
                  <a:lnTo>
                    <a:pt x="2059" y="2469"/>
                  </a:lnTo>
                  <a:lnTo>
                    <a:pt x="2058" y="2471"/>
                  </a:lnTo>
                  <a:lnTo>
                    <a:pt x="2056" y="2473"/>
                  </a:lnTo>
                  <a:lnTo>
                    <a:pt x="2055" y="2474"/>
                  </a:lnTo>
                  <a:lnTo>
                    <a:pt x="2052" y="2477"/>
                  </a:lnTo>
                  <a:lnTo>
                    <a:pt x="2050" y="2478"/>
                  </a:lnTo>
                  <a:lnTo>
                    <a:pt x="2048" y="2480"/>
                  </a:lnTo>
                  <a:lnTo>
                    <a:pt x="2043" y="2482"/>
                  </a:lnTo>
                  <a:lnTo>
                    <a:pt x="2039" y="2485"/>
                  </a:lnTo>
                  <a:lnTo>
                    <a:pt x="2039" y="2485"/>
                  </a:lnTo>
                  <a:lnTo>
                    <a:pt x="2035" y="2486"/>
                  </a:lnTo>
                  <a:lnTo>
                    <a:pt x="2033" y="2487"/>
                  </a:lnTo>
                  <a:lnTo>
                    <a:pt x="2031" y="2488"/>
                  </a:lnTo>
                  <a:lnTo>
                    <a:pt x="2027" y="2488"/>
                  </a:lnTo>
                  <a:lnTo>
                    <a:pt x="2024" y="2489"/>
                  </a:lnTo>
                  <a:lnTo>
                    <a:pt x="2023" y="2489"/>
                  </a:lnTo>
                  <a:lnTo>
                    <a:pt x="2019" y="2489"/>
                  </a:lnTo>
                  <a:lnTo>
                    <a:pt x="2017" y="2489"/>
                  </a:lnTo>
                  <a:lnTo>
                    <a:pt x="1954" y="2489"/>
                  </a:lnTo>
                  <a:lnTo>
                    <a:pt x="1954" y="2672"/>
                  </a:lnTo>
                  <a:lnTo>
                    <a:pt x="1950" y="2689"/>
                  </a:lnTo>
                  <a:lnTo>
                    <a:pt x="1942" y="2705"/>
                  </a:lnTo>
                  <a:lnTo>
                    <a:pt x="1931" y="2716"/>
                  </a:lnTo>
                  <a:lnTo>
                    <a:pt x="1915" y="2724"/>
                  </a:lnTo>
                  <a:lnTo>
                    <a:pt x="1898" y="2727"/>
                  </a:lnTo>
                  <a:lnTo>
                    <a:pt x="1418" y="2727"/>
                  </a:lnTo>
                  <a:lnTo>
                    <a:pt x="1418" y="2853"/>
                  </a:lnTo>
                  <a:lnTo>
                    <a:pt x="1838" y="2853"/>
                  </a:lnTo>
                  <a:lnTo>
                    <a:pt x="1890" y="2857"/>
                  </a:lnTo>
                  <a:lnTo>
                    <a:pt x="1940" y="2866"/>
                  </a:lnTo>
                  <a:lnTo>
                    <a:pt x="1988" y="2882"/>
                  </a:lnTo>
                  <a:lnTo>
                    <a:pt x="2032" y="2902"/>
                  </a:lnTo>
                  <a:lnTo>
                    <a:pt x="2074" y="2927"/>
                  </a:lnTo>
                  <a:lnTo>
                    <a:pt x="2112" y="2958"/>
                  </a:lnTo>
                  <a:lnTo>
                    <a:pt x="2146" y="2992"/>
                  </a:lnTo>
                  <a:lnTo>
                    <a:pt x="2177" y="3030"/>
                  </a:lnTo>
                  <a:lnTo>
                    <a:pt x="2202" y="3072"/>
                  </a:lnTo>
                  <a:lnTo>
                    <a:pt x="2222" y="3116"/>
                  </a:lnTo>
                  <a:lnTo>
                    <a:pt x="2238" y="3164"/>
                  </a:lnTo>
                  <a:lnTo>
                    <a:pt x="2247" y="3214"/>
                  </a:lnTo>
                  <a:lnTo>
                    <a:pt x="2251" y="3266"/>
                  </a:lnTo>
                  <a:lnTo>
                    <a:pt x="2247" y="3317"/>
                  </a:lnTo>
                  <a:lnTo>
                    <a:pt x="2238" y="3367"/>
                  </a:lnTo>
                  <a:lnTo>
                    <a:pt x="2222" y="3415"/>
                  </a:lnTo>
                  <a:lnTo>
                    <a:pt x="2202" y="3460"/>
                  </a:lnTo>
                  <a:lnTo>
                    <a:pt x="2177" y="3501"/>
                  </a:lnTo>
                  <a:lnTo>
                    <a:pt x="2146" y="3540"/>
                  </a:lnTo>
                  <a:lnTo>
                    <a:pt x="2112" y="3574"/>
                  </a:lnTo>
                  <a:lnTo>
                    <a:pt x="2074" y="3604"/>
                  </a:lnTo>
                  <a:lnTo>
                    <a:pt x="2032" y="3630"/>
                  </a:lnTo>
                  <a:lnTo>
                    <a:pt x="1988" y="3651"/>
                  </a:lnTo>
                  <a:lnTo>
                    <a:pt x="1940" y="3666"/>
                  </a:lnTo>
                  <a:lnTo>
                    <a:pt x="1890" y="3676"/>
                  </a:lnTo>
                  <a:lnTo>
                    <a:pt x="1838" y="3678"/>
                  </a:lnTo>
                  <a:lnTo>
                    <a:pt x="413" y="3678"/>
                  </a:lnTo>
                  <a:lnTo>
                    <a:pt x="360" y="3676"/>
                  </a:lnTo>
                  <a:lnTo>
                    <a:pt x="311" y="3666"/>
                  </a:lnTo>
                  <a:lnTo>
                    <a:pt x="263" y="3651"/>
                  </a:lnTo>
                  <a:lnTo>
                    <a:pt x="219" y="3630"/>
                  </a:lnTo>
                  <a:lnTo>
                    <a:pt x="177" y="3604"/>
                  </a:lnTo>
                  <a:lnTo>
                    <a:pt x="138" y="3574"/>
                  </a:lnTo>
                  <a:lnTo>
                    <a:pt x="104" y="3540"/>
                  </a:lnTo>
                  <a:lnTo>
                    <a:pt x="74" y="3501"/>
                  </a:lnTo>
                  <a:lnTo>
                    <a:pt x="49" y="3460"/>
                  </a:lnTo>
                  <a:lnTo>
                    <a:pt x="28" y="3415"/>
                  </a:lnTo>
                  <a:lnTo>
                    <a:pt x="12" y="3367"/>
                  </a:lnTo>
                  <a:lnTo>
                    <a:pt x="3" y="3317"/>
                  </a:lnTo>
                  <a:lnTo>
                    <a:pt x="0" y="3266"/>
                  </a:lnTo>
                  <a:lnTo>
                    <a:pt x="3" y="3214"/>
                  </a:lnTo>
                  <a:lnTo>
                    <a:pt x="12" y="3164"/>
                  </a:lnTo>
                  <a:lnTo>
                    <a:pt x="28" y="3116"/>
                  </a:lnTo>
                  <a:lnTo>
                    <a:pt x="49" y="3072"/>
                  </a:lnTo>
                  <a:lnTo>
                    <a:pt x="74" y="3030"/>
                  </a:lnTo>
                  <a:lnTo>
                    <a:pt x="104" y="2992"/>
                  </a:lnTo>
                  <a:lnTo>
                    <a:pt x="138" y="2958"/>
                  </a:lnTo>
                  <a:lnTo>
                    <a:pt x="177" y="2927"/>
                  </a:lnTo>
                  <a:lnTo>
                    <a:pt x="219" y="2902"/>
                  </a:lnTo>
                  <a:lnTo>
                    <a:pt x="263" y="2882"/>
                  </a:lnTo>
                  <a:lnTo>
                    <a:pt x="311" y="2866"/>
                  </a:lnTo>
                  <a:lnTo>
                    <a:pt x="360" y="2857"/>
                  </a:lnTo>
                  <a:lnTo>
                    <a:pt x="413" y="2853"/>
                  </a:lnTo>
                  <a:lnTo>
                    <a:pt x="832" y="2853"/>
                  </a:lnTo>
                  <a:lnTo>
                    <a:pt x="832" y="2727"/>
                  </a:lnTo>
                  <a:lnTo>
                    <a:pt x="353" y="2727"/>
                  </a:lnTo>
                  <a:lnTo>
                    <a:pt x="317" y="2724"/>
                  </a:lnTo>
                  <a:lnTo>
                    <a:pt x="284" y="2714"/>
                  </a:lnTo>
                  <a:lnTo>
                    <a:pt x="255" y="2698"/>
                  </a:lnTo>
                  <a:lnTo>
                    <a:pt x="229" y="2676"/>
                  </a:lnTo>
                  <a:lnTo>
                    <a:pt x="209" y="2650"/>
                  </a:lnTo>
                  <a:lnTo>
                    <a:pt x="192" y="2621"/>
                  </a:lnTo>
                  <a:lnTo>
                    <a:pt x="181" y="2588"/>
                  </a:lnTo>
                  <a:lnTo>
                    <a:pt x="178" y="2553"/>
                  </a:lnTo>
                  <a:lnTo>
                    <a:pt x="178" y="2136"/>
                  </a:lnTo>
                  <a:lnTo>
                    <a:pt x="181" y="2101"/>
                  </a:lnTo>
                  <a:lnTo>
                    <a:pt x="192" y="2068"/>
                  </a:lnTo>
                  <a:lnTo>
                    <a:pt x="209" y="2039"/>
                  </a:lnTo>
                  <a:lnTo>
                    <a:pt x="229" y="2013"/>
                  </a:lnTo>
                  <a:lnTo>
                    <a:pt x="255" y="1991"/>
                  </a:lnTo>
                  <a:lnTo>
                    <a:pt x="284" y="1975"/>
                  </a:lnTo>
                  <a:lnTo>
                    <a:pt x="317" y="1965"/>
                  </a:lnTo>
                  <a:lnTo>
                    <a:pt x="353" y="1962"/>
                  </a:lnTo>
                  <a:lnTo>
                    <a:pt x="713" y="1962"/>
                  </a:lnTo>
                  <a:lnTo>
                    <a:pt x="713" y="1601"/>
                  </a:lnTo>
                  <a:lnTo>
                    <a:pt x="717" y="1558"/>
                  </a:lnTo>
                  <a:lnTo>
                    <a:pt x="726" y="1517"/>
                  </a:lnTo>
                  <a:lnTo>
                    <a:pt x="740" y="1477"/>
                  </a:lnTo>
                  <a:lnTo>
                    <a:pt x="761" y="1442"/>
                  </a:lnTo>
                  <a:lnTo>
                    <a:pt x="785" y="1409"/>
                  </a:lnTo>
                  <a:lnTo>
                    <a:pt x="814" y="1380"/>
                  </a:lnTo>
                  <a:lnTo>
                    <a:pt x="847" y="1355"/>
                  </a:lnTo>
                  <a:lnTo>
                    <a:pt x="883" y="1335"/>
                  </a:lnTo>
                  <a:lnTo>
                    <a:pt x="922" y="1321"/>
                  </a:lnTo>
                  <a:lnTo>
                    <a:pt x="963" y="1310"/>
                  </a:lnTo>
                  <a:lnTo>
                    <a:pt x="1007" y="1308"/>
                  </a:lnTo>
                  <a:lnTo>
                    <a:pt x="1414" y="1308"/>
                  </a:lnTo>
                  <a:lnTo>
                    <a:pt x="1452" y="1310"/>
                  </a:lnTo>
                  <a:lnTo>
                    <a:pt x="2359" y="101"/>
                  </a:lnTo>
                  <a:lnTo>
                    <a:pt x="2359" y="101"/>
                  </a:lnTo>
                  <a:lnTo>
                    <a:pt x="2382" y="73"/>
                  </a:lnTo>
                  <a:lnTo>
                    <a:pt x="2410" y="48"/>
                  </a:lnTo>
                  <a:lnTo>
                    <a:pt x="2441" y="27"/>
                  </a:lnTo>
                  <a:lnTo>
                    <a:pt x="2475" y="12"/>
                  </a:lnTo>
                  <a:lnTo>
                    <a:pt x="2513" y="3"/>
                  </a:lnTo>
                  <a:lnTo>
                    <a:pt x="2551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</p:grpSp>
      <p:sp>
        <p:nvSpPr>
          <p:cNvPr id="23625" name="TextBox 158">
            <a:extLst>
              <a:ext uri="{FF2B5EF4-FFF2-40B4-BE49-F238E27FC236}">
                <a16:creationId xmlns:a16="http://schemas.microsoft.com/office/drawing/2014/main" id="{E039C87F-72AD-4054-B63A-554ACFFB9E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4663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6" name="TextBox 159">
            <a:extLst>
              <a:ext uri="{FF2B5EF4-FFF2-40B4-BE49-F238E27FC236}">
                <a16:creationId xmlns:a16="http://schemas.microsoft.com/office/drawing/2014/main" id="{C89D28E8-6E73-4458-A352-42A749EC09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3488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7" name="TextBox 127">
            <a:extLst>
              <a:ext uri="{FF2B5EF4-FFF2-40B4-BE49-F238E27FC236}">
                <a16:creationId xmlns:a16="http://schemas.microsoft.com/office/drawing/2014/main" id="{D2C4F5E9-E854-4896-8355-45DEC69063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7813" y="6378575"/>
            <a:ext cx="426243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Sources: National Bureau of Statistics, World Bank Report on Doing Business in Nigeria 2018, climate-</a:t>
            </a:r>
            <a:r>
              <a:rPr lang="en-GB" altLang="en-US" sz="800" dirty="0" err="1">
                <a:latin typeface="Calibri" panose="020F0502020204030204" pitchFamily="34" charset="0"/>
              </a:rPr>
              <a:t>data.org</a:t>
            </a:r>
            <a:r>
              <a:rPr lang="en-GB" altLang="en-US" sz="800" dirty="0">
                <a:latin typeface="Calibri" panose="020F0502020204030204" pitchFamily="34" charset="0"/>
              </a:rPr>
              <a:t>, State Government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Exchange rate= $1/N305 (Central Bank of Nigeria)</a:t>
            </a:r>
          </a:p>
        </p:txBody>
      </p:sp>
      <p:sp>
        <p:nvSpPr>
          <p:cNvPr id="23628" name="TextBox 128">
            <a:extLst>
              <a:ext uri="{FF2B5EF4-FFF2-40B4-BE49-F238E27FC236}">
                <a16:creationId xmlns:a16="http://schemas.microsoft.com/office/drawing/2014/main" id="{409BCC6F-A5F0-4C79-BB4A-38A1ABC14F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40126" y="3649889"/>
            <a:ext cx="49564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Health</a:t>
            </a:r>
          </a:p>
        </p:txBody>
      </p:sp>
      <p:sp>
        <p:nvSpPr>
          <p:cNvPr id="23629" name="TextBox 129">
            <a:extLst>
              <a:ext uri="{FF2B5EF4-FFF2-40B4-BE49-F238E27FC236}">
                <a16:creationId xmlns:a16="http://schemas.microsoft.com/office/drawing/2014/main" id="{489E7B41-20C9-4493-8E7D-07238EB8FA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2892" y="3654980"/>
            <a:ext cx="51969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Timber</a:t>
            </a:r>
          </a:p>
        </p:txBody>
      </p:sp>
      <p:sp>
        <p:nvSpPr>
          <p:cNvPr id="23630" name="TextBox 130">
            <a:extLst>
              <a:ext uri="{FF2B5EF4-FFF2-40B4-BE49-F238E27FC236}">
                <a16:creationId xmlns:a16="http://schemas.microsoft.com/office/drawing/2014/main" id="{048DE5D8-5309-42DA-9D97-2935A10CB7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31" name="TextBox 131">
            <a:extLst>
              <a:ext uri="{FF2B5EF4-FFF2-40B4-BE49-F238E27FC236}">
                <a16:creationId xmlns:a16="http://schemas.microsoft.com/office/drawing/2014/main" id="{FF8B6C80-43E2-43AF-A364-A31845F05C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5388" y="3656613"/>
            <a:ext cx="532518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Banana</a:t>
            </a:r>
          </a:p>
        </p:txBody>
      </p:sp>
      <p:sp>
        <p:nvSpPr>
          <p:cNvPr id="23632" name="TextBox 132">
            <a:extLst>
              <a:ext uri="{FF2B5EF4-FFF2-40B4-BE49-F238E27FC236}">
                <a16:creationId xmlns:a16="http://schemas.microsoft.com/office/drawing/2014/main" id="{A1C640C1-61D1-4BA5-8A76-E684397E8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04441" y="3650683"/>
            <a:ext cx="47000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Cocoa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238751" y="3833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23638" name="TextBox 141">
            <a:extLst>
              <a:ext uri="{FF2B5EF4-FFF2-40B4-BE49-F238E27FC236}">
                <a16:creationId xmlns:a16="http://schemas.microsoft.com/office/drawing/2014/main" id="{EE481231-8673-4FD7-B5CC-900AEE7A9F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8233" y="3652271"/>
            <a:ext cx="57579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Oil Palm</a:t>
            </a:r>
          </a:p>
        </p:txBody>
      </p:sp>
      <p:sp>
        <p:nvSpPr>
          <p:cNvPr id="23649" name="TextBox 165">
            <a:extLst>
              <a:ext uri="{FF2B5EF4-FFF2-40B4-BE49-F238E27FC236}">
                <a16:creationId xmlns:a16="http://schemas.microsoft.com/office/drawing/2014/main" id="{1242633E-9CB1-48ED-83F4-2223DFC7ED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61579" y="4459560"/>
            <a:ext cx="65274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Education</a:t>
            </a:r>
          </a:p>
        </p:txBody>
      </p:sp>
      <p:sp>
        <p:nvSpPr>
          <p:cNvPr id="23650" name="TextBox 166">
            <a:extLst>
              <a:ext uri="{FF2B5EF4-FFF2-40B4-BE49-F238E27FC236}">
                <a16:creationId xmlns:a16="http://schemas.microsoft.com/office/drawing/2014/main" id="{6B51369B-8FA6-464A-B908-12B0FFE6B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72931" y="4458812"/>
            <a:ext cx="902811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Petrochemicals</a:t>
            </a:r>
          </a:p>
        </p:txBody>
      </p:sp>
      <p:sp>
        <p:nvSpPr>
          <p:cNvPr id="23651" name="TextBox 167">
            <a:extLst>
              <a:ext uri="{FF2B5EF4-FFF2-40B4-BE49-F238E27FC236}">
                <a16:creationId xmlns:a16="http://schemas.microsoft.com/office/drawing/2014/main" id="{4F9404E1-8339-401B-8B10-4C7D1A8CEC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30261" y="4457881"/>
            <a:ext cx="71526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Oil and Gas</a:t>
            </a:r>
          </a:p>
        </p:txBody>
      </p:sp>
      <p:sp>
        <p:nvSpPr>
          <p:cNvPr id="23652" name="TextBox 168">
            <a:extLst>
              <a:ext uri="{FF2B5EF4-FFF2-40B4-BE49-F238E27FC236}">
                <a16:creationId xmlns:a16="http://schemas.microsoft.com/office/drawing/2014/main" id="{1C04917D-B2C3-4C21-8CC2-A45C349B4B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56072" y="4457326"/>
            <a:ext cx="566738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Tourism</a:t>
            </a:r>
          </a:p>
        </p:txBody>
      </p:sp>
      <p:sp>
        <p:nvSpPr>
          <p:cNvPr id="23653" name="TextBox 169">
            <a:extLst>
              <a:ext uri="{FF2B5EF4-FFF2-40B4-BE49-F238E27FC236}">
                <a16:creationId xmlns:a16="http://schemas.microsoft.com/office/drawing/2014/main" id="{4BADA327-4F2D-4897-B7C0-4647A1484B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3926" y="4457973"/>
            <a:ext cx="57419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Sea Port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8A28B48-1841-45BB-BFBC-EADE77B37C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1450539"/>
              </p:ext>
            </p:extLst>
          </p:nvPr>
        </p:nvGraphicFramePr>
        <p:xfrm>
          <a:off x="2779712" y="2589213"/>
          <a:ext cx="1482725" cy="812800"/>
        </p:xfrm>
        <a:graphic>
          <a:graphicData uri="http://schemas.openxmlformats.org/drawingml/2006/table">
            <a:tbl>
              <a:tblPr/>
              <a:tblGrid>
                <a:gridCol w="11367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9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32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GB" sz="1000" b="1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Domestic</a:t>
                      </a:r>
                      <a:r>
                        <a:rPr lang="en-GB" sz="10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US" sz="1000" b="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International 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Railway</a:t>
                      </a:r>
                      <a:r>
                        <a:rPr lang="en-GB" sz="1000" b="1" kern="1200" baseline="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 Station</a:t>
                      </a:r>
                      <a:endParaRPr lang="en-GB" sz="1000" b="1" kern="1200" dirty="0">
                        <a:solidFill>
                          <a:srgbClr val="292929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32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Sea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7" name="TextBox 136">
            <a:extLst>
              <a:ext uri="{FF2B5EF4-FFF2-40B4-BE49-F238E27FC236}">
                <a16:creationId xmlns:a16="http://schemas.microsoft.com/office/drawing/2014/main" id="{2F4C4876-7073-4C13-A183-127A8909BDC0}"/>
              </a:ext>
            </a:extLst>
          </p:cNvPr>
          <p:cNvSpPr txBox="1"/>
          <p:nvPr/>
        </p:nvSpPr>
        <p:spPr>
          <a:xfrm>
            <a:off x="538163" y="5268913"/>
            <a:ext cx="373856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For further details</a:t>
            </a:r>
          </a:p>
        </p:txBody>
      </p:sp>
      <p:sp>
        <p:nvSpPr>
          <p:cNvPr id="23676" name="TextBox 156">
            <a:extLst>
              <a:ext uri="{FF2B5EF4-FFF2-40B4-BE49-F238E27FC236}">
                <a16:creationId xmlns:a16="http://schemas.microsoft.com/office/drawing/2014/main" id="{95D66AAF-6B48-4B9E-9E5B-F1BB063A89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6300" y="6342063"/>
            <a:ext cx="37306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Abbreviations: </a:t>
            </a:r>
            <a:r>
              <a:rPr lang="en-GB" altLang="en-US" sz="800" b="1" dirty="0">
                <a:latin typeface="Calibri" panose="020F0502020204030204" pitchFamily="34" charset="0"/>
              </a:rPr>
              <a:t>	NICPS</a:t>
            </a:r>
            <a:r>
              <a:rPr lang="en-GB" altLang="en-US" sz="800" dirty="0">
                <a:latin typeface="Calibri" panose="020F0502020204030204" pitchFamily="34" charset="0"/>
              </a:rPr>
              <a:t>: Nigerian Investment Certification Programme for States                  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	</a:t>
            </a:r>
            <a:r>
              <a:rPr lang="en-GB" altLang="en-US" sz="800" b="1" dirty="0">
                <a:latin typeface="Calibri" panose="020F0502020204030204" pitchFamily="34" charset="0"/>
              </a:rPr>
              <a:t>IGR</a:t>
            </a:r>
            <a:r>
              <a:rPr lang="en-GB" altLang="en-US" sz="800" dirty="0">
                <a:latin typeface="Calibri" panose="020F0502020204030204" pitchFamily="34" charset="0"/>
              </a:rPr>
              <a:t>:     Internal Generated Revenue</a:t>
            </a:r>
          </a:p>
        </p:txBody>
      </p:sp>
      <p:sp>
        <p:nvSpPr>
          <p:cNvPr id="23678" name="TextBox 152">
            <a:extLst>
              <a:ext uri="{FF2B5EF4-FFF2-40B4-BE49-F238E27FC236}">
                <a16:creationId xmlns:a16="http://schemas.microsoft.com/office/drawing/2014/main" id="{BFAF6896-F732-45FC-AC47-950DF99D9E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4575" y="1134205"/>
            <a:ext cx="3446463" cy="1492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15888" indent="-11588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</a:rPr>
              <a:t>Attractive location (Atlantic Ocean access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Longest shoreline in the country (129km,  suitable for development and aquaculture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</a:rPr>
              <a:t>Largest oil producing state (504,000bpd)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</a:rPr>
              <a:t>Highest palm oil producing stat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altLang="en-US" sz="1300" dirty="0">
                <a:latin typeface="Calibri" panose="020F0502020204030204" pitchFamily="34" charset="0"/>
              </a:rPr>
              <a:t>30,000-seater ultra modern sports complex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altLang="en-US" sz="1300" dirty="0">
                <a:latin typeface="Calibri" panose="020F0502020204030204" pitchFamily="34" charset="0"/>
              </a:rPr>
              <a:t>191MW State-Owned power generating plant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D4E23C6-26A0-4545-B8F7-7007C8EEBFE4}"/>
              </a:ext>
            </a:extLst>
          </p:cNvPr>
          <p:cNvSpPr txBox="1"/>
          <p:nvPr/>
        </p:nvSpPr>
        <p:spPr>
          <a:xfrm>
            <a:off x="4338638" y="5265738"/>
            <a:ext cx="247491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id you know?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132" name="Text Placeholder 42">
            <a:extLst>
              <a:ext uri="{FF2B5EF4-FFF2-40B4-BE49-F238E27FC236}">
                <a16:creationId xmlns:a16="http://schemas.microsoft.com/office/drawing/2014/main" id="{D510D0DC-1548-4249-8DB1-9A1055126D07}"/>
              </a:ext>
            </a:extLst>
          </p:cNvPr>
          <p:cNvSpPr txBox="1">
            <a:spLocks/>
          </p:cNvSpPr>
          <p:nvPr/>
        </p:nvSpPr>
        <p:spPr>
          <a:xfrm>
            <a:off x="522288" y="5511800"/>
            <a:ext cx="3733800" cy="701675"/>
          </a:xfrm>
          <a:prstGeom prst="rect">
            <a:avLst/>
          </a:prstGeom>
        </p:spPr>
        <p:txBody>
          <a:bodyPr lIns="36576" tIns="0" rIns="36576" bIns="0"/>
          <a:lstStyle>
            <a:lvl1pPr marL="0" indent="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/>
              <a:buNone/>
              <a:defRPr sz="800" b="1" baseline="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6575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93763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 charset="0"/>
              <a:buChar char="►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50950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619250" indent="-188913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0764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25336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29908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34480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NIGERIAN INVESTMENT PROMOTION COMMISSION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>
                <a:solidFill>
                  <a:schemeClr val="tx1"/>
                </a:solidFill>
                <a:hlinkClick r:id="rId7"/>
              </a:rPr>
              <a:t>statesco@nipc.gov.ng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endParaRPr lang="en-US" sz="5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AKWA IBOM INVESTMENT CORPORATION </a:t>
            </a: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 err="1">
                <a:solidFill>
                  <a:schemeClr val="tx1"/>
                </a:solidFill>
                <a:hlinkClick r:id="rId8"/>
              </a:rPr>
              <a:t>elijah-a@hotmail.com</a:t>
            </a:r>
            <a:r>
              <a:rPr lang="en-US" sz="1000" b="0" kern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FF015425-7997-4612-9D0E-1F6C433DFCC7}"/>
              </a:ext>
            </a:extLst>
          </p:cNvPr>
          <p:cNvSpPr/>
          <p:nvPr/>
        </p:nvSpPr>
        <p:spPr>
          <a:xfrm>
            <a:off x="6080877" y="3040856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4C0B7457-CABD-4AC8-8A1A-1FD468581E4D}"/>
              </a:ext>
            </a:extLst>
          </p:cNvPr>
          <p:cNvSpPr/>
          <p:nvPr/>
        </p:nvSpPr>
        <p:spPr>
          <a:xfrm>
            <a:off x="6784796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2D626A89-F50C-45A3-9271-5D3F2EEA9C83}"/>
              </a:ext>
            </a:extLst>
          </p:cNvPr>
          <p:cNvSpPr/>
          <p:nvPr/>
        </p:nvSpPr>
        <p:spPr>
          <a:xfrm>
            <a:off x="7518399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240713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A62E850A-D87D-46D0-9257-0071E677FCF0}"/>
              </a:ext>
            </a:extLst>
          </p:cNvPr>
          <p:cNvSpPr/>
          <p:nvPr/>
        </p:nvSpPr>
        <p:spPr>
          <a:xfrm>
            <a:off x="8946776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4D1FAA17-3EFF-404B-B4C4-B468BCE2E9A5}"/>
              </a:ext>
            </a:extLst>
          </p:cNvPr>
          <p:cNvSpPr/>
          <p:nvPr/>
        </p:nvSpPr>
        <p:spPr>
          <a:xfrm>
            <a:off x="6078265" y="3836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E861211D-5D09-4577-8A09-FD96D972A5D4}"/>
              </a:ext>
            </a:extLst>
          </p:cNvPr>
          <p:cNvSpPr/>
          <p:nvPr/>
        </p:nvSpPr>
        <p:spPr>
          <a:xfrm>
            <a:off x="6780509" y="3833831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D9F8790B-E97D-4D8F-AD51-26FAFBF8CA40}"/>
              </a:ext>
            </a:extLst>
          </p:cNvPr>
          <p:cNvSpPr/>
          <p:nvPr/>
        </p:nvSpPr>
        <p:spPr>
          <a:xfrm>
            <a:off x="8946776" y="3833630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3CBEFD1C-6360-47CD-AEDD-DFB49FC0E0C7}"/>
              </a:ext>
            </a:extLst>
          </p:cNvPr>
          <p:cNvSpPr/>
          <p:nvPr/>
        </p:nvSpPr>
        <p:spPr>
          <a:xfrm>
            <a:off x="7518603" y="3830834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pic>
        <p:nvPicPr>
          <p:cNvPr id="127" name="Picture 126">
            <a:extLst>
              <a:ext uri="{FF2B5EF4-FFF2-40B4-BE49-F238E27FC236}">
                <a16:creationId xmlns:a16="http://schemas.microsoft.com/office/drawing/2014/main" id="{B0EF1D37-9A48-4A2C-AB99-67D28482202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6347" y="3092950"/>
            <a:ext cx="516171" cy="535758"/>
          </a:xfrm>
          <a:prstGeom prst="rect">
            <a:avLst/>
          </a:prstGeom>
        </p:spPr>
      </p:pic>
      <p:pic>
        <p:nvPicPr>
          <p:cNvPr id="134" name="Picture 5">
            <a:extLst>
              <a:ext uri="{FF2B5EF4-FFF2-40B4-BE49-F238E27FC236}">
                <a16:creationId xmlns:a16="http://schemas.microsoft.com/office/drawing/2014/main" id="{873258D1-894D-426A-A0C7-8C3E4434058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942" r="26332"/>
          <a:stretch/>
        </p:blipFill>
        <p:spPr bwMode="auto">
          <a:xfrm>
            <a:off x="6100026" y="3003516"/>
            <a:ext cx="581685" cy="659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5" name="Picture 2" descr="Image result for silhouette on timber">
            <a:extLst>
              <a:ext uri="{FF2B5EF4-FFF2-40B4-BE49-F238E27FC236}">
                <a16:creationId xmlns:a16="http://schemas.microsoft.com/office/drawing/2014/main" id="{6E98F5E1-4819-49B2-97EE-777A1B6CA92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91" t="9073" r="68598" b="72226"/>
          <a:stretch/>
        </p:blipFill>
        <p:spPr bwMode="auto">
          <a:xfrm>
            <a:off x="6852177" y="3129513"/>
            <a:ext cx="486755" cy="3715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6" name="Picture 5">
            <a:extLst>
              <a:ext uri="{FF2B5EF4-FFF2-40B4-BE49-F238E27FC236}">
                <a16:creationId xmlns:a16="http://schemas.microsoft.com/office/drawing/2014/main" id="{C057068B-9AB8-45D3-A832-9E6BEA58CB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6794" y="3047722"/>
            <a:ext cx="496486" cy="5656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9" name="Picture 6">
            <a:extLst>
              <a:ext uri="{FF2B5EF4-FFF2-40B4-BE49-F238E27FC236}">
                <a16:creationId xmlns:a16="http://schemas.microsoft.com/office/drawing/2014/main" id="{AB72BDFA-B8DD-4988-A42A-9A1180478A1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42" t="54495" r="55846" b="9535"/>
          <a:stretch/>
        </p:blipFill>
        <p:spPr bwMode="auto">
          <a:xfrm>
            <a:off x="8329100" y="3096521"/>
            <a:ext cx="452823" cy="4998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1" name="Picture 7">
            <a:extLst>
              <a:ext uri="{FF2B5EF4-FFF2-40B4-BE49-F238E27FC236}">
                <a16:creationId xmlns:a16="http://schemas.microsoft.com/office/drawing/2014/main" id="{5B157FF1-E550-479A-BB4A-B322042912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4154" y="3929354"/>
            <a:ext cx="3778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2" name="Picture 8">
            <a:extLst>
              <a:ext uri="{FF2B5EF4-FFF2-40B4-BE49-F238E27FC236}">
                <a16:creationId xmlns:a16="http://schemas.microsoft.com/office/drawing/2014/main" id="{A0049457-C5B1-4C40-BAC3-8B5AF73AFA0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254" t="16750" r="27051" b="20408"/>
          <a:stretch/>
        </p:blipFill>
        <p:spPr bwMode="auto">
          <a:xfrm>
            <a:off x="6885815" y="3871233"/>
            <a:ext cx="378138" cy="4761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9" name="Picture 9">
            <a:extLst>
              <a:ext uri="{FF2B5EF4-FFF2-40B4-BE49-F238E27FC236}">
                <a16:creationId xmlns:a16="http://schemas.microsoft.com/office/drawing/2014/main" id="{037B0E1C-A922-4D75-A1B3-136BFC82A0D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348" b="44725"/>
          <a:stretch/>
        </p:blipFill>
        <p:spPr bwMode="auto">
          <a:xfrm>
            <a:off x="7662750" y="3906397"/>
            <a:ext cx="376847" cy="399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0" name="Picture 149">
            <a:extLst>
              <a:ext uri="{FF2B5EF4-FFF2-40B4-BE49-F238E27FC236}">
                <a16:creationId xmlns:a16="http://schemas.microsoft.com/office/drawing/2014/main" id="{475CDBC3-6600-4828-8D6D-DC81304C5C69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9108" y="3909371"/>
            <a:ext cx="464155" cy="464155"/>
          </a:xfrm>
          <a:prstGeom prst="rect">
            <a:avLst/>
          </a:prstGeom>
        </p:spPr>
      </p:pic>
      <p:pic>
        <p:nvPicPr>
          <p:cNvPr id="151" name="Picture 150">
            <a:extLst>
              <a:ext uri="{FF2B5EF4-FFF2-40B4-BE49-F238E27FC236}">
                <a16:creationId xmlns:a16="http://schemas.microsoft.com/office/drawing/2014/main" id="{48E08CE2-D92D-4767-A76D-FE6C8286B49C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9031443" y="3905378"/>
            <a:ext cx="425978" cy="425978"/>
          </a:xfrm>
          <a:prstGeom prst="rect">
            <a:avLst/>
          </a:prstGeom>
        </p:spPr>
      </p:pic>
      <p:sp>
        <p:nvSpPr>
          <p:cNvPr id="148" name="object 41">
            <a:extLst>
              <a:ext uri="{FF2B5EF4-FFF2-40B4-BE49-F238E27FC236}">
                <a16:creationId xmlns:a16="http://schemas.microsoft.com/office/drawing/2014/main" id="{2CCB99A3-0CDA-4815-A7F5-E90EBA59CD5F}"/>
              </a:ext>
            </a:extLst>
          </p:cNvPr>
          <p:cNvSpPr txBox="1"/>
          <p:nvPr/>
        </p:nvSpPr>
        <p:spPr>
          <a:xfrm>
            <a:off x="4583798" y="4623825"/>
            <a:ext cx="1340600" cy="646331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R="5080" indent="12700" algn="ctr">
              <a:lnSpc>
                <a:spcPct val="100000"/>
              </a:lnSpc>
            </a:pPr>
            <a:r>
              <a:rPr lang="en-GB" sz="1400" b="1" spc="-5" dirty="0">
                <a:solidFill>
                  <a:srgbClr val="FF0000"/>
                </a:solidFill>
                <a:latin typeface="Calibri" panose="020F0502020204030204" pitchFamily="34" charset="0"/>
                <a:cs typeface="Arial"/>
              </a:rPr>
              <a:t>State Investment Certification Process  Ongoing</a:t>
            </a:r>
            <a:endParaRPr sz="1400" b="1" dirty="0">
              <a:solidFill>
                <a:srgbClr val="FF0000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262436" y="5429840"/>
            <a:ext cx="2606099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About 13.4% percent of the 960km of Nigeria’s Atlantic Ocean coastline sits in the State</a:t>
            </a:r>
          </a:p>
        </p:txBody>
      </p:sp>
    </p:spTree>
    <p:extLst>
      <p:ext uri="{BB962C8B-B14F-4D97-AF65-F5344CB8AC3E}">
        <p14:creationId xmlns:p14="http://schemas.microsoft.com/office/powerpoint/2010/main" val="2075725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Pentagon 19">
            <a:extLst>
              <a:ext uri="{FF2B5EF4-FFF2-40B4-BE49-F238E27FC236}">
                <a16:creationId xmlns:a16="http://schemas.microsoft.com/office/drawing/2014/main" id="{CAD93C59-72A9-4F6D-A654-02B9F8A5EFF9}"/>
              </a:ext>
            </a:extLst>
          </p:cNvPr>
          <p:cNvSpPr>
            <a:spLocks/>
          </p:cNvSpPr>
          <p:nvPr/>
        </p:nvSpPr>
        <p:spPr bwMode="auto">
          <a:xfrm>
            <a:off x="756602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32 of 37</a:t>
            </a:r>
          </a:p>
        </p:txBody>
      </p:sp>
      <p:sp>
        <p:nvSpPr>
          <p:cNvPr id="376" name="Pentagon 19">
            <a:extLst>
              <a:ext uri="{FF2B5EF4-FFF2-40B4-BE49-F238E27FC236}">
                <a16:creationId xmlns:a16="http://schemas.microsoft.com/office/drawing/2014/main" id="{1BDC5465-6022-4404-B4D8-ED55CF961B8A}"/>
              </a:ext>
            </a:extLst>
          </p:cNvPr>
          <p:cNvSpPr>
            <a:spLocks/>
          </p:cNvSpPr>
          <p:nvPr/>
        </p:nvSpPr>
        <p:spPr bwMode="auto">
          <a:xfrm>
            <a:off x="824865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1 of 3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57F1EBC-D01A-4083-B657-63AFB1490839}"/>
              </a:ext>
            </a:extLst>
          </p:cNvPr>
          <p:cNvSpPr txBox="1"/>
          <p:nvPr/>
        </p:nvSpPr>
        <p:spPr>
          <a:xfrm>
            <a:off x="6122988" y="2749550"/>
            <a:ext cx="3475037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nvestment Opportunit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D251BD-538A-4F4F-847E-620EEDA298A0}"/>
              </a:ext>
            </a:extLst>
          </p:cNvPr>
          <p:cNvSpPr txBox="1"/>
          <p:nvPr/>
        </p:nvSpPr>
        <p:spPr>
          <a:xfrm>
            <a:off x="6881813" y="4632911"/>
            <a:ext cx="2697162" cy="33855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oing Business Ranking(2018)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1B8F13C-F732-4DA1-9250-DB02936E7688}"/>
              </a:ext>
            </a:extLst>
          </p:cNvPr>
          <p:cNvSpPr/>
          <p:nvPr/>
        </p:nvSpPr>
        <p:spPr>
          <a:xfrm>
            <a:off x="756602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Registering Propert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6BA1818-32ED-44D1-975C-958200BDD124}"/>
              </a:ext>
            </a:extLst>
          </p:cNvPr>
          <p:cNvSpPr/>
          <p:nvPr/>
        </p:nvSpPr>
        <p:spPr>
          <a:xfrm>
            <a:off x="8248650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Dealing with Construction Permits</a:t>
            </a:r>
          </a:p>
        </p:txBody>
      </p:sp>
      <p:sp>
        <p:nvSpPr>
          <p:cNvPr id="23560" name="TextBox 174">
            <a:extLst>
              <a:ext uri="{FF2B5EF4-FFF2-40B4-BE49-F238E27FC236}">
                <a16:creationId xmlns:a16="http://schemas.microsoft.com/office/drawing/2014/main" id="{1573FD4E-62B9-45E8-8F28-CED990ED2D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0B63A6C-2A5E-4CA3-BC66-4CBC6008BC9A}"/>
              </a:ext>
            </a:extLst>
          </p:cNvPr>
          <p:cNvSpPr/>
          <p:nvPr/>
        </p:nvSpPr>
        <p:spPr>
          <a:xfrm>
            <a:off x="893127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Enforcing Contracts</a:t>
            </a:r>
          </a:p>
        </p:txBody>
      </p:sp>
      <p:pic>
        <p:nvPicPr>
          <p:cNvPr id="23562" name="Picture 4">
            <a:extLst>
              <a:ext uri="{FF2B5EF4-FFF2-40B4-BE49-F238E27FC236}">
                <a16:creationId xmlns:a16="http://schemas.microsoft.com/office/drawing/2014/main" id="{7C8EEAB2-0239-4BB5-94B3-23E319AF1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513" y="5249863"/>
            <a:ext cx="439737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6" name="Pentagon 19">
            <a:extLst>
              <a:ext uri="{FF2B5EF4-FFF2-40B4-BE49-F238E27FC236}">
                <a16:creationId xmlns:a16="http://schemas.microsoft.com/office/drawing/2014/main" id="{5F8E9670-D71A-4765-B6B5-D711BC9AD6E1}"/>
              </a:ext>
            </a:extLst>
          </p:cNvPr>
          <p:cNvSpPr>
            <a:spLocks/>
          </p:cNvSpPr>
          <p:nvPr/>
        </p:nvSpPr>
        <p:spPr bwMode="auto">
          <a:xfrm>
            <a:off x="893127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34</a:t>
            </a:r>
            <a:r>
              <a:rPr lang="en-GB" sz="1000" baseline="3000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of 37</a:t>
            </a:r>
          </a:p>
        </p:txBody>
      </p:sp>
      <p:sp>
        <p:nvSpPr>
          <p:cNvPr id="23564" name="Title 3">
            <a:extLst>
              <a:ext uri="{FF2B5EF4-FFF2-40B4-BE49-F238E27FC236}">
                <a16:creationId xmlns:a16="http://schemas.microsoft.com/office/drawing/2014/main" id="{C62A749B-CFC7-4224-A789-D20A772AC33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77813" y="222250"/>
            <a:ext cx="8543925" cy="5619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en-GB" alt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ambra State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6882DF2C-9120-4A66-8487-575D9494F4D6}"/>
              </a:ext>
            </a:extLst>
          </p:cNvPr>
          <p:cNvSpPr txBox="1"/>
          <p:nvPr/>
        </p:nvSpPr>
        <p:spPr>
          <a:xfrm rot="16200000">
            <a:off x="-2290084" y="3478372"/>
            <a:ext cx="5303837" cy="2743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Light of the Nation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grpSp>
        <p:nvGrpSpPr>
          <p:cNvPr id="23566" name="Group 9">
            <a:extLst>
              <a:ext uri="{FF2B5EF4-FFF2-40B4-BE49-F238E27FC236}">
                <a16:creationId xmlns:a16="http://schemas.microsoft.com/office/drawing/2014/main" id="{5B6131BD-3CE3-4FC4-B13A-FA9B797C1EF5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41338" y="963613"/>
            <a:ext cx="2897187" cy="2319337"/>
            <a:chOff x="770228" y="1459989"/>
            <a:chExt cx="4081047" cy="3267527"/>
          </a:xfrm>
        </p:grpSpPr>
        <p:sp>
          <p:nvSpPr>
            <p:cNvPr id="299" name="Freeform 4">
              <a:extLst>
                <a:ext uri="{FF2B5EF4-FFF2-40B4-BE49-F238E27FC236}">
                  <a16:creationId xmlns:a16="http://schemas.microsoft.com/office/drawing/2014/main" id="{B6150C82-CBE5-48B4-B60C-C210BB7B26A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91538" y="4349548"/>
              <a:ext cx="418167" cy="377968"/>
            </a:xfrm>
            <a:custGeom>
              <a:avLst/>
              <a:gdLst>
                <a:gd name="T0" fmla="*/ 12 w 786"/>
                <a:gd name="T1" fmla="*/ 19 h 714"/>
                <a:gd name="T2" fmla="*/ 22 w 786"/>
                <a:gd name="T3" fmla="*/ 18 h 714"/>
                <a:gd name="T4" fmla="*/ 27 w 786"/>
                <a:gd name="T5" fmla="*/ 17 h 714"/>
                <a:gd name="T6" fmla="*/ 30 w 786"/>
                <a:gd name="T7" fmla="*/ 14 h 714"/>
                <a:gd name="T8" fmla="*/ 37 w 786"/>
                <a:gd name="T9" fmla="*/ 16 h 714"/>
                <a:gd name="T10" fmla="*/ 43 w 786"/>
                <a:gd name="T11" fmla="*/ 13 h 714"/>
                <a:gd name="T12" fmla="*/ 48 w 786"/>
                <a:gd name="T13" fmla="*/ 8 h 714"/>
                <a:gd name="T14" fmla="*/ 55 w 786"/>
                <a:gd name="T15" fmla="*/ 4 h 714"/>
                <a:gd name="T16" fmla="*/ 66 w 786"/>
                <a:gd name="T17" fmla="*/ 0 h 714"/>
                <a:gd name="T18" fmla="*/ 63 w 786"/>
                <a:gd name="T19" fmla="*/ 12 h 714"/>
                <a:gd name="T20" fmla="*/ 59 w 786"/>
                <a:gd name="T21" fmla="*/ 19 h 714"/>
                <a:gd name="T22" fmla="*/ 57 w 786"/>
                <a:gd name="T23" fmla="*/ 29 h 714"/>
                <a:gd name="T24" fmla="*/ 59 w 786"/>
                <a:gd name="T25" fmla="*/ 36 h 714"/>
                <a:gd name="T26" fmla="*/ 66 w 786"/>
                <a:gd name="T27" fmla="*/ 35 h 714"/>
                <a:gd name="T28" fmla="*/ 64 w 786"/>
                <a:gd name="T29" fmla="*/ 41 h 714"/>
                <a:gd name="T30" fmla="*/ 64 w 786"/>
                <a:gd name="T31" fmla="*/ 48 h 714"/>
                <a:gd name="T32" fmla="*/ 63 w 786"/>
                <a:gd name="T33" fmla="*/ 56 h 714"/>
                <a:gd name="T34" fmla="*/ 60 w 786"/>
                <a:gd name="T35" fmla="*/ 60 h 714"/>
                <a:gd name="T36" fmla="*/ 57 w 786"/>
                <a:gd name="T37" fmla="*/ 58 h 714"/>
                <a:gd name="T38" fmla="*/ 54 w 786"/>
                <a:gd name="T39" fmla="*/ 54 h 714"/>
                <a:gd name="T40" fmla="*/ 53 w 786"/>
                <a:gd name="T41" fmla="*/ 51 h 714"/>
                <a:gd name="T42" fmla="*/ 51 w 786"/>
                <a:gd name="T43" fmla="*/ 53 h 714"/>
                <a:gd name="T44" fmla="*/ 49 w 786"/>
                <a:gd name="T45" fmla="*/ 54 h 714"/>
                <a:gd name="T46" fmla="*/ 47 w 786"/>
                <a:gd name="T47" fmla="*/ 50 h 714"/>
                <a:gd name="T48" fmla="*/ 48 w 786"/>
                <a:gd name="T49" fmla="*/ 54 h 714"/>
                <a:gd name="T50" fmla="*/ 47 w 786"/>
                <a:gd name="T51" fmla="*/ 54 h 714"/>
                <a:gd name="T52" fmla="*/ 46 w 786"/>
                <a:gd name="T53" fmla="*/ 59 h 714"/>
                <a:gd name="T54" fmla="*/ 47 w 786"/>
                <a:gd name="T55" fmla="*/ 62 h 714"/>
                <a:gd name="T56" fmla="*/ 42 w 786"/>
                <a:gd name="T57" fmla="*/ 62 h 714"/>
                <a:gd name="T58" fmla="*/ 39 w 786"/>
                <a:gd name="T59" fmla="*/ 57 h 714"/>
                <a:gd name="T60" fmla="*/ 40 w 786"/>
                <a:gd name="T61" fmla="*/ 54 h 714"/>
                <a:gd name="T62" fmla="*/ 43 w 786"/>
                <a:gd name="T63" fmla="*/ 55 h 714"/>
                <a:gd name="T64" fmla="*/ 40 w 786"/>
                <a:gd name="T65" fmla="*/ 53 h 714"/>
                <a:gd name="T66" fmla="*/ 38 w 786"/>
                <a:gd name="T67" fmla="*/ 57 h 714"/>
                <a:gd name="T68" fmla="*/ 37 w 786"/>
                <a:gd name="T69" fmla="*/ 57 h 714"/>
                <a:gd name="T70" fmla="*/ 37 w 786"/>
                <a:gd name="T71" fmla="*/ 60 h 714"/>
                <a:gd name="T72" fmla="*/ 33 w 786"/>
                <a:gd name="T73" fmla="*/ 56 h 714"/>
                <a:gd name="T74" fmla="*/ 32 w 786"/>
                <a:gd name="T75" fmla="*/ 58 h 714"/>
                <a:gd name="T76" fmla="*/ 26 w 786"/>
                <a:gd name="T77" fmla="*/ 54 h 714"/>
                <a:gd name="T78" fmla="*/ 26 w 786"/>
                <a:gd name="T79" fmla="*/ 54 h 714"/>
                <a:gd name="T80" fmla="*/ 24 w 786"/>
                <a:gd name="T81" fmla="*/ 51 h 714"/>
                <a:gd name="T82" fmla="*/ 22 w 786"/>
                <a:gd name="T83" fmla="*/ 51 h 714"/>
                <a:gd name="T84" fmla="*/ 20 w 786"/>
                <a:gd name="T85" fmla="*/ 50 h 714"/>
                <a:gd name="T86" fmla="*/ 20 w 786"/>
                <a:gd name="T87" fmla="*/ 48 h 714"/>
                <a:gd name="T88" fmla="*/ 18 w 786"/>
                <a:gd name="T89" fmla="*/ 47 h 714"/>
                <a:gd name="T90" fmla="*/ 15 w 786"/>
                <a:gd name="T91" fmla="*/ 45 h 714"/>
                <a:gd name="T92" fmla="*/ 11 w 786"/>
                <a:gd name="T93" fmla="*/ 39 h 714"/>
                <a:gd name="T94" fmla="*/ 12 w 786"/>
                <a:gd name="T95" fmla="*/ 36 h 714"/>
                <a:gd name="T96" fmla="*/ 7 w 786"/>
                <a:gd name="T97" fmla="*/ 33 h 714"/>
                <a:gd name="T98" fmla="*/ 5 w 786"/>
                <a:gd name="T99" fmla="*/ 28 h 714"/>
                <a:gd name="T100" fmla="*/ 7 w 786"/>
                <a:gd name="T101" fmla="*/ 30 h 714"/>
                <a:gd name="T102" fmla="*/ 4 w 786"/>
                <a:gd name="T103" fmla="*/ 24 h 714"/>
                <a:gd name="T104" fmla="*/ 2 w 786"/>
                <a:gd name="T105" fmla="*/ 20 h 714"/>
                <a:gd name="T106" fmla="*/ 0 w 786"/>
                <a:gd name="T107" fmla="*/ 15 h 714"/>
                <a:gd name="T108" fmla="*/ 4 w 786"/>
                <a:gd name="T109" fmla="*/ 16 h 714"/>
                <a:gd name="T110" fmla="*/ 55 w 786"/>
                <a:gd name="T111" fmla="*/ 60 h 714"/>
                <a:gd name="T112" fmla="*/ 47 w 786"/>
                <a:gd name="T113" fmla="*/ 60 h 714"/>
                <a:gd name="T114" fmla="*/ 51 w 786"/>
                <a:gd name="T115" fmla="*/ 54 h 714"/>
                <a:gd name="T116" fmla="*/ 54 w 786"/>
                <a:gd name="T117" fmla="*/ 56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86"/>
                <a:gd name="T178" fmla="*/ 0 h 714"/>
                <a:gd name="T179" fmla="*/ 786 w 786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86" h="714">
                  <a:moveTo>
                    <a:pt x="54" y="186"/>
                  </a:moveTo>
                  <a:lnTo>
                    <a:pt x="54" y="192"/>
                  </a:lnTo>
                  <a:lnTo>
                    <a:pt x="72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204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20" y="210"/>
                  </a:lnTo>
                  <a:lnTo>
                    <a:pt x="126" y="210"/>
                  </a:lnTo>
                  <a:lnTo>
                    <a:pt x="132" y="210"/>
                  </a:lnTo>
                  <a:lnTo>
                    <a:pt x="132" y="216"/>
                  </a:lnTo>
                  <a:lnTo>
                    <a:pt x="138" y="222"/>
                  </a:lnTo>
                  <a:lnTo>
                    <a:pt x="150" y="222"/>
                  </a:lnTo>
                  <a:lnTo>
                    <a:pt x="162" y="234"/>
                  </a:lnTo>
                  <a:lnTo>
                    <a:pt x="168" y="240"/>
                  </a:lnTo>
                  <a:lnTo>
                    <a:pt x="180" y="240"/>
                  </a:lnTo>
                  <a:lnTo>
                    <a:pt x="186" y="228"/>
                  </a:lnTo>
                  <a:lnTo>
                    <a:pt x="210" y="234"/>
                  </a:lnTo>
                  <a:lnTo>
                    <a:pt x="222" y="228"/>
                  </a:lnTo>
                  <a:lnTo>
                    <a:pt x="228" y="216"/>
                  </a:lnTo>
                  <a:lnTo>
                    <a:pt x="234" y="210"/>
                  </a:lnTo>
                  <a:lnTo>
                    <a:pt x="240" y="216"/>
                  </a:lnTo>
                  <a:lnTo>
                    <a:pt x="246" y="210"/>
                  </a:lnTo>
                  <a:lnTo>
                    <a:pt x="252" y="210"/>
                  </a:lnTo>
                  <a:lnTo>
                    <a:pt x="258" y="210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192"/>
                  </a:lnTo>
                  <a:lnTo>
                    <a:pt x="270" y="192"/>
                  </a:lnTo>
                  <a:lnTo>
                    <a:pt x="276" y="192"/>
                  </a:lnTo>
                  <a:lnTo>
                    <a:pt x="282" y="192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192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198"/>
                  </a:lnTo>
                  <a:lnTo>
                    <a:pt x="312" y="198"/>
                  </a:lnTo>
                  <a:lnTo>
                    <a:pt x="312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24" y="186"/>
                  </a:lnTo>
                  <a:lnTo>
                    <a:pt x="318" y="180"/>
                  </a:lnTo>
                  <a:lnTo>
                    <a:pt x="324" y="180"/>
                  </a:lnTo>
                  <a:lnTo>
                    <a:pt x="330" y="186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74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54" y="144"/>
                  </a:lnTo>
                  <a:lnTo>
                    <a:pt x="360" y="144"/>
                  </a:lnTo>
                  <a:lnTo>
                    <a:pt x="372" y="156"/>
                  </a:lnTo>
                  <a:lnTo>
                    <a:pt x="372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96" y="168"/>
                  </a:lnTo>
                  <a:lnTo>
                    <a:pt x="396" y="174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26" y="186"/>
                  </a:lnTo>
                  <a:lnTo>
                    <a:pt x="432" y="186"/>
                  </a:lnTo>
                  <a:lnTo>
                    <a:pt x="438" y="180"/>
                  </a:lnTo>
                  <a:lnTo>
                    <a:pt x="438" y="168"/>
                  </a:lnTo>
                  <a:lnTo>
                    <a:pt x="438" y="162"/>
                  </a:lnTo>
                  <a:lnTo>
                    <a:pt x="444" y="156"/>
                  </a:lnTo>
                  <a:lnTo>
                    <a:pt x="450" y="156"/>
                  </a:lnTo>
                  <a:lnTo>
                    <a:pt x="456" y="150"/>
                  </a:lnTo>
                  <a:lnTo>
                    <a:pt x="462" y="156"/>
                  </a:lnTo>
                  <a:lnTo>
                    <a:pt x="468" y="162"/>
                  </a:lnTo>
                  <a:lnTo>
                    <a:pt x="474" y="162"/>
                  </a:lnTo>
                  <a:lnTo>
                    <a:pt x="486" y="162"/>
                  </a:lnTo>
                  <a:lnTo>
                    <a:pt x="492" y="156"/>
                  </a:lnTo>
                  <a:lnTo>
                    <a:pt x="498" y="150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28" y="126"/>
                  </a:lnTo>
                  <a:lnTo>
                    <a:pt x="522" y="120"/>
                  </a:lnTo>
                  <a:lnTo>
                    <a:pt x="522" y="114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28" y="102"/>
                  </a:lnTo>
                  <a:lnTo>
                    <a:pt x="534" y="96"/>
                  </a:lnTo>
                  <a:lnTo>
                    <a:pt x="552" y="96"/>
                  </a:lnTo>
                  <a:lnTo>
                    <a:pt x="570" y="102"/>
                  </a:lnTo>
                  <a:lnTo>
                    <a:pt x="582" y="96"/>
                  </a:lnTo>
                  <a:lnTo>
                    <a:pt x="582" y="90"/>
                  </a:lnTo>
                  <a:lnTo>
                    <a:pt x="582" y="78"/>
                  </a:lnTo>
                  <a:lnTo>
                    <a:pt x="582" y="72"/>
                  </a:lnTo>
                  <a:lnTo>
                    <a:pt x="582" y="66"/>
                  </a:lnTo>
                  <a:lnTo>
                    <a:pt x="594" y="60"/>
                  </a:lnTo>
                  <a:lnTo>
                    <a:pt x="600" y="60"/>
                  </a:lnTo>
                  <a:lnTo>
                    <a:pt x="606" y="54"/>
                  </a:lnTo>
                  <a:lnTo>
                    <a:pt x="618" y="48"/>
                  </a:lnTo>
                  <a:lnTo>
                    <a:pt x="618" y="42"/>
                  </a:lnTo>
                  <a:lnTo>
                    <a:pt x="624" y="42"/>
                  </a:lnTo>
                  <a:lnTo>
                    <a:pt x="636" y="48"/>
                  </a:lnTo>
                  <a:lnTo>
                    <a:pt x="648" y="54"/>
                  </a:lnTo>
                  <a:lnTo>
                    <a:pt x="660" y="54"/>
                  </a:lnTo>
                  <a:lnTo>
                    <a:pt x="666" y="60"/>
                  </a:lnTo>
                  <a:lnTo>
                    <a:pt x="672" y="54"/>
                  </a:lnTo>
                  <a:lnTo>
                    <a:pt x="684" y="48"/>
                  </a:lnTo>
                  <a:lnTo>
                    <a:pt x="708" y="42"/>
                  </a:lnTo>
                  <a:lnTo>
                    <a:pt x="714" y="42"/>
                  </a:lnTo>
                  <a:lnTo>
                    <a:pt x="720" y="36"/>
                  </a:lnTo>
                  <a:lnTo>
                    <a:pt x="720" y="30"/>
                  </a:lnTo>
                  <a:lnTo>
                    <a:pt x="714" y="12"/>
                  </a:lnTo>
                  <a:lnTo>
                    <a:pt x="708" y="0"/>
                  </a:lnTo>
                  <a:lnTo>
                    <a:pt x="738" y="6"/>
                  </a:lnTo>
                  <a:lnTo>
                    <a:pt x="756" y="6"/>
                  </a:lnTo>
                  <a:lnTo>
                    <a:pt x="762" y="42"/>
                  </a:lnTo>
                  <a:lnTo>
                    <a:pt x="738" y="72"/>
                  </a:lnTo>
                  <a:lnTo>
                    <a:pt x="750" y="90"/>
                  </a:lnTo>
                  <a:lnTo>
                    <a:pt x="762" y="96"/>
                  </a:lnTo>
                  <a:lnTo>
                    <a:pt x="756" y="102"/>
                  </a:lnTo>
                  <a:lnTo>
                    <a:pt x="750" y="108"/>
                  </a:lnTo>
                  <a:lnTo>
                    <a:pt x="750" y="114"/>
                  </a:lnTo>
                  <a:lnTo>
                    <a:pt x="750" y="120"/>
                  </a:lnTo>
                  <a:lnTo>
                    <a:pt x="750" y="126"/>
                  </a:lnTo>
                  <a:lnTo>
                    <a:pt x="750" y="132"/>
                  </a:lnTo>
                  <a:lnTo>
                    <a:pt x="738" y="132"/>
                  </a:lnTo>
                  <a:lnTo>
                    <a:pt x="732" y="138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14" y="144"/>
                  </a:lnTo>
                  <a:lnTo>
                    <a:pt x="714" y="150"/>
                  </a:lnTo>
                  <a:lnTo>
                    <a:pt x="720" y="156"/>
                  </a:lnTo>
                  <a:lnTo>
                    <a:pt x="720" y="162"/>
                  </a:lnTo>
                  <a:lnTo>
                    <a:pt x="714" y="162"/>
                  </a:lnTo>
                  <a:lnTo>
                    <a:pt x="708" y="168"/>
                  </a:lnTo>
                  <a:lnTo>
                    <a:pt x="708" y="180"/>
                  </a:lnTo>
                  <a:lnTo>
                    <a:pt x="708" y="192"/>
                  </a:lnTo>
                  <a:lnTo>
                    <a:pt x="696" y="198"/>
                  </a:lnTo>
                  <a:lnTo>
                    <a:pt x="696" y="204"/>
                  </a:lnTo>
                  <a:lnTo>
                    <a:pt x="684" y="210"/>
                  </a:lnTo>
                  <a:lnTo>
                    <a:pt x="684" y="216"/>
                  </a:lnTo>
                  <a:lnTo>
                    <a:pt x="684" y="222"/>
                  </a:lnTo>
                  <a:lnTo>
                    <a:pt x="678" y="228"/>
                  </a:lnTo>
                  <a:lnTo>
                    <a:pt x="678" y="234"/>
                  </a:lnTo>
                  <a:lnTo>
                    <a:pt x="672" y="240"/>
                  </a:lnTo>
                  <a:lnTo>
                    <a:pt x="672" y="252"/>
                  </a:lnTo>
                  <a:lnTo>
                    <a:pt x="672" y="258"/>
                  </a:lnTo>
                  <a:lnTo>
                    <a:pt x="666" y="264"/>
                  </a:lnTo>
                  <a:lnTo>
                    <a:pt x="678" y="264"/>
                  </a:lnTo>
                  <a:lnTo>
                    <a:pt x="684" y="276"/>
                  </a:lnTo>
                  <a:lnTo>
                    <a:pt x="684" y="288"/>
                  </a:lnTo>
                  <a:lnTo>
                    <a:pt x="672" y="300"/>
                  </a:lnTo>
                  <a:lnTo>
                    <a:pt x="660" y="318"/>
                  </a:lnTo>
                  <a:lnTo>
                    <a:pt x="660" y="336"/>
                  </a:lnTo>
                  <a:lnTo>
                    <a:pt x="654" y="342"/>
                  </a:lnTo>
                  <a:lnTo>
                    <a:pt x="660" y="354"/>
                  </a:lnTo>
                  <a:lnTo>
                    <a:pt x="660" y="366"/>
                  </a:lnTo>
                  <a:lnTo>
                    <a:pt x="666" y="378"/>
                  </a:lnTo>
                  <a:lnTo>
                    <a:pt x="672" y="390"/>
                  </a:lnTo>
                  <a:lnTo>
                    <a:pt x="678" y="396"/>
                  </a:lnTo>
                  <a:lnTo>
                    <a:pt x="684" y="390"/>
                  </a:lnTo>
                  <a:lnTo>
                    <a:pt x="690" y="390"/>
                  </a:lnTo>
                  <a:lnTo>
                    <a:pt x="690" y="396"/>
                  </a:lnTo>
                  <a:lnTo>
                    <a:pt x="684" y="396"/>
                  </a:lnTo>
                  <a:lnTo>
                    <a:pt x="684" y="402"/>
                  </a:lnTo>
                  <a:lnTo>
                    <a:pt x="684" y="408"/>
                  </a:lnTo>
                  <a:lnTo>
                    <a:pt x="678" y="414"/>
                  </a:lnTo>
                  <a:lnTo>
                    <a:pt x="684" y="414"/>
                  </a:lnTo>
                  <a:lnTo>
                    <a:pt x="684" y="420"/>
                  </a:lnTo>
                  <a:lnTo>
                    <a:pt x="684" y="426"/>
                  </a:lnTo>
                  <a:lnTo>
                    <a:pt x="690" y="420"/>
                  </a:lnTo>
                  <a:lnTo>
                    <a:pt x="696" y="420"/>
                  </a:lnTo>
                  <a:lnTo>
                    <a:pt x="696" y="426"/>
                  </a:lnTo>
                  <a:lnTo>
                    <a:pt x="690" y="426"/>
                  </a:lnTo>
                  <a:lnTo>
                    <a:pt x="696" y="426"/>
                  </a:lnTo>
                  <a:lnTo>
                    <a:pt x="708" y="426"/>
                  </a:lnTo>
                  <a:lnTo>
                    <a:pt x="726" y="414"/>
                  </a:lnTo>
                  <a:lnTo>
                    <a:pt x="732" y="408"/>
                  </a:lnTo>
                  <a:lnTo>
                    <a:pt x="744" y="402"/>
                  </a:lnTo>
                  <a:lnTo>
                    <a:pt x="756" y="402"/>
                  </a:lnTo>
                  <a:lnTo>
                    <a:pt x="768" y="402"/>
                  </a:lnTo>
                  <a:lnTo>
                    <a:pt x="786" y="408"/>
                  </a:lnTo>
                  <a:lnTo>
                    <a:pt x="786" y="414"/>
                  </a:lnTo>
                  <a:lnTo>
                    <a:pt x="774" y="420"/>
                  </a:lnTo>
                  <a:lnTo>
                    <a:pt x="774" y="426"/>
                  </a:lnTo>
                  <a:lnTo>
                    <a:pt x="768" y="432"/>
                  </a:lnTo>
                  <a:lnTo>
                    <a:pt x="762" y="438"/>
                  </a:lnTo>
                  <a:lnTo>
                    <a:pt x="756" y="438"/>
                  </a:lnTo>
                  <a:lnTo>
                    <a:pt x="756" y="444"/>
                  </a:lnTo>
                  <a:lnTo>
                    <a:pt x="756" y="450"/>
                  </a:lnTo>
                  <a:lnTo>
                    <a:pt x="762" y="450"/>
                  </a:lnTo>
                  <a:lnTo>
                    <a:pt x="750" y="456"/>
                  </a:lnTo>
                  <a:lnTo>
                    <a:pt x="738" y="468"/>
                  </a:lnTo>
                  <a:lnTo>
                    <a:pt x="726" y="480"/>
                  </a:lnTo>
                  <a:lnTo>
                    <a:pt x="726" y="486"/>
                  </a:lnTo>
                  <a:lnTo>
                    <a:pt x="732" y="486"/>
                  </a:lnTo>
                  <a:lnTo>
                    <a:pt x="732" y="492"/>
                  </a:lnTo>
                  <a:lnTo>
                    <a:pt x="732" y="504"/>
                  </a:lnTo>
                  <a:lnTo>
                    <a:pt x="738" y="504"/>
                  </a:lnTo>
                  <a:lnTo>
                    <a:pt x="744" y="510"/>
                  </a:lnTo>
                  <a:lnTo>
                    <a:pt x="738" y="522"/>
                  </a:lnTo>
                  <a:lnTo>
                    <a:pt x="744" y="528"/>
                  </a:lnTo>
                  <a:lnTo>
                    <a:pt x="756" y="534"/>
                  </a:lnTo>
                  <a:lnTo>
                    <a:pt x="756" y="540"/>
                  </a:lnTo>
                  <a:lnTo>
                    <a:pt x="744" y="552"/>
                  </a:lnTo>
                  <a:lnTo>
                    <a:pt x="738" y="552"/>
                  </a:lnTo>
                  <a:lnTo>
                    <a:pt x="738" y="558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64"/>
                  </a:lnTo>
                  <a:lnTo>
                    <a:pt x="744" y="576"/>
                  </a:lnTo>
                  <a:lnTo>
                    <a:pt x="738" y="588"/>
                  </a:lnTo>
                  <a:lnTo>
                    <a:pt x="738" y="594"/>
                  </a:lnTo>
                  <a:lnTo>
                    <a:pt x="738" y="600"/>
                  </a:lnTo>
                  <a:lnTo>
                    <a:pt x="738" y="606"/>
                  </a:lnTo>
                  <a:lnTo>
                    <a:pt x="732" y="612"/>
                  </a:lnTo>
                  <a:lnTo>
                    <a:pt x="726" y="624"/>
                  </a:lnTo>
                  <a:lnTo>
                    <a:pt x="726" y="636"/>
                  </a:lnTo>
                  <a:lnTo>
                    <a:pt x="726" y="648"/>
                  </a:lnTo>
                  <a:lnTo>
                    <a:pt x="738" y="654"/>
                  </a:lnTo>
                  <a:lnTo>
                    <a:pt x="750" y="660"/>
                  </a:lnTo>
                  <a:lnTo>
                    <a:pt x="750" y="666"/>
                  </a:lnTo>
                  <a:lnTo>
                    <a:pt x="750" y="678"/>
                  </a:lnTo>
                  <a:lnTo>
                    <a:pt x="744" y="678"/>
                  </a:lnTo>
                  <a:lnTo>
                    <a:pt x="738" y="684"/>
                  </a:lnTo>
                  <a:lnTo>
                    <a:pt x="732" y="684"/>
                  </a:lnTo>
                  <a:lnTo>
                    <a:pt x="720" y="678"/>
                  </a:lnTo>
                  <a:lnTo>
                    <a:pt x="714" y="684"/>
                  </a:lnTo>
                  <a:lnTo>
                    <a:pt x="708" y="684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0" y="690"/>
                  </a:lnTo>
                  <a:lnTo>
                    <a:pt x="690" y="684"/>
                  </a:lnTo>
                  <a:lnTo>
                    <a:pt x="690" y="690"/>
                  </a:lnTo>
                  <a:lnTo>
                    <a:pt x="684" y="690"/>
                  </a:lnTo>
                  <a:lnTo>
                    <a:pt x="684" y="684"/>
                  </a:lnTo>
                  <a:lnTo>
                    <a:pt x="678" y="684"/>
                  </a:lnTo>
                  <a:lnTo>
                    <a:pt x="672" y="678"/>
                  </a:lnTo>
                  <a:lnTo>
                    <a:pt x="672" y="672"/>
                  </a:lnTo>
                  <a:lnTo>
                    <a:pt x="678" y="672"/>
                  </a:lnTo>
                  <a:lnTo>
                    <a:pt x="672" y="672"/>
                  </a:lnTo>
                  <a:lnTo>
                    <a:pt x="666" y="672"/>
                  </a:lnTo>
                  <a:lnTo>
                    <a:pt x="660" y="672"/>
                  </a:lnTo>
                  <a:lnTo>
                    <a:pt x="654" y="672"/>
                  </a:lnTo>
                  <a:lnTo>
                    <a:pt x="654" y="666"/>
                  </a:lnTo>
                  <a:lnTo>
                    <a:pt x="648" y="666"/>
                  </a:lnTo>
                  <a:lnTo>
                    <a:pt x="642" y="660"/>
                  </a:lnTo>
                  <a:lnTo>
                    <a:pt x="642" y="654"/>
                  </a:lnTo>
                  <a:lnTo>
                    <a:pt x="642" y="648"/>
                  </a:lnTo>
                  <a:lnTo>
                    <a:pt x="636" y="648"/>
                  </a:lnTo>
                  <a:lnTo>
                    <a:pt x="630" y="648"/>
                  </a:lnTo>
                  <a:lnTo>
                    <a:pt x="624" y="648"/>
                  </a:lnTo>
                  <a:lnTo>
                    <a:pt x="624" y="642"/>
                  </a:lnTo>
                  <a:lnTo>
                    <a:pt x="618" y="636"/>
                  </a:lnTo>
                  <a:lnTo>
                    <a:pt x="624" y="636"/>
                  </a:lnTo>
                  <a:lnTo>
                    <a:pt x="624" y="630"/>
                  </a:lnTo>
                  <a:lnTo>
                    <a:pt x="618" y="630"/>
                  </a:lnTo>
                  <a:lnTo>
                    <a:pt x="618" y="624"/>
                  </a:lnTo>
                  <a:lnTo>
                    <a:pt x="618" y="618"/>
                  </a:lnTo>
                  <a:lnTo>
                    <a:pt x="618" y="612"/>
                  </a:lnTo>
                  <a:lnTo>
                    <a:pt x="618" y="606"/>
                  </a:lnTo>
                  <a:lnTo>
                    <a:pt x="624" y="606"/>
                  </a:lnTo>
                  <a:lnTo>
                    <a:pt x="624" y="600"/>
                  </a:lnTo>
                  <a:lnTo>
                    <a:pt x="618" y="600"/>
                  </a:lnTo>
                  <a:lnTo>
                    <a:pt x="618" y="594"/>
                  </a:lnTo>
                  <a:lnTo>
                    <a:pt x="618" y="588"/>
                  </a:lnTo>
                  <a:lnTo>
                    <a:pt x="618" y="582"/>
                  </a:lnTo>
                  <a:lnTo>
                    <a:pt x="612" y="582"/>
                  </a:lnTo>
                  <a:lnTo>
                    <a:pt x="606" y="582"/>
                  </a:lnTo>
                  <a:lnTo>
                    <a:pt x="612" y="582"/>
                  </a:lnTo>
                  <a:lnTo>
                    <a:pt x="612" y="588"/>
                  </a:lnTo>
                  <a:lnTo>
                    <a:pt x="612" y="594"/>
                  </a:lnTo>
                  <a:lnTo>
                    <a:pt x="618" y="594"/>
                  </a:lnTo>
                  <a:lnTo>
                    <a:pt x="618" y="600"/>
                  </a:lnTo>
                  <a:lnTo>
                    <a:pt x="618" y="606"/>
                  </a:lnTo>
                  <a:lnTo>
                    <a:pt x="618" y="612"/>
                  </a:lnTo>
                  <a:lnTo>
                    <a:pt x="612" y="612"/>
                  </a:lnTo>
                  <a:lnTo>
                    <a:pt x="612" y="618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94" y="612"/>
                  </a:lnTo>
                  <a:lnTo>
                    <a:pt x="588" y="606"/>
                  </a:lnTo>
                  <a:lnTo>
                    <a:pt x="588" y="612"/>
                  </a:lnTo>
                  <a:lnTo>
                    <a:pt x="594" y="612"/>
                  </a:lnTo>
                  <a:lnTo>
                    <a:pt x="594" y="618"/>
                  </a:lnTo>
                  <a:lnTo>
                    <a:pt x="588" y="618"/>
                  </a:lnTo>
                  <a:lnTo>
                    <a:pt x="588" y="624"/>
                  </a:lnTo>
                  <a:lnTo>
                    <a:pt x="582" y="624"/>
                  </a:lnTo>
                  <a:lnTo>
                    <a:pt x="582" y="630"/>
                  </a:lnTo>
                  <a:lnTo>
                    <a:pt x="576" y="630"/>
                  </a:lnTo>
                  <a:lnTo>
                    <a:pt x="576" y="636"/>
                  </a:lnTo>
                  <a:lnTo>
                    <a:pt x="570" y="636"/>
                  </a:lnTo>
                  <a:lnTo>
                    <a:pt x="570" y="642"/>
                  </a:lnTo>
                  <a:lnTo>
                    <a:pt x="564" y="642"/>
                  </a:lnTo>
                  <a:lnTo>
                    <a:pt x="564" y="636"/>
                  </a:lnTo>
                  <a:lnTo>
                    <a:pt x="564" y="630"/>
                  </a:lnTo>
                  <a:lnTo>
                    <a:pt x="564" y="624"/>
                  </a:lnTo>
                  <a:lnTo>
                    <a:pt x="564" y="618"/>
                  </a:lnTo>
                  <a:lnTo>
                    <a:pt x="570" y="612"/>
                  </a:lnTo>
                  <a:lnTo>
                    <a:pt x="564" y="606"/>
                  </a:lnTo>
                  <a:lnTo>
                    <a:pt x="564" y="600"/>
                  </a:lnTo>
                  <a:lnTo>
                    <a:pt x="564" y="594"/>
                  </a:lnTo>
                  <a:lnTo>
                    <a:pt x="558" y="594"/>
                  </a:lnTo>
                  <a:lnTo>
                    <a:pt x="558" y="588"/>
                  </a:lnTo>
                  <a:lnTo>
                    <a:pt x="552" y="582"/>
                  </a:lnTo>
                  <a:lnTo>
                    <a:pt x="552" y="576"/>
                  </a:lnTo>
                  <a:lnTo>
                    <a:pt x="552" y="570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6" y="582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58" y="588"/>
                  </a:lnTo>
                  <a:lnTo>
                    <a:pt x="558" y="594"/>
                  </a:lnTo>
                  <a:lnTo>
                    <a:pt x="558" y="600"/>
                  </a:lnTo>
                  <a:lnTo>
                    <a:pt x="558" y="606"/>
                  </a:lnTo>
                  <a:lnTo>
                    <a:pt x="552" y="612"/>
                  </a:lnTo>
                  <a:lnTo>
                    <a:pt x="558" y="612"/>
                  </a:lnTo>
                  <a:lnTo>
                    <a:pt x="558" y="618"/>
                  </a:lnTo>
                  <a:lnTo>
                    <a:pt x="558" y="624"/>
                  </a:lnTo>
                  <a:lnTo>
                    <a:pt x="558" y="630"/>
                  </a:lnTo>
                  <a:lnTo>
                    <a:pt x="552" y="630"/>
                  </a:lnTo>
                  <a:lnTo>
                    <a:pt x="552" y="624"/>
                  </a:lnTo>
                  <a:lnTo>
                    <a:pt x="546" y="624"/>
                  </a:lnTo>
                  <a:lnTo>
                    <a:pt x="546" y="618"/>
                  </a:lnTo>
                  <a:lnTo>
                    <a:pt x="546" y="612"/>
                  </a:lnTo>
                  <a:lnTo>
                    <a:pt x="540" y="612"/>
                  </a:lnTo>
                  <a:lnTo>
                    <a:pt x="534" y="612"/>
                  </a:lnTo>
                  <a:lnTo>
                    <a:pt x="528" y="612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28" y="618"/>
                  </a:lnTo>
                  <a:lnTo>
                    <a:pt x="534" y="618"/>
                  </a:lnTo>
                  <a:lnTo>
                    <a:pt x="540" y="618"/>
                  </a:lnTo>
                  <a:lnTo>
                    <a:pt x="540" y="624"/>
                  </a:lnTo>
                  <a:lnTo>
                    <a:pt x="546" y="624"/>
                  </a:lnTo>
                  <a:lnTo>
                    <a:pt x="546" y="630"/>
                  </a:lnTo>
                  <a:lnTo>
                    <a:pt x="552" y="630"/>
                  </a:lnTo>
                  <a:lnTo>
                    <a:pt x="552" y="636"/>
                  </a:lnTo>
                  <a:lnTo>
                    <a:pt x="546" y="642"/>
                  </a:lnTo>
                  <a:lnTo>
                    <a:pt x="546" y="648"/>
                  </a:lnTo>
                  <a:lnTo>
                    <a:pt x="540" y="648"/>
                  </a:lnTo>
                  <a:lnTo>
                    <a:pt x="540" y="654"/>
                  </a:lnTo>
                  <a:lnTo>
                    <a:pt x="540" y="660"/>
                  </a:lnTo>
                  <a:lnTo>
                    <a:pt x="534" y="666"/>
                  </a:lnTo>
                  <a:lnTo>
                    <a:pt x="534" y="672"/>
                  </a:lnTo>
                  <a:lnTo>
                    <a:pt x="534" y="678"/>
                  </a:lnTo>
                  <a:lnTo>
                    <a:pt x="534" y="684"/>
                  </a:lnTo>
                  <a:lnTo>
                    <a:pt x="534" y="678"/>
                  </a:lnTo>
                  <a:lnTo>
                    <a:pt x="528" y="678"/>
                  </a:lnTo>
                  <a:lnTo>
                    <a:pt x="528" y="684"/>
                  </a:lnTo>
                  <a:lnTo>
                    <a:pt x="522" y="690"/>
                  </a:lnTo>
                  <a:lnTo>
                    <a:pt x="528" y="690"/>
                  </a:lnTo>
                  <a:lnTo>
                    <a:pt x="528" y="684"/>
                  </a:lnTo>
                  <a:lnTo>
                    <a:pt x="534" y="684"/>
                  </a:lnTo>
                  <a:lnTo>
                    <a:pt x="534" y="690"/>
                  </a:lnTo>
                  <a:lnTo>
                    <a:pt x="534" y="696"/>
                  </a:lnTo>
                  <a:lnTo>
                    <a:pt x="540" y="696"/>
                  </a:lnTo>
                  <a:lnTo>
                    <a:pt x="540" y="702"/>
                  </a:lnTo>
                  <a:lnTo>
                    <a:pt x="540" y="708"/>
                  </a:lnTo>
                  <a:lnTo>
                    <a:pt x="534" y="708"/>
                  </a:lnTo>
                  <a:lnTo>
                    <a:pt x="528" y="708"/>
                  </a:lnTo>
                  <a:lnTo>
                    <a:pt x="522" y="708"/>
                  </a:lnTo>
                  <a:lnTo>
                    <a:pt x="516" y="708"/>
                  </a:lnTo>
                  <a:lnTo>
                    <a:pt x="510" y="708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2" y="708"/>
                  </a:lnTo>
                  <a:lnTo>
                    <a:pt x="486" y="714"/>
                  </a:lnTo>
                  <a:lnTo>
                    <a:pt x="480" y="708"/>
                  </a:lnTo>
                  <a:lnTo>
                    <a:pt x="474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68" y="714"/>
                  </a:lnTo>
                  <a:lnTo>
                    <a:pt x="456" y="714"/>
                  </a:lnTo>
                  <a:lnTo>
                    <a:pt x="450" y="714"/>
                  </a:lnTo>
                  <a:lnTo>
                    <a:pt x="450" y="708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50" y="690"/>
                  </a:lnTo>
                  <a:lnTo>
                    <a:pt x="450" y="684"/>
                  </a:lnTo>
                  <a:lnTo>
                    <a:pt x="450" y="678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56" y="660"/>
                  </a:lnTo>
                  <a:lnTo>
                    <a:pt x="462" y="660"/>
                  </a:lnTo>
                  <a:lnTo>
                    <a:pt x="462" y="654"/>
                  </a:lnTo>
                  <a:lnTo>
                    <a:pt x="456" y="654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48"/>
                  </a:lnTo>
                  <a:lnTo>
                    <a:pt x="444" y="648"/>
                  </a:lnTo>
                  <a:lnTo>
                    <a:pt x="444" y="642"/>
                  </a:lnTo>
                  <a:lnTo>
                    <a:pt x="444" y="636"/>
                  </a:lnTo>
                  <a:lnTo>
                    <a:pt x="450" y="636"/>
                  </a:lnTo>
                  <a:lnTo>
                    <a:pt x="450" y="630"/>
                  </a:lnTo>
                  <a:lnTo>
                    <a:pt x="456" y="630"/>
                  </a:lnTo>
                  <a:lnTo>
                    <a:pt x="462" y="630"/>
                  </a:lnTo>
                  <a:lnTo>
                    <a:pt x="462" y="624"/>
                  </a:lnTo>
                  <a:lnTo>
                    <a:pt x="468" y="624"/>
                  </a:lnTo>
                  <a:lnTo>
                    <a:pt x="474" y="624"/>
                  </a:lnTo>
                  <a:lnTo>
                    <a:pt x="474" y="618"/>
                  </a:lnTo>
                  <a:lnTo>
                    <a:pt x="480" y="618"/>
                  </a:lnTo>
                  <a:lnTo>
                    <a:pt x="486" y="618"/>
                  </a:lnTo>
                  <a:lnTo>
                    <a:pt x="486" y="624"/>
                  </a:lnTo>
                  <a:lnTo>
                    <a:pt x="486" y="636"/>
                  </a:lnTo>
                  <a:lnTo>
                    <a:pt x="486" y="642"/>
                  </a:lnTo>
                  <a:lnTo>
                    <a:pt x="486" y="648"/>
                  </a:lnTo>
                  <a:lnTo>
                    <a:pt x="492" y="648"/>
                  </a:lnTo>
                  <a:lnTo>
                    <a:pt x="492" y="642"/>
                  </a:lnTo>
                  <a:lnTo>
                    <a:pt x="498" y="636"/>
                  </a:lnTo>
                  <a:lnTo>
                    <a:pt x="492" y="636"/>
                  </a:lnTo>
                  <a:lnTo>
                    <a:pt x="492" y="630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6" y="618"/>
                  </a:lnTo>
                  <a:lnTo>
                    <a:pt x="486" y="612"/>
                  </a:lnTo>
                  <a:lnTo>
                    <a:pt x="486" y="606"/>
                  </a:lnTo>
                  <a:lnTo>
                    <a:pt x="480" y="606"/>
                  </a:lnTo>
                  <a:lnTo>
                    <a:pt x="480" y="612"/>
                  </a:lnTo>
                  <a:lnTo>
                    <a:pt x="474" y="618"/>
                  </a:lnTo>
                  <a:lnTo>
                    <a:pt x="468" y="618"/>
                  </a:lnTo>
                  <a:lnTo>
                    <a:pt x="462" y="618"/>
                  </a:lnTo>
                  <a:lnTo>
                    <a:pt x="462" y="612"/>
                  </a:lnTo>
                  <a:lnTo>
                    <a:pt x="456" y="612"/>
                  </a:lnTo>
                  <a:lnTo>
                    <a:pt x="456" y="618"/>
                  </a:lnTo>
                  <a:lnTo>
                    <a:pt x="462" y="618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30"/>
                  </a:lnTo>
                  <a:lnTo>
                    <a:pt x="444" y="630"/>
                  </a:lnTo>
                  <a:lnTo>
                    <a:pt x="444" y="636"/>
                  </a:lnTo>
                  <a:lnTo>
                    <a:pt x="444" y="642"/>
                  </a:lnTo>
                  <a:lnTo>
                    <a:pt x="444" y="654"/>
                  </a:lnTo>
                  <a:lnTo>
                    <a:pt x="444" y="660"/>
                  </a:lnTo>
                  <a:lnTo>
                    <a:pt x="438" y="660"/>
                  </a:lnTo>
                  <a:lnTo>
                    <a:pt x="432" y="660"/>
                  </a:lnTo>
                  <a:lnTo>
                    <a:pt x="432" y="654"/>
                  </a:lnTo>
                  <a:lnTo>
                    <a:pt x="438" y="654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48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26" y="660"/>
                  </a:lnTo>
                  <a:lnTo>
                    <a:pt x="432" y="666"/>
                  </a:lnTo>
                  <a:lnTo>
                    <a:pt x="432" y="672"/>
                  </a:lnTo>
                  <a:lnTo>
                    <a:pt x="438" y="672"/>
                  </a:lnTo>
                  <a:lnTo>
                    <a:pt x="438" y="678"/>
                  </a:lnTo>
                  <a:lnTo>
                    <a:pt x="444" y="678"/>
                  </a:lnTo>
                  <a:lnTo>
                    <a:pt x="444" y="684"/>
                  </a:lnTo>
                  <a:lnTo>
                    <a:pt x="438" y="690"/>
                  </a:lnTo>
                  <a:lnTo>
                    <a:pt x="438" y="696"/>
                  </a:lnTo>
                  <a:lnTo>
                    <a:pt x="438" y="702"/>
                  </a:lnTo>
                  <a:lnTo>
                    <a:pt x="432" y="702"/>
                  </a:lnTo>
                  <a:lnTo>
                    <a:pt x="426" y="702"/>
                  </a:lnTo>
                  <a:lnTo>
                    <a:pt x="426" y="696"/>
                  </a:lnTo>
                  <a:lnTo>
                    <a:pt x="414" y="696"/>
                  </a:lnTo>
                  <a:lnTo>
                    <a:pt x="402" y="696"/>
                  </a:lnTo>
                  <a:lnTo>
                    <a:pt x="402" y="690"/>
                  </a:lnTo>
                  <a:lnTo>
                    <a:pt x="396" y="690"/>
                  </a:lnTo>
                  <a:lnTo>
                    <a:pt x="390" y="690"/>
                  </a:lnTo>
                  <a:lnTo>
                    <a:pt x="384" y="690"/>
                  </a:lnTo>
                  <a:lnTo>
                    <a:pt x="384" y="684"/>
                  </a:lnTo>
                  <a:lnTo>
                    <a:pt x="384" y="678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390" y="660"/>
                  </a:lnTo>
                  <a:lnTo>
                    <a:pt x="390" y="654"/>
                  </a:lnTo>
                  <a:lnTo>
                    <a:pt x="384" y="648"/>
                  </a:lnTo>
                  <a:lnTo>
                    <a:pt x="384" y="642"/>
                  </a:lnTo>
                  <a:lnTo>
                    <a:pt x="378" y="636"/>
                  </a:lnTo>
                  <a:lnTo>
                    <a:pt x="378" y="642"/>
                  </a:lnTo>
                  <a:lnTo>
                    <a:pt x="378" y="648"/>
                  </a:lnTo>
                  <a:lnTo>
                    <a:pt x="372" y="648"/>
                  </a:lnTo>
                  <a:lnTo>
                    <a:pt x="378" y="654"/>
                  </a:lnTo>
                  <a:lnTo>
                    <a:pt x="378" y="660"/>
                  </a:lnTo>
                  <a:lnTo>
                    <a:pt x="378" y="666"/>
                  </a:lnTo>
                  <a:lnTo>
                    <a:pt x="372" y="672"/>
                  </a:lnTo>
                  <a:lnTo>
                    <a:pt x="378" y="672"/>
                  </a:lnTo>
                  <a:lnTo>
                    <a:pt x="378" y="678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54" y="666"/>
                  </a:lnTo>
                  <a:lnTo>
                    <a:pt x="354" y="660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0" y="654"/>
                  </a:lnTo>
                  <a:lnTo>
                    <a:pt x="324" y="648"/>
                  </a:lnTo>
                  <a:lnTo>
                    <a:pt x="318" y="648"/>
                  </a:lnTo>
                  <a:lnTo>
                    <a:pt x="318" y="642"/>
                  </a:lnTo>
                  <a:lnTo>
                    <a:pt x="312" y="642"/>
                  </a:lnTo>
                  <a:lnTo>
                    <a:pt x="306" y="636"/>
                  </a:lnTo>
                  <a:lnTo>
                    <a:pt x="300" y="636"/>
                  </a:lnTo>
                  <a:lnTo>
                    <a:pt x="300" y="630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0" y="618"/>
                  </a:lnTo>
                  <a:lnTo>
                    <a:pt x="306" y="612"/>
                  </a:lnTo>
                  <a:lnTo>
                    <a:pt x="300" y="612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294" y="612"/>
                  </a:lnTo>
                  <a:lnTo>
                    <a:pt x="288" y="618"/>
                  </a:lnTo>
                  <a:lnTo>
                    <a:pt x="288" y="612"/>
                  </a:lnTo>
                  <a:lnTo>
                    <a:pt x="288" y="618"/>
                  </a:lnTo>
                  <a:lnTo>
                    <a:pt x="294" y="618"/>
                  </a:lnTo>
                  <a:lnTo>
                    <a:pt x="300" y="624"/>
                  </a:lnTo>
                  <a:lnTo>
                    <a:pt x="294" y="624"/>
                  </a:lnTo>
                  <a:lnTo>
                    <a:pt x="288" y="624"/>
                  </a:lnTo>
                  <a:lnTo>
                    <a:pt x="282" y="61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70" y="600"/>
                  </a:lnTo>
                  <a:lnTo>
                    <a:pt x="270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82" y="588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594"/>
                  </a:lnTo>
                  <a:lnTo>
                    <a:pt x="264" y="600"/>
                  </a:lnTo>
                  <a:lnTo>
                    <a:pt x="264" y="594"/>
                  </a:lnTo>
                  <a:lnTo>
                    <a:pt x="270" y="594"/>
                  </a:lnTo>
                  <a:lnTo>
                    <a:pt x="270" y="588"/>
                  </a:lnTo>
                  <a:lnTo>
                    <a:pt x="264" y="594"/>
                  </a:lnTo>
                  <a:lnTo>
                    <a:pt x="258" y="594"/>
                  </a:lnTo>
                  <a:lnTo>
                    <a:pt x="258" y="588"/>
                  </a:lnTo>
                  <a:lnTo>
                    <a:pt x="252" y="588"/>
                  </a:lnTo>
                  <a:lnTo>
                    <a:pt x="246" y="588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52" y="588"/>
                  </a:lnTo>
                  <a:lnTo>
                    <a:pt x="252" y="594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46" y="594"/>
                  </a:lnTo>
                  <a:lnTo>
                    <a:pt x="246" y="588"/>
                  </a:lnTo>
                  <a:lnTo>
                    <a:pt x="240" y="588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2" y="570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64"/>
                  </a:lnTo>
                  <a:lnTo>
                    <a:pt x="234" y="564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34" y="558"/>
                  </a:lnTo>
                  <a:lnTo>
                    <a:pt x="228" y="558"/>
                  </a:lnTo>
                  <a:lnTo>
                    <a:pt x="222" y="558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2" y="564"/>
                  </a:lnTo>
                  <a:lnTo>
                    <a:pt x="222" y="558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04" y="546"/>
                  </a:lnTo>
                  <a:lnTo>
                    <a:pt x="204" y="540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10" y="540"/>
                  </a:lnTo>
                  <a:lnTo>
                    <a:pt x="210" y="534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8"/>
                  </a:lnTo>
                  <a:lnTo>
                    <a:pt x="174" y="516"/>
                  </a:lnTo>
                  <a:lnTo>
                    <a:pt x="168" y="510"/>
                  </a:lnTo>
                  <a:lnTo>
                    <a:pt x="162" y="504"/>
                  </a:lnTo>
                  <a:lnTo>
                    <a:pt x="156" y="498"/>
                  </a:lnTo>
                  <a:lnTo>
                    <a:pt x="156" y="492"/>
                  </a:lnTo>
                  <a:lnTo>
                    <a:pt x="150" y="486"/>
                  </a:lnTo>
                  <a:lnTo>
                    <a:pt x="144" y="480"/>
                  </a:lnTo>
                  <a:lnTo>
                    <a:pt x="144" y="474"/>
                  </a:lnTo>
                  <a:lnTo>
                    <a:pt x="138" y="474"/>
                  </a:lnTo>
                  <a:lnTo>
                    <a:pt x="138" y="468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26" y="450"/>
                  </a:lnTo>
                  <a:lnTo>
                    <a:pt x="126" y="444"/>
                  </a:lnTo>
                  <a:lnTo>
                    <a:pt x="114" y="438"/>
                  </a:lnTo>
                  <a:lnTo>
                    <a:pt x="114" y="432"/>
                  </a:lnTo>
                  <a:lnTo>
                    <a:pt x="114" y="426"/>
                  </a:lnTo>
                  <a:lnTo>
                    <a:pt x="114" y="432"/>
                  </a:lnTo>
                  <a:lnTo>
                    <a:pt x="120" y="432"/>
                  </a:lnTo>
                  <a:lnTo>
                    <a:pt x="120" y="438"/>
                  </a:lnTo>
                  <a:lnTo>
                    <a:pt x="120" y="444"/>
                  </a:lnTo>
                  <a:lnTo>
                    <a:pt x="126" y="444"/>
                  </a:lnTo>
                  <a:lnTo>
                    <a:pt x="126" y="438"/>
                  </a:lnTo>
                  <a:lnTo>
                    <a:pt x="120" y="438"/>
                  </a:lnTo>
                  <a:lnTo>
                    <a:pt x="126" y="432"/>
                  </a:lnTo>
                  <a:lnTo>
                    <a:pt x="126" y="426"/>
                  </a:lnTo>
                  <a:lnTo>
                    <a:pt x="132" y="420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08" y="414"/>
                  </a:lnTo>
                  <a:lnTo>
                    <a:pt x="102" y="414"/>
                  </a:lnTo>
                  <a:lnTo>
                    <a:pt x="102" y="408"/>
                  </a:lnTo>
                  <a:lnTo>
                    <a:pt x="96" y="402"/>
                  </a:lnTo>
                  <a:lnTo>
                    <a:pt x="96" y="396"/>
                  </a:lnTo>
                  <a:lnTo>
                    <a:pt x="96" y="390"/>
                  </a:lnTo>
                  <a:lnTo>
                    <a:pt x="90" y="390"/>
                  </a:lnTo>
                  <a:lnTo>
                    <a:pt x="90" y="384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78" y="372"/>
                  </a:lnTo>
                  <a:lnTo>
                    <a:pt x="78" y="366"/>
                  </a:lnTo>
                  <a:lnTo>
                    <a:pt x="78" y="360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6" y="348"/>
                  </a:lnTo>
                  <a:lnTo>
                    <a:pt x="66" y="342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6" y="336"/>
                  </a:lnTo>
                  <a:lnTo>
                    <a:pt x="66" y="342"/>
                  </a:lnTo>
                  <a:lnTo>
                    <a:pt x="72" y="348"/>
                  </a:lnTo>
                  <a:lnTo>
                    <a:pt x="78" y="354"/>
                  </a:lnTo>
                  <a:lnTo>
                    <a:pt x="84" y="360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0" y="360"/>
                  </a:lnTo>
                  <a:lnTo>
                    <a:pt x="84" y="360"/>
                  </a:lnTo>
                  <a:lnTo>
                    <a:pt x="84" y="354"/>
                  </a:lnTo>
                  <a:lnTo>
                    <a:pt x="78" y="348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66" y="330"/>
                  </a:lnTo>
                  <a:lnTo>
                    <a:pt x="66" y="324"/>
                  </a:lnTo>
                  <a:lnTo>
                    <a:pt x="60" y="318"/>
                  </a:lnTo>
                  <a:lnTo>
                    <a:pt x="60" y="312"/>
                  </a:lnTo>
                  <a:lnTo>
                    <a:pt x="54" y="306"/>
                  </a:lnTo>
                  <a:lnTo>
                    <a:pt x="54" y="300"/>
                  </a:lnTo>
                  <a:lnTo>
                    <a:pt x="54" y="294"/>
                  </a:lnTo>
                  <a:lnTo>
                    <a:pt x="48" y="288"/>
                  </a:lnTo>
                  <a:lnTo>
                    <a:pt x="48" y="294"/>
                  </a:lnTo>
                  <a:lnTo>
                    <a:pt x="48" y="288"/>
                  </a:lnTo>
                  <a:lnTo>
                    <a:pt x="48" y="282"/>
                  </a:lnTo>
                  <a:lnTo>
                    <a:pt x="48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18" y="216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62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68"/>
                  </a:lnTo>
                  <a:lnTo>
                    <a:pt x="42" y="168"/>
                  </a:lnTo>
                  <a:lnTo>
                    <a:pt x="42" y="174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86"/>
                  </a:lnTo>
                  <a:close/>
                  <a:moveTo>
                    <a:pt x="642" y="660"/>
                  </a:moveTo>
                  <a:lnTo>
                    <a:pt x="642" y="666"/>
                  </a:lnTo>
                  <a:lnTo>
                    <a:pt x="648" y="666"/>
                  </a:lnTo>
                  <a:lnTo>
                    <a:pt x="648" y="672"/>
                  </a:lnTo>
                  <a:lnTo>
                    <a:pt x="648" y="678"/>
                  </a:lnTo>
                  <a:lnTo>
                    <a:pt x="654" y="678"/>
                  </a:lnTo>
                  <a:lnTo>
                    <a:pt x="654" y="684"/>
                  </a:lnTo>
                  <a:lnTo>
                    <a:pt x="660" y="684"/>
                  </a:lnTo>
                  <a:lnTo>
                    <a:pt x="660" y="690"/>
                  </a:lnTo>
                  <a:lnTo>
                    <a:pt x="654" y="690"/>
                  </a:lnTo>
                  <a:lnTo>
                    <a:pt x="648" y="690"/>
                  </a:lnTo>
                  <a:lnTo>
                    <a:pt x="636" y="696"/>
                  </a:lnTo>
                  <a:lnTo>
                    <a:pt x="630" y="696"/>
                  </a:lnTo>
                  <a:lnTo>
                    <a:pt x="624" y="696"/>
                  </a:lnTo>
                  <a:lnTo>
                    <a:pt x="618" y="696"/>
                  </a:lnTo>
                  <a:lnTo>
                    <a:pt x="612" y="696"/>
                  </a:lnTo>
                  <a:lnTo>
                    <a:pt x="594" y="696"/>
                  </a:lnTo>
                  <a:lnTo>
                    <a:pt x="588" y="696"/>
                  </a:lnTo>
                  <a:lnTo>
                    <a:pt x="582" y="696"/>
                  </a:lnTo>
                  <a:lnTo>
                    <a:pt x="570" y="702"/>
                  </a:lnTo>
                  <a:lnTo>
                    <a:pt x="564" y="702"/>
                  </a:lnTo>
                  <a:lnTo>
                    <a:pt x="558" y="702"/>
                  </a:lnTo>
                  <a:lnTo>
                    <a:pt x="552" y="702"/>
                  </a:lnTo>
                  <a:lnTo>
                    <a:pt x="552" y="696"/>
                  </a:lnTo>
                  <a:lnTo>
                    <a:pt x="546" y="696"/>
                  </a:lnTo>
                  <a:lnTo>
                    <a:pt x="546" y="690"/>
                  </a:lnTo>
                  <a:lnTo>
                    <a:pt x="552" y="684"/>
                  </a:lnTo>
                  <a:lnTo>
                    <a:pt x="552" y="678"/>
                  </a:lnTo>
                  <a:lnTo>
                    <a:pt x="558" y="672"/>
                  </a:lnTo>
                  <a:lnTo>
                    <a:pt x="558" y="666"/>
                  </a:lnTo>
                  <a:lnTo>
                    <a:pt x="564" y="666"/>
                  </a:lnTo>
                  <a:lnTo>
                    <a:pt x="570" y="666"/>
                  </a:lnTo>
                  <a:lnTo>
                    <a:pt x="570" y="654"/>
                  </a:lnTo>
                  <a:lnTo>
                    <a:pt x="570" y="648"/>
                  </a:lnTo>
                  <a:lnTo>
                    <a:pt x="582" y="642"/>
                  </a:lnTo>
                  <a:lnTo>
                    <a:pt x="582" y="636"/>
                  </a:lnTo>
                  <a:lnTo>
                    <a:pt x="588" y="636"/>
                  </a:lnTo>
                  <a:lnTo>
                    <a:pt x="588" y="630"/>
                  </a:lnTo>
                  <a:lnTo>
                    <a:pt x="594" y="624"/>
                  </a:lnTo>
                  <a:lnTo>
                    <a:pt x="594" y="618"/>
                  </a:lnTo>
                  <a:lnTo>
                    <a:pt x="600" y="618"/>
                  </a:lnTo>
                  <a:lnTo>
                    <a:pt x="600" y="612"/>
                  </a:lnTo>
                  <a:lnTo>
                    <a:pt x="606" y="612"/>
                  </a:lnTo>
                  <a:lnTo>
                    <a:pt x="606" y="618"/>
                  </a:lnTo>
                  <a:lnTo>
                    <a:pt x="612" y="618"/>
                  </a:lnTo>
                  <a:lnTo>
                    <a:pt x="618" y="618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18" y="636"/>
                  </a:lnTo>
                  <a:lnTo>
                    <a:pt x="618" y="642"/>
                  </a:lnTo>
                  <a:lnTo>
                    <a:pt x="618" y="648"/>
                  </a:lnTo>
                  <a:lnTo>
                    <a:pt x="624" y="648"/>
                  </a:lnTo>
                  <a:lnTo>
                    <a:pt x="630" y="648"/>
                  </a:lnTo>
                  <a:lnTo>
                    <a:pt x="636" y="654"/>
                  </a:lnTo>
                  <a:lnTo>
                    <a:pt x="642" y="654"/>
                  </a:lnTo>
                  <a:lnTo>
                    <a:pt x="642" y="66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0" name="Freeform 5">
              <a:extLst>
                <a:ext uri="{FF2B5EF4-FFF2-40B4-BE49-F238E27FC236}">
                  <a16:creationId xmlns:a16="http://schemas.microsoft.com/office/drawing/2014/main" id="{5577BDCA-F2C7-42E0-A391-018D79AA29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0384" y="4231013"/>
              <a:ext cx="404750" cy="480848"/>
            </a:xfrm>
            <a:custGeom>
              <a:avLst/>
              <a:gdLst>
                <a:gd name="T0" fmla="*/ 9 w 762"/>
                <a:gd name="T1" fmla="*/ 58 h 900"/>
                <a:gd name="T2" fmla="*/ 4 w 762"/>
                <a:gd name="T3" fmla="*/ 56 h 900"/>
                <a:gd name="T4" fmla="*/ 0 w 762"/>
                <a:gd name="T5" fmla="*/ 49 h 900"/>
                <a:gd name="T6" fmla="*/ 4 w 762"/>
                <a:gd name="T7" fmla="*/ 36 h 900"/>
                <a:gd name="T8" fmla="*/ 8 w 762"/>
                <a:gd name="T9" fmla="*/ 28 h 900"/>
                <a:gd name="T10" fmla="*/ 7 w 762"/>
                <a:gd name="T11" fmla="*/ 13 h 900"/>
                <a:gd name="T12" fmla="*/ 15 w 762"/>
                <a:gd name="T13" fmla="*/ 0 h 900"/>
                <a:gd name="T14" fmla="*/ 16 w 762"/>
                <a:gd name="T15" fmla="*/ 13 h 900"/>
                <a:gd name="T16" fmla="*/ 31 w 762"/>
                <a:gd name="T17" fmla="*/ 28 h 900"/>
                <a:gd name="T18" fmla="*/ 49 w 762"/>
                <a:gd name="T19" fmla="*/ 33 h 900"/>
                <a:gd name="T20" fmla="*/ 42 w 762"/>
                <a:gd name="T21" fmla="*/ 48 h 900"/>
                <a:gd name="T22" fmla="*/ 51 w 762"/>
                <a:gd name="T23" fmla="*/ 48 h 900"/>
                <a:gd name="T24" fmla="*/ 61 w 762"/>
                <a:gd name="T25" fmla="*/ 51 h 900"/>
                <a:gd name="T26" fmla="*/ 63 w 762"/>
                <a:gd name="T27" fmla="*/ 60 h 900"/>
                <a:gd name="T28" fmla="*/ 63 w 762"/>
                <a:gd name="T29" fmla="*/ 66 h 900"/>
                <a:gd name="T30" fmla="*/ 65 w 762"/>
                <a:gd name="T31" fmla="*/ 69 h 900"/>
                <a:gd name="T32" fmla="*/ 66 w 762"/>
                <a:gd name="T33" fmla="*/ 72 h 900"/>
                <a:gd name="T34" fmla="*/ 56 w 762"/>
                <a:gd name="T35" fmla="*/ 73 h 900"/>
                <a:gd name="T36" fmla="*/ 55 w 762"/>
                <a:gd name="T37" fmla="*/ 69 h 900"/>
                <a:gd name="T38" fmla="*/ 57 w 762"/>
                <a:gd name="T39" fmla="*/ 67 h 900"/>
                <a:gd name="T40" fmla="*/ 55 w 762"/>
                <a:gd name="T41" fmla="*/ 65 h 900"/>
                <a:gd name="T42" fmla="*/ 53 w 762"/>
                <a:gd name="T43" fmla="*/ 68 h 900"/>
                <a:gd name="T44" fmla="*/ 49 w 762"/>
                <a:gd name="T45" fmla="*/ 68 h 900"/>
                <a:gd name="T46" fmla="*/ 44 w 762"/>
                <a:gd name="T47" fmla="*/ 63 h 900"/>
                <a:gd name="T48" fmla="*/ 40 w 762"/>
                <a:gd name="T49" fmla="*/ 59 h 900"/>
                <a:gd name="T50" fmla="*/ 38 w 762"/>
                <a:gd name="T51" fmla="*/ 57 h 900"/>
                <a:gd name="T52" fmla="*/ 43 w 762"/>
                <a:gd name="T53" fmla="*/ 62 h 900"/>
                <a:gd name="T54" fmla="*/ 43 w 762"/>
                <a:gd name="T55" fmla="*/ 66 h 900"/>
                <a:gd name="T56" fmla="*/ 41 w 762"/>
                <a:gd name="T57" fmla="*/ 71 h 900"/>
                <a:gd name="T58" fmla="*/ 37 w 762"/>
                <a:gd name="T59" fmla="*/ 69 h 900"/>
                <a:gd name="T60" fmla="*/ 35 w 762"/>
                <a:gd name="T61" fmla="*/ 64 h 900"/>
                <a:gd name="T62" fmla="*/ 31 w 762"/>
                <a:gd name="T63" fmla="*/ 57 h 900"/>
                <a:gd name="T64" fmla="*/ 30 w 762"/>
                <a:gd name="T65" fmla="*/ 62 h 900"/>
                <a:gd name="T66" fmla="*/ 29 w 762"/>
                <a:gd name="T67" fmla="*/ 61 h 900"/>
                <a:gd name="T68" fmla="*/ 31 w 762"/>
                <a:gd name="T69" fmla="*/ 66 h 900"/>
                <a:gd name="T70" fmla="*/ 33 w 762"/>
                <a:gd name="T71" fmla="*/ 72 h 900"/>
                <a:gd name="T72" fmla="*/ 32 w 762"/>
                <a:gd name="T73" fmla="*/ 76 h 900"/>
                <a:gd name="T74" fmla="*/ 28 w 762"/>
                <a:gd name="T75" fmla="*/ 75 h 900"/>
                <a:gd name="T76" fmla="*/ 24 w 762"/>
                <a:gd name="T77" fmla="*/ 69 h 900"/>
                <a:gd name="T78" fmla="*/ 24 w 762"/>
                <a:gd name="T79" fmla="*/ 62 h 900"/>
                <a:gd name="T80" fmla="*/ 23 w 762"/>
                <a:gd name="T81" fmla="*/ 62 h 900"/>
                <a:gd name="T82" fmla="*/ 23 w 762"/>
                <a:gd name="T83" fmla="*/ 68 h 900"/>
                <a:gd name="T84" fmla="*/ 25 w 762"/>
                <a:gd name="T85" fmla="*/ 77 h 900"/>
                <a:gd name="T86" fmla="*/ 17 w 762"/>
                <a:gd name="T87" fmla="*/ 74 h 900"/>
                <a:gd name="T88" fmla="*/ 17 w 762"/>
                <a:gd name="T89" fmla="*/ 67 h 900"/>
                <a:gd name="T90" fmla="*/ 16 w 762"/>
                <a:gd name="T91" fmla="*/ 67 h 900"/>
                <a:gd name="T92" fmla="*/ 15 w 762"/>
                <a:gd name="T93" fmla="*/ 71 h 900"/>
                <a:gd name="T94" fmla="*/ 12 w 762"/>
                <a:gd name="T95" fmla="*/ 68 h 900"/>
                <a:gd name="T96" fmla="*/ 15 w 762"/>
                <a:gd name="T97" fmla="*/ 72 h 900"/>
                <a:gd name="T98" fmla="*/ 17 w 762"/>
                <a:gd name="T99" fmla="*/ 77 h 900"/>
                <a:gd name="T100" fmla="*/ 11 w 762"/>
                <a:gd name="T101" fmla="*/ 77 h 900"/>
                <a:gd name="T102" fmla="*/ 10 w 762"/>
                <a:gd name="T103" fmla="*/ 69 h 900"/>
                <a:gd name="T104" fmla="*/ 11 w 762"/>
                <a:gd name="T105" fmla="*/ 72 h 900"/>
                <a:gd name="T106" fmla="*/ 9 w 762"/>
                <a:gd name="T107" fmla="*/ 78 h 900"/>
                <a:gd name="T108" fmla="*/ 43 w 762"/>
                <a:gd name="T109" fmla="*/ 71 h 900"/>
                <a:gd name="T110" fmla="*/ 51 w 762"/>
                <a:gd name="T111" fmla="*/ 69 h 900"/>
                <a:gd name="T112" fmla="*/ 43 w 762"/>
                <a:gd name="T113" fmla="*/ 76 h 900"/>
                <a:gd name="T114" fmla="*/ 36 w 762"/>
                <a:gd name="T115" fmla="*/ 65 h 900"/>
                <a:gd name="T116" fmla="*/ 38 w 762"/>
                <a:gd name="T117" fmla="*/ 72 h 900"/>
                <a:gd name="T118" fmla="*/ 34 w 762"/>
                <a:gd name="T119" fmla="*/ 69 h 900"/>
                <a:gd name="T120" fmla="*/ 29 w 762"/>
                <a:gd name="T121" fmla="*/ 64 h 900"/>
                <a:gd name="T122" fmla="*/ 32 w 762"/>
                <a:gd name="T123" fmla="*/ 66 h 9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900"/>
                <a:gd name="T188" fmla="*/ 762 w 762"/>
                <a:gd name="T189" fmla="*/ 900 h 90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900">
                  <a:moveTo>
                    <a:pt x="90" y="768"/>
                  </a:moveTo>
                  <a:lnTo>
                    <a:pt x="102" y="756"/>
                  </a:lnTo>
                  <a:lnTo>
                    <a:pt x="102" y="750"/>
                  </a:lnTo>
                  <a:lnTo>
                    <a:pt x="90" y="744"/>
                  </a:lnTo>
                  <a:lnTo>
                    <a:pt x="84" y="738"/>
                  </a:lnTo>
                  <a:lnTo>
                    <a:pt x="90" y="726"/>
                  </a:lnTo>
                  <a:lnTo>
                    <a:pt x="84" y="720"/>
                  </a:lnTo>
                  <a:lnTo>
                    <a:pt x="78" y="720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72" y="702"/>
                  </a:lnTo>
                  <a:lnTo>
                    <a:pt x="72" y="696"/>
                  </a:lnTo>
                  <a:lnTo>
                    <a:pt x="84" y="684"/>
                  </a:lnTo>
                  <a:lnTo>
                    <a:pt x="96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102" y="654"/>
                  </a:lnTo>
                  <a:lnTo>
                    <a:pt x="108" y="654"/>
                  </a:lnTo>
                  <a:lnTo>
                    <a:pt x="114" y="648"/>
                  </a:lnTo>
                  <a:lnTo>
                    <a:pt x="120" y="642"/>
                  </a:lnTo>
                  <a:lnTo>
                    <a:pt x="120" y="636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14" y="618"/>
                  </a:lnTo>
                  <a:lnTo>
                    <a:pt x="102" y="618"/>
                  </a:lnTo>
                  <a:lnTo>
                    <a:pt x="90" y="618"/>
                  </a:lnTo>
                  <a:lnTo>
                    <a:pt x="78" y="624"/>
                  </a:lnTo>
                  <a:lnTo>
                    <a:pt x="72" y="630"/>
                  </a:lnTo>
                  <a:lnTo>
                    <a:pt x="54" y="642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42" y="642"/>
                  </a:lnTo>
                  <a:lnTo>
                    <a:pt x="42" y="636"/>
                  </a:lnTo>
                  <a:lnTo>
                    <a:pt x="36" y="636"/>
                  </a:lnTo>
                  <a:lnTo>
                    <a:pt x="30" y="642"/>
                  </a:lnTo>
                  <a:lnTo>
                    <a:pt x="30" y="636"/>
                  </a:lnTo>
                  <a:lnTo>
                    <a:pt x="30" y="630"/>
                  </a:lnTo>
                  <a:lnTo>
                    <a:pt x="24" y="630"/>
                  </a:lnTo>
                  <a:lnTo>
                    <a:pt x="30" y="624"/>
                  </a:lnTo>
                  <a:lnTo>
                    <a:pt x="30" y="618"/>
                  </a:lnTo>
                  <a:lnTo>
                    <a:pt x="30" y="612"/>
                  </a:lnTo>
                  <a:lnTo>
                    <a:pt x="36" y="612"/>
                  </a:lnTo>
                  <a:lnTo>
                    <a:pt x="36" y="606"/>
                  </a:lnTo>
                  <a:lnTo>
                    <a:pt x="30" y="606"/>
                  </a:lnTo>
                  <a:lnTo>
                    <a:pt x="24" y="612"/>
                  </a:lnTo>
                  <a:lnTo>
                    <a:pt x="18" y="606"/>
                  </a:lnTo>
                  <a:lnTo>
                    <a:pt x="12" y="594"/>
                  </a:lnTo>
                  <a:lnTo>
                    <a:pt x="6" y="582"/>
                  </a:lnTo>
                  <a:lnTo>
                    <a:pt x="6" y="570"/>
                  </a:lnTo>
                  <a:lnTo>
                    <a:pt x="0" y="558"/>
                  </a:lnTo>
                  <a:lnTo>
                    <a:pt x="6" y="552"/>
                  </a:lnTo>
                  <a:lnTo>
                    <a:pt x="6" y="534"/>
                  </a:lnTo>
                  <a:lnTo>
                    <a:pt x="18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12" y="480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54" y="408"/>
                  </a:lnTo>
                  <a:lnTo>
                    <a:pt x="54" y="396"/>
                  </a:lnTo>
                  <a:lnTo>
                    <a:pt x="54" y="384"/>
                  </a:lnTo>
                  <a:lnTo>
                    <a:pt x="60" y="378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66"/>
                  </a:lnTo>
                  <a:lnTo>
                    <a:pt x="60" y="360"/>
                  </a:lnTo>
                  <a:lnTo>
                    <a:pt x="66" y="360"/>
                  </a:lnTo>
                  <a:lnTo>
                    <a:pt x="72" y="354"/>
                  </a:lnTo>
                  <a:lnTo>
                    <a:pt x="78" y="354"/>
                  </a:lnTo>
                  <a:lnTo>
                    <a:pt x="84" y="348"/>
                  </a:lnTo>
                  <a:lnTo>
                    <a:pt x="96" y="348"/>
                  </a:lnTo>
                  <a:lnTo>
                    <a:pt x="96" y="342"/>
                  </a:lnTo>
                  <a:lnTo>
                    <a:pt x="96" y="336"/>
                  </a:lnTo>
                  <a:lnTo>
                    <a:pt x="96" y="330"/>
                  </a:lnTo>
                  <a:lnTo>
                    <a:pt x="96" y="324"/>
                  </a:lnTo>
                  <a:lnTo>
                    <a:pt x="102" y="318"/>
                  </a:lnTo>
                  <a:lnTo>
                    <a:pt x="108" y="312"/>
                  </a:lnTo>
                  <a:lnTo>
                    <a:pt x="96" y="306"/>
                  </a:lnTo>
                  <a:lnTo>
                    <a:pt x="84" y="288"/>
                  </a:lnTo>
                  <a:lnTo>
                    <a:pt x="108" y="258"/>
                  </a:lnTo>
                  <a:lnTo>
                    <a:pt x="102" y="222"/>
                  </a:lnTo>
                  <a:lnTo>
                    <a:pt x="84" y="222"/>
                  </a:lnTo>
                  <a:lnTo>
                    <a:pt x="54" y="216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2"/>
                  </a:lnTo>
                  <a:lnTo>
                    <a:pt x="72" y="192"/>
                  </a:lnTo>
                  <a:lnTo>
                    <a:pt x="84" y="186"/>
                  </a:lnTo>
                  <a:lnTo>
                    <a:pt x="90" y="186"/>
                  </a:lnTo>
                  <a:lnTo>
                    <a:pt x="90" y="174"/>
                  </a:lnTo>
                  <a:lnTo>
                    <a:pt x="84" y="162"/>
                  </a:lnTo>
                  <a:lnTo>
                    <a:pt x="84" y="150"/>
                  </a:lnTo>
                  <a:lnTo>
                    <a:pt x="84" y="126"/>
                  </a:lnTo>
                  <a:lnTo>
                    <a:pt x="84" y="114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8" y="96"/>
                  </a:lnTo>
                  <a:lnTo>
                    <a:pt x="120" y="90"/>
                  </a:lnTo>
                  <a:lnTo>
                    <a:pt x="126" y="78"/>
                  </a:lnTo>
                  <a:lnTo>
                    <a:pt x="138" y="66"/>
                  </a:lnTo>
                  <a:lnTo>
                    <a:pt x="138" y="48"/>
                  </a:lnTo>
                  <a:lnTo>
                    <a:pt x="138" y="42"/>
                  </a:lnTo>
                  <a:lnTo>
                    <a:pt x="126" y="30"/>
                  </a:lnTo>
                  <a:lnTo>
                    <a:pt x="120" y="18"/>
                  </a:lnTo>
                  <a:lnTo>
                    <a:pt x="132" y="12"/>
                  </a:lnTo>
                  <a:lnTo>
                    <a:pt x="144" y="0"/>
                  </a:lnTo>
                  <a:lnTo>
                    <a:pt x="150" y="6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6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74" y="66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68" y="72"/>
                  </a:lnTo>
                  <a:lnTo>
                    <a:pt x="156" y="150"/>
                  </a:lnTo>
                  <a:lnTo>
                    <a:pt x="168" y="144"/>
                  </a:lnTo>
                  <a:lnTo>
                    <a:pt x="180" y="150"/>
                  </a:lnTo>
                  <a:lnTo>
                    <a:pt x="186" y="150"/>
                  </a:lnTo>
                  <a:lnTo>
                    <a:pt x="186" y="144"/>
                  </a:lnTo>
                  <a:lnTo>
                    <a:pt x="192" y="150"/>
                  </a:lnTo>
                  <a:lnTo>
                    <a:pt x="222" y="150"/>
                  </a:lnTo>
                  <a:lnTo>
                    <a:pt x="222" y="168"/>
                  </a:lnTo>
                  <a:lnTo>
                    <a:pt x="222" y="186"/>
                  </a:lnTo>
                  <a:lnTo>
                    <a:pt x="234" y="198"/>
                  </a:lnTo>
                  <a:lnTo>
                    <a:pt x="234" y="234"/>
                  </a:lnTo>
                  <a:lnTo>
                    <a:pt x="228" y="270"/>
                  </a:lnTo>
                  <a:lnTo>
                    <a:pt x="246" y="282"/>
                  </a:lnTo>
                  <a:lnTo>
                    <a:pt x="258" y="294"/>
                  </a:lnTo>
                  <a:lnTo>
                    <a:pt x="270" y="300"/>
                  </a:lnTo>
                  <a:lnTo>
                    <a:pt x="294" y="300"/>
                  </a:lnTo>
                  <a:lnTo>
                    <a:pt x="288" y="306"/>
                  </a:lnTo>
                  <a:lnTo>
                    <a:pt x="300" y="312"/>
                  </a:lnTo>
                  <a:lnTo>
                    <a:pt x="306" y="318"/>
                  </a:lnTo>
                  <a:lnTo>
                    <a:pt x="324" y="324"/>
                  </a:lnTo>
                  <a:lnTo>
                    <a:pt x="354" y="318"/>
                  </a:lnTo>
                  <a:lnTo>
                    <a:pt x="354" y="312"/>
                  </a:lnTo>
                  <a:lnTo>
                    <a:pt x="366" y="312"/>
                  </a:lnTo>
                  <a:lnTo>
                    <a:pt x="384" y="312"/>
                  </a:lnTo>
                  <a:lnTo>
                    <a:pt x="390" y="306"/>
                  </a:lnTo>
                  <a:lnTo>
                    <a:pt x="396" y="306"/>
                  </a:lnTo>
                  <a:lnTo>
                    <a:pt x="408" y="306"/>
                  </a:lnTo>
                  <a:lnTo>
                    <a:pt x="426" y="312"/>
                  </a:lnTo>
                  <a:lnTo>
                    <a:pt x="456" y="324"/>
                  </a:lnTo>
                  <a:lnTo>
                    <a:pt x="504" y="330"/>
                  </a:lnTo>
                  <a:lnTo>
                    <a:pt x="510" y="336"/>
                  </a:lnTo>
                  <a:lnTo>
                    <a:pt x="534" y="336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58" y="330"/>
                  </a:lnTo>
                  <a:lnTo>
                    <a:pt x="564" y="330"/>
                  </a:lnTo>
                  <a:lnTo>
                    <a:pt x="570" y="354"/>
                  </a:lnTo>
                  <a:lnTo>
                    <a:pt x="564" y="378"/>
                  </a:lnTo>
                  <a:lnTo>
                    <a:pt x="558" y="396"/>
                  </a:lnTo>
                  <a:lnTo>
                    <a:pt x="546" y="414"/>
                  </a:lnTo>
                  <a:lnTo>
                    <a:pt x="546" y="438"/>
                  </a:lnTo>
                  <a:lnTo>
                    <a:pt x="540" y="456"/>
                  </a:lnTo>
                  <a:lnTo>
                    <a:pt x="540" y="474"/>
                  </a:lnTo>
                  <a:lnTo>
                    <a:pt x="528" y="480"/>
                  </a:lnTo>
                  <a:lnTo>
                    <a:pt x="522" y="492"/>
                  </a:lnTo>
                  <a:lnTo>
                    <a:pt x="504" y="498"/>
                  </a:lnTo>
                  <a:lnTo>
                    <a:pt x="498" y="498"/>
                  </a:lnTo>
                  <a:lnTo>
                    <a:pt x="492" y="504"/>
                  </a:lnTo>
                  <a:lnTo>
                    <a:pt x="486" y="510"/>
                  </a:lnTo>
                  <a:lnTo>
                    <a:pt x="480" y="510"/>
                  </a:lnTo>
                  <a:lnTo>
                    <a:pt x="480" y="516"/>
                  </a:lnTo>
                  <a:lnTo>
                    <a:pt x="474" y="522"/>
                  </a:lnTo>
                  <a:lnTo>
                    <a:pt x="474" y="528"/>
                  </a:lnTo>
                  <a:lnTo>
                    <a:pt x="474" y="534"/>
                  </a:lnTo>
                  <a:lnTo>
                    <a:pt x="480" y="540"/>
                  </a:lnTo>
                  <a:lnTo>
                    <a:pt x="492" y="540"/>
                  </a:lnTo>
                  <a:lnTo>
                    <a:pt x="498" y="546"/>
                  </a:lnTo>
                  <a:lnTo>
                    <a:pt x="504" y="552"/>
                  </a:lnTo>
                  <a:lnTo>
                    <a:pt x="510" y="552"/>
                  </a:lnTo>
                  <a:lnTo>
                    <a:pt x="516" y="558"/>
                  </a:lnTo>
                  <a:lnTo>
                    <a:pt x="528" y="558"/>
                  </a:lnTo>
                  <a:lnTo>
                    <a:pt x="534" y="552"/>
                  </a:lnTo>
                  <a:lnTo>
                    <a:pt x="540" y="552"/>
                  </a:lnTo>
                  <a:lnTo>
                    <a:pt x="546" y="552"/>
                  </a:lnTo>
                  <a:lnTo>
                    <a:pt x="558" y="546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70" y="546"/>
                  </a:lnTo>
                  <a:lnTo>
                    <a:pt x="570" y="540"/>
                  </a:lnTo>
                  <a:lnTo>
                    <a:pt x="570" y="546"/>
                  </a:lnTo>
                  <a:lnTo>
                    <a:pt x="576" y="546"/>
                  </a:lnTo>
                  <a:lnTo>
                    <a:pt x="582" y="546"/>
                  </a:lnTo>
                  <a:lnTo>
                    <a:pt x="588" y="540"/>
                  </a:lnTo>
                  <a:lnTo>
                    <a:pt x="594" y="546"/>
                  </a:lnTo>
                  <a:lnTo>
                    <a:pt x="606" y="546"/>
                  </a:lnTo>
                  <a:lnTo>
                    <a:pt x="612" y="546"/>
                  </a:lnTo>
                  <a:lnTo>
                    <a:pt x="612" y="552"/>
                  </a:lnTo>
                  <a:lnTo>
                    <a:pt x="618" y="552"/>
                  </a:lnTo>
                  <a:lnTo>
                    <a:pt x="624" y="552"/>
                  </a:lnTo>
                  <a:lnTo>
                    <a:pt x="630" y="552"/>
                  </a:lnTo>
                  <a:lnTo>
                    <a:pt x="648" y="546"/>
                  </a:lnTo>
                  <a:lnTo>
                    <a:pt x="654" y="546"/>
                  </a:lnTo>
                  <a:lnTo>
                    <a:pt x="654" y="552"/>
                  </a:lnTo>
                  <a:lnTo>
                    <a:pt x="660" y="558"/>
                  </a:lnTo>
                  <a:lnTo>
                    <a:pt x="666" y="564"/>
                  </a:lnTo>
                  <a:lnTo>
                    <a:pt x="672" y="564"/>
                  </a:lnTo>
                  <a:lnTo>
                    <a:pt x="678" y="564"/>
                  </a:lnTo>
                  <a:lnTo>
                    <a:pt x="696" y="576"/>
                  </a:lnTo>
                  <a:lnTo>
                    <a:pt x="696" y="582"/>
                  </a:lnTo>
                  <a:lnTo>
                    <a:pt x="708" y="588"/>
                  </a:lnTo>
                  <a:lnTo>
                    <a:pt x="708" y="594"/>
                  </a:lnTo>
                  <a:lnTo>
                    <a:pt x="720" y="606"/>
                  </a:lnTo>
                  <a:lnTo>
                    <a:pt x="720" y="618"/>
                  </a:lnTo>
                  <a:lnTo>
                    <a:pt x="720" y="624"/>
                  </a:lnTo>
                  <a:lnTo>
                    <a:pt x="726" y="630"/>
                  </a:lnTo>
                  <a:lnTo>
                    <a:pt x="732" y="636"/>
                  </a:lnTo>
                  <a:lnTo>
                    <a:pt x="732" y="642"/>
                  </a:lnTo>
                  <a:lnTo>
                    <a:pt x="732" y="648"/>
                  </a:lnTo>
                  <a:lnTo>
                    <a:pt x="726" y="654"/>
                  </a:lnTo>
                  <a:lnTo>
                    <a:pt x="720" y="660"/>
                  </a:lnTo>
                  <a:lnTo>
                    <a:pt x="714" y="666"/>
                  </a:lnTo>
                  <a:lnTo>
                    <a:pt x="714" y="672"/>
                  </a:lnTo>
                  <a:lnTo>
                    <a:pt x="714" y="678"/>
                  </a:lnTo>
                  <a:lnTo>
                    <a:pt x="720" y="678"/>
                  </a:lnTo>
                  <a:lnTo>
                    <a:pt x="720" y="684"/>
                  </a:lnTo>
                  <a:lnTo>
                    <a:pt x="714" y="690"/>
                  </a:lnTo>
                  <a:lnTo>
                    <a:pt x="714" y="696"/>
                  </a:lnTo>
                  <a:lnTo>
                    <a:pt x="714" y="702"/>
                  </a:lnTo>
                  <a:lnTo>
                    <a:pt x="714" y="708"/>
                  </a:lnTo>
                  <a:lnTo>
                    <a:pt x="720" y="708"/>
                  </a:lnTo>
                  <a:lnTo>
                    <a:pt x="720" y="720"/>
                  </a:lnTo>
                  <a:lnTo>
                    <a:pt x="720" y="726"/>
                  </a:lnTo>
                  <a:lnTo>
                    <a:pt x="726" y="726"/>
                  </a:lnTo>
                  <a:lnTo>
                    <a:pt x="726" y="732"/>
                  </a:lnTo>
                  <a:lnTo>
                    <a:pt x="732" y="732"/>
                  </a:lnTo>
                  <a:lnTo>
                    <a:pt x="732" y="738"/>
                  </a:lnTo>
                  <a:lnTo>
                    <a:pt x="726" y="738"/>
                  </a:lnTo>
                  <a:lnTo>
                    <a:pt x="720" y="738"/>
                  </a:lnTo>
                  <a:lnTo>
                    <a:pt x="720" y="744"/>
                  </a:lnTo>
                  <a:lnTo>
                    <a:pt x="720" y="750"/>
                  </a:lnTo>
                  <a:lnTo>
                    <a:pt x="714" y="750"/>
                  </a:lnTo>
                  <a:lnTo>
                    <a:pt x="714" y="756"/>
                  </a:lnTo>
                  <a:lnTo>
                    <a:pt x="720" y="756"/>
                  </a:lnTo>
                  <a:lnTo>
                    <a:pt x="714" y="762"/>
                  </a:lnTo>
                  <a:lnTo>
                    <a:pt x="720" y="762"/>
                  </a:lnTo>
                  <a:lnTo>
                    <a:pt x="726" y="768"/>
                  </a:lnTo>
                  <a:lnTo>
                    <a:pt x="726" y="774"/>
                  </a:lnTo>
                  <a:lnTo>
                    <a:pt x="732" y="774"/>
                  </a:lnTo>
                  <a:lnTo>
                    <a:pt x="732" y="780"/>
                  </a:lnTo>
                  <a:lnTo>
                    <a:pt x="726" y="780"/>
                  </a:lnTo>
                  <a:lnTo>
                    <a:pt x="726" y="786"/>
                  </a:lnTo>
                  <a:lnTo>
                    <a:pt x="720" y="786"/>
                  </a:lnTo>
                  <a:lnTo>
                    <a:pt x="726" y="786"/>
                  </a:lnTo>
                  <a:lnTo>
                    <a:pt x="732" y="780"/>
                  </a:lnTo>
                  <a:lnTo>
                    <a:pt x="738" y="780"/>
                  </a:lnTo>
                  <a:lnTo>
                    <a:pt x="744" y="780"/>
                  </a:lnTo>
                  <a:lnTo>
                    <a:pt x="744" y="786"/>
                  </a:lnTo>
                  <a:lnTo>
                    <a:pt x="750" y="786"/>
                  </a:lnTo>
                  <a:lnTo>
                    <a:pt x="744" y="786"/>
                  </a:lnTo>
                  <a:lnTo>
                    <a:pt x="744" y="792"/>
                  </a:lnTo>
                  <a:lnTo>
                    <a:pt x="744" y="786"/>
                  </a:lnTo>
                  <a:lnTo>
                    <a:pt x="738" y="792"/>
                  </a:lnTo>
                  <a:lnTo>
                    <a:pt x="744" y="792"/>
                  </a:lnTo>
                  <a:lnTo>
                    <a:pt x="750" y="792"/>
                  </a:lnTo>
                  <a:lnTo>
                    <a:pt x="750" y="786"/>
                  </a:lnTo>
                  <a:lnTo>
                    <a:pt x="756" y="786"/>
                  </a:lnTo>
                  <a:lnTo>
                    <a:pt x="756" y="792"/>
                  </a:lnTo>
                  <a:lnTo>
                    <a:pt x="762" y="792"/>
                  </a:lnTo>
                  <a:lnTo>
                    <a:pt x="756" y="798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0" y="810"/>
                  </a:lnTo>
                  <a:lnTo>
                    <a:pt x="756" y="810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6" y="816"/>
                  </a:lnTo>
                  <a:lnTo>
                    <a:pt x="750" y="816"/>
                  </a:lnTo>
                  <a:lnTo>
                    <a:pt x="738" y="810"/>
                  </a:lnTo>
                  <a:lnTo>
                    <a:pt x="732" y="810"/>
                  </a:lnTo>
                  <a:lnTo>
                    <a:pt x="732" y="816"/>
                  </a:lnTo>
                  <a:lnTo>
                    <a:pt x="726" y="810"/>
                  </a:lnTo>
                  <a:lnTo>
                    <a:pt x="714" y="816"/>
                  </a:lnTo>
                  <a:lnTo>
                    <a:pt x="708" y="816"/>
                  </a:lnTo>
                  <a:lnTo>
                    <a:pt x="702" y="816"/>
                  </a:lnTo>
                  <a:lnTo>
                    <a:pt x="696" y="816"/>
                  </a:lnTo>
                  <a:lnTo>
                    <a:pt x="690" y="822"/>
                  </a:lnTo>
                  <a:lnTo>
                    <a:pt x="684" y="822"/>
                  </a:lnTo>
                  <a:lnTo>
                    <a:pt x="678" y="822"/>
                  </a:lnTo>
                  <a:lnTo>
                    <a:pt x="672" y="822"/>
                  </a:lnTo>
                  <a:lnTo>
                    <a:pt x="666" y="822"/>
                  </a:lnTo>
                  <a:lnTo>
                    <a:pt x="666" y="828"/>
                  </a:lnTo>
                  <a:lnTo>
                    <a:pt x="654" y="828"/>
                  </a:lnTo>
                  <a:lnTo>
                    <a:pt x="648" y="828"/>
                  </a:lnTo>
                  <a:lnTo>
                    <a:pt x="642" y="828"/>
                  </a:lnTo>
                  <a:lnTo>
                    <a:pt x="630" y="828"/>
                  </a:lnTo>
                  <a:lnTo>
                    <a:pt x="624" y="822"/>
                  </a:lnTo>
                  <a:lnTo>
                    <a:pt x="618" y="822"/>
                  </a:lnTo>
                  <a:lnTo>
                    <a:pt x="612" y="822"/>
                  </a:lnTo>
                  <a:lnTo>
                    <a:pt x="606" y="822"/>
                  </a:lnTo>
                  <a:lnTo>
                    <a:pt x="600" y="822"/>
                  </a:lnTo>
                  <a:lnTo>
                    <a:pt x="594" y="822"/>
                  </a:lnTo>
                  <a:lnTo>
                    <a:pt x="594" y="816"/>
                  </a:lnTo>
                  <a:lnTo>
                    <a:pt x="594" y="810"/>
                  </a:lnTo>
                  <a:lnTo>
                    <a:pt x="600" y="804"/>
                  </a:lnTo>
                  <a:lnTo>
                    <a:pt x="600" y="798"/>
                  </a:lnTo>
                  <a:lnTo>
                    <a:pt x="600" y="792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2" y="786"/>
                  </a:lnTo>
                  <a:lnTo>
                    <a:pt x="618" y="786"/>
                  </a:lnTo>
                  <a:lnTo>
                    <a:pt x="624" y="786"/>
                  </a:lnTo>
                  <a:lnTo>
                    <a:pt x="624" y="780"/>
                  </a:lnTo>
                  <a:lnTo>
                    <a:pt x="630" y="780"/>
                  </a:lnTo>
                  <a:lnTo>
                    <a:pt x="630" y="774"/>
                  </a:lnTo>
                  <a:lnTo>
                    <a:pt x="636" y="774"/>
                  </a:lnTo>
                  <a:lnTo>
                    <a:pt x="642" y="780"/>
                  </a:lnTo>
                  <a:lnTo>
                    <a:pt x="642" y="786"/>
                  </a:lnTo>
                  <a:lnTo>
                    <a:pt x="642" y="792"/>
                  </a:lnTo>
                  <a:lnTo>
                    <a:pt x="648" y="792"/>
                  </a:lnTo>
                  <a:lnTo>
                    <a:pt x="648" y="786"/>
                  </a:lnTo>
                  <a:lnTo>
                    <a:pt x="642" y="786"/>
                  </a:lnTo>
                  <a:lnTo>
                    <a:pt x="642" y="780"/>
                  </a:lnTo>
                  <a:lnTo>
                    <a:pt x="642" y="774"/>
                  </a:lnTo>
                  <a:lnTo>
                    <a:pt x="648" y="768"/>
                  </a:lnTo>
                  <a:lnTo>
                    <a:pt x="642" y="768"/>
                  </a:lnTo>
                  <a:lnTo>
                    <a:pt x="648" y="768"/>
                  </a:lnTo>
                  <a:lnTo>
                    <a:pt x="648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66" y="762"/>
                  </a:lnTo>
                  <a:lnTo>
                    <a:pt x="672" y="756"/>
                  </a:lnTo>
                  <a:lnTo>
                    <a:pt x="666" y="756"/>
                  </a:lnTo>
                  <a:lnTo>
                    <a:pt x="660" y="756"/>
                  </a:lnTo>
                  <a:lnTo>
                    <a:pt x="660" y="750"/>
                  </a:lnTo>
                  <a:lnTo>
                    <a:pt x="654" y="750"/>
                  </a:lnTo>
                  <a:lnTo>
                    <a:pt x="648" y="750"/>
                  </a:lnTo>
                  <a:lnTo>
                    <a:pt x="648" y="756"/>
                  </a:lnTo>
                  <a:lnTo>
                    <a:pt x="642" y="756"/>
                  </a:lnTo>
                  <a:lnTo>
                    <a:pt x="642" y="750"/>
                  </a:lnTo>
                  <a:lnTo>
                    <a:pt x="642" y="744"/>
                  </a:lnTo>
                  <a:lnTo>
                    <a:pt x="642" y="750"/>
                  </a:lnTo>
                  <a:lnTo>
                    <a:pt x="636" y="750"/>
                  </a:lnTo>
                  <a:lnTo>
                    <a:pt x="636" y="744"/>
                  </a:lnTo>
                  <a:lnTo>
                    <a:pt x="630" y="744"/>
                  </a:lnTo>
                  <a:lnTo>
                    <a:pt x="630" y="738"/>
                  </a:lnTo>
                  <a:lnTo>
                    <a:pt x="630" y="744"/>
                  </a:lnTo>
                  <a:lnTo>
                    <a:pt x="630" y="750"/>
                  </a:lnTo>
                  <a:lnTo>
                    <a:pt x="636" y="750"/>
                  </a:lnTo>
                  <a:lnTo>
                    <a:pt x="636" y="756"/>
                  </a:lnTo>
                  <a:lnTo>
                    <a:pt x="630" y="756"/>
                  </a:lnTo>
                  <a:lnTo>
                    <a:pt x="636" y="762"/>
                  </a:lnTo>
                  <a:lnTo>
                    <a:pt x="630" y="762"/>
                  </a:lnTo>
                  <a:lnTo>
                    <a:pt x="624" y="762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24" y="786"/>
                  </a:lnTo>
                  <a:lnTo>
                    <a:pt x="618" y="786"/>
                  </a:lnTo>
                  <a:lnTo>
                    <a:pt x="618" y="78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12" y="774"/>
                  </a:lnTo>
                  <a:lnTo>
                    <a:pt x="612" y="780"/>
                  </a:lnTo>
                  <a:lnTo>
                    <a:pt x="606" y="780"/>
                  </a:lnTo>
                  <a:lnTo>
                    <a:pt x="600" y="780"/>
                  </a:lnTo>
                  <a:lnTo>
                    <a:pt x="600" y="774"/>
                  </a:lnTo>
                  <a:lnTo>
                    <a:pt x="594" y="768"/>
                  </a:lnTo>
                  <a:lnTo>
                    <a:pt x="594" y="762"/>
                  </a:lnTo>
                  <a:lnTo>
                    <a:pt x="594" y="756"/>
                  </a:lnTo>
                  <a:lnTo>
                    <a:pt x="594" y="762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594" y="780"/>
                  </a:lnTo>
                  <a:lnTo>
                    <a:pt x="588" y="780"/>
                  </a:lnTo>
                  <a:lnTo>
                    <a:pt x="582" y="780"/>
                  </a:lnTo>
                  <a:lnTo>
                    <a:pt x="576" y="780"/>
                  </a:lnTo>
                  <a:lnTo>
                    <a:pt x="570" y="780"/>
                  </a:lnTo>
                  <a:lnTo>
                    <a:pt x="564" y="780"/>
                  </a:lnTo>
                  <a:lnTo>
                    <a:pt x="564" y="786"/>
                  </a:lnTo>
                  <a:lnTo>
                    <a:pt x="558" y="786"/>
                  </a:lnTo>
                  <a:lnTo>
                    <a:pt x="552" y="786"/>
                  </a:lnTo>
                  <a:lnTo>
                    <a:pt x="552" y="780"/>
                  </a:lnTo>
                  <a:lnTo>
                    <a:pt x="552" y="774"/>
                  </a:lnTo>
                  <a:lnTo>
                    <a:pt x="552" y="768"/>
                  </a:lnTo>
                  <a:lnTo>
                    <a:pt x="546" y="768"/>
                  </a:lnTo>
                  <a:lnTo>
                    <a:pt x="540" y="762"/>
                  </a:lnTo>
                  <a:lnTo>
                    <a:pt x="540" y="756"/>
                  </a:lnTo>
                  <a:lnTo>
                    <a:pt x="534" y="756"/>
                  </a:lnTo>
                  <a:lnTo>
                    <a:pt x="534" y="750"/>
                  </a:lnTo>
                  <a:lnTo>
                    <a:pt x="534" y="744"/>
                  </a:lnTo>
                  <a:lnTo>
                    <a:pt x="528" y="738"/>
                  </a:lnTo>
                  <a:lnTo>
                    <a:pt x="522" y="738"/>
                  </a:lnTo>
                  <a:lnTo>
                    <a:pt x="522" y="732"/>
                  </a:lnTo>
                  <a:lnTo>
                    <a:pt x="510" y="726"/>
                  </a:lnTo>
                  <a:lnTo>
                    <a:pt x="510" y="720"/>
                  </a:lnTo>
                  <a:lnTo>
                    <a:pt x="504" y="720"/>
                  </a:lnTo>
                  <a:lnTo>
                    <a:pt x="504" y="714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8" y="702"/>
                  </a:lnTo>
                  <a:lnTo>
                    <a:pt x="498" y="696"/>
                  </a:lnTo>
                  <a:lnTo>
                    <a:pt x="492" y="690"/>
                  </a:lnTo>
                  <a:lnTo>
                    <a:pt x="492" y="684"/>
                  </a:lnTo>
                  <a:lnTo>
                    <a:pt x="486" y="684"/>
                  </a:lnTo>
                  <a:lnTo>
                    <a:pt x="486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74" y="678"/>
                  </a:lnTo>
                  <a:lnTo>
                    <a:pt x="468" y="678"/>
                  </a:lnTo>
                  <a:lnTo>
                    <a:pt x="462" y="678"/>
                  </a:lnTo>
                  <a:lnTo>
                    <a:pt x="462" y="672"/>
                  </a:lnTo>
                  <a:lnTo>
                    <a:pt x="456" y="672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44" y="666"/>
                  </a:lnTo>
                  <a:lnTo>
                    <a:pt x="438" y="660"/>
                  </a:lnTo>
                  <a:lnTo>
                    <a:pt x="438" y="648"/>
                  </a:lnTo>
                  <a:lnTo>
                    <a:pt x="438" y="642"/>
                  </a:lnTo>
                  <a:lnTo>
                    <a:pt x="438" y="636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36"/>
                  </a:lnTo>
                  <a:lnTo>
                    <a:pt x="420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60"/>
                  </a:lnTo>
                  <a:lnTo>
                    <a:pt x="432" y="666"/>
                  </a:lnTo>
                  <a:lnTo>
                    <a:pt x="438" y="666"/>
                  </a:lnTo>
                  <a:lnTo>
                    <a:pt x="438" y="672"/>
                  </a:lnTo>
                  <a:lnTo>
                    <a:pt x="444" y="672"/>
                  </a:lnTo>
                  <a:lnTo>
                    <a:pt x="444" y="678"/>
                  </a:lnTo>
                  <a:lnTo>
                    <a:pt x="450" y="678"/>
                  </a:lnTo>
                  <a:lnTo>
                    <a:pt x="456" y="678"/>
                  </a:lnTo>
                  <a:lnTo>
                    <a:pt x="456" y="684"/>
                  </a:lnTo>
                  <a:lnTo>
                    <a:pt x="462" y="684"/>
                  </a:lnTo>
                  <a:lnTo>
                    <a:pt x="468" y="684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80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86" y="708"/>
                  </a:lnTo>
                  <a:lnTo>
                    <a:pt x="492" y="714"/>
                  </a:lnTo>
                  <a:lnTo>
                    <a:pt x="492" y="720"/>
                  </a:lnTo>
                  <a:lnTo>
                    <a:pt x="492" y="726"/>
                  </a:lnTo>
                  <a:lnTo>
                    <a:pt x="498" y="732"/>
                  </a:lnTo>
                  <a:lnTo>
                    <a:pt x="492" y="738"/>
                  </a:lnTo>
                  <a:lnTo>
                    <a:pt x="492" y="744"/>
                  </a:lnTo>
                  <a:lnTo>
                    <a:pt x="492" y="750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68" y="738"/>
                  </a:lnTo>
                  <a:lnTo>
                    <a:pt x="468" y="744"/>
                  </a:lnTo>
                  <a:lnTo>
                    <a:pt x="474" y="750"/>
                  </a:lnTo>
                  <a:lnTo>
                    <a:pt x="480" y="756"/>
                  </a:lnTo>
                  <a:lnTo>
                    <a:pt x="486" y="756"/>
                  </a:lnTo>
                  <a:lnTo>
                    <a:pt x="492" y="762"/>
                  </a:lnTo>
                  <a:lnTo>
                    <a:pt x="498" y="768"/>
                  </a:lnTo>
                  <a:lnTo>
                    <a:pt x="492" y="774"/>
                  </a:lnTo>
                  <a:lnTo>
                    <a:pt x="492" y="780"/>
                  </a:lnTo>
                  <a:lnTo>
                    <a:pt x="498" y="780"/>
                  </a:lnTo>
                  <a:lnTo>
                    <a:pt x="492" y="786"/>
                  </a:lnTo>
                  <a:lnTo>
                    <a:pt x="492" y="792"/>
                  </a:lnTo>
                  <a:lnTo>
                    <a:pt x="492" y="79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0" y="810"/>
                  </a:lnTo>
                  <a:lnTo>
                    <a:pt x="480" y="804"/>
                  </a:lnTo>
                  <a:lnTo>
                    <a:pt x="474" y="804"/>
                  </a:lnTo>
                  <a:lnTo>
                    <a:pt x="474" y="798"/>
                  </a:lnTo>
                  <a:lnTo>
                    <a:pt x="474" y="804"/>
                  </a:lnTo>
                  <a:lnTo>
                    <a:pt x="468" y="804"/>
                  </a:lnTo>
                  <a:lnTo>
                    <a:pt x="468" y="810"/>
                  </a:lnTo>
                  <a:lnTo>
                    <a:pt x="462" y="810"/>
                  </a:lnTo>
                  <a:lnTo>
                    <a:pt x="456" y="810"/>
                  </a:lnTo>
                  <a:lnTo>
                    <a:pt x="450" y="810"/>
                  </a:lnTo>
                  <a:lnTo>
                    <a:pt x="450" y="816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50" y="822"/>
                  </a:lnTo>
                  <a:lnTo>
                    <a:pt x="450" y="816"/>
                  </a:lnTo>
                  <a:lnTo>
                    <a:pt x="444" y="816"/>
                  </a:lnTo>
                  <a:lnTo>
                    <a:pt x="438" y="810"/>
                  </a:lnTo>
                  <a:lnTo>
                    <a:pt x="432" y="810"/>
                  </a:lnTo>
                  <a:lnTo>
                    <a:pt x="426" y="804"/>
                  </a:lnTo>
                  <a:lnTo>
                    <a:pt x="426" y="798"/>
                  </a:lnTo>
                  <a:lnTo>
                    <a:pt x="420" y="798"/>
                  </a:lnTo>
                  <a:lnTo>
                    <a:pt x="426" y="798"/>
                  </a:lnTo>
                  <a:lnTo>
                    <a:pt x="426" y="792"/>
                  </a:lnTo>
                  <a:lnTo>
                    <a:pt x="426" y="786"/>
                  </a:lnTo>
                  <a:lnTo>
                    <a:pt x="432" y="786"/>
                  </a:lnTo>
                  <a:lnTo>
                    <a:pt x="432" y="780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0" y="756"/>
                  </a:lnTo>
                  <a:lnTo>
                    <a:pt x="420" y="750"/>
                  </a:lnTo>
                  <a:lnTo>
                    <a:pt x="414" y="750"/>
                  </a:lnTo>
                  <a:lnTo>
                    <a:pt x="420" y="750"/>
                  </a:lnTo>
                  <a:lnTo>
                    <a:pt x="420" y="744"/>
                  </a:lnTo>
                  <a:lnTo>
                    <a:pt x="414" y="744"/>
                  </a:lnTo>
                  <a:lnTo>
                    <a:pt x="414" y="738"/>
                  </a:lnTo>
                  <a:lnTo>
                    <a:pt x="414" y="732"/>
                  </a:lnTo>
                  <a:lnTo>
                    <a:pt x="408" y="732"/>
                  </a:lnTo>
                  <a:lnTo>
                    <a:pt x="408" y="726"/>
                  </a:lnTo>
                  <a:lnTo>
                    <a:pt x="402" y="726"/>
                  </a:lnTo>
                  <a:lnTo>
                    <a:pt x="396" y="726"/>
                  </a:lnTo>
                  <a:lnTo>
                    <a:pt x="390" y="726"/>
                  </a:lnTo>
                  <a:lnTo>
                    <a:pt x="390" y="720"/>
                  </a:lnTo>
                  <a:lnTo>
                    <a:pt x="390" y="714"/>
                  </a:lnTo>
                  <a:lnTo>
                    <a:pt x="384" y="708"/>
                  </a:lnTo>
                  <a:lnTo>
                    <a:pt x="384" y="702"/>
                  </a:lnTo>
                  <a:lnTo>
                    <a:pt x="378" y="702"/>
                  </a:lnTo>
                  <a:lnTo>
                    <a:pt x="378" y="696"/>
                  </a:lnTo>
                  <a:lnTo>
                    <a:pt x="378" y="690"/>
                  </a:lnTo>
                  <a:lnTo>
                    <a:pt x="372" y="684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66" y="666"/>
                  </a:lnTo>
                  <a:lnTo>
                    <a:pt x="366" y="660"/>
                  </a:lnTo>
                  <a:lnTo>
                    <a:pt x="366" y="654"/>
                  </a:lnTo>
                  <a:lnTo>
                    <a:pt x="360" y="648"/>
                  </a:lnTo>
                  <a:lnTo>
                    <a:pt x="360" y="654"/>
                  </a:lnTo>
                  <a:lnTo>
                    <a:pt x="360" y="660"/>
                  </a:lnTo>
                  <a:lnTo>
                    <a:pt x="360" y="666"/>
                  </a:lnTo>
                  <a:lnTo>
                    <a:pt x="360" y="672"/>
                  </a:lnTo>
                  <a:lnTo>
                    <a:pt x="360" y="678"/>
                  </a:lnTo>
                  <a:lnTo>
                    <a:pt x="366" y="678"/>
                  </a:lnTo>
                  <a:lnTo>
                    <a:pt x="366" y="684"/>
                  </a:lnTo>
                  <a:lnTo>
                    <a:pt x="366" y="690"/>
                  </a:lnTo>
                  <a:lnTo>
                    <a:pt x="372" y="696"/>
                  </a:lnTo>
                  <a:lnTo>
                    <a:pt x="372" y="702"/>
                  </a:lnTo>
                  <a:lnTo>
                    <a:pt x="372" y="708"/>
                  </a:lnTo>
                  <a:lnTo>
                    <a:pt x="372" y="714"/>
                  </a:lnTo>
                  <a:lnTo>
                    <a:pt x="366" y="714"/>
                  </a:lnTo>
                  <a:lnTo>
                    <a:pt x="360" y="714"/>
                  </a:lnTo>
                  <a:lnTo>
                    <a:pt x="354" y="714"/>
                  </a:lnTo>
                  <a:lnTo>
                    <a:pt x="348" y="714"/>
                  </a:lnTo>
                  <a:lnTo>
                    <a:pt x="348" y="708"/>
                  </a:lnTo>
                  <a:lnTo>
                    <a:pt x="342" y="708"/>
                  </a:lnTo>
                  <a:lnTo>
                    <a:pt x="342" y="702"/>
                  </a:lnTo>
                  <a:lnTo>
                    <a:pt x="342" y="696"/>
                  </a:lnTo>
                  <a:lnTo>
                    <a:pt x="336" y="696"/>
                  </a:lnTo>
                  <a:lnTo>
                    <a:pt x="336" y="690"/>
                  </a:lnTo>
                  <a:lnTo>
                    <a:pt x="336" y="684"/>
                  </a:lnTo>
                  <a:lnTo>
                    <a:pt x="330" y="684"/>
                  </a:lnTo>
                  <a:lnTo>
                    <a:pt x="330" y="678"/>
                  </a:lnTo>
                  <a:lnTo>
                    <a:pt x="324" y="672"/>
                  </a:lnTo>
                  <a:lnTo>
                    <a:pt x="324" y="666"/>
                  </a:lnTo>
                  <a:lnTo>
                    <a:pt x="318" y="666"/>
                  </a:lnTo>
                  <a:lnTo>
                    <a:pt x="318" y="672"/>
                  </a:lnTo>
                  <a:lnTo>
                    <a:pt x="324" y="672"/>
                  </a:lnTo>
                  <a:lnTo>
                    <a:pt x="324" y="678"/>
                  </a:lnTo>
                  <a:lnTo>
                    <a:pt x="324" y="684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30" y="696"/>
                  </a:lnTo>
                  <a:lnTo>
                    <a:pt x="336" y="702"/>
                  </a:lnTo>
                  <a:lnTo>
                    <a:pt x="342" y="708"/>
                  </a:lnTo>
                  <a:lnTo>
                    <a:pt x="342" y="714"/>
                  </a:lnTo>
                  <a:lnTo>
                    <a:pt x="348" y="720"/>
                  </a:lnTo>
                  <a:lnTo>
                    <a:pt x="342" y="720"/>
                  </a:lnTo>
                  <a:lnTo>
                    <a:pt x="336" y="720"/>
                  </a:lnTo>
                  <a:lnTo>
                    <a:pt x="330" y="720"/>
                  </a:lnTo>
                  <a:lnTo>
                    <a:pt x="330" y="726"/>
                  </a:lnTo>
                  <a:lnTo>
                    <a:pt x="336" y="726"/>
                  </a:lnTo>
                  <a:lnTo>
                    <a:pt x="330" y="732"/>
                  </a:lnTo>
                  <a:lnTo>
                    <a:pt x="330" y="738"/>
                  </a:lnTo>
                  <a:lnTo>
                    <a:pt x="330" y="744"/>
                  </a:lnTo>
                  <a:lnTo>
                    <a:pt x="336" y="744"/>
                  </a:lnTo>
                  <a:lnTo>
                    <a:pt x="342" y="744"/>
                  </a:lnTo>
                  <a:lnTo>
                    <a:pt x="348" y="744"/>
                  </a:lnTo>
                  <a:lnTo>
                    <a:pt x="348" y="750"/>
                  </a:lnTo>
                  <a:lnTo>
                    <a:pt x="354" y="750"/>
                  </a:lnTo>
                  <a:lnTo>
                    <a:pt x="360" y="756"/>
                  </a:lnTo>
                  <a:lnTo>
                    <a:pt x="360" y="762"/>
                  </a:lnTo>
                  <a:lnTo>
                    <a:pt x="366" y="762"/>
                  </a:lnTo>
                  <a:lnTo>
                    <a:pt x="366" y="768"/>
                  </a:lnTo>
                  <a:lnTo>
                    <a:pt x="366" y="774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72" y="792"/>
                  </a:lnTo>
                  <a:lnTo>
                    <a:pt x="372" y="798"/>
                  </a:lnTo>
                  <a:lnTo>
                    <a:pt x="372" y="804"/>
                  </a:lnTo>
                  <a:lnTo>
                    <a:pt x="378" y="804"/>
                  </a:lnTo>
                  <a:lnTo>
                    <a:pt x="378" y="810"/>
                  </a:lnTo>
                  <a:lnTo>
                    <a:pt x="378" y="816"/>
                  </a:lnTo>
                  <a:lnTo>
                    <a:pt x="372" y="816"/>
                  </a:lnTo>
                  <a:lnTo>
                    <a:pt x="378" y="816"/>
                  </a:lnTo>
                  <a:lnTo>
                    <a:pt x="378" y="822"/>
                  </a:lnTo>
                  <a:lnTo>
                    <a:pt x="378" y="828"/>
                  </a:lnTo>
                  <a:lnTo>
                    <a:pt x="378" y="834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0" y="864"/>
                  </a:lnTo>
                  <a:lnTo>
                    <a:pt x="384" y="864"/>
                  </a:lnTo>
                  <a:lnTo>
                    <a:pt x="384" y="870"/>
                  </a:lnTo>
                  <a:lnTo>
                    <a:pt x="378" y="864"/>
                  </a:lnTo>
                  <a:lnTo>
                    <a:pt x="372" y="864"/>
                  </a:lnTo>
                  <a:lnTo>
                    <a:pt x="366" y="858"/>
                  </a:lnTo>
                  <a:lnTo>
                    <a:pt x="366" y="852"/>
                  </a:lnTo>
                  <a:lnTo>
                    <a:pt x="360" y="852"/>
                  </a:lnTo>
                  <a:lnTo>
                    <a:pt x="360" y="858"/>
                  </a:lnTo>
                  <a:lnTo>
                    <a:pt x="366" y="858"/>
                  </a:lnTo>
                  <a:lnTo>
                    <a:pt x="366" y="864"/>
                  </a:lnTo>
                  <a:lnTo>
                    <a:pt x="360" y="864"/>
                  </a:lnTo>
                  <a:lnTo>
                    <a:pt x="354" y="864"/>
                  </a:lnTo>
                  <a:lnTo>
                    <a:pt x="354" y="870"/>
                  </a:lnTo>
                  <a:lnTo>
                    <a:pt x="354" y="864"/>
                  </a:lnTo>
                  <a:lnTo>
                    <a:pt x="348" y="864"/>
                  </a:lnTo>
                  <a:lnTo>
                    <a:pt x="342" y="864"/>
                  </a:lnTo>
                  <a:lnTo>
                    <a:pt x="342" y="858"/>
                  </a:lnTo>
                  <a:lnTo>
                    <a:pt x="336" y="858"/>
                  </a:lnTo>
                  <a:lnTo>
                    <a:pt x="330" y="858"/>
                  </a:lnTo>
                  <a:lnTo>
                    <a:pt x="324" y="858"/>
                  </a:lnTo>
                  <a:lnTo>
                    <a:pt x="318" y="858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0" y="852"/>
                  </a:lnTo>
                  <a:lnTo>
                    <a:pt x="294" y="852"/>
                  </a:lnTo>
                  <a:lnTo>
                    <a:pt x="294" y="846"/>
                  </a:lnTo>
                  <a:lnTo>
                    <a:pt x="288" y="840"/>
                  </a:lnTo>
                  <a:lnTo>
                    <a:pt x="288" y="828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2" y="816"/>
                  </a:lnTo>
                  <a:lnTo>
                    <a:pt x="282" y="810"/>
                  </a:lnTo>
                  <a:lnTo>
                    <a:pt x="276" y="810"/>
                  </a:lnTo>
                  <a:lnTo>
                    <a:pt x="276" y="804"/>
                  </a:lnTo>
                  <a:lnTo>
                    <a:pt x="276" y="798"/>
                  </a:lnTo>
                  <a:lnTo>
                    <a:pt x="276" y="792"/>
                  </a:lnTo>
                  <a:lnTo>
                    <a:pt x="270" y="786"/>
                  </a:lnTo>
                  <a:lnTo>
                    <a:pt x="270" y="780"/>
                  </a:lnTo>
                  <a:lnTo>
                    <a:pt x="270" y="774"/>
                  </a:lnTo>
                  <a:lnTo>
                    <a:pt x="264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64" y="750"/>
                  </a:lnTo>
                  <a:lnTo>
                    <a:pt x="264" y="744"/>
                  </a:lnTo>
                  <a:lnTo>
                    <a:pt x="264" y="738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26"/>
                  </a:lnTo>
                  <a:lnTo>
                    <a:pt x="276" y="720"/>
                  </a:lnTo>
                  <a:lnTo>
                    <a:pt x="282" y="720"/>
                  </a:lnTo>
                  <a:lnTo>
                    <a:pt x="282" y="714"/>
                  </a:lnTo>
                  <a:lnTo>
                    <a:pt x="282" y="708"/>
                  </a:lnTo>
                  <a:lnTo>
                    <a:pt x="276" y="708"/>
                  </a:lnTo>
                  <a:lnTo>
                    <a:pt x="276" y="702"/>
                  </a:lnTo>
                  <a:lnTo>
                    <a:pt x="270" y="702"/>
                  </a:lnTo>
                  <a:lnTo>
                    <a:pt x="270" y="696"/>
                  </a:lnTo>
                  <a:lnTo>
                    <a:pt x="264" y="690"/>
                  </a:lnTo>
                  <a:lnTo>
                    <a:pt x="258" y="690"/>
                  </a:lnTo>
                  <a:lnTo>
                    <a:pt x="258" y="684"/>
                  </a:lnTo>
                  <a:lnTo>
                    <a:pt x="252" y="684"/>
                  </a:lnTo>
                  <a:lnTo>
                    <a:pt x="252" y="678"/>
                  </a:lnTo>
                  <a:lnTo>
                    <a:pt x="246" y="678"/>
                  </a:lnTo>
                  <a:lnTo>
                    <a:pt x="240" y="678"/>
                  </a:lnTo>
                  <a:lnTo>
                    <a:pt x="240" y="684"/>
                  </a:lnTo>
                  <a:lnTo>
                    <a:pt x="246" y="684"/>
                  </a:lnTo>
                  <a:lnTo>
                    <a:pt x="252" y="690"/>
                  </a:lnTo>
                  <a:lnTo>
                    <a:pt x="258" y="690"/>
                  </a:lnTo>
                  <a:lnTo>
                    <a:pt x="258" y="696"/>
                  </a:lnTo>
                  <a:lnTo>
                    <a:pt x="258" y="702"/>
                  </a:lnTo>
                  <a:lnTo>
                    <a:pt x="264" y="702"/>
                  </a:lnTo>
                  <a:lnTo>
                    <a:pt x="270" y="708"/>
                  </a:lnTo>
                  <a:lnTo>
                    <a:pt x="270" y="714"/>
                  </a:lnTo>
                  <a:lnTo>
                    <a:pt x="270" y="720"/>
                  </a:lnTo>
                  <a:lnTo>
                    <a:pt x="276" y="720"/>
                  </a:lnTo>
                  <a:lnTo>
                    <a:pt x="270" y="720"/>
                  </a:lnTo>
                  <a:lnTo>
                    <a:pt x="270" y="726"/>
                  </a:lnTo>
                  <a:lnTo>
                    <a:pt x="264" y="726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52" y="738"/>
                  </a:lnTo>
                  <a:lnTo>
                    <a:pt x="252" y="744"/>
                  </a:lnTo>
                  <a:lnTo>
                    <a:pt x="252" y="750"/>
                  </a:lnTo>
                  <a:lnTo>
                    <a:pt x="252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58" y="774"/>
                  </a:lnTo>
                  <a:lnTo>
                    <a:pt x="258" y="780"/>
                  </a:lnTo>
                  <a:lnTo>
                    <a:pt x="264" y="786"/>
                  </a:lnTo>
                  <a:lnTo>
                    <a:pt x="264" y="792"/>
                  </a:lnTo>
                  <a:lnTo>
                    <a:pt x="264" y="798"/>
                  </a:lnTo>
                  <a:lnTo>
                    <a:pt x="270" y="810"/>
                  </a:lnTo>
                  <a:lnTo>
                    <a:pt x="270" y="816"/>
                  </a:lnTo>
                  <a:lnTo>
                    <a:pt x="270" y="822"/>
                  </a:lnTo>
                  <a:lnTo>
                    <a:pt x="276" y="822"/>
                  </a:lnTo>
                  <a:lnTo>
                    <a:pt x="276" y="828"/>
                  </a:lnTo>
                  <a:lnTo>
                    <a:pt x="276" y="834"/>
                  </a:lnTo>
                  <a:lnTo>
                    <a:pt x="276" y="840"/>
                  </a:lnTo>
                  <a:lnTo>
                    <a:pt x="276" y="846"/>
                  </a:lnTo>
                  <a:lnTo>
                    <a:pt x="282" y="852"/>
                  </a:lnTo>
                  <a:lnTo>
                    <a:pt x="282" y="858"/>
                  </a:lnTo>
                  <a:lnTo>
                    <a:pt x="294" y="864"/>
                  </a:lnTo>
                  <a:lnTo>
                    <a:pt x="300" y="870"/>
                  </a:lnTo>
                  <a:lnTo>
                    <a:pt x="300" y="876"/>
                  </a:lnTo>
                  <a:lnTo>
                    <a:pt x="288" y="876"/>
                  </a:lnTo>
                  <a:lnTo>
                    <a:pt x="282" y="876"/>
                  </a:lnTo>
                  <a:lnTo>
                    <a:pt x="276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2" y="882"/>
                  </a:lnTo>
                  <a:lnTo>
                    <a:pt x="246" y="882"/>
                  </a:lnTo>
                  <a:lnTo>
                    <a:pt x="240" y="882"/>
                  </a:lnTo>
                  <a:lnTo>
                    <a:pt x="234" y="882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204" y="876"/>
                  </a:lnTo>
                  <a:lnTo>
                    <a:pt x="198" y="876"/>
                  </a:lnTo>
                  <a:lnTo>
                    <a:pt x="198" y="870"/>
                  </a:lnTo>
                  <a:lnTo>
                    <a:pt x="198" y="852"/>
                  </a:lnTo>
                  <a:lnTo>
                    <a:pt x="198" y="846"/>
                  </a:lnTo>
                  <a:lnTo>
                    <a:pt x="204" y="846"/>
                  </a:lnTo>
                  <a:lnTo>
                    <a:pt x="198" y="840"/>
                  </a:lnTo>
                  <a:lnTo>
                    <a:pt x="198" y="834"/>
                  </a:lnTo>
                  <a:lnTo>
                    <a:pt x="198" y="828"/>
                  </a:lnTo>
                  <a:lnTo>
                    <a:pt x="198" y="822"/>
                  </a:lnTo>
                  <a:lnTo>
                    <a:pt x="198" y="816"/>
                  </a:lnTo>
                  <a:lnTo>
                    <a:pt x="198" y="810"/>
                  </a:lnTo>
                  <a:lnTo>
                    <a:pt x="192" y="810"/>
                  </a:lnTo>
                  <a:lnTo>
                    <a:pt x="192" y="804"/>
                  </a:lnTo>
                  <a:lnTo>
                    <a:pt x="192" y="798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2" y="774"/>
                  </a:lnTo>
                  <a:lnTo>
                    <a:pt x="192" y="768"/>
                  </a:lnTo>
                  <a:lnTo>
                    <a:pt x="198" y="768"/>
                  </a:lnTo>
                  <a:lnTo>
                    <a:pt x="198" y="762"/>
                  </a:lnTo>
                  <a:lnTo>
                    <a:pt x="198" y="756"/>
                  </a:lnTo>
                  <a:lnTo>
                    <a:pt x="204" y="756"/>
                  </a:lnTo>
                  <a:lnTo>
                    <a:pt x="204" y="750"/>
                  </a:lnTo>
                  <a:lnTo>
                    <a:pt x="210" y="744"/>
                  </a:lnTo>
                  <a:lnTo>
                    <a:pt x="210" y="738"/>
                  </a:lnTo>
                  <a:lnTo>
                    <a:pt x="210" y="732"/>
                  </a:lnTo>
                  <a:lnTo>
                    <a:pt x="210" y="726"/>
                  </a:lnTo>
                  <a:lnTo>
                    <a:pt x="210" y="720"/>
                  </a:lnTo>
                  <a:lnTo>
                    <a:pt x="204" y="714"/>
                  </a:lnTo>
                  <a:lnTo>
                    <a:pt x="204" y="720"/>
                  </a:lnTo>
                  <a:lnTo>
                    <a:pt x="204" y="732"/>
                  </a:lnTo>
                  <a:lnTo>
                    <a:pt x="204" y="738"/>
                  </a:lnTo>
                  <a:lnTo>
                    <a:pt x="198" y="738"/>
                  </a:lnTo>
                  <a:lnTo>
                    <a:pt x="198" y="744"/>
                  </a:lnTo>
                  <a:lnTo>
                    <a:pt x="198" y="750"/>
                  </a:lnTo>
                  <a:lnTo>
                    <a:pt x="192" y="756"/>
                  </a:lnTo>
                  <a:lnTo>
                    <a:pt x="186" y="762"/>
                  </a:lnTo>
                  <a:lnTo>
                    <a:pt x="186" y="768"/>
                  </a:lnTo>
                  <a:lnTo>
                    <a:pt x="186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98"/>
                  </a:lnTo>
                  <a:lnTo>
                    <a:pt x="186" y="804"/>
                  </a:lnTo>
                  <a:lnTo>
                    <a:pt x="186" y="810"/>
                  </a:lnTo>
                  <a:lnTo>
                    <a:pt x="192" y="816"/>
                  </a:lnTo>
                  <a:lnTo>
                    <a:pt x="192" y="828"/>
                  </a:lnTo>
                  <a:lnTo>
                    <a:pt x="192" y="834"/>
                  </a:lnTo>
                  <a:lnTo>
                    <a:pt x="186" y="834"/>
                  </a:lnTo>
                  <a:lnTo>
                    <a:pt x="186" y="828"/>
                  </a:lnTo>
                  <a:lnTo>
                    <a:pt x="180" y="822"/>
                  </a:lnTo>
                  <a:lnTo>
                    <a:pt x="180" y="816"/>
                  </a:lnTo>
                  <a:lnTo>
                    <a:pt x="180" y="810"/>
                  </a:lnTo>
                  <a:lnTo>
                    <a:pt x="174" y="810"/>
                  </a:lnTo>
                  <a:lnTo>
                    <a:pt x="174" y="804"/>
                  </a:lnTo>
                  <a:lnTo>
                    <a:pt x="174" y="798"/>
                  </a:lnTo>
                  <a:lnTo>
                    <a:pt x="174" y="792"/>
                  </a:lnTo>
                  <a:lnTo>
                    <a:pt x="168" y="786"/>
                  </a:lnTo>
                  <a:lnTo>
                    <a:pt x="168" y="780"/>
                  </a:lnTo>
                  <a:lnTo>
                    <a:pt x="162" y="780"/>
                  </a:lnTo>
                  <a:lnTo>
                    <a:pt x="168" y="774"/>
                  </a:lnTo>
                  <a:lnTo>
                    <a:pt x="168" y="768"/>
                  </a:lnTo>
                  <a:lnTo>
                    <a:pt x="174" y="768"/>
                  </a:lnTo>
                  <a:lnTo>
                    <a:pt x="168" y="768"/>
                  </a:lnTo>
                  <a:lnTo>
                    <a:pt x="162" y="774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50" y="774"/>
                  </a:lnTo>
                  <a:lnTo>
                    <a:pt x="144" y="774"/>
                  </a:lnTo>
                  <a:lnTo>
                    <a:pt x="144" y="768"/>
                  </a:lnTo>
                  <a:lnTo>
                    <a:pt x="144" y="762"/>
                  </a:lnTo>
                  <a:lnTo>
                    <a:pt x="138" y="756"/>
                  </a:lnTo>
                  <a:lnTo>
                    <a:pt x="132" y="756"/>
                  </a:lnTo>
                  <a:lnTo>
                    <a:pt x="138" y="756"/>
                  </a:lnTo>
                  <a:lnTo>
                    <a:pt x="138" y="762"/>
                  </a:lnTo>
                  <a:lnTo>
                    <a:pt x="138" y="768"/>
                  </a:lnTo>
                  <a:lnTo>
                    <a:pt x="144" y="768"/>
                  </a:lnTo>
                  <a:lnTo>
                    <a:pt x="144" y="774"/>
                  </a:lnTo>
                  <a:lnTo>
                    <a:pt x="150" y="780"/>
                  </a:lnTo>
                  <a:lnTo>
                    <a:pt x="156" y="780"/>
                  </a:lnTo>
                  <a:lnTo>
                    <a:pt x="156" y="786"/>
                  </a:lnTo>
                  <a:lnTo>
                    <a:pt x="162" y="786"/>
                  </a:lnTo>
                  <a:lnTo>
                    <a:pt x="168" y="792"/>
                  </a:lnTo>
                  <a:lnTo>
                    <a:pt x="168" y="798"/>
                  </a:lnTo>
                  <a:lnTo>
                    <a:pt x="168" y="804"/>
                  </a:lnTo>
                  <a:lnTo>
                    <a:pt x="174" y="810"/>
                  </a:lnTo>
                  <a:lnTo>
                    <a:pt x="174" y="816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68" y="828"/>
                  </a:lnTo>
                  <a:lnTo>
                    <a:pt x="168" y="834"/>
                  </a:lnTo>
                  <a:lnTo>
                    <a:pt x="174" y="840"/>
                  </a:lnTo>
                  <a:lnTo>
                    <a:pt x="180" y="840"/>
                  </a:lnTo>
                  <a:lnTo>
                    <a:pt x="180" y="846"/>
                  </a:lnTo>
                  <a:lnTo>
                    <a:pt x="186" y="846"/>
                  </a:lnTo>
                  <a:lnTo>
                    <a:pt x="186" y="852"/>
                  </a:lnTo>
                  <a:lnTo>
                    <a:pt x="186" y="858"/>
                  </a:lnTo>
                  <a:lnTo>
                    <a:pt x="186" y="864"/>
                  </a:lnTo>
                  <a:lnTo>
                    <a:pt x="192" y="864"/>
                  </a:lnTo>
                  <a:lnTo>
                    <a:pt x="192" y="870"/>
                  </a:lnTo>
                  <a:lnTo>
                    <a:pt x="192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6" y="888"/>
                  </a:lnTo>
                  <a:lnTo>
                    <a:pt x="180" y="888"/>
                  </a:lnTo>
                  <a:lnTo>
                    <a:pt x="174" y="888"/>
                  </a:lnTo>
                  <a:lnTo>
                    <a:pt x="168" y="894"/>
                  </a:lnTo>
                  <a:lnTo>
                    <a:pt x="162" y="894"/>
                  </a:lnTo>
                  <a:lnTo>
                    <a:pt x="156" y="894"/>
                  </a:lnTo>
                  <a:lnTo>
                    <a:pt x="150" y="894"/>
                  </a:lnTo>
                  <a:lnTo>
                    <a:pt x="144" y="894"/>
                  </a:lnTo>
                  <a:lnTo>
                    <a:pt x="144" y="900"/>
                  </a:lnTo>
                  <a:lnTo>
                    <a:pt x="138" y="894"/>
                  </a:lnTo>
                  <a:lnTo>
                    <a:pt x="138" y="900"/>
                  </a:lnTo>
                  <a:lnTo>
                    <a:pt x="132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6" y="882"/>
                  </a:lnTo>
                  <a:lnTo>
                    <a:pt x="126" y="876"/>
                  </a:lnTo>
                  <a:lnTo>
                    <a:pt x="120" y="876"/>
                  </a:lnTo>
                  <a:lnTo>
                    <a:pt x="126" y="870"/>
                  </a:lnTo>
                  <a:lnTo>
                    <a:pt x="126" y="864"/>
                  </a:lnTo>
                  <a:lnTo>
                    <a:pt x="126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26" y="828"/>
                  </a:lnTo>
                  <a:lnTo>
                    <a:pt x="126" y="822"/>
                  </a:lnTo>
                  <a:lnTo>
                    <a:pt x="126" y="816"/>
                  </a:lnTo>
                  <a:lnTo>
                    <a:pt x="126" y="810"/>
                  </a:lnTo>
                  <a:lnTo>
                    <a:pt x="126" y="804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20" y="792"/>
                  </a:lnTo>
                  <a:lnTo>
                    <a:pt x="114" y="792"/>
                  </a:lnTo>
                  <a:lnTo>
                    <a:pt x="114" y="786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96" y="780"/>
                  </a:lnTo>
                  <a:lnTo>
                    <a:pt x="96" y="774"/>
                  </a:lnTo>
                  <a:lnTo>
                    <a:pt x="90" y="774"/>
                  </a:lnTo>
                  <a:lnTo>
                    <a:pt x="90" y="768"/>
                  </a:lnTo>
                  <a:close/>
                  <a:moveTo>
                    <a:pt x="96" y="780"/>
                  </a:moveTo>
                  <a:lnTo>
                    <a:pt x="102" y="780"/>
                  </a:lnTo>
                  <a:lnTo>
                    <a:pt x="102" y="786"/>
                  </a:lnTo>
                  <a:lnTo>
                    <a:pt x="108" y="786"/>
                  </a:lnTo>
                  <a:lnTo>
                    <a:pt x="114" y="792"/>
                  </a:lnTo>
                  <a:lnTo>
                    <a:pt x="120" y="798"/>
                  </a:lnTo>
                  <a:lnTo>
                    <a:pt x="120" y="804"/>
                  </a:lnTo>
                  <a:lnTo>
                    <a:pt x="126" y="810"/>
                  </a:lnTo>
                  <a:lnTo>
                    <a:pt x="126" y="816"/>
                  </a:lnTo>
                  <a:lnTo>
                    <a:pt x="126" y="822"/>
                  </a:lnTo>
                  <a:lnTo>
                    <a:pt x="120" y="828"/>
                  </a:lnTo>
                  <a:lnTo>
                    <a:pt x="120" y="840"/>
                  </a:lnTo>
                  <a:lnTo>
                    <a:pt x="120" y="852"/>
                  </a:lnTo>
                  <a:lnTo>
                    <a:pt x="120" y="858"/>
                  </a:lnTo>
                  <a:lnTo>
                    <a:pt x="120" y="864"/>
                  </a:lnTo>
                  <a:lnTo>
                    <a:pt x="120" y="870"/>
                  </a:lnTo>
                  <a:lnTo>
                    <a:pt x="114" y="870"/>
                  </a:lnTo>
                  <a:lnTo>
                    <a:pt x="108" y="870"/>
                  </a:lnTo>
                  <a:lnTo>
                    <a:pt x="108" y="876"/>
                  </a:lnTo>
                  <a:lnTo>
                    <a:pt x="114" y="876"/>
                  </a:lnTo>
                  <a:lnTo>
                    <a:pt x="120" y="876"/>
                  </a:lnTo>
                  <a:lnTo>
                    <a:pt x="120" y="882"/>
                  </a:lnTo>
                  <a:lnTo>
                    <a:pt x="114" y="888"/>
                  </a:lnTo>
                  <a:lnTo>
                    <a:pt x="120" y="888"/>
                  </a:lnTo>
                  <a:lnTo>
                    <a:pt x="120" y="894"/>
                  </a:lnTo>
                  <a:lnTo>
                    <a:pt x="114" y="894"/>
                  </a:lnTo>
                  <a:lnTo>
                    <a:pt x="108" y="894"/>
                  </a:lnTo>
                  <a:lnTo>
                    <a:pt x="96" y="894"/>
                  </a:lnTo>
                  <a:lnTo>
                    <a:pt x="96" y="882"/>
                  </a:lnTo>
                  <a:lnTo>
                    <a:pt x="96" y="876"/>
                  </a:lnTo>
                  <a:lnTo>
                    <a:pt x="84" y="870"/>
                  </a:lnTo>
                  <a:lnTo>
                    <a:pt x="72" y="864"/>
                  </a:lnTo>
                  <a:lnTo>
                    <a:pt x="72" y="852"/>
                  </a:lnTo>
                  <a:lnTo>
                    <a:pt x="72" y="840"/>
                  </a:lnTo>
                  <a:lnTo>
                    <a:pt x="78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90" y="792"/>
                  </a:lnTo>
                  <a:lnTo>
                    <a:pt x="96" y="780"/>
                  </a:lnTo>
                  <a:close/>
                  <a:moveTo>
                    <a:pt x="492" y="810"/>
                  </a:moveTo>
                  <a:lnTo>
                    <a:pt x="498" y="810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510" y="792"/>
                  </a:lnTo>
                  <a:lnTo>
                    <a:pt x="516" y="786"/>
                  </a:lnTo>
                  <a:lnTo>
                    <a:pt x="522" y="780"/>
                  </a:lnTo>
                  <a:lnTo>
                    <a:pt x="522" y="774"/>
                  </a:lnTo>
                  <a:lnTo>
                    <a:pt x="528" y="768"/>
                  </a:lnTo>
                  <a:lnTo>
                    <a:pt x="528" y="762"/>
                  </a:lnTo>
                  <a:lnTo>
                    <a:pt x="534" y="762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46" y="780"/>
                  </a:lnTo>
                  <a:lnTo>
                    <a:pt x="552" y="786"/>
                  </a:lnTo>
                  <a:lnTo>
                    <a:pt x="558" y="786"/>
                  </a:lnTo>
                  <a:lnTo>
                    <a:pt x="564" y="786"/>
                  </a:lnTo>
                  <a:lnTo>
                    <a:pt x="576" y="786"/>
                  </a:lnTo>
                  <a:lnTo>
                    <a:pt x="582" y="786"/>
                  </a:lnTo>
                  <a:lnTo>
                    <a:pt x="588" y="786"/>
                  </a:lnTo>
                  <a:lnTo>
                    <a:pt x="594" y="786"/>
                  </a:lnTo>
                  <a:lnTo>
                    <a:pt x="588" y="792"/>
                  </a:lnTo>
                  <a:lnTo>
                    <a:pt x="588" y="798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82" y="822"/>
                  </a:lnTo>
                  <a:lnTo>
                    <a:pt x="588" y="828"/>
                  </a:lnTo>
                  <a:lnTo>
                    <a:pt x="588" y="834"/>
                  </a:lnTo>
                  <a:lnTo>
                    <a:pt x="582" y="840"/>
                  </a:lnTo>
                  <a:lnTo>
                    <a:pt x="570" y="840"/>
                  </a:lnTo>
                  <a:lnTo>
                    <a:pt x="558" y="846"/>
                  </a:lnTo>
                  <a:lnTo>
                    <a:pt x="552" y="846"/>
                  </a:lnTo>
                  <a:lnTo>
                    <a:pt x="534" y="852"/>
                  </a:lnTo>
                  <a:lnTo>
                    <a:pt x="522" y="858"/>
                  </a:lnTo>
                  <a:lnTo>
                    <a:pt x="510" y="858"/>
                  </a:lnTo>
                  <a:lnTo>
                    <a:pt x="498" y="864"/>
                  </a:lnTo>
                  <a:lnTo>
                    <a:pt x="474" y="864"/>
                  </a:lnTo>
                  <a:lnTo>
                    <a:pt x="468" y="858"/>
                  </a:lnTo>
                  <a:lnTo>
                    <a:pt x="468" y="852"/>
                  </a:lnTo>
                  <a:lnTo>
                    <a:pt x="468" y="846"/>
                  </a:lnTo>
                  <a:lnTo>
                    <a:pt x="474" y="840"/>
                  </a:lnTo>
                  <a:lnTo>
                    <a:pt x="474" y="834"/>
                  </a:lnTo>
                  <a:lnTo>
                    <a:pt x="480" y="828"/>
                  </a:lnTo>
                  <a:lnTo>
                    <a:pt x="492" y="822"/>
                  </a:lnTo>
                  <a:lnTo>
                    <a:pt x="492" y="810"/>
                  </a:lnTo>
                  <a:close/>
                  <a:moveTo>
                    <a:pt x="384" y="720"/>
                  </a:moveTo>
                  <a:lnTo>
                    <a:pt x="384" y="726"/>
                  </a:lnTo>
                  <a:lnTo>
                    <a:pt x="390" y="726"/>
                  </a:lnTo>
                  <a:lnTo>
                    <a:pt x="396" y="726"/>
                  </a:lnTo>
                  <a:lnTo>
                    <a:pt x="402" y="732"/>
                  </a:lnTo>
                  <a:lnTo>
                    <a:pt x="408" y="732"/>
                  </a:lnTo>
                  <a:lnTo>
                    <a:pt x="414" y="732"/>
                  </a:lnTo>
                  <a:lnTo>
                    <a:pt x="414" y="738"/>
                  </a:lnTo>
                  <a:lnTo>
                    <a:pt x="414" y="744"/>
                  </a:lnTo>
                  <a:lnTo>
                    <a:pt x="414" y="750"/>
                  </a:lnTo>
                  <a:lnTo>
                    <a:pt x="414" y="756"/>
                  </a:lnTo>
                  <a:lnTo>
                    <a:pt x="414" y="762"/>
                  </a:lnTo>
                  <a:lnTo>
                    <a:pt x="420" y="768"/>
                  </a:lnTo>
                  <a:lnTo>
                    <a:pt x="420" y="774"/>
                  </a:lnTo>
                  <a:lnTo>
                    <a:pt x="426" y="780"/>
                  </a:lnTo>
                  <a:lnTo>
                    <a:pt x="426" y="786"/>
                  </a:lnTo>
                  <a:lnTo>
                    <a:pt x="420" y="786"/>
                  </a:lnTo>
                  <a:lnTo>
                    <a:pt x="420" y="792"/>
                  </a:lnTo>
                  <a:lnTo>
                    <a:pt x="420" y="798"/>
                  </a:lnTo>
                  <a:lnTo>
                    <a:pt x="420" y="804"/>
                  </a:lnTo>
                  <a:lnTo>
                    <a:pt x="426" y="804"/>
                  </a:lnTo>
                  <a:lnTo>
                    <a:pt x="426" y="810"/>
                  </a:lnTo>
                  <a:lnTo>
                    <a:pt x="426" y="816"/>
                  </a:lnTo>
                  <a:lnTo>
                    <a:pt x="432" y="816"/>
                  </a:lnTo>
                  <a:lnTo>
                    <a:pt x="438" y="816"/>
                  </a:lnTo>
                  <a:lnTo>
                    <a:pt x="438" y="822"/>
                  </a:lnTo>
                  <a:lnTo>
                    <a:pt x="432" y="822"/>
                  </a:lnTo>
                  <a:lnTo>
                    <a:pt x="426" y="828"/>
                  </a:lnTo>
                  <a:lnTo>
                    <a:pt x="420" y="828"/>
                  </a:lnTo>
                  <a:lnTo>
                    <a:pt x="414" y="828"/>
                  </a:lnTo>
                  <a:lnTo>
                    <a:pt x="408" y="828"/>
                  </a:lnTo>
                  <a:lnTo>
                    <a:pt x="402" y="828"/>
                  </a:lnTo>
                  <a:lnTo>
                    <a:pt x="402" y="822"/>
                  </a:lnTo>
                  <a:lnTo>
                    <a:pt x="396" y="822"/>
                  </a:lnTo>
                  <a:lnTo>
                    <a:pt x="402" y="822"/>
                  </a:lnTo>
                  <a:lnTo>
                    <a:pt x="402" y="816"/>
                  </a:lnTo>
                  <a:lnTo>
                    <a:pt x="396" y="816"/>
                  </a:lnTo>
                  <a:lnTo>
                    <a:pt x="396" y="810"/>
                  </a:lnTo>
                  <a:lnTo>
                    <a:pt x="396" y="804"/>
                  </a:lnTo>
                  <a:lnTo>
                    <a:pt x="390" y="798"/>
                  </a:lnTo>
                  <a:lnTo>
                    <a:pt x="390" y="792"/>
                  </a:lnTo>
                  <a:lnTo>
                    <a:pt x="390" y="786"/>
                  </a:lnTo>
                  <a:lnTo>
                    <a:pt x="390" y="780"/>
                  </a:lnTo>
                  <a:lnTo>
                    <a:pt x="390" y="774"/>
                  </a:lnTo>
                  <a:lnTo>
                    <a:pt x="390" y="768"/>
                  </a:lnTo>
                  <a:lnTo>
                    <a:pt x="390" y="762"/>
                  </a:lnTo>
                  <a:lnTo>
                    <a:pt x="384" y="756"/>
                  </a:lnTo>
                  <a:lnTo>
                    <a:pt x="384" y="750"/>
                  </a:lnTo>
                  <a:lnTo>
                    <a:pt x="384" y="744"/>
                  </a:lnTo>
                  <a:lnTo>
                    <a:pt x="378" y="744"/>
                  </a:lnTo>
                  <a:lnTo>
                    <a:pt x="384" y="744"/>
                  </a:lnTo>
                  <a:lnTo>
                    <a:pt x="384" y="738"/>
                  </a:lnTo>
                  <a:lnTo>
                    <a:pt x="378" y="738"/>
                  </a:lnTo>
                  <a:lnTo>
                    <a:pt x="378" y="732"/>
                  </a:lnTo>
                  <a:lnTo>
                    <a:pt x="378" y="726"/>
                  </a:lnTo>
                  <a:lnTo>
                    <a:pt x="378" y="720"/>
                  </a:lnTo>
                  <a:lnTo>
                    <a:pt x="384" y="720"/>
                  </a:lnTo>
                  <a:close/>
                  <a:moveTo>
                    <a:pt x="330" y="738"/>
                  </a:moveTo>
                  <a:lnTo>
                    <a:pt x="336" y="732"/>
                  </a:lnTo>
                  <a:lnTo>
                    <a:pt x="336" y="726"/>
                  </a:lnTo>
                  <a:lnTo>
                    <a:pt x="342" y="720"/>
                  </a:lnTo>
                  <a:lnTo>
                    <a:pt x="348" y="720"/>
                  </a:lnTo>
                  <a:lnTo>
                    <a:pt x="360" y="720"/>
                  </a:lnTo>
                  <a:lnTo>
                    <a:pt x="366" y="726"/>
                  </a:lnTo>
                  <a:lnTo>
                    <a:pt x="372" y="732"/>
                  </a:lnTo>
                  <a:lnTo>
                    <a:pt x="372" y="738"/>
                  </a:lnTo>
                  <a:lnTo>
                    <a:pt x="366" y="750"/>
                  </a:lnTo>
                  <a:lnTo>
                    <a:pt x="372" y="756"/>
                  </a:lnTo>
                  <a:lnTo>
                    <a:pt x="372" y="762"/>
                  </a:lnTo>
                  <a:lnTo>
                    <a:pt x="372" y="768"/>
                  </a:lnTo>
                  <a:lnTo>
                    <a:pt x="372" y="774"/>
                  </a:lnTo>
                  <a:lnTo>
                    <a:pt x="372" y="780"/>
                  </a:lnTo>
                  <a:lnTo>
                    <a:pt x="372" y="774"/>
                  </a:lnTo>
                  <a:lnTo>
                    <a:pt x="366" y="768"/>
                  </a:lnTo>
                  <a:lnTo>
                    <a:pt x="366" y="762"/>
                  </a:lnTo>
                  <a:lnTo>
                    <a:pt x="366" y="756"/>
                  </a:lnTo>
                  <a:lnTo>
                    <a:pt x="360" y="756"/>
                  </a:lnTo>
                  <a:lnTo>
                    <a:pt x="360" y="750"/>
                  </a:lnTo>
                  <a:lnTo>
                    <a:pt x="354" y="750"/>
                  </a:lnTo>
                  <a:lnTo>
                    <a:pt x="348" y="744"/>
                  </a:lnTo>
                  <a:lnTo>
                    <a:pt x="342" y="744"/>
                  </a:lnTo>
                  <a:lnTo>
                    <a:pt x="336" y="744"/>
                  </a:lnTo>
                  <a:lnTo>
                    <a:pt x="330" y="73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1" name="Freeform 6">
              <a:extLst>
                <a:ext uri="{FF2B5EF4-FFF2-40B4-BE49-F238E27FC236}">
                  <a16:creationId xmlns:a16="http://schemas.microsoft.com/office/drawing/2014/main" id="{0656C385-F30A-4AC8-AE9F-B1F66208B38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3123" y="4163918"/>
              <a:ext cx="266107" cy="248252"/>
            </a:xfrm>
            <a:custGeom>
              <a:avLst/>
              <a:gdLst>
                <a:gd name="T0" fmla="*/ 33 w 504"/>
                <a:gd name="T1" fmla="*/ 41 h 468"/>
                <a:gd name="T2" fmla="*/ 26 w 504"/>
                <a:gd name="T3" fmla="*/ 39 h 468"/>
                <a:gd name="T4" fmla="*/ 21 w 504"/>
                <a:gd name="T5" fmla="*/ 38 h 468"/>
                <a:gd name="T6" fmla="*/ 18 w 504"/>
                <a:gd name="T7" fmla="*/ 38 h 468"/>
                <a:gd name="T8" fmla="*/ 15 w 504"/>
                <a:gd name="T9" fmla="*/ 39 h 468"/>
                <a:gd name="T10" fmla="*/ 12 w 504"/>
                <a:gd name="T11" fmla="*/ 38 h 468"/>
                <a:gd name="T12" fmla="*/ 9 w 504"/>
                <a:gd name="T13" fmla="*/ 37 h 468"/>
                <a:gd name="T14" fmla="*/ 7 w 504"/>
                <a:gd name="T15" fmla="*/ 32 h 468"/>
                <a:gd name="T16" fmla="*/ 6 w 504"/>
                <a:gd name="T17" fmla="*/ 26 h 468"/>
                <a:gd name="T18" fmla="*/ 3 w 504"/>
                <a:gd name="T19" fmla="*/ 24 h 468"/>
                <a:gd name="T20" fmla="*/ 1 w 504"/>
                <a:gd name="T21" fmla="*/ 24 h 468"/>
                <a:gd name="T22" fmla="*/ 2 w 504"/>
                <a:gd name="T23" fmla="*/ 18 h 468"/>
                <a:gd name="T24" fmla="*/ 1 w 504"/>
                <a:gd name="T25" fmla="*/ 17 h 468"/>
                <a:gd name="T26" fmla="*/ 0 w 504"/>
                <a:gd name="T27" fmla="*/ 17 h 468"/>
                <a:gd name="T28" fmla="*/ 0 w 504"/>
                <a:gd name="T29" fmla="*/ 15 h 468"/>
                <a:gd name="T30" fmla="*/ 2 w 504"/>
                <a:gd name="T31" fmla="*/ 12 h 468"/>
                <a:gd name="T32" fmla="*/ 4 w 504"/>
                <a:gd name="T33" fmla="*/ 10 h 468"/>
                <a:gd name="T34" fmla="*/ 6 w 504"/>
                <a:gd name="T35" fmla="*/ 8 h 468"/>
                <a:gd name="T36" fmla="*/ 8 w 504"/>
                <a:gd name="T37" fmla="*/ 8 h 468"/>
                <a:gd name="T38" fmla="*/ 10 w 504"/>
                <a:gd name="T39" fmla="*/ 9 h 468"/>
                <a:gd name="T40" fmla="*/ 12 w 504"/>
                <a:gd name="T41" fmla="*/ 10 h 468"/>
                <a:gd name="T42" fmla="*/ 12 w 504"/>
                <a:gd name="T43" fmla="*/ 11 h 468"/>
                <a:gd name="T44" fmla="*/ 14 w 504"/>
                <a:gd name="T45" fmla="*/ 8 h 468"/>
                <a:gd name="T46" fmla="*/ 15 w 504"/>
                <a:gd name="T47" fmla="*/ 7 h 468"/>
                <a:gd name="T48" fmla="*/ 17 w 504"/>
                <a:gd name="T49" fmla="*/ 6 h 468"/>
                <a:gd name="T50" fmla="*/ 19 w 504"/>
                <a:gd name="T51" fmla="*/ 3 h 468"/>
                <a:gd name="T52" fmla="*/ 20 w 504"/>
                <a:gd name="T53" fmla="*/ 2 h 468"/>
                <a:gd name="T54" fmla="*/ 22 w 504"/>
                <a:gd name="T55" fmla="*/ 1 h 468"/>
                <a:gd name="T56" fmla="*/ 27 w 504"/>
                <a:gd name="T57" fmla="*/ 1 h 468"/>
                <a:gd name="T58" fmla="*/ 30 w 504"/>
                <a:gd name="T59" fmla="*/ 2 h 468"/>
                <a:gd name="T60" fmla="*/ 31 w 504"/>
                <a:gd name="T61" fmla="*/ 2 h 468"/>
                <a:gd name="T62" fmla="*/ 34 w 504"/>
                <a:gd name="T63" fmla="*/ 0 h 468"/>
                <a:gd name="T64" fmla="*/ 37 w 504"/>
                <a:gd name="T65" fmla="*/ 1 h 468"/>
                <a:gd name="T66" fmla="*/ 41 w 504"/>
                <a:gd name="T67" fmla="*/ 2 h 468"/>
                <a:gd name="T68" fmla="*/ 42 w 504"/>
                <a:gd name="T69" fmla="*/ 4 h 468"/>
                <a:gd name="T70" fmla="*/ 42 w 504"/>
                <a:gd name="T71" fmla="*/ 10 h 468"/>
                <a:gd name="T72" fmla="*/ 41 w 504"/>
                <a:gd name="T73" fmla="*/ 14 h 468"/>
                <a:gd name="T74" fmla="*/ 42 w 504"/>
                <a:gd name="T75" fmla="*/ 15 h 468"/>
                <a:gd name="T76" fmla="*/ 44 w 504"/>
                <a:gd name="T77" fmla="*/ 18 h 468"/>
                <a:gd name="T78" fmla="*/ 43 w 504"/>
                <a:gd name="T79" fmla="*/ 19 h 468"/>
                <a:gd name="T80" fmla="*/ 42 w 504"/>
                <a:gd name="T81" fmla="*/ 21 h 468"/>
                <a:gd name="T82" fmla="*/ 42 w 504"/>
                <a:gd name="T83" fmla="*/ 23 h 468"/>
                <a:gd name="T84" fmla="*/ 39 w 504"/>
                <a:gd name="T85" fmla="*/ 27 h 468"/>
                <a:gd name="T86" fmla="*/ 38 w 504"/>
                <a:gd name="T87" fmla="*/ 29 h 468"/>
                <a:gd name="T88" fmla="*/ 38 w 504"/>
                <a:gd name="T89" fmla="*/ 31 h 468"/>
                <a:gd name="T90" fmla="*/ 36 w 504"/>
                <a:gd name="T91" fmla="*/ 32 h 468"/>
                <a:gd name="T92" fmla="*/ 35 w 504"/>
                <a:gd name="T93" fmla="*/ 34 h 468"/>
                <a:gd name="T94" fmla="*/ 34 w 504"/>
                <a:gd name="T95" fmla="*/ 38 h 46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04"/>
                <a:gd name="T145" fmla="*/ 0 h 468"/>
                <a:gd name="T146" fmla="*/ 504 w 504"/>
                <a:gd name="T147" fmla="*/ 468 h 46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04" h="468">
                  <a:moveTo>
                    <a:pt x="390" y="456"/>
                  </a:moveTo>
                  <a:lnTo>
                    <a:pt x="384" y="468"/>
                  </a:lnTo>
                  <a:lnTo>
                    <a:pt x="378" y="468"/>
                  </a:lnTo>
                  <a:lnTo>
                    <a:pt x="354" y="468"/>
                  </a:lnTo>
                  <a:lnTo>
                    <a:pt x="348" y="462"/>
                  </a:lnTo>
                  <a:lnTo>
                    <a:pt x="300" y="456"/>
                  </a:lnTo>
                  <a:lnTo>
                    <a:pt x="270" y="444"/>
                  </a:lnTo>
                  <a:lnTo>
                    <a:pt x="252" y="438"/>
                  </a:lnTo>
                  <a:lnTo>
                    <a:pt x="240" y="438"/>
                  </a:lnTo>
                  <a:lnTo>
                    <a:pt x="234" y="438"/>
                  </a:lnTo>
                  <a:lnTo>
                    <a:pt x="228" y="444"/>
                  </a:lnTo>
                  <a:lnTo>
                    <a:pt x="210" y="444"/>
                  </a:lnTo>
                  <a:lnTo>
                    <a:pt x="198" y="444"/>
                  </a:lnTo>
                  <a:lnTo>
                    <a:pt x="198" y="450"/>
                  </a:lnTo>
                  <a:lnTo>
                    <a:pt x="168" y="456"/>
                  </a:lnTo>
                  <a:lnTo>
                    <a:pt x="150" y="450"/>
                  </a:lnTo>
                  <a:lnTo>
                    <a:pt x="144" y="444"/>
                  </a:lnTo>
                  <a:lnTo>
                    <a:pt x="132" y="438"/>
                  </a:lnTo>
                  <a:lnTo>
                    <a:pt x="138" y="432"/>
                  </a:lnTo>
                  <a:lnTo>
                    <a:pt x="114" y="432"/>
                  </a:lnTo>
                  <a:lnTo>
                    <a:pt x="102" y="426"/>
                  </a:lnTo>
                  <a:lnTo>
                    <a:pt x="90" y="414"/>
                  </a:lnTo>
                  <a:lnTo>
                    <a:pt x="72" y="402"/>
                  </a:lnTo>
                  <a:lnTo>
                    <a:pt x="78" y="366"/>
                  </a:lnTo>
                  <a:lnTo>
                    <a:pt x="78" y="330"/>
                  </a:lnTo>
                  <a:lnTo>
                    <a:pt x="66" y="318"/>
                  </a:lnTo>
                  <a:lnTo>
                    <a:pt x="66" y="300"/>
                  </a:lnTo>
                  <a:lnTo>
                    <a:pt x="66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30" y="282"/>
                  </a:lnTo>
                  <a:lnTo>
                    <a:pt x="24" y="282"/>
                  </a:lnTo>
                  <a:lnTo>
                    <a:pt x="12" y="276"/>
                  </a:lnTo>
                  <a:lnTo>
                    <a:pt x="0" y="282"/>
                  </a:lnTo>
                  <a:lnTo>
                    <a:pt x="12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2" y="198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6" y="180"/>
                  </a:lnTo>
                  <a:lnTo>
                    <a:pt x="12" y="186"/>
                  </a:lnTo>
                  <a:lnTo>
                    <a:pt x="18" y="138"/>
                  </a:lnTo>
                  <a:lnTo>
                    <a:pt x="24" y="126"/>
                  </a:lnTo>
                  <a:lnTo>
                    <a:pt x="30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20" y="102"/>
                  </a:lnTo>
                  <a:lnTo>
                    <a:pt x="126" y="108"/>
                  </a:lnTo>
                  <a:lnTo>
                    <a:pt x="126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0"/>
                  </a:lnTo>
                  <a:lnTo>
                    <a:pt x="156" y="96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16" y="42"/>
                  </a:lnTo>
                  <a:lnTo>
                    <a:pt x="222" y="36"/>
                  </a:lnTo>
                  <a:lnTo>
                    <a:pt x="228" y="36"/>
                  </a:lnTo>
                  <a:lnTo>
                    <a:pt x="228" y="30"/>
                  </a:lnTo>
                  <a:lnTo>
                    <a:pt x="228" y="24"/>
                  </a:lnTo>
                  <a:lnTo>
                    <a:pt x="246" y="18"/>
                  </a:lnTo>
                  <a:lnTo>
                    <a:pt x="252" y="18"/>
                  </a:lnTo>
                  <a:lnTo>
                    <a:pt x="258" y="12"/>
                  </a:lnTo>
                  <a:lnTo>
                    <a:pt x="270" y="6"/>
                  </a:lnTo>
                  <a:lnTo>
                    <a:pt x="288" y="6"/>
                  </a:lnTo>
                  <a:lnTo>
                    <a:pt x="312" y="12"/>
                  </a:lnTo>
                  <a:lnTo>
                    <a:pt x="324" y="12"/>
                  </a:lnTo>
                  <a:lnTo>
                    <a:pt x="336" y="18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14" y="12"/>
                  </a:lnTo>
                  <a:lnTo>
                    <a:pt x="426" y="12"/>
                  </a:lnTo>
                  <a:lnTo>
                    <a:pt x="444" y="18"/>
                  </a:lnTo>
                  <a:lnTo>
                    <a:pt x="462" y="18"/>
                  </a:lnTo>
                  <a:lnTo>
                    <a:pt x="474" y="18"/>
                  </a:lnTo>
                  <a:lnTo>
                    <a:pt x="480" y="18"/>
                  </a:lnTo>
                  <a:lnTo>
                    <a:pt x="486" y="36"/>
                  </a:lnTo>
                  <a:lnTo>
                    <a:pt x="480" y="42"/>
                  </a:lnTo>
                  <a:lnTo>
                    <a:pt x="480" y="54"/>
                  </a:lnTo>
                  <a:lnTo>
                    <a:pt x="486" y="78"/>
                  </a:lnTo>
                  <a:lnTo>
                    <a:pt x="486" y="114"/>
                  </a:lnTo>
                  <a:lnTo>
                    <a:pt x="486" y="150"/>
                  </a:lnTo>
                  <a:lnTo>
                    <a:pt x="468" y="150"/>
                  </a:lnTo>
                  <a:lnTo>
                    <a:pt x="474" y="162"/>
                  </a:lnTo>
                  <a:lnTo>
                    <a:pt x="480" y="162"/>
                  </a:lnTo>
                  <a:lnTo>
                    <a:pt x="486" y="174"/>
                  </a:lnTo>
                  <a:lnTo>
                    <a:pt x="492" y="174"/>
                  </a:lnTo>
                  <a:lnTo>
                    <a:pt x="492" y="192"/>
                  </a:lnTo>
                  <a:lnTo>
                    <a:pt x="498" y="198"/>
                  </a:lnTo>
                  <a:lnTo>
                    <a:pt x="504" y="204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8" y="222"/>
                  </a:lnTo>
                  <a:lnTo>
                    <a:pt x="492" y="228"/>
                  </a:lnTo>
                  <a:lnTo>
                    <a:pt x="492" y="234"/>
                  </a:lnTo>
                  <a:lnTo>
                    <a:pt x="492" y="240"/>
                  </a:lnTo>
                  <a:lnTo>
                    <a:pt x="486" y="246"/>
                  </a:lnTo>
                  <a:lnTo>
                    <a:pt x="486" y="258"/>
                  </a:lnTo>
                  <a:lnTo>
                    <a:pt x="480" y="264"/>
                  </a:lnTo>
                  <a:lnTo>
                    <a:pt x="474" y="276"/>
                  </a:lnTo>
                  <a:lnTo>
                    <a:pt x="468" y="288"/>
                  </a:lnTo>
                  <a:lnTo>
                    <a:pt x="456" y="306"/>
                  </a:lnTo>
                  <a:lnTo>
                    <a:pt x="456" y="312"/>
                  </a:lnTo>
                  <a:lnTo>
                    <a:pt x="444" y="318"/>
                  </a:lnTo>
                  <a:lnTo>
                    <a:pt x="432" y="336"/>
                  </a:lnTo>
                  <a:lnTo>
                    <a:pt x="432" y="342"/>
                  </a:lnTo>
                  <a:lnTo>
                    <a:pt x="432" y="348"/>
                  </a:lnTo>
                  <a:lnTo>
                    <a:pt x="432" y="354"/>
                  </a:lnTo>
                  <a:lnTo>
                    <a:pt x="426" y="366"/>
                  </a:lnTo>
                  <a:lnTo>
                    <a:pt x="420" y="366"/>
                  </a:lnTo>
                  <a:lnTo>
                    <a:pt x="420" y="372"/>
                  </a:lnTo>
                  <a:lnTo>
                    <a:pt x="414" y="378"/>
                  </a:lnTo>
                  <a:lnTo>
                    <a:pt x="414" y="390"/>
                  </a:lnTo>
                  <a:lnTo>
                    <a:pt x="408" y="390"/>
                  </a:lnTo>
                  <a:lnTo>
                    <a:pt x="408" y="402"/>
                  </a:lnTo>
                  <a:lnTo>
                    <a:pt x="402" y="414"/>
                  </a:lnTo>
                  <a:lnTo>
                    <a:pt x="396" y="438"/>
                  </a:lnTo>
                  <a:lnTo>
                    <a:pt x="396" y="444"/>
                  </a:lnTo>
                  <a:lnTo>
                    <a:pt x="390" y="45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11" name="Freeform 7">
              <a:extLst>
                <a:ext uri="{FF2B5EF4-FFF2-40B4-BE49-F238E27FC236}">
                  <a16:creationId xmlns:a16="http://schemas.microsoft.com/office/drawing/2014/main" id="{0D8DE62D-4554-4314-9F3A-7208D89B4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90838" y="4128134"/>
              <a:ext cx="283995" cy="411516"/>
            </a:xfrm>
            <a:custGeom>
              <a:avLst/>
              <a:gdLst>
                <a:gd name="T0" fmla="*/ 39 w 534"/>
                <a:gd name="T1" fmla="*/ 35 h 774"/>
                <a:gd name="T2" fmla="*/ 35 w 534"/>
                <a:gd name="T3" fmla="*/ 31 h 774"/>
                <a:gd name="T4" fmla="*/ 32 w 534"/>
                <a:gd name="T5" fmla="*/ 29 h 774"/>
                <a:gd name="T6" fmla="*/ 32 w 534"/>
                <a:gd name="T7" fmla="*/ 31 h 774"/>
                <a:gd name="T8" fmla="*/ 29 w 534"/>
                <a:gd name="T9" fmla="*/ 33 h 774"/>
                <a:gd name="T10" fmla="*/ 27 w 534"/>
                <a:gd name="T11" fmla="*/ 36 h 774"/>
                <a:gd name="T12" fmla="*/ 30 w 534"/>
                <a:gd name="T13" fmla="*/ 38 h 774"/>
                <a:gd name="T14" fmla="*/ 29 w 534"/>
                <a:gd name="T15" fmla="*/ 40 h 774"/>
                <a:gd name="T16" fmla="*/ 25 w 534"/>
                <a:gd name="T17" fmla="*/ 40 h 774"/>
                <a:gd name="T18" fmla="*/ 23 w 534"/>
                <a:gd name="T19" fmla="*/ 42 h 774"/>
                <a:gd name="T20" fmla="*/ 22 w 534"/>
                <a:gd name="T21" fmla="*/ 47 h 774"/>
                <a:gd name="T22" fmla="*/ 22 w 534"/>
                <a:gd name="T23" fmla="*/ 51 h 774"/>
                <a:gd name="T24" fmla="*/ 22 w 534"/>
                <a:gd name="T25" fmla="*/ 54 h 774"/>
                <a:gd name="T26" fmla="*/ 21 w 534"/>
                <a:gd name="T27" fmla="*/ 56 h 774"/>
                <a:gd name="T28" fmla="*/ 19 w 534"/>
                <a:gd name="T29" fmla="*/ 58 h 774"/>
                <a:gd name="T30" fmla="*/ 20 w 534"/>
                <a:gd name="T31" fmla="*/ 59 h 774"/>
                <a:gd name="T32" fmla="*/ 19 w 534"/>
                <a:gd name="T33" fmla="*/ 62 h 774"/>
                <a:gd name="T34" fmla="*/ 19 w 534"/>
                <a:gd name="T35" fmla="*/ 64 h 774"/>
                <a:gd name="T36" fmla="*/ 20 w 534"/>
                <a:gd name="T37" fmla="*/ 66 h 774"/>
                <a:gd name="T38" fmla="*/ 17 w 534"/>
                <a:gd name="T39" fmla="*/ 66 h 774"/>
                <a:gd name="T40" fmla="*/ 16 w 534"/>
                <a:gd name="T41" fmla="*/ 65 h 774"/>
                <a:gd name="T42" fmla="*/ 13 w 534"/>
                <a:gd name="T43" fmla="*/ 65 h 774"/>
                <a:gd name="T44" fmla="*/ 11 w 534"/>
                <a:gd name="T45" fmla="*/ 65 h 774"/>
                <a:gd name="T46" fmla="*/ 8 w 534"/>
                <a:gd name="T47" fmla="*/ 65 h 774"/>
                <a:gd name="T48" fmla="*/ 8 w 534"/>
                <a:gd name="T49" fmla="*/ 64 h 774"/>
                <a:gd name="T50" fmla="*/ 5 w 534"/>
                <a:gd name="T51" fmla="*/ 65 h 774"/>
                <a:gd name="T52" fmla="*/ 3 w 534"/>
                <a:gd name="T53" fmla="*/ 65 h 774"/>
                <a:gd name="T54" fmla="*/ 0 w 534"/>
                <a:gd name="T55" fmla="*/ 64 h 774"/>
                <a:gd name="T56" fmla="*/ 0 w 534"/>
                <a:gd name="T57" fmla="*/ 62 h 774"/>
                <a:gd name="T58" fmla="*/ 3 w 534"/>
                <a:gd name="T59" fmla="*/ 60 h 774"/>
                <a:gd name="T60" fmla="*/ 6 w 534"/>
                <a:gd name="T61" fmla="*/ 57 h 774"/>
                <a:gd name="T62" fmla="*/ 8 w 534"/>
                <a:gd name="T63" fmla="*/ 50 h 774"/>
                <a:gd name="T64" fmla="*/ 6 w 534"/>
                <a:gd name="T65" fmla="*/ 45 h 774"/>
                <a:gd name="T66" fmla="*/ 8 w 534"/>
                <a:gd name="T67" fmla="*/ 41 h 774"/>
                <a:gd name="T68" fmla="*/ 9 w 534"/>
                <a:gd name="T69" fmla="*/ 38 h 774"/>
                <a:gd name="T70" fmla="*/ 10 w 534"/>
                <a:gd name="T71" fmla="*/ 36 h 774"/>
                <a:gd name="T72" fmla="*/ 12 w 534"/>
                <a:gd name="T73" fmla="*/ 33 h 774"/>
                <a:gd name="T74" fmla="*/ 14 w 534"/>
                <a:gd name="T75" fmla="*/ 29 h 774"/>
                <a:gd name="T76" fmla="*/ 16 w 534"/>
                <a:gd name="T77" fmla="*/ 26 h 774"/>
                <a:gd name="T78" fmla="*/ 16 w 534"/>
                <a:gd name="T79" fmla="*/ 24 h 774"/>
                <a:gd name="T80" fmla="*/ 16 w 534"/>
                <a:gd name="T81" fmla="*/ 21 h 774"/>
                <a:gd name="T82" fmla="*/ 13 w 534"/>
                <a:gd name="T83" fmla="*/ 19 h 774"/>
                <a:gd name="T84" fmla="*/ 14 w 534"/>
                <a:gd name="T85" fmla="*/ 10 h 774"/>
                <a:gd name="T86" fmla="*/ 14 w 534"/>
                <a:gd name="T87" fmla="*/ 7 h 774"/>
                <a:gd name="T88" fmla="*/ 8 w 534"/>
                <a:gd name="T89" fmla="*/ 7 h 774"/>
                <a:gd name="T90" fmla="*/ 7 w 534"/>
                <a:gd name="T91" fmla="*/ 3 h 774"/>
                <a:gd name="T92" fmla="*/ 11 w 534"/>
                <a:gd name="T93" fmla="*/ 1 h 774"/>
                <a:gd name="T94" fmla="*/ 12 w 534"/>
                <a:gd name="T95" fmla="*/ 0 h 774"/>
                <a:gd name="T96" fmla="*/ 16 w 534"/>
                <a:gd name="T97" fmla="*/ 2 h 774"/>
                <a:gd name="T98" fmla="*/ 20 w 534"/>
                <a:gd name="T99" fmla="*/ 2 h 774"/>
                <a:gd name="T100" fmla="*/ 23 w 534"/>
                <a:gd name="T101" fmla="*/ 3 h 774"/>
                <a:gd name="T102" fmla="*/ 23 w 534"/>
                <a:gd name="T103" fmla="*/ 10 h 774"/>
                <a:gd name="T104" fmla="*/ 29 w 534"/>
                <a:gd name="T105" fmla="*/ 12 h 774"/>
                <a:gd name="T106" fmla="*/ 35 w 534"/>
                <a:gd name="T107" fmla="*/ 12 h 774"/>
                <a:gd name="T108" fmla="*/ 38 w 534"/>
                <a:gd name="T109" fmla="*/ 17 h 774"/>
                <a:gd name="T110" fmla="*/ 40 w 534"/>
                <a:gd name="T111" fmla="*/ 19 h 774"/>
                <a:gd name="T112" fmla="*/ 44 w 534"/>
                <a:gd name="T113" fmla="*/ 23 h 774"/>
                <a:gd name="T114" fmla="*/ 44 w 534"/>
                <a:gd name="T115" fmla="*/ 30 h 774"/>
                <a:gd name="T116" fmla="*/ 46 w 534"/>
                <a:gd name="T117" fmla="*/ 36 h 774"/>
                <a:gd name="T118" fmla="*/ 41 w 534"/>
                <a:gd name="T119" fmla="*/ 37 h 77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34"/>
                <a:gd name="T181" fmla="*/ 0 h 774"/>
                <a:gd name="T182" fmla="*/ 534 w 534"/>
                <a:gd name="T183" fmla="*/ 774 h 77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34" h="774">
                  <a:moveTo>
                    <a:pt x="462" y="426"/>
                  </a:moveTo>
                  <a:lnTo>
                    <a:pt x="462" y="414"/>
                  </a:lnTo>
                  <a:lnTo>
                    <a:pt x="450" y="402"/>
                  </a:lnTo>
                  <a:lnTo>
                    <a:pt x="444" y="396"/>
                  </a:lnTo>
                  <a:lnTo>
                    <a:pt x="420" y="396"/>
                  </a:lnTo>
                  <a:lnTo>
                    <a:pt x="408" y="390"/>
                  </a:lnTo>
                  <a:lnTo>
                    <a:pt x="402" y="366"/>
                  </a:lnTo>
                  <a:lnTo>
                    <a:pt x="390" y="354"/>
                  </a:lnTo>
                  <a:lnTo>
                    <a:pt x="384" y="336"/>
                  </a:lnTo>
                  <a:lnTo>
                    <a:pt x="378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8" y="348"/>
                  </a:lnTo>
                  <a:lnTo>
                    <a:pt x="360" y="354"/>
                  </a:lnTo>
                  <a:lnTo>
                    <a:pt x="360" y="390"/>
                  </a:lnTo>
                  <a:lnTo>
                    <a:pt x="348" y="390"/>
                  </a:lnTo>
                  <a:lnTo>
                    <a:pt x="342" y="384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90"/>
                  </a:lnTo>
                  <a:lnTo>
                    <a:pt x="312" y="402"/>
                  </a:lnTo>
                  <a:lnTo>
                    <a:pt x="306" y="420"/>
                  </a:lnTo>
                  <a:lnTo>
                    <a:pt x="324" y="414"/>
                  </a:lnTo>
                  <a:lnTo>
                    <a:pt x="330" y="414"/>
                  </a:lnTo>
                  <a:lnTo>
                    <a:pt x="336" y="420"/>
                  </a:lnTo>
                  <a:lnTo>
                    <a:pt x="336" y="432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6"/>
                  </a:lnTo>
                  <a:lnTo>
                    <a:pt x="318" y="456"/>
                  </a:lnTo>
                  <a:lnTo>
                    <a:pt x="300" y="456"/>
                  </a:lnTo>
                  <a:lnTo>
                    <a:pt x="288" y="462"/>
                  </a:lnTo>
                  <a:lnTo>
                    <a:pt x="276" y="462"/>
                  </a:lnTo>
                  <a:lnTo>
                    <a:pt x="270" y="462"/>
                  </a:lnTo>
                  <a:lnTo>
                    <a:pt x="270" y="468"/>
                  </a:lnTo>
                  <a:lnTo>
                    <a:pt x="252" y="468"/>
                  </a:lnTo>
                  <a:lnTo>
                    <a:pt x="258" y="480"/>
                  </a:lnTo>
                  <a:lnTo>
                    <a:pt x="258" y="492"/>
                  </a:lnTo>
                  <a:lnTo>
                    <a:pt x="258" y="498"/>
                  </a:lnTo>
                  <a:lnTo>
                    <a:pt x="258" y="510"/>
                  </a:lnTo>
                  <a:lnTo>
                    <a:pt x="252" y="540"/>
                  </a:lnTo>
                  <a:lnTo>
                    <a:pt x="246" y="564"/>
                  </a:lnTo>
                  <a:lnTo>
                    <a:pt x="246" y="570"/>
                  </a:lnTo>
                  <a:lnTo>
                    <a:pt x="252" y="576"/>
                  </a:lnTo>
                  <a:lnTo>
                    <a:pt x="246" y="582"/>
                  </a:lnTo>
                  <a:lnTo>
                    <a:pt x="252" y="600"/>
                  </a:lnTo>
                  <a:lnTo>
                    <a:pt x="258" y="606"/>
                  </a:lnTo>
                  <a:lnTo>
                    <a:pt x="258" y="612"/>
                  </a:lnTo>
                  <a:lnTo>
                    <a:pt x="252" y="618"/>
                  </a:lnTo>
                  <a:lnTo>
                    <a:pt x="246" y="624"/>
                  </a:lnTo>
                  <a:lnTo>
                    <a:pt x="246" y="630"/>
                  </a:lnTo>
                  <a:lnTo>
                    <a:pt x="246" y="636"/>
                  </a:lnTo>
                  <a:lnTo>
                    <a:pt x="240" y="642"/>
                  </a:lnTo>
                  <a:lnTo>
                    <a:pt x="234" y="654"/>
                  </a:lnTo>
                  <a:lnTo>
                    <a:pt x="228" y="654"/>
                  </a:lnTo>
                  <a:lnTo>
                    <a:pt x="222" y="660"/>
                  </a:lnTo>
                  <a:lnTo>
                    <a:pt x="216" y="666"/>
                  </a:lnTo>
                  <a:lnTo>
                    <a:pt x="210" y="666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22" y="684"/>
                  </a:lnTo>
                  <a:lnTo>
                    <a:pt x="222" y="690"/>
                  </a:lnTo>
                  <a:lnTo>
                    <a:pt x="222" y="696"/>
                  </a:lnTo>
                  <a:lnTo>
                    <a:pt x="222" y="702"/>
                  </a:lnTo>
                  <a:lnTo>
                    <a:pt x="216" y="708"/>
                  </a:lnTo>
                  <a:lnTo>
                    <a:pt x="210" y="720"/>
                  </a:lnTo>
                  <a:lnTo>
                    <a:pt x="216" y="732"/>
                  </a:lnTo>
                  <a:lnTo>
                    <a:pt x="210" y="732"/>
                  </a:lnTo>
                  <a:lnTo>
                    <a:pt x="216" y="738"/>
                  </a:lnTo>
                  <a:lnTo>
                    <a:pt x="216" y="744"/>
                  </a:lnTo>
                  <a:lnTo>
                    <a:pt x="222" y="750"/>
                  </a:lnTo>
                  <a:lnTo>
                    <a:pt x="228" y="756"/>
                  </a:lnTo>
                  <a:lnTo>
                    <a:pt x="222" y="762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04" y="762"/>
                  </a:lnTo>
                  <a:lnTo>
                    <a:pt x="198" y="762"/>
                  </a:lnTo>
                  <a:lnTo>
                    <a:pt x="192" y="762"/>
                  </a:lnTo>
                  <a:lnTo>
                    <a:pt x="186" y="756"/>
                  </a:lnTo>
                  <a:lnTo>
                    <a:pt x="180" y="750"/>
                  </a:lnTo>
                  <a:lnTo>
                    <a:pt x="180" y="744"/>
                  </a:lnTo>
                  <a:lnTo>
                    <a:pt x="174" y="744"/>
                  </a:lnTo>
                  <a:lnTo>
                    <a:pt x="156" y="750"/>
                  </a:lnTo>
                  <a:lnTo>
                    <a:pt x="150" y="750"/>
                  </a:lnTo>
                  <a:lnTo>
                    <a:pt x="144" y="750"/>
                  </a:lnTo>
                  <a:lnTo>
                    <a:pt x="138" y="750"/>
                  </a:lnTo>
                  <a:lnTo>
                    <a:pt x="138" y="744"/>
                  </a:lnTo>
                  <a:lnTo>
                    <a:pt x="132" y="744"/>
                  </a:lnTo>
                  <a:lnTo>
                    <a:pt x="120" y="744"/>
                  </a:lnTo>
                  <a:lnTo>
                    <a:pt x="114" y="738"/>
                  </a:lnTo>
                  <a:lnTo>
                    <a:pt x="108" y="744"/>
                  </a:lnTo>
                  <a:lnTo>
                    <a:pt x="102" y="744"/>
                  </a:lnTo>
                  <a:lnTo>
                    <a:pt x="96" y="744"/>
                  </a:lnTo>
                  <a:lnTo>
                    <a:pt x="96" y="738"/>
                  </a:lnTo>
                  <a:lnTo>
                    <a:pt x="96" y="744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44"/>
                  </a:lnTo>
                  <a:lnTo>
                    <a:pt x="72" y="750"/>
                  </a:lnTo>
                  <a:lnTo>
                    <a:pt x="66" y="750"/>
                  </a:lnTo>
                  <a:lnTo>
                    <a:pt x="60" y="750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0"/>
                  </a:lnTo>
                  <a:lnTo>
                    <a:pt x="30" y="750"/>
                  </a:lnTo>
                  <a:lnTo>
                    <a:pt x="24" y="744"/>
                  </a:lnTo>
                  <a:lnTo>
                    <a:pt x="18" y="738"/>
                  </a:lnTo>
                  <a:lnTo>
                    <a:pt x="6" y="738"/>
                  </a:lnTo>
                  <a:lnTo>
                    <a:pt x="0" y="732"/>
                  </a:lnTo>
                  <a:lnTo>
                    <a:pt x="0" y="726"/>
                  </a:lnTo>
                  <a:lnTo>
                    <a:pt x="0" y="720"/>
                  </a:lnTo>
                  <a:lnTo>
                    <a:pt x="6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8" y="702"/>
                  </a:lnTo>
                  <a:lnTo>
                    <a:pt x="24" y="696"/>
                  </a:lnTo>
                  <a:lnTo>
                    <a:pt x="30" y="696"/>
                  </a:lnTo>
                  <a:lnTo>
                    <a:pt x="48" y="690"/>
                  </a:lnTo>
                  <a:lnTo>
                    <a:pt x="54" y="678"/>
                  </a:lnTo>
                  <a:lnTo>
                    <a:pt x="66" y="672"/>
                  </a:lnTo>
                  <a:lnTo>
                    <a:pt x="66" y="654"/>
                  </a:lnTo>
                  <a:lnTo>
                    <a:pt x="72" y="636"/>
                  </a:lnTo>
                  <a:lnTo>
                    <a:pt x="72" y="612"/>
                  </a:lnTo>
                  <a:lnTo>
                    <a:pt x="84" y="594"/>
                  </a:lnTo>
                  <a:lnTo>
                    <a:pt x="90" y="576"/>
                  </a:lnTo>
                  <a:lnTo>
                    <a:pt x="96" y="552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72" y="522"/>
                  </a:lnTo>
                  <a:lnTo>
                    <a:pt x="78" y="510"/>
                  </a:lnTo>
                  <a:lnTo>
                    <a:pt x="78" y="504"/>
                  </a:lnTo>
                  <a:lnTo>
                    <a:pt x="84" y="480"/>
                  </a:lnTo>
                  <a:lnTo>
                    <a:pt x="90" y="468"/>
                  </a:lnTo>
                  <a:lnTo>
                    <a:pt x="90" y="456"/>
                  </a:lnTo>
                  <a:lnTo>
                    <a:pt x="96" y="456"/>
                  </a:lnTo>
                  <a:lnTo>
                    <a:pt x="96" y="444"/>
                  </a:lnTo>
                  <a:lnTo>
                    <a:pt x="102" y="438"/>
                  </a:lnTo>
                  <a:lnTo>
                    <a:pt x="102" y="432"/>
                  </a:lnTo>
                  <a:lnTo>
                    <a:pt x="108" y="432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14" y="408"/>
                  </a:lnTo>
                  <a:lnTo>
                    <a:pt x="114" y="402"/>
                  </a:lnTo>
                  <a:lnTo>
                    <a:pt x="126" y="384"/>
                  </a:lnTo>
                  <a:lnTo>
                    <a:pt x="138" y="378"/>
                  </a:lnTo>
                  <a:lnTo>
                    <a:pt x="138" y="372"/>
                  </a:lnTo>
                  <a:lnTo>
                    <a:pt x="150" y="354"/>
                  </a:lnTo>
                  <a:lnTo>
                    <a:pt x="156" y="342"/>
                  </a:lnTo>
                  <a:lnTo>
                    <a:pt x="162" y="330"/>
                  </a:lnTo>
                  <a:lnTo>
                    <a:pt x="168" y="324"/>
                  </a:lnTo>
                  <a:lnTo>
                    <a:pt x="168" y="312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74" y="294"/>
                  </a:lnTo>
                  <a:lnTo>
                    <a:pt x="180" y="288"/>
                  </a:lnTo>
                  <a:lnTo>
                    <a:pt x="180" y="276"/>
                  </a:lnTo>
                  <a:lnTo>
                    <a:pt x="186" y="276"/>
                  </a:lnTo>
                  <a:lnTo>
                    <a:pt x="186" y="270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40"/>
                  </a:lnTo>
                  <a:lnTo>
                    <a:pt x="168" y="240"/>
                  </a:lnTo>
                  <a:lnTo>
                    <a:pt x="162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68" y="216"/>
                  </a:lnTo>
                  <a:lnTo>
                    <a:pt x="168" y="180"/>
                  </a:lnTo>
                  <a:lnTo>
                    <a:pt x="168" y="144"/>
                  </a:lnTo>
                  <a:lnTo>
                    <a:pt x="162" y="120"/>
                  </a:lnTo>
                  <a:lnTo>
                    <a:pt x="162" y="108"/>
                  </a:lnTo>
                  <a:lnTo>
                    <a:pt x="168" y="102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44" y="84"/>
                  </a:lnTo>
                  <a:lnTo>
                    <a:pt x="126" y="84"/>
                  </a:lnTo>
                  <a:lnTo>
                    <a:pt x="108" y="78"/>
                  </a:lnTo>
                  <a:lnTo>
                    <a:pt x="96" y="78"/>
                  </a:lnTo>
                  <a:lnTo>
                    <a:pt x="78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8" y="36"/>
                  </a:lnTo>
                  <a:lnTo>
                    <a:pt x="96" y="24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56" y="0"/>
                  </a:lnTo>
                  <a:lnTo>
                    <a:pt x="156" y="6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18"/>
                  </a:lnTo>
                  <a:lnTo>
                    <a:pt x="198" y="18"/>
                  </a:lnTo>
                  <a:lnTo>
                    <a:pt x="210" y="18"/>
                  </a:lnTo>
                  <a:lnTo>
                    <a:pt x="222" y="18"/>
                  </a:lnTo>
                  <a:lnTo>
                    <a:pt x="234" y="12"/>
                  </a:lnTo>
                  <a:lnTo>
                    <a:pt x="252" y="18"/>
                  </a:lnTo>
                  <a:lnTo>
                    <a:pt x="252" y="24"/>
                  </a:lnTo>
                  <a:lnTo>
                    <a:pt x="258" y="36"/>
                  </a:lnTo>
                  <a:lnTo>
                    <a:pt x="258" y="66"/>
                  </a:lnTo>
                  <a:lnTo>
                    <a:pt x="252" y="84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82" y="126"/>
                  </a:lnTo>
                  <a:lnTo>
                    <a:pt x="294" y="132"/>
                  </a:lnTo>
                  <a:lnTo>
                    <a:pt x="306" y="138"/>
                  </a:lnTo>
                  <a:lnTo>
                    <a:pt x="324" y="138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60" y="144"/>
                  </a:lnTo>
                  <a:lnTo>
                    <a:pt x="396" y="144"/>
                  </a:lnTo>
                  <a:lnTo>
                    <a:pt x="408" y="150"/>
                  </a:lnTo>
                  <a:lnTo>
                    <a:pt x="414" y="180"/>
                  </a:lnTo>
                  <a:lnTo>
                    <a:pt x="420" y="186"/>
                  </a:lnTo>
                  <a:lnTo>
                    <a:pt x="426" y="192"/>
                  </a:lnTo>
                  <a:lnTo>
                    <a:pt x="426" y="198"/>
                  </a:lnTo>
                  <a:lnTo>
                    <a:pt x="432" y="198"/>
                  </a:lnTo>
                  <a:lnTo>
                    <a:pt x="438" y="210"/>
                  </a:lnTo>
                  <a:lnTo>
                    <a:pt x="450" y="216"/>
                  </a:lnTo>
                  <a:lnTo>
                    <a:pt x="468" y="228"/>
                  </a:lnTo>
                  <a:lnTo>
                    <a:pt x="492" y="234"/>
                  </a:lnTo>
                  <a:lnTo>
                    <a:pt x="492" y="246"/>
                  </a:lnTo>
                  <a:lnTo>
                    <a:pt x="492" y="270"/>
                  </a:lnTo>
                  <a:lnTo>
                    <a:pt x="486" y="294"/>
                  </a:lnTo>
                  <a:lnTo>
                    <a:pt x="486" y="312"/>
                  </a:lnTo>
                  <a:lnTo>
                    <a:pt x="486" y="330"/>
                  </a:lnTo>
                  <a:lnTo>
                    <a:pt x="492" y="348"/>
                  </a:lnTo>
                  <a:lnTo>
                    <a:pt x="498" y="360"/>
                  </a:lnTo>
                  <a:lnTo>
                    <a:pt x="510" y="366"/>
                  </a:lnTo>
                  <a:lnTo>
                    <a:pt x="516" y="384"/>
                  </a:lnTo>
                  <a:lnTo>
                    <a:pt x="522" y="414"/>
                  </a:lnTo>
                  <a:lnTo>
                    <a:pt x="528" y="414"/>
                  </a:lnTo>
                  <a:lnTo>
                    <a:pt x="534" y="426"/>
                  </a:lnTo>
                  <a:lnTo>
                    <a:pt x="528" y="432"/>
                  </a:lnTo>
                  <a:lnTo>
                    <a:pt x="468" y="426"/>
                  </a:lnTo>
                  <a:lnTo>
                    <a:pt x="462" y="42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3" name="Freeform 8">
              <a:extLst>
                <a:ext uri="{FF2B5EF4-FFF2-40B4-BE49-F238E27FC236}">
                  <a16:creationId xmlns:a16="http://schemas.microsoft.com/office/drawing/2014/main" id="{D473457C-872E-4E31-888A-D60FD52063A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98175" y="4307054"/>
              <a:ext cx="295177" cy="348894"/>
            </a:xfrm>
            <a:custGeom>
              <a:avLst/>
              <a:gdLst>
                <a:gd name="T0" fmla="*/ 3 w 552"/>
                <a:gd name="T1" fmla="*/ 46 h 660"/>
                <a:gd name="T2" fmla="*/ 4 w 552"/>
                <a:gd name="T3" fmla="*/ 42 h 660"/>
                <a:gd name="T4" fmla="*/ 2 w 552"/>
                <a:gd name="T5" fmla="*/ 38 h 660"/>
                <a:gd name="T6" fmla="*/ 0 w 552"/>
                <a:gd name="T7" fmla="*/ 34 h 660"/>
                <a:gd name="T8" fmla="*/ 2 w 552"/>
                <a:gd name="T9" fmla="*/ 30 h 660"/>
                <a:gd name="T10" fmla="*/ 3 w 552"/>
                <a:gd name="T11" fmla="*/ 27 h 660"/>
                <a:gd name="T12" fmla="*/ 5 w 552"/>
                <a:gd name="T13" fmla="*/ 23 h 660"/>
                <a:gd name="T14" fmla="*/ 5 w 552"/>
                <a:gd name="T15" fmla="*/ 15 h 660"/>
                <a:gd name="T16" fmla="*/ 6 w 552"/>
                <a:gd name="T17" fmla="*/ 11 h 660"/>
                <a:gd name="T18" fmla="*/ 11 w 552"/>
                <a:gd name="T19" fmla="*/ 9 h 660"/>
                <a:gd name="T20" fmla="*/ 10 w 552"/>
                <a:gd name="T21" fmla="*/ 5 h 660"/>
                <a:gd name="T22" fmla="*/ 12 w 552"/>
                <a:gd name="T23" fmla="*/ 1 h 660"/>
                <a:gd name="T24" fmla="*/ 16 w 552"/>
                <a:gd name="T25" fmla="*/ 2 h 660"/>
                <a:gd name="T26" fmla="*/ 23 w 552"/>
                <a:gd name="T27" fmla="*/ 8 h 660"/>
                <a:gd name="T28" fmla="*/ 23 w 552"/>
                <a:gd name="T29" fmla="*/ 11 h 660"/>
                <a:gd name="T30" fmla="*/ 27 w 552"/>
                <a:gd name="T31" fmla="*/ 12 h 660"/>
                <a:gd name="T32" fmla="*/ 29 w 552"/>
                <a:gd name="T33" fmla="*/ 17 h 660"/>
                <a:gd name="T34" fmla="*/ 31 w 552"/>
                <a:gd name="T35" fmla="*/ 15 h 660"/>
                <a:gd name="T36" fmla="*/ 33 w 552"/>
                <a:gd name="T37" fmla="*/ 17 h 660"/>
                <a:gd name="T38" fmla="*/ 36 w 552"/>
                <a:gd name="T39" fmla="*/ 23 h 660"/>
                <a:gd name="T40" fmla="*/ 41 w 552"/>
                <a:gd name="T41" fmla="*/ 33 h 660"/>
                <a:gd name="T42" fmla="*/ 43 w 552"/>
                <a:gd name="T43" fmla="*/ 36 h 660"/>
                <a:gd name="T44" fmla="*/ 43 w 552"/>
                <a:gd name="T45" fmla="*/ 37 h 660"/>
                <a:gd name="T46" fmla="*/ 41 w 552"/>
                <a:gd name="T47" fmla="*/ 35 h 660"/>
                <a:gd name="T48" fmla="*/ 43 w 552"/>
                <a:gd name="T49" fmla="*/ 37 h 660"/>
                <a:gd name="T50" fmla="*/ 44 w 552"/>
                <a:gd name="T51" fmla="*/ 39 h 660"/>
                <a:gd name="T52" fmla="*/ 47 w 552"/>
                <a:gd name="T53" fmla="*/ 41 h 660"/>
                <a:gd name="T54" fmla="*/ 47 w 552"/>
                <a:gd name="T55" fmla="*/ 44 h 660"/>
                <a:gd name="T56" fmla="*/ 48 w 552"/>
                <a:gd name="T57" fmla="*/ 46 h 660"/>
                <a:gd name="T58" fmla="*/ 47 w 552"/>
                <a:gd name="T59" fmla="*/ 46 h 660"/>
                <a:gd name="T60" fmla="*/ 44 w 552"/>
                <a:gd name="T61" fmla="*/ 46 h 660"/>
                <a:gd name="T62" fmla="*/ 47 w 552"/>
                <a:gd name="T63" fmla="*/ 47 h 660"/>
                <a:gd name="T64" fmla="*/ 47 w 552"/>
                <a:gd name="T65" fmla="*/ 49 h 660"/>
                <a:gd name="T66" fmla="*/ 47 w 552"/>
                <a:gd name="T67" fmla="*/ 52 h 660"/>
                <a:gd name="T68" fmla="*/ 46 w 552"/>
                <a:gd name="T69" fmla="*/ 53 h 660"/>
                <a:gd name="T70" fmla="*/ 43 w 552"/>
                <a:gd name="T71" fmla="*/ 54 h 660"/>
                <a:gd name="T72" fmla="*/ 37 w 552"/>
                <a:gd name="T73" fmla="*/ 54 h 660"/>
                <a:gd name="T74" fmla="*/ 30 w 552"/>
                <a:gd name="T75" fmla="*/ 54 h 660"/>
                <a:gd name="T76" fmla="*/ 29 w 552"/>
                <a:gd name="T77" fmla="*/ 53 h 660"/>
                <a:gd name="T78" fmla="*/ 27 w 552"/>
                <a:gd name="T79" fmla="*/ 53 h 660"/>
                <a:gd name="T80" fmla="*/ 29 w 552"/>
                <a:gd name="T81" fmla="*/ 53 h 660"/>
                <a:gd name="T82" fmla="*/ 28 w 552"/>
                <a:gd name="T83" fmla="*/ 54 h 660"/>
                <a:gd name="T84" fmla="*/ 24 w 552"/>
                <a:gd name="T85" fmla="*/ 54 h 660"/>
                <a:gd name="T86" fmla="*/ 20 w 552"/>
                <a:gd name="T87" fmla="*/ 55 h 660"/>
                <a:gd name="T88" fmla="*/ 15 w 552"/>
                <a:gd name="T89" fmla="*/ 56 h 660"/>
                <a:gd name="T90" fmla="*/ 12 w 552"/>
                <a:gd name="T91" fmla="*/ 56 h 660"/>
                <a:gd name="T92" fmla="*/ 11 w 552"/>
                <a:gd name="T93" fmla="*/ 57 h 660"/>
                <a:gd name="T94" fmla="*/ 9 w 552"/>
                <a:gd name="T95" fmla="*/ 57 h 660"/>
                <a:gd name="T96" fmla="*/ 7 w 552"/>
                <a:gd name="T97" fmla="*/ 56 h 660"/>
                <a:gd name="T98" fmla="*/ 5 w 552"/>
                <a:gd name="T99" fmla="*/ 55 h 660"/>
                <a:gd name="T100" fmla="*/ 7 w 552"/>
                <a:gd name="T101" fmla="*/ 54 h 660"/>
                <a:gd name="T102" fmla="*/ 5 w 552"/>
                <a:gd name="T103" fmla="*/ 54 h 660"/>
                <a:gd name="T104" fmla="*/ 5 w 552"/>
                <a:gd name="T105" fmla="*/ 53 h 660"/>
                <a:gd name="T106" fmla="*/ 4 w 552"/>
                <a:gd name="T107" fmla="*/ 49 h 660"/>
                <a:gd name="T108" fmla="*/ 45 w 552"/>
                <a:gd name="T109" fmla="*/ 38 h 66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52"/>
                <a:gd name="T166" fmla="*/ 0 h 660"/>
                <a:gd name="T167" fmla="*/ 552 w 552"/>
                <a:gd name="T168" fmla="*/ 660 h 66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52" h="660">
                  <a:moveTo>
                    <a:pt x="36" y="564"/>
                  </a:moveTo>
                  <a:lnTo>
                    <a:pt x="36" y="558"/>
                  </a:lnTo>
                  <a:lnTo>
                    <a:pt x="36" y="552"/>
                  </a:lnTo>
                  <a:lnTo>
                    <a:pt x="42" y="546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34"/>
                  </a:lnTo>
                  <a:lnTo>
                    <a:pt x="36" y="528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54" y="510"/>
                  </a:lnTo>
                  <a:lnTo>
                    <a:pt x="54" y="504"/>
                  </a:lnTo>
                  <a:lnTo>
                    <a:pt x="54" y="498"/>
                  </a:lnTo>
                  <a:lnTo>
                    <a:pt x="48" y="492"/>
                  </a:lnTo>
                  <a:lnTo>
                    <a:pt x="42" y="486"/>
                  </a:lnTo>
                  <a:lnTo>
                    <a:pt x="42" y="480"/>
                  </a:lnTo>
                  <a:lnTo>
                    <a:pt x="42" y="468"/>
                  </a:lnTo>
                  <a:lnTo>
                    <a:pt x="30" y="456"/>
                  </a:lnTo>
                  <a:lnTo>
                    <a:pt x="30" y="450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2"/>
                  </a:lnTo>
                  <a:lnTo>
                    <a:pt x="18" y="426"/>
                  </a:lnTo>
                  <a:lnTo>
                    <a:pt x="24" y="420"/>
                  </a:lnTo>
                  <a:lnTo>
                    <a:pt x="18" y="414"/>
                  </a:lnTo>
                  <a:lnTo>
                    <a:pt x="12" y="408"/>
                  </a:lnTo>
                  <a:lnTo>
                    <a:pt x="12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6" y="384"/>
                  </a:lnTo>
                  <a:lnTo>
                    <a:pt x="12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8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36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54" y="270"/>
                  </a:lnTo>
                  <a:lnTo>
                    <a:pt x="48" y="264"/>
                  </a:lnTo>
                  <a:lnTo>
                    <a:pt x="42" y="246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8" y="204"/>
                  </a:lnTo>
                  <a:lnTo>
                    <a:pt x="54" y="174"/>
                  </a:lnTo>
                  <a:lnTo>
                    <a:pt x="54" y="162"/>
                  </a:lnTo>
                  <a:lnTo>
                    <a:pt x="54" y="156"/>
                  </a:lnTo>
                  <a:lnTo>
                    <a:pt x="54" y="144"/>
                  </a:lnTo>
                  <a:lnTo>
                    <a:pt x="48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72" y="126"/>
                  </a:lnTo>
                  <a:lnTo>
                    <a:pt x="84" y="126"/>
                  </a:lnTo>
                  <a:lnTo>
                    <a:pt x="96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2" y="84"/>
                  </a:lnTo>
                  <a:lnTo>
                    <a:pt x="126" y="78"/>
                  </a:lnTo>
                  <a:lnTo>
                    <a:pt x="120" y="78"/>
                  </a:lnTo>
                  <a:lnTo>
                    <a:pt x="102" y="84"/>
                  </a:lnTo>
                  <a:lnTo>
                    <a:pt x="108" y="66"/>
                  </a:lnTo>
                  <a:lnTo>
                    <a:pt x="114" y="54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8" y="4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6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74" y="0"/>
                  </a:lnTo>
                  <a:lnTo>
                    <a:pt x="180" y="0"/>
                  </a:lnTo>
                  <a:lnTo>
                    <a:pt x="186" y="18"/>
                  </a:lnTo>
                  <a:lnTo>
                    <a:pt x="198" y="30"/>
                  </a:lnTo>
                  <a:lnTo>
                    <a:pt x="204" y="54"/>
                  </a:lnTo>
                  <a:lnTo>
                    <a:pt x="216" y="60"/>
                  </a:lnTo>
                  <a:lnTo>
                    <a:pt x="240" y="60"/>
                  </a:lnTo>
                  <a:lnTo>
                    <a:pt x="246" y="66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2" y="120"/>
                  </a:lnTo>
                  <a:lnTo>
                    <a:pt x="25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6" y="126"/>
                  </a:lnTo>
                  <a:lnTo>
                    <a:pt x="282" y="120"/>
                  </a:lnTo>
                  <a:lnTo>
                    <a:pt x="282" y="126"/>
                  </a:lnTo>
                  <a:lnTo>
                    <a:pt x="294" y="126"/>
                  </a:lnTo>
                  <a:lnTo>
                    <a:pt x="300" y="132"/>
                  </a:lnTo>
                  <a:lnTo>
                    <a:pt x="306" y="144"/>
                  </a:lnTo>
                  <a:lnTo>
                    <a:pt x="312" y="144"/>
                  </a:lnTo>
                  <a:lnTo>
                    <a:pt x="312" y="150"/>
                  </a:lnTo>
                  <a:lnTo>
                    <a:pt x="312" y="162"/>
                  </a:lnTo>
                  <a:lnTo>
                    <a:pt x="312" y="174"/>
                  </a:lnTo>
                  <a:lnTo>
                    <a:pt x="324" y="180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30" y="192"/>
                  </a:lnTo>
                  <a:lnTo>
                    <a:pt x="336" y="198"/>
                  </a:lnTo>
                  <a:lnTo>
                    <a:pt x="342" y="192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54" y="180"/>
                  </a:lnTo>
                  <a:lnTo>
                    <a:pt x="354" y="174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84" y="192"/>
                  </a:lnTo>
                  <a:lnTo>
                    <a:pt x="390" y="204"/>
                  </a:lnTo>
                  <a:lnTo>
                    <a:pt x="390" y="210"/>
                  </a:lnTo>
                  <a:lnTo>
                    <a:pt x="390" y="216"/>
                  </a:lnTo>
                  <a:lnTo>
                    <a:pt x="384" y="234"/>
                  </a:lnTo>
                  <a:lnTo>
                    <a:pt x="390" y="240"/>
                  </a:lnTo>
                  <a:lnTo>
                    <a:pt x="408" y="252"/>
                  </a:lnTo>
                  <a:lnTo>
                    <a:pt x="414" y="264"/>
                  </a:lnTo>
                  <a:lnTo>
                    <a:pt x="408" y="300"/>
                  </a:lnTo>
                  <a:lnTo>
                    <a:pt x="414" y="312"/>
                  </a:lnTo>
                  <a:lnTo>
                    <a:pt x="426" y="336"/>
                  </a:lnTo>
                  <a:lnTo>
                    <a:pt x="438" y="354"/>
                  </a:lnTo>
                  <a:lnTo>
                    <a:pt x="444" y="366"/>
                  </a:lnTo>
                  <a:lnTo>
                    <a:pt x="456" y="366"/>
                  </a:lnTo>
                  <a:lnTo>
                    <a:pt x="474" y="378"/>
                  </a:lnTo>
                  <a:lnTo>
                    <a:pt x="474" y="384"/>
                  </a:lnTo>
                  <a:lnTo>
                    <a:pt x="480" y="390"/>
                  </a:lnTo>
                  <a:lnTo>
                    <a:pt x="486" y="396"/>
                  </a:lnTo>
                  <a:lnTo>
                    <a:pt x="486" y="402"/>
                  </a:lnTo>
                  <a:lnTo>
                    <a:pt x="480" y="408"/>
                  </a:lnTo>
                  <a:lnTo>
                    <a:pt x="486" y="408"/>
                  </a:lnTo>
                  <a:lnTo>
                    <a:pt x="486" y="414"/>
                  </a:lnTo>
                  <a:lnTo>
                    <a:pt x="492" y="414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32"/>
                  </a:lnTo>
                  <a:lnTo>
                    <a:pt x="498" y="438"/>
                  </a:lnTo>
                  <a:lnTo>
                    <a:pt x="492" y="432"/>
                  </a:lnTo>
                  <a:lnTo>
                    <a:pt x="486" y="426"/>
                  </a:lnTo>
                  <a:lnTo>
                    <a:pt x="486" y="420"/>
                  </a:lnTo>
                  <a:lnTo>
                    <a:pt x="486" y="414"/>
                  </a:lnTo>
                  <a:lnTo>
                    <a:pt x="480" y="414"/>
                  </a:lnTo>
                  <a:lnTo>
                    <a:pt x="480" y="408"/>
                  </a:lnTo>
                  <a:lnTo>
                    <a:pt x="474" y="408"/>
                  </a:lnTo>
                  <a:lnTo>
                    <a:pt x="468" y="408"/>
                  </a:lnTo>
                  <a:lnTo>
                    <a:pt x="468" y="402"/>
                  </a:lnTo>
                  <a:lnTo>
                    <a:pt x="462" y="402"/>
                  </a:lnTo>
                  <a:lnTo>
                    <a:pt x="462" y="408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80" y="426"/>
                  </a:lnTo>
                  <a:lnTo>
                    <a:pt x="486" y="426"/>
                  </a:lnTo>
                  <a:lnTo>
                    <a:pt x="486" y="432"/>
                  </a:lnTo>
                  <a:lnTo>
                    <a:pt x="492" y="438"/>
                  </a:lnTo>
                  <a:lnTo>
                    <a:pt x="498" y="438"/>
                  </a:lnTo>
                  <a:lnTo>
                    <a:pt x="504" y="444"/>
                  </a:lnTo>
                  <a:lnTo>
                    <a:pt x="510" y="444"/>
                  </a:lnTo>
                  <a:lnTo>
                    <a:pt x="510" y="450"/>
                  </a:lnTo>
                  <a:lnTo>
                    <a:pt x="510" y="456"/>
                  </a:lnTo>
                  <a:lnTo>
                    <a:pt x="516" y="456"/>
                  </a:lnTo>
                  <a:lnTo>
                    <a:pt x="516" y="462"/>
                  </a:lnTo>
                  <a:lnTo>
                    <a:pt x="522" y="462"/>
                  </a:lnTo>
                  <a:lnTo>
                    <a:pt x="522" y="468"/>
                  </a:lnTo>
                  <a:lnTo>
                    <a:pt x="528" y="468"/>
                  </a:lnTo>
                  <a:lnTo>
                    <a:pt x="534" y="468"/>
                  </a:lnTo>
                  <a:lnTo>
                    <a:pt x="534" y="474"/>
                  </a:lnTo>
                  <a:lnTo>
                    <a:pt x="540" y="474"/>
                  </a:lnTo>
                  <a:lnTo>
                    <a:pt x="540" y="480"/>
                  </a:lnTo>
                  <a:lnTo>
                    <a:pt x="546" y="486"/>
                  </a:lnTo>
                  <a:lnTo>
                    <a:pt x="546" y="492"/>
                  </a:lnTo>
                  <a:lnTo>
                    <a:pt x="546" y="498"/>
                  </a:lnTo>
                  <a:lnTo>
                    <a:pt x="546" y="504"/>
                  </a:lnTo>
                  <a:lnTo>
                    <a:pt x="540" y="504"/>
                  </a:lnTo>
                  <a:lnTo>
                    <a:pt x="546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10"/>
                  </a:lnTo>
                  <a:lnTo>
                    <a:pt x="552" y="516"/>
                  </a:lnTo>
                  <a:lnTo>
                    <a:pt x="552" y="522"/>
                  </a:lnTo>
                  <a:lnTo>
                    <a:pt x="552" y="528"/>
                  </a:lnTo>
                  <a:lnTo>
                    <a:pt x="552" y="534"/>
                  </a:lnTo>
                  <a:lnTo>
                    <a:pt x="552" y="540"/>
                  </a:lnTo>
                  <a:lnTo>
                    <a:pt x="546" y="540"/>
                  </a:lnTo>
                  <a:lnTo>
                    <a:pt x="546" y="546"/>
                  </a:lnTo>
                  <a:lnTo>
                    <a:pt x="546" y="540"/>
                  </a:lnTo>
                  <a:lnTo>
                    <a:pt x="546" y="534"/>
                  </a:lnTo>
                  <a:lnTo>
                    <a:pt x="540" y="534"/>
                  </a:lnTo>
                  <a:lnTo>
                    <a:pt x="540" y="528"/>
                  </a:lnTo>
                  <a:lnTo>
                    <a:pt x="534" y="528"/>
                  </a:lnTo>
                  <a:lnTo>
                    <a:pt x="528" y="528"/>
                  </a:lnTo>
                  <a:lnTo>
                    <a:pt x="522" y="528"/>
                  </a:lnTo>
                  <a:lnTo>
                    <a:pt x="516" y="528"/>
                  </a:lnTo>
                  <a:lnTo>
                    <a:pt x="510" y="528"/>
                  </a:lnTo>
                  <a:lnTo>
                    <a:pt x="510" y="534"/>
                  </a:lnTo>
                  <a:lnTo>
                    <a:pt x="510" y="528"/>
                  </a:lnTo>
                  <a:lnTo>
                    <a:pt x="516" y="528"/>
                  </a:lnTo>
                  <a:lnTo>
                    <a:pt x="522" y="528"/>
                  </a:lnTo>
                  <a:lnTo>
                    <a:pt x="528" y="528"/>
                  </a:lnTo>
                  <a:lnTo>
                    <a:pt x="534" y="534"/>
                  </a:lnTo>
                  <a:lnTo>
                    <a:pt x="540" y="534"/>
                  </a:lnTo>
                  <a:lnTo>
                    <a:pt x="540" y="540"/>
                  </a:lnTo>
                  <a:lnTo>
                    <a:pt x="540" y="546"/>
                  </a:lnTo>
                  <a:lnTo>
                    <a:pt x="546" y="546"/>
                  </a:lnTo>
                  <a:lnTo>
                    <a:pt x="546" y="552"/>
                  </a:lnTo>
                  <a:lnTo>
                    <a:pt x="552" y="552"/>
                  </a:lnTo>
                  <a:lnTo>
                    <a:pt x="552" y="558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0" y="576"/>
                  </a:lnTo>
                  <a:lnTo>
                    <a:pt x="540" y="582"/>
                  </a:lnTo>
                  <a:lnTo>
                    <a:pt x="540" y="588"/>
                  </a:lnTo>
                  <a:lnTo>
                    <a:pt x="534" y="594"/>
                  </a:lnTo>
                  <a:lnTo>
                    <a:pt x="534" y="600"/>
                  </a:lnTo>
                  <a:lnTo>
                    <a:pt x="528" y="600"/>
                  </a:lnTo>
                  <a:lnTo>
                    <a:pt x="522" y="594"/>
                  </a:lnTo>
                  <a:lnTo>
                    <a:pt x="528" y="600"/>
                  </a:lnTo>
                  <a:lnTo>
                    <a:pt x="534" y="600"/>
                  </a:lnTo>
                  <a:lnTo>
                    <a:pt x="534" y="606"/>
                  </a:lnTo>
                  <a:lnTo>
                    <a:pt x="528" y="606"/>
                  </a:lnTo>
                  <a:lnTo>
                    <a:pt x="528" y="612"/>
                  </a:lnTo>
                  <a:lnTo>
                    <a:pt x="522" y="612"/>
                  </a:lnTo>
                  <a:lnTo>
                    <a:pt x="522" y="618"/>
                  </a:lnTo>
                  <a:lnTo>
                    <a:pt x="522" y="624"/>
                  </a:lnTo>
                  <a:lnTo>
                    <a:pt x="510" y="624"/>
                  </a:lnTo>
                  <a:lnTo>
                    <a:pt x="498" y="624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0" y="624"/>
                  </a:lnTo>
                  <a:lnTo>
                    <a:pt x="474" y="624"/>
                  </a:lnTo>
                  <a:lnTo>
                    <a:pt x="468" y="618"/>
                  </a:lnTo>
                  <a:lnTo>
                    <a:pt x="456" y="618"/>
                  </a:lnTo>
                  <a:lnTo>
                    <a:pt x="450" y="618"/>
                  </a:lnTo>
                  <a:lnTo>
                    <a:pt x="426" y="618"/>
                  </a:lnTo>
                  <a:lnTo>
                    <a:pt x="420" y="618"/>
                  </a:lnTo>
                  <a:lnTo>
                    <a:pt x="414" y="618"/>
                  </a:lnTo>
                  <a:lnTo>
                    <a:pt x="408" y="618"/>
                  </a:lnTo>
                  <a:lnTo>
                    <a:pt x="396" y="618"/>
                  </a:lnTo>
                  <a:lnTo>
                    <a:pt x="366" y="618"/>
                  </a:lnTo>
                  <a:lnTo>
                    <a:pt x="348" y="624"/>
                  </a:lnTo>
                  <a:lnTo>
                    <a:pt x="342" y="624"/>
                  </a:lnTo>
                  <a:lnTo>
                    <a:pt x="342" y="618"/>
                  </a:lnTo>
                  <a:lnTo>
                    <a:pt x="336" y="618"/>
                  </a:lnTo>
                  <a:lnTo>
                    <a:pt x="336" y="612"/>
                  </a:lnTo>
                  <a:lnTo>
                    <a:pt x="342" y="612"/>
                  </a:lnTo>
                  <a:lnTo>
                    <a:pt x="348" y="612"/>
                  </a:lnTo>
                  <a:lnTo>
                    <a:pt x="342" y="612"/>
                  </a:lnTo>
                  <a:lnTo>
                    <a:pt x="336" y="612"/>
                  </a:lnTo>
                  <a:lnTo>
                    <a:pt x="336" y="606"/>
                  </a:lnTo>
                  <a:lnTo>
                    <a:pt x="330" y="606"/>
                  </a:lnTo>
                  <a:lnTo>
                    <a:pt x="330" y="600"/>
                  </a:lnTo>
                  <a:lnTo>
                    <a:pt x="324" y="600"/>
                  </a:lnTo>
                  <a:lnTo>
                    <a:pt x="324" y="606"/>
                  </a:lnTo>
                  <a:lnTo>
                    <a:pt x="318" y="606"/>
                  </a:lnTo>
                  <a:lnTo>
                    <a:pt x="318" y="612"/>
                  </a:lnTo>
                  <a:lnTo>
                    <a:pt x="312" y="612"/>
                  </a:lnTo>
                  <a:lnTo>
                    <a:pt x="306" y="606"/>
                  </a:lnTo>
                  <a:lnTo>
                    <a:pt x="306" y="612"/>
                  </a:lnTo>
                  <a:lnTo>
                    <a:pt x="312" y="612"/>
                  </a:lnTo>
                  <a:lnTo>
                    <a:pt x="318" y="612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30" y="606"/>
                  </a:lnTo>
                  <a:lnTo>
                    <a:pt x="336" y="612"/>
                  </a:lnTo>
                  <a:lnTo>
                    <a:pt x="336" y="618"/>
                  </a:lnTo>
                  <a:lnTo>
                    <a:pt x="330" y="618"/>
                  </a:lnTo>
                  <a:lnTo>
                    <a:pt x="336" y="618"/>
                  </a:lnTo>
                  <a:lnTo>
                    <a:pt x="336" y="624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288" y="624"/>
                  </a:lnTo>
                  <a:lnTo>
                    <a:pt x="282" y="624"/>
                  </a:lnTo>
                  <a:lnTo>
                    <a:pt x="270" y="630"/>
                  </a:lnTo>
                  <a:lnTo>
                    <a:pt x="264" y="630"/>
                  </a:lnTo>
                  <a:lnTo>
                    <a:pt x="258" y="630"/>
                  </a:lnTo>
                  <a:lnTo>
                    <a:pt x="252" y="630"/>
                  </a:lnTo>
                  <a:lnTo>
                    <a:pt x="246" y="630"/>
                  </a:lnTo>
                  <a:lnTo>
                    <a:pt x="240" y="630"/>
                  </a:lnTo>
                  <a:lnTo>
                    <a:pt x="228" y="636"/>
                  </a:lnTo>
                  <a:lnTo>
                    <a:pt x="222" y="636"/>
                  </a:lnTo>
                  <a:lnTo>
                    <a:pt x="210" y="636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42"/>
                  </a:lnTo>
                  <a:lnTo>
                    <a:pt x="186" y="642"/>
                  </a:lnTo>
                  <a:lnTo>
                    <a:pt x="180" y="642"/>
                  </a:lnTo>
                  <a:lnTo>
                    <a:pt x="168" y="642"/>
                  </a:lnTo>
                  <a:lnTo>
                    <a:pt x="162" y="642"/>
                  </a:lnTo>
                  <a:lnTo>
                    <a:pt x="162" y="648"/>
                  </a:lnTo>
                  <a:lnTo>
                    <a:pt x="156" y="648"/>
                  </a:lnTo>
                  <a:lnTo>
                    <a:pt x="150" y="648"/>
                  </a:lnTo>
                  <a:lnTo>
                    <a:pt x="144" y="648"/>
                  </a:lnTo>
                  <a:lnTo>
                    <a:pt x="138" y="648"/>
                  </a:lnTo>
                  <a:lnTo>
                    <a:pt x="132" y="648"/>
                  </a:lnTo>
                  <a:lnTo>
                    <a:pt x="126" y="642"/>
                  </a:lnTo>
                  <a:lnTo>
                    <a:pt x="126" y="636"/>
                  </a:lnTo>
                  <a:lnTo>
                    <a:pt x="120" y="636"/>
                  </a:lnTo>
                  <a:lnTo>
                    <a:pt x="126" y="642"/>
                  </a:lnTo>
                  <a:lnTo>
                    <a:pt x="126" y="648"/>
                  </a:lnTo>
                  <a:lnTo>
                    <a:pt x="132" y="648"/>
                  </a:lnTo>
                  <a:lnTo>
                    <a:pt x="126" y="654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54"/>
                  </a:lnTo>
                  <a:lnTo>
                    <a:pt x="108" y="660"/>
                  </a:lnTo>
                  <a:lnTo>
                    <a:pt x="108" y="654"/>
                  </a:lnTo>
                  <a:lnTo>
                    <a:pt x="102" y="654"/>
                  </a:lnTo>
                  <a:lnTo>
                    <a:pt x="102" y="660"/>
                  </a:lnTo>
                  <a:lnTo>
                    <a:pt x="108" y="660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0" y="660"/>
                  </a:lnTo>
                  <a:lnTo>
                    <a:pt x="90" y="654"/>
                  </a:lnTo>
                  <a:lnTo>
                    <a:pt x="84" y="648"/>
                  </a:lnTo>
                  <a:lnTo>
                    <a:pt x="84" y="642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72" y="636"/>
                  </a:lnTo>
                  <a:lnTo>
                    <a:pt x="78" y="636"/>
                  </a:lnTo>
                  <a:lnTo>
                    <a:pt x="72" y="636"/>
                  </a:lnTo>
                  <a:lnTo>
                    <a:pt x="66" y="636"/>
                  </a:lnTo>
                  <a:lnTo>
                    <a:pt x="60" y="636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60" y="618"/>
                  </a:lnTo>
                  <a:lnTo>
                    <a:pt x="66" y="618"/>
                  </a:lnTo>
                  <a:lnTo>
                    <a:pt x="72" y="618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2" y="612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12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54" y="618"/>
                  </a:lnTo>
                  <a:lnTo>
                    <a:pt x="54" y="624"/>
                  </a:lnTo>
                  <a:lnTo>
                    <a:pt x="48" y="618"/>
                  </a:lnTo>
                  <a:lnTo>
                    <a:pt x="42" y="618"/>
                  </a:lnTo>
                  <a:lnTo>
                    <a:pt x="42" y="612"/>
                  </a:lnTo>
                  <a:lnTo>
                    <a:pt x="48" y="606"/>
                  </a:lnTo>
                  <a:lnTo>
                    <a:pt x="54" y="606"/>
                  </a:lnTo>
                  <a:lnTo>
                    <a:pt x="54" y="600"/>
                  </a:lnTo>
                  <a:lnTo>
                    <a:pt x="54" y="594"/>
                  </a:lnTo>
                  <a:lnTo>
                    <a:pt x="54" y="588"/>
                  </a:lnTo>
                  <a:lnTo>
                    <a:pt x="48" y="588"/>
                  </a:lnTo>
                  <a:lnTo>
                    <a:pt x="48" y="582"/>
                  </a:lnTo>
                  <a:lnTo>
                    <a:pt x="42" y="582"/>
                  </a:lnTo>
                  <a:lnTo>
                    <a:pt x="42" y="570"/>
                  </a:lnTo>
                  <a:lnTo>
                    <a:pt x="42" y="564"/>
                  </a:lnTo>
                  <a:lnTo>
                    <a:pt x="36" y="564"/>
                  </a:lnTo>
                  <a:close/>
                  <a:moveTo>
                    <a:pt x="498" y="420"/>
                  </a:moveTo>
                  <a:lnTo>
                    <a:pt x="504" y="426"/>
                  </a:lnTo>
                  <a:lnTo>
                    <a:pt x="510" y="432"/>
                  </a:lnTo>
                  <a:lnTo>
                    <a:pt x="516" y="432"/>
                  </a:lnTo>
                  <a:lnTo>
                    <a:pt x="516" y="438"/>
                  </a:lnTo>
                  <a:lnTo>
                    <a:pt x="510" y="438"/>
                  </a:lnTo>
                  <a:lnTo>
                    <a:pt x="504" y="438"/>
                  </a:lnTo>
                  <a:lnTo>
                    <a:pt x="504" y="432"/>
                  </a:lnTo>
                  <a:lnTo>
                    <a:pt x="498" y="432"/>
                  </a:lnTo>
                  <a:lnTo>
                    <a:pt x="498" y="426"/>
                  </a:lnTo>
                  <a:lnTo>
                    <a:pt x="498" y="42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4" name="Freeform 9">
              <a:extLst>
                <a:ext uri="{FF2B5EF4-FFF2-40B4-BE49-F238E27FC236}">
                  <a16:creationId xmlns:a16="http://schemas.microsoft.com/office/drawing/2014/main" id="{E0116D32-BD2E-45EA-B818-A3082585D5F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3055" y="2468650"/>
              <a:ext cx="800556" cy="1207710"/>
            </a:xfrm>
            <a:custGeom>
              <a:avLst/>
              <a:gdLst>
                <a:gd name="T0" fmla="*/ 24 w 1506"/>
                <a:gd name="T1" fmla="*/ 190 h 2274"/>
                <a:gd name="T2" fmla="*/ 25 w 1506"/>
                <a:gd name="T3" fmla="*/ 180 h 2274"/>
                <a:gd name="T4" fmla="*/ 21 w 1506"/>
                <a:gd name="T5" fmla="*/ 174 h 2274"/>
                <a:gd name="T6" fmla="*/ 17 w 1506"/>
                <a:gd name="T7" fmla="*/ 170 h 2274"/>
                <a:gd name="T8" fmla="*/ 12 w 1506"/>
                <a:gd name="T9" fmla="*/ 168 h 2274"/>
                <a:gd name="T10" fmla="*/ 10 w 1506"/>
                <a:gd name="T11" fmla="*/ 173 h 2274"/>
                <a:gd name="T12" fmla="*/ 7 w 1506"/>
                <a:gd name="T13" fmla="*/ 174 h 2274"/>
                <a:gd name="T14" fmla="*/ 0 w 1506"/>
                <a:gd name="T15" fmla="*/ 163 h 2274"/>
                <a:gd name="T16" fmla="*/ 16 w 1506"/>
                <a:gd name="T17" fmla="*/ 140 h 2274"/>
                <a:gd name="T18" fmla="*/ 19 w 1506"/>
                <a:gd name="T19" fmla="*/ 137 h 2274"/>
                <a:gd name="T20" fmla="*/ 24 w 1506"/>
                <a:gd name="T21" fmla="*/ 126 h 2274"/>
                <a:gd name="T22" fmla="*/ 23 w 1506"/>
                <a:gd name="T23" fmla="*/ 105 h 2274"/>
                <a:gd name="T24" fmla="*/ 14 w 1506"/>
                <a:gd name="T25" fmla="*/ 86 h 2274"/>
                <a:gd name="T26" fmla="*/ 8 w 1506"/>
                <a:gd name="T27" fmla="*/ 84 h 2274"/>
                <a:gd name="T28" fmla="*/ 5 w 1506"/>
                <a:gd name="T29" fmla="*/ 79 h 2274"/>
                <a:gd name="T30" fmla="*/ 16 w 1506"/>
                <a:gd name="T31" fmla="*/ 71 h 2274"/>
                <a:gd name="T32" fmla="*/ 28 w 1506"/>
                <a:gd name="T33" fmla="*/ 55 h 2274"/>
                <a:gd name="T34" fmla="*/ 29 w 1506"/>
                <a:gd name="T35" fmla="*/ 48 h 2274"/>
                <a:gd name="T36" fmla="*/ 35 w 1506"/>
                <a:gd name="T37" fmla="*/ 50 h 2274"/>
                <a:gd name="T38" fmla="*/ 42 w 1506"/>
                <a:gd name="T39" fmla="*/ 47 h 2274"/>
                <a:gd name="T40" fmla="*/ 63 w 1506"/>
                <a:gd name="T41" fmla="*/ 34 h 2274"/>
                <a:gd name="T42" fmla="*/ 74 w 1506"/>
                <a:gd name="T43" fmla="*/ 27 h 2274"/>
                <a:gd name="T44" fmla="*/ 81 w 1506"/>
                <a:gd name="T45" fmla="*/ 20 h 2274"/>
                <a:gd name="T46" fmla="*/ 89 w 1506"/>
                <a:gd name="T47" fmla="*/ 20 h 2274"/>
                <a:gd name="T48" fmla="*/ 98 w 1506"/>
                <a:gd name="T49" fmla="*/ 27 h 2274"/>
                <a:gd name="T50" fmla="*/ 106 w 1506"/>
                <a:gd name="T51" fmla="*/ 17 h 2274"/>
                <a:gd name="T52" fmla="*/ 111 w 1506"/>
                <a:gd name="T53" fmla="*/ 8 h 2274"/>
                <a:gd name="T54" fmla="*/ 121 w 1506"/>
                <a:gd name="T55" fmla="*/ 2 h 2274"/>
                <a:gd name="T56" fmla="*/ 129 w 1506"/>
                <a:gd name="T57" fmla="*/ 5 h 2274"/>
                <a:gd name="T58" fmla="*/ 125 w 1506"/>
                <a:gd name="T59" fmla="*/ 12 h 2274"/>
                <a:gd name="T60" fmla="*/ 122 w 1506"/>
                <a:gd name="T61" fmla="*/ 20 h 2274"/>
                <a:gd name="T62" fmla="*/ 122 w 1506"/>
                <a:gd name="T63" fmla="*/ 27 h 2274"/>
                <a:gd name="T64" fmla="*/ 120 w 1506"/>
                <a:gd name="T65" fmla="*/ 36 h 2274"/>
                <a:gd name="T66" fmla="*/ 116 w 1506"/>
                <a:gd name="T67" fmla="*/ 43 h 2274"/>
                <a:gd name="T68" fmla="*/ 109 w 1506"/>
                <a:gd name="T69" fmla="*/ 47 h 2274"/>
                <a:gd name="T70" fmla="*/ 108 w 1506"/>
                <a:gd name="T71" fmla="*/ 54 h 2274"/>
                <a:gd name="T72" fmla="*/ 106 w 1506"/>
                <a:gd name="T73" fmla="*/ 59 h 2274"/>
                <a:gd name="T74" fmla="*/ 109 w 1506"/>
                <a:gd name="T75" fmla="*/ 64 h 2274"/>
                <a:gd name="T76" fmla="*/ 106 w 1506"/>
                <a:gd name="T77" fmla="*/ 70 h 2274"/>
                <a:gd name="T78" fmla="*/ 105 w 1506"/>
                <a:gd name="T79" fmla="*/ 75 h 2274"/>
                <a:gd name="T80" fmla="*/ 101 w 1506"/>
                <a:gd name="T81" fmla="*/ 78 h 2274"/>
                <a:gd name="T82" fmla="*/ 92 w 1506"/>
                <a:gd name="T83" fmla="*/ 81 h 2274"/>
                <a:gd name="T84" fmla="*/ 85 w 1506"/>
                <a:gd name="T85" fmla="*/ 85 h 2274"/>
                <a:gd name="T86" fmla="*/ 87 w 1506"/>
                <a:gd name="T87" fmla="*/ 91 h 2274"/>
                <a:gd name="T88" fmla="*/ 86 w 1506"/>
                <a:gd name="T89" fmla="*/ 98 h 2274"/>
                <a:gd name="T90" fmla="*/ 86 w 1506"/>
                <a:gd name="T91" fmla="*/ 103 h 2274"/>
                <a:gd name="T92" fmla="*/ 82 w 1506"/>
                <a:gd name="T93" fmla="*/ 111 h 2274"/>
                <a:gd name="T94" fmla="*/ 81 w 1506"/>
                <a:gd name="T95" fmla="*/ 116 h 2274"/>
                <a:gd name="T96" fmla="*/ 78 w 1506"/>
                <a:gd name="T97" fmla="*/ 120 h 2274"/>
                <a:gd name="T98" fmla="*/ 76 w 1506"/>
                <a:gd name="T99" fmla="*/ 126 h 2274"/>
                <a:gd name="T100" fmla="*/ 68 w 1506"/>
                <a:gd name="T101" fmla="*/ 129 h 2274"/>
                <a:gd name="T102" fmla="*/ 62 w 1506"/>
                <a:gd name="T103" fmla="*/ 131 h 2274"/>
                <a:gd name="T104" fmla="*/ 58 w 1506"/>
                <a:gd name="T105" fmla="*/ 136 h 2274"/>
                <a:gd name="T106" fmla="*/ 51 w 1506"/>
                <a:gd name="T107" fmla="*/ 138 h 2274"/>
                <a:gd name="T108" fmla="*/ 51 w 1506"/>
                <a:gd name="T109" fmla="*/ 147 h 2274"/>
                <a:gd name="T110" fmla="*/ 49 w 1506"/>
                <a:gd name="T111" fmla="*/ 159 h 2274"/>
                <a:gd name="T112" fmla="*/ 48 w 1506"/>
                <a:gd name="T113" fmla="*/ 166 h 2274"/>
                <a:gd name="T114" fmla="*/ 41 w 1506"/>
                <a:gd name="T115" fmla="*/ 174 h 2274"/>
                <a:gd name="T116" fmla="*/ 39 w 1506"/>
                <a:gd name="T117" fmla="*/ 181 h 2274"/>
                <a:gd name="T118" fmla="*/ 37 w 1506"/>
                <a:gd name="T119" fmla="*/ 190 h 2274"/>
                <a:gd name="T120" fmla="*/ 29 w 1506"/>
                <a:gd name="T121" fmla="*/ 198 h 22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06"/>
                <a:gd name="T184" fmla="*/ 0 h 2274"/>
                <a:gd name="T185" fmla="*/ 1506 w 1506"/>
                <a:gd name="T186" fmla="*/ 2274 h 227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06" h="2274">
                  <a:moveTo>
                    <a:pt x="330" y="2274"/>
                  </a:moveTo>
                  <a:lnTo>
                    <a:pt x="318" y="2262"/>
                  </a:lnTo>
                  <a:lnTo>
                    <a:pt x="312" y="2238"/>
                  </a:lnTo>
                  <a:lnTo>
                    <a:pt x="312" y="2232"/>
                  </a:lnTo>
                  <a:lnTo>
                    <a:pt x="294" y="2214"/>
                  </a:lnTo>
                  <a:lnTo>
                    <a:pt x="288" y="2208"/>
                  </a:lnTo>
                  <a:lnTo>
                    <a:pt x="288" y="2202"/>
                  </a:lnTo>
                  <a:lnTo>
                    <a:pt x="276" y="2196"/>
                  </a:lnTo>
                  <a:lnTo>
                    <a:pt x="276" y="2190"/>
                  </a:lnTo>
                  <a:lnTo>
                    <a:pt x="282" y="2190"/>
                  </a:lnTo>
                  <a:lnTo>
                    <a:pt x="282" y="2184"/>
                  </a:lnTo>
                  <a:lnTo>
                    <a:pt x="276" y="2172"/>
                  </a:lnTo>
                  <a:lnTo>
                    <a:pt x="276" y="2166"/>
                  </a:lnTo>
                  <a:lnTo>
                    <a:pt x="282" y="2166"/>
                  </a:lnTo>
                  <a:lnTo>
                    <a:pt x="282" y="2154"/>
                  </a:lnTo>
                  <a:lnTo>
                    <a:pt x="276" y="2136"/>
                  </a:lnTo>
                  <a:lnTo>
                    <a:pt x="276" y="2112"/>
                  </a:lnTo>
                  <a:lnTo>
                    <a:pt x="282" y="2088"/>
                  </a:lnTo>
                  <a:lnTo>
                    <a:pt x="282" y="2082"/>
                  </a:lnTo>
                  <a:lnTo>
                    <a:pt x="282" y="2076"/>
                  </a:lnTo>
                  <a:lnTo>
                    <a:pt x="282" y="2070"/>
                  </a:lnTo>
                  <a:lnTo>
                    <a:pt x="288" y="2070"/>
                  </a:lnTo>
                  <a:lnTo>
                    <a:pt x="288" y="2064"/>
                  </a:lnTo>
                  <a:lnTo>
                    <a:pt x="282" y="2052"/>
                  </a:lnTo>
                  <a:lnTo>
                    <a:pt x="282" y="2046"/>
                  </a:lnTo>
                  <a:lnTo>
                    <a:pt x="276" y="2040"/>
                  </a:lnTo>
                  <a:lnTo>
                    <a:pt x="270" y="2034"/>
                  </a:lnTo>
                  <a:lnTo>
                    <a:pt x="264" y="2022"/>
                  </a:lnTo>
                  <a:lnTo>
                    <a:pt x="258" y="2022"/>
                  </a:lnTo>
                  <a:lnTo>
                    <a:pt x="258" y="2016"/>
                  </a:lnTo>
                  <a:lnTo>
                    <a:pt x="252" y="2016"/>
                  </a:lnTo>
                  <a:lnTo>
                    <a:pt x="246" y="2016"/>
                  </a:lnTo>
                  <a:lnTo>
                    <a:pt x="240" y="2010"/>
                  </a:lnTo>
                  <a:lnTo>
                    <a:pt x="234" y="2004"/>
                  </a:lnTo>
                  <a:lnTo>
                    <a:pt x="228" y="2004"/>
                  </a:lnTo>
                  <a:lnTo>
                    <a:pt x="228" y="1998"/>
                  </a:lnTo>
                  <a:lnTo>
                    <a:pt x="228" y="1992"/>
                  </a:lnTo>
                  <a:lnTo>
                    <a:pt x="222" y="1992"/>
                  </a:lnTo>
                  <a:lnTo>
                    <a:pt x="222" y="1986"/>
                  </a:lnTo>
                  <a:lnTo>
                    <a:pt x="216" y="1986"/>
                  </a:lnTo>
                  <a:lnTo>
                    <a:pt x="210" y="1980"/>
                  </a:lnTo>
                  <a:lnTo>
                    <a:pt x="216" y="1974"/>
                  </a:lnTo>
                  <a:lnTo>
                    <a:pt x="210" y="1968"/>
                  </a:lnTo>
                  <a:lnTo>
                    <a:pt x="198" y="1956"/>
                  </a:lnTo>
                  <a:lnTo>
                    <a:pt x="192" y="1956"/>
                  </a:lnTo>
                  <a:lnTo>
                    <a:pt x="186" y="1956"/>
                  </a:lnTo>
                  <a:lnTo>
                    <a:pt x="180" y="1944"/>
                  </a:lnTo>
                  <a:lnTo>
                    <a:pt x="180" y="1938"/>
                  </a:lnTo>
                  <a:lnTo>
                    <a:pt x="174" y="1932"/>
                  </a:lnTo>
                  <a:lnTo>
                    <a:pt x="168" y="1932"/>
                  </a:lnTo>
                  <a:lnTo>
                    <a:pt x="162" y="1932"/>
                  </a:lnTo>
                  <a:lnTo>
                    <a:pt x="150" y="1932"/>
                  </a:lnTo>
                  <a:lnTo>
                    <a:pt x="150" y="1926"/>
                  </a:lnTo>
                  <a:lnTo>
                    <a:pt x="150" y="1932"/>
                  </a:lnTo>
                  <a:lnTo>
                    <a:pt x="144" y="1932"/>
                  </a:lnTo>
                  <a:lnTo>
                    <a:pt x="138" y="1932"/>
                  </a:lnTo>
                  <a:lnTo>
                    <a:pt x="132" y="1932"/>
                  </a:lnTo>
                  <a:lnTo>
                    <a:pt x="132" y="1938"/>
                  </a:lnTo>
                  <a:lnTo>
                    <a:pt x="126" y="1944"/>
                  </a:lnTo>
                  <a:lnTo>
                    <a:pt x="126" y="1956"/>
                  </a:lnTo>
                  <a:lnTo>
                    <a:pt x="120" y="1968"/>
                  </a:lnTo>
                  <a:lnTo>
                    <a:pt x="120" y="1974"/>
                  </a:lnTo>
                  <a:lnTo>
                    <a:pt x="120" y="1980"/>
                  </a:lnTo>
                  <a:lnTo>
                    <a:pt x="126" y="1980"/>
                  </a:lnTo>
                  <a:lnTo>
                    <a:pt x="120" y="1986"/>
                  </a:lnTo>
                  <a:lnTo>
                    <a:pt x="120" y="1992"/>
                  </a:lnTo>
                  <a:lnTo>
                    <a:pt x="114" y="1992"/>
                  </a:lnTo>
                  <a:lnTo>
                    <a:pt x="114" y="1986"/>
                  </a:lnTo>
                  <a:lnTo>
                    <a:pt x="108" y="1992"/>
                  </a:lnTo>
                  <a:lnTo>
                    <a:pt x="108" y="1998"/>
                  </a:lnTo>
                  <a:lnTo>
                    <a:pt x="114" y="2004"/>
                  </a:lnTo>
                  <a:lnTo>
                    <a:pt x="108" y="2004"/>
                  </a:lnTo>
                  <a:lnTo>
                    <a:pt x="102" y="2010"/>
                  </a:lnTo>
                  <a:lnTo>
                    <a:pt x="102" y="2004"/>
                  </a:lnTo>
                  <a:lnTo>
                    <a:pt x="90" y="2004"/>
                  </a:lnTo>
                  <a:lnTo>
                    <a:pt x="84" y="2004"/>
                  </a:lnTo>
                  <a:lnTo>
                    <a:pt x="78" y="1998"/>
                  </a:lnTo>
                  <a:lnTo>
                    <a:pt x="78" y="1992"/>
                  </a:lnTo>
                  <a:lnTo>
                    <a:pt x="78" y="1986"/>
                  </a:lnTo>
                  <a:lnTo>
                    <a:pt x="72" y="1986"/>
                  </a:lnTo>
                  <a:lnTo>
                    <a:pt x="66" y="1980"/>
                  </a:lnTo>
                  <a:lnTo>
                    <a:pt x="66" y="1968"/>
                  </a:lnTo>
                  <a:lnTo>
                    <a:pt x="60" y="1956"/>
                  </a:lnTo>
                  <a:lnTo>
                    <a:pt x="60" y="1950"/>
                  </a:lnTo>
                  <a:lnTo>
                    <a:pt x="48" y="1944"/>
                  </a:lnTo>
                  <a:lnTo>
                    <a:pt x="30" y="1926"/>
                  </a:lnTo>
                  <a:lnTo>
                    <a:pt x="12" y="1890"/>
                  </a:lnTo>
                  <a:lnTo>
                    <a:pt x="6" y="1872"/>
                  </a:lnTo>
                  <a:lnTo>
                    <a:pt x="0" y="1854"/>
                  </a:lnTo>
                  <a:lnTo>
                    <a:pt x="6" y="1824"/>
                  </a:lnTo>
                  <a:lnTo>
                    <a:pt x="30" y="1794"/>
                  </a:lnTo>
                  <a:lnTo>
                    <a:pt x="66" y="1752"/>
                  </a:lnTo>
                  <a:lnTo>
                    <a:pt x="72" y="1752"/>
                  </a:lnTo>
                  <a:lnTo>
                    <a:pt x="78" y="1746"/>
                  </a:lnTo>
                  <a:lnTo>
                    <a:pt x="84" y="1746"/>
                  </a:lnTo>
                  <a:lnTo>
                    <a:pt x="90" y="1746"/>
                  </a:lnTo>
                  <a:lnTo>
                    <a:pt x="138" y="1674"/>
                  </a:lnTo>
                  <a:lnTo>
                    <a:pt x="186" y="1620"/>
                  </a:lnTo>
                  <a:lnTo>
                    <a:pt x="186" y="1614"/>
                  </a:lnTo>
                  <a:lnTo>
                    <a:pt x="186" y="1608"/>
                  </a:lnTo>
                  <a:lnTo>
                    <a:pt x="192" y="1608"/>
                  </a:lnTo>
                  <a:lnTo>
                    <a:pt x="192" y="1614"/>
                  </a:lnTo>
                  <a:lnTo>
                    <a:pt x="198" y="1614"/>
                  </a:lnTo>
                  <a:lnTo>
                    <a:pt x="198" y="1608"/>
                  </a:lnTo>
                  <a:lnTo>
                    <a:pt x="198" y="1602"/>
                  </a:lnTo>
                  <a:lnTo>
                    <a:pt x="204" y="1602"/>
                  </a:lnTo>
                  <a:lnTo>
                    <a:pt x="204" y="1596"/>
                  </a:lnTo>
                  <a:lnTo>
                    <a:pt x="210" y="1590"/>
                  </a:lnTo>
                  <a:lnTo>
                    <a:pt x="216" y="1590"/>
                  </a:lnTo>
                  <a:lnTo>
                    <a:pt x="216" y="1584"/>
                  </a:lnTo>
                  <a:lnTo>
                    <a:pt x="222" y="1584"/>
                  </a:lnTo>
                  <a:lnTo>
                    <a:pt x="228" y="1572"/>
                  </a:lnTo>
                  <a:lnTo>
                    <a:pt x="222" y="1572"/>
                  </a:lnTo>
                  <a:lnTo>
                    <a:pt x="228" y="1566"/>
                  </a:lnTo>
                  <a:lnTo>
                    <a:pt x="228" y="1560"/>
                  </a:lnTo>
                  <a:lnTo>
                    <a:pt x="252" y="1548"/>
                  </a:lnTo>
                  <a:lnTo>
                    <a:pt x="276" y="1530"/>
                  </a:lnTo>
                  <a:lnTo>
                    <a:pt x="282" y="1512"/>
                  </a:lnTo>
                  <a:lnTo>
                    <a:pt x="282" y="1506"/>
                  </a:lnTo>
                  <a:lnTo>
                    <a:pt x="282" y="1494"/>
                  </a:lnTo>
                  <a:lnTo>
                    <a:pt x="282" y="1452"/>
                  </a:lnTo>
                  <a:lnTo>
                    <a:pt x="288" y="1440"/>
                  </a:lnTo>
                  <a:lnTo>
                    <a:pt x="294" y="1440"/>
                  </a:lnTo>
                  <a:lnTo>
                    <a:pt x="294" y="1428"/>
                  </a:lnTo>
                  <a:lnTo>
                    <a:pt x="324" y="1368"/>
                  </a:lnTo>
                  <a:lnTo>
                    <a:pt x="330" y="1362"/>
                  </a:lnTo>
                  <a:lnTo>
                    <a:pt x="330" y="1356"/>
                  </a:lnTo>
                  <a:lnTo>
                    <a:pt x="360" y="1338"/>
                  </a:lnTo>
                  <a:lnTo>
                    <a:pt x="366" y="1296"/>
                  </a:lnTo>
                  <a:lnTo>
                    <a:pt x="354" y="1278"/>
                  </a:lnTo>
                  <a:lnTo>
                    <a:pt x="336" y="1230"/>
                  </a:lnTo>
                  <a:lnTo>
                    <a:pt x="270" y="1212"/>
                  </a:lnTo>
                  <a:lnTo>
                    <a:pt x="264" y="1212"/>
                  </a:lnTo>
                  <a:lnTo>
                    <a:pt x="252" y="1200"/>
                  </a:lnTo>
                  <a:lnTo>
                    <a:pt x="234" y="1188"/>
                  </a:lnTo>
                  <a:lnTo>
                    <a:pt x="222" y="1182"/>
                  </a:lnTo>
                  <a:lnTo>
                    <a:pt x="228" y="1104"/>
                  </a:lnTo>
                  <a:lnTo>
                    <a:pt x="228" y="1098"/>
                  </a:lnTo>
                  <a:lnTo>
                    <a:pt x="198" y="1038"/>
                  </a:lnTo>
                  <a:lnTo>
                    <a:pt x="192" y="1032"/>
                  </a:lnTo>
                  <a:lnTo>
                    <a:pt x="180" y="1020"/>
                  </a:lnTo>
                  <a:lnTo>
                    <a:pt x="168" y="996"/>
                  </a:lnTo>
                  <a:lnTo>
                    <a:pt x="162" y="990"/>
                  </a:lnTo>
                  <a:lnTo>
                    <a:pt x="156" y="990"/>
                  </a:lnTo>
                  <a:lnTo>
                    <a:pt x="150" y="990"/>
                  </a:lnTo>
                  <a:lnTo>
                    <a:pt x="132" y="990"/>
                  </a:lnTo>
                  <a:lnTo>
                    <a:pt x="120" y="984"/>
                  </a:lnTo>
                  <a:lnTo>
                    <a:pt x="120" y="990"/>
                  </a:lnTo>
                  <a:lnTo>
                    <a:pt x="114" y="990"/>
                  </a:lnTo>
                  <a:lnTo>
                    <a:pt x="102" y="984"/>
                  </a:lnTo>
                  <a:lnTo>
                    <a:pt x="96" y="984"/>
                  </a:lnTo>
                  <a:lnTo>
                    <a:pt x="96" y="978"/>
                  </a:lnTo>
                  <a:lnTo>
                    <a:pt x="90" y="978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84" y="960"/>
                  </a:lnTo>
                  <a:lnTo>
                    <a:pt x="84" y="954"/>
                  </a:lnTo>
                  <a:lnTo>
                    <a:pt x="78" y="948"/>
                  </a:lnTo>
                  <a:lnTo>
                    <a:pt x="72" y="948"/>
                  </a:lnTo>
                  <a:lnTo>
                    <a:pt x="72" y="942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06"/>
                  </a:lnTo>
                  <a:lnTo>
                    <a:pt x="60" y="888"/>
                  </a:lnTo>
                  <a:lnTo>
                    <a:pt x="54" y="882"/>
                  </a:lnTo>
                  <a:lnTo>
                    <a:pt x="60" y="882"/>
                  </a:lnTo>
                  <a:lnTo>
                    <a:pt x="72" y="876"/>
                  </a:lnTo>
                  <a:lnTo>
                    <a:pt x="78" y="876"/>
                  </a:lnTo>
                  <a:lnTo>
                    <a:pt x="90" y="870"/>
                  </a:lnTo>
                  <a:lnTo>
                    <a:pt x="90" y="864"/>
                  </a:lnTo>
                  <a:lnTo>
                    <a:pt x="96" y="840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80" y="822"/>
                  </a:lnTo>
                  <a:lnTo>
                    <a:pt x="204" y="798"/>
                  </a:lnTo>
                  <a:lnTo>
                    <a:pt x="222" y="786"/>
                  </a:lnTo>
                  <a:lnTo>
                    <a:pt x="252" y="780"/>
                  </a:lnTo>
                  <a:lnTo>
                    <a:pt x="264" y="762"/>
                  </a:lnTo>
                  <a:lnTo>
                    <a:pt x="276" y="762"/>
                  </a:lnTo>
                  <a:lnTo>
                    <a:pt x="288" y="744"/>
                  </a:lnTo>
                  <a:lnTo>
                    <a:pt x="306" y="738"/>
                  </a:lnTo>
                  <a:lnTo>
                    <a:pt x="318" y="732"/>
                  </a:lnTo>
                  <a:lnTo>
                    <a:pt x="324" y="648"/>
                  </a:lnTo>
                  <a:lnTo>
                    <a:pt x="324" y="636"/>
                  </a:lnTo>
                  <a:lnTo>
                    <a:pt x="324" y="630"/>
                  </a:lnTo>
                  <a:lnTo>
                    <a:pt x="330" y="624"/>
                  </a:lnTo>
                  <a:lnTo>
                    <a:pt x="324" y="618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24" y="588"/>
                  </a:lnTo>
                  <a:lnTo>
                    <a:pt x="318" y="576"/>
                  </a:lnTo>
                  <a:lnTo>
                    <a:pt x="318" y="570"/>
                  </a:lnTo>
                  <a:lnTo>
                    <a:pt x="324" y="570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30" y="558"/>
                  </a:lnTo>
                  <a:lnTo>
                    <a:pt x="336" y="558"/>
                  </a:lnTo>
                  <a:lnTo>
                    <a:pt x="342" y="558"/>
                  </a:lnTo>
                  <a:lnTo>
                    <a:pt x="348" y="558"/>
                  </a:lnTo>
                  <a:lnTo>
                    <a:pt x="354" y="564"/>
                  </a:lnTo>
                  <a:lnTo>
                    <a:pt x="360" y="564"/>
                  </a:lnTo>
                  <a:lnTo>
                    <a:pt x="366" y="570"/>
                  </a:lnTo>
                  <a:lnTo>
                    <a:pt x="366" y="576"/>
                  </a:lnTo>
                  <a:lnTo>
                    <a:pt x="372" y="570"/>
                  </a:lnTo>
                  <a:lnTo>
                    <a:pt x="378" y="570"/>
                  </a:lnTo>
                  <a:lnTo>
                    <a:pt x="390" y="570"/>
                  </a:lnTo>
                  <a:lnTo>
                    <a:pt x="402" y="570"/>
                  </a:lnTo>
                  <a:lnTo>
                    <a:pt x="408" y="570"/>
                  </a:lnTo>
                  <a:lnTo>
                    <a:pt x="414" y="564"/>
                  </a:lnTo>
                  <a:lnTo>
                    <a:pt x="420" y="564"/>
                  </a:lnTo>
                  <a:lnTo>
                    <a:pt x="420" y="570"/>
                  </a:lnTo>
                  <a:lnTo>
                    <a:pt x="426" y="570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44" y="570"/>
                  </a:lnTo>
                  <a:lnTo>
                    <a:pt x="450" y="564"/>
                  </a:lnTo>
                  <a:lnTo>
                    <a:pt x="474" y="558"/>
                  </a:lnTo>
                  <a:lnTo>
                    <a:pt x="486" y="54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40" y="474"/>
                  </a:lnTo>
                  <a:lnTo>
                    <a:pt x="558" y="456"/>
                  </a:lnTo>
                  <a:lnTo>
                    <a:pt x="582" y="450"/>
                  </a:lnTo>
                  <a:lnTo>
                    <a:pt x="594" y="414"/>
                  </a:lnTo>
                  <a:lnTo>
                    <a:pt x="612" y="390"/>
                  </a:lnTo>
                  <a:lnTo>
                    <a:pt x="636" y="390"/>
                  </a:lnTo>
                  <a:lnTo>
                    <a:pt x="666" y="390"/>
                  </a:lnTo>
                  <a:lnTo>
                    <a:pt x="696" y="390"/>
                  </a:lnTo>
                  <a:lnTo>
                    <a:pt x="726" y="390"/>
                  </a:lnTo>
                  <a:lnTo>
                    <a:pt x="762" y="378"/>
                  </a:lnTo>
                  <a:lnTo>
                    <a:pt x="780" y="366"/>
                  </a:lnTo>
                  <a:lnTo>
                    <a:pt x="780" y="342"/>
                  </a:lnTo>
                  <a:lnTo>
                    <a:pt x="786" y="342"/>
                  </a:lnTo>
                  <a:lnTo>
                    <a:pt x="786" y="336"/>
                  </a:lnTo>
                  <a:lnTo>
                    <a:pt x="786" y="330"/>
                  </a:lnTo>
                  <a:lnTo>
                    <a:pt x="786" y="324"/>
                  </a:lnTo>
                  <a:lnTo>
                    <a:pt x="816" y="318"/>
                  </a:lnTo>
                  <a:lnTo>
                    <a:pt x="834" y="312"/>
                  </a:lnTo>
                  <a:lnTo>
                    <a:pt x="840" y="318"/>
                  </a:lnTo>
                  <a:lnTo>
                    <a:pt x="852" y="318"/>
                  </a:lnTo>
                  <a:lnTo>
                    <a:pt x="858" y="306"/>
                  </a:lnTo>
                  <a:lnTo>
                    <a:pt x="864" y="288"/>
                  </a:lnTo>
                  <a:lnTo>
                    <a:pt x="870" y="282"/>
                  </a:lnTo>
                  <a:lnTo>
                    <a:pt x="876" y="276"/>
                  </a:lnTo>
                  <a:lnTo>
                    <a:pt x="882" y="264"/>
                  </a:lnTo>
                  <a:lnTo>
                    <a:pt x="882" y="258"/>
                  </a:lnTo>
                  <a:lnTo>
                    <a:pt x="888" y="252"/>
                  </a:lnTo>
                  <a:lnTo>
                    <a:pt x="894" y="240"/>
                  </a:lnTo>
                  <a:lnTo>
                    <a:pt x="906" y="228"/>
                  </a:lnTo>
                  <a:lnTo>
                    <a:pt x="912" y="228"/>
                  </a:lnTo>
                  <a:lnTo>
                    <a:pt x="936" y="228"/>
                  </a:lnTo>
                  <a:lnTo>
                    <a:pt x="942" y="222"/>
                  </a:lnTo>
                  <a:lnTo>
                    <a:pt x="948" y="216"/>
                  </a:lnTo>
                  <a:lnTo>
                    <a:pt x="954" y="216"/>
                  </a:lnTo>
                  <a:lnTo>
                    <a:pt x="960" y="216"/>
                  </a:lnTo>
                  <a:lnTo>
                    <a:pt x="966" y="216"/>
                  </a:lnTo>
                  <a:lnTo>
                    <a:pt x="978" y="216"/>
                  </a:lnTo>
                  <a:lnTo>
                    <a:pt x="990" y="222"/>
                  </a:lnTo>
                  <a:lnTo>
                    <a:pt x="996" y="222"/>
                  </a:lnTo>
                  <a:lnTo>
                    <a:pt x="1002" y="228"/>
                  </a:lnTo>
                  <a:lnTo>
                    <a:pt x="1014" y="234"/>
                  </a:lnTo>
                  <a:lnTo>
                    <a:pt x="1020" y="234"/>
                  </a:lnTo>
                  <a:lnTo>
                    <a:pt x="1032" y="240"/>
                  </a:lnTo>
                  <a:lnTo>
                    <a:pt x="1044" y="240"/>
                  </a:lnTo>
                  <a:lnTo>
                    <a:pt x="1050" y="240"/>
                  </a:lnTo>
                  <a:lnTo>
                    <a:pt x="1056" y="246"/>
                  </a:lnTo>
                  <a:lnTo>
                    <a:pt x="1068" y="264"/>
                  </a:lnTo>
                  <a:lnTo>
                    <a:pt x="1086" y="276"/>
                  </a:lnTo>
                  <a:lnTo>
                    <a:pt x="1092" y="276"/>
                  </a:lnTo>
                  <a:lnTo>
                    <a:pt x="1104" y="282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8" y="312"/>
                  </a:lnTo>
                  <a:lnTo>
                    <a:pt x="1152" y="324"/>
                  </a:lnTo>
                  <a:lnTo>
                    <a:pt x="1188" y="324"/>
                  </a:lnTo>
                  <a:lnTo>
                    <a:pt x="1206" y="318"/>
                  </a:lnTo>
                  <a:lnTo>
                    <a:pt x="1200" y="294"/>
                  </a:lnTo>
                  <a:lnTo>
                    <a:pt x="1206" y="252"/>
                  </a:lnTo>
                  <a:lnTo>
                    <a:pt x="1218" y="222"/>
                  </a:lnTo>
                  <a:lnTo>
                    <a:pt x="1212" y="222"/>
                  </a:lnTo>
                  <a:lnTo>
                    <a:pt x="1212" y="216"/>
                  </a:lnTo>
                  <a:lnTo>
                    <a:pt x="1218" y="204"/>
                  </a:lnTo>
                  <a:lnTo>
                    <a:pt x="1224" y="198"/>
                  </a:lnTo>
                  <a:lnTo>
                    <a:pt x="1224" y="192"/>
                  </a:lnTo>
                  <a:lnTo>
                    <a:pt x="1236" y="180"/>
                  </a:lnTo>
                  <a:lnTo>
                    <a:pt x="1254" y="156"/>
                  </a:lnTo>
                  <a:lnTo>
                    <a:pt x="1260" y="150"/>
                  </a:lnTo>
                  <a:lnTo>
                    <a:pt x="1260" y="144"/>
                  </a:lnTo>
                  <a:lnTo>
                    <a:pt x="1266" y="138"/>
                  </a:lnTo>
                  <a:lnTo>
                    <a:pt x="1272" y="138"/>
                  </a:lnTo>
                  <a:lnTo>
                    <a:pt x="1272" y="120"/>
                  </a:lnTo>
                  <a:lnTo>
                    <a:pt x="1278" y="114"/>
                  </a:lnTo>
                  <a:lnTo>
                    <a:pt x="1278" y="108"/>
                  </a:lnTo>
                  <a:lnTo>
                    <a:pt x="1278" y="102"/>
                  </a:lnTo>
                  <a:lnTo>
                    <a:pt x="1278" y="90"/>
                  </a:lnTo>
                  <a:lnTo>
                    <a:pt x="1278" y="84"/>
                  </a:lnTo>
                  <a:lnTo>
                    <a:pt x="1278" y="78"/>
                  </a:lnTo>
                  <a:lnTo>
                    <a:pt x="1278" y="72"/>
                  </a:lnTo>
                  <a:lnTo>
                    <a:pt x="1278" y="60"/>
                  </a:lnTo>
                  <a:lnTo>
                    <a:pt x="1284" y="48"/>
                  </a:lnTo>
                  <a:lnTo>
                    <a:pt x="1284" y="24"/>
                  </a:lnTo>
                  <a:lnTo>
                    <a:pt x="1284" y="18"/>
                  </a:lnTo>
                  <a:lnTo>
                    <a:pt x="1308" y="24"/>
                  </a:lnTo>
                  <a:lnTo>
                    <a:pt x="1332" y="30"/>
                  </a:lnTo>
                  <a:lnTo>
                    <a:pt x="1368" y="30"/>
                  </a:lnTo>
                  <a:lnTo>
                    <a:pt x="1392" y="24"/>
                  </a:lnTo>
                  <a:lnTo>
                    <a:pt x="1410" y="18"/>
                  </a:lnTo>
                  <a:lnTo>
                    <a:pt x="1416" y="6"/>
                  </a:lnTo>
                  <a:lnTo>
                    <a:pt x="1500" y="6"/>
                  </a:lnTo>
                  <a:lnTo>
                    <a:pt x="1506" y="0"/>
                  </a:lnTo>
                  <a:lnTo>
                    <a:pt x="1506" y="6"/>
                  </a:lnTo>
                  <a:lnTo>
                    <a:pt x="1506" y="18"/>
                  </a:lnTo>
                  <a:lnTo>
                    <a:pt x="1506" y="24"/>
                  </a:lnTo>
                  <a:lnTo>
                    <a:pt x="1500" y="30"/>
                  </a:lnTo>
                  <a:lnTo>
                    <a:pt x="1500" y="42"/>
                  </a:lnTo>
                  <a:lnTo>
                    <a:pt x="1494" y="54"/>
                  </a:lnTo>
                  <a:lnTo>
                    <a:pt x="1488" y="60"/>
                  </a:lnTo>
                  <a:lnTo>
                    <a:pt x="1482" y="60"/>
                  </a:lnTo>
                  <a:lnTo>
                    <a:pt x="1476" y="66"/>
                  </a:lnTo>
                  <a:lnTo>
                    <a:pt x="1476" y="72"/>
                  </a:lnTo>
                  <a:lnTo>
                    <a:pt x="1476" y="78"/>
                  </a:lnTo>
                  <a:lnTo>
                    <a:pt x="1470" y="78"/>
                  </a:lnTo>
                  <a:lnTo>
                    <a:pt x="1464" y="90"/>
                  </a:lnTo>
                  <a:lnTo>
                    <a:pt x="1458" y="96"/>
                  </a:lnTo>
                  <a:lnTo>
                    <a:pt x="1458" y="102"/>
                  </a:lnTo>
                  <a:lnTo>
                    <a:pt x="1452" y="120"/>
                  </a:lnTo>
                  <a:lnTo>
                    <a:pt x="1452" y="132"/>
                  </a:lnTo>
                  <a:lnTo>
                    <a:pt x="1446" y="144"/>
                  </a:lnTo>
                  <a:lnTo>
                    <a:pt x="1446" y="150"/>
                  </a:lnTo>
                  <a:lnTo>
                    <a:pt x="1440" y="150"/>
                  </a:lnTo>
                  <a:lnTo>
                    <a:pt x="1434" y="156"/>
                  </a:lnTo>
                  <a:lnTo>
                    <a:pt x="1428" y="168"/>
                  </a:lnTo>
                  <a:lnTo>
                    <a:pt x="1422" y="168"/>
                  </a:lnTo>
                  <a:lnTo>
                    <a:pt x="1416" y="174"/>
                  </a:lnTo>
                  <a:lnTo>
                    <a:pt x="1410" y="186"/>
                  </a:lnTo>
                  <a:lnTo>
                    <a:pt x="1410" y="204"/>
                  </a:lnTo>
                  <a:lnTo>
                    <a:pt x="1404" y="210"/>
                  </a:lnTo>
                  <a:lnTo>
                    <a:pt x="1404" y="216"/>
                  </a:lnTo>
                  <a:lnTo>
                    <a:pt x="1410" y="228"/>
                  </a:lnTo>
                  <a:lnTo>
                    <a:pt x="1410" y="234"/>
                  </a:lnTo>
                  <a:lnTo>
                    <a:pt x="1410" y="240"/>
                  </a:lnTo>
                  <a:lnTo>
                    <a:pt x="1416" y="252"/>
                  </a:lnTo>
                  <a:lnTo>
                    <a:pt x="1416" y="258"/>
                  </a:lnTo>
                  <a:lnTo>
                    <a:pt x="1422" y="264"/>
                  </a:lnTo>
                  <a:lnTo>
                    <a:pt x="1422" y="270"/>
                  </a:lnTo>
                  <a:lnTo>
                    <a:pt x="1422" y="282"/>
                  </a:lnTo>
                  <a:lnTo>
                    <a:pt x="1416" y="288"/>
                  </a:lnTo>
                  <a:lnTo>
                    <a:pt x="1410" y="294"/>
                  </a:lnTo>
                  <a:lnTo>
                    <a:pt x="1404" y="300"/>
                  </a:lnTo>
                  <a:lnTo>
                    <a:pt x="1404" y="306"/>
                  </a:lnTo>
                  <a:lnTo>
                    <a:pt x="1398" y="324"/>
                  </a:lnTo>
                  <a:lnTo>
                    <a:pt x="1404" y="330"/>
                  </a:lnTo>
                  <a:lnTo>
                    <a:pt x="1404" y="342"/>
                  </a:lnTo>
                  <a:lnTo>
                    <a:pt x="1392" y="354"/>
                  </a:lnTo>
                  <a:lnTo>
                    <a:pt x="1392" y="360"/>
                  </a:lnTo>
                  <a:lnTo>
                    <a:pt x="1392" y="372"/>
                  </a:lnTo>
                  <a:lnTo>
                    <a:pt x="1392" y="384"/>
                  </a:lnTo>
                  <a:lnTo>
                    <a:pt x="1392" y="396"/>
                  </a:lnTo>
                  <a:lnTo>
                    <a:pt x="1392" y="408"/>
                  </a:lnTo>
                  <a:lnTo>
                    <a:pt x="1386" y="414"/>
                  </a:lnTo>
                  <a:lnTo>
                    <a:pt x="1380" y="420"/>
                  </a:lnTo>
                  <a:lnTo>
                    <a:pt x="1380" y="426"/>
                  </a:lnTo>
                  <a:lnTo>
                    <a:pt x="1368" y="432"/>
                  </a:lnTo>
                  <a:lnTo>
                    <a:pt x="1362" y="444"/>
                  </a:lnTo>
                  <a:lnTo>
                    <a:pt x="1362" y="450"/>
                  </a:lnTo>
                  <a:lnTo>
                    <a:pt x="1362" y="462"/>
                  </a:lnTo>
                  <a:lnTo>
                    <a:pt x="1362" y="468"/>
                  </a:lnTo>
                  <a:lnTo>
                    <a:pt x="1362" y="474"/>
                  </a:lnTo>
                  <a:lnTo>
                    <a:pt x="1356" y="474"/>
                  </a:lnTo>
                  <a:lnTo>
                    <a:pt x="1350" y="480"/>
                  </a:lnTo>
                  <a:lnTo>
                    <a:pt x="1344" y="486"/>
                  </a:lnTo>
                  <a:lnTo>
                    <a:pt x="1338" y="498"/>
                  </a:lnTo>
                  <a:lnTo>
                    <a:pt x="1332" y="510"/>
                  </a:lnTo>
                  <a:lnTo>
                    <a:pt x="1320" y="510"/>
                  </a:lnTo>
                  <a:lnTo>
                    <a:pt x="1314" y="516"/>
                  </a:lnTo>
                  <a:lnTo>
                    <a:pt x="1302" y="522"/>
                  </a:lnTo>
                  <a:lnTo>
                    <a:pt x="1296" y="522"/>
                  </a:lnTo>
                  <a:lnTo>
                    <a:pt x="1284" y="516"/>
                  </a:lnTo>
                  <a:lnTo>
                    <a:pt x="1278" y="516"/>
                  </a:lnTo>
                  <a:lnTo>
                    <a:pt x="1272" y="522"/>
                  </a:lnTo>
                  <a:lnTo>
                    <a:pt x="1266" y="522"/>
                  </a:lnTo>
                  <a:lnTo>
                    <a:pt x="1266" y="528"/>
                  </a:lnTo>
                  <a:lnTo>
                    <a:pt x="1254" y="540"/>
                  </a:lnTo>
                  <a:lnTo>
                    <a:pt x="1248" y="546"/>
                  </a:lnTo>
                  <a:lnTo>
                    <a:pt x="1242" y="558"/>
                  </a:lnTo>
                  <a:lnTo>
                    <a:pt x="1230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30" y="594"/>
                  </a:lnTo>
                  <a:lnTo>
                    <a:pt x="1230" y="600"/>
                  </a:lnTo>
                  <a:lnTo>
                    <a:pt x="1236" y="606"/>
                  </a:lnTo>
                  <a:lnTo>
                    <a:pt x="1242" y="606"/>
                  </a:lnTo>
                  <a:lnTo>
                    <a:pt x="1242" y="612"/>
                  </a:lnTo>
                  <a:lnTo>
                    <a:pt x="1242" y="618"/>
                  </a:lnTo>
                  <a:lnTo>
                    <a:pt x="1242" y="624"/>
                  </a:lnTo>
                  <a:lnTo>
                    <a:pt x="1236" y="630"/>
                  </a:lnTo>
                  <a:lnTo>
                    <a:pt x="1230" y="642"/>
                  </a:lnTo>
                  <a:lnTo>
                    <a:pt x="1230" y="648"/>
                  </a:lnTo>
                  <a:lnTo>
                    <a:pt x="1218" y="654"/>
                  </a:lnTo>
                  <a:lnTo>
                    <a:pt x="1212" y="654"/>
                  </a:lnTo>
                  <a:lnTo>
                    <a:pt x="1212" y="660"/>
                  </a:lnTo>
                  <a:lnTo>
                    <a:pt x="1212" y="666"/>
                  </a:lnTo>
                  <a:lnTo>
                    <a:pt x="1212" y="672"/>
                  </a:lnTo>
                  <a:lnTo>
                    <a:pt x="1212" y="678"/>
                  </a:lnTo>
                  <a:lnTo>
                    <a:pt x="1218" y="684"/>
                  </a:lnTo>
                  <a:lnTo>
                    <a:pt x="1218" y="690"/>
                  </a:lnTo>
                  <a:lnTo>
                    <a:pt x="1224" y="696"/>
                  </a:lnTo>
                  <a:lnTo>
                    <a:pt x="1230" y="702"/>
                  </a:lnTo>
                  <a:lnTo>
                    <a:pt x="1236" y="696"/>
                  </a:lnTo>
                  <a:lnTo>
                    <a:pt x="1242" y="702"/>
                  </a:lnTo>
                  <a:lnTo>
                    <a:pt x="1248" y="708"/>
                  </a:lnTo>
                  <a:lnTo>
                    <a:pt x="1254" y="714"/>
                  </a:lnTo>
                  <a:lnTo>
                    <a:pt x="1254" y="720"/>
                  </a:lnTo>
                  <a:lnTo>
                    <a:pt x="1260" y="720"/>
                  </a:lnTo>
                  <a:lnTo>
                    <a:pt x="1254" y="732"/>
                  </a:lnTo>
                  <a:lnTo>
                    <a:pt x="1248" y="738"/>
                  </a:lnTo>
                  <a:lnTo>
                    <a:pt x="1242" y="744"/>
                  </a:lnTo>
                  <a:lnTo>
                    <a:pt x="1236" y="750"/>
                  </a:lnTo>
                  <a:lnTo>
                    <a:pt x="1236" y="756"/>
                  </a:lnTo>
                  <a:lnTo>
                    <a:pt x="1236" y="762"/>
                  </a:lnTo>
                  <a:lnTo>
                    <a:pt x="1236" y="768"/>
                  </a:lnTo>
                  <a:lnTo>
                    <a:pt x="1236" y="780"/>
                  </a:lnTo>
                  <a:lnTo>
                    <a:pt x="1230" y="780"/>
                  </a:lnTo>
                  <a:lnTo>
                    <a:pt x="1230" y="786"/>
                  </a:lnTo>
                  <a:lnTo>
                    <a:pt x="1230" y="792"/>
                  </a:lnTo>
                  <a:lnTo>
                    <a:pt x="1230" y="804"/>
                  </a:lnTo>
                  <a:lnTo>
                    <a:pt x="1224" y="810"/>
                  </a:lnTo>
                  <a:lnTo>
                    <a:pt x="1218" y="816"/>
                  </a:lnTo>
                  <a:lnTo>
                    <a:pt x="1224" y="822"/>
                  </a:lnTo>
                  <a:lnTo>
                    <a:pt x="1224" y="828"/>
                  </a:lnTo>
                  <a:lnTo>
                    <a:pt x="1218" y="834"/>
                  </a:lnTo>
                  <a:lnTo>
                    <a:pt x="1224" y="834"/>
                  </a:lnTo>
                  <a:lnTo>
                    <a:pt x="1224" y="840"/>
                  </a:lnTo>
                  <a:lnTo>
                    <a:pt x="1224" y="846"/>
                  </a:lnTo>
                  <a:lnTo>
                    <a:pt x="1224" y="852"/>
                  </a:lnTo>
                  <a:lnTo>
                    <a:pt x="1218" y="858"/>
                  </a:lnTo>
                  <a:lnTo>
                    <a:pt x="1218" y="870"/>
                  </a:lnTo>
                  <a:lnTo>
                    <a:pt x="1212" y="870"/>
                  </a:lnTo>
                  <a:lnTo>
                    <a:pt x="1212" y="876"/>
                  </a:lnTo>
                  <a:lnTo>
                    <a:pt x="1206" y="888"/>
                  </a:lnTo>
                  <a:lnTo>
                    <a:pt x="1200" y="882"/>
                  </a:lnTo>
                  <a:lnTo>
                    <a:pt x="1194" y="888"/>
                  </a:lnTo>
                  <a:lnTo>
                    <a:pt x="1188" y="894"/>
                  </a:lnTo>
                  <a:lnTo>
                    <a:pt x="1182" y="894"/>
                  </a:lnTo>
                  <a:lnTo>
                    <a:pt x="1182" y="900"/>
                  </a:lnTo>
                  <a:lnTo>
                    <a:pt x="1176" y="900"/>
                  </a:lnTo>
                  <a:lnTo>
                    <a:pt x="1170" y="894"/>
                  </a:lnTo>
                  <a:lnTo>
                    <a:pt x="1164" y="900"/>
                  </a:lnTo>
                  <a:lnTo>
                    <a:pt x="1158" y="900"/>
                  </a:lnTo>
                  <a:lnTo>
                    <a:pt x="1152" y="900"/>
                  </a:lnTo>
                  <a:lnTo>
                    <a:pt x="1140" y="900"/>
                  </a:lnTo>
                  <a:lnTo>
                    <a:pt x="1134" y="900"/>
                  </a:lnTo>
                  <a:lnTo>
                    <a:pt x="1128" y="906"/>
                  </a:lnTo>
                  <a:lnTo>
                    <a:pt x="1110" y="906"/>
                  </a:lnTo>
                  <a:lnTo>
                    <a:pt x="1104" y="906"/>
                  </a:lnTo>
                  <a:lnTo>
                    <a:pt x="1098" y="906"/>
                  </a:lnTo>
                  <a:lnTo>
                    <a:pt x="1092" y="912"/>
                  </a:lnTo>
                  <a:lnTo>
                    <a:pt x="1080" y="918"/>
                  </a:lnTo>
                  <a:lnTo>
                    <a:pt x="1068" y="930"/>
                  </a:lnTo>
                  <a:lnTo>
                    <a:pt x="1062" y="930"/>
                  </a:lnTo>
                  <a:lnTo>
                    <a:pt x="1056" y="930"/>
                  </a:lnTo>
                  <a:lnTo>
                    <a:pt x="1050" y="930"/>
                  </a:lnTo>
                  <a:lnTo>
                    <a:pt x="1050" y="936"/>
                  </a:lnTo>
                  <a:lnTo>
                    <a:pt x="1038" y="942"/>
                  </a:lnTo>
                  <a:lnTo>
                    <a:pt x="1032" y="948"/>
                  </a:lnTo>
                  <a:lnTo>
                    <a:pt x="1026" y="954"/>
                  </a:lnTo>
                  <a:lnTo>
                    <a:pt x="1020" y="960"/>
                  </a:lnTo>
                  <a:lnTo>
                    <a:pt x="1014" y="966"/>
                  </a:lnTo>
                  <a:lnTo>
                    <a:pt x="1002" y="966"/>
                  </a:lnTo>
                  <a:lnTo>
                    <a:pt x="990" y="978"/>
                  </a:lnTo>
                  <a:lnTo>
                    <a:pt x="984" y="978"/>
                  </a:lnTo>
                  <a:lnTo>
                    <a:pt x="978" y="984"/>
                  </a:lnTo>
                  <a:lnTo>
                    <a:pt x="972" y="984"/>
                  </a:lnTo>
                  <a:lnTo>
                    <a:pt x="978" y="990"/>
                  </a:lnTo>
                  <a:lnTo>
                    <a:pt x="972" y="996"/>
                  </a:lnTo>
                  <a:lnTo>
                    <a:pt x="978" y="1002"/>
                  </a:lnTo>
                  <a:lnTo>
                    <a:pt x="1002" y="1002"/>
                  </a:lnTo>
                  <a:lnTo>
                    <a:pt x="1002" y="1008"/>
                  </a:lnTo>
                  <a:lnTo>
                    <a:pt x="1008" y="1020"/>
                  </a:lnTo>
                  <a:lnTo>
                    <a:pt x="1002" y="1026"/>
                  </a:lnTo>
                  <a:lnTo>
                    <a:pt x="1002" y="1032"/>
                  </a:lnTo>
                  <a:lnTo>
                    <a:pt x="1002" y="1050"/>
                  </a:lnTo>
                  <a:lnTo>
                    <a:pt x="1002" y="1056"/>
                  </a:lnTo>
                  <a:lnTo>
                    <a:pt x="1008" y="1062"/>
                  </a:lnTo>
                  <a:lnTo>
                    <a:pt x="1008" y="1074"/>
                  </a:lnTo>
                  <a:lnTo>
                    <a:pt x="1008" y="1086"/>
                  </a:lnTo>
                  <a:lnTo>
                    <a:pt x="996" y="1092"/>
                  </a:lnTo>
                  <a:lnTo>
                    <a:pt x="996" y="1098"/>
                  </a:lnTo>
                  <a:lnTo>
                    <a:pt x="996" y="1104"/>
                  </a:lnTo>
                  <a:lnTo>
                    <a:pt x="990" y="1110"/>
                  </a:lnTo>
                  <a:lnTo>
                    <a:pt x="990" y="1116"/>
                  </a:lnTo>
                  <a:lnTo>
                    <a:pt x="996" y="1122"/>
                  </a:lnTo>
                  <a:lnTo>
                    <a:pt x="990" y="1128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96" y="1140"/>
                  </a:lnTo>
                  <a:lnTo>
                    <a:pt x="996" y="1146"/>
                  </a:lnTo>
                  <a:lnTo>
                    <a:pt x="996" y="1152"/>
                  </a:lnTo>
                  <a:lnTo>
                    <a:pt x="996" y="1158"/>
                  </a:lnTo>
                  <a:lnTo>
                    <a:pt x="996" y="1164"/>
                  </a:lnTo>
                  <a:lnTo>
                    <a:pt x="996" y="1170"/>
                  </a:lnTo>
                  <a:lnTo>
                    <a:pt x="996" y="1176"/>
                  </a:lnTo>
                  <a:lnTo>
                    <a:pt x="990" y="1182"/>
                  </a:lnTo>
                  <a:lnTo>
                    <a:pt x="990" y="1188"/>
                  </a:lnTo>
                  <a:lnTo>
                    <a:pt x="984" y="1200"/>
                  </a:lnTo>
                  <a:lnTo>
                    <a:pt x="990" y="1206"/>
                  </a:lnTo>
                  <a:lnTo>
                    <a:pt x="990" y="1212"/>
                  </a:lnTo>
                  <a:lnTo>
                    <a:pt x="990" y="1218"/>
                  </a:lnTo>
                  <a:lnTo>
                    <a:pt x="978" y="1230"/>
                  </a:lnTo>
                  <a:lnTo>
                    <a:pt x="972" y="1236"/>
                  </a:lnTo>
                  <a:lnTo>
                    <a:pt x="972" y="1242"/>
                  </a:lnTo>
                  <a:lnTo>
                    <a:pt x="966" y="1248"/>
                  </a:lnTo>
                  <a:lnTo>
                    <a:pt x="960" y="1260"/>
                  </a:lnTo>
                  <a:lnTo>
                    <a:pt x="954" y="1266"/>
                  </a:lnTo>
                  <a:lnTo>
                    <a:pt x="942" y="1278"/>
                  </a:lnTo>
                  <a:lnTo>
                    <a:pt x="936" y="1278"/>
                  </a:lnTo>
                  <a:lnTo>
                    <a:pt x="936" y="1284"/>
                  </a:lnTo>
                  <a:lnTo>
                    <a:pt x="936" y="1296"/>
                  </a:lnTo>
                  <a:lnTo>
                    <a:pt x="936" y="1302"/>
                  </a:lnTo>
                  <a:lnTo>
                    <a:pt x="942" y="1302"/>
                  </a:lnTo>
                  <a:lnTo>
                    <a:pt x="942" y="1308"/>
                  </a:lnTo>
                  <a:lnTo>
                    <a:pt x="936" y="1314"/>
                  </a:lnTo>
                  <a:lnTo>
                    <a:pt x="930" y="1320"/>
                  </a:lnTo>
                  <a:lnTo>
                    <a:pt x="930" y="1326"/>
                  </a:lnTo>
                  <a:lnTo>
                    <a:pt x="930" y="1332"/>
                  </a:lnTo>
                  <a:lnTo>
                    <a:pt x="936" y="1338"/>
                  </a:lnTo>
                  <a:lnTo>
                    <a:pt x="936" y="1344"/>
                  </a:lnTo>
                  <a:lnTo>
                    <a:pt x="942" y="1356"/>
                  </a:lnTo>
                  <a:lnTo>
                    <a:pt x="948" y="1368"/>
                  </a:lnTo>
                  <a:lnTo>
                    <a:pt x="942" y="1380"/>
                  </a:lnTo>
                  <a:lnTo>
                    <a:pt x="936" y="1386"/>
                  </a:lnTo>
                  <a:lnTo>
                    <a:pt x="930" y="1392"/>
                  </a:lnTo>
                  <a:lnTo>
                    <a:pt x="924" y="1392"/>
                  </a:lnTo>
                  <a:lnTo>
                    <a:pt x="918" y="1386"/>
                  </a:lnTo>
                  <a:lnTo>
                    <a:pt x="912" y="1386"/>
                  </a:lnTo>
                  <a:lnTo>
                    <a:pt x="906" y="1386"/>
                  </a:lnTo>
                  <a:lnTo>
                    <a:pt x="900" y="1386"/>
                  </a:lnTo>
                  <a:lnTo>
                    <a:pt x="900" y="1392"/>
                  </a:lnTo>
                  <a:lnTo>
                    <a:pt x="894" y="1392"/>
                  </a:lnTo>
                  <a:lnTo>
                    <a:pt x="888" y="1392"/>
                  </a:lnTo>
                  <a:lnTo>
                    <a:pt x="888" y="1398"/>
                  </a:lnTo>
                  <a:lnTo>
                    <a:pt x="882" y="1404"/>
                  </a:lnTo>
                  <a:lnTo>
                    <a:pt x="882" y="1416"/>
                  </a:lnTo>
                  <a:lnTo>
                    <a:pt x="882" y="1428"/>
                  </a:lnTo>
                  <a:lnTo>
                    <a:pt x="882" y="1434"/>
                  </a:lnTo>
                  <a:lnTo>
                    <a:pt x="870" y="1440"/>
                  </a:lnTo>
                  <a:lnTo>
                    <a:pt x="864" y="1452"/>
                  </a:lnTo>
                  <a:lnTo>
                    <a:pt x="870" y="1452"/>
                  </a:lnTo>
                  <a:lnTo>
                    <a:pt x="864" y="1458"/>
                  </a:lnTo>
                  <a:lnTo>
                    <a:pt x="858" y="1464"/>
                  </a:lnTo>
                  <a:lnTo>
                    <a:pt x="852" y="1464"/>
                  </a:lnTo>
                  <a:lnTo>
                    <a:pt x="846" y="1458"/>
                  </a:lnTo>
                  <a:lnTo>
                    <a:pt x="840" y="1458"/>
                  </a:lnTo>
                  <a:lnTo>
                    <a:pt x="828" y="1470"/>
                  </a:lnTo>
                  <a:lnTo>
                    <a:pt x="810" y="1482"/>
                  </a:lnTo>
                  <a:lnTo>
                    <a:pt x="804" y="1488"/>
                  </a:lnTo>
                  <a:lnTo>
                    <a:pt x="798" y="1488"/>
                  </a:lnTo>
                  <a:lnTo>
                    <a:pt x="792" y="1488"/>
                  </a:lnTo>
                  <a:lnTo>
                    <a:pt x="786" y="1488"/>
                  </a:lnTo>
                  <a:lnTo>
                    <a:pt x="768" y="1482"/>
                  </a:lnTo>
                  <a:lnTo>
                    <a:pt x="762" y="1476"/>
                  </a:lnTo>
                  <a:lnTo>
                    <a:pt x="744" y="1476"/>
                  </a:lnTo>
                  <a:lnTo>
                    <a:pt x="738" y="1476"/>
                  </a:lnTo>
                  <a:lnTo>
                    <a:pt x="732" y="1476"/>
                  </a:lnTo>
                  <a:lnTo>
                    <a:pt x="726" y="1482"/>
                  </a:lnTo>
                  <a:lnTo>
                    <a:pt x="726" y="1488"/>
                  </a:lnTo>
                  <a:lnTo>
                    <a:pt x="726" y="1494"/>
                  </a:lnTo>
                  <a:lnTo>
                    <a:pt x="726" y="1500"/>
                  </a:lnTo>
                  <a:lnTo>
                    <a:pt x="720" y="1500"/>
                  </a:lnTo>
                  <a:lnTo>
                    <a:pt x="720" y="1506"/>
                  </a:lnTo>
                  <a:lnTo>
                    <a:pt x="714" y="1512"/>
                  </a:lnTo>
                  <a:lnTo>
                    <a:pt x="714" y="1518"/>
                  </a:lnTo>
                  <a:lnTo>
                    <a:pt x="708" y="1518"/>
                  </a:lnTo>
                  <a:lnTo>
                    <a:pt x="708" y="1530"/>
                  </a:lnTo>
                  <a:lnTo>
                    <a:pt x="708" y="1536"/>
                  </a:lnTo>
                  <a:lnTo>
                    <a:pt x="708" y="1542"/>
                  </a:lnTo>
                  <a:lnTo>
                    <a:pt x="696" y="1554"/>
                  </a:lnTo>
                  <a:lnTo>
                    <a:pt x="690" y="1560"/>
                  </a:lnTo>
                  <a:lnTo>
                    <a:pt x="684" y="1566"/>
                  </a:lnTo>
                  <a:lnTo>
                    <a:pt x="672" y="1566"/>
                  </a:lnTo>
                  <a:lnTo>
                    <a:pt x="666" y="1566"/>
                  </a:lnTo>
                  <a:lnTo>
                    <a:pt x="660" y="1566"/>
                  </a:lnTo>
                  <a:lnTo>
                    <a:pt x="654" y="1572"/>
                  </a:lnTo>
                  <a:lnTo>
                    <a:pt x="654" y="1578"/>
                  </a:lnTo>
                  <a:lnTo>
                    <a:pt x="642" y="1578"/>
                  </a:lnTo>
                  <a:lnTo>
                    <a:pt x="630" y="1572"/>
                  </a:lnTo>
                  <a:lnTo>
                    <a:pt x="624" y="1572"/>
                  </a:lnTo>
                  <a:lnTo>
                    <a:pt x="618" y="1578"/>
                  </a:lnTo>
                  <a:lnTo>
                    <a:pt x="612" y="1584"/>
                  </a:lnTo>
                  <a:lnTo>
                    <a:pt x="606" y="1584"/>
                  </a:lnTo>
                  <a:lnTo>
                    <a:pt x="600" y="1590"/>
                  </a:lnTo>
                  <a:lnTo>
                    <a:pt x="594" y="1590"/>
                  </a:lnTo>
                  <a:lnTo>
                    <a:pt x="588" y="1590"/>
                  </a:lnTo>
                  <a:lnTo>
                    <a:pt x="582" y="1590"/>
                  </a:lnTo>
                  <a:lnTo>
                    <a:pt x="582" y="1596"/>
                  </a:lnTo>
                  <a:lnTo>
                    <a:pt x="576" y="1614"/>
                  </a:lnTo>
                  <a:lnTo>
                    <a:pt x="570" y="1632"/>
                  </a:lnTo>
                  <a:lnTo>
                    <a:pt x="570" y="1638"/>
                  </a:lnTo>
                  <a:lnTo>
                    <a:pt x="576" y="1644"/>
                  </a:lnTo>
                  <a:lnTo>
                    <a:pt x="576" y="1650"/>
                  </a:lnTo>
                  <a:lnTo>
                    <a:pt x="582" y="1662"/>
                  </a:lnTo>
                  <a:lnTo>
                    <a:pt x="582" y="1668"/>
                  </a:lnTo>
                  <a:lnTo>
                    <a:pt x="588" y="1692"/>
                  </a:lnTo>
                  <a:lnTo>
                    <a:pt x="594" y="1728"/>
                  </a:lnTo>
                  <a:lnTo>
                    <a:pt x="594" y="1752"/>
                  </a:lnTo>
                  <a:lnTo>
                    <a:pt x="594" y="1764"/>
                  </a:lnTo>
                  <a:lnTo>
                    <a:pt x="582" y="1770"/>
                  </a:lnTo>
                  <a:lnTo>
                    <a:pt x="582" y="1782"/>
                  </a:lnTo>
                  <a:lnTo>
                    <a:pt x="576" y="1788"/>
                  </a:lnTo>
                  <a:lnTo>
                    <a:pt x="570" y="1794"/>
                  </a:lnTo>
                  <a:lnTo>
                    <a:pt x="564" y="1806"/>
                  </a:lnTo>
                  <a:lnTo>
                    <a:pt x="564" y="1812"/>
                  </a:lnTo>
                  <a:lnTo>
                    <a:pt x="558" y="1812"/>
                  </a:lnTo>
                  <a:lnTo>
                    <a:pt x="564" y="1824"/>
                  </a:lnTo>
                  <a:lnTo>
                    <a:pt x="564" y="1830"/>
                  </a:lnTo>
                  <a:lnTo>
                    <a:pt x="564" y="1842"/>
                  </a:lnTo>
                  <a:lnTo>
                    <a:pt x="564" y="1848"/>
                  </a:lnTo>
                  <a:lnTo>
                    <a:pt x="564" y="1854"/>
                  </a:lnTo>
                  <a:lnTo>
                    <a:pt x="570" y="1860"/>
                  </a:lnTo>
                  <a:lnTo>
                    <a:pt x="570" y="1866"/>
                  </a:lnTo>
                  <a:lnTo>
                    <a:pt x="570" y="1872"/>
                  </a:lnTo>
                  <a:lnTo>
                    <a:pt x="570" y="1878"/>
                  </a:lnTo>
                  <a:lnTo>
                    <a:pt x="564" y="1890"/>
                  </a:lnTo>
                  <a:lnTo>
                    <a:pt x="558" y="1896"/>
                  </a:lnTo>
                  <a:lnTo>
                    <a:pt x="552" y="1908"/>
                  </a:lnTo>
                  <a:lnTo>
                    <a:pt x="546" y="1914"/>
                  </a:lnTo>
                  <a:lnTo>
                    <a:pt x="540" y="1920"/>
                  </a:lnTo>
                  <a:lnTo>
                    <a:pt x="534" y="1932"/>
                  </a:lnTo>
                  <a:lnTo>
                    <a:pt x="528" y="1944"/>
                  </a:lnTo>
                  <a:lnTo>
                    <a:pt x="516" y="1950"/>
                  </a:lnTo>
                  <a:lnTo>
                    <a:pt x="510" y="1956"/>
                  </a:lnTo>
                  <a:lnTo>
                    <a:pt x="498" y="1962"/>
                  </a:lnTo>
                  <a:lnTo>
                    <a:pt x="492" y="1974"/>
                  </a:lnTo>
                  <a:lnTo>
                    <a:pt x="486" y="1980"/>
                  </a:lnTo>
                  <a:lnTo>
                    <a:pt x="480" y="1998"/>
                  </a:lnTo>
                  <a:lnTo>
                    <a:pt x="474" y="2004"/>
                  </a:lnTo>
                  <a:lnTo>
                    <a:pt x="474" y="2010"/>
                  </a:lnTo>
                  <a:lnTo>
                    <a:pt x="474" y="2016"/>
                  </a:lnTo>
                  <a:lnTo>
                    <a:pt x="468" y="2016"/>
                  </a:lnTo>
                  <a:lnTo>
                    <a:pt x="468" y="2028"/>
                  </a:lnTo>
                  <a:lnTo>
                    <a:pt x="462" y="2034"/>
                  </a:lnTo>
                  <a:lnTo>
                    <a:pt x="456" y="2040"/>
                  </a:lnTo>
                  <a:lnTo>
                    <a:pt x="456" y="2052"/>
                  </a:lnTo>
                  <a:lnTo>
                    <a:pt x="450" y="2058"/>
                  </a:lnTo>
                  <a:lnTo>
                    <a:pt x="450" y="2070"/>
                  </a:lnTo>
                  <a:lnTo>
                    <a:pt x="450" y="2076"/>
                  </a:lnTo>
                  <a:lnTo>
                    <a:pt x="450" y="2082"/>
                  </a:lnTo>
                  <a:lnTo>
                    <a:pt x="444" y="2088"/>
                  </a:lnTo>
                  <a:lnTo>
                    <a:pt x="438" y="2094"/>
                  </a:lnTo>
                  <a:lnTo>
                    <a:pt x="444" y="2100"/>
                  </a:lnTo>
                  <a:lnTo>
                    <a:pt x="444" y="2124"/>
                  </a:lnTo>
                  <a:lnTo>
                    <a:pt x="444" y="2142"/>
                  </a:lnTo>
                  <a:lnTo>
                    <a:pt x="444" y="2160"/>
                  </a:lnTo>
                  <a:lnTo>
                    <a:pt x="450" y="2166"/>
                  </a:lnTo>
                  <a:lnTo>
                    <a:pt x="456" y="2178"/>
                  </a:lnTo>
                  <a:lnTo>
                    <a:pt x="438" y="2184"/>
                  </a:lnTo>
                  <a:lnTo>
                    <a:pt x="432" y="2184"/>
                  </a:lnTo>
                  <a:lnTo>
                    <a:pt x="426" y="2190"/>
                  </a:lnTo>
                  <a:lnTo>
                    <a:pt x="408" y="2190"/>
                  </a:lnTo>
                  <a:lnTo>
                    <a:pt x="402" y="2196"/>
                  </a:lnTo>
                  <a:lnTo>
                    <a:pt x="396" y="2196"/>
                  </a:lnTo>
                  <a:lnTo>
                    <a:pt x="384" y="2208"/>
                  </a:lnTo>
                  <a:lnTo>
                    <a:pt x="378" y="2220"/>
                  </a:lnTo>
                  <a:lnTo>
                    <a:pt x="366" y="2232"/>
                  </a:lnTo>
                  <a:lnTo>
                    <a:pt x="366" y="2238"/>
                  </a:lnTo>
                  <a:lnTo>
                    <a:pt x="360" y="2238"/>
                  </a:lnTo>
                  <a:lnTo>
                    <a:pt x="360" y="2244"/>
                  </a:lnTo>
                  <a:lnTo>
                    <a:pt x="354" y="2244"/>
                  </a:lnTo>
                  <a:lnTo>
                    <a:pt x="330" y="227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5" name="Freeform 10">
              <a:extLst>
                <a:ext uri="{FF2B5EF4-FFF2-40B4-BE49-F238E27FC236}">
                  <a16:creationId xmlns:a16="http://schemas.microsoft.com/office/drawing/2014/main" id="{3AD2FC58-3490-4B7F-A8BE-621F3CDD69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1996" y="1931890"/>
              <a:ext cx="805029" cy="1037736"/>
            </a:xfrm>
            <a:custGeom>
              <a:avLst/>
              <a:gdLst>
                <a:gd name="T0" fmla="*/ 124 w 1512"/>
                <a:gd name="T1" fmla="*/ 76 h 1956"/>
                <a:gd name="T2" fmla="*/ 120 w 1512"/>
                <a:gd name="T3" fmla="*/ 80 h 1956"/>
                <a:gd name="T4" fmla="*/ 106 w 1512"/>
                <a:gd name="T5" fmla="*/ 84 h 1956"/>
                <a:gd name="T6" fmla="*/ 105 w 1512"/>
                <a:gd name="T7" fmla="*/ 91 h 1956"/>
                <a:gd name="T8" fmla="*/ 101 w 1512"/>
                <a:gd name="T9" fmla="*/ 99 h 1956"/>
                <a:gd name="T10" fmla="*/ 105 w 1512"/>
                <a:gd name="T11" fmla="*/ 107 h 1956"/>
                <a:gd name="T12" fmla="*/ 119 w 1512"/>
                <a:gd name="T13" fmla="*/ 116 h 1956"/>
                <a:gd name="T14" fmla="*/ 121 w 1512"/>
                <a:gd name="T15" fmla="*/ 128 h 1956"/>
                <a:gd name="T16" fmla="*/ 112 w 1512"/>
                <a:gd name="T17" fmla="*/ 136 h 1956"/>
                <a:gd name="T18" fmla="*/ 119 w 1512"/>
                <a:gd name="T19" fmla="*/ 143 h 1956"/>
                <a:gd name="T20" fmla="*/ 126 w 1512"/>
                <a:gd name="T21" fmla="*/ 148 h 1956"/>
                <a:gd name="T22" fmla="*/ 126 w 1512"/>
                <a:gd name="T23" fmla="*/ 160 h 1956"/>
                <a:gd name="T24" fmla="*/ 104 w 1512"/>
                <a:gd name="T25" fmla="*/ 170 h 1956"/>
                <a:gd name="T26" fmla="*/ 99 w 1512"/>
                <a:gd name="T27" fmla="*/ 164 h 1956"/>
                <a:gd name="T28" fmla="*/ 73 w 1512"/>
                <a:gd name="T29" fmla="*/ 152 h 1956"/>
                <a:gd name="T30" fmla="*/ 56 w 1512"/>
                <a:gd name="T31" fmla="*/ 165 h 1956"/>
                <a:gd name="T32" fmla="*/ 33 w 1512"/>
                <a:gd name="T33" fmla="*/ 162 h 1956"/>
                <a:gd name="T34" fmla="*/ 25 w 1512"/>
                <a:gd name="T35" fmla="*/ 155 h 1956"/>
                <a:gd name="T36" fmla="*/ 31 w 1512"/>
                <a:gd name="T37" fmla="*/ 142 h 1956"/>
                <a:gd name="T38" fmla="*/ 24 w 1512"/>
                <a:gd name="T39" fmla="*/ 137 h 1956"/>
                <a:gd name="T40" fmla="*/ 14 w 1512"/>
                <a:gd name="T41" fmla="*/ 136 h 1956"/>
                <a:gd name="T42" fmla="*/ 11 w 1512"/>
                <a:gd name="T43" fmla="*/ 125 h 1956"/>
                <a:gd name="T44" fmla="*/ 3 w 1512"/>
                <a:gd name="T45" fmla="*/ 116 h 1956"/>
                <a:gd name="T46" fmla="*/ 2 w 1512"/>
                <a:gd name="T47" fmla="*/ 106 h 1956"/>
                <a:gd name="T48" fmla="*/ 5 w 1512"/>
                <a:gd name="T49" fmla="*/ 101 h 1956"/>
                <a:gd name="T50" fmla="*/ 2 w 1512"/>
                <a:gd name="T51" fmla="*/ 95 h 1956"/>
                <a:gd name="T52" fmla="*/ 1 w 1512"/>
                <a:gd name="T53" fmla="*/ 88 h 1956"/>
                <a:gd name="T54" fmla="*/ 4 w 1512"/>
                <a:gd name="T55" fmla="*/ 80 h 1956"/>
                <a:gd name="T56" fmla="*/ 12 w 1512"/>
                <a:gd name="T57" fmla="*/ 73 h 1956"/>
                <a:gd name="T58" fmla="*/ 16 w 1512"/>
                <a:gd name="T59" fmla="*/ 68 h 1956"/>
                <a:gd name="T60" fmla="*/ 22 w 1512"/>
                <a:gd name="T61" fmla="*/ 66 h 1956"/>
                <a:gd name="T62" fmla="*/ 32 w 1512"/>
                <a:gd name="T63" fmla="*/ 65 h 1956"/>
                <a:gd name="T64" fmla="*/ 45 w 1512"/>
                <a:gd name="T65" fmla="*/ 66 h 1956"/>
                <a:gd name="T66" fmla="*/ 50 w 1512"/>
                <a:gd name="T67" fmla="*/ 70 h 1956"/>
                <a:gd name="T68" fmla="*/ 55 w 1512"/>
                <a:gd name="T69" fmla="*/ 70 h 1956"/>
                <a:gd name="T70" fmla="*/ 63 w 1512"/>
                <a:gd name="T71" fmla="*/ 71 h 1956"/>
                <a:gd name="T72" fmla="*/ 61 w 1512"/>
                <a:gd name="T73" fmla="*/ 75 h 1956"/>
                <a:gd name="T74" fmla="*/ 66 w 1512"/>
                <a:gd name="T75" fmla="*/ 84 h 1956"/>
                <a:gd name="T76" fmla="*/ 81 w 1512"/>
                <a:gd name="T77" fmla="*/ 85 h 1956"/>
                <a:gd name="T78" fmla="*/ 83 w 1512"/>
                <a:gd name="T79" fmla="*/ 79 h 1956"/>
                <a:gd name="T80" fmla="*/ 89 w 1512"/>
                <a:gd name="T81" fmla="*/ 77 h 1956"/>
                <a:gd name="T82" fmla="*/ 89 w 1512"/>
                <a:gd name="T83" fmla="*/ 73 h 1956"/>
                <a:gd name="T84" fmla="*/ 83 w 1512"/>
                <a:gd name="T85" fmla="*/ 72 h 1956"/>
                <a:gd name="T86" fmla="*/ 77 w 1512"/>
                <a:gd name="T87" fmla="*/ 70 h 1956"/>
                <a:gd name="T88" fmla="*/ 71 w 1512"/>
                <a:gd name="T89" fmla="*/ 70 h 1956"/>
                <a:gd name="T90" fmla="*/ 59 w 1512"/>
                <a:gd name="T91" fmla="*/ 58 h 1956"/>
                <a:gd name="T92" fmla="*/ 54 w 1512"/>
                <a:gd name="T93" fmla="*/ 45 h 1956"/>
                <a:gd name="T94" fmla="*/ 49 w 1512"/>
                <a:gd name="T95" fmla="*/ 42 h 1956"/>
                <a:gd name="T96" fmla="*/ 51 w 1512"/>
                <a:gd name="T97" fmla="*/ 39 h 1956"/>
                <a:gd name="T98" fmla="*/ 55 w 1512"/>
                <a:gd name="T99" fmla="*/ 36 h 1956"/>
                <a:gd name="T100" fmla="*/ 63 w 1512"/>
                <a:gd name="T101" fmla="*/ 34 h 1956"/>
                <a:gd name="T102" fmla="*/ 68 w 1512"/>
                <a:gd name="T103" fmla="*/ 32 h 1956"/>
                <a:gd name="T104" fmla="*/ 73 w 1512"/>
                <a:gd name="T105" fmla="*/ 29 h 1956"/>
                <a:gd name="T106" fmla="*/ 78 w 1512"/>
                <a:gd name="T107" fmla="*/ 27 h 1956"/>
                <a:gd name="T108" fmla="*/ 81 w 1512"/>
                <a:gd name="T109" fmla="*/ 17 h 1956"/>
                <a:gd name="T110" fmla="*/ 84 w 1512"/>
                <a:gd name="T111" fmla="*/ 6 h 1956"/>
                <a:gd name="T112" fmla="*/ 95 w 1512"/>
                <a:gd name="T113" fmla="*/ 6 h 1956"/>
                <a:gd name="T114" fmla="*/ 99 w 1512"/>
                <a:gd name="T115" fmla="*/ 3 h 1956"/>
                <a:gd name="T116" fmla="*/ 103 w 1512"/>
                <a:gd name="T117" fmla="*/ 0 h 1956"/>
                <a:gd name="T118" fmla="*/ 110 w 1512"/>
                <a:gd name="T119" fmla="*/ 4 h 1956"/>
                <a:gd name="T120" fmla="*/ 114 w 1512"/>
                <a:gd name="T121" fmla="*/ 33 h 1956"/>
                <a:gd name="T122" fmla="*/ 117 w 1512"/>
                <a:gd name="T123" fmla="*/ 41 h 1956"/>
                <a:gd name="T124" fmla="*/ 119 w 1512"/>
                <a:gd name="T125" fmla="*/ 62 h 195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12"/>
                <a:gd name="T190" fmla="*/ 0 h 1956"/>
                <a:gd name="T191" fmla="*/ 1512 w 1512"/>
                <a:gd name="T192" fmla="*/ 1956 h 195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12" h="1956">
                  <a:moveTo>
                    <a:pt x="1512" y="780"/>
                  </a:moveTo>
                  <a:lnTo>
                    <a:pt x="1482" y="786"/>
                  </a:lnTo>
                  <a:lnTo>
                    <a:pt x="1476" y="792"/>
                  </a:lnTo>
                  <a:lnTo>
                    <a:pt x="1476" y="798"/>
                  </a:lnTo>
                  <a:lnTo>
                    <a:pt x="1476" y="804"/>
                  </a:lnTo>
                  <a:lnTo>
                    <a:pt x="1476" y="816"/>
                  </a:lnTo>
                  <a:lnTo>
                    <a:pt x="1470" y="834"/>
                  </a:lnTo>
                  <a:lnTo>
                    <a:pt x="1464" y="840"/>
                  </a:lnTo>
                  <a:lnTo>
                    <a:pt x="1452" y="852"/>
                  </a:lnTo>
                  <a:lnTo>
                    <a:pt x="1440" y="864"/>
                  </a:lnTo>
                  <a:lnTo>
                    <a:pt x="1434" y="864"/>
                  </a:lnTo>
                  <a:lnTo>
                    <a:pt x="1434" y="870"/>
                  </a:lnTo>
                  <a:lnTo>
                    <a:pt x="1422" y="876"/>
                  </a:lnTo>
                  <a:lnTo>
                    <a:pt x="1410" y="894"/>
                  </a:lnTo>
                  <a:lnTo>
                    <a:pt x="1404" y="894"/>
                  </a:lnTo>
                  <a:lnTo>
                    <a:pt x="1404" y="900"/>
                  </a:lnTo>
                  <a:lnTo>
                    <a:pt x="1404" y="906"/>
                  </a:lnTo>
                  <a:lnTo>
                    <a:pt x="1410" y="918"/>
                  </a:lnTo>
                  <a:lnTo>
                    <a:pt x="1404" y="918"/>
                  </a:lnTo>
                  <a:lnTo>
                    <a:pt x="1392" y="924"/>
                  </a:lnTo>
                  <a:lnTo>
                    <a:pt x="1386" y="924"/>
                  </a:lnTo>
                  <a:lnTo>
                    <a:pt x="1380" y="924"/>
                  </a:lnTo>
                  <a:lnTo>
                    <a:pt x="1380" y="930"/>
                  </a:lnTo>
                  <a:lnTo>
                    <a:pt x="1374" y="930"/>
                  </a:lnTo>
                  <a:lnTo>
                    <a:pt x="1374" y="924"/>
                  </a:lnTo>
                  <a:lnTo>
                    <a:pt x="1374" y="918"/>
                  </a:lnTo>
                  <a:lnTo>
                    <a:pt x="1368" y="912"/>
                  </a:lnTo>
                  <a:lnTo>
                    <a:pt x="1368" y="906"/>
                  </a:lnTo>
                  <a:lnTo>
                    <a:pt x="1368" y="900"/>
                  </a:lnTo>
                  <a:lnTo>
                    <a:pt x="1368" y="894"/>
                  </a:lnTo>
                  <a:lnTo>
                    <a:pt x="1362" y="894"/>
                  </a:lnTo>
                  <a:lnTo>
                    <a:pt x="1326" y="894"/>
                  </a:lnTo>
                  <a:lnTo>
                    <a:pt x="1302" y="906"/>
                  </a:lnTo>
                  <a:lnTo>
                    <a:pt x="1284" y="918"/>
                  </a:lnTo>
                  <a:lnTo>
                    <a:pt x="1284" y="924"/>
                  </a:lnTo>
                  <a:lnTo>
                    <a:pt x="1278" y="930"/>
                  </a:lnTo>
                  <a:lnTo>
                    <a:pt x="1266" y="930"/>
                  </a:lnTo>
                  <a:lnTo>
                    <a:pt x="1236" y="954"/>
                  </a:lnTo>
                  <a:lnTo>
                    <a:pt x="1212" y="972"/>
                  </a:lnTo>
                  <a:lnTo>
                    <a:pt x="1218" y="996"/>
                  </a:lnTo>
                  <a:lnTo>
                    <a:pt x="1224" y="1008"/>
                  </a:lnTo>
                  <a:lnTo>
                    <a:pt x="1236" y="1014"/>
                  </a:lnTo>
                  <a:lnTo>
                    <a:pt x="1242" y="1026"/>
                  </a:lnTo>
                  <a:lnTo>
                    <a:pt x="1248" y="1038"/>
                  </a:lnTo>
                  <a:lnTo>
                    <a:pt x="1260" y="1050"/>
                  </a:lnTo>
                  <a:lnTo>
                    <a:pt x="1260" y="1056"/>
                  </a:lnTo>
                  <a:lnTo>
                    <a:pt x="1260" y="1074"/>
                  </a:lnTo>
                  <a:lnTo>
                    <a:pt x="1254" y="1074"/>
                  </a:lnTo>
                  <a:lnTo>
                    <a:pt x="1236" y="1056"/>
                  </a:lnTo>
                  <a:lnTo>
                    <a:pt x="1224" y="1050"/>
                  </a:lnTo>
                  <a:lnTo>
                    <a:pt x="1212" y="1050"/>
                  </a:lnTo>
                  <a:lnTo>
                    <a:pt x="1206" y="1050"/>
                  </a:lnTo>
                  <a:lnTo>
                    <a:pt x="1200" y="1056"/>
                  </a:lnTo>
                  <a:lnTo>
                    <a:pt x="1194" y="1062"/>
                  </a:lnTo>
                  <a:lnTo>
                    <a:pt x="1188" y="1068"/>
                  </a:lnTo>
                  <a:lnTo>
                    <a:pt x="1188" y="1074"/>
                  </a:lnTo>
                  <a:lnTo>
                    <a:pt x="1176" y="1086"/>
                  </a:lnTo>
                  <a:lnTo>
                    <a:pt x="1170" y="1086"/>
                  </a:lnTo>
                  <a:lnTo>
                    <a:pt x="1170" y="1092"/>
                  </a:lnTo>
                  <a:lnTo>
                    <a:pt x="1164" y="1098"/>
                  </a:lnTo>
                  <a:lnTo>
                    <a:pt x="1158" y="1110"/>
                  </a:lnTo>
                  <a:lnTo>
                    <a:pt x="1152" y="1116"/>
                  </a:lnTo>
                  <a:lnTo>
                    <a:pt x="1152" y="1122"/>
                  </a:lnTo>
                  <a:lnTo>
                    <a:pt x="1146" y="1128"/>
                  </a:lnTo>
                  <a:lnTo>
                    <a:pt x="1152" y="1140"/>
                  </a:lnTo>
                  <a:lnTo>
                    <a:pt x="1158" y="1140"/>
                  </a:lnTo>
                  <a:lnTo>
                    <a:pt x="1164" y="1146"/>
                  </a:lnTo>
                  <a:lnTo>
                    <a:pt x="1164" y="1152"/>
                  </a:lnTo>
                  <a:lnTo>
                    <a:pt x="1170" y="1164"/>
                  </a:lnTo>
                  <a:lnTo>
                    <a:pt x="1164" y="1176"/>
                  </a:lnTo>
                  <a:lnTo>
                    <a:pt x="1170" y="1182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82" y="1218"/>
                  </a:lnTo>
                  <a:lnTo>
                    <a:pt x="1188" y="1218"/>
                  </a:lnTo>
                  <a:lnTo>
                    <a:pt x="1194" y="1218"/>
                  </a:lnTo>
                  <a:lnTo>
                    <a:pt x="1194" y="1224"/>
                  </a:lnTo>
                  <a:lnTo>
                    <a:pt x="1200" y="1230"/>
                  </a:lnTo>
                  <a:lnTo>
                    <a:pt x="1200" y="1248"/>
                  </a:lnTo>
                  <a:lnTo>
                    <a:pt x="1212" y="1266"/>
                  </a:lnTo>
                  <a:lnTo>
                    <a:pt x="1218" y="1278"/>
                  </a:lnTo>
                  <a:lnTo>
                    <a:pt x="1224" y="1284"/>
                  </a:lnTo>
                  <a:lnTo>
                    <a:pt x="1236" y="1296"/>
                  </a:lnTo>
                  <a:lnTo>
                    <a:pt x="1242" y="1302"/>
                  </a:lnTo>
                  <a:lnTo>
                    <a:pt x="1242" y="1308"/>
                  </a:lnTo>
                  <a:lnTo>
                    <a:pt x="1272" y="1308"/>
                  </a:lnTo>
                  <a:lnTo>
                    <a:pt x="1296" y="1314"/>
                  </a:lnTo>
                  <a:lnTo>
                    <a:pt x="1320" y="1320"/>
                  </a:lnTo>
                  <a:lnTo>
                    <a:pt x="1338" y="1320"/>
                  </a:lnTo>
                  <a:lnTo>
                    <a:pt x="1356" y="1332"/>
                  </a:lnTo>
                  <a:lnTo>
                    <a:pt x="1368" y="1344"/>
                  </a:lnTo>
                  <a:lnTo>
                    <a:pt x="1374" y="1362"/>
                  </a:lnTo>
                  <a:lnTo>
                    <a:pt x="1368" y="1362"/>
                  </a:lnTo>
                  <a:lnTo>
                    <a:pt x="1368" y="1398"/>
                  </a:lnTo>
                  <a:lnTo>
                    <a:pt x="1368" y="1410"/>
                  </a:lnTo>
                  <a:lnTo>
                    <a:pt x="1368" y="1428"/>
                  </a:lnTo>
                  <a:lnTo>
                    <a:pt x="1368" y="1434"/>
                  </a:lnTo>
                  <a:lnTo>
                    <a:pt x="1368" y="1440"/>
                  </a:lnTo>
                  <a:lnTo>
                    <a:pt x="1374" y="1446"/>
                  </a:lnTo>
                  <a:lnTo>
                    <a:pt x="1374" y="1452"/>
                  </a:lnTo>
                  <a:lnTo>
                    <a:pt x="1380" y="1458"/>
                  </a:lnTo>
                  <a:lnTo>
                    <a:pt x="1386" y="1464"/>
                  </a:lnTo>
                  <a:lnTo>
                    <a:pt x="1386" y="1470"/>
                  </a:lnTo>
                  <a:lnTo>
                    <a:pt x="1380" y="1476"/>
                  </a:lnTo>
                  <a:lnTo>
                    <a:pt x="1374" y="1482"/>
                  </a:lnTo>
                  <a:lnTo>
                    <a:pt x="1362" y="1500"/>
                  </a:lnTo>
                  <a:lnTo>
                    <a:pt x="1362" y="1506"/>
                  </a:lnTo>
                  <a:lnTo>
                    <a:pt x="1362" y="1512"/>
                  </a:lnTo>
                  <a:lnTo>
                    <a:pt x="1362" y="1518"/>
                  </a:lnTo>
                  <a:lnTo>
                    <a:pt x="1362" y="1524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38" y="1548"/>
                  </a:lnTo>
                  <a:lnTo>
                    <a:pt x="1296" y="1548"/>
                  </a:lnTo>
                  <a:lnTo>
                    <a:pt x="1290" y="1554"/>
                  </a:lnTo>
                  <a:lnTo>
                    <a:pt x="1284" y="1560"/>
                  </a:lnTo>
                  <a:lnTo>
                    <a:pt x="1284" y="1566"/>
                  </a:lnTo>
                  <a:lnTo>
                    <a:pt x="1290" y="1578"/>
                  </a:lnTo>
                  <a:lnTo>
                    <a:pt x="1296" y="1590"/>
                  </a:lnTo>
                  <a:lnTo>
                    <a:pt x="1302" y="1590"/>
                  </a:lnTo>
                  <a:lnTo>
                    <a:pt x="1308" y="1596"/>
                  </a:lnTo>
                  <a:lnTo>
                    <a:pt x="1320" y="1602"/>
                  </a:lnTo>
                  <a:lnTo>
                    <a:pt x="1326" y="1602"/>
                  </a:lnTo>
                  <a:lnTo>
                    <a:pt x="1326" y="1608"/>
                  </a:lnTo>
                  <a:lnTo>
                    <a:pt x="1332" y="1614"/>
                  </a:lnTo>
                  <a:lnTo>
                    <a:pt x="1344" y="1620"/>
                  </a:lnTo>
                  <a:lnTo>
                    <a:pt x="1356" y="1626"/>
                  </a:lnTo>
                  <a:lnTo>
                    <a:pt x="1356" y="1632"/>
                  </a:lnTo>
                  <a:lnTo>
                    <a:pt x="1356" y="1638"/>
                  </a:lnTo>
                  <a:lnTo>
                    <a:pt x="1362" y="1644"/>
                  </a:lnTo>
                  <a:lnTo>
                    <a:pt x="1368" y="1644"/>
                  </a:lnTo>
                  <a:lnTo>
                    <a:pt x="1380" y="1650"/>
                  </a:lnTo>
                  <a:lnTo>
                    <a:pt x="1386" y="1650"/>
                  </a:lnTo>
                  <a:lnTo>
                    <a:pt x="1386" y="1656"/>
                  </a:lnTo>
                  <a:lnTo>
                    <a:pt x="1392" y="1656"/>
                  </a:lnTo>
                  <a:lnTo>
                    <a:pt x="1398" y="1662"/>
                  </a:lnTo>
                  <a:lnTo>
                    <a:pt x="1410" y="1674"/>
                  </a:lnTo>
                  <a:lnTo>
                    <a:pt x="1428" y="1680"/>
                  </a:lnTo>
                  <a:lnTo>
                    <a:pt x="1428" y="1686"/>
                  </a:lnTo>
                  <a:lnTo>
                    <a:pt x="1428" y="1698"/>
                  </a:lnTo>
                  <a:lnTo>
                    <a:pt x="1434" y="1704"/>
                  </a:lnTo>
                  <a:lnTo>
                    <a:pt x="1434" y="1710"/>
                  </a:lnTo>
                  <a:lnTo>
                    <a:pt x="1440" y="1710"/>
                  </a:lnTo>
                  <a:lnTo>
                    <a:pt x="1446" y="1710"/>
                  </a:lnTo>
                  <a:lnTo>
                    <a:pt x="1446" y="1716"/>
                  </a:lnTo>
                  <a:lnTo>
                    <a:pt x="1440" y="1722"/>
                  </a:lnTo>
                  <a:lnTo>
                    <a:pt x="1440" y="1728"/>
                  </a:lnTo>
                  <a:lnTo>
                    <a:pt x="1440" y="1734"/>
                  </a:lnTo>
                  <a:lnTo>
                    <a:pt x="1440" y="1740"/>
                  </a:lnTo>
                  <a:lnTo>
                    <a:pt x="1440" y="1746"/>
                  </a:lnTo>
                  <a:lnTo>
                    <a:pt x="1440" y="1788"/>
                  </a:lnTo>
                  <a:lnTo>
                    <a:pt x="1440" y="1800"/>
                  </a:lnTo>
                  <a:lnTo>
                    <a:pt x="1440" y="1806"/>
                  </a:lnTo>
                  <a:lnTo>
                    <a:pt x="1440" y="1836"/>
                  </a:lnTo>
                  <a:lnTo>
                    <a:pt x="1440" y="1848"/>
                  </a:lnTo>
                  <a:lnTo>
                    <a:pt x="1446" y="1848"/>
                  </a:lnTo>
                  <a:lnTo>
                    <a:pt x="1446" y="1854"/>
                  </a:lnTo>
                  <a:lnTo>
                    <a:pt x="1452" y="1848"/>
                  </a:lnTo>
                  <a:lnTo>
                    <a:pt x="1458" y="1854"/>
                  </a:lnTo>
                  <a:lnTo>
                    <a:pt x="1452" y="1860"/>
                  </a:lnTo>
                  <a:lnTo>
                    <a:pt x="1452" y="1866"/>
                  </a:lnTo>
                  <a:lnTo>
                    <a:pt x="1458" y="1872"/>
                  </a:lnTo>
                  <a:lnTo>
                    <a:pt x="1464" y="1884"/>
                  </a:lnTo>
                  <a:lnTo>
                    <a:pt x="1428" y="1878"/>
                  </a:lnTo>
                  <a:lnTo>
                    <a:pt x="1356" y="1890"/>
                  </a:lnTo>
                  <a:lnTo>
                    <a:pt x="1296" y="1926"/>
                  </a:lnTo>
                  <a:lnTo>
                    <a:pt x="1266" y="1944"/>
                  </a:lnTo>
                  <a:lnTo>
                    <a:pt x="1224" y="1944"/>
                  </a:lnTo>
                  <a:lnTo>
                    <a:pt x="1188" y="1956"/>
                  </a:lnTo>
                  <a:lnTo>
                    <a:pt x="1188" y="1950"/>
                  </a:lnTo>
                  <a:lnTo>
                    <a:pt x="1176" y="1944"/>
                  </a:lnTo>
                  <a:lnTo>
                    <a:pt x="1176" y="1938"/>
                  </a:lnTo>
                  <a:lnTo>
                    <a:pt x="1170" y="1938"/>
                  </a:lnTo>
                  <a:lnTo>
                    <a:pt x="1164" y="1932"/>
                  </a:lnTo>
                  <a:lnTo>
                    <a:pt x="1158" y="1926"/>
                  </a:lnTo>
                  <a:lnTo>
                    <a:pt x="1158" y="1920"/>
                  </a:lnTo>
                  <a:lnTo>
                    <a:pt x="1152" y="1920"/>
                  </a:lnTo>
                  <a:lnTo>
                    <a:pt x="1146" y="1914"/>
                  </a:lnTo>
                  <a:lnTo>
                    <a:pt x="1146" y="1908"/>
                  </a:lnTo>
                  <a:lnTo>
                    <a:pt x="1140" y="1908"/>
                  </a:lnTo>
                  <a:lnTo>
                    <a:pt x="1134" y="1902"/>
                  </a:lnTo>
                  <a:lnTo>
                    <a:pt x="1134" y="1896"/>
                  </a:lnTo>
                  <a:lnTo>
                    <a:pt x="1116" y="1896"/>
                  </a:lnTo>
                  <a:lnTo>
                    <a:pt x="1104" y="1884"/>
                  </a:lnTo>
                  <a:lnTo>
                    <a:pt x="1092" y="1860"/>
                  </a:lnTo>
                  <a:lnTo>
                    <a:pt x="1068" y="1854"/>
                  </a:lnTo>
                  <a:lnTo>
                    <a:pt x="1032" y="1842"/>
                  </a:lnTo>
                  <a:lnTo>
                    <a:pt x="1008" y="1836"/>
                  </a:lnTo>
                  <a:lnTo>
                    <a:pt x="978" y="1824"/>
                  </a:lnTo>
                  <a:lnTo>
                    <a:pt x="942" y="1818"/>
                  </a:lnTo>
                  <a:lnTo>
                    <a:pt x="924" y="1806"/>
                  </a:lnTo>
                  <a:lnTo>
                    <a:pt x="906" y="1788"/>
                  </a:lnTo>
                  <a:lnTo>
                    <a:pt x="894" y="1776"/>
                  </a:lnTo>
                  <a:lnTo>
                    <a:pt x="864" y="1758"/>
                  </a:lnTo>
                  <a:lnTo>
                    <a:pt x="834" y="1752"/>
                  </a:lnTo>
                  <a:lnTo>
                    <a:pt x="798" y="1746"/>
                  </a:lnTo>
                  <a:lnTo>
                    <a:pt x="792" y="1806"/>
                  </a:lnTo>
                  <a:lnTo>
                    <a:pt x="798" y="1812"/>
                  </a:lnTo>
                  <a:lnTo>
                    <a:pt x="810" y="1830"/>
                  </a:lnTo>
                  <a:lnTo>
                    <a:pt x="792" y="1842"/>
                  </a:lnTo>
                  <a:lnTo>
                    <a:pt x="768" y="1842"/>
                  </a:lnTo>
                  <a:lnTo>
                    <a:pt x="708" y="1848"/>
                  </a:lnTo>
                  <a:lnTo>
                    <a:pt x="690" y="1860"/>
                  </a:lnTo>
                  <a:lnTo>
                    <a:pt x="690" y="1866"/>
                  </a:lnTo>
                  <a:lnTo>
                    <a:pt x="678" y="1878"/>
                  </a:lnTo>
                  <a:lnTo>
                    <a:pt x="660" y="1884"/>
                  </a:lnTo>
                  <a:lnTo>
                    <a:pt x="660" y="1902"/>
                  </a:lnTo>
                  <a:lnTo>
                    <a:pt x="642" y="1902"/>
                  </a:lnTo>
                  <a:lnTo>
                    <a:pt x="582" y="1914"/>
                  </a:lnTo>
                  <a:lnTo>
                    <a:pt x="534" y="1908"/>
                  </a:lnTo>
                  <a:lnTo>
                    <a:pt x="510" y="1908"/>
                  </a:lnTo>
                  <a:lnTo>
                    <a:pt x="510" y="1896"/>
                  </a:lnTo>
                  <a:lnTo>
                    <a:pt x="492" y="1896"/>
                  </a:lnTo>
                  <a:lnTo>
                    <a:pt x="486" y="1902"/>
                  </a:lnTo>
                  <a:lnTo>
                    <a:pt x="474" y="1908"/>
                  </a:lnTo>
                  <a:lnTo>
                    <a:pt x="450" y="1908"/>
                  </a:lnTo>
                  <a:lnTo>
                    <a:pt x="432" y="1902"/>
                  </a:lnTo>
                  <a:lnTo>
                    <a:pt x="426" y="1896"/>
                  </a:lnTo>
                  <a:lnTo>
                    <a:pt x="402" y="1884"/>
                  </a:lnTo>
                  <a:lnTo>
                    <a:pt x="390" y="1872"/>
                  </a:lnTo>
                  <a:lnTo>
                    <a:pt x="384" y="1872"/>
                  </a:lnTo>
                  <a:lnTo>
                    <a:pt x="378" y="1872"/>
                  </a:lnTo>
                  <a:lnTo>
                    <a:pt x="378" y="1866"/>
                  </a:lnTo>
                  <a:lnTo>
                    <a:pt x="372" y="1860"/>
                  </a:lnTo>
                  <a:lnTo>
                    <a:pt x="372" y="1854"/>
                  </a:lnTo>
                  <a:lnTo>
                    <a:pt x="366" y="1842"/>
                  </a:lnTo>
                  <a:lnTo>
                    <a:pt x="366" y="1836"/>
                  </a:lnTo>
                  <a:lnTo>
                    <a:pt x="348" y="1830"/>
                  </a:lnTo>
                  <a:lnTo>
                    <a:pt x="348" y="1806"/>
                  </a:lnTo>
                  <a:lnTo>
                    <a:pt x="348" y="1800"/>
                  </a:lnTo>
                  <a:lnTo>
                    <a:pt x="348" y="1782"/>
                  </a:lnTo>
                  <a:lnTo>
                    <a:pt x="336" y="1788"/>
                  </a:lnTo>
                  <a:lnTo>
                    <a:pt x="312" y="1794"/>
                  </a:lnTo>
                  <a:lnTo>
                    <a:pt x="288" y="1788"/>
                  </a:lnTo>
                  <a:lnTo>
                    <a:pt x="264" y="1758"/>
                  </a:lnTo>
                  <a:lnTo>
                    <a:pt x="270" y="1758"/>
                  </a:lnTo>
                  <a:lnTo>
                    <a:pt x="270" y="1752"/>
                  </a:lnTo>
                  <a:lnTo>
                    <a:pt x="276" y="1752"/>
                  </a:lnTo>
                  <a:lnTo>
                    <a:pt x="282" y="1746"/>
                  </a:lnTo>
                  <a:lnTo>
                    <a:pt x="300" y="1746"/>
                  </a:lnTo>
                  <a:lnTo>
                    <a:pt x="312" y="1746"/>
                  </a:lnTo>
                  <a:lnTo>
                    <a:pt x="336" y="1710"/>
                  </a:lnTo>
                  <a:lnTo>
                    <a:pt x="342" y="1692"/>
                  </a:lnTo>
                  <a:lnTo>
                    <a:pt x="348" y="1680"/>
                  </a:lnTo>
                  <a:lnTo>
                    <a:pt x="342" y="1650"/>
                  </a:lnTo>
                  <a:lnTo>
                    <a:pt x="354" y="1644"/>
                  </a:lnTo>
                  <a:lnTo>
                    <a:pt x="354" y="1638"/>
                  </a:lnTo>
                  <a:lnTo>
                    <a:pt x="360" y="1632"/>
                  </a:lnTo>
                  <a:lnTo>
                    <a:pt x="354" y="1626"/>
                  </a:lnTo>
                  <a:lnTo>
                    <a:pt x="348" y="1626"/>
                  </a:lnTo>
                  <a:lnTo>
                    <a:pt x="348" y="1620"/>
                  </a:lnTo>
                  <a:lnTo>
                    <a:pt x="342" y="1620"/>
                  </a:lnTo>
                  <a:lnTo>
                    <a:pt x="348" y="1614"/>
                  </a:lnTo>
                  <a:lnTo>
                    <a:pt x="324" y="1566"/>
                  </a:lnTo>
                  <a:lnTo>
                    <a:pt x="318" y="1566"/>
                  </a:lnTo>
                  <a:lnTo>
                    <a:pt x="306" y="1572"/>
                  </a:lnTo>
                  <a:lnTo>
                    <a:pt x="300" y="1572"/>
                  </a:lnTo>
                  <a:lnTo>
                    <a:pt x="294" y="1578"/>
                  </a:lnTo>
                  <a:lnTo>
                    <a:pt x="288" y="1584"/>
                  </a:lnTo>
                  <a:lnTo>
                    <a:pt x="282" y="1584"/>
                  </a:lnTo>
                  <a:lnTo>
                    <a:pt x="282" y="1578"/>
                  </a:lnTo>
                  <a:lnTo>
                    <a:pt x="276" y="1578"/>
                  </a:lnTo>
                  <a:lnTo>
                    <a:pt x="270" y="1578"/>
                  </a:lnTo>
                  <a:lnTo>
                    <a:pt x="264" y="1578"/>
                  </a:lnTo>
                  <a:lnTo>
                    <a:pt x="258" y="1578"/>
                  </a:lnTo>
                  <a:lnTo>
                    <a:pt x="252" y="1578"/>
                  </a:lnTo>
                  <a:lnTo>
                    <a:pt x="252" y="1584"/>
                  </a:lnTo>
                  <a:lnTo>
                    <a:pt x="246" y="1584"/>
                  </a:lnTo>
                  <a:lnTo>
                    <a:pt x="210" y="1584"/>
                  </a:lnTo>
                  <a:lnTo>
                    <a:pt x="204" y="1584"/>
                  </a:lnTo>
                  <a:lnTo>
                    <a:pt x="192" y="1584"/>
                  </a:lnTo>
                  <a:lnTo>
                    <a:pt x="168" y="1596"/>
                  </a:lnTo>
                  <a:lnTo>
                    <a:pt x="156" y="1572"/>
                  </a:lnTo>
                  <a:lnTo>
                    <a:pt x="156" y="1566"/>
                  </a:lnTo>
                  <a:lnTo>
                    <a:pt x="156" y="1560"/>
                  </a:lnTo>
                  <a:lnTo>
                    <a:pt x="162" y="1548"/>
                  </a:lnTo>
                  <a:lnTo>
                    <a:pt x="162" y="1542"/>
                  </a:lnTo>
                  <a:lnTo>
                    <a:pt x="162" y="1536"/>
                  </a:lnTo>
                  <a:lnTo>
                    <a:pt x="168" y="1530"/>
                  </a:lnTo>
                  <a:lnTo>
                    <a:pt x="168" y="1524"/>
                  </a:lnTo>
                  <a:lnTo>
                    <a:pt x="168" y="1518"/>
                  </a:lnTo>
                  <a:lnTo>
                    <a:pt x="174" y="1518"/>
                  </a:lnTo>
                  <a:lnTo>
                    <a:pt x="174" y="1506"/>
                  </a:lnTo>
                  <a:lnTo>
                    <a:pt x="156" y="1470"/>
                  </a:lnTo>
                  <a:lnTo>
                    <a:pt x="138" y="1464"/>
                  </a:lnTo>
                  <a:lnTo>
                    <a:pt x="126" y="1446"/>
                  </a:lnTo>
                  <a:lnTo>
                    <a:pt x="126" y="1440"/>
                  </a:lnTo>
                  <a:lnTo>
                    <a:pt x="126" y="1434"/>
                  </a:lnTo>
                  <a:lnTo>
                    <a:pt x="120" y="1428"/>
                  </a:lnTo>
                  <a:lnTo>
                    <a:pt x="126" y="1398"/>
                  </a:lnTo>
                  <a:lnTo>
                    <a:pt x="120" y="1374"/>
                  </a:lnTo>
                  <a:lnTo>
                    <a:pt x="60" y="1374"/>
                  </a:lnTo>
                  <a:lnTo>
                    <a:pt x="60" y="1368"/>
                  </a:lnTo>
                  <a:lnTo>
                    <a:pt x="54" y="1362"/>
                  </a:lnTo>
                  <a:lnTo>
                    <a:pt x="48" y="1356"/>
                  </a:lnTo>
                  <a:lnTo>
                    <a:pt x="42" y="1356"/>
                  </a:lnTo>
                  <a:lnTo>
                    <a:pt x="42" y="1350"/>
                  </a:lnTo>
                  <a:lnTo>
                    <a:pt x="36" y="1344"/>
                  </a:lnTo>
                  <a:lnTo>
                    <a:pt x="36" y="1338"/>
                  </a:lnTo>
                  <a:lnTo>
                    <a:pt x="30" y="1332"/>
                  </a:lnTo>
                  <a:lnTo>
                    <a:pt x="30" y="1326"/>
                  </a:lnTo>
                  <a:lnTo>
                    <a:pt x="18" y="1326"/>
                  </a:lnTo>
                  <a:lnTo>
                    <a:pt x="18" y="1320"/>
                  </a:lnTo>
                  <a:lnTo>
                    <a:pt x="18" y="1326"/>
                  </a:lnTo>
                  <a:lnTo>
                    <a:pt x="6" y="1320"/>
                  </a:lnTo>
                  <a:lnTo>
                    <a:pt x="0" y="1314"/>
                  </a:lnTo>
                  <a:lnTo>
                    <a:pt x="12" y="1266"/>
                  </a:lnTo>
                  <a:lnTo>
                    <a:pt x="6" y="1242"/>
                  </a:lnTo>
                  <a:lnTo>
                    <a:pt x="12" y="1236"/>
                  </a:lnTo>
                  <a:lnTo>
                    <a:pt x="12" y="1230"/>
                  </a:lnTo>
                  <a:lnTo>
                    <a:pt x="18" y="1230"/>
                  </a:lnTo>
                  <a:lnTo>
                    <a:pt x="18" y="1224"/>
                  </a:lnTo>
                  <a:lnTo>
                    <a:pt x="24" y="1218"/>
                  </a:lnTo>
                  <a:lnTo>
                    <a:pt x="24" y="1212"/>
                  </a:lnTo>
                  <a:lnTo>
                    <a:pt x="30" y="1212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48" y="1188"/>
                  </a:lnTo>
                  <a:lnTo>
                    <a:pt x="48" y="1182"/>
                  </a:lnTo>
                  <a:lnTo>
                    <a:pt x="48" y="1176"/>
                  </a:lnTo>
                  <a:lnTo>
                    <a:pt x="48" y="1170"/>
                  </a:lnTo>
                  <a:lnTo>
                    <a:pt x="54" y="1170"/>
                  </a:lnTo>
                  <a:lnTo>
                    <a:pt x="60" y="1164"/>
                  </a:lnTo>
                  <a:lnTo>
                    <a:pt x="60" y="1158"/>
                  </a:lnTo>
                  <a:lnTo>
                    <a:pt x="66" y="1152"/>
                  </a:lnTo>
                  <a:lnTo>
                    <a:pt x="60" y="1140"/>
                  </a:lnTo>
                  <a:lnTo>
                    <a:pt x="60" y="1134"/>
                  </a:lnTo>
                  <a:lnTo>
                    <a:pt x="54" y="1134"/>
                  </a:lnTo>
                  <a:lnTo>
                    <a:pt x="54" y="1128"/>
                  </a:lnTo>
                  <a:lnTo>
                    <a:pt x="48" y="1122"/>
                  </a:lnTo>
                  <a:lnTo>
                    <a:pt x="48" y="1116"/>
                  </a:lnTo>
                  <a:lnTo>
                    <a:pt x="48" y="1110"/>
                  </a:lnTo>
                  <a:lnTo>
                    <a:pt x="42" y="1104"/>
                  </a:lnTo>
                  <a:lnTo>
                    <a:pt x="42" y="1098"/>
                  </a:lnTo>
                  <a:lnTo>
                    <a:pt x="36" y="1092"/>
                  </a:lnTo>
                  <a:lnTo>
                    <a:pt x="30" y="1092"/>
                  </a:lnTo>
                  <a:lnTo>
                    <a:pt x="24" y="1092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18" y="1080"/>
                  </a:lnTo>
                  <a:lnTo>
                    <a:pt x="18" y="1074"/>
                  </a:lnTo>
                  <a:lnTo>
                    <a:pt x="12" y="1068"/>
                  </a:lnTo>
                  <a:lnTo>
                    <a:pt x="6" y="1068"/>
                  </a:lnTo>
                  <a:lnTo>
                    <a:pt x="12" y="1056"/>
                  </a:lnTo>
                  <a:lnTo>
                    <a:pt x="6" y="1056"/>
                  </a:lnTo>
                  <a:lnTo>
                    <a:pt x="6" y="1050"/>
                  </a:lnTo>
                  <a:lnTo>
                    <a:pt x="6" y="1044"/>
                  </a:lnTo>
                  <a:lnTo>
                    <a:pt x="6" y="1026"/>
                  </a:lnTo>
                  <a:lnTo>
                    <a:pt x="12" y="1020"/>
                  </a:lnTo>
                  <a:lnTo>
                    <a:pt x="12" y="1014"/>
                  </a:lnTo>
                  <a:lnTo>
                    <a:pt x="18" y="1014"/>
                  </a:lnTo>
                  <a:lnTo>
                    <a:pt x="18" y="1008"/>
                  </a:lnTo>
                  <a:lnTo>
                    <a:pt x="18" y="1002"/>
                  </a:lnTo>
                  <a:lnTo>
                    <a:pt x="18" y="990"/>
                  </a:lnTo>
                  <a:lnTo>
                    <a:pt x="12" y="972"/>
                  </a:lnTo>
                  <a:lnTo>
                    <a:pt x="18" y="954"/>
                  </a:lnTo>
                  <a:lnTo>
                    <a:pt x="18" y="948"/>
                  </a:lnTo>
                  <a:lnTo>
                    <a:pt x="24" y="948"/>
                  </a:lnTo>
                  <a:lnTo>
                    <a:pt x="24" y="930"/>
                  </a:lnTo>
                  <a:lnTo>
                    <a:pt x="30" y="930"/>
                  </a:lnTo>
                  <a:lnTo>
                    <a:pt x="36" y="918"/>
                  </a:lnTo>
                  <a:lnTo>
                    <a:pt x="42" y="918"/>
                  </a:lnTo>
                  <a:lnTo>
                    <a:pt x="48" y="918"/>
                  </a:lnTo>
                  <a:lnTo>
                    <a:pt x="78" y="912"/>
                  </a:lnTo>
                  <a:lnTo>
                    <a:pt x="90" y="894"/>
                  </a:lnTo>
                  <a:lnTo>
                    <a:pt x="96" y="894"/>
                  </a:lnTo>
                  <a:lnTo>
                    <a:pt x="102" y="888"/>
                  </a:lnTo>
                  <a:lnTo>
                    <a:pt x="102" y="882"/>
                  </a:lnTo>
                  <a:lnTo>
                    <a:pt x="114" y="870"/>
                  </a:lnTo>
                  <a:lnTo>
                    <a:pt x="120" y="864"/>
                  </a:lnTo>
                  <a:lnTo>
                    <a:pt x="120" y="852"/>
                  </a:lnTo>
                  <a:lnTo>
                    <a:pt x="120" y="846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32" y="840"/>
                  </a:lnTo>
                  <a:lnTo>
                    <a:pt x="138" y="840"/>
                  </a:lnTo>
                  <a:lnTo>
                    <a:pt x="138" y="834"/>
                  </a:lnTo>
                  <a:lnTo>
                    <a:pt x="144" y="834"/>
                  </a:lnTo>
                  <a:lnTo>
                    <a:pt x="144" y="828"/>
                  </a:lnTo>
                  <a:lnTo>
                    <a:pt x="150" y="828"/>
                  </a:lnTo>
                  <a:lnTo>
                    <a:pt x="156" y="822"/>
                  </a:lnTo>
                  <a:lnTo>
                    <a:pt x="162" y="816"/>
                  </a:lnTo>
                  <a:lnTo>
                    <a:pt x="162" y="822"/>
                  </a:lnTo>
                  <a:lnTo>
                    <a:pt x="162" y="816"/>
                  </a:lnTo>
                  <a:lnTo>
                    <a:pt x="162" y="810"/>
                  </a:lnTo>
                  <a:lnTo>
                    <a:pt x="168" y="810"/>
                  </a:lnTo>
                  <a:lnTo>
                    <a:pt x="174" y="804"/>
                  </a:lnTo>
                  <a:lnTo>
                    <a:pt x="180" y="798"/>
                  </a:lnTo>
                  <a:lnTo>
                    <a:pt x="180" y="786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8" y="780"/>
                  </a:lnTo>
                  <a:lnTo>
                    <a:pt x="204" y="774"/>
                  </a:lnTo>
                  <a:lnTo>
                    <a:pt x="210" y="774"/>
                  </a:lnTo>
                  <a:lnTo>
                    <a:pt x="216" y="768"/>
                  </a:lnTo>
                  <a:lnTo>
                    <a:pt x="222" y="762"/>
                  </a:lnTo>
                  <a:lnTo>
                    <a:pt x="228" y="762"/>
                  </a:lnTo>
                  <a:lnTo>
                    <a:pt x="228" y="768"/>
                  </a:lnTo>
                  <a:lnTo>
                    <a:pt x="234" y="768"/>
                  </a:lnTo>
                  <a:lnTo>
                    <a:pt x="240" y="762"/>
                  </a:lnTo>
                  <a:lnTo>
                    <a:pt x="252" y="762"/>
                  </a:lnTo>
                  <a:lnTo>
                    <a:pt x="264" y="768"/>
                  </a:lnTo>
                  <a:lnTo>
                    <a:pt x="294" y="756"/>
                  </a:lnTo>
                  <a:lnTo>
                    <a:pt x="294" y="750"/>
                  </a:lnTo>
                  <a:lnTo>
                    <a:pt x="300" y="750"/>
                  </a:lnTo>
                  <a:lnTo>
                    <a:pt x="306" y="744"/>
                  </a:lnTo>
                  <a:lnTo>
                    <a:pt x="342" y="750"/>
                  </a:lnTo>
                  <a:lnTo>
                    <a:pt x="348" y="750"/>
                  </a:lnTo>
                  <a:lnTo>
                    <a:pt x="348" y="744"/>
                  </a:lnTo>
                  <a:lnTo>
                    <a:pt x="354" y="744"/>
                  </a:lnTo>
                  <a:lnTo>
                    <a:pt x="360" y="744"/>
                  </a:lnTo>
                  <a:lnTo>
                    <a:pt x="360" y="750"/>
                  </a:lnTo>
                  <a:lnTo>
                    <a:pt x="366" y="750"/>
                  </a:lnTo>
                  <a:lnTo>
                    <a:pt x="366" y="744"/>
                  </a:lnTo>
                  <a:lnTo>
                    <a:pt x="366" y="738"/>
                  </a:lnTo>
                  <a:lnTo>
                    <a:pt x="372" y="744"/>
                  </a:lnTo>
                  <a:lnTo>
                    <a:pt x="378" y="744"/>
                  </a:lnTo>
                  <a:lnTo>
                    <a:pt x="384" y="750"/>
                  </a:lnTo>
                  <a:lnTo>
                    <a:pt x="444" y="774"/>
                  </a:lnTo>
                  <a:lnTo>
                    <a:pt x="450" y="774"/>
                  </a:lnTo>
                  <a:lnTo>
                    <a:pt x="456" y="768"/>
                  </a:lnTo>
                  <a:lnTo>
                    <a:pt x="462" y="768"/>
                  </a:lnTo>
                  <a:lnTo>
                    <a:pt x="462" y="762"/>
                  </a:lnTo>
                  <a:lnTo>
                    <a:pt x="468" y="762"/>
                  </a:lnTo>
                  <a:lnTo>
                    <a:pt x="474" y="756"/>
                  </a:lnTo>
                  <a:lnTo>
                    <a:pt x="480" y="750"/>
                  </a:lnTo>
                  <a:lnTo>
                    <a:pt x="516" y="756"/>
                  </a:lnTo>
                  <a:lnTo>
                    <a:pt x="522" y="756"/>
                  </a:lnTo>
                  <a:lnTo>
                    <a:pt x="522" y="762"/>
                  </a:lnTo>
                  <a:lnTo>
                    <a:pt x="522" y="768"/>
                  </a:lnTo>
                  <a:lnTo>
                    <a:pt x="522" y="774"/>
                  </a:lnTo>
                  <a:lnTo>
                    <a:pt x="528" y="780"/>
                  </a:lnTo>
                  <a:lnTo>
                    <a:pt x="540" y="780"/>
                  </a:lnTo>
                  <a:lnTo>
                    <a:pt x="540" y="804"/>
                  </a:lnTo>
                  <a:lnTo>
                    <a:pt x="540" y="810"/>
                  </a:lnTo>
                  <a:lnTo>
                    <a:pt x="546" y="810"/>
                  </a:lnTo>
                  <a:lnTo>
                    <a:pt x="552" y="810"/>
                  </a:lnTo>
                  <a:lnTo>
                    <a:pt x="558" y="810"/>
                  </a:lnTo>
                  <a:lnTo>
                    <a:pt x="564" y="810"/>
                  </a:lnTo>
                  <a:lnTo>
                    <a:pt x="570" y="810"/>
                  </a:lnTo>
                  <a:lnTo>
                    <a:pt x="576" y="810"/>
                  </a:lnTo>
                  <a:lnTo>
                    <a:pt x="576" y="816"/>
                  </a:lnTo>
                  <a:lnTo>
                    <a:pt x="588" y="816"/>
                  </a:lnTo>
                  <a:lnTo>
                    <a:pt x="594" y="816"/>
                  </a:lnTo>
                  <a:lnTo>
                    <a:pt x="600" y="822"/>
                  </a:lnTo>
                  <a:lnTo>
                    <a:pt x="606" y="816"/>
                  </a:lnTo>
                  <a:lnTo>
                    <a:pt x="612" y="816"/>
                  </a:lnTo>
                  <a:lnTo>
                    <a:pt x="612" y="810"/>
                  </a:lnTo>
                  <a:lnTo>
                    <a:pt x="624" y="810"/>
                  </a:lnTo>
                  <a:lnTo>
                    <a:pt x="624" y="804"/>
                  </a:lnTo>
                  <a:lnTo>
                    <a:pt x="630" y="798"/>
                  </a:lnTo>
                  <a:lnTo>
                    <a:pt x="636" y="798"/>
                  </a:lnTo>
                  <a:lnTo>
                    <a:pt x="636" y="804"/>
                  </a:lnTo>
                  <a:lnTo>
                    <a:pt x="642" y="804"/>
                  </a:lnTo>
                  <a:lnTo>
                    <a:pt x="648" y="804"/>
                  </a:lnTo>
                  <a:lnTo>
                    <a:pt x="654" y="804"/>
                  </a:lnTo>
                  <a:lnTo>
                    <a:pt x="660" y="804"/>
                  </a:lnTo>
                  <a:lnTo>
                    <a:pt x="678" y="798"/>
                  </a:lnTo>
                  <a:lnTo>
                    <a:pt x="714" y="786"/>
                  </a:lnTo>
                  <a:lnTo>
                    <a:pt x="714" y="792"/>
                  </a:lnTo>
                  <a:lnTo>
                    <a:pt x="714" y="798"/>
                  </a:lnTo>
                  <a:lnTo>
                    <a:pt x="714" y="804"/>
                  </a:lnTo>
                  <a:lnTo>
                    <a:pt x="720" y="804"/>
                  </a:lnTo>
                  <a:lnTo>
                    <a:pt x="720" y="810"/>
                  </a:lnTo>
                  <a:lnTo>
                    <a:pt x="720" y="816"/>
                  </a:lnTo>
                  <a:lnTo>
                    <a:pt x="726" y="822"/>
                  </a:lnTo>
                  <a:lnTo>
                    <a:pt x="732" y="828"/>
                  </a:lnTo>
                  <a:lnTo>
                    <a:pt x="732" y="834"/>
                  </a:lnTo>
                  <a:lnTo>
                    <a:pt x="732" y="846"/>
                  </a:lnTo>
                  <a:lnTo>
                    <a:pt x="732" y="858"/>
                  </a:lnTo>
                  <a:lnTo>
                    <a:pt x="738" y="858"/>
                  </a:lnTo>
                  <a:lnTo>
                    <a:pt x="732" y="864"/>
                  </a:lnTo>
                  <a:lnTo>
                    <a:pt x="732" y="870"/>
                  </a:lnTo>
                  <a:lnTo>
                    <a:pt x="726" y="870"/>
                  </a:lnTo>
                  <a:lnTo>
                    <a:pt x="726" y="876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0" y="882"/>
                  </a:lnTo>
                  <a:lnTo>
                    <a:pt x="690" y="912"/>
                  </a:lnTo>
                  <a:lnTo>
                    <a:pt x="696" y="936"/>
                  </a:lnTo>
                  <a:lnTo>
                    <a:pt x="702" y="936"/>
                  </a:lnTo>
                  <a:lnTo>
                    <a:pt x="702" y="930"/>
                  </a:lnTo>
                  <a:lnTo>
                    <a:pt x="708" y="930"/>
                  </a:lnTo>
                  <a:lnTo>
                    <a:pt x="708" y="924"/>
                  </a:lnTo>
                  <a:lnTo>
                    <a:pt x="708" y="918"/>
                  </a:lnTo>
                  <a:lnTo>
                    <a:pt x="714" y="918"/>
                  </a:lnTo>
                  <a:lnTo>
                    <a:pt x="720" y="954"/>
                  </a:lnTo>
                  <a:lnTo>
                    <a:pt x="726" y="966"/>
                  </a:lnTo>
                  <a:lnTo>
                    <a:pt x="744" y="966"/>
                  </a:lnTo>
                  <a:lnTo>
                    <a:pt x="756" y="972"/>
                  </a:lnTo>
                  <a:lnTo>
                    <a:pt x="792" y="990"/>
                  </a:lnTo>
                  <a:lnTo>
                    <a:pt x="828" y="978"/>
                  </a:lnTo>
                  <a:lnTo>
                    <a:pt x="834" y="978"/>
                  </a:lnTo>
                  <a:lnTo>
                    <a:pt x="840" y="978"/>
                  </a:lnTo>
                  <a:lnTo>
                    <a:pt x="840" y="984"/>
                  </a:lnTo>
                  <a:lnTo>
                    <a:pt x="846" y="984"/>
                  </a:lnTo>
                  <a:lnTo>
                    <a:pt x="858" y="972"/>
                  </a:lnTo>
                  <a:lnTo>
                    <a:pt x="882" y="972"/>
                  </a:lnTo>
                  <a:lnTo>
                    <a:pt x="888" y="984"/>
                  </a:lnTo>
                  <a:lnTo>
                    <a:pt x="900" y="990"/>
                  </a:lnTo>
                  <a:lnTo>
                    <a:pt x="924" y="996"/>
                  </a:lnTo>
                  <a:lnTo>
                    <a:pt x="930" y="990"/>
                  </a:lnTo>
                  <a:lnTo>
                    <a:pt x="930" y="984"/>
                  </a:lnTo>
                  <a:lnTo>
                    <a:pt x="924" y="978"/>
                  </a:lnTo>
                  <a:lnTo>
                    <a:pt x="906" y="972"/>
                  </a:lnTo>
                  <a:lnTo>
                    <a:pt x="900" y="966"/>
                  </a:lnTo>
                  <a:lnTo>
                    <a:pt x="900" y="960"/>
                  </a:lnTo>
                  <a:lnTo>
                    <a:pt x="900" y="954"/>
                  </a:lnTo>
                  <a:lnTo>
                    <a:pt x="900" y="948"/>
                  </a:lnTo>
                  <a:lnTo>
                    <a:pt x="912" y="936"/>
                  </a:lnTo>
                  <a:lnTo>
                    <a:pt x="912" y="924"/>
                  </a:lnTo>
                  <a:lnTo>
                    <a:pt x="918" y="924"/>
                  </a:lnTo>
                  <a:lnTo>
                    <a:pt x="918" y="918"/>
                  </a:lnTo>
                  <a:lnTo>
                    <a:pt x="936" y="906"/>
                  </a:lnTo>
                  <a:lnTo>
                    <a:pt x="942" y="906"/>
                  </a:lnTo>
                  <a:lnTo>
                    <a:pt x="948" y="906"/>
                  </a:lnTo>
                  <a:lnTo>
                    <a:pt x="954" y="906"/>
                  </a:lnTo>
                  <a:lnTo>
                    <a:pt x="960" y="906"/>
                  </a:lnTo>
                  <a:lnTo>
                    <a:pt x="966" y="912"/>
                  </a:lnTo>
                  <a:lnTo>
                    <a:pt x="972" y="906"/>
                  </a:lnTo>
                  <a:lnTo>
                    <a:pt x="978" y="906"/>
                  </a:lnTo>
                  <a:lnTo>
                    <a:pt x="984" y="900"/>
                  </a:lnTo>
                  <a:lnTo>
                    <a:pt x="984" y="894"/>
                  </a:lnTo>
                  <a:lnTo>
                    <a:pt x="990" y="894"/>
                  </a:lnTo>
                  <a:lnTo>
                    <a:pt x="996" y="888"/>
                  </a:lnTo>
                  <a:lnTo>
                    <a:pt x="1002" y="888"/>
                  </a:lnTo>
                  <a:lnTo>
                    <a:pt x="1008" y="882"/>
                  </a:lnTo>
                  <a:lnTo>
                    <a:pt x="1014" y="882"/>
                  </a:lnTo>
                  <a:lnTo>
                    <a:pt x="1020" y="882"/>
                  </a:lnTo>
                  <a:lnTo>
                    <a:pt x="1020" y="888"/>
                  </a:lnTo>
                  <a:lnTo>
                    <a:pt x="1026" y="882"/>
                  </a:lnTo>
                  <a:lnTo>
                    <a:pt x="1026" y="876"/>
                  </a:lnTo>
                  <a:lnTo>
                    <a:pt x="1026" y="870"/>
                  </a:lnTo>
                  <a:lnTo>
                    <a:pt x="1032" y="864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44" y="852"/>
                  </a:lnTo>
                  <a:lnTo>
                    <a:pt x="1038" y="846"/>
                  </a:lnTo>
                  <a:lnTo>
                    <a:pt x="1038" y="840"/>
                  </a:lnTo>
                  <a:lnTo>
                    <a:pt x="1032" y="840"/>
                  </a:lnTo>
                  <a:lnTo>
                    <a:pt x="1026" y="840"/>
                  </a:lnTo>
                  <a:lnTo>
                    <a:pt x="1020" y="840"/>
                  </a:lnTo>
                  <a:lnTo>
                    <a:pt x="1014" y="846"/>
                  </a:lnTo>
                  <a:lnTo>
                    <a:pt x="1008" y="846"/>
                  </a:lnTo>
                  <a:lnTo>
                    <a:pt x="1002" y="840"/>
                  </a:lnTo>
                  <a:lnTo>
                    <a:pt x="996" y="840"/>
                  </a:lnTo>
                  <a:lnTo>
                    <a:pt x="990" y="834"/>
                  </a:lnTo>
                  <a:lnTo>
                    <a:pt x="984" y="834"/>
                  </a:lnTo>
                  <a:lnTo>
                    <a:pt x="978" y="834"/>
                  </a:lnTo>
                  <a:lnTo>
                    <a:pt x="972" y="834"/>
                  </a:lnTo>
                  <a:lnTo>
                    <a:pt x="966" y="834"/>
                  </a:lnTo>
                  <a:lnTo>
                    <a:pt x="966" y="828"/>
                  </a:lnTo>
                  <a:lnTo>
                    <a:pt x="960" y="828"/>
                  </a:lnTo>
                  <a:lnTo>
                    <a:pt x="954" y="828"/>
                  </a:lnTo>
                  <a:lnTo>
                    <a:pt x="942" y="828"/>
                  </a:lnTo>
                  <a:lnTo>
                    <a:pt x="936" y="828"/>
                  </a:lnTo>
                  <a:lnTo>
                    <a:pt x="930" y="828"/>
                  </a:lnTo>
                  <a:lnTo>
                    <a:pt x="918" y="828"/>
                  </a:lnTo>
                  <a:lnTo>
                    <a:pt x="918" y="822"/>
                  </a:lnTo>
                  <a:lnTo>
                    <a:pt x="912" y="828"/>
                  </a:lnTo>
                  <a:lnTo>
                    <a:pt x="912" y="822"/>
                  </a:lnTo>
                  <a:lnTo>
                    <a:pt x="906" y="816"/>
                  </a:lnTo>
                  <a:lnTo>
                    <a:pt x="900" y="816"/>
                  </a:lnTo>
                  <a:lnTo>
                    <a:pt x="894" y="816"/>
                  </a:lnTo>
                  <a:lnTo>
                    <a:pt x="888" y="816"/>
                  </a:lnTo>
                  <a:lnTo>
                    <a:pt x="882" y="816"/>
                  </a:lnTo>
                  <a:lnTo>
                    <a:pt x="882" y="810"/>
                  </a:lnTo>
                  <a:lnTo>
                    <a:pt x="876" y="804"/>
                  </a:lnTo>
                  <a:lnTo>
                    <a:pt x="870" y="804"/>
                  </a:lnTo>
                  <a:lnTo>
                    <a:pt x="864" y="798"/>
                  </a:lnTo>
                  <a:lnTo>
                    <a:pt x="858" y="798"/>
                  </a:lnTo>
                  <a:lnTo>
                    <a:pt x="858" y="804"/>
                  </a:lnTo>
                  <a:lnTo>
                    <a:pt x="852" y="804"/>
                  </a:lnTo>
                  <a:lnTo>
                    <a:pt x="846" y="804"/>
                  </a:lnTo>
                  <a:lnTo>
                    <a:pt x="846" y="798"/>
                  </a:lnTo>
                  <a:lnTo>
                    <a:pt x="840" y="804"/>
                  </a:lnTo>
                  <a:lnTo>
                    <a:pt x="834" y="804"/>
                  </a:lnTo>
                  <a:lnTo>
                    <a:pt x="828" y="804"/>
                  </a:lnTo>
                  <a:lnTo>
                    <a:pt x="828" y="810"/>
                  </a:lnTo>
                  <a:lnTo>
                    <a:pt x="822" y="810"/>
                  </a:lnTo>
                  <a:lnTo>
                    <a:pt x="810" y="804"/>
                  </a:lnTo>
                  <a:lnTo>
                    <a:pt x="810" y="798"/>
                  </a:lnTo>
                  <a:lnTo>
                    <a:pt x="780" y="798"/>
                  </a:lnTo>
                  <a:lnTo>
                    <a:pt x="756" y="774"/>
                  </a:lnTo>
                  <a:lnTo>
                    <a:pt x="750" y="768"/>
                  </a:lnTo>
                  <a:lnTo>
                    <a:pt x="750" y="744"/>
                  </a:lnTo>
                  <a:lnTo>
                    <a:pt x="732" y="738"/>
                  </a:lnTo>
                  <a:lnTo>
                    <a:pt x="732" y="720"/>
                  </a:lnTo>
                  <a:lnTo>
                    <a:pt x="714" y="690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6" y="666"/>
                  </a:lnTo>
                  <a:lnTo>
                    <a:pt x="690" y="666"/>
                  </a:lnTo>
                  <a:lnTo>
                    <a:pt x="678" y="672"/>
                  </a:lnTo>
                  <a:lnTo>
                    <a:pt x="678" y="654"/>
                  </a:lnTo>
                  <a:lnTo>
                    <a:pt x="684" y="630"/>
                  </a:lnTo>
                  <a:lnTo>
                    <a:pt x="690" y="618"/>
                  </a:lnTo>
                  <a:lnTo>
                    <a:pt x="696" y="612"/>
                  </a:lnTo>
                  <a:lnTo>
                    <a:pt x="696" y="588"/>
                  </a:lnTo>
                  <a:lnTo>
                    <a:pt x="690" y="576"/>
                  </a:lnTo>
                  <a:lnTo>
                    <a:pt x="696" y="552"/>
                  </a:lnTo>
                  <a:lnTo>
                    <a:pt x="684" y="522"/>
                  </a:lnTo>
                  <a:lnTo>
                    <a:pt x="672" y="504"/>
                  </a:lnTo>
                  <a:lnTo>
                    <a:pt x="654" y="504"/>
                  </a:lnTo>
                  <a:lnTo>
                    <a:pt x="642" y="504"/>
                  </a:lnTo>
                  <a:lnTo>
                    <a:pt x="624" y="510"/>
                  </a:lnTo>
                  <a:lnTo>
                    <a:pt x="612" y="516"/>
                  </a:lnTo>
                  <a:lnTo>
                    <a:pt x="594" y="516"/>
                  </a:lnTo>
                  <a:lnTo>
                    <a:pt x="588" y="516"/>
                  </a:lnTo>
                  <a:lnTo>
                    <a:pt x="588" y="522"/>
                  </a:lnTo>
                  <a:lnTo>
                    <a:pt x="582" y="516"/>
                  </a:lnTo>
                  <a:lnTo>
                    <a:pt x="588" y="510"/>
                  </a:lnTo>
                  <a:lnTo>
                    <a:pt x="582" y="510"/>
                  </a:lnTo>
                  <a:lnTo>
                    <a:pt x="582" y="504"/>
                  </a:lnTo>
                  <a:lnTo>
                    <a:pt x="576" y="498"/>
                  </a:lnTo>
                  <a:lnTo>
                    <a:pt x="570" y="498"/>
                  </a:lnTo>
                  <a:lnTo>
                    <a:pt x="570" y="492"/>
                  </a:lnTo>
                  <a:lnTo>
                    <a:pt x="564" y="492"/>
                  </a:lnTo>
                  <a:lnTo>
                    <a:pt x="570" y="486"/>
                  </a:lnTo>
                  <a:lnTo>
                    <a:pt x="564" y="486"/>
                  </a:lnTo>
                  <a:lnTo>
                    <a:pt x="564" y="480"/>
                  </a:lnTo>
                  <a:lnTo>
                    <a:pt x="564" y="474"/>
                  </a:lnTo>
                  <a:lnTo>
                    <a:pt x="558" y="468"/>
                  </a:lnTo>
                  <a:lnTo>
                    <a:pt x="564" y="468"/>
                  </a:lnTo>
                  <a:lnTo>
                    <a:pt x="564" y="462"/>
                  </a:lnTo>
                  <a:lnTo>
                    <a:pt x="570" y="462"/>
                  </a:lnTo>
                  <a:lnTo>
                    <a:pt x="570" y="456"/>
                  </a:lnTo>
                  <a:lnTo>
                    <a:pt x="570" y="450"/>
                  </a:lnTo>
                  <a:lnTo>
                    <a:pt x="576" y="450"/>
                  </a:lnTo>
                  <a:lnTo>
                    <a:pt x="576" y="444"/>
                  </a:lnTo>
                  <a:lnTo>
                    <a:pt x="582" y="438"/>
                  </a:lnTo>
                  <a:lnTo>
                    <a:pt x="588" y="438"/>
                  </a:lnTo>
                  <a:lnTo>
                    <a:pt x="588" y="444"/>
                  </a:lnTo>
                  <a:lnTo>
                    <a:pt x="594" y="438"/>
                  </a:lnTo>
                  <a:lnTo>
                    <a:pt x="594" y="432"/>
                  </a:lnTo>
                  <a:lnTo>
                    <a:pt x="600" y="432"/>
                  </a:lnTo>
                  <a:lnTo>
                    <a:pt x="600" y="426"/>
                  </a:lnTo>
                  <a:lnTo>
                    <a:pt x="600" y="420"/>
                  </a:lnTo>
                  <a:lnTo>
                    <a:pt x="606" y="420"/>
                  </a:lnTo>
                  <a:lnTo>
                    <a:pt x="600" y="420"/>
                  </a:lnTo>
                  <a:lnTo>
                    <a:pt x="600" y="414"/>
                  </a:lnTo>
                  <a:lnTo>
                    <a:pt x="606" y="408"/>
                  </a:lnTo>
                  <a:lnTo>
                    <a:pt x="612" y="408"/>
                  </a:lnTo>
                  <a:lnTo>
                    <a:pt x="612" y="414"/>
                  </a:lnTo>
                  <a:lnTo>
                    <a:pt x="618" y="414"/>
                  </a:lnTo>
                  <a:lnTo>
                    <a:pt x="624" y="414"/>
                  </a:lnTo>
                  <a:lnTo>
                    <a:pt x="630" y="414"/>
                  </a:lnTo>
                  <a:lnTo>
                    <a:pt x="636" y="414"/>
                  </a:lnTo>
                  <a:lnTo>
                    <a:pt x="642" y="408"/>
                  </a:lnTo>
                  <a:lnTo>
                    <a:pt x="648" y="408"/>
                  </a:lnTo>
                  <a:lnTo>
                    <a:pt x="660" y="408"/>
                  </a:lnTo>
                  <a:lnTo>
                    <a:pt x="666" y="402"/>
                  </a:lnTo>
                  <a:lnTo>
                    <a:pt x="672" y="402"/>
                  </a:lnTo>
                  <a:lnTo>
                    <a:pt x="684" y="396"/>
                  </a:lnTo>
                  <a:lnTo>
                    <a:pt x="690" y="396"/>
                  </a:lnTo>
                  <a:lnTo>
                    <a:pt x="696" y="396"/>
                  </a:lnTo>
                  <a:lnTo>
                    <a:pt x="702" y="396"/>
                  </a:lnTo>
                  <a:lnTo>
                    <a:pt x="708" y="396"/>
                  </a:lnTo>
                  <a:lnTo>
                    <a:pt x="714" y="390"/>
                  </a:lnTo>
                  <a:lnTo>
                    <a:pt x="714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32" y="384"/>
                  </a:lnTo>
                  <a:lnTo>
                    <a:pt x="738" y="378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56" y="372"/>
                  </a:lnTo>
                  <a:lnTo>
                    <a:pt x="762" y="366"/>
                  </a:lnTo>
                  <a:lnTo>
                    <a:pt x="768" y="366"/>
                  </a:lnTo>
                  <a:lnTo>
                    <a:pt x="774" y="366"/>
                  </a:lnTo>
                  <a:lnTo>
                    <a:pt x="774" y="360"/>
                  </a:lnTo>
                  <a:lnTo>
                    <a:pt x="780" y="366"/>
                  </a:lnTo>
                  <a:lnTo>
                    <a:pt x="786" y="366"/>
                  </a:lnTo>
                  <a:lnTo>
                    <a:pt x="786" y="360"/>
                  </a:lnTo>
                  <a:lnTo>
                    <a:pt x="792" y="354"/>
                  </a:lnTo>
                  <a:lnTo>
                    <a:pt x="786" y="354"/>
                  </a:lnTo>
                  <a:lnTo>
                    <a:pt x="792" y="348"/>
                  </a:lnTo>
                  <a:lnTo>
                    <a:pt x="798" y="348"/>
                  </a:lnTo>
                  <a:lnTo>
                    <a:pt x="804" y="348"/>
                  </a:lnTo>
                  <a:lnTo>
                    <a:pt x="810" y="342"/>
                  </a:lnTo>
                  <a:lnTo>
                    <a:pt x="816" y="342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28" y="336"/>
                  </a:lnTo>
                  <a:lnTo>
                    <a:pt x="834" y="336"/>
                  </a:lnTo>
                  <a:lnTo>
                    <a:pt x="840" y="336"/>
                  </a:lnTo>
                  <a:lnTo>
                    <a:pt x="846" y="330"/>
                  </a:lnTo>
                  <a:lnTo>
                    <a:pt x="852" y="330"/>
                  </a:lnTo>
                  <a:lnTo>
                    <a:pt x="858" y="330"/>
                  </a:lnTo>
                  <a:lnTo>
                    <a:pt x="864" y="324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0" y="312"/>
                  </a:lnTo>
                  <a:lnTo>
                    <a:pt x="876" y="312"/>
                  </a:lnTo>
                  <a:lnTo>
                    <a:pt x="882" y="312"/>
                  </a:lnTo>
                  <a:lnTo>
                    <a:pt x="882" y="318"/>
                  </a:lnTo>
                  <a:lnTo>
                    <a:pt x="888" y="312"/>
                  </a:lnTo>
                  <a:lnTo>
                    <a:pt x="894" y="306"/>
                  </a:lnTo>
                  <a:lnTo>
                    <a:pt x="900" y="306"/>
                  </a:lnTo>
                  <a:lnTo>
                    <a:pt x="906" y="306"/>
                  </a:lnTo>
                  <a:lnTo>
                    <a:pt x="912" y="300"/>
                  </a:lnTo>
                  <a:lnTo>
                    <a:pt x="906" y="294"/>
                  </a:lnTo>
                  <a:lnTo>
                    <a:pt x="912" y="276"/>
                  </a:lnTo>
                  <a:lnTo>
                    <a:pt x="912" y="252"/>
                  </a:lnTo>
                  <a:lnTo>
                    <a:pt x="906" y="234"/>
                  </a:lnTo>
                  <a:lnTo>
                    <a:pt x="912" y="228"/>
                  </a:lnTo>
                  <a:lnTo>
                    <a:pt x="912" y="216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24" y="192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36" y="186"/>
                  </a:lnTo>
                  <a:lnTo>
                    <a:pt x="930" y="180"/>
                  </a:lnTo>
                  <a:lnTo>
                    <a:pt x="930" y="174"/>
                  </a:lnTo>
                  <a:lnTo>
                    <a:pt x="936" y="156"/>
                  </a:lnTo>
                  <a:lnTo>
                    <a:pt x="930" y="156"/>
                  </a:lnTo>
                  <a:lnTo>
                    <a:pt x="924" y="150"/>
                  </a:lnTo>
                  <a:lnTo>
                    <a:pt x="942" y="78"/>
                  </a:lnTo>
                  <a:lnTo>
                    <a:pt x="948" y="78"/>
                  </a:lnTo>
                  <a:lnTo>
                    <a:pt x="954" y="66"/>
                  </a:lnTo>
                  <a:lnTo>
                    <a:pt x="954" y="72"/>
                  </a:lnTo>
                  <a:lnTo>
                    <a:pt x="954" y="66"/>
                  </a:lnTo>
                  <a:lnTo>
                    <a:pt x="960" y="66"/>
                  </a:lnTo>
                  <a:lnTo>
                    <a:pt x="966" y="66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54"/>
                  </a:lnTo>
                  <a:lnTo>
                    <a:pt x="990" y="54"/>
                  </a:lnTo>
                  <a:lnTo>
                    <a:pt x="996" y="48"/>
                  </a:lnTo>
                  <a:lnTo>
                    <a:pt x="1002" y="48"/>
                  </a:lnTo>
                  <a:lnTo>
                    <a:pt x="1032" y="48"/>
                  </a:lnTo>
                  <a:lnTo>
                    <a:pt x="1062" y="48"/>
                  </a:lnTo>
                  <a:lnTo>
                    <a:pt x="1068" y="78"/>
                  </a:lnTo>
                  <a:lnTo>
                    <a:pt x="1086" y="78"/>
                  </a:lnTo>
                  <a:lnTo>
                    <a:pt x="1092" y="66"/>
                  </a:lnTo>
                  <a:lnTo>
                    <a:pt x="1092" y="60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8" y="48"/>
                  </a:lnTo>
                  <a:lnTo>
                    <a:pt x="1104" y="48"/>
                  </a:lnTo>
                  <a:lnTo>
                    <a:pt x="1110" y="48"/>
                  </a:lnTo>
                  <a:lnTo>
                    <a:pt x="1110" y="42"/>
                  </a:lnTo>
                  <a:lnTo>
                    <a:pt x="1110" y="36"/>
                  </a:lnTo>
                  <a:lnTo>
                    <a:pt x="1116" y="36"/>
                  </a:lnTo>
                  <a:lnTo>
                    <a:pt x="1116" y="30"/>
                  </a:lnTo>
                  <a:lnTo>
                    <a:pt x="1122" y="30"/>
                  </a:lnTo>
                  <a:lnTo>
                    <a:pt x="1128" y="30"/>
                  </a:lnTo>
                  <a:lnTo>
                    <a:pt x="1134" y="30"/>
                  </a:lnTo>
                  <a:lnTo>
                    <a:pt x="1140" y="24"/>
                  </a:lnTo>
                  <a:lnTo>
                    <a:pt x="1152" y="18"/>
                  </a:lnTo>
                  <a:lnTo>
                    <a:pt x="1158" y="18"/>
                  </a:lnTo>
                  <a:lnTo>
                    <a:pt x="1152" y="12"/>
                  </a:lnTo>
                  <a:lnTo>
                    <a:pt x="1152" y="6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8"/>
                  </a:lnTo>
                  <a:lnTo>
                    <a:pt x="1170" y="12"/>
                  </a:lnTo>
                  <a:lnTo>
                    <a:pt x="1170" y="6"/>
                  </a:lnTo>
                  <a:lnTo>
                    <a:pt x="1176" y="6"/>
                  </a:lnTo>
                  <a:lnTo>
                    <a:pt x="1176" y="0"/>
                  </a:lnTo>
                  <a:lnTo>
                    <a:pt x="1182" y="6"/>
                  </a:lnTo>
                  <a:lnTo>
                    <a:pt x="1188" y="6"/>
                  </a:lnTo>
                  <a:lnTo>
                    <a:pt x="1188" y="0"/>
                  </a:lnTo>
                  <a:lnTo>
                    <a:pt x="1194" y="6"/>
                  </a:lnTo>
                  <a:lnTo>
                    <a:pt x="1200" y="12"/>
                  </a:lnTo>
                  <a:lnTo>
                    <a:pt x="1206" y="18"/>
                  </a:lnTo>
                  <a:lnTo>
                    <a:pt x="1212" y="18"/>
                  </a:lnTo>
                  <a:lnTo>
                    <a:pt x="1218" y="24"/>
                  </a:lnTo>
                  <a:lnTo>
                    <a:pt x="1236" y="36"/>
                  </a:lnTo>
                  <a:lnTo>
                    <a:pt x="1242" y="36"/>
                  </a:lnTo>
                  <a:lnTo>
                    <a:pt x="1248" y="42"/>
                  </a:lnTo>
                  <a:lnTo>
                    <a:pt x="1248" y="48"/>
                  </a:lnTo>
                  <a:lnTo>
                    <a:pt x="1260" y="48"/>
                  </a:lnTo>
                  <a:lnTo>
                    <a:pt x="1260" y="108"/>
                  </a:lnTo>
                  <a:lnTo>
                    <a:pt x="1266" y="168"/>
                  </a:lnTo>
                  <a:lnTo>
                    <a:pt x="1278" y="234"/>
                  </a:lnTo>
                  <a:lnTo>
                    <a:pt x="1284" y="240"/>
                  </a:lnTo>
                  <a:lnTo>
                    <a:pt x="1290" y="264"/>
                  </a:lnTo>
                  <a:lnTo>
                    <a:pt x="1296" y="288"/>
                  </a:lnTo>
                  <a:lnTo>
                    <a:pt x="1296" y="300"/>
                  </a:lnTo>
                  <a:lnTo>
                    <a:pt x="1296" y="312"/>
                  </a:lnTo>
                  <a:lnTo>
                    <a:pt x="1296" y="324"/>
                  </a:lnTo>
                  <a:lnTo>
                    <a:pt x="1296" y="354"/>
                  </a:lnTo>
                  <a:lnTo>
                    <a:pt x="1302" y="366"/>
                  </a:lnTo>
                  <a:lnTo>
                    <a:pt x="1308" y="372"/>
                  </a:lnTo>
                  <a:lnTo>
                    <a:pt x="1308" y="384"/>
                  </a:lnTo>
                  <a:lnTo>
                    <a:pt x="1314" y="390"/>
                  </a:lnTo>
                  <a:lnTo>
                    <a:pt x="1308" y="408"/>
                  </a:lnTo>
                  <a:lnTo>
                    <a:pt x="1314" y="408"/>
                  </a:lnTo>
                  <a:lnTo>
                    <a:pt x="1314" y="414"/>
                  </a:lnTo>
                  <a:lnTo>
                    <a:pt x="1308" y="420"/>
                  </a:lnTo>
                  <a:lnTo>
                    <a:pt x="1308" y="432"/>
                  </a:lnTo>
                  <a:lnTo>
                    <a:pt x="1320" y="432"/>
                  </a:lnTo>
                  <a:lnTo>
                    <a:pt x="1320" y="444"/>
                  </a:lnTo>
                  <a:lnTo>
                    <a:pt x="1332" y="444"/>
                  </a:lnTo>
                  <a:lnTo>
                    <a:pt x="1338" y="450"/>
                  </a:lnTo>
                  <a:lnTo>
                    <a:pt x="1344" y="456"/>
                  </a:lnTo>
                  <a:lnTo>
                    <a:pt x="1344" y="462"/>
                  </a:lnTo>
                  <a:lnTo>
                    <a:pt x="1344" y="474"/>
                  </a:lnTo>
                  <a:lnTo>
                    <a:pt x="1350" y="474"/>
                  </a:lnTo>
                  <a:lnTo>
                    <a:pt x="1368" y="504"/>
                  </a:lnTo>
                  <a:lnTo>
                    <a:pt x="1374" y="534"/>
                  </a:lnTo>
                  <a:lnTo>
                    <a:pt x="1380" y="558"/>
                  </a:lnTo>
                  <a:lnTo>
                    <a:pt x="1386" y="576"/>
                  </a:lnTo>
                  <a:lnTo>
                    <a:pt x="1386" y="600"/>
                  </a:lnTo>
                  <a:lnTo>
                    <a:pt x="1386" y="624"/>
                  </a:lnTo>
                  <a:lnTo>
                    <a:pt x="1386" y="648"/>
                  </a:lnTo>
                  <a:lnTo>
                    <a:pt x="1386" y="684"/>
                  </a:lnTo>
                  <a:lnTo>
                    <a:pt x="1380" y="684"/>
                  </a:lnTo>
                  <a:lnTo>
                    <a:pt x="1374" y="696"/>
                  </a:lnTo>
                  <a:lnTo>
                    <a:pt x="1368" y="702"/>
                  </a:lnTo>
                  <a:lnTo>
                    <a:pt x="1362" y="708"/>
                  </a:lnTo>
                  <a:lnTo>
                    <a:pt x="1356" y="714"/>
                  </a:lnTo>
                  <a:lnTo>
                    <a:pt x="1350" y="720"/>
                  </a:lnTo>
                  <a:lnTo>
                    <a:pt x="1338" y="720"/>
                  </a:lnTo>
                  <a:lnTo>
                    <a:pt x="1338" y="738"/>
                  </a:lnTo>
                  <a:lnTo>
                    <a:pt x="1362" y="750"/>
                  </a:lnTo>
                  <a:lnTo>
                    <a:pt x="1362" y="756"/>
                  </a:lnTo>
                  <a:lnTo>
                    <a:pt x="1374" y="756"/>
                  </a:lnTo>
                  <a:lnTo>
                    <a:pt x="1410" y="774"/>
                  </a:lnTo>
                  <a:lnTo>
                    <a:pt x="1446" y="774"/>
                  </a:lnTo>
                  <a:lnTo>
                    <a:pt x="1482" y="768"/>
                  </a:lnTo>
                  <a:lnTo>
                    <a:pt x="1500" y="774"/>
                  </a:lnTo>
                  <a:lnTo>
                    <a:pt x="1512" y="78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6" name="Freeform 11">
              <a:extLst>
                <a:ext uri="{FF2B5EF4-FFF2-40B4-BE49-F238E27FC236}">
                  <a16:creationId xmlns:a16="http://schemas.microsoft.com/office/drawing/2014/main" id="{1FF8E66F-B850-456A-B132-C45FEEDE95C6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2475" y="2345643"/>
              <a:ext cx="445003" cy="603855"/>
            </a:xfrm>
            <a:custGeom>
              <a:avLst/>
              <a:gdLst>
                <a:gd name="T0" fmla="*/ 47 w 840"/>
                <a:gd name="T1" fmla="*/ 98 h 1134"/>
                <a:gd name="T2" fmla="*/ 41 w 840"/>
                <a:gd name="T3" fmla="*/ 98 h 1134"/>
                <a:gd name="T4" fmla="*/ 37 w 840"/>
                <a:gd name="T5" fmla="*/ 98 h 1134"/>
                <a:gd name="T6" fmla="*/ 29 w 840"/>
                <a:gd name="T7" fmla="*/ 97 h 1134"/>
                <a:gd name="T8" fmla="*/ 27 w 840"/>
                <a:gd name="T9" fmla="*/ 94 h 1134"/>
                <a:gd name="T10" fmla="*/ 26 w 840"/>
                <a:gd name="T11" fmla="*/ 93 h 1134"/>
                <a:gd name="T12" fmla="*/ 26 w 840"/>
                <a:gd name="T13" fmla="*/ 83 h 1134"/>
                <a:gd name="T14" fmla="*/ 26 w 840"/>
                <a:gd name="T15" fmla="*/ 81 h 1134"/>
                <a:gd name="T16" fmla="*/ 23 w 840"/>
                <a:gd name="T17" fmla="*/ 77 h 1134"/>
                <a:gd name="T18" fmla="*/ 19 w 840"/>
                <a:gd name="T19" fmla="*/ 75 h 1134"/>
                <a:gd name="T20" fmla="*/ 16 w 840"/>
                <a:gd name="T21" fmla="*/ 72 h 1134"/>
                <a:gd name="T22" fmla="*/ 13 w 840"/>
                <a:gd name="T23" fmla="*/ 70 h 1134"/>
                <a:gd name="T24" fmla="*/ 17 w 840"/>
                <a:gd name="T25" fmla="*/ 67 h 1134"/>
                <a:gd name="T26" fmla="*/ 19 w 840"/>
                <a:gd name="T27" fmla="*/ 63 h 1134"/>
                <a:gd name="T28" fmla="*/ 20 w 840"/>
                <a:gd name="T29" fmla="*/ 59 h 1134"/>
                <a:gd name="T30" fmla="*/ 19 w 840"/>
                <a:gd name="T31" fmla="*/ 55 h 1134"/>
                <a:gd name="T32" fmla="*/ 17 w 840"/>
                <a:gd name="T33" fmla="*/ 47 h 1134"/>
                <a:gd name="T34" fmla="*/ 8 w 840"/>
                <a:gd name="T35" fmla="*/ 45 h 1134"/>
                <a:gd name="T36" fmla="*/ 4 w 840"/>
                <a:gd name="T37" fmla="*/ 39 h 1134"/>
                <a:gd name="T38" fmla="*/ 2 w 840"/>
                <a:gd name="T39" fmla="*/ 35 h 1134"/>
                <a:gd name="T40" fmla="*/ 0 w 840"/>
                <a:gd name="T41" fmla="*/ 31 h 1134"/>
                <a:gd name="T42" fmla="*/ 2 w 840"/>
                <a:gd name="T43" fmla="*/ 27 h 1134"/>
                <a:gd name="T44" fmla="*/ 5 w 840"/>
                <a:gd name="T45" fmla="*/ 24 h 1134"/>
                <a:gd name="T46" fmla="*/ 10 w 840"/>
                <a:gd name="T47" fmla="*/ 26 h 1134"/>
                <a:gd name="T48" fmla="*/ 7 w 840"/>
                <a:gd name="T49" fmla="*/ 20 h 1134"/>
                <a:gd name="T50" fmla="*/ 12 w 840"/>
                <a:gd name="T51" fmla="*/ 12 h 1134"/>
                <a:gd name="T52" fmla="*/ 19 w 840"/>
                <a:gd name="T53" fmla="*/ 10 h 1134"/>
                <a:gd name="T54" fmla="*/ 20 w 840"/>
                <a:gd name="T55" fmla="*/ 13 h 1134"/>
                <a:gd name="T56" fmla="*/ 22 w 840"/>
                <a:gd name="T57" fmla="*/ 11 h 1134"/>
                <a:gd name="T58" fmla="*/ 25 w 840"/>
                <a:gd name="T59" fmla="*/ 7 h 1134"/>
                <a:gd name="T60" fmla="*/ 29 w 840"/>
                <a:gd name="T61" fmla="*/ 2 h 1134"/>
                <a:gd name="T62" fmla="*/ 33 w 840"/>
                <a:gd name="T63" fmla="*/ 1 h 1134"/>
                <a:gd name="T64" fmla="*/ 37 w 840"/>
                <a:gd name="T65" fmla="*/ 2 h 1134"/>
                <a:gd name="T66" fmla="*/ 39 w 840"/>
                <a:gd name="T67" fmla="*/ 4 h 1134"/>
                <a:gd name="T68" fmla="*/ 43 w 840"/>
                <a:gd name="T69" fmla="*/ 5 h 1134"/>
                <a:gd name="T70" fmla="*/ 46 w 840"/>
                <a:gd name="T71" fmla="*/ 11 h 1134"/>
                <a:gd name="T72" fmla="*/ 49 w 840"/>
                <a:gd name="T73" fmla="*/ 12 h 1134"/>
                <a:gd name="T74" fmla="*/ 52 w 840"/>
                <a:gd name="T75" fmla="*/ 15 h 1134"/>
                <a:gd name="T76" fmla="*/ 54 w 840"/>
                <a:gd name="T77" fmla="*/ 18 h 1134"/>
                <a:gd name="T78" fmla="*/ 55 w 840"/>
                <a:gd name="T79" fmla="*/ 22 h 1134"/>
                <a:gd name="T80" fmla="*/ 56 w 840"/>
                <a:gd name="T81" fmla="*/ 26 h 1134"/>
                <a:gd name="T82" fmla="*/ 55 w 840"/>
                <a:gd name="T83" fmla="*/ 32 h 1134"/>
                <a:gd name="T84" fmla="*/ 55 w 840"/>
                <a:gd name="T85" fmla="*/ 36 h 1134"/>
                <a:gd name="T86" fmla="*/ 54 w 840"/>
                <a:gd name="T87" fmla="*/ 39 h 1134"/>
                <a:gd name="T88" fmla="*/ 56 w 840"/>
                <a:gd name="T89" fmla="*/ 39 h 1134"/>
                <a:gd name="T90" fmla="*/ 58 w 840"/>
                <a:gd name="T91" fmla="*/ 39 h 1134"/>
                <a:gd name="T92" fmla="*/ 61 w 840"/>
                <a:gd name="T93" fmla="*/ 39 h 1134"/>
                <a:gd name="T94" fmla="*/ 60 w 840"/>
                <a:gd name="T95" fmla="*/ 49 h 1134"/>
                <a:gd name="T96" fmla="*/ 59 w 840"/>
                <a:gd name="T97" fmla="*/ 53 h 1134"/>
                <a:gd name="T98" fmla="*/ 59 w 840"/>
                <a:gd name="T99" fmla="*/ 56 h 1134"/>
                <a:gd name="T100" fmla="*/ 60 w 840"/>
                <a:gd name="T101" fmla="*/ 59 h 1134"/>
                <a:gd name="T102" fmla="*/ 64 w 840"/>
                <a:gd name="T103" fmla="*/ 61 h 1134"/>
                <a:gd name="T104" fmla="*/ 69 w 840"/>
                <a:gd name="T105" fmla="*/ 63 h 1134"/>
                <a:gd name="T106" fmla="*/ 72 w 840"/>
                <a:gd name="T107" fmla="*/ 69 h 1134"/>
                <a:gd name="T108" fmla="*/ 72 w 840"/>
                <a:gd name="T109" fmla="*/ 73 h 1134"/>
                <a:gd name="T110" fmla="*/ 72 w 840"/>
                <a:gd name="T111" fmla="*/ 83 h 1134"/>
                <a:gd name="T112" fmla="*/ 63 w 840"/>
                <a:gd name="T113" fmla="*/ 88 h 1134"/>
                <a:gd name="T114" fmla="*/ 52 w 840"/>
                <a:gd name="T115" fmla="*/ 95 h 11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40"/>
                <a:gd name="T175" fmla="*/ 0 h 1134"/>
                <a:gd name="T176" fmla="*/ 840 w 840"/>
                <a:gd name="T177" fmla="*/ 1134 h 11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40" h="1134">
                  <a:moveTo>
                    <a:pt x="564" y="1110"/>
                  </a:moveTo>
                  <a:lnTo>
                    <a:pt x="564" y="1104"/>
                  </a:lnTo>
                  <a:lnTo>
                    <a:pt x="558" y="1104"/>
                  </a:lnTo>
                  <a:lnTo>
                    <a:pt x="552" y="1110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28" y="1128"/>
                  </a:lnTo>
                  <a:lnTo>
                    <a:pt x="498" y="1128"/>
                  </a:lnTo>
                  <a:lnTo>
                    <a:pt x="492" y="1128"/>
                  </a:lnTo>
                  <a:lnTo>
                    <a:pt x="486" y="1128"/>
                  </a:lnTo>
                  <a:lnTo>
                    <a:pt x="480" y="1128"/>
                  </a:lnTo>
                  <a:lnTo>
                    <a:pt x="474" y="1134"/>
                  </a:lnTo>
                  <a:lnTo>
                    <a:pt x="468" y="1134"/>
                  </a:lnTo>
                  <a:lnTo>
                    <a:pt x="462" y="1134"/>
                  </a:lnTo>
                  <a:lnTo>
                    <a:pt x="456" y="1134"/>
                  </a:lnTo>
                  <a:lnTo>
                    <a:pt x="456" y="1128"/>
                  </a:lnTo>
                  <a:lnTo>
                    <a:pt x="450" y="1122"/>
                  </a:lnTo>
                  <a:lnTo>
                    <a:pt x="426" y="1128"/>
                  </a:lnTo>
                  <a:lnTo>
                    <a:pt x="414" y="1128"/>
                  </a:lnTo>
                  <a:lnTo>
                    <a:pt x="348" y="1134"/>
                  </a:lnTo>
                  <a:lnTo>
                    <a:pt x="348" y="1128"/>
                  </a:lnTo>
                  <a:lnTo>
                    <a:pt x="342" y="1128"/>
                  </a:lnTo>
                  <a:lnTo>
                    <a:pt x="336" y="1122"/>
                  </a:lnTo>
                  <a:lnTo>
                    <a:pt x="330" y="1122"/>
                  </a:lnTo>
                  <a:lnTo>
                    <a:pt x="324" y="1116"/>
                  </a:lnTo>
                  <a:lnTo>
                    <a:pt x="324" y="1110"/>
                  </a:lnTo>
                  <a:lnTo>
                    <a:pt x="318" y="1110"/>
                  </a:lnTo>
                  <a:lnTo>
                    <a:pt x="318" y="1104"/>
                  </a:lnTo>
                  <a:lnTo>
                    <a:pt x="312" y="1092"/>
                  </a:lnTo>
                  <a:lnTo>
                    <a:pt x="306" y="1086"/>
                  </a:lnTo>
                  <a:lnTo>
                    <a:pt x="306" y="1080"/>
                  </a:lnTo>
                  <a:lnTo>
                    <a:pt x="312" y="1074"/>
                  </a:lnTo>
                  <a:lnTo>
                    <a:pt x="306" y="1068"/>
                  </a:lnTo>
                  <a:lnTo>
                    <a:pt x="300" y="1074"/>
                  </a:lnTo>
                  <a:lnTo>
                    <a:pt x="300" y="1068"/>
                  </a:lnTo>
                  <a:lnTo>
                    <a:pt x="294" y="1068"/>
                  </a:lnTo>
                  <a:lnTo>
                    <a:pt x="294" y="1056"/>
                  </a:lnTo>
                  <a:lnTo>
                    <a:pt x="294" y="1026"/>
                  </a:lnTo>
                  <a:lnTo>
                    <a:pt x="294" y="1020"/>
                  </a:lnTo>
                  <a:lnTo>
                    <a:pt x="294" y="1008"/>
                  </a:lnTo>
                  <a:lnTo>
                    <a:pt x="294" y="966"/>
                  </a:lnTo>
                  <a:lnTo>
                    <a:pt x="294" y="960"/>
                  </a:lnTo>
                  <a:lnTo>
                    <a:pt x="294" y="954"/>
                  </a:lnTo>
                  <a:lnTo>
                    <a:pt x="294" y="948"/>
                  </a:lnTo>
                  <a:lnTo>
                    <a:pt x="294" y="942"/>
                  </a:lnTo>
                  <a:lnTo>
                    <a:pt x="300" y="936"/>
                  </a:lnTo>
                  <a:lnTo>
                    <a:pt x="300" y="930"/>
                  </a:lnTo>
                  <a:lnTo>
                    <a:pt x="294" y="930"/>
                  </a:lnTo>
                  <a:lnTo>
                    <a:pt x="288" y="930"/>
                  </a:lnTo>
                  <a:lnTo>
                    <a:pt x="288" y="924"/>
                  </a:lnTo>
                  <a:lnTo>
                    <a:pt x="282" y="918"/>
                  </a:lnTo>
                  <a:lnTo>
                    <a:pt x="282" y="906"/>
                  </a:lnTo>
                  <a:lnTo>
                    <a:pt x="282" y="900"/>
                  </a:lnTo>
                  <a:lnTo>
                    <a:pt x="264" y="894"/>
                  </a:lnTo>
                  <a:lnTo>
                    <a:pt x="252" y="882"/>
                  </a:lnTo>
                  <a:lnTo>
                    <a:pt x="246" y="876"/>
                  </a:lnTo>
                  <a:lnTo>
                    <a:pt x="240" y="876"/>
                  </a:lnTo>
                  <a:lnTo>
                    <a:pt x="240" y="870"/>
                  </a:lnTo>
                  <a:lnTo>
                    <a:pt x="234" y="870"/>
                  </a:lnTo>
                  <a:lnTo>
                    <a:pt x="222" y="864"/>
                  </a:lnTo>
                  <a:lnTo>
                    <a:pt x="216" y="864"/>
                  </a:lnTo>
                  <a:lnTo>
                    <a:pt x="210" y="858"/>
                  </a:lnTo>
                  <a:lnTo>
                    <a:pt x="210" y="852"/>
                  </a:lnTo>
                  <a:lnTo>
                    <a:pt x="210" y="846"/>
                  </a:lnTo>
                  <a:lnTo>
                    <a:pt x="198" y="840"/>
                  </a:lnTo>
                  <a:lnTo>
                    <a:pt x="186" y="834"/>
                  </a:lnTo>
                  <a:lnTo>
                    <a:pt x="180" y="828"/>
                  </a:lnTo>
                  <a:lnTo>
                    <a:pt x="180" y="822"/>
                  </a:lnTo>
                  <a:lnTo>
                    <a:pt x="174" y="822"/>
                  </a:lnTo>
                  <a:lnTo>
                    <a:pt x="162" y="816"/>
                  </a:lnTo>
                  <a:lnTo>
                    <a:pt x="156" y="810"/>
                  </a:lnTo>
                  <a:lnTo>
                    <a:pt x="150" y="810"/>
                  </a:lnTo>
                  <a:lnTo>
                    <a:pt x="144" y="798"/>
                  </a:lnTo>
                  <a:lnTo>
                    <a:pt x="138" y="786"/>
                  </a:lnTo>
                  <a:lnTo>
                    <a:pt x="138" y="780"/>
                  </a:lnTo>
                  <a:lnTo>
                    <a:pt x="144" y="774"/>
                  </a:lnTo>
                  <a:lnTo>
                    <a:pt x="150" y="768"/>
                  </a:lnTo>
                  <a:lnTo>
                    <a:pt x="192" y="768"/>
                  </a:lnTo>
                  <a:lnTo>
                    <a:pt x="210" y="762"/>
                  </a:lnTo>
                  <a:lnTo>
                    <a:pt x="216" y="756"/>
                  </a:lnTo>
                  <a:lnTo>
                    <a:pt x="216" y="744"/>
                  </a:lnTo>
                  <a:lnTo>
                    <a:pt x="216" y="738"/>
                  </a:lnTo>
                  <a:lnTo>
                    <a:pt x="216" y="732"/>
                  </a:lnTo>
                  <a:lnTo>
                    <a:pt x="216" y="726"/>
                  </a:lnTo>
                  <a:lnTo>
                    <a:pt x="216" y="720"/>
                  </a:lnTo>
                  <a:lnTo>
                    <a:pt x="228" y="702"/>
                  </a:lnTo>
                  <a:lnTo>
                    <a:pt x="234" y="696"/>
                  </a:lnTo>
                  <a:lnTo>
                    <a:pt x="240" y="690"/>
                  </a:lnTo>
                  <a:lnTo>
                    <a:pt x="240" y="684"/>
                  </a:lnTo>
                  <a:lnTo>
                    <a:pt x="234" y="678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0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22" y="630"/>
                  </a:lnTo>
                  <a:lnTo>
                    <a:pt x="222" y="618"/>
                  </a:lnTo>
                  <a:lnTo>
                    <a:pt x="222" y="582"/>
                  </a:lnTo>
                  <a:lnTo>
                    <a:pt x="228" y="582"/>
                  </a:lnTo>
                  <a:lnTo>
                    <a:pt x="222" y="564"/>
                  </a:lnTo>
                  <a:lnTo>
                    <a:pt x="210" y="552"/>
                  </a:lnTo>
                  <a:lnTo>
                    <a:pt x="192" y="540"/>
                  </a:lnTo>
                  <a:lnTo>
                    <a:pt x="174" y="540"/>
                  </a:lnTo>
                  <a:lnTo>
                    <a:pt x="150" y="534"/>
                  </a:lnTo>
                  <a:lnTo>
                    <a:pt x="126" y="528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90" y="516"/>
                  </a:lnTo>
                  <a:lnTo>
                    <a:pt x="78" y="504"/>
                  </a:lnTo>
                  <a:lnTo>
                    <a:pt x="72" y="498"/>
                  </a:lnTo>
                  <a:lnTo>
                    <a:pt x="66" y="486"/>
                  </a:lnTo>
                  <a:lnTo>
                    <a:pt x="54" y="468"/>
                  </a:lnTo>
                  <a:lnTo>
                    <a:pt x="54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42" y="438"/>
                  </a:lnTo>
                  <a:lnTo>
                    <a:pt x="36" y="438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24" y="384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2" y="360"/>
                  </a:lnTo>
                  <a:lnTo>
                    <a:pt x="6" y="360"/>
                  </a:lnTo>
                  <a:lnTo>
                    <a:pt x="0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0"/>
                  </a:lnTo>
                  <a:lnTo>
                    <a:pt x="18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8" y="270"/>
                  </a:lnTo>
                  <a:lnTo>
                    <a:pt x="90" y="276"/>
                  </a:lnTo>
                  <a:lnTo>
                    <a:pt x="108" y="294"/>
                  </a:lnTo>
                  <a:lnTo>
                    <a:pt x="114" y="294"/>
                  </a:lnTo>
                  <a:lnTo>
                    <a:pt x="114" y="276"/>
                  </a:lnTo>
                  <a:lnTo>
                    <a:pt x="114" y="270"/>
                  </a:lnTo>
                  <a:lnTo>
                    <a:pt x="102" y="258"/>
                  </a:lnTo>
                  <a:lnTo>
                    <a:pt x="96" y="246"/>
                  </a:lnTo>
                  <a:lnTo>
                    <a:pt x="90" y="234"/>
                  </a:lnTo>
                  <a:lnTo>
                    <a:pt x="78" y="228"/>
                  </a:lnTo>
                  <a:lnTo>
                    <a:pt x="72" y="216"/>
                  </a:lnTo>
                  <a:lnTo>
                    <a:pt x="66" y="192"/>
                  </a:lnTo>
                  <a:lnTo>
                    <a:pt x="90" y="174"/>
                  </a:lnTo>
                  <a:lnTo>
                    <a:pt x="120" y="150"/>
                  </a:lnTo>
                  <a:lnTo>
                    <a:pt x="132" y="150"/>
                  </a:lnTo>
                  <a:lnTo>
                    <a:pt x="138" y="144"/>
                  </a:lnTo>
                  <a:lnTo>
                    <a:pt x="138" y="138"/>
                  </a:lnTo>
                  <a:lnTo>
                    <a:pt x="156" y="126"/>
                  </a:lnTo>
                  <a:lnTo>
                    <a:pt x="180" y="114"/>
                  </a:lnTo>
                  <a:lnTo>
                    <a:pt x="216" y="114"/>
                  </a:lnTo>
                  <a:lnTo>
                    <a:pt x="222" y="114"/>
                  </a:lnTo>
                  <a:lnTo>
                    <a:pt x="222" y="120"/>
                  </a:lnTo>
                  <a:lnTo>
                    <a:pt x="222" y="126"/>
                  </a:lnTo>
                  <a:lnTo>
                    <a:pt x="222" y="132"/>
                  </a:lnTo>
                  <a:lnTo>
                    <a:pt x="228" y="138"/>
                  </a:lnTo>
                  <a:lnTo>
                    <a:pt x="228" y="144"/>
                  </a:lnTo>
                  <a:lnTo>
                    <a:pt x="228" y="150"/>
                  </a:lnTo>
                  <a:lnTo>
                    <a:pt x="234" y="150"/>
                  </a:lnTo>
                  <a:lnTo>
                    <a:pt x="234" y="144"/>
                  </a:lnTo>
                  <a:lnTo>
                    <a:pt x="240" y="144"/>
                  </a:lnTo>
                  <a:lnTo>
                    <a:pt x="246" y="144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58" y="126"/>
                  </a:lnTo>
                  <a:lnTo>
                    <a:pt x="258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76" y="96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6" y="72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36"/>
                  </a:lnTo>
                  <a:lnTo>
                    <a:pt x="330" y="24"/>
                  </a:lnTo>
                  <a:lnTo>
                    <a:pt x="330" y="18"/>
                  </a:lnTo>
                  <a:lnTo>
                    <a:pt x="330" y="12"/>
                  </a:lnTo>
                  <a:lnTo>
                    <a:pt x="336" y="6"/>
                  </a:lnTo>
                  <a:lnTo>
                    <a:pt x="366" y="0"/>
                  </a:lnTo>
                  <a:lnTo>
                    <a:pt x="372" y="6"/>
                  </a:lnTo>
                  <a:lnTo>
                    <a:pt x="384" y="12"/>
                  </a:lnTo>
                  <a:lnTo>
                    <a:pt x="402" y="12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18"/>
                  </a:lnTo>
                  <a:lnTo>
                    <a:pt x="420" y="18"/>
                  </a:lnTo>
                  <a:lnTo>
                    <a:pt x="426" y="24"/>
                  </a:lnTo>
                  <a:lnTo>
                    <a:pt x="432" y="30"/>
                  </a:lnTo>
                  <a:lnTo>
                    <a:pt x="438" y="36"/>
                  </a:lnTo>
                  <a:lnTo>
                    <a:pt x="444" y="42"/>
                  </a:lnTo>
                  <a:lnTo>
                    <a:pt x="450" y="42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16" y="78"/>
                  </a:lnTo>
                  <a:lnTo>
                    <a:pt x="522" y="102"/>
                  </a:lnTo>
                  <a:lnTo>
                    <a:pt x="522" y="108"/>
                  </a:lnTo>
                  <a:lnTo>
                    <a:pt x="528" y="126"/>
                  </a:lnTo>
                  <a:lnTo>
                    <a:pt x="534" y="126"/>
                  </a:lnTo>
                  <a:lnTo>
                    <a:pt x="540" y="120"/>
                  </a:lnTo>
                  <a:lnTo>
                    <a:pt x="546" y="126"/>
                  </a:lnTo>
                  <a:lnTo>
                    <a:pt x="552" y="126"/>
                  </a:lnTo>
                  <a:lnTo>
                    <a:pt x="558" y="132"/>
                  </a:lnTo>
                  <a:lnTo>
                    <a:pt x="564" y="138"/>
                  </a:lnTo>
                  <a:lnTo>
                    <a:pt x="570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594" y="168"/>
                  </a:lnTo>
                  <a:lnTo>
                    <a:pt x="600" y="174"/>
                  </a:lnTo>
                  <a:lnTo>
                    <a:pt x="606" y="180"/>
                  </a:lnTo>
                  <a:lnTo>
                    <a:pt x="606" y="186"/>
                  </a:lnTo>
                  <a:lnTo>
                    <a:pt x="612" y="192"/>
                  </a:lnTo>
                  <a:lnTo>
                    <a:pt x="612" y="198"/>
                  </a:lnTo>
                  <a:lnTo>
                    <a:pt x="624" y="204"/>
                  </a:lnTo>
                  <a:lnTo>
                    <a:pt x="624" y="210"/>
                  </a:lnTo>
                  <a:lnTo>
                    <a:pt x="630" y="216"/>
                  </a:lnTo>
                  <a:lnTo>
                    <a:pt x="636" y="222"/>
                  </a:lnTo>
                  <a:lnTo>
                    <a:pt x="636" y="228"/>
                  </a:lnTo>
                  <a:lnTo>
                    <a:pt x="636" y="234"/>
                  </a:lnTo>
                  <a:lnTo>
                    <a:pt x="636" y="252"/>
                  </a:lnTo>
                  <a:lnTo>
                    <a:pt x="636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42" y="276"/>
                  </a:lnTo>
                  <a:lnTo>
                    <a:pt x="642" y="282"/>
                  </a:lnTo>
                  <a:lnTo>
                    <a:pt x="642" y="288"/>
                  </a:lnTo>
                  <a:lnTo>
                    <a:pt x="642" y="300"/>
                  </a:lnTo>
                  <a:lnTo>
                    <a:pt x="642" y="306"/>
                  </a:lnTo>
                  <a:lnTo>
                    <a:pt x="636" y="312"/>
                  </a:lnTo>
                  <a:lnTo>
                    <a:pt x="636" y="324"/>
                  </a:lnTo>
                  <a:lnTo>
                    <a:pt x="636" y="342"/>
                  </a:lnTo>
                  <a:lnTo>
                    <a:pt x="630" y="354"/>
                  </a:lnTo>
                  <a:lnTo>
                    <a:pt x="630" y="366"/>
                  </a:lnTo>
                  <a:lnTo>
                    <a:pt x="624" y="378"/>
                  </a:lnTo>
                  <a:lnTo>
                    <a:pt x="624" y="384"/>
                  </a:lnTo>
                  <a:lnTo>
                    <a:pt x="636" y="396"/>
                  </a:lnTo>
                  <a:lnTo>
                    <a:pt x="636" y="402"/>
                  </a:lnTo>
                  <a:lnTo>
                    <a:pt x="636" y="408"/>
                  </a:lnTo>
                  <a:lnTo>
                    <a:pt x="630" y="414"/>
                  </a:lnTo>
                  <a:lnTo>
                    <a:pt x="630" y="420"/>
                  </a:lnTo>
                  <a:lnTo>
                    <a:pt x="630" y="426"/>
                  </a:lnTo>
                  <a:lnTo>
                    <a:pt x="630" y="432"/>
                  </a:lnTo>
                  <a:lnTo>
                    <a:pt x="624" y="438"/>
                  </a:lnTo>
                  <a:lnTo>
                    <a:pt x="624" y="444"/>
                  </a:lnTo>
                  <a:lnTo>
                    <a:pt x="624" y="450"/>
                  </a:lnTo>
                  <a:lnTo>
                    <a:pt x="630" y="450"/>
                  </a:lnTo>
                  <a:lnTo>
                    <a:pt x="630" y="456"/>
                  </a:lnTo>
                  <a:lnTo>
                    <a:pt x="630" y="462"/>
                  </a:lnTo>
                  <a:lnTo>
                    <a:pt x="636" y="468"/>
                  </a:lnTo>
                  <a:lnTo>
                    <a:pt x="642" y="456"/>
                  </a:lnTo>
                  <a:lnTo>
                    <a:pt x="642" y="450"/>
                  </a:lnTo>
                  <a:lnTo>
                    <a:pt x="648" y="450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60" y="444"/>
                  </a:lnTo>
                  <a:lnTo>
                    <a:pt x="666" y="450"/>
                  </a:lnTo>
                  <a:lnTo>
                    <a:pt x="672" y="444"/>
                  </a:lnTo>
                  <a:lnTo>
                    <a:pt x="678" y="444"/>
                  </a:lnTo>
                  <a:lnTo>
                    <a:pt x="684" y="438"/>
                  </a:lnTo>
                  <a:lnTo>
                    <a:pt x="690" y="438"/>
                  </a:lnTo>
                  <a:lnTo>
                    <a:pt x="696" y="438"/>
                  </a:lnTo>
                  <a:lnTo>
                    <a:pt x="702" y="444"/>
                  </a:lnTo>
                  <a:lnTo>
                    <a:pt x="702" y="450"/>
                  </a:lnTo>
                  <a:lnTo>
                    <a:pt x="708" y="450"/>
                  </a:lnTo>
                  <a:lnTo>
                    <a:pt x="708" y="456"/>
                  </a:lnTo>
                  <a:lnTo>
                    <a:pt x="708" y="462"/>
                  </a:lnTo>
                  <a:lnTo>
                    <a:pt x="708" y="468"/>
                  </a:lnTo>
                  <a:lnTo>
                    <a:pt x="708" y="504"/>
                  </a:lnTo>
                  <a:lnTo>
                    <a:pt x="696" y="564"/>
                  </a:lnTo>
                  <a:lnTo>
                    <a:pt x="696" y="582"/>
                  </a:lnTo>
                  <a:lnTo>
                    <a:pt x="696" y="600"/>
                  </a:lnTo>
                  <a:lnTo>
                    <a:pt x="690" y="606"/>
                  </a:lnTo>
                  <a:lnTo>
                    <a:pt x="684" y="606"/>
                  </a:lnTo>
                  <a:lnTo>
                    <a:pt x="690" y="612"/>
                  </a:lnTo>
                  <a:lnTo>
                    <a:pt x="684" y="612"/>
                  </a:lnTo>
                  <a:lnTo>
                    <a:pt x="678" y="618"/>
                  </a:lnTo>
                  <a:lnTo>
                    <a:pt x="672" y="624"/>
                  </a:lnTo>
                  <a:lnTo>
                    <a:pt x="666" y="630"/>
                  </a:lnTo>
                  <a:lnTo>
                    <a:pt x="660" y="636"/>
                  </a:lnTo>
                  <a:lnTo>
                    <a:pt x="672" y="636"/>
                  </a:lnTo>
                  <a:lnTo>
                    <a:pt x="678" y="642"/>
                  </a:lnTo>
                  <a:lnTo>
                    <a:pt x="678" y="648"/>
                  </a:lnTo>
                  <a:lnTo>
                    <a:pt x="684" y="654"/>
                  </a:lnTo>
                  <a:lnTo>
                    <a:pt x="690" y="666"/>
                  </a:lnTo>
                  <a:lnTo>
                    <a:pt x="690" y="672"/>
                  </a:lnTo>
                  <a:lnTo>
                    <a:pt x="696" y="672"/>
                  </a:lnTo>
                  <a:lnTo>
                    <a:pt x="696" y="684"/>
                  </a:lnTo>
                  <a:lnTo>
                    <a:pt x="708" y="690"/>
                  </a:lnTo>
                  <a:lnTo>
                    <a:pt x="720" y="696"/>
                  </a:lnTo>
                  <a:lnTo>
                    <a:pt x="726" y="696"/>
                  </a:lnTo>
                  <a:lnTo>
                    <a:pt x="732" y="696"/>
                  </a:lnTo>
                  <a:lnTo>
                    <a:pt x="738" y="696"/>
                  </a:lnTo>
                  <a:lnTo>
                    <a:pt x="738" y="702"/>
                  </a:lnTo>
                  <a:lnTo>
                    <a:pt x="738" y="708"/>
                  </a:lnTo>
                  <a:lnTo>
                    <a:pt x="738" y="714"/>
                  </a:lnTo>
                  <a:lnTo>
                    <a:pt x="744" y="714"/>
                  </a:lnTo>
                  <a:lnTo>
                    <a:pt x="756" y="720"/>
                  </a:lnTo>
                  <a:lnTo>
                    <a:pt x="780" y="726"/>
                  </a:lnTo>
                  <a:lnTo>
                    <a:pt x="792" y="732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22" y="774"/>
                  </a:lnTo>
                  <a:lnTo>
                    <a:pt x="834" y="786"/>
                  </a:lnTo>
                  <a:lnTo>
                    <a:pt x="834" y="792"/>
                  </a:lnTo>
                  <a:lnTo>
                    <a:pt x="834" y="798"/>
                  </a:lnTo>
                  <a:lnTo>
                    <a:pt x="828" y="798"/>
                  </a:lnTo>
                  <a:lnTo>
                    <a:pt x="828" y="804"/>
                  </a:lnTo>
                  <a:lnTo>
                    <a:pt x="834" y="816"/>
                  </a:lnTo>
                  <a:lnTo>
                    <a:pt x="834" y="834"/>
                  </a:lnTo>
                  <a:lnTo>
                    <a:pt x="834" y="840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34" y="858"/>
                  </a:lnTo>
                  <a:lnTo>
                    <a:pt x="834" y="864"/>
                  </a:lnTo>
                  <a:lnTo>
                    <a:pt x="834" y="876"/>
                  </a:lnTo>
                  <a:lnTo>
                    <a:pt x="828" y="960"/>
                  </a:lnTo>
                  <a:lnTo>
                    <a:pt x="816" y="966"/>
                  </a:lnTo>
                  <a:lnTo>
                    <a:pt x="798" y="972"/>
                  </a:lnTo>
                  <a:lnTo>
                    <a:pt x="786" y="990"/>
                  </a:lnTo>
                  <a:lnTo>
                    <a:pt x="774" y="990"/>
                  </a:lnTo>
                  <a:lnTo>
                    <a:pt x="762" y="1008"/>
                  </a:lnTo>
                  <a:lnTo>
                    <a:pt x="732" y="1014"/>
                  </a:lnTo>
                  <a:lnTo>
                    <a:pt x="714" y="1026"/>
                  </a:lnTo>
                  <a:lnTo>
                    <a:pt x="690" y="1050"/>
                  </a:lnTo>
                  <a:lnTo>
                    <a:pt x="654" y="1056"/>
                  </a:lnTo>
                  <a:lnTo>
                    <a:pt x="630" y="1056"/>
                  </a:lnTo>
                  <a:lnTo>
                    <a:pt x="606" y="1068"/>
                  </a:lnTo>
                  <a:lnTo>
                    <a:pt x="600" y="1092"/>
                  </a:lnTo>
                  <a:lnTo>
                    <a:pt x="600" y="1098"/>
                  </a:lnTo>
                  <a:lnTo>
                    <a:pt x="588" y="1104"/>
                  </a:lnTo>
                  <a:lnTo>
                    <a:pt x="582" y="1104"/>
                  </a:lnTo>
                  <a:lnTo>
                    <a:pt x="570" y="1110"/>
                  </a:lnTo>
                  <a:lnTo>
                    <a:pt x="564" y="111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7" name="Freeform 12">
              <a:extLst>
                <a:ext uri="{FF2B5EF4-FFF2-40B4-BE49-F238E27FC236}">
                  <a16:creationId xmlns:a16="http://schemas.microsoft.com/office/drawing/2014/main" id="{6C93C114-E5D0-49BB-A44C-A127CE01CFE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810" y="2271838"/>
              <a:ext cx="923547" cy="845397"/>
            </a:xfrm>
            <a:custGeom>
              <a:avLst/>
              <a:gdLst>
                <a:gd name="T0" fmla="*/ 138 w 1740"/>
                <a:gd name="T1" fmla="*/ 134 h 1590"/>
                <a:gd name="T2" fmla="*/ 128 w 1740"/>
                <a:gd name="T3" fmla="*/ 131 h 1590"/>
                <a:gd name="T4" fmla="*/ 121 w 1740"/>
                <a:gd name="T5" fmla="*/ 130 h 1590"/>
                <a:gd name="T6" fmla="*/ 119 w 1740"/>
                <a:gd name="T7" fmla="*/ 134 h 1590"/>
                <a:gd name="T8" fmla="*/ 110 w 1740"/>
                <a:gd name="T9" fmla="*/ 132 h 1590"/>
                <a:gd name="T10" fmla="*/ 111 w 1740"/>
                <a:gd name="T11" fmla="*/ 127 h 1590"/>
                <a:gd name="T12" fmla="*/ 103 w 1740"/>
                <a:gd name="T13" fmla="*/ 117 h 1590"/>
                <a:gd name="T14" fmla="*/ 93 w 1740"/>
                <a:gd name="T15" fmla="*/ 123 h 1590"/>
                <a:gd name="T16" fmla="*/ 80 w 1740"/>
                <a:gd name="T17" fmla="*/ 118 h 1590"/>
                <a:gd name="T18" fmla="*/ 66 w 1740"/>
                <a:gd name="T19" fmla="*/ 117 h 1590"/>
                <a:gd name="T20" fmla="*/ 66 w 1740"/>
                <a:gd name="T21" fmla="*/ 110 h 1590"/>
                <a:gd name="T22" fmla="*/ 69 w 1740"/>
                <a:gd name="T23" fmla="*/ 107 h 1590"/>
                <a:gd name="T24" fmla="*/ 68 w 1740"/>
                <a:gd name="T25" fmla="*/ 102 h 1590"/>
                <a:gd name="T26" fmla="*/ 68 w 1740"/>
                <a:gd name="T27" fmla="*/ 96 h 1590"/>
                <a:gd name="T28" fmla="*/ 67 w 1740"/>
                <a:gd name="T29" fmla="*/ 82 h 1590"/>
                <a:gd name="T30" fmla="*/ 58 w 1740"/>
                <a:gd name="T31" fmla="*/ 82 h 1590"/>
                <a:gd name="T32" fmla="*/ 52 w 1740"/>
                <a:gd name="T33" fmla="*/ 82 h 1590"/>
                <a:gd name="T34" fmla="*/ 46 w 1740"/>
                <a:gd name="T35" fmla="*/ 80 h 1590"/>
                <a:gd name="T36" fmla="*/ 45 w 1740"/>
                <a:gd name="T37" fmla="*/ 74 h 1590"/>
                <a:gd name="T38" fmla="*/ 52 w 1740"/>
                <a:gd name="T39" fmla="*/ 70 h 1590"/>
                <a:gd name="T40" fmla="*/ 52 w 1740"/>
                <a:gd name="T41" fmla="*/ 64 h 1590"/>
                <a:gd name="T42" fmla="*/ 42 w 1740"/>
                <a:gd name="T43" fmla="*/ 53 h 1590"/>
                <a:gd name="T44" fmla="*/ 35 w 1740"/>
                <a:gd name="T45" fmla="*/ 52 h 1590"/>
                <a:gd name="T46" fmla="*/ 20 w 1740"/>
                <a:gd name="T47" fmla="*/ 51 h 1590"/>
                <a:gd name="T48" fmla="*/ 17 w 1740"/>
                <a:gd name="T49" fmla="*/ 56 h 1590"/>
                <a:gd name="T50" fmla="*/ 11 w 1740"/>
                <a:gd name="T51" fmla="*/ 61 h 1590"/>
                <a:gd name="T52" fmla="*/ 7 w 1740"/>
                <a:gd name="T53" fmla="*/ 63 h 1590"/>
                <a:gd name="T54" fmla="*/ 0 w 1740"/>
                <a:gd name="T55" fmla="*/ 55 h 1590"/>
                <a:gd name="T56" fmla="*/ 2 w 1740"/>
                <a:gd name="T57" fmla="*/ 50 h 1590"/>
                <a:gd name="T58" fmla="*/ 0 w 1740"/>
                <a:gd name="T59" fmla="*/ 44 h 1590"/>
                <a:gd name="T60" fmla="*/ 2 w 1740"/>
                <a:gd name="T61" fmla="*/ 38 h 1590"/>
                <a:gd name="T62" fmla="*/ 7 w 1740"/>
                <a:gd name="T63" fmla="*/ 35 h 1590"/>
                <a:gd name="T64" fmla="*/ 11 w 1740"/>
                <a:gd name="T65" fmla="*/ 30 h 1590"/>
                <a:gd name="T66" fmla="*/ 21 w 1740"/>
                <a:gd name="T67" fmla="*/ 26 h 1590"/>
                <a:gd name="T68" fmla="*/ 29 w 1740"/>
                <a:gd name="T69" fmla="*/ 25 h 1590"/>
                <a:gd name="T70" fmla="*/ 35 w 1740"/>
                <a:gd name="T71" fmla="*/ 21 h 1590"/>
                <a:gd name="T72" fmla="*/ 36 w 1740"/>
                <a:gd name="T73" fmla="*/ 16 h 1590"/>
                <a:gd name="T74" fmla="*/ 41 w 1740"/>
                <a:gd name="T75" fmla="*/ 11 h 1590"/>
                <a:gd name="T76" fmla="*/ 51 w 1740"/>
                <a:gd name="T77" fmla="*/ 9 h 1590"/>
                <a:gd name="T78" fmla="*/ 59 w 1740"/>
                <a:gd name="T79" fmla="*/ 21 h 1590"/>
                <a:gd name="T80" fmla="*/ 65 w 1740"/>
                <a:gd name="T81" fmla="*/ 13 h 1590"/>
                <a:gd name="T82" fmla="*/ 73 w 1740"/>
                <a:gd name="T83" fmla="*/ 8 h 1590"/>
                <a:gd name="T84" fmla="*/ 82 w 1740"/>
                <a:gd name="T85" fmla="*/ 12 h 1590"/>
                <a:gd name="T86" fmla="*/ 88 w 1740"/>
                <a:gd name="T87" fmla="*/ 12 h 1590"/>
                <a:gd name="T88" fmla="*/ 99 w 1740"/>
                <a:gd name="T89" fmla="*/ 7 h 1590"/>
                <a:gd name="T90" fmla="*/ 114 w 1740"/>
                <a:gd name="T91" fmla="*/ 0 h 1590"/>
                <a:gd name="T92" fmla="*/ 117 w 1740"/>
                <a:gd name="T93" fmla="*/ 10 h 1590"/>
                <a:gd name="T94" fmla="*/ 132 w 1740"/>
                <a:gd name="T95" fmla="*/ 17 h 1590"/>
                <a:gd name="T96" fmla="*/ 140 w 1740"/>
                <a:gd name="T97" fmla="*/ 25 h 1590"/>
                <a:gd name="T98" fmla="*/ 140 w 1740"/>
                <a:gd name="T99" fmla="*/ 33 h 1590"/>
                <a:gd name="T100" fmla="*/ 140 w 1740"/>
                <a:gd name="T101" fmla="*/ 44 h 1590"/>
                <a:gd name="T102" fmla="*/ 138 w 1740"/>
                <a:gd name="T103" fmla="*/ 48 h 1590"/>
                <a:gd name="T104" fmla="*/ 141 w 1740"/>
                <a:gd name="T105" fmla="*/ 49 h 1590"/>
                <a:gd name="T106" fmla="*/ 146 w 1740"/>
                <a:gd name="T107" fmla="*/ 50 h 1590"/>
                <a:gd name="T108" fmla="*/ 149 w 1740"/>
                <a:gd name="T109" fmla="*/ 59 h 1590"/>
                <a:gd name="T110" fmla="*/ 148 w 1740"/>
                <a:gd name="T111" fmla="*/ 67 h 1590"/>
                <a:gd name="T112" fmla="*/ 141 w 1740"/>
                <a:gd name="T113" fmla="*/ 78 h 1590"/>
                <a:gd name="T114" fmla="*/ 141 w 1740"/>
                <a:gd name="T115" fmla="*/ 91 h 1590"/>
                <a:gd name="T116" fmla="*/ 138 w 1740"/>
                <a:gd name="T117" fmla="*/ 102 h 1590"/>
                <a:gd name="T118" fmla="*/ 138 w 1740"/>
                <a:gd name="T119" fmla="*/ 110 h 1590"/>
                <a:gd name="T120" fmla="*/ 144 w 1740"/>
                <a:gd name="T121" fmla="*/ 118 h 1590"/>
                <a:gd name="T122" fmla="*/ 143 w 1740"/>
                <a:gd name="T123" fmla="*/ 125 h 159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740"/>
                <a:gd name="T187" fmla="*/ 0 h 1590"/>
                <a:gd name="T188" fmla="*/ 1740 w 1740"/>
                <a:gd name="T189" fmla="*/ 1590 h 159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740" h="1590">
                  <a:moveTo>
                    <a:pt x="1638" y="1458"/>
                  </a:moveTo>
                  <a:lnTo>
                    <a:pt x="1638" y="1482"/>
                  </a:lnTo>
                  <a:lnTo>
                    <a:pt x="1638" y="1500"/>
                  </a:lnTo>
                  <a:lnTo>
                    <a:pt x="1626" y="1500"/>
                  </a:lnTo>
                  <a:lnTo>
                    <a:pt x="1620" y="1500"/>
                  </a:lnTo>
                  <a:lnTo>
                    <a:pt x="1614" y="1500"/>
                  </a:lnTo>
                  <a:lnTo>
                    <a:pt x="1614" y="1506"/>
                  </a:lnTo>
                  <a:lnTo>
                    <a:pt x="1614" y="1512"/>
                  </a:lnTo>
                  <a:lnTo>
                    <a:pt x="1620" y="1518"/>
                  </a:lnTo>
                  <a:lnTo>
                    <a:pt x="1614" y="1524"/>
                  </a:lnTo>
                  <a:lnTo>
                    <a:pt x="1590" y="1536"/>
                  </a:lnTo>
                  <a:lnTo>
                    <a:pt x="1584" y="1566"/>
                  </a:lnTo>
                  <a:lnTo>
                    <a:pt x="1578" y="1590"/>
                  </a:lnTo>
                  <a:lnTo>
                    <a:pt x="1548" y="1590"/>
                  </a:lnTo>
                  <a:lnTo>
                    <a:pt x="1542" y="1584"/>
                  </a:lnTo>
                  <a:lnTo>
                    <a:pt x="1542" y="1572"/>
                  </a:lnTo>
                  <a:lnTo>
                    <a:pt x="1536" y="1566"/>
                  </a:lnTo>
                  <a:lnTo>
                    <a:pt x="1536" y="1554"/>
                  </a:lnTo>
                  <a:lnTo>
                    <a:pt x="1536" y="1548"/>
                  </a:lnTo>
                  <a:lnTo>
                    <a:pt x="1506" y="1530"/>
                  </a:lnTo>
                  <a:lnTo>
                    <a:pt x="1488" y="1506"/>
                  </a:lnTo>
                  <a:lnTo>
                    <a:pt x="1464" y="1500"/>
                  </a:lnTo>
                  <a:lnTo>
                    <a:pt x="1470" y="1494"/>
                  </a:lnTo>
                  <a:lnTo>
                    <a:pt x="1470" y="1488"/>
                  </a:lnTo>
                  <a:lnTo>
                    <a:pt x="1470" y="1482"/>
                  </a:lnTo>
                  <a:lnTo>
                    <a:pt x="1428" y="1464"/>
                  </a:lnTo>
                  <a:lnTo>
                    <a:pt x="1404" y="1470"/>
                  </a:lnTo>
                  <a:lnTo>
                    <a:pt x="1398" y="1470"/>
                  </a:lnTo>
                  <a:lnTo>
                    <a:pt x="1392" y="1476"/>
                  </a:lnTo>
                  <a:lnTo>
                    <a:pt x="1386" y="1476"/>
                  </a:lnTo>
                  <a:lnTo>
                    <a:pt x="1386" y="1482"/>
                  </a:lnTo>
                  <a:lnTo>
                    <a:pt x="1392" y="1482"/>
                  </a:lnTo>
                  <a:lnTo>
                    <a:pt x="1386" y="1488"/>
                  </a:lnTo>
                  <a:lnTo>
                    <a:pt x="1386" y="1494"/>
                  </a:lnTo>
                  <a:lnTo>
                    <a:pt x="1380" y="1494"/>
                  </a:lnTo>
                  <a:lnTo>
                    <a:pt x="1380" y="1500"/>
                  </a:lnTo>
                  <a:lnTo>
                    <a:pt x="1380" y="1512"/>
                  </a:lnTo>
                  <a:lnTo>
                    <a:pt x="1380" y="1518"/>
                  </a:lnTo>
                  <a:lnTo>
                    <a:pt x="1380" y="1524"/>
                  </a:lnTo>
                  <a:lnTo>
                    <a:pt x="1380" y="1530"/>
                  </a:lnTo>
                  <a:lnTo>
                    <a:pt x="1374" y="1536"/>
                  </a:lnTo>
                  <a:lnTo>
                    <a:pt x="1374" y="1542"/>
                  </a:lnTo>
                  <a:lnTo>
                    <a:pt x="1368" y="1542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44" y="1554"/>
                  </a:lnTo>
                  <a:lnTo>
                    <a:pt x="1332" y="1560"/>
                  </a:lnTo>
                  <a:lnTo>
                    <a:pt x="1302" y="1554"/>
                  </a:lnTo>
                  <a:lnTo>
                    <a:pt x="1290" y="1554"/>
                  </a:lnTo>
                  <a:lnTo>
                    <a:pt x="1278" y="1542"/>
                  </a:lnTo>
                  <a:lnTo>
                    <a:pt x="1272" y="1530"/>
                  </a:lnTo>
                  <a:lnTo>
                    <a:pt x="1272" y="1524"/>
                  </a:lnTo>
                  <a:lnTo>
                    <a:pt x="1272" y="1518"/>
                  </a:lnTo>
                  <a:lnTo>
                    <a:pt x="1266" y="1518"/>
                  </a:lnTo>
                  <a:lnTo>
                    <a:pt x="1266" y="1512"/>
                  </a:lnTo>
                  <a:lnTo>
                    <a:pt x="1266" y="1506"/>
                  </a:lnTo>
                  <a:lnTo>
                    <a:pt x="1272" y="1506"/>
                  </a:lnTo>
                  <a:lnTo>
                    <a:pt x="1272" y="1500"/>
                  </a:lnTo>
                  <a:lnTo>
                    <a:pt x="1278" y="1500"/>
                  </a:lnTo>
                  <a:lnTo>
                    <a:pt x="1278" y="1494"/>
                  </a:lnTo>
                  <a:lnTo>
                    <a:pt x="1278" y="1488"/>
                  </a:lnTo>
                  <a:lnTo>
                    <a:pt x="1284" y="1488"/>
                  </a:lnTo>
                  <a:lnTo>
                    <a:pt x="1284" y="1482"/>
                  </a:lnTo>
                  <a:lnTo>
                    <a:pt x="1290" y="1476"/>
                  </a:lnTo>
                  <a:lnTo>
                    <a:pt x="1284" y="1470"/>
                  </a:lnTo>
                  <a:lnTo>
                    <a:pt x="1278" y="1458"/>
                  </a:lnTo>
                  <a:lnTo>
                    <a:pt x="1278" y="1452"/>
                  </a:lnTo>
                  <a:lnTo>
                    <a:pt x="1260" y="1428"/>
                  </a:lnTo>
                  <a:lnTo>
                    <a:pt x="1254" y="1416"/>
                  </a:lnTo>
                  <a:lnTo>
                    <a:pt x="1254" y="1410"/>
                  </a:lnTo>
                  <a:lnTo>
                    <a:pt x="1248" y="1398"/>
                  </a:lnTo>
                  <a:lnTo>
                    <a:pt x="1242" y="1398"/>
                  </a:lnTo>
                  <a:lnTo>
                    <a:pt x="1236" y="1398"/>
                  </a:lnTo>
                  <a:lnTo>
                    <a:pt x="1218" y="1386"/>
                  </a:lnTo>
                  <a:lnTo>
                    <a:pt x="1212" y="1362"/>
                  </a:lnTo>
                  <a:lnTo>
                    <a:pt x="1200" y="1344"/>
                  </a:lnTo>
                  <a:lnTo>
                    <a:pt x="1188" y="1338"/>
                  </a:lnTo>
                  <a:lnTo>
                    <a:pt x="1164" y="1338"/>
                  </a:lnTo>
                  <a:lnTo>
                    <a:pt x="1158" y="1344"/>
                  </a:lnTo>
                  <a:lnTo>
                    <a:pt x="1152" y="1350"/>
                  </a:lnTo>
                  <a:lnTo>
                    <a:pt x="1152" y="1356"/>
                  </a:lnTo>
                  <a:lnTo>
                    <a:pt x="1140" y="1362"/>
                  </a:lnTo>
                  <a:lnTo>
                    <a:pt x="1134" y="1380"/>
                  </a:lnTo>
                  <a:lnTo>
                    <a:pt x="1116" y="1398"/>
                  </a:lnTo>
                  <a:lnTo>
                    <a:pt x="1110" y="1416"/>
                  </a:lnTo>
                  <a:lnTo>
                    <a:pt x="1086" y="1416"/>
                  </a:lnTo>
                  <a:lnTo>
                    <a:pt x="1080" y="1410"/>
                  </a:lnTo>
                  <a:lnTo>
                    <a:pt x="1074" y="1410"/>
                  </a:lnTo>
                  <a:lnTo>
                    <a:pt x="1074" y="1404"/>
                  </a:lnTo>
                  <a:lnTo>
                    <a:pt x="1062" y="1404"/>
                  </a:lnTo>
                  <a:lnTo>
                    <a:pt x="1062" y="1380"/>
                  </a:lnTo>
                  <a:lnTo>
                    <a:pt x="1038" y="1380"/>
                  </a:lnTo>
                  <a:lnTo>
                    <a:pt x="1026" y="1350"/>
                  </a:lnTo>
                  <a:lnTo>
                    <a:pt x="996" y="1326"/>
                  </a:lnTo>
                  <a:lnTo>
                    <a:pt x="966" y="1314"/>
                  </a:lnTo>
                  <a:lnTo>
                    <a:pt x="954" y="1320"/>
                  </a:lnTo>
                  <a:lnTo>
                    <a:pt x="942" y="1338"/>
                  </a:lnTo>
                  <a:lnTo>
                    <a:pt x="930" y="1338"/>
                  </a:lnTo>
                  <a:lnTo>
                    <a:pt x="924" y="1350"/>
                  </a:lnTo>
                  <a:lnTo>
                    <a:pt x="906" y="1356"/>
                  </a:lnTo>
                  <a:lnTo>
                    <a:pt x="846" y="1356"/>
                  </a:lnTo>
                  <a:lnTo>
                    <a:pt x="834" y="1368"/>
                  </a:lnTo>
                  <a:lnTo>
                    <a:pt x="810" y="1362"/>
                  </a:lnTo>
                  <a:lnTo>
                    <a:pt x="792" y="1362"/>
                  </a:lnTo>
                  <a:lnTo>
                    <a:pt x="780" y="1368"/>
                  </a:lnTo>
                  <a:lnTo>
                    <a:pt x="762" y="1368"/>
                  </a:lnTo>
                  <a:lnTo>
                    <a:pt x="762" y="1362"/>
                  </a:lnTo>
                  <a:lnTo>
                    <a:pt x="750" y="1362"/>
                  </a:lnTo>
                  <a:lnTo>
                    <a:pt x="750" y="1338"/>
                  </a:lnTo>
                  <a:lnTo>
                    <a:pt x="762" y="1338"/>
                  </a:lnTo>
                  <a:lnTo>
                    <a:pt x="762" y="1326"/>
                  </a:lnTo>
                  <a:lnTo>
                    <a:pt x="762" y="1314"/>
                  </a:lnTo>
                  <a:lnTo>
                    <a:pt x="732" y="1314"/>
                  </a:lnTo>
                  <a:lnTo>
                    <a:pt x="726" y="1308"/>
                  </a:lnTo>
                  <a:lnTo>
                    <a:pt x="732" y="1284"/>
                  </a:lnTo>
                  <a:lnTo>
                    <a:pt x="732" y="1278"/>
                  </a:lnTo>
                  <a:lnTo>
                    <a:pt x="738" y="1272"/>
                  </a:lnTo>
                  <a:lnTo>
                    <a:pt x="738" y="1266"/>
                  </a:lnTo>
                  <a:lnTo>
                    <a:pt x="744" y="1266"/>
                  </a:lnTo>
                  <a:lnTo>
                    <a:pt x="750" y="1272"/>
                  </a:lnTo>
                  <a:lnTo>
                    <a:pt x="756" y="1266"/>
                  </a:lnTo>
                  <a:lnTo>
                    <a:pt x="762" y="1266"/>
                  </a:lnTo>
                  <a:lnTo>
                    <a:pt x="768" y="1260"/>
                  </a:lnTo>
                  <a:lnTo>
                    <a:pt x="774" y="1260"/>
                  </a:lnTo>
                  <a:lnTo>
                    <a:pt x="780" y="1254"/>
                  </a:lnTo>
                  <a:lnTo>
                    <a:pt x="774" y="1254"/>
                  </a:lnTo>
                  <a:lnTo>
                    <a:pt x="768" y="1254"/>
                  </a:lnTo>
                  <a:lnTo>
                    <a:pt x="774" y="1248"/>
                  </a:lnTo>
                  <a:lnTo>
                    <a:pt x="774" y="1242"/>
                  </a:lnTo>
                  <a:lnTo>
                    <a:pt x="780" y="1236"/>
                  </a:lnTo>
                  <a:lnTo>
                    <a:pt x="786" y="1236"/>
                  </a:lnTo>
                  <a:lnTo>
                    <a:pt x="792" y="1230"/>
                  </a:lnTo>
                  <a:lnTo>
                    <a:pt x="792" y="1236"/>
                  </a:lnTo>
                  <a:lnTo>
                    <a:pt x="798" y="1236"/>
                  </a:lnTo>
                  <a:lnTo>
                    <a:pt x="798" y="1230"/>
                  </a:lnTo>
                  <a:lnTo>
                    <a:pt x="804" y="1230"/>
                  </a:lnTo>
                  <a:lnTo>
                    <a:pt x="804" y="1218"/>
                  </a:lnTo>
                  <a:lnTo>
                    <a:pt x="804" y="1206"/>
                  </a:lnTo>
                  <a:lnTo>
                    <a:pt x="792" y="1188"/>
                  </a:lnTo>
                  <a:lnTo>
                    <a:pt x="768" y="1182"/>
                  </a:lnTo>
                  <a:lnTo>
                    <a:pt x="768" y="1170"/>
                  </a:lnTo>
                  <a:lnTo>
                    <a:pt x="774" y="1170"/>
                  </a:lnTo>
                  <a:lnTo>
                    <a:pt x="780" y="1170"/>
                  </a:lnTo>
                  <a:lnTo>
                    <a:pt x="786" y="1170"/>
                  </a:lnTo>
                  <a:lnTo>
                    <a:pt x="780" y="1152"/>
                  </a:lnTo>
                  <a:lnTo>
                    <a:pt x="780" y="1146"/>
                  </a:lnTo>
                  <a:lnTo>
                    <a:pt x="744" y="1140"/>
                  </a:lnTo>
                  <a:lnTo>
                    <a:pt x="732" y="1128"/>
                  </a:lnTo>
                  <a:lnTo>
                    <a:pt x="720" y="1122"/>
                  </a:lnTo>
                  <a:lnTo>
                    <a:pt x="732" y="1116"/>
                  </a:lnTo>
                  <a:lnTo>
                    <a:pt x="750" y="1104"/>
                  </a:lnTo>
                  <a:lnTo>
                    <a:pt x="756" y="1116"/>
                  </a:lnTo>
                  <a:lnTo>
                    <a:pt x="774" y="1116"/>
                  </a:lnTo>
                  <a:lnTo>
                    <a:pt x="780" y="1104"/>
                  </a:lnTo>
                  <a:lnTo>
                    <a:pt x="780" y="1080"/>
                  </a:lnTo>
                  <a:lnTo>
                    <a:pt x="786" y="1080"/>
                  </a:lnTo>
                  <a:lnTo>
                    <a:pt x="786" y="1074"/>
                  </a:lnTo>
                  <a:lnTo>
                    <a:pt x="792" y="1074"/>
                  </a:lnTo>
                  <a:lnTo>
                    <a:pt x="786" y="1068"/>
                  </a:lnTo>
                  <a:lnTo>
                    <a:pt x="786" y="1062"/>
                  </a:lnTo>
                  <a:lnTo>
                    <a:pt x="786" y="1056"/>
                  </a:lnTo>
                  <a:lnTo>
                    <a:pt x="792" y="1050"/>
                  </a:lnTo>
                  <a:lnTo>
                    <a:pt x="786" y="1020"/>
                  </a:lnTo>
                  <a:lnTo>
                    <a:pt x="780" y="960"/>
                  </a:lnTo>
                  <a:lnTo>
                    <a:pt x="768" y="942"/>
                  </a:lnTo>
                  <a:lnTo>
                    <a:pt x="732" y="936"/>
                  </a:lnTo>
                  <a:lnTo>
                    <a:pt x="732" y="942"/>
                  </a:lnTo>
                  <a:lnTo>
                    <a:pt x="726" y="942"/>
                  </a:lnTo>
                  <a:lnTo>
                    <a:pt x="720" y="936"/>
                  </a:lnTo>
                  <a:lnTo>
                    <a:pt x="714" y="942"/>
                  </a:lnTo>
                  <a:lnTo>
                    <a:pt x="708" y="942"/>
                  </a:lnTo>
                  <a:lnTo>
                    <a:pt x="702" y="942"/>
                  </a:lnTo>
                  <a:lnTo>
                    <a:pt x="690" y="936"/>
                  </a:lnTo>
                  <a:lnTo>
                    <a:pt x="684" y="936"/>
                  </a:lnTo>
                  <a:lnTo>
                    <a:pt x="678" y="936"/>
                  </a:lnTo>
                  <a:lnTo>
                    <a:pt x="672" y="936"/>
                  </a:lnTo>
                  <a:lnTo>
                    <a:pt x="666" y="942"/>
                  </a:lnTo>
                  <a:lnTo>
                    <a:pt x="660" y="942"/>
                  </a:lnTo>
                  <a:lnTo>
                    <a:pt x="654" y="942"/>
                  </a:lnTo>
                  <a:lnTo>
                    <a:pt x="648" y="942"/>
                  </a:lnTo>
                  <a:lnTo>
                    <a:pt x="642" y="936"/>
                  </a:lnTo>
                  <a:lnTo>
                    <a:pt x="636" y="936"/>
                  </a:lnTo>
                  <a:lnTo>
                    <a:pt x="630" y="930"/>
                  </a:lnTo>
                  <a:lnTo>
                    <a:pt x="618" y="930"/>
                  </a:lnTo>
                  <a:lnTo>
                    <a:pt x="612" y="930"/>
                  </a:lnTo>
                  <a:lnTo>
                    <a:pt x="606" y="936"/>
                  </a:lnTo>
                  <a:lnTo>
                    <a:pt x="600" y="942"/>
                  </a:lnTo>
                  <a:lnTo>
                    <a:pt x="600" y="936"/>
                  </a:lnTo>
                  <a:lnTo>
                    <a:pt x="594" y="930"/>
                  </a:lnTo>
                  <a:lnTo>
                    <a:pt x="588" y="930"/>
                  </a:lnTo>
                  <a:lnTo>
                    <a:pt x="582" y="930"/>
                  </a:lnTo>
                  <a:lnTo>
                    <a:pt x="576" y="930"/>
                  </a:lnTo>
                  <a:lnTo>
                    <a:pt x="564" y="936"/>
                  </a:lnTo>
                  <a:lnTo>
                    <a:pt x="558" y="936"/>
                  </a:lnTo>
                  <a:lnTo>
                    <a:pt x="546" y="924"/>
                  </a:lnTo>
                  <a:lnTo>
                    <a:pt x="540" y="924"/>
                  </a:lnTo>
                  <a:lnTo>
                    <a:pt x="534" y="918"/>
                  </a:lnTo>
                  <a:lnTo>
                    <a:pt x="528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6" y="918"/>
                  </a:lnTo>
                  <a:lnTo>
                    <a:pt x="516" y="912"/>
                  </a:lnTo>
                  <a:lnTo>
                    <a:pt x="510" y="894"/>
                  </a:lnTo>
                  <a:lnTo>
                    <a:pt x="510" y="882"/>
                  </a:lnTo>
                  <a:lnTo>
                    <a:pt x="510" y="876"/>
                  </a:lnTo>
                  <a:lnTo>
                    <a:pt x="516" y="870"/>
                  </a:lnTo>
                  <a:lnTo>
                    <a:pt x="510" y="864"/>
                  </a:lnTo>
                  <a:lnTo>
                    <a:pt x="516" y="858"/>
                  </a:lnTo>
                  <a:lnTo>
                    <a:pt x="522" y="858"/>
                  </a:lnTo>
                  <a:lnTo>
                    <a:pt x="528" y="858"/>
                  </a:lnTo>
                  <a:lnTo>
                    <a:pt x="522" y="852"/>
                  </a:lnTo>
                  <a:lnTo>
                    <a:pt x="528" y="852"/>
                  </a:lnTo>
                  <a:lnTo>
                    <a:pt x="528" y="846"/>
                  </a:lnTo>
                  <a:lnTo>
                    <a:pt x="552" y="846"/>
                  </a:lnTo>
                  <a:lnTo>
                    <a:pt x="558" y="840"/>
                  </a:lnTo>
                  <a:lnTo>
                    <a:pt x="564" y="828"/>
                  </a:lnTo>
                  <a:lnTo>
                    <a:pt x="570" y="816"/>
                  </a:lnTo>
                  <a:lnTo>
                    <a:pt x="582" y="810"/>
                  </a:lnTo>
                  <a:lnTo>
                    <a:pt x="588" y="804"/>
                  </a:lnTo>
                  <a:lnTo>
                    <a:pt x="594" y="804"/>
                  </a:lnTo>
                  <a:lnTo>
                    <a:pt x="594" y="792"/>
                  </a:lnTo>
                  <a:lnTo>
                    <a:pt x="600" y="786"/>
                  </a:lnTo>
                  <a:lnTo>
                    <a:pt x="606" y="780"/>
                  </a:lnTo>
                  <a:lnTo>
                    <a:pt x="612" y="774"/>
                  </a:lnTo>
                  <a:lnTo>
                    <a:pt x="618" y="774"/>
                  </a:lnTo>
                  <a:lnTo>
                    <a:pt x="618" y="768"/>
                  </a:lnTo>
                  <a:lnTo>
                    <a:pt x="618" y="762"/>
                  </a:lnTo>
                  <a:lnTo>
                    <a:pt x="624" y="756"/>
                  </a:lnTo>
                  <a:lnTo>
                    <a:pt x="618" y="750"/>
                  </a:lnTo>
                  <a:lnTo>
                    <a:pt x="618" y="744"/>
                  </a:lnTo>
                  <a:lnTo>
                    <a:pt x="600" y="738"/>
                  </a:lnTo>
                  <a:lnTo>
                    <a:pt x="558" y="744"/>
                  </a:lnTo>
                  <a:lnTo>
                    <a:pt x="552" y="732"/>
                  </a:lnTo>
                  <a:lnTo>
                    <a:pt x="546" y="720"/>
                  </a:lnTo>
                  <a:lnTo>
                    <a:pt x="564" y="702"/>
                  </a:lnTo>
                  <a:lnTo>
                    <a:pt x="570" y="684"/>
                  </a:lnTo>
                  <a:lnTo>
                    <a:pt x="564" y="648"/>
                  </a:lnTo>
                  <a:lnTo>
                    <a:pt x="534" y="624"/>
                  </a:lnTo>
                  <a:lnTo>
                    <a:pt x="504" y="612"/>
                  </a:lnTo>
                  <a:lnTo>
                    <a:pt x="498" y="606"/>
                  </a:lnTo>
                  <a:lnTo>
                    <a:pt x="492" y="600"/>
                  </a:lnTo>
                  <a:lnTo>
                    <a:pt x="486" y="606"/>
                  </a:lnTo>
                  <a:lnTo>
                    <a:pt x="480" y="558"/>
                  </a:lnTo>
                  <a:lnTo>
                    <a:pt x="462" y="546"/>
                  </a:lnTo>
                  <a:lnTo>
                    <a:pt x="408" y="540"/>
                  </a:lnTo>
                  <a:lnTo>
                    <a:pt x="408" y="546"/>
                  </a:lnTo>
                  <a:lnTo>
                    <a:pt x="408" y="558"/>
                  </a:lnTo>
                  <a:lnTo>
                    <a:pt x="408" y="564"/>
                  </a:lnTo>
                  <a:lnTo>
                    <a:pt x="408" y="570"/>
                  </a:lnTo>
                  <a:lnTo>
                    <a:pt x="414" y="582"/>
                  </a:lnTo>
                  <a:lnTo>
                    <a:pt x="408" y="594"/>
                  </a:lnTo>
                  <a:lnTo>
                    <a:pt x="414" y="594"/>
                  </a:lnTo>
                  <a:lnTo>
                    <a:pt x="408" y="600"/>
                  </a:lnTo>
                  <a:lnTo>
                    <a:pt x="348" y="600"/>
                  </a:lnTo>
                  <a:lnTo>
                    <a:pt x="324" y="600"/>
                  </a:lnTo>
                  <a:lnTo>
                    <a:pt x="324" y="612"/>
                  </a:lnTo>
                  <a:lnTo>
                    <a:pt x="306" y="618"/>
                  </a:lnTo>
                  <a:lnTo>
                    <a:pt x="312" y="618"/>
                  </a:lnTo>
                  <a:lnTo>
                    <a:pt x="294" y="588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76"/>
                  </a:lnTo>
                  <a:lnTo>
                    <a:pt x="240" y="582"/>
                  </a:lnTo>
                  <a:lnTo>
                    <a:pt x="234" y="582"/>
                  </a:lnTo>
                  <a:lnTo>
                    <a:pt x="228" y="588"/>
                  </a:lnTo>
                  <a:lnTo>
                    <a:pt x="222" y="588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8" y="600"/>
                  </a:lnTo>
                  <a:lnTo>
                    <a:pt x="192" y="612"/>
                  </a:lnTo>
                  <a:lnTo>
                    <a:pt x="192" y="618"/>
                  </a:lnTo>
                  <a:lnTo>
                    <a:pt x="198" y="624"/>
                  </a:lnTo>
                  <a:lnTo>
                    <a:pt x="192" y="624"/>
                  </a:lnTo>
                  <a:lnTo>
                    <a:pt x="192" y="630"/>
                  </a:lnTo>
                  <a:lnTo>
                    <a:pt x="192" y="642"/>
                  </a:lnTo>
                  <a:lnTo>
                    <a:pt x="180" y="648"/>
                  </a:lnTo>
                  <a:lnTo>
                    <a:pt x="174" y="654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6"/>
                  </a:lnTo>
                  <a:lnTo>
                    <a:pt x="156" y="672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90"/>
                  </a:lnTo>
                  <a:lnTo>
                    <a:pt x="132" y="690"/>
                  </a:lnTo>
                  <a:lnTo>
                    <a:pt x="126" y="702"/>
                  </a:lnTo>
                  <a:lnTo>
                    <a:pt x="132" y="708"/>
                  </a:lnTo>
                  <a:lnTo>
                    <a:pt x="126" y="708"/>
                  </a:lnTo>
                  <a:lnTo>
                    <a:pt x="120" y="708"/>
                  </a:lnTo>
                  <a:lnTo>
                    <a:pt x="114" y="708"/>
                  </a:lnTo>
                  <a:lnTo>
                    <a:pt x="108" y="708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78" y="720"/>
                  </a:lnTo>
                  <a:lnTo>
                    <a:pt x="72" y="720"/>
                  </a:lnTo>
                  <a:lnTo>
                    <a:pt x="66" y="720"/>
                  </a:lnTo>
                  <a:lnTo>
                    <a:pt x="54" y="732"/>
                  </a:lnTo>
                  <a:lnTo>
                    <a:pt x="48" y="702"/>
                  </a:lnTo>
                  <a:lnTo>
                    <a:pt x="36" y="666"/>
                  </a:lnTo>
                  <a:lnTo>
                    <a:pt x="0" y="660"/>
                  </a:lnTo>
                  <a:lnTo>
                    <a:pt x="6" y="660"/>
                  </a:lnTo>
                  <a:lnTo>
                    <a:pt x="6" y="654"/>
                  </a:lnTo>
                  <a:lnTo>
                    <a:pt x="6" y="648"/>
                  </a:lnTo>
                  <a:lnTo>
                    <a:pt x="6" y="642"/>
                  </a:lnTo>
                  <a:lnTo>
                    <a:pt x="6" y="624"/>
                  </a:lnTo>
                  <a:lnTo>
                    <a:pt x="6" y="612"/>
                  </a:lnTo>
                  <a:lnTo>
                    <a:pt x="6" y="606"/>
                  </a:lnTo>
                  <a:lnTo>
                    <a:pt x="12" y="612"/>
                  </a:lnTo>
                  <a:lnTo>
                    <a:pt x="18" y="606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30" y="594"/>
                  </a:lnTo>
                  <a:lnTo>
                    <a:pt x="30" y="588"/>
                  </a:lnTo>
                  <a:lnTo>
                    <a:pt x="30" y="582"/>
                  </a:lnTo>
                  <a:lnTo>
                    <a:pt x="24" y="576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18" y="558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36" y="528"/>
                  </a:lnTo>
                  <a:lnTo>
                    <a:pt x="30" y="522"/>
                  </a:lnTo>
                  <a:lnTo>
                    <a:pt x="24" y="522"/>
                  </a:lnTo>
                  <a:lnTo>
                    <a:pt x="18" y="510"/>
                  </a:lnTo>
                  <a:lnTo>
                    <a:pt x="12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8" y="474"/>
                  </a:lnTo>
                  <a:lnTo>
                    <a:pt x="12" y="468"/>
                  </a:lnTo>
                  <a:lnTo>
                    <a:pt x="12" y="462"/>
                  </a:lnTo>
                  <a:lnTo>
                    <a:pt x="18" y="456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0" y="420"/>
                  </a:lnTo>
                  <a:lnTo>
                    <a:pt x="30" y="414"/>
                  </a:lnTo>
                  <a:lnTo>
                    <a:pt x="48" y="414"/>
                  </a:lnTo>
                  <a:lnTo>
                    <a:pt x="54" y="408"/>
                  </a:lnTo>
                  <a:lnTo>
                    <a:pt x="60" y="402"/>
                  </a:lnTo>
                  <a:lnTo>
                    <a:pt x="66" y="402"/>
                  </a:lnTo>
                  <a:lnTo>
                    <a:pt x="72" y="402"/>
                  </a:lnTo>
                  <a:lnTo>
                    <a:pt x="78" y="408"/>
                  </a:lnTo>
                  <a:lnTo>
                    <a:pt x="84" y="396"/>
                  </a:lnTo>
                  <a:lnTo>
                    <a:pt x="90" y="390"/>
                  </a:lnTo>
                  <a:lnTo>
                    <a:pt x="90" y="378"/>
                  </a:lnTo>
                  <a:lnTo>
                    <a:pt x="96" y="372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8" y="354"/>
                  </a:lnTo>
                  <a:lnTo>
                    <a:pt x="114" y="348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32" y="336"/>
                  </a:lnTo>
                  <a:lnTo>
                    <a:pt x="132" y="330"/>
                  </a:lnTo>
                  <a:lnTo>
                    <a:pt x="138" y="324"/>
                  </a:lnTo>
                  <a:lnTo>
                    <a:pt x="138" y="318"/>
                  </a:lnTo>
                  <a:lnTo>
                    <a:pt x="144" y="306"/>
                  </a:lnTo>
                  <a:lnTo>
                    <a:pt x="156" y="306"/>
                  </a:lnTo>
                  <a:lnTo>
                    <a:pt x="186" y="300"/>
                  </a:lnTo>
                  <a:lnTo>
                    <a:pt x="198" y="300"/>
                  </a:lnTo>
                  <a:lnTo>
                    <a:pt x="210" y="300"/>
                  </a:lnTo>
                  <a:lnTo>
                    <a:pt x="222" y="300"/>
                  </a:lnTo>
                  <a:lnTo>
                    <a:pt x="246" y="300"/>
                  </a:lnTo>
                  <a:lnTo>
                    <a:pt x="264" y="312"/>
                  </a:lnTo>
                  <a:lnTo>
                    <a:pt x="270" y="312"/>
                  </a:lnTo>
                  <a:lnTo>
                    <a:pt x="282" y="306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300" y="306"/>
                  </a:lnTo>
                  <a:lnTo>
                    <a:pt x="312" y="306"/>
                  </a:lnTo>
                  <a:lnTo>
                    <a:pt x="318" y="300"/>
                  </a:lnTo>
                  <a:lnTo>
                    <a:pt x="324" y="300"/>
                  </a:lnTo>
                  <a:lnTo>
                    <a:pt x="330" y="294"/>
                  </a:lnTo>
                  <a:lnTo>
                    <a:pt x="336" y="288"/>
                  </a:lnTo>
                  <a:lnTo>
                    <a:pt x="354" y="288"/>
                  </a:lnTo>
                  <a:lnTo>
                    <a:pt x="360" y="288"/>
                  </a:lnTo>
                  <a:lnTo>
                    <a:pt x="366" y="282"/>
                  </a:lnTo>
                  <a:lnTo>
                    <a:pt x="372" y="282"/>
                  </a:lnTo>
                  <a:lnTo>
                    <a:pt x="378" y="282"/>
                  </a:lnTo>
                  <a:lnTo>
                    <a:pt x="384" y="276"/>
                  </a:lnTo>
                  <a:lnTo>
                    <a:pt x="384" y="270"/>
                  </a:lnTo>
                  <a:lnTo>
                    <a:pt x="390" y="264"/>
                  </a:lnTo>
                  <a:lnTo>
                    <a:pt x="402" y="258"/>
                  </a:lnTo>
                  <a:lnTo>
                    <a:pt x="402" y="252"/>
                  </a:lnTo>
                  <a:lnTo>
                    <a:pt x="402" y="246"/>
                  </a:lnTo>
                  <a:lnTo>
                    <a:pt x="408" y="234"/>
                  </a:lnTo>
                  <a:lnTo>
                    <a:pt x="414" y="234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14" y="216"/>
                  </a:lnTo>
                  <a:lnTo>
                    <a:pt x="414" y="210"/>
                  </a:lnTo>
                  <a:lnTo>
                    <a:pt x="420" y="210"/>
                  </a:lnTo>
                  <a:lnTo>
                    <a:pt x="414" y="198"/>
                  </a:lnTo>
                  <a:lnTo>
                    <a:pt x="414" y="192"/>
                  </a:lnTo>
                  <a:lnTo>
                    <a:pt x="420" y="192"/>
                  </a:lnTo>
                  <a:lnTo>
                    <a:pt x="420" y="186"/>
                  </a:lnTo>
                  <a:lnTo>
                    <a:pt x="420" y="174"/>
                  </a:lnTo>
                  <a:lnTo>
                    <a:pt x="420" y="168"/>
                  </a:lnTo>
                  <a:lnTo>
                    <a:pt x="426" y="162"/>
                  </a:lnTo>
                  <a:lnTo>
                    <a:pt x="432" y="156"/>
                  </a:lnTo>
                  <a:lnTo>
                    <a:pt x="438" y="144"/>
                  </a:lnTo>
                  <a:lnTo>
                    <a:pt x="444" y="144"/>
                  </a:lnTo>
                  <a:lnTo>
                    <a:pt x="450" y="138"/>
                  </a:lnTo>
                  <a:lnTo>
                    <a:pt x="456" y="138"/>
                  </a:lnTo>
                  <a:lnTo>
                    <a:pt x="462" y="132"/>
                  </a:lnTo>
                  <a:lnTo>
                    <a:pt x="462" y="126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0"/>
                  </a:lnTo>
                  <a:lnTo>
                    <a:pt x="486" y="108"/>
                  </a:lnTo>
                  <a:lnTo>
                    <a:pt x="492" y="108"/>
                  </a:lnTo>
                  <a:lnTo>
                    <a:pt x="498" y="102"/>
                  </a:lnTo>
                  <a:lnTo>
                    <a:pt x="504" y="96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40" y="102"/>
                  </a:lnTo>
                  <a:lnTo>
                    <a:pt x="552" y="108"/>
                  </a:lnTo>
                  <a:lnTo>
                    <a:pt x="582" y="102"/>
                  </a:lnTo>
                  <a:lnTo>
                    <a:pt x="594" y="126"/>
                  </a:lnTo>
                  <a:lnTo>
                    <a:pt x="594" y="144"/>
                  </a:lnTo>
                  <a:lnTo>
                    <a:pt x="588" y="156"/>
                  </a:lnTo>
                  <a:lnTo>
                    <a:pt x="588" y="168"/>
                  </a:lnTo>
                  <a:lnTo>
                    <a:pt x="582" y="180"/>
                  </a:lnTo>
                  <a:lnTo>
                    <a:pt x="570" y="192"/>
                  </a:lnTo>
                  <a:lnTo>
                    <a:pt x="594" y="192"/>
                  </a:lnTo>
                  <a:lnTo>
                    <a:pt x="618" y="198"/>
                  </a:lnTo>
                  <a:lnTo>
                    <a:pt x="642" y="210"/>
                  </a:lnTo>
                  <a:lnTo>
                    <a:pt x="660" y="234"/>
                  </a:lnTo>
                  <a:lnTo>
                    <a:pt x="678" y="246"/>
                  </a:lnTo>
                  <a:lnTo>
                    <a:pt x="684" y="252"/>
                  </a:lnTo>
                  <a:lnTo>
                    <a:pt x="702" y="252"/>
                  </a:lnTo>
                  <a:lnTo>
                    <a:pt x="732" y="234"/>
                  </a:lnTo>
                  <a:lnTo>
                    <a:pt x="732" y="222"/>
                  </a:lnTo>
                  <a:lnTo>
                    <a:pt x="720" y="216"/>
                  </a:lnTo>
                  <a:lnTo>
                    <a:pt x="714" y="198"/>
                  </a:lnTo>
                  <a:lnTo>
                    <a:pt x="714" y="174"/>
                  </a:lnTo>
                  <a:lnTo>
                    <a:pt x="720" y="162"/>
                  </a:lnTo>
                  <a:lnTo>
                    <a:pt x="726" y="162"/>
                  </a:lnTo>
                  <a:lnTo>
                    <a:pt x="732" y="156"/>
                  </a:lnTo>
                  <a:lnTo>
                    <a:pt x="744" y="150"/>
                  </a:lnTo>
                  <a:lnTo>
                    <a:pt x="774" y="162"/>
                  </a:lnTo>
                  <a:lnTo>
                    <a:pt x="786" y="162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16" y="150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2" y="132"/>
                  </a:lnTo>
                  <a:lnTo>
                    <a:pt x="822" y="114"/>
                  </a:lnTo>
                  <a:lnTo>
                    <a:pt x="828" y="108"/>
                  </a:lnTo>
                  <a:lnTo>
                    <a:pt x="834" y="96"/>
                  </a:lnTo>
                  <a:lnTo>
                    <a:pt x="846" y="96"/>
                  </a:lnTo>
                  <a:lnTo>
                    <a:pt x="858" y="90"/>
                  </a:lnTo>
                  <a:lnTo>
                    <a:pt x="870" y="84"/>
                  </a:lnTo>
                  <a:lnTo>
                    <a:pt x="888" y="84"/>
                  </a:lnTo>
                  <a:lnTo>
                    <a:pt x="894" y="90"/>
                  </a:lnTo>
                  <a:lnTo>
                    <a:pt x="894" y="102"/>
                  </a:lnTo>
                  <a:lnTo>
                    <a:pt x="900" y="102"/>
                  </a:lnTo>
                  <a:lnTo>
                    <a:pt x="906" y="114"/>
                  </a:lnTo>
                  <a:lnTo>
                    <a:pt x="930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54" y="138"/>
                  </a:lnTo>
                  <a:lnTo>
                    <a:pt x="966" y="144"/>
                  </a:lnTo>
                  <a:lnTo>
                    <a:pt x="966" y="150"/>
                  </a:lnTo>
                  <a:lnTo>
                    <a:pt x="972" y="150"/>
                  </a:lnTo>
                  <a:lnTo>
                    <a:pt x="978" y="150"/>
                  </a:lnTo>
                  <a:lnTo>
                    <a:pt x="978" y="144"/>
                  </a:lnTo>
                  <a:lnTo>
                    <a:pt x="984" y="144"/>
                  </a:lnTo>
                  <a:lnTo>
                    <a:pt x="990" y="138"/>
                  </a:lnTo>
                  <a:lnTo>
                    <a:pt x="996" y="138"/>
                  </a:lnTo>
                  <a:lnTo>
                    <a:pt x="1002" y="138"/>
                  </a:lnTo>
                  <a:lnTo>
                    <a:pt x="1008" y="138"/>
                  </a:lnTo>
                  <a:lnTo>
                    <a:pt x="1026" y="132"/>
                  </a:lnTo>
                  <a:lnTo>
                    <a:pt x="1044" y="126"/>
                  </a:lnTo>
                  <a:lnTo>
                    <a:pt x="1056" y="120"/>
                  </a:lnTo>
                  <a:lnTo>
                    <a:pt x="1062" y="108"/>
                  </a:lnTo>
                  <a:lnTo>
                    <a:pt x="1056" y="102"/>
                  </a:lnTo>
                  <a:lnTo>
                    <a:pt x="1062" y="96"/>
                  </a:lnTo>
                  <a:lnTo>
                    <a:pt x="1074" y="90"/>
                  </a:lnTo>
                  <a:lnTo>
                    <a:pt x="1080" y="84"/>
                  </a:lnTo>
                  <a:lnTo>
                    <a:pt x="1128" y="84"/>
                  </a:lnTo>
                  <a:lnTo>
                    <a:pt x="1134" y="84"/>
                  </a:lnTo>
                  <a:lnTo>
                    <a:pt x="1140" y="78"/>
                  </a:lnTo>
                  <a:lnTo>
                    <a:pt x="1152" y="72"/>
                  </a:lnTo>
                  <a:lnTo>
                    <a:pt x="1164" y="66"/>
                  </a:lnTo>
                  <a:lnTo>
                    <a:pt x="1170" y="60"/>
                  </a:lnTo>
                  <a:lnTo>
                    <a:pt x="1188" y="48"/>
                  </a:lnTo>
                  <a:lnTo>
                    <a:pt x="1200" y="36"/>
                  </a:lnTo>
                  <a:lnTo>
                    <a:pt x="1218" y="24"/>
                  </a:lnTo>
                  <a:lnTo>
                    <a:pt x="1248" y="24"/>
                  </a:lnTo>
                  <a:lnTo>
                    <a:pt x="1272" y="24"/>
                  </a:lnTo>
                  <a:lnTo>
                    <a:pt x="1284" y="12"/>
                  </a:lnTo>
                  <a:lnTo>
                    <a:pt x="1302" y="0"/>
                  </a:lnTo>
                  <a:lnTo>
                    <a:pt x="1314" y="0"/>
                  </a:lnTo>
                  <a:lnTo>
                    <a:pt x="1326" y="18"/>
                  </a:lnTo>
                  <a:lnTo>
                    <a:pt x="1338" y="30"/>
                  </a:lnTo>
                  <a:lnTo>
                    <a:pt x="1338" y="54"/>
                  </a:lnTo>
                  <a:lnTo>
                    <a:pt x="1332" y="72"/>
                  </a:lnTo>
                  <a:lnTo>
                    <a:pt x="1326" y="72"/>
                  </a:lnTo>
                  <a:lnTo>
                    <a:pt x="1326" y="78"/>
                  </a:lnTo>
                  <a:lnTo>
                    <a:pt x="1326" y="102"/>
                  </a:lnTo>
                  <a:lnTo>
                    <a:pt x="1332" y="102"/>
                  </a:lnTo>
                  <a:lnTo>
                    <a:pt x="1332" y="108"/>
                  </a:lnTo>
                  <a:lnTo>
                    <a:pt x="1344" y="114"/>
                  </a:lnTo>
                  <a:lnTo>
                    <a:pt x="1350" y="114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404" y="132"/>
                  </a:lnTo>
                  <a:lnTo>
                    <a:pt x="1404" y="138"/>
                  </a:lnTo>
                  <a:lnTo>
                    <a:pt x="1410" y="150"/>
                  </a:lnTo>
                  <a:lnTo>
                    <a:pt x="1416" y="162"/>
                  </a:lnTo>
                  <a:lnTo>
                    <a:pt x="1428" y="168"/>
                  </a:lnTo>
                  <a:lnTo>
                    <a:pt x="1440" y="180"/>
                  </a:lnTo>
                  <a:lnTo>
                    <a:pt x="1476" y="174"/>
                  </a:lnTo>
                  <a:lnTo>
                    <a:pt x="1494" y="174"/>
                  </a:lnTo>
                  <a:lnTo>
                    <a:pt x="1512" y="192"/>
                  </a:lnTo>
                  <a:lnTo>
                    <a:pt x="1518" y="204"/>
                  </a:lnTo>
                  <a:lnTo>
                    <a:pt x="1530" y="216"/>
                  </a:lnTo>
                  <a:lnTo>
                    <a:pt x="1548" y="228"/>
                  </a:lnTo>
                  <a:lnTo>
                    <a:pt x="1548" y="234"/>
                  </a:lnTo>
                  <a:lnTo>
                    <a:pt x="1542" y="246"/>
                  </a:lnTo>
                  <a:lnTo>
                    <a:pt x="1560" y="246"/>
                  </a:lnTo>
                  <a:lnTo>
                    <a:pt x="1560" y="252"/>
                  </a:lnTo>
                  <a:lnTo>
                    <a:pt x="1566" y="258"/>
                  </a:lnTo>
                  <a:lnTo>
                    <a:pt x="1578" y="270"/>
                  </a:lnTo>
                  <a:lnTo>
                    <a:pt x="1596" y="270"/>
                  </a:lnTo>
                  <a:lnTo>
                    <a:pt x="1602" y="288"/>
                  </a:lnTo>
                  <a:lnTo>
                    <a:pt x="1608" y="306"/>
                  </a:lnTo>
                  <a:lnTo>
                    <a:pt x="1608" y="318"/>
                  </a:lnTo>
                  <a:lnTo>
                    <a:pt x="1608" y="324"/>
                  </a:lnTo>
                  <a:lnTo>
                    <a:pt x="1614" y="330"/>
                  </a:lnTo>
                  <a:lnTo>
                    <a:pt x="1614" y="336"/>
                  </a:lnTo>
                  <a:lnTo>
                    <a:pt x="1614" y="342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08" y="390"/>
                  </a:lnTo>
                  <a:lnTo>
                    <a:pt x="1602" y="390"/>
                  </a:lnTo>
                  <a:lnTo>
                    <a:pt x="1602" y="396"/>
                  </a:lnTo>
                  <a:lnTo>
                    <a:pt x="1584" y="420"/>
                  </a:lnTo>
                  <a:lnTo>
                    <a:pt x="1584" y="426"/>
                  </a:lnTo>
                  <a:lnTo>
                    <a:pt x="1602" y="474"/>
                  </a:lnTo>
                  <a:lnTo>
                    <a:pt x="1608" y="480"/>
                  </a:lnTo>
                  <a:lnTo>
                    <a:pt x="1608" y="486"/>
                  </a:lnTo>
                  <a:lnTo>
                    <a:pt x="1614" y="486"/>
                  </a:lnTo>
                  <a:lnTo>
                    <a:pt x="1608" y="504"/>
                  </a:lnTo>
                  <a:lnTo>
                    <a:pt x="1572" y="504"/>
                  </a:lnTo>
                  <a:lnTo>
                    <a:pt x="1560" y="510"/>
                  </a:lnTo>
                  <a:lnTo>
                    <a:pt x="1554" y="522"/>
                  </a:lnTo>
                  <a:lnTo>
                    <a:pt x="1560" y="552"/>
                  </a:lnTo>
                  <a:lnTo>
                    <a:pt x="1566" y="552"/>
                  </a:lnTo>
                  <a:lnTo>
                    <a:pt x="1566" y="558"/>
                  </a:lnTo>
                  <a:lnTo>
                    <a:pt x="1572" y="558"/>
                  </a:lnTo>
                  <a:lnTo>
                    <a:pt x="1578" y="558"/>
                  </a:lnTo>
                  <a:lnTo>
                    <a:pt x="1578" y="552"/>
                  </a:lnTo>
                  <a:lnTo>
                    <a:pt x="1584" y="552"/>
                  </a:lnTo>
                  <a:lnTo>
                    <a:pt x="1590" y="552"/>
                  </a:lnTo>
                  <a:lnTo>
                    <a:pt x="1590" y="546"/>
                  </a:lnTo>
                  <a:lnTo>
                    <a:pt x="1596" y="546"/>
                  </a:lnTo>
                  <a:lnTo>
                    <a:pt x="1602" y="552"/>
                  </a:lnTo>
                  <a:lnTo>
                    <a:pt x="1602" y="546"/>
                  </a:lnTo>
                  <a:lnTo>
                    <a:pt x="1608" y="546"/>
                  </a:lnTo>
                  <a:lnTo>
                    <a:pt x="1608" y="552"/>
                  </a:lnTo>
                  <a:lnTo>
                    <a:pt x="1614" y="552"/>
                  </a:lnTo>
                  <a:lnTo>
                    <a:pt x="1614" y="546"/>
                  </a:lnTo>
                  <a:lnTo>
                    <a:pt x="1620" y="552"/>
                  </a:lnTo>
                  <a:lnTo>
                    <a:pt x="1626" y="552"/>
                  </a:lnTo>
                  <a:lnTo>
                    <a:pt x="1626" y="558"/>
                  </a:lnTo>
                  <a:lnTo>
                    <a:pt x="1632" y="558"/>
                  </a:lnTo>
                  <a:lnTo>
                    <a:pt x="1638" y="558"/>
                  </a:lnTo>
                  <a:lnTo>
                    <a:pt x="1644" y="558"/>
                  </a:lnTo>
                  <a:lnTo>
                    <a:pt x="1650" y="558"/>
                  </a:lnTo>
                  <a:lnTo>
                    <a:pt x="1650" y="564"/>
                  </a:lnTo>
                  <a:lnTo>
                    <a:pt x="1656" y="564"/>
                  </a:lnTo>
                  <a:lnTo>
                    <a:pt x="1662" y="564"/>
                  </a:lnTo>
                  <a:lnTo>
                    <a:pt x="1668" y="564"/>
                  </a:lnTo>
                  <a:lnTo>
                    <a:pt x="1668" y="570"/>
                  </a:lnTo>
                  <a:lnTo>
                    <a:pt x="1674" y="570"/>
                  </a:lnTo>
                  <a:lnTo>
                    <a:pt x="1680" y="570"/>
                  </a:lnTo>
                  <a:lnTo>
                    <a:pt x="1686" y="576"/>
                  </a:lnTo>
                  <a:lnTo>
                    <a:pt x="1686" y="582"/>
                  </a:lnTo>
                  <a:lnTo>
                    <a:pt x="1710" y="588"/>
                  </a:lnTo>
                  <a:lnTo>
                    <a:pt x="1710" y="594"/>
                  </a:lnTo>
                  <a:lnTo>
                    <a:pt x="1704" y="600"/>
                  </a:lnTo>
                  <a:lnTo>
                    <a:pt x="1710" y="624"/>
                  </a:lnTo>
                  <a:lnTo>
                    <a:pt x="1698" y="672"/>
                  </a:lnTo>
                  <a:lnTo>
                    <a:pt x="1704" y="678"/>
                  </a:lnTo>
                  <a:lnTo>
                    <a:pt x="1716" y="684"/>
                  </a:lnTo>
                  <a:lnTo>
                    <a:pt x="1716" y="678"/>
                  </a:lnTo>
                  <a:lnTo>
                    <a:pt x="1716" y="684"/>
                  </a:lnTo>
                  <a:lnTo>
                    <a:pt x="1728" y="684"/>
                  </a:lnTo>
                  <a:lnTo>
                    <a:pt x="1728" y="690"/>
                  </a:lnTo>
                  <a:lnTo>
                    <a:pt x="1734" y="696"/>
                  </a:lnTo>
                  <a:lnTo>
                    <a:pt x="1734" y="702"/>
                  </a:lnTo>
                  <a:lnTo>
                    <a:pt x="1740" y="708"/>
                  </a:lnTo>
                  <a:lnTo>
                    <a:pt x="1740" y="714"/>
                  </a:lnTo>
                  <a:lnTo>
                    <a:pt x="1710" y="714"/>
                  </a:lnTo>
                  <a:lnTo>
                    <a:pt x="1710" y="756"/>
                  </a:lnTo>
                  <a:lnTo>
                    <a:pt x="1704" y="762"/>
                  </a:lnTo>
                  <a:lnTo>
                    <a:pt x="1698" y="762"/>
                  </a:lnTo>
                  <a:lnTo>
                    <a:pt x="1698" y="768"/>
                  </a:lnTo>
                  <a:lnTo>
                    <a:pt x="1698" y="774"/>
                  </a:lnTo>
                  <a:lnTo>
                    <a:pt x="1692" y="780"/>
                  </a:lnTo>
                  <a:lnTo>
                    <a:pt x="1692" y="786"/>
                  </a:lnTo>
                  <a:lnTo>
                    <a:pt x="1686" y="786"/>
                  </a:lnTo>
                  <a:lnTo>
                    <a:pt x="1668" y="798"/>
                  </a:lnTo>
                  <a:lnTo>
                    <a:pt x="1662" y="810"/>
                  </a:lnTo>
                  <a:lnTo>
                    <a:pt x="1650" y="810"/>
                  </a:lnTo>
                  <a:lnTo>
                    <a:pt x="1644" y="816"/>
                  </a:lnTo>
                  <a:lnTo>
                    <a:pt x="1638" y="816"/>
                  </a:lnTo>
                  <a:lnTo>
                    <a:pt x="1626" y="852"/>
                  </a:lnTo>
                  <a:lnTo>
                    <a:pt x="1620" y="888"/>
                  </a:lnTo>
                  <a:lnTo>
                    <a:pt x="1626" y="888"/>
                  </a:lnTo>
                  <a:lnTo>
                    <a:pt x="1638" y="912"/>
                  </a:lnTo>
                  <a:lnTo>
                    <a:pt x="1644" y="918"/>
                  </a:lnTo>
                  <a:lnTo>
                    <a:pt x="1650" y="966"/>
                  </a:lnTo>
                  <a:lnTo>
                    <a:pt x="1626" y="972"/>
                  </a:lnTo>
                  <a:lnTo>
                    <a:pt x="1608" y="978"/>
                  </a:lnTo>
                  <a:lnTo>
                    <a:pt x="1614" y="984"/>
                  </a:lnTo>
                  <a:lnTo>
                    <a:pt x="1620" y="984"/>
                  </a:lnTo>
                  <a:lnTo>
                    <a:pt x="1620" y="1020"/>
                  </a:lnTo>
                  <a:lnTo>
                    <a:pt x="1614" y="1038"/>
                  </a:lnTo>
                  <a:lnTo>
                    <a:pt x="1620" y="1044"/>
                  </a:lnTo>
                  <a:lnTo>
                    <a:pt x="1626" y="1056"/>
                  </a:lnTo>
                  <a:lnTo>
                    <a:pt x="1626" y="1074"/>
                  </a:lnTo>
                  <a:lnTo>
                    <a:pt x="1620" y="1080"/>
                  </a:lnTo>
                  <a:lnTo>
                    <a:pt x="1620" y="1104"/>
                  </a:lnTo>
                  <a:lnTo>
                    <a:pt x="1620" y="1110"/>
                  </a:lnTo>
                  <a:lnTo>
                    <a:pt x="1614" y="1116"/>
                  </a:lnTo>
                  <a:lnTo>
                    <a:pt x="1608" y="1140"/>
                  </a:lnTo>
                  <a:lnTo>
                    <a:pt x="1602" y="1146"/>
                  </a:lnTo>
                  <a:lnTo>
                    <a:pt x="1602" y="1164"/>
                  </a:lnTo>
                  <a:lnTo>
                    <a:pt x="1596" y="1170"/>
                  </a:lnTo>
                  <a:lnTo>
                    <a:pt x="1590" y="1164"/>
                  </a:lnTo>
                  <a:lnTo>
                    <a:pt x="1584" y="1164"/>
                  </a:lnTo>
                  <a:lnTo>
                    <a:pt x="1578" y="1164"/>
                  </a:lnTo>
                  <a:lnTo>
                    <a:pt x="1578" y="1188"/>
                  </a:lnTo>
                  <a:lnTo>
                    <a:pt x="1584" y="1194"/>
                  </a:lnTo>
                  <a:lnTo>
                    <a:pt x="1590" y="1194"/>
                  </a:lnTo>
                  <a:lnTo>
                    <a:pt x="1590" y="1212"/>
                  </a:lnTo>
                  <a:lnTo>
                    <a:pt x="1584" y="1212"/>
                  </a:lnTo>
                  <a:lnTo>
                    <a:pt x="1584" y="1224"/>
                  </a:lnTo>
                  <a:lnTo>
                    <a:pt x="1578" y="1224"/>
                  </a:lnTo>
                  <a:lnTo>
                    <a:pt x="1578" y="1236"/>
                  </a:lnTo>
                  <a:lnTo>
                    <a:pt x="1584" y="1254"/>
                  </a:lnTo>
                  <a:lnTo>
                    <a:pt x="1584" y="1260"/>
                  </a:lnTo>
                  <a:lnTo>
                    <a:pt x="1590" y="1260"/>
                  </a:lnTo>
                  <a:lnTo>
                    <a:pt x="1590" y="1266"/>
                  </a:lnTo>
                  <a:lnTo>
                    <a:pt x="1596" y="1284"/>
                  </a:lnTo>
                  <a:lnTo>
                    <a:pt x="1602" y="1278"/>
                  </a:lnTo>
                  <a:lnTo>
                    <a:pt x="1608" y="1284"/>
                  </a:lnTo>
                  <a:lnTo>
                    <a:pt x="1632" y="1350"/>
                  </a:lnTo>
                  <a:lnTo>
                    <a:pt x="1638" y="1356"/>
                  </a:lnTo>
                  <a:lnTo>
                    <a:pt x="1644" y="1356"/>
                  </a:lnTo>
                  <a:lnTo>
                    <a:pt x="1650" y="1356"/>
                  </a:lnTo>
                  <a:lnTo>
                    <a:pt x="1656" y="1356"/>
                  </a:lnTo>
                  <a:lnTo>
                    <a:pt x="1662" y="1362"/>
                  </a:lnTo>
                  <a:lnTo>
                    <a:pt x="1668" y="1356"/>
                  </a:lnTo>
                  <a:lnTo>
                    <a:pt x="1668" y="1380"/>
                  </a:lnTo>
                  <a:lnTo>
                    <a:pt x="1662" y="1392"/>
                  </a:lnTo>
                  <a:lnTo>
                    <a:pt x="1656" y="1404"/>
                  </a:lnTo>
                  <a:lnTo>
                    <a:pt x="1656" y="1410"/>
                  </a:lnTo>
                  <a:lnTo>
                    <a:pt x="1656" y="1416"/>
                  </a:lnTo>
                  <a:lnTo>
                    <a:pt x="1650" y="1422"/>
                  </a:lnTo>
                  <a:lnTo>
                    <a:pt x="1650" y="1428"/>
                  </a:lnTo>
                  <a:lnTo>
                    <a:pt x="1644" y="1428"/>
                  </a:lnTo>
                  <a:lnTo>
                    <a:pt x="1644" y="1434"/>
                  </a:lnTo>
                  <a:lnTo>
                    <a:pt x="1638" y="1434"/>
                  </a:lnTo>
                  <a:lnTo>
                    <a:pt x="1638" y="1440"/>
                  </a:lnTo>
                  <a:lnTo>
                    <a:pt x="1632" y="1440"/>
                  </a:lnTo>
                  <a:lnTo>
                    <a:pt x="1638" y="145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8" name="Freeform 13">
              <a:extLst>
                <a:ext uri="{FF2B5EF4-FFF2-40B4-BE49-F238E27FC236}">
                  <a16:creationId xmlns:a16="http://schemas.microsoft.com/office/drawing/2014/main" id="{66308D9B-1739-4227-AAC3-BB866CD1F5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63374" y="2969626"/>
              <a:ext cx="330956" cy="357840"/>
            </a:xfrm>
            <a:custGeom>
              <a:avLst/>
              <a:gdLst>
                <a:gd name="T0" fmla="*/ 11 w 624"/>
                <a:gd name="T1" fmla="*/ 59 h 672"/>
                <a:gd name="T2" fmla="*/ 4 w 624"/>
                <a:gd name="T3" fmla="*/ 58 h 672"/>
                <a:gd name="T4" fmla="*/ 3 w 624"/>
                <a:gd name="T5" fmla="*/ 58 h 672"/>
                <a:gd name="T6" fmla="*/ 2 w 624"/>
                <a:gd name="T7" fmla="*/ 11 h 672"/>
                <a:gd name="T8" fmla="*/ 13 w 624"/>
                <a:gd name="T9" fmla="*/ 11 h 672"/>
                <a:gd name="T10" fmla="*/ 14 w 624"/>
                <a:gd name="T11" fmla="*/ 11 h 672"/>
                <a:gd name="T12" fmla="*/ 15 w 624"/>
                <a:gd name="T13" fmla="*/ 12 h 672"/>
                <a:gd name="T14" fmla="*/ 18 w 624"/>
                <a:gd name="T15" fmla="*/ 14 h 672"/>
                <a:gd name="T16" fmla="*/ 21 w 624"/>
                <a:gd name="T17" fmla="*/ 16 h 672"/>
                <a:gd name="T18" fmla="*/ 22 w 624"/>
                <a:gd name="T19" fmla="*/ 18 h 672"/>
                <a:gd name="T20" fmla="*/ 23 w 624"/>
                <a:gd name="T21" fmla="*/ 19 h 672"/>
                <a:gd name="T22" fmla="*/ 24 w 624"/>
                <a:gd name="T23" fmla="*/ 19 h 672"/>
                <a:gd name="T24" fmla="*/ 26 w 624"/>
                <a:gd name="T25" fmla="*/ 19 h 672"/>
                <a:gd name="T26" fmla="*/ 27 w 624"/>
                <a:gd name="T27" fmla="*/ 18 h 672"/>
                <a:gd name="T28" fmla="*/ 29 w 624"/>
                <a:gd name="T29" fmla="*/ 15 h 672"/>
                <a:gd name="T30" fmla="*/ 30 w 624"/>
                <a:gd name="T31" fmla="*/ 14 h 672"/>
                <a:gd name="T32" fmla="*/ 31 w 624"/>
                <a:gd name="T33" fmla="*/ 12 h 672"/>
                <a:gd name="T34" fmla="*/ 32 w 624"/>
                <a:gd name="T35" fmla="*/ 12 h 672"/>
                <a:gd name="T36" fmla="*/ 33 w 624"/>
                <a:gd name="T37" fmla="*/ 10 h 672"/>
                <a:gd name="T38" fmla="*/ 34 w 624"/>
                <a:gd name="T39" fmla="*/ 8 h 672"/>
                <a:gd name="T40" fmla="*/ 34 w 624"/>
                <a:gd name="T41" fmla="*/ 6 h 672"/>
                <a:gd name="T42" fmla="*/ 35 w 624"/>
                <a:gd name="T43" fmla="*/ 4 h 672"/>
                <a:gd name="T44" fmla="*/ 42 w 624"/>
                <a:gd name="T45" fmla="*/ 3 h 672"/>
                <a:gd name="T46" fmla="*/ 44 w 624"/>
                <a:gd name="T47" fmla="*/ 2 h 672"/>
                <a:gd name="T48" fmla="*/ 46 w 624"/>
                <a:gd name="T49" fmla="*/ 0 h 672"/>
                <a:gd name="T50" fmla="*/ 51 w 624"/>
                <a:gd name="T51" fmla="*/ 3 h 672"/>
                <a:gd name="T52" fmla="*/ 54 w 624"/>
                <a:gd name="T53" fmla="*/ 6 h 672"/>
                <a:gd name="T54" fmla="*/ 54 w 624"/>
                <a:gd name="T55" fmla="*/ 8 h 672"/>
                <a:gd name="T56" fmla="*/ 52 w 624"/>
                <a:gd name="T57" fmla="*/ 9 h 672"/>
                <a:gd name="T58" fmla="*/ 49 w 624"/>
                <a:gd name="T59" fmla="*/ 11 h 672"/>
                <a:gd name="T60" fmla="*/ 48 w 624"/>
                <a:gd name="T61" fmla="*/ 14 h 672"/>
                <a:gd name="T62" fmla="*/ 46 w 624"/>
                <a:gd name="T63" fmla="*/ 22 h 672"/>
                <a:gd name="T64" fmla="*/ 45 w 624"/>
                <a:gd name="T65" fmla="*/ 39 h 672"/>
                <a:gd name="T66" fmla="*/ 43 w 624"/>
                <a:gd name="T67" fmla="*/ 43 h 672"/>
                <a:gd name="T68" fmla="*/ 39 w 624"/>
                <a:gd name="T69" fmla="*/ 50 h 672"/>
                <a:gd name="T70" fmla="*/ 36 w 624"/>
                <a:gd name="T71" fmla="*/ 53 h 672"/>
                <a:gd name="T72" fmla="*/ 32 w 624"/>
                <a:gd name="T73" fmla="*/ 56 h 672"/>
                <a:gd name="T74" fmla="*/ 30 w 624"/>
                <a:gd name="T75" fmla="*/ 58 h 672"/>
                <a:gd name="T76" fmla="*/ 20 w 624"/>
                <a:gd name="T77" fmla="*/ 59 h 672"/>
                <a:gd name="T78" fmla="*/ 15 w 624"/>
                <a:gd name="T79" fmla="*/ 59 h 67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24"/>
                <a:gd name="T121" fmla="*/ 0 h 672"/>
                <a:gd name="T122" fmla="*/ 624 w 624"/>
                <a:gd name="T123" fmla="*/ 672 h 67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24" h="672">
                  <a:moveTo>
                    <a:pt x="168" y="672"/>
                  </a:moveTo>
                  <a:lnTo>
                    <a:pt x="132" y="672"/>
                  </a:lnTo>
                  <a:lnTo>
                    <a:pt x="72" y="666"/>
                  </a:lnTo>
                  <a:lnTo>
                    <a:pt x="42" y="666"/>
                  </a:lnTo>
                  <a:lnTo>
                    <a:pt x="36" y="666"/>
                  </a:lnTo>
                  <a:lnTo>
                    <a:pt x="30" y="660"/>
                  </a:lnTo>
                  <a:lnTo>
                    <a:pt x="0" y="660"/>
                  </a:lnTo>
                  <a:lnTo>
                    <a:pt x="24" y="120"/>
                  </a:lnTo>
                  <a:lnTo>
                    <a:pt x="60" y="120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62" y="120"/>
                  </a:lnTo>
                  <a:lnTo>
                    <a:pt x="168" y="120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10" y="156"/>
                  </a:lnTo>
                  <a:lnTo>
                    <a:pt x="222" y="174"/>
                  </a:lnTo>
                  <a:lnTo>
                    <a:pt x="240" y="186"/>
                  </a:lnTo>
                  <a:lnTo>
                    <a:pt x="252" y="198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216"/>
                  </a:lnTo>
                  <a:lnTo>
                    <a:pt x="270" y="216"/>
                  </a:lnTo>
                  <a:lnTo>
                    <a:pt x="282" y="222"/>
                  </a:lnTo>
                  <a:lnTo>
                    <a:pt x="288" y="222"/>
                  </a:lnTo>
                  <a:lnTo>
                    <a:pt x="294" y="216"/>
                  </a:lnTo>
                  <a:lnTo>
                    <a:pt x="294" y="210"/>
                  </a:lnTo>
                  <a:lnTo>
                    <a:pt x="312" y="204"/>
                  </a:lnTo>
                  <a:lnTo>
                    <a:pt x="330" y="186"/>
                  </a:lnTo>
                  <a:lnTo>
                    <a:pt x="336" y="174"/>
                  </a:lnTo>
                  <a:lnTo>
                    <a:pt x="342" y="162"/>
                  </a:lnTo>
                  <a:lnTo>
                    <a:pt x="342" y="156"/>
                  </a:lnTo>
                  <a:lnTo>
                    <a:pt x="348" y="150"/>
                  </a:lnTo>
                  <a:lnTo>
                    <a:pt x="354" y="144"/>
                  </a:lnTo>
                  <a:lnTo>
                    <a:pt x="360" y="138"/>
                  </a:lnTo>
                  <a:lnTo>
                    <a:pt x="366" y="132"/>
                  </a:lnTo>
                  <a:lnTo>
                    <a:pt x="372" y="114"/>
                  </a:lnTo>
                  <a:lnTo>
                    <a:pt x="378" y="114"/>
                  </a:lnTo>
                  <a:lnTo>
                    <a:pt x="378" y="96"/>
                  </a:lnTo>
                  <a:lnTo>
                    <a:pt x="390" y="96"/>
                  </a:lnTo>
                  <a:lnTo>
                    <a:pt x="396" y="84"/>
                  </a:lnTo>
                  <a:lnTo>
                    <a:pt x="396" y="72"/>
                  </a:lnTo>
                  <a:lnTo>
                    <a:pt x="396" y="54"/>
                  </a:lnTo>
                  <a:lnTo>
                    <a:pt x="408" y="42"/>
                  </a:lnTo>
                  <a:lnTo>
                    <a:pt x="468" y="42"/>
                  </a:lnTo>
                  <a:lnTo>
                    <a:pt x="486" y="36"/>
                  </a:lnTo>
                  <a:lnTo>
                    <a:pt x="492" y="24"/>
                  </a:lnTo>
                  <a:lnTo>
                    <a:pt x="504" y="24"/>
                  </a:lnTo>
                  <a:lnTo>
                    <a:pt x="516" y="6"/>
                  </a:lnTo>
                  <a:lnTo>
                    <a:pt x="528" y="0"/>
                  </a:lnTo>
                  <a:lnTo>
                    <a:pt x="558" y="12"/>
                  </a:lnTo>
                  <a:lnTo>
                    <a:pt x="588" y="36"/>
                  </a:lnTo>
                  <a:lnTo>
                    <a:pt x="600" y="66"/>
                  </a:lnTo>
                  <a:lnTo>
                    <a:pt x="624" y="66"/>
                  </a:lnTo>
                  <a:lnTo>
                    <a:pt x="624" y="90"/>
                  </a:lnTo>
                  <a:lnTo>
                    <a:pt x="618" y="90"/>
                  </a:lnTo>
                  <a:lnTo>
                    <a:pt x="618" y="96"/>
                  </a:lnTo>
                  <a:lnTo>
                    <a:pt x="600" y="102"/>
                  </a:lnTo>
                  <a:lnTo>
                    <a:pt x="588" y="108"/>
                  </a:lnTo>
                  <a:lnTo>
                    <a:pt x="570" y="120"/>
                  </a:lnTo>
                  <a:lnTo>
                    <a:pt x="564" y="138"/>
                  </a:lnTo>
                  <a:lnTo>
                    <a:pt x="558" y="162"/>
                  </a:lnTo>
                  <a:lnTo>
                    <a:pt x="540" y="210"/>
                  </a:lnTo>
                  <a:lnTo>
                    <a:pt x="528" y="252"/>
                  </a:lnTo>
                  <a:lnTo>
                    <a:pt x="528" y="402"/>
                  </a:lnTo>
                  <a:lnTo>
                    <a:pt x="522" y="444"/>
                  </a:lnTo>
                  <a:lnTo>
                    <a:pt x="510" y="468"/>
                  </a:lnTo>
                  <a:lnTo>
                    <a:pt x="498" y="498"/>
                  </a:lnTo>
                  <a:lnTo>
                    <a:pt x="474" y="534"/>
                  </a:lnTo>
                  <a:lnTo>
                    <a:pt x="456" y="570"/>
                  </a:lnTo>
                  <a:lnTo>
                    <a:pt x="444" y="576"/>
                  </a:lnTo>
                  <a:lnTo>
                    <a:pt x="420" y="606"/>
                  </a:lnTo>
                  <a:lnTo>
                    <a:pt x="390" y="624"/>
                  </a:lnTo>
                  <a:lnTo>
                    <a:pt x="372" y="642"/>
                  </a:lnTo>
                  <a:lnTo>
                    <a:pt x="366" y="654"/>
                  </a:lnTo>
                  <a:lnTo>
                    <a:pt x="342" y="660"/>
                  </a:lnTo>
                  <a:lnTo>
                    <a:pt x="300" y="666"/>
                  </a:lnTo>
                  <a:lnTo>
                    <a:pt x="234" y="672"/>
                  </a:lnTo>
                  <a:lnTo>
                    <a:pt x="192" y="672"/>
                  </a:lnTo>
                  <a:lnTo>
                    <a:pt x="168" y="67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9" name="Freeform 14">
              <a:extLst>
                <a:ext uri="{FF2B5EF4-FFF2-40B4-BE49-F238E27FC236}">
                  <a16:creationId xmlns:a16="http://schemas.microsoft.com/office/drawing/2014/main" id="{2EA1E999-9CDF-4391-8BC9-7DE71AF9C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0460" y="2983045"/>
              <a:ext cx="905658" cy="561362"/>
            </a:xfrm>
            <a:custGeom>
              <a:avLst/>
              <a:gdLst>
                <a:gd name="T0" fmla="*/ 31 w 1704"/>
                <a:gd name="T1" fmla="*/ 78 h 1056"/>
                <a:gd name="T2" fmla="*/ 23 w 1704"/>
                <a:gd name="T3" fmla="*/ 78 h 1056"/>
                <a:gd name="T4" fmla="*/ 11 w 1704"/>
                <a:gd name="T5" fmla="*/ 79 h 1056"/>
                <a:gd name="T6" fmla="*/ 1 w 1704"/>
                <a:gd name="T7" fmla="*/ 81 h 1056"/>
                <a:gd name="T8" fmla="*/ 0 w 1704"/>
                <a:gd name="T9" fmla="*/ 62 h 1056"/>
                <a:gd name="T10" fmla="*/ 9 w 1704"/>
                <a:gd name="T11" fmla="*/ 56 h 1056"/>
                <a:gd name="T12" fmla="*/ 27 w 1704"/>
                <a:gd name="T13" fmla="*/ 48 h 1056"/>
                <a:gd name="T14" fmla="*/ 35 w 1704"/>
                <a:gd name="T15" fmla="*/ 20 h 1056"/>
                <a:gd name="T16" fmla="*/ 43 w 1704"/>
                <a:gd name="T17" fmla="*/ 6 h 1056"/>
                <a:gd name="T18" fmla="*/ 47 w 1704"/>
                <a:gd name="T19" fmla="*/ 7 h 1056"/>
                <a:gd name="T20" fmla="*/ 52 w 1704"/>
                <a:gd name="T21" fmla="*/ 0 h 1056"/>
                <a:gd name="T22" fmla="*/ 59 w 1704"/>
                <a:gd name="T23" fmla="*/ 5 h 1056"/>
                <a:gd name="T24" fmla="*/ 63 w 1704"/>
                <a:gd name="T25" fmla="*/ 12 h 1056"/>
                <a:gd name="T26" fmla="*/ 62 w 1704"/>
                <a:gd name="T27" fmla="*/ 15 h 1056"/>
                <a:gd name="T28" fmla="*/ 62 w 1704"/>
                <a:gd name="T29" fmla="*/ 18 h 1056"/>
                <a:gd name="T30" fmla="*/ 70 w 1704"/>
                <a:gd name="T31" fmla="*/ 18 h 1056"/>
                <a:gd name="T32" fmla="*/ 71 w 1704"/>
                <a:gd name="T33" fmla="*/ 14 h 1056"/>
                <a:gd name="T34" fmla="*/ 72 w 1704"/>
                <a:gd name="T35" fmla="*/ 12 h 1056"/>
                <a:gd name="T36" fmla="*/ 78 w 1704"/>
                <a:gd name="T37" fmla="*/ 14 h 1056"/>
                <a:gd name="T38" fmla="*/ 85 w 1704"/>
                <a:gd name="T39" fmla="*/ 21 h 1056"/>
                <a:gd name="T40" fmla="*/ 91 w 1704"/>
                <a:gd name="T41" fmla="*/ 15 h 1056"/>
                <a:gd name="T42" fmla="*/ 93 w 1704"/>
                <a:gd name="T43" fmla="*/ 10 h 1056"/>
                <a:gd name="T44" fmla="*/ 101 w 1704"/>
                <a:gd name="T45" fmla="*/ 14 h 1056"/>
                <a:gd name="T46" fmla="*/ 103 w 1704"/>
                <a:gd name="T47" fmla="*/ 19 h 1056"/>
                <a:gd name="T48" fmla="*/ 115 w 1704"/>
                <a:gd name="T49" fmla="*/ 20 h 1056"/>
                <a:gd name="T50" fmla="*/ 118 w 1704"/>
                <a:gd name="T51" fmla="*/ 23 h 1056"/>
                <a:gd name="T52" fmla="*/ 117 w 1704"/>
                <a:gd name="T53" fmla="*/ 27 h 1056"/>
                <a:gd name="T54" fmla="*/ 111 w 1704"/>
                <a:gd name="T55" fmla="*/ 33 h 1056"/>
                <a:gd name="T56" fmla="*/ 108 w 1704"/>
                <a:gd name="T57" fmla="*/ 36 h 1056"/>
                <a:gd name="T58" fmla="*/ 109 w 1704"/>
                <a:gd name="T59" fmla="*/ 40 h 1056"/>
                <a:gd name="T60" fmla="*/ 111 w 1704"/>
                <a:gd name="T61" fmla="*/ 43 h 1056"/>
                <a:gd name="T62" fmla="*/ 113 w 1704"/>
                <a:gd name="T63" fmla="*/ 50 h 1056"/>
                <a:gd name="T64" fmla="*/ 121 w 1704"/>
                <a:gd name="T65" fmla="*/ 55 h 1056"/>
                <a:gd name="T66" fmla="*/ 132 w 1704"/>
                <a:gd name="T67" fmla="*/ 52 h 1056"/>
                <a:gd name="T68" fmla="*/ 148 w 1704"/>
                <a:gd name="T69" fmla="*/ 58 h 1056"/>
                <a:gd name="T70" fmla="*/ 148 w 1704"/>
                <a:gd name="T71" fmla="*/ 61 h 1056"/>
                <a:gd name="T72" fmla="*/ 148 w 1704"/>
                <a:gd name="T73" fmla="*/ 64 h 1056"/>
                <a:gd name="T74" fmla="*/ 135 w 1704"/>
                <a:gd name="T75" fmla="*/ 61 h 1056"/>
                <a:gd name="T76" fmla="*/ 135 w 1704"/>
                <a:gd name="T77" fmla="*/ 66 h 1056"/>
                <a:gd name="T78" fmla="*/ 137 w 1704"/>
                <a:gd name="T79" fmla="*/ 71 h 1056"/>
                <a:gd name="T80" fmla="*/ 136 w 1704"/>
                <a:gd name="T81" fmla="*/ 79 h 1056"/>
                <a:gd name="T82" fmla="*/ 126 w 1704"/>
                <a:gd name="T83" fmla="*/ 84 h 1056"/>
                <a:gd name="T84" fmla="*/ 121 w 1704"/>
                <a:gd name="T85" fmla="*/ 79 h 1056"/>
                <a:gd name="T86" fmla="*/ 117 w 1704"/>
                <a:gd name="T87" fmla="*/ 75 h 1056"/>
                <a:gd name="T88" fmla="*/ 98 w 1704"/>
                <a:gd name="T89" fmla="*/ 74 h 1056"/>
                <a:gd name="T90" fmla="*/ 81 w 1704"/>
                <a:gd name="T91" fmla="*/ 75 h 1056"/>
                <a:gd name="T92" fmla="*/ 83 w 1704"/>
                <a:gd name="T93" fmla="*/ 88 h 1056"/>
                <a:gd name="T94" fmla="*/ 82 w 1704"/>
                <a:gd name="T95" fmla="*/ 91 h 1056"/>
                <a:gd name="T96" fmla="*/ 77 w 1704"/>
                <a:gd name="T97" fmla="*/ 90 h 1056"/>
                <a:gd name="T98" fmla="*/ 73 w 1704"/>
                <a:gd name="T99" fmla="*/ 86 h 1056"/>
                <a:gd name="T100" fmla="*/ 68 w 1704"/>
                <a:gd name="T101" fmla="*/ 85 h 1056"/>
                <a:gd name="T102" fmla="*/ 64 w 1704"/>
                <a:gd name="T103" fmla="*/ 83 h 1056"/>
                <a:gd name="T104" fmla="*/ 57 w 1704"/>
                <a:gd name="T105" fmla="*/ 81 h 1056"/>
                <a:gd name="T106" fmla="*/ 52 w 1704"/>
                <a:gd name="T107" fmla="*/ 80 h 1056"/>
                <a:gd name="T108" fmla="*/ 50 w 1704"/>
                <a:gd name="T109" fmla="*/ 80 h 1056"/>
                <a:gd name="T110" fmla="*/ 46 w 1704"/>
                <a:gd name="T111" fmla="*/ 79 h 1056"/>
                <a:gd name="T112" fmla="*/ 41 w 1704"/>
                <a:gd name="T113" fmla="*/ 78 h 10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04"/>
                <a:gd name="T172" fmla="*/ 0 h 1056"/>
                <a:gd name="T173" fmla="*/ 1704 w 1704"/>
                <a:gd name="T174" fmla="*/ 1056 h 10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04" h="1056">
                  <a:moveTo>
                    <a:pt x="450" y="888"/>
                  </a:moveTo>
                  <a:lnTo>
                    <a:pt x="420" y="888"/>
                  </a:lnTo>
                  <a:lnTo>
                    <a:pt x="414" y="888"/>
                  </a:lnTo>
                  <a:lnTo>
                    <a:pt x="396" y="888"/>
                  </a:lnTo>
                  <a:lnTo>
                    <a:pt x="372" y="888"/>
                  </a:lnTo>
                  <a:lnTo>
                    <a:pt x="366" y="888"/>
                  </a:lnTo>
                  <a:lnTo>
                    <a:pt x="360" y="888"/>
                  </a:lnTo>
                  <a:lnTo>
                    <a:pt x="348" y="888"/>
                  </a:lnTo>
                  <a:lnTo>
                    <a:pt x="330" y="894"/>
                  </a:lnTo>
                  <a:lnTo>
                    <a:pt x="324" y="894"/>
                  </a:lnTo>
                  <a:lnTo>
                    <a:pt x="312" y="888"/>
                  </a:lnTo>
                  <a:lnTo>
                    <a:pt x="300" y="888"/>
                  </a:lnTo>
                  <a:lnTo>
                    <a:pt x="282" y="888"/>
                  </a:lnTo>
                  <a:lnTo>
                    <a:pt x="270" y="888"/>
                  </a:lnTo>
                  <a:lnTo>
                    <a:pt x="240" y="882"/>
                  </a:lnTo>
                  <a:lnTo>
                    <a:pt x="222" y="882"/>
                  </a:lnTo>
                  <a:lnTo>
                    <a:pt x="198" y="882"/>
                  </a:lnTo>
                  <a:lnTo>
                    <a:pt x="174" y="894"/>
                  </a:lnTo>
                  <a:lnTo>
                    <a:pt x="162" y="900"/>
                  </a:lnTo>
                  <a:lnTo>
                    <a:pt x="144" y="906"/>
                  </a:lnTo>
                  <a:lnTo>
                    <a:pt x="126" y="912"/>
                  </a:lnTo>
                  <a:lnTo>
                    <a:pt x="102" y="924"/>
                  </a:lnTo>
                  <a:lnTo>
                    <a:pt x="78" y="930"/>
                  </a:lnTo>
                  <a:lnTo>
                    <a:pt x="72" y="936"/>
                  </a:lnTo>
                  <a:lnTo>
                    <a:pt x="30" y="954"/>
                  </a:lnTo>
                  <a:lnTo>
                    <a:pt x="12" y="966"/>
                  </a:lnTo>
                  <a:lnTo>
                    <a:pt x="12" y="954"/>
                  </a:lnTo>
                  <a:lnTo>
                    <a:pt x="12" y="930"/>
                  </a:lnTo>
                  <a:lnTo>
                    <a:pt x="12" y="894"/>
                  </a:lnTo>
                  <a:lnTo>
                    <a:pt x="30" y="828"/>
                  </a:lnTo>
                  <a:lnTo>
                    <a:pt x="36" y="798"/>
                  </a:lnTo>
                  <a:lnTo>
                    <a:pt x="18" y="774"/>
                  </a:lnTo>
                  <a:lnTo>
                    <a:pt x="18" y="756"/>
                  </a:lnTo>
                  <a:lnTo>
                    <a:pt x="6" y="738"/>
                  </a:lnTo>
                  <a:lnTo>
                    <a:pt x="0" y="714"/>
                  </a:lnTo>
                  <a:lnTo>
                    <a:pt x="12" y="678"/>
                  </a:lnTo>
                  <a:lnTo>
                    <a:pt x="18" y="678"/>
                  </a:lnTo>
                  <a:lnTo>
                    <a:pt x="24" y="672"/>
                  </a:lnTo>
                  <a:lnTo>
                    <a:pt x="30" y="666"/>
                  </a:lnTo>
                  <a:lnTo>
                    <a:pt x="42" y="648"/>
                  </a:lnTo>
                  <a:lnTo>
                    <a:pt x="66" y="648"/>
                  </a:lnTo>
                  <a:lnTo>
                    <a:pt x="108" y="648"/>
                  </a:lnTo>
                  <a:lnTo>
                    <a:pt x="174" y="642"/>
                  </a:lnTo>
                  <a:lnTo>
                    <a:pt x="216" y="636"/>
                  </a:lnTo>
                  <a:lnTo>
                    <a:pt x="240" y="630"/>
                  </a:lnTo>
                  <a:lnTo>
                    <a:pt x="246" y="618"/>
                  </a:lnTo>
                  <a:lnTo>
                    <a:pt x="264" y="600"/>
                  </a:lnTo>
                  <a:lnTo>
                    <a:pt x="294" y="582"/>
                  </a:lnTo>
                  <a:lnTo>
                    <a:pt x="318" y="552"/>
                  </a:lnTo>
                  <a:lnTo>
                    <a:pt x="330" y="546"/>
                  </a:lnTo>
                  <a:lnTo>
                    <a:pt x="348" y="510"/>
                  </a:lnTo>
                  <a:lnTo>
                    <a:pt x="372" y="474"/>
                  </a:lnTo>
                  <a:lnTo>
                    <a:pt x="384" y="444"/>
                  </a:lnTo>
                  <a:lnTo>
                    <a:pt x="396" y="420"/>
                  </a:lnTo>
                  <a:lnTo>
                    <a:pt x="402" y="378"/>
                  </a:lnTo>
                  <a:lnTo>
                    <a:pt x="402" y="228"/>
                  </a:lnTo>
                  <a:lnTo>
                    <a:pt x="414" y="186"/>
                  </a:lnTo>
                  <a:lnTo>
                    <a:pt x="432" y="138"/>
                  </a:lnTo>
                  <a:lnTo>
                    <a:pt x="438" y="114"/>
                  </a:lnTo>
                  <a:lnTo>
                    <a:pt x="444" y="96"/>
                  </a:lnTo>
                  <a:lnTo>
                    <a:pt x="462" y="84"/>
                  </a:lnTo>
                  <a:lnTo>
                    <a:pt x="474" y="78"/>
                  </a:lnTo>
                  <a:lnTo>
                    <a:pt x="492" y="72"/>
                  </a:lnTo>
                  <a:lnTo>
                    <a:pt x="492" y="66"/>
                  </a:lnTo>
                  <a:lnTo>
                    <a:pt x="498" y="66"/>
                  </a:lnTo>
                  <a:lnTo>
                    <a:pt x="510" y="66"/>
                  </a:lnTo>
                  <a:lnTo>
                    <a:pt x="510" y="72"/>
                  </a:lnTo>
                  <a:lnTo>
                    <a:pt x="516" y="72"/>
                  </a:lnTo>
                  <a:lnTo>
                    <a:pt x="522" y="78"/>
                  </a:lnTo>
                  <a:lnTo>
                    <a:pt x="546" y="78"/>
                  </a:lnTo>
                  <a:lnTo>
                    <a:pt x="552" y="60"/>
                  </a:lnTo>
                  <a:lnTo>
                    <a:pt x="570" y="42"/>
                  </a:lnTo>
                  <a:lnTo>
                    <a:pt x="576" y="24"/>
                  </a:lnTo>
                  <a:lnTo>
                    <a:pt x="588" y="18"/>
                  </a:lnTo>
                  <a:lnTo>
                    <a:pt x="588" y="12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624" y="0"/>
                  </a:lnTo>
                  <a:lnTo>
                    <a:pt x="636" y="6"/>
                  </a:lnTo>
                  <a:lnTo>
                    <a:pt x="648" y="24"/>
                  </a:lnTo>
                  <a:lnTo>
                    <a:pt x="654" y="48"/>
                  </a:lnTo>
                  <a:lnTo>
                    <a:pt x="672" y="60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0" y="72"/>
                  </a:lnTo>
                  <a:lnTo>
                    <a:pt x="690" y="78"/>
                  </a:lnTo>
                  <a:lnTo>
                    <a:pt x="696" y="90"/>
                  </a:lnTo>
                  <a:lnTo>
                    <a:pt x="714" y="114"/>
                  </a:lnTo>
                  <a:lnTo>
                    <a:pt x="714" y="120"/>
                  </a:lnTo>
                  <a:lnTo>
                    <a:pt x="720" y="132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20" y="150"/>
                  </a:lnTo>
                  <a:lnTo>
                    <a:pt x="714" y="150"/>
                  </a:lnTo>
                  <a:lnTo>
                    <a:pt x="714" y="156"/>
                  </a:lnTo>
                  <a:lnTo>
                    <a:pt x="714" y="162"/>
                  </a:lnTo>
                  <a:lnTo>
                    <a:pt x="708" y="162"/>
                  </a:lnTo>
                  <a:lnTo>
                    <a:pt x="708" y="168"/>
                  </a:lnTo>
                  <a:lnTo>
                    <a:pt x="702" y="168"/>
                  </a:lnTo>
                  <a:lnTo>
                    <a:pt x="702" y="174"/>
                  </a:lnTo>
                  <a:lnTo>
                    <a:pt x="702" y="180"/>
                  </a:lnTo>
                  <a:lnTo>
                    <a:pt x="708" y="180"/>
                  </a:lnTo>
                  <a:lnTo>
                    <a:pt x="708" y="186"/>
                  </a:lnTo>
                  <a:lnTo>
                    <a:pt x="708" y="192"/>
                  </a:lnTo>
                  <a:lnTo>
                    <a:pt x="714" y="204"/>
                  </a:lnTo>
                  <a:lnTo>
                    <a:pt x="726" y="216"/>
                  </a:lnTo>
                  <a:lnTo>
                    <a:pt x="738" y="216"/>
                  </a:lnTo>
                  <a:lnTo>
                    <a:pt x="768" y="222"/>
                  </a:lnTo>
                  <a:lnTo>
                    <a:pt x="780" y="216"/>
                  </a:lnTo>
                  <a:lnTo>
                    <a:pt x="792" y="204"/>
                  </a:lnTo>
                  <a:lnTo>
                    <a:pt x="798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6" y="192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6" y="174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22" y="156"/>
                  </a:lnTo>
                  <a:lnTo>
                    <a:pt x="822" y="150"/>
                  </a:lnTo>
                  <a:lnTo>
                    <a:pt x="828" y="144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8" y="138"/>
                  </a:lnTo>
                  <a:lnTo>
                    <a:pt x="834" y="132"/>
                  </a:lnTo>
                  <a:lnTo>
                    <a:pt x="840" y="132"/>
                  </a:lnTo>
                  <a:lnTo>
                    <a:pt x="864" y="126"/>
                  </a:lnTo>
                  <a:lnTo>
                    <a:pt x="906" y="144"/>
                  </a:lnTo>
                  <a:lnTo>
                    <a:pt x="906" y="150"/>
                  </a:lnTo>
                  <a:lnTo>
                    <a:pt x="906" y="156"/>
                  </a:lnTo>
                  <a:lnTo>
                    <a:pt x="900" y="162"/>
                  </a:lnTo>
                  <a:lnTo>
                    <a:pt x="924" y="168"/>
                  </a:lnTo>
                  <a:lnTo>
                    <a:pt x="942" y="192"/>
                  </a:lnTo>
                  <a:lnTo>
                    <a:pt x="972" y="210"/>
                  </a:lnTo>
                  <a:lnTo>
                    <a:pt x="972" y="216"/>
                  </a:lnTo>
                  <a:lnTo>
                    <a:pt x="972" y="228"/>
                  </a:lnTo>
                  <a:lnTo>
                    <a:pt x="978" y="234"/>
                  </a:lnTo>
                  <a:lnTo>
                    <a:pt x="978" y="246"/>
                  </a:lnTo>
                  <a:lnTo>
                    <a:pt x="984" y="252"/>
                  </a:lnTo>
                  <a:lnTo>
                    <a:pt x="1014" y="252"/>
                  </a:lnTo>
                  <a:lnTo>
                    <a:pt x="1020" y="228"/>
                  </a:lnTo>
                  <a:lnTo>
                    <a:pt x="1026" y="198"/>
                  </a:lnTo>
                  <a:lnTo>
                    <a:pt x="1050" y="186"/>
                  </a:lnTo>
                  <a:lnTo>
                    <a:pt x="1056" y="180"/>
                  </a:lnTo>
                  <a:lnTo>
                    <a:pt x="1050" y="174"/>
                  </a:lnTo>
                  <a:lnTo>
                    <a:pt x="1050" y="168"/>
                  </a:lnTo>
                  <a:lnTo>
                    <a:pt x="1050" y="162"/>
                  </a:lnTo>
                  <a:lnTo>
                    <a:pt x="1056" y="162"/>
                  </a:lnTo>
                  <a:lnTo>
                    <a:pt x="1062" y="162"/>
                  </a:lnTo>
                  <a:lnTo>
                    <a:pt x="1074" y="162"/>
                  </a:lnTo>
                  <a:lnTo>
                    <a:pt x="1074" y="144"/>
                  </a:lnTo>
                  <a:lnTo>
                    <a:pt x="1074" y="120"/>
                  </a:lnTo>
                  <a:lnTo>
                    <a:pt x="1092" y="120"/>
                  </a:lnTo>
                  <a:lnTo>
                    <a:pt x="1098" y="126"/>
                  </a:lnTo>
                  <a:lnTo>
                    <a:pt x="1134" y="132"/>
                  </a:lnTo>
                  <a:lnTo>
                    <a:pt x="1146" y="132"/>
                  </a:lnTo>
                  <a:lnTo>
                    <a:pt x="1158" y="150"/>
                  </a:lnTo>
                  <a:lnTo>
                    <a:pt x="1158" y="156"/>
                  </a:lnTo>
                  <a:lnTo>
                    <a:pt x="1158" y="162"/>
                  </a:lnTo>
                  <a:lnTo>
                    <a:pt x="1158" y="180"/>
                  </a:lnTo>
                  <a:lnTo>
                    <a:pt x="1158" y="186"/>
                  </a:lnTo>
                  <a:lnTo>
                    <a:pt x="1164" y="192"/>
                  </a:lnTo>
                  <a:lnTo>
                    <a:pt x="1176" y="198"/>
                  </a:lnTo>
                  <a:lnTo>
                    <a:pt x="1182" y="198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8"/>
                  </a:lnTo>
                  <a:lnTo>
                    <a:pt x="1188" y="234"/>
                  </a:lnTo>
                  <a:lnTo>
                    <a:pt x="1212" y="234"/>
                  </a:lnTo>
                  <a:lnTo>
                    <a:pt x="1242" y="234"/>
                  </a:lnTo>
                  <a:lnTo>
                    <a:pt x="1248" y="234"/>
                  </a:lnTo>
                  <a:lnTo>
                    <a:pt x="1278" y="240"/>
                  </a:lnTo>
                  <a:lnTo>
                    <a:pt x="1320" y="234"/>
                  </a:lnTo>
                  <a:lnTo>
                    <a:pt x="1332" y="228"/>
                  </a:lnTo>
                  <a:lnTo>
                    <a:pt x="1344" y="228"/>
                  </a:lnTo>
                  <a:lnTo>
                    <a:pt x="1350" y="234"/>
                  </a:lnTo>
                  <a:lnTo>
                    <a:pt x="1350" y="240"/>
                  </a:lnTo>
                  <a:lnTo>
                    <a:pt x="1356" y="246"/>
                  </a:lnTo>
                  <a:lnTo>
                    <a:pt x="1350" y="252"/>
                  </a:lnTo>
                  <a:lnTo>
                    <a:pt x="1356" y="264"/>
                  </a:lnTo>
                  <a:lnTo>
                    <a:pt x="1356" y="270"/>
                  </a:lnTo>
                  <a:lnTo>
                    <a:pt x="1356" y="276"/>
                  </a:lnTo>
                  <a:lnTo>
                    <a:pt x="1356" y="282"/>
                  </a:lnTo>
                  <a:lnTo>
                    <a:pt x="1356" y="288"/>
                  </a:lnTo>
                  <a:lnTo>
                    <a:pt x="1350" y="294"/>
                  </a:lnTo>
                  <a:lnTo>
                    <a:pt x="1344" y="300"/>
                  </a:lnTo>
                  <a:lnTo>
                    <a:pt x="1344" y="306"/>
                  </a:lnTo>
                  <a:lnTo>
                    <a:pt x="1338" y="312"/>
                  </a:lnTo>
                  <a:lnTo>
                    <a:pt x="1326" y="342"/>
                  </a:lnTo>
                  <a:lnTo>
                    <a:pt x="1320" y="348"/>
                  </a:lnTo>
                  <a:lnTo>
                    <a:pt x="1314" y="354"/>
                  </a:lnTo>
                  <a:lnTo>
                    <a:pt x="1290" y="354"/>
                  </a:lnTo>
                  <a:lnTo>
                    <a:pt x="1284" y="360"/>
                  </a:lnTo>
                  <a:lnTo>
                    <a:pt x="1278" y="378"/>
                  </a:lnTo>
                  <a:lnTo>
                    <a:pt x="1278" y="384"/>
                  </a:lnTo>
                  <a:lnTo>
                    <a:pt x="1272" y="390"/>
                  </a:lnTo>
                  <a:lnTo>
                    <a:pt x="1266" y="396"/>
                  </a:lnTo>
                  <a:lnTo>
                    <a:pt x="1260" y="396"/>
                  </a:lnTo>
                  <a:lnTo>
                    <a:pt x="1248" y="402"/>
                  </a:lnTo>
                  <a:lnTo>
                    <a:pt x="1242" y="408"/>
                  </a:lnTo>
                  <a:lnTo>
                    <a:pt x="1242" y="414"/>
                  </a:lnTo>
                  <a:lnTo>
                    <a:pt x="1242" y="420"/>
                  </a:lnTo>
                  <a:lnTo>
                    <a:pt x="1236" y="432"/>
                  </a:lnTo>
                  <a:lnTo>
                    <a:pt x="1242" y="432"/>
                  </a:lnTo>
                  <a:lnTo>
                    <a:pt x="1242" y="444"/>
                  </a:lnTo>
                  <a:lnTo>
                    <a:pt x="1242" y="456"/>
                  </a:lnTo>
                  <a:lnTo>
                    <a:pt x="1248" y="456"/>
                  </a:lnTo>
                  <a:lnTo>
                    <a:pt x="1254" y="462"/>
                  </a:lnTo>
                  <a:lnTo>
                    <a:pt x="1248" y="468"/>
                  </a:lnTo>
                  <a:lnTo>
                    <a:pt x="1254" y="468"/>
                  </a:lnTo>
                  <a:lnTo>
                    <a:pt x="1266" y="474"/>
                  </a:lnTo>
                  <a:lnTo>
                    <a:pt x="1266" y="480"/>
                  </a:lnTo>
                  <a:lnTo>
                    <a:pt x="1266" y="486"/>
                  </a:lnTo>
                  <a:lnTo>
                    <a:pt x="1272" y="486"/>
                  </a:lnTo>
                  <a:lnTo>
                    <a:pt x="1272" y="492"/>
                  </a:lnTo>
                  <a:lnTo>
                    <a:pt x="1290" y="510"/>
                  </a:lnTo>
                  <a:lnTo>
                    <a:pt x="1296" y="516"/>
                  </a:lnTo>
                  <a:lnTo>
                    <a:pt x="1302" y="540"/>
                  </a:lnTo>
                  <a:lnTo>
                    <a:pt x="1302" y="546"/>
                  </a:lnTo>
                  <a:lnTo>
                    <a:pt x="1302" y="558"/>
                  </a:lnTo>
                  <a:lnTo>
                    <a:pt x="1302" y="570"/>
                  </a:lnTo>
                  <a:lnTo>
                    <a:pt x="1302" y="576"/>
                  </a:lnTo>
                  <a:lnTo>
                    <a:pt x="1344" y="570"/>
                  </a:lnTo>
                  <a:lnTo>
                    <a:pt x="1350" y="582"/>
                  </a:lnTo>
                  <a:lnTo>
                    <a:pt x="1368" y="594"/>
                  </a:lnTo>
                  <a:lnTo>
                    <a:pt x="1374" y="600"/>
                  </a:lnTo>
                  <a:lnTo>
                    <a:pt x="1380" y="600"/>
                  </a:lnTo>
                  <a:lnTo>
                    <a:pt x="1380" y="618"/>
                  </a:lnTo>
                  <a:lnTo>
                    <a:pt x="1386" y="624"/>
                  </a:lnTo>
                  <a:lnTo>
                    <a:pt x="1404" y="624"/>
                  </a:lnTo>
                  <a:lnTo>
                    <a:pt x="1410" y="612"/>
                  </a:lnTo>
                  <a:lnTo>
                    <a:pt x="1428" y="606"/>
                  </a:lnTo>
                  <a:lnTo>
                    <a:pt x="1488" y="606"/>
                  </a:lnTo>
                  <a:lnTo>
                    <a:pt x="1506" y="606"/>
                  </a:lnTo>
                  <a:lnTo>
                    <a:pt x="1512" y="600"/>
                  </a:lnTo>
                  <a:lnTo>
                    <a:pt x="1524" y="594"/>
                  </a:lnTo>
                  <a:lnTo>
                    <a:pt x="1554" y="594"/>
                  </a:lnTo>
                  <a:lnTo>
                    <a:pt x="1578" y="606"/>
                  </a:lnTo>
                  <a:lnTo>
                    <a:pt x="1596" y="624"/>
                  </a:lnTo>
                  <a:lnTo>
                    <a:pt x="1650" y="642"/>
                  </a:lnTo>
                  <a:lnTo>
                    <a:pt x="1686" y="648"/>
                  </a:lnTo>
                  <a:lnTo>
                    <a:pt x="1698" y="654"/>
                  </a:lnTo>
                  <a:lnTo>
                    <a:pt x="1698" y="660"/>
                  </a:lnTo>
                  <a:lnTo>
                    <a:pt x="1692" y="666"/>
                  </a:lnTo>
                  <a:lnTo>
                    <a:pt x="1692" y="672"/>
                  </a:lnTo>
                  <a:lnTo>
                    <a:pt x="1698" y="678"/>
                  </a:lnTo>
                  <a:lnTo>
                    <a:pt x="1698" y="684"/>
                  </a:lnTo>
                  <a:lnTo>
                    <a:pt x="1692" y="684"/>
                  </a:lnTo>
                  <a:lnTo>
                    <a:pt x="1692" y="690"/>
                  </a:lnTo>
                  <a:lnTo>
                    <a:pt x="1698" y="696"/>
                  </a:lnTo>
                  <a:lnTo>
                    <a:pt x="1698" y="702"/>
                  </a:lnTo>
                  <a:lnTo>
                    <a:pt x="1698" y="708"/>
                  </a:lnTo>
                  <a:lnTo>
                    <a:pt x="1704" y="714"/>
                  </a:lnTo>
                  <a:lnTo>
                    <a:pt x="1704" y="720"/>
                  </a:lnTo>
                  <a:lnTo>
                    <a:pt x="1704" y="726"/>
                  </a:lnTo>
                  <a:lnTo>
                    <a:pt x="1704" y="732"/>
                  </a:lnTo>
                  <a:lnTo>
                    <a:pt x="1704" y="738"/>
                  </a:lnTo>
                  <a:lnTo>
                    <a:pt x="1698" y="726"/>
                  </a:lnTo>
                  <a:lnTo>
                    <a:pt x="1668" y="720"/>
                  </a:lnTo>
                  <a:lnTo>
                    <a:pt x="1626" y="714"/>
                  </a:lnTo>
                  <a:lnTo>
                    <a:pt x="1614" y="708"/>
                  </a:lnTo>
                  <a:lnTo>
                    <a:pt x="1578" y="696"/>
                  </a:lnTo>
                  <a:lnTo>
                    <a:pt x="1566" y="696"/>
                  </a:lnTo>
                  <a:lnTo>
                    <a:pt x="1548" y="702"/>
                  </a:lnTo>
                  <a:lnTo>
                    <a:pt x="1542" y="714"/>
                  </a:lnTo>
                  <a:lnTo>
                    <a:pt x="1536" y="732"/>
                  </a:lnTo>
                  <a:lnTo>
                    <a:pt x="1530" y="750"/>
                  </a:lnTo>
                  <a:lnTo>
                    <a:pt x="1536" y="750"/>
                  </a:lnTo>
                  <a:lnTo>
                    <a:pt x="1542" y="756"/>
                  </a:lnTo>
                  <a:lnTo>
                    <a:pt x="1542" y="762"/>
                  </a:lnTo>
                  <a:lnTo>
                    <a:pt x="1548" y="762"/>
                  </a:lnTo>
                  <a:lnTo>
                    <a:pt x="1554" y="762"/>
                  </a:lnTo>
                  <a:lnTo>
                    <a:pt x="1554" y="768"/>
                  </a:lnTo>
                  <a:lnTo>
                    <a:pt x="1560" y="774"/>
                  </a:lnTo>
                  <a:lnTo>
                    <a:pt x="1566" y="774"/>
                  </a:lnTo>
                  <a:lnTo>
                    <a:pt x="1584" y="792"/>
                  </a:lnTo>
                  <a:lnTo>
                    <a:pt x="1584" y="810"/>
                  </a:lnTo>
                  <a:lnTo>
                    <a:pt x="1572" y="816"/>
                  </a:lnTo>
                  <a:lnTo>
                    <a:pt x="1578" y="834"/>
                  </a:lnTo>
                  <a:lnTo>
                    <a:pt x="1578" y="846"/>
                  </a:lnTo>
                  <a:lnTo>
                    <a:pt x="1584" y="858"/>
                  </a:lnTo>
                  <a:lnTo>
                    <a:pt x="1590" y="864"/>
                  </a:lnTo>
                  <a:lnTo>
                    <a:pt x="1590" y="876"/>
                  </a:lnTo>
                  <a:lnTo>
                    <a:pt x="1578" y="888"/>
                  </a:lnTo>
                  <a:lnTo>
                    <a:pt x="1560" y="906"/>
                  </a:lnTo>
                  <a:lnTo>
                    <a:pt x="1536" y="930"/>
                  </a:lnTo>
                  <a:lnTo>
                    <a:pt x="1530" y="930"/>
                  </a:lnTo>
                  <a:lnTo>
                    <a:pt x="1506" y="942"/>
                  </a:lnTo>
                  <a:lnTo>
                    <a:pt x="1488" y="948"/>
                  </a:lnTo>
                  <a:lnTo>
                    <a:pt x="1476" y="954"/>
                  </a:lnTo>
                  <a:lnTo>
                    <a:pt x="1458" y="960"/>
                  </a:lnTo>
                  <a:lnTo>
                    <a:pt x="1452" y="966"/>
                  </a:lnTo>
                  <a:lnTo>
                    <a:pt x="1446" y="966"/>
                  </a:lnTo>
                  <a:lnTo>
                    <a:pt x="1434" y="972"/>
                  </a:lnTo>
                  <a:lnTo>
                    <a:pt x="1434" y="954"/>
                  </a:lnTo>
                  <a:lnTo>
                    <a:pt x="1422" y="942"/>
                  </a:lnTo>
                  <a:lnTo>
                    <a:pt x="1398" y="924"/>
                  </a:lnTo>
                  <a:lnTo>
                    <a:pt x="1398" y="912"/>
                  </a:lnTo>
                  <a:lnTo>
                    <a:pt x="1398" y="906"/>
                  </a:lnTo>
                  <a:lnTo>
                    <a:pt x="1398" y="900"/>
                  </a:lnTo>
                  <a:lnTo>
                    <a:pt x="1380" y="900"/>
                  </a:lnTo>
                  <a:lnTo>
                    <a:pt x="1380" y="894"/>
                  </a:lnTo>
                  <a:lnTo>
                    <a:pt x="1368" y="888"/>
                  </a:lnTo>
                  <a:lnTo>
                    <a:pt x="1362" y="882"/>
                  </a:lnTo>
                  <a:lnTo>
                    <a:pt x="1356" y="876"/>
                  </a:lnTo>
                  <a:lnTo>
                    <a:pt x="1350" y="864"/>
                  </a:lnTo>
                  <a:lnTo>
                    <a:pt x="1344" y="858"/>
                  </a:lnTo>
                  <a:lnTo>
                    <a:pt x="1314" y="870"/>
                  </a:lnTo>
                  <a:lnTo>
                    <a:pt x="1272" y="876"/>
                  </a:lnTo>
                  <a:lnTo>
                    <a:pt x="1218" y="870"/>
                  </a:lnTo>
                  <a:lnTo>
                    <a:pt x="1200" y="864"/>
                  </a:lnTo>
                  <a:lnTo>
                    <a:pt x="1182" y="864"/>
                  </a:lnTo>
                  <a:lnTo>
                    <a:pt x="1134" y="858"/>
                  </a:lnTo>
                  <a:lnTo>
                    <a:pt x="1110" y="840"/>
                  </a:lnTo>
                  <a:lnTo>
                    <a:pt x="1086" y="828"/>
                  </a:lnTo>
                  <a:lnTo>
                    <a:pt x="1044" y="816"/>
                  </a:lnTo>
                  <a:lnTo>
                    <a:pt x="1014" y="816"/>
                  </a:lnTo>
                  <a:lnTo>
                    <a:pt x="990" y="822"/>
                  </a:lnTo>
                  <a:lnTo>
                    <a:pt x="948" y="858"/>
                  </a:lnTo>
                  <a:lnTo>
                    <a:pt x="930" y="864"/>
                  </a:lnTo>
                  <a:lnTo>
                    <a:pt x="924" y="876"/>
                  </a:lnTo>
                  <a:lnTo>
                    <a:pt x="918" y="906"/>
                  </a:lnTo>
                  <a:lnTo>
                    <a:pt x="924" y="930"/>
                  </a:lnTo>
                  <a:lnTo>
                    <a:pt x="948" y="984"/>
                  </a:lnTo>
                  <a:lnTo>
                    <a:pt x="954" y="1008"/>
                  </a:lnTo>
                  <a:lnTo>
                    <a:pt x="948" y="1014"/>
                  </a:lnTo>
                  <a:lnTo>
                    <a:pt x="954" y="1014"/>
                  </a:lnTo>
                  <a:lnTo>
                    <a:pt x="954" y="1032"/>
                  </a:lnTo>
                  <a:lnTo>
                    <a:pt x="966" y="1044"/>
                  </a:lnTo>
                  <a:lnTo>
                    <a:pt x="960" y="1056"/>
                  </a:lnTo>
                  <a:lnTo>
                    <a:pt x="954" y="1056"/>
                  </a:lnTo>
                  <a:lnTo>
                    <a:pt x="948" y="1056"/>
                  </a:lnTo>
                  <a:lnTo>
                    <a:pt x="942" y="1056"/>
                  </a:lnTo>
                  <a:lnTo>
                    <a:pt x="936" y="1050"/>
                  </a:lnTo>
                  <a:lnTo>
                    <a:pt x="930" y="1044"/>
                  </a:lnTo>
                  <a:lnTo>
                    <a:pt x="924" y="1044"/>
                  </a:lnTo>
                  <a:lnTo>
                    <a:pt x="918" y="1038"/>
                  </a:lnTo>
                  <a:lnTo>
                    <a:pt x="912" y="1038"/>
                  </a:lnTo>
                  <a:lnTo>
                    <a:pt x="906" y="1032"/>
                  </a:lnTo>
                  <a:lnTo>
                    <a:pt x="900" y="1032"/>
                  </a:lnTo>
                  <a:lnTo>
                    <a:pt x="888" y="1026"/>
                  </a:lnTo>
                  <a:lnTo>
                    <a:pt x="882" y="1026"/>
                  </a:lnTo>
                  <a:lnTo>
                    <a:pt x="876" y="1026"/>
                  </a:lnTo>
                  <a:lnTo>
                    <a:pt x="864" y="1014"/>
                  </a:lnTo>
                  <a:lnTo>
                    <a:pt x="846" y="1008"/>
                  </a:lnTo>
                  <a:lnTo>
                    <a:pt x="840" y="996"/>
                  </a:lnTo>
                  <a:lnTo>
                    <a:pt x="840" y="990"/>
                  </a:lnTo>
                  <a:lnTo>
                    <a:pt x="834" y="990"/>
                  </a:lnTo>
                  <a:lnTo>
                    <a:pt x="828" y="990"/>
                  </a:lnTo>
                  <a:lnTo>
                    <a:pt x="816" y="990"/>
                  </a:lnTo>
                  <a:lnTo>
                    <a:pt x="810" y="990"/>
                  </a:lnTo>
                  <a:lnTo>
                    <a:pt x="804" y="984"/>
                  </a:lnTo>
                  <a:lnTo>
                    <a:pt x="792" y="978"/>
                  </a:lnTo>
                  <a:lnTo>
                    <a:pt x="786" y="972"/>
                  </a:lnTo>
                  <a:lnTo>
                    <a:pt x="780" y="972"/>
                  </a:lnTo>
                  <a:lnTo>
                    <a:pt x="768" y="966"/>
                  </a:lnTo>
                  <a:lnTo>
                    <a:pt x="762" y="966"/>
                  </a:lnTo>
                  <a:lnTo>
                    <a:pt x="756" y="966"/>
                  </a:lnTo>
                  <a:lnTo>
                    <a:pt x="750" y="966"/>
                  </a:lnTo>
                  <a:lnTo>
                    <a:pt x="744" y="966"/>
                  </a:lnTo>
                  <a:lnTo>
                    <a:pt x="738" y="960"/>
                  </a:lnTo>
                  <a:lnTo>
                    <a:pt x="732" y="954"/>
                  </a:lnTo>
                  <a:lnTo>
                    <a:pt x="720" y="954"/>
                  </a:lnTo>
                  <a:lnTo>
                    <a:pt x="714" y="948"/>
                  </a:lnTo>
                  <a:lnTo>
                    <a:pt x="708" y="948"/>
                  </a:lnTo>
                  <a:lnTo>
                    <a:pt x="696" y="948"/>
                  </a:lnTo>
                  <a:lnTo>
                    <a:pt x="684" y="942"/>
                  </a:lnTo>
                  <a:lnTo>
                    <a:pt x="678" y="936"/>
                  </a:lnTo>
                  <a:lnTo>
                    <a:pt x="660" y="930"/>
                  </a:lnTo>
                  <a:lnTo>
                    <a:pt x="642" y="924"/>
                  </a:lnTo>
                  <a:lnTo>
                    <a:pt x="636" y="924"/>
                  </a:lnTo>
                  <a:lnTo>
                    <a:pt x="630" y="924"/>
                  </a:lnTo>
                  <a:lnTo>
                    <a:pt x="618" y="924"/>
                  </a:lnTo>
                  <a:lnTo>
                    <a:pt x="618" y="918"/>
                  </a:lnTo>
                  <a:lnTo>
                    <a:pt x="606" y="918"/>
                  </a:lnTo>
                  <a:lnTo>
                    <a:pt x="600" y="918"/>
                  </a:lnTo>
                  <a:lnTo>
                    <a:pt x="594" y="918"/>
                  </a:lnTo>
                  <a:lnTo>
                    <a:pt x="594" y="912"/>
                  </a:lnTo>
                  <a:lnTo>
                    <a:pt x="588" y="912"/>
                  </a:lnTo>
                  <a:lnTo>
                    <a:pt x="582" y="912"/>
                  </a:lnTo>
                  <a:lnTo>
                    <a:pt x="582" y="918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58" y="918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12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00"/>
                  </a:lnTo>
                  <a:lnTo>
                    <a:pt x="516" y="900"/>
                  </a:lnTo>
                  <a:lnTo>
                    <a:pt x="510" y="900"/>
                  </a:lnTo>
                  <a:lnTo>
                    <a:pt x="486" y="894"/>
                  </a:lnTo>
                  <a:lnTo>
                    <a:pt x="474" y="888"/>
                  </a:lnTo>
                  <a:lnTo>
                    <a:pt x="468" y="888"/>
                  </a:lnTo>
                  <a:lnTo>
                    <a:pt x="450" y="88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0" name="Freeform 15">
              <a:extLst>
                <a:ext uri="{FF2B5EF4-FFF2-40B4-BE49-F238E27FC236}">
                  <a16:creationId xmlns:a16="http://schemas.microsoft.com/office/drawing/2014/main" id="{8B991D7A-45C6-40F6-A035-24DFC733305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382" y="2652043"/>
              <a:ext cx="724526" cy="695552"/>
            </a:xfrm>
            <a:custGeom>
              <a:avLst/>
              <a:gdLst>
                <a:gd name="T0" fmla="*/ 44 w 1362"/>
                <a:gd name="T1" fmla="*/ 106 h 1308"/>
                <a:gd name="T2" fmla="*/ 32 w 1362"/>
                <a:gd name="T3" fmla="*/ 109 h 1308"/>
                <a:gd name="T4" fmla="*/ 25 w 1362"/>
                <a:gd name="T5" fmla="*/ 105 h 1308"/>
                <a:gd name="T6" fmla="*/ 22 w 1362"/>
                <a:gd name="T7" fmla="*/ 97 h 1308"/>
                <a:gd name="T8" fmla="*/ 21 w 1362"/>
                <a:gd name="T9" fmla="*/ 95 h 1308"/>
                <a:gd name="T10" fmla="*/ 20 w 1362"/>
                <a:gd name="T11" fmla="*/ 90 h 1308"/>
                <a:gd name="T12" fmla="*/ 23 w 1362"/>
                <a:gd name="T13" fmla="*/ 87 h 1308"/>
                <a:gd name="T14" fmla="*/ 29 w 1362"/>
                <a:gd name="T15" fmla="*/ 81 h 1308"/>
                <a:gd name="T16" fmla="*/ 30 w 1362"/>
                <a:gd name="T17" fmla="*/ 78 h 1308"/>
                <a:gd name="T18" fmla="*/ 27 w 1362"/>
                <a:gd name="T19" fmla="*/ 75 h 1308"/>
                <a:gd name="T20" fmla="*/ 15 w 1362"/>
                <a:gd name="T21" fmla="*/ 73 h 1308"/>
                <a:gd name="T22" fmla="*/ 12 w 1362"/>
                <a:gd name="T23" fmla="*/ 69 h 1308"/>
                <a:gd name="T24" fmla="*/ 5 w 1362"/>
                <a:gd name="T25" fmla="*/ 65 h 1308"/>
                <a:gd name="T26" fmla="*/ 6 w 1362"/>
                <a:gd name="T27" fmla="*/ 62 h 1308"/>
                <a:gd name="T28" fmla="*/ 7 w 1362"/>
                <a:gd name="T29" fmla="*/ 56 h 1308"/>
                <a:gd name="T30" fmla="*/ 2 w 1362"/>
                <a:gd name="T31" fmla="*/ 49 h 1308"/>
                <a:gd name="T32" fmla="*/ 0 w 1362"/>
                <a:gd name="T33" fmla="*/ 44 h 1308"/>
                <a:gd name="T34" fmla="*/ 0 w 1362"/>
                <a:gd name="T35" fmla="*/ 39 h 1308"/>
                <a:gd name="T36" fmla="*/ 3 w 1362"/>
                <a:gd name="T37" fmla="*/ 35 h 1308"/>
                <a:gd name="T38" fmla="*/ 3 w 1362"/>
                <a:gd name="T39" fmla="*/ 28 h 1308"/>
                <a:gd name="T40" fmla="*/ 6 w 1362"/>
                <a:gd name="T41" fmla="*/ 18 h 1308"/>
                <a:gd name="T42" fmla="*/ 6 w 1362"/>
                <a:gd name="T43" fmla="*/ 8 h 1308"/>
                <a:gd name="T44" fmla="*/ 10 w 1362"/>
                <a:gd name="T45" fmla="*/ 5 h 1308"/>
                <a:gd name="T46" fmla="*/ 15 w 1362"/>
                <a:gd name="T47" fmla="*/ 0 h 1308"/>
                <a:gd name="T48" fmla="*/ 21 w 1362"/>
                <a:gd name="T49" fmla="*/ 7 h 1308"/>
                <a:gd name="T50" fmla="*/ 25 w 1362"/>
                <a:gd name="T51" fmla="*/ 15 h 1308"/>
                <a:gd name="T52" fmla="*/ 24 w 1362"/>
                <a:gd name="T53" fmla="*/ 19 h 1308"/>
                <a:gd name="T54" fmla="*/ 32 w 1362"/>
                <a:gd name="T55" fmla="*/ 19 h 1308"/>
                <a:gd name="T56" fmla="*/ 35 w 1362"/>
                <a:gd name="T57" fmla="*/ 20 h 1308"/>
                <a:gd name="T58" fmla="*/ 40 w 1362"/>
                <a:gd name="T59" fmla="*/ 23 h 1308"/>
                <a:gd name="T60" fmla="*/ 40 w 1362"/>
                <a:gd name="T61" fmla="*/ 26 h 1308"/>
                <a:gd name="T62" fmla="*/ 34 w 1362"/>
                <a:gd name="T63" fmla="*/ 35 h 1308"/>
                <a:gd name="T64" fmla="*/ 41 w 1362"/>
                <a:gd name="T65" fmla="*/ 37 h 1308"/>
                <a:gd name="T66" fmla="*/ 43 w 1362"/>
                <a:gd name="T67" fmla="*/ 44 h 1308"/>
                <a:gd name="T68" fmla="*/ 48 w 1362"/>
                <a:gd name="T69" fmla="*/ 47 h 1308"/>
                <a:gd name="T70" fmla="*/ 57 w 1362"/>
                <a:gd name="T71" fmla="*/ 48 h 1308"/>
                <a:gd name="T72" fmla="*/ 70 w 1362"/>
                <a:gd name="T73" fmla="*/ 44 h 1308"/>
                <a:gd name="T74" fmla="*/ 80 w 1362"/>
                <a:gd name="T75" fmla="*/ 34 h 1308"/>
                <a:gd name="T76" fmla="*/ 95 w 1362"/>
                <a:gd name="T77" fmla="*/ 41 h 1308"/>
                <a:gd name="T78" fmla="*/ 109 w 1362"/>
                <a:gd name="T79" fmla="*/ 47 h 1308"/>
                <a:gd name="T80" fmla="*/ 111 w 1362"/>
                <a:gd name="T81" fmla="*/ 50 h 1308"/>
                <a:gd name="T82" fmla="*/ 113 w 1362"/>
                <a:gd name="T83" fmla="*/ 53 h 1308"/>
                <a:gd name="T84" fmla="*/ 113 w 1362"/>
                <a:gd name="T85" fmla="*/ 55 h 1308"/>
                <a:gd name="T86" fmla="*/ 113 w 1362"/>
                <a:gd name="T87" fmla="*/ 59 h 1308"/>
                <a:gd name="T88" fmla="*/ 113 w 1362"/>
                <a:gd name="T89" fmla="*/ 62 h 1308"/>
                <a:gd name="T90" fmla="*/ 115 w 1362"/>
                <a:gd name="T91" fmla="*/ 65 h 1308"/>
                <a:gd name="T92" fmla="*/ 115 w 1362"/>
                <a:gd name="T93" fmla="*/ 67 h 1308"/>
                <a:gd name="T94" fmla="*/ 116 w 1362"/>
                <a:gd name="T95" fmla="*/ 69 h 1308"/>
                <a:gd name="T96" fmla="*/ 116 w 1362"/>
                <a:gd name="T97" fmla="*/ 71 h 1308"/>
                <a:gd name="T98" fmla="*/ 118 w 1362"/>
                <a:gd name="T99" fmla="*/ 75 h 1308"/>
                <a:gd name="T100" fmla="*/ 116 w 1362"/>
                <a:gd name="T101" fmla="*/ 77 h 1308"/>
                <a:gd name="T102" fmla="*/ 116 w 1362"/>
                <a:gd name="T103" fmla="*/ 79 h 1308"/>
                <a:gd name="T104" fmla="*/ 101 w 1362"/>
                <a:gd name="T105" fmla="*/ 87 h 1308"/>
                <a:gd name="T106" fmla="*/ 85 w 1362"/>
                <a:gd name="T107" fmla="*/ 103 h 1308"/>
                <a:gd name="T108" fmla="*/ 67 w 1362"/>
                <a:gd name="T109" fmla="*/ 114 h 130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62"/>
                <a:gd name="T166" fmla="*/ 0 h 1308"/>
                <a:gd name="T167" fmla="*/ 1362 w 1362"/>
                <a:gd name="T168" fmla="*/ 1308 h 130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62" h="1308">
                  <a:moveTo>
                    <a:pt x="684" y="1278"/>
                  </a:moveTo>
                  <a:lnTo>
                    <a:pt x="672" y="1272"/>
                  </a:lnTo>
                  <a:lnTo>
                    <a:pt x="636" y="1266"/>
                  </a:lnTo>
                  <a:lnTo>
                    <a:pt x="582" y="1248"/>
                  </a:lnTo>
                  <a:lnTo>
                    <a:pt x="564" y="1230"/>
                  </a:lnTo>
                  <a:lnTo>
                    <a:pt x="540" y="1218"/>
                  </a:lnTo>
                  <a:lnTo>
                    <a:pt x="510" y="1218"/>
                  </a:lnTo>
                  <a:lnTo>
                    <a:pt x="498" y="1224"/>
                  </a:lnTo>
                  <a:lnTo>
                    <a:pt x="492" y="1230"/>
                  </a:lnTo>
                  <a:lnTo>
                    <a:pt x="474" y="1230"/>
                  </a:lnTo>
                  <a:lnTo>
                    <a:pt x="414" y="1230"/>
                  </a:lnTo>
                  <a:lnTo>
                    <a:pt x="396" y="1236"/>
                  </a:lnTo>
                  <a:lnTo>
                    <a:pt x="390" y="1248"/>
                  </a:lnTo>
                  <a:lnTo>
                    <a:pt x="372" y="1248"/>
                  </a:lnTo>
                  <a:lnTo>
                    <a:pt x="366" y="1242"/>
                  </a:lnTo>
                  <a:lnTo>
                    <a:pt x="366" y="1224"/>
                  </a:lnTo>
                  <a:lnTo>
                    <a:pt x="360" y="1224"/>
                  </a:lnTo>
                  <a:lnTo>
                    <a:pt x="354" y="1218"/>
                  </a:lnTo>
                  <a:lnTo>
                    <a:pt x="336" y="1206"/>
                  </a:lnTo>
                  <a:lnTo>
                    <a:pt x="330" y="1194"/>
                  </a:lnTo>
                  <a:lnTo>
                    <a:pt x="288" y="1200"/>
                  </a:lnTo>
                  <a:lnTo>
                    <a:pt x="288" y="1194"/>
                  </a:lnTo>
                  <a:lnTo>
                    <a:pt x="288" y="1182"/>
                  </a:lnTo>
                  <a:lnTo>
                    <a:pt x="288" y="1170"/>
                  </a:lnTo>
                  <a:lnTo>
                    <a:pt x="288" y="1164"/>
                  </a:lnTo>
                  <a:lnTo>
                    <a:pt x="282" y="1140"/>
                  </a:lnTo>
                  <a:lnTo>
                    <a:pt x="276" y="1134"/>
                  </a:lnTo>
                  <a:lnTo>
                    <a:pt x="258" y="1116"/>
                  </a:lnTo>
                  <a:lnTo>
                    <a:pt x="258" y="1110"/>
                  </a:lnTo>
                  <a:lnTo>
                    <a:pt x="252" y="1110"/>
                  </a:lnTo>
                  <a:lnTo>
                    <a:pt x="252" y="1104"/>
                  </a:lnTo>
                  <a:lnTo>
                    <a:pt x="252" y="1098"/>
                  </a:lnTo>
                  <a:lnTo>
                    <a:pt x="240" y="1092"/>
                  </a:lnTo>
                  <a:lnTo>
                    <a:pt x="234" y="1092"/>
                  </a:lnTo>
                  <a:lnTo>
                    <a:pt x="240" y="1086"/>
                  </a:lnTo>
                  <a:lnTo>
                    <a:pt x="234" y="1080"/>
                  </a:lnTo>
                  <a:lnTo>
                    <a:pt x="228" y="1080"/>
                  </a:lnTo>
                  <a:lnTo>
                    <a:pt x="228" y="1068"/>
                  </a:lnTo>
                  <a:lnTo>
                    <a:pt x="228" y="1056"/>
                  </a:lnTo>
                  <a:lnTo>
                    <a:pt x="222" y="1056"/>
                  </a:lnTo>
                  <a:lnTo>
                    <a:pt x="228" y="1044"/>
                  </a:lnTo>
                  <a:lnTo>
                    <a:pt x="228" y="1038"/>
                  </a:lnTo>
                  <a:lnTo>
                    <a:pt x="228" y="1032"/>
                  </a:lnTo>
                  <a:lnTo>
                    <a:pt x="234" y="1026"/>
                  </a:lnTo>
                  <a:lnTo>
                    <a:pt x="246" y="1020"/>
                  </a:lnTo>
                  <a:lnTo>
                    <a:pt x="252" y="1020"/>
                  </a:lnTo>
                  <a:lnTo>
                    <a:pt x="258" y="1014"/>
                  </a:lnTo>
                  <a:lnTo>
                    <a:pt x="264" y="1008"/>
                  </a:lnTo>
                  <a:lnTo>
                    <a:pt x="264" y="1002"/>
                  </a:lnTo>
                  <a:lnTo>
                    <a:pt x="270" y="984"/>
                  </a:lnTo>
                  <a:lnTo>
                    <a:pt x="276" y="978"/>
                  </a:lnTo>
                  <a:lnTo>
                    <a:pt x="300" y="978"/>
                  </a:lnTo>
                  <a:lnTo>
                    <a:pt x="306" y="972"/>
                  </a:lnTo>
                  <a:lnTo>
                    <a:pt x="312" y="966"/>
                  </a:lnTo>
                  <a:lnTo>
                    <a:pt x="324" y="936"/>
                  </a:lnTo>
                  <a:lnTo>
                    <a:pt x="330" y="930"/>
                  </a:lnTo>
                  <a:lnTo>
                    <a:pt x="330" y="924"/>
                  </a:lnTo>
                  <a:lnTo>
                    <a:pt x="336" y="918"/>
                  </a:lnTo>
                  <a:lnTo>
                    <a:pt x="342" y="912"/>
                  </a:lnTo>
                  <a:lnTo>
                    <a:pt x="342" y="906"/>
                  </a:lnTo>
                  <a:lnTo>
                    <a:pt x="342" y="900"/>
                  </a:lnTo>
                  <a:lnTo>
                    <a:pt x="342" y="894"/>
                  </a:lnTo>
                  <a:lnTo>
                    <a:pt x="342" y="888"/>
                  </a:lnTo>
                  <a:lnTo>
                    <a:pt x="336" y="876"/>
                  </a:lnTo>
                  <a:lnTo>
                    <a:pt x="342" y="870"/>
                  </a:lnTo>
                  <a:lnTo>
                    <a:pt x="336" y="864"/>
                  </a:lnTo>
                  <a:lnTo>
                    <a:pt x="336" y="858"/>
                  </a:lnTo>
                  <a:lnTo>
                    <a:pt x="330" y="852"/>
                  </a:lnTo>
                  <a:lnTo>
                    <a:pt x="318" y="852"/>
                  </a:lnTo>
                  <a:lnTo>
                    <a:pt x="306" y="858"/>
                  </a:lnTo>
                  <a:lnTo>
                    <a:pt x="264" y="864"/>
                  </a:lnTo>
                  <a:lnTo>
                    <a:pt x="234" y="858"/>
                  </a:lnTo>
                  <a:lnTo>
                    <a:pt x="228" y="858"/>
                  </a:lnTo>
                  <a:lnTo>
                    <a:pt x="198" y="858"/>
                  </a:lnTo>
                  <a:lnTo>
                    <a:pt x="174" y="858"/>
                  </a:lnTo>
                  <a:lnTo>
                    <a:pt x="168" y="852"/>
                  </a:lnTo>
                  <a:lnTo>
                    <a:pt x="168" y="840"/>
                  </a:lnTo>
                  <a:lnTo>
                    <a:pt x="168" y="834"/>
                  </a:lnTo>
                  <a:lnTo>
                    <a:pt x="168" y="822"/>
                  </a:lnTo>
                  <a:lnTo>
                    <a:pt x="162" y="822"/>
                  </a:lnTo>
                  <a:lnTo>
                    <a:pt x="150" y="816"/>
                  </a:lnTo>
                  <a:lnTo>
                    <a:pt x="144" y="810"/>
                  </a:lnTo>
                  <a:lnTo>
                    <a:pt x="144" y="804"/>
                  </a:lnTo>
                  <a:lnTo>
                    <a:pt x="144" y="786"/>
                  </a:lnTo>
                  <a:lnTo>
                    <a:pt x="144" y="780"/>
                  </a:lnTo>
                  <a:lnTo>
                    <a:pt x="144" y="774"/>
                  </a:lnTo>
                  <a:lnTo>
                    <a:pt x="132" y="756"/>
                  </a:lnTo>
                  <a:lnTo>
                    <a:pt x="120" y="756"/>
                  </a:lnTo>
                  <a:lnTo>
                    <a:pt x="84" y="750"/>
                  </a:lnTo>
                  <a:lnTo>
                    <a:pt x="78" y="744"/>
                  </a:lnTo>
                  <a:lnTo>
                    <a:pt x="60" y="744"/>
                  </a:lnTo>
                  <a:lnTo>
                    <a:pt x="54" y="726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66" y="720"/>
                  </a:lnTo>
                  <a:lnTo>
                    <a:pt x="66" y="714"/>
                  </a:lnTo>
                  <a:lnTo>
                    <a:pt x="72" y="714"/>
                  </a:lnTo>
                  <a:lnTo>
                    <a:pt x="72" y="708"/>
                  </a:lnTo>
                  <a:lnTo>
                    <a:pt x="78" y="702"/>
                  </a:lnTo>
                  <a:lnTo>
                    <a:pt x="78" y="696"/>
                  </a:lnTo>
                  <a:lnTo>
                    <a:pt x="78" y="690"/>
                  </a:lnTo>
                  <a:lnTo>
                    <a:pt x="84" y="678"/>
                  </a:lnTo>
                  <a:lnTo>
                    <a:pt x="90" y="666"/>
                  </a:lnTo>
                  <a:lnTo>
                    <a:pt x="90" y="642"/>
                  </a:lnTo>
                  <a:lnTo>
                    <a:pt x="84" y="648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66" y="642"/>
                  </a:lnTo>
                  <a:lnTo>
                    <a:pt x="60" y="642"/>
                  </a:lnTo>
                  <a:lnTo>
                    <a:pt x="54" y="636"/>
                  </a:lnTo>
                  <a:lnTo>
                    <a:pt x="30" y="570"/>
                  </a:lnTo>
                  <a:lnTo>
                    <a:pt x="24" y="564"/>
                  </a:lnTo>
                  <a:lnTo>
                    <a:pt x="18" y="570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6"/>
                  </a:lnTo>
                  <a:lnTo>
                    <a:pt x="6" y="540"/>
                  </a:lnTo>
                  <a:lnTo>
                    <a:pt x="0" y="522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2" y="480"/>
                  </a:lnTo>
                  <a:lnTo>
                    <a:pt x="6" y="480"/>
                  </a:lnTo>
                  <a:lnTo>
                    <a:pt x="0" y="474"/>
                  </a:lnTo>
                  <a:lnTo>
                    <a:pt x="0" y="450"/>
                  </a:lnTo>
                  <a:lnTo>
                    <a:pt x="6" y="450"/>
                  </a:lnTo>
                  <a:lnTo>
                    <a:pt x="12" y="450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32"/>
                  </a:lnTo>
                  <a:lnTo>
                    <a:pt x="30" y="426"/>
                  </a:lnTo>
                  <a:lnTo>
                    <a:pt x="36" y="402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2" y="366"/>
                  </a:lnTo>
                  <a:lnTo>
                    <a:pt x="48" y="360"/>
                  </a:lnTo>
                  <a:lnTo>
                    <a:pt x="48" y="342"/>
                  </a:lnTo>
                  <a:lnTo>
                    <a:pt x="42" y="330"/>
                  </a:lnTo>
                  <a:lnTo>
                    <a:pt x="36" y="324"/>
                  </a:lnTo>
                  <a:lnTo>
                    <a:pt x="42" y="306"/>
                  </a:lnTo>
                  <a:lnTo>
                    <a:pt x="42" y="270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48" y="258"/>
                  </a:lnTo>
                  <a:lnTo>
                    <a:pt x="72" y="252"/>
                  </a:lnTo>
                  <a:lnTo>
                    <a:pt x="66" y="204"/>
                  </a:lnTo>
                  <a:lnTo>
                    <a:pt x="60" y="198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8" y="13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84" y="96"/>
                  </a:lnTo>
                  <a:lnTo>
                    <a:pt x="90" y="84"/>
                  </a:lnTo>
                  <a:lnTo>
                    <a:pt x="108" y="72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20" y="60"/>
                  </a:lnTo>
                  <a:lnTo>
                    <a:pt x="120" y="54"/>
                  </a:lnTo>
                  <a:lnTo>
                    <a:pt x="120" y="48"/>
                  </a:lnTo>
                  <a:lnTo>
                    <a:pt x="126" y="48"/>
                  </a:lnTo>
                  <a:lnTo>
                    <a:pt x="132" y="42"/>
                  </a:lnTo>
                  <a:lnTo>
                    <a:pt x="132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240" y="18"/>
                  </a:lnTo>
                  <a:lnTo>
                    <a:pt x="246" y="42"/>
                  </a:lnTo>
                  <a:lnTo>
                    <a:pt x="240" y="72"/>
                  </a:lnTo>
                  <a:lnTo>
                    <a:pt x="246" y="78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8" y="108"/>
                  </a:lnTo>
                  <a:lnTo>
                    <a:pt x="276" y="114"/>
                  </a:lnTo>
                  <a:lnTo>
                    <a:pt x="294" y="150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82" y="186"/>
                  </a:lnTo>
                  <a:lnTo>
                    <a:pt x="282" y="192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76" y="216"/>
                  </a:lnTo>
                  <a:lnTo>
                    <a:pt x="288" y="240"/>
                  </a:lnTo>
                  <a:lnTo>
                    <a:pt x="312" y="228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66" y="228"/>
                  </a:lnTo>
                  <a:lnTo>
                    <a:pt x="372" y="228"/>
                  </a:lnTo>
                  <a:lnTo>
                    <a:pt x="372" y="222"/>
                  </a:lnTo>
                  <a:lnTo>
                    <a:pt x="378" y="222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6" y="222"/>
                  </a:lnTo>
                  <a:lnTo>
                    <a:pt x="402" y="222"/>
                  </a:lnTo>
                  <a:lnTo>
                    <a:pt x="402" y="228"/>
                  </a:lnTo>
                  <a:lnTo>
                    <a:pt x="408" y="228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26" y="216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68" y="258"/>
                  </a:lnTo>
                  <a:lnTo>
                    <a:pt x="462" y="264"/>
                  </a:lnTo>
                  <a:lnTo>
                    <a:pt x="468" y="264"/>
                  </a:lnTo>
                  <a:lnTo>
                    <a:pt x="468" y="270"/>
                  </a:lnTo>
                  <a:lnTo>
                    <a:pt x="474" y="270"/>
                  </a:lnTo>
                  <a:lnTo>
                    <a:pt x="480" y="276"/>
                  </a:lnTo>
                  <a:lnTo>
                    <a:pt x="474" y="282"/>
                  </a:lnTo>
                  <a:lnTo>
                    <a:pt x="474" y="288"/>
                  </a:lnTo>
                  <a:lnTo>
                    <a:pt x="462" y="294"/>
                  </a:lnTo>
                  <a:lnTo>
                    <a:pt x="468" y="324"/>
                  </a:lnTo>
                  <a:lnTo>
                    <a:pt x="462" y="336"/>
                  </a:lnTo>
                  <a:lnTo>
                    <a:pt x="456" y="354"/>
                  </a:lnTo>
                  <a:lnTo>
                    <a:pt x="432" y="390"/>
                  </a:lnTo>
                  <a:lnTo>
                    <a:pt x="420" y="390"/>
                  </a:lnTo>
                  <a:lnTo>
                    <a:pt x="402" y="390"/>
                  </a:lnTo>
                  <a:lnTo>
                    <a:pt x="396" y="396"/>
                  </a:lnTo>
                  <a:lnTo>
                    <a:pt x="390" y="396"/>
                  </a:lnTo>
                  <a:lnTo>
                    <a:pt x="390" y="402"/>
                  </a:lnTo>
                  <a:lnTo>
                    <a:pt x="384" y="402"/>
                  </a:lnTo>
                  <a:lnTo>
                    <a:pt x="408" y="432"/>
                  </a:lnTo>
                  <a:lnTo>
                    <a:pt x="432" y="438"/>
                  </a:lnTo>
                  <a:lnTo>
                    <a:pt x="456" y="432"/>
                  </a:lnTo>
                  <a:lnTo>
                    <a:pt x="468" y="426"/>
                  </a:lnTo>
                  <a:lnTo>
                    <a:pt x="468" y="444"/>
                  </a:lnTo>
                  <a:lnTo>
                    <a:pt x="468" y="450"/>
                  </a:lnTo>
                  <a:lnTo>
                    <a:pt x="468" y="474"/>
                  </a:lnTo>
                  <a:lnTo>
                    <a:pt x="486" y="480"/>
                  </a:lnTo>
                  <a:lnTo>
                    <a:pt x="486" y="486"/>
                  </a:lnTo>
                  <a:lnTo>
                    <a:pt x="492" y="498"/>
                  </a:lnTo>
                  <a:lnTo>
                    <a:pt x="492" y="504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504" y="516"/>
                  </a:lnTo>
                  <a:lnTo>
                    <a:pt x="510" y="516"/>
                  </a:lnTo>
                  <a:lnTo>
                    <a:pt x="522" y="528"/>
                  </a:lnTo>
                  <a:lnTo>
                    <a:pt x="546" y="540"/>
                  </a:lnTo>
                  <a:lnTo>
                    <a:pt x="552" y="546"/>
                  </a:lnTo>
                  <a:lnTo>
                    <a:pt x="570" y="552"/>
                  </a:lnTo>
                  <a:lnTo>
                    <a:pt x="594" y="552"/>
                  </a:lnTo>
                  <a:lnTo>
                    <a:pt x="606" y="546"/>
                  </a:lnTo>
                  <a:lnTo>
                    <a:pt x="612" y="540"/>
                  </a:lnTo>
                  <a:lnTo>
                    <a:pt x="630" y="540"/>
                  </a:lnTo>
                  <a:lnTo>
                    <a:pt x="630" y="552"/>
                  </a:lnTo>
                  <a:lnTo>
                    <a:pt x="654" y="552"/>
                  </a:lnTo>
                  <a:lnTo>
                    <a:pt x="702" y="558"/>
                  </a:lnTo>
                  <a:lnTo>
                    <a:pt x="762" y="546"/>
                  </a:lnTo>
                  <a:lnTo>
                    <a:pt x="780" y="546"/>
                  </a:lnTo>
                  <a:lnTo>
                    <a:pt x="780" y="528"/>
                  </a:lnTo>
                  <a:lnTo>
                    <a:pt x="798" y="522"/>
                  </a:lnTo>
                  <a:lnTo>
                    <a:pt x="810" y="510"/>
                  </a:lnTo>
                  <a:lnTo>
                    <a:pt x="810" y="504"/>
                  </a:lnTo>
                  <a:lnTo>
                    <a:pt x="828" y="492"/>
                  </a:lnTo>
                  <a:lnTo>
                    <a:pt x="888" y="486"/>
                  </a:lnTo>
                  <a:lnTo>
                    <a:pt x="912" y="486"/>
                  </a:lnTo>
                  <a:lnTo>
                    <a:pt x="930" y="474"/>
                  </a:lnTo>
                  <a:lnTo>
                    <a:pt x="918" y="456"/>
                  </a:lnTo>
                  <a:lnTo>
                    <a:pt x="912" y="450"/>
                  </a:lnTo>
                  <a:lnTo>
                    <a:pt x="918" y="390"/>
                  </a:lnTo>
                  <a:lnTo>
                    <a:pt x="954" y="396"/>
                  </a:lnTo>
                  <a:lnTo>
                    <a:pt x="984" y="402"/>
                  </a:lnTo>
                  <a:lnTo>
                    <a:pt x="1014" y="420"/>
                  </a:lnTo>
                  <a:lnTo>
                    <a:pt x="1026" y="432"/>
                  </a:lnTo>
                  <a:lnTo>
                    <a:pt x="1044" y="450"/>
                  </a:lnTo>
                  <a:lnTo>
                    <a:pt x="1062" y="462"/>
                  </a:lnTo>
                  <a:lnTo>
                    <a:pt x="1098" y="468"/>
                  </a:lnTo>
                  <a:lnTo>
                    <a:pt x="1128" y="480"/>
                  </a:lnTo>
                  <a:lnTo>
                    <a:pt x="1152" y="486"/>
                  </a:lnTo>
                  <a:lnTo>
                    <a:pt x="1188" y="498"/>
                  </a:lnTo>
                  <a:lnTo>
                    <a:pt x="1212" y="504"/>
                  </a:lnTo>
                  <a:lnTo>
                    <a:pt x="1224" y="528"/>
                  </a:lnTo>
                  <a:lnTo>
                    <a:pt x="1236" y="540"/>
                  </a:lnTo>
                  <a:lnTo>
                    <a:pt x="1254" y="540"/>
                  </a:lnTo>
                  <a:lnTo>
                    <a:pt x="1254" y="546"/>
                  </a:lnTo>
                  <a:lnTo>
                    <a:pt x="1260" y="552"/>
                  </a:lnTo>
                  <a:lnTo>
                    <a:pt x="1266" y="552"/>
                  </a:lnTo>
                  <a:lnTo>
                    <a:pt x="1266" y="558"/>
                  </a:lnTo>
                  <a:lnTo>
                    <a:pt x="1272" y="564"/>
                  </a:lnTo>
                  <a:lnTo>
                    <a:pt x="1278" y="564"/>
                  </a:lnTo>
                  <a:lnTo>
                    <a:pt x="1278" y="570"/>
                  </a:lnTo>
                  <a:lnTo>
                    <a:pt x="1284" y="576"/>
                  </a:lnTo>
                  <a:lnTo>
                    <a:pt x="1290" y="582"/>
                  </a:lnTo>
                  <a:lnTo>
                    <a:pt x="1296" y="582"/>
                  </a:lnTo>
                  <a:lnTo>
                    <a:pt x="1296" y="588"/>
                  </a:lnTo>
                  <a:lnTo>
                    <a:pt x="1308" y="594"/>
                  </a:lnTo>
                  <a:lnTo>
                    <a:pt x="1308" y="600"/>
                  </a:lnTo>
                  <a:lnTo>
                    <a:pt x="1308" y="606"/>
                  </a:lnTo>
                  <a:lnTo>
                    <a:pt x="1314" y="612"/>
                  </a:lnTo>
                  <a:lnTo>
                    <a:pt x="1308" y="618"/>
                  </a:lnTo>
                  <a:lnTo>
                    <a:pt x="1314" y="618"/>
                  </a:lnTo>
                  <a:lnTo>
                    <a:pt x="1314" y="624"/>
                  </a:lnTo>
                  <a:lnTo>
                    <a:pt x="1308" y="624"/>
                  </a:lnTo>
                  <a:lnTo>
                    <a:pt x="1302" y="630"/>
                  </a:lnTo>
                  <a:lnTo>
                    <a:pt x="1302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296" y="654"/>
                  </a:lnTo>
                  <a:lnTo>
                    <a:pt x="1302" y="660"/>
                  </a:lnTo>
                  <a:lnTo>
                    <a:pt x="1302" y="666"/>
                  </a:lnTo>
                  <a:lnTo>
                    <a:pt x="1308" y="666"/>
                  </a:lnTo>
                  <a:lnTo>
                    <a:pt x="1308" y="672"/>
                  </a:lnTo>
                  <a:lnTo>
                    <a:pt x="1308" y="678"/>
                  </a:lnTo>
                  <a:lnTo>
                    <a:pt x="1308" y="684"/>
                  </a:lnTo>
                  <a:lnTo>
                    <a:pt x="1308" y="690"/>
                  </a:lnTo>
                  <a:lnTo>
                    <a:pt x="1302" y="696"/>
                  </a:lnTo>
                  <a:lnTo>
                    <a:pt x="1302" y="702"/>
                  </a:lnTo>
                  <a:lnTo>
                    <a:pt x="1308" y="702"/>
                  </a:lnTo>
                  <a:lnTo>
                    <a:pt x="1302" y="708"/>
                  </a:lnTo>
                  <a:lnTo>
                    <a:pt x="1308" y="714"/>
                  </a:lnTo>
                  <a:lnTo>
                    <a:pt x="1308" y="720"/>
                  </a:lnTo>
                  <a:lnTo>
                    <a:pt x="1308" y="726"/>
                  </a:lnTo>
                  <a:lnTo>
                    <a:pt x="1308" y="732"/>
                  </a:lnTo>
                  <a:lnTo>
                    <a:pt x="1314" y="732"/>
                  </a:lnTo>
                  <a:lnTo>
                    <a:pt x="1314" y="738"/>
                  </a:lnTo>
                  <a:lnTo>
                    <a:pt x="1320" y="744"/>
                  </a:lnTo>
                  <a:lnTo>
                    <a:pt x="1326" y="750"/>
                  </a:lnTo>
                  <a:lnTo>
                    <a:pt x="1320" y="750"/>
                  </a:lnTo>
                  <a:lnTo>
                    <a:pt x="1320" y="756"/>
                  </a:lnTo>
                  <a:lnTo>
                    <a:pt x="1314" y="756"/>
                  </a:lnTo>
                  <a:lnTo>
                    <a:pt x="1314" y="762"/>
                  </a:lnTo>
                  <a:lnTo>
                    <a:pt x="1314" y="768"/>
                  </a:lnTo>
                  <a:lnTo>
                    <a:pt x="1320" y="768"/>
                  </a:lnTo>
                  <a:lnTo>
                    <a:pt x="1320" y="762"/>
                  </a:lnTo>
                  <a:lnTo>
                    <a:pt x="1320" y="768"/>
                  </a:lnTo>
                  <a:lnTo>
                    <a:pt x="1326" y="774"/>
                  </a:lnTo>
                  <a:lnTo>
                    <a:pt x="1332" y="774"/>
                  </a:lnTo>
                  <a:lnTo>
                    <a:pt x="1332" y="780"/>
                  </a:lnTo>
                  <a:lnTo>
                    <a:pt x="1332" y="786"/>
                  </a:lnTo>
                  <a:lnTo>
                    <a:pt x="1332" y="792"/>
                  </a:lnTo>
                  <a:lnTo>
                    <a:pt x="1338" y="786"/>
                  </a:lnTo>
                  <a:lnTo>
                    <a:pt x="1338" y="792"/>
                  </a:lnTo>
                  <a:lnTo>
                    <a:pt x="1344" y="798"/>
                  </a:lnTo>
                  <a:lnTo>
                    <a:pt x="1344" y="804"/>
                  </a:lnTo>
                  <a:lnTo>
                    <a:pt x="1344" y="810"/>
                  </a:lnTo>
                  <a:lnTo>
                    <a:pt x="1344" y="816"/>
                  </a:lnTo>
                  <a:lnTo>
                    <a:pt x="1344" y="822"/>
                  </a:lnTo>
                  <a:lnTo>
                    <a:pt x="1338" y="828"/>
                  </a:lnTo>
                  <a:lnTo>
                    <a:pt x="1332" y="828"/>
                  </a:lnTo>
                  <a:lnTo>
                    <a:pt x="1338" y="840"/>
                  </a:lnTo>
                  <a:lnTo>
                    <a:pt x="1344" y="846"/>
                  </a:lnTo>
                  <a:lnTo>
                    <a:pt x="1344" y="852"/>
                  </a:lnTo>
                  <a:lnTo>
                    <a:pt x="1350" y="852"/>
                  </a:lnTo>
                  <a:lnTo>
                    <a:pt x="1356" y="858"/>
                  </a:lnTo>
                  <a:lnTo>
                    <a:pt x="1362" y="858"/>
                  </a:lnTo>
                  <a:lnTo>
                    <a:pt x="1362" y="870"/>
                  </a:lnTo>
                  <a:lnTo>
                    <a:pt x="1356" y="870"/>
                  </a:lnTo>
                  <a:lnTo>
                    <a:pt x="1356" y="876"/>
                  </a:lnTo>
                  <a:lnTo>
                    <a:pt x="1350" y="876"/>
                  </a:lnTo>
                  <a:lnTo>
                    <a:pt x="1344" y="876"/>
                  </a:lnTo>
                  <a:lnTo>
                    <a:pt x="1344" y="882"/>
                  </a:lnTo>
                  <a:lnTo>
                    <a:pt x="1338" y="882"/>
                  </a:lnTo>
                  <a:lnTo>
                    <a:pt x="1338" y="888"/>
                  </a:lnTo>
                  <a:lnTo>
                    <a:pt x="1338" y="894"/>
                  </a:lnTo>
                  <a:lnTo>
                    <a:pt x="1344" y="900"/>
                  </a:lnTo>
                  <a:lnTo>
                    <a:pt x="1344" y="906"/>
                  </a:lnTo>
                  <a:lnTo>
                    <a:pt x="1338" y="906"/>
                  </a:lnTo>
                  <a:lnTo>
                    <a:pt x="1332" y="912"/>
                  </a:lnTo>
                  <a:lnTo>
                    <a:pt x="1332" y="918"/>
                  </a:lnTo>
                  <a:lnTo>
                    <a:pt x="1326" y="918"/>
                  </a:lnTo>
                  <a:lnTo>
                    <a:pt x="1332" y="924"/>
                  </a:lnTo>
                  <a:lnTo>
                    <a:pt x="1284" y="942"/>
                  </a:lnTo>
                  <a:lnTo>
                    <a:pt x="1236" y="948"/>
                  </a:lnTo>
                  <a:lnTo>
                    <a:pt x="1194" y="966"/>
                  </a:lnTo>
                  <a:lnTo>
                    <a:pt x="1170" y="1002"/>
                  </a:lnTo>
                  <a:lnTo>
                    <a:pt x="1134" y="1020"/>
                  </a:lnTo>
                  <a:lnTo>
                    <a:pt x="1116" y="1032"/>
                  </a:lnTo>
                  <a:lnTo>
                    <a:pt x="1098" y="1050"/>
                  </a:lnTo>
                  <a:lnTo>
                    <a:pt x="1074" y="1074"/>
                  </a:lnTo>
                  <a:lnTo>
                    <a:pt x="1008" y="1134"/>
                  </a:lnTo>
                  <a:lnTo>
                    <a:pt x="990" y="1158"/>
                  </a:lnTo>
                  <a:lnTo>
                    <a:pt x="978" y="1182"/>
                  </a:lnTo>
                  <a:lnTo>
                    <a:pt x="960" y="1194"/>
                  </a:lnTo>
                  <a:lnTo>
                    <a:pt x="942" y="1212"/>
                  </a:lnTo>
                  <a:lnTo>
                    <a:pt x="912" y="1242"/>
                  </a:lnTo>
                  <a:lnTo>
                    <a:pt x="888" y="1254"/>
                  </a:lnTo>
                  <a:lnTo>
                    <a:pt x="864" y="1278"/>
                  </a:lnTo>
                  <a:lnTo>
                    <a:pt x="828" y="1296"/>
                  </a:lnTo>
                  <a:lnTo>
                    <a:pt x="774" y="1308"/>
                  </a:lnTo>
                  <a:lnTo>
                    <a:pt x="732" y="1302"/>
                  </a:lnTo>
                  <a:lnTo>
                    <a:pt x="702" y="1284"/>
                  </a:lnTo>
                  <a:lnTo>
                    <a:pt x="684" y="12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1" name="Freeform 16">
              <a:extLst>
                <a:ext uri="{FF2B5EF4-FFF2-40B4-BE49-F238E27FC236}">
                  <a16:creationId xmlns:a16="http://schemas.microsoft.com/office/drawing/2014/main" id="{D8D8591A-D9DB-4301-BEBD-D8F5A26DA9E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3001" y="2929369"/>
              <a:ext cx="914601" cy="1037736"/>
            </a:xfrm>
            <a:custGeom>
              <a:avLst/>
              <a:gdLst>
                <a:gd name="T0" fmla="*/ 144 w 1722"/>
                <a:gd name="T1" fmla="*/ 131 h 1956"/>
                <a:gd name="T2" fmla="*/ 142 w 1722"/>
                <a:gd name="T3" fmla="*/ 139 h 1956"/>
                <a:gd name="T4" fmla="*/ 137 w 1722"/>
                <a:gd name="T5" fmla="*/ 143 h 1956"/>
                <a:gd name="T6" fmla="*/ 133 w 1722"/>
                <a:gd name="T7" fmla="*/ 147 h 1956"/>
                <a:gd name="T8" fmla="*/ 132 w 1722"/>
                <a:gd name="T9" fmla="*/ 152 h 1956"/>
                <a:gd name="T10" fmla="*/ 130 w 1722"/>
                <a:gd name="T11" fmla="*/ 159 h 1956"/>
                <a:gd name="T12" fmla="*/ 127 w 1722"/>
                <a:gd name="T13" fmla="*/ 164 h 1956"/>
                <a:gd name="T14" fmla="*/ 123 w 1722"/>
                <a:gd name="T15" fmla="*/ 168 h 1956"/>
                <a:gd name="T16" fmla="*/ 117 w 1722"/>
                <a:gd name="T17" fmla="*/ 169 h 1956"/>
                <a:gd name="T18" fmla="*/ 110 w 1722"/>
                <a:gd name="T19" fmla="*/ 168 h 1956"/>
                <a:gd name="T20" fmla="*/ 104 w 1722"/>
                <a:gd name="T21" fmla="*/ 166 h 1956"/>
                <a:gd name="T22" fmla="*/ 101 w 1722"/>
                <a:gd name="T23" fmla="*/ 159 h 1956"/>
                <a:gd name="T24" fmla="*/ 95 w 1722"/>
                <a:gd name="T25" fmla="*/ 156 h 1956"/>
                <a:gd name="T26" fmla="*/ 89 w 1722"/>
                <a:gd name="T27" fmla="*/ 151 h 1956"/>
                <a:gd name="T28" fmla="*/ 87 w 1722"/>
                <a:gd name="T29" fmla="*/ 144 h 1956"/>
                <a:gd name="T30" fmla="*/ 82 w 1722"/>
                <a:gd name="T31" fmla="*/ 141 h 1956"/>
                <a:gd name="T32" fmla="*/ 76 w 1722"/>
                <a:gd name="T33" fmla="*/ 134 h 1956"/>
                <a:gd name="T34" fmla="*/ 74 w 1722"/>
                <a:gd name="T35" fmla="*/ 143 h 1956"/>
                <a:gd name="T36" fmla="*/ 68 w 1722"/>
                <a:gd name="T37" fmla="*/ 147 h 1956"/>
                <a:gd name="T38" fmla="*/ 54 w 1722"/>
                <a:gd name="T39" fmla="*/ 144 h 1956"/>
                <a:gd name="T40" fmla="*/ 51 w 1722"/>
                <a:gd name="T41" fmla="*/ 142 h 1956"/>
                <a:gd name="T42" fmla="*/ 42 w 1722"/>
                <a:gd name="T43" fmla="*/ 151 h 1956"/>
                <a:gd name="T44" fmla="*/ 33 w 1722"/>
                <a:gd name="T45" fmla="*/ 154 h 1956"/>
                <a:gd name="T46" fmla="*/ 31 w 1722"/>
                <a:gd name="T47" fmla="*/ 159 h 1956"/>
                <a:gd name="T48" fmla="*/ 29 w 1722"/>
                <a:gd name="T49" fmla="*/ 166 h 1956"/>
                <a:gd name="T50" fmla="*/ 25 w 1722"/>
                <a:gd name="T51" fmla="*/ 169 h 1956"/>
                <a:gd name="T52" fmla="*/ 27 w 1722"/>
                <a:gd name="T53" fmla="*/ 154 h 1956"/>
                <a:gd name="T54" fmla="*/ 37 w 1722"/>
                <a:gd name="T55" fmla="*/ 133 h 1956"/>
                <a:gd name="T56" fmla="*/ 36 w 1722"/>
                <a:gd name="T57" fmla="*/ 109 h 1956"/>
                <a:gd name="T58" fmla="*/ 27 w 1722"/>
                <a:gd name="T59" fmla="*/ 101 h 1956"/>
                <a:gd name="T60" fmla="*/ 5 w 1722"/>
                <a:gd name="T61" fmla="*/ 98 h 1956"/>
                <a:gd name="T62" fmla="*/ 2 w 1722"/>
                <a:gd name="T63" fmla="*/ 93 h 1956"/>
                <a:gd name="T64" fmla="*/ 12 w 1722"/>
                <a:gd name="T65" fmla="*/ 82 h 1956"/>
                <a:gd name="T66" fmla="*/ 9 w 1722"/>
                <a:gd name="T67" fmla="*/ 74 h 1956"/>
                <a:gd name="T68" fmla="*/ 23 w 1722"/>
                <a:gd name="T69" fmla="*/ 72 h 1956"/>
                <a:gd name="T70" fmla="*/ 22 w 1722"/>
                <a:gd name="T71" fmla="*/ 67 h 1956"/>
                <a:gd name="T72" fmla="*/ 48 w 1722"/>
                <a:gd name="T73" fmla="*/ 57 h 1956"/>
                <a:gd name="T74" fmla="*/ 78 w 1722"/>
                <a:gd name="T75" fmla="*/ 34 h 1956"/>
                <a:gd name="T76" fmla="*/ 81 w 1722"/>
                <a:gd name="T77" fmla="*/ 31 h 1956"/>
                <a:gd name="T78" fmla="*/ 80 w 1722"/>
                <a:gd name="T79" fmla="*/ 26 h 1956"/>
                <a:gd name="T80" fmla="*/ 78 w 1722"/>
                <a:gd name="T81" fmla="*/ 21 h 1956"/>
                <a:gd name="T82" fmla="*/ 77 w 1722"/>
                <a:gd name="T83" fmla="*/ 18 h 1956"/>
                <a:gd name="T84" fmla="*/ 77 w 1722"/>
                <a:gd name="T85" fmla="*/ 12 h 1956"/>
                <a:gd name="T86" fmla="*/ 77 w 1722"/>
                <a:gd name="T87" fmla="*/ 7 h 1956"/>
                <a:gd name="T88" fmla="*/ 102 w 1722"/>
                <a:gd name="T89" fmla="*/ 2 h 1956"/>
                <a:gd name="T90" fmla="*/ 115 w 1722"/>
                <a:gd name="T91" fmla="*/ 3 h 1956"/>
                <a:gd name="T92" fmla="*/ 123 w 1722"/>
                <a:gd name="T93" fmla="*/ 3 h 1956"/>
                <a:gd name="T94" fmla="*/ 125 w 1722"/>
                <a:gd name="T95" fmla="*/ 9 h 1956"/>
                <a:gd name="T96" fmla="*/ 133 w 1722"/>
                <a:gd name="T97" fmla="*/ 13 h 1956"/>
                <a:gd name="T98" fmla="*/ 149 w 1722"/>
                <a:gd name="T99" fmla="*/ 37 h 1956"/>
                <a:gd name="T100" fmla="*/ 141 w 1722"/>
                <a:gd name="T101" fmla="*/ 57 h 1956"/>
                <a:gd name="T102" fmla="*/ 135 w 1722"/>
                <a:gd name="T103" fmla="*/ 63 h 1956"/>
                <a:gd name="T104" fmla="*/ 124 w 1722"/>
                <a:gd name="T105" fmla="*/ 77 h 1956"/>
                <a:gd name="T106" fmla="*/ 123 w 1722"/>
                <a:gd name="T107" fmla="*/ 96 h 1956"/>
                <a:gd name="T108" fmla="*/ 127 w 1722"/>
                <a:gd name="T109" fmla="*/ 97 h 1956"/>
                <a:gd name="T110" fmla="*/ 129 w 1722"/>
                <a:gd name="T111" fmla="*/ 92 h 1956"/>
                <a:gd name="T112" fmla="*/ 134 w 1722"/>
                <a:gd name="T113" fmla="*/ 94 h 1956"/>
                <a:gd name="T114" fmla="*/ 138 w 1722"/>
                <a:gd name="T115" fmla="*/ 99 h 1956"/>
                <a:gd name="T116" fmla="*/ 142 w 1722"/>
                <a:gd name="T117" fmla="*/ 104 h 1956"/>
                <a:gd name="T118" fmla="*/ 141 w 1722"/>
                <a:gd name="T119" fmla="*/ 115 h 19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722"/>
                <a:gd name="T181" fmla="*/ 0 h 1956"/>
                <a:gd name="T182" fmla="*/ 1722 w 1722"/>
                <a:gd name="T183" fmla="*/ 1956 h 19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722" h="1956">
                  <a:moveTo>
                    <a:pt x="1686" y="1404"/>
                  </a:moveTo>
                  <a:lnTo>
                    <a:pt x="1680" y="1416"/>
                  </a:lnTo>
                  <a:lnTo>
                    <a:pt x="1674" y="1422"/>
                  </a:lnTo>
                  <a:lnTo>
                    <a:pt x="1674" y="1428"/>
                  </a:lnTo>
                  <a:lnTo>
                    <a:pt x="1668" y="1428"/>
                  </a:lnTo>
                  <a:lnTo>
                    <a:pt x="1668" y="1434"/>
                  </a:lnTo>
                  <a:lnTo>
                    <a:pt x="1662" y="1446"/>
                  </a:lnTo>
                  <a:lnTo>
                    <a:pt x="1656" y="1464"/>
                  </a:lnTo>
                  <a:lnTo>
                    <a:pt x="1656" y="1476"/>
                  </a:lnTo>
                  <a:lnTo>
                    <a:pt x="1656" y="1488"/>
                  </a:lnTo>
                  <a:lnTo>
                    <a:pt x="1662" y="1500"/>
                  </a:lnTo>
                  <a:lnTo>
                    <a:pt x="1662" y="1506"/>
                  </a:lnTo>
                  <a:lnTo>
                    <a:pt x="1662" y="1524"/>
                  </a:lnTo>
                  <a:lnTo>
                    <a:pt x="1668" y="1542"/>
                  </a:lnTo>
                  <a:lnTo>
                    <a:pt x="1674" y="1560"/>
                  </a:lnTo>
                  <a:lnTo>
                    <a:pt x="1680" y="1578"/>
                  </a:lnTo>
                  <a:lnTo>
                    <a:pt x="1686" y="1578"/>
                  </a:lnTo>
                  <a:lnTo>
                    <a:pt x="1686" y="1584"/>
                  </a:lnTo>
                  <a:lnTo>
                    <a:pt x="1686" y="1590"/>
                  </a:lnTo>
                  <a:lnTo>
                    <a:pt x="1686" y="1596"/>
                  </a:lnTo>
                  <a:lnTo>
                    <a:pt x="1680" y="1596"/>
                  </a:lnTo>
                  <a:lnTo>
                    <a:pt x="1674" y="1602"/>
                  </a:lnTo>
                  <a:lnTo>
                    <a:pt x="1662" y="1602"/>
                  </a:lnTo>
                  <a:lnTo>
                    <a:pt x="1638" y="1596"/>
                  </a:lnTo>
                  <a:lnTo>
                    <a:pt x="1632" y="1596"/>
                  </a:lnTo>
                  <a:lnTo>
                    <a:pt x="1626" y="1602"/>
                  </a:lnTo>
                  <a:lnTo>
                    <a:pt x="1620" y="1602"/>
                  </a:lnTo>
                  <a:lnTo>
                    <a:pt x="1614" y="1602"/>
                  </a:lnTo>
                  <a:lnTo>
                    <a:pt x="1602" y="1602"/>
                  </a:lnTo>
                  <a:lnTo>
                    <a:pt x="1602" y="1608"/>
                  </a:lnTo>
                  <a:lnTo>
                    <a:pt x="1602" y="1620"/>
                  </a:lnTo>
                  <a:lnTo>
                    <a:pt x="1596" y="1620"/>
                  </a:lnTo>
                  <a:lnTo>
                    <a:pt x="1590" y="1620"/>
                  </a:lnTo>
                  <a:lnTo>
                    <a:pt x="1584" y="1626"/>
                  </a:lnTo>
                  <a:lnTo>
                    <a:pt x="1584" y="1632"/>
                  </a:lnTo>
                  <a:lnTo>
                    <a:pt x="1578" y="1644"/>
                  </a:lnTo>
                  <a:lnTo>
                    <a:pt x="1572" y="1644"/>
                  </a:lnTo>
                  <a:lnTo>
                    <a:pt x="1566" y="1644"/>
                  </a:lnTo>
                  <a:lnTo>
                    <a:pt x="1566" y="1650"/>
                  </a:lnTo>
                  <a:lnTo>
                    <a:pt x="1560" y="1650"/>
                  </a:lnTo>
                  <a:lnTo>
                    <a:pt x="1554" y="1650"/>
                  </a:lnTo>
                  <a:lnTo>
                    <a:pt x="1548" y="1650"/>
                  </a:lnTo>
                  <a:lnTo>
                    <a:pt x="1548" y="1656"/>
                  </a:lnTo>
                  <a:lnTo>
                    <a:pt x="1542" y="1668"/>
                  </a:lnTo>
                  <a:lnTo>
                    <a:pt x="1542" y="1674"/>
                  </a:lnTo>
                  <a:lnTo>
                    <a:pt x="1542" y="1692"/>
                  </a:lnTo>
                  <a:lnTo>
                    <a:pt x="1536" y="1698"/>
                  </a:lnTo>
                  <a:lnTo>
                    <a:pt x="1530" y="1698"/>
                  </a:lnTo>
                  <a:lnTo>
                    <a:pt x="1524" y="1698"/>
                  </a:lnTo>
                  <a:lnTo>
                    <a:pt x="1518" y="1704"/>
                  </a:lnTo>
                  <a:lnTo>
                    <a:pt x="1512" y="1710"/>
                  </a:lnTo>
                  <a:lnTo>
                    <a:pt x="1506" y="1722"/>
                  </a:lnTo>
                  <a:lnTo>
                    <a:pt x="1500" y="1728"/>
                  </a:lnTo>
                  <a:lnTo>
                    <a:pt x="1500" y="1734"/>
                  </a:lnTo>
                  <a:lnTo>
                    <a:pt x="1512" y="1734"/>
                  </a:lnTo>
                  <a:lnTo>
                    <a:pt x="1518" y="1740"/>
                  </a:lnTo>
                  <a:lnTo>
                    <a:pt x="1518" y="1746"/>
                  </a:lnTo>
                  <a:lnTo>
                    <a:pt x="1518" y="1752"/>
                  </a:lnTo>
                  <a:lnTo>
                    <a:pt x="1518" y="1758"/>
                  </a:lnTo>
                  <a:lnTo>
                    <a:pt x="1524" y="1758"/>
                  </a:lnTo>
                  <a:lnTo>
                    <a:pt x="1524" y="1764"/>
                  </a:lnTo>
                  <a:lnTo>
                    <a:pt x="1530" y="1770"/>
                  </a:lnTo>
                  <a:lnTo>
                    <a:pt x="1518" y="1770"/>
                  </a:lnTo>
                  <a:lnTo>
                    <a:pt x="1512" y="1782"/>
                  </a:lnTo>
                  <a:lnTo>
                    <a:pt x="1512" y="1788"/>
                  </a:lnTo>
                  <a:lnTo>
                    <a:pt x="1518" y="1788"/>
                  </a:lnTo>
                  <a:lnTo>
                    <a:pt x="1524" y="1800"/>
                  </a:lnTo>
                  <a:lnTo>
                    <a:pt x="1524" y="1806"/>
                  </a:lnTo>
                  <a:lnTo>
                    <a:pt x="1518" y="1812"/>
                  </a:lnTo>
                  <a:lnTo>
                    <a:pt x="1512" y="1818"/>
                  </a:lnTo>
                  <a:lnTo>
                    <a:pt x="1506" y="1818"/>
                  </a:lnTo>
                  <a:lnTo>
                    <a:pt x="1500" y="1824"/>
                  </a:lnTo>
                  <a:lnTo>
                    <a:pt x="1500" y="1836"/>
                  </a:lnTo>
                  <a:lnTo>
                    <a:pt x="1500" y="1842"/>
                  </a:lnTo>
                  <a:lnTo>
                    <a:pt x="1500" y="1848"/>
                  </a:lnTo>
                  <a:lnTo>
                    <a:pt x="1500" y="1854"/>
                  </a:lnTo>
                  <a:lnTo>
                    <a:pt x="1494" y="1860"/>
                  </a:lnTo>
                  <a:lnTo>
                    <a:pt x="1488" y="1860"/>
                  </a:lnTo>
                  <a:lnTo>
                    <a:pt x="1488" y="1866"/>
                  </a:lnTo>
                  <a:lnTo>
                    <a:pt x="1482" y="1872"/>
                  </a:lnTo>
                  <a:lnTo>
                    <a:pt x="1482" y="1878"/>
                  </a:lnTo>
                  <a:lnTo>
                    <a:pt x="1482" y="1884"/>
                  </a:lnTo>
                  <a:lnTo>
                    <a:pt x="1476" y="1890"/>
                  </a:lnTo>
                  <a:lnTo>
                    <a:pt x="1470" y="1890"/>
                  </a:lnTo>
                  <a:lnTo>
                    <a:pt x="1470" y="1896"/>
                  </a:lnTo>
                  <a:lnTo>
                    <a:pt x="1464" y="1896"/>
                  </a:lnTo>
                  <a:lnTo>
                    <a:pt x="1458" y="1896"/>
                  </a:lnTo>
                  <a:lnTo>
                    <a:pt x="1452" y="1896"/>
                  </a:lnTo>
                  <a:lnTo>
                    <a:pt x="1440" y="1890"/>
                  </a:lnTo>
                  <a:lnTo>
                    <a:pt x="1434" y="1896"/>
                  </a:lnTo>
                  <a:lnTo>
                    <a:pt x="1428" y="1896"/>
                  </a:lnTo>
                  <a:lnTo>
                    <a:pt x="1422" y="1896"/>
                  </a:lnTo>
                  <a:lnTo>
                    <a:pt x="1422" y="1902"/>
                  </a:lnTo>
                  <a:lnTo>
                    <a:pt x="1416" y="1902"/>
                  </a:lnTo>
                  <a:lnTo>
                    <a:pt x="1422" y="1914"/>
                  </a:lnTo>
                  <a:lnTo>
                    <a:pt x="1422" y="1932"/>
                  </a:lnTo>
                  <a:lnTo>
                    <a:pt x="1416" y="1938"/>
                  </a:lnTo>
                  <a:lnTo>
                    <a:pt x="1422" y="1938"/>
                  </a:lnTo>
                  <a:lnTo>
                    <a:pt x="1404" y="1938"/>
                  </a:lnTo>
                  <a:lnTo>
                    <a:pt x="1392" y="1944"/>
                  </a:lnTo>
                  <a:lnTo>
                    <a:pt x="1386" y="1944"/>
                  </a:lnTo>
                  <a:lnTo>
                    <a:pt x="1374" y="1944"/>
                  </a:lnTo>
                  <a:lnTo>
                    <a:pt x="1368" y="1950"/>
                  </a:lnTo>
                  <a:lnTo>
                    <a:pt x="1374" y="1956"/>
                  </a:lnTo>
                  <a:lnTo>
                    <a:pt x="1368" y="1956"/>
                  </a:lnTo>
                  <a:lnTo>
                    <a:pt x="1356" y="1956"/>
                  </a:lnTo>
                  <a:lnTo>
                    <a:pt x="1350" y="1956"/>
                  </a:lnTo>
                  <a:lnTo>
                    <a:pt x="1350" y="1950"/>
                  </a:lnTo>
                  <a:lnTo>
                    <a:pt x="1344" y="1944"/>
                  </a:lnTo>
                  <a:lnTo>
                    <a:pt x="1332" y="1938"/>
                  </a:lnTo>
                  <a:lnTo>
                    <a:pt x="1326" y="1938"/>
                  </a:lnTo>
                  <a:lnTo>
                    <a:pt x="1320" y="1938"/>
                  </a:lnTo>
                  <a:lnTo>
                    <a:pt x="1314" y="1944"/>
                  </a:lnTo>
                  <a:lnTo>
                    <a:pt x="1308" y="1944"/>
                  </a:lnTo>
                  <a:lnTo>
                    <a:pt x="1302" y="1944"/>
                  </a:lnTo>
                  <a:lnTo>
                    <a:pt x="1296" y="1938"/>
                  </a:lnTo>
                  <a:lnTo>
                    <a:pt x="1284" y="1938"/>
                  </a:lnTo>
                  <a:lnTo>
                    <a:pt x="1278" y="1938"/>
                  </a:lnTo>
                  <a:lnTo>
                    <a:pt x="1272" y="1938"/>
                  </a:lnTo>
                  <a:lnTo>
                    <a:pt x="1266" y="1932"/>
                  </a:lnTo>
                  <a:lnTo>
                    <a:pt x="1260" y="1932"/>
                  </a:lnTo>
                  <a:lnTo>
                    <a:pt x="1254" y="1920"/>
                  </a:lnTo>
                  <a:lnTo>
                    <a:pt x="1248" y="1920"/>
                  </a:lnTo>
                  <a:lnTo>
                    <a:pt x="1242" y="1920"/>
                  </a:lnTo>
                  <a:lnTo>
                    <a:pt x="1236" y="1926"/>
                  </a:lnTo>
                  <a:lnTo>
                    <a:pt x="1236" y="1932"/>
                  </a:lnTo>
                  <a:lnTo>
                    <a:pt x="1230" y="1932"/>
                  </a:lnTo>
                  <a:lnTo>
                    <a:pt x="1224" y="1932"/>
                  </a:lnTo>
                  <a:lnTo>
                    <a:pt x="1218" y="1938"/>
                  </a:lnTo>
                  <a:lnTo>
                    <a:pt x="1212" y="1932"/>
                  </a:lnTo>
                  <a:lnTo>
                    <a:pt x="1206" y="1926"/>
                  </a:lnTo>
                  <a:lnTo>
                    <a:pt x="1206" y="1908"/>
                  </a:lnTo>
                  <a:lnTo>
                    <a:pt x="1206" y="1884"/>
                  </a:lnTo>
                  <a:lnTo>
                    <a:pt x="1206" y="1866"/>
                  </a:lnTo>
                  <a:lnTo>
                    <a:pt x="1212" y="1848"/>
                  </a:lnTo>
                  <a:lnTo>
                    <a:pt x="1212" y="1842"/>
                  </a:lnTo>
                  <a:lnTo>
                    <a:pt x="1206" y="1836"/>
                  </a:lnTo>
                  <a:lnTo>
                    <a:pt x="1200" y="1830"/>
                  </a:lnTo>
                  <a:lnTo>
                    <a:pt x="1194" y="1824"/>
                  </a:lnTo>
                  <a:lnTo>
                    <a:pt x="1188" y="1824"/>
                  </a:lnTo>
                  <a:lnTo>
                    <a:pt x="1182" y="1824"/>
                  </a:lnTo>
                  <a:lnTo>
                    <a:pt x="1176" y="1824"/>
                  </a:lnTo>
                  <a:lnTo>
                    <a:pt x="1170" y="1818"/>
                  </a:lnTo>
                  <a:lnTo>
                    <a:pt x="1164" y="1830"/>
                  </a:lnTo>
                  <a:lnTo>
                    <a:pt x="1152" y="1836"/>
                  </a:lnTo>
                  <a:lnTo>
                    <a:pt x="1146" y="1842"/>
                  </a:lnTo>
                  <a:lnTo>
                    <a:pt x="1140" y="1842"/>
                  </a:lnTo>
                  <a:lnTo>
                    <a:pt x="1134" y="1842"/>
                  </a:lnTo>
                  <a:lnTo>
                    <a:pt x="1128" y="1842"/>
                  </a:lnTo>
                  <a:lnTo>
                    <a:pt x="1116" y="1836"/>
                  </a:lnTo>
                  <a:lnTo>
                    <a:pt x="1110" y="1842"/>
                  </a:lnTo>
                  <a:lnTo>
                    <a:pt x="1092" y="1830"/>
                  </a:lnTo>
                  <a:lnTo>
                    <a:pt x="1092" y="1824"/>
                  </a:lnTo>
                  <a:lnTo>
                    <a:pt x="1092" y="1806"/>
                  </a:lnTo>
                  <a:lnTo>
                    <a:pt x="1092" y="1800"/>
                  </a:lnTo>
                  <a:lnTo>
                    <a:pt x="1092" y="1794"/>
                  </a:lnTo>
                  <a:lnTo>
                    <a:pt x="1086" y="1788"/>
                  </a:lnTo>
                  <a:lnTo>
                    <a:pt x="1080" y="1794"/>
                  </a:lnTo>
                  <a:lnTo>
                    <a:pt x="1074" y="1788"/>
                  </a:lnTo>
                  <a:lnTo>
                    <a:pt x="1068" y="1770"/>
                  </a:lnTo>
                  <a:lnTo>
                    <a:pt x="1056" y="1764"/>
                  </a:lnTo>
                  <a:lnTo>
                    <a:pt x="1050" y="1764"/>
                  </a:lnTo>
                  <a:lnTo>
                    <a:pt x="1044" y="1764"/>
                  </a:lnTo>
                  <a:lnTo>
                    <a:pt x="1038" y="1758"/>
                  </a:lnTo>
                  <a:lnTo>
                    <a:pt x="1032" y="1752"/>
                  </a:lnTo>
                  <a:lnTo>
                    <a:pt x="1032" y="1746"/>
                  </a:lnTo>
                  <a:lnTo>
                    <a:pt x="1032" y="1740"/>
                  </a:lnTo>
                  <a:lnTo>
                    <a:pt x="1032" y="1734"/>
                  </a:lnTo>
                  <a:lnTo>
                    <a:pt x="1026" y="1734"/>
                  </a:lnTo>
                  <a:lnTo>
                    <a:pt x="1032" y="1728"/>
                  </a:lnTo>
                  <a:lnTo>
                    <a:pt x="1032" y="1722"/>
                  </a:lnTo>
                  <a:lnTo>
                    <a:pt x="1044" y="1686"/>
                  </a:lnTo>
                  <a:lnTo>
                    <a:pt x="1044" y="1680"/>
                  </a:lnTo>
                  <a:lnTo>
                    <a:pt x="1032" y="1674"/>
                  </a:lnTo>
                  <a:lnTo>
                    <a:pt x="1026" y="1674"/>
                  </a:lnTo>
                  <a:lnTo>
                    <a:pt x="1026" y="1668"/>
                  </a:lnTo>
                  <a:lnTo>
                    <a:pt x="1020" y="1662"/>
                  </a:lnTo>
                  <a:lnTo>
                    <a:pt x="1014" y="1668"/>
                  </a:lnTo>
                  <a:lnTo>
                    <a:pt x="1008" y="1662"/>
                  </a:lnTo>
                  <a:lnTo>
                    <a:pt x="1002" y="1662"/>
                  </a:lnTo>
                  <a:lnTo>
                    <a:pt x="1002" y="1668"/>
                  </a:lnTo>
                  <a:lnTo>
                    <a:pt x="996" y="1668"/>
                  </a:lnTo>
                  <a:lnTo>
                    <a:pt x="996" y="1662"/>
                  </a:lnTo>
                  <a:lnTo>
                    <a:pt x="984" y="1662"/>
                  </a:lnTo>
                  <a:lnTo>
                    <a:pt x="984" y="1656"/>
                  </a:lnTo>
                  <a:lnTo>
                    <a:pt x="978" y="1650"/>
                  </a:lnTo>
                  <a:lnTo>
                    <a:pt x="978" y="1644"/>
                  </a:lnTo>
                  <a:lnTo>
                    <a:pt x="966" y="1650"/>
                  </a:lnTo>
                  <a:lnTo>
                    <a:pt x="960" y="1638"/>
                  </a:lnTo>
                  <a:lnTo>
                    <a:pt x="954" y="1632"/>
                  </a:lnTo>
                  <a:lnTo>
                    <a:pt x="948" y="1632"/>
                  </a:lnTo>
                  <a:lnTo>
                    <a:pt x="942" y="1626"/>
                  </a:lnTo>
                  <a:lnTo>
                    <a:pt x="942" y="1614"/>
                  </a:lnTo>
                  <a:lnTo>
                    <a:pt x="930" y="1608"/>
                  </a:lnTo>
                  <a:lnTo>
                    <a:pt x="924" y="1614"/>
                  </a:lnTo>
                  <a:lnTo>
                    <a:pt x="912" y="1608"/>
                  </a:lnTo>
                  <a:lnTo>
                    <a:pt x="888" y="1590"/>
                  </a:lnTo>
                  <a:lnTo>
                    <a:pt x="894" y="1578"/>
                  </a:lnTo>
                  <a:lnTo>
                    <a:pt x="894" y="1572"/>
                  </a:lnTo>
                  <a:lnTo>
                    <a:pt x="894" y="1566"/>
                  </a:lnTo>
                  <a:lnTo>
                    <a:pt x="894" y="1548"/>
                  </a:lnTo>
                  <a:lnTo>
                    <a:pt x="888" y="1548"/>
                  </a:lnTo>
                  <a:lnTo>
                    <a:pt x="882" y="1542"/>
                  </a:lnTo>
                  <a:lnTo>
                    <a:pt x="876" y="1542"/>
                  </a:lnTo>
                  <a:lnTo>
                    <a:pt x="876" y="1536"/>
                  </a:lnTo>
                  <a:lnTo>
                    <a:pt x="870" y="1542"/>
                  </a:lnTo>
                  <a:lnTo>
                    <a:pt x="870" y="1554"/>
                  </a:lnTo>
                  <a:lnTo>
                    <a:pt x="870" y="1566"/>
                  </a:lnTo>
                  <a:lnTo>
                    <a:pt x="870" y="1578"/>
                  </a:lnTo>
                  <a:lnTo>
                    <a:pt x="870" y="1584"/>
                  </a:lnTo>
                  <a:lnTo>
                    <a:pt x="864" y="1584"/>
                  </a:lnTo>
                  <a:lnTo>
                    <a:pt x="870" y="1602"/>
                  </a:lnTo>
                  <a:lnTo>
                    <a:pt x="864" y="1608"/>
                  </a:lnTo>
                  <a:lnTo>
                    <a:pt x="870" y="1614"/>
                  </a:lnTo>
                  <a:lnTo>
                    <a:pt x="864" y="1644"/>
                  </a:lnTo>
                  <a:lnTo>
                    <a:pt x="858" y="1650"/>
                  </a:lnTo>
                  <a:lnTo>
                    <a:pt x="858" y="1656"/>
                  </a:lnTo>
                  <a:lnTo>
                    <a:pt x="852" y="1662"/>
                  </a:lnTo>
                  <a:lnTo>
                    <a:pt x="852" y="1680"/>
                  </a:lnTo>
                  <a:lnTo>
                    <a:pt x="846" y="1686"/>
                  </a:lnTo>
                  <a:lnTo>
                    <a:pt x="834" y="1692"/>
                  </a:lnTo>
                  <a:lnTo>
                    <a:pt x="828" y="1692"/>
                  </a:lnTo>
                  <a:lnTo>
                    <a:pt x="822" y="1698"/>
                  </a:lnTo>
                  <a:lnTo>
                    <a:pt x="822" y="1704"/>
                  </a:lnTo>
                  <a:lnTo>
                    <a:pt x="816" y="1704"/>
                  </a:lnTo>
                  <a:lnTo>
                    <a:pt x="804" y="1692"/>
                  </a:lnTo>
                  <a:lnTo>
                    <a:pt x="786" y="1698"/>
                  </a:lnTo>
                  <a:lnTo>
                    <a:pt x="780" y="1698"/>
                  </a:lnTo>
                  <a:lnTo>
                    <a:pt x="756" y="1698"/>
                  </a:lnTo>
                  <a:lnTo>
                    <a:pt x="744" y="1698"/>
                  </a:lnTo>
                  <a:lnTo>
                    <a:pt x="738" y="1698"/>
                  </a:lnTo>
                  <a:lnTo>
                    <a:pt x="732" y="1704"/>
                  </a:lnTo>
                  <a:lnTo>
                    <a:pt x="726" y="1704"/>
                  </a:lnTo>
                  <a:lnTo>
                    <a:pt x="678" y="1710"/>
                  </a:lnTo>
                  <a:lnTo>
                    <a:pt x="642" y="1710"/>
                  </a:lnTo>
                  <a:lnTo>
                    <a:pt x="618" y="1680"/>
                  </a:lnTo>
                  <a:lnTo>
                    <a:pt x="618" y="1674"/>
                  </a:lnTo>
                  <a:lnTo>
                    <a:pt x="618" y="1668"/>
                  </a:lnTo>
                  <a:lnTo>
                    <a:pt x="624" y="1662"/>
                  </a:lnTo>
                  <a:lnTo>
                    <a:pt x="624" y="1656"/>
                  </a:lnTo>
                  <a:lnTo>
                    <a:pt x="624" y="1650"/>
                  </a:lnTo>
                  <a:lnTo>
                    <a:pt x="618" y="1650"/>
                  </a:lnTo>
                  <a:lnTo>
                    <a:pt x="618" y="1644"/>
                  </a:lnTo>
                  <a:lnTo>
                    <a:pt x="618" y="1638"/>
                  </a:lnTo>
                  <a:lnTo>
                    <a:pt x="618" y="1632"/>
                  </a:lnTo>
                  <a:lnTo>
                    <a:pt x="618" y="1626"/>
                  </a:lnTo>
                  <a:lnTo>
                    <a:pt x="612" y="1626"/>
                  </a:lnTo>
                  <a:lnTo>
                    <a:pt x="612" y="1620"/>
                  </a:lnTo>
                  <a:lnTo>
                    <a:pt x="606" y="1614"/>
                  </a:lnTo>
                  <a:lnTo>
                    <a:pt x="594" y="1626"/>
                  </a:lnTo>
                  <a:lnTo>
                    <a:pt x="594" y="1632"/>
                  </a:lnTo>
                  <a:lnTo>
                    <a:pt x="588" y="1638"/>
                  </a:lnTo>
                  <a:lnTo>
                    <a:pt x="582" y="1638"/>
                  </a:lnTo>
                  <a:lnTo>
                    <a:pt x="564" y="1656"/>
                  </a:lnTo>
                  <a:lnTo>
                    <a:pt x="558" y="1662"/>
                  </a:lnTo>
                  <a:lnTo>
                    <a:pt x="552" y="1662"/>
                  </a:lnTo>
                  <a:lnTo>
                    <a:pt x="540" y="1674"/>
                  </a:lnTo>
                  <a:lnTo>
                    <a:pt x="534" y="1680"/>
                  </a:lnTo>
                  <a:lnTo>
                    <a:pt x="522" y="1692"/>
                  </a:lnTo>
                  <a:lnTo>
                    <a:pt x="516" y="1704"/>
                  </a:lnTo>
                  <a:lnTo>
                    <a:pt x="510" y="1704"/>
                  </a:lnTo>
                  <a:lnTo>
                    <a:pt x="504" y="1704"/>
                  </a:lnTo>
                  <a:lnTo>
                    <a:pt x="486" y="1722"/>
                  </a:lnTo>
                  <a:lnTo>
                    <a:pt x="480" y="1740"/>
                  </a:lnTo>
                  <a:lnTo>
                    <a:pt x="474" y="1740"/>
                  </a:lnTo>
                  <a:lnTo>
                    <a:pt x="468" y="1746"/>
                  </a:lnTo>
                  <a:lnTo>
                    <a:pt x="456" y="1758"/>
                  </a:lnTo>
                  <a:lnTo>
                    <a:pt x="444" y="1770"/>
                  </a:lnTo>
                  <a:lnTo>
                    <a:pt x="438" y="1782"/>
                  </a:lnTo>
                  <a:lnTo>
                    <a:pt x="426" y="1788"/>
                  </a:lnTo>
                  <a:lnTo>
                    <a:pt x="420" y="1788"/>
                  </a:lnTo>
                  <a:lnTo>
                    <a:pt x="420" y="1782"/>
                  </a:lnTo>
                  <a:lnTo>
                    <a:pt x="414" y="1782"/>
                  </a:lnTo>
                  <a:lnTo>
                    <a:pt x="390" y="1782"/>
                  </a:lnTo>
                  <a:lnTo>
                    <a:pt x="390" y="1776"/>
                  </a:lnTo>
                  <a:lnTo>
                    <a:pt x="384" y="1776"/>
                  </a:lnTo>
                  <a:lnTo>
                    <a:pt x="378" y="1776"/>
                  </a:lnTo>
                  <a:lnTo>
                    <a:pt x="372" y="1776"/>
                  </a:lnTo>
                  <a:lnTo>
                    <a:pt x="366" y="1770"/>
                  </a:lnTo>
                  <a:lnTo>
                    <a:pt x="366" y="1776"/>
                  </a:lnTo>
                  <a:lnTo>
                    <a:pt x="360" y="1788"/>
                  </a:lnTo>
                  <a:lnTo>
                    <a:pt x="360" y="1794"/>
                  </a:lnTo>
                  <a:lnTo>
                    <a:pt x="360" y="1800"/>
                  </a:lnTo>
                  <a:lnTo>
                    <a:pt x="354" y="1806"/>
                  </a:lnTo>
                  <a:lnTo>
                    <a:pt x="354" y="1812"/>
                  </a:lnTo>
                  <a:lnTo>
                    <a:pt x="354" y="1824"/>
                  </a:lnTo>
                  <a:lnTo>
                    <a:pt x="348" y="1830"/>
                  </a:lnTo>
                  <a:lnTo>
                    <a:pt x="354" y="1836"/>
                  </a:lnTo>
                  <a:lnTo>
                    <a:pt x="348" y="1842"/>
                  </a:lnTo>
                  <a:lnTo>
                    <a:pt x="354" y="1848"/>
                  </a:lnTo>
                  <a:lnTo>
                    <a:pt x="348" y="1854"/>
                  </a:lnTo>
                  <a:lnTo>
                    <a:pt x="354" y="1854"/>
                  </a:lnTo>
                  <a:lnTo>
                    <a:pt x="348" y="1860"/>
                  </a:lnTo>
                  <a:lnTo>
                    <a:pt x="348" y="1866"/>
                  </a:lnTo>
                  <a:lnTo>
                    <a:pt x="342" y="1866"/>
                  </a:lnTo>
                  <a:lnTo>
                    <a:pt x="342" y="1872"/>
                  </a:lnTo>
                  <a:lnTo>
                    <a:pt x="342" y="1878"/>
                  </a:lnTo>
                  <a:lnTo>
                    <a:pt x="342" y="1884"/>
                  </a:lnTo>
                  <a:lnTo>
                    <a:pt x="336" y="1896"/>
                  </a:lnTo>
                  <a:lnTo>
                    <a:pt x="330" y="1914"/>
                  </a:lnTo>
                  <a:lnTo>
                    <a:pt x="324" y="1920"/>
                  </a:lnTo>
                  <a:lnTo>
                    <a:pt x="324" y="1926"/>
                  </a:lnTo>
                  <a:lnTo>
                    <a:pt x="318" y="1944"/>
                  </a:lnTo>
                  <a:lnTo>
                    <a:pt x="318" y="1950"/>
                  </a:lnTo>
                  <a:lnTo>
                    <a:pt x="312" y="1956"/>
                  </a:lnTo>
                  <a:lnTo>
                    <a:pt x="312" y="1950"/>
                  </a:lnTo>
                  <a:lnTo>
                    <a:pt x="306" y="1950"/>
                  </a:lnTo>
                  <a:lnTo>
                    <a:pt x="306" y="1956"/>
                  </a:lnTo>
                  <a:lnTo>
                    <a:pt x="300" y="1950"/>
                  </a:lnTo>
                  <a:lnTo>
                    <a:pt x="294" y="1956"/>
                  </a:lnTo>
                  <a:lnTo>
                    <a:pt x="288" y="1950"/>
                  </a:lnTo>
                  <a:lnTo>
                    <a:pt x="288" y="1944"/>
                  </a:lnTo>
                  <a:lnTo>
                    <a:pt x="282" y="1938"/>
                  </a:lnTo>
                  <a:lnTo>
                    <a:pt x="282" y="1932"/>
                  </a:lnTo>
                  <a:lnTo>
                    <a:pt x="282" y="1890"/>
                  </a:lnTo>
                  <a:lnTo>
                    <a:pt x="288" y="1860"/>
                  </a:lnTo>
                  <a:lnTo>
                    <a:pt x="294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300" y="1818"/>
                  </a:lnTo>
                  <a:lnTo>
                    <a:pt x="306" y="1794"/>
                  </a:lnTo>
                  <a:lnTo>
                    <a:pt x="306" y="1788"/>
                  </a:lnTo>
                  <a:lnTo>
                    <a:pt x="306" y="1782"/>
                  </a:lnTo>
                  <a:lnTo>
                    <a:pt x="312" y="1776"/>
                  </a:lnTo>
                  <a:lnTo>
                    <a:pt x="306" y="1776"/>
                  </a:lnTo>
                  <a:lnTo>
                    <a:pt x="312" y="1770"/>
                  </a:lnTo>
                  <a:lnTo>
                    <a:pt x="312" y="1740"/>
                  </a:lnTo>
                  <a:lnTo>
                    <a:pt x="318" y="1722"/>
                  </a:lnTo>
                  <a:lnTo>
                    <a:pt x="312" y="1722"/>
                  </a:lnTo>
                  <a:lnTo>
                    <a:pt x="300" y="1716"/>
                  </a:lnTo>
                  <a:lnTo>
                    <a:pt x="306" y="1716"/>
                  </a:lnTo>
                  <a:lnTo>
                    <a:pt x="312" y="1710"/>
                  </a:lnTo>
                  <a:lnTo>
                    <a:pt x="324" y="1674"/>
                  </a:lnTo>
                  <a:lnTo>
                    <a:pt x="366" y="1590"/>
                  </a:lnTo>
                  <a:lnTo>
                    <a:pt x="408" y="1548"/>
                  </a:lnTo>
                  <a:lnTo>
                    <a:pt x="426" y="1530"/>
                  </a:lnTo>
                  <a:lnTo>
                    <a:pt x="432" y="1500"/>
                  </a:lnTo>
                  <a:lnTo>
                    <a:pt x="426" y="1494"/>
                  </a:lnTo>
                  <a:lnTo>
                    <a:pt x="426" y="1482"/>
                  </a:lnTo>
                  <a:lnTo>
                    <a:pt x="432" y="1464"/>
                  </a:lnTo>
                  <a:lnTo>
                    <a:pt x="438" y="1428"/>
                  </a:lnTo>
                  <a:lnTo>
                    <a:pt x="462" y="1398"/>
                  </a:lnTo>
                  <a:lnTo>
                    <a:pt x="468" y="1362"/>
                  </a:lnTo>
                  <a:lnTo>
                    <a:pt x="462" y="1314"/>
                  </a:lnTo>
                  <a:lnTo>
                    <a:pt x="444" y="1284"/>
                  </a:lnTo>
                  <a:lnTo>
                    <a:pt x="432" y="1260"/>
                  </a:lnTo>
                  <a:lnTo>
                    <a:pt x="426" y="1260"/>
                  </a:lnTo>
                  <a:lnTo>
                    <a:pt x="420" y="1254"/>
                  </a:lnTo>
                  <a:lnTo>
                    <a:pt x="408" y="1260"/>
                  </a:lnTo>
                  <a:lnTo>
                    <a:pt x="402" y="1260"/>
                  </a:lnTo>
                  <a:lnTo>
                    <a:pt x="402" y="1254"/>
                  </a:lnTo>
                  <a:lnTo>
                    <a:pt x="396" y="1254"/>
                  </a:lnTo>
                  <a:lnTo>
                    <a:pt x="396" y="1248"/>
                  </a:lnTo>
                  <a:lnTo>
                    <a:pt x="384" y="1248"/>
                  </a:lnTo>
                  <a:lnTo>
                    <a:pt x="372" y="1230"/>
                  </a:lnTo>
                  <a:lnTo>
                    <a:pt x="360" y="1212"/>
                  </a:lnTo>
                  <a:lnTo>
                    <a:pt x="348" y="1188"/>
                  </a:lnTo>
                  <a:lnTo>
                    <a:pt x="324" y="1170"/>
                  </a:lnTo>
                  <a:lnTo>
                    <a:pt x="318" y="1170"/>
                  </a:lnTo>
                  <a:lnTo>
                    <a:pt x="312" y="1158"/>
                  </a:lnTo>
                  <a:lnTo>
                    <a:pt x="312" y="1152"/>
                  </a:lnTo>
                  <a:lnTo>
                    <a:pt x="306" y="1146"/>
                  </a:lnTo>
                  <a:lnTo>
                    <a:pt x="270" y="1122"/>
                  </a:lnTo>
                  <a:lnTo>
                    <a:pt x="240" y="1122"/>
                  </a:lnTo>
                  <a:lnTo>
                    <a:pt x="180" y="1116"/>
                  </a:lnTo>
                  <a:lnTo>
                    <a:pt x="174" y="1122"/>
                  </a:lnTo>
                  <a:lnTo>
                    <a:pt x="174" y="1128"/>
                  </a:lnTo>
                  <a:lnTo>
                    <a:pt x="168" y="1122"/>
                  </a:lnTo>
                  <a:lnTo>
                    <a:pt x="162" y="1116"/>
                  </a:lnTo>
                  <a:lnTo>
                    <a:pt x="144" y="1122"/>
                  </a:lnTo>
                  <a:lnTo>
                    <a:pt x="120" y="1122"/>
                  </a:lnTo>
                  <a:lnTo>
                    <a:pt x="54" y="1134"/>
                  </a:lnTo>
                  <a:lnTo>
                    <a:pt x="24" y="1152"/>
                  </a:lnTo>
                  <a:lnTo>
                    <a:pt x="6" y="1146"/>
                  </a:lnTo>
                  <a:lnTo>
                    <a:pt x="0" y="1134"/>
                  </a:lnTo>
                  <a:lnTo>
                    <a:pt x="0" y="1128"/>
                  </a:lnTo>
                  <a:lnTo>
                    <a:pt x="18" y="1110"/>
                  </a:lnTo>
                  <a:lnTo>
                    <a:pt x="24" y="1104"/>
                  </a:lnTo>
                  <a:lnTo>
                    <a:pt x="24" y="1098"/>
                  </a:lnTo>
                  <a:lnTo>
                    <a:pt x="30" y="1086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24" y="1074"/>
                  </a:lnTo>
                  <a:lnTo>
                    <a:pt x="18" y="1068"/>
                  </a:lnTo>
                  <a:lnTo>
                    <a:pt x="24" y="1062"/>
                  </a:lnTo>
                  <a:lnTo>
                    <a:pt x="42" y="1056"/>
                  </a:lnTo>
                  <a:lnTo>
                    <a:pt x="54" y="1050"/>
                  </a:lnTo>
                  <a:lnTo>
                    <a:pt x="72" y="1044"/>
                  </a:lnTo>
                  <a:lnTo>
                    <a:pt x="96" y="1032"/>
                  </a:lnTo>
                  <a:lnTo>
                    <a:pt x="102" y="1032"/>
                  </a:lnTo>
                  <a:lnTo>
                    <a:pt x="126" y="1008"/>
                  </a:lnTo>
                  <a:lnTo>
                    <a:pt x="144" y="990"/>
                  </a:lnTo>
                  <a:lnTo>
                    <a:pt x="156" y="978"/>
                  </a:lnTo>
                  <a:lnTo>
                    <a:pt x="156" y="966"/>
                  </a:lnTo>
                  <a:lnTo>
                    <a:pt x="150" y="960"/>
                  </a:lnTo>
                  <a:lnTo>
                    <a:pt x="144" y="948"/>
                  </a:lnTo>
                  <a:lnTo>
                    <a:pt x="144" y="936"/>
                  </a:lnTo>
                  <a:lnTo>
                    <a:pt x="138" y="918"/>
                  </a:lnTo>
                  <a:lnTo>
                    <a:pt x="150" y="912"/>
                  </a:lnTo>
                  <a:lnTo>
                    <a:pt x="150" y="894"/>
                  </a:lnTo>
                  <a:lnTo>
                    <a:pt x="132" y="876"/>
                  </a:lnTo>
                  <a:lnTo>
                    <a:pt x="126" y="876"/>
                  </a:lnTo>
                  <a:lnTo>
                    <a:pt x="120" y="870"/>
                  </a:lnTo>
                  <a:lnTo>
                    <a:pt x="120" y="864"/>
                  </a:lnTo>
                  <a:lnTo>
                    <a:pt x="114" y="864"/>
                  </a:lnTo>
                  <a:lnTo>
                    <a:pt x="108" y="864"/>
                  </a:lnTo>
                  <a:lnTo>
                    <a:pt x="108" y="858"/>
                  </a:lnTo>
                  <a:lnTo>
                    <a:pt x="102" y="852"/>
                  </a:lnTo>
                  <a:lnTo>
                    <a:pt x="96" y="852"/>
                  </a:lnTo>
                  <a:lnTo>
                    <a:pt x="102" y="834"/>
                  </a:lnTo>
                  <a:lnTo>
                    <a:pt x="108" y="816"/>
                  </a:lnTo>
                  <a:lnTo>
                    <a:pt x="114" y="804"/>
                  </a:lnTo>
                  <a:lnTo>
                    <a:pt x="132" y="798"/>
                  </a:lnTo>
                  <a:lnTo>
                    <a:pt x="144" y="798"/>
                  </a:lnTo>
                  <a:lnTo>
                    <a:pt x="180" y="810"/>
                  </a:lnTo>
                  <a:lnTo>
                    <a:pt x="192" y="816"/>
                  </a:lnTo>
                  <a:lnTo>
                    <a:pt x="234" y="822"/>
                  </a:lnTo>
                  <a:lnTo>
                    <a:pt x="264" y="828"/>
                  </a:lnTo>
                  <a:lnTo>
                    <a:pt x="270" y="840"/>
                  </a:lnTo>
                  <a:lnTo>
                    <a:pt x="270" y="834"/>
                  </a:lnTo>
                  <a:lnTo>
                    <a:pt x="270" y="828"/>
                  </a:lnTo>
                  <a:lnTo>
                    <a:pt x="270" y="822"/>
                  </a:lnTo>
                  <a:lnTo>
                    <a:pt x="270" y="816"/>
                  </a:lnTo>
                  <a:lnTo>
                    <a:pt x="264" y="810"/>
                  </a:lnTo>
                  <a:lnTo>
                    <a:pt x="264" y="804"/>
                  </a:lnTo>
                  <a:lnTo>
                    <a:pt x="264" y="798"/>
                  </a:lnTo>
                  <a:lnTo>
                    <a:pt x="258" y="792"/>
                  </a:lnTo>
                  <a:lnTo>
                    <a:pt x="258" y="786"/>
                  </a:lnTo>
                  <a:lnTo>
                    <a:pt x="264" y="786"/>
                  </a:lnTo>
                  <a:lnTo>
                    <a:pt x="264" y="780"/>
                  </a:lnTo>
                  <a:lnTo>
                    <a:pt x="258" y="774"/>
                  </a:lnTo>
                  <a:lnTo>
                    <a:pt x="258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82" y="762"/>
                  </a:lnTo>
                  <a:lnTo>
                    <a:pt x="312" y="780"/>
                  </a:lnTo>
                  <a:lnTo>
                    <a:pt x="354" y="786"/>
                  </a:lnTo>
                  <a:lnTo>
                    <a:pt x="408" y="774"/>
                  </a:lnTo>
                  <a:lnTo>
                    <a:pt x="444" y="756"/>
                  </a:lnTo>
                  <a:lnTo>
                    <a:pt x="468" y="732"/>
                  </a:lnTo>
                  <a:lnTo>
                    <a:pt x="492" y="720"/>
                  </a:lnTo>
                  <a:lnTo>
                    <a:pt x="522" y="690"/>
                  </a:lnTo>
                  <a:lnTo>
                    <a:pt x="540" y="672"/>
                  </a:lnTo>
                  <a:lnTo>
                    <a:pt x="558" y="660"/>
                  </a:lnTo>
                  <a:lnTo>
                    <a:pt x="570" y="636"/>
                  </a:lnTo>
                  <a:lnTo>
                    <a:pt x="588" y="612"/>
                  </a:lnTo>
                  <a:lnTo>
                    <a:pt x="654" y="552"/>
                  </a:lnTo>
                  <a:lnTo>
                    <a:pt x="678" y="528"/>
                  </a:lnTo>
                  <a:lnTo>
                    <a:pt x="696" y="510"/>
                  </a:lnTo>
                  <a:lnTo>
                    <a:pt x="714" y="498"/>
                  </a:lnTo>
                  <a:lnTo>
                    <a:pt x="750" y="480"/>
                  </a:lnTo>
                  <a:lnTo>
                    <a:pt x="774" y="444"/>
                  </a:lnTo>
                  <a:lnTo>
                    <a:pt x="816" y="426"/>
                  </a:lnTo>
                  <a:lnTo>
                    <a:pt x="864" y="420"/>
                  </a:lnTo>
                  <a:lnTo>
                    <a:pt x="912" y="402"/>
                  </a:lnTo>
                  <a:lnTo>
                    <a:pt x="906" y="396"/>
                  </a:lnTo>
                  <a:lnTo>
                    <a:pt x="912" y="396"/>
                  </a:lnTo>
                  <a:lnTo>
                    <a:pt x="912" y="390"/>
                  </a:lnTo>
                  <a:lnTo>
                    <a:pt x="918" y="384"/>
                  </a:lnTo>
                  <a:lnTo>
                    <a:pt x="924" y="384"/>
                  </a:lnTo>
                  <a:lnTo>
                    <a:pt x="924" y="378"/>
                  </a:lnTo>
                  <a:lnTo>
                    <a:pt x="918" y="372"/>
                  </a:lnTo>
                  <a:lnTo>
                    <a:pt x="918" y="366"/>
                  </a:lnTo>
                  <a:lnTo>
                    <a:pt x="918" y="360"/>
                  </a:lnTo>
                  <a:lnTo>
                    <a:pt x="924" y="360"/>
                  </a:lnTo>
                  <a:lnTo>
                    <a:pt x="924" y="354"/>
                  </a:lnTo>
                  <a:lnTo>
                    <a:pt x="930" y="354"/>
                  </a:lnTo>
                  <a:lnTo>
                    <a:pt x="936" y="354"/>
                  </a:lnTo>
                  <a:lnTo>
                    <a:pt x="936" y="348"/>
                  </a:lnTo>
                  <a:lnTo>
                    <a:pt x="942" y="348"/>
                  </a:lnTo>
                  <a:lnTo>
                    <a:pt x="942" y="336"/>
                  </a:lnTo>
                  <a:lnTo>
                    <a:pt x="936" y="336"/>
                  </a:lnTo>
                  <a:lnTo>
                    <a:pt x="930" y="330"/>
                  </a:lnTo>
                  <a:lnTo>
                    <a:pt x="924" y="330"/>
                  </a:lnTo>
                  <a:lnTo>
                    <a:pt x="924" y="324"/>
                  </a:lnTo>
                  <a:lnTo>
                    <a:pt x="918" y="318"/>
                  </a:lnTo>
                  <a:lnTo>
                    <a:pt x="912" y="306"/>
                  </a:lnTo>
                  <a:lnTo>
                    <a:pt x="918" y="306"/>
                  </a:lnTo>
                  <a:lnTo>
                    <a:pt x="924" y="300"/>
                  </a:lnTo>
                  <a:lnTo>
                    <a:pt x="924" y="294"/>
                  </a:lnTo>
                  <a:lnTo>
                    <a:pt x="924" y="288"/>
                  </a:lnTo>
                  <a:lnTo>
                    <a:pt x="924" y="282"/>
                  </a:lnTo>
                  <a:lnTo>
                    <a:pt x="924" y="276"/>
                  </a:lnTo>
                  <a:lnTo>
                    <a:pt x="918" y="270"/>
                  </a:lnTo>
                  <a:lnTo>
                    <a:pt x="918" y="264"/>
                  </a:lnTo>
                  <a:lnTo>
                    <a:pt x="912" y="270"/>
                  </a:lnTo>
                  <a:lnTo>
                    <a:pt x="912" y="264"/>
                  </a:lnTo>
                  <a:lnTo>
                    <a:pt x="912" y="258"/>
                  </a:lnTo>
                  <a:lnTo>
                    <a:pt x="912" y="252"/>
                  </a:lnTo>
                  <a:lnTo>
                    <a:pt x="906" y="252"/>
                  </a:lnTo>
                  <a:lnTo>
                    <a:pt x="900" y="246"/>
                  </a:lnTo>
                  <a:lnTo>
                    <a:pt x="900" y="240"/>
                  </a:lnTo>
                  <a:lnTo>
                    <a:pt x="900" y="246"/>
                  </a:lnTo>
                  <a:lnTo>
                    <a:pt x="894" y="246"/>
                  </a:lnTo>
                  <a:lnTo>
                    <a:pt x="894" y="240"/>
                  </a:lnTo>
                  <a:lnTo>
                    <a:pt x="894" y="234"/>
                  </a:lnTo>
                  <a:lnTo>
                    <a:pt x="900" y="234"/>
                  </a:lnTo>
                  <a:lnTo>
                    <a:pt x="900" y="228"/>
                  </a:lnTo>
                  <a:lnTo>
                    <a:pt x="906" y="228"/>
                  </a:lnTo>
                  <a:lnTo>
                    <a:pt x="900" y="222"/>
                  </a:lnTo>
                  <a:lnTo>
                    <a:pt x="894" y="216"/>
                  </a:lnTo>
                  <a:lnTo>
                    <a:pt x="894" y="210"/>
                  </a:lnTo>
                  <a:lnTo>
                    <a:pt x="888" y="210"/>
                  </a:lnTo>
                  <a:lnTo>
                    <a:pt x="888" y="204"/>
                  </a:lnTo>
                  <a:lnTo>
                    <a:pt x="888" y="198"/>
                  </a:lnTo>
                  <a:lnTo>
                    <a:pt x="888" y="192"/>
                  </a:lnTo>
                  <a:lnTo>
                    <a:pt x="882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82" y="174"/>
                  </a:lnTo>
                  <a:lnTo>
                    <a:pt x="888" y="168"/>
                  </a:lnTo>
                  <a:lnTo>
                    <a:pt x="888" y="162"/>
                  </a:lnTo>
                  <a:lnTo>
                    <a:pt x="888" y="156"/>
                  </a:lnTo>
                  <a:lnTo>
                    <a:pt x="888" y="150"/>
                  </a:lnTo>
                  <a:lnTo>
                    <a:pt x="888" y="144"/>
                  </a:lnTo>
                  <a:lnTo>
                    <a:pt x="882" y="144"/>
                  </a:lnTo>
                  <a:lnTo>
                    <a:pt x="882" y="138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76" y="120"/>
                  </a:lnTo>
                  <a:lnTo>
                    <a:pt x="882" y="114"/>
                  </a:lnTo>
                  <a:lnTo>
                    <a:pt x="882" y="108"/>
                  </a:lnTo>
                  <a:lnTo>
                    <a:pt x="888" y="102"/>
                  </a:lnTo>
                  <a:lnTo>
                    <a:pt x="894" y="102"/>
                  </a:lnTo>
                  <a:lnTo>
                    <a:pt x="894" y="96"/>
                  </a:lnTo>
                  <a:lnTo>
                    <a:pt x="888" y="96"/>
                  </a:lnTo>
                  <a:lnTo>
                    <a:pt x="894" y="90"/>
                  </a:lnTo>
                  <a:lnTo>
                    <a:pt x="888" y="84"/>
                  </a:lnTo>
                  <a:lnTo>
                    <a:pt x="888" y="78"/>
                  </a:lnTo>
                  <a:lnTo>
                    <a:pt x="924" y="66"/>
                  </a:lnTo>
                  <a:lnTo>
                    <a:pt x="966" y="66"/>
                  </a:lnTo>
                  <a:lnTo>
                    <a:pt x="996" y="48"/>
                  </a:lnTo>
                  <a:lnTo>
                    <a:pt x="1056" y="12"/>
                  </a:lnTo>
                  <a:lnTo>
                    <a:pt x="1128" y="0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0" y="18"/>
                  </a:lnTo>
                  <a:lnTo>
                    <a:pt x="1176" y="24"/>
                  </a:lnTo>
                  <a:lnTo>
                    <a:pt x="1182" y="24"/>
                  </a:lnTo>
                  <a:lnTo>
                    <a:pt x="1188" y="30"/>
                  </a:lnTo>
                  <a:lnTo>
                    <a:pt x="1194" y="30"/>
                  </a:lnTo>
                  <a:lnTo>
                    <a:pt x="1194" y="36"/>
                  </a:lnTo>
                  <a:lnTo>
                    <a:pt x="1260" y="30"/>
                  </a:lnTo>
                  <a:lnTo>
                    <a:pt x="1272" y="30"/>
                  </a:lnTo>
                  <a:lnTo>
                    <a:pt x="1296" y="24"/>
                  </a:lnTo>
                  <a:lnTo>
                    <a:pt x="1302" y="30"/>
                  </a:lnTo>
                  <a:lnTo>
                    <a:pt x="1302" y="36"/>
                  </a:lnTo>
                  <a:lnTo>
                    <a:pt x="1308" y="36"/>
                  </a:lnTo>
                  <a:lnTo>
                    <a:pt x="1314" y="36"/>
                  </a:lnTo>
                  <a:lnTo>
                    <a:pt x="1320" y="36"/>
                  </a:lnTo>
                  <a:lnTo>
                    <a:pt x="1326" y="30"/>
                  </a:lnTo>
                  <a:lnTo>
                    <a:pt x="1332" y="30"/>
                  </a:lnTo>
                  <a:lnTo>
                    <a:pt x="1338" y="30"/>
                  </a:lnTo>
                  <a:lnTo>
                    <a:pt x="1344" y="30"/>
                  </a:lnTo>
                  <a:lnTo>
                    <a:pt x="1374" y="30"/>
                  </a:lnTo>
                  <a:lnTo>
                    <a:pt x="1386" y="30"/>
                  </a:lnTo>
                  <a:lnTo>
                    <a:pt x="1392" y="24"/>
                  </a:lnTo>
                  <a:lnTo>
                    <a:pt x="1398" y="12"/>
                  </a:lnTo>
                  <a:lnTo>
                    <a:pt x="1404" y="6"/>
                  </a:lnTo>
                  <a:lnTo>
                    <a:pt x="1410" y="6"/>
                  </a:lnTo>
                  <a:lnTo>
                    <a:pt x="1410" y="12"/>
                  </a:lnTo>
                  <a:lnTo>
                    <a:pt x="1416" y="18"/>
                  </a:lnTo>
                  <a:lnTo>
                    <a:pt x="1416" y="36"/>
                  </a:lnTo>
                  <a:lnTo>
                    <a:pt x="1434" y="54"/>
                  </a:lnTo>
                  <a:lnTo>
                    <a:pt x="1434" y="60"/>
                  </a:lnTo>
                  <a:lnTo>
                    <a:pt x="1434" y="66"/>
                  </a:lnTo>
                  <a:lnTo>
                    <a:pt x="1434" y="72"/>
                  </a:lnTo>
                  <a:lnTo>
                    <a:pt x="1428" y="72"/>
                  </a:lnTo>
                  <a:lnTo>
                    <a:pt x="1428" y="78"/>
                  </a:lnTo>
                  <a:lnTo>
                    <a:pt x="1434" y="78"/>
                  </a:lnTo>
                  <a:lnTo>
                    <a:pt x="1440" y="84"/>
                  </a:lnTo>
                  <a:lnTo>
                    <a:pt x="1440" y="90"/>
                  </a:lnTo>
                  <a:lnTo>
                    <a:pt x="1440" y="96"/>
                  </a:lnTo>
                  <a:lnTo>
                    <a:pt x="1446" y="96"/>
                  </a:lnTo>
                  <a:lnTo>
                    <a:pt x="1446" y="108"/>
                  </a:lnTo>
                  <a:lnTo>
                    <a:pt x="1452" y="108"/>
                  </a:lnTo>
                  <a:lnTo>
                    <a:pt x="1452" y="114"/>
                  </a:lnTo>
                  <a:lnTo>
                    <a:pt x="1458" y="114"/>
                  </a:lnTo>
                  <a:lnTo>
                    <a:pt x="1470" y="120"/>
                  </a:lnTo>
                  <a:lnTo>
                    <a:pt x="1476" y="120"/>
                  </a:lnTo>
                  <a:lnTo>
                    <a:pt x="1476" y="114"/>
                  </a:lnTo>
                  <a:lnTo>
                    <a:pt x="1488" y="120"/>
                  </a:lnTo>
                  <a:lnTo>
                    <a:pt x="1506" y="120"/>
                  </a:lnTo>
                  <a:lnTo>
                    <a:pt x="1512" y="120"/>
                  </a:lnTo>
                  <a:lnTo>
                    <a:pt x="1518" y="120"/>
                  </a:lnTo>
                  <a:lnTo>
                    <a:pt x="1524" y="126"/>
                  </a:lnTo>
                  <a:lnTo>
                    <a:pt x="1536" y="150"/>
                  </a:lnTo>
                  <a:lnTo>
                    <a:pt x="1548" y="162"/>
                  </a:lnTo>
                  <a:lnTo>
                    <a:pt x="1554" y="168"/>
                  </a:lnTo>
                  <a:lnTo>
                    <a:pt x="1584" y="228"/>
                  </a:lnTo>
                  <a:lnTo>
                    <a:pt x="1584" y="234"/>
                  </a:lnTo>
                  <a:lnTo>
                    <a:pt x="1578" y="312"/>
                  </a:lnTo>
                  <a:lnTo>
                    <a:pt x="1590" y="318"/>
                  </a:lnTo>
                  <a:lnTo>
                    <a:pt x="1608" y="330"/>
                  </a:lnTo>
                  <a:lnTo>
                    <a:pt x="1620" y="342"/>
                  </a:lnTo>
                  <a:lnTo>
                    <a:pt x="1626" y="342"/>
                  </a:lnTo>
                  <a:lnTo>
                    <a:pt x="1692" y="360"/>
                  </a:lnTo>
                  <a:lnTo>
                    <a:pt x="1710" y="408"/>
                  </a:lnTo>
                  <a:lnTo>
                    <a:pt x="1722" y="426"/>
                  </a:lnTo>
                  <a:lnTo>
                    <a:pt x="1716" y="468"/>
                  </a:lnTo>
                  <a:lnTo>
                    <a:pt x="1686" y="486"/>
                  </a:lnTo>
                  <a:lnTo>
                    <a:pt x="1686" y="492"/>
                  </a:lnTo>
                  <a:lnTo>
                    <a:pt x="1680" y="498"/>
                  </a:lnTo>
                  <a:lnTo>
                    <a:pt x="1650" y="558"/>
                  </a:lnTo>
                  <a:lnTo>
                    <a:pt x="1650" y="570"/>
                  </a:lnTo>
                  <a:lnTo>
                    <a:pt x="1644" y="570"/>
                  </a:lnTo>
                  <a:lnTo>
                    <a:pt x="1638" y="582"/>
                  </a:lnTo>
                  <a:lnTo>
                    <a:pt x="1638" y="624"/>
                  </a:lnTo>
                  <a:lnTo>
                    <a:pt x="1638" y="636"/>
                  </a:lnTo>
                  <a:lnTo>
                    <a:pt x="1638" y="642"/>
                  </a:lnTo>
                  <a:lnTo>
                    <a:pt x="1632" y="660"/>
                  </a:lnTo>
                  <a:lnTo>
                    <a:pt x="1608" y="678"/>
                  </a:lnTo>
                  <a:lnTo>
                    <a:pt x="1584" y="690"/>
                  </a:lnTo>
                  <a:lnTo>
                    <a:pt x="1584" y="696"/>
                  </a:lnTo>
                  <a:lnTo>
                    <a:pt x="1578" y="702"/>
                  </a:lnTo>
                  <a:lnTo>
                    <a:pt x="1584" y="702"/>
                  </a:lnTo>
                  <a:lnTo>
                    <a:pt x="1578" y="714"/>
                  </a:lnTo>
                  <a:lnTo>
                    <a:pt x="1572" y="714"/>
                  </a:lnTo>
                  <a:lnTo>
                    <a:pt x="1572" y="720"/>
                  </a:lnTo>
                  <a:lnTo>
                    <a:pt x="1566" y="720"/>
                  </a:lnTo>
                  <a:lnTo>
                    <a:pt x="1560" y="726"/>
                  </a:lnTo>
                  <a:lnTo>
                    <a:pt x="1560" y="732"/>
                  </a:lnTo>
                  <a:lnTo>
                    <a:pt x="1554" y="732"/>
                  </a:lnTo>
                  <a:lnTo>
                    <a:pt x="1554" y="738"/>
                  </a:lnTo>
                  <a:lnTo>
                    <a:pt x="1554" y="744"/>
                  </a:lnTo>
                  <a:lnTo>
                    <a:pt x="1548" y="744"/>
                  </a:lnTo>
                  <a:lnTo>
                    <a:pt x="1548" y="738"/>
                  </a:lnTo>
                  <a:lnTo>
                    <a:pt x="1542" y="738"/>
                  </a:lnTo>
                  <a:lnTo>
                    <a:pt x="1542" y="744"/>
                  </a:lnTo>
                  <a:lnTo>
                    <a:pt x="1542" y="750"/>
                  </a:lnTo>
                  <a:lnTo>
                    <a:pt x="1494" y="804"/>
                  </a:lnTo>
                  <a:lnTo>
                    <a:pt x="1446" y="876"/>
                  </a:lnTo>
                  <a:lnTo>
                    <a:pt x="1440" y="876"/>
                  </a:lnTo>
                  <a:lnTo>
                    <a:pt x="1434" y="876"/>
                  </a:lnTo>
                  <a:lnTo>
                    <a:pt x="1428" y="882"/>
                  </a:lnTo>
                  <a:lnTo>
                    <a:pt x="1422" y="882"/>
                  </a:lnTo>
                  <a:lnTo>
                    <a:pt x="1386" y="924"/>
                  </a:lnTo>
                  <a:lnTo>
                    <a:pt x="1362" y="954"/>
                  </a:lnTo>
                  <a:lnTo>
                    <a:pt x="1356" y="984"/>
                  </a:lnTo>
                  <a:lnTo>
                    <a:pt x="1362" y="1002"/>
                  </a:lnTo>
                  <a:lnTo>
                    <a:pt x="1368" y="1020"/>
                  </a:lnTo>
                  <a:lnTo>
                    <a:pt x="1386" y="1056"/>
                  </a:lnTo>
                  <a:lnTo>
                    <a:pt x="1404" y="1074"/>
                  </a:lnTo>
                  <a:lnTo>
                    <a:pt x="1416" y="1080"/>
                  </a:lnTo>
                  <a:lnTo>
                    <a:pt x="1416" y="1086"/>
                  </a:lnTo>
                  <a:lnTo>
                    <a:pt x="1422" y="1098"/>
                  </a:lnTo>
                  <a:lnTo>
                    <a:pt x="1422" y="1110"/>
                  </a:lnTo>
                  <a:lnTo>
                    <a:pt x="1428" y="1116"/>
                  </a:lnTo>
                  <a:lnTo>
                    <a:pt x="1434" y="1116"/>
                  </a:lnTo>
                  <a:lnTo>
                    <a:pt x="1434" y="1122"/>
                  </a:lnTo>
                  <a:lnTo>
                    <a:pt x="1434" y="1128"/>
                  </a:lnTo>
                  <a:lnTo>
                    <a:pt x="1440" y="1134"/>
                  </a:lnTo>
                  <a:lnTo>
                    <a:pt x="1446" y="1134"/>
                  </a:lnTo>
                  <a:lnTo>
                    <a:pt x="1458" y="1134"/>
                  </a:lnTo>
                  <a:lnTo>
                    <a:pt x="1458" y="1140"/>
                  </a:lnTo>
                  <a:lnTo>
                    <a:pt x="1464" y="1134"/>
                  </a:lnTo>
                  <a:lnTo>
                    <a:pt x="1470" y="1134"/>
                  </a:lnTo>
                  <a:lnTo>
                    <a:pt x="1464" y="1128"/>
                  </a:lnTo>
                  <a:lnTo>
                    <a:pt x="1464" y="1122"/>
                  </a:lnTo>
                  <a:lnTo>
                    <a:pt x="1470" y="1116"/>
                  </a:lnTo>
                  <a:lnTo>
                    <a:pt x="1470" y="1122"/>
                  </a:lnTo>
                  <a:lnTo>
                    <a:pt x="1476" y="1122"/>
                  </a:lnTo>
                  <a:lnTo>
                    <a:pt x="1476" y="1116"/>
                  </a:lnTo>
                  <a:lnTo>
                    <a:pt x="1482" y="1110"/>
                  </a:lnTo>
                  <a:lnTo>
                    <a:pt x="1476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82" y="1086"/>
                  </a:lnTo>
                  <a:lnTo>
                    <a:pt x="1482" y="1074"/>
                  </a:lnTo>
                  <a:lnTo>
                    <a:pt x="1488" y="1068"/>
                  </a:lnTo>
                  <a:lnTo>
                    <a:pt x="1488" y="1062"/>
                  </a:lnTo>
                  <a:lnTo>
                    <a:pt x="1494" y="1062"/>
                  </a:lnTo>
                  <a:lnTo>
                    <a:pt x="1500" y="1062"/>
                  </a:lnTo>
                  <a:lnTo>
                    <a:pt x="1506" y="1062"/>
                  </a:lnTo>
                  <a:lnTo>
                    <a:pt x="1506" y="1056"/>
                  </a:lnTo>
                  <a:lnTo>
                    <a:pt x="1506" y="1062"/>
                  </a:lnTo>
                  <a:lnTo>
                    <a:pt x="1518" y="1062"/>
                  </a:lnTo>
                  <a:lnTo>
                    <a:pt x="1524" y="1062"/>
                  </a:lnTo>
                  <a:lnTo>
                    <a:pt x="1530" y="1062"/>
                  </a:lnTo>
                  <a:lnTo>
                    <a:pt x="1536" y="1068"/>
                  </a:lnTo>
                  <a:lnTo>
                    <a:pt x="1536" y="1074"/>
                  </a:lnTo>
                  <a:lnTo>
                    <a:pt x="1542" y="1086"/>
                  </a:lnTo>
                  <a:lnTo>
                    <a:pt x="1548" y="1086"/>
                  </a:lnTo>
                  <a:lnTo>
                    <a:pt x="1554" y="1086"/>
                  </a:lnTo>
                  <a:lnTo>
                    <a:pt x="1566" y="1098"/>
                  </a:lnTo>
                  <a:lnTo>
                    <a:pt x="1572" y="1104"/>
                  </a:lnTo>
                  <a:lnTo>
                    <a:pt x="1566" y="1110"/>
                  </a:lnTo>
                  <a:lnTo>
                    <a:pt x="1572" y="1116"/>
                  </a:lnTo>
                  <a:lnTo>
                    <a:pt x="1578" y="1116"/>
                  </a:lnTo>
                  <a:lnTo>
                    <a:pt x="1578" y="1122"/>
                  </a:lnTo>
                  <a:lnTo>
                    <a:pt x="1584" y="1122"/>
                  </a:lnTo>
                  <a:lnTo>
                    <a:pt x="1584" y="1128"/>
                  </a:lnTo>
                  <a:lnTo>
                    <a:pt x="1584" y="1134"/>
                  </a:lnTo>
                  <a:lnTo>
                    <a:pt x="1590" y="1134"/>
                  </a:lnTo>
                  <a:lnTo>
                    <a:pt x="1596" y="1140"/>
                  </a:lnTo>
                  <a:lnTo>
                    <a:pt x="1602" y="1146"/>
                  </a:lnTo>
                  <a:lnTo>
                    <a:pt x="1608" y="1146"/>
                  </a:lnTo>
                  <a:lnTo>
                    <a:pt x="1614" y="1146"/>
                  </a:lnTo>
                  <a:lnTo>
                    <a:pt x="1614" y="1152"/>
                  </a:lnTo>
                  <a:lnTo>
                    <a:pt x="1620" y="1152"/>
                  </a:lnTo>
                  <a:lnTo>
                    <a:pt x="1626" y="1164"/>
                  </a:lnTo>
                  <a:lnTo>
                    <a:pt x="1632" y="1170"/>
                  </a:lnTo>
                  <a:lnTo>
                    <a:pt x="1638" y="1176"/>
                  </a:lnTo>
                  <a:lnTo>
                    <a:pt x="1638" y="1182"/>
                  </a:lnTo>
                  <a:lnTo>
                    <a:pt x="1644" y="1194"/>
                  </a:lnTo>
                  <a:lnTo>
                    <a:pt x="1644" y="1200"/>
                  </a:lnTo>
                  <a:lnTo>
                    <a:pt x="1638" y="1200"/>
                  </a:lnTo>
                  <a:lnTo>
                    <a:pt x="1638" y="1206"/>
                  </a:lnTo>
                  <a:lnTo>
                    <a:pt x="1638" y="1212"/>
                  </a:lnTo>
                  <a:lnTo>
                    <a:pt x="1638" y="1218"/>
                  </a:lnTo>
                  <a:lnTo>
                    <a:pt x="1632" y="1242"/>
                  </a:lnTo>
                  <a:lnTo>
                    <a:pt x="1632" y="1266"/>
                  </a:lnTo>
                  <a:lnTo>
                    <a:pt x="1638" y="1284"/>
                  </a:lnTo>
                  <a:lnTo>
                    <a:pt x="1638" y="1296"/>
                  </a:lnTo>
                  <a:lnTo>
                    <a:pt x="1632" y="1296"/>
                  </a:lnTo>
                  <a:lnTo>
                    <a:pt x="1632" y="1302"/>
                  </a:lnTo>
                  <a:lnTo>
                    <a:pt x="1638" y="1314"/>
                  </a:lnTo>
                  <a:lnTo>
                    <a:pt x="1638" y="1320"/>
                  </a:lnTo>
                  <a:lnTo>
                    <a:pt x="1632" y="1320"/>
                  </a:lnTo>
                  <a:lnTo>
                    <a:pt x="1632" y="1326"/>
                  </a:lnTo>
                  <a:lnTo>
                    <a:pt x="1644" y="1332"/>
                  </a:lnTo>
                  <a:lnTo>
                    <a:pt x="1644" y="1338"/>
                  </a:lnTo>
                  <a:lnTo>
                    <a:pt x="1650" y="1344"/>
                  </a:lnTo>
                  <a:lnTo>
                    <a:pt x="1668" y="1362"/>
                  </a:lnTo>
                  <a:lnTo>
                    <a:pt x="1668" y="1368"/>
                  </a:lnTo>
                  <a:lnTo>
                    <a:pt x="1674" y="1392"/>
                  </a:lnTo>
                  <a:lnTo>
                    <a:pt x="1686" y="140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2" name="Freeform 17">
              <a:extLst>
                <a:ext uri="{FF2B5EF4-FFF2-40B4-BE49-F238E27FC236}">
                  <a16:creationId xmlns:a16="http://schemas.microsoft.com/office/drawing/2014/main" id="{9F9DF7AF-2203-4CCB-AF1B-32CDAF87CC5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416927"/>
              <a:ext cx="816209" cy="574781"/>
            </a:xfrm>
            <a:custGeom>
              <a:avLst/>
              <a:gdLst>
                <a:gd name="T0" fmla="*/ 115 w 1536"/>
                <a:gd name="T1" fmla="*/ 89 h 1080"/>
                <a:gd name="T2" fmla="*/ 113 w 1536"/>
                <a:gd name="T3" fmla="*/ 92 h 1080"/>
                <a:gd name="T4" fmla="*/ 107 w 1536"/>
                <a:gd name="T5" fmla="*/ 93 h 1080"/>
                <a:gd name="T6" fmla="*/ 108 w 1536"/>
                <a:gd name="T7" fmla="*/ 90 h 1080"/>
                <a:gd name="T8" fmla="*/ 105 w 1536"/>
                <a:gd name="T9" fmla="*/ 87 h 1080"/>
                <a:gd name="T10" fmla="*/ 102 w 1536"/>
                <a:gd name="T11" fmla="*/ 85 h 1080"/>
                <a:gd name="T12" fmla="*/ 89 w 1536"/>
                <a:gd name="T13" fmla="*/ 80 h 1080"/>
                <a:gd name="T14" fmla="*/ 85 w 1536"/>
                <a:gd name="T15" fmla="*/ 82 h 1080"/>
                <a:gd name="T16" fmla="*/ 82 w 1536"/>
                <a:gd name="T17" fmla="*/ 80 h 1080"/>
                <a:gd name="T18" fmla="*/ 80 w 1536"/>
                <a:gd name="T19" fmla="*/ 75 h 1080"/>
                <a:gd name="T20" fmla="*/ 75 w 1536"/>
                <a:gd name="T21" fmla="*/ 72 h 1080"/>
                <a:gd name="T22" fmla="*/ 61 w 1536"/>
                <a:gd name="T23" fmla="*/ 70 h 1080"/>
                <a:gd name="T24" fmla="*/ 62 w 1536"/>
                <a:gd name="T25" fmla="*/ 72 h 1080"/>
                <a:gd name="T26" fmla="*/ 58 w 1536"/>
                <a:gd name="T27" fmla="*/ 75 h 1080"/>
                <a:gd name="T28" fmla="*/ 49 w 1536"/>
                <a:gd name="T29" fmla="*/ 76 h 1080"/>
                <a:gd name="T30" fmla="*/ 41 w 1536"/>
                <a:gd name="T31" fmla="*/ 79 h 1080"/>
                <a:gd name="T32" fmla="*/ 41 w 1536"/>
                <a:gd name="T33" fmla="*/ 77 h 1080"/>
                <a:gd name="T34" fmla="*/ 39 w 1536"/>
                <a:gd name="T35" fmla="*/ 74 h 1080"/>
                <a:gd name="T36" fmla="*/ 28 w 1536"/>
                <a:gd name="T37" fmla="*/ 78 h 1080"/>
                <a:gd name="T38" fmla="*/ 18 w 1536"/>
                <a:gd name="T39" fmla="*/ 85 h 1080"/>
                <a:gd name="T40" fmla="*/ 18 w 1536"/>
                <a:gd name="T41" fmla="*/ 77 h 1080"/>
                <a:gd name="T42" fmla="*/ 19 w 1536"/>
                <a:gd name="T43" fmla="*/ 69 h 1080"/>
                <a:gd name="T44" fmla="*/ 16 w 1536"/>
                <a:gd name="T45" fmla="*/ 69 h 1080"/>
                <a:gd name="T46" fmla="*/ 11 w 1536"/>
                <a:gd name="T47" fmla="*/ 69 h 1080"/>
                <a:gd name="T48" fmla="*/ 5 w 1536"/>
                <a:gd name="T49" fmla="*/ 68 h 1080"/>
                <a:gd name="T50" fmla="*/ 1 w 1536"/>
                <a:gd name="T51" fmla="*/ 63 h 1080"/>
                <a:gd name="T52" fmla="*/ 3 w 1536"/>
                <a:gd name="T53" fmla="*/ 59 h 1080"/>
                <a:gd name="T54" fmla="*/ 9 w 1536"/>
                <a:gd name="T55" fmla="*/ 54 h 1080"/>
                <a:gd name="T56" fmla="*/ 15 w 1536"/>
                <a:gd name="T57" fmla="*/ 47 h 1080"/>
                <a:gd name="T58" fmla="*/ 17 w 1536"/>
                <a:gd name="T59" fmla="*/ 40 h 1080"/>
                <a:gd name="T60" fmla="*/ 12 w 1536"/>
                <a:gd name="T61" fmla="*/ 33 h 1080"/>
                <a:gd name="T62" fmla="*/ 10 w 1536"/>
                <a:gd name="T63" fmla="*/ 21 h 1080"/>
                <a:gd name="T64" fmla="*/ 6 w 1536"/>
                <a:gd name="T65" fmla="*/ 14 h 1080"/>
                <a:gd name="T66" fmla="*/ 7 w 1536"/>
                <a:gd name="T67" fmla="*/ 9 h 1080"/>
                <a:gd name="T68" fmla="*/ 12 w 1536"/>
                <a:gd name="T69" fmla="*/ 7 h 1080"/>
                <a:gd name="T70" fmla="*/ 16 w 1536"/>
                <a:gd name="T71" fmla="*/ 8 h 1080"/>
                <a:gd name="T72" fmla="*/ 19 w 1536"/>
                <a:gd name="T73" fmla="*/ 8 h 1080"/>
                <a:gd name="T74" fmla="*/ 22 w 1536"/>
                <a:gd name="T75" fmla="*/ 9 h 1080"/>
                <a:gd name="T76" fmla="*/ 29 w 1536"/>
                <a:gd name="T77" fmla="*/ 12 h 1080"/>
                <a:gd name="T78" fmla="*/ 33 w 1536"/>
                <a:gd name="T79" fmla="*/ 13 h 1080"/>
                <a:gd name="T80" fmla="*/ 38 w 1536"/>
                <a:gd name="T81" fmla="*/ 15 h 1080"/>
                <a:gd name="T82" fmla="*/ 42 w 1536"/>
                <a:gd name="T83" fmla="*/ 17 h 1080"/>
                <a:gd name="T84" fmla="*/ 47 w 1536"/>
                <a:gd name="T85" fmla="*/ 19 h 1080"/>
                <a:gd name="T86" fmla="*/ 51 w 1536"/>
                <a:gd name="T87" fmla="*/ 21 h 1080"/>
                <a:gd name="T88" fmla="*/ 50 w 1536"/>
                <a:gd name="T89" fmla="*/ 15 h 1080"/>
                <a:gd name="T90" fmla="*/ 56 w 1536"/>
                <a:gd name="T91" fmla="*/ 0 h 1080"/>
                <a:gd name="T92" fmla="*/ 74 w 1536"/>
                <a:gd name="T93" fmla="*/ 5 h 1080"/>
                <a:gd name="T94" fmla="*/ 87 w 1536"/>
                <a:gd name="T95" fmla="*/ 6 h 1080"/>
                <a:gd name="T96" fmla="*/ 92 w 1536"/>
                <a:gd name="T97" fmla="*/ 11 h 1080"/>
                <a:gd name="T98" fmla="*/ 95 w 1536"/>
                <a:gd name="T99" fmla="*/ 15 h 1080"/>
                <a:gd name="T100" fmla="*/ 93 w 1536"/>
                <a:gd name="T101" fmla="*/ 20 h 1080"/>
                <a:gd name="T102" fmla="*/ 108 w 1536"/>
                <a:gd name="T103" fmla="*/ 18 h 1080"/>
                <a:gd name="T104" fmla="*/ 120 w 1536"/>
                <a:gd name="T105" fmla="*/ 21 h 1080"/>
                <a:gd name="T106" fmla="*/ 127 w 1536"/>
                <a:gd name="T107" fmla="*/ 29 h 1080"/>
                <a:gd name="T108" fmla="*/ 130 w 1536"/>
                <a:gd name="T109" fmla="*/ 30 h 1080"/>
                <a:gd name="T110" fmla="*/ 130 w 1536"/>
                <a:gd name="T111" fmla="*/ 49 h 1080"/>
                <a:gd name="T112" fmla="*/ 120 w 1536"/>
                <a:gd name="T113" fmla="*/ 69 h 1080"/>
                <a:gd name="T114" fmla="*/ 119 w 1536"/>
                <a:gd name="T115" fmla="*/ 74 h 1080"/>
                <a:gd name="T116" fmla="*/ 118 w 1536"/>
                <a:gd name="T117" fmla="*/ 80 h 108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536"/>
                <a:gd name="T178" fmla="*/ 0 h 1080"/>
                <a:gd name="T179" fmla="*/ 1536 w 1536"/>
                <a:gd name="T180" fmla="*/ 1080 h 108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536" h="1080">
                  <a:moveTo>
                    <a:pt x="1350" y="1020"/>
                  </a:moveTo>
                  <a:lnTo>
                    <a:pt x="1350" y="1026"/>
                  </a:lnTo>
                  <a:lnTo>
                    <a:pt x="1344" y="1026"/>
                  </a:lnTo>
                  <a:lnTo>
                    <a:pt x="1338" y="1032"/>
                  </a:lnTo>
                  <a:lnTo>
                    <a:pt x="1332" y="1026"/>
                  </a:lnTo>
                  <a:lnTo>
                    <a:pt x="1326" y="1026"/>
                  </a:lnTo>
                  <a:lnTo>
                    <a:pt x="1320" y="1020"/>
                  </a:lnTo>
                  <a:lnTo>
                    <a:pt x="1314" y="1026"/>
                  </a:lnTo>
                  <a:lnTo>
                    <a:pt x="1314" y="1032"/>
                  </a:lnTo>
                  <a:lnTo>
                    <a:pt x="1308" y="1038"/>
                  </a:lnTo>
                  <a:lnTo>
                    <a:pt x="1308" y="1044"/>
                  </a:lnTo>
                  <a:lnTo>
                    <a:pt x="1308" y="1050"/>
                  </a:lnTo>
                  <a:lnTo>
                    <a:pt x="1308" y="1056"/>
                  </a:lnTo>
                  <a:lnTo>
                    <a:pt x="1308" y="1062"/>
                  </a:lnTo>
                  <a:lnTo>
                    <a:pt x="1296" y="1068"/>
                  </a:lnTo>
                  <a:lnTo>
                    <a:pt x="1284" y="1074"/>
                  </a:lnTo>
                  <a:lnTo>
                    <a:pt x="1272" y="1080"/>
                  </a:lnTo>
                  <a:lnTo>
                    <a:pt x="1260" y="1080"/>
                  </a:lnTo>
                  <a:lnTo>
                    <a:pt x="1254" y="1074"/>
                  </a:lnTo>
                  <a:lnTo>
                    <a:pt x="1236" y="1074"/>
                  </a:lnTo>
                  <a:lnTo>
                    <a:pt x="1230" y="1074"/>
                  </a:lnTo>
                  <a:lnTo>
                    <a:pt x="1236" y="1074"/>
                  </a:lnTo>
                  <a:lnTo>
                    <a:pt x="1236" y="1068"/>
                  </a:lnTo>
                  <a:lnTo>
                    <a:pt x="1236" y="1062"/>
                  </a:lnTo>
                  <a:lnTo>
                    <a:pt x="1236" y="1056"/>
                  </a:lnTo>
                  <a:lnTo>
                    <a:pt x="1242" y="1050"/>
                  </a:lnTo>
                  <a:lnTo>
                    <a:pt x="1242" y="1044"/>
                  </a:lnTo>
                  <a:lnTo>
                    <a:pt x="1242" y="1038"/>
                  </a:lnTo>
                  <a:lnTo>
                    <a:pt x="1248" y="1032"/>
                  </a:lnTo>
                  <a:lnTo>
                    <a:pt x="1236" y="1026"/>
                  </a:lnTo>
                  <a:lnTo>
                    <a:pt x="1218" y="1020"/>
                  </a:lnTo>
                  <a:lnTo>
                    <a:pt x="1224" y="1014"/>
                  </a:lnTo>
                  <a:lnTo>
                    <a:pt x="1218" y="1008"/>
                  </a:lnTo>
                  <a:lnTo>
                    <a:pt x="1218" y="1002"/>
                  </a:lnTo>
                  <a:lnTo>
                    <a:pt x="1212" y="1008"/>
                  </a:lnTo>
                  <a:lnTo>
                    <a:pt x="1206" y="1002"/>
                  </a:lnTo>
                  <a:lnTo>
                    <a:pt x="1212" y="1002"/>
                  </a:lnTo>
                  <a:lnTo>
                    <a:pt x="1212" y="996"/>
                  </a:lnTo>
                  <a:lnTo>
                    <a:pt x="1200" y="990"/>
                  </a:lnTo>
                  <a:lnTo>
                    <a:pt x="1200" y="984"/>
                  </a:lnTo>
                  <a:lnTo>
                    <a:pt x="1188" y="984"/>
                  </a:lnTo>
                  <a:lnTo>
                    <a:pt x="1176" y="978"/>
                  </a:lnTo>
                  <a:lnTo>
                    <a:pt x="1164" y="960"/>
                  </a:lnTo>
                  <a:lnTo>
                    <a:pt x="1152" y="936"/>
                  </a:lnTo>
                  <a:lnTo>
                    <a:pt x="1146" y="936"/>
                  </a:lnTo>
                  <a:lnTo>
                    <a:pt x="1128" y="900"/>
                  </a:lnTo>
                  <a:lnTo>
                    <a:pt x="1038" y="912"/>
                  </a:lnTo>
                  <a:lnTo>
                    <a:pt x="1038" y="918"/>
                  </a:lnTo>
                  <a:lnTo>
                    <a:pt x="1032" y="924"/>
                  </a:lnTo>
                  <a:lnTo>
                    <a:pt x="1026" y="918"/>
                  </a:lnTo>
                  <a:lnTo>
                    <a:pt x="1020" y="924"/>
                  </a:lnTo>
                  <a:lnTo>
                    <a:pt x="1008" y="936"/>
                  </a:lnTo>
                  <a:lnTo>
                    <a:pt x="990" y="936"/>
                  </a:lnTo>
                  <a:lnTo>
                    <a:pt x="990" y="942"/>
                  </a:lnTo>
                  <a:lnTo>
                    <a:pt x="996" y="942"/>
                  </a:lnTo>
                  <a:lnTo>
                    <a:pt x="984" y="948"/>
                  </a:lnTo>
                  <a:lnTo>
                    <a:pt x="972" y="948"/>
                  </a:lnTo>
                  <a:lnTo>
                    <a:pt x="960" y="948"/>
                  </a:lnTo>
                  <a:lnTo>
                    <a:pt x="948" y="942"/>
                  </a:lnTo>
                  <a:lnTo>
                    <a:pt x="948" y="936"/>
                  </a:lnTo>
                  <a:lnTo>
                    <a:pt x="942" y="936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30" y="924"/>
                  </a:lnTo>
                  <a:lnTo>
                    <a:pt x="936" y="918"/>
                  </a:lnTo>
                  <a:lnTo>
                    <a:pt x="918" y="918"/>
                  </a:lnTo>
                  <a:lnTo>
                    <a:pt x="918" y="900"/>
                  </a:lnTo>
                  <a:lnTo>
                    <a:pt x="924" y="900"/>
                  </a:lnTo>
                  <a:lnTo>
                    <a:pt x="924" y="894"/>
                  </a:lnTo>
                  <a:lnTo>
                    <a:pt x="924" y="870"/>
                  </a:lnTo>
                  <a:lnTo>
                    <a:pt x="924" y="864"/>
                  </a:lnTo>
                  <a:lnTo>
                    <a:pt x="918" y="858"/>
                  </a:lnTo>
                  <a:lnTo>
                    <a:pt x="918" y="852"/>
                  </a:lnTo>
                  <a:lnTo>
                    <a:pt x="906" y="840"/>
                  </a:lnTo>
                  <a:lnTo>
                    <a:pt x="894" y="834"/>
                  </a:lnTo>
                  <a:lnTo>
                    <a:pt x="876" y="822"/>
                  </a:lnTo>
                  <a:lnTo>
                    <a:pt x="870" y="828"/>
                  </a:lnTo>
                  <a:lnTo>
                    <a:pt x="858" y="816"/>
                  </a:lnTo>
                  <a:lnTo>
                    <a:pt x="810" y="798"/>
                  </a:lnTo>
                  <a:lnTo>
                    <a:pt x="774" y="792"/>
                  </a:lnTo>
                  <a:lnTo>
                    <a:pt x="732" y="798"/>
                  </a:lnTo>
                  <a:lnTo>
                    <a:pt x="726" y="804"/>
                  </a:lnTo>
                  <a:lnTo>
                    <a:pt x="714" y="810"/>
                  </a:lnTo>
                  <a:lnTo>
                    <a:pt x="702" y="810"/>
                  </a:lnTo>
                  <a:lnTo>
                    <a:pt x="690" y="810"/>
                  </a:lnTo>
                  <a:lnTo>
                    <a:pt x="696" y="816"/>
                  </a:lnTo>
                  <a:lnTo>
                    <a:pt x="696" y="822"/>
                  </a:lnTo>
                  <a:lnTo>
                    <a:pt x="702" y="822"/>
                  </a:lnTo>
                  <a:lnTo>
                    <a:pt x="708" y="822"/>
                  </a:lnTo>
                  <a:lnTo>
                    <a:pt x="708" y="828"/>
                  </a:lnTo>
                  <a:lnTo>
                    <a:pt x="708" y="834"/>
                  </a:lnTo>
                  <a:lnTo>
                    <a:pt x="714" y="834"/>
                  </a:lnTo>
                  <a:lnTo>
                    <a:pt x="708" y="846"/>
                  </a:lnTo>
                  <a:lnTo>
                    <a:pt x="708" y="852"/>
                  </a:lnTo>
                  <a:lnTo>
                    <a:pt x="702" y="852"/>
                  </a:lnTo>
                  <a:lnTo>
                    <a:pt x="696" y="858"/>
                  </a:lnTo>
                  <a:lnTo>
                    <a:pt x="690" y="864"/>
                  </a:lnTo>
                  <a:lnTo>
                    <a:pt x="666" y="870"/>
                  </a:lnTo>
                  <a:lnTo>
                    <a:pt x="660" y="876"/>
                  </a:lnTo>
                  <a:lnTo>
                    <a:pt x="642" y="876"/>
                  </a:lnTo>
                  <a:lnTo>
                    <a:pt x="606" y="882"/>
                  </a:lnTo>
                  <a:lnTo>
                    <a:pt x="588" y="882"/>
                  </a:lnTo>
                  <a:lnTo>
                    <a:pt x="582" y="876"/>
                  </a:lnTo>
                  <a:lnTo>
                    <a:pt x="576" y="876"/>
                  </a:lnTo>
                  <a:lnTo>
                    <a:pt x="564" y="876"/>
                  </a:lnTo>
                  <a:lnTo>
                    <a:pt x="552" y="882"/>
                  </a:lnTo>
                  <a:lnTo>
                    <a:pt x="540" y="894"/>
                  </a:lnTo>
                  <a:lnTo>
                    <a:pt x="534" y="906"/>
                  </a:lnTo>
                  <a:lnTo>
                    <a:pt x="528" y="912"/>
                  </a:lnTo>
                  <a:lnTo>
                    <a:pt x="516" y="924"/>
                  </a:lnTo>
                  <a:lnTo>
                    <a:pt x="486" y="930"/>
                  </a:lnTo>
                  <a:lnTo>
                    <a:pt x="474" y="912"/>
                  </a:lnTo>
                  <a:lnTo>
                    <a:pt x="474" y="906"/>
                  </a:lnTo>
                  <a:lnTo>
                    <a:pt x="468" y="906"/>
                  </a:lnTo>
                  <a:lnTo>
                    <a:pt x="468" y="900"/>
                  </a:lnTo>
                  <a:lnTo>
                    <a:pt x="462" y="894"/>
                  </a:lnTo>
                  <a:lnTo>
                    <a:pt x="456" y="894"/>
                  </a:lnTo>
                  <a:lnTo>
                    <a:pt x="462" y="888"/>
                  </a:lnTo>
                  <a:lnTo>
                    <a:pt x="468" y="888"/>
                  </a:lnTo>
                  <a:lnTo>
                    <a:pt x="462" y="882"/>
                  </a:lnTo>
                  <a:lnTo>
                    <a:pt x="462" y="876"/>
                  </a:lnTo>
                  <a:lnTo>
                    <a:pt x="456" y="870"/>
                  </a:lnTo>
                  <a:lnTo>
                    <a:pt x="456" y="864"/>
                  </a:lnTo>
                  <a:lnTo>
                    <a:pt x="450" y="858"/>
                  </a:lnTo>
                  <a:lnTo>
                    <a:pt x="444" y="858"/>
                  </a:lnTo>
                  <a:lnTo>
                    <a:pt x="444" y="852"/>
                  </a:lnTo>
                  <a:lnTo>
                    <a:pt x="438" y="852"/>
                  </a:lnTo>
                  <a:lnTo>
                    <a:pt x="438" y="858"/>
                  </a:lnTo>
                  <a:lnTo>
                    <a:pt x="402" y="870"/>
                  </a:lnTo>
                  <a:lnTo>
                    <a:pt x="390" y="882"/>
                  </a:lnTo>
                  <a:lnTo>
                    <a:pt x="384" y="900"/>
                  </a:lnTo>
                  <a:lnTo>
                    <a:pt x="342" y="900"/>
                  </a:lnTo>
                  <a:lnTo>
                    <a:pt x="324" y="900"/>
                  </a:lnTo>
                  <a:lnTo>
                    <a:pt x="294" y="906"/>
                  </a:lnTo>
                  <a:lnTo>
                    <a:pt x="282" y="948"/>
                  </a:lnTo>
                  <a:lnTo>
                    <a:pt x="282" y="978"/>
                  </a:lnTo>
                  <a:lnTo>
                    <a:pt x="270" y="1008"/>
                  </a:lnTo>
                  <a:lnTo>
                    <a:pt x="240" y="1014"/>
                  </a:lnTo>
                  <a:lnTo>
                    <a:pt x="216" y="996"/>
                  </a:lnTo>
                  <a:lnTo>
                    <a:pt x="204" y="984"/>
                  </a:lnTo>
                  <a:lnTo>
                    <a:pt x="192" y="966"/>
                  </a:lnTo>
                  <a:lnTo>
                    <a:pt x="186" y="948"/>
                  </a:lnTo>
                  <a:lnTo>
                    <a:pt x="174" y="948"/>
                  </a:lnTo>
                  <a:lnTo>
                    <a:pt x="174" y="936"/>
                  </a:lnTo>
                  <a:lnTo>
                    <a:pt x="186" y="924"/>
                  </a:lnTo>
                  <a:lnTo>
                    <a:pt x="198" y="906"/>
                  </a:lnTo>
                  <a:lnTo>
                    <a:pt x="204" y="888"/>
                  </a:lnTo>
                  <a:lnTo>
                    <a:pt x="222" y="870"/>
                  </a:lnTo>
                  <a:lnTo>
                    <a:pt x="234" y="858"/>
                  </a:lnTo>
                  <a:lnTo>
                    <a:pt x="234" y="852"/>
                  </a:lnTo>
                  <a:lnTo>
                    <a:pt x="222" y="852"/>
                  </a:lnTo>
                  <a:lnTo>
                    <a:pt x="228" y="810"/>
                  </a:lnTo>
                  <a:lnTo>
                    <a:pt x="222" y="798"/>
                  </a:lnTo>
                  <a:lnTo>
                    <a:pt x="216" y="798"/>
                  </a:lnTo>
                  <a:lnTo>
                    <a:pt x="216" y="792"/>
                  </a:lnTo>
                  <a:lnTo>
                    <a:pt x="210" y="792"/>
                  </a:lnTo>
                  <a:lnTo>
                    <a:pt x="204" y="798"/>
                  </a:lnTo>
                  <a:lnTo>
                    <a:pt x="204" y="792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0" y="786"/>
                  </a:lnTo>
                  <a:lnTo>
                    <a:pt x="174" y="792"/>
                  </a:lnTo>
                  <a:lnTo>
                    <a:pt x="162" y="792"/>
                  </a:lnTo>
                  <a:lnTo>
                    <a:pt x="156" y="792"/>
                  </a:lnTo>
                  <a:lnTo>
                    <a:pt x="156" y="798"/>
                  </a:lnTo>
                  <a:lnTo>
                    <a:pt x="138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6" y="804"/>
                  </a:lnTo>
                  <a:lnTo>
                    <a:pt x="102" y="810"/>
                  </a:lnTo>
                  <a:lnTo>
                    <a:pt x="90" y="810"/>
                  </a:lnTo>
                  <a:lnTo>
                    <a:pt x="72" y="798"/>
                  </a:lnTo>
                  <a:lnTo>
                    <a:pt x="66" y="780"/>
                  </a:lnTo>
                  <a:lnTo>
                    <a:pt x="60" y="780"/>
                  </a:lnTo>
                  <a:lnTo>
                    <a:pt x="60" y="768"/>
                  </a:lnTo>
                  <a:lnTo>
                    <a:pt x="54" y="768"/>
                  </a:lnTo>
                  <a:lnTo>
                    <a:pt x="24" y="756"/>
                  </a:lnTo>
                  <a:lnTo>
                    <a:pt x="18" y="744"/>
                  </a:lnTo>
                  <a:lnTo>
                    <a:pt x="12" y="738"/>
                  </a:lnTo>
                  <a:lnTo>
                    <a:pt x="18" y="732"/>
                  </a:lnTo>
                  <a:lnTo>
                    <a:pt x="12" y="726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8" y="696"/>
                  </a:lnTo>
                  <a:lnTo>
                    <a:pt x="24" y="708"/>
                  </a:lnTo>
                  <a:lnTo>
                    <a:pt x="36" y="702"/>
                  </a:lnTo>
                  <a:lnTo>
                    <a:pt x="36" y="678"/>
                  </a:lnTo>
                  <a:lnTo>
                    <a:pt x="36" y="660"/>
                  </a:lnTo>
                  <a:lnTo>
                    <a:pt x="42" y="654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72" y="624"/>
                  </a:lnTo>
                  <a:lnTo>
                    <a:pt x="90" y="618"/>
                  </a:lnTo>
                  <a:lnTo>
                    <a:pt x="102" y="618"/>
                  </a:lnTo>
                  <a:lnTo>
                    <a:pt x="114" y="612"/>
                  </a:lnTo>
                  <a:lnTo>
                    <a:pt x="138" y="606"/>
                  </a:lnTo>
                  <a:lnTo>
                    <a:pt x="144" y="606"/>
                  </a:lnTo>
                  <a:lnTo>
                    <a:pt x="150" y="594"/>
                  </a:lnTo>
                  <a:lnTo>
                    <a:pt x="156" y="576"/>
                  </a:lnTo>
                  <a:lnTo>
                    <a:pt x="168" y="552"/>
                  </a:lnTo>
                  <a:lnTo>
                    <a:pt x="168" y="540"/>
                  </a:lnTo>
                  <a:lnTo>
                    <a:pt x="180" y="522"/>
                  </a:lnTo>
                  <a:lnTo>
                    <a:pt x="186" y="498"/>
                  </a:lnTo>
                  <a:lnTo>
                    <a:pt x="198" y="480"/>
                  </a:lnTo>
                  <a:lnTo>
                    <a:pt x="204" y="486"/>
                  </a:lnTo>
                  <a:lnTo>
                    <a:pt x="210" y="480"/>
                  </a:lnTo>
                  <a:lnTo>
                    <a:pt x="204" y="474"/>
                  </a:lnTo>
                  <a:lnTo>
                    <a:pt x="198" y="462"/>
                  </a:lnTo>
                  <a:lnTo>
                    <a:pt x="192" y="456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50"/>
                  </a:lnTo>
                  <a:lnTo>
                    <a:pt x="132" y="426"/>
                  </a:lnTo>
                  <a:lnTo>
                    <a:pt x="132" y="396"/>
                  </a:lnTo>
                  <a:lnTo>
                    <a:pt x="132" y="378"/>
                  </a:lnTo>
                  <a:lnTo>
                    <a:pt x="126" y="348"/>
                  </a:lnTo>
                  <a:lnTo>
                    <a:pt x="132" y="312"/>
                  </a:lnTo>
                  <a:lnTo>
                    <a:pt x="126" y="288"/>
                  </a:lnTo>
                  <a:lnTo>
                    <a:pt x="138" y="282"/>
                  </a:lnTo>
                  <a:lnTo>
                    <a:pt x="126" y="264"/>
                  </a:lnTo>
                  <a:lnTo>
                    <a:pt x="126" y="258"/>
                  </a:lnTo>
                  <a:lnTo>
                    <a:pt x="120" y="246"/>
                  </a:lnTo>
                  <a:lnTo>
                    <a:pt x="126" y="234"/>
                  </a:lnTo>
                  <a:lnTo>
                    <a:pt x="114" y="228"/>
                  </a:lnTo>
                  <a:lnTo>
                    <a:pt x="114" y="222"/>
                  </a:lnTo>
                  <a:lnTo>
                    <a:pt x="96" y="204"/>
                  </a:lnTo>
                  <a:lnTo>
                    <a:pt x="84" y="180"/>
                  </a:lnTo>
                  <a:lnTo>
                    <a:pt x="78" y="168"/>
                  </a:lnTo>
                  <a:lnTo>
                    <a:pt x="72" y="162"/>
                  </a:lnTo>
                  <a:lnTo>
                    <a:pt x="66" y="144"/>
                  </a:lnTo>
                  <a:lnTo>
                    <a:pt x="60" y="138"/>
                  </a:lnTo>
                  <a:lnTo>
                    <a:pt x="66" y="126"/>
                  </a:lnTo>
                  <a:lnTo>
                    <a:pt x="66" y="114"/>
                  </a:lnTo>
                  <a:lnTo>
                    <a:pt x="72" y="114"/>
                  </a:lnTo>
                  <a:lnTo>
                    <a:pt x="72" y="108"/>
                  </a:lnTo>
                  <a:lnTo>
                    <a:pt x="78" y="102"/>
                  </a:lnTo>
                  <a:lnTo>
                    <a:pt x="78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120" y="78"/>
                  </a:lnTo>
                  <a:lnTo>
                    <a:pt x="144" y="84"/>
                  </a:lnTo>
                  <a:lnTo>
                    <a:pt x="150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74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92" y="102"/>
                  </a:lnTo>
                  <a:lnTo>
                    <a:pt x="198" y="96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16" y="96"/>
                  </a:lnTo>
                  <a:lnTo>
                    <a:pt x="222" y="96"/>
                  </a:lnTo>
                  <a:lnTo>
                    <a:pt x="228" y="96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94" y="114"/>
                  </a:lnTo>
                  <a:lnTo>
                    <a:pt x="312" y="120"/>
                  </a:lnTo>
                  <a:lnTo>
                    <a:pt x="318" y="126"/>
                  </a:lnTo>
                  <a:lnTo>
                    <a:pt x="330" y="132"/>
                  </a:lnTo>
                  <a:lnTo>
                    <a:pt x="342" y="132"/>
                  </a:lnTo>
                  <a:lnTo>
                    <a:pt x="348" y="132"/>
                  </a:lnTo>
                  <a:lnTo>
                    <a:pt x="354" y="138"/>
                  </a:lnTo>
                  <a:lnTo>
                    <a:pt x="366" y="138"/>
                  </a:lnTo>
                  <a:lnTo>
                    <a:pt x="372" y="144"/>
                  </a:lnTo>
                  <a:lnTo>
                    <a:pt x="378" y="150"/>
                  </a:lnTo>
                  <a:lnTo>
                    <a:pt x="384" y="150"/>
                  </a:lnTo>
                  <a:lnTo>
                    <a:pt x="390" y="150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14" y="156"/>
                  </a:lnTo>
                  <a:lnTo>
                    <a:pt x="420" y="156"/>
                  </a:lnTo>
                  <a:lnTo>
                    <a:pt x="426" y="162"/>
                  </a:lnTo>
                  <a:lnTo>
                    <a:pt x="438" y="168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62" y="174"/>
                  </a:lnTo>
                  <a:lnTo>
                    <a:pt x="468" y="174"/>
                  </a:lnTo>
                  <a:lnTo>
                    <a:pt x="474" y="174"/>
                  </a:lnTo>
                  <a:lnTo>
                    <a:pt x="474" y="180"/>
                  </a:lnTo>
                  <a:lnTo>
                    <a:pt x="480" y="192"/>
                  </a:lnTo>
                  <a:lnTo>
                    <a:pt x="498" y="198"/>
                  </a:lnTo>
                  <a:lnTo>
                    <a:pt x="510" y="210"/>
                  </a:lnTo>
                  <a:lnTo>
                    <a:pt x="516" y="210"/>
                  </a:lnTo>
                  <a:lnTo>
                    <a:pt x="522" y="210"/>
                  </a:lnTo>
                  <a:lnTo>
                    <a:pt x="534" y="216"/>
                  </a:lnTo>
                  <a:lnTo>
                    <a:pt x="540" y="216"/>
                  </a:lnTo>
                  <a:lnTo>
                    <a:pt x="546" y="222"/>
                  </a:lnTo>
                  <a:lnTo>
                    <a:pt x="552" y="222"/>
                  </a:lnTo>
                  <a:lnTo>
                    <a:pt x="558" y="228"/>
                  </a:lnTo>
                  <a:lnTo>
                    <a:pt x="564" y="228"/>
                  </a:lnTo>
                  <a:lnTo>
                    <a:pt x="570" y="234"/>
                  </a:lnTo>
                  <a:lnTo>
                    <a:pt x="576" y="240"/>
                  </a:lnTo>
                  <a:lnTo>
                    <a:pt x="582" y="240"/>
                  </a:lnTo>
                  <a:lnTo>
                    <a:pt x="588" y="240"/>
                  </a:lnTo>
                  <a:lnTo>
                    <a:pt x="594" y="240"/>
                  </a:lnTo>
                  <a:lnTo>
                    <a:pt x="600" y="228"/>
                  </a:lnTo>
                  <a:lnTo>
                    <a:pt x="588" y="216"/>
                  </a:lnTo>
                  <a:lnTo>
                    <a:pt x="588" y="198"/>
                  </a:lnTo>
                  <a:lnTo>
                    <a:pt x="582" y="198"/>
                  </a:lnTo>
                  <a:lnTo>
                    <a:pt x="588" y="192"/>
                  </a:lnTo>
                  <a:lnTo>
                    <a:pt x="582" y="168"/>
                  </a:lnTo>
                  <a:lnTo>
                    <a:pt x="558" y="114"/>
                  </a:lnTo>
                  <a:lnTo>
                    <a:pt x="552" y="90"/>
                  </a:lnTo>
                  <a:lnTo>
                    <a:pt x="558" y="60"/>
                  </a:lnTo>
                  <a:lnTo>
                    <a:pt x="564" y="48"/>
                  </a:lnTo>
                  <a:lnTo>
                    <a:pt x="582" y="42"/>
                  </a:lnTo>
                  <a:lnTo>
                    <a:pt x="624" y="6"/>
                  </a:lnTo>
                  <a:lnTo>
                    <a:pt x="648" y="0"/>
                  </a:lnTo>
                  <a:lnTo>
                    <a:pt x="678" y="0"/>
                  </a:lnTo>
                  <a:lnTo>
                    <a:pt x="720" y="12"/>
                  </a:lnTo>
                  <a:lnTo>
                    <a:pt x="744" y="24"/>
                  </a:lnTo>
                  <a:lnTo>
                    <a:pt x="768" y="42"/>
                  </a:lnTo>
                  <a:lnTo>
                    <a:pt x="816" y="48"/>
                  </a:lnTo>
                  <a:lnTo>
                    <a:pt x="834" y="48"/>
                  </a:lnTo>
                  <a:lnTo>
                    <a:pt x="852" y="54"/>
                  </a:lnTo>
                  <a:lnTo>
                    <a:pt x="906" y="60"/>
                  </a:lnTo>
                  <a:lnTo>
                    <a:pt x="948" y="54"/>
                  </a:lnTo>
                  <a:lnTo>
                    <a:pt x="978" y="42"/>
                  </a:lnTo>
                  <a:lnTo>
                    <a:pt x="984" y="48"/>
                  </a:lnTo>
                  <a:lnTo>
                    <a:pt x="990" y="60"/>
                  </a:lnTo>
                  <a:lnTo>
                    <a:pt x="996" y="66"/>
                  </a:lnTo>
                  <a:lnTo>
                    <a:pt x="1002" y="72"/>
                  </a:lnTo>
                  <a:lnTo>
                    <a:pt x="1014" y="78"/>
                  </a:lnTo>
                  <a:lnTo>
                    <a:pt x="1014" y="84"/>
                  </a:lnTo>
                  <a:lnTo>
                    <a:pt x="1032" y="84"/>
                  </a:lnTo>
                  <a:lnTo>
                    <a:pt x="1032" y="90"/>
                  </a:lnTo>
                  <a:lnTo>
                    <a:pt x="1032" y="96"/>
                  </a:lnTo>
                  <a:lnTo>
                    <a:pt x="1032" y="108"/>
                  </a:lnTo>
                  <a:lnTo>
                    <a:pt x="1056" y="126"/>
                  </a:lnTo>
                  <a:lnTo>
                    <a:pt x="1068" y="138"/>
                  </a:lnTo>
                  <a:lnTo>
                    <a:pt x="1068" y="156"/>
                  </a:lnTo>
                  <a:lnTo>
                    <a:pt x="1080" y="150"/>
                  </a:lnTo>
                  <a:lnTo>
                    <a:pt x="1086" y="150"/>
                  </a:lnTo>
                  <a:lnTo>
                    <a:pt x="1092" y="156"/>
                  </a:lnTo>
                  <a:lnTo>
                    <a:pt x="1092" y="162"/>
                  </a:lnTo>
                  <a:lnTo>
                    <a:pt x="1092" y="168"/>
                  </a:lnTo>
                  <a:lnTo>
                    <a:pt x="1098" y="168"/>
                  </a:lnTo>
                  <a:lnTo>
                    <a:pt x="1092" y="180"/>
                  </a:lnTo>
                  <a:lnTo>
                    <a:pt x="1092" y="186"/>
                  </a:lnTo>
                  <a:lnTo>
                    <a:pt x="1086" y="192"/>
                  </a:lnTo>
                  <a:lnTo>
                    <a:pt x="1068" y="210"/>
                  </a:lnTo>
                  <a:lnTo>
                    <a:pt x="1068" y="216"/>
                  </a:lnTo>
                  <a:lnTo>
                    <a:pt x="1074" y="228"/>
                  </a:lnTo>
                  <a:lnTo>
                    <a:pt x="1092" y="234"/>
                  </a:lnTo>
                  <a:lnTo>
                    <a:pt x="1122" y="216"/>
                  </a:lnTo>
                  <a:lnTo>
                    <a:pt x="1188" y="204"/>
                  </a:lnTo>
                  <a:lnTo>
                    <a:pt x="1212" y="204"/>
                  </a:lnTo>
                  <a:lnTo>
                    <a:pt x="1230" y="198"/>
                  </a:lnTo>
                  <a:lnTo>
                    <a:pt x="1236" y="204"/>
                  </a:lnTo>
                  <a:lnTo>
                    <a:pt x="1242" y="210"/>
                  </a:lnTo>
                  <a:lnTo>
                    <a:pt x="1242" y="204"/>
                  </a:lnTo>
                  <a:lnTo>
                    <a:pt x="1248" y="198"/>
                  </a:lnTo>
                  <a:lnTo>
                    <a:pt x="1308" y="204"/>
                  </a:lnTo>
                  <a:lnTo>
                    <a:pt x="1338" y="204"/>
                  </a:lnTo>
                  <a:lnTo>
                    <a:pt x="1374" y="228"/>
                  </a:lnTo>
                  <a:lnTo>
                    <a:pt x="1380" y="234"/>
                  </a:lnTo>
                  <a:lnTo>
                    <a:pt x="1380" y="240"/>
                  </a:lnTo>
                  <a:lnTo>
                    <a:pt x="1386" y="252"/>
                  </a:lnTo>
                  <a:lnTo>
                    <a:pt x="1392" y="252"/>
                  </a:lnTo>
                  <a:lnTo>
                    <a:pt x="1416" y="270"/>
                  </a:lnTo>
                  <a:lnTo>
                    <a:pt x="1428" y="294"/>
                  </a:lnTo>
                  <a:lnTo>
                    <a:pt x="1440" y="312"/>
                  </a:lnTo>
                  <a:lnTo>
                    <a:pt x="1452" y="330"/>
                  </a:lnTo>
                  <a:lnTo>
                    <a:pt x="1464" y="330"/>
                  </a:lnTo>
                  <a:lnTo>
                    <a:pt x="1464" y="336"/>
                  </a:lnTo>
                  <a:lnTo>
                    <a:pt x="1470" y="336"/>
                  </a:lnTo>
                  <a:lnTo>
                    <a:pt x="1470" y="342"/>
                  </a:lnTo>
                  <a:lnTo>
                    <a:pt x="1476" y="342"/>
                  </a:lnTo>
                  <a:lnTo>
                    <a:pt x="1488" y="336"/>
                  </a:lnTo>
                  <a:lnTo>
                    <a:pt x="1494" y="342"/>
                  </a:lnTo>
                  <a:lnTo>
                    <a:pt x="1500" y="342"/>
                  </a:lnTo>
                  <a:lnTo>
                    <a:pt x="1512" y="366"/>
                  </a:lnTo>
                  <a:lnTo>
                    <a:pt x="1530" y="396"/>
                  </a:lnTo>
                  <a:lnTo>
                    <a:pt x="1536" y="444"/>
                  </a:lnTo>
                  <a:lnTo>
                    <a:pt x="1530" y="480"/>
                  </a:lnTo>
                  <a:lnTo>
                    <a:pt x="1506" y="510"/>
                  </a:lnTo>
                  <a:lnTo>
                    <a:pt x="1500" y="546"/>
                  </a:lnTo>
                  <a:lnTo>
                    <a:pt x="1494" y="564"/>
                  </a:lnTo>
                  <a:lnTo>
                    <a:pt x="1494" y="576"/>
                  </a:lnTo>
                  <a:lnTo>
                    <a:pt x="1500" y="582"/>
                  </a:lnTo>
                  <a:lnTo>
                    <a:pt x="1494" y="612"/>
                  </a:lnTo>
                  <a:lnTo>
                    <a:pt x="1476" y="630"/>
                  </a:lnTo>
                  <a:lnTo>
                    <a:pt x="1434" y="672"/>
                  </a:lnTo>
                  <a:lnTo>
                    <a:pt x="1392" y="756"/>
                  </a:lnTo>
                  <a:lnTo>
                    <a:pt x="1380" y="792"/>
                  </a:lnTo>
                  <a:lnTo>
                    <a:pt x="1374" y="798"/>
                  </a:lnTo>
                  <a:lnTo>
                    <a:pt x="1368" y="798"/>
                  </a:lnTo>
                  <a:lnTo>
                    <a:pt x="1380" y="804"/>
                  </a:lnTo>
                  <a:lnTo>
                    <a:pt x="1386" y="804"/>
                  </a:lnTo>
                  <a:lnTo>
                    <a:pt x="1380" y="822"/>
                  </a:lnTo>
                  <a:lnTo>
                    <a:pt x="1380" y="852"/>
                  </a:lnTo>
                  <a:lnTo>
                    <a:pt x="1374" y="858"/>
                  </a:lnTo>
                  <a:lnTo>
                    <a:pt x="1380" y="858"/>
                  </a:lnTo>
                  <a:lnTo>
                    <a:pt x="1374" y="864"/>
                  </a:lnTo>
                  <a:lnTo>
                    <a:pt x="1374" y="870"/>
                  </a:lnTo>
                  <a:lnTo>
                    <a:pt x="1374" y="876"/>
                  </a:lnTo>
                  <a:lnTo>
                    <a:pt x="1368" y="900"/>
                  </a:lnTo>
                  <a:lnTo>
                    <a:pt x="1362" y="906"/>
                  </a:lnTo>
                  <a:lnTo>
                    <a:pt x="1362" y="918"/>
                  </a:lnTo>
                  <a:lnTo>
                    <a:pt x="1362" y="924"/>
                  </a:lnTo>
                  <a:lnTo>
                    <a:pt x="1356" y="942"/>
                  </a:lnTo>
                  <a:lnTo>
                    <a:pt x="1350" y="972"/>
                  </a:lnTo>
                  <a:lnTo>
                    <a:pt x="1350" y="1014"/>
                  </a:lnTo>
                  <a:lnTo>
                    <a:pt x="1350" y="10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3" name="Freeform 18">
              <a:extLst>
                <a:ext uri="{FF2B5EF4-FFF2-40B4-BE49-F238E27FC236}">
                  <a16:creationId xmlns:a16="http://schemas.microsoft.com/office/drawing/2014/main" id="{EC11F2E0-3C06-46E2-8AD2-66EBE00FFE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32346" y="3837389"/>
              <a:ext cx="556811" cy="818559"/>
            </a:xfrm>
            <a:custGeom>
              <a:avLst/>
              <a:gdLst>
                <a:gd name="T0" fmla="*/ 12 w 1044"/>
                <a:gd name="T1" fmla="*/ 95 h 1542"/>
                <a:gd name="T2" fmla="*/ 7 w 1044"/>
                <a:gd name="T3" fmla="*/ 93 h 1542"/>
                <a:gd name="T4" fmla="*/ 0 w 1044"/>
                <a:gd name="T5" fmla="*/ 88 h 1542"/>
                <a:gd name="T6" fmla="*/ 3 w 1044"/>
                <a:gd name="T7" fmla="*/ 74 h 1542"/>
                <a:gd name="T8" fmla="*/ 4 w 1044"/>
                <a:gd name="T9" fmla="*/ 59 h 1542"/>
                <a:gd name="T10" fmla="*/ 7 w 1044"/>
                <a:gd name="T11" fmla="*/ 52 h 1542"/>
                <a:gd name="T12" fmla="*/ 20 w 1044"/>
                <a:gd name="T13" fmla="*/ 50 h 1542"/>
                <a:gd name="T14" fmla="*/ 24 w 1044"/>
                <a:gd name="T15" fmla="*/ 46 h 1542"/>
                <a:gd name="T16" fmla="*/ 29 w 1044"/>
                <a:gd name="T17" fmla="*/ 33 h 1542"/>
                <a:gd name="T18" fmla="*/ 32 w 1044"/>
                <a:gd name="T19" fmla="*/ 26 h 1542"/>
                <a:gd name="T20" fmla="*/ 30 w 1044"/>
                <a:gd name="T21" fmla="*/ 20 h 1542"/>
                <a:gd name="T22" fmla="*/ 26 w 1044"/>
                <a:gd name="T23" fmla="*/ 17 h 1542"/>
                <a:gd name="T24" fmla="*/ 28 w 1044"/>
                <a:gd name="T25" fmla="*/ 12 h 1542"/>
                <a:gd name="T26" fmla="*/ 44 w 1044"/>
                <a:gd name="T27" fmla="*/ 5 h 1542"/>
                <a:gd name="T28" fmla="*/ 57 w 1044"/>
                <a:gd name="T29" fmla="*/ 2 h 1542"/>
                <a:gd name="T30" fmla="*/ 65 w 1044"/>
                <a:gd name="T31" fmla="*/ 12 h 1542"/>
                <a:gd name="T32" fmla="*/ 81 w 1044"/>
                <a:gd name="T33" fmla="*/ 9 h 1542"/>
                <a:gd name="T34" fmla="*/ 91 w 1044"/>
                <a:gd name="T35" fmla="*/ 20 h 1542"/>
                <a:gd name="T36" fmla="*/ 89 w 1044"/>
                <a:gd name="T37" fmla="*/ 28 h 1542"/>
                <a:gd name="T38" fmla="*/ 83 w 1044"/>
                <a:gd name="T39" fmla="*/ 33 h 1542"/>
                <a:gd name="T40" fmla="*/ 74 w 1044"/>
                <a:gd name="T41" fmla="*/ 42 h 1542"/>
                <a:gd name="T42" fmla="*/ 58 w 1044"/>
                <a:gd name="T43" fmla="*/ 57 h 1542"/>
                <a:gd name="T44" fmla="*/ 54 w 1044"/>
                <a:gd name="T45" fmla="*/ 65 h 1542"/>
                <a:gd name="T46" fmla="*/ 59 w 1044"/>
                <a:gd name="T47" fmla="*/ 74 h 1542"/>
                <a:gd name="T48" fmla="*/ 55 w 1044"/>
                <a:gd name="T49" fmla="*/ 84 h 1542"/>
                <a:gd name="T50" fmla="*/ 52 w 1044"/>
                <a:gd name="T51" fmla="*/ 98 h 1542"/>
                <a:gd name="T52" fmla="*/ 47 w 1044"/>
                <a:gd name="T53" fmla="*/ 105 h 1542"/>
                <a:gd name="T54" fmla="*/ 42 w 1044"/>
                <a:gd name="T55" fmla="*/ 111 h 1542"/>
                <a:gd name="T56" fmla="*/ 43 w 1044"/>
                <a:gd name="T57" fmla="*/ 120 h 1542"/>
                <a:gd name="T58" fmla="*/ 45 w 1044"/>
                <a:gd name="T59" fmla="*/ 125 h 1542"/>
                <a:gd name="T60" fmla="*/ 44 w 1044"/>
                <a:gd name="T61" fmla="*/ 130 h 1542"/>
                <a:gd name="T62" fmla="*/ 45 w 1044"/>
                <a:gd name="T63" fmla="*/ 131 h 1542"/>
                <a:gd name="T64" fmla="*/ 48 w 1044"/>
                <a:gd name="T65" fmla="*/ 133 h 1542"/>
                <a:gd name="T66" fmla="*/ 39 w 1044"/>
                <a:gd name="T67" fmla="*/ 133 h 1542"/>
                <a:gd name="T68" fmla="*/ 42 w 1044"/>
                <a:gd name="T69" fmla="*/ 132 h 1542"/>
                <a:gd name="T70" fmla="*/ 38 w 1044"/>
                <a:gd name="T71" fmla="*/ 133 h 1542"/>
                <a:gd name="T72" fmla="*/ 37 w 1044"/>
                <a:gd name="T73" fmla="*/ 129 h 1542"/>
                <a:gd name="T74" fmla="*/ 40 w 1044"/>
                <a:gd name="T75" fmla="*/ 125 h 1542"/>
                <a:gd name="T76" fmla="*/ 40 w 1044"/>
                <a:gd name="T77" fmla="*/ 120 h 1542"/>
                <a:gd name="T78" fmla="*/ 40 w 1044"/>
                <a:gd name="T79" fmla="*/ 117 h 1542"/>
                <a:gd name="T80" fmla="*/ 37 w 1044"/>
                <a:gd name="T81" fmla="*/ 120 h 1542"/>
                <a:gd name="T82" fmla="*/ 34 w 1044"/>
                <a:gd name="T83" fmla="*/ 122 h 1542"/>
                <a:gd name="T84" fmla="*/ 36 w 1044"/>
                <a:gd name="T85" fmla="*/ 120 h 1542"/>
                <a:gd name="T86" fmla="*/ 30 w 1044"/>
                <a:gd name="T87" fmla="*/ 120 h 1542"/>
                <a:gd name="T88" fmla="*/ 31 w 1044"/>
                <a:gd name="T89" fmla="*/ 113 h 1542"/>
                <a:gd name="T90" fmla="*/ 29 w 1044"/>
                <a:gd name="T91" fmla="*/ 112 h 1542"/>
                <a:gd name="T92" fmla="*/ 31 w 1044"/>
                <a:gd name="T93" fmla="*/ 117 h 1542"/>
                <a:gd name="T94" fmla="*/ 27 w 1044"/>
                <a:gd name="T95" fmla="*/ 116 h 1542"/>
                <a:gd name="T96" fmla="*/ 25 w 1044"/>
                <a:gd name="T97" fmla="*/ 112 h 1542"/>
                <a:gd name="T98" fmla="*/ 21 w 1044"/>
                <a:gd name="T99" fmla="*/ 109 h 1542"/>
                <a:gd name="T100" fmla="*/ 21 w 1044"/>
                <a:gd name="T101" fmla="*/ 113 h 1542"/>
                <a:gd name="T102" fmla="*/ 40 w 1044"/>
                <a:gd name="T103" fmla="*/ 120 h 1542"/>
                <a:gd name="T104" fmla="*/ 40 w 1044"/>
                <a:gd name="T105" fmla="*/ 121 h 1542"/>
                <a:gd name="T106" fmla="*/ 40 w 1044"/>
                <a:gd name="T107" fmla="*/ 116 h 1542"/>
                <a:gd name="T108" fmla="*/ 38 w 1044"/>
                <a:gd name="T109" fmla="*/ 120 h 1542"/>
                <a:gd name="T110" fmla="*/ 23 w 1044"/>
                <a:gd name="T111" fmla="*/ 110 h 1542"/>
                <a:gd name="T112" fmla="*/ 37 w 1044"/>
                <a:gd name="T113" fmla="*/ 124 h 1542"/>
                <a:gd name="T114" fmla="*/ 40 w 1044"/>
                <a:gd name="T115" fmla="*/ 125 h 1542"/>
                <a:gd name="T116" fmla="*/ 38 w 1044"/>
                <a:gd name="T117" fmla="*/ 128 h 1542"/>
                <a:gd name="T118" fmla="*/ 25 w 1044"/>
                <a:gd name="T119" fmla="*/ 117 h 1542"/>
                <a:gd name="T120" fmla="*/ 27 w 1044"/>
                <a:gd name="T121" fmla="*/ 127 h 1542"/>
                <a:gd name="T122" fmla="*/ 24 w 1044"/>
                <a:gd name="T123" fmla="*/ 113 h 15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4"/>
                <a:gd name="T187" fmla="*/ 0 h 1542"/>
                <a:gd name="T188" fmla="*/ 1044 w 1044"/>
                <a:gd name="T189" fmla="*/ 1542 h 154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4" h="1542">
                  <a:moveTo>
                    <a:pt x="234" y="1278"/>
                  </a:moveTo>
                  <a:lnTo>
                    <a:pt x="228" y="1272"/>
                  </a:lnTo>
                  <a:lnTo>
                    <a:pt x="222" y="1266"/>
                  </a:lnTo>
                  <a:lnTo>
                    <a:pt x="222" y="1260"/>
                  </a:lnTo>
                  <a:lnTo>
                    <a:pt x="204" y="1248"/>
                  </a:lnTo>
                  <a:lnTo>
                    <a:pt x="192" y="1248"/>
                  </a:lnTo>
                  <a:lnTo>
                    <a:pt x="186" y="1236"/>
                  </a:lnTo>
                  <a:lnTo>
                    <a:pt x="174" y="1218"/>
                  </a:lnTo>
                  <a:lnTo>
                    <a:pt x="162" y="1194"/>
                  </a:lnTo>
                  <a:lnTo>
                    <a:pt x="156" y="1182"/>
                  </a:lnTo>
                  <a:lnTo>
                    <a:pt x="162" y="1146"/>
                  </a:lnTo>
                  <a:lnTo>
                    <a:pt x="156" y="1134"/>
                  </a:lnTo>
                  <a:lnTo>
                    <a:pt x="138" y="1122"/>
                  </a:lnTo>
                  <a:lnTo>
                    <a:pt x="132" y="1116"/>
                  </a:lnTo>
                  <a:lnTo>
                    <a:pt x="138" y="1098"/>
                  </a:lnTo>
                  <a:lnTo>
                    <a:pt x="138" y="1092"/>
                  </a:lnTo>
                  <a:lnTo>
                    <a:pt x="138" y="1086"/>
                  </a:lnTo>
                  <a:lnTo>
                    <a:pt x="132" y="1074"/>
                  </a:lnTo>
                  <a:lnTo>
                    <a:pt x="126" y="1074"/>
                  </a:lnTo>
                  <a:lnTo>
                    <a:pt x="126" y="1068"/>
                  </a:lnTo>
                  <a:lnTo>
                    <a:pt x="120" y="1062"/>
                  </a:lnTo>
                  <a:lnTo>
                    <a:pt x="120" y="1056"/>
                  </a:lnTo>
                  <a:lnTo>
                    <a:pt x="114" y="1050"/>
                  </a:lnTo>
                  <a:lnTo>
                    <a:pt x="108" y="1050"/>
                  </a:lnTo>
                  <a:lnTo>
                    <a:pt x="102" y="1056"/>
                  </a:lnTo>
                  <a:lnTo>
                    <a:pt x="102" y="1062"/>
                  </a:lnTo>
                  <a:lnTo>
                    <a:pt x="96" y="1062"/>
                  </a:lnTo>
                  <a:lnTo>
                    <a:pt x="96" y="1068"/>
                  </a:lnTo>
                  <a:lnTo>
                    <a:pt x="96" y="1074"/>
                  </a:lnTo>
                  <a:lnTo>
                    <a:pt x="90" y="1074"/>
                  </a:lnTo>
                  <a:lnTo>
                    <a:pt x="84" y="1080"/>
                  </a:lnTo>
                  <a:lnTo>
                    <a:pt x="78" y="1074"/>
                  </a:lnTo>
                  <a:lnTo>
                    <a:pt x="72" y="1074"/>
                  </a:lnTo>
                  <a:lnTo>
                    <a:pt x="72" y="1068"/>
                  </a:lnTo>
                  <a:lnTo>
                    <a:pt x="72" y="1062"/>
                  </a:lnTo>
                  <a:lnTo>
                    <a:pt x="60" y="1056"/>
                  </a:lnTo>
                  <a:lnTo>
                    <a:pt x="60" y="1044"/>
                  </a:lnTo>
                  <a:lnTo>
                    <a:pt x="60" y="1032"/>
                  </a:lnTo>
                  <a:lnTo>
                    <a:pt x="60" y="1026"/>
                  </a:lnTo>
                  <a:lnTo>
                    <a:pt x="54" y="1026"/>
                  </a:lnTo>
                  <a:lnTo>
                    <a:pt x="48" y="1014"/>
                  </a:lnTo>
                  <a:lnTo>
                    <a:pt x="42" y="1008"/>
                  </a:lnTo>
                  <a:lnTo>
                    <a:pt x="30" y="1008"/>
                  </a:lnTo>
                  <a:lnTo>
                    <a:pt x="30" y="1002"/>
                  </a:lnTo>
                  <a:lnTo>
                    <a:pt x="24" y="1008"/>
                  </a:lnTo>
                  <a:lnTo>
                    <a:pt x="12" y="1008"/>
                  </a:lnTo>
                  <a:lnTo>
                    <a:pt x="6" y="1008"/>
                  </a:lnTo>
                  <a:lnTo>
                    <a:pt x="0" y="1008"/>
                  </a:lnTo>
                  <a:lnTo>
                    <a:pt x="0" y="1002"/>
                  </a:lnTo>
                  <a:lnTo>
                    <a:pt x="6" y="990"/>
                  </a:lnTo>
                  <a:lnTo>
                    <a:pt x="6" y="984"/>
                  </a:lnTo>
                  <a:lnTo>
                    <a:pt x="0" y="978"/>
                  </a:lnTo>
                  <a:lnTo>
                    <a:pt x="6" y="972"/>
                  </a:lnTo>
                  <a:lnTo>
                    <a:pt x="12" y="972"/>
                  </a:lnTo>
                  <a:lnTo>
                    <a:pt x="72" y="978"/>
                  </a:lnTo>
                  <a:lnTo>
                    <a:pt x="78" y="972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30"/>
                  </a:lnTo>
                  <a:lnTo>
                    <a:pt x="54" y="912"/>
                  </a:lnTo>
                  <a:lnTo>
                    <a:pt x="42" y="906"/>
                  </a:lnTo>
                  <a:lnTo>
                    <a:pt x="36" y="894"/>
                  </a:lnTo>
                  <a:lnTo>
                    <a:pt x="30" y="876"/>
                  </a:lnTo>
                  <a:lnTo>
                    <a:pt x="30" y="858"/>
                  </a:lnTo>
                  <a:lnTo>
                    <a:pt x="30" y="840"/>
                  </a:lnTo>
                  <a:lnTo>
                    <a:pt x="36" y="816"/>
                  </a:lnTo>
                  <a:lnTo>
                    <a:pt x="36" y="792"/>
                  </a:lnTo>
                  <a:lnTo>
                    <a:pt x="36" y="780"/>
                  </a:lnTo>
                  <a:lnTo>
                    <a:pt x="12" y="774"/>
                  </a:lnTo>
                  <a:lnTo>
                    <a:pt x="24" y="756"/>
                  </a:lnTo>
                  <a:lnTo>
                    <a:pt x="24" y="744"/>
                  </a:lnTo>
                  <a:lnTo>
                    <a:pt x="30" y="738"/>
                  </a:lnTo>
                  <a:lnTo>
                    <a:pt x="30" y="732"/>
                  </a:lnTo>
                  <a:lnTo>
                    <a:pt x="36" y="720"/>
                  </a:lnTo>
                  <a:lnTo>
                    <a:pt x="42" y="714"/>
                  </a:lnTo>
                  <a:lnTo>
                    <a:pt x="54" y="708"/>
                  </a:lnTo>
                  <a:lnTo>
                    <a:pt x="60" y="702"/>
                  </a:lnTo>
                  <a:lnTo>
                    <a:pt x="48" y="690"/>
                  </a:lnTo>
                  <a:lnTo>
                    <a:pt x="48" y="684"/>
                  </a:lnTo>
                  <a:lnTo>
                    <a:pt x="48" y="678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66"/>
                  </a:lnTo>
                  <a:lnTo>
                    <a:pt x="72" y="654"/>
                  </a:lnTo>
                  <a:lnTo>
                    <a:pt x="72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84" y="630"/>
                  </a:lnTo>
                  <a:lnTo>
                    <a:pt x="90" y="630"/>
                  </a:lnTo>
                  <a:lnTo>
                    <a:pt x="96" y="630"/>
                  </a:lnTo>
                  <a:lnTo>
                    <a:pt x="96" y="624"/>
                  </a:lnTo>
                  <a:lnTo>
                    <a:pt x="90" y="624"/>
                  </a:lnTo>
                  <a:lnTo>
                    <a:pt x="84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90" y="600"/>
                  </a:lnTo>
                  <a:lnTo>
                    <a:pt x="84" y="600"/>
                  </a:lnTo>
                  <a:lnTo>
                    <a:pt x="78" y="594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126" y="564"/>
                  </a:lnTo>
                  <a:lnTo>
                    <a:pt x="144" y="564"/>
                  </a:lnTo>
                  <a:lnTo>
                    <a:pt x="156" y="582"/>
                  </a:lnTo>
                  <a:lnTo>
                    <a:pt x="162" y="600"/>
                  </a:lnTo>
                  <a:lnTo>
                    <a:pt x="180" y="588"/>
                  </a:lnTo>
                  <a:lnTo>
                    <a:pt x="192" y="588"/>
                  </a:lnTo>
                  <a:lnTo>
                    <a:pt x="198" y="588"/>
                  </a:lnTo>
                  <a:lnTo>
                    <a:pt x="210" y="582"/>
                  </a:lnTo>
                  <a:lnTo>
                    <a:pt x="216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58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46" y="558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58" y="570"/>
                  </a:lnTo>
                  <a:lnTo>
                    <a:pt x="264" y="570"/>
                  </a:lnTo>
                  <a:lnTo>
                    <a:pt x="270" y="564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46"/>
                  </a:lnTo>
                  <a:lnTo>
                    <a:pt x="276" y="540"/>
                  </a:lnTo>
                  <a:lnTo>
                    <a:pt x="276" y="534"/>
                  </a:lnTo>
                  <a:lnTo>
                    <a:pt x="276" y="528"/>
                  </a:lnTo>
                  <a:lnTo>
                    <a:pt x="282" y="528"/>
                  </a:lnTo>
                  <a:lnTo>
                    <a:pt x="282" y="522"/>
                  </a:lnTo>
                  <a:lnTo>
                    <a:pt x="282" y="516"/>
                  </a:lnTo>
                  <a:lnTo>
                    <a:pt x="282" y="510"/>
                  </a:lnTo>
                  <a:lnTo>
                    <a:pt x="282" y="504"/>
                  </a:lnTo>
                  <a:lnTo>
                    <a:pt x="282" y="492"/>
                  </a:lnTo>
                  <a:lnTo>
                    <a:pt x="288" y="486"/>
                  </a:lnTo>
                  <a:lnTo>
                    <a:pt x="300" y="480"/>
                  </a:lnTo>
                  <a:lnTo>
                    <a:pt x="306" y="462"/>
                  </a:lnTo>
                  <a:lnTo>
                    <a:pt x="318" y="444"/>
                  </a:lnTo>
                  <a:lnTo>
                    <a:pt x="330" y="444"/>
                  </a:lnTo>
                  <a:lnTo>
                    <a:pt x="330" y="432"/>
                  </a:lnTo>
                  <a:lnTo>
                    <a:pt x="342" y="432"/>
                  </a:lnTo>
                  <a:lnTo>
                    <a:pt x="354" y="402"/>
                  </a:lnTo>
                  <a:lnTo>
                    <a:pt x="348" y="390"/>
                  </a:lnTo>
                  <a:lnTo>
                    <a:pt x="336" y="384"/>
                  </a:lnTo>
                  <a:lnTo>
                    <a:pt x="336" y="360"/>
                  </a:lnTo>
                  <a:lnTo>
                    <a:pt x="336" y="354"/>
                  </a:lnTo>
                  <a:lnTo>
                    <a:pt x="336" y="342"/>
                  </a:lnTo>
                  <a:lnTo>
                    <a:pt x="342" y="336"/>
                  </a:lnTo>
                  <a:lnTo>
                    <a:pt x="342" y="324"/>
                  </a:lnTo>
                  <a:lnTo>
                    <a:pt x="372" y="324"/>
                  </a:lnTo>
                  <a:lnTo>
                    <a:pt x="378" y="324"/>
                  </a:lnTo>
                  <a:lnTo>
                    <a:pt x="378" y="318"/>
                  </a:lnTo>
                  <a:lnTo>
                    <a:pt x="372" y="312"/>
                  </a:lnTo>
                  <a:lnTo>
                    <a:pt x="378" y="312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84" y="300"/>
                  </a:lnTo>
                  <a:lnTo>
                    <a:pt x="384" y="294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66" y="294"/>
                  </a:lnTo>
                  <a:lnTo>
                    <a:pt x="366" y="288"/>
                  </a:lnTo>
                  <a:lnTo>
                    <a:pt x="372" y="288"/>
                  </a:lnTo>
                  <a:lnTo>
                    <a:pt x="372" y="282"/>
                  </a:lnTo>
                  <a:lnTo>
                    <a:pt x="366" y="276"/>
                  </a:lnTo>
                  <a:lnTo>
                    <a:pt x="360" y="270"/>
                  </a:lnTo>
                  <a:lnTo>
                    <a:pt x="360" y="264"/>
                  </a:lnTo>
                  <a:lnTo>
                    <a:pt x="354" y="264"/>
                  </a:lnTo>
                  <a:lnTo>
                    <a:pt x="348" y="258"/>
                  </a:lnTo>
                  <a:lnTo>
                    <a:pt x="354" y="258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40"/>
                  </a:lnTo>
                  <a:lnTo>
                    <a:pt x="354" y="240"/>
                  </a:lnTo>
                  <a:lnTo>
                    <a:pt x="342" y="234"/>
                  </a:lnTo>
                  <a:lnTo>
                    <a:pt x="342" y="228"/>
                  </a:lnTo>
                  <a:lnTo>
                    <a:pt x="348" y="228"/>
                  </a:lnTo>
                  <a:lnTo>
                    <a:pt x="342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6" y="216"/>
                  </a:lnTo>
                  <a:lnTo>
                    <a:pt x="330" y="222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24" y="210"/>
                  </a:lnTo>
                  <a:lnTo>
                    <a:pt x="318" y="210"/>
                  </a:lnTo>
                  <a:lnTo>
                    <a:pt x="318" y="204"/>
                  </a:lnTo>
                  <a:lnTo>
                    <a:pt x="312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294" y="192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300" y="174"/>
                  </a:lnTo>
                  <a:lnTo>
                    <a:pt x="300" y="168"/>
                  </a:lnTo>
                  <a:lnTo>
                    <a:pt x="300" y="162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88" y="150"/>
                  </a:lnTo>
                  <a:lnTo>
                    <a:pt x="288" y="144"/>
                  </a:lnTo>
                  <a:lnTo>
                    <a:pt x="282" y="144"/>
                  </a:lnTo>
                  <a:lnTo>
                    <a:pt x="282" y="138"/>
                  </a:lnTo>
                  <a:lnTo>
                    <a:pt x="312" y="132"/>
                  </a:lnTo>
                  <a:lnTo>
                    <a:pt x="324" y="120"/>
                  </a:lnTo>
                  <a:lnTo>
                    <a:pt x="330" y="114"/>
                  </a:lnTo>
                  <a:lnTo>
                    <a:pt x="336" y="102"/>
                  </a:lnTo>
                  <a:lnTo>
                    <a:pt x="348" y="90"/>
                  </a:lnTo>
                  <a:lnTo>
                    <a:pt x="360" y="84"/>
                  </a:lnTo>
                  <a:lnTo>
                    <a:pt x="372" y="84"/>
                  </a:lnTo>
                  <a:lnTo>
                    <a:pt x="378" y="84"/>
                  </a:lnTo>
                  <a:lnTo>
                    <a:pt x="384" y="90"/>
                  </a:lnTo>
                  <a:lnTo>
                    <a:pt x="402" y="90"/>
                  </a:lnTo>
                  <a:lnTo>
                    <a:pt x="438" y="84"/>
                  </a:lnTo>
                  <a:lnTo>
                    <a:pt x="456" y="84"/>
                  </a:lnTo>
                  <a:lnTo>
                    <a:pt x="462" y="78"/>
                  </a:lnTo>
                  <a:lnTo>
                    <a:pt x="486" y="72"/>
                  </a:lnTo>
                  <a:lnTo>
                    <a:pt x="492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04" y="54"/>
                  </a:lnTo>
                  <a:lnTo>
                    <a:pt x="510" y="42"/>
                  </a:lnTo>
                  <a:lnTo>
                    <a:pt x="504" y="42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498" y="30"/>
                  </a:lnTo>
                  <a:lnTo>
                    <a:pt x="492" y="30"/>
                  </a:lnTo>
                  <a:lnTo>
                    <a:pt x="492" y="24"/>
                  </a:lnTo>
                  <a:lnTo>
                    <a:pt x="486" y="18"/>
                  </a:lnTo>
                  <a:lnTo>
                    <a:pt x="498" y="18"/>
                  </a:lnTo>
                  <a:lnTo>
                    <a:pt x="510" y="18"/>
                  </a:lnTo>
                  <a:lnTo>
                    <a:pt x="522" y="12"/>
                  </a:lnTo>
                  <a:lnTo>
                    <a:pt x="528" y="6"/>
                  </a:lnTo>
                  <a:lnTo>
                    <a:pt x="570" y="0"/>
                  </a:lnTo>
                  <a:lnTo>
                    <a:pt x="606" y="6"/>
                  </a:lnTo>
                  <a:lnTo>
                    <a:pt x="654" y="24"/>
                  </a:lnTo>
                  <a:lnTo>
                    <a:pt x="666" y="36"/>
                  </a:lnTo>
                  <a:lnTo>
                    <a:pt x="672" y="30"/>
                  </a:lnTo>
                  <a:lnTo>
                    <a:pt x="690" y="42"/>
                  </a:lnTo>
                  <a:lnTo>
                    <a:pt x="702" y="48"/>
                  </a:lnTo>
                  <a:lnTo>
                    <a:pt x="714" y="60"/>
                  </a:lnTo>
                  <a:lnTo>
                    <a:pt x="714" y="66"/>
                  </a:lnTo>
                  <a:lnTo>
                    <a:pt x="720" y="72"/>
                  </a:lnTo>
                  <a:lnTo>
                    <a:pt x="720" y="78"/>
                  </a:lnTo>
                  <a:lnTo>
                    <a:pt x="720" y="102"/>
                  </a:lnTo>
                  <a:lnTo>
                    <a:pt x="720" y="108"/>
                  </a:lnTo>
                  <a:lnTo>
                    <a:pt x="714" y="108"/>
                  </a:lnTo>
                  <a:lnTo>
                    <a:pt x="714" y="126"/>
                  </a:lnTo>
                  <a:lnTo>
                    <a:pt x="732" y="126"/>
                  </a:lnTo>
                  <a:lnTo>
                    <a:pt x="726" y="132"/>
                  </a:lnTo>
                  <a:lnTo>
                    <a:pt x="738" y="132"/>
                  </a:lnTo>
                  <a:lnTo>
                    <a:pt x="738" y="138"/>
                  </a:lnTo>
                  <a:lnTo>
                    <a:pt x="738" y="144"/>
                  </a:lnTo>
                  <a:lnTo>
                    <a:pt x="744" y="144"/>
                  </a:lnTo>
                  <a:lnTo>
                    <a:pt x="744" y="150"/>
                  </a:lnTo>
                  <a:lnTo>
                    <a:pt x="756" y="156"/>
                  </a:lnTo>
                  <a:lnTo>
                    <a:pt x="768" y="156"/>
                  </a:lnTo>
                  <a:lnTo>
                    <a:pt x="780" y="156"/>
                  </a:lnTo>
                  <a:lnTo>
                    <a:pt x="792" y="150"/>
                  </a:lnTo>
                  <a:lnTo>
                    <a:pt x="786" y="150"/>
                  </a:lnTo>
                  <a:lnTo>
                    <a:pt x="786" y="144"/>
                  </a:lnTo>
                  <a:lnTo>
                    <a:pt x="804" y="144"/>
                  </a:lnTo>
                  <a:lnTo>
                    <a:pt x="816" y="132"/>
                  </a:lnTo>
                  <a:lnTo>
                    <a:pt x="822" y="126"/>
                  </a:lnTo>
                  <a:lnTo>
                    <a:pt x="828" y="132"/>
                  </a:lnTo>
                  <a:lnTo>
                    <a:pt x="834" y="126"/>
                  </a:lnTo>
                  <a:lnTo>
                    <a:pt x="834" y="120"/>
                  </a:lnTo>
                  <a:lnTo>
                    <a:pt x="924" y="108"/>
                  </a:lnTo>
                  <a:lnTo>
                    <a:pt x="942" y="144"/>
                  </a:lnTo>
                  <a:lnTo>
                    <a:pt x="948" y="144"/>
                  </a:lnTo>
                  <a:lnTo>
                    <a:pt x="960" y="168"/>
                  </a:lnTo>
                  <a:lnTo>
                    <a:pt x="972" y="186"/>
                  </a:lnTo>
                  <a:lnTo>
                    <a:pt x="984" y="192"/>
                  </a:lnTo>
                  <a:lnTo>
                    <a:pt x="996" y="192"/>
                  </a:lnTo>
                  <a:lnTo>
                    <a:pt x="996" y="198"/>
                  </a:lnTo>
                  <a:lnTo>
                    <a:pt x="1008" y="204"/>
                  </a:lnTo>
                  <a:lnTo>
                    <a:pt x="1008" y="210"/>
                  </a:lnTo>
                  <a:lnTo>
                    <a:pt x="1002" y="210"/>
                  </a:lnTo>
                  <a:lnTo>
                    <a:pt x="1008" y="216"/>
                  </a:lnTo>
                  <a:lnTo>
                    <a:pt x="1014" y="210"/>
                  </a:lnTo>
                  <a:lnTo>
                    <a:pt x="1014" y="216"/>
                  </a:lnTo>
                  <a:lnTo>
                    <a:pt x="1020" y="222"/>
                  </a:lnTo>
                  <a:lnTo>
                    <a:pt x="1014" y="228"/>
                  </a:lnTo>
                  <a:lnTo>
                    <a:pt x="1032" y="234"/>
                  </a:lnTo>
                  <a:lnTo>
                    <a:pt x="1044" y="240"/>
                  </a:lnTo>
                  <a:lnTo>
                    <a:pt x="1038" y="246"/>
                  </a:lnTo>
                  <a:lnTo>
                    <a:pt x="1038" y="252"/>
                  </a:lnTo>
                  <a:lnTo>
                    <a:pt x="1038" y="258"/>
                  </a:lnTo>
                  <a:lnTo>
                    <a:pt x="1032" y="264"/>
                  </a:lnTo>
                  <a:lnTo>
                    <a:pt x="1032" y="270"/>
                  </a:lnTo>
                  <a:lnTo>
                    <a:pt x="1032" y="276"/>
                  </a:lnTo>
                  <a:lnTo>
                    <a:pt x="1032" y="282"/>
                  </a:lnTo>
                  <a:lnTo>
                    <a:pt x="1026" y="282"/>
                  </a:lnTo>
                  <a:lnTo>
                    <a:pt x="1026" y="288"/>
                  </a:lnTo>
                  <a:lnTo>
                    <a:pt x="1026" y="294"/>
                  </a:lnTo>
                  <a:lnTo>
                    <a:pt x="1026" y="300"/>
                  </a:lnTo>
                  <a:lnTo>
                    <a:pt x="1026" y="306"/>
                  </a:lnTo>
                  <a:lnTo>
                    <a:pt x="1020" y="318"/>
                  </a:lnTo>
                  <a:lnTo>
                    <a:pt x="1020" y="324"/>
                  </a:lnTo>
                  <a:lnTo>
                    <a:pt x="1014" y="324"/>
                  </a:lnTo>
                  <a:lnTo>
                    <a:pt x="1014" y="330"/>
                  </a:lnTo>
                  <a:lnTo>
                    <a:pt x="1014" y="336"/>
                  </a:lnTo>
                  <a:lnTo>
                    <a:pt x="1008" y="366"/>
                  </a:lnTo>
                  <a:lnTo>
                    <a:pt x="1002" y="366"/>
                  </a:lnTo>
                  <a:lnTo>
                    <a:pt x="984" y="354"/>
                  </a:lnTo>
                  <a:lnTo>
                    <a:pt x="978" y="354"/>
                  </a:lnTo>
                  <a:lnTo>
                    <a:pt x="972" y="354"/>
                  </a:lnTo>
                  <a:lnTo>
                    <a:pt x="966" y="348"/>
                  </a:lnTo>
                  <a:lnTo>
                    <a:pt x="954" y="348"/>
                  </a:lnTo>
                  <a:lnTo>
                    <a:pt x="948" y="348"/>
                  </a:lnTo>
                  <a:lnTo>
                    <a:pt x="948" y="360"/>
                  </a:lnTo>
                  <a:lnTo>
                    <a:pt x="948" y="366"/>
                  </a:lnTo>
                  <a:lnTo>
                    <a:pt x="948" y="372"/>
                  </a:lnTo>
                  <a:lnTo>
                    <a:pt x="948" y="378"/>
                  </a:lnTo>
                  <a:lnTo>
                    <a:pt x="948" y="384"/>
                  </a:lnTo>
                  <a:lnTo>
                    <a:pt x="942" y="384"/>
                  </a:lnTo>
                  <a:lnTo>
                    <a:pt x="942" y="390"/>
                  </a:lnTo>
                  <a:lnTo>
                    <a:pt x="936" y="390"/>
                  </a:lnTo>
                  <a:lnTo>
                    <a:pt x="942" y="390"/>
                  </a:lnTo>
                  <a:lnTo>
                    <a:pt x="936" y="396"/>
                  </a:lnTo>
                  <a:lnTo>
                    <a:pt x="930" y="402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2" y="432"/>
                  </a:lnTo>
                  <a:lnTo>
                    <a:pt x="900" y="450"/>
                  </a:lnTo>
                  <a:lnTo>
                    <a:pt x="894" y="456"/>
                  </a:lnTo>
                  <a:lnTo>
                    <a:pt x="888" y="456"/>
                  </a:lnTo>
                  <a:lnTo>
                    <a:pt x="882" y="456"/>
                  </a:lnTo>
                  <a:lnTo>
                    <a:pt x="876" y="456"/>
                  </a:lnTo>
                  <a:lnTo>
                    <a:pt x="864" y="462"/>
                  </a:lnTo>
                  <a:lnTo>
                    <a:pt x="852" y="474"/>
                  </a:lnTo>
                  <a:lnTo>
                    <a:pt x="846" y="480"/>
                  </a:lnTo>
                  <a:lnTo>
                    <a:pt x="840" y="486"/>
                  </a:lnTo>
                  <a:lnTo>
                    <a:pt x="834" y="498"/>
                  </a:lnTo>
                  <a:lnTo>
                    <a:pt x="828" y="510"/>
                  </a:lnTo>
                  <a:lnTo>
                    <a:pt x="816" y="522"/>
                  </a:lnTo>
                  <a:lnTo>
                    <a:pt x="798" y="540"/>
                  </a:lnTo>
                  <a:lnTo>
                    <a:pt x="780" y="558"/>
                  </a:lnTo>
                  <a:lnTo>
                    <a:pt x="774" y="558"/>
                  </a:lnTo>
                  <a:lnTo>
                    <a:pt x="756" y="576"/>
                  </a:lnTo>
                  <a:lnTo>
                    <a:pt x="732" y="600"/>
                  </a:lnTo>
                  <a:lnTo>
                    <a:pt x="726" y="600"/>
                  </a:lnTo>
                  <a:lnTo>
                    <a:pt x="720" y="606"/>
                  </a:lnTo>
                  <a:lnTo>
                    <a:pt x="714" y="612"/>
                  </a:lnTo>
                  <a:lnTo>
                    <a:pt x="690" y="630"/>
                  </a:lnTo>
                  <a:lnTo>
                    <a:pt x="678" y="636"/>
                  </a:lnTo>
                  <a:lnTo>
                    <a:pt x="672" y="642"/>
                  </a:lnTo>
                  <a:lnTo>
                    <a:pt x="660" y="660"/>
                  </a:lnTo>
                  <a:lnTo>
                    <a:pt x="642" y="666"/>
                  </a:lnTo>
                  <a:lnTo>
                    <a:pt x="636" y="678"/>
                  </a:lnTo>
                  <a:lnTo>
                    <a:pt x="630" y="678"/>
                  </a:lnTo>
                  <a:lnTo>
                    <a:pt x="630" y="684"/>
                  </a:lnTo>
                  <a:lnTo>
                    <a:pt x="630" y="690"/>
                  </a:lnTo>
                  <a:lnTo>
                    <a:pt x="636" y="696"/>
                  </a:lnTo>
                  <a:lnTo>
                    <a:pt x="642" y="696"/>
                  </a:lnTo>
                  <a:lnTo>
                    <a:pt x="648" y="702"/>
                  </a:lnTo>
                  <a:lnTo>
                    <a:pt x="648" y="708"/>
                  </a:lnTo>
                  <a:lnTo>
                    <a:pt x="642" y="708"/>
                  </a:lnTo>
                  <a:lnTo>
                    <a:pt x="636" y="714"/>
                  </a:lnTo>
                  <a:lnTo>
                    <a:pt x="636" y="720"/>
                  </a:lnTo>
                  <a:lnTo>
                    <a:pt x="642" y="726"/>
                  </a:lnTo>
                  <a:lnTo>
                    <a:pt x="636" y="738"/>
                  </a:lnTo>
                  <a:lnTo>
                    <a:pt x="618" y="756"/>
                  </a:lnTo>
                  <a:lnTo>
                    <a:pt x="612" y="750"/>
                  </a:lnTo>
                  <a:lnTo>
                    <a:pt x="612" y="756"/>
                  </a:lnTo>
                  <a:lnTo>
                    <a:pt x="618" y="762"/>
                  </a:lnTo>
                  <a:lnTo>
                    <a:pt x="618" y="768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36" y="786"/>
                  </a:lnTo>
                  <a:lnTo>
                    <a:pt x="642" y="792"/>
                  </a:lnTo>
                  <a:lnTo>
                    <a:pt x="642" y="798"/>
                  </a:lnTo>
                  <a:lnTo>
                    <a:pt x="648" y="804"/>
                  </a:lnTo>
                  <a:lnTo>
                    <a:pt x="654" y="810"/>
                  </a:lnTo>
                  <a:lnTo>
                    <a:pt x="660" y="816"/>
                  </a:lnTo>
                  <a:lnTo>
                    <a:pt x="666" y="816"/>
                  </a:lnTo>
                  <a:lnTo>
                    <a:pt x="666" y="822"/>
                  </a:lnTo>
                  <a:lnTo>
                    <a:pt x="672" y="828"/>
                  </a:lnTo>
                  <a:lnTo>
                    <a:pt x="672" y="840"/>
                  </a:lnTo>
                  <a:lnTo>
                    <a:pt x="672" y="846"/>
                  </a:lnTo>
                  <a:lnTo>
                    <a:pt x="666" y="852"/>
                  </a:lnTo>
                  <a:lnTo>
                    <a:pt x="660" y="864"/>
                  </a:lnTo>
                  <a:lnTo>
                    <a:pt x="654" y="876"/>
                  </a:lnTo>
                  <a:lnTo>
                    <a:pt x="648" y="882"/>
                  </a:lnTo>
                  <a:lnTo>
                    <a:pt x="642" y="888"/>
                  </a:lnTo>
                  <a:lnTo>
                    <a:pt x="642" y="894"/>
                  </a:lnTo>
                  <a:lnTo>
                    <a:pt x="642" y="906"/>
                  </a:lnTo>
                  <a:lnTo>
                    <a:pt x="630" y="918"/>
                  </a:lnTo>
                  <a:lnTo>
                    <a:pt x="630" y="924"/>
                  </a:lnTo>
                  <a:lnTo>
                    <a:pt x="624" y="930"/>
                  </a:lnTo>
                  <a:lnTo>
                    <a:pt x="630" y="936"/>
                  </a:lnTo>
                  <a:lnTo>
                    <a:pt x="630" y="942"/>
                  </a:lnTo>
                  <a:lnTo>
                    <a:pt x="630" y="948"/>
                  </a:lnTo>
                  <a:lnTo>
                    <a:pt x="630" y="954"/>
                  </a:lnTo>
                  <a:lnTo>
                    <a:pt x="630" y="960"/>
                  </a:lnTo>
                  <a:lnTo>
                    <a:pt x="624" y="966"/>
                  </a:lnTo>
                  <a:lnTo>
                    <a:pt x="618" y="990"/>
                  </a:lnTo>
                  <a:lnTo>
                    <a:pt x="618" y="1008"/>
                  </a:lnTo>
                  <a:lnTo>
                    <a:pt x="612" y="1026"/>
                  </a:lnTo>
                  <a:lnTo>
                    <a:pt x="612" y="1038"/>
                  </a:lnTo>
                  <a:lnTo>
                    <a:pt x="612" y="1050"/>
                  </a:lnTo>
                  <a:lnTo>
                    <a:pt x="612" y="1056"/>
                  </a:lnTo>
                  <a:lnTo>
                    <a:pt x="612" y="1062"/>
                  </a:lnTo>
                  <a:lnTo>
                    <a:pt x="612" y="1068"/>
                  </a:lnTo>
                  <a:lnTo>
                    <a:pt x="612" y="1086"/>
                  </a:lnTo>
                  <a:lnTo>
                    <a:pt x="612" y="1092"/>
                  </a:lnTo>
                  <a:lnTo>
                    <a:pt x="606" y="1098"/>
                  </a:lnTo>
                  <a:lnTo>
                    <a:pt x="600" y="1110"/>
                  </a:lnTo>
                  <a:lnTo>
                    <a:pt x="600" y="1116"/>
                  </a:lnTo>
                  <a:lnTo>
                    <a:pt x="594" y="1122"/>
                  </a:lnTo>
                  <a:lnTo>
                    <a:pt x="594" y="1128"/>
                  </a:lnTo>
                  <a:lnTo>
                    <a:pt x="588" y="1134"/>
                  </a:lnTo>
                  <a:lnTo>
                    <a:pt x="582" y="1140"/>
                  </a:lnTo>
                  <a:lnTo>
                    <a:pt x="570" y="1140"/>
                  </a:lnTo>
                  <a:lnTo>
                    <a:pt x="564" y="1146"/>
                  </a:lnTo>
                  <a:lnTo>
                    <a:pt x="570" y="1146"/>
                  </a:lnTo>
                  <a:lnTo>
                    <a:pt x="564" y="1152"/>
                  </a:lnTo>
                  <a:lnTo>
                    <a:pt x="558" y="1158"/>
                  </a:lnTo>
                  <a:lnTo>
                    <a:pt x="552" y="1164"/>
                  </a:lnTo>
                  <a:lnTo>
                    <a:pt x="552" y="1170"/>
                  </a:lnTo>
                  <a:lnTo>
                    <a:pt x="546" y="1176"/>
                  </a:lnTo>
                  <a:lnTo>
                    <a:pt x="546" y="1182"/>
                  </a:lnTo>
                  <a:lnTo>
                    <a:pt x="546" y="1188"/>
                  </a:lnTo>
                  <a:lnTo>
                    <a:pt x="540" y="1188"/>
                  </a:lnTo>
                  <a:lnTo>
                    <a:pt x="540" y="1194"/>
                  </a:lnTo>
                  <a:lnTo>
                    <a:pt x="528" y="1206"/>
                  </a:lnTo>
                  <a:lnTo>
                    <a:pt x="528" y="1212"/>
                  </a:lnTo>
                  <a:lnTo>
                    <a:pt x="534" y="1212"/>
                  </a:lnTo>
                  <a:lnTo>
                    <a:pt x="540" y="1218"/>
                  </a:lnTo>
                  <a:lnTo>
                    <a:pt x="534" y="1218"/>
                  </a:lnTo>
                  <a:lnTo>
                    <a:pt x="528" y="1218"/>
                  </a:lnTo>
                  <a:lnTo>
                    <a:pt x="528" y="1224"/>
                  </a:lnTo>
                  <a:lnTo>
                    <a:pt x="522" y="1230"/>
                  </a:lnTo>
                  <a:lnTo>
                    <a:pt x="516" y="1236"/>
                  </a:lnTo>
                  <a:lnTo>
                    <a:pt x="522" y="1236"/>
                  </a:lnTo>
                  <a:lnTo>
                    <a:pt x="516" y="1242"/>
                  </a:lnTo>
                  <a:lnTo>
                    <a:pt x="510" y="1242"/>
                  </a:lnTo>
                  <a:lnTo>
                    <a:pt x="504" y="1248"/>
                  </a:lnTo>
                  <a:lnTo>
                    <a:pt x="510" y="1260"/>
                  </a:lnTo>
                  <a:lnTo>
                    <a:pt x="504" y="1266"/>
                  </a:lnTo>
                  <a:lnTo>
                    <a:pt x="492" y="1266"/>
                  </a:lnTo>
                  <a:lnTo>
                    <a:pt x="486" y="1272"/>
                  </a:lnTo>
                  <a:lnTo>
                    <a:pt x="486" y="1278"/>
                  </a:lnTo>
                  <a:lnTo>
                    <a:pt x="480" y="1278"/>
                  </a:lnTo>
                  <a:lnTo>
                    <a:pt x="480" y="1284"/>
                  </a:lnTo>
                  <a:lnTo>
                    <a:pt x="480" y="1290"/>
                  </a:lnTo>
                  <a:lnTo>
                    <a:pt x="480" y="1296"/>
                  </a:lnTo>
                  <a:lnTo>
                    <a:pt x="492" y="1302"/>
                  </a:lnTo>
                  <a:lnTo>
                    <a:pt x="492" y="1308"/>
                  </a:lnTo>
                  <a:lnTo>
                    <a:pt x="492" y="1320"/>
                  </a:lnTo>
                  <a:lnTo>
                    <a:pt x="492" y="1332"/>
                  </a:lnTo>
                  <a:lnTo>
                    <a:pt x="498" y="1344"/>
                  </a:lnTo>
                  <a:lnTo>
                    <a:pt x="498" y="1350"/>
                  </a:lnTo>
                  <a:lnTo>
                    <a:pt x="498" y="1356"/>
                  </a:lnTo>
                  <a:lnTo>
                    <a:pt x="504" y="1362"/>
                  </a:lnTo>
                  <a:lnTo>
                    <a:pt x="498" y="1362"/>
                  </a:lnTo>
                  <a:lnTo>
                    <a:pt x="498" y="1368"/>
                  </a:lnTo>
                  <a:lnTo>
                    <a:pt x="492" y="1368"/>
                  </a:lnTo>
                  <a:lnTo>
                    <a:pt x="492" y="1374"/>
                  </a:lnTo>
                  <a:lnTo>
                    <a:pt x="492" y="1380"/>
                  </a:lnTo>
                  <a:lnTo>
                    <a:pt x="498" y="1380"/>
                  </a:lnTo>
                  <a:lnTo>
                    <a:pt x="504" y="1380"/>
                  </a:lnTo>
                  <a:lnTo>
                    <a:pt x="498" y="1386"/>
                  </a:lnTo>
                  <a:lnTo>
                    <a:pt x="498" y="1392"/>
                  </a:lnTo>
                  <a:lnTo>
                    <a:pt x="498" y="1398"/>
                  </a:lnTo>
                  <a:lnTo>
                    <a:pt x="498" y="1404"/>
                  </a:lnTo>
                  <a:lnTo>
                    <a:pt x="498" y="1410"/>
                  </a:lnTo>
                  <a:lnTo>
                    <a:pt x="498" y="1416"/>
                  </a:lnTo>
                  <a:lnTo>
                    <a:pt x="492" y="1416"/>
                  </a:lnTo>
                  <a:lnTo>
                    <a:pt x="498" y="1416"/>
                  </a:lnTo>
                  <a:lnTo>
                    <a:pt x="504" y="1416"/>
                  </a:lnTo>
                  <a:lnTo>
                    <a:pt x="504" y="1422"/>
                  </a:lnTo>
                  <a:lnTo>
                    <a:pt x="510" y="1428"/>
                  </a:lnTo>
                  <a:lnTo>
                    <a:pt x="510" y="1434"/>
                  </a:lnTo>
                  <a:lnTo>
                    <a:pt x="510" y="1440"/>
                  </a:lnTo>
                  <a:lnTo>
                    <a:pt x="516" y="1446"/>
                  </a:lnTo>
                  <a:lnTo>
                    <a:pt x="516" y="1452"/>
                  </a:lnTo>
                  <a:lnTo>
                    <a:pt x="516" y="1458"/>
                  </a:lnTo>
                  <a:lnTo>
                    <a:pt x="516" y="1464"/>
                  </a:lnTo>
                  <a:lnTo>
                    <a:pt x="516" y="1482"/>
                  </a:lnTo>
                  <a:lnTo>
                    <a:pt x="516" y="1488"/>
                  </a:lnTo>
                  <a:lnTo>
                    <a:pt x="522" y="1488"/>
                  </a:lnTo>
                  <a:lnTo>
                    <a:pt x="522" y="1494"/>
                  </a:lnTo>
                  <a:lnTo>
                    <a:pt x="522" y="1500"/>
                  </a:lnTo>
                  <a:lnTo>
                    <a:pt x="516" y="1506"/>
                  </a:lnTo>
                  <a:lnTo>
                    <a:pt x="510" y="1500"/>
                  </a:lnTo>
                  <a:lnTo>
                    <a:pt x="504" y="1500"/>
                  </a:lnTo>
                  <a:lnTo>
                    <a:pt x="504" y="1494"/>
                  </a:lnTo>
                  <a:lnTo>
                    <a:pt x="504" y="1488"/>
                  </a:lnTo>
                  <a:lnTo>
                    <a:pt x="504" y="1482"/>
                  </a:lnTo>
                  <a:lnTo>
                    <a:pt x="504" y="1488"/>
                  </a:lnTo>
                  <a:lnTo>
                    <a:pt x="504" y="1494"/>
                  </a:lnTo>
                  <a:lnTo>
                    <a:pt x="504" y="1500"/>
                  </a:lnTo>
                  <a:lnTo>
                    <a:pt x="498" y="1500"/>
                  </a:lnTo>
                  <a:lnTo>
                    <a:pt x="492" y="1500"/>
                  </a:lnTo>
                  <a:lnTo>
                    <a:pt x="492" y="1494"/>
                  </a:lnTo>
                  <a:lnTo>
                    <a:pt x="492" y="1488"/>
                  </a:lnTo>
                  <a:lnTo>
                    <a:pt x="492" y="1494"/>
                  </a:lnTo>
                  <a:lnTo>
                    <a:pt x="492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00"/>
                  </a:lnTo>
                  <a:lnTo>
                    <a:pt x="510" y="1500"/>
                  </a:lnTo>
                  <a:lnTo>
                    <a:pt x="510" y="1506"/>
                  </a:lnTo>
                  <a:lnTo>
                    <a:pt x="516" y="1506"/>
                  </a:lnTo>
                  <a:lnTo>
                    <a:pt x="510" y="1506"/>
                  </a:lnTo>
                  <a:lnTo>
                    <a:pt x="510" y="1512"/>
                  </a:lnTo>
                  <a:lnTo>
                    <a:pt x="516" y="1506"/>
                  </a:lnTo>
                  <a:lnTo>
                    <a:pt x="522" y="1506"/>
                  </a:lnTo>
                  <a:lnTo>
                    <a:pt x="528" y="1506"/>
                  </a:lnTo>
                  <a:lnTo>
                    <a:pt x="528" y="1500"/>
                  </a:lnTo>
                  <a:lnTo>
                    <a:pt x="534" y="1500"/>
                  </a:lnTo>
                  <a:lnTo>
                    <a:pt x="534" y="1506"/>
                  </a:lnTo>
                  <a:lnTo>
                    <a:pt x="540" y="1512"/>
                  </a:lnTo>
                  <a:lnTo>
                    <a:pt x="540" y="1518"/>
                  </a:lnTo>
                  <a:lnTo>
                    <a:pt x="546" y="1518"/>
                  </a:lnTo>
                  <a:lnTo>
                    <a:pt x="540" y="1518"/>
                  </a:lnTo>
                  <a:lnTo>
                    <a:pt x="540" y="1524"/>
                  </a:lnTo>
                  <a:lnTo>
                    <a:pt x="534" y="1524"/>
                  </a:lnTo>
                  <a:lnTo>
                    <a:pt x="540" y="1524"/>
                  </a:lnTo>
                  <a:lnTo>
                    <a:pt x="546" y="1524"/>
                  </a:lnTo>
                  <a:lnTo>
                    <a:pt x="546" y="1530"/>
                  </a:lnTo>
                  <a:lnTo>
                    <a:pt x="540" y="1530"/>
                  </a:lnTo>
                  <a:lnTo>
                    <a:pt x="540" y="1536"/>
                  </a:lnTo>
                  <a:lnTo>
                    <a:pt x="534" y="1542"/>
                  </a:lnTo>
                  <a:lnTo>
                    <a:pt x="528" y="1542"/>
                  </a:lnTo>
                  <a:lnTo>
                    <a:pt x="522" y="1542"/>
                  </a:lnTo>
                  <a:lnTo>
                    <a:pt x="516" y="1542"/>
                  </a:lnTo>
                  <a:lnTo>
                    <a:pt x="510" y="1542"/>
                  </a:lnTo>
                  <a:lnTo>
                    <a:pt x="504" y="1542"/>
                  </a:lnTo>
                  <a:lnTo>
                    <a:pt x="492" y="1542"/>
                  </a:lnTo>
                  <a:lnTo>
                    <a:pt x="486" y="1536"/>
                  </a:lnTo>
                  <a:lnTo>
                    <a:pt x="480" y="1536"/>
                  </a:lnTo>
                  <a:lnTo>
                    <a:pt x="468" y="1536"/>
                  </a:lnTo>
                  <a:lnTo>
                    <a:pt x="468" y="1542"/>
                  </a:lnTo>
                  <a:lnTo>
                    <a:pt x="462" y="1542"/>
                  </a:lnTo>
                  <a:lnTo>
                    <a:pt x="456" y="1542"/>
                  </a:lnTo>
                  <a:lnTo>
                    <a:pt x="450" y="1542"/>
                  </a:lnTo>
                  <a:lnTo>
                    <a:pt x="444" y="1542"/>
                  </a:lnTo>
                  <a:lnTo>
                    <a:pt x="444" y="1536"/>
                  </a:lnTo>
                  <a:lnTo>
                    <a:pt x="450" y="1536"/>
                  </a:lnTo>
                  <a:lnTo>
                    <a:pt x="456" y="1536"/>
                  </a:lnTo>
                  <a:lnTo>
                    <a:pt x="450" y="1536"/>
                  </a:lnTo>
                  <a:lnTo>
                    <a:pt x="444" y="1536"/>
                  </a:lnTo>
                  <a:lnTo>
                    <a:pt x="444" y="1530"/>
                  </a:lnTo>
                  <a:lnTo>
                    <a:pt x="450" y="1530"/>
                  </a:lnTo>
                  <a:lnTo>
                    <a:pt x="456" y="1524"/>
                  </a:lnTo>
                  <a:lnTo>
                    <a:pt x="456" y="1518"/>
                  </a:lnTo>
                  <a:lnTo>
                    <a:pt x="462" y="1518"/>
                  </a:lnTo>
                  <a:lnTo>
                    <a:pt x="462" y="1524"/>
                  </a:lnTo>
                  <a:lnTo>
                    <a:pt x="468" y="1524"/>
                  </a:lnTo>
                  <a:lnTo>
                    <a:pt x="474" y="1524"/>
                  </a:lnTo>
                  <a:lnTo>
                    <a:pt x="474" y="1518"/>
                  </a:lnTo>
                  <a:lnTo>
                    <a:pt x="480" y="1518"/>
                  </a:lnTo>
                  <a:lnTo>
                    <a:pt x="474" y="1518"/>
                  </a:lnTo>
                  <a:lnTo>
                    <a:pt x="474" y="1524"/>
                  </a:lnTo>
                  <a:lnTo>
                    <a:pt x="468" y="1524"/>
                  </a:lnTo>
                  <a:lnTo>
                    <a:pt x="462" y="1518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62" y="1512"/>
                  </a:lnTo>
                  <a:lnTo>
                    <a:pt x="462" y="1506"/>
                  </a:lnTo>
                  <a:lnTo>
                    <a:pt x="456" y="1506"/>
                  </a:lnTo>
                  <a:lnTo>
                    <a:pt x="456" y="1512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50" y="1518"/>
                  </a:lnTo>
                  <a:lnTo>
                    <a:pt x="444" y="1518"/>
                  </a:lnTo>
                  <a:lnTo>
                    <a:pt x="444" y="1524"/>
                  </a:lnTo>
                  <a:lnTo>
                    <a:pt x="438" y="1524"/>
                  </a:lnTo>
                  <a:lnTo>
                    <a:pt x="438" y="1530"/>
                  </a:lnTo>
                  <a:lnTo>
                    <a:pt x="432" y="1530"/>
                  </a:lnTo>
                  <a:lnTo>
                    <a:pt x="432" y="1536"/>
                  </a:lnTo>
                  <a:lnTo>
                    <a:pt x="426" y="1530"/>
                  </a:lnTo>
                  <a:lnTo>
                    <a:pt x="420" y="1530"/>
                  </a:lnTo>
                  <a:lnTo>
                    <a:pt x="414" y="1530"/>
                  </a:lnTo>
                  <a:lnTo>
                    <a:pt x="414" y="1524"/>
                  </a:lnTo>
                  <a:lnTo>
                    <a:pt x="408" y="1518"/>
                  </a:lnTo>
                  <a:lnTo>
                    <a:pt x="414" y="1512"/>
                  </a:lnTo>
                  <a:lnTo>
                    <a:pt x="408" y="1512"/>
                  </a:lnTo>
                  <a:lnTo>
                    <a:pt x="408" y="1506"/>
                  </a:lnTo>
                  <a:lnTo>
                    <a:pt x="408" y="1500"/>
                  </a:lnTo>
                  <a:lnTo>
                    <a:pt x="408" y="1494"/>
                  </a:lnTo>
                  <a:lnTo>
                    <a:pt x="408" y="1488"/>
                  </a:lnTo>
                  <a:lnTo>
                    <a:pt x="408" y="1494"/>
                  </a:lnTo>
                  <a:lnTo>
                    <a:pt x="414" y="1494"/>
                  </a:lnTo>
                  <a:lnTo>
                    <a:pt x="420" y="1494"/>
                  </a:lnTo>
                  <a:lnTo>
                    <a:pt x="420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82"/>
                  </a:lnTo>
                  <a:lnTo>
                    <a:pt x="426" y="1476"/>
                  </a:lnTo>
                  <a:lnTo>
                    <a:pt x="432" y="1476"/>
                  </a:lnTo>
                  <a:lnTo>
                    <a:pt x="432" y="1470"/>
                  </a:lnTo>
                  <a:lnTo>
                    <a:pt x="438" y="1470"/>
                  </a:lnTo>
                  <a:lnTo>
                    <a:pt x="444" y="1464"/>
                  </a:lnTo>
                  <a:lnTo>
                    <a:pt x="450" y="1458"/>
                  </a:lnTo>
                  <a:lnTo>
                    <a:pt x="456" y="1458"/>
                  </a:lnTo>
                  <a:lnTo>
                    <a:pt x="462" y="1452"/>
                  </a:lnTo>
                  <a:lnTo>
                    <a:pt x="468" y="1452"/>
                  </a:lnTo>
                  <a:lnTo>
                    <a:pt x="468" y="1446"/>
                  </a:lnTo>
                  <a:lnTo>
                    <a:pt x="462" y="1440"/>
                  </a:lnTo>
                  <a:lnTo>
                    <a:pt x="456" y="1434"/>
                  </a:lnTo>
                  <a:lnTo>
                    <a:pt x="456" y="1428"/>
                  </a:lnTo>
                  <a:lnTo>
                    <a:pt x="456" y="1422"/>
                  </a:lnTo>
                  <a:lnTo>
                    <a:pt x="456" y="1416"/>
                  </a:lnTo>
                  <a:lnTo>
                    <a:pt x="450" y="1410"/>
                  </a:lnTo>
                  <a:lnTo>
                    <a:pt x="444" y="1410"/>
                  </a:lnTo>
                  <a:lnTo>
                    <a:pt x="450" y="1410"/>
                  </a:lnTo>
                  <a:lnTo>
                    <a:pt x="450" y="1404"/>
                  </a:lnTo>
                  <a:lnTo>
                    <a:pt x="456" y="1404"/>
                  </a:lnTo>
                  <a:lnTo>
                    <a:pt x="462" y="1404"/>
                  </a:lnTo>
                  <a:lnTo>
                    <a:pt x="468" y="1398"/>
                  </a:lnTo>
                  <a:lnTo>
                    <a:pt x="462" y="1398"/>
                  </a:lnTo>
                  <a:lnTo>
                    <a:pt x="462" y="1392"/>
                  </a:lnTo>
                  <a:lnTo>
                    <a:pt x="456" y="1392"/>
                  </a:lnTo>
                  <a:lnTo>
                    <a:pt x="456" y="1386"/>
                  </a:lnTo>
                  <a:lnTo>
                    <a:pt x="462" y="1386"/>
                  </a:lnTo>
                  <a:lnTo>
                    <a:pt x="468" y="1386"/>
                  </a:lnTo>
                  <a:lnTo>
                    <a:pt x="474" y="1386"/>
                  </a:lnTo>
                  <a:lnTo>
                    <a:pt x="468" y="1386"/>
                  </a:lnTo>
                  <a:lnTo>
                    <a:pt x="462" y="1386"/>
                  </a:lnTo>
                  <a:lnTo>
                    <a:pt x="456" y="1380"/>
                  </a:lnTo>
                  <a:lnTo>
                    <a:pt x="456" y="1374"/>
                  </a:lnTo>
                  <a:lnTo>
                    <a:pt x="462" y="1374"/>
                  </a:lnTo>
                  <a:lnTo>
                    <a:pt x="462" y="1368"/>
                  </a:lnTo>
                  <a:lnTo>
                    <a:pt x="456" y="1374"/>
                  </a:lnTo>
                  <a:lnTo>
                    <a:pt x="456" y="1368"/>
                  </a:lnTo>
                  <a:lnTo>
                    <a:pt x="456" y="1362"/>
                  </a:lnTo>
                  <a:lnTo>
                    <a:pt x="450" y="1362"/>
                  </a:lnTo>
                  <a:lnTo>
                    <a:pt x="450" y="1356"/>
                  </a:lnTo>
                  <a:lnTo>
                    <a:pt x="450" y="1350"/>
                  </a:lnTo>
                  <a:lnTo>
                    <a:pt x="450" y="1344"/>
                  </a:lnTo>
                  <a:lnTo>
                    <a:pt x="456" y="1344"/>
                  </a:lnTo>
                  <a:lnTo>
                    <a:pt x="456" y="1338"/>
                  </a:lnTo>
                  <a:lnTo>
                    <a:pt x="462" y="1338"/>
                  </a:lnTo>
                  <a:lnTo>
                    <a:pt x="462" y="1332"/>
                  </a:lnTo>
                  <a:lnTo>
                    <a:pt x="456" y="1332"/>
                  </a:lnTo>
                  <a:lnTo>
                    <a:pt x="456" y="1326"/>
                  </a:lnTo>
                  <a:lnTo>
                    <a:pt x="450" y="1326"/>
                  </a:lnTo>
                  <a:lnTo>
                    <a:pt x="444" y="1326"/>
                  </a:lnTo>
                  <a:lnTo>
                    <a:pt x="444" y="1332"/>
                  </a:lnTo>
                  <a:lnTo>
                    <a:pt x="438" y="1332"/>
                  </a:lnTo>
                  <a:lnTo>
                    <a:pt x="438" y="1338"/>
                  </a:lnTo>
                  <a:lnTo>
                    <a:pt x="432" y="1338"/>
                  </a:lnTo>
                  <a:lnTo>
                    <a:pt x="432" y="1344"/>
                  </a:lnTo>
                  <a:lnTo>
                    <a:pt x="432" y="1350"/>
                  </a:lnTo>
                  <a:lnTo>
                    <a:pt x="426" y="1356"/>
                  </a:lnTo>
                  <a:lnTo>
                    <a:pt x="426" y="1368"/>
                  </a:lnTo>
                  <a:lnTo>
                    <a:pt x="426" y="1374"/>
                  </a:lnTo>
                  <a:lnTo>
                    <a:pt x="426" y="1380"/>
                  </a:lnTo>
                  <a:lnTo>
                    <a:pt x="432" y="1386"/>
                  </a:lnTo>
                  <a:lnTo>
                    <a:pt x="432" y="1392"/>
                  </a:lnTo>
                  <a:lnTo>
                    <a:pt x="432" y="1398"/>
                  </a:lnTo>
                  <a:lnTo>
                    <a:pt x="426" y="1398"/>
                  </a:lnTo>
                  <a:lnTo>
                    <a:pt x="420" y="1398"/>
                  </a:lnTo>
                  <a:lnTo>
                    <a:pt x="414" y="1398"/>
                  </a:lnTo>
                  <a:lnTo>
                    <a:pt x="420" y="1398"/>
                  </a:lnTo>
                  <a:lnTo>
                    <a:pt x="414" y="1404"/>
                  </a:lnTo>
                  <a:lnTo>
                    <a:pt x="420" y="1404"/>
                  </a:lnTo>
                  <a:lnTo>
                    <a:pt x="414" y="1404"/>
                  </a:lnTo>
                  <a:lnTo>
                    <a:pt x="408" y="1404"/>
                  </a:lnTo>
                  <a:lnTo>
                    <a:pt x="402" y="1410"/>
                  </a:lnTo>
                  <a:lnTo>
                    <a:pt x="402" y="1404"/>
                  </a:lnTo>
                  <a:lnTo>
                    <a:pt x="396" y="1404"/>
                  </a:lnTo>
                  <a:lnTo>
                    <a:pt x="390" y="1404"/>
                  </a:lnTo>
                  <a:lnTo>
                    <a:pt x="384" y="1404"/>
                  </a:lnTo>
                  <a:lnTo>
                    <a:pt x="384" y="1398"/>
                  </a:lnTo>
                  <a:lnTo>
                    <a:pt x="384" y="1392"/>
                  </a:lnTo>
                  <a:lnTo>
                    <a:pt x="390" y="1392"/>
                  </a:lnTo>
                  <a:lnTo>
                    <a:pt x="390" y="1386"/>
                  </a:lnTo>
                  <a:lnTo>
                    <a:pt x="390" y="1380"/>
                  </a:lnTo>
                  <a:lnTo>
                    <a:pt x="396" y="1380"/>
                  </a:lnTo>
                  <a:lnTo>
                    <a:pt x="402" y="1380"/>
                  </a:lnTo>
                  <a:lnTo>
                    <a:pt x="408" y="1380"/>
                  </a:lnTo>
                  <a:lnTo>
                    <a:pt x="408" y="1374"/>
                  </a:lnTo>
                  <a:lnTo>
                    <a:pt x="414" y="1374"/>
                  </a:lnTo>
                  <a:lnTo>
                    <a:pt x="414" y="1368"/>
                  </a:lnTo>
                  <a:lnTo>
                    <a:pt x="414" y="1362"/>
                  </a:lnTo>
                  <a:lnTo>
                    <a:pt x="414" y="1368"/>
                  </a:lnTo>
                  <a:lnTo>
                    <a:pt x="414" y="1374"/>
                  </a:lnTo>
                  <a:lnTo>
                    <a:pt x="408" y="1374"/>
                  </a:lnTo>
                  <a:lnTo>
                    <a:pt x="402" y="1380"/>
                  </a:lnTo>
                  <a:lnTo>
                    <a:pt x="396" y="1380"/>
                  </a:lnTo>
                  <a:lnTo>
                    <a:pt x="396" y="1374"/>
                  </a:lnTo>
                  <a:lnTo>
                    <a:pt x="390" y="1374"/>
                  </a:lnTo>
                  <a:lnTo>
                    <a:pt x="390" y="1368"/>
                  </a:lnTo>
                  <a:lnTo>
                    <a:pt x="384" y="1368"/>
                  </a:lnTo>
                  <a:lnTo>
                    <a:pt x="384" y="1374"/>
                  </a:lnTo>
                  <a:lnTo>
                    <a:pt x="378" y="1374"/>
                  </a:lnTo>
                  <a:lnTo>
                    <a:pt x="378" y="1380"/>
                  </a:lnTo>
                  <a:lnTo>
                    <a:pt x="372" y="1380"/>
                  </a:lnTo>
                  <a:lnTo>
                    <a:pt x="366" y="1386"/>
                  </a:lnTo>
                  <a:lnTo>
                    <a:pt x="360" y="1386"/>
                  </a:lnTo>
                  <a:lnTo>
                    <a:pt x="354" y="1386"/>
                  </a:lnTo>
                  <a:lnTo>
                    <a:pt x="354" y="1380"/>
                  </a:lnTo>
                  <a:lnTo>
                    <a:pt x="348" y="1380"/>
                  </a:lnTo>
                  <a:lnTo>
                    <a:pt x="342" y="1380"/>
                  </a:lnTo>
                  <a:lnTo>
                    <a:pt x="342" y="1374"/>
                  </a:lnTo>
                  <a:lnTo>
                    <a:pt x="336" y="1368"/>
                  </a:lnTo>
                  <a:lnTo>
                    <a:pt x="342" y="1368"/>
                  </a:lnTo>
                  <a:lnTo>
                    <a:pt x="342" y="1362"/>
                  </a:lnTo>
                  <a:lnTo>
                    <a:pt x="348" y="1362"/>
                  </a:lnTo>
                  <a:lnTo>
                    <a:pt x="354" y="1362"/>
                  </a:lnTo>
                  <a:lnTo>
                    <a:pt x="354" y="1356"/>
                  </a:lnTo>
                  <a:lnTo>
                    <a:pt x="348" y="1356"/>
                  </a:lnTo>
                  <a:lnTo>
                    <a:pt x="348" y="1350"/>
                  </a:lnTo>
                  <a:lnTo>
                    <a:pt x="348" y="1344"/>
                  </a:lnTo>
                  <a:lnTo>
                    <a:pt x="354" y="1338"/>
                  </a:lnTo>
                  <a:lnTo>
                    <a:pt x="354" y="1332"/>
                  </a:lnTo>
                  <a:lnTo>
                    <a:pt x="354" y="1326"/>
                  </a:lnTo>
                  <a:lnTo>
                    <a:pt x="354" y="1320"/>
                  </a:lnTo>
                  <a:lnTo>
                    <a:pt x="354" y="1314"/>
                  </a:lnTo>
                  <a:lnTo>
                    <a:pt x="354" y="1308"/>
                  </a:lnTo>
                  <a:lnTo>
                    <a:pt x="348" y="1308"/>
                  </a:lnTo>
                  <a:lnTo>
                    <a:pt x="348" y="1302"/>
                  </a:lnTo>
                  <a:lnTo>
                    <a:pt x="342" y="1296"/>
                  </a:lnTo>
                  <a:lnTo>
                    <a:pt x="336" y="1296"/>
                  </a:lnTo>
                  <a:lnTo>
                    <a:pt x="336" y="1290"/>
                  </a:lnTo>
                  <a:lnTo>
                    <a:pt x="330" y="1290"/>
                  </a:lnTo>
                  <a:lnTo>
                    <a:pt x="324" y="1290"/>
                  </a:lnTo>
                  <a:lnTo>
                    <a:pt x="324" y="1284"/>
                  </a:lnTo>
                  <a:lnTo>
                    <a:pt x="318" y="1284"/>
                  </a:lnTo>
                  <a:lnTo>
                    <a:pt x="318" y="1278"/>
                  </a:lnTo>
                  <a:lnTo>
                    <a:pt x="312" y="1278"/>
                  </a:lnTo>
                  <a:lnTo>
                    <a:pt x="312" y="1272"/>
                  </a:lnTo>
                  <a:lnTo>
                    <a:pt x="312" y="1278"/>
                  </a:lnTo>
                  <a:lnTo>
                    <a:pt x="318" y="1284"/>
                  </a:lnTo>
                  <a:lnTo>
                    <a:pt x="324" y="1290"/>
                  </a:lnTo>
                  <a:lnTo>
                    <a:pt x="330" y="1290"/>
                  </a:lnTo>
                  <a:lnTo>
                    <a:pt x="330" y="1296"/>
                  </a:lnTo>
                  <a:lnTo>
                    <a:pt x="336" y="1296"/>
                  </a:lnTo>
                  <a:lnTo>
                    <a:pt x="336" y="1302"/>
                  </a:lnTo>
                  <a:lnTo>
                    <a:pt x="342" y="1302"/>
                  </a:lnTo>
                  <a:lnTo>
                    <a:pt x="348" y="1302"/>
                  </a:lnTo>
                  <a:lnTo>
                    <a:pt x="348" y="1308"/>
                  </a:lnTo>
                  <a:lnTo>
                    <a:pt x="348" y="1314"/>
                  </a:lnTo>
                  <a:lnTo>
                    <a:pt x="354" y="1314"/>
                  </a:lnTo>
                  <a:lnTo>
                    <a:pt x="354" y="1320"/>
                  </a:lnTo>
                  <a:lnTo>
                    <a:pt x="354" y="1326"/>
                  </a:lnTo>
                  <a:lnTo>
                    <a:pt x="348" y="1326"/>
                  </a:lnTo>
                  <a:lnTo>
                    <a:pt x="348" y="1332"/>
                  </a:lnTo>
                  <a:lnTo>
                    <a:pt x="348" y="1338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2" y="1350"/>
                  </a:lnTo>
                  <a:lnTo>
                    <a:pt x="336" y="1350"/>
                  </a:lnTo>
                  <a:lnTo>
                    <a:pt x="330" y="1350"/>
                  </a:lnTo>
                  <a:lnTo>
                    <a:pt x="330" y="1356"/>
                  </a:lnTo>
                  <a:lnTo>
                    <a:pt x="330" y="1350"/>
                  </a:lnTo>
                  <a:lnTo>
                    <a:pt x="324" y="1350"/>
                  </a:lnTo>
                  <a:lnTo>
                    <a:pt x="318" y="1344"/>
                  </a:lnTo>
                  <a:lnTo>
                    <a:pt x="318" y="1350"/>
                  </a:lnTo>
                  <a:lnTo>
                    <a:pt x="312" y="1344"/>
                  </a:lnTo>
                  <a:lnTo>
                    <a:pt x="312" y="1338"/>
                  </a:lnTo>
                  <a:lnTo>
                    <a:pt x="306" y="1338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6" y="1326"/>
                  </a:lnTo>
                  <a:lnTo>
                    <a:pt x="306" y="1320"/>
                  </a:lnTo>
                  <a:lnTo>
                    <a:pt x="306" y="1326"/>
                  </a:lnTo>
                  <a:lnTo>
                    <a:pt x="312" y="1326"/>
                  </a:lnTo>
                  <a:lnTo>
                    <a:pt x="312" y="1320"/>
                  </a:lnTo>
                  <a:lnTo>
                    <a:pt x="306" y="1320"/>
                  </a:lnTo>
                  <a:lnTo>
                    <a:pt x="300" y="1320"/>
                  </a:lnTo>
                  <a:lnTo>
                    <a:pt x="294" y="1320"/>
                  </a:lnTo>
                  <a:lnTo>
                    <a:pt x="294" y="1314"/>
                  </a:lnTo>
                  <a:lnTo>
                    <a:pt x="288" y="1314"/>
                  </a:lnTo>
                  <a:lnTo>
                    <a:pt x="288" y="1308"/>
                  </a:lnTo>
                  <a:lnTo>
                    <a:pt x="288" y="1302"/>
                  </a:lnTo>
                  <a:lnTo>
                    <a:pt x="294" y="1302"/>
                  </a:lnTo>
                  <a:lnTo>
                    <a:pt x="294" y="1296"/>
                  </a:lnTo>
                  <a:lnTo>
                    <a:pt x="288" y="1296"/>
                  </a:lnTo>
                  <a:lnTo>
                    <a:pt x="288" y="1290"/>
                  </a:lnTo>
                  <a:lnTo>
                    <a:pt x="288" y="1296"/>
                  </a:lnTo>
                  <a:lnTo>
                    <a:pt x="294" y="1302"/>
                  </a:lnTo>
                  <a:lnTo>
                    <a:pt x="288" y="1302"/>
                  </a:lnTo>
                  <a:lnTo>
                    <a:pt x="282" y="1296"/>
                  </a:lnTo>
                  <a:lnTo>
                    <a:pt x="276" y="1296"/>
                  </a:lnTo>
                  <a:lnTo>
                    <a:pt x="276" y="1290"/>
                  </a:lnTo>
                  <a:lnTo>
                    <a:pt x="270" y="1290"/>
                  </a:lnTo>
                  <a:lnTo>
                    <a:pt x="264" y="1284"/>
                  </a:lnTo>
                  <a:lnTo>
                    <a:pt x="264" y="1278"/>
                  </a:lnTo>
                  <a:lnTo>
                    <a:pt x="264" y="1272"/>
                  </a:lnTo>
                  <a:lnTo>
                    <a:pt x="264" y="1266"/>
                  </a:lnTo>
                  <a:lnTo>
                    <a:pt x="258" y="1266"/>
                  </a:lnTo>
                  <a:lnTo>
                    <a:pt x="252" y="1266"/>
                  </a:lnTo>
                  <a:lnTo>
                    <a:pt x="246" y="1260"/>
                  </a:lnTo>
                  <a:lnTo>
                    <a:pt x="240" y="1254"/>
                  </a:lnTo>
                  <a:lnTo>
                    <a:pt x="240" y="1260"/>
                  </a:lnTo>
                  <a:lnTo>
                    <a:pt x="240" y="1266"/>
                  </a:lnTo>
                  <a:lnTo>
                    <a:pt x="240" y="1272"/>
                  </a:lnTo>
                  <a:lnTo>
                    <a:pt x="246" y="1272"/>
                  </a:lnTo>
                  <a:lnTo>
                    <a:pt x="246" y="1278"/>
                  </a:lnTo>
                  <a:lnTo>
                    <a:pt x="246" y="1284"/>
                  </a:lnTo>
                  <a:lnTo>
                    <a:pt x="252" y="1284"/>
                  </a:lnTo>
                  <a:lnTo>
                    <a:pt x="252" y="1290"/>
                  </a:lnTo>
                  <a:lnTo>
                    <a:pt x="258" y="1296"/>
                  </a:lnTo>
                  <a:lnTo>
                    <a:pt x="264" y="1302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58" y="1314"/>
                  </a:lnTo>
                  <a:lnTo>
                    <a:pt x="258" y="1308"/>
                  </a:lnTo>
                  <a:lnTo>
                    <a:pt x="252" y="1308"/>
                  </a:lnTo>
                  <a:lnTo>
                    <a:pt x="252" y="1302"/>
                  </a:lnTo>
                  <a:lnTo>
                    <a:pt x="246" y="1302"/>
                  </a:lnTo>
                  <a:lnTo>
                    <a:pt x="246" y="1296"/>
                  </a:lnTo>
                  <a:lnTo>
                    <a:pt x="240" y="1296"/>
                  </a:lnTo>
                  <a:lnTo>
                    <a:pt x="240" y="1290"/>
                  </a:lnTo>
                  <a:lnTo>
                    <a:pt x="234" y="1284"/>
                  </a:lnTo>
                  <a:lnTo>
                    <a:pt x="234" y="1278"/>
                  </a:lnTo>
                  <a:close/>
                  <a:moveTo>
                    <a:pt x="444" y="1332"/>
                  </a:moveTo>
                  <a:lnTo>
                    <a:pt x="450" y="1326"/>
                  </a:lnTo>
                  <a:lnTo>
                    <a:pt x="456" y="1326"/>
                  </a:lnTo>
                  <a:lnTo>
                    <a:pt x="456" y="1332"/>
                  </a:lnTo>
                  <a:lnTo>
                    <a:pt x="456" y="1338"/>
                  </a:lnTo>
                  <a:lnTo>
                    <a:pt x="450" y="1338"/>
                  </a:lnTo>
                  <a:lnTo>
                    <a:pt x="444" y="1338"/>
                  </a:lnTo>
                  <a:lnTo>
                    <a:pt x="444" y="1332"/>
                  </a:lnTo>
                  <a:close/>
                  <a:moveTo>
                    <a:pt x="444" y="1368"/>
                  </a:moveTo>
                  <a:lnTo>
                    <a:pt x="456" y="1368"/>
                  </a:lnTo>
                  <a:lnTo>
                    <a:pt x="456" y="1374"/>
                  </a:lnTo>
                  <a:lnTo>
                    <a:pt x="444" y="1374"/>
                  </a:lnTo>
                  <a:lnTo>
                    <a:pt x="444" y="1368"/>
                  </a:lnTo>
                  <a:close/>
                  <a:moveTo>
                    <a:pt x="444" y="1386"/>
                  </a:moveTo>
                  <a:lnTo>
                    <a:pt x="444" y="1380"/>
                  </a:lnTo>
                  <a:lnTo>
                    <a:pt x="444" y="1374"/>
                  </a:lnTo>
                  <a:lnTo>
                    <a:pt x="444" y="1380"/>
                  </a:lnTo>
                  <a:lnTo>
                    <a:pt x="450" y="1380"/>
                  </a:lnTo>
                  <a:lnTo>
                    <a:pt x="456" y="1380"/>
                  </a:lnTo>
                  <a:lnTo>
                    <a:pt x="456" y="1386"/>
                  </a:lnTo>
                  <a:lnTo>
                    <a:pt x="456" y="1392"/>
                  </a:lnTo>
                  <a:lnTo>
                    <a:pt x="462" y="1392"/>
                  </a:lnTo>
                  <a:lnTo>
                    <a:pt x="462" y="1398"/>
                  </a:lnTo>
                  <a:lnTo>
                    <a:pt x="462" y="1404"/>
                  </a:lnTo>
                  <a:lnTo>
                    <a:pt x="456" y="1404"/>
                  </a:lnTo>
                  <a:lnTo>
                    <a:pt x="450" y="1404"/>
                  </a:lnTo>
                  <a:lnTo>
                    <a:pt x="450" y="1398"/>
                  </a:lnTo>
                  <a:lnTo>
                    <a:pt x="444" y="1398"/>
                  </a:lnTo>
                  <a:lnTo>
                    <a:pt x="444" y="1392"/>
                  </a:lnTo>
                  <a:lnTo>
                    <a:pt x="444" y="1386"/>
                  </a:lnTo>
                  <a:close/>
                  <a:moveTo>
                    <a:pt x="438" y="1362"/>
                  </a:moveTo>
                  <a:lnTo>
                    <a:pt x="444" y="1356"/>
                  </a:lnTo>
                  <a:lnTo>
                    <a:pt x="450" y="1356"/>
                  </a:lnTo>
                  <a:lnTo>
                    <a:pt x="450" y="1362"/>
                  </a:lnTo>
                  <a:lnTo>
                    <a:pt x="450" y="1368"/>
                  </a:lnTo>
                  <a:lnTo>
                    <a:pt x="444" y="1368"/>
                  </a:lnTo>
                  <a:lnTo>
                    <a:pt x="444" y="1362"/>
                  </a:lnTo>
                  <a:lnTo>
                    <a:pt x="438" y="1362"/>
                  </a:lnTo>
                  <a:close/>
                  <a:moveTo>
                    <a:pt x="438" y="1350"/>
                  </a:moveTo>
                  <a:lnTo>
                    <a:pt x="438" y="1344"/>
                  </a:lnTo>
                  <a:lnTo>
                    <a:pt x="438" y="1338"/>
                  </a:lnTo>
                  <a:lnTo>
                    <a:pt x="444" y="1338"/>
                  </a:lnTo>
                  <a:lnTo>
                    <a:pt x="450" y="1338"/>
                  </a:lnTo>
                  <a:lnTo>
                    <a:pt x="456" y="1338"/>
                  </a:lnTo>
                  <a:lnTo>
                    <a:pt x="450" y="1344"/>
                  </a:lnTo>
                  <a:lnTo>
                    <a:pt x="444" y="1350"/>
                  </a:lnTo>
                  <a:lnTo>
                    <a:pt x="438" y="1350"/>
                  </a:lnTo>
                  <a:close/>
                  <a:moveTo>
                    <a:pt x="432" y="1380"/>
                  </a:moveTo>
                  <a:lnTo>
                    <a:pt x="432" y="1368"/>
                  </a:lnTo>
                  <a:lnTo>
                    <a:pt x="432" y="1362"/>
                  </a:lnTo>
                  <a:lnTo>
                    <a:pt x="432" y="1356"/>
                  </a:lnTo>
                  <a:lnTo>
                    <a:pt x="438" y="1356"/>
                  </a:lnTo>
                  <a:lnTo>
                    <a:pt x="438" y="1362"/>
                  </a:lnTo>
                  <a:lnTo>
                    <a:pt x="438" y="1368"/>
                  </a:lnTo>
                  <a:lnTo>
                    <a:pt x="438" y="1374"/>
                  </a:lnTo>
                  <a:lnTo>
                    <a:pt x="438" y="1380"/>
                  </a:lnTo>
                  <a:lnTo>
                    <a:pt x="438" y="1386"/>
                  </a:lnTo>
                  <a:lnTo>
                    <a:pt x="438" y="1380"/>
                  </a:lnTo>
                  <a:lnTo>
                    <a:pt x="432" y="1380"/>
                  </a:lnTo>
                  <a:close/>
                  <a:moveTo>
                    <a:pt x="246" y="1272"/>
                  </a:moveTo>
                  <a:lnTo>
                    <a:pt x="252" y="1272"/>
                  </a:lnTo>
                  <a:lnTo>
                    <a:pt x="252" y="1278"/>
                  </a:lnTo>
                  <a:lnTo>
                    <a:pt x="246" y="1278"/>
                  </a:lnTo>
                  <a:lnTo>
                    <a:pt x="246" y="1272"/>
                  </a:lnTo>
                  <a:close/>
                  <a:moveTo>
                    <a:pt x="426" y="1416"/>
                  </a:moveTo>
                  <a:lnTo>
                    <a:pt x="432" y="1410"/>
                  </a:lnTo>
                  <a:lnTo>
                    <a:pt x="438" y="1410"/>
                  </a:lnTo>
                  <a:lnTo>
                    <a:pt x="438" y="1416"/>
                  </a:lnTo>
                  <a:lnTo>
                    <a:pt x="438" y="1422"/>
                  </a:lnTo>
                  <a:lnTo>
                    <a:pt x="432" y="1422"/>
                  </a:lnTo>
                  <a:lnTo>
                    <a:pt x="426" y="1422"/>
                  </a:lnTo>
                  <a:lnTo>
                    <a:pt x="426" y="1416"/>
                  </a:lnTo>
                  <a:close/>
                  <a:moveTo>
                    <a:pt x="246" y="1266"/>
                  </a:moveTo>
                  <a:lnTo>
                    <a:pt x="252" y="1266"/>
                  </a:lnTo>
                  <a:lnTo>
                    <a:pt x="258" y="1272"/>
                  </a:lnTo>
                  <a:lnTo>
                    <a:pt x="258" y="1278"/>
                  </a:lnTo>
                  <a:lnTo>
                    <a:pt x="258" y="1284"/>
                  </a:lnTo>
                  <a:lnTo>
                    <a:pt x="252" y="1284"/>
                  </a:lnTo>
                  <a:lnTo>
                    <a:pt x="252" y="1278"/>
                  </a:lnTo>
                  <a:lnTo>
                    <a:pt x="252" y="1272"/>
                  </a:lnTo>
                  <a:lnTo>
                    <a:pt x="252" y="1266"/>
                  </a:lnTo>
                  <a:lnTo>
                    <a:pt x="246" y="1266"/>
                  </a:lnTo>
                  <a:close/>
                  <a:moveTo>
                    <a:pt x="408" y="1458"/>
                  </a:moveTo>
                  <a:lnTo>
                    <a:pt x="408" y="1452"/>
                  </a:lnTo>
                  <a:lnTo>
                    <a:pt x="414" y="1452"/>
                  </a:lnTo>
                  <a:lnTo>
                    <a:pt x="414" y="1446"/>
                  </a:lnTo>
                  <a:lnTo>
                    <a:pt x="414" y="1440"/>
                  </a:lnTo>
                  <a:lnTo>
                    <a:pt x="420" y="1440"/>
                  </a:lnTo>
                  <a:lnTo>
                    <a:pt x="420" y="1434"/>
                  </a:lnTo>
                  <a:lnTo>
                    <a:pt x="420" y="1428"/>
                  </a:lnTo>
                  <a:lnTo>
                    <a:pt x="420" y="1422"/>
                  </a:lnTo>
                  <a:lnTo>
                    <a:pt x="426" y="1422"/>
                  </a:lnTo>
                  <a:lnTo>
                    <a:pt x="432" y="1428"/>
                  </a:lnTo>
                  <a:lnTo>
                    <a:pt x="438" y="1428"/>
                  </a:lnTo>
                  <a:lnTo>
                    <a:pt x="438" y="1434"/>
                  </a:lnTo>
                  <a:lnTo>
                    <a:pt x="438" y="1428"/>
                  </a:lnTo>
                  <a:lnTo>
                    <a:pt x="438" y="1422"/>
                  </a:lnTo>
                  <a:lnTo>
                    <a:pt x="444" y="1416"/>
                  </a:lnTo>
                  <a:lnTo>
                    <a:pt x="444" y="1410"/>
                  </a:lnTo>
                  <a:lnTo>
                    <a:pt x="450" y="1416"/>
                  </a:lnTo>
                  <a:lnTo>
                    <a:pt x="456" y="1416"/>
                  </a:lnTo>
                  <a:lnTo>
                    <a:pt x="456" y="1422"/>
                  </a:lnTo>
                  <a:lnTo>
                    <a:pt x="456" y="1428"/>
                  </a:lnTo>
                  <a:lnTo>
                    <a:pt x="456" y="1434"/>
                  </a:lnTo>
                  <a:lnTo>
                    <a:pt x="456" y="1440"/>
                  </a:lnTo>
                  <a:lnTo>
                    <a:pt x="462" y="1440"/>
                  </a:lnTo>
                  <a:lnTo>
                    <a:pt x="462" y="1446"/>
                  </a:lnTo>
                  <a:lnTo>
                    <a:pt x="462" y="1452"/>
                  </a:lnTo>
                  <a:lnTo>
                    <a:pt x="456" y="1452"/>
                  </a:lnTo>
                  <a:lnTo>
                    <a:pt x="450" y="1452"/>
                  </a:lnTo>
                  <a:lnTo>
                    <a:pt x="444" y="1446"/>
                  </a:lnTo>
                  <a:lnTo>
                    <a:pt x="444" y="1452"/>
                  </a:lnTo>
                  <a:lnTo>
                    <a:pt x="450" y="1452"/>
                  </a:lnTo>
                  <a:lnTo>
                    <a:pt x="450" y="1458"/>
                  </a:lnTo>
                  <a:lnTo>
                    <a:pt x="444" y="1458"/>
                  </a:lnTo>
                  <a:lnTo>
                    <a:pt x="438" y="1464"/>
                  </a:lnTo>
                  <a:lnTo>
                    <a:pt x="438" y="1458"/>
                  </a:lnTo>
                  <a:lnTo>
                    <a:pt x="432" y="1458"/>
                  </a:lnTo>
                  <a:lnTo>
                    <a:pt x="426" y="1458"/>
                  </a:lnTo>
                  <a:lnTo>
                    <a:pt x="432" y="1458"/>
                  </a:lnTo>
                  <a:lnTo>
                    <a:pt x="438" y="1464"/>
                  </a:lnTo>
                  <a:lnTo>
                    <a:pt x="432" y="1464"/>
                  </a:lnTo>
                  <a:lnTo>
                    <a:pt x="432" y="1470"/>
                  </a:lnTo>
                  <a:lnTo>
                    <a:pt x="426" y="1470"/>
                  </a:lnTo>
                  <a:lnTo>
                    <a:pt x="420" y="1476"/>
                  </a:lnTo>
                  <a:lnTo>
                    <a:pt x="420" y="1470"/>
                  </a:lnTo>
                  <a:lnTo>
                    <a:pt x="414" y="1470"/>
                  </a:lnTo>
                  <a:lnTo>
                    <a:pt x="414" y="1464"/>
                  </a:lnTo>
                  <a:lnTo>
                    <a:pt x="414" y="1458"/>
                  </a:lnTo>
                  <a:lnTo>
                    <a:pt x="408" y="1458"/>
                  </a:lnTo>
                  <a:close/>
                  <a:moveTo>
                    <a:pt x="270" y="1326"/>
                  </a:moveTo>
                  <a:lnTo>
                    <a:pt x="270" y="1320"/>
                  </a:lnTo>
                  <a:lnTo>
                    <a:pt x="276" y="1320"/>
                  </a:lnTo>
                  <a:lnTo>
                    <a:pt x="282" y="1326"/>
                  </a:lnTo>
                  <a:lnTo>
                    <a:pt x="288" y="1326"/>
                  </a:lnTo>
                  <a:lnTo>
                    <a:pt x="288" y="1332"/>
                  </a:lnTo>
                  <a:lnTo>
                    <a:pt x="288" y="1338"/>
                  </a:lnTo>
                  <a:lnTo>
                    <a:pt x="288" y="1344"/>
                  </a:lnTo>
                  <a:lnTo>
                    <a:pt x="282" y="1344"/>
                  </a:lnTo>
                  <a:lnTo>
                    <a:pt x="282" y="1338"/>
                  </a:lnTo>
                  <a:lnTo>
                    <a:pt x="276" y="1338"/>
                  </a:lnTo>
                  <a:lnTo>
                    <a:pt x="276" y="1332"/>
                  </a:lnTo>
                  <a:lnTo>
                    <a:pt x="270" y="1332"/>
                  </a:lnTo>
                  <a:lnTo>
                    <a:pt x="270" y="1326"/>
                  </a:lnTo>
                  <a:close/>
                  <a:moveTo>
                    <a:pt x="288" y="1458"/>
                  </a:moveTo>
                  <a:lnTo>
                    <a:pt x="294" y="1458"/>
                  </a:lnTo>
                  <a:lnTo>
                    <a:pt x="294" y="1452"/>
                  </a:lnTo>
                  <a:lnTo>
                    <a:pt x="294" y="1446"/>
                  </a:lnTo>
                  <a:lnTo>
                    <a:pt x="300" y="1446"/>
                  </a:lnTo>
                  <a:lnTo>
                    <a:pt x="300" y="1440"/>
                  </a:lnTo>
                  <a:lnTo>
                    <a:pt x="306" y="1440"/>
                  </a:lnTo>
                  <a:lnTo>
                    <a:pt x="306" y="1446"/>
                  </a:lnTo>
                  <a:lnTo>
                    <a:pt x="312" y="1452"/>
                  </a:lnTo>
                  <a:lnTo>
                    <a:pt x="306" y="1452"/>
                  </a:lnTo>
                  <a:lnTo>
                    <a:pt x="306" y="1458"/>
                  </a:lnTo>
                  <a:lnTo>
                    <a:pt x="312" y="1464"/>
                  </a:lnTo>
                  <a:lnTo>
                    <a:pt x="306" y="1464"/>
                  </a:lnTo>
                  <a:lnTo>
                    <a:pt x="306" y="1470"/>
                  </a:lnTo>
                  <a:lnTo>
                    <a:pt x="300" y="1476"/>
                  </a:lnTo>
                  <a:lnTo>
                    <a:pt x="294" y="1476"/>
                  </a:lnTo>
                  <a:lnTo>
                    <a:pt x="294" y="1470"/>
                  </a:lnTo>
                  <a:lnTo>
                    <a:pt x="288" y="1470"/>
                  </a:lnTo>
                  <a:lnTo>
                    <a:pt x="288" y="1464"/>
                  </a:lnTo>
                  <a:lnTo>
                    <a:pt x="288" y="1458"/>
                  </a:lnTo>
                  <a:close/>
                  <a:moveTo>
                    <a:pt x="270" y="1296"/>
                  </a:moveTo>
                  <a:lnTo>
                    <a:pt x="276" y="1296"/>
                  </a:lnTo>
                  <a:lnTo>
                    <a:pt x="282" y="1296"/>
                  </a:lnTo>
                  <a:lnTo>
                    <a:pt x="288" y="1296"/>
                  </a:lnTo>
                  <a:lnTo>
                    <a:pt x="288" y="1302"/>
                  </a:lnTo>
                  <a:lnTo>
                    <a:pt x="282" y="1308"/>
                  </a:lnTo>
                  <a:lnTo>
                    <a:pt x="276" y="1308"/>
                  </a:lnTo>
                  <a:lnTo>
                    <a:pt x="276" y="1302"/>
                  </a:lnTo>
                  <a:lnTo>
                    <a:pt x="270" y="12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4" name="Freeform 19">
              <a:extLst>
                <a:ext uri="{FF2B5EF4-FFF2-40B4-BE49-F238E27FC236}">
                  <a16:creationId xmlns:a16="http://schemas.microsoft.com/office/drawing/2014/main" id="{5B9020B8-E1C1-4611-A248-9642BBD69C9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7043" y="3765821"/>
              <a:ext cx="333193" cy="398097"/>
            </a:xfrm>
            <a:custGeom>
              <a:avLst/>
              <a:gdLst>
                <a:gd name="T0" fmla="*/ 30 w 624"/>
                <a:gd name="T1" fmla="*/ 61 h 750"/>
                <a:gd name="T2" fmla="*/ 27 w 624"/>
                <a:gd name="T3" fmla="*/ 62 h 750"/>
                <a:gd name="T4" fmla="*/ 23 w 624"/>
                <a:gd name="T5" fmla="*/ 59 h 750"/>
                <a:gd name="T6" fmla="*/ 20 w 624"/>
                <a:gd name="T7" fmla="*/ 58 h 750"/>
                <a:gd name="T8" fmla="*/ 19 w 624"/>
                <a:gd name="T9" fmla="*/ 56 h 750"/>
                <a:gd name="T10" fmla="*/ 17 w 624"/>
                <a:gd name="T11" fmla="*/ 55 h 750"/>
                <a:gd name="T12" fmla="*/ 16 w 624"/>
                <a:gd name="T13" fmla="*/ 51 h 750"/>
                <a:gd name="T14" fmla="*/ 14 w 624"/>
                <a:gd name="T15" fmla="*/ 48 h 750"/>
                <a:gd name="T16" fmla="*/ 12 w 624"/>
                <a:gd name="T17" fmla="*/ 46 h 750"/>
                <a:gd name="T18" fmla="*/ 12 w 624"/>
                <a:gd name="T19" fmla="*/ 44 h 750"/>
                <a:gd name="T20" fmla="*/ 11 w 624"/>
                <a:gd name="T21" fmla="*/ 41 h 750"/>
                <a:gd name="T22" fmla="*/ 8 w 624"/>
                <a:gd name="T23" fmla="*/ 38 h 750"/>
                <a:gd name="T24" fmla="*/ 6 w 624"/>
                <a:gd name="T25" fmla="*/ 38 h 750"/>
                <a:gd name="T26" fmla="*/ 6 w 624"/>
                <a:gd name="T27" fmla="*/ 35 h 750"/>
                <a:gd name="T28" fmla="*/ 7 w 624"/>
                <a:gd name="T29" fmla="*/ 31 h 750"/>
                <a:gd name="T30" fmla="*/ 10 w 624"/>
                <a:gd name="T31" fmla="*/ 27 h 750"/>
                <a:gd name="T32" fmla="*/ 8 w 624"/>
                <a:gd name="T33" fmla="*/ 23 h 750"/>
                <a:gd name="T34" fmla="*/ 6 w 624"/>
                <a:gd name="T35" fmla="*/ 23 h 750"/>
                <a:gd name="T36" fmla="*/ 3 w 624"/>
                <a:gd name="T37" fmla="*/ 22 h 750"/>
                <a:gd name="T38" fmla="*/ 0 w 624"/>
                <a:gd name="T39" fmla="*/ 22 h 750"/>
                <a:gd name="T40" fmla="*/ 0 w 624"/>
                <a:gd name="T41" fmla="*/ 19 h 750"/>
                <a:gd name="T42" fmla="*/ 1 w 624"/>
                <a:gd name="T43" fmla="*/ 18 h 750"/>
                <a:gd name="T44" fmla="*/ 2 w 624"/>
                <a:gd name="T45" fmla="*/ 14 h 750"/>
                <a:gd name="T46" fmla="*/ 4 w 624"/>
                <a:gd name="T47" fmla="*/ 17 h 750"/>
                <a:gd name="T48" fmla="*/ 6 w 624"/>
                <a:gd name="T49" fmla="*/ 17 h 750"/>
                <a:gd name="T50" fmla="*/ 7 w 624"/>
                <a:gd name="T51" fmla="*/ 17 h 750"/>
                <a:gd name="T52" fmla="*/ 9 w 624"/>
                <a:gd name="T53" fmla="*/ 15 h 750"/>
                <a:gd name="T54" fmla="*/ 10 w 624"/>
                <a:gd name="T55" fmla="*/ 14 h 750"/>
                <a:gd name="T56" fmla="*/ 11 w 624"/>
                <a:gd name="T57" fmla="*/ 12 h 750"/>
                <a:gd name="T58" fmla="*/ 13 w 624"/>
                <a:gd name="T59" fmla="*/ 12 h 750"/>
                <a:gd name="T60" fmla="*/ 18 w 624"/>
                <a:gd name="T61" fmla="*/ 10 h 750"/>
                <a:gd name="T62" fmla="*/ 22 w 624"/>
                <a:gd name="T63" fmla="*/ 4 h 750"/>
                <a:gd name="T64" fmla="*/ 24 w 624"/>
                <a:gd name="T65" fmla="*/ 4 h 750"/>
                <a:gd name="T66" fmla="*/ 26 w 624"/>
                <a:gd name="T67" fmla="*/ 2 h 750"/>
                <a:gd name="T68" fmla="*/ 29 w 624"/>
                <a:gd name="T69" fmla="*/ 0 h 750"/>
                <a:gd name="T70" fmla="*/ 32 w 624"/>
                <a:gd name="T71" fmla="*/ 2 h 750"/>
                <a:gd name="T72" fmla="*/ 34 w 624"/>
                <a:gd name="T73" fmla="*/ 5 h 750"/>
                <a:gd name="T74" fmla="*/ 35 w 624"/>
                <a:gd name="T75" fmla="*/ 8 h 750"/>
                <a:gd name="T76" fmla="*/ 39 w 624"/>
                <a:gd name="T77" fmla="*/ 11 h 750"/>
                <a:gd name="T78" fmla="*/ 42 w 624"/>
                <a:gd name="T79" fmla="*/ 14 h 750"/>
                <a:gd name="T80" fmla="*/ 46 w 624"/>
                <a:gd name="T81" fmla="*/ 12 h 750"/>
                <a:gd name="T82" fmla="*/ 49 w 624"/>
                <a:gd name="T83" fmla="*/ 12 h 750"/>
                <a:gd name="T84" fmla="*/ 51 w 624"/>
                <a:gd name="T85" fmla="*/ 12 h 750"/>
                <a:gd name="T86" fmla="*/ 53 w 624"/>
                <a:gd name="T87" fmla="*/ 12 h 750"/>
                <a:gd name="T88" fmla="*/ 53 w 624"/>
                <a:gd name="T89" fmla="*/ 17 h 750"/>
                <a:gd name="T90" fmla="*/ 51 w 624"/>
                <a:gd name="T91" fmla="*/ 20 h 750"/>
                <a:gd name="T92" fmla="*/ 49 w 624"/>
                <a:gd name="T93" fmla="*/ 26 h 750"/>
                <a:gd name="T94" fmla="*/ 47 w 624"/>
                <a:gd name="T95" fmla="*/ 26 h 750"/>
                <a:gd name="T96" fmla="*/ 44 w 624"/>
                <a:gd name="T97" fmla="*/ 26 h 750"/>
                <a:gd name="T98" fmla="*/ 43 w 624"/>
                <a:gd name="T99" fmla="*/ 27 h 750"/>
                <a:gd name="T100" fmla="*/ 45 w 624"/>
                <a:gd name="T101" fmla="*/ 32 h 750"/>
                <a:gd name="T102" fmla="*/ 44 w 624"/>
                <a:gd name="T103" fmla="*/ 43 h 750"/>
                <a:gd name="T104" fmla="*/ 44 w 624"/>
                <a:gd name="T105" fmla="*/ 47 h 750"/>
                <a:gd name="T106" fmla="*/ 44 w 624"/>
                <a:gd name="T107" fmla="*/ 54 h 750"/>
                <a:gd name="T108" fmla="*/ 41 w 624"/>
                <a:gd name="T109" fmla="*/ 60 h 750"/>
                <a:gd name="T110" fmla="*/ 42 w 624"/>
                <a:gd name="T111" fmla="*/ 62 h 750"/>
                <a:gd name="T112" fmla="*/ 43 w 624"/>
                <a:gd name="T113" fmla="*/ 65 h 750"/>
                <a:gd name="T114" fmla="*/ 39 w 624"/>
                <a:gd name="T115" fmla="*/ 63 h 750"/>
                <a:gd name="T116" fmla="*/ 35 w 624"/>
                <a:gd name="T117" fmla="*/ 62 h 75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24"/>
                <a:gd name="T178" fmla="*/ 0 h 750"/>
                <a:gd name="T179" fmla="*/ 624 w 624"/>
                <a:gd name="T180" fmla="*/ 750 h 75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24" h="750">
                  <a:moveTo>
                    <a:pt x="390" y="702"/>
                  </a:moveTo>
                  <a:lnTo>
                    <a:pt x="372" y="696"/>
                  </a:lnTo>
                  <a:lnTo>
                    <a:pt x="360" y="702"/>
                  </a:lnTo>
                  <a:lnTo>
                    <a:pt x="348" y="702"/>
                  </a:lnTo>
                  <a:lnTo>
                    <a:pt x="336" y="702"/>
                  </a:lnTo>
                  <a:lnTo>
                    <a:pt x="330" y="702"/>
                  </a:lnTo>
                  <a:lnTo>
                    <a:pt x="318" y="708"/>
                  </a:lnTo>
                  <a:lnTo>
                    <a:pt x="306" y="708"/>
                  </a:lnTo>
                  <a:lnTo>
                    <a:pt x="294" y="690"/>
                  </a:lnTo>
                  <a:lnTo>
                    <a:pt x="294" y="684"/>
                  </a:lnTo>
                  <a:lnTo>
                    <a:pt x="276" y="684"/>
                  </a:lnTo>
                  <a:lnTo>
                    <a:pt x="270" y="678"/>
                  </a:lnTo>
                  <a:lnTo>
                    <a:pt x="240" y="672"/>
                  </a:lnTo>
                  <a:lnTo>
                    <a:pt x="234" y="672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6"/>
                  </a:lnTo>
                  <a:lnTo>
                    <a:pt x="216" y="660"/>
                  </a:lnTo>
                  <a:lnTo>
                    <a:pt x="216" y="654"/>
                  </a:lnTo>
                  <a:lnTo>
                    <a:pt x="216" y="642"/>
                  </a:lnTo>
                  <a:lnTo>
                    <a:pt x="210" y="642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36"/>
                  </a:lnTo>
                  <a:lnTo>
                    <a:pt x="192" y="624"/>
                  </a:lnTo>
                  <a:lnTo>
                    <a:pt x="186" y="612"/>
                  </a:lnTo>
                  <a:lnTo>
                    <a:pt x="186" y="600"/>
                  </a:lnTo>
                  <a:lnTo>
                    <a:pt x="186" y="588"/>
                  </a:lnTo>
                  <a:lnTo>
                    <a:pt x="180" y="582"/>
                  </a:lnTo>
                  <a:lnTo>
                    <a:pt x="180" y="570"/>
                  </a:lnTo>
                  <a:lnTo>
                    <a:pt x="174" y="558"/>
                  </a:lnTo>
                  <a:lnTo>
                    <a:pt x="162" y="558"/>
                  </a:lnTo>
                  <a:lnTo>
                    <a:pt x="144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38" y="534"/>
                  </a:lnTo>
                  <a:lnTo>
                    <a:pt x="138" y="528"/>
                  </a:lnTo>
                  <a:lnTo>
                    <a:pt x="132" y="522"/>
                  </a:lnTo>
                  <a:lnTo>
                    <a:pt x="144" y="522"/>
                  </a:lnTo>
                  <a:lnTo>
                    <a:pt x="144" y="510"/>
                  </a:lnTo>
                  <a:lnTo>
                    <a:pt x="144" y="504"/>
                  </a:lnTo>
                  <a:lnTo>
                    <a:pt x="138" y="492"/>
                  </a:lnTo>
                  <a:lnTo>
                    <a:pt x="138" y="474"/>
                  </a:lnTo>
                  <a:lnTo>
                    <a:pt x="126" y="468"/>
                  </a:lnTo>
                  <a:lnTo>
                    <a:pt x="120" y="456"/>
                  </a:lnTo>
                  <a:lnTo>
                    <a:pt x="114" y="450"/>
                  </a:lnTo>
                  <a:lnTo>
                    <a:pt x="108" y="438"/>
                  </a:lnTo>
                  <a:lnTo>
                    <a:pt x="96" y="432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60" y="426"/>
                  </a:lnTo>
                  <a:lnTo>
                    <a:pt x="66" y="420"/>
                  </a:lnTo>
                  <a:lnTo>
                    <a:pt x="66" y="408"/>
                  </a:lnTo>
                  <a:lnTo>
                    <a:pt x="72" y="408"/>
                  </a:lnTo>
                  <a:lnTo>
                    <a:pt x="72" y="384"/>
                  </a:lnTo>
                  <a:lnTo>
                    <a:pt x="72" y="366"/>
                  </a:lnTo>
                  <a:lnTo>
                    <a:pt x="78" y="354"/>
                  </a:lnTo>
                  <a:lnTo>
                    <a:pt x="84" y="354"/>
                  </a:lnTo>
                  <a:lnTo>
                    <a:pt x="90" y="348"/>
                  </a:lnTo>
                  <a:lnTo>
                    <a:pt x="102" y="336"/>
                  </a:lnTo>
                  <a:lnTo>
                    <a:pt x="114" y="324"/>
                  </a:lnTo>
                  <a:lnTo>
                    <a:pt x="120" y="312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20" y="276"/>
                  </a:lnTo>
                  <a:lnTo>
                    <a:pt x="96" y="270"/>
                  </a:lnTo>
                  <a:lnTo>
                    <a:pt x="84" y="270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72" y="264"/>
                  </a:lnTo>
                  <a:lnTo>
                    <a:pt x="60" y="252"/>
                  </a:lnTo>
                  <a:lnTo>
                    <a:pt x="42" y="252"/>
                  </a:lnTo>
                  <a:lnTo>
                    <a:pt x="42" y="258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18" y="252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42" y="156"/>
                  </a:lnTo>
                  <a:lnTo>
                    <a:pt x="48" y="198"/>
                  </a:lnTo>
                  <a:lnTo>
                    <a:pt x="48" y="204"/>
                  </a:lnTo>
                  <a:lnTo>
                    <a:pt x="54" y="198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204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192"/>
                  </a:lnTo>
                  <a:lnTo>
                    <a:pt x="96" y="186"/>
                  </a:lnTo>
                  <a:lnTo>
                    <a:pt x="102" y="180"/>
                  </a:lnTo>
                  <a:lnTo>
                    <a:pt x="102" y="174"/>
                  </a:lnTo>
                  <a:lnTo>
                    <a:pt x="108" y="168"/>
                  </a:lnTo>
                  <a:lnTo>
                    <a:pt x="108" y="162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0"/>
                  </a:lnTo>
                  <a:lnTo>
                    <a:pt x="132" y="144"/>
                  </a:lnTo>
                  <a:lnTo>
                    <a:pt x="138" y="138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0" y="132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74" y="126"/>
                  </a:lnTo>
                  <a:lnTo>
                    <a:pt x="204" y="120"/>
                  </a:lnTo>
                  <a:lnTo>
                    <a:pt x="210" y="78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54"/>
                  </a:lnTo>
                  <a:lnTo>
                    <a:pt x="276" y="54"/>
                  </a:lnTo>
                  <a:lnTo>
                    <a:pt x="276" y="48"/>
                  </a:lnTo>
                  <a:lnTo>
                    <a:pt x="282" y="48"/>
                  </a:lnTo>
                  <a:lnTo>
                    <a:pt x="288" y="42"/>
                  </a:lnTo>
                  <a:lnTo>
                    <a:pt x="294" y="42"/>
                  </a:lnTo>
                  <a:lnTo>
                    <a:pt x="294" y="18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0"/>
                  </a:lnTo>
                  <a:lnTo>
                    <a:pt x="336" y="0"/>
                  </a:lnTo>
                  <a:lnTo>
                    <a:pt x="342" y="0"/>
                  </a:lnTo>
                  <a:lnTo>
                    <a:pt x="354" y="6"/>
                  </a:lnTo>
                  <a:lnTo>
                    <a:pt x="366" y="18"/>
                  </a:lnTo>
                  <a:lnTo>
                    <a:pt x="378" y="36"/>
                  </a:lnTo>
                  <a:lnTo>
                    <a:pt x="390" y="42"/>
                  </a:lnTo>
                  <a:lnTo>
                    <a:pt x="390" y="48"/>
                  </a:lnTo>
                  <a:lnTo>
                    <a:pt x="396" y="60"/>
                  </a:lnTo>
                  <a:lnTo>
                    <a:pt x="402" y="72"/>
                  </a:lnTo>
                  <a:lnTo>
                    <a:pt x="408" y="78"/>
                  </a:lnTo>
                  <a:lnTo>
                    <a:pt x="402" y="84"/>
                  </a:lnTo>
                  <a:lnTo>
                    <a:pt x="408" y="90"/>
                  </a:lnTo>
                  <a:lnTo>
                    <a:pt x="414" y="102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50" y="126"/>
                  </a:lnTo>
                  <a:lnTo>
                    <a:pt x="456" y="126"/>
                  </a:lnTo>
                  <a:lnTo>
                    <a:pt x="462" y="144"/>
                  </a:lnTo>
                  <a:lnTo>
                    <a:pt x="480" y="156"/>
                  </a:lnTo>
                  <a:lnTo>
                    <a:pt x="492" y="156"/>
                  </a:lnTo>
                  <a:lnTo>
                    <a:pt x="516" y="150"/>
                  </a:lnTo>
                  <a:lnTo>
                    <a:pt x="516" y="144"/>
                  </a:lnTo>
                  <a:lnTo>
                    <a:pt x="516" y="138"/>
                  </a:lnTo>
                  <a:lnTo>
                    <a:pt x="528" y="138"/>
                  </a:lnTo>
                  <a:lnTo>
                    <a:pt x="546" y="144"/>
                  </a:lnTo>
                  <a:lnTo>
                    <a:pt x="546" y="138"/>
                  </a:lnTo>
                  <a:lnTo>
                    <a:pt x="552" y="138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76" y="138"/>
                  </a:lnTo>
                  <a:lnTo>
                    <a:pt x="582" y="138"/>
                  </a:lnTo>
                  <a:lnTo>
                    <a:pt x="588" y="138"/>
                  </a:lnTo>
                  <a:lnTo>
                    <a:pt x="594" y="138"/>
                  </a:lnTo>
                  <a:lnTo>
                    <a:pt x="594" y="144"/>
                  </a:lnTo>
                  <a:lnTo>
                    <a:pt x="600" y="138"/>
                  </a:lnTo>
                  <a:lnTo>
                    <a:pt x="606" y="138"/>
                  </a:lnTo>
                  <a:lnTo>
                    <a:pt x="606" y="144"/>
                  </a:lnTo>
                  <a:lnTo>
                    <a:pt x="612" y="144"/>
                  </a:lnTo>
                  <a:lnTo>
                    <a:pt x="618" y="156"/>
                  </a:lnTo>
                  <a:lnTo>
                    <a:pt x="612" y="198"/>
                  </a:lnTo>
                  <a:lnTo>
                    <a:pt x="624" y="198"/>
                  </a:lnTo>
                  <a:lnTo>
                    <a:pt x="624" y="204"/>
                  </a:lnTo>
                  <a:lnTo>
                    <a:pt x="612" y="216"/>
                  </a:lnTo>
                  <a:lnTo>
                    <a:pt x="594" y="234"/>
                  </a:lnTo>
                  <a:lnTo>
                    <a:pt x="588" y="252"/>
                  </a:lnTo>
                  <a:lnTo>
                    <a:pt x="576" y="270"/>
                  </a:lnTo>
                  <a:lnTo>
                    <a:pt x="564" y="282"/>
                  </a:lnTo>
                  <a:lnTo>
                    <a:pt x="564" y="294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8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34" y="294"/>
                  </a:lnTo>
                  <a:lnTo>
                    <a:pt x="522" y="300"/>
                  </a:lnTo>
                  <a:lnTo>
                    <a:pt x="510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498" y="324"/>
                  </a:lnTo>
                  <a:lnTo>
                    <a:pt x="504" y="336"/>
                  </a:lnTo>
                  <a:lnTo>
                    <a:pt x="510" y="348"/>
                  </a:lnTo>
                  <a:lnTo>
                    <a:pt x="516" y="366"/>
                  </a:lnTo>
                  <a:lnTo>
                    <a:pt x="522" y="432"/>
                  </a:lnTo>
                  <a:lnTo>
                    <a:pt x="522" y="456"/>
                  </a:lnTo>
                  <a:lnTo>
                    <a:pt x="504" y="492"/>
                  </a:lnTo>
                  <a:lnTo>
                    <a:pt x="504" y="498"/>
                  </a:lnTo>
                  <a:lnTo>
                    <a:pt x="498" y="504"/>
                  </a:lnTo>
                  <a:lnTo>
                    <a:pt x="498" y="522"/>
                  </a:lnTo>
                  <a:lnTo>
                    <a:pt x="504" y="534"/>
                  </a:lnTo>
                  <a:lnTo>
                    <a:pt x="510" y="546"/>
                  </a:lnTo>
                  <a:lnTo>
                    <a:pt x="516" y="558"/>
                  </a:lnTo>
                  <a:lnTo>
                    <a:pt x="516" y="588"/>
                  </a:lnTo>
                  <a:lnTo>
                    <a:pt x="516" y="600"/>
                  </a:lnTo>
                  <a:lnTo>
                    <a:pt x="510" y="618"/>
                  </a:lnTo>
                  <a:lnTo>
                    <a:pt x="504" y="636"/>
                  </a:lnTo>
                  <a:lnTo>
                    <a:pt x="504" y="642"/>
                  </a:lnTo>
                  <a:lnTo>
                    <a:pt x="474" y="654"/>
                  </a:lnTo>
                  <a:lnTo>
                    <a:pt x="474" y="690"/>
                  </a:lnTo>
                  <a:lnTo>
                    <a:pt x="474" y="696"/>
                  </a:lnTo>
                  <a:lnTo>
                    <a:pt x="480" y="702"/>
                  </a:lnTo>
                  <a:lnTo>
                    <a:pt x="486" y="708"/>
                  </a:lnTo>
                  <a:lnTo>
                    <a:pt x="492" y="708"/>
                  </a:lnTo>
                  <a:lnTo>
                    <a:pt x="498" y="726"/>
                  </a:lnTo>
                  <a:lnTo>
                    <a:pt x="504" y="726"/>
                  </a:lnTo>
                  <a:lnTo>
                    <a:pt x="504" y="738"/>
                  </a:lnTo>
                  <a:lnTo>
                    <a:pt x="498" y="744"/>
                  </a:lnTo>
                  <a:lnTo>
                    <a:pt x="486" y="750"/>
                  </a:lnTo>
                  <a:lnTo>
                    <a:pt x="474" y="744"/>
                  </a:lnTo>
                  <a:lnTo>
                    <a:pt x="462" y="744"/>
                  </a:lnTo>
                  <a:lnTo>
                    <a:pt x="456" y="732"/>
                  </a:lnTo>
                  <a:lnTo>
                    <a:pt x="444" y="732"/>
                  </a:lnTo>
                  <a:lnTo>
                    <a:pt x="432" y="726"/>
                  </a:lnTo>
                  <a:lnTo>
                    <a:pt x="420" y="720"/>
                  </a:lnTo>
                  <a:lnTo>
                    <a:pt x="408" y="708"/>
                  </a:lnTo>
                  <a:lnTo>
                    <a:pt x="402" y="708"/>
                  </a:lnTo>
                  <a:lnTo>
                    <a:pt x="390" y="70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5" name="Freeform 20">
              <a:extLst>
                <a:ext uri="{FF2B5EF4-FFF2-40B4-BE49-F238E27FC236}">
                  <a16:creationId xmlns:a16="http://schemas.microsoft.com/office/drawing/2014/main" id="{B8342C3B-ECEC-465F-AAFF-4815B8AC392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870937"/>
              <a:ext cx="313067" cy="377968"/>
            </a:xfrm>
            <a:custGeom>
              <a:avLst/>
              <a:gdLst>
                <a:gd name="T0" fmla="*/ 15 w 588"/>
                <a:gd name="T1" fmla="*/ 59 h 714"/>
                <a:gd name="T2" fmla="*/ 14 w 588"/>
                <a:gd name="T3" fmla="*/ 58 h 714"/>
                <a:gd name="T4" fmla="*/ 9 w 588"/>
                <a:gd name="T5" fmla="*/ 54 h 714"/>
                <a:gd name="T6" fmla="*/ 4 w 588"/>
                <a:gd name="T7" fmla="*/ 54 h 714"/>
                <a:gd name="T8" fmla="*/ 0 w 588"/>
                <a:gd name="T9" fmla="*/ 50 h 714"/>
                <a:gd name="T10" fmla="*/ 0 w 588"/>
                <a:gd name="T11" fmla="*/ 44 h 714"/>
                <a:gd name="T12" fmla="*/ 4 w 588"/>
                <a:gd name="T13" fmla="*/ 46 h 714"/>
                <a:gd name="T14" fmla="*/ 7 w 588"/>
                <a:gd name="T15" fmla="*/ 47 h 714"/>
                <a:gd name="T16" fmla="*/ 10 w 588"/>
                <a:gd name="T17" fmla="*/ 46 h 714"/>
                <a:gd name="T18" fmla="*/ 8 w 588"/>
                <a:gd name="T19" fmla="*/ 44 h 714"/>
                <a:gd name="T20" fmla="*/ 10 w 588"/>
                <a:gd name="T21" fmla="*/ 39 h 714"/>
                <a:gd name="T22" fmla="*/ 11 w 588"/>
                <a:gd name="T23" fmla="*/ 34 h 714"/>
                <a:gd name="T24" fmla="*/ 9 w 588"/>
                <a:gd name="T25" fmla="*/ 28 h 714"/>
                <a:gd name="T26" fmla="*/ 11 w 588"/>
                <a:gd name="T27" fmla="*/ 22 h 714"/>
                <a:gd name="T28" fmla="*/ 10 w 588"/>
                <a:gd name="T29" fmla="*/ 12 h 714"/>
                <a:gd name="T30" fmla="*/ 9 w 588"/>
                <a:gd name="T31" fmla="*/ 9 h 714"/>
                <a:gd name="T32" fmla="*/ 12 w 588"/>
                <a:gd name="T33" fmla="*/ 8 h 714"/>
                <a:gd name="T34" fmla="*/ 14 w 588"/>
                <a:gd name="T35" fmla="*/ 7 h 714"/>
                <a:gd name="T36" fmla="*/ 17 w 588"/>
                <a:gd name="T37" fmla="*/ 10 h 714"/>
                <a:gd name="T38" fmla="*/ 23 w 588"/>
                <a:gd name="T39" fmla="*/ 14 h 714"/>
                <a:gd name="T40" fmla="*/ 28 w 588"/>
                <a:gd name="T41" fmla="*/ 4 h 714"/>
                <a:gd name="T42" fmla="*/ 35 w 588"/>
                <a:gd name="T43" fmla="*/ 2 h 714"/>
                <a:gd name="T44" fmla="*/ 38 w 588"/>
                <a:gd name="T45" fmla="*/ 0 h 714"/>
                <a:gd name="T46" fmla="*/ 40 w 588"/>
                <a:gd name="T47" fmla="*/ 2 h 714"/>
                <a:gd name="T48" fmla="*/ 39 w 588"/>
                <a:gd name="T49" fmla="*/ 4 h 714"/>
                <a:gd name="T50" fmla="*/ 41 w 588"/>
                <a:gd name="T51" fmla="*/ 5 h 714"/>
                <a:gd name="T52" fmla="*/ 42 w 588"/>
                <a:gd name="T53" fmla="*/ 7 h 714"/>
                <a:gd name="T54" fmla="*/ 43 w 588"/>
                <a:gd name="T55" fmla="*/ 9 h 714"/>
                <a:gd name="T56" fmla="*/ 43 w 588"/>
                <a:gd name="T57" fmla="*/ 10 h 714"/>
                <a:gd name="T58" fmla="*/ 43 w 588"/>
                <a:gd name="T59" fmla="*/ 12 h 714"/>
                <a:gd name="T60" fmla="*/ 44 w 588"/>
                <a:gd name="T61" fmla="*/ 12 h 714"/>
                <a:gd name="T62" fmla="*/ 46 w 588"/>
                <a:gd name="T63" fmla="*/ 13 h 714"/>
                <a:gd name="T64" fmla="*/ 47 w 588"/>
                <a:gd name="T65" fmla="*/ 14 h 714"/>
                <a:gd name="T66" fmla="*/ 48 w 588"/>
                <a:gd name="T67" fmla="*/ 15 h 714"/>
                <a:gd name="T68" fmla="*/ 49 w 588"/>
                <a:gd name="T69" fmla="*/ 15 h 714"/>
                <a:gd name="T70" fmla="*/ 48 w 588"/>
                <a:gd name="T71" fmla="*/ 17 h 714"/>
                <a:gd name="T72" fmla="*/ 49 w 588"/>
                <a:gd name="T73" fmla="*/ 19 h 714"/>
                <a:gd name="T74" fmla="*/ 49 w 588"/>
                <a:gd name="T75" fmla="*/ 20 h 714"/>
                <a:gd name="T76" fmla="*/ 51 w 588"/>
                <a:gd name="T77" fmla="*/ 21 h 714"/>
                <a:gd name="T78" fmla="*/ 50 w 588"/>
                <a:gd name="T79" fmla="*/ 22 h 714"/>
                <a:gd name="T80" fmla="*/ 47 w 588"/>
                <a:gd name="T81" fmla="*/ 23 h 714"/>
                <a:gd name="T82" fmla="*/ 47 w 588"/>
                <a:gd name="T83" fmla="*/ 26 h 714"/>
                <a:gd name="T84" fmla="*/ 47 w 588"/>
                <a:gd name="T85" fmla="*/ 32 h 714"/>
                <a:gd name="T86" fmla="*/ 44 w 588"/>
                <a:gd name="T87" fmla="*/ 35 h 714"/>
                <a:gd name="T88" fmla="*/ 42 w 588"/>
                <a:gd name="T89" fmla="*/ 39 h 714"/>
                <a:gd name="T90" fmla="*/ 42 w 588"/>
                <a:gd name="T91" fmla="*/ 41 h 714"/>
                <a:gd name="T92" fmla="*/ 42 w 588"/>
                <a:gd name="T93" fmla="*/ 42 h 714"/>
                <a:gd name="T94" fmla="*/ 41 w 588"/>
                <a:gd name="T95" fmla="*/ 44 h 714"/>
                <a:gd name="T96" fmla="*/ 39 w 588"/>
                <a:gd name="T97" fmla="*/ 43 h 714"/>
                <a:gd name="T98" fmla="*/ 37 w 588"/>
                <a:gd name="T99" fmla="*/ 44 h 714"/>
                <a:gd name="T100" fmla="*/ 35 w 588"/>
                <a:gd name="T101" fmla="*/ 46 h 714"/>
                <a:gd name="T102" fmla="*/ 31 w 588"/>
                <a:gd name="T103" fmla="*/ 45 h 714"/>
                <a:gd name="T104" fmla="*/ 24 w 588"/>
                <a:gd name="T105" fmla="*/ 45 h 714"/>
                <a:gd name="T106" fmla="*/ 25 w 588"/>
                <a:gd name="T107" fmla="*/ 47 h 714"/>
                <a:gd name="T108" fmla="*/ 25 w 588"/>
                <a:gd name="T109" fmla="*/ 49 h 714"/>
                <a:gd name="T110" fmla="*/ 25 w 588"/>
                <a:gd name="T111" fmla="*/ 50 h 714"/>
                <a:gd name="T112" fmla="*/ 24 w 588"/>
                <a:gd name="T113" fmla="*/ 51 h 714"/>
                <a:gd name="T114" fmla="*/ 22 w 588"/>
                <a:gd name="T115" fmla="*/ 53 h 714"/>
                <a:gd name="T116" fmla="*/ 23 w 588"/>
                <a:gd name="T117" fmla="*/ 56 h 714"/>
                <a:gd name="T118" fmla="*/ 20 w 588"/>
                <a:gd name="T119" fmla="*/ 58 h 714"/>
                <a:gd name="T120" fmla="*/ 19 w 588"/>
                <a:gd name="T121" fmla="*/ 62 h 7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8"/>
                <a:gd name="T184" fmla="*/ 0 h 714"/>
                <a:gd name="T185" fmla="*/ 588 w 588"/>
                <a:gd name="T186" fmla="*/ 714 h 7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8" h="714">
                  <a:moveTo>
                    <a:pt x="216" y="714"/>
                  </a:moveTo>
                  <a:lnTo>
                    <a:pt x="198" y="702"/>
                  </a:lnTo>
                  <a:lnTo>
                    <a:pt x="186" y="696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74" y="678"/>
                  </a:lnTo>
                  <a:lnTo>
                    <a:pt x="168" y="672"/>
                  </a:lnTo>
                  <a:lnTo>
                    <a:pt x="162" y="666"/>
                  </a:lnTo>
                  <a:lnTo>
                    <a:pt x="156" y="636"/>
                  </a:lnTo>
                  <a:lnTo>
                    <a:pt x="144" y="630"/>
                  </a:lnTo>
                  <a:lnTo>
                    <a:pt x="108" y="630"/>
                  </a:lnTo>
                  <a:lnTo>
                    <a:pt x="102" y="624"/>
                  </a:lnTo>
                  <a:lnTo>
                    <a:pt x="96" y="624"/>
                  </a:lnTo>
                  <a:lnTo>
                    <a:pt x="72" y="624"/>
                  </a:lnTo>
                  <a:lnTo>
                    <a:pt x="54" y="624"/>
                  </a:lnTo>
                  <a:lnTo>
                    <a:pt x="42" y="618"/>
                  </a:lnTo>
                  <a:lnTo>
                    <a:pt x="30" y="612"/>
                  </a:lnTo>
                  <a:lnTo>
                    <a:pt x="6" y="606"/>
                  </a:lnTo>
                  <a:lnTo>
                    <a:pt x="0" y="606"/>
                  </a:lnTo>
                  <a:lnTo>
                    <a:pt x="0" y="570"/>
                  </a:lnTo>
                  <a:lnTo>
                    <a:pt x="6" y="552"/>
                  </a:lnTo>
                  <a:lnTo>
                    <a:pt x="6" y="522"/>
                  </a:lnTo>
                  <a:lnTo>
                    <a:pt x="0" y="510"/>
                  </a:lnTo>
                  <a:lnTo>
                    <a:pt x="0" y="504"/>
                  </a:lnTo>
                  <a:lnTo>
                    <a:pt x="12" y="510"/>
                  </a:lnTo>
                  <a:lnTo>
                    <a:pt x="18" y="510"/>
                  </a:lnTo>
                  <a:lnTo>
                    <a:pt x="30" y="522"/>
                  </a:lnTo>
                  <a:lnTo>
                    <a:pt x="42" y="528"/>
                  </a:lnTo>
                  <a:lnTo>
                    <a:pt x="54" y="534"/>
                  </a:lnTo>
                  <a:lnTo>
                    <a:pt x="66" y="534"/>
                  </a:lnTo>
                  <a:lnTo>
                    <a:pt x="72" y="546"/>
                  </a:lnTo>
                  <a:lnTo>
                    <a:pt x="84" y="546"/>
                  </a:lnTo>
                  <a:lnTo>
                    <a:pt x="96" y="552"/>
                  </a:lnTo>
                  <a:lnTo>
                    <a:pt x="108" y="546"/>
                  </a:lnTo>
                  <a:lnTo>
                    <a:pt x="114" y="540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90" y="504"/>
                  </a:lnTo>
                  <a:lnTo>
                    <a:pt x="84" y="498"/>
                  </a:lnTo>
                  <a:lnTo>
                    <a:pt x="84" y="492"/>
                  </a:lnTo>
                  <a:lnTo>
                    <a:pt x="84" y="456"/>
                  </a:lnTo>
                  <a:lnTo>
                    <a:pt x="114" y="444"/>
                  </a:lnTo>
                  <a:lnTo>
                    <a:pt x="114" y="438"/>
                  </a:lnTo>
                  <a:lnTo>
                    <a:pt x="120" y="420"/>
                  </a:lnTo>
                  <a:lnTo>
                    <a:pt x="126" y="402"/>
                  </a:lnTo>
                  <a:lnTo>
                    <a:pt x="126" y="390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14" y="336"/>
                  </a:lnTo>
                  <a:lnTo>
                    <a:pt x="108" y="324"/>
                  </a:lnTo>
                  <a:lnTo>
                    <a:pt x="108" y="306"/>
                  </a:lnTo>
                  <a:lnTo>
                    <a:pt x="114" y="300"/>
                  </a:lnTo>
                  <a:lnTo>
                    <a:pt x="114" y="294"/>
                  </a:lnTo>
                  <a:lnTo>
                    <a:pt x="132" y="258"/>
                  </a:lnTo>
                  <a:lnTo>
                    <a:pt x="132" y="234"/>
                  </a:lnTo>
                  <a:lnTo>
                    <a:pt x="126" y="168"/>
                  </a:lnTo>
                  <a:lnTo>
                    <a:pt x="120" y="150"/>
                  </a:lnTo>
                  <a:lnTo>
                    <a:pt x="114" y="138"/>
                  </a:lnTo>
                  <a:lnTo>
                    <a:pt x="108" y="126"/>
                  </a:lnTo>
                  <a:lnTo>
                    <a:pt x="108" y="120"/>
                  </a:lnTo>
                  <a:lnTo>
                    <a:pt x="108" y="114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20" y="96"/>
                  </a:lnTo>
                  <a:lnTo>
                    <a:pt x="132" y="102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56" y="90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96"/>
                  </a:lnTo>
                  <a:lnTo>
                    <a:pt x="186" y="96"/>
                  </a:lnTo>
                  <a:lnTo>
                    <a:pt x="192" y="114"/>
                  </a:lnTo>
                  <a:lnTo>
                    <a:pt x="204" y="132"/>
                  </a:lnTo>
                  <a:lnTo>
                    <a:pt x="216" y="144"/>
                  </a:lnTo>
                  <a:lnTo>
                    <a:pt x="240" y="162"/>
                  </a:lnTo>
                  <a:lnTo>
                    <a:pt x="270" y="156"/>
                  </a:lnTo>
                  <a:lnTo>
                    <a:pt x="282" y="126"/>
                  </a:lnTo>
                  <a:lnTo>
                    <a:pt x="282" y="96"/>
                  </a:lnTo>
                  <a:lnTo>
                    <a:pt x="294" y="54"/>
                  </a:lnTo>
                  <a:lnTo>
                    <a:pt x="324" y="48"/>
                  </a:lnTo>
                  <a:lnTo>
                    <a:pt x="342" y="48"/>
                  </a:lnTo>
                  <a:lnTo>
                    <a:pt x="384" y="48"/>
                  </a:lnTo>
                  <a:lnTo>
                    <a:pt x="390" y="30"/>
                  </a:lnTo>
                  <a:lnTo>
                    <a:pt x="402" y="18"/>
                  </a:lnTo>
                  <a:lnTo>
                    <a:pt x="438" y="6"/>
                  </a:lnTo>
                  <a:lnTo>
                    <a:pt x="438" y="0"/>
                  </a:lnTo>
                  <a:lnTo>
                    <a:pt x="444" y="0"/>
                  </a:lnTo>
                  <a:lnTo>
                    <a:pt x="444" y="6"/>
                  </a:lnTo>
                  <a:lnTo>
                    <a:pt x="450" y="6"/>
                  </a:lnTo>
                  <a:lnTo>
                    <a:pt x="456" y="12"/>
                  </a:lnTo>
                  <a:lnTo>
                    <a:pt x="456" y="18"/>
                  </a:lnTo>
                  <a:lnTo>
                    <a:pt x="462" y="24"/>
                  </a:lnTo>
                  <a:lnTo>
                    <a:pt x="462" y="30"/>
                  </a:lnTo>
                  <a:lnTo>
                    <a:pt x="468" y="36"/>
                  </a:lnTo>
                  <a:lnTo>
                    <a:pt x="462" y="36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74" y="60"/>
                  </a:lnTo>
                  <a:lnTo>
                    <a:pt x="486" y="78"/>
                  </a:lnTo>
                  <a:lnTo>
                    <a:pt x="486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8" y="102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498" y="114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504" y="126"/>
                  </a:lnTo>
                  <a:lnTo>
                    <a:pt x="498" y="132"/>
                  </a:lnTo>
                  <a:lnTo>
                    <a:pt x="504" y="138"/>
                  </a:lnTo>
                  <a:lnTo>
                    <a:pt x="504" y="132"/>
                  </a:lnTo>
                  <a:lnTo>
                    <a:pt x="510" y="132"/>
                  </a:lnTo>
                  <a:lnTo>
                    <a:pt x="510" y="138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56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6" y="168"/>
                  </a:lnTo>
                  <a:lnTo>
                    <a:pt x="552" y="168"/>
                  </a:lnTo>
                  <a:lnTo>
                    <a:pt x="546" y="168"/>
                  </a:lnTo>
                  <a:lnTo>
                    <a:pt x="546" y="174"/>
                  </a:lnTo>
                  <a:lnTo>
                    <a:pt x="558" y="180"/>
                  </a:lnTo>
                  <a:lnTo>
                    <a:pt x="564" y="180"/>
                  </a:lnTo>
                  <a:lnTo>
                    <a:pt x="564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52" y="198"/>
                  </a:lnTo>
                  <a:lnTo>
                    <a:pt x="558" y="204"/>
                  </a:lnTo>
                  <a:lnTo>
                    <a:pt x="564" y="204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22"/>
                  </a:lnTo>
                  <a:lnTo>
                    <a:pt x="576" y="228"/>
                  </a:lnTo>
                  <a:lnTo>
                    <a:pt x="570" y="228"/>
                  </a:lnTo>
                  <a:lnTo>
                    <a:pt x="570" y="234"/>
                  </a:lnTo>
                  <a:lnTo>
                    <a:pt x="576" y="234"/>
                  </a:lnTo>
                  <a:lnTo>
                    <a:pt x="582" y="234"/>
                  </a:lnTo>
                  <a:lnTo>
                    <a:pt x="588" y="234"/>
                  </a:lnTo>
                  <a:lnTo>
                    <a:pt x="588" y="240"/>
                  </a:lnTo>
                  <a:lnTo>
                    <a:pt x="588" y="246"/>
                  </a:lnTo>
                  <a:lnTo>
                    <a:pt x="588" y="252"/>
                  </a:lnTo>
                  <a:lnTo>
                    <a:pt x="582" y="252"/>
                  </a:lnTo>
                  <a:lnTo>
                    <a:pt x="576" y="252"/>
                  </a:lnTo>
                  <a:lnTo>
                    <a:pt x="582" y="258"/>
                  </a:lnTo>
                  <a:lnTo>
                    <a:pt x="582" y="264"/>
                  </a:lnTo>
                  <a:lnTo>
                    <a:pt x="576" y="264"/>
                  </a:lnTo>
                  <a:lnTo>
                    <a:pt x="546" y="264"/>
                  </a:lnTo>
                  <a:lnTo>
                    <a:pt x="546" y="276"/>
                  </a:lnTo>
                  <a:lnTo>
                    <a:pt x="540" y="282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40" y="324"/>
                  </a:lnTo>
                  <a:lnTo>
                    <a:pt x="552" y="330"/>
                  </a:lnTo>
                  <a:lnTo>
                    <a:pt x="558" y="342"/>
                  </a:lnTo>
                  <a:lnTo>
                    <a:pt x="546" y="372"/>
                  </a:lnTo>
                  <a:lnTo>
                    <a:pt x="534" y="372"/>
                  </a:lnTo>
                  <a:lnTo>
                    <a:pt x="534" y="384"/>
                  </a:lnTo>
                  <a:lnTo>
                    <a:pt x="522" y="384"/>
                  </a:lnTo>
                  <a:lnTo>
                    <a:pt x="510" y="402"/>
                  </a:lnTo>
                  <a:lnTo>
                    <a:pt x="504" y="420"/>
                  </a:lnTo>
                  <a:lnTo>
                    <a:pt x="492" y="426"/>
                  </a:lnTo>
                  <a:lnTo>
                    <a:pt x="486" y="432"/>
                  </a:lnTo>
                  <a:lnTo>
                    <a:pt x="486" y="444"/>
                  </a:lnTo>
                  <a:lnTo>
                    <a:pt x="486" y="450"/>
                  </a:lnTo>
                  <a:lnTo>
                    <a:pt x="486" y="456"/>
                  </a:lnTo>
                  <a:lnTo>
                    <a:pt x="486" y="462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80" y="474"/>
                  </a:lnTo>
                  <a:lnTo>
                    <a:pt x="480" y="480"/>
                  </a:lnTo>
                  <a:lnTo>
                    <a:pt x="480" y="486"/>
                  </a:lnTo>
                  <a:lnTo>
                    <a:pt x="480" y="492"/>
                  </a:lnTo>
                  <a:lnTo>
                    <a:pt x="480" y="498"/>
                  </a:lnTo>
                  <a:lnTo>
                    <a:pt x="474" y="504"/>
                  </a:lnTo>
                  <a:lnTo>
                    <a:pt x="468" y="510"/>
                  </a:lnTo>
                  <a:lnTo>
                    <a:pt x="462" y="510"/>
                  </a:lnTo>
                  <a:lnTo>
                    <a:pt x="456" y="504"/>
                  </a:lnTo>
                  <a:lnTo>
                    <a:pt x="456" y="498"/>
                  </a:lnTo>
                  <a:lnTo>
                    <a:pt x="450" y="498"/>
                  </a:lnTo>
                  <a:lnTo>
                    <a:pt x="444" y="498"/>
                  </a:lnTo>
                  <a:lnTo>
                    <a:pt x="438" y="498"/>
                  </a:lnTo>
                  <a:lnTo>
                    <a:pt x="432" y="498"/>
                  </a:lnTo>
                  <a:lnTo>
                    <a:pt x="426" y="504"/>
                  </a:lnTo>
                  <a:lnTo>
                    <a:pt x="426" y="510"/>
                  </a:lnTo>
                  <a:lnTo>
                    <a:pt x="420" y="516"/>
                  </a:lnTo>
                  <a:lnTo>
                    <a:pt x="414" y="522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84" y="528"/>
                  </a:lnTo>
                  <a:lnTo>
                    <a:pt x="366" y="540"/>
                  </a:lnTo>
                  <a:lnTo>
                    <a:pt x="360" y="522"/>
                  </a:lnTo>
                  <a:lnTo>
                    <a:pt x="348" y="504"/>
                  </a:lnTo>
                  <a:lnTo>
                    <a:pt x="330" y="504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34"/>
                  </a:lnTo>
                  <a:lnTo>
                    <a:pt x="288" y="540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2" y="540"/>
                  </a:lnTo>
                  <a:lnTo>
                    <a:pt x="282" y="546"/>
                  </a:lnTo>
                  <a:lnTo>
                    <a:pt x="288" y="552"/>
                  </a:lnTo>
                  <a:lnTo>
                    <a:pt x="294" y="564"/>
                  </a:lnTo>
                  <a:lnTo>
                    <a:pt x="300" y="564"/>
                  </a:lnTo>
                  <a:lnTo>
                    <a:pt x="300" y="570"/>
                  </a:lnTo>
                  <a:lnTo>
                    <a:pt x="294" y="570"/>
                  </a:lnTo>
                  <a:lnTo>
                    <a:pt x="288" y="570"/>
                  </a:lnTo>
                  <a:lnTo>
                    <a:pt x="288" y="576"/>
                  </a:lnTo>
                  <a:lnTo>
                    <a:pt x="288" y="582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606"/>
                  </a:lnTo>
                  <a:lnTo>
                    <a:pt x="264" y="612"/>
                  </a:lnTo>
                  <a:lnTo>
                    <a:pt x="258" y="612"/>
                  </a:lnTo>
                  <a:lnTo>
                    <a:pt x="252" y="612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52" y="630"/>
                  </a:lnTo>
                  <a:lnTo>
                    <a:pt x="264" y="642"/>
                  </a:lnTo>
                  <a:lnTo>
                    <a:pt x="258" y="648"/>
                  </a:lnTo>
                  <a:lnTo>
                    <a:pt x="246" y="654"/>
                  </a:lnTo>
                  <a:lnTo>
                    <a:pt x="240" y="660"/>
                  </a:lnTo>
                  <a:lnTo>
                    <a:pt x="234" y="672"/>
                  </a:lnTo>
                  <a:lnTo>
                    <a:pt x="234" y="678"/>
                  </a:lnTo>
                  <a:lnTo>
                    <a:pt x="228" y="684"/>
                  </a:lnTo>
                  <a:lnTo>
                    <a:pt x="228" y="696"/>
                  </a:lnTo>
                  <a:lnTo>
                    <a:pt x="216" y="71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6" name="Freeform 21">
              <a:extLst>
                <a:ext uri="{FF2B5EF4-FFF2-40B4-BE49-F238E27FC236}">
                  <a16:creationId xmlns:a16="http://schemas.microsoft.com/office/drawing/2014/main" id="{DCB1E808-522D-4C19-B741-CC5DD56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4178" y="3866464"/>
              <a:ext cx="250453" cy="371259"/>
            </a:xfrm>
            <a:custGeom>
              <a:avLst/>
              <a:gdLst>
                <a:gd name="T0" fmla="*/ 0 w 468"/>
                <a:gd name="T1" fmla="*/ 61 h 696"/>
                <a:gd name="T2" fmla="*/ 1 w 468"/>
                <a:gd name="T3" fmla="*/ 58 h 696"/>
                <a:gd name="T4" fmla="*/ 2 w 468"/>
                <a:gd name="T5" fmla="*/ 54 h 696"/>
                <a:gd name="T6" fmla="*/ 3 w 468"/>
                <a:gd name="T7" fmla="*/ 51 h 696"/>
                <a:gd name="T8" fmla="*/ 4 w 468"/>
                <a:gd name="T9" fmla="*/ 48 h 696"/>
                <a:gd name="T10" fmla="*/ 6 w 468"/>
                <a:gd name="T11" fmla="*/ 44 h 696"/>
                <a:gd name="T12" fmla="*/ 5 w 468"/>
                <a:gd name="T13" fmla="*/ 41 h 696"/>
                <a:gd name="T14" fmla="*/ 7 w 468"/>
                <a:gd name="T15" fmla="*/ 38 h 696"/>
                <a:gd name="T16" fmla="*/ 8 w 468"/>
                <a:gd name="T17" fmla="*/ 36 h 696"/>
                <a:gd name="T18" fmla="*/ 7 w 468"/>
                <a:gd name="T19" fmla="*/ 33 h 696"/>
                <a:gd name="T20" fmla="*/ 6 w 468"/>
                <a:gd name="T21" fmla="*/ 29 h 696"/>
                <a:gd name="T22" fmla="*/ 4 w 468"/>
                <a:gd name="T23" fmla="*/ 22 h 696"/>
                <a:gd name="T24" fmla="*/ 2 w 468"/>
                <a:gd name="T25" fmla="*/ 14 h 696"/>
                <a:gd name="T26" fmla="*/ 12 w 468"/>
                <a:gd name="T27" fmla="*/ 11 h 696"/>
                <a:gd name="T28" fmla="*/ 14 w 468"/>
                <a:gd name="T29" fmla="*/ 2 h 696"/>
                <a:gd name="T30" fmla="*/ 16 w 468"/>
                <a:gd name="T31" fmla="*/ 0 h 696"/>
                <a:gd name="T32" fmla="*/ 17 w 468"/>
                <a:gd name="T33" fmla="*/ 0 h 696"/>
                <a:gd name="T34" fmla="*/ 18 w 468"/>
                <a:gd name="T35" fmla="*/ 1 h 696"/>
                <a:gd name="T36" fmla="*/ 17 w 468"/>
                <a:gd name="T37" fmla="*/ 2 h 696"/>
                <a:gd name="T38" fmla="*/ 17 w 468"/>
                <a:gd name="T39" fmla="*/ 4 h 696"/>
                <a:gd name="T40" fmla="*/ 17 w 468"/>
                <a:gd name="T41" fmla="*/ 6 h 696"/>
                <a:gd name="T42" fmla="*/ 20 w 468"/>
                <a:gd name="T43" fmla="*/ 6 h 696"/>
                <a:gd name="T44" fmla="*/ 22 w 468"/>
                <a:gd name="T45" fmla="*/ 5 h 696"/>
                <a:gd name="T46" fmla="*/ 24 w 468"/>
                <a:gd name="T47" fmla="*/ 7 h 696"/>
                <a:gd name="T48" fmla="*/ 28 w 468"/>
                <a:gd name="T49" fmla="*/ 7 h 696"/>
                <a:gd name="T50" fmla="*/ 28 w 468"/>
                <a:gd name="T51" fmla="*/ 11 h 696"/>
                <a:gd name="T52" fmla="*/ 25 w 468"/>
                <a:gd name="T53" fmla="*/ 14 h 696"/>
                <a:gd name="T54" fmla="*/ 23 w 468"/>
                <a:gd name="T55" fmla="*/ 15 h 696"/>
                <a:gd name="T56" fmla="*/ 23 w 468"/>
                <a:gd name="T57" fmla="*/ 19 h 696"/>
                <a:gd name="T58" fmla="*/ 23 w 468"/>
                <a:gd name="T59" fmla="*/ 21 h 696"/>
                <a:gd name="T60" fmla="*/ 24 w 468"/>
                <a:gd name="T61" fmla="*/ 21 h 696"/>
                <a:gd name="T62" fmla="*/ 27 w 468"/>
                <a:gd name="T63" fmla="*/ 23 h 696"/>
                <a:gd name="T64" fmla="*/ 29 w 468"/>
                <a:gd name="T65" fmla="*/ 24 h 696"/>
                <a:gd name="T66" fmla="*/ 29 w 468"/>
                <a:gd name="T67" fmla="*/ 28 h 696"/>
                <a:gd name="T68" fmla="*/ 29 w 468"/>
                <a:gd name="T69" fmla="*/ 29 h 696"/>
                <a:gd name="T70" fmla="*/ 29 w 468"/>
                <a:gd name="T71" fmla="*/ 32 h 696"/>
                <a:gd name="T72" fmla="*/ 32 w 468"/>
                <a:gd name="T73" fmla="*/ 32 h 696"/>
                <a:gd name="T74" fmla="*/ 33 w 468"/>
                <a:gd name="T75" fmla="*/ 35 h 696"/>
                <a:gd name="T76" fmla="*/ 34 w 468"/>
                <a:gd name="T77" fmla="*/ 38 h 696"/>
                <a:gd name="T78" fmla="*/ 35 w 468"/>
                <a:gd name="T79" fmla="*/ 39 h 696"/>
                <a:gd name="T80" fmla="*/ 36 w 468"/>
                <a:gd name="T81" fmla="*/ 40 h 696"/>
                <a:gd name="T82" fmla="*/ 37 w 468"/>
                <a:gd name="T83" fmla="*/ 41 h 696"/>
                <a:gd name="T84" fmla="*/ 38 w 468"/>
                <a:gd name="T85" fmla="*/ 42 h 696"/>
                <a:gd name="T86" fmla="*/ 41 w 468"/>
                <a:gd name="T87" fmla="*/ 44 h 696"/>
                <a:gd name="T88" fmla="*/ 40 w 468"/>
                <a:gd name="T89" fmla="*/ 44 h 696"/>
                <a:gd name="T90" fmla="*/ 37 w 468"/>
                <a:gd name="T91" fmla="*/ 45 h 696"/>
                <a:gd name="T92" fmla="*/ 36 w 468"/>
                <a:gd name="T93" fmla="*/ 48 h 696"/>
                <a:gd name="T94" fmla="*/ 34 w 468"/>
                <a:gd name="T95" fmla="*/ 49 h 696"/>
                <a:gd name="T96" fmla="*/ 32 w 468"/>
                <a:gd name="T97" fmla="*/ 51 h 696"/>
                <a:gd name="T98" fmla="*/ 31 w 468"/>
                <a:gd name="T99" fmla="*/ 51 h 696"/>
                <a:gd name="T100" fmla="*/ 26 w 468"/>
                <a:gd name="T101" fmla="*/ 49 h 696"/>
                <a:gd name="T102" fmla="*/ 23 w 468"/>
                <a:gd name="T103" fmla="*/ 51 h 696"/>
                <a:gd name="T104" fmla="*/ 21 w 468"/>
                <a:gd name="T105" fmla="*/ 51 h 696"/>
                <a:gd name="T106" fmla="*/ 20 w 468"/>
                <a:gd name="T107" fmla="*/ 52 h 696"/>
                <a:gd name="T108" fmla="*/ 17 w 468"/>
                <a:gd name="T109" fmla="*/ 55 h 696"/>
                <a:gd name="T110" fmla="*/ 15 w 468"/>
                <a:gd name="T111" fmla="*/ 56 h 696"/>
                <a:gd name="T112" fmla="*/ 15 w 468"/>
                <a:gd name="T113" fmla="*/ 59 h 696"/>
                <a:gd name="T114" fmla="*/ 14 w 468"/>
                <a:gd name="T115" fmla="*/ 59 h 696"/>
                <a:gd name="T116" fmla="*/ 12 w 468"/>
                <a:gd name="T117" fmla="*/ 59 h 696"/>
                <a:gd name="T118" fmla="*/ 11 w 468"/>
                <a:gd name="T119" fmla="*/ 57 h 696"/>
                <a:gd name="T120" fmla="*/ 9 w 468"/>
                <a:gd name="T121" fmla="*/ 57 h 696"/>
                <a:gd name="T122" fmla="*/ 6 w 468"/>
                <a:gd name="T123" fmla="*/ 58 h 696"/>
                <a:gd name="T124" fmla="*/ 4 w 468"/>
                <a:gd name="T125" fmla="*/ 60 h 69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8"/>
                <a:gd name="T190" fmla="*/ 0 h 696"/>
                <a:gd name="T191" fmla="*/ 468 w 468"/>
                <a:gd name="T192" fmla="*/ 696 h 69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8" h="696">
                  <a:moveTo>
                    <a:pt x="30" y="696"/>
                  </a:moveTo>
                  <a:lnTo>
                    <a:pt x="18" y="696"/>
                  </a:lnTo>
                  <a:lnTo>
                    <a:pt x="6" y="696"/>
                  </a:lnTo>
                  <a:lnTo>
                    <a:pt x="0" y="690"/>
                  </a:lnTo>
                  <a:lnTo>
                    <a:pt x="6" y="678"/>
                  </a:lnTo>
                  <a:lnTo>
                    <a:pt x="12" y="666"/>
                  </a:lnTo>
                  <a:lnTo>
                    <a:pt x="18" y="654"/>
                  </a:lnTo>
                  <a:lnTo>
                    <a:pt x="18" y="642"/>
                  </a:lnTo>
                  <a:lnTo>
                    <a:pt x="18" y="618"/>
                  </a:lnTo>
                  <a:lnTo>
                    <a:pt x="24" y="606"/>
                  </a:lnTo>
                  <a:lnTo>
                    <a:pt x="30" y="594"/>
                  </a:lnTo>
                  <a:lnTo>
                    <a:pt x="30" y="582"/>
                  </a:lnTo>
                  <a:lnTo>
                    <a:pt x="36" y="576"/>
                  </a:lnTo>
                  <a:lnTo>
                    <a:pt x="42" y="564"/>
                  </a:lnTo>
                  <a:lnTo>
                    <a:pt x="48" y="546"/>
                  </a:lnTo>
                  <a:lnTo>
                    <a:pt x="48" y="528"/>
                  </a:lnTo>
                  <a:lnTo>
                    <a:pt x="60" y="516"/>
                  </a:lnTo>
                  <a:lnTo>
                    <a:pt x="66" y="504"/>
                  </a:lnTo>
                  <a:lnTo>
                    <a:pt x="66" y="492"/>
                  </a:lnTo>
                  <a:lnTo>
                    <a:pt x="60" y="480"/>
                  </a:lnTo>
                  <a:lnTo>
                    <a:pt x="54" y="468"/>
                  </a:lnTo>
                  <a:lnTo>
                    <a:pt x="60" y="456"/>
                  </a:lnTo>
                  <a:lnTo>
                    <a:pt x="72" y="450"/>
                  </a:lnTo>
                  <a:lnTo>
                    <a:pt x="84" y="438"/>
                  </a:lnTo>
                  <a:lnTo>
                    <a:pt x="90" y="426"/>
                  </a:lnTo>
                  <a:lnTo>
                    <a:pt x="90" y="420"/>
                  </a:lnTo>
                  <a:lnTo>
                    <a:pt x="90" y="408"/>
                  </a:lnTo>
                  <a:lnTo>
                    <a:pt x="90" y="402"/>
                  </a:lnTo>
                  <a:lnTo>
                    <a:pt x="84" y="396"/>
                  </a:lnTo>
                  <a:lnTo>
                    <a:pt x="78" y="378"/>
                  </a:lnTo>
                  <a:lnTo>
                    <a:pt x="72" y="360"/>
                  </a:lnTo>
                  <a:lnTo>
                    <a:pt x="66" y="348"/>
                  </a:lnTo>
                  <a:lnTo>
                    <a:pt x="72" y="336"/>
                  </a:lnTo>
                  <a:lnTo>
                    <a:pt x="66" y="306"/>
                  </a:lnTo>
                  <a:lnTo>
                    <a:pt x="54" y="276"/>
                  </a:lnTo>
                  <a:lnTo>
                    <a:pt x="42" y="252"/>
                  </a:lnTo>
                  <a:lnTo>
                    <a:pt x="36" y="222"/>
                  </a:lnTo>
                  <a:lnTo>
                    <a:pt x="30" y="192"/>
                  </a:lnTo>
                  <a:lnTo>
                    <a:pt x="24" y="162"/>
                  </a:lnTo>
                  <a:lnTo>
                    <a:pt x="42" y="174"/>
                  </a:lnTo>
                  <a:lnTo>
                    <a:pt x="120" y="138"/>
                  </a:lnTo>
                  <a:lnTo>
                    <a:pt x="132" y="126"/>
                  </a:lnTo>
                  <a:lnTo>
                    <a:pt x="120" y="54"/>
                  </a:lnTo>
                  <a:lnTo>
                    <a:pt x="156" y="30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0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8" y="18"/>
                  </a:lnTo>
                  <a:lnTo>
                    <a:pt x="198" y="24"/>
                  </a:lnTo>
                  <a:lnTo>
                    <a:pt x="198" y="30"/>
                  </a:lnTo>
                  <a:lnTo>
                    <a:pt x="198" y="42"/>
                  </a:lnTo>
                  <a:lnTo>
                    <a:pt x="198" y="48"/>
                  </a:lnTo>
                  <a:lnTo>
                    <a:pt x="192" y="60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28" y="60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34" y="60"/>
                  </a:lnTo>
                  <a:lnTo>
                    <a:pt x="252" y="60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312" y="84"/>
                  </a:lnTo>
                  <a:lnTo>
                    <a:pt x="318" y="96"/>
                  </a:lnTo>
                  <a:lnTo>
                    <a:pt x="318" y="102"/>
                  </a:lnTo>
                  <a:lnTo>
                    <a:pt x="312" y="120"/>
                  </a:lnTo>
                  <a:lnTo>
                    <a:pt x="306" y="132"/>
                  </a:lnTo>
                  <a:lnTo>
                    <a:pt x="294" y="144"/>
                  </a:lnTo>
                  <a:lnTo>
                    <a:pt x="282" y="156"/>
                  </a:lnTo>
                  <a:lnTo>
                    <a:pt x="276" y="162"/>
                  </a:lnTo>
                  <a:lnTo>
                    <a:pt x="270" y="162"/>
                  </a:lnTo>
                  <a:lnTo>
                    <a:pt x="264" y="174"/>
                  </a:lnTo>
                  <a:lnTo>
                    <a:pt x="264" y="192"/>
                  </a:lnTo>
                  <a:lnTo>
                    <a:pt x="264" y="216"/>
                  </a:lnTo>
                  <a:lnTo>
                    <a:pt x="258" y="216"/>
                  </a:lnTo>
                  <a:lnTo>
                    <a:pt x="258" y="228"/>
                  </a:lnTo>
                  <a:lnTo>
                    <a:pt x="252" y="234"/>
                  </a:lnTo>
                  <a:lnTo>
                    <a:pt x="258" y="240"/>
                  </a:lnTo>
                  <a:lnTo>
                    <a:pt x="264" y="240"/>
                  </a:lnTo>
                  <a:lnTo>
                    <a:pt x="270" y="240"/>
                  </a:lnTo>
                  <a:lnTo>
                    <a:pt x="276" y="240"/>
                  </a:lnTo>
                  <a:lnTo>
                    <a:pt x="288" y="240"/>
                  </a:lnTo>
                  <a:lnTo>
                    <a:pt x="300" y="246"/>
                  </a:lnTo>
                  <a:lnTo>
                    <a:pt x="306" y="258"/>
                  </a:lnTo>
                  <a:lnTo>
                    <a:pt x="312" y="264"/>
                  </a:lnTo>
                  <a:lnTo>
                    <a:pt x="318" y="276"/>
                  </a:lnTo>
                  <a:lnTo>
                    <a:pt x="330" y="282"/>
                  </a:lnTo>
                  <a:lnTo>
                    <a:pt x="330" y="300"/>
                  </a:lnTo>
                  <a:lnTo>
                    <a:pt x="336" y="312"/>
                  </a:lnTo>
                  <a:lnTo>
                    <a:pt x="336" y="318"/>
                  </a:lnTo>
                  <a:lnTo>
                    <a:pt x="336" y="330"/>
                  </a:lnTo>
                  <a:lnTo>
                    <a:pt x="324" y="330"/>
                  </a:lnTo>
                  <a:lnTo>
                    <a:pt x="330" y="336"/>
                  </a:lnTo>
                  <a:lnTo>
                    <a:pt x="330" y="342"/>
                  </a:lnTo>
                  <a:lnTo>
                    <a:pt x="336" y="348"/>
                  </a:lnTo>
                  <a:lnTo>
                    <a:pt x="330" y="360"/>
                  </a:lnTo>
                  <a:lnTo>
                    <a:pt x="336" y="372"/>
                  </a:lnTo>
                  <a:lnTo>
                    <a:pt x="354" y="366"/>
                  </a:lnTo>
                  <a:lnTo>
                    <a:pt x="366" y="366"/>
                  </a:lnTo>
                  <a:lnTo>
                    <a:pt x="372" y="378"/>
                  </a:lnTo>
                  <a:lnTo>
                    <a:pt x="372" y="390"/>
                  </a:lnTo>
                  <a:lnTo>
                    <a:pt x="378" y="396"/>
                  </a:lnTo>
                  <a:lnTo>
                    <a:pt x="378" y="408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44"/>
                  </a:lnTo>
                  <a:lnTo>
                    <a:pt x="390" y="444"/>
                  </a:lnTo>
                  <a:lnTo>
                    <a:pt x="396" y="444"/>
                  </a:lnTo>
                  <a:lnTo>
                    <a:pt x="402" y="450"/>
                  </a:lnTo>
                  <a:lnTo>
                    <a:pt x="408" y="450"/>
                  </a:lnTo>
                  <a:lnTo>
                    <a:pt x="408" y="462"/>
                  </a:lnTo>
                  <a:lnTo>
                    <a:pt x="408" y="468"/>
                  </a:lnTo>
                  <a:lnTo>
                    <a:pt x="414" y="474"/>
                  </a:lnTo>
                  <a:lnTo>
                    <a:pt x="420" y="474"/>
                  </a:lnTo>
                  <a:lnTo>
                    <a:pt x="420" y="480"/>
                  </a:lnTo>
                  <a:lnTo>
                    <a:pt x="426" y="480"/>
                  </a:lnTo>
                  <a:lnTo>
                    <a:pt x="432" y="480"/>
                  </a:lnTo>
                  <a:lnTo>
                    <a:pt x="462" y="486"/>
                  </a:lnTo>
                  <a:lnTo>
                    <a:pt x="468" y="492"/>
                  </a:lnTo>
                  <a:lnTo>
                    <a:pt x="468" y="498"/>
                  </a:lnTo>
                  <a:lnTo>
                    <a:pt x="462" y="498"/>
                  </a:lnTo>
                  <a:lnTo>
                    <a:pt x="456" y="498"/>
                  </a:lnTo>
                  <a:lnTo>
                    <a:pt x="456" y="504"/>
                  </a:lnTo>
                  <a:lnTo>
                    <a:pt x="456" y="510"/>
                  </a:lnTo>
                  <a:lnTo>
                    <a:pt x="450" y="516"/>
                  </a:lnTo>
                  <a:lnTo>
                    <a:pt x="426" y="516"/>
                  </a:lnTo>
                  <a:lnTo>
                    <a:pt x="408" y="528"/>
                  </a:lnTo>
                  <a:lnTo>
                    <a:pt x="408" y="546"/>
                  </a:lnTo>
                  <a:lnTo>
                    <a:pt x="414" y="552"/>
                  </a:lnTo>
                  <a:lnTo>
                    <a:pt x="408" y="558"/>
                  </a:lnTo>
                  <a:lnTo>
                    <a:pt x="402" y="564"/>
                  </a:lnTo>
                  <a:lnTo>
                    <a:pt x="384" y="564"/>
                  </a:lnTo>
                  <a:lnTo>
                    <a:pt x="372" y="564"/>
                  </a:lnTo>
                  <a:lnTo>
                    <a:pt x="372" y="576"/>
                  </a:lnTo>
                  <a:lnTo>
                    <a:pt x="366" y="576"/>
                  </a:lnTo>
                  <a:lnTo>
                    <a:pt x="366" y="582"/>
                  </a:lnTo>
                  <a:lnTo>
                    <a:pt x="360" y="582"/>
                  </a:lnTo>
                  <a:lnTo>
                    <a:pt x="348" y="576"/>
                  </a:lnTo>
                  <a:lnTo>
                    <a:pt x="336" y="570"/>
                  </a:lnTo>
                  <a:lnTo>
                    <a:pt x="324" y="570"/>
                  </a:lnTo>
                  <a:lnTo>
                    <a:pt x="300" y="564"/>
                  </a:lnTo>
                  <a:lnTo>
                    <a:pt x="282" y="564"/>
                  </a:lnTo>
                  <a:lnTo>
                    <a:pt x="270" y="570"/>
                  </a:lnTo>
                  <a:lnTo>
                    <a:pt x="264" y="576"/>
                  </a:lnTo>
                  <a:lnTo>
                    <a:pt x="258" y="576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34" y="594"/>
                  </a:lnTo>
                  <a:lnTo>
                    <a:pt x="228" y="600"/>
                  </a:lnTo>
                  <a:lnTo>
                    <a:pt x="210" y="618"/>
                  </a:lnTo>
                  <a:lnTo>
                    <a:pt x="210" y="624"/>
                  </a:lnTo>
                  <a:lnTo>
                    <a:pt x="192" y="630"/>
                  </a:lnTo>
                  <a:lnTo>
                    <a:pt x="186" y="630"/>
                  </a:lnTo>
                  <a:lnTo>
                    <a:pt x="180" y="636"/>
                  </a:lnTo>
                  <a:lnTo>
                    <a:pt x="174" y="642"/>
                  </a:lnTo>
                  <a:lnTo>
                    <a:pt x="168" y="642"/>
                  </a:lnTo>
                  <a:lnTo>
                    <a:pt x="168" y="654"/>
                  </a:lnTo>
                  <a:lnTo>
                    <a:pt x="168" y="678"/>
                  </a:lnTo>
                  <a:lnTo>
                    <a:pt x="162" y="684"/>
                  </a:lnTo>
                  <a:lnTo>
                    <a:pt x="156" y="684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72"/>
                  </a:lnTo>
                  <a:lnTo>
                    <a:pt x="138" y="672"/>
                  </a:lnTo>
                  <a:lnTo>
                    <a:pt x="138" y="666"/>
                  </a:lnTo>
                  <a:lnTo>
                    <a:pt x="132" y="660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48"/>
                  </a:lnTo>
                  <a:lnTo>
                    <a:pt x="102" y="654"/>
                  </a:lnTo>
                  <a:lnTo>
                    <a:pt x="90" y="654"/>
                  </a:lnTo>
                  <a:lnTo>
                    <a:pt x="84" y="654"/>
                  </a:lnTo>
                  <a:lnTo>
                    <a:pt x="72" y="660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36" y="684"/>
                  </a:lnTo>
                  <a:lnTo>
                    <a:pt x="30" y="696"/>
                  </a:lnTo>
                  <a:close/>
                </a:path>
              </a:pathLst>
            </a:custGeom>
            <a:solidFill>
              <a:srgbClr val="2A4F1D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7" name="Freeform 22">
              <a:extLst>
                <a:ext uri="{FF2B5EF4-FFF2-40B4-BE49-F238E27FC236}">
                  <a16:creationId xmlns:a16="http://schemas.microsoft.com/office/drawing/2014/main" id="{2F7A477D-6CF8-44B3-8B32-64EE03DC4D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2895" y="3967106"/>
              <a:ext cx="610479" cy="507686"/>
            </a:xfrm>
            <a:custGeom>
              <a:avLst/>
              <a:gdLst>
                <a:gd name="T0" fmla="*/ 87 w 1146"/>
                <a:gd name="T1" fmla="*/ 56 h 954"/>
                <a:gd name="T2" fmla="*/ 83 w 1146"/>
                <a:gd name="T3" fmla="*/ 66 h 954"/>
                <a:gd name="T4" fmla="*/ 74 w 1146"/>
                <a:gd name="T5" fmla="*/ 69 h 954"/>
                <a:gd name="T6" fmla="*/ 67 w 1146"/>
                <a:gd name="T7" fmla="*/ 75 h 954"/>
                <a:gd name="T8" fmla="*/ 59 w 1146"/>
                <a:gd name="T9" fmla="*/ 78 h 954"/>
                <a:gd name="T10" fmla="*/ 52 w 1146"/>
                <a:gd name="T11" fmla="*/ 77 h 954"/>
                <a:gd name="T12" fmla="*/ 48 w 1146"/>
                <a:gd name="T13" fmla="*/ 79 h 954"/>
                <a:gd name="T14" fmla="*/ 41 w 1146"/>
                <a:gd name="T15" fmla="*/ 82 h 954"/>
                <a:gd name="T16" fmla="*/ 29 w 1146"/>
                <a:gd name="T17" fmla="*/ 78 h 954"/>
                <a:gd name="T18" fmla="*/ 28 w 1146"/>
                <a:gd name="T19" fmla="*/ 76 h 954"/>
                <a:gd name="T20" fmla="*/ 28 w 1146"/>
                <a:gd name="T21" fmla="*/ 72 h 954"/>
                <a:gd name="T22" fmla="*/ 28 w 1146"/>
                <a:gd name="T23" fmla="*/ 74 h 954"/>
                <a:gd name="T24" fmla="*/ 21 w 1146"/>
                <a:gd name="T25" fmla="*/ 74 h 954"/>
                <a:gd name="T26" fmla="*/ 20 w 1146"/>
                <a:gd name="T27" fmla="*/ 67 h 954"/>
                <a:gd name="T28" fmla="*/ 23 w 1146"/>
                <a:gd name="T29" fmla="*/ 64 h 954"/>
                <a:gd name="T30" fmla="*/ 28 w 1146"/>
                <a:gd name="T31" fmla="*/ 65 h 954"/>
                <a:gd name="T32" fmla="*/ 32 w 1146"/>
                <a:gd name="T33" fmla="*/ 62 h 954"/>
                <a:gd name="T34" fmla="*/ 31 w 1146"/>
                <a:gd name="T35" fmla="*/ 56 h 954"/>
                <a:gd name="T36" fmla="*/ 36 w 1146"/>
                <a:gd name="T37" fmla="*/ 54 h 954"/>
                <a:gd name="T38" fmla="*/ 38 w 1146"/>
                <a:gd name="T39" fmla="*/ 54 h 954"/>
                <a:gd name="T40" fmla="*/ 32 w 1146"/>
                <a:gd name="T41" fmla="*/ 54 h 954"/>
                <a:gd name="T42" fmla="*/ 29 w 1146"/>
                <a:gd name="T43" fmla="*/ 59 h 954"/>
                <a:gd name="T44" fmla="*/ 26 w 1146"/>
                <a:gd name="T45" fmla="*/ 59 h 954"/>
                <a:gd name="T46" fmla="*/ 25 w 1146"/>
                <a:gd name="T47" fmla="*/ 61 h 954"/>
                <a:gd name="T48" fmla="*/ 20 w 1146"/>
                <a:gd name="T49" fmla="*/ 61 h 954"/>
                <a:gd name="T50" fmla="*/ 11 w 1146"/>
                <a:gd name="T51" fmla="*/ 54 h 954"/>
                <a:gd name="T52" fmla="*/ 14 w 1146"/>
                <a:gd name="T53" fmla="*/ 50 h 954"/>
                <a:gd name="T54" fmla="*/ 21 w 1146"/>
                <a:gd name="T55" fmla="*/ 51 h 954"/>
                <a:gd name="T56" fmla="*/ 24 w 1146"/>
                <a:gd name="T57" fmla="*/ 50 h 954"/>
                <a:gd name="T58" fmla="*/ 28 w 1146"/>
                <a:gd name="T59" fmla="*/ 48 h 954"/>
                <a:gd name="T60" fmla="*/ 30 w 1146"/>
                <a:gd name="T61" fmla="*/ 49 h 954"/>
                <a:gd name="T62" fmla="*/ 26 w 1146"/>
                <a:gd name="T63" fmla="*/ 47 h 954"/>
                <a:gd name="T64" fmla="*/ 20 w 1146"/>
                <a:gd name="T65" fmla="*/ 50 h 954"/>
                <a:gd name="T66" fmla="*/ 20 w 1146"/>
                <a:gd name="T67" fmla="*/ 44 h 954"/>
                <a:gd name="T68" fmla="*/ 19 w 1146"/>
                <a:gd name="T69" fmla="*/ 46 h 954"/>
                <a:gd name="T70" fmla="*/ 15 w 1146"/>
                <a:gd name="T71" fmla="*/ 49 h 954"/>
                <a:gd name="T72" fmla="*/ 8 w 1146"/>
                <a:gd name="T73" fmla="*/ 48 h 954"/>
                <a:gd name="T74" fmla="*/ 6 w 1146"/>
                <a:gd name="T75" fmla="*/ 41 h 954"/>
                <a:gd name="T76" fmla="*/ 10 w 1146"/>
                <a:gd name="T77" fmla="*/ 41 h 954"/>
                <a:gd name="T78" fmla="*/ 9 w 1146"/>
                <a:gd name="T79" fmla="*/ 39 h 954"/>
                <a:gd name="T80" fmla="*/ 14 w 1146"/>
                <a:gd name="T81" fmla="*/ 35 h 954"/>
                <a:gd name="T82" fmla="*/ 19 w 1146"/>
                <a:gd name="T83" fmla="*/ 32 h 954"/>
                <a:gd name="T84" fmla="*/ 20 w 1146"/>
                <a:gd name="T85" fmla="*/ 29 h 954"/>
                <a:gd name="T86" fmla="*/ 27 w 1146"/>
                <a:gd name="T87" fmla="*/ 27 h 954"/>
                <a:gd name="T88" fmla="*/ 33 w 1146"/>
                <a:gd name="T89" fmla="*/ 28 h 954"/>
                <a:gd name="T90" fmla="*/ 44 w 1146"/>
                <a:gd name="T91" fmla="*/ 27 h 954"/>
                <a:gd name="T92" fmla="*/ 52 w 1146"/>
                <a:gd name="T93" fmla="*/ 41 h 954"/>
                <a:gd name="T94" fmla="*/ 61 w 1146"/>
                <a:gd name="T95" fmla="*/ 40 h 954"/>
                <a:gd name="T96" fmla="*/ 69 w 1146"/>
                <a:gd name="T97" fmla="*/ 34 h 954"/>
                <a:gd name="T98" fmla="*/ 62 w 1146"/>
                <a:gd name="T99" fmla="*/ 12 h 954"/>
                <a:gd name="T100" fmla="*/ 74 w 1146"/>
                <a:gd name="T101" fmla="*/ 8 h 954"/>
                <a:gd name="T102" fmla="*/ 87 w 1146"/>
                <a:gd name="T103" fmla="*/ 1 h 954"/>
                <a:gd name="T104" fmla="*/ 99 w 1146"/>
                <a:gd name="T105" fmla="*/ 12 h 954"/>
                <a:gd name="T106" fmla="*/ 98 w 1146"/>
                <a:gd name="T107" fmla="*/ 27 h 954"/>
                <a:gd name="T108" fmla="*/ 16 w 1146"/>
                <a:gd name="T109" fmla="*/ 33 h 954"/>
                <a:gd name="T110" fmla="*/ 11 w 1146"/>
                <a:gd name="T111" fmla="*/ 36 h 954"/>
                <a:gd name="T112" fmla="*/ 5 w 1146"/>
                <a:gd name="T113" fmla="*/ 41 h 954"/>
                <a:gd name="T114" fmla="*/ 2 w 1146"/>
                <a:gd name="T115" fmla="*/ 36 h 954"/>
                <a:gd name="T116" fmla="*/ 5 w 1146"/>
                <a:gd name="T117" fmla="*/ 26 h 954"/>
                <a:gd name="T118" fmla="*/ 10 w 1146"/>
                <a:gd name="T119" fmla="*/ 20 h 954"/>
                <a:gd name="T120" fmla="*/ 13 w 1146"/>
                <a:gd name="T121" fmla="*/ 20 h 954"/>
                <a:gd name="T122" fmla="*/ 15 w 1146"/>
                <a:gd name="T123" fmla="*/ 27 h 95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46"/>
                <a:gd name="T187" fmla="*/ 0 h 954"/>
                <a:gd name="T188" fmla="*/ 1146 w 1146"/>
                <a:gd name="T189" fmla="*/ 954 h 95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46" h="954">
                  <a:moveTo>
                    <a:pt x="1056" y="498"/>
                  </a:moveTo>
                  <a:lnTo>
                    <a:pt x="1044" y="510"/>
                  </a:lnTo>
                  <a:lnTo>
                    <a:pt x="1032" y="516"/>
                  </a:lnTo>
                  <a:lnTo>
                    <a:pt x="1038" y="528"/>
                  </a:lnTo>
                  <a:lnTo>
                    <a:pt x="1050" y="540"/>
                  </a:lnTo>
                  <a:lnTo>
                    <a:pt x="1050" y="546"/>
                  </a:lnTo>
                  <a:lnTo>
                    <a:pt x="1050" y="564"/>
                  </a:lnTo>
                  <a:lnTo>
                    <a:pt x="1038" y="576"/>
                  </a:lnTo>
                  <a:lnTo>
                    <a:pt x="1032" y="588"/>
                  </a:lnTo>
                  <a:lnTo>
                    <a:pt x="1020" y="594"/>
                  </a:lnTo>
                  <a:lnTo>
                    <a:pt x="1008" y="594"/>
                  </a:lnTo>
                  <a:lnTo>
                    <a:pt x="1002" y="600"/>
                  </a:lnTo>
                  <a:lnTo>
                    <a:pt x="996" y="612"/>
                  </a:lnTo>
                  <a:lnTo>
                    <a:pt x="996" y="624"/>
                  </a:lnTo>
                  <a:lnTo>
                    <a:pt x="996" y="648"/>
                  </a:lnTo>
                  <a:lnTo>
                    <a:pt x="996" y="660"/>
                  </a:lnTo>
                  <a:lnTo>
                    <a:pt x="1002" y="672"/>
                  </a:lnTo>
                  <a:lnTo>
                    <a:pt x="1002" y="684"/>
                  </a:lnTo>
                  <a:lnTo>
                    <a:pt x="996" y="684"/>
                  </a:lnTo>
                  <a:lnTo>
                    <a:pt x="984" y="690"/>
                  </a:lnTo>
                  <a:lnTo>
                    <a:pt x="972" y="690"/>
                  </a:lnTo>
                  <a:lnTo>
                    <a:pt x="966" y="696"/>
                  </a:lnTo>
                  <a:lnTo>
                    <a:pt x="966" y="702"/>
                  </a:lnTo>
                  <a:lnTo>
                    <a:pt x="966" y="714"/>
                  </a:lnTo>
                  <a:lnTo>
                    <a:pt x="972" y="726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2" y="756"/>
                  </a:lnTo>
                  <a:lnTo>
                    <a:pt x="966" y="756"/>
                  </a:lnTo>
                  <a:lnTo>
                    <a:pt x="942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18" y="768"/>
                  </a:lnTo>
                  <a:lnTo>
                    <a:pt x="906" y="768"/>
                  </a:lnTo>
                  <a:lnTo>
                    <a:pt x="894" y="762"/>
                  </a:lnTo>
                  <a:lnTo>
                    <a:pt x="882" y="756"/>
                  </a:lnTo>
                  <a:lnTo>
                    <a:pt x="876" y="756"/>
                  </a:lnTo>
                  <a:lnTo>
                    <a:pt x="876" y="762"/>
                  </a:lnTo>
                  <a:lnTo>
                    <a:pt x="864" y="768"/>
                  </a:lnTo>
                  <a:lnTo>
                    <a:pt x="858" y="774"/>
                  </a:lnTo>
                  <a:lnTo>
                    <a:pt x="852" y="774"/>
                  </a:lnTo>
                  <a:lnTo>
                    <a:pt x="840" y="780"/>
                  </a:lnTo>
                  <a:lnTo>
                    <a:pt x="840" y="786"/>
                  </a:lnTo>
                  <a:lnTo>
                    <a:pt x="840" y="792"/>
                  </a:lnTo>
                  <a:lnTo>
                    <a:pt x="840" y="804"/>
                  </a:lnTo>
                  <a:lnTo>
                    <a:pt x="840" y="810"/>
                  </a:lnTo>
                  <a:lnTo>
                    <a:pt x="828" y="816"/>
                  </a:lnTo>
                  <a:lnTo>
                    <a:pt x="810" y="810"/>
                  </a:lnTo>
                  <a:lnTo>
                    <a:pt x="792" y="810"/>
                  </a:lnTo>
                  <a:lnTo>
                    <a:pt x="786" y="816"/>
                  </a:lnTo>
                  <a:lnTo>
                    <a:pt x="780" y="816"/>
                  </a:lnTo>
                  <a:lnTo>
                    <a:pt x="780" y="822"/>
                  </a:lnTo>
                  <a:lnTo>
                    <a:pt x="780" y="828"/>
                  </a:lnTo>
                  <a:lnTo>
                    <a:pt x="780" y="834"/>
                  </a:lnTo>
                  <a:lnTo>
                    <a:pt x="786" y="840"/>
                  </a:lnTo>
                  <a:lnTo>
                    <a:pt x="786" y="846"/>
                  </a:lnTo>
                  <a:lnTo>
                    <a:pt x="786" y="852"/>
                  </a:lnTo>
                  <a:lnTo>
                    <a:pt x="780" y="858"/>
                  </a:lnTo>
                  <a:lnTo>
                    <a:pt x="768" y="858"/>
                  </a:lnTo>
                  <a:lnTo>
                    <a:pt x="762" y="864"/>
                  </a:lnTo>
                  <a:lnTo>
                    <a:pt x="756" y="864"/>
                  </a:lnTo>
                  <a:lnTo>
                    <a:pt x="750" y="870"/>
                  </a:lnTo>
                  <a:lnTo>
                    <a:pt x="744" y="876"/>
                  </a:lnTo>
                  <a:lnTo>
                    <a:pt x="732" y="876"/>
                  </a:lnTo>
                  <a:lnTo>
                    <a:pt x="726" y="876"/>
                  </a:lnTo>
                  <a:lnTo>
                    <a:pt x="720" y="870"/>
                  </a:lnTo>
                  <a:lnTo>
                    <a:pt x="714" y="864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6" y="876"/>
                  </a:lnTo>
                  <a:lnTo>
                    <a:pt x="696" y="882"/>
                  </a:lnTo>
                  <a:lnTo>
                    <a:pt x="696" y="894"/>
                  </a:lnTo>
                  <a:lnTo>
                    <a:pt x="690" y="900"/>
                  </a:lnTo>
                  <a:lnTo>
                    <a:pt x="684" y="900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54" y="888"/>
                  </a:lnTo>
                  <a:lnTo>
                    <a:pt x="654" y="882"/>
                  </a:lnTo>
                  <a:lnTo>
                    <a:pt x="642" y="876"/>
                  </a:lnTo>
                  <a:lnTo>
                    <a:pt x="636" y="876"/>
                  </a:lnTo>
                  <a:lnTo>
                    <a:pt x="630" y="876"/>
                  </a:lnTo>
                  <a:lnTo>
                    <a:pt x="630" y="870"/>
                  </a:lnTo>
                  <a:lnTo>
                    <a:pt x="618" y="858"/>
                  </a:lnTo>
                  <a:lnTo>
                    <a:pt x="612" y="858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06" y="876"/>
                  </a:lnTo>
                  <a:lnTo>
                    <a:pt x="606" y="882"/>
                  </a:lnTo>
                  <a:lnTo>
                    <a:pt x="606" y="888"/>
                  </a:lnTo>
                  <a:lnTo>
                    <a:pt x="600" y="894"/>
                  </a:lnTo>
                  <a:lnTo>
                    <a:pt x="594" y="894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76" y="894"/>
                  </a:lnTo>
                  <a:lnTo>
                    <a:pt x="582" y="900"/>
                  </a:lnTo>
                  <a:lnTo>
                    <a:pt x="576" y="906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64" y="918"/>
                  </a:lnTo>
                  <a:lnTo>
                    <a:pt x="558" y="918"/>
                  </a:lnTo>
                  <a:lnTo>
                    <a:pt x="558" y="912"/>
                  </a:lnTo>
                  <a:lnTo>
                    <a:pt x="552" y="906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06"/>
                  </a:lnTo>
                  <a:lnTo>
                    <a:pt x="534" y="906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0" y="924"/>
                  </a:lnTo>
                  <a:lnTo>
                    <a:pt x="504" y="924"/>
                  </a:lnTo>
                  <a:lnTo>
                    <a:pt x="498" y="930"/>
                  </a:lnTo>
                  <a:lnTo>
                    <a:pt x="492" y="924"/>
                  </a:lnTo>
                  <a:lnTo>
                    <a:pt x="486" y="930"/>
                  </a:lnTo>
                  <a:lnTo>
                    <a:pt x="480" y="942"/>
                  </a:lnTo>
                  <a:lnTo>
                    <a:pt x="468" y="948"/>
                  </a:lnTo>
                  <a:lnTo>
                    <a:pt x="444" y="942"/>
                  </a:lnTo>
                  <a:lnTo>
                    <a:pt x="438" y="954"/>
                  </a:lnTo>
                  <a:lnTo>
                    <a:pt x="426" y="954"/>
                  </a:lnTo>
                  <a:lnTo>
                    <a:pt x="420" y="948"/>
                  </a:lnTo>
                  <a:lnTo>
                    <a:pt x="408" y="936"/>
                  </a:lnTo>
                  <a:lnTo>
                    <a:pt x="396" y="936"/>
                  </a:lnTo>
                  <a:lnTo>
                    <a:pt x="390" y="930"/>
                  </a:lnTo>
                  <a:lnTo>
                    <a:pt x="390" y="924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66" y="924"/>
                  </a:lnTo>
                  <a:lnTo>
                    <a:pt x="360" y="924"/>
                  </a:lnTo>
                  <a:lnTo>
                    <a:pt x="348" y="918"/>
                  </a:lnTo>
                  <a:lnTo>
                    <a:pt x="342" y="906"/>
                  </a:lnTo>
                  <a:lnTo>
                    <a:pt x="336" y="906"/>
                  </a:lnTo>
                  <a:lnTo>
                    <a:pt x="330" y="906"/>
                  </a:lnTo>
                  <a:lnTo>
                    <a:pt x="312" y="906"/>
                  </a:lnTo>
                  <a:lnTo>
                    <a:pt x="312" y="900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888"/>
                  </a:lnTo>
                  <a:lnTo>
                    <a:pt x="312" y="882"/>
                  </a:lnTo>
                  <a:lnTo>
                    <a:pt x="306" y="876"/>
                  </a:lnTo>
                  <a:lnTo>
                    <a:pt x="312" y="876"/>
                  </a:lnTo>
                  <a:lnTo>
                    <a:pt x="312" y="870"/>
                  </a:lnTo>
                  <a:lnTo>
                    <a:pt x="318" y="876"/>
                  </a:lnTo>
                  <a:lnTo>
                    <a:pt x="318" y="870"/>
                  </a:lnTo>
                  <a:lnTo>
                    <a:pt x="324" y="876"/>
                  </a:lnTo>
                  <a:lnTo>
                    <a:pt x="330" y="876"/>
                  </a:lnTo>
                  <a:lnTo>
                    <a:pt x="336" y="876"/>
                  </a:lnTo>
                  <a:lnTo>
                    <a:pt x="342" y="876"/>
                  </a:lnTo>
                  <a:lnTo>
                    <a:pt x="336" y="876"/>
                  </a:lnTo>
                  <a:lnTo>
                    <a:pt x="330" y="870"/>
                  </a:lnTo>
                  <a:lnTo>
                    <a:pt x="324" y="870"/>
                  </a:lnTo>
                  <a:lnTo>
                    <a:pt x="318" y="870"/>
                  </a:lnTo>
                  <a:lnTo>
                    <a:pt x="312" y="870"/>
                  </a:lnTo>
                  <a:lnTo>
                    <a:pt x="318" y="864"/>
                  </a:lnTo>
                  <a:lnTo>
                    <a:pt x="318" y="858"/>
                  </a:lnTo>
                  <a:lnTo>
                    <a:pt x="318" y="852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6" y="846"/>
                  </a:lnTo>
                  <a:lnTo>
                    <a:pt x="312" y="828"/>
                  </a:lnTo>
                  <a:lnTo>
                    <a:pt x="312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06" y="816"/>
                  </a:lnTo>
                  <a:lnTo>
                    <a:pt x="306" y="810"/>
                  </a:lnTo>
                  <a:lnTo>
                    <a:pt x="306" y="816"/>
                  </a:lnTo>
                  <a:lnTo>
                    <a:pt x="312" y="822"/>
                  </a:lnTo>
                  <a:lnTo>
                    <a:pt x="306" y="822"/>
                  </a:lnTo>
                  <a:lnTo>
                    <a:pt x="306" y="828"/>
                  </a:lnTo>
                  <a:lnTo>
                    <a:pt x="306" y="834"/>
                  </a:lnTo>
                  <a:lnTo>
                    <a:pt x="300" y="840"/>
                  </a:lnTo>
                  <a:lnTo>
                    <a:pt x="300" y="846"/>
                  </a:lnTo>
                  <a:lnTo>
                    <a:pt x="306" y="852"/>
                  </a:lnTo>
                  <a:lnTo>
                    <a:pt x="306" y="858"/>
                  </a:lnTo>
                  <a:lnTo>
                    <a:pt x="312" y="858"/>
                  </a:lnTo>
                  <a:lnTo>
                    <a:pt x="312" y="864"/>
                  </a:lnTo>
                  <a:lnTo>
                    <a:pt x="306" y="864"/>
                  </a:lnTo>
                  <a:lnTo>
                    <a:pt x="300" y="864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82" y="870"/>
                  </a:lnTo>
                  <a:lnTo>
                    <a:pt x="276" y="870"/>
                  </a:lnTo>
                  <a:lnTo>
                    <a:pt x="270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8" y="870"/>
                  </a:lnTo>
                  <a:lnTo>
                    <a:pt x="252" y="870"/>
                  </a:lnTo>
                  <a:lnTo>
                    <a:pt x="252" y="864"/>
                  </a:lnTo>
                  <a:lnTo>
                    <a:pt x="246" y="858"/>
                  </a:lnTo>
                  <a:lnTo>
                    <a:pt x="246" y="852"/>
                  </a:lnTo>
                  <a:lnTo>
                    <a:pt x="246" y="846"/>
                  </a:lnTo>
                  <a:lnTo>
                    <a:pt x="246" y="840"/>
                  </a:lnTo>
                  <a:lnTo>
                    <a:pt x="246" y="834"/>
                  </a:lnTo>
                  <a:lnTo>
                    <a:pt x="246" y="828"/>
                  </a:lnTo>
                  <a:lnTo>
                    <a:pt x="246" y="822"/>
                  </a:lnTo>
                  <a:lnTo>
                    <a:pt x="240" y="816"/>
                  </a:lnTo>
                  <a:lnTo>
                    <a:pt x="240" y="810"/>
                  </a:lnTo>
                  <a:lnTo>
                    <a:pt x="240" y="804"/>
                  </a:lnTo>
                  <a:lnTo>
                    <a:pt x="240" y="798"/>
                  </a:lnTo>
                  <a:lnTo>
                    <a:pt x="234" y="798"/>
                  </a:lnTo>
                  <a:lnTo>
                    <a:pt x="234" y="792"/>
                  </a:lnTo>
                  <a:lnTo>
                    <a:pt x="234" y="786"/>
                  </a:lnTo>
                  <a:lnTo>
                    <a:pt x="234" y="780"/>
                  </a:lnTo>
                  <a:lnTo>
                    <a:pt x="228" y="780"/>
                  </a:lnTo>
                  <a:lnTo>
                    <a:pt x="228" y="774"/>
                  </a:lnTo>
                  <a:lnTo>
                    <a:pt x="228" y="768"/>
                  </a:lnTo>
                  <a:lnTo>
                    <a:pt x="222" y="762"/>
                  </a:lnTo>
                  <a:lnTo>
                    <a:pt x="222" y="756"/>
                  </a:lnTo>
                  <a:lnTo>
                    <a:pt x="222" y="750"/>
                  </a:lnTo>
                  <a:lnTo>
                    <a:pt x="222" y="744"/>
                  </a:lnTo>
                  <a:lnTo>
                    <a:pt x="222" y="738"/>
                  </a:lnTo>
                  <a:lnTo>
                    <a:pt x="216" y="732"/>
                  </a:lnTo>
                  <a:lnTo>
                    <a:pt x="222" y="732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32"/>
                  </a:lnTo>
                  <a:lnTo>
                    <a:pt x="246" y="732"/>
                  </a:lnTo>
                  <a:lnTo>
                    <a:pt x="246" y="738"/>
                  </a:lnTo>
                  <a:lnTo>
                    <a:pt x="252" y="738"/>
                  </a:lnTo>
                  <a:lnTo>
                    <a:pt x="258" y="738"/>
                  </a:lnTo>
                  <a:lnTo>
                    <a:pt x="258" y="732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8" y="732"/>
                  </a:lnTo>
                  <a:lnTo>
                    <a:pt x="294" y="732"/>
                  </a:lnTo>
                  <a:lnTo>
                    <a:pt x="300" y="732"/>
                  </a:lnTo>
                  <a:lnTo>
                    <a:pt x="300" y="738"/>
                  </a:lnTo>
                  <a:lnTo>
                    <a:pt x="306" y="738"/>
                  </a:lnTo>
                  <a:lnTo>
                    <a:pt x="306" y="744"/>
                  </a:lnTo>
                  <a:lnTo>
                    <a:pt x="306" y="750"/>
                  </a:lnTo>
                  <a:lnTo>
                    <a:pt x="312" y="750"/>
                  </a:lnTo>
                  <a:lnTo>
                    <a:pt x="312" y="756"/>
                  </a:lnTo>
                  <a:lnTo>
                    <a:pt x="318" y="756"/>
                  </a:lnTo>
                  <a:lnTo>
                    <a:pt x="318" y="750"/>
                  </a:lnTo>
                  <a:lnTo>
                    <a:pt x="312" y="750"/>
                  </a:lnTo>
                  <a:lnTo>
                    <a:pt x="312" y="744"/>
                  </a:lnTo>
                  <a:lnTo>
                    <a:pt x="318" y="738"/>
                  </a:lnTo>
                  <a:lnTo>
                    <a:pt x="324" y="738"/>
                  </a:lnTo>
                  <a:lnTo>
                    <a:pt x="330" y="738"/>
                  </a:lnTo>
                  <a:lnTo>
                    <a:pt x="336" y="738"/>
                  </a:lnTo>
                  <a:lnTo>
                    <a:pt x="342" y="738"/>
                  </a:lnTo>
                  <a:lnTo>
                    <a:pt x="348" y="732"/>
                  </a:lnTo>
                  <a:lnTo>
                    <a:pt x="354" y="732"/>
                  </a:lnTo>
                  <a:lnTo>
                    <a:pt x="360" y="732"/>
                  </a:lnTo>
                  <a:lnTo>
                    <a:pt x="360" y="726"/>
                  </a:lnTo>
                  <a:lnTo>
                    <a:pt x="366" y="726"/>
                  </a:lnTo>
                  <a:lnTo>
                    <a:pt x="366" y="720"/>
                  </a:lnTo>
                  <a:lnTo>
                    <a:pt x="366" y="714"/>
                  </a:lnTo>
                  <a:lnTo>
                    <a:pt x="360" y="708"/>
                  </a:lnTo>
                  <a:lnTo>
                    <a:pt x="354" y="708"/>
                  </a:lnTo>
                  <a:lnTo>
                    <a:pt x="348" y="702"/>
                  </a:lnTo>
                  <a:lnTo>
                    <a:pt x="354" y="702"/>
                  </a:lnTo>
                  <a:lnTo>
                    <a:pt x="354" y="696"/>
                  </a:lnTo>
                  <a:lnTo>
                    <a:pt x="348" y="696"/>
                  </a:lnTo>
                  <a:lnTo>
                    <a:pt x="348" y="690"/>
                  </a:lnTo>
                  <a:lnTo>
                    <a:pt x="342" y="690"/>
                  </a:lnTo>
                  <a:lnTo>
                    <a:pt x="342" y="684"/>
                  </a:lnTo>
                  <a:lnTo>
                    <a:pt x="342" y="678"/>
                  </a:lnTo>
                  <a:lnTo>
                    <a:pt x="342" y="666"/>
                  </a:lnTo>
                  <a:lnTo>
                    <a:pt x="342" y="660"/>
                  </a:lnTo>
                  <a:lnTo>
                    <a:pt x="348" y="654"/>
                  </a:lnTo>
                  <a:lnTo>
                    <a:pt x="348" y="642"/>
                  </a:lnTo>
                  <a:lnTo>
                    <a:pt x="354" y="642"/>
                  </a:lnTo>
                  <a:lnTo>
                    <a:pt x="360" y="642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66" y="642"/>
                  </a:lnTo>
                  <a:lnTo>
                    <a:pt x="372" y="642"/>
                  </a:lnTo>
                  <a:lnTo>
                    <a:pt x="378" y="642"/>
                  </a:lnTo>
                  <a:lnTo>
                    <a:pt x="384" y="642"/>
                  </a:lnTo>
                  <a:lnTo>
                    <a:pt x="390" y="642"/>
                  </a:lnTo>
                  <a:lnTo>
                    <a:pt x="396" y="642"/>
                  </a:lnTo>
                  <a:lnTo>
                    <a:pt x="396" y="636"/>
                  </a:lnTo>
                  <a:lnTo>
                    <a:pt x="402" y="636"/>
                  </a:lnTo>
                  <a:lnTo>
                    <a:pt x="408" y="636"/>
                  </a:lnTo>
                  <a:lnTo>
                    <a:pt x="402" y="636"/>
                  </a:lnTo>
                  <a:lnTo>
                    <a:pt x="402" y="630"/>
                  </a:lnTo>
                  <a:lnTo>
                    <a:pt x="408" y="630"/>
                  </a:lnTo>
                  <a:lnTo>
                    <a:pt x="408" y="624"/>
                  </a:lnTo>
                  <a:lnTo>
                    <a:pt x="408" y="618"/>
                  </a:lnTo>
                  <a:lnTo>
                    <a:pt x="414" y="618"/>
                  </a:lnTo>
                  <a:lnTo>
                    <a:pt x="420" y="618"/>
                  </a:lnTo>
                  <a:lnTo>
                    <a:pt x="426" y="624"/>
                  </a:lnTo>
                  <a:lnTo>
                    <a:pt x="432" y="624"/>
                  </a:lnTo>
                  <a:lnTo>
                    <a:pt x="438" y="624"/>
                  </a:lnTo>
                  <a:lnTo>
                    <a:pt x="438" y="618"/>
                  </a:lnTo>
                  <a:lnTo>
                    <a:pt x="444" y="618"/>
                  </a:lnTo>
                  <a:lnTo>
                    <a:pt x="450" y="618"/>
                  </a:lnTo>
                  <a:lnTo>
                    <a:pt x="444" y="618"/>
                  </a:lnTo>
                  <a:lnTo>
                    <a:pt x="438" y="618"/>
                  </a:lnTo>
                  <a:lnTo>
                    <a:pt x="438" y="612"/>
                  </a:lnTo>
                  <a:lnTo>
                    <a:pt x="438" y="618"/>
                  </a:lnTo>
                  <a:lnTo>
                    <a:pt x="432" y="624"/>
                  </a:lnTo>
                  <a:lnTo>
                    <a:pt x="426" y="618"/>
                  </a:lnTo>
                  <a:lnTo>
                    <a:pt x="420" y="612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402" y="624"/>
                  </a:lnTo>
                  <a:lnTo>
                    <a:pt x="396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78" y="630"/>
                  </a:lnTo>
                  <a:lnTo>
                    <a:pt x="378" y="636"/>
                  </a:lnTo>
                  <a:lnTo>
                    <a:pt x="372" y="630"/>
                  </a:lnTo>
                  <a:lnTo>
                    <a:pt x="366" y="630"/>
                  </a:lnTo>
                  <a:lnTo>
                    <a:pt x="360" y="630"/>
                  </a:lnTo>
                  <a:lnTo>
                    <a:pt x="354" y="630"/>
                  </a:lnTo>
                  <a:lnTo>
                    <a:pt x="354" y="636"/>
                  </a:lnTo>
                  <a:lnTo>
                    <a:pt x="348" y="636"/>
                  </a:lnTo>
                  <a:lnTo>
                    <a:pt x="348" y="642"/>
                  </a:lnTo>
                  <a:lnTo>
                    <a:pt x="342" y="642"/>
                  </a:lnTo>
                  <a:lnTo>
                    <a:pt x="342" y="648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6" y="660"/>
                  </a:lnTo>
                  <a:lnTo>
                    <a:pt x="336" y="666"/>
                  </a:lnTo>
                  <a:lnTo>
                    <a:pt x="330" y="672"/>
                  </a:lnTo>
                  <a:lnTo>
                    <a:pt x="330" y="678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24" y="696"/>
                  </a:lnTo>
                  <a:lnTo>
                    <a:pt x="324" y="702"/>
                  </a:lnTo>
                  <a:lnTo>
                    <a:pt x="318" y="702"/>
                  </a:lnTo>
                  <a:lnTo>
                    <a:pt x="318" y="708"/>
                  </a:lnTo>
                  <a:lnTo>
                    <a:pt x="312" y="708"/>
                  </a:lnTo>
                  <a:lnTo>
                    <a:pt x="312" y="702"/>
                  </a:lnTo>
                  <a:lnTo>
                    <a:pt x="306" y="702"/>
                  </a:lnTo>
                  <a:lnTo>
                    <a:pt x="300" y="702"/>
                  </a:lnTo>
                  <a:lnTo>
                    <a:pt x="294" y="696"/>
                  </a:lnTo>
                  <a:lnTo>
                    <a:pt x="288" y="696"/>
                  </a:lnTo>
                  <a:lnTo>
                    <a:pt x="282" y="690"/>
                  </a:lnTo>
                  <a:lnTo>
                    <a:pt x="288" y="684"/>
                  </a:lnTo>
                  <a:lnTo>
                    <a:pt x="294" y="684"/>
                  </a:lnTo>
                  <a:lnTo>
                    <a:pt x="294" y="678"/>
                  </a:lnTo>
                  <a:lnTo>
                    <a:pt x="300" y="678"/>
                  </a:lnTo>
                  <a:lnTo>
                    <a:pt x="294" y="678"/>
                  </a:lnTo>
                  <a:lnTo>
                    <a:pt x="294" y="672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94" y="672"/>
                  </a:lnTo>
                  <a:lnTo>
                    <a:pt x="288" y="678"/>
                  </a:lnTo>
                  <a:lnTo>
                    <a:pt x="282" y="684"/>
                  </a:lnTo>
                  <a:lnTo>
                    <a:pt x="282" y="678"/>
                  </a:lnTo>
                  <a:lnTo>
                    <a:pt x="276" y="678"/>
                  </a:lnTo>
                  <a:lnTo>
                    <a:pt x="282" y="684"/>
                  </a:lnTo>
                  <a:lnTo>
                    <a:pt x="282" y="690"/>
                  </a:lnTo>
                  <a:lnTo>
                    <a:pt x="282" y="696"/>
                  </a:lnTo>
                  <a:lnTo>
                    <a:pt x="288" y="702"/>
                  </a:lnTo>
                  <a:lnTo>
                    <a:pt x="294" y="708"/>
                  </a:lnTo>
                  <a:lnTo>
                    <a:pt x="294" y="714"/>
                  </a:lnTo>
                  <a:lnTo>
                    <a:pt x="288" y="714"/>
                  </a:lnTo>
                  <a:lnTo>
                    <a:pt x="282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64" y="714"/>
                  </a:lnTo>
                  <a:lnTo>
                    <a:pt x="258" y="714"/>
                  </a:lnTo>
                  <a:lnTo>
                    <a:pt x="252" y="714"/>
                  </a:lnTo>
                  <a:lnTo>
                    <a:pt x="246" y="714"/>
                  </a:lnTo>
                  <a:lnTo>
                    <a:pt x="240" y="714"/>
                  </a:lnTo>
                  <a:lnTo>
                    <a:pt x="240" y="708"/>
                  </a:lnTo>
                  <a:lnTo>
                    <a:pt x="234" y="708"/>
                  </a:lnTo>
                  <a:lnTo>
                    <a:pt x="228" y="708"/>
                  </a:lnTo>
                  <a:lnTo>
                    <a:pt x="222" y="702"/>
                  </a:lnTo>
                  <a:lnTo>
                    <a:pt x="216" y="702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2" y="690"/>
                  </a:lnTo>
                  <a:lnTo>
                    <a:pt x="186" y="690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68" y="684"/>
                  </a:lnTo>
                  <a:lnTo>
                    <a:pt x="168" y="678"/>
                  </a:lnTo>
                  <a:lnTo>
                    <a:pt x="156" y="672"/>
                  </a:lnTo>
                  <a:lnTo>
                    <a:pt x="150" y="660"/>
                  </a:lnTo>
                  <a:lnTo>
                    <a:pt x="126" y="630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12"/>
                  </a:lnTo>
                  <a:lnTo>
                    <a:pt x="126" y="606"/>
                  </a:lnTo>
                  <a:lnTo>
                    <a:pt x="126" y="600"/>
                  </a:lnTo>
                  <a:lnTo>
                    <a:pt x="132" y="594"/>
                  </a:lnTo>
                  <a:lnTo>
                    <a:pt x="138" y="594"/>
                  </a:lnTo>
                  <a:lnTo>
                    <a:pt x="144" y="588"/>
                  </a:lnTo>
                  <a:lnTo>
                    <a:pt x="144" y="582"/>
                  </a:lnTo>
                  <a:lnTo>
                    <a:pt x="150" y="582"/>
                  </a:lnTo>
                  <a:lnTo>
                    <a:pt x="150" y="576"/>
                  </a:lnTo>
                  <a:lnTo>
                    <a:pt x="156" y="576"/>
                  </a:lnTo>
                  <a:lnTo>
                    <a:pt x="156" y="582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8" y="576"/>
                  </a:lnTo>
                  <a:lnTo>
                    <a:pt x="174" y="576"/>
                  </a:lnTo>
                  <a:lnTo>
                    <a:pt x="180" y="582"/>
                  </a:lnTo>
                  <a:lnTo>
                    <a:pt x="192" y="582"/>
                  </a:lnTo>
                  <a:lnTo>
                    <a:pt x="198" y="582"/>
                  </a:lnTo>
                  <a:lnTo>
                    <a:pt x="204" y="582"/>
                  </a:lnTo>
                  <a:lnTo>
                    <a:pt x="210" y="582"/>
                  </a:lnTo>
                  <a:lnTo>
                    <a:pt x="216" y="588"/>
                  </a:lnTo>
                  <a:lnTo>
                    <a:pt x="222" y="588"/>
                  </a:lnTo>
                  <a:lnTo>
                    <a:pt x="234" y="588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46" y="594"/>
                  </a:lnTo>
                  <a:lnTo>
                    <a:pt x="252" y="588"/>
                  </a:lnTo>
                  <a:lnTo>
                    <a:pt x="258" y="588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52" y="600"/>
                  </a:lnTo>
                  <a:lnTo>
                    <a:pt x="246" y="600"/>
                  </a:lnTo>
                  <a:lnTo>
                    <a:pt x="246" y="606"/>
                  </a:lnTo>
                  <a:lnTo>
                    <a:pt x="246" y="600"/>
                  </a:lnTo>
                  <a:lnTo>
                    <a:pt x="252" y="600"/>
                  </a:lnTo>
                  <a:lnTo>
                    <a:pt x="258" y="594"/>
                  </a:lnTo>
                  <a:lnTo>
                    <a:pt x="264" y="594"/>
                  </a:lnTo>
                  <a:lnTo>
                    <a:pt x="264" y="588"/>
                  </a:lnTo>
                  <a:lnTo>
                    <a:pt x="270" y="588"/>
                  </a:lnTo>
                  <a:lnTo>
                    <a:pt x="270" y="582"/>
                  </a:lnTo>
                  <a:lnTo>
                    <a:pt x="270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76" y="564"/>
                  </a:lnTo>
                  <a:lnTo>
                    <a:pt x="270" y="558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58"/>
                  </a:lnTo>
                  <a:lnTo>
                    <a:pt x="282" y="558"/>
                  </a:lnTo>
                  <a:lnTo>
                    <a:pt x="288" y="558"/>
                  </a:lnTo>
                  <a:lnTo>
                    <a:pt x="294" y="558"/>
                  </a:lnTo>
                  <a:lnTo>
                    <a:pt x="300" y="558"/>
                  </a:lnTo>
                  <a:lnTo>
                    <a:pt x="306" y="558"/>
                  </a:lnTo>
                  <a:lnTo>
                    <a:pt x="312" y="558"/>
                  </a:lnTo>
                  <a:lnTo>
                    <a:pt x="318" y="558"/>
                  </a:lnTo>
                  <a:lnTo>
                    <a:pt x="318" y="564"/>
                  </a:lnTo>
                  <a:lnTo>
                    <a:pt x="324" y="564"/>
                  </a:lnTo>
                  <a:lnTo>
                    <a:pt x="324" y="570"/>
                  </a:lnTo>
                  <a:lnTo>
                    <a:pt x="330" y="570"/>
                  </a:lnTo>
                  <a:lnTo>
                    <a:pt x="336" y="570"/>
                  </a:lnTo>
                  <a:lnTo>
                    <a:pt x="342" y="570"/>
                  </a:lnTo>
                  <a:lnTo>
                    <a:pt x="348" y="570"/>
                  </a:lnTo>
                  <a:lnTo>
                    <a:pt x="354" y="570"/>
                  </a:lnTo>
                  <a:lnTo>
                    <a:pt x="360" y="570"/>
                  </a:lnTo>
                  <a:lnTo>
                    <a:pt x="366" y="570"/>
                  </a:lnTo>
                  <a:lnTo>
                    <a:pt x="360" y="570"/>
                  </a:lnTo>
                  <a:lnTo>
                    <a:pt x="360" y="564"/>
                  </a:lnTo>
                  <a:lnTo>
                    <a:pt x="354" y="564"/>
                  </a:lnTo>
                  <a:lnTo>
                    <a:pt x="348" y="564"/>
                  </a:lnTo>
                  <a:lnTo>
                    <a:pt x="342" y="564"/>
                  </a:lnTo>
                  <a:lnTo>
                    <a:pt x="342" y="570"/>
                  </a:lnTo>
                  <a:lnTo>
                    <a:pt x="336" y="564"/>
                  </a:lnTo>
                  <a:lnTo>
                    <a:pt x="336" y="570"/>
                  </a:lnTo>
                  <a:lnTo>
                    <a:pt x="336" y="564"/>
                  </a:lnTo>
                  <a:lnTo>
                    <a:pt x="330" y="564"/>
                  </a:lnTo>
                  <a:lnTo>
                    <a:pt x="324" y="558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18" y="558"/>
                  </a:lnTo>
                  <a:lnTo>
                    <a:pt x="312" y="552"/>
                  </a:lnTo>
                  <a:lnTo>
                    <a:pt x="312" y="558"/>
                  </a:lnTo>
                  <a:lnTo>
                    <a:pt x="312" y="552"/>
                  </a:lnTo>
                  <a:lnTo>
                    <a:pt x="306" y="552"/>
                  </a:lnTo>
                  <a:lnTo>
                    <a:pt x="300" y="546"/>
                  </a:lnTo>
                  <a:lnTo>
                    <a:pt x="294" y="546"/>
                  </a:lnTo>
                  <a:lnTo>
                    <a:pt x="288" y="546"/>
                  </a:lnTo>
                  <a:lnTo>
                    <a:pt x="282" y="546"/>
                  </a:lnTo>
                  <a:lnTo>
                    <a:pt x="276" y="546"/>
                  </a:lnTo>
                  <a:lnTo>
                    <a:pt x="276" y="552"/>
                  </a:lnTo>
                  <a:lnTo>
                    <a:pt x="270" y="552"/>
                  </a:lnTo>
                  <a:lnTo>
                    <a:pt x="270" y="558"/>
                  </a:lnTo>
                  <a:lnTo>
                    <a:pt x="270" y="564"/>
                  </a:lnTo>
                  <a:lnTo>
                    <a:pt x="264" y="570"/>
                  </a:lnTo>
                  <a:lnTo>
                    <a:pt x="258" y="576"/>
                  </a:lnTo>
                  <a:lnTo>
                    <a:pt x="258" y="582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34" y="576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16" y="552"/>
                  </a:lnTo>
                  <a:lnTo>
                    <a:pt x="216" y="546"/>
                  </a:lnTo>
                  <a:lnTo>
                    <a:pt x="216" y="540"/>
                  </a:lnTo>
                  <a:lnTo>
                    <a:pt x="222" y="534"/>
                  </a:lnTo>
                  <a:lnTo>
                    <a:pt x="222" y="528"/>
                  </a:lnTo>
                  <a:lnTo>
                    <a:pt x="228" y="522"/>
                  </a:lnTo>
                  <a:lnTo>
                    <a:pt x="228" y="516"/>
                  </a:lnTo>
                  <a:lnTo>
                    <a:pt x="228" y="510"/>
                  </a:lnTo>
                  <a:lnTo>
                    <a:pt x="234" y="510"/>
                  </a:lnTo>
                  <a:lnTo>
                    <a:pt x="240" y="516"/>
                  </a:lnTo>
                  <a:lnTo>
                    <a:pt x="246" y="522"/>
                  </a:lnTo>
                  <a:lnTo>
                    <a:pt x="246" y="516"/>
                  </a:lnTo>
                  <a:lnTo>
                    <a:pt x="240" y="516"/>
                  </a:lnTo>
                  <a:lnTo>
                    <a:pt x="240" y="510"/>
                  </a:lnTo>
                  <a:lnTo>
                    <a:pt x="234" y="510"/>
                  </a:lnTo>
                  <a:lnTo>
                    <a:pt x="234" y="504"/>
                  </a:lnTo>
                  <a:lnTo>
                    <a:pt x="228" y="504"/>
                  </a:lnTo>
                  <a:lnTo>
                    <a:pt x="222" y="504"/>
                  </a:lnTo>
                  <a:lnTo>
                    <a:pt x="222" y="498"/>
                  </a:lnTo>
                  <a:lnTo>
                    <a:pt x="222" y="504"/>
                  </a:lnTo>
                  <a:lnTo>
                    <a:pt x="222" y="510"/>
                  </a:lnTo>
                  <a:lnTo>
                    <a:pt x="222" y="516"/>
                  </a:lnTo>
                  <a:lnTo>
                    <a:pt x="216" y="522"/>
                  </a:lnTo>
                  <a:lnTo>
                    <a:pt x="216" y="528"/>
                  </a:lnTo>
                  <a:lnTo>
                    <a:pt x="210" y="528"/>
                  </a:lnTo>
                  <a:lnTo>
                    <a:pt x="216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04" y="546"/>
                  </a:lnTo>
                  <a:lnTo>
                    <a:pt x="204" y="552"/>
                  </a:lnTo>
                  <a:lnTo>
                    <a:pt x="204" y="558"/>
                  </a:lnTo>
                  <a:lnTo>
                    <a:pt x="204" y="564"/>
                  </a:lnTo>
                  <a:lnTo>
                    <a:pt x="198" y="570"/>
                  </a:lnTo>
                  <a:lnTo>
                    <a:pt x="192" y="564"/>
                  </a:lnTo>
                  <a:lnTo>
                    <a:pt x="186" y="564"/>
                  </a:lnTo>
                  <a:lnTo>
                    <a:pt x="180" y="564"/>
                  </a:lnTo>
                  <a:lnTo>
                    <a:pt x="174" y="564"/>
                  </a:lnTo>
                  <a:lnTo>
                    <a:pt x="168" y="564"/>
                  </a:lnTo>
                  <a:lnTo>
                    <a:pt x="162" y="564"/>
                  </a:lnTo>
                  <a:lnTo>
                    <a:pt x="156" y="570"/>
                  </a:lnTo>
                  <a:lnTo>
                    <a:pt x="150" y="570"/>
                  </a:lnTo>
                  <a:lnTo>
                    <a:pt x="150" y="564"/>
                  </a:lnTo>
                  <a:lnTo>
                    <a:pt x="150" y="570"/>
                  </a:lnTo>
                  <a:lnTo>
                    <a:pt x="150" y="576"/>
                  </a:lnTo>
                  <a:lnTo>
                    <a:pt x="144" y="576"/>
                  </a:lnTo>
                  <a:lnTo>
                    <a:pt x="138" y="576"/>
                  </a:lnTo>
                  <a:lnTo>
                    <a:pt x="132" y="582"/>
                  </a:lnTo>
                  <a:lnTo>
                    <a:pt x="126" y="582"/>
                  </a:lnTo>
                  <a:lnTo>
                    <a:pt x="120" y="582"/>
                  </a:lnTo>
                  <a:lnTo>
                    <a:pt x="114" y="576"/>
                  </a:lnTo>
                  <a:lnTo>
                    <a:pt x="108" y="564"/>
                  </a:lnTo>
                  <a:lnTo>
                    <a:pt x="102" y="558"/>
                  </a:lnTo>
                  <a:lnTo>
                    <a:pt x="96" y="552"/>
                  </a:lnTo>
                  <a:lnTo>
                    <a:pt x="90" y="546"/>
                  </a:lnTo>
                  <a:lnTo>
                    <a:pt x="90" y="540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2"/>
                  </a:lnTo>
                  <a:lnTo>
                    <a:pt x="78" y="516"/>
                  </a:lnTo>
                  <a:lnTo>
                    <a:pt x="72" y="510"/>
                  </a:lnTo>
                  <a:lnTo>
                    <a:pt x="66" y="504"/>
                  </a:lnTo>
                  <a:lnTo>
                    <a:pt x="66" y="498"/>
                  </a:lnTo>
                  <a:lnTo>
                    <a:pt x="66" y="492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6" y="474"/>
                  </a:lnTo>
                  <a:lnTo>
                    <a:pt x="72" y="474"/>
                  </a:lnTo>
                  <a:lnTo>
                    <a:pt x="72" y="468"/>
                  </a:lnTo>
                  <a:lnTo>
                    <a:pt x="78" y="462"/>
                  </a:lnTo>
                  <a:lnTo>
                    <a:pt x="78" y="456"/>
                  </a:lnTo>
                  <a:lnTo>
                    <a:pt x="84" y="456"/>
                  </a:lnTo>
                  <a:lnTo>
                    <a:pt x="84" y="450"/>
                  </a:lnTo>
                  <a:lnTo>
                    <a:pt x="84" y="444"/>
                  </a:lnTo>
                  <a:lnTo>
                    <a:pt x="90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02" y="450"/>
                  </a:lnTo>
                  <a:lnTo>
                    <a:pt x="108" y="450"/>
                  </a:lnTo>
                  <a:lnTo>
                    <a:pt x="108" y="456"/>
                  </a:lnTo>
                  <a:lnTo>
                    <a:pt x="108" y="462"/>
                  </a:lnTo>
                  <a:lnTo>
                    <a:pt x="114" y="462"/>
                  </a:lnTo>
                  <a:lnTo>
                    <a:pt x="114" y="468"/>
                  </a:lnTo>
                  <a:lnTo>
                    <a:pt x="114" y="474"/>
                  </a:lnTo>
                  <a:lnTo>
                    <a:pt x="114" y="480"/>
                  </a:lnTo>
                  <a:lnTo>
                    <a:pt x="114" y="486"/>
                  </a:lnTo>
                  <a:lnTo>
                    <a:pt x="120" y="486"/>
                  </a:lnTo>
                  <a:lnTo>
                    <a:pt x="126" y="486"/>
                  </a:lnTo>
                  <a:lnTo>
                    <a:pt x="132" y="486"/>
                  </a:lnTo>
                  <a:lnTo>
                    <a:pt x="126" y="480"/>
                  </a:lnTo>
                  <a:lnTo>
                    <a:pt x="120" y="480"/>
                  </a:lnTo>
                  <a:lnTo>
                    <a:pt x="114" y="480"/>
                  </a:lnTo>
                  <a:lnTo>
                    <a:pt x="120" y="480"/>
                  </a:lnTo>
                  <a:lnTo>
                    <a:pt x="120" y="474"/>
                  </a:lnTo>
                  <a:lnTo>
                    <a:pt x="120" y="468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108" y="450"/>
                  </a:lnTo>
                  <a:lnTo>
                    <a:pt x="108" y="444"/>
                  </a:lnTo>
                  <a:lnTo>
                    <a:pt x="114" y="438"/>
                  </a:lnTo>
                  <a:lnTo>
                    <a:pt x="120" y="438"/>
                  </a:lnTo>
                  <a:lnTo>
                    <a:pt x="120" y="432"/>
                  </a:lnTo>
                  <a:lnTo>
                    <a:pt x="132" y="426"/>
                  </a:lnTo>
                  <a:lnTo>
                    <a:pt x="138" y="420"/>
                  </a:lnTo>
                  <a:lnTo>
                    <a:pt x="144" y="420"/>
                  </a:lnTo>
                  <a:lnTo>
                    <a:pt x="144" y="414"/>
                  </a:lnTo>
                  <a:lnTo>
                    <a:pt x="144" y="420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6" y="414"/>
                  </a:lnTo>
                  <a:lnTo>
                    <a:pt x="162" y="414"/>
                  </a:lnTo>
                  <a:lnTo>
                    <a:pt x="162" y="408"/>
                  </a:lnTo>
                  <a:lnTo>
                    <a:pt x="168" y="408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86" y="396"/>
                  </a:lnTo>
                  <a:lnTo>
                    <a:pt x="186" y="390"/>
                  </a:lnTo>
                  <a:lnTo>
                    <a:pt x="192" y="390"/>
                  </a:lnTo>
                  <a:lnTo>
                    <a:pt x="198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210" y="378"/>
                  </a:lnTo>
                  <a:lnTo>
                    <a:pt x="210" y="372"/>
                  </a:lnTo>
                  <a:lnTo>
                    <a:pt x="216" y="372"/>
                  </a:lnTo>
                  <a:lnTo>
                    <a:pt x="222" y="366"/>
                  </a:lnTo>
                  <a:lnTo>
                    <a:pt x="228" y="360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6" y="348"/>
                  </a:lnTo>
                  <a:lnTo>
                    <a:pt x="252" y="348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0" y="342"/>
                  </a:lnTo>
                  <a:lnTo>
                    <a:pt x="234" y="342"/>
                  </a:lnTo>
                  <a:lnTo>
                    <a:pt x="228" y="336"/>
                  </a:lnTo>
                  <a:lnTo>
                    <a:pt x="222" y="336"/>
                  </a:lnTo>
                  <a:lnTo>
                    <a:pt x="216" y="336"/>
                  </a:lnTo>
                  <a:lnTo>
                    <a:pt x="222" y="324"/>
                  </a:lnTo>
                  <a:lnTo>
                    <a:pt x="222" y="318"/>
                  </a:lnTo>
                  <a:lnTo>
                    <a:pt x="222" y="312"/>
                  </a:lnTo>
                  <a:lnTo>
                    <a:pt x="234" y="318"/>
                  </a:lnTo>
                  <a:lnTo>
                    <a:pt x="246" y="318"/>
                  </a:lnTo>
                  <a:lnTo>
                    <a:pt x="258" y="318"/>
                  </a:lnTo>
                  <a:lnTo>
                    <a:pt x="270" y="312"/>
                  </a:lnTo>
                  <a:lnTo>
                    <a:pt x="276" y="312"/>
                  </a:lnTo>
                  <a:lnTo>
                    <a:pt x="288" y="324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94" y="306"/>
                  </a:lnTo>
                  <a:lnTo>
                    <a:pt x="300" y="300"/>
                  </a:lnTo>
                  <a:lnTo>
                    <a:pt x="306" y="306"/>
                  </a:lnTo>
                  <a:lnTo>
                    <a:pt x="312" y="318"/>
                  </a:lnTo>
                  <a:lnTo>
                    <a:pt x="318" y="312"/>
                  </a:lnTo>
                  <a:lnTo>
                    <a:pt x="324" y="312"/>
                  </a:lnTo>
                  <a:lnTo>
                    <a:pt x="330" y="312"/>
                  </a:lnTo>
                  <a:lnTo>
                    <a:pt x="342" y="306"/>
                  </a:lnTo>
                  <a:lnTo>
                    <a:pt x="348" y="306"/>
                  </a:lnTo>
                  <a:lnTo>
                    <a:pt x="348" y="312"/>
                  </a:lnTo>
                  <a:lnTo>
                    <a:pt x="348" y="318"/>
                  </a:lnTo>
                  <a:lnTo>
                    <a:pt x="354" y="318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60" y="336"/>
                  </a:lnTo>
                  <a:lnTo>
                    <a:pt x="366" y="330"/>
                  </a:lnTo>
                  <a:lnTo>
                    <a:pt x="378" y="324"/>
                  </a:lnTo>
                  <a:lnTo>
                    <a:pt x="384" y="324"/>
                  </a:lnTo>
                  <a:lnTo>
                    <a:pt x="384" y="318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6"/>
                  </a:lnTo>
                  <a:lnTo>
                    <a:pt x="402" y="306"/>
                  </a:lnTo>
                  <a:lnTo>
                    <a:pt x="408" y="306"/>
                  </a:lnTo>
                  <a:lnTo>
                    <a:pt x="414" y="300"/>
                  </a:lnTo>
                  <a:lnTo>
                    <a:pt x="420" y="300"/>
                  </a:lnTo>
                  <a:lnTo>
                    <a:pt x="426" y="300"/>
                  </a:lnTo>
                  <a:lnTo>
                    <a:pt x="432" y="300"/>
                  </a:lnTo>
                  <a:lnTo>
                    <a:pt x="444" y="288"/>
                  </a:lnTo>
                  <a:lnTo>
                    <a:pt x="450" y="294"/>
                  </a:lnTo>
                  <a:lnTo>
                    <a:pt x="468" y="300"/>
                  </a:lnTo>
                  <a:lnTo>
                    <a:pt x="498" y="312"/>
                  </a:lnTo>
                  <a:lnTo>
                    <a:pt x="504" y="324"/>
                  </a:lnTo>
                  <a:lnTo>
                    <a:pt x="516" y="330"/>
                  </a:lnTo>
                  <a:lnTo>
                    <a:pt x="516" y="336"/>
                  </a:lnTo>
                  <a:lnTo>
                    <a:pt x="540" y="342"/>
                  </a:lnTo>
                  <a:lnTo>
                    <a:pt x="558" y="372"/>
                  </a:lnTo>
                  <a:lnTo>
                    <a:pt x="594" y="384"/>
                  </a:lnTo>
                  <a:lnTo>
                    <a:pt x="606" y="402"/>
                  </a:lnTo>
                  <a:lnTo>
                    <a:pt x="600" y="420"/>
                  </a:lnTo>
                  <a:lnTo>
                    <a:pt x="588" y="444"/>
                  </a:lnTo>
                  <a:lnTo>
                    <a:pt x="588" y="450"/>
                  </a:lnTo>
                  <a:lnTo>
                    <a:pt x="588" y="456"/>
                  </a:lnTo>
                  <a:lnTo>
                    <a:pt x="594" y="456"/>
                  </a:lnTo>
                  <a:lnTo>
                    <a:pt x="594" y="462"/>
                  </a:lnTo>
                  <a:lnTo>
                    <a:pt x="594" y="468"/>
                  </a:lnTo>
                  <a:lnTo>
                    <a:pt x="594" y="474"/>
                  </a:lnTo>
                  <a:lnTo>
                    <a:pt x="600" y="474"/>
                  </a:lnTo>
                  <a:lnTo>
                    <a:pt x="606" y="480"/>
                  </a:lnTo>
                  <a:lnTo>
                    <a:pt x="606" y="486"/>
                  </a:lnTo>
                  <a:lnTo>
                    <a:pt x="612" y="486"/>
                  </a:lnTo>
                  <a:lnTo>
                    <a:pt x="618" y="486"/>
                  </a:lnTo>
                  <a:lnTo>
                    <a:pt x="624" y="486"/>
                  </a:lnTo>
                  <a:lnTo>
                    <a:pt x="636" y="486"/>
                  </a:lnTo>
                  <a:lnTo>
                    <a:pt x="642" y="486"/>
                  </a:lnTo>
                  <a:lnTo>
                    <a:pt x="648" y="480"/>
                  </a:lnTo>
                  <a:lnTo>
                    <a:pt x="654" y="474"/>
                  </a:lnTo>
                  <a:lnTo>
                    <a:pt x="660" y="468"/>
                  </a:lnTo>
                  <a:lnTo>
                    <a:pt x="666" y="468"/>
                  </a:lnTo>
                  <a:lnTo>
                    <a:pt x="684" y="468"/>
                  </a:lnTo>
                  <a:lnTo>
                    <a:pt x="696" y="468"/>
                  </a:lnTo>
                  <a:lnTo>
                    <a:pt x="696" y="462"/>
                  </a:lnTo>
                  <a:lnTo>
                    <a:pt x="702" y="456"/>
                  </a:lnTo>
                  <a:lnTo>
                    <a:pt x="708" y="450"/>
                  </a:lnTo>
                  <a:lnTo>
                    <a:pt x="714" y="450"/>
                  </a:lnTo>
                  <a:lnTo>
                    <a:pt x="720" y="450"/>
                  </a:lnTo>
                  <a:lnTo>
                    <a:pt x="720" y="438"/>
                  </a:lnTo>
                  <a:lnTo>
                    <a:pt x="726" y="432"/>
                  </a:lnTo>
                  <a:lnTo>
                    <a:pt x="738" y="420"/>
                  </a:lnTo>
                  <a:lnTo>
                    <a:pt x="744" y="420"/>
                  </a:lnTo>
                  <a:lnTo>
                    <a:pt x="750" y="414"/>
                  </a:lnTo>
                  <a:lnTo>
                    <a:pt x="762" y="408"/>
                  </a:lnTo>
                  <a:lnTo>
                    <a:pt x="768" y="408"/>
                  </a:lnTo>
                  <a:lnTo>
                    <a:pt x="768" y="402"/>
                  </a:lnTo>
                  <a:lnTo>
                    <a:pt x="780" y="396"/>
                  </a:lnTo>
                  <a:lnTo>
                    <a:pt x="786" y="396"/>
                  </a:lnTo>
                  <a:lnTo>
                    <a:pt x="786" y="390"/>
                  </a:lnTo>
                  <a:lnTo>
                    <a:pt x="792" y="384"/>
                  </a:lnTo>
                  <a:lnTo>
                    <a:pt x="792" y="378"/>
                  </a:lnTo>
                  <a:lnTo>
                    <a:pt x="798" y="366"/>
                  </a:lnTo>
                  <a:lnTo>
                    <a:pt x="804" y="360"/>
                  </a:lnTo>
                  <a:lnTo>
                    <a:pt x="816" y="342"/>
                  </a:lnTo>
                  <a:lnTo>
                    <a:pt x="816" y="312"/>
                  </a:lnTo>
                  <a:lnTo>
                    <a:pt x="804" y="300"/>
                  </a:lnTo>
                  <a:lnTo>
                    <a:pt x="798" y="288"/>
                  </a:lnTo>
                  <a:lnTo>
                    <a:pt x="762" y="264"/>
                  </a:lnTo>
                  <a:lnTo>
                    <a:pt x="738" y="234"/>
                  </a:lnTo>
                  <a:lnTo>
                    <a:pt x="738" y="222"/>
                  </a:lnTo>
                  <a:lnTo>
                    <a:pt x="744" y="210"/>
                  </a:lnTo>
                  <a:lnTo>
                    <a:pt x="732" y="174"/>
                  </a:lnTo>
                  <a:lnTo>
                    <a:pt x="714" y="156"/>
                  </a:lnTo>
                  <a:lnTo>
                    <a:pt x="708" y="144"/>
                  </a:lnTo>
                  <a:lnTo>
                    <a:pt x="714" y="126"/>
                  </a:lnTo>
                  <a:lnTo>
                    <a:pt x="720" y="114"/>
                  </a:lnTo>
                  <a:lnTo>
                    <a:pt x="732" y="102"/>
                  </a:lnTo>
                  <a:lnTo>
                    <a:pt x="744" y="102"/>
                  </a:lnTo>
                  <a:lnTo>
                    <a:pt x="762" y="108"/>
                  </a:lnTo>
                  <a:lnTo>
                    <a:pt x="774" y="114"/>
                  </a:lnTo>
                  <a:lnTo>
                    <a:pt x="780" y="138"/>
                  </a:lnTo>
                  <a:lnTo>
                    <a:pt x="786" y="144"/>
                  </a:lnTo>
                  <a:lnTo>
                    <a:pt x="798" y="138"/>
                  </a:lnTo>
                  <a:lnTo>
                    <a:pt x="804" y="132"/>
                  </a:lnTo>
                  <a:lnTo>
                    <a:pt x="816" y="120"/>
                  </a:lnTo>
                  <a:lnTo>
                    <a:pt x="816" y="108"/>
                  </a:lnTo>
                  <a:lnTo>
                    <a:pt x="828" y="102"/>
                  </a:lnTo>
                  <a:lnTo>
                    <a:pt x="828" y="96"/>
                  </a:lnTo>
                  <a:lnTo>
                    <a:pt x="840" y="96"/>
                  </a:lnTo>
                  <a:lnTo>
                    <a:pt x="840" y="84"/>
                  </a:lnTo>
                  <a:lnTo>
                    <a:pt x="852" y="90"/>
                  </a:lnTo>
                  <a:lnTo>
                    <a:pt x="852" y="96"/>
                  </a:lnTo>
                  <a:lnTo>
                    <a:pt x="870" y="90"/>
                  </a:lnTo>
                  <a:lnTo>
                    <a:pt x="894" y="78"/>
                  </a:lnTo>
                  <a:lnTo>
                    <a:pt x="912" y="78"/>
                  </a:lnTo>
                  <a:lnTo>
                    <a:pt x="942" y="66"/>
                  </a:lnTo>
                  <a:lnTo>
                    <a:pt x="942" y="60"/>
                  </a:lnTo>
                  <a:lnTo>
                    <a:pt x="954" y="48"/>
                  </a:lnTo>
                  <a:lnTo>
                    <a:pt x="966" y="30"/>
                  </a:lnTo>
                  <a:lnTo>
                    <a:pt x="978" y="30"/>
                  </a:lnTo>
                  <a:lnTo>
                    <a:pt x="978" y="24"/>
                  </a:lnTo>
                  <a:lnTo>
                    <a:pt x="984" y="12"/>
                  </a:lnTo>
                  <a:lnTo>
                    <a:pt x="990" y="12"/>
                  </a:lnTo>
                  <a:lnTo>
                    <a:pt x="996" y="12"/>
                  </a:lnTo>
                  <a:lnTo>
                    <a:pt x="1014" y="6"/>
                  </a:lnTo>
                  <a:lnTo>
                    <a:pt x="1026" y="6"/>
                  </a:lnTo>
                  <a:lnTo>
                    <a:pt x="1044" y="6"/>
                  </a:lnTo>
                  <a:lnTo>
                    <a:pt x="1050" y="6"/>
                  </a:lnTo>
                  <a:lnTo>
                    <a:pt x="1056" y="6"/>
                  </a:lnTo>
                  <a:lnTo>
                    <a:pt x="1062" y="6"/>
                  </a:lnTo>
                  <a:lnTo>
                    <a:pt x="1068" y="6"/>
                  </a:lnTo>
                  <a:lnTo>
                    <a:pt x="1074" y="6"/>
                  </a:lnTo>
                  <a:lnTo>
                    <a:pt x="1080" y="6"/>
                  </a:lnTo>
                  <a:lnTo>
                    <a:pt x="1086" y="0"/>
                  </a:lnTo>
                  <a:lnTo>
                    <a:pt x="1092" y="30"/>
                  </a:lnTo>
                  <a:lnTo>
                    <a:pt x="1098" y="60"/>
                  </a:lnTo>
                  <a:lnTo>
                    <a:pt x="1110" y="84"/>
                  </a:lnTo>
                  <a:lnTo>
                    <a:pt x="1122" y="114"/>
                  </a:lnTo>
                  <a:lnTo>
                    <a:pt x="1128" y="144"/>
                  </a:lnTo>
                  <a:lnTo>
                    <a:pt x="1122" y="156"/>
                  </a:lnTo>
                  <a:lnTo>
                    <a:pt x="1128" y="168"/>
                  </a:lnTo>
                  <a:lnTo>
                    <a:pt x="1134" y="186"/>
                  </a:lnTo>
                  <a:lnTo>
                    <a:pt x="1140" y="204"/>
                  </a:lnTo>
                  <a:lnTo>
                    <a:pt x="1146" y="210"/>
                  </a:lnTo>
                  <a:lnTo>
                    <a:pt x="1146" y="216"/>
                  </a:lnTo>
                  <a:lnTo>
                    <a:pt x="1146" y="228"/>
                  </a:lnTo>
                  <a:lnTo>
                    <a:pt x="1146" y="234"/>
                  </a:lnTo>
                  <a:lnTo>
                    <a:pt x="1140" y="246"/>
                  </a:lnTo>
                  <a:lnTo>
                    <a:pt x="1128" y="258"/>
                  </a:lnTo>
                  <a:lnTo>
                    <a:pt x="1116" y="264"/>
                  </a:lnTo>
                  <a:lnTo>
                    <a:pt x="1110" y="276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2" y="312"/>
                  </a:lnTo>
                  <a:lnTo>
                    <a:pt x="1116" y="324"/>
                  </a:lnTo>
                  <a:lnTo>
                    <a:pt x="1104" y="336"/>
                  </a:lnTo>
                  <a:lnTo>
                    <a:pt x="1104" y="354"/>
                  </a:lnTo>
                  <a:lnTo>
                    <a:pt x="1098" y="372"/>
                  </a:lnTo>
                  <a:lnTo>
                    <a:pt x="1092" y="384"/>
                  </a:lnTo>
                  <a:lnTo>
                    <a:pt x="1086" y="390"/>
                  </a:lnTo>
                  <a:lnTo>
                    <a:pt x="1086" y="402"/>
                  </a:lnTo>
                  <a:lnTo>
                    <a:pt x="1080" y="414"/>
                  </a:lnTo>
                  <a:lnTo>
                    <a:pt x="1074" y="426"/>
                  </a:lnTo>
                  <a:lnTo>
                    <a:pt x="1074" y="450"/>
                  </a:lnTo>
                  <a:lnTo>
                    <a:pt x="1074" y="462"/>
                  </a:lnTo>
                  <a:lnTo>
                    <a:pt x="1068" y="474"/>
                  </a:lnTo>
                  <a:lnTo>
                    <a:pt x="1062" y="486"/>
                  </a:lnTo>
                  <a:lnTo>
                    <a:pt x="1056" y="498"/>
                  </a:lnTo>
                  <a:close/>
                  <a:moveTo>
                    <a:pt x="186" y="378"/>
                  </a:moveTo>
                  <a:lnTo>
                    <a:pt x="186" y="384"/>
                  </a:lnTo>
                  <a:lnTo>
                    <a:pt x="180" y="390"/>
                  </a:lnTo>
                  <a:lnTo>
                    <a:pt x="174" y="396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14"/>
                  </a:lnTo>
                  <a:lnTo>
                    <a:pt x="126" y="414"/>
                  </a:lnTo>
                  <a:lnTo>
                    <a:pt x="120" y="414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2" y="426"/>
                  </a:lnTo>
                  <a:lnTo>
                    <a:pt x="102" y="432"/>
                  </a:lnTo>
                  <a:lnTo>
                    <a:pt x="96" y="432"/>
                  </a:lnTo>
                  <a:lnTo>
                    <a:pt x="90" y="432"/>
                  </a:lnTo>
                  <a:lnTo>
                    <a:pt x="84" y="438"/>
                  </a:lnTo>
                  <a:lnTo>
                    <a:pt x="78" y="438"/>
                  </a:lnTo>
                  <a:lnTo>
                    <a:pt x="78" y="444"/>
                  </a:lnTo>
                  <a:lnTo>
                    <a:pt x="72" y="444"/>
                  </a:lnTo>
                  <a:lnTo>
                    <a:pt x="72" y="450"/>
                  </a:lnTo>
                  <a:lnTo>
                    <a:pt x="66" y="456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48" y="468"/>
                  </a:lnTo>
                  <a:lnTo>
                    <a:pt x="42" y="468"/>
                  </a:lnTo>
                  <a:lnTo>
                    <a:pt x="42" y="462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8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0" y="396"/>
                  </a:lnTo>
                  <a:lnTo>
                    <a:pt x="6" y="384"/>
                  </a:lnTo>
                  <a:lnTo>
                    <a:pt x="18" y="372"/>
                  </a:lnTo>
                  <a:lnTo>
                    <a:pt x="30" y="348"/>
                  </a:lnTo>
                  <a:lnTo>
                    <a:pt x="30" y="342"/>
                  </a:lnTo>
                  <a:lnTo>
                    <a:pt x="42" y="330"/>
                  </a:lnTo>
                  <a:lnTo>
                    <a:pt x="42" y="324"/>
                  </a:lnTo>
                  <a:lnTo>
                    <a:pt x="48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60" y="282"/>
                  </a:lnTo>
                  <a:lnTo>
                    <a:pt x="60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2" y="258"/>
                  </a:lnTo>
                  <a:lnTo>
                    <a:pt x="84" y="246"/>
                  </a:lnTo>
                  <a:lnTo>
                    <a:pt x="90" y="234"/>
                  </a:lnTo>
                  <a:lnTo>
                    <a:pt x="96" y="234"/>
                  </a:lnTo>
                  <a:lnTo>
                    <a:pt x="96" y="228"/>
                  </a:lnTo>
                  <a:lnTo>
                    <a:pt x="102" y="222"/>
                  </a:lnTo>
                  <a:lnTo>
                    <a:pt x="102" y="228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14" y="228"/>
                  </a:lnTo>
                  <a:lnTo>
                    <a:pt x="114" y="234"/>
                  </a:lnTo>
                  <a:lnTo>
                    <a:pt x="120" y="228"/>
                  </a:lnTo>
                  <a:lnTo>
                    <a:pt x="120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26" y="228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8" y="234"/>
                  </a:lnTo>
                  <a:lnTo>
                    <a:pt x="144" y="234"/>
                  </a:lnTo>
                  <a:lnTo>
                    <a:pt x="144" y="228"/>
                  </a:lnTo>
                  <a:lnTo>
                    <a:pt x="150" y="228"/>
                  </a:lnTo>
                  <a:lnTo>
                    <a:pt x="156" y="228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46"/>
                  </a:lnTo>
                  <a:lnTo>
                    <a:pt x="162" y="240"/>
                  </a:lnTo>
                  <a:lnTo>
                    <a:pt x="162" y="246"/>
                  </a:lnTo>
                  <a:lnTo>
                    <a:pt x="162" y="258"/>
                  </a:lnTo>
                  <a:lnTo>
                    <a:pt x="162" y="264"/>
                  </a:lnTo>
                  <a:lnTo>
                    <a:pt x="156" y="270"/>
                  </a:lnTo>
                  <a:lnTo>
                    <a:pt x="162" y="270"/>
                  </a:lnTo>
                  <a:lnTo>
                    <a:pt x="162" y="282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86" y="288"/>
                  </a:lnTo>
                  <a:lnTo>
                    <a:pt x="186" y="294"/>
                  </a:lnTo>
                  <a:lnTo>
                    <a:pt x="180" y="300"/>
                  </a:lnTo>
                  <a:lnTo>
                    <a:pt x="174" y="318"/>
                  </a:lnTo>
                  <a:lnTo>
                    <a:pt x="174" y="324"/>
                  </a:lnTo>
                  <a:lnTo>
                    <a:pt x="168" y="330"/>
                  </a:lnTo>
                  <a:lnTo>
                    <a:pt x="168" y="342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74" y="360"/>
                  </a:lnTo>
                  <a:lnTo>
                    <a:pt x="180" y="366"/>
                  </a:lnTo>
                  <a:lnTo>
                    <a:pt x="186" y="3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8" name="Freeform 23">
              <a:extLst>
                <a:ext uri="{FF2B5EF4-FFF2-40B4-BE49-F238E27FC236}">
                  <a16:creationId xmlns:a16="http://schemas.microsoft.com/office/drawing/2014/main" id="{A539A33E-3F6E-4AF7-BD88-1853165307F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6312" y="3604793"/>
              <a:ext cx="581410" cy="621747"/>
            </a:xfrm>
            <a:custGeom>
              <a:avLst/>
              <a:gdLst>
                <a:gd name="T0" fmla="*/ 90 w 1092"/>
                <a:gd name="T1" fmla="*/ 60 h 1170"/>
                <a:gd name="T2" fmla="*/ 83 w 1092"/>
                <a:gd name="T3" fmla="*/ 62 h 1170"/>
                <a:gd name="T4" fmla="*/ 72 w 1092"/>
                <a:gd name="T5" fmla="*/ 68 h 1170"/>
                <a:gd name="T6" fmla="*/ 68 w 1092"/>
                <a:gd name="T7" fmla="*/ 71 h 1170"/>
                <a:gd name="T8" fmla="*/ 61 w 1092"/>
                <a:gd name="T9" fmla="*/ 69 h 1170"/>
                <a:gd name="T10" fmla="*/ 64 w 1092"/>
                <a:gd name="T11" fmla="*/ 82 h 1170"/>
                <a:gd name="T12" fmla="*/ 67 w 1092"/>
                <a:gd name="T13" fmla="*/ 93 h 1170"/>
                <a:gd name="T14" fmla="*/ 62 w 1092"/>
                <a:gd name="T15" fmla="*/ 96 h 1170"/>
                <a:gd name="T16" fmla="*/ 59 w 1092"/>
                <a:gd name="T17" fmla="*/ 99 h 1170"/>
                <a:gd name="T18" fmla="*/ 53 w 1092"/>
                <a:gd name="T19" fmla="*/ 101 h 1170"/>
                <a:gd name="T20" fmla="*/ 50 w 1092"/>
                <a:gd name="T21" fmla="*/ 100 h 1170"/>
                <a:gd name="T22" fmla="*/ 50 w 1092"/>
                <a:gd name="T23" fmla="*/ 93 h 1170"/>
                <a:gd name="T24" fmla="*/ 37 w 1092"/>
                <a:gd name="T25" fmla="*/ 85 h 1170"/>
                <a:gd name="T26" fmla="*/ 32 w 1092"/>
                <a:gd name="T27" fmla="*/ 86 h 1170"/>
                <a:gd name="T28" fmla="*/ 29 w 1092"/>
                <a:gd name="T29" fmla="*/ 88 h 1170"/>
                <a:gd name="T30" fmla="*/ 27 w 1092"/>
                <a:gd name="T31" fmla="*/ 86 h 1170"/>
                <a:gd name="T32" fmla="*/ 23 w 1092"/>
                <a:gd name="T33" fmla="*/ 87 h 1170"/>
                <a:gd name="T34" fmla="*/ 17 w 1092"/>
                <a:gd name="T35" fmla="*/ 87 h 1170"/>
                <a:gd name="T36" fmla="*/ 18 w 1092"/>
                <a:gd name="T37" fmla="*/ 89 h 1170"/>
                <a:gd name="T38" fmla="*/ 16 w 1092"/>
                <a:gd name="T39" fmla="*/ 92 h 1170"/>
                <a:gd name="T40" fmla="*/ 12 w 1092"/>
                <a:gd name="T41" fmla="*/ 89 h 1170"/>
                <a:gd name="T42" fmla="*/ 13 w 1092"/>
                <a:gd name="T43" fmla="*/ 84 h 1170"/>
                <a:gd name="T44" fmla="*/ 12 w 1092"/>
                <a:gd name="T45" fmla="*/ 80 h 1170"/>
                <a:gd name="T46" fmla="*/ 10 w 1092"/>
                <a:gd name="T47" fmla="*/ 80 h 1170"/>
                <a:gd name="T48" fmla="*/ 8 w 1092"/>
                <a:gd name="T49" fmla="*/ 79 h 1170"/>
                <a:gd name="T50" fmla="*/ 6 w 1092"/>
                <a:gd name="T51" fmla="*/ 78 h 1170"/>
                <a:gd name="T52" fmla="*/ 6 w 1092"/>
                <a:gd name="T53" fmla="*/ 77 h 1170"/>
                <a:gd name="T54" fmla="*/ 4 w 1092"/>
                <a:gd name="T55" fmla="*/ 75 h 1170"/>
                <a:gd name="T56" fmla="*/ 0 w 1092"/>
                <a:gd name="T57" fmla="*/ 72 h 1170"/>
                <a:gd name="T58" fmla="*/ 0 w 1092"/>
                <a:gd name="T59" fmla="*/ 69 h 1170"/>
                <a:gd name="T60" fmla="*/ 3 w 1092"/>
                <a:gd name="T61" fmla="*/ 67 h 1170"/>
                <a:gd name="T62" fmla="*/ 6 w 1092"/>
                <a:gd name="T63" fmla="*/ 62 h 1170"/>
                <a:gd name="T64" fmla="*/ 8 w 1092"/>
                <a:gd name="T65" fmla="*/ 58 h 1170"/>
                <a:gd name="T66" fmla="*/ 5 w 1092"/>
                <a:gd name="T67" fmla="*/ 54 h 1170"/>
                <a:gd name="T68" fmla="*/ 6 w 1092"/>
                <a:gd name="T69" fmla="*/ 50 h 1170"/>
                <a:gd name="T70" fmla="*/ 8 w 1092"/>
                <a:gd name="T71" fmla="*/ 46 h 1170"/>
                <a:gd name="T72" fmla="*/ 10 w 1092"/>
                <a:gd name="T73" fmla="*/ 43 h 1170"/>
                <a:gd name="T74" fmla="*/ 14 w 1092"/>
                <a:gd name="T75" fmla="*/ 38 h 1170"/>
                <a:gd name="T76" fmla="*/ 31 w 1092"/>
                <a:gd name="T77" fmla="*/ 40 h 1170"/>
                <a:gd name="T78" fmla="*/ 30 w 1092"/>
                <a:gd name="T79" fmla="*/ 46 h 1170"/>
                <a:gd name="T80" fmla="*/ 36 w 1092"/>
                <a:gd name="T81" fmla="*/ 47 h 1170"/>
                <a:gd name="T82" fmla="*/ 41 w 1092"/>
                <a:gd name="T83" fmla="*/ 44 h 1170"/>
                <a:gd name="T84" fmla="*/ 43 w 1092"/>
                <a:gd name="T85" fmla="*/ 39 h 1170"/>
                <a:gd name="T86" fmla="*/ 44 w 1092"/>
                <a:gd name="T87" fmla="*/ 35 h 1170"/>
                <a:gd name="T88" fmla="*/ 44 w 1092"/>
                <a:gd name="T89" fmla="*/ 29 h 1170"/>
                <a:gd name="T90" fmla="*/ 48 w 1092"/>
                <a:gd name="T91" fmla="*/ 24 h 1170"/>
                <a:gd name="T92" fmla="*/ 49 w 1092"/>
                <a:gd name="T93" fmla="*/ 19 h 1170"/>
                <a:gd name="T94" fmla="*/ 51 w 1092"/>
                <a:gd name="T95" fmla="*/ 14 h 1170"/>
                <a:gd name="T96" fmla="*/ 54 w 1092"/>
                <a:gd name="T97" fmla="*/ 10 h 1170"/>
                <a:gd name="T98" fmla="*/ 53 w 1092"/>
                <a:gd name="T99" fmla="*/ 7 h 1170"/>
                <a:gd name="T100" fmla="*/ 55 w 1092"/>
                <a:gd name="T101" fmla="*/ 3 h 1170"/>
                <a:gd name="T102" fmla="*/ 58 w 1092"/>
                <a:gd name="T103" fmla="*/ 0 h 1170"/>
                <a:gd name="T104" fmla="*/ 65 w 1092"/>
                <a:gd name="T105" fmla="*/ 2 h 1170"/>
                <a:gd name="T106" fmla="*/ 61 w 1092"/>
                <a:gd name="T107" fmla="*/ 6 h 1170"/>
                <a:gd name="T108" fmla="*/ 67 w 1092"/>
                <a:gd name="T109" fmla="*/ 7 h 1170"/>
                <a:gd name="T110" fmla="*/ 71 w 1092"/>
                <a:gd name="T111" fmla="*/ 6 h 1170"/>
                <a:gd name="T112" fmla="*/ 75 w 1092"/>
                <a:gd name="T113" fmla="*/ 9 h 1170"/>
                <a:gd name="T114" fmla="*/ 82 w 1092"/>
                <a:gd name="T115" fmla="*/ 12 h 1170"/>
                <a:gd name="T116" fmla="*/ 84 w 1092"/>
                <a:gd name="T117" fmla="*/ 17 h 1170"/>
                <a:gd name="T118" fmla="*/ 94 w 1092"/>
                <a:gd name="T119" fmla="*/ 23 h 1170"/>
                <a:gd name="T120" fmla="*/ 94 w 1092"/>
                <a:gd name="T121" fmla="*/ 34 h 1170"/>
                <a:gd name="T122" fmla="*/ 90 w 1092"/>
                <a:gd name="T123" fmla="*/ 41 h 1170"/>
                <a:gd name="T124" fmla="*/ 91 w 1092"/>
                <a:gd name="T125" fmla="*/ 51 h 11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92"/>
                <a:gd name="T190" fmla="*/ 0 h 1170"/>
                <a:gd name="T191" fmla="*/ 1092 w 1092"/>
                <a:gd name="T192" fmla="*/ 1170 h 117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92" h="1170">
                  <a:moveTo>
                    <a:pt x="1056" y="654"/>
                  </a:moveTo>
                  <a:lnTo>
                    <a:pt x="1062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0"/>
                  </a:lnTo>
                  <a:lnTo>
                    <a:pt x="1038" y="690"/>
                  </a:lnTo>
                  <a:lnTo>
                    <a:pt x="1032" y="690"/>
                  </a:lnTo>
                  <a:lnTo>
                    <a:pt x="1026" y="690"/>
                  </a:lnTo>
                  <a:lnTo>
                    <a:pt x="1020" y="690"/>
                  </a:lnTo>
                  <a:lnTo>
                    <a:pt x="1002" y="690"/>
                  </a:lnTo>
                  <a:lnTo>
                    <a:pt x="990" y="690"/>
                  </a:lnTo>
                  <a:lnTo>
                    <a:pt x="972" y="696"/>
                  </a:lnTo>
                  <a:lnTo>
                    <a:pt x="966" y="696"/>
                  </a:lnTo>
                  <a:lnTo>
                    <a:pt x="960" y="696"/>
                  </a:lnTo>
                  <a:lnTo>
                    <a:pt x="954" y="708"/>
                  </a:lnTo>
                  <a:lnTo>
                    <a:pt x="954" y="714"/>
                  </a:lnTo>
                  <a:lnTo>
                    <a:pt x="942" y="714"/>
                  </a:lnTo>
                  <a:lnTo>
                    <a:pt x="930" y="732"/>
                  </a:lnTo>
                  <a:lnTo>
                    <a:pt x="918" y="744"/>
                  </a:lnTo>
                  <a:lnTo>
                    <a:pt x="918" y="750"/>
                  </a:lnTo>
                  <a:lnTo>
                    <a:pt x="888" y="762"/>
                  </a:lnTo>
                  <a:lnTo>
                    <a:pt x="870" y="762"/>
                  </a:lnTo>
                  <a:lnTo>
                    <a:pt x="846" y="774"/>
                  </a:lnTo>
                  <a:lnTo>
                    <a:pt x="828" y="780"/>
                  </a:lnTo>
                  <a:lnTo>
                    <a:pt x="828" y="774"/>
                  </a:lnTo>
                  <a:lnTo>
                    <a:pt x="816" y="768"/>
                  </a:lnTo>
                  <a:lnTo>
                    <a:pt x="816" y="780"/>
                  </a:lnTo>
                  <a:lnTo>
                    <a:pt x="804" y="780"/>
                  </a:lnTo>
                  <a:lnTo>
                    <a:pt x="804" y="786"/>
                  </a:lnTo>
                  <a:lnTo>
                    <a:pt x="792" y="792"/>
                  </a:lnTo>
                  <a:lnTo>
                    <a:pt x="792" y="804"/>
                  </a:lnTo>
                  <a:lnTo>
                    <a:pt x="780" y="816"/>
                  </a:lnTo>
                  <a:lnTo>
                    <a:pt x="774" y="822"/>
                  </a:lnTo>
                  <a:lnTo>
                    <a:pt x="762" y="828"/>
                  </a:lnTo>
                  <a:lnTo>
                    <a:pt x="756" y="822"/>
                  </a:lnTo>
                  <a:lnTo>
                    <a:pt x="750" y="798"/>
                  </a:lnTo>
                  <a:lnTo>
                    <a:pt x="738" y="792"/>
                  </a:lnTo>
                  <a:lnTo>
                    <a:pt x="720" y="786"/>
                  </a:lnTo>
                  <a:lnTo>
                    <a:pt x="708" y="786"/>
                  </a:lnTo>
                  <a:lnTo>
                    <a:pt x="696" y="798"/>
                  </a:lnTo>
                  <a:lnTo>
                    <a:pt x="690" y="810"/>
                  </a:lnTo>
                  <a:lnTo>
                    <a:pt x="684" y="828"/>
                  </a:lnTo>
                  <a:lnTo>
                    <a:pt x="690" y="840"/>
                  </a:lnTo>
                  <a:lnTo>
                    <a:pt x="708" y="858"/>
                  </a:lnTo>
                  <a:lnTo>
                    <a:pt x="720" y="894"/>
                  </a:lnTo>
                  <a:lnTo>
                    <a:pt x="714" y="906"/>
                  </a:lnTo>
                  <a:lnTo>
                    <a:pt x="714" y="918"/>
                  </a:lnTo>
                  <a:lnTo>
                    <a:pt x="738" y="948"/>
                  </a:lnTo>
                  <a:lnTo>
                    <a:pt x="774" y="972"/>
                  </a:lnTo>
                  <a:lnTo>
                    <a:pt x="780" y="984"/>
                  </a:lnTo>
                  <a:lnTo>
                    <a:pt x="792" y="996"/>
                  </a:lnTo>
                  <a:lnTo>
                    <a:pt x="792" y="1026"/>
                  </a:lnTo>
                  <a:lnTo>
                    <a:pt x="780" y="1044"/>
                  </a:lnTo>
                  <a:lnTo>
                    <a:pt x="774" y="1050"/>
                  </a:lnTo>
                  <a:lnTo>
                    <a:pt x="768" y="1062"/>
                  </a:lnTo>
                  <a:lnTo>
                    <a:pt x="768" y="1068"/>
                  </a:lnTo>
                  <a:lnTo>
                    <a:pt x="762" y="1074"/>
                  </a:lnTo>
                  <a:lnTo>
                    <a:pt x="762" y="1080"/>
                  </a:lnTo>
                  <a:lnTo>
                    <a:pt x="756" y="1080"/>
                  </a:lnTo>
                  <a:lnTo>
                    <a:pt x="744" y="1086"/>
                  </a:lnTo>
                  <a:lnTo>
                    <a:pt x="744" y="1092"/>
                  </a:lnTo>
                  <a:lnTo>
                    <a:pt x="738" y="1092"/>
                  </a:lnTo>
                  <a:lnTo>
                    <a:pt x="726" y="1098"/>
                  </a:lnTo>
                  <a:lnTo>
                    <a:pt x="720" y="1104"/>
                  </a:lnTo>
                  <a:lnTo>
                    <a:pt x="714" y="1104"/>
                  </a:lnTo>
                  <a:lnTo>
                    <a:pt x="702" y="1116"/>
                  </a:lnTo>
                  <a:lnTo>
                    <a:pt x="696" y="1122"/>
                  </a:lnTo>
                  <a:lnTo>
                    <a:pt x="696" y="1134"/>
                  </a:lnTo>
                  <a:lnTo>
                    <a:pt x="690" y="1134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72" y="1146"/>
                  </a:lnTo>
                  <a:lnTo>
                    <a:pt x="672" y="1152"/>
                  </a:lnTo>
                  <a:lnTo>
                    <a:pt x="660" y="1152"/>
                  </a:lnTo>
                  <a:lnTo>
                    <a:pt x="642" y="1152"/>
                  </a:lnTo>
                  <a:lnTo>
                    <a:pt x="636" y="1152"/>
                  </a:lnTo>
                  <a:lnTo>
                    <a:pt x="630" y="1158"/>
                  </a:lnTo>
                  <a:lnTo>
                    <a:pt x="624" y="1164"/>
                  </a:lnTo>
                  <a:lnTo>
                    <a:pt x="618" y="1170"/>
                  </a:lnTo>
                  <a:lnTo>
                    <a:pt x="612" y="1170"/>
                  </a:lnTo>
                  <a:lnTo>
                    <a:pt x="600" y="1170"/>
                  </a:lnTo>
                  <a:lnTo>
                    <a:pt x="594" y="1170"/>
                  </a:lnTo>
                  <a:lnTo>
                    <a:pt x="588" y="1170"/>
                  </a:lnTo>
                  <a:lnTo>
                    <a:pt x="582" y="1170"/>
                  </a:lnTo>
                  <a:lnTo>
                    <a:pt x="582" y="1164"/>
                  </a:lnTo>
                  <a:lnTo>
                    <a:pt x="576" y="1158"/>
                  </a:lnTo>
                  <a:lnTo>
                    <a:pt x="570" y="1158"/>
                  </a:lnTo>
                  <a:lnTo>
                    <a:pt x="570" y="1152"/>
                  </a:lnTo>
                  <a:lnTo>
                    <a:pt x="570" y="1146"/>
                  </a:lnTo>
                  <a:lnTo>
                    <a:pt x="570" y="1140"/>
                  </a:lnTo>
                  <a:lnTo>
                    <a:pt x="564" y="1140"/>
                  </a:lnTo>
                  <a:lnTo>
                    <a:pt x="564" y="1134"/>
                  </a:lnTo>
                  <a:lnTo>
                    <a:pt x="564" y="1128"/>
                  </a:lnTo>
                  <a:lnTo>
                    <a:pt x="576" y="1104"/>
                  </a:lnTo>
                  <a:lnTo>
                    <a:pt x="582" y="1086"/>
                  </a:lnTo>
                  <a:lnTo>
                    <a:pt x="570" y="1068"/>
                  </a:lnTo>
                  <a:lnTo>
                    <a:pt x="534" y="1056"/>
                  </a:lnTo>
                  <a:lnTo>
                    <a:pt x="516" y="1026"/>
                  </a:lnTo>
                  <a:lnTo>
                    <a:pt x="492" y="1020"/>
                  </a:lnTo>
                  <a:lnTo>
                    <a:pt x="492" y="1014"/>
                  </a:lnTo>
                  <a:lnTo>
                    <a:pt x="480" y="1008"/>
                  </a:lnTo>
                  <a:lnTo>
                    <a:pt x="474" y="996"/>
                  </a:lnTo>
                  <a:lnTo>
                    <a:pt x="444" y="984"/>
                  </a:lnTo>
                  <a:lnTo>
                    <a:pt x="426" y="978"/>
                  </a:lnTo>
                  <a:lnTo>
                    <a:pt x="420" y="972"/>
                  </a:lnTo>
                  <a:lnTo>
                    <a:pt x="408" y="984"/>
                  </a:lnTo>
                  <a:lnTo>
                    <a:pt x="402" y="984"/>
                  </a:lnTo>
                  <a:lnTo>
                    <a:pt x="396" y="984"/>
                  </a:lnTo>
                  <a:lnTo>
                    <a:pt x="390" y="984"/>
                  </a:lnTo>
                  <a:lnTo>
                    <a:pt x="384" y="990"/>
                  </a:lnTo>
                  <a:lnTo>
                    <a:pt x="378" y="990"/>
                  </a:lnTo>
                  <a:lnTo>
                    <a:pt x="372" y="990"/>
                  </a:lnTo>
                  <a:lnTo>
                    <a:pt x="372" y="996"/>
                  </a:lnTo>
                  <a:lnTo>
                    <a:pt x="366" y="996"/>
                  </a:lnTo>
                  <a:lnTo>
                    <a:pt x="360" y="1002"/>
                  </a:lnTo>
                  <a:lnTo>
                    <a:pt x="360" y="1008"/>
                  </a:lnTo>
                  <a:lnTo>
                    <a:pt x="354" y="1008"/>
                  </a:lnTo>
                  <a:lnTo>
                    <a:pt x="342" y="1014"/>
                  </a:lnTo>
                  <a:lnTo>
                    <a:pt x="336" y="1020"/>
                  </a:lnTo>
                  <a:lnTo>
                    <a:pt x="336" y="1014"/>
                  </a:lnTo>
                  <a:lnTo>
                    <a:pt x="330" y="1014"/>
                  </a:lnTo>
                  <a:lnTo>
                    <a:pt x="330" y="1008"/>
                  </a:lnTo>
                  <a:lnTo>
                    <a:pt x="330" y="1002"/>
                  </a:lnTo>
                  <a:lnTo>
                    <a:pt x="324" y="1002"/>
                  </a:lnTo>
                  <a:lnTo>
                    <a:pt x="324" y="996"/>
                  </a:lnTo>
                  <a:lnTo>
                    <a:pt x="324" y="990"/>
                  </a:lnTo>
                  <a:lnTo>
                    <a:pt x="318" y="990"/>
                  </a:lnTo>
                  <a:lnTo>
                    <a:pt x="306" y="996"/>
                  </a:lnTo>
                  <a:lnTo>
                    <a:pt x="300" y="996"/>
                  </a:lnTo>
                  <a:lnTo>
                    <a:pt x="294" y="996"/>
                  </a:lnTo>
                  <a:lnTo>
                    <a:pt x="288" y="1002"/>
                  </a:lnTo>
                  <a:lnTo>
                    <a:pt x="282" y="990"/>
                  </a:lnTo>
                  <a:lnTo>
                    <a:pt x="276" y="984"/>
                  </a:lnTo>
                  <a:lnTo>
                    <a:pt x="270" y="990"/>
                  </a:lnTo>
                  <a:lnTo>
                    <a:pt x="270" y="996"/>
                  </a:lnTo>
                  <a:lnTo>
                    <a:pt x="270" y="1002"/>
                  </a:lnTo>
                  <a:lnTo>
                    <a:pt x="264" y="1008"/>
                  </a:lnTo>
                  <a:lnTo>
                    <a:pt x="252" y="996"/>
                  </a:lnTo>
                  <a:lnTo>
                    <a:pt x="246" y="996"/>
                  </a:lnTo>
                  <a:lnTo>
                    <a:pt x="234" y="1002"/>
                  </a:lnTo>
                  <a:lnTo>
                    <a:pt x="222" y="1002"/>
                  </a:lnTo>
                  <a:lnTo>
                    <a:pt x="210" y="1002"/>
                  </a:lnTo>
                  <a:lnTo>
                    <a:pt x="198" y="996"/>
                  </a:lnTo>
                  <a:lnTo>
                    <a:pt x="198" y="1002"/>
                  </a:lnTo>
                  <a:lnTo>
                    <a:pt x="198" y="1008"/>
                  </a:lnTo>
                  <a:lnTo>
                    <a:pt x="192" y="1020"/>
                  </a:lnTo>
                  <a:lnTo>
                    <a:pt x="198" y="1020"/>
                  </a:lnTo>
                  <a:lnTo>
                    <a:pt x="204" y="1020"/>
                  </a:lnTo>
                  <a:lnTo>
                    <a:pt x="210" y="1026"/>
                  </a:lnTo>
                  <a:lnTo>
                    <a:pt x="216" y="1026"/>
                  </a:lnTo>
                  <a:lnTo>
                    <a:pt x="216" y="1032"/>
                  </a:lnTo>
                  <a:lnTo>
                    <a:pt x="210" y="1032"/>
                  </a:lnTo>
                  <a:lnTo>
                    <a:pt x="210" y="1038"/>
                  </a:lnTo>
                  <a:lnTo>
                    <a:pt x="204" y="1038"/>
                  </a:lnTo>
                  <a:lnTo>
                    <a:pt x="204" y="1044"/>
                  </a:lnTo>
                  <a:lnTo>
                    <a:pt x="198" y="1044"/>
                  </a:lnTo>
                  <a:lnTo>
                    <a:pt x="192" y="1044"/>
                  </a:lnTo>
                  <a:lnTo>
                    <a:pt x="186" y="1050"/>
                  </a:lnTo>
                  <a:lnTo>
                    <a:pt x="186" y="1056"/>
                  </a:lnTo>
                  <a:lnTo>
                    <a:pt x="180" y="1056"/>
                  </a:lnTo>
                  <a:lnTo>
                    <a:pt x="180" y="1062"/>
                  </a:lnTo>
                  <a:lnTo>
                    <a:pt x="174" y="1062"/>
                  </a:lnTo>
                  <a:lnTo>
                    <a:pt x="168" y="1062"/>
                  </a:lnTo>
                  <a:lnTo>
                    <a:pt x="162" y="1062"/>
                  </a:lnTo>
                  <a:lnTo>
                    <a:pt x="156" y="1050"/>
                  </a:lnTo>
                  <a:lnTo>
                    <a:pt x="150" y="1044"/>
                  </a:lnTo>
                  <a:lnTo>
                    <a:pt x="150" y="1038"/>
                  </a:lnTo>
                  <a:lnTo>
                    <a:pt x="144" y="1032"/>
                  </a:lnTo>
                  <a:lnTo>
                    <a:pt x="144" y="1026"/>
                  </a:lnTo>
                  <a:lnTo>
                    <a:pt x="144" y="1014"/>
                  </a:lnTo>
                  <a:lnTo>
                    <a:pt x="150" y="1008"/>
                  </a:lnTo>
                  <a:lnTo>
                    <a:pt x="150" y="1002"/>
                  </a:lnTo>
                  <a:lnTo>
                    <a:pt x="156" y="984"/>
                  </a:lnTo>
                  <a:lnTo>
                    <a:pt x="162" y="978"/>
                  </a:lnTo>
                  <a:lnTo>
                    <a:pt x="162" y="972"/>
                  </a:lnTo>
                  <a:lnTo>
                    <a:pt x="150" y="966"/>
                  </a:lnTo>
                  <a:lnTo>
                    <a:pt x="144" y="966"/>
                  </a:lnTo>
                  <a:lnTo>
                    <a:pt x="138" y="966"/>
                  </a:lnTo>
                  <a:lnTo>
                    <a:pt x="138" y="954"/>
                  </a:lnTo>
                  <a:lnTo>
                    <a:pt x="132" y="954"/>
                  </a:lnTo>
                  <a:lnTo>
                    <a:pt x="138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8" y="924"/>
                  </a:lnTo>
                  <a:lnTo>
                    <a:pt x="132" y="930"/>
                  </a:lnTo>
                  <a:lnTo>
                    <a:pt x="132" y="924"/>
                  </a:lnTo>
                  <a:lnTo>
                    <a:pt x="126" y="918"/>
                  </a:lnTo>
                  <a:lnTo>
                    <a:pt x="132" y="918"/>
                  </a:lnTo>
                  <a:lnTo>
                    <a:pt x="132" y="912"/>
                  </a:lnTo>
                  <a:lnTo>
                    <a:pt x="126" y="912"/>
                  </a:lnTo>
                  <a:lnTo>
                    <a:pt x="120" y="912"/>
                  </a:lnTo>
                  <a:lnTo>
                    <a:pt x="120" y="918"/>
                  </a:lnTo>
                  <a:lnTo>
                    <a:pt x="114" y="918"/>
                  </a:lnTo>
                  <a:lnTo>
                    <a:pt x="114" y="912"/>
                  </a:lnTo>
                  <a:lnTo>
                    <a:pt x="108" y="912"/>
                  </a:lnTo>
                  <a:lnTo>
                    <a:pt x="102" y="912"/>
                  </a:lnTo>
                  <a:lnTo>
                    <a:pt x="108" y="906"/>
                  </a:lnTo>
                  <a:lnTo>
                    <a:pt x="102" y="906"/>
                  </a:lnTo>
                  <a:lnTo>
                    <a:pt x="96" y="906"/>
                  </a:lnTo>
                  <a:lnTo>
                    <a:pt x="96" y="912"/>
                  </a:lnTo>
                  <a:lnTo>
                    <a:pt x="90" y="918"/>
                  </a:lnTo>
                  <a:lnTo>
                    <a:pt x="90" y="912"/>
                  </a:lnTo>
                  <a:lnTo>
                    <a:pt x="84" y="912"/>
                  </a:lnTo>
                  <a:lnTo>
                    <a:pt x="84" y="918"/>
                  </a:lnTo>
                  <a:lnTo>
                    <a:pt x="78" y="918"/>
                  </a:lnTo>
                  <a:lnTo>
                    <a:pt x="78" y="912"/>
                  </a:lnTo>
                  <a:lnTo>
                    <a:pt x="78" y="906"/>
                  </a:lnTo>
                  <a:lnTo>
                    <a:pt x="72" y="900"/>
                  </a:lnTo>
                  <a:lnTo>
                    <a:pt x="78" y="900"/>
                  </a:lnTo>
                  <a:lnTo>
                    <a:pt x="72" y="900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8" y="888"/>
                  </a:lnTo>
                  <a:lnTo>
                    <a:pt x="72" y="888"/>
                  </a:lnTo>
                  <a:lnTo>
                    <a:pt x="72" y="882"/>
                  </a:lnTo>
                  <a:lnTo>
                    <a:pt x="66" y="876"/>
                  </a:lnTo>
                  <a:lnTo>
                    <a:pt x="60" y="882"/>
                  </a:lnTo>
                  <a:lnTo>
                    <a:pt x="54" y="876"/>
                  </a:lnTo>
                  <a:lnTo>
                    <a:pt x="54" y="882"/>
                  </a:lnTo>
                  <a:lnTo>
                    <a:pt x="48" y="882"/>
                  </a:lnTo>
                  <a:lnTo>
                    <a:pt x="42" y="870"/>
                  </a:lnTo>
                  <a:lnTo>
                    <a:pt x="42" y="864"/>
                  </a:lnTo>
                  <a:lnTo>
                    <a:pt x="36" y="858"/>
                  </a:lnTo>
                  <a:lnTo>
                    <a:pt x="36" y="852"/>
                  </a:lnTo>
                  <a:lnTo>
                    <a:pt x="30" y="852"/>
                  </a:lnTo>
                  <a:lnTo>
                    <a:pt x="30" y="846"/>
                  </a:lnTo>
                  <a:lnTo>
                    <a:pt x="24" y="846"/>
                  </a:lnTo>
                  <a:lnTo>
                    <a:pt x="18" y="840"/>
                  </a:lnTo>
                  <a:lnTo>
                    <a:pt x="12" y="834"/>
                  </a:lnTo>
                  <a:lnTo>
                    <a:pt x="0" y="828"/>
                  </a:lnTo>
                  <a:lnTo>
                    <a:pt x="0" y="822"/>
                  </a:lnTo>
                  <a:lnTo>
                    <a:pt x="0" y="816"/>
                  </a:lnTo>
                  <a:lnTo>
                    <a:pt x="0" y="810"/>
                  </a:lnTo>
                  <a:lnTo>
                    <a:pt x="6" y="804"/>
                  </a:lnTo>
                  <a:lnTo>
                    <a:pt x="12" y="804"/>
                  </a:lnTo>
                  <a:lnTo>
                    <a:pt x="12" y="798"/>
                  </a:lnTo>
                  <a:lnTo>
                    <a:pt x="12" y="792"/>
                  </a:lnTo>
                  <a:lnTo>
                    <a:pt x="6" y="792"/>
                  </a:lnTo>
                  <a:lnTo>
                    <a:pt x="6" y="786"/>
                  </a:lnTo>
                  <a:lnTo>
                    <a:pt x="6" y="780"/>
                  </a:lnTo>
                  <a:lnTo>
                    <a:pt x="18" y="780"/>
                  </a:lnTo>
                  <a:lnTo>
                    <a:pt x="18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0" y="774"/>
                  </a:lnTo>
                  <a:lnTo>
                    <a:pt x="36" y="768"/>
                  </a:lnTo>
                  <a:lnTo>
                    <a:pt x="42" y="768"/>
                  </a:lnTo>
                  <a:lnTo>
                    <a:pt x="60" y="750"/>
                  </a:lnTo>
                  <a:lnTo>
                    <a:pt x="60" y="744"/>
                  </a:lnTo>
                  <a:lnTo>
                    <a:pt x="54" y="738"/>
                  </a:lnTo>
                  <a:lnTo>
                    <a:pt x="60" y="732"/>
                  </a:lnTo>
                  <a:lnTo>
                    <a:pt x="54" y="732"/>
                  </a:lnTo>
                  <a:lnTo>
                    <a:pt x="60" y="726"/>
                  </a:lnTo>
                  <a:lnTo>
                    <a:pt x="66" y="720"/>
                  </a:lnTo>
                  <a:lnTo>
                    <a:pt x="72" y="714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84" y="696"/>
                  </a:lnTo>
                  <a:lnTo>
                    <a:pt x="90" y="684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66"/>
                  </a:lnTo>
                  <a:lnTo>
                    <a:pt x="90" y="660"/>
                  </a:lnTo>
                  <a:lnTo>
                    <a:pt x="84" y="654"/>
                  </a:lnTo>
                  <a:lnTo>
                    <a:pt x="84" y="648"/>
                  </a:lnTo>
                  <a:lnTo>
                    <a:pt x="78" y="636"/>
                  </a:lnTo>
                  <a:lnTo>
                    <a:pt x="66" y="630"/>
                  </a:lnTo>
                  <a:lnTo>
                    <a:pt x="66" y="624"/>
                  </a:lnTo>
                  <a:lnTo>
                    <a:pt x="60" y="624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60" y="600"/>
                  </a:lnTo>
                  <a:lnTo>
                    <a:pt x="66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6" y="588"/>
                  </a:lnTo>
                  <a:lnTo>
                    <a:pt x="66" y="582"/>
                  </a:lnTo>
                  <a:lnTo>
                    <a:pt x="72" y="582"/>
                  </a:lnTo>
                  <a:lnTo>
                    <a:pt x="78" y="576"/>
                  </a:lnTo>
                  <a:lnTo>
                    <a:pt x="72" y="576"/>
                  </a:lnTo>
                  <a:lnTo>
                    <a:pt x="66" y="570"/>
                  </a:lnTo>
                  <a:lnTo>
                    <a:pt x="72" y="564"/>
                  </a:lnTo>
                  <a:lnTo>
                    <a:pt x="78" y="558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90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102" y="516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0" y="504"/>
                  </a:lnTo>
                  <a:lnTo>
                    <a:pt x="120" y="498"/>
                  </a:lnTo>
                  <a:lnTo>
                    <a:pt x="120" y="492"/>
                  </a:lnTo>
                  <a:lnTo>
                    <a:pt x="126" y="480"/>
                  </a:lnTo>
                  <a:lnTo>
                    <a:pt x="132" y="474"/>
                  </a:lnTo>
                  <a:lnTo>
                    <a:pt x="132" y="468"/>
                  </a:lnTo>
                  <a:lnTo>
                    <a:pt x="138" y="462"/>
                  </a:lnTo>
                  <a:lnTo>
                    <a:pt x="138" y="456"/>
                  </a:lnTo>
                  <a:lnTo>
                    <a:pt x="138" y="450"/>
                  </a:lnTo>
                  <a:lnTo>
                    <a:pt x="144" y="444"/>
                  </a:lnTo>
                  <a:lnTo>
                    <a:pt x="162" y="438"/>
                  </a:lnTo>
                  <a:lnTo>
                    <a:pt x="186" y="438"/>
                  </a:lnTo>
                  <a:lnTo>
                    <a:pt x="210" y="444"/>
                  </a:lnTo>
                  <a:lnTo>
                    <a:pt x="276" y="450"/>
                  </a:lnTo>
                  <a:lnTo>
                    <a:pt x="342" y="450"/>
                  </a:lnTo>
                  <a:lnTo>
                    <a:pt x="348" y="450"/>
                  </a:lnTo>
                  <a:lnTo>
                    <a:pt x="354" y="450"/>
                  </a:lnTo>
                  <a:lnTo>
                    <a:pt x="360" y="456"/>
                  </a:lnTo>
                  <a:lnTo>
                    <a:pt x="354" y="462"/>
                  </a:lnTo>
                  <a:lnTo>
                    <a:pt x="354" y="468"/>
                  </a:lnTo>
                  <a:lnTo>
                    <a:pt x="354" y="474"/>
                  </a:lnTo>
                  <a:lnTo>
                    <a:pt x="348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48" y="498"/>
                  </a:lnTo>
                  <a:lnTo>
                    <a:pt x="342" y="510"/>
                  </a:lnTo>
                  <a:lnTo>
                    <a:pt x="348" y="528"/>
                  </a:lnTo>
                  <a:lnTo>
                    <a:pt x="348" y="534"/>
                  </a:lnTo>
                  <a:lnTo>
                    <a:pt x="354" y="552"/>
                  </a:lnTo>
                  <a:lnTo>
                    <a:pt x="366" y="546"/>
                  </a:lnTo>
                  <a:lnTo>
                    <a:pt x="372" y="540"/>
                  </a:lnTo>
                  <a:lnTo>
                    <a:pt x="384" y="540"/>
                  </a:lnTo>
                  <a:lnTo>
                    <a:pt x="396" y="534"/>
                  </a:lnTo>
                  <a:lnTo>
                    <a:pt x="402" y="534"/>
                  </a:lnTo>
                  <a:lnTo>
                    <a:pt x="414" y="546"/>
                  </a:lnTo>
                  <a:lnTo>
                    <a:pt x="432" y="540"/>
                  </a:lnTo>
                  <a:lnTo>
                    <a:pt x="450" y="534"/>
                  </a:lnTo>
                  <a:lnTo>
                    <a:pt x="450" y="528"/>
                  </a:lnTo>
                  <a:lnTo>
                    <a:pt x="456" y="528"/>
                  </a:lnTo>
                  <a:lnTo>
                    <a:pt x="456" y="522"/>
                  </a:lnTo>
                  <a:lnTo>
                    <a:pt x="456" y="516"/>
                  </a:lnTo>
                  <a:lnTo>
                    <a:pt x="462" y="516"/>
                  </a:lnTo>
                  <a:lnTo>
                    <a:pt x="468" y="510"/>
                  </a:lnTo>
                  <a:lnTo>
                    <a:pt x="468" y="504"/>
                  </a:lnTo>
                  <a:lnTo>
                    <a:pt x="474" y="504"/>
                  </a:lnTo>
                  <a:lnTo>
                    <a:pt x="480" y="504"/>
                  </a:lnTo>
                  <a:lnTo>
                    <a:pt x="486" y="498"/>
                  </a:lnTo>
                  <a:lnTo>
                    <a:pt x="492" y="498"/>
                  </a:lnTo>
                  <a:lnTo>
                    <a:pt x="486" y="480"/>
                  </a:lnTo>
                  <a:lnTo>
                    <a:pt x="492" y="462"/>
                  </a:lnTo>
                  <a:lnTo>
                    <a:pt x="498" y="444"/>
                  </a:lnTo>
                  <a:lnTo>
                    <a:pt x="498" y="426"/>
                  </a:lnTo>
                  <a:lnTo>
                    <a:pt x="498" y="420"/>
                  </a:lnTo>
                  <a:lnTo>
                    <a:pt x="504" y="426"/>
                  </a:lnTo>
                  <a:lnTo>
                    <a:pt x="504" y="420"/>
                  </a:lnTo>
                  <a:lnTo>
                    <a:pt x="510" y="420"/>
                  </a:lnTo>
                  <a:lnTo>
                    <a:pt x="510" y="414"/>
                  </a:lnTo>
                  <a:lnTo>
                    <a:pt x="510" y="408"/>
                  </a:lnTo>
                  <a:lnTo>
                    <a:pt x="504" y="402"/>
                  </a:lnTo>
                  <a:lnTo>
                    <a:pt x="504" y="396"/>
                  </a:lnTo>
                  <a:lnTo>
                    <a:pt x="504" y="384"/>
                  </a:lnTo>
                  <a:lnTo>
                    <a:pt x="504" y="378"/>
                  </a:lnTo>
                  <a:lnTo>
                    <a:pt x="504" y="360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510" y="348"/>
                  </a:lnTo>
                  <a:lnTo>
                    <a:pt x="510" y="336"/>
                  </a:lnTo>
                  <a:lnTo>
                    <a:pt x="516" y="330"/>
                  </a:lnTo>
                  <a:lnTo>
                    <a:pt x="522" y="324"/>
                  </a:lnTo>
                  <a:lnTo>
                    <a:pt x="528" y="318"/>
                  </a:lnTo>
                  <a:lnTo>
                    <a:pt x="534" y="312"/>
                  </a:lnTo>
                  <a:lnTo>
                    <a:pt x="534" y="300"/>
                  </a:lnTo>
                  <a:lnTo>
                    <a:pt x="540" y="294"/>
                  </a:lnTo>
                  <a:lnTo>
                    <a:pt x="546" y="288"/>
                  </a:lnTo>
                  <a:lnTo>
                    <a:pt x="552" y="276"/>
                  </a:lnTo>
                  <a:lnTo>
                    <a:pt x="558" y="264"/>
                  </a:lnTo>
                  <a:lnTo>
                    <a:pt x="558" y="258"/>
                  </a:lnTo>
                  <a:lnTo>
                    <a:pt x="558" y="252"/>
                  </a:lnTo>
                  <a:lnTo>
                    <a:pt x="558" y="246"/>
                  </a:lnTo>
                  <a:lnTo>
                    <a:pt x="564" y="246"/>
                  </a:lnTo>
                  <a:lnTo>
                    <a:pt x="564" y="240"/>
                  </a:lnTo>
                  <a:lnTo>
                    <a:pt x="570" y="234"/>
                  </a:lnTo>
                  <a:lnTo>
                    <a:pt x="564" y="216"/>
                  </a:lnTo>
                  <a:lnTo>
                    <a:pt x="564" y="210"/>
                  </a:lnTo>
                  <a:lnTo>
                    <a:pt x="570" y="210"/>
                  </a:lnTo>
                  <a:lnTo>
                    <a:pt x="570" y="204"/>
                  </a:lnTo>
                  <a:lnTo>
                    <a:pt x="570" y="198"/>
                  </a:lnTo>
                  <a:lnTo>
                    <a:pt x="582" y="180"/>
                  </a:lnTo>
                  <a:lnTo>
                    <a:pt x="582" y="174"/>
                  </a:lnTo>
                  <a:lnTo>
                    <a:pt x="582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606" y="150"/>
                  </a:lnTo>
                  <a:lnTo>
                    <a:pt x="612" y="150"/>
                  </a:lnTo>
                  <a:lnTo>
                    <a:pt x="618" y="150"/>
                  </a:lnTo>
                  <a:lnTo>
                    <a:pt x="624" y="138"/>
                  </a:lnTo>
                  <a:lnTo>
                    <a:pt x="618" y="132"/>
                  </a:lnTo>
                  <a:lnTo>
                    <a:pt x="618" y="126"/>
                  </a:lnTo>
                  <a:lnTo>
                    <a:pt x="618" y="120"/>
                  </a:lnTo>
                  <a:lnTo>
                    <a:pt x="618" y="114"/>
                  </a:lnTo>
                  <a:lnTo>
                    <a:pt x="612" y="108"/>
                  </a:lnTo>
                  <a:lnTo>
                    <a:pt x="612" y="102"/>
                  </a:lnTo>
                  <a:lnTo>
                    <a:pt x="618" y="90"/>
                  </a:lnTo>
                  <a:lnTo>
                    <a:pt x="624" y="84"/>
                  </a:lnTo>
                  <a:lnTo>
                    <a:pt x="618" y="84"/>
                  </a:lnTo>
                  <a:lnTo>
                    <a:pt x="618" y="78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0" y="72"/>
                  </a:lnTo>
                  <a:lnTo>
                    <a:pt x="600" y="66"/>
                  </a:lnTo>
                  <a:lnTo>
                    <a:pt x="600" y="60"/>
                  </a:lnTo>
                  <a:lnTo>
                    <a:pt x="600" y="48"/>
                  </a:lnTo>
                  <a:lnTo>
                    <a:pt x="612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36"/>
                  </a:lnTo>
                  <a:lnTo>
                    <a:pt x="630" y="30"/>
                  </a:lnTo>
                  <a:lnTo>
                    <a:pt x="636" y="24"/>
                  </a:lnTo>
                  <a:lnTo>
                    <a:pt x="642" y="24"/>
                  </a:lnTo>
                  <a:lnTo>
                    <a:pt x="648" y="24"/>
                  </a:lnTo>
                  <a:lnTo>
                    <a:pt x="648" y="18"/>
                  </a:lnTo>
                  <a:lnTo>
                    <a:pt x="654" y="12"/>
                  </a:lnTo>
                  <a:lnTo>
                    <a:pt x="660" y="0"/>
                  </a:lnTo>
                  <a:lnTo>
                    <a:pt x="678" y="0"/>
                  </a:lnTo>
                  <a:lnTo>
                    <a:pt x="696" y="0"/>
                  </a:lnTo>
                  <a:lnTo>
                    <a:pt x="702" y="0"/>
                  </a:lnTo>
                  <a:lnTo>
                    <a:pt x="714" y="0"/>
                  </a:lnTo>
                  <a:lnTo>
                    <a:pt x="720" y="6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44" y="24"/>
                  </a:lnTo>
                  <a:lnTo>
                    <a:pt x="744" y="30"/>
                  </a:lnTo>
                  <a:lnTo>
                    <a:pt x="732" y="42"/>
                  </a:lnTo>
                  <a:lnTo>
                    <a:pt x="726" y="42"/>
                  </a:lnTo>
                  <a:lnTo>
                    <a:pt x="720" y="42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54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90"/>
                  </a:lnTo>
                  <a:lnTo>
                    <a:pt x="726" y="84"/>
                  </a:lnTo>
                  <a:lnTo>
                    <a:pt x="738" y="84"/>
                  </a:lnTo>
                  <a:lnTo>
                    <a:pt x="750" y="96"/>
                  </a:lnTo>
                  <a:lnTo>
                    <a:pt x="768" y="96"/>
                  </a:lnTo>
                  <a:lnTo>
                    <a:pt x="768" y="90"/>
                  </a:lnTo>
                  <a:lnTo>
                    <a:pt x="774" y="84"/>
                  </a:lnTo>
                  <a:lnTo>
                    <a:pt x="780" y="78"/>
                  </a:lnTo>
                  <a:lnTo>
                    <a:pt x="786" y="78"/>
                  </a:lnTo>
                  <a:lnTo>
                    <a:pt x="792" y="72"/>
                  </a:lnTo>
                  <a:lnTo>
                    <a:pt x="804" y="72"/>
                  </a:lnTo>
                  <a:lnTo>
                    <a:pt x="804" y="66"/>
                  </a:lnTo>
                  <a:lnTo>
                    <a:pt x="810" y="66"/>
                  </a:lnTo>
                  <a:lnTo>
                    <a:pt x="810" y="72"/>
                  </a:lnTo>
                  <a:lnTo>
                    <a:pt x="816" y="66"/>
                  </a:lnTo>
                  <a:lnTo>
                    <a:pt x="828" y="66"/>
                  </a:lnTo>
                  <a:lnTo>
                    <a:pt x="834" y="72"/>
                  </a:lnTo>
                  <a:lnTo>
                    <a:pt x="840" y="72"/>
                  </a:lnTo>
                  <a:lnTo>
                    <a:pt x="840" y="78"/>
                  </a:lnTo>
                  <a:lnTo>
                    <a:pt x="840" y="84"/>
                  </a:lnTo>
                  <a:lnTo>
                    <a:pt x="852" y="84"/>
                  </a:lnTo>
                  <a:lnTo>
                    <a:pt x="858" y="96"/>
                  </a:lnTo>
                  <a:lnTo>
                    <a:pt x="864" y="108"/>
                  </a:lnTo>
                  <a:lnTo>
                    <a:pt x="876" y="114"/>
                  </a:lnTo>
                  <a:lnTo>
                    <a:pt x="894" y="114"/>
                  </a:lnTo>
                  <a:lnTo>
                    <a:pt x="906" y="114"/>
                  </a:lnTo>
                  <a:lnTo>
                    <a:pt x="906" y="126"/>
                  </a:lnTo>
                  <a:lnTo>
                    <a:pt x="912" y="144"/>
                  </a:lnTo>
                  <a:lnTo>
                    <a:pt x="930" y="138"/>
                  </a:lnTo>
                  <a:lnTo>
                    <a:pt x="936" y="138"/>
                  </a:lnTo>
                  <a:lnTo>
                    <a:pt x="942" y="144"/>
                  </a:lnTo>
                  <a:lnTo>
                    <a:pt x="948" y="150"/>
                  </a:lnTo>
                  <a:lnTo>
                    <a:pt x="954" y="156"/>
                  </a:lnTo>
                  <a:lnTo>
                    <a:pt x="954" y="168"/>
                  </a:lnTo>
                  <a:lnTo>
                    <a:pt x="954" y="174"/>
                  </a:lnTo>
                  <a:lnTo>
                    <a:pt x="960" y="180"/>
                  </a:lnTo>
                  <a:lnTo>
                    <a:pt x="966" y="186"/>
                  </a:lnTo>
                  <a:lnTo>
                    <a:pt x="960" y="186"/>
                  </a:lnTo>
                  <a:lnTo>
                    <a:pt x="966" y="192"/>
                  </a:lnTo>
                  <a:lnTo>
                    <a:pt x="966" y="198"/>
                  </a:lnTo>
                  <a:lnTo>
                    <a:pt x="978" y="204"/>
                  </a:lnTo>
                  <a:lnTo>
                    <a:pt x="1050" y="186"/>
                  </a:lnTo>
                  <a:lnTo>
                    <a:pt x="1056" y="198"/>
                  </a:lnTo>
                  <a:lnTo>
                    <a:pt x="1068" y="210"/>
                  </a:lnTo>
                  <a:lnTo>
                    <a:pt x="1074" y="216"/>
                  </a:lnTo>
                  <a:lnTo>
                    <a:pt x="1080" y="252"/>
                  </a:lnTo>
                  <a:lnTo>
                    <a:pt x="1086" y="270"/>
                  </a:lnTo>
                  <a:lnTo>
                    <a:pt x="1092" y="282"/>
                  </a:lnTo>
                  <a:lnTo>
                    <a:pt x="1086" y="300"/>
                  </a:lnTo>
                  <a:lnTo>
                    <a:pt x="1074" y="330"/>
                  </a:lnTo>
                  <a:lnTo>
                    <a:pt x="1068" y="336"/>
                  </a:lnTo>
                  <a:lnTo>
                    <a:pt x="1062" y="348"/>
                  </a:lnTo>
                  <a:lnTo>
                    <a:pt x="1062" y="360"/>
                  </a:lnTo>
                  <a:lnTo>
                    <a:pt x="1068" y="378"/>
                  </a:lnTo>
                  <a:lnTo>
                    <a:pt x="1074" y="390"/>
                  </a:lnTo>
                  <a:lnTo>
                    <a:pt x="1068" y="396"/>
                  </a:lnTo>
                  <a:lnTo>
                    <a:pt x="1068" y="408"/>
                  </a:lnTo>
                  <a:lnTo>
                    <a:pt x="1062" y="414"/>
                  </a:lnTo>
                  <a:lnTo>
                    <a:pt x="1050" y="432"/>
                  </a:lnTo>
                  <a:lnTo>
                    <a:pt x="1044" y="450"/>
                  </a:lnTo>
                  <a:lnTo>
                    <a:pt x="1038" y="456"/>
                  </a:lnTo>
                  <a:lnTo>
                    <a:pt x="1026" y="468"/>
                  </a:lnTo>
                  <a:lnTo>
                    <a:pt x="1026" y="474"/>
                  </a:lnTo>
                  <a:lnTo>
                    <a:pt x="1026" y="480"/>
                  </a:lnTo>
                  <a:lnTo>
                    <a:pt x="1032" y="492"/>
                  </a:lnTo>
                  <a:lnTo>
                    <a:pt x="1044" y="504"/>
                  </a:lnTo>
                  <a:lnTo>
                    <a:pt x="1044" y="516"/>
                  </a:lnTo>
                  <a:lnTo>
                    <a:pt x="1038" y="528"/>
                  </a:lnTo>
                  <a:lnTo>
                    <a:pt x="1032" y="546"/>
                  </a:lnTo>
                  <a:lnTo>
                    <a:pt x="1032" y="570"/>
                  </a:lnTo>
                  <a:lnTo>
                    <a:pt x="1050" y="594"/>
                  </a:lnTo>
                  <a:lnTo>
                    <a:pt x="1056" y="624"/>
                  </a:lnTo>
                  <a:lnTo>
                    <a:pt x="1056" y="65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9" name="Freeform 24">
              <a:extLst>
                <a:ext uri="{FF2B5EF4-FFF2-40B4-BE49-F238E27FC236}">
                  <a16:creationId xmlns:a16="http://schemas.microsoft.com/office/drawing/2014/main" id="{CAE689DA-332A-4F73-BDE6-8865C9170AA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84829" y="3213406"/>
              <a:ext cx="851989" cy="744754"/>
            </a:xfrm>
            <a:custGeom>
              <a:avLst/>
              <a:gdLst>
                <a:gd name="T0" fmla="*/ 116 w 1602"/>
                <a:gd name="T1" fmla="*/ 91 h 1404"/>
                <a:gd name="T2" fmla="*/ 111 w 1602"/>
                <a:gd name="T3" fmla="*/ 95 h 1404"/>
                <a:gd name="T4" fmla="*/ 102 w 1602"/>
                <a:gd name="T5" fmla="*/ 101 h 1404"/>
                <a:gd name="T6" fmla="*/ 99 w 1602"/>
                <a:gd name="T7" fmla="*/ 103 h 1404"/>
                <a:gd name="T8" fmla="*/ 96 w 1602"/>
                <a:gd name="T9" fmla="*/ 106 h 1404"/>
                <a:gd name="T10" fmla="*/ 93 w 1602"/>
                <a:gd name="T11" fmla="*/ 108 h 1404"/>
                <a:gd name="T12" fmla="*/ 88 w 1602"/>
                <a:gd name="T13" fmla="*/ 106 h 1404"/>
                <a:gd name="T14" fmla="*/ 86 w 1602"/>
                <a:gd name="T15" fmla="*/ 108 h 1404"/>
                <a:gd name="T16" fmla="*/ 81 w 1602"/>
                <a:gd name="T17" fmla="*/ 119 h 1404"/>
                <a:gd name="T18" fmla="*/ 71 w 1602"/>
                <a:gd name="T19" fmla="*/ 109 h 1404"/>
                <a:gd name="T20" fmla="*/ 72 w 1602"/>
                <a:gd name="T21" fmla="*/ 101 h 1404"/>
                <a:gd name="T22" fmla="*/ 74 w 1602"/>
                <a:gd name="T23" fmla="*/ 93 h 1404"/>
                <a:gd name="T24" fmla="*/ 73 w 1602"/>
                <a:gd name="T25" fmla="*/ 82 h 1404"/>
                <a:gd name="T26" fmla="*/ 64 w 1602"/>
                <a:gd name="T27" fmla="*/ 79 h 1404"/>
                <a:gd name="T28" fmla="*/ 59 w 1602"/>
                <a:gd name="T29" fmla="*/ 75 h 1404"/>
                <a:gd name="T30" fmla="*/ 54 w 1602"/>
                <a:gd name="T31" fmla="*/ 71 h 1404"/>
                <a:gd name="T32" fmla="*/ 51 w 1602"/>
                <a:gd name="T33" fmla="*/ 70 h 1404"/>
                <a:gd name="T34" fmla="*/ 45 w 1602"/>
                <a:gd name="T35" fmla="*/ 71 h 1404"/>
                <a:gd name="T36" fmla="*/ 43 w 1602"/>
                <a:gd name="T37" fmla="*/ 68 h 1404"/>
                <a:gd name="T38" fmla="*/ 43 w 1602"/>
                <a:gd name="T39" fmla="*/ 64 h 1404"/>
                <a:gd name="T40" fmla="*/ 36 w 1602"/>
                <a:gd name="T41" fmla="*/ 66 h 1404"/>
                <a:gd name="T42" fmla="*/ 31 w 1602"/>
                <a:gd name="T43" fmla="*/ 55 h 1404"/>
                <a:gd name="T44" fmla="*/ 25 w 1602"/>
                <a:gd name="T45" fmla="*/ 53 h 1404"/>
                <a:gd name="T46" fmla="*/ 19 w 1602"/>
                <a:gd name="T47" fmla="*/ 51 h 1404"/>
                <a:gd name="T48" fmla="*/ 17 w 1602"/>
                <a:gd name="T49" fmla="*/ 43 h 1404"/>
                <a:gd name="T50" fmla="*/ 17 w 1602"/>
                <a:gd name="T51" fmla="*/ 39 h 1404"/>
                <a:gd name="T52" fmla="*/ 12 w 1602"/>
                <a:gd name="T53" fmla="*/ 39 h 1404"/>
                <a:gd name="T54" fmla="*/ 10 w 1602"/>
                <a:gd name="T55" fmla="*/ 35 h 1404"/>
                <a:gd name="T56" fmla="*/ 5 w 1602"/>
                <a:gd name="T57" fmla="*/ 30 h 1404"/>
                <a:gd name="T58" fmla="*/ 3 w 1602"/>
                <a:gd name="T59" fmla="*/ 27 h 1404"/>
                <a:gd name="T60" fmla="*/ 2 w 1602"/>
                <a:gd name="T61" fmla="*/ 25 h 1404"/>
                <a:gd name="T62" fmla="*/ 0 w 1602"/>
                <a:gd name="T63" fmla="*/ 22 h 1404"/>
                <a:gd name="T64" fmla="*/ 8 w 1602"/>
                <a:gd name="T65" fmla="*/ 14 h 1404"/>
                <a:gd name="T66" fmla="*/ 16 w 1602"/>
                <a:gd name="T67" fmla="*/ 16 h 1404"/>
                <a:gd name="T68" fmla="*/ 31 w 1602"/>
                <a:gd name="T69" fmla="*/ 18 h 1404"/>
                <a:gd name="T70" fmla="*/ 43 w 1602"/>
                <a:gd name="T71" fmla="*/ 17 h 1404"/>
                <a:gd name="T72" fmla="*/ 47 w 1602"/>
                <a:gd name="T73" fmla="*/ 6 h 1404"/>
                <a:gd name="T74" fmla="*/ 52 w 1602"/>
                <a:gd name="T75" fmla="*/ 0 h 1404"/>
                <a:gd name="T76" fmla="*/ 55 w 1602"/>
                <a:gd name="T77" fmla="*/ 3 h 1404"/>
                <a:gd name="T78" fmla="*/ 59 w 1602"/>
                <a:gd name="T79" fmla="*/ 9 h 1404"/>
                <a:gd name="T80" fmla="*/ 62 w 1602"/>
                <a:gd name="T81" fmla="*/ 16 h 1404"/>
                <a:gd name="T82" fmla="*/ 66 w 1602"/>
                <a:gd name="T83" fmla="*/ 20 h 1404"/>
                <a:gd name="T84" fmla="*/ 70 w 1602"/>
                <a:gd name="T85" fmla="*/ 25 h 1404"/>
                <a:gd name="T86" fmla="*/ 74 w 1602"/>
                <a:gd name="T87" fmla="*/ 30 h 1404"/>
                <a:gd name="T88" fmla="*/ 76 w 1602"/>
                <a:gd name="T89" fmla="*/ 27 h 1404"/>
                <a:gd name="T90" fmla="*/ 78 w 1602"/>
                <a:gd name="T91" fmla="*/ 27 h 1404"/>
                <a:gd name="T92" fmla="*/ 78 w 1602"/>
                <a:gd name="T93" fmla="*/ 23 h 1404"/>
                <a:gd name="T94" fmla="*/ 82 w 1602"/>
                <a:gd name="T95" fmla="*/ 20 h 1404"/>
                <a:gd name="T96" fmla="*/ 82 w 1602"/>
                <a:gd name="T97" fmla="*/ 18 h 1404"/>
                <a:gd name="T98" fmla="*/ 90 w 1602"/>
                <a:gd name="T99" fmla="*/ 24 h 1404"/>
                <a:gd name="T100" fmla="*/ 90 w 1602"/>
                <a:gd name="T101" fmla="*/ 45 h 1404"/>
                <a:gd name="T102" fmla="*/ 104 w 1602"/>
                <a:gd name="T103" fmla="*/ 41 h 1404"/>
                <a:gd name="T104" fmla="*/ 117 w 1602"/>
                <a:gd name="T105" fmla="*/ 39 h 1404"/>
                <a:gd name="T106" fmla="*/ 125 w 1602"/>
                <a:gd name="T107" fmla="*/ 39 h 1404"/>
                <a:gd name="T108" fmla="*/ 127 w 1602"/>
                <a:gd name="T109" fmla="*/ 43 h 1404"/>
                <a:gd name="T110" fmla="*/ 131 w 1602"/>
                <a:gd name="T111" fmla="*/ 53 h 1404"/>
                <a:gd name="T112" fmla="*/ 133 w 1602"/>
                <a:gd name="T113" fmla="*/ 60 h 1404"/>
                <a:gd name="T114" fmla="*/ 138 w 1602"/>
                <a:gd name="T115" fmla="*/ 73 h 1404"/>
                <a:gd name="T116" fmla="*/ 136 w 1602"/>
                <a:gd name="T117" fmla="*/ 80 h 1404"/>
                <a:gd name="T118" fmla="*/ 129 w 1602"/>
                <a:gd name="T119" fmla="*/ 87 h 1404"/>
                <a:gd name="T120" fmla="*/ 123 w 1602"/>
                <a:gd name="T121" fmla="*/ 95 h 14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02"/>
                <a:gd name="T184" fmla="*/ 0 h 1404"/>
                <a:gd name="T185" fmla="*/ 1602 w 1602"/>
                <a:gd name="T186" fmla="*/ 1404 h 14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02" h="1404">
                  <a:moveTo>
                    <a:pt x="1392" y="1080"/>
                  </a:moveTo>
                  <a:lnTo>
                    <a:pt x="1380" y="1074"/>
                  </a:lnTo>
                  <a:lnTo>
                    <a:pt x="1368" y="1056"/>
                  </a:lnTo>
                  <a:lnTo>
                    <a:pt x="1356" y="1044"/>
                  </a:lnTo>
                  <a:lnTo>
                    <a:pt x="1344" y="1038"/>
                  </a:lnTo>
                  <a:lnTo>
                    <a:pt x="1338" y="1038"/>
                  </a:lnTo>
                  <a:lnTo>
                    <a:pt x="1332" y="1038"/>
                  </a:lnTo>
                  <a:lnTo>
                    <a:pt x="1326" y="1044"/>
                  </a:lnTo>
                  <a:lnTo>
                    <a:pt x="1320" y="1044"/>
                  </a:lnTo>
                  <a:lnTo>
                    <a:pt x="1314" y="1044"/>
                  </a:lnTo>
                  <a:lnTo>
                    <a:pt x="1296" y="1056"/>
                  </a:lnTo>
                  <a:lnTo>
                    <a:pt x="1296" y="1080"/>
                  </a:lnTo>
                  <a:lnTo>
                    <a:pt x="1290" y="1080"/>
                  </a:lnTo>
                  <a:lnTo>
                    <a:pt x="1284" y="1086"/>
                  </a:lnTo>
                  <a:lnTo>
                    <a:pt x="1278" y="1086"/>
                  </a:lnTo>
                  <a:lnTo>
                    <a:pt x="1278" y="1092"/>
                  </a:lnTo>
                  <a:lnTo>
                    <a:pt x="1272" y="1092"/>
                  </a:lnTo>
                  <a:lnTo>
                    <a:pt x="1266" y="1086"/>
                  </a:lnTo>
                  <a:lnTo>
                    <a:pt x="1260" y="1086"/>
                  </a:lnTo>
                  <a:lnTo>
                    <a:pt x="1260" y="1098"/>
                  </a:lnTo>
                  <a:lnTo>
                    <a:pt x="1248" y="1098"/>
                  </a:lnTo>
                  <a:lnTo>
                    <a:pt x="1212" y="1116"/>
                  </a:lnTo>
                  <a:lnTo>
                    <a:pt x="1206" y="1158"/>
                  </a:lnTo>
                  <a:lnTo>
                    <a:pt x="1176" y="1164"/>
                  </a:lnTo>
                  <a:lnTo>
                    <a:pt x="1158" y="1164"/>
                  </a:lnTo>
                  <a:lnTo>
                    <a:pt x="1152" y="1164"/>
                  </a:lnTo>
                  <a:lnTo>
                    <a:pt x="1152" y="1170"/>
                  </a:lnTo>
                  <a:lnTo>
                    <a:pt x="1152" y="1176"/>
                  </a:lnTo>
                  <a:lnTo>
                    <a:pt x="1146" y="1176"/>
                  </a:lnTo>
                  <a:lnTo>
                    <a:pt x="1140" y="1176"/>
                  </a:lnTo>
                  <a:lnTo>
                    <a:pt x="1134" y="1182"/>
                  </a:lnTo>
                  <a:lnTo>
                    <a:pt x="1134" y="1188"/>
                  </a:lnTo>
                  <a:lnTo>
                    <a:pt x="1128" y="1194"/>
                  </a:lnTo>
                  <a:lnTo>
                    <a:pt x="1122" y="1194"/>
                  </a:lnTo>
                  <a:lnTo>
                    <a:pt x="1116" y="1194"/>
                  </a:lnTo>
                  <a:lnTo>
                    <a:pt x="1110" y="1200"/>
                  </a:lnTo>
                  <a:lnTo>
                    <a:pt x="1110" y="1206"/>
                  </a:lnTo>
                  <a:lnTo>
                    <a:pt x="1104" y="1212"/>
                  </a:lnTo>
                  <a:lnTo>
                    <a:pt x="1104" y="1218"/>
                  </a:lnTo>
                  <a:lnTo>
                    <a:pt x="1098" y="1224"/>
                  </a:lnTo>
                  <a:lnTo>
                    <a:pt x="1092" y="1230"/>
                  </a:lnTo>
                  <a:lnTo>
                    <a:pt x="1086" y="1230"/>
                  </a:lnTo>
                  <a:lnTo>
                    <a:pt x="1080" y="1230"/>
                  </a:lnTo>
                  <a:lnTo>
                    <a:pt x="1080" y="1242"/>
                  </a:lnTo>
                  <a:lnTo>
                    <a:pt x="1074" y="1242"/>
                  </a:lnTo>
                  <a:lnTo>
                    <a:pt x="1068" y="1242"/>
                  </a:lnTo>
                  <a:lnTo>
                    <a:pt x="1068" y="1236"/>
                  </a:lnTo>
                  <a:lnTo>
                    <a:pt x="1062" y="1242"/>
                  </a:lnTo>
                  <a:lnTo>
                    <a:pt x="1056" y="1236"/>
                  </a:lnTo>
                  <a:lnTo>
                    <a:pt x="1050" y="1242"/>
                  </a:lnTo>
                  <a:lnTo>
                    <a:pt x="1050" y="1236"/>
                  </a:lnTo>
                  <a:lnTo>
                    <a:pt x="1044" y="1194"/>
                  </a:lnTo>
                  <a:lnTo>
                    <a:pt x="1032" y="1194"/>
                  </a:lnTo>
                  <a:lnTo>
                    <a:pt x="1032" y="1200"/>
                  </a:lnTo>
                  <a:lnTo>
                    <a:pt x="1026" y="1200"/>
                  </a:lnTo>
                  <a:lnTo>
                    <a:pt x="1014" y="1218"/>
                  </a:lnTo>
                  <a:lnTo>
                    <a:pt x="1014" y="1224"/>
                  </a:lnTo>
                  <a:lnTo>
                    <a:pt x="1014" y="1236"/>
                  </a:lnTo>
                  <a:lnTo>
                    <a:pt x="1014" y="1242"/>
                  </a:lnTo>
                  <a:lnTo>
                    <a:pt x="1008" y="1242"/>
                  </a:lnTo>
                  <a:lnTo>
                    <a:pt x="1002" y="1236"/>
                  </a:lnTo>
                  <a:lnTo>
                    <a:pt x="1002" y="1230"/>
                  </a:lnTo>
                  <a:lnTo>
                    <a:pt x="996" y="1236"/>
                  </a:lnTo>
                  <a:lnTo>
                    <a:pt x="990" y="1236"/>
                  </a:lnTo>
                  <a:lnTo>
                    <a:pt x="990" y="1230"/>
                  </a:lnTo>
                  <a:lnTo>
                    <a:pt x="984" y="1236"/>
                  </a:lnTo>
                  <a:lnTo>
                    <a:pt x="978" y="1248"/>
                  </a:lnTo>
                  <a:lnTo>
                    <a:pt x="972" y="1254"/>
                  </a:lnTo>
                  <a:lnTo>
                    <a:pt x="966" y="1260"/>
                  </a:lnTo>
                  <a:lnTo>
                    <a:pt x="930" y="1284"/>
                  </a:lnTo>
                  <a:lnTo>
                    <a:pt x="942" y="1356"/>
                  </a:lnTo>
                  <a:lnTo>
                    <a:pt x="930" y="1368"/>
                  </a:lnTo>
                  <a:lnTo>
                    <a:pt x="852" y="1404"/>
                  </a:lnTo>
                  <a:lnTo>
                    <a:pt x="834" y="1392"/>
                  </a:lnTo>
                  <a:lnTo>
                    <a:pt x="834" y="1362"/>
                  </a:lnTo>
                  <a:lnTo>
                    <a:pt x="828" y="1332"/>
                  </a:lnTo>
                  <a:lnTo>
                    <a:pt x="810" y="1308"/>
                  </a:lnTo>
                  <a:lnTo>
                    <a:pt x="810" y="1284"/>
                  </a:lnTo>
                  <a:lnTo>
                    <a:pt x="816" y="1266"/>
                  </a:lnTo>
                  <a:lnTo>
                    <a:pt x="822" y="1254"/>
                  </a:lnTo>
                  <a:lnTo>
                    <a:pt x="822" y="1242"/>
                  </a:lnTo>
                  <a:lnTo>
                    <a:pt x="810" y="1230"/>
                  </a:lnTo>
                  <a:lnTo>
                    <a:pt x="804" y="1218"/>
                  </a:lnTo>
                  <a:lnTo>
                    <a:pt x="804" y="1212"/>
                  </a:lnTo>
                  <a:lnTo>
                    <a:pt x="804" y="1206"/>
                  </a:lnTo>
                  <a:lnTo>
                    <a:pt x="816" y="1194"/>
                  </a:lnTo>
                  <a:lnTo>
                    <a:pt x="822" y="1188"/>
                  </a:lnTo>
                  <a:lnTo>
                    <a:pt x="828" y="1170"/>
                  </a:lnTo>
                  <a:lnTo>
                    <a:pt x="840" y="1152"/>
                  </a:lnTo>
                  <a:lnTo>
                    <a:pt x="846" y="1146"/>
                  </a:lnTo>
                  <a:lnTo>
                    <a:pt x="846" y="1134"/>
                  </a:lnTo>
                  <a:lnTo>
                    <a:pt x="852" y="1128"/>
                  </a:lnTo>
                  <a:lnTo>
                    <a:pt x="846" y="1116"/>
                  </a:lnTo>
                  <a:lnTo>
                    <a:pt x="840" y="1098"/>
                  </a:lnTo>
                  <a:lnTo>
                    <a:pt x="840" y="1086"/>
                  </a:lnTo>
                  <a:lnTo>
                    <a:pt x="846" y="1074"/>
                  </a:lnTo>
                  <a:lnTo>
                    <a:pt x="852" y="1068"/>
                  </a:lnTo>
                  <a:lnTo>
                    <a:pt x="864" y="1038"/>
                  </a:lnTo>
                  <a:lnTo>
                    <a:pt x="870" y="1020"/>
                  </a:lnTo>
                  <a:lnTo>
                    <a:pt x="864" y="1008"/>
                  </a:lnTo>
                  <a:lnTo>
                    <a:pt x="858" y="990"/>
                  </a:lnTo>
                  <a:lnTo>
                    <a:pt x="852" y="954"/>
                  </a:lnTo>
                  <a:lnTo>
                    <a:pt x="846" y="948"/>
                  </a:lnTo>
                  <a:lnTo>
                    <a:pt x="834" y="936"/>
                  </a:lnTo>
                  <a:lnTo>
                    <a:pt x="828" y="924"/>
                  </a:lnTo>
                  <a:lnTo>
                    <a:pt x="756" y="942"/>
                  </a:lnTo>
                  <a:lnTo>
                    <a:pt x="744" y="936"/>
                  </a:lnTo>
                  <a:lnTo>
                    <a:pt x="744" y="930"/>
                  </a:lnTo>
                  <a:lnTo>
                    <a:pt x="738" y="924"/>
                  </a:lnTo>
                  <a:lnTo>
                    <a:pt x="744" y="924"/>
                  </a:lnTo>
                  <a:lnTo>
                    <a:pt x="738" y="918"/>
                  </a:lnTo>
                  <a:lnTo>
                    <a:pt x="732" y="912"/>
                  </a:lnTo>
                  <a:lnTo>
                    <a:pt x="732" y="906"/>
                  </a:lnTo>
                  <a:lnTo>
                    <a:pt x="732" y="894"/>
                  </a:lnTo>
                  <a:lnTo>
                    <a:pt x="726" y="888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6"/>
                  </a:lnTo>
                  <a:lnTo>
                    <a:pt x="690" y="882"/>
                  </a:lnTo>
                  <a:lnTo>
                    <a:pt x="684" y="864"/>
                  </a:lnTo>
                  <a:lnTo>
                    <a:pt x="684" y="852"/>
                  </a:lnTo>
                  <a:lnTo>
                    <a:pt x="672" y="852"/>
                  </a:lnTo>
                  <a:lnTo>
                    <a:pt x="654" y="852"/>
                  </a:lnTo>
                  <a:lnTo>
                    <a:pt x="642" y="846"/>
                  </a:lnTo>
                  <a:lnTo>
                    <a:pt x="636" y="834"/>
                  </a:lnTo>
                  <a:lnTo>
                    <a:pt x="630" y="822"/>
                  </a:lnTo>
                  <a:lnTo>
                    <a:pt x="618" y="822"/>
                  </a:lnTo>
                  <a:lnTo>
                    <a:pt x="618" y="816"/>
                  </a:lnTo>
                  <a:lnTo>
                    <a:pt x="618" y="810"/>
                  </a:lnTo>
                  <a:lnTo>
                    <a:pt x="612" y="810"/>
                  </a:lnTo>
                  <a:lnTo>
                    <a:pt x="606" y="804"/>
                  </a:lnTo>
                  <a:lnTo>
                    <a:pt x="594" y="804"/>
                  </a:lnTo>
                  <a:lnTo>
                    <a:pt x="588" y="810"/>
                  </a:lnTo>
                  <a:lnTo>
                    <a:pt x="588" y="804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70" y="810"/>
                  </a:lnTo>
                  <a:lnTo>
                    <a:pt x="564" y="816"/>
                  </a:lnTo>
                  <a:lnTo>
                    <a:pt x="558" y="816"/>
                  </a:lnTo>
                  <a:lnTo>
                    <a:pt x="552" y="822"/>
                  </a:lnTo>
                  <a:lnTo>
                    <a:pt x="546" y="828"/>
                  </a:lnTo>
                  <a:lnTo>
                    <a:pt x="546" y="834"/>
                  </a:lnTo>
                  <a:lnTo>
                    <a:pt x="528" y="834"/>
                  </a:lnTo>
                  <a:lnTo>
                    <a:pt x="516" y="822"/>
                  </a:lnTo>
                  <a:lnTo>
                    <a:pt x="504" y="822"/>
                  </a:lnTo>
                  <a:lnTo>
                    <a:pt x="492" y="82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6" y="792"/>
                  </a:lnTo>
                  <a:lnTo>
                    <a:pt x="492" y="786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504" y="780"/>
                  </a:lnTo>
                  <a:lnTo>
                    <a:pt x="510" y="780"/>
                  </a:lnTo>
                  <a:lnTo>
                    <a:pt x="522" y="768"/>
                  </a:lnTo>
                  <a:lnTo>
                    <a:pt x="522" y="762"/>
                  </a:lnTo>
                  <a:lnTo>
                    <a:pt x="504" y="756"/>
                  </a:lnTo>
                  <a:lnTo>
                    <a:pt x="498" y="756"/>
                  </a:lnTo>
                  <a:lnTo>
                    <a:pt x="498" y="744"/>
                  </a:lnTo>
                  <a:lnTo>
                    <a:pt x="492" y="738"/>
                  </a:lnTo>
                  <a:lnTo>
                    <a:pt x="480" y="738"/>
                  </a:lnTo>
                  <a:lnTo>
                    <a:pt x="474" y="738"/>
                  </a:lnTo>
                  <a:lnTo>
                    <a:pt x="456" y="738"/>
                  </a:lnTo>
                  <a:lnTo>
                    <a:pt x="438" y="738"/>
                  </a:lnTo>
                  <a:lnTo>
                    <a:pt x="432" y="750"/>
                  </a:lnTo>
                  <a:lnTo>
                    <a:pt x="426" y="756"/>
                  </a:lnTo>
                  <a:lnTo>
                    <a:pt x="426" y="762"/>
                  </a:lnTo>
                  <a:lnTo>
                    <a:pt x="420" y="762"/>
                  </a:lnTo>
                  <a:lnTo>
                    <a:pt x="408" y="744"/>
                  </a:lnTo>
                  <a:lnTo>
                    <a:pt x="408" y="732"/>
                  </a:lnTo>
                  <a:lnTo>
                    <a:pt x="390" y="714"/>
                  </a:lnTo>
                  <a:lnTo>
                    <a:pt x="384" y="702"/>
                  </a:lnTo>
                  <a:lnTo>
                    <a:pt x="384" y="690"/>
                  </a:lnTo>
                  <a:lnTo>
                    <a:pt x="372" y="690"/>
                  </a:lnTo>
                  <a:lnTo>
                    <a:pt x="366" y="660"/>
                  </a:lnTo>
                  <a:lnTo>
                    <a:pt x="354" y="630"/>
                  </a:lnTo>
                  <a:lnTo>
                    <a:pt x="348" y="630"/>
                  </a:lnTo>
                  <a:lnTo>
                    <a:pt x="336" y="630"/>
                  </a:lnTo>
                  <a:lnTo>
                    <a:pt x="330" y="630"/>
                  </a:lnTo>
                  <a:lnTo>
                    <a:pt x="318" y="630"/>
                  </a:lnTo>
                  <a:lnTo>
                    <a:pt x="312" y="624"/>
                  </a:lnTo>
                  <a:lnTo>
                    <a:pt x="306" y="624"/>
                  </a:lnTo>
                  <a:lnTo>
                    <a:pt x="294" y="618"/>
                  </a:lnTo>
                  <a:lnTo>
                    <a:pt x="288" y="612"/>
                  </a:lnTo>
                  <a:lnTo>
                    <a:pt x="276" y="600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58" y="588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8"/>
                  </a:lnTo>
                  <a:lnTo>
                    <a:pt x="216" y="582"/>
                  </a:lnTo>
                  <a:lnTo>
                    <a:pt x="210" y="588"/>
                  </a:lnTo>
                  <a:lnTo>
                    <a:pt x="198" y="582"/>
                  </a:lnTo>
                  <a:lnTo>
                    <a:pt x="180" y="582"/>
                  </a:lnTo>
                  <a:lnTo>
                    <a:pt x="174" y="552"/>
                  </a:lnTo>
                  <a:lnTo>
                    <a:pt x="168" y="504"/>
                  </a:lnTo>
                  <a:lnTo>
                    <a:pt x="186" y="504"/>
                  </a:lnTo>
                  <a:lnTo>
                    <a:pt x="192" y="504"/>
                  </a:lnTo>
                  <a:lnTo>
                    <a:pt x="192" y="498"/>
                  </a:lnTo>
                  <a:lnTo>
                    <a:pt x="192" y="492"/>
                  </a:lnTo>
                  <a:lnTo>
                    <a:pt x="192" y="486"/>
                  </a:lnTo>
                  <a:lnTo>
                    <a:pt x="198" y="486"/>
                  </a:lnTo>
                  <a:lnTo>
                    <a:pt x="198" y="480"/>
                  </a:lnTo>
                  <a:lnTo>
                    <a:pt x="204" y="474"/>
                  </a:lnTo>
                  <a:lnTo>
                    <a:pt x="210" y="468"/>
                  </a:lnTo>
                  <a:lnTo>
                    <a:pt x="198" y="462"/>
                  </a:lnTo>
                  <a:lnTo>
                    <a:pt x="192" y="444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32"/>
                  </a:lnTo>
                  <a:lnTo>
                    <a:pt x="168" y="438"/>
                  </a:lnTo>
                  <a:lnTo>
                    <a:pt x="150" y="450"/>
                  </a:lnTo>
                  <a:lnTo>
                    <a:pt x="144" y="456"/>
                  </a:lnTo>
                  <a:lnTo>
                    <a:pt x="132" y="456"/>
                  </a:lnTo>
                  <a:lnTo>
                    <a:pt x="126" y="468"/>
                  </a:lnTo>
                  <a:lnTo>
                    <a:pt x="114" y="468"/>
                  </a:lnTo>
                  <a:lnTo>
                    <a:pt x="108" y="468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14"/>
                  </a:lnTo>
                  <a:lnTo>
                    <a:pt x="108" y="396"/>
                  </a:lnTo>
                  <a:lnTo>
                    <a:pt x="120" y="396"/>
                  </a:lnTo>
                  <a:lnTo>
                    <a:pt x="126" y="384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84" y="354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0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60" y="318"/>
                  </a:lnTo>
                  <a:lnTo>
                    <a:pt x="42" y="324"/>
                  </a:lnTo>
                  <a:lnTo>
                    <a:pt x="36" y="318"/>
                  </a:lnTo>
                  <a:lnTo>
                    <a:pt x="36" y="312"/>
                  </a:lnTo>
                  <a:lnTo>
                    <a:pt x="36" y="306"/>
                  </a:lnTo>
                  <a:lnTo>
                    <a:pt x="36" y="300"/>
                  </a:lnTo>
                  <a:lnTo>
                    <a:pt x="30" y="300"/>
                  </a:lnTo>
                  <a:lnTo>
                    <a:pt x="30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24" y="276"/>
                  </a:lnTo>
                  <a:lnTo>
                    <a:pt x="18" y="276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18" y="234"/>
                  </a:lnTo>
                  <a:lnTo>
                    <a:pt x="30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42" y="192"/>
                  </a:lnTo>
                  <a:lnTo>
                    <a:pt x="66" y="186"/>
                  </a:lnTo>
                  <a:lnTo>
                    <a:pt x="90" y="156"/>
                  </a:lnTo>
                  <a:lnTo>
                    <a:pt x="102" y="144"/>
                  </a:lnTo>
                  <a:lnTo>
                    <a:pt x="138" y="150"/>
                  </a:lnTo>
                  <a:lnTo>
                    <a:pt x="162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0" y="180"/>
                  </a:lnTo>
                  <a:lnTo>
                    <a:pt x="174" y="180"/>
                  </a:lnTo>
                  <a:lnTo>
                    <a:pt x="180" y="186"/>
                  </a:lnTo>
                  <a:lnTo>
                    <a:pt x="186" y="186"/>
                  </a:lnTo>
                  <a:lnTo>
                    <a:pt x="198" y="192"/>
                  </a:lnTo>
                  <a:lnTo>
                    <a:pt x="216" y="198"/>
                  </a:lnTo>
                  <a:lnTo>
                    <a:pt x="252" y="204"/>
                  </a:lnTo>
                  <a:lnTo>
                    <a:pt x="258" y="210"/>
                  </a:lnTo>
                  <a:lnTo>
                    <a:pt x="306" y="216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84" y="210"/>
                  </a:lnTo>
                  <a:lnTo>
                    <a:pt x="408" y="222"/>
                  </a:lnTo>
                  <a:lnTo>
                    <a:pt x="438" y="228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86" y="222"/>
                  </a:lnTo>
                  <a:lnTo>
                    <a:pt x="492" y="210"/>
                  </a:lnTo>
                  <a:lnTo>
                    <a:pt x="492" y="198"/>
                  </a:lnTo>
                  <a:lnTo>
                    <a:pt x="486" y="180"/>
                  </a:lnTo>
                  <a:lnTo>
                    <a:pt x="492" y="162"/>
                  </a:lnTo>
                  <a:lnTo>
                    <a:pt x="510" y="96"/>
                  </a:lnTo>
                  <a:lnTo>
                    <a:pt x="516" y="84"/>
                  </a:lnTo>
                  <a:lnTo>
                    <a:pt x="522" y="84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34" y="72"/>
                  </a:lnTo>
                  <a:lnTo>
                    <a:pt x="534" y="60"/>
                  </a:lnTo>
                  <a:lnTo>
                    <a:pt x="540" y="36"/>
                  </a:lnTo>
                  <a:lnTo>
                    <a:pt x="546" y="6"/>
                  </a:lnTo>
                  <a:lnTo>
                    <a:pt x="558" y="6"/>
                  </a:lnTo>
                  <a:lnTo>
                    <a:pt x="564" y="0"/>
                  </a:lnTo>
                  <a:lnTo>
                    <a:pt x="582" y="0"/>
                  </a:lnTo>
                  <a:lnTo>
                    <a:pt x="588" y="0"/>
                  </a:lnTo>
                  <a:lnTo>
                    <a:pt x="594" y="6"/>
                  </a:lnTo>
                  <a:lnTo>
                    <a:pt x="600" y="12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24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36" y="36"/>
                  </a:lnTo>
                  <a:lnTo>
                    <a:pt x="642" y="36"/>
                  </a:lnTo>
                  <a:lnTo>
                    <a:pt x="642" y="42"/>
                  </a:lnTo>
                  <a:lnTo>
                    <a:pt x="648" y="54"/>
                  </a:lnTo>
                  <a:lnTo>
                    <a:pt x="660" y="72"/>
                  </a:lnTo>
                  <a:lnTo>
                    <a:pt x="666" y="78"/>
                  </a:lnTo>
                  <a:lnTo>
                    <a:pt x="672" y="90"/>
                  </a:lnTo>
                  <a:lnTo>
                    <a:pt x="678" y="102"/>
                  </a:lnTo>
                  <a:lnTo>
                    <a:pt x="678" y="114"/>
                  </a:lnTo>
                  <a:lnTo>
                    <a:pt x="684" y="132"/>
                  </a:lnTo>
                  <a:lnTo>
                    <a:pt x="684" y="144"/>
                  </a:lnTo>
                  <a:lnTo>
                    <a:pt x="690" y="162"/>
                  </a:lnTo>
                  <a:lnTo>
                    <a:pt x="696" y="168"/>
                  </a:lnTo>
                  <a:lnTo>
                    <a:pt x="696" y="180"/>
                  </a:lnTo>
                  <a:lnTo>
                    <a:pt x="702" y="186"/>
                  </a:lnTo>
                  <a:lnTo>
                    <a:pt x="708" y="186"/>
                  </a:lnTo>
                  <a:lnTo>
                    <a:pt x="714" y="198"/>
                  </a:lnTo>
                  <a:lnTo>
                    <a:pt x="720" y="198"/>
                  </a:lnTo>
                  <a:lnTo>
                    <a:pt x="732" y="204"/>
                  </a:lnTo>
                  <a:lnTo>
                    <a:pt x="738" y="210"/>
                  </a:lnTo>
                  <a:lnTo>
                    <a:pt x="738" y="216"/>
                  </a:lnTo>
                  <a:lnTo>
                    <a:pt x="744" y="222"/>
                  </a:lnTo>
                  <a:lnTo>
                    <a:pt x="750" y="228"/>
                  </a:lnTo>
                  <a:lnTo>
                    <a:pt x="756" y="228"/>
                  </a:lnTo>
                  <a:lnTo>
                    <a:pt x="768" y="240"/>
                  </a:lnTo>
                  <a:lnTo>
                    <a:pt x="774" y="252"/>
                  </a:lnTo>
                  <a:lnTo>
                    <a:pt x="780" y="258"/>
                  </a:lnTo>
                  <a:lnTo>
                    <a:pt x="786" y="258"/>
                  </a:lnTo>
                  <a:lnTo>
                    <a:pt x="798" y="264"/>
                  </a:lnTo>
                  <a:lnTo>
                    <a:pt x="798" y="270"/>
                  </a:lnTo>
                  <a:lnTo>
                    <a:pt x="798" y="276"/>
                  </a:lnTo>
                  <a:lnTo>
                    <a:pt x="810" y="288"/>
                  </a:lnTo>
                  <a:lnTo>
                    <a:pt x="816" y="288"/>
                  </a:lnTo>
                  <a:lnTo>
                    <a:pt x="816" y="300"/>
                  </a:lnTo>
                  <a:lnTo>
                    <a:pt x="816" y="306"/>
                  </a:lnTo>
                  <a:lnTo>
                    <a:pt x="822" y="318"/>
                  </a:lnTo>
                  <a:lnTo>
                    <a:pt x="828" y="324"/>
                  </a:lnTo>
                  <a:lnTo>
                    <a:pt x="834" y="330"/>
                  </a:lnTo>
                  <a:lnTo>
                    <a:pt x="846" y="336"/>
                  </a:lnTo>
                  <a:lnTo>
                    <a:pt x="846" y="342"/>
                  </a:lnTo>
                  <a:lnTo>
                    <a:pt x="852" y="348"/>
                  </a:lnTo>
                  <a:lnTo>
                    <a:pt x="852" y="354"/>
                  </a:lnTo>
                  <a:lnTo>
                    <a:pt x="858" y="354"/>
                  </a:lnTo>
                  <a:lnTo>
                    <a:pt x="858" y="348"/>
                  </a:lnTo>
                  <a:lnTo>
                    <a:pt x="864" y="342"/>
                  </a:lnTo>
                  <a:lnTo>
                    <a:pt x="864" y="336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76" y="306"/>
                  </a:lnTo>
                  <a:lnTo>
                    <a:pt x="870" y="300"/>
                  </a:lnTo>
                  <a:lnTo>
                    <a:pt x="870" y="294"/>
                  </a:lnTo>
                  <a:lnTo>
                    <a:pt x="876" y="294"/>
                  </a:lnTo>
                  <a:lnTo>
                    <a:pt x="882" y="300"/>
                  </a:lnTo>
                  <a:lnTo>
                    <a:pt x="888" y="300"/>
                  </a:lnTo>
                  <a:lnTo>
                    <a:pt x="888" y="306"/>
                  </a:lnTo>
                  <a:lnTo>
                    <a:pt x="894" y="300"/>
                  </a:lnTo>
                  <a:lnTo>
                    <a:pt x="900" y="294"/>
                  </a:lnTo>
                  <a:lnTo>
                    <a:pt x="894" y="288"/>
                  </a:lnTo>
                  <a:lnTo>
                    <a:pt x="888" y="282"/>
                  </a:lnTo>
                  <a:lnTo>
                    <a:pt x="888" y="276"/>
                  </a:lnTo>
                  <a:lnTo>
                    <a:pt x="894" y="276"/>
                  </a:lnTo>
                  <a:lnTo>
                    <a:pt x="900" y="276"/>
                  </a:lnTo>
                  <a:lnTo>
                    <a:pt x="900" y="270"/>
                  </a:lnTo>
                  <a:lnTo>
                    <a:pt x="906" y="264"/>
                  </a:lnTo>
                  <a:lnTo>
                    <a:pt x="906" y="258"/>
                  </a:lnTo>
                  <a:lnTo>
                    <a:pt x="918" y="264"/>
                  </a:lnTo>
                  <a:lnTo>
                    <a:pt x="918" y="258"/>
                  </a:lnTo>
                  <a:lnTo>
                    <a:pt x="924" y="252"/>
                  </a:lnTo>
                  <a:lnTo>
                    <a:pt x="930" y="252"/>
                  </a:lnTo>
                  <a:lnTo>
                    <a:pt x="930" y="246"/>
                  </a:lnTo>
                  <a:lnTo>
                    <a:pt x="936" y="234"/>
                  </a:lnTo>
                  <a:lnTo>
                    <a:pt x="942" y="228"/>
                  </a:lnTo>
                  <a:lnTo>
                    <a:pt x="942" y="222"/>
                  </a:lnTo>
                  <a:lnTo>
                    <a:pt x="948" y="222"/>
                  </a:lnTo>
                  <a:lnTo>
                    <a:pt x="948" y="216"/>
                  </a:lnTo>
                  <a:lnTo>
                    <a:pt x="942" y="216"/>
                  </a:lnTo>
                  <a:lnTo>
                    <a:pt x="936" y="216"/>
                  </a:lnTo>
                  <a:lnTo>
                    <a:pt x="936" y="210"/>
                  </a:lnTo>
                  <a:lnTo>
                    <a:pt x="942" y="210"/>
                  </a:lnTo>
                  <a:lnTo>
                    <a:pt x="972" y="210"/>
                  </a:lnTo>
                  <a:lnTo>
                    <a:pt x="1032" y="216"/>
                  </a:lnTo>
                  <a:lnTo>
                    <a:pt x="1068" y="216"/>
                  </a:lnTo>
                  <a:lnTo>
                    <a:pt x="1056" y="234"/>
                  </a:lnTo>
                  <a:lnTo>
                    <a:pt x="1050" y="240"/>
                  </a:lnTo>
                  <a:lnTo>
                    <a:pt x="1044" y="246"/>
                  </a:lnTo>
                  <a:lnTo>
                    <a:pt x="1038" y="246"/>
                  </a:lnTo>
                  <a:lnTo>
                    <a:pt x="1026" y="282"/>
                  </a:lnTo>
                  <a:lnTo>
                    <a:pt x="1032" y="306"/>
                  </a:lnTo>
                  <a:lnTo>
                    <a:pt x="1044" y="324"/>
                  </a:lnTo>
                  <a:lnTo>
                    <a:pt x="1044" y="342"/>
                  </a:lnTo>
                  <a:lnTo>
                    <a:pt x="1062" y="366"/>
                  </a:lnTo>
                  <a:lnTo>
                    <a:pt x="1056" y="396"/>
                  </a:lnTo>
                  <a:lnTo>
                    <a:pt x="1038" y="462"/>
                  </a:lnTo>
                  <a:lnTo>
                    <a:pt x="1038" y="498"/>
                  </a:lnTo>
                  <a:lnTo>
                    <a:pt x="1038" y="522"/>
                  </a:lnTo>
                  <a:lnTo>
                    <a:pt x="1038" y="534"/>
                  </a:lnTo>
                  <a:lnTo>
                    <a:pt x="1056" y="522"/>
                  </a:lnTo>
                  <a:lnTo>
                    <a:pt x="1098" y="504"/>
                  </a:lnTo>
                  <a:lnTo>
                    <a:pt x="1104" y="498"/>
                  </a:lnTo>
                  <a:lnTo>
                    <a:pt x="1128" y="492"/>
                  </a:lnTo>
                  <a:lnTo>
                    <a:pt x="1152" y="480"/>
                  </a:lnTo>
                  <a:lnTo>
                    <a:pt x="1170" y="474"/>
                  </a:lnTo>
                  <a:lnTo>
                    <a:pt x="1188" y="468"/>
                  </a:lnTo>
                  <a:lnTo>
                    <a:pt x="1200" y="462"/>
                  </a:lnTo>
                  <a:lnTo>
                    <a:pt x="1224" y="450"/>
                  </a:lnTo>
                  <a:lnTo>
                    <a:pt x="1248" y="450"/>
                  </a:lnTo>
                  <a:lnTo>
                    <a:pt x="1266" y="450"/>
                  </a:lnTo>
                  <a:lnTo>
                    <a:pt x="1296" y="456"/>
                  </a:lnTo>
                  <a:lnTo>
                    <a:pt x="1308" y="456"/>
                  </a:lnTo>
                  <a:lnTo>
                    <a:pt x="1326" y="456"/>
                  </a:lnTo>
                  <a:lnTo>
                    <a:pt x="1338" y="456"/>
                  </a:lnTo>
                  <a:lnTo>
                    <a:pt x="1350" y="462"/>
                  </a:lnTo>
                  <a:lnTo>
                    <a:pt x="1356" y="462"/>
                  </a:lnTo>
                  <a:lnTo>
                    <a:pt x="1374" y="456"/>
                  </a:lnTo>
                  <a:lnTo>
                    <a:pt x="1386" y="456"/>
                  </a:lnTo>
                  <a:lnTo>
                    <a:pt x="1392" y="456"/>
                  </a:lnTo>
                  <a:lnTo>
                    <a:pt x="1398" y="456"/>
                  </a:lnTo>
                  <a:lnTo>
                    <a:pt x="1422" y="456"/>
                  </a:lnTo>
                  <a:lnTo>
                    <a:pt x="1440" y="456"/>
                  </a:lnTo>
                  <a:lnTo>
                    <a:pt x="1446" y="456"/>
                  </a:lnTo>
                  <a:lnTo>
                    <a:pt x="1476" y="456"/>
                  </a:lnTo>
                  <a:lnTo>
                    <a:pt x="1470" y="468"/>
                  </a:lnTo>
                  <a:lnTo>
                    <a:pt x="1470" y="474"/>
                  </a:lnTo>
                  <a:lnTo>
                    <a:pt x="1470" y="486"/>
                  </a:lnTo>
                  <a:lnTo>
                    <a:pt x="1464" y="492"/>
                  </a:lnTo>
                  <a:lnTo>
                    <a:pt x="1464" y="498"/>
                  </a:lnTo>
                  <a:lnTo>
                    <a:pt x="1458" y="498"/>
                  </a:lnTo>
                  <a:lnTo>
                    <a:pt x="1458" y="510"/>
                  </a:lnTo>
                  <a:lnTo>
                    <a:pt x="1452" y="522"/>
                  </a:lnTo>
                  <a:lnTo>
                    <a:pt x="1458" y="528"/>
                  </a:lnTo>
                  <a:lnTo>
                    <a:pt x="1464" y="546"/>
                  </a:lnTo>
                  <a:lnTo>
                    <a:pt x="1470" y="552"/>
                  </a:lnTo>
                  <a:lnTo>
                    <a:pt x="1476" y="564"/>
                  </a:lnTo>
                  <a:lnTo>
                    <a:pt x="1488" y="588"/>
                  </a:lnTo>
                  <a:lnTo>
                    <a:pt x="1506" y="606"/>
                  </a:lnTo>
                  <a:lnTo>
                    <a:pt x="1506" y="612"/>
                  </a:lnTo>
                  <a:lnTo>
                    <a:pt x="1518" y="618"/>
                  </a:lnTo>
                  <a:lnTo>
                    <a:pt x="1512" y="630"/>
                  </a:lnTo>
                  <a:lnTo>
                    <a:pt x="1518" y="642"/>
                  </a:lnTo>
                  <a:lnTo>
                    <a:pt x="1518" y="648"/>
                  </a:lnTo>
                  <a:lnTo>
                    <a:pt x="1530" y="666"/>
                  </a:lnTo>
                  <a:lnTo>
                    <a:pt x="1518" y="672"/>
                  </a:lnTo>
                  <a:lnTo>
                    <a:pt x="1524" y="696"/>
                  </a:lnTo>
                  <a:lnTo>
                    <a:pt x="1518" y="732"/>
                  </a:lnTo>
                  <a:lnTo>
                    <a:pt x="1524" y="762"/>
                  </a:lnTo>
                  <a:lnTo>
                    <a:pt x="1524" y="780"/>
                  </a:lnTo>
                  <a:lnTo>
                    <a:pt x="1524" y="810"/>
                  </a:lnTo>
                  <a:lnTo>
                    <a:pt x="1530" y="834"/>
                  </a:lnTo>
                  <a:lnTo>
                    <a:pt x="1536" y="846"/>
                  </a:lnTo>
                  <a:lnTo>
                    <a:pt x="1542" y="846"/>
                  </a:lnTo>
                  <a:lnTo>
                    <a:pt x="1584" y="840"/>
                  </a:lnTo>
                  <a:lnTo>
                    <a:pt x="1590" y="846"/>
                  </a:lnTo>
                  <a:lnTo>
                    <a:pt x="1596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90" y="864"/>
                  </a:lnTo>
                  <a:lnTo>
                    <a:pt x="1578" y="882"/>
                  </a:lnTo>
                  <a:lnTo>
                    <a:pt x="1572" y="906"/>
                  </a:lnTo>
                  <a:lnTo>
                    <a:pt x="1560" y="924"/>
                  </a:lnTo>
                  <a:lnTo>
                    <a:pt x="1560" y="936"/>
                  </a:lnTo>
                  <a:lnTo>
                    <a:pt x="1548" y="960"/>
                  </a:lnTo>
                  <a:lnTo>
                    <a:pt x="1542" y="978"/>
                  </a:lnTo>
                  <a:lnTo>
                    <a:pt x="1536" y="990"/>
                  </a:lnTo>
                  <a:lnTo>
                    <a:pt x="1530" y="990"/>
                  </a:lnTo>
                  <a:lnTo>
                    <a:pt x="1506" y="996"/>
                  </a:lnTo>
                  <a:lnTo>
                    <a:pt x="1494" y="1002"/>
                  </a:lnTo>
                  <a:lnTo>
                    <a:pt x="1482" y="1002"/>
                  </a:lnTo>
                  <a:lnTo>
                    <a:pt x="1464" y="1008"/>
                  </a:lnTo>
                  <a:lnTo>
                    <a:pt x="1446" y="1026"/>
                  </a:lnTo>
                  <a:lnTo>
                    <a:pt x="1440" y="1026"/>
                  </a:lnTo>
                  <a:lnTo>
                    <a:pt x="1434" y="1038"/>
                  </a:lnTo>
                  <a:lnTo>
                    <a:pt x="1428" y="1044"/>
                  </a:lnTo>
                  <a:lnTo>
                    <a:pt x="1428" y="1062"/>
                  </a:lnTo>
                  <a:lnTo>
                    <a:pt x="1428" y="1086"/>
                  </a:lnTo>
                  <a:lnTo>
                    <a:pt x="1416" y="1092"/>
                  </a:lnTo>
                  <a:lnTo>
                    <a:pt x="1410" y="1080"/>
                  </a:lnTo>
                  <a:lnTo>
                    <a:pt x="1392" y="10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0" name="Freeform 25">
              <a:extLst>
                <a:ext uri="{FF2B5EF4-FFF2-40B4-BE49-F238E27FC236}">
                  <a16:creationId xmlns:a16="http://schemas.microsoft.com/office/drawing/2014/main" id="{39FDFF90-5ACF-4D65-81AD-C44D2CBE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70228" y="3063559"/>
              <a:ext cx="644023" cy="704498"/>
            </a:xfrm>
            <a:custGeom>
              <a:avLst/>
              <a:gdLst>
                <a:gd name="T0" fmla="*/ 74 w 1212"/>
                <a:gd name="T1" fmla="*/ 113 h 1326"/>
                <a:gd name="T2" fmla="*/ 60 w 1212"/>
                <a:gd name="T3" fmla="*/ 116 h 1326"/>
                <a:gd name="T4" fmla="*/ 62 w 1212"/>
                <a:gd name="T5" fmla="*/ 110 h 1326"/>
                <a:gd name="T6" fmla="*/ 60 w 1212"/>
                <a:gd name="T7" fmla="*/ 105 h 1326"/>
                <a:gd name="T8" fmla="*/ 52 w 1212"/>
                <a:gd name="T9" fmla="*/ 96 h 1326"/>
                <a:gd name="T10" fmla="*/ 47 w 1212"/>
                <a:gd name="T11" fmla="*/ 98 h 1326"/>
                <a:gd name="T12" fmla="*/ 44 w 1212"/>
                <a:gd name="T13" fmla="*/ 93 h 1326"/>
                <a:gd name="T14" fmla="*/ 40 w 1212"/>
                <a:gd name="T15" fmla="*/ 96 h 1326"/>
                <a:gd name="T16" fmla="*/ 35 w 1212"/>
                <a:gd name="T17" fmla="*/ 102 h 1326"/>
                <a:gd name="T18" fmla="*/ 27 w 1212"/>
                <a:gd name="T19" fmla="*/ 100 h 1326"/>
                <a:gd name="T20" fmla="*/ 23 w 1212"/>
                <a:gd name="T21" fmla="*/ 96 h 1326"/>
                <a:gd name="T22" fmla="*/ 20 w 1212"/>
                <a:gd name="T23" fmla="*/ 90 h 1326"/>
                <a:gd name="T24" fmla="*/ 18 w 1212"/>
                <a:gd name="T25" fmla="*/ 89 h 1326"/>
                <a:gd name="T26" fmla="*/ 18 w 1212"/>
                <a:gd name="T27" fmla="*/ 85 h 1326"/>
                <a:gd name="T28" fmla="*/ 19 w 1212"/>
                <a:gd name="T29" fmla="*/ 83 h 1326"/>
                <a:gd name="T30" fmla="*/ 19 w 1212"/>
                <a:gd name="T31" fmla="*/ 82 h 1326"/>
                <a:gd name="T32" fmla="*/ 20 w 1212"/>
                <a:gd name="T33" fmla="*/ 79 h 1326"/>
                <a:gd name="T34" fmla="*/ 19 w 1212"/>
                <a:gd name="T35" fmla="*/ 75 h 1326"/>
                <a:gd name="T36" fmla="*/ 17 w 1212"/>
                <a:gd name="T37" fmla="*/ 77 h 1326"/>
                <a:gd name="T38" fmla="*/ 14 w 1212"/>
                <a:gd name="T39" fmla="*/ 76 h 1326"/>
                <a:gd name="T40" fmla="*/ 12 w 1212"/>
                <a:gd name="T41" fmla="*/ 71 h 1326"/>
                <a:gd name="T42" fmla="*/ 8 w 1212"/>
                <a:gd name="T43" fmla="*/ 69 h 1326"/>
                <a:gd name="T44" fmla="*/ 0 w 1212"/>
                <a:gd name="T45" fmla="*/ 72 h 1326"/>
                <a:gd name="T46" fmla="*/ 2 w 1212"/>
                <a:gd name="T47" fmla="*/ 67 h 1326"/>
                <a:gd name="T48" fmla="*/ 3 w 1212"/>
                <a:gd name="T49" fmla="*/ 61 h 1326"/>
                <a:gd name="T50" fmla="*/ 4 w 1212"/>
                <a:gd name="T51" fmla="*/ 56 h 1326"/>
                <a:gd name="T52" fmla="*/ 4 w 1212"/>
                <a:gd name="T53" fmla="*/ 52 h 1326"/>
                <a:gd name="T54" fmla="*/ 2 w 1212"/>
                <a:gd name="T55" fmla="*/ 47 h 1326"/>
                <a:gd name="T56" fmla="*/ 2 w 1212"/>
                <a:gd name="T57" fmla="*/ 42 h 1326"/>
                <a:gd name="T58" fmla="*/ 5 w 1212"/>
                <a:gd name="T59" fmla="*/ 39 h 1326"/>
                <a:gd name="T60" fmla="*/ 5 w 1212"/>
                <a:gd name="T61" fmla="*/ 35 h 1326"/>
                <a:gd name="T62" fmla="*/ 7 w 1212"/>
                <a:gd name="T63" fmla="*/ 31 h 1326"/>
                <a:gd name="T64" fmla="*/ 14 w 1212"/>
                <a:gd name="T65" fmla="*/ 31 h 1326"/>
                <a:gd name="T66" fmla="*/ 18 w 1212"/>
                <a:gd name="T67" fmla="*/ 27 h 1326"/>
                <a:gd name="T68" fmla="*/ 22 w 1212"/>
                <a:gd name="T69" fmla="*/ 24 h 1326"/>
                <a:gd name="T70" fmla="*/ 27 w 1212"/>
                <a:gd name="T71" fmla="*/ 20 h 1326"/>
                <a:gd name="T72" fmla="*/ 35 w 1212"/>
                <a:gd name="T73" fmla="*/ 21 h 1326"/>
                <a:gd name="T74" fmla="*/ 61 w 1212"/>
                <a:gd name="T75" fmla="*/ 8 h 1326"/>
                <a:gd name="T76" fmla="*/ 73 w 1212"/>
                <a:gd name="T77" fmla="*/ 4 h 1326"/>
                <a:gd name="T78" fmla="*/ 86 w 1212"/>
                <a:gd name="T79" fmla="*/ 12 h 1326"/>
                <a:gd name="T80" fmla="*/ 92 w 1212"/>
                <a:gd name="T81" fmla="*/ 13 h 1326"/>
                <a:gd name="T82" fmla="*/ 86 w 1212"/>
                <a:gd name="T83" fmla="*/ 18 h 1326"/>
                <a:gd name="T84" fmla="*/ 88 w 1212"/>
                <a:gd name="T85" fmla="*/ 33 h 1326"/>
                <a:gd name="T86" fmla="*/ 97 w 1212"/>
                <a:gd name="T87" fmla="*/ 49 h 1326"/>
                <a:gd name="T88" fmla="*/ 102 w 1212"/>
                <a:gd name="T89" fmla="*/ 57 h 1326"/>
                <a:gd name="T90" fmla="*/ 104 w 1212"/>
                <a:gd name="T91" fmla="*/ 67 h 1326"/>
                <a:gd name="T92" fmla="*/ 101 w 1212"/>
                <a:gd name="T93" fmla="*/ 69 h 1326"/>
                <a:gd name="T94" fmla="*/ 97 w 1212"/>
                <a:gd name="T95" fmla="*/ 69 h 1326"/>
                <a:gd name="T96" fmla="*/ 96 w 1212"/>
                <a:gd name="T97" fmla="*/ 71 h 1326"/>
                <a:gd name="T98" fmla="*/ 93 w 1212"/>
                <a:gd name="T99" fmla="*/ 70 h 1326"/>
                <a:gd name="T100" fmla="*/ 86 w 1212"/>
                <a:gd name="T101" fmla="*/ 69 h 1326"/>
                <a:gd name="T102" fmla="*/ 82 w 1212"/>
                <a:gd name="T103" fmla="*/ 73 h 1326"/>
                <a:gd name="T104" fmla="*/ 79 w 1212"/>
                <a:gd name="T105" fmla="*/ 74 h 1326"/>
                <a:gd name="T106" fmla="*/ 78 w 1212"/>
                <a:gd name="T107" fmla="*/ 79 h 1326"/>
                <a:gd name="T108" fmla="*/ 78 w 1212"/>
                <a:gd name="T109" fmla="*/ 83 h 1326"/>
                <a:gd name="T110" fmla="*/ 82 w 1212"/>
                <a:gd name="T111" fmla="*/ 87 h 1326"/>
                <a:gd name="T112" fmla="*/ 83 w 1212"/>
                <a:gd name="T113" fmla="*/ 90 h 1326"/>
                <a:gd name="T114" fmla="*/ 82 w 1212"/>
                <a:gd name="T115" fmla="*/ 94 h 1326"/>
                <a:gd name="T116" fmla="*/ 82 w 1212"/>
                <a:gd name="T117" fmla="*/ 98 h 1326"/>
                <a:gd name="T118" fmla="*/ 82 w 1212"/>
                <a:gd name="T119" fmla="*/ 104 h 1326"/>
                <a:gd name="T120" fmla="*/ 78 w 1212"/>
                <a:gd name="T121" fmla="*/ 110 h 132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12"/>
                <a:gd name="T184" fmla="*/ 0 h 1326"/>
                <a:gd name="T185" fmla="*/ 1212 w 1212"/>
                <a:gd name="T186" fmla="*/ 1326 h 132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12" h="1326">
                  <a:moveTo>
                    <a:pt x="906" y="1290"/>
                  </a:moveTo>
                  <a:lnTo>
                    <a:pt x="906" y="1296"/>
                  </a:lnTo>
                  <a:lnTo>
                    <a:pt x="900" y="1296"/>
                  </a:lnTo>
                  <a:lnTo>
                    <a:pt x="876" y="1290"/>
                  </a:lnTo>
                  <a:lnTo>
                    <a:pt x="870" y="1290"/>
                  </a:lnTo>
                  <a:lnTo>
                    <a:pt x="864" y="1296"/>
                  </a:lnTo>
                  <a:lnTo>
                    <a:pt x="852" y="1296"/>
                  </a:lnTo>
                  <a:lnTo>
                    <a:pt x="840" y="1302"/>
                  </a:lnTo>
                  <a:lnTo>
                    <a:pt x="834" y="1308"/>
                  </a:lnTo>
                  <a:lnTo>
                    <a:pt x="822" y="1320"/>
                  </a:lnTo>
                  <a:lnTo>
                    <a:pt x="816" y="1320"/>
                  </a:lnTo>
                  <a:lnTo>
                    <a:pt x="732" y="1320"/>
                  </a:lnTo>
                  <a:lnTo>
                    <a:pt x="696" y="1320"/>
                  </a:lnTo>
                  <a:lnTo>
                    <a:pt x="690" y="1326"/>
                  </a:lnTo>
                  <a:lnTo>
                    <a:pt x="678" y="1326"/>
                  </a:lnTo>
                  <a:lnTo>
                    <a:pt x="672" y="1308"/>
                  </a:lnTo>
                  <a:lnTo>
                    <a:pt x="696" y="1302"/>
                  </a:lnTo>
                  <a:lnTo>
                    <a:pt x="708" y="1296"/>
                  </a:lnTo>
                  <a:lnTo>
                    <a:pt x="720" y="1284"/>
                  </a:lnTo>
                  <a:lnTo>
                    <a:pt x="714" y="1278"/>
                  </a:lnTo>
                  <a:lnTo>
                    <a:pt x="714" y="1266"/>
                  </a:lnTo>
                  <a:lnTo>
                    <a:pt x="708" y="1260"/>
                  </a:lnTo>
                  <a:lnTo>
                    <a:pt x="708" y="1254"/>
                  </a:lnTo>
                  <a:lnTo>
                    <a:pt x="708" y="1248"/>
                  </a:lnTo>
                  <a:lnTo>
                    <a:pt x="702" y="1236"/>
                  </a:lnTo>
                  <a:lnTo>
                    <a:pt x="702" y="1230"/>
                  </a:lnTo>
                  <a:lnTo>
                    <a:pt x="702" y="1218"/>
                  </a:lnTo>
                  <a:lnTo>
                    <a:pt x="696" y="1200"/>
                  </a:lnTo>
                  <a:lnTo>
                    <a:pt x="696" y="1182"/>
                  </a:lnTo>
                  <a:lnTo>
                    <a:pt x="666" y="1182"/>
                  </a:lnTo>
                  <a:lnTo>
                    <a:pt x="672" y="1134"/>
                  </a:lnTo>
                  <a:lnTo>
                    <a:pt x="666" y="1128"/>
                  </a:lnTo>
                  <a:lnTo>
                    <a:pt x="660" y="1092"/>
                  </a:lnTo>
                  <a:lnTo>
                    <a:pt x="654" y="1098"/>
                  </a:lnTo>
                  <a:lnTo>
                    <a:pt x="594" y="1098"/>
                  </a:lnTo>
                  <a:lnTo>
                    <a:pt x="576" y="1098"/>
                  </a:lnTo>
                  <a:lnTo>
                    <a:pt x="570" y="1104"/>
                  </a:lnTo>
                  <a:lnTo>
                    <a:pt x="564" y="1110"/>
                  </a:lnTo>
                  <a:lnTo>
                    <a:pt x="558" y="1110"/>
                  </a:lnTo>
                  <a:lnTo>
                    <a:pt x="552" y="1110"/>
                  </a:lnTo>
                  <a:lnTo>
                    <a:pt x="546" y="1110"/>
                  </a:lnTo>
                  <a:lnTo>
                    <a:pt x="546" y="1116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10" y="1128"/>
                  </a:lnTo>
                  <a:lnTo>
                    <a:pt x="522" y="1104"/>
                  </a:lnTo>
                  <a:lnTo>
                    <a:pt x="510" y="1098"/>
                  </a:lnTo>
                  <a:lnTo>
                    <a:pt x="510" y="1074"/>
                  </a:lnTo>
                  <a:lnTo>
                    <a:pt x="504" y="1068"/>
                  </a:lnTo>
                  <a:lnTo>
                    <a:pt x="498" y="1068"/>
                  </a:lnTo>
                  <a:lnTo>
                    <a:pt x="492" y="1068"/>
                  </a:lnTo>
                  <a:lnTo>
                    <a:pt x="474" y="1080"/>
                  </a:lnTo>
                  <a:lnTo>
                    <a:pt x="474" y="1086"/>
                  </a:lnTo>
                  <a:lnTo>
                    <a:pt x="474" y="1092"/>
                  </a:lnTo>
                  <a:lnTo>
                    <a:pt x="468" y="1098"/>
                  </a:lnTo>
                  <a:lnTo>
                    <a:pt x="462" y="1104"/>
                  </a:lnTo>
                  <a:lnTo>
                    <a:pt x="456" y="1110"/>
                  </a:lnTo>
                  <a:lnTo>
                    <a:pt x="456" y="1122"/>
                  </a:lnTo>
                  <a:lnTo>
                    <a:pt x="456" y="1128"/>
                  </a:lnTo>
                  <a:lnTo>
                    <a:pt x="450" y="1140"/>
                  </a:lnTo>
                  <a:lnTo>
                    <a:pt x="444" y="1146"/>
                  </a:lnTo>
                  <a:lnTo>
                    <a:pt x="426" y="1170"/>
                  </a:lnTo>
                  <a:lnTo>
                    <a:pt x="408" y="1176"/>
                  </a:lnTo>
                  <a:lnTo>
                    <a:pt x="402" y="1170"/>
                  </a:lnTo>
                  <a:lnTo>
                    <a:pt x="396" y="1170"/>
                  </a:lnTo>
                  <a:lnTo>
                    <a:pt x="396" y="1158"/>
                  </a:lnTo>
                  <a:lnTo>
                    <a:pt x="384" y="1152"/>
                  </a:lnTo>
                  <a:lnTo>
                    <a:pt x="372" y="1140"/>
                  </a:lnTo>
                  <a:lnTo>
                    <a:pt x="354" y="1140"/>
                  </a:lnTo>
                  <a:lnTo>
                    <a:pt x="306" y="1146"/>
                  </a:lnTo>
                  <a:lnTo>
                    <a:pt x="294" y="1134"/>
                  </a:lnTo>
                  <a:lnTo>
                    <a:pt x="294" y="1128"/>
                  </a:lnTo>
                  <a:lnTo>
                    <a:pt x="288" y="1122"/>
                  </a:lnTo>
                  <a:lnTo>
                    <a:pt x="276" y="1122"/>
                  </a:lnTo>
                  <a:lnTo>
                    <a:pt x="276" y="1110"/>
                  </a:lnTo>
                  <a:lnTo>
                    <a:pt x="276" y="1104"/>
                  </a:lnTo>
                  <a:lnTo>
                    <a:pt x="270" y="1098"/>
                  </a:lnTo>
                  <a:lnTo>
                    <a:pt x="264" y="1086"/>
                  </a:lnTo>
                  <a:lnTo>
                    <a:pt x="264" y="1074"/>
                  </a:lnTo>
                  <a:lnTo>
                    <a:pt x="258" y="1068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34" y="1038"/>
                  </a:lnTo>
                  <a:lnTo>
                    <a:pt x="228" y="1038"/>
                  </a:lnTo>
                  <a:lnTo>
                    <a:pt x="222" y="1038"/>
                  </a:lnTo>
                  <a:lnTo>
                    <a:pt x="216" y="1038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0"/>
                  </a:lnTo>
                  <a:lnTo>
                    <a:pt x="204" y="1014"/>
                  </a:lnTo>
                  <a:lnTo>
                    <a:pt x="204" y="1008"/>
                  </a:lnTo>
                  <a:lnTo>
                    <a:pt x="198" y="1002"/>
                  </a:lnTo>
                  <a:lnTo>
                    <a:pt x="198" y="996"/>
                  </a:lnTo>
                  <a:lnTo>
                    <a:pt x="198" y="990"/>
                  </a:lnTo>
                  <a:lnTo>
                    <a:pt x="204" y="990"/>
                  </a:lnTo>
                  <a:lnTo>
                    <a:pt x="204" y="984"/>
                  </a:lnTo>
                  <a:lnTo>
                    <a:pt x="210" y="978"/>
                  </a:lnTo>
                  <a:lnTo>
                    <a:pt x="210" y="972"/>
                  </a:lnTo>
                  <a:lnTo>
                    <a:pt x="210" y="966"/>
                  </a:lnTo>
                  <a:lnTo>
                    <a:pt x="216" y="960"/>
                  </a:lnTo>
                  <a:lnTo>
                    <a:pt x="216" y="954"/>
                  </a:lnTo>
                  <a:lnTo>
                    <a:pt x="210" y="954"/>
                  </a:lnTo>
                  <a:lnTo>
                    <a:pt x="204" y="954"/>
                  </a:lnTo>
                  <a:lnTo>
                    <a:pt x="216" y="954"/>
                  </a:lnTo>
                  <a:lnTo>
                    <a:pt x="216" y="948"/>
                  </a:lnTo>
                  <a:lnTo>
                    <a:pt x="210" y="948"/>
                  </a:lnTo>
                  <a:lnTo>
                    <a:pt x="210" y="942"/>
                  </a:lnTo>
                  <a:lnTo>
                    <a:pt x="216" y="942"/>
                  </a:lnTo>
                  <a:lnTo>
                    <a:pt x="222" y="942"/>
                  </a:lnTo>
                  <a:lnTo>
                    <a:pt x="222" y="936"/>
                  </a:lnTo>
                  <a:lnTo>
                    <a:pt x="216" y="936"/>
                  </a:lnTo>
                  <a:lnTo>
                    <a:pt x="210" y="936"/>
                  </a:lnTo>
                  <a:lnTo>
                    <a:pt x="210" y="930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22" y="918"/>
                  </a:lnTo>
                  <a:lnTo>
                    <a:pt x="228" y="912"/>
                  </a:lnTo>
                  <a:lnTo>
                    <a:pt x="228" y="906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2" y="888"/>
                  </a:lnTo>
                  <a:lnTo>
                    <a:pt x="222" y="882"/>
                  </a:lnTo>
                  <a:lnTo>
                    <a:pt x="222" y="876"/>
                  </a:lnTo>
                  <a:lnTo>
                    <a:pt x="222" y="858"/>
                  </a:lnTo>
                  <a:lnTo>
                    <a:pt x="216" y="858"/>
                  </a:lnTo>
                  <a:lnTo>
                    <a:pt x="216" y="852"/>
                  </a:lnTo>
                  <a:lnTo>
                    <a:pt x="210" y="852"/>
                  </a:lnTo>
                  <a:lnTo>
                    <a:pt x="210" y="840"/>
                  </a:lnTo>
                  <a:lnTo>
                    <a:pt x="198" y="840"/>
                  </a:lnTo>
                  <a:lnTo>
                    <a:pt x="198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0" y="894"/>
                  </a:lnTo>
                  <a:lnTo>
                    <a:pt x="180" y="906"/>
                  </a:lnTo>
                  <a:lnTo>
                    <a:pt x="156" y="912"/>
                  </a:lnTo>
                  <a:lnTo>
                    <a:pt x="156" y="894"/>
                  </a:lnTo>
                  <a:lnTo>
                    <a:pt x="156" y="882"/>
                  </a:lnTo>
                  <a:lnTo>
                    <a:pt x="156" y="876"/>
                  </a:lnTo>
                  <a:lnTo>
                    <a:pt x="150" y="876"/>
                  </a:lnTo>
                  <a:lnTo>
                    <a:pt x="144" y="876"/>
                  </a:lnTo>
                  <a:lnTo>
                    <a:pt x="138" y="870"/>
                  </a:lnTo>
                  <a:lnTo>
                    <a:pt x="132" y="864"/>
                  </a:lnTo>
                  <a:lnTo>
                    <a:pt x="138" y="840"/>
                  </a:lnTo>
                  <a:lnTo>
                    <a:pt x="132" y="840"/>
                  </a:lnTo>
                  <a:lnTo>
                    <a:pt x="138" y="810"/>
                  </a:lnTo>
                  <a:lnTo>
                    <a:pt x="144" y="804"/>
                  </a:lnTo>
                  <a:lnTo>
                    <a:pt x="144" y="798"/>
                  </a:lnTo>
                  <a:lnTo>
                    <a:pt x="156" y="798"/>
                  </a:lnTo>
                  <a:lnTo>
                    <a:pt x="156" y="792"/>
                  </a:lnTo>
                  <a:lnTo>
                    <a:pt x="120" y="792"/>
                  </a:lnTo>
                  <a:lnTo>
                    <a:pt x="108" y="786"/>
                  </a:lnTo>
                  <a:lnTo>
                    <a:pt x="96" y="786"/>
                  </a:lnTo>
                  <a:lnTo>
                    <a:pt x="96" y="780"/>
                  </a:lnTo>
                  <a:lnTo>
                    <a:pt x="78" y="780"/>
                  </a:lnTo>
                  <a:lnTo>
                    <a:pt x="72" y="804"/>
                  </a:lnTo>
                  <a:lnTo>
                    <a:pt x="60" y="816"/>
                  </a:lnTo>
                  <a:lnTo>
                    <a:pt x="36" y="828"/>
                  </a:lnTo>
                  <a:lnTo>
                    <a:pt x="18" y="840"/>
                  </a:lnTo>
                  <a:lnTo>
                    <a:pt x="0" y="822"/>
                  </a:lnTo>
                  <a:lnTo>
                    <a:pt x="6" y="816"/>
                  </a:lnTo>
                  <a:lnTo>
                    <a:pt x="12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18" y="786"/>
                  </a:lnTo>
                  <a:lnTo>
                    <a:pt x="24" y="780"/>
                  </a:lnTo>
                  <a:lnTo>
                    <a:pt x="24" y="768"/>
                  </a:lnTo>
                  <a:lnTo>
                    <a:pt x="24" y="762"/>
                  </a:lnTo>
                  <a:lnTo>
                    <a:pt x="24" y="750"/>
                  </a:lnTo>
                  <a:lnTo>
                    <a:pt x="36" y="714"/>
                  </a:lnTo>
                  <a:lnTo>
                    <a:pt x="36" y="708"/>
                  </a:lnTo>
                  <a:lnTo>
                    <a:pt x="42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6" y="690"/>
                  </a:lnTo>
                  <a:lnTo>
                    <a:pt x="42" y="684"/>
                  </a:lnTo>
                  <a:lnTo>
                    <a:pt x="42" y="672"/>
                  </a:lnTo>
                  <a:lnTo>
                    <a:pt x="42" y="666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48" y="648"/>
                  </a:lnTo>
                  <a:lnTo>
                    <a:pt x="54" y="642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54" y="612"/>
                  </a:lnTo>
                  <a:lnTo>
                    <a:pt x="48" y="606"/>
                  </a:lnTo>
                  <a:lnTo>
                    <a:pt x="48" y="600"/>
                  </a:lnTo>
                  <a:lnTo>
                    <a:pt x="42" y="600"/>
                  </a:lnTo>
                  <a:lnTo>
                    <a:pt x="36" y="594"/>
                  </a:lnTo>
                  <a:lnTo>
                    <a:pt x="36" y="588"/>
                  </a:lnTo>
                  <a:lnTo>
                    <a:pt x="30" y="582"/>
                  </a:lnTo>
                  <a:lnTo>
                    <a:pt x="30" y="570"/>
                  </a:lnTo>
                  <a:lnTo>
                    <a:pt x="18" y="552"/>
                  </a:lnTo>
                  <a:lnTo>
                    <a:pt x="18" y="546"/>
                  </a:lnTo>
                  <a:lnTo>
                    <a:pt x="18" y="540"/>
                  </a:lnTo>
                  <a:lnTo>
                    <a:pt x="18" y="528"/>
                  </a:lnTo>
                  <a:lnTo>
                    <a:pt x="18" y="522"/>
                  </a:lnTo>
                  <a:lnTo>
                    <a:pt x="24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30" y="474"/>
                  </a:lnTo>
                  <a:lnTo>
                    <a:pt x="36" y="474"/>
                  </a:lnTo>
                  <a:lnTo>
                    <a:pt x="42" y="468"/>
                  </a:lnTo>
                  <a:lnTo>
                    <a:pt x="48" y="468"/>
                  </a:lnTo>
                  <a:lnTo>
                    <a:pt x="48" y="462"/>
                  </a:lnTo>
                  <a:lnTo>
                    <a:pt x="48" y="456"/>
                  </a:lnTo>
                  <a:lnTo>
                    <a:pt x="54" y="450"/>
                  </a:lnTo>
                  <a:lnTo>
                    <a:pt x="60" y="438"/>
                  </a:lnTo>
                  <a:lnTo>
                    <a:pt x="54" y="438"/>
                  </a:lnTo>
                  <a:lnTo>
                    <a:pt x="54" y="432"/>
                  </a:ln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54" y="402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6" y="384"/>
                  </a:lnTo>
                  <a:lnTo>
                    <a:pt x="72" y="372"/>
                  </a:lnTo>
                  <a:lnTo>
                    <a:pt x="78" y="366"/>
                  </a:lnTo>
                  <a:lnTo>
                    <a:pt x="84" y="360"/>
                  </a:lnTo>
                  <a:lnTo>
                    <a:pt x="102" y="360"/>
                  </a:lnTo>
                  <a:lnTo>
                    <a:pt x="114" y="36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8" y="360"/>
                  </a:lnTo>
                  <a:lnTo>
                    <a:pt x="156" y="360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74" y="342"/>
                  </a:lnTo>
                  <a:lnTo>
                    <a:pt x="180" y="342"/>
                  </a:lnTo>
                  <a:lnTo>
                    <a:pt x="186" y="336"/>
                  </a:lnTo>
                  <a:lnTo>
                    <a:pt x="192" y="330"/>
                  </a:lnTo>
                  <a:lnTo>
                    <a:pt x="204" y="312"/>
                  </a:lnTo>
                  <a:lnTo>
                    <a:pt x="210" y="312"/>
                  </a:lnTo>
                  <a:lnTo>
                    <a:pt x="216" y="306"/>
                  </a:lnTo>
                  <a:lnTo>
                    <a:pt x="216" y="300"/>
                  </a:lnTo>
                  <a:lnTo>
                    <a:pt x="222" y="288"/>
                  </a:lnTo>
                  <a:lnTo>
                    <a:pt x="234" y="288"/>
                  </a:lnTo>
                  <a:lnTo>
                    <a:pt x="240" y="282"/>
                  </a:lnTo>
                  <a:lnTo>
                    <a:pt x="246" y="282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70" y="270"/>
                  </a:lnTo>
                  <a:lnTo>
                    <a:pt x="276" y="264"/>
                  </a:lnTo>
                  <a:lnTo>
                    <a:pt x="282" y="26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8" y="234"/>
                  </a:lnTo>
                  <a:lnTo>
                    <a:pt x="330" y="234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72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14" y="240"/>
                  </a:lnTo>
                  <a:lnTo>
                    <a:pt x="444" y="216"/>
                  </a:lnTo>
                  <a:lnTo>
                    <a:pt x="480" y="204"/>
                  </a:lnTo>
                  <a:lnTo>
                    <a:pt x="600" y="150"/>
                  </a:lnTo>
                  <a:lnTo>
                    <a:pt x="648" y="126"/>
                  </a:lnTo>
                  <a:lnTo>
                    <a:pt x="702" y="96"/>
                  </a:lnTo>
                  <a:lnTo>
                    <a:pt x="708" y="54"/>
                  </a:lnTo>
                  <a:lnTo>
                    <a:pt x="720" y="24"/>
                  </a:lnTo>
                  <a:lnTo>
                    <a:pt x="738" y="12"/>
                  </a:lnTo>
                  <a:lnTo>
                    <a:pt x="768" y="0"/>
                  </a:lnTo>
                  <a:lnTo>
                    <a:pt x="792" y="6"/>
                  </a:lnTo>
                  <a:lnTo>
                    <a:pt x="804" y="12"/>
                  </a:lnTo>
                  <a:lnTo>
                    <a:pt x="834" y="48"/>
                  </a:lnTo>
                  <a:lnTo>
                    <a:pt x="834" y="60"/>
                  </a:lnTo>
                  <a:lnTo>
                    <a:pt x="852" y="84"/>
                  </a:lnTo>
                  <a:lnTo>
                    <a:pt x="864" y="96"/>
                  </a:lnTo>
                  <a:lnTo>
                    <a:pt x="888" y="102"/>
                  </a:lnTo>
                  <a:lnTo>
                    <a:pt x="978" y="120"/>
                  </a:lnTo>
                  <a:lnTo>
                    <a:pt x="984" y="126"/>
                  </a:lnTo>
                  <a:lnTo>
                    <a:pt x="984" y="132"/>
                  </a:lnTo>
                  <a:lnTo>
                    <a:pt x="996" y="138"/>
                  </a:lnTo>
                  <a:lnTo>
                    <a:pt x="1038" y="126"/>
                  </a:lnTo>
                  <a:lnTo>
                    <a:pt x="1056" y="114"/>
                  </a:lnTo>
                  <a:lnTo>
                    <a:pt x="1068" y="126"/>
                  </a:lnTo>
                  <a:lnTo>
                    <a:pt x="1074" y="132"/>
                  </a:lnTo>
                  <a:lnTo>
                    <a:pt x="1068" y="138"/>
                  </a:lnTo>
                  <a:lnTo>
                    <a:pt x="1056" y="150"/>
                  </a:lnTo>
                  <a:lnTo>
                    <a:pt x="1038" y="162"/>
                  </a:lnTo>
                  <a:lnTo>
                    <a:pt x="1038" y="168"/>
                  </a:lnTo>
                  <a:lnTo>
                    <a:pt x="1020" y="174"/>
                  </a:lnTo>
                  <a:lnTo>
                    <a:pt x="1014" y="180"/>
                  </a:lnTo>
                  <a:lnTo>
                    <a:pt x="1008" y="186"/>
                  </a:lnTo>
                  <a:lnTo>
                    <a:pt x="1002" y="198"/>
                  </a:lnTo>
                  <a:lnTo>
                    <a:pt x="984" y="204"/>
                  </a:lnTo>
                  <a:lnTo>
                    <a:pt x="984" y="246"/>
                  </a:lnTo>
                  <a:lnTo>
                    <a:pt x="978" y="270"/>
                  </a:lnTo>
                  <a:lnTo>
                    <a:pt x="990" y="306"/>
                  </a:lnTo>
                  <a:lnTo>
                    <a:pt x="990" y="324"/>
                  </a:lnTo>
                  <a:lnTo>
                    <a:pt x="1002" y="336"/>
                  </a:lnTo>
                  <a:lnTo>
                    <a:pt x="1020" y="372"/>
                  </a:lnTo>
                  <a:lnTo>
                    <a:pt x="1014" y="378"/>
                  </a:lnTo>
                  <a:lnTo>
                    <a:pt x="1014" y="384"/>
                  </a:lnTo>
                  <a:lnTo>
                    <a:pt x="1020" y="384"/>
                  </a:lnTo>
                  <a:lnTo>
                    <a:pt x="1020" y="396"/>
                  </a:lnTo>
                  <a:lnTo>
                    <a:pt x="1062" y="468"/>
                  </a:lnTo>
                  <a:lnTo>
                    <a:pt x="1092" y="522"/>
                  </a:lnTo>
                  <a:lnTo>
                    <a:pt x="1110" y="546"/>
                  </a:lnTo>
                  <a:lnTo>
                    <a:pt x="1122" y="564"/>
                  </a:lnTo>
                  <a:lnTo>
                    <a:pt x="1134" y="576"/>
                  </a:lnTo>
                  <a:lnTo>
                    <a:pt x="1146" y="582"/>
                  </a:lnTo>
                  <a:lnTo>
                    <a:pt x="1146" y="588"/>
                  </a:lnTo>
                  <a:lnTo>
                    <a:pt x="1164" y="600"/>
                  </a:lnTo>
                  <a:lnTo>
                    <a:pt x="1170" y="612"/>
                  </a:lnTo>
                  <a:lnTo>
                    <a:pt x="1170" y="624"/>
                  </a:lnTo>
                  <a:lnTo>
                    <a:pt x="1176" y="654"/>
                  </a:lnTo>
                  <a:lnTo>
                    <a:pt x="1176" y="666"/>
                  </a:lnTo>
                  <a:lnTo>
                    <a:pt x="1182" y="684"/>
                  </a:lnTo>
                  <a:lnTo>
                    <a:pt x="1194" y="696"/>
                  </a:lnTo>
                  <a:lnTo>
                    <a:pt x="1212" y="696"/>
                  </a:lnTo>
                  <a:lnTo>
                    <a:pt x="1206" y="762"/>
                  </a:lnTo>
                  <a:lnTo>
                    <a:pt x="1200" y="768"/>
                  </a:lnTo>
                  <a:lnTo>
                    <a:pt x="1194" y="768"/>
                  </a:lnTo>
                  <a:lnTo>
                    <a:pt x="1194" y="774"/>
                  </a:lnTo>
                  <a:lnTo>
                    <a:pt x="1188" y="774"/>
                  </a:lnTo>
                  <a:lnTo>
                    <a:pt x="1182" y="780"/>
                  </a:lnTo>
                  <a:lnTo>
                    <a:pt x="1176" y="780"/>
                  </a:lnTo>
                  <a:lnTo>
                    <a:pt x="1170" y="780"/>
                  </a:lnTo>
                  <a:lnTo>
                    <a:pt x="1164" y="786"/>
                  </a:lnTo>
                  <a:lnTo>
                    <a:pt x="1158" y="786"/>
                  </a:lnTo>
                  <a:lnTo>
                    <a:pt x="1152" y="786"/>
                  </a:lnTo>
                  <a:lnTo>
                    <a:pt x="1140" y="786"/>
                  </a:lnTo>
                  <a:lnTo>
                    <a:pt x="1134" y="786"/>
                  </a:lnTo>
                  <a:lnTo>
                    <a:pt x="1134" y="780"/>
                  </a:lnTo>
                  <a:lnTo>
                    <a:pt x="1122" y="780"/>
                  </a:lnTo>
                  <a:lnTo>
                    <a:pt x="1116" y="786"/>
                  </a:lnTo>
                  <a:lnTo>
                    <a:pt x="1116" y="792"/>
                  </a:lnTo>
                  <a:lnTo>
                    <a:pt x="1122" y="804"/>
                  </a:lnTo>
                  <a:lnTo>
                    <a:pt x="1128" y="804"/>
                  </a:lnTo>
                  <a:lnTo>
                    <a:pt x="1128" y="816"/>
                  </a:lnTo>
                  <a:lnTo>
                    <a:pt x="1122" y="822"/>
                  </a:lnTo>
                  <a:lnTo>
                    <a:pt x="1116" y="816"/>
                  </a:lnTo>
                  <a:lnTo>
                    <a:pt x="1110" y="816"/>
                  </a:lnTo>
                  <a:lnTo>
                    <a:pt x="1104" y="816"/>
                  </a:lnTo>
                  <a:lnTo>
                    <a:pt x="1098" y="816"/>
                  </a:lnTo>
                  <a:lnTo>
                    <a:pt x="1098" y="822"/>
                  </a:lnTo>
                  <a:lnTo>
                    <a:pt x="1092" y="834"/>
                  </a:lnTo>
                  <a:lnTo>
                    <a:pt x="1092" y="840"/>
                  </a:lnTo>
                  <a:lnTo>
                    <a:pt x="1074" y="840"/>
                  </a:lnTo>
                  <a:lnTo>
                    <a:pt x="1074" y="828"/>
                  </a:lnTo>
                  <a:lnTo>
                    <a:pt x="1062" y="804"/>
                  </a:lnTo>
                  <a:lnTo>
                    <a:pt x="1056" y="792"/>
                  </a:lnTo>
                  <a:lnTo>
                    <a:pt x="1056" y="786"/>
                  </a:lnTo>
                  <a:lnTo>
                    <a:pt x="1026" y="780"/>
                  </a:lnTo>
                  <a:lnTo>
                    <a:pt x="1026" y="768"/>
                  </a:lnTo>
                  <a:lnTo>
                    <a:pt x="1008" y="768"/>
                  </a:lnTo>
                  <a:lnTo>
                    <a:pt x="1002" y="780"/>
                  </a:lnTo>
                  <a:lnTo>
                    <a:pt x="996" y="792"/>
                  </a:lnTo>
                  <a:lnTo>
                    <a:pt x="978" y="798"/>
                  </a:lnTo>
                  <a:lnTo>
                    <a:pt x="972" y="810"/>
                  </a:lnTo>
                  <a:lnTo>
                    <a:pt x="972" y="822"/>
                  </a:lnTo>
                  <a:lnTo>
                    <a:pt x="978" y="828"/>
                  </a:lnTo>
                  <a:lnTo>
                    <a:pt x="978" y="834"/>
                  </a:lnTo>
                  <a:lnTo>
                    <a:pt x="960" y="840"/>
                  </a:lnTo>
                  <a:lnTo>
                    <a:pt x="936" y="840"/>
                  </a:lnTo>
                  <a:lnTo>
                    <a:pt x="918" y="846"/>
                  </a:lnTo>
                  <a:lnTo>
                    <a:pt x="912" y="840"/>
                  </a:lnTo>
                  <a:lnTo>
                    <a:pt x="912" y="834"/>
                  </a:lnTo>
                  <a:lnTo>
                    <a:pt x="906" y="834"/>
                  </a:lnTo>
                  <a:lnTo>
                    <a:pt x="906" y="840"/>
                  </a:lnTo>
                  <a:lnTo>
                    <a:pt x="900" y="846"/>
                  </a:lnTo>
                  <a:lnTo>
                    <a:pt x="906" y="852"/>
                  </a:lnTo>
                  <a:lnTo>
                    <a:pt x="900" y="864"/>
                  </a:lnTo>
                  <a:lnTo>
                    <a:pt x="900" y="876"/>
                  </a:lnTo>
                  <a:lnTo>
                    <a:pt x="900" y="882"/>
                  </a:lnTo>
                  <a:lnTo>
                    <a:pt x="894" y="888"/>
                  </a:lnTo>
                  <a:lnTo>
                    <a:pt x="900" y="900"/>
                  </a:lnTo>
                  <a:lnTo>
                    <a:pt x="900" y="906"/>
                  </a:lnTo>
                  <a:lnTo>
                    <a:pt x="894" y="906"/>
                  </a:lnTo>
                  <a:lnTo>
                    <a:pt x="894" y="912"/>
                  </a:lnTo>
                  <a:lnTo>
                    <a:pt x="900" y="918"/>
                  </a:lnTo>
                  <a:lnTo>
                    <a:pt x="900" y="924"/>
                  </a:lnTo>
                  <a:lnTo>
                    <a:pt x="900" y="948"/>
                  </a:lnTo>
                  <a:lnTo>
                    <a:pt x="888" y="948"/>
                  </a:lnTo>
                  <a:lnTo>
                    <a:pt x="888" y="954"/>
                  </a:lnTo>
                  <a:lnTo>
                    <a:pt x="894" y="954"/>
                  </a:lnTo>
                  <a:lnTo>
                    <a:pt x="900" y="960"/>
                  </a:lnTo>
                  <a:lnTo>
                    <a:pt x="900" y="972"/>
                  </a:lnTo>
                  <a:lnTo>
                    <a:pt x="906" y="984"/>
                  </a:lnTo>
                  <a:lnTo>
                    <a:pt x="912" y="984"/>
                  </a:lnTo>
                  <a:lnTo>
                    <a:pt x="918" y="990"/>
                  </a:lnTo>
                  <a:lnTo>
                    <a:pt x="936" y="990"/>
                  </a:lnTo>
                  <a:lnTo>
                    <a:pt x="936" y="996"/>
                  </a:lnTo>
                  <a:lnTo>
                    <a:pt x="942" y="996"/>
                  </a:lnTo>
                  <a:lnTo>
                    <a:pt x="942" y="1002"/>
                  </a:lnTo>
                  <a:lnTo>
                    <a:pt x="942" y="1008"/>
                  </a:lnTo>
                  <a:lnTo>
                    <a:pt x="948" y="1008"/>
                  </a:lnTo>
                  <a:lnTo>
                    <a:pt x="948" y="1014"/>
                  </a:lnTo>
                  <a:lnTo>
                    <a:pt x="948" y="1020"/>
                  </a:lnTo>
                  <a:lnTo>
                    <a:pt x="954" y="1032"/>
                  </a:lnTo>
                  <a:lnTo>
                    <a:pt x="948" y="1038"/>
                  </a:lnTo>
                  <a:lnTo>
                    <a:pt x="954" y="1044"/>
                  </a:lnTo>
                  <a:lnTo>
                    <a:pt x="954" y="1056"/>
                  </a:lnTo>
                  <a:lnTo>
                    <a:pt x="960" y="1056"/>
                  </a:lnTo>
                  <a:lnTo>
                    <a:pt x="960" y="1062"/>
                  </a:lnTo>
                  <a:lnTo>
                    <a:pt x="954" y="1068"/>
                  </a:lnTo>
                  <a:lnTo>
                    <a:pt x="948" y="1074"/>
                  </a:lnTo>
                  <a:lnTo>
                    <a:pt x="948" y="1080"/>
                  </a:lnTo>
                  <a:lnTo>
                    <a:pt x="948" y="1086"/>
                  </a:lnTo>
                  <a:lnTo>
                    <a:pt x="942" y="1092"/>
                  </a:lnTo>
                  <a:lnTo>
                    <a:pt x="942" y="1098"/>
                  </a:lnTo>
                  <a:lnTo>
                    <a:pt x="942" y="1104"/>
                  </a:lnTo>
                  <a:lnTo>
                    <a:pt x="942" y="1110"/>
                  </a:lnTo>
                  <a:lnTo>
                    <a:pt x="936" y="1116"/>
                  </a:lnTo>
                  <a:lnTo>
                    <a:pt x="936" y="1122"/>
                  </a:lnTo>
                  <a:lnTo>
                    <a:pt x="936" y="1128"/>
                  </a:lnTo>
                  <a:lnTo>
                    <a:pt x="936" y="1134"/>
                  </a:lnTo>
                  <a:lnTo>
                    <a:pt x="942" y="1146"/>
                  </a:lnTo>
                  <a:lnTo>
                    <a:pt x="936" y="1158"/>
                  </a:lnTo>
                  <a:lnTo>
                    <a:pt x="936" y="1170"/>
                  </a:lnTo>
                  <a:lnTo>
                    <a:pt x="936" y="1194"/>
                  </a:lnTo>
                  <a:lnTo>
                    <a:pt x="930" y="1200"/>
                  </a:lnTo>
                  <a:lnTo>
                    <a:pt x="930" y="1212"/>
                  </a:lnTo>
                  <a:lnTo>
                    <a:pt x="918" y="1218"/>
                  </a:lnTo>
                  <a:lnTo>
                    <a:pt x="918" y="1230"/>
                  </a:lnTo>
                  <a:lnTo>
                    <a:pt x="906" y="1230"/>
                  </a:lnTo>
                  <a:lnTo>
                    <a:pt x="900" y="1254"/>
                  </a:lnTo>
                  <a:lnTo>
                    <a:pt x="900" y="1260"/>
                  </a:lnTo>
                  <a:lnTo>
                    <a:pt x="900" y="1266"/>
                  </a:lnTo>
                  <a:lnTo>
                    <a:pt x="900" y="1272"/>
                  </a:lnTo>
                  <a:lnTo>
                    <a:pt x="900" y="1278"/>
                  </a:lnTo>
                  <a:lnTo>
                    <a:pt x="900" y="1284"/>
                  </a:lnTo>
                  <a:lnTo>
                    <a:pt x="906" y="129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1" name="Freeform 26">
              <a:extLst>
                <a:ext uri="{FF2B5EF4-FFF2-40B4-BE49-F238E27FC236}">
                  <a16:creationId xmlns:a16="http://schemas.microsoft.com/office/drawing/2014/main" id="{25725EFE-FE00-49A8-A87A-6752B785C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79173" y="3477313"/>
              <a:ext cx="650731" cy="559125"/>
            </a:xfrm>
            <a:custGeom>
              <a:avLst/>
              <a:gdLst>
                <a:gd name="T0" fmla="*/ 95 w 1224"/>
                <a:gd name="T1" fmla="*/ 89 h 1050"/>
                <a:gd name="T2" fmla="*/ 90 w 1224"/>
                <a:gd name="T3" fmla="*/ 84 h 1050"/>
                <a:gd name="T4" fmla="*/ 84 w 1224"/>
                <a:gd name="T5" fmla="*/ 83 h 1050"/>
                <a:gd name="T6" fmla="*/ 82 w 1224"/>
                <a:gd name="T7" fmla="*/ 80 h 1050"/>
                <a:gd name="T8" fmla="*/ 85 w 1224"/>
                <a:gd name="T9" fmla="*/ 77 h 1050"/>
                <a:gd name="T10" fmla="*/ 81 w 1224"/>
                <a:gd name="T11" fmla="*/ 76 h 1050"/>
                <a:gd name="T12" fmla="*/ 77 w 1224"/>
                <a:gd name="T13" fmla="*/ 77 h 1050"/>
                <a:gd name="T14" fmla="*/ 78 w 1224"/>
                <a:gd name="T15" fmla="*/ 73 h 1050"/>
                <a:gd name="T16" fmla="*/ 59 w 1224"/>
                <a:gd name="T17" fmla="*/ 71 h 1050"/>
                <a:gd name="T18" fmla="*/ 41 w 1224"/>
                <a:gd name="T19" fmla="*/ 73 h 1050"/>
                <a:gd name="T20" fmla="*/ 33 w 1224"/>
                <a:gd name="T21" fmla="*/ 71 h 1050"/>
                <a:gd name="T22" fmla="*/ 30 w 1224"/>
                <a:gd name="T23" fmla="*/ 75 h 1050"/>
                <a:gd name="T24" fmla="*/ 27 w 1224"/>
                <a:gd name="T25" fmla="*/ 80 h 1050"/>
                <a:gd name="T26" fmla="*/ 12 w 1224"/>
                <a:gd name="T27" fmla="*/ 81 h 1050"/>
                <a:gd name="T28" fmla="*/ 9 w 1224"/>
                <a:gd name="T29" fmla="*/ 84 h 1050"/>
                <a:gd name="T30" fmla="*/ 6 w 1224"/>
                <a:gd name="T31" fmla="*/ 83 h 1050"/>
                <a:gd name="T32" fmla="*/ 1 w 1224"/>
                <a:gd name="T33" fmla="*/ 83 h 1050"/>
                <a:gd name="T34" fmla="*/ 3 w 1224"/>
                <a:gd name="T35" fmla="*/ 77 h 1050"/>
                <a:gd name="T36" fmla="*/ 5 w 1224"/>
                <a:gd name="T37" fmla="*/ 70 h 1050"/>
                <a:gd name="T38" fmla="*/ 2 w 1224"/>
                <a:gd name="T39" fmla="*/ 65 h 1050"/>
                <a:gd name="T40" fmla="*/ 3 w 1224"/>
                <a:gd name="T41" fmla="*/ 58 h 1050"/>
                <a:gd name="T42" fmla="*/ 4 w 1224"/>
                <a:gd name="T43" fmla="*/ 51 h 1050"/>
                <a:gd name="T44" fmla="*/ 3 w 1224"/>
                <a:gd name="T45" fmla="*/ 47 h 1050"/>
                <a:gd name="T46" fmla="*/ 4 w 1224"/>
                <a:gd name="T47" fmla="*/ 39 h 1050"/>
                <a:gd name="T48" fmla="*/ 6 w 1224"/>
                <a:gd name="T49" fmla="*/ 29 h 1050"/>
                <a:gd name="T50" fmla="*/ 3 w 1224"/>
                <a:gd name="T51" fmla="*/ 22 h 1050"/>
                <a:gd name="T52" fmla="*/ 2 w 1224"/>
                <a:gd name="T53" fmla="*/ 14 h 1050"/>
                <a:gd name="T54" fmla="*/ 0 w 1224"/>
                <a:gd name="T55" fmla="*/ 6 h 1050"/>
                <a:gd name="T56" fmla="*/ 9 w 1224"/>
                <a:gd name="T57" fmla="*/ 1 h 1050"/>
                <a:gd name="T58" fmla="*/ 11 w 1224"/>
                <a:gd name="T59" fmla="*/ 8 h 1050"/>
                <a:gd name="T60" fmla="*/ 15 w 1224"/>
                <a:gd name="T61" fmla="*/ 9 h 1050"/>
                <a:gd name="T62" fmla="*/ 18 w 1224"/>
                <a:gd name="T63" fmla="*/ 8 h 1050"/>
                <a:gd name="T64" fmla="*/ 18 w 1224"/>
                <a:gd name="T65" fmla="*/ 13 h 1050"/>
                <a:gd name="T66" fmla="*/ 17 w 1224"/>
                <a:gd name="T67" fmla="*/ 15 h 1050"/>
                <a:gd name="T68" fmla="*/ 17 w 1224"/>
                <a:gd name="T69" fmla="*/ 17 h 1050"/>
                <a:gd name="T70" fmla="*/ 17 w 1224"/>
                <a:gd name="T71" fmla="*/ 21 h 1050"/>
                <a:gd name="T72" fmla="*/ 21 w 1224"/>
                <a:gd name="T73" fmla="*/ 25 h 1050"/>
                <a:gd name="T74" fmla="*/ 24 w 1224"/>
                <a:gd name="T75" fmla="*/ 31 h 1050"/>
                <a:gd name="T76" fmla="*/ 35 w 1224"/>
                <a:gd name="T77" fmla="*/ 34 h 1050"/>
                <a:gd name="T78" fmla="*/ 40 w 1224"/>
                <a:gd name="T79" fmla="*/ 27 h 1050"/>
                <a:gd name="T80" fmla="*/ 46 w 1224"/>
                <a:gd name="T81" fmla="*/ 30 h 1050"/>
                <a:gd name="T82" fmla="*/ 51 w 1224"/>
                <a:gd name="T83" fmla="*/ 27 h 1050"/>
                <a:gd name="T84" fmla="*/ 59 w 1224"/>
                <a:gd name="T85" fmla="*/ 39 h 1050"/>
                <a:gd name="T86" fmla="*/ 59 w 1224"/>
                <a:gd name="T87" fmla="*/ 45 h 1050"/>
                <a:gd name="T88" fmla="*/ 72 w 1224"/>
                <a:gd name="T89" fmla="*/ 45 h 1050"/>
                <a:gd name="T90" fmla="*/ 79 w 1224"/>
                <a:gd name="T91" fmla="*/ 44 h 1050"/>
                <a:gd name="T92" fmla="*/ 87 w 1224"/>
                <a:gd name="T93" fmla="*/ 48 h 1050"/>
                <a:gd name="T94" fmla="*/ 93 w 1224"/>
                <a:gd name="T95" fmla="*/ 50 h 1050"/>
                <a:gd name="T96" fmla="*/ 98 w 1224"/>
                <a:gd name="T97" fmla="*/ 51 h 1050"/>
                <a:gd name="T98" fmla="*/ 106 w 1224"/>
                <a:gd name="T99" fmla="*/ 50 h 1050"/>
                <a:gd name="T100" fmla="*/ 104 w 1224"/>
                <a:gd name="T101" fmla="*/ 54 h 1050"/>
                <a:gd name="T102" fmla="*/ 104 w 1224"/>
                <a:gd name="T103" fmla="*/ 60 h 1050"/>
                <a:gd name="T104" fmla="*/ 101 w 1224"/>
                <a:gd name="T105" fmla="*/ 63 h 1050"/>
                <a:gd name="T106" fmla="*/ 98 w 1224"/>
                <a:gd name="T107" fmla="*/ 66 h 1050"/>
                <a:gd name="T108" fmla="*/ 95 w 1224"/>
                <a:gd name="T109" fmla="*/ 68 h 1050"/>
                <a:gd name="T110" fmla="*/ 93 w 1224"/>
                <a:gd name="T111" fmla="*/ 72 h 1050"/>
                <a:gd name="T112" fmla="*/ 98 w 1224"/>
                <a:gd name="T113" fmla="*/ 75 h 1050"/>
                <a:gd name="T114" fmla="*/ 102 w 1224"/>
                <a:gd name="T115" fmla="*/ 77 h 1050"/>
                <a:gd name="T116" fmla="*/ 107 w 1224"/>
                <a:gd name="T117" fmla="*/ 76 h 1050"/>
                <a:gd name="T118" fmla="*/ 104 w 1224"/>
                <a:gd name="T119" fmla="*/ 84 h 1050"/>
                <a:gd name="T120" fmla="*/ 103 w 1224"/>
                <a:gd name="T121" fmla="*/ 87 h 1050"/>
                <a:gd name="T122" fmla="*/ 104 w 1224"/>
                <a:gd name="T123" fmla="*/ 91 h 105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24"/>
                <a:gd name="T187" fmla="*/ 0 h 1050"/>
                <a:gd name="T188" fmla="*/ 1224 w 1224"/>
                <a:gd name="T189" fmla="*/ 1050 h 105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24" h="1050">
                  <a:moveTo>
                    <a:pt x="1128" y="1032"/>
                  </a:moveTo>
                  <a:lnTo>
                    <a:pt x="1122" y="1026"/>
                  </a:lnTo>
                  <a:lnTo>
                    <a:pt x="1116" y="1026"/>
                  </a:lnTo>
                  <a:lnTo>
                    <a:pt x="1110" y="1026"/>
                  </a:lnTo>
                  <a:lnTo>
                    <a:pt x="1104" y="1026"/>
                  </a:lnTo>
                  <a:lnTo>
                    <a:pt x="1104" y="1020"/>
                  </a:lnTo>
                  <a:lnTo>
                    <a:pt x="1098" y="1020"/>
                  </a:lnTo>
                  <a:lnTo>
                    <a:pt x="1092" y="1020"/>
                  </a:lnTo>
                  <a:lnTo>
                    <a:pt x="1086" y="1020"/>
                  </a:lnTo>
                  <a:lnTo>
                    <a:pt x="1080" y="1014"/>
                  </a:lnTo>
                  <a:lnTo>
                    <a:pt x="1068" y="1014"/>
                  </a:lnTo>
                  <a:lnTo>
                    <a:pt x="1062" y="1014"/>
                  </a:lnTo>
                  <a:lnTo>
                    <a:pt x="1062" y="1008"/>
                  </a:lnTo>
                  <a:lnTo>
                    <a:pt x="1062" y="990"/>
                  </a:lnTo>
                  <a:lnTo>
                    <a:pt x="1062" y="984"/>
                  </a:lnTo>
                  <a:lnTo>
                    <a:pt x="1062" y="972"/>
                  </a:lnTo>
                  <a:lnTo>
                    <a:pt x="1044" y="966"/>
                  </a:lnTo>
                  <a:lnTo>
                    <a:pt x="1026" y="966"/>
                  </a:lnTo>
                  <a:lnTo>
                    <a:pt x="1014" y="966"/>
                  </a:lnTo>
                  <a:lnTo>
                    <a:pt x="996" y="966"/>
                  </a:lnTo>
                  <a:lnTo>
                    <a:pt x="996" y="972"/>
                  </a:lnTo>
                  <a:lnTo>
                    <a:pt x="990" y="972"/>
                  </a:lnTo>
                  <a:lnTo>
                    <a:pt x="984" y="966"/>
                  </a:lnTo>
                  <a:lnTo>
                    <a:pt x="978" y="966"/>
                  </a:lnTo>
                  <a:lnTo>
                    <a:pt x="978" y="960"/>
                  </a:lnTo>
                  <a:lnTo>
                    <a:pt x="972" y="954"/>
                  </a:lnTo>
                  <a:lnTo>
                    <a:pt x="966" y="954"/>
                  </a:lnTo>
                  <a:lnTo>
                    <a:pt x="960" y="954"/>
                  </a:lnTo>
                  <a:lnTo>
                    <a:pt x="954" y="954"/>
                  </a:lnTo>
                  <a:lnTo>
                    <a:pt x="954" y="948"/>
                  </a:lnTo>
                  <a:lnTo>
                    <a:pt x="942" y="942"/>
                  </a:lnTo>
                  <a:lnTo>
                    <a:pt x="936" y="942"/>
                  </a:lnTo>
                  <a:lnTo>
                    <a:pt x="936" y="936"/>
                  </a:lnTo>
                  <a:lnTo>
                    <a:pt x="936" y="930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42" y="918"/>
                  </a:lnTo>
                  <a:lnTo>
                    <a:pt x="948" y="918"/>
                  </a:lnTo>
                  <a:lnTo>
                    <a:pt x="960" y="918"/>
                  </a:lnTo>
                  <a:lnTo>
                    <a:pt x="966" y="912"/>
                  </a:lnTo>
                  <a:lnTo>
                    <a:pt x="978" y="906"/>
                  </a:lnTo>
                  <a:lnTo>
                    <a:pt x="978" y="900"/>
                  </a:lnTo>
                  <a:lnTo>
                    <a:pt x="978" y="894"/>
                  </a:lnTo>
                  <a:lnTo>
                    <a:pt x="978" y="888"/>
                  </a:lnTo>
                  <a:lnTo>
                    <a:pt x="972" y="888"/>
                  </a:lnTo>
                  <a:lnTo>
                    <a:pt x="978" y="888"/>
                  </a:lnTo>
                  <a:lnTo>
                    <a:pt x="978" y="882"/>
                  </a:lnTo>
                  <a:lnTo>
                    <a:pt x="972" y="876"/>
                  </a:lnTo>
                  <a:lnTo>
                    <a:pt x="966" y="870"/>
                  </a:lnTo>
                  <a:lnTo>
                    <a:pt x="954" y="876"/>
                  </a:lnTo>
                  <a:lnTo>
                    <a:pt x="948" y="876"/>
                  </a:lnTo>
                  <a:lnTo>
                    <a:pt x="942" y="870"/>
                  </a:lnTo>
                  <a:lnTo>
                    <a:pt x="936" y="876"/>
                  </a:lnTo>
                  <a:lnTo>
                    <a:pt x="930" y="876"/>
                  </a:lnTo>
                  <a:lnTo>
                    <a:pt x="924" y="882"/>
                  </a:lnTo>
                  <a:lnTo>
                    <a:pt x="912" y="888"/>
                  </a:lnTo>
                  <a:lnTo>
                    <a:pt x="906" y="894"/>
                  </a:lnTo>
                  <a:lnTo>
                    <a:pt x="900" y="900"/>
                  </a:lnTo>
                  <a:lnTo>
                    <a:pt x="894" y="888"/>
                  </a:lnTo>
                  <a:lnTo>
                    <a:pt x="888" y="894"/>
                  </a:lnTo>
                  <a:lnTo>
                    <a:pt x="882" y="888"/>
                  </a:lnTo>
                  <a:lnTo>
                    <a:pt x="876" y="894"/>
                  </a:lnTo>
                  <a:lnTo>
                    <a:pt x="876" y="888"/>
                  </a:lnTo>
                  <a:lnTo>
                    <a:pt x="876" y="882"/>
                  </a:lnTo>
                  <a:lnTo>
                    <a:pt x="876" y="876"/>
                  </a:lnTo>
                  <a:lnTo>
                    <a:pt x="870" y="858"/>
                  </a:lnTo>
                  <a:lnTo>
                    <a:pt x="864" y="858"/>
                  </a:lnTo>
                  <a:lnTo>
                    <a:pt x="870" y="852"/>
                  </a:lnTo>
                  <a:lnTo>
                    <a:pt x="870" y="846"/>
                  </a:lnTo>
                  <a:lnTo>
                    <a:pt x="876" y="846"/>
                  </a:lnTo>
                  <a:lnTo>
                    <a:pt x="882" y="846"/>
                  </a:lnTo>
                  <a:lnTo>
                    <a:pt x="888" y="840"/>
                  </a:lnTo>
                  <a:lnTo>
                    <a:pt x="894" y="834"/>
                  </a:lnTo>
                  <a:lnTo>
                    <a:pt x="894" y="828"/>
                  </a:lnTo>
                  <a:lnTo>
                    <a:pt x="894" y="816"/>
                  </a:lnTo>
                  <a:lnTo>
                    <a:pt x="858" y="810"/>
                  </a:lnTo>
                  <a:lnTo>
                    <a:pt x="858" y="816"/>
                  </a:lnTo>
                  <a:lnTo>
                    <a:pt x="852" y="816"/>
                  </a:lnTo>
                  <a:lnTo>
                    <a:pt x="780" y="816"/>
                  </a:lnTo>
                  <a:lnTo>
                    <a:pt x="750" y="816"/>
                  </a:lnTo>
                  <a:lnTo>
                    <a:pt x="684" y="816"/>
                  </a:lnTo>
                  <a:lnTo>
                    <a:pt x="636" y="816"/>
                  </a:lnTo>
                  <a:lnTo>
                    <a:pt x="612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0" y="816"/>
                  </a:lnTo>
                  <a:lnTo>
                    <a:pt x="480" y="822"/>
                  </a:lnTo>
                  <a:lnTo>
                    <a:pt x="480" y="834"/>
                  </a:lnTo>
                  <a:lnTo>
                    <a:pt x="474" y="840"/>
                  </a:lnTo>
                  <a:lnTo>
                    <a:pt x="468" y="840"/>
                  </a:lnTo>
                  <a:lnTo>
                    <a:pt x="432" y="840"/>
                  </a:lnTo>
                  <a:lnTo>
                    <a:pt x="426" y="834"/>
                  </a:lnTo>
                  <a:lnTo>
                    <a:pt x="420" y="834"/>
                  </a:lnTo>
                  <a:lnTo>
                    <a:pt x="420" y="828"/>
                  </a:lnTo>
                  <a:lnTo>
                    <a:pt x="414" y="822"/>
                  </a:lnTo>
                  <a:lnTo>
                    <a:pt x="408" y="822"/>
                  </a:lnTo>
                  <a:lnTo>
                    <a:pt x="396" y="822"/>
                  </a:lnTo>
                  <a:lnTo>
                    <a:pt x="396" y="816"/>
                  </a:lnTo>
                  <a:lnTo>
                    <a:pt x="384" y="816"/>
                  </a:lnTo>
                  <a:lnTo>
                    <a:pt x="372" y="810"/>
                  </a:lnTo>
                  <a:lnTo>
                    <a:pt x="372" y="804"/>
                  </a:lnTo>
                  <a:lnTo>
                    <a:pt x="366" y="804"/>
                  </a:lnTo>
                  <a:lnTo>
                    <a:pt x="360" y="804"/>
                  </a:lnTo>
                  <a:lnTo>
                    <a:pt x="348" y="828"/>
                  </a:lnTo>
                  <a:lnTo>
                    <a:pt x="348" y="834"/>
                  </a:lnTo>
                  <a:lnTo>
                    <a:pt x="348" y="852"/>
                  </a:lnTo>
                  <a:lnTo>
                    <a:pt x="348" y="858"/>
                  </a:lnTo>
                  <a:lnTo>
                    <a:pt x="342" y="864"/>
                  </a:lnTo>
                  <a:lnTo>
                    <a:pt x="342" y="870"/>
                  </a:lnTo>
                  <a:lnTo>
                    <a:pt x="330" y="876"/>
                  </a:lnTo>
                  <a:lnTo>
                    <a:pt x="324" y="888"/>
                  </a:lnTo>
                  <a:lnTo>
                    <a:pt x="324" y="894"/>
                  </a:lnTo>
                  <a:lnTo>
                    <a:pt x="330" y="900"/>
                  </a:lnTo>
                  <a:lnTo>
                    <a:pt x="330" y="906"/>
                  </a:lnTo>
                  <a:lnTo>
                    <a:pt x="324" y="906"/>
                  </a:lnTo>
                  <a:lnTo>
                    <a:pt x="318" y="912"/>
                  </a:lnTo>
                  <a:lnTo>
                    <a:pt x="312" y="918"/>
                  </a:lnTo>
                  <a:lnTo>
                    <a:pt x="306" y="924"/>
                  </a:lnTo>
                  <a:lnTo>
                    <a:pt x="288" y="924"/>
                  </a:lnTo>
                  <a:lnTo>
                    <a:pt x="282" y="924"/>
                  </a:lnTo>
                  <a:lnTo>
                    <a:pt x="276" y="930"/>
                  </a:lnTo>
                  <a:lnTo>
                    <a:pt x="270" y="930"/>
                  </a:lnTo>
                  <a:lnTo>
                    <a:pt x="264" y="930"/>
                  </a:lnTo>
                  <a:lnTo>
                    <a:pt x="198" y="930"/>
                  </a:lnTo>
                  <a:lnTo>
                    <a:pt x="132" y="930"/>
                  </a:lnTo>
                  <a:lnTo>
                    <a:pt x="132" y="936"/>
                  </a:lnTo>
                  <a:lnTo>
                    <a:pt x="132" y="942"/>
                  </a:lnTo>
                  <a:lnTo>
                    <a:pt x="132" y="948"/>
                  </a:lnTo>
                  <a:lnTo>
                    <a:pt x="126" y="948"/>
                  </a:lnTo>
                  <a:lnTo>
                    <a:pt x="120" y="948"/>
                  </a:lnTo>
                  <a:lnTo>
                    <a:pt x="120" y="954"/>
                  </a:lnTo>
                  <a:lnTo>
                    <a:pt x="114" y="954"/>
                  </a:lnTo>
                  <a:lnTo>
                    <a:pt x="114" y="960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02" y="966"/>
                  </a:lnTo>
                  <a:lnTo>
                    <a:pt x="102" y="972"/>
                  </a:lnTo>
                  <a:lnTo>
                    <a:pt x="96" y="972"/>
                  </a:lnTo>
                  <a:lnTo>
                    <a:pt x="96" y="966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78" y="960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60"/>
                  </a:lnTo>
                  <a:lnTo>
                    <a:pt x="54" y="966"/>
                  </a:lnTo>
                  <a:lnTo>
                    <a:pt x="48" y="966"/>
                  </a:lnTo>
                  <a:lnTo>
                    <a:pt x="42" y="966"/>
                  </a:lnTo>
                  <a:lnTo>
                    <a:pt x="36" y="966"/>
                  </a:lnTo>
                  <a:lnTo>
                    <a:pt x="30" y="966"/>
                  </a:lnTo>
                  <a:lnTo>
                    <a:pt x="24" y="960"/>
                  </a:lnTo>
                  <a:lnTo>
                    <a:pt x="18" y="960"/>
                  </a:lnTo>
                  <a:lnTo>
                    <a:pt x="12" y="960"/>
                  </a:lnTo>
                  <a:lnTo>
                    <a:pt x="12" y="948"/>
                  </a:lnTo>
                  <a:lnTo>
                    <a:pt x="18" y="942"/>
                  </a:lnTo>
                  <a:lnTo>
                    <a:pt x="18" y="936"/>
                  </a:lnTo>
                  <a:lnTo>
                    <a:pt x="18" y="930"/>
                  </a:lnTo>
                  <a:lnTo>
                    <a:pt x="18" y="924"/>
                  </a:lnTo>
                  <a:lnTo>
                    <a:pt x="18" y="912"/>
                  </a:lnTo>
                  <a:lnTo>
                    <a:pt x="24" y="906"/>
                  </a:lnTo>
                  <a:lnTo>
                    <a:pt x="30" y="900"/>
                  </a:lnTo>
                  <a:lnTo>
                    <a:pt x="36" y="894"/>
                  </a:lnTo>
                  <a:lnTo>
                    <a:pt x="36" y="882"/>
                  </a:lnTo>
                  <a:lnTo>
                    <a:pt x="30" y="876"/>
                  </a:lnTo>
                  <a:lnTo>
                    <a:pt x="30" y="870"/>
                  </a:lnTo>
                  <a:lnTo>
                    <a:pt x="24" y="858"/>
                  </a:lnTo>
                  <a:lnTo>
                    <a:pt x="24" y="846"/>
                  </a:lnTo>
                  <a:lnTo>
                    <a:pt x="36" y="822"/>
                  </a:lnTo>
                  <a:lnTo>
                    <a:pt x="42" y="816"/>
                  </a:lnTo>
                  <a:lnTo>
                    <a:pt x="48" y="816"/>
                  </a:lnTo>
                  <a:lnTo>
                    <a:pt x="60" y="804"/>
                  </a:lnTo>
                  <a:lnTo>
                    <a:pt x="60" y="786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54" y="762"/>
                  </a:lnTo>
                  <a:lnTo>
                    <a:pt x="42" y="762"/>
                  </a:lnTo>
                  <a:lnTo>
                    <a:pt x="36" y="762"/>
                  </a:lnTo>
                  <a:lnTo>
                    <a:pt x="30" y="762"/>
                  </a:lnTo>
                  <a:lnTo>
                    <a:pt x="30" y="756"/>
                  </a:lnTo>
                  <a:lnTo>
                    <a:pt x="24" y="750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702"/>
                  </a:lnTo>
                  <a:lnTo>
                    <a:pt x="36" y="684"/>
                  </a:lnTo>
                  <a:lnTo>
                    <a:pt x="36" y="678"/>
                  </a:lnTo>
                  <a:lnTo>
                    <a:pt x="36" y="666"/>
                  </a:lnTo>
                  <a:lnTo>
                    <a:pt x="36" y="654"/>
                  </a:lnTo>
                  <a:lnTo>
                    <a:pt x="18" y="654"/>
                  </a:lnTo>
                  <a:lnTo>
                    <a:pt x="18" y="648"/>
                  </a:lnTo>
                  <a:lnTo>
                    <a:pt x="18" y="618"/>
                  </a:lnTo>
                  <a:lnTo>
                    <a:pt x="18" y="612"/>
                  </a:lnTo>
                  <a:lnTo>
                    <a:pt x="24" y="612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54" y="588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76"/>
                  </a:lnTo>
                  <a:lnTo>
                    <a:pt x="48" y="564"/>
                  </a:lnTo>
                  <a:lnTo>
                    <a:pt x="42" y="564"/>
                  </a:lnTo>
                  <a:lnTo>
                    <a:pt x="36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6" y="540"/>
                  </a:lnTo>
                  <a:lnTo>
                    <a:pt x="48" y="534"/>
                  </a:lnTo>
                  <a:lnTo>
                    <a:pt x="54" y="528"/>
                  </a:lnTo>
                  <a:lnTo>
                    <a:pt x="60" y="504"/>
                  </a:lnTo>
                  <a:lnTo>
                    <a:pt x="60" y="492"/>
                  </a:lnTo>
                  <a:lnTo>
                    <a:pt x="54" y="492"/>
                  </a:lnTo>
                  <a:lnTo>
                    <a:pt x="54" y="480"/>
                  </a:lnTo>
                  <a:lnTo>
                    <a:pt x="48" y="456"/>
                  </a:lnTo>
                  <a:lnTo>
                    <a:pt x="42" y="450"/>
                  </a:lnTo>
                  <a:lnTo>
                    <a:pt x="36" y="444"/>
                  </a:lnTo>
                  <a:lnTo>
                    <a:pt x="36" y="420"/>
                  </a:lnTo>
                  <a:lnTo>
                    <a:pt x="36" y="408"/>
                  </a:lnTo>
                  <a:lnTo>
                    <a:pt x="36" y="37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60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6" y="300"/>
                  </a:lnTo>
                  <a:lnTo>
                    <a:pt x="60" y="294"/>
                  </a:lnTo>
                  <a:lnTo>
                    <a:pt x="60" y="288"/>
                  </a:lnTo>
                  <a:lnTo>
                    <a:pt x="54" y="282"/>
                  </a:lnTo>
                  <a:lnTo>
                    <a:pt x="42" y="276"/>
                  </a:lnTo>
                  <a:lnTo>
                    <a:pt x="36" y="276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0" y="252"/>
                  </a:lnTo>
                  <a:lnTo>
                    <a:pt x="24" y="246"/>
                  </a:lnTo>
                  <a:lnTo>
                    <a:pt x="24" y="240"/>
                  </a:lnTo>
                  <a:lnTo>
                    <a:pt x="24" y="228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62"/>
                  </a:lnTo>
                  <a:lnTo>
                    <a:pt x="24" y="144"/>
                  </a:lnTo>
                  <a:lnTo>
                    <a:pt x="24" y="132"/>
                  </a:lnTo>
                  <a:lnTo>
                    <a:pt x="24" y="114"/>
                  </a:lnTo>
                  <a:lnTo>
                    <a:pt x="24" y="102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18" y="48"/>
                  </a:lnTo>
                  <a:lnTo>
                    <a:pt x="42" y="36"/>
                  </a:lnTo>
                  <a:lnTo>
                    <a:pt x="54" y="24"/>
                  </a:lnTo>
                  <a:lnTo>
                    <a:pt x="60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10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14" y="60"/>
                  </a:lnTo>
                  <a:lnTo>
                    <a:pt x="120" y="60"/>
                  </a:lnTo>
                  <a:lnTo>
                    <a:pt x="114" y="84"/>
                  </a:lnTo>
                  <a:lnTo>
                    <a:pt x="120" y="90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38" y="114"/>
                  </a:lnTo>
                  <a:lnTo>
                    <a:pt x="138" y="132"/>
                  </a:lnTo>
                  <a:lnTo>
                    <a:pt x="162" y="126"/>
                  </a:lnTo>
                  <a:lnTo>
                    <a:pt x="162" y="114"/>
                  </a:lnTo>
                  <a:lnTo>
                    <a:pt x="174" y="108"/>
                  </a:lnTo>
                  <a:lnTo>
                    <a:pt x="174" y="102"/>
                  </a:lnTo>
                  <a:lnTo>
                    <a:pt x="180" y="96"/>
                  </a:lnTo>
                  <a:lnTo>
                    <a:pt x="180" y="60"/>
                  </a:lnTo>
                  <a:lnTo>
                    <a:pt x="192" y="60"/>
                  </a:lnTo>
                  <a:lnTo>
                    <a:pt x="192" y="72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04" y="108"/>
                  </a:lnTo>
                  <a:lnTo>
                    <a:pt x="204" y="114"/>
                  </a:lnTo>
                  <a:lnTo>
                    <a:pt x="204" y="120"/>
                  </a:lnTo>
                  <a:lnTo>
                    <a:pt x="204" y="126"/>
                  </a:lnTo>
                  <a:lnTo>
                    <a:pt x="210" y="126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8" y="174"/>
                  </a:lnTo>
                  <a:lnTo>
                    <a:pt x="198" y="180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86" y="204"/>
                  </a:lnTo>
                  <a:lnTo>
                    <a:pt x="186" y="210"/>
                  </a:lnTo>
                  <a:lnTo>
                    <a:pt x="180" y="210"/>
                  </a:lnTo>
                  <a:lnTo>
                    <a:pt x="180" y="216"/>
                  </a:lnTo>
                  <a:lnTo>
                    <a:pt x="180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92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8" y="258"/>
                  </a:lnTo>
                  <a:lnTo>
                    <a:pt x="204" y="258"/>
                  </a:lnTo>
                  <a:lnTo>
                    <a:pt x="210" y="258"/>
                  </a:lnTo>
                  <a:lnTo>
                    <a:pt x="216" y="258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34" y="276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46" y="306"/>
                  </a:lnTo>
                  <a:lnTo>
                    <a:pt x="252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42"/>
                  </a:lnTo>
                  <a:lnTo>
                    <a:pt x="270" y="342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88" y="366"/>
                  </a:lnTo>
                  <a:lnTo>
                    <a:pt x="336" y="360"/>
                  </a:lnTo>
                  <a:lnTo>
                    <a:pt x="354" y="360"/>
                  </a:lnTo>
                  <a:lnTo>
                    <a:pt x="366" y="372"/>
                  </a:lnTo>
                  <a:lnTo>
                    <a:pt x="378" y="378"/>
                  </a:lnTo>
                  <a:lnTo>
                    <a:pt x="378" y="390"/>
                  </a:lnTo>
                  <a:lnTo>
                    <a:pt x="384" y="390"/>
                  </a:lnTo>
                  <a:lnTo>
                    <a:pt x="390" y="396"/>
                  </a:lnTo>
                  <a:lnTo>
                    <a:pt x="408" y="390"/>
                  </a:lnTo>
                  <a:lnTo>
                    <a:pt x="426" y="366"/>
                  </a:lnTo>
                  <a:lnTo>
                    <a:pt x="432" y="360"/>
                  </a:lnTo>
                  <a:lnTo>
                    <a:pt x="438" y="348"/>
                  </a:lnTo>
                  <a:lnTo>
                    <a:pt x="438" y="342"/>
                  </a:lnTo>
                  <a:lnTo>
                    <a:pt x="438" y="330"/>
                  </a:lnTo>
                  <a:lnTo>
                    <a:pt x="444" y="324"/>
                  </a:lnTo>
                  <a:lnTo>
                    <a:pt x="450" y="318"/>
                  </a:lnTo>
                  <a:lnTo>
                    <a:pt x="456" y="312"/>
                  </a:lnTo>
                  <a:lnTo>
                    <a:pt x="456" y="306"/>
                  </a:lnTo>
                  <a:lnTo>
                    <a:pt x="456" y="300"/>
                  </a:lnTo>
                  <a:lnTo>
                    <a:pt x="474" y="288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92" y="294"/>
                  </a:lnTo>
                  <a:lnTo>
                    <a:pt x="492" y="318"/>
                  </a:lnTo>
                  <a:lnTo>
                    <a:pt x="504" y="324"/>
                  </a:lnTo>
                  <a:lnTo>
                    <a:pt x="492" y="348"/>
                  </a:lnTo>
                  <a:lnTo>
                    <a:pt x="522" y="348"/>
                  </a:lnTo>
                  <a:lnTo>
                    <a:pt x="528" y="342"/>
                  </a:lnTo>
                  <a:lnTo>
                    <a:pt x="528" y="336"/>
                  </a:lnTo>
                  <a:lnTo>
                    <a:pt x="528" y="330"/>
                  </a:lnTo>
                  <a:lnTo>
                    <a:pt x="534" y="330"/>
                  </a:lnTo>
                  <a:lnTo>
                    <a:pt x="540" y="330"/>
                  </a:lnTo>
                  <a:lnTo>
                    <a:pt x="546" y="330"/>
                  </a:lnTo>
                  <a:lnTo>
                    <a:pt x="552" y="324"/>
                  </a:lnTo>
                  <a:lnTo>
                    <a:pt x="558" y="318"/>
                  </a:lnTo>
                  <a:lnTo>
                    <a:pt x="576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8" y="348"/>
                  </a:lnTo>
                  <a:lnTo>
                    <a:pt x="654" y="354"/>
                  </a:lnTo>
                  <a:lnTo>
                    <a:pt x="648" y="402"/>
                  </a:lnTo>
                  <a:lnTo>
                    <a:pt x="678" y="402"/>
                  </a:lnTo>
                  <a:lnTo>
                    <a:pt x="678" y="420"/>
                  </a:lnTo>
                  <a:lnTo>
                    <a:pt x="684" y="438"/>
                  </a:lnTo>
                  <a:lnTo>
                    <a:pt x="684" y="450"/>
                  </a:lnTo>
                  <a:lnTo>
                    <a:pt x="684" y="456"/>
                  </a:lnTo>
                  <a:lnTo>
                    <a:pt x="690" y="468"/>
                  </a:lnTo>
                  <a:lnTo>
                    <a:pt x="690" y="474"/>
                  </a:lnTo>
                  <a:lnTo>
                    <a:pt x="690" y="480"/>
                  </a:lnTo>
                  <a:lnTo>
                    <a:pt x="696" y="486"/>
                  </a:lnTo>
                  <a:lnTo>
                    <a:pt x="696" y="498"/>
                  </a:lnTo>
                  <a:lnTo>
                    <a:pt x="702" y="504"/>
                  </a:lnTo>
                  <a:lnTo>
                    <a:pt x="690" y="516"/>
                  </a:lnTo>
                  <a:lnTo>
                    <a:pt x="678" y="522"/>
                  </a:lnTo>
                  <a:lnTo>
                    <a:pt x="654" y="528"/>
                  </a:lnTo>
                  <a:lnTo>
                    <a:pt x="660" y="546"/>
                  </a:lnTo>
                  <a:lnTo>
                    <a:pt x="672" y="546"/>
                  </a:lnTo>
                  <a:lnTo>
                    <a:pt x="678" y="540"/>
                  </a:lnTo>
                  <a:lnTo>
                    <a:pt x="714" y="540"/>
                  </a:lnTo>
                  <a:lnTo>
                    <a:pt x="798" y="540"/>
                  </a:lnTo>
                  <a:lnTo>
                    <a:pt x="804" y="540"/>
                  </a:lnTo>
                  <a:lnTo>
                    <a:pt x="816" y="528"/>
                  </a:lnTo>
                  <a:lnTo>
                    <a:pt x="822" y="522"/>
                  </a:lnTo>
                  <a:lnTo>
                    <a:pt x="834" y="516"/>
                  </a:lnTo>
                  <a:lnTo>
                    <a:pt x="846" y="516"/>
                  </a:lnTo>
                  <a:lnTo>
                    <a:pt x="852" y="510"/>
                  </a:lnTo>
                  <a:lnTo>
                    <a:pt x="858" y="510"/>
                  </a:lnTo>
                  <a:lnTo>
                    <a:pt x="882" y="516"/>
                  </a:lnTo>
                  <a:lnTo>
                    <a:pt x="888" y="516"/>
                  </a:lnTo>
                  <a:lnTo>
                    <a:pt x="888" y="510"/>
                  </a:lnTo>
                  <a:lnTo>
                    <a:pt x="894" y="510"/>
                  </a:lnTo>
                  <a:lnTo>
                    <a:pt x="906" y="504"/>
                  </a:lnTo>
                  <a:lnTo>
                    <a:pt x="918" y="498"/>
                  </a:lnTo>
                  <a:lnTo>
                    <a:pt x="930" y="492"/>
                  </a:lnTo>
                  <a:lnTo>
                    <a:pt x="936" y="492"/>
                  </a:lnTo>
                  <a:lnTo>
                    <a:pt x="948" y="492"/>
                  </a:lnTo>
                  <a:lnTo>
                    <a:pt x="954" y="528"/>
                  </a:lnTo>
                  <a:lnTo>
                    <a:pt x="954" y="564"/>
                  </a:lnTo>
                  <a:lnTo>
                    <a:pt x="972" y="564"/>
                  </a:lnTo>
                  <a:lnTo>
                    <a:pt x="978" y="558"/>
                  </a:lnTo>
                  <a:lnTo>
                    <a:pt x="990" y="552"/>
                  </a:lnTo>
                  <a:lnTo>
                    <a:pt x="1002" y="540"/>
                  </a:lnTo>
                  <a:lnTo>
                    <a:pt x="1026" y="534"/>
                  </a:lnTo>
                  <a:lnTo>
                    <a:pt x="1032" y="540"/>
                  </a:lnTo>
                  <a:lnTo>
                    <a:pt x="1044" y="546"/>
                  </a:lnTo>
                  <a:lnTo>
                    <a:pt x="1062" y="552"/>
                  </a:lnTo>
                  <a:lnTo>
                    <a:pt x="1068" y="552"/>
                  </a:lnTo>
                  <a:lnTo>
                    <a:pt x="1068" y="570"/>
                  </a:lnTo>
                  <a:lnTo>
                    <a:pt x="1068" y="576"/>
                  </a:lnTo>
                  <a:lnTo>
                    <a:pt x="1068" y="582"/>
                  </a:lnTo>
                  <a:lnTo>
                    <a:pt x="1068" y="588"/>
                  </a:lnTo>
                  <a:lnTo>
                    <a:pt x="1068" y="594"/>
                  </a:lnTo>
                  <a:lnTo>
                    <a:pt x="1080" y="600"/>
                  </a:lnTo>
                  <a:lnTo>
                    <a:pt x="1086" y="606"/>
                  </a:lnTo>
                  <a:lnTo>
                    <a:pt x="1092" y="594"/>
                  </a:lnTo>
                  <a:lnTo>
                    <a:pt x="1104" y="588"/>
                  </a:lnTo>
                  <a:lnTo>
                    <a:pt x="1116" y="588"/>
                  </a:lnTo>
                  <a:lnTo>
                    <a:pt x="1122" y="588"/>
                  </a:lnTo>
                  <a:lnTo>
                    <a:pt x="1122" y="594"/>
                  </a:lnTo>
                  <a:lnTo>
                    <a:pt x="1128" y="594"/>
                  </a:lnTo>
                  <a:lnTo>
                    <a:pt x="1134" y="594"/>
                  </a:lnTo>
                  <a:lnTo>
                    <a:pt x="1140" y="594"/>
                  </a:lnTo>
                  <a:lnTo>
                    <a:pt x="1146" y="588"/>
                  </a:lnTo>
                  <a:lnTo>
                    <a:pt x="1158" y="582"/>
                  </a:lnTo>
                  <a:lnTo>
                    <a:pt x="1164" y="576"/>
                  </a:lnTo>
                  <a:lnTo>
                    <a:pt x="1176" y="576"/>
                  </a:lnTo>
                  <a:lnTo>
                    <a:pt x="1194" y="576"/>
                  </a:lnTo>
                  <a:lnTo>
                    <a:pt x="1218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24" y="594"/>
                  </a:lnTo>
                  <a:lnTo>
                    <a:pt x="1212" y="600"/>
                  </a:lnTo>
                  <a:lnTo>
                    <a:pt x="1206" y="606"/>
                  </a:lnTo>
                  <a:lnTo>
                    <a:pt x="1200" y="606"/>
                  </a:lnTo>
                  <a:lnTo>
                    <a:pt x="1200" y="612"/>
                  </a:lnTo>
                  <a:lnTo>
                    <a:pt x="1194" y="612"/>
                  </a:lnTo>
                  <a:lnTo>
                    <a:pt x="1194" y="618"/>
                  </a:lnTo>
                  <a:lnTo>
                    <a:pt x="1194" y="624"/>
                  </a:lnTo>
                  <a:lnTo>
                    <a:pt x="1194" y="630"/>
                  </a:lnTo>
                  <a:lnTo>
                    <a:pt x="1194" y="648"/>
                  </a:lnTo>
                  <a:lnTo>
                    <a:pt x="1194" y="660"/>
                  </a:lnTo>
                  <a:lnTo>
                    <a:pt x="1194" y="666"/>
                  </a:lnTo>
                  <a:lnTo>
                    <a:pt x="1194" y="672"/>
                  </a:lnTo>
                  <a:lnTo>
                    <a:pt x="1194" y="678"/>
                  </a:lnTo>
                  <a:lnTo>
                    <a:pt x="1188" y="684"/>
                  </a:lnTo>
                  <a:lnTo>
                    <a:pt x="1188" y="690"/>
                  </a:lnTo>
                  <a:lnTo>
                    <a:pt x="1188" y="696"/>
                  </a:lnTo>
                  <a:lnTo>
                    <a:pt x="1188" y="702"/>
                  </a:lnTo>
                  <a:lnTo>
                    <a:pt x="1188" y="708"/>
                  </a:lnTo>
                  <a:lnTo>
                    <a:pt x="1188" y="714"/>
                  </a:lnTo>
                  <a:lnTo>
                    <a:pt x="1182" y="720"/>
                  </a:lnTo>
                  <a:lnTo>
                    <a:pt x="1170" y="720"/>
                  </a:lnTo>
                  <a:lnTo>
                    <a:pt x="1158" y="726"/>
                  </a:lnTo>
                  <a:lnTo>
                    <a:pt x="1152" y="726"/>
                  </a:lnTo>
                  <a:lnTo>
                    <a:pt x="1152" y="732"/>
                  </a:lnTo>
                  <a:lnTo>
                    <a:pt x="1146" y="738"/>
                  </a:lnTo>
                  <a:lnTo>
                    <a:pt x="1140" y="738"/>
                  </a:lnTo>
                  <a:lnTo>
                    <a:pt x="1140" y="744"/>
                  </a:lnTo>
                  <a:lnTo>
                    <a:pt x="1134" y="744"/>
                  </a:lnTo>
                  <a:lnTo>
                    <a:pt x="1128" y="744"/>
                  </a:lnTo>
                  <a:lnTo>
                    <a:pt x="1122" y="750"/>
                  </a:lnTo>
                  <a:lnTo>
                    <a:pt x="1128" y="750"/>
                  </a:lnTo>
                  <a:lnTo>
                    <a:pt x="1122" y="756"/>
                  </a:lnTo>
                  <a:lnTo>
                    <a:pt x="1116" y="756"/>
                  </a:lnTo>
                  <a:lnTo>
                    <a:pt x="1110" y="762"/>
                  </a:lnTo>
                  <a:lnTo>
                    <a:pt x="1104" y="762"/>
                  </a:lnTo>
                  <a:lnTo>
                    <a:pt x="1104" y="768"/>
                  </a:lnTo>
                  <a:lnTo>
                    <a:pt x="1098" y="768"/>
                  </a:lnTo>
                  <a:lnTo>
                    <a:pt x="1098" y="774"/>
                  </a:lnTo>
                  <a:lnTo>
                    <a:pt x="1092" y="774"/>
                  </a:lnTo>
                  <a:lnTo>
                    <a:pt x="1092" y="780"/>
                  </a:lnTo>
                  <a:lnTo>
                    <a:pt x="1086" y="780"/>
                  </a:lnTo>
                  <a:lnTo>
                    <a:pt x="1086" y="786"/>
                  </a:lnTo>
                  <a:lnTo>
                    <a:pt x="1080" y="786"/>
                  </a:lnTo>
                  <a:lnTo>
                    <a:pt x="1080" y="792"/>
                  </a:lnTo>
                  <a:lnTo>
                    <a:pt x="1080" y="798"/>
                  </a:lnTo>
                  <a:lnTo>
                    <a:pt x="1080" y="804"/>
                  </a:lnTo>
                  <a:lnTo>
                    <a:pt x="1086" y="810"/>
                  </a:lnTo>
                  <a:lnTo>
                    <a:pt x="1080" y="816"/>
                  </a:lnTo>
                  <a:lnTo>
                    <a:pt x="1080" y="822"/>
                  </a:lnTo>
                  <a:lnTo>
                    <a:pt x="1074" y="822"/>
                  </a:lnTo>
                  <a:lnTo>
                    <a:pt x="1068" y="828"/>
                  </a:lnTo>
                  <a:lnTo>
                    <a:pt x="1074" y="828"/>
                  </a:lnTo>
                  <a:lnTo>
                    <a:pt x="1074" y="834"/>
                  </a:lnTo>
                  <a:lnTo>
                    <a:pt x="1080" y="846"/>
                  </a:lnTo>
                  <a:lnTo>
                    <a:pt x="1086" y="846"/>
                  </a:lnTo>
                  <a:lnTo>
                    <a:pt x="1092" y="852"/>
                  </a:lnTo>
                  <a:lnTo>
                    <a:pt x="1092" y="858"/>
                  </a:lnTo>
                  <a:lnTo>
                    <a:pt x="1098" y="858"/>
                  </a:lnTo>
                  <a:lnTo>
                    <a:pt x="1110" y="864"/>
                  </a:lnTo>
                  <a:lnTo>
                    <a:pt x="1116" y="864"/>
                  </a:lnTo>
                  <a:lnTo>
                    <a:pt x="1122" y="864"/>
                  </a:lnTo>
                  <a:lnTo>
                    <a:pt x="1128" y="864"/>
                  </a:lnTo>
                  <a:lnTo>
                    <a:pt x="1134" y="876"/>
                  </a:lnTo>
                  <a:lnTo>
                    <a:pt x="1140" y="882"/>
                  </a:lnTo>
                  <a:lnTo>
                    <a:pt x="1140" y="888"/>
                  </a:lnTo>
                  <a:lnTo>
                    <a:pt x="1152" y="918"/>
                  </a:lnTo>
                  <a:lnTo>
                    <a:pt x="1158" y="894"/>
                  </a:lnTo>
                  <a:lnTo>
                    <a:pt x="1164" y="888"/>
                  </a:lnTo>
                  <a:lnTo>
                    <a:pt x="1164" y="882"/>
                  </a:lnTo>
                  <a:lnTo>
                    <a:pt x="1176" y="864"/>
                  </a:lnTo>
                  <a:lnTo>
                    <a:pt x="1182" y="858"/>
                  </a:lnTo>
                  <a:lnTo>
                    <a:pt x="1188" y="846"/>
                  </a:lnTo>
                  <a:lnTo>
                    <a:pt x="1200" y="840"/>
                  </a:lnTo>
                  <a:lnTo>
                    <a:pt x="1212" y="840"/>
                  </a:lnTo>
                  <a:lnTo>
                    <a:pt x="1218" y="846"/>
                  </a:lnTo>
                  <a:lnTo>
                    <a:pt x="1224" y="858"/>
                  </a:lnTo>
                  <a:lnTo>
                    <a:pt x="1224" y="864"/>
                  </a:lnTo>
                  <a:lnTo>
                    <a:pt x="1224" y="876"/>
                  </a:lnTo>
                  <a:lnTo>
                    <a:pt x="1212" y="912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00" y="930"/>
                  </a:lnTo>
                  <a:lnTo>
                    <a:pt x="1200" y="942"/>
                  </a:lnTo>
                  <a:lnTo>
                    <a:pt x="1194" y="948"/>
                  </a:lnTo>
                  <a:lnTo>
                    <a:pt x="1194" y="960"/>
                  </a:lnTo>
                  <a:lnTo>
                    <a:pt x="1194" y="966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70" y="984"/>
                  </a:lnTo>
                  <a:lnTo>
                    <a:pt x="1164" y="984"/>
                  </a:lnTo>
                  <a:lnTo>
                    <a:pt x="1158" y="984"/>
                  </a:lnTo>
                  <a:lnTo>
                    <a:pt x="1146" y="984"/>
                  </a:lnTo>
                  <a:lnTo>
                    <a:pt x="1140" y="990"/>
                  </a:lnTo>
                  <a:lnTo>
                    <a:pt x="1140" y="996"/>
                  </a:lnTo>
                  <a:lnTo>
                    <a:pt x="1152" y="996"/>
                  </a:lnTo>
                  <a:lnTo>
                    <a:pt x="1176" y="1002"/>
                  </a:lnTo>
                  <a:lnTo>
                    <a:pt x="1194" y="1008"/>
                  </a:lnTo>
                  <a:lnTo>
                    <a:pt x="1206" y="1008"/>
                  </a:lnTo>
                  <a:lnTo>
                    <a:pt x="1218" y="1014"/>
                  </a:lnTo>
                  <a:lnTo>
                    <a:pt x="1212" y="1038"/>
                  </a:lnTo>
                  <a:lnTo>
                    <a:pt x="1212" y="1044"/>
                  </a:lnTo>
                  <a:lnTo>
                    <a:pt x="1206" y="1044"/>
                  </a:lnTo>
                  <a:lnTo>
                    <a:pt x="1206" y="1050"/>
                  </a:lnTo>
                  <a:lnTo>
                    <a:pt x="1194" y="1050"/>
                  </a:lnTo>
                  <a:lnTo>
                    <a:pt x="1188" y="1044"/>
                  </a:lnTo>
                  <a:lnTo>
                    <a:pt x="1158" y="1020"/>
                  </a:lnTo>
                  <a:lnTo>
                    <a:pt x="1152" y="1020"/>
                  </a:lnTo>
                  <a:lnTo>
                    <a:pt x="1140" y="1020"/>
                  </a:lnTo>
                  <a:lnTo>
                    <a:pt x="1134" y="1020"/>
                  </a:lnTo>
                  <a:lnTo>
                    <a:pt x="1134" y="1026"/>
                  </a:lnTo>
                  <a:lnTo>
                    <a:pt x="1134" y="1032"/>
                  </a:lnTo>
                  <a:lnTo>
                    <a:pt x="1128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2" name="Freeform 27">
              <a:extLst>
                <a:ext uri="{FF2B5EF4-FFF2-40B4-BE49-F238E27FC236}">
                  <a16:creationId xmlns:a16="http://schemas.microsoft.com/office/drawing/2014/main" id="{CE95C9DF-B651-4085-946F-65424BC51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2063" y="3421400"/>
              <a:ext cx="342138" cy="377969"/>
            </a:xfrm>
            <a:custGeom>
              <a:avLst/>
              <a:gdLst>
                <a:gd name="T0" fmla="*/ 43 w 642"/>
                <a:gd name="T1" fmla="*/ 41 h 708"/>
                <a:gd name="T2" fmla="*/ 39 w 642"/>
                <a:gd name="T3" fmla="*/ 41 h 708"/>
                <a:gd name="T4" fmla="*/ 38 w 642"/>
                <a:gd name="T5" fmla="*/ 47 h 708"/>
                <a:gd name="T6" fmla="*/ 38 w 642"/>
                <a:gd name="T7" fmla="*/ 49 h 708"/>
                <a:gd name="T8" fmla="*/ 38 w 642"/>
                <a:gd name="T9" fmla="*/ 50 h 708"/>
                <a:gd name="T10" fmla="*/ 36 w 642"/>
                <a:gd name="T11" fmla="*/ 52 h 708"/>
                <a:gd name="T12" fmla="*/ 35 w 642"/>
                <a:gd name="T13" fmla="*/ 53 h 708"/>
                <a:gd name="T14" fmla="*/ 33 w 642"/>
                <a:gd name="T15" fmla="*/ 55 h 708"/>
                <a:gd name="T16" fmla="*/ 32 w 642"/>
                <a:gd name="T17" fmla="*/ 56 h 708"/>
                <a:gd name="T18" fmla="*/ 31 w 642"/>
                <a:gd name="T19" fmla="*/ 59 h 708"/>
                <a:gd name="T20" fmla="*/ 26 w 642"/>
                <a:gd name="T21" fmla="*/ 59 h 708"/>
                <a:gd name="T22" fmla="*/ 23 w 642"/>
                <a:gd name="T23" fmla="*/ 61 h 708"/>
                <a:gd name="T24" fmla="*/ 20 w 642"/>
                <a:gd name="T25" fmla="*/ 61 h 708"/>
                <a:gd name="T26" fmla="*/ 17 w 642"/>
                <a:gd name="T27" fmla="*/ 59 h 708"/>
                <a:gd name="T28" fmla="*/ 15 w 642"/>
                <a:gd name="T29" fmla="*/ 56 h 708"/>
                <a:gd name="T30" fmla="*/ 9 w 642"/>
                <a:gd name="T31" fmla="*/ 58 h 708"/>
                <a:gd name="T32" fmla="*/ 6 w 642"/>
                <a:gd name="T33" fmla="*/ 52 h 708"/>
                <a:gd name="T34" fmla="*/ 2 w 642"/>
                <a:gd name="T35" fmla="*/ 53 h 708"/>
                <a:gd name="T36" fmla="*/ 1 w 642"/>
                <a:gd name="T37" fmla="*/ 51 h 708"/>
                <a:gd name="T38" fmla="*/ 4 w 642"/>
                <a:gd name="T39" fmla="*/ 47 h 708"/>
                <a:gd name="T40" fmla="*/ 5 w 642"/>
                <a:gd name="T41" fmla="*/ 41 h 708"/>
                <a:gd name="T42" fmla="*/ 5 w 642"/>
                <a:gd name="T43" fmla="*/ 38 h 708"/>
                <a:gd name="T44" fmla="*/ 5 w 642"/>
                <a:gd name="T45" fmla="*/ 35 h 708"/>
                <a:gd name="T46" fmla="*/ 6 w 642"/>
                <a:gd name="T47" fmla="*/ 33 h 708"/>
                <a:gd name="T48" fmla="*/ 5 w 642"/>
                <a:gd name="T49" fmla="*/ 29 h 708"/>
                <a:gd name="T50" fmla="*/ 4 w 642"/>
                <a:gd name="T51" fmla="*/ 28 h 708"/>
                <a:gd name="T52" fmla="*/ 1 w 642"/>
                <a:gd name="T53" fmla="*/ 26 h 708"/>
                <a:gd name="T54" fmla="*/ 1 w 642"/>
                <a:gd name="T55" fmla="*/ 24 h 708"/>
                <a:gd name="T56" fmla="*/ 1 w 642"/>
                <a:gd name="T57" fmla="*/ 20 h 708"/>
                <a:gd name="T58" fmla="*/ 1 w 642"/>
                <a:gd name="T59" fmla="*/ 16 h 708"/>
                <a:gd name="T60" fmla="*/ 2 w 642"/>
                <a:gd name="T61" fmla="*/ 14 h 708"/>
                <a:gd name="T62" fmla="*/ 8 w 642"/>
                <a:gd name="T63" fmla="*/ 14 h 708"/>
                <a:gd name="T64" fmla="*/ 9 w 642"/>
                <a:gd name="T65" fmla="*/ 10 h 708"/>
                <a:gd name="T66" fmla="*/ 15 w 642"/>
                <a:gd name="T67" fmla="*/ 9 h 708"/>
                <a:gd name="T68" fmla="*/ 18 w 642"/>
                <a:gd name="T69" fmla="*/ 14 h 708"/>
                <a:gd name="T70" fmla="*/ 20 w 642"/>
                <a:gd name="T71" fmla="*/ 12 h 708"/>
                <a:gd name="T72" fmla="*/ 20 w 642"/>
                <a:gd name="T73" fmla="*/ 11 h 708"/>
                <a:gd name="T74" fmla="*/ 21 w 642"/>
                <a:gd name="T75" fmla="*/ 9 h 708"/>
                <a:gd name="T76" fmla="*/ 24 w 642"/>
                <a:gd name="T77" fmla="*/ 9 h 708"/>
                <a:gd name="T78" fmla="*/ 27 w 642"/>
                <a:gd name="T79" fmla="*/ 8 h 708"/>
                <a:gd name="T80" fmla="*/ 33 w 642"/>
                <a:gd name="T81" fmla="*/ 2 h 708"/>
                <a:gd name="T82" fmla="*/ 42 w 642"/>
                <a:gd name="T83" fmla="*/ 2 h 708"/>
                <a:gd name="T84" fmla="*/ 49 w 642"/>
                <a:gd name="T85" fmla="*/ 1 h 708"/>
                <a:gd name="T86" fmla="*/ 53 w 642"/>
                <a:gd name="T87" fmla="*/ 4 h 708"/>
                <a:gd name="T88" fmla="*/ 55 w 642"/>
                <a:gd name="T89" fmla="*/ 4 h 708"/>
                <a:gd name="T90" fmla="*/ 55 w 642"/>
                <a:gd name="T91" fmla="*/ 7 h 708"/>
                <a:gd name="T92" fmla="*/ 52 w 642"/>
                <a:gd name="T93" fmla="*/ 9 h 708"/>
                <a:gd name="T94" fmla="*/ 49 w 642"/>
                <a:gd name="T95" fmla="*/ 12 h 708"/>
                <a:gd name="T96" fmla="*/ 47 w 642"/>
                <a:gd name="T97" fmla="*/ 14 h 708"/>
                <a:gd name="T98" fmla="*/ 47 w 642"/>
                <a:gd name="T99" fmla="*/ 17 h 708"/>
                <a:gd name="T100" fmla="*/ 45 w 642"/>
                <a:gd name="T101" fmla="*/ 26 h 708"/>
                <a:gd name="T102" fmla="*/ 50 w 642"/>
                <a:gd name="T103" fmla="*/ 37 h 70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42"/>
                <a:gd name="T157" fmla="*/ 0 h 708"/>
                <a:gd name="T158" fmla="*/ 642 w 642"/>
                <a:gd name="T159" fmla="*/ 708 h 70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42" h="708">
                  <a:moveTo>
                    <a:pt x="576" y="468"/>
                  </a:moveTo>
                  <a:lnTo>
                    <a:pt x="564" y="468"/>
                  </a:lnTo>
                  <a:lnTo>
                    <a:pt x="516" y="468"/>
                  </a:lnTo>
                  <a:lnTo>
                    <a:pt x="498" y="474"/>
                  </a:lnTo>
                  <a:lnTo>
                    <a:pt x="492" y="468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68" y="474"/>
                  </a:lnTo>
                  <a:lnTo>
                    <a:pt x="456" y="468"/>
                  </a:lnTo>
                  <a:lnTo>
                    <a:pt x="444" y="474"/>
                  </a:lnTo>
                  <a:lnTo>
                    <a:pt x="438" y="492"/>
                  </a:lnTo>
                  <a:lnTo>
                    <a:pt x="438" y="504"/>
                  </a:lnTo>
                  <a:lnTo>
                    <a:pt x="432" y="516"/>
                  </a:lnTo>
                  <a:lnTo>
                    <a:pt x="432" y="528"/>
                  </a:lnTo>
                  <a:lnTo>
                    <a:pt x="432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52"/>
                  </a:lnTo>
                  <a:lnTo>
                    <a:pt x="432" y="558"/>
                  </a:lnTo>
                  <a:lnTo>
                    <a:pt x="438" y="564"/>
                  </a:lnTo>
                  <a:lnTo>
                    <a:pt x="444" y="564"/>
                  </a:lnTo>
                  <a:lnTo>
                    <a:pt x="438" y="564"/>
                  </a:lnTo>
                  <a:lnTo>
                    <a:pt x="438" y="570"/>
                  </a:lnTo>
                  <a:lnTo>
                    <a:pt x="432" y="570"/>
                  </a:lnTo>
                  <a:lnTo>
                    <a:pt x="432" y="576"/>
                  </a:lnTo>
                  <a:lnTo>
                    <a:pt x="426" y="588"/>
                  </a:lnTo>
                  <a:lnTo>
                    <a:pt x="420" y="594"/>
                  </a:lnTo>
                  <a:lnTo>
                    <a:pt x="420" y="600"/>
                  </a:lnTo>
                  <a:lnTo>
                    <a:pt x="414" y="600"/>
                  </a:lnTo>
                  <a:lnTo>
                    <a:pt x="414" y="606"/>
                  </a:lnTo>
                  <a:lnTo>
                    <a:pt x="408" y="606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396" y="612"/>
                  </a:lnTo>
                  <a:lnTo>
                    <a:pt x="390" y="612"/>
                  </a:lnTo>
                  <a:lnTo>
                    <a:pt x="390" y="618"/>
                  </a:lnTo>
                  <a:lnTo>
                    <a:pt x="384" y="618"/>
                  </a:lnTo>
                  <a:lnTo>
                    <a:pt x="378" y="618"/>
                  </a:lnTo>
                  <a:lnTo>
                    <a:pt x="378" y="624"/>
                  </a:lnTo>
                  <a:lnTo>
                    <a:pt x="384" y="630"/>
                  </a:lnTo>
                  <a:lnTo>
                    <a:pt x="384" y="636"/>
                  </a:lnTo>
                  <a:lnTo>
                    <a:pt x="378" y="630"/>
                  </a:lnTo>
                  <a:lnTo>
                    <a:pt x="372" y="636"/>
                  </a:lnTo>
                  <a:lnTo>
                    <a:pt x="372" y="642"/>
                  </a:lnTo>
                  <a:lnTo>
                    <a:pt x="366" y="642"/>
                  </a:lnTo>
                  <a:lnTo>
                    <a:pt x="360" y="654"/>
                  </a:lnTo>
                  <a:lnTo>
                    <a:pt x="354" y="666"/>
                  </a:lnTo>
                  <a:lnTo>
                    <a:pt x="354" y="672"/>
                  </a:lnTo>
                  <a:lnTo>
                    <a:pt x="354" y="678"/>
                  </a:lnTo>
                  <a:lnTo>
                    <a:pt x="354" y="684"/>
                  </a:lnTo>
                  <a:lnTo>
                    <a:pt x="348" y="678"/>
                  </a:lnTo>
                  <a:lnTo>
                    <a:pt x="324" y="678"/>
                  </a:lnTo>
                  <a:lnTo>
                    <a:pt x="306" y="678"/>
                  </a:lnTo>
                  <a:lnTo>
                    <a:pt x="294" y="678"/>
                  </a:lnTo>
                  <a:lnTo>
                    <a:pt x="288" y="684"/>
                  </a:lnTo>
                  <a:lnTo>
                    <a:pt x="276" y="690"/>
                  </a:lnTo>
                  <a:lnTo>
                    <a:pt x="270" y="696"/>
                  </a:lnTo>
                  <a:lnTo>
                    <a:pt x="264" y="696"/>
                  </a:lnTo>
                  <a:lnTo>
                    <a:pt x="258" y="696"/>
                  </a:lnTo>
                  <a:lnTo>
                    <a:pt x="252" y="696"/>
                  </a:lnTo>
                  <a:lnTo>
                    <a:pt x="252" y="690"/>
                  </a:lnTo>
                  <a:lnTo>
                    <a:pt x="246" y="690"/>
                  </a:lnTo>
                  <a:lnTo>
                    <a:pt x="234" y="690"/>
                  </a:lnTo>
                  <a:lnTo>
                    <a:pt x="222" y="696"/>
                  </a:lnTo>
                  <a:lnTo>
                    <a:pt x="216" y="708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8" y="690"/>
                  </a:lnTo>
                  <a:lnTo>
                    <a:pt x="198" y="684"/>
                  </a:lnTo>
                  <a:lnTo>
                    <a:pt x="198" y="678"/>
                  </a:lnTo>
                  <a:lnTo>
                    <a:pt x="198" y="672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74" y="648"/>
                  </a:lnTo>
                  <a:lnTo>
                    <a:pt x="162" y="642"/>
                  </a:lnTo>
                  <a:lnTo>
                    <a:pt x="156" y="636"/>
                  </a:lnTo>
                  <a:lnTo>
                    <a:pt x="132" y="642"/>
                  </a:lnTo>
                  <a:lnTo>
                    <a:pt x="120" y="654"/>
                  </a:lnTo>
                  <a:lnTo>
                    <a:pt x="108" y="660"/>
                  </a:lnTo>
                  <a:lnTo>
                    <a:pt x="102" y="666"/>
                  </a:lnTo>
                  <a:lnTo>
                    <a:pt x="84" y="666"/>
                  </a:lnTo>
                  <a:lnTo>
                    <a:pt x="84" y="630"/>
                  </a:lnTo>
                  <a:lnTo>
                    <a:pt x="78" y="594"/>
                  </a:lnTo>
                  <a:lnTo>
                    <a:pt x="66" y="594"/>
                  </a:lnTo>
                  <a:lnTo>
                    <a:pt x="60" y="594"/>
                  </a:lnTo>
                  <a:lnTo>
                    <a:pt x="48" y="600"/>
                  </a:lnTo>
                  <a:lnTo>
                    <a:pt x="36" y="606"/>
                  </a:lnTo>
                  <a:lnTo>
                    <a:pt x="24" y="612"/>
                  </a:lnTo>
                  <a:lnTo>
                    <a:pt x="18" y="612"/>
                  </a:lnTo>
                  <a:lnTo>
                    <a:pt x="12" y="606"/>
                  </a:lnTo>
                  <a:lnTo>
                    <a:pt x="12" y="600"/>
                  </a:lnTo>
                  <a:lnTo>
                    <a:pt x="12" y="594"/>
                  </a:lnTo>
                  <a:lnTo>
                    <a:pt x="12" y="588"/>
                  </a:lnTo>
                  <a:lnTo>
                    <a:pt x="12" y="582"/>
                  </a:lnTo>
                  <a:lnTo>
                    <a:pt x="12" y="576"/>
                  </a:lnTo>
                  <a:lnTo>
                    <a:pt x="18" y="552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42" y="534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48" y="492"/>
                  </a:lnTo>
                  <a:lnTo>
                    <a:pt x="48" y="480"/>
                  </a:lnTo>
                  <a:lnTo>
                    <a:pt x="54" y="468"/>
                  </a:lnTo>
                  <a:lnTo>
                    <a:pt x="48" y="456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66" y="390"/>
                  </a:lnTo>
                  <a:lnTo>
                    <a:pt x="72" y="384"/>
                  </a:lnTo>
                  <a:lnTo>
                    <a:pt x="72" y="378"/>
                  </a:lnTo>
                  <a:lnTo>
                    <a:pt x="66" y="378"/>
                  </a:lnTo>
                  <a:lnTo>
                    <a:pt x="66" y="366"/>
                  </a:lnTo>
                  <a:lnTo>
                    <a:pt x="60" y="360"/>
                  </a:lnTo>
                  <a:lnTo>
                    <a:pt x="66" y="354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48" y="312"/>
                  </a:lnTo>
                  <a:lnTo>
                    <a:pt x="30" y="312"/>
                  </a:lnTo>
                  <a:lnTo>
                    <a:pt x="24" y="306"/>
                  </a:lnTo>
                  <a:lnTo>
                    <a:pt x="18" y="306"/>
                  </a:lnTo>
                  <a:lnTo>
                    <a:pt x="12" y="294"/>
                  </a:lnTo>
                  <a:lnTo>
                    <a:pt x="12" y="282"/>
                  </a:lnTo>
                  <a:lnTo>
                    <a:pt x="6" y="276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12" y="270"/>
                  </a:lnTo>
                  <a:lnTo>
                    <a:pt x="12" y="246"/>
                  </a:lnTo>
                  <a:lnTo>
                    <a:pt x="12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8" y="174"/>
                  </a:lnTo>
                  <a:lnTo>
                    <a:pt x="12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48" y="162"/>
                  </a:lnTo>
                  <a:lnTo>
                    <a:pt x="72" y="162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84" y="132"/>
                  </a:lnTo>
                  <a:lnTo>
                    <a:pt x="90" y="120"/>
                  </a:lnTo>
                  <a:lnTo>
                    <a:pt x="108" y="114"/>
                  </a:lnTo>
                  <a:lnTo>
                    <a:pt x="114" y="102"/>
                  </a:lnTo>
                  <a:lnTo>
                    <a:pt x="120" y="90"/>
                  </a:lnTo>
                  <a:lnTo>
                    <a:pt x="138" y="90"/>
                  </a:lnTo>
                  <a:lnTo>
                    <a:pt x="138" y="102"/>
                  </a:lnTo>
                  <a:lnTo>
                    <a:pt x="168" y="108"/>
                  </a:lnTo>
                  <a:lnTo>
                    <a:pt x="168" y="114"/>
                  </a:lnTo>
                  <a:lnTo>
                    <a:pt x="174" y="126"/>
                  </a:lnTo>
                  <a:lnTo>
                    <a:pt x="186" y="150"/>
                  </a:lnTo>
                  <a:lnTo>
                    <a:pt x="186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34" y="144"/>
                  </a:lnTo>
                  <a:lnTo>
                    <a:pt x="240" y="138"/>
                  </a:lnTo>
                  <a:lnTo>
                    <a:pt x="240" y="126"/>
                  </a:lnTo>
                  <a:lnTo>
                    <a:pt x="234" y="126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34" y="102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82" y="102"/>
                  </a:lnTo>
                  <a:lnTo>
                    <a:pt x="288" y="102"/>
                  </a:lnTo>
                  <a:lnTo>
                    <a:pt x="294" y="102"/>
                  </a:lnTo>
                  <a:lnTo>
                    <a:pt x="300" y="96"/>
                  </a:lnTo>
                  <a:lnTo>
                    <a:pt x="306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84"/>
                  </a:lnTo>
                  <a:lnTo>
                    <a:pt x="324" y="18"/>
                  </a:lnTo>
                  <a:lnTo>
                    <a:pt x="360" y="18"/>
                  </a:lnTo>
                  <a:lnTo>
                    <a:pt x="378" y="18"/>
                  </a:lnTo>
                  <a:lnTo>
                    <a:pt x="378" y="30"/>
                  </a:lnTo>
                  <a:lnTo>
                    <a:pt x="390" y="30"/>
                  </a:lnTo>
                  <a:lnTo>
                    <a:pt x="432" y="30"/>
                  </a:lnTo>
                  <a:lnTo>
                    <a:pt x="456" y="24"/>
                  </a:lnTo>
                  <a:lnTo>
                    <a:pt x="480" y="24"/>
                  </a:lnTo>
                  <a:lnTo>
                    <a:pt x="498" y="30"/>
                  </a:lnTo>
                  <a:lnTo>
                    <a:pt x="522" y="18"/>
                  </a:lnTo>
                  <a:lnTo>
                    <a:pt x="528" y="0"/>
                  </a:lnTo>
                  <a:lnTo>
                    <a:pt x="558" y="6"/>
                  </a:lnTo>
                  <a:lnTo>
                    <a:pt x="558" y="12"/>
                  </a:lnTo>
                  <a:lnTo>
                    <a:pt x="570" y="18"/>
                  </a:lnTo>
                  <a:lnTo>
                    <a:pt x="576" y="24"/>
                  </a:lnTo>
                  <a:lnTo>
                    <a:pt x="588" y="36"/>
                  </a:lnTo>
                  <a:lnTo>
                    <a:pt x="594" y="48"/>
                  </a:lnTo>
                  <a:lnTo>
                    <a:pt x="606" y="48"/>
                  </a:lnTo>
                  <a:lnTo>
                    <a:pt x="606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42"/>
                  </a:lnTo>
                  <a:lnTo>
                    <a:pt x="636" y="42"/>
                  </a:lnTo>
                  <a:lnTo>
                    <a:pt x="636" y="48"/>
                  </a:lnTo>
                  <a:lnTo>
                    <a:pt x="642" y="54"/>
                  </a:lnTo>
                  <a:lnTo>
                    <a:pt x="636" y="60"/>
                  </a:lnTo>
                  <a:lnTo>
                    <a:pt x="636" y="66"/>
                  </a:lnTo>
                  <a:lnTo>
                    <a:pt x="636" y="78"/>
                  </a:lnTo>
                  <a:lnTo>
                    <a:pt x="624" y="84"/>
                  </a:lnTo>
                  <a:lnTo>
                    <a:pt x="618" y="90"/>
                  </a:lnTo>
                  <a:lnTo>
                    <a:pt x="612" y="90"/>
                  </a:lnTo>
                  <a:lnTo>
                    <a:pt x="600" y="102"/>
                  </a:lnTo>
                  <a:lnTo>
                    <a:pt x="594" y="108"/>
                  </a:lnTo>
                  <a:lnTo>
                    <a:pt x="582" y="114"/>
                  </a:lnTo>
                  <a:lnTo>
                    <a:pt x="570" y="132"/>
                  </a:lnTo>
                  <a:lnTo>
                    <a:pt x="564" y="132"/>
                  </a:lnTo>
                  <a:lnTo>
                    <a:pt x="564" y="138"/>
                  </a:lnTo>
                  <a:lnTo>
                    <a:pt x="558" y="144"/>
                  </a:lnTo>
                  <a:lnTo>
                    <a:pt x="558" y="150"/>
                  </a:lnTo>
                  <a:lnTo>
                    <a:pt x="552" y="150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0" y="162"/>
                  </a:lnTo>
                  <a:lnTo>
                    <a:pt x="534" y="168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6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28" y="234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16" y="294"/>
                  </a:lnTo>
                  <a:lnTo>
                    <a:pt x="516" y="312"/>
                  </a:lnTo>
                  <a:lnTo>
                    <a:pt x="528" y="318"/>
                  </a:lnTo>
                  <a:lnTo>
                    <a:pt x="540" y="360"/>
                  </a:lnTo>
                  <a:lnTo>
                    <a:pt x="558" y="408"/>
                  </a:lnTo>
                  <a:lnTo>
                    <a:pt x="570" y="426"/>
                  </a:lnTo>
                  <a:lnTo>
                    <a:pt x="576" y="432"/>
                  </a:lnTo>
                  <a:lnTo>
                    <a:pt x="576" y="438"/>
                  </a:lnTo>
                  <a:lnTo>
                    <a:pt x="576" y="444"/>
                  </a:lnTo>
                  <a:lnTo>
                    <a:pt x="576" y="46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3" name="Freeform 28">
              <a:extLst>
                <a:ext uri="{FF2B5EF4-FFF2-40B4-BE49-F238E27FC236}">
                  <a16:creationId xmlns:a16="http://schemas.microsoft.com/office/drawing/2014/main" id="{CF9B4F31-BF73-448E-83AA-188F6CF1BDC5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4879" y="3432583"/>
              <a:ext cx="324248" cy="270616"/>
            </a:xfrm>
            <a:custGeom>
              <a:avLst/>
              <a:gdLst>
                <a:gd name="T0" fmla="*/ 5 w 606"/>
                <a:gd name="T1" fmla="*/ 36 h 510"/>
                <a:gd name="T2" fmla="*/ 4 w 606"/>
                <a:gd name="T3" fmla="*/ 34 h 510"/>
                <a:gd name="T4" fmla="*/ 0 w 606"/>
                <a:gd name="T5" fmla="*/ 25 h 510"/>
                <a:gd name="T6" fmla="*/ 1 w 606"/>
                <a:gd name="T7" fmla="*/ 20 h 510"/>
                <a:gd name="T8" fmla="*/ 2 w 606"/>
                <a:gd name="T9" fmla="*/ 15 h 510"/>
                <a:gd name="T10" fmla="*/ 2 w 606"/>
                <a:gd name="T11" fmla="*/ 13 h 510"/>
                <a:gd name="T12" fmla="*/ 3 w 606"/>
                <a:gd name="T13" fmla="*/ 12 h 510"/>
                <a:gd name="T14" fmla="*/ 4 w 606"/>
                <a:gd name="T15" fmla="*/ 11 h 510"/>
                <a:gd name="T16" fmla="*/ 4 w 606"/>
                <a:gd name="T17" fmla="*/ 10 h 510"/>
                <a:gd name="T18" fmla="*/ 7 w 606"/>
                <a:gd name="T19" fmla="*/ 8 h 510"/>
                <a:gd name="T20" fmla="*/ 9 w 606"/>
                <a:gd name="T21" fmla="*/ 6 h 510"/>
                <a:gd name="T22" fmla="*/ 11 w 606"/>
                <a:gd name="T23" fmla="*/ 4 h 510"/>
                <a:gd name="T24" fmla="*/ 12 w 606"/>
                <a:gd name="T25" fmla="*/ 3 h 510"/>
                <a:gd name="T26" fmla="*/ 13 w 606"/>
                <a:gd name="T27" fmla="*/ 4 h 510"/>
                <a:gd name="T28" fmla="*/ 15 w 606"/>
                <a:gd name="T29" fmla="*/ 2 h 510"/>
                <a:gd name="T30" fmla="*/ 17 w 606"/>
                <a:gd name="T31" fmla="*/ 2 h 510"/>
                <a:gd name="T32" fmla="*/ 19 w 606"/>
                <a:gd name="T33" fmla="*/ 5 h 510"/>
                <a:gd name="T34" fmla="*/ 22 w 606"/>
                <a:gd name="T35" fmla="*/ 5 h 510"/>
                <a:gd name="T36" fmla="*/ 25 w 606"/>
                <a:gd name="T37" fmla="*/ 6 h 510"/>
                <a:gd name="T38" fmla="*/ 29 w 606"/>
                <a:gd name="T39" fmla="*/ 1 h 510"/>
                <a:gd name="T40" fmla="*/ 38 w 606"/>
                <a:gd name="T41" fmla="*/ 0 h 510"/>
                <a:gd name="T42" fmla="*/ 38 w 606"/>
                <a:gd name="T43" fmla="*/ 5 h 510"/>
                <a:gd name="T44" fmla="*/ 41 w 606"/>
                <a:gd name="T45" fmla="*/ 4 h 510"/>
                <a:gd name="T46" fmla="*/ 45 w 606"/>
                <a:gd name="T47" fmla="*/ 2 h 510"/>
                <a:gd name="T48" fmla="*/ 46 w 606"/>
                <a:gd name="T49" fmla="*/ 2 h 510"/>
                <a:gd name="T50" fmla="*/ 47 w 606"/>
                <a:gd name="T51" fmla="*/ 5 h 510"/>
                <a:gd name="T52" fmla="*/ 45 w 606"/>
                <a:gd name="T53" fmla="*/ 6 h 510"/>
                <a:gd name="T54" fmla="*/ 45 w 606"/>
                <a:gd name="T55" fmla="*/ 7 h 510"/>
                <a:gd name="T56" fmla="*/ 43 w 606"/>
                <a:gd name="T57" fmla="*/ 8 h 510"/>
                <a:gd name="T58" fmla="*/ 45 w 606"/>
                <a:gd name="T59" fmla="*/ 15 h 510"/>
                <a:gd name="T60" fmla="*/ 49 w 606"/>
                <a:gd name="T61" fmla="*/ 15 h 510"/>
                <a:gd name="T62" fmla="*/ 51 w 606"/>
                <a:gd name="T63" fmla="*/ 15 h 510"/>
                <a:gd name="T64" fmla="*/ 53 w 606"/>
                <a:gd name="T65" fmla="*/ 16 h 510"/>
                <a:gd name="T66" fmla="*/ 52 w 606"/>
                <a:gd name="T67" fmla="*/ 20 h 510"/>
                <a:gd name="T68" fmla="*/ 48 w 606"/>
                <a:gd name="T69" fmla="*/ 23 h 510"/>
                <a:gd name="T70" fmla="*/ 45 w 606"/>
                <a:gd name="T71" fmla="*/ 25 h 510"/>
                <a:gd name="T72" fmla="*/ 44 w 606"/>
                <a:gd name="T73" fmla="*/ 28 h 510"/>
                <a:gd name="T74" fmla="*/ 43 w 606"/>
                <a:gd name="T75" fmla="*/ 33 h 510"/>
                <a:gd name="T76" fmla="*/ 39 w 606"/>
                <a:gd name="T77" fmla="*/ 38 h 510"/>
                <a:gd name="T78" fmla="*/ 37 w 606"/>
                <a:gd name="T79" fmla="*/ 41 h 510"/>
                <a:gd name="T80" fmla="*/ 31 w 606"/>
                <a:gd name="T81" fmla="*/ 44 h 510"/>
                <a:gd name="T82" fmla="*/ 28 w 606"/>
                <a:gd name="T83" fmla="*/ 43 h 510"/>
                <a:gd name="T84" fmla="*/ 28 w 606"/>
                <a:gd name="T85" fmla="*/ 41 h 510"/>
                <a:gd name="T86" fmla="*/ 28 w 606"/>
                <a:gd name="T87" fmla="*/ 40 h 510"/>
                <a:gd name="T88" fmla="*/ 27 w 606"/>
                <a:gd name="T89" fmla="*/ 38 h 510"/>
                <a:gd name="T90" fmla="*/ 27 w 606"/>
                <a:gd name="T91" fmla="*/ 36 h 510"/>
                <a:gd name="T92" fmla="*/ 24 w 606"/>
                <a:gd name="T93" fmla="*/ 35 h 510"/>
                <a:gd name="T94" fmla="*/ 16 w 606"/>
                <a:gd name="T95" fmla="*/ 34 h 510"/>
                <a:gd name="T96" fmla="*/ 13 w 606"/>
                <a:gd name="T97" fmla="*/ 34 h 510"/>
                <a:gd name="T98" fmla="*/ 9 w 606"/>
                <a:gd name="T99" fmla="*/ 36 h 510"/>
                <a:gd name="T100" fmla="*/ 8 w 606"/>
                <a:gd name="T101" fmla="*/ 38 h 510"/>
                <a:gd name="T102" fmla="*/ 7 w 606"/>
                <a:gd name="T103" fmla="*/ 39 h 51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06"/>
                <a:gd name="T157" fmla="*/ 0 h 510"/>
                <a:gd name="T158" fmla="*/ 606 w 606"/>
                <a:gd name="T159" fmla="*/ 510 h 51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06" h="510">
                  <a:moveTo>
                    <a:pt x="60" y="450"/>
                  </a:move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42" y="390"/>
                  </a:lnTo>
                  <a:lnTo>
                    <a:pt x="24" y="342"/>
                  </a:lnTo>
                  <a:lnTo>
                    <a:pt x="12" y="300"/>
                  </a:lnTo>
                  <a:lnTo>
                    <a:pt x="0" y="294"/>
                  </a:lnTo>
                  <a:lnTo>
                    <a:pt x="0" y="276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24" y="192"/>
                  </a:lnTo>
                  <a:lnTo>
                    <a:pt x="24" y="180"/>
                  </a:lnTo>
                  <a:lnTo>
                    <a:pt x="24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6" y="96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108" y="66"/>
                  </a:lnTo>
                  <a:lnTo>
                    <a:pt x="120" y="60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36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62" y="36"/>
                  </a:lnTo>
                  <a:lnTo>
                    <a:pt x="162" y="30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0" y="54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46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76" y="66"/>
                  </a:lnTo>
                  <a:lnTo>
                    <a:pt x="312" y="66"/>
                  </a:lnTo>
                  <a:lnTo>
                    <a:pt x="318" y="60"/>
                  </a:lnTo>
                  <a:lnTo>
                    <a:pt x="330" y="12"/>
                  </a:lnTo>
                  <a:lnTo>
                    <a:pt x="414" y="6"/>
                  </a:lnTo>
                  <a:lnTo>
                    <a:pt x="420" y="0"/>
                  </a:lnTo>
                  <a:lnTo>
                    <a:pt x="426" y="6"/>
                  </a:lnTo>
                  <a:lnTo>
                    <a:pt x="426" y="12"/>
                  </a:lnTo>
                  <a:lnTo>
                    <a:pt x="426" y="54"/>
                  </a:lnTo>
                  <a:lnTo>
                    <a:pt x="432" y="54"/>
                  </a:lnTo>
                  <a:lnTo>
                    <a:pt x="444" y="54"/>
                  </a:lnTo>
                  <a:lnTo>
                    <a:pt x="450" y="42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86" y="24"/>
                  </a:lnTo>
                  <a:lnTo>
                    <a:pt x="504" y="18"/>
                  </a:lnTo>
                  <a:lnTo>
                    <a:pt x="510" y="12"/>
                  </a:lnTo>
                  <a:lnTo>
                    <a:pt x="516" y="18"/>
                  </a:lnTo>
                  <a:lnTo>
                    <a:pt x="522" y="24"/>
                  </a:lnTo>
                  <a:lnTo>
                    <a:pt x="510" y="30"/>
                  </a:lnTo>
                  <a:lnTo>
                    <a:pt x="516" y="48"/>
                  </a:lnTo>
                  <a:lnTo>
                    <a:pt x="528" y="54"/>
                  </a:lnTo>
                  <a:lnTo>
                    <a:pt x="522" y="60"/>
                  </a:lnTo>
                  <a:lnTo>
                    <a:pt x="516" y="66"/>
                  </a:lnTo>
                  <a:lnTo>
                    <a:pt x="516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0" y="84"/>
                  </a:lnTo>
                  <a:lnTo>
                    <a:pt x="510" y="90"/>
                  </a:lnTo>
                  <a:lnTo>
                    <a:pt x="504" y="90"/>
                  </a:lnTo>
                  <a:lnTo>
                    <a:pt x="486" y="90"/>
                  </a:lnTo>
                  <a:lnTo>
                    <a:pt x="492" y="138"/>
                  </a:lnTo>
                  <a:lnTo>
                    <a:pt x="498" y="168"/>
                  </a:lnTo>
                  <a:lnTo>
                    <a:pt x="516" y="168"/>
                  </a:lnTo>
                  <a:lnTo>
                    <a:pt x="528" y="174"/>
                  </a:lnTo>
                  <a:lnTo>
                    <a:pt x="534" y="168"/>
                  </a:lnTo>
                  <a:lnTo>
                    <a:pt x="558" y="174"/>
                  </a:lnTo>
                  <a:lnTo>
                    <a:pt x="564" y="168"/>
                  </a:lnTo>
                  <a:lnTo>
                    <a:pt x="570" y="168"/>
                  </a:lnTo>
                  <a:lnTo>
                    <a:pt x="576" y="174"/>
                  </a:lnTo>
                  <a:lnTo>
                    <a:pt x="588" y="168"/>
                  </a:lnTo>
                  <a:lnTo>
                    <a:pt x="594" y="168"/>
                  </a:lnTo>
                  <a:lnTo>
                    <a:pt x="594" y="186"/>
                  </a:lnTo>
                  <a:lnTo>
                    <a:pt x="606" y="198"/>
                  </a:lnTo>
                  <a:lnTo>
                    <a:pt x="600" y="210"/>
                  </a:lnTo>
                  <a:lnTo>
                    <a:pt x="588" y="234"/>
                  </a:lnTo>
                  <a:lnTo>
                    <a:pt x="564" y="246"/>
                  </a:lnTo>
                  <a:lnTo>
                    <a:pt x="546" y="258"/>
                  </a:lnTo>
                  <a:lnTo>
                    <a:pt x="540" y="270"/>
                  </a:lnTo>
                  <a:lnTo>
                    <a:pt x="534" y="294"/>
                  </a:lnTo>
                  <a:lnTo>
                    <a:pt x="528" y="300"/>
                  </a:lnTo>
                  <a:lnTo>
                    <a:pt x="516" y="294"/>
                  </a:lnTo>
                  <a:lnTo>
                    <a:pt x="510" y="300"/>
                  </a:lnTo>
                  <a:lnTo>
                    <a:pt x="498" y="318"/>
                  </a:lnTo>
                  <a:lnTo>
                    <a:pt x="492" y="324"/>
                  </a:lnTo>
                  <a:lnTo>
                    <a:pt x="486" y="336"/>
                  </a:lnTo>
                  <a:lnTo>
                    <a:pt x="486" y="354"/>
                  </a:lnTo>
                  <a:lnTo>
                    <a:pt x="486" y="384"/>
                  </a:lnTo>
                  <a:lnTo>
                    <a:pt x="474" y="408"/>
                  </a:lnTo>
                  <a:lnTo>
                    <a:pt x="450" y="426"/>
                  </a:lnTo>
                  <a:lnTo>
                    <a:pt x="444" y="444"/>
                  </a:lnTo>
                  <a:lnTo>
                    <a:pt x="426" y="474"/>
                  </a:lnTo>
                  <a:lnTo>
                    <a:pt x="420" y="486"/>
                  </a:lnTo>
                  <a:lnTo>
                    <a:pt x="414" y="486"/>
                  </a:lnTo>
                  <a:lnTo>
                    <a:pt x="414" y="498"/>
                  </a:lnTo>
                  <a:lnTo>
                    <a:pt x="378" y="504"/>
                  </a:lnTo>
                  <a:lnTo>
                    <a:pt x="348" y="510"/>
                  </a:lnTo>
                  <a:lnTo>
                    <a:pt x="330" y="510"/>
                  </a:lnTo>
                  <a:lnTo>
                    <a:pt x="324" y="504"/>
                  </a:lnTo>
                  <a:lnTo>
                    <a:pt x="318" y="504"/>
                  </a:lnTo>
                  <a:lnTo>
                    <a:pt x="312" y="504"/>
                  </a:lnTo>
                  <a:lnTo>
                    <a:pt x="312" y="498"/>
                  </a:lnTo>
                  <a:lnTo>
                    <a:pt x="312" y="486"/>
                  </a:lnTo>
                  <a:lnTo>
                    <a:pt x="312" y="480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56"/>
                  </a:lnTo>
                  <a:lnTo>
                    <a:pt x="312" y="450"/>
                  </a:lnTo>
                  <a:lnTo>
                    <a:pt x="306" y="444"/>
                  </a:lnTo>
                  <a:lnTo>
                    <a:pt x="306" y="438"/>
                  </a:lnTo>
                  <a:lnTo>
                    <a:pt x="300" y="426"/>
                  </a:lnTo>
                  <a:lnTo>
                    <a:pt x="300" y="420"/>
                  </a:lnTo>
                  <a:lnTo>
                    <a:pt x="294" y="414"/>
                  </a:lnTo>
                  <a:lnTo>
                    <a:pt x="294" y="408"/>
                  </a:lnTo>
                  <a:lnTo>
                    <a:pt x="270" y="408"/>
                  </a:lnTo>
                  <a:lnTo>
                    <a:pt x="246" y="408"/>
                  </a:lnTo>
                  <a:lnTo>
                    <a:pt x="222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56" y="402"/>
                  </a:lnTo>
                  <a:lnTo>
                    <a:pt x="144" y="396"/>
                  </a:lnTo>
                  <a:lnTo>
                    <a:pt x="126" y="396"/>
                  </a:lnTo>
                  <a:lnTo>
                    <a:pt x="108" y="408"/>
                  </a:lnTo>
                  <a:lnTo>
                    <a:pt x="102" y="414"/>
                  </a:lnTo>
                  <a:lnTo>
                    <a:pt x="102" y="420"/>
                  </a:lnTo>
                  <a:lnTo>
                    <a:pt x="96" y="426"/>
                  </a:lnTo>
                  <a:lnTo>
                    <a:pt x="96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78" y="450"/>
                  </a:lnTo>
                  <a:lnTo>
                    <a:pt x="60" y="45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4" name="Freeform 29">
              <a:extLst>
                <a:ext uri="{FF2B5EF4-FFF2-40B4-BE49-F238E27FC236}">
                  <a16:creationId xmlns:a16="http://schemas.microsoft.com/office/drawing/2014/main" id="{B6AC2B96-1504-4082-8778-17130FDA021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401" y="3537698"/>
              <a:ext cx="559048" cy="641876"/>
            </a:xfrm>
            <a:custGeom>
              <a:avLst/>
              <a:gdLst>
                <a:gd name="T0" fmla="*/ 39 w 1056"/>
                <a:gd name="T1" fmla="*/ 94 h 1206"/>
                <a:gd name="T2" fmla="*/ 35 w 1056"/>
                <a:gd name="T3" fmla="*/ 103 h 1206"/>
                <a:gd name="T4" fmla="*/ 29 w 1056"/>
                <a:gd name="T5" fmla="*/ 99 h 1206"/>
                <a:gd name="T6" fmla="*/ 23 w 1056"/>
                <a:gd name="T7" fmla="*/ 94 h 1206"/>
                <a:gd name="T8" fmla="*/ 21 w 1056"/>
                <a:gd name="T9" fmla="*/ 91 h 1206"/>
                <a:gd name="T10" fmla="*/ 18 w 1056"/>
                <a:gd name="T11" fmla="*/ 89 h 1206"/>
                <a:gd name="T12" fmla="*/ 15 w 1056"/>
                <a:gd name="T13" fmla="*/ 86 h 1206"/>
                <a:gd name="T14" fmla="*/ 11 w 1056"/>
                <a:gd name="T15" fmla="*/ 83 h 1206"/>
                <a:gd name="T16" fmla="*/ 8 w 1056"/>
                <a:gd name="T17" fmla="*/ 81 h 1206"/>
                <a:gd name="T18" fmla="*/ 6 w 1056"/>
                <a:gd name="T19" fmla="*/ 79 h 1206"/>
                <a:gd name="T20" fmla="*/ 13 w 1056"/>
                <a:gd name="T21" fmla="*/ 78 h 1206"/>
                <a:gd name="T22" fmla="*/ 8 w 1056"/>
                <a:gd name="T23" fmla="*/ 75 h 1206"/>
                <a:gd name="T24" fmla="*/ 13 w 1056"/>
                <a:gd name="T25" fmla="*/ 71 h 1206"/>
                <a:gd name="T26" fmla="*/ 10 w 1056"/>
                <a:gd name="T27" fmla="*/ 63 h 1206"/>
                <a:gd name="T28" fmla="*/ 6 w 1056"/>
                <a:gd name="T29" fmla="*/ 66 h 1206"/>
                <a:gd name="T30" fmla="*/ 1 w 1056"/>
                <a:gd name="T31" fmla="*/ 63 h 1206"/>
                <a:gd name="T32" fmla="*/ 1 w 1056"/>
                <a:gd name="T33" fmla="*/ 59 h 1206"/>
                <a:gd name="T34" fmla="*/ 3 w 1056"/>
                <a:gd name="T35" fmla="*/ 57 h 1206"/>
                <a:gd name="T36" fmla="*/ 6 w 1056"/>
                <a:gd name="T37" fmla="*/ 55 h 1206"/>
                <a:gd name="T38" fmla="*/ 10 w 1056"/>
                <a:gd name="T39" fmla="*/ 51 h 1206"/>
                <a:gd name="T40" fmla="*/ 11 w 1056"/>
                <a:gd name="T41" fmla="*/ 46 h 1206"/>
                <a:gd name="T42" fmla="*/ 14 w 1056"/>
                <a:gd name="T43" fmla="*/ 42 h 1206"/>
                <a:gd name="T44" fmla="*/ 15 w 1056"/>
                <a:gd name="T45" fmla="*/ 36 h 1206"/>
                <a:gd name="T46" fmla="*/ 17 w 1056"/>
                <a:gd name="T47" fmla="*/ 34 h 1206"/>
                <a:gd name="T48" fmla="*/ 20 w 1056"/>
                <a:gd name="T49" fmla="*/ 31 h 1206"/>
                <a:gd name="T50" fmla="*/ 21 w 1056"/>
                <a:gd name="T51" fmla="*/ 29 h 1206"/>
                <a:gd name="T52" fmla="*/ 23 w 1056"/>
                <a:gd name="T53" fmla="*/ 22 h 1206"/>
                <a:gd name="T54" fmla="*/ 35 w 1056"/>
                <a:gd name="T55" fmla="*/ 22 h 1206"/>
                <a:gd name="T56" fmla="*/ 41 w 1056"/>
                <a:gd name="T57" fmla="*/ 18 h 1206"/>
                <a:gd name="T58" fmla="*/ 54 w 1056"/>
                <a:gd name="T59" fmla="*/ 20 h 1206"/>
                <a:gd name="T60" fmla="*/ 54 w 1056"/>
                <a:gd name="T61" fmla="*/ 26 h 1206"/>
                <a:gd name="T62" fmla="*/ 64 w 1056"/>
                <a:gd name="T63" fmla="*/ 25 h 1206"/>
                <a:gd name="T64" fmla="*/ 71 w 1056"/>
                <a:gd name="T65" fmla="*/ 10 h 1206"/>
                <a:gd name="T66" fmla="*/ 80 w 1056"/>
                <a:gd name="T67" fmla="*/ 1 h 1206"/>
                <a:gd name="T68" fmla="*/ 86 w 1056"/>
                <a:gd name="T69" fmla="*/ 2 h 1206"/>
                <a:gd name="T70" fmla="*/ 91 w 1056"/>
                <a:gd name="T71" fmla="*/ 13 h 1206"/>
                <a:gd name="T72" fmla="*/ 88 w 1056"/>
                <a:gd name="T73" fmla="*/ 17 h 1206"/>
                <a:gd name="T74" fmla="*/ 89 w 1056"/>
                <a:gd name="T75" fmla="*/ 21 h 1206"/>
                <a:gd name="T76" fmla="*/ 86 w 1056"/>
                <a:gd name="T77" fmla="*/ 25 h 1206"/>
                <a:gd name="T78" fmla="*/ 85 w 1056"/>
                <a:gd name="T79" fmla="*/ 31 h 1206"/>
                <a:gd name="T80" fmla="*/ 83 w 1056"/>
                <a:gd name="T81" fmla="*/ 36 h 1206"/>
                <a:gd name="T82" fmla="*/ 80 w 1056"/>
                <a:gd name="T83" fmla="*/ 42 h 1206"/>
                <a:gd name="T84" fmla="*/ 80 w 1056"/>
                <a:gd name="T85" fmla="*/ 47 h 1206"/>
                <a:gd name="T86" fmla="*/ 77 w 1056"/>
                <a:gd name="T87" fmla="*/ 55 h 1206"/>
                <a:gd name="T88" fmla="*/ 75 w 1056"/>
                <a:gd name="T89" fmla="*/ 57 h 1206"/>
                <a:gd name="T90" fmla="*/ 66 w 1056"/>
                <a:gd name="T91" fmla="*/ 57 h 1206"/>
                <a:gd name="T92" fmla="*/ 66 w 1056"/>
                <a:gd name="T93" fmla="*/ 51 h 1206"/>
                <a:gd name="T94" fmla="*/ 48 w 1056"/>
                <a:gd name="T95" fmla="*/ 50 h 1206"/>
                <a:gd name="T96" fmla="*/ 46 w 1056"/>
                <a:gd name="T97" fmla="*/ 55 h 1206"/>
                <a:gd name="T98" fmla="*/ 42 w 1056"/>
                <a:gd name="T99" fmla="*/ 59 h 1206"/>
                <a:gd name="T100" fmla="*/ 41 w 1056"/>
                <a:gd name="T101" fmla="*/ 62 h 1206"/>
                <a:gd name="T102" fmla="*/ 43 w 1056"/>
                <a:gd name="T103" fmla="*/ 67 h 1206"/>
                <a:gd name="T104" fmla="*/ 42 w 1056"/>
                <a:gd name="T105" fmla="*/ 72 h 1206"/>
                <a:gd name="T106" fmla="*/ 39 w 1056"/>
                <a:gd name="T107" fmla="*/ 77 h 1206"/>
                <a:gd name="T108" fmla="*/ 36 w 1056"/>
                <a:gd name="T109" fmla="*/ 80 h 1206"/>
                <a:gd name="T110" fmla="*/ 37 w 1056"/>
                <a:gd name="T111" fmla="*/ 83 h 1206"/>
                <a:gd name="T112" fmla="*/ 40 w 1056"/>
                <a:gd name="T113" fmla="*/ 87 h 1206"/>
                <a:gd name="T114" fmla="*/ 42 w 1056"/>
                <a:gd name="T115" fmla="*/ 89 h 12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56"/>
                <a:gd name="T175" fmla="*/ 0 h 1206"/>
                <a:gd name="T176" fmla="*/ 1056 w 1056"/>
                <a:gd name="T177" fmla="*/ 1206 h 12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56" h="1206">
                  <a:moveTo>
                    <a:pt x="492" y="1032"/>
                  </a:moveTo>
                  <a:lnTo>
                    <a:pt x="486" y="1038"/>
                  </a:lnTo>
                  <a:lnTo>
                    <a:pt x="486" y="1044"/>
                  </a:lnTo>
                  <a:lnTo>
                    <a:pt x="480" y="1044"/>
                  </a:lnTo>
                  <a:lnTo>
                    <a:pt x="474" y="1056"/>
                  </a:lnTo>
                  <a:lnTo>
                    <a:pt x="462" y="1068"/>
                  </a:lnTo>
                  <a:lnTo>
                    <a:pt x="456" y="1080"/>
                  </a:lnTo>
                  <a:lnTo>
                    <a:pt x="450" y="1080"/>
                  </a:lnTo>
                  <a:lnTo>
                    <a:pt x="450" y="1086"/>
                  </a:lnTo>
                  <a:lnTo>
                    <a:pt x="450" y="1092"/>
                  </a:lnTo>
                  <a:lnTo>
                    <a:pt x="444" y="1104"/>
                  </a:lnTo>
                  <a:lnTo>
                    <a:pt x="444" y="1116"/>
                  </a:lnTo>
                  <a:lnTo>
                    <a:pt x="438" y="1128"/>
                  </a:lnTo>
                  <a:lnTo>
                    <a:pt x="432" y="1134"/>
                  </a:lnTo>
                  <a:lnTo>
                    <a:pt x="432" y="1140"/>
                  </a:lnTo>
                  <a:lnTo>
                    <a:pt x="420" y="1152"/>
                  </a:lnTo>
                  <a:lnTo>
                    <a:pt x="420" y="1158"/>
                  </a:lnTo>
                  <a:lnTo>
                    <a:pt x="408" y="1182"/>
                  </a:lnTo>
                  <a:lnTo>
                    <a:pt x="396" y="1194"/>
                  </a:lnTo>
                  <a:lnTo>
                    <a:pt x="390" y="1206"/>
                  </a:lnTo>
                  <a:lnTo>
                    <a:pt x="390" y="1200"/>
                  </a:lnTo>
                  <a:lnTo>
                    <a:pt x="384" y="1194"/>
                  </a:lnTo>
                  <a:lnTo>
                    <a:pt x="378" y="1188"/>
                  </a:lnTo>
                  <a:lnTo>
                    <a:pt x="366" y="1176"/>
                  </a:lnTo>
                  <a:lnTo>
                    <a:pt x="366" y="1170"/>
                  </a:lnTo>
                  <a:lnTo>
                    <a:pt x="348" y="1152"/>
                  </a:lnTo>
                  <a:lnTo>
                    <a:pt x="336" y="1140"/>
                  </a:lnTo>
                  <a:lnTo>
                    <a:pt x="330" y="1134"/>
                  </a:lnTo>
                  <a:lnTo>
                    <a:pt x="324" y="1128"/>
                  </a:lnTo>
                  <a:lnTo>
                    <a:pt x="318" y="1122"/>
                  </a:lnTo>
                  <a:lnTo>
                    <a:pt x="312" y="1116"/>
                  </a:lnTo>
                  <a:lnTo>
                    <a:pt x="306" y="1110"/>
                  </a:lnTo>
                  <a:lnTo>
                    <a:pt x="300" y="1104"/>
                  </a:lnTo>
                  <a:lnTo>
                    <a:pt x="294" y="1098"/>
                  </a:lnTo>
                  <a:lnTo>
                    <a:pt x="276" y="1080"/>
                  </a:lnTo>
                  <a:lnTo>
                    <a:pt x="270" y="1080"/>
                  </a:lnTo>
                  <a:lnTo>
                    <a:pt x="270" y="1074"/>
                  </a:lnTo>
                  <a:lnTo>
                    <a:pt x="264" y="1068"/>
                  </a:lnTo>
                  <a:lnTo>
                    <a:pt x="258" y="1062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40" y="1050"/>
                  </a:lnTo>
                  <a:lnTo>
                    <a:pt x="234" y="1044"/>
                  </a:lnTo>
                  <a:lnTo>
                    <a:pt x="228" y="1044"/>
                  </a:lnTo>
                  <a:lnTo>
                    <a:pt x="222" y="1038"/>
                  </a:lnTo>
                  <a:lnTo>
                    <a:pt x="222" y="1032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6"/>
                  </a:lnTo>
                  <a:lnTo>
                    <a:pt x="204" y="1020"/>
                  </a:lnTo>
                  <a:lnTo>
                    <a:pt x="204" y="1014"/>
                  </a:lnTo>
                  <a:lnTo>
                    <a:pt x="198" y="1014"/>
                  </a:lnTo>
                  <a:lnTo>
                    <a:pt x="192" y="1014"/>
                  </a:lnTo>
                  <a:lnTo>
                    <a:pt x="192" y="1008"/>
                  </a:lnTo>
                  <a:lnTo>
                    <a:pt x="186" y="1008"/>
                  </a:lnTo>
                  <a:lnTo>
                    <a:pt x="186" y="1002"/>
                  </a:lnTo>
                  <a:lnTo>
                    <a:pt x="180" y="1002"/>
                  </a:lnTo>
                  <a:lnTo>
                    <a:pt x="174" y="996"/>
                  </a:lnTo>
                  <a:lnTo>
                    <a:pt x="168" y="996"/>
                  </a:lnTo>
                  <a:lnTo>
                    <a:pt x="168" y="990"/>
                  </a:lnTo>
                  <a:lnTo>
                    <a:pt x="162" y="990"/>
                  </a:lnTo>
                  <a:lnTo>
                    <a:pt x="162" y="984"/>
                  </a:lnTo>
                  <a:lnTo>
                    <a:pt x="150" y="978"/>
                  </a:lnTo>
                  <a:lnTo>
                    <a:pt x="144" y="972"/>
                  </a:lnTo>
                  <a:lnTo>
                    <a:pt x="138" y="972"/>
                  </a:lnTo>
                  <a:lnTo>
                    <a:pt x="138" y="966"/>
                  </a:lnTo>
                  <a:lnTo>
                    <a:pt x="132" y="966"/>
                  </a:lnTo>
                  <a:lnTo>
                    <a:pt x="126" y="960"/>
                  </a:lnTo>
                  <a:lnTo>
                    <a:pt x="126" y="954"/>
                  </a:lnTo>
                  <a:lnTo>
                    <a:pt x="120" y="954"/>
                  </a:lnTo>
                  <a:lnTo>
                    <a:pt x="114" y="948"/>
                  </a:lnTo>
                  <a:lnTo>
                    <a:pt x="108" y="948"/>
                  </a:lnTo>
                  <a:lnTo>
                    <a:pt x="108" y="942"/>
                  </a:lnTo>
                  <a:lnTo>
                    <a:pt x="102" y="942"/>
                  </a:lnTo>
                  <a:lnTo>
                    <a:pt x="96" y="942"/>
                  </a:lnTo>
                  <a:lnTo>
                    <a:pt x="96" y="936"/>
                  </a:lnTo>
                  <a:lnTo>
                    <a:pt x="90" y="936"/>
                  </a:lnTo>
                  <a:lnTo>
                    <a:pt x="90" y="930"/>
                  </a:lnTo>
                  <a:lnTo>
                    <a:pt x="84" y="930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18"/>
                  </a:lnTo>
                  <a:lnTo>
                    <a:pt x="66" y="918"/>
                  </a:lnTo>
                  <a:lnTo>
                    <a:pt x="66" y="912"/>
                  </a:lnTo>
                  <a:lnTo>
                    <a:pt x="66" y="906"/>
                  </a:lnTo>
                  <a:lnTo>
                    <a:pt x="72" y="906"/>
                  </a:lnTo>
                  <a:lnTo>
                    <a:pt x="84" y="906"/>
                  </a:lnTo>
                  <a:lnTo>
                    <a:pt x="90" y="906"/>
                  </a:lnTo>
                  <a:lnTo>
                    <a:pt x="120" y="930"/>
                  </a:lnTo>
                  <a:lnTo>
                    <a:pt x="126" y="936"/>
                  </a:lnTo>
                  <a:lnTo>
                    <a:pt x="138" y="936"/>
                  </a:lnTo>
                  <a:lnTo>
                    <a:pt x="138" y="930"/>
                  </a:lnTo>
                  <a:lnTo>
                    <a:pt x="144" y="930"/>
                  </a:lnTo>
                  <a:lnTo>
                    <a:pt x="144" y="924"/>
                  </a:lnTo>
                  <a:lnTo>
                    <a:pt x="150" y="900"/>
                  </a:lnTo>
                  <a:lnTo>
                    <a:pt x="138" y="894"/>
                  </a:lnTo>
                  <a:lnTo>
                    <a:pt x="126" y="894"/>
                  </a:lnTo>
                  <a:lnTo>
                    <a:pt x="108" y="888"/>
                  </a:lnTo>
                  <a:lnTo>
                    <a:pt x="84" y="882"/>
                  </a:lnTo>
                  <a:lnTo>
                    <a:pt x="72" y="882"/>
                  </a:lnTo>
                  <a:lnTo>
                    <a:pt x="72" y="876"/>
                  </a:lnTo>
                  <a:lnTo>
                    <a:pt x="78" y="870"/>
                  </a:lnTo>
                  <a:lnTo>
                    <a:pt x="90" y="870"/>
                  </a:lnTo>
                  <a:lnTo>
                    <a:pt x="96" y="870"/>
                  </a:lnTo>
                  <a:lnTo>
                    <a:pt x="102" y="870"/>
                  </a:lnTo>
                  <a:lnTo>
                    <a:pt x="114" y="870"/>
                  </a:lnTo>
                  <a:lnTo>
                    <a:pt x="120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34"/>
                  </a:lnTo>
                  <a:lnTo>
                    <a:pt x="132" y="828"/>
                  </a:lnTo>
                  <a:lnTo>
                    <a:pt x="132" y="816"/>
                  </a:lnTo>
                  <a:lnTo>
                    <a:pt x="150" y="816"/>
                  </a:lnTo>
                  <a:lnTo>
                    <a:pt x="150" y="804"/>
                  </a:lnTo>
                  <a:lnTo>
                    <a:pt x="144" y="798"/>
                  </a:lnTo>
                  <a:lnTo>
                    <a:pt x="156" y="762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32"/>
                  </a:lnTo>
                  <a:lnTo>
                    <a:pt x="144" y="726"/>
                  </a:lnTo>
                  <a:lnTo>
                    <a:pt x="132" y="726"/>
                  </a:lnTo>
                  <a:lnTo>
                    <a:pt x="120" y="732"/>
                  </a:lnTo>
                  <a:lnTo>
                    <a:pt x="114" y="744"/>
                  </a:lnTo>
                  <a:lnTo>
                    <a:pt x="108" y="750"/>
                  </a:lnTo>
                  <a:lnTo>
                    <a:pt x="96" y="768"/>
                  </a:lnTo>
                  <a:lnTo>
                    <a:pt x="96" y="774"/>
                  </a:lnTo>
                  <a:lnTo>
                    <a:pt x="90" y="780"/>
                  </a:lnTo>
                  <a:lnTo>
                    <a:pt x="84" y="804"/>
                  </a:lnTo>
                  <a:lnTo>
                    <a:pt x="72" y="774"/>
                  </a:lnTo>
                  <a:lnTo>
                    <a:pt x="72" y="768"/>
                  </a:lnTo>
                  <a:lnTo>
                    <a:pt x="66" y="762"/>
                  </a:lnTo>
                  <a:lnTo>
                    <a:pt x="60" y="750"/>
                  </a:lnTo>
                  <a:lnTo>
                    <a:pt x="54" y="750"/>
                  </a:lnTo>
                  <a:lnTo>
                    <a:pt x="48" y="750"/>
                  </a:lnTo>
                  <a:lnTo>
                    <a:pt x="42" y="750"/>
                  </a:lnTo>
                  <a:lnTo>
                    <a:pt x="30" y="744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12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2" y="702"/>
                  </a:lnTo>
                  <a:lnTo>
                    <a:pt x="18" y="696"/>
                  </a:lnTo>
                  <a:lnTo>
                    <a:pt x="12" y="690"/>
                  </a:lnTo>
                  <a:lnTo>
                    <a:pt x="12" y="684"/>
                  </a:lnTo>
                  <a:lnTo>
                    <a:pt x="12" y="678"/>
                  </a:lnTo>
                  <a:lnTo>
                    <a:pt x="12" y="672"/>
                  </a:lnTo>
                  <a:lnTo>
                    <a:pt x="18" y="672"/>
                  </a:lnTo>
                  <a:lnTo>
                    <a:pt x="18" y="666"/>
                  </a:lnTo>
                  <a:lnTo>
                    <a:pt x="24" y="666"/>
                  </a:lnTo>
                  <a:lnTo>
                    <a:pt x="24" y="660"/>
                  </a:lnTo>
                  <a:lnTo>
                    <a:pt x="30" y="660"/>
                  </a:lnTo>
                  <a:lnTo>
                    <a:pt x="30" y="654"/>
                  </a:lnTo>
                  <a:lnTo>
                    <a:pt x="36" y="654"/>
                  </a:lnTo>
                  <a:lnTo>
                    <a:pt x="36" y="648"/>
                  </a:lnTo>
                  <a:lnTo>
                    <a:pt x="42" y="648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60" y="630"/>
                  </a:lnTo>
                  <a:lnTo>
                    <a:pt x="66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78" y="624"/>
                  </a:lnTo>
                  <a:lnTo>
                    <a:pt x="84" y="618"/>
                  </a:lnTo>
                  <a:lnTo>
                    <a:pt x="84" y="612"/>
                  </a:lnTo>
                  <a:lnTo>
                    <a:pt x="90" y="612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20" y="588"/>
                  </a:lnTo>
                  <a:lnTo>
                    <a:pt x="120" y="582"/>
                  </a:lnTo>
                  <a:lnTo>
                    <a:pt x="120" y="576"/>
                  </a:lnTo>
                  <a:lnTo>
                    <a:pt x="120" y="570"/>
                  </a:lnTo>
                  <a:lnTo>
                    <a:pt x="126" y="564"/>
                  </a:lnTo>
                  <a:lnTo>
                    <a:pt x="126" y="558"/>
                  </a:lnTo>
                  <a:lnTo>
                    <a:pt x="126" y="552"/>
                  </a:lnTo>
                  <a:lnTo>
                    <a:pt x="126" y="546"/>
                  </a:lnTo>
                  <a:lnTo>
                    <a:pt x="126" y="534"/>
                  </a:lnTo>
                  <a:lnTo>
                    <a:pt x="126" y="516"/>
                  </a:lnTo>
                  <a:lnTo>
                    <a:pt x="126" y="510"/>
                  </a:lnTo>
                  <a:lnTo>
                    <a:pt x="126" y="504"/>
                  </a:lnTo>
                  <a:lnTo>
                    <a:pt x="126" y="498"/>
                  </a:lnTo>
                  <a:lnTo>
                    <a:pt x="132" y="498"/>
                  </a:lnTo>
                  <a:lnTo>
                    <a:pt x="132" y="492"/>
                  </a:lnTo>
                  <a:lnTo>
                    <a:pt x="138" y="492"/>
                  </a:lnTo>
                  <a:lnTo>
                    <a:pt x="144" y="486"/>
                  </a:lnTo>
                  <a:lnTo>
                    <a:pt x="156" y="480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6" y="462"/>
                  </a:lnTo>
                  <a:lnTo>
                    <a:pt x="156" y="456"/>
                  </a:lnTo>
                  <a:lnTo>
                    <a:pt x="156" y="450"/>
                  </a:lnTo>
                  <a:lnTo>
                    <a:pt x="162" y="438"/>
                  </a:lnTo>
                  <a:lnTo>
                    <a:pt x="168" y="426"/>
                  </a:lnTo>
                  <a:lnTo>
                    <a:pt x="174" y="426"/>
                  </a:lnTo>
                  <a:lnTo>
                    <a:pt x="174" y="420"/>
                  </a:lnTo>
                  <a:lnTo>
                    <a:pt x="180" y="414"/>
                  </a:lnTo>
                  <a:lnTo>
                    <a:pt x="186" y="420"/>
                  </a:lnTo>
                  <a:lnTo>
                    <a:pt x="186" y="414"/>
                  </a:lnTo>
                  <a:lnTo>
                    <a:pt x="180" y="408"/>
                  </a:lnTo>
                  <a:lnTo>
                    <a:pt x="180" y="402"/>
                  </a:lnTo>
                  <a:lnTo>
                    <a:pt x="186" y="402"/>
                  </a:lnTo>
                  <a:lnTo>
                    <a:pt x="192" y="402"/>
                  </a:lnTo>
                  <a:lnTo>
                    <a:pt x="192" y="396"/>
                  </a:lnTo>
                  <a:lnTo>
                    <a:pt x="198" y="396"/>
                  </a:lnTo>
                  <a:lnTo>
                    <a:pt x="204" y="396"/>
                  </a:lnTo>
                  <a:lnTo>
                    <a:pt x="210" y="396"/>
                  </a:lnTo>
                  <a:lnTo>
                    <a:pt x="210" y="390"/>
                  </a:lnTo>
                  <a:lnTo>
                    <a:pt x="216" y="390"/>
                  </a:lnTo>
                  <a:lnTo>
                    <a:pt x="216" y="384"/>
                  </a:lnTo>
                  <a:lnTo>
                    <a:pt x="222" y="384"/>
                  </a:lnTo>
                  <a:lnTo>
                    <a:pt x="222" y="378"/>
                  </a:lnTo>
                  <a:lnTo>
                    <a:pt x="228" y="372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0" y="348"/>
                  </a:lnTo>
                  <a:lnTo>
                    <a:pt x="234" y="342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46" y="330"/>
                  </a:lnTo>
                  <a:lnTo>
                    <a:pt x="246" y="324"/>
                  </a:lnTo>
                  <a:lnTo>
                    <a:pt x="234" y="318"/>
                  </a:lnTo>
                  <a:lnTo>
                    <a:pt x="234" y="312"/>
                  </a:lnTo>
                  <a:lnTo>
                    <a:pt x="234" y="300"/>
                  </a:lnTo>
                  <a:lnTo>
                    <a:pt x="240" y="288"/>
                  </a:lnTo>
                  <a:lnTo>
                    <a:pt x="240" y="276"/>
                  </a:lnTo>
                  <a:lnTo>
                    <a:pt x="246" y="258"/>
                  </a:lnTo>
                  <a:lnTo>
                    <a:pt x="258" y="252"/>
                  </a:lnTo>
                  <a:lnTo>
                    <a:pt x="270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294" y="252"/>
                  </a:lnTo>
                  <a:lnTo>
                    <a:pt x="300" y="258"/>
                  </a:lnTo>
                  <a:lnTo>
                    <a:pt x="318" y="252"/>
                  </a:lnTo>
                  <a:lnTo>
                    <a:pt x="366" y="252"/>
                  </a:lnTo>
                  <a:lnTo>
                    <a:pt x="378" y="252"/>
                  </a:lnTo>
                  <a:lnTo>
                    <a:pt x="396" y="252"/>
                  </a:lnTo>
                  <a:lnTo>
                    <a:pt x="408" y="252"/>
                  </a:lnTo>
                  <a:lnTo>
                    <a:pt x="408" y="246"/>
                  </a:lnTo>
                  <a:lnTo>
                    <a:pt x="414" y="240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20" y="216"/>
                  </a:lnTo>
                  <a:lnTo>
                    <a:pt x="426" y="210"/>
                  </a:lnTo>
                  <a:lnTo>
                    <a:pt x="444" y="198"/>
                  </a:lnTo>
                  <a:lnTo>
                    <a:pt x="462" y="198"/>
                  </a:lnTo>
                  <a:lnTo>
                    <a:pt x="474" y="204"/>
                  </a:lnTo>
                  <a:lnTo>
                    <a:pt x="498" y="198"/>
                  </a:lnTo>
                  <a:lnTo>
                    <a:pt x="498" y="204"/>
                  </a:lnTo>
                  <a:lnTo>
                    <a:pt x="540" y="210"/>
                  </a:lnTo>
                  <a:lnTo>
                    <a:pt x="564" y="210"/>
                  </a:lnTo>
                  <a:lnTo>
                    <a:pt x="588" y="210"/>
                  </a:lnTo>
                  <a:lnTo>
                    <a:pt x="612" y="210"/>
                  </a:lnTo>
                  <a:lnTo>
                    <a:pt x="612" y="216"/>
                  </a:lnTo>
                  <a:lnTo>
                    <a:pt x="618" y="222"/>
                  </a:lnTo>
                  <a:lnTo>
                    <a:pt x="618" y="228"/>
                  </a:lnTo>
                  <a:lnTo>
                    <a:pt x="624" y="240"/>
                  </a:lnTo>
                  <a:lnTo>
                    <a:pt x="624" y="246"/>
                  </a:lnTo>
                  <a:lnTo>
                    <a:pt x="630" y="252"/>
                  </a:lnTo>
                  <a:lnTo>
                    <a:pt x="630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0" y="282"/>
                  </a:lnTo>
                  <a:lnTo>
                    <a:pt x="630" y="288"/>
                  </a:lnTo>
                  <a:lnTo>
                    <a:pt x="630" y="300"/>
                  </a:lnTo>
                  <a:lnTo>
                    <a:pt x="630" y="306"/>
                  </a:lnTo>
                  <a:lnTo>
                    <a:pt x="636" y="306"/>
                  </a:lnTo>
                  <a:lnTo>
                    <a:pt x="642" y="306"/>
                  </a:lnTo>
                  <a:lnTo>
                    <a:pt x="648" y="312"/>
                  </a:lnTo>
                  <a:lnTo>
                    <a:pt x="666" y="312"/>
                  </a:lnTo>
                  <a:lnTo>
                    <a:pt x="696" y="306"/>
                  </a:lnTo>
                  <a:lnTo>
                    <a:pt x="732" y="300"/>
                  </a:lnTo>
                  <a:lnTo>
                    <a:pt x="732" y="288"/>
                  </a:lnTo>
                  <a:lnTo>
                    <a:pt x="738" y="288"/>
                  </a:lnTo>
                  <a:lnTo>
                    <a:pt x="744" y="276"/>
                  </a:lnTo>
                  <a:lnTo>
                    <a:pt x="762" y="246"/>
                  </a:lnTo>
                  <a:lnTo>
                    <a:pt x="768" y="228"/>
                  </a:lnTo>
                  <a:lnTo>
                    <a:pt x="792" y="210"/>
                  </a:lnTo>
                  <a:lnTo>
                    <a:pt x="804" y="186"/>
                  </a:lnTo>
                  <a:lnTo>
                    <a:pt x="804" y="156"/>
                  </a:lnTo>
                  <a:lnTo>
                    <a:pt x="804" y="138"/>
                  </a:lnTo>
                  <a:lnTo>
                    <a:pt x="810" y="126"/>
                  </a:lnTo>
                  <a:lnTo>
                    <a:pt x="816" y="120"/>
                  </a:lnTo>
                  <a:lnTo>
                    <a:pt x="828" y="102"/>
                  </a:lnTo>
                  <a:lnTo>
                    <a:pt x="834" y="96"/>
                  </a:lnTo>
                  <a:lnTo>
                    <a:pt x="846" y="102"/>
                  </a:lnTo>
                  <a:lnTo>
                    <a:pt x="852" y="96"/>
                  </a:lnTo>
                  <a:lnTo>
                    <a:pt x="858" y="72"/>
                  </a:lnTo>
                  <a:lnTo>
                    <a:pt x="864" y="60"/>
                  </a:lnTo>
                  <a:lnTo>
                    <a:pt x="882" y="48"/>
                  </a:lnTo>
                  <a:lnTo>
                    <a:pt x="906" y="36"/>
                  </a:lnTo>
                  <a:lnTo>
                    <a:pt x="918" y="12"/>
                  </a:lnTo>
                  <a:lnTo>
                    <a:pt x="924" y="0"/>
                  </a:lnTo>
                  <a:lnTo>
                    <a:pt x="930" y="6"/>
                  </a:lnTo>
                  <a:lnTo>
                    <a:pt x="942" y="12"/>
                  </a:lnTo>
                  <a:lnTo>
                    <a:pt x="948" y="12"/>
                  </a:lnTo>
                  <a:lnTo>
                    <a:pt x="954" y="18"/>
                  </a:lnTo>
                  <a:lnTo>
                    <a:pt x="966" y="18"/>
                  </a:lnTo>
                  <a:lnTo>
                    <a:pt x="972" y="18"/>
                  </a:lnTo>
                  <a:lnTo>
                    <a:pt x="984" y="18"/>
                  </a:lnTo>
                  <a:lnTo>
                    <a:pt x="990" y="18"/>
                  </a:lnTo>
                  <a:lnTo>
                    <a:pt x="1002" y="48"/>
                  </a:lnTo>
                  <a:lnTo>
                    <a:pt x="1008" y="78"/>
                  </a:lnTo>
                  <a:lnTo>
                    <a:pt x="1020" y="78"/>
                  </a:lnTo>
                  <a:lnTo>
                    <a:pt x="1020" y="90"/>
                  </a:lnTo>
                  <a:lnTo>
                    <a:pt x="1026" y="102"/>
                  </a:lnTo>
                  <a:lnTo>
                    <a:pt x="1044" y="120"/>
                  </a:lnTo>
                  <a:lnTo>
                    <a:pt x="1044" y="132"/>
                  </a:lnTo>
                  <a:lnTo>
                    <a:pt x="1056" y="150"/>
                  </a:lnTo>
                  <a:lnTo>
                    <a:pt x="1050" y="150"/>
                  </a:lnTo>
                  <a:lnTo>
                    <a:pt x="1044" y="156"/>
                  </a:lnTo>
                  <a:lnTo>
                    <a:pt x="1044" y="162"/>
                  </a:lnTo>
                  <a:lnTo>
                    <a:pt x="1038" y="162"/>
                  </a:lnTo>
                  <a:lnTo>
                    <a:pt x="1032" y="162"/>
                  </a:lnTo>
                  <a:lnTo>
                    <a:pt x="1026" y="168"/>
                  </a:lnTo>
                  <a:lnTo>
                    <a:pt x="1014" y="174"/>
                  </a:lnTo>
                  <a:lnTo>
                    <a:pt x="1014" y="186"/>
                  </a:lnTo>
                  <a:lnTo>
                    <a:pt x="1014" y="192"/>
                  </a:lnTo>
                  <a:lnTo>
                    <a:pt x="1014" y="198"/>
                  </a:lnTo>
                  <a:lnTo>
                    <a:pt x="1020" y="204"/>
                  </a:lnTo>
                  <a:lnTo>
                    <a:pt x="1026" y="204"/>
                  </a:lnTo>
                  <a:lnTo>
                    <a:pt x="1032" y="204"/>
                  </a:lnTo>
                  <a:lnTo>
                    <a:pt x="1032" y="210"/>
                  </a:lnTo>
                  <a:lnTo>
                    <a:pt x="1038" y="210"/>
                  </a:lnTo>
                  <a:lnTo>
                    <a:pt x="1032" y="216"/>
                  </a:lnTo>
                  <a:lnTo>
                    <a:pt x="1026" y="228"/>
                  </a:lnTo>
                  <a:lnTo>
                    <a:pt x="1026" y="234"/>
                  </a:lnTo>
                  <a:lnTo>
                    <a:pt x="1032" y="240"/>
                  </a:lnTo>
                  <a:lnTo>
                    <a:pt x="1032" y="246"/>
                  </a:lnTo>
                  <a:lnTo>
                    <a:pt x="1032" y="252"/>
                  </a:lnTo>
                  <a:lnTo>
                    <a:pt x="1032" y="258"/>
                  </a:lnTo>
                  <a:lnTo>
                    <a:pt x="1038" y="264"/>
                  </a:lnTo>
                  <a:lnTo>
                    <a:pt x="1032" y="276"/>
                  </a:lnTo>
                  <a:lnTo>
                    <a:pt x="1026" y="276"/>
                  </a:lnTo>
                  <a:lnTo>
                    <a:pt x="1020" y="276"/>
                  </a:lnTo>
                  <a:lnTo>
                    <a:pt x="996" y="282"/>
                  </a:lnTo>
                  <a:lnTo>
                    <a:pt x="996" y="288"/>
                  </a:lnTo>
                  <a:lnTo>
                    <a:pt x="996" y="294"/>
                  </a:lnTo>
                  <a:lnTo>
                    <a:pt x="996" y="300"/>
                  </a:lnTo>
                  <a:lnTo>
                    <a:pt x="996" y="306"/>
                  </a:lnTo>
                  <a:lnTo>
                    <a:pt x="984" y="324"/>
                  </a:lnTo>
                  <a:lnTo>
                    <a:pt x="984" y="330"/>
                  </a:lnTo>
                  <a:lnTo>
                    <a:pt x="984" y="336"/>
                  </a:lnTo>
                  <a:lnTo>
                    <a:pt x="978" y="336"/>
                  </a:lnTo>
                  <a:lnTo>
                    <a:pt x="978" y="342"/>
                  </a:lnTo>
                  <a:lnTo>
                    <a:pt x="984" y="360"/>
                  </a:lnTo>
                  <a:lnTo>
                    <a:pt x="978" y="366"/>
                  </a:lnTo>
                  <a:lnTo>
                    <a:pt x="978" y="372"/>
                  </a:lnTo>
                  <a:lnTo>
                    <a:pt x="972" y="372"/>
                  </a:lnTo>
                  <a:lnTo>
                    <a:pt x="972" y="378"/>
                  </a:lnTo>
                  <a:lnTo>
                    <a:pt x="972" y="384"/>
                  </a:lnTo>
                  <a:lnTo>
                    <a:pt x="972" y="390"/>
                  </a:lnTo>
                  <a:lnTo>
                    <a:pt x="966" y="402"/>
                  </a:lnTo>
                  <a:lnTo>
                    <a:pt x="960" y="414"/>
                  </a:lnTo>
                  <a:lnTo>
                    <a:pt x="954" y="420"/>
                  </a:lnTo>
                  <a:lnTo>
                    <a:pt x="948" y="426"/>
                  </a:lnTo>
                  <a:lnTo>
                    <a:pt x="948" y="438"/>
                  </a:lnTo>
                  <a:lnTo>
                    <a:pt x="942" y="444"/>
                  </a:lnTo>
                  <a:lnTo>
                    <a:pt x="936" y="450"/>
                  </a:lnTo>
                  <a:lnTo>
                    <a:pt x="930" y="456"/>
                  </a:lnTo>
                  <a:lnTo>
                    <a:pt x="924" y="462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18" y="522"/>
                  </a:lnTo>
                  <a:lnTo>
                    <a:pt x="918" y="528"/>
                  </a:lnTo>
                  <a:lnTo>
                    <a:pt x="924" y="534"/>
                  </a:lnTo>
                  <a:lnTo>
                    <a:pt x="924" y="540"/>
                  </a:lnTo>
                  <a:lnTo>
                    <a:pt x="924" y="546"/>
                  </a:lnTo>
                  <a:lnTo>
                    <a:pt x="918" y="546"/>
                  </a:lnTo>
                  <a:lnTo>
                    <a:pt x="918" y="552"/>
                  </a:lnTo>
                  <a:lnTo>
                    <a:pt x="912" y="546"/>
                  </a:lnTo>
                  <a:lnTo>
                    <a:pt x="912" y="552"/>
                  </a:lnTo>
                  <a:lnTo>
                    <a:pt x="912" y="570"/>
                  </a:lnTo>
                  <a:lnTo>
                    <a:pt x="906" y="588"/>
                  </a:lnTo>
                  <a:lnTo>
                    <a:pt x="900" y="606"/>
                  </a:lnTo>
                  <a:lnTo>
                    <a:pt x="906" y="624"/>
                  </a:lnTo>
                  <a:lnTo>
                    <a:pt x="900" y="624"/>
                  </a:lnTo>
                  <a:lnTo>
                    <a:pt x="894" y="630"/>
                  </a:lnTo>
                  <a:lnTo>
                    <a:pt x="888" y="630"/>
                  </a:lnTo>
                  <a:lnTo>
                    <a:pt x="882" y="630"/>
                  </a:lnTo>
                  <a:lnTo>
                    <a:pt x="882" y="636"/>
                  </a:lnTo>
                  <a:lnTo>
                    <a:pt x="876" y="642"/>
                  </a:lnTo>
                  <a:lnTo>
                    <a:pt x="870" y="642"/>
                  </a:lnTo>
                  <a:lnTo>
                    <a:pt x="870" y="648"/>
                  </a:lnTo>
                  <a:lnTo>
                    <a:pt x="870" y="654"/>
                  </a:lnTo>
                  <a:lnTo>
                    <a:pt x="864" y="654"/>
                  </a:lnTo>
                  <a:lnTo>
                    <a:pt x="864" y="660"/>
                  </a:lnTo>
                  <a:lnTo>
                    <a:pt x="846" y="666"/>
                  </a:lnTo>
                  <a:lnTo>
                    <a:pt x="828" y="672"/>
                  </a:lnTo>
                  <a:lnTo>
                    <a:pt x="816" y="660"/>
                  </a:lnTo>
                  <a:lnTo>
                    <a:pt x="810" y="660"/>
                  </a:lnTo>
                  <a:lnTo>
                    <a:pt x="798" y="666"/>
                  </a:lnTo>
                  <a:lnTo>
                    <a:pt x="786" y="666"/>
                  </a:lnTo>
                  <a:lnTo>
                    <a:pt x="780" y="672"/>
                  </a:lnTo>
                  <a:lnTo>
                    <a:pt x="768" y="678"/>
                  </a:lnTo>
                  <a:lnTo>
                    <a:pt x="762" y="660"/>
                  </a:lnTo>
                  <a:lnTo>
                    <a:pt x="762" y="654"/>
                  </a:lnTo>
                  <a:lnTo>
                    <a:pt x="756" y="636"/>
                  </a:lnTo>
                  <a:lnTo>
                    <a:pt x="762" y="624"/>
                  </a:lnTo>
                  <a:lnTo>
                    <a:pt x="756" y="606"/>
                  </a:lnTo>
                  <a:lnTo>
                    <a:pt x="756" y="600"/>
                  </a:lnTo>
                  <a:lnTo>
                    <a:pt x="762" y="594"/>
                  </a:lnTo>
                  <a:lnTo>
                    <a:pt x="768" y="600"/>
                  </a:lnTo>
                  <a:lnTo>
                    <a:pt x="768" y="594"/>
                  </a:lnTo>
                  <a:lnTo>
                    <a:pt x="768" y="588"/>
                  </a:lnTo>
                  <a:lnTo>
                    <a:pt x="774" y="582"/>
                  </a:lnTo>
                  <a:lnTo>
                    <a:pt x="768" y="576"/>
                  </a:lnTo>
                  <a:lnTo>
                    <a:pt x="762" y="576"/>
                  </a:lnTo>
                  <a:lnTo>
                    <a:pt x="756" y="576"/>
                  </a:lnTo>
                  <a:lnTo>
                    <a:pt x="690" y="576"/>
                  </a:lnTo>
                  <a:lnTo>
                    <a:pt x="624" y="570"/>
                  </a:lnTo>
                  <a:lnTo>
                    <a:pt x="600" y="564"/>
                  </a:lnTo>
                  <a:lnTo>
                    <a:pt x="576" y="564"/>
                  </a:lnTo>
                  <a:lnTo>
                    <a:pt x="558" y="570"/>
                  </a:lnTo>
                  <a:lnTo>
                    <a:pt x="552" y="576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46" y="594"/>
                  </a:lnTo>
                  <a:lnTo>
                    <a:pt x="546" y="600"/>
                  </a:lnTo>
                  <a:lnTo>
                    <a:pt x="540" y="606"/>
                  </a:lnTo>
                  <a:lnTo>
                    <a:pt x="534" y="618"/>
                  </a:lnTo>
                  <a:lnTo>
                    <a:pt x="534" y="624"/>
                  </a:lnTo>
                  <a:lnTo>
                    <a:pt x="534" y="630"/>
                  </a:lnTo>
                  <a:lnTo>
                    <a:pt x="534" y="636"/>
                  </a:lnTo>
                  <a:lnTo>
                    <a:pt x="528" y="636"/>
                  </a:lnTo>
                  <a:lnTo>
                    <a:pt x="516" y="642"/>
                  </a:lnTo>
                  <a:lnTo>
                    <a:pt x="516" y="648"/>
                  </a:lnTo>
                  <a:lnTo>
                    <a:pt x="510" y="648"/>
                  </a:lnTo>
                  <a:lnTo>
                    <a:pt x="504" y="654"/>
                  </a:lnTo>
                  <a:lnTo>
                    <a:pt x="492" y="666"/>
                  </a:lnTo>
                  <a:lnTo>
                    <a:pt x="492" y="672"/>
                  </a:lnTo>
                  <a:lnTo>
                    <a:pt x="492" y="684"/>
                  </a:lnTo>
                  <a:lnTo>
                    <a:pt x="486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92" y="702"/>
                  </a:lnTo>
                  <a:lnTo>
                    <a:pt x="486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74" y="720"/>
                  </a:lnTo>
                  <a:lnTo>
                    <a:pt x="480" y="726"/>
                  </a:lnTo>
                  <a:lnTo>
                    <a:pt x="474" y="726"/>
                  </a:lnTo>
                  <a:lnTo>
                    <a:pt x="474" y="738"/>
                  </a:lnTo>
                  <a:lnTo>
                    <a:pt x="474" y="744"/>
                  </a:lnTo>
                  <a:lnTo>
                    <a:pt x="474" y="750"/>
                  </a:lnTo>
                  <a:lnTo>
                    <a:pt x="480" y="750"/>
                  </a:lnTo>
                  <a:lnTo>
                    <a:pt x="480" y="756"/>
                  </a:lnTo>
                  <a:lnTo>
                    <a:pt x="492" y="762"/>
                  </a:lnTo>
                  <a:lnTo>
                    <a:pt x="498" y="774"/>
                  </a:lnTo>
                  <a:lnTo>
                    <a:pt x="498" y="780"/>
                  </a:lnTo>
                  <a:lnTo>
                    <a:pt x="504" y="786"/>
                  </a:lnTo>
                  <a:lnTo>
                    <a:pt x="510" y="792"/>
                  </a:lnTo>
                  <a:lnTo>
                    <a:pt x="504" y="798"/>
                  </a:lnTo>
                  <a:lnTo>
                    <a:pt x="504" y="804"/>
                  </a:lnTo>
                  <a:lnTo>
                    <a:pt x="504" y="810"/>
                  </a:lnTo>
                  <a:lnTo>
                    <a:pt x="498" y="822"/>
                  </a:lnTo>
                  <a:lnTo>
                    <a:pt x="492" y="828"/>
                  </a:lnTo>
                  <a:lnTo>
                    <a:pt x="492" y="834"/>
                  </a:lnTo>
                  <a:lnTo>
                    <a:pt x="486" y="840"/>
                  </a:lnTo>
                  <a:lnTo>
                    <a:pt x="480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74" y="858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876"/>
                  </a:lnTo>
                  <a:lnTo>
                    <a:pt x="456" y="894"/>
                  </a:lnTo>
                  <a:lnTo>
                    <a:pt x="450" y="894"/>
                  </a:lnTo>
                  <a:lnTo>
                    <a:pt x="444" y="900"/>
                  </a:lnTo>
                  <a:lnTo>
                    <a:pt x="444" y="894"/>
                  </a:lnTo>
                  <a:lnTo>
                    <a:pt x="438" y="894"/>
                  </a:lnTo>
                  <a:lnTo>
                    <a:pt x="432" y="900"/>
                  </a:lnTo>
                  <a:lnTo>
                    <a:pt x="432" y="906"/>
                  </a:lnTo>
                  <a:lnTo>
                    <a:pt x="420" y="906"/>
                  </a:lnTo>
                  <a:lnTo>
                    <a:pt x="420" y="912"/>
                  </a:lnTo>
                  <a:lnTo>
                    <a:pt x="420" y="918"/>
                  </a:lnTo>
                  <a:lnTo>
                    <a:pt x="426" y="918"/>
                  </a:lnTo>
                  <a:lnTo>
                    <a:pt x="426" y="924"/>
                  </a:lnTo>
                  <a:lnTo>
                    <a:pt x="426" y="930"/>
                  </a:lnTo>
                  <a:lnTo>
                    <a:pt x="420" y="930"/>
                  </a:lnTo>
                  <a:lnTo>
                    <a:pt x="414" y="936"/>
                  </a:lnTo>
                  <a:lnTo>
                    <a:pt x="414" y="942"/>
                  </a:lnTo>
                  <a:lnTo>
                    <a:pt x="414" y="948"/>
                  </a:lnTo>
                  <a:lnTo>
                    <a:pt x="414" y="954"/>
                  </a:lnTo>
                  <a:lnTo>
                    <a:pt x="426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44" y="972"/>
                  </a:lnTo>
                  <a:lnTo>
                    <a:pt x="444" y="978"/>
                  </a:lnTo>
                  <a:lnTo>
                    <a:pt x="450" y="978"/>
                  </a:lnTo>
                  <a:lnTo>
                    <a:pt x="450" y="984"/>
                  </a:lnTo>
                  <a:lnTo>
                    <a:pt x="456" y="990"/>
                  </a:lnTo>
                  <a:lnTo>
                    <a:pt x="456" y="996"/>
                  </a:lnTo>
                  <a:lnTo>
                    <a:pt x="462" y="1008"/>
                  </a:lnTo>
                  <a:lnTo>
                    <a:pt x="468" y="1008"/>
                  </a:lnTo>
                  <a:lnTo>
                    <a:pt x="468" y="1002"/>
                  </a:lnTo>
                  <a:lnTo>
                    <a:pt x="474" y="1008"/>
                  </a:lnTo>
                  <a:lnTo>
                    <a:pt x="480" y="1002"/>
                  </a:lnTo>
                  <a:lnTo>
                    <a:pt x="486" y="1008"/>
                  </a:lnTo>
                  <a:lnTo>
                    <a:pt x="486" y="1014"/>
                  </a:lnTo>
                  <a:lnTo>
                    <a:pt x="492" y="1014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86" y="1026"/>
                  </a:lnTo>
                  <a:lnTo>
                    <a:pt x="492" y="1026"/>
                  </a:lnTo>
                  <a:lnTo>
                    <a:pt x="486" y="1026"/>
                  </a:lnTo>
                  <a:lnTo>
                    <a:pt x="492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5" name="Freeform 30">
              <a:extLst>
                <a:ext uri="{FF2B5EF4-FFF2-40B4-BE49-F238E27FC236}">
                  <a16:creationId xmlns:a16="http://schemas.microsoft.com/office/drawing/2014/main" id="{85C7B827-0C1A-4D72-AEBD-F01CFE7EC12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3645" y="3904484"/>
              <a:ext cx="559048" cy="111825"/>
            </a:xfrm>
            <a:custGeom>
              <a:avLst/>
              <a:gdLst>
                <a:gd name="T0" fmla="*/ 69 w 1056"/>
                <a:gd name="T1" fmla="*/ 7 h 210"/>
                <a:gd name="T2" fmla="*/ 63 w 1056"/>
                <a:gd name="T3" fmla="*/ 5 h 210"/>
                <a:gd name="T4" fmla="*/ 57 w 1056"/>
                <a:gd name="T5" fmla="*/ 5 h 210"/>
                <a:gd name="T6" fmla="*/ 54 w 1056"/>
                <a:gd name="T7" fmla="*/ 6 h 210"/>
                <a:gd name="T8" fmla="*/ 51 w 1056"/>
                <a:gd name="T9" fmla="*/ 7 h 210"/>
                <a:gd name="T10" fmla="*/ 46 w 1056"/>
                <a:gd name="T11" fmla="*/ 9 h 210"/>
                <a:gd name="T12" fmla="*/ 42 w 1056"/>
                <a:gd name="T13" fmla="*/ 8 h 210"/>
                <a:gd name="T14" fmla="*/ 42 w 1056"/>
                <a:gd name="T15" fmla="*/ 5 h 210"/>
                <a:gd name="T16" fmla="*/ 41 w 1056"/>
                <a:gd name="T17" fmla="*/ 7 h 210"/>
                <a:gd name="T18" fmla="*/ 38 w 1056"/>
                <a:gd name="T19" fmla="*/ 10 h 210"/>
                <a:gd name="T20" fmla="*/ 37 w 1056"/>
                <a:gd name="T21" fmla="*/ 12 h 210"/>
                <a:gd name="T22" fmla="*/ 37 w 1056"/>
                <a:gd name="T23" fmla="*/ 15 h 210"/>
                <a:gd name="T24" fmla="*/ 37 w 1056"/>
                <a:gd name="T25" fmla="*/ 16 h 210"/>
                <a:gd name="T26" fmla="*/ 38 w 1056"/>
                <a:gd name="T27" fmla="*/ 16 h 210"/>
                <a:gd name="T28" fmla="*/ 34 w 1056"/>
                <a:gd name="T29" fmla="*/ 16 h 210"/>
                <a:gd name="T30" fmla="*/ 26 w 1056"/>
                <a:gd name="T31" fmla="*/ 16 h 210"/>
                <a:gd name="T32" fmla="*/ 20 w 1056"/>
                <a:gd name="T33" fmla="*/ 17 h 210"/>
                <a:gd name="T34" fmla="*/ 13 w 1056"/>
                <a:gd name="T35" fmla="*/ 17 h 210"/>
                <a:gd name="T36" fmla="*/ 6 w 1056"/>
                <a:gd name="T37" fmla="*/ 17 h 210"/>
                <a:gd name="T38" fmla="*/ 1 w 1056"/>
                <a:gd name="T39" fmla="*/ 18 h 210"/>
                <a:gd name="T40" fmla="*/ 3 w 1056"/>
                <a:gd name="T41" fmla="*/ 14 h 210"/>
                <a:gd name="T42" fmla="*/ 8 w 1056"/>
                <a:gd name="T43" fmla="*/ 15 h 210"/>
                <a:gd name="T44" fmla="*/ 11 w 1056"/>
                <a:gd name="T45" fmla="*/ 12 h 210"/>
                <a:gd name="T46" fmla="*/ 26 w 1056"/>
                <a:gd name="T47" fmla="*/ 10 h 210"/>
                <a:gd name="T48" fmla="*/ 29 w 1056"/>
                <a:gd name="T49" fmla="*/ 5 h 210"/>
                <a:gd name="T50" fmla="*/ 34 w 1056"/>
                <a:gd name="T51" fmla="*/ 1 h 210"/>
                <a:gd name="T52" fmla="*/ 41 w 1056"/>
                <a:gd name="T53" fmla="*/ 3 h 210"/>
                <a:gd name="T54" fmla="*/ 73 w 1056"/>
                <a:gd name="T55" fmla="*/ 1 h 210"/>
                <a:gd name="T56" fmla="*/ 75 w 1056"/>
                <a:gd name="T57" fmla="*/ 4 h 210"/>
                <a:gd name="T58" fmla="*/ 85 w 1056"/>
                <a:gd name="T59" fmla="*/ 15 h 210"/>
                <a:gd name="T60" fmla="*/ 91 w 1056"/>
                <a:gd name="T61" fmla="*/ 18 h 210"/>
                <a:gd name="T62" fmla="*/ 85 w 1056"/>
                <a:gd name="T63" fmla="*/ 18 h 210"/>
                <a:gd name="T64" fmla="*/ 79 w 1056"/>
                <a:gd name="T65" fmla="*/ 16 h 210"/>
                <a:gd name="T66" fmla="*/ 74 w 1056"/>
                <a:gd name="T67" fmla="*/ 16 h 210"/>
                <a:gd name="T68" fmla="*/ 69 w 1056"/>
                <a:gd name="T69" fmla="*/ 15 h 210"/>
                <a:gd name="T70" fmla="*/ 65 w 1056"/>
                <a:gd name="T71" fmla="*/ 14 h 210"/>
                <a:gd name="T72" fmla="*/ 59 w 1056"/>
                <a:gd name="T73" fmla="*/ 15 h 210"/>
                <a:gd name="T74" fmla="*/ 54 w 1056"/>
                <a:gd name="T75" fmla="*/ 15 h 210"/>
                <a:gd name="T76" fmla="*/ 49 w 1056"/>
                <a:gd name="T77" fmla="*/ 15 h 210"/>
                <a:gd name="T78" fmla="*/ 42 w 1056"/>
                <a:gd name="T79" fmla="*/ 15 h 210"/>
                <a:gd name="T80" fmla="*/ 38 w 1056"/>
                <a:gd name="T81" fmla="*/ 16 h 210"/>
                <a:gd name="T82" fmla="*/ 41 w 1056"/>
                <a:gd name="T83" fmla="*/ 14 h 210"/>
                <a:gd name="T84" fmla="*/ 42 w 1056"/>
                <a:gd name="T85" fmla="*/ 13 h 210"/>
                <a:gd name="T86" fmla="*/ 45 w 1056"/>
                <a:gd name="T87" fmla="*/ 13 h 210"/>
                <a:gd name="T88" fmla="*/ 48 w 1056"/>
                <a:gd name="T89" fmla="*/ 12 h 210"/>
                <a:gd name="T90" fmla="*/ 51 w 1056"/>
                <a:gd name="T91" fmla="*/ 11 h 210"/>
                <a:gd name="T92" fmla="*/ 54 w 1056"/>
                <a:gd name="T93" fmla="*/ 9 h 210"/>
                <a:gd name="T94" fmla="*/ 57 w 1056"/>
                <a:gd name="T95" fmla="*/ 8 h 210"/>
                <a:gd name="T96" fmla="*/ 60 w 1056"/>
                <a:gd name="T97" fmla="*/ 5 h 210"/>
                <a:gd name="T98" fmla="*/ 65 w 1056"/>
                <a:gd name="T99" fmla="*/ 5 h 210"/>
                <a:gd name="T100" fmla="*/ 72 w 1056"/>
                <a:gd name="T101" fmla="*/ 7 h 210"/>
                <a:gd name="T102" fmla="*/ 77 w 1056"/>
                <a:gd name="T103" fmla="*/ 11 h 210"/>
                <a:gd name="T104" fmla="*/ 69 w 1056"/>
                <a:gd name="T105" fmla="*/ 10 h 210"/>
                <a:gd name="T106" fmla="*/ 72 w 1056"/>
                <a:gd name="T107" fmla="*/ 12 h 210"/>
                <a:gd name="T108" fmla="*/ 78 w 1056"/>
                <a:gd name="T109" fmla="*/ 15 h 210"/>
                <a:gd name="T110" fmla="*/ 84 w 1056"/>
                <a:gd name="T111" fmla="*/ 14 h 210"/>
                <a:gd name="T112" fmla="*/ 84 w 1056"/>
                <a:gd name="T113" fmla="*/ 14 h 210"/>
                <a:gd name="T114" fmla="*/ 78 w 1056"/>
                <a:gd name="T115" fmla="*/ 13 h 210"/>
                <a:gd name="T116" fmla="*/ 76 w 1056"/>
                <a:gd name="T117" fmla="*/ 14 h 210"/>
                <a:gd name="T118" fmla="*/ 38 w 1056"/>
                <a:gd name="T119" fmla="*/ 12 h 210"/>
                <a:gd name="T120" fmla="*/ 41 w 1056"/>
                <a:gd name="T121" fmla="*/ 12 h 210"/>
                <a:gd name="T122" fmla="*/ 40 w 1056"/>
                <a:gd name="T123" fmla="*/ 14 h 2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6"/>
                <a:gd name="T187" fmla="*/ 0 h 210"/>
                <a:gd name="T188" fmla="*/ 1056 w 1056"/>
                <a:gd name="T189" fmla="*/ 210 h 21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6" h="210">
                  <a:moveTo>
                    <a:pt x="870" y="90"/>
                  </a:moveTo>
                  <a:lnTo>
                    <a:pt x="864" y="90"/>
                  </a:lnTo>
                  <a:lnTo>
                    <a:pt x="852" y="84"/>
                  </a:lnTo>
                  <a:lnTo>
                    <a:pt x="846" y="84"/>
                  </a:lnTo>
                  <a:lnTo>
                    <a:pt x="846" y="78"/>
                  </a:lnTo>
                  <a:lnTo>
                    <a:pt x="840" y="78"/>
                  </a:lnTo>
                  <a:lnTo>
                    <a:pt x="834" y="78"/>
                  </a:lnTo>
                  <a:lnTo>
                    <a:pt x="834" y="72"/>
                  </a:lnTo>
                  <a:lnTo>
                    <a:pt x="804" y="78"/>
                  </a:lnTo>
                  <a:lnTo>
                    <a:pt x="798" y="78"/>
                  </a:lnTo>
                  <a:lnTo>
                    <a:pt x="792" y="72"/>
                  </a:lnTo>
                  <a:lnTo>
                    <a:pt x="780" y="60"/>
                  </a:lnTo>
                  <a:lnTo>
                    <a:pt x="768" y="54"/>
                  </a:lnTo>
                  <a:lnTo>
                    <a:pt x="756" y="54"/>
                  </a:lnTo>
                  <a:lnTo>
                    <a:pt x="750" y="54"/>
                  </a:lnTo>
                  <a:lnTo>
                    <a:pt x="750" y="48"/>
                  </a:lnTo>
                  <a:lnTo>
                    <a:pt x="744" y="48"/>
                  </a:lnTo>
                  <a:lnTo>
                    <a:pt x="738" y="48"/>
                  </a:lnTo>
                  <a:lnTo>
                    <a:pt x="732" y="48"/>
                  </a:lnTo>
                  <a:lnTo>
                    <a:pt x="732" y="54"/>
                  </a:lnTo>
                  <a:lnTo>
                    <a:pt x="726" y="48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48"/>
                  </a:lnTo>
                  <a:lnTo>
                    <a:pt x="702" y="48"/>
                  </a:lnTo>
                  <a:lnTo>
                    <a:pt x="696" y="48"/>
                  </a:lnTo>
                  <a:lnTo>
                    <a:pt x="684" y="48"/>
                  </a:lnTo>
                  <a:lnTo>
                    <a:pt x="678" y="48"/>
                  </a:lnTo>
                  <a:lnTo>
                    <a:pt x="672" y="48"/>
                  </a:lnTo>
                  <a:lnTo>
                    <a:pt x="666" y="54"/>
                  </a:lnTo>
                  <a:lnTo>
                    <a:pt x="660" y="54"/>
                  </a:lnTo>
                  <a:lnTo>
                    <a:pt x="660" y="48"/>
                  </a:lnTo>
                  <a:lnTo>
                    <a:pt x="654" y="48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42" y="54"/>
                  </a:lnTo>
                  <a:lnTo>
                    <a:pt x="63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30" y="66"/>
                  </a:lnTo>
                  <a:lnTo>
                    <a:pt x="624" y="66"/>
                  </a:lnTo>
                  <a:lnTo>
                    <a:pt x="618" y="66"/>
                  </a:lnTo>
                  <a:lnTo>
                    <a:pt x="618" y="72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6" y="84"/>
                  </a:lnTo>
                  <a:lnTo>
                    <a:pt x="600" y="84"/>
                  </a:lnTo>
                  <a:lnTo>
                    <a:pt x="594" y="90"/>
                  </a:lnTo>
                  <a:lnTo>
                    <a:pt x="588" y="90"/>
                  </a:lnTo>
                  <a:lnTo>
                    <a:pt x="588" y="84"/>
                  </a:lnTo>
                  <a:lnTo>
                    <a:pt x="582" y="84"/>
                  </a:lnTo>
                  <a:lnTo>
                    <a:pt x="576" y="84"/>
                  </a:lnTo>
                  <a:lnTo>
                    <a:pt x="570" y="84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58" y="96"/>
                  </a:lnTo>
                  <a:lnTo>
                    <a:pt x="552" y="96"/>
                  </a:lnTo>
                  <a:lnTo>
                    <a:pt x="546" y="102"/>
                  </a:lnTo>
                  <a:lnTo>
                    <a:pt x="540" y="102"/>
                  </a:lnTo>
                  <a:lnTo>
                    <a:pt x="534" y="102"/>
                  </a:lnTo>
                  <a:lnTo>
                    <a:pt x="528" y="102"/>
                  </a:lnTo>
                  <a:lnTo>
                    <a:pt x="528" y="108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16" y="102"/>
                  </a:lnTo>
                  <a:lnTo>
                    <a:pt x="510" y="102"/>
                  </a:lnTo>
                  <a:lnTo>
                    <a:pt x="504" y="102"/>
                  </a:lnTo>
                  <a:lnTo>
                    <a:pt x="498" y="102"/>
                  </a:lnTo>
                  <a:lnTo>
                    <a:pt x="498" y="96"/>
                  </a:lnTo>
                  <a:lnTo>
                    <a:pt x="492" y="96"/>
                  </a:lnTo>
                  <a:lnTo>
                    <a:pt x="492" y="90"/>
                  </a:lnTo>
                  <a:lnTo>
                    <a:pt x="492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498" y="66"/>
                  </a:lnTo>
                  <a:lnTo>
                    <a:pt x="504" y="60"/>
                  </a:lnTo>
                  <a:lnTo>
                    <a:pt x="498" y="60"/>
                  </a:lnTo>
                  <a:lnTo>
                    <a:pt x="498" y="54"/>
                  </a:lnTo>
                  <a:lnTo>
                    <a:pt x="492" y="54"/>
                  </a:lnTo>
                  <a:lnTo>
                    <a:pt x="492" y="60"/>
                  </a:lnTo>
                  <a:lnTo>
                    <a:pt x="486" y="60"/>
                  </a:lnTo>
                  <a:lnTo>
                    <a:pt x="486" y="66"/>
                  </a:lnTo>
                  <a:lnTo>
                    <a:pt x="480" y="66"/>
                  </a:lnTo>
                  <a:lnTo>
                    <a:pt x="474" y="72"/>
                  </a:lnTo>
                  <a:lnTo>
                    <a:pt x="474" y="66"/>
                  </a:lnTo>
                  <a:lnTo>
                    <a:pt x="474" y="72"/>
                  </a:lnTo>
                  <a:lnTo>
                    <a:pt x="468" y="72"/>
                  </a:lnTo>
                  <a:lnTo>
                    <a:pt x="468" y="78"/>
                  </a:lnTo>
                  <a:lnTo>
                    <a:pt x="468" y="84"/>
                  </a:lnTo>
                  <a:lnTo>
                    <a:pt x="462" y="90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0" y="84"/>
                  </a:lnTo>
                  <a:lnTo>
                    <a:pt x="450" y="90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44" y="102"/>
                  </a:lnTo>
                  <a:lnTo>
                    <a:pt x="444" y="108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38" y="126"/>
                  </a:lnTo>
                  <a:lnTo>
                    <a:pt x="438" y="132"/>
                  </a:lnTo>
                  <a:lnTo>
                    <a:pt x="438" y="138"/>
                  </a:lnTo>
                  <a:lnTo>
                    <a:pt x="438" y="144"/>
                  </a:lnTo>
                  <a:lnTo>
                    <a:pt x="432" y="144"/>
                  </a:lnTo>
                  <a:lnTo>
                    <a:pt x="432" y="150"/>
                  </a:lnTo>
                  <a:lnTo>
                    <a:pt x="432" y="144"/>
                  </a:lnTo>
                  <a:lnTo>
                    <a:pt x="426" y="144"/>
                  </a:lnTo>
                  <a:lnTo>
                    <a:pt x="426" y="150"/>
                  </a:lnTo>
                  <a:lnTo>
                    <a:pt x="426" y="156"/>
                  </a:lnTo>
                  <a:lnTo>
                    <a:pt x="432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2"/>
                  </a:lnTo>
                  <a:lnTo>
                    <a:pt x="432" y="168"/>
                  </a:lnTo>
                  <a:lnTo>
                    <a:pt x="426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44" y="168"/>
                  </a:lnTo>
                  <a:lnTo>
                    <a:pt x="444" y="174"/>
                  </a:lnTo>
                  <a:lnTo>
                    <a:pt x="444" y="180"/>
                  </a:lnTo>
                  <a:lnTo>
                    <a:pt x="444" y="186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2" y="192"/>
                  </a:lnTo>
                  <a:lnTo>
                    <a:pt x="426" y="192"/>
                  </a:lnTo>
                  <a:lnTo>
                    <a:pt x="420" y="186"/>
                  </a:lnTo>
                  <a:lnTo>
                    <a:pt x="414" y="186"/>
                  </a:lnTo>
                  <a:lnTo>
                    <a:pt x="408" y="186"/>
                  </a:lnTo>
                  <a:lnTo>
                    <a:pt x="402" y="186"/>
                  </a:lnTo>
                  <a:lnTo>
                    <a:pt x="396" y="186"/>
                  </a:lnTo>
                  <a:lnTo>
                    <a:pt x="390" y="186"/>
                  </a:lnTo>
                  <a:lnTo>
                    <a:pt x="384" y="186"/>
                  </a:lnTo>
                  <a:lnTo>
                    <a:pt x="378" y="186"/>
                  </a:lnTo>
                  <a:lnTo>
                    <a:pt x="372" y="186"/>
                  </a:lnTo>
                  <a:lnTo>
                    <a:pt x="354" y="186"/>
                  </a:lnTo>
                  <a:lnTo>
                    <a:pt x="342" y="186"/>
                  </a:lnTo>
                  <a:lnTo>
                    <a:pt x="324" y="186"/>
                  </a:lnTo>
                  <a:lnTo>
                    <a:pt x="312" y="186"/>
                  </a:lnTo>
                  <a:lnTo>
                    <a:pt x="306" y="186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82" y="186"/>
                  </a:lnTo>
                  <a:lnTo>
                    <a:pt x="270" y="186"/>
                  </a:lnTo>
                  <a:lnTo>
                    <a:pt x="264" y="186"/>
                  </a:lnTo>
                  <a:lnTo>
                    <a:pt x="258" y="192"/>
                  </a:lnTo>
                  <a:lnTo>
                    <a:pt x="258" y="186"/>
                  </a:lnTo>
                  <a:lnTo>
                    <a:pt x="246" y="186"/>
                  </a:lnTo>
                  <a:lnTo>
                    <a:pt x="240" y="186"/>
                  </a:lnTo>
                  <a:lnTo>
                    <a:pt x="234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2"/>
                  </a:lnTo>
                  <a:lnTo>
                    <a:pt x="204" y="192"/>
                  </a:lnTo>
                  <a:lnTo>
                    <a:pt x="198" y="192"/>
                  </a:lnTo>
                  <a:lnTo>
                    <a:pt x="192" y="192"/>
                  </a:lnTo>
                  <a:lnTo>
                    <a:pt x="180" y="192"/>
                  </a:lnTo>
                  <a:lnTo>
                    <a:pt x="168" y="192"/>
                  </a:lnTo>
                  <a:lnTo>
                    <a:pt x="162" y="192"/>
                  </a:lnTo>
                  <a:lnTo>
                    <a:pt x="150" y="192"/>
                  </a:lnTo>
                  <a:lnTo>
                    <a:pt x="138" y="192"/>
                  </a:lnTo>
                  <a:lnTo>
                    <a:pt x="132" y="192"/>
                  </a:lnTo>
                  <a:lnTo>
                    <a:pt x="120" y="192"/>
                  </a:lnTo>
                  <a:lnTo>
                    <a:pt x="114" y="192"/>
                  </a:lnTo>
                  <a:lnTo>
                    <a:pt x="108" y="192"/>
                  </a:lnTo>
                  <a:lnTo>
                    <a:pt x="102" y="192"/>
                  </a:lnTo>
                  <a:lnTo>
                    <a:pt x="90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2" y="198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36" y="198"/>
                  </a:lnTo>
                  <a:lnTo>
                    <a:pt x="30" y="204"/>
                  </a:lnTo>
                  <a:lnTo>
                    <a:pt x="24" y="204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6" y="210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54" y="156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56"/>
                  </a:lnTo>
                  <a:lnTo>
                    <a:pt x="78" y="162"/>
                  </a:lnTo>
                  <a:lnTo>
                    <a:pt x="84" y="162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9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0" y="126"/>
                  </a:lnTo>
                  <a:lnTo>
                    <a:pt x="276" y="120"/>
                  </a:lnTo>
                  <a:lnTo>
                    <a:pt x="282" y="120"/>
                  </a:lnTo>
                  <a:lnTo>
                    <a:pt x="300" y="120"/>
                  </a:lnTo>
                  <a:lnTo>
                    <a:pt x="306" y="114"/>
                  </a:lnTo>
                  <a:lnTo>
                    <a:pt x="312" y="108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8"/>
                  </a:lnTo>
                  <a:lnTo>
                    <a:pt x="342" y="30"/>
                  </a:lnTo>
                  <a:lnTo>
                    <a:pt x="342" y="24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8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24"/>
                  </a:lnTo>
                  <a:lnTo>
                    <a:pt x="414" y="30"/>
                  </a:lnTo>
                  <a:lnTo>
                    <a:pt x="420" y="30"/>
                  </a:lnTo>
                  <a:lnTo>
                    <a:pt x="42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74" y="30"/>
                  </a:lnTo>
                  <a:lnTo>
                    <a:pt x="474" y="18"/>
                  </a:lnTo>
                  <a:lnTo>
                    <a:pt x="474" y="12"/>
                  </a:lnTo>
                  <a:lnTo>
                    <a:pt x="480" y="12"/>
                  </a:lnTo>
                  <a:lnTo>
                    <a:pt x="486" y="12"/>
                  </a:lnTo>
                  <a:lnTo>
                    <a:pt x="606" y="12"/>
                  </a:lnTo>
                  <a:lnTo>
                    <a:pt x="630" y="12"/>
                  </a:lnTo>
                  <a:lnTo>
                    <a:pt x="678" y="12"/>
                  </a:lnTo>
                  <a:lnTo>
                    <a:pt x="744" y="12"/>
                  </a:lnTo>
                  <a:lnTo>
                    <a:pt x="774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2" y="6"/>
                  </a:lnTo>
                  <a:lnTo>
                    <a:pt x="888" y="12"/>
                  </a:lnTo>
                  <a:lnTo>
                    <a:pt x="888" y="24"/>
                  </a:lnTo>
                  <a:lnTo>
                    <a:pt x="888" y="30"/>
                  </a:lnTo>
                  <a:lnTo>
                    <a:pt x="882" y="36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64" y="42"/>
                  </a:lnTo>
                  <a:lnTo>
                    <a:pt x="864" y="48"/>
                  </a:lnTo>
                  <a:lnTo>
                    <a:pt x="858" y="54"/>
                  </a:lnTo>
                  <a:lnTo>
                    <a:pt x="864" y="54"/>
                  </a:lnTo>
                  <a:lnTo>
                    <a:pt x="870" y="72"/>
                  </a:lnTo>
                  <a:lnTo>
                    <a:pt x="870" y="78"/>
                  </a:lnTo>
                  <a:lnTo>
                    <a:pt x="870" y="84"/>
                  </a:lnTo>
                  <a:lnTo>
                    <a:pt x="870" y="90"/>
                  </a:lnTo>
                  <a:close/>
                  <a:moveTo>
                    <a:pt x="972" y="156"/>
                  </a:moveTo>
                  <a:lnTo>
                    <a:pt x="972" y="162"/>
                  </a:lnTo>
                  <a:lnTo>
                    <a:pt x="978" y="162"/>
                  </a:lnTo>
                  <a:lnTo>
                    <a:pt x="984" y="168"/>
                  </a:lnTo>
                  <a:lnTo>
                    <a:pt x="990" y="168"/>
                  </a:lnTo>
                  <a:lnTo>
                    <a:pt x="990" y="162"/>
                  </a:lnTo>
                  <a:lnTo>
                    <a:pt x="1008" y="162"/>
                  </a:lnTo>
                  <a:lnTo>
                    <a:pt x="1020" y="162"/>
                  </a:lnTo>
                  <a:lnTo>
                    <a:pt x="1038" y="162"/>
                  </a:lnTo>
                  <a:lnTo>
                    <a:pt x="1056" y="168"/>
                  </a:lnTo>
                  <a:lnTo>
                    <a:pt x="1056" y="180"/>
                  </a:lnTo>
                  <a:lnTo>
                    <a:pt x="1056" y="186"/>
                  </a:lnTo>
                  <a:lnTo>
                    <a:pt x="1056" y="204"/>
                  </a:lnTo>
                  <a:lnTo>
                    <a:pt x="1050" y="204"/>
                  </a:lnTo>
                  <a:lnTo>
                    <a:pt x="1044" y="204"/>
                  </a:lnTo>
                  <a:lnTo>
                    <a:pt x="1038" y="204"/>
                  </a:lnTo>
                  <a:lnTo>
                    <a:pt x="1032" y="204"/>
                  </a:lnTo>
                  <a:lnTo>
                    <a:pt x="1026" y="204"/>
                  </a:lnTo>
                  <a:lnTo>
                    <a:pt x="1020" y="204"/>
                  </a:lnTo>
                  <a:lnTo>
                    <a:pt x="1014" y="204"/>
                  </a:lnTo>
                  <a:lnTo>
                    <a:pt x="1008" y="204"/>
                  </a:lnTo>
                  <a:lnTo>
                    <a:pt x="1002" y="204"/>
                  </a:lnTo>
                  <a:lnTo>
                    <a:pt x="996" y="204"/>
                  </a:lnTo>
                  <a:lnTo>
                    <a:pt x="984" y="204"/>
                  </a:lnTo>
                  <a:lnTo>
                    <a:pt x="984" y="198"/>
                  </a:lnTo>
                  <a:lnTo>
                    <a:pt x="978" y="198"/>
                  </a:lnTo>
                  <a:lnTo>
                    <a:pt x="966" y="198"/>
                  </a:lnTo>
                  <a:lnTo>
                    <a:pt x="948" y="192"/>
                  </a:lnTo>
                  <a:lnTo>
                    <a:pt x="942" y="192"/>
                  </a:lnTo>
                  <a:lnTo>
                    <a:pt x="936" y="192"/>
                  </a:lnTo>
                  <a:lnTo>
                    <a:pt x="924" y="192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12" y="186"/>
                  </a:lnTo>
                  <a:lnTo>
                    <a:pt x="906" y="186"/>
                  </a:lnTo>
                  <a:lnTo>
                    <a:pt x="900" y="186"/>
                  </a:lnTo>
                  <a:lnTo>
                    <a:pt x="894" y="186"/>
                  </a:lnTo>
                  <a:lnTo>
                    <a:pt x="888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76" y="180"/>
                  </a:lnTo>
                  <a:lnTo>
                    <a:pt x="870" y="180"/>
                  </a:lnTo>
                  <a:lnTo>
                    <a:pt x="864" y="180"/>
                  </a:lnTo>
                  <a:lnTo>
                    <a:pt x="858" y="180"/>
                  </a:lnTo>
                  <a:lnTo>
                    <a:pt x="852" y="180"/>
                  </a:lnTo>
                  <a:lnTo>
                    <a:pt x="852" y="174"/>
                  </a:lnTo>
                  <a:lnTo>
                    <a:pt x="846" y="174"/>
                  </a:lnTo>
                  <a:lnTo>
                    <a:pt x="840" y="174"/>
                  </a:lnTo>
                  <a:lnTo>
                    <a:pt x="834" y="174"/>
                  </a:lnTo>
                  <a:lnTo>
                    <a:pt x="828" y="174"/>
                  </a:lnTo>
                  <a:lnTo>
                    <a:pt x="822" y="174"/>
                  </a:lnTo>
                  <a:lnTo>
                    <a:pt x="816" y="174"/>
                  </a:lnTo>
                  <a:lnTo>
                    <a:pt x="810" y="168"/>
                  </a:lnTo>
                  <a:lnTo>
                    <a:pt x="804" y="168"/>
                  </a:lnTo>
                  <a:lnTo>
                    <a:pt x="798" y="168"/>
                  </a:lnTo>
                  <a:lnTo>
                    <a:pt x="792" y="168"/>
                  </a:lnTo>
                  <a:lnTo>
                    <a:pt x="786" y="168"/>
                  </a:lnTo>
                  <a:lnTo>
                    <a:pt x="780" y="168"/>
                  </a:lnTo>
                  <a:lnTo>
                    <a:pt x="774" y="168"/>
                  </a:lnTo>
                  <a:lnTo>
                    <a:pt x="768" y="168"/>
                  </a:lnTo>
                  <a:lnTo>
                    <a:pt x="762" y="168"/>
                  </a:lnTo>
                  <a:lnTo>
                    <a:pt x="756" y="168"/>
                  </a:lnTo>
                  <a:lnTo>
                    <a:pt x="750" y="168"/>
                  </a:lnTo>
                  <a:lnTo>
                    <a:pt x="750" y="162"/>
                  </a:lnTo>
                  <a:lnTo>
                    <a:pt x="744" y="168"/>
                  </a:lnTo>
                  <a:lnTo>
                    <a:pt x="738" y="162"/>
                  </a:lnTo>
                  <a:lnTo>
                    <a:pt x="732" y="162"/>
                  </a:lnTo>
                  <a:lnTo>
                    <a:pt x="726" y="162"/>
                  </a:lnTo>
                  <a:lnTo>
                    <a:pt x="714" y="162"/>
                  </a:lnTo>
                  <a:lnTo>
                    <a:pt x="702" y="162"/>
                  </a:lnTo>
                  <a:lnTo>
                    <a:pt x="696" y="168"/>
                  </a:lnTo>
                  <a:lnTo>
                    <a:pt x="690" y="168"/>
                  </a:lnTo>
                  <a:lnTo>
                    <a:pt x="684" y="168"/>
                  </a:lnTo>
                  <a:lnTo>
                    <a:pt x="678" y="168"/>
                  </a:lnTo>
                  <a:lnTo>
                    <a:pt x="672" y="168"/>
                  </a:lnTo>
                  <a:lnTo>
                    <a:pt x="666" y="168"/>
                  </a:lnTo>
                  <a:lnTo>
                    <a:pt x="660" y="168"/>
                  </a:lnTo>
                  <a:lnTo>
                    <a:pt x="654" y="168"/>
                  </a:lnTo>
                  <a:lnTo>
                    <a:pt x="648" y="174"/>
                  </a:lnTo>
                  <a:lnTo>
                    <a:pt x="648" y="168"/>
                  </a:lnTo>
                  <a:lnTo>
                    <a:pt x="642" y="174"/>
                  </a:lnTo>
                  <a:lnTo>
                    <a:pt x="636" y="174"/>
                  </a:lnTo>
                  <a:lnTo>
                    <a:pt x="630" y="174"/>
                  </a:lnTo>
                  <a:lnTo>
                    <a:pt x="624" y="174"/>
                  </a:lnTo>
                  <a:lnTo>
                    <a:pt x="618" y="174"/>
                  </a:lnTo>
                  <a:lnTo>
                    <a:pt x="612" y="174"/>
                  </a:lnTo>
                  <a:lnTo>
                    <a:pt x="606" y="174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74"/>
                  </a:lnTo>
                  <a:lnTo>
                    <a:pt x="582" y="174"/>
                  </a:lnTo>
                  <a:lnTo>
                    <a:pt x="576" y="174"/>
                  </a:lnTo>
                  <a:lnTo>
                    <a:pt x="570" y="174"/>
                  </a:lnTo>
                  <a:lnTo>
                    <a:pt x="564" y="174"/>
                  </a:lnTo>
                  <a:lnTo>
                    <a:pt x="558" y="174"/>
                  </a:lnTo>
                  <a:lnTo>
                    <a:pt x="552" y="174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0" y="174"/>
                  </a:lnTo>
                  <a:lnTo>
                    <a:pt x="504" y="174"/>
                  </a:lnTo>
                  <a:lnTo>
                    <a:pt x="498" y="174"/>
                  </a:lnTo>
                  <a:lnTo>
                    <a:pt x="492" y="174"/>
                  </a:lnTo>
                  <a:lnTo>
                    <a:pt x="486" y="174"/>
                  </a:lnTo>
                  <a:lnTo>
                    <a:pt x="480" y="174"/>
                  </a:lnTo>
                  <a:lnTo>
                    <a:pt x="474" y="174"/>
                  </a:lnTo>
                  <a:lnTo>
                    <a:pt x="468" y="174"/>
                  </a:lnTo>
                  <a:lnTo>
                    <a:pt x="462" y="174"/>
                  </a:lnTo>
                  <a:lnTo>
                    <a:pt x="456" y="174"/>
                  </a:lnTo>
                  <a:lnTo>
                    <a:pt x="450" y="180"/>
                  </a:lnTo>
                  <a:lnTo>
                    <a:pt x="450" y="186"/>
                  </a:lnTo>
                  <a:lnTo>
                    <a:pt x="450" y="192"/>
                  </a:lnTo>
                  <a:lnTo>
                    <a:pt x="444" y="192"/>
                  </a:lnTo>
                  <a:lnTo>
                    <a:pt x="444" y="186"/>
                  </a:lnTo>
                  <a:lnTo>
                    <a:pt x="444" y="180"/>
                  </a:lnTo>
                  <a:lnTo>
                    <a:pt x="450" y="180"/>
                  </a:lnTo>
                  <a:lnTo>
                    <a:pt x="450" y="174"/>
                  </a:lnTo>
                  <a:lnTo>
                    <a:pt x="450" y="168"/>
                  </a:lnTo>
                  <a:lnTo>
                    <a:pt x="450" y="162"/>
                  </a:lnTo>
                  <a:lnTo>
                    <a:pt x="456" y="162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62" y="162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74" y="168"/>
                  </a:lnTo>
                  <a:lnTo>
                    <a:pt x="480" y="168"/>
                  </a:lnTo>
                  <a:lnTo>
                    <a:pt x="480" y="162"/>
                  </a:lnTo>
                  <a:lnTo>
                    <a:pt x="480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56"/>
                  </a:lnTo>
                  <a:lnTo>
                    <a:pt x="492" y="156"/>
                  </a:lnTo>
                  <a:lnTo>
                    <a:pt x="486" y="150"/>
                  </a:lnTo>
                  <a:lnTo>
                    <a:pt x="492" y="150"/>
                  </a:lnTo>
                  <a:lnTo>
                    <a:pt x="498" y="150"/>
                  </a:lnTo>
                  <a:lnTo>
                    <a:pt x="498" y="156"/>
                  </a:lnTo>
                  <a:lnTo>
                    <a:pt x="504" y="156"/>
                  </a:lnTo>
                  <a:lnTo>
                    <a:pt x="504" y="162"/>
                  </a:lnTo>
                  <a:lnTo>
                    <a:pt x="504" y="156"/>
                  </a:lnTo>
                  <a:lnTo>
                    <a:pt x="510" y="156"/>
                  </a:lnTo>
                  <a:lnTo>
                    <a:pt x="510" y="150"/>
                  </a:lnTo>
                  <a:lnTo>
                    <a:pt x="516" y="150"/>
                  </a:lnTo>
                  <a:lnTo>
                    <a:pt x="522" y="150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28" y="150"/>
                  </a:lnTo>
                  <a:lnTo>
                    <a:pt x="528" y="144"/>
                  </a:lnTo>
                  <a:lnTo>
                    <a:pt x="540" y="144"/>
                  </a:lnTo>
                  <a:lnTo>
                    <a:pt x="546" y="144"/>
                  </a:lnTo>
                  <a:lnTo>
                    <a:pt x="552" y="138"/>
                  </a:lnTo>
                  <a:lnTo>
                    <a:pt x="552" y="132"/>
                  </a:lnTo>
                  <a:lnTo>
                    <a:pt x="558" y="132"/>
                  </a:lnTo>
                  <a:lnTo>
                    <a:pt x="558" y="126"/>
                  </a:lnTo>
                  <a:lnTo>
                    <a:pt x="558" y="120"/>
                  </a:lnTo>
                  <a:lnTo>
                    <a:pt x="558" y="114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6" y="114"/>
                  </a:lnTo>
                  <a:lnTo>
                    <a:pt x="582" y="120"/>
                  </a:lnTo>
                  <a:lnTo>
                    <a:pt x="588" y="120"/>
                  </a:lnTo>
                  <a:lnTo>
                    <a:pt x="588" y="126"/>
                  </a:lnTo>
                  <a:lnTo>
                    <a:pt x="588" y="120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600" y="114"/>
                  </a:lnTo>
                  <a:lnTo>
                    <a:pt x="606" y="114"/>
                  </a:lnTo>
                  <a:lnTo>
                    <a:pt x="618" y="114"/>
                  </a:lnTo>
                  <a:lnTo>
                    <a:pt x="618" y="108"/>
                  </a:lnTo>
                  <a:lnTo>
                    <a:pt x="624" y="108"/>
                  </a:lnTo>
                  <a:lnTo>
                    <a:pt x="624" y="102"/>
                  </a:lnTo>
                  <a:lnTo>
                    <a:pt x="630" y="102"/>
                  </a:lnTo>
                  <a:lnTo>
                    <a:pt x="636" y="102"/>
                  </a:lnTo>
                  <a:lnTo>
                    <a:pt x="636" y="108"/>
                  </a:lnTo>
                  <a:lnTo>
                    <a:pt x="642" y="108"/>
                  </a:lnTo>
                  <a:lnTo>
                    <a:pt x="648" y="108"/>
                  </a:lnTo>
                  <a:lnTo>
                    <a:pt x="648" y="102"/>
                  </a:lnTo>
                  <a:lnTo>
                    <a:pt x="654" y="102"/>
                  </a:lnTo>
                  <a:lnTo>
                    <a:pt x="660" y="102"/>
                  </a:lnTo>
                  <a:lnTo>
                    <a:pt x="660" y="96"/>
                  </a:lnTo>
                  <a:lnTo>
                    <a:pt x="660" y="90"/>
                  </a:lnTo>
                  <a:lnTo>
                    <a:pt x="666" y="90"/>
                  </a:lnTo>
                  <a:lnTo>
                    <a:pt x="666" y="84"/>
                  </a:lnTo>
                  <a:lnTo>
                    <a:pt x="672" y="78"/>
                  </a:lnTo>
                  <a:lnTo>
                    <a:pt x="672" y="72"/>
                  </a:lnTo>
                  <a:lnTo>
                    <a:pt x="678" y="66"/>
                  </a:lnTo>
                  <a:lnTo>
                    <a:pt x="684" y="66"/>
                  </a:lnTo>
                  <a:lnTo>
                    <a:pt x="684" y="60"/>
                  </a:lnTo>
                  <a:lnTo>
                    <a:pt x="690" y="60"/>
                  </a:lnTo>
                  <a:lnTo>
                    <a:pt x="696" y="60"/>
                  </a:lnTo>
                  <a:lnTo>
                    <a:pt x="702" y="60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66"/>
                  </a:lnTo>
                  <a:lnTo>
                    <a:pt x="720" y="66"/>
                  </a:lnTo>
                  <a:lnTo>
                    <a:pt x="720" y="60"/>
                  </a:lnTo>
                  <a:lnTo>
                    <a:pt x="726" y="60"/>
                  </a:lnTo>
                  <a:lnTo>
                    <a:pt x="732" y="60"/>
                  </a:lnTo>
                  <a:lnTo>
                    <a:pt x="744" y="60"/>
                  </a:lnTo>
                  <a:lnTo>
                    <a:pt x="750" y="54"/>
                  </a:lnTo>
                  <a:lnTo>
                    <a:pt x="762" y="60"/>
                  </a:lnTo>
                  <a:lnTo>
                    <a:pt x="774" y="60"/>
                  </a:lnTo>
                  <a:lnTo>
                    <a:pt x="774" y="66"/>
                  </a:lnTo>
                  <a:lnTo>
                    <a:pt x="780" y="72"/>
                  </a:lnTo>
                  <a:lnTo>
                    <a:pt x="786" y="78"/>
                  </a:lnTo>
                  <a:lnTo>
                    <a:pt x="792" y="78"/>
                  </a:lnTo>
                  <a:lnTo>
                    <a:pt x="810" y="84"/>
                  </a:lnTo>
                  <a:lnTo>
                    <a:pt x="822" y="84"/>
                  </a:lnTo>
                  <a:lnTo>
                    <a:pt x="828" y="84"/>
                  </a:lnTo>
                  <a:lnTo>
                    <a:pt x="834" y="84"/>
                  </a:lnTo>
                  <a:lnTo>
                    <a:pt x="840" y="96"/>
                  </a:lnTo>
                  <a:lnTo>
                    <a:pt x="846" y="102"/>
                  </a:lnTo>
                  <a:lnTo>
                    <a:pt x="858" y="102"/>
                  </a:lnTo>
                  <a:lnTo>
                    <a:pt x="864" y="102"/>
                  </a:lnTo>
                  <a:lnTo>
                    <a:pt x="876" y="96"/>
                  </a:lnTo>
                  <a:lnTo>
                    <a:pt x="882" y="102"/>
                  </a:lnTo>
                  <a:lnTo>
                    <a:pt x="888" y="108"/>
                  </a:lnTo>
                  <a:lnTo>
                    <a:pt x="888" y="114"/>
                  </a:lnTo>
                  <a:lnTo>
                    <a:pt x="888" y="120"/>
                  </a:lnTo>
                  <a:lnTo>
                    <a:pt x="888" y="126"/>
                  </a:lnTo>
                  <a:lnTo>
                    <a:pt x="888" y="132"/>
                  </a:lnTo>
                  <a:lnTo>
                    <a:pt x="882" y="132"/>
                  </a:lnTo>
                  <a:lnTo>
                    <a:pt x="864" y="126"/>
                  </a:lnTo>
                  <a:lnTo>
                    <a:pt x="852" y="120"/>
                  </a:lnTo>
                  <a:lnTo>
                    <a:pt x="840" y="126"/>
                  </a:lnTo>
                  <a:lnTo>
                    <a:pt x="834" y="120"/>
                  </a:lnTo>
                  <a:lnTo>
                    <a:pt x="828" y="120"/>
                  </a:lnTo>
                  <a:lnTo>
                    <a:pt x="822" y="120"/>
                  </a:lnTo>
                  <a:lnTo>
                    <a:pt x="810" y="114"/>
                  </a:lnTo>
                  <a:lnTo>
                    <a:pt x="804" y="114"/>
                  </a:lnTo>
                  <a:lnTo>
                    <a:pt x="798" y="114"/>
                  </a:lnTo>
                  <a:lnTo>
                    <a:pt x="792" y="114"/>
                  </a:lnTo>
                  <a:lnTo>
                    <a:pt x="786" y="114"/>
                  </a:lnTo>
                  <a:lnTo>
                    <a:pt x="780" y="114"/>
                  </a:lnTo>
                  <a:lnTo>
                    <a:pt x="780" y="126"/>
                  </a:lnTo>
                  <a:lnTo>
                    <a:pt x="786" y="126"/>
                  </a:lnTo>
                  <a:lnTo>
                    <a:pt x="798" y="126"/>
                  </a:lnTo>
                  <a:lnTo>
                    <a:pt x="804" y="126"/>
                  </a:lnTo>
                  <a:lnTo>
                    <a:pt x="822" y="132"/>
                  </a:lnTo>
                  <a:lnTo>
                    <a:pt x="828" y="132"/>
                  </a:lnTo>
                  <a:lnTo>
                    <a:pt x="834" y="132"/>
                  </a:lnTo>
                  <a:lnTo>
                    <a:pt x="840" y="144"/>
                  </a:lnTo>
                  <a:lnTo>
                    <a:pt x="846" y="150"/>
                  </a:lnTo>
                  <a:lnTo>
                    <a:pt x="858" y="150"/>
                  </a:lnTo>
                  <a:lnTo>
                    <a:pt x="864" y="162"/>
                  </a:lnTo>
                  <a:lnTo>
                    <a:pt x="870" y="162"/>
                  </a:lnTo>
                  <a:lnTo>
                    <a:pt x="876" y="168"/>
                  </a:lnTo>
                  <a:lnTo>
                    <a:pt x="888" y="168"/>
                  </a:lnTo>
                  <a:lnTo>
                    <a:pt x="894" y="174"/>
                  </a:lnTo>
                  <a:lnTo>
                    <a:pt x="900" y="174"/>
                  </a:lnTo>
                  <a:lnTo>
                    <a:pt x="918" y="174"/>
                  </a:lnTo>
                  <a:lnTo>
                    <a:pt x="924" y="174"/>
                  </a:lnTo>
                  <a:lnTo>
                    <a:pt x="930" y="174"/>
                  </a:lnTo>
                  <a:lnTo>
                    <a:pt x="942" y="174"/>
                  </a:lnTo>
                  <a:lnTo>
                    <a:pt x="954" y="174"/>
                  </a:lnTo>
                  <a:lnTo>
                    <a:pt x="960" y="174"/>
                  </a:lnTo>
                  <a:lnTo>
                    <a:pt x="966" y="174"/>
                  </a:lnTo>
                  <a:lnTo>
                    <a:pt x="966" y="168"/>
                  </a:lnTo>
                  <a:lnTo>
                    <a:pt x="972" y="162"/>
                  </a:lnTo>
                  <a:lnTo>
                    <a:pt x="972" y="156"/>
                  </a:lnTo>
                  <a:close/>
                  <a:moveTo>
                    <a:pt x="942" y="174"/>
                  </a:moveTo>
                  <a:lnTo>
                    <a:pt x="936" y="174"/>
                  </a:lnTo>
                  <a:lnTo>
                    <a:pt x="936" y="168"/>
                  </a:lnTo>
                  <a:lnTo>
                    <a:pt x="936" y="162"/>
                  </a:lnTo>
                  <a:lnTo>
                    <a:pt x="948" y="162"/>
                  </a:lnTo>
                  <a:lnTo>
                    <a:pt x="948" y="156"/>
                  </a:lnTo>
                  <a:lnTo>
                    <a:pt x="954" y="156"/>
                  </a:lnTo>
                  <a:lnTo>
                    <a:pt x="960" y="156"/>
                  </a:lnTo>
                  <a:lnTo>
                    <a:pt x="966" y="156"/>
                  </a:lnTo>
                  <a:lnTo>
                    <a:pt x="966" y="162"/>
                  </a:lnTo>
                  <a:lnTo>
                    <a:pt x="960" y="168"/>
                  </a:lnTo>
                  <a:lnTo>
                    <a:pt x="942" y="174"/>
                  </a:lnTo>
                  <a:close/>
                  <a:moveTo>
                    <a:pt x="900" y="168"/>
                  </a:moveTo>
                  <a:lnTo>
                    <a:pt x="894" y="168"/>
                  </a:lnTo>
                  <a:lnTo>
                    <a:pt x="882" y="156"/>
                  </a:lnTo>
                  <a:lnTo>
                    <a:pt x="882" y="150"/>
                  </a:lnTo>
                  <a:lnTo>
                    <a:pt x="888" y="156"/>
                  </a:lnTo>
                  <a:lnTo>
                    <a:pt x="894" y="150"/>
                  </a:lnTo>
                  <a:lnTo>
                    <a:pt x="900" y="150"/>
                  </a:lnTo>
                  <a:lnTo>
                    <a:pt x="906" y="150"/>
                  </a:lnTo>
                  <a:lnTo>
                    <a:pt x="912" y="150"/>
                  </a:lnTo>
                  <a:lnTo>
                    <a:pt x="924" y="150"/>
                  </a:lnTo>
                  <a:lnTo>
                    <a:pt x="924" y="156"/>
                  </a:lnTo>
                  <a:lnTo>
                    <a:pt x="924" y="162"/>
                  </a:lnTo>
                  <a:lnTo>
                    <a:pt x="924" y="168"/>
                  </a:lnTo>
                  <a:lnTo>
                    <a:pt x="918" y="168"/>
                  </a:lnTo>
                  <a:lnTo>
                    <a:pt x="906" y="168"/>
                  </a:lnTo>
                  <a:lnTo>
                    <a:pt x="900" y="168"/>
                  </a:lnTo>
                  <a:close/>
                  <a:moveTo>
                    <a:pt x="870" y="162"/>
                  </a:moveTo>
                  <a:lnTo>
                    <a:pt x="876" y="162"/>
                  </a:lnTo>
                  <a:lnTo>
                    <a:pt x="876" y="168"/>
                  </a:lnTo>
                  <a:lnTo>
                    <a:pt x="870" y="168"/>
                  </a:lnTo>
                  <a:lnTo>
                    <a:pt x="870" y="162"/>
                  </a:lnTo>
                  <a:close/>
                  <a:moveTo>
                    <a:pt x="450" y="162"/>
                  </a:moveTo>
                  <a:lnTo>
                    <a:pt x="444" y="162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2" y="150"/>
                  </a:lnTo>
                  <a:lnTo>
                    <a:pt x="438" y="150"/>
                  </a:lnTo>
                  <a:lnTo>
                    <a:pt x="438" y="144"/>
                  </a:lnTo>
                  <a:lnTo>
                    <a:pt x="438" y="150"/>
                  </a:lnTo>
                  <a:lnTo>
                    <a:pt x="444" y="150"/>
                  </a:lnTo>
                  <a:lnTo>
                    <a:pt x="450" y="150"/>
                  </a:lnTo>
                  <a:lnTo>
                    <a:pt x="450" y="156"/>
                  </a:lnTo>
                  <a:lnTo>
                    <a:pt x="456" y="156"/>
                  </a:lnTo>
                  <a:lnTo>
                    <a:pt x="456" y="150"/>
                  </a:lnTo>
                  <a:lnTo>
                    <a:pt x="456" y="156"/>
                  </a:lnTo>
                  <a:lnTo>
                    <a:pt x="462" y="150"/>
                  </a:lnTo>
                  <a:lnTo>
                    <a:pt x="462" y="144"/>
                  </a:lnTo>
                  <a:lnTo>
                    <a:pt x="468" y="144"/>
                  </a:lnTo>
                  <a:lnTo>
                    <a:pt x="468" y="150"/>
                  </a:lnTo>
                  <a:lnTo>
                    <a:pt x="474" y="150"/>
                  </a:lnTo>
                  <a:lnTo>
                    <a:pt x="480" y="150"/>
                  </a:lnTo>
                  <a:lnTo>
                    <a:pt x="480" y="156"/>
                  </a:lnTo>
                  <a:lnTo>
                    <a:pt x="480" y="162"/>
                  </a:lnTo>
                  <a:lnTo>
                    <a:pt x="474" y="162"/>
                  </a:lnTo>
                  <a:lnTo>
                    <a:pt x="474" y="168"/>
                  </a:lnTo>
                  <a:lnTo>
                    <a:pt x="474" y="162"/>
                  </a:lnTo>
                  <a:lnTo>
                    <a:pt x="468" y="162"/>
                  </a:lnTo>
                  <a:lnTo>
                    <a:pt x="462" y="162"/>
                  </a:lnTo>
                  <a:lnTo>
                    <a:pt x="456" y="162"/>
                  </a:lnTo>
                  <a:lnTo>
                    <a:pt x="450" y="16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6" name="Freeform 31">
              <a:extLst>
                <a:ext uri="{FF2B5EF4-FFF2-40B4-BE49-F238E27FC236}">
                  <a16:creationId xmlns:a16="http://schemas.microsoft.com/office/drawing/2014/main" id="{0989F057-38E8-4AA5-8B73-27F6355E235C}"/>
                </a:ext>
              </a:extLst>
            </p:cNvPr>
            <p:cNvSpPr>
              <a:spLocks/>
            </p:cNvSpPr>
            <p:nvPr/>
          </p:nvSpPr>
          <p:spPr bwMode="gray">
            <a:xfrm>
              <a:off x="792590" y="2728084"/>
              <a:ext cx="1182944" cy="740282"/>
            </a:xfrm>
            <a:custGeom>
              <a:avLst/>
              <a:gdLst>
                <a:gd name="T0" fmla="*/ 138 w 2226"/>
                <a:gd name="T1" fmla="*/ 121 h 1392"/>
                <a:gd name="T2" fmla="*/ 133 w 2226"/>
                <a:gd name="T3" fmla="*/ 119 h 1392"/>
                <a:gd name="T4" fmla="*/ 128 w 2226"/>
                <a:gd name="T5" fmla="*/ 117 h 1392"/>
                <a:gd name="T6" fmla="*/ 119 w 2226"/>
                <a:gd name="T7" fmla="*/ 116 h 1392"/>
                <a:gd name="T8" fmla="*/ 101 w 2226"/>
                <a:gd name="T9" fmla="*/ 116 h 1392"/>
                <a:gd name="T10" fmla="*/ 94 w 2226"/>
                <a:gd name="T11" fmla="*/ 104 h 1392"/>
                <a:gd name="T12" fmla="*/ 82 w 2226"/>
                <a:gd name="T13" fmla="*/ 83 h 1392"/>
                <a:gd name="T14" fmla="*/ 87 w 2226"/>
                <a:gd name="T15" fmla="*/ 69 h 1392"/>
                <a:gd name="T16" fmla="*/ 82 w 2226"/>
                <a:gd name="T17" fmla="*/ 65 h 1392"/>
                <a:gd name="T18" fmla="*/ 59 w 2226"/>
                <a:gd name="T19" fmla="*/ 57 h 1392"/>
                <a:gd name="T20" fmla="*/ 29 w 2226"/>
                <a:gd name="T21" fmla="*/ 77 h 1392"/>
                <a:gd name="T22" fmla="*/ 20 w 2226"/>
                <a:gd name="T23" fmla="*/ 78 h 1392"/>
                <a:gd name="T24" fmla="*/ 15 w 2226"/>
                <a:gd name="T25" fmla="*/ 82 h 1392"/>
                <a:gd name="T26" fmla="*/ 8 w 2226"/>
                <a:gd name="T27" fmla="*/ 86 h 1392"/>
                <a:gd name="T28" fmla="*/ 1 w 2226"/>
                <a:gd name="T29" fmla="*/ 88 h 1392"/>
                <a:gd name="T30" fmla="*/ 0 w 2226"/>
                <a:gd name="T31" fmla="*/ 82 h 1392"/>
                <a:gd name="T32" fmla="*/ 0 w 2226"/>
                <a:gd name="T33" fmla="*/ 76 h 1392"/>
                <a:gd name="T34" fmla="*/ 2 w 2226"/>
                <a:gd name="T35" fmla="*/ 70 h 1392"/>
                <a:gd name="T36" fmla="*/ 3 w 2226"/>
                <a:gd name="T37" fmla="*/ 65 h 1392"/>
                <a:gd name="T38" fmla="*/ 2 w 2226"/>
                <a:gd name="T39" fmla="*/ 63 h 1392"/>
                <a:gd name="T40" fmla="*/ 9 w 2226"/>
                <a:gd name="T41" fmla="*/ 60 h 1392"/>
                <a:gd name="T42" fmla="*/ 17 w 2226"/>
                <a:gd name="T43" fmla="*/ 59 h 1392"/>
                <a:gd name="T44" fmla="*/ 22 w 2226"/>
                <a:gd name="T45" fmla="*/ 51 h 1392"/>
                <a:gd name="T46" fmla="*/ 23 w 2226"/>
                <a:gd name="T47" fmla="*/ 43 h 1392"/>
                <a:gd name="T48" fmla="*/ 27 w 2226"/>
                <a:gd name="T49" fmla="*/ 34 h 1392"/>
                <a:gd name="T50" fmla="*/ 30 w 2226"/>
                <a:gd name="T51" fmla="*/ 27 h 1392"/>
                <a:gd name="T52" fmla="*/ 33 w 2226"/>
                <a:gd name="T53" fmla="*/ 22 h 1392"/>
                <a:gd name="T54" fmla="*/ 42 w 2226"/>
                <a:gd name="T55" fmla="*/ 17 h 1392"/>
                <a:gd name="T56" fmla="*/ 47 w 2226"/>
                <a:gd name="T57" fmla="*/ 14 h 1392"/>
                <a:gd name="T58" fmla="*/ 49 w 2226"/>
                <a:gd name="T59" fmla="*/ 5 h 1392"/>
                <a:gd name="T60" fmla="*/ 53 w 2226"/>
                <a:gd name="T61" fmla="*/ 0 h 1392"/>
                <a:gd name="T62" fmla="*/ 55 w 2226"/>
                <a:gd name="T63" fmla="*/ 4 h 1392"/>
                <a:gd name="T64" fmla="*/ 59 w 2226"/>
                <a:gd name="T65" fmla="*/ 7 h 1392"/>
                <a:gd name="T66" fmla="*/ 63 w 2226"/>
                <a:gd name="T67" fmla="*/ 7 h 1392"/>
                <a:gd name="T68" fmla="*/ 66 w 2226"/>
                <a:gd name="T69" fmla="*/ 9 h 1392"/>
                <a:gd name="T70" fmla="*/ 67 w 2226"/>
                <a:gd name="T71" fmla="*/ 12 h 1392"/>
                <a:gd name="T72" fmla="*/ 67 w 2226"/>
                <a:gd name="T73" fmla="*/ 13 h 1392"/>
                <a:gd name="T74" fmla="*/ 70 w 2226"/>
                <a:gd name="T75" fmla="*/ 15 h 1392"/>
                <a:gd name="T76" fmla="*/ 74 w 2226"/>
                <a:gd name="T77" fmla="*/ 17 h 1392"/>
                <a:gd name="T78" fmla="*/ 78 w 2226"/>
                <a:gd name="T79" fmla="*/ 18 h 1392"/>
                <a:gd name="T80" fmla="*/ 97 w 2226"/>
                <a:gd name="T81" fmla="*/ 40 h 1392"/>
                <a:gd name="T82" fmla="*/ 102 w 2226"/>
                <a:gd name="T83" fmla="*/ 44 h 1392"/>
                <a:gd name="T84" fmla="*/ 110 w 2226"/>
                <a:gd name="T85" fmla="*/ 49 h 1392"/>
                <a:gd name="T86" fmla="*/ 113 w 2226"/>
                <a:gd name="T87" fmla="*/ 53 h 1392"/>
                <a:gd name="T88" fmla="*/ 118 w 2226"/>
                <a:gd name="T89" fmla="*/ 57 h 1392"/>
                <a:gd name="T90" fmla="*/ 124 w 2226"/>
                <a:gd name="T91" fmla="*/ 54 h 1392"/>
                <a:gd name="T92" fmla="*/ 133 w 2226"/>
                <a:gd name="T93" fmla="*/ 58 h 1392"/>
                <a:gd name="T94" fmla="*/ 137 w 2226"/>
                <a:gd name="T95" fmla="*/ 64 h 1392"/>
                <a:gd name="T96" fmla="*/ 145 w 2226"/>
                <a:gd name="T97" fmla="*/ 65 h 1392"/>
                <a:gd name="T98" fmla="*/ 152 w 2226"/>
                <a:gd name="T99" fmla="*/ 67 h 1392"/>
                <a:gd name="T100" fmla="*/ 161 w 2226"/>
                <a:gd name="T101" fmla="*/ 72 h 1392"/>
                <a:gd name="T102" fmla="*/ 168 w 2226"/>
                <a:gd name="T103" fmla="*/ 76 h 1392"/>
                <a:gd name="T104" fmla="*/ 177 w 2226"/>
                <a:gd name="T105" fmla="*/ 78 h 1392"/>
                <a:gd name="T106" fmla="*/ 184 w 2226"/>
                <a:gd name="T107" fmla="*/ 78 h 1392"/>
                <a:gd name="T108" fmla="*/ 190 w 2226"/>
                <a:gd name="T109" fmla="*/ 81 h 1392"/>
                <a:gd name="T110" fmla="*/ 192 w 2226"/>
                <a:gd name="T111" fmla="*/ 86 h 1392"/>
                <a:gd name="T112" fmla="*/ 187 w 2226"/>
                <a:gd name="T113" fmla="*/ 99 h 1392"/>
                <a:gd name="T114" fmla="*/ 165 w 2226"/>
                <a:gd name="T115" fmla="*/ 97 h 1392"/>
                <a:gd name="T116" fmla="*/ 155 w 2226"/>
                <a:gd name="T117" fmla="*/ 92 h 1392"/>
                <a:gd name="T118" fmla="*/ 146 w 2226"/>
                <a:gd name="T119" fmla="*/ 102 h 1392"/>
                <a:gd name="T120" fmla="*/ 149 w 2226"/>
                <a:gd name="T121" fmla="*/ 106 h 1392"/>
                <a:gd name="T122" fmla="*/ 151 w 2226"/>
                <a:gd name="T123" fmla="*/ 108 h 1392"/>
                <a:gd name="T124" fmla="*/ 157 w 2226"/>
                <a:gd name="T125" fmla="*/ 113 h 13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1392"/>
                <a:gd name="T191" fmla="*/ 2226 w 2226"/>
                <a:gd name="T192" fmla="*/ 1392 h 13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1392">
                  <a:moveTo>
                    <a:pt x="1782" y="1326"/>
                  </a:moveTo>
                  <a:lnTo>
                    <a:pt x="1776" y="1332"/>
                  </a:lnTo>
                  <a:lnTo>
                    <a:pt x="1692" y="1338"/>
                  </a:lnTo>
                  <a:lnTo>
                    <a:pt x="1680" y="1386"/>
                  </a:lnTo>
                  <a:lnTo>
                    <a:pt x="1674" y="1392"/>
                  </a:lnTo>
                  <a:lnTo>
                    <a:pt x="1638" y="1392"/>
                  </a:lnTo>
                  <a:lnTo>
                    <a:pt x="1620" y="1392"/>
                  </a:lnTo>
                  <a:lnTo>
                    <a:pt x="1614" y="1392"/>
                  </a:lnTo>
                  <a:lnTo>
                    <a:pt x="1608" y="1386"/>
                  </a:lnTo>
                  <a:lnTo>
                    <a:pt x="1584" y="1386"/>
                  </a:lnTo>
                  <a:lnTo>
                    <a:pt x="1578" y="1386"/>
                  </a:lnTo>
                  <a:lnTo>
                    <a:pt x="1572" y="1380"/>
                  </a:lnTo>
                  <a:lnTo>
                    <a:pt x="1578" y="1356"/>
                  </a:lnTo>
                  <a:lnTo>
                    <a:pt x="1572" y="1356"/>
                  </a:lnTo>
                  <a:lnTo>
                    <a:pt x="1560" y="1350"/>
                  </a:lnTo>
                  <a:lnTo>
                    <a:pt x="1554" y="1350"/>
                  </a:lnTo>
                  <a:lnTo>
                    <a:pt x="1542" y="1350"/>
                  </a:lnTo>
                  <a:lnTo>
                    <a:pt x="1530" y="1350"/>
                  </a:lnTo>
                  <a:lnTo>
                    <a:pt x="1524" y="1356"/>
                  </a:lnTo>
                  <a:lnTo>
                    <a:pt x="1524" y="1362"/>
                  </a:lnTo>
                  <a:lnTo>
                    <a:pt x="1512" y="1374"/>
                  </a:lnTo>
                  <a:lnTo>
                    <a:pt x="1506" y="1374"/>
                  </a:lnTo>
                  <a:lnTo>
                    <a:pt x="1500" y="1368"/>
                  </a:lnTo>
                  <a:lnTo>
                    <a:pt x="1500" y="1362"/>
                  </a:lnTo>
                  <a:lnTo>
                    <a:pt x="1488" y="1362"/>
                  </a:lnTo>
                  <a:lnTo>
                    <a:pt x="1482" y="1356"/>
                  </a:lnTo>
                  <a:lnTo>
                    <a:pt x="1482" y="1350"/>
                  </a:lnTo>
                  <a:lnTo>
                    <a:pt x="1476" y="1350"/>
                  </a:lnTo>
                  <a:lnTo>
                    <a:pt x="1470" y="1344"/>
                  </a:lnTo>
                  <a:lnTo>
                    <a:pt x="1464" y="1344"/>
                  </a:lnTo>
                  <a:lnTo>
                    <a:pt x="1452" y="1350"/>
                  </a:lnTo>
                  <a:lnTo>
                    <a:pt x="1452" y="1356"/>
                  </a:lnTo>
                  <a:lnTo>
                    <a:pt x="1440" y="1356"/>
                  </a:lnTo>
                  <a:lnTo>
                    <a:pt x="1434" y="1344"/>
                  </a:lnTo>
                  <a:lnTo>
                    <a:pt x="1422" y="1332"/>
                  </a:lnTo>
                  <a:lnTo>
                    <a:pt x="1416" y="1326"/>
                  </a:lnTo>
                  <a:lnTo>
                    <a:pt x="1404" y="1320"/>
                  </a:lnTo>
                  <a:lnTo>
                    <a:pt x="1404" y="1314"/>
                  </a:lnTo>
                  <a:lnTo>
                    <a:pt x="1374" y="1308"/>
                  </a:lnTo>
                  <a:lnTo>
                    <a:pt x="1368" y="1326"/>
                  </a:lnTo>
                  <a:lnTo>
                    <a:pt x="1344" y="1338"/>
                  </a:lnTo>
                  <a:lnTo>
                    <a:pt x="1326" y="1332"/>
                  </a:lnTo>
                  <a:lnTo>
                    <a:pt x="1302" y="1332"/>
                  </a:lnTo>
                  <a:lnTo>
                    <a:pt x="1278" y="1338"/>
                  </a:lnTo>
                  <a:lnTo>
                    <a:pt x="1236" y="1338"/>
                  </a:lnTo>
                  <a:lnTo>
                    <a:pt x="1224" y="1338"/>
                  </a:lnTo>
                  <a:lnTo>
                    <a:pt x="1224" y="1326"/>
                  </a:lnTo>
                  <a:lnTo>
                    <a:pt x="1206" y="1326"/>
                  </a:lnTo>
                  <a:lnTo>
                    <a:pt x="1170" y="1326"/>
                  </a:lnTo>
                  <a:lnTo>
                    <a:pt x="1152" y="1326"/>
                  </a:lnTo>
                  <a:lnTo>
                    <a:pt x="1140" y="1314"/>
                  </a:lnTo>
                  <a:lnTo>
                    <a:pt x="1134" y="1296"/>
                  </a:lnTo>
                  <a:lnTo>
                    <a:pt x="1134" y="1284"/>
                  </a:lnTo>
                  <a:lnTo>
                    <a:pt x="1128" y="1254"/>
                  </a:lnTo>
                  <a:lnTo>
                    <a:pt x="1128" y="1242"/>
                  </a:lnTo>
                  <a:lnTo>
                    <a:pt x="1122" y="1230"/>
                  </a:lnTo>
                  <a:lnTo>
                    <a:pt x="1104" y="1218"/>
                  </a:lnTo>
                  <a:lnTo>
                    <a:pt x="1104" y="1212"/>
                  </a:lnTo>
                  <a:lnTo>
                    <a:pt x="1092" y="1206"/>
                  </a:lnTo>
                  <a:lnTo>
                    <a:pt x="1080" y="1194"/>
                  </a:lnTo>
                  <a:lnTo>
                    <a:pt x="1068" y="1176"/>
                  </a:lnTo>
                  <a:lnTo>
                    <a:pt x="1050" y="1152"/>
                  </a:lnTo>
                  <a:lnTo>
                    <a:pt x="1020" y="1098"/>
                  </a:lnTo>
                  <a:lnTo>
                    <a:pt x="978" y="1026"/>
                  </a:lnTo>
                  <a:lnTo>
                    <a:pt x="978" y="1014"/>
                  </a:lnTo>
                  <a:lnTo>
                    <a:pt x="972" y="1014"/>
                  </a:lnTo>
                  <a:lnTo>
                    <a:pt x="972" y="1008"/>
                  </a:lnTo>
                  <a:lnTo>
                    <a:pt x="978" y="1002"/>
                  </a:lnTo>
                  <a:lnTo>
                    <a:pt x="960" y="966"/>
                  </a:lnTo>
                  <a:lnTo>
                    <a:pt x="948" y="954"/>
                  </a:lnTo>
                  <a:lnTo>
                    <a:pt x="948" y="936"/>
                  </a:lnTo>
                  <a:lnTo>
                    <a:pt x="936" y="900"/>
                  </a:lnTo>
                  <a:lnTo>
                    <a:pt x="942" y="876"/>
                  </a:lnTo>
                  <a:lnTo>
                    <a:pt x="942" y="834"/>
                  </a:lnTo>
                  <a:lnTo>
                    <a:pt x="960" y="828"/>
                  </a:lnTo>
                  <a:lnTo>
                    <a:pt x="966" y="816"/>
                  </a:lnTo>
                  <a:lnTo>
                    <a:pt x="972" y="810"/>
                  </a:lnTo>
                  <a:lnTo>
                    <a:pt x="978" y="804"/>
                  </a:lnTo>
                  <a:lnTo>
                    <a:pt x="996" y="798"/>
                  </a:lnTo>
                  <a:lnTo>
                    <a:pt x="996" y="792"/>
                  </a:lnTo>
                  <a:lnTo>
                    <a:pt x="1014" y="780"/>
                  </a:lnTo>
                  <a:lnTo>
                    <a:pt x="1026" y="768"/>
                  </a:lnTo>
                  <a:lnTo>
                    <a:pt x="1032" y="762"/>
                  </a:lnTo>
                  <a:lnTo>
                    <a:pt x="1026" y="756"/>
                  </a:lnTo>
                  <a:lnTo>
                    <a:pt x="1014" y="744"/>
                  </a:lnTo>
                  <a:lnTo>
                    <a:pt x="996" y="756"/>
                  </a:lnTo>
                  <a:lnTo>
                    <a:pt x="954" y="768"/>
                  </a:lnTo>
                  <a:lnTo>
                    <a:pt x="942" y="762"/>
                  </a:lnTo>
                  <a:lnTo>
                    <a:pt x="942" y="756"/>
                  </a:lnTo>
                  <a:lnTo>
                    <a:pt x="936" y="750"/>
                  </a:lnTo>
                  <a:lnTo>
                    <a:pt x="846" y="732"/>
                  </a:lnTo>
                  <a:lnTo>
                    <a:pt x="822" y="726"/>
                  </a:lnTo>
                  <a:lnTo>
                    <a:pt x="810" y="714"/>
                  </a:lnTo>
                  <a:lnTo>
                    <a:pt x="792" y="690"/>
                  </a:lnTo>
                  <a:lnTo>
                    <a:pt x="792" y="678"/>
                  </a:lnTo>
                  <a:lnTo>
                    <a:pt x="762" y="642"/>
                  </a:lnTo>
                  <a:lnTo>
                    <a:pt x="750" y="636"/>
                  </a:lnTo>
                  <a:lnTo>
                    <a:pt x="726" y="630"/>
                  </a:lnTo>
                  <a:lnTo>
                    <a:pt x="696" y="642"/>
                  </a:lnTo>
                  <a:lnTo>
                    <a:pt x="678" y="654"/>
                  </a:lnTo>
                  <a:lnTo>
                    <a:pt x="666" y="684"/>
                  </a:lnTo>
                  <a:lnTo>
                    <a:pt x="660" y="726"/>
                  </a:lnTo>
                  <a:lnTo>
                    <a:pt x="606" y="756"/>
                  </a:lnTo>
                  <a:lnTo>
                    <a:pt x="558" y="780"/>
                  </a:lnTo>
                  <a:lnTo>
                    <a:pt x="438" y="834"/>
                  </a:lnTo>
                  <a:lnTo>
                    <a:pt x="402" y="846"/>
                  </a:lnTo>
                  <a:lnTo>
                    <a:pt x="372" y="870"/>
                  </a:lnTo>
                  <a:lnTo>
                    <a:pt x="360" y="876"/>
                  </a:lnTo>
                  <a:lnTo>
                    <a:pt x="354" y="876"/>
                  </a:lnTo>
                  <a:lnTo>
                    <a:pt x="330" y="882"/>
                  </a:lnTo>
                  <a:lnTo>
                    <a:pt x="306" y="882"/>
                  </a:lnTo>
                  <a:lnTo>
                    <a:pt x="300" y="876"/>
                  </a:lnTo>
                  <a:lnTo>
                    <a:pt x="294" y="876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76" y="864"/>
                  </a:lnTo>
                  <a:lnTo>
                    <a:pt x="270" y="870"/>
                  </a:lnTo>
                  <a:lnTo>
                    <a:pt x="264" y="870"/>
                  </a:lnTo>
                  <a:lnTo>
                    <a:pt x="240" y="894"/>
                  </a:lnTo>
                  <a:lnTo>
                    <a:pt x="234" y="894"/>
                  </a:lnTo>
                  <a:lnTo>
                    <a:pt x="228" y="900"/>
                  </a:lnTo>
                  <a:lnTo>
                    <a:pt x="222" y="906"/>
                  </a:lnTo>
                  <a:lnTo>
                    <a:pt x="210" y="912"/>
                  </a:lnTo>
                  <a:lnTo>
                    <a:pt x="204" y="912"/>
                  </a:lnTo>
                  <a:lnTo>
                    <a:pt x="198" y="912"/>
                  </a:lnTo>
                  <a:lnTo>
                    <a:pt x="192" y="918"/>
                  </a:lnTo>
                  <a:lnTo>
                    <a:pt x="180" y="918"/>
                  </a:lnTo>
                  <a:lnTo>
                    <a:pt x="174" y="930"/>
                  </a:lnTo>
                  <a:lnTo>
                    <a:pt x="174" y="936"/>
                  </a:lnTo>
                  <a:lnTo>
                    <a:pt x="168" y="942"/>
                  </a:lnTo>
                  <a:lnTo>
                    <a:pt x="162" y="942"/>
                  </a:lnTo>
                  <a:lnTo>
                    <a:pt x="150" y="960"/>
                  </a:lnTo>
                  <a:lnTo>
                    <a:pt x="144" y="966"/>
                  </a:lnTo>
                  <a:lnTo>
                    <a:pt x="138" y="972"/>
                  </a:lnTo>
                  <a:lnTo>
                    <a:pt x="132" y="972"/>
                  </a:lnTo>
                  <a:lnTo>
                    <a:pt x="126" y="984"/>
                  </a:lnTo>
                  <a:lnTo>
                    <a:pt x="120" y="984"/>
                  </a:lnTo>
                  <a:lnTo>
                    <a:pt x="114" y="990"/>
                  </a:lnTo>
                  <a:lnTo>
                    <a:pt x="96" y="990"/>
                  </a:lnTo>
                  <a:lnTo>
                    <a:pt x="90" y="990"/>
                  </a:lnTo>
                  <a:lnTo>
                    <a:pt x="78" y="990"/>
                  </a:lnTo>
                  <a:lnTo>
                    <a:pt x="72" y="990"/>
                  </a:lnTo>
                  <a:lnTo>
                    <a:pt x="60" y="990"/>
                  </a:lnTo>
                  <a:lnTo>
                    <a:pt x="42" y="990"/>
                  </a:lnTo>
                  <a:lnTo>
                    <a:pt x="36" y="996"/>
                  </a:lnTo>
                  <a:lnTo>
                    <a:pt x="30" y="1002"/>
                  </a:lnTo>
                  <a:lnTo>
                    <a:pt x="24" y="1014"/>
                  </a:lnTo>
                  <a:lnTo>
                    <a:pt x="24" y="1020"/>
                  </a:lnTo>
                  <a:lnTo>
                    <a:pt x="18" y="1020"/>
                  </a:lnTo>
                  <a:lnTo>
                    <a:pt x="12" y="1014"/>
                  </a:lnTo>
                  <a:lnTo>
                    <a:pt x="12" y="1008"/>
                  </a:lnTo>
                  <a:lnTo>
                    <a:pt x="12" y="990"/>
                  </a:lnTo>
                  <a:lnTo>
                    <a:pt x="12" y="984"/>
                  </a:lnTo>
                  <a:lnTo>
                    <a:pt x="12" y="972"/>
                  </a:lnTo>
                  <a:lnTo>
                    <a:pt x="12" y="966"/>
                  </a:lnTo>
                  <a:lnTo>
                    <a:pt x="6" y="966"/>
                  </a:lnTo>
                  <a:lnTo>
                    <a:pt x="6" y="960"/>
                  </a:lnTo>
                  <a:lnTo>
                    <a:pt x="6" y="954"/>
                  </a:lnTo>
                  <a:lnTo>
                    <a:pt x="6" y="948"/>
                  </a:lnTo>
                  <a:lnTo>
                    <a:pt x="6" y="942"/>
                  </a:lnTo>
                  <a:lnTo>
                    <a:pt x="12" y="930"/>
                  </a:lnTo>
                  <a:lnTo>
                    <a:pt x="6" y="924"/>
                  </a:lnTo>
                  <a:lnTo>
                    <a:pt x="6" y="918"/>
                  </a:lnTo>
                  <a:lnTo>
                    <a:pt x="6" y="912"/>
                  </a:lnTo>
                  <a:lnTo>
                    <a:pt x="6" y="906"/>
                  </a:lnTo>
                  <a:lnTo>
                    <a:pt x="6" y="900"/>
                  </a:lnTo>
                  <a:lnTo>
                    <a:pt x="0" y="894"/>
                  </a:lnTo>
                  <a:lnTo>
                    <a:pt x="0" y="888"/>
                  </a:lnTo>
                  <a:lnTo>
                    <a:pt x="0" y="882"/>
                  </a:lnTo>
                  <a:lnTo>
                    <a:pt x="6" y="876"/>
                  </a:lnTo>
                  <a:lnTo>
                    <a:pt x="6" y="870"/>
                  </a:lnTo>
                  <a:lnTo>
                    <a:pt x="18" y="864"/>
                  </a:lnTo>
                  <a:lnTo>
                    <a:pt x="18" y="858"/>
                  </a:lnTo>
                  <a:lnTo>
                    <a:pt x="18" y="846"/>
                  </a:lnTo>
                  <a:lnTo>
                    <a:pt x="18" y="834"/>
                  </a:lnTo>
                  <a:lnTo>
                    <a:pt x="18" y="828"/>
                  </a:lnTo>
                  <a:lnTo>
                    <a:pt x="24" y="828"/>
                  </a:lnTo>
                  <a:lnTo>
                    <a:pt x="24" y="810"/>
                  </a:lnTo>
                  <a:lnTo>
                    <a:pt x="24" y="804"/>
                  </a:lnTo>
                  <a:lnTo>
                    <a:pt x="18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24" y="792"/>
                  </a:lnTo>
                  <a:lnTo>
                    <a:pt x="30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6" y="762"/>
                  </a:lnTo>
                  <a:lnTo>
                    <a:pt x="36" y="756"/>
                  </a:lnTo>
                  <a:lnTo>
                    <a:pt x="30" y="756"/>
                  </a:lnTo>
                  <a:lnTo>
                    <a:pt x="30" y="750"/>
                  </a:lnTo>
                  <a:lnTo>
                    <a:pt x="36" y="750"/>
                  </a:lnTo>
                  <a:lnTo>
                    <a:pt x="36" y="744"/>
                  </a:lnTo>
                  <a:lnTo>
                    <a:pt x="30" y="744"/>
                  </a:lnTo>
                  <a:lnTo>
                    <a:pt x="30" y="738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0" y="732"/>
                  </a:lnTo>
                  <a:lnTo>
                    <a:pt x="36" y="726"/>
                  </a:lnTo>
                  <a:lnTo>
                    <a:pt x="30" y="726"/>
                  </a:lnTo>
                  <a:lnTo>
                    <a:pt x="24" y="726"/>
                  </a:lnTo>
                  <a:lnTo>
                    <a:pt x="30" y="720"/>
                  </a:lnTo>
                  <a:lnTo>
                    <a:pt x="30" y="714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696"/>
                  </a:lnTo>
                  <a:lnTo>
                    <a:pt x="66" y="702"/>
                  </a:lnTo>
                  <a:lnTo>
                    <a:pt x="78" y="702"/>
                  </a:lnTo>
                  <a:lnTo>
                    <a:pt x="84" y="702"/>
                  </a:lnTo>
                  <a:lnTo>
                    <a:pt x="96" y="696"/>
                  </a:lnTo>
                  <a:lnTo>
                    <a:pt x="102" y="690"/>
                  </a:lnTo>
                  <a:lnTo>
                    <a:pt x="102" y="684"/>
                  </a:lnTo>
                  <a:lnTo>
                    <a:pt x="114" y="684"/>
                  </a:lnTo>
                  <a:lnTo>
                    <a:pt x="144" y="684"/>
                  </a:lnTo>
                  <a:lnTo>
                    <a:pt x="150" y="690"/>
                  </a:lnTo>
                  <a:lnTo>
                    <a:pt x="162" y="696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6" y="690"/>
                  </a:lnTo>
                  <a:lnTo>
                    <a:pt x="192" y="690"/>
                  </a:lnTo>
                  <a:lnTo>
                    <a:pt x="198" y="684"/>
                  </a:lnTo>
                  <a:lnTo>
                    <a:pt x="204" y="684"/>
                  </a:lnTo>
                  <a:lnTo>
                    <a:pt x="210" y="684"/>
                  </a:lnTo>
                  <a:lnTo>
                    <a:pt x="222" y="678"/>
                  </a:lnTo>
                  <a:lnTo>
                    <a:pt x="228" y="678"/>
                  </a:lnTo>
                  <a:lnTo>
                    <a:pt x="228" y="660"/>
                  </a:lnTo>
                  <a:lnTo>
                    <a:pt x="234" y="642"/>
                  </a:lnTo>
                  <a:lnTo>
                    <a:pt x="246" y="618"/>
                  </a:lnTo>
                  <a:lnTo>
                    <a:pt x="252" y="618"/>
                  </a:lnTo>
                  <a:lnTo>
                    <a:pt x="252" y="600"/>
                  </a:lnTo>
                  <a:lnTo>
                    <a:pt x="252" y="588"/>
                  </a:lnTo>
                  <a:lnTo>
                    <a:pt x="252" y="582"/>
                  </a:lnTo>
                  <a:lnTo>
                    <a:pt x="258" y="576"/>
                  </a:lnTo>
                  <a:lnTo>
                    <a:pt x="270" y="564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70" y="522"/>
                  </a:lnTo>
                  <a:lnTo>
                    <a:pt x="270" y="510"/>
                  </a:lnTo>
                  <a:lnTo>
                    <a:pt x="270" y="498"/>
                  </a:lnTo>
                  <a:lnTo>
                    <a:pt x="258" y="468"/>
                  </a:lnTo>
                  <a:lnTo>
                    <a:pt x="252" y="456"/>
                  </a:lnTo>
                  <a:lnTo>
                    <a:pt x="258" y="444"/>
                  </a:lnTo>
                  <a:lnTo>
                    <a:pt x="264" y="432"/>
                  </a:lnTo>
                  <a:lnTo>
                    <a:pt x="270" y="426"/>
                  </a:lnTo>
                  <a:lnTo>
                    <a:pt x="276" y="420"/>
                  </a:lnTo>
                  <a:lnTo>
                    <a:pt x="288" y="420"/>
                  </a:lnTo>
                  <a:lnTo>
                    <a:pt x="288" y="414"/>
                  </a:lnTo>
                  <a:lnTo>
                    <a:pt x="294" y="414"/>
                  </a:lnTo>
                  <a:lnTo>
                    <a:pt x="306" y="390"/>
                  </a:lnTo>
                  <a:lnTo>
                    <a:pt x="312" y="384"/>
                  </a:lnTo>
                  <a:lnTo>
                    <a:pt x="318" y="378"/>
                  </a:lnTo>
                  <a:lnTo>
                    <a:pt x="318" y="372"/>
                  </a:lnTo>
                  <a:lnTo>
                    <a:pt x="324" y="366"/>
                  </a:lnTo>
                  <a:lnTo>
                    <a:pt x="330" y="354"/>
                  </a:lnTo>
                  <a:lnTo>
                    <a:pt x="336" y="348"/>
                  </a:lnTo>
                  <a:lnTo>
                    <a:pt x="336" y="330"/>
                  </a:lnTo>
                  <a:lnTo>
                    <a:pt x="342" y="324"/>
                  </a:lnTo>
                  <a:lnTo>
                    <a:pt x="342" y="318"/>
                  </a:lnTo>
                  <a:lnTo>
                    <a:pt x="348" y="318"/>
                  </a:lnTo>
                  <a:lnTo>
                    <a:pt x="360" y="318"/>
                  </a:lnTo>
                  <a:lnTo>
                    <a:pt x="372" y="318"/>
                  </a:lnTo>
                  <a:lnTo>
                    <a:pt x="384" y="306"/>
                  </a:lnTo>
                  <a:lnTo>
                    <a:pt x="396" y="300"/>
                  </a:lnTo>
                  <a:lnTo>
                    <a:pt x="396" y="294"/>
                  </a:lnTo>
                  <a:lnTo>
                    <a:pt x="396" y="288"/>
                  </a:lnTo>
                  <a:lnTo>
                    <a:pt x="390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2"/>
                  </a:lnTo>
                  <a:lnTo>
                    <a:pt x="378" y="246"/>
                  </a:lnTo>
                  <a:lnTo>
                    <a:pt x="384" y="228"/>
                  </a:lnTo>
                  <a:lnTo>
                    <a:pt x="390" y="216"/>
                  </a:lnTo>
                  <a:lnTo>
                    <a:pt x="402" y="210"/>
                  </a:lnTo>
                  <a:lnTo>
                    <a:pt x="408" y="210"/>
                  </a:lnTo>
                  <a:lnTo>
                    <a:pt x="420" y="204"/>
                  </a:lnTo>
                  <a:lnTo>
                    <a:pt x="444" y="198"/>
                  </a:lnTo>
                  <a:lnTo>
                    <a:pt x="462" y="192"/>
                  </a:lnTo>
                  <a:lnTo>
                    <a:pt x="474" y="186"/>
                  </a:lnTo>
                  <a:lnTo>
                    <a:pt x="480" y="192"/>
                  </a:lnTo>
                  <a:lnTo>
                    <a:pt x="492" y="192"/>
                  </a:lnTo>
                  <a:lnTo>
                    <a:pt x="498" y="192"/>
                  </a:lnTo>
                  <a:lnTo>
                    <a:pt x="504" y="192"/>
                  </a:lnTo>
                  <a:lnTo>
                    <a:pt x="510" y="192"/>
                  </a:lnTo>
                  <a:lnTo>
                    <a:pt x="516" y="186"/>
                  </a:lnTo>
                  <a:lnTo>
                    <a:pt x="522" y="180"/>
                  </a:lnTo>
                  <a:lnTo>
                    <a:pt x="522" y="174"/>
                  </a:lnTo>
                  <a:lnTo>
                    <a:pt x="528" y="168"/>
                  </a:lnTo>
                  <a:lnTo>
                    <a:pt x="534" y="168"/>
                  </a:lnTo>
                  <a:lnTo>
                    <a:pt x="534" y="156"/>
                  </a:lnTo>
                  <a:lnTo>
                    <a:pt x="534" y="150"/>
                  </a:lnTo>
                  <a:lnTo>
                    <a:pt x="552" y="138"/>
                  </a:lnTo>
                  <a:lnTo>
                    <a:pt x="558" y="126"/>
                  </a:lnTo>
                  <a:lnTo>
                    <a:pt x="558" y="114"/>
                  </a:lnTo>
                  <a:lnTo>
                    <a:pt x="564" y="102"/>
                  </a:lnTo>
                  <a:lnTo>
                    <a:pt x="564" y="96"/>
                  </a:lnTo>
                  <a:lnTo>
                    <a:pt x="564" y="90"/>
                  </a:lnTo>
                  <a:lnTo>
                    <a:pt x="564" y="72"/>
                  </a:lnTo>
                  <a:lnTo>
                    <a:pt x="564" y="60"/>
                  </a:lnTo>
                  <a:lnTo>
                    <a:pt x="564" y="54"/>
                  </a:lnTo>
                  <a:lnTo>
                    <a:pt x="570" y="42"/>
                  </a:lnTo>
                  <a:lnTo>
                    <a:pt x="576" y="42"/>
                  </a:lnTo>
                  <a:lnTo>
                    <a:pt x="582" y="36"/>
                  </a:lnTo>
                  <a:lnTo>
                    <a:pt x="594" y="36"/>
                  </a:lnTo>
                  <a:lnTo>
                    <a:pt x="594" y="30"/>
                  </a:lnTo>
                  <a:lnTo>
                    <a:pt x="600" y="24"/>
                  </a:lnTo>
                  <a:lnTo>
                    <a:pt x="600" y="12"/>
                  </a:lnTo>
                  <a:lnTo>
                    <a:pt x="606" y="6"/>
                  </a:lnTo>
                  <a:lnTo>
                    <a:pt x="606" y="0"/>
                  </a:lnTo>
                  <a:lnTo>
                    <a:pt x="612" y="0"/>
                  </a:lnTo>
                  <a:lnTo>
                    <a:pt x="618" y="0"/>
                  </a:lnTo>
                  <a:lnTo>
                    <a:pt x="624" y="6"/>
                  </a:lnTo>
                  <a:lnTo>
                    <a:pt x="624" y="12"/>
                  </a:lnTo>
                  <a:lnTo>
                    <a:pt x="624" y="18"/>
                  </a:lnTo>
                  <a:lnTo>
                    <a:pt x="624" y="24"/>
                  </a:lnTo>
                  <a:lnTo>
                    <a:pt x="624" y="30"/>
                  </a:lnTo>
                  <a:lnTo>
                    <a:pt x="630" y="30"/>
                  </a:lnTo>
                  <a:lnTo>
                    <a:pt x="630" y="36"/>
                  </a:lnTo>
                  <a:lnTo>
                    <a:pt x="630" y="42"/>
                  </a:lnTo>
                  <a:lnTo>
                    <a:pt x="630" y="48"/>
                  </a:lnTo>
                  <a:lnTo>
                    <a:pt x="636" y="54"/>
                  </a:lnTo>
                  <a:lnTo>
                    <a:pt x="642" y="48"/>
                  </a:lnTo>
                  <a:lnTo>
                    <a:pt x="648" y="48"/>
                  </a:lnTo>
                  <a:lnTo>
                    <a:pt x="648" y="60"/>
                  </a:lnTo>
                  <a:lnTo>
                    <a:pt x="654" y="66"/>
                  </a:lnTo>
                  <a:lnTo>
                    <a:pt x="660" y="72"/>
                  </a:lnTo>
                  <a:lnTo>
                    <a:pt x="666" y="72"/>
                  </a:lnTo>
                  <a:lnTo>
                    <a:pt x="666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72" y="66"/>
                  </a:lnTo>
                  <a:lnTo>
                    <a:pt x="678" y="66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6" y="66"/>
                  </a:lnTo>
                  <a:lnTo>
                    <a:pt x="696" y="72"/>
                  </a:lnTo>
                  <a:lnTo>
                    <a:pt x="702" y="72"/>
                  </a:lnTo>
                  <a:lnTo>
                    <a:pt x="708" y="72"/>
                  </a:lnTo>
                  <a:lnTo>
                    <a:pt x="720" y="66"/>
                  </a:lnTo>
                  <a:lnTo>
                    <a:pt x="726" y="78"/>
                  </a:lnTo>
                  <a:lnTo>
                    <a:pt x="744" y="84"/>
                  </a:lnTo>
                  <a:lnTo>
                    <a:pt x="744" y="90"/>
                  </a:lnTo>
                  <a:lnTo>
                    <a:pt x="744" y="96"/>
                  </a:lnTo>
                  <a:lnTo>
                    <a:pt x="738" y="96"/>
                  </a:lnTo>
                  <a:lnTo>
                    <a:pt x="738" y="102"/>
                  </a:lnTo>
                  <a:lnTo>
                    <a:pt x="732" y="102"/>
                  </a:lnTo>
                  <a:lnTo>
                    <a:pt x="732" y="108"/>
                  </a:lnTo>
                  <a:lnTo>
                    <a:pt x="738" y="108"/>
                  </a:lnTo>
                  <a:lnTo>
                    <a:pt x="744" y="114"/>
                  </a:lnTo>
                  <a:lnTo>
                    <a:pt x="750" y="108"/>
                  </a:lnTo>
                  <a:lnTo>
                    <a:pt x="756" y="108"/>
                  </a:lnTo>
                  <a:lnTo>
                    <a:pt x="762" y="108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80" y="120"/>
                  </a:lnTo>
                  <a:lnTo>
                    <a:pt x="774" y="120"/>
                  </a:lnTo>
                  <a:lnTo>
                    <a:pt x="768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74" y="138"/>
                  </a:lnTo>
                  <a:lnTo>
                    <a:pt x="774" y="132"/>
                  </a:lnTo>
                  <a:lnTo>
                    <a:pt x="780" y="132"/>
                  </a:lnTo>
                  <a:lnTo>
                    <a:pt x="786" y="132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44"/>
                  </a:lnTo>
                  <a:lnTo>
                    <a:pt x="786" y="150"/>
                  </a:lnTo>
                  <a:lnTo>
                    <a:pt x="780" y="150"/>
                  </a:lnTo>
                  <a:lnTo>
                    <a:pt x="774" y="150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74" y="162"/>
                  </a:lnTo>
                  <a:lnTo>
                    <a:pt x="780" y="162"/>
                  </a:lnTo>
                  <a:lnTo>
                    <a:pt x="786" y="168"/>
                  </a:lnTo>
                  <a:lnTo>
                    <a:pt x="792" y="162"/>
                  </a:lnTo>
                  <a:lnTo>
                    <a:pt x="798" y="168"/>
                  </a:lnTo>
                  <a:lnTo>
                    <a:pt x="798" y="174"/>
                  </a:lnTo>
                  <a:lnTo>
                    <a:pt x="804" y="168"/>
                  </a:lnTo>
                  <a:lnTo>
                    <a:pt x="810" y="168"/>
                  </a:lnTo>
                  <a:lnTo>
                    <a:pt x="810" y="174"/>
                  </a:lnTo>
                  <a:lnTo>
                    <a:pt x="816" y="168"/>
                  </a:lnTo>
                  <a:lnTo>
                    <a:pt x="822" y="162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74"/>
                  </a:lnTo>
                  <a:lnTo>
                    <a:pt x="834" y="192"/>
                  </a:lnTo>
                  <a:lnTo>
                    <a:pt x="834" y="198"/>
                  </a:lnTo>
                  <a:lnTo>
                    <a:pt x="840" y="192"/>
                  </a:lnTo>
                  <a:lnTo>
                    <a:pt x="846" y="192"/>
                  </a:lnTo>
                  <a:lnTo>
                    <a:pt x="852" y="186"/>
                  </a:lnTo>
                  <a:lnTo>
                    <a:pt x="858" y="192"/>
                  </a:lnTo>
                  <a:lnTo>
                    <a:pt x="864" y="192"/>
                  </a:lnTo>
                  <a:lnTo>
                    <a:pt x="870" y="198"/>
                  </a:lnTo>
                  <a:lnTo>
                    <a:pt x="876" y="180"/>
                  </a:lnTo>
                  <a:lnTo>
                    <a:pt x="882" y="180"/>
                  </a:lnTo>
                  <a:lnTo>
                    <a:pt x="888" y="180"/>
                  </a:lnTo>
                  <a:lnTo>
                    <a:pt x="894" y="186"/>
                  </a:lnTo>
                  <a:lnTo>
                    <a:pt x="888" y="198"/>
                  </a:lnTo>
                  <a:lnTo>
                    <a:pt x="894" y="204"/>
                  </a:lnTo>
                  <a:lnTo>
                    <a:pt x="906" y="210"/>
                  </a:lnTo>
                  <a:lnTo>
                    <a:pt x="918" y="246"/>
                  </a:lnTo>
                  <a:lnTo>
                    <a:pt x="930" y="258"/>
                  </a:lnTo>
                  <a:lnTo>
                    <a:pt x="942" y="282"/>
                  </a:lnTo>
                  <a:lnTo>
                    <a:pt x="966" y="288"/>
                  </a:lnTo>
                  <a:lnTo>
                    <a:pt x="972" y="300"/>
                  </a:lnTo>
                  <a:lnTo>
                    <a:pt x="972" y="318"/>
                  </a:lnTo>
                  <a:lnTo>
                    <a:pt x="996" y="336"/>
                  </a:lnTo>
                  <a:lnTo>
                    <a:pt x="1050" y="390"/>
                  </a:lnTo>
                  <a:lnTo>
                    <a:pt x="1116" y="462"/>
                  </a:lnTo>
                  <a:lnTo>
                    <a:pt x="1122" y="468"/>
                  </a:lnTo>
                  <a:lnTo>
                    <a:pt x="1128" y="474"/>
                  </a:lnTo>
                  <a:lnTo>
                    <a:pt x="1140" y="474"/>
                  </a:lnTo>
                  <a:lnTo>
                    <a:pt x="1152" y="486"/>
                  </a:lnTo>
                  <a:lnTo>
                    <a:pt x="1152" y="492"/>
                  </a:lnTo>
                  <a:lnTo>
                    <a:pt x="1158" y="492"/>
                  </a:lnTo>
                  <a:lnTo>
                    <a:pt x="1164" y="492"/>
                  </a:lnTo>
                  <a:lnTo>
                    <a:pt x="1170" y="504"/>
                  </a:lnTo>
                  <a:lnTo>
                    <a:pt x="1176" y="504"/>
                  </a:lnTo>
                  <a:lnTo>
                    <a:pt x="1176" y="510"/>
                  </a:lnTo>
                  <a:lnTo>
                    <a:pt x="1200" y="516"/>
                  </a:lnTo>
                  <a:lnTo>
                    <a:pt x="1200" y="522"/>
                  </a:lnTo>
                  <a:lnTo>
                    <a:pt x="1212" y="534"/>
                  </a:lnTo>
                  <a:lnTo>
                    <a:pt x="1218" y="540"/>
                  </a:lnTo>
                  <a:lnTo>
                    <a:pt x="1224" y="552"/>
                  </a:lnTo>
                  <a:lnTo>
                    <a:pt x="1230" y="552"/>
                  </a:lnTo>
                  <a:lnTo>
                    <a:pt x="1242" y="552"/>
                  </a:lnTo>
                  <a:lnTo>
                    <a:pt x="1248" y="558"/>
                  </a:lnTo>
                  <a:lnTo>
                    <a:pt x="1254" y="558"/>
                  </a:lnTo>
                  <a:lnTo>
                    <a:pt x="1260" y="564"/>
                  </a:lnTo>
                  <a:lnTo>
                    <a:pt x="1266" y="564"/>
                  </a:lnTo>
                  <a:lnTo>
                    <a:pt x="1272" y="564"/>
                  </a:lnTo>
                  <a:lnTo>
                    <a:pt x="1284" y="564"/>
                  </a:lnTo>
                  <a:lnTo>
                    <a:pt x="1290" y="570"/>
                  </a:lnTo>
                  <a:lnTo>
                    <a:pt x="1296" y="576"/>
                  </a:lnTo>
                  <a:lnTo>
                    <a:pt x="1302" y="588"/>
                  </a:lnTo>
                  <a:lnTo>
                    <a:pt x="1296" y="594"/>
                  </a:lnTo>
                  <a:lnTo>
                    <a:pt x="1296" y="600"/>
                  </a:lnTo>
                  <a:lnTo>
                    <a:pt x="1296" y="606"/>
                  </a:lnTo>
                  <a:lnTo>
                    <a:pt x="1290" y="612"/>
                  </a:lnTo>
                  <a:lnTo>
                    <a:pt x="1290" y="624"/>
                  </a:lnTo>
                  <a:lnTo>
                    <a:pt x="1290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308" y="654"/>
                  </a:lnTo>
                  <a:lnTo>
                    <a:pt x="1320" y="654"/>
                  </a:lnTo>
                  <a:lnTo>
                    <a:pt x="1326" y="660"/>
                  </a:lnTo>
                  <a:lnTo>
                    <a:pt x="1338" y="654"/>
                  </a:lnTo>
                  <a:lnTo>
                    <a:pt x="1344" y="654"/>
                  </a:lnTo>
                  <a:lnTo>
                    <a:pt x="1356" y="654"/>
                  </a:lnTo>
                  <a:lnTo>
                    <a:pt x="1362" y="648"/>
                  </a:lnTo>
                  <a:lnTo>
                    <a:pt x="1368" y="642"/>
                  </a:lnTo>
                  <a:lnTo>
                    <a:pt x="1374" y="636"/>
                  </a:lnTo>
                  <a:lnTo>
                    <a:pt x="1380" y="636"/>
                  </a:lnTo>
                  <a:lnTo>
                    <a:pt x="1392" y="636"/>
                  </a:lnTo>
                  <a:lnTo>
                    <a:pt x="1398" y="636"/>
                  </a:lnTo>
                  <a:lnTo>
                    <a:pt x="1404" y="636"/>
                  </a:lnTo>
                  <a:lnTo>
                    <a:pt x="1410" y="630"/>
                  </a:lnTo>
                  <a:lnTo>
                    <a:pt x="1410" y="624"/>
                  </a:lnTo>
                  <a:lnTo>
                    <a:pt x="1422" y="618"/>
                  </a:lnTo>
                  <a:lnTo>
                    <a:pt x="1428" y="618"/>
                  </a:lnTo>
                  <a:lnTo>
                    <a:pt x="1440" y="612"/>
                  </a:lnTo>
                  <a:lnTo>
                    <a:pt x="1446" y="612"/>
                  </a:lnTo>
                  <a:lnTo>
                    <a:pt x="1458" y="612"/>
                  </a:lnTo>
                  <a:lnTo>
                    <a:pt x="1470" y="624"/>
                  </a:lnTo>
                  <a:lnTo>
                    <a:pt x="1488" y="642"/>
                  </a:lnTo>
                  <a:lnTo>
                    <a:pt x="1500" y="648"/>
                  </a:lnTo>
                  <a:lnTo>
                    <a:pt x="1512" y="654"/>
                  </a:lnTo>
                  <a:lnTo>
                    <a:pt x="1518" y="660"/>
                  </a:lnTo>
                  <a:lnTo>
                    <a:pt x="1524" y="660"/>
                  </a:lnTo>
                  <a:lnTo>
                    <a:pt x="1530" y="660"/>
                  </a:lnTo>
                  <a:lnTo>
                    <a:pt x="1536" y="666"/>
                  </a:lnTo>
                  <a:lnTo>
                    <a:pt x="1542" y="672"/>
                  </a:lnTo>
                  <a:lnTo>
                    <a:pt x="1548" y="672"/>
                  </a:lnTo>
                  <a:lnTo>
                    <a:pt x="1554" y="684"/>
                  </a:lnTo>
                  <a:lnTo>
                    <a:pt x="1554" y="690"/>
                  </a:lnTo>
                  <a:lnTo>
                    <a:pt x="1566" y="702"/>
                  </a:lnTo>
                  <a:lnTo>
                    <a:pt x="1572" y="720"/>
                  </a:lnTo>
                  <a:lnTo>
                    <a:pt x="1572" y="726"/>
                  </a:lnTo>
                  <a:lnTo>
                    <a:pt x="1578" y="732"/>
                  </a:lnTo>
                  <a:lnTo>
                    <a:pt x="1584" y="738"/>
                  </a:lnTo>
                  <a:lnTo>
                    <a:pt x="1590" y="738"/>
                  </a:lnTo>
                  <a:lnTo>
                    <a:pt x="1596" y="738"/>
                  </a:lnTo>
                  <a:lnTo>
                    <a:pt x="1602" y="744"/>
                  </a:lnTo>
                  <a:lnTo>
                    <a:pt x="1608" y="744"/>
                  </a:lnTo>
                  <a:lnTo>
                    <a:pt x="1614" y="744"/>
                  </a:lnTo>
                  <a:lnTo>
                    <a:pt x="1626" y="744"/>
                  </a:lnTo>
                  <a:lnTo>
                    <a:pt x="1638" y="744"/>
                  </a:lnTo>
                  <a:lnTo>
                    <a:pt x="1650" y="744"/>
                  </a:lnTo>
                  <a:lnTo>
                    <a:pt x="1662" y="744"/>
                  </a:lnTo>
                  <a:lnTo>
                    <a:pt x="1668" y="744"/>
                  </a:lnTo>
                  <a:lnTo>
                    <a:pt x="1674" y="744"/>
                  </a:lnTo>
                  <a:lnTo>
                    <a:pt x="1686" y="744"/>
                  </a:lnTo>
                  <a:lnTo>
                    <a:pt x="1698" y="750"/>
                  </a:lnTo>
                  <a:lnTo>
                    <a:pt x="1704" y="750"/>
                  </a:lnTo>
                  <a:lnTo>
                    <a:pt x="1716" y="756"/>
                  </a:lnTo>
                  <a:lnTo>
                    <a:pt x="1722" y="756"/>
                  </a:lnTo>
                  <a:lnTo>
                    <a:pt x="1728" y="756"/>
                  </a:lnTo>
                  <a:lnTo>
                    <a:pt x="1734" y="762"/>
                  </a:lnTo>
                  <a:lnTo>
                    <a:pt x="1740" y="768"/>
                  </a:lnTo>
                  <a:lnTo>
                    <a:pt x="1758" y="780"/>
                  </a:lnTo>
                  <a:lnTo>
                    <a:pt x="1770" y="780"/>
                  </a:lnTo>
                  <a:lnTo>
                    <a:pt x="1776" y="780"/>
                  </a:lnTo>
                  <a:lnTo>
                    <a:pt x="1782" y="780"/>
                  </a:lnTo>
                  <a:lnTo>
                    <a:pt x="1800" y="798"/>
                  </a:lnTo>
                  <a:lnTo>
                    <a:pt x="1818" y="810"/>
                  </a:lnTo>
                  <a:lnTo>
                    <a:pt x="1830" y="816"/>
                  </a:lnTo>
                  <a:lnTo>
                    <a:pt x="1836" y="822"/>
                  </a:lnTo>
                  <a:lnTo>
                    <a:pt x="1836" y="828"/>
                  </a:lnTo>
                  <a:lnTo>
                    <a:pt x="1842" y="828"/>
                  </a:lnTo>
                  <a:lnTo>
                    <a:pt x="1848" y="834"/>
                  </a:lnTo>
                  <a:lnTo>
                    <a:pt x="1854" y="840"/>
                  </a:lnTo>
                  <a:lnTo>
                    <a:pt x="1860" y="846"/>
                  </a:lnTo>
                  <a:lnTo>
                    <a:pt x="1872" y="852"/>
                  </a:lnTo>
                  <a:lnTo>
                    <a:pt x="1884" y="852"/>
                  </a:lnTo>
                  <a:lnTo>
                    <a:pt x="1896" y="852"/>
                  </a:lnTo>
                  <a:lnTo>
                    <a:pt x="1902" y="846"/>
                  </a:lnTo>
                  <a:lnTo>
                    <a:pt x="1908" y="852"/>
                  </a:lnTo>
                  <a:lnTo>
                    <a:pt x="1920" y="858"/>
                  </a:lnTo>
                  <a:lnTo>
                    <a:pt x="1926" y="870"/>
                  </a:lnTo>
                  <a:lnTo>
                    <a:pt x="1938" y="888"/>
                  </a:lnTo>
                  <a:lnTo>
                    <a:pt x="1944" y="900"/>
                  </a:lnTo>
                  <a:lnTo>
                    <a:pt x="1950" y="900"/>
                  </a:lnTo>
                  <a:lnTo>
                    <a:pt x="1962" y="906"/>
                  </a:lnTo>
                  <a:lnTo>
                    <a:pt x="1968" y="906"/>
                  </a:lnTo>
                  <a:lnTo>
                    <a:pt x="1980" y="906"/>
                  </a:lnTo>
                  <a:lnTo>
                    <a:pt x="1998" y="906"/>
                  </a:lnTo>
                  <a:lnTo>
                    <a:pt x="2010" y="900"/>
                  </a:lnTo>
                  <a:lnTo>
                    <a:pt x="2022" y="900"/>
                  </a:lnTo>
                  <a:lnTo>
                    <a:pt x="2028" y="900"/>
                  </a:lnTo>
                  <a:lnTo>
                    <a:pt x="2034" y="906"/>
                  </a:lnTo>
                  <a:lnTo>
                    <a:pt x="2046" y="906"/>
                  </a:lnTo>
                  <a:lnTo>
                    <a:pt x="2052" y="900"/>
                  </a:lnTo>
                  <a:lnTo>
                    <a:pt x="2058" y="900"/>
                  </a:lnTo>
                  <a:lnTo>
                    <a:pt x="2064" y="900"/>
                  </a:lnTo>
                  <a:lnTo>
                    <a:pt x="2070" y="900"/>
                  </a:lnTo>
                  <a:lnTo>
                    <a:pt x="2076" y="900"/>
                  </a:lnTo>
                  <a:lnTo>
                    <a:pt x="2076" y="906"/>
                  </a:lnTo>
                  <a:lnTo>
                    <a:pt x="2088" y="906"/>
                  </a:lnTo>
                  <a:lnTo>
                    <a:pt x="2106" y="900"/>
                  </a:lnTo>
                  <a:lnTo>
                    <a:pt x="2118" y="900"/>
                  </a:lnTo>
                  <a:lnTo>
                    <a:pt x="2130" y="900"/>
                  </a:lnTo>
                  <a:lnTo>
                    <a:pt x="2142" y="900"/>
                  </a:lnTo>
                  <a:lnTo>
                    <a:pt x="2148" y="906"/>
                  </a:lnTo>
                  <a:lnTo>
                    <a:pt x="2154" y="906"/>
                  </a:lnTo>
                  <a:lnTo>
                    <a:pt x="2160" y="906"/>
                  </a:lnTo>
                  <a:lnTo>
                    <a:pt x="2166" y="906"/>
                  </a:lnTo>
                  <a:lnTo>
                    <a:pt x="2178" y="918"/>
                  </a:lnTo>
                  <a:lnTo>
                    <a:pt x="2178" y="924"/>
                  </a:lnTo>
                  <a:lnTo>
                    <a:pt x="2184" y="924"/>
                  </a:lnTo>
                  <a:lnTo>
                    <a:pt x="2190" y="924"/>
                  </a:lnTo>
                  <a:lnTo>
                    <a:pt x="2196" y="924"/>
                  </a:lnTo>
                  <a:lnTo>
                    <a:pt x="2202" y="918"/>
                  </a:lnTo>
                  <a:lnTo>
                    <a:pt x="2208" y="918"/>
                  </a:lnTo>
                  <a:lnTo>
                    <a:pt x="2214" y="918"/>
                  </a:lnTo>
                  <a:lnTo>
                    <a:pt x="2226" y="918"/>
                  </a:lnTo>
                  <a:lnTo>
                    <a:pt x="2220" y="948"/>
                  </a:lnTo>
                  <a:lnTo>
                    <a:pt x="2214" y="972"/>
                  </a:lnTo>
                  <a:lnTo>
                    <a:pt x="2214" y="984"/>
                  </a:lnTo>
                  <a:lnTo>
                    <a:pt x="2208" y="990"/>
                  </a:lnTo>
                  <a:lnTo>
                    <a:pt x="2208" y="996"/>
                  </a:lnTo>
                  <a:lnTo>
                    <a:pt x="2202" y="996"/>
                  </a:lnTo>
                  <a:lnTo>
                    <a:pt x="2196" y="996"/>
                  </a:lnTo>
                  <a:lnTo>
                    <a:pt x="2190" y="1008"/>
                  </a:lnTo>
                  <a:lnTo>
                    <a:pt x="2172" y="1074"/>
                  </a:lnTo>
                  <a:lnTo>
                    <a:pt x="2166" y="1092"/>
                  </a:lnTo>
                  <a:lnTo>
                    <a:pt x="2172" y="1110"/>
                  </a:lnTo>
                  <a:lnTo>
                    <a:pt x="2172" y="1122"/>
                  </a:lnTo>
                  <a:lnTo>
                    <a:pt x="2166" y="1134"/>
                  </a:lnTo>
                  <a:lnTo>
                    <a:pt x="2148" y="1140"/>
                  </a:lnTo>
                  <a:lnTo>
                    <a:pt x="2148" y="1134"/>
                  </a:lnTo>
                  <a:lnTo>
                    <a:pt x="2118" y="1140"/>
                  </a:lnTo>
                  <a:lnTo>
                    <a:pt x="2088" y="1134"/>
                  </a:lnTo>
                  <a:lnTo>
                    <a:pt x="2064" y="1122"/>
                  </a:lnTo>
                  <a:lnTo>
                    <a:pt x="2034" y="1122"/>
                  </a:lnTo>
                  <a:lnTo>
                    <a:pt x="2022" y="1128"/>
                  </a:lnTo>
                  <a:lnTo>
                    <a:pt x="1986" y="1128"/>
                  </a:lnTo>
                  <a:lnTo>
                    <a:pt x="1938" y="1122"/>
                  </a:lnTo>
                  <a:lnTo>
                    <a:pt x="1932" y="1116"/>
                  </a:lnTo>
                  <a:lnTo>
                    <a:pt x="1896" y="1110"/>
                  </a:lnTo>
                  <a:lnTo>
                    <a:pt x="1878" y="1104"/>
                  </a:lnTo>
                  <a:lnTo>
                    <a:pt x="1866" y="1098"/>
                  </a:lnTo>
                  <a:lnTo>
                    <a:pt x="1860" y="1098"/>
                  </a:lnTo>
                  <a:lnTo>
                    <a:pt x="1854" y="1092"/>
                  </a:lnTo>
                  <a:lnTo>
                    <a:pt x="1860" y="1092"/>
                  </a:lnTo>
                  <a:lnTo>
                    <a:pt x="1860" y="1086"/>
                  </a:lnTo>
                  <a:lnTo>
                    <a:pt x="1854" y="1086"/>
                  </a:lnTo>
                  <a:lnTo>
                    <a:pt x="1842" y="1080"/>
                  </a:lnTo>
                  <a:lnTo>
                    <a:pt x="1818" y="1062"/>
                  </a:lnTo>
                  <a:lnTo>
                    <a:pt x="1782" y="1056"/>
                  </a:lnTo>
                  <a:lnTo>
                    <a:pt x="1770" y="1068"/>
                  </a:lnTo>
                  <a:lnTo>
                    <a:pt x="1746" y="1098"/>
                  </a:lnTo>
                  <a:lnTo>
                    <a:pt x="1722" y="1104"/>
                  </a:lnTo>
                  <a:lnTo>
                    <a:pt x="1710" y="1122"/>
                  </a:lnTo>
                  <a:lnTo>
                    <a:pt x="1710" y="1128"/>
                  </a:lnTo>
                  <a:lnTo>
                    <a:pt x="1710" y="1140"/>
                  </a:lnTo>
                  <a:lnTo>
                    <a:pt x="1698" y="1146"/>
                  </a:lnTo>
                  <a:lnTo>
                    <a:pt x="1686" y="1152"/>
                  </a:lnTo>
                  <a:lnTo>
                    <a:pt x="1680" y="1164"/>
                  </a:lnTo>
                  <a:lnTo>
                    <a:pt x="1680" y="1170"/>
                  </a:lnTo>
                  <a:lnTo>
                    <a:pt x="1686" y="1170"/>
                  </a:lnTo>
                  <a:lnTo>
                    <a:pt x="1686" y="1176"/>
                  </a:lnTo>
                  <a:lnTo>
                    <a:pt x="1698" y="1188"/>
                  </a:lnTo>
                  <a:lnTo>
                    <a:pt x="1704" y="1188"/>
                  </a:lnTo>
                  <a:lnTo>
                    <a:pt x="1698" y="1194"/>
                  </a:lnTo>
                  <a:lnTo>
                    <a:pt x="1704" y="1194"/>
                  </a:lnTo>
                  <a:lnTo>
                    <a:pt x="1704" y="1200"/>
                  </a:lnTo>
                  <a:lnTo>
                    <a:pt x="1704" y="1206"/>
                  </a:lnTo>
                  <a:lnTo>
                    <a:pt x="1704" y="1212"/>
                  </a:lnTo>
                  <a:lnTo>
                    <a:pt x="1704" y="1218"/>
                  </a:lnTo>
                  <a:lnTo>
                    <a:pt x="1710" y="1218"/>
                  </a:lnTo>
                  <a:lnTo>
                    <a:pt x="1710" y="1212"/>
                  </a:lnTo>
                  <a:lnTo>
                    <a:pt x="1716" y="1212"/>
                  </a:lnTo>
                  <a:lnTo>
                    <a:pt x="1716" y="1218"/>
                  </a:lnTo>
                  <a:lnTo>
                    <a:pt x="1716" y="1224"/>
                  </a:lnTo>
                  <a:lnTo>
                    <a:pt x="1716" y="1230"/>
                  </a:lnTo>
                  <a:lnTo>
                    <a:pt x="1722" y="1236"/>
                  </a:lnTo>
                  <a:lnTo>
                    <a:pt x="1740" y="1230"/>
                  </a:lnTo>
                  <a:lnTo>
                    <a:pt x="1734" y="1236"/>
                  </a:lnTo>
                  <a:lnTo>
                    <a:pt x="1734" y="1242"/>
                  </a:lnTo>
                  <a:lnTo>
                    <a:pt x="1734" y="1248"/>
                  </a:lnTo>
                  <a:lnTo>
                    <a:pt x="1734" y="1254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52" y="1266"/>
                  </a:lnTo>
                  <a:lnTo>
                    <a:pt x="1764" y="1266"/>
                  </a:lnTo>
                  <a:lnTo>
                    <a:pt x="1788" y="1260"/>
                  </a:lnTo>
                  <a:lnTo>
                    <a:pt x="1800" y="1260"/>
                  </a:lnTo>
                  <a:lnTo>
                    <a:pt x="1806" y="1272"/>
                  </a:lnTo>
                  <a:lnTo>
                    <a:pt x="1806" y="1296"/>
                  </a:lnTo>
                  <a:lnTo>
                    <a:pt x="1800" y="1308"/>
                  </a:lnTo>
                  <a:lnTo>
                    <a:pt x="1788" y="1308"/>
                  </a:lnTo>
                  <a:lnTo>
                    <a:pt x="1782" y="13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7" name="Freeform 32">
              <a:extLst>
                <a:ext uri="{FF2B5EF4-FFF2-40B4-BE49-F238E27FC236}">
                  <a16:creationId xmlns:a16="http://schemas.microsoft.com/office/drawing/2014/main" id="{1EF84438-BF7A-47D2-9156-E231EA2A279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3295" y="2316568"/>
              <a:ext cx="1290281" cy="1084704"/>
            </a:xfrm>
            <a:custGeom>
              <a:avLst/>
              <a:gdLst>
                <a:gd name="T0" fmla="*/ 177 w 2430"/>
                <a:gd name="T1" fmla="*/ 169 h 2040"/>
                <a:gd name="T2" fmla="*/ 174 w 2430"/>
                <a:gd name="T3" fmla="*/ 173 h 2040"/>
                <a:gd name="T4" fmla="*/ 169 w 2430"/>
                <a:gd name="T5" fmla="*/ 171 h 2040"/>
                <a:gd name="T6" fmla="*/ 160 w 2430"/>
                <a:gd name="T7" fmla="*/ 163 h 2040"/>
                <a:gd name="T8" fmla="*/ 154 w 2430"/>
                <a:gd name="T9" fmla="*/ 149 h 2040"/>
                <a:gd name="T10" fmla="*/ 144 w 2430"/>
                <a:gd name="T11" fmla="*/ 147 h 2040"/>
                <a:gd name="T12" fmla="*/ 133 w 2430"/>
                <a:gd name="T13" fmla="*/ 146 h 2040"/>
                <a:gd name="T14" fmla="*/ 121 w 2430"/>
                <a:gd name="T15" fmla="*/ 145 h 2040"/>
                <a:gd name="T16" fmla="*/ 110 w 2430"/>
                <a:gd name="T17" fmla="*/ 137 h 2040"/>
                <a:gd name="T18" fmla="*/ 97 w 2430"/>
                <a:gd name="T19" fmla="*/ 131 h 2040"/>
                <a:gd name="T20" fmla="*/ 87 w 2430"/>
                <a:gd name="T21" fmla="*/ 125 h 2040"/>
                <a:gd name="T22" fmla="*/ 75 w 2430"/>
                <a:gd name="T23" fmla="*/ 122 h 2040"/>
                <a:gd name="T24" fmla="*/ 65 w 2430"/>
                <a:gd name="T25" fmla="*/ 122 h 2040"/>
                <a:gd name="T26" fmla="*/ 59 w 2430"/>
                <a:gd name="T27" fmla="*/ 115 h 2040"/>
                <a:gd name="T28" fmla="*/ 50 w 2430"/>
                <a:gd name="T29" fmla="*/ 107 h 2040"/>
                <a:gd name="T30" fmla="*/ 28 w 2430"/>
                <a:gd name="T31" fmla="*/ 84 h 2040"/>
                <a:gd name="T32" fmla="*/ 22 w 2430"/>
                <a:gd name="T33" fmla="*/ 82 h 2040"/>
                <a:gd name="T34" fmla="*/ 20 w 2430"/>
                <a:gd name="T35" fmla="*/ 79 h 2040"/>
                <a:gd name="T36" fmla="*/ 16 w 2430"/>
                <a:gd name="T37" fmla="*/ 76 h 2040"/>
                <a:gd name="T38" fmla="*/ 11 w 2430"/>
                <a:gd name="T39" fmla="*/ 74 h 2040"/>
                <a:gd name="T40" fmla="*/ 7 w 2430"/>
                <a:gd name="T41" fmla="*/ 69 h 2040"/>
                <a:gd name="T42" fmla="*/ 0 w 2430"/>
                <a:gd name="T43" fmla="*/ 60 h 2040"/>
                <a:gd name="T44" fmla="*/ 10 w 2430"/>
                <a:gd name="T45" fmla="*/ 53 h 2040"/>
                <a:gd name="T46" fmla="*/ 15 w 2430"/>
                <a:gd name="T47" fmla="*/ 40 h 2040"/>
                <a:gd name="T48" fmla="*/ 9 w 2430"/>
                <a:gd name="T49" fmla="*/ 29 h 2040"/>
                <a:gd name="T50" fmla="*/ 7 w 2430"/>
                <a:gd name="T51" fmla="*/ 16 h 2040"/>
                <a:gd name="T52" fmla="*/ 18 w 2430"/>
                <a:gd name="T53" fmla="*/ 21 h 2040"/>
                <a:gd name="T54" fmla="*/ 48 w 2430"/>
                <a:gd name="T55" fmla="*/ 27 h 2040"/>
                <a:gd name="T56" fmla="*/ 62 w 2430"/>
                <a:gd name="T57" fmla="*/ 25 h 2040"/>
                <a:gd name="T58" fmla="*/ 59 w 2430"/>
                <a:gd name="T59" fmla="*/ 42 h 2040"/>
                <a:gd name="T60" fmla="*/ 54 w 2430"/>
                <a:gd name="T61" fmla="*/ 65 h 2040"/>
                <a:gd name="T62" fmla="*/ 65 w 2430"/>
                <a:gd name="T63" fmla="*/ 60 h 2040"/>
                <a:gd name="T64" fmla="*/ 68 w 2430"/>
                <a:gd name="T65" fmla="*/ 40 h 2040"/>
                <a:gd name="T66" fmla="*/ 75 w 2430"/>
                <a:gd name="T67" fmla="*/ 36 h 2040"/>
                <a:gd name="T68" fmla="*/ 83 w 2430"/>
                <a:gd name="T69" fmla="*/ 29 h 2040"/>
                <a:gd name="T70" fmla="*/ 81 w 2430"/>
                <a:gd name="T71" fmla="*/ 17 h 2040"/>
                <a:gd name="T72" fmla="*/ 66 w 2430"/>
                <a:gd name="T73" fmla="*/ 7 h 2040"/>
                <a:gd name="T74" fmla="*/ 80 w 2430"/>
                <a:gd name="T75" fmla="*/ 5 h 2040"/>
                <a:gd name="T76" fmla="*/ 89 w 2430"/>
                <a:gd name="T77" fmla="*/ 1 h 2040"/>
                <a:gd name="T78" fmla="*/ 101 w 2430"/>
                <a:gd name="T79" fmla="*/ 10 h 2040"/>
                <a:gd name="T80" fmla="*/ 103 w 2430"/>
                <a:gd name="T81" fmla="*/ 18 h 2040"/>
                <a:gd name="T82" fmla="*/ 110 w 2430"/>
                <a:gd name="T83" fmla="*/ 23 h 2040"/>
                <a:gd name="T84" fmla="*/ 121 w 2430"/>
                <a:gd name="T85" fmla="*/ 20 h 2040"/>
                <a:gd name="T86" fmla="*/ 129 w 2430"/>
                <a:gd name="T87" fmla="*/ 15 h 2040"/>
                <a:gd name="T88" fmla="*/ 142 w 2430"/>
                <a:gd name="T89" fmla="*/ 23 h 2040"/>
                <a:gd name="T90" fmla="*/ 141 w 2430"/>
                <a:gd name="T91" fmla="*/ 30 h 2040"/>
                <a:gd name="T92" fmla="*/ 140 w 2430"/>
                <a:gd name="T93" fmla="*/ 38 h 2040"/>
                <a:gd name="T94" fmla="*/ 139 w 2430"/>
                <a:gd name="T95" fmla="*/ 46 h 2040"/>
                <a:gd name="T96" fmla="*/ 147 w 2430"/>
                <a:gd name="T97" fmla="*/ 54 h 2040"/>
                <a:gd name="T98" fmla="*/ 152 w 2430"/>
                <a:gd name="T99" fmla="*/ 50 h 2040"/>
                <a:gd name="T100" fmla="*/ 159 w 2430"/>
                <a:gd name="T101" fmla="*/ 43 h 2040"/>
                <a:gd name="T102" fmla="*/ 174 w 2430"/>
                <a:gd name="T103" fmla="*/ 41 h 2040"/>
                <a:gd name="T104" fmla="*/ 190 w 2430"/>
                <a:gd name="T105" fmla="*/ 57 h 2040"/>
                <a:gd name="T106" fmla="*/ 187 w 2430"/>
                <a:gd name="T107" fmla="*/ 66 h 2040"/>
                <a:gd name="T108" fmla="*/ 183 w 2430"/>
                <a:gd name="T109" fmla="*/ 72 h 2040"/>
                <a:gd name="T110" fmla="*/ 194 w 2430"/>
                <a:gd name="T111" fmla="*/ 73 h 2040"/>
                <a:gd name="T112" fmla="*/ 202 w 2430"/>
                <a:gd name="T113" fmla="*/ 74 h 2040"/>
                <a:gd name="T114" fmla="*/ 204 w 2430"/>
                <a:gd name="T115" fmla="*/ 89 h 2040"/>
                <a:gd name="T116" fmla="*/ 208 w 2430"/>
                <a:gd name="T117" fmla="*/ 99 h 2040"/>
                <a:gd name="T118" fmla="*/ 203 w 2430"/>
                <a:gd name="T119" fmla="*/ 103 h 2040"/>
                <a:gd name="T120" fmla="*/ 209 w 2430"/>
                <a:gd name="T121" fmla="*/ 111 h 2040"/>
                <a:gd name="T122" fmla="*/ 204 w 2430"/>
                <a:gd name="T123" fmla="*/ 124 h 2040"/>
                <a:gd name="T124" fmla="*/ 190 w 2430"/>
                <a:gd name="T125" fmla="*/ 117 h 20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30"/>
                <a:gd name="T190" fmla="*/ 0 h 2040"/>
                <a:gd name="T191" fmla="*/ 2430 w 2430"/>
                <a:gd name="T192" fmla="*/ 2040 h 20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30" h="2040">
                  <a:moveTo>
                    <a:pt x="2076" y="1896"/>
                  </a:moveTo>
                  <a:lnTo>
                    <a:pt x="2070" y="1896"/>
                  </a:lnTo>
                  <a:lnTo>
                    <a:pt x="2070" y="1902"/>
                  </a:lnTo>
                  <a:lnTo>
                    <a:pt x="2076" y="1902"/>
                  </a:lnTo>
                  <a:lnTo>
                    <a:pt x="2082" y="1902"/>
                  </a:lnTo>
                  <a:lnTo>
                    <a:pt x="2082" y="1908"/>
                  </a:lnTo>
                  <a:lnTo>
                    <a:pt x="2076" y="1908"/>
                  </a:lnTo>
                  <a:lnTo>
                    <a:pt x="2076" y="1914"/>
                  </a:lnTo>
                  <a:lnTo>
                    <a:pt x="2070" y="1920"/>
                  </a:lnTo>
                  <a:lnTo>
                    <a:pt x="2064" y="1932"/>
                  </a:lnTo>
                  <a:lnTo>
                    <a:pt x="2064" y="1938"/>
                  </a:lnTo>
                  <a:lnTo>
                    <a:pt x="2058" y="1938"/>
                  </a:lnTo>
                  <a:lnTo>
                    <a:pt x="2052" y="1944"/>
                  </a:lnTo>
                  <a:lnTo>
                    <a:pt x="2052" y="1950"/>
                  </a:lnTo>
                  <a:lnTo>
                    <a:pt x="2040" y="1944"/>
                  </a:lnTo>
                  <a:lnTo>
                    <a:pt x="2040" y="1950"/>
                  </a:lnTo>
                  <a:lnTo>
                    <a:pt x="2034" y="1956"/>
                  </a:lnTo>
                  <a:lnTo>
                    <a:pt x="2034" y="1962"/>
                  </a:lnTo>
                  <a:lnTo>
                    <a:pt x="2028" y="1962"/>
                  </a:lnTo>
                  <a:lnTo>
                    <a:pt x="2022" y="1962"/>
                  </a:lnTo>
                  <a:lnTo>
                    <a:pt x="2022" y="1968"/>
                  </a:lnTo>
                  <a:lnTo>
                    <a:pt x="2028" y="1974"/>
                  </a:lnTo>
                  <a:lnTo>
                    <a:pt x="2034" y="1980"/>
                  </a:lnTo>
                  <a:lnTo>
                    <a:pt x="2028" y="1986"/>
                  </a:lnTo>
                  <a:lnTo>
                    <a:pt x="2022" y="1992"/>
                  </a:lnTo>
                  <a:lnTo>
                    <a:pt x="2022" y="1986"/>
                  </a:lnTo>
                  <a:lnTo>
                    <a:pt x="2016" y="1986"/>
                  </a:lnTo>
                  <a:lnTo>
                    <a:pt x="2010" y="1980"/>
                  </a:lnTo>
                  <a:lnTo>
                    <a:pt x="2004" y="1980"/>
                  </a:lnTo>
                  <a:lnTo>
                    <a:pt x="2004" y="1986"/>
                  </a:lnTo>
                  <a:lnTo>
                    <a:pt x="2010" y="1992"/>
                  </a:lnTo>
                  <a:lnTo>
                    <a:pt x="2010" y="1998"/>
                  </a:lnTo>
                  <a:lnTo>
                    <a:pt x="2004" y="2004"/>
                  </a:lnTo>
                  <a:lnTo>
                    <a:pt x="1998" y="2004"/>
                  </a:lnTo>
                  <a:lnTo>
                    <a:pt x="1998" y="2022"/>
                  </a:lnTo>
                  <a:lnTo>
                    <a:pt x="1998" y="2028"/>
                  </a:lnTo>
                  <a:lnTo>
                    <a:pt x="1992" y="2034"/>
                  </a:lnTo>
                  <a:lnTo>
                    <a:pt x="1992" y="2040"/>
                  </a:lnTo>
                  <a:lnTo>
                    <a:pt x="1986" y="2040"/>
                  </a:lnTo>
                  <a:lnTo>
                    <a:pt x="1986" y="2034"/>
                  </a:lnTo>
                  <a:lnTo>
                    <a:pt x="1980" y="2028"/>
                  </a:lnTo>
                  <a:lnTo>
                    <a:pt x="1980" y="2022"/>
                  </a:lnTo>
                  <a:lnTo>
                    <a:pt x="1968" y="2016"/>
                  </a:lnTo>
                  <a:lnTo>
                    <a:pt x="1962" y="2010"/>
                  </a:lnTo>
                  <a:lnTo>
                    <a:pt x="1956" y="2004"/>
                  </a:lnTo>
                  <a:lnTo>
                    <a:pt x="1950" y="1992"/>
                  </a:lnTo>
                  <a:lnTo>
                    <a:pt x="1950" y="1986"/>
                  </a:lnTo>
                  <a:lnTo>
                    <a:pt x="1950" y="1974"/>
                  </a:lnTo>
                  <a:lnTo>
                    <a:pt x="1944" y="1974"/>
                  </a:lnTo>
                  <a:lnTo>
                    <a:pt x="1932" y="1962"/>
                  </a:lnTo>
                  <a:lnTo>
                    <a:pt x="1932" y="1956"/>
                  </a:lnTo>
                  <a:lnTo>
                    <a:pt x="1932" y="1950"/>
                  </a:lnTo>
                  <a:lnTo>
                    <a:pt x="1920" y="1944"/>
                  </a:lnTo>
                  <a:lnTo>
                    <a:pt x="1914" y="1944"/>
                  </a:lnTo>
                  <a:lnTo>
                    <a:pt x="1908" y="1938"/>
                  </a:lnTo>
                  <a:lnTo>
                    <a:pt x="1902" y="1926"/>
                  </a:lnTo>
                  <a:lnTo>
                    <a:pt x="1890" y="1914"/>
                  </a:lnTo>
                  <a:lnTo>
                    <a:pt x="1884" y="1914"/>
                  </a:lnTo>
                  <a:lnTo>
                    <a:pt x="1878" y="1908"/>
                  </a:lnTo>
                  <a:lnTo>
                    <a:pt x="1872" y="1902"/>
                  </a:lnTo>
                  <a:lnTo>
                    <a:pt x="1872" y="1896"/>
                  </a:lnTo>
                  <a:lnTo>
                    <a:pt x="1866" y="1890"/>
                  </a:lnTo>
                  <a:lnTo>
                    <a:pt x="1854" y="1884"/>
                  </a:lnTo>
                  <a:lnTo>
                    <a:pt x="1848" y="1884"/>
                  </a:lnTo>
                  <a:lnTo>
                    <a:pt x="1842" y="1872"/>
                  </a:lnTo>
                  <a:lnTo>
                    <a:pt x="1836" y="1872"/>
                  </a:lnTo>
                  <a:lnTo>
                    <a:pt x="1830" y="1866"/>
                  </a:lnTo>
                  <a:lnTo>
                    <a:pt x="1830" y="1854"/>
                  </a:lnTo>
                  <a:lnTo>
                    <a:pt x="1824" y="1848"/>
                  </a:lnTo>
                  <a:lnTo>
                    <a:pt x="1818" y="1830"/>
                  </a:lnTo>
                  <a:lnTo>
                    <a:pt x="1818" y="1818"/>
                  </a:lnTo>
                  <a:lnTo>
                    <a:pt x="1812" y="1800"/>
                  </a:lnTo>
                  <a:lnTo>
                    <a:pt x="1812" y="1788"/>
                  </a:lnTo>
                  <a:lnTo>
                    <a:pt x="1806" y="1776"/>
                  </a:lnTo>
                  <a:lnTo>
                    <a:pt x="1800" y="1764"/>
                  </a:lnTo>
                  <a:lnTo>
                    <a:pt x="1794" y="1758"/>
                  </a:lnTo>
                  <a:lnTo>
                    <a:pt x="1782" y="1740"/>
                  </a:lnTo>
                  <a:lnTo>
                    <a:pt x="1776" y="1728"/>
                  </a:lnTo>
                  <a:lnTo>
                    <a:pt x="1776" y="1722"/>
                  </a:lnTo>
                  <a:lnTo>
                    <a:pt x="1770" y="1722"/>
                  </a:lnTo>
                  <a:lnTo>
                    <a:pt x="1770" y="1716"/>
                  </a:lnTo>
                  <a:lnTo>
                    <a:pt x="1764" y="1716"/>
                  </a:lnTo>
                  <a:lnTo>
                    <a:pt x="1758" y="1710"/>
                  </a:lnTo>
                  <a:lnTo>
                    <a:pt x="1752" y="1704"/>
                  </a:lnTo>
                  <a:lnTo>
                    <a:pt x="1746" y="1704"/>
                  </a:lnTo>
                  <a:lnTo>
                    <a:pt x="1740" y="1704"/>
                  </a:lnTo>
                  <a:lnTo>
                    <a:pt x="1734" y="1704"/>
                  </a:lnTo>
                  <a:lnTo>
                    <a:pt x="1734" y="1698"/>
                  </a:lnTo>
                  <a:lnTo>
                    <a:pt x="1728" y="1692"/>
                  </a:lnTo>
                  <a:lnTo>
                    <a:pt x="1722" y="1686"/>
                  </a:lnTo>
                  <a:lnTo>
                    <a:pt x="1716" y="1686"/>
                  </a:lnTo>
                  <a:lnTo>
                    <a:pt x="1698" y="1686"/>
                  </a:lnTo>
                  <a:lnTo>
                    <a:pt x="1692" y="1692"/>
                  </a:lnTo>
                  <a:lnTo>
                    <a:pt x="1680" y="1692"/>
                  </a:lnTo>
                  <a:lnTo>
                    <a:pt x="1668" y="1692"/>
                  </a:lnTo>
                  <a:lnTo>
                    <a:pt x="1662" y="1692"/>
                  </a:lnTo>
                  <a:lnTo>
                    <a:pt x="1656" y="1692"/>
                  </a:lnTo>
                  <a:lnTo>
                    <a:pt x="1650" y="1698"/>
                  </a:lnTo>
                  <a:lnTo>
                    <a:pt x="1644" y="1698"/>
                  </a:lnTo>
                  <a:lnTo>
                    <a:pt x="1638" y="1698"/>
                  </a:lnTo>
                  <a:lnTo>
                    <a:pt x="1632" y="1698"/>
                  </a:lnTo>
                  <a:lnTo>
                    <a:pt x="1632" y="1692"/>
                  </a:lnTo>
                  <a:lnTo>
                    <a:pt x="1620" y="1680"/>
                  </a:lnTo>
                  <a:lnTo>
                    <a:pt x="1614" y="1680"/>
                  </a:lnTo>
                  <a:lnTo>
                    <a:pt x="1608" y="1680"/>
                  </a:lnTo>
                  <a:lnTo>
                    <a:pt x="1602" y="1680"/>
                  </a:lnTo>
                  <a:lnTo>
                    <a:pt x="1596" y="1674"/>
                  </a:lnTo>
                  <a:lnTo>
                    <a:pt x="1584" y="1674"/>
                  </a:lnTo>
                  <a:lnTo>
                    <a:pt x="1572" y="1674"/>
                  </a:lnTo>
                  <a:lnTo>
                    <a:pt x="1560" y="1674"/>
                  </a:lnTo>
                  <a:lnTo>
                    <a:pt x="1542" y="1680"/>
                  </a:lnTo>
                  <a:lnTo>
                    <a:pt x="1530" y="1680"/>
                  </a:lnTo>
                  <a:lnTo>
                    <a:pt x="1530" y="1674"/>
                  </a:lnTo>
                  <a:lnTo>
                    <a:pt x="1524" y="1674"/>
                  </a:lnTo>
                  <a:lnTo>
                    <a:pt x="1518" y="1674"/>
                  </a:lnTo>
                  <a:lnTo>
                    <a:pt x="1512" y="1674"/>
                  </a:lnTo>
                  <a:lnTo>
                    <a:pt x="1506" y="1674"/>
                  </a:lnTo>
                  <a:lnTo>
                    <a:pt x="1500" y="1680"/>
                  </a:lnTo>
                  <a:lnTo>
                    <a:pt x="1488" y="1680"/>
                  </a:lnTo>
                  <a:lnTo>
                    <a:pt x="1482" y="1674"/>
                  </a:lnTo>
                  <a:lnTo>
                    <a:pt x="1476" y="1674"/>
                  </a:lnTo>
                  <a:lnTo>
                    <a:pt x="1464" y="1674"/>
                  </a:lnTo>
                  <a:lnTo>
                    <a:pt x="1452" y="1680"/>
                  </a:lnTo>
                  <a:lnTo>
                    <a:pt x="1434" y="1680"/>
                  </a:lnTo>
                  <a:lnTo>
                    <a:pt x="1422" y="1680"/>
                  </a:lnTo>
                  <a:lnTo>
                    <a:pt x="1416" y="1680"/>
                  </a:lnTo>
                  <a:lnTo>
                    <a:pt x="1404" y="1674"/>
                  </a:lnTo>
                  <a:lnTo>
                    <a:pt x="1398" y="1674"/>
                  </a:lnTo>
                  <a:lnTo>
                    <a:pt x="1392" y="1662"/>
                  </a:lnTo>
                  <a:lnTo>
                    <a:pt x="1380" y="1644"/>
                  </a:lnTo>
                  <a:lnTo>
                    <a:pt x="1374" y="1632"/>
                  </a:lnTo>
                  <a:lnTo>
                    <a:pt x="1362" y="1626"/>
                  </a:lnTo>
                  <a:lnTo>
                    <a:pt x="1356" y="1620"/>
                  </a:lnTo>
                  <a:lnTo>
                    <a:pt x="1350" y="1626"/>
                  </a:lnTo>
                  <a:lnTo>
                    <a:pt x="1338" y="1626"/>
                  </a:lnTo>
                  <a:lnTo>
                    <a:pt x="1326" y="1626"/>
                  </a:lnTo>
                  <a:lnTo>
                    <a:pt x="1314" y="1620"/>
                  </a:lnTo>
                  <a:lnTo>
                    <a:pt x="1308" y="1614"/>
                  </a:lnTo>
                  <a:lnTo>
                    <a:pt x="1302" y="1608"/>
                  </a:lnTo>
                  <a:lnTo>
                    <a:pt x="1296" y="1602"/>
                  </a:lnTo>
                  <a:lnTo>
                    <a:pt x="1290" y="1602"/>
                  </a:lnTo>
                  <a:lnTo>
                    <a:pt x="1290" y="1596"/>
                  </a:lnTo>
                  <a:lnTo>
                    <a:pt x="1284" y="1590"/>
                  </a:lnTo>
                  <a:lnTo>
                    <a:pt x="1272" y="1584"/>
                  </a:lnTo>
                  <a:lnTo>
                    <a:pt x="1254" y="1572"/>
                  </a:lnTo>
                  <a:lnTo>
                    <a:pt x="1236" y="1554"/>
                  </a:lnTo>
                  <a:lnTo>
                    <a:pt x="1230" y="1554"/>
                  </a:lnTo>
                  <a:lnTo>
                    <a:pt x="1224" y="1554"/>
                  </a:lnTo>
                  <a:lnTo>
                    <a:pt x="1212" y="1554"/>
                  </a:lnTo>
                  <a:lnTo>
                    <a:pt x="1194" y="1542"/>
                  </a:lnTo>
                  <a:lnTo>
                    <a:pt x="1188" y="1536"/>
                  </a:lnTo>
                  <a:lnTo>
                    <a:pt x="1182" y="1530"/>
                  </a:lnTo>
                  <a:lnTo>
                    <a:pt x="1176" y="1530"/>
                  </a:lnTo>
                  <a:lnTo>
                    <a:pt x="1170" y="1530"/>
                  </a:lnTo>
                  <a:lnTo>
                    <a:pt x="1158" y="1524"/>
                  </a:lnTo>
                  <a:lnTo>
                    <a:pt x="1152" y="1524"/>
                  </a:lnTo>
                  <a:lnTo>
                    <a:pt x="1140" y="1518"/>
                  </a:lnTo>
                  <a:lnTo>
                    <a:pt x="1128" y="1518"/>
                  </a:lnTo>
                  <a:lnTo>
                    <a:pt x="1122" y="1518"/>
                  </a:lnTo>
                  <a:lnTo>
                    <a:pt x="1116" y="1518"/>
                  </a:lnTo>
                  <a:lnTo>
                    <a:pt x="1104" y="1518"/>
                  </a:lnTo>
                  <a:lnTo>
                    <a:pt x="1092" y="1518"/>
                  </a:lnTo>
                  <a:lnTo>
                    <a:pt x="1080" y="1518"/>
                  </a:lnTo>
                  <a:lnTo>
                    <a:pt x="1068" y="1518"/>
                  </a:lnTo>
                  <a:lnTo>
                    <a:pt x="1062" y="1518"/>
                  </a:lnTo>
                  <a:lnTo>
                    <a:pt x="1056" y="1518"/>
                  </a:lnTo>
                  <a:lnTo>
                    <a:pt x="1050" y="1512"/>
                  </a:lnTo>
                  <a:lnTo>
                    <a:pt x="1044" y="1512"/>
                  </a:lnTo>
                  <a:lnTo>
                    <a:pt x="1038" y="1512"/>
                  </a:lnTo>
                  <a:lnTo>
                    <a:pt x="1032" y="1506"/>
                  </a:lnTo>
                  <a:lnTo>
                    <a:pt x="1026" y="1500"/>
                  </a:lnTo>
                  <a:lnTo>
                    <a:pt x="1026" y="1494"/>
                  </a:lnTo>
                  <a:lnTo>
                    <a:pt x="1020" y="1476"/>
                  </a:lnTo>
                  <a:lnTo>
                    <a:pt x="1008" y="1464"/>
                  </a:lnTo>
                  <a:lnTo>
                    <a:pt x="1008" y="1458"/>
                  </a:lnTo>
                  <a:lnTo>
                    <a:pt x="1002" y="1446"/>
                  </a:lnTo>
                  <a:lnTo>
                    <a:pt x="996" y="1446"/>
                  </a:lnTo>
                  <a:lnTo>
                    <a:pt x="990" y="1440"/>
                  </a:lnTo>
                  <a:lnTo>
                    <a:pt x="984" y="1434"/>
                  </a:lnTo>
                  <a:lnTo>
                    <a:pt x="978" y="1434"/>
                  </a:lnTo>
                  <a:lnTo>
                    <a:pt x="972" y="1434"/>
                  </a:lnTo>
                  <a:lnTo>
                    <a:pt x="966" y="1428"/>
                  </a:lnTo>
                  <a:lnTo>
                    <a:pt x="954" y="1422"/>
                  </a:lnTo>
                  <a:lnTo>
                    <a:pt x="942" y="1416"/>
                  </a:lnTo>
                  <a:lnTo>
                    <a:pt x="924" y="1398"/>
                  </a:lnTo>
                  <a:lnTo>
                    <a:pt x="912" y="1386"/>
                  </a:lnTo>
                  <a:lnTo>
                    <a:pt x="900" y="1386"/>
                  </a:lnTo>
                  <a:lnTo>
                    <a:pt x="894" y="1386"/>
                  </a:lnTo>
                  <a:lnTo>
                    <a:pt x="882" y="1392"/>
                  </a:lnTo>
                  <a:lnTo>
                    <a:pt x="876" y="1392"/>
                  </a:lnTo>
                  <a:lnTo>
                    <a:pt x="864" y="1398"/>
                  </a:lnTo>
                  <a:lnTo>
                    <a:pt x="864" y="1404"/>
                  </a:lnTo>
                  <a:lnTo>
                    <a:pt x="858" y="1410"/>
                  </a:lnTo>
                  <a:lnTo>
                    <a:pt x="852" y="1410"/>
                  </a:lnTo>
                  <a:lnTo>
                    <a:pt x="846" y="1410"/>
                  </a:lnTo>
                  <a:lnTo>
                    <a:pt x="834" y="1410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10" y="1428"/>
                  </a:lnTo>
                  <a:lnTo>
                    <a:pt x="798" y="1428"/>
                  </a:lnTo>
                  <a:lnTo>
                    <a:pt x="792" y="1428"/>
                  </a:lnTo>
                  <a:lnTo>
                    <a:pt x="780" y="1434"/>
                  </a:lnTo>
                  <a:lnTo>
                    <a:pt x="774" y="1428"/>
                  </a:lnTo>
                  <a:lnTo>
                    <a:pt x="762" y="1428"/>
                  </a:lnTo>
                  <a:lnTo>
                    <a:pt x="756" y="1422"/>
                  </a:lnTo>
                  <a:lnTo>
                    <a:pt x="750" y="1416"/>
                  </a:lnTo>
                  <a:lnTo>
                    <a:pt x="744" y="1410"/>
                  </a:lnTo>
                  <a:lnTo>
                    <a:pt x="744" y="1398"/>
                  </a:lnTo>
                  <a:lnTo>
                    <a:pt x="744" y="1386"/>
                  </a:lnTo>
                  <a:lnTo>
                    <a:pt x="750" y="1380"/>
                  </a:lnTo>
                  <a:lnTo>
                    <a:pt x="750" y="1374"/>
                  </a:lnTo>
                  <a:lnTo>
                    <a:pt x="750" y="1368"/>
                  </a:lnTo>
                  <a:lnTo>
                    <a:pt x="756" y="1362"/>
                  </a:lnTo>
                  <a:lnTo>
                    <a:pt x="750" y="1350"/>
                  </a:lnTo>
                  <a:lnTo>
                    <a:pt x="744" y="1344"/>
                  </a:lnTo>
                  <a:lnTo>
                    <a:pt x="738" y="1338"/>
                  </a:lnTo>
                  <a:lnTo>
                    <a:pt x="726" y="1338"/>
                  </a:lnTo>
                  <a:lnTo>
                    <a:pt x="720" y="1338"/>
                  </a:lnTo>
                  <a:lnTo>
                    <a:pt x="714" y="1338"/>
                  </a:lnTo>
                  <a:lnTo>
                    <a:pt x="708" y="1332"/>
                  </a:lnTo>
                  <a:lnTo>
                    <a:pt x="702" y="1332"/>
                  </a:lnTo>
                  <a:lnTo>
                    <a:pt x="696" y="1326"/>
                  </a:lnTo>
                  <a:lnTo>
                    <a:pt x="684" y="1326"/>
                  </a:lnTo>
                  <a:lnTo>
                    <a:pt x="678" y="1326"/>
                  </a:lnTo>
                  <a:lnTo>
                    <a:pt x="672" y="1314"/>
                  </a:lnTo>
                  <a:lnTo>
                    <a:pt x="666" y="1308"/>
                  </a:lnTo>
                  <a:lnTo>
                    <a:pt x="654" y="1296"/>
                  </a:lnTo>
                  <a:lnTo>
                    <a:pt x="654" y="1290"/>
                  </a:lnTo>
                  <a:lnTo>
                    <a:pt x="630" y="1284"/>
                  </a:lnTo>
                  <a:lnTo>
                    <a:pt x="630" y="1278"/>
                  </a:lnTo>
                  <a:lnTo>
                    <a:pt x="624" y="1278"/>
                  </a:lnTo>
                  <a:lnTo>
                    <a:pt x="618" y="1266"/>
                  </a:lnTo>
                  <a:lnTo>
                    <a:pt x="612" y="1266"/>
                  </a:lnTo>
                  <a:lnTo>
                    <a:pt x="606" y="1266"/>
                  </a:lnTo>
                  <a:lnTo>
                    <a:pt x="606" y="1260"/>
                  </a:lnTo>
                  <a:lnTo>
                    <a:pt x="594" y="1248"/>
                  </a:lnTo>
                  <a:lnTo>
                    <a:pt x="582" y="1248"/>
                  </a:lnTo>
                  <a:lnTo>
                    <a:pt x="576" y="1242"/>
                  </a:lnTo>
                  <a:lnTo>
                    <a:pt x="570" y="1236"/>
                  </a:lnTo>
                  <a:lnTo>
                    <a:pt x="504" y="1164"/>
                  </a:lnTo>
                  <a:lnTo>
                    <a:pt x="450" y="1110"/>
                  </a:lnTo>
                  <a:lnTo>
                    <a:pt x="426" y="1092"/>
                  </a:lnTo>
                  <a:lnTo>
                    <a:pt x="426" y="1074"/>
                  </a:lnTo>
                  <a:lnTo>
                    <a:pt x="420" y="1062"/>
                  </a:lnTo>
                  <a:lnTo>
                    <a:pt x="396" y="1056"/>
                  </a:lnTo>
                  <a:lnTo>
                    <a:pt x="384" y="1032"/>
                  </a:lnTo>
                  <a:lnTo>
                    <a:pt x="372" y="1020"/>
                  </a:lnTo>
                  <a:lnTo>
                    <a:pt x="360" y="984"/>
                  </a:lnTo>
                  <a:lnTo>
                    <a:pt x="348" y="978"/>
                  </a:lnTo>
                  <a:lnTo>
                    <a:pt x="342" y="972"/>
                  </a:lnTo>
                  <a:lnTo>
                    <a:pt x="348" y="960"/>
                  </a:lnTo>
                  <a:lnTo>
                    <a:pt x="342" y="954"/>
                  </a:lnTo>
                  <a:lnTo>
                    <a:pt x="336" y="954"/>
                  </a:lnTo>
                  <a:lnTo>
                    <a:pt x="330" y="954"/>
                  </a:lnTo>
                  <a:lnTo>
                    <a:pt x="324" y="972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0" y="966"/>
                  </a:lnTo>
                  <a:lnTo>
                    <a:pt x="294" y="966"/>
                  </a:lnTo>
                  <a:lnTo>
                    <a:pt x="288" y="972"/>
                  </a:lnTo>
                  <a:lnTo>
                    <a:pt x="288" y="966"/>
                  </a:lnTo>
                  <a:lnTo>
                    <a:pt x="282" y="948"/>
                  </a:lnTo>
                  <a:lnTo>
                    <a:pt x="282" y="942"/>
                  </a:lnTo>
                  <a:lnTo>
                    <a:pt x="276" y="942"/>
                  </a:lnTo>
                  <a:lnTo>
                    <a:pt x="276" y="936"/>
                  </a:lnTo>
                  <a:lnTo>
                    <a:pt x="270" y="942"/>
                  </a:lnTo>
                  <a:lnTo>
                    <a:pt x="264" y="948"/>
                  </a:lnTo>
                  <a:lnTo>
                    <a:pt x="264" y="942"/>
                  </a:lnTo>
                  <a:lnTo>
                    <a:pt x="258" y="942"/>
                  </a:lnTo>
                  <a:lnTo>
                    <a:pt x="252" y="948"/>
                  </a:lnTo>
                  <a:lnTo>
                    <a:pt x="252" y="942"/>
                  </a:lnTo>
                  <a:lnTo>
                    <a:pt x="246" y="936"/>
                  </a:lnTo>
                  <a:lnTo>
                    <a:pt x="240" y="942"/>
                  </a:lnTo>
                  <a:lnTo>
                    <a:pt x="234" y="936"/>
                  </a:lnTo>
                  <a:lnTo>
                    <a:pt x="228" y="936"/>
                  </a:lnTo>
                  <a:lnTo>
                    <a:pt x="222" y="936"/>
                  </a:lnTo>
                  <a:lnTo>
                    <a:pt x="222" y="930"/>
                  </a:lnTo>
                  <a:lnTo>
                    <a:pt x="222" y="924"/>
                  </a:lnTo>
                  <a:lnTo>
                    <a:pt x="228" y="924"/>
                  </a:lnTo>
                  <a:lnTo>
                    <a:pt x="234" y="924"/>
                  </a:lnTo>
                  <a:lnTo>
                    <a:pt x="240" y="924"/>
                  </a:lnTo>
                  <a:lnTo>
                    <a:pt x="240" y="918"/>
                  </a:lnTo>
                  <a:lnTo>
                    <a:pt x="246" y="918"/>
                  </a:lnTo>
                  <a:lnTo>
                    <a:pt x="246" y="912"/>
                  </a:lnTo>
                  <a:lnTo>
                    <a:pt x="240" y="906"/>
                  </a:lnTo>
                  <a:lnTo>
                    <a:pt x="234" y="906"/>
                  </a:lnTo>
                  <a:lnTo>
                    <a:pt x="228" y="906"/>
                  </a:lnTo>
                  <a:lnTo>
                    <a:pt x="228" y="912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8" y="894"/>
                  </a:lnTo>
                  <a:lnTo>
                    <a:pt x="234" y="894"/>
                  </a:lnTo>
                  <a:lnTo>
                    <a:pt x="228" y="888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198" y="888"/>
                  </a:lnTo>
                  <a:lnTo>
                    <a:pt x="192" y="882"/>
                  </a:lnTo>
                  <a:lnTo>
                    <a:pt x="186" y="882"/>
                  </a:lnTo>
                  <a:lnTo>
                    <a:pt x="186" y="876"/>
                  </a:lnTo>
                  <a:lnTo>
                    <a:pt x="192" y="876"/>
                  </a:lnTo>
                  <a:lnTo>
                    <a:pt x="192" y="870"/>
                  </a:lnTo>
                  <a:lnTo>
                    <a:pt x="198" y="870"/>
                  </a:lnTo>
                  <a:lnTo>
                    <a:pt x="198" y="864"/>
                  </a:lnTo>
                  <a:lnTo>
                    <a:pt x="198" y="858"/>
                  </a:lnTo>
                  <a:lnTo>
                    <a:pt x="180" y="852"/>
                  </a:lnTo>
                  <a:lnTo>
                    <a:pt x="174" y="840"/>
                  </a:lnTo>
                  <a:lnTo>
                    <a:pt x="162" y="846"/>
                  </a:lnTo>
                  <a:lnTo>
                    <a:pt x="156" y="846"/>
                  </a:lnTo>
                  <a:lnTo>
                    <a:pt x="150" y="846"/>
                  </a:lnTo>
                  <a:lnTo>
                    <a:pt x="150" y="840"/>
                  </a:lnTo>
                  <a:lnTo>
                    <a:pt x="138" y="834"/>
                  </a:lnTo>
                  <a:lnTo>
                    <a:pt x="132" y="834"/>
                  </a:lnTo>
                  <a:lnTo>
                    <a:pt x="132" y="840"/>
                  </a:lnTo>
                  <a:lnTo>
                    <a:pt x="126" y="840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58"/>
                  </a:lnTo>
                  <a:lnTo>
                    <a:pt x="120" y="846"/>
                  </a:lnTo>
                  <a:lnTo>
                    <a:pt x="114" y="846"/>
                  </a:lnTo>
                  <a:lnTo>
                    <a:pt x="108" y="840"/>
                  </a:lnTo>
                  <a:lnTo>
                    <a:pt x="102" y="834"/>
                  </a:lnTo>
                  <a:lnTo>
                    <a:pt x="102" y="822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78" y="804"/>
                  </a:lnTo>
                  <a:lnTo>
                    <a:pt x="78" y="798"/>
                  </a:lnTo>
                  <a:lnTo>
                    <a:pt x="78" y="792"/>
                  </a:lnTo>
                  <a:lnTo>
                    <a:pt x="78" y="786"/>
                  </a:lnTo>
                  <a:lnTo>
                    <a:pt x="78" y="780"/>
                  </a:lnTo>
                  <a:lnTo>
                    <a:pt x="72" y="774"/>
                  </a:lnTo>
                  <a:lnTo>
                    <a:pt x="66" y="774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60" y="762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6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2" y="666"/>
                  </a:lnTo>
                  <a:lnTo>
                    <a:pt x="18" y="648"/>
                  </a:lnTo>
                  <a:lnTo>
                    <a:pt x="24" y="636"/>
                  </a:lnTo>
                  <a:lnTo>
                    <a:pt x="30" y="630"/>
                  </a:lnTo>
                  <a:lnTo>
                    <a:pt x="30" y="624"/>
                  </a:lnTo>
                  <a:lnTo>
                    <a:pt x="30" y="612"/>
                  </a:lnTo>
                  <a:lnTo>
                    <a:pt x="30" y="606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66" y="582"/>
                  </a:lnTo>
                  <a:lnTo>
                    <a:pt x="72" y="588"/>
                  </a:lnTo>
                  <a:lnTo>
                    <a:pt x="84" y="594"/>
                  </a:lnTo>
                  <a:lnTo>
                    <a:pt x="90" y="600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14" y="612"/>
                  </a:lnTo>
                  <a:lnTo>
                    <a:pt x="120" y="612"/>
                  </a:lnTo>
                  <a:lnTo>
                    <a:pt x="126" y="618"/>
                  </a:lnTo>
                  <a:lnTo>
                    <a:pt x="138" y="594"/>
                  </a:lnTo>
                  <a:lnTo>
                    <a:pt x="138" y="582"/>
                  </a:lnTo>
                  <a:lnTo>
                    <a:pt x="138" y="570"/>
                  </a:lnTo>
                  <a:lnTo>
                    <a:pt x="138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50" y="528"/>
                  </a:lnTo>
                  <a:lnTo>
                    <a:pt x="156" y="510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62"/>
                  </a:lnTo>
                  <a:lnTo>
                    <a:pt x="168" y="450"/>
                  </a:lnTo>
                  <a:lnTo>
                    <a:pt x="168" y="444"/>
                  </a:lnTo>
                  <a:lnTo>
                    <a:pt x="162" y="432"/>
                  </a:lnTo>
                  <a:lnTo>
                    <a:pt x="162" y="426"/>
                  </a:lnTo>
                  <a:lnTo>
                    <a:pt x="156" y="420"/>
                  </a:lnTo>
                  <a:lnTo>
                    <a:pt x="144" y="414"/>
                  </a:lnTo>
                  <a:lnTo>
                    <a:pt x="132" y="402"/>
                  </a:lnTo>
                  <a:lnTo>
                    <a:pt x="126" y="390"/>
                  </a:lnTo>
                  <a:lnTo>
                    <a:pt x="120" y="384"/>
                  </a:lnTo>
                  <a:lnTo>
                    <a:pt x="120" y="372"/>
                  </a:lnTo>
                  <a:lnTo>
                    <a:pt x="114" y="360"/>
                  </a:lnTo>
                  <a:lnTo>
                    <a:pt x="108" y="360"/>
                  </a:lnTo>
                  <a:lnTo>
                    <a:pt x="108" y="354"/>
                  </a:lnTo>
                  <a:lnTo>
                    <a:pt x="102" y="348"/>
                  </a:lnTo>
                  <a:lnTo>
                    <a:pt x="102" y="342"/>
                  </a:lnTo>
                  <a:lnTo>
                    <a:pt x="108" y="330"/>
                  </a:lnTo>
                  <a:lnTo>
                    <a:pt x="114" y="312"/>
                  </a:lnTo>
                  <a:lnTo>
                    <a:pt x="114" y="300"/>
                  </a:lnTo>
                  <a:lnTo>
                    <a:pt x="120" y="288"/>
                  </a:lnTo>
                  <a:lnTo>
                    <a:pt x="120" y="282"/>
                  </a:lnTo>
                  <a:lnTo>
                    <a:pt x="114" y="270"/>
                  </a:lnTo>
                  <a:lnTo>
                    <a:pt x="114" y="258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84" y="222"/>
                  </a:lnTo>
                  <a:lnTo>
                    <a:pt x="84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84" y="186"/>
                  </a:lnTo>
                  <a:lnTo>
                    <a:pt x="84" y="180"/>
                  </a:lnTo>
                  <a:lnTo>
                    <a:pt x="108" y="174"/>
                  </a:lnTo>
                  <a:lnTo>
                    <a:pt x="132" y="186"/>
                  </a:lnTo>
                  <a:lnTo>
                    <a:pt x="138" y="192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56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74" y="204"/>
                  </a:lnTo>
                  <a:lnTo>
                    <a:pt x="180" y="216"/>
                  </a:lnTo>
                  <a:lnTo>
                    <a:pt x="186" y="228"/>
                  </a:lnTo>
                  <a:lnTo>
                    <a:pt x="192" y="234"/>
                  </a:lnTo>
                  <a:lnTo>
                    <a:pt x="198" y="234"/>
                  </a:lnTo>
                  <a:lnTo>
                    <a:pt x="204" y="240"/>
                  </a:lnTo>
                  <a:lnTo>
                    <a:pt x="210" y="240"/>
                  </a:lnTo>
                  <a:lnTo>
                    <a:pt x="216" y="240"/>
                  </a:lnTo>
                  <a:lnTo>
                    <a:pt x="222" y="240"/>
                  </a:lnTo>
                  <a:lnTo>
                    <a:pt x="228" y="246"/>
                  </a:lnTo>
                  <a:lnTo>
                    <a:pt x="234" y="246"/>
                  </a:lnTo>
                  <a:lnTo>
                    <a:pt x="240" y="246"/>
                  </a:lnTo>
                  <a:lnTo>
                    <a:pt x="252" y="252"/>
                  </a:lnTo>
                  <a:lnTo>
                    <a:pt x="330" y="246"/>
                  </a:lnTo>
                  <a:lnTo>
                    <a:pt x="360" y="228"/>
                  </a:lnTo>
                  <a:lnTo>
                    <a:pt x="396" y="228"/>
                  </a:lnTo>
                  <a:lnTo>
                    <a:pt x="402" y="240"/>
                  </a:lnTo>
                  <a:lnTo>
                    <a:pt x="432" y="240"/>
                  </a:lnTo>
                  <a:lnTo>
                    <a:pt x="450" y="258"/>
                  </a:lnTo>
                  <a:lnTo>
                    <a:pt x="468" y="258"/>
                  </a:lnTo>
                  <a:lnTo>
                    <a:pt x="474" y="294"/>
                  </a:lnTo>
                  <a:lnTo>
                    <a:pt x="558" y="318"/>
                  </a:lnTo>
                  <a:lnTo>
                    <a:pt x="588" y="318"/>
                  </a:lnTo>
                  <a:lnTo>
                    <a:pt x="588" y="312"/>
                  </a:lnTo>
                  <a:lnTo>
                    <a:pt x="594" y="306"/>
                  </a:lnTo>
                  <a:lnTo>
                    <a:pt x="600" y="306"/>
                  </a:lnTo>
                  <a:lnTo>
                    <a:pt x="612" y="300"/>
                  </a:lnTo>
                  <a:lnTo>
                    <a:pt x="618" y="300"/>
                  </a:lnTo>
                  <a:lnTo>
                    <a:pt x="630" y="300"/>
                  </a:lnTo>
                  <a:lnTo>
                    <a:pt x="642" y="306"/>
                  </a:lnTo>
                  <a:lnTo>
                    <a:pt x="660" y="306"/>
                  </a:lnTo>
                  <a:lnTo>
                    <a:pt x="666" y="306"/>
                  </a:lnTo>
                  <a:lnTo>
                    <a:pt x="672" y="306"/>
                  </a:lnTo>
                  <a:lnTo>
                    <a:pt x="684" y="300"/>
                  </a:lnTo>
                  <a:lnTo>
                    <a:pt x="696" y="294"/>
                  </a:lnTo>
                  <a:lnTo>
                    <a:pt x="702" y="288"/>
                  </a:lnTo>
                  <a:lnTo>
                    <a:pt x="714" y="282"/>
                  </a:lnTo>
                  <a:lnTo>
                    <a:pt x="714" y="288"/>
                  </a:lnTo>
                  <a:lnTo>
                    <a:pt x="726" y="300"/>
                  </a:lnTo>
                  <a:lnTo>
                    <a:pt x="732" y="306"/>
                  </a:lnTo>
                  <a:lnTo>
                    <a:pt x="732" y="318"/>
                  </a:lnTo>
                  <a:lnTo>
                    <a:pt x="732" y="330"/>
                  </a:lnTo>
                  <a:lnTo>
                    <a:pt x="726" y="342"/>
                  </a:lnTo>
                  <a:lnTo>
                    <a:pt x="720" y="354"/>
                  </a:lnTo>
                  <a:lnTo>
                    <a:pt x="720" y="360"/>
                  </a:lnTo>
                  <a:lnTo>
                    <a:pt x="714" y="372"/>
                  </a:lnTo>
                  <a:lnTo>
                    <a:pt x="714" y="378"/>
                  </a:lnTo>
                  <a:lnTo>
                    <a:pt x="714" y="408"/>
                  </a:lnTo>
                  <a:lnTo>
                    <a:pt x="708" y="420"/>
                  </a:lnTo>
                  <a:lnTo>
                    <a:pt x="714" y="432"/>
                  </a:lnTo>
                  <a:lnTo>
                    <a:pt x="708" y="450"/>
                  </a:lnTo>
                  <a:lnTo>
                    <a:pt x="708" y="468"/>
                  </a:lnTo>
                  <a:lnTo>
                    <a:pt x="696" y="480"/>
                  </a:lnTo>
                  <a:lnTo>
                    <a:pt x="684" y="486"/>
                  </a:lnTo>
                  <a:lnTo>
                    <a:pt x="672" y="492"/>
                  </a:lnTo>
                  <a:lnTo>
                    <a:pt x="660" y="498"/>
                  </a:lnTo>
                  <a:lnTo>
                    <a:pt x="654" y="510"/>
                  </a:lnTo>
                  <a:lnTo>
                    <a:pt x="648" y="516"/>
                  </a:lnTo>
                  <a:lnTo>
                    <a:pt x="642" y="522"/>
                  </a:lnTo>
                  <a:lnTo>
                    <a:pt x="630" y="522"/>
                  </a:lnTo>
                  <a:lnTo>
                    <a:pt x="624" y="528"/>
                  </a:lnTo>
                  <a:lnTo>
                    <a:pt x="618" y="540"/>
                  </a:lnTo>
                  <a:lnTo>
                    <a:pt x="618" y="558"/>
                  </a:lnTo>
                  <a:lnTo>
                    <a:pt x="612" y="576"/>
                  </a:lnTo>
                  <a:lnTo>
                    <a:pt x="612" y="684"/>
                  </a:lnTo>
                  <a:lnTo>
                    <a:pt x="618" y="696"/>
                  </a:lnTo>
                  <a:lnTo>
                    <a:pt x="636" y="696"/>
                  </a:lnTo>
                  <a:lnTo>
                    <a:pt x="636" y="720"/>
                  </a:lnTo>
                  <a:lnTo>
                    <a:pt x="636" y="732"/>
                  </a:lnTo>
                  <a:lnTo>
                    <a:pt x="618" y="750"/>
                  </a:lnTo>
                  <a:lnTo>
                    <a:pt x="606" y="762"/>
                  </a:lnTo>
                  <a:lnTo>
                    <a:pt x="600" y="774"/>
                  </a:lnTo>
                  <a:lnTo>
                    <a:pt x="594" y="798"/>
                  </a:lnTo>
                  <a:lnTo>
                    <a:pt x="606" y="798"/>
                  </a:lnTo>
                  <a:lnTo>
                    <a:pt x="660" y="792"/>
                  </a:lnTo>
                  <a:lnTo>
                    <a:pt x="696" y="798"/>
                  </a:lnTo>
                  <a:lnTo>
                    <a:pt x="720" y="798"/>
                  </a:lnTo>
                  <a:lnTo>
                    <a:pt x="720" y="786"/>
                  </a:lnTo>
                  <a:lnTo>
                    <a:pt x="720" y="774"/>
                  </a:lnTo>
                  <a:lnTo>
                    <a:pt x="702" y="762"/>
                  </a:lnTo>
                  <a:lnTo>
                    <a:pt x="702" y="750"/>
                  </a:lnTo>
                  <a:lnTo>
                    <a:pt x="702" y="726"/>
                  </a:lnTo>
                  <a:lnTo>
                    <a:pt x="714" y="714"/>
                  </a:lnTo>
                  <a:lnTo>
                    <a:pt x="720" y="702"/>
                  </a:lnTo>
                  <a:lnTo>
                    <a:pt x="720" y="696"/>
                  </a:lnTo>
                  <a:lnTo>
                    <a:pt x="744" y="690"/>
                  </a:lnTo>
                  <a:lnTo>
                    <a:pt x="744" y="696"/>
                  </a:lnTo>
                  <a:lnTo>
                    <a:pt x="756" y="696"/>
                  </a:lnTo>
                  <a:lnTo>
                    <a:pt x="762" y="690"/>
                  </a:lnTo>
                  <a:lnTo>
                    <a:pt x="768" y="690"/>
                  </a:lnTo>
                  <a:lnTo>
                    <a:pt x="774" y="696"/>
                  </a:lnTo>
                  <a:lnTo>
                    <a:pt x="780" y="696"/>
                  </a:lnTo>
                  <a:lnTo>
                    <a:pt x="786" y="696"/>
                  </a:lnTo>
                  <a:lnTo>
                    <a:pt x="804" y="684"/>
                  </a:lnTo>
                  <a:lnTo>
                    <a:pt x="810" y="684"/>
                  </a:lnTo>
                  <a:lnTo>
                    <a:pt x="810" y="654"/>
                  </a:lnTo>
                  <a:lnTo>
                    <a:pt x="816" y="588"/>
                  </a:lnTo>
                  <a:lnTo>
                    <a:pt x="804" y="582"/>
                  </a:lnTo>
                  <a:lnTo>
                    <a:pt x="798" y="552"/>
                  </a:lnTo>
                  <a:lnTo>
                    <a:pt x="798" y="480"/>
                  </a:lnTo>
                  <a:lnTo>
                    <a:pt x="780" y="468"/>
                  </a:lnTo>
                  <a:lnTo>
                    <a:pt x="780" y="462"/>
                  </a:lnTo>
                  <a:lnTo>
                    <a:pt x="774" y="450"/>
                  </a:lnTo>
                  <a:lnTo>
                    <a:pt x="762" y="444"/>
                  </a:lnTo>
                  <a:lnTo>
                    <a:pt x="762" y="438"/>
                  </a:lnTo>
                  <a:lnTo>
                    <a:pt x="768" y="432"/>
                  </a:lnTo>
                  <a:lnTo>
                    <a:pt x="774" y="426"/>
                  </a:lnTo>
                  <a:lnTo>
                    <a:pt x="780" y="426"/>
                  </a:lnTo>
                  <a:lnTo>
                    <a:pt x="780" y="414"/>
                  </a:lnTo>
                  <a:lnTo>
                    <a:pt x="834" y="414"/>
                  </a:lnTo>
                  <a:lnTo>
                    <a:pt x="834" y="426"/>
                  </a:lnTo>
                  <a:lnTo>
                    <a:pt x="840" y="432"/>
                  </a:lnTo>
                  <a:lnTo>
                    <a:pt x="846" y="432"/>
                  </a:lnTo>
                  <a:lnTo>
                    <a:pt x="852" y="432"/>
                  </a:lnTo>
                  <a:lnTo>
                    <a:pt x="858" y="432"/>
                  </a:lnTo>
                  <a:lnTo>
                    <a:pt x="870" y="432"/>
                  </a:lnTo>
                  <a:lnTo>
                    <a:pt x="870" y="426"/>
                  </a:lnTo>
                  <a:lnTo>
                    <a:pt x="870" y="420"/>
                  </a:lnTo>
                  <a:lnTo>
                    <a:pt x="876" y="420"/>
                  </a:lnTo>
                  <a:lnTo>
                    <a:pt x="882" y="420"/>
                  </a:lnTo>
                  <a:lnTo>
                    <a:pt x="894" y="414"/>
                  </a:lnTo>
                  <a:lnTo>
                    <a:pt x="900" y="414"/>
                  </a:lnTo>
                  <a:lnTo>
                    <a:pt x="906" y="408"/>
                  </a:lnTo>
                  <a:lnTo>
                    <a:pt x="918" y="408"/>
                  </a:lnTo>
                  <a:lnTo>
                    <a:pt x="924" y="402"/>
                  </a:lnTo>
                  <a:lnTo>
                    <a:pt x="930" y="384"/>
                  </a:lnTo>
                  <a:lnTo>
                    <a:pt x="948" y="396"/>
                  </a:lnTo>
                  <a:lnTo>
                    <a:pt x="954" y="384"/>
                  </a:lnTo>
                  <a:lnTo>
                    <a:pt x="960" y="384"/>
                  </a:lnTo>
                  <a:lnTo>
                    <a:pt x="972" y="384"/>
                  </a:lnTo>
                  <a:lnTo>
                    <a:pt x="978" y="378"/>
                  </a:lnTo>
                  <a:lnTo>
                    <a:pt x="972" y="366"/>
                  </a:lnTo>
                  <a:lnTo>
                    <a:pt x="966" y="342"/>
                  </a:lnTo>
                  <a:lnTo>
                    <a:pt x="960" y="330"/>
                  </a:lnTo>
                  <a:lnTo>
                    <a:pt x="942" y="324"/>
                  </a:lnTo>
                  <a:lnTo>
                    <a:pt x="936" y="318"/>
                  </a:lnTo>
                  <a:lnTo>
                    <a:pt x="936" y="294"/>
                  </a:lnTo>
                  <a:lnTo>
                    <a:pt x="942" y="294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282"/>
                  </a:lnTo>
                  <a:lnTo>
                    <a:pt x="954" y="276"/>
                  </a:lnTo>
                  <a:lnTo>
                    <a:pt x="960" y="276"/>
                  </a:lnTo>
                  <a:lnTo>
                    <a:pt x="966" y="276"/>
                  </a:lnTo>
                  <a:lnTo>
                    <a:pt x="960" y="258"/>
                  </a:lnTo>
                  <a:lnTo>
                    <a:pt x="954" y="240"/>
                  </a:lnTo>
                  <a:lnTo>
                    <a:pt x="948" y="204"/>
                  </a:lnTo>
                  <a:lnTo>
                    <a:pt x="954" y="204"/>
                  </a:lnTo>
                  <a:lnTo>
                    <a:pt x="960" y="198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00" y="186"/>
                  </a:lnTo>
                  <a:lnTo>
                    <a:pt x="876" y="180"/>
                  </a:lnTo>
                  <a:lnTo>
                    <a:pt x="858" y="180"/>
                  </a:lnTo>
                  <a:lnTo>
                    <a:pt x="852" y="168"/>
                  </a:lnTo>
                  <a:lnTo>
                    <a:pt x="834" y="156"/>
                  </a:lnTo>
                  <a:lnTo>
                    <a:pt x="822" y="156"/>
                  </a:lnTo>
                  <a:lnTo>
                    <a:pt x="804" y="156"/>
                  </a:lnTo>
                  <a:lnTo>
                    <a:pt x="804" y="150"/>
                  </a:lnTo>
                  <a:lnTo>
                    <a:pt x="792" y="144"/>
                  </a:lnTo>
                  <a:lnTo>
                    <a:pt x="762" y="138"/>
                  </a:lnTo>
                  <a:lnTo>
                    <a:pt x="768" y="120"/>
                  </a:lnTo>
                  <a:lnTo>
                    <a:pt x="756" y="120"/>
                  </a:lnTo>
                  <a:lnTo>
                    <a:pt x="744" y="108"/>
                  </a:lnTo>
                  <a:lnTo>
                    <a:pt x="744" y="96"/>
                  </a:lnTo>
                  <a:lnTo>
                    <a:pt x="762" y="84"/>
                  </a:lnTo>
                  <a:lnTo>
                    <a:pt x="768" y="84"/>
                  </a:lnTo>
                  <a:lnTo>
                    <a:pt x="768" y="72"/>
                  </a:lnTo>
                  <a:lnTo>
                    <a:pt x="780" y="66"/>
                  </a:lnTo>
                  <a:lnTo>
                    <a:pt x="798" y="54"/>
                  </a:lnTo>
                  <a:lnTo>
                    <a:pt x="792" y="54"/>
                  </a:lnTo>
                  <a:lnTo>
                    <a:pt x="798" y="36"/>
                  </a:lnTo>
                  <a:lnTo>
                    <a:pt x="804" y="36"/>
                  </a:lnTo>
                  <a:lnTo>
                    <a:pt x="816" y="30"/>
                  </a:lnTo>
                  <a:lnTo>
                    <a:pt x="828" y="30"/>
                  </a:lnTo>
                  <a:lnTo>
                    <a:pt x="846" y="12"/>
                  </a:lnTo>
                  <a:lnTo>
                    <a:pt x="876" y="0"/>
                  </a:lnTo>
                  <a:lnTo>
                    <a:pt x="882" y="6"/>
                  </a:lnTo>
                  <a:lnTo>
                    <a:pt x="900" y="6"/>
                  </a:lnTo>
                  <a:lnTo>
                    <a:pt x="912" y="36"/>
                  </a:lnTo>
                  <a:lnTo>
                    <a:pt x="918" y="42"/>
                  </a:lnTo>
                  <a:lnTo>
                    <a:pt x="924" y="54"/>
                  </a:lnTo>
                  <a:lnTo>
                    <a:pt x="930" y="54"/>
                  </a:lnTo>
                  <a:lnTo>
                    <a:pt x="930" y="78"/>
                  </a:lnTo>
                  <a:lnTo>
                    <a:pt x="954" y="72"/>
                  </a:lnTo>
                  <a:lnTo>
                    <a:pt x="954" y="60"/>
                  </a:lnTo>
                  <a:lnTo>
                    <a:pt x="966" y="66"/>
                  </a:lnTo>
                  <a:lnTo>
                    <a:pt x="966" y="78"/>
                  </a:lnTo>
                  <a:lnTo>
                    <a:pt x="960" y="84"/>
                  </a:lnTo>
                  <a:lnTo>
                    <a:pt x="954" y="102"/>
                  </a:lnTo>
                  <a:lnTo>
                    <a:pt x="972" y="102"/>
                  </a:lnTo>
                  <a:lnTo>
                    <a:pt x="978" y="84"/>
                  </a:lnTo>
                  <a:lnTo>
                    <a:pt x="984" y="72"/>
                  </a:lnTo>
                  <a:lnTo>
                    <a:pt x="990" y="72"/>
                  </a:lnTo>
                  <a:lnTo>
                    <a:pt x="996" y="18"/>
                  </a:lnTo>
                  <a:lnTo>
                    <a:pt x="990" y="12"/>
                  </a:lnTo>
                  <a:lnTo>
                    <a:pt x="1014" y="12"/>
                  </a:lnTo>
                  <a:lnTo>
                    <a:pt x="1026" y="12"/>
                  </a:lnTo>
                  <a:lnTo>
                    <a:pt x="1026" y="24"/>
                  </a:lnTo>
                  <a:lnTo>
                    <a:pt x="1050" y="24"/>
                  </a:lnTo>
                  <a:lnTo>
                    <a:pt x="1050" y="36"/>
                  </a:lnTo>
                  <a:lnTo>
                    <a:pt x="1062" y="66"/>
                  </a:lnTo>
                  <a:lnTo>
                    <a:pt x="1074" y="66"/>
                  </a:lnTo>
                  <a:lnTo>
                    <a:pt x="1080" y="60"/>
                  </a:lnTo>
                  <a:lnTo>
                    <a:pt x="1074" y="24"/>
                  </a:lnTo>
                  <a:lnTo>
                    <a:pt x="1086" y="18"/>
                  </a:lnTo>
                  <a:lnTo>
                    <a:pt x="1086" y="12"/>
                  </a:lnTo>
                  <a:lnTo>
                    <a:pt x="1104" y="6"/>
                  </a:lnTo>
                  <a:lnTo>
                    <a:pt x="1122" y="0"/>
                  </a:lnTo>
                  <a:lnTo>
                    <a:pt x="1134" y="6"/>
                  </a:lnTo>
                  <a:lnTo>
                    <a:pt x="1134" y="42"/>
                  </a:lnTo>
                  <a:lnTo>
                    <a:pt x="1140" y="72"/>
                  </a:lnTo>
                  <a:lnTo>
                    <a:pt x="1158" y="114"/>
                  </a:lnTo>
                  <a:lnTo>
                    <a:pt x="1170" y="114"/>
                  </a:lnTo>
                  <a:lnTo>
                    <a:pt x="1170" y="126"/>
                  </a:lnTo>
                  <a:lnTo>
                    <a:pt x="1182" y="126"/>
                  </a:lnTo>
                  <a:lnTo>
                    <a:pt x="1182" y="138"/>
                  </a:lnTo>
                  <a:lnTo>
                    <a:pt x="1194" y="144"/>
                  </a:lnTo>
                  <a:lnTo>
                    <a:pt x="1194" y="156"/>
                  </a:lnTo>
                  <a:lnTo>
                    <a:pt x="1188" y="156"/>
                  </a:lnTo>
                  <a:lnTo>
                    <a:pt x="1194" y="162"/>
                  </a:lnTo>
                  <a:lnTo>
                    <a:pt x="1194" y="168"/>
                  </a:lnTo>
                  <a:lnTo>
                    <a:pt x="1188" y="168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82" y="180"/>
                  </a:lnTo>
                  <a:lnTo>
                    <a:pt x="1188" y="186"/>
                  </a:lnTo>
                  <a:lnTo>
                    <a:pt x="1188" y="192"/>
                  </a:lnTo>
                  <a:lnTo>
                    <a:pt x="1182" y="198"/>
                  </a:lnTo>
                  <a:lnTo>
                    <a:pt x="1182" y="204"/>
                  </a:lnTo>
                  <a:lnTo>
                    <a:pt x="1182" y="210"/>
                  </a:lnTo>
                  <a:lnTo>
                    <a:pt x="1188" y="210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2"/>
                  </a:lnTo>
                  <a:lnTo>
                    <a:pt x="1194" y="264"/>
                  </a:lnTo>
                  <a:lnTo>
                    <a:pt x="1200" y="264"/>
                  </a:lnTo>
                  <a:lnTo>
                    <a:pt x="1212" y="264"/>
                  </a:lnTo>
                  <a:lnTo>
                    <a:pt x="1212" y="258"/>
                  </a:lnTo>
                  <a:lnTo>
                    <a:pt x="1224" y="258"/>
                  </a:lnTo>
                  <a:lnTo>
                    <a:pt x="1248" y="252"/>
                  </a:lnTo>
                  <a:lnTo>
                    <a:pt x="1248" y="264"/>
                  </a:lnTo>
                  <a:lnTo>
                    <a:pt x="1254" y="264"/>
                  </a:lnTo>
                  <a:lnTo>
                    <a:pt x="1254" y="270"/>
                  </a:lnTo>
                  <a:lnTo>
                    <a:pt x="1260" y="270"/>
                  </a:lnTo>
                  <a:lnTo>
                    <a:pt x="1266" y="270"/>
                  </a:lnTo>
                  <a:lnTo>
                    <a:pt x="1272" y="270"/>
                  </a:lnTo>
                  <a:lnTo>
                    <a:pt x="1272" y="264"/>
                  </a:lnTo>
                  <a:lnTo>
                    <a:pt x="1272" y="258"/>
                  </a:lnTo>
                  <a:lnTo>
                    <a:pt x="1278" y="258"/>
                  </a:lnTo>
                  <a:lnTo>
                    <a:pt x="1278" y="252"/>
                  </a:lnTo>
                  <a:lnTo>
                    <a:pt x="1290" y="252"/>
                  </a:lnTo>
                  <a:lnTo>
                    <a:pt x="1296" y="246"/>
                  </a:lnTo>
                  <a:lnTo>
                    <a:pt x="1308" y="246"/>
                  </a:lnTo>
                  <a:lnTo>
                    <a:pt x="1308" y="240"/>
                  </a:lnTo>
                  <a:lnTo>
                    <a:pt x="1320" y="240"/>
                  </a:lnTo>
                  <a:lnTo>
                    <a:pt x="1326" y="246"/>
                  </a:lnTo>
                  <a:lnTo>
                    <a:pt x="1338" y="246"/>
                  </a:lnTo>
                  <a:lnTo>
                    <a:pt x="1338" y="240"/>
                  </a:lnTo>
                  <a:lnTo>
                    <a:pt x="1350" y="240"/>
                  </a:lnTo>
                  <a:lnTo>
                    <a:pt x="1386" y="234"/>
                  </a:lnTo>
                  <a:lnTo>
                    <a:pt x="1398" y="228"/>
                  </a:lnTo>
                  <a:lnTo>
                    <a:pt x="1404" y="216"/>
                  </a:lnTo>
                  <a:lnTo>
                    <a:pt x="1416" y="204"/>
                  </a:lnTo>
                  <a:lnTo>
                    <a:pt x="1434" y="192"/>
                  </a:lnTo>
                  <a:lnTo>
                    <a:pt x="1446" y="198"/>
                  </a:lnTo>
                  <a:lnTo>
                    <a:pt x="1446" y="204"/>
                  </a:lnTo>
                  <a:lnTo>
                    <a:pt x="1452" y="210"/>
                  </a:lnTo>
                  <a:lnTo>
                    <a:pt x="1464" y="222"/>
                  </a:lnTo>
                  <a:lnTo>
                    <a:pt x="1464" y="228"/>
                  </a:lnTo>
                  <a:lnTo>
                    <a:pt x="1464" y="234"/>
                  </a:lnTo>
                  <a:lnTo>
                    <a:pt x="1470" y="240"/>
                  </a:lnTo>
                  <a:lnTo>
                    <a:pt x="1476" y="228"/>
                  </a:lnTo>
                  <a:lnTo>
                    <a:pt x="1476" y="222"/>
                  </a:lnTo>
                  <a:lnTo>
                    <a:pt x="1482" y="210"/>
                  </a:lnTo>
                  <a:lnTo>
                    <a:pt x="1488" y="192"/>
                  </a:lnTo>
                  <a:lnTo>
                    <a:pt x="1488" y="186"/>
                  </a:lnTo>
                  <a:lnTo>
                    <a:pt x="1488" y="180"/>
                  </a:lnTo>
                  <a:lnTo>
                    <a:pt x="1500" y="180"/>
                  </a:lnTo>
                  <a:lnTo>
                    <a:pt x="1500" y="174"/>
                  </a:lnTo>
                  <a:lnTo>
                    <a:pt x="1518" y="162"/>
                  </a:lnTo>
                  <a:lnTo>
                    <a:pt x="1536" y="150"/>
                  </a:lnTo>
                  <a:lnTo>
                    <a:pt x="1554" y="168"/>
                  </a:lnTo>
                  <a:lnTo>
                    <a:pt x="1572" y="180"/>
                  </a:lnTo>
                  <a:lnTo>
                    <a:pt x="1596" y="216"/>
                  </a:lnTo>
                  <a:lnTo>
                    <a:pt x="1602" y="216"/>
                  </a:lnTo>
                  <a:lnTo>
                    <a:pt x="1614" y="228"/>
                  </a:lnTo>
                  <a:lnTo>
                    <a:pt x="1614" y="234"/>
                  </a:lnTo>
                  <a:lnTo>
                    <a:pt x="1620" y="240"/>
                  </a:lnTo>
                  <a:lnTo>
                    <a:pt x="1620" y="246"/>
                  </a:lnTo>
                  <a:lnTo>
                    <a:pt x="1626" y="252"/>
                  </a:lnTo>
                  <a:lnTo>
                    <a:pt x="1632" y="258"/>
                  </a:lnTo>
                  <a:lnTo>
                    <a:pt x="1632" y="264"/>
                  </a:lnTo>
                  <a:lnTo>
                    <a:pt x="1638" y="264"/>
                  </a:lnTo>
                  <a:lnTo>
                    <a:pt x="1638" y="270"/>
                  </a:lnTo>
                  <a:lnTo>
                    <a:pt x="1638" y="276"/>
                  </a:lnTo>
                  <a:lnTo>
                    <a:pt x="1638" y="282"/>
                  </a:lnTo>
                  <a:lnTo>
                    <a:pt x="1644" y="288"/>
                  </a:lnTo>
                  <a:lnTo>
                    <a:pt x="1644" y="294"/>
                  </a:lnTo>
                  <a:lnTo>
                    <a:pt x="1644" y="300"/>
                  </a:lnTo>
                  <a:lnTo>
                    <a:pt x="1644" y="306"/>
                  </a:lnTo>
                  <a:lnTo>
                    <a:pt x="1650" y="306"/>
                  </a:lnTo>
                  <a:lnTo>
                    <a:pt x="1650" y="312"/>
                  </a:lnTo>
                  <a:lnTo>
                    <a:pt x="1650" y="318"/>
                  </a:lnTo>
                  <a:lnTo>
                    <a:pt x="1650" y="324"/>
                  </a:lnTo>
                  <a:lnTo>
                    <a:pt x="1644" y="330"/>
                  </a:lnTo>
                  <a:lnTo>
                    <a:pt x="1626" y="330"/>
                  </a:lnTo>
                  <a:lnTo>
                    <a:pt x="1626" y="336"/>
                  </a:lnTo>
                  <a:lnTo>
                    <a:pt x="1626" y="342"/>
                  </a:lnTo>
                  <a:lnTo>
                    <a:pt x="1626" y="348"/>
                  </a:lnTo>
                  <a:lnTo>
                    <a:pt x="1620" y="354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14" y="390"/>
                  </a:lnTo>
                  <a:lnTo>
                    <a:pt x="1614" y="396"/>
                  </a:lnTo>
                  <a:lnTo>
                    <a:pt x="1614" y="402"/>
                  </a:lnTo>
                  <a:lnTo>
                    <a:pt x="1614" y="408"/>
                  </a:lnTo>
                  <a:lnTo>
                    <a:pt x="1614" y="414"/>
                  </a:lnTo>
                  <a:lnTo>
                    <a:pt x="1602" y="420"/>
                  </a:lnTo>
                  <a:lnTo>
                    <a:pt x="1602" y="426"/>
                  </a:lnTo>
                  <a:lnTo>
                    <a:pt x="1608" y="432"/>
                  </a:lnTo>
                  <a:lnTo>
                    <a:pt x="1614" y="426"/>
                  </a:lnTo>
                  <a:lnTo>
                    <a:pt x="1620" y="438"/>
                  </a:lnTo>
                  <a:lnTo>
                    <a:pt x="1626" y="438"/>
                  </a:lnTo>
                  <a:lnTo>
                    <a:pt x="1632" y="444"/>
                  </a:lnTo>
                  <a:lnTo>
                    <a:pt x="1626" y="456"/>
                  </a:lnTo>
                  <a:lnTo>
                    <a:pt x="1626" y="468"/>
                  </a:lnTo>
                  <a:lnTo>
                    <a:pt x="1620" y="474"/>
                  </a:lnTo>
                  <a:lnTo>
                    <a:pt x="1614" y="474"/>
                  </a:lnTo>
                  <a:lnTo>
                    <a:pt x="1614" y="486"/>
                  </a:lnTo>
                  <a:lnTo>
                    <a:pt x="1614" y="492"/>
                  </a:lnTo>
                  <a:lnTo>
                    <a:pt x="1620" y="492"/>
                  </a:lnTo>
                  <a:lnTo>
                    <a:pt x="1626" y="498"/>
                  </a:lnTo>
                  <a:lnTo>
                    <a:pt x="1626" y="504"/>
                  </a:lnTo>
                  <a:lnTo>
                    <a:pt x="1626" y="510"/>
                  </a:lnTo>
                  <a:lnTo>
                    <a:pt x="1620" y="516"/>
                  </a:lnTo>
                  <a:lnTo>
                    <a:pt x="1620" y="522"/>
                  </a:lnTo>
                  <a:lnTo>
                    <a:pt x="1614" y="522"/>
                  </a:lnTo>
                  <a:lnTo>
                    <a:pt x="1608" y="528"/>
                  </a:lnTo>
                  <a:lnTo>
                    <a:pt x="1602" y="522"/>
                  </a:lnTo>
                  <a:lnTo>
                    <a:pt x="1602" y="528"/>
                  </a:lnTo>
                  <a:lnTo>
                    <a:pt x="1602" y="540"/>
                  </a:lnTo>
                  <a:lnTo>
                    <a:pt x="1602" y="558"/>
                  </a:lnTo>
                  <a:lnTo>
                    <a:pt x="1602" y="564"/>
                  </a:lnTo>
                  <a:lnTo>
                    <a:pt x="1602" y="570"/>
                  </a:lnTo>
                  <a:lnTo>
                    <a:pt x="1602" y="576"/>
                  </a:lnTo>
                  <a:lnTo>
                    <a:pt x="1596" y="576"/>
                  </a:lnTo>
                  <a:lnTo>
                    <a:pt x="1632" y="582"/>
                  </a:lnTo>
                  <a:lnTo>
                    <a:pt x="1644" y="618"/>
                  </a:lnTo>
                  <a:lnTo>
                    <a:pt x="1650" y="648"/>
                  </a:lnTo>
                  <a:lnTo>
                    <a:pt x="1662" y="636"/>
                  </a:lnTo>
                  <a:lnTo>
                    <a:pt x="1668" y="636"/>
                  </a:lnTo>
                  <a:lnTo>
                    <a:pt x="1674" y="636"/>
                  </a:lnTo>
                  <a:lnTo>
                    <a:pt x="1680" y="630"/>
                  </a:lnTo>
                  <a:lnTo>
                    <a:pt x="1686" y="630"/>
                  </a:lnTo>
                  <a:lnTo>
                    <a:pt x="1692" y="630"/>
                  </a:lnTo>
                  <a:lnTo>
                    <a:pt x="1698" y="630"/>
                  </a:lnTo>
                  <a:lnTo>
                    <a:pt x="1704" y="630"/>
                  </a:lnTo>
                  <a:lnTo>
                    <a:pt x="1704" y="624"/>
                  </a:lnTo>
                  <a:lnTo>
                    <a:pt x="1710" y="624"/>
                  </a:lnTo>
                  <a:lnTo>
                    <a:pt x="1716" y="624"/>
                  </a:lnTo>
                  <a:lnTo>
                    <a:pt x="1722" y="624"/>
                  </a:lnTo>
                  <a:lnTo>
                    <a:pt x="1728" y="624"/>
                  </a:lnTo>
                  <a:lnTo>
                    <a:pt x="1722" y="618"/>
                  </a:lnTo>
                  <a:lnTo>
                    <a:pt x="1728" y="606"/>
                  </a:lnTo>
                  <a:lnTo>
                    <a:pt x="1734" y="606"/>
                  </a:lnTo>
                  <a:lnTo>
                    <a:pt x="1740" y="600"/>
                  </a:lnTo>
                  <a:lnTo>
                    <a:pt x="1746" y="594"/>
                  </a:lnTo>
                  <a:lnTo>
                    <a:pt x="1752" y="588"/>
                  </a:lnTo>
                  <a:lnTo>
                    <a:pt x="1752" y="582"/>
                  </a:lnTo>
                  <a:lnTo>
                    <a:pt x="1758" y="576"/>
                  </a:lnTo>
                  <a:lnTo>
                    <a:pt x="1764" y="576"/>
                  </a:lnTo>
                  <a:lnTo>
                    <a:pt x="1770" y="570"/>
                  </a:lnTo>
                  <a:lnTo>
                    <a:pt x="1776" y="564"/>
                  </a:lnTo>
                  <a:lnTo>
                    <a:pt x="1788" y="558"/>
                  </a:lnTo>
                  <a:lnTo>
                    <a:pt x="1788" y="546"/>
                  </a:lnTo>
                  <a:lnTo>
                    <a:pt x="1788" y="540"/>
                  </a:lnTo>
                  <a:lnTo>
                    <a:pt x="1794" y="540"/>
                  </a:lnTo>
                  <a:lnTo>
                    <a:pt x="1788" y="534"/>
                  </a:lnTo>
                  <a:lnTo>
                    <a:pt x="1788" y="528"/>
                  </a:lnTo>
                  <a:lnTo>
                    <a:pt x="1794" y="516"/>
                  </a:lnTo>
                  <a:lnTo>
                    <a:pt x="1800" y="510"/>
                  </a:lnTo>
                  <a:lnTo>
                    <a:pt x="1812" y="510"/>
                  </a:lnTo>
                  <a:lnTo>
                    <a:pt x="1818" y="504"/>
                  </a:lnTo>
                  <a:lnTo>
                    <a:pt x="1824" y="504"/>
                  </a:lnTo>
                  <a:lnTo>
                    <a:pt x="1830" y="498"/>
                  </a:lnTo>
                  <a:lnTo>
                    <a:pt x="1836" y="498"/>
                  </a:lnTo>
                  <a:lnTo>
                    <a:pt x="1848" y="492"/>
                  </a:lnTo>
                  <a:lnTo>
                    <a:pt x="1848" y="480"/>
                  </a:lnTo>
                  <a:lnTo>
                    <a:pt x="1854" y="480"/>
                  </a:lnTo>
                  <a:lnTo>
                    <a:pt x="1890" y="504"/>
                  </a:lnTo>
                  <a:lnTo>
                    <a:pt x="1908" y="534"/>
                  </a:lnTo>
                  <a:lnTo>
                    <a:pt x="1902" y="534"/>
                  </a:lnTo>
                  <a:lnTo>
                    <a:pt x="1920" y="528"/>
                  </a:lnTo>
                  <a:lnTo>
                    <a:pt x="1920" y="516"/>
                  </a:lnTo>
                  <a:lnTo>
                    <a:pt x="1944" y="516"/>
                  </a:lnTo>
                  <a:lnTo>
                    <a:pt x="2004" y="516"/>
                  </a:lnTo>
                  <a:lnTo>
                    <a:pt x="2010" y="510"/>
                  </a:lnTo>
                  <a:lnTo>
                    <a:pt x="2004" y="510"/>
                  </a:lnTo>
                  <a:lnTo>
                    <a:pt x="2010" y="498"/>
                  </a:lnTo>
                  <a:lnTo>
                    <a:pt x="2004" y="486"/>
                  </a:lnTo>
                  <a:lnTo>
                    <a:pt x="2004" y="480"/>
                  </a:lnTo>
                  <a:lnTo>
                    <a:pt x="2004" y="474"/>
                  </a:lnTo>
                  <a:lnTo>
                    <a:pt x="2004" y="462"/>
                  </a:lnTo>
                  <a:lnTo>
                    <a:pt x="2004" y="456"/>
                  </a:lnTo>
                  <a:lnTo>
                    <a:pt x="2058" y="462"/>
                  </a:lnTo>
                  <a:lnTo>
                    <a:pt x="2076" y="474"/>
                  </a:lnTo>
                  <a:lnTo>
                    <a:pt x="2082" y="522"/>
                  </a:lnTo>
                  <a:lnTo>
                    <a:pt x="2088" y="516"/>
                  </a:lnTo>
                  <a:lnTo>
                    <a:pt x="2094" y="522"/>
                  </a:lnTo>
                  <a:lnTo>
                    <a:pt x="2100" y="528"/>
                  </a:lnTo>
                  <a:lnTo>
                    <a:pt x="2130" y="540"/>
                  </a:lnTo>
                  <a:lnTo>
                    <a:pt x="2160" y="564"/>
                  </a:lnTo>
                  <a:lnTo>
                    <a:pt x="2166" y="600"/>
                  </a:lnTo>
                  <a:lnTo>
                    <a:pt x="2160" y="618"/>
                  </a:lnTo>
                  <a:lnTo>
                    <a:pt x="2142" y="636"/>
                  </a:lnTo>
                  <a:lnTo>
                    <a:pt x="2148" y="648"/>
                  </a:lnTo>
                  <a:lnTo>
                    <a:pt x="2154" y="660"/>
                  </a:lnTo>
                  <a:lnTo>
                    <a:pt x="2196" y="654"/>
                  </a:lnTo>
                  <a:lnTo>
                    <a:pt x="2214" y="660"/>
                  </a:lnTo>
                  <a:lnTo>
                    <a:pt x="2214" y="666"/>
                  </a:lnTo>
                  <a:lnTo>
                    <a:pt x="2220" y="672"/>
                  </a:lnTo>
                  <a:lnTo>
                    <a:pt x="2214" y="678"/>
                  </a:lnTo>
                  <a:lnTo>
                    <a:pt x="2214" y="684"/>
                  </a:lnTo>
                  <a:lnTo>
                    <a:pt x="2214" y="690"/>
                  </a:lnTo>
                  <a:lnTo>
                    <a:pt x="2208" y="690"/>
                  </a:lnTo>
                  <a:lnTo>
                    <a:pt x="2202" y="696"/>
                  </a:lnTo>
                  <a:lnTo>
                    <a:pt x="2196" y="702"/>
                  </a:lnTo>
                  <a:lnTo>
                    <a:pt x="2190" y="708"/>
                  </a:lnTo>
                  <a:lnTo>
                    <a:pt x="2190" y="720"/>
                  </a:lnTo>
                  <a:lnTo>
                    <a:pt x="2184" y="720"/>
                  </a:lnTo>
                  <a:lnTo>
                    <a:pt x="2178" y="726"/>
                  </a:lnTo>
                  <a:lnTo>
                    <a:pt x="2166" y="732"/>
                  </a:lnTo>
                  <a:lnTo>
                    <a:pt x="2160" y="744"/>
                  </a:lnTo>
                  <a:lnTo>
                    <a:pt x="2154" y="756"/>
                  </a:lnTo>
                  <a:lnTo>
                    <a:pt x="2148" y="762"/>
                  </a:lnTo>
                  <a:lnTo>
                    <a:pt x="2124" y="762"/>
                  </a:lnTo>
                  <a:lnTo>
                    <a:pt x="2124" y="768"/>
                  </a:lnTo>
                  <a:lnTo>
                    <a:pt x="2118" y="768"/>
                  </a:lnTo>
                  <a:lnTo>
                    <a:pt x="2124" y="774"/>
                  </a:lnTo>
                  <a:lnTo>
                    <a:pt x="2118" y="774"/>
                  </a:lnTo>
                  <a:lnTo>
                    <a:pt x="2112" y="774"/>
                  </a:lnTo>
                  <a:lnTo>
                    <a:pt x="2106" y="780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06" y="798"/>
                  </a:lnTo>
                  <a:lnTo>
                    <a:pt x="2106" y="810"/>
                  </a:lnTo>
                  <a:lnTo>
                    <a:pt x="2112" y="828"/>
                  </a:lnTo>
                  <a:lnTo>
                    <a:pt x="2112" y="834"/>
                  </a:lnTo>
                  <a:lnTo>
                    <a:pt x="2112" y="840"/>
                  </a:lnTo>
                  <a:lnTo>
                    <a:pt x="2112" y="834"/>
                  </a:lnTo>
                  <a:lnTo>
                    <a:pt x="2124" y="834"/>
                  </a:lnTo>
                  <a:lnTo>
                    <a:pt x="2130" y="834"/>
                  </a:lnTo>
                  <a:lnTo>
                    <a:pt x="2136" y="840"/>
                  </a:lnTo>
                  <a:lnTo>
                    <a:pt x="2142" y="840"/>
                  </a:lnTo>
                  <a:lnTo>
                    <a:pt x="2154" y="852"/>
                  </a:lnTo>
                  <a:lnTo>
                    <a:pt x="2160" y="852"/>
                  </a:lnTo>
                  <a:lnTo>
                    <a:pt x="2172" y="846"/>
                  </a:lnTo>
                  <a:lnTo>
                    <a:pt x="2178" y="846"/>
                  </a:lnTo>
                  <a:lnTo>
                    <a:pt x="2184" y="846"/>
                  </a:lnTo>
                  <a:lnTo>
                    <a:pt x="2190" y="846"/>
                  </a:lnTo>
                  <a:lnTo>
                    <a:pt x="2196" y="852"/>
                  </a:lnTo>
                  <a:lnTo>
                    <a:pt x="2196" y="858"/>
                  </a:lnTo>
                  <a:lnTo>
                    <a:pt x="2202" y="852"/>
                  </a:lnTo>
                  <a:lnTo>
                    <a:pt x="2208" y="846"/>
                  </a:lnTo>
                  <a:lnTo>
                    <a:pt x="2214" y="846"/>
                  </a:lnTo>
                  <a:lnTo>
                    <a:pt x="2226" y="846"/>
                  </a:lnTo>
                  <a:lnTo>
                    <a:pt x="2232" y="852"/>
                  </a:lnTo>
                  <a:lnTo>
                    <a:pt x="2238" y="852"/>
                  </a:lnTo>
                  <a:lnTo>
                    <a:pt x="2244" y="858"/>
                  </a:lnTo>
                  <a:lnTo>
                    <a:pt x="2250" y="858"/>
                  </a:lnTo>
                  <a:lnTo>
                    <a:pt x="2256" y="858"/>
                  </a:lnTo>
                  <a:lnTo>
                    <a:pt x="2262" y="858"/>
                  </a:lnTo>
                  <a:lnTo>
                    <a:pt x="2268" y="852"/>
                  </a:lnTo>
                  <a:lnTo>
                    <a:pt x="2274" y="852"/>
                  </a:lnTo>
                  <a:lnTo>
                    <a:pt x="2280" y="852"/>
                  </a:lnTo>
                  <a:lnTo>
                    <a:pt x="2286" y="852"/>
                  </a:lnTo>
                  <a:lnTo>
                    <a:pt x="2298" y="858"/>
                  </a:lnTo>
                  <a:lnTo>
                    <a:pt x="2304" y="858"/>
                  </a:lnTo>
                  <a:lnTo>
                    <a:pt x="2310" y="858"/>
                  </a:lnTo>
                  <a:lnTo>
                    <a:pt x="2316" y="852"/>
                  </a:lnTo>
                  <a:lnTo>
                    <a:pt x="2322" y="858"/>
                  </a:lnTo>
                  <a:lnTo>
                    <a:pt x="2328" y="858"/>
                  </a:lnTo>
                  <a:lnTo>
                    <a:pt x="2328" y="852"/>
                  </a:lnTo>
                  <a:lnTo>
                    <a:pt x="2364" y="858"/>
                  </a:lnTo>
                  <a:lnTo>
                    <a:pt x="2376" y="876"/>
                  </a:lnTo>
                  <a:lnTo>
                    <a:pt x="2382" y="936"/>
                  </a:lnTo>
                  <a:lnTo>
                    <a:pt x="2388" y="966"/>
                  </a:lnTo>
                  <a:lnTo>
                    <a:pt x="2382" y="972"/>
                  </a:lnTo>
                  <a:lnTo>
                    <a:pt x="2382" y="978"/>
                  </a:lnTo>
                  <a:lnTo>
                    <a:pt x="2382" y="984"/>
                  </a:lnTo>
                  <a:lnTo>
                    <a:pt x="2388" y="990"/>
                  </a:lnTo>
                  <a:lnTo>
                    <a:pt x="2382" y="990"/>
                  </a:lnTo>
                  <a:lnTo>
                    <a:pt x="2382" y="996"/>
                  </a:lnTo>
                  <a:lnTo>
                    <a:pt x="2376" y="996"/>
                  </a:lnTo>
                  <a:lnTo>
                    <a:pt x="2376" y="1020"/>
                  </a:lnTo>
                  <a:lnTo>
                    <a:pt x="2370" y="1032"/>
                  </a:lnTo>
                  <a:lnTo>
                    <a:pt x="2352" y="1032"/>
                  </a:lnTo>
                  <a:lnTo>
                    <a:pt x="2346" y="1020"/>
                  </a:lnTo>
                  <a:lnTo>
                    <a:pt x="2328" y="1032"/>
                  </a:lnTo>
                  <a:lnTo>
                    <a:pt x="2316" y="1038"/>
                  </a:lnTo>
                  <a:lnTo>
                    <a:pt x="2328" y="1044"/>
                  </a:lnTo>
                  <a:lnTo>
                    <a:pt x="2340" y="1056"/>
                  </a:lnTo>
                  <a:lnTo>
                    <a:pt x="2376" y="1062"/>
                  </a:lnTo>
                  <a:lnTo>
                    <a:pt x="2376" y="1068"/>
                  </a:lnTo>
                  <a:lnTo>
                    <a:pt x="2382" y="1086"/>
                  </a:lnTo>
                  <a:lnTo>
                    <a:pt x="2376" y="1086"/>
                  </a:lnTo>
                  <a:lnTo>
                    <a:pt x="2370" y="1086"/>
                  </a:lnTo>
                  <a:lnTo>
                    <a:pt x="2364" y="1086"/>
                  </a:lnTo>
                  <a:lnTo>
                    <a:pt x="2364" y="1098"/>
                  </a:lnTo>
                  <a:lnTo>
                    <a:pt x="2388" y="1104"/>
                  </a:lnTo>
                  <a:lnTo>
                    <a:pt x="2400" y="1122"/>
                  </a:lnTo>
                  <a:lnTo>
                    <a:pt x="2400" y="1134"/>
                  </a:lnTo>
                  <a:lnTo>
                    <a:pt x="2400" y="1146"/>
                  </a:lnTo>
                  <a:lnTo>
                    <a:pt x="2394" y="1146"/>
                  </a:lnTo>
                  <a:lnTo>
                    <a:pt x="2394" y="1152"/>
                  </a:lnTo>
                  <a:lnTo>
                    <a:pt x="2388" y="1152"/>
                  </a:lnTo>
                  <a:lnTo>
                    <a:pt x="2388" y="1146"/>
                  </a:lnTo>
                  <a:lnTo>
                    <a:pt x="2382" y="1152"/>
                  </a:lnTo>
                  <a:lnTo>
                    <a:pt x="2376" y="1152"/>
                  </a:lnTo>
                  <a:lnTo>
                    <a:pt x="2370" y="1158"/>
                  </a:lnTo>
                  <a:lnTo>
                    <a:pt x="2370" y="1164"/>
                  </a:lnTo>
                  <a:lnTo>
                    <a:pt x="2364" y="1170"/>
                  </a:lnTo>
                  <a:lnTo>
                    <a:pt x="2370" y="1170"/>
                  </a:lnTo>
                  <a:lnTo>
                    <a:pt x="2376" y="1170"/>
                  </a:lnTo>
                  <a:lnTo>
                    <a:pt x="2370" y="1176"/>
                  </a:lnTo>
                  <a:lnTo>
                    <a:pt x="2364" y="1176"/>
                  </a:lnTo>
                  <a:lnTo>
                    <a:pt x="2358" y="1182"/>
                  </a:lnTo>
                  <a:lnTo>
                    <a:pt x="2352" y="1182"/>
                  </a:lnTo>
                  <a:lnTo>
                    <a:pt x="2346" y="1188"/>
                  </a:lnTo>
                  <a:lnTo>
                    <a:pt x="2340" y="1182"/>
                  </a:lnTo>
                  <a:lnTo>
                    <a:pt x="2334" y="1182"/>
                  </a:lnTo>
                  <a:lnTo>
                    <a:pt x="2334" y="1188"/>
                  </a:lnTo>
                  <a:lnTo>
                    <a:pt x="2328" y="1194"/>
                  </a:lnTo>
                  <a:lnTo>
                    <a:pt x="2328" y="1200"/>
                  </a:lnTo>
                  <a:lnTo>
                    <a:pt x="2322" y="1224"/>
                  </a:lnTo>
                  <a:lnTo>
                    <a:pt x="2328" y="1230"/>
                  </a:lnTo>
                  <a:lnTo>
                    <a:pt x="2358" y="1230"/>
                  </a:lnTo>
                  <a:lnTo>
                    <a:pt x="2358" y="1242"/>
                  </a:lnTo>
                  <a:lnTo>
                    <a:pt x="2358" y="1254"/>
                  </a:lnTo>
                  <a:lnTo>
                    <a:pt x="2346" y="1254"/>
                  </a:lnTo>
                  <a:lnTo>
                    <a:pt x="2346" y="1278"/>
                  </a:lnTo>
                  <a:lnTo>
                    <a:pt x="2358" y="1278"/>
                  </a:lnTo>
                  <a:lnTo>
                    <a:pt x="2358" y="1284"/>
                  </a:lnTo>
                  <a:lnTo>
                    <a:pt x="2376" y="1284"/>
                  </a:lnTo>
                  <a:lnTo>
                    <a:pt x="2388" y="1278"/>
                  </a:lnTo>
                  <a:lnTo>
                    <a:pt x="2406" y="1278"/>
                  </a:lnTo>
                  <a:lnTo>
                    <a:pt x="2430" y="1284"/>
                  </a:lnTo>
                  <a:lnTo>
                    <a:pt x="2430" y="1302"/>
                  </a:lnTo>
                  <a:lnTo>
                    <a:pt x="2430" y="1314"/>
                  </a:lnTo>
                  <a:lnTo>
                    <a:pt x="2424" y="1326"/>
                  </a:lnTo>
                  <a:lnTo>
                    <a:pt x="2412" y="1326"/>
                  </a:lnTo>
                  <a:lnTo>
                    <a:pt x="2412" y="1344"/>
                  </a:lnTo>
                  <a:lnTo>
                    <a:pt x="2406" y="1344"/>
                  </a:lnTo>
                  <a:lnTo>
                    <a:pt x="2400" y="1362"/>
                  </a:lnTo>
                  <a:lnTo>
                    <a:pt x="2394" y="1368"/>
                  </a:lnTo>
                  <a:lnTo>
                    <a:pt x="2388" y="1374"/>
                  </a:lnTo>
                  <a:lnTo>
                    <a:pt x="2382" y="1380"/>
                  </a:lnTo>
                  <a:lnTo>
                    <a:pt x="2376" y="1386"/>
                  </a:lnTo>
                  <a:lnTo>
                    <a:pt x="2376" y="1392"/>
                  </a:lnTo>
                  <a:lnTo>
                    <a:pt x="2370" y="1404"/>
                  </a:lnTo>
                  <a:lnTo>
                    <a:pt x="2364" y="1416"/>
                  </a:lnTo>
                  <a:lnTo>
                    <a:pt x="2346" y="1434"/>
                  </a:lnTo>
                  <a:lnTo>
                    <a:pt x="2328" y="1440"/>
                  </a:lnTo>
                  <a:lnTo>
                    <a:pt x="2328" y="1446"/>
                  </a:lnTo>
                  <a:lnTo>
                    <a:pt x="2322" y="1452"/>
                  </a:lnTo>
                  <a:lnTo>
                    <a:pt x="2316" y="1452"/>
                  </a:lnTo>
                  <a:lnTo>
                    <a:pt x="2304" y="1446"/>
                  </a:lnTo>
                  <a:lnTo>
                    <a:pt x="2298" y="1446"/>
                  </a:lnTo>
                  <a:lnTo>
                    <a:pt x="2298" y="1434"/>
                  </a:lnTo>
                  <a:lnTo>
                    <a:pt x="2292" y="1434"/>
                  </a:lnTo>
                  <a:lnTo>
                    <a:pt x="2286" y="1428"/>
                  </a:lnTo>
                  <a:lnTo>
                    <a:pt x="2274" y="1416"/>
                  </a:lnTo>
                  <a:lnTo>
                    <a:pt x="2256" y="1404"/>
                  </a:lnTo>
                  <a:lnTo>
                    <a:pt x="2244" y="1386"/>
                  </a:lnTo>
                  <a:lnTo>
                    <a:pt x="2220" y="1368"/>
                  </a:lnTo>
                  <a:lnTo>
                    <a:pt x="2208" y="1362"/>
                  </a:lnTo>
                  <a:lnTo>
                    <a:pt x="2202" y="1350"/>
                  </a:lnTo>
                  <a:lnTo>
                    <a:pt x="2196" y="1350"/>
                  </a:lnTo>
                  <a:lnTo>
                    <a:pt x="2190" y="1356"/>
                  </a:lnTo>
                  <a:lnTo>
                    <a:pt x="2184" y="1356"/>
                  </a:lnTo>
                  <a:lnTo>
                    <a:pt x="2094" y="1350"/>
                  </a:lnTo>
                  <a:lnTo>
                    <a:pt x="2058" y="1350"/>
                  </a:lnTo>
                  <a:lnTo>
                    <a:pt x="2034" y="1890"/>
                  </a:lnTo>
                  <a:lnTo>
                    <a:pt x="2064" y="1890"/>
                  </a:lnTo>
                  <a:lnTo>
                    <a:pt x="2070" y="1896"/>
                  </a:lnTo>
                  <a:lnTo>
                    <a:pt x="2076" y="18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8" name="Freeform 33">
              <a:extLst>
                <a:ext uri="{FF2B5EF4-FFF2-40B4-BE49-F238E27FC236}">
                  <a16:creationId xmlns:a16="http://schemas.microsoft.com/office/drawing/2014/main" id="{0E96F118-1F4D-4E52-AF27-149259451CD6}"/>
                </a:ext>
              </a:extLst>
            </p:cNvPr>
            <p:cNvSpPr>
              <a:spLocks/>
            </p:cNvSpPr>
            <p:nvPr/>
          </p:nvSpPr>
          <p:spPr bwMode="gray">
            <a:xfrm>
              <a:off x="1266662" y="1459989"/>
              <a:ext cx="903421" cy="778302"/>
            </a:xfrm>
            <a:custGeom>
              <a:avLst/>
              <a:gdLst>
                <a:gd name="T0" fmla="*/ 143 w 1698"/>
                <a:gd name="T1" fmla="*/ 43 h 1464"/>
                <a:gd name="T2" fmla="*/ 131 w 1698"/>
                <a:gd name="T3" fmla="*/ 44 h 1464"/>
                <a:gd name="T4" fmla="*/ 126 w 1698"/>
                <a:gd name="T5" fmla="*/ 41 h 1464"/>
                <a:gd name="T6" fmla="*/ 119 w 1698"/>
                <a:gd name="T7" fmla="*/ 45 h 1464"/>
                <a:gd name="T8" fmla="*/ 111 w 1698"/>
                <a:gd name="T9" fmla="*/ 46 h 1464"/>
                <a:gd name="T10" fmla="*/ 107 w 1698"/>
                <a:gd name="T11" fmla="*/ 50 h 1464"/>
                <a:gd name="T12" fmla="*/ 107 w 1698"/>
                <a:gd name="T13" fmla="*/ 60 h 1464"/>
                <a:gd name="T14" fmla="*/ 104 w 1698"/>
                <a:gd name="T15" fmla="*/ 62 h 1464"/>
                <a:gd name="T16" fmla="*/ 97 w 1698"/>
                <a:gd name="T17" fmla="*/ 59 h 1464"/>
                <a:gd name="T18" fmla="*/ 92 w 1698"/>
                <a:gd name="T19" fmla="*/ 59 h 1464"/>
                <a:gd name="T20" fmla="*/ 90 w 1698"/>
                <a:gd name="T21" fmla="*/ 62 h 1464"/>
                <a:gd name="T22" fmla="*/ 93 w 1698"/>
                <a:gd name="T23" fmla="*/ 77 h 1464"/>
                <a:gd name="T24" fmla="*/ 85 w 1698"/>
                <a:gd name="T25" fmla="*/ 88 h 1464"/>
                <a:gd name="T26" fmla="*/ 70 w 1698"/>
                <a:gd name="T27" fmla="*/ 89 h 1464"/>
                <a:gd name="T28" fmla="*/ 65 w 1698"/>
                <a:gd name="T29" fmla="*/ 88 h 1464"/>
                <a:gd name="T30" fmla="*/ 50 w 1698"/>
                <a:gd name="T31" fmla="*/ 88 h 1464"/>
                <a:gd name="T32" fmla="*/ 48 w 1698"/>
                <a:gd name="T33" fmla="*/ 107 h 1464"/>
                <a:gd name="T34" fmla="*/ 47 w 1698"/>
                <a:gd name="T35" fmla="*/ 120 h 1464"/>
                <a:gd name="T36" fmla="*/ 43 w 1698"/>
                <a:gd name="T37" fmla="*/ 121 h 1464"/>
                <a:gd name="T38" fmla="*/ 40 w 1698"/>
                <a:gd name="T39" fmla="*/ 120 h 1464"/>
                <a:gd name="T40" fmla="*/ 35 w 1698"/>
                <a:gd name="T41" fmla="*/ 122 h 1464"/>
                <a:gd name="T42" fmla="*/ 29 w 1698"/>
                <a:gd name="T43" fmla="*/ 123 h 1464"/>
                <a:gd name="T44" fmla="*/ 24 w 1698"/>
                <a:gd name="T45" fmla="*/ 125 h 1464"/>
                <a:gd name="T46" fmla="*/ 20 w 1698"/>
                <a:gd name="T47" fmla="*/ 125 h 1464"/>
                <a:gd name="T48" fmla="*/ 18 w 1698"/>
                <a:gd name="T49" fmla="*/ 122 h 1464"/>
                <a:gd name="T50" fmla="*/ 26 w 1698"/>
                <a:gd name="T51" fmla="*/ 108 h 1464"/>
                <a:gd name="T52" fmla="*/ 24 w 1698"/>
                <a:gd name="T53" fmla="*/ 89 h 1464"/>
                <a:gd name="T54" fmla="*/ 28 w 1698"/>
                <a:gd name="T55" fmla="*/ 85 h 1464"/>
                <a:gd name="T56" fmla="*/ 32 w 1698"/>
                <a:gd name="T57" fmla="*/ 80 h 1464"/>
                <a:gd name="T58" fmla="*/ 36 w 1698"/>
                <a:gd name="T59" fmla="*/ 86 h 1464"/>
                <a:gd name="T60" fmla="*/ 39 w 1698"/>
                <a:gd name="T61" fmla="*/ 80 h 1464"/>
                <a:gd name="T62" fmla="*/ 41 w 1698"/>
                <a:gd name="T63" fmla="*/ 73 h 1464"/>
                <a:gd name="T64" fmla="*/ 38 w 1698"/>
                <a:gd name="T65" fmla="*/ 64 h 1464"/>
                <a:gd name="T66" fmla="*/ 39 w 1698"/>
                <a:gd name="T67" fmla="*/ 59 h 1464"/>
                <a:gd name="T68" fmla="*/ 32 w 1698"/>
                <a:gd name="T69" fmla="*/ 54 h 1464"/>
                <a:gd name="T70" fmla="*/ 32 w 1698"/>
                <a:gd name="T71" fmla="*/ 45 h 1464"/>
                <a:gd name="T72" fmla="*/ 31 w 1698"/>
                <a:gd name="T73" fmla="*/ 41 h 1464"/>
                <a:gd name="T74" fmla="*/ 24 w 1698"/>
                <a:gd name="T75" fmla="*/ 43 h 1464"/>
                <a:gd name="T76" fmla="*/ 17 w 1698"/>
                <a:gd name="T77" fmla="*/ 40 h 1464"/>
                <a:gd name="T78" fmla="*/ 11 w 1698"/>
                <a:gd name="T79" fmla="*/ 38 h 1464"/>
                <a:gd name="T80" fmla="*/ 2 w 1698"/>
                <a:gd name="T81" fmla="*/ 36 h 1464"/>
                <a:gd name="T82" fmla="*/ 0 w 1698"/>
                <a:gd name="T83" fmla="*/ 24 h 1464"/>
                <a:gd name="T84" fmla="*/ 11 w 1698"/>
                <a:gd name="T85" fmla="*/ 18 h 1464"/>
                <a:gd name="T86" fmla="*/ 19 w 1698"/>
                <a:gd name="T87" fmla="*/ 10 h 1464"/>
                <a:gd name="T88" fmla="*/ 28 w 1698"/>
                <a:gd name="T89" fmla="*/ 9 h 1464"/>
                <a:gd name="T90" fmla="*/ 40 w 1698"/>
                <a:gd name="T91" fmla="*/ 6 h 1464"/>
                <a:gd name="T92" fmla="*/ 49 w 1698"/>
                <a:gd name="T93" fmla="*/ 8 h 1464"/>
                <a:gd name="T94" fmla="*/ 56 w 1698"/>
                <a:gd name="T95" fmla="*/ 8 h 1464"/>
                <a:gd name="T96" fmla="*/ 64 w 1698"/>
                <a:gd name="T97" fmla="*/ 7 h 1464"/>
                <a:gd name="T98" fmla="*/ 74 w 1698"/>
                <a:gd name="T99" fmla="*/ 1 h 1464"/>
                <a:gd name="T100" fmla="*/ 83 w 1698"/>
                <a:gd name="T101" fmla="*/ 3 h 1464"/>
                <a:gd name="T102" fmla="*/ 99 w 1698"/>
                <a:gd name="T103" fmla="*/ 9 h 1464"/>
                <a:gd name="T104" fmla="*/ 112 w 1698"/>
                <a:gd name="T105" fmla="*/ 14 h 1464"/>
                <a:gd name="T106" fmla="*/ 119 w 1698"/>
                <a:gd name="T107" fmla="*/ 12 h 1464"/>
                <a:gd name="T108" fmla="*/ 128 w 1698"/>
                <a:gd name="T109" fmla="*/ 17 h 1464"/>
                <a:gd name="T110" fmla="*/ 141 w 1698"/>
                <a:gd name="T111" fmla="*/ 29 h 1464"/>
                <a:gd name="T112" fmla="*/ 145 w 1698"/>
                <a:gd name="T113" fmla="*/ 35 h 14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98"/>
                <a:gd name="T172" fmla="*/ 0 h 1464"/>
                <a:gd name="T173" fmla="*/ 1698 w 1698"/>
                <a:gd name="T174" fmla="*/ 1464 h 14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98" h="1464">
                  <a:moveTo>
                    <a:pt x="1698" y="462"/>
                  </a:moveTo>
                  <a:lnTo>
                    <a:pt x="1686" y="468"/>
                  </a:lnTo>
                  <a:lnTo>
                    <a:pt x="1680" y="474"/>
                  </a:lnTo>
                  <a:lnTo>
                    <a:pt x="1674" y="480"/>
                  </a:lnTo>
                  <a:lnTo>
                    <a:pt x="1668" y="480"/>
                  </a:lnTo>
                  <a:lnTo>
                    <a:pt x="1662" y="486"/>
                  </a:lnTo>
                  <a:lnTo>
                    <a:pt x="1656" y="492"/>
                  </a:lnTo>
                  <a:lnTo>
                    <a:pt x="1644" y="498"/>
                  </a:lnTo>
                  <a:lnTo>
                    <a:pt x="1626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0" y="516"/>
                  </a:lnTo>
                  <a:lnTo>
                    <a:pt x="1590" y="522"/>
                  </a:lnTo>
                  <a:lnTo>
                    <a:pt x="1566" y="522"/>
                  </a:lnTo>
                  <a:lnTo>
                    <a:pt x="1506" y="510"/>
                  </a:lnTo>
                  <a:lnTo>
                    <a:pt x="1500" y="510"/>
                  </a:lnTo>
                  <a:lnTo>
                    <a:pt x="1488" y="504"/>
                  </a:lnTo>
                  <a:lnTo>
                    <a:pt x="1482" y="498"/>
                  </a:lnTo>
                  <a:lnTo>
                    <a:pt x="1476" y="498"/>
                  </a:lnTo>
                  <a:lnTo>
                    <a:pt x="1476" y="492"/>
                  </a:lnTo>
                  <a:lnTo>
                    <a:pt x="1470" y="492"/>
                  </a:lnTo>
                  <a:lnTo>
                    <a:pt x="1464" y="486"/>
                  </a:lnTo>
                  <a:lnTo>
                    <a:pt x="1452" y="486"/>
                  </a:lnTo>
                  <a:lnTo>
                    <a:pt x="1446" y="474"/>
                  </a:lnTo>
                  <a:lnTo>
                    <a:pt x="1434" y="468"/>
                  </a:lnTo>
                  <a:lnTo>
                    <a:pt x="1416" y="468"/>
                  </a:lnTo>
                  <a:lnTo>
                    <a:pt x="1392" y="468"/>
                  </a:lnTo>
                  <a:lnTo>
                    <a:pt x="1374" y="474"/>
                  </a:lnTo>
                  <a:lnTo>
                    <a:pt x="1368" y="474"/>
                  </a:lnTo>
                  <a:lnTo>
                    <a:pt x="1368" y="486"/>
                  </a:lnTo>
                  <a:lnTo>
                    <a:pt x="1368" y="498"/>
                  </a:lnTo>
                  <a:lnTo>
                    <a:pt x="1368" y="522"/>
                  </a:lnTo>
                  <a:lnTo>
                    <a:pt x="1368" y="534"/>
                  </a:lnTo>
                  <a:lnTo>
                    <a:pt x="1362" y="546"/>
                  </a:lnTo>
                  <a:lnTo>
                    <a:pt x="1356" y="546"/>
                  </a:lnTo>
                  <a:lnTo>
                    <a:pt x="1344" y="540"/>
                  </a:lnTo>
                  <a:lnTo>
                    <a:pt x="1338" y="534"/>
                  </a:lnTo>
                  <a:lnTo>
                    <a:pt x="1308" y="522"/>
                  </a:lnTo>
                  <a:lnTo>
                    <a:pt x="1296" y="522"/>
                  </a:lnTo>
                  <a:lnTo>
                    <a:pt x="1278" y="528"/>
                  </a:lnTo>
                  <a:lnTo>
                    <a:pt x="1260" y="534"/>
                  </a:lnTo>
                  <a:lnTo>
                    <a:pt x="1242" y="546"/>
                  </a:lnTo>
                  <a:lnTo>
                    <a:pt x="1236" y="552"/>
                  </a:lnTo>
                  <a:lnTo>
                    <a:pt x="1224" y="558"/>
                  </a:lnTo>
                  <a:lnTo>
                    <a:pt x="1218" y="558"/>
                  </a:lnTo>
                  <a:lnTo>
                    <a:pt x="1218" y="564"/>
                  </a:lnTo>
                  <a:lnTo>
                    <a:pt x="1224" y="570"/>
                  </a:lnTo>
                  <a:lnTo>
                    <a:pt x="1224" y="582"/>
                  </a:lnTo>
                  <a:lnTo>
                    <a:pt x="1224" y="594"/>
                  </a:lnTo>
                  <a:lnTo>
                    <a:pt x="1212" y="618"/>
                  </a:lnTo>
                  <a:lnTo>
                    <a:pt x="1212" y="624"/>
                  </a:lnTo>
                  <a:lnTo>
                    <a:pt x="1212" y="630"/>
                  </a:lnTo>
                  <a:lnTo>
                    <a:pt x="1212" y="636"/>
                  </a:lnTo>
                  <a:lnTo>
                    <a:pt x="1218" y="654"/>
                  </a:lnTo>
                  <a:lnTo>
                    <a:pt x="1224" y="672"/>
                  </a:lnTo>
                  <a:lnTo>
                    <a:pt x="1230" y="696"/>
                  </a:lnTo>
                  <a:lnTo>
                    <a:pt x="1236" y="708"/>
                  </a:lnTo>
                  <a:lnTo>
                    <a:pt x="1236" y="714"/>
                  </a:lnTo>
                  <a:lnTo>
                    <a:pt x="1236" y="720"/>
                  </a:lnTo>
                  <a:lnTo>
                    <a:pt x="1218" y="726"/>
                  </a:lnTo>
                  <a:lnTo>
                    <a:pt x="1212" y="726"/>
                  </a:lnTo>
                  <a:lnTo>
                    <a:pt x="1206" y="726"/>
                  </a:lnTo>
                  <a:lnTo>
                    <a:pt x="1194" y="720"/>
                  </a:lnTo>
                  <a:lnTo>
                    <a:pt x="1194" y="714"/>
                  </a:lnTo>
                  <a:lnTo>
                    <a:pt x="1176" y="714"/>
                  </a:lnTo>
                  <a:lnTo>
                    <a:pt x="1164" y="708"/>
                  </a:lnTo>
                  <a:lnTo>
                    <a:pt x="1158" y="708"/>
                  </a:lnTo>
                  <a:lnTo>
                    <a:pt x="1140" y="702"/>
                  </a:lnTo>
                  <a:lnTo>
                    <a:pt x="1134" y="696"/>
                  </a:lnTo>
                  <a:lnTo>
                    <a:pt x="1128" y="690"/>
                  </a:lnTo>
                  <a:lnTo>
                    <a:pt x="1116" y="678"/>
                  </a:lnTo>
                  <a:lnTo>
                    <a:pt x="1110" y="678"/>
                  </a:lnTo>
                  <a:lnTo>
                    <a:pt x="1104" y="672"/>
                  </a:lnTo>
                  <a:lnTo>
                    <a:pt x="1092" y="672"/>
                  </a:lnTo>
                  <a:lnTo>
                    <a:pt x="1086" y="672"/>
                  </a:lnTo>
                  <a:lnTo>
                    <a:pt x="1080" y="672"/>
                  </a:lnTo>
                  <a:lnTo>
                    <a:pt x="1074" y="672"/>
                  </a:lnTo>
                  <a:lnTo>
                    <a:pt x="1068" y="672"/>
                  </a:lnTo>
                  <a:lnTo>
                    <a:pt x="1062" y="678"/>
                  </a:lnTo>
                  <a:lnTo>
                    <a:pt x="1056" y="678"/>
                  </a:lnTo>
                  <a:lnTo>
                    <a:pt x="1056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6"/>
                  </a:lnTo>
                  <a:lnTo>
                    <a:pt x="1032" y="708"/>
                  </a:lnTo>
                  <a:lnTo>
                    <a:pt x="1026" y="708"/>
                  </a:lnTo>
                  <a:lnTo>
                    <a:pt x="1032" y="714"/>
                  </a:lnTo>
                  <a:lnTo>
                    <a:pt x="1026" y="720"/>
                  </a:lnTo>
                  <a:lnTo>
                    <a:pt x="1020" y="720"/>
                  </a:lnTo>
                  <a:lnTo>
                    <a:pt x="1014" y="732"/>
                  </a:lnTo>
                  <a:lnTo>
                    <a:pt x="1014" y="744"/>
                  </a:lnTo>
                  <a:lnTo>
                    <a:pt x="1038" y="810"/>
                  </a:lnTo>
                  <a:lnTo>
                    <a:pt x="1050" y="834"/>
                  </a:lnTo>
                  <a:lnTo>
                    <a:pt x="1056" y="858"/>
                  </a:lnTo>
                  <a:lnTo>
                    <a:pt x="1062" y="876"/>
                  </a:lnTo>
                  <a:lnTo>
                    <a:pt x="1068" y="882"/>
                  </a:lnTo>
                  <a:lnTo>
                    <a:pt x="1062" y="972"/>
                  </a:lnTo>
                  <a:lnTo>
                    <a:pt x="1056" y="972"/>
                  </a:lnTo>
                  <a:lnTo>
                    <a:pt x="1050" y="996"/>
                  </a:lnTo>
                  <a:lnTo>
                    <a:pt x="1044" y="1014"/>
                  </a:lnTo>
                  <a:lnTo>
                    <a:pt x="1008" y="1014"/>
                  </a:lnTo>
                  <a:lnTo>
                    <a:pt x="1008" y="1008"/>
                  </a:lnTo>
                  <a:lnTo>
                    <a:pt x="990" y="1008"/>
                  </a:lnTo>
                  <a:lnTo>
                    <a:pt x="972" y="1014"/>
                  </a:lnTo>
                  <a:lnTo>
                    <a:pt x="948" y="1020"/>
                  </a:lnTo>
                  <a:lnTo>
                    <a:pt x="918" y="1026"/>
                  </a:lnTo>
                  <a:lnTo>
                    <a:pt x="840" y="1032"/>
                  </a:lnTo>
                  <a:lnTo>
                    <a:pt x="834" y="1032"/>
                  </a:lnTo>
                  <a:lnTo>
                    <a:pt x="834" y="1026"/>
                  </a:lnTo>
                  <a:lnTo>
                    <a:pt x="822" y="1026"/>
                  </a:lnTo>
                  <a:lnTo>
                    <a:pt x="816" y="1032"/>
                  </a:lnTo>
                  <a:lnTo>
                    <a:pt x="804" y="1032"/>
                  </a:lnTo>
                  <a:lnTo>
                    <a:pt x="798" y="1026"/>
                  </a:lnTo>
                  <a:lnTo>
                    <a:pt x="780" y="1026"/>
                  </a:lnTo>
                  <a:lnTo>
                    <a:pt x="762" y="1026"/>
                  </a:lnTo>
                  <a:lnTo>
                    <a:pt x="756" y="1026"/>
                  </a:lnTo>
                  <a:lnTo>
                    <a:pt x="750" y="1026"/>
                  </a:lnTo>
                  <a:lnTo>
                    <a:pt x="756" y="1020"/>
                  </a:lnTo>
                  <a:lnTo>
                    <a:pt x="750" y="1020"/>
                  </a:lnTo>
                  <a:lnTo>
                    <a:pt x="744" y="1014"/>
                  </a:lnTo>
                  <a:lnTo>
                    <a:pt x="684" y="1020"/>
                  </a:lnTo>
                  <a:lnTo>
                    <a:pt x="648" y="1020"/>
                  </a:lnTo>
                  <a:lnTo>
                    <a:pt x="630" y="1020"/>
                  </a:lnTo>
                  <a:lnTo>
                    <a:pt x="618" y="1020"/>
                  </a:lnTo>
                  <a:lnTo>
                    <a:pt x="606" y="1014"/>
                  </a:lnTo>
                  <a:lnTo>
                    <a:pt x="582" y="1014"/>
                  </a:lnTo>
                  <a:lnTo>
                    <a:pt x="576" y="1014"/>
                  </a:lnTo>
                  <a:lnTo>
                    <a:pt x="570" y="1014"/>
                  </a:lnTo>
                  <a:lnTo>
                    <a:pt x="564" y="1020"/>
                  </a:lnTo>
                  <a:lnTo>
                    <a:pt x="558" y="1026"/>
                  </a:lnTo>
                  <a:lnTo>
                    <a:pt x="552" y="1032"/>
                  </a:lnTo>
                  <a:lnTo>
                    <a:pt x="552" y="1038"/>
                  </a:lnTo>
                  <a:lnTo>
                    <a:pt x="558" y="1194"/>
                  </a:lnTo>
                  <a:lnTo>
                    <a:pt x="558" y="1206"/>
                  </a:lnTo>
                  <a:lnTo>
                    <a:pt x="552" y="1218"/>
                  </a:lnTo>
                  <a:lnTo>
                    <a:pt x="552" y="1236"/>
                  </a:lnTo>
                  <a:lnTo>
                    <a:pt x="546" y="1272"/>
                  </a:lnTo>
                  <a:lnTo>
                    <a:pt x="546" y="1308"/>
                  </a:lnTo>
                  <a:lnTo>
                    <a:pt x="540" y="1332"/>
                  </a:lnTo>
                  <a:lnTo>
                    <a:pt x="546" y="1356"/>
                  </a:lnTo>
                  <a:lnTo>
                    <a:pt x="546" y="1362"/>
                  </a:lnTo>
                  <a:lnTo>
                    <a:pt x="546" y="1374"/>
                  </a:lnTo>
                  <a:lnTo>
                    <a:pt x="546" y="1380"/>
                  </a:lnTo>
                  <a:lnTo>
                    <a:pt x="540" y="1380"/>
                  </a:lnTo>
                  <a:lnTo>
                    <a:pt x="522" y="1380"/>
                  </a:lnTo>
                  <a:lnTo>
                    <a:pt x="516" y="1380"/>
                  </a:lnTo>
                  <a:lnTo>
                    <a:pt x="516" y="1386"/>
                  </a:lnTo>
                  <a:lnTo>
                    <a:pt x="516" y="1392"/>
                  </a:lnTo>
                  <a:lnTo>
                    <a:pt x="510" y="1392"/>
                  </a:lnTo>
                  <a:lnTo>
                    <a:pt x="504" y="1386"/>
                  </a:lnTo>
                  <a:lnTo>
                    <a:pt x="498" y="1392"/>
                  </a:lnTo>
                  <a:lnTo>
                    <a:pt x="492" y="1398"/>
                  </a:lnTo>
                  <a:lnTo>
                    <a:pt x="486" y="1398"/>
                  </a:lnTo>
                  <a:lnTo>
                    <a:pt x="486" y="1392"/>
                  </a:lnTo>
                  <a:lnTo>
                    <a:pt x="486" y="1380"/>
                  </a:lnTo>
                  <a:lnTo>
                    <a:pt x="486" y="1374"/>
                  </a:lnTo>
                  <a:lnTo>
                    <a:pt x="480" y="1374"/>
                  </a:lnTo>
                  <a:lnTo>
                    <a:pt x="474" y="1374"/>
                  </a:lnTo>
                  <a:lnTo>
                    <a:pt x="468" y="1380"/>
                  </a:lnTo>
                  <a:lnTo>
                    <a:pt x="462" y="1380"/>
                  </a:lnTo>
                  <a:lnTo>
                    <a:pt x="456" y="1380"/>
                  </a:lnTo>
                  <a:lnTo>
                    <a:pt x="450" y="1386"/>
                  </a:lnTo>
                  <a:lnTo>
                    <a:pt x="444" y="1386"/>
                  </a:lnTo>
                  <a:lnTo>
                    <a:pt x="444" y="1392"/>
                  </a:lnTo>
                  <a:lnTo>
                    <a:pt x="432" y="1398"/>
                  </a:lnTo>
                  <a:lnTo>
                    <a:pt x="426" y="1404"/>
                  </a:lnTo>
                  <a:lnTo>
                    <a:pt x="420" y="1404"/>
                  </a:lnTo>
                  <a:lnTo>
                    <a:pt x="408" y="1404"/>
                  </a:lnTo>
                  <a:lnTo>
                    <a:pt x="378" y="1410"/>
                  </a:lnTo>
                  <a:lnTo>
                    <a:pt x="372" y="1410"/>
                  </a:lnTo>
                  <a:lnTo>
                    <a:pt x="360" y="1410"/>
                  </a:lnTo>
                  <a:lnTo>
                    <a:pt x="354" y="1416"/>
                  </a:lnTo>
                  <a:lnTo>
                    <a:pt x="348" y="1416"/>
                  </a:lnTo>
                  <a:lnTo>
                    <a:pt x="342" y="1410"/>
                  </a:lnTo>
                  <a:lnTo>
                    <a:pt x="336" y="1410"/>
                  </a:lnTo>
                  <a:lnTo>
                    <a:pt x="336" y="1416"/>
                  </a:lnTo>
                  <a:lnTo>
                    <a:pt x="330" y="1422"/>
                  </a:lnTo>
                  <a:lnTo>
                    <a:pt x="324" y="1422"/>
                  </a:lnTo>
                  <a:lnTo>
                    <a:pt x="318" y="1422"/>
                  </a:lnTo>
                  <a:lnTo>
                    <a:pt x="312" y="1428"/>
                  </a:lnTo>
                  <a:lnTo>
                    <a:pt x="312" y="1434"/>
                  </a:lnTo>
                  <a:lnTo>
                    <a:pt x="300" y="1428"/>
                  </a:lnTo>
                  <a:lnTo>
                    <a:pt x="288" y="1434"/>
                  </a:lnTo>
                  <a:lnTo>
                    <a:pt x="282" y="1440"/>
                  </a:lnTo>
                  <a:lnTo>
                    <a:pt x="282" y="1446"/>
                  </a:lnTo>
                  <a:lnTo>
                    <a:pt x="276" y="1446"/>
                  </a:lnTo>
                  <a:lnTo>
                    <a:pt x="276" y="1452"/>
                  </a:lnTo>
                  <a:lnTo>
                    <a:pt x="270" y="1452"/>
                  </a:lnTo>
                  <a:lnTo>
                    <a:pt x="258" y="1464"/>
                  </a:lnTo>
                  <a:lnTo>
                    <a:pt x="240" y="1458"/>
                  </a:lnTo>
                  <a:lnTo>
                    <a:pt x="234" y="1452"/>
                  </a:lnTo>
                  <a:lnTo>
                    <a:pt x="234" y="1446"/>
                  </a:lnTo>
                  <a:lnTo>
                    <a:pt x="228" y="1446"/>
                  </a:lnTo>
                  <a:lnTo>
                    <a:pt x="222" y="1440"/>
                  </a:lnTo>
                  <a:lnTo>
                    <a:pt x="216" y="1440"/>
                  </a:lnTo>
                  <a:lnTo>
                    <a:pt x="210" y="1428"/>
                  </a:lnTo>
                  <a:lnTo>
                    <a:pt x="210" y="1422"/>
                  </a:lnTo>
                  <a:lnTo>
                    <a:pt x="198" y="1416"/>
                  </a:lnTo>
                  <a:lnTo>
                    <a:pt x="204" y="1410"/>
                  </a:lnTo>
                  <a:lnTo>
                    <a:pt x="210" y="1404"/>
                  </a:lnTo>
                  <a:lnTo>
                    <a:pt x="210" y="1398"/>
                  </a:lnTo>
                  <a:lnTo>
                    <a:pt x="252" y="1368"/>
                  </a:lnTo>
                  <a:lnTo>
                    <a:pt x="276" y="1350"/>
                  </a:lnTo>
                  <a:lnTo>
                    <a:pt x="300" y="1338"/>
                  </a:lnTo>
                  <a:lnTo>
                    <a:pt x="294" y="1314"/>
                  </a:lnTo>
                  <a:lnTo>
                    <a:pt x="288" y="1308"/>
                  </a:lnTo>
                  <a:lnTo>
                    <a:pt x="300" y="1266"/>
                  </a:lnTo>
                  <a:lnTo>
                    <a:pt x="300" y="1242"/>
                  </a:lnTo>
                  <a:lnTo>
                    <a:pt x="300" y="1206"/>
                  </a:lnTo>
                  <a:lnTo>
                    <a:pt x="300" y="1164"/>
                  </a:lnTo>
                  <a:lnTo>
                    <a:pt x="294" y="1134"/>
                  </a:lnTo>
                  <a:lnTo>
                    <a:pt x="282" y="1086"/>
                  </a:lnTo>
                  <a:lnTo>
                    <a:pt x="276" y="1074"/>
                  </a:lnTo>
                  <a:lnTo>
                    <a:pt x="276" y="1056"/>
                  </a:lnTo>
                  <a:lnTo>
                    <a:pt x="270" y="1038"/>
                  </a:lnTo>
                  <a:lnTo>
                    <a:pt x="270" y="1020"/>
                  </a:lnTo>
                  <a:lnTo>
                    <a:pt x="282" y="1020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94" y="1002"/>
                  </a:lnTo>
                  <a:lnTo>
                    <a:pt x="306" y="996"/>
                  </a:lnTo>
                  <a:lnTo>
                    <a:pt x="312" y="990"/>
                  </a:lnTo>
                  <a:lnTo>
                    <a:pt x="318" y="990"/>
                  </a:lnTo>
                  <a:lnTo>
                    <a:pt x="324" y="984"/>
                  </a:lnTo>
                  <a:lnTo>
                    <a:pt x="324" y="978"/>
                  </a:lnTo>
                  <a:lnTo>
                    <a:pt x="324" y="972"/>
                  </a:lnTo>
                  <a:lnTo>
                    <a:pt x="324" y="954"/>
                  </a:lnTo>
                  <a:lnTo>
                    <a:pt x="336" y="948"/>
                  </a:lnTo>
                  <a:lnTo>
                    <a:pt x="342" y="936"/>
                  </a:lnTo>
                  <a:lnTo>
                    <a:pt x="348" y="924"/>
                  </a:lnTo>
                  <a:lnTo>
                    <a:pt x="354" y="924"/>
                  </a:lnTo>
                  <a:lnTo>
                    <a:pt x="372" y="924"/>
                  </a:lnTo>
                  <a:lnTo>
                    <a:pt x="372" y="930"/>
                  </a:lnTo>
                  <a:lnTo>
                    <a:pt x="378" y="930"/>
                  </a:lnTo>
                  <a:lnTo>
                    <a:pt x="378" y="936"/>
                  </a:lnTo>
                  <a:lnTo>
                    <a:pt x="384" y="936"/>
                  </a:lnTo>
                  <a:lnTo>
                    <a:pt x="384" y="942"/>
                  </a:lnTo>
                  <a:lnTo>
                    <a:pt x="402" y="942"/>
                  </a:lnTo>
                  <a:lnTo>
                    <a:pt x="402" y="996"/>
                  </a:lnTo>
                  <a:lnTo>
                    <a:pt x="414" y="996"/>
                  </a:lnTo>
                  <a:lnTo>
                    <a:pt x="420" y="996"/>
                  </a:lnTo>
                  <a:lnTo>
                    <a:pt x="426" y="996"/>
                  </a:lnTo>
                  <a:lnTo>
                    <a:pt x="432" y="996"/>
                  </a:lnTo>
                  <a:lnTo>
                    <a:pt x="438" y="996"/>
                  </a:lnTo>
                  <a:lnTo>
                    <a:pt x="438" y="942"/>
                  </a:lnTo>
                  <a:lnTo>
                    <a:pt x="444" y="930"/>
                  </a:lnTo>
                  <a:lnTo>
                    <a:pt x="444" y="924"/>
                  </a:lnTo>
                  <a:lnTo>
                    <a:pt x="444" y="918"/>
                  </a:lnTo>
                  <a:lnTo>
                    <a:pt x="462" y="918"/>
                  </a:lnTo>
                  <a:lnTo>
                    <a:pt x="474" y="906"/>
                  </a:lnTo>
                  <a:lnTo>
                    <a:pt x="480" y="900"/>
                  </a:lnTo>
                  <a:lnTo>
                    <a:pt x="486" y="888"/>
                  </a:lnTo>
                  <a:lnTo>
                    <a:pt x="492" y="876"/>
                  </a:lnTo>
                  <a:lnTo>
                    <a:pt x="492" y="858"/>
                  </a:lnTo>
                  <a:lnTo>
                    <a:pt x="480" y="858"/>
                  </a:lnTo>
                  <a:lnTo>
                    <a:pt x="474" y="840"/>
                  </a:lnTo>
                  <a:lnTo>
                    <a:pt x="450" y="834"/>
                  </a:lnTo>
                  <a:lnTo>
                    <a:pt x="438" y="816"/>
                  </a:lnTo>
                  <a:lnTo>
                    <a:pt x="432" y="792"/>
                  </a:lnTo>
                  <a:lnTo>
                    <a:pt x="432" y="786"/>
                  </a:lnTo>
                  <a:lnTo>
                    <a:pt x="432" y="774"/>
                  </a:lnTo>
                  <a:lnTo>
                    <a:pt x="432" y="762"/>
                  </a:lnTo>
                  <a:lnTo>
                    <a:pt x="438" y="750"/>
                  </a:lnTo>
                  <a:lnTo>
                    <a:pt x="438" y="738"/>
                  </a:lnTo>
                  <a:lnTo>
                    <a:pt x="444" y="732"/>
                  </a:lnTo>
                  <a:lnTo>
                    <a:pt x="450" y="732"/>
                  </a:lnTo>
                  <a:lnTo>
                    <a:pt x="456" y="732"/>
                  </a:lnTo>
                  <a:lnTo>
                    <a:pt x="456" y="726"/>
                  </a:lnTo>
                  <a:lnTo>
                    <a:pt x="456" y="714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44" y="684"/>
                  </a:lnTo>
                  <a:lnTo>
                    <a:pt x="438" y="666"/>
                  </a:lnTo>
                  <a:lnTo>
                    <a:pt x="426" y="666"/>
                  </a:lnTo>
                  <a:lnTo>
                    <a:pt x="432" y="666"/>
                  </a:lnTo>
                  <a:lnTo>
                    <a:pt x="420" y="666"/>
                  </a:lnTo>
                  <a:lnTo>
                    <a:pt x="414" y="660"/>
                  </a:lnTo>
                  <a:lnTo>
                    <a:pt x="396" y="654"/>
                  </a:lnTo>
                  <a:lnTo>
                    <a:pt x="384" y="642"/>
                  </a:lnTo>
                  <a:lnTo>
                    <a:pt x="366" y="624"/>
                  </a:lnTo>
                  <a:lnTo>
                    <a:pt x="354" y="606"/>
                  </a:lnTo>
                  <a:lnTo>
                    <a:pt x="342" y="588"/>
                  </a:lnTo>
                  <a:lnTo>
                    <a:pt x="342" y="582"/>
                  </a:lnTo>
                  <a:lnTo>
                    <a:pt x="360" y="564"/>
                  </a:lnTo>
                  <a:lnTo>
                    <a:pt x="372" y="540"/>
                  </a:lnTo>
                  <a:lnTo>
                    <a:pt x="366" y="528"/>
                  </a:lnTo>
                  <a:lnTo>
                    <a:pt x="366" y="522"/>
                  </a:lnTo>
                  <a:lnTo>
                    <a:pt x="372" y="516"/>
                  </a:lnTo>
                  <a:lnTo>
                    <a:pt x="384" y="504"/>
                  </a:lnTo>
                  <a:lnTo>
                    <a:pt x="378" y="492"/>
                  </a:lnTo>
                  <a:lnTo>
                    <a:pt x="378" y="486"/>
                  </a:lnTo>
                  <a:lnTo>
                    <a:pt x="378" y="480"/>
                  </a:lnTo>
                  <a:lnTo>
                    <a:pt x="378" y="474"/>
                  </a:lnTo>
                  <a:lnTo>
                    <a:pt x="378" y="468"/>
                  </a:lnTo>
                  <a:lnTo>
                    <a:pt x="366" y="468"/>
                  </a:lnTo>
                  <a:lnTo>
                    <a:pt x="360" y="474"/>
                  </a:lnTo>
                  <a:lnTo>
                    <a:pt x="354" y="480"/>
                  </a:lnTo>
                  <a:lnTo>
                    <a:pt x="348" y="486"/>
                  </a:lnTo>
                  <a:lnTo>
                    <a:pt x="348" y="492"/>
                  </a:lnTo>
                  <a:lnTo>
                    <a:pt x="336" y="510"/>
                  </a:lnTo>
                  <a:lnTo>
                    <a:pt x="300" y="516"/>
                  </a:lnTo>
                  <a:lnTo>
                    <a:pt x="300" y="510"/>
                  </a:lnTo>
                  <a:lnTo>
                    <a:pt x="282" y="504"/>
                  </a:lnTo>
                  <a:lnTo>
                    <a:pt x="282" y="498"/>
                  </a:lnTo>
                  <a:lnTo>
                    <a:pt x="264" y="486"/>
                  </a:lnTo>
                  <a:lnTo>
                    <a:pt x="258" y="492"/>
                  </a:lnTo>
                  <a:lnTo>
                    <a:pt x="234" y="492"/>
                  </a:lnTo>
                  <a:lnTo>
                    <a:pt x="222" y="486"/>
                  </a:lnTo>
                  <a:lnTo>
                    <a:pt x="204" y="480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92" y="462"/>
                  </a:lnTo>
                  <a:lnTo>
                    <a:pt x="186" y="462"/>
                  </a:lnTo>
                  <a:lnTo>
                    <a:pt x="180" y="468"/>
                  </a:lnTo>
                  <a:lnTo>
                    <a:pt x="150" y="450"/>
                  </a:lnTo>
                  <a:lnTo>
                    <a:pt x="144" y="438"/>
                  </a:lnTo>
                  <a:lnTo>
                    <a:pt x="138" y="438"/>
                  </a:lnTo>
                  <a:lnTo>
                    <a:pt x="132" y="432"/>
                  </a:lnTo>
                  <a:lnTo>
                    <a:pt x="126" y="432"/>
                  </a:lnTo>
                  <a:lnTo>
                    <a:pt x="120" y="432"/>
                  </a:lnTo>
                  <a:lnTo>
                    <a:pt x="102" y="426"/>
                  </a:lnTo>
                  <a:lnTo>
                    <a:pt x="96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2" y="414"/>
                  </a:lnTo>
                  <a:lnTo>
                    <a:pt x="60" y="414"/>
                  </a:lnTo>
                  <a:lnTo>
                    <a:pt x="30" y="414"/>
                  </a:lnTo>
                  <a:lnTo>
                    <a:pt x="24" y="414"/>
                  </a:lnTo>
                  <a:lnTo>
                    <a:pt x="12" y="414"/>
                  </a:lnTo>
                  <a:lnTo>
                    <a:pt x="0" y="420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0" y="336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30" y="270"/>
                  </a:lnTo>
                  <a:lnTo>
                    <a:pt x="42" y="270"/>
                  </a:lnTo>
                  <a:lnTo>
                    <a:pt x="54" y="264"/>
                  </a:lnTo>
                  <a:lnTo>
                    <a:pt x="78" y="240"/>
                  </a:lnTo>
                  <a:lnTo>
                    <a:pt x="102" y="216"/>
                  </a:lnTo>
                  <a:lnTo>
                    <a:pt x="114" y="210"/>
                  </a:lnTo>
                  <a:lnTo>
                    <a:pt x="120" y="204"/>
                  </a:lnTo>
                  <a:lnTo>
                    <a:pt x="126" y="198"/>
                  </a:lnTo>
                  <a:lnTo>
                    <a:pt x="138" y="18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38"/>
                  </a:lnTo>
                  <a:lnTo>
                    <a:pt x="210" y="126"/>
                  </a:lnTo>
                  <a:lnTo>
                    <a:pt x="216" y="120"/>
                  </a:lnTo>
                  <a:lnTo>
                    <a:pt x="222" y="120"/>
                  </a:lnTo>
                  <a:lnTo>
                    <a:pt x="258" y="114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300" y="102"/>
                  </a:lnTo>
                  <a:lnTo>
                    <a:pt x="312" y="102"/>
                  </a:lnTo>
                  <a:lnTo>
                    <a:pt x="318" y="102"/>
                  </a:lnTo>
                  <a:lnTo>
                    <a:pt x="348" y="96"/>
                  </a:lnTo>
                  <a:lnTo>
                    <a:pt x="366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408" y="84"/>
                  </a:lnTo>
                  <a:lnTo>
                    <a:pt x="420" y="84"/>
                  </a:lnTo>
                  <a:lnTo>
                    <a:pt x="462" y="72"/>
                  </a:lnTo>
                  <a:lnTo>
                    <a:pt x="474" y="72"/>
                  </a:lnTo>
                  <a:lnTo>
                    <a:pt x="474" y="78"/>
                  </a:lnTo>
                  <a:lnTo>
                    <a:pt x="492" y="90"/>
                  </a:lnTo>
                  <a:lnTo>
                    <a:pt x="498" y="90"/>
                  </a:lnTo>
                  <a:lnTo>
                    <a:pt x="522" y="96"/>
                  </a:lnTo>
                  <a:lnTo>
                    <a:pt x="540" y="96"/>
                  </a:lnTo>
                  <a:lnTo>
                    <a:pt x="546" y="96"/>
                  </a:lnTo>
                  <a:lnTo>
                    <a:pt x="558" y="96"/>
                  </a:lnTo>
                  <a:lnTo>
                    <a:pt x="564" y="96"/>
                  </a:lnTo>
                  <a:lnTo>
                    <a:pt x="576" y="96"/>
                  </a:lnTo>
                  <a:lnTo>
                    <a:pt x="588" y="96"/>
                  </a:lnTo>
                  <a:lnTo>
                    <a:pt x="612" y="90"/>
                  </a:lnTo>
                  <a:lnTo>
                    <a:pt x="624" y="90"/>
                  </a:lnTo>
                  <a:lnTo>
                    <a:pt x="636" y="90"/>
                  </a:lnTo>
                  <a:lnTo>
                    <a:pt x="642" y="90"/>
                  </a:lnTo>
                  <a:lnTo>
                    <a:pt x="648" y="96"/>
                  </a:lnTo>
                  <a:lnTo>
                    <a:pt x="660" y="96"/>
                  </a:lnTo>
                  <a:lnTo>
                    <a:pt x="666" y="96"/>
                  </a:lnTo>
                  <a:lnTo>
                    <a:pt x="672" y="96"/>
                  </a:lnTo>
                  <a:lnTo>
                    <a:pt x="684" y="96"/>
                  </a:lnTo>
                  <a:lnTo>
                    <a:pt x="708" y="96"/>
                  </a:lnTo>
                  <a:lnTo>
                    <a:pt x="714" y="96"/>
                  </a:lnTo>
                  <a:lnTo>
                    <a:pt x="726" y="96"/>
                  </a:lnTo>
                  <a:lnTo>
                    <a:pt x="738" y="84"/>
                  </a:lnTo>
                  <a:lnTo>
                    <a:pt x="744" y="78"/>
                  </a:lnTo>
                  <a:lnTo>
                    <a:pt x="756" y="66"/>
                  </a:lnTo>
                  <a:lnTo>
                    <a:pt x="774" y="42"/>
                  </a:lnTo>
                  <a:lnTo>
                    <a:pt x="780" y="30"/>
                  </a:lnTo>
                  <a:lnTo>
                    <a:pt x="816" y="24"/>
                  </a:lnTo>
                  <a:lnTo>
                    <a:pt x="840" y="18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64" y="6"/>
                  </a:lnTo>
                  <a:lnTo>
                    <a:pt x="870" y="6"/>
                  </a:lnTo>
                  <a:lnTo>
                    <a:pt x="894" y="0"/>
                  </a:lnTo>
                  <a:lnTo>
                    <a:pt x="900" y="6"/>
                  </a:lnTo>
                  <a:lnTo>
                    <a:pt x="930" y="18"/>
                  </a:lnTo>
                  <a:lnTo>
                    <a:pt x="942" y="24"/>
                  </a:lnTo>
                  <a:lnTo>
                    <a:pt x="954" y="30"/>
                  </a:lnTo>
                  <a:lnTo>
                    <a:pt x="1026" y="60"/>
                  </a:lnTo>
                  <a:lnTo>
                    <a:pt x="1032" y="60"/>
                  </a:lnTo>
                  <a:lnTo>
                    <a:pt x="1038" y="66"/>
                  </a:lnTo>
                  <a:lnTo>
                    <a:pt x="1068" y="72"/>
                  </a:lnTo>
                  <a:lnTo>
                    <a:pt x="1098" y="84"/>
                  </a:lnTo>
                  <a:lnTo>
                    <a:pt x="1122" y="90"/>
                  </a:lnTo>
                  <a:lnTo>
                    <a:pt x="1122" y="96"/>
                  </a:lnTo>
                  <a:lnTo>
                    <a:pt x="1140" y="102"/>
                  </a:lnTo>
                  <a:lnTo>
                    <a:pt x="1182" y="114"/>
                  </a:lnTo>
                  <a:lnTo>
                    <a:pt x="1188" y="114"/>
                  </a:lnTo>
                  <a:lnTo>
                    <a:pt x="1200" y="120"/>
                  </a:lnTo>
                  <a:lnTo>
                    <a:pt x="1212" y="126"/>
                  </a:lnTo>
                  <a:lnTo>
                    <a:pt x="1224" y="126"/>
                  </a:lnTo>
                  <a:lnTo>
                    <a:pt x="1248" y="138"/>
                  </a:lnTo>
                  <a:lnTo>
                    <a:pt x="1272" y="150"/>
                  </a:lnTo>
                  <a:lnTo>
                    <a:pt x="1284" y="156"/>
                  </a:lnTo>
                  <a:lnTo>
                    <a:pt x="1290" y="162"/>
                  </a:lnTo>
                  <a:lnTo>
                    <a:pt x="1296" y="162"/>
                  </a:lnTo>
                  <a:lnTo>
                    <a:pt x="1308" y="156"/>
                  </a:lnTo>
                  <a:lnTo>
                    <a:pt x="1320" y="150"/>
                  </a:lnTo>
                  <a:lnTo>
                    <a:pt x="1326" y="150"/>
                  </a:lnTo>
                  <a:lnTo>
                    <a:pt x="1338" y="144"/>
                  </a:lnTo>
                  <a:lnTo>
                    <a:pt x="1362" y="144"/>
                  </a:lnTo>
                  <a:lnTo>
                    <a:pt x="1368" y="144"/>
                  </a:lnTo>
                  <a:lnTo>
                    <a:pt x="1374" y="144"/>
                  </a:lnTo>
                  <a:lnTo>
                    <a:pt x="1386" y="150"/>
                  </a:lnTo>
                  <a:lnTo>
                    <a:pt x="1392" y="150"/>
                  </a:lnTo>
                  <a:lnTo>
                    <a:pt x="1398" y="150"/>
                  </a:lnTo>
                  <a:lnTo>
                    <a:pt x="1416" y="162"/>
                  </a:lnTo>
                  <a:lnTo>
                    <a:pt x="1458" y="186"/>
                  </a:lnTo>
                  <a:lnTo>
                    <a:pt x="1464" y="186"/>
                  </a:lnTo>
                  <a:lnTo>
                    <a:pt x="1470" y="192"/>
                  </a:lnTo>
                  <a:lnTo>
                    <a:pt x="1482" y="204"/>
                  </a:lnTo>
                  <a:lnTo>
                    <a:pt x="1512" y="234"/>
                  </a:lnTo>
                  <a:lnTo>
                    <a:pt x="1554" y="276"/>
                  </a:lnTo>
                  <a:lnTo>
                    <a:pt x="1560" y="276"/>
                  </a:lnTo>
                  <a:lnTo>
                    <a:pt x="1566" y="282"/>
                  </a:lnTo>
                  <a:lnTo>
                    <a:pt x="1578" y="294"/>
                  </a:lnTo>
                  <a:lnTo>
                    <a:pt x="1602" y="318"/>
                  </a:lnTo>
                  <a:lnTo>
                    <a:pt x="1614" y="330"/>
                  </a:lnTo>
                  <a:lnTo>
                    <a:pt x="1620" y="336"/>
                  </a:lnTo>
                  <a:lnTo>
                    <a:pt x="1626" y="342"/>
                  </a:lnTo>
                  <a:lnTo>
                    <a:pt x="1632" y="354"/>
                  </a:lnTo>
                  <a:lnTo>
                    <a:pt x="1644" y="366"/>
                  </a:lnTo>
                  <a:lnTo>
                    <a:pt x="1650" y="378"/>
                  </a:lnTo>
                  <a:lnTo>
                    <a:pt x="1650" y="384"/>
                  </a:lnTo>
                  <a:lnTo>
                    <a:pt x="1656" y="384"/>
                  </a:lnTo>
                  <a:lnTo>
                    <a:pt x="1662" y="402"/>
                  </a:lnTo>
                  <a:lnTo>
                    <a:pt x="1668" y="408"/>
                  </a:lnTo>
                  <a:lnTo>
                    <a:pt x="1674" y="426"/>
                  </a:lnTo>
                  <a:lnTo>
                    <a:pt x="1686" y="438"/>
                  </a:lnTo>
                  <a:lnTo>
                    <a:pt x="1698" y="46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9" name="Freeform 34">
              <a:extLst>
                <a:ext uri="{FF2B5EF4-FFF2-40B4-BE49-F238E27FC236}">
                  <a16:creationId xmlns:a16="http://schemas.microsoft.com/office/drawing/2014/main" id="{94603F24-8CF7-4226-A433-00D18CA7D9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1988" y="1681402"/>
              <a:ext cx="869877" cy="1060101"/>
            </a:xfrm>
            <a:custGeom>
              <a:avLst/>
              <a:gdLst>
                <a:gd name="T0" fmla="*/ 4 w 1638"/>
                <a:gd name="T1" fmla="*/ 111 h 1998"/>
                <a:gd name="T2" fmla="*/ 6 w 1638"/>
                <a:gd name="T3" fmla="*/ 87 h 1998"/>
                <a:gd name="T4" fmla="*/ 10 w 1638"/>
                <a:gd name="T5" fmla="*/ 80 h 1998"/>
                <a:gd name="T6" fmla="*/ 10 w 1638"/>
                <a:gd name="T7" fmla="*/ 71 h 1998"/>
                <a:gd name="T8" fmla="*/ 9 w 1638"/>
                <a:gd name="T9" fmla="*/ 56 h 1998"/>
                <a:gd name="T10" fmla="*/ 8 w 1638"/>
                <a:gd name="T11" fmla="*/ 40 h 1998"/>
                <a:gd name="T12" fmla="*/ 20 w 1638"/>
                <a:gd name="T13" fmla="*/ 30 h 1998"/>
                <a:gd name="T14" fmla="*/ 30 w 1638"/>
                <a:gd name="T15" fmla="*/ 19 h 1998"/>
                <a:gd name="T16" fmla="*/ 35 w 1638"/>
                <a:gd name="T17" fmla="*/ 2 h 1998"/>
                <a:gd name="T18" fmla="*/ 47 w 1638"/>
                <a:gd name="T19" fmla="*/ 2 h 1998"/>
                <a:gd name="T20" fmla="*/ 56 w 1638"/>
                <a:gd name="T21" fmla="*/ 7 h 1998"/>
                <a:gd name="T22" fmla="*/ 67 w 1638"/>
                <a:gd name="T23" fmla="*/ 5 h 1998"/>
                <a:gd name="T24" fmla="*/ 65 w 1638"/>
                <a:gd name="T25" fmla="*/ 15 h 1998"/>
                <a:gd name="T26" fmla="*/ 74 w 1638"/>
                <a:gd name="T27" fmla="*/ 24 h 1998"/>
                <a:gd name="T28" fmla="*/ 73 w 1638"/>
                <a:gd name="T29" fmla="*/ 33 h 1998"/>
                <a:gd name="T30" fmla="*/ 74 w 1638"/>
                <a:gd name="T31" fmla="*/ 44 h 1998"/>
                <a:gd name="T32" fmla="*/ 68 w 1638"/>
                <a:gd name="T33" fmla="*/ 45 h 1998"/>
                <a:gd name="T34" fmla="*/ 63 w 1638"/>
                <a:gd name="T35" fmla="*/ 50 h 1998"/>
                <a:gd name="T36" fmla="*/ 61 w 1638"/>
                <a:gd name="T37" fmla="*/ 62 h 1998"/>
                <a:gd name="T38" fmla="*/ 53 w 1638"/>
                <a:gd name="T39" fmla="*/ 86 h 1998"/>
                <a:gd name="T40" fmla="*/ 59 w 1638"/>
                <a:gd name="T41" fmla="*/ 90 h 1998"/>
                <a:gd name="T42" fmla="*/ 65 w 1638"/>
                <a:gd name="T43" fmla="*/ 86 h 1998"/>
                <a:gd name="T44" fmla="*/ 74 w 1638"/>
                <a:gd name="T45" fmla="*/ 84 h 1998"/>
                <a:gd name="T46" fmla="*/ 79 w 1638"/>
                <a:gd name="T47" fmla="*/ 85 h 1998"/>
                <a:gd name="T48" fmla="*/ 84 w 1638"/>
                <a:gd name="T49" fmla="*/ 84 h 1998"/>
                <a:gd name="T50" fmla="*/ 91 w 1638"/>
                <a:gd name="T51" fmla="*/ 84 h 1998"/>
                <a:gd name="T52" fmla="*/ 94 w 1638"/>
                <a:gd name="T53" fmla="*/ 81 h 1998"/>
                <a:gd name="T54" fmla="*/ 100 w 1638"/>
                <a:gd name="T55" fmla="*/ 81 h 1998"/>
                <a:gd name="T56" fmla="*/ 102 w 1638"/>
                <a:gd name="T57" fmla="*/ 84 h 1998"/>
                <a:gd name="T58" fmla="*/ 108 w 1638"/>
                <a:gd name="T59" fmla="*/ 85 h 1998"/>
                <a:gd name="T60" fmla="*/ 113 w 1638"/>
                <a:gd name="T61" fmla="*/ 88 h 1998"/>
                <a:gd name="T62" fmla="*/ 116 w 1638"/>
                <a:gd name="T63" fmla="*/ 88 h 1998"/>
                <a:gd name="T64" fmla="*/ 123 w 1638"/>
                <a:gd name="T65" fmla="*/ 87 h 1998"/>
                <a:gd name="T66" fmla="*/ 128 w 1638"/>
                <a:gd name="T67" fmla="*/ 86 h 1998"/>
                <a:gd name="T68" fmla="*/ 132 w 1638"/>
                <a:gd name="T69" fmla="*/ 90 h 1998"/>
                <a:gd name="T70" fmla="*/ 138 w 1638"/>
                <a:gd name="T71" fmla="*/ 96 h 1998"/>
                <a:gd name="T72" fmla="*/ 138 w 1638"/>
                <a:gd name="T73" fmla="*/ 110 h 1998"/>
                <a:gd name="T74" fmla="*/ 137 w 1638"/>
                <a:gd name="T75" fmla="*/ 118 h 1998"/>
                <a:gd name="T76" fmla="*/ 133 w 1638"/>
                <a:gd name="T77" fmla="*/ 124 h 1998"/>
                <a:gd name="T78" fmla="*/ 122 w 1638"/>
                <a:gd name="T79" fmla="*/ 125 h 1998"/>
                <a:gd name="T80" fmla="*/ 116 w 1638"/>
                <a:gd name="T81" fmla="*/ 127 h 1998"/>
                <a:gd name="T82" fmla="*/ 108 w 1638"/>
                <a:gd name="T83" fmla="*/ 123 h 1998"/>
                <a:gd name="T84" fmla="*/ 109 w 1638"/>
                <a:gd name="T85" fmla="*/ 119 h 1998"/>
                <a:gd name="T86" fmla="*/ 104 w 1638"/>
                <a:gd name="T87" fmla="*/ 104 h 1998"/>
                <a:gd name="T88" fmla="*/ 94 w 1638"/>
                <a:gd name="T89" fmla="*/ 105 h 1998"/>
                <a:gd name="T90" fmla="*/ 88 w 1638"/>
                <a:gd name="T91" fmla="*/ 109 h 1998"/>
                <a:gd name="T92" fmla="*/ 76 w 1638"/>
                <a:gd name="T93" fmla="*/ 107 h 1998"/>
                <a:gd name="T94" fmla="*/ 72 w 1638"/>
                <a:gd name="T95" fmla="*/ 114 h 1998"/>
                <a:gd name="T96" fmla="*/ 86 w 1638"/>
                <a:gd name="T97" fmla="*/ 121 h 1998"/>
                <a:gd name="T98" fmla="*/ 87 w 1638"/>
                <a:gd name="T99" fmla="*/ 129 h 1998"/>
                <a:gd name="T100" fmla="*/ 86 w 1638"/>
                <a:gd name="T101" fmla="*/ 137 h 1998"/>
                <a:gd name="T102" fmla="*/ 79 w 1638"/>
                <a:gd name="T103" fmla="*/ 141 h 1998"/>
                <a:gd name="T104" fmla="*/ 73 w 1638"/>
                <a:gd name="T105" fmla="*/ 144 h 1998"/>
                <a:gd name="T106" fmla="*/ 72 w 1638"/>
                <a:gd name="T107" fmla="*/ 164 h 1998"/>
                <a:gd name="T108" fmla="*/ 68 w 1638"/>
                <a:gd name="T109" fmla="*/ 172 h 1998"/>
                <a:gd name="T110" fmla="*/ 59 w 1638"/>
                <a:gd name="T111" fmla="*/ 164 h 1998"/>
                <a:gd name="T112" fmla="*/ 65 w 1638"/>
                <a:gd name="T113" fmla="*/ 146 h 1998"/>
                <a:gd name="T114" fmla="*/ 69 w 1638"/>
                <a:gd name="T115" fmla="*/ 133 h 1998"/>
                <a:gd name="T116" fmla="*/ 61 w 1638"/>
                <a:gd name="T117" fmla="*/ 131 h 1998"/>
                <a:gd name="T118" fmla="*/ 43 w 1638"/>
                <a:gd name="T119" fmla="*/ 125 h 1998"/>
                <a:gd name="T120" fmla="*/ 23 w 1638"/>
                <a:gd name="T121" fmla="*/ 125 h 1998"/>
                <a:gd name="T122" fmla="*/ 17 w 1638"/>
                <a:gd name="T123" fmla="*/ 121 h 19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638"/>
                <a:gd name="T187" fmla="*/ 0 h 1998"/>
                <a:gd name="T188" fmla="*/ 1638 w 1638"/>
                <a:gd name="T189" fmla="*/ 1998 h 19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638" h="1998">
                  <a:moveTo>
                    <a:pt x="144" y="1380"/>
                  </a:moveTo>
                  <a:lnTo>
                    <a:pt x="150" y="1368"/>
                  </a:lnTo>
                  <a:lnTo>
                    <a:pt x="150" y="1362"/>
                  </a:lnTo>
                  <a:lnTo>
                    <a:pt x="150" y="1356"/>
                  </a:lnTo>
                  <a:lnTo>
                    <a:pt x="144" y="1356"/>
                  </a:lnTo>
                  <a:lnTo>
                    <a:pt x="138" y="1356"/>
                  </a:lnTo>
                  <a:lnTo>
                    <a:pt x="126" y="1356"/>
                  </a:lnTo>
                  <a:lnTo>
                    <a:pt x="114" y="1344"/>
                  </a:lnTo>
                  <a:lnTo>
                    <a:pt x="84" y="1320"/>
                  </a:lnTo>
                  <a:lnTo>
                    <a:pt x="54" y="1296"/>
                  </a:lnTo>
                  <a:lnTo>
                    <a:pt x="48" y="1290"/>
                  </a:lnTo>
                  <a:lnTo>
                    <a:pt x="42" y="1278"/>
                  </a:lnTo>
                  <a:lnTo>
                    <a:pt x="30" y="1272"/>
                  </a:lnTo>
                  <a:lnTo>
                    <a:pt x="0" y="1248"/>
                  </a:lnTo>
                  <a:lnTo>
                    <a:pt x="6" y="1230"/>
                  </a:lnTo>
                  <a:lnTo>
                    <a:pt x="12" y="1194"/>
                  </a:lnTo>
                  <a:lnTo>
                    <a:pt x="18" y="1170"/>
                  </a:lnTo>
                  <a:lnTo>
                    <a:pt x="30" y="1134"/>
                  </a:lnTo>
                  <a:lnTo>
                    <a:pt x="36" y="1086"/>
                  </a:lnTo>
                  <a:lnTo>
                    <a:pt x="42" y="1050"/>
                  </a:lnTo>
                  <a:lnTo>
                    <a:pt x="48" y="1044"/>
                  </a:lnTo>
                  <a:lnTo>
                    <a:pt x="54" y="1026"/>
                  </a:lnTo>
                  <a:lnTo>
                    <a:pt x="60" y="1014"/>
                  </a:lnTo>
                  <a:lnTo>
                    <a:pt x="66" y="1002"/>
                  </a:lnTo>
                  <a:lnTo>
                    <a:pt x="66" y="996"/>
                  </a:lnTo>
                  <a:lnTo>
                    <a:pt x="72" y="996"/>
                  </a:lnTo>
                  <a:lnTo>
                    <a:pt x="72" y="990"/>
                  </a:lnTo>
                  <a:lnTo>
                    <a:pt x="78" y="990"/>
                  </a:lnTo>
                  <a:lnTo>
                    <a:pt x="90" y="978"/>
                  </a:lnTo>
                  <a:lnTo>
                    <a:pt x="96" y="966"/>
                  </a:lnTo>
                  <a:lnTo>
                    <a:pt x="102" y="966"/>
                  </a:lnTo>
                  <a:lnTo>
                    <a:pt x="114" y="954"/>
                  </a:lnTo>
                  <a:lnTo>
                    <a:pt x="120" y="954"/>
                  </a:lnTo>
                  <a:lnTo>
                    <a:pt x="120" y="948"/>
                  </a:lnTo>
                  <a:lnTo>
                    <a:pt x="114" y="930"/>
                  </a:lnTo>
                  <a:lnTo>
                    <a:pt x="114" y="924"/>
                  </a:lnTo>
                  <a:lnTo>
                    <a:pt x="108" y="918"/>
                  </a:lnTo>
                  <a:lnTo>
                    <a:pt x="102" y="912"/>
                  </a:lnTo>
                  <a:lnTo>
                    <a:pt x="90" y="906"/>
                  </a:lnTo>
                  <a:lnTo>
                    <a:pt x="84" y="900"/>
                  </a:lnTo>
                  <a:lnTo>
                    <a:pt x="84" y="888"/>
                  </a:lnTo>
                  <a:lnTo>
                    <a:pt x="84" y="882"/>
                  </a:lnTo>
                  <a:lnTo>
                    <a:pt x="78" y="858"/>
                  </a:lnTo>
                  <a:lnTo>
                    <a:pt x="78" y="852"/>
                  </a:lnTo>
                  <a:lnTo>
                    <a:pt x="84" y="846"/>
                  </a:lnTo>
                  <a:lnTo>
                    <a:pt x="84" y="840"/>
                  </a:lnTo>
                  <a:lnTo>
                    <a:pt x="96" y="828"/>
                  </a:lnTo>
                  <a:lnTo>
                    <a:pt x="114" y="816"/>
                  </a:lnTo>
                  <a:lnTo>
                    <a:pt x="114" y="810"/>
                  </a:lnTo>
                  <a:lnTo>
                    <a:pt x="114" y="804"/>
                  </a:lnTo>
                  <a:lnTo>
                    <a:pt x="108" y="780"/>
                  </a:lnTo>
                  <a:lnTo>
                    <a:pt x="96" y="756"/>
                  </a:lnTo>
                  <a:lnTo>
                    <a:pt x="96" y="750"/>
                  </a:lnTo>
                  <a:lnTo>
                    <a:pt x="90" y="720"/>
                  </a:lnTo>
                  <a:lnTo>
                    <a:pt x="90" y="708"/>
                  </a:lnTo>
                  <a:lnTo>
                    <a:pt x="90" y="690"/>
                  </a:lnTo>
                  <a:lnTo>
                    <a:pt x="96" y="672"/>
                  </a:lnTo>
                  <a:lnTo>
                    <a:pt x="90" y="666"/>
                  </a:lnTo>
                  <a:lnTo>
                    <a:pt x="96" y="666"/>
                  </a:lnTo>
                  <a:lnTo>
                    <a:pt x="102" y="642"/>
                  </a:lnTo>
                  <a:lnTo>
                    <a:pt x="108" y="624"/>
                  </a:lnTo>
                  <a:lnTo>
                    <a:pt x="102" y="618"/>
                  </a:lnTo>
                  <a:lnTo>
                    <a:pt x="102" y="588"/>
                  </a:lnTo>
                  <a:lnTo>
                    <a:pt x="102" y="564"/>
                  </a:lnTo>
                  <a:lnTo>
                    <a:pt x="102" y="546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0"/>
                  </a:lnTo>
                  <a:lnTo>
                    <a:pt x="96" y="498"/>
                  </a:lnTo>
                  <a:lnTo>
                    <a:pt x="96" y="486"/>
                  </a:lnTo>
                  <a:lnTo>
                    <a:pt x="96" y="474"/>
                  </a:lnTo>
                  <a:lnTo>
                    <a:pt x="96" y="462"/>
                  </a:lnTo>
                  <a:lnTo>
                    <a:pt x="114" y="450"/>
                  </a:lnTo>
                  <a:lnTo>
                    <a:pt x="126" y="438"/>
                  </a:lnTo>
                  <a:lnTo>
                    <a:pt x="132" y="432"/>
                  </a:lnTo>
                  <a:lnTo>
                    <a:pt x="144" y="426"/>
                  </a:lnTo>
                  <a:lnTo>
                    <a:pt x="144" y="420"/>
                  </a:lnTo>
                  <a:lnTo>
                    <a:pt x="156" y="414"/>
                  </a:lnTo>
                  <a:lnTo>
                    <a:pt x="162" y="408"/>
                  </a:lnTo>
                  <a:lnTo>
                    <a:pt x="180" y="396"/>
                  </a:lnTo>
                  <a:lnTo>
                    <a:pt x="210" y="372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34" y="348"/>
                  </a:lnTo>
                  <a:lnTo>
                    <a:pt x="240" y="348"/>
                  </a:lnTo>
                  <a:lnTo>
                    <a:pt x="246" y="342"/>
                  </a:lnTo>
                  <a:lnTo>
                    <a:pt x="276" y="318"/>
                  </a:lnTo>
                  <a:lnTo>
                    <a:pt x="282" y="312"/>
                  </a:lnTo>
                  <a:lnTo>
                    <a:pt x="288" y="306"/>
                  </a:lnTo>
                  <a:lnTo>
                    <a:pt x="300" y="288"/>
                  </a:lnTo>
                  <a:lnTo>
                    <a:pt x="306" y="276"/>
                  </a:lnTo>
                  <a:lnTo>
                    <a:pt x="324" y="246"/>
                  </a:lnTo>
                  <a:lnTo>
                    <a:pt x="330" y="240"/>
                  </a:lnTo>
                  <a:lnTo>
                    <a:pt x="336" y="234"/>
                  </a:lnTo>
                  <a:lnTo>
                    <a:pt x="342" y="228"/>
                  </a:lnTo>
                  <a:lnTo>
                    <a:pt x="342" y="216"/>
                  </a:lnTo>
                  <a:lnTo>
                    <a:pt x="354" y="204"/>
                  </a:lnTo>
                  <a:lnTo>
                    <a:pt x="360" y="204"/>
                  </a:lnTo>
                  <a:lnTo>
                    <a:pt x="366" y="186"/>
                  </a:lnTo>
                  <a:lnTo>
                    <a:pt x="384" y="162"/>
                  </a:lnTo>
                  <a:lnTo>
                    <a:pt x="390" y="144"/>
                  </a:lnTo>
                  <a:lnTo>
                    <a:pt x="396" y="114"/>
                  </a:lnTo>
                  <a:lnTo>
                    <a:pt x="396" y="102"/>
                  </a:lnTo>
                  <a:lnTo>
                    <a:pt x="402" y="90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08" y="36"/>
                  </a:lnTo>
                  <a:lnTo>
                    <a:pt x="408" y="24"/>
                  </a:lnTo>
                  <a:lnTo>
                    <a:pt x="408" y="6"/>
                  </a:lnTo>
                  <a:lnTo>
                    <a:pt x="420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68" y="0"/>
                  </a:lnTo>
                  <a:lnTo>
                    <a:pt x="480" y="0"/>
                  </a:lnTo>
                  <a:lnTo>
                    <a:pt x="492" y="0"/>
                  </a:lnTo>
                  <a:lnTo>
                    <a:pt x="498" y="0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8" y="18"/>
                  </a:lnTo>
                  <a:lnTo>
                    <a:pt x="534" y="18"/>
                  </a:lnTo>
                  <a:lnTo>
                    <a:pt x="540" y="18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8" y="36"/>
                  </a:lnTo>
                  <a:lnTo>
                    <a:pt x="588" y="54"/>
                  </a:lnTo>
                  <a:lnTo>
                    <a:pt x="594" y="48"/>
                  </a:lnTo>
                  <a:lnTo>
                    <a:pt x="600" y="48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12" y="66"/>
                  </a:lnTo>
                  <a:lnTo>
                    <a:pt x="630" y="72"/>
                  </a:lnTo>
                  <a:lnTo>
                    <a:pt x="642" y="78"/>
                  </a:lnTo>
                  <a:lnTo>
                    <a:pt x="666" y="78"/>
                  </a:lnTo>
                  <a:lnTo>
                    <a:pt x="672" y="72"/>
                  </a:lnTo>
                  <a:lnTo>
                    <a:pt x="690" y="84"/>
                  </a:lnTo>
                  <a:lnTo>
                    <a:pt x="690" y="90"/>
                  </a:lnTo>
                  <a:lnTo>
                    <a:pt x="708" y="96"/>
                  </a:lnTo>
                  <a:lnTo>
                    <a:pt x="708" y="102"/>
                  </a:lnTo>
                  <a:lnTo>
                    <a:pt x="744" y="96"/>
                  </a:lnTo>
                  <a:lnTo>
                    <a:pt x="756" y="78"/>
                  </a:lnTo>
                  <a:lnTo>
                    <a:pt x="756" y="72"/>
                  </a:lnTo>
                  <a:lnTo>
                    <a:pt x="762" y="66"/>
                  </a:lnTo>
                  <a:lnTo>
                    <a:pt x="768" y="60"/>
                  </a:lnTo>
                  <a:lnTo>
                    <a:pt x="774" y="54"/>
                  </a:lnTo>
                  <a:lnTo>
                    <a:pt x="786" y="54"/>
                  </a:lnTo>
                  <a:lnTo>
                    <a:pt x="786" y="60"/>
                  </a:lnTo>
                  <a:lnTo>
                    <a:pt x="786" y="66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92" y="90"/>
                  </a:lnTo>
                  <a:lnTo>
                    <a:pt x="780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26"/>
                  </a:lnTo>
                  <a:lnTo>
                    <a:pt x="768" y="150"/>
                  </a:lnTo>
                  <a:lnTo>
                    <a:pt x="750" y="168"/>
                  </a:lnTo>
                  <a:lnTo>
                    <a:pt x="750" y="174"/>
                  </a:lnTo>
                  <a:lnTo>
                    <a:pt x="762" y="192"/>
                  </a:lnTo>
                  <a:lnTo>
                    <a:pt x="774" y="210"/>
                  </a:lnTo>
                  <a:lnTo>
                    <a:pt x="792" y="228"/>
                  </a:lnTo>
                  <a:lnTo>
                    <a:pt x="804" y="240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40" y="252"/>
                  </a:lnTo>
                  <a:lnTo>
                    <a:pt x="834" y="252"/>
                  </a:lnTo>
                  <a:lnTo>
                    <a:pt x="846" y="252"/>
                  </a:lnTo>
                  <a:lnTo>
                    <a:pt x="852" y="270"/>
                  </a:lnTo>
                  <a:lnTo>
                    <a:pt x="858" y="282"/>
                  </a:lnTo>
                  <a:lnTo>
                    <a:pt x="858" y="288"/>
                  </a:lnTo>
                  <a:lnTo>
                    <a:pt x="864" y="300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58" y="318"/>
                  </a:lnTo>
                  <a:lnTo>
                    <a:pt x="852" y="318"/>
                  </a:lnTo>
                  <a:lnTo>
                    <a:pt x="846" y="324"/>
                  </a:lnTo>
                  <a:lnTo>
                    <a:pt x="846" y="336"/>
                  </a:lnTo>
                  <a:lnTo>
                    <a:pt x="840" y="348"/>
                  </a:lnTo>
                  <a:lnTo>
                    <a:pt x="840" y="360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46" y="402"/>
                  </a:lnTo>
                  <a:lnTo>
                    <a:pt x="858" y="420"/>
                  </a:lnTo>
                  <a:lnTo>
                    <a:pt x="882" y="426"/>
                  </a:lnTo>
                  <a:lnTo>
                    <a:pt x="888" y="444"/>
                  </a:lnTo>
                  <a:lnTo>
                    <a:pt x="900" y="444"/>
                  </a:lnTo>
                  <a:lnTo>
                    <a:pt x="900" y="462"/>
                  </a:lnTo>
                  <a:lnTo>
                    <a:pt x="894" y="474"/>
                  </a:lnTo>
                  <a:lnTo>
                    <a:pt x="888" y="486"/>
                  </a:lnTo>
                  <a:lnTo>
                    <a:pt x="882" y="492"/>
                  </a:lnTo>
                  <a:lnTo>
                    <a:pt x="870" y="504"/>
                  </a:lnTo>
                  <a:lnTo>
                    <a:pt x="852" y="504"/>
                  </a:lnTo>
                  <a:lnTo>
                    <a:pt x="852" y="510"/>
                  </a:lnTo>
                  <a:lnTo>
                    <a:pt x="852" y="516"/>
                  </a:lnTo>
                  <a:lnTo>
                    <a:pt x="846" y="528"/>
                  </a:lnTo>
                  <a:lnTo>
                    <a:pt x="846" y="582"/>
                  </a:lnTo>
                  <a:lnTo>
                    <a:pt x="840" y="582"/>
                  </a:lnTo>
                  <a:lnTo>
                    <a:pt x="834" y="582"/>
                  </a:lnTo>
                  <a:lnTo>
                    <a:pt x="828" y="582"/>
                  </a:lnTo>
                  <a:lnTo>
                    <a:pt x="822" y="582"/>
                  </a:lnTo>
                  <a:lnTo>
                    <a:pt x="810" y="582"/>
                  </a:lnTo>
                  <a:lnTo>
                    <a:pt x="810" y="528"/>
                  </a:lnTo>
                  <a:lnTo>
                    <a:pt x="792" y="528"/>
                  </a:lnTo>
                  <a:lnTo>
                    <a:pt x="792" y="522"/>
                  </a:lnTo>
                  <a:lnTo>
                    <a:pt x="786" y="522"/>
                  </a:lnTo>
                  <a:lnTo>
                    <a:pt x="786" y="516"/>
                  </a:lnTo>
                  <a:lnTo>
                    <a:pt x="780" y="516"/>
                  </a:lnTo>
                  <a:lnTo>
                    <a:pt x="780" y="510"/>
                  </a:lnTo>
                  <a:lnTo>
                    <a:pt x="762" y="510"/>
                  </a:lnTo>
                  <a:lnTo>
                    <a:pt x="756" y="510"/>
                  </a:lnTo>
                  <a:lnTo>
                    <a:pt x="750" y="522"/>
                  </a:lnTo>
                  <a:lnTo>
                    <a:pt x="744" y="534"/>
                  </a:lnTo>
                  <a:lnTo>
                    <a:pt x="732" y="540"/>
                  </a:lnTo>
                  <a:lnTo>
                    <a:pt x="732" y="558"/>
                  </a:lnTo>
                  <a:lnTo>
                    <a:pt x="732" y="564"/>
                  </a:lnTo>
                  <a:lnTo>
                    <a:pt x="732" y="570"/>
                  </a:lnTo>
                  <a:lnTo>
                    <a:pt x="726" y="576"/>
                  </a:lnTo>
                  <a:lnTo>
                    <a:pt x="720" y="576"/>
                  </a:lnTo>
                  <a:lnTo>
                    <a:pt x="714" y="582"/>
                  </a:lnTo>
                  <a:lnTo>
                    <a:pt x="702" y="588"/>
                  </a:lnTo>
                  <a:lnTo>
                    <a:pt x="696" y="594"/>
                  </a:lnTo>
                  <a:lnTo>
                    <a:pt x="690" y="600"/>
                  </a:lnTo>
                  <a:lnTo>
                    <a:pt x="690" y="606"/>
                  </a:lnTo>
                  <a:lnTo>
                    <a:pt x="678" y="606"/>
                  </a:lnTo>
                  <a:lnTo>
                    <a:pt x="678" y="624"/>
                  </a:lnTo>
                  <a:lnTo>
                    <a:pt x="684" y="642"/>
                  </a:lnTo>
                  <a:lnTo>
                    <a:pt x="684" y="660"/>
                  </a:lnTo>
                  <a:lnTo>
                    <a:pt x="690" y="672"/>
                  </a:lnTo>
                  <a:lnTo>
                    <a:pt x="702" y="720"/>
                  </a:lnTo>
                  <a:lnTo>
                    <a:pt x="708" y="750"/>
                  </a:lnTo>
                  <a:lnTo>
                    <a:pt x="708" y="792"/>
                  </a:lnTo>
                  <a:lnTo>
                    <a:pt x="708" y="828"/>
                  </a:lnTo>
                  <a:lnTo>
                    <a:pt x="708" y="852"/>
                  </a:lnTo>
                  <a:lnTo>
                    <a:pt x="696" y="894"/>
                  </a:lnTo>
                  <a:lnTo>
                    <a:pt x="702" y="900"/>
                  </a:lnTo>
                  <a:lnTo>
                    <a:pt x="708" y="924"/>
                  </a:lnTo>
                  <a:lnTo>
                    <a:pt x="684" y="936"/>
                  </a:lnTo>
                  <a:lnTo>
                    <a:pt x="660" y="954"/>
                  </a:lnTo>
                  <a:lnTo>
                    <a:pt x="618" y="984"/>
                  </a:lnTo>
                  <a:lnTo>
                    <a:pt x="618" y="990"/>
                  </a:lnTo>
                  <a:lnTo>
                    <a:pt x="612" y="996"/>
                  </a:lnTo>
                  <a:lnTo>
                    <a:pt x="606" y="1002"/>
                  </a:lnTo>
                  <a:lnTo>
                    <a:pt x="618" y="1008"/>
                  </a:lnTo>
                  <a:lnTo>
                    <a:pt x="618" y="1014"/>
                  </a:lnTo>
                  <a:lnTo>
                    <a:pt x="624" y="1026"/>
                  </a:lnTo>
                  <a:lnTo>
                    <a:pt x="630" y="1026"/>
                  </a:lnTo>
                  <a:lnTo>
                    <a:pt x="636" y="1032"/>
                  </a:lnTo>
                  <a:lnTo>
                    <a:pt x="642" y="1032"/>
                  </a:lnTo>
                  <a:lnTo>
                    <a:pt x="642" y="1038"/>
                  </a:lnTo>
                  <a:lnTo>
                    <a:pt x="648" y="1044"/>
                  </a:lnTo>
                  <a:lnTo>
                    <a:pt x="666" y="1050"/>
                  </a:lnTo>
                  <a:lnTo>
                    <a:pt x="678" y="1038"/>
                  </a:lnTo>
                  <a:lnTo>
                    <a:pt x="684" y="1038"/>
                  </a:lnTo>
                  <a:lnTo>
                    <a:pt x="684" y="1032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20"/>
                  </a:lnTo>
                  <a:lnTo>
                    <a:pt x="708" y="1014"/>
                  </a:lnTo>
                  <a:lnTo>
                    <a:pt x="720" y="1020"/>
                  </a:lnTo>
                  <a:lnTo>
                    <a:pt x="720" y="1014"/>
                  </a:lnTo>
                  <a:lnTo>
                    <a:pt x="726" y="1008"/>
                  </a:lnTo>
                  <a:lnTo>
                    <a:pt x="732" y="1008"/>
                  </a:lnTo>
                  <a:lnTo>
                    <a:pt x="738" y="1008"/>
                  </a:lnTo>
                  <a:lnTo>
                    <a:pt x="744" y="1002"/>
                  </a:lnTo>
                  <a:lnTo>
                    <a:pt x="744" y="996"/>
                  </a:lnTo>
                  <a:lnTo>
                    <a:pt x="750" y="996"/>
                  </a:lnTo>
                  <a:lnTo>
                    <a:pt x="756" y="1002"/>
                  </a:lnTo>
                  <a:lnTo>
                    <a:pt x="762" y="1002"/>
                  </a:lnTo>
                  <a:lnTo>
                    <a:pt x="768" y="996"/>
                  </a:lnTo>
                  <a:lnTo>
                    <a:pt x="780" y="996"/>
                  </a:lnTo>
                  <a:lnTo>
                    <a:pt x="786" y="996"/>
                  </a:lnTo>
                  <a:lnTo>
                    <a:pt x="816" y="990"/>
                  </a:lnTo>
                  <a:lnTo>
                    <a:pt x="828" y="990"/>
                  </a:lnTo>
                  <a:lnTo>
                    <a:pt x="834" y="990"/>
                  </a:lnTo>
                  <a:lnTo>
                    <a:pt x="840" y="984"/>
                  </a:lnTo>
                  <a:lnTo>
                    <a:pt x="852" y="978"/>
                  </a:lnTo>
                  <a:lnTo>
                    <a:pt x="852" y="972"/>
                  </a:lnTo>
                  <a:lnTo>
                    <a:pt x="858" y="972"/>
                  </a:lnTo>
                  <a:lnTo>
                    <a:pt x="864" y="966"/>
                  </a:lnTo>
                  <a:lnTo>
                    <a:pt x="870" y="966"/>
                  </a:lnTo>
                  <a:lnTo>
                    <a:pt x="876" y="966"/>
                  </a:lnTo>
                  <a:lnTo>
                    <a:pt x="882" y="960"/>
                  </a:lnTo>
                  <a:lnTo>
                    <a:pt x="888" y="960"/>
                  </a:lnTo>
                  <a:lnTo>
                    <a:pt x="894" y="960"/>
                  </a:lnTo>
                  <a:lnTo>
                    <a:pt x="894" y="966"/>
                  </a:lnTo>
                  <a:lnTo>
                    <a:pt x="894" y="978"/>
                  </a:lnTo>
                  <a:lnTo>
                    <a:pt x="894" y="984"/>
                  </a:lnTo>
                  <a:lnTo>
                    <a:pt x="900" y="984"/>
                  </a:lnTo>
                  <a:lnTo>
                    <a:pt x="906" y="978"/>
                  </a:lnTo>
                  <a:lnTo>
                    <a:pt x="912" y="972"/>
                  </a:lnTo>
                  <a:lnTo>
                    <a:pt x="918" y="978"/>
                  </a:lnTo>
                  <a:lnTo>
                    <a:pt x="924" y="978"/>
                  </a:lnTo>
                  <a:lnTo>
                    <a:pt x="924" y="972"/>
                  </a:lnTo>
                  <a:lnTo>
                    <a:pt x="924" y="966"/>
                  </a:lnTo>
                  <a:lnTo>
                    <a:pt x="930" y="966"/>
                  </a:lnTo>
                  <a:lnTo>
                    <a:pt x="948" y="966"/>
                  </a:lnTo>
                  <a:lnTo>
                    <a:pt x="954" y="966"/>
                  </a:lnTo>
                  <a:lnTo>
                    <a:pt x="954" y="960"/>
                  </a:lnTo>
                  <a:lnTo>
                    <a:pt x="960" y="960"/>
                  </a:lnTo>
                  <a:lnTo>
                    <a:pt x="966" y="960"/>
                  </a:lnTo>
                  <a:lnTo>
                    <a:pt x="966" y="966"/>
                  </a:lnTo>
                  <a:lnTo>
                    <a:pt x="978" y="972"/>
                  </a:lnTo>
                  <a:lnTo>
                    <a:pt x="978" y="978"/>
                  </a:lnTo>
                  <a:lnTo>
                    <a:pt x="978" y="984"/>
                  </a:lnTo>
                  <a:lnTo>
                    <a:pt x="984" y="978"/>
                  </a:lnTo>
                  <a:lnTo>
                    <a:pt x="990" y="978"/>
                  </a:lnTo>
                  <a:lnTo>
                    <a:pt x="996" y="984"/>
                  </a:lnTo>
                  <a:lnTo>
                    <a:pt x="1002" y="990"/>
                  </a:lnTo>
                  <a:lnTo>
                    <a:pt x="1008" y="972"/>
                  </a:lnTo>
                  <a:lnTo>
                    <a:pt x="1026" y="972"/>
                  </a:lnTo>
                  <a:lnTo>
                    <a:pt x="1032" y="972"/>
                  </a:lnTo>
                  <a:lnTo>
                    <a:pt x="1038" y="972"/>
                  </a:lnTo>
                  <a:lnTo>
                    <a:pt x="1050" y="972"/>
                  </a:lnTo>
                  <a:lnTo>
                    <a:pt x="1056" y="972"/>
                  </a:lnTo>
                  <a:lnTo>
                    <a:pt x="1062" y="966"/>
                  </a:lnTo>
                  <a:lnTo>
                    <a:pt x="1074" y="966"/>
                  </a:lnTo>
                  <a:lnTo>
                    <a:pt x="1074" y="960"/>
                  </a:lnTo>
                  <a:lnTo>
                    <a:pt x="1080" y="954"/>
                  </a:lnTo>
                  <a:lnTo>
                    <a:pt x="1080" y="948"/>
                  </a:lnTo>
                  <a:lnTo>
                    <a:pt x="1074" y="948"/>
                  </a:lnTo>
                  <a:lnTo>
                    <a:pt x="1068" y="948"/>
                  </a:lnTo>
                  <a:lnTo>
                    <a:pt x="1062" y="942"/>
                  </a:lnTo>
                  <a:lnTo>
                    <a:pt x="1068" y="936"/>
                  </a:lnTo>
                  <a:lnTo>
                    <a:pt x="1074" y="936"/>
                  </a:lnTo>
                  <a:lnTo>
                    <a:pt x="1080" y="936"/>
                  </a:lnTo>
                  <a:lnTo>
                    <a:pt x="1086" y="942"/>
                  </a:lnTo>
                  <a:lnTo>
                    <a:pt x="1092" y="942"/>
                  </a:lnTo>
                  <a:lnTo>
                    <a:pt x="1098" y="948"/>
                  </a:lnTo>
                  <a:lnTo>
                    <a:pt x="1104" y="954"/>
                  </a:lnTo>
                  <a:lnTo>
                    <a:pt x="1110" y="954"/>
                  </a:lnTo>
                  <a:lnTo>
                    <a:pt x="1116" y="948"/>
                  </a:lnTo>
                  <a:lnTo>
                    <a:pt x="1122" y="942"/>
                  </a:lnTo>
                  <a:lnTo>
                    <a:pt x="1128" y="942"/>
                  </a:lnTo>
                  <a:lnTo>
                    <a:pt x="1134" y="942"/>
                  </a:lnTo>
                  <a:lnTo>
                    <a:pt x="1140" y="948"/>
                  </a:lnTo>
                  <a:lnTo>
                    <a:pt x="1146" y="942"/>
                  </a:lnTo>
                  <a:lnTo>
                    <a:pt x="1152" y="942"/>
                  </a:lnTo>
                  <a:lnTo>
                    <a:pt x="1152" y="930"/>
                  </a:lnTo>
                  <a:lnTo>
                    <a:pt x="1164" y="936"/>
                  </a:lnTo>
                  <a:lnTo>
                    <a:pt x="1158" y="942"/>
                  </a:lnTo>
                  <a:lnTo>
                    <a:pt x="1158" y="948"/>
                  </a:lnTo>
                  <a:lnTo>
                    <a:pt x="1146" y="954"/>
                  </a:lnTo>
                  <a:lnTo>
                    <a:pt x="1152" y="954"/>
                  </a:lnTo>
                  <a:lnTo>
                    <a:pt x="1158" y="954"/>
                  </a:lnTo>
                  <a:lnTo>
                    <a:pt x="1158" y="948"/>
                  </a:lnTo>
                  <a:lnTo>
                    <a:pt x="1164" y="948"/>
                  </a:lnTo>
                  <a:lnTo>
                    <a:pt x="1170" y="948"/>
                  </a:lnTo>
                  <a:lnTo>
                    <a:pt x="1176" y="954"/>
                  </a:lnTo>
                  <a:lnTo>
                    <a:pt x="1176" y="966"/>
                  </a:lnTo>
                  <a:lnTo>
                    <a:pt x="1182" y="972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88" y="984"/>
                  </a:lnTo>
                  <a:lnTo>
                    <a:pt x="1194" y="984"/>
                  </a:lnTo>
                  <a:lnTo>
                    <a:pt x="1200" y="984"/>
                  </a:lnTo>
                  <a:lnTo>
                    <a:pt x="1212" y="984"/>
                  </a:lnTo>
                  <a:lnTo>
                    <a:pt x="1218" y="990"/>
                  </a:lnTo>
                  <a:lnTo>
                    <a:pt x="1224" y="990"/>
                  </a:lnTo>
                  <a:lnTo>
                    <a:pt x="1224" y="984"/>
                  </a:lnTo>
                  <a:lnTo>
                    <a:pt x="1230" y="990"/>
                  </a:lnTo>
                  <a:lnTo>
                    <a:pt x="1236" y="984"/>
                  </a:lnTo>
                  <a:lnTo>
                    <a:pt x="1242" y="984"/>
                  </a:lnTo>
                  <a:lnTo>
                    <a:pt x="1248" y="990"/>
                  </a:lnTo>
                  <a:lnTo>
                    <a:pt x="1254" y="990"/>
                  </a:lnTo>
                  <a:lnTo>
                    <a:pt x="1254" y="996"/>
                  </a:lnTo>
                  <a:lnTo>
                    <a:pt x="1254" y="1002"/>
                  </a:lnTo>
                  <a:lnTo>
                    <a:pt x="1254" y="1008"/>
                  </a:lnTo>
                  <a:lnTo>
                    <a:pt x="1260" y="1014"/>
                  </a:lnTo>
                  <a:lnTo>
                    <a:pt x="1266" y="1014"/>
                  </a:lnTo>
                  <a:lnTo>
                    <a:pt x="1272" y="1014"/>
                  </a:lnTo>
                  <a:lnTo>
                    <a:pt x="1278" y="1020"/>
                  </a:lnTo>
                  <a:lnTo>
                    <a:pt x="1284" y="1020"/>
                  </a:lnTo>
                  <a:lnTo>
                    <a:pt x="1290" y="1014"/>
                  </a:lnTo>
                  <a:lnTo>
                    <a:pt x="1290" y="1008"/>
                  </a:lnTo>
                  <a:lnTo>
                    <a:pt x="1296" y="1008"/>
                  </a:lnTo>
                  <a:lnTo>
                    <a:pt x="1302" y="1014"/>
                  </a:lnTo>
                  <a:lnTo>
                    <a:pt x="1308" y="1014"/>
                  </a:lnTo>
                  <a:lnTo>
                    <a:pt x="1314" y="1008"/>
                  </a:lnTo>
                  <a:lnTo>
                    <a:pt x="1320" y="1008"/>
                  </a:lnTo>
                  <a:lnTo>
                    <a:pt x="1320" y="1002"/>
                  </a:lnTo>
                  <a:lnTo>
                    <a:pt x="1320" y="996"/>
                  </a:lnTo>
                  <a:lnTo>
                    <a:pt x="1332" y="1002"/>
                  </a:lnTo>
                  <a:lnTo>
                    <a:pt x="1332" y="1008"/>
                  </a:lnTo>
                  <a:lnTo>
                    <a:pt x="1326" y="1014"/>
                  </a:lnTo>
                  <a:lnTo>
                    <a:pt x="1332" y="1014"/>
                  </a:lnTo>
                  <a:lnTo>
                    <a:pt x="1338" y="1014"/>
                  </a:lnTo>
                  <a:lnTo>
                    <a:pt x="1338" y="1008"/>
                  </a:lnTo>
                  <a:lnTo>
                    <a:pt x="1344" y="1008"/>
                  </a:lnTo>
                  <a:lnTo>
                    <a:pt x="1350" y="1008"/>
                  </a:lnTo>
                  <a:lnTo>
                    <a:pt x="1356" y="1014"/>
                  </a:lnTo>
                  <a:lnTo>
                    <a:pt x="1356" y="1008"/>
                  </a:lnTo>
                  <a:lnTo>
                    <a:pt x="1362" y="1014"/>
                  </a:lnTo>
                  <a:lnTo>
                    <a:pt x="1392" y="1014"/>
                  </a:lnTo>
                  <a:lnTo>
                    <a:pt x="1398" y="1014"/>
                  </a:lnTo>
                  <a:lnTo>
                    <a:pt x="1404" y="1008"/>
                  </a:lnTo>
                  <a:lnTo>
                    <a:pt x="1404" y="1014"/>
                  </a:lnTo>
                  <a:lnTo>
                    <a:pt x="1410" y="1008"/>
                  </a:lnTo>
                  <a:lnTo>
                    <a:pt x="1416" y="1008"/>
                  </a:lnTo>
                  <a:lnTo>
                    <a:pt x="1422" y="1002"/>
                  </a:lnTo>
                  <a:lnTo>
                    <a:pt x="1428" y="1002"/>
                  </a:lnTo>
                  <a:lnTo>
                    <a:pt x="1428" y="996"/>
                  </a:lnTo>
                  <a:lnTo>
                    <a:pt x="1428" y="990"/>
                  </a:lnTo>
                  <a:lnTo>
                    <a:pt x="1440" y="1002"/>
                  </a:lnTo>
                  <a:lnTo>
                    <a:pt x="1446" y="1002"/>
                  </a:lnTo>
                  <a:lnTo>
                    <a:pt x="1452" y="1002"/>
                  </a:lnTo>
                  <a:lnTo>
                    <a:pt x="1446" y="996"/>
                  </a:lnTo>
                  <a:lnTo>
                    <a:pt x="1452" y="996"/>
                  </a:lnTo>
                  <a:lnTo>
                    <a:pt x="1458" y="996"/>
                  </a:lnTo>
                  <a:lnTo>
                    <a:pt x="1464" y="996"/>
                  </a:lnTo>
                  <a:lnTo>
                    <a:pt x="1464" y="1002"/>
                  </a:lnTo>
                  <a:lnTo>
                    <a:pt x="1476" y="1014"/>
                  </a:lnTo>
                  <a:lnTo>
                    <a:pt x="1476" y="1008"/>
                  </a:lnTo>
                  <a:lnTo>
                    <a:pt x="1482" y="1008"/>
                  </a:lnTo>
                  <a:lnTo>
                    <a:pt x="1488" y="1020"/>
                  </a:lnTo>
                  <a:lnTo>
                    <a:pt x="1494" y="1020"/>
                  </a:lnTo>
                  <a:lnTo>
                    <a:pt x="1500" y="1014"/>
                  </a:lnTo>
                  <a:lnTo>
                    <a:pt x="1500" y="1020"/>
                  </a:lnTo>
                  <a:lnTo>
                    <a:pt x="1506" y="1026"/>
                  </a:lnTo>
                  <a:lnTo>
                    <a:pt x="1512" y="1032"/>
                  </a:lnTo>
                  <a:lnTo>
                    <a:pt x="1518" y="1032"/>
                  </a:lnTo>
                  <a:lnTo>
                    <a:pt x="1518" y="1038"/>
                  </a:lnTo>
                  <a:lnTo>
                    <a:pt x="1518" y="1044"/>
                  </a:lnTo>
                  <a:lnTo>
                    <a:pt x="1524" y="1044"/>
                  </a:lnTo>
                  <a:lnTo>
                    <a:pt x="1524" y="1050"/>
                  </a:lnTo>
                  <a:lnTo>
                    <a:pt x="1530" y="1056"/>
                  </a:lnTo>
                  <a:lnTo>
                    <a:pt x="1548" y="1062"/>
                  </a:lnTo>
                  <a:lnTo>
                    <a:pt x="1560" y="1074"/>
                  </a:lnTo>
                  <a:lnTo>
                    <a:pt x="1560" y="1080"/>
                  </a:lnTo>
                  <a:lnTo>
                    <a:pt x="1560" y="1086"/>
                  </a:lnTo>
                  <a:lnTo>
                    <a:pt x="1566" y="1086"/>
                  </a:lnTo>
                  <a:lnTo>
                    <a:pt x="1572" y="1098"/>
                  </a:lnTo>
                  <a:lnTo>
                    <a:pt x="1572" y="1104"/>
                  </a:lnTo>
                  <a:lnTo>
                    <a:pt x="1584" y="1110"/>
                  </a:lnTo>
                  <a:lnTo>
                    <a:pt x="1590" y="1116"/>
                  </a:lnTo>
                  <a:lnTo>
                    <a:pt x="1596" y="1116"/>
                  </a:lnTo>
                  <a:lnTo>
                    <a:pt x="1608" y="1122"/>
                  </a:lnTo>
                  <a:lnTo>
                    <a:pt x="1620" y="1140"/>
                  </a:lnTo>
                  <a:lnTo>
                    <a:pt x="1626" y="1158"/>
                  </a:lnTo>
                  <a:lnTo>
                    <a:pt x="1638" y="1200"/>
                  </a:lnTo>
                  <a:lnTo>
                    <a:pt x="1638" y="1218"/>
                  </a:lnTo>
                  <a:lnTo>
                    <a:pt x="1620" y="1230"/>
                  </a:lnTo>
                  <a:lnTo>
                    <a:pt x="1554" y="1230"/>
                  </a:lnTo>
                  <a:lnTo>
                    <a:pt x="1560" y="1248"/>
                  </a:lnTo>
                  <a:lnTo>
                    <a:pt x="1584" y="1260"/>
                  </a:lnTo>
                  <a:lnTo>
                    <a:pt x="1584" y="1266"/>
                  </a:lnTo>
                  <a:lnTo>
                    <a:pt x="1578" y="1272"/>
                  </a:lnTo>
                  <a:lnTo>
                    <a:pt x="1572" y="1272"/>
                  </a:lnTo>
                  <a:lnTo>
                    <a:pt x="1566" y="1278"/>
                  </a:lnTo>
                  <a:lnTo>
                    <a:pt x="1566" y="1284"/>
                  </a:lnTo>
                  <a:lnTo>
                    <a:pt x="1560" y="1290"/>
                  </a:lnTo>
                  <a:lnTo>
                    <a:pt x="1554" y="1290"/>
                  </a:lnTo>
                  <a:lnTo>
                    <a:pt x="1554" y="1296"/>
                  </a:lnTo>
                  <a:lnTo>
                    <a:pt x="1554" y="1302"/>
                  </a:lnTo>
                  <a:lnTo>
                    <a:pt x="1560" y="1332"/>
                  </a:lnTo>
                  <a:lnTo>
                    <a:pt x="1566" y="1356"/>
                  </a:lnTo>
                  <a:lnTo>
                    <a:pt x="1572" y="1356"/>
                  </a:lnTo>
                  <a:lnTo>
                    <a:pt x="1572" y="1362"/>
                  </a:lnTo>
                  <a:lnTo>
                    <a:pt x="1578" y="1362"/>
                  </a:lnTo>
                  <a:lnTo>
                    <a:pt x="1560" y="1374"/>
                  </a:lnTo>
                  <a:lnTo>
                    <a:pt x="1560" y="1380"/>
                  </a:lnTo>
                  <a:lnTo>
                    <a:pt x="1548" y="1380"/>
                  </a:lnTo>
                  <a:lnTo>
                    <a:pt x="1548" y="1386"/>
                  </a:lnTo>
                  <a:lnTo>
                    <a:pt x="1548" y="1392"/>
                  </a:lnTo>
                  <a:lnTo>
                    <a:pt x="1542" y="1410"/>
                  </a:lnTo>
                  <a:lnTo>
                    <a:pt x="1536" y="1422"/>
                  </a:lnTo>
                  <a:lnTo>
                    <a:pt x="1536" y="1428"/>
                  </a:lnTo>
                  <a:lnTo>
                    <a:pt x="1530" y="1440"/>
                  </a:lnTo>
                  <a:lnTo>
                    <a:pt x="1524" y="1434"/>
                  </a:lnTo>
                  <a:lnTo>
                    <a:pt x="1524" y="1428"/>
                  </a:lnTo>
                  <a:lnTo>
                    <a:pt x="1524" y="1422"/>
                  </a:lnTo>
                  <a:lnTo>
                    <a:pt x="1512" y="1410"/>
                  </a:lnTo>
                  <a:lnTo>
                    <a:pt x="1506" y="1404"/>
                  </a:lnTo>
                  <a:lnTo>
                    <a:pt x="1506" y="1398"/>
                  </a:lnTo>
                  <a:lnTo>
                    <a:pt x="1494" y="1392"/>
                  </a:lnTo>
                  <a:lnTo>
                    <a:pt x="1476" y="1404"/>
                  </a:lnTo>
                  <a:lnTo>
                    <a:pt x="1464" y="1416"/>
                  </a:lnTo>
                  <a:lnTo>
                    <a:pt x="1458" y="1428"/>
                  </a:lnTo>
                  <a:lnTo>
                    <a:pt x="1446" y="1434"/>
                  </a:lnTo>
                  <a:lnTo>
                    <a:pt x="1410" y="1440"/>
                  </a:lnTo>
                  <a:lnTo>
                    <a:pt x="1398" y="1440"/>
                  </a:lnTo>
                  <a:lnTo>
                    <a:pt x="1398" y="1446"/>
                  </a:lnTo>
                  <a:lnTo>
                    <a:pt x="1386" y="1446"/>
                  </a:lnTo>
                  <a:lnTo>
                    <a:pt x="1380" y="1440"/>
                  </a:lnTo>
                  <a:lnTo>
                    <a:pt x="1368" y="1440"/>
                  </a:lnTo>
                  <a:lnTo>
                    <a:pt x="1368" y="1446"/>
                  </a:lnTo>
                  <a:lnTo>
                    <a:pt x="1356" y="1446"/>
                  </a:lnTo>
                  <a:lnTo>
                    <a:pt x="1350" y="1452"/>
                  </a:lnTo>
                  <a:lnTo>
                    <a:pt x="1338" y="1452"/>
                  </a:lnTo>
                  <a:lnTo>
                    <a:pt x="1338" y="1458"/>
                  </a:lnTo>
                  <a:lnTo>
                    <a:pt x="1332" y="1458"/>
                  </a:lnTo>
                  <a:lnTo>
                    <a:pt x="1332" y="1464"/>
                  </a:lnTo>
                  <a:lnTo>
                    <a:pt x="1332" y="1470"/>
                  </a:lnTo>
                  <a:lnTo>
                    <a:pt x="1326" y="1470"/>
                  </a:lnTo>
                  <a:lnTo>
                    <a:pt x="1320" y="1470"/>
                  </a:lnTo>
                  <a:lnTo>
                    <a:pt x="1314" y="1470"/>
                  </a:lnTo>
                  <a:lnTo>
                    <a:pt x="1314" y="1464"/>
                  </a:lnTo>
                  <a:lnTo>
                    <a:pt x="1308" y="1464"/>
                  </a:lnTo>
                  <a:lnTo>
                    <a:pt x="1308" y="1452"/>
                  </a:lnTo>
                  <a:lnTo>
                    <a:pt x="1284" y="1458"/>
                  </a:lnTo>
                  <a:lnTo>
                    <a:pt x="1272" y="1458"/>
                  </a:lnTo>
                  <a:lnTo>
                    <a:pt x="1272" y="1464"/>
                  </a:lnTo>
                  <a:lnTo>
                    <a:pt x="1260" y="1464"/>
                  </a:lnTo>
                  <a:lnTo>
                    <a:pt x="1254" y="1464"/>
                  </a:lnTo>
                  <a:lnTo>
                    <a:pt x="1242" y="1422"/>
                  </a:lnTo>
                  <a:lnTo>
                    <a:pt x="1242" y="1416"/>
                  </a:lnTo>
                  <a:lnTo>
                    <a:pt x="1242" y="1410"/>
                  </a:lnTo>
                  <a:lnTo>
                    <a:pt x="1248" y="1410"/>
                  </a:lnTo>
                  <a:lnTo>
                    <a:pt x="1242" y="1410"/>
                  </a:lnTo>
                  <a:lnTo>
                    <a:pt x="1242" y="1404"/>
                  </a:lnTo>
                  <a:lnTo>
                    <a:pt x="1242" y="1398"/>
                  </a:lnTo>
                  <a:lnTo>
                    <a:pt x="1248" y="1392"/>
                  </a:lnTo>
                  <a:lnTo>
                    <a:pt x="1248" y="1386"/>
                  </a:lnTo>
                  <a:lnTo>
                    <a:pt x="1242" y="1380"/>
                  </a:lnTo>
                  <a:lnTo>
                    <a:pt x="1248" y="1380"/>
                  </a:lnTo>
                  <a:lnTo>
                    <a:pt x="1248" y="1374"/>
                  </a:lnTo>
                  <a:lnTo>
                    <a:pt x="1248" y="1368"/>
                  </a:lnTo>
                  <a:lnTo>
                    <a:pt x="1254" y="1368"/>
                  </a:lnTo>
                  <a:lnTo>
                    <a:pt x="1254" y="1362"/>
                  </a:lnTo>
                  <a:lnTo>
                    <a:pt x="1248" y="1356"/>
                  </a:lnTo>
                  <a:lnTo>
                    <a:pt x="1254" y="1356"/>
                  </a:lnTo>
                  <a:lnTo>
                    <a:pt x="1254" y="1344"/>
                  </a:lnTo>
                  <a:lnTo>
                    <a:pt x="1242" y="1338"/>
                  </a:lnTo>
                  <a:lnTo>
                    <a:pt x="1242" y="1326"/>
                  </a:lnTo>
                  <a:lnTo>
                    <a:pt x="1230" y="1326"/>
                  </a:lnTo>
                  <a:lnTo>
                    <a:pt x="1230" y="1314"/>
                  </a:lnTo>
                  <a:lnTo>
                    <a:pt x="1218" y="1314"/>
                  </a:lnTo>
                  <a:lnTo>
                    <a:pt x="1200" y="1272"/>
                  </a:lnTo>
                  <a:lnTo>
                    <a:pt x="1194" y="1242"/>
                  </a:lnTo>
                  <a:lnTo>
                    <a:pt x="1194" y="1206"/>
                  </a:lnTo>
                  <a:lnTo>
                    <a:pt x="1182" y="1200"/>
                  </a:lnTo>
                  <a:lnTo>
                    <a:pt x="1164" y="1206"/>
                  </a:lnTo>
                  <a:lnTo>
                    <a:pt x="1146" y="1212"/>
                  </a:lnTo>
                  <a:lnTo>
                    <a:pt x="1146" y="1218"/>
                  </a:lnTo>
                  <a:lnTo>
                    <a:pt x="1134" y="1224"/>
                  </a:lnTo>
                  <a:lnTo>
                    <a:pt x="1140" y="1260"/>
                  </a:lnTo>
                  <a:lnTo>
                    <a:pt x="1134" y="1266"/>
                  </a:lnTo>
                  <a:lnTo>
                    <a:pt x="1122" y="1266"/>
                  </a:lnTo>
                  <a:lnTo>
                    <a:pt x="1110" y="1236"/>
                  </a:lnTo>
                  <a:lnTo>
                    <a:pt x="1110" y="1224"/>
                  </a:lnTo>
                  <a:lnTo>
                    <a:pt x="1086" y="1224"/>
                  </a:lnTo>
                  <a:lnTo>
                    <a:pt x="1086" y="1212"/>
                  </a:lnTo>
                  <a:lnTo>
                    <a:pt x="1074" y="1212"/>
                  </a:lnTo>
                  <a:lnTo>
                    <a:pt x="1050" y="1212"/>
                  </a:lnTo>
                  <a:lnTo>
                    <a:pt x="1056" y="1218"/>
                  </a:lnTo>
                  <a:lnTo>
                    <a:pt x="1050" y="1272"/>
                  </a:lnTo>
                  <a:lnTo>
                    <a:pt x="1044" y="1272"/>
                  </a:lnTo>
                  <a:lnTo>
                    <a:pt x="1038" y="1284"/>
                  </a:lnTo>
                  <a:lnTo>
                    <a:pt x="1032" y="1302"/>
                  </a:lnTo>
                  <a:lnTo>
                    <a:pt x="1014" y="1302"/>
                  </a:lnTo>
                  <a:lnTo>
                    <a:pt x="1020" y="1284"/>
                  </a:lnTo>
                  <a:lnTo>
                    <a:pt x="1026" y="1278"/>
                  </a:lnTo>
                  <a:lnTo>
                    <a:pt x="1026" y="1266"/>
                  </a:lnTo>
                  <a:lnTo>
                    <a:pt x="1014" y="1260"/>
                  </a:lnTo>
                  <a:lnTo>
                    <a:pt x="1014" y="1272"/>
                  </a:lnTo>
                  <a:lnTo>
                    <a:pt x="990" y="1278"/>
                  </a:lnTo>
                  <a:lnTo>
                    <a:pt x="990" y="1254"/>
                  </a:lnTo>
                  <a:lnTo>
                    <a:pt x="984" y="1254"/>
                  </a:lnTo>
                  <a:lnTo>
                    <a:pt x="978" y="1242"/>
                  </a:lnTo>
                  <a:lnTo>
                    <a:pt x="972" y="1236"/>
                  </a:lnTo>
                  <a:lnTo>
                    <a:pt x="960" y="1206"/>
                  </a:lnTo>
                  <a:lnTo>
                    <a:pt x="942" y="1206"/>
                  </a:lnTo>
                  <a:lnTo>
                    <a:pt x="936" y="1200"/>
                  </a:lnTo>
                  <a:lnTo>
                    <a:pt x="906" y="1212"/>
                  </a:lnTo>
                  <a:lnTo>
                    <a:pt x="888" y="1230"/>
                  </a:lnTo>
                  <a:lnTo>
                    <a:pt x="876" y="1230"/>
                  </a:lnTo>
                  <a:lnTo>
                    <a:pt x="864" y="1236"/>
                  </a:lnTo>
                  <a:lnTo>
                    <a:pt x="858" y="1236"/>
                  </a:lnTo>
                  <a:lnTo>
                    <a:pt x="852" y="1254"/>
                  </a:lnTo>
                  <a:lnTo>
                    <a:pt x="858" y="1254"/>
                  </a:lnTo>
                  <a:lnTo>
                    <a:pt x="840" y="1266"/>
                  </a:lnTo>
                  <a:lnTo>
                    <a:pt x="828" y="1272"/>
                  </a:lnTo>
                  <a:lnTo>
                    <a:pt x="828" y="1284"/>
                  </a:lnTo>
                  <a:lnTo>
                    <a:pt x="822" y="1284"/>
                  </a:lnTo>
                  <a:lnTo>
                    <a:pt x="804" y="1296"/>
                  </a:lnTo>
                  <a:lnTo>
                    <a:pt x="804" y="1308"/>
                  </a:lnTo>
                  <a:lnTo>
                    <a:pt x="816" y="1320"/>
                  </a:lnTo>
                  <a:lnTo>
                    <a:pt x="828" y="1320"/>
                  </a:lnTo>
                  <a:lnTo>
                    <a:pt x="822" y="1338"/>
                  </a:lnTo>
                  <a:lnTo>
                    <a:pt x="852" y="1344"/>
                  </a:lnTo>
                  <a:lnTo>
                    <a:pt x="864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94" y="1356"/>
                  </a:lnTo>
                  <a:lnTo>
                    <a:pt x="912" y="1368"/>
                  </a:lnTo>
                  <a:lnTo>
                    <a:pt x="918" y="1380"/>
                  </a:lnTo>
                  <a:lnTo>
                    <a:pt x="936" y="1380"/>
                  </a:lnTo>
                  <a:lnTo>
                    <a:pt x="960" y="1386"/>
                  </a:lnTo>
                  <a:lnTo>
                    <a:pt x="990" y="1386"/>
                  </a:lnTo>
                  <a:lnTo>
                    <a:pt x="990" y="1392"/>
                  </a:lnTo>
                  <a:lnTo>
                    <a:pt x="1020" y="1398"/>
                  </a:lnTo>
                  <a:lnTo>
                    <a:pt x="1014" y="1404"/>
                  </a:lnTo>
                  <a:lnTo>
                    <a:pt x="1008" y="1404"/>
                  </a:lnTo>
                  <a:lnTo>
                    <a:pt x="1014" y="1440"/>
                  </a:lnTo>
                  <a:lnTo>
                    <a:pt x="1020" y="1458"/>
                  </a:lnTo>
                  <a:lnTo>
                    <a:pt x="1026" y="1476"/>
                  </a:lnTo>
                  <a:lnTo>
                    <a:pt x="1020" y="1476"/>
                  </a:lnTo>
                  <a:lnTo>
                    <a:pt x="1014" y="1476"/>
                  </a:lnTo>
                  <a:lnTo>
                    <a:pt x="1014" y="1482"/>
                  </a:lnTo>
                  <a:lnTo>
                    <a:pt x="1014" y="1488"/>
                  </a:lnTo>
                  <a:lnTo>
                    <a:pt x="1002" y="1488"/>
                  </a:lnTo>
                  <a:lnTo>
                    <a:pt x="1002" y="1494"/>
                  </a:lnTo>
                  <a:lnTo>
                    <a:pt x="996" y="1494"/>
                  </a:lnTo>
                  <a:lnTo>
                    <a:pt x="996" y="1518"/>
                  </a:lnTo>
                  <a:lnTo>
                    <a:pt x="1002" y="1524"/>
                  </a:lnTo>
                  <a:lnTo>
                    <a:pt x="1020" y="1530"/>
                  </a:lnTo>
                  <a:lnTo>
                    <a:pt x="1026" y="1542"/>
                  </a:lnTo>
                  <a:lnTo>
                    <a:pt x="1032" y="1566"/>
                  </a:lnTo>
                  <a:lnTo>
                    <a:pt x="1038" y="1578"/>
                  </a:lnTo>
                  <a:lnTo>
                    <a:pt x="1032" y="1584"/>
                  </a:lnTo>
                  <a:lnTo>
                    <a:pt x="1020" y="1584"/>
                  </a:lnTo>
                  <a:lnTo>
                    <a:pt x="1014" y="1584"/>
                  </a:lnTo>
                  <a:lnTo>
                    <a:pt x="1008" y="1596"/>
                  </a:lnTo>
                  <a:lnTo>
                    <a:pt x="990" y="1584"/>
                  </a:lnTo>
                  <a:lnTo>
                    <a:pt x="984" y="1602"/>
                  </a:lnTo>
                  <a:lnTo>
                    <a:pt x="978" y="1608"/>
                  </a:lnTo>
                  <a:lnTo>
                    <a:pt x="966" y="1608"/>
                  </a:lnTo>
                  <a:lnTo>
                    <a:pt x="960" y="1614"/>
                  </a:lnTo>
                  <a:lnTo>
                    <a:pt x="954" y="1614"/>
                  </a:lnTo>
                  <a:lnTo>
                    <a:pt x="942" y="1620"/>
                  </a:lnTo>
                  <a:lnTo>
                    <a:pt x="936" y="1620"/>
                  </a:lnTo>
                  <a:lnTo>
                    <a:pt x="930" y="1620"/>
                  </a:lnTo>
                  <a:lnTo>
                    <a:pt x="930" y="1626"/>
                  </a:lnTo>
                  <a:lnTo>
                    <a:pt x="930" y="1632"/>
                  </a:lnTo>
                  <a:lnTo>
                    <a:pt x="918" y="1632"/>
                  </a:lnTo>
                  <a:lnTo>
                    <a:pt x="912" y="1632"/>
                  </a:lnTo>
                  <a:lnTo>
                    <a:pt x="906" y="1632"/>
                  </a:lnTo>
                  <a:lnTo>
                    <a:pt x="900" y="1632"/>
                  </a:lnTo>
                  <a:lnTo>
                    <a:pt x="894" y="1626"/>
                  </a:lnTo>
                  <a:lnTo>
                    <a:pt x="894" y="1614"/>
                  </a:lnTo>
                  <a:lnTo>
                    <a:pt x="840" y="1614"/>
                  </a:lnTo>
                  <a:lnTo>
                    <a:pt x="840" y="1626"/>
                  </a:lnTo>
                  <a:lnTo>
                    <a:pt x="834" y="1626"/>
                  </a:lnTo>
                  <a:lnTo>
                    <a:pt x="828" y="1632"/>
                  </a:lnTo>
                  <a:lnTo>
                    <a:pt x="822" y="1638"/>
                  </a:lnTo>
                  <a:lnTo>
                    <a:pt x="822" y="1644"/>
                  </a:lnTo>
                  <a:lnTo>
                    <a:pt x="834" y="1650"/>
                  </a:lnTo>
                  <a:lnTo>
                    <a:pt x="840" y="1662"/>
                  </a:lnTo>
                  <a:lnTo>
                    <a:pt x="840" y="1668"/>
                  </a:lnTo>
                  <a:lnTo>
                    <a:pt x="858" y="1680"/>
                  </a:lnTo>
                  <a:lnTo>
                    <a:pt x="858" y="1752"/>
                  </a:lnTo>
                  <a:lnTo>
                    <a:pt x="864" y="1782"/>
                  </a:lnTo>
                  <a:lnTo>
                    <a:pt x="876" y="1788"/>
                  </a:lnTo>
                  <a:lnTo>
                    <a:pt x="870" y="1854"/>
                  </a:lnTo>
                  <a:lnTo>
                    <a:pt x="870" y="1884"/>
                  </a:lnTo>
                  <a:lnTo>
                    <a:pt x="864" y="1884"/>
                  </a:lnTo>
                  <a:lnTo>
                    <a:pt x="846" y="1896"/>
                  </a:lnTo>
                  <a:lnTo>
                    <a:pt x="840" y="1896"/>
                  </a:lnTo>
                  <a:lnTo>
                    <a:pt x="834" y="1896"/>
                  </a:lnTo>
                  <a:lnTo>
                    <a:pt x="828" y="1890"/>
                  </a:lnTo>
                  <a:lnTo>
                    <a:pt x="822" y="1890"/>
                  </a:lnTo>
                  <a:lnTo>
                    <a:pt x="816" y="1896"/>
                  </a:lnTo>
                  <a:lnTo>
                    <a:pt x="804" y="1896"/>
                  </a:lnTo>
                  <a:lnTo>
                    <a:pt x="804" y="1890"/>
                  </a:lnTo>
                  <a:lnTo>
                    <a:pt x="780" y="1896"/>
                  </a:lnTo>
                  <a:lnTo>
                    <a:pt x="780" y="1902"/>
                  </a:lnTo>
                  <a:lnTo>
                    <a:pt x="774" y="1914"/>
                  </a:lnTo>
                  <a:lnTo>
                    <a:pt x="762" y="1926"/>
                  </a:lnTo>
                  <a:lnTo>
                    <a:pt x="762" y="1950"/>
                  </a:lnTo>
                  <a:lnTo>
                    <a:pt x="762" y="1962"/>
                  </a:lnTo>
                  <a:lnTo>
                    <a:pt x="780" y="1974"/>
                  </a:lnTo>
                  <a:lnTo>
                    <a:pt x="780" y="1986"/>
                  </a:lnTo>
                  <a:lnTo>
                    <a:pt x="780" y="1998"/>
                  </a:lnTo>
                  <a:lnTo>
                    <a:pt x="756" y="1998"/>
                  </a:lnTo>
                  <a:lnTo>
                    <a:pt x="720" y="1992"/>
                  </a:lnTo>
                  <a:lnTo>
                    <a:pt x="666" y="1998"/>
                  </a:lnTo>
                  <a:lnTo>
                    <a:pt x="654" y="1998"/>
                  </a:lnTo>
                  <a:lnTo>
                    <a:pt x="660" y="1974"/>
                  </a:lnTo>
                  <a:lnTo>
                    <a:pt x="666" y="1962"/>
                  </a:lnTo>
                  <a:lnTo>
                    <a:pt x="678" y="1950"/>
                  </a:lnTo>
                  <a:lnTo>
                    <a:pt x="696" y="1932"/>
                  </a:lnTo>
                  <a:lnTo>
                    <a:pt x="696" y="1920"/>
                  </a:lnTo>
                  <a:lnTo>
                    <a:pt x="696" y="1896"/>
                  </a:lnTo>
                  <a:lnTo>
                    <a:pt x="678" y="1896"/>
                  </a:lnTo>
                  <a:lnTo>
                    <a:pt x="672" y="1884"/>
                  </a:lnTo>
                  <a:lnTo>
                    <a:pt x="672" y="1776"/>
                  </a:lnTo>
                  <a:lnTo>
                    <a:pt x="678" y="1758"/>
                  </a:lnTo>
                  <a:lnTo>
                    <a:pt x="678" y="1740"/>
                  </a:lnTo>
                  <a:lnTo>
                    <a:pt x="684" y="1728"/>
                  </a:lnTo>
                  <a:lnTo>
                    <a:pt x="690" y="1722"/>
                  </a:lnTo>
                  <a:lnTo>
                    <a:pt x="702" y="1722"/>
                  </a:lnTo>
                  <a:lnTo>
                    <a:pt x="708" y="1716"/>
                  </a:lnTo>
                  <a:lnTo>
                    <a:pt x="714" y="1710"/>
                  </a:lnTo>
                  <a:lnTo>
                    <a:pt x="720" y="1698"/>
                  </a:lnTo>
                  <a:lnTo>
                    <a:pt x="732" y="1692"/>
                  </a:lnTo>
                  <a:lnTo>
                    <a:pt x="744" y="1686"/>
                  </a:lnTo>
                  <a:lnTo>
                    <a:pt x="756" y="1680"/>
                  </a:lnTo>
                  <a:lnTo>
                    <a:pt x="768" y="1668"/>
                  </a:lnTo>
                  <a:lnTo>
                    <a:pt x="768" y="1650"/>
                  </a:lnTo>
                  <a:lnTo>
                    <a:pt x="774" y="1632"/>
                  </a:lnTo>
                  <a:lnTo>
                    <a:pt x="768" y="1620"/>
                  </a:lnTo>
                  <a:lnTo>
                    <a:pt x="774" y="1608"/>
                  </a:lnTo>
                  <a:lnTo>
                    <a:pt x="774" y="1578"/>
                  </a:lnTo>
                  <a:lnTo>
                    <a:pt x="774" y="1572"/>
                  </a:lnTo>
                  <a:lnTo>
                    <a:pt x="780" y="1560"/>
                  </a:lnTo>
                  <a:lnTo>
                    <a:pt x="780" y="1554"/>
                  </a:lnTo>
                  <a:lnTo>
                    <a:pt x="786" y="1542"/>
                  </a:lnTo>
                  <a:lnTo>
                    <a:pt x="792" y="1530"/>
                  </a:lnTo>
                  <a:lnTo>
                    <a:pt x="792" y="1518"/>
                  </a:lnTo>
                  <a:lnTo>
                    <a:pt x="792" y="1506"/>
                  </a:lnTo>
                  <a:lnTo>
                    <a:pt x="786" y="1500"/>
                  </a:lnTo>
                  <a:lnTo>
                    <a:pt x="774" y="1488"/>
                  </a:lnTo>
                  <a:lnTo>
                    <a:pt x="774" y="1482"/>
                  </a:lnTo>
                  <a:lnTo>
                    <a:pt x="762" y="1488"/>
                  </a:lnTo>
                  <a:lnTo>
                    <a:pt x="756" y="1494"/>
                  </a:lnTo>
                  <a:lnTo>
                    <a:pt x="744" y="1500"/>
                  </a:lnTo>
                  <a:lnTo>
                    <a:pt x="732" y="1506"/>
                  </a:lnTo>
                  <a:lnTo>
                    <a:pt x="726" y="1506"/>
                  </a:lnTo>
                  <a:lnTo>
                    <a:pt x="720" y="1506"/>
                  </a:lnTo>
                  <a:lnTo>
                    <a:pt x="702" y="1506"/>
                  </a:lnTo>
                  <a:lnTo>
                    <a:pt x="690" y="1500"/>
                  </a:lnTo>
                  <a:lnTo>
                    <a:pt x="678" y="1500"/>
                  </a:lnTo>
                  <a:lnTo>
                    <a:pt x="672" y="1500"/>
                  </a:lnTo>
                  <a:lnTo>
                    <a:pt x="660" y="1506"/>
                  </a:lnTo>
                  <a:lnTo>
                    <a:pt x="654" y="1506"/>
                  </a:lnTo>
                  <a:lnTo>
                    <a:pt x="648" y="1512"/>
                  </a:lnTo>
                  <a:lnTo>
                    <a:pt x="648" y="1518"/>
                  </a:lnTo>
                  <a:lnTo>
                    <a:pt x="618" y="1518"/>
                  </a:lnTo>
                  <a:lnTo>
                    <a:pt x="534" y="1494"/>
                  </a:lnTo>
                  <a:lnTo>
                    <a:pt x="528" y="1458"/>
                  </a:lnTo>
                  <a:lnTo>
                    <a:pt x="510" y="1458"/>
                  </a:lnTo>
                  <a:lnTo>
                    <a:pt x="492" y="1440"/>
                  </a:lnTo>
                  <a:lnTo>
                    <a:pt x="462" y="1440"/>
                  </a:lnTo>
                  <a:lnTo>
                    <a:pt x="456" y="1428"/>
                  </a:lnTo>
                  <a:lnTo>
                    <a:pt x="420" y="1428"/>
                  </a:lnTo>
                  <a:lnTo>
                    <a:pt x="390" y="1446"/>
                  </a:lnTo>
                  <a:lnTo>
                    <a:pt x="312" y="1452"/>
                  </a:lnTo>
                  <a:lnTo>
                    <a:pt x="300" y="1446"/>
                  </a:lnTo>
                  <a:lnTo>
                    <a:pt x="294" y="1446"/>
                  </a:lnTo>
                  <a:lnTo>
                    <a:pt x="288" y="1446"/>
                  </a:lnTo>
                  <a:lnTo>
                    <a:pt x="282" y="1440"/>
                  </a:lnTo>
                  <a:lnTo>
                    <a:pt x="276" y="1440"/>
                  </a:lnTo>
                  <a:lnTo>
                    <a:pt x="270" y="1440"/>
                  </a:lnTo>
                  <a:lnTo>
                    <a:pt x="264" y="1440"/>
                  </a:lnTo>
                  <a:lnTo>
                    <a:pt x="258" y="1434"/>
                  </a:lnTo>
                  <a:lnTo>
                    <a:pt x="252" y="1434"/>
                  </a:lnTo>
                  <a:lnTo>
                    <a:pt x="246" y="1428"/>
                  </a:lnTo>
                  <a:lnTo>
                    <a:pt x="240" y="1416"/>
                  </a:lnTo>
                  <a:lnTo>
                    <a:pt x="234" y="1404"/>
                  </a:lnTo>
                  <a:lnTo>
                    <a:pt x="228" y="1398"/>
                  </a:lnTo>
                  <a:lnTo>
                    <a:pt x="222" y="1398"/>
                  </a:lnTo>
                  <a:lnTo>
                    <a:pt x="216" y="1404"/>
                  </a:lnTo>
                  <a:lnTo>
                    <a:pt x="210" y="1404"/>
                  </a:lnTo>
                  <a:lnTo>
                    <a:pt x="204" y="1404"/>
                  </a:lnTo>
                  <a:lnTo>
                    <a:pt x="204" y="1398"/>
                  </a:lnTo>
                  <a:lnTo>
                    <a:pt x="198" y="1392"/>
                  </a:lnTo>
                  <a:lnTo>
                    <a:pt x="192" y="1386"/>
                  </a:lnTo>
                  <a:lnTo>
                    <a:pt x="168" y="1374"/>
                  </a:lnTo>
                  <a:lnTo>
                    <a:pt x="144" y="13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0" name="Freeform 35">
              <a:extLst>
                <a:ext uri="{FF2B5EF4-FFF2-40B4-BE49-F238E27FC236}">
                  <a16:creationId xmlns:a16="http://schemas.microsoft.com/office/drawing/2014/main" id="{F64BF16E-9D62-438E-A1CC-CD4088AC7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2895" y="1706004"/>
              <a:ext cx="767013" cy="785011"/>
            </a:xfrm>
            <a:custGeom>
              <a:avLst/>
              <a:gdLst>
                <a:gd name="T0" fmla="*/ 102 w 1440"/>
                <a:gd name="T1" fmla="*/ 104 h 1476"/>
                <a:gd name="T2" fmla="*/ 99 w 1440"/>
                <a:gd name="T3" fmla="*/ 108 h 1476"/>
                <a:gd name="T4" fmla="*/ 98 w 1440"/>
                <a:gd name="T5" fmla="*/ 112 h 1476"/>
                <a:gd name="T6" fmla="*/ 96 w 1440"/>
                <a:gd name="T7" fmla="*/ 116 h 1476"/>
                <a:gd name="T8" fmla="*/ 91 w 1440"/>
                <a:gd name="T9" fmla="*/ 118 h 1476"/>
                <a:gd name="T10" fmla="*/ 87 w 1440"/>
                <a:gd name="T11" fmla="*/ 120 h 1476"/>
                <a:gd name="T12" fmla="*/ 75 w 1440"/>
                <a:gd name="T13" fmla="*/ 120 h 1476"/>
                <a:gd name="T14" fmla="*/ 72 w 1440"/>
                <a:gd name="T15" fmla="*/ 123 h 1476"/>
                <a:gd name="T16" fmla="*/ 69 w 1440"/>
                <a:gd name="T17" fmla="*/ 128 h 1476"/>
                <a:gd name="T18" fmla="*/ 67 w 1440"/>
                <a:gd name="T19" fmla="*/ 127 h 1476"/>
                <a:gd name="T20" fmla="*/ 66 w 1440"/>
                <a:gd name="T21" fmla="*/ 123 h 1476"/>
                <a:gd name="T22" fmla="*/ 63 w 1440"/>
                <a:gd name="T23" fmla="*/ 119 h 1476"/>
                <a:gd name="T24" fmla="*/ 54 w 1440"/>
                <a:gd name="T25" fmla="*/ 114 h 1476"/>
                <a:gd name="T26" fmla="*/ 55 w 1440"/>
                <a:gd name="T27" fmla="*/ 106 h 1476"/>
                <a:gd name="T28" fmla="*/ 60 w 1440"/>
                <a:gd name="T29" fmla="*/ 100 h 1476"/>
                <a:gd name="T30" fmla="*/ 55 w 1440"/>
                <a:gd name="T31" fmla="*/ 91 h 1476"/>
                <a:gd name="T32" fmla="*/ 51 w 1440"/>
                <a:gd name="T33" fmla="*/ 86 h 1476"/>
                <a:gd name="T34" fmla="*/ 47 w 1440"/>
                <a:gd name="T35" fmla="*/ 85 h 1476"/>
                <a:gd name="T36" fmla="*/ 44 w 1440"/>
                <a:gd name="T37" fmla="*/ 82 h 1476"/>
                <a:gd name="T38" fmla="*/ 41 w 1440"/>
                <a:gd name="T39" fmla="*/ 83 h 1476"/>
                <a:gd name="T40" fmla="*/ 36 w 1440"/>
                <a:gd name="T41" fmla="*/ 83 h 1476"/>
                <a:gd name="T42" fmla="*/ 33 w 1440"/>
                <a:gd name="T43" fmla="*/ 83 h 1476"/>
                <a:gd name="T44" fmla="*/ 30 w 1440"/>
                <a:gd name="T45" fmla="*/ 83 h 1476"/>
                <a:gd name="T46" fmla="*/ 27 w 1440"/>
                <a:gd name="T47" fmla="*/ 83 h 1476"/>
                <a:gd name="T48" fmla="*/ 24 w 1440"/>
                <a:gd name="T49" fmla="*/ 82 h 1476"/>
                <a:gd name="T50" fmla="*/ 21 w 1440"/>
                <a:gd name="T51" fmla="*/ 80 h 1476"/>
                <a:gd name="T52" fmla="*/ 18 w 1440"/>
                <a:gd name="T53" fmla="*/ 79 h 1476"/>
                <a:gd name="T54" fmla="*/ 17 w 1440"/>
                <a:gd name="T55" fmla="*/ 78 h 1476"/>
                <a:gd name="T56" fmla="*/ 12 w 1440"/>
                <a:gd name="T57" fmla="*/ 78 h 1476"/>
                <a:gd name="T58" fmla="*/ 12 w 1440"/>
                <a:gd name="T59" fmla="*/ 78 h 1476"/>
                <a:gd name="T60" fmla="*/ 7 w 1440"/>
                <a:gd name="T61" fmla="*/ 80 h 1476"/>
                <a:gd name="T62" fmla="*/ 3 w 1440"/>
                <a:gd name="T63" fmla="*/ 81 h 1476"/>
                <a:gd name="T64" fmla="*/ 0 w 1440"/>
                <a:gd name="T65" fmla="*/ 76 h 1476"/>
                <a:gd name="T66" fmla="*/ 1 w 1440"/>
                <a:gd name="T67" fmla="*/ 50 h 1476"/>
                <a:gd name="T68" fmla="*/ 8 w 1440"/>
                <a:gd name="T69" fmla="*/ 48 h 1476"/>
                <a:gd name="T70" fmla="*/ 20 w 1440"/>
                <a:gd name="T71" fmla="*/ 49 h 1476"/>
                <a:gd name="T72" fmla="*/ 26 w 1440"/>
                <a:gd name="T73" fmla="*/ 50 h 1476"/>
                <a:gd name="T74" fmla="*/ 44 w 1440"/>
                <a:gd name="T75" fmla="*/ 47 h 1476"/>
                <a:gd name="T76" fmla="*/ 41 w 1440"/>
                <a:gd name="T77" fmla="*/ 24 h 1476"/>
                <a:gd name="T78" fmla="*/ 44 w 1440"/>
                <a:gd name="T79" fmla="*/ 20 h 1476"/>
                <a:gd name="T80" fmla="*/ 47 w 1440"/>
                <a:gd name="T81" fmla="*/ 18 h 1476"/>
                <a:gd name="T82" fmla="*/ 54 w 1440"/>
                <a:gd name="T83" fmla="*/ 21 h 1476"/>
                <a:gd name="T84" fmla="*/ 61 w 1440"/>
                <a:gd name="T85" fmla="*/ 23 h 1476"/>
                <a:gd name="T86" fmla="*/ 59 w 1440"/>
                <a:gd name="T87" fmla="*/ 14 h 1476"/>
                <a:gd name="T88" fmla="*/ 61 w 1440"/>
                <a:gd name="T89" fmla="*/ 8 h 1476"/>
                <a:gd name="T90" fmla="*/ 71 w 1440"/>
                <a:gd name="T91" fmla="*/ 7 h 1476"/>
                <a:gd name="T92" fmla="*/ 75 w 1440"/>
                <a:gd name="T93" fmla="*/ 0 h 1476"/>
                <a:gd name="T94" fmla="*/ 82 w 1440"/>
                <a:gd name="T95" fmla="*/ 3 h 1476"/>
                <a:gd name="T96" fmla="*/ 93 w 1440"/>
                <a:gd name="T97" fmla="*/ 5 h 1476"/>
                <a:gd name="T98" fmla="*/ 100 w 1440"/>
                <a:gd name="T99" fmla="*/ 1 h 1476"/>
                <a:gd name="T100" fmla="*/ 104 w 1440"/>
                <a:gd name="T101" fmla="*/ 4 h 1476"/>
                <a:gd name="T102" fmla="*/ 110 w 1440"/>
                <a:gd name="T103" fmla="*/ 10 h 1476"/>
                <a:gd name="T104" fmla="*/ 115 w 1440"/>
                <a:gd name="T105" fmla="*/ 23 h 1476"/>
                <a:gd name="T106" fmla="*/ 117 w 1440"/>
                <a:gd name="T107" fmla="*/ 42 h 1476"/>
                <a:gd name="T108" fmla="*/ 121 w 1440"/>
                <a:gd name="T109" fmla="*/ 52 h 1476"/>
                <a:gd name="T110" fmla="*/ 118 w 1440"/>
                <a:gd name="T111" fmla="*/ 62 h 1476"/>
                <a:gd name="T112" fmla="*/ 124 w 1440"/>
                <a:gd name="T113" fmla="*/ 66 h 1476"/>
                <a:gd name="T114" fmla="*/ 121 w 1440"/>
                <a:gd name="T115" fmla="*/ 71 h 1476"/>
                <a:gd name="T116" fmla="*/ 115 w 1440"/>
                <a:gd name="T117" fmla="*/ 76 h 1476"/>
                <a:gd name="T118" fmla="*/ 109 w 1440"/>
                <a:gd name="T119" fmla="*/ 76 h 1476"/>
                <a:gd name="T120" fmla="*/ 105 w 1440"/>
                <a:gd name="T121" fmla="*/ 86 h 1476"/>
                <a:gd name="T122" fmla="*/ 107 w 1440"/>
                <a:gd name="T123" fmla="*/ 97 h 147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40"/>
                <a:gd name="T187" fmla="*/ 0 h 1476"/>
                <a:gd name="T188" fmla="*/ 1440 w 1440"/>
                <a:gd name="T189" fmla="*/ 1476 h 147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40" h="1476">
                  <a:moveTo>
                    <a:pt x="1212" y="1164"/>
                  </a:moveTo>
                  <a:lnTo>
                    <a:pt x="1206" y="1170"/>
                  </a:lnTo>
                  <a:lnTo>
                    <a:pt x="1200" y="1176"/>
                  </a:lnTo>
                  <a:lnTo>
                    <a:pt x="1194" y="1176"/>
                  </a:lnTo>
                  <a:lnTo>
                    <a:pt x="1188" y="1188"/>
                  </a:lnTo>
                  <a:lnTo>
                    <a:pt x="1182" y="1194"/>
                  </a:lnTo>
                  <a:lnTo>
                    <a:pt x="1176" y="1194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64" y="1206"/>
                  </a:lnTo>
                  <a:lnTo>
                    <a:pt x="1158" y="1206"/>
                  </a:lnTo>
                  <a:lnTo>
                    <a:pt x="1152" y="1212"/>
                  </a:lnTo>
                  <a:lnTo>
                    <a:pt x="1146" y="1212"/>
                  </a:lnTo>
                  <a:lnTo>
                    <a:pt x="1140" y="1224"/>
                  </a:lnTo>
                  <a:lnTo>
                    <a:pt x="1134" y="1230"/>
                  </a:lnTo>
                  <a:lnTo>
                    <a:pt x="1128" y="1236"/>
                  </a:lnTo>
                  <a:lnTo>
                    <a:pt x="1128" y="1242"/>
                  </a:lnTo>
                  <a:lnTo>
                    <a:pt x="1128" y="1254"/>
                  </a:lnTo>
                  <a:lnTo>
                    <a:pt x="1128" y="1260"/>
                  </a:lnTo>
                  <a:lnTo>
                    <a:pt x="1122" y="1260"/>
                  </a:lnTo>
                  <a:lnTo>
                    <a:pt x="1122" y="1266"/>
                  </a:lnTo>
                  <a:lnTo>
                    <a:pt x="1128" y="1278"/>
                  </a:lnTo>
                  <a:lnTo>
                    <a:pt x="1122" y="1278"/>
                  </a:lnTo>
                  <a:lnTo>
                    <a:pt x="1122" y="1284"/>
                  </a:lnTo>
                  <a:lnTo>
                    <a:pt x="1128" y="1290"/>
                  </a:lnTo>
                  <a:lnTo>
                    <a:pt x="1122" y="1296"/>
                  </a:lnTo>
                  <a:lnTo>
                    <a:pt x="1122" y="1302"/>
                  </a:lnTo>
                  <a:lnTo>
                    <a:pt x="1116" y="1302"/>
                  </a:lnTo>
                  <a:lnTo>
                    <a:pt x="1110" y="1314"/>
                  </a:lnTo>
                  <a:lnTo>
                    <a:pt x="1110" y="1320"/>
                  </a:lnTo>
                  <a:lnTo>
                    <a:pt x="1110" y="1326"/>
                  </a:lnTo>
                  <a:lnTo>
                    <a:pt x="1098" y="1332"/>
                  </a:lnTo>
                  <a:lnTo>
                    <a:pt x="1092" y="1338"/>
                  </a:lnTo>
                  <a:lnTo>
                    <a:pt x="1092" y="1344"/>
                  </a:lnTo>
                  <a:lnTo>
                    <a:pt x="1086" y="1350"/>
                  </a:lnTo>
                  <a:lnTo>
                    <a:pt x="1080" y="1350"/>
                  </a:lnTo>
                  <a:lnTo>
                    <a:pt x="1074" y="1350"/>
                  </a:lnTo>
                  <a:lnTo>
                    <a:pt x="1068" y="1356"/>
                  </a:lnTo>
                  <a:lnTo>
                    <a:pt x="1062" y="1356"/>
                  </a:lnTo>
                  <a:lnTo>
                    <a:pt x="1044" y="1356"/>
                  </a:lnTo>
                  <a:lnTo>
                    <a:pt x="1038" y="1362"/>
                  </a:lnTo>
                  <a:lnTo>
                    <a:pt x="1032" y="1368"/>
                  </a:lnTo>
                  <a:lnTo>
                    <a:pt x="1026" y="1368"/>
                  </a:lnTo>
                  <a:lnTo>
                    <a:pt x="1020" y="1374"/>
                  </a:lnTo>
                  <a:lnTo>
                    <a:pt x="1008" y="1374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74"/>
                  </a:lnTo>
                  <a:lnTo>
                    <a:pt x="978" y="1380"/>
                  </a:lnTo>
                  <a:lnTo>
                    <a:pt x="972" y="1380"/>
                  </a:lnTo>
                  <a:lnTo>
                    <a:pt x="954" y="1368"/>
                  </a:lnTo>
                  <a:lnTo>
                    <a:pt x="930" y="1368"/>
                  </a:lnTo>
                  <a:lnTo>
                    <a:pt x="918" y="1368"/>
                  </a:lnTo>
                  <a:lnTo>
                    <a:pt x="906" y="1368"/>
                  </a:lnTo>
                  <a:lnTo>
                    <a:pt x="894" y="1368"/>
                  </a:lnTo>
                  <a:lnTo>
                    <a:pt x="864" y="1374"/>
                  </a:lnTo>
                  <a:lnTo>
                    <a:pt x="852" y="1374"/>
                  </a:lnTo>
                  <a:lnTo>
                    <a:pt x="846" y="1386"/>
                  </a:lnTo>
                  <a:lnTo>
                    <a:pt x="846" y="1392"/>
                  </a:lnTo>
                  <a:lnTo>
                    <a:pt x="840" y="1398"/>
                  </a:lnTo>
                  <a:lnTo>
                    <a:pt x="840" y="1404"/>
                  </a:lnTo>
                  <a:lnTo>
                    <a:pt x="834" y="1416"/>
                  </a:lnTo>
                  <a:lnTo>
                    <a:pt x="828" y="1416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04" y="1428"/>
                  </a:lnTo>
                  <a:lnTo>
                    <a:pt x="804" y="1434"/>
                  </a:lnTo>
                  <a:lnTo>
                    <a:pt x="804" y="1440"/>
                  </a:lnTo>
                  <a:lnTo>
                    <a:pt x="798" y="1446"/>
                  </a:lnTo>
                  <a:lnTo>
                    <a:pt x="798" y="1458"/>
                  </a:lnTo>
                  <a:lnTo>
                    <a:pt x="792" y="1464"/>
                  </a:lnTo>
                  <a:lnTo>
                    <a:pt x="786" y="1476"/>
                  </a:lnTo>
                  <a:lnTo>
                    <a:pt x="780" y="1470"/>
                  </a:lnTo>
                  <a:lnTo>
                    <a:pt x="774" y="1470"/>
                  </a:lnTo>
                  <a:lnTo>
                    <a:pt x="768" y="1470"/>
                  </a:lnTo>
                  <a:lnTo>
                    <a:pt x="762" y="1476"/>
                  </a:lnTo>
                  <a:lnTo>
                    <a:pt x="762" y="1470"/>
                  </a:lnTo>
                  <a:lnTo>
                    <a:pt x="762" y="1464"/>
                  </a:lnTo>
                  <a:lnTo>
                    <a:pt x="762" y="1458"/>
                  </a:lnTo>
                  <a:lnTo>
                    <a:pt x="756" y="1458"/>
                  </a:lnTo>
                  <a:lnTo>
                    <a:pt x="756" y="1452"/>
                  </a:lnTo>
                  <a:lnTo>
                    <a:pt x="756" y="1446"/>
                  </a:lnTo>
                  <a:lnTo>
                    <a:pt x="756" y="1440"/>
                  </a:lnTo>
                  <a:lnTo>
                    <a:pt x="750" y="1434"/>
                  </a:lnTo>
                  <a:lnTo>
                    <a:pt x="750" y="1428"/>
                  </a:lnTo>
                  <a:lnTo>
                    <a:pt x="750" y="1422"/>
                  </a:lnTo>
                  <a:lnTo>
                    <a:pt x="750" y="1416"/>
                  </a:lnTo>
                  <a:lnTo>
                    <a:pt x="744" y="1416"/>
                  </a:lnTo>
                  <a:lnTo>
                    <a:pt x="744" y="1410"/>
                  </a:lnTo>
                  <a:lnTo>
                    <a:pt x="738" y="1404"/>
                  </a:lnTo>
                  <a:lnTo>
                    <a:pt x="732" y="1398"/>
                  </a:lnTo>
                  <a:lnTo>
                    <a:pt x="732" y="1392"/>
                  </a:lnTo>
                  <a:lnTo>
                    <a:pt x="726" y="1386"/>
                  </a:lnTo>
                  <a:lnTo>
                    <a:pt x="726" y="1380"/>
                  </a:lnTo>
                  <a:lnTo>
                    <a:pt x="714" y="1368"/>
                  </a:lnTo>
                  <a:lnTo>
                    <a:pt x="708" y="1368"/>
                  </a:lnTo>
                  <a:lnTo>
                    <a:pt x="684" y="1332"/>
                  </a:lnTo>
                  <a:lnTo>
                    <a:pt x="666" y="1320"/>
                  </a:lnTo>
                  <a:lnTo>
                    <a:pt x="648" y="1302"/>
                  </a:lnTo>
                  <a:lnTo>
                    <a:pt x="630" y="1314"/>
                  </a:lnTo>
                  <a:lnTo>
                    <a:pt x="624" y="1314"/>
                  </a:lnTo>
                  <a:lnTo>
                    <a:pt x="624" y="1308"/>
                  </a:lnTo>
                  <a:lnTo>
                    <a:pt x="618" y="1308"/>
                  </a:lnTo>
                  <a:lnTo>
                    <a:pt x="612" y="1284"/>
                  </a:lnTo>
                  <a:lnTo>
                    <a:pt x="606" y="1254"/>
                  </a:lnTo>
                  <a:lnTo>
                    <a:pt x="606" y="1248"/>
                  </a:lnTo>
                  <a:lnTo>
                    <a:pt x="606" y="1242"/>
                  </a:lnTo>
                  <a:lnTo>
                    <a:pt x="612" y="1242"/>
                  </a:lnTo>
                  <a:lnTo>
                    <a:pt x="618" y="1236"/>
                  </a:lnTo>
                  <a:lnTo>
                    <a:pt x="618" y="1230"/>
                  </a:lnTo>
                  <a:lnTo>
                    <a:pt x="624" y="1224"/>
                  </a:lnTo>
                  <a:lnTo>
                    <a:pt x="630" y="1224"/>
                  </a:lnTo>
                  <a:lnTo>
                    <a:pt x="636" y="1218"/>
                  </a:lnTo>
                  <a:lnTo>
                    <a:pt x="636" y="1212"/>
                  </a:lnTo>
                  <a:lnTo>
                    <a:pt x="612" y="1200"/>
                  </a:lnTo>
                  <a:lnTo>
                    <a:pt x="606" y="1182"/>
                  </a:lnTo>
                  <a:lnTo>
                    <a:pt x="672" y="1182"/>
                  </a:lnTo>
                  <a:lnTo>
                    <a:pt x="690" y="1170"/>
                  </a:lnTo>
                  <a:lnTo>
                    <a:pt x="690" y="1152"/>
                  </a:lnTo>
                  <a:lnTo>
                    <a:pt x="678" y="1110"/>
                  </a:lnTo>
                  <a:lnTo>
                    <a:pt x="672" y="1092"/>
                  </a:lnTo>
                  <a:lnTo>
                    <a:pt x="660" y="1074"/>
                  </a:lnTo>
                  <a:lnTo>
                    <a:pt x="648" y="1068"/>
                  </a:lnTo>
                  <a:lnTo>
                    <a:pt x="642" y="1068"/>
                  </a:lnTo>
                  <a:lnTo>
                    <a:pt x="636" y="1062"/>
                  </a:lnTo>
                  <a:lnTo>
                    <a:pt x="624" y="1056"/>
                  </a:lnTo>
                  <a:lnTo>
                    <a:pt x="624" y="1050"/>
                  </a:lnTo>
                  <a:lnTo>
                    <a:pt x="618" y="1038"/>
                  </a:lnTo>
                  <a:lnTo>
                    <a:pt x="612" y="1038"/>
                  </a:lnTo>
                  <a:lnTo>
                    <a:pt x="612" y="1032"/>
                  </a:lnTo>
                  <a:lnTo>
                    <a:pt x="612" y="1026"/>
                  </a:lnTo>
                  <a:lnTo>
                    <a:pt x="600" y="1014"/>
                  </a:lnTo>
                  <a:lnTo>
                    <a:pt x="582" y="1008"/>
                  </a:lnTo>
                  <a:lnTo>
                    <a:pt x="576" y="1002"/>
                  </a:lnTo>
                  <a:lnTo>
                    <a:pt x="576" y="996"/>
                  </a:lnTo>
                  <a:lnTo>
                    <a:pt x="570" y="996"/>
                  </a:lnTo>
                  <a:lnTo>
                    <a:pt x="570" y="990"/>
                  </a:lnTo>
                  <a:lnTo>
                    <a:pt x="570" y="984"/>
                  </a:lnTo>
                  <a:lnTo>
                    <a:pt x="564" y="984"/>
                  </a:lnTo>
                  <a:lnTo>
                    <a:pt x="558" y="978"/>
                  </a:lnTo>
                  <a:lnTo>
                    <a:pt x="552" y="972"/>
                  </a:lnTo>
                  <a:lnTo>
                    <a:pt x="552" y="966"/>
                  </a:lnTo>
                  <a:lnTo>
                    <a:pt x="546" y="972"/>
                  </a:lnTo>
                  <a:lnTo>
                    <a:pt x="540" y="972"/>
                  </a:lnTo>
                  <a:lnTo>
                    <a:pt x="534" y="960"/>
                  </a:lnTo>
                  <a:lnTo>
                    <a:pt x="528" y="960"/>
                  </a:lnTo>
                  <a:lnTo>
                    <a:pt x="528" y="966"/>
                  </a:lnTo>
                  <a:lnTo>
                    <a:pt x="516" y="954"/>
                  </a:lnTo>
                  <a:lnTo>
                    <a:pt x="516" y="948"/>
                  </a:lnTo>
                  <a:lnTo>
                    <a:pt x="510" y="948"/>
                  </a:lnTo>
                  <a:lnTo>
                    <a:pt x="504" y="948"/>
                  </a:lnTo>
                  <a:lnTo>
                    <a:pt x="498" y="948"/>
                  </a:lnTo>
                  <a:lnTo>
                    <a:pt x="504" y="954"/>
                  </a:lnTo>
                  <a:lnTo>
                    <a:pt x="498" y="954"/>
                  </a:lnTo>
                  <a:lnTo>
                    <a:pt x="492" y="954"/>
                  </a:lnTo>
                  <a:lnTo>
                    <a:pt x="480" y="942"/>
                  </a:lnTo>
                  <a:lnTo>
                    <a:pt x="480" y="948"/>
                  </a:lnTo>
                  <a:lnTo>
                    <a:pt x="480" y="954"/>
                  </a:lnTo>
                  <a:lnTo>
                    <a:pt x="474" y="954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56" y="966"/>
                  </a:lnTo>
                  <a:lnTo>
                    <a:pt x="456" y="960"/>
                  </a:lnTo>
                  <a:lnTo>
                    <a:pt x="450" y="966"/>
                  </a:lnTo>
                  <a:lnTo>
                    <a:pt x="444" y="966"/>
                  </a:lnTo>
                  <a:lnTo>
                    <a:pt x="414" y="966"/>
                  </a:lnTo>
                  <a:lnTo>
                    <a:pt x="408" y="960"/>
                  </a:lnTo>
                  <a:lnTo>
                    <a:pt x="408" y="966"/>
                  </a:lnTo>
                  <a:lnTo>
                    <a:pt x="402" y="960"/>
                  </a:lnTo>
                  <a:lnTo>
                    <a:pt x="396" y="960"/>
                  </a:lnTo>
                  <a:lnTo>
                    <a:pt x="390" y="960"/>
                  </a:lnTo>
                  <a:lnTo>
                    <a:pt x="390" y="966"/>
                  </a:lnTo>
                  <a:lnTo>
                    <a:pt x="384" y="966"/>
                  </a:lnTo>
                  <a:lnTo>
                    <a:pt x="378" y="966"/>
                  </a:lnTo>
                  <a:lnTo>
                    <a:pt x="384" y="960"/>
                  </a:lnTo>
                  <a:lnTo>
                    <a:pt x="384" y="954"/>
                  </a:lnTo>
                  <a:lnTo>
                    <a:pt x="372" y="948"/>
                  </a:lnTo>
                  <a:lnTo>
                    <a:pt x="372" y="954"/>
                  </a:lnTo>
                  <a:lnTo>
                    <a:pt x="372" y="960"/>
                  </a:lnTo>
                  <a:lnTo>
                    <a:pt x="366" y="960"/>
                  </a:lnTo>
                  <a:lnTo>
                    <a:pt x="360" y="966"/>
                  </a:lnTo>
                  <a:lnTo>
                    <a:pt x="354" y="966"/>
                  </a:lnTo>
                  <a:lnTo>
                    <a:pt x="348" y="960"/>
                  </a:lnTo>
                  <a:lnTo>
                    <a:pt x="342" y="960"/>
                  </a:lnTo>
                  <a:lnTo>
                    <a:pt x="342" y="966"/>
                  </a:lnTo>
                  <a:lnTo>
                    <a:pt x="336" y="972"/>
                  </a:lnTo>
                  <a:lnTo>
                    <a:pt x="330" y="972"/>
                  </a:lnTo>
                  <a:lnTo>
                    <a:pt x="324" y="966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6" y="954"/>
                  </a:lnTo>
                  <a:lnTo>
                    <a:pt x="306" y="948"/>
                  </a:lnTo>
                  <a:lnTo>
                    <a:pt x="306" y="942"/>
                  </a:lnTo>
                  <a:lnTo>
                    <a:pt x="300" y="942"/>
                  </a:lnTo>
                  <a:lnTo>
                    <a:pt x="294" y="936"/>
                  </a:lnTo>
                  <a:lnTo>
                    <a:pt x="288" y="936"/>
                  </a:lnTo>
                  <a:lnTo>
                    <a:pt x="282" y="942"/>
                  </a:lnTo>
                  <a:lnTo>
                    <a:pt x="276" y="936"/>
                  </a:lnTo>
                  <a:lnTo>
                    <a:pt x="276" y="942"/>
                  </a:lnTo>
                  <a:lnTo>
                    <a:pt x="270" y="942"/>
                  </a:lnTo>
                  <a:lnTo>
                    <a:pt x="264" y="936"/>
                  </a:lnTo>
                  <a:lnTo>
                    <a:pt x="252" y="936"/>
                  </a:lnTo>
                  <a:lnTo>
                    <a:pt x="246" y="936"/>
                  </a:lnTo>
                  <a:lnTo>
                    <a:pt x="240" y="936"/>
                  </a:lnTo>
                  <a:lnTo>
                    <a:pt x="234" y="936"/>
                  </a:lnTo>
                  <a:lnTo>
                    <a:pt x="240" y="924"/>
                  </a:lnTo>
                  <a:lnTo>
                    <a:pt x="234" y="924"/>
                  </a:lnTo>
                  <a:lnTo>
                    <a:pt x="228" y="918"/>
                  </a:lnTo>
                  <a:lnTo>
                    <a:pt x="228" y="906"/>
                  </a:lnTo>
                  <a:lnTo>
                    <a:pt x="222" y="900"/>
                  </a:lnTo>
                  <a:lnTo>
                    <a:pt x="216" y="900"/>
                  </a:lnTo>
                  <a:lnTo>
                    <a:pt x="210" y="900"/>
                  </a:lnTo>
                  <a:lnTo>
                    <a:pt x="210" y="906"/>
                  </a:lnTo>
                  <a:lnTo>
                    <a:pt x="204" y="906"/>
                  </a:lnTo>
                  <a:lnTo>
                    <a:pt x="198" y="906"/>
                  </a:lnTo>
                  <a:lnTo>
                    <a:pt x="210" y="900"/>
                  </a:lnTo>
                  <a:lnTo>
                    <a:pt x="210" y="894"/>
                  </a:lnTo>
                  <a:lnTo>
                    <a:pt x="216" y="888"/>
                  </a:lnTo>
                  <a:lnTo>
                    <a:pt x="204" y="882"/>
                  </a:lnTo>
                  <a:lnTo>
                    <a:pt x="204" y="894"/>
                  </a:lnTo>
                  <a:lnTo>
                    <a:pt x="198" y="894"/>
                  </a:lnTo>
                  <a:lnTo>
                    <a:pt x="192" y="900"/>
                  </a:lnTo>
                  <a:lnTo>
                    <a:pt x="186" y="894"/>
                  </a:lnTo>
                  <a:lnTo>
                    <a:pt x="180" y="894"/>
                  </a:lnTo>
                  <a:lnTo>
                    <a:pt x="174" y="894"/>
                  </a:lnTo>
                  <a:lnTo>
                    <a:pt x="168" y="900"/>
                  </a:lnTo>
                  <a:lnTo>
                    <a:pt x="162" y="906"/>
                  </a:lnTo>
                  <a:lnTo>
                    <a:pt x="156" y="906"/>
                  </a:lnTo>
                  <a:lnTo>
                    <a:pt x="150" y="900"/>
                  </a:lnTo>
                  <a:lnTo>
                    <a:pt x="144" y="894"/>
                  </a:lnTo>
                  <a:lnTo>
                    <a:pt x="138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0" y="888"/>
                  </a:lnTo>
                  <a:lnTo>
                    <a:pt x="114" y="894"/>
                  </a:lnTo>
                  <a:lnTo>
                    <a:pt x="120" y="900"/>
                  </a:lnTo>
                  <a:lnTo>
                    <a:pt x="126" y="900"/>
                  </a:lnTo>
                  <a:lnTo>
                    <a:pt x="132" y="900"/>
                  </a:lnTo>
                  <a:lnTo>
                    <a:pt x="132" y="906"/>
                  </a:lnTo>
                  <a:lnTo>
                    <a:pt x="126" y="912"/>
                  </a:lnTo>
                  <a:lnTo>
                    <a:pt x="126" y="918"/>
                  </a:lnTo>
                  <a:lnTo>
                    <a:pt x="114" y="918"/>
                  </a:lnTo>
                  <a:lnTo>
                    <a:pt x="108" y="924"/>
                  </a:lnTo>
                  <a:lnTo>
                    <a:pt x="102" y="924"/>
                  </a:lnTo>
                  <a:lnTo>
                    <a:pt x="90" y="924"/>
                  </a:lnTo>
                  <a:lnTo>
                    <a:pt x="84" y="924"/>
                  </a:lnTo>
                  <a:lnTo>
                    <a:pt x="78" y="924"/>
                  </a:lnTo>
                  <a:lnTo>
                    <a:pt x="60" y="924"/>
                  </a:lnTo>
                  <a:lnTo>
                    <a:pt x="54" y="942"/>
                  </a:lnTo>
                  <a:lnTo>
                    <a:pt x="48" y="936"/>
                  </a:lnTo>
                  <a:lnTo>
                    <a:pt x="42" y="930"/>
                  </a:lnTo>
                  <a:lnTo>
                    <a:pt x="36" y="930"/>
                  </a:lnTo>
                  <a:lnTo>
                    <a:pt x="30" y="936"/>
                  </a:lnTo>
                  <a:lnTo>
                    <a:pt x="30" y="930"/>
                  </a:lnTo>
                  <a:lnTo>
                    <a:pt x="30" y="924"/>
                  </a:lnTo>
                  <a:lnTo>
                    <a:pt x="18" y="918"/>
                  </a:lnTo>
                  <a:lnTo>
                    <a:pt x="18" y="912"/>
                  </a:lnTo>
                  <a:lnTo>
                    <a:pt x="12" y="912"/>
                  </a:lnTo>
                  <a:lnTo>
                    <a:pt x="6" y="912"/>
                  </a:lnTo>
                  <a:lnTo>
                    <a:pt x="6" y="900"/>
                  </a:lnTo>
                  <a:lnTo>
                    <a:pt x="6" y="894"/>
                  </a:lnTo>
                  <a:lnTo>
                    <a:pt x="0" y="870"/>
                  </a:lnTo>
                  <a:lnTo>
                    <a:pt x="6" y="846"/>
                  </a:lnTo>
                  <a:lnTo>
                    <a:pt x="6" y="810"/>
                  </a:lnTo>
                  <a:lnTo>
                    <a:pt x="12" y="774"/>
                  </a:lnTo>
                  <a:lnTo>
                    <a:pt x="12" y="756"/>
                  </a:lnTo>
                  <a:lnTo>
                    <a:pt x="18" y="744"/>
                  </a:lnTo>
                  <a:lnTo>
                    <a:pt x="18" y="732"/>
                  </a:lnTo>
                  <a:lnTo>
                    <a:pt x="12" y="576"/>
                  </a:lnTo>
                  <a:lnTo>
                    <a:pt x="12" y="570"/>
                  </a:lnTo>
                  <a:lnTo>
                    <a:pt x="18" y="564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42" y="552"/>
                  </a:lnTo>
                  <a:lnTo>
                    <a:pt x="66" y="552"/>
                  </a:lnTo>
                  <a:lnTo>
                    <a:pt x="78" y="558"/>
                  </a:lnTo>
                  <a:lnTo>
                    <a:pt x="90" y="558"/>
                  </a:lnTo>
                  <a:lnTo>
                    <a:pt x="108" y="558"/>
                  </a:lnTo>
                  <a:lnTo>
                    <a:pt x="144" y="558"/>
                  </a:lnTo>
                  <a:lnTo>
                    <a:pt x="204" y="552"/>
                  </a:lnTo>
                  <a:lnTo>
                    <a:pt x="210" y="558"/>
                  </a:lnTo>
                  <a:lnTo>
                    <a:pt x="216" y="558"/>
                  </a:lnTo>
                  <a:lnTo>
                    <a:pt x="210" y="564"/>
                  </a:lnTo>
                  <a:lnTo>
                    <a:pt x="216" y="564"/>
                  </a:lnTo>
                  <a:lnTo>
                    <a:pt x="222" y="564"/>
                  </a:lnTo>
                  <a:lnTo>
                    <a:pt x="240" y="564"/>
                  </a:lnTo>
                  <a:lnTo>
                    <a:pt x="258" y="564"/>
                  </a:lnTo>
                  <a:lnTo>
                    <a:pt x="264" y="570"/>
                  </a:lnTo>
                  <a:lnTo>
                    <a:pt x="276" y="570"/>
                  </a:lnTo>
                  <a:lnTo>
                    <a:pt x="282" y="564"/>
                  </a:lnTo>
                  <a:lnTo>
                    <a:pt x="294" y="564"/>
                  </a:lnTo>
                  <a:lnTo>
                    <a:pt x="294" y="570"/>
                  </a:lnTo>
                  <a:lnTo>
                    <a:pt x="300" y="570"/>
                  </a:lnTo>
                  <a:lnTo>
                    <a:pt x="378" y="564"/>
                  </a:lnTo>
                  <a:lnTo>
                    <a:pt x="408" y="558"/>
                  </a:lnTo>
                  <a:lnTo>
                    <a:pt x="432" y="552"/>
                  </a:lnTo>
                  <a:lnTo>
                    <a:pt x="450" y="546"/>
                  </a:lnTo>
                  <a:lnTo>
                    <a:pt x="468" y="546"/>
                  </a:lnTo>
                  <a:lnTo>
                    <a:pt x="468" y="552"/>
                  </a:lnTo>
                  <a:lnTo>
                    <a:pt x="504" y="552"/>
                  </a:lnTo>
                  <a:lnTo>
                    <a:pt x="510" y="534"/>
                  </a:lnTo>
                  <a:lnTo>
                    <a:pt x="516" y="510"/>
                  </a:lnTo>
                  <a:lnTo>
                    <a:pt x="522" y="510"/>
                  </a:lnTo>
                  <a:lnTo>
                    <a:pt x="528" y="420"/>
                  </a:lnTo>
                  <a:lnTo>
                    <a:pt x="522" y="414"/>
                  </a:lnTo>
                  <a:lnTo>
                    <a:pt x="516" y="396"/>
                  </a:lnTo>
                  <a:lnTo>
                    <a:pt x="510" y="372"/>
                  </a:lnTo>
                  <a:lnTo>
                    <a:pt x="498" y="348"/>
                  </a:lnTo>
                  <a:lnTo>
                    <a:pt x="474" y="282"/>
                  </a:lnTo>
                  <a:lnTo>
                    <a:pt x="474" y="270"/>
                  </a:lnTo>
                  <a:lnTo>
                    <a:pt x="480" y="258"/>
                  </a:lnTo>
                  <a:lnTo>
                    <a:pt x="486" y="258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92" y="246"/>
                  </a:lnTo>
                  <a:lnTo>
                    <a:pt x="504" y="234"/>
                  </a:lnTo>
                  <a:lnTo>
                    <a:pt x="510" y="228"/>
                  </a:lnTo>
                  <a:lnTo>
                    <a:pt x="516" y="228"/>
                  </a:lnTo>
                  <a:lnTo>
                    <a:pt x="516" y="222"/>
                  </a:lnTo>
                  <a:lnTo>
                    <a:pt x="516" y="216"/>
                  </a:lnTo>
                  <a:lnTo>
                    <a:pt x="522" y="216"/>
                  </a:lnTo>
                  <a:lnTo>
                    <a:pt x="528" y="210"/>
                  </a:lnTo>
                  <a:lnTo>
                    <a:pt x="534" y="210"/>
                  </a:lnTo>
                  <a:lnTo>
                    <a:pt x="540" y="210"/>
                  </a:lnTo>
                  <a:lnTo>
                    <a:pt x="546" y="210"/>
                  </a:lnTo>
                  <a:lnTo>
                    <a:pt x="552" y="210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16"/>
                  </a:lnTo>
                  <a:lnTo>
                    <a:pt x="588" y="228"/>
                  </a:lnTo>
                  <a:lnTo>
                    <a:pt x="594" y="234"/>
                  </a:lnTo>
                  <a:lnTo>
                    <a:pt x="600" y="240"/>
                  </a:lnTo>
                  <a:lnTo>
                    <a:pt x="618" y="246"/>
                  </a:lnTo>
                  <a:lnTo>
                    <a:pt x="624" y="246"/>
                  </a:lnTo>
                  <a:lnTo>
                    <a:pt x="636" y="252"/>
                  </a:lnTo>
                  <a:lnTo>
                    <a:pt x="654" y="252"/>
                  </a:lnTo>
                  <a:lnTo>
                    <a:pt x="654" y="258"/>
                  </a:lnTo>
                  <a:lnTo>
                    <a:pt x="666" y="264"/>
                  </a:lnTo>
                  <a:lnTo>
                    <a:pt x="672" y="264"/>
                  </a:lnTo>
                  <a:lnTo>
                    <a:pt x="678" y="264"/>
                  </a:lnTo>
                  <a:lnTo>
                    <a:pt x="696" y="258"/>
                  </a:lnTo>
                  <a:lnTo>
                    <a:pt x="696" y="252"/>
                  </a:lnTo>
                  <a:lnTo>
                    <a:pt x="696" y="246"/>
                  </a:lnTo>
                  <a:lnTo>
                    <a:pt x="690" y="234"/>
                  </a:lnTo>
                  <a:lnTo>
                    <a:pt x="684" y="210"/>
                  </a:lnTo>
                  <a:lnTo>
                    <a:pt x="678" y="192"/>
                  </a:lnTo>
                  <a:lnTo>
                    <a:pt x="672" y="174"/>
                  </a:lnTo>
                  <a:lnTo>
                    <a:pt x="672" y="168"/>
                  </a:lnTo>
                  <a:lnTo>
                    <a:pt x="672" y="162"/>
                  </a:lnTo>
                  <a:lnTo>
                    <a:pt x="672" y="156"/>
                  </a:lnTo>
                  <a:lnTo>
                    <a:pt x="684" y="132"/>
                  </a:lnTo>
                  <a:lnTo>
                    <a:pt x="684" y="120"/>
                  </a:lnTo>
                  <a:lnTo>
                    <a:pt x="684" y="108"/>
                  </a:lnTo>
                  <a:lnTo>
                    <a:pt x="678" y="102"/>
                  </a:lnTo>
                  <a:lnTo>
                    <a:pt x="678" y="96"/>
                  </a:lnTo>
                  <a:lnTo>
                    <a:pt x="684" y="96"/>
                  </a:lnTo>
                  <a:lnTo>
                    <a:pt x="696" y="90"/>
                  </a:lnTo>
                  <a:lnTo>
                    <a:pt x="702" y="84"/>
                  </a:lnTo>
                  <a:lnTo>
                    <a:pt x="720" y="72"/>
                  </a:lnTo>
                  <a:lnTo>
                    <a:pt x="738" y="66"/>
                  </a:lnTo>
                  <a:lnTo>
                    <a:pt x="756" y="60"/>
                  </a:lnTo>
                  <a:lnTo>
                    <a:pt x="768" y="60"/>
                  </a:lnTo>
                  <a:lnTo>
                    <a:pt x="798" y="72"/>
                  </a:lnTo>
                  <a:lnTo>
                    <a:pt x="804" y="78"/>
                  </a:lnTo>
                  <a:lnTo>
                    <a:pt x="816" y="84"/>
                  </a:lnTo>
                  <a:lnTo>
                    <a:pt x="822" y="84"/>
                  </a:lnTo>
                  <a:lnTo>
                    <a:pt x="828" y="72"/>
                  </a:lnTo>
                  <a:lnTo>
                    <a:pt x="828" y="60"/>
                  </a:lnTo>
                  <a:lnTo>
                    <a:pt x="828" y="36"/>
                  </a:lnTo>
                  <a:lnTo>
                    <a:pt x="828" y="24"/>
                  </a:lnTo>
                  <a:lnTo>
                    <a:pt x="828" y="12"/>
                  </a:lnTo>
                  <a:lnTo>
                    <a:pt x="834" y="12"/>
                  </a:lnTo>
                  <a:lnTo>
                    <a:pt x="852" y="6"/>
                  </a:lnTo>
                  <a:lnTo>
                    <a:pt x="876" y="6"/>
                  </a:lnTo>
                  <a:lnTo>
                    <a:pt x="894" y="6"/>
                  </a:lnTo>
                  <a:lnTo>
                    <a:pt x="906" y="12"/>
                  </a:lnTo>
                  <a:lnTo>
                    <a:pt x="912" y="24"/>
                  </a:lnTo>
                  <a:lnTo>
                    <a:pt x="924" y="24"/>
                  </a:lnTo>
                  <a:lnTo>
                    <a:pt x="930" y="30"/>
                  </a:lnTo>
                  <a:lnTo>
                    <a:pt x="936" y="30"/>
                  </a:lnTo>
                  <a:lnTo>
                    <a:pt x="936" y="36"/>
                  </a:lnTo>
                  <a:lnTo>
                    <a:pt x="942" y="36"/>
                  </a:lnTo>
                  <a:lnTo>
                    <a:pt x="948" y="42"/>
                  </a:lnTo>
                  <a:lnTo>
                    <a:pt x="960" y="48"/>
                  </a:lnTo>
                  <a:lnTo>
                    <a:pt x="966" y="48"/>
                  </a:lnTo>
                  <a:lnTo>
                    <a:pt x="1026" y="60"/>
                  </a:lnTo>
                  <a:lnTo>
                    <a:pt x="1050" y="60"/>
                  </a:lnTo>
                  <a:lnTo>
                    <a:pt x="1050" y="54"/>
                  </a:lnTo>
                  <a:lnTo>
                    <a:pt x="1062" y="54"/>
                  </a:lnTo>
                  <a:lnTo>
                    <a:pt x="1074" y="48"/>
                  </a:lnTo>
                  <a:lnTo>
                    <a:pt x="1086" y="42"/>
                  </a:lnTo>
                  <a:lnTo>
                    <a:pt x="1104" y="36"/>
                  </a:lnTo>
                  <a:lnTo>
                    <a:pt x="1116" y="30"/>
                  </a:lnTo>
                  <a:lnTo>
                    <a:pt x="1122" y="24"/>
                  </a:lnTo>
                  <a:lnTo>
                    <a:pt x="1128" y="18"/>
                  </a:lnTo>
                  <a:lnTo>
                    <a:pt x="1134" y="18"/>
                  </a:lnTo>
                  <a:lnTo>
                    <a:pt x="1140" y="12"/>
                  </a:lnTo>
                  <a:lnTo>
                    <a:pt x="1146" y="6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24"/>
                  </a:lnTo>
                  <a:lnTo>
                    <a:pt x="1176" y="36"/>
                  </a:lnTo>
                  <a:lnTo>
                    <a:pt x="1188" y="42"/>
                  </a:lnTo>
                  <a:lnTo>
                    <a:pt x="1200" y="54"/>
                  </a:lnTo>
                  <a:lnTo>
                    <a:pt x="1224" y="84"/>
                  </a:lnTo>
                  <a:lnTo>
                    <a:pt x="1224" y="90"/>
                  </a:lnTo>
                  <a:lnTo>
                    <a:pt x="1236" y="96"/>
                  </a:lnTo>
                  <a:lnTo>
                    <a:pt x="1236" y="108"/>
                  </a:lnTo>
                  <a:lnTo>
                    <a:pt x="1248" y="114"/>
                  </a:lnTo>
                  <a:lnTo>
                    <a:pt x="1254" y="114"/>
                  </a:lnTo>
                  <a:lnTo>
                    <a:pt x="1260" y="114"/>
                  </a:lnTo>
                  <a:lnTo>
                    <a:pt x="1296" y="114"/>
                  </a:lnTo>
                  <a:lnTo>
                    <a:pt x="1302" y="114"/>
                  </a:lnTo>
                  <a:lnTo>
                    <a:pt x="1320" y="108"/>
                  </a:lnTo>
                  <a:lnTo>
                    <a:pt x="1326" y="108"/>
                  </a:lnTo>
                  <a:lnTo>
                    <a:pt x="1326" y="138"/>
                  </a:lnTo>
                  <a:lnTo>
                    <a:pt x="1326" y="210"/>
                  </a:lnTo>
                  <a:lnTo>
                    <a:pt x="1320" y="252"/>
                  </a:lnTo>
                  <a:lnTo>
                    <a:pt x="1320" y="270"/>
                  </a:lnTo>
                  <a:lnTo>
                    <a:pt x="1320" y="288"/>
                  </a:lnTo>
                  <a:lnTo>
                    <a:pt x="1320" y="318"/>
                  </a:lnTo>
                  <a:lnTo>
                    <a:pt x="1326" y="354"/>
                  </a:lnTo>
                  <a:lnTo>
                    <a:pt x="1326" y="372"/>
                  </a:lnTo>
                  <a:lnTo>
                    <a:pt x="1332" y="420"/>
                  </a:lnTo>
                  <a:lnTo>
                    <a:pt x="1332" y="450"/>
                  </a:lnTo>
                  <a:lnTo>
                    <a:pt x="1338" y="480"/>
                  </a:lnTo>
                  <a:lnTo>
                    <a:pt x="1344" y="486"/>
                  </a:lnTo>
                  <a:lnTo>
                    <a:pt x="1338" y="492"/>
                  </a:lnTo>
                  <a:lnTo>
                    <a:pt x="1344" y="492"/>
                  </a:lnTo>
                  <a:lnTo>
                    <a:pt x="1344" y="498"/>
                  </a:lnTo>
                  <a:lnTo>
                    <a:pt x="1350" y="498"/>
                  </a:lnTo>
                  <a:lnTo>
                    <a:pt x="1350" y="522"/>
                  </a:lnTo>
                  <a:lnTo>
                    <a:pt x="1362" y="564"/>
                  </a:lnTo>
                  <a:lnTo>
                    <a:pt x="1368" y="582"/>
                  </a:lnTo>
                  <a:lnTo>
                    <a:pt x="1380" y="600"/>
                  </a:lnTo>
                  <a:lnTo>
                    <a:pt x="1386" y="636"/>
                  </a:lnTo>
                  <a:lnTo>
                    <a:pt x="1380" y="660"/>
                  </a:lnTo>
                  <a:lnTo>
                    <a:pt x="1380" y="678"/>
                  </a:lnTo>
                  <a:lnTo>
                    <a:pt x="1380" y="684"/>
                  </a:lnTo>
                  <a:lnTo>
                    <a:pt x="1374" y="684"/>
                  </a:lnTo>
                  <a:lnTo>
                    <a:pt x="1368" y="690"/>
                  </a:lnTo>
                  <a:lnTo>
                    <a:pt x="1356" y="702"/>
                  </a:lnTo>
                  <a:lnTo>
                    <a:pt x="1350" y="708"/>
                  </a:lnTo>
                  <a:lnTo>
                    <a:pt x="1356" y="714"/>
                  </a:lnTo>
                  <a:lnTo>
                    <a:pt x="1368" y="726"/>
                  </a:lnTo>
                  <a:lnTo>
                    <a:pt x="1380" y="738"/>
                  </a:lnTo>
                  <a:lnTo>
                    <a:pt x="1386" y="744"/>
                  </a:lnTo>
                  <a:lnTo>
                    <a:pt x="1392" y="744"/>
                  </a:lnTo>
                  <a:lnTo>
                    <a:pt x="1410" y="750"/>
                  </a:lnTo>
                  <a:lnTo>
                    <a:pt x="1416" y="756"/>
                  </a:lnTo>
                  <a:lnTo>
                    <a:pt x="1422" y="756"/>
                  </a:lnTo>
                  <a:lnTo>
                    <a:pt x="1422" y="762"/>
                  </a:lnTo>
                  <a:lnTo>
                    <a:pt x="1428" y="774"/>
                  </a:lnTo>
                  <a:lnTo>
                    <a:pt x="1428" y="780"/>
                  </a:lnTo>
                  <a:lnTo>
                    <a:pt x="1434" y="780"/>
                  </a:lnTo>
                  <a:lnTo>
                    <a:pt x="1440" y="798"/>
                  </a:lnTo>
                  <a:lnTo>
                    <a:pt x="1422" y="816"/>
                  </a:lnTo>
                  <a:lnTo>
                    <a:pt x="1386" y="810"/>
                  </a:lnTo>
                  <a:lnTo>
                    <a:pt x="1380" y="816"/>
                  </a:lnTo>
                  <a:lnTo>
                    <a:pt x="1374" y="840"/>
                  </a:lnTo>
                  <a:lnTo>
                    <a:pt x="1350" y="852"/>
                  </a:lnTo>
                  <a:lnTo>
                    <a:pt x="1350" y="858"/>
                  </a:lnTo>
                  <a:lnTo>
                    <a:pt x="1350" y="864"/>
                  </a:lnTo>
                  <a:lnTo>
                    <a:pt x="1344" y="864"/>
                  </a:lnTo>
                  <a:lnTo>
                    <a:pt x="1338" y="870"/>
                  </a:lnTo>
                  <a:lnTo>
                    <a:pt x="1332" y="876"/>
                  </a:lnTo>
                  <a:lnTo>
                    <a:pt x="1314" y="876"/>
                  </a:lnTo>
                  <a:lnTo>
                    <a:pt x="1314" y="870"/>
                  </a:lnTo>
                  <a:lnTo>
                    <a:pt x="1308" y="870"/>
                  </a:lnTo>
                  <a:lnTo>
                    <a:pt x="1302" y="864"/>
                  </a:lnTo>
                  <a:lnTo>
                    <a:pt x="1296" y="864"/>
                  </a:lnTo>
                  <a:lnTo>
                    <a:pt x="1284" y="870"/>
                  </a:lnTo>
                  <a:lnTo>
                    <a:pt x="1266" y="870"/>
                  </a:lnTo>
                  <a:lnTo>
                    <a:pt x="1260" y="870"/>
                  </a:lnTo>
                  <a:lnTo>
                    <a:pt x="1248" y="876"/>
                  </a:lnTo>
                  <a:lnTo>
                    <a:pt x="1236" y="876"/>
                  </a:lnTo>
                  <a:lnTo>
                    <a:pt x="1230" y="882"/>
                  </a:lnTo>
                  <a:lnTo>
                    <a:pt x="1224" y="894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18" y="942"/>
                  </a:lnTo>
                  <a:lnTo>
                    <a:pt x="1212" y="948"/>
                  </a:lnTo>
                  <a:lnTo>
                    <a:pt x="1200" y="984"/>
                  </a:lnTo>
                  <a:lnTo>
                    <a:pt x="1194" y="1008"/>
                  </a:lnTo>
                  <a:lnTo>
                    <a:pt x="1218" y="1038"/>
                  </a:lnTo>
                  <a:lnTo>
                    <a:pt x="1224" y="1044"/>
                  </a:lnTo>
                  <a:lnTo>
                    <a:pt x="1224" y="1062"/>
                  </a:lnTo>
                  <a:lnTo>
                    <a:pt x="1236" y="1080"/>
                  </a:lnTo>
                  <a:lnTo>
                    <a:pt x="1236" y="1086"/>
                  </a:lnTo>
                  <a:lnTo>
                    <a:pt x="1230" y="1092"/>
                  </a:lnTo>
                  <a:lnTo>
                    <a:pt x="1224" y="1110"/>
                  </a:lnTo>
                  <a:lnTo>
                    <a:pt x="1218" y="1122"/>
                  </a:lnTo>
                  <a:lnTo>
                    <a:pt x="1224" y="1140"/>
                  </a:lnTo>
                  <a:lnTo>
                    <a:pt x="1218" y="1146"/>
                  </a:lnTo>
                  <a:lnTo>
                    <a:pt x="1218" y="1152"/>
                  </a:lnTo>
                  <a:lnTo>
                    <a:pt x="1212" y="116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1" name="Freeform 36">
              <a:extLst>
                <a:ext uri="{FF2B5EF4-FFF2-40B4-BE49-F238E27FC236}">
                  <a16:creationId xmlns:a16="http://schemas.microsoft.com/office/drawing/2014/main" id="{B9C0D6BE-CB1C-4E69-B224-1ABF097AA8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90208" y="1647855"/>
              <a:ext cx="742415" cy="758173"/>
            </a:xfrm>
            <a:custGeom>
              <a:avLst/>
              <a:gdLst>
                <a:gd name="T0" fmla="*/ 75 w 1398"/>
                <a:gd name="T1" fmla="*/ 48 h 1428"/>
                <a:gd name="T2" fmla="*/ 68 w 1398"/>
                <a:gd name="T3" fmla="*/ 54 h 1428"/>
                <a:gd name="T4" fmla="*/ 57 w 1398"/>
                <a:gd name="T5" fmla="*/ 59 h 1428"/>
                <a:gd name="T6" fmla="*/ 55 w 1398"/>
                <a:gd name="T7" fmla="*/ 68 h 1428"/>
                <a:gd name="T8" fmla="*/ 55 w 1398"/>
                <a:gd name="T9" fmla="*/ 77 h 1428"/>
                <a:gd name="T10" fmla="*/ 57 w 1398"/>
                <a:gd name="T11" fmla="*/ 81 h 1428"/>
                <a:gd name="T12" fmla="*/ 56 w 1398"/>
                <a:gd name="T13" fmla="*/ 86 h 1428"/>
                <a:gd name="T14" fmla="*/ 57 w 1398"/>
                <a:gd name="T15" fmla="*/ 89 h 1428"/>
                <a:gd name="T16" fmla="*/ 58 w 1398"/>
                <a:gd name="T17" fmla="*/ 92 h 1428"/>
                <a:gd name="T18" fmla="*/ 58 w 1398"/>
                <a:gd name="T19" fmla="*/ 96 h 1428"/>
                <a:gd name="T20" fmla="*/ 49 w 1398"/>
                <a:gd name="T21" fmla="*/ 100 h 1428"/>
                <a:gd name="T22" fmla="*/ 47 w 1398"/>
                <a:gd name="T23" fmla="*/ 108 h 1428"/>
                <a:gd name="T24" fmla="*/ 48 w 1398"/>
                <a:gd name="T25" fmla="*/ 113 h 1428"/>
                <a:gd name="T26" fmla="*/ 43 w 1398"/>
                <a:gd name="T27" fmla="*/ 114 h 1428"/>
                <a:gd name="T28" fmla="*/ 39 w 1398"/>
                <a:gd name="T29" fmla="*/ 113 h 1428"/>
                <a:gd name="T30" fmla="*/ 33 w 1398"/>
                <a:gd name="T31" fmla="*/ 109 h 1428"/>
                <a:gd name="T32" fmla="*/ 29 w 1398"/>
                <a:gd name="T33" fmla="*/ 114 h 1428"/>
                <a:gd name="T34" fmla="*/ 22 w 1398"/>
                <a:gd name="T35" fmla="*/ 115 h 1428"/>
                <a:gd name="T36" fmla="*/ 21 w 1398"/>
                <a:gd name="T37" fmla="*/ 121 h 1428"/>
                <a:gd name="T38" fmla="*/ 12 w 1398"/>
                <a:gd name="T39" fmla="*/ 119 h 1428"/>
                <a:gd name="T40" fmla="*/ 9 w 1398"/>
                <a:gd name="T41" fmla="*/ 113 h 1428"/>
                <a:gd name="T42" fmla="*/ 2 w 1398"/>
                <a:gd name="T43" fmla="*/ 109 h 1428"/>
                <a:gd name="T44" fmla="*/ 4 w 1398"/>
                <a:gd name="T45" fmla="*/ 103 h 1428"/>
                <a:gd name="T46" fmla="*/ 2 w 1398"/>
                <a:gd name="T47" fmla="*/ 91 h 1428"/>
                <a:gd name="T48" fmla="*/ 6 w 1398"/>
                <a:gd name="T49" fmla="*/ 85 h 1428"/>
                <a:gd name="T50" fmla="*/ 10 w 1398"/>
                <a:gd name="T51" fmla="*/ 85 h 1428"/>
                <a:gd name="T52" fmla="*/ 15 w 1398"/>
                <a:gd name="T53" fmla="*/ 82 h 1428"/>
                <a:gd name="T54" fmla="*/ 20 w 1398"/>
                <a:gd name="T55" fmla="*/ 77 h 1428"/>
                <a:gd name="T56" fmla="*/ 16 w 1398"/>
                <a:gd name="T57" fmla="*/ 73 h 1428"/>
                <a:gd name="T58" fmla="*/ 16 w 1398"/>
                <a:gd name="T59" fmla="*/ 69 h 1428"/>
                <a:gd name="T60" fmla="*/ 14 w 1398"/>
                <a:gd name="T61" fmla="*/ 54 h 1428"/>
                <a:gd name="T62" fmla="*/ 12 w 1398"/>
                <a:gd name="T63" fmla="*/ 48 h 1428"/>
                <a:gd name="T64" fmla="*/ 11 w 1398"/>
                <a:gd name="T65" fmla="*/ 31 h 1428"/>
                <a:gd name="T66" fmla="*/ 14 w 1398"/>
                <a:gd name="T67" fmla="*/ 18 h 1428"/>
                <a:gd name="T68" fmla="*/ 19 w 1398"/>
                <a:gd name="T69" fmla="*/ 15 h 1428"/>
                <a:gd name="T70" fmla="*/ 26 w 1398"/>
                <a:gd name="T71" fmla="*/ 13 h 1428"/>
                <a:gd name="T72" fmla="*/ 34 w 1398"/>
                <a:gd name="T73" fmla="*/ 12 h 1428"/>
                <a:gd name="T74" fmla="*/ 39 w 1398"/>
                <a:gd name="T75" fmla="*/ 9 h 1428"/>
                <a:gd name="T76" fmla="*/ 43 w 1398"/>
                <a:gd name="T77" fmla="*/ 7 h 1428"/>
                <a:gd name="T78" fmla="*/ 48 w 1398"/>
                <a:gd name="T79" fmla="*/ 3 h 1428"/>
                <a:gd name="T80" fmla="*/ 54 w 1398"/>
                <a:gd name="T81" fmla="*/ 0 h 1428"/>
                <a:gd name="T82" fmla="*/ 58 w 1398"/>
                <a:gd name="T83" fmla="*/ 0 h 1428"/>
                <a:gd name="T84" fmla="*/ 66 w 1398"/>
                <a:gd name="T85" fmla="*/ 2 h 1428"/>
                <a:gd name="T86" fmla="*/ 70 w 1398"/>
                <a:gd name="T87" fmla="*/ 3 h 1428"/>
                <a:gd name="T88" fmla="*/ 75 w 1398"/>
                <a:gd name="T89" fmla="*/ 6 h 1428"/>
                <a:gd name="T90" fmla="*/ 80 w 1398"/>
                <a:gd name="T91" fmla="*/ 9 h 1428"/>
                <a:gd name="T92" fmla="*/ 83 w 1398"/>
                <a:gd name="T93" fmla="*/ 12 h 1428"/>
                <a:gd name="T94" fmla="*/ 87 w 1398"/>
                <a:gd name="T95" fmla="*/ 15 h 1428"/>
                <a:gd name="T96" fmla="*/ 94 w 1398"/>
                <a:gd name="T97" fmla="*/ 15 h 1428"/>
                <a:gd name="T98" fmla="*/ 99 w 1398"/>
                <a:gd name="T99" fmla="*/ 21 h 1428"/>
                <a:gd name="T100" fmla="*/ 103 w 1398"/>
                <a:gd name="T101" fmla="*/ 23 h 1428"/>
                <a:gd name="T102" fmla="*/ 110 w 1398"/>
                <a:gd name="T103" fmla="*/ 26 h 1428"/>
                <a:gd name="T104" fmla="*/ 116 w 1398"/>
                <a:gd name="T105" fmla="*/ 27 h 1428"/>
                <a:gd name="T106" fmla="*/ 120 w 1398"/>
                <a:gd name="T107" fmla="*/ 27 h 1428"/>
                <a:gd name="T108" fmla="*/ 116 w 1398"/>
                <a:gd name="T109" fmla="*/ 35 h 1428"/>
                <a:gd name="T110" fmla="*/ 104 w 1398"/>
                <a:gd name="T111" fmla="*/ 37 h 1428"/>
                <a:gd name="T112" fmla="*/ 97 w 1398"/>
                <a:gd name="T113" fmla="*/ 34 h 1428"/>
                <a:gd name="T114" fmla="*/ 91 w 1398"/>
                <a:gd name="T115" fmla="*/ 29 h 1428"/>
                <a:gd name="T116" fmla="*/ 75 w 1398"/>
                <a:gd name="T117" fmla="*/ 29 h 1428"/>
                <a:gd name="T118" fmla="*/ 72 w 1398"/>
                <a:gd name="T119" fmla="*/ 39 h 1428"/>
                <a:gd name="T120" fmla="*/ 80 w 1398"/>
                <a:gd name="T121" fmla="*/ 41 h 142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98"/>
                <a:gd name="T184" fmla="*/ 0 h 1428"/>
                <a:gd name="T185" fmla="*/ 1398 w 1398"/>
                <a:gd name="T186" fmla="*/ 1428 h 142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98" h="1428">
                  <a:moveTo>
                    <a:pt x="924" y="474"/>
                  </a:moveTo>
                  <a:lnTo>
                    <a:pt x="900" y="480"/>
                  </a:lnTo>
                  <a:lnTo>
                    <a:pt x="864" y="486"/>
                  </a:lnTo>
                  <a:lnTo>
                    <a:pt x="864" y="504"/>
                  </a:lnTo>
                  <a:lnTo>
                    <a:pt x="858" y="522"/>
                  </a:lnTo>
                  <a:lnTo>
                    <a:pt x="864" y="528"/>
                  </a:lnTo>
                  <a:lnTo>
                    <a:pt x="864" y="552"/>
                  </a:lnTo>
                  <a:lnTo>
                    <a:pt x="852" y="552"/>
                  </a:lnTo>
                  <a:lnTo>
                    <a:pt x="846" y="564"/>
                  </a:lnTo>
                  <a:lnTo>
                    <a:pt x="840" y="582"/>
                  </a:lnTo>
                  <a:lnTo>
                    <a:pt x="834" y="594"/>
                  </a:lnTo>
                  <a:lnTo>
                    <a:pt x="828" y="606"/>
                  </a:lnTo>
                  <a:lnTo>
                    <a:pt x="828" y="618"/>
                  </a:lnTo>
                  <a:lnTo>
                    <a:pt x="786" y="630"/>
                  </a:lnTo>
                  <a:lnTo>
                    <a:pt x="774" y="636"/>
                  </a:lnTo>
                  <a:lnTo>
                    <a:pt x="762" y="642"/>
                  </a:lnTo>
                  <a:lnTo>
                    <a:pt x="744" y="648"/>
                  </a:lnTo>
                  <a:lnTo>
                    <a:pt x="714" y="660"/>
                  </a:lnTo>
                  <a:lnTo>
                    <a:pt x="696" y="666"/>
                  </a:lnTo>
                  <a:lnTo>
                    <a:pt x="666" y="672"/>
                  </a:lnTo>
                  <a:lnTo>
                    <a:pt x="654" y="684"/>
                  </a:lnTo>
                  <a:lnTo>
                    <a:pt x="648" y="684"/>
                  </a:lnTo>
                  <a:lnTo>
                    <a:pt x="642" y="696"/>
                  </a:lnTo>
                  <a:lnTo>
                    <a:pt x="636" y="696"/>
                  </a:lnTo>
                  <a:lnTo>
                    <a:pt x="630" y="714"/>
                  </a:lnTo>
                  <a:lnTo>
                    <a:pt x="624" y="738"/>
                  </a:lnTo>
                  <a:lnTo>
                    <a:pt x="624" y="762"/>
                  </a:lnTo>
                  <a:lnTo>
                    <a:pt x="630" y="780"/>
                  </a:lnTo>
                  <a:lnTo>
                    <a:pt x="636" y="804"/>
                  </a:lnTo>
                  <a:lnTo>
                    <a:pt x="642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6" y="834"/>
                  </a:lnTo>
                  <a:lnTo>
                    <a:pt x="636" y="870"/>
                  </a:lnTo>
                  <a:lnTo>
                    <a:pt x="636" y="882"/>
                  </a:lnTo>
                  <a:lnTo>
                    <a:pt x="636" y="906"/>
                  </a:lnTo>
                  <a:lnTo>
                    <a:pt x="630" y="906"/>
                  </a:lnTo>
                  <a:lnTo>
                    <a:pt x="636" y="918"/>
                  </a:lnTo>
                  <a:lnTo>
                    <a:pt x="642" y="918"/>
                  </a:lnTo>
                  <a:lnTo>
                    <a:pt x="642" y="930"/>
                  </a:lnTo>
                  <a:lnTo>
                    <a:pt x="648" y="936"/>
                  </a:lnTo>
                  <a:lnTo>
                    <a:pt x="654" y="936"/>
                  </a:lnTo>
                  <a:lnTo>
                    <a:pt x="654" y="942"/>
                  </a:lnTo>
                  <a:lnTo>
                    <a:pt x="654" y="948"/>
                  </a:lnTo>
                  <a:lnTo>
                    <a:pt x="648" y="954"/>
                  </a:lnTo>
                  <a:lnTo>
                    <a:pt x="648" y="960"/>
                  </a:lnTo>
                  <a:lnTo>
                    <a:pt x="648" y="966"/>
                  </a:lnTo>
                  <a:lnTo>
                    <a:pt x="648" y="972"/>
                  </a:lnTo>
                  <a:lnTo>
                    <a:pt x="648" y="990"/>
                  </a:lnTo>
                  <a:lnTo>
                    <a:pt x="654" y="996"/>
                  </a:lnTo>
                  <a:lnTo>
                    <a:pt x="648" y="1002"/>
                  </a:lnTo>
                  <a:lnTo>
                    <a:pt x="648" y="1008"/>
                  </a:lnTo>
                  <a:lnTo>
                    <a:pt x="654" y="1014"/>
                  </a:lnTo>
                  <a:lnTo>
                    <a:pt x="654" y="1020"/>
                  </a:lnTo>
                  <a:lnTo>
                    <a:pt x="654" y="1026"/>
                  </a:lnTo>
                  <a:lnTo>
                    <a:pt x="660" y="1026"/>
                  </a:lnTo>
                  <a:lnTo>
                    <a:pt x="660" y="1032"/>
                  </a:lnTo>
                  <a:lnTo>
                    <a:pt x="660" y="1038"/>
                  </a:lnTo>
                  <a:lnTo>
                    <a:pt x="666" y="1044"/>
                  </a:lnTo>
                  <a:lnTo>
                    <a:pt x="672" y="1050"/>
                  </a:lnTo>
                  <a:lnTo>
                    <a:pt x="672" y="1056"/>
                  </a:lnTo>
                  <a:lnTo>
                    <a:pt x="672" y="1062"/>
                  </a:lnTo>
                  <a:lnTo>
                    <a:pt x="672" y="1068"/>
                  </a:lnTo>
                  <a:lnTo>
                    <a:pt x="672" y="1074"/>
                  </a:lnTo>
                  <a:lnTo>
                    <a:pt x="678" y="1074"/>
                  </a:lnTo>
                  <a:lnTo>
                    <a:pt x="678" y="1080"/>
                  </a:lnTo>
                  <a:lnTo>
                    <a:pt x="678" y="1086"/>
                  </a:lnTo>
                  <a:lnTo>
                    <a:pt x="672" y="1092"/>
                  </a:lnTo>
                  <a:lnTo>
                    <a:pt x="672" y="1098"/>
                  </a:lnTo>
                  <a:lnTo>
                    <a:pt x="672" y="1104"/>
                  </a:lnTo>
                  <a:lnTo>
                    <a:pt x="666" y="1116"/>
                  </a:lnTo>
                  <a:lnTo>
                    <a:pt x="624" y="1122"/>
                  </a:lnTo>
                  <a:lnTo>
                    <a:pt x="576" y="1134"/>
                  </a:lnTo>
                  <a:lnTo>
                    <a:pt x="570" y="1140"/>
                  </a:lnTo>
                  <a:lnTo>
                    <a:pt x="570" y="1146"/>
                  </a:lnTo>
                  <a:lnTo>
                    <a:pt x="564" y="1146"/>
                  </a:lnTo>
                  <a:lnTo>
                    <a:pt x="564" y="1152"/>
                  </a:lnTo>
                  <a:lnTo>
                    <a:pt x="564" y="1164"/>
                  </a:lnTo>
                  <a:lnTo>
                    <a:pt x="564" y="1170"/>
                  </a:lnTo>
                  <a:lnTo>
                    <a:pt x="564" y="1176"/>
                  </a:lnTo>
                  <a:lnTo>
                    <a:pt x="546" y="1176"/>
                  </a:lnTo>
                  <a:lnTo>
                    <a:pt x="540" y="1212"/>
                  </a:lnTo>
                  <a:lnTo>
                    <a:pt x="540" y="1230"/>
                  </a:lnTo>
                  <a:lnTo>
                    <a:pt x="546" y="1242"/>
                  </a:lnTo>
                  <a:lnTo>
                    <a:pt x="546" y="1254"/>
                  </a:lnTo>
                  <a:lnTo>
                    <a:pt x="558" y="1266"/>
                  </a:lnTo>
                  <a:lnTo>
                    <a:pt x="576" y="1272"/>
                  </a:lnTo>
                  <a:lnTo>
                    <a:pt x="570" y="1278"/>
                  </a:lnTo>
                  <a:lnTo>
                    <a:pt x="576" y="1284"/>
                  </a:lnTo>
                  <a:lnTo>
                    <a:pt x="570" y="1296"/>
                  </a:lnTo>
                  <a:lnTo>
                    <a:pt x="558" y="1302"/>
                  </a:lnTo>
                  <a:lnTo>
                    <a:pt x="540" y="1308"/>
                  </a:lnTo>
                  <a:lnTo>
                    <a:pt x="522" y="1314"/>
                  </a:lnTo>
                  <a:lnTo>
                    <a:pt x="516" y="1314"/>
                  </a:lnTo>
                  <a:lnTo>
                    <a:pt x="510" y="1314"/>
                  </a:lnTo>
                  <a:lnTo>
                    <a:pt x="504" y="1314"/>
                  </a:lnTo>
                  <a:lnTo>
                    <a:pt x="498" y="1320"/>
                  </a:lnTo>
                  <a:lnTo>
                    <a:pt x="492" y="1320"/>
                  </a:lnTo>
                  <a:lnTo>
                    <a:pt x="492" y="1326"/>
                  </a:lnTo>
                  <a:lnTo>
                    <a:pt x="486" y="1326"/>
                  </a:lnTo>
                  <a:lnTo>
                    <a:pt x="480" y="1326"/>
                  </a:lnTo>
                  <a:lnTo>
                    <a:pt x="480" y="1320"/>
                  </a:lnTo>
                  <a:lnTo>
                    <a:pt x="468" y="1314"/>
                  </a:lnTo>
                  <a:lnTo>
                    <a:pt x="462" y="1308"/>
                  </a:lnTo>
                  <a:lnTo>
                    <a:pt x="456" y="1302"/>
                  </a:lnTo>
                  <a:lnTo>
                    <a:pt x="444" y="1296"/>
                  </a:lnTo>
                  <a:lnTo>
                    <a:pt x="420" y="1290"/>
                  </a:lnTo>
                  <a:lnTo>
                    <a:pt x="414" y="1278"/>
                  </a:lnTo>
                  <a:lnTo>
                    <a:pt x="408" y="1278"/>
                  </a:lnTo>
                  <a:lnTo>
                    <a:pt x="408" y="1266"/>
                  </a:lnTo>
                  <a:lnTo>
                    <a:pt x="402" y="1260"/>
                  </a:lnTo>
                  <a:lnTo>
                    <a:pt x="384" y="1260"/>
                  </a:lnTo>
                  <a:lnTo>
                    <a:pt x="372" y="1266"/>
                  </a:lnTo>
                  <a:lnTo>
                    <a:pt x="360" y="1272"/>
                  </a:lnTo>
                  <a:lnTo>
                    <a:pt x="348" y="1272"/>
                  </a:lnTo>
                  <a:lnTo>
                    <a:pt x="342" y="1284"/>
                  </a:lnTo>
                  <a:lnTo>
                    <a:pt x="336" y="1290"/>
                  </a:lnTo>
                  <a:lnTo>
                    <a:pt x="336" y="1308"/>
                  </a:lnTo>
                  <a:lnTo>
                    <a:pt x="336" y="1314"/>
                  </a:lnTo>
                  <a:lnTo>
                    <a:pt x="336" y="1320"/>
                  </a:lnTo>
                  <a:lnTo>
                    <a:pt x="330" y="1326"/>
                  </a:lnTo>
                  <a:lnTo>
                    <a:pt x="330" y="1332"/>
                  </a:lnTo>
                  <a:lnTo>
                    <a:pt x="330" y="1338"/>
                  </a:lnTo>
                  <a:lnTo>
                    <a:pt x="300" y="1338"/>
                  </a:lnTo>
                  <a:lnTo>
                    <a:pt x="288" y="1338"/>
                  </a:lnTo>
                  <a:lnTo>
                    <a:pt x="258" y="1326"/>
                  </a:lnTo>
                  <a:lnTo>
                    <a:pt x="246" y="1332"/>
                  </a:lnTo>
                  <a:lnTo>
                    <a:pt x="240" y="1338"/>
                  </a:lnTo>
                  <a:lnTo>
                    <a:pt x="234" y="1338"/>
                  </a:lnTo>
                  <a:lnTo>
                    <a:pt x="228" y="1350"/>
                  </a:lnTo>
                  <a:lnTo>
                    <a:pt x="228" y="1374"/>
                  </a:lnTo>
                  <a:lnTo>
                    <a:pt x="234" y="1392"/>
                  </a:lnTo>
                  <a:lnTo>
                    <a:pt x="246" y="1398"/>
                  </a:lnTo>
                  <a:lnTo>
                    <a:pt x="246" y="1410"/>
                  </a:lnTo>
                  <a:lnTo>
                    <a:pt x="216" y="1428"/>
                  </a:lnTo>
                  <a:lnTo>
                    <a:pt x="198" y="1428"/>
                  </a:lnTo>
                  <a:lnTo>
                    <a:pt x="192" y="1422"/>
                  </a:lnTo>
                  <a:lnTo>
                    <a:pt x="174" y="1410"/>
                  </a:lnTo>
                  <a:lnTo>
                    <a:pt x="156" y="1386"/>
                  </a:lnTo>
                  <a:lnTo>
                    <a:pt x="132" y="1374"/>
                  </a:lnTo>
                  <a:lnTo>
                    <a:pt x="108" y="1368"/>
                  </a:lnTo>
                  <a:lnTo>
                    <a:pt x="84" y="1368"/>
                  </a:lnTo>
                  <a:lnTo>
                    <a:pt x="96" y="1356"/>
                  </a:lnTo>
                  <a:lnTo>
                    <a:pt x="102" y="1344"/>
                  </a:lnTo>
                  <a:lnTo>
                    <a:pt x="102" y="1332"/>
                  </a:lnTo>
                  <a:lnTo>
                    <a:pt x="108" y="1320"/>
                  </a:lnTo>
                  <a:lnTo>
                    <a:pt x="108" y="1302"/>
                  </a:lnTo>
                  <a:lnTo>
                    <a:pt x="96" y="1278"/>
                  </a:lnTo>
                  <a:lnTo>
                    <a:pt x="66" y="1284"/>
                  </a:lnTo>
                  <a:lnTo>
                    <a:pt x="54" y="1278"/>
                  </a:lnTo>
                  <a:lnTo>
                    <a:pt x="36" y="1278"/>
                  </a:lnTo>
                  <a:lnTo>
                    <a:pt x="18" y="1284"/>
                  </a:lnTo>
                  <a:lnTo>
                    <a:pt x="18" y="1272"/>
                  </a:lnTo>
                  <a:lnTo>
                    <a:pt x="24" y="1260"/>
                  </a:lnTo>
                  <a:lnTo>
                    <a:pt x="24" y="1254"/>
                  </a:lnTo>
                  <a:lnTo>
                    <a:pt x="30" y="1248"/>
                  </a:lnTo>
                  <a:lnTo>
                    <a:pt x="24" y="1230"/>
                  </a:lnTo>
                  <a:lnTo>
                    <a:pt x="30" y="1218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30" y="1170"/>
                  </a:lnTo>
                  <a:lnTo>
                    <a:pt x="30" y="1152"/>
                  </a:lnTo>
                  <a:lnTo>
                    <a:pt x="24" y="1146"/>
                  </a:lnTo>
                  <a:lnTo>
                    <a:pt x="0" y="1116"/>
                  </a:lnTo>
                  <a:lnTo>
                    <a:pt x="6" y="1092"/>
                  </a:lnTo>
                  <a:lnTo>
                    <a:pt x="18" y="1056"/>
                  </a:lnTo>
                  <a:lnTo>
                    <a:pt x="24" y="1050"/>
                  </a:lnTo>
                  <a:lnTo>
                    <a:pt x="24" y="1038"/>
                  </a:lnTo>
                  <a:lnTo>
                    <a:pt x="24" y="1026"/>
                  </a:lnTo>
                  <a:lnTo>
                    <a:pt x="30" y="1002"/>
                  </a:lnTo>
                  <a:lnTo>
                    <a:pt x="36" y="990"/>
                  </a:lnTo>
                  <a:lnTo>
                    <a:pt x="42" y="984"/>
                  </a:lnTo>
                  <a:lnTo>
                    <a:pt x="54" y="984"/>
                  </a:lnTo>
                  <a:lnTo>
                    <a:pt x="66" y="978"/>
                  </a:lnTo>
                  <a:lnTo>
                    <a:pt x="72" y="978"/>
                  </a:lnTo>
                  <a:lnTo>
                    <a:pt x="90" y="978"/>
                  </a:lnTo>
                  <a:lnTo>
                    <a:pt x="102" y="972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78"/>
                  </a:lnTo>
                  <a:lnTo>
                    <a:pt x="120" y="984"/>
                  </a:lnTo>
                  <a:lnTo>
                    <a:pt x="138" y="984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6" y="972"/>
                  </a:lnTo>
                  <a:lnTo>
                    <a:pt x="156" y="966"/>
                  </a:lnTo>
                  <a:lnTo>
                    <a:pt x="156" y="960"/>
                  </a:lnTo>
                  <a:lnTo>
                    <a:pt x="180" y="948"/>
                  </a:lnTo>
                  <a:lnTo>
                    <a:pt x="186" y="924"/>
                  </a:lnTo>
                  <a:lnTo>
                    <a:pt x="192" y="918"/>
                  </a:lnTo>
                  <a:lnTo>
                    <a:pt x="228" y="924"/>
                  </a:lnTo>
                  <a:lnTo>
                    <a:pt x="246" y="906"/>
                  </a:lnTo>
                  <a:lnTo>
                    <a:pt x="240" y="888"/>
                  </a:lnTo>
                  <a:lnTo>
                    <a:pt x="234" y="888"/>
                  </a:lnTo>
                  <a:lnTo>
                    <a:pt x="234" y="882"/>
                  </a:lnTo>
                  <a:lnTo>
                    <a:pt x="228" y="870"/>
                  </a:lnTo>
                  <a:lnTo>
                    <a:pt x="228" y="864"/>
                  </a:lnTo>
                  <a:lnTo>
                    <a:pt x="222" y="864"/>
                  </a:lnTo>
                  <a:lnTo>
                    <a:pt x="216" y="858"/>
                  </a:lnTo>
                  <a:lnTo>
                    <a:pt x="198" y="852"/>
                  </a:lnTo>
                  <a:lnTo>
                    <a:pt x="192" y="852"/>
                  </a:lnTo>
                  <a:lnTo>
                    <a:pt x="186" y="846"/>
                  </a:lnTo>
                  <a:lnTo>
                    <a:pt x="174" y="834"/>
                  </a:lnTo>
                  <a:lnTo>
                    <a:pt x="162" y="822"/>
                  </a:lnTo>
                  <a:lnTo>
                    <a:pt x="156" y="816"/>
                  </a:lnTo>
                  <a:lnTo>
                    <a:pt x="162" y="810"/>
                  </a:lnTo>
                  <a:lnTo>
                    <a:pt x="174" y="798"/>
                  </a:lnTo>
                  <a:lnTo>
                    <a:pt x="180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68"/>
                  </a:lnTo>
                  <a:lnTo>
                    <a:pt x="192" y="744"/>
                  </a:lnTo>
                  <a:lnTo>
                    <a:pt x="186" y="708"/>
                  </a:lnTo>
                  <a:lnTo>
                    <a:pt x="174" y="690"/>
                  </a:lnTo>
                  <a:lnTo>
                    <a:pt x="168" y="672"/>
                  </a:lnTo>
                  <a:lnTo>
                    <a:pt x="156" y="630"/>
                  </a:lnTo>
                  <a:lnTo>
                    <a:pt x="156" y="606"/>
                  </a:lnTo>
                  <a:lnTo>
                    <a:pt x="150" y="606"/>
                  </a:lnTo>
                  <a:lnTo>
                    <a:pt x="150" y="600"/>
                  </a:lnTo>
                  <a:lnTo>
                    <a:pt x="144" y="600"/>
                  </a:lnTo>
                  <a:lnTo>
                    <a:pt x="150" y="594"/>
                  </a:lnTo>
                  <a:lnTo>
                    <a:pt x="144" y="588"/>
                  </a:lnTo>
                  <a:lnTo>
                    <a:pt x="138" y="558"/>
                  </a:lnTo>
                  <a:lnTo>
                    <a:pt x="138" y="528"/>
                  </a:lnTo>
                  <a:lnTo>
                    <a:pt x="132" y="480"/>
                  </a:lnTo>
                  <a:lnTo>
                    <a:pt x="132" y="462"/>
                  </a:lnTo>
                  <a:lnTo>
                    <a:pt x="126" y="426"/>
                  </a:lnTo>
                  <a:lnTo>
                    <a:pt x="126" y="396"/>
                  </a:lnTo>
                  <a:lnTo>
                    <a:pt x="126" y="378"/>
                  </a:lnTo>
                  <a:lnTo>
                    <a:pt x="126" y="360"/>
                  </a:lnTo>
                  <a:lnTo>
                    <a:pt x="132" y="318"/>
                  </a:lnTo>
                  <a:lnTo>
                    <a:pt x="132" y="24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2" y="210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92" y="198"/>
                  </a:lnTo>
                  <a:lnTo>
                    <a:pt x="198" y="198"/>
                  </a:lnTo>
                  <a:lnTo>
                    <a:pt x="216" y="180"/>
                  </a:lnTo>
                  <a:lnTo>
                    <a:pt x="222" y="174"/>
                  </a:lnTo>
                  <a:lnTo>
                    <a:pt x="222" y="168"/>
                  </a:lnTo>
                  <a:lnTo>
                    <a:pt x="228" y="168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44"/>
                  </a:lnTo>
                  <a:lnTo>
                    <a:pt x="258" y="144"/>
                  </a:lnTo>
                  <a:lnTo>
                    <a:pt x="276" y="150"/>
                  </a:lnTo>
                  <a:lnTo>
                    <a:pt x="300" y="150"/>
                  </a:lnTo>
                  <a:lnTo>
                    <a:pt x="312" y="150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8" y="156"/>
                  </a:lnTo>
                  <a:lnTo>
                    <a:pt x="354" y="150"/>
                  </a:lnTo>
                  <a:lnTo>
                    <a:pt x="372" y="144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08" y="126"/>
                  </a:lnTo>
                  <a:lnTo>
                    <a:pt x="414" y="120"/>
                  </a:lnTo>
                  <a:lnTo>
                    <a:pt x="420" y="120"/>
                  </a:lnTo>
                  <a:lnTo>
                    <a:pt x="426" y="120"/>
                  </a:lnTo>
                  <a:lnTo>
                    <a:pt x="432" y="114"/>
                  </a:lnTo>
                  <a:lnTo>
                    <a:pt x="450" y="102"/>
                  </a:lnTo>
                  <a:lnTo>
                    <a:pt x="456" y="96"/>
                  </a:lnTo>
                  <a:lnTo>
                    <a:pt x="468" y="90"/>
                  </a:lnTo>
                  <a:lnTo>
                    <a:pt x="474" y="90"/>
                  </a:lnTo>
                  <a:lnTo>
                    <a:pt x="480" y="84"/>
                  </a:lnTo>
                  <a:lnTo>
                    <a:pt x="486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504" y="72"/>
                  </a:lnTo>
                  <a:lnTo>
                    <a:pt x="510" y="66"/>
                  </a:lnTo>
                  <a:lnTo>
                    <a:pt x="516" y="66"/>
                  </a:lnTo>
                  <a:lnTo>
                    <a:pt x="522" y="60"/>
                  </a:lnTo>
                  <a:lnTo>
                    <a:pt x="552" y="42"/>
                  </a:lnTo>
                  <a:lnTo>
                    <a:pt x="558" y="36"/>
                  </a:lnTo>
                  <a:lnTo>
                    <a:pt x="576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94" y="18"/>
                  </a:lnTo>
                  <a:lnTo>
                    <a:pt x="600" y="12"/>
                  </a:lnTo>
                  <a:lnTo>
                    <a:pt x="612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6"/>
                  </a:lnTo>
                  <a:lnTo>
                    <a:pt x="648" y="6"/>
                  </a:lnTo>
                  <a:lnTo>
                    <a:pt x="660" y="6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38" y="18"/>
                  </a:lnTo>
                  <a:lnTo>
                    <a:pt x="744" y="18"/>
                  </a:lnTo>
                  <a:lnTo>
                    <a:pt x="756" y="18"/>
                  </a:lnTo>
                  <a:lnTo>
                    <a:pt x="762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80" y="24"/>
                  </a:lnTo>
                  <a:lnTo>
                    <a:pt x="792" y="24"/>
                  </a:lnTo>
                  <a:lnTo>
                    <a:pt x="792" y="30"/>
                  </a:lnTo>
                  <a:lnTo>
                    <a:pt x="810" y="30"/>
                  </a:lnTo>
                  <a:lnTo>
                    <a:pt x="822" y="36"/>
                  </a:lnTo>
                  <a:lnTo>
                    <a:pt x="834" y="42"/>
                  </a:lnTo>
                  <a:lnTo>
                    <a:pt x="840" y="48"/>
                  </a:lnTo>
                  <a:lnTo>
                    <a:pt x="846" y="54"/>
                  </a:lnTo>
                  <a:lnTo>
                    <a:pt x="852" y="60"/>
                  </a:lnTo>
                  <a:lnTo>
                    <a:pt x="858" y="66"/>
                  </a:lnTo>
                  <a:lnTo>
                    <a:pt x="864" y="66"/>
                  </a:lnTo>
                  <a:lnTo>
                    <a:pt x="864" y="72"/>
                  </a:lnTo>
                  <a:lnTo>
                    <a:pt x="876" y="78"/>
                  </a:lnTo>
                  <a:lnTo>
                    <a:pt x="900" y="84"/>
                  </a:lnTo>
                  <a:lnTo>
                    <a:pt x="906" y="90"/>
                  </a:lnTo>
                  <a:lnTo>
                    <a:pt x="912" y="90"/>
                  </a:lnTo>
                  <a:lnTo>
                    <a:pt x="912" y="96"/>
                  </a:lnTo>
                  <a:lnTo>
                    <a:pt x="924" y="108"/>
                  </a:lnTo>
                  <a:lnTo>
                    <a:pt x="930" y="108"/>
                  </a:lnTo>
                  <a:lnTo>
                    <a:pt x="936" y="114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60" y="138"/>
                  </a:lnTo>
                  <a:lnTo>
                    <a:pt x="966" y="144"/>
                  </a:lnTo>
                  <a:lnTo>
                    <a:pt x="972" y="156"/>
                  </a:lnTo>
                  <a:lnTo>
                    <a:pt x="978" y="162"/>
                  </a:lnTo>
                  <a:lnTo>
                    <a:pt x="984" y="162"/>
                  </a:lnTo>
                  <a:lnTo>
                    <a:pt x="990" y="168"/>
                  </a:lnTo>
                  <a:lnTo>
                    <a:pt x="996" y="174"/>
                  </a:lnTo>
                  <a:lnTo>
                    <a:pt x="1002" y="180"/>
                  </a:lnTo>
                  <a:lnTo>
                    <a:pt x="1008" y="180"/>
                  </a:lnTo>
                  <a:lnTo>
                    <a:pt x="1020" y="180"/>
                  </a:lnTo>
                  <a:lnTo>
                    <a:pt x="1038" y="174"/>
                  </a:lnTo>
                  <a:lnTo>
                    <a:pt x="1050" y="174"/>
                  </a:lnTo>
                  <a:lnTo>
                    <a:pt x="1056" y="174"/>
                  </a:lnTo>
                  <a:lnTo>
                    <a:pt x="1068" y="180"/>
                  </a:lnTo>
                  <a:lnTo>
                    <a:pt x="1080" y="180"/>
                  </a:lnTo>
                  <a:lnTo>
                    <a:pt x="1086" y="186"/>
                  </a:lnTo>
                  <a:lnTo>
                    <a:pt x="1098" y="192"/>
                  </a:lnTo>
                  <a:lnTo>
                    <a:pt x="1116" y="204"/>
                  </a:lnTo>
                  <a:lnTo>
                    <a:pt x="1122" y="210"/>
                  </a:lnTo>
                  <a:lnTo>
                    <a:pt x="1134" y="222"/>
                  </a:lnTo>
                  <a:lnTo>
                    <a:pt x="1146" y="234"/>
                  </a:lnTo>
                  <a:lnTo>
                    <a:pt x="1146" y="240"/>
                  </a:lnTo>
                  <a:lnTo>
                    <a:pt x="1152" y="246"/>
                  </a:lnTo>
                  <a:lnTo>
                    <a:pt x="1152" y="252"/>
                  </a:lnTo>
                  <a:lnTo>
                    <a:pt x="1152" y="258"/>
                  </a:lnTo>
                  <a:lnTo>
                    <a:pt x="1164" y="258"/>
                  </a:lnTo>
                  <a:lnTo>
                    <a:pt x="1170" y="264"/>
                  </a:lnTo>
                  <a:lnTo>
                    <a:pt x="1182" y="270"/>
                  </a:lnTo>
                  <a:lnTo>
                    <a:pt x="1188" y="270"/>
                  </a:lnTo>
                  <a:lnTo>
                    <a:pt x="1194" y="270"/>
                  </a:lnTo>
                  <a:lnTo>
                    <a:pt x="1206" y="276"/>
                  </a:lnTo>
                  <a:lnTo>
                    <a:pt x="1224" y="282"/>
                  </a:lnTo>
                  <a:lnTo>
                    <a:pt x="1236" y="282"/>
                  </a:lnTo>
                  <a:lnTo>
                    <a:pt x="1242" y="288"/>
                  </a:lnTo>
                  <a:lnTo>
                    <a:pt x="1254" y="288"/>
                  </a:lnTo>
                  <a:lnTo>
                    <a:pt x="1266" y="294"/>
                  </a:lnTo>
                  <a:lnTo>
                    <a:pt x="1272" y="294"/>
                  </a:lnTo>
                  <a:lnTo>
                    <a:pt x="1284" y="300"/>
                  </a:lnTo>
                  <a:lnTo>
                    <a:pt x="1290" y="300"/>
                  </a:lnTo>
                  <a:lnTo>
                    <a:pt x="1296" y="300"/>
                  </a:lnTo>
                  <a:lnTo>
                    <a:pt x="1302" y="306"/>
                  </a:lnTo>
                  <a:lnTo>
                    <a:pt x="1326" y="312"/>
                  </a:lnTo>
                  <a:lnTo>
                    <a:pt x="1338" y="312"/>
                  </a:lnTo>
                  <a:lnTo>
                    <a:pt x="1338" y="318"/>
                  </a:lnTo>
                  <a:lnTo>
                    <a:pt x="1344" y="318"/>
                  </a:lnTo>
                  <a:lnTo>
                    <a:pt x="1350" y="318"/>
                  </a:lnTo>
                  <a:lnTo>
                    <a:pt x="1362" y="324"/>
                  </a:lnTo>
                  <a:lnTo>
                    <a:pt x="1368" y="318"/>
                  </a:lnTo>
                  <a:lnTo>
                    <a:pt x="1374" y="318"/>
                  </a:lnTo>
                  <a:lnTo>
                    <a:pt x="1386" y="318"/>
                  </a:lnTo>
                  <a:lnTo>
                    <a:pt x="1398" y="324"/>
                  </a:lnTo>
                  <a:lnTo>
                    <a:pt x="1398" y="342"/>
                  </a:lnTo>
                  <a:lnTo>
                    <a:pt x="1356" y="342"/>
                  </a:lnTo>
                  <a:lnTo>
                    <a:pt x="1350" y="348"/>
                  </a:lnTo>
                  <a:lnTo>
                    <a:pt x="1350" y="372"/>
                  </a:lnTo>
                  <a:lnTo>
                    <a:pt x="1338" y="384"/>
                  </a:lnTo>
                  <a:lnTo>
                    <a:pt x="1332" y="408"/>
                  </a:lnTo>
                  <a:lnTo>
                    <a:pt x="1320" y="420"/>
                  </a:lnTo>
                  <a:lnTo>
                    <a:pt x="1254" y="426"/>
                  </a:lnTo>
                  <a:lnTo>
                    <a:pt x="1248" y="432"/>
                  </a:lnTo>
                  <a:lnTo>
                    <a:pt x="1230" y="432"/>
                  </a:lnTo>
                  <a:lnTo>
                    <a:pt x="1212" y="432"/>
                  </a:lnTo>
                  <a:lnTo>
                    <a:pt x="1212" y="426"/>
                  </a:lnTo>
                  <a:lnTo>
                    <a:pt x="1200" y="426"/>
                  </a:lnTo>
                  <a:lnTo>
                    <a:pt x="1182" y="414"/>
                  </a:lnTo>
                  <a:lnTo>
                    <a:pt x="1182" y="420"/>
                  </a:lnTo>
                  <a:lnTo>
                    <a:pt x="1164" y="420"/>
                  </a:lnTo>
                  <a:lnTo>
                    <a:pt x="1158" y="414"/>
                  </a:lnTo>
                  <a:lnTo>
                    <a:pt x="1152" y="408"/>
                  </a:lnTo>
                  <a:lnTo>
                    <a:pt x="1146" y="402"/>
                  </a:lnTo>
                  <a:lnTo>
                    <a:pt x="1122" y="396"/>
                  </a:lnTo>
                  <a:lnTo>
                    <a:pt x="1116" y="366"/>
                  </a:lnTo>
                  <a:lnTo>
                    <a:pt x="1116" y="348"/>
                  </a:lnTo>
                  <a:lnTo>
                    <a:pt x="1110" y="342"/>
                  </a:lnTo>
                  <a:lnTo>
                    <a:pt x="1104" y="336"/>
                  </a:lnTo>
                  <a:lnTo>
                    <a:pt x="1092" y="330"/>
                  </a:lnTo>
                  <a:lnTo>
                    <a:pt x="1074" y="330"/>
                  </a:lnTo>
                  <a:lnTo>
                    <a:pt x="1044" y="330"/>
                  </a:lnTo>
                  <a:lnTo>
                    <a:pt x="1014" y="336"/>
                  </a:lnTo>
                  <a:lnTo>
                    <a:pt x="984" y="342"/>
                  </a:lnTo>
                  <a:lnTo>
                    <a:pt x="978" y="330"/>
                  </a:lnTo>
                  <a:lnTo>
                    <a:pt x="966" y="324"/>
                  </a:lnTo>
                  <a:lnTo>
                    <a:pt x="888" y="336"/>
                  </a:lnTo>
                  <a:lnTo>
                    <a:pt x="888" y="330"/>
                  </a:lnTo>
                  <a:lnTo>
                    <a:pt x="870" y="336"/>
                  </a:lnTo>
                  <a:lnTo>
                    <a:pt x="858" y="336"/>
                  </a:lnTo>
                  <a:lnTo>
                    <a:pt x="852" y="354"/>
                  </a:lnTo>
                  <a:lnTo>
                    <a:pt x="852" y="402"/>
                  </a:lnTo>
                  <a:lnTo>
                    <a:pt x="840" y="414"/>
                  </a:lnTo>
                  <a:lnTo>
                    <a:pt x="834" y="420"/>
                  </a:lnTo>
                  <a:lnTo>
                    <a:pt x="834" y="444"/>
                  </a:lnTo>
                  <a:lnTo>
                    <a:pt x="834" y="450"/>
                  </a:lnTo>
                  <a:lnTo>
                    <a:pt x="852" y="456"/>
                  </a:lnTo>
                  <a:lnTo>
                    <a:pt x="864" y="462"/>
                  </a:lnTo>
                  <a:lnTo>
                    <a:pt x="894" y="456"/>
                  </a:lnTo>
                  <a:lnTo>
                    <a:pt x="900" y="468"/>
                  </a:lnTo>
                  <a:lnTo>
                    <a:pt x="918" y="462"/>
                  </a:lnTo>
                  <a:lnTo>
                    <a:pt x="924" y="468"/>
                  </a:lnTo>
                  <a:lnTo>
                    <a:pt x="924" y="47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2" name="Freeform 37">
              <a:extLst>
                <a:ext uri="{FF2B5EF4-FFF2-40B4-BE49-F238E27FC236}">
                  <a16:creationId xmlns:a16="http://schemas.microsoft.com/office/drawing/2014/main" id="{DED8A1FF-B656-4D37-BD26-5B0A7B1A4A6D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441" y="1898343"/>
              <a:ext cx="567992" cy="686605"/>
            </a:xfrm>
            <a:custGeom>
              <a:avLst/>
              <a:gdLst>
                <a:gd name="T0" fmla="*/ 79 w 1068"/>
                <a:gd name="T1" fmla="*/ 72 h 1290"/>
                <a:gd name="T2" fmla="*/ 75 w 1068"/>
                <a:gd name="T3" fmla="*/ 73 h 1290"/>
                <a:gd name="T4" fmla="*/ 72 w 1068"/>
                <a:gd name="T5" fmla="*/ 76 h 1290"/>
                <a:gd name="T6" fmla="*/ 70 w 1068"/>
                <a:gd name="T7" fmla="*/ 78 h 1290"/>
                <a:gd name="T8" fmla="*/ 67 w 1068"/>
                <a:gd name="T9" fmla="*/ 82 h 1290"/>
                <a:gd name="T10" fmla="*/ 61 w 1068"/>
                <a:gd name="T11" fmla="*/ 86 h 1290"/>
                <a:gd name="T12" fmla="*/ 60 w 1068"/>
                <a:gd name="T13" fmla="*/ 93 h 1290"/>
                <a:gd name="T14" fmla="*/ 59 w 1068"/>
                <a:gd name="T15" fmla="*/ 97 h 1290"/>
                <a:gd name="T16" fmla="*/ 61 w 1068"/>
                <a:gd name="T17" fmla="*/ 101 h 1290"/>
                <a:gd name="T18" fmla="*/ 63 w 1068"/>
                <a:gd name="T19" fmla="*/ 104 h 1290"/>
                <a:gd name="T20" fmla="*/ 62 w 1068"/>
                <a:gd name="T21" fmla="*/ 108 h 1290"/>
                <a:gd name="T22" fmla="*/ 60 w 1068"/>
                <a:gd name="T23" fmla="*/ 111 h 1290"/>
                <a:gd name="T24" fmla="*/ 56 w 1068"/>
                <a:gd name="T25" fmla="*/ 111 h 1290"/>
                <a:gd name="T26" fmla="*/ 53 w 1068"/>
                <a:gd name="T27" fmla="*/ 110 h 1290"/>
                <a:gd name="T28" fmla="*/ 50 w 1068"/>
                <a:gd name="T29" fmla="*/ 109 h 1290"/>
                <a:gd name="T30" fmla="*/ 47 w 1068"/>
                <a:gd name="T31" fmla="*/ 110 h 1290"/>
                <a:gd name="T32" fmla="*/ 51 w 1068"/>
                <a:gd name="T33" fmla="*/ 104 h 1290"/>
                <a:gd name="T34" fmla="*/ 50 w 1068"/>
                <a:gd name="T35" fmla="*/ 95 h 1290"/>
                <a:gd name="T36" fmla="*/ 51 w 1068"/>
                <a:gd name="T37" fmla="*/ 90 h 1290"/>
                <a:gd name="T38" fmla="*/ 47 w 1068"/>
                <a:gd name="T39" fmla="*/ 84 h 1290"/>
                <a:gd name="T40" fmla="*/ 42 w 1068"/>
                <a:gd name="T41" fmla="*/ 78 h 1290"/>
                <a:gd name="T42" fmla="*/ 33 w 1068"/>
                <a:gd name="T43" fmla="*/ 73 h 1290"/>
                <a:gd name="T44" fmla="*/ 26 w 1068"/>
                <a:gd name="T45" fmla="*/ 68 h 1290"/>
                <a:gd name="T46" fmla="*/ 22 w 1068"/>
                <a:gd name="T47" fmla="*/ 63 h 1290"/>
                <a:gd name="T48" fmla="*/ 11 w 1068"/>
                <a:gd name="T49" fmla="*/ 67 h 1290"/>
                <a:gd name="T50" fmla="*/ 0 w 1068"/>
                <a:gd name="T51" fmla="*/ 68 h 1290"/>
                <a:gd name="T52" fmla="*/ 2 w 1068"/>
                <a:gd name="T53" fmla="*/ 59 h 1290"/>
                <a:gd name="T54" fmla="*/ 12 w 1068"/>
                <a:gd name="T55" fmla="*/ 55 h 1290"/>
                <a:gd name="T56" fmla="*/ 12 w 1068"/>
                <a:gd name="T57" fmla="*/ 51 h 1290"/>
                <a:gd name="T58" fmla="*/ 10 w 1068"/>
                <a:gd name="T59" fmla="*/ 47 h 1290"/>
                <a:gd name="T60" fmla="*/ 9 w 1068"/>
                <a:gd name="T61" fmla="*/ 42 h 1290"/>
                <a:gd name="T62" fmla="*/ 8 w 1068"/>
                <a:gd name="T63" fmla="*/ 38 h 1290"/>
                <a:gd name="T64" fmla="*/ 8 w 1068"/>
                <a:gd name="T65" fmla="*/ 29 h 1290"/>
                <a:gd name="T66" fmla="*/ 10 w 1068"/>
                <a:gd name="T67" fmla="*/ 18 h 1290"/>
                <a:gd name="T68" fmla="*/ 25 w 1068"/>
                <a:gd name="T69" fmla="*/ 12 h 1290"/>
                <a:gd name="T70" fmla="*/ 27 w 1068"/>
                <a:gd name="T71" fmla="*/ 4 h 1290"/>
                <a:gd name="T72" fmla="*/ 35 w 1068"/>
                <a:gd name="T73" fmla="*/ 6 h 1290"/>
                <a:gd name="T74" fmla="*/ 39 w 1068"/>
                <a:gd name="T75" fmla="*/ 8 h 1290"/>
                <a:gd name="T76" fmla="*/ 41 w 1068"/>
                <a:gd name="T77" fmla="*/ 3 h 1290"/>
                <a:gd name="T78" fmla="*/ 45 w 1068"/>
                <a:gd name="T79" fmla="*/ 0 h 1290"/>
                <a:gd name="T80" fmla="*/ 51 w 1068"/>
                <a:gd name="T81" fmla="*/ 0 h 1290"/>
                <a:gd name="T82" fmla="*/ 56 w 1068"/>
                <a:gd name="T83" fmla="*/ 4 h 1290"/>
                <a:gd name="T84" fmla="*/ 62 w 1068"/>
                <a:gd name="T85" fmla="*/ 12 h 1290"/>
                <a:gd name="T86" fmla="*/ 58 w 1068"/>
                <a:gd name="T87" fmla="*/ 17 h 1290"/>
                <a:gd name="T88" fmla="*/ 60 w 1068"/>
                <a:gd name="T89" fmla="*/ 18 h 1290"/>
                <a:gd name="T90" fmla="*/ 64 w 1068"/>
                <a:gd name="T91" fmla="*/ 16 h 1290"/>
                <a:gd name="T92" fmla="*/ 68 w 1068"/>
                <a:gd name="T93" fmla="*/ 18 h 1290"/>
                <a:gd name="T94" fmla="*/ 71 w 1068"/>
                <a:gd name="T95" fmla="*/ 27 h 1290"/>
                <a:gd name="T96" fmla="*/ 74 w 1068"/>
                <a:gd name="T97" fmla="*/ 30 h 1290"/>
                <a:gd name="T98" fmla="*/ 82 w 1068"/>
                <a:gd name="T99" fmla="*/ 30 h 1290"/>
                <a:gd name="T100" fmla="*/ 87 w 1068"/>
                <a:gd name="T101" fmla="*/ 35 h 1290"/>
                <a:gd name="T102" fmla="*/ 85 w 1068"/>
                <a:gd name="T103" fmla="*/ 42 h 1290"/>
                <a:gd name="T104" fmla="*/ 81 w 1068"/>
                <a:gd name="T105" fmla="*/ 46 h 1290"/>
                <a:gd name="T106" fmla="*/ 86 w 1068"/>
                <a:gd name="T107" fmla="*/ 50 h 1290"/>
                <a:gd name="T108" fmla="*/ 89 w 1068"/>
                <a:gd name="T109" fmla="*/ 58 h 1290"/>
                <a:gd name="T110" fmla="*/ 92 w 1068"/>
                <a:gd name="T111" fmla="*/ 61 h 1290"/>
                <a:gd name="T112" fmla="*/ 86 w 1068"/>
                <a:gd name="T113" fmla="*/ 66 h 1290"/>
                <a:gd name="T114" fmla="*/ 85 w 1068"/>
                <a:gd name="T115" fmla="*/ 70 h 129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68"/>
                <a:gd name="T175" fmla="*/ 0 h 1290"/>
                <a:gd name="T176" fmla="*/ 1068 w 1068"/>
                <a:gd name="T177" fmla="*/ 1290 h 129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68" h="1290">
                  <a:moveTo>
                    <a:pt x="978" y="804"/>
                  </a:moveTo>
                  <a:lnTo>
                    <a:pt x="972" y="810"/>
                  </a:lnTo>
                  <a:lnTo>
                    <a:pt x="966" y="810"/>
                  </a:lnTo>
                  <a:lnTo>
                    <a:pt x="966" y="816"/>
                  </a:lnTo>
                  <a:lnTo>
                    <a:pt x="936" y="828"/>
                  </a:lnTo>
                  <a:lnTo>
                    <a:pt x="924" y="822"/>
                  </a:lnTo>
                  <a:lnTo>
                    <a:pt x="912" y="822"/>
                  </a:lnTo>
                  <a:lnTo>
                    <a:pt x="906" y="828"/>
                  </a:lnTo>
                  <a:lnTo>
                    <a:pt x="900" y="828"/>
                  </a:lnTo>
                  <a:lnTo>
                    <a:pt x="900" y="822"/>
                  </a:lnTo>
                  <a:lnTo>
                    <a:pt x="894" y="822"/>
                  </a:lnTo>
                  <a:lnTo>
                    <a:pt x="888" y="828"/>
                  </a:lnTo>
                  <a:lnTo>
                    <a:pt x="882" y="834"/>
                  </a:lnTo>
                  <a:lnTo>
                    <a:pt x="876" y="834"/>
                  </a:lnTo>
                  <a:lnTo>
                    <a:pt x="870" y="840"/>
                  </a:lnTo>
                  <a:lnTo>
                    <a:pt x="864" y="840"/>
                  </a:lnTo>
                  <a:lnTo>
                    <a:pt x="864" y="846"/>
                  </a:lnTo>
                  <a:lnTo>
                    <a:pt x="858" y="846"/>
                  </a:lnTo>
                  <a:lnTo>
                    <a:pt x="852" y="846"/>
                  </a:lnTo>
                  <a:lnTo>
                    <a:pt x="852" y="858"/>
                  </a:lnTo>
                  <a:lnTo>
                    <a:pt x="846" y="864"/>
                  </a:lnTo>
                  <a:lnTo>
                    <a:pt x="840" y="870"/>
                  </a:lnTo>
                  <a:lnTo>
                    <a:pt x="834" y="870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34" y="876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10" y="894"/>
                  </a:lnTo>
                  <a:lnTo>
                    <a:pt x="810" y="900"/>
                  </a:lnTo>
                  <a:lnTo>
                    <a:pt x="804" y="900"/>
                  </a:lnTo>
                  <a:lnTo>
                    <a:pt x="798" y="900"/>
                  </a:lnTo>
                  <a:lnTo>
                    <a:pt x="798" y="906"/>
                  </a:lnTo>
                  <a:lnTo>
                    <a:pt x="792" y="906"/>
                  </a:lnTo>
                  <a:lnTo>
                    <a:pt x="792" y="912"/>
                  </a:lnTo>
                  <a:lnTo>
                    <a:pt x="792" y="924"/>
                  </a:lnTo>
                  <a:lnTo>
                    <a:pt x="786" y="930"/>
                  </a:lnTo>
                  <a:lnTo>
                    <a:pt x="774" y="942"/>
                  </a:lnTo>
                  <a:lnTo>
                    <a:pt x="774" y="948"/>
                  </a:lnTo>
                  <a:lnTo>
                    <a:pt x="768" y="954"/>
                  </a:lnTo>
                  <a:lnTo>
                    <a:pt x="762" y="954"/>
                  </a:lnTo>
                  <a:lnTo>
                    <a:pt x="750" y="972"/>
                  </a:lnTo>
                  <a:lnTo>
                    <a:pt x="720" y="978"/>
                  </a:lnTo>
                  <a:lnTo>
                    <a:pt x="714" y="978"/>
                  </a:lnTo>
                  <a:lnTo>
                    <a:pt x="708" y="978"/>
                  </a:lnTo>
                  <a:lnTo>
                    <a:pt x="702" y="990"/>
                  </a:lnTo>
                  <a:lnTo>
                    <a:pt x="696" y="990"/>
                  </a:lnTo>
                  <a:lnTo>
                    <a:pt x="696" y="1008"/>
                  </a:lnTo>
                  <a:lnTo>
                    <a:pt x="690" y="1008"/>
                  </a:lnTo>
                  <a:lnTo>
                    <a:pt x="690" y="1014"/>
                  </a:lnTo>
                  <a:lnTo>
                    <a:pt x="684" y="1032"/>
                  </a:lnTo>
                  <a:lnTo>
                    <a:pt x="690" y="1050"/>
                  </a:lnTo>
                  <a:lnTo>
                    <a:pt x="690" y="1062"/>
                  </a:lnTo>
                  <a:lnTo>
                    <a:pt x="690" y="1068"/>
                  </a:lnTo>
                  <a:lnTo>
                    <a:pt x="690" y="1074"/>
                  </a:lnTo>
                  <a:lnTo>
                    <a:pt x="684" y="1074"/>
                  </a:lnTo>
                  <a:lnTo>
                    <a:pt x="684" y="1080"/>
                  </a:lnTo>
                  <a:lnTo>
                    <a:pt x="678" y="1086"/>
                  </a:lnTo>
                  <a:lnTo>
                    <a:pt x="678" y="1104"/>
                  </a:lnTo>
                  <a:lnTo>
                    <a:pt x="678" y="1110"/>
                  </a:lnTo>
                  <a:lnTo>
                    <a:pt x="678" y="1116"/>
                  </a:lnTo>
                  <a:lnTo>
                    <a:pt x="684" y="1116"/>
                  </a:lnTo>
                  <a:lnTo>
                    <a:pt x="678" y="1128"/>
                  </a:lnTo>
                  <a:lnTo>
                    <a:pt x="684" y="1128"/>
                  </a:lnTo>
                  <a:lnTo>
                    <a:pt x="690" y="1134"/>
                  </a:lnTo>
                  <a:lnTo>
                    <a:pt x="690" y="1140"/>
                  </a:lnTo>
                  <a:lnTo>
                    <a:pt x="696" y="1140"/>
                  </a:lnTo>
                  <a:lnTo>
                    <a:pt x="696" y="1146"/>
                  </a:lnTo>
                  <a:lnTo>
                    <a:pt x="696" y="1152"/>
                  </a:lnTo>
                  <a:lnTo>
                    <a:pt x="702" y="1152"/>
                  </a:lnTo>
                  <a:lnTo>
                    <a:pt x="708" y="1152"/>
                  </a:lnTo>
                  <a:lnTo>
                    <a:pt x="714" y="1158"/>
                  </a:lnTo>
                  <a:lnTo>
                    <a:pt x="714" y="1164"/>
                  </a:lnTo>
                  <a:lnTo>
                    <a:pt x="720" y="1170"/>
                  </a:lnTo>
                  <a:lnTo>
                    <a:pt x="720" y="1176"/>
                  </a:lnTo>
                  <a:lnTo>
                    <a:pt x="720" y="1182"/>
                  </a:lnTo>
                  <a:lnTo>
                    <a:pt x="726" y="1188"/>
                  </a:lnTo>
                  <a:lnTo>
                    <a:pt x="726" y="1194"/>
                  </a:lnTo>
                  <a:lnTo>
                    <a:pt x="732" y="1194"/>
                  </a:lnTo>
                  <a:lnTo>
                    <a:pt x="732" y="1200"/>
                  </a:lnTo>
                  <a:lnTo>
                    <a:pt x="738" y="1212"/>
                  </a:lnTo>
                  <a:lnTo>
                    <a:pt x="732" y="1218"/>
                  </a:lnTo>
                  <a:lnTo>
                    <a:pt x="732" y="1224"/>
                  </a:lnTo>
                  <a:lnTo>
                    <a:pt x="726" y="1230"/>
                  </a:lnTo>
                  <a:lnTo>
                    <a:pt x="720" y="1230"/>
                  </a:lnTo>
                  <a:lnTo>
                    <a:pt x="720" y="1236"/>
                  </a:lnTo>
                  <a:lnTo>
                    <a:pt x="720" y="1242"/>
                  </a:lnTo>
                  <a:lnTo>
                    <a:pt x="720" y="1248"/>
                  </a:lnTo>
                  <a:lnTo>
                    <a:pt x="714" y="1248"/>
                  </a:lnTo>
                  <a:lnTo>
                    <a:pt x="714" y="1254"/>
                  </a:lnTo>
                  <a:lnTo>
                    <a:pt x="708" y="1260"/>
                  </a:lnTo>
                  <a:lnTo>
                    <a:pt x="702" y="1272"/>
                  </a:lnTo>
                  <a:lnTo>
                    <a:pt x="696" y="1272"/>
                  </a:lnTo>
                  <a:lnTo>
                    <a:pt x="696" y="1278"/>
                  </a:lnTo>
                  <a:lnTo>
                    <a:pt x="690" y="1284"/>
                  </a:lnTo>
                  <a:lnTo>
                    <a:pt x="690" y="1290"/>
                  </a:lnTo>
                  <a:lnTo>
                    <a:pt x="684" y="1290"/>
                  </a:lnTo>
                  <a:lnTo>
                    <a:pt x="660" y="1284"/>
                  </a:lnTo>
                  <a:lnTo>
                    <a:pt x="660" y="1278"/>
                  </a:lnTo>
                  <a:lnTo>
                    <a:pt x="654" y="1272"/>
                  </a:lnTo>
                  <a:lnTo>
                    <a:pt x="648" y="1272"/>
                  </a:lnTo>
                  <a:lnTo>
                    <a:pt x="642" y="1272"/>
                  </a:lnTo>
                  <a:lnTo>
                    <a:pt x="642" y="1266"/>
                  </a:lnTo>
                  <a:lnTo>
                    <a:pt x="636" y="1266"/>
                  </a:lnTo>
                  <a:lnTo>
                    <a:pt x="630" y="1266"/>
                  </a:lnTo>
                  <a:lnTo>
                    <a:pt x="624" y="1266"/>
                  </a:lnTo>
                  <a:lnTo>
                    <a:pt x="624" y="1260"/>
                  </a:lnTo>
                  <a:lnTo>
                    <a:pt x="618" y="1260"/>
                  </a:lnTo>
                  <a:lnTo>
                    <a:pt x="612" y="1260"/>
                  </a:lnTo>
                  <a:lnTo>
                    <a:pt x="606" y="1260"/>
                  </a:lnTo>
                  <a:lnTo>
                    <a:pt x="600" y="1260"/>
                  </a:lnTo>
                  <a:lnTo>
                    <a:pt x="600" y="1254"/>
                  </a:lnTo>
                  <a:lnTo>
                    <a:pt x="594" y="1254"/>
                  </a:lnTo>
                  <a:lnTo>
                    <a:pt x="588" y="1248"/>
                  </a:lnTo>
                  <a:lnTo>
                    <a:pt x="588" y="1254"/>
                  </a:lnTo>
                  <a:lnTo>
                    <a:pt x="582" y="1254"/>
                  </a:lnTo>
                  <a:lnTo>
                    <a:pt x="582" y="1248"/>
                  </a:lnTo>
                  <a:lnTo>
                    <a:pt x="576" y="1248"/>
                  </a:lnTo>
                  <a:lnTo>
                    <a:pt x="576" y="1254"/>
                  </a:lnTo>
                  <a:lnTo>
                    <a:pt x="570" y="1248"/>
                  </a:lnTo>
                  <a:lnTo>
                    <a:pt x="564" y="1248"/>
                  </a:lnTo>
                  <a:lnTo>
                    <a:pt x="564" y="1254"/>
                  </a:lnTo>
                  <a:lnTo>
                    <a:pt x="558" y="1254"/>
                  </a:lnTo>
                  <a:lnTo>
                    <a:pt x="552" y="1254"/>
                  </a:lnTo>
                  <a:lnTo>
                    <a:pt x="552" y="1260"/>
                  </a:lnTo>
                  <a:lnTo>
                    <a:pt x="546" y="1260"/>
                  </a:lnTo>
                  <a:lnTo>
                    <a:pt x="540" y="1260"/>
                  </a:lnTo>
                  <a:lnTo>
                    <a:pt x="540" y="1254"/>
                  </a:lnTo>
                  <a:lnTo>
                    <a:pt x="534" y="1254"/>
                  </a:lnTo>
                  <a:lnTo>
                    <a:pt x="528" y="1224"/>
                  </a:lnTo>
                  <a:lnTo>
                    <a:pt x="534" y="1212"/>
                  </a:lnTo>
                  <a:lnTo>
                    <a:pt x="546" y="1206"/>
                  </a:lnTo>
                  <a:lnTo>
                    <a:pt x="582" y="1206"/>
                  </a:lnTo>
                  <a:lnTo>
                    <a:pt x="588" y="1188"/>
                  </a:lnTo>
                  <a:lnTo>
                    <a:pt x="582" y="1188"/>
                  </a:lnTo>
                  <a:lnTo>
                    <a:pt x="582" y="1182"/>
                  </a:lnTo>
                  <a:lnTo>
                    <a:pt x="576" y="1176"/>
                  </a:lnTo>
                  <a:lnTo>
                    <a:pt x="558" y="1128"/>
                  </a:lnTo>
                  <a:lnTo>
                    <a:pt x="558" y="1122"/>
                  </a:lnTo>
                  <a:lnTo>
                    <a:pt x="576" y="1098"/>
                  </a:lnTo>
                  <a:lnTo>
                    <a:pt x="576" y="1092"/>
                  </a:lnTo>
                  <a:lnTo>
                    <a:pt x="582" y="1092"/>
                  </a:lnTo>
                  <a:lnTo>
                    <a:pt x="582" y="1086"/>
                  </a:lnTo>
                  <a:lnTo>
                    <a:pt x="582" y="1080"/>
                  </a:lnTo>
                  <a:lnTo>
                    <a:pt x="582" y="1074"/>
                  </a:lnTo>
                  <a:lnTo>
                    <a:pt x="588" y="1074"/>
                  </a:lnTo>
                  <a:lnTo>
                    <a:pt x="588" y="1062"/>
                  </a:lnTo>
                  <a:lnTo>
                    <a:pt x="588" y="1056"/>
                  </a:lnTo>
                  <a:lnTo>
                    <a:pt x="588" y="1044"/>
                  </a:lnTo>
                  <a:lnTo>
                    <a:pt x="588" y="1038"/>
                  </a:lnTo>
                  <a:lnTo>
                    <a:pt x="588" y="1032"/>
                  </a:lnTo>
                  <a:lnTo>
                    <a:pt x="582" y="1026"/>
                  </a:lnTo>
                  <a:lnTo>
                    <a:pt x="582" y="1020"/>
                  </a:lnTo>
                  <a:lnTo>
                    <a:pt x="582" y="1008"/>
                  </a:lnTo>
                  <a:lnTo>
                    <a:pt x="576" y="990"/>
                  </a:lnTo>
                  <a:lnTo>
                    <a:pt x="570" y="972"/>
                  </a:lnTo>
                  <a:lnTo>
                    <a:pt x="552" y="972"/>
                  </a:lnTo>
                  <a:lnTo>
                    <a:pt x="540" y="960"/>
                  </a:lnTo>
                  <a:lnTo>
                    <a:pt x="534" y="954"/>
                  </a:lnTo>
                  <a:lnTo>
                    <a:pt x="534" y="948"/>
                  </a:lnTo>
                  <a:lnTo>
                    <a:pt x="516" y="948"/>
                  </a:lnTo>
                  <a:lnTo>
                    <a:pt x="522" y="936"/>
                  </a:lnTo>
                  <a:lnTo>
                    <a:pt x="522" y="930"/>
                  </a:lnTo>
                  <a:lnTo>
                    <a:pt x="504" y="918"/>
                  </a:lnTo>
                  <a:lnTo>
                    <a:pt x="492" y="906"/>
                  </a:lnTo>
                  <a:lnTo>
                    <a:pt x="486" y="894"/>
                  </a:lnTo>
                  <a:lnTo>
                    <a:pt x="468" y="876"/>
                  </a:lnTo>
                  <a:lnTo>
                    <a:pt x="450" y="876"/>
                  </a:lnTo>
                  <a:lnTo>
                    <a:pt x="414" y="882"/>
                  </a:lnTo>
                  <a:lnTo>
                    <a:pt x="402" y="870"/>
                  </a:lnTo>
                  <a:lnTo>
                    <a:pt x="390" y="864"/>
                  </a:lnTo>
                  <a:lnTo>
                    <a:pt x="384" y="852"/>
                  </a:lnTo>
                  <a:lnTo>
                    <a:pt x="378" y="840"/>
                  </a:lnTo>
                  <a:lnTo>
                    <a:pt x="378" y="834"/>
                  </a:lnTo>
                  <a:lnTo>
                    <a:pt x="360" y="822"/>
                  </a:lnTo>
                  <a:lnTo>
                    <a:pt x="342" y="828"/>
                  </a:lnTo>
                  <a:lnTo>
                    <a:pt x="324" y="816"/>
                  </a:lnTo>
                  <a:lnTo>
                    <a:pt x="318" y="816"/>
                  </a:lnTo>
                  <a:lnTo>
                    <a:pt x="306" y="810"/>
                  </a:lnTo>
                  <a:lnTo>
                    <a:pt x="306" y="804"/>
                  </a:lnTo>
                  <a:lnTo>
                    <a:pt x="300" y="804"/>
                  </a:lnTo>
                  <a:lnTo>
                    <a:pt x="300" y="780"/>
                  </a:lnTo>
                  <a:lnTo>
                    <a:pt x="300" y="774"/>
                  </a:lnTo>
                  <a:lnTo>
                    <a:pt x="306" y="774"/>
                  </a:lnTo>
                  <a:lnTo>
                    <a:pt x="312" y="756"/>
                  </a:lnTo>
                  <a:lnTo>
                    <a:pt x="312" y="732"/>
                  </a:lnTo>
                  <a:lnTo>
                    <a:pt x="300" y="720"/>
                  </a:lnTo>
                  <a:lnTo>
                    <a:pt x="288" y="702"/>
                  </a:lnTo>
                  <a:lnTo>
                    <a:pt x="276" y="702"/>
                  </a:lnTo>
                  <a:lnTo>
                    <a:pt x="258" y="714"/>
                  </a:lnTo>
                  <a:lnTo>
                    <a:pt x="246" y="726"/>
                  </a:lnTo>
                  <a:lnTo>
                    <a:pt x="222" y="726"/>
                  </a:lnTo>
                  <a:lnTo>
                    <a:pt x="192" y="726"/>
                  </a:lnTo>
                  <a:lnTo>
                    <a:pt x="174" y="738"/>
                  </a:lnTo>
                  <a:lnTo>
                    <a:pt x="162" y="750"/>
                  </a:lnTo>
                  <a:lnTo>
                    <a:pt x="144" y="762"/>
                  </a:lnTo>
                  <a:lnTo>
                    <a:pt x="138" y="768"/>
                  </a:lnTo>
                  <a:lnTo>
                    <a:pt x="126" y="774"/>
                  </a:lnTo>
                  <a:lnTo>
                    <a:pt x="114" y="780"/>
                  </a:lnTo>
                  <a:lnTo>
                    <a:pt x="108" y="786"/>
                  </a:lnTo>
                  <a:lnTo>
                    <a:pt x="102" y="786"/>
                  </a:lnTo>
                  <a:lnTo>
                    <a:pt x="54" y="786"/>
                  </a:lnTo>
                  <a:lnTo>
                    <a:pt x="48" y="792"/>
                  </a:lnTo>
                  <a:lnTo>
                    <a:pt x="36" y="798"/>
                  </a:lnTo>
                  <a:lnTo>
                    <a:pt x="18" y="792"/>
                  </a:lnTo>
                  <a:lnTo>
                    <a:pt x="6" y="780"/>
                  </a:lnTo>
                  <a:lnTo>
                    <a:pt x="6" y="768"/>
                  </a:lnTo>
                  <a:lnTo>
                    <a:pt x="0" y="756"/>
                  </a:lnTo>
                  <a:lnTo>
                    <a:pt x="0" y="738"/>
                  </a:lnTo>
                  <a:lnTo>
                    <a:pt x="6" y="702"/>
                  </a:lnTo>
                  <a:lnTo>
                    <a:pt x="24" y="702"/>
                  </a:lnTo>
                  <a:lnTo>
                    <a:pt x="24" y="696"/>
                  </a:lnTo>
                  <a:lnTo>
                    <a:pt x="24" y="690"/>
                  </a:lnTo>
                  <a:lnTo>
                    <a:pt x="24" y="678"/>
                  </a:lnTo>
                  <a:lnTo>
                    <a:pt x="24" y="672"/>
                  </a:lnTo>
                  <a:lnTo>
                    <a:pt x="30" y="672"/>
                  </a:lnTo>
                  <a:lnTo>
                    <a:pt x="30" y="666"/>
                  </a:lnTo>
                  <a:lnTo>
                    <a:pt x="36" y="660"/>
                  </a:lnTo>
                  <a:lnTo>
                    <a:pt x="84" y="648"/>
                  </a:lnTo>
                  <a:lnTo>
                    <a:pt x="126" y="642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32" y="618"/>
                  </a:lnTo>
                  <a:lnTo>
                    <a:pt x="138" y="612"/>
                  </a:lnTo>
                  <a:lnTo>
                    <a:pt x="138" y="606"/>
                  </a:lnTo>
                  <a:lnTo>
                    <a:pt x="138" y="600"/>
                  </a:lnTo>
                  <a:lnTo>
                    <a:pt x="132" y="600"/>
                  </a:lnTo>
                  <a:lnTo>
                    <a:pt x="132" y="594"/>
                  </a:lnTo>
                  <a:lnTo>
                    <a:pt x="132" y="588"/>
                  </a:lnTo>
                  <a:lnTo>
                    <a:pt x="132" y="582"/>
                  </a:lnTo>
                  <a:lnTo>
                    <a:pt x="132" y="576"/>
                  </a:lnTo>
                  <a:lnTo>
                    <a:pt x="126" y="570"/>
                  </a:lnTo>
                  <a:lnTo>
                    <a:pt x="120" y="564"/>
                  </a:lnTo>
                  <a:lnTo>
                    <a:pt x="120" y="558"/>
                  </a:lnTo>
                  <a:lnTo>
                    <a:pt x="120" y="552"/>
                  </a:lnTo>
                  <a:lnTo>
                    <a:pt x="114" y="552"/>
                  </a:lnTo>
                  <a:lnTo>
                    <a:pt x="114" y="546"/>
                  </a:lnTo>
                  <a:lnTo>
                    <a:pt x="114" y="540"/>
                  </a:lnTo>
                  <a:lnTo>
                    <a:pt x="108" y="534"/>
                  </a:lnTo>
                  <a:lnTo>
                    <a:pt x="108" y="528"/>
                  </a:lnTo>
                  <a:lnTo>
                    <a:pt x="114" y="522"/>
                  </a:lnTo>
                  <a:lnTo>
                    <a:pt x="108" y="516"/>
                  </a:lnTo>
                  <a:lnTo>
                    <a:pt x="108" y="498"/>
                  </a:lnTo>
                  <a:lnTo>
                    <a:pt x="108" y="492"/>
                  </a:lnTo>
                  <a:lnTo>
                    <a:pt x="108" y="486"/>
                  </a:lnTo>
                  <a:lnTo>
                    <a:pt x="108" y="480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08" y="462"/>
                  </a:lnTo>
                  <a:lnTo>
                    <a:pt x="102" y="456"/>
                  </a:lnTo>
                  <a:lnTo>
                    <a:pt x="102" y="444"/>
                  </a:lnTo>
                  <a:lnTo>
                    <a:pt x="96" y="444"/>
                  </a:lnTo>
                  <a:lnTo>
                    <a:pt x="90" y="432"/>
                  </a:lnTo>
                  <a:lnTo>
                    <a:pt x="96" y="432"/>
                  </a:lnTo>
                  <a:lnTo>
                    <a:pt x="96" y="408"/>
                  </a:lnTo>
                  <a:lnTo>
                    <a:pt x="96" y="396"/>
                  </a:lnTo>
                  <a:lnTo>
                    <a:pt x="96" y="360"/>
                  </a:lnTo>
                  <a:lnTo>
                    <a:pt x="96" y="354"/>
                  </a:lnTo>
                  <a:lnTo>
                    <a:pt x="102" y="354"/>
                  </a:lnTo>
                  <a:lnTo>
                    <a:pt x="102" y="348"/>
                  </a:lnTo>
                  <a:lnTo>
                    <a:pt x="96" y="330"/>
                  </a:lnTo>
                  <a:lnTo>
                    <a:pt x="90" y="306"/>
                  </a:lnTo>
                  <a:lnTo>
                    <a:pt x="84" y="288"/>
                  </a:lnTo>
                  <a:lnTo>
                    <a:pt x="84" y="264"/>
                  </a:lnTo>
                  <a:lnTo>
                    <a:pt x="90" y="240"/>
                  </a:lnTo>
                  <a:lnTo>
                    <a:pt x="96" y="222"/>
                  </a:lnTo>
                  <a:lnTo>
                    <a:pt x="102" y="222"/>
                  </a:lnTo>
                  <a:lnTo>
                    <a:pt x="108" y="210"/>
                  </a:lnTo>
                  <a:lnTo>
                    <a:pt x="114" y="210"/>
                  </a:lnTo>
                  <a:lnTo>
                    <a:pt x="126" y="198"/>
                  </a:lnTo>
                  <a:lnTo>
                    <a:pt x="156" y="192"/>
                  </a:lnTo>
                  <a:lnTo>
                    <a:pt x="174" y="186"/>
                  </a:lnTo>
                  <a:lnTo>
                    <a:pt x="204" y="174"/>
                  </a:lnTo>
                  <a:lnTo>
                    <a:pt x="222" y="168"/>
                  </a:lnTo>
                  <a:lnTo>
                    <a:pt x="234" y="162"/>
                  </a:lnTo>
                  <a:lnTo>
                    <a:pt x="246" y="156"/>
                  </a:lnTo>
                  <a:lnTo>
                    <a:pt x="288" y="144"/>
                  </a:lnTo>
                  <a:lnTo>
                    <a:pt x="288" y="132"/>
                  </a:lnTo>
                  <a:lnTo>
                    <a:pt x="294" y="120"/>
                  </a:lnTo>
                  <a:lnTo>
                    <a:pt x="300" y="108"/>
                  </a:lnTo>
                  <a:lnTo>
                    <a:pt x="306" y="90"/>
                  </a:lnTo>
                  <a:lnTo>
                    <a:pt x="312" y="78"/>
                  </a:lnTo>
                  <a:lnTo>
                    <a:pt x="324" y="78"/>
                  </a:lnTo>
                  <a:lnTo>
                    <a:pt x="324" y="54"/>
                  </a:lnTo>
                  <a:lnTo>
                    <a:pt x="318" y="48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60" y="6"/>
                  </a:lnTo>
                  <a:lnTo>
                    <a:pt x="384" y="0"/>
                  </a:lnTo>
                  <a:lnTo>
                    <a:pt x="390" y="6"/>
                  </a:lnTo>
                  <a:lnTo>
                    <a:pt x="390" y="18"/>
                  </a:lnTo>
                  <a:lnTo>
                    <a:pt x="390" y="54"/>
                  </a:lnTo>
                  <a:lnTo>
                    <a:pt x="396" y="66"/>
                  </a:lnTo>
                  <a:lnTo>
                    <a:pt x="414" y="84"/>
                  </a:lnTo>
                  <a:lnTo>
                    <a:pt x="426" y="90"/>
                  </a:lnTo>
                  <a:lnTo>
                    <a:pt x="432" y="96"/>
                  </a:lnTo>
                  <a:lnTo>
                    <a:pt x="426" y="102"/>
                  </a:lnTo>
                  <a:lnTo>
                    <a:pt x="438" y="102"/>
                  </a:lnTo>
                  <a:lnTo>
                    <a:pt x="444" y="108"/>
                  </a:lnTo>
                  <a:lnTo>
                    <a:pt x="444" y="102"/>
                  </a:lnTo>
                  <a:lnTo>
                    <a:pt x="450" y="90"/>
                  </a:lnTo>
                  <a:lnTo>
                    <a:pt x="450" y="84"/>
                  </a:lnTo>
                  <a:lnTo>
                    <a:pt x="450" y="78"/>
                  </a:lnTo>
                  <a:lnTo>
                    <a:pt x="456" y="72"/>
                  </a:lnTo>
                  <a:lnTo>
                    <a:pt x="462" y="66"/>
                  </a:lnTo>
                  <a:lnTo>
                    <a:pt x="462" y="60"/>
                  </a:lnTo>
                  <a:lnTo>
                    <a:pt x="462" y="54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74" y="24"/>
                  </a:lnTo>
                  <a:lnTo>
                    <a:pt x="480" y="18"/>
                  </a:lnTo>
                  <a:lnTo>
                    <a:pt x="486" y="12"/>
                  </a:lnTo>
                  <a:lnTo>
                    <a:pt x="492" y="12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2" y="6"/>
                  </a:lnTo>
                  <a:lnTo>
                    <a:pt x="534" y="6"/>
                  </a:lnTo>
                  <a:lnTo>
                    <a:pt x="540" y="6"/>
                  </a:lnTo>
                  <a:lnTo>
                    <a:pt x="546" y="6"/>
                  </a:lnTo>
                  <a:lnTo>
                    <a:pt x="564" y="0"/>
                  </a:lnTo>
                  <a:lnTo>
                    <a:pt x="570" y="0"/>
                  </a:lnTo>
                  <a:lnTo>
                    <a:pt x="576" y="6"/>
                  </a:lnTo>
                  <a:lnTo>
                    <a:pt x="582" y="6"/>
                  </a:lnTo>
                  <a:lnTo>
                    <a:pt x="594" y="6"/>
                  </a:lnTo>
                  <a:lnTo>
                    <a:pt x="600" y="6"/>
                  </a:lnTo>
                  <a:lnTo>
                    <a:pt x="606" y="6"/>
                  </a:lnTo>
                  <a:lnTo>
                    <a:pt x="624" y="0"/>
                  </a:lnTo>
                  <a:lnTo>
                    <a:pt x="636" y="0"/>
                  </a:lnTo>
                  <a:lnTo>
                    <a:pt x="636" y="6"/>
                  </a:lnTo>
                  <a:lnTo>
                    <a:pt x="654" y="18"/>
                  </a:lnTo>
                  <a:lnTo>
                    <a:pt x="654" y="30"/>
                  </a:lnTo>
                  <a:lnTo>
                    <a:pt x="642" y="42"/>
                  </a:lnTo>
                  <a:lnTo>
                    <a:pt x="630" y="66"/>
                  </a:lnTo>
                  <a:lnTo>
                    <a:pt x="636" y="84"/>
                  </a:lnTo>
                  <a:lnTo>
                    <a:pt x="636" y="96"/>
                  </a:lnTo>
                  <a:lnTo>
                    <a:pt x="648" y="102"/>
                  </a:lnTo>
                  <a:lnTo>
                    <a:pt x="672" y="114"/>
                  </a:lnTo>
                  <a:lnTo>
                    <a:pt x="702" y="120"/>
                  </a:lnTo>
                  <a:lnTo>
                    <a:pt x="714" y="126"/>
                  </a:lnTo>
                  <a:lnTo>
                    <a:pt x="720" y="144"/>
                  </a:lnTo>
                  <a:lnTo>
                    <a:pt x="720" y="156"/>
                  </a:lnTo>
                  <a:lnTo>
                    <a:pt x="708" y="156"/>
                  </a:lnTo>
                  <a:lnTo>
                    <a:pt x="702" y="162"/>
                  </a:lnTo>
                  <a:lnTo>
                    <a:pt x="702" y="174"/>
                  </a:lnTo>
                  <a:lnTo>
                    <a:pt x="696" y="174"/>
                  </a:lnTo>
                  <a:lnTo>
                    <a:pt x="690" y="180"/>
                  </a:lnTo>
                  <a:lnTo>
                    <a:pt x="678" y="186"/>
                  </a:lnTo>
                  <a:lnTo>
                    <a:pt x="672" y="192"/>
                  </a:lnTo>
                  <a:lnTo>
                    <a:pt x="654" y="210"/>
                  </a:lnTo>
                  <a:lnTo>
                    <a:pt x="654" y="216"/>
                  </a:lnTo>
                  <a:lnTo>
                    <a:pt x="648" y="246"/>
                  </a:lnTo>
                  <a:lnTo>
                    <a:pt x="660" y="246"/>
                  </a:lnTo>
                  <a:lnTo>
                    <a:pt x="666" y="234"/>
                  </a:lnTo>
                  <a:lnTo>
                    <a:pt x="678" y="240"/>
                  </a:lnTo>
                  <a:lnTo>
                    <a:pt x="684" y="228"/>
                  </a:lnTo>
                  <a:lnTo>
                    <a:pt x="690" y="210"/>
                  </a:lnTo>
                  <a:lnTo>
                    <a:pt x="696" y="204"/>
                  </a:lnTo>
                  <a:lnTo>
                    <a:pt x="702" y="204"/>
                  </a:lnTo>
                  <a:lnTo>
                    <a:pt x="708" y="192"/>
                  </a:lnTo>
                  <a:lnTo>
                    <a:pt x="714" y="192"/>
                  </a:lnTo>
                  <a:lnTo>
                    <a:pt x="714" y="186"/>
                  </a:lnTo>
                  <a:lnTo>
                    <a:pt x="726" y="186"/>
                  </a:lnTo>
                  <a:lnTo>
                    <a:pt x="732" y="186"/>
                  </a:lnTo>
                  <a:lnTo>
                    <a:pt x="738" y="186"/>
                  </a:lnTo>
                  <a:lnTo>
                    <a:pt x="744" y="216"/>
                  </a:lnTo>
                  <a:lnTo>
                    <a:pt x="750" y="210"/>
                  </a:lnTo>
                  <a:lnTo>
                    <a:pt x="750" y="204"/>
                  </a:lnTo>
                  <a:lnTo>
                    <a:pt x="756" y="192"/>
                  </a:lnTo>
                  <a:lnTo>
                    <a:pt x="762" y="192"/>
                  </a:lnTo>
                  <a:lnTo>
                    <a:pt x="768" y="192"/>
                  </a:lnTo>
                  <a:lnTo>
                    <a:pt x="780" y="186"/>
                  </a:lnTo>
                  <a:lnTo>
                    <a:pt x="786" y="204"/>
                  </a:lnTo>
                  <a:lnTo>
                    <a:pt x="774" y="210"/>
                  </a:lnTo>
                  <a:lnTo>
                    <a:pt x="774" y="234"/>
                  </a:lnTo>
                  <a:lnTo>
                    <a:pt x="780" y="246"/>
                  </a:lnTo>
                  <a:lnTo>
                    <a:pt x="804" y="264"/>
                  </a:lnTo>
                  <a:lnTo>
                    <a:pt x="816" y="276"/>
                  </a:lnTo>
                  <a:lnTo>
                    <a:pt x="822" y="288"/>
                  </a:lnTo>
                  <a:lnTo>
                    <a:pt x="822" y="312"/>
                  </a:lnTo>
                  <a:lnTo>
                    <a:pt x="816" y="312"/>
                  </a:lnTo>
                  <a:lnTo>
                    <a:pt x="810" y="318"/>
                  </a:lnTo>
                  <a:lnTo>
                    <a:pt x="810" y="348"/>
                  </a:lnTo>
                  <a:lnTo>
                    <a:pt x="816" y="348"/>
                  </a:lnTo>
                  <a:lnTo>
                    <a:pt x="816" y="342"/>
                  </a:lnTo>
                  <a:lnTo>
                    <a:pt x="834" y="342"/>
                  </a:lnTo>
                  <a:lnTo>
                    <a:pt x="834" y="348"/>
                  </a:lnTo>
                  <a:lnTo>
                    <a:pt x="846" y="348"/>
                  </a:lnTo>
                  <a:lnTo>
                    <a:pt x="846" y="342"/>
                  </a:lnTo>
                  <a:lnTo>
                    <a:pt x="882" y="342"/>
                  </a:lnTo>
                  <a:lnTo>
                    <a:pt x="894" y="366"/>
                  </a:lnTo>
                  <a:lnTo>
                    <a:pt x="900" y="372"/>
                  </a:lnTo>
                  <a:lnTo>
                    <a:pt x="906" y="384"/>
                  </a:lnTo>
                  <a:lnTo>
                    <a:pt x="924" y="384"/>
                  </a:lnTo>
                  <a:lnTo>
                    <a:pt x="930" y="372"/>
                  </a:lnTo>
                  <a:lnTo>
                    <a:pt x="936" y="372"/>
                  </a:lnTo>
                  <a:lnTo>
                    <a:pt x="942" y="348"/>
                  </a:lnTo>
                  <a:lnTo>
                    <a:pt x="954" y="348"/>
                  </a:lnTo>
                  <a:lnTo>
                    <a:pt x="954" y="342"/>
                  </a:lnTo>
                  <a:lnTo>
                    <a:pt x="984" y="342"/>
                  </a:lnTo>
                  <a:lnTo>
                    <a:pt x="978" y="390"/>
                  </a:lnTo>
                  <a:lnTo>
                    <a:pt x="984" y="390"/>
                  </a:lnTo>
                  <a:lnTo>
                    <a:pt x="990" y="396"/>
                  </a:lnTo>
                  <a:lnTo>
                    <a:pt x="996" y="396"/>
                  </a:lnTo>
                  <a:lnTo>
                    <a:pt x="1002" y="396"/>
                  </a:lnTo>
                  <a:lnTo>
                    <a:pt x="1002" y="408"/>
                  </a:lnTo>
                  <a:lnTo>
                    <a:pt x="990" y="414"/>
                  </a:lnTo>
                  <a:lnTo>
                    <a:pt x="984" y="426"/>
                  </a:lnTo>
                  <a:lnTo>
                    <a:pt x="990" y="444"/>
                  </a:lnTo>
                  <a:lnTo>
                    <a:pt x="996" y="450"/>
                  </a:lnTo>
                  <a:lnTo>
                    <a:pt x="990" y="462"/>
                  </a:lnTo>
                  <a:lnTo>
                    <a:pt x="990" y="468"/>
                  </a:lnTo>
                  <a:lnTo>
                    <a:pt x="984" y="480"/>
                  </a:lnTo>
                  <a:lnTo>
                    <a:pt x="978" y="486"/>
                  </a:lnTo>
                  <a:lnTo>
                    <a:pt x="972" y="486"/>
                  </a:lnTo>
                  <a:lnTo>
                    <a:pt x="966" y="492"/>
                  </a:lnTo>
                  <a:lnTo>
                    <a:pt x="966" y="498"/>
                  </a:lnTo>
                  <a:lnTo>
                    <a:pt x="954" y="510"/>
                  </a:lnTo>
                  <a:lnTo>
                    <a:pt x="948" y="510"/>
                  </a:lnTo>
                  <a:lnTo>
                    <a:pt x="942" y="516"/>
                  </a:lnTo>
                  <a:lnTo>
                    <a:pt x="936" y="528"/>
                  </a:lnTo>
                  <a:lnTo>
                    <a:pt x="936" y="534"/>
                  </a:lnTo>
                  <a:lnTo>
                    <a:pt x="936" y="546"/>
                  </a:lnTo>
                  <a:lnTo>
                    <a:pt x="936" y="558"/>
                  </a:lnTo>
                  <a:lnTo>
                    <a:pt x="948" y="558"/>
                  </a:lnTo>
                  <a:lnTo>
                    <a:pt x="954" y="558"/>
                  </a:lnTo>
                  <a:lnTo>
                    <a:pt x="996" y="558"/>
                  </a:lnTo>
                  <a:lnTo>
                    <a:pt x="1002" y="570"/>
                  </a:lnTo>
                  <a:lnTo>
                    <a:pt x="996" y="576"/>
                  </a:lnTo>
                  <a:lnTo>
                    <a:pt x="996" y="588"/>
                  </a:lnTo>
                  <a:lnTo>
                    <a:pt x="984" y="588"/>
                  </a:lnTo>
                  <a:lnTo>
                    <a:pt x="990" y="612"/>
                  </a:lnTo>
                  <a:lnTo>
                    <a:pt x="1014" y="606"/>
                  </a:lnTo>
                  <a:lnTo>
                    <a:pt x="1014" y="636"/>
                  </a:lnTo>
                  <a:lnTo>
                    <a:pt x="1014" y="648"/>
                  </a:lnTo>
                  <a:lnTo>
                    <a:pt x="1020" y="648"/>
                  </a:lnTo>
                  <a:lnTo>
                    <a:pt x="1026" y="660"/>
                  </a:lnTo>
                  <a:lnTo>
                    <a:pt x="1038" y="654"/>
                  </a:lnTo>
                  <a:lnTo>
                    <a:pt x="1050" y="654"/>
                  </a:lnTo>
                  <a:lnTo>
                    <a:pt x="1062" y="654"/>
                  </a:lnTo>
                  <a:lnTo>
                    <a:pt x="1068" y="660"/>
                  </a:lnTo>
                  <a:lnTo>
                    <a:pt x="1068" y="678"/>
                  </a:lnTo>
                  <a:lnTo>
                    <a:pt x="1068" y="684"/>
                  </a:lnTo>
                  <a:lnTo>
                    <a:pt x="1062" y="690"/>
                  </a:lnTo>
                  <a:lnTo>
                    <a:pt x="1056" y="696"/>
                  </a:lnTo>
                  <a:lnTo>
                    <a:pt x="1056" y="702"/>
                  </a:lnTo>
                  <a:lnTo>
                    <a:pt x="1038" y="714"/>
                  </a:lnTo>
                  <a:lnTo>
                    <a:pt x="1026" y="720"/>
                  </a:lnTo>
                  <a:lnTo>
                    <a:pt x="1008" y="726"/>
                  </a:lnTo>
                  <a:lnTo>
                    <a:pt x="1008" y="732"/>
                  </a:lnTo>
                  <a:lnTo>
                    <a:pt x="990" y="732"/>
                  </a:lnTo>
                  <a:lnTo>
                    <a:pt x="984" y="744"/>
                  </a:lnTo>
                  <a:lnTo>
                    <a:pt x="990" y="750"/>
                  </a:lnTo>
                  <a:lnTo>
                    <a:pt x="984" y="762"/>
                  </a:lnTo>
                  <a:lnTo>
                    <a:pt x="984" y="768"/>
                  </a:lnTo>
                  <a:lnTo>
                    <a:pt x="984" y="774"/>
                  </a:lnTo>
                  <a:lnTo>
                    <a:pt x="984" y="780"/>
                  </a:lnTo>
                  <a:lnTo>
                    <a:pt x="984" y="786"/>
                  </a:lnTo>
                  <a:lnTo>
                    <a:pt x="984" y="792"/>
                  </a:lnTo>
                  <a:lnTo>
                    <a:pt x="978" y="798"/>
                  </a:lnTo>
                  <a:lnTo>
                    <a:pt x="978" y="80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3" name="Freeform 38">
              <a:extLst>
                <a:ext uri="{FF2B5EF4-FFF2-40B4-BE49-F238E27FC236}">
                  <a16:creationId xmlns:a16="http://schemas.microsoft.com/office/drawing/2014/main" id="{819B99CE-D972-4530-8964-A992C1EC87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2825" y="1634436"/>
              <a:ext cx="959326" cy="959458"/>
            </a:xfrm>
            <a:custGeom>
              <a:avLst/>
              <a:gdLst>
                <a:gd name="T0" fmla="*/ 105 w 1806"/>
                <a:gd name="T1" fmla="*/ 155 h 1806"/>
                <a:gd name="T2" fmla="*/ 103 w 1806"/>
                <a:gd name="T3" fmla="*/ 155 h 1806"/>
                <a:gd name="T4" fmla="*/ 103 w 1806"/>
                <a:gd name="T5" fmla="*/ 150 h 1806"/>
                <a:gd name="T6" fmla="*/ 104 w 1806"/>
                <a:gd name="T7" fmla="*/ 141 h 1806"/>
                <a:gd name="T8" fmla="*/ 104 w 1806"/>
                <a:gd name="T9" fmla="*/ 136 h 1806"/>
                <a:gd name="T10" fmla="*/ 100 w 1806"/>
                <a:gd name="T11" fmla="*/ 131 h 1806"/>
                <a:gd name="T12" fmla="*/ 96 w 1806"/>
                <a:gd name="T13" fmla="*/ 127 h 1806"/>
                <a:gd name="T14" fmla="*/ 91 w 1806"/>
                <a:gd name="T15" fmla="*/ 121 h 1806"/>
                <a:gd name="T16" fmla="*/ 87 w 1806"/>
                <a:gd name="T17" fmla="*/ 120 h 1806"/>
                <a:gd name="T18" fmla="*/ 81 w 1806"/>
                <a:gd name="T19" fmla="*/ 117 h 1806"/>
                <a:gd name="T20" fmla="*/ 65 w 1806"/>
                <a:gd name="T21" fmla="*/ 113 h 1806"/>
                <a:gd name="T22" fmla="*/ 69 w 1806"/>
                <a:gd name="T23" fmla="*/ 105 h 1806"/>
                <a:gd name="T24" fmla="*/ 66 w 1806"/>
                <a:gd name="T25" fmla="*/ 89 h 1806"/>
                <a:gd name="T26" fmla="*/ 63 w 1806"/>
                <a:gd name="T27" fmla="*/ 84 h 1806"/>
                <a:gd name="T28" fmla="*/ 62 w 1806"/>
                <a:gd name="T29" fmla="*/ 74 h 1806"/>
                <a:gd name="T30" fmla="*/ 58 w 1806"/>
                <a:gd name="T31" fmla="*/ 52 h 1806"/>
                <a:gd name="T32" fmla="*/ 53 w 1806"/>
                <a:gd name="T33" fmla="*/ 49 h 1806"/>
                <a:gd name="T34" fmla="*/ 51 w 1806"/>
                <a:gd name="T35" fmla="*/ 36 h 1806"/>
                <a:gd name="T36" fmla="*/ 43 w 1806"/>
                <a:gd name="T37" fmla="*/ 32 h 1806"/>
                <a:gd name="T38" fmla="*/ 33 w 1806"/>
                <a:gd name="T39" fmla="*/ 30 h 1806"/>
                <a:gd name="T40" fmla="*/ 30 w 1806"/>
                <a:gd name="T41" fmla="*/ 21 h 1806"/>
                <a:gd name="T42" fmla="*/ 17 w 1806"/>
                <a:gd name="T43" fmla="*/ 25 h 1806"/>
                <a:gd name="T44" fmla="*/ 4 w 1806"/>
                <a:gd name="T45" fmla="*/ 33 h 1806"/>
                <a:gd name="T46" fmla="*/ 7 w 1806"/>
                <a:gd name="T47" fmla="*/ 26 h 1806"/>
                <a:gd name="T48" fmla="*/ 11 w 1806"/>
                <a:gd name="T49" fmla="*/ 20 h 1806"/>
                <a:gd name="T50" fmla="*/ 18 w 1806"/>
                <a:gd name="T51" fmla="*/ 12 h 1806"/>
                <a:gd name="T52" fmla="*/ 26 w 1806"/>
                <a:gd name="T53" fmla="*/ 8 h 1806"/>
                <a:gd name="T54" fmla="*/ 35 w 1806"/>
                <a:gd name="T55" fmla="*/ 6 h 1806"/>
                <a:gd name="T56" fmla="*/ 44 w 1806"/>
                <a:gd name="T57" fmla="*/ 5 h 1806"/>
                <a:gd name="T58" fmla="*/ 54 w 1806"/>
                <a:gd name="T59" fmla="*/ 2 h 1806"/>
                <a:gd name="T60" fmla="*/ 65 w 1806"/>
                <a:gd name="T61" fmla="*/ 0 h 1806"/>
                <a:gd name="T62" fmla="*/ 76 w 1806"/>
                <a:gd name="T63" fmla="*/ 0 h 1806"/>
                <a:gd name="T64" fmla="*/ 85 w 1806"/>
                <a:gd name="T65" fmla="*/ 0 h 1806"/>
                <a:gd name="T66" fmla="*/ 97 w 1806"/>
                <a:gd name="T67" fmla="*/ 0 h 1806"/>
                <a:gd name="T68" fmla="*/ 108 w 1806"/>
                <a:gd name="T69" fmla="*/ 3 h 1806"/>
                <a:gd name="T70" fmla="*/ 115 w 1806"/>
                <a:gd name="T71" fmla="*/ 5 h 1806"/>
                <a:gd name="T72" fmla="*/ 123 w 1806"/>
                <a:gd name="T73" fmla="*/ 7 h 1806"/>
                <a:gd name="T74" fmla="*/ 133 w 1806"/>
                <a:gd name="T75" fmla="*/ 14 h 1806"/>
                <a:gd name="T76" fmla="*/ 138 w 1806"/>
                <a:gd name="T77" fmla="*/ 16 h 1806"/>
                <a:gd name="T78" fmla="*/ 140 w 1806"/>
                <a:gd name="T79" fmla="*/ 14 h 1806"/>
                <a:gd name="T80" fmla="*/ 145 w 1806"/>
                <a:gd name="T81" fmla="*/ 16 h 1806"/>
                <a:gd name="T82" fmla="*/ 147 w 1806"/>
                <a:gd name="T83" fmla="*/ 16 h 1806"/>
                <a:gd name="T84" fmla="*/ 150 w 1806"/>
                <a:gd name="T85" fmla="*/ 17 h 1806"/>
                <a:gd name="T86" fmla="*/ 152 w 1806"/>
                <a:gd name="T87" fmla="*/ 18 h 1806"/>
                <a:gd name="T88" fmla="*/ 155 w 1806"/>
                <a:gd name="T89" fmla="*/ 37 h 1806"/>
                <a:gd name="T90" fmla="*/ 146 w 1806"/>
                <a:gd name="T91" fmla="*/ 66 h 1806"/>
                <a:gd name="T92" fmla="*/ 143 w 1806"/>
                <a:gd name="T93" fmla="*/ 88 h 1806"/>
                <a:gd name="T94" fmla="*/ 144 w 1806"/>
                <a:gd name="T95" fmla="*/ 98 h 1806"/>
                <a:gd name="T96" fmla="*/ 137 w 1806"/>
                <a:gd name="T97" fmla="*/ 118 h 1806"/>
                <a:gd name="T98" fmla="*/ 132 w 1806"/>
                <a:gd name="T99" fmla="*/ 129 h 1806"/>
                <a:gd name="T100" fmla="*/ 124 w 1806"/>
                <a:gd name="T101" fmla="*/ 135 h 1806"/>
                <a:gd name="T102" fmla="*/ 119 w 1806"/>
                <a:gd name="T103" fmla="*/ 136 h 1806"/>
                <a:gd name="T104" fmla="*/ 116 w 1806"/>
                <a:gd name="T105" fmla="*/ 137 h 1806"/>
                <a:gd name="T106" fmla="*/ 112 w 1806"/>
                <a:gd name="T107" fmla="*/ 139 h 1806"/>
                <a:gd name="T108" fmla="*/ 112 w 1806"/>
                <a:gd name="T109" fmla="*/ 141 h 1806"/>
                <a:gd name="T110" fmla="*/ 116 w 1806"/>
                <a:gd name="T111" fmla="*/ 146 h 1806"/>
                <a:gd name="T112" fmla="*/ 116 w 1806"/>
                <a:gd name="T113" fmla="*/ 151 h 1806"/>
                <a:gd name="T114" fmla="*/ 113 w 1806"/>
                <a:gd name="T115" fmla="*/ 153 h 18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6"/>
                <a:gd name="T175" fmla="*/ 0 h 1806"/>
                <a:gd name="T176" fmla="*/ 1806 w 1806"/>
                <a:gd name="T177" fmla="*/ 1806 h 18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6" h="1806">
                  <a:moveTo>
                    <a:pt x="1260" y="1776"/>
                  </a:moveTo>
                  <a:lnTo>
                    <a:pt x="1254" y="1776"/>
                  </a:lnTo>
                  <a:lnTo>
                    <a:pt x="1248" y="1776"/>
                  </a:lnTo>
                  <a:lnTo>
                    <a:pt x="1242" y="1782"/>
                  </a:lnTo>
                  <a:lnTo>
                    <a:pt x="1236" y="1782"/>
                  </a:lnTo>
                  <a:lnTo>
                    <a:pt x="1230" y="1788"/>
                  </a:lnTo>
                  <a:lnTo>
                    <a:pt x="1224" y="1782"/>
                  </a:lnTo>
                  <a:lnTo>
                    <a:pt x="1218" y="1782"/>
                  </a:lnTo>
                  <a:lnTo>
                    <a:pt x="1218" y="1788"/>
                  </a:lnTo>
                  <a:lnTo>
                    <a:pt x="1212" y="1788"/>
                  </a:lnTo>
                  <a:lnTo>
                    <a:pt x="1206" y="1788"/>
                  </a:lnTo>
                  <a:lnTo>
                    <a:pt x="1206" y="1794"/>
                  </a:lnTo>
                  <a:lnTo>
                    <a:pt x="1200" y="1806"/>
                  </a:lnTo>
                  <a:lnTo>
                    <a:pt x="1194" y="1800"/>
                  </a:lnTo>
                  <a:lnTo>
                    <a:pt x="1194" y="1794"/>
                  </a:lnTo>
                  <a:lnTo>
                    <a:pt x="1194" y="1788"/>
                  </a:lnTo>
                  <a:lnTo>
                    <a:pt x="1188" y="1788"/>
                  </a:lnTo>
                  <a:lnTo>
                    <a:pt x="1188" y="1782"/>
                  </a:lnTo>
                  <a:lnTo>
                    <a:pt x="1188" y="1776"/>
                  </a:lnTo>
                  <a:lnTo>
                    <a:pt x="1194" y="1770"/>
                  </a:lnTo>
                  <a:lnTo>
                    <a:pt x="1194" y="1764"/>
                  </a:lnTo>
                  <a:lnTo>
                    <a:pt x="1194" y="1758"/>
                  </a:lnTo>
                  <a:lnTo>
                    <a:pt x="1194" y="1752"/>
                  </a:lnTo>
                  <a:lnTo>
                    <a:pt x="1200" y="1746"/>
                  </a:lnTo>
                  <a:lnTo>
                    <a:pt x="1200" y="1740"/>
                  </a:lnTo>
                  <a:lnTo>
                    <a:pt x="1200" y="1734"/>
                  </a:lnTo>
                  <a:lnTo>
                    <a:pt x="1188" y="1722"/>
                  </a:lnTo>
                  <a:lnTo>
                    <a:pt x="1188" y="1716"/>
                  </a:lnTo>
                  <a:lnTo>
                    <a:pt x="1194" y="1704"/>
                  </a:lnTo>
                  <a:lnTo>
                    <a:pt x="1194" y="1692"/>
                  </a:lnTo>
                  <a:lnTo>
                    <a:pt x="1200" y="1680"/>
                  </a:lnTo>
                  <a:lnTo>
                    <a:pt x="1200" y="1662"/>
                  </a:lnTo>
                  <a:lnTo>
                    <a:pt x="1200" y="1650"/>
                  </a:lnTo>
                  <a:lnTo>
                    <a:pt x="1206" y="1644"/>
                  </a:lnTo>
                  <a:lnTo>
                    <a:pt x="1206" y="1638"/>
                  </a:lnTo>
                  <a:lnTo>
                    <a:pt x="1206" y="1626"/>
                  </a:lnTo>
                  <a:lnTo>
                    <a:pt x="1206" y="1620"/>
                  </a:lnTo>
                  <a:lnTo>
                    <a:pt x="1206" y="1614"/>
                  </a:lnTo>
                  <a:lnTo>
                    <a:pt x="1200" y="1608"/>
                  </a:lnTo>
                  <a:lnTo>
                    <a:pt x="1200" y="1602"/>
                  </a:lnTo>
                  <a:lnTo>
                    <a:pt x="1200" y="1596"/>
                  </a:lnTo>
                  <a:lnTo>
                    <a:pt x="1200" y="1590"/>
                  </a:lnTo>
                  <a:lnTo>
                    <a:pt x="1200" y="1572"/>
                  </a:lnTo>
                  <a:lnTo>
                    <a:pt x="1200" y="1566"/>
                  </a:lnTo>
                  <a:lnTo>
                    <a:pt x="1200" y="1560"/>
                  </a:lnTo>
                  <a:lnTo>
                    <a:pt x="1194" y="1554"/>
                  </a:lnTo>
                  <a:lnTo>
                    <a:pt x="1188" y="1548"/>
                  </a:lnTo>
                  <a:lnTo>
                    <a:pt x="1188" y="1542"/>
                  </a:lnTo>
                  <a:lnTo>
                    <a:pt x="1176" y="1536"/>
                  </a:lnTo>
                  <a:lnTo>
                    <a:pt x="1176" y="1530"/>
                  </a:lnTo>
                  <a:lnTo>
                    <a:pt x="1170" y="1524"/>
                  </a:lnTo>
                  <a:lnTo>
                    <a:pt x="1170" y="1518"/>
                  </a:lnTo>
                  <a:lnTo>
                    <a:pt x="1164" y="1512"/>
                  </a:lnTo>
                  <a:lnTo>
                    <a:pt x="1158" y="1506"/>
                  </a:lnTo>
                  <a:lnTo>
                    <a:pt x="1152" y="1500"/>
                  </a:lnTo>
                  <a:lnTo>
                    <a:pt x="1146" y="1494"/>
                  </a:lnTo>
                  <a:lnTo>
                    <a:pt x="1140" y="1488"/>
                  </a:lnTo>
                  <a:lnTo>
                    <a:pt x="1134" y="1482"/>
                  </a:lnTo>
                  <a:lnTo>
                    <a:pt x="1128" y="1476"/>
                  </a:lnTo>
                  <a:lnTo>
                    <a:pt x="1122" y="1470"/>
                  </a:lnTo>
                  <a:lnTo>
                    <a:pt x="1116" y="1464"/>
                  </a:lnTo>
                  <a:lnTo>
                    <a:pt x="1110" y="1464"/>
                  </a:lnTo>
                  <a:lnTo>
                    <a:pt x="1104" y="1458"/>
                  </a:lnTo>
                  <a:lnTo>
                    <a:pt x="1098" y="1464"/>
                  </a:lnTo>
                  <a:lnTo>
                    <a:pt x="1092" y="1464"/>
                  </a:lnTo>
                  <a:lnTo>
                    <a:pt x="1086" y="1446"/>
                  </a:lnTo>
                  <a:lnTo>
                    <a:pt x="1086" y="1440"/>
                  </a:lnTo>
                  <a:lnTo>
                    <a:pt x="1080" y="1416"/>
                  </a:lnTo>
                  <a:lnTo>
                    <a:pt x="1068" y="1404"/>
                  </a:lnTo>
                  <a:lnTo>
                    <a:pt x="1062" y="1398"/>
                  </a:lnTo>
                  <a:lnTo>
                    <a:pt x="1056" y="1398"/>
                  </a:lnTo>
                  <a:lnTo>
                    <a:pt x="1050" y="1398"/>
                  </a:lnTo>
                  <a:lnTo>
                    <a:pt x="1044" y="1398"/>
                  </a:lnTo>
                  <a:lnTo>
                    <a:pt x="1044" y="1392"/>
                  </a:lnTo>
                  <a:lnTo>
                    <a:pt x="1038" y="1392"/>
                  </a:lnTo>
                  <a:lnTo>
                    <a:pt x="1032" y="1392"/>
                  </a:lnTo>
                  <a:lnTo>
                    <a:pt x="1020" y="1386"/>
                  </a:lnTo>
                  <a:lnTo>
                    <a:pt x="1014" y="1386"/>
                  </a:lnTo>
                  <a:lnTo>
                    <a:pt x="1014" y="1380"/>
                  </a:lnTo>
                  <a:lnTo>
                    <a:pt x="1008" y="1380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62"/>
                  </a:lnTo>
                  <a:lnTo>
                    <a:pt x="984" y="1356"/>
                  </a:lnTo>
                  <a:lnTo>
                    <a:pt x="978" y="1356"/>
                  </a:lnTo>
                  <a:lnTo>
                    <a:pt x="972" y="1356"/>
                  </a:lnTo>
                  <a:lnTo>
                    <a:pt x="966" y="1356"/>
                  </a:lnTo>
                  <a:lnTo>
                    <a:pt x="966" y="1350"/>
                  </a:lnTo>
                  <a:lnTo>
                    <a:pt x="948" y="1350"/>
                  </a:lnTo>
                  <a:lnTo>
                    <a:pt x="936" y="1344"/>
                  </a:lnTo>
                  <a:lnTo>
                    <a:pt x="930" y="1338"/>
                  </a:lnTo>
                  <a:lnTo>
                    <a:pt x="918" y="1332"/>
                  </a:lnTo>
                  <a:lnTo>
                    <a:pt x="900" y="1326"/>
                  </a:lnTo>
                  <a:lnTo>
                    <a:pt x="864" y="1332"/>
                  </a:lnTo>
                  <a:lnTo>
                    <a:pt x="828" y="1332"/>
                  </a:lnTo>
                  <a:lnTo>
                    <a:pt x="792" y="1314"/>
                  </a:lnTo>
                  <a:lnTo>
                    <a:pt x="780" y="1314"/>
                  </a:lnTo>
                  <a:lnTo>
                    <a:pt x="780" y="1308"/>
                  </a:lnTo>
                  <a:lnTo>
                    <a:pt x="756" y="1296"/>
                  </a:lnTo>
                  <a:lnTo>
                    <a:pt x="756" y="1278"/>
                  </a:lnTo>
                  <a:lnTo>
                    <a:pt x="768" y="1278"/>
                  </a:lnTo>
                  <a:lnTo>
                    <a:pt x="774" y="1272"/>
                  </a:lnTo>
                  <a:lnTo>
                    <a:pt x="780" y="1266"/>
                  </a:lnTo>
                  <a:lnTo>
                    <a:pt x="786" y="1260"/>
                  </a:lnTo>
                  <a:lnTo>
                    <a:pt x="792" y="1254"/>
                  </a:lnTo>
                  <a:lnTo>
                    <a:pt x="798" y="1242"/>
                  </a:lnTo>
                  <a:lnTo>
                    <a:pt x="804" y="1242"/>
                  </a:lnTo>
                  <a:lnTo>
                    <a:pt x="804" y="1206"/>
                  </a:lnTo>
                  <a:lnTo>
                    <a:pt x="804" y="1182"/>
                  </a:lnTo>
                  <a:lnTo>
                    <a:pt x="804" y="1158"/>
                  </a:lnTo>
                  <a:lnTo>
                    <a:pt x="804" y="1134"/>
                  </a:lnTo>
                  <a:lnTo>
                    <a:pt x="798" y="1116"/>
                  </a:lnTo>
                  <a:lnTo>
                    <a:pt x="792" y="1092"/>
                  </a:lnTo>
                  <a:lnTo>
                    <a:pt x="786" y="1062"/>
                  </a:lnTo>
                  <a:lnTo>
                    <a:pt x="768" y="1032"/>
                  </a:lnTo>
                  <a:lnTo>
                    <a:pt x="762" y="1032"/>
                  </a:lnTo>
                  <a:lnTo>
                    <a:pt x="762" y="1020"/>
                  </a:lnTo>
                  <a:lnTo>
                    <a:pt x="762" y="1014"/>
                  </a:lnTo>
                  <a:lnTo>
                    <a:pt x="756" y="1008"/>
                  </a:lnTo>
                  <a:lnTo>
                    <a:pt x="750" y="1002"/>
                  </a:lnTo>
                  <a:lnTo>
                    <a:pt x="738" y="1002"/>
                  </a:lnTo>
                  <a:lnTo>
                    <a:pt x="738" y="990"/>
                  </a:lnTo>
                  <a:lnTo>
                    <a:pt x="726" y="990"/>
                  </a:lnTo>
                  <a:lnTo>
                    <a:pt x="726" y="978"/>
                  </a:lnTo>
                  <a:lnTo>
                    <a:pt x="732" y="972"/>
                  </a:lnTo>
                  <a:lnTo>
                    <a:pt x="732" y="966"/>
                  </a:lnTo>
                  <a:lnTo>
                    <a:pt x="726" y="966"/>
                  </a:lnTo>
                  <a:lnTo>
                    <a:pt x="732" y="948"/>
                  </a:lnTo>
                  <a:lnTo>
                    <a:pt x="726" y="942"/>
                  </a:lnTo>
                  <a:lnTo>
                    <a:pt x="726" y="930"/>
                  </a:lnTo>
                  <a:lnTo>
                    <a:pt x="720" y="924"/>
                  </a:lnTo>
                  <a:lnTo>
                    <a:pt x="714" y="912"/>
                  </a:lnTo>
                  <a:lnTo>
                    <a:pt x="714" y="882"/>
                  </a:lnTo>
                  <a:lnTo>
                    <a:pt x="714" y="870"/>
                  </a:lnTo>
                  <a:lnTo>
                    <a:pt x="714" y="858"/>
                  </a:lnTo>
                  <a:lnTo>
                    <a:pt x="714" y="846"/>
                  </a:lnTo>
                  <a:lnTo>
                    <a:pt x="708" y="822"/>
                  </a:lnTo>
                  <a:lnTo>
                    <a:pt x="702" y="798"/>
                  </a:lnTo>
                  <a:lnTo>
                    <a:pt x="696" y="792"/>
                  </a:lnTo>
                  <a:lnTo>
                    <a:pt x="684" y="726"/>
                  </a:lnTo>
                  <a:lnTo>
                    <a:pt x="678" y="666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66" y="600"/>
                  </a:lnTo>
                  <a:lnTo>
                    <a:pt x="660" y="594"/>
                  </a:lnTo>
                  <a:lnTo>
                    <a:pt x="654" y="594"/>
                  </a:lnTo>
                  <a:lnTo>
                    <a:pt x="636" y="582"/>
                  </a:lnTo>
                  <a:lnTo>
                    <a:pt x="630" y="576"/>
                  </a:lnTo>
                  <a:lnTo>
                    <a:pt x="624" y="576"/>
                  </a:lnTo>
                  <a:lnTo>
                    <a:pt x="618" y="570"/>
                  </a:lnTo>
                  <a:lnTo>
                    <a:pt x="612" y="564"/>
                  </a:lnTo>
                  <a:lnTo>
                    <a:pt x="606" y="558"/>
                  </a:lnTo>
                  <a:lnTo>
                    <a:pt x="606" y="564"/>
                  </a:lnTo>
                  <a:lnTo>
                    <a:pt x="600" y="564"/>
                  </a:lnTo>
                  <a:lnTo>
                    <a:pt x="594" y="558"/>
                  </a:lnTo>
                  <a:lnTo>
                    <a:pt x="594" y="540"/>
                  </a:lnTo>
                  <a:lnTo>
                    <a:pt x="594" y="528"/>
                  </a:lnTo>
                  <a:lnTo>
                    <a:pt x="594" y="516"/>
                  </a:lnTo>
                  <a:lnTo>
                    <a:pt x="594" y="510"/>
                  </a:lnTo>
                  <a:lnTo>
                    <a:pt x="594" y="492"/>
                  </a:lnTo>
                  <a:lnTo>
                    <a:pt x="594" y="456"/>
                  </a:lnTo>
                  <a:lnTo>
                    <a:pt x="588" y="414"/>
                  </a:lnTo>
                  <a:lnTo>
                    <a:pt x="588" y="408"/>
                  </a:lnTo>
                  <a:lnTo>
                    <a:pt x="582" y="396"/>
                  </a:lnTo>
                  <a:lnTo>
                    <a:pt x="582" y="384"/>
                  </a:lnTo>
                  <a:lnTo>
                    <a:pt x="582" y="372"/>
                  </a:lnTo>
                  <a:lnTo>
                    <a:pt x="564" y="372"/>
                  </a:lnTo>
                  <a:lnTo>
                    <a:pt x="552" y="366"/>
                  </a:lnTo>
                  <a:lnTo>
                    <a:pt x="552" y="372"/>
                  </a:lnTo>
                  <a:lnTo>
                    <a:pt x="498" y="372"/>
                  </a:lnTo>
                  <a:lnTo>
                    <a:pt x="498" y="366"/>
                  </a:lnTo>
                  <a:lnTo>
                    <a:pt x="474" y="360"/>
                  </a:lnTo>
                  <a:lnTo>
                    <a:pt x="456" y="354"/>
                  </a:lnTo>
                  <a:lnTo>
                    <a:pt x="438" y="348"/>
                  </a:lnTo>
                  <a:lnTo>
                    <a:pt x="426" y="354"/>
                  </a:lnTo>
                  <a:lnTo>
                    <a:pt x="408" y="360"/>
                  </a:lnTo>
                  <a:lnTo>
                    <a:pt x="378" y="360"/>
                  </a:lnTo>
                  <a:lnTo>
                    <a:pt x="378" y="354"/>
                  </a:lnTo>
                  <a:lnTo>
                    <a:pt x="378" y="348"/>
                  </a:lnTo>
                  <a:lnTo>
                    <a:pt x="378" y="342"/>
                  </a:lnTo>
                  <a:lnTo>
                    <a:pt x="390" y="330"/>
                  </a:lnTo>
                  <a:lnTo>
                    <a:pt x="396" y="312"/>
                  </a:lnTo>
                  <a:lnTo>
                    <a:pt x="396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8"/>
                  </a:lnTo>
                  <a:lnTo>
                    <a:pt x="372" y="234"/>
                  </a:lnTo>
                  <a:lnTo>
                    <a:pt x="354" y="234"/>
                  </a:lnTo>
                  <a:lnTo>
                    <a:pt x="342" y="246"/>
                  </a:lnTo>
                  <a:lnTo>
                    <a:pt x="330" y="252"/>
                  </a:lnTo>
                  <a:lnTo>
                    <a:pt x="318" y="252"/>
                  </a:lnTo>
                  <a:lnTo>
                    <a:pt x="276" y="258"/>
                  </a:lnTo>
                  <a:lnTo>
                    <a:pt x="276" y="264"/>
                  </a:lnTo>
                  <a:lnTo>
                    <a:pt x="252" y="270"/>
                  </a:lnTo>
                  <a:lnTo>
                    <a:pt x="240" y="270"/>
                  </a:lnTo>
                  <a:lnTo>
                    <a:pt x="228" y="276"/>
                  </a:lnTo>
                  <a:lnTo>
                    <a:pt x="210" y="282"/>
                  </a:lnTo>
                  <a:lnTo>
                    <a:pt x="198" y="288"/>
                  </a:lnTo>
                  <a:lnTo>
                    <a:pt x="186" y="294"/>
                  </a:lnTo>
                  <a:lnTo>
                    <a:pt x="174" y="330"/>
                  </a:lnTo>
                  <a:lnTo>
                    <a:pt x="162" y="342"/>
                  </a:lnTo>
                  <a:lnTo>
                    <a:pt x="156" y="354"/>
                  </a:lnTo>
                  <a:lnTo>
                    <a:pt x="150" y="360"/>
                  </a:lnTo>
                  <a:lnTo>
                    <a:pt x="150" y="366"/>
                  </a:lnTo>
                  <a:lnTo>
                    <a:pt x="108" y="372"/>
                  </a:lnTo>
                  <a:lnTo>
                    <a:pt x="60" y="378"/>
                  </a:lnTo>
                  <a:lnTo>
                    <a:pt x="42" y="378"/>
                  </a:lnTo>
                  <a:lnTo>
                    <a:pt x="12" y="378"/>
                  </a:lnTo>
                  <a:lnTo>
                    <a:pt x="6" y="378"/>
                  </a:lnTo>
                  <a:lnTo>
                    <a:pt x="0" y="366"/>
                  </a:lnTo>
                  <a:lnTo>
                    <a:pt x="12" y="360"/>
                  </a:lnTo>
                  <a:lnTo>
                    <a:pt x="24" y="348"/>
                  </a:lnTo>
                  <a:lnTo>
                    <a:pt x="30" y="342"/>
                  </a:lnTo>
                  <a:lnTo>
                    <a:pt x="36" y="330"/>
                  </a:lnTo>
                  <a:lnTo>
                    <a:pt x="72" y="300"/>
                  </a:lnTo>
                  <a:lnTo>
                    <a:pt x="78" y="294"/>
                  </a:lnTo>
                  <a:lnTo>
                    <a:pt x="78" y="288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96" y="270"/>
                  </a:lnTo>
                  <a:lnTo>
                    <a:pt x="102" y="264"/>
                  </a:lnTo>
                  <a:lnTo>
                    <a:pt x="108" y="258"/>
                  </a:lnTo>
                  <a:lnTo>
                    <a:pt x="114" y="246"/>
                  </a:lnTo>
                  <a:lnTo>
                    <a:pt x="120" y="240"/>
                  </a:lnTo>
                  <a:lnTo>
                    <a:pt x="126" y="234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0" y="210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86" y="174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22" y="138"/>
                  </a:lnTo>
                  <a:lnTo>
                    <a:pt x="234" y="132"/>
                  </a:lnTo>
                  <a:lnTo>
                    <a:pt x="246" y="126"/>
                  </a:lnTo>
                  <a:lnTo>
                    <a:pt x="246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88" y="102"/>
                  </a:lnTo>
                  <a:lnTo>
                    <a:pt x="300" y="96"/>
                  </a:lnTo>
                  <a:lnTo>
                    <a:pt x="306" y="90"/>
                  </a:lnTo>
                  <a:lnTo>
                    <a:pt x="318" y="90"/>
                  </a:lnTo>
                  <a:lnTo>
                    <a:pt x="324" y="84"/>
                  </a:lnTo>
                  <a:lnTo>
                    <a:pt x="348" y="72"/>
                  </a:lnTo>
                  <a:lnTo>
                    <a:pt x="354" y="72"/>
                  </a:lnTo>
                  <a:lnTo>
                    <a:pt x="384" y="66"/>
                  </a:lnTo>
                  <a:lnTo>
                    <a:pt x="390" y="66"/>
                  </a:lnTo>
                  <a:lnTo>
                    <a:pt x="396" y="66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66"/>
                  </a:lnTo>
                  <a:lnTo>
                    <a:pt x="438" y="66"/>
                  </a:lnTo>
                  <a:lnTo>
                    <a:pt x="468" y="66"/>
                  </a:lnTo>
                  <a:lnTo>
                    <a:pt x="480" y="66"/>
                  </a:lnTo>
                  <a:lnTo>
                    <a:pt x="486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22" y="60"/>
                  </a:lnTo>
                  <a:lnTo>
                    <a:pt x="534" y="54"/>
                  </a:lnTo>
                  <a:lnTo>
                    <a:pt x="564" y="42"/>
                  </a:lnTo>
                  <a:lnTo>
                    <a:pt x="570" y="42"/>
                  </a:lnTo>
                  <a:lnTo>
                    <a:pt x="582" y="36"/>
                  </a:lnTo>
                  <a:lnTo>
                    <a:pt x="588" y="36"/>
                  </a:lnTo>
                  <a:lnTo>
                    <a:pt x="600" y="30"/>
                  </a:lnTo>
                  <a:lnTo>
                    <a:pt x="606" y="30"/>
                  </a:lnTo>
                  <a:lnTo>
                    <a:pt x="618" y="24"/>
                  </a:lnTo>
                  <a:lnTo>
                    <a:pt x="642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72" y="12"/>
                  </a:lnTo>
                  <a:lnTo>
                    <a:pt x="696" y="12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50" y="6"/>
                  </a:lnTo>
                  <a:lnTo>
                    <a:pt x="768" y="6"/>
                  </a:lnTo>
                  <a:lnTo>
                    <a:pt x="774" y="6"/>
                  </a:lnTo>
                  <a:lnTo>
                    <a:pt x="786" y="6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6" y="6"/>
                  </a:lnTo>
                  <a:lnTo>
                    <a:pt x="846" y="6"/>
                  </a:lnTo>
                  <a:lnTo>
                    <a:pt x="852" y="0"/>
                  </a:lnTo>
                  <a:lnTo>
                    <a:pt x="876" y="0"/>
                  </a:lnTo>
                  <a:lnTo>
                    <a:pt x="876" y="6"/>
                  </a:lnTo>
                  <a:lnTo>
                    <a:pt x="888" y="0"/>
                  </a:lnTo>
                  <a:lnTo>
                    <a:pt x="900" y="0"/>
                  </a:lnTo>
                  <a:lnTo>
                    <a:pt x="906" y="0"/>
                  </a:lnTo>
                  <a:lnTo>
                    <a:pt x="912" y="0"/>
                  </a:lnTo>
                  <a:lnTo>
                    <a:pt x="948" y="0"/>
                  </a:lnTo>
                  <a:lnTo>
                    <a:pt x="954" y="0"/>
                  </a:lnTo>
                  <a:lnTo>
                    <a:pt x="972" y="0"/>
                  </a:lnTo>
                  <a:lnTo>
                    <a:pt x="978" y="0"/>
                  </a:lnTo>
                  <a:lnTo>
                    <a:pt x="996" y="0"/>
                  </a:lnTo>
                  <a:lnTo>
                    <a:pt x="1032" y="0"/>
                  </a:lnTo>
                  <a:lnTo>
                    <a:pt x="1044" y="0"/>
                  </a:lnTo>
                  <a:lnTo>
                    <a:pt x="1050" y="0"/>
                  </a:lnTo>
                  <a:lnTo>
                    <a:pt x="1056" y="6"/>
                  </a:lnTo>
                  <a:lnTo>
                    <a:pt x="1056" y="0"/>
                  </a:lnTo>
                  <a:lnTo>
                    <a:pt x="1074" y="0"/>
                  </a:lnTo>
                  <a:lnTo>
                    <a:pt x="1098" y="6"/>
                  </a:lnTo>
                  <a:lnTo>
                    <a:pt x="1116" y="6"/>
                  </a:lnTo>
                  <a:lnTo>
                    <a:pt x="1140" y="12"/>
                  </a:lnTo>
                  <a:lnTo>
                    <a:pt x="1152" y="12"/>
                  </a:lnTo>
                  <a:lnTo>
                    <a:pt x="1158" y="12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6" y="12"/>
                  </a:lnTo>
                  <a:lnTo>
                    <a:pt x="1194" y="18"/>
                  </a:lnTo>
                  <a:lnTo>
                    <a:pt x="1206" y="18"/>
                  </a:lnTo>
                  <a:lnTo>
                    <a:pt x="1242" y="36"/>
                  </a:lnTo>
                  <a:lnTo>
                    <a:pt x="1248" y="36"/>
                  </a:lnTo>
                  <a:lnTo>
                    <a:pt x="1254" y="36"/>
                  </a:lnTo>
                  <a:lnTo>
                    <a:pt x="1260" y="42"/>
                  </a:lnTo>
                  <a:lnTo>
                    <a:pt x="1272" y="48"/>
                  </a:lnTo>
                  <a:lnTo>
                    <a:pt x="1278" y="48"/>
                  </a:lnTo>
                  <a:lnTo>
                    <a:pt x="1284" y="48"/>
                  </a:lnTo>
                  <a:lnTo>
                    <a:pt x="1290" y="54"/>
                  </a:lnTo>
                  <a:lnTo>
                    <a:pt x="1308" y="60"/>
                  </a:lnTo>
                  <a:lnTo>
                    <a:pt x="1326" y="60"/>
                  </a:lnTo>
                  <a:lnTo>
                    <a:pt x="1338" y="66"/>
                  </a:lnTo>
                  <a:lnTo>
                    <a:pt x="1344" y="66"/>
                  </a:lnTo>
                  <a:lnTo>
                    <a:pt x="1350" y="66"/>
                  </a:lnTo>
                  <a:lnTo>
                    <a:pt x="1356" y="66"/>
                  </a:lnTo>
                  <a:lnTo>
                    <a:pt x="1362" y="72"/>
                  </a:lnTo>
                  <a:lnTo>
                    <a:pt x="1368" y="72"/>
                  </a:lnTo>
                  <a:lnTo>
                    <a:pt x="1380" y="72"/>
                  </a:lnTo>
                  <a:lnTo>
                    <a:pt x="1386" y="72"/>
                  </a:lnTo>
                  <a:lnTo>
                    <a:pt x="1422" y="84"/>
                  </a:lnTo>
                  <a:lnTo>
                    <a:pt x="1428" y="84"/>
                  </a:lnTo>
                  <a:lnTo>
                    <a:pt x="1446" y="90"/>
                  </a:lnTo>
                  <a:lnTo>
                    <a:pt x="1458" y="102"/>
                  </a:lnTo>
                  <a:lnTo>
                    <a:pt x="1494" y="126"/>
                  </a:lnTo>
                  <a:lnTo>
                    <a:pt x="1500" y="132"/>
                  </a:lnTo>
                  <a:lnTo>
                    <a:pt x="1512" y="138"/>
                  </a:lnTo>
                  <a:lnTo>
                    <a:pt x="1512" y="144"/>
                  </a:lnTo>
                  <a:lnTo>
                    <a:pt x="1518" y="150"/>
                  </a:lnTo>
                  <a:lnTo>
                    <a:pt x="1530" y="156"/>
                  </a:lnTo>
                  <a:lnTo>
                    <a:pt x="1530" y="162"/>
                  </a:lnTo>
                  <a:lnTo>
                    <a:pt x="1548" y="168"/>
                  </a:lnTo>
                  <a:lnTo>
                    <a:pt x="1566" y="180"/>
                  </a:lnTo>
                  <a:lnTo>
                    <a:pt x="1578" y="186"/>
                  </a:lnTo>
                  <a:lnTo>
                    <a:pt x="1578" y="180"/>
                  </a:lnTo>
                  <a:lnTo>
                    <a:pt x="1584" y="186"/>
                  </a:lnTo>
                  <a:lnTo>
                    <a:pt x="1584" y="174"/>
                  </a:lnTo>
                  <a:lnTo>
                    <a:pt x="1590" y="174"/>
                  </a:lnTo>
                  <a:lnTo>
                    <a:pt x="1590" y="180"/>
                  </a:lnTo>
                  <a:lnTo>
                    <a:pt x="1596" y="180"/>
                  </a:lnTo>
                  <a:lnTo>
                    <a:pt x="1596" y="174"/>
                  </a:lnTo>
                  <a:lnTo>
                    <a:pt x="1602" y="174"/>
                  </a:lnTo>
                  <a:lnTo>
                    <a:pt x="1608" y="174"/>
                  </a:lnTo>
                  <a:lnTo>
                    <a:pt x="1614" y="180"/>
                  </a:lnTo>
                  <a:lnTo>
                    <a:pt x="1620" y="174"/>
                  </a:lnTo>
                  <a:lnTo>
                    <a:pt x="1614" y="168"/>
                  </a:lnTo>
                  <a:lnTo>
                    <a:pt x="1614" y="162"/>
                  </a:lnTo>
                  <a:lnTo>
                    <a:pt x="1620" y="162"/>
                  </a:lnTo>
                  <a:lnTo>
                    <a:pt x="1626" y="162"/>
                  </a:lnTo>
                  <a:lnTo>
                    <a:pt x="1632" y="162"/>
                  </a:lnTo>
                  <a:lnTo>
                    <a:pt x="1638" y="168"/>
                  </a:lnTo>
                  <a:lnTo>
                    <a:pt x="1644" y="168"/>
                  </a:lnTo>
                  <a:lnTo>
                    <a:pt x="1650" y="174"/>
                  </a:lnTo>
                  <a:lnTo>
                    <a:pt x="1656" y="168"/>
                  </a:lnTo>
                  <a:lnTo>
                    <a:pt x="1668" y="168"/>
                  </a:lnTo>
                  <a:lnTo>
                    <a:pt x="1674" y="174"/>
                  </a:lnTo>
                  <a:lnTo>
                    <a:pt x="1674" y="180"/>
                  </a:lnTo>
                  <a:lnTo>
                    <a:pt x="1674" y="186"/>
                  </a:lnTo>
                  <a:lnTo>
                    <a:pt x="1680" y="186"/>
                  </a:lnTo>
                  <a:lnTo>
                    <a:pt x="1680" y="192"/>
                  </a:lnTo>
                  <a:lnTo>
                    <a:pt x="1686" y="192"/>
                  </a:lnTo>
                  <a:lnTo>
                    <a:pt x="1686" y="186"/>
                  </a:lnTo>
                  <a:lnTo>
                    <a:pt x="1680" y="186"/>
                  </a:lnTo>
                  <a:lnTo>
                    <a:pt x="1686" y="180"/>
                  </a:lnTo>
                  <a:lnTo>
                    <a:pt x="1692" y="180"/>
                  </a:lnTo>
                  <a:lnTo>
                    <a:pt x="1698" y="180"/>
                  </a:lnTo>
                  <a:lnTo>
                    <a:pt x="1704" y="180"/>
                  </a:lnTo>
                  <a:lnTo>
                    <a:pt x="1704" y="186"/>
                  </a:lnTo>
                  <a:lnTo>
                    <a:pt x="1710" y="186"/>
                  </a:lnTo>
                  <a:lnTo>
                    <a:pt x="1716" y="186"/>
                  </a:lnTo>
                  <a:lnTo>
                    <a:pt x="1716" y="192"/>
                  </a:lnTo>
                  <a:lnTo>
                    <a:pt x="1716" y="198"/>
                  </a:lnTo>
                  <a:lnTo>
                    <a:pt x="1722" y="192"/>
                  </a:lnTo>
                  <a:lnTo>
                    <a:pt x="1722" y="186"/>
                  </a:lnTo>
                  <a:lnTo>
                    <a:pt x="1728" y="192"/>
                  </a:lnTo>
                  <a:lnTo>
                    <a:pt x="1734" y="192"/>
                  </a:lnTo>
                  <a:lnTo>
                    <a:pt x="1734" y="186"/>
                  </a:lnTo>
                  <a:lnTo>
                    <a:pt x="1740" y="186"/>
                  </a:lnTo>
                  <a:lnTo>
                    <a:pt x="1740" y="192"/>
                  </a:lnTo>
                  <a:lnTo>
                    <a:pt x="1746" y="192"/>
                  </a:lnTo>
                  <a:lnTo>
                    <a:pt x="1758" y="192"/>
                  </a:lnTo>
                  <a:lnTo>
                    <a:pt x="1764" y="192"/>
                  </a:lnTo>
                  <a:lnTo>
                    <a:pt x="1764" y="198"/>
                  </a:lnTo>
                  <a:lnTo>
                    <a:pt x="1758" y="204"/>
                  </a:lnTo>
                  <a:lnTo>
                    <a:pt x="1752" y="210"/>
                  </a:lnTo>
                  <a:lnTo>
                    <a:pt x="1746" y="216"/>
                  </a:lnTo>
                  <a:lnTo>
                    <a:pt x="1746" y="222"/>
                  </a:lnTo>
                  <a:lnTo>
                    <a:pt x="1734" y="228"/>
                  </a:lnTo>
                  <a:lnTo>
                    <a:pt x="1734" y="234"/>
                  </a:lnTo>
                  <a:lnTo>
                    <a:pt x="1734" y="258"/>
                  </a:lnTo>
                  <a:lnTo>
                    <a:pt x="1740" y="330"/>
                  </a:lnTo>
                  <a:lnTo>
                    <a:pt x="1746" y="372"/>
                  </a:lnTo>
                  <a:lnTo>
                    <a:pt x="1788" y="426"/>
                  </a:lnTo>
                  <a:lnTo>
                    <a:pt x="1806" y="438"/>
                  </a:lnTo>
                  <a:lnTo>
                    <a:pt x="1794" y="480"/>
                  </a:lnTo>
                  <a:lnTo>
                    <a:pt x="1770" y="516"/>
                  </a:lnTo>
                  <a:lnTo>
                    <a:pt x="1746" y="546"/>
                  </a:lnTo>
                  <a:lnTo>
                    <a:pt x="1716" y="570"/>
                  </a:lnTo>
                  <a:lnTo>
                    <a:pt x="1680" y="594"/>
                  </a:lnTo>
                  <a:lnTo>
                    <a:pt x="1668" y="630"/>
                  </a:lnTo>
                  <a:lnTo>
                    <a:pt x="1680" y="684"/>
                  </a:lnTo>
                  <a:lnTo>
                    <a:pt x="1686" y="756"/>
                  </a:lnTo>
                  <a:lnTo>
                    <a:pt x="1662" y="870"/>
                  </a:lnTo>
                  <a:lnTo>
                    <a:pt x="1656" y="888"/>
                  </a:lnTo>
                  <a:lnTo>
                    <a:pt x="1650" y="972"/>
                  </a:lnTo>
                  <a:lnTo>
                    <a:pt x="1656" y="978"/>
                  </a:lnTo>
                  <a:lnTo>
                    <a:pt x="1650" y="984"/>
                  </a:lnTo>
                  <a:lnTo>
                    <a:pt x="1650" y="990"/>
                  </a:lnTo>
                  <a:lnTo>
                    <a:pt x="1650" y="1002"/>
                  </a:lnTo>
                  <a:lnTo>
                    <a:pt x="1656" y="1008"/>
                  </a:lnTo>
                  <a:lnTo>
                    <a:pt x="1656" y="1014"/>
                  </a:lnTo>
                  <a:lnTo>
                    <a:pt x="1662" y="1026"/>
                  </a:lnTo>
                  <a:lnTo>
                    <a:pt x="1650" y="1032"/>
                  </a:lnTo>
                  <a:lnTo>
                    <a:pt x="1638" y="1044"/>
                  </a:lnTo>
                  <a:lnTo>
                    <a:pt x="1626" y="1080"/>
                  </a:lnTo>
                  <a:lnTo>
                    <a:pt x="1614" y="1116"/>
                  </a:lnTo>
                  <a:lnTo>
                    <a:pt x="1614" y="1128"/>
                  </a:lnTo>
                  <a:lnTo>
                    <a:pt x="1626" y="1134"/>
                  </a:lnTo>
                  <a:lnTo>
                    <a:pt x="1644" y="1134"/>
                  </a:lnTo>
                  <a:lnTo>
                    <a:pt x="1662" y="1134"/>
                  </a:lnTo>
                  <a:lnTo>
                    <a:pt x="1680" y="1140"/>
                  </a:lnTo>
                  <a:lnTo>
                    <a:pt x="1698" y="1170"/>
                  </a:lnTo>
                  <a:lnTo>
                    <a:pt x="1704" y="1194"/>
                  </a:lnTo>
                  <a:lnTo>
                    <a:pt x="1692" y="1206"/>
                  </a:lnTo>
                  <a:lnTo>
                    <a:pt x="1662" y="1242"/>
                  </a:lnTo>
                  <a:lnTo>
                    <a:pt x="1632" y="1266"/>
                  </a:lnTo>
                  <a:lnTo>
                    <a:pt x="1620" y="1314"/>
                  </a:lnTo>
                  <a:lnTo>
                    <a:pt x="1584" y="1356"/>
                  </a:lnTo>
                  <a:lnTo>
                    <a:pt x="1578" y="1356"/>
                  </a:lnTo>
                  <a:lnTo>
                    <a:pt x="1578" y="1362"/>
                  </a:lnTo>
                  <a:lnTo>
                    <a:pt x="1572" y="1410"/>
                  </a:lnTo>
                  <a:lnTo>
                    <a:pt x="1584" y="1452"/>
                  </a:lnTo>
                  <a:lnTo>
                    <a:pt x="1608" y="1476"/>
                  </a:lnTo>
                  <a:lnTo>
                    <a:pt x="1596" y="1476"/>
                  </a:lnTo>
                  <a:lnTo>
                    <a:pt x="1584" y="1482"/>
                  </a:lnTo>
                  <a:lnTo>
                    <a:pt x="1560" y="1482"/>
                  </a:lnTo>
                  <a:lnTo>
                    <a:pt x="1536" y="1482"/>
                  </a:lnTo>
                  <a:lnTo>
                    <a:pt x="1524" y="1482"/>
                  </a:lnTo>
                  <a:lnTo>
                    <a:pt x="1506" y="1500"/>
                  </a:lnTo>
                  <a:lnTo>
                    <a:pt x="1482" y="1530"/>
                  </a:lnTo>
                  <a:lnTo>
                    <a:pt x="1452" y="1542"/>
                  </a:lnTo>
                  <a:lnTo>
                    <a:pt x="1446" y="1542"/>
                  </a:lnTo>
                  <a:lnTo>
                    <a:pt x="1440" y="1542"/>
                  </a:lnTo>
                  <a:lnTo>
                    <a:pt x="1440" y="1548"/>
                  </a:lnTo>
                  <a:lnTo>
                    <a:pt x="1434" y="1548"/>
                  </a:lnTo>
                  <a:lnTo>
                    <a:pt x="1428" y="1548"/>
                  </a:lnTo>
                  <a:lnTo>
                    <a:pt x="1428" y="1554"/>
                  </a:lnTo>
                  <a:lnTo>
                    <a:pt x="1422" y="1560"/>
                  </a:lnTo>
                  <a:lnTo>
                    <a:pt x="1416" y="1560"/>
                  </a:lnTo>
                  <a:lnTo>
                    <a:pt x="1410" y="1566"/>
                  </a:lnTo>
                  <a:lnTo>
                    <a:pt x="1410" y="1560"/>
                  </a:lnTo>
                  <a:lnTo>
                    <a:pt x="1404" y="1560"/>
                  </a:lnTo>
                  <a:lnTo>
                    <a:pt x="1392" y="1560"/>
                  </a:lnTo>
                  <a:lnTo>
                    <a:pt x="1386" y="1560"/>
                  </a:lnTo>
                  <a:lnTo>
                    <a:pt x="1380" y="1566"/>
                  </a:lnTo>
                  <a:lnTo>
                    <a:pt x="1374" y="1560"/>
                  </a:lnTo>
                  <a:lnTo>
                    <a:pt x="1368" y="1566"/>
                  </a:lnTo>
                  <a:lnTo>
                    <a:pt x="1362" y="1566"/>
                  </a:lnTo>
                  <a:lnTo>
                    <a:pt x="1362" y="1572"/>
                  </a:lnTo>
                  <a:lnTo>
                    <a:pt x="1356" y="1572"/>
                  </a:lnTo>
                  <a:lnTo>
                    <a:pt x="1356" y="1578"/>
                  </a:lnTo>
                  <a:lnTo>
                    <a:pt x="1350" y="1578"/>
                  </a:lnTo>
                  <a:lnTo>
                    <a:pt x="1350" y="1572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32" y="1584"/>
                  </a:lnTo>
                  <a:lnTo>
                    <a:pt x="1326" y="1590"/>
                  </a:lnTo>
                  <a:lnTo>
                    <a:pt x="1320" y="1584"/>
                  </a:lnTo>
                  <a:lnTo>
                    <a:pt x="1314" y="1590"/>
                  </a:lnTo>
                  <a:lnTo>
                    <a:pt x="1308" y="1596"/>
                  </a:lnTo>
                  <a:lnTo>
                    <a:pt x="1302" y="1596"/>
                  </a:lnTo>
                  <a:lnTo>
                    <a:pt x="1296" y="1596"/>
                  </a:lnTo>
                  <a:lnTo>
                    <a:pt x="1290" y="1596"/>
                  </a:lnTo>
                  <a:lnTo>
                    <a:pt x="1284" y="1596"/>
                  </a:lnTo>
                  <a:lnTo>
                    <a:pt x="1278" y="1602"/>
                  </a:lnTo>
                  <a:lnTo>
                    <a:pt x="1266" y="1602"/>
                  </a:lnTo>
                  <a:lnTo>
                    <a:pt x="1272" y="1608"/>
                  </a:lnTo>
                  <a:lnTo>
                    <a:pt x="1278" y="1608"/>
                  </a:lnTo>
                  <a:lnTo>
                    <a:pt x="1284" y="1608"/>
                  </a:lnTo>
                  <a:lnTo>
                    <a:pt x="1290" y="1614"/>
                  </a:lnTo>
                  <a:lnTo>
                    <a:pt x="1296" y="1620"/>
                  </a:lnTo>
                  <a:lnTo>
                    <a:pt x="1302" y="1626"/>
                  </a:lnTo>
                  <a:lnTo>
                    <a:pt x="1308" y="1632"/>
                  </a:lnTo>
                  <a:lnTo>
                    <a:pt x="1314" y="1638"/>
                  </a:lnTo>
                  <a:lnTo>
                    <a:pt x="1314" y="1644"/>
                  </a:lnTo>
                  <a:lnTo>
                    <a:pt x="1320" y="1644"/>
                  </a:lnTo>
                  <a:lnTo>
                    <a:pt x="1320" y="1650"/>
                  </a:lnTo>
                  <a:lnTo>
                    <a:pt x="1326" y="1656"/>
                  </a:lnTo>
                  <a:lnTo>
                    <a:pt x="1332" y="1668"/>
                  </a:lnTo>
                  <a:lnTo>
                    <a:pt x="1338" y="1680"/>
                  </a:lnTo>
                  <a:lnTo>
                    <a:pt x="1338" y="1698"/>
                  </a:lnTo>
                  <a:lnTo>
                    <a:pt x="1350" y="1710"/>
                  </a:lnTo>
                  <a:lnTo>
                    <a:pt x="1350" y="1716"/>
                  </a:lnTo>
                  <a:lnTo>
                    <a:pt x="1350" y="1722"/>
                  </a:lnTo>
                  <a:lnTo>
                    <a:pt x="1350" y="1728"/>
                  </a:lnTo>
                  <a:lnTo>
                    <a:pt x="1356" y="1728"/>
                  </a:lnTo>
                  <a:lnTo>
                    <a:pt x="1356" y="1734"/>
                  </a:lnTo>
                  <a:lnTo>
                    <a:pt x="1350" y="1734"/>
                  </a:lnTo>
                  <a:lnTo>
                    <a:pt x="1344" y="1740"/>
                  </a:lnTo>
                  <a:lnTo>
                    <a:pt x="1338" y="1740"/>
                  </a:lnTo>
                  <a:lnTo>
                    <a:pt x="1332" y="1746"/>
                  </a:lnTo>
                  <a:lnTo>
                    <a:pt x="1326" y="1746"/>
                  </a:lnTo>
                  <a:lnTo>
                    <a:pt x="1326" y="1752"/>
                  </a:lnTo>
                  <a:lnTo>
                    <a:pt x="1320" y="1752"/>
                  </a:lnTo>
                  <a:lnTo>
                    <a:pt x="1320" y="1758"/>
                  </a:lnTo>
                  <a:lnTo>
                    <a:pt x="1314" y="1758"/>
                  </a:lnTo>
                  <a:lnTo>
                    <a:pt x="1308" y="1758"/>
                  </a:lnTo>
                  <a:lnTo>
                    <a:pt x="1302" y="1758"/>
                  </a:lnTo>
                  <a:lnTo>
                    <a:pt x="1296" y="1758"/>
                  </a:lnTo>
                  <a:lnTo>
                    <a:pt x="1290" y="1764"/>
                  </a:lnTo>
                  <a:lnTo>
                    <a:pt x="1284" y="1770"/>
                  </a:lnTo>
                  <a:lnTo>
                    <a:pt x="1278" y="1770"/>
                  </a:lnTo>
                  <a:lnTo>
                    <a:pt x="1272" y="1770"/>
                  </a:lnTo>
                  <a:lnTo>
                    <a:pt x="1266" y="1770"/>
                  </a:lnTo>
                  <a:lnTo>
                    <a:pt x="1266" y="1776"/>
                  </a:lnTo>
                  <a:lnTo>
                    <a:pt x="1260" y="1776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4" name="Freeform 39">
              <a:extLst>
                <a:ext uri="{FF2B5EF4-FFF2-40B4-BE49-F238E27FC236}">
                  <a16:creationId xmlns:a16="http://schemas.microsoft.com/office/drawing/2014/main" id="{E01CDA8B-32C7-421A-B23E-968CAC7F78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2974" y="1759680"/>
              <a:ext cx="825155" cy="700024"/>
            </a:xfrm>
            <a:custGeom>
              <a:avLst/>
              <a:gdLst>
                <a:gd name="T0" fmla="*/ 60 w 1554"/>
                <a:gd name="T1" fmla="*/ 86 h 1320"/>
                <a:gd name="T2" fmla="*/ 66 w 1554"/>
                <a:gd name="T3" fmla="*/ 80 h 1320"/>
                <a:gd name="T4" fmla="*/ 61 w 1554"/>
                <a:gd name="T5" fmla="*/ 73 h 1320"/>
                <a:gd name="T6" fmla="*/ 57 w 1554"/>
                <a:gd name="T7" fmla="*/ 67 h 1320"/>
                <a:gd name="T8" fmla="*/ 60 w 1554"/>
                <a:gd name="T9" fmla="*/ 59 h 1320"/>
                <a:gd name="T10" fmla="*/ 56 w 1554"/>
                <a:gd name="T11" fmla="*/ 55 h 1320"/>
                <a:gd name="T12" fmla="*/ 45 w 1554"/>
                <a:gd name="T13" fmla="*/ 53 h 1320"/>
                <a:gd name="T14" fmla="*/ 42 w 1554"/>
                <a:gd name="T15" fmla="*/ 41 h 1320"/>
                <a:gd name="T16" fmla="*/ 37 w 1554"/>
                <a:gd name="T17" fmla="*/ 39 h 1320"/>
                <a:gd name="T18" fmla="*/ 31 w 1554"/>
                <a:gd name="T19" fmla="*/ 44 h 1320"/>
                <a:gd name="T20" fmla="*/ 37 w 1554"/>
                <a:gd name="T21" fmla="*/ 35 h 1320"/>
                <a:gd name="T22" fmla="*/ 30 w 1554"/>
                <a:gd name="T23" fmla="*/ 23 h 1320"/>
                <a:gd name="T24" fmla="*/ 21 w 1554"/>
                <a:gd name="T25" fmla="*/ 23 h 1320"/>
                <a:gd name="T26" fmla="*/ 15 w 1554"/>
                <a:gd name="T27" fmla="*/ 27 h 1320"/>
                <a:gd name="T28" fmla="*/ 11 w 1554"/>
                <a:gd name="T29" fmla="*/ 32 h 1320"/>
                <a:gd name="T30" fmla="*/ 6 w 1554"/>
                <a:gd name="T31" fmla="*/ 22 h 1320"/>
                <a:gd name="T32" fmla="*/ 3 w 1554"/>
                <a:gd name="T33" fmla="*/ 11 h 1320"/>
                <a:gd name="T34" fmla="*/ 24 w 1554"/>
                <a:gd name="T35" fmla="*/ 12 h 1320"/>
                <a:gd name="T36" fmla="*/ 33 w 1554"/>
                <a:gd name="T37" fmla="*/ 19 h 1320"/>
                <a:gd name="T38" fmla="*/ 49 w 1554"/>
                <a:gd name="T39" fmla="*/ 12 h 1320"/>
                <a:gd name="T40" fmla="*/ 58 w 1554"/>
                <a:gd name="T41" fmla="*/ 10 h 1320"/>
                <a:gd name="T42" fmla="*/ 68 w 1554"/>
                <a:gd name="T43" fmla="*/ 11 h 1320"/>
                <a:gd name="T44" fmla="*/ 79 w 1554"/>
                <a:gd name="T45" fmla="*/ 12 h 1320"/>
                <a:gd name="T46" fmla="*/ 96 w 1554"/>
                <a:gd name="T47" fmla="*/ 11 h 1320"/>
                <a:gd name="T48" fmla="*/ 107 w 1554"/>
                <a:gd name="T49" fmla="*/ 2 h 1320"/>
                <a:gd name="T50" fmla="*/ 117 w 1554"/>
                <a:gd name="T51" fmla="*/ 8 h 1320"/>
                <a:gd name="T52" fmla="*/ 126 w 1554"/>
                <a:gd name="T53" fmla="*/ 12 h 1320"/>
                <a:gd name="T54" fmla="*/ 134 w 1554"/>
                <a:gd name="T55" fmla="*/ 24 h 1320"/>
                <a:gd name="T56" fmla="*/ 133 w 1554"/>
                <a:gd name="T57" fmla="*/ 29 h 1320"/>
                <a:gd name="T58" fmla="*/ 129 w 1554"/>
                <a:gd name="T59" fmla="*/ 31 h 1320"/>
                <a:gd name="T60" fmla="*/ 125 w 1554"/>
                <a:gd name="T61" fmla="*/ 32 h 1320"/>
                <a:gd name="T62" fmla="*/ 115 w 1554"/>
                <a:gd name="T63" fmla="*/ 34 h 1320"/>
                <a:gd name="T64" fmla="*/ 113 w 1554"/>
                <a:gd name="T65" fmla="*/ 44 h 1320"/>
                <a:gd name="T66" fmla="*/ 111 w 1554"/>
                <a:gd name="T67" fmla="*/ 54 h 1320"/>
                <a:gd name="T68" fmla="*/ 107 w 1554"/>
                <a:gd name="T69" fmla="*/ 56 h 1320"/>
                <a:gd name="T70" fmla="*/ 102 w 1554"/>
                <a:gd name="T71" fmla="*/ 58 h 1320"/>
                <a:gd name="T72" fmla="*/ 99 w 1554"/>
                <a:gd name="T73" fmla="*/ 60 h 1320"/>
                <a:gd name="T74" fmla="*/ 93 w 1554"/>
                <a:gd name="T75" fmla="*/ 62 h 1320"/>
                <a:gd name="T76" fmla="*/ 87 w 1554"/>
                <a:gd name="T77" fmla="*/ 64 h 1320"/>
                <a:gd name="T78" fmla="*/ 84 w 1554"/>
                <a:gd name="T79" fmla="*/ 65 h 1320"/>
                <a:gd name="T80" fmla="*/ 81 w 1554"/>
                <a:gd name="T81" fmla="*/ 69 h 1320"/>
                <a:gd name="T82" fmla="*/ 83 w 1554"/>
                <a:gd name="T83" fmla="*/ 72 h 1320"/>
                <a:gd name="T84" fmla="*/ 92 w 1554"/>
                <a:gd name="T85" fmla="*/ 73 h 1320"/>
                <a:gd name="T86" fmla="*/ 93 w 1554"/>
                <a:gd name="T87" fmla="*/ 87 h 1320"/>
                <a:gd name="T88" fmla="*/ 104 w 1554"/>
                <a:gd name="T89" fmla="*/ 98 h 1320"/>
                <a:gd name="T90" fmla="*/ 108 w 1554"/>
                <a:gd name="T91" fmla="*/ 98 h 1320"/>
                <a:gd name="T92" fmla="*/ 112 w 1554"/>
                <a:gd name="T93" fmla="*/ 100 h 1320"/>
                <a:gd name="T94" fmla="*/ 118 w 1554"/>
                <a:gd name="T95" fmla="*/ 100 h 1320"/>
                <a:gd name="T96" fmla="*/ 122 w 1554"/>
                <a:gd name="T97" fmla="*/ 102 h 1320"/>
                <a:gd name="T98" fmla="*/ 118 w 1554"/>
                <a:gd name="T99" fmla="*/ 105 h 1320"/>
                <a:gd name="T100" fmla="*/ 114 w 1554"/>
                <a:gd name="T101" fmla="*/ 107 h 1320"/>
                <a:gd name="T102" fmla="*/ 113 w 1554"/>
                <a:gd name="T103" fmla="*/ 113 h 1320"/>
                <a:gd name="T104" fmla="*/ 104 w 1554"/>
                <a:gd name="T105" fmla="*/ 113 h 1320"/>
                <a:gd name="T106" fmla="*/ 93 w 1554"/>
                <a:gd name="T107" fmla="*/ 109 h 1320"/>
                <a:gd name="T108" fmla="*/ 96 w 1554"/>
                <a:gd name="T109" fmla="*/ 103 h 1320"/>
                <a:gd name="T110" fmla="*/ 95 w 1554"/>
                <a:gd name="T111" fmla="*/ 97 h 1320"/>
                <a:gd name="T112" fmla="*/ 87 w 1554"/>
                <a:gd name="T113" fmla="*/ 98 h 1320"/>
                <a:gd name="T114" fmla="*/ 81 w 1554"/>
                <a:gd name="T115" fmla="*/ 98 h 1320"/>
                <a:gd name="T116" fmla="*/ 78 w 1554"/>
                <a:gd name="T117" fmla="*/ 93 h 1320"/>
                <a:gd name="T118" fmla="*/ 65 w 1554"/>
                <a:gd name="T119" fmla="*/ 92 h 1320"/>
                <a:gd name="T120" fmla="*/ 59 w 1554"/>
                <a:gd name="T121" fmla="*/ 92 h 13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54"/>
                <a:gd name="T184" fmla="*/ 0 h 1320"/>
                <a:gd name="T185" fmla="*/ 1554 w 1554"/>
                <a:gd name="T186" fmla="*/ 1320 h 132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54" h="1320">
                  <a:moveTo>
                    <a:pt x="684" y="1068"/>
                  </a:moveTo>
                  <a:lnTo>
                    <a:pt x="684" y="1062"/>
                  </a:lnTo>
                  <a:lnTo>
                    <a:pt x="690" y="1056"/>
                  </a:lnTo>
                  <a:lnTo>
                    <a:pt x="690" y="1050"/>
                  </a:lnTo>
                  <a:lnTo>
                    <a:pt x="690" y="1044"/>
                  </a:lnTo>
                  <a:lnTo>
                    <a:pt x="690" y="1038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14"/>
                  </a:lnTo>
                  <a:lnTo>
                    <a:pt x="690" y="1008"/>
                  </a:lnTo>
                  <a:lnTo>
                    <a:pt x="696" y="996"/>
                  </a:lnTo>
                  <a:lnTo>
                    <a:pt x="714" y="996"/>
                  </a:lnTo>
                  <a:lnTo>
                    <a:pt x="714" y="990"/>
                  </a:lnTo>
                  <a:lnTo>
                    <a:pt x="732" y="984"/>
                  </a:lnTo>
                  <a:lnTo>
                    <a:pt x="744" y="978"/>
                  </a:lnTo>
                  <a:lnTo>
                    <a:pt x="762" y="966"/>
                  </a:lnTo>
                  <a:lnTo>
                    <a:pt x="762" y="960"/>
                  </a:lnTo>
                  <a:lnTo>
                    <a:pt x="768" y="954"/>
                  </a:lnTo>
                  <a:lnTo>
                    <a:pt x="774" y="948"/>
                  </a:lnTo>
                  <a:lnTo>
                    <a:pt x="774" y="942"/>
                  </a:lnTo>
                  <a:lnTo>
                    <a:pt x="774" y="924"/>
                  </a:lnTo>
                  <a:lnTo>
                    <a:pt x="768" y="918"/>
                  </a:lnTo>
                  <a:lnTo>
                    <a:pt x="756" y="918"/>
                  </a:lnTo>
                  <a:lnTo>
                    <a:pt x="744" y="918"/>
                  </a:lnTo>
                  <a:lnTo>
                    <a:pt x="732" y="924"/>
                  </a:lnTo>
                  <a:lnTo>
                    <a:pt x="726" y="912"/>
                  </a:lnTo>
                  <a:lnTo>
                    <a:pt x="720" y="912"/>
                  </a:lnTo>
                  <a:lnTo>
                    <a:pt x="720" y="900"/>
                  </a:lnTo>
                  <a:lnTo>
                    <a:pt x="720" y="870"/>
                  </a:lnTo>
                  <a:lnTo>
                    <a:pt x="696" y="876"/>
                  </a:lnTo>
                  <a:lnTo>
                    <a:pt x="690" y="852"/>
                  </a:lnTo>
                  <a:lnTo>
                    <a:pt x="702" y="852"/>
                  </a:lnTo>
                  <a:lnTo>
                    <a:pt x="702" y="840"/>
                  </a:lnTo>
                  <a:lnTo>
                    <a:pt x="708" y="834"/>
                  </a:lnTo>
                  <a:lnTo>
                    <a:pt x="702" y="822"/>
                  </a:lnTo>
                  <a:lnTo>
                    <a:pt x="660" y="822"/>
                  </a:lnTo>
                  <a:lnTo>
                    <a:pt x="654" y="822"/>
                  </a:lnTo>
                  <a:lnTo>
                    <a:pt x="642" y="822"/>
                  </a:lnTo>
                  <a:lnTo>
                    <a:pt x="642" y="810"/>
                  </a:lnTo>
                  <a:lnTo>
                    <a:pt x="642" y="798"/>
                  </a:lnTo>
                  <a:lnTo>
                    <a:pt x="642" y="792"/>
                  </a:lnTo>
                  <a:lnTo>
                    <a:pt x="648" y="780"/>
                  </a:lnTo>
                  <a:lnTo>
                    <a:pt x="654" y="774"/>
                  </a:lnTo>
                  <a:lnTo>
                    <a:pt x="660" y="774"/>
                  </a:lnTo>
                  <a:lnTo>
                    <a:pt x="672" y="762"/>
                  </a:lnTo>
                  <a:lnTo>
                    <a:pt x="672" y="756"/>
                  </a:lnTo>
                  <a:lnTo>
                    <a:pt x="678" y="750"/>
                  </a:lnTo>
                  <a:lnTo>
                    <a:pt x="684" y="750"/>
                  </a:lnTo>
                  <a:lnTo>
                    <a:pt x="690" y="744"/>
                  </a:lnTo>
                  <a:lnTo>
                    <a:pt x="696" y="732"/>
                  </a:lnTo>
                  <a:lnTo>
                    <a:pt x="696" y="726"/>
                  </a:lnTo>
                  <a:lnTo>
                    <a:pt x="702" y="714"/>
                  </a:lnTo>
                  <a:lnTo>
                    <a:pt x="696" y="708"/>
                  </a:lnTo>
                  <a:lnTo>
                    <a:pt x="690" y="690"/>
                  </a:lnTo>
                  <a:lnTo>
                    <a:pt x="696" y="678"/>
                  </a:lnTo>
                  <a:lnTo>
                    <a:pt x="708" y="672"/>
                  </a:lnTo>
                  <a:lnTo>
                    <a:pt x="708" y="660"/>
                  </a:lnTo>
                  <a:lnTo>
                    <a:pt x="702" y="660"/>
                  </a:lnTo>
                  <a:lnTo>
                    <a:pt x="696" y="660"/>
                  </a:lnTo>
                  <a:lnTo>
                    <a:pt x="690" y="654"/>
                  </a:lnTo>
                  <a:lnTo>
                    <a:pt x="684" y="654"/>
                  </a:lnTo>
                  <a:lnTo>
                    <a:pt x="690" y="606"/>
                  </a:lnTo>
                  <a:lnTo>
                    <a:pt x="660" y="606"/>
                  </a:lnTo>
                  <a:lnTo>
                    <a:pt x="660" y="612"/>
                  </a:lnTo>
                  <a:lnTo>
                    <a:pt x="648" y="612"/>
                  </a:lnTo>
                  <a:lnTo>
                    <a:pt x="642" y="636"/>
                  </a:lnTo>
                  <a:lnTo>
                    <a:pt x="636" y="636"/>
                  </a:lnTo>
                  <a:lnTo>
                    <a:pt x="630" y="648"/>
                  </a:lnTo>
                  <a:lnTo>
                    <a:pt x="612" y="648"/>
                  </a:lnTo>
                  <a:lnTo>
                    <a:pt x="606" y="636"/>
                  </a:lnTo>
                  <a:lnTo>
                    <a:pt x="600" y="630"/>
                  </a:lnTo>
                  <a:lnTo>
                    <a:pt x="588" y="606"/>
                  </a:lnTo>
                  <a:lnTo>
                    <a:pt x="552" y="606"/>
                  </a:lnTo>
                  <a:lnTo>
                    <a:pt x="552" y="612"/>
                  </a:lnTo>
                  <a:lnTo>
                    <a:pt x="540" y="612"/>
                  </a:lnTo>
                  <a:lnTo>
                    <a:pt x="540" y="606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16" y="612"/>
                  </a:lnTo>
                  <a:lnTo>
                    <a:pt x="516" y="582"/>
                  </a:lnTo>
                  <a:lnTo>
                    <a:pt x="522" y="576"/>
                  </a:lnTo>
                  <a:lnTo>
                    <a:pt x="528" y="576"/>
                  </a:lnTo>
                  <a:lnTo>
                    <a:pt x="528" y="552"/>
                  </a:lnTo>
                  <a:lnTo>
                    <a:pt x="522" y="540"/>
                  </a:lnTo>
                  <a:lnTo>
                    <a:pt x="510" y="528"/>
                  </a:lnTo>
                  <a:lnTo>
                    <a:pt x="486" y="510"/>
                  </a:lnTo>
                  <a:lnTo>
                    <a:pt x="480" y="498"/>
                  </a:lnTo>
                  <a:lnTo>
                    <a:pt x="480" y="474"/>
                  </a:lnTo>
                  <a:lnTo>
                    <a:pt x="492" y="468"/>
                  </a:lnTo>
                  <a:lnTo>
                    <a:pt x="486" y="450"/>
                  </a:lnTo>
                  <a:lnTo>
                    <a:pt x="474" y="456"/>
                  </a:lnTo>
                  <a:lnTo>
                    <a:pt x="468" y="456"/>
                  </a:lnTo>
                  <a:lnTo>
                    <a:pt x="462" y="456"/>
                  </a:lnTo>
                  <a:lnTo>
                    <a:pt x="456" y="468"/>
                  </a:lnTo>
                  <a:lnTo>
                    <a:pt x="456" y="474"/>
                  </a:lnTo>
                  <a:lnTo>
                    <a:pt x="450" y="480"/>
                  </a:lnTo>
                  <a:lnTo>
                    <a:pt x="444" y="450"/>
                  </a:lnTo>
                  <a:lnTo>
                    <a:pt x="438" y="450"/>
                  </a:lnTo>
                  <a:lnTo>
                    <a:pt x="432" y="450"/>
                  </a:lnTo>
                  <a:lnTo>
                    <a:pt x="420" y="450"/>
                  </a:lnTo>
                  <a:lnTo>
                    <a:pt x="420" y="456"/>
                  </a:lnTo>
                  <a:lnTo>
                    <a:pt x="414" y="456"/>
                  </a:lnTo>
                  <a:lnTo>
                    <a:pt x="408" y="468"/>
                  </a:lnTo>
                  <a:lnTo>
                    <a:pt x="402" y="468"/>
                  </a:lnTo>
                  <a:lnTo>
                    <a:pt x="396" y="474"/>
                  </a:lnTo>
                  <a:lnTo>
                    <a:pt x="390" y="492"/>
                  </a:lnTo>
                  <a:lnTo>
                    <a:pt x="384" y="504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54" y="510"/>
                  </a:lnTo>
                  <a:lnTo>
                    <a:pt x="360" y="480"/>
                  </a:lnTo>
                  <a:lnTo>
                    <a:pt x="360" y="474"/>
                  </a:lnTo>
                  <a:lnTo>
                    <a:pt x="378" y="456"/>
                  </a:lnTo>
                  <a:lnTo>
                    <a:pt x="384" y="450"/>
                  </a:lnTo>
                  <a:lnTo>
                    <a:pt x="396" y="444"/>
                  </a:lnTo>
                  <a:lnTo>
                    <a:pt x="402" y="438"/>
                  </a:lnTo>
                  <a:lnTo>
                    <a:pt x="408" y="438"/>
                  </a:lnTo>
                  <a:lnTo>
                    <a:pt x="408" y="426"/>
                  </a:lnTo>
                  <a:lnTo>
                    <a:pt x="414" y="420"/>
                  </a:lnTo>
                  <a:lnTo>
                    <a:pt x="426" y="420"/>
                  </a:lnTo>
                  <a:lnTo>
                    <a:pt x="426" y="408"/>
                  </a:lnTo>
                  <a:lnTo>
                    <a:pt x="420" y="390"/>
                  </a:lnTo>
                  <a:lnTo>
                    <a:pt x="408" y="384"/>
                  </a:lnTo>
                  <a:lnTo>
                    <a:pt x="378" y="378"/>
                  </a:lnTo>
                  <a:lnTo>
                    <a:pt x="354" y="366"/>
                  </a:lnTo>
                  <a:lnTo>
                    <a:pt x="342" y="360"/>
                  </a:lnTo>
                  <a:lnTo>
                    <a:pt x="342" y="348"/>
                  </a:lnTo>
                  <a:lnTo>
                    <a:pt x="336" y="330"/>
                  </a:lnTo>
                  <a:lnTo>
                    <a:pt x="348" y="306"/>
                  </a:lnTo>
                  <a:lnTo>
                    <a:pt x="360" y="294"/>
                  </a:lnTo>
                  <a:lnTo>
                    <a:pt x="360" y="282"/>
                  </a:lnTo>
                  <a:lnTo>
                    <a:pt x="342" y="270"/>
                  </a:lnTo>
                  <a:lnTo>
                    <a:pt x="342" y="264"/>
                  </a:lnTo>
                  <a:lnTo>
                    <a:pt x="330" y="264"/>
                  </a:lnTo>
                  <a:lnTo>
                    <a:pt x="312" y="270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88" y="270"/>
                  </a:lnTo>
                  <a:lnTo>
                    <a:pt x="282" y="270"/>
                  </a:lnTo>
                  <a:lnTo>
                    <a:pt x="276" y="264"/>
                  </a:lnTo>
                  <a:lnTo>
                    <a:pt x="270" y="264"/>
                  </a:lnTo>
                  <a:lnTo>
                    <a:pt x="252" y="270"/>
                  </a:lnTo>
                  <a:lnTo>
                    <a:pt x="246" y="270"/>
                  </a:lnTo>
                  <a:lnTo>
                    <a:pt x="240" y="270"/>
                  </a:lnTo>
                  <a:lnTo>
                    <a:pt x="228" y="270"/>
                  </a:lnTo>
                  <a:lnTo>
                    <a:pt x="216" y="276"/>
                  </a:lnTo>
                  <a:lnTo>
                    <a:pt x="210" y="270"/>
                  </a:lnTo>
                  <a:lnTo>
                    <a:pt x="204" y="270"/>
                  </a:lnTo>
                  <a:lnTo>
                    <a:pt x="198" y="276"/>
                  </a:lnTo>
                  <a:lnTo>
                    <a:pt x="192" y="276"/>
                  </a:lnTo>
                  <a:lnTo>
                    <a:pt x="186" y="282"/>
                  </a:lnTo>
                  <a:lnTo>
                    <a:pt x="180" y="288"/>
                  </a:lnTo>
                  <a:lnTo>
                    <a:pt x="174" y="300"/>
                  </a:lnTo>
                  <a:lnTo>
                    <a:pt x="168" y="306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8" y="330"/>
                  </a:lnTo>
                  <a:lnTo>
                    <a:pt x="162" y="336"/>
                  </a:lnTo>
                  <a:lnTo>
                    <a:pt x="156" y="342"/>
                  </a:lnTo>
                  <a:lnTo>
                    <a:pt x="156" y="348"/>
                  </a:lnTo>
                  <a:lnTo>
                    <a:pt x="156" y="354"/>
                  </a:lnTo>
                  <a:lnTo>
                    <a:pt x="150" y="366"/>
                  </a:lnTo>
                  <a:lnTo>
                    <a:pt x="150" y="372"/>
                  </a:lnTo>
                  <a:lnTo>
                    <a:pt x="144" y="366"/>
                  </a:lnTo>
                  <a:lnTo>
                    <a:pt x="132" y="366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20" y="348"/>
                  </a:lnTo>
                  <a:lnTo>
                    <a:pt x="102" y="330"/>
                  </a:lnTo>
                  <a:lnTo>
                    <a:pt x="96" y="318"/>
                  </a:lnTo>
                  <a:lnTo>
                    <a:pt x="96" y="282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0" y="258"/>
                  </a:lnTo>
                  <a:lnTo>
                    <a:pt x="84" y="252"/>
                  </a:lnTo>
                  <a:lnTo>
                    <a:pt x="66" y="258"/>
                  </a:lnTo>
                  <a:lnTo>
                    <a:pt x="60" y="246"/>
                  </a:lnTo>
                  <a:lnTo>
                    <a:pt x="30" y="252"/>
                  </a:lnTo>
                  <a:lnTo>
                    <a:pt x="18" y="246"/>
                  </a:lnTo>
                  <a:lnTo>
                    <a:pt x="0" y="240"/>
                  </a:lnTo>
                  <a:lnTo>
                    <a:pt x="0" y="234"/>
                  </a:lnTo>
                  <a:lnTo>
                    <a:pt x="0" y="210"/>
                  </a:lnTo>
                  <a:lnTo>
                    <a:pt x="6" y="204"/>
                  </a:lnTo>
                  <a:lnTo>
                    <a:pt x="18" y="192"/>
                  </a:lnTo>
                  <a:lnTo>
                    <a:pt x="18" y="144"/>
                  </a:lnTo>
                  <a:lnTo>
                    <a:pt x="24" y="126"/>
                  </a:lnTo>
                  <a:lnTo>
                    <a:pt x="36" y="126"/>
                  </a:lnTo>
                  <a:lnTo>
                    <a:pt x="54" y="120"/>
                  </a:lnTo>
                  <a:lnTo>
                    <a:pt x="54" y="126"/>
                  </a:lnTo>
                  <a:lnTo>
                    <a:pt x="132" y="114"/>
                  </a:lnTo>
                  <a:lnTo>
                    <a:pt x="144" y="120"/>
                  </a:lnTo>
                  <a:lnTo>
                    <a:pt x="150" y="132"/>
                  </a:lnTo>
                  <a:lnTo>
                    <a:pt x="180" y="126"/>
                  </a:lnTo>
                  <a:lnTo>
                    <a:pt x="210" y="120"/>
                  </a:lnTo>
                  <a:lnTo>
                    <a:pt x="240" y="120"/>
                  </a:lnTo>
                  <a:lnTo>
                    <a:pt x="258" y="120"/>
                  </a:lnTo>
                  <a:lnTo>
                    <a:pt x="270" y="126"/>
                  </a:lnTo>
                  <a:lnTo>
                    <a:pt x="276" y="132"/>
                  </a:lnTo>
                  <a:lnTo>
                    <a:pt x="282" y="138"/>
                  </a:lnTo>
                  <a:lnTo>
                    <a:pt x="282" y="156"/>
                  </a:lnTo>
                  <a:lnTo>
                    <a:pt x="288" y="186"/>
                  </a:lnTo>
                  <a:lnTo>
                    <a:pt x="312" y="192"/>
                  </a:lnTo>
                  <a:lnTo>
                    <a:pt x="318" y="198"/>
                  </a:lnTo>
                  <a:lnTo>
                    <a:pt x="324" y="204"/>
                  </a:lnTo>
                  <a:lnTo>
                    <a:pt x="330" y="210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66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86" y="210"/>
                  </a:lnTo>
                  <a:lnTo>
                    <a:pt x="498" y="198"/>
                  </a:lnTo>
                  <a:lnTo>
                    <a:pt x="504" y="174"/>
                  </a:lnTo>
                  <a:lnTo>
                    <a:pt x="516" y="162"/>
                  </a:lnTo>
                  <a:lnTo>
                    <a:pt x="516" y="138"/>
                  </a:lnTo>
                  <a:lnTo>
                    <a:pt x="522" y="132"/>
                  </a:lnTo>
                  <a:lnTo>
                    <a:pt x="564" y="132"/>
                  </a:lnTo>
                  <a:lnTo>
                    <a:pt x="564" y="114"/>
                  </a:lnTo>
                  <a:lnTo>
                    <a:pt x="582" y="114"/>
                  </a:lnTo>
                  <a:lnTo>
                    <a:pt x="594" y="114"/>
                  </a:lnTo>
                  <a:lnTo>
                    <a:pt x="606" y="114"/>
                  </a:lnTo>
                  <a:lnTo>
                    <a:pt x="612" y="114"/>
                  </a:lnTo>
                  <a:lnTo>
                    <a:pt x="630" y="114"/>
                  </a:lnTo>
                  <a:lnTo>
                    <a:pt x="636" y="114"/>
                  </a:lnTo>
                  <a:lnTo>
                    <a:pt x="648" y="114"/>
                  </a:lnTo>
                  <a:lnTo>
                    <a:pt x="654" y="114"/>
                  </a:lnTo>
                  <a:lnTo>
                    <a:pt x="660" y="120"/>
                  </a:lnTo>
                  <a:lnTo>
                    <a:pt x="672" y="120"/>
                  </a:lnTo>
                  <a:lnTo>
                    <a:pt x="684" y="120"/>
                  </a:lnTo>
                  <a:lnTo>
                    <a:pt x="690" y="120"/>
                  </a:lnTo>
                  <a:lnTo>
                    <a:pt x="702" y="120"/>
                  </a:lnTo>
                  <a:lnTo>
                    <a:pt x="708" y="120"/>
                  </a:lnTo>
                  <a:lnTo>
                    <a:pt x="726" y="126"/>
                  </a:lnTo>
                  <a:lnTo>
                    <a:pt x="732" y="126"/>
                  </a:lnTo>
                  <a:lnTo>
                    <a:pt x="738" y="126"/>
                  </a:lnTo>
                  <a:lnTo>
                    <a:pt x="750" y="126"/>
                  </a:lnTo>
                  <a:lnTo>
                    <a:pt x="756" y="126"/>
                  </a:lnTo>
                  <a:lnTo>
                    <a:pt x="768" y="126"/>
                  </a:lnTo>
                  <a:lnTo>
                    <a:pt x="780" y="126"/>
                  </a:lnTo>
                  <a:lnTo>
                    <a:pt x="786" y="120"/>
                  </a:lnTo>
                  <a:lnTo>
                    <a:pt x="792" y="120"/>
                  </a:lnTo>
                  <a:lnTo>
                    <a:pt x="810" y="120"/>
                  </a:lnTo>
                  <a:lnTo>
                    <a:pt x="822" y="120"/>
                  </a:lnTo>
                  <a:lnTo>
                    <a:pt x="846" y="126"/>
                  </a:lnTo>
                  <a:lnTo>
                    <a:pt x="858" y="126"/>
                  </a:lnTo>
                  <a:lnTo>
                    <a:pt x="870" y="132"/>
                  </a:lnTo>
                  <a:lnTo>
                    <a:pt x="882" y="132"/>
                  </a:lnTo>
                  <a:lnTo>
                    <a:pt x="894" y="132"/>
                  </a:lnTo>
                  <a:lnTo>
                    <a:pt x="900" y="132"/>
                  </a:lnTo>
                  <a:lnTo>
                    <a:pt x="912" y="132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36" y="132"/>
                  </a:lnTo>
                  <a:lnTo>
                    <a:pt x="960" y="132"/>
                  </a:lnTo>
                  <a:lnTo>
                    <a:pt x="966" y="144"/>
                  </a:lnTo>
                  <a:lnTo>
                    <a:pt x="972" y="144"/>
                  </a:lnTo>
                  <a:lnTo>
                    <a:pt x="1002" y="144"/>
                  </a:lnTo>
                  <a:lnTo>
                    <a:pt x="1020" y="144"/>
                  </a:lnTo>
                  <a:lnTo>
                    <a:pt x="1068" y="138"/>
                  </a:lnTo>
                  <a:lnTo>
                    <a:pt x="1110" y="132"/>
                  </a:lnTo>
                  <a:lnTo>
                    <a:pt x="1110" y="126"/>
                  </a:lnTo>
                  <a:lnTo>
                    <a:pt x="1116" y="120"/>
                  </a:lnTo>
                  <a:lnTo>
                    <a:pt x="1122" y="108"/>
                  </a:lnTo>
                  <a:lnTo>
                    <a:pt x="1134" y="96"/>
                  </a:lnTo>
                  <a:lnTo>
                    <a:pt x="1146" y="60"/>
                  </a:lnTo>
                  <a:lnTo>
                    <a:pt x="1158" y="54"/>
                  </a:lnTo>
                  <a:lnTo>
                    <a:pt x="1170" y="48"/>
                  </a:lnTo>
                  <a:lnTo>
                    <a:pt x="1188" y="42"/>
                  </a:lnTo>
                  <a:lnTo>
                    <a:pt x="1200" y="36"/>
                  </a:lnTo>
                  <a:lnTo>
                    <a:pt x="1212" y="36"/>
                  </a:lnTo>
                  <a:lnTo>
                    <a:pt x="1236" y="30"/>
                  </a:lnTo>
                  <a:lnTo>
                    <a:pt x="1236" y="24"/>
                  </a:lnTo>
                  <a:lnTo>
                    <a:pt x="1278" y="18"/>
                  </a:lnTo>
                  <a:lnTo>
                    <a:pt x="1290" y="18"/>
                  </a:lnTo>
                  <a:lnTo>
                    <a:pt x="1302" y="12"/>
                  </a:lnTo>
                  <a:lnTo>
                    <a:pt x="1314" y="0"/>
                  </a:lnTo>
                  <a:lnTo>
                    <a:pt x="1332" y="0"/>
                  </a:lnTo>
                  <a:lnTo>
                    <a:pt x="1338" y="24"/>
                  </a:lnTo>
                  <a:lnTo>
                    <a:pt x="1344" y="30"/>
                  </a:lnTo>
                  <a:lnTo>
                    <a:pt x="1350" y="42"/>
                  </a:lnTo>
                  <a:lnTo>
                    <a:pt x="1356" y="48"/>
                  </a:lnTo>
                  <a:lnTo>
                    <a:pt x="1356" y="78"/>
                  </a:lnTo>
                  <a:lnTo>
                    <a:pt x="1350" y="96"/>
                  </a:lnTo>
                  <a:lnTo>
                    <a:pt x="1338" y="108"/>
                  </a:lnTo>
                  <a:lnTo>
                    <a:pt x="1338" y="114"/>
                  </a:lnTo>
                  <a:lnTo>
                    <a:pt x="1338" y="120"/>
                  </a:lnTo>
                  <a:lnTo>
                    <a:pt x="1338" y="126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398" y="114"/>
                  </a:lnTo>
                  <a:lnTo>
                    <a:pt x="1416" y="120"/>
                  </a:lnTo>
                  <a:lnTo>
                    <a:pt x="1434" y="126"/>
                  </a:lnTo>
                  <a:lnTo>
                    <a:pt x="1458" y="132"/>
                  </a:lnTo>
                  <a:lnTo>
                    <a:pt x="1458" y="138"/>
                  </a:lnTo>
                  <a:lnTo>
                    <a:pt x="1512" y="138"/>
                  </a:lnTo>
                  <a:lnTo>
                    <a:pt x="1512" y="132"/>
                  </a:lnTo>
                  <a:lnTo>
                    <a:pt x="1524" y="138"/>
                  </a:lnTo>
                  <a:lnTo>
                    <a:pt x="1542" y="138"/>
                  </a:lnTo>
                  <a:lnTo>
                    <a:pt x="1542" y="150"/>
                  </a:lnTo>
                  <a:lnTo>
                    <a:pt x="1542" y="162"/>
                  </a:lnTo>
                  <a:lnTo>
                    <a:pt x="1548" y="174"/>
                  </a:lnTo>
                  <a:lnTo>
                    <a:pt x="1548" y="180"/>
                  </a:lnTo>
                  <a:lnTo>
                    <a:pt x="1554" y="222"/>
                  </a:lnTo>
                  <a:lnTo>
                    <a:pt x="1554" y="258"/>
                  </a:lnTo>
                  <a:lnTo>
                    <a:pt x="1554" y="276"/>
                  </a:lnTo>
                  <a:lnTo>
                    <a:pt x="1554" y="282"/>
                  </a:lnTo>
                  <a:lnTo>
                    <a:pt x="1554" y="294"/>
                  </a:lnTo>
                  <a:lnTo>
                    <a:pt x="1554" y="306"/>
                  </a:lnTo>
                  <a:lnTo>
                    <a:pt x="1554" y="324"/>
                  </a:lnTo>
                  <a:lnTo>
                    <a:pt x="1554" y="330"/>
                  </a:lnTo>
                  <a:lnTo>
                    <a:pt x="1548" y="330"/>
                  </a:lnTo>
                  <a:lnTo>
                    <a:pt x="1548" y="336"/>
                  </a:lnTo>
                  <a:lnTo>
                    <a:pt x="1548" y="342"/>
                  </a:lnTo>
                  <a:lnTo>
                    <a:pt x="1542" y="336"/>
                  </a:lnTo>
                  <a:lnTo>
                    <a:pt x="1542" y="330"/>
                  </a:lnTo>
                  <a:lnTo>
                    <a:pt x="1536" y="330"/>
                  </a:lnTo>
                  <a:lnTo>
                    <a:pt x="1530" y="330"/>
                  </a:lnTo>
                  <a:lnTo>
                    <a:pt x="1530" y="336"/>
                  </a:lnTo>
                  <a:lnTo>
                    <a:pt x="1536" y="342"/>
                  </a:lnTo>
                  <a:lnTo>
                    <a:pt x="1530" y="342"/>
                  </a:lnTo>
                  <a:lnTo>
                    <a:pt x="1518" y="348"/>
                  </a:lnTo>
                  <a:lnTo>
                    <a:pt x="1512" y="354"/>
                  </a:lnTo>
                  <a:lnTo>
                    <a:pt x="1506" y="354"/>
                  </a:lnTo>
                  <a:lnTo>
                    <a:pt x="1500" y="354"/>
                  </a:lnTo>
                  <a:lnTo>
                    <a:pt x="1494" y="354"/>
                  </a:lnTo>
                  <a:lnTo>
                    <a:pt x="1494" y="360"/>
                  </a:lnTo>
                  <a:lnTo>
                    <a:pt x="1488" y="360"/>
                  </a:lnTo>
                  <a:lnTo>
                    <a:pt x="1488" y="366"/>
                  </a:lnTo>
                  <a:lnTo>
                    <a:pt x="1488" y="372"/>
                  </a:lnTo>
                  <a:lnTo>
                    <a:pt x="1482" y="372"/>
                  </a:lnTo>
                  <a:lnTo>
                    <a:pt x="1476" y="372"/>
                  </a:lnTo>
                  <a:lnTo>
                    <a:pt x="1470" y="372"/>
                  </a:lnTo>
                  <a:lnTo>
                    <a:pt x="1470" y="378"/>
                  </a:lnTo>
                  <a:lnTo>
                    <a:pt x="1470" y="384"/>
                  </a:lnTo>
                  <a:lnTo>
                    <a:pt x="1470" y="390"/>
                  </a:lnTo>
                  <a:lnTo>
                    <a:pt x="1464" y="402"/>
                  </a:lnTo>
                  <a:lnTo>
                    <a:pt x="1446" y="402"/>
                  </a:lnTo>
                  <a:lnTo>
                    <a:pt x="1440" y="372"/>
                  </a:lnTo>
                  <a:lnTo>
                    <a:pt x="1410" y="372"/>
                  </a:lnTo>
                  <a:lnTo>
                    <a:pt x="1380" y="372"/>
                  </a:lnTo>
                  <a:lnTo>
                    <a:pt x="1374" y="372"/>
                  </a:lnTo>
                  <a:lnTo>
                    <a:pt x="1368" y="378"/>
                  </a:lnTo>
                  <a:lnTo>
                    <a:pt x="1362" y="378"/>
                  </a:lnTo>
                  <a:lnTo>
                    <a:pt x="1356" y="378"/>
                  </a:lnTo>
                  <a:lnTo>
                    <a:pt x="1350" y="384"/>
                  </a:lnTo>
                  <a:lnTo>
                    <a:pt x="1350" y="390"/>
                  </a:lnTo>
                  <a:lnTo>
                    <a:pt x="1344" y="390"/>
                  </a:lnTo>
                  <a:lnTo>
                    <a:pt x="1338" y="390"/>
                  </a:lnTo>
                  <a:lnTo>
                    <a:pt x="1332" y="390"/>
                  </a:lnTo>
                  <a:lnTo>
                    <a:pt x="1332" y="396"/>
                  </a:lnTo>
                  <a:lnTo>
                    <a:pt x="1332" y="390"/>
                  </a:lnTo>
                  <a:lnTo>
                    <a:pt x="1326" y="402"/>
                  </a:lnTo>
                  <a:lnTo>
                    <a:pt x="1320" y="402"/>
                  </a:lnTo>
                  <a:lnTo>
                    <a:pt x="1302" y="474"/>
                  </a:lnTo>
                  <a:lnTo>
                    <a:pt x="1308" y="480"/>
                  </a:lnTo>
                  <a:lnTo>
                    <a:pt x="1314" y="480"/>
                  </a:lnTo>
                  <a:lnTo>
                    <a:pt x="1308" y="498"/>
                  </a:lnTo>
                  <a:lnTo>
                    <a:pt x="1308" y="504"/>
                  </a:lnTo>
                  <a:lnTo>
                    <a:pt x="1314" y="510"/>
                  </a:lnTo>
                  <a:lnTo>
                    <a:pt x="1308" y="510"/>
                  </a:lnTo>
                  <a:lnTo>
                    <a:pt x="1308" y="516"/>
                  </a:lnTo>
                  <a:lnTo>
                    <a:pt x="1302" y="516"/>
                  </a:lnTo>
                  <a:lnTo>
                    <a:pt x="1296" y="510"/>
                  </a:lnTo>
                  <a:lnTo>
                    <a:pt x="1296" y="516"/>
                  </a:lnTo>
                  <a:lnTo>
                    <a:pt x="1290" y="540"/>
                  </a:lnTo>
                  <a:lnTo>
                    <a:pt x="1290" y="552"/>
                  </a:lnTo>
                  <a:lnTo>
                    <a:pt x="1284" y="558"/>
                  </a:lnTo>
                  <a:lnTo>
                    <a:pt x="1290" y="576"/>
                  </a:lnTo>
                  <a:lnTo>
                    <a:pt x="1290" y="600"/>
                  </a:lnTo>
                  <a:lnTo>
                    <a:pt x="1284" y="618"/>
                  </a:lnTo>
                  <a:lnTo>
                    <a:pt x="1290" y="624"/>
                  </a:lnTo>
                  <a:lnTo>
                    <a:pt x="1284" y="630"/>
                  </a:lnTo>
                  <a:lnTo>
                    <a:pt x="1278" y="630"/>
                  </a:lnTo>
                  <a:lnTo>
                    <a:pt x="1272" y="630"/>
                  </a:lnTo>
                  <a:lnTo>
                    <a:pt x="1266" y="636"/>
                  </a:lnTo>
                  <a:lnTo>
                    <a:pt x="1260" y="642"/>
                  </a:lnTo>
                  <a:lnTo>
                    <a:pt x="1260" y="636"/>
                  </a:lnTo>
                  <a:lnTo>
                    <a:pt x="1254" y="636"/>
                  </a:lnTo>
                  <a:lnTo>
                    <a:pt x="1248" y="636"/>
                  </a:lnTo>
                  <a:lnTo>
                    <a:pt x="1248" y="642"/>
                  </a:lnTo>
                  <a:lnTo>
                    <a:pt x="1242" y="642"/>
                  </a:lnTo>
                  <a:lnTo>
                    <a:pt x="1242" y="648"/>
                  </a:lnTo>
                  <a:lnTo>
                    <a:pt x="1236" y="654"/>
                  </a:lnTo>
                  <a:lnTo>
                    <a:pt x="1230" y="654"/>
                  </a:lnTo>
                  <a:lnTo>
                    <a:pt x="1224" y="654"/>
                  </a:lnTo>
                  <a:lnTo>
                    <a:pt x="1218" y="660"/>
                  </a:lnTo>
                  <a:lnTo>
                    <a:pt x="1212" y="660"/>
                  </a:lnTo>
                  <a:lnTo>
                    <a:pt x="1206" y="660"/>
                  </a:lnTo>
                  <a:lnTo>
                    <a:pt x="1200" y="660"/>
                  </a:lnTo>
                  <a:lnTo>
                    <a:pt x="1200" y="666"/>
                  </a:lnTo>
                  <a:lnTo>
                    <a:pt x="1194" y="666"/>
                  </a:lnTo>
                  <a:lnTo>
                    <a:pt x="1188" y="666"/>
                  </a:lnTo>
                  <a:lnTo>
                    <a:pt x="1182" y="672"/>
                  </a:lnTo>
                  <a:lnTo>
                    <a:pt x="1176" y="672"/>
                  </a:lnTo>
                  <a:lnTo>
                    <a:pt x="1170" y="672"/>
                  </a:lnTo>
                  <a:lnTo>
                    <a:pt x="1164" y="678"/>
                  </a:lnTo>
                  <a:lnTo>
                    <a:pt x="1170" y="678"/>
                  </a:lnTo>
                  <a:lnTo>
                    <a:pt x="1164" y="684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52" y="684"/>
                  </a:lnTo>
                  <a:lnTo>
                    <a:pt x="1152" y="690"/>
                  </a:lnTo>
                  <a:lnTo>
                    <a:pt x="1146" y="690"/>
                  </a:lnTo>
                  <a:lnTo>
                    <a:pt x="1140" y="690"/>
                  </a:lnTo>
                  <a:lnTo>
                    <a:pt x="1134" y="696"/>
                  </a:lnTo>
                  <a:lnTo>
                    <a:pt x="1128" y="696"/>
                  </a:lnTo>
                  <a:lnTo>
                    <a:pt x="1122" y="702"/>
                  </a:lnTo>
                  <a:lnTo>
                    <a:pt x="1116" y="702"/>
                  </a:lnTo>
                  <a:lnTo>
                    <a:pt x="1110" y="708"/>
                  </a:lnTo>
                  <a:lnTo>
                    <a:pt x="1104" y="708"/>
                  </a:lnTo>
                  <a:lnTo>
                    <a:pt x="1098" y="708"/>
                  </a:lnTo>
                  <a:lnTo>
                    <a:pt x="1092" y="708"/>
                  </a:lnTo>
                  <a:lnTo>
                    <a:pt x="1092" y="714"/>
                  </a:lnTo>
                  <a:lnTo>
                    <a:pt x="1086" y="720"/>
                  </a:lnTo>
                  <a:lnTo>
                    <a:pt x="1080" y="720"/>
                  </a:lnTo>
                  <a:lnTo>
                    <a:pt x="1074" y="720"/>
                  </a:lnTo>
                  <a:lnTo>
                    <a:pt x="1068" y="720"/>
                  </a:lnTo>
                  <a:lnTo>
                    <a:pt x="1062" y="720"/>
                  </a:lnTo>
                  <a:lnTo>
                    <a:pt x="1050" y="726"/>
                  </a:lnTo>
                  <a:lnTo>
                    <a:pt x="1044" y="726"/>
                  </a:lnTo>
                  <a:lnTo>
                    <a:pt x="1038" y="732"/>
                  </a:lnTo>
                  <a:lnTo>
                    <a:pt x="1026" y="732"/>
                  </a:lnTo>
                  <a:lnTo>
                    <a:pt x="1020" y="732"/>
                  </a:lnTo>
                  <a:lnTo>
                    <a:pt x="1014" y="738"/>
                  </a:lnTo>
                  <a:lnTo>
                    <a:pt x="1008" y="738"/>
                  </a:lnTo>
                  <a:lnTo>
                    <a:pt x="1002" y="738"/>
                  </a:lnTo>
                  <a:lnTo>
                    <a:pt x="996" y="738"/>
                  </a:lnTo>
                  <a:lnTo>
                    <a:pt x="990" y="738"/>
                  </a:lnTo>
                  <a:lnTo>
                    <a:pt x="990" y="732"/>
                  </a:lnTo>
                  <a:lnTo>
                    <a:pt x="984" y="732"/>
                  </a:lnTo>
                  <a:lnTo>
                    <a:pt x="978" y="738"/>
                  </a:lnTo>
                  <a:lnTo>
                    <a:pt x="978" y="744"/>
                  </a:lnTo>
                  <a:lnTo>
                    <a:pt x="984" y="744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8" y="756"/>
                  </a:lnTo>
                  <a:lnTo>
                    <a:pt x="972" y="756"/>
                  </a:lnTo>
                  <a:lnTo>
                    <a:pt x="972" y="762"/>
                  </a:lnTo>
                  <a:lnTo>
                    <a:pt x="966" y="768"/>
                  </a:lnTo>
                  <a:lnTo>
                    <a:pt x="966" y="762"/>
                  </a:lnTo>
                  <a:lnTo>
                    <a:pt x="960" y="762"/>
                  </a:lnTo>
                  <a:lnTo>
                    <a:pt x="954" y="768"/>
                  </a:lnTo>
                  <a:lnTo>
                    <a:pt x="954" y="774"/>
                  </a:lnTo>
                  <a:lnTo>
                    <a:pt x="948" y="774"/>
                  </a:lnTo>
                  <a:lnTo>
                    <a:pt x="948" y="780"/>
                  </a:lnTo>
                  <a:lnTo>
                    <a:pt x="948" y="786"/>
                  </a:lnTo>
                  <a:lnTo>
                    <a:pt x="942" y="786"/>
                  </a:lnTo>
                  <a:lnTo>
                    <a:pt x="942" y="792"/>
                  </a:lnTo>
                  <a:lnTo>
                    <a:pt x="936" y="792"/>
                  </a:lnTo>
                  <a:lnTo>
                    <a:pt x="942" y="798"/>
                  </a:lnTo>
                  <a:lnTo>
                    <a:pt x="942" y="804"/>
                  </a:lnTo>
                  <a:lnTo>
                    <a:pt x="942" y="810"/>
                  </a:lnTo>
                  <a:lnTo>
                    <a:pt x="948" y="810"/>
                  </a:lnTo>
                  <a:lnTo>
                    <a:pt x="942" y="816"/>
                  </a:lnTo>
                  <a:lnTo>
                    <a:pt x="948" y="816"/>
                  </a:lnTo>
                  <a:lnTo>
                    <a:pt x="948" y="822"/>
                  </a:lnTo>
                  <a:lnTo>
                    <a:pt x="954" y="822"/>
                  </a:lnTo>
                  <a:lnTo>
                    <a:pt x="960" y="828"/>
                  </a:lnTo>
                  <a:lnTo>
                    <a:pt x="960" y="834"/>
                  </a:lnTo>
                  <a:lnTo>
                    <a:pt x="966" y="834"/>
                  </a:lnTo>
                  <a:lnTo>
                    <a:pt x="960" y="840"/>
                  </a:lnTo>
                  <a:lnTo>
                    <a:pt x="966" y="846"/>
                  </a:lnTo>
                  <a:lnTo>
                    <a:pt x="966" y="840"/>
                  </a:lnTo>
                  <a:lnTo>
                    <a:pt x="972" y="840"/>
                  </a:lnTo>
                  <a:lnTo>
                    <a:pt x="990" y="840"/>
                  </a:lnTo>
                  <a:lnTo>
                    <a:pt x="1002" y="834"/>
                  </a:lnTo>
                  <a:lnTo>
                    <a:pt x="1020" y="828"/>
                  </a:lnTo>
                  <a:lnTo>
                    <a:pt x="1032" y="828"/>
                  </a:lnTo>
                  <a:lnTo>
                    <a:pt x="1050" y="828"/>
                  </a:lnTo>
                  <a:lnTo>
                    <a:pt x="1062" y="846"/>
                  </a:lnTo>
                  <a:lnTo>
                    <a:pt x="1074" y="876"/>
                  </a:lnTo>
                  <a:lnTo>
                    <a:pt x="1068" y="900"/>
                  </a:lnTo>
                  <a:lnTo>
                    <a:pt x="1074" y="912"/>
                  </a:lnTo>
                  <a:lnTo>
                    <a:pt x="1074" y="936"/>
                  </a:lnTo>
                  <a:lnTo>
                    <a:pt x="1068" y="942"/>
                  </a:lnTo>
                  <a:lnTo>
                    <a:pt x="1062" y="954"/>
                  </a:lnTo>
                  <a:lnTo>
                    <a:pt x="1056" y="978"/>
                  </a:lnTo>
                  <a:lnTo>
                    <a:pt x="1056" y="996"/>
                  </a:lnTo>
                  <a:lnTo>
                    <a:pt x="1068" y="990"/>
                  </a:lnTo>
                  <a:lnTo>
                    <a:pt x="1074" y="990"/>
                  </a:lnTo>
                  <a:lnTo>
                    <a:pt x="1074" y="1008"/>
                  </a:lnTo>
                  <a:lnTo>
                    <a:pt x="1080" y="1008"/>
                  </a:lnTo>
                  <a:lnTo>
                    <a:pt x="1092" y="1014"/>
                  </a:lnTo>
                  <a:lnTo>
                    <a:pt x="1110" y="1044"/>
                  </a:lnTo>
                  <a:lnTo>
                    <a:pt x="1110" y="1062"/>
                  </a:lnTo>
                  <a:lnTo>
                    <a:pt x="1128" y="1068"/>
                  </a:lnTo>
                  <a:lnTo>
                    <a:pt x="1128" y="1092"/>
                  </a:lnTo>
                  <a:lnTo>
                    <a:pt x="1134" y="1098"/>
                  </a:lnTo>
                  <a:lnTo>
                    <a:pt x="1158" y="1122"/>
                  </a:lnTo>
                  <a:lnTo>
                    <a:pt x="1188" y="1122"/>
                  </a:lnTo>
                  <a:lnTo>
                    <a:pt x="1188" y="1128"/>
                  </a:lnTo>
                  <a:lnTo>
                    <a:pt x="1200" y="1134"/>
                  </a:lnTo>
                  <a:lnTo>
                    <a:pt x="1206" y="1134"/>
                  </a:lnTo>
                  <a:lnTo>
                    <a:pt x="1206" y="1128"/>
                  </a:lnTo>
                  <a:lnTo>
                    <a:pt x="1212" y="1128"/>
                  </a:lnTo>
                  <a:lnTo>
                    <a:pt x="1218" y="1128"/>
                  </a:lnTo>
                  <a:lnTo>
                    <a:pt x="1224" y="1122"/>
                  </a:lnTo>
                  <a:lnTo>
                    <a:pt x="1224" y="1128"/>
                  </a:lnTo>
                  <a:lnTo>
                    <a:pt x="1230" y="1128"/>
                  </a:lnTo>
                  <a:lnTo>
                    <a:pt x="1236" y="1128"/>
                  </a:lnTo>
                  <a:lnTo>
                    <a:pt x="1236" y="1122"/>
                  </a:lnTo>
                  <a:lnTo>
                    <a:pt x="1242" y="1122"/>
                  </a:lnTo>
                  <a:lnTo>
                    <a:pt x="1248" y="1128"/>
                  </a:lnTo>
                  <a:lnTo>
                    <a:pt x="1254" y="1128"/>
                  </a:lnTo>
                  <a:lnTo>
                    <a:pt x="1260" y="1134"/>
                  </a:lnTo>
                  <a:lnTo>
                    <a:pt x="1260" y="1140"/>
                  </a:lnTo>
                  <a:lnTo>
                    <a:pt x="1266" y="1140"/>
                  </a:lnTo>
                  <a:lnTo>
                    <a:pt x="1272" y="1140"/>
                  </a:lnTo>
                  <a:lnTo>
                    <a:pt x="1278" y="1140"/>
                  </a:lnTo>
                  <a:lnTo>
                    <a:pt x="1284" y="1140"/>
                  </a:lnTo>
                  <a:lnTo>
                    <a:pt x="1290" y="1146"/>
                  </a:lnTo>
                  <a:lnTo>
                    <a:pt x="1290" y="1152"/>
                  </a:lnTo>
                  <a:lnTo>
                    <a:pt x="1296" y="1146"/>
                  </a:lnTo>
                  <a:lnTo>
                    <a:pt x="1296" y="1152"/>
                  </a:lnTo>
                  <a:lnTo>
                    <a:pt x="1308" y="1152"/>
                  </a:lnTo>
                  <a:lnTo>
                    <a:pt x="1314" y="1152"/>
                  </a:lnTo>
                  <a:lnTo>
                    <a:pt x="1320" y="1152"/>
                  </a:lnTo>
                  <a:lnTo>
                    <a:pt x="1332" y="1152"/>
                  </a:lnTo>
                  <a:lnTo>
                    <a:pt x="1338" y="1152"/>
                  </a:lnTo>
                  <a:lnTo>
                    <a:pt x="1344" y="1152"/>
                  </a:lnTo>
                  <a:lnTo>
                    <a:pt x="1344" y="1158"/>
                  </a:lnTo>
                  <a:lnTo>
                    <a:pt x="1350" y="1158"/>
                  </a:lnTo>
                  <a:lnTo>
                    <a:pt x="1356" y="1158"/>
                  </a:lnTo>
                  <a:lnTo>
                    <a:pt x="1362" y="1158"/>
                  </a:lnTo>
                  <a:lnTo>
                    <a:pt x="1368" y="1158"/>
                  </a:lnTo>
                  <a:lnTo>
                    <a:pt x="1374" y="1164"/>
                  </a:lnTo>
                  <a:lnTo>
                    <a:pt x="1380" y="1164"/>
                  </a:lnTo>
                  <a:lnTo>
                    <a:pt x="1386" y="1170"/>
                  </a:lnTo>
                  <a:lnTo>
                    <a:pt x="1392" y="1170"/>
                  </a:lnTo>
                  <a:lnTo>
                    <a:pt x="1398" y="1164"/>
                  </a:lnTo>
                  <a:lnTo>
                    <a:pt x="1404" y="1164"/>
                  </a:lnTo>
                  <a:lnTo>
                    <a:pt x="1410" y="1164"/>
                  </a:lnTo>
                  <a:lnTo>
                    <a:pt x="1416" y="1164"/>
                  </a:lnTo>
                  <a:lnTo>
                    <a:pt x="1416" y="1170"/>
                  </a:lnTo>
                  <a:lnTo>
                    <a:pt x="1422" y="1176"/>
                  </a:lnTo>
                  <a:lnTo>
                    <a:pt x="1416" y="1176"/>
                  </a:lnTo>
                  <a:lnTo>
                    <a:pt x="1416" y="1182"/>
                  </a:lnTo>
                  <a:lnTo>
                    <a:pt x="1410" y="1188"/>
                  </a:lnTo>
                  <a:lnTo>
                    <a:pt x="1404" y="1194"/>
                  </a:lnTo>
                  <a:lnTo>
                    <a:pt x="1404" y="1200"/>
                  </a:lnTo>
                  <a:lnTo>
                    <a:pt x="1404" y="1206"/>
                  </a:lnTo>
                  <a:lnTo>
                    <a:pt x="1398" y="1212"/>
                  </a:lnTo>
                  <a:lnTo>
                    <a:pt x="1398" y="1206"/>
                  </a:lnTo>
                  <a:lnTo>
                    <a:pt x="1392" y="1206"/>
                  </a:lnTo>
                  <a:lnTo>
                    <a:pt x="1386" y="1206"/>
                  </a:lnTo>
                  <a:lnTo>
                    <a:pt x="1380" y="1212"/>
                  </a:lnTo>
                  <a:lnTo>
                    <a:pt x="1374" y="1212"/>
                  </a:lnTo>
                  <a:lnTo>
                    <a:pt x="1368" y="1218"/>
                  </a:lnTo>
                  <a:lnTo>
                    <a:pt x="1362" y="1218"/>
                  </a:lnTo>
                  <a:lnTo>
                    <a:pt x="1362" y="1224"/>
                  </a:lnTo>
                  <a:lnTo>
                    <a:pt x="1356" y="1230"/>
                  </a:lnTo>
                  <a:lnTo>
                    <a:pt x="1350" y="1230"/>
                  </a:lnTo>
                  <a:lnTo>
                    <a:pt x="1344" y="1236"/>
                  </a:lnTo>
                  <a:lnTo>
                    <a:pt x="1338" y="1230"/>
                  </a:lnTo>
                  <a:lnTo>
                    <a:pt x="1332" y="1230"/>
                  </a:lnTo>
                  <a:lnTo>
                    <a:pt x="1326" y="1230"/>
                  </a:lnTo>
                  <a:lnTo>
                    <a:pt x="1320" y="1230"/>
                  </a:lnTo>
                  <a:lnTo>
                    <a:pt x="1314" y="1230"/>
                  </a:lnTo>
                  <a:lnTo>
                    <a:pt x="1296" y="1242"/>
                  </a:lnTo>
                  <a:lnTo>
                    <a:pt x="1296" y="1248"/>
                  </a:lnTo>
                  <a:lnTo>
                    <a:pt x="1290" y="1248"/>
                  </a:lnTo>
                  <a:lnTo>
                    <a:pt x="1290" y="1260"/>
                  </a:lnTo>
                  <a:lnTo>
                    <a:pt x="1278" y="1272"/>
                  </a:lnTo>
                  <a:lnTo>
                    <a:pt x="1278" y="1278"/>
                  </a:lnTo>
                  <a:lnTo>
                    <a:pt x="1278" y="1284"/>
                  </a:lnTo>
                  <a:lnTo>
                    <a:pt x="1278" y="1290"/>
                  </a:lnTo>
                  <a:lnTo>
                    <a:pt x="1284" y="1296"/>
                  </a:lnTo>
                  <a:lnTo>
                    <a:pt x="1302" y="1302"/>
                  </a:lnTo>
                  <a:lnTo>
                    <a:pt x="1308" y="1308"/>
                  </a:lnTo>
                  <a:lnTo>
                    <a:pt x="1308" y="1314"/>
                  </a:lnTo>
                  <a:lnTo>
                    <a:pt x="1302" y="1320"/>
                  </a:lnTo>
                  <a:lnTo>
                    <a:pt x="1278" y="1314"/>
                  </a:lnTo>
                  <a:lnTo>
                    <a:pt x="1266" y="1308"/>
                  </a:lnTo>
                  <a:lnTo>
                    <a:pt x="1260" y="1296"/>
                  </a:lnTo>
                  <a:lnTo>
                    <a:pt x="1236" y="1296"/>
                  </a:lnTo>
                  <a:lnTo>
                    <a:pt x="1224" y="1308"/>
                  </a:lnTo>
                  <a:lnTo>
                    <a:pt x="1218" y="1308"/>
                  </a:lnTo>
                  <a:lnTo>
                    <a:pt x="1218" y="1302"/>
                  </a:lnTo>
                  <a:lnTo>
                    <a:pt x="1212" y="1302"/>
                  </a:lnTo>
                  <a:lnTo>
                    <a:pt x="1206" y="1302"/>
                  </a:lnTo>
                  <a:lnTo>
                    <a:pt x="1170" y="1314"/>
                  </a:lnTo>
                  <a:lnTo>
                    <a:pt x="1134" y="1296"/>
                  </a:lnTo>
                  <a:lnTo>
                    <a:pt x="1122" y="1290"/>
                  </a:lnTo>
                  <a:lnTo>
                    <a:pt x="1104" y="1290"/>
                  </a:lnTo>
                  <a:lnTo>
                    <a:pt x="1098" y="1278"/>
                  </a:lnTo>
                  <a:lnTo>
                    <a:pt x="1092" y="1242"/>
                  </a:lnTo>
                  <a:lnTo>
                    <a:pt x="1086" y="1242"/>
                  </a:lnTo>
                  <a:lnTo>
                    <a:pt x="1086" y="1248"/>
                  </a:lnTo>
                  <a:lnTo>
                    <a:pt x="1086" y="1254"/>
                  </a:lnTo>
                  <a:lnTo>
                    <a:pt x="1080" y="1254"/>
                  </a:lnTo>
                  <a:lnTo>
                    <a:pt x="1080" y="1260"/>
                  </a:lnTo>
                  <a:lnTo>
                    <a:pt x="1074" y="1260"/>
                  </a:lnTo>
                  <a:lnTo>
                    <a:pt x="1068" y="1236"/>
                  </a:lnTo>
                  <a:lnTo>
                    <a:pt x="1068" y="1206"/>
                  </a:lnTo>
                  <a:lnTo>
                    <a:pt x="1080" y="1194"/>
                  </a:lnTo>
                  <a:lnTo>
                    <a:pt x="1086" y="1194"/>
                  </a:lnTo>
                  <a:lnTo>
                    <a:pt x="1092" y="1200"/>
                  </a:lnTo>
                  <a:lnTo>
                    <a:pt x="1098" y="1206"/>
                  </a:lnTo>
                  <a:lnTo>
                    <a:pt x="1104" y="1200"/>
                  </a:lnTo>
                  <a:lnTo>
                    <a:pt x="1104" y="1194"/>
                  </a:lnTo>
                  <a:lnTo>
                    <a:pt x="1110" y="1194"/>
                  </a:lnTo>
                  <a:lnTo>
                    <a:pt x="1110" y="1188"/>
                  </a:lnTo>
                  <a:lnTo>
                    <a:pt x="1116" y="1182"/>
                  </a:lnTo>
                  <a:lnTo>
                    <a:pt x="1110" y="1182"/>
                  </a:lnTo>
                  <a:lnTo>
                    <a:pt x="1110" y="1170"/>
                  </a:lnTo>
                  <a:lnTo>
                    <a:pt x="1110" y="1158"/>
                  </a:lnTo>
                  <a:lnTo>
                    <a:pt x="1110" y="1152"/>
                  </a:lnTo>
                  <a:lnTo>
                    <a:pt x="1104" y="1146"/>
                  </a:lnTo>
                  <a:lnTo>
                    <a:pt x="1098" y="1140"/>
                  </a:lnTo>
                  <a:lnTo>
                    <a:pt x="1098" y="1134"/>
                  </a:lnTo>
                  <a:lnTo>
                    <a:pt x="1098" y="1128"/>
                  </a:lnTo>
                  <a:lnTo>
                    <a:pt x="1092" y="1128"/>
                  </a:lnTo>
                  <a:lnTo>
                    <a:pt x="1092" y="1122"/>
                  </a:lnTo>
                  <a:lnTo>
                    <a:pt x="1092" y="1116"/>
                  </a:lnTo>
                  <a:lnTo>
                    <a:pt x="1092" y="1110"/>
                  </a:lnTo>
                  <a:lnTo>
                    <a:pt x="1056" y="1122"/>
                  </a:lnTo>
                  <a:lnTo>
                    <a:pt x="1038" y="1128"/>
                  </a:lnTo>
                  <a:lnTo>
                    <a:pt x="1032" y="1128"/>
                  </a:lnTo>
                  <a:lnTo>
                    <a:pt x="1026" y="1128"/>
                  </a:lnTo>
                  <a:lnTo>
                    <a:pt x="1020" y="1128"/>
                  </a:lnTo>
                  <a:lnTo>
                    <a:pt x="1014" y="1128"/>
                  </a:lnTo>
                  <a:lnTo>
                    <a:pt x="1014" y="1122"/>
                  </a:lnTo>
                  <a:lnTo>
                    <a:pt x="1008" y="1122"/>
                  </a:lnTo>
                  <a:lnTo>
                    <a:pt x="1002" y="1128"/>
                  </a:lnTo>
                  <a:lnTo>
                    <a:pt x="1002" y="1134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84" y="1140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66" y="1140"/>
                  </a:lnTo>
                  <a:lnTo>
                    <a:pt x="954" y="1140"/>
                  </a:lnTo>
                  <a:lnTo>
                    <a:pt x="954" y="1134"/>
                  </a:lnTo>
                  <a:lnTo>
                    <a:pt x="948" y="1134"/>
                  </a:lnTo>
                  <a:lnTo>
                    <a:pt x="942" y="1134"/>
                  </a:lnTo>
                  <a:lnTo>
                    <a:pt x="936" y="1134"/>
                  </a:lnTo>
                  <a:lnTo>
                    <a:pt x="930" y="1134"/>
                  </a:lnTo>
                  <a:lnTo>
                    <a:pt x="924" y="1134"/>
                  </a:lnTo>
                  <a:lnTo>
                    <a:pt x="918" y="1134"/>
                  </a:lnTo>
                  <a:lnTo>
                    <a:pt x="918" y="1128"/>
                  </a:lnTo>
                  <a:lnTo>
                    <a:pt x="918" y="1104"/>
                  </a:lnTo>
                  <a:lnTo>
                    <a:pt x="906" y="1104"/>
                  </a:lnTo>
                  <a:lnTo>
                    <a:pt x="900" y="1098"/>
                  </a:lnTo>
                  <a:lnTo>
                    <a:pt x="900" y="1092"/>
                  </a:lnTo>
                  <a:lnTo>
                    <a:pt x="900" y="1086"/>
                  </a:lnTo>
                  <a:lnTo>
                    <a:pt x="900" y="1080"/>
                  </a:lnTo>
                  <a:lnTo>
                    <a:pt x="894" y="1080"/>
                  </a:lnTo>
                  <a:lnTo>
                    <a:pt x="858" y="1074"/>
                  </a:lnTo>
                  <a:lnTo>
                    <a:pt x="852" y="1080"/>
                  </a:lnTo>
                  <a:lnTo>
                    <a:pt x="846" y="1086"/>
                  </a:lnTo>
                  <a:lnTo>
                    <a:pt x="840" y="1086"/>
                  </a:lnTo>
                  <a:lnTo>
                    <a:pt x="840" y="1092"/>
                  </a:lnTo>
                  <a:lnTo>
                    <a:pt x="834" y="1092"/>
                  </a:lnTo>
                  <a:lnTo>
                    <a:pt x="828" y="1098"/>
                  </a:lnTo>
                  <a:lnTo>
                    <a:pt x="822" y="1098"/>
                  </a:lnTo>
                  <a:lnTo>
                    <a:pt x="762" y="1074"/>
                  </a:lnTo>
                  <a:lnTo>
                    <a:pt x="756" y="1068"/>
                  </a:lnTo>
                  <a:lnTo>
                    <a:pt x="750" y="1068"/>
                  </a:lnTo>
                  <a:lnTo>
                    <a:pt x="744" y="1062"/>
                  </a:lnTo>
                  <a:lnTo>
                    <a:pt x="744" y="1068"/>
                  </a:lnTo>
                  <a:lnTo>
                    <a:pt x="744" y="1074"/>
                  </a:lnTo>
                  <a:lnTo>
                    <a:pt x="738" y="1074"/>
                  </a:lnTo>
                  <a:lnTo>
                    <a:pt x="738" y="1068"/>
                  </a:lnTo>
                  <a:lnTo>
                    <a:pt x="732" y="1068"/>
                  </a:lnTo>
                  <a:lnTo>
                    <a:pt x="726" y="1068"/>
                  </a:lnTo>
                  <a:lnTo>
                    <a:pt x="726" y="1074"/>
                  </a:lnTo>
                  <a:lnTo>
                    <a:pt x="720" y="1074"/>
                  </a:lnTo>
                  <a:lnTo>
                    <a:pt x="684" y="106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5" name="Freeform 40">
              <a:extLst>
                <a:ext uri="{FF2B5EF4-FFF2-40B4-BE49-F238E27FC236}">
                  <a16:creationId xmlns:a16="http://schemas.microsoft.com/office/drawing/2014/main" id="{37EC2F22-BDB9-4162-8FA4-08493F6898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3558" y="1520374"/>
              <a:ext cx="1057717" cy="1252440"/>
            </a:xfrm>
            <a:custGeom>
              <a:avLst/>
              <a:gdLst>
                <a:gd name="T0" fmla="*/ 98 w 1992"/>
                <a:gd name="T1" fmla="*/ 162 h 2358"/>
                <a:gd name="T2" fmla="*/ 93 w 1992"/>
                <a:gd name="T3" fmla="*/ 172 h 2358"/>
                <a:gd name="T4" fmla="*/ 82 w 1992"/>
                <a:gd name="T5" fmla="*/ 179 h 2358"/>
                <a:gd name="T6" fmla="*/ 70 w 1992"/>
                <a:gd name="T7" fmla="*/ 174 h 2358"/>
                <a:gd name="T8" fmla="*/ 62 w 1992"/>
                <a:gd name="T9" fmla="*/ 182 h 2358"/>
                <a:gd name="T10" fmla="*/ 45 w 1992"/>
                <a:gd name="T11" fmla="*/ 189 h 2358"/>
                <a:gd name="T12" fmla="*/ 24 w 1992"/>
                <a:gd name="T13" fmla="*/ 205 h 2358"/>
                <a:gd name="T14" fmla="*/ 17 w 1992"/>
                <a:gd name="T15" fmla="*/ 204 h 2358"/>
                <a:gd name="T16" fmla="*/ 7 w 1992"/>
                <a:gd name="T17" fmla="*/ 197 h 2358"/>
                <a:gd name="T18" fmla="*/ 1 w 1992"/>
                <a:gd name="T19" fmla="*/ 191 h 2358"/>
                <a:gd name="T20" fmla="*/ 4 w 1992"/>
                <a:gd name="T21" fmla="*/ 175 h 2358"/>
                <a:gd name="T22" fmla="*/ 7 w 1992"/>
                <a:gd name="T23" fmla="*/ 172 h 2358"/>
                <a:gd name="T24" fmla="*/ 11 w 1992"/>
                <a:gd name="T25" fmla="*/ 168 h 2358"/>
                <a:gd name="T26" fmla="*/ 5 w 1992"/>
                <a:gd name="T27" fmla="*/ 159 h 2358"/>
                <a:gd name="T28" fmla="*/ 10 w 1992"/>
                <a:gd name="T29" fmla="*/ 156 h 2358"/>
                <a:gd name="T30" fmla="*/ 15 w 1992"/>
                <a:gd name="T31" fmla="*/ 155 h 2358"/>
                <a:gd name="T32" fmla="*/ 24 w 1992"/>
                <a:gd name="T33" fmla="*/ 149 h 2358"/>
                <a:gd name="T34" fmla="*/ 38 w 1992"/>
                <a:gd name="T35" fmla="*/ 127 h 2358"/>
                <a:gd name="T36" fmla="*/ 38 w 1992"/>
                <a:gd name="T37" fmla="*/ 107 h 2358"/>
                <a:gd name="T38" fmla="*/ 45 w 1992"/>
                <a:gd name="T39" fmla="*/ 66 h 2358"/>
                <a:gd name="T40" fmla="*/ 47 w 1992"/>
                <a:gd name="T41" fmla="*/ 36 h 2358"/>
                <a:gd name="T42" fmla="*/ 51 w 1992"/>
                <a:gd name="T43" fmla="*/ 35 h 2358"/>
                <a:gd name="T44" fmla="*/ 55 w 1992"/>
                <a:gd name="T45" fmla="*/ 30 h 2358"/>
                <a:gd name="T46" fmla="*/ 56 w 1992"/>
                <a:gd name="T47" fmla="*/ 27 h 2358"/>
                <a:gd name="T48" fmla="*/ 60 w 1992"/>
                <a:gd name="T49" fmla="*/ 23 h 2358"/>
                <a:gd name="T50" fmla="*/ 63 w 1992"/>
                <a:gd name="T51" fmla="*/ 23 h 2358"/>
                <a:gd name="T52" fmla="*/ 70 w 1992"/>
                <a:gd name="T53" fmla="*/ 18 h 2358"/>
                <a:gd name="T54" fmla="*/ 71 w 1992"/>
                <a:gd name="T55" fmla="*/ 15 h 2358"/>
                <a:gd name="T56" fmla="*/ 72 w 1992"/>
                <a:gd name="T57" fmla="*/ 13 h 2358"/>
                <a:gd name="T58" fmla="*/ 77 w 1992"/>
                <a:gd name="T59" fmla="*/ 12 h 2358"/>
                <a:gd name="T60" fmla="*/ 83 w 1992"/>
                <a:gd name="T61" fmla="*/ 10 h 2358"/>
                <a:gd name="T62" fmla="*/ 87 w 1992"/>
                <a:gd name="T63" fmla="*/ 10 h 2358"/>
                <a:gd name="T64" fmla="*/ 89 w 1992"/>
                <a:gd name="T65" fmla="*/ 10 h 2358"/>
                <a:gd name="T66" fmla="*/ 93 w 1992"/>
                <a:gd name="T67" fmla="*/ 8 h 2358"/>
                <a:gd name="T68" fmla="*/ 95 w 1992"/>
                <a:gd name="T69" fmla="*/ 4 h 2358"/>
                <a:gd name="T70" fmla="*/ 99 w 1992"/>
                <a:gd name="T71" fmla="*/ 0 h 2358"/>
                <a:gd name="T72" fmla="*/ 111 w 1992"/>
                <a:gd name="T73" fmla="*/ 0 h 2358"/>
                <a:gd name="T74" fmla="*/ 121 w 1992"/>
                <a:gd name="T75" fmla="*/ 9 h 2358"/>
                <a:gd name="T76" fmla="*/ 128 w 1992"/>
                <a:gd name="T77" fmla="*/ 19 h 2358"/>
                <a:gd name="T78" fmla="*/ 138 w 1992"/>
                <a:gd name="T79" fmla="*/ 33 h 2358"/>
                <a:gd name="T80" fmla="*/ 142 w 1992"/>
                <a:gd name="T81" fmla="*/ 47 h 2358"/>
                <a:gd name="T82" fmla="*/ 145 w 1992"/>
                <a:gd name="T83" fmla="*/ 62 h 2358"/>
                <a:gd name="T84" fmla="*/ 145 w 1992"/>
                <a:gd name="T85" fmla="*/ 70 h 2358"/>
                <a:gd name="T86" fmla="*/ 147 w 1992"/>
                <a:gd name="T87" fmla="*/ 75 h 2358"/>
                <a:gd name="T88" fmla="*/ 153 w 1992"/>
                <a:gd name="T89" fmla="*/ 75 h 2358"/>
                <a:gd name="T90" fmla="*/ 160 w 1992"/>
                <a:gd name="T91" fmla="*/ 76 h 2358"/>
                <a:gd name="T92" fmla="*/ 164 w 1992"/>
                <a:gd name="T93" fmla="*/ 79 h 2358"/>
                <a:gd name="T94" fmla="*/ 168 w 1992"/>
                <a:gd name="T95" fmla="*/ 83 h 2358"/>
                <a:gd name="T96" fmla="*/ 172 w 1992"/>
                <a:gd name="T97" fmla="*/ 86 h 2358"/>
                <a:gd name="T98" fmla="*/ 170 w 1992"/>
                <a:gd name="T99" fmla="*/ 93 h 2358"/>
                <a:gd name="T100" fmla="*/ 170 w 1992"/>
                <a:gd name="T101" fmla="*/ 99 h 2358"/>
                <a:gd name="T102" fmla="*/ 169 w 1992"/>
                <a:gd name="T103" fmla="*/ 106 h 2358"/>
                <a:gd name="T104" fmla="*/ 166 w 1992"/>
                <a:gd name="T105" fmla="*/ 113 h 2358"/>
                <a:gd name="T106" fmla="*/ 170 w 1992"/>
                <a:gd name="T107" fmla="*/ 122 h 2358"/>
                <a:gd name="T108" fmla="*/ 159 w 1992"/>
                <a:gd name="T109" fmla="*/ 128 h 2358"/>
                <a:gd name="T110" fmla="*/ 148 w 1992"/>
                <a:gd name="T111" fmla="*/ 134 h 2358"/>
                <a:gd name="T112" fmla="*/ 139 w 1992"/>
                <a:gd name="T113" fmla="*/ 136 h 2358"/>
                <a:gd name="T114" fmla="*/ 132 w 1992"/>
                <a:gd name="T115" fmla="*/ 138 h 2358"/>
                <a:gd name="T116" fmla="*/ 128 w 1992"/>
                <a:gd name="T117" fmla="*/ 145 h 2358"/>
                <a:gd name="T118" fmla="*/ 124 w 1992"/>
                <a:gd name="T119" fmla="*/ 150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92"/>
                <a:gd name="T181" fmla="*/ 0 h 2358"/>
                <a:gd name="T182" fmla="*/ 1992 w 1992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92" h="2358">
                  <a:moveTo>
                    <a:pt x="1356" y="1782"/>
                  </a:moveTo>
                  <a:lnTo>
                    <a:pt x="1350" y="1788"/>
                  </a:lnTo>
                  <a:lnTo>
                    <a:pt x="1266" y="1788"/>
                  </a:lnTo>
                  <a:lnTo>
                    <a:pt x="1260" y="1800"/>
                  </a:lnTo>
                  <a:lnTo>
                    <a:pt x="1242" y="1806"/>
                  </a:lnTo>
                  <a:lnTo>
                    <a:pt x="1218" y="1812"/>
                  </a:lnTo>
                  <a:lnTo>
                    <a:pt x="1182" y="1812"/>
                  </a:lnTo>
                  <a:lnTo>
                    <a:pt x="1158" y="1806"/>
                  </a:lnTo>
                  <a:lnTo>
                    <a:pt x="1134" y="1800"/>
                  </a:lnTo>
                  <a:lnTo>
                    <a:pt x="1134" y="1806"/>
                  </a:lnTo>
                  <a:lnTo>
                    <a:pt x="1134" y="1830"/>
                  </a:lnTo>
                  <a:lnTo>
                    <a:pt x="1128" y="1842"/>
                  </a:lnTo>
                  <a:lnTo>
                    <a:pt x="1128" y="1854"/>
                  </a:lnTo>
                  <a:lnTo>
                    <a:pt x="1128" y="1860"/>
                  </a:lnTo>
                  <a:lnTo>
                    <a:pt x="1128" y="1866"/>
                  </a:lnTo>
                  <a:lnTo>
                    <a:pt x="1128" y="1872"/>
                  </a:lnTo>
                  <a:lnTo>
                    <a:pt x="1128" y="1884"/>
                  </a:lnTo>
                  <a:lnTo>
                    <a:pt x="1128" y="1890"/>
                  </a:lnTo>
                  <a:lnTo>
                    <a:pt x="1128" y="1896"/>
                  </a:lnTo>
                  <a:lnTo>
                    <a:pt x="1122" y="1902"/>
                  </a:lnTo>
                  <a:lnTo>
                    <a:pt x="1122" y="1920"/>
                  </a:lnTo>
                  <a:lnTo>
                    <a:pt x="1116" y="1920"/>
                  </a:lnTo>
                  <a:lnTo>
                    <a:pt x="1110" y="1926"/>
                  </a:lnTo>
                  <a:lnTo>
                    <a:pt x="1110" y="1932"/>
                  </a:lnTo>
                  <a:lnTo>
                    <a:pt x="1104" y="1938"/>
                  </a:lnTo>
                  <a:lnTo>
                    <a:pt x="1086" y="1962"/>
                  </a:lnTo>
                  <a:lnTo>
                    <a:pt x="1074" y="1974"/>
                  </a:lnTo>
                  <a:lnTo>
                    <a:pt x="1074" y="1980"/>
                  </a:lnTo>
                  <a:lnTo>
                    <a:pt x="1068" y="1986"/>
                  </a:lnTo>
                  <a:lnTo>
                    <a:pt x="1062" y="1998"/>
                  </a:lnTo>
                  <a:lnTo>
                    <a:pt x="1062" y="2004"/>
                  </a:lnTo>
                  <a:lnTo>
                    <a:pt x="1068" y="2004"/>
                  </a:lnTo>
                  <a:lnTo>
                    <a:pt x="1056" y="2034"/>
                  </a:lnTo>
                  <a:lnTo>
                    <a:pt x="1050" y="2076"/>
                  </a:lnTo>
                  <a:lnTo>
                    <a:pt x="1056" y="2100"/>
                  </a:lnTo>
                  <a:lnTo>
                    <a:pt x="1038" y="2106"/>
                  </a:lnTo>
                  <a:lnTo>
                    <a:pt x="1002" y="2106"/>
                  </a:lnTo>
                  <a:lnTo>
                    <a:pt x="978" y="2094"/>
                  </a:lnTo>
                  <a:lnTo>
                    <a:pt x="972" y="2082"/>
                  </a:lnTo>
                  <a:lnTo>
                    <a:pt x="966" y="2070"/>
                  </a:lnTo>
                  <a:lnTo>
                    <a:pt x="954" y="2064"/>
                  </a:lnTo>
                  <a:lnTo>
                    <a:pt x="942" y="2058"/>
                  </a:lnTo>
                  <a:lnTo>
                    <a:pt x="936" y="2058"/>
                  </a:lnTo>
                  <a:lnTo>
                    <a:pt x="918" y="2046"/>
                  </a:lnTo>
                  <a:lnTo>
                    <a:pt x="906" y="2028"/>
                  </a:lnTo>
                  <a:lnTo>
                    <a:pt x="900" y="2022"/>
                  </a:lnTo>
                  <a:lnTo>
                    <a:pt x="894" y="2022"/>
                  </a:lnTo>
                  <a:lnTo>
                    <a:pt x="882" y="2022"/>
                  </a:lnTo>
                  <a:lnTo>
                    <a:pt x="870" y="2016"/>
                  </a:lnTo>
                  <a:lnTo>
                    <a:pt x="864" y="2016"/>
                  </a:lnTo>
                  <a:lnTo>
                    <a:pt x="852" y="2010"/>
                  </a:lnTo>
                  <a:lnTo>
                    <a:pt x="846" y="2004"/>
                  </a:lnTo>
                  <a:lnTo>
                    <a:pt x="840" y="2004"/>
                  </a:lnTo>
                  <a:lnTo>
                    <a:pt x="828" y="1998"/>
                  </a:lnTo>
                  <a:lnTo>
                    <a:pt x="816" y="1998"/>
                  </a:lnTo>
                  <a:lnTo>
                    <a:pt x="810" y="1998"/>
                  </a:lnTo>
                  <a:lnTo>
                    <a:pt x="804" y="1998"/>
                  </a:lnTo>
                  <a:lnTo>
                    <a:pt x="798" y="1998"/>
                  </a:lnTo>
                  <a:lnTo>
                    <a:pt x="792" y="2004"/>
                  </a:lnTo>
                  <a:lnTo>
                    <a:pt x="786" y="2010"/>
                  </a:lnTo>
                  <a:lnTo>
                    <a:pt x="762" y="2010"/>
                  </a:lnTo>
                  <a:lnTo>
                    <a:pt x="756" y="2010"/>
                  </a:lnTo>
                  <a:lnTo>
                    <a:pt x="744" y="2022"/>
                  </a:lnTo>
                  <a:lnTo>
                    <a:pt x="738" y="2034"/>
                  </a:lnTo>
                  <a:lnTo>
                    <a:pt x="732" y="2040"/>
                  </a:lnTo>
                  <a:lnTo>
                    <a:pt x="732" y="2046"/>
                  </a:lnTo>
                  <a:lnTo>
                    <a:pt x="726" y="2058"/>
                  </a:lnTo>
                  <a:lnTo>
                    <a:pt x="720" y="2064"/>
                  </a:lnTo>
                  <a:lnTo>
                    <a:pt x="714" y="2070"/>
                  </a:lnTo>
                  <a:lnTo>
                    <a:pt x="708" y="2088"/>
                  </a:lnTo>
                  <a:lnTo>
                    <a:pt x="702" y="2100"/>
                  </a:lnTo>
                  <a:lnTo>
                    <a:pt x="690" y="2100"/>
                  </a:lnTo>
                  <a:lnTo>
                    <a:pt x="684" y="2094"/>
                  </a:lnTo>
                  <a:lnTo>
                    <a:pt x="666" y="2100"/>
                  </a:lnTo>
                  <a:lnTo>
                    <a:pt x="636" y="2106"/>
                  </a:lnTo>
                  <a:lnTo>
                    <a:pt x="636" y="2112"/>
                  </a:lnTo>
                  <a:lnTo>
                    <a:pt x="636" y="2118"/>
                  </a:lnTo>
                  <a:lnTo>
                    <a:pt x="636" y="2124"/>
                  </a:lnTo>
                  <a:lnTo>
                    <a:pt x="630" y="2124"/>
                  </a:lnTo>
                  <a:lnTo>
                    <a:pt x="630" y="2148"/>
                  </a:lnTo>
                  <a:lnTo>
                    <a:pt x="612" y="2160"/>
                  </a:lnTo>
                  <a:lnTo>
                    <a:pt x="576" y="2172"/>
                  </a:lnTo>
                  <a:lnTo>
                    <a:pt x="546" y="2172"/>
                  </a:lnTo>
                  <a:lnTo>
                    <a:pt x="516" y="2172"/>
                  </a:lnTo>
                  <a:lnTo>
                    <a:pt x="486" y="2172"/>
                  </a:lnTo>
                  <a:lnTo>
                    <a:pt x="462" y="2172"/>
                  </a:lnTo>
                  <a:lnTo>
                    <a:pt x="444" y="2196"/>
                  </a:lnTo>
                  <a:lnTo>
                    <a:pt x="432" y="2232"/>
                  </a:lnTo>
                  <a:lnTo>
                    <a:pt x="408" y="2238"/>
                  </a:lnTo>
                  <a:lnTo>
                    <a:pt x="390" y="2256"/>
                  </a:lnTo>
                  <a:lnTo>
                    <a:pt x="372" y="2274"/>
                  </a:lnTo>
                  <a:lnTo>
                    <a:pt x="360" y="2274"/>
                  </a:lnTo>
                  <a:lnTo>
                    <a:pt x="336" y="2328"/>
                  </a:lnTo>
                  <a:lnTo>
                    <a:pt x="324" y="2340"/>
                  </a:lnTo>
                  <a:lnTo>
                    <a:pt x="300" y="2346"/>
                  </a:lnTo>
                  <a:lnTo>
                    <a:pt x="294" y="2352"/>
                  </a:lnTo>
                  <a:lnTo>
                    <a:pt x="288" y="2352"/>
                  </a:lnTo>
                  <a:lnTo>
                    <a:pt x="282" y="2352"/>
                  </a:lnTo>
                  <a:lnTo>
                    <a:pt x="276" y="2352"/>
                  </a:lnTo>
                  <a:lnTo>
                    <a:pt x="270" y="2352"/>
                  </a:lnTo>
                  <a:lnTo>
                    <a:pt x="270" y="2346"/>
                  </a:lnTo>
                  <a:lnTo>
                    <a:pt x="264" y="2346"/>
                  </a:lnTo>
                  <a:lnTo>
                    <a:pt x="258" y="2352"/>
                  </a:lnTo>
                  <a:lnTo>
                    <a:pt x="252" y="2352"/>
                  </a:lnTo>
                  <a:lnTo>
                    <a:pt x="240" y="2352"/>
                  </a:lnTo>
                  <a:lnTo>
                    <a:pt x="228" y="2352"/>
                  </a:lnTo>
                  <a:lnTo>
                    <a:pt x="222" y="2352"/>
                  </a:lnTo>
                  <a:lnTo>
                    <a:pt x="216" y="2358"/>
                  </a:lnTo>
                  <a:lnTo>
                    <a:pt x="216" y="2352"/>
                  </a:lnTo>
                  <a:lnTo>
                    <a:pt x="210" y="2346"/>
                  </a:lnTo>
                  <a:lnTo>
                    <a:pt x="204" y="2346"/>
                  </a:lnTo>
                  <a:lnTo>
                    <a:pt x="198" y="2340"/>
                  </a:lnTo>
                  <a:lnTo>
                    <a:pt x="192" y="2340"/>
                  </a:lnTo>
                  <a:lnTo>
                    <a:pt x="186" y="2340"/>
                  </a:lnTo>
                  <a:lnTo>
                    <a:pt x="180" y="2340"/>
                  </a:lnTo>
                  <a:lnTo>
                    <a:pt x="174" y="2340"/>
                  </a:lnTo>
                  <a:lnTo>
                    <a:pt x="162" y="2328"/>
                  </a:lnTo>
                  <a:lnTo>
                    <a:pt x="156" y="2322"/>
                  </a:lnTo>
                  <a:lnTo>
                    <a:pt x="156" y="2316"/>
                  </a:lnTo>
                  <a:lnTo>
                    <a:pt x="156" y="2310"/>
                  </a:lnTo>
                  <a:lnTo>
                    <a:pt x="132" y="2286"/>
                  </a:lnTo>
                  <a:lnTo>
                    <a:pt x="120" y="2280"/>
                  </a:lnTo>
                  <a:lnTo>
                    <a:pt x="96" y="2274"/>
                  </a:lnTo>
                  <a:lnTo>
                    <a:pt x="84" y="2268"/>
                  </a:lnTo>
                  <a:lnTo>
                    <a:pt x="78" y="2268"/>
                  </a:lnTo>
                  <a:lnTo>
                    <a:pt x="78" y="2262"/>
                  </a:lnTo>
                  <a:lnTo>
                    <a:pt x="78" y="2256"/>
                  </a:lnTo>
                  <a:lnTo>
                    <a:pt x="78" y="2250"/>
                  </a:lnTo>
                  <a:lnTo>
                    <a:pt x="72" y="2250"/>
                  </a:lnTo>
                  <a:lnTo>
                    <a:pt x="66" y="2250"/>
                  </a:lnTo>
                  <a:lnTo>
                    <a:pt x="60" y="2250"/>
                  </a:lnTo>
                  <a:lnTo>
                    <a:pt x="48" y="2244"/>
                  </a:lnTo>
                  <a:lnTo>
                    <a:pt x="36" y="2238"/>
                  </a:lnTo>
                  <a:lnTo>
                    <a:pt x="36" y="2226"/>
                  </a:lnTo>
                  <a:lnTo>
                    <a:pt x="30" y="2226"/>
                  </a:lnTo>
                  <a:lnTo>
                    <a:pt x="30" y="2220"/>
                  </a:lnTo>
                  <a:lnTo>
                    <a:pt x="24" y="2208"/>
                  </a:lnTo>
                  <a:lnTo>
                    <a:pt x="18" y="2202"/>
                  </a:lnTo>
                  <a:lnTo>
                    <a:pt x="18" y="2196"/>
                  </a:lnTo>
                  <a:lnTo>
                    <a:pt x="12" y="2190"/>
                  </a:lnTo>
                  <a:lnTo>
                    <a:pt x="0" y="2190"/>
                  </a:lnTo>
                  <a:lnTo>
                    <a:pt x="6" y="2184"/>
                  </a:lnTo>
                  <a:lnTo>
                    <a:pt x="12" y="2178"/>
                  </a:lnTo>
                  <a:lnTo>
                    <a:pt x="18" y="2172"/>
                  </a:lnTo>
                  <a:lnTo>
                    <a:pt x="24" y="2166"/>
                  </a:lnTo>
                  <a:lnTo>
                    <a:pt x="30" y="2166"/>
                  </a:lnTo>
                  <a:lnTo>
                    <a:pt x="24" y="2160"/>
                  </a:lnTo>
                  <a:lnTo>
                    <a:pt x="30" y="2160"/>
                  </a:lnTo>
                  <a:lnTo>
                    <a:pt x="36" y="2154"/>
                  </a:lnTo>
                  <a:lnTo>
                    <a:pt x="36" y="2136"/>
                  </a:lnTo>
                  <a:lnTo>
                    <a:pt x="36" y="2118"/>
                  </a:lnTo>
                  <a:lnTo>
                    <a:pt x="48" y="2058"/>
                  </a:lnTo>
                  <a:lnTo>
                    <a:pt x="48" y="2022"/>
                  </a:lnTo>
                  <a:lnTo>
                    <a:pt x="48" y="2016"/>
                  </a:lnTo>
                  <a:lnTo>
                    <a:pt x="48" y="2010"/>
                  </a:lnTo>
                  <a:lnTo>
                    <a:pt x="48" y="2004"/>
                  </a:lnTo>
                  <a:lnTo>
                    <a:pt x="42" y="2004"/>
                  </a:lnTo>
                  <a:lnTo>
                    <a:pt x="42" y="1998"/>
                  </a:lnTo>
                  <a:lnTo>
                    <a:pt x="36" y="1992"/>
                  </a:lnTo>
                  <a:lnTo>
                    <a:pt x="42" y="1992"/>
                  </a:lnTo>
                  <a:lnTo>
                    <a:pt x="42" y="1986"/>
                  </a:lnTo>
                  <a:lnTo>
                    <a:pt x="48" y="1986"/>
                  </a:lnTo>
                  <a:lnTo>
                    <a:pt x="54" y="1986"/>
                  </a:lnTo>
                  <a:lnTo>
                    <a:pt x="60" y="1986"/>
                  </a:lnTo>
                  <a:lnTo>
                    <a:pt x="66" y="1980"/>
                  </a:lnTo>
                  <a:lnTo>
                    <a:pt x="72" y="1974"/>
                  </a:lnTo>
                  <a:lnTo>
                    <a:pt x="78" y="1974"/>
                  </a:lnTo>
                  <a:lnTo>
                    <a:pt x="84" y="1974"/>
                  </a:lnTo>
                  <a:lnTo>
                    <a:pt x="90" y="1974"/>
                  </a:lnTo>
                  <a:lnTo>
                    <a:pt x="96" y="1974"/>
                  </a:lnTo>
                  <a:lnTo>
                    <a:pt x="96" y="1968"/>
                  </a:lnTo>
                  <a:lnTo>
                    <a:pt x="102" y="1968"/>
                  </a:lnTo>
                  <a:lnTo>
                    <a:pt x="102" y="1962"/>
                  </a:lnTo>
                  <a:lnTo>
                    <a:pt x="108" y="1962"/>
                  </a:lnTo>
                  <a:lnTo>
                    <a:pt x="114" y="1956"/>
                  </a:lnTo>
                  <a:lnTo>
                    <a:pt x="120" y="1956"/>
                  </a:lnTo>
                  <a:lnTo>
                    <a:pt x="126" y="1950"/>
                  </a:lnTo>
                  <a:lnTo>
                    <a:pt x="132" y="1950"/>
                  </a:lnTo>
                  <a:lnTo>
                    <a:pt x="132" y="1944"/>
                  </a:lnTo>
                  <a:lnTo>
                    <a:pt x="126" y="1944"/>
                  </a:lnTo>
                  <a:lnTo>
                    <a:pt x="126" y="1938"/>
                  </a:lnTo>
                  <a:lnTo>
                    <a:pt x="126" y="1932"/>
                  </a:lnTo>
                  <a:lnTo>
                    <a:pt x="126" y="1926"/>
                  </a:lnTo>
                  <a:lnTo>
                    <a:pt x="114" y="1914"/>
                  </a:lnTo>
                  <a:lnTo>
                    <a:pt x="114" y="1896"/>
                  </a:lnTo>
                  <a:lnTo>
                    <a:pt x="108" y="1884"/>
                  </a:lnTo>
                  <a:lnTo>
                    <a:pt x="102" y="1872"/>
                  </a:lnTo>
                  <a:lnTo>
                    <a:pt x="96" y="1866"/>
                  </a:lnTo>
                  <a:lnTo>
                    <a:pt x="96" y="1860"/>
                  </a:lnTo>
                  <a:lnTo>
                    <a:pt x="90" y="1860"/>
                  </a:lnTo>
                  <a:lnTo>
                    <a:pt x="90" y="1854"/>
                  </a:lnTo>
                  <a:lnTo>
                    <a:pt x="84" y="1848"/>
                  </a:lnTo>
                  <a:lnTo>
                    <a:pt x="78" y="1842"/>
                  </a:lnTo>
                  <a:lnTo>
                    <a:pt x="72" y="1836"/>
                  </a:lnTo>
                  <a:lnTo>
                    <a:pt x="66" y="1830"/>
                  </a:lnTo>
                  <a:lnTo>
                    <a:pt x="60" y="1824"/>
                  </a:lnTo>
                  <a:lnTo>
                    <a:pt x="54" y="1824"/>
                  </a:lnTo>
                  <a:lnTo>
                    <a:pt x="48" y="1824"/>
                  </a:lnTo>
                  <a:lnTo>
                    <a:pt x="42" y="1818"/>
                  </a:lnTo>
                  <a:lnTo>
                    <a:pt x="54" y="1818"/>
                  </a:lnTo>
                  <a:lnTo>
                    <a:pt x="60" y="1812"/>
                  </a:lnTo>
                  <a:lnTo>
                    <a:pt x="66" y="1812"/>
                  </a:lnTo>
                  <a:lnTo>
                    <a:pt x="72" y="1812"/>
                  </a:lnTo>
                  <a:lnTo>
                    <a:pt x="78" y="1812"/>
                  </a:lnTo>
                  <a:lnTo>
                    <a:pt x="84" y="1812"/>
                  </a:lnTo>
                  <a:lnTo>
                    <a:pt x="90" y="1806"/>
                  </a:lnTo>
                  <a:lnTo>
                    <a:pt x="96" y="1800"/>
                  </a:lnTo>
                  <a:lnTo>
                    <a:pt x="102" y="1806"/>
                  </a:lnTo>
                  <a:lnTo>
                    <a:pt x="108" y="1800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26" y="1788"/>
                  </a:lnTo>
                  <a:lnTo>
                    <a:pt x="126" y="1794"/>
                  </a:lnTo>
                  <a:lnTo>
                    <a:pt x="132" y="1794"/>
                  </a:lnTo>
                  <a:lnTo>
                    <a:pt x="132" y="1788"/>
                  </a:lnTo>
                  <a:lnTo>
                    <a:pt x="138" y="1788"/>
                  </a:lnTo>
                  <a:lnTo>
                    <a:pt x="138" y="1782"/>
                  </a:lnTo>
                  <a:lnTo>
                    <a:pt x="144" y="1782"/>
                  </a:lnTo>
                  <a:lnTo>
                    <a:pt x="150" y="1776"/>
                  </a:lnTo>
                  <a:lnTo>
                    <a:pt x="156" y="1782"/>
                  </a:lnTo>
                  <a:lnTo>
                    <a:pt x="162" y="1776"/>
                  </a:lnTo>
                  <a:lnTo>
                    <a:pt x="168" y="1776"/>
                  </a:lnTo>
                  <a:lnTo>
                    <a:pt x="180" y="1776"/>
                  </a:lnTo>
                  <a:lnTo>
                    <a:pt x="186" y="1776"/>
                  </a:lnTo>
                  <a:lnTo>
                    <a:pt x="186" y="1782"/>
                  </a:lnTo>
                  <a:lnTo>
                    <a:pt x="192" y="1776"/>
                  </a:lnTo>
                  <a:lnTo>
                    <a:pt x="198" y="1776"/>
                  </a:lnTo>
                  <a:lnTo>
                    <a:pt x="204" y="1770"/>
                  </a:lnTo>
                  <a:lnTo>
                    <a:pt x="204" y="1764"/>
                  </a:lnTo>
                  <a:lnTo>
                    <a:pt x="210" y="1764"/>
                  </a:lnTo>
                  <a:lnTo>
                    <a:pt x="216" y="1764"/>
                  </a:lnTo>
                  <a:lnTo>
                    <a:pt x="216" y="1758"/>
                  </a:lnTo>
                  <a:lnTo>
                    <a:pt x="222" y="1758"/>
                  </a:lnTo>
                  <a:lnTo>
                    <a:pt x="228" y="1758"/>
                  </a:lnTo>
                  <a:lnTo>
                    <a:pt x="258" y="1746"/>
                  </a:lnTo>
                  <a:lnTo>
                    <a:pt x="282" y="1716"/>
                  </a:lnTo>
                  <a:lnTo>
                    <a:pt x="300" y="1698"/>
                  </a:lnTo>
                  <a:lnTo>
                    <a:pt x="312" y="1698"/>
                  </a:lnTo>
                  <a:lnTo>
                    <a:pt x="336" y="1698"/>
                  </a:lnTo>
                  <a:lnTo>
                    <a:pt x="360" y="1698"/>
                  </a:lnTo>
                  <a:lnTo>
                    <a:pt x="372" y="1692"/>
                  </a:lnTo>
                  <a:lnTo>
                    <a:pt x="384" y="1692"/>
                  </a:lnTo>
                  <a:lnTo>
                    <a:pt x="360" y="1668"/>
                  </a:lnTo>
                  <a:lnTo>
                    <a:pt x="348" y="1626"/>
                  </a:lnTo>
                  <a:lnTo>
                    <a:pt x="354" y="1578"/>
                  </a:lnTo>
                  <a:lnTo>
                    <a:pt x="354" y="1572"/>
                  </a:lnTo>
                  <a:lnTo>
                    <a:pt x="360" y="1572"/>
                  </a:lnTo>
                  <a:lnTo>
                    <a:pt x="396" y="1530"/>
                  </a:lnTo>
                  <a:lnTo>
                    <a:pt x="408" y="1482"/>
                  </a:lnTo>
                  <a:lnTo>
                    <a:pt x="438" y="1458"/>
                  </a:lnTo>
                  <a:lnTo>
                    <a:pt x="468" y="1422"/>
                  </a:lnTo>
                  <a:lnTo>
                    <a:pt x="480" y="1410"/>
                  </a:lnTo>
                  <a:lnTo>
                    <a:pt x="474" y="1386"/>
                  </a:lnTo>
                  <a:lnTo>
                    <a:pt x="456" y="1356"/>
                  </a:lnTo>
                  <a:lnTo>
                    <a:pt x="438" y="1350"/>
                  </a:lnTo>
                  <a:lnTo>
                    <a:pt x="420" y="1350"/>
                  </a:lnTo>
                  <a:lnTo>
                    <a:pt x="402" y="1350"/>
                  </a:lnTo>
                  <a:lnTo>
                    <a:pt x="390" y="1344"/>
                  </a:lnTo>
                  <a:lnTo>
                    <a:pt x="390" y="1332"/>
                  </a:lnTo>
                  <a:lnTo>
                    <a:pt x="402" y="1296"/>
                  </a:lnTo>
                  <a:lnTo>
                    <a:pt x="414" y="1260"/>
                  </a:lnTo>
                  <a:lnTo>
                    <a:pt x="426" y="1248"/>
                  </a:lnTo>
                  <a:lnTo>
                    <a:pt x="438" y="1242"/>
                  </a:lnTo>
                  <a:lnTo>
                    <a:pt x="432" y="1230"/>
                  </a:lnTo>
                  <a:lnTo>
                    <a:pt x="432" y="1224"/>
                  </a:lnTo>
                  <a:lnTo>
                    <a:pt x="426" y="1218"/>
                  </a:lnTo>
                  <a:lnTo>
                    <a:pt x="426" y="1206"/>
                  </a:lnTo>
                  <a:lnTo>
                    <a:pt x="426" y="1200"/>
                  </a:lnTo>
                  <a:lnTo>
                    <a:pt x="432" y="1194"/>
                  </a:lnTo>
                  <a:lnTo>
                    <a:pt x="426" y="1188"/>
                  </a:lnTo>
                  <a:lnTo>
                    <a:pt x="432" y="1104"/>
                  </a:lnTo>
                  <a:lnTo>
                    <a:pt x="438" y="1086"/>
                  </a:lnTo>
                  <a:lnTo>
                    <a:pt x="462" y="972"/>
                  </a:lnTo>
                  <a:lnTo>
                    <a:pt x="456" y="900"/>
                  </a:lnTo>
                  <a:lnTo>
                    <a:pt x="444" y="846"/>
                  </a:lnTo>
                  <a:lnTo>
                    <a:pt x="456" y="810"/>
                  </a:lnTo>
                  <a:lnTo>
                    <a:pt x="492" y="786"/>
                  </a:lnTo>
                  <a:lnTo>
                    <a:pt x="522" y="762"/>
                  </a:lnTo>
                  <a:lnTo>
                    <a:pt x="546" y="732"/>
                  </a:lnTo>
                  <a:lnTo>
                    <a:pt x="570" y="696"/>
                  </a:lnTo>
                  <a:lnTo>
                    <a:pt x="582" y="654"/>
                  </a:lnTo>
                  <a:lnTo>
                    <a:pt x="564" y="642"/>
                  </a:lnTo>
                  <a:lnTo>
                    <a:pt x="522" y="588"/>
                  </a:lnTo>
                  <a:lnTo>
                    <a:pt x="516" y="546"/>
                  </a:lnTo>
                  <a:lnTo>
                    <a:pt x="510" y="474"/>
                  </a:lnTo>
                  <a:lnTo>
                    <a:pt x="510" y="450"/>
                  </a:lnTo>
                  <a:lnTo>
                    <a:pt x="510" y="444"/>
                  </a:lnTo>
                  <a:lnTo>
                    <a:pt x="522" y="438"/>
                  </a:lnTo>
                  <a:lnTo>
                    <a:pt x="522" y="432"/>
                  </a:lnTo>
                  <a:lnTo>
                    <a:pt x="528" y="426"/>
                  </a:lnTo>
                  <a:lnTo>
                    <a:pt x="534" y="420"/>
                  </a:lnTo>
                  <a:lnTo>
                    <a:pt x="540" y="414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08"/>
                  </a:lnTo>
                  <a:lnTo>
                    <a:pt x="546" y="408"/>
                  </a:lnTo>
                  <a:lnTo>
                    <a:pt x="558" y="414"/>
                  </a:lnTo>
                  <a:lnTo>
                    <a:pt x="564" y="414"/>
                  </a:lnTo>
                  <a:lnTo>
                    <a:pt x="570" y="414"/>
                  </a:lnTo>
                  <a:lnTo>
                    <a:pt x="582" y="414"/>
                  </a:lnTo>
                  <a:lnTo>
                    <a:pt x="582" y="420"/>
                  </a:lnTo>
                  <a:lnTo>
                    <a:pt x="588" y="414"/>
                  </a:lnTo>
                  <a:lnTo>
                    <a:pt x="582" y="408"/>
                  </a:lnTo>
                  <a:lnTo>
                    <a:pt x="588" y="402"/>
                  </a:lnTo>
                  <a:lnTo>
                    <a:pt x="594" y="402"/>
                  </a:lnTo>
                  <a:lnTo>
                    <a:pt x="594" y="396"/>
                  </a:lnTo>
                  <a:lnTo>
                    <a:pt x="594" y="390"/>
                  </a:lnTo>
                  <a:lnTo>
                    <a:pt x="594" y="384"/>
                  </a:lnTo>
                  <a:lnTo>
                    <a:pt x="594" y="378"/>
                  </a:lnTo>
                  <a:lnTo>
                    <a:pt x="600" y="366"/>
                  </a:lnTo>
                  <a:lnTo>
                    <a:pt x="606" y="366"/>
                  </a:lnTo>
                  <a:lnTo>
                    <a:pt x="612" y="360"/>
                  </a:lnTo>
                  <a:lnTo>
                    <a:pt x="612" y="366"/>
                  </a:lnTo>
                  <a:lnTo>
                    <a:pt x="618" y="366"/>
                  </a:lnTo>
                  <a:lnTo>
                    <a:pt x="624" y="366"/>
                  </a:lnTo>
                  <a:lnTo>
                    <a:pt x="630" y="360"/>
                  </a:lnTo>
                  <a:lnTo>
                    <a:pt x="636" y="354"/>
                  </a:lnTo>
                  <a:lnTo>
                    <a:pt x="630" y="354"/>
                  </a:lnTo>
                  <a:lnTo>
                    <a:pt x="630" y="348"/>
                  </a:lnTo>
                  <a:lnTo>
                    <a:pt x="630" y="342"/>
                  </a:lnTo>
                  <a:lnTo>
                    <a:pt x="636" y="342"/>
                  </a:lnTo>
                  <a:lnTo>
                    <a:pt x="642" y="336"/>
                  </a:lnTo>
                  <a:lnTo>
                    <a:pt x="636" y="330"/>
                  </a:lnTo>
                  <a:lnTo>
                    <a:pt x="630" y="336"/>
                  </a:lnTo>
                  <a:lnTo>
                    <a:pt x="624" y="336"/>
                  </a:lnTo>
                  <a:lnTo>
                    <a:pt x="624" y="330"/>
                  </a:lnTo>
                  <a:lnTo>
                    <a:pt x="624" y="324"/>
                  </a:lnTo>
                  <a:lnTo>
                    <a:pt x="618" y="324"/>
                  </a:lnTo>
                  <a:lnTo>
                    <a:pt x="624" y="324"/>
                  </a:lnTo>
                  <a:lnTo>
                    <a:pt x="630" y="330"/>
                  </a:lnTo>
                  <a:lnTo>
                    <a:pt x="630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2" y="306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8" y="288"/>
                  </a:lnTo>
                  <a:lnTo>
                    <a:pt x="648" y="282"/>
                  </a:lnTo>
                  <a:lnTo>
                    <a:pt x="654" y="288"/>
                  </a:lnTo>
                  <a:lnTo>
                    <a:pt x="654" y="282"/>
                  </a:lnTo>
                  <a:lnTo>
                    <a:pt x="660" y="282"/>
                  </a:lnTo>
                  <a:lnTo>
                    <a:pt x="666" y="282"/>
                  </a:lnTo>
                  <a:lnTo>
                    <a:pt x="672" y="282"/>
                  </a:lnTo>
                  <a:lnTo>
                    <a:pt x="678" y="282"/>
                  </a:lnTo>
                  <a:lnTo>
                    <a:pt x="684" y="276"/>
                  </a:lnTo>
                  <a:lnTo>
                    <a:pt x="690" y="270"/>
                  </a:lnTo>
                  <a:lnTo>
                    <a:pt x="690" y="264"/>
                  </a:lnTo>
                  <a:lnTo>
                    <a:pt x="690" y="270"/>
                  </a:lnTo>
                  <a:lnTo>
                    <a:pt x="690" y="276"/>
                  </a:lnTo>
                  <a:lnTo>
                    <a:pt x="696" y="276"/>
                  </a:lnTo>
                  <a:lnTo>
                    <a:pt x="702" y="276"/>
                  </a:lnTo>
                  <a:lnTo>
                    <a:pt x="702" y="282"/>
                  </a:lnTo>
                  <a:lnTo>
                    <a:pt x="708" y="282"/>
                  </a:lnTo>
                  <a:lnTo>
                    <a:pt x="720" y="270"/>
                  </a:lnTo>
                  <a:lnTo>
                    <a:pt x="720" y="264"/>
                  </a:lnTo>
                  <a:lnTo>
                    <a:pt x="720" y="258"/>
                  </a:lnTo>
                  <a:lnTo>
                    <a:pt x="726" y="258"/>
                  </a:lnTo>
                  <a:lnTo>
                    <a:pt x="732" y="258"/>
                  </a:lnTo>
                  <a:lnTo>
                    <a:pt x="732" y="264"/>
                  </a:lnTo>
                  <a:lnTo>
                    <a:pt x="738" y="264"/>
                  </a:lnTo>
                  <a:lnTo>
                    <a:pt x="738" y="258"/>
                  </a:lnTo>
                  <a:lnTo>
                    <a:pt x="732" y="258"/>
                  </a:lnTo>
                  <a:lnTo>
                    <a:pt x="732" y="252"/>
                  </a:lnTo>
                  <a:lnTo>
                    <a:pt x="744" y="252"/>
                  </a:lnTo>
                  <a:lnTo>
                    <a:pt x="750" y="252"/>
                  </a:lnTo>
                  <a:lnTo>
                    <a:pt x="750" y="246"/>
                  </a:lnTo>
                  <a:lnTo>
                    <a:pt x="750" y="240"/>
                  </a:lnTo>
                  <a:lnTo>
                    <a:pt x="762" y="234"/>
                  </a:lnTo>
                  <a:lnTo>
                    <a:pt x="768" y="234"/>
                  </a:lnTo>
                  <a:lnTo>
                    <a:pt x="774" y="234"/>
                  </a:lnTo>
                  <a:lnTo>
                    <a:pt x="780" y="228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16"/>
                  </a:lnTo>
                  <a:lnTo>
                    <a:pt x="792" y="210"/>
                  </a:lnTo>
                  <a:lnTo>
                    <a:pt x="804" y="204"/>
                  </a:lnTo>
                  <a:lnTo>
                    <a:pt x="804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0" y="192"/>
                  </a:lnTo>
                  <a:lnTo>
                    <a:pt x="798" y="186"/>
                  </a:lnTo>
                  <a:lnTo>
                    <a:pt x="810" y="186"/>
                  </a:lnTo>
                  <a:lnTo>
                    <a:pt x="810" y="180"/>
                  </a:lnTo>
                  <a:lnTo>
                    <a:pt x="810" y="186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0" y="180"/>
                  </a:lnTo>
                  <a:lnTo>
                    <a:pt x="816" y="174"/>
                  </a:lnTo>
                  <a:lnTo>
                    <a:pt x="822" y="174"/>
                  </a:lnTo>
                  <a:lnTo>
                    <a:pt x="822" y="180"/>
                  </a:lnTo>
                  <a:lnTo>
                    <a:pt x="828" y="180"/>
                  </a:lnTo>
                  <a:lnTo>
                    <a:pt x="828" y="174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62"/>
                  </a:lnTo>
                  <a:lnTo>
                    <a:pt x="828" y="156"/>
                  </a:lnTo>
                  <a:lnTo>
                    <a:pt x="822" y="156"/>
                  </a:lnTo>
                  <a:lnTo>
                    <a:pt x="828" y="156"/>
                  </a:lnTo>
                  <a:lnTo>
                    <a:pt x="828" y="150"/>
                  </a:lnTo>
                  <a:lnTo>
                    <a:pt x="834" y="150"/>
                  </a:lnTo>
                  <a:lnTo>
                    <a:pt x="840" y="156"/>
                  </a:lnTo>
                  <a:lnTo>
                    <a:pt x="840" y="150"/>
                  </a:lnTo>
                  <a:lnTo>
                    <a:pt x="834" y="150"/>
                  </a:lnTo>
                  <a:lnTo>
                    <a:pt x="834" y="144"/>
                  </a:lnTo>
                  <a:lnTo>
                    <a:pt x="840" y="138"/>
                  </a:lnTo>
                  <a:lnTo>
                    <a:pt x="846" y="144"/>
                  </a:lnTo>
                  <a:lnTo>
                    <a:pt x="846" y="150"/>
                  </a:lnTo>
                  <a:lnTo>
                    <a:pt x="852" y="150"/>
                  </a:lnTo>
                  <a:lnTo>
                    <a:pt x="858" y="150"/>
                  </a:lnTo>
                  <a:lnTo>
                    <a:pt x="870" y="150"/>
                  </a:lnTo>
                  <a:lnTo>
                    <a:pt x="870" y="144"/>
                  </a:lnTo>
                  <a:lnTo>
                    <a:pt x="876" y="138"/>
                  </a:lnTo>
                  <a:lnTo>
                    <a:pt x="882" y="138"/>
                  </a:lnTo>
                  <a:lnTo>
                    <a:pt x="888" y="132"/>
                  </a:lnTo>
                  <a:lnTo>
                    <a:pt x="888" y="138"/>
                  </a:lnTo>
                  <a:lnTo>
                    <a:pt x="894" y="138"/>
                  </a:lnTo>
                  <a:lnTo>
                    <a:pt x="894" y="132"/>
                  </a:lnTo>
                  <a:lnTo>
                    <a:pt x="900" y="126"/>
                  </a:lnTo>
                  <a:lnTo>
                    <a:pt x="900" y="132"/>
                  </a:lnTo>
                  <a:lnTo>
                    <a:pt x="906" y="132"/>
                  </a:lnTo>
                  <a:lnTo>
                    <a:pt x="912" y="132"/>
                  </a:lnTo>
                  <a:lnTo>
                    <a:pt x="918" y="126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24" y="126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8" y="120"/>
                  </a:lnTo>
                  <a:lnTo>
                    <a:pt x="948" y="114"/>
                  </a:lnTo>
                  <a:lnTo>
                    <a:pt x="948" y="108"/>
                  </a:lnTo>
                  <a:lnTo>
                    <a:pt x="954" y="114"/>
                  </a:lnTo>
                  <a:lnTo>
                    <a:pt x="960" y="108"/>
                  </a:lnTo>
                  <a:lnTo>
                    <a:pt x="966" y="108"/>
                  </a:lnTo>
                  <a:lnTo>
                    <a:pt x="972" y="108"/>
                  </a:lnTo>
                  <a:lnTo>
                    <a:pt x="966" y="114"/>
                  </a:lnTo>
                  <a:lnTo>
                    <a:pt x="960" y="114"/>
                  </a:lnTo>
                  <a:lnTo>
                    <a:pt x="960" y="120"/>
                  </a:lnTo>
                  <a:lnTo>
                    <a:pt x="966" y="126"/>
                  </a:lnTo>
                  <a:lnTo>
                    <a:pt x="972" y="126"/>
                  </a:lnTo>
                  <a:lnTo>
                    <a:pt x="978" y="126"/>
                  </a:lnTo>
                  <a:lnTo>
                    <a:pt x="984" y="120"/>
                  </a:lnTo>
                  <a:lnTo>
                    <a:pt x="984" y="114"/>
                  </a:lnTo>
                  <a:lnTo>
                    <a:pt x="996" y="126"/>
                  </a:lnTo>
                  <a:lnTo>
                    <a:pt x="996" y="120"/>
                  </a:lnTo>
                  <a:lnTo>
                    <a:pt x="1002" y="120"/>
                  </a:lnTo>
                  <a:lnTo>
                    <a:pt x="996" y="114"/>
                  </a:lnTo>
                  <a:lnTo>
                    <a:pt x="1002" y="114"/>
                  </a:lnTo>
                  <a:lnTo>
                    <a:pt x="1008" y="114"/>
                  </a:lnTo>
                  <a:lnTo>
                    <a:pt x="1008" y="108"/>
                  </a:lnTo>
                  <a:lnTo>
                    <a:pt x="1014" y="108"/>
                  </a:lnTo>
                  <a:lnTo>
                    <a:pt x="1008" y="114"/>
                  </a:lnTo>
                  <a:lnTo>
                    <a:pt x="1008" y="120"/>
                  </a:lnTo>
                  <a:lnTo>
                    <a:pt x="1008" y="126"/>
                  </a:lnTo>
                  <a:lnTo>
                    <a:pt x="1014" y="126"/>
                  </a:lnTo>
                  <a:lnTo>
                    <a:pt x="1014" y="132"/>
                  </a:lnTo>
                  <a:lnTo>
                    <a:pt x="1020" y="132"/>
                  </a:lnTo>
                  <a:lnTo>
                    <a:pt x="1020" y="126"/>
                  </a:lnTo>
                  <a:lnTo>
                    <a:pt x="1020" y="120"/>
                  </a:lnTo>
                  <a:lnTo>
                    <a:pt x="1032" y="120"/>
                  </a:lnTo>
                  <a:lnTo>
                    <a:pt x="1038" y="120"/>
                  </a:lnTo>
                  <a:lnTo>
                    <a:pt x="1038" y="126"/>
                  </a:lnTo>
                  <a:lnTo>
                    <a:pt x="1044" y="132"/>
                  </a:lnTo>
                  <a:lnTo>
                    <a:pt x="1044" y="126"/>
                  </a:lnTo>
                  <a:lnTo>
                    <a:pt x="1050" y="120"/>
                  </a:lnTo>
                  <a:lnTo>
                    <a:pt x="1050" y="114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68" y="102"/>
                  </a:lnTo>
                  <a:lnTo>
                    <a:pt x="1074" y="96"/>
                  </a:lnTo>
                  <a:lnTo>
                    <a:pt x="1074" y="90"/>
                  </a:lnTo>
                  <a:lnTo>
                    <a:pt x="1068" y="90"/>
                  </a:lnTo>
                  <a:lnTo>
                    <a:pt x="1068" y="84"/>
                  </a:lnTo>
                  <a:lnTo>
                    <a:pt x="1080" y="84"/>
                  </a:lnTo>
                  <a:lnTo>
                    <a:pt x="1086" y="78"/>
                  </a:lnTo>
                  <a:lnTo>
                    <a:pt x="1086" y="72"/>
                  </a:lnTo>
                  <a:lnTo>
                    <a:pt x="1080" y="78"/>
                  </a:lnTo>
                  <a:lnTo>
                    <a:pt x="1080" y="72"/>
                  </a:lnTo>
                  <a:lnTo>
                    <a:pt x="1080" y="66"/>
                  </a:lnTo>
                  <a:lnTo>
                    <a:pt x="1074" y="66"/>
                  </a:lnTo>
                  <a:lnTo>
                    <a:pt x="1080" y="66"/>
                  </a:lnTo>
                  <a:lnTo>
                    <a:pt x="1080" y="60"/>
                  </a:lnTo>
                  <a:lnTo>
                    <a:pt x="1086" y="60"/>
                  </a:lnTo>
                  <a:lnTo>
                    <a:pt x="1086" y="54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2" y="42"/>
                  </a:lnTo>
                  <a:lnTo>
                    <a:pt x="1098" y="42"/>
                  </a:lnTo>
                  <a:lnTo>
                    <a:pt x="1104" y="36"/>
                  </a:lnTo>
                  <a:lnTo>
                    <a:pt x="1110" y="36"/>
                  </a:lnTo>
                  <a:lnTo>
                    <a:pt x="1110" y="30"/>
                  </a:lnTo>
                  <a:lnTo>
                    <a:pt x="1110" y="24"/>
                  </a:lnTo>
                  <a:lnTo>
                    <a:pt x="1116" y="24"/>
                  </a:lnTo>
                  <a:lnTo>
                    <a:pt x="1116" y="18"/>
                  </a:lnTo>
                  <a:lnTo>
                    <a:pt x="1122" y="18"/>
                  </a:lnTo>
                  <a:lnTo>
                    <a:pt x="1128" y="18"/>
                  </a:lnTo>
                  <a:lnTo>
                    <a:pt x="1134" y="12"/>
                  </a:lnTo>
                  <a:lnTo>
                    <a:pt x="1134" y="6"/>
                  </a:lnTo>
                  <a:lnTo>
                    <a:pt x="1140" y="6"/>
                  </a:lnTo>
                  <a:lnTo>
                    <a:pt x="1146" y="0"/>
                  </a:lnTo>
                  <a:lnTo>
                    <a:pt x="1152" y="0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70" y="0"/>
                  </a:lnTo>
                  <a:lnTo>
                    <a:pt x="1176" y="6"/>
                  </a:lnTo>
                  <a:lnTo>
                    <a:pt x="1182" y="6"/>
                  </a:lnTo>
                  <a:lnTo>
                    <a:pt x="1194" y="6"/>
                  </a:lnTo>
                  <a:lnTo>
                    <a:pt x="1200" y="6"/>
                  </a:lnTo>
                  <a:lnTo>
                    <a:pt x="1212" y="0"/>
                  </a:lnTo>
                  <a:lnTo>
                    <a:pt x="1212" y="6"/>
                  </a:lnTo>
                  <a:lnTo>
                    <a:pt x="1218" y="6"/>
                  </a:lnTo>
                  <a:lnTo>
                    <a:pt x="1266" y="6"/>
                  </a:lnTo>
                  <a:lnTo>
                    <a:pt x="1272" y="0"/>
                  </a:lnTo>
                  <a:lnTo>
                    <a:pt x="1278" y="6"/>
                  </a:lnTo>
                  <a:lnTo>
                    <a:pt x="1290" y="6"/>
                  </a:lnTo>
                  <a:lnTo>
                    <a:pt x="1296" y="6"/>
                  </a:lnTo>
                  <a:lnTo>
                    <a:pt x="1308" y="6"/>
                  </a:lnTo>
                  <a:lnTo>
                    <a:pt x="1314" y="6"/>
                  </a:lnTo>
                  <a:lnTo>
                    <a:pt x="1320" y="6"/>
                  </a:lnTo>
                  <a:lnTo>
                    <a:pt x="1326" y="12"/>
                  </a:lnTo>
                  <a:lnTo>
                    <a:pt x="1338" y="30"/>
                  </a:lnTo>
                  <a:lnTo>
                    <a:pt x="1344" y="36"/>
                  </a:lnTo>
                  <a:lnTo>
                    <a:pt x="1356" y="48"/>
                  </a:lnTo>
                  <a:lnTo>
                    <a:pt x="1362" y="60"/>
                  </a:lnTo>
                  <a:lnTo>
                    <a:pt x="1368" y="66"/>
                  </a:lnTo>
                  <a:lnTo>
                    <a:pt x="1374" y="72"/>
                  </a:lnTo>
                  <a:lnTo>
                    <a:pt x="1374" y="78"/>
                  </a:lnTo>
                  <a:lnTo>
                    <a:pt x="1398" y="108"/>
                  </a:lnTo>
                  <a:lnTo>
                    <a:pt x="1398" y="114"/>
                  </a:lnTo>
                  <a:lnTo>
                    <a:pt x="1404" y="114"/>
                  </a:lnTo>
                  <a:lnTo>
                    <a:pt x="1404" y="120"/>
                  </a:lnTo>
                  <a:lnTo>
                    <a:pt x="1410" y="132"/>
                  </a:lnTo>
                  <a:lnTo>
                    <a:pt x="1416" y="132"/>
                  </a:lnTo>
                  <a:lnTo>
                    <a:pt x="1416" y="138"/>
                  </a:lnTo>
                  <a:lnTo>
                    <a:pt x="1422" y="144"/>
                  </a:lnTo>
                  <a:lnTo>
                    <a:pt x="1428" y="150"/>
                  </a:lnTo>
                  <a:lnTo>
                    <a:pt x="1428" y="156"/>
                  </a:lnTo>
                  <a:lnTo>
                    <a:pt x="1458" y="192"/>
                  </a:lnTo>
                  <a:lnTo>
                    <a:pt x="1458" y="198"/>
                  </a:lnTo>
                  <a:lnTo>
                    <a:pt x="1464" y="204"/>
                  </a:lnTo>
                  <a:lnTo>
                    <a:pt x="1470" y="210"/>
                  </a:lnTo>
                  <a:lnTo>
                    <a:pt x="1476" y="216"/>
                  </a:lnTo>
                  <a:lnTo>
                    <a:pt x="1482" y="228"/>
                  </a:lnTo>
                  <a:lnTo>
                    <a:pt x="1488" y="234"/>
                  </a:lnTo>
                  <a:lnTo>
                    <a:pt x="1512" y="270"/>
                  </a:lnTo>
                  <a:lnTo>
                    <a:pt x="1512" y="276"/>
                  </a:lnTo>
                  <a:lnTo>
                    <a:pt x="1530" y="300"/>
                  </a:lnTo>
                  <a:lnTo>
                    <a:pt x="1536" y="306"/>
                  </a:lnTo>
                  <a:lnTo>
                    <a:pt x="1542" y="312"/>
                  </a:lnTo>
                  <a:lnTo>
                    <a:pt x="1542" y="318"/>
                  </a:lnTo>
                  <a:lnTo>
                    <a:pt x="1560" y="336"/>
                  </a:lnTo>
                  <a:lnTo>
                    <a:pt x="1566" y="348"/>
                  </a:lnTo>
                  <a:lnTo>
                    <a:pt x="1572" y="354"/>
                  </a:lnTo>
                  <a:lnTo>
                    <a:pt x="1578" y="360"/>
                  </a:lnTo>
                  <a:lnTo>
                    <a:pt x="1584" y="378"/>
                  </a:lnTo>
                  <a:lnTo>
                    <a:pt x="1590" y="378"/>
                  </a:lnTo>
                  <a:lnTo>
                    <a:pt x="1596" y="390"/>
                  </a:lnTo>
                  <a:lnTo>
                    <a:pt x="1602" y="396"/>
                  </a:lnTo>
                  <a:lnTo>
                    <a:pt x="1608" y="408"/>
                  </a:lnTo>
                  <a:lnTo>
                    <a:pt x="1614" y="408"/>
                  </a:lnTo>
                  <a:lnTo>
                    <a:pt x="1614" y="432"/>
                  </a:lnTo>
                  <a:lnTo>
                    <a:pt x="1620" y="438"/>
                  </a:lnTo>
                  <a:lnTo>
                    <a:pt x="1620" y="450"/>
                  </a:lnTo>
                  <a:lnTo>
                    <a:pt x="1620" y="462"/>
                  </a:lnTo>
                  <a:lnTo>
                    <a:pt x="1626" y="474"/>
                  </a:lnTo>
                  <a:lnTo>
                    <a:pt x="1626" y="480"/>
                  </a:lnTo>
                  <a:lnTo>
                    <a:pt x="1626" y="486"/>
                  </a:lnTo>
                  <a:lnTo>
                    <a:pt x="1632" y="522"/>
                  </a:lnTo>
                  <a:lnTo>
                    <a:pt x="1632" y="528"/>
                  </a:lnTo>
                  <a:lnTo>
                    <a:pt x="1632" y="534"/>
                  </a:lnTo>
                  <a:lnTo>
                    <a:pt x="1638" y="540"/>
                  </a:lnTo>
                  <a:lnTo>
                    <a:pt x="1638" y="558"/>
                  </a:lnTo>
                  <a:lnTo>
                    <a:pt x="1638" y="570"/>
                  </a:lnTo>
                  <a:lnTo>
                    <a:pt x="1644" y="582"/>
                  </a:lnTo>
                  <a:lnTo>
                    <a:pt x="1650" y="618"/>
                  </a:lnTo>
                  <a:lnTo>
                    <a:pt x="1650" y="624"/>
                  </a:lnTo>
                  <a:lnTo>
                    <a:pt x="1650" y="636"/>
                  </a:lnTo>
                  <a:lnTo>
                    <a:pt x="1656" y="642"/>
                  </a:lnTo>
                  <a:lnTo>
                    <a:pt x="1656" y="648"/>
                  </a:lnTo>
                  <a:lnTo>
                    <a:pt x="1656" y="654"/>
                  </a:lnTo>
                  <a:lnTo>
                    <a:pt x="1656" y="660"/>
                  </a:lnTo>
                  <a:lnTo>
                    <a:pt x="1662" y="696"/>
                  </a:lnTo>
                  <a:lnTo>
                    <a:pt x="1668" y="708"/>
                  </a:lnTo>
                  <a:lnTo>
                    <a:pt x="1668" y="714"/>
                  </a:lnTo>
                  <a:lnTo>
                    <a:pt x="1668" y="732"/>
                  </a:lnTo>
                  <a:lnTo>
                    <a:pt x="1668" y="744"/>
                  </a:lnTo>
                  <a:lnTo>
                    <a:pt x="1674" y="756"/>
                  </a:lnTo>
                  <a:lnTo>
                    <a:pt x="1680" y="762"/>
                  </a:lnTo>
                  <a:lnTo>
                    <a:pt x="1680" y="768"/>
                  </a:lnTo>
                  <a:lnTo>
                    <a:pt x="1680" y="774"/>
                  </a:lnTo>
                  <a:lnTo>
                    <a:pt x="1680" y="780"/>
                  </a:lnTo>
                  <a:lnTo>
                    <a:pt x="1674" y="786"/>
                  </a:lnTo>
                  <a:lnTo>
                    <a:pt x="1668" y="792"/>
                  </a:lnTo>
                  <a:lnTo>
                    <a:pt x="1668" y="798"/>
                  </a:lnTo>
                  <a:lnTo>
                    <a:pt x="1668" y="804"/>
                  </a:lnTo>
                  <a:lnTo>
                    <a:pt x="1674" y="804"/>
                  </a:lnTo>
                  <a:lnTo>
                    <a:pt x="1668" y="810"/>
                  </a:lnTo>
                  <a:lnTo>
                    <a:pt x="1674" y="810"/>
                  </a:lnTo>
                  <a:lnTo>
                    <a:pt x="1680" y="810"/>
                  </a:lnTo>
                  <a:lnTo>
                    <a:pt x="1680" y="816"/>
                  </a:lnTo>
                  <a:lnTo>
                    <a:pt x="1680" y="822"/>
                  </a:lnTo>
                  <a:lnTo>
                    <a:pt x="1674" y="822"/>
                  </a:lnTo>
                  <a:lnTo>
                    <a:pt x="1674" y="828"/>
                  </a:lnTo>
                  <a:lnTo>
                    <a:pt x="1668" y="828"/>
                  </a:lnTo>
                  <a:lnTo>
                    <a:pt x="1674" y="834"/>
                  </a:lnTo>
                  <a:lnTo>
                    <a:pt x="1668" y="834"/>
                  </a:lnTo>
                  <a:lnTo>
                    <a:pt x="1668" y="840"/>
                  </a:lnTo>
                  <a:lnTo>
                    <a:pt x="1674" y="840"/>
                  </a:lnTo>
                  <a:lnTo>
                    <a:pt x="1686" y="852"/>
                  </a:lnTo>
                  <a:lnTo>
                    <a:pt x="1692" y="858"/>
                  </a:lnTo>
                  <a:lnTo>
                    <a:pt x="1698" y="858"/>
                  </a:lnTo>
                  <a:lnTo>
                    <a:pt x="1698" y="864"/>
                  </a:lnTo>
                  <a:lnTo>
                    <a:pt x="1698" y="870"/>
                  </a:lnTo>
                  <a:lnTo>
                    <a:pt x="1704" y="864"/>
                  </a:lnTo>
                  <a:lnTo>
                    <a:pt x="1716" y="864"/>
                  </a:lnTo>
                  <a:lnTo>
                    <a:pt x="1722" y="864"/>
                  </a:lnTo>
                  <a:lnTo>
                    <a:pt x="1728" y="864"/>
                  </a:lnTo>
                  <a:lnTo>
                    <a:pt x="1734" y="864"/>
                  </a:lnTo>
                  <a:lnTo>
                    <a:pt x="1740" y="864"/>
                  </a:lnTo>
                  <a:lnTo>
                    <a:pt x="1746" y="876"/>
                  </a:lnTo>
                  <a:lnTo>
                    <a:pt x="1746" y="870"/>
                  </a:lnTo>
                  <a:lnTo>
                    <a:pt x="1740" y="864"/>
                  </a:lnTo>
                  <a:lnTo>
                    <a:pt x="1746" y="864"/>
                  </a:lnTo>
                  <a:lnTo>
                    <a:pt x="1752" y="870"/>
                  </a:lnTo>
                  <a:lnTo>
                    <a:pt x="1758" y="864"/>
                  </a:lnTo>
                  <a:lnTo>
                    <a:pt x="1764" y="864"/>
                  </a:lnTo>
                  <a:lnTo>
                    <a:pt x="1770" y="858"/>
                  </a:lnTo>
                  <a:lnTo>
                    <a:pt x="1782" y="864"/>
                  </a:lnTo>
                  <a:lnTo>
                    <a:pt x="1782" y="870"/>
                  </a:lnTo>
                  <a:lnTo>
                    <a:pt x="1788" y="864"/>
                  </a:lnTo>
                  <a:lnTo>
                    <a:pt x="1794" y="864"/>
                  </a:lnTo>
                  <a:lnTo>
                    <a:pt x="1800" y="870"/>
                  </a:lnTo>
                  <a:lnTo>
                    <a:pt x="1818" y="864"/>
                  </a:lnTo>
                  <a:lnTo>
                    <a:pt x="1824" y="870"/>
                  </a:lnTo>
                  <a:lnTo>
                    <a:pt x="1830" y="864"/>
                  </a:lnTo>
                  <a:lnTo>
                    <a:pt x="1836" y="864"/>
                  </a:lnTo>
                  <a:lnTo>
                    <a:pt x="1842" y="870"/>
                  </a:lnTo>
                  <a:lnTo>
                    <a:pt x="1842" y="876"/>
                  </a:lnTo>
                  <a:lnTo>
                    <a:pt x="1848" y="876"/>
                  </a:lnTo>
                  <a:lnTo>
                    <a:pt x="1848" y="870"/>
                  </a:lnTo>
                  <a:lnTo>
                    <a:pt x="1854" y="870"/>
                  </a:lnTo>
                  <a:lnTo>
                    <a:pt x="1860" y="870"/>
                  </a:lnTo>
                  <a:lnTo>
                    <a:pt x="1860" y="876"/>
                  </a:lnTo>
                  <a:lnTo>
                    <a:pt x="1866" y="876"/>
                  </a:lnTo>
                  <a:lnTo>
                    <a:pt x="1866" y="882"/>
                  </a:lnTo>
                  <a:lnTo>
                    <a:pt x="1872" y="882"/>
                  </a:lnTo>
                  <a:lnTo>
                    <a:pt x="1878" y="888"/>
                  </a:lnTo>
                  <a:lnTo>
                    <a:pt x="1890" y="888"/>
                  </a:lnTo>
                  <a:lnTo>
                    <a:pt x="1890" y="894"/>
                  </a:lnTo>
                  <a:lnTo>
                    <a:pt x="1890" y="900"/>
                  </a:lnTo>
                  <a:lnTo>
                    <a:pt x="1884" y="900"/>
                  </a:lnTo>
                  <a:lnTo>
                    <a:pt x="1884" y="906"/>
                  </a:lnTo>
                  <a:lnTo>
                    <a:pt x="1884" y="912"/>
                  </a:lnTo>
                  <a:lnTo>
                    <a:pt x="1890" y="912"/>
                  </a:lnTo>
                  <a:lnTo>
                    <a:pt x="1896" y="912"/>
                  </a:lnTo>
                  <a:lnTo>
                    <a:pt x="1902" y="912"/>
                  </a:lnTo>
                  <a:lnTo>
                    <a:pt x="1908" y="918"/>
                  </a:lnTo>
                  <a:lnTo>
                    <a:pt x="1908" y="924"/>
                  </a:lnTo>
                  <a:lnTo>
                    <a:pt x="1908" y="930"/>
                  </a:lnTo>
                  <a:lnTo>
                    <a:pt x="1908" y="936"/>
                  </a:lnTo>
                  <a:lnTo>
                    <a:pt x="1914" y="936"/>
                  </a:lnTo>
                  <a:lnTo>
                    <a:pt x="1914" y="942"/>
                  </a:lnTo>
                  <a:lnTo>
                    <a:pt x="1908" y="948"/>
                  </a:lnTo>
                  <a:lnTo>
                    <a:pt x="1914" y="948"/>
                  </a:lnTo>
                  <a:lnTo>
                    <a:pt x="1920" y="954"/>
                  </a:lnTo>
                  <a:lnTo>
                    <a:pt x="1926" y="954"/>
                  </a:lnTo>
                  <a:lnTo>
                    <a:pt x="1932" y="954"/>
                  </a:lnTo>
                  <a:lnTo>
                    <a:pt x="1938" y="954"/>
                  </a:lnTo>
                  <a:lnTo>
                    <a:pt x="1938" y="960"/>
                  </a:lnTo>
                  <a:lnTo>
                    <a:pt x="1944" y="966"/>
                  </a:lnTo>
                  <a:lnTo>
                    <a:pt x="1944" y="972"/>
                  </a:lnTo>
                  <a:lnTo>
                    <a:pt x="1944" y="978"/>
                  </a:lnTo>
                  <a:lnTo>
                    <a:pt x="1950" y="978"/>
                  </a:lnTo>
                  <a:lnTo>
                    <a:pt x="1950" y="984"/>
                  </a:lnTo>
                  <a:lnTo>
                    <a:pt x="1956" y="984"/>
                  </a:lnTo>
                  <a:lnTo>
                    <a:pt x="1962" y="984"/>
                  </a:lnTo>
                  <a:lnTo>
                    <a:pt x="1962" y="978"/>
                  </a:lnTo>
                  <a:lnTo>
                    <a:pt x="1968" y="978"/>
                  </a:lnTo>
                  <a:lnTo>
                    <a:pt x="1974" y="978"/>
                  </a:lnTo>
                  <a:lnTo>
                    <a:pt x="1980" y="972"/>
                  </a:lnTo>
                  <a:lnTo>
                    <a:pt x="1980" y="978"/>
                  </a:lnTo>
                  <a:lnTo>
                    <a:pt x="1980" y="984"/>
                  </a:lnTo>
                  <a:lnTo>
                    <a:pt x="1986" y="984"/>
                  </a:lnTo>
                  <a:lnTo>
                    <a:pt x="1992" y="990"/>
                  </a:lnTo>
                  <a:lnTo>
                    <a:pt x="1992" y="996"/>
                  </a:lnTo>
                  <a:lnTo>
                    <a:pt x="1992" y="1002"/>
                  </a:lnTo>
                  <a:lnTo>
                    <a:pt x="1974" y="1008"/>
                  </a:lnTo>
                  <a:lnTo>
                    <a:pt x="1974" y="1014"/>
                  </a:lnTo>
                  <a:lnTo>
                    <a:pt x="1974" y="1020"/>
                  </a:lnTo>
                  <a:lnTo>
                    <a:pt x="1974" y="1026"/>
                  </a:lnTo>
                  <a:lnTo>
                    <a:pt x="1968" y="1038"/>
                  </a:lnTo>
                  <a:lnTo>
                    <a:pt x="1968" y="1044"/>
                  </a:lnTo>
                  <a:lnTo>
                    <a:pt x="1974" y="1056"/>
                  </a:lnTo>
                  <a:lnTo>
                    <a:pt x="1968" y="1062"/>
                  </a:lnTo>
                  <a:lnTo>
                    <a:pt x="1962" y="1062"/>
                  </a:lnTo>
                  <a:lnTo>
                    <a:pt x="1956" y="1068"/>
                  </a:lnTo>
                  <a:lnTo>
                    <a:pt x="1956" y="1074"/>
                  </a:lnTo>
                  <a:lnTo>
                    <a:pt x="1956" y="1080"/>
                  </a:lnTo>
                  <a:lnTo>
                    <a:pt x="1956" y="1086"/>
                  </a:lnTo>
                  <a:lnTo>
                    <a:pt x="1956" y="1092"/>
                  </a:lnTo>
                  <a:lnTo>
                    <a:pt x="1962" y="1092"/>
                  </a:lnTo>
                  <a:lnTo>
                    <a:pt x="1962" y="1104"/>
                  </a:lnTo>
                  <a:lnTo>
                    <a:pt x="1968" y="1110"/>
                  </a:lnTo>
                  <a:lnTo>
                    <a:pt x="1968" y="1116"/>
                  </a:lnTo>
                  <a:lnTo>
                    <a:pt x="1974" y="1116"/>
                  </a:lnTo>
                  <a:lnTo>
                    <a:pt x="1974" y="1122"/>
                  </a:lnTo>
                  <a:lnTo>
                    <a:pt x="1980" y="1122"/>
                  </a:lnTo>
                  <a:lnTo>
                    <a:pt x="1974" y="1128"/>
                  </a:lnTo>
                  <a:lnTo>
                    <a:pt x="1968" y="1134"/>
                  </a:lnTo>
                  <a:lnTo>
                    <a:pt x="1962" y="1140"/>
                  </a:lnTo>
                  <a:lnTo>
                    <a:pt x="1962" y="1146"/>
                  </a:lnTo>
                  <a:lnTo>
                    <a:pt x="1968" y="1152"/>
                  </a:lnTo>
                  <a:lnTo>
                    <a:pt x="1968" y="1158"/>
                  </a:lnTo>
                  <a:lnTo>
                    <a:pt x="1962" y="1158"/>
                  </a:lnTo>
                  <a:lnTo>
                    <a:pt x="1962" y="1164"/>
                  </a:lnTo>
                  <a:lnTo>
                    <a:pt x="1956" y="1164"/>
                  </a:lnTo>
                  <a:lnTo>
                    <a:pt x="1956" y="1170"/>
                  </a:lnTo>
                  <a:lnTo>
                    <a:pt x="1944" y="1182"/>
                  </a:lnTo>
                  <a:lnTo>
                    <a:pt x="1944" y="1188"/>
                  </a:lnTo>
                  <a:lnTo>
                    <a:pt x="1950" y="1188"/>
                  </a:lnTo>
                  <a:lnTo>
                    <a:pt x="1944" y="1200"/>
                  </a:lnTo>
                  <a:lnTo>
                    <a:pt x="1944" y="1206"/>
                  </a:lnTo>
                  <a:lnTo>
                    <a:pt x="1944" y="1212"/>
                  </a:lnTo>
                  <a:lnTo>
                    <a:pt x="1944" y="1218"/>
                  </a:lnTo>
                  <a:lnTo>
                    <a:pt x="1944" y="1230"/>
                  </a:lnTo>
                  <a:lnTo>
                    <a:pt x="1944" y="1236"/>
                  </a:lnTo>
                  <a:lnTo>
                    <a:pt x="1944" y="1242"/>
                  </a:lnTo>
                  <a:lnTo>
                    <a:pt x="1938" y="1248"/>
                  </a:lnTo>
                  <a:lnTo>
                    <a:pt x="1938" y="1254"/>
                  </a:lnTo>
                  <a:lnTo>
                    <a:pt x="1932" y="1254"/>
                  </a:lnTo>
                  <a:lnTo>
                    <a:pt x="1926" y="1260"/>
                  </a:lnTo>
                  <a:lnTo>
                    <a:pt x="1920" y="1266"/>
                  </a:lnTo>
                  <a:lnTo>
                    <a:pt x="1914" y="1272"/>
                  </a:lnTo>
                  <a:lnTo>
                    <a:pt x="1908" y="1272"/>
                  </a:lnTo>
                  <a:lnTo>
                    <a:pt x="1908" y="1278"/>
                  </a:lnTo>
                  <a:lnTo>
                    <a:pt x="1914" y="1278"/>
                  </a:lnTo>
                  <a:lnTo>
                    <a:pt x="1914" y="1290"/>
                  </a:lnTo>
                  <a:lnTo>
                    <a:pt x="1920" y="1296"/>
                  </a:lnTo>
                  <a:lnTo>
                    <a:pt x="1938" y="1302"/>
                  </a:lnTo>
                  <a:lnTo>
                    <a:pt x="1944" y="1308"/>
                  </a:lnTo>
                  <a:lnTo>
                    <a:pt x="1950" y="1314"/>
                  </a:lnTo>
                  <a:lnTo>
                    <a:pt x="1956" y="1314"/>
                  </a:lnTo>
                  <a:lnTo>
                    <a:pt x="1962" y="1320"/>
                  </a:lnTo>
                  <a:lnTo>
                    <a:pt x="1962" y="1326"/>
                  </a:lnTo>
                  <a:lnTo>
                    <a:pt x="1968" y="1326"/>
                  </a:lnTo>
                  <a:lnTo>
                    <a:pt x="1968" y="1332"/>
                  </a:lnTo>
                  <a:lnTo>
                    <a:pt x="1968" y="1344"/>
                  </a:lnTo>
                  <a:lnTo>
                    <a:pt x="1968" y="1350"/>
                  </a:lnTo>
                  <a:lnTo>
                    <a:pt x="1968" y="1368"/>
                  </a:lnTo>
                  <a:lnTo>
                    <a:pt x="1962" y="1380"/>
                  </a:lnTo>
                  <a:lnTo>
                    <a:pt x="1968" y="1392"/>
                  </a:lnTo>
                  <a:lnTo>
                    <a:pt x="1962" y="1398"/>
                  </a:lnTo>
                  <a:lnTo>
                    <a:pt x="1956" y="1404"/>
                  </a:lnTo>
                  <a:lnTo>
                    <a:pt x="1950" y="1410"/>
                  </a:lnTo>
                  <a:lnTo>
                    <a:pt x="1944" y="1410"/>
                  </a:lnTo>
                  <a:lnTo>
                    <a:pt x="1932" y="1416"/>
                  </a:lnTo>
                  <a:lnTo>
                    <a:pt x="1926" y="1416"/>
                  </a:lnTo>
                  <a:lnTo>
                    <a:pt x="1896" y="1428"/>
                  </a:lnTo>
                  <a:lnTo>
                    <a:pt x="1884" y="1434"/>
                  </a:lnTo>
                  <a:lnTo>
                    <a:pt x="1878" y="1434"/>
                  </a:lnTo>
                  <a:lnTo>
                    <a:pt x="1866" y="1434"/>
                  </a:lnTo>
                  <a:lnTo>
                    <a:pt x="1854" y="1440"/>
                  </a:lnTo>
                  <a:lnTo>
                    <a:pt x="1848" y="1440"/>
                  </a:lnTo>
                  <a:lnTo>
                    <a:pt x="1842" y="1446"/>
                  </a:lnTo>
                  <a:lnTo>
                    <a:pt x="1842" y="1458"/>
                  </a:lnTo>
                  <a:lnTo>
                    <a:pt x="1836" y="1470"/>
                  </a:lnTo>
                  <a:lnTo>
                    <a:pt x="1830" y="1476"/>
                  </a:lnTo>
                  <a:lnTo>
                    <a:pt x="1824" y="1476"/>
                  </a:lnTo>
                  <a:lnTo>
                    <a:pt x="1806" y="1482"/>
                  </a:lnTo>
                  <a:lnTo>
                    <a:pt x="1800" y="1488"/>
                  </a:lnTo>
                  <a:lnTo>
                    <a:pt x="1794" y="1488"/>
                  </a:lnTo>
                  <a:lnTo>
                    <a:pt x="1788" y="1488"/>
                  </a:lnTo>
                  <a:lnTo>
                    <a:pt x="1776" y="1494"/>
                  </a:lnTo>
                  <a:lnTo>
                    <a:pt x="1764" y="1494"/>
                  </a:lnTo>
                  <a:lnTo>
                    <a:pt x="1758" y="1500"/>
                  </a:lnTo>
                  <a:lnTo>
                    <a:pt x="1746" y="1506"/>
                  </a:lnTo>
                  <a:lnTo>
                    <a:pt x="1728" y="1518"/>
                  </a:lnTo>
                  <a:lnTo>
                    <a:pt x="1716" y="1524"/>
                  </a:lnTo>
                  <a:lnTo>
                    <a:pt x="1710" y="1530"/>
                  </a:lnTo>
                  <a:lnTo>
                    <a:pt x="1704" y="1536"/>
                  </a:lnTo>
                  <a:lnTo>
                    <a:pt x="1698" y="1542"/>
                  </a:lnTo>
                  <a:lnTo>
                    <a:pt x="1692" y="1554"/>
                  </a:lnTo>
                  <a:lnTo>
                    <a:pt x="1686" y="1560"/>
                  </a:lnTo>
                  <a:lnTo>
                    <a:pt x="1680" y="1560"/>
                  </a:lnTo>
                  <a:lnTo>
                    <a:pt x="1674" y="1560"/>
                  </a:lnTo>
                  <a:lnTo>
                    <a:pt x="1656" y="1572"/>
                  </a:lnTo>
                  <a:lnTo>
                    <a:pt x="1650" y="1572"/>
                  </a:lnTo>
                  <a:lnTo>
                    <a:pt x="1644" y="1572"/>
                  </a:lnTo>
                  <a:lnTo>
                    <a:pt x="1638" y="1578"/>
                  </a:lnTo>
                  <a:lnTo>
                    <a:pt x="1632" y="1578"/>
                  </a:lnTo>
                  <a:lnTo>
                    <a:pt x="1626" y="1578"/>
                  </a:lnTo>
                  <a:lnTo>
                    <a:pt x="1620" y="1572"/>
                  </a:lnTo>
                  <a:lnTo>
                    <a:pt x="1614" y="1572"/>
                  </a:lnTo>
                  <a:lnTo>
                    <a:pt x="1608" y="1566"/>
                  </a:lnTo>
                  <a:lnTo>
                    <a:pt x="1602" y="1560"/>
                  </a:lnTo>
                  <a:lnTo>
                    <a:pt x="1596" y="1554"/>
                  </a:lnTo>
                  <a:lnTo>
                    <a:pt x="1590" y="1548"/>
                  </a:lnTo>
                  <a:lnTo>
                    <a:pt x="1578" y="1548"/>
                  </a:lnTo>
                  <a:lnTo>
                    <a:pt x="1572" y="1548"/>
                  </a:lnTo>
                  <a:lnTo>
                    <a:pt x="1566" y="1548"/>
                  </a:lnTo>
                  <a:lnTo>
                    <a:pt x="1554" y="1536"/>
                  </a:lnTo>
                  <a:lnTo>
                    <a:pt x="1548" y="1536"/>
                  </a:lnTo>
                  <a:lnTo>
                    <a:pt x="1542" y="1542"/>
                  </a:lnTo>
                  <a:lnTo>
                    <a:pt x="1536" y="1548"/>
                  </a:lnTo>
                  <a:lnTo>
                    <a:pt x="1536" y="1566"/>
                  </a:lnTo>
                  <a:lnTo>
                    <a:pt x="1530" y="1572"/>
                  </a:lnTo>
                  <a:lnTo>
                    <a:pt x="1524" y="1578"/>
                  </a:lnTo>
                  <a:lnTo>
                    <a:pt x="1518" y="1584"/>
                  </a:lnTo>
                  <a:lnTo>
                    <a:pt x="1512" y="1596"/>
                  </a:lnTo>
                  <a:lnTo>
                    <a:pt x="1506" y="1602"/>
                  </a:lnTo>
                  <a:lnTo>
                    <a:pt x="1506" y="1608"/>
                  </a:lnTo>
                  <a:lnTo>
                    <a:pt x="1506" y="1614"/>
                  </a:lnTo>
                  <a:lnTo>
                    <a:pt x="1500" y="1614"/>
                  </a:lnTo>
                  <a:lnTo>
                    <a:pt x="1500" y="1620"/>
                  </a:lnTo>
                  <a:lnTo>
                    <a:pt x="1500" y="1626"/>
                  </a:lnTo>
                  <a:lnTo>
                    <a:pt x="1494" y="1632"/>
                  </a:lnTo>
                  <a:lnTo>
                    <a:pt x="1488" y="1638"/>
                  </a:lnTo>
                  <a:lnTo>
                    <a:pt x="1482" y="1638"/>
                  </a:lnTo>
                  <a:lnTo>
                    <a:pt x="1482" y="1644"/>
                  </a:lnTo>
                  <a:lnTo>
                    <a:pt x="1482" y="1650"/>
                  </a:lnTo>
                  <a:lnTo>
                    <a:pt x="1482" y="1656"/>
                  </a:lnTo>
                  <a:lnTo>
                    <a:pt x="1476" y="1662"/>
                  </a:lnTo>
                  <a:lnTo>
                    <a:pt x="1470" y="1668"/>
                  </a:lnTo>
                  <a:lnTo>
                    <a:pt x="1464" y="1674"/>
                  </a:lnTo>
                  <a:lnTo>
                    <a:pt x="1464" y="1680"/>
                  </a:lnTo>
                  <a:lnTo>
                    <a:pt x="1458" y="1680"/>
                  </a:lnTo>
                  <a:lnTo>
                    <a:pt x="1452" y="1686"/>
                  </a:lnTo>
                  <a:lnTo>
                    <a:pt x="1446" y="1686"/>
                  </a:lnTo>
                  <a:lnTo>
                    <a:pt x="1440" y="1698"/>
                  </a:lnTo>
                  <a:lnTo>
                    <a:pt x="1440" y="1704"/>
                  </a:lnTo>
                  <a:lnTo>
                    <a:pt x="1434" y="1710"/>
                  </a:lnTo>
                  <a:lnTo>
                    <a:pt x="1434" y="1716"/>
                  </a:lnTo>
                  <a:lnTo>
                    <a:pt x="1428" y="1716"/>
                  </a:lnTo>
                  <a:lnTo>
                    <a:pt x="1428" y="1722"/>
                  </a:lnTo>
                  <a:lnTo>
                    <a:pt x="1428" y="1728"/>
                  </a:lnTo>
                  <a:lnTo>
                    <a:pt x="1422" y="1728"/>
                  </a:lnTo>
                  <a:lnTo>
                    <a:pt x="1422" y="1734"/>
                  </a:lnTo>
                  <a:lnTo>
                    <a:pt x="1416" y="1734"/>
                  </a:lnTo>
                  <a:lnTo>
                    <a:pt x="1410" y="1734"/>
                  </a:lnTo>
                  <a:lnTo>
                    <a:pt x="1392" y="1746"/>
                  </a:lnTo>
                  <a:lnTo>
                    <a:pt x="1386" y="1746"/>
                  </a:lnTo>
                  <a:lnTo>
                    <a:pt x="1368" y="1752"/>
                  </a:lnTo>
                  <a:lnTo>
                    <a:pt x="1362" y="1758"/>
                  </a:lnTo>
                  <a:lnTo>
                    <a:pt x="1362" y="1770"/>
                  </a:lnTo>
                  <a:lnTo>
                    <a:pt x="1356" y="178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</p:grpSp>
      <p:graphicFrame>
        <p:nvGraphicFramePr>
          <p:cNvPr id="357" name="Group 76">
            <a:extLst>
              <a:ext uri="{FF2B5EF4-FFF2-40B4-BE49-F238E27FC236}">
                <a16:creationId xmlns:a16="http://schemas.microsoft.com/office/drawing/2014/main" id="{57830D68-CF73-4A3E-9D36-141B03AADB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658455"/>
              </p:ext>
            </p:extLst>
          </p:nvPr>
        </p:nvGraphicFramePr>
        <p:xfrm>
          <a:off x="541338" y="3402013"/>
          <a:ext cx="3735387" cy="1827306"/>
        </p:xfrm>
        <a:graphic>
          <a:graphicData uri="http://schemas.openxmlformats.org/drawingml/2006/table">
            <a:tbl>
              <a:tblPr/>
              <a:tblGrid>
                <a:gridCol w="1316931">
                  <a:extLst>
                    <a:ext uri="{9D8B030D-6E8A-4147-A177-3AD203B41FA5}">
                      <a16:colId xmlns:a16="http://schemas.microsoft.com/office/drawing/2014/main" val="2027704273"/>
                    </a:ext>
                  </a:extLst>
                </a:gridCol>
                <a:gridCol w="603796">
                  <a:extLst>
                    <a:ext uri="{9D8B030D-6E8A-4147-A177-3AD203B41FA5}">
                      <a16:colId xmlns:a16="http://schemas.microsoft.com/office/drawing/2014/main" val="3432768286"/>
                    </a:ext>
                  </a:extLst>
                </a:gridCol>
                <a:gridCol w="744015">
                  <a:extLst>
                    <a:ext uri="{9D8B030D-6E8A-4147-A177-3AD203B41FA5}">
                      <a16:colId xmlns:a16="http://schemas.microsoft.com/office/drawing/2014/main" val="3730294207"/>
                    </a:ext>
                  </a:extLst>
                </a:gridCol>
                <a:gridCol w="1070645">
                  <a:extLst>
                    <a:ext uri="{9D8B030D-6E8A-4147-A177-3AD203B41FA5}">
                      <a16:colId xmlns:a16="http://schemas.microsoft.com/office/drawing/2014/main" val="2258321117"/>
                    </a:ext>
                  </a:extLst>
                </a:gridCol>
              </a:tblGrid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apital</a:t>
                      </a:r>
                      <a:endParaRPr kumimoji="0" lang="en-SG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292929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SG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Awka</a:t>
                      </a:r>
                      <a:endParaRPr kumimoji="0" lang="en-SG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703009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nd Are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4,865 km</a:t>
                      </a:r>
                      <a:r>
                        <a:rPr kumimoji="0" lang="en-US" altLang="en-US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6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603614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Population (2017E)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5,506,577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13 of 37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505851"/>
                  </a:ext>
                </a:extLst>
              </a:tr>
              <a:tr h="203024">
                <a:tc row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Dem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0-14: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,958,048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6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130093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5-64: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3,329,740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61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387564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65+: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   219,058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[3%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38801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bour force 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3,100,597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7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797882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limate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ropical </a:t>
                      </a:r>
                      <a:r>
                        <a:rPr kumimoji="0" lang="en-MY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savanna</a:t>
                      </a:r>
                      <a:endParaRPr kumimoji="0" lang="en-MY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3942226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op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Rock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32899"/>
                  </a:ext>
                </a:extLst>
              </a:tr>
            </a:tbl>
          </a:graphicData>
        </a:graphic>
      </p:graphicFrame>
      <p:pic>
        <p:nvPicPr>
          <p:cNvPr id="23609" name="Picture 13">
            <a:extLst>
              <a:ext uri="{FF2B5EF4-FFF2-40B4-BE49-F238E27FC236}">
                <a16:creationId xmlns:a16="http://schemas.microsoft.com/office/drawing/2014/main" id="{952964D5-F0ED-4CAE-B71C-DB4A723FA5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0" y="3006725"/>
            <a:ext cx="1116013" cy="155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9" name="TextBox 378">
            <a:extLst>
              <a:ext uri="{FF2B5EF4-FFF2-40B4-BE49-F238E27FC236}">
                <a16:creationId xmlns:a16="http://schemas.microsoft.com/office/drawing/2014/main" id="{1B3FD4BF-4685-4C74-821F-10048D6246BF}"/>
              </a:ext>
            </a:extLst>
          </p:cNvPr>
          <p:cNvSpPr txBox="1"/>
          <p:nvPr/>
        </p:nvSpPr>
        <p:spPr>
          <a:xfrm>
            <a:off x="6124575" y="957263"/>
            <a:ext cx="3475038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mpetitive Advantages</a:t>
            </a: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455FE7A1-ADE5-4F7B-A489-00196671A53E}"/>
              </a:ext>
            </a:extLst>
          </p:cNvPr>
          <p:cNvSpPr/>
          <p:nvPr/>
        </p:nvSpPr>
        <p:spPr>
          <a:xfrm>
            <a:off x="4267248" y="1187511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17.4bn/$569.9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EBB25788-D073-4A78-9D6C-DF3836CFFFBB}"/>
              </a:ext>
            </a:extLst>
          </p:cNvPr>
          <p:cNvSpPr txBox="1"/>
          <p:nvPr/>
        </p:nvSpPr>
        <p:spPr>
          <a:xfrm>
            <a:off x="4267200" y="955675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GR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6F07DF39-553B-44F0-8864-1F897C2BD79A}"/>
              </a:ext>
            </a:extLst>
          </p:cNvPr>
          <p:cNvSpPr/>
          <p:nvPr/>
        </p:nvSpPr>
        <p:spPr>
          <a:xfrm>
            <a:off x="4267252" y="1809750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170.9bn/$560.3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2508695A-2D2C-45A3-80FE-9C2CB18200C2}"/>
              </a:ext>
            </a:extLst>
          </p:cNvPr>
          <p:cNvSpPr txBox="1"/>
          <p:nvPr/>
        </p:nvSpPr>
        <p:spPr>
          <a:xfrm>
            <a:off x="4267200" y="1576388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Budget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8)</a:t>
            </a: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86A33ABE-3AE3-40A7-A6A6-1B757A6A9B0F}"/>
              </a:ext>
            </a:extLst>
          </p:cNvPr>
          <p:cNvSpPr/>
          <p:nvPr/>
        </p:nvSpPr>
        <p:spPr>
          <a:xfrm>
            <a:off x="4256076" y="2667155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1.9tn /$6.2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1E919764-A18B-4532-A533-A84A31D7FEFE}"/>
              </a:ext>
            </a:extLst>
          </p:cNvPr>
          <p:cNvSpPr txBox="1"/>
          <p:nvPr/>
        </p:nvSpPr>
        <p:spPr>
          <a:xfrm>
            <a:off x="4256088" y="2185988"/>
            <a:ext cx="1811337" cy="50641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Household </a:t>
            </a:r>
          </a:p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nsumption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96" name="Plaque 95">
            <a:extLst>
              <a:ext uri="{FF2B5EF4-FFF2-40B4-BE49-F238E27FC236}">
                <a16:creationId xmlns:a16="http://schemas.microsoft.com/office/drawing/2014/main" id="{E3BE1182-17B4-4194-8641-F1EA2CCBB757}"/>
              </a:ext>
            </a:extLst>
          </p:cNvPr>
          <p:cNvSpPr/>
          <p:nvPr/>
        </p:nvSpPr>
        <p:spPr>
          <a:xfrm>
            <a:off x="5615159" y="2805162"/>
            <a:ext cx="452266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2 of 36</a:t>
            </a:r>
          </a:p>
        </p:txBody>
      </p:sp>
      <p:sp>
        <p:nvSpPr>
          <p:cNvPr id="99" name="Plaque 98">
            <a:extLst>
              <a:ext uri="{FF2B5EF4-FFF2-40B4-BE49-F238E27FC236}">
                <a16:creationId xmlns:a16="http://schemas.microsoft.com/office/drawing/2014/main" id="{8620E393-1C52-4CE1-9888-20922FA6DFEA}"/>
              </a:ext>
            </a:extLst>
          </p:cNvPr>
          <p:cNvSpPr/>
          <p:nvPr/>
        </p:nvSpPr>
        <p:spPr>
          <a:xfrm>
            <a:off x="5638800" y="1951087"/>
            <a:ext cx="428625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1 of 36</a:t>
            </a:r>
          </a:p>
        </p:txBody>
      </p:sp>
      <p:sp>
        <p:nvSpPr>
          <p:cNvPr id="100" name="Plaque 99">
            <a:extLst>
              <a:ext uri="{FF2B5EF4-FFF2-40B4-BE49-F238E27FC236}">
                <a16:creationId xmlns:a16="http://schemas.microsoft.com/office/drawing/2014/main" id="{3BFA6D28-9A42-4459-8BF1-090CE1B45216}"/>
              </a:ext>
            </a:extLst>
          </p:cNvPr>
          <p:cNvSpPr/>
          <p:nvPr/>
        </p:nvSpPr>
        <p:spPr>
          <a:xfrm>
            <a:off x="5638800" y="1333500"/>
            <a:ext cx="430213" cy="1539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latin typeface="Calibri" panose="020F0502020204030204" pitchFamily="34" charset="0"/>
                <a:cs typeface="Calibri" panose="020F0502020204030204" pitchFamily="34" charset="0"/>
              </a:rPr>
              <a:t>12 of 36</a:t>
            </a:r>
          </a:p>
        </p:txBody>
      </p:sp>
      <p:sp>
        <p:nvSpPr>
          <p:cNvPr id="101" name="Pentagon 19">
            <a:extLst>
              <a:ext uri="{FF2B5EF4-FFF2-40B4-BE49-F238E27FC236}">
                <a16:creationId xmlns:a16="http://schemas.microsoft.com/office/drawing/2014/main" id="{CCD74FA4-19D0-4356-90C9-B3B49BCC3F54}"/>
              </a:ext>
            </a:extLst>
          </p:cNvPr>
          <p:cNvSpPr>
            <a:spLocks/>
          </p:cNvSpPr>
          <p:nvPr/>
        </p:nvSpPr>
        <p:spPr bwMode="auto">
          <a:xfrm>
            <a:off x="688340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9 of 37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12EE735-1E43-4799-A46A-5D0787F375CE}"/>
              </a:ext>
            </a:extLst>
          </p:cNvPr>
          <p:cNvSpPr/>
          <p:nvPr/>
        </p:nvSpPr>
        <p:spPr>
          <a:xfrm>
            <a:off x="6880225" y="5726113"/>
            <a:ext cx="642938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Starting a Business</a:t>
            </a:r>
          </a:p>
        </p:txBody>
      </p:sp>
      <p:pic>
        <p:nvPicPr>
          <p:cNvPr id="23622" name="Picture 3">
            <a:extLst>
              <a:ext uri="{FF2B5EF4-FFF2-40B4-BE49-F238E27FC236}">
                <a16:creationId xmlns:a16="http://schemas.microsoft.com/office/drawing/2014/main" id="{53FAD0C6-8FFE-437B-B7E4-F2A938D3BE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350" y="5249863"/>
            <a:ext cx="41910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23" name="Freeform 15">
            <a:extLst>
              <a:ext uri="{FF2B5EF4-FFF2-40B4-BE49-F238E27FC236}">
                <a16:creationId xmlns:a16="http://schemas.microsoft.com/office/drawing/2014/main" id="{183A3C8B-011E-4D99-9165-3FF03A2D3207}"/>
              </a:ext>
            </a:extLst>
          </p:cNvPr>
          <p:cNvSpPr>
            <a:spLocks noEditPoints="1"/>
          </p:cNvSpPr>
          <p:nvPr/>
        </p:nvSpPr>
        <p:spPr bwMode="auto">
          <a:xfrm>
            <a:off x="9093200" y="5257800"/>
            <a:ext cx="276225" cy="347663"/>
          </a:xfrm>
          <a:custGeom>
            <a:avLst/>
            <a:gdLst>
              <a:gd name="T0" fmla="*/ 2147483646 w 3556"/>
              <a:gd name="T1" fmla="*/ 2147483646 h 3950"/>
              <a:gd name="T2" fmla="*/ 2147483646 w 3556"/>
              <a:gd name="T3" fmla="*/ 2147483646 h 3950"/>
              <a:gd name="T4" fmla="*/ 2147483646 w 3556"/>
              <a:gd name="T5" fmla="*/ 2147483646 h 3950"/>
              <a:gd name="T6" fmla="*/ 2147483646 w 3556"/>
              <a:gd name="T7" fmla="*/ 2147483646 h 3950"/>
              <a:gd name="T8" fmla="*/ 2147483646 w 3556"/>
              <a:gd name="T9" fmla="*/ 2147483646 h 3950"/>
              <a:gd name="T10" fmla="*/ 2147483646 w 3556"/>
              <a:gd name="T11" fmla="*/ 2147483646 h 3950"/>
              <a:gd name="T12" fmla="*/ 2147483646 w 3556"/>
              <a:gd name="T13" fmla="*/ 2147483646 h 3950"/>
              <a:gd name="T14" fmla="*/ 2147483646 w 3556"/>
              <a:gd name="T15" fmla="*/ 2147483646 h 3950"/>
              <a:gd name="T16" fmla="*/ 2147483646 w 3556"/>
              <a:gd name="T17" fmla="*/ 2147483646 h 3950"/>
              <a:gd name="T18" fmla="*/ 2147483646 w 3556"/>
              <a:gd name="T19" fmla="*/ 2147483646 h 3950"/>
              <a:gd name="T20" fmla="*/ 2147483646 w 3556"/>
              <a:gd name="T21" fmla="*/ 2147483646 h 3950"/>
              <a:gd name="T22" fmla="*/ 0 w 3556"/>
              <a:gd name="T23" fmla="*/ 2147483646 h 3950"/>
              <a:gd name="T24" fmla="*/ 2147483646 w 3556"/>
              <a:gd name="T25" fmla="*/ 2147483646 h 3950"/>
              <a:gd name="T26" fmla="*/ 2147483646 w 3556"/>
              <a:gd name="T27" fmla="*/ 2147483646 h 3950"/>
              <a:gd name="T28" fmla="*/ 2147483646 w 3556"/>
              <a:gd name="T29" fmla="*/ 2147483646 h 3950"/>
              <a:gd name="T30" fmla="*/ 2147483646 w 3556"/>
              <a:gd name="T31" fmla="*/ 2147483646 h 3950"/>
              <a:gd name="T32" fmla="*/ 2147483646 w 3556"/>
              <a:gd name="T33" fmla="*/ 2147483646 h 3950"/>
              <a:gd name="T34" fmla="*/ 2147483646 w 3556"/>
              <a:gd name="T35" fmla="*/ 2147483646 h 3950"/>
              <a:gd name="T36" fmla="*/ 2147483646 w 3556"/>
              <a:gd name="T37" fmla="*/ 2147483646 h 3950"/>
              <a:gd name="T38" fmla="*/ 2147483646 w 3556"/>
              <a:gd name="T39" fmla="*/ 2147483646 h 3950"/>
              <a:gd name="T40" fmla="*/ 2147483646 w 3556"/>
              <a:gd name="T41" fmla="*/ 2147483646 h 3950"/>
              <a:gd name="T42" fmla="*/ 2147483646 w 3556"/>
              <a:gd name="T43" fmla="*/ 2147483646 h 3950"/>
              <a:gd name="T44" fmla="*/ 2147483646 w 3556"/>
              <a:gd name="T45" fmla="*/ 2147483646 h 3950"/>
              <a:gd name="T46" fmla="*/ 2147483646 w 3556"/>
              <a:gd name="T47" fmla="*/ 2147483646 h 3950"/>
              <a:gd name="T48" fmla="*/ 2147483646 w 3556"/>
              <a:gd name="T49" fmla="*/ 2147483646 h 3950"/>
              <a:gd name="T50" fmla="*/ 2147483646 w 3556"/>
              <a:gd name="T51" fmla="*/ 2147483646 h 3950"/>
              <a:gd name="T52" fmla="*/ 2147483646 w 3556"/>
              <a:gd name="T53" fmla="*/ 2147483646 h 3950"/>
              <a:gd name="T54" fmla="*/ 2147483646 w 3556"/>
              <a:gd name="T55" fmla="*/ 2147483646 h 3950"/>
              <a:gd name="T56" fmla="*/ 2147483646 w 3556"/>
              <a:gd name="T57" fmla="*/ 2147483646 h 3950"/>
              <a:gd name="T58" fmla="*/ 2147483646 w 3556"/>
              <a:gd name="T59" fmla="*/ 2147483646 h 3950"/>
              <a:gd name="T60" fmla="*/ 2147483646 w 3556"/>
              <a:gd name="T61" fmla="*/ 2147483646 h 3950"/>
              <a:gd name="T62" fmla="*/ 2147483646 w 3556"/>
              <a:gd name="T63" fmla="*/ 2147483646 h 3950"/>
              <a:gd name="T64" fmla="*/ 2147483646 w 3556"/>
              <a:gd name="T65" fmla="*/ 2147483646 h 3950"/>
              <a:gd name="T66" fmla="*/ 2147483646 w 3556"/>
              <a:gd name="T67" fmla="*/ 2147483646 h 3950"/>
              <a:gd name="T68" fmla="*/ 2147483646 w 3556"/>
              <a:gd name="T69" fmla="*/ 2147483646 h 3950"/>
              <a:gd name="T70" fmla="*/ 2147483646 w 3556"/>
              <a:gd name="T71" fmla="*/ 2147483646 h 3950"/>
              <a:gd name="T72" fmla="*/ 2147483646 w 3556"/>
              <a:gd name="T73" fmla="*/ 2147483646 h 3950"/>
              <a:gd name="T74" fmla="*/ 2147483646 w 3556"/>
              <a:gd name="T75" fmla="*/ 2147483646 h 3950"/>
              <a:gd name="T76" fmla="*/ 2147483646 w 3556"/>
              <a:gd name="T77" fmla="*/ 2147483646 h 3950"/>
              <a:gd name="T78" fmla="*/ 2147483646 w 3556"/>
              <a:gd name="T79" fmla="*/ 2147483646 h 3950"/>
              <a:gd name="T80" fmla="*/ 2147483646 w 3556"/>
              <a:gd name="T81" fmla="*/ 0 h 3950"/>
              <a:gd name="T82" fmla="*/ 2147483646 w 3556"/>
              <a:gd name="T83" fmla="*/ 2147483646 h 3950"/>
              <a:gd name="T84" fmla="*/ 2147483646 w 3556"/>
              <a:gd name="T85" fmla="*/ 2147483646 h 3950"/>
              <a:gd name="T86" fmla="*/ 2147483646 w 3556"/>
              <a:gd name="T87" fmla="*/ 2147483646 h 395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556"/>
              <a:gd name="T133" fmla="*/ 0 h 3950"/>
              <a:gd name="T134" fmla="*/ 3556 w 3556"/>
              <a:gd name="T135" fmla="*/ 3950 h 395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556" h="3950">
                <a:moveTo>
                  <a:pt x="909" y="3917"/>
                </a:moveTo>
                <a:cubicBezTo>
                  <a:pt x="824" y="3832"/>
                  <a:pt x="894" y="3725"/>
                  <a:pt x="1036" y="3725"/>
                </a:cubicBezTo>
                <a:cubicBezTo>
                  <a:pt x="1119" y="3725"/>
                  <a:pt x="1129" y="3717"/>
                  <a:pt x="1129" y="3645"/>
                </a:cubicBezTo>
                <a:cubicBezTo>
                  <a:pt x="1129" y="3472"/>
                  <a:pt x="1135" y="3471"/>
                  <a:pt x="2192" y="3471"/>
                </a:cubicBezTo>
                <a:cubicBezTo>
                  <a:pt x="3086" y="3471"/>
                  <a:pt x="3155" y="3475"/>
                  <a:pt x="3199" y="3523"/>
                </a:cubicBezTo>
                <a:cubicBezTo>
                  <a:pt x="3225" y="3551"/>
                  <a:pt x="3246" y="3608"/>
                  <a:pt x="3246" y="3648"/>
                </a:cubicBezTo>
                <a:cubicBezTo>
                  <a:pt x="3246" y="3712"/>
                  <a:pt x="3259" y="3723"/>
                  <a:pt x="3349" y="3730"/>
                </a:cubicBezTo>
                <a:cubicBezTo>
                  <a:pt x="3470" y="3741"/>
                  <a:pt x="3530" y="3811"/>
                  <a:pt x="3482" y="3887"/>
                </a:cubicBezTo>
                <a:cubicBezTo>
                  <a:pt x="3453" y="3933"/>
                  <a:pt x="3356" y="3937"/>
                  <a:pt x="2197" y="3944"/>
                </a:cubicBezTo>
                <a:cubicBezTo>
                  <a:pt x="1245" y="3950"/>
                  <a:pt x="935" y="3943"/>
                  <a:pt x="909" y="3917"/>
                </a:cubicBezTo>
                <a:close/>
                <a:moveTo>
                  <a:pt x="87" y="3370"/>
                </a:moveTo>
                <a:cubicBezTo>
                  <a:pt x="24" y="3317"/>
                  <a:pt x="0" y="3272"/>
                  <a:pt x="0" y="3209"/>
                </a:cubicBezTo>
                <a:cubicBezTo>
                  <a:pt x="0" y="3132"/>
                  <a:pt x="86" y="3035"/>
                  <a:pt x="705" y="2414"/>
                </a:cubicBezTo>
                <a:lnTo>
                  <a:pt x="1411" y="1706"/>
                </a:lnTo>
                <a:lnTo>
                  <a:pt x="1235" y="1530"/>
                </a:lnTo>
                <a:lnTo>
                  <a:pt x="1059" y="1355"/>
                </a:lnTo>
                <a:lnTo>
                  <a:pt x="1510" y="903"/>
                </a:lnTo>
                <a:lnTo>
                  <a:pt x="1960" y="452"/>
                </a:lnTo>
                <a:lnTo>
                  <a:pt x="2135" y="624"/>
                </a:lnTo>
                <a:cubicBezTo>
                  <a:pt x="2305" y="793"/>
                  <a:pt x="2310" y="796"/>
                  <a:pt x="2374" y="751"/>
                </a:cubicBezTo>
                <a:cubicBezTo>
                  <a:pt x="2469" y="685"/>
                  <a:pt x="2547" y="695"/>
                  <a:pt x="2633" y="785"/>
                </a:cubicBezTo>
                <a:cubicBezTo>
                  <a:pt x="2720" y="875"/>
                  <a:pt x="2731" y="974"/>
                  <a:pt x="2662" y="1050"/>
                </a:cubicBezTo>
                <a:cubicBezTo>
                  <a:pt x="2616" y="1100"/>
                  <a:pt x="2624" y="1112"/>
                  <a:pt x="2823" y="1313"/>
                </a:cubicBezTo>
                <a:lnTo>
                  <a:pt x="3033" y="1524"/>
                </a:lnTo>
                <a:lnTo>
                  <a:pt x="2582" y="1975"/>
                </a:lnTo>
                <a:lnTo>
                  <a:pt x="2132" y="2427"/>
                </a:lnTo>
                <a:lnTo>
                  <a:pt x="1933" y="2229"/>
                </a:lnTo>
                <a:cubicBezTo>
                  <a:pt x="1824" y="2121"/>
                  <a:pt x="1722" y="2032"/>
                  <a:pt x="1707" y="2032"/>
                </a:cubicBezTo>
                <a:cubicBezTo>
                  <a:pt x="1693" y="2032"/>
                  <a:pt x="1362" y="2349"/>
                  <a:pt x="973" y="2737"/>
                </a:cubicBezTo>
                <a:cubicBezTo>
                  <a:pt x="584" y="3125"/>
                  <a:pt x="245" y="3443"/>
                  <a:pt x="220" y="3443"/>
                </a:cubicBezTo>
                <a:cubicBezTo>
                  <a:pt x="194" y="3443"/>
                  <a:pt x="135" y="3410"/>
                  <a:pt x="87" y="3370"/>
                </a:cubicBezTo>
                <a:close/>
                <a:moveTo>
                  <a:pt x="2258" y="2887"/>
                </a:moveTo>
                <a:cubicBezTo>
                  <a:pt x="2196" y="2865"/>
                  <a:pt x="2145" y="2792"/>
                  <a:pt x="2145" y="2725"/>
                </a:cubicBezTo>
                <a:cubicBezTo>
                  <a:pt x="2145" y="2686"/>
                  <a:pt x="2337" y="2474"/>
                  <a:pt x="2703" y="2109"/>
                </a:cubicBezTo>
                <a:cubicBezTo>
                  <a:pt x="3289" y="1523"/>
                  <a:pt x="3346" y="1485"/>
                  <a:pt x="3453" y="1604"/>
                </a:cubicBezTo>
                <a:cubicBezTo>
                  <a:pt x="3556" y="1717"/>
                  <a:pt x="3522" y="1766"/>
                  <a:pt x="2956" y="2331"/>
                </a:cubicBezTo>
                <a:cubicBezTo>
                  <a:pt x="2657" y="2630"/>
                  <a:pt x="2388" y="2880"/>
                  <a:pt x="2357" y="2888"/>
                </a:cubicBezTo>
                <a:cubicBezTo>
                  <a:pt x="2326" y="2895"/>
                  <a:pt x="2281" y="2895"/>
                  <a:pt x="2258" y="2887"/>
                </a:cubicBezTo>
                <a:close/>
                <a:moveTo>
                  <a:pt x="637" y="1282"/>
                </a:moveTo>
                <a:cubicBezTo>
                  <a:pt x="528" y="1172"/>
                  <a:pt x="568" y="1113"/>
                  <a:pt x="1137" y="544"/>
                </a:cubicBezTo>
                <a:cubicBezTo>
                  <a:pt x="1607" y="74"/>
                  <a:pt x="1693" y="0"/>
                  <a:pt x="1767" y="0"/>
                </a:cubicBezTo>
                <a:cubicBezTo>
                  <a:pt x="1862" y="0"/>
                  <a:pt x="1947" y="73"/>
                  <a:pt x="1947" y="156"/>
                </a:cubicBezTo>
                <a:cubicBezTo>
                  <a:pt x="1947" y="186"/>
                  <a:pt x="1715" y="442"/>
                  <a:pt x="1391" y="767"/>
                </a:cubicBezTo>
                <a:cubicBezTo>
                  <a:pt x="808" y="1353"/>
                  <a:pt x="749" y="1393"/>
                  <a:pt x="637" y="12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4" name="Group 118">
            <a:extLst>
              <a:ext uri="{FF2B5EF4-FFF2-40B4-BE49-F238E27FC236}">
                <a16:creationId xmlns:a16="http://schemas.microsoft.com/office/drawing/2014/main" id="{FB3D6A90-C4FD-433A-A1C1-A4B3864804A5}"/>
              </a:ext>
            </a:extLst>
          </p:cNvPr>
          <p:cNvGrpSpPr/>
          <p:nvPr/>
        </p:nvGrpSpPr>
        <p:grpSpPr>
          <a:xfrm>
            <a:off x="8409631" y="5248358"/>
            <a:ext cx="346498" cy="347472"/>
            <a:chOff x="1468138" y="5997240"/>
            <a:chExt cx="283642" cy="307072"/>
          </a:xfrm>
          <a:solidFill>
            <a:schemeClr val="bg1"/>
          </a:solidFill>
        </p:grpSpPr>
        <p:sp>
          <p:nvSpPr>
            <p:cNvPr id="120" name="Freeform 16">
              <a:extLst>
                <a:ext uri="{FF2B5EF4-FFF2-40B4-BE49-F238E27FC236}">
                  <a16:creationId xmlns:a16="http://schemas.microsoft.com/office/drawing/2014/main" id="{D6134FC8-4249-4088-8AE8-003C8AAC7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6136" y="6255221"/>
              <a:ext cx="26428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1 w 349"/>
                <a:gd name="T25" fmla="*/ 226 h 350"/>
                <a:gd name="T26" fmla="*/ 225 w 349"/>
                <a:gd name="T27" fmla="*/ 213 h 350"/>
                <a:gd name="T28" fmla="*/ 234 w 349"/>
                <a:gd name="T29" fmla="*/ 194 h 350"/>
                <a:gd name="T30" fmla="*/ 237 w 349"/>
                <a:gd name="T31" fmla="*/ 175 h 350"/>
                <a:gd name="T32" fmla="*/ 235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5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4 w 349"/>
                <a:gd name="T47" fmla="*/ 3 h 350"/>
                <a:gd name="T48" fmla="*/ 234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8 w 349"/>
                <a:gd name="T55" fmla="*/ 63 h 350"/>
                <a:gd name="T56" fmla="*/ 325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5 w 349"/>
                <a:gd name="T65" fmla="*/ 210 h 350"/>
                <a:gd name="T66" fmla="*/ 335 w 349"/>
                <a:gd name="T67" fmla="*/ 243 h 350"/>
                <a:gd name="T68" fmla="*/ 319 w 349"/>
                <a:gd name="T69" fmla="*/ 273 h 350"/>
                <a:gd name="T70" fmla="*/ 297 w 349"/>
                <a:gd name="T71" fmla="*/ 299 h 350"/>
                <a:gd name="T72" fmla="*/ 272 w 349"/>
                <a:gd name="T73" fmla="*/ 319 h 350"/>
                <a:gd name="T74" fmla="*/ 242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39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29 w 349"/>
                <a:gd name="T89" fmla="*/ 273 h 350"/>
                <a:gd name="T90" fmla="*/ 14 w 349"/>
                <a:gd name="T91" fmla="*/ 243 h 350"/>
                <a:gd name="T92" fmla="*/ 3 w 349"/>
                <a:gd name="T93" fmla="*/ 210 h 350"/>
                <a:gd name="T94" fmla="*/ 0 w 349"/>
                <a:gd name="T95" fmla="*/ 175 h 350"/>
                <a:gd name="T96" fmla="*/ 3 w 349"/>
                <a:gd name="T97" fmla="*/ 140 h 350"/>
                <a:gd name="T98" fmla="*/ 14 w 349"/>
                <a:gd name="T99" fmla="*/ 107 h 350"/>
                <a:gd name="T100" fmla="*/ 29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39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1" y="226"/>
                  </a:lnTo>
                  <a:lnTo>
                    <a:pt x="225" y="213"/>
                  </a:lnTo>
                  <a:lnTo>
                    <a:pt x="234" y="194"/>
                  </a:lnTo>
                  <a:lnTo>
                    <a:pt x="237" y="175"/>
                  </a:lnTo>
                  <a:lnTo>
                    <a:pt x="235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5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4" y="3"/>
                  </a:lnTo>
                  <a:lnTo>
                    <a:pt x="234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8" y="63"/>
                  </a:lnTo>
                  <a:lnTo>
                    <a:pt x="325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5" y="210"/>
                  </a:lnTo>
                  <a:lnTo>
                    <a:pt x="335" y="243"/>
                  </a:lnTo>
                  <a:lnTo>
                    <a:pt x="319" y="273"/>
                  </a:lnTo>
                  <a:lnTo>
                    <a:pt x="297" y="299"/>
                  </a:lnTo>
                  <a:lnTo>
                    <a:pt x="272" y="319"/>
                  </a:lnTo>
                  <a:lnTo>
                    <a:pt x="242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39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29" y="273"/>
                  </a:lnTo>
                  <a:lnTo>
                    <a:pt x="14" y="243"/>
                  </a:lnTo>
                  <a:lnTo>
                    <a:pt x="3" y="210"/>
                  </a:lnTo>
                  <a:lnTo>
                    <a:pt x="0" y="175"/>
                  </a:lnTo>
                  <a:lnTo>
                    <a:pt x="3" y="140"/>
                  </a:lnTo>
                  <a:lnTo>
                    <a:pt x="14" y="107"/>
                  </a:lnTo>
                  <a:lnTo>
                    <a:pt x="29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39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1" name="Freeform 17">
              <a:extLst>
                <a:ext uri="{FF2B5EF4-FFF2-40B4-BE49-F238E27FC236}">
                  <a16:creationId xmlns:a16="http://schemas.microsoft.com/office/drawing/2014/main" id="{67A5F0B0-C078-4A85-9E32-409FF0B3D5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2133" y="6255221"/>
              <a:ext cx="26656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2 w 349"/>
                <a:gd name="T25" fmla="*/ 226 h 350"/>
                <a:gd name="T26" fmla="*/ 226 w 349"/>
                <a:gd name="T27" fmla="*/ 213 h 350"/>
                <a:gd name="T28" fmla="*/ 235 w 349"/>
                <a:gd name="T29" fmla="*/ 194 h 350"/>
                <a:gd name="T30" fmla="*/ 237 w 349"/>
                <a:gd name="T31" fmla="*/ 175 h 350"/>
                <a:gd name="T32" fmla="*/ 236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7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5 w 349"/>
                <a:gd name="T47" fmla="*/ 3 h 350"/>
                <a:gd name="T48" fmla="*/ 235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9 w 349"/>
                <a:gd name="T55" fmla="*/ 63 h 350"/>
                <a:gd name="T56" fmla="*/ 326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6 w 349"/>
                <a:gd name="T65" fmla="*/ 210 h 350"/>
                <a:gd name="T66" fmla="*/ 336 w 349"/>
                <a:gd name="T67" fmla="*/ 243 h 350"/>
                <a:gd name="T68" fmla="*/ 319 w 349"/>
                <a:gd name="T69" fmla="*/ 273 h 350"/>
                <a:gd name="T70" fmla="*/ 298 w 349"/>
                <a:gd name="T71" fmla="*/ 299 h 350"/>
                <a:gd name="T72" fmla="*/ 272 w 349"/>
                <a:gd name="T73" fmla="*/ 319 h 350"/>
                <a:gd name="T74" fmla="*/ 243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40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30 w 349"/>
                <a:gd name="T89" fmla="*/ 273 h 350"/>
                <a:gd name="T90" fmla="*/ 14 w 349"/>
                <a:gd name="T91" fmla="*/ 243 h 350"/>
                <a:gd name="T92" fmla="*/ 4 w 349"/>
                <a:gd name="T93" fmla="*/ 210 h 350"/>
                <a:gd name="T94" fmla="*/ 0 w 349"/>
                <a:gd name="T95" fmla="*/ 175 h 350"/>
                <a:gd name="T96" fmla="*/ 4 w 349"/>
                <a:gd name="T97" fmla="*/ 140 h 350"/>
                <a:gd name="T98" fmla="*/ 14 w 349"/>
                <a:gd name="T99" fmla="*/ 107 h 350"/>
                <a:gd name="T100" fmla="*/ 30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40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7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7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5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19" y="273"/>
                  </a:lnTo>
                  <a:lnTo>
                    <a:pt x="298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2" name="Freeform 18">
              <a:extLst>
                <a:ext uri="{FF2B5EF4-FFF2-40B4-BE49-F238E27FC236}">
                  <a16:creationId xmlns:a16="http://schemas.microsoft.com/office/drawing/2014/main" id="{BF1784DA-3E40-44FD-998D-DB1DD379C0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8357" y="6255221"/>
              <a:ext cx="26428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7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1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7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8 w 350"/>
                <a:gd name="T31" fmla="*/ 175 h 350"/>
                <a:gd name="T32" fmla="*/ 236 w 350"/>
                <a:gd name="T33" fmla="*/ 158 h 350"/>
                <a:gd name="T34" fmla="*/ 229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7 w 350"/>
                <a:gd name="T53" fmla="*/ 41 h 350"/>
                <a:gd name="T54" fmla="*/ 309 w 350"/>
                <a:gd name="T55" fmla="*/ 63 h 350"/>
                <a:gd name="T56" fmla="*/ 326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2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7 w 350"/>
                <a:gd name="T85" fmla="*/ 319 h 350"/>
                <a:gd name="T86" fmla="*/ 51 w 350"/>
                <a:gd name="T87" fmla="*/ 299 h 350"/>
                <a:gd name="T88" fmla="*/ 30 w 350"/>
                <a:gd name="T89" fmla="*/ 273 h 350"/>
                <a:gd name="T90" fmla="*/ 14 w 350"/>
                <a:gd name="T91" fmla="*/ 243 h 350"/>
                <a:gd name="T92" fmla="*/ 4 w 350"/>
                <a:gd name="T93" fmla="*/ 210 h 350"/>
                <a:gd name="T94" fmla="*/ 0 w 350"/>
                <a:gd name="T95" fmla="*/ 175 h 350"/>
                <a:gd name="T96" fmla="*/ 4 w 350"/>
                <a:gd name="T97" fmla="*/ 140 h 350"/>
                <a:gd name="T98" fmla="*/ 14 w 350"/>
                <a:gd name="T99" fmla="*/ 107 h 350"/>
                <a:gd name="T100" fmla="*/ 30 w 350"/>
                <a:gd name="T101" fmla="*/ 78 h 350"/>
                <a:gd name="T102" fmla="*/ 51 w 350"/>
                <a:gd name="T103" fmla="*/ 52 h 350"/>
                <a:gd name="T104" fmla="*/ 77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8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3" name="Freeform 19">
              <a:extLst>
                <a:ext uri="{FF2B5EF4-FFF2-40B4-BE49-F238E27FC236}">
                  <a16:creationId xmlns:a16="http://schemas.microsoft.com/office/drawing/2014/main" id="{FF26547B-24B3-4108-8095-A2794E966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4353" y="6255221"/>
              <a:ext cx="26656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8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3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8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9 w 350"/>
                <a:gd name="T31" fmla="*/ 175 h 350"/>
                <a:gd name="T32" fmla="*/ 236 w 350"/>
                <a:gd name="T33" fmla="*/ 158 h 350"/>
                <a:gd name="T34" fmla="*/ 231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8 w 350"/>
                <a:gd name="T53" fmla="*/ 41 h 350"/>
                <a:gd name="T54" fmla="*/ 309 w 350"/>
                <a:gd name="T55" fmla="*/ 63 h 350"/>
                <a:gd name="T56" fmla="*/ 327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3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8 w 350"/>
                <a:gd name="T85" fmla="*/ 319 h 350"/>
                <a:gd name="T86" fmla="*/ 53 w 350"/>
                <a:gd name="T87" fmla="*/ 299 h 350"/>
                <a:gd name="T88" fmla="*/ 31 w 350"/>
                <a:gd name="T89" fmla="*/ 273 h 350"/>
                <a:gd name="T90" fmla="*/ 15 w 350"/>
                <a:gd name="T91" fmla="*/ 243 h 350"/>
                <a:gd name="T92" fmla="*/ 5 w 350"/>
                <a:gd name="T93" fmla="*/ 210 h 350"/>
                <a:gd name="T94" fmla="*/ 0 w 350"/>
                <a:gd name="T95" fmla="*/ 175 h 350"/>
                <a:gd name="T96" fmla="*/ 5 w 350"/>
                <a:gd name="T97" fmla="*/ 140 h 350"/>
                <a:gd name="T98" fmla="*/ 15 w 350"/>
                <a:gd name="T99" fmla="*/ 107 h 350"/>
                <a:gd name="T100" fmla="*/ 31 w 350"/>
                <a:gd name="T101" fmla="*/ 78 h 350"/>
                <a:gd name="T102" fmla="*/ 53 w 350"/>
                <a:gd name="T103" fmla="*/ 52 h 350"/>
                <a:gd name="T104" fmla="*/ 78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8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3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8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9" y="175"/>
                  </a:lnTo>
                  <a:lnTo>
                    <a:pt x="236" y="158"/>
                  </a:lnTo>
                  <a:lnTo>
                    <a:pt x="231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8" y="41"/>
                  </a:lnTo>
                  <a:lnTo>
                    <a:pt x="309" y="63"/>
                  </a:lnTo>
                  <a:lnTo>
                    <a:pt x="327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3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8" y="319"/>
                  </a:lnTo>
                  <a:lnTo>
                    <a:pt x="53" y="299"/>
                  </a:lnTo>
                  <a:lnTo>
                    <a:pt x="31" y="273"/>
                  </a:lnTo>
                  <a:lnTo>
                    <a:pt x="15" y="243"/>
                  </a:lnTo>
                  <a:lnTo>
                    <a:pt x="5" y="210"/>
                  </a:lnTo>
                  <a:lnTo>
                    <a:pt x="0" y="175"/>
                  </a:lnTo>
                  <a:lnTo>
                    <a:pt x="5" y="140"/>
                  </a:lnTo>
                  <a:lnTo>
                    <a:pt x="15" y="107"/>
                  </a:lnTo>
                  <a:lnTo>
                    <a:pt x="31" y="78"/>
                  </a:lnTo>
                  <a:lnTo>
                    <a:pt x="53" y="52"/>
                  </a:lnTo>
                  <a:lnTo>
                    <a:pt x="78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4" name="Freeform 20">
              <a:extLst>
                <a:ext uri="{FF2B5EF4-FFF2-40B4-BE49-F238E27FC236}">
                  <a16:creationId xmlns:a16="http://schemas.microsoft.com/office/drawing/2014/main" id="{6F553FA1-4728-401A-8C20-F18E165CA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80832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2 h 111"/>
                <a:gd name="T10" fmla="*/ 168 w 171"/>
                <a:gd name="T11" fmla="*/ 37 h 111"/>
                <a:gd name="T12" fmla="*/ 171 w 171"/>
                <a:gd name="T13" fmla="*/ 55 h 111"/>
                <a:gd name="T14" fmla="*/ 168 w 171"/>
                <a:gd name="T15" fmla="*/ 72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8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8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2 h 111"/>
                <a:gd name="T34" fmla="*/ 0 w 171"/>
                <a:gd name="T35" fmla="*/ 55 h 111"/>
                <a:gd name="T36" fmla="*/ 2 w 171"/>
                <a:gd name="T37" fmla="*/ 37 h 111"/>
                <a:gd name="T38" fmla="*/ 10 w 171"/>
                <a:gd name="T39" fmla="*/ 22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2"/>
                  </a:lnTo>
                  <a:lnTo>
                    <a:pt x="168" y="37"/>
                  </a:lnTo>
                  <a:lnTo>
                    <a:pt x="171" y="55"/>
                  </a:lnTo>
                  <a:lnTo>
                    <a:pt x="168" y="72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8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8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2"/>
                  </a:lnTo>
                  <a:lnTo>
                    <a:pt x="0" y="55"/>
                  </a:lnTo>
                  <a:lnTo>
                    <a:pt x="2" y="37"/>
                  </a:lnTo>
                  <a:lnTo>
                    <a:pt x="10" y="22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5" name="Freeform 21">
              <a:extLst>
                <a:ext uri="{FF2B5EF4-FFF2-40B4-BE49-F238E27FC236}">
                  <a16:creationId xmlns:a16="http://schemas.microsoft.com/office/drawing/2014/main" id="{2A783787-5E9B-43C9-9BF4-073950C97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95860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3 h 111"/>
                <a:gd name="T10" fmla="*/ 168 w 171"/>
                <a:gd name="T11" fmla="*/ 38 h 111"/>
                <a:gd name="T12" fmla="*/ 171 w 171"/>
                <a:gd name="T13" fmla="*/ 55 h 111"/>
                <a:gd name="T14" fmla="*/ 168 w 171"/>
                <a:gd name="T15" fmla="*/ 74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9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9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4 h 111"/>
                <a:gd name="T34" fmla="*/ 0 w 171"/>
                <a:gd name="T35" fmla="*/ 55 h 111"/>
                <a:gd name="T36" fmla="*/ 2 w 171"/>
                <a:gd name="T37" fmla="*/ 38 h 111"/>
                <a:gd name="T38" fmla="*/ 10 w 171"/>
                <a:gd name="T39" fmla="*/ 23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3"/>
                  </a:lnTo>
                  <a:lnTo>
                    <a:pt x="168" y="38"/>
                  </a:lnTo>
                  <a:lnTo>
                    <a:pt x="171" y="55"/>
                  </a:lnTo>
                  <a:lnTo>
                    <a:pt x="168" y="74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9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9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4"/>
                  </a:lnTo>
                  <a:lnTo>
                    <a:pt x="0" y="55"/>
                  </a:lnTo>
                  <a:lnTo>
                    <a:pt x="2" y="38"/>
                  </a:lnTo>
                  <a:lnTo>
                    <a:pt x="10" y="23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6" name="Freeform 22">
              <a:extLst>
                <a:ext uri="{FF2B5EF4-FFF2-40B4-BE49-F238E27FC236}">
                  <a16:creationId xmlns:a16="http://schemas.microsoft.com/office/drawing/2014/main" id="{6465D05A-ED22-49B3-924E-6DFC4C8C8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8138" y="5997240"/>
              <a:ext cx="283642" cy="307072"/>
            </a:xfrm>
            <a:custGeom>
              <a:avLst/>
              <a:gdLst>
                <a:gd name="T0" fmla="*/ 185 w 3736"/>
                <a:gd name="T1" fmla="*/ 3069 h 3678"/>
                <a:gd name="T2" fmla="*/ 125 w 3736"/>
                <a:gd name="T3" fmla="*/ 3352 h 3678"/>
                <a:gd name="T4" fmla="*/ 325 w 3736"/>
                <a:gd name="T5" fmla="*/ 3554 h 3678"/>
                <a:gd name="T6" fmla="*/ 2002 w 3736"/>
                <a:gd name="T7" fmla="*/ 3518 h 3678"/>
                <a:gd name="T8" fmla="*/ 2140 w 3736"/>
                <a:gd name="T9" fmla="*/ 3266 h 3678"/>
                <a:gd name="T10" fmla="*/ 2002 w 3736"/>
                <a:gd name="T11" fmla="*/ 3013 h 3678"/>
                <a:gd name="T12" fmla="*/ 943 w 3736"/>
                <a:gd name="T13" fmla="*/ 2853 h 3678"/>
                <a:gd name="T14" fmla="*/ 2970 w 3736"/>
                <a:gd name="T15" fmla="*/ 2765 h 3678"/>
                <a:gd name="T16" fmla="*/ 3240 w 3736"/>
                <a:gd name="T17" fmla="*/ 2787 h 3678"/>
                <a:gd name="T18" fmla="*/ 3506 w 3736"/>
                <a:gd name="T19" fmla="*/ 2599 h 3678"/>
                <a:gd name="T20" fmla="*/ 302 w 3736"/>
                <a:gd name="T21" fmla="*/ 2099 h 3678"/>
                <a:gd name="T22" fmla="*/ 333 w 3736"/>
                <a:gd name="T23" fmla="*/ 2613 h 3678"/>
                <a:gd name="T24" fmla="*/ 3524 w 3736"/>
                <a:gd name="T25" fmla="*/ 1966 h 3678"/>
                <a:gd name="T26" fmla="*/ 3542 w 3736"/>
                <a:gd name="T27" fmla="*/ 2077 h 3678"/>
                <a:gd name="T28" fmla="*/ 3622 w 3736"/>
                <a:gd name="T29" fmla="*/ 1998 h 3678"/>
                <a:gd name="T30" fmla="*/ 893 w 3736"/>
                <a:gd name="T31" fmla="*/ 1458 h 3678"/>
                <a:gd name="T32" fmla="*/ 1843 w 3736"/>
                <a:gd name="T33" fmla="*/ 2616 h 3678"/>
                <a:gd name="T34" fmla="*/ 1132 w 3736"/>
                <a:gd name="T35" fmla="*/ 2414 h 3678"/>
                <a:gd name="T36" fmla="*/ 954 w 3736"/>
                <a:gd name="T37" fmla="*/ 2256 h 3678"/>
                <a:gd name="T38" fmla="*/ 1082 w 3736"/>
                <a:gd name="T39" fmla="*/ 2271 h 3678"/>
                <a:gd name="T40" fmla="*/ 1271 w 3736"/>
                <a:gd name="T41" fmla="*/ 1557 h 3678"/>
                <a:gd name="T42" fmla="*/ 1360 w 3736"/>
                <a:gd name="T43" fmla="*/ 1601 h 3678"/>
                <a:gd name="T44" fmla="*/ 1958 w 3736"/>
                <a:gd name="T45" fmla="*/ 2171 h 3678"/>
                <a:gd name="T46" fmla="*/ 1525 w 3736"/>
                <a:gd name="T47" fmla="*/ 1457 h 3678"/>
                <a:gd name="T48" fmla="*/ 2749 w 3736"/>
                <a:gd name="T49" fmla="*/ 361 h 3678"/>
                <a:gd name="T50" fmla="*/ 3541 w 3736"/>
                <a:gd name="T51" fmla="*/ 1844 h 3678"/>
                <a:gd name="T52" fmla="*/ 1658 w 3736"/>
                <a:gd name="T53" fmla="*/ 1439 h 3678"/>
                <a:gd name="T54" fmla="*/ 2419 w 3736"/>
                <a:gd name="T55" fmla="*/ 427 h 3678"/>
                <a:gd name="T56" fmla="*/ 2498 w 3736"/>
                <a:gd name="T57" fmla="*/ 124 h 3678"/>
                <a:gd name="T58" fmla="*/ 2441 w 3736"/>
                <a:gd name="T59" fmla="*/ 287 h 3678"/>
                <a:gd name="T60" fmla="*/ 2599 w 3736"/>
                <a:gd name="T61" fmla="*/ 347 h 3678"/>
                <a:gd name="T62" fmla="*/ 2672 w 3736"/>
                <a:gd name="T63" fmla="*/ 256 h 3678"/>
                <a:gd name="T64" fmla="*/ 2625 w 3736"/>
                <a:gd name="T65" fmla="*/ 136 h 3678"/>
                <a:gd name="T66" fmla="*/ 2665 w 3736"/>
                <a:gd name="T67" fmla="*/ 28 h 3678"/>
                <a:gd name="T68" fmla="*/ 3734 w 3736"/>
                <a:gd name="T69" fmla="*/ 1986 h 3678"/>
                <a:gd name="T70" fmla="*/ 3646 w 3736"/>
                <a:gd name="T71" fmla="*/ 2170 h 3678"/>
                <a:gd name="T72" fmla="*/ 3580 w 3736"/>
                <a:gd name="T73" fmla="*/ 2724 h 3678"/>
                <a:gd name="T74" fmla="*/ 3180 w 3736"/>
                <a:gd name="T75" fmla="*/ 2918 h 3678"/>
                <a:gd name="T76" fmla="*/ 2865 w 3736"/>
                <a:gd name="T77" fmla="*/ 2826 h 3678"/>
                <a:gd name="T78" fmla="*/ 2459 w 3736"/>
                <a:gd name="T79" fmla="*/ 2397 h 3678"/>
                <a:gd name="T80" fmla="*/ 3431 w 3736"/>
                <a:gd name="T81" fmla="*/ 2200 h 3678"/>
                <a:gd name="T82" fmla="*/ 3506 w 3736"/>
                <a:gd name="T83" fmla="*/ 2183 h 3678"/>
                <a:gd name="T84" fmla="*/ 1983 w 3736"/>
                <a:gd name="T85" fmla="*/ 1926 h 3678"/>
                <a:gd name="T86" fmla="*/ 2073 w 3736"/>
                <a:gd name="T87" fmla="*/ 2433 h 3678"/>
                <a:gd name="T88" fmla="*/ 2059 w 3736"/>
                <a:gd name="T89" fmla="*/ 2469 h 3678"/>
                <a:gd name="T90" fmla="*/ 2043 w 3736"/>
                <a:gd name="T91" fmla="*/ 2482 h 3678"/>
                <a:gd name="T92" fmla="*/ 2024 w 3736"/>
                <a:gd name="T93" fmla="*/ 2489 h 3678"/>
                <a:gd name="T94" fmla="*/ 1942 w 3736"/>
                <a:gd name="T95" fmla="*/ 2705 h 3678"/>
                <a:gd name="T96" fmla="*/ 1890 w 3736"/>
                <a:gd name="T97" fmla="*/ 2857 h 3678"/>
                <a:gd name="T98" fmla="*/ 2177 w 3736"/>
                <a:gd name="T99" fmla="*/ 3030 h 3678"/>
                <a:gd name="T100" fmla="*/ 2238 w 3736"/>
                <a:gd name="T101" fmla="*/ 3367 h 3678"/>
                <a:gd name="T102" fmla="*/ 2032 w 3736"/>
                <a:gd name="T103" fmla="*/ 3630 h 3678"/>
                <a:gd name="T104" fmla="*/ 311 w 3736"/>
                <a:gd name="T105" fmla="*/ 3666 h 3678"/>
                <a:gd name="T106" fmla="*/ 49 w 3736"/>
                <a:gd name="T107" fmla="*/ 3460 h 3678"/>
                <a:gd name="T108" fmla="*/ 28 w 3736"/>
                <a:gd name="T109" fmla="*/ 3116 h 3678"/>
                <a:gd name="T110" fmla="*/ 263 w 3736"/>
                <a:gd name="T111" fmla="*/ 2882 h 3678"/>
                <a:gd name="T112" fmla="*/ 317 w 3736"/>
                <a:gd name="T113" fmla="*/ 2724 h 3678"/>
                <a:gd name="T114" fmla="*/ 178 w 3736"/>
                <a:gd name="T115" fmla="*/ 2553 h 3678"/>
                <a:gd name="T116" fmla="*/ 284 w 3736"/>
                <a:gd name="T117" fmla="*/ 1975 h 3678"/>
                <a:gd name="T118" fmla="*/ 740 w 3736"/>
                <a:gd name="T119" fmla="*/ 1477 h 3678"/>
                <a:gd name="T120" fmla="*/ 963 w 3736"/>
                <a:gd name="T121" fmla="*/ 1310 h 3678"/>
                <a:gd name="T122" fmla="*/ 2410 w 3736"/>
                <a:gd name="T123" fmla="*/ 48 h 3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6" h="3678">
                  <a:moveTo>
                    <a:pt x="413" y="2964"/>
                  </a:moveTo>
                  <a:lnTo>
                    <a:pt x="367" y="2968"/>
                  </a:lnTo>
                  <a:lnTo>
                    <a:pt x="325" y="2978"/>
                  </a:lnTo>
                  <a:lnTo>
                    <a:pt x="286" y="2993"/>
                  </a:lnTo>
                  <a:lnTo>
                    <a:pt x="248" y="3013"/>
                  </a:lnTo>
                  <a:lnTo>
                    <a:pt x="215" y="3039"/>
                  </a:lnTo>
                  <a:lnTo>
                    <a:pt x="185" y="3069"/>
                  </a:lnTo>
                  <a:lnTo>
                    <a:pt x="160" y="3102"/>
                  </a:lnTo>
                  <a:lnTo>
                    <a:pt x="139" y="3139"/>
                  </a:lnTo>
                  <a:lnTo>
                    <a:pt x="125" y="3179"/>
                  </a:lnTo>
                  <a:lnTo>
                    <a:pt x="114" y="3222"/>
                  </a:lnTo>
                  <a:lnTo>
                    <a:pt x="111" y="3266"/>
                  </a:lnTo>
                  <a:lnTo>
                    <a:pt x="114" y="3310"/>
                  </a:lnTo>
                  <a:lnTo>
                    <a:pt x="125" y="3352"/>
                  </a:lnTo>
                  <a:lnTo>
                    <a:pt x="139" y="3393"/>
                  </a:lnTo>
                  <a:lnTo>
                    <a:pt x="160" y="3430"/>
                  </a:lnTo>
                  <a:lnTo>
                    <a:pt x="185" y="3464"/>
                  </a:lnTo>
                  <a:lnTo>
                    <a:pt x="215" y="3493"/>
                  </a:lnTo>
                  <a:lnTo>
                    <a:pt x="248" y="3518"/>
                  </a:lnTo>
                  <a:lnTo>
                    <a:pt x="286" y="3538"/>
                  </a:lnTo>
                  <a:lnTo>
                    <a:pt x="325" y="3554"/>
                  </a:lnTo>
                  <a:lnTo>
                    <a:pt x="367" y="3563"/>
                  </a:lnTo>
                  <a:lnTo>
                    <a:pt x="413" y="3567"/>
                  </a:lnTo>
                  <a:lnTo>
                    <a:pt x="1838" y="3567"/>
                  </a:lnTo>
                  <a:lnTo>
                    <a:pt x="1882" y="3563"/>
                  </a:lnTo>
                  <a:lnTo>
                    <a:pt x="1925" y="3554"/>
                  </a:lnTo>
                  <a:lnTo>
                    <a:pt x="1965" y="3538"/>
                  </a:lnTo>
                  <a:lnTo>
                    <a:pt x="2002" y="3518"/>
                  </a:lnTo>
                  <a:lnTo>
                    <a:pt x="2035" y="3493"/>
                  </a:lnTo>
                  <a:lnTo>
                    <a:pt x="2065" y="3464"/>
                  </a:lnTo>
                  <a:lnTo>
                    <a:pt x="2091" y="3430"/>
                  </a:lnTo>
                  <a:lnTo>
                    <a:pt x="2111" y="3393"/>
                  </a:lnTo>
                  <a:lnTo>
                    <a:pt x="2126" y="3352"/>
                  </a:lnTo>
                  <a:lnTo>
                    <a:pt x="2136" y="3310"/>
                  </a:lnTo>
                  <a:lnTo>
                    <a:pt x="2140" y="3266"/>
                  </a:lnTo>
                  <a:lnTo>
                    <a:pt x="2136" y="3222"/>
                  </a:lnTo>
                  <a:lnTo>
                    <a:pt x="2126" y="3179"/>
                  </a:lnTo>
                  <a:lnTo>
                    <a:pt x="2111" y="3139"/>
                  </a:lnTo>
                  <a:lnTo>
                    <a:pt x="2091" y="3102"/>
                  </a:lnTo>
                  <a:lnTo>
                    <a:pt x="2065" y="3069"/>
                  </a:lnTo>
                  <a:lnTo>
                    <a:pt x="2035" y="3039"/>
                  </a:lnTo>
                  <a:lnTo>
                    <a:pt x="2002" y="3013"/>
                  </a:lnTo>
                  <a:lnTo>
                    <a:pt x="1965" y="2993"/>
                  </a:lnTo>
                  <a:lnTo>
                    <a:pt x="1925" y="2978"/>
                  </a:lnTo>
                  <a:lnTo>
                    <a:pt x="1882" y="2968"/>
                  </a:lnTo>
                  <a:lnTo>
                    <a:pt x="1838" y="2964"/>
                  </a:lnTo>
                  <a:lnTo>
                    <a:pt x="413" y="2964"/>
                  </a:lnTo>
                  <a:close/>
                  <a:moveTo>
                    <a:pt x="943" y="2727"/>
                  </a:moveTo>
                  <a:lnTo>
                    <a:pt x="943" y="2853"/>
                  </a:lnTo>
                  <a:lnTo>
                    <a:pt x="1307" y="2853"/>
                  </a:lnTo>
                  <a:lnTo>
                    <a:pt x="1307" y="2727"/>
                  </a:lnTo>
                  <a:lnTo>
                    <a:pt x="943" y="2727"/>
                  </a:lnTo>
                  <a:close/>
                  <a:moveTo>
                    <a:pt x="3407" y="2328"/>
                  </a:moveTo>
                  <a:lnTo>
                    <a:pt x="2754" y="2590"/>
                  </a:lnTo>
                  <a:lnTo>
                    <a:pt x="2936" y="2741"/>
                  </a:lnTo>
                  <a:lnTo>
                    <a:pt x="2970" y="2765"/>
                  </a:lnTo>
                  <a:lnTo>
                    <a:pt x="3005" y="2783"/>
                  </a:lnTo>
                  <a:lnTo>
                    <a:pt x="3042" y="2797"/>
                  </a:lnTo>
                  <a:lnTo>
                    <a:pt x="3081" y="2806"/>
                  </a:lnTo>
                  <a:lnTo>
                    <a:pt x="3121" y="2809"/>
                  </a:lnTo>
                  <a:lnTo>
                    <a:pt x="3161" y="2808"/>
                  </a:lnTo>
                  <a:lnTo>
                    <a:pt x="3201" y="2800"/>
                  </a:lnTo>
                  <a:lnTo>
                    <a:pt x="3240" y="2787"/>
                  </a:lnTo>
                  <a:lnTo>
                    <a:pt x="3429" y="2711"/>
                  </a:lnTo>
                  <a:lnTo>
                    <a:pt x="3452" y="2700"/>
                  </a:lnTo>
                  <a:lnTo>
                    <a:pt x="3470" y="2684"/>
                  </a:lnTo>
                  <a:lnTo>
                    <a:pt x="3485" y="2666"/>
                  </a:lnTo>
                  <a:lnTo>
                    <a:pt x="3496" y="2646"/>
                  </a:lnTo>
                  <a:lnTo>
                    <a:pt x="3504" y="2623"/>
                  </a:lnTo>
                  <a:lnTo>
                    <a:pt x="3506" y="2599"/>
                  </a:lnTo>
                  <a:lnTo>
                    <a:pt x="3504" y="2575"/>
                  </a:lnTo>
                  <a:lnTo>
                    <a:pt x="3497" y="2551"/>
                  </a:lnTo>
                  <a:lnTo>
                    <a:pt x="3407" y="2328"/>
                  </a:lnTo>
                  <a:close/>
                  <a:moveTo>
                    <a:pt x="353" y="2073"/>
                  </a:moveTo>
                  <a:lnTo>
                    <a:pt x="333" y="2076"/>
                  </a:lnTo>
                  <a:lnTo>
                    <a:pt x="315" y="2085"/>
                  </a:lnTo>
                  <a:lnTo>
                    <a:pt x="302" y="2099"/>
                  </a:lnTo>
                  <a:lnTo>
                    <a:pt x="292" y="2116"/>
                  </a:lnTo>
                  <a:lnTo>
                    <a:pt x="289" y="2136"/>
                  </a:lnTo>
                  <a:lnTo>
                    <a:pt x="289" y="2553"/>
                  </a:lnTo>
                  <a:lnTo>
                    <a:pt x="292" y="2572"/>
                  </a:lnTo>
                  <a:lnTo>
                    <a:pt x="302" y="2590"/>
                  </a:lnTo>
                  <a:lnTo>
                    <a:pt x="315" y="2604"/>
                  </a:lnTo>
                  <a:lnTo>
                    <a:pt x="333" y="2613"/>
                  </a:lnTo>
                  <a:lnTo>
                    <a:pt x="353" y="2616"/>
                  </a:lnTo>
                  <a:lnTo>
                    <a:pt x="713" y="2616"/>
                  </a:lnTo>
                  <a:lnTo>
                    <a:pt x="713" y="2073"/>
                  </a:lnTo>
                  <a:lnTo>
                    <a:pt x="353" y="2073"/>
                  </a:lnTo>
                  <a:close/>
                  <a:moveTo>
                    <a:pt x="3562" y="1955"/>
                  </a:moveTo>
                  <a:lnTo>
                    <a:pt x="3542" y="1957"/>
                  </a:lnTo>
                  <a:lnTo>
                    <a:pt x="3524" y="1966"/>
                  </a:lnTo>
                  <a:lnTo>
                    <a:pt x="3511" y="1980"/>
                  </a:lnTo>
                  <a:lnTo>
                    <a:pt x="3502" y="1998"/>
                  </a:lnTo>
                  <a:lnTo>
                    <a:pt x="3498" y="2017"/>
                  </a:lnTo>
                  <a:lnTo>
                    <a:pt x="3502" y="2038"/>
                  </a:lnTo>
                  <a:lnTo>
                    <a:pt x="3511" y="2055"/>
                  </a:lnTo>
                  <a:lnTo>
                    <a:pt x="3524" y="2068"/>
                  </a:lnTo>
                  <a:lnTo>
                    <a:pt x="3542" y="2077"/>
                  </a:lnTo>
                  <a:lnTo>
                    <a:pt x="3562" y="2081"/>
                  </a:lnTo>
                  <a:lnTo>
                    <a:pt x="3582" y="2077"/>
                  </a:lnTo>
                  <a:lnTo>
                    <a:pt x="3599" y="2068"/>
                  </a:lnTo>
                  <a:lnTo>
                    <a:pt x="3613" y="2055"/>
                  </a:lnTo>
                  <a:lnTo>
                    <a:pt x="3622" y="2038"/>
                  </a:lnTo>
                  <a:lnTo>
                    <a:pt x="3625" y="2017"/>
                  </a:lnTo>
                  <a:lnTo>
                    <a:pt x="3622" y="1998"/>
                  </a:lnTo>
                  <a:lnTo>
                    <a:pt x="3613" y="1980"/>
                  </a:lnTo>
                  <a:lnTo>
                    <a:pt x="3599" y="1966"/>
                  </a:lnTo>
                  <a:lnTo>
                    <a:pt x="3582" y="1957"/>
                  </a:lnTo>
                  <a:lnTo>
                    <a:pt x="3562" y="1955"/>
                  </a:lnTo>
                  <a:close/>
                  <a:moveTo>
                    <a:pt x="950" y="1428"/>
                  </a:moveTo>
                  <a:lnTo>
                    <a:pt x="921" y="1441"/>
                  </a:lnTo>
                  <a:lnTo>
                    <a:pt x="893" y="1458"/>
                  </a:lnTo>
                  <a:lnTo>
                    <a:pt x="871" y="1481"/>
                  </a:lnTo>
                  <a:lnTo>
                    <a:pt x="851" y="1507"/>
                  </a:lnTo>
                  <a:lnTo>
                    <a:pt x="837" y="1536"/>
                  </a:lnTo>
                  <a:lnTo>
                    <a:pt x="828" y="1568"/>
                  </a:lnTo>
                  <a:lnTo>
                    <a:pt x="824" y="1601"/>
                  </a:lnTo>
                  <a:lnTo>
                    <a:pt x="824" y="2616"/>
                  </a:lnTo>
                  <a:lnTo>
                    <a:pt x="1843" y="2616"/>
                  </a:lnTo>
                  <a:lnTo>
                    <a:pt x="1843" y="2489"/>
                  </a:lnTo>
                  <a:lnTo>
                    <a:pt x="1556" y="2489"/>
                  </a:lnTo>
                  <a:lnTo>
                    <a:pt x="1468" y="2487"/>
                  </a:lnTo>
                  <a:lnTo>
                    <a:pt x="1382" y="2478"/>
                  </a:lnTo>
                  <a:lnTo>
                    <a:pt x="1297" y="2462"/>
                  </a:lnTo>
                  <a:lnTo>
                    <a:pt x="1213" y="2441"/>
                  </a:lnTo>
                  <a:lnTo>
                    <a:pt x="1132" y="2414"/>
                  </a:lnTo>
                  <a:lnTo>
                    <a:pt x="1050" y="2382"/>
                  </a:lnTo>
                  <a:lnTo>
                    <a:pt x="1026" y="2369"/>
                  </a:lnTo>
                  <a:lnTo>
                    <a:pt x="1005" y="2352"/>
                  </a:lnTo>
                  <a:lnTo>
                    <a:pt x="985" y="2331"/>
                  </a:lnTo>
                  <a:lnTo>
                    <a:pt x="971" y="2309"/>
                  </a:lnTo>
                  <a:lnTo>
                    <a:pt x="960" y="2284"/>
                  </a:lnTo>
                  <a:lnTo>
                    <a:pt x="954" y="2256"/>
                  </a:lnTo>
                  <a:lnTo>
                    <a:pt x="950" y="2228"/>
                  </a:lnTo>
                  <a:lnTo>
                    <a:pt x="950" y="1428"/>
                  </a:lnTo>
                  <a:close/>
                  <a:moveTo>
                    <a:pt x="1062" y="1419"/>
                  </a:moveTo>
                  <a:lnTo>
                    <a:pt x="1062" y="2228"/>
                  </a:lnTo>
                  <a:lnTo>
                    <a:pt x="1065" y="2245"/>
                  </a:lnTo>
                  <a:lnTo>
                    <a:pt x="1071" y="2259"/>
                  </a:lnTo>
                  <a:lnTo>
                    <a:pt x="1082" y="2271"/>
                  </a:lnTo>
                  <a:lnTo>
                    <a:pt x="1095" y="2280"/>
                  </a:lnTo>
                  <a:lnTo>
                    <a:pt x="1171" y="2311"/>
                  </a:lnTo>
                  <a:lnTo>
                    <a:pt x="1248" y="2335"/>
                  </a:lnTo>
                  <a:lnTo>
                    <a:pt x="1248" y="1601"/>
                  </a:lnTo>
                  <a:lnTo>
                    <a:pt x="1251" y="1584"/>
                  </a:lnTo>
                  <a:lnTo>
                    <a:pt x="1259" y="1568"/>
                  </a:lnTo>
                  <a:lnTo>
                    <a:pt x="1271" y="1557"/>
                  </a:lnTo>
                  <a:lnTo>
                    <a:pt x="1286" y="1549"/>
                  </a:lnTo>
                  <a:lnTo>
                    <a:pt x="1304" y="1545"/>
                  </a:lnTo>
                  <a:lnTo>
                    <a:pt x="1321" y="1549"/>
                  </a:lnTo>
                  <a:lnTo>
                    <a:pt x="1337" y="1557"/>
                  </a:lnTo>
                  <a:lnTo>
                    <a:pt x="1348" y="1568"/>
                  </a:lnTo>
                  <a:lnTo>
                    <a:pt x="1356" y="1584"/>
                  </a:lnTo>
                  <a:lnTo>
                    <a:pt x="1360" y="1601"/>
                  </a:lnTo>
                  <a:lnTo>
                    <a:pt x="1360" y="2361"/>
                  </a:lnTo>
                  <a:lnTo>
                    <a:pt x="1424" y="2370"/>
                  </a:lnTo>
                  <a:lnTo>
                    <a:pt x="1490" y="2376"/>
                  </a:lnTo>
                  <a:lnTo>
                    <a:pt x="1556" y="2378"/>
                  </a:lnTo>
                  <a:lnTo>
                    <a:pt x="1961" y="2378"/>
                  </a:lnTo>
                  <a:lnTo>
                    <a:pt x="1961" y="2221"/>
                  </a:lnTo>
                  <a:lnTo>
                    <a:pt x="1958" y="2171"/>
                  </a:lnTo>
                  <a:lnTo>
                    <a:pt x="1949" y="2123"/>
                  </a:lnTo>
                  <a:lnTo>
                    <a:pt x="1936" y="2076"/>
                  </a:lnTo>
                  <a:lnTo>
                    <a:pt x="1915" y="2031"/>
                  </a:lnTo>
                  <a:lnTo>
                    <a:pt x="1890" y="1988"/>
                  </a:lnTo>
                  <a:lnTo>
                    <a:pt x="1566" y="1500"/>
                  </a:lnTo>
                  <a:lnTo>
                    <a:pt x="1547" y="1477"/>
                  </a:lnTo>
                  <a:lnTo>
                    <a:pt x="1525" y="1457"/>
                  </a:lnTo>
                  <a:lnTo>
                    <a:pt x="1500" y="1441"/>
                  </a:lnTo>
                  <a:lnTo>
                    <a:pt x="1473" y="1428"/>
                  </a:lnTo>
                  <a:lnTo>
                    <a:pt x="1445" y="1422"/>
                  </a:lnTo>
                  <a:lnTo>
                    <a:pt x="1414" y="1419"/>
                  </a:lnTo>
                  <a:lnTo>
                    <a:pt x="1062" y="1419"/>
                  </a:lnTo>
                  <a:close/>
                  <a:moveTo>
                    <a:pt x="2753" y="353"/>
                  </a:moveTo>
                  <a:lnTo>
                    <a:pt x="2749" y="361"/>
                  </a:lnTo>
                  <a:lnTo>
                    <a:pt x="2571" y="659"/>
                  </a:lnTo>
                  <a:lnTo>
                    <a:pt x="3419" y="1917"/>
                  </a:lnTo>
                  <a:lnTo>
                    <a:pt x="3437" y="1895"/>
                  </a:lnTo>
                  <a:lnTo>
                    <a:pt x="3460" y="1876"/>
                  </a:lnTo>
                  <a:lnTo>
                    <a:pt x="3485" y="1861"/>
                  </a:lnTo>
                  <a:lnTo>
                    <a:pt x="3512" y="1850"/>
                  </a:lnTo>
                  <a:lnTo>
                    <a:pt x="3541" y="1844"/>
                  </a:lnTo>
                  <a:lnTo>
                    <a:pt x="2753" y="353"/>
                  </a:lnTo>
                  <a:close/>
                  <a:moveTo>
                    <a:pt x="2334" y="320"/>
                  </a:moveTo>
                  <a:lnTo>
                    <a:pt x="1562" y="1348"/>
                  </a:lnTo>
                  <a:lnTo>
                    <a:pt x="1590" y="1366"/>
                  </a:lnTo>
                  <a:lnTo>
                    <a:pt x="1616" y="1387"/>
                  </a:lnTo>
                  <a:lnTo>
                    <a:pt x="1638" y="1411"/>
                  </a:lnTo>
                  <a:lnTo>
                    <a:pt x="1658" y="1439"/>
                  </a:lnTo>
                  <a:lnTo>
                    <a:pt x="1827" y="1690"/>
                  </a:lnTo>
                  <a:lnTo>
                    <a:pt x="2555" y="467"/>
                  </a:lnTo>
                  <a:lnTo>
                    <a:pt x="2551" y="467"/>
                  </a:lnTo>
                  <a:lnTo>
                    <a:pt x="2515" y="465"/>
                  </a:lnTo>
                  <a:lnTo>
                    <a:pt x="2481" y="457"/>
                  </a:lnTo>
                  <a:lnTo>
                    <a:pt x="2448" y="444"/>
                  </a:lnTo>
                  <a:lnTo>
                    <a:pt x="2419" y="427"/>
                  </a:lnTo>
                  <a:lnTo>
                    <a:pt x="2391" y="405"/>
                  </a:lnTo>
                  <a:lnTo>
                    <a:pt x="2369" y="380"/>
                  </a:lnTo>
                  <a:lnTo>
                    <a:pt x="2349" y="351"/>
                  </a:lnTo>
                  <a:lnTo>
                    <a:pt x="2334" y="320"/>
                  </a:lnTo>
                  <a:close/>
                  <a:moveTo>
                    <a:pt x="2551" y="111"/>
                  </a:moveTo>
                  <a:lnTo>
                    <a:pt x="2523" y="115"/>
                  </a:lnTo>
                  <a:lnTo>
                    <a:pt x="2498" y="124"/>
                  </a:lnTo>
                  <a:lnTo>
                    <a:pt x="2475" y="138"/>
                  </a:lnTo>
                  <a:lnTo>
                    <a:pt x="2456" y="157"/>
                  </a:lnTo>
                  <a:lnTo>
                    <a:pt x="2441" y="180"/>
                  </a:lnTo>
                  <a:lnTo>
                    <a:pt x="2432" y="205"/>
                  </a:lnTo>
                  <a:lnTo>
                    <a:pt x="2429" y="234"/>
                  </a:lnTo>
                  <a:lnTo>
                    <a:pt x="2432" y="262"/>
                  </a:lnTo>
                  <a:lnTo>
                    <a:pt x="2441" y="287"/>
                  </a:lnTo>
                  <a:lnTo>
                    <a:pt x="2456" y="311"/>
                  </a:lnTo>
                  <a:lnTo>
                    <a:pt x="2475" y="329"/>
                  </a:lnTo>
                  <a:lnTo>
                    <a:pt x="2498" y="344"/>
                  </a:lnTo>
                  <a:lnTo>
                    <a:pt x="2523" y="353"/>
                  </a:lnTo>
                  <a:lnTo>
                    <a:pt x="2551" y="356"/>
                  </a:lnTo>
                  <a:lnTo>
                    <a:pt x="2576" y="354"/>
                  </a:lnTo>
                  <a:lnTo>
                    <a:pt x="2599" y="347"/>
                  </a:lnTo>
                  <a:lnTo>
                    <a:pt x="2619" y="336"/>
                  </a:lnTo>
                  <a:lnTo>
                    <a:pt x="2638" y="321"/>
                  </a:lnTo>
                  <a:lnTo>
                    <a:pt x="2653" y="303"/>
                  </a:lnTo>
                  <a:lnTo>
                    <a:pt x="2656" y="298"/>
                  </a:lnTo>
                  <a:lnTo>
                    <a:pt x="2657" y="297"/>
                  </a:lnTo>
                  <a:lnTo>
                    <a:pt x="2666" y="278"/>
                  </a:lnTo>
                  <a:lnTo>
                    <a:pt x="2672" y="256"/>
                  </a:lnTo>
                  <a:lnTo>
                    <a:pt x="2674" y="234"/>
                  </a:lnTo>
                  <a:lnTo>
                    <a:pt x="2672" y="210"/>
                  </a:lnTo>
                  <a:lnTo>
                    <a:pt x="2665" y="187"/>
                  </a:lnTo>
                  <a:lnTo>
                    <a:pt x="2661" y="180"/>
                  </a:lnTo>
                  <a:lnTo>
                    <a:pt x="2658" y="174"/>
                  </a:lnTo>
                  <a:lnTo>
                    <a:pt x="2643" y="153"/>
                  </a:lnTo>
                  <a:lnTo>
                    <a:pt x="2625" y="136"/>
                  </a:lnTo>
                  <a:lnTo>
                    <a:pt x="2603" y="123"/>
                  </a:lnTo>
                  <a:lnTo>
                    <a:pt x="2579" y="115"/>
                  </a:lnTo>
                  <a:lnTo>
                    <a:pt x="2551" y="111"/>
                  </a:lnTo>
                  <a:close/>
                  <a:moveTo>
                    <a:pt x="2551" y="0"/>
                  </a:moveTo>
                  <a:lnTo>
                    <a:pt x="2591" y="3"/>
                  </a:lnTo>
                  <a:lnTo>
                    <a:pt x="2630" y="12"/>
                  </a:lnTo>
                  <a:lnTo>
                    <a:pt x="2665" y="28"/>
                  </a:lnTo>
                  <a:lnTo>
                    <a:pt x="2696" y="50"/>
                  </a:lnTo>
                  <a:lnTo>
                    <a:pt x="2724" y="75"/>
                  </a:lnTo>
                  <a:lnTo>
                    <a:pt x="2747" y="106"/>
                  </a:lnTo>
                  <a:lnTo>
                    <a:pt x="2766" y="138"/>
                  </a:lnTo>
                  <a:lnTo>
                    <a:pt x="3713" y="1930"/>
                  </a:lnTo>
                  <a:lnTo>
                    <a:pt x="3726" y="1957"/>
                  </a:lnTo>
                  <a:lnTo>
                    <a:pt x="3734" y="1986"/>
                  </a:lnTo>
                  <a:lnTo>
                    <a:pt x="3736" y="2017"/>
                  </a:lnTo>
                  <a:lnTo>
                    <a:pt x="3733" y="2050"/>
                  </a:lnTo>
                  <a:lnTo>
                    <a:pt x="3725" y="2080"/>
                  </a:lnTo>
                  <a:lnTo>
                    <a:pt x="3711" y="2108"/>
                  </a:lnTo>
                  <a:lnTo>
                    <a:pt x="3693" y="2132"/>
                  </a:lnTo>
                  <a:lnTo>
                    <a:pt x="3672" y="2153"/>
                  </a:lnTo>
                  <a:lnTo>
                    <a:pt x="3646" y="2170"/>
                  </a:lnTo>
                  <a:lnTo>
                    <a:pt x="3617" y="2183"/>
                  </a:lnTo>
                  <a:lnTo>
                    <a:pt x="3617" y="2612"/>
                  </a:lnTo>
                  <a:lnTo>
                    <a:pt x="3617" y="2620"/>
                  </a:lnTo>
                  <a:lnTo>
                    <a:pt x="3616" y="2626"/>
                  </a:lnTo>
                  <a:lnTo>
                    <a:pt x="3609" y="2660"/>
                  </a:lnTo>
                  <a:lnTo>
                    <a:pt x="3597" y="2693"/>
                  </a:lnTo>
                  <a:lnTo>
                    <a:pt x="3580" y="2724"/>
                  </a:lnTo>
                  <a:lnTo>
                    <a:pt x="3559" y="2752"/>
                  </a:lnTo>
                  <a:lnTo>
                    <a:pt x="3533" y="2777"/>
                  </a:lnTo>
                  <a:lnTo>
                    <a:pt x="3504" y="2799"/>
                  </a:lnTo>
                  <a:lnTo>
                    <a:pt x="3471" y="2815"/>
                  </a:lnTo>
                  <a:lnTo>
                    <a:pt x="3282" y="2891"/>
                  </a:lnTo>
                  <a:lnTo>
                    <a:pt x="3231" y="2908"/>
                  </a:lnTo>
                  <a:lnTo>
                    <a:pt x="3180" y="2918"/>
                  </a:lnTo>
                  <a:lnTo>
                    <a:pt x="3127" y="2920"/>
                  </a:lnTo>
                  <a:lnTo>
                    <a:pt x="3081" y="2918"/>
                  </a:lnTo>
                  <a:lnTo>
                    <a:pt x="3034" y="2910"/>
                  </a:lnTo>
                  <a:lnTo>
                    <a:pt x="2989" y="2896"/>
                  </a:lnTo>
                  <a:lnTo>
                    <a:pt x="2946" y="2878"/>
                  </a:lnTo>
                  <a:lnTo>
                    <a:pt x="2904" y="2855"/>
                  </a:lnTo>
                  <a:lnTo>
                    <a:pt x="2865" y="2826"/>
                  </a:lnTo>
                  <a:lnTo>
                    <a:pt x="2454" y="2487"/>
                  </a:lnTo>
                  <a:lnTo>
                    <a:pt x="2442" y="2474"/>
                  </a:lnTo>
                  <a:lnTo>
                    <a:pt x="2436" y="2458"/>
                  </a:lnTo>
                  <a:lnTo>
                    <a:pt x="2433" y="2441"/>
                  </a:lnTo>
                  <a:lnTo>
                    <a:pt x="2438" y="2424"/>
                  </a:lnTo>
                  <a:lnTo>
                    <a:pt x="2447" y="2409"/>
                  </a:lnTo>
                  <a:lnTo>
                    <a:pt x="2459" y="2397"/>
                  </a:lnTo>
                  <a:lnTo>
                    <a:pt x="2475" y="2390"/>
                  </a:lnTo>
                  <a:lnTo>
                    <a:pt x="2492" y="2388"/>
                  </a:lnTo>
                  <a:lnTo>
                    <a:pt x="2509" y="2393"/>
                  </a:lnTo>
                  <a:lnTo>
                    <a:pt x="2525" y="2402"/>
                  </a:lnTo>
                  <a:lnTo>
                    <a:pt x="2656" y="2509"/>
                  </a:lnTo>
                  <a:lnTo>
                    <a:pt x="3418" y="2203"/>
                  </a:lnTo>
                  <a:lnTo>
                    <a:pt x="3431" y="2200"/>
                  </a:lnTo>
                  <a:lnTo>
                    <a:pt x="3446" y="2200"/>
                  </a:lnTo>
                  <a:lnTo>
                    <a:pt x="3460" y="2204"/>
                  </a:lnTo>
                  <a:lnTo>
                    <a:pt x="3472" y="2211"/>
                  </a:lnTo>
                  <a:lnTo>
                    <a:pt x="3482" y="2221"/>
                  </a:lnTo>
                  <a:lnTo>
                    <a:pt x="3490" y="2235"/>
                  </a:lnTo>
                  <a:lnTo>
                    <a:pt x="3506" y="2275"/>
                  </a:lnTo>
                  <a:lnTo>
                    <a:pt x="3506" y="2183"/>
                  </a:lnTo>
                  <a:lnTo>
                    <a:pt x="3478" y="2170"/>
                  </a:lnTo>
                  <a:lnTo>
                    <a:pt x="3452" y="2152"/>
                  </a:lnTo>
                  <a:lnTo>
                    <a:pt x="3429" y="2131"/>
                  </a:lnTo>
                  <a:lnTo>
                    <a:pt x="3411" y="2106"/>
                  </a:lnTo>
                  <a:lnTo>
                    <a:pt x="2507" y="766"/>
                  </a:lnTo>
                  <a:lnTo>
                    <a:pt x="1895" y="1794"/>
                  </a:lnTo>
                  <a:lnTo>
                    <a:pt x="1983" y="1926"/>
                  </a:lnTo>
                  <a:lnTo>
                    <a:pt x="2010" y="1971"/>
                  </a:lnTo>
                  <a:lnTo>
                    <a:pt x="2032" y="2018"/>
                  </a:lnTo>
                  <a:lnTo>
                    <a:pt x="2050" y="2067"/>
                  </a:lnTo>
                  <a:lnTo>
                    <a:pt x="2063" y="2117"/>
                  </a:lnTo>
                  <a:lnTo>
                    <a:pt x="2069" y="2168"/>
                  </a:lnTo>
                  <a:lnTo>
                    <a:pt x="2073" y="2221"/>
                  </a:lnTo>
                  <a:lnTo>
                    <a:pt x="2073" y="2433"/>
                  </a:lnTo>
                  <a:lnTo>
                    <a:pt x="2072" y="2441"/>
                  </a:lnTo>
                  <a:lnTo>
                    <a:pt x="2069" y="2452"/>
                  </a:lnTo>
                  <a:lnTo>
                    <a:pt x="2066" y="2460"/>
                  </a:lnTo>
                  <a:lnTo>
                    <a:pt x="2064" y="2463"/>
                  </a:lnTo>
                  <a:lnTo>
                    <a:pt x="2063" y="2465"/>
                  </a:lnTo>
                  <a:lnTo>
                    <a:pt x="2060" y="2469"/>
                  </a:lnTo>
                  <a:lnTo>
                    <a:pt x="2059" y="2469"/>
                  </a:lnTo>
                  <a:lnTo>
                    <a:pt x="2058" y="2471"/>
                  </a:lnTo>
                  <a:lnTo>
                    <a:pt x="2056" y="2473"/>
                  </a:lnTo>
                  <a:lnTo>
                    <a:pt x="2055" y="2474"/>
                  </a:lnTo>
                  <a:lnTo>
                    <a:pt x="2052" y="2477"/>
                  </a:lnTo>
                  <a:lnTo>
                    <a:pt x="2050" y="2478"/>
                  </a:lnTo>
                  <a:lnTo>
                    <a:pt x="2048" y="2480"/>
                  </a:lnTo>
                  <a:lnTo>
                    <a:pt x="2043" y="2482"/>
                  </a:lnTo>
                  <a:lnTo>
                    <a:pt x="2039" y="2485"/>
                  </a:lnTo>
                  <a:lnTo>
                    <a:pt x="2039" y="2485"/>
                  </a:lnTo>
                  <a:lnTo>
                    <a:pt x="2035" y="2486"/>
                  </a:lnTo>
                  <a:lnTo>
                    <a:pt x="2033" y="2487"/>
                  </a:lnTo>
                  <a:lnTo>
                    <a:pt x="2031" y="2488"/>
                  </a:lnTo>
                  <a:lnTo>
                    <a:pt x="2027" y="2488"/>
                  </a:lnTo>
                  <a:lnTo>
                    <a:pt x="2024" y="2489"/>
                  </a:lnTo>
                  <a:lnTo>
                    <a:pt x="2023" y="2489"/>
                  </a:lnTo>
                  <a:lnTo>
                    <a:pt x="2019" y="2489"/>
                  </a:lnTo>
                  <a:lnTo>
                    <a:pt x="2017" y="2489"/>
                  </a:lnTo>
                  <a:lnTo>
                    <a:pt x="1954" y="2489"/>
                  </a:lnTo>
                  <a:lnTo>
                    <a:pt x="1954" y="2672"/>
                  </a:lnTo>
                  <a:lnTo>
                    <a:pt x="1950" y="2689"/>
                  </a:lnTo>
                  <a:lnTo>
                    <a:pt x="1942" y="2705"/>
                  </a:lnTo>
                  <a:lnTo>
                    <a:pt x="1931" y="2716"/>
                  </a:lnTo>
                  <a:lnTo>
                    <a:pt x="1915" y="2724"/>
                  </a:lnTo>
                  <a:lnTo>
                    <a:pt x="1898" y="2727"/>
                  </a:lnTo>
                  <a:lnTo>
                    <a:pt x="1418" y="2727"/>
                  </a:lnTo>
                  <a:lnTo>
                    <a:pt x="1418" y="2853"/>
                  </a:lnTo>
                  <a:lnTo>
                    <a:pt x="1838" y="2853"/>
                  </a:lnTo>
                  <a:lnTo>
                    <a:pt x="1890" y="2857"/>
                  </a:lnTo>
                  <a:lnTo>
                    <a:pt x="1940" y="2866"/>
                  </a:lnTo>
                  <a:lnTo>
                    <a:pt x="1988" y="2882"/>
                  </a:lnTo>
                  <a:lnTo>
                    <a:pt x="2032" y="2902"/>
                  </a:lnTo>
                  <a:lnTo>
                    <a:pt x="2074" y="2927"/>
                  </a:lnTo>
                  <a:lnTo>
                    <a:pt x="2112" y="2958"/>
                  </a:lnTo>
                  <a:lnTo>
                    <a:pt x="2146" y="2992"/>
                  </a:lnTo>
                  <a:lnTo>
                    <a:pt x="2177" y="3030"/>
                  </a:lnTo>
                  <a:lnTo>
                    <a:pt x="2202" y="3072"/>
                  </a:lnTo>
                  <a:lnTo>
                    <a:pt x="2222" y="3116"/>
                  </a:lnTo>
                  <a:lnTo>
                    <a:pt x="2238" y="3164"/>
                  </a:lnTo>
                  <a:lnTo>
                    <a:pt x="2247" y="3214"/>
                  </a:lnTo>
                  <a:lnTo>
                    <a:pt x="2251" y="3266"/>
                  </a:lnTo>
                  <a:lnTo>
                    <a:pt x="2247" y="3317"/>
                  </a:lnTo>
                  <a:lnTo>
                    <a:pt x="2238" y="3367"/>
                  </a:lnTo>
                  <a:lnTo>
                    <a:pt x="2222" y="3415"/>
                  </a:lnTo>
                  <a:lnTo>
                    <a:pt x="2202" y="3460"/>
                  </a:lnTo>
                  <a:lnTo>
                    <a:pt x="2177" y="3501"/>
                  </a:lnTo>
                  <a:lnTo>
                    <a:pt x="2146" y="3540"/>
                  </a:lnTo>
                  <a:lnTo>
                    <a:pt x="2112" y="3574"/>
                  </a:lnTo>
                  <a:lnTo>
                    <a:pt x="2074" y="3604"/>
                  </a:lnTo>
                  <a:lnTo>
                    <a:pt x="2032" y="3630"/>
                  </a:lnTo>
                  <a:lnTo>
                    <a:pt x="1988" y="3651"/>
                  </a:lnTo>
                  <a:lnTo>
                    <a:pt x="1940" y="3666"/>
                  </a:lnTo>
                  <a:lnTo>
                    <a:pt x="1890" y="3676"/>
                  </a:lnTo>
                  <a:lnTo>
                    <a:pt x="1838" y="3678"/>
                  </a:lnTo>
                  <a:lnTo>
                    <a:pt x="413" y="3678"/>
                  </a:lnTo>
                  <a:lnTo>
                    <a:pt x="360" y="3676"/>
                  </a:lnTo>
                  <a:lnTo>
                    <a:pt x="311" y="3666"/>
                  </a:lnTo>
                  <a:lnTo>
                    <a:pt x="263" y="3651"/>
                  </a:lnTo>
                  <a:lnTo>
                    <a:pt x="219" y="3630"/>
                  </a:lnTo>
                  <a:lnTo>
                    <a:pt x="177" y="3604"/>
                  </a:lnTo>
                  <a:lnTo>
                    <a:pt x="138" y="3574"/>
                  </a:lnTo>
                  <a:lnTo>
                    <a:pt x="104" y="3540"/>
                  </a:lnTo>
                  <a:lnTo>
                    <a:pt x="74" y="3501"/>
                  </a:lnTo>
                  <a:lnTo>
                    <a:pt x="49" y="3460"/>
                  </a:lnTo>
                  <a:lnTo>
                    <a:pt x="28" y="3415"/>
                  </a:lnTo>
                  <a:lnTo>
                    <a:pt x="12" y="3367"/>
                  </a:lnTo>
                  <a:lnTo>
                    <a:pt x="3" y="3317"/>
                  </a:lnTo>
                  <a:lnTo>
                    <a:pt x="0" y="3266"/>
                  </a:lnTo>
                  <a:lnTo>
                    <a:pt x="3" y="3214"/>
                  </a:lnTo>
                  <a:lnTo>
                    <a:pt x="12" y="3164"/>
                  </a:lnTo>
                  <a:lnTo>
                    <a:pt x="28" y="3116"/>
                  </a:lnTo>
                  <a:lnTo>
                    <a:pt x="49" y="3072"/>
                  </a:lnTo>
                  <a:lnTo>
                    <a:pt x="74" y="3030"/>
                  </a:lnTo>
                  <a:lnTo>
                    <a:pt x="104" y="2992"/>
                  </a:lnTo>
                  <a:lnTo>
                    <a:pt x="138" y="2958"/>
                  </a:lnTo>
                  <a:lnTo>
                    <a:pt x="177" y="2927"/>
                  </a:lnTo>
                  <a:lnTo>
                    <a:pt x="219" y="2902"/>
                  </a:lnTo>
                  <a:lnTo>
                    <a:pt x="263" y="2882"/>
                  </a:lnTo>
                  <a:lnTo>
                    <a:pt x="311" y="2866"/>
                  </a:lnTo>
                  <a:lnTo>
                    <a:pt x="360" y="2857"/>
                  </a:lnTo>
                  <a:lnTo>
                    <a:pt x="413" y="2853"/>
                  </a:lnTo>
                  <a:lnTo>
                    <a:pt x="832" y="2853"/>
                  </a:lnTo>
                  <a:lnTo>
                    <a:pt x="832" y="2727"/>
                  </a:lnTo>
                  <a:lnTo>
                    <a:pt x="353" y="2727"/>
                  </a:lnTo>
                  <a:lnTo>
                    <a:pt x="317" y="2724"/>
                  </a:lnTo>
                  <a:lnTo>
                    <a:pt x="284" y="2714"/>
                  </a:lnTo>
                  <a:lnTo>
                    <a:pt x="255" y="2698"/>
                  </a:lnTo>
                  <a:lnTo>
                    <a:pt x="229" y="2676"/>
                  </a:lnTo>
                  <a:lnTo>
                    <a:pt x="209" y="2650"/>
                  </a:lnTo>
                  <a:lnTo>
                    <a:pt x="192" y="2621"/>
                  </a:lnTo>
                  <a:lnTo>
                    <a:pt x="181" y="2588"/>
                  </a:lnTo>
                  <a:lnTo>
                    <a:pt x="178" y="2553"/>
                  </a:lnTo>
                  <a:lnTo>
                    <a:pt x="178" y="2136"/>
                  </a:lnTo>
                  <a:lnTo>
                    <a:pt x="181" y="2101"/>
                  </a:lnTo>
                  <a:lnTo>
                    <a:pt x="192" y="2068"/>
                  </a:lnTo>
                  <a:lnTo>
                    <a:pt x="209" y="2039"/>
                  </a:lnTo>
                  <a:lnTo>
                    <a:pt x="229" y="2013"/>
                  </a:lnTo>
                  <a:lnTo>
                    <a:pt x="255" y="1991"/>
                  </a:lnTo>
                  <a:lnTo>
                    <a:pt x="284" y="1975"/>
                  </a:lnTo>
                  <a:lnTo>
                    <a:pt x="317" y="1965"/>
                  </a:lnTo>
                  <a:lnTo>
                    <a:pt x="353" y="1962"/>
                  </a:lnTo>
                  <a:lnTo>
                    <a:pt x="713" y="1962"/>
                  </a:lnTo>
                  <a:lnTo>
                    <a:pt x="713" y="1601"/>
                  </a:lnTo>
                  <a:lnTo>
                    <a:pt x="717" y="1558"/>
                  </a:lnTo>
                  <a:lnTo>
                    <a:pt x="726" y="1517"/>
                  </a:lnTo>
                  <a:lnTo>
                    <a:pt x="740" y="1477"/>
                  </a:lnTo>
                  <a:lnTo>
                    <a:pt x="761" y="1442"/>
                  </a:lnTo>
                  <a:lnTo>
                    <a:pt x="785" y="1409"/>
                  </a:lnTo>
                  <a:lnTo>
                    <a:pt x="814" y="1380"/>
                  </a:lnTo>
                  <a:lnTo>
                    <a:pt x="847" y="1355"/>
                  </a:lnTo>
                  <a:lnTo>
                    <a:pt x="883" y="1335"/>
                  </a:lnTo>
                  <a:lnTo>
                    <a:pt x="922" y="1321"/>
                  </a:lnTo>
                  <a:lnTo>
                    <a:pt x="963" y="1310"/>
                  </a:lnTo>
                  <a:lnTo>
                    <a:pt x="1007" y="1308"/>
                  </a:lnTo>
                  <a:lnTo>
                    <a:pt x="1414" y="1308"/>
                  </a:lnTo>
                  <a:lnTo>
                    <a:pt x="1452" y="1310"/>
                  </a:lnTo>
                  <a:lnTo>
                    <a:pt x="2359" y="101"/>
                  </a:lnTo>
                  <a:lnTo>
                    <a:pt x="2359" y="101"/>
                  </a:lnTo>
                  <a:lnTo>
                    <a:pt x="2382" y="73"/>
                  </a:lnTo>
                  <a:lnTo>
                    <a:pt x="2410" y="48"/>
                  </a:lnTo>
                  <a:lnTo>
                    <a:pt x="2441" y="27"/>
                  </a:lnTo>
                  <a:lnTo>
                    <a:pt x="2475" y="12"/>
                  </a:lnTo>
                  <a:lnTo>
                    <a:pt x="2513" y="3"/>
                  </a:lnTo>
                  <a:lnTo>
                    <a:pt x="2551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</p:grpSp>
      <p:sp>
        <p:nvSpPr>
          <p:cNvPr id="23625" name="TextBox 158">
            <a:extLst>
              <a:ext uri="{FF2B5EF4-FFF2-40B4-BE49-F238E27FC236}">
                <a16:creationId xmlns:a16="http://schemas.microsoft.com/office/drawing/2014/main" id="{E039C87F-72AD-4054-B63A-554ACFFB9E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4663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6" name="TextBox 159">
            <a:extLst>
              <a:ext uri="{FF2B5EF4-FFF2-40B4-BE49-F238E27FC236}">
                <a16:creationId xmlns:a16="http://schemas.microsoft.com/office/drawing/2014/main" id="{C89D28E8-6E73-4458-A352-42A749EC09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3488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7" name="TextBox 127">
            <a:extLst>
              <a:ext uri="{FF2B5EF4-FFF2-40B4-BE49-F238E27FC236}">
                <a16:creationId xmlns:a16="http://schemas.microsoft.com/office/drawing/2014/main" id="{D2C4F5E9-E854-4896-8355-45DEC69063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7813" y="6378575"/>
            <a:ext cx="426243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Sources: National Bureau of Statistics, World Bank Report on Doing Business in Nigeria 2018, climate-</a:t>
            </a:r>
            <a:r>
              <a:rPr lang="en-GB" altLang="en-US" sz="800" dirty="0" err="1">
                <a:latin typeface="Calibri" panose="020F0502020204030204" pitchFamily="34" charset="0"/>
              </a:rPr>
              <a:t>data.org</a:t>
            </a:r>
            <a:r>
              <a:rPr lang="en-GB" altLang="en-US" sz="800" dirty="0">
                <a:latin typeface="Calibri" panose="020F0502020204030204" pitchFamily="34" charset="0"/>
              </a:rPr>
              <a:t>, State Government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Exchange rate= $1/N305 (Central Bank of Nigeria)</a:t>
            </a:r>
          </a:p>
        </p:txBody>
      </p:sp>
      <p:sp>
        <p:nvSpPr>
          <p:cNvPr id="23628" name="TextBox 128">
            <a:extLst>
              <a:ext uri="{FF2B5EF4-FFF2-40B4-BE49-F238E27FC236}">
                <a16:creationId xmlns:a16="http://schemas.microsoft.com/office/drawing/2014/main" id="{409BCC6F-A5F0-4C79-BB4A-38A1ABC14F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80022" y="3649889"/>
            <a:ext cx="49564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Health</a:t>
            </a:r>
          </a:p>
        </p:txBody>
      </p:sp>
      <p:sp>
        <p:nvSpPr>
          <p:cNvPr id="23629" name="TextBox 129">
            <a:extLst>
              <a:ext uri="{FF2B5EF4-FFF2-40B4-BE49-F238E27FC236}">
                <a16:creationId xmlns:a16="http://schemas.microsoft.com/office/drawing/2014/main" id="{489E7B41-20C9-4493-8E7D-07238EB8FA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2892" y="3654980"/>
            <a:ext cx="64953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River Port</a:t>
            </a:r>
          </a:p>
        </p:txBody>
      </p:sp>
      <p:sp>
        <p:nvSpPr>
          <p:cNvPr id="23630" name="TextBox 130">
            <a:extLst>
              <a:ext uri="{FF2B5EF4-FFF2-40B4-BE49-F238E27FC236}">
                <a16:creationId xmlns:a16="http://schemas.microsoft.com/office/drawing/2014/main" id="{048DE5D8-5309-42DA-9D97-2935A10CB7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31" name="TextBox 131">
            <a:extLst>
              <a:ext uri="{FF2B5EF4-FFF2-40B4-BE49-F238E27FC236}">
                <a16:creationId xmlns:a16="http://schemas.microsoft.com/office/drawing/2014/main" id="{FF8B6C80-43E2-43AF-A364-A31845F05C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5388" y="3656013"/>
            <a:ext cx="552450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Cassava</a:t>
            </a:r>
          </a:p>
        </p:txBody>
      </p:sp>
      <p:sp>
        <p:nvSpPr>
          <p:cNvPr id="23632" name="TextBox 132">
            <a:extLst>
              <a:ext uri="{FF2B5EF4-FFF2-40B4-BE49-F238E27FC236}">
                <a16:creationId xmlns:a16="http://schemas.microsoft.com/office/drawing/2014/main" id="{A1C640C1-61D1-4BA5-8A76-E684397E8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22889" y="3650683"/>
            <a:ext cx="38023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Rice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238751" y="3833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23638" name="TextBox 141">
            <a:extLst>
              <a:ext uri="{FF2B5EF4-FFF2-40B4-BE49-F238E27FC236}">
                <a16:creationId xmlns:a16="http://schemas.microsoft.com/office/drawing/2014/main" id="{EE481231-8673-4FD7-B5CC-900AEE7A9F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93860" y="3652271"/>
            <a:ext cx="38023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Clay</a:t>
            </a:r>
          </a:p>
        </p:txBody>
      </p:sp>
      <p:sp>
        <p:nvSpPr>
          <p:cNvPr id="23649" name="TextBox 165">
            <a:extLst>
              <a:ext uri="{FF2B5EF4-FFF2-40B4-BE49-F238E27FC236}">
                <a16:creationId xmlns:a16="http://schemas.microsoft.com/office/drawing/2014/main" id="{1242633E-9CB1-48ED-83F4-2223DFC7ED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75167" y="4459560"/>
            <a:ext cx="1048685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Animal Husbandry</a:t>
            </a:r>
          </a:p>
        </p:txBody>
      </p:sp>
      <p:sp>
        <p:nvSpPr>
          <p:cNvPr id="23650" name="TextBox 166">
            <a:extLst>
              <a:ext uri="{FF2B5EF4-FFF2-40B4-BE49-F238E27FC236}">
                <a16:creationId xmlns:a16="http://schemas.microsoft.com/office/drawing/2014/main" id="{6B51369B-8FA6-464A-B908-12B0FFE6B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51841" y="4458812"/>
            <a:ext cx="56778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Tourism</a:t>
            </a:r>
          </a:p>
        </p:txBody>
      </p:sp>
      <p:sp>
        <p:nvSpPr>
          <p:cNvPr id="23651" name="TextBox 167">
            <a:extLst>
              <a:ext uri="{FF2B5EF4-FFF2-40B4-BE49-F238E27FC236}">
                <a16:creationId xmlns:a16="http://schemas.microsoft.com/office/drawing/2014/main" id="{4F9404E1-8339-401B-8B10-4C7D1A8CEC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82636" y="4457881"/>
            <a:ext cx="739305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Automobile</a:t>
            </a:r>
          </a:p>
        </p:txBody>
      </p:sp>
      <p:sp>
        <p:nvSpPr>
          <p:cNvPr id="23652" name="TextBox 168">
            <a:extLst>
              <a:ext uri="{FF2B5EF4-FFF2-40B4-BE49-F238E27FC236}">
                <a16:creationId xmlns:a16="http://schemas.microsoft.com/office/drawing/2014/main" id="{1C04917D-B2C3-4C21-8CC2-A45C349B4B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65456" y="4457133"/>
            <a:ext cx="71526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Oil and Gas</a:t>
            </a:r>
          </a:p>
        </p:txBody>
      </p:sp>
      <p:sp>
        <p:nvSpPr>
          <p:cNvPr id="23653" name="TextBox 169">
            <a:extLst>
              <a:ext uri="{FF2B5EF4-FFF2-40B4-BE49-F238E27FC236}">
                <a16:creationId xmlns:a16="http://schemas.microsoft.com/office/drawing/2014/main" id="{4BADA327-4F2D-4897-B7C0-4647A1484B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52851" y="4457973"/>
            <a:ext cx="52450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Poultry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8A28B48-1841-45BB-BFBC-EADE77B37C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5959538"/>
              </p:ext>
            </p:extLst>
          </p:nvPr>
        </p:nvGraphicFramePr>
        <p:xfrm>
          <a:off x="2779712" y="2589213"/>
          <a:ext cx="1482725" cy="812800"/>
        </p:xfrm>
        <a:graphic>
          <a:graphicData uri="http://schemas.openxmlformats.org/drawingml/2006/table">
            <a:tbl>
              <a:tblPr/>
              <a:tblGrid>
                <a:gridCol w="11367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9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32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GB" sz="1000" b="1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Domestic</a:t>
                      </a:r>
                      <a:r>
                        <a:rPr lang="en-GB" sz="10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US" sz="1000" b="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International 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Railway</a:t>
                      </a:r>
                      <a:r>
                        <a:rPr lang="en-GB" sz="1000" b="1" kern="1200" baseline="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 Station</a:t>
                      </a:r>
                      <a:endParaRPr lang="en-GB" sz="1000" b="1" kern="1200" dirty="0">
                        <a:solidFill>
                          <a:srgbClr val="292929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32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Sea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7" name="TextBox 136">
            <a:extLst>
              <a:ext uri="{FF2B5EF4-FFF2-40B4-BE49-F238E27FC236}">
                <a16:creationId xmlns:a16="http://schemas.microsoft.com/office/drawing/2014/main" id="{2F4C4876-7073-4C13-A183-127A8909BDC0}"/>
              </a:ext>
            </a:extLst>
          </p:cNvPr>
          <p:cNvSpPr txBox="1"/>
          <p:nvPr/>
        </p:nvSpPr>
        <p:spPr>
          <a:xfrm>
            <a:off x="538163" y="5268913"/>
            <a:ext cx="373856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For further details</a:t>
            </a:r>
          </a:p>
        </p:txBody>
      </p:sp>
      <p:sp>
        <p:nvSpPr>
          <p:cNvPr id="23676" name="TextBox 156">
            <a:extLst>
              <a:ext uri="{FF2B5EF4-FFF2-40B4-BE49-F238E27FC236}">
                <a16:creationId xmlns:a16="http://schemas.microsoft.com/office/drawing/2014/main" id="{95D66AAF-6B48-4B9E-9E5B-F1BB063A89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6300" y="6342063"/>
            <a:ext cx="37306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Abbreviations: </a:t>
            </a:r>
            <a:r>
              <a:rPr lang="en-GB" altLang="en-US" sz="800" b="1" dirty="0">
                <a:latin typeface="Calibri" panose="020F0502020204030204" pitchFamily="34" charset="0"/>
              </a:rPr>
              <a:t>	NICPS</a:t>
            </a:r>
            <a:r>
              <a:rPr lang="en-GB" altLang="en-US" sz="800" dirty="0">
                <a:latin typeface="Calibri" panose="020F0502020204030204" pitchFamily="34" charset="0"/>
              </a:rPr>
              <a:t>: Nigerian Investment Certification Programme for States                  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	</a:t>
            </a:r>
            <a:r>
              <a:rPr lang="en-GB" altLang="en-US" sz="800" b="1" dirty="0">
                <a:latin typeface="Calibri" panose="020F0502020204030204" pitchFamily="34" charset="0"/>
              </a:rPr>
              <a:t>IGR</a:t>
            </a:r>
            <a:r>
              <a:rPr lang="en-GB" altLang="en-US" sz="800" dirty="0">
                <a:latin typeface="Calibri" panose="020F0502020204030204" pitchFamily="34" charset="0"/>
              </a:rPr>
              <a:t>:     Internal Generated Revenue</a:t>
            </a:r>
          </a:p>
        </p:txBody>
      </p:sp>
      <p:sp>
        <p:nvSpPr>
          <p:cNvPr id="23678" name="TextBox 152">
            <a:extLst>
              <a:ext uri="{FF2B5EF4-FFF2-40B4-BE49-F238E27FC236}">
                <a16:creationId xmlns:a16="http://schemas.microsoft.com/office/drawing/2014/main" id="{BFAF6896-F732-45FC-AC47-950DF99D9E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4575" y="1257300"/>
            <a:ext cx="3446463" cy="16927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15888" indent="-11588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</a:rPr>
              <a:t>Second-most densely populated stat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</a:rPr>
              <a:t>Largest market in Africa (Onitsha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</a:rPr>
              <a:t>Automotive Industrial Cluster (Nnewi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</a:rPr>
              <a:t>Tourist attraction (</a:t>
            </a:r>
            <a:r>
              <a:rPr lang="en-US" sz="1300" dirty="0" err="1">
                <a:latin typeface="Calibri" panose="020F0502020204030204" pitchFamily="34" charset="0"/>
              </a:rPr>
              <a:t>Ogbunike</a:t>
            </a:r>
            <a:r>
              <a:rPr lang="en-US" sz="1300" dirty="0">
                <a:latin typeface="Calibri" panose="020F0502020204030204" pitchFamily="34" charset="0"/>
              </a:rPr>
              <a:t> cave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</a:rPr>
              <a:t>Natural gas and crude oil deposi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</a:rPr>
              <a:t>Centre of Nigeria’s metal works and carving (Igbo-</a:t>
            </a:r>
            <a:r>
              <a:rPr lang="en-US" sz="1300" dirty="0" err="1">
                <a:latin typeface="Calibri" panose="020F0502020204030204" pitchFamily="34" charset="0"/>
              </a:rPr>
              <a:t>ukwu</a:t>
            </a:r>
            <a:r>
              <a:rPr lang="en-US" sz="1300" dirty="0">
                <a:latin typeface="Calibri" panose="020F0502020204030204" pitchFamily="34" charset="0"/>
              </a:rPr>
              <a:t>)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1300" dirty="0">
              <a:latin typeface="Calibri" panose="020F0502020204030204" pitchFamily="34" charset="0"/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D4E23C6-26A0-4545-B8F7-7007C8EEBFE4}"/>
              </a:ext>
            </a:extLst>
          </p:cNvPr>
          <p:cNvSpPr txBox="1"/>
          <p:nvPr/>
        </p:nvSpPr>
        <p:spPr>
          <a:xfrm>
            <a:off x="4338638" y="5265738"/>
            <a:ext cx="247491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id you know?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132" name="Text Placeholder 42">
            <a:extLst>
              <a:ext uri="{FF2B5EF4-FFF2-40B4-BE49-F238E27FC236}">
                <a16:creationId xmlns:a16="http://schemas.microsoft.com/office/drawing/2014/main" id="{D510D0DC-1548-4249-8DB1-9A1055126D07}"/>
              </a:ext>
            </a:extLst>
          </p:cNvPr>
          <p:cNvSpPr txBox="1">
            <a:spLocks/>
          </p:cNvSpPr>
          <p:nvPr/>
        </p:nvSpPr>
        <p:spPr>
          <a:xfrm>
            <a:off x="522288" y="5511800"/>
            <a:ext cx="3733800" cy="701675"/>
          </a:xfrm>
          <a:prstGeom prst="rect">
            <a:avLst/>
          </a:prstGeom>
        </p:spPr>
        <p:txBody>
          <a:bodyPr lIns="36576" tIns="0" rIns="36576" bIns="0"/>
          <a:lstStyle>
            <a:lvl1pPr marL="0" indent="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/>
              <a:buNone/>
              <a:defRPr sz="800" b="1" baseline="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6575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93763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 charset="0"/>
              <a:buChar char="►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50950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619250" indent="-188913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0764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25336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29908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34480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NIGERIAN INVESTMENT PROMOTION COMMISSION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>
                <a:solidFill>
                  <a:schemeClr val="tx1"/>
                </a:solidFill>
                <a:hlinkClick r:id="rId7"/>
              </a:rPr>
              <a:t>statesco@nipc.gov.ng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endParaRPr lang="en-US" sz="5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ANAMBRA STATE INVESTMENT PROMOTION AGENCY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 err="1">
                <a:solidFill>
                  <a:schemeClr val="tx1"/>
                </a:solidFill>
                <a:hlinkClick r:id="rId8"/>
              </a:rPr>
              <a:t>ifediora.amobi@anambrastate.gov.ng</a:t>
            </a:r>
            <a:r>
              <a:rPr lang="en-US" sz="1000" b="0" kern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FF015425-7997-4612-9D0E-1F6C433DFCC7}"/>
              </a:ext>
            </a:extLst>
          </p:cNvPr>
          <p:cNvSpPr/>
          <p:nvPr/>
        </p:nvSpPr>
        <p:spPr>
          <a:xfrm>
            <a:off x="6080877" y="3040856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4C0B7457-CABD-4AC8-8A1A-1FD468581E4D}"/>
              </a:ext>
            </a:extLst>
          </p:cNvPr>
          <p:cNvSpPr/>
          <p:nvPr/>
        </p:nvSpPr>
        <p:spPr>
          <a:xfrm>
            <a:off x="6784796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2D626A89-F50C-45A3-9271-5D3F2EEA9C83}"/>
              </a:ext>
            </a:extLst>
          </p:cNvPr>
          <p:cNvSpPr/>
          <p:nvPr/>
        </p:nvSpPr>
        <p:spPr>
          <a:xfrm>
            <a:off x="7518399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240713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A62E850A-D87D-46D0-9257-0071E677FCF0}"/>
              </a:ext>
            </a:extLst>
          </p:cNvPr>
          <p:cNvSpPr/>
          <p:nvPr/>
        </p:nvSpPr>
        <p:spPr>
          <a:xfrm>
            <a:off x="8947150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4D1FAA17-3EFF-404B-B4C4-B468BCE2E9A5}"/>
              </a:ext>
            </a:extLst>
          </p:cNvPr>
          <p:cNvSpPr/>
          <p:nvPr/>
        </p:nvSpPr>
        <p:spPr>
          <a:xfrm>
            <a:off x="6078265" y="3836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E861211D-5D09-4577-8A09-FD96D972A5D4}"/>
              </a:ext>
            </a:extLst>
          </p:cNvPr>
          <p:cNvSpPr/>
          <p:nvPr/>
        </p:nvSpPr>
        <p:spPr>
          <a:xfrm>
            <a:off x="6780509" y="3833831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D9F8790B-E97D-4D8F-AD51-26FAFBF8CA40}"/>
              </a:ext>
            </a:extLst>
          </p:cNvPr>
          <p:cNvSpPr/>
          <p:nvPr/>
        </p:nvSpPr>
        <p:spPr>
          <a:xfrm>
            <a:off x="8946402" y="3833630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3CBEFD1C-6360-47CD-AEDD-DFB49FC0E0C7}"/>
              </a:ext>
            </a:extLst>
          </p:cNvPr>
          <p:cNvSpPr/>
          <p:nvPr/>
        </p:nvSpPr>
        <p:spPr>
          <a:xfrm>
            <a:off x="7518603" y="3830834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53" name="object 41">
            <a:extLst>
              <a:ext uri="{FF2B5EF4-FFF2-40B4-BE49-F238E27FC236}">
                <a16:creationId xmlns:a16="http://schemas.microsoft.com/office/drawing/2014/main" id="{2CCB99A3-0CDA-4815-A7F5-E90EBA59CD5F}"/>
              </a:ext>
            </a:extLst>
          </p:cNvPr>
          <p:cNvSpPr txBox="1"/>
          <p:nvPr/>
        </p:nvSpPr>
        <p:spPr>
          <a:xfrm>
            <a:off x="4583798" y="4623825"/>
            <a:ext cx="1340600" cy="646331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R="5080" indent="12700" algn="ctr">
              <a:lnSpc>
                <a:spcPct val="100000"/>
              </a:lnSpc>
            </a:pPr>
            <a:r>
              <a:rPr lang="en-GB" sz="1400" b="1" spc="-5" dirty="0">
                <a:solidFill>
                  <a:srgbClr val="FF0000"/>
                </a:solidFill>
                <a:latin typeface="Calibri" panose="020F0502020204030204" pitchFamily="34" charset="0"/>
                <a:cs typeface="Arial"/>
              </a:rPr>
              <a:t>State Investment Certification Process  Ongoing</a:t>
            </a:r>
            <a:endParaRPr sz="1400" b="1" dirty="0">
              <a:solidFill>
                <a:srgbClr val="FF0000"/>
              </a:solidFill>
              <a:latin typeface="Calibri" panose="020F0502020204030204" pitchFamily="34" charset="0"/>
              <a:cs typeface="Arial"/>
            </a:endParaRPr>
          </a:p>
        </p:txBody>
      </p:sp>
      <p:pic>
        <p:nvPicPr>
          <p:cNvPr id="154" name="Picture 153">
            <a:extLst>
              <a:ext uri="{FF2B5EF4-FFF2-40B4-BE49-F238E27FC236}">
                <a16:creationId xmlns:a16="http://schemas.microsoft.com/office/drawing/2014/main" id="{D63C6F5E-AC4C-425E-9BB9-7C40A212C47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3220" y="3110867"/>
            <a:ext cx="426587" cy="442775"/>
          </a:xfrm>
          <a:prstGeom prst="rect">
            <a:avLst/>
          </a:prstGeom>
        </p:spPr>
      </p:pic>
      <p:pic>
        <p:nvPicPr>
          <p:cNvPr id="155" name="Picture 6">
            <a:extLst>
              <a:ext uri="{FF2B5EF4-FFF2-40B4-BE49-F238E27FC236}">
                <a16:creationId xmlns:a16="http://schemas.microsoft.com/office/drawing/2014/main" id="{CB8BBA2A-0700-482F-9E01-DC63AE1D76D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814" r="8128"/>
          <a:stretch/>
        </p:blipFill>
        <p:spPr bwMode="auto">
          <a:xfrm>
            <a:off x="7493185" y="3119541"/>
            <a:ext cx="635393" cy="4631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6" name="Picture 7">
            <a:extLst>
              <a:ext uri="{FF2B5EF4-FFF2-40B4-BE49-F238E27FC236}">
                <a16:creationId xmlns:a16="http://schemas.microsoft.com/office/drawing/2014/main" id="{10045826-FA89-4C1D-8C33-D2B913DC1E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8948" y="3174508"/>
            <a:ext cx="3778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7" name="Picture 156" descr="rice.png">
            <a:extLst>
              <a:ext uri="{FF2B5EF4-FFF2-40B4-BE49-F238E27FC236}">
                <a16:creationId xmlns:a16="http://schemas.microsoft.com/office/drawing/2014/main" id="{29BCC2C2-7806-43ED-9195-C38ED831EBD5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15867" r="20664"/>
          <a:stretch>
            <a:fillRect/>
          </a:stretch>
        </p:blipFill>
        <p:spPr>
          <a:xfrm>
            <a:off x="8352596" y="3126952"/>
            <a:ext cx="476674" cy="465587"/>
          </a:xfrm>
          <a:prstGeom prst="rect">
            <a:avLst/>
          </a:prstGeom>
        </p:spPr>
      </p:pic>
      <p:pic>
        <p:nvPicPr>
          <p:cNvPr id="158" name="Picture 157" descr="Poultry.jpg">
            <a:extLst>
              <a:ext uri="{FF2B5EF4-FFF2-40B4-BE49-F238E27FC236}">
                <a16:creationId xmlns:a16="http://schemas.microsoft.com/office/drawing/2014/main" id="{B058D570-3A27-4060-9C98-94FFDFFD44AD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969494" y="3843115"/>
            <a:ext cx="506177" cy="563213"/>
          </a:xfrm>
          <a:prstGeom prst="rect">
            <a:avLst/>
          </a:prstGeom>
        </p:spPr>
      </p:pic>
      <p:pic>
        <p:nvPicPr>
          <p:cNvPr id="159" name="Picture 4">
            <a:extLst>
              <a:ext uri="{FF2B5EF4-FFF2-40B4-BE49-F238E27FC236}">
                <a16:creationId xmlns:a16="http://schemas.microsoft.com/office/drawing/2014/main" id="{60EB3B19-0F75-44AC-A416-557E4885010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90" t="9602" r="10216" b="20532"/>
          <a:stretch/>
        </p:blipFill>
        <p:spPr bwMode="auto">
          <a:xfrm>
            <a:off x="6128479" y="3177832"/>
            <a:ext cx="482882" cy="35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0" name="Picture 159">
            <a:extLst>
              <a:ext uri="{FF2B5EF4-FFF2-40B4-BE49-F238E27FC236}">
                <a16:creationId xmlns:a16="http://schemas.microsoft.com/office/drawing/2014/main" id="{AF4EF6DF-E18A-44C4-A3B7-BE71540595E8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1830" y="3911216"/>
            <a:ext cx="464155" cy="464155"/>
          </a:xfrm>
          <a:prstGeom prst="rect">
            <a:avLst/>
          </a:prstGeom>
        </p:spPr>
      </p:pic>
      <p:pic>
        <p:nvPicPr>
          <p:cNvPr id="161" name="Picture 6">
            <a:extLst>
              <a:ext uri="{FF2B5EF4-FFF2-40B4-BE49-F238E27FC236}">
                <a16:creationId xmlns:a16="http://schemas.microsoft.com/office/drawing/2014/main" id="{CDC0F132-9900-4F31-A9B1-44D7B4602C7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 cstate="print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589" b="10910"/>
          <a:stretch/>
        </p:blipFill>
        <p:spPr bwMode="auto">
          <a:xfrm>
            <a:off x="7569990" y="3905294"/>
            <a:ext cx="500109" cy="4649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2" name="Picture 9">
            <a:extLst>
              <a:ext uri="{FF2B5EF4-FFF2-40B4-BE49-F238E27FC236}">
                <a16:creationId xmlns:a16="http://schemas.microsoft.com/office/drawing/2014/main" id="{841E75B4-2D14-4C92-B912-A3FD6E77B2D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348" b="44725"/>
          <a:stretch/>
        </p:blipFill>
        <p:spPr bwMode="auto">
          <a:xfrm>
            <a:off x="8364409" y="3925447"/>
            <a:ext cx="376847" cy="399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3" name="Picture 7">
            <a:extLst>
              <a:ext uri="{FF2B5EF4-FFF2-40B4-BE49-F238E27FC236}">
                <a16:creationId xmlns:a16="http://schemas.microsoft.com/office/drawing/2014/main" id="{1A4B3DA2-FD42-4FA4-8E18-4E9A6B446E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5955" y="3931753"/>
            <a:ext cx="300966" cy="444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4262437" y="5419069"/>
            <a:ext cx="259662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000" dirty="0" err="1">
                <a:latin typeface="Calibri" panose="020F0502020204030204" pitchFamily="34" charset="0"/>
                <a:cs typeface="Calibri" panose="020F0502020204030204" pitchFamily="34" charset="0"/>
              </a:rPr>
              <a:t>Awka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 is one of the oldest settlements in Igboland; it was at the centre of the </a:t>
            </a:r>
            <a:r>
              <a:rPr lang="en-US" sz="1000" dirty="0" err="1">
                <a:latin typeface="Calibri" panose="020F0502020204030204" pitchFamily="34" charset="0"/>
                <a:cs typeface="Calibri" panose="020F0502020204030204" pitchFamily="34" charset="0"/>
              </a:rPr>
              <a:t>Nri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 civilization which produced the earliest documented bronze works in Sub-Saharan Africa around 800 AD and was the cradle of Igbo civilization.</a:t>
            </a:r>
          </a:p>
        </p:txBody>
      </p:sp>
    </p:spTree>
    <p:extLst>
      <p:ext uri="{BB962C8B-B14F-4D97-AF65-F5344CB8AC3E}">
        <p14:creationId xmlns:p14="http://schemas.microsoft.com/office/powerpoint/2010/main" val="2010445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Pentagon 19">
            <a:extLst>
              <a:ext uri="{FF2B5EF4-FFF2-40B4-BE49-F238E27FC236}">
                <a16:creationId xmlns:a16="http://schemas.microsoft.com/office/drawing/2014/main" id="{CAD93C59-72A9-4F6D-A654-02B9F8A5EFF9}"/>
              </a:ext>
            </a:extLst>
          </p:cNvPr>
          <p:cNvSpPr>
            <a:spLocks/>
          </p:cNvSpPr>
          <p:nvPr/>
        </p:nvSpPr>
        <p:spPr bwMode="auto">
          <a:xfrm>
            <a:off x="756602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5 of 37</a:t>
            </a:r>
          </a:p>
        </p:txBody>
      </p:sp>
      <p:sp>
        <p:nvSpPr>
          <p:cNvPr id="376" name="Pentagon 19">
            <a:extLst>
              <a:ext uri="{FF2B5EF4-FFF2-40B4-BE49-F238E27FC236}">
                <a16:creationId xmlns:a16="http://schemas.microsoft.com/office/drawing/2014/main" id="{1BDC5465-6022-4404-B4D8-ED55CF961B8A}"/>
              </a:ext>
            </a:extLst>
          </p:cNvPr>
          <p:cNvSpPr>
            <a:spLocks/>
          </p:cNvSpPr>
          <p:nvPr/>
        </p:nvSpPr>
        <p:spPr bwMode="auto">
          <a:xfrm>
            <a:off x="824865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5 of 3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57F1EBC-D01A-4083-B657-63AFB1490839}"/>
              </a:ext>
            </a:extLst>
          </p:cNvPr>
          <p:cNvSpPr txBox="1"/>
          <p:nvPr/>
        </p:nvSpPr>
        <p:spPr>
          <a:xfrm>
            <a:off x="6122988" y="2749550"/>
            <a:ext cx="3475037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nvestment Opportunit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D251BD-538A-4F4F-847E-620EEDA298A0}"/>
              </a:ext>
            </a:extLst>
          </p:cNvPr>
          <p:cNvSpPr txBox="1"/>
          <p:nvPr/>
        </p:nvSpPr>
        <p:spPr>
          <a:xfrm>
            <a:off x="6881813" y="4648300"/>
            <a:ext cx="2697162" cy="30777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Doing Business Ranking(2018)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1B8F13C-F732-4DA1-9250-DB02936E7688}"/>
              </a:ext>
            </a:extLst>
          </p:cNvPr>
          <p:cNvSpPr/>
          <p:nvPr/>
        </p:nvSpPr>
        <p:spPr>
          <a:xfrm>
            <a:off x="756602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Registering Propert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6BA1818-32ED-44D1-975C-958200BDD124}"/>
              </a:ext>
            </a:extLst>
          </p:cNvPr>
          <p:cNvSpPr/>
          <p:nvPr/>
        </p:nvSpPr>
        <p:spPr>
          <a:xfrm>
            <a:off x="8248650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Dealing with Construction Permits</a:t>
            </a:r>
          </a:p>
        </p:txBody>
      </p:sp>
      <p:sp>
        <p:nvSpPr>
          <p:cNvPr id="23560" name="TextBox 174">
            <a:extLst>
              <a:ext uri="{FF2B5EF4-FFF2-40B4-BE49-F238E27FC236}">
                <a16:creationId xmlns:a16="http://schemas.microsoft.com/office/drawing/2014/main" id="{1573FD4E-62B9-45E8-8F28-CED990ED2D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0B63A6C-2A5E-4CA3-BC66-4CBC6008BC9A}"/>
              </a:ext>
            </a:extLst>
          </p:cNvPr>
          <p:cNvSpPr/>
          <p:nvPr/>
        </p:nvSpPr>
        <p:spPr>
          <a:xfrm>
            <a:off x="893127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Enforcing Contracts</a:t>
            </a:r>
          </a:p>
        </p:txBody>
      </p:sp>
      <p:pic>
        <p:nvPicPr>
          <p:cNvPr id="23562" name="Picture 4">
            <a:extLst>
              <a:ext uri="{FF2B5EF4-FFF2-40B4-BE49-F238E27FC236}">
                <a16:creationId xmlns:a16="http://schemas.microsoft.com/office/drawing/2014/main" id="{7C8EEAB2-0239-4BB5-94B3-23E319AF1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513" y="5249863"/>
            <a:ext cx="439737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6" name="Pentagon 19">
            <a:extLst>
              <a:ext uri="{FF2B5EF4-FFF2-40B4-BE49-F238E27FC236}">
                <a16:creationId xmlns:a16="http://schemas.microsoft.com/office/drawing/2014/main" id="{5F8E9670-D71A-4765-B6B5-D711BC9AD6E1}"/>
              </a:ext>
            </a:extLst>
          </p:cNvPr>
          <p:cNvSpPr>
            <a:spLocks/>
          </p:cNvSpPr>
          <p:nvPr/>
        </p:nvSpPr>
        <p:spPr bwMode="auto">
          <a:xfrm>
            <a:off x="893127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</a:t>
            </a:r>
            <a:r>
              <a:rPr lang="en-GB" sz="1000" baseline="3000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of 37</a:t>
            </a:r>
          </a:p>
        </p:txBody>
      </p:sp>
      <p:sp>
        <p:nvSpPr>
          <p:cNvPr id="23564" name="Title 3">
            <a:extLst>
              <a:ext uri="{FF2B5EF4-FFF2-40B4-BE49-F238E27FC236}">
                <a16:creationId xmlns:a16="http://schemas.microsoft.com/office/drawing/2014/main" id="{C62A749B-CFC7-4224-A789-D20A772AC33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77813" y="222250"/>
            <a:ext cx="8543925" cy="5619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en-GB" alt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auchi State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6882DF2C-9120-4A66-8487-575D9494F4D6}"/>
              </a:ext>
            </a:extLst>
          </p:cNvPr>
          <p:cNvSpPr txBox="1"/>
          <p:nvPr/>
        </p:nvSpPr>
        <p:spPr>
          <a:xfrm rot="16200000">
            <a:off x="-2290084" y="3478372"/>
            <a:ext cx="5303837" cy="2743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Pearl of Tourism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grpSp>
        <p:nvGrpSpPr>
          <p:cNvPr id="23566" name="Group 9">
            <a:extLst>
              <a:ext uri="{FF2B5EF4-FFF2-40B4-BE49-F238E27FC236}">
                <a16:creationId xmlns:a16="http://schemas.microsoft.com/office/drawing/2014/main" id="{5B6131BD-3CE3-4FC4-B13A-FA9B797C1EF5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41338" y="963613"/>
            <a:ext cx="2897187" cy="2319337"/>
            <a:chOff x="770228" y="1459989"/>
            <a:chExt cx="4081047" cy="3267527"/>
          </a:xfrm>
        </p:grpSpPr>
        <p:sp>
          <p:nvSpPr>
            <p:cNvPr id="299" name="Freeform 4">
              <a:extLst>
                <a:ext uri="{FF2B5EF4-FFF2-40B4-BE49-F238E27FC236}">
                  <a16:creationId xmlns:a16="http://schemas.microsoft.com/office/drawing/2014/main" id="{B6150C82-CBE5-48B4-B60C-C210BB7B26A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91538" y="4349548"/>
              <a:ext cx="418167" cy="377968"/>
            </a:xfrm>
            <a:custGeom>
              <a:avLst/>
              <a:gdLst>
                <a:gd name="T0" fmla="*/ 12 w 786"/>
                <a:gd name="T1" fmla="*/ 19 h 714"/>
                <a:gd name="T2" fmla="*/ 22 w 786"/>
                <a:gd name="T3" fmla="*/ 18 h 714"/>
                <a:gd name="T4" fmla="*/ 27 w 786"/>
                <a:gd name="T5" fmla="*/ 17 h 714"/>
                <a:gd name="T6" fmla="*/ 30 w 786"/>
                <a:gd name="T7" fmla="*/ 14 h 714"/>
                <a:gd name="T8" fmla="*/ 37 w 786"/>
                <a:gd name="T9" fmla="*/ 16 h 714"/>
                <a:gd name="T10" fmla="*/ 43 w 786"/>
                <a:gd name="T11" fmla="*/ 13 h 714"/>
                <a:gd name="T12" fmla="*/ 48 w 786"/>
                <a:gd name="T13" fmla="*/ 8 h 714"/>
                <a:gd name="T14" fmla="*/ 55 w 786"/>
                <a:gd name="T15" fmla="*/ 4 h 714"/>
                <a:gd name="T16" fmla="*/ 66 w 786"/>
                <a:gd name="T17" fmla="*/ 0 h 714"/>
                <a:gd name="T18" fmla="*/ 63 w 786"/>
                <a:gd name="T19" fmla="*/ 12 h 714"/>
                <a:gd name="T20" fmla="*/ 59 w 786"/>
                <a:gd name="T21" fmla="*/ 19 h 714"/>
                <a:gd name="T22" fmla="*/ 57 w 786"/>
                <a:gd name="T23" fmla="*/ 29 h 714"/>
                <a:gd name="T24" fmla="*/ 59 w 786"/>
                <a:gd name="T25" fmla="*/ 36 h 714"/>
                <a:gd name="T26" fmla="*/ 66 w 786"/>
                <a:gd name="T27" fmla="*/ 35 h 714"/>
                <a:gd name="T28" fmla="*/ 64 w 786"/>
                <a:gd name="T29" fmla="*/ 41 h 714"/>
                <a:gd name="T30" fmla="*/ 64 w 786"/>
                <a:gd name="T31" fmla="*/ 48 h 714"/>
                <a:gd name="T32" fmla="*/ 63 w 786"/>
                <a:gd name="T33" fmla="*/ 56 h 714"/>
                <a:gd name="T34" fmla="*/ 60 w 786"/>
                <a:gd name="T35" fmla="*/ 60 h 714"/>
                <a:gd name="T36" fmla="*/ 57 w 786"/>
                <a:gd name="T37" fmla="*/ 58 h 714"/>
                <a:gd name="T38" fmla="*/ 54 w 786"/>
                <a:gd name="T39" fmla="*/ 54 h 714"/>
                <a:gd name="T40" fmla="*/ 53 w 786"/>
                <a:gd name="T41" fmla="*/ 51 h 714"/>
                <a:gd name="T42" fmla="*/ 51 w 786"/>
                <a:gd name="T43" fmla="*/ 53 h 714"/>
                <a:gd name="T44" fmla="*/ 49 w 786"/>
                <a:gd name="T45" fmla="*/ 54 h 714"/>
                <a:gd name="T46" fmla="*/ 47 w 786"/>
                <a:gd name="T47" fmla="*/ 50 h 714"/>
                <a:gd name="T48" fmla="*/ 48 w 786"/>
                <a:gd name="T49" fmla="*/ 54 h 714"/>
                <a:gd name="T50" fmla="*/ 47 w 786"/>
                <a:gd name="T51" fmla="*/ 54 h 714"/>
                <a:gd name="T52" fmla="*/ 46 w 786"/>
                <a:gd name="T53" fmla="*/ 59 h 714"/>
                <a:gd name="T54" fmla="*/ 47 w 786"/>
                <a:gd name="T55" fmla="*/ 62 h 714"/>
                <a:gd name="T56" fmla="*/ 42 w 786"/>
                <a:gd name="T57" fmla="*/ 62 h 714"/>
                <a:gd name="T58" fmla="*/ 39 w 786"/>
                <a:gd name="T59" fmla="*/ 57 h 714"/>
                <a:gd name="T60" fmla="*/ 40 w 786"/>
                <a:gd name="T61" fmla="*/ 54 h 714"/>
                <a:gd name="T62" fmla="*/ 43 w 786"/>
                <a:gd name="T63" fmla="*/ 55 h 714"/>
                <a:gd name="T64" fmla="*/ 40 w 786"/>
                <a:gd name="T65" fmla="*/ 53 h 714"/>
                <a:gd name="T66" fmla="*/ 38 w 786"/>
                <a:gd name="T67" fmla="*/ 57 h 714"/>
                <a:gd name="T68" fmla="*/ 37 w 786"/>
                <a:gd name="T69" fmla="*/ 57 h 714"/>
                <a:gd name="T70" fmla="*/ 37 w 786"/>
                <a:gd name="T71" fmla="*/ 60 h 714"/>
                <a:gd name="T72" fmla="*/ 33 w 786"/>
                <a:gd name="T73" fmla="*/ 56 h 714"/>
                <a:gd name="T74" fmla="*/ 32 w 786"/>
                <a:gd name="T75" fmla="*/ 58 h 714"/>
                <a:gd name="T76" fmla="*/ 26 w 786"/>
                <a:gd name="T77" fmla="*/ 54 h 714"/>
                <a:gd name="T78" fmla="*/ 26 w 786"/>
                <a:gd name="T79" fmla="*/ 54 h 714"/>
                <a:gd name="T80" fmla="*/ 24 w 786"/>
                <a:gd name="T81" fmla="*/ 51 h 714"/>
                <a:gd name="T82" fmla="*/ 22 w 786"/>
                <a:gd name="T83" fmla="*/ 51 h 714"/>
                <a:gd name="T84" fmla="*/ 20 w 786"/>
                <a:gd name="T85" fmla="*/ 50 h 714"/>
                <a:gd name="T86" fmla="*/ 20 w 786"/>
                <a:gd name="T87" fmla="*/ 48 h 714"/>
                <a:gd name="T88" fmla="*/ 18 w 786"/>
                <a:gd name="T89" fmla="*/ 47 h 714"/>
                <a:gd name="T90" fmla="*/ 15 w 786"/>
                <a:gd name="T91" fmla="*/ 45 h 714"/>
                <a:gd name="T92" fmla="*/ 11 w 786"/>
                <a:gd name="T93" fmla="*/ 39 h 714"/>
                <a:gd name="T94" fmla="*/ 12 w 786"/>
                <a:gd name="T95" fmla="*/ 36 h 714"/>
                <a:gd name="T96" fmla="*/ 7 w 786"/>
                <a:gd name="T97" fmla="*/ 33 h 714"/>
                <a:gd name="T98" fmla="*/ 5 w 786"/>
                <a:gd name="T99" fmla="*/ 28 h 714"/>
                <a:gd name="T100" fmla="*/ 7 w 786"/>
                <a:gd name="T101" fmla="*/ 30 h 714"/>
                <a:gd name="T102" fmla="*/ 4 w 786"/>
                <a:gd name="T103" fmla="*/ 24 h 714"/>
                <a:gd name="T104" fmla="*/ 2 w 786"/>
                <a:gd name="T105" fmla="*/ 20 h 714"/>
                <a:gd name="T106" fmla="*/ 0 w 786"/>
                <a:gd name="T107" fmla="*/ 15 h 714"/>
                <a:gd name="T108" fmla="*/ 4 w 786"/>
                <a:gd name="T109" fmla="*/ 16 h 714"/>
                <a:gd name="T110" fmla="*/ 55 w 786"/>
                <a:gd name="T111" fmla="*/ 60 h 714"/>
                <a:gd name="T112" fmla="*/ 47 w 786"/>
                <a:gd name="T113" fmla="*/ 60 h 714"/>
                <a:gd name="T114" fmla="*/ 51 w 786"/>
                <a:gd name="T115" fmla="*/ 54 h 714"/>
                <a:gd name="T116" fmla="*/ 54 w 786"/>
                <a:gd name="T117" fmla="*/ 56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86"/>
                <a:gd name="T178" fmla="*/ 0 h 714"/>
                <a:gd name="T179" fmla="*/ 786 w 786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86" h="714">
                  <a:moveTo>
                    <a:pt x="54" y="186"/>
                  </a:moveTo>
                  <a:lnTo>
                    <a:pt x="54" y="192"/>
                  </a:lnTo>
                  <a:lnTo>
                    <a:pt x="72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204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20" y="210"/>
                  </a:lnTo>
                  <a:lnTo>
                    <a:pt x="126" y="210"/>
                  </a:lnTo>
                  <a:lnTo>
                    <a:pt x="132" y="210"/>
                  </a:lnTo>
                  <a:lnTo>
                    <a:pt x="132" y="216"/>
                  </a:lnTo>
                  <a:lnTo>
                    <a:pt x="138" y="222"/>
                  </a:lnTo>
                  <a:lnTo>
                    <a:pt x="150" y="222"/>
                  </a:lnTo>
                  <a:lnTo>
                    <a:pt x="162" y="234"/>
                  </a:lnTo>
                  <a:lnTo>
                    <a:pt x="168" y="240"/>
                  </a:lnTo>
                  <a:lnTo>
                    <a:pt x="180" y="240"/>
                  </a:lnTo>
                  <a:lnTo>
                    <a:pt x="186" y="228"/>
                  </a:lnTo>
                  <a:lnTo>
                    <a:pt x="210" y="234"/>
                  </a:lnTo>
                  <a:lnTo>
                    <a:pt x="222" y="228"/>
                  </a:lnTo>
                  <a:lnTo>
                    <a:pt x="228" y="216"/>
                  </a:lnTo>
                  <a:lnTo>
                    <a:pt x="234" y="210"/>
                  </a:lnTo>
                  <a:lnTo>
                    <a:pt x="240" y="216"/>
                  </a:lnTo>
                  <a:lnTo>
                    <a:pt x="246" y="210"/>
                  </a:lnTo>
                  <a:lnTo>
                    <a:pt x="252" y="210"/>
                  </a:lnTo>
                  <a:lnTo>
                    <a:pt x="258" y="210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192"/>
                  </a:lnTo>
                  <a:lnTo>
                    <a:pt x="270" y="192"/>
                  </a:lnTo>
                  <a:lnTo>
                    <a:pt x="276" y="192"/>
                  </a:lnTo>
                  <a:lnTo>
                    <a:pt x="282" y="192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192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198"/>
                  </a:lnTo>
                  <a:lnTo>
                    <a:pt x="312" y="198"/>
                  </a:lnTo>
                  <a:lnTo>
                    <a:pt x="312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24" y="186"/>
                  </a:lnTo>
                  <a:lnTo>
                    <a:pt x="318" y="180"/>
                  </a:lnTo>
                  <a:lnTo>
                    <a:pt x="324" y="180"/>
                  </a:lnTo>
                  <a:lnTo>
                    <a:pt x="330" y="186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74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54" y="144"/>
                  </a:lnTo>
                  <a:lnTo>
                    <a:pt x="360" y="144"/>
                  </a:lnTo>
                  <a:lnTo>
                    <a:pt x="372" y="156"/>
                  </a:lnTo>
                  <a:lnTo>
                    <a:pt x="372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96" y="168"/>
                  </a:lnTo>
                  <a:lnTo>
                    <a:pt x="396" y="174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26" y="186"/>
                  </a:lnTo>
                  <a:lnTo>
                    <a:pt x="432" y="186"/>
                  </a:lnTo>
                  <a:lnTo>
                    <a:pt x="438" y="180"/>
                  </a:lnTo>
                  <a:lnTo>
                    <a:pt x="438" y="168"/>
                  </a:lnTo>
                  <a:lnTo>
                    <a:pt x="438" y="162"/>
                  </a:lnTo>
                  <a:lnTo>
                    <a:pt x="444" y="156"/>
                  </a:lnTo>
                  <a:lnTo>
                    <a:pt x="450" y="156"/>
                  </a:lnTo>
                  <a:lnTo>
                    <a:pt x="456" y="150"/>
                  </a:lnTo>
                  <a:lnTo>
                    <a:pt x="462" y="156"/>
                  </a:lnTo>
                  <a:lnTo>
                    <a:pt x="468" y="162"/>
                  </a:lnTo>
                  <a:lnTo>
                    <a:pt x="474" y="162"/>
                  </a:lnTo>
                  <a:lnTo>
                    <a:pt x="486" y="162"/>
                  </a:lnTo>
                  <a:lnTo>
                    <a:pt x="492" y="156"/>
                  </a:lnTo>
                  <a:lnTo>
                    <a:pt x="498" y="150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28" y="126"/>
                  </a:lnTo>
                  <a:lnTo>
                    <a:pt x="522" y="120"/>
                  </a:lnTo>
                  <a:lnTo>
                    <a:pt x="522" y="114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28" y="102"/>
                  </a:lnTo>
                  <a:lnTo>
                    <a:pt x="534" y="96"/>
                  </a:lnTo>
                  <a:lnTo>
                    <a:pt x="552" y="96"/>
                  </a:lnTo>
                  <a:lnTo>
                    <a:pt x="570" y="102"/>
                  </a:lnTo>
                  <a:lnTo>
                    <a:pt x="582" y="96"/>
                  </a:lnTo>
                  <a:lnTo>
                    <a:pt x="582" y="90"/>
                  </a:lnTo>
                  <a:lnTo>
                    <a:pt x="582" y="78"/>
                  </a:lnTo>
                  <a:lnTo>
                    <a:pt x="582" y="72"/>
                  </a:lnTo>
                  <a:lnTo>
                    <a:pt x="582" y="66"/>
                  </a:lnTo>
                  <a:lnTo>
                    <a:pt x="594" y="60"/>
                  </a:lnTo>
                  <a:lnTo>
                    <a:pt x="600" y="60"/>
                  </a:lnTo>
                  <a:lnTo>
                    <a:pt x="606" y="54"/>
                  </a:lnTo>
                  <a:lnTo>
                    <a:pt x="618" y="48"/>
                  </a:lnTo>
                  <a:lnTo>
                    <a:pt x="618" y="42"/>
                  </a:lnTo>
                  <a:lnTo>
                    <a:pt x="624" y="42"/>
                  </a:lnTo>
                  <a:lnTo>
                    <a:pt x="636" y="48"/>
                  </a:lnTo>
                  <a:lnTo>
                    <a:pt x="648" y="54"/>
                  </a:lnTo>
                  <a:lnTo>
                    <a:pt x="660" y="54"/>
                  </a:lnTo>
                  <a:lnTo>
                    <a:pt x="666" y="60"/>
                  </a:lnTo>
                  <a:lnTo>
                    <a:pt x="672" y="54"/>
                  </a:lnTo>
                  <a:lnTo>
                    <a:pt x="684" y="48"/>
                  </a:lnTo>
                  <a:lnTo>
                    <a:pt x="708" y="42"/>
                  </a:lnTo>
                  <a:lnTo>
                    <a:pt x="714" y="42"/>
                  </a:lnTo>
                  <a:lnTo>
                    <a:pt x="720" y="36"/>
                  </a:lnTo>
                  <a:lnTo>
                    <a:pt x="720" y="30"/>
                  </a:lnTo>
                  <a:lnTo>
                    <a:pt x="714" y="12"/>
                  </a:lnTo>
                  <a:lnTo>
                    <a:pt x="708" y="0"/>
                  </a:lnTo>
                  <a:lnTo>
                    <a:pt x="738" y="6"/>
                  </a:lnTo>
                  <a:lnTo>
                    <a:pt x="756" y="6"/>
                  </a:lnTo>
                  <a:lnTo>
                    <a:pt x="762" y="42"/>
                  </a:lnTo>
                  <a:lnTo>
                    <a:pt x="738" y="72"/>
                  </a:lnTo>
                  <a:lnTo>
                    <a:pt x="750" y="90"/>
                  </a:lnTo>
                  <a:lnTo>
                    <a:pt x="762" y="96"/>
                  </a:lnTo>
                  <a:lnTo>
                    <a:pt x="756" y="102"/>
                  </a:lnTo>
                  <a:lnTo>
                    <a:pt x="750" y="108"/>
                  </a:lnTo>
                  <a:lnTo>
                    <a:pt x="750" y="114"/>
                  </a:lnTo>
                  <a:lnTo>
                    <a:pt x="750" y="120"/>
                  </a:lnTo>
                  <a:lnTo>
                    <a:pt x="750" y="126"/>
                  </a:lnTo>
                  <a:lnTo>
                    <a:pt x="750" y="132"/>
                  </a:lnTo>
                  <a:lnTo>
                    <a:pt x="738" y="132"/>
                  </a:lnTo>
                  <a:lnTo>
                    <a:pt x="732" y="138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14" y="144"/>
                  </a:lnTo>
                  <a:lnTo>
                    <a:pt x="714" y="150"/>
                  </a:lnTo>
                  <a:lnTo>
                    <a:pt x="720" y="156"/>
                  </a:lnTo>
                  <a:lnTo>
                    <a:pt x="720" y="162"/>
                  </a:lnTo>
                  <a:lnTo>
                    <a:pt x="714" y="162"/>
                  </a:lnTo>
                  <a:lnTo>
                    <a:pt x="708" y="168"/>
                  </a:lnTo>
                  <a:lnTo>
                    <a:pt x="708" y="180"/>
                  </a:lnTo>
                  <a:lnTo>
                    <a:pt x="708" y="192"/>
                  </a:lnTo>
                  <a:lnTo>
                    <a:pt x="696" y="198"/>
                  </a:lnTo>
                  <a:lnTo>
                    <a:pt x="696" y="204"/>
                  </a:lnTo>
                  <a:lnTo>
                    <a:pt x="684" y="210"/>
                  </a:lnTo>
                  <a:lnTo>
                    <a:pt x="684" y="216"/>
                  </a:lnTo>
                  <a:lnTo>
                    <a:pt x="684" y="222"/>
                  </a:lnTo>
                  <a:lnTo>
                    <a:pt x="678" y="228"/>
                  </a:lnTo>
                  <a:lnTo>
                    <a:pt x="678" y="234"/>
                  </a:lnTo>
                  <a:lnTo>
                    <a:pt x="672" y="240"/>
                  </a:lnTo>
                  <a:lnTo>
                    <a:pt x="672" y="252"/>
                  </a:lnTo>
                  <a:lnTo>
                    <a:pt x="672" y="258"/>
                  </a:lnTo>
                  <a:lnTo>
                    <a:pt x="666" y="264"/>
                  </a:lnTo>
                  <a:lnTo>
                    <a:pt x="678" y="264"/>
                  </a:lnTo>
                  <a:lnTo>
                    <a:pt x="684" y="276"/>
                  </a:lnTo>
                  <a:lnTo>
                    <a:pt x="684" y="288"/>
                  </a:lnTo>
                  <a:lnTo>
                    <a:pt x="672" y="300"/>
                  </a:lnTo>
                  <a:lnTo>
                    <a:pt x="660" y="318"/>
                  </a:lnTo>
                  <a:lnTo>
                    <a:pt x="660" y="336"/>
                  </a:lnTo>
                  <a:lnTo>
                    <a:pt x="654" y="342"/>
                  </a:lnTo>
                  <a:lnTo>
                    <a:pt x="660" y="354"/>
                  </a:lnTo>
                  <a:lnTo>
                    <a:pt x="660" y="366"/>
                  </a:lnTo>
                  <a:lnTo>
                    <a:pt x="666" y="378"/>
                  </a:lnTo>
                  <a:lnTo>
                    <a:pt x="672" y="390"/>
                  </a:lnTo>
                  <a:lnTo>
                    <a:pt x="678" y="396"/>
                  </a:lnTo>
                  <a:lnTo>
                    <a:pt x="684" y="390"/>
                  </a:lnTo>
                  <a:lnTo>
                    <a:pt x="690" y="390"/>
                  </a:lnTo>
                  <a:lnTo>
                    <a:pt x="690" y="396"/>
                  </a:lnTo>
                  <a:lnTo>
                    <a:pt x="684" y="396"/>
                  </a:lnTo>
                  <a:lnTo>
                    <a:pt x="684" y="402"/>
                  </a:lnTo>
                  <a:lnTo>
                    <a:pt x="684" y="408"/>
                  </a:lnTo>
                  <a:lnTo>
                    <a:pt x="678" y="414"/>
                  </a:lnTo>
                  <a:lnTo>
                    <a:pt x="684" y="414"/>
                  </a:lnTo>
                  <a:lnTo>
                    <a:pt x="684" y="420"/>
                  </a:lnTo>
                  <a:lnTo>
                    <a:pt x="684" y="426"/>
                  </a:lnTo>
                  <a:lnTo>
                    <a:pt x="690" y="420"/>
                  </a:lnTo>
                  <a:lnTo>
                    <a:pt x="696" y="420"/>
                  </a:lnTo>
                  <a:lnTo>
                    <a:pt x="696" y="426"/>
                  </a:lnTo>
                  <a:lnTo>
                    <a:pt x="690" y="426"/>
                  </a:lnTo>
                  <a:lnTo>
                    <a:pt x="696" y="426"/>
                  </a:lnTo>
                  <a:lnTo>
                    <a:pt x="708" y="426"/>
                  </a:lnTo>
                  <a:lnTo>
                    <a:pt x="726" y="414"/>
                  </a:lnTo>
                  <a:lnTo>
                    <a:pt x="732" y="408"/>
                  </a:lnTo>
                  <a:lnTo>
                    <a:pt x="744" y="402"/>
                  </a:lnTo>
                  <a:lnTo>
                    <a:pt x="756" y="402"/>
                  </a:lnTo>
                  <a:lnTo>
                    <a:pt x="768" y="402"/>
                  </a:lnTo>
                  <a:lnTo>
                    <a:pt x="786" y="408"/>
                  </a:lnTo>
                  <a:lnTo>
                    <a:pt x="786" y="414"/>
                  </a:lnTo>
                  <a:lnTo>
                    <a:pt x="774" y="420"/>
                  </a:lnTo>
                  <a:lnTo>
                    <a:pt x="774" y="426"/>
                  </a:lnTo>
                  <a:lnTo>
                    <a:pt x="768" y="432"/>
                  </a:lnTo>
                  <a:lnTo>
                    <a:pt x="762" y="438"/>
                  </a:lnTo>
                  <a:lnTo>
                    <a:pt x="756" y="438"/>
                  </a:lnTo>
                  <a:lnTo>
                    <a:pt x="756" y="444"/>
                  </a:lnTo>
                  <a:lnTo>
                    <a:pt x="756" y="450"/>
                  </a:lnTo>
                  <a:lnTo>
                    <a:pt x="762" y="450"/>
                  </a:lnTo>
                  <a:lnTo>
                    <a:pt x="750" y="456"/>
                  </a:lnTo>
                  <a:lnTo>
                    <a:pt x="738" y="468"/>
                  </a:lnTo>
                  <a:lnTo>
                    <a:pt x="726" y="480"/>
                  </a:lnTo>
                  <a:lnTo>
                    <a:pt x="726" y="486"/>
                  </a:lnTo>
                  <a:lnTo>
                    <a:pt x="732" y="486"/>
                  </a:lnTo>
                  <a:lnTo>
                    <a:pt x="732" y="492"/>
                  </a:lnTo>
                  <a:lnTo>
                    <a:pt x="732" y="504"/>
                  </a:lnTo>
                  <a:lnTo>
                    <a:pt x="738" y="504"/>
                  </a:lnTo>
                  <a:lnTo>
                    <a:pt x="744" y="510"/>
                  </a:lnTo>
                  <a:lnTo>
                    <a:pt x="738" y="522"/>
                  </a:lnTo>
                  <a:lnTo>
                    <a:pt x="744" y="528"/>
                  </a:lnTo>
                  <a:lnTo>
                    <a:pt x="756" y="534"/>
                  </a:lnTo>
                  <a:lnTo>
                    <a:pt x="756" y="540"/>
                  </a:lnTo>
                  <a:lnTo>
                    <a:pt x="744" y="552"/>
                  </a:lnTo>
                  <a:lnTo>
                    <a:pt x="738" y="552"/>
                  </a:lnTo>
                  <a:lnTo>
                    <a:pt x="738" y="558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64"/>
                  </a:lnTo>
                  <a:lnTo>
                    <a:pt x="744" y="576"/>
                  </a:lnTo>
                  <a:lnTo>
                    <a:pt x="738" y="588"/>
                  </a:lnTo>
                  <a:lnTo>
                    <a:pt x="738" y="594"/>
                  </a:lnTo>
                  <a:lnTo>
                    <a:pt x="738" y="600"/>
                  </a:lnTo>
                  <a:lnTo>
                    <a:pt x="738" y="606"/>
                  </a:lnTo>
                  <a:lnTo>
                    <a:pt x="732" y="612"/>
                  </a:lnTo>
                  <a:lnTo>
                    <a:pt x="726" y="624"/>
                  </a:lnTo>
                  <a:lnTo>
                    <a:pt x="726" y="636"/>
                  </a:lnTo>
                  <a:lnTo>
                    <a:pt x="726" y="648"/>
                  </a:lnTo>
                  <a:lnTo>
                    <a:pt x="738" y="654"/>
                  </a:lnTo>
                  <a:lnTo>
                    <a:pt x="750" y="660"/>
                  </a:lnTo>
                  <a:lnTo>
                    <a:pt x="750" y="666"/>
                  </a:lnTo>
                  <a:lnTo>
                    <a:pt x="750" y="678"/>
                  </a:lnTo>
                  <a:lnTo>
                    <a:pt x="744" y="678"/>
                  </a:lnTo>
                  <a:lnTo>
                    <a:pt x="738" y="684"/>
                  </a:lnTo>
                  <a:lnTo>
                    <a:pt x="732" y="684"/>
                  </a:lnTo>
                  <a:lnTo>
                    <a:pt x="720" y="678"/>
                  </a:lnTo>
                  <a:lnTo>
                    <a:pt x="714" y="684"/>
                  </a:lnTo>
                  <a:lnTo>
                    <a:pt x="708" y="684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0" y="690"/>
                  </a:lnTo>
                  <a:lnTo>
                    <a:pt x="690" y="684"/>
                  </a:lnTo>
                  <a:lnTo>
                    <a:pt x="690" y="690"/>
                  </a:lnTo>
                  <a:lnTo>
                    <a:pt x="684" y="690"/>
                  </a:lnTo>
                  <a:lnTo>
                    <a:pt x="684" y="684"/>
                  </a:lnTo>
                  <a:lnTo>
                    <a:pt x="678" y="684"/>
                  </a:lnTo>
                  <a:lnTo>
                    <a:pt x="672" y="678"/>
                  </a:lnTo>
                  <a:lnTo>
                    <a:pt x="672" y="672"/>
                  </a:lnTo>
                  <a:lnTo>
                    <a:pt x="678" y="672"/>
                  </a:lnTo>
                  <a:lnTo>
                    <a:pt x="672" y="672"/>
                  </a:lnTo>
                  <a:lnTo>
                    <a:pt x="666" y="672"/>
                  </a:lnTo>
                  <a:lnTo>
                    <a:pt x="660" y="672"/>
                  </a:lnTo>
                  <a:lnTo>
                    <a:pt x="654" y="672"/>
                  </a:lnTo>
                  <a:lnTo>
                    <a:pt x="654" y="666"/>
                  </a:lnTo>
                  <a:lnTo>
                    <a:pt x="648" y="666"/>
                  </a:lnTo>
                  <a:lnTo>
                    <a:pt x="642" y="660"/>
                  </a:lnTo>
                  <a:lnTo>
                    <a:pt x="642" y="654"/>
                  </a:lnTo>
                  <a:lnTo>
                    <a:pt x="642" y="648"/>
                  </a:lnTo>
                  <a:lnTo>
                    <a:pt x="636" y="648"/>
                  </a:lnTo>
                  <a:lnTo>
                    <a:pt x="630" y="648"/>
                  </a:lnTo>
                  <a:lnTo>
                    <a:pt x="624" y="648"/>
                  </a:lnTo>
                  <a:lnTo>
                    <a:pt x="624" y="642"/>
                  </a:lnTo>
                  <a:lnTo>
                    <a:pt x="618" y="636"/>
                  </a:lnTo>
                  <a:lnTo>
                    <a:pt x="624" y="636"/>
                  </a:lnTo>
                  <a:lnTo>
                    <a:pt x="624" y="630"/>
                  </a:lnTo>
                  <a:lnTo>
                    <a:pt x="618" y="630"/>
                  </a:lnTo>
                  <a:lnTo>
                    <a:pt x="618" y="624"/>
                  </a:lnTo>
                  <a:lnTo>
                    <a:pt x="618" y="618"/>
                  </a:lnTo>
                  <a:lnTo>
                    <a:pt x="618" y="612"/>
                  </a:lnTo>
                  <a:lnTo>
                    <a:pt x="618" y="606"/>
                  </a:lnTo>
                  <a:lnTo>
                    <a:pt x="624" y="606"/>
                  </a:lnTo>
                  <a:lnTo>
                    <a:pt x="624" y="600"/>
                  </a:lnTo>
                  <a:lnTo>
                    <a:pt x="618" y="600"/>
                  </a:lnTo>
                  <a:lnTo>
                    <a:pt x="618" y="594"/>
                  </a:lnTo>
                  <a:lnTo>
                    <a:pt x="618" y="588"/>
                  </a:lnTo>
                  <a:lnTo>
                    <a:pt x="618" y="582"/>
                  </a:lnTo>
                  <a:lnTo>
                    <a:pt x="612" y="582"/>
                  </a:lnTo>
                  <a:lnTo>
                    <a:pt x="606" y="582"/>
                  </a:lnTo>
                  <a:lnTo>
                    <a:pt x="612" y="582"/>
                  </a:lnTo>
                  <a:lnTo>
                    <a:pt x="612" y="588"/>
                  </a:lnTo>
                  <a:lnTo>
                    <a:pt x="612" y="594"/>
                  </a:lnTo>
                  <a:lnTo>
                    <a:pt x="618" y="594"/>
                  </a:lnTo>
                  <a:lnTo>
                    <a:pt x="618" y="600"/>
                  </a:lnTo>
                  <a:lnTo>
                    <a:pt x="618" y="606"/>
                  </a:lnTo>
                  <a:lnTo>
                    <a:pt x="618" y="612"/>
                  </a:lnTo>
                  <a:lnTo>
                    <a:pt x="612" y="612"/>
                  </a:lnTo>
                  <a:lnTo>
                    <a:pt x="612" y="618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94" y="612"/>
                  </a:lnTo>
                  <a:lnTo>
                    <a:pt x="588" y="606"/>
                  </a:lnTo>
                  <a:lnTo>
                    <a:pt x="588" y="612"/>
                  </a:lnTo>
                  <a:lnTo>
                    <a:pt x="594" y="612"/>
                  </a:lnTo>
                  <a:lnTo>
                    <a:pt x="594" y="618"/>
                  </a:lnTo>
                  <a:lnTo>
                    <a:pt x="588" y="618"/>
                  </a:lnTo>
                  <a:lnTo>
                    <a:pt x="588" y="624"/>
                  </a:lnTo>
                  <a:lnTo>
                    <a:pt x="582" y="624"/>
                  </a:lnTo>
                  <a:lnTo>
                    <a:pt x="582" y="630"/>
                  </a:lnTo>
                  <a:lnTo>
                    <a:pt x="576" y="630"/>
                  </a:lnTo>
                  <a:lnTo>
                    <a:pt x="576" y="636"/>
                  </a:lnTo>
                  <a:lnTo>
                    <a:pt x="570" y="636"/>
                  </a:lnTo>
                  <a:lnTo>
                    <a:pt x="570" y="642"/>
                  </a:lnTo>
                  <a:lnTo>
                    <a:pt x="564" y="642"/>
                  </a:lnTo>
                  <a:lnTo>
                    <a:pt x="564" y="636"/>
                  </a:lnTo>
                  <a:lnTo>
                    <a:pt x="564" y="630"/>
                  </a:lnTo>
                  <a:lnTo>
                    <a:pt x="564" y="624"/>
                  </a:lnTo>
                  <a:lnTo>
                    <a:pt x="564" y="618"/>
                  </a:lnTo>
                  <a:lnTo>
                    <a:pt x="570" y="612"/>
                  </a:lnTo>
                  <a:lnTo>
                    <a:pt x="564" y="606"/>
                  </a:lnTo>
                  <a:lnTo>
                    <a:pt x="564" y="600"/>
                  </a:lnTo>
                  <a:lnTo>
                    <a:pt x="564" y="594"/>
                  </a:lnTo>
                  <a:lnTo>
                    <a:pt x="558" y="594"/>
                  </a:lnTo>
                  <a:lnTo>
                    <a:pt x="558" y="588"/>
                  </a:lnTo>
                  <a:lnTo>
                    <a:pt x="552" y="582"/>
                  </a:lnTo>
                  <a:lnTo>
                    <a:pt x="552" y="576"/>
                  </a:lnTo>
                  <a:lnTo>
                    <a:pt x="552" y="570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6" y="582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58" y="588"/>
                  </a:lnTo>
                  <a:lnTo>
                    <a:pt x="558" y="594"/>
                  </a:lnTo>
                  <a:lnTo>
                    <a:pt x="558" y="600"/>
                  </a:lnTo>
                  <a:lnTo>
                    <a:pt x="558" y="606"/>
                  </a:lnTo>
                  <a:lnTo>
                    <a:pt x="552" y="612"/>
                  </a:lnTo>
                  <a:lnTo>
                    <a:pt x="558" y="612"/>
                  </a:lnTo>
                  <a:lnTo>
                    <a:pt x="558" y="618"/>
                  </a:lnTo>
                  <a:lnTo>
                    <a:pt x="558" y="624"/>
                  </a:lnTo>
                  <a:lnTo>
                    <a:pt x="558" y="630"/>
                  </a:lnTo>
                  <a:lnTo>
                    <a:pt x="552" y="630"/>
                  </a:lnTo>
                  <a:lnTo>
                    <a:pt x="552" y="624"/>
                  </a:lnTo>
                  <a:lnTo>
                    <a:pt x="546" y="624"/>
                  </a:lnTo>
                  <a:lnTo>
                    <a:pt x="546" y="618"/>
                  </a:lnTo>
                  <a:lnTo>
                    <a:pt x="546" y="612"/>
                  </a:lnTo>
                  <a:lnTo>
                    <a:pt x="540" y="612"/>
                  </a:lnTo>
                  <a:lnTo>
                    <a:pt x="534" y="612"/>
                  </a:lnTo>
                  <a:lnTo>
                    <a:pt x="528" y="612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28" y="618"/>
                  </a:lnTo>
                  <a:lnTo>
                    <a:pt x="534" y="618"/>
                  </a:lnTo>
                  <a:lnTo>
                    <a:pt x="540" y="618"/>
                  </a:lnTo>
                  <a:lnTo>
                    <a:pt x="540" y="624"/>
                  </a:lnTo>
                  <a:lnTo>
                    <a:pt x="546" y="624"/>
                  </a:lnTo>
                  <a:lnTo>
                    <a:pt x="546" y="630"/>
                  </a:lnTo>
                  <a:lnTo>
                    <a:pt x="552" y="630"/>
                  </a:lnTo>
                  <a:lnTo>
                    <a:pt x="552" y="636"/>
                  </a:lnTo>
                  <a:lnTo>
                    <a:pt x="546" y="642"/>
                  </a:lnTo>
                  <a:lnTo>
                    <a:pt x="546" y="648"/>
                  </a:lnTo>
                  <a:lnTo>
                    <a:pt x="540" y="648"/>
                  </a:lnTo>
                  <a:lnTo>
                    <a:pt x="540" y="654"/>
                  </a:lnTo>
                  <a:lnTo>
                    <a:pt x="540" y="660"/>
                  </a:lnTo>
                  <a:lnTo>
                    <a:pt x="534" y="666"/>
                  </a:lnTo>
                  <a:lnTo>
                    <a:pt x="534" y="672"/>
                  </a:lnTo>
                  <a:lnTo>
                    <a:pt x="534" y="678"/>
                  </a:lnTo>
                  <a:lnTo>
                    <a:pt x="534" y="684"/>
                  </a:lnTo>
                  <a:lnTo>
                    <a:pt x="534" y="678"/>
                  </a:lnTo>
                  <a:lnTo>
                    <a:pt x="528" y="678"/>
                  </a:lnTo>
                  <a:lnTo>
                    <a:pt x="528" y="684"/>
                  </a:lnTo>
                  <a:lnTo>
                    <a:pt x="522" y="690"/>
                  </a:lnTo>
                  <a:lnTo>
                    <a:pt x="528" y="690"/>
                  </a:lnTo>
                  <a:lnTo>
                    <a:pt x="528" y="684"/>
                  </a:lnTo>
                  <a:lnTo>
                    <a:pt x="534" y="684"/>
                  </a:lnTo>
                  <a:lnTo>
                    <a:pt x="534" y="690"/>
                  </a:lnTo>
                  <a:lnTo>
                    <a:pt x="534" y="696"/>
                  </a:lnTo>
                  <a:lnTo>
                    <a:pt x="540" y="696"/>
                  </a:lnTo>
                  <a:lnTo>
                    <a:pt x="540" y="702"/>
                  </a:lnTo>
                  <a:lnTo>
                    <a:pt x="540" y="708"/>
                  </a:lnTo>
                  <a:lnTo>
                    <a:pt x="534" y="708"/>
                  </a:lnTo>
                  <a:lnTo>
                    <a:pt x="528" y="708"/>
                  </a:lnTo>
                  <a:lnTo>
                    <a:pt x="522" y="708"/>
                  </a:lnTo>
                  <a:lnTo>
                    <a:pt x="516" y="708"/>
                  </a:lnTo>
                  <a:lnTo>
                    <a:pt x="510" y="708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2" y="708"/>
                  </a:lnTo>
                  <a:lnTo>
                    <a:pt x="486" y="714"/>
                  </a:lnTo>
                  <a:lnTo>
                    <a:pt x="480" y="708"/>
                  </a:lnTo>
                  <a:lnTo>
                    <a:pt x="474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68" y="714"/>
                  </a:lnTo>
                  <a:lnTo>
                    <a:pt x="456" y="714"/>
                  </a:lnTo>
                  <a:lnTo>
                    <a:pt x="450" y="714"/>
                  </a:lnTo>
                  <a:lnTo>
                    <a:pt x="450" y="708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50" y="690"/>
                  </a:lnTo>
                  <a:lnTo>
                    <a:pt x="450" y="684"/>
                  </a:lnTo>
                  <a:lnTo>
                    <a:pt x="450" y="678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56" y="660"/>
                  </a:lnTo>
                  <a:lnTo>
                    <a:pt x="462" y="660"/>
                  </a:lnTo>
                  <a:lnTo>
                    <a:pt x="462" y="654"/>
                  </a:lnTo>
                  <a:lnTo>
                    <a:pt x="456" y="654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48"/>
                  </a:lnTo>
                  <a:lnTo>
                    <a:pt x="444" y="648"/>
                  </a:lnTo>
                  <a:lnTo>
                    <a:pt x="444" y="642"/>
                  </a:lnTo>
                  <a:lnTo>
                    <a:pt x="444" y="636"/>
                  </a:lnTo>
                  <a:lnTo>
                    <a:pt x="450" y="636"/>
                  </a:lnTo>
                  <a:lnTo>
                    <a:pt x="450" y="630"/>
                  </a:lnTo>
                  <a:lnTo>
                    <a:pt x="456" y="630"/>
                  </a:lnTo>
                  <a:lnTo>
                    <a:pt x="462" y="630"/>
                  </a:lnTo>
                  <a:lnTo>
                    <a:pt x="462" y="624"/>
                  </a:lnTo>
                  <a:lnTo>
                    <a:pt x="468" y="624"/>
                  </a:lnTo>
                  <a:lnTo>
                    <a:pt x="474" y="624"/>
                  </a:lnTo>
                  <a:lnTo>
                    <a:pt x="474" y="618"/>
                  </a:lnTo>
                  <a:lnTo>
                    <a:pt x="480" y="618"/>
                  </a:lnTo>
                  <a:lnTo>
                    <a:pt x="486" y="618"/>
                  </a:lnTo>
                  <a:lnTo>
                    <a:pt x="486" y="624"/>
                  </a:lnTo>
                  <a:lnTo>
                    <a:pt x="486" y="636"/>
                  </a:lnTo>
                  <a:lnTo>
                    <a:pt x="486" y="642"/>
                  </a:lnTo>
                  <a:lnTo>
                    <a:pt x="486" y="648"/>
                  </a:lnTo>
                  <a:lnTo>
                    <a:pt x="492" y="648"/>
                  </a:lnTo>
                  <a:lnTo>
                    <a:pt x="492" y="642"/>
                  </a:lnTo>
                  <a:lnTo>
                    <a:pt x="498" y="636"/>
                  </a:lnTo>
                  <a:lnTo>
                    <a:pt x="492" y="636"/>
                  </a:lnTo>
                  <a:lnTo>
                    <a:pt x="492" y="630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6" y="618"/>
                  </a:lnTo>
                  <a:lnTo>
                    <a:pt x="486" y="612"/>
                  </a:lnTo>
                  <a:lnTo>
                    <a:pt x="486" y="606"/>
                  </a:lnTo>
                  <a:lnTo>
                    <a:pt x="480" y="606"/>
                  </a:lnTo>
                  <a:lnTo>
                    <a:pt x="480" y="612"/>
                  </a:lnTo>
                  <a:lnTo>
                    <a:pt x="474" y="618"/>
                  </a:lnTo>
                  <a:lnTo>
                    <a:pt x="468" y="618"/>
                  </a:lnTo>
                  <a:lnTo>
                    <a:pt x="462" y="618"/>
                  </a:lnTo>
                  <a:lnTo>
                    <a:pt x="462" y="612"/>
                  </a:lnTo>
                  <a:lnTo>
                    <a:pt x="456" y="612"/>
                  </a:lnTo>
                  <a:lnTo>
                    <a:pt x="456" y="618"/>
                  </a:lnTo>
                  <a:lnTo>
                    <a:pt x="462" y="618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30"/>
                  </a:lnTo>
                  <a:lnTo>
                    <a:pt x="444" y="630"/>
                  </a:lnTo>
                  <a:lnTo>
                    <a:pt x="444" y="636"/>
                  </a:lnTo>
                  <a:lnTo>
                    <a:pt x="444" y="642"/>
                  </a:lnTo>
                  <a:lnTo>
                    <a:pt x="444" y="654"/>
                  </a:lnTo>
                  <a:lnTo>
                    <a:pt x="444" y="660"/>
                  </a:lnTo>
                  <a:lnTo>
                    <a:pt x="438" y="660"/>
                  </a:lnTo>
                  <a:lnTo>
                    <a:pt x="432" y="660"/>
                  </a:lnTo>
                  <a:lnTo>
                    <a:pt x="432" y="654"/>
                  </a:lnTo>
                  <a:lnTo>
                    <a:pt x="438" y="654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48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26" y="660"/>
                  </a:lnTo>
                  <a:lnTo>
                    <a:pt x="432" y="666"/>
                  </a:lnTo>
                  <a:lnTo>
                    <a:pt x="432" y="672"/>
                  </a:lnTo>
                  <a:lnTo>
                    <a:pt x="438" y="672"/>
                  </a:lnTo>
                  <a:lnTo>
                    <a:pt x="438" y="678"/>
                  </a:lnTo>
                  <a:lnTo>
                    <a:pt x="444" y="678"/>
                  </a:lnTo>
                  <a:lnTo>
                    <a:pt x="444" y="684"/>
                  </a:lnTo>
                  <a:lnTo>
                    <a:pt x="438" y="690"/>
                  </a:lnTo>
                  <a:lnTo>
                    <a:pt x="438" y="696"/>
                  </a:lnTo>
                  <a:lnTo>
                    <a:pt x="438" y="702"/>
                  </a:lnTo>
                  <a:lnTo>
                    <a:pt x="432" y="702"/>
                  </a:lnTo>
                  <a:lnTo>
                    <a:pt x="426" y="702"/>
                  </a:lnTo>
                  <a:lnTo>
                    <a:pt x="426" y="696"/>
                  </a:lnTo>
                  <a:lnTo>
                    <a:pt x="414" y="696"/>
                  </a:lnTo>
                  <a:lnTo>
                    <a:pt x="402" y="696"/>
                  </a:lnTo>
                  <a:lnTo>
                    <a:pt x="402" y="690"/>
                  </a:lnTo>
                  <a:lnTo>
                    <a:pt x="396" y="690"/>
                  </a:lnTo>
                  <a:lnTo>
                    <a:pt x="390" y="690"/>
                  </a:lnTo>
                  <a:lnTo>
                    <a:pt x="384" y="690"/>
                  </a:lnTo>
                  <a:lnTo>
                    <a:pt x="384" y="684"/>
                  </a:lnTo>
                  <a:lnTo>
                    <a:pt x="384" y="678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390" y="660"/>
                  </a:lnTo>
                  <a:lnTo>
                    <a:pt x="390" y="654"/>
                  </a:lnTo>
                  <a:lnTo>
                    <a:pt x="384" y="648"/>
                  </a:lnTo>
                  <a:lnTo>
                    <a:pt x="384" y="642"/>
                  </a:lnTo>
                  <a:lnTo>
                    <a:pt x="378" y="636"/>
                  </a:lnTo>
                  <a:lnTo>
                    <a:pt x="378" y="642"/>
                  </a:lnTo>
                  <a:lnTo>
                    <a:pt x="378" y="648"/>
                  </a:lnTo>
                  <a:lnTo>
                    <a:pt x="372" y="648"/>
                  </a:lnTo>
                  <a:lnTo>
                    <a:pt x="378" y="654"/>
                  </a:lnTo>
                  <a:lnTo>
                    <a:pt x="378" y="660"/>
                  </a:lnTo>
                  <a:lnTo>
                    <a:pt x="378" y="666"/>
                  </a:lnTo>
                  <a:lnTo>
                    <a:pt x="372" y="672"/>
                  </a:lnTo>
                  <a:lnTo>
                    <a:pt x="378" y="672"/>
                  </a:lnTo>
                  <a:lnTo>
                    <a:pt x="378" y="678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54" y="666"/>
                  </a:lnTo>
                  <a:lnTo>
                    <a:pt x="354" y="660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0" y="654"/>
                  </a:lnTo>
                  <a:lnTo>
                    <a:pt x="324" y="648"/>
                  </a:lnTo>
                  <a:lnTo>
                    <a:pt x="318" y="648"/>
                  </a:lnTo>
                  <a:lnTo>
                    <a:pt x="318" y="642"/>
                  </a:lnTo>
                  <a:lnTo>
                    <a:pt x="312" y="642"/>
                  </a:lnTo>
                  <a:lnTo>
                    <a:pt x="306" y="636"/>
                  </a:lnTo>
                  <a:lnTo>
                    <a:pt x="300" y="636"/>
                  </a:lnTo>
                  <a:lnTo>
                    <a:pt x="300" y="630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0" y="618"/>
                  </a:lnTo>
                  <a:lnTo>
                    <a:pt x="306" y="612"/>
                  </a:lnTo>
                  <a:lnTo>
                    <a:pt x="300" y="612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294" y="612"/>
                  </a:lnTo>
                  <a:lnTo>
                    <a:pt x="288" y="618"/>
                  </a:lnTo>
                  <a:lnTo>
                    <a:pt x="288" y="612"/>
                  </a:lnTo>
                  <a:lnTo>
                    <a:pt x="288" y="618"/>
                  </a:lnTo>
                  <a:lnTo>
                    <a:pt x="294" y="618"/>
                  </a:lnTo>
                  <a:lnTo>
                    <a:pt x="300" y="624"/>
                  </a:lnTo>
                  <a:lnTo>
                    <a:pt x="294" y="624"/>
                  </a:lnTo>
                  <a:lnTo>
                    <a:pt x="288" y="624"/>
                  </a:lnTo>
                  <a:lnTo>
                    <a:pt x="282" y="61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70" y="600"/>
                  </a:lnTo>
                  <a:lnTo>
                    <a:pt x="270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82" y="588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594"/>
                  </a:lnTo>
                  <a:lnTo>
                    <a:pt x="264" y="600"/>
                  </a:lnTo>
                  <a:lnTo>
                    <a:pt x="264" y="594"/>
                  </a:lnTo>
                  <a:lnTo>
                    <a:pt x="270" y="594"/>
                  </a:lnTo>
                  <a:lnTo>
                    <a:pt x="270" y="588"/>
                  </a:lnTo>
                  <a:lnTo>
                    <a:pt x="264" y="594"/>
                  </a:lnTo>
                  <a:lnTo>
                    <a:pt x="258" y="594"/>
                  </a:lnTo>
                  <a:lnTo>
                    <a:pt x="258" y="588"/>
                  </a:lnTo>
                  <a:lnTo>
                    <a:pt x="252" y="588"/>
                  </a:lnTo>
                  <a:lnTo>
                    <a:pt x="246" y="588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52" y="588"/>
                  </a:lnTo>
                  <a:lnTo>
                    <a:pt x="252" y="594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46" y="594"/>
                  </a:lnTo>
                  <a:lnTo>
                    <a:pt x="246" y="588"/>
                  </a:lnTo>
                  <a:lnTo>
                    <a:pt x="240" y="588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2" y="570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64"/>
                  </a:lnTo>
                  <a:lnTo>
                    <a:pt x="234" y="564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34" y="558"/>
                  </a:lnTo>
                  <a:lnTo>
                    <a:pt x="228" y="558"/>
                  </a:lnTo>
                  <a:lnTo>
                    <a:pt x="222" y="558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2" y="564"/>
                  </a:lnTo>
                  <a:lnTo>
                    <a:pt x="222" y="558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04" y="546"/>
                  </a:lnTo>
                  <a:lnTo>
                    <a:pt x="204" y="540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10" y="540"/>
                  </a:lnTo>
                  <a:lnTo>
                    <a:pt x="210" y="534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8"/>
                  </a:lnTo>
                  <a:lnTo>
                    <a:pt x="174" y="516"/>
                  </a:lnTo>
                  <a:lnTo>
                    <a:pt x="168" y="510"/>
                  </a:lnTo>
                  <a:lnTo>
                    <a:pt x="162" y="504"/>
                  </a:lnTo>
                  <a:lnTo>
                    <a:pt x="156" y="498"/>
                  </a:lnTo>
                  <a:lnTo>
                    <a:pt x="156" y="492"/>
                  </a:lnTo>
                  <a:lnTo>
                    <a:pt x="150" y="486"/>
                  </a:lnTo>
                  <a:lnTo>
                    <a:pt x="144" y="480"/>
                  </a:lnTo>
                  <a:lnTo>
                    <a:pt x="144" y="474"/>
                  </a:lnTo>
                  <a:lnTo>
                    <a:pt x="138" y="474"/>
                  </a:lnTo>
                  <a:lnTo>
                    <a:pt x="138" y="468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26" y="450"/>
                  </a:lnTo>
                  <a:lnTo>
                    <a:pt x="126" y="444"/>
                  </a:lnTo>
                  <a:lnTo>
                    <a:pt x="114" y="438"/>
                  </a:lnTo>
                  <a:lnTo>
                    <a:pt x="114" y="432"/>
                  </a:lnTo>
                  <a:lnTo>
                    <a:pt x="114" y="426"/>
                  </a:lnTo>
                  <a:lnTo>
                    <a:pt x="114" y="432"/>
                  </a:lnTo>
                  <a:lnTo>
                    <a:pt x="120" y="432"/>
                  </a:lnTo>
                  <a:lnTo>
                    <a:pt x="120" y="438"/>
                  </a:lnTo>
                  <a:lnTo>
                    <a:pt x="120" y="444"/>
                  </a:lnTo>
                  <a:lnTo>
                    <a:pt x="126" y="444"/>
                  </a:lnTo>
                  <a:lnTo>
                    <a:pt x="126" y="438"/>
                  </a:lnTo>
                  <a:lnTo>
                    <a:pt x="120" y="438"/>
                  </a:lnTo>
                  <a:lnTo>
                    <a:pt x="126" y="432"/>
                  </a:lnTo>
                  <a:lnTo>
                    <a:pt x="126" y="426"/>
                  </a:lnTo>
                  <a:lnTo>
                    <a:pt x="132" y="420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08" y="414"/>
                  </a:lnTo>
                  <a:lnTo>
                    <a:pt x="102" y="414"/>
                  </a:lnTo>
                  <a:lnTo>
                    <a:pt x="102" y="408"/>
                  </a:lnTo>
                  <a:lnTo>
                    <a:pt x="96" y="402"/>
                  </a:lnTo>
                  <a:lnTo>
                    <a:pt x="96" y="396"/>
                  </a:lnTo>
                  <a:lnTo>
                    <a:pt x="96" y="390"/>
                  </a:lnTo>
                  <a:lnTo>
                    <a:pt x="90" y="390"/>
                  </a:lnTo>
                  <a:lnTo>
                    <a:pt x="90" y="384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78" y="372"/>
                  </a:lnTo>
                  <a:lnTo>
                    <a:pt x="78" y="366"/>
                  </a:lnTo>
                  <a:lnTo>
                    <a:pt x="78" y="360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6" y="348"/>
                  </a:lnTo>
                  <a:lnTo>
                    <a:pt x="66" y="342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6" y="336"/>
                  </a:lnTo>
                  <a:lnTo>
                    <a:pt x="66" y="342"/>
                  </a:lnTo>
                  <a:lnTo>
                    <a:pt x="72" y="348"/>
                  </a:lnTo>
                  <a:lnTo>
                    <a:pt x="78" y="354"/>
                  </a:lnTo>
                  <a:lnTo>
                    <a:pt x="84" y="360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0" y="360"/>
                  </a:lnTo>
                  <a:lnTo>
                    <a:pt x="84" y="360"/>
                  </a:lnTo>
                  <a:lnTo>
                    <a:pt x="84" y="354"/>
                  </a:lnTo>
                  <a:lnTo>
                    <a:pt x="78" y="348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66" y="330"/>
                  </a:lnTo>
                  <a:lnTo>
                    <a:pt x="66" y="324"/>
                  </a:lnTo>
                  <a:lnTo>
                    <a:pt x="60" y="318"/>
                  </a:lnTo>
                  <a:lnTo>
                    <a:pt x="60" y="312"/>
                  </a:lnTo>
                  <a:lnTo>
                    <a:pt x="54" y="306"/>
                  </a:lnTo>
                  <a:lnTo>
                    <a:pt x="54" y="300"/>
                  </a:lnTo>
                  <a:lnTo>
                    <a:pt x="54" y="294"/>
                  </a:lnTo>
                  <a:lnTo>
                    <a:pt x="48" y="288"/>
                  </a:lnTo>
                  <a:lnTo>
                    <a:pt x="48" y="294"/>
                  </a:lnTo>
                  <a:lnTo>
                    <a:pt x="48" y="288"/>
                  </a:lnTo>
                  <a:lnTo>
                    <a:pt x="48" y="282"/>
                  </a:lnTo>
                  <a:lnTo>
                    <a:pt x="48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18" y="216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62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68"/>
                  </a:lnTo>
                  <a:lnTo>
                    <a:pt x="42" y="168"/>
                  </a:lnTo>
                  <a:lnTo>
                    <a:pt x="42" y="174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86"/>
                  </a:lnTo>
                  <a:close/>
                  <a:moveTo>
                    <a:pt x="642" y="660"/>
                  </a:moveTo>
                  <a:lnTo>
                    <a:pt x="642" y="666"/>
                  </a:lnTo>
                  <a:lnTo>
                    <a:pt x="648" y="666"/>
                  </a:lnTo>
                  <a:lnTo>
                    <a:pt x="648" y="672"/>
                  </a:lnTo>
                  <a:lnTo>
                    <a:pt x="648" y="678"/>
                  </a:lnTo>
                  <a:lnTo>
                    <a:pt x="654" y="678"/>
                  </a:lnTo>
                  <a:lnTo>
                    <a:pt x="654" y="684"/>
                  </a:lnTo>
                  <a:lnTo>
                    <a:pt x="660" y="684"/>
                  </a:lnTo>
                  <a:lnTo>
                    <a:pt x="660" y="690"/>
                  </a:lnTo>
                  <a:lnTo>
                    <a:pt x="654" y="690"/>
                  </a:lnTo>
                  <a:lnTo>
                    <a:pt x="648" y="690"/>
                  </a:lnTo>
                  <a:lnTo>
                    <a:pt x="636" y="696"/>
                  </a:lnTo>
                  <a:lnTo>
                    <a:pt x="630" y="696"/>
                  </a:lnTo>
                  <a:lnTo>
                    <a:pt x="624" y="696"/>
                  </a:lnTo>
                  <a:lnTo>
                    <a:pt x="618" y="696"/>
                  </a:lnTo>
                  <a:lnTo>
                    <a:pt x="612" y="696"/>
                  </a:lnTo>
                  <a:lnTo>
                    <a:pt x="594" y="696"/>
                  </a:lnTo>
                  <a:lnTo>
                    <a:pt x="588" y="696"/>
                  </a:lnTo>
                  <a:lnTo>
                    <a:pt x="582" y="696"/>
                  </a:lnTo>
                  <a:lnTo>
                    <a:pt x="570" y="702"/>
                  </a:lnTo>
                  <a:lnTo>
                    <a:pt x="564" y="702"/>
                  </a:lnTo>
                  <a:lnTo>
                    <a:pt x="558" y="702"/>
                  </a:lnTo>
                  <a:lnTo>
                    <a:pt x="552" y="702"/>
                  </a:lnTo>
                  <a:lnTo>
                    <a:pt x="552" y="696"/>
                  </a:lnTo>
                  <a:lnTo>
                    <a:pt x="546" y="696"/>
                  </a:lnTo>
                  <a:lnTo>
                    <a:pt x="546" y="690"/>
                  </a:lnTo>
                  <a:lnTo>
                    <a:pt x="552" y="684"/>
                  </a:lnTo>
                  <a:lnTo>
                    <a:pt x="552" y="678"/>
                  </a:lnTo>
                  <a:lnTo>
                    <a:pt x="558" y="672"/>
                  </a:lnTo>
                  <a:lnTo>
                    <a:pt x="558" y="666"/>
                  </a:lnTo>
                  <a:lnTo>
                    <a:pt x="564" y="666"/>
                  </a:lnTo>
                  <a:lnTo>
                    <a:pt x="570" y="666"/>
                  </a:lnTo>
                  <a:lnTo>
                    <a:pt x="570" y="654"/>
                  </a:lnTo>
                  <a:lnTo>
                    <a:pt x="570" y="648"/>
                  </a:lnTo>
                  <a:lnTo>
                    <a:pt x="582" y="642"/>
                  </a:lnTo>
                  <a:lnTo>
                    <a:pt x="582" y="636"/>
                  </a:lnTo>
                  <a:lnTo>
                    <a:pt x="588" y="636"/>
                  </a:lnTo>
                  <a:lnTo>
                    <a:pt x="588" y="630"/>
                  </a:lnTo>
                  <a:lnTo>
                    <a:pt x="594" y="624"/>
                  </a:lnTo>
                  <a:lnTo>
                    <a:pt x="594" y="618"/>
                  </a:lnTo>
                  <a:lnTo>
                    <a:pt x="600" y="618"/>
                  </a:lnTo>
                  <a:lnTo>
                    <a:pt x="600" y="612"/>
                  </a:lnTo>
                  <a:lnTo>
                    <a:pt x="606" y="612"/>
                  </a:lnTo>
                  <a:lnTo>
                    <a:pt x="606" y="618"/>
                  </a:lnTo>
                  <a:lnTo>
                    <a:pt x="612" y="618"/>
                  </a:lnTo>
                  <a:lnTo>
                    <a:pt x="618" y="618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18" y="636"/>
                  </a:lnTo>
                  <a:lnTo>
                    <a:pt x="618" y="642"/>
                  </a:lnTo>
                  <a:lnTo>
                    <a:pt x="618" y="648"/>
                  </a:lnTo>
                  <a:lnTo>
                    <a:pt x="624" y="648"/>
                  </a:lnTo>
                  <a:lnTo>
                    <a:pt x="630" y="648"/>
                  </a:lnTo>
                  <a:lnTo>
                    <a:pt x="636" y="654"/>
                  </a:lnTo>
                  <a:lnTo>
                    <a:pt x="642" y="654"/>
                  </a:lnTo>
                  <a:lnTo>
                    <a:pt x="642" y="66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0" name="Freeform 5">
              <a:extLst>
                <a:ext uri="{FF2B5EF4-FFF2-40B4-BE49-F238E27FC236}">
                  <a16:creationId xmlns:a16="http://schemas.microsoft.com/office/drawing/2014/main" id="{5577BDCA-F2C7-42E0-A391-018D79AA29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0384" y="4231013"/>
              <a:ext cx="404750" cy="480848"/>
            </a:xfrm>
            <a:custGeom>
              <a:avLst/>
              <a:gdLst>
                <a:gd name="T0" fmla="*/ 9 w 762"/>
                <a:gd name="T1" fmla="*/ 58 h 900"/>
                <a:gd name="T2" fmla="*/ 4 w 762"/>
                <a:gd name="T3" fmla="*/ 56 h 900"/>
                <a:gd name="T4" fmla="*/ 0 w 762"/>
                <a:gd name="T5" fmla="*/ 49 h 900"/>
                <a:gd name="T6" fmla="*/ 4 w 762"/>
                <a:gd name="T7" fmla="*/ 36 h 900"/>
                <a:gd name="T8" fmla="*/ 8 w 762"/>
                <a:gd name="T9" fmla="*/ 28 h 900"/>
                <a:gd name="T10" fmla="*/ 7 w 762"/>
                <a:gd name="T11" fmla="*/ 13 h 900"/>
                <a:gd name="T12" fmla="*/ 15 w 762"/>
                <a:gd name="T13" fmla="*/ 0 h 900"/>
                <a:gd name="T14" fmla="*/ 16 w 762"/>
                <a:gd name="T15" fmla="*/ 13 h 900"/>
                <a:gd name="T16" fmla="*/ 31 w 762"/>
                <a:gd name="T17" fmla="*/ 28 h 900"/>
                <a:gd name="T18" fmla="*/ 49 w 762"/>
                <a:gd name="T19" fmla="*/ 33 h 900"/>
                <a:gd name="T20" fmla="*/ 42 w 762"/>
                <a:gd name="T21" fmla="*/ 48 h 900"/>
                <a:gd name="T22" fmla="*/ 51 w 762"/>
                <a:gd name="T23" fmla="*/ 48 h 900"/>
                <a:gd name="T24" fmla="*/ 61 w 762"/>
                <a:gd name="T25" fmla="*/ 51 h 900"/>
                <a:gd name="T26" fmla="*/ 63 w 762"/>
                <a:gd name="T27" fmla="*/ 60 h 900"/>
                <a:gd name="T28" fmla="*/ 63 w 762"/>
                <a:gd name="T29" fmla="*/ 66 h 900"/>
                <a:gd name="T30" fmla="*/ 65 w 762"/>
                <a:gd name="T31" fmla="*/ 69 h 900"/>
                <a:gd name="T32" fmla="*/ 66 w 762"/>
                <a:gd name="T33" fmla="*/ 72 h 900"/>
                <a:gd name="T34" fmla="*/ 56 w 762"/>
                <a:gd name="T35" fmla="*/ 73 h 900"/>
                <a:gd name="T36" fmla="*/ 55 w 762"/>
                <a:gd name="T37" fmla="*/ 69 h 900"/>
                <a:gd name="T38" fmla="*/ 57 w 762"/>
                <a:gd name="T39" fmla="*/ 67 h 900"/>
                <a:gd name="T40" fmla="*/ 55 w 762"/>
                <a:gd name="T41" fmla="*/ 65 h 900"/>
                <a:gd name="T42" fmla="*/ 53 w 762"/>
                <a:gd name="T43" fmla="*/ 68 h 900"/>
                <a:gd name="T44" fmla="*/ 49 w 762"/>
                <a:gd name="T45" fmla="*/ 68 h 900"/>
                <a:gd name="T46" fmla="*/ 44 w 762"/>
                <a:gd name="T47" fmla="*/ 63 h 900"/>
                <a:gd name="T48" fmla="*/ 40 w 762"/>
                <a:gd name="T49" fmla="*/ 59 h 900"/>
                <a:gd name="T50" fmla="*/ 38 w 762"/>
                <a:gd name="T51" fmla="*/ 57 h 900"/>
                <a:gd name="T52" fmla="*/ 43 w 762"/>
                <a:gd name="T53" fmla="*/ 62 h 900"/>
                <a:gd name="T54" fmla="*/ 43 w 762"/>
                <a:gd name="T55" fmla="*/ 66 h 900"/>
                <a:gd name="T56" fmla="*/ 41 w 762"/>
                <a:gd name="T57" fmla="*/ 71 h 900"/>
                <a:gd name="T58" fmla="*/ 37 w 762"/>
                <a:gd name="T59" fmla="*/ 69 h 900"/>
                <a:gd name="T60" fmla="*/ 35 w 762"/>
                <a:gd name="T61" fmla="*/ 64 h 900"/>
                <a:gd name="T62" fmla="*/ 31 w 762"/>
                <a:gd name="T63" fmla="*/ 57 h 900"/>
                <a:gd name="T64" fmla="*/ 30 w 762"/>
                <a:gd name="T65" fmla="*/ 62 h 900"/>
                <a:gd name="T66" fmla="*/ 29 w 762"/>
                <a:gd name="T67" fmla="*/ 61 h 900"/>
                <a:gd name="T68" fmla="*/ 31 w 762"/>
                <a:gd name="T69" fmla="*/ 66 h 900"/>
                <a:gd name="T70" fmla="*/ 33 w 762"/>
                <a:gd name="T71" fmla="*/ 72 h 900"/>
                <a:gd name="T72" fmla="*/ 32 w 762"/>
                <a:gd name="T73" fmla="*/ 76 h 900"/>
                <a:gd name="T74" fmla="*/ 28 w 762"/>
                <a:gd name="T75" fmla="*/ 75 h 900"/>
                <a:gd name="T76" fmla="*/ 24 w 762"/>
                <a:gd name="T77" fmla="*/ 69 h 900"/>
                <a:gd name="T78" fmla="*/ 24 w 762"/>
                <a:gd name="T79" fmla="*/ 62 h 900"/>
                <a:gd name="T80" fmla="*/ 23 w 762"/>
                <a:gd name="T81" fmla="*/ 62 h 900"/>
                <a:gd name="T82" fmla="*/ 23 w 762"/>
                <a:gd name="T83" fmla="*/ 68 h 900"/>
                <a:gd name="T84" fmla="*/ 25 w 762"/>
                <a:gd name="T85" fmla="*/ 77 h 900"/>
                <a:gd name="T86" fmla="*/ 17 w 762"/>
                <a:gd name="T87" fmla="*/ 74 h 900"/>
                <a:gd name="T88" fmla="*/ 17 w 762"/>
                <a:gd name="T89" fmla="*/ 67 h 900"/>
                <a:gd name="T90" fmla="*/ 16 w 762"/>
                <a:gd name="T91" fmla="*/ 67 h 900"/>
                <a:gd name="T92" fmla="*/ 15 w 762"/>
                <a:gd name="T93" fmla="*/ 71 h 900"/>
                <a:gd name="T94" fmla="*/ 12 w 762"/>
                <a:gd name="T95" fmla="*/ 68 h 900"/>
                <a:gd name="T96" fmla="*/ 15 w 762"/>
                <a:gd name="T97" fmla="*/ 72 h 900"/>
                <a:gd name="T98" fmla="*/ 17 w 762"/>
                <a:gd name="T99" fmla="*/ 77 h 900"/>
                <a:gd name="T100" fmla="*/ 11 w 762"/>
                <a:gd name="T101" fmla="*/ 77 h 900"/>
                <a:gd name="T102" fmla="*/ 10 w 762"/>
                <a:gd name="T103" fmla="*/ 69 h 900"/>
                <a:gd name="T104" fmla="*/ 11 w 762"/>
                <a:gd name="T105" fmla="*/ 72 h 900"/>
                <a:gd name="T106" fmla="*/ 9 w 762"/>
                <a:gd name="T107" fmla="*/ 78 h 900"/>
                <a:gd name="T108" fmla="*/ 43 w 762"/>
                <a:gd name="T109" fmla="*/ 71 h 900"/>
                <a:gd name="T110" fmla="*/ 51 w 762"/>
                <a:gd name="T111" fmla="*/ 69 h 900"/>
                <a:gd name="T112" fmla="*/ 43 w 762"/>
                <a:gd name="T113" fmla="*/ 76 h 900"/>
                <a:gd name="T114" fmla="*/ 36 w 762"/>
                <a:gd name="T115" fmla="*/ 65 h 900"/>
                <a:gd name="T116" fmla="*/ 38 w 762"/>
                <a:gd name="T117" fmla="*/ 72 h 900"/>
                <a:gd name="T118" fmla="*/ 34 w 762"/>
                <a:gd name="T119" fmla="*/ 69 h 900"/>
                <a:gd name="T120" fmla="*/ 29 w 762"/>
                <a:gd name="T121" fmla="*/ 64 h 900"/>
                <a:gd name="T122" fmla="*/ 32 w 762"/>
                <a:gd name="T123" fmla="*/ 66 h 9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900"/>
                <a:gd name="T188" fmla="*/ 762 w 762"/>
                <a:gd name="T189" fmla="*/ 900 h 90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900">
                  <a:moveTo>
                    <a:pt x="90" y="768"/>
                  </a:moveTo>
                  <a:lnTo>
                    <a:pt x="102" y="756"/>
                  </a:lnTo>
                  <a:lnTo>
                    <a:pt x="102" y="750"/>
                  </a:lnTo>
                  <a:lnTo>
                    <a:pt x="90" y="744"/>
                  </a:lnTo>
                  <a:lnTo>
                    <a:pt x="84" y="738"/>
                  </a:lnTo>
                  <a:lnTo>
                    <a:pt x="90" y="726"/>
                  </a:lnTo>
                  <a:lnTo>
                    <a:pt x="84" y="720"/>
                  </a:lnTo>
                  <a:lnTo>
                    <a:pt x="78" y="720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72" y="702"/>
                  </a:lnTo>
                  <a:lnTo>
                    <a:pt x="72" y="696"/>
                  </a:lnTo>
                  <a:lnTo>
                    <a:pt x="84" y="684"/>
                  </a:lnTo>
                  <a:lnTo>
                    <a:pt x="96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102" y="654"/>
                  </a:lnTo>
                  <a:lnTo>
                    <a:pt x="108" y="654"/>
                  </a:lnTo>
                  <a:lnTo>
                    <a:pt x="114" y="648"/>
                  </a:lnTo>
                  <a:lnTo>
                    <a:pt x="120" y="642"/>
                  </a:lnTo>
                  <a:lnTo>
                    <a:pt x="120" y="636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14" y="618"/>
                  </a:lnTo>
                  <a:lnTo>
                    <a:pt x="102" y="618"/>
                  </a:lnTo>
                  <a:lnTo>
                    <a:pt x="90" y="618"/>
                  </a:lnTo>
                  <a:lnTo>
                    <a:pt x="78" y="624"/>
                  </a:lnTo>
                  <a:lnTo>
                    <a:pt x="72" y="630"/>
                  </a:lnTo>
                  <a:lnTo>
                    <a:pt x="54" y="642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42" y="642"/>
                  </a:lnTo>
                  <a:lnTo>
                    <a:pt x="42" y="636"/>
                  </a:lnTo>
                  <a:lnTo>
                    <a:pt x="36" y="636"/>
                  </a:lnTo>
                  <a:lnTo>
                    <a:pt x="30" y="642"/>
                  </a:lnTo>
                  <a:lnTo>
                    <a:pt x="30" y="636"/>
                  </a:lnTo>
                  <a:lnTo>
                    <a:pt x="30" y="630"/>
                  </a:lnTo>
                  <a:lnTo>
                    <a:pt x="24" y="630"/>
                  </a:lnTo>
                  <a:lnTo>
                    <a:pt x="30" y="624"/>
                  </a:lnTo>
                  <a:lnTo>
                    <a:pt x="30" y="618"/>
                  </a:lnTo>
                  <a:lnTo>
                    <a:pt x="30" y="612"/>
                  </a:lnTo>
                  <a:lnTo>
                    <a:pt x="36" y="612"/>
                  </a:lnTo>
                  <a:lnTo>
                    <a:pt x="36" y="606"/>
                  </a:lnTo>
                  <a:lnTo>
                    <a:pt x="30" y="606"/>
                  </a:lnTo>
                  <a:lnTo>
                    <a:pt x="24" y="612"/>
                  </a:lnTo>
                  <a:lnTo>
                    <a:pt x="18" y="606"/>
                  </a:lnTo>
                  <a:lnTo>
                    <a:pt x="12" y="594"/>
                  </a:lnTo>
                  <a:lnTo>
                    <a:pt x="6" y="582"/>
                  </a:lnTo>
                  <a:lnTo>
                    <a:pt x="6" y="570"/>
                  </a:lnTo>
                  <a:lnTo>
                    <a:pt x="0" y="558"/>
                  </a:lnTo>
                  <a:lnTo>
                    <a:pt x="6" y="552"/>
                  </a:lnTo>
                  <a:lnTo>
                    <a:pt x="6" y="534"/>
                  </a:lnTo>
                  <a:lnTo>
                    <a:pt x="18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12" y="480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54" y="408"/>
                  </a:lnTo>
                  <a:lnTo>
                    <a:pt x="54" y="396"/>
                  </a:lnTo>
                  <a:lnTo>
                    <a:pt x="54" y="384"/>
                  </a:lnTo>
                  <a:lnTo>
                    <a:pt x="60" y="378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66"/>
                  </a:lnTo>
                  <a:lnTo>
                    <a:pt x="60" y="360"/>
                  </a:lnTo>
                  <a:lnTo>
                    <a:pt x="66" y="360"/>
                  </a:lnTo>
                  <a:lnTo>
                    <a:pt x="72" y="354"/>
                  </a:lnTo>
                  <a:lnTo>
                    <a:pt x="78" y="354"/>
                  </a:lnTo>
                  <a:lnTo>
                    <a:pt x="84" y="348"/>
                  </a:lnTo>
                  <a:lnTo>
                    <a:pt x="96" y="348"/>
                  </a:lnTo>
                  <a:lnTo>
                    <a:pt x="96" y="342"/>
                  </a:lnTo>
                  <a:lnTo>
                    <a:pt x="96" y="336"/>
                  </a:lnTo>
                  <a:lnTo>
                    <a:pt x="96" y="330"/>
                  </a:lnTo>
                  <a:lnTo>
                    <a:pt x="96" y="324"/>
                  </a:lnTo>
                  <a:lnTo>
                    <a:pt x="102" y="318"/>
                  </a:lnTo>
                  <a:lnTo>
                    <a:pt x="108" y="312"/>
                  </a:lnTo>
                  <a:lnTo>
                    <a:pt x="96" y="306"/>
                  </a:lnTo>
                  <a:lnTo>
                    <a:pt x="84" y="288"/>
                  </a:lnTo>
                  <a:lnTo>
                    <a:pt x="108" y="258"/>
                  </a:lnTo>
                  <a:lnTo>
                    <a:pt x="102" y="222"/>
                  </a:lnTo>
                  <a:lnTo>
                    <a:pt x="84" y="222"/>
                  </a:lnTo>
                  <a:lnTo>
                    <a:pt x="54" y="216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2"/>
                  </a:lnTo>
                  <a:lnTo>
                    <a:pt x="72" y="192"/>
                  </a:lnTo>
                  <a:lnTo>
                    <a:pt x="84" y="186"/>
                  </a:lnTo>
                  <a:lnTo>
                    <a:pt x="90" y="186"/>
                  </a:lnTo>
                  <a:lnTo>
                    <a:pt x="90" y="174"/>
                  </a:lnTo>
                  <a:lnTo>
                    <a:pt x="84" y="162"/>
                  </a:lnTo>
                  <a:lnTo>
                    <a:pt x="84" y="150"/>
                  </a:lnTo>
                  <a:lnTo>
                    <a:pt x="84" y="126"/>
                  </a:lnTo>
                  <a:lnTo>
                    <a:pt x="84" y="114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8" y="96"/>
                  </a:lnTo>
                  <a:lnTo>
                    <a:pt x="120" y="90"/>
                  </a:lnTo>
                  <a:lnTo>
                    <a:pt x="126" y="78"/>
                  </a:lnTo>
                  <a:lnTo>
                    <a:pt x="138" y="66"/>
                  </a:lnTo>
                  <a:lnTo>
                    <a:pt x="138" y="48"/>
                  </a:lnTo>
                  <a:lnTo>
                    <a:pt x="138" y="42"/>
                  </a:lnTo>
                  <a:lnTo>
                    <a:pt x="126" y="30"/>
                  </a:lnTo>
                  <a:lnTo>
                    <a:pt x="120" y="18"/>
                  </a:lnTo>
                  <a:lnTo>
                    <a:pt x="132" y="12"/>
                  </a:lnTo>
                  <a:lnTo>
                    <a:pt x="144" y="0"/>
                  </a:lnTo>
                  <a:lnTo>
                    <a:pt x="150" y="6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6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74" y="66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68" y="72"/>
                  </a:lnTo>
                  <a:lnTo>
                    <a:pt x="156" y="150"/>
                  </a:lnTo>
                  <a:lnTo>
                    <a:pt x="168" y="144"/>
                  </a:lnTo>
                  <a:lnTo>
                    <a:pt x="180" y="150"/>
                  </a:lnTo>
                  <a:lnTo>
                    <a:pt x="186" y="150"/>
                  </a:lnTo>
                  <a:lnTo>
                    <a:pt x="186" y="144"/>
                  </a:lnTo>
                  <a:lnTo>
                    <a:pt x="192" y="150"/>
                  </a:lnTo>
                  <a:lnTo>
                    <a:pt x="222" y="150"/>
                  </a:lnTo>
                  <a:lnTo>
                    <a:pt x="222" y="168"/>
                  </a:lnTo>
                  <a:lnTo>
                    <a:pt x="222" y="186"/>
                  </a:lnTo>
                  <a:lnTo>
                    <a:pt x="234" y="198"/>
                  </a:lnTo>
                  <a:lnTo>
                    <a:pt x="234" y="234"/>
                  </a:lnTo>
                  <a:lnTo>
                    <a:pt x="228" y="270"/>
                  </a:lnTo>
                  <a:lnTo>
                    <a:pt x="246" y="282"/>
                  </a:lnTo>
                  <a:lnTo>
                    <a:pt x="258" y="294"/>
                  </a:lnTo>
                  <a:lnTo>
                    <a:pt x="270" y="300"/>
                  </a:lnTo>
                  <a:lnTo>
                    <a:pt x="294" y="300"/>
                  </a:lnTo>
                  <a:lnTo>
                    <a:pt x="288" y="306"/>
                  </a:lnTo>
                  <a:lnTo>
                    <a:pt x="300" y="312"/>
                  </a:lnTo>
                  <a:lnTo>
                    <a:pt x="306" y="318"/>
                  </a:lnTo>
                  <a:lnTo>
                    <a:pt x="324" y="324"/>
                  </a:lnTo>
                  <a:lnTo>
                    <a:pt x="354" y="318"/>
                  </a:lnTo>
                  <a:lnTo>
                    <a:pt x="354" y="312"/>
                  </a:lnTo>
                  <a:lnTo>
                    <a:pt x="366" y="312"/>
                  </a:lnTo>
                  <a:lnTo>
                    <a:pt x="384" y="312"/>
                  </a:lnTo>
                  <a:lnTo>
                    <a:pt x="390" y="306"/>
                  </a:lnTo>
                  <a:lnTo>
                    <a:pt x="396" y="306"/>
                  </a:lnTo>
                  <a:lnTo>
                    <a:pt x="408" y="306"/>
                  </a:lnTo>
                  <a:lnTo>
                    <a:pt x="426" y="312"/>
                  </a:lnTo>
                  <a:lnTo>
                    <a:pt x="456" y="324"/>
                  </a:lnTo>
                  <a:lnTo>
                    <a:pt x="504" y="330"/>
                  </a:lnTo>
                  <a:lnTo>
                    <a:pt x="510" y="336"/>
                  </a:lnTo>
                  <a:lnTo>
                    <a:pt x="534" y="336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58" y="330"/>
                  </a:lnTo>
                  <a:lnTo>
                    <a:pt x="564" y="330"/>
                  </a:lnTo>
                  <a:lnTo>
                    <a:pt x="570" y="354"/>
                  </a:lnTo>
                  <a:lnTo>
                    <a:pt x="564" y="378"/>
                  </a:lnTo>
                  <a:lnTo>
                    <a:pt x="558" y="396"/>
                  </a:lnTo>
                  <a:lnTo>
                    <a:pt x="546" y="414"/>
                  </a:lnTo>
                  <a:lnTo>
                    <a:pt x="546" y="438"/>
                  </a:lnTo>
                  <a:lnTo>
                    <a:pt x="540" y="456"/>
                  </a:lnTo>
                  <a:lnTo>
                    <a:pt x="540" y="474"/>
                  </a:lnTo>
                  <a:lnTo>
                    <a:pt x="528" y="480"/>
                  </a:lnTo>
                  <a:lnTo>
                    <a:pt x="522" y="492"/>
                  </a:lnTo>
                  <a:lnTo>
                    <a:pt x="504" y="498"/>
                  </a:lnTo>
                  <a:lnTo>
                    <a:pt x="498" y="498"/>
                  </a:lnTo>
                  <a:lnTo>
                    <a:pt x="492" y="504"/>
                  </a:lnTo>
                  <a:lnTo>
                    <a:pt x="486" y="510"/>
                  </a:lnTo>
                  <a:lnTo>
                    <a:pt x="480" y="510"/>
                  </a:lnTo>
                  <a:lnTo>
                    <a:pt x="480" y="516"/>
                  </a:lnTo>
                  <a:lnTo>
                    <a:pt x="474" y="522"/>
                  </a:lnTo>
                  <a:lnTo>
                    <a:pt x="474" y="528"/>
                  </a:lnTo>
                  <a:lnTo>
                    <a:pt x="474" y="534"/>
                  </a:lnTo>
                  <a:lnTo>
                    <a:pt x="480" y="540"/>
                  </a:lnTo>
                  <a:lnTo>
                    <a:pt x="492" y="540"/>
                  </a:lnTo>
                  <a:lnTo>
                    <a:pt x="498" y="546"/>
                  </a:lnTo>
                  <a:lnTo>
                    <a:pt x="504" y="552"/>
                  </a:lnTo>
                  <a:lnTo>
                    <a:pt x="510" y="552"/>
                  </a:lnTo>
                  <a:lnTo>
                    <a:pt x="516" y="558"/>
                  </a:lnTo>
                  <a:lnTo>
                    <a:pt x="528" y="558"/>
                  </a:lnTo>
                  <a:lnTo>
                    <a:pt x="534" y="552"/>
                  </a:lnTo>
                  <a:lnTo>
                    <a:pt x="540" y="552"/>
                  </a:lnTo>
                  <a:lnTo>
                    <a:pt x="546" y="552"/>
                  </a:lnTo>
                  <a:lnTo>
                    <a:pt x="558" y="546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70" y="546"/>
                  </a:lnTo>
                  <a:lnTo>
                    <a:pt x="570" y="540"/>
                  </a:lnTo>
                  <a:lnTo>
                    <a:pt x="570" y="546"/>
                  </a:lnTo>
                  <a:lnTo>
                    <a:pt x="576" y="546"/>
                  </a:lnTo>
                  <a:lnTo>
                    <a:pt x="582" y="546"/>
                  </a:lnTo>
                  <a:lnTo>
                    <a:pt x="588" y="540"/>
                  </a:lnTo>
                  <a:lnTo>
                    <a:pt x="594" y="546"/>
                  </a:lnTo>
                  <a:lnTo>
                    <a:pt x="606" y="546"/>
                  </a:lnTo>
                  <a:lnTo>
                    <a:pt x="612" y="546"/>
                  </a:lnTo>
                  <a:lnTo>
                    <a:pt x="612" y="552"/>
                  </a:lnTo>
                  <a:lnTo>
                    <a:pt x="618" y="552"/>
                  </a:lnTo>
                  <a:lnTo>
                    <a:pt x="624" y="552"/>
                  </a:lnTo>
                  <a:lnTo>
                    <a:pt x="630" y="552"/>
                  </a:lnTo>
                  <a:lnTo>
                    <a:pt x="648" y="546"/>
                  </a:lnTo>
                  <a:lnTo>
                    <a:pt x="654" y="546"/>
                  </a:lnTo>
                  <a:lnTo>
                    <a:pt x="654" y="552"/>
                  </a:lnTo>
                  <a:lnTo>
                    <a:pt x="660" y="558"/>
                  </a:lnTo>
                  <a:lnTo>
                    <a:pt x="666" y="564"/>
                  </a:lnTo>
                  <a:lnTo>
                    <a:pt x="672" y="564"/>
                  </a:lnTo>
                  <a:lnTo>
                    <a:pt x="678" y="564"/>
                  </a:lnTo>
                  <a:lnTo>
                    <a:pt x="696" y="576"/>
                  </a:lnTo>
                  <a:lnTo>
                    <a:pt x="696" y="582"/>
                  </a:lnTo>
                  <a:lnTo>
                    <a:pt x="708" y="588"/>
                  </a:lnTo>
                  <a:lnTo>
                    <a:pt x="708" y="594"/>
                  </a:lnTo>
                  <a:lnTo>
                    <a:pt x="720" y="606"/>
                  </a:lnTo>
                  <a:lnTo>
                    <a:pt x="720" y="618"/>
                  </a:lnTo>
                  <a:lnTo>
                    <a:pt x="720" y="624"/>
                  </a:lnTo>
                  <a:lnTo>
                    <a:pt x="726" y="630"/>
                  </a:lnTo>
                  <a:lnTo>
                    <a:pt x="732" y="636"/>
                  </a:lnTo>
                  <a:lnTo>
                    <a:pt x="732" y="642"/>
                  </a:lnTo>
                  <a:lnTo>
                    <a:pt x="732" y="648"/>
                  </a:lnTo>
                  <a:lnTo>
                    <a:pt x="726" y="654"/>
                  </a:lnTo>
                  <a:lnTo>
                    <a:pt x="720" y="660"/>
                  </a:lnTo>
                  <a:lnTo>
                    <a:pt x="714" y="666"/>
                  </a:lnTo>
                  <a:lnTo>
                    <a:pt x="714" y="672"/>
                  </a:lnTo>
                  <a:lnTo>
                    <a:pt x="714" y="678"/>
                  </a:lnTo>
                  <a:lnTo>
                    <a:pt x="720" y="678"/>
                  </a:lnTo>
                  <a:lnTo>
                    <a:pt x="720" y="684"/>
                  </a:lnTo>
                  <a:lnTo>
                    <a:pt x="714" y="690"/>
                  </a:lnTo>
                  <a:lnTo>
                    <a:pt x="714" y="696"/>
                  </a:lnTo>
                  <a:lnTo>
                    <a:pt x="714" y="702"/>
                  </a:lnTo>
                  <a:lnTo>
                    <a:pt x="714" y="708"/>
                  </a:lnTo>
                  <a:lnTo>
                    <a:pt x="720" y="708"/>
                  </a:lnTo>
                  <a:lnTo>
                    <a:pt x="720" y="720"/>
                  </a:lnTo>
                  <a:lnTo>
                    <a:pt x="720" y="726"/>
                  </a:lnTo>
                  <a:lnTo>
                    <a:pt x="726" y="726"/>
                  </a:lnTo>
                  <a:lnTo>
                    <a:pt x="726" y="732"/>
                  </a:lnTo>
                  <a:lnTo>
                    <a:pt x="732" y="732"/>
                  </a:lnTo>
                  <a:lnTo>
                    <a:pt x="732" y="738"/>
                  </a:lnTo>
                  <a:lnTo>
                    <a:pt x="726" y="738"/>
                  </a:lnTo>
                  <a:lnTo>
                    <a:pt x="720" y="738"/>
                  </a:lnTo>
                  <a:lnTo>
                    <a:pt x="720" y="744"/>
                  </a:lnTo>
                  <a:lnTo>
                    <a:pt x="720" y="750"/>
                  </a:lnTo>
                  <a:lnTo>
                    <a:pt x="714" y="750"/>
                  </a:lnTo>
                  <a:lnTo>
                    <a:pt x="714" y="756"/>
                  </a:lnTo>
                  <a:lnTo>
                    <a:pt x="720" y="756"/>
                  </a:lnTo>
                  <a:lnTo>
                    <a:pt x="714" y="762"/>
                  </a:lnTo>
                  <a:lnTo>
                    <a:pt x="720" y="762"/>
                  </a:lnTo>
                  <a:lnTo>
                    <a:pt x="726" y="768"/>
                  </a:lnTo>
                  <a:lnTo>
                    <a:pt x="726" y="774"/>
                  </a:lnTo>
                  <a:lnTo>
                    <a:pt x="732" y="774"/>
                  </a:lnTo>
                  <a:lnTo>
                    <a:pt x="732" y="780"/>
                  </a:lnTo>
                  <a:lnTo>
                    <a:pt x="726" y="780"/>
                  </a:lnTo>
                  <a:lnTo>
                    <a:pt x="726" y="786"/>
                  </a:lnTo>
                  <a:lnTo>
                    <a:pt x="720" y="786"/>
                  </a:lnTo>
                  <a:lnTo>
                    <a:pt x="726" y="786"/>
                  </a:lnTo>
                  <a:lnTo>
                    <a:pt x="732" y="780"/>
                  </a:lnTo>
                  <a:lnTo>
                    <a:pt x="738" y="780"/>
                  </a:lnTo>
                  <a:lnTo>
                    <a:pt x="744" y="780"/>
                  </a:lnTo>
                  <a:lnTo>
                    <a:pt x="744" y="786"/>
                  </a:lnTo>
                  <a:lnTo>
                    <a:pt x="750" y="786"/>
                  </a:lnTo>
                  <a:lnTo>
                    <a:pt x="744" y="786"/>
                  </a:lnTo>
                  <a:lnTo>
                    <a:pt x="744" y="792"/>
                  </a:lnTo>
                  <a:lnTo>
                    <a:pt x="744" y="786"/>
                  </a:lnTo>
                  <a:lnTo>
                    <a:pt x="738" y="792"/>
                  </a:lnTo>
                  <a:lnTo>
                    <a:pt x="744" y="792"/>
                  </a:lnTo>
                  <a:lnTo>
                    <a:pt x="750" y="792"/>
                  </a:lnTo>
                  <a:lnTo>
                    <a:pt x="750" y="786"/>
                  </a:lnTo>
                  <a:lnTo>
                    <a:pt x="756" y="786"/>
                  </a:lnTo>
                  <a:lnTo>
                    <a:pt x="756" y="792"/>
                  </a:lnTo>
                  <a:lnTo>
                    <a:pt x="762" y="792"/>
                  </a:lnTo>
                  <a:lnTo>
                    <a:pt x="756" y="798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0" y="810"/>
                  </a:lnTo>
                  <a:lnTo>
                    <a:pt x="756" y="810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6" y="816"/>
                  </a:lnTo>
                  <a:lnTo>
                    <a:pt x="750" y="816"/>
                  </a:lnTo>
                  <a:lnTo>
                    <a:pt x="738" y="810"/>
                  </a:lnTo>
                  <a:lnTo>
                    <a:pt x="732" y="810"/>
                  </a:lnTo>
                  <a:lnTo>
                    <a:pt x="732" y="816"/>
                  </a:lnTo>
                  <a:lnTo>
                    <a:pt x="726" y="810"/>
                  </a:lnTo>
                  <a:lnTo>
                    <a:pt x="714" y="816"/>
                  </a:lnTo>
                  <a:lnTo>
                    <a:pt x="708" y="816"/>
                  </a:lnTo>
                  <a:lnTo>
                    <a:pt x="702" y="816"/>
                  </a:lnTo>
                  <a:lnTo>
                    <a:pt x="696" y="816"/>
                  </a:lnTo>
                  <a:lnTo>
                    <a:pt x="690" y="822"/>
                  </a:lnTo>
                  <a:lnTo>
                    <a:pt x="684" y="822"/>
                  </a:lnTo>
                  <a:lnTo>
                    <a:pt x="678" y="822"/>
                  </a:lnTo>
                  <a:lnTo>
                    <a:pt x="672" y="822"/>
                  </a:lnTo>
                  <a:lnTo>
                    <a:pt x="666" y="822"/>
                  </a:lnTo>
                  <a:lnTo>
                    <a:pt x="666" y="828"/>
                  </a:lnTo>
                  <a:lnTo>
                    <a:pt x="654" y="828"/>
                  </a:lnTo>
                  <a:lnTo>
                    <a:pt x="648" y="828"/>
                  </a:lnTo>
                  <a:lnTo>
                    <a:pt x="642" y="828"/>
                  </a:lnTo>
                  <a:lnTo>
                    <a:pt x="630" y="828"/>
                  </a:lnTo>
                  <a:lnTo>
                    <a:pt x="624" y="822"/>
                  </a:lnTo>
                  <a:lnTo>
                    <a:pt x="618" y="822"/>
                  </a:lnTo>
                  <a:lnTo>
                    <a:pt x="612" y="822"/>
                  </a:lnTo>
                  <a:lnTo>
                    <a:pt x="606" y="822"/>
                  </a:lnTo>
                  <a:lnTo>
                    <a:pt x="600" y="822"/>
                  </a:lnTo>
                  <a:lnTo>
                    <a:pt x="594" y="822"/>
                  </a:lnTo>
                  <a:lnTo>
                    <a:pt x="594" y="816"/>
                  </a:lnTo>
                  <a:lnTo>
                    <a:pt x="594" y="810"/>
                  </a:lnTo>
                  <a:lnTo>
                    <a:pt x="600" y="804"/>
                  </a:lnTo>
                  <a:lnTo>
                    <a:pt x="600" y="798"/>
                  </a:lnTo>
                  <a:lnTo>
                    <a:pt x="600" y="792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2" y="786"/>
                  </a:lnTo>
                  <a:lnTo>
                    <a:pt x="618" y="786"/>
                  </a:lnTo>
                  <a:lnTo>
                    <a:pt x="624" y="786"/>
                  </a:lnTo>
                  <a:lnTo>
                    <a:pt x="624" y="780"/>
                  </a:lnTo>
                  <a:lnTo>
                    <a:pt x="630" y="780"/>
                  </a:lnTo>
                  <a:lnTo>
                    <a:pt x="630" y="774"/>
                  </a:lnTo>
                  <a:lnTo>
                    <a:pt x="636" y="774"/>
                  </a:lnTo>
                  <a:lnTo>
                    <a:pt x="642" y="780"/>
                  </a:lnTo>
                  <a:lnTo>
                    <a:pt x="642" y="786"/>
                  </a:lnTo>
                  <a:lnTo>
                    <a:pt x="642" y="792"/>
                  </a:lnTo>
                  <a:lnTo>
                    <a:pt x="648" y="792"/>
                  </a:lnTo>
                  <a:lnTo>
                    <a:pt x="648" y="786"/>
                  </a:lnTo>
                  <a:lnTo>
                    <a:pt x="642" y="786"/>
                  </a:lnTo>
                  <a:lnTo>
                    <a:pt x="642" y="780"/>
                  </a:lnTo>
                  <a:lnTo>
                    <a:pt x="642" y="774"/>
                  </a:lnTo>
                  <a:lnTo>
                    <a:pt x="648" y="768"/>
                  </a:lnTo>
                  <a:lnTo>
                    <a:pt x="642" y="768"/>
                  </a:lnTo>
                  <a:lnTo>
                    <a:pt x="648" y="768"/>
                  </a:lnTo>
                  <a:lnTo>
                    <a:pt x="648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66" y="762"/>
                  </a:lnTo>
                  <a:lnTo>
                    <a:pt x="672" y="756"/>
                  </a:lnTo>
                  <a:lnTo>
                    <a:pt x="666" y="756"/>
                  </a:lnTo>
                  <a:lnTo>
                    <a:pt x="660" y="756"/>
                  </a:lnTo>
                  <a:lnTo>
                    <a:pt x="660" y="750"/>
                  </a:lnTo>
                  <a:lnTo>
                    <a:pt x="654" y="750"/>
                  </a:lnTo>
                  <a:lnTo>
                    <a:pt x="648" y="750"/>
                  </a:lnTo>
                  <a:lnTo>
                    <a:pt x="648" y="756"/>
                  </a:lnTo>
                  <a:lnTo>
                    <a:pt x="642" y="756"/>
                  </a:lnTo>
                  <a:lnTo>
                    <a:pt x="642" y="750"/>
                  </a:lnTo>
                  <a:lnTo>
                    <a:pt x="642" y="744"/>
                  </a:lnTo>
                  <a:lnTo>
                    <a:pt x="642" y="750"/>
                  </a:lnTo>
                  <a:lnTo>
                    <a:pt x="636" y="750"/>
                  </a:lnTo>
                  <a:lnTo>
                    <a:pt x="636" y="744"/>
                  </a:lnTo>
                  <a:lnTo>
                    <a:pt x="630" y="744"/>
                  </a:lnTo>
                  <a:lnTo>
                    <a:pt x="630" y="738"/>
                  </a:lnTo>
                  <a:lnTo>
                    <a:pt x="630" y="744"/>
                  </a:lnTo>
                  <a:lnTo>
                    <a:pt x="630" y="750"/>
                  </a:lnTo>
                  <a:lnTo>
                    <a:pt x="636" y="750"/>
                  </a:lnTo>
                  <a:lnTo>
                    <a:pt x="636" y="756"/>
                  </a:lnTo>
                  <a:lnTo>
                    <a:pt x="630" y="756"/>
                  </a:lnTo>
                  <a:lnTo>
                    <a:pt x="636" y="762"/>
                  </a:lnTo>
                  <a:lnTo>
                    <a:pt x="630" y="762"/>
                  </a:lnTo>
                  <a:lnTo>
                    <a:pt x="624" y="762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24" y="786"/>
                  </a:lnTo>
                  <a:lnTo>
                    <a:pt x="618" y="786"/>
                  </a:lnTo>
                  <a:lnTo>
                    <a:pt x="618" y="78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12" y="774"/>
                  </a:lnTo>
                  <a:lnTo>
                    <a:pt x="612" y="780"/>
                  </a:lnTo>
                  <a:lnTo>
                    <a:pt x="606" y="780"/>
                  </a:lnTo>
                  <a:lnTo>
                    <a:pt x="600" y="780"/>
                  </a:lnTo>
                  <a:lnTo>
                    <a:pt x="600" y="774"/>
                  </a:lnTo>
                  <a:lnTo>
                    <a:pt x="594" y="768"/>
                  </a:lnTo>
                  <a:lnTo>
                    <a:pt x="594" y="762"/>
                  </a:lnTo>
                  <a:lnTo>
                    <a:pt x="594" y="756"/>
                  </a:lnTo>
                  <a:lnTo>
                    <a:pt x="594" y="762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594" y="780"/>
                  </a:lnTo>
                  <a:lnTo>
                    <a:pt x="588" y="780"/>
                  </a:lnTo>
                  <a:lnTo>
                    <a:pt x="582" y="780"/>
                  </a:lnTo>
                  <a:lnTo>
                    <a:pt x="576" y="780"/>
                  </a:lnTo>
                  <a:lnTo>
                    <a:pt x="570" y="780"/>
                  </a:lnTo>
                  <a:lnTo>
                    <a:pt x="564" y="780"/>
                  </a:lnTo>
                  <a:lnTo>
                    <a:pt x="564" y="786"/>
                  </a:lnTo>
                  <a:lnTo>
                    <a:pt x="558" y="786"/>
                  </a:lnTo>
                  <a:lnTo>
                    <a:pt x="552" y="786"/>
                  </a:lnTo>
                  <a:lnTo>
                    <a:pt x="552" y="780"/>
                  </a:lnTo>
                  <a:lnTo>
                    <a:pt x="552" y="774"/>
                  </a:lnTo>
                  <a:lnTo>
                    <a:pt x="552" y="768"/>
                  </a:lnTo>
                  <a:lnTo>
                    <a:pt x="546" y="768"/>
                  </a:lnTo>
                  <a:lnTo>
                    <a:pt x="540" y="762"/>
                  </a:lnTo>
                  <a:lnTo>
                    <a:pt x="540" y="756"/>
                  </a:lnTo>
                  <a:lnTo>
                    <a:pt x="534" y="756"/>
                  </a:lnTo>
                  <a:lnTo>
                    <a:pt x="534" y="750"/>
                  </a:lnTo>
                  <a:lnTo>
                    <a:pt x="534" y="744"/>
                  </a:lnTo>
                  <a:lnTo>
                    <a:pt x="528" y="738"/>
                  </a:lnTo>
                  <a:lnTo>
                    <a:pt x="522" y="738"/>
                  </a:lnTo>
                  <a:lnTo>
                    <a:pt x="522" y="732"/>
                  </a:lnTo>
                  <a:lnTo>
                    <a:pt x="510" y="726"/>
                  </a:lnTo>
                  <a:lnTo>
                    <a:pt x="510" y="720"/>
                  </a:lnTo>
                  <a:lnTo>
                    <a:pt x="504" y="720"/>
                  </a:lnTo>
                  <a:lnTo>
                    <a:pt x="504" y="714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8" y="702"/>
                  </a:lnTo>
                  <a:lnTo>
                    <a:pt x="498" y="696"/>
                  </a:lnTo>
                  <a:lnTo>
                    <a:pt x="492" y="690"/>
                  </a:lnTo>
                  <a:lnTo>
                    <a:pt x="492" y="684"/>
                  </a:lnTo>
                  <a:lnTo>
                    <a:pt x="486" y="684"/>
                  </a:lnTo>
                  <a:lnTo>
                    <a:pt x="486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74" y="678"/>
                  </a:lnTo>
                  <a:lnTo>
                    <a:pt x="468" y="678"/>
                  </a:lnTo>
                  <a:lnTo>
                    <a:pt x="462" y="678"/>
                  </a:lnTo>
                  <a:lnTo>
                    <a:pt x="462" y="672"/>
                  </a:lnTo>
                  <a:lnTo>
                    <a:pt x="456" y="672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44" y="666"/>
                  </a:lnTo>
                  <a:lnTo>
                    <a:pt x="438" y="660"/>
                  </a:lnTo>
                  <a:lnTo>
                    <a:pt x="438" y="648"/>
                  </a:lnTo>
                  <a:lnTo>
                    <a:pt x="438" y="642"/>
                  </a:lnTo>
                  <a:lnTo>
                    <a:pt x="438" y="636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36"/>
                  </a:lnTo>
                  <a:lnTo>
                    <a:pt x="420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60"/>
                  </a:lnTo>
                  <a:lnTo>
                    <a:pt x="432" y="666"/>
                  </a:lnTo>
                  <a:lnTo>
                    <a:pt x="438" y="666"/>
                  </a:lnTo>
                  <a:lnTo>
                    <a:pt x="438" y="672"/>
                  </a:lnTo>
                  <a:lnTo>
                    <a:pt x="444" y="672"/>
                  </a:lnTo>
                  <a:lnTo>
                    <a:pt x="444" y="678"/>
                  </a:lnTo>
                  <a:lnTo>
                    <a:pt x="450" y="678"/>
                  </a:lnTo>
                  <a:lnTo>
                    <a:pt x="456" y="678"/>
                  </a:lnTo>
                  <a:lnTo>
                    <a:pt x="456" y="684"/>
                  </a:lnTo>
                  <a:lnTo>
                    <a:pt x="462" y="684"/>
                  </a:lnTo>
                  <a:lnTo>
                    <a:pt x="468" y="684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80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86" y="708"/>
                  </a:lnTo>
                  <a:lnTo>
                    <a:pt x="492" y="714"/>
                  </a:lnTo>
                  <a:lnTo>
                    <a:pt x="492" y="720"/>
                  </a:lnTo>
                  <a:lnTo>
                    <a:pt x="492" y="726"/>
                  </a:lnTo>
                  <a:lnTo>
                    <a:pt x="498" y="732"/>
                  </a:lnTo>
                  <a:lnTo>
                    <a:pt x="492" y="738"/>
                  </a:lnTo>
                  <a:lnTo>
                    <a:pt x="492" y="744"/>
                  </a:lnTo>
                  <a:lnTo>
                    <a:pt x="492" y="750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68" y="738"/>
                  </a:lnTo>
                  <a:lnTo>
                    <a:pt x="468" y="744"/>
                  </a:lnTo>
                  <a:lnTo>
                    <a:pt x="474" y="750"/>
                  </a:lnTo>
                  <a:lnTo>
                    <a:pt x="480" y="756"/>
                  </a:lnTo>
                  <a:lnTo>
                    <a:pt x="486" y="756"/>
                  </a:lnTo>
                  <a:lnTo>
                    <a:pt x="492" y="762"/>
                  </a:lnTo>
                  <a:lnTo>
                    <a:pt x="498" y="768"/>
                  </a:lnTo>
                  <a:lnTo>
                    <a:pt x="492" y="774"/>
                  </a:lnTo>
                  <a:lnTo>
                    <a:pt x="492" y="780"/>
                  </a:lnTo>
                  <a:lnTo>
                    <a:pt x="498" y="780"/>
                  </a:lnTo>
                  <a:lnTo>
                    <a:pt x="492" y="786"/>
                  </a:lnTo>
                  <a:lnTo>
                    <a:pt x="492" y="792"/>
                  </a:lnTo>
                  <a:lnTo>
                    <a:pt x="492" y="79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0" y="810"/>
                  </a:lnTo>
                  <a:lnTo>
                    <a:pt x="480" y="804"/>
                  </a:lnTo>
                  <a:lnTo>
                    <a:pt x="474" y="804"/>
                  </a:lnTo>
                  <a:lnTo>
                    <a:pt x="474" y="798"/>
                  </a:lnTo>
                  <a:lnTo>
                    <a:pt x="474" y="804"/>
                  </a:lnTo>
                  <a:lnTo>
                    <a:pt x="468" y="804"/>
                  </a:lnTo>
                  <a:lnTo>
                    <a:pt x="468" y="810"/>
                  </a:lnTo>
                  <a:lnTo>
                    <a:pt x="462" y="810"/>
                  </a:lnTo>
                  <a:lnTo>
                    <a:pt x="456" y="810"/>
                  </a:lnTo>
                  <a:lnTo>
                    <a:pt x="450" y="810"/>
                  </a:lnTo>
                  <a:lnTo>
                    <a:pt x="450" y="816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50" y="822"/>
                  </a:lnTo>
                  <a:lnTo>
                    <a:pt x="450" y="816"/>
                  </a:lnTo>
                  <a:lnTo>
                    <a:pt x="444" y="816"/>
                  </a:lnTo>
                  <a:lnTo>
                    <a:pt x="438" y="810"/>
                  </a:lnTo>
                  <a:lnTo>
                    <a:pt x="432" y="810"/>
                  </a:lnTo>
                  <a:lnTo>
                    <a:pt x="426" y="804"/>
                  </a:lnTo>
                  <a:lnTo>
                    <a:pt x="426" y="798"/>
                  </a:lnTo>
                  <a:lnTo>
                    <a:pt x="420" y="798"/>
                  </a:lnTo>
                  <a:lnTo>
                    <a:pt x="426" y="798"/>
                  </a:lnTo>
                  <a:lnTo>
                    <a:pt x="426" y="792"/>
                  </a:lnTo>
                  <a:lnTo>
                    <a:pt x="426" y="786"/>
                  </a:lnTo>
                  <a:lnTo>
                    <a:pt x="432" y="786"/>
                  </a:lnTo>
                  <a:lnTo>
                    <a:pt x="432" y="780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0" y="756"/>
                  </a:lnTo>
                  <a:lnTo>
                    <a:pt x="420" y="750"/>
                  </a:lnTo>
                  <a:lnTo>
                    <a:pt x="414" y="750"/>
                  </a:lnTo>
                  <a:lnTo>
                    <a:pt x="420" y="750"/>
                  </a:lnTo>
                  <a:lnTo>
                    <a:pt x="420" y="744"/>
                  </a:lnTo>
                  <a:lnTo>
                    <a:pt x="414" y="744"/>
                  </a:lnTo>
                  <a:lnTo>
                    <a:pt x="414" y="738"/>
                  </a:lnTo>
                  <a:lnTo>
                    <a:pt x="414" y="732"/>
                  </a:lnTo>
                  <a:lnTo>
                    <a:pt x="408" y="732"/>
                  </a:lnTo>
                  <a:lnTo>
                    <a:pt x="408" y="726"/>
                  </a:lnTo>
                  <a:lnTo>
                    <a:pt x="402" y="726"/>
                  </a:lnTo>
                  <a:lnTo>
                    <a:pt x="396" y="726"/>
                  </a:lnTo>
                  <a:lnTo>
                    <a:pt x="390" y="726"/>
                  </a:lnTo>
                  <a:lnTo>
                    <a:pt x="390" y="720"/>
                  </a:lnTo>
                  <a:lnTo>
                    <a:pt x="390" y="714"/>
                  </a:lnTo>
                  <a:lnTo>
                    <a:pt x="384" y="708"/>
                  </a:lnTo>
                  <a:lnTo>
                    <a:pt x="384" y="702"/>
                  </a:lnTo>
                  <a:lnTo>
                    <a:pt x="378" y="702"/>
                  </a:lnTo>
                  <a:lnTo>
                    <a:pt x="378" y="696"/>
                  </a:lnTo>
                  <a:lnTo>
                    <a:pt x="378" y="690"/>
                  </a:lnTo>
                  <a:lnTo>
                    <a:pt x="372" y="684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66" y="666"/>
                  </a:lnTo>
                  <a:lnTo>
                    <a:pt x="366" y="660"/>
                  </a:lnTo>
                  <a:lnTo>
                    <a:pt x="366" y="654"/>
                  </a:lnTo>
                  <a:lnTo>
                    <a:pt x="360" y="648"/>
                  </a:lnTo>
                  <a:lnTo>
                    <a:pt x="360" y="654"/>
                  </a:lnTo>
                  <a:lnTo>
                    <a:pt x="360" y="660"/>
                  </a:lnTo>
                  <a:lnTo>
                    <a:pt x="360" y="666"/>
                  </a:lnTo>
                  <a:lnTo>
                    <a:pt x="360" y="672"/>
                  </a:lnTo>
                  <a:lnTo>
                    <a:pt x="360" y="678"/>
                  </a:lnTo>
                  <a:lnTo>
                    <a:pt x="366" y="678"/>
                  </a:lnTo>
                  <a:lnTo>
                    <a:pt x="366" y="684"/>
                  </a:lnTo>
                  <a:lnTo>
                    <a:pt x="366" y="690"/>
                  </a:lnTo>
                  <a:lnTo>
                    <a:pt x="372" y="696"/>
                  </a:lnTo>
                  <a:lnTo>
                    <a:pt x="372" y="702"/>
                  </a:lnTo>
                  <a:lnTo>
                    <a:pt x="372" y="708"/>
                  </a:lnTo>
                  <a:lnTo>
                    <a:pt x="372" y="714"/>
                  </a:lnTo>
                  <a:lnTo>
                    <a:pt x="366" y="714"/>
                  </a:lnTo>
                  <a:lnTo>
                    <a:pt x="360" y="714"/>
                  </a:lnTo>
                  <a:lnTo>
                    <a:pt x="354" y="714"/>
                  </a:lnTo>
                  <a:lnTo>
                    <a:pt x="348" y="714"/>
                  </a:lnTo>
                  <a:lnTo>
                    <a:pt x="348" y="708"/>
                  </a:lnTo>
                  <a:lnTo>
                    <a:pt x="342" y="708"/>
                  </a:lnTo>
                  <a:lnTo>
                    <a:pt x="342" y="702"/>
                  </a:lnTo>
                  <a:lnTo>
                    <a:pt x="342" y="696"/>
                  </a:lnTo>
                  <a:lnTo>
                    <a:pt x="336" y="696"/>
                  </a:lnTo>
                  <a:lnTo>
                    <a:pt x="336" y="690"/>
                  </a:lnTo>
                  <a:lnTo>
                    <a:pt x="336" y="684"/>
                  </a:lnTo>
                  <a:lnTo>
                    <a:pt x="330" y="684"/>
                  </a:lnTo>
                  <a:lnTo>
                    <a:pt x="330" y="678"/>
                  </a:lnTo>
                  <a:lnTo>
                    <a:pt x="324" y="672"/>
                  </a:lnTo>
                  <a:lnTo>
                    <a:pt x="324" y="666"/>
                  </a:lnTo>
                  <a:lnTo>
                    <a:pt x="318" y="666"/>
                  </a:lnTo>
                  <a:lnTo>
                    <a:pt x="318" y="672"/>
                  </a:lnTo>
                  <a:lnTo>
                    <a:pt x="324" y="672"/>
                  </a:lnTo>
                  <a:lnTo>
                    <a:pt x="324" y="678"/>
                  </a:lnTo>
                  <a:lnTo>
                    <a:pt x="324" y="684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30" y="696"/>
                  </a:lnTo>
                  <a:lnTo>
                    <a:pt x="336" y="702"/>
                  </a:lnTo>
                  <a:lnTo>
                    <a:pt x="342" y="708"/>
                  </a:lnTo>
                  <a:lnTo>
                    <a:pt x="342" y="714"/>
                  </a:lnTo>
                  <a:lnTo>
                    <a:pt x="348" y="720"/>
                  </a:lnTo>
                  <a:lnTo>
                    <a:pt x="342" y="720"/>
                  </a:lnTo>
                  <a:lnTo>
                    <a:pt x="336" y="720"/>
                  </a:lnTo>
                  <a:lnTo>
                    <a:pt x="330" y="720"/>
                  </a:lnTo>
                  <a:lnTo>
                    <a:pt x="330" y="726"/>
                  </a:lnTo>
                  <a:lnTo>
                    <a:pt x="336" y="726"/>
                  </a:lnTo>
                  <a:lnTo>
                    <a:pt x="330" y="732"/>
                  </a:lnTo>
                  <a:lnTo>
                    <a:pt x="330" y="738"/>
                  </a:lnTo>
                  <a:lnTo>
                    <a:pt x="330" y="744"/>
                  </a:lnTo>
                  <a:lnTo>
                    <a:pt x="336" y="744"/>
                  </a:lnTo>
                  <a:lnTo>
                    <a:pt x="342" y="744"/>
                  </a:lnTo>
                  <a:lnTo>
                    <a:pt x="348" y="744"/>
                  </a:lnTo>
                  <a:lnTo>
                    <a:pt x="348" y="750"/>
                  </a:lnTo>
                  <a:lnTo>
                    <a:pt x="354" y="750"/>
                  </a:lnTo>
                  <a:lnTo>
                    <a:pt x="360" y="756"/>
                  </a:lnTo>
                  <a:lnTo>
                    <a:pt x="360" y="762"/>
                  </a:lnTo>
                  <a:lnTo>
                    <a:pt x="366" y="762"/>
                  </a:lnTo>
                  <a:lnTo>
                    <a:pt x="366" y="768"/>
                  </a:lnTo>
                  <a:lnTo>
                    <a:pt x="366" y="774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72" y="792"/>
                  </a:lnTo>
                  <a:lnTo>
                    <a:pt x="372" y="798"/>
                  </a:lnTo>
                  <a:lnTo>
                    <a:pt x="372" y="804"/>
                  </a:lnTo>
                  <a:lnTo>
                    <a:pt x="378" y="804"/>
                  </a:lnTo>
                  <a:lnTo>
                    <a:pt x="378" y="810"/>
                  </a:lnTo>
                  <a:lnTo>
                    <a:pt x="378" y="816"/>
                  </a:lnTo>
                  <a:lnTo>
                    <a:pt x="372" y="816"/>
                  </a:lnTo>
                  <a:lnTo>
                    <a:pt x="378" y="816"/>
                  </a:lnTo>
                  <a:lnTo>
                    <a:pt x="378" y="822"/>
                  </a:lnTo>
                  <a:lnTo>
                    <a:pt x="378" y="828"/>
                  </a:lnTo>
                  <a:lnTo>
                    <a:pt x="378" y="834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0" y="864"/>
                  </a:lnTo>
                  <a:lnTo>
                    <a:pt x="384" y="864"/>
                  </a:lnTo>
                  <a:lnTo>
                    <a:pt x="384" y="870"/>
                  </a:lnTo>
                  <a:lnTo>
                    <a:pt x="378" y="864"/>
                  </a:lnTo>
                  <a:lnTo>
                    <a:pt x="372" y="864"/>
                  </a:lnTo>
                  <a:lnTo>
                    <a:pt x="366" y="858"/>
                  </a:lnTo>
                  <a:lnTo>
                    <a:pt x="366" y="852"/>
                  </a:lnTo>
                  <a:lnTo>
                    <a:pt x="360" y="852"/>
                  </a:lnTo>
                  <a:lnTo>
                    <a:pt x="360" y="858"/>
                  </a:lnTo>
                  <a:lnTo>
                    <a:pt x="366" y="858"/>
                  </a:lnTo>
                  <a:lnTo>
                    <a:pt x="366" y="864"/>
                  </a:lnTo>
                  <a:lnTo>
                    <a:pt x="360" y="864"/>
                  </a:lnTo>
                  <a:lnTo>
                    <a:pt x="354" y="864"/>
                  </a:lnTo>
                  <a:lnTo>
                    <a:pt x="354" y="870"/>
                  </a:lnTo>
                  <a:lnTo>
                    <a:pt x="354" y="864"/>
                  </a:lnTo>
                  <a:lnTo>
                    <a:pt x="348" y="864"/>
                  </a:lnTo>
                  <a:lnTo>
                    <a:pt x="342" y="864"/>
                  </a:lnTo>
                  <a:lnTo>
                    <a:pt x="342" y="858"/>
                  </a:lnTo>
                  <a:lnTo>
                    <a:pt x="336" y="858"/>
                  </a:lnTo>
                  <a:lnTo>
                    <a:pt x="330" y="858"/>
                  </a:lnTo>
                  <a:lnTo>
                    <a:pt x="324" y="858"/>
                  </a:lnTo>
                  <a:lnTo>
                    <a:pt x="318" y="858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0" y="852"/>
                  </a:lnTo>
                  <a:lnTo>
                    <a:pt x="294" y="852"/>
                  </a:lnTo>
                  <a:lnTo>
                    <a:pt x="294" y="846"/>
                  </a:lnTo>
                  <a:lnTo>
                    <a:pt x="288" y="840"/>
                  </a:lnTo>
                  <a:lnTo>
                    <a:pt x="288" y="828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2" y="816"/>
                  </a:lnTo>
                  <a:lnTo>
                    <a:pt x="282" y="810"/>
                  </a:lnTo>
                  <a:lnTo>
                    <a:pt x="276" y="810"/>
                  </a:lnTo>
                  <a:lnTo>
                    <a:pt x="276" y="804"/>
                  </a:lnTo>
                  <a:lnTo>
                    <a:pt x="276" y="798"/>
                  </a:lnTo>
                  <a:lnTo>
                    <a:pt x="276" y="792"/>
                  </a:lnTo>
                  <a:lnTo>
                    <a:pt x="270" y="786"/>
                  </a:lnTo>
                  <a:lnTo>
                    <a:pt x="270" y="780"/>
                  </a:lnTo>
                  <a:lnTo>
                    <a:pt x="270" y="774"/>
                  </a:lnTo>
                  <a:lnTo>
                    <a:pt x="264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64" y="750"/>
                  </a:lnTo>
                  <a:lnTo>
                    <a:pt x="264" y="744"/>
                  </a:lnTo>
                  <a:lnTo>
                    <a:pt x="264" y="738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26"/>
                  </a:lnTo>
                  <a:lnTo>
                    <a:pt x="276" y="720"/>
                  </a:lnTo>
                  <a:lnTo>
                    <a:pt x="282" y="720"/>
                  </a:lnTo>
                  <a:lnTo>
                    <a:pt x="282" y="714"/>
                  </a:lnTo>
                  <a:lnTo>
                    <a:pt x="282" y="708"/>
                  </a:lnTo>
                  <a:lnTo>
                    <a:pt x="276" y="708"/>
                  </a:lnTo>
                  <a:lnTo>
                    <a:pt x="276" y="702"/>
                  </a:lnTo>
                  <a:lnTo>
                    <a:pt x="270" y="702"/>
                  </a:lnTo>
                  <a:lnTo>
                    <a:pt x="270" y="696"/>
                  </a:lnTo>
                  <a:lnTo>
                    <a:pt x="264" y="690"/>
                  </a:lnTo>
                  <a:lnTo>
                    <a:pt x="258" y="690"/>
                  </a:lnTo>
                  <a:lnTo>
                    <a:pt x="258" y="684"/>
                  </a:lnTo>
                  <a:lnTo>
                    <a:pt x="252" y="684"/>
                  </a:lnTo>
                  <a:lnTo>
                    <a:pt x="252" y="678"/>
                  </a:lnTo>
                  <a:lnTo>
                    <a:pt x="246" y="678"/>
                  </a:lnTo>
                  <a:lnTo>
                    <a:pt x="240" y="678"/>
                  </a:lnTo>
                  <a:lnTo>
                    <a:pt x="240" y="684"/>
                  </a:lnTo>
                  <a:lnTo>
                    <a:pt x="246" y="684"/>
                  </a:lnTo>
                  <a:lnTo>
                    <a:pt x="252" y="690"/>
                  </a:lnTo>
                  <a:lnTo>
                    <a:pt x="258" y="690"/>
                  </a:lnTo>
                  <a:lnTo>
                    <a:pt x="258" y="696"/>
                  </a:lnTo>
                  <a:lnTo>
                    <a:pt x="258" y="702"/>
                  </a:lnTo>
                  <a:lnTo>
                    <a:pt x="264" y="702"/>
                  </a:lnTo>
                  <a:lnTo>
                    <a:pt x="270" y="708"/>
                  </a:lnTo>
                  <a:lnTo>
                    <a:pt x="270" y="714"/>
                  </a:lnTo>
                  <a:lnTo>
                    <a:pt x="270" y="720"/>
                  </a:lnTo>
                  <a:lnTo>
                    <a:pt x="276" y="720"/>
                  </a:lnTo>
                  <a:lnTo>
                    <a:pt x="270" y="720"/>
                  </a:lnTo>
                  <a:lnTo>
                    <a:pt x="270" y="726"/>
                  </a:lnTo>
                  <a:lnTo>
                    <a:pt x="264" y="726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52" y="738"/>
                  </a:lnTo>
                  <a:lnTo>
                    <a:pt x="252" y="744"/>
                  </a:lnTo>
                  <a:lnTo>
                    <a:pt x="252" y="750"/>
                  </a:lnTo>
                  <a:lnTo>
                    <a:pt x="252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58" y="774"/>
                  </a:lnTo>
                  <a:lnTo>
                    <a:pt x="258" y="780"/>
                  </a:lnTo>
                  <a:lnTo>
                    <a:pt x="264" y="786"/>
                  </a:lnTo>
                  <a:lnTo>
                    <a:pt x="264" y="792"/>
                  </a:lnTo>
                  <a:lnTo>
                    <a:pt x="264" y="798"/>
                  </a:lnTo>
                  <a:lnTo>
                    <a:pt x="270" y="810"/>
                  </a:lnTo>
                  <a:lnTo>
                    <a:pt x="270" y="816"/>
                  </a:lnTo>
                  <a:lnTo>
                    <a:pt x="270" y="822"/>
                  </a:lnTo>
                  <a:lnTo>
                    <a:pt x="276" y="822"/>
                  </a:lnTo>
                  <a:lnTo>
                    <a:pt x="276" y="828"/>
                  </a:lnTo>
                  <a:lnTo>
                    <a:pt x="276" y="834"/>
                  </a:lnTo>
                  <a:lnTo>
                    <a:pt x="276" y="840"/>
                  </a:lnTo>
                  <a:lnTo>
                    <a:pt x="276" y="846"/>
                  </a:lnTo>
                  <a:lnTo>
                    <a:pt x="282" y="852"/>
                  </a:lnTo>
                  <a:lnTo>
                    <a:pt x="282" y="858"/>
                  </a:lnTo>
                  <a:lnTo>
                    <a:pt x="294" y="864"/>
                  </a:lnTo>
                  <a:lnTo>
                    <a:pt x="300" y="870"/>
                  </a:lnTo>
                  <a:lnTo>
                    <a:pt x="300" y="876"/>
                  </a:lnTo>
                  <a:lnTo>
                    <a:pt x="288" y="876"/>
                  </a:lnTo>
                  <a:lnTo>
                    <a:pt x="282" y="876"/>
                  </a:lnTo>
                  <a:lnTo>
                    <a:pt x="276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2" y="882"/>
                  </a:lnTo>
                  <a:lnTo>
                    <a:pt x="246" y="882"/>
                  </a:lnTo>
                  <a:lnTo>
                    <a:pt x="240" y="882"/>
                  </a:lnTo>
                  <a:lnTo>
                    <a:pt x="234" y="882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204" y="876"/>
                  </a:lnTo>
                  <a:lnTo>
                    <a:pt x="198" y="876"/>
                  </a:lnTo>
                  <a:lnTo>
                    <a:pt x="198" y="870"/>
                  </a:lnTo>
                  <a:lnTo>
                    <a:pt x="198" y="852"/>
                  </a:lnTo>
                  <a:lnTo>
                    <a:pt x="198" y="846"/>
                  </a:lnTo>
                  <a:lnTo>
                    <a:pt x="204" y="846"/>
                  </a:lnTo>
                  <a:lnTo>
                    <a:pt x="198" y="840"/>
                  </a:lnTo>
                  <a:lnTo>
                    <a:pt x="198" y="834"/>
                  </a:lnTo>
                  <a:lnTo>
                    <a:pt x="198" y="828"/>
                  </a:lnTo>
                  <a:lnTo>
                    <a:pt x="198" y="822"/>
                  </a:lnTo>
                  <a:lnTo>
                    <a:pt x="198" y="816"/>
                  </a:lnTo>
                  <a:lnTo>
                    <a:pt x="198" y="810"/>
                  </a:lnTo>
                  <a:lnTo>
                    <a:pt x="192" y="810"/>
                  </a:lnTo>
                  <a:lnTo>
                    <a:pt x="192" y="804"/>
                  </a:lnTo>
                  <a:lnTo>
                    <a:pt x="192" y="798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2" y="774"/>
                  </a:lnTo>
                  <a:lnTo>
                    <a:pt x="192" y="768"/>
                  </a:lnTo>
                  <a:lnTo>
                    <a:pt x="198" y="768"/>
                  </a:lnTo>
                  <a:lnTo>
                    <a:pt x="198" y="762"/>
                  </a:lnTo>
                  <a:lnTo>
                    <a:pt x="198" y="756"/>
                  </a:lnTo>
                  <a:lnTo>
                    <a:pt x="204" y="756"/>
                  </a:lnTo>
                  <a:lnTo>
                    <a:pt x="204" y="750"/>
                  </a:lnTo>
                  <a:lnTo>
                    <a:pt x="210" y="744"/>
                  </a:lnTo>
                  <a:lnTo>
                    <a:pt x="210" y="738"/>
                  </a:lnTo>
                  <a:lnTo>
                    <a:pt x="210" y="732"/>
                  </a:lnTo>
                  <a:lnTo>
                    <a:pt x="210" y="726"/>
                  </a:lnTo>
                  <a:lnTo>
                    <a:pt x="210" y="720"/>
                  </a:lnTo>
                  <a:lnTo>
                    <a:pt x="204" y="714"/>
                  </a:lnTo>
                  <a:lnTo>
                    <a:pt x="204" y="720"/>
                  </a:lnTo>
                  <a:lnTo>
                    <a:pt x="204" y="732"/>
                  </a:lnTo>
                  <a:lnTo>
                    <a:pt x="204" y="738"/>
                  </a:lnTo>
                  <a:lnTo>
                    <a:pt x="198" y="738"/>
                  </a:lnTo>
                  <a:lnTo>
                    <a:pt x="198" y="744"/>
                  </a:lnTo>
                  <a:lnTo>
                    <a:pt x="198" y="750"/>
                  </a:lnTo>
                  <a:lnTo>
                    <a:pt x="192" y="756"/>
                  </a:lnTo>
                  <a:lnTo>
                    <a:pt x="186" y="762"/>
                  </a:lnTo>
                  <a:lnTo>
                    <a:pt x="186" y="768"/>
                  </a:lnTo>
                  <a:lnTo>
                    <a:pt x="186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98"/>
                  </a:lnTo>
                  <a:lnTo>
                    <a:pt x="186" y="804"/>
                  </a:lnTo>
                  <a:lnTo>
                    <a:pt x="186" y="810"/>
                  </a:lnTo>
                  <a:lnTo>
                    <a:pt x="192" y="816"/>
                  </a:lnTo>
                  <a:lnTo>
                    <a:pt x="192" y="828"/>
                  </a:lnTo>
                  <a:lnTo>
                    <a:pt x="192" y="834"/>
                  </a:lnTo>
                  <a:lnTo>
                    <a:pt x="186" y="834"/>
                  </a:lnTo>
                  <a:lnTo>
                    <a:pt x="186" y="828"/>
                  </a:lnTo>
                  <a:lnTo>
                    <a:pt x="180" y="822"/>
                  </a:lnTo>
                  <a:lnTo>
                    <a:pt x="180" y="816"/>
                  </a:lnTo>
                  <a:lnTo>
                    <a:pt x="180" y="810"/>
                  </a:lnTo>
                  <a:lnTo>
                    <a:pt x="174" y="810"/>
                  </a:lnTo>
                  <a:lnTo>
                    <a:pt x="174" y="804"/>
                  </a:lnTo>
                  <a:lnTo>
                    <a:pt x="174" y="798"/>
                  </a:lnTo>
                  <a:lnTo>
                    <a:pt x="174" y="792"/>
                  </a:lnTo>
                  <a:lnTo>
                    <a:pt x="168" y="786"/>
                  </a:lnTo>
                  <a:lnTo>
                    <a:pt x="168" y="780"/>
                  </a:lnTo>
                  <a:lnTo>
                    <a:pt x="162" y="780"/>
                  </a:lnTo>
                  <a:lnTo>
                    <a:pt x="168" y="774"/>
                  </a:lnTo>
                  <a:lnTo>
                    <a:pt x="168" y="768"/>
                  </a:lnTo>
                  <a:lnTo>
                    <a:pt x="174" y="768"/>
                  </a:lnTo>
                  <a:lnTo>
                    <a:pt x="168" y="768"/>
                  </a:lnTo>
                  <a:lnTo>
                    <a:pt x="162" y="774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50" y="774"/>
                  </a:lnTo>
                  <a:lnTo>
                    <a:pt x="144" y="774"/>
                  </a:lnTo>
                  <a:lnTo>
                    <a:pt x="144" y="768"/>
                  </a:lnTo>
                  <a:lnTo>
                    <a:pt x="144" y="762"/>
                  </a:lnTo>
                  <a:lnTo>
                    <a:pt x="138" y="756"/>
                  </a:lnTo>
                  <a:lnTo>
                    <a:pt x="132" y="756"/>
                  </a:lnTo>
                  <a:lnTo>
                    <a:pt x="138" y="756"/>
                  </a:lnTo>
                  <a:lnTo>
                    <a:pt x="138" y="762"/>
                  </a:lnTo>
                  <a:lnTo>
                    <a:pt x="138" y="768"/>
                  </a:lnTo>
                  <a:lnTo>
                    <a:pt x="144" y="768"/>
                  </a:lnTo>
                  <a:lnTo>
                    <a:pt x="144" y="774"/>
                  </a:lnTo>
                  <a:lnTo>
                    <a:pt x="150" y="780"/>
                  </a:lnTo>
                  <a:lnTo>
                    <a:pt x="156" y="780"/>
                  </a:lnTo>
                  <a:lnTo>
                    <a:pt x="156" y="786"/>
                  </a:lnTo>
                  <a:lnTo>
                    <a:pt x="162" y="786"/>
                  </a:lnTo>
                  <a:lnTo>
                    <a:pt x="168" y="792"/>
                  </a:lnTo>
                  <a:lnTo>
                    <a:pt x="168" y="798"/>
                  </a:lnTo>
                  <a:lnTo>
                    <a:pt x="168" y="804"/>
                  </a:lnTo>
                  <a:lnTo>
                    <a:pt x="174" y="810"/>
                  </a:lnTo>
                  <a:lnTo>
                    <a:pt x="174" y="816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68" y="828"/>
                  </a:lnTo>
                  <a:lnTo>
                    <a:pt x="168" y="834"/>
                  </a:lnTo>
                  <a:lnTo>
                    <a:pt x="174" y="840"/>
                  </a:lnTo>
                  <a:lnTo>
                    <a:pt x="180" y="840"/>
                  </a:lnTo>
                  <a:lnTo>
                    <a:pt x="180" y="846"/>
                  </a:lnTo>
                  <a:lnTo>
                    <a:pt x="186" y="846"/>
                  </a:lnTo>
                  <a:lnTo>
                    <a:pt x="186" y="852"/>
                  </a:lnTo>
                  <a:lnTo>
                    <a:pt x="186" y="858"/>
                  </a:lnTo>
                  <a:lnTo>
                    <a:pt x="186" y="864"/>
                  </a:lnTo>
                  <a:lnTo>
                    <a:pt x="192" y="864"/>
                  </a:lnTo>
                  <a:lnTo>
                    <a:pt x="192" y="870"/>
                  </a:lnTo>
                  <a:lnTo>
                    <a:pt x="192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6" y="888"/>
                  </a:lnTo>
                  <a:lnTo>
                    <a:pt x="180" y="888"/>
                  </a:lnTo>
                  <a:lnTo>
                    <a:pt x="174" y="888"/>
                  </a:lnTo>
                  <a:lnTo>
                    <a:pt x="168" y="894"/>
                  </a:lnTo>
                  <a:lnTo>
                    <a:pt x="162" y="894"/>
                  </a:lnTo>
                  <a:lnTo>
                    <a:pt x="156" y="894"/>
                  </a:lnTo>
                  <a:lnTo>
                    <a:pt x="150" y="894"/>
                  </a:lnTo>
                  <a:lnTo>
                    <a:pt x="144" y="894"/>
                  </a:lnTo>
                  <a:lnTo>
                    <a:pt x="144" y="900"/>
                  </a:lnTo>
                  <a:lnTo>
                    <a:pt x="138" y="894"/>
                  </a:lnTo>
                  <a:lnTo>
                    <a:pt x="138" y="900"/>
                  </a:lnTo>
                  <a:lnTo>
                    <a:pt x="132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6" y="882"/>
                  </a:lnTo>
                  <a:lnTo>
                    <a:pt x="126" y="876"/>
                  </a:lnTo>
                  <a:lnTo>
                    <a:pt x="120" y="876"/>
                  </a:lnTo>
                  <a:lnTo>
                    <a:pt x="126" y="870"/>
                  </a:lnTo>
                  <a:lnTo>
                    <a:pt x="126" y="864"/>
                  </a:lnTo>
                  <a:lnTo>
                    <a:pt x="126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26" y="828"/>
                  </a:lnTo>
                  <a:lnTo>
                    <a:pt x="126" y="822"/>
                  </a:lnTo>
                  <a:lnTo>
                    <a:pt x="126" y="816"/>
                  </a:lnTo>
                  <a:lnTo>
                    <a:pt x="126" y="810"/>
                  </a:lnTo>
                  <a:lnTo>
                    <a:pt x="126" y="804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20" y="792"/>
                  </a:lnTo>
                  <a:lnTo>
                    <a:pt x="114" y="792"/>
                  </a:lnTo>
                  <a:lnTo>
                    <a:pt x="114" y="786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96" y="780"/>
                  </a:lnTo>
                  <a:lnTo>
                    <a:pt x="96" y="774"/>
                  </a:lnTo>
                  <a:lnTo>
                    <a:pt x="90" y="774"/>
                  </a:lnTo>
                  <a:lnTo>
                    <a:pt x="90" y="768"/>
                  </a:lnTo>
                  <a:close/>
                  <a:moveTo>
                    <a:pt x="96" y="780"/>
                  </a:moveTo>
                  <a:lnTo>
                    <a:pt x="102" y="780"/>
                  </a:lnTo>
                  <a:lnTo>
                    <a:pt x="102" y="786"/>
                  </a:lnTo>
                  <a:lnTo>
                    <a:pt x="108" y="786"/>
                  </a:lnTo>
                  <a:lnTo>
                    <a:pt x="114" y="792"/>
                  </a:lnTo>
                  <a:lnTo>
                    <a:pt x="120" y="798"/>
                  </a:lnTo>
                  <a:lnTo>
                    <a:pt x="120" y="804"/>
                  </a:lnTo>
                  <a:lnTo>
                    <a:pt x="126" y="810"/>
                  </a:lnTo>
                  <a:lnTo>
                    <a:pt x="126" y="816"/>
                  </a:lnTo>
                  <a:lnTo>
                    <a:pt x="126" y="822"/>
                  </a:lnTo>
                  <a:lnTo>
                    <a:pt x="120" y="828"/>
                  </a:lnTo>
                  <a:lnTo>
                    <a:pt x="120" y="840"/>
                  </a:lnTo>
                  <a:lnTo>
                    <a:pt x="120" y="852"/>
                  </a:lnTo>
                  <a:lnTo>
                    <a:pt x="120" y="858"/>
                  </a:lnTo>
                  <a:lnTo>
                    <a:pt x="120" y="864"/>
                  </a:lnTo>
                  <a:lnTo>
                    <a:pt x="120" y="870"/>
                  </a:lnTo>
                  <a:lnTo>
                    <a:pt x="114" y="870"/>
                  </a:lnTo>
                  <a:lnTo>
                    <a:pt x="108" y="870"/>
                  </a:lnTo>
                  <a:lnTo>
                    <a:pt x="108" y="876"/>
                  </a:lnTo>
                  <a:lnTo>
                    <a:pt x="114" y="876"/>
                  </a:lnTo>
                  <a:lnTo>
                    <a:pt x="120" y="876"/>
                  </a:lnTo>
                  <a:lnTo>
                    <a:pt x="120" y="882"/>
                  </a:lnTo>
                  <a:lnTo>
                    <a:pt x="114" y="888"/>
                  </a:lnTo>
                  <a:lnTo>
                    <a:pt x="120" y="888"/>
                  </a:lnTo>
                  <a:lnTo>
                    <a:pt x="120" y="894"/>
                  </a:lnTo>
                  <a:lnTo>
                    <a:pt x="114" y="894"/>
                  </a:lnTo>
                  <a:lnTo>
                    <a:pt x="108" y="894"/>
                  </a:lnTo>
                  <a:lnTo>
                    <a:pt x="96" y="894"/>
                  </a:lnTo>
                  <a:lnTo>
                    <a:pt x="96" y="882"/>
                  </a:lnTo>
                  <a:lnTo>
                    <a:pt x="96" y="876"/>
                  </a:lnTo>
                  <a:lnTo>
                    <a:pt x="84" y="870"/>
                  </a:lnTo>
                  <a:lnTo>
                    <a:pt x="72" y="864"/>
                  </a:lnTo>
                  <a:lnTo>
                    <a:pt x="72" y="852"/>
                  </a:lnTo>
                  <a:lnTo>
                    <a:pt x="72" y="840"/>
                  </a:lnTo>
                  <a:lnTo>
                    <a:pt x="78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90" y="792"/>
                  </a:lnTo>
                  <a:lnTo>
                    <a:pt x="96" y="780"/>
                  </a:lnTo>
                  <a:close/>
                  <a:moveTo>
                    <a:pt x="492" y="810"/>
                  </a:moveTo>
                  <a:lnTo>
                    <a:pt x="498" y="810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510" y="792"/>
                  </a:lnTo>
                  <a:lnTo>
                    <a:pt x="516" y="786"/>
                  </a:lnTo>
                  <a:lnTo>
                    <a:pt x="522" y="780"/>
                  </a:lnTo>
                  <a:lnTo>
                    <a:pt x="522" y="774"/>
                  </a:lnTo>
                  <a:lnTo>
                    <a:pt x="528" y="768"/>
                  </a:lnTo>
                  <a:lnTo>
                    <a:pt x="528" y="762"/>
                  </a:lnTo>
                  <a:lnTo>
                    <a:pt x="534" y="762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46" y="780"/>
                  </a:lnTo>
                  <a:lnTo>
                    <a:pt x="552" y="786"/>
                  </a:lnTo>
                  <a:lnTo>
                    <a:pt x="558" y="786"/>
                  </a:lnTo>
                  <a:lnTo>
                    <a:pt x="564" y="786"/>
                  </a:lnTo>
                  <a:lnTo>
                    <a:pt x="576" y="786"/>
                  </a:lnTo>
                  <a:lnTo>
                    <a:pt x="582" y="786"/>
                  </a:lnTo>
                  <a:lnTo>
                    <a:pt x="588" y="786"/>
                  </a:lnTo>
                  <a:lnTo>
                    <a:pt x="594" y="786"/>
                  </a:lnTo>
                  <a:lnTo>
                    <a:pt x="588" y="792"/>
                  </a:lnTo>
                  <a:lnTo>
                    <a:pt x="588" y="798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82" y="822"/>
                  </a:lnTo>
                  <a:lnTo>
                    <a:pt x="588" y="828"/>
                  </a:lnTo>
                  <a:lnTo>
                    <a:pt x="588" y="834"/>
                  </a:lnTo>
                  <a:lnTo>
                    <a:pt x="582" y="840"/>
                  </a:lnTo>
                  <a:lnTo>
                    <a:pt x="570" y="840"/>
                  </a:lnTo>
                  <a:lnTo>
                    <a:pt x="558" y="846"/>
                  </a:lnTo>
                  <a:lnTo>
                    <a:pt x="552" y="846"/>
                  </a:lnTo>
                  <a:lnTo>
                    <a:pt x="534" y="852"/>
                  </a:lnTo>
                  <a:lnTo>
                    <a:pt x="522" y="858"/>
                  </a:lnTo>
                  <a:lnTo>
                    <a:pt x="510" y="858"/>
                  </a:lnTo>
                  <a:lnTo>
                    <a:pt x="498" y="864"/>
                  </a:lnTo>
                  <a:lnTo>
                    <a:pt x="474" y="864"/>
                  </a:lnTo>
                  <a:lnTo>
                    <a:pt x="468" y="858"/>
                  </a:lnTo>
                  <a:lnTo>
                    <a:pt x="468" y="852"/>
                  </a:lnTo>
                  <a:lnTo>
                    <a:pt x="468" y="846"/>
                  </a:lnTo>
                  <a:lnTo>
                    <a:pt x="474" y="840"/>
                  </a:lnTo>
                  <a:lnTo>
                    <a:pt x="474" y="834"/>
                  </a:lnTo>
                  <a:lnTo>
                    <a:pt x="480" y="828"/>
                  </a:lnTo>
                  <a:lnTo>
                    <a:pt x="492" y="822"/>
                  </a:lnTo>
                  <a:lnTo>
                    <a:pt x="492" y="810"/>
                  </a:lnTo>
                  <a:close/>
                  <a:moveTo>
                    <a:pt x="384" y="720"/>
                  </a:moveTo>
                  <a:lnTo>
                    <a:pt x="384" y="726"/>
                  </a:lnTo>
                  <a:lnTo>
                    <a:pt x="390" y="726"/>
                  </a:lnTo>
                  <a:lnTo>
                    <a:pt x="396" y="726"/>
                  </a:lnTo>
                  <a:lnTo>
                    <a:pt x="402" y="732"/>
                  </a:lnTo>
                  <a:lnTo>
                    <a:pt x="408" y="732"/>
                  </a:lnTo>
                  <a:lnTo>
                    <a:pt x="414" y="732"/>
                  </a:lnTo>
                  <a:lnTo>
                    <a:pt x="414" y="738"/>
                  </a:lnTo>
                  <a:lnTo>
                    <a:pt x="414" y="744"/>
                  </a:lnTo>
                  <a:lnTo>
                    <a:pt x="414" y="750"/>
                  </a:lnTo>
                  <a:lnTo>
                    <a:pt x="414" y="756"/>
                  </a:lnTo>
                  <a:lnTo>
                    <a:pt x="414" y="762"/>
                  </a:lnTo>
                  <a:lnTo>
                    <a:pt x="420" y="768"/>
                  </a:lnTo>
                  <a:lnTo>
                    <a:pt x="420" y="774"/>
                  </a:lnTo>
                  <a:lnTo>
                    <a:pt x="426" y="780"/>
                  </a:lnTo>
                  <a:lnTo>
                    <a:pt x="426" y="786"/>
                  </a:lnTo>
                  <a:lnTo>
                    <a:pt x="420" y="786"/>
                  </a:lnTo>
                  <a:lnTo>
                    <a:pt x="420" y="792"/>
                  </a:lnTo>
                  <a:lnTo>
                    <a:pt x="420" y="798"/>
                  </a:lnTo>
                  <a:lnTo>
                    <a:pt x="420" y="804"/>
                  </a:lnTo>
                  <a:lnTo>
                    <a:pt x="426" y="804"/>
                  </a:lnTo>
                  <a:lnTo>
                    <a:pt x="426" y="810"/>
                  </a:lnTo>
                  <a:lnTo>
                    <a:pt x="426" y="816"/>
                  </a:lnTo>
                  <a:lnTo>
                    <a:pt x="432" y="816"/>
                  </a:lnTo>
                  <a:lnTo>
                    <a:pt x="438" y="816"/>
                  </a:lnTo>
                  <a:lnTo>
                    <a:pt x="438" y="822"/>
                  </a:lnTo>
                  <a:lnTo>
                    <a:pt x="432" y="822"/>
                  </a:lnTo>
                  <a:lnTo>
                    <a:pt x="426" y="828"/>
                  </a:lnTo>
                  <a:lnTo>
                    <a:pt x="420" y="828"/>
                  </a:lnTo>
                  <a:lnTo>
                    <a:pt x="414" y="828"/>
                  </a:lnTo>
                  <a:lnTo>
                    <a:pt x="408" y="828"/>
                  </a:lnTo>
                  <a:lnTo>
                    <a:pt x="402" y="828"/>
                  </a:lnTo>
                  <a:lnTo>
                    <a:pt x="402" y="822"/>
                  </a:lnTo>
                  <a:lnTo>
                    <a:pt x="396" y="822"/>
                  </a:lnTo>
                  <a:lnTo>
                    <a:pt x="402" y="822"/>
                  </a:lnTo>
                  <a:lnTo>
                    <a:pt x="402" y="816"/>
                  </a:lnTo>
                  <a:lnTo>
                    <a:pt x="396" y="816"/>
                  </a:lnTo>
                  <a:lnTo>
                    <a:pt x="396" y="810"/>
                  </a:lnTo>
                  <a:lnTo>
                    <a:pt x="396" y="804"/>
                  </a:lnTo>
                  <a:lnTo>
                    <a:pt x="390" y="798"/>
                  </a:lnTo>
                  <a:lnTo>
                    <a:pt x="390" y="792"/>
                  </a:lnTo>
                  <a:lnTo>
                    <a:pt x="390" y="786"/>
                  </a:lnTo>
                  <a:lnTo>
                    <a:pt x="390" y="780"/>
                  </a:lnTo>
                  <a:lnTo>
                    <a:pt x="390" y="774"/>
                  </a:lnTo>
                  <a:lnTo>
                    <a:pt x="390" y="768"/>
                  </a:lnTo>
                  <a:lnTo>
                    <a:pt x="390" y="762"/>
                  </a:lnTo>
                  <a:lnTo>
                    <a:pt x="384" y="756"/>
                  </a:lnTo>
                  <a:lnTo>
                    <a:pt x="384" y="750"/>
                  </a:lnTo>
                  <a:lnTo>
                    <a:pt x="384" y="744"/>
                  </a:lnTo>
                  <a:lnTo>
                    <a:pt x="378" y="744"/>
                  </a:lnTo>
                  <a:lnTo>
                    <a:pt x="384" y="744"/>
                  </a:lnTo>
                  <a:lnTo>
                    <a:pt x="384" y="738"/>
                  </a:lnTo>
                  <a:lnTo>
                    <a:pt x="378" y="738"/>
                  </a:lnTo>
                  <a:lnTo>
                    <a:pt x="378" y="732"/>
                  </a:lnTo>
                  <a:lnTo>
                    <a:pt x="378" y="726"/>
                  </a:lnTo>
                  <a:lnTo>
                    <a:pt x="378" y="720"/>
                  </a:lnTo>
                  <a:lnTo>
                    <a:pt x="384" y="720"/>
                  </a:lnTo>
                  <a:close/>
                  <a:moveTo>
                    <a:pt x="330" y="738"/>
                  </a:moveTo>
                  <a:lnTo>
                    <a:pt x="336" y="732"/>
                  </a:lnTo>
                  <a:lnTo>
                    <a:pt x="336" y="726"/>
                  </a:lnTo>
                  <a:lnTo>
                    <a:pt x="342" y="720"/>
                  </a:lnTo>
                  <a:lnTo>
                    <a:pt x="348" y="720"/>
                  </a:lnTo>
                  <a:lnTo>
                    <a:pt x="360" y="720"/>
                  </a:lnTo>
                  <a:lnTo>
                    <a:pt x="366" y="726"/>
                  </a:lnTo>
                  <a:lnTo>
                    <a:pt x="372" y="732"/>
                  </a:lnTo>
                  <a:lnTo>
                    <a:pt x="372" y="738"/>
                  </a:lnTo>
                  <a:lnTo>
                    <a:pt x="366" y="750"/>
                  </a:lnTo>
                  <a:lnTo>
                    <a:pt x="372" y="756"/>
                  </a:lnTo>
                  <a:lnTo>
                    <a:pt x="372" y="762"/>
                  </a:lnTo>
                  <a:lnTo>
                    <a:pt x="372" y="768"/>
                  </a:lnTo>
                  <a:lnTo>
                    <a:pt x="372" y="774"/>
                  </a:lnTo>
                  <a:lnTo>
                    <a:pt x="372" y="780"/>
                  </a:lnTo>
                  <a:lnTo>
                    <a:pt x="372" y="774"/>
                  </a:lnTo>
                  <a:lnTo>
                    <a:pt x="366" y="768"/>
                  </a:lnTo>
                  <a:lnTo>
                    <a:pt x="366" y="762"/>
                  </a:lnTo>
                  <a:lnTo>
                    <a:pt x="366" y="756"/>
                  </a:lnTo>
                  <a:lnTo>
                    <a:pt x="360" y="756"/>
                  </a:lnTo>
                  <a:lnTo>
                    <a:pt x="360" y="750"/>
                  </a:lnTo>
                  <a:lnTo>
                    <a:pt x="354" y="750"/>
                  </a:lnTo>
                  <a:lnTo>
                    <a:pt x="348" y="744"/>
                  </a:lnTo>
                  <a:lnTo>
                    <a:pt x="342" y="744"/>
                  </a:lnTo>
                  <a:lnTo>
                    <a:pt x="336" y="744"/>
                  </a:lnTo>
                  <a:lnTo>
                    <a:pt x="330" y="73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1" name="Freeform 6">
              <a:extLst>
                <a:ext uri="{FF2B5EF4-FFF2-40B4-BE49-F238E27FC236}">
                  <a16:creationId xmlns:a16="http://schemas.microsoft.com/office/drawing/2014/main" id="{0656C385-F30A-4AC8-AE9F-B1F66208B38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3123" y="4163918"/>
              <a:ext cx="266107" cy="248252"/>
            </a:xfrm>
            <a:custGeom>
              <a:avLst/>
              <a:gdLst>
                <a:gd name="T0" fmla="*/ 33 w 504"/>
                <a:gd name="T1" fmla="*/ 41 h 468"/>
                <a:gd name="T2" fmla="*/ 26 w 504"/>
                <a:gd name="T3" fmla="*/ 39 h 468"/>
                <a:gd name="T4" fmla="*/ 21 w 504"/>
                <a:gd name="T5" fmla="*/ 38 h 468"/>
                <a:gd name="T6" fmla="*/ 18 w 504"/>
                <a:gd name="T7" fmla="*/ 38 h 468"/>
                <a:gd name="T8" fmla="*/ 15 w 504"/>
                <a:gd name="T9" fmla="*/ 39 h 468"/>
                <a:gd name="T10" fmla="*/ 12 w 504"/>
                <a:gd name="T11" fmla="*/ 38 h 468"/>
                <a:gd name="T12" fmla="*/ 9 w 504"/>
                <a:gd name="T13" fmla="*/ 37 h 468"/>
                <a:gd name="T14" fmla="*/ 7 w 504"/>
                <a:gd name="T15" fmla="*/ 32 h 468"/>
                <a:gd name="T16" fmla="*/ 6 w 504"/>
                <a:gd name="T17" fmla="*/ 26 h 468"/>
                <a:gd name="T18" fmla="*/ 3 w 504"/>
                <a:gd name="T19" fmla="*/ 24 h 468"/>
                <a:gd name="T20" fmla="*/ 1 w 504"/>
                <a:gd name="T21" fmla="*/ 24 h 468"/>
                <a:gd name="T22" fmla="*/ 2 w 504"/>
                <a:gd name="T23" fmla="*/ 18 h 468"/>
                <a:gd name="T24" fmla="*/ 1 w 504"/>
                <a:gd name="T25" fmla="*/ 17 h 468"/>
                <a:gd name="T26" fmla="*/ 0 w 504"/>
                <a:gd name="T27" fmla="*/ 17 h 468"/>
                <a:gd name="T28" fmla="*/ 0 w 504"/>
                <a:gd name="T29" fmla="*/ 15 h 468"/>
                <a:gd name="T30" fmla="*/ 2 w 504"/>
                <a:gd name="T31" fmla="*/ 12 h 468"/>
                <a:gd name="T32" fmla="*/ 4 w 504"/>
                <a:gd name="T33" fmla="*/ 10 h 468"/>
                <a:gd name="T34" fmla="*/ 6 w 504"/>
                <a:gd name="T35" fmla="*/ 8 h 468"/>
                <a:gd name="T36" fmla="*/ 8 w 504"/>
                <a:gd name="T37" fmla="*/ 8 h 468"/>
                <a:gd name="T38" fmla="*/ 10 w 504"/>
                <a:gd name="T39" fmla="*/ 9 h 468"/>
                <a:gd name="T40" fmla="*/ 12 w 504"/>
                <a:gd name="T41" fmla="*/ 10 h 468"/>
                <a:gd name="T42" fmla="*/ 12 w 504"/>
                <a:gd name="T43" fmla="*/ 11 h 468"/>
                <a:gd name="T44" fmla="*/ 14 w 504"/>
                <a:gd name="T45" fmla="*/ 8 h 468"/>
                <a:gd name="T46" fmla="*/ 15 w 504"/>
                <a:gd name="T47" fmla="*/ 7 h 468"/>
                <a:gd name="T48" fmla="*/ 17 w 504"/>
                <a:gd name="T49" fmla="*/ 6 h 468"/>
                <a:gd name="T50" fmla="*/ 19 w 504"/>
                <a:gd name="T51" fmla="*/ 3 h 468"/>
                <a:gd name="T52" fmla="*/ 20 w 504"/>
                <a:gd name="T53" fmla="*/ 2 h 468"/>
                <a:gd name="T54" fmla="*/ 22 w 504"/>
                <a:gd name="T55" fmla="*/ 1 h 468"/>
                <a:gd name="T56" fmla="*/ 27 w 504"/>
                <a:gd name="T57" fmla="*/ 1 h 468"/>
                <a:gd name="T58" fmla="*/ 30 w 504"/>
                <a:gd name="T59" fmla="*/ 2 h 468"/>
                <a:gd name="T60" fmla="*/ 31 w 504"/>
                <a:gd name="T61" fmla="*/ 2 h 468"/>
                <a:gd name="T62" fmla="*/ 34 w 504"/>
                <a:gd name="T63" fmla="*/ 0 h 468"/>
                <a:gd name="T64" fmla="*/ 37 w 504"/>
                <a:gd name="T65" fmla="*/ 1 h 468"/>
                <a:gd name="T66" fmla="*/ 41 w 504"/>
                <a:gd name="T67" fmla="*/ 2 h 468"/>
                <a:gd name="T68" fmla="*/ 42 w 504"/>
                <a:gd name="T69" fmla="*/ 4 h 468"/>
                <a:gd name="T70" fmla="*/ 42 w 504"/>
                <a:gd name="T71" fmla="*/ 10 h 468"/>
                <a:gd name="T72" fmla="*/ 41 w 504"/>
                <a:gd name="T73" fmla="*/ 14 h 468"/>
                <a:gd name="T74" fmla="*/ 42 w 504"/>
                <a:gd name="T75" fmla="*/ 15 h 468"/>
                <a:gd name="T76" fmla="*/ 44 w 504"/>
                <a:gd name="T77" fmla="*/ 18 h 468"/>
                <a:gd name="T78" fmla="*/ 43 w 504"/>
                <a:gd name="T79" fmla="*/ 19 h 468"/>
                <a:gd name="T80" fmla="*/ 42 w 504"/>
                <a:gd name="T81" fmla="*/ 21 h 468"/>
                <a:gd name="T82" fmla="*/ 42 w 504"/>
                <a:gd name="T83" fmla="*/ 23 h 468"/>
                <a:gd name="T84" fmla="*/ 39 w 504"/>
                <a:gd name="T85" fmla="*/ 27 h 468"/>
                <a:gd name="T86" fmla="*/ 38 w 504"/>
                <a:gd name="T87" fmla="*/ 29 h 468"/>
                <a:gd name="T88" fmla="*/ 38 w 504"/>
                <a:gd name="T89" fmla="*/ 31 h 468"/>
                <a:gd name="T90" fmla="*/ 36 w 504"/>
                <a:gd name="T91" fmla="*/ 32 h 468"/>
                <a:gd name="T92" fmla="*/ 35 w 504"/>
                <a:gd name="T93" fmla="*/ 34 h 468"/>
                <a:gd name="T94" fmla="*/ 34 w 504"/>
                <a:gd name="T95" fmla="*/ 38 h 46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04"/>
                <a:gd name="T145" fmla="*/ 0 h 468"/>
                <a:gd name="T146" fmla="*/ 504 w 504"/>
                <a:gd name="T147" fmla="*/ 468 h 46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04" h="468">
                  <a:moveTo>
                    <a:pt x="390" y="456"/>
                  </a:moveTo>
                  <a:lnTo>
                    <a:pt x="384" y="468"/>
                  </a:lnTo>
                  <a:lnTo>
                    <a:pt x="378" y="468"/>
                  </a:lnTo>
                  <a:lnTo>
                    <a:pt x="354" y="468"/>
                  </a:lnTo>
                  <a:lnTo>
                    <a:pt x="348" y="462"/>
                  </a:lnTo>
                  <a:lnTo>
                    <a:pt x="300" y="456"/>
                  </a:lnTo>
                  <a:lnTo>
                    <a:pt x="270" y="444"/>
                  </a:lnTo>
                  <a:lnTo>
                    <a:pt x="252" y="438"/>
                  </a:lnTo>
                  <a:lnTo>
                    <a:pt x="240" y="438"/>
                  </a:lnTo>
                  <a:lnTo>
                    <a:pt x="234" y="438"/>
                  </a:lnTo>
                  <a:lnTo>
                    <a:pt x="228" y="444"/>
                  </a:lnTo>
                  <a:lnTo>
                    <a:pt x="210" y="444"/>
                  </a:lnTo>
                  <a:lnTo>
                    <a:pt x="198" y="444"/>
                  </a:lnTo>
                  <a:lnTo>
                    <a:pt x="198" y="450"/>
                  </a:lnTo>
                  <a:lnTo>
                    <a:pt x="168" y="456"/>
                  </a:lnTo>
                  <a:lnTo>
                    <a:pt x="150" y="450"/>
                  </a:lnTo>
                  <a:lnTo>
                    <a:pt x="144" y="444"/>
                  </a:lnTo>
                  <a:lnTo>
                    <a:pt x="132" y="438"/>
                  </a:lnTo>
                  <a:lnTo>
                    <a:pt x="138" y="432"/>
                  </a:lnTo>
                  <a:lnTo>
                    <a:pt x="114" y="432"/>
                  </a:lnTo>
                  <a:lnTo>
                    <a:pt x="102" y="426"/>
                  </a:lnTo>
                  <a:lnTo>
                    <a:pt x="90" y="414"/>
                  </a:lnTo>
                  <a:lnTo>
                    <a:pt x="72" y="402"/>
                  </a:lnTo>
                  <a:lnTo>
                    <a:pt x="78" y="366"/>
                  </a:lnTo>
                  <a:lnTo>
                    <a:pt x="78" y="330"/>
                  </a:lnTo>
                  <a:lnTo>
                    <a:pt x="66" y="318"/>
                  </a:lnTo>
                  <a:lnTo>
                    <a:pt x="66" y="300"/>
                  </a:lnTo>
                  <a:lnTo>
                    <a:pt x="66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30" y="282"/>
                  </a:lnTo>
                  <a:lnTo>
                    <a:pt x="24" y="282"/>
                  </a:lnTo>
                  <a:lnTo>
                    <a:pt x="12" y="276"/>
                  </a:lnTo>
                  <a:lnTo>
                    <a:pt x="0" y="282"/>
                  </a:lnTo>
                  <a:lnTo>
                    <a:pt x="12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2" y="198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6" y="180"/>
                  </a:lnTo>
                  <a:lnTo>
                    <a:pt x="12" y="186"/>
                  </a:lnTo>
                  <a:lnTo>
                    <a:pt x="18" y="138"/>
                  </a:lnTo>
                  <a:lnTo>
                    <a:pt x="24" y="126"/>
                  </a:lnTo>
                  <a:lnTo>
                    <a:pt x="30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20" y="102"/>
                  </a:lnTo>
                  <a:lnTo>
                    <a:pt x="126" y="108"/>
                  </a:lnTo>
                  <a:lnTo>
                    <a:pt x="126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0"/>
                  </a:lnTo>
                  <a:lnTo>
                    <a:pt x="156" y="96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16" y="42"/>
                  </a:lnTo>
                  <a:lnTo>
                    <a:pt x="222" y="36"/>
                  </a:lnTo>
                  <a:lnTo>
                    <a:pt x="228" y="36"/>
                  </a:lnTo>
                  <a:lnTo>
                    <a:pt x="228" y="30"/>
                  </a:lnTo>
                  <a:lnTo>
                    <a:pt x="228" y="24"/>
                  </a:lnTo>
                  <a:lnTo>
                    <a:pt x="246" y="18"/>
                  </a:lnTo>
                  <a:lnTo>
                    <a:pt x="252" y="18"/>
                  </a:lnTo>
                  <a:lnTo>
                    <a:pt x="258" y="12"/>
                  </a:lnTo>
                  <a:lnTo>
                    <a:pt x="270" y="6"/>
                  </a:lnTo>
                  <a:lnTo>
                    <a:pt x="288" y="6"/>
                  </a:lnTo>
                  <a:lnTo>
                    <a:pt x="312" y="12"/>
                  </a:lnTo>
                  <a:lnTo>
                    <a:pt x="324" y="12"/>
                  </a:lnTo>
                  <a:lnTo>
                    <a:pt x="336" y="18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14" y="12"/>
                  </a:lnTo>
                  <a:lnTo>
                    <a:pt x="426" y="12"/>
                  </a:lnTo>
                  <a:lnTo>
                    <a:pt x="444" y="18"/>
                  </a:lnTo>
                  <a:lnTo>
                    <a:pt x="462" y="18"/>
                  </a:lnTo>
                  <a:lnTo>
                    <a:pt x="474" y="18"/>
                  </a:lnTo>
                  <a:lnTo>
                    <a:pt x="480" y="18"/>
                  </a:lnTo>
                  <a:lnTo>
                    <a:pt x="486" y="36"/>
                  </a:lnTo>
                  <a:lnTo>
                    <a:pt x="480" y="42"/>
                  </a:lnTo>
                  <a:lnTo>
                    <a:pt x="480" y="54"/>
                  </a:lnTo>
                  <a:lnTo>
                    <a:pt x="486" y="78"/>
                  </a:lnTo>
                  <a:lnTo>
                    <a:pt x="486" y="114"/>
                  </a:lnTo>
                  <a:lnTo>
                    <a:pt x="486" y="150"/>
                  </a:lnTo>
                  <a:lnTo>
                    <a:pt x="468" y="150"/>
                  </a:lnTo>
                  <a:lnTo>
                    <a:pt x="474" y="162"/>
                  </a:lnTo>
                  <a:lnTo>
                    <a:pt x="480" y="162"/>
                  </a:lnTo>
                  <a:lnTo>
                    <a:pt x="486" y="174"/>
                  </a:lnTo>
                  <a:lnTo>
                    <a:pt x="492" y="174"/>
                  </a:lnTo>
                  <a:lnTo>
                    <a:pt x="492" y="192"/>
                  </a:lnTo>
                  <a:lnTo>
                    <a:pt x="498" y="198"/>
                  </a:lnTo>
                  <a:lnTo>
                    <a:pt x="504" y="204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8" y="222"/>
                  </a:lnTo>
                  <a:lnTo>
                    <a:pt x="492" y="228"/>
                  </a:lnTo>
                  <a:lnTo>
                    <a:pt x="492" y="234"/>
                  </a:lnTo>
                  <a:lnTo>
                    <a:pt x="492" y="240"/>
                  </a:lnTo>
                  <a:lnTo>
                    <a:pt x="486" y="246"/>
                  </a:lnTo>
                  <a:lnTo>
                    <a:pt x="486" y="258"/>
                  </a:lnTo>
                  <a:lnTo>
                    <a:pt x="480" y="264"/>
                  </a:lnTo>
                  <a:lnTo>
                    <a:pt x="474" y="276"/>
                  </a:lnTo>
                  <a:lnTo>
                    <a:pt x="468" y="288"/>
                  </a:lnTo>
                  <a:lnTo>
                    <a:pt x="456" y="306"/>
                  </a:lnTo>
                  <a:lnTo>
                    <a:pt x="456" y="312"/>
                  </a:lnTo>
                  <a:lnTo>
                    <a:pt x="444" y="318"/>
                  </a:lnTo>
                  <a:lnTo>
                    <a:pt x="432" y="336"/>
                  </a:lnTo>
                  <a:lnTo>
                    <a:pt x="432" y="342"/>
                  </a:lnTo>
                  <a:lnTo>
                    <a:pt x="432" y="348"/>
                  </a:lnTo>
                  <a:lnTo>
                    <a:pt x="432" y="354"/>
                  </a:lnTo>
                  <a:lnTo>
                    <a:pt x="426" y="366"/>
                  </a:lnTo>
                  <a:lnTo>
                    <a:pt x="420" y="366"/>
                  </a:lnTo>
                  <a:lnTo>
                    <a:pt x="420" y="372"/>
                  </a:lnTo>
                  <a:lnTo>
                    <a:pt x="414" y="378"/>
                  </a:lnTo>
                  <a:lnTo>
                    <a:pt x="414" y="390"/>
                  </a:lnTo>
                  <a:lnTo>
                    <a:pt x="408" y="390"/>
                  </a:lnTo>
                  <a:lnTo>
                    <a:pt x="408" y="402"/>
                  </a:lnTo>
                  <a:lnTo>
                    <a:pt x="402" y="414"/>
                  </a:lnTo>
                  <a:lnTo>
                    <a:pt x="396" y="438"/>
                  </a:lnTo>
                  <a:lnTo>
                    <a:pt x="396" y="444"/>
                  </a:lnTo>
                  <a:lnTo>
                    <a:pt x="390" y="45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11" name="Freeform 7">
              <a:extLst>
                <a:ext uri="{FF2B5EF4-FFF2-40B4-BE49-F238E27FC236}">
                  <a16:creationId xmlns:a16="http://schemas.microsoft.com/office/drawing/2014/main" id="{0D8DE62D-4554-4314-9F3A-7208D89B4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90838" y="4128134"/>
              <a:ext cx="283995" cy="411516"/>
            </a:xfrm>
            <a:custGeom>
              <a:avLst/>
              <a:gdLst>
                <a:gd name="T0" fmla="*/ 39 w 534"/>
                <a:gd name="T1" fmla="*/ 35 h 774"/>
                <a:gd name="T2" fmla="*/ 35 w 534"/>
                <a:gd name="T3" fmla="*/ 31 h 774"/>
                <a:gd name="T4" fmla="*/ 32 w 534"/>
                <a:gd name="T5" fmla="*/ 29 h 774"/>
                <a:gd name="T6" fmla="*/ 32 w 534"/>
                <a:gd name="T7" fmla="*/ 31 h 774"/>
                <a:gd name="T8" fmla="*/ 29 w 534"/>
                <a:gd name="T9" fmla="*/ 33 h 774"/>
                <a:gd name="T10" fmla="*/ 27 w 534"/>
                <a:gd name="T11" fmla="*/ 36 h 774"/>
                <a:gd name="T12" fmla="*/ 30 w 534"/>
                <a:gd name="T13" fmla="*/ 38 h 774"/>
                <a:gd name="T14" fmla="*/ 29 w 534"/>
                <a:gd name="T15" fmla="*/ 40 h 774"/>
                <a:gd name="T16" fmla="*/ 25 w 534"/>
                <a:gd name="T17" fmla="*/ 40 h 774"/>
                <a:gd name="T18" fmla="*/ 23 w 534"/>
                <a:gd name="T19" fmla="*/ 42 h 774"/>
                <a:gd name="T20" fmla="*/ 22 w 534"/>
                <a:gd name="T21" fmla="*/ 47 h 774"/>
                <a:gd name="T22" fmla="*/ 22 w 534"/>
                <a:gd name="T23" fmla="*/ 51 h 774"/>
                <a:gd name="T24" fmla="*/ 22 w 534"/>
                <a:gd name="T25" fmla="*/ 54 h 774"/>
                <a:gd name="T26" fmla="*/ 21 w 534"/>
                <a:gd name="T27" fmla="*/ 56 h 774"/>
                <a:gd name="T28" fmla="*/ 19 w 534"/>
                <a:gd name="T29" fmla="*/ 58 h 774"/>
                <a:gd name="T30" fmla="*/ 20 w 534"/>
                <a:gd name="T31" fmla="*/ 59 h 774"/>
                <a:gd name="T32" fmla="*/ 19 w 534"/>
                <a:gd name="T33" fmla="*/ 62 h 774"/>
                <a:gd name="T34" fmla="*/ 19 w 534"/>
                <a:gd name="T35" fmla="*/ 64 h 774"/>
                <a:gd name="T36" fmla="*/ 20 w 534"/>
                <a:gd name="T37" fmla="*/ 66 h 774"/>
                <a:gd name="T38" fmla="*/ 17 w 534"/>
                <a:gd name="T39" fmla="*/ 66 h 774"/>
                <a:gd name="T40" fmla="*/ 16 w 534"/>
                <a:gd name="T41" fmla="*/ 65 h 774"/>
                <a:gd name="T42" fmla="*/ 13 w 534"/>
                <a:gd name="T43" fmla="*/ 65 h 774"/>
                <a:gd name="T44" fmla="*/ 11 w 534"/>
                <a:gd name="T45" fmla="*/ 65 h 774"/>
                <a:gd name="T46" fmla="*/ 8 w 534"/>
                <a:gd name="T47" fmla="*/ 65 h 774"/>
                <a:gd name="T48" fmla="*/ 8 w 534"/>
                <a:gd name="T49" fmla="*/ 64 h 774"/>
                <a:gd name="T50" fmla="*/ 5 w 534"/>
                <a:gd name="T51" fmla="*/ 65 h 774"/>
                <a:gd name="T52" fmla="*/ 3 w 534"/>
                <a:gd name="T53" fmla="*/ 65 h 774"/>
                <a:gd name="T54" fmla="*/ 0 w 534"/>
                <a:gd name="T55" fmla="*/ 64 h 774"/>
                <a:gd name="T56" fmla="*/ 0 w 534"/>
                <a:gd name="T57" fmla="*/ 62 h 774"/>
                <a:gd name="T58" fmla="*/ 3 w 534"/>
                <a:gd name="T59" fmla="*/ 60 h 774"/>
                <a:gd name="T60" fmla="*/ 6 w 534"/>
                <a:gd name="T61" fmla="*/ 57 h 774"/>
                <a:gd name="T62" fmla="*/ 8 w 534"/>
                <a:gd name="T63" fmla="*/ 50 h 774"/>
                <a:gd name="T64" fmla="*/ 6 w 534"/>
                <a:gd name="T65" fmla="*/ 45 h 774"/>
                <a:gd name="T66" fmla="*/ 8 w 534"/>
                <a:gd name="T67" fmla="*/ 41 h 774"/>
                <a:gd name="T68" fmla="*/ 9 w 534"/>
                <a:gd name="T69" fmla="*/ 38 h 774"/>
                <a:gd name="T70" fmla="*/ 10 w 534"/>
                <a:gd name="T71" fmla="*/ 36 h 774"/>
                <a:gd name="T72" fmla="*/ 12 w 534"/>
                <a:gd name="T73" fmla="*/ 33 h 774"/>
                <a:gd name="T74" fmla="*/ 14 w 534"/>
                <a:gd name="T75" fmla="*/ 29 h 774"/>
                <a:gd name="T76" fmla="*/ 16 w 534"/>
                <a:gd name="T77" fmla="*/ 26 h 774"/>
                <a:gd name="T78" fmla="*/ 16 w 534"/>
                <a:gd name="T79" fmla="*/ 24 h 774"/>
                <a:gd name="T80" fmla="*/ 16 w 534"/>
                <a:gd name="T81" fmla="*/ 21 h 774"/>
                <a:gd name="T82" fmla="*/ 13 w 534"/>
                <a:gd name="T83" fmla="*/ 19 h 774"/>
                <a:gd name="T84" fmla="*/ 14 w 534"/>
                <a:gd name="T85" fmla="*/ 10 h 774"/>
                <a:gd name="T86" fmla="*/ 14 w 534"/>
                <a:gd name="T87" fmla="*/ 7 h 774"/>
                <a:gd name="T88" fmla="*/ 8 w 534"/>
                <a:gd name="T89" fmla="*/ 7 h 774"/>
                <a:gd name="T90" fmla="*/ 7 w 534"/>
                <a:gd name="T91" fmla="*/ 3 h 774"/>
                <a:gd name="T92" fmla="*/ 11 w 534"/>
                <a:gd name="T93" fmla="*/ 1 h 774"/>
                <a:gd name="T94" fmla="*/ 12 w 534"/>
                <a:gd name="T95" fmla="*/ 0 h 774"/>
                <a:gd name="T96" fmla="*/ 16 w 534"/>
                <a:gd name="T97" fmla="*/ 2 h 774"/>
                <a:gd name="T98" fmla="*/ 20 w 534"/>
                <a:gd name="T99" fmla="*/ 2 h 774"/>
                <a:gd name="T100" fmla="*/ 23 w 534"/>
                <a:gd name="T101" fmla="*/ 3 h 774"/>
                <a:gd name="T102" fmla="*/ 23 w 534"/>
                <a:gd name="T103" fmla="*/ 10 h 774"/>
                <a:gd name="T104" fmla="*/ 29 w 534"/>
                <a:gd name="T105" fmla="*/ 12 h 774"/>
                <a:gd name="T106" fmla="*/ 35 w 534"/>
                <a:gd name="T107" fmla="*/ 12 h 774"/>
                <a:gd name="T108" fmla="*/ 38 w 534"/>
                <a:gd name="T109" fmla="*/ 17 h 774"/>
                <a:gd name="T110" fmla="*/ 40 w 534"/>
                <a:gd name="T111" fmla="*/ 19 h 774"/>
                <a:gd name="T112" fmla="*/ 44 w 534"/>
                <a:gd name="T113" fmla="*/ 23 h 774"/>
                <a:gd name="T114" fmla="*/ 44 w 534"/>
                <a:gd name="T115" fmla="*/ 30 h 774"/>
                <a:gd name="T116" fmla="*/ 46 w 534"/>
                <a:gd name="T117" fmla="*/ 36 h 774"/>
                <a:gd name="T118" fmla="*/ 41 w 534"/>
                <a:gd name="T119" fmla="*/ 37 h 77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34"/>
                <a:gd name="T181" fmla="*/ 0 h 774"/>
                <a:gd name="T182" fmla="*/ 534 w 534"/>
                <a:gd name="T183" fmla="*/ 774 h 77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34" h="774">
                  <a:moveTo>
                    <a:pt x="462" y="426"/>
                  </a:moveTo>
                  <a:lnTo>
                    <a:pt x="462" y="414"/>
                  </a:lnTo>
                  <a:lnTo>
                    <a:pt x="450" y="402"/>
                  </a:lnTo>
                  <a:lnTo>
                    <a:pt x="444" y="396"/>
                  </a:lnTo>
                  <a:lnTo>
                    <a:pt x="420" y="396"/>
                  </a:lnTo>
                  <a:lnTo>
                    <a:pt x="408" y="390"/>
                  </a:lnTo>
                  <a:lnTo>
                    <a:pt x="402" y="366"/>
                  </a:lnTo>
                  <a:lnTo>
                    <a:pt x="390" y="354"/>
                  </a:lnTo>
                  <a:lnTo>
                    <a:pt x="384" y="336"/>
                  </a:lnTo>
                  <a:lnTo>
                    <a:pt x="378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8" y="348"/>
                  </a:lnTo>
                  <a:lnTo>
                    <a:pt x="360" y="354"/>
                  </a:lnTo>
                  <a:lnTo>
                    <a:pt x="360" y="390"/>
                  </a:lnTo>
                  <a:lnTo>
                    <a:pt x="348" y="390"/>
                  </a:lnTo>
                  <a:lnTo>
                    <a:pt x="342" y="384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90"/>
                  </a:lnTo>
                  <a:lnTo>
                    <a:pt x="312" y="402"/>
                  </a:lnTo>
                  <a:lnTo>
                    <a:pt x="306" y="420"/>
                  </a:lnTo>
                  <a:lnTo>
                    <a:pt x="324" y="414"/>
                  </a:lnTo>
                  <a:lnTo>
                    <a:pt x="330" y="414"/>
                  </a:lnTo>
                  <a:lnTo>
                    <a:pt x="336" y="420"/>
                  </a:lnTo>
                  <a:lnTo>
                    <a:pt x="336" y="432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6"/>
                  </a:lnTo>
                  <a:lnTo>
                    <a:pt x="318" y="456"/>
                  </a:lnTo>
                  <a:lnTo>
                    <a:pt x="300" y="456"/>
                  </a:lnTo>
                  <a:lnTo>
                    <a:pt x="288" y="462"/>
                  </a:lnTo>
                  <a:lnTo>
                    <a:pt x="276" y="462"/>
                  </a:lnTo>
                  <a:lnTo>
                    <a:pt x="270" y="462"/>
                  </a:lnTo>
                  <a:lnTo>
                    <a:pt x="270" y="468"/>
                  </a:lnTo>
                  <a:lnTo>
                    <a:pt x="252" y="468"/>
                  </a:lnTo>
                  <a:lnTo>
                    <a:pt x="258" y="480"/>
                  </a:lnTo>
                  <a:lnTo>
                    <a:pt x="258" y="492"/>
                  </a:lnTo>
                  <a:lnTo>
                    <a:pt x="258" y="498"/>
                  </a:lnTo>
                  <a:lnTo>
                    <a:pt x="258" y="510"/>
                  </a:lnTo>
                  <a:lnTo>
                    <a:pt x="252" y="540"/>
                  </a:lnTo>
                  <a:lnTo>
                    <a:pt x="246" y="564"/>
                  </a:lnTo>
                  <a:lnTo>
                    <a:pt x="246" y="570"/>
                  </a:lnTo>
                  <a:lnTo>
                    <a:pt x="252" y="576"/>
                  </a:lnTo>
                  <a:lnTo>
                    <a:pt x="246" y="582"/>
                  </a:lnTo>
                  <a:lnTo>
                    <a:pt x="252" y="600"/>
                  </a:lnTo>
                  <a:lnTo>
                    <a:pt x="258" y="606"/>
                  </a:lnTo>
                  <a:lnTo>
                    <a:pt x="258" y="612"/>
                  </a:lnTo>
                  <a:lnTo>
                    <a:pt x="252" y="618"/>
                  </a:lnTo>
                  <a:lnTo>
                    <a:pt x="246" y="624"/>
                  </a:lnTo>
                  <a:lnTo>
                    <a:pt x="246" y="630"/>
                  </a:lnTo>
                  <a:lnTo>
                    <a:pt x="246" y="636"/>
                  </a:lnTo>
                  <a:lnTo>
                    <a:pt x="240" y="642"/>
                  </a:lnTo>
                  <a:lnTo>
                    <a:pt x="234" y="654"/>
                  </a:lnTo>
                  <a:lnTo>
                    <a:pt x="228" y="654"/>
                  </a:lnTo>
                  <a:lnTo>
                    <a:pt x="222" y="660"/>
                  </a:lnTo>
                  <a:lnTo>
                    <a:pt x="216" y="666"/>
                  </a:lnTo>
                  <a:lnTo>
                    <a:pt x="210" y="666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22" y="684"/>
                  </a:lnTo>
                  <a:lnTo>
                    <a:pt x="222" y="690"/>
                  </a:lnTo>
                  <a:lnTo>
                    <a:pt x="222" y="696"/>
                  </a:lnTo>
                  <a:lnTo>
                    <a:pt x="222" y="702"/>
                  </a:lnTo>
                  <a:lnTo>
                    <a:pt x="216" y="708"/>
                  </a:lnTo>
                  <a:lnTo>
                    <a:pt x="210" y="720"/>
                  </a:lnTo>
                  <a:lnTo>
                    <a:pt x="216" y="732"/>
                  </a:lnTo>
                  <a:lnTo>
                    <a:pt x="210" y="732"/>
                  </a:lnTo>
                  <a:lnTo>
                    <a:pt x="216" y="738"/>
                  </a:lnTo>
                  <a:lnTo>
                    <a:pt x="216" y="744"/>
                  </a:lnTo>
                  <a:lnTo>
                    <a:pt x="222" y="750"/>
                  </a:lnTo>
                  <a:lnTo>
                    <a:pt x="228" y="756"/>
                  </a:lnTo>
                  <a:lnTo>
                    <a:pt x="222" y="762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04" y="762"/>
                  </a:lnTo>
                  <a:lnTo>
                    <a:pt x="198" y="762"/>
                  </a:lnTo>
                  <a:lnTo>
                    <a:pt x="192" y="762"/>
                  </a:lnTo>
                  <a:lnTo>
                    <a:pt x="186" y="756"/>
                  </a:lnTo>
                  <a:lnTo>
                    <a:pt x="180" y="750"/>
                  </a:lnTo>
                  <a:lnTo>
                    <a:pt x="180" y="744"/>
                  </a:lnTo>
                  <a:lnTo>
                    <a:pt x="174" y="744"/>
                  </a:lnTo>
                  <a:lnTo>
                    <a:pt x="156" y="750"/>
                  </a:lnTo>
                  <a:lnTo>
                    <a:pt x="150" y="750"/>
                  </a:lnTo>
                  <a:lnTo>
                    <a:pt x="144" y="750"/>
                  </a:lnTo>
                  <a:lnTo>
                    <a:pt x="138" y="750"/>
                  </a:lnTo>
                  <a:lnTo>
                    <a:pt x="138" y="744"/>
                  </a:lnTo>
                  <a:lnTo>
                    <a:pt x="132" y="744"/>
                  </a:lnTo>
                  <a:lnTo>
                    <a:pt x="120" y="744"/>
                  </a:lnTo>
                  <a:lnTo>
                    <a:pt x="114" y="738"/>
                  </a:lnTo>
                  <a:lnTo>
                    <a:pt x="108" y="744"/>
                  </a:lnTo>
                  <a:lnTo>
                    <a:pt x="102" y="744"/>
                  </a:lnTo>
                  <a:lnTo>
                    <a:pt x="96" y="744"/>
                  </a:lnTo>
                  <a:lnTo>
                    <a:pt x="96" y="738"/>
                  </a:lnTo>
                  <a:lnTo>
                    <a:pt x="96" y="744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44"/>
                  </a:lnTo>
                  <a:lnTo>
                    <a:pt x="72" y="750"/>
                  </a:lnTo>
                  <a:lnTo>
                    <a:pt x="66" y="750"/>
                  </a:lnTo>
                  <a:lnTo>
                    <a:pt x="60" y="750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0"/>
                  </a:lnTo>
                  <a:lnTo>
                    <a:pt x="30" y="750"/>
                  </a:lnTo>
                  <a:lnTo>
                    <a:pt x="24" y="744"/>
                  </a:lnTo>
                  <a:lnTo>
                    <a:pt x="18" y="738"/>
                  </a:lnTo>
                  <a:lnTo>
                    <a:pt x="6" y="738"/>
                  </a:lnTo>
                  <a:lnTo>
                    <a:pt x="0" y="732"/>
                  </a:lnTo>
                  <a:lnTo>
                    <a:pt x="0" y="726"/>
                  </a:lnTo>
                  <a:lnTo>
                    <a:pt x="0" y="720"/>
                  </a:lnTo>
                  <a:lnTo>
                    <a:pt x="6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8" y="702"/>
                  </a:lnTo>
                  <a:lnTo>
                    <a:pt x="24" y="696"/>
                  </a:lnTo>
                  <a:lnTo>
                    <a:pt x="30" y="696"/>
                  </a:lnTo>
                  <a:lnTo>
                    <a:pt x="48" y="690"/>
                  </a:lnTo>
                  <a:lnTo>
                    <a:pt x="54" y="678"/>
                  </a:lnTo>
                  <a:lnTo>
                    <a:pt x="66" y="672"/>
                  </a:lnTo>
                  <a:lnTo>
                    <a:pt x="66" y="654"/>
                  </a:lnTo>
                  <a:lnTo>
                    <a:pt x="72" y="636"/>
                  </a:lnTo>
                  <a:lnTo>
                    <a:pt x="72" y="612"/>
                  </a:lnTo>
                  <a:lnTo>
                    <a:pt x="84" y="594"/>
                  </a:lnTo>
                  <a:lnTo>
                    <a:pt x="90" y="576"/>
                  </a:lnTo>
                  <a:lnTo>
                    <a:pt x="96" y="552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72" y="522"/>
                  </a:lnTo>
                  <a:lnTo>
                    <a:pt x="78" y="510"/>
                  </a:lnTo>
                  <a:lnTo>
                    <a:pt x="78" y="504"/>
                  </a:lnTo>
                  <a:lnTo>
                    <a:pt x="84" y="480"/>
                  </a:lnTo>
                  <a:lnTo>
                    <a:pt x="90" y="468"/>
                  </a:lnTo>
                  <a:lnTo>
                    <a:pt x="90" y="456"/>
                  </a:lnTo>
                  <a:lnTo>
                    <a:pt x="96" y="456"/>
                  </a:lnTo>
                  <a:lnTo>
                    <a:pt x="96" y="444"/>
                  </a:lnTo>
                  <a:lnTo>
                    <a:pt x="102" y="438"/>
                  </a:lnTo>
                  <a:lnTo>
                    <a:pt x="102" y="432"/>
                  </a:lnTo>
                  <a:lnTo>
                    <a:pt x="108" y="432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14" y="408"/>
                  </a:lnTo>
                  <a:lnTo>
                    <a:pt x="114" y="402"/>
                  </a:lnTo>
                  <a:lnTo>
                    <a:pt x="126" y="384"/>
                  </a:lnTo>
                  <a:lnTo>
                    <a:pt x="138" y="378"/>
                  </a:lnTo>
                  <a:lnTo>
                    <a:pt x="138" y="372"/>
                  </a:lnTo>
                  <a:lnTo>
                    <a:pt x="150" y="354"/>
                  </a:lnTo>
                  <a:lnTo>
                    <a:pt x="156" y="342"/>
                  </a:lnTo>
                  <a:lnTo>
                    <a:pt x="162" y="330"/>
                  </a:lnTo>
                  <a:lnTo>
                    <a:pt x="168" y="324"/>
                  </a:lnTo>
                  <a:lnTo>
                    <a:pt x="168" y="312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74" y="294"/>
                  </a:lnTo>
                  <a:lnTo>
                    <a:pt x="180" y="288"/>
                  </a:lnTo>
                  <a:lnTo>
                    <a:pt x="180" y="276"/>
                  </a:lnTo>
                  <a:lnTo>
                    <a:pt x="186" y="276"/>
                  </a:lnTo>
                  <a:lnTo>
                    <a:pt x="186" y="270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40"/>
                  </a:lnTo>
                  <a:lnTo>
                    <a:pt x="168" y="240"/>
                  </a:lnTo>
                  <a:lnTo>
                    <a:pt x="162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68" y="216"/>
                  </a:lnTo>
                  <a:lnTo>
                    <a:pt x="168" y="180"/>
                  </a:lnTo>
                  <a:lnTo>
                    <a:pt x="168" y="144"/>
                  </a:lnTo>
                  <a:lnTo>
                    <a:pt x="162" y="120"/>
                  </a:lnTo>
                  <a:lnTo>
                    <a:pt x="162" y="108"/>
                  </a:lnTo>
                  <a:lnTo>
                    <a:pt x="168" y="102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44" y="84"/>
                  </a:lnTo>
                  <a:lnTo>
                    <a:pt x="126" y="84"/>
                  </a:lnTo>
                  <a:lnTo>
                    <a:pt x="108" y="78"/>
                  </a:lnTo>
                  <a:lnTo>
                    <a:pt x="96" y="78"/>
                  </a:lnTo>
                  <a:lnTo>
                    <a:pt x="78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8" y="36"/>
                  </a:lnTo>
                  <a:lnTo>
                    <a:pt x="96" y="24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56" y="0"/>
                  </a:lnTo>
                  <a:lnTo>
                    <a:pt x="156" y="6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18"/>
                  </a:lnTo>
                  <a:lnTo>
                    <a:pt x="198" y="18"/>
                  </a:lnTo>
                  <a:lnTo>
                    <a:pt x="210" y="18"/>
                  </a:lnTo>
                  <a:lnTo>
                    <a:pt x="222" y="18"/>
                  </a:lnTo>
                  <a:lnTo>
                    <a:pt x="234" y="12"/>
                  </a:lnTo>
                  <a:lnTo>
                    <a:pt x="252" y="18"/>
                  </a:lnTo>
                  <a:lnTo>
                    <a:pt x="252" y="24"/>
                  </a:lnTo>
                  <a:lnTo>
                    <a:pt x="258" y="36"/>
                  </a:lnTo>
                  <a:lnTo>
                    <a:pt x="258" y="66"/>
                  </a:lnTo>
                  <a:lnTo>
                    <a:pt x="252" y="84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82" y="126"/>
                  </a:lnTo>
                  <a:lnTo>
                    <a:pt x="294" y="132"/>
                  </a:lnTo>
                  <a:lnTo>
                    <a:pt x="306" y="138"/>
                  </a:lnTo>
                  <a:lnTo>
                    <a:pt x="324" y="138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60" y="144"/>
                  </a:lnTo>
                  <a:lnTo>
                    <a:pt x="396" y="144"/>
                  </a:lnTo>
                  <a:lnTo>
                    <a:pt x="408" y="150"/>
                  </a:lnTo>
                  <a:lnTo>
                    <a:pt x="414" y="180"/>
                  </a:lnTo>
                  <a:lnTo>
                    <a:pt x="420" y="186"/>
                  </a:lnTo>
                  <a:lnTo>
                    <a:pt x="426" y="192"/>
                  </a:lnTo>
                  <a:lnTo>
                    <a:pt x="426" y="198"/>
                  </a:lnTo>
                  <a:lnTo>
                    <a:pt x="432" y="198"/>
                  </a:lnTo>
                  <a:lnTo>
                    <a:pt x="438" y="210"/>
                  </a:lnTo>
                  <a:lnTo>
                    <a:pt x="450" y="216"/>
                  </a:lnTo>
                  <a:lnTo>
                    <a:pt x="468" y="228"/>
                  </a:lnTo>
                  <a:lnTo>
                    <a:pt x="492" y="234"/>
                  </a:lnTo>
                  <a:lnTo>
                    <a:pt x="492" y="246"/>
                  </a:lnTo>
                  <a:lnTo>
                    <a:pt x="492" y="270"/>
                  </a:lnTo>
                  <a:lnTo>
                    <a:pt x="486" y="294"/>
                  </a:lnTo>
                  <a:lnTo>
                    <a:pt x="486" y="312"/>
                  </a:lnTo>
                  <a:lnTo>
                    <a:pt x="486" y="330"/>
                  </a:lnTo>
                  <a:lnTo>
                    <a:pt x="492" y="348"/>
                  </a:lnTo>
                  <a:lnTo>
                    <a:pt x="498" y="360"/>
                  </a:lnTo>
                  <a:lnTo>
                    <a:pt x="510" y="366"/>
                  </a:lnTo>
                  <a:lnTo>
                    <a:pt x="516" y="384"/>
                  </a:lnTo>
                  <a:lnTo>
                    <a:pt x="522" y="414"/>
                  </a:lnTo>
                  <a:lnTo>
                    <a:pt x="528" y="414"/>
                  </a:lnTo>
                  <a:lnTo>
                    <a:pt x="534" y="426"/>
                  </a:lnTo>
                  <a:lnTo>
                    <a:pt x="528" y="432"/>
                  </a:lnTo>
                  <a:lnTo>
                    <a:pt x="468" y="426"/>
                  </a:lnTo>
                  <a:lnTo>
                    <a:pt x="462" y="4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3" name="Freeform 8">
              <a:extLst>
                <a:ext uri="{FF2B5EF4-FFF2-40B4-BE49-F238E27FC236}">
                  <a16:creationId xmlns:a16="http://schemas.microsoft.com/office/drawing/2014/main" id="{D473457C-872E-4E31-888A-D60FD52063A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98175" y="4307054"/>
              <a:ext cx="295177" cy="348894"/>
            </a:xfrm>
            <a:custGeom>
              <a:avLst/>
              <a:gdLst>
                <a:gd name="T0" fmla="*/ 3 w 552"/>
                <a:gd name="T1" fmla="*/ 46 h 660"/>
                <a:gd name="T2" fmla="*/ 4 w 552"/>
                <a:gd name="T3" fmla="*/ 42 h 660"/>
                <a:gd name="T4" fmla="*/ 2 w 552"/>
                <a:gd name="T5" fmla="*/ 38 h 660"/>
                <a:gd name="T6" fmla="*/ 0 w 552"/>
                <a:gd name="T7" fmla="*/ 34 h 660"/>
                <a:gd name="T8" fmla="*/ 2 w 552"/>
                <a:gd name="T9" fmla="*/ 30 h 660"/>
                <a:gd name="T10" fmla="*/ 3 w 552"/>
                <a:gd name="T11" fmla="*/ 27 h 660"/>
                <a:gd name="T12" fmla="*/ 5 w 552"/>
                <a:gd name="T13" fmla="*/ 23 h 660"/>
                <a:gd name="T14" fmla="*/ 5 w 552"/>
                <a:gd name="T15" fmla="*/ 15 h 660"/>
                <a:gd name="T16" fmla="*/ 6 w 552"/>
                <a:gd name="T17" fmla="*/ 11 h 660"/>
                <a:gd name="T18" fmla="*/ 11 w 552"/>
                <a:gd name="T19" fmla="*/ 9 h 660"/>
                <a:gd name="T20" fmla="*/ 10 w 552"/>
                <a:gd name="T21" fmla="*/ 5 h 660"/>
                <a:gd name="T22" fmla="*/ 12 w 552"/>
                <a:gd name="T23" fmla="*/ 1 h 660"/>
                <a:gd name="T24" fmla="*/ 16 w 552"/>
                <a:gd name="T25" fmla="*/ 2 h 660"/>
                <a:gd name="T26" fmla="*/ 23 w 552"/>
                <a:gd name="T27" fmla="*/ 8 h 660"/>
                <a:gd name="T28" fmla="*/ 23 w 552"/>
                <a:gd name="T29" fmla="*/ 11 h 660"/>
                <a:gd name="T30" fmla="*/ 27 w 552"/>
                <a:gd name="T31" fmla="*/ 12 h 660"/>
                <a:gd name="T32" fmla="*/ 29 w 552"/>
                <a:gd name="T33" fmla="*/ 17 h 660"/>
                <a:gd name="T34" fmla="*/ 31 w 552"/>
                <a:gd name="T35" fmla="*/ 15 h 660"/>
                <a:gd name="T36" fmla="*/ 33 w 552"/>
                <a:gd name="T37" fmla="*/ 17 h 660"/>
                <a:gd name="T38" fmla="*/ 36 w 552"/>
                <a:gd name="T39" fmla="*/ 23 h 660"/>
                <a:gd name="T40" fmla="*/ 41 w 552"/>
                <a:gd name="T41" fmla="*/ 33 h 660"/>
                <a:gd name="T42" fmla="*/ 43 w 552"/>
                <a:gd name="T43" fmla="*/ 36 h 660"/>
                <a:gd name="T44" fmla="*/ 43 w 552"/>
                <a:gd name="T45" fmla="*/ 37 h 660"/>
                <a:gd name="T46" fmla="*/ 41 w 552"/>
                <a:gd name="T47" fmla="*/ 35 h 660"/>
                <a:gd name="T48" fmla="*/ 43 w 552"/>
                <a:gd name="T49" fmla="*/ 37 h 660"/>
                <a:gd name="T50" fmla="*/ 44 w 552"/>
                <a:gd name="T51" fmla="*/ 39 h 660"/>
                <a:gd name="T52" fmla="*/ 47 w 552"/>
                <a:gd name="T53" fmla="*/ 41 h 660"/>
                <a:gd name="T54" fmla="*/ 47 w 552"/>
                <a:gd name="T55" fmla="*/ 44 h 660"/>
                <a:gd name="T56" fmla="*/ 48 w 552"/>
                <a:gd name="T57" fmla="*/ 46 h 660"/>
                <a:gd name="T58" fmla="*/ 47 w 552"/>
                <a:gd name="T59" fmla="*/ 46 h 660"/>
                <a:gd name="T60" fmla="*/ 44 w 552"/>
                <a:gd name="T61" fmla="*/ 46 h 660"/>
                <a:gd name="T62" fmla="*/ 47 w 552"/>
                <a:gd name="T63" fmla="*/ 47 h 660"/>
                <a:gd name="T64" fmla="*/ 47 w 552"/>
                <a:gd name="T65" fmla="*/ 49 h 660"/>
                <a:gd name="T66" fmla="*/ 47 w 552"/>
                <a:gd name="T67" fmla="*/ 52 h 660"/>
                <a:gd name="T68" fmla="*/ 46 w 552"/>
                <a:gd name="T69" fmla="*/ 53 h 660"/>
                <a:gd name="T70" fmla="*/ 43 w 552"/>
                <a:gd name="T71" fmla="*/ 54 h 660"/>
                <a:gd name="T72" fmla="*/ 37 w 552"/>
                <a:gd name="T73" fmla="*/ 54 h 660"/>
                <a:gd name="T74" fmla="*/ 30 w 552"/>
                <a:gd name="T75" fmla="*/ 54 h 660"/>
                <a:gd name="T76" fmla="*/ 29 w 552"/>
                <a:gd name="T77" fmla="*/ 53 h 660"/>
                <a:gd name="T78" fmla="*/ 27 w 552"/>
                <a:gd name="T79" fmla="*/ 53 h 660"/>
                <a:gd name="T80" fmla="*/ 29 w 552"/>
                <a:gd name="T81" fmla="*/ 53 h 660"/>
                <a:gd name="T82" fmla="*/ 28 w 552"/>
                <a:gd name="T83" fmla="*/ 54 h 660"/>
                <a:gd name="T84" fmla="*/ 24 w 552"/>
                <a:gd name="T85" fmla="*/ 54 h 660"/>
                <a:gd name="T86" fmla="*/ 20 w 552"/>
                <a:gd name="T87" fmla="*/ 55 h 660"/>
                <a:gd name="T88" fmla="*/ 15 w 552"/>
                <a:gd name="T89" fmla="*/ 56 h 660"/>
                <a:gd name="T90" fmla="*/ 12 w 552"/>
                <a:gd name="T91" fmla="*/ 56 h 660"/>
                <a:gd name="T92" fmla="*/ 11 w 552"/>
                <a:gd name="T93" fmla="*/ 57 h 660"/>
                <a:gd name="T94" fmla="*/ 9 w 552"/>
                <a:gd name="T95" fmla="*/ 57 h 660"/>
                <a:gd name="T96" fmla="*/ 7 w 552"/>
                <a:gd name="T97" fmla="*/ 56 h 660"/>
                <a:gd name="T98" fmla="*/ 5 w 552"/>
                <a:gd name="T99" fmla="*/ 55 h 660"/>
                <a:gd name="T100" fmla="*/ 7 w 552"/>
                <a:gd name="T101" fmla="*/ 54 h 660"/>
                <a:gd name="T102" fmla="*/ 5 w 552"/>
                <a:gd name="T103" fmla="*/ 54 h 660"/>
                <a:gd name="T104" fmla="*/ 5 w 552"/>
                <a:gd name="T105" fmla="*/ 53 h 660"/>
                <a:gd name="T106" fmla="*/ 4 w 552"/>
                <a:gd name="T107" fmla="*/ 49 h 660"/>
                <a:gd name="T108" fmla="*/ 45 w 552"/>
                <a:gd name="T109" fmla="*/ 38 h 66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52"/>
                <a:gd name="T166" fmla="*/ 0 h 660"/>
                <a:gd name="T167" fmla="*/ 552 w 552"/>
                <a:gd name="T168" fmla="*/ 660 h 66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52" h="660">
                  <a:moveTo>
                    <a:pt x="36" y="564"/>
                  </a:moveTo>
                  <a:lnTo>
                    <a:pt x="36" y="558"/>
                  </a:lnTo>
                  <a:lnTo>
                    <a:pt x="36" y="552"/>
                  </a:lnTo>
                  <a:lnTo>
                    <a:pt x="42" y="546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34"/>
                  </a:lnTo>
                  <a:lnTo>
                    <a:pt x="36" y="528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54" y="510"/>
                  </a:lnTo>
                  <a:lnTo>
                    <a:pt x="54" y="504"/>
                  </a:lnTo>
                  <a:lnTo>
                    <a:pt x="54" y="498"/>
                  </a:lnTo>
                  <a:lnTo>
                    <a:pt x="48" y="492"/>
                  </a:lnTo>
                  <a:lnTo>
                    <a:pt x="42" y="486"/>
                  </a:lnTo>
                  <a:lnTo>
                    <a:pt x="42" y="480"/>
                  </a:lnTo>
                  <a:lnTo>
                    <a:pt x="42" y="468"/>
                  </a:lnTo>
                  <a:lnTo>
                    <a:pt x="30" y="456"/>
                  </a:lnTo>
                  <a:lnTo>
                    <a:pt x="30" y="450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2"/>
                  </a:lnTo>
                  <a:lnTo>
                    <a:pt x="18" y="426"/>
                  </a:lnTo>
                  <a:lnTo>
                    <a:pt x="24" y="420"/>
                  </a:lnTo>
                  <a:lnTo>
                    <a:pt x="18" y="414"/>
                  </a:lnTo>
                  <a:lnTo>
                    <a:pt x="12" y="408"/>
                  </a:lnTo>
                  <a:lnTo>
                    <a:pt x="12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6" y="384"/>
                  </a:lnTo>
                  <a:lnTo>
                    <a:pt x="12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8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36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54" y="270"/>
                  </a:lnTo>
                  <a:lnTo>
                    <a:pt x="48" y="264"/>
                  </a:lnTo>
                  <a:lnTo>
                    <a:pt x="42" y="246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8" y="204"/>
                  </a:lnTo>
                  <a:lnTo>
                    <a:pt x="54" y="174"/>
                  </a:lnTo>
                  <a:lnTo>
                    <a:pt x="54" y="162"/>
                  </a:lnTo>
                  <a:lnTo>
                    <a:pt x="54" y="156"/>
                  </a:lnTo>
                  <a:lnTo>
                    <a:pt x="54" y="144"/>
                  </a:lnTo>
                  <a:lnTo>
                    <a:pt x="48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72" y="126"/>
                  </a:lnTo>
                  <a:lnTo>
                    <a:pt x="84" y="126"/>
                  </a:lnTo>
                  <a:lnTo>
                    <a:pt x="96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2" y="84"/>
                  </a:lnTo>
                  <a:lnTo>
                    <a:pt x="126" y="78"/>
                  </a:lnTo>
                  <a:lnTo>
                    <a:pt x="120" y="78"/>
                  </a:lnTo>
                  <a:lnTo>
                    <a:pt x="102" y="84"/>
                  </a:lnTo>
                  <a:lnTo>
                    <a:pt x="108" y="66"/>
                  </a:lnTo>
                  <a:lnTo>
                    <a:pt x="114" y="54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8" y="4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6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74" y="0"/>
                  </a:lnTo>
                  <a:lnTo>
                    <a:pt x="180" y="0"/>
                  </a:lnTo>
                  <a:lnTo>
                    <a:pt x="186" y="18"/>
                  </a:lnTo>
                  <a:lnTo>
                    <a:pt x="198" y="30"/>
                  </a:lnTo>
                  <a:lnTo>
                    <a:pt x="204" y="54"/>
                  </a:lnTo>
                  <a:lnTo>
                    <a:pt x="216" y="60"/>
                  </a:lnTo>
                  <a:lnTo>
                    <a:pt x="240" y="60"/>
                  </a:lnTo>
                  <a:lnTo>
                    <a:pt x="246" y="66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2" y="120"/>
                  </a:lnTo>
                  <a:lnTo>
                    <a:pt x="25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6" y="126"/>
                  </a:lnTo>
                  <a:lnTo>
                    <a:pt x="282" y="120"/>
                  </a:lnTo>
                  <a:lnTo>
                    <a:pt x="282" y="126"/>
                  </a:lnTo>
                  <a:lnTo>
                    <a:pt x="294" y="126"/>
                  </a:lnTo>
                  <a:lnTo>
                    <a:pt x="300" y="132"/>
                  </a:lnTo>
                  <a:lnTo>
                    <a:pt x="306" y="144"/>
                  </a:lnTo>
                  <a:lnTo>
                    <a:pt x="312" y="144"/>
                  </a:lnTo>
                  <a:lnTo>
                    <a:pt x="312" y="150"/>
                  </a:lnTo>
                  <a:lnTo>
                    <a:pt x="312" y="162"/>
                  </a:lnTo>
                  <a:lnTo>
                    <a:pt x="312" y="174"/>
                  </a:lnTo>
                  <a:lnTo>
                    <a:pt x="324" y="180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30" y="192"/>
                  </a:lnTo>
                  <a:lnTo>
                    <a:pt x="336" y="198"/>
                  </a:lnTo>
                  <a:lnTo>
                    <a:pt x="342" y="192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54" y="180"/>
                  </a:lnTo>
                  <a:lnTo>
                    <a:pt x="354" y="174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84" y="192"/>
                  </a:lnTo>
                  <a:lnTo>
                    <a:pt x="390" y="204"/>
                  </a:lnTo>
                  <a:lnTo>
                    <a:pt x="390" y="210"/>
                  </a:lnTo>
                  <a:lnTo>
                    <a:pt x="390" y="216"/>
                  </a:lnTo>
                  <a:lnTo>
                    <a:pt x="384" y="234"/>
                  </a:lnTo>
                  <a:lnTo>
                    <a:pt x="390" y="240"/>
                  </a:lnTo>
                  <a:lnTo>
                    <a:pt x="408" y="252"/>
                  </a:lnTo>
                  <a:lnTo>
                    <a:pt x="414" y="264"/>
                  </a:lnTo>
                  <a:lnTo>
                    <a:pt x="408" y="300"/>
                  </a:lnTo>
                  <a:lnTo>
                    <a:pt x="414" y="312"/>
                  </a:lnTo>
                  <a:lnTo>
                    <a:pt x="426" y="336"/>
                  </a:lnTo>
                  <a:lnTo>
                    <a:pt x="438" y="354"/>
                  </a:lnTo>
                  <a:lnTo>
                    <a:pt x="444" y="366"/>
                  </a:lnTo>
                  <a:lnTo>
                    <a:pt x="456" y="366"/>
                  </a:lnTo>
                  <a:lnTo>
                    <a:pt x="474" y="378"/>
                  </a:lnTo>
                  <a:lnTo>
                    <a:pt x="474" y="384"/>
                  </a:lnTo>
                  <a:lnTo>
                    <a:pt x="480" y="390"/>
                  </a:lnTo>
                  <a:lnTo>
                    <a:pt x="486" y="396"/>
                  </a:lnTo>
                  <a:lnTo>
                    <a:pt x="486" y="402"/>
                  </a:lnTo>
                  <a:lnTo>
                    <a:pt x="480" y="408"/>
                  </a:lnTo>
                  <a:lnTo>
                    <a:pt x="486" y="408"/>
                  </a:lnTo>
                  <a:lnTo>
                    <a:pt x="486" y="414"/>
                  </a:lnTo>
                  <a:lnTo>
                    <a:pt x="492" y="414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32"/>
                  </a:lnTo>
                  <a:lnTo>
                    <a:pt x="498" y="438"/>
                  </a:lnTo>
                  <a:lnTo>
                    <a:pt x="492" y="432"/>
                  </a:lnTo>
                  <a:lnTo>
                    <a:pt x="486" y="426"/>
                  </a:lnTo>
                  <a:lnTo>
                    <a:pt x="486" y="420"/>
                  </a:lnTo>
                  <a:lnTo>
                    <a:pt x="486" y="414"/>
                  </a:lnTo>
                  <a:lnTo>
                    <a:pt x="480" y="414"/>
                  </a:lnTo>
                  <a:lnTo>
                    <a:pt x="480" y="408"/>
                  </a:lnTo>
                  <a:lnTo>
                    <a:pt x="474" y="408"/>
                  </a:lnTo>
                  <a:lnTo>
                    <a:pt x="468" y="408"/>
                  </a:lnTo>
                  <a:lnTo>
                    <a:pt x="468" y="402"/>
                  </a:lnTo>
                  <a:lnTo>
                    <a:pt x="462" y="402"/>
                  </a:lnTo>
                  <a:lnTo>
                    <a:pt x="462" y="408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80" y="426"/>
                  </a:lnTo>
                  <a:lnTo>
                    <a:pt x="486" y="426"/>
                  </a:lnTo>
                  <a:lnTo>
                    <a:pt x="486" y="432"/>
                  </a:lnTo>
                  <a:lnTo>
                    <a:pt x="492" y="438"/>
                  </a:lnTo>
                  <a:lnTo>
                    <a:pt x="498" y="438"/>
                  </a:lnTo>
                  <a:lnTo>
                    <a:pt x="504" y="444"/>
                  </a:lnTo>
                  <a:lnTo>
                    <a:pt x="510" y="444"/>
                  </a:lnTo>
                  <a:lnTo>
                    <a:pt x="510" y="450"/>
                  </a:lnTo>
                  <a:lnTo>
                    <a:pt x="510" y="456"/>
                  </a:lnTo>
                  <a:lnTo>
                    <a:pt x="516" y="456"/>
                  </a:lnTo>
                  <a:lnTo>
                    <a:pt x="516" y="462"/>
                  </a:lnTo>
                  <a:lnTo>
                    <a:pt x="522" y="462"/>
                  </a:lnTo>
                  <a:lnTo>
                    <a:pt x="522" y="468"/>
                  </a:lnTo>
                  <a:lnTo>
                    <a:pt x="528" y="468"/>
                  </a:lnTo>
                  <a:lnTo>
                    <a:pt x="534" y="468"/>
                  </a:lnTo>
                  <a:lnTo>
                    <a:pt x="534" y="474"/>
                  </a:lnTo>
                  <a:lnTo>
                    <a:pt x="540" y="474"/>
                  </a:lnTo>
                  <a:lnTo>
                    <a:pt x="540" y="480"/>
                  </a:lnTo>
                  <a:lnTo>
                    <a:pt x="546" y="486"/>
                  </a:lnTo>
                  <a:lnTo>
                    <a:pt x="546" y="492"/>
                  </a:lnTo>
                  <a:lnTo>
                    <a:pt x="546" y="498"/>
                  </a:lnTo>
                  <a:lnTo>
                    <a:pt x="546" y="504"/>
                  </a:lnTo>
                  <a:lnTo>
                    <a:pt x="540" y="504"/>
                  </a:lnTo>
                  <a:lnTo>
                    <a:pt x="546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10"/>
                  </a:lnTo>
                  <a:lnTo>
                    <a:pt x="552" y="516"/>
                  </a:lnTo>
                  <a:lnTo>
                    <a:pt x="552" y="522"/>
                  </a:lnTo>
                  <a:lnTo>
                    <a:pt x="552" y="528"/>
                  </a:lnTo>
                  <a:lnTo>
                    <a:pt x="552" y="534"/>
                  </a:lnTo>
                  <a:lnTo>
                    <a:pt x="552" y="540"/>
                  </a:lnTo>
                  <a:lnTo>
                    <a:pt x="546" y="540"/>
                  </a:lnTo>
                  <a:lnTo>
                    <a:pt x="546" y="546"/>
                  </a:lnTo>
                  <a:lnTo>
                    <a:pt x="546" y="540"/>
                  </a:lnTo>
                  <a:lnTo>
                    <a:pt x="546" y="534"/>
                  </a:lnTo>
                  <a:lnTo>
                    <a:pt x="540" y="534"/>
                  </a:lnTo>
                  <a:lnTo>
                    <a:pt x="540" y="528"/>
                  </a:lnTo>
                  <a:lnTo>
                    <a:pt x="534" y="528"/>
                  </a:lnTo>
                  <a:lnTo>
                    <a:pt x="528" y="528"/>
                  </a:lnTo>
                  <a:lnTo>
                    <a:pt x="522" y="528"/>
                  </a:lnTo>
                  <a:lnTo>
                    <a:pt x="516" y="528"/>
                  </a:lnTo>
                  <a:lnTo>
                    <a:pt x="510" y="528"/>
                  </a:lnTo>
                  <a:lnTo>
                    <a:pt x="510" y="534"/>
                  </a:lnTo>
                  <a:lnTo>
                    <a:pt x="510" y="528"/>
                  </a:lnTo>
                  <a:lnTo>
                    <a:pt x="516" y="528"/>
                  </a:lnTo>
                  <a:lnTo>
                    <a:pt x="522" y="528"/>
                  </a:lnTo>
                  <a:lnTo>
                    <a:pt x="528" y="528"/>
                  </a:lnTo>
                  <a:lnTo>
                    <a:pt x="534" y="534"/>
                  </a:lnTo>
                  <a:lnTo>
                    <a:pt x="540" y="534"/>
                  </a:lnTo>
                  <a:lnTo>
                    <a:pt x="540" y="540"/>
                  </a:lnTo>
                  <a:lnTo>
                    <a:pt x="540" y="546"/>
                  </a:lnTo>
                  <a:lnTo>
                    <a:pt x="546" y="546"/>
                  </a:lnTo>
                  <a:lnTo>
                    <a:pt x="546" y="552"/>
                  </a:lnTo>
                  <a:lnTo>
                    <a:pt x="552" y="552"/>
                  </a:lnTo>
                  <a:lnTo>
                    <a:pt x="552" y="558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0" y="576"/>
                  </a:lnTo>
                  <a:lnTo>
                    <a:pt x="540" y="582"/>
                  </a:lnTo>
                  <a:lnTo>
                    <a:pt x="540" y="588"/>
                  </a:lnTo>
                  <a:lnTo>
                    <a:pt x="534" y="594"/>
                  </a:lnTo>
                  <a:lnTo>
                    <a:pt x="534" y="600"/>
                  </a:lnTo>
                  <a:lnTo>
                    <a:pt x="528" y="600"/>
                  </a:lnTo>
                  <a:lnTo>
                    <a:pt x="522" y="594"/>
                  </a:lnTo>
                  <a:lnTo>
                    <a:pt x="528" y="600"/>
                  </a:lnTo>
                  <a:lnTo>
                    <a:pt x="534" y="600"/>
                  </a:lnTo>
                  <a:lnTo>
                    <a:pt x="534" y="606"/>
                  </a:lnTo>
                  <a:lnTo>
                    <a:pt x="528" y="606"/>
                  </a:lnTo>
                  <a:lnTo>
                    <a:pt x="528" y="612"/>
                  </a:lnTo>
                  <a:lnTo>
                    <a:pt x="522" y="612"/>
                  </a:lnTo>
                  <a:lnTo>
                    <a:pt x="522" y="618"/>
                  </a:lnTo>
                  <a:lnTo>
                    <a:pt x="522" y="624"/>
                  </a:lnTo>
                  <a:lnTo>
                    <a:pt x="510" y="624"/>
                  </a:lnTo>
                  <a:lnTo>
                    <a:pt x="498" y="624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0" y="624"/>
                  </a:lnTo>
                  <a:lnTo>
                    <a:pt x="474" y="624"/>
                  </a:lnTo>
                  <a:lnTo>
                    <a:pt x="468" y="618"/>
                  </a:lnTo>
                  <a:lnTo>
                    <a:pt x="456" y="618"/>
                  </a:lnTo>
                  <a:lnTo>
                    <a:pt x="450" y="618"/>
                  </a:lnTo>
                  <a:lnTo>
                    <a:pt x="426" y="618"/>
                  </a:lnTo>
                  <a:lnTo>
                    <a:pt x="420" y="618"/>
                  </a:lnTo>
                  <a:lnTo>
                    <a:pt x="414" y="618"/>
                  </a:lnTo>
                  <a:lnTo>
                    <a:pt x="408" y="618"/>
                  </a:lnTo>
                  <a:lnTo>
                    <a:pt x="396" y="618"/>
                  </a:lnTo>
                  <a:lnTo>
                    <a:pt x="366" y="618"/>
                  </a:lnTo>
                  <a:lnTo>
                    <a:pt x="348" y="624"/>
                  </a:lnTo>
                  <a:lnTo>
                    <a:pt x="342" y="624"/>
                  </a:lnTo>
                  <a:lnTo>
                    <a:pt x="342" y="618"/>
                  </a:lnTo>
                  <a:lnTo>
                    <a:pt x="336" y="618"/>
                  </a:lnTo>
                  <a:lnTo>
                    <a:pt x="336" y="612"/>
                  </a:lnTo>
                  <a:lnTo>
                    <a:pt x="342" y="612"/>
                  </a:lnTo>
                  <a:lnTo>
                    <a:pt x="348" y="612"/>
                  </a:lnTo>
                  <a:lnTo>
                    <a:pt x="342" y="612"/>
                  </a:lnTo>
                  <a:lnTo>
                    <a:pt x="336" y="612"/>
                  </a:lnTo>
                  <a:lnTo>
                    <a:pt x="336" y="606"/>
                  </a:lnTo>
                  <a:lnTo>
                    <a:pt x="330" y="606"/>
                  </a:lnTo>
                  <a:lnTo>
                    <a:pt x="330" y="600"/>
                  </a:lnTo>
                  <a:lnTo>
                    <a:pt x="324" y="600"/>
                  </a:lnTo>
                  <a:lnTo>
                    <a:pt x="324" y="606"/>
                  </a:lnTo>
                  <a:lnTo>
                    <a:pt x="318" y="606"/>
                  </a:lnTo>
                  <a:lnTo>
                    <a:pt x="318" y="612"/>
                  </a:lnTo>
                  <a:lnTo>
                    <a:pt x="312" y="612"/>
                  </a:lnTo>
                  <a:lnTo>
                    <a:pt x="306" y="606"/>
                  </a:lnTo>
                  <a:lnTo>
                    <a:pt x="306" y="612"/>
                  </a:lnTo>
                  <a:lnTo>
                    <a:pt x="312" y="612"/>
                  </a:lnTo>
                  <a:lnTo>
                    <a:pt x="318" y="612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30" y="606"/>
                  </a:lnTo>
                  <a:lnTo>
                    <a:pt x="336" y="612"/>
                  </a:lnTo>
                  <a:lnTo>
                    <a:pt x="336" y="618"/>
                  </a:lnTo>
                  <a:lnTo>
                    <a:pt x="330" y="618"/>
                  </a:lnTo>
                  <a:lnTo>
                    <a:pt x="336" y="618"/>
                  </a:lnTo>
                  <a:lnTo>
                    <a:pt x="336" y="624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288" y="624"/>
                  </a:lnTo>
                  <a:lnTo>
                    <a:pt x="282" y="624"/>
                  </a:lnTo>
                  <a:lnTo>
                    <a:pt x="270" y="630"/>
                  </a:lnTo>
                  <a:lnTo>
                    <a:pt x="264" y="630"/>
                  </a:lnTo>
                  <a:lnTo>
                    <a:pt x="258" y="630"/>
                  </a:lnTo>
                  <a:lnTo>
                    <a:pt x="252" y="630"/>
                  </a:lnTo>
                  <a:lnTo>
                    <a:pt x="246" y="630"/>
                  </a:lnTo>
                  <a:lnTo>
                    <a:pt x="240" y="630"/>
                  </a:lnTo>
                  <a:lnTo>
                    <a:pt x="228" y="636"/>
                  </a:lnTo>
                  <a:lnTo>
                    <a:pt x="222" y="636"/>
                  </a:lnTo>
                  <a:lnTo>
                    <a:pt x="210" y="636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42"/>
                  </a:lnTo>
                  <a:lnTo>
                    <a:pt x="186" y="642"/>
                  </a:lnTo>
                  <a:lnTo>
                    <a:pt x="180" y="642"/>
                  </a:lnTo>
                  <a:lnTo>
                    <a:pt x="168" y="642"/>
                  </a:lnTo>
                  <a:lnTo>
                    <a:pt x="162" y="642"/>
                  </a:lnTo>
                  <a:lnTo>
                    <a:pt x="162" y="648"/>
                  </a:lnTo>
                  <a:lnTo>
                    <a:pt x="156" y="648"/>
                  </a:lnTo>
                  <a:lnTo>
                    <a:pt x="150" y="648"/>
                  </a:lnTo>
                  <a:lnTo>
                    <a:pt x="144" y="648"/>
                  </a:lnTo>
                  <a:lnTo>
                    <a:pt x="138" y="648"/>
                  </a:lnTo>
                  <a:lnTo>
                    <a:pt x="132" y="648"/>
                  </a:lnTo>
                  <a:lnTo>
                    <a:pt x="126" y="642"/>
                  </a:lnTo>
                  <a:lnTo>
                    <a:pt x="126" y="636"/>
                  </a:lnTo>
                  <a:lnTo>
                    <a:pt x="120" y="636"/>
                  </a:lnTo>
                  <a:lnTo>
                    <a:pt x="126" y="642"/>
                  </a:lnTo>
                  <a:lnTo>
                    <a:pt x="126" y="648"/>
                  </a:lnTo>
                  <a:lnTo>
                    <a:pt x="132" y="648"/>
                  </a:lnTo>
                  <a:lnTo>
                    <a:pt x="126" y="654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54"/>
                  </a:lnTo>
                  <a:lnTo>
                    <a:pt x="108" y="660"/>
                  </a:lnTo>
                  <a:lnTo>
                    <a:pt x="108" y="654"/>
                  </a:lnTo>
                  <a:lnTo>
                    <a:pt x="102" y="654"/>
                  </a:lnTo>
                  <a:lnTo>
                    <a:pt x="102" y="660"/>
                  </a:lnTo>
                  <a:lnTo>
                    <a:pt x="108" y="660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0" y="660"/>
                  </a:lnTo>
                  <a:lnTo>
                    <a:pt x="90" y="654"/>
                  </a:lnTo>
                  <a:lnTo>
                    <a:pt x="84" y="648"/>
                  </a:lnTo>
                  <a:lnTo>
                    <a:pt x="84" y="642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72" y="636"/>
                  </a:lnTo>
                  <a:lnTo>
                    <a:pt x="78" y="636"/>
                  </a:lnTo>
                  <a:lnTo>
                    <a:pt x="72" y="636"/>
                  </a:lnTo>
                  <a:lnTo>
                    <a:pt x="66" y="636"/>
                  </a:lnTo>
                  <a:lnTo>
                    <a:pt x="60" y="636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60" y="618"/>
                  </a:lnTo>
                  <a:lnTo>
                    <a:pt x="66" y="618"/>
                  </a:lnTo>
                  <a:lnTo>
                    <a:pt x="72" y="618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2" y="612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12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54" y="618"/>
                  </a:lnTo>
                  <a:lnTo>
                    <a:pt x="54" y="624"/>
                  </a:lnTo>
                  <a:lnTo>
                    <a:pt x="48" y="618"/>
                  </a:lnTo>
                  <a:lnTo>
                    <a:pt x="42" y="618"/>
                  </a:lnTo>
                  <a:lnTo>
                    <a:pt x="42" y="612"/>
                  </a:lnTo>
                  <a:lnTo>
                    <a:pt x="48" y="606"/>
                  </a:lnTo>
                  <a:lnTo>
                    <a:pt x="54" y="606"/>
                  </a:lnTo>
                  <a:lnTo>
                    <a:pt x="54" y="600"/>
                  </a:lnTo>
                  <a:lnTo>
                    <a:pt x="54" y="594"/>
                  </a:lnTo>
                  <a:lnTo>
                    <a:pt x="54" y="588"/>
                  </a:lnTo>
                  <a:lnTo>
                    <a:pt x="48" y="588"/>
                  </a:lnTo>
                  <a:lnTo>
                    <a:pt x="48" y="582"/>
                  </a:lnTo>
                  <a:lnTo>
                    <a:pt x="42" y="582"/>
                  </a:lnTo>
                  <a:lnTo>
                    <a:pt x="42" y="570"/>
                  </a:lnTo>
                  <a:lnTo>
                    <a:pt x="42" y="564"/>
                  </a:lnTo>
                  <a:lnTo>
                    <a:pt x="36" y="564"/>
                  </a:lnTo>
                  <a:close/>
                  <a:moveTo>
                    <a:pt x="498" y="420"/>
                  </a:moveTo>
                  <a:lnTo>
                    <a:pt x="504" y="426"/>
                  </a:lnTo>
                  <a:lnTo>
                    <a:pt x="510" y="432"/>
                  </a:lnTo>
                  <a:lnTo>
                    <a:pt x="516" y="432"/>
                  </a:lnTo>
                  <a:lnTo>
                    <a:pt x="516" y="438"/>
                  </a:lnTo>
                  <a:lnTo>
                    <a:pt x="510" y="438"/>
                  </a:lnTo>
                  <a:lnTo>
                    <a:pt x="504" y="438"/>
                  </a:lnTo>
                  <a:lnTo>
                    <a:pt x="504" y="432"/>
                  </a:lnTo>
                  <a:lnTo>
                    <a:pt x="498" y="432"/>
                  </a:lnTo>
                  <a:lnTo>
                    <a:pt x="498" y="426"/>
                  </a:lnTo>
                  <a:lnTo>
                    <a:pt x="498" y="4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4" name="Freeform 9">
              <a:extLst>
                <a:ext uri="{FF2B5EF4-FFF2-40B4-BE49-F238E27FC236}">
                  <a16:creationId xmlns:a16="http://schemas.microsoft.com/office/drawing/2014/main" id="{E0116D32-BD2E-45EA-B818-A3082585D5F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3055" y="2468650"/>
              <a:ext cx="800556" cy="1207710"/>
            </a:xfrm>
            <a:custGeom>
              <a:avLst/>
              <a:gdLst>
                <a:gd name="T0" fmla="*/ 24 w 1506"/>
                <a:gd name="T1" fmla="*/ 190 h 2274"/>
                <a:gd name="T2" fmla="*/ 25 w 1506"/>
                <a:gd name="T3" fmla="*/ 180 h 2274"/>
                <a:gd name="T4" fmla="*/ 21 w 1506"/>
                <a:gd name="T5" fmla="*/ 174 h 2274"/>
                <a:gd name="T6" fmla="*/ 17 w 1506"/>
                <a:gd name="T7" fmla="*/ 170 h 2274"/>
                <a:gd name="T8" fmla="*/ 12 w 1506"/>
                <a:gd name="T9" fmla="*/ 168 h 2274"/>
                <a:gd name="T10" fmla="*/ 10 w 1506"/>
                <a:gd name="T11" fmla="*/ 173 h 2274"/>
                <a:gd name="T12" fmla="*/ 7 w 1506"/>
                <a:gd name="T13" fmla="*/ 174 h 2274"/>
                <a:gd name="T14" fmla="*/ 0 w 1506"/>
                <a:gd name="T15" fmla="*/ 163 h 2274"/>
                <a:gd name="T16" fmla="*/ 16 w 1506"/>
                <a:gd name="T17" fmla="*/ 140 h 2274"/>
                <a:gd name="T18" fmla="*/ 19 w 1506"/>
                <a:gd name="T19" fmla="*/ 137 h 2274"/>
                <a:gd name="T20" fmla="*/ 24 w 1506"/>
                <a:gd name="T21" fmla="*/ 126 h 2274"/>
                <a:gd name="T22" fmla="*/ 23 w 1506"/>
                <a:gd name="T23" fmla="*/ 105 h 2274"/>
                <a:gd name="T24" fmla="*/ 14 w 1506"/>
                <a:gd name="T25" fmla="*/ 86 h 2274"/>
                <a:gd name="T26" fmla="*/ 8 w 1506"/>
                <a:gd name="T27" fmla="*/ 84 h 2274"/>
                <a:gd name="T28" fmla="*/ 5 w 1506"/>
                <a:gd name="T29" fmla="*/ 79 h 2274"/>
                <a:gd name="T30" fmla="*/ 16 w 1506"/>
                <a:gd name="T31" fmla="*/ 71 h 2274"/>
                <a:gd name="T32" fmla="*/ 28 w 1506"/>
                <a:gd name="T33" fmla="*/ 55 h 2274"/>
                <a:gd name="T34" fmla="*/ 29 w 1506"/>
                <a:gd name="T35" fmla="*/ 48 h 2274"/>
                <a:gd name="T36" fmla="*/ 35 w 1506"/>
                <a:gd name="T37" fmla="*/ 50 h 2274"/>
                <a:gd name="T38" fmla="*/ 42 w 1506"/>
                <a:gd name="T39" fmla="*/ 47 h 2274"/>
                <a:gd name="T40" fmla="*/ 63 w 1506"/>
                <a:gd name="T41" fmla="*/ 34 h 2274"/>
                <a:gd name="T42" fmla="*/ 74 w 1506"/>
                <a:gd name="T43" fmla="*/ 27 h 2274"/>
                <a:gd name="T44" fmla="*/ 81 w 1506"/>
                <a:gd name="T45" fmla="*/ 20 h 2274"/>
                <a:gd name="T46" fmla="*/ 89 w 1506"/>
                <a:gd name="T47" fmla="*/ 20 h 2274"/>
                <a:gd name="T48" fmla="*/ 98 w 1506"/>
                <a:gd name="T49" fmla="*/ 27 h 2274"/>
                <a:gd name="T50" fmla="*/ 106 w 1506"/>
                <a:gd name="T51" fmla="*/ 17 h 2274"/>
                <a:gd name="T52" fmla="*/ 111 w 1506"/>
                <a:gd name="T53" fmla="*/ 8 h 2274"/>
                <a:gd name="T54" fmla="*/ 121 w 1506"/>
                <a:gd name="T55" fmla="*/ 2 h 2274"/>
                <a:gd name="T56" fmla="*/ 129 w 1506"/>
                <a:gd name="T57" fmla="*/ 5 h 2274"/>
                <a:gd name="T58" fmla="*/ 125 w 1506"/>
                <a:gd name="T59" fmla="*/ 12 h 2274"/>
                <a:gd name="T60" fmla="*/ 122 w 1506"/>
                <a:gd name="T61" fmla="*/ 20 h 2274"/>
                <a:gd name="T62" fmla="*/ 122 w 1506"/>
                <a:gd name="T63" fmla="*/ 27 h 2274"/>
                <a:gd name="T64" fmla="*/ 120 w 1506"/>
                <a:gd name="T65" fmla="*/ 36 h 2274"/>
                <a:gd name="T66" fmla="*/ 116 w 1506"/>
                <a:gd name="T67" fmla="*/ 43 h 2274"/>
                <a:gd name="T68" fmla="*/ 109 w 1506"/>
                <a:gd name="T69" fmla="*/ 47 h 2274"/>
                <a:gd name="T70" fmla="*/ 108 w 1506"/>
                <a:gd name="T71" fmla="*/ 54 h 2274"/>
                <a:gd name="T72" fmla="*/ 106 w 1506"/>
                <a:gd name="T73" fmla="*/ 59 h 2274"/>
                <a:gd name="T74" fmla="*/ 109 w 1506"/>
                <a:gd name="T75" fmla="*/ 64 h 2274"/>
                <a:gd name="T76" fmla="*/ 106 w 1506"/>
                <a:gd name="T77" fmla="*/ 70 h 2274"/>
                <a:gd name="T78" fmla="*/ 105 w 1506"/>
                <a:gd name="T79" fmla="*/ 75 h 2274"/>
                <a:gd name="T80" fmla="*/ 101 w 1506"/>
                <a:gd name="T81" fmla="*/ 78 h 2274"/>
                <a:gd name="T82" fmla="*/ 92 w 1506"/>
                <a:gd name="T83" fmla="*/ 81 h 2274"/>
                <a:gd name="T84" fmla="*/ 85 w 1506"/>
                <a:gd name="T85" fmla="*/ 85 h 2274"/>
                <a:gd name="T86" fmla="*/ 87 w 1506"/>
                <a:gd name="T87" fmla="*/ 91 h 2274"/>
                <a:gd name="T88" fmla="*/ 86 w 1506"/>
                <a:gd name="T89" fmla="*/ 98 h 2274"/>
                <a:gd name="T90" fmla="*/ 86 w 1506"/>
                <a:gd name="T91" fmla="*/ 103 h 2274"/>
                <a:gd name="T92" fmla="*/ 82 w 1506"/>
                <a:gd name="T93" fmla="*/ 111 h 2274"/>
                <a:gd name="T94" fmla="*/ 81 w 1506"/>
                <a:gd name="T95" fmla="*/ 116 h 2274"/>
                <a:gd name="T96" fmla="*/ 78 w 1506"/>
                <a:gd name="T97" fmla="*/ 120 h 2274"/>
                <a:gd name="T98" fmla="*/ 76 w 1506"/>
                <a:gd name="T99" fmla="*/ 126 h 2274"/>
                <a:gd name="T100" fmla="*/ 68 w 1506"/>
                <a:gd name="T101" fmla="*/ 129 h 2274"/>
                <a:gd name="T102" fmla="*/ 62 w 1506"/>
                <a:gd name="T103" fmla="*/ 131 h 2274"/>
                <a:gd name="T104" fmla="*/ 58 w 1506"/>
                <a:gd name="T105" fmla="*/ 136 h 2274"/>
                <a:gd name="T106" fmla="*/ 51 w 1506"/>
                <a:gd name="T107" fmla="*/ 138 h 2274"/>
                <a:gd name="T108" fmla="*/ 51 w 1506"/>
                <a:gd name="T109" fmla="*/ 147 h 2274"/>
                <a:gd name="T110" fmla="*/ 49 w 1506"/>
                <a:gd name="T111" fmla="*/ 159 h 2274"/>
                <a:gd name="T112" fmla="*/ 48 w 1506"/>
                <a:gd name="T113" fmla="*/ 166 h 2274"/>
                <a:gd name="T114" fmla="*/ 41 w 1506"/>
                <a:gd name="T115" fmla="*/ 174 h 2274"/>
                <a:gd name="T116" fmla="*/ 39 w 1506"/>
                <a:gd name="T117" fmla="*/ 181 h 2274"/>
                <a:gd name="T118" fmla="*/ 37 w 1506"/>
                <a:gd name="T119" fmla="*/ 190 h 2274"/>
                <a:gd name="T120" fmla="*/ 29 w 1506"/>
                <a:gd name="T121" fmla="*/ 198 h 22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06"/>
                <a:gd name="T184" fmla="*/ 0 h 2274"/>
                <a:gd name="T185" fmla="*/ 1506 w 1506"/>
                <a:gd name="T186" fmla="*/ 2274 h 227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06" h="2274">
                  <a:moveTo>
                    <a:pt x="330" y="2274"/>
                  </a:moveTo>
                  <a:lnTo>
                    <a:pt x="318" y="2262"/>
                  </a:lnTo>
                  <a:lnTo>
                    <a:pt x="312" y="2238"/>
                  </a:lnTo>
                  <a:lnTo>
                    <a:pt x="312" y="2232"/>
                  </a:lnTo>
                  <a:lnTo>
                    <a:pt x="294" y="2214"/>
                  </a:lnTo>
                  <a:lnTo>
                    <a:pt x="288" y="2208"/>
                  </a:lnTo>
                  <a:lnTo>
                    <a:pt x="288" y="2202"/>
                  </a:lnTo>
                  <a:lnTo>
                    <a:pt x="276" y="2196"/>
                  </a:lnTo>
                  <a:lnTo>
                    <a:pt x="276" y="2190"/>
                  </a:lnTo>
                  <a:lnTo>
                    <a:pt x="282" y="2190"/>
                  </a:lnTo>
                  <a:lnTo>
                    <a:pt x="282" y="2184"/>
                  </a:lnTo>
                  <a:lnTo>
                    <a:pt x="276" y="2172"/>
                  </a:lnTo>
                  <a:lnTo>
                    <a:pt x="276" y="2166"/>
                  </a:lnTo>
                  <a:lnTo>
                    <a:pt x="282" y="2166"/>
                  </a:lnTo>
                  <a:lnTo>
                    <a:pt x="282" y="2154"/>
                  </a:lnTo>
                  <a:lnTo>
                    <a:pt x="276" y="2136"/>
                  </a:lnTo>
                  <a:lnTo>
                    <a:pt x="276" y="2112"/>
                  </a:lnTo>
                  <a:lnTo>
                    <a:pt x="282" y="2088"/>
                  </a:lnTo>
                  <a:lnTo>
                    <a:pt x="282" y="2082"/>
                  </a:lnTo>
                  <a:lnTo>
                    <a:pt x="282" y="2076"/>
                  </a:lnTo>
                  <a:lnTo>
                    <a:pt x="282" y="2070"/>
                  </a:lnTo>
                  <a:lnTo>
                    <a:pt x="288" y="2070"/>
                  </a:lnTo>
                  <a:lnTo>
                    <a:pt x="288" y="2064"/>
                  </a:lnTo>
                  <a:lnTo>
                    <a:pt x="282" y="2052"/>
                  </a:lnTo>
                  <a:lnTo>
                    <a:pt x="282" y="2046"/>
                  </a:lnTo>
                  <a:lnTo>
                    <a:pt x="276" y="2040"/>
                  </a:lnTo>
                  <a:lnTo>
                    <a:pt x="270" y="2034"/>
                  </a:lnTo>
                  <a:lnTo>
                    <a:pt x="264" y="2022"/>
                  </a:lnTo>
                  <a:lnTo>
                    <a:pt x="258" y="2022"/>
                  </a:lnTo>
                  <a:lnTo>
                    <a:pt x="258" y="2016"/>
                  </a:lnTo>
                  <a:lnTo>
                    <a:pt x="252" y="2016"/>
                  </a:lnTo>
                  <a:lnTo>
                    <a:pt x="246" y="2016"/>
                  </a:lnTo>
                  <a:lnTo>
                    <a:pt x="240" y="2010"/>
                  </a:lnTo>
                  <a:lnTo>
                    <a:pt x="234" y="2004"/>
                  </a:lnTo>
                  <a:lnTo>
                    <a:pt x="228" y="2004"/>
                  </a:lnTo>
                  <a:lnTo>
                    <a:pt x="228" y="1998"/>
                  </a:lnTo>
                  <a:lnTo>
                    <a:pt x="228" y="1992"/>
                  </a:lnTo>
                  <a:lnTo>
                    <a:pt x="222" y="1992"/>
                  </a:lnTo>
                  <a:lnTo>
                    <a:pt x="222" y="1986"/>
                  </a:lnTo>
                  <a:lnTo>
                    <a:pt x="216" y="1986"/>
                  </a:lnTo>
                  <a:lnTo>
                    <a:pt x="210" y="1980"/>
                  </a:lnTo>
                  <a:lnTo>
                    <a:pt x="216" y="1974"/>
                  </a:lnTo>
                  <a:lnTo>
                    <a:pt x="210" y="1968"/>
                  </a:lnTo>
                  <a:lnTo>
                    <a:pt x="198" y="1956"/>
                  </a:lnTo>
                  <a:lnTo>
                    <a:pt x="192" y="1956"/>
                  </a:lnTo>
                  <a:lnTo>
                    <a:pt x="186" y="1956"/>
                  </a:lnTo>
                  <a:lnTo>
                    <a:pt x="180" y="1944"/>
                  </a:lnTo>
                  <a:lnTo>
                    <a:pt x="180" y="1938"/>
                  </a:lnTo>
                  <a:lnTo>
                    <a:pt x="174" y="1932"/>
                  </a:lnTo>
                  <a:lnTo>
                    <a:pt x="168" y="1932"/>
                  </a:lnTo>
                  <a:lnTo>
                    <a:pt x="162" y="1932"/>
                  </a:lnTo>
                  <a:lnTo>
                    <a:pt x="150" y="1932"/>
                  </a:lnTo>
                  <a:lnTo>
                    <a:pt x="150" y="1926"/>
                  </a:lnTo>
                  <a:lnTo>
                    <a:pt x="150" y="1932"/>
                  </a:lnTo>
                  <a:lnTo>
                    <a:pt x="144" y="1932"/>
                  </a:lnTo>
                  <a:lnTo>
                    <a:pt x="138" y="1932"/>
                  </a:lnTo>
                  <a:lnTo>
                    <a:pt x="132" y="1932"/>
                  </a:lnTo>
                  <a:lnTo>
                    <a:pt x="132" y="1938"/>
                  </a:lnTo>
                  <a:lnTo>
                    <a:pt x="126" y="1944"/>
                  </a:lnTo>
                  <a:lnTo>
                    <a:pt x="126" y="1956"/>
                  </a:lnTo>
                  <a:lnTo>
                    <a:pt x="120" y="1968"/>
                  </a:lnTo>
                  <a:lnTo>
                    <a:pt x="120" y="1974"/>
                  </a:lnTo>
                  <a:lnTo>
                    <a:pt x="120" y="1980"/>
                  </a:lnTo>
                  <a:lnTo>
                    <a:pt x="126" y="1980"/>
                  </a:lnTo>
                  <a:lnTo>
                    <a:pt x="120" y="1986"/>
                  </a:lnTo>
                  <a:lnTo>
                    <a:pt x="120" y="1992"/>
                  </a:lnTo>
                  <a:lnTo>
                    <a:pt x="114" y="1992"/>
                  </a:lnTo>
                  <a:lnTo>
                    <a:pt x="114" y="1986"/>
                  </a:lnTo>
                  <a:lnTo>
                    <a:pt x="108" y="1992"/>
                  </a:lnTo>
                  <a:lnTo>
                    <a:pt x="108" y="1998"/>
                  </a:lnTo>
                  <a:lnTo>
                    <a:pt x="114" y="2004"/>
                  </a:lnTo>
                  <a:lnTo>
                    <a:pt x="108" y="2004"/>
                  </a:lnTo>
                  <a:lnTo>
                    <a:pt x="102" y="2010"/>
                  </a:lnTo>
                  <a:lnTo>
                    <a:pt x="102" y="2004"/>
                  </a:lnTo>
                  <a:lnTo>
                    <a:pt x="90" y="2004"/>
                  </a:lnTo>
                  <a:lnTo>
                    <a:pt x="84" y="2004"/>
                  </a:lnTo>
                  <a:lnTo>
                    <a:pt x="78" y="1998"/>
                  </a:lnTo>
                  <a:lnTo>
                    <a:pt x="78" y="1992"/>
                  </a:lnTo>
                  <a:lnTo>
                    <a:pt x="78" y="1986"/>
                  </a:lnTo>
                  <a:lnTo>
                    <a:pt x="72" y="1986"/>
                  </a:lnTo>
                  <a:lnTo>
                    <a:pt x="66" y="1980"/>
                  </a:lnTo>
                  <a:lnTo>
                    <a:pt x="66" y="1968"/>
                  </a:lnTo>
                  <a:lnTo>
                    <a:pt x="60" y="1956"/>
                  </a:lnTo>
                  <a:lnTo>
                    <a:pt x="60" y="1950"/>
                  </a:lnTo>
                  <a:lnTo>
                    <a:pt x="48" y="1944"/>
                  </a:lnTo>
                  <a:lnTo>
                    <a:pt x="30" y="1926"/>
                  </a:lnTo>
                  <a:lnTo>
                    <a:pt x="12" y="1890"/>
                  </a:lnTo>
                  <a:lnTo>
                    <a:pt x="6" y="1872"/>
                  </a:lnTo>
                  <a:lnTo>
                    <a:pt x="0" y="1854"/>
                  </a:lnTo>
                  <a:lnTo>
                    <a:pt x="6" y="1824"/>
                  </a:lnTo>
                  <a:lnTo>
                    <a:pt x="30" y="1794"/>
                  </a:lnTo>
                  <a:lnTo>
                    <a:pt x="66" y="1752"/>
                  </a:lnTo>
                  <a:lnTo>
                    <a:pt x="72" y="1752"/>
                  </a:lnTo>
                  <a:lnTo>
                    <a:pt x="78" y="1746"/>
                  </a:lnTo>
                  <a:lnTo>
                    <a:pt x="84" y="1746"/>
                  </a:lnTo>
                  <a:lnTo>
                    <a:pt x="90" y="1746"/>
                  </a:lnTo>
                  <a:lnTo>
                    <a:pt x="138" y="1674"/>
                  </a:lnTo>
                  <a:lnTo>
                    <a:pt x="186" y="1620"/>
                  </a:lnTo>
                  <a:lnTo>
                    <a:pt x="186" y="1614"/>
                  </a:lnTo>
                  <a:lnTo>
                    <a:pt x="186" y="1608"/>
                  </a:lnTo>
                  <a:lnTo>
                    <a:pt x="192" y="1608"/>
                  </a:lnTo>
                  <a:lnTo>
                    <a:pt x="192" y="1614"/>
                  </a:lnTo>
                  <a:lnTo>
                    <a:pt x="198" y="1614"/>
                  </a:lnTo>
                  <a:lnTo>
                    <a:pt x="198" y="1608"/>
                  </a:lnTo>
                  <a:lnTo>
                    <a:pt x="198" y="1602"/>
                  </a:lnTo>
                  <a:lnTo>
                    <a:pt x="204" y="1602"/>
                  </a:lnTo>
                  <a:lnTo>
                    <a:pt x="204" y="1596"/>
                  </a:lnTo>
                  <a:lnTo>
                    <a:pt x="210" y="1590"/>
                  </a:lnTo>
                  <a:lnTo>
                    <a:pt x="216" y="1590"/>
                  </a:lnTo>
                  <a:lnTo>
                    <a:pt x="216" y="1584"/>
                  </a:lnTo>
                  <a:lnTo>
                    <a:pt x="222" y="1584"/>
                  </a:lnTo>
                  <a:lnTo>
                    <a:pt x="228" y="1572"/>
                  </a:lnTo>
                  <a:lnTo>
                    <a:pt x="222" y="1572"/>
                  </a:lnTo>
                  <a:lnTo>
                    <a:pt x="228" y="1566"/>
                  </a:lnTo>
                  <a:lnTo>
                    <a:pt x="228" y="1560"/>
                  </a:lnTo>
                  <a:lnTo>
                    <a:pt x="252" y="1548"/>
                  </a:lnTo>
                  <a:lnTo>
                    <a:pt x="276" y="1530"/>
                  </a:lnTo>
                  <a:lnTo>
                    <a:pt x="282" y="1512"/>
                  </a:lnTo>
                  <a:lnTo>
                    <a:pt x="282" y="1506"/>
                  </a:lnTo>
                  <a:lnTo>
                    <a:pt x="282" y="1494"/>
                  </a:lnTo>
                  <a:lnTo>
                    <a:pt x="282" y="1452"/>
                  </a:lnTo>
                  <a:lnTo>
                    <a:pt x="288" y="1440"/>
                  </a:lnTo>
                  <a:lnTo>
                    <a:pt x="294" y="1440"/>
                  </a:lnTo>
                  <a:lnTo>
                    <a:pt x="294" y="1428"/>
                  </a:lnTo>
                  <a:lnTo>
                    <a:pt x="324" y="1368"/>
                  </a:lnTo>
                  <a:lnTo>
                    <a:pt x="330" y="1362"/>
                  </a:lnTo>
                  <a:lnTo>
                    <a:pt x="330" y="1356"/>
                  </a:lnTo>
                  <a:lnTo>
                    <a:pt x="360" y="1338"/>
                  </a:lnTo>
                  <a:lnTo>
                    <a:pt x="366" y="1296"/>
                  </a:lnTo>
                  <a:lnTo>
                    <a:pt x="354" y="1278"/>
                  </a:lnTo>
                  <a:lnTo>
                    <a:pt x="336" y="1230"/>
                  </a:lnTo>
                  <a:lnTo>
                    <a:pt x="270" y="1212"/>
                  </a:lnTo>
                  <a:lnTo>
                    <a:pt x="264" y="1212"/>
                  </a:lnTo>
                  <a:lnTo>
                    <a:pt x="252" y="1200"/>
                  </a:lnTo>
                  <a:lnTo>
                    <a:pt x="234" y="1188"/>
                  </a:lnTo>
                  <a:lnTo>
                    <a:pt x="222" y="1182"/>
                  </a:lnTo>
                  <a:lnTo>
                    <a:pt x="228" y="1104"/>
                  </a:lnTo>
                  <a:lnTo>
                    <a:pt x="228" y="1098"/>
                  </a:lnTo>
                  <a:lnTo>
                    <a:pt x="198" y="1038"/>
                  </a:lnTo>
                  <a:lnTo>
                    <a:pt x="192" y="1032"/>
                  </a:lnTo>
                  <a:lnTo>
                    <a:pt x="180" y="1020"/>
                  </a:lnTo>
                  <a:lnTo>
                    <a:pt x="168" y="996"/>
                  </a:lnTo>
                  <a:lnTo>
                    <a:pt x="162" y="990"/>
                  </a:lnTo>
                  <a:lnTo>
                    <a:pt x="156" y="990"/>
                  </a:lnTo>
                  <a:lnTo>
                    <a:pt x="150" y="990"/>
                  </a:lnTo>
                  <a:lnTo>
                    <a:pt x="132" y="990"/>
                  </a:lnTo>
                  <a:lnTo>
                    <a:pt x="120" y="984"/>
                  </a:lnTo>
                  <a:lnTo>
                    <a:pt x="120" y="990"/>
                  </a:lnTo>
                  <a:lnTo>
                    <a:pt x="114" y="990"/>
                  </a:lnTo>
                  <a:lnTo>
                    <a:pt x="102" y="984"/>
                  </a:lnTo>
                  <a:lnTo>
                    <a:pt x="96" y="984"/>
                  </a:lnTo>
                  <a:lnTo>
                    <a:pt x="96" y="978"/>
                  </a:lnTo>
                  <a:lnTo>
                    <a:pt x="90" y="978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84" y="960"/>
                  </a:lnTo>
                  <a:lnTo>
                    <a:pt x="84" y="954"/>
                  </a:lnTo>
                  <a:lnTo>
                    <a:pt x="78" y="948"/>
                  </a:lnTo>
                  <a:lnTo>
                    <a:pt x="72" y="948"/>
                  </a:lnTo>
                  <a:lnTo>
                    <a:pt x="72" y="942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06"/>
                  </a:lnTo>
                  <a:lnTo>
                    <a:pt x="60" y="888"/>
                  </a:lnTo>
                  <a:lnTo>
                    <a:pt x="54" y="882"/>
                  </a:lnTo>
                  <a:lnTo>
                    <a:pt x="60" y="882"/>
                  </a:lnTo>
                  <a:lnTo>
                    <a:pt x="72" y="876"/>
                  </a:lnTo>
                  <a:lnTo>
                    <a:pt x="78" y="876"/>
                  </a:lnTo>
                  <a:lnTo>
                    <a:pt x="90" y="870"/>
                  </a:lnTo>
                  <a:lnTo>
                    <a:pt x="90" y="864"/>
                  </a:lnTo>
                  <a:lnTo>
                    <a:pt x="96" y="840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80" y="822"/>
                  </a:lnTo>
                  <a:lnTo>
                    <a:pt x="204" y="798"/>
                  </a:lnTo>
                  <a:lnTo>
                    <a:pt x="222" y="786"/>
                  </a:lnTo>
                  <a:lnTo>
                    <a:pt x="252" y="780"/>
                  </a:lnTo>
                  <a:lnTo>
                    <a:pt x="264" y="762"/>
                  </a:lnTo>
                  <a:lnTo>
                    <a:pt x="276" y="762"/>
                  </a:lnTo>
                  <a:lnTo>
                    <a:pt x="288" y="744"/>
                  </a:lnTo>
                  <a:lnTo>
                    <a:pt x="306" y="738"/>
                  </a:lnTo>
                  <a:lnTo>
                    <a:pt x="318" y="732"/>
                  </a:lnTo>
                  <a:lnTo>
                    <a:pt x="324" y="648"/>
                  </a:lnTo>
                  <a:lnTo>
                    <a:pt x="324" y="636"/>
                  </a:lnTo>
                  <a:lnTo>
                    <a:pt x="324" y="630"/>
                  </a:lnTo>
                  <a:lnTo>
                    <a:pt x="330" y="624"/>
                  </a:lnTo>
                  <a:lnTo>
                    <a:pt x="324" y="618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24" y="588"/>
                  </a:lnTo>
                  <a:lnTo>
                    <a:pt x="318" y="576"/>
                  </a:lnTo>
                  <a:lnTo>
                    <a:pt x="318" y="570"/>
                  </a:lnTo>
                  <a:lnTo>
                    <a:pt x="324" y="570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30" y="558"/>
                  </a:lnTo>
                  <a:lnTo>
                    <a:pt x="336" y="558"/>
                  </a:lnTo>
                  <a:lnTo>
                    <a:pt x="342" y="558"/>
                  </a:lnTo>
                  <a:lnTo>
                    <a:pt x="348" y="558"/>
                  </a:lnTo>
                  <a:lnTo>
                    <a:pt x="354" y="564"/>
                  </a:lnTo>
                  <a:lnTo>
                    <a:pt x="360" y="564"/>
                  </a:lnTo>
                  <a:lnTo>
                    <a:pt x="366" y="570"/>
                  </a:lnTo>
                  <a:lnTo>
                    <a:pt x="366" y="576"/>
                  </a:lnTo>
                  <a:lnTo>
                    <a:pt x="372" y="570"/>
                  </a:lnTo>
                  <a:lnTo>
                    <a:pt x="378" y="570"/>
                  </a:lnTo>
                  <a:lnTo>
                    <a:pt x="390" y="570"/>
                  </a:lnTo>
                  <a:lnTo>
                    <a:pt x="402" y="570"/>
                  </a:lnTo>
                  <a:lnTo>
                    <a:pt x="408" y="570"/>
                  </a:lnTo>
                  <a:lnTo>
                    <a:pt x="414" y="564"/>
                  </a:lnTo>
                  <a:lnTo>
                    <a:pt x="420" y="564"/>
                  </a:lnTo>
                  <a:lnTo>
                    <a:pt x="420" y="570"/>
                  </a:lnTo>
                  <a:lnTo>
                    <a:pt x="426" y="570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44" y="570"/>
                  </a:lnTo>
                  <a:lnTo>
                    <a:pt x="450" y="564"/>
                  </a:lnTo>
                  <a:lnTo>
                    <a:pt x="474" y="558"/>
                  </a:lnTo>
                  <a:lnTo>
                    <a:pt x="486" y="54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40" y="474"/>
                  </a:lnTo>
                  <a:lnTo>
                    <a:pt x="558" y="456"/>
                  </a:lnTo>
                  <a:lnTo>
                    <a:pt x="582" y="450"/>
                  </a:lnTo>
                  <a:lnTo>
                    <a:pt x="594" y="414"/>
                  </a:lnTo>
                  <a:lnTo>
                    <a:pt x="612" y="390"/>
                  </a:lnTo>
                  <a:lnTo>
                    <a:pt x="636" y="390"/>
                  </a:lnTo>
                  <a:lnTo>
                    <a:pt x="666" y="390"/>
                  </a:lnTo>
                  <a:lnTo>
                    <a:pt x="696" y="390"/>
                  </a:lnTo>
                  <a:lnTo>
                    <a:pt x="726" y="390"/>
                  </a:lnTo>
                  <a:lnTo>
                    <a:pt x="762" y="378"/>
                  </a:lnTo>
                  <a:lnTo>
                    <a:pt x="780" y="366"/>
                  </a:lnTo>
                  <a:lnTo>
                    <a:pt x="780" y="342"/>
                  </a:lnTo>
                  <a:lnTo>
                    <a:pt x="786" y="342"/>
                  </a:lnTo>
                  <a:lnTo>
                    <a:pt x="786" y="336"/>
                  </a:lnTo>
                  <a:lnTo>
                    <a:pt x="786" y="330"/>
                  </a:lnTo>
                  <a:lnTo>
                    <a:pt x="786" y="324"/>
                  </a:lnTo>
                  <a:lnTo>
                    <a:pt x="816" y="318"/>
                  </a:lnTo>
                  <a:lnTo>
                    <a:pt x="834" y="312"/>
                  </a:lnTo>
                  <a:lnTo>
                    <a:pt x="840" y="318"/>
                  </a:lnTo>
                  <a:lnTo>
                    <a:pt x="852" y="318"/>
                  </a:lnTo>
                  <a:lnTo>
                    <a:pt x="858" y="306"/>
                  </a:lnTo>
                  <a:lnTo>
                    <a:pt x="864" y="288"/>
                  </a:lnTo>
                  <a:lnTo>
                    <a:pt x="870" y="282"/>
                  </a:lnTo>
                  <a:lnTo>
                    <a:pt x="876" y="276"/>
                  </a:lnTo>
                  <a:lnTo>
                    <a:pt x="882" y="264"/>
                  </a:lnTo>
                  <a:lnTo>
                    <a:pt x="882" y="258"/>
                  </a:lnTo>
                  <a:lnTo>
                    <a:pt x="888" y="252"/>
                  </a:lnTo>
                  <a:lnTo>
                    <a:pt x="894" y="240"/>
                  </a:lnTo>
                  <a:lnTo>
                    <a:pt x="906" y="228"/>
                  </a:lnTo>
                  <a:lnTo>
                    <a:pt x="912" y="228"/>
                  </a:lnTo>
                  <a:lnTo>
                    <a:pt x="936" y="228"/>
                  </a:lnTo>
                  <a:lnTo>
                    <a:pt x="942" y="222"/>
                  </a:lnTo>
                  <a:lnTo>
                    <a:pt x="948" y="216"/>
                  </a:lnTo>
                  <a:lnTo>
                    <a:pt x="954" y="216"/>
                  </a:lnTo>
                  <a:lnTo>
                    <a:pt x="960" y="216"/>
                  </a:lnTo>
                  <a:lnTo>
                    <a:pt x="966" y="216"/>
                  </a:lnTo>
                  <a:lnTo>
                    <a:pt x="978" y="216"/>
                  </a:lnTo>
                  <a:lnTo>
                    <a:pt x="990" y="222"/>
                  </a:lnTo>
                  <a:lnTo>
                    <a:pt x="996" y="222"/>
                  </a:lnTo>
                  <a:lnTo>
                    <a:pt x="1002" y="228"/>
                  </a:lnTo>
                  <a:lnTo>
                    <a:pt x="1014" y="234"/>
                  </a:lnTo>
                  <a:lnTo>
                    <a:pt x="1020" y="234"/>
                  </a:lnTo>
                  <a:lnTo>
                    <a:pt x="1032" y="240"/>
                  </a:lnTo>
                  <a:lnTo>
                    <a:pt x="1044" y="240"/>
                  </a:lnTo>
                  <a:lnTo>
                    <a:pt x="1050" y="240"/>
                  </a:lnTo>
                  <a:lnTo>
                    <a:pt x="1056" y="246"/>
                  </a:lnTo>
                  <a:lnTo>
                    <a:pt x="1068" y="264"/>
                  </a:lnTo>
                  <a:lnTo>
                    <a:pt x="1086" y="276"/>
                  </a:lnTo>
                  <a:lnTo>
                    <a:pt x="1092" y="276"/>
                  </a:lnTo>
                  <a:lnTo>
                    <a:pt x="1104" y="282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8" y="312"/>
                  </a:lnTo>
                  <a:lnTo>
                    <a:pt x="1152" y="324"/>
                  </a:lnTo>
                  <a:lnTo>
                    <a:pt x="1188" y="324"/>
                  </a:lnTo>
                  <a:lnTo>
                    <a:pt x="1206" y="318"/>
                  </a:lnTo>
                  <a:lnTo>
                    <a:pt x="1200" y="294"/>
                  </a:lnTo>
                  <a:lnTo>
                    <a:pt x="1206" y="252"/>
                  </a:lnTo>
                  <a:lnTo>
                    <a:pt x="1218" y="222"/>
                  </a:lnTo>
                  <a:lnTo>
                    <a:pt x="1212" y="222"/>
                  </a:lnTo>
                  <a:lnTo>
                    <a:pt x="1212" y="216"/>
                  </a:lnTo>
                  <a:lnTo>
                    <a:pt x="1218" y="204"/>
                  </a:lnTo>
                  <a:lnTo>
                    <a:pt x="1224" y="198"/>
                  </a:lnTo>
                  <a:lnTo>
                    <a:pt x="1224" y="192"/>
                  </a:lnTo>
                  <a:lnTo>
                    <a:pt x="1236" y="180"/>
                  </a:lnTo>
                  <a:lnTo>
                    <a:pt x="1254" y="156"/>
                  </a:lnTo>
                  <a:lnTo>
                    <a:pt x="1260" y="150"/>
                  </a:lnTo>
                  <a:lnTo>
                    <a:pt x="1260" y="144"/>
                  </a:lnTo>
                  <a:lnTo>
                    <a:pt x="1266" y="138"/>
                  </a:lnTo>
                  <a:lnTo>
                    <a:pt x="1272" y="138"/>
                  </a:lnTo>
                  <a:lnTo>
                    <a:pt x="1272" y="120"/>
                  </a:lnTo>
                  <a:lnTo>
                    <a:pt x="1278" y="114"/>
                  </a:lnTo>
                  <a:lnTo>
                    <a:pt x="1278" y="108"/>
                  </a:lnTo>
                  <a:lnTo>
                    <a:pt x="1278" y="102"/>
                  </a:lnTo>
                  <a:lnTo>
                    <a:pt x="1278" y="90"/>
                  </a:lnTo>
                  <a:lnTo>
                    <a:pt x="1278" y="84"/>
                  </a:lnTo>
                  <a:lnTo>
                    <a:pt x="1278" y="78"/>
                  </a:lnTo>
                  <a:lnTo>
                    <a:pt x="1278" y="72"/>
                  </a:lnTo>
                  <a:lnTo>
                    <a:pt x="1278" y="60"/>
                  </a:lnTo>
                  <a:lnTo>
                    <a:pt x="1284" y="48"/>
                  </a:lnTo>
                  <a:lnTo>
                    <a:pt x="1284" y="24"/>
                  </a:lnTo>
                  <a:lnTo>
                    <a:pt x="1284" y="18"/>
                  </a:lnTo>
                  <a:lnTo>
                    <a:pt x="1308" y="24"/>
                  </a:lnTo>
                  <a:lnTo>
                    <a:pt x="1332" y="30"/>
                  </a:lnTo>
                  <a:lnTo>
                    <a:pt x="1368" y="30"/>
                  </a:lnTo>
                  <a:lnTo>
                    <a:pt x="1392" y="24"/>
                  </a:lnTo>
                  <a:lnTo>
                    <a:pt x="1410" y="18"/>
                  </a:lnTo>
                  <a:lnTo>
                    <a:pt x="1416" y="6"/>
                  </a:lnTo>
                  <a:lnTo>
                    <a:pt x="1500" y="6"/>
                  </a:lnTo>
                  <a:lnTo>
                    <a:pt x="1506" y="0"/>
                  </a:lnTo>
                  <a:lnTo>
                    <a:pt x="1506" y="6"/>
                  </a:lnTo>
                  <a:lnTo>
                    <a:pt x="1506" y="18"/>
                  </a:lnTo>
                  <a:lnTo>
                    <a:pt x="1506" y="24"/>
                  </a:lnTo>
                  <a:lnTo>
                    <a:pt x="1500" y="30"/>
                  </a:lnTo>
                  <a:lnTo>
                    <a:pt x="1500" y="42"/>
                  </a:lnTo>
                  <a:lnTo>
                    <a:pt x="1494" y="54"/>
                  </a:lnTo>
                  <a:lnTo>
                    <a:pt x="1488" y="60"/>
                  </a:lnTo>
                  <a:lnTo>
                    <a:pt x="1482" y="60"/>
                  </a:lnTo>
                  <a:lnTo>
                    <a:pt x="1476" y="66"/>
                  </a:lnTo>
                  <a:lnTo>
                    <a:pt x="1476" y="72"/>
                  </a:lnTo>
                  <a:lnTo>
                    <a:pt x="1476" y="78"/>
                  </a:lnTo>
                  <a:lnTo>
                    <a:pt x="1470" y="78"/>
                  </a:lnTo>
                  <a:lnTo>
                    <a:pt x="1464" y="90"/>
                  </a:lnTo>
                  <a:lnTo>
                    <a:pt x="1458" y="96"/>
                  </a:lnTo>
                  <a:lnTo>
                    <a:pt x="1458" y="102"/>
                  </a:lnTo>
                  <a:lnTo>
                    <a:pt x="1452" y="120"/>
                  </a:lnTo>
                  <a:lnTo>
                    <a:pt x="1452" y="132"/>
                  </a:lnTo>
                  <a:lnTo>
                    <a:pt x="1446" y="144"/>
                  </a:lnTo>
                  <a:lnTo>
                    <a:pt x="1446" y="150"/>
                  </a:lnTo>
                  <a:lnTo>
                    <a:pt x="1440" y="150"/>
                  </a:lnTo>
                  <a:lnTo>
                    <a:pt x="1434" y="156"/>
                  </a:lnTo>
                  <a:lnTo>
                    <a:pt x="1428" y="168"/>
                  </a:lnTo>
                  <a:lnTo>
                    <a:pt x="1422" y="168"/>
                  </a:lnTo>
                  <a:lnTo>
                    <a:pt x="1416" y="174"/>
                  </a:lnTo>
                  <a:lnTo>
                    <a:pt x="1410" y="186"/>
                  </a:lnTo>
                  <a:lnTo>
                    <a:pt x="1410" y="204"/>
                  </a:lnTo>
                  <a:lnTo>
                    <a:pt x="1404" y="210"/>
                  </a:lnTo>
                  <a:lnTo>
                    <a:pt x="1404" y="216"/>
                  </a:lnTo>
                  <a:lnTo>
                    <a:pt x="1410" y="228"/>
                  </a:lnTo>
                  <a:lnTo>
                    <a:pt x="1410" y="234"/>
                  </a:lnTo>
                  <a:lnTo>
                    <a:pt x="1410" y="240"/>
                  </a:lnTo>
                  <a:lnTo>
                    <a:pt x="1416" y="252"/>
                  </a:lnTo>
                  <a:lnTo>
                    <a:pt x="1416" y="258"/>
                  </a:lnTo>
                  <a:lnTo>
                    <a:pt x="1422" y="264"/>
                  </a:lnTo>
                  <a:lnTo>
                    <a:pt x="1422" y="270"/>
                  </a:lnTo>
                  <a:lnTo>
                    <a:pt x="1422" y="282"/>
                  </a:lnTo>
                  <a:lnTo>
                    <a:pt x="1416" y="288"/>
                  </a:lnTo>
                  <a:lnTo>
                    <a:pt x="1410" y="294"/>
                  </a:lnTo>
                  <a:lnTo>
                    <a:pt x="1404" y="300"/>
                  </a:lnTo>
                  <a:lnTo>
                    <a:pt x="1404" y="306"/>
                  </a:lnTo>
                  <a:lnTo>
                    <a:pt x="1398" y="324"/>
                  </a:lnTo>
                  <a:lnTo>
                    <a:pt x="1404" y="330"/>
                  </a:lnTo>
                  <a:lnTo>
                    <a:pt x="1404" y="342"/>
                  </a:lnTo>
                  <a:lnTo>
                    <a:pt x="1392" y="354"/>
                  </a:lnTo>
                  <a:lnTo>
                    <a:pt x="1392" y="360"/>
                  </a:lnTo>
                  <a:lnTo>
                    <a:pt x="1392" y="372"/>
                  </a:lnTo>
                  <a:lnTo>
                    <a:pt x="1392" y="384"/>
                  </a:lnTo>
                  <a:lnTo>
                    <a:pt x="1392" y="396"/>
                  </a:lnTo>
                  <a:lnTo>
                    <a:pt x="1392" y="408"/>
                  </a:lnTo>
                  <a:lnTo>
                    <a:pt x="1386" y="414"/>
                  </a:lnTo>
                  <a:lnTo>
                    <a:pt x="1380" y="420"/>
                  </a:lnTo>
                  <a:lnTo>
                    <a:pt x="1380" y="426"/>
                  </a:lnTo>
                  <a:lnTo>
                    <a:pt x="1368" y="432"/>
                  </a:lnTo>
                  <a:lnTo>
                    <a:pt x="1362" y="444"/>
                  </a:lnTo>
                  <a:lnTo>
                    <a:pt x="1362" y="450"/>
                  </a:lnTo>
                  <a:lnTo>
                    <a:pt x="1362" y="462"/>
                  </a:lnTo>
                  <a:lnTo>
                    <a:pt x="1362" y="468"/>
                  </a:lnTo>
                  <a:lnTo>
                    <a:pt x="1362" y="474"/>
                  </a:lnTo>
                  <a:lnTo>
                    <a:pt x="1356" y="474"/>
                  </a:lnTo>
                  <a:lnTo>
                    <a:pt x="1350" y="480"/>
                  </a:lnTo>
                  <a:lnTo>
                    <a:pt x="1344" y="486"/>
                  </a:lnTo>
                  <a:lnTo>
                    <a:pt x="1338" y="498"/>
                  </a:lnTo>
                  <a:lnTo>
                    <a:pt x="1332" y="510"/>
                  </a:lnTo>
                  <a:lnTo>
                    <a:pt x="1320" y="510"/>
                  </a:lnTo>
                  <a:lnTo>
                    <a:pt x="1314" y="516"/>
                  </a:lnTo>
                  <a:lnTo>
                    <a:pt x="1302" y="522"/>
                  </a:lnTo>
                  <a:lnTo>
                    <a:pt x="1296" y="522"/>
                  </a:lnTo>
                  <a:lnTo>
                    <a:pt x="1284" y="516"/>
                  </a:lnTo>
                  <a:lnTo>
                    <a:pt x="1278" y="516"/>
                  </a:lnTo>
                  <a:lnTo>
                    <a:pt x="1272" y="522"/>
                  </a:lnTo>
                  <a:lnTo>
                    <a:pt x="1266" y="522"/>
                  </a:lnTo>
                  <a:lnTo>
                    <a:pt x="1266" y="528"/>
                  </a:lnTo>
                  <a:lnTo>
                    <a:pt x="1254" y="540"/>
                  </a:lnTo>
                  <a:lnTo>
                    <a:pt x="1248" y="546"/>
                  </a:lnTo>
                  <a:lnTo>
                    <a:pt x="1242" y="558"/>
                  </a:lnTo>
                  <a:lnTo>
                    <a:pt x="1230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30" y="594"/>
                  </a:lnTo>
                  <a:lnTo>
                    <a:pt x="1230" y="600"/>
                  </a:lnTo>
                  <a:lnTo>
                    <a:pt x="1236" y="606"/>
                  </a:lnTo>
                  <a:lnTo>
                    <a:pt x="1242" y="606"/>
                  </a:lnTo>
                  <a:lnTo>
                    <a:pt x="1242" y="612"/>
                  </a:lnTo>
                  <a:lnTo>
                    <a:pt x="1242" y="618"/>
                  </a:lnTo>
                  <a:lnTo>
                    <a:pt x="1242" y="624"/>
                  </a:lnTo>
                  <a:lnTo>
                    <a:pt x="1236" y="630"/>
                  </a:lnTo>
                  <a:lnTo>
                    <a:pt x="1230" y="642"/>
                  </a:lnTo>
                  <a:lnTo>
                    <a:pt x="1230" y="648"/>
                  </a:lnTo>
                  <a:lnTo>
                    <a:pt x="1218" y="654"/>
                  </a:lnTo>
                  <a:lnTo>
                    <a:pt x="1212" y="654"/>
                  </a:lnTo>
                  <a:lnTo>
                    <a:pt x="1212" y="660"/>
                  </a:lnTo>
                  <a:lnTo>
                    <a:pt x="1212" y="666"/>
                  </a:lnTo>
                  <a:lnTo>
                    <a:pt x="1212" y="672"/>
                  </a:lnTo>
                  <a:lnTo>
                    <a:pt x="1212" y="678"/>
                  </a:lnTo>
                  <a:lnTo>
                    <a:pt x="1218" y="684"/>
                  </a:lnTo>
                  <a:lnTo>
                    <a:pt x="1218" y="690"/>
                  </a:lnTo>
                  <a:lnTo>
                    <a:pt x="1224" y="696"/>
                  </a:lnTo>
                  <a:lnTo>
                    <a:pt x="1230" y="702"/>
                  </a:lnTo>
                  <a:lnTo>
                    <a:pt x="1236" y="696"/>
                  </a:lnTo>
                  <a:lnTo>
                    <a:pt x="1242" y="702"/>
                  </a:lnTo>
                  <a:lnTo>
                    <a:pt x="1248" y="708"/>
                  </a:lnTo>
                  <a:lnTo>
                    <a:pt x="1254" y="714"/>
                  </a:lnTo>
                  <a:lnTo>
                    <a:pt x="1254" y="720"/>
                  </a:lnTo>
                  <a:lnTo>
                    <a:pt x="1260" y="720"/>
                  </a:lnTo>
                  <a:lnTo>
                    <a:pt x="1254" y="732"/>
                  </a:lnTo>
                  <a:lnTo>
                    <a:pt x="1248" y="738"/>
                  </a:lnTo>
                  <a:lnTo>
                    <a:pt x="1242" y="744"/>
                  </a:lnTo>
                  <a:lnTo>
                    <a:pt x="1236" y="750"/>
                  </a:lnTo>
                  <a:lnTo>
                    <a:pt x="1236" y="756"/>
                  </a:lnTo>
                  <a:lnTo>
                    <a:pt x="1236" y="762"/>
                  </a:lnTo>
                  <a:lnTo>
                    <a:pt x="1236" y="768"/>
                  </a:lnTo>
                  <a:lnTo>
                    <a:pt x="1236" y="780"/>
                  </a:lnTo>
                  <a:lnTo>
                    <a:pt x="1230" y="780"/>
                  </a:lnTo>
                  <a:lnTo>
                    <a:pt x="1230" y="786"/>
                  </a:lnTo>
                  <a:lnTo>
                    <a:pt x="1230" y="792"/>
                  </a:lnTo>
                  <a:lnTo>
                    <a:pt x="1230" y="804"/>
                  </a:lnTo>
                  <a:lnTo>
                    <a:pt x="1224" y="810"/>
                  </a:lnTo>
                  <a:lnTo>
                    <a:pt x="1218" y="816"/>
                  </a:lnTo>
                  <a:lnTo>
                    <a:pt x="1224" y="822"/>
                  </a:lnTo>
                  <a:lnTo>
                    <a:pt x="1224" y="828"/>
                  </a:lnTo>
                  <a:lnTo>
                    <a:pt x="1218" y="834"/>
                  </a:lnTo>
                  <a:lnTo>
                    <a:pt x="1224" y="834"/>
                  </a:lnTo>
                  <a:lnTo>
                    <a:pt x="1224" y="840"/>
                  </a:lnTo>
                  <a:lnTo>
                    <a:pt x="1224" y="846"/>
                  </a:lnTo>
                  <a:lnTo>
                    <a:pt x="1224" y="852"/>
                  </a:lnTo>
                  <a:lnTo>
                    <a:pt x="1218" y="858"/>
                  </a:lnTo>
                  <a:lnTo>
                    <a:pt x="1218" y="870"/>
                  </a:lnTo>
                  <a:lnTo>
                    <a:pt x="1212" y="870"/>
                  </a:lnTo>
                  <a:lnTo>
                    <a:pt x="1212" y="876"/>
                  </a:lnTo>
                  <a:lnTo>
                    <a:pt x="1206" y="888"/>
                  </a:lnTo>
                  <a:lnTo>
                    <a:pt x="1200" y="882"/>
                  </a:lnTo>
                  <a:lnTo>
                    <a:pt x="1194" y="888"/>
                  </a:lnTo>
                  <a:lnTo>
                    <a:pt x="1188" y="894"/>
                  </a:lnTo>
                  <a:lnTo>
                    <a:pt x="1182" y="894"/>
                  </a:lnTo>
                  <a:lnTo>
                    <a:pt x="1182" y="900"/>
                  </a:lnTo>
                  <a:lnTo>
                    <a:pt x="1176" y="900"/>
                  </a:lnTo>
                  <a:lnTo>
                    <a:pt x="1170" y="894"/>
                  </a:lnTo>
                  <a:lnTo>
                    <a:pt x="1164" y="900"/>
                  </a:lnTo>
                  <a:lnTo>
                    <a:pt x="1158" y="900"/>
                  </a:lnTo>
                  <a:lnTo>
                    <a:pt x="1152" y="900"/>
                  </a:lnTo>
                  <a:lnTo>
                    <a:pt x="1140" y="900"/>
                  </a:lnTo>
                  <a:lnTo>
                    <a:pt x="1134" y="900"/>
                  </a:lnTo>
                  <a:lnTo>
                    <a:pt x="1128" y="906"/>
                  </a:lnTo>
                  <a:lnTo>
                    <a:pt x="1110" y="906"/>
                  </a:lnTo>
                  <a:lnTo>
                    <a:pt x="1104" y="906"/>
                  </a:lnTo>
                  <a:lnTo>
                    <a:pt x="1098" y="906"/>
                  </a:lnTo>
                  <a:lnTo>
                    <a:pt x="1092" y="912"/>
                  </a:lnTo>
                  <a:lnTo>
                    <a:pt x="1080" y="918"/>
                  </a:lnTo>
                  <a:lnTo>
                    <a:pt x="1068" y="930"/>
                  </a:lnTo>
                  <a:lnTo>
                    <a:pt x="1062" y="930"/>
                  </a:lnTo>
                  <a:lnTo>
                    <a:pt x="1056" y="930"/>
                  </a:lnTo>
                  <a:lnTo>
                    <a:pt x="1050" y="930"/>
                  </a:lnTo>
                  <a:lnTo>
                    <a:pt x="1050" y="936"/>
                  </a:lnTo>
                  <a:lnTo>
                    <a:pt x="1038" y="942"/>
                  </a:lnTo>
                  <a:lnTo>
                    <a:pt x="1032" y="948"/>
                  </a:lnTo>
                  <a:lnTo>
                    <a:pt x="1026" y="954"/>
                  </a:lnTo>
                  <a:lnTo>
                    <a:pt x="1020" y="960"/>
                  </a:lnTo>
                  <a:lnTo>
                    <a:pt x="1014" y="966"/>
                  </a:lnTo>
                  <a:lnTo>
                    <a:pt x="1002" y="966"/>
                  </a:lnTo>
                  <a:lnTo>
                    <a:pt x="990" y="978"/>
                  </a:lnTo>
                  <a:lnTo>
                    <a:pt x="984" y="978"/>
                  </a:lnTo>
                  <a:lnTo>
                    <a:pt x="978" y="984"/>
                  </a:lnTo>
                  <a:lnTo>
                    <a:pt x="972" y="984"/>
                  </a:lnTo>
                  <a:lnTo>
                    <a:pt x="978" y="990"/>
                  </a:lnTo>
                  <a:lnTo>
                    <a:pt x="972" y="996"/>
                  </a:lnTo>
                  <a:lnTo>
                    <a:pt x="978" y="1002"/>
                  </a:lnTo>
                  <a:lnTo>
                    <a:pt x="1002" y="1002"/>
                  </a:lnTo>
                  <a:lnTo>
                    <a:pt x="1002" y="1008"/>
                  </a:lnTo>
                  <a:lnTo>
                    <a:pt x="1008" y="1020"/>
                  </a:lnTo>
                  <a:lnTo>
                    <a:pt x="1002" y="1026"/>
                  </a:lnTo>
                  <a:lnTo>
                    <a:pt x="1002" y="1032"/>
                  </a:lnTo>
                  <a:lnTo>
                    <a:pt x="1002" y="1050"/>
                  </a:lnTo>
                  <a:lnTo>
                    <a:pt x="1002" y="1056"/>
                  </a:lnTo>
                  <a:lnTo>
                    <a:pt x="1008" y="1062"/>
                  </a:lnTo>
                  <a:lnTo>
                    <a:pt x="1008" y="1074"/>
                  </a:lnTo>
                  <a:lnTo>
                    <a:pt x="1008" y="1086"/>
                  </a:lnTo>
                  <a:lnTo>
                    <a:pt x="996" y="1092"/>
                  </a:lnTo>
                  <a:lnTo>
                    <a:pt x="996" y="1098"/>
                  </a:lnTo>
                  <a:lnTo>
                    <a:pt x="996" y="1104"/>
                  </a:lnTo>
                  <a:lnTo>
                    <a:pt x="990" y="1110"/>
                  </a:lnTo>
                  <a:lnTo>
                    <a:pt x="990" y="1116"/>
                  </a:lnTo>
                  <a:lnTo>
                    <a:pt x="996" y="1122"/>
                  </a:lnTo>
                  <a:lnTo>
                    <a:pt x="990" y="1128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96" y="1140"/>
                  </a:lnTo>
                  <a:lnTo>
                    <a:pt x="996" y="1146"/>
                  </a:lnTo>
                  <a:lnTo>
                    <a:pt x="996" y="1152"/>
                  </a:lnTo>
                  <a:lnTo>
                    <a:pt x="996" y="1158"/>
                  </a:lnTo>
                  <a:lnTo>
                    <a:pt x="996" y="1164"/>
                  </a:lnTo>
                  <a:lnTo>
                    <a:pt x="996" y="1170"/>
                  </a:lnTo>
                  <a:lnTo>
                    <a:pt x="996" y="1176"/>
                  </a:lnTo>
                  <a:lnTo>
                    <a:pt x="990" y="1182"/>
                  </a:lnTo>
                  <a:lnTo>
                    <a:pt x="990" y="1188"/>
                  </a:lnTo>
                  <a:lnTo>
                    <a:pt x="984" y="1200"/>
                  </a:lnTo>
                  <a:lnTo>
                    <a:pt x="990" y="1206"/>
                  </a:lnTo>
                  <a:lnTo>
                    <a:pt x="990" y="1212"/>
                  </a:lnTo>
                  <a:lnTo>
                    <a:pt x="990" y="1218"/>
                  </a:lnTo>
                  <a:lnTo>
                    <a:pt x="978" y="1230"/>
                  </a:lnTo>
                  <a:lnTo>
                    <a:pt x="972" y="1236"/>
                  </a:lnTo>
                  <a:lnTo>
                    <a:pt x="972" y="1242"/>
                  </a:lnTo>
                  <a:lnTo>
                    <a:pt x="966" y="1248"/>
                  </a:lnTo>
                  <a:lnTo>
                    <a:pt x="960" y="1260"/>
                  </a:lnTo>
                  <a:lnTo>
                    <a:pt x="954" y="1266"/>
                  </a:lnTo>
                  <a:lnTo>
                    <a:pt x="942" y="1278"/>
                  </a:lnTo>
                  <a:lnTo>
                    <a:pt x="936" y="1278"/>
                  </a:lnTo>
                  <a:lnTo>
                    <a:pt x="936" y="1284"/>
                  </a:lnTo>
                  <a:lnTo>
                    <a:pt x="936" y="1296"/>
                  </a:lnTo>
                  <a:lnTo>
                    <a:pt x="936" y="1302"/>
                  </a:lnTo>
                  <a:lnTo>
                    <a:pt x="942" y="1302"/>
                  </a:lnTo>
                  <a:lnTo>
                    <a:pt x="942" y="1308"/>
                  </a:lnTo>
                  <a:lnTo>
                    <a:pt x="936" y="1314"/>
                  </a:lnTo>
                  <a:lnTo>
                    <a:pt x="930" y="1320"/>
                  </a:lnTo>
                  <a:lnTo>
                    <a:pt x="930" y="1326"/>
                  </a:lnTo>
                  <a:lnTo>
                    <a:pt x="930" y="1332"/>
                  </a:lnTo>
                  <a:lnTo>
                    <a:pt x="936" y="1338"/>
                  </a:lnTo>
                  <a:lnTo>
                    <a:pt x="936" y="1344"/>
                  </a:lnTo>
                  <a:lnTo>
                    <a:pt x="942" y="1356"/>
                  </a:lnTo>
                  <a:lnTo>
                    <a:pt x="948" y="1368"/>
                  </a:lnTo>
                  <a:lnTo>
                    <a:pt x="942" y="1380"/>
                  </a:lnTo>
                  <a:lnTo>
                    <a:pt x="936" y="1386"/>
                  </a:lnTo>
                  <a:lnTo>
                    <a:pt x="930" y="1392"/>
                  </a:lnTo>
                  <a:lnTo>
                    <a:pt x="924" y="1392"/>
                  </a:lnTo>
                  <a:lnTo>
                    <a:pt x="918" y="1386"/>
                  </a:lnTo>
                  <a:lnTo>
                    <a:pt x="912" y="1386"/>
                  </a:lnTo>
                  <a:lnTo>
                    <a:pt x="906" y="1386"/>
                  </a:lnTo>
                  <a:lnTo>
                    <a:pt x="900" y="1386"/>
                  </a:lnTo>
                  <a:lnTo>
                    <a:pt x="900" y="1392"/>
                  </a:lnTo>
                  <a:lnTo>
                    <a:pt x="894" y="1392"/>
                  </a:lnTo>
                  <a:lnTo>
                    <a:pt x="888" y="1392"/>
                  </a:lnTo>
                  <a:lnTo>
                    <a:pt x="888" y="1398"/>
                  </a:lnTo>
                  <a:lnTo>
                    <a:pt x="882" y="1404"/>
                  </a:lnTo>
                  <a:lnTo>
                    <a:pt x="882" y="1416"/>
                  </a:lnTo>
                  <a:lnTo>
                    <a:pt x="882" y="1428"/>
                  </a:lnTo>
                  <a:lnTo>
                    <a:pt x="882" y="1434"/>
                  </a:lnTo>
                  <a:lnTo>
                    <a:pt x="870" y="1440"/>
                  </a:lnTo>
                  <a:lnTo>
                    <a:pt x="864" y="1452"/>
                  </a:lnTo>
                  <a:lnTo>
                    <a:pt x="870" y="1452"/>
                  </a:lnTo>
                  <a:lnTo>
                    <a:pt x="864" y="1458"/>
                  </a:lnTo>
                  <a:lnTo>
                    <a:pt x="858" y="1464"/>
                  </a:lnTo>
                  <a:lnTo>
                    <a:pt x="852" y="1464"/>
                  </a:lnTo>
                  <a:lnTo>
                    <a:pt x="846" y="1458"/>
                  </a:lnTo>
                  <a:lnTo>
                    <a:pt x="840" y="1458"/>
                  </a:lnTo>
                  <a:lnTo>
                    <a:pt x="828" y="1470"/>
                  </a:lnTo>
                  <a:lnTo>
                    <a:pt x="810" y="1482"/>
                  </a:lnTo>
                  <a:lnTo>
                    <a:pt x="804" y="1488"/>
                  </a:lnTo>
                  <a:lnTo>
                    <a:pt x="798" y="1488"/>
                  </a:lnTo>
                  <a:lnTo>
                    <a:pt x="792" y="1488"/>
                  </a:lnTo>
                  <a:lnTo>
                    <a:pt x="786" y="1488"/>
                  </a:lnTo>
                  <a:lnTo>
                    <a:pt x="768" y="1482"/>
                  </a:lnTo>
                  <a:lnTo>
                    <a:pt x="762" y="1476"/>
                  </a:lnTo>
                  <a:lnTo>
                    <a:pt x="744" y="1476"/>
                  </a:lnTo>
                  <a:lnTo>
                    <a:pt x="738" y="1476"/>
                  </a:lnTo>
                  <a:lnTo>
                    <a:pt x="732" y="1476"/>
                  </a:lnTo>
                  <a:lnTo>
                    <a:pt x="726" y="1482"/>
                  </a:lnTo>
                  <a:lnTo>
                    <a:pt x="726" y="1488"/>
                  </a:lnTo>
                  <a:lnTo>
                    <a:pt x="726" y="1494"/>
                  </a:lnTo>
                  <a:lnTo>
                    <a:pt x="726" y="1500"/>
                  </a:lnTo>
                  <a:lnTo>
                    <a:pt x="720" y="1500"/>
                  </a:lnTo>
                  <a:lnTo>
                    <a:pt x="720" y="1506"/>
                  </a:lnTo>
                  <a:lnTo>
                    <a:pt x="714" y="1512"/>
                  </a:lnTo>
                  <a:lnTo>
                    <a:pt x="714" y="1518"/>
                  </a:lnTo>
                  <a:lnTo>
                    <a:pt x="708" y="1518"/>
                  </a:lnTo>
                  <a:lnTo>
                    <a:pt x="708" y="1530"/>
                  </a:lnTo>
                  <a:lnTo>
                    <a:pt x="708" y="1536"/>
                  </a:lnTo>
                  <a:lnTo>
                    <a:pt x="708" y="1542"/>
                  </a:lnTo>
                  <a:lnTo>
                    <a:pt x="696" y="1554"/>
                  </a:lnTo>
                  <a:lnTo>
                    <a:pt x="690" y="1560"/>
                  </a:lnTo>
                  <a:lnTo>
                    <a:pt x="684" y="1566"/>
                  </a:lnTo>
                  <a:lnTo>
                    <a:pt x="672" y="1566"/>
                  </a:lnTo>
                  <a:lnTo>
                    <a:pt x="666" y="1566"/>
                  </a:lnTo>
                  <a:lnTo>
                    <a:pt x="660" y="1566"/>
                  </a:lnTo>
                  <a:lnTo>
                    <a:pt x="654" y="1572"/>
                  </a:lnTo>
                  <a:lnTo>
                    <a:pt x="654" y="1578"/>
                  </a:lnTo>
                  <a:lnTo>
                    <a:pt x="642" y="1578"/>
                  </a:lnTo>
                  <a:lnTo>
                    <a:pt x="630" y="1572"/>
                  </a:lnTo>
                  <a:lnTo>
                    <a:pt x="624" y="1572"/>
                  </a:lnTo>
                  <a:lnTo>
                    <a:pt x="618" y="1578"/>
                  </a:lnTo>
                  <a:lnTo>
                    <a:pt x="612" y="1584"/>
                  </a:lnTo>
                  <a:lnTo>
                    <a:pt x="606" y="1584"/>
                  </a:lnTo>
                  <a:lnTo>
                    <a:pt x="600" y="1590"/>
                  </a:lnTo>
                  <a:lnTo>
                    <a:pt x="594" y="1590"/>
                  </a:lnTo>
                  <a:lnTo>
                    <a:pt x="588" y="1590"/>
                  </a:lnTo>
                  <a:lnTo>
                    <a:pt x="582" y="1590"/>
                  </a:lnTo>
                  <a:lnTo>
                    <a:pt x="582" y="1596"/>
                  </a:lnTo>
                  <a:lnTo>
                    <a:pt x="576" y="1614"/>
                  </a:lnTo>
                  <a:lnTo>
                    <a:pt x="570" y="1632"/>
                  </a:lnTo>
                  <a:lnTo>
                    <a:pt x="570" y="1638"/>
                  </a:lnTo>
                  <a:lnTo>
                    <a:pt x="576" y="1644"/>
                  </a:lnTo>
                  <a:lnTo>
                    <a:pt x="576" y="1650"/>
                  </a:lnTo>
                  <a:lnTo>
                    <a:pt x="582" y="1662"/>
                  </a:lnTo>
                  <a:lnTo>
                    <a:pt x="582" y="1668"/>
                  </a:lnTo>
                  <a:lnTo>
                    <a:pt x="588" y="1692"/>
                  </a:lnTo>
                  <a:lnTo>
                    <a:pt x="594" y="1728"/>
                  </a:lnTo>
                  <a:lnTo>
                    <a:pt x="594" y="1752"/>
                  </a:lnTo>
                  <a:lnTo>
                    <a:pt x="594" y="1764"/>
                  </a:lnTo>
                  <a:lnTo>
                    <a:pt x="582" y="1770"/>
                  </a:lnTo>
                  <a:lnTo>
                    <a:pt x="582" y="1782"/>
                  </a:lnTo>
                  <a:lnTo>
                    <a:pt x="576" y="1788"/>
                  </a:lnTo>
                  <a:lnTo>
                    <a:pt x="570" y="1794"/>
                  </a:lnTo>
                  <a:lnTo>
                    <a:pt x="564" y="1806"/>
                  </a:lnTo>
                  <a:lnTo>
                    <a:pt x="564" y="1812"/>
                  </a:lnTo>
                  <a:lnTo>
                    <a:pt x="558" y="1812"/>
                  </a:lnTo>
                  <a:lnTo>
                    <a:pt x="564" y="1824"/>
                  </a:lnTo>
                  <a:lnTo>
                    <a:pt x="564" y="1830"/>
                  </a:lnTo>
                  <a:lnTo>
                    <a:pt x="564" y="1842"/>
                  </a:lnTo>
                  <a:lnTo>
                    <a:pt x="564" y="1848"/>
                  </a:lnTo>
                  <a:lnTo>
                    <a:pt x="564" y="1854"/>
                  </a:lnTo>
                  <a:lnTo>
                    <a:pt x="570" y="1860"/>
                  </a:lnTo>
                  <a:lnTo>
                    <a:pt x="570" y="1866"/>
                  </a:lnTo>
                  <a:lnTo>
                    <a:pt x="570" y="1872"/>
                  </a:lnTo>
                  <a:lnTo>
                    <a:pt x="570" y="1878"/>
                  </a:lnTo>
                  <a:lnTo>
                    <a:pt x="564" y="1890"/>
                  </a:lnTo>
                  <a:lnTo>
                    <a:pt x="558" y="1896"/>
                  </a:lnTo>
                  <a:lnTo>
                    <a:pt x="552" y="1908"/>
                  </a:lnTo>
                  <a:lnTo>
                    <a:pt x="546" y="1914"/>
                  </a:lnTo>
                  <a:lnTo>
                    <a:pt x="540" y="1920"/>
                  </a:lnTo>
                  <a:lnTo>
                    <a:pt x="534" y="1932"/>
                  </a:lnTo>
                  <a:lnTo>
                    <a:pt x="528" y="1944"/>
                  </a:lnTo>
                  <a:lnTo>
                    <a:pt x="516" y="1950"/>
                  </a:lnTo>
                  <a:lnTo>
                    <a:pt x="510" y="1956"/>
                  </a:lnTo>
                  <a:lnTo>
                    <a:pt x="498" y="1962"/>
                  </a:lnTo>
                  <a:lnTo>
                    <a:pt x="492" y="1974"/>
                  </a:lnTo>
                  <a:lnTo>
                    <a:pt x="486" y="1980"/>
                  </a:lnTo>
                  <a:lnTo>
                    <a:pt x="480" y="1998"/>
                  </a:lnTo>
                  <a:lnTo>
                    <a:pt x="474" y="2004"/>
                  </a:lnTo>
                  <a:lnTo>
                    <a:pt x="474" y="2010"/>
                  </a:lnTo>
                  <a:lnTo>
                    <a:pt x="474" y="2016"/>
                  </a:lnTo>
                  <a:lnTo>
                    <a:pt x="468" y="2016"/>
                  </a:lnTo>
                  <a:lnTo>
                    <a:pt x="468" y="2028"/>
                  </a:lnTo>
                  <a:lnTo>
                    <a:pt x="462" y="2034"/>
                  </a:lnTo>
                  <a:lnTo>
                    <a:pt x="456" y="2040"/>
                  </a:lnTo>
                  <a:lnTo>
                    <a:pt x="456" y="2052"/>
                  </a:lnTo>
                  <a:lnTo>
                    <a:pt x="450" y="2058"/>
                  </a:lnTo>
                  <a:lnTo>
                    <a:pt x="450" y="2070"/>
                  </a:lnTo>
                  <a:lnTo>
                    <a:pt x="450" y="2076"/>
                  </a:lnTo>
                  <a:lnTo>
                    <a:pt x="450" y="2082"/>
                  </a:lnTo>
                  <a:lnTo>
                    <a:pt x="444" y="2088"/>
                  </a:lnTo>
                  <a:lnTo>
                    <a:pt x="438" y="2094"/>
                  </a:lnTo>
                  <a:lnTo>
                    <a:pt x="444" y="2100"/>
                  </a:lnTo>
                  <a:lnTo>
                    <a:pt x="444" y="2124"/>
                  </a:lnTo>
                  <a:lnTo>
                    <a:pt x="444" y="2142"/>
                  </a:lnTo>
                  <a:lnTo>
                    <a:pt x="444" y="2160"/>
                  </a:lnTo>
                  <a:lnTo>
                    <a:pt x="450" y="2166"/>
                  </a:lnTo>
                  <a:lnTo>
                    <a:pt x="456" y="2178"/>
                  </a:lnTo>
                  <a:lnTo>
                    <a:pt x="438" y="2184"/>
                  </a:lnTo>
                  <a:lnTo>
                    <a:pt x="432" y="2184"/>
                  </a:lnTo>
                  <a:lnTo>
                    <a:pt x="426" y="2190"/>
                  </a:lnTo>
                  <a:lnTo>
                    <a:pt x="408" y="2190"/>
                  </a:lnTo>
                  <a:lnTo>
                    <a:pt x="402" y="2196"/>
                  </a:lnTo>
                  <a:lnTo>
                    <a:pt x="396" y="2196"/>
                  </a:lnTo>
                  <a:lnTo>
                    <a:pt x="384" y="2208"/>
                  </a:lnTo>
                  <a:lnTo>
                    <a:pt x="378" y="2220"/>
                  </a:lnTo>
                  <a:lnTo>
                    <a:pt x="366" y="2232"/>
                  </a:lnTo>
                  <a:lnTo>
                    <a:pt x="366" y="2238"/>
                  </a:lnTo>
                  <a:lnTo>
                    <a:pt x="360" y="2238"/>
                  </a:lnTo>
                  <a:lnTo>
                    <a:pt x="360" y="2244"/>
                  </a:lnTo>
                  <a:lnTo>
                    <a:pt x="354" y="2244"/>
                  </a:lnTo>
                  <a:lnTo>
                    <a:pt x="330" y="227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5" name="Freeform 10">
              <a:extLst>
                <a:ext uri="{FF2B5EF4-FFF2-40B4-BE49-F238E27FC236}">
                  <a16:creationId xmlns:a16="http://schemas.microsoft.com/office/drawing/2014/main" id="{3AD2FC58-3490-4B7F-A8BE-621F3CDD69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1996" y="1931890"/>
              <a:ext cx="805029" cy="1037736"/>
            </a:xfrm>
            <a:custGeom>
              <a:avLst/>
              <a:gdLst>
                <a:gd name="T0" fmla="*/ 124 w 1512"/>
                <a:gd name="T1" fmla="*/ 76 h 1956"/>
                <a:gd name="T2" fmla="*/ 120 w 1512"/>
                <a:gd name="T3" fmla="*/ 80 h 1956"/>
                <a:gd name="T4" fmla="*/ 106 w 1512"/>
                <a:gd name="T5" fmla="*/ 84 h 1956"/>
                <a:gd name="T6" fmla="*/ 105 w 1512"/>
                <a:gd name="T7" fmla="*/ 91 h 1956"/>
                <a:gd name="T8" fmla="*/ 101 w 1512"/>
                <a:gd name="T9" fmla="*/ 99 h 1956"/>
                <a:gd name="T10" fmla="*/ 105 w 1512"/>
                <a:gd name="T11" fmla="*/ 107 h 1956"/>
                <a:gd name="T12" fmla="*/ 119 w 1512"/>
                <a:gd name="T13" fmla="*/ 116 h 1956"/>
                <a:gd name="T14" fmla="*/ 121 w 1512"/>
                <a:gd name="T15" fmla="*/ 128 h 1956"/>
                <a:gd name="T16" fmla="*/ 112 w 1512"/>
                <a:gd name="T17" fmla="*/ 136 h 1956"/>
                <a:gd name="T18" fmla="*/ 119 w 1512"/>
                <a:gd name="T19" fmla="*/ 143 h 1956"/>
                <a:gd name="T20" fmla="*/ 126 w 1512"/>
                <a:gd name="T21" fmla="*/ 148 h 1956"/>
                <a:gd name="T22" fmla="*/ 126 w 1512"/>
                <a:gd name="T23" fmla="*/ 160 h 1956"/>
                <a:gd name="T24" fmla="*/ 104 w 1512"/>
                <a:gd name="T25" fmla="*/ 170 h 1956"/>
                <a:gd name="T26" fmla="*/ 99 w 1512"/>
                <a:gd name="T27" fmla="*/ 164 h 1956"/>
                <a:gd name="T28" fmla="*/ 73 w 1512"/>
                <a:gd name="T29" fmla="*/ 152 h 1956"/>
                <a:gd name="T30" fmla="*/ 56 w 1512"/>
                <a:gd name="T31" fmla="*/ 165 h 1956"/>
                <a:gd name="T32" fmla="*/ 33 w 1512"/>
                <a:gd name="T33" fmla="*/ 162 h 1956"/>
                <a:gd name="T34" fmla="*/ 25 w 1512"/>
                <a:gd name="T35" fmla="*/ 155 h 1956"/>
                <a:gd name="T36" fmla="*/ 31 w 1512"/>
                <a:gd name="T37" fmla="*/ 142 h 1956"/>
                <a:gd name="T38" fmla="*/ 24 w 1512"/>
                <a:gd name="T39" fmla="*/ 137 h 1956"/>
                <a:gd name="T40" fmla="*/ 14 w 1512"/>
                <a:gd name="T41" fmla="*/ 136 h 1956"/>
                <a:gd name="T42" fmla="*/ 11 w 1512"/>
                <a:gd name="T43" fmla="*/ 125 h 1956"/>
                <a:gd name="T44" fmla="*/ 3 w 1512"/>
                <a:gd name="T45" fmla="*/ 116 h 1956"/>
                <a:gd name="T46" fmla="*/ 2 w 1512"/>
                <a:gd name="T47" fmla="*/ 106 h 1956"/>
                <a:gd name="T48" fmla="*/ 5 w 1512"/>
                <a:gd name="T49" fmla="*/ 101 h 1956"/>
                <a:gd name="T50" fmla="*/ 2 w 1512"/>
                <a:gd name="T51" fmla="*/ 95 h 1956"/>
                <a:gd name="T52" fmla="*/ 1 w 1512"/>
                <a:gd name="T53" fmla="*/ 88 h 1956"/>
                <a:gd name="T54" fmla="*/ 4 w 1512"/>
                <a:gd name="T55" fmla="*/ 80 h 1956"/>
                <a:gd name="T56" fmla="*/ 12 w 1512"/>
                <a:gd name="T57" fmla="*/ 73 h 1956"/>
                <a:gd name="T58" fmla="*/ 16 w 1512"/>
                <a:gd name="T59" fmla="*/ 68 h 1956"/>
                <a:gd name="T60" fmla="*/ 22 w 1512"/>
                <a:gd name="T61" fmla="*/ 66 h 1956"/>
                <a:gd name="T62" fmla="*/ 32 w 1512"/>
                <a:gd name="T63" fmla="*/ 65 h 1956"/>
                <a:gd name="T64" fmla="*/ 45 w 1512"/>
                <a:gd name="T65" fmla="*/ 66 h 1956"/>
                <a:gd name="T66" fmla="*/ 50 w 1512"/>
                <a:gd name="T67" fmla="*/ 70 h 1956"/>
                <a:gd name="T68" fmla="*/ 55 w 1512"/>
                <a:gd name="T69" fmla="*/ 70 h 1956"/>
                <a:gd name="T70" fmla="*/ 63 w 1512"/>
                <a:gd name="T71" fmla="*/ 71 h 1956"/>
                <a:gd name="T72" fmla="*/ 61 w 1512"/>
                <a:gd name="T73" fmla="*/ 75 h 1956"/>
                <a:gd name="T74" fmla="*/ 66 w 1512"/>
                <a:gd name="T75" fmla="*/ 84 h 1956"/>
                <a:gd name="T76" fmla="*/ 81 w 1512"/>
                <a:gd name="T77" fmla="*/ 85 h 1956"/>
                <a:gd name="T78" fmla="*/ 83 w 1512"/>
                <a:gd name="T79" fmla="*/ 79 h 1956"/>
                <a:gd name="T80" fmla="*/ 89 w 1512"/>
                <a:gd name="T81" fmla="*/ 77 h 1956"/>
                <a:gd name="T82" fmla="*/ 89 w 1512"/>
                <a:gd name="T83" fmla="*/ 73 h 1956"/>
                <a:gd name="T84" fmla="*/ 83 w 1512"/>
                <a:gd name="T85" fmla="*/ 72 h 1956"/>
                <a:gd name="T86" fmla="*/ 77 w 1512"/>
                <a:gd name="T87" fmla="*/ 70 h 1956"/>
                <a:gd name="T88" fmla="*/ 71 w 1512"/>
                <a:gd name="T89" fmla="*/ 70 h 1956"/>
                <a:gd name="T90" fmla="*/ 59 w 1512"/>
                <a:gd name="T91" fmla="*/ 58 h 1956"/>
                <a:gd name="T92" fmla="*/ 54 w 1512"/>
                <a:gd name="T93" fmla="*/ 45 h 1956"/>
                <a:gd name="T94" fmla="*/ 49 w 1512"/>
                <a:gd name="T95" fmla="*/ 42 h 1956"/>
                <a:gd name="T96" fmla="*/ 51 w 1512"/>
                <a:gd name="T97" fmla="*/ 39 h 1956"/>
                <a:gd name="T98" fmla="*/ 55 w 1512"/>
                <a:gd name="T99" fmla="*/ 36 h 1956"/>
                <a:gd name="T100" fmla="*/ 63 w 1512"/>
                <a:gd name="T101" fmla="*/ 34 h 1956"/>
                <a:gd name="T102" fmla="*/ 68 w 1512"/>
                <a:gd name="T103" fmla="*/ 32 h 1956"/>
                <a:gd name="T104" fmla="*/ 73 w 1512"/>
                <a:gd name="T105" fmla="*/ 29 h 1956"/>
                <a:gd name="T106" fmla="*/ 78 w 1512"/>
                <a:gd name="T107" fmla="*/ 27 h 1956"/>
                <a:gd name="T108" fmla="*/ 81 w 1512"/>
                <a:gd name="T109" fmla="*/ 17 h 1956"/>
                <a:gd name="T110" fmla="*/ 84 w 1512"/>
                <a:gd name="T111" fmla="*/ 6 h 1956"/>
                <a:gd name="T112" fmla="*/ 95 w 1512"/>
                <a:gd name="T113" fmla="*/ 6 h 1956"/>
                <a:gd name="T114" fmla="*/ 99 w 1512"/>
                <a:gd name="T115" fmla="*/ 3 h 1956"/>
                <a:gd name="T116" fmla="*/ 103 w 1512"/>
                <a:gd name="T117" fmla="*/ 0 h 1956"/>
                <a:gd name="T118" fmla="*/ 110 w 1512"/>
                <a:gd name="T119" fmla="*/ 4 h 1956"/>
                <a:gd name="T120" fmla="*/ 114 w 1512"/>
                <a:gd name="T121" fmla="*/ 33 h 1956"/>
                <a:gd name="T122" fmla="*/ 117 w 1512"/>
                <a:gd name="T123" fmla="*/ 41 h 1956"/>
                <a:gd name="T124" fmla="*/ 119 w 1512"/>
                <a:gd name="T125" fmla="*/ 62 h 195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12"/>
                <a:gd name="T190" fmla="*/ 0 h 1956"/>
                <a:gd name="T191" fmla="*/ 1512 w 1512"/>
                <a:gd name="T192" fmla="*/ 1956 h 195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12" h="1956">
                  <a:moveTo>
                    <a:pt x="1512" y="780"/>
                  </a:moveTo>
                  <a:lnTo>
                    <a:pt x="1482" y="786"/>
                  </a:lnTo>
                  <a:lnTo>
                    <a:pt x="1476" y="792"/>
                  </a:lnTo>
                  <a:lnTo>
                    <a:pt x="1476" y="798"/>
                  </a:lnTo>
                  <a:lnTo>
                    <a:pt x="1476" y="804"/>
                  </a:lnTo>
                  <a:lnTo>
                    <a:pt x="1476" y="816"/>
                  </a:lnTo>
                  <a:lnTo>
                    <a:pt x="1470" y="834"/>
                  </a:lnTo>
                  <a:lnTo>
                    <a:pt x="1464" y="840"/>
                  </a:lnTo>
                  <a:lnTo>
                    <a:pt x="1452" y="852"/>
                  </a:lnTo>
                  <a:lnTo>
                    <a:pt x="1440" y="864"/>
                  </a:lnTo>
                  <a:lnTo>
                    <a:pt x="1434" y="864"/>
                  </a:lnTo>
                  <a:lnTo>
                    <a:pt x="1434" y="870"/>
                  </a:lnTo>
                  <a:lnTo>
                    <a:pt x="1422" y="876"/>
                  </a:lnTo>
                  <a:lnTo>
                    <a:pt x="1410" y="894"/>
                  </a:lnTo>
                  <a:lnTo>
                    <a:pt x="1404" y="894"/>
                  </a:lnTo>
                  <a:lnTo>
                    <a:pt x="1404" y="900"/>
                  </a:lnTo>
                  <a:lnTo>
                    <a:pt x="1404" y="906"/>
                  </a:lnTo>
                  <a:lnTo>
                    <a:pt x="1410" y="918"/>
                  </a:lnTo>
                  <a:lnTo>
                    <a:pt x="1404" y="918"/>
                  </a:lnTo>
                  <a:lnTo>
                    <a:pt x="1392" y="924"/>
                  </a:lnTo>
                  <a:lnTo>
                    <a:pt x="1386" y="924"/>
                  </a:lnTo>
                  <a:lnTo>
                    <a:pt x="1380" y="924"/>
                  </a:lnTo>
                  <a:lnTo>
                    <a:pt x="1380" y="930"/>
                  </a:lnTo>
                  <a:lnTo>
                    <a:pt x="1374" y="930"/>
                  </a:lnTo>
                  <a:lnTo>
                    <a:pt x="1374" y="924"/>
                  </a:lnTo>
                  <a:lnTo>
                    <a:pt x="1374" y="918"/>
                  </a:lnTo>
                  <a:lnTo>
                    <a:pt x="1368" y="912"/>
                  </a:lnTo>
                  <a:lnTo>
                    <a:pt x="1368" y="906"/>
                  </a:lnTo>
                  <a:lnTo>
                    <a:pt x="1368" y="900"/>
                  </a:lnTo>
                  <a:lnTo>
                    <a:pt x="1368" y="894"/>
                  </a:lnTo>
                  <a:lnTo>
                    <a:pt x="1362" y="894"/>
                  </a:lnTo>
                  <a:lnTo>
                    <a:pt x="1326" y="894"/>
                  </a:lnTo>
                  <a:lnTo>
                    <a:pt x="1302" y="906"/>
                  </a:lnTo>
                  <a:lnTo>
                    <a:pt x="1284" y="918"/>
                  </a:lnTo>
                  <a:lnTo>
                    <a:pt x="1284" y="924"/>
                  </a:lnTo>
                  <a:lnTo>
                    <a:pt x="1278" y="930"/>
                  </a:lnTo>
                  <a:lnTo>
                    <a:pt x="1266" y="930"/>
                  </a:lnTo>
                  <a:lnTo>
                    <a:pt x="1236" y="954"/>
                  </a:lnTo>
                  <a:lnTo>
                    <a:pt x="1212" y="972"/>
                  </a:lnTo>
                  <a:lnTo>
                    <a:pt x="1218" y="996"/>
                  </a:lnTo>
                  <a:lnTo>
                    <a:pt x="1224" y="1008"/>
                  </a:lnTo>
                  <a:lnTo>
                    <a:pt x="1236" y="1014"/>
                  </a:lnTo>
                  <a:lnTo>
                    <a:pt x="1242" y="1026"/>
                  </a:lnTo>
                  <a:lnTo>
                    <a:pt x="1248" y="1038"/>
                  </a:lnTo>
                  <a:lnTo>
                    <a:pt x="1260" y="1050"/>
                  </a:lnTo>
                  <a:lnTo>
                    <a:pt x="1260" y="1056"/>
                  </a:lnTo>
                  <a:lnTo>
                    <a:pt x="1260" y="1074"/>
                  </a:lnTo>
                  <a:lnTo>
                    <a:pt x="1254" y="1074"/>
                  </a:lnTo>
                  <a:lnTo>
                    <a:pt x="1236" y="1056"/>
                  </a:lnTo>
                  <a:lnTo>
                    <a:pt x="1224" y="1050"/>
                  </a:lnTo>
                  <a:lnTo>
                    <a:pt x="1212" y="1050"/>
                  </a:lnTo>
                  <a:lnTo>
                    <a:pt x="1206" y="1050"/>
                  </a:lnTo>
                  <a:lnTo>
                    <a:pt x="1200" y="1056"/>
                  </a:lnTo>
                  <a:lnTo>
                    <a:pt x="1194" y="1062"/>
                  </a:lnTo>
                  <a:lnTo>
                    <a:pt x="1188" y="1068"/>
                  </a:lnTo>
                  <a:lnTo>
                    <a:pt x="1188" y="1074"/>
                  </a:lnTo>
                  <a:lnTo>
                    <a:pt x="1176" y="1086"/>
                  </a:lnTo>
                  <a:lnTo>
                    <a:pt x="1170" y="1086"/>
                  </a:lnTo>
                  <a:lnTo>
                    <a:pt x="1170" y="1092"/>
                  </a:lnTo>
                  <a:lnTo>
                    <a:pt x="1164" y="1098"/>
                  </a:lnTo>
                  <a:lnTo>
                    <a:pt x="1158" y="1110"/>
                  </a:lnTo>
                  <a:lnTo>
                    <a:pt x="1152" y="1116"/>
                  </a:lnTo>
                  <a:lnTo>
                    <a:pt x="1152" y="1122"/>
                  </a:lnTo>
                  <a:lnTo>
                    <a:pt x="1146" y="1128"/>
                  </a:lnTo>
                  <a:lnTo>
                    <a:pt x="1152" y="1140"/>
                  </a:lnTo>
                  <a:lnTo>
                    <a:pt x="1158" y="1140"/>
                  </a:lnTo>
                  <a:lnTo>
                    <a:pt x="1164" y="1146"/>
                  </a:lnTo>
                  <a:lnTo>
                    <a:pt x="1164" y="1152"/>
                  </a:lnTo>
                  <a:lnTo>
                    <a:pt x="1170" y="1164"/>
                  </a:lnTo>
                  <a:lnTo>
                    <a:pt x="1164" y="1176"/>
                  </a:lnTo>
                  <a:lnTo>
                    <a:pt x="1170" y="1182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82" y="1218"/>
                  </a:lnTo>
                  <a:lnTo>
                    <a:pt x="1188" y="1218"/>
                  </a:lnTo>
                  <a:lnTo>
                    <a:pt x="1194" y="1218"/>
                  </a:lnTo>
                  <a:lnTo>
                    <a:pt x="1194" y="1224"/>
                  </a:lnTo>
                  <a:lnTo>
                    <a:pt x="1200" y="1230"/>
                  </a:lnTo>
                  <a:lnTo>
                    <a:pt x="1200" y="1248"/>
                  </a:lnTo>
                  <a:lnTo>
                    <a:pt x="1212" y="1266"/>
                  </a:lnTo>
                  <a:lnTo>
                    <a:pt x="1218" y="1278"/>
                  </a:lnTo>
                  <a:lnTo>
                    <a:pt x="1224" y="1284"/>
                  </a:lnTo>
                  <a:lnTo>
                    <a:pt x="1236" y="1296"/>
                  </a:lnTo>
                  <a:lnTo>
                    <a:pt x="1242" y="1302"/>
                  </a:lnTo>
                  <a:lnTo>
                    <a:pt x="1242" y="1308"/>
                  </a:lnTo>
                  <a:lnTo>
                    <a:pt x="1272" y="1308"/>
                  </a:lnTo>
                  <a:lnTo>
                    <a:pt x="1296" y="1314"/>
                  </a:lnTo>
                  <a:lnTo>
                    <a:pt x="1320" y="1320"/>
                  </a:lnTo>
                  <a:lnTo>
                    <a:pt x="1338" y="1320"/>
                  </a:lnTo>
                  <a:lnTo>
                    <a:pt x="1356" y="1332"/>
                  </a:lnTo>
                  <a:lnTo>
                    <a:pt x="1368" y="1344"/>
                  </a:lnTo>
                  <a:lnTo>
                    <a:pt x="1374" y="1362"/>
                  </a:lnTo>
                  <a:lnTo>
                    <a:pt x="1368" y="1362"/>
                  </a:lnTo>
                  <a:lnTo>
                    <a:pt x="1368" y="1398"/>
                  </a:lnTo>
                  <a:lnTo>
                    <a:pt x="1368" y="1410"/>
                  </a:lnTo>
                  <a:lnTo>
                    <a:pt x="1368" y="1428"/>
                  </a:lnTo>
                  <a:lnTo>
                    <a:pt x="1368" y="1434"/>
                  </a:lnTo>
                  <a:lnTo>
                    <a:pt x="1368" y="1440"/>
                  </a:lnTo>
                  <a:lnTo>
                    <a:pt x="1374" y="1446"/>
                  </a:lnTo>
                  <a:lnTo>
                    <a:pt x="1374" y="1452"/>
                  </a:lnTo>
                  <a:lnTo>
                    <a:pt x="1380" y="1458"/>
                  </a:lnTo>
                  <a:lnTo>
                    <a:pt x="1386" y="1464"/>
                  </a:lnTo>
                  <a:lnTo>
                    <a:pt x="1386" y="1470"/>
                  </a:lnTo>
                  <a:lnTo>
                    <a:pt x="1380" y="1476"/>
                  </a:lnTo>
                  <a:lnTo>
                    <a:pt x="1374" y="1482"/>
                  </a:lnTo>
                  <a:lnTo>
                    <a:pt x="1362" y="1500"/>
                  </a:lnTo>
                  <a:lnTo>
                    <a:pt x="1362" y="1506"/>
                  </a:lnTo>
                  <a:lnTo>
                    <a:pt x="1362" y="1512"/>
                  </a:lnTo>
                  <a:lnTo>
                    <a:pt x="1362" y="1518"/>
                  </a:lnTo>
                  <a:lnTo>
                    <a:pt x="1362" y="1524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38" y="1548"/>
                  </a:lnTo>
                  <a:lnTo>
                    <a:pt x="1296" y="1548"/>
                  </a:lnTo>
                  <a:lnTo>
                    <a:pt x="1290" y="1554"/>
                  </a:lnTo>
                  <a:lnTo>
                    <a:pt x="1284" y="1560"/>
                  </a:lnTo>
                  <a:lnTo>
                    <a:pt x="1284" y="1566"/>
                  </a:lnTo>
                  <a:lnTo>
                    <a:pt x="1290" y="1578"/>
                  </a:lnTo>
                  <a:lnTo>
                    <a:pt x="1296" y="1590"/>
                  </a:lnTo>
                  <a:lnTo>
                    <a:pt x="1302" y="1590"/>
                  </a:lnTo>
                  <a:lnTo>
                    <a:pt x="1308" y="1596"/>
                  </a:lnTo>
                  <a:lnTo>
                    <a:pt x="1320" y="1602"/>
                  </a:lnTo>
                  <a:lnTo>
                    <a:pt x="1326" y="1602"/>
                  </a:lnTo>
                  <a:lnTo>
                    <a:pt x="1326" y="1608"/>
                  </a:lnTo>
                  <a:lnTo>
                    <a:pt x="1332" y="1614"/>
                  </a:lnTo>
                  <a:lnTo>
                    <a:pt x="1344" y="1620"/>
                  </a:lnTo>
                  <a:lnTo>
                    <a:pt x="1356" y="1626"/>
                  </a:lnTo>
                  <a:lnTo>
                    <a:pt x="1356" y="1632"/>
                  </a:lnTo>
                  <a:lnTo>
                    <a:pt x="1356" y="1638"/>
                  </a:lnTo>
                  <a:lnTo>
                    <a:pt x="1362" y="1644"/>
                  </a:lnTo>
                  <a:lnTo>
                    <a:pt x="1368" y="1644"/>
                  </a:lnTo>
                  <a:lnTo>
                    <a:pt x="1380" y="1650"/>
                  </a:lnTo>
                  <a:lnTo>
                    <a:pt x="1386" y="1650"/>
                  </a:lnTo>
                  <a:lnTo>
                    <a:pt x="1386" y="1656"/>
                  </a:lnTo>
                  <a:lnTo>
                    <a:pt x="1392" y="1656"/>
                  </a:lnTo>
                  <a:lnTo>
                    <a:pt x="1398" y="1662"/>
                  </a:lnTo>
                  <a:lnTo>
                    <a:pt x="1410" y="1674"/>
                  </a:lnTo>
                  <a:lnTo>
                    <a:pt x="1428" y="1680"/>
                  </a:lnTo>
                  <a:lnTo>
                    <a:pt x="1428" y="1686"/>
                  </a:lnTo>
                  <a:lnTo>
                    <a:pt x="1428" y="1698"/>
                  </a:lnTo>
                  <a:lnTo>
                    <a:pt x="1434" y="1704"/>
                  </a:lnTo>
                  <a:lnTo>
                    <a:pt x="1434" y="1710"/>
                  </a:lnTo>
                  <a:lnTo>
                    <a:pt x="1440" y="1710"/>
                  </a:lnTo>
                  <a:lnTo>
                    <a:pt x="1446" y="1710"/>
                  </a:lnTo>
                  <a:lnTo>
                    <a:pt x="1446" y="1716"/>
                  </a:lnTo>
                  <a:lnTo>
                    <a:pt x="1440" y="1722"/>
                  </a:lnTo>
                  <a:lnTo>
                    <a:pt x="1440" y="1728"/>
                  </a:lnTo>
                  <a:lnTo>
                    <a:pt x="1440" y="1734"/>
                  </a:lnTo>
                  <a:lnTo>
                    <a:pt x="1440" y="1740"/>
                  </a:lnTo>
                  <a:lnTo>
                    <a:pt x="1440" y="1746"/>
                  </a:lnTo>
                  <a:lnTo>
                    <a:pt x="1440" y="1788"/>
                  </a:lnTo>
                  <a:lnTo>
                    <a:pt x="1440" y="1800"/>
                  </a:lnTo>
                  <a:lnTo>
                    <a:pt x="1440" y="1806"/>
                  </a:lnTo>
                  <a:lnTo>
                    <a:pt x="1440" y="1836"/>
                  </a:lnTo>
                  <a:lnTo>
                    <a:pt x="1440" y="1848"/>
                  </a:lnTo>
                  <a:lnTo>
                    <a:pt x="1446" y="1848"/>
                  </a:lnTo>
                  <a:lnTo>
                    <a:pt x="1446" y="1854"/>
                  </a:lnTo>
                  <a:lnTo>
                    <a:pt x="1452" y="1848"/>
                  </a:lnTo>
                  <a:lnTo>
                    <a:pt x="1458" y="1854"/>
                  </a:lnTo>
                  <a:lnTo>
                    <a:pt x="1452" y="1860"/>
                  </a:lnTo>
                  <a:lnTo>
                    <a:pt x="1452" y="1866"/>
                  </a:lnTo>
                  <a:lnTo>
                    <a:pt x="1458" y="1872"/>
                  </a:lnTo>
                  <a:lnTo>
                    <a:pt x="1464" y="1884"/>
                  </a:lnTo>
                  <a:lnTo>
                    <a:pt x="1428" y="1878"/>
                  </a:lnTo>
                  <a:lnTo>
                    <a:pt x="1356" y="1890"/>
                  </a:lnTo>
                  <a:lnTo>
                    <a:pt x="1296" y="1926"/>
                  </a:lnTo>
                  <a:lnTo>
                    <a:pt x="1266" y="1944"/>
                  </a:lnTo>
                  <a:lnTo>
                    <a:pt x="1224" y="1944"/>
                  </a:lnTo>
                  <a:lnTo>
                    <a:pt x="1188" y="1956"/>
                  </a:lnTo>
                  <a:lnTo>
                    <a:pt x="1188" y="1950"/>
                  </a:lnTo>
                  <a:lnTo>
                    <a:pt x="1176" y="1944"/>
                  </a:lnTo>
                  <a:lnTo>
                    <a:pt x="1176" y="1938"/>
                  </a:lnTo>
                  <a:lnTo>
                    <a:pt x="1170" y="1938"/>
                  </a:lnTo>
                  <a:lnTo>
                    <a:pt x="1164" y="1932"/>
                  </a:lnTo>
                  <a:lnTo>
                    <a:pt x="1158" y="1926"/>
                  </a:lnTo>
                  <a:lnTo>
                    <a:pt x="1158" y="1920"/>
                  </a:lnTo>
                  <a:lnTo>
                    <a:pt x="1152" y="1920"/>
                  </a:lnTo>
                  <a:lnTo>
                    <a:pt x="1146" y="1914"/>
                  </a:lnTo>
                  <a:lnTo>
                    <a:pt x="1146" y="1908"/>
                  </a:lnTo>
                  <a:lnTo>
                    <a:pt x="1140" y="1908"/>
                  </a:lnTo>
                  <a:lnTo>
                    <a:pt x="1134" y="1902"/>
                  </a:lnTo>
                  <a:lnTo>
                    <a:pt x="1134" y="1896"/>
                  </a:lnTo>
                  <a:lnTo>
                    <a:pt x="1116" y="1896"/>
                  </a:lnTo>
                  <a:lnTo>
                    <a:pt x="1104" y="1884"/>
                  </a:lnTo>
                  <a:lnTo>
                    <a:pt x="1092" y="1860"/>
                  </a:lnTo>
                  <a:lnTo>
                    <a:pt x="1068" y="1854"/>
                  </a:lnTo>
                  <a:lnTo>
                    <a:pt x="1032" y="1842"/>
                  </a:lnTo>
                  <a:lnTo>
                    <a:pt x="1008" y="1836"/>
                  </a:lnTo>
                  <a:lnTo>
                    <a:pt x="978" y="1824"/>
                  </a:lnTo>
                  <a:lnTo>
                    <a:pt x="942" y="1818"/>
                  </a:lnTo>
                  <a:lnTo>
                    <a:pt x="924" y="1806"/>
                  </a:lnTo>
                  <a:lnTo>
                    <a:pt x="906" y="1788"/>
                  </a:lnTo>
                  <a:lnTo>
                    <a:pt x="894" y="1776"/>
                  </a:lnTo>
                  <a:lnTo>
                    <a:pt x="864" y="1758"/>
                  </a:lnTo>
                  <a:lnTo>
                    <a:pt x="834" y="1752"/>
                  </a:lnTo>
                  <a:lnTo>
                    <a:pt x="798" y="1746"/>
                  </a:lnTo>
                  <a:lnTo>
                    <a:pt x="792" y="1806"/>
                  </a:lnTo>
                  <a:lnTo>
                    <a:pt x="798" y="1812"/>
                  </a:lnTo>
                  <a:lnTo>
                    <a:pt x="810" y="1830"/>
                  </a:lnTo>
                  <a:lnTo>
                    <a:pt x="792" y="1842"/>
                  </a:lnTo>
                  <a:lnTo>
                    <a:pt x="768" y="1842"/>
                  </a:lnTo>
                  <a:lnTo>
                    <a:pt x="708" y="1848"/>
                  </a:lnTo>
                  <a:lnTo>
                    <a:pt x="690" y="1860"/>
                  </a:lnTo>
                  <a:lnTo>
                    <a:pt x="690" y="1866"/>
                  </a:lnTo>
                  <a:lnTo>
                    <a:pt x="678" y="1878"/>
                  </a:lnTo>
                  <a:lnTo>
                    <a:pt x="660" y="1884"/>
                  </a:lnTo>
                  <a:lnTo>
                    <a:pt x="660" y="1902"/>
                  </a:lnTo>
                  <a:lnTo>
                    <a:pt x="642" y="1902"/>
                  </a:lnTo>
                  <a:lnTo>
                    <a:pt x="582" y="1914"/>
                  </a:lnTo>
                  <a:lnTo>
                    <a:pt x="534" y="1908"/>
                  </a:lnTo>
                  <a:lnTo>
                    <a:pt x="510" y="1908"/>
                  </a:lnTo>
                  <a:lnTo>
                    <a:pt x="510" y="1896"/>
                  </a:lnTo>
                  <a:lnTo>
                    <a:pt x="492" y="1896"/>
                  </a:lnTo>
                  <a:lnTo>
                    <a:pt x="486" y="1902"/>
                  </a:lnTo>
                  <a:lnTo>
                    <a:pt x="474" y="1908"/>
                  </a:lnTo>
                  <a:lnTo>
                    <a:pt x="450" y="1908"/>
                  </a:lnTo>
                  <a:lnTo>
                    <a:pt x="432" y="1902"/>
                  </a:lnTo>
                  <a:lnTo>
                    <a:pt x="426" y="1896"/>
                  </a:lnTo>
                  <a:lnTo>
                    <a:pt x="402" y="1884"/>
                  </a:lnTo>
                  <a:lnTo>
                    <a:pt x="390" y="1872"/>
                  </a:lnTo>
                  <a:lnTo>
                    <a:pt x="384" y="1872"/>
                  </a:lnTo>
                  <a:lnTo>
                    <a:pt x="378" y="1872"/>
                  </a:lnTo>
                  <a:lnTo>
                    <a:pt x="378" y="1866"/>
                  </a:lnTo>
                  <a:lnTo>
                    <a:pt x="372" y="1860"/>
                  </a:lnTo>
                  <a:lnTo>
                    <a:pt x="372" y="1854"/>
                  </a:lnTo>
                  <a:lnTo>
                    <a:pt x="366" y="1842"/>
                  </a:lnTo>
                  <a:lnTo>
                    <a:pt x="366" y="1836"/>
                  </a:lnTo>
                  <a:lnTo>
                    <a:pt x="348" y="1830"/>
                  </a:lnTo>
                  <a:lnTo>
                    <a:pt x="348" y="1806"/>
                  </a:lnTo>
                  <a:lnTo>
                    <a:pt x="348" y="1800"/>
                  </a:lnTo>
                  <a:lnTo>
                    <a:pt x="348" y="1782"/>
                  </a:lnTo>
                  <a:lnTo>
                    <a:pt x="336" y="1788"/>
                  </a:lnTo>
                  <a:lnTo>
                    <a:pt x="312" y="1794"/>
                  </a:lnTo>
                  <a:lnTo>
                    <a:pt x="288" y="1788"/>
                  </a:lnTo>
                  <a:lnTo>
                    <a:pt x="264" y="1758"/>
                  </a:lnTo>
                  <a:lnTo>
                    <a:pt x="270" y="1758"/>
                  </a:lnTo>
                  <a:lnTo>
                    <a:pt x="270" y="1752"/>
                  </a:lnTo>
                  <a:lnTo>
                    <a:pt x="276" y="1752"/>
                  </a:lnTo>
                  <a:lnTo>
                    <a:pt x="282" y="1746"/>
                  </a:lnTo>
                  <a:lnTo>
                    <a:pt x="300" y="1746"/>
                  </a:lnTo>
                  <a:lnTo>
                    <a:pt x="312" y="1746"/>
                  </a:lnTo>
                  <a:lnTo>
                    <a:pt x="336" y="1710"/>
                  </a:lnTo>
                  <a:lnTo>
                    <a:pt x="342" y="1692"/>
                  </a:lnTo>
                  <a:lnTo>
                    <a:pt x="348" y="1680"/>
                  </a:lnTo>
                  <a:lnTo>
                    <a:pt x="342" y="1650"/>
                  </a:lnTo>
                  <a:lnTo>
                    <a:pt x="354" y="1644"/>
                  </a:lnTo>
                  <a:lnTo>
                    <a:pt x="354" y="1638"/>
                  </a:lnTo>
                  <a:lnTo>
                    <a:pt x="360" y="1632"/>
                  </a:lnTo>
                  <a:lnTo>
                    <a:pt x="354" y="1626"/>
                  </a:lnTo>
                  <a:lnTo>
                    <a:pt x="348" y="1626"/>
                  </a:lnTo>
                  <a:lnTo>
                    <a:pt x="348" y="1620"/>
                  </a:lnTo>
                  <a:lnTo>
                    <a:pt x="342" y="1620"/>
                  </a:lnTo>
                  <a:lnTo>
                    <a:pt x="348" y="1614"/>
                  </a:lnTo>
                  <a:lnTo>
                    <a:pt x="324" y="1566"/>
                  </a:lnTo>
                  <a:lnTo>
                    <a:pt x="318" y="1566"/>
                  </a:lnTo>
                  <a:lnTo>
                    <a:pt x="306" y="1572"/>
                  </a:lnTo>
                  <a:lnTo>
                    <a:pt x="300" y="1572"/>
                  </a:lnTo>
                  <a:lnTo>
                    <a:pt x="294" y="1578"/>
                  </a:lnTo>
                  <a:lnTo>
                    <a:pt x="288" y="1584"/>
                  </a:lnTo>
                  <a:lnTo>
                    <a:pt x="282" y="1584"/>
                  </a:lnTo>
                  <a:lnTo>
                    <a:pt x="282" y="1578"/>
                  </a:lnTo>
                  <a:lnTo>
                    <a:pt x="276" y="1578"/>
                  </a:lnTo>
                  <a:lnTo>
                    <a:pt x="270" y="1578"/>
                  </a:lnTo>
                  <a:lnTo>
                    <a:pt x="264" y="1578"/>
                  </a:lnTo>
                  <a:lnTo>
                    <a:pt x="258" y="1578"/>
                  </a:lnTo>
                  <a:lnTo>
                    <a:pt x="252" y="1578"/>
                  </a:lnTo>
                  <a:lnTo>
                    <a:pt x="252" y="1584"/>
                  </a:lnTo>
                  <a:lnTo>
                    <a:pt x="246" y="1584"/>
                  </a:lnTo>
                  <a:lnTo>
                    <a:pt x="210" y="1584"/>
                  </a:lnTo>
                  <a:lnTo>
                    <a:pt x="204" y="1584"/>
                  </a:lnTo>
                  <a:lnTo>
                    <a:pt x="192" y="1584"/>
                  </a:lnTo>
                  <a:lnTo>
                    <a:pt x="168" y="1596"/>
                  </a:lnTo>
                  <a:lnTo>
                    <a:pt x="156" y="1572"/>
                  </a:lnTo>
                  <a:lnTo>
                    <a:pt x="156" y="1566"/>
                  </a:lnTo>
                  <a:lnTo>
                    <a:pt x="156" y="1560"/>
                  </a:lnTo>
                  <a:lnTo>
                    <a:pt x="162" y="1548"/>
                  </a:lnTo>
                  <a:lnTo>
                    <a:pt x="162" y="1542"/>
                  </a:lnTo>
                  <a:lnTo>
                    <a:pt x="162" y="1536"/>
                  </a:lnTo>
                  <a:lnTo>
                    <a:pt x="168" y="1530"/>
                  </a:lnTo>
                  <a:lnTo>
                    <a:pt x="168" y="1524"/>
                  </a:lnTo>
                  <a:lnTo>
                    <a:pt x="168" y="1518"/>
                  </a:lnTo>
                  <a:lnTo>
                    <a:pt x="174" y="1518"/>
                  </a:lnTo>
                  <a:lnTo>
                    <a:pt x="174" y="1506"/>
                  </a:lnTo>
                  <a:lnTo>
                    <a:pt x="156" y="1470"/>
                  </a:lnTo>
                  <a:lnTo>
                    <a:pt x="138" y="1464"/>
                  </a:lnTo>
                  <a:lnTo>
                    <a:pt x="126" y="1446"/>
                  </a:lnTo>
                  <a:lnTo>
                    <a:pt x="126" y="1440"/>
                  </a:lnTo>
                  <a:lnTo>
                    <a:pt x="126" y="1434"/>
                  </a:lnTo>
                  <a:lnTo>
                    <a:pt x="120" y="1428"/>
                  </a:lnTo>
                  <a:lnTo>
                    <a:pt x="126" y="1398"/>
                  </a:lnTo>
                  <a:lnTo>
                    <a:pt x="120" y="1374"/>
                  </a:lnTo>
                  <a:lnTo>
                    <a:pt x="60" y="1374"/>
                  </a:lnTo>
                  <a:lnTo>
                    <a:pt x="60" y="1368"/>
                  </a:lnTo>
                  <a:lnTo>
                    <a:pt x="54" y="1362"/>
                  </a:lnTo>
                  <a:lnTo>
                    <a:pt x="48" y="1356"/>
                  </a:lnTo>
                  <a:lnTo>
                    <a:pt x="42" y="1356"/>
                  </a:lnTo>
                  <a:lnTo>
                    <a:pt x="42" y="1350"/>
                  </a:lnTo>
                  <a:lnTo>
                    <a:pt x="36" y="1344"/>
                  </a:lnTo>
                  <a:lnTo>
                    <a:pt x="36" y="1338"/>
                  </a:lnTo>
                  <a:lnTo>
                    <a:pt x="30" y="1332"/>
                  </a:lnTo>
                  <a:lnTo>
                    <a:pt x="30" y="1326"/>
                  </a:lnTo>
                  <a:lnTo>
                    <a:pt x="18" y="1326"/>
                  </a:lnTo>
                  <a:lnTo>
                    <a:pt x="18" y="1320"/>
                  </a:lnTo>
                  <a:lnTo>
                    <a:pt x="18" y="1326"/>
                  </a:lnTo>
                  <a:lnTo>
                    <a:pt x="6" y="1320"/>
                  </a:lnTo>
                  <a:lnTo>
                    <a:pt x="0" y="1314"/>
                  </a:lnTo>
                  <a:lnTo>
                    <a:pt x="12" y="1266"/>
                  </a:lnTo>
                  <a:lnTo>
                    <a:pt x="6" y="1242"/>
                  </a:lnTo>
                  <a:lnTo>
                    <a:pt x="12" y="1236"/>
                  </a:lnTo>
                  <a:lnTo>
                    <a:pt x="12" y="1230"/>
                  </a:lnTo>
                  <a:lnTo>
                    <a:pt x="18" y="1230"/>
                  </a:lnTo>
                  <a:lnTo>
                    <a:pt x="18" y="1224"/>
                  </a:lnTo>
                  <a:lnTo>
                    <a:pt x="24" y="1218"/>
                  </a:lnTo>
                  <a:lnTo>
                    <a:pt x="24" y="1212"/>
                  </a:lnTo>
                  <a:lnTo>
                    <a:pt x="30" y="1212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48" y="1188"/>
                  </a:lnTo>
                  <a:lnTo>
                    <a:pt x="48" y="1182"/>
                  </a:lnTo>
                  <a:lnTo>
                    <a:pt x="48" y="1176"/>
                  </a:lnTo>
                  <a:lnTo>
                    <a:pt x="48" y="1170"/>
                  </a:lnTo>
                  <a:lnTo>
                    <a:pt x="54" y="1170"/>
                  </a:lnTo>
                  <a:lnTo>
                    <a:pt x="60" y="1164"/>
                  </a:lnTo>
                  <a:lnTo>
                    <a:pt x="60" y="1158"/>
                  </a:lnTo>
                  <a:lnTo>
                    <a:pt x="66" y="1152"/>
                  </a:lnTo>
                  <a:lnTo>
                    <a:pt x="60" y="1140"/>
                  </a:lnTo>
                  <a:lnTo>
                    <a:pt x="60" y="1134"/>
                  </a:lnTo>
                  <a:lnTo>
                    <a:pt x="54" y="1134"/>
                  </a:lnTo>
                  <a:lnTo>
                    <a:pt x="54" y="1128"/>
                  </a:lnTo>
                  <a:lnTo>
                    <a:pt x="48" y="1122"/>
                  </a:lnTo>
                  <a:lnTo>
                    <a:pt x="48" y="1116"/>
                  </a:lnTo>
                  <a:lnTo>
                    <a:pt x="48" y="1110"/>
                  </a:lnTo>
                  <a:lnTo>
                    <a:pt x="42" y="1104"/>
                  </a:lnTo>
                  <a:lnTo>
                    <a:pt x="42" y="1098"/>
                  </a:lnTo>
                  <a:lnTo>
                    <a:pt x="36" y="1092"/>
                  </a:lnTo>
                  <a:lnTo>
                    <a:pt x="30" y="1092"/>
                  </a:lnTo>
                  <a:lnTo>
                    <a:pt x="24" y="1092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18" y="1080"/>
                  </a:lnTo>
                  <a:lnTo>
                    <a:pt x="18" y="1074"/>
                  </a:lnTo>
                  <a:lnTo>
                    <a:pt x="12" y="1068"/>
                  </a:lnTo>
                  <a:lnTo>
                    <a:pt x="6" y="1068"/>
                  </a:lnTo>
                  <a:lnTo>
                    <a:pt x="12" y="1056"/>
                  </a:lnTo>
                  <a:lnTo>
                    <a:pt x="6" y="1056"/>
                  </a:lnTo>
                  <a:lnTo>
                    <a:pt x="6" y="1050"/>
                  </a:lnTo>
                  <a:lnTo>
                    <a:pt x="6" y="1044"/>
                  </a:lnTo>
                  <a:lnTo>
                    <a:pt x="6" y="1026"/>
                  </a:lnTo>
                  <a:lnTo>
                    <a:pt x="12" y="1020"/>
                  </a:lnTo>
                  <a:lnTo>
                    <a:pt x="12" y="1014"/>
                  </a:lnTo>
                  <a:lnTo>
                    <a:pt x="18" y="1014"/>
                  </a:lnTo>
                  <a:lnTo>
                    <a:pt x="18" y="1008"/>
                  </a:lnTo>
                  <a:lnTo>
                    <a:pt x="18" y="1002"/>
                  </a:lnTo>
                  <a:lnTo>
                    <a:pt x="18" y="990"/>
                  </a:lnTo>
                  <a:lnTo>
                    <a:pt x="12" y="972"/>
                  </a:lnTo>
                  <a:lnTo>
                    <a:pt x="18" y="954"/>
                  </a:lnTo>
                  <a:lnTo>
                    <a:pt x="18" y="948"/>
                  </a:lnTo>
                  <a:lnTo>
                    <a:pt x="24" y="948"/>
                  </a:lnTo>
                  <a:lnTo>
                    <a:pt x="24" y="930"/>
                  </a:lnTo>
                  <a:lnTo>
                    <a:pt x="30" y="930"/>
                  </a:lnTo>
                  <a:lnTo>
                    <a:pt x="36" y="918"/>
                  </a:lnTo>
                  <a:lnTo>
                    <a:pt x="42" y="918"/>
                  </a:lnTo>
                  <a:lnTo>
                    <a:pt x="48" y="918"/>
                  </a:lnTo>
                  <a:lnTo>
                    <a:pt x="78" y="912"/>
                  </a:lnTo>
                  <a:lnTo>
                    <a:pt x="90" y="894"/>
                  </a:lnTo>
                  <a:lnTo>
                    <a:pt x="96" y="894"/>
                  </a:lnTo>
                  <a:lnTo>
                    <a:pt x="102" y="888"/>
                  </a:lnTo>
                  <a:lnTo>
                    <a:pt x="102" y="882"/>
                  </a:lnTo>
                  <a:lnTo>
                    <a:pt x="114" y="870"/>
                  </a:lnTo>
                  <a:lnTo>
                    <a:pt x="120" y="864"/>
                  </a:lnTo>
                  <a:lnTo>
                    <a:pt x="120" y="852"/>
                  </a:lnTo>
                  <a:lnTo>
                    <a:pt x="120" y="846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32" y="840"/>
                  </a:lnTo>
                  <a:lnTo>
                    <a:pt x="138" y="840"/>
                  </a:lnTo>
                  <a:lnTo>
                    <a:pt x="138" y="834"/>
                  </a:lnTo>
                  <a:lnTo>
                    <a:pt x="144" y="834"/>
                  </a:lnTo>
                  <a:lnTo>
                    <a:pt x="144" y="828"/>
                  </a:lnTo>
                  <a:lnTo>
                    <a:pt x="150" y="828"/>
                  </a:lnTo>
                  <a:lnTo>
                    <a:pt x="156" y="822"/>
                  </a:lnTo>
                  <a:lnTo>
                    <a:pt x="162" y="816"/>
                  </a:lnTo>
                  <a:lnTo>
                    <a:pt x="162" y="822"/>
                  </a:lnTo>
                  <a:lnTo>
                    <a:pt x="162" y="816"/>
                  </a:lnTo>
                  <a:lnTo>
                    <a:pt x="162" y="810"/>
                  </a:lnTo>
                  <a:lnTo>
                    <a:pt x="168" y="810"/>
                  </a:lnTo>
                  <a:lnTo>
                    <a:pt x="174" y="804"/>
                  </a:lnTo>
                  <a:lnTo>
                    <a:pt x="180" y="798"/>
                  </a:lnTo>
                  <a:lnTo>
                    <a:pt x="180" y="786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8" y="780"/>
                  </a:lnTo>
                  <a:lnTo>
                    <a:pt x="204" y="774"/>
                  </a:lnTo>
                  <a:lnTo>
                    <a:pt x="210" y="774"/>
                  </a:lnTo>
                  <a:lnTo>
                    <a:pt x="216" y="768"/>
                  </a:lnTo>
                  <a:lnTo>
                    <a:pt x="222" y="762"/>
                  </a:lnTo>
                  <a:lnTo>
                    <a:pt x="228" y="762"/>
                  </a:lnTo>
                  <a:lnTo>
                    <a:pt x="228" y="768"/>
                  </a:lnTo>
                  <a:lnTo>
                    <a:pt x="234" y="768"/>
                  </a:lnTo>
                  <a:lnTo>
                    <a:pt x="240" y="762"/>
                  </a:lnTo>
                  <a:lnTo>
                    <a:pt x="252" y="762"/>
                  </a:lnTo>
                  <a:lnTo>
                    <a:pt x="264" y="768"/>
                  </a:lnTo>
                  <a:lnTo>
                    <a:pt x="294" y="756"/>
                  </a:lnTo>
                  <a:lnTo>
                    <a:pt x="294" y="750"/>
                  </a:lnTo>
                  <a:lnTo>
                    <a:pt x="300" y="750"/>
                  </a:lnTo>
                  <a:lnTo>
                    <a:pt x="306" y="744"/>
                  </a:lnTo>
                  <a:lnTo>
                    <a:pt x="342" y="750"/>
                  </a:lnTo>
                  <a:lnTo>
                    <a:pt x="348" y="750"/>
                  </a:lnTo>
                  <a:lnTo>
                    <a:pt x="348" y="744"/>
                  </a:lnTo>
                  <a:lnTo>
                    <a:pt x="354" y="744"/>
                  </a:lnTo>
                  <a:lnTo>
                    <a:pt x="360" y="744"/>
                  </a:lnTo>
                  <a:lnTo>
                    <a:pt x="360" y="750"/>
                  </a:lnTo>
                  <a:lnTo>
                    <a:pt x="366" y="750"/>
                  </a:lnTo>
                  <a:lnTo>
                    <a:pt x="366" y="744"/>
                  </a:lnTo>
                  <a:lnTo>
                    <a:pt x="366" y="738"/>
                  </a:lnTo>
                  <a:lnTo>
                    <a:pt x="372" y="744"/>
                  </a:lnTo>
                  <a:lnTo>
                    <a:pt x="378" y="744"/>
                  </a:lnTo>
                  <a:lnTo>
                    <a:pt x="384" y="750"/>
                  </a:lnTo>
                  <a:lnTo>
                    <a:pt x="444" y="774"/>
                  </a:lnTo>
                  <a:lnTo>
                    <a:pt x="450" y="774"/>
                  </a:lnTo>
                  <a:lnTo>
                    <a:pt x="456" y="768"/>
                  </a:lnTo>
                  <a:lnTo>
                    <a:pt x="462" y="768"/>
                  </a:lnTo>
                  <a:lnTo>
                    <a:pt x="462" y="762"/>
                  </a:lnTo>
                  <a:lnTo>
                    <a:pt x="468" y="762"/>
                  </a:lnTo>
                  <a:lnTo>
                    <a:pt x="474" y="756"/>
                  </a:lnTo>
                  <a:lnTo>
                    <a:pt x="480" y="750"/>
                  </a:lnTo>
                  <a:lnTo>
                    <a:pt x="516" y="756"/>
                  </a:lnTo>
                  <a:lnTo>
                    <a:pt x="522" y="756"/>
                  </a:lnTo>
                  <a:lnTo>
                    <a:pt x="522" y="762"/>
                  </a:lnTo>
                  <a:lnTo>
                    <a:pt x="522" y="768"/>
                  </a:lnTo>
                  <a:lnTo>
                    <a:pt x="522" y="774"/>
                  </a:lnTo>
                  <a:lnTo>
                    <a:pt x="528" y="780"/>
                  </a:lnTo>
                  <a:lnTo>
                    <a:pt x="540" y="780"/>
                  </a:lnTo>
                  <a:lnTo>
                    <a:pt x="540" y="804"/>
                  </a:lnTo>
                  <a:lnTo>
                    <a:pt x="540" y="810"/>
                  </a:lnTo>
                  <a:lnTo>
                    <a:pt x="546" y="810"/>
                  </a:lnTo>
                  <a:lnTo>
                    <a:pt x="552" y="810"/>
                  </a:lnTo>
                  <a:lnTo>
                    <a:pt x="558" y="810"/>
                  </a:lnTo>
                  <a:lnTo>
                    <a:pt x="564" y="810"/>
                  </a:lnTo>
                  <a:lnTo>
                    <a:pt x="570" y="810"/>
                  </a:lnTo>
                  <a:lnTo>
                    <a:pt x="576" y="810"/>
                  </a:lnTo>
                  <a:lnTo>
                    <a:pt x="576" y="816"/>
                  </a:lnTo>
                  <a:lnTo>
                    <a:pt x="588" y="816"/>
                  </a:lnTo>
                  <a:lnTo>
                    <a:pt x="594" y="816"/>
                  </a:lnTo>
                  <a:lnTo>
                    <a:pt x="600" y="822"/>
                  </a:lnTo>
                  <a:lnTo>
                    <a:pt x="606" y="816"/>
                  </a:lnTo>
                  <a:lnTo>
                    <a:pt x="612" y="816"/>
                  </a:lnTo>
                  <a:lnTo>
                    <a:pt x="612" y="810"/>
                  </a:lnTo>
                  <a:lnTo>
                    <a:pt x="624" y="810"/>
                  </a:lnTo>
                  <a:lnTo>
                    <a:pt x="624" y="804"/>
                  </a:lnTo>
                  <a:lnTo>
                    <a:pt x="630" y="798"/>
                  </a:lnTo>
                  <a:lnTo>
                    <a:pt x="636" y="798"/>
                  </a:lnTo>
                  <a:lnTo>
                    <a:pt x="636" y="804"/>
                  </a:lnTo>
                  <a:lnTo>
                    <a:pt x="642" y="804"/>
                  </a:lnTo>
                  <a:lnTo>
                    <a:pt x="648" y="804"/>
                  </a:lnTo>
                  <a:lnTo>
                    <a:pt x="654" y="804"/>
                  </a:lnTo>
                  <a:lnTo>
                    <a:pt x="660" y="804"/>
                  </a:lnTo>
                  <a:lnTo>
                    <a:pt x="678" y="798"/>
                  </a:lnTo>
                  <a:lnTo>
                    <a:pt x="714" y="786"/>
                  </a:lnTo>
                  <a:lnTo>
                    <a:pt x="714" y="792"/>
                  </a:lnTo>
                  <a:lnTo>
                    <a:pt x="714" y="798"/>
                  </a:lnTo>
                  <a:lnTo>
                    <a:pt x="714" y="804"/>
                  </a:lnTo>
                  <a:lnTo>
                    <a:pt x="720" y="804"/>
                  </a:lnTo>
                  <a:lnTo>
                    <a:pt x="720" y="810"/>
                  </a:lnTo>
                  <a:lnTo>
                    <a:pt x="720" y="816"/>
                  </a:lnTo>
                  <a:lnTo>
                    <a:pt x="726" y="822"/>
                  </a:lnTo>
                  <a:lnTo>
                    <a:pt x="732" y="828"/>
                  </a:lnTo>
                  <a:lnTo>
                    <a:pt x="732" y="834"/>
                  </a:lnTo>
                  <a:lnTo>
                    <a:pt x="732" y="846"/>
                  </a:lnTo>
                  <a:lnTo>
                    <a:pt x="732" y="858"/>
                  </a:lnTo>
                  <a:lnTo>
                    <a:pt x="738" y="858"/>
                  </a:lnTo>
                  <a:lnTo>
                    <a:pt x="732" y="864"/>
                  </a:lnTo>
                  <a:lnTo>
                    <a:pt x="732" y="870"/>
                  </a:lnTo>
                  <a:lnTo>
                    <a:pt x="726" y="870"/>
                  </a:lnTo>
                  <a:lnTo>
                    <a:pt x="726" y="876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0" y="882"/>
                  </a:lnTo>
                  <a:lnTo>
                    <a:pt x="690" y="912"/>
                  </a:lnTo>
                  <a:lnTo>
                    <a:pt x="696" y="936"/>
                  </a:lnTo>
                  <a:lnTo>
                    <a:pt x="702" y="936"/>
                  </a:lnTo>
                  <a:lnTo>
                    <a:pt x="702" y="930"/>
                  </a:lnTo>
                  <a:lnTo>
                    <a:pt x="708" y="930"/>
                  </a:lnTo>
                  <a:lnTo>
                    <a:pt x="708" y="924"/>
                  </a:lnTo>
                  <a:lnTo>
                    <a:pt x="708" y="918"/>
                  </a:lnTo>
                  <a:lnTo>
                    <a:pt x="714" y="918"/>
                  </a:lnTo>
                  <a:lnTo>
                    <a:pt x="720" y="954"/>
                  </a:lnTo>
                  <a:lnTo>
                    <a:pt x="726" y="966"/>
                  </a:lnTo>
                  <a:lnTo>
                    <a:pt x="744" y="966"/>
                  </a:lnTo>
                  <a:lnTo>
                    <a:pt x="756" y="972"/>
                  </a:lnTo>
                  <a:lnTo>
                    <a:pt x="792" y="990"/>
                  </a:lnTo>
                  <a:lnTo>
                    <a:pt x="828" y="978"/>
                  </a:lnTo>
                  <a:lnTo>
                    <a:pt x="834" y="978"/>
                  </a:lnTo>
                  <a:lnTo>
                    <a:pt x="840" y="978"/>
                  </a:lnTo>
                  <a:lnTo>
                    <a:pt x="840" y="984"/>
                  </a:lnTo>
                  <a:lnTo>
                    <a:pt x="846" y="984"/>
                  </a:lnTo>
                  <a:lnTo>
                    <a:pt x="858" y="972"/>
                  </a:lnTo>
                  <a:lnTo>
                    <a:pt x="882" y="972"/>
                  </a:lnTo>
                  <a:lnTo>
                    <a:pt x="888" y="984"/>
                  </a:lnTo>
                  <a:lnTo>
                    <a:pt x="900" y="990"/>
                  </a:lnTo>
                  <a:lnTo>
                    <a:pt x="924" y="996"/>
                  </a:lnTo>
                  <a:lnTo>
                    <a:pt x="930" y="990"/>
                  </a:lnTo>
                  <a:lnTo>
                    <a:pt x="930" y="984"/>
                  </a:lnTo>
                  <a:lnTo>
                    <a:pt x="924" y="978"/>
                  </a:lnTo>
                  <a:lnTo>
                    <a:pt x="906" y="972"/>
                  </a:lnTo>
                  <a:lnTo>
                    <a:pt x="900" y="966"/>
                  </a:lnTo>
                  <a:lnTo>
                    <a:pt x="900" y="960"/>
                  </a:lnTo>
                  <a:lnTo>
                    <a:pt x="900" y="954"/>
                  </a:lnTo>
                  <a:lnTo>
                    <a:pt x="900" y="948"/>
                  </a:lnTo>
                  <a:lnTo>
                    <a:pt x="912" y="936"/>
                  </a:lnTo>
                  <a:lnTo>
                    <a:pt x="912" y="924"/>
                  </a:lnTo>
                  <a:lnTo>
                    <a:pt x="918" y="924"/>
                  </a:lnTo>
                  <a:lnTo>
                    <a:pt x="918" y="918"/>
                  </a:lnTo>
                  <a:lnTo>
                    <a:pt x="936" y="906"/>
                  </a:lnTo>
                  <a:lnTo>
                    <a:pt x="942" y="906"/>
                  </a:lnTo>
                  <a:lnTo>
                    <a:pt x="948" y="906"/>
                  </a:lnTo>
                  <a:lnTo>
                    <a:pt x="954" y="906"/>
                  </a:lnTo>
                  <a:lnTo>
                    <a:pt x="960" y="906"/>
                  </a:lnTo>
                  <a:lnTo>
                    <a:pt x="966" y="912"/>
                  </a:lnTo>
                  <a:lnTo>
                    <a:pt x="972" y="906"/>
                  </a:lnTo>
                  <a:lnTo>
                    <a:pt x="978" y="906"/>
                  </a:lnTo>
                  <a:lnTo>
                    <a:pt x="984" y="900"/>
                  </a:lnTo>
                  <a:lnTo>
                    <a:pt x="984" y="894"/>
                  </a:lnTo>
                  <a:lnTo>
                    <a:pt x="990" y="894"/>
                  </a:lnTo>
                  <a:lnTo>
                    <a:pt x="996" y="888"/>
                  </a:lnTo>
                  <a:lnTo>
                    <a:pt x="1002" y="888"/>
                  </a:lnTo>
                  <a:lnTo>
                    <a:pt x="1008" y="882"/>
                  </a:lnTo>
                  <a:lnTo>
                    <a:pt x="1014" y="882"/>
                  </a:lnTo>
                  <a:lnTo>
                    <a:pt x="1020" y="882"/>
                  </a:lnTo>
                  <a:lnTo>
                    <a:pt x="1020" y="888"/>
                  </a:lnTo>
                  <a:lnTo>
                    <a:pt x="1026" y="882"/>
                  </a:lnTo>
                  <a:lnTo>
                    <a:pt x="1026" y="876"/>
                  </a:lnTo>
                  <a:lnTo>
                    <a:pt x="1026" y="870"/>
                  </a:lnTo>
                  <a:lnTo>
                    <a:pt x="1032" y="864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44" y="852"/>
                  </a:lnTo>
                  <a:lnTo>
                    <a:pt x="1038" y="846"/>
                  </a:lnTo>
                  <a:lnTo>
                    <a:pt x="1038" y="840"/>
                  </a:lnTo>
                  <a:lnTo>
                    <a:pt x="1032" y="840"/>
                  </a:lnTo>
                  <a:lnTo>
                    <a:pt x="1026" y="840"/>
                  </a:lnTo>
                  <a:lnTo>
                    <a:pt x="1020" y="840"/>
                  </a:lnTo>
                  <a:lnTo>
                    <a:pt x="1014" y="846"/>
                  </a:lnTo>
                  <a:lnTo>
                    <a:pt x="1008" y="846"/>
                  </a:lnTo>
                  <a:lnTo>
                    <a:pt x="1002" y="840"/>
                  </a:lnTo>
                  <a:lnTo>
                    <a:pt x="996" y="840"/>
                  </a:lnTo>
                  <a:lnTo>
                    <a:pt x="990" y="834"/>
                  </a:lnTo>
                  <a:lnTo>
                    <a:pt x="984" y="834"/>
                  </a:lnTo>
                  <a:lnTo>
                    <a:pt x="978" y="834"/>
                  </a:lnTo>
                  <a:lnTo>
                    <a:pt x="972" y="834"/>
                  </a:lnTo>
                  <a:lnTo>
                    <a:pt x="966" y="834"/>
                  </a:lnTo>
                  <a:lnTo>
                    <a:pt x="966" y="828"/>
                  </a:lnTo>
                  <a:lnTo>
                    <a:pt x="960" y="828"/>
                  </a:lnTo>
                  <a:lnTo>
                    <a:pt x="954" y="828"/>
                  </a:lnTo>
                  <a:lnTo>
                    <a:pt x="942" y="828"/>
                  </a:lnTo>
                  <a:lnTo>
                    <a:pt x="936" y="828"/>
                  </a:lnTo>
                  <a:lnTo>
                    <a:pt x="930" y="828"/>
                  </a:lnTo>
                  <a:lnTo>
                    <a:pt x="918" y="828"/>
                  </a:lnTo>
                  <a:lnTo>
                    <a:pt x="918" y="822"/>
                  </a:lnTo>
                  <a:lnTo>
                    <a:pt x="912" y="828"/>
                  </a:lnTo>
                  <a:lnTo>
                    <a:pt x="912" y="822"/>
                  </a:lnTo>
                  <a:lnTo>
                    <a:pt x="906" y="816"/>
                  </a:lnTo>
                  <a:lnTo>
                    <a:pt x="900" y="816"/>
                  </a:lnTo>
                  <a:lnTo>
                    <a:pt x="894" y="816"/>
                  </a:lnTo>
                  <a:lnTo>
                    <a:pt x="888" y="816"/>
                  </a:lnTo>
                  <a:lnTo>
                    <a:pt x="882" y="816"/>
                  </a:lnTo>
                  <a:lnTo>
                    <a:pt x="882" y="810"/>
                  </a:lnTo>
                  <a:lnTo>
                    <a:pt x="876" y="804"/>
                  </a:lnTo>
                  <a:lnTo>
                    <a:pt x="870" y="804"/>
                  </a:lnTo>
                  <a:lnTo>
                    <a:pt x="864" y="798"/>
                  </a:lnTo>
                  <a:lnTo>
                    <a:pt x="858" y="798"/>
                  </a:lnTo>
                  <a:lnTo>
                    <a:pt x="858" y="804"/>
                  </a:lnTo>
                  <a:lnTo>
                    <a:pt x="852" y="804"/>
                  </a:lnTo>
                  <a:lnTo>
                    <a:pt x="846" y="804"/>
                  </a:lnTo>
                  <a:lnTo>
                    <a:pt x="846" y="798"/>
                  </a:lnTo>
                  <a:lnTo>
                    <a:pt x="840" y="804"/>
                  </a:lnTo>
                  <a:lnTo>
                    <a:pt x="834" y="804"/>
                  </a:lnTo>
                  <a:lnTo>
                    <a:pt x="828" y="804"/>
                  </a:lnTo>
                  <a:lnTo>
                    <a:pt x="828" y="810"/>
                  </a:lnTo>
                  <a:lnTo>
                    <a:pt x="822" y="810"/>
                  </a:lnTo>
                  <a:lnTo>
                    <a:pt x="810" y="804"/>
                  </a:lnTo>
                  <a:lnTo>
                    <a:pt x="810" y="798"/>
                  </a:lnTo>
                  <a:lnTo>
                    <a:pt x="780" y="798"/>
                  </a:lnTo>
                  <a:lnTo>
                    <a:pt x="756" y="774"/>
                  </a:lnTo>
                  <a:lnTo>
                    <a:pt x="750" y="768"/>
                  </a:lnTo>
                  <a:lnTo>
                    <a:pt x="750" y="744"/>
                  </a:lnTo>
                  <a:lnTo>
                    <a:pt x="732" y="738"/>
                  </a:lnTo>
                  <a:lnTo>
                    <a:pt x="732" y="720"/>
                  </a:lnTo>
                  <a:lnTo>
                    <a:pt x="714" y="690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6" y="666"/>
                  </a:lnTo>
                  <a:lnTo>
                    <a:pt x="690" y="666"/>
                  </a:lnTo>
                  <a:lnTo>
                    <a:pt x="678" y="672"/>
                  </a:lnTo>
                  <a:lnTo>
                    <a:pt x="678" y="654"/>
                  </a:lnTo>
                  <a:lnTo>
                    <a:pt x="684" y="630"/>
                  </a:lnTo>
                  <a:lnTo>
                    <a:pt x="690" y="618"/>
                  </a:lnTo>
                  <a:lnTo>
                    <a:pt x="696" y="612"/>
                  </a:lnTo>
                  <a:lnTo>
                    <a:pt x="696" y="588"/>
                  </a:lnTo>
                  <a:lnTo>
                    <a:pt x="690" y="576"/>
                  </a:lnTo>
                  <a:lnTo>
                    <a:pt x="696" y="552"/>
                  </a:lnTo>
                  <a:lnTo>
                    <a:pt x="684" y="522"/>
                  </a:lnTo>
                  <a:lnTo>
                    <a:pt x="672" y="504"/>
                  </a:lnTo>
                  <a:lnTo>
                    <a:pt x="654" y="504"/>
                  </a:lnTo>
                  <a:lnTo>
                    <a:pt x="642" y="504"/>
                  </a:lnTo>
                  <a:lnTo>
                    <a:pt x="624" y="510"/>
                  </a:lnTo>
                  <a:lnTo>
                    <a:pt x="612" y="516"/>
                  </a:lnTo>
                  <a:lnTo>
                    <a:pt x="594" y="516"/>
                  </a:lnTo>
                  <a:lnTo>
                    <a:pt x="588" y="516"/>
                  </a:lnTo>
                  <a:lnTo>
                    <a:pt x="588" y="522"/>
                  </a:lnTo>
                  <a:lnTo>
                    <a:pt x="582" y="516"/>
                  </a:lnTo>
                  <a:lnTo>
                    <a:pt x="588" y="510"/>
                  </a:lnTo>
                  <a:lnTo>
                    <a:pt x="582" y="510"/>
                  </a:lnTo>
                  <a:lnTo>
                    <a:pt x="582" y="504"/>
                  </a:lnTo>
                  <a:lnTo>
                    <a:pt x="576" y="498"/>
                  </a:lnTo>
                  <a:lnTo>
                    <a:pt x="570" y="498"/>
                  </a:lnTo>
                  <a:lnTo>
                    <a:pt x="570" y="492"/>
                  </a:lnTo>
                  <a:lnTo>
                    <a:pt x="564" y="492"/>
                  </a:lnTo>
                  <a:lnTo>
                    <a:pt x="570" y="486"/>
                  </a:lnTo>
                  <a:lnTo>
                    <a:pt x="564" y="486"/>
                  </a:lnTo>
                  <a:lnTo>
                    <a:pt x="564" y="480"/>
                  </a:lnTo>
                  <a:lnTo>
                    <a:pt x="564" y="474"/>
                  </a:lnTo>
                  <a:lnTo>
                    <a:pt x="558" y="468"/>
                  </a:lnTo>
                  <a:lnTo>
                    <a:pt x="564" y="468"/>
                  </a:lnTo>
                  <a:lnTo>
                    <a:pt x="564" y="462"/>
                  </a:lnTo>
                  <a:lnTo>
                    <a:pt x="570" y="462"/>
                  </a:lnTo>
                  <a:lnTo>
                    <a:pt x="570" y="456"/>
                  </a:lnTo>
                  <a:lnTo>
                    <a:pt x="570" y="450"/>
                  </a:lnTo>
                  <a:lnTo>
                    <a:pt x="576" y="450"/>
                  </a:lnTo>
                  <a:lnTo>
                    <a:pt x="576" y="444"/>
                  </a:lnTo>
                  <a:lnTo>
                    <a:pt x="582" y="438"/>
                  </a:lnTo>
                  <a:lnTo>
                    <a:pt x="588" y="438"/>
                  </a:lnTo>
                  <a:lnTo>
                    <a:pt x="588" y="444"/>
                  </a:lnTo>
                  <a:lnTo>
                    <a:pt x="594" y="438"/>
                  </a:lnTo>
                  <a:lnTo>
                    <a:pt x="594" y="432"/>
                  </a:lnTo>
                  <a:lnTo>
                    <a:pt x="600" y="432"/>
                  </a:lnTo>
                  <a:lnTo>
                    <a:pt x="600" y="426"/>
                  </a:lnTo>
                  <a:lnTo>
                    <a:pt x="600" y="420"/>
                  </a:lnTo>
                  <a:lnTo>
                    <a:pt x="606" y="420"/>
                  </a:lnTo>
                  <a:lnTo>
                    <a:pt x="600" y="420"/>
                  </a:lnTo>
                  <a:lnTo>
                    <a:pt x="600" y="414"/>
                  </a:lnTo>
                  <a:lnTo>
                    <a:pt x="606" y="408"/>
                  </a:lnTo>
                  <a:lnTo>
                    <a:pt x="612" y="408"/>
                  </a:lnTo>
                  <a:lnTo>
                    <a:pt x="612" y="414"/>
                  </a:lnTo>
                  <a:lnTo>
                    <a:pt x="618" y="414"/>
                  </a:lnTo>
                  <a:lnTo>
                    <a:pt x="624" y="414"/>
                  </a:lnTo>
                  <a:lnTo>
                    <a:pt x="630" y="414"/>
                  </a:lnTo>
                  <a:lnTo>
                    <a:pt x="636" y="414"/>
                  </a:lnTo>
                  <a:lnTo>
                    <a:pt x="642" y="408"/>
                  </a:lnTo>
                  <a:lnTo>
                    <a:pt x="648" y="408"/>
                  </a:lnTo>
                  <a:lnTo>
                    <a:pt x="660" y="408"/>
                  </a:lnTo>
                  <a:lnTo>
                    <a:pt x="666" y="402"/>
                  </a:lnTo>
                  <a:lnTo>
                    <a:pt x="672" y="402"/>
                  </a:lnTo>
                  <a:lnTo>
                    <a:pt x="684" y="396"/>
                  </a:lnTo>
                  <a:lnTo>
                    <a:pt x="690" y="396"/>
                  </a:lnTo>
                  <a:lnTo>
                    <a:pt x="696" y="396"/>
                  </a:lnTo>
                  <a:lnTo>
                    <a:pt x="702" y="396"/>
                  </a:lnTo>
                  <a:lnTo>
                    <a:pt x="708" y="396"/>
                  </a:lnTo>
                  <a:lnTo>
                    <a:pt x="714" y="390"/>
                  </a:lnTo>
                  <a:lnTo>
                    <a:pt x="714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32" y="384"/>
                  </a:lnTo>
                  <a:lnTo>
                    <a:pt x="738" y="378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56" y="372"/>
                  </a:lnTo>
                  <a:lnTo>
                    <a:pt x="762" y="366"/>
                  </a:lnTo>
                  <a:lnTo>
                    <a:pt x="768" y="366"/>
                  </a:lnTo>
                  <a:lnTo>
                    <a:pt x="774" y="366"/>
                  </a:lnTo>
                  <a:lnTo>
                    <a:pt x="774" y="360"/>
                  </a:lnTo>
                  <a:lnTo>
                    <a:pt x="780" y="366"/>
                  </a:lnTo>
                  <a:lnTo>
                    <a:pt x="786" y="366"/>
                  </a:lnTo>
                  <a:lnTo>
                    <a:pt x="786" y="360"/>
                  </a:lnTo>
                  <a:lnTo>
                    <a:pt x="792" y="354"/>
                  </a:lnTo>
                  <a:lnTo>
                    <a:pt x="786" y="354"/>
                  </a:lnTo>
                  <a:lnTo>
                    <a:pt x="792" y="348"/>
                  </a:lnTo>
                  <a:lnTo>
                    <a:pt x="798" y="348"/>
                  </a:lnTo>
                  <a:lnTo>
                    <a:pt x="804" y="348"/>
                  </a:lnTo>
                  <a:lnTo>
                    <a:pt x="810" y="342"/>
                  </a:lnTo>
                  <a:lnTo>
                    <a:pt x="816" y="342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28" y="336"/>
                  </a:lnTo>
                  <a:lnTo>
                    <a:pt x="834" y="336"/>
                  </a:lnTo>
                  <a:lnTo>
                    <a:pt x="840" y="336"/>
                  </a:lnTo>
                  <a:lnTo>
                    <a:pt x="846" y="330"/>
                  </a:lnTo>
                  <a:lnTo>
                    <a:pt x="852" y="330"/>
                  </a:lnTo>
                  <a:lnTo>
                    <a:pt x="858" y="330"/>
                  </a:lnTo>
                  <a:lnTo>
                    <a:pt x="864" y="324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0" y="312"/>
                  </a:lnTo>
                  <a:lnTo>
                    <a:pt x="876" y="312"/>
                  </a:lnTo>
                  <a:lnTo>
                    <a:pt x="882" y="312"/>
                  </a:lnTo>
                  <a:lnTo>
                    <a:pt x="882" y="318"/>
                  </a:lnTo>
                  <a:lnTo>
                    <a:pt x="888" y="312"/>
                  </a:lnTo>
                  <a:lnTo>
                    <a:pt x="894" y="306"/>
                  </a:lnTo>
                  <a:lnTo>
                    <a:pt x="900" y="306"/>
                  </a:lnTo>
                  <a:lnTo>
                    <a:pt x="906" y="306"/>
                  </a:lnTo>
                  <a:lnTo>
                    <a:pt x="912" y="300"/>
                  </a:lnTo>
                  <a:lnTo>
                    <a:pt x="906" y="294"/>
                  </a:lnTo>
                  <a:lnTo>
                    <a:pt x="912" y="276"/>
                  </a:lnTo>
                  <a:lnTo>
                    <a:pt x="912" y="252"/>
                  </a:lnTo>
                  <a:lnTo>
                    <a:pt x="906" y="234"/>
                  </a:lnTo>
                  <a:lnTo>
                    <a:pt x="912" y="228"/>
                  </a:lnTo>
                  <a:lnTo>
                    <a:pt x="912" y="216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24" y="192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36" y="186"/>
                  </a:lnTo>
                  <a:lnTo>
                    <a:pt x="930" y="180"/>
                  </a:lnTo>
                  <a:lnTo>
                    <a:pt x="930" y="174"/>
                  </a:lnTo>
                  <a:lnTo>
                    <a:pt x="936" y="156"/>
                  </a:lnTo>
                  <a:lnTo>
                    <a:pt x="930" y="156"/>
                  </a:lnTo>
                  <a:lnTo>
                    <a:pt x="924" y="150"/>
                  </a:lnTo>
                  <a:lnTo>
                    <a:pt x="942" y="78"/>
                  </a:lnTo>
                  <a:lnTo>
                    <a:pt x="948" y="78"/>
                  </a:lnTo>
                  <a:lnTo>
                    <a:pt x="954" y="66"/>
                  </a:lnTo>
                  <a:lnTo>
                    <a:pt x="954" y="72"/>
                  </a:lnTo>
                  <a:lnTo>
                    <a:pt x="954" y="66"/>
                  </a:lnTo>
                  <a:lnTo>
                    <a:pt x="960" y="66"/>
                  </a:lnTo>
                  <a:lnTo>
                    <a:pt x="966" y="66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54"/>
                  </a:lnTo>
                  <a:lnTo>
                    <a:pt x="990" y="54"/>
                  </a:lnTo>
                  <a:lnTo>
                    <a:pt x="996" y="48"/>
                  </a:lnTo>
                  <a:lnTo>
                    <a:pt x="1002" y="48"/>
                  </a:lnTo>
                  <a:lnTo>
                    <a:pt x="1032" y="48"/>
                  </a:lnTo>
                  <a:lnTo>
                    <a:pt x="1062" y="48"/>
                  </a:lnTo>
                  <a:lnTo>
                    <a:pt x="1068" y="78"/>
                  </a:lnTo>
                  <a:lnTo>
                    <a:pt x="1086" y="78"/>
                  </a:lnTo>
                  <a:lnTo>
                    <a:pt x="1092" y="66"/>
                  </a:lnTo>
                  <a:lnTo>
                    <a:pt x="1092" y="60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8" y="48"/>
                  </a:lnTo>
                  <a:lnTo>
                    <a:pt x="1104" y="48"/>
                  </a:lnTo>
                  <a:lnTo>
                    <a:pt x="1110" y="48"/>
                  </a:lnTo>
                  <a:lnTo>
                    <a:pt x="1110" y="42"/>
                  </a:lnTo>
                  <a:lnTo>
                    <a:pt x="1110" y="36"/>
                  </a:lnTo>
                  <a:lnTo>
                    <a:pt x="1116" y="36"/>
                  </a:lnTo>
                  <a:lnTo>
                    <a:pt x="1116" y="30"/>
                  </a:lnTo>
                  <a:lnTo>
                    <a:pt x="1122" y="30"/>
                  </a:lnTo>
                  <a:lnTo>
                    <a:pt x="1128" y="30"/>
                  </a:lnTo>
                  <a:lnTo>
                    <a:pt x="1134" y="30"/>
                  </a:lnTo>
                  <a:lnTo>
                    <a:pt x="1140" y="24"/>
                  </a:lnTo>
                  <a:lnTo>
                    <a:pt x="1152" y="18"/>
                  </a:lnTo>
                  <a:lnTo>
                    <a:pt x="1158" y="18"/>
                  </a:lnTo>
                  <a:lnTo>
                    <a:pt x="1152" y="12"/>
                  </a:lnTo>
                  <a:lnTo>
                    <a:pt x="1152" y="6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8"/>
                  </a:lnTo>
                  <a:lnTo>
                    <a:pt x="1170" y="12"/>
                  </a:lnTo>
                  <a:lnTo>
                    <a:pt x="1170" y="6"/>
                  </a:lnTo>
                  <a:lnTo>
                    <a:pt x="1176" y="6"/>
                  </a:lnTo>
                  <a:lnTo>
                    <a:pt x="1176" y="0"/>
                  </a:lnTo>
                  <a:lnTo>
                    <a:pt x="1182" y="6"/>
                  </a:lnTo>
                  <a:lnTo>
                    <a:pt x="1188" y="6"/>
                  </a:lnTo>
                  <a:lnTo>
                    <a:pt x="1188" y="0"/>
                  </a:lnTo>
                  <a:lnTo>
                    <a:pt x="1194" y="6"/>
                  </a:lnTo>
                  <a:lnTo>
                    <a:pt x="1200" y="12"/>
                  </a:lnTo>
                  <a:lnTo>
                    <a:pt x="1206" y="18"/>
                  </a:lnTo>
                  <a:lnTo>
                    <a:pt x="1212" y="18"/>
                  </a:lnTo>
                  <a:lnTo>
                    <a:pt x="1218" y="24"/>
                  </a:lnTo>
                  <a:lnTo>
                    <a:pt x="1236" y="36"/>
                  </a:lnTo>
                  <a:lnTo>
                    <a:pt x="1242" y="36"/>
                  </a:lnTo>
                  <a:lnTo>
                    <a:pt x="1248" y="42"/>
                  </a:lnTo>
                  <a:lnTo>
                    <a:pt x="1248" y="48"/>
                  </a:lnTo>
                  <a:lnTo>
                    <a:pt x="1260" y="48"/>
                  </a:lnTo>
                  <a:lnTo>
                    <a:pt x="1260" y="108"/>
                  </a:lnTo>
                  <a:lnTo>
                    <a:pt x="1266" y="168"/>
                  </a:lnTo>
                  <a:lnTo>
                    <a:pt x="1278" y="234"/>
                  </a:lnTo>
                  <a:lnTo>
                    <a:pt x="1284" y="240"/>
                  </a:lnTo>
                  <a:lnTo>
                    <a:pt x="1290" y="264"/>
                  </a:lnTo>
                  <a:lnTo>
                    <a:pt x="1296" y="288"/>
                  </a:lnTo>
                  <a:lnTo>
                    <a:pt x="1296" y="300"/>
                  </a:lnTo>
                  <a:lnTo>
                    <a:pt x="1296" y="312"/>
                  </a:lnTo>
                  <a:lnTo>
                    <a:pt x="1296" y="324"/>
                  </a:lnTo>
                  <a:lnTo>
                    <a:pt x="1296" y="354"/>
                  </a:lnTo>
                  <a:lnTo>
                    <a:pt x="1302" y="366"/>
                  </a:lnTo>
                  <a:lnTo>
                    <a:pt x="1308" y="372"/>
                  </a:lnTo>
                  <a:lnTo>
                    <a:pt x="1308" y="384"/>
                  </a:lnTo>
                  <a:lnTo>
                    <a:pt x="1314" y="390"/>
                  </a:lnTo>
                  <a:lnTo>
                    <a:pt x="1308" y="408"/>
                  </a:lnTo>
                  <a:lnTo>
                    <a:pt x="1314" y="408"/>
                  </a:lnTo>
                  <a:lnTo>
                    <a:pt x="1314" y="414"/>
                  </a:lnTo>
                  <a:lnTo>
                    <a:pt x="1308" y="420"/>
                  </a:lnTo>
                  <a:lnTo>
                    <a:pt x="1308" y="432"/>
                  </a:lnTo>
                  <a:lnTo>
                    <a:pt x="1320" y="432"/>
                  </a:lnTo>
                  <a:lnTo>
                    <a:pt x="1320" y="444"/>
                  </a:lnTo>
                  <a:lnTo>
                    <a:pt x="1332" y="444"/>
                  </a:lnTo>
                  <a:lnTo>
                    <a:pt x="1338" y="450"/>
                  </a:lnTo>
                  <a:lnTo>
                    <a:pt x="1344" y="456"/>
                  </a:lnTo>
                  <a:lnTo>
                    <a:pt x="1344" y="462"/>
                  </a:lnTo>
                  <a:lnTo>
                    <a:pt x="1344" y="474"/>
                  </a:lnTo>
                  <a:lnTo>
                    <a:pt x="1350" y="474"/>
                  </a:lnTo>
                  <a:lnTo>
                    <a:pt x="1368" y="504"/>
                  </a:lnTo>
                  <a:lnTo>
                    <a:pt x="1374" y="534"/>
                  </a:lnTo>
                  <a:lnTo>
                    <a:pt x="1380" y="558"/>
                  </a:lnTo>
                  <a:lnTo>
                    <a:pt x="1386" y="576"/>
                  </a:lnTo>
                  <a:lnTo>
                    <a:pt x="1386" y="600"/>
                  </a:lnTo>
                  <a:lnTo>
                    <a:pt x="1386" y="624"/>
                  </a:lnTo>
                  <a:lnTo>
                    <a:pt x="1386" y="648"/>
                  </a:lnTo>
                  <a:lnTo>
                    <a:pt x="1386" y="684"/>
                  </a:lnTo>
                  <a:lnTo>
                    <a:pt x="1380" y="684"/>
                  </a:lnTo>
                  <a:lnTo>
                    <a:pt x="1374" y="696"/>
                  </a:lnTo>
                  <a:lnTo>
                    <a:pt x="1368" y="702"/>
                  </a:lnTo>
                  <a:lnTo>
                    <a:pt x="1362" y="708"/>
                  </a:lnTo>
                  <a:lnTo>
                    <a:pt x="1356" y="714"/>
                  </a:lnTo>
                  <a:lnTo>
                    <a:pt x="1350" y="720"/>
                  </a:lnTo>
                  <a:lnTo>
                    <a:pt x="1338" y="720"/>
                  </a:lnTo>
                  <a:lnTo>
                    <a:pt x="1338" y="738"/>
                  </a:lnTo>
                  <a:lnTo>
                    <a:pt x="1362" y="750"/>
                  </a:lnTo>
                  <a:lnTo>
                    <a:pt x="1362" y="756"/>
                  </a:lnTo>
                  <a:lnTo>
                    <a:pt x="1374" y="756"/>
                  </a:lnTo>
                  <a:lnTo>
                    <a:pt x="1410" y="774"/>
                  </a:lnTo>
                  <a:lnTo>
                    <a:pt x="1446" y="774"/>
                  </a:lnTo>
                  <a:lnTo>
                    <a:pt x="1482" y="768"/>
                  </a:lnTo>
                  <a:lnTo>
                    <a:pt x="1500" y="774"/>
                  </a:lnTo>
                  <a:lnTo>
                    <a:pt x="1512" y="780"/>
                  </a:lnTo>
                  <a:close/>
                </a:path>
              </a:pathLst>
            </a:custGeom>
            <a:solidFill>
              <a:srgbClr val="2A4F1D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6" name="Freeform 11">
              <a:extLst>
                <a:ext uri="{FF2B5EF4-FFF2-40B4-BE49-F238E27FC236}">
                  <a16:creationId xmlns:a16="http://schemas.microsoft.com/office/drawing/2014/main" id="{1FF8E66F-B850-456A-B132-C45FEEDE95C6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2475" y="2345643"/>
              <a:ext cx="445003" cy="603855"/>
            </a:xfrm>
            <a:custGeom>
              <a:avLst/>
              <a:gdLst>
                <a:gd name="T0" fmla="*/ 47 w 840"/>
                <a:gd name="T1" fmla="*/ 98 h 1134"/>
                <a:gd name="T2" fmla="*/ 41 w 840"/>
                <a:gd name="T3" fmla="*/ 98 h 1134"/>
                <a:gd name="T4" fmla="*/ 37 w 840"/>
                <a:gd name="T5" fmla="*/ 98 h 1134"/>
                <a:gd name="T6" fmla="*/ 29 w 840"/>
                <a:gd name="T7" fmla="*/ 97 h 1134"/>
                <a:gd name="T8" fmla="*/ 27 w 840"/>
                <a:gd name="T9" fmla="*/ 94 h 1134"/>
                <a:gd name="T10" fmla="*/ 26 w 840"/>
                <a:gd name="T11" fmla="*/ 93 h 1134"/>
                <a:gd name="T12" fmla="*/ 26 w 840"/>
                <a:gd name="T13" fmla="*/ 83 h 1134"/>
                <a:gd name="T14" fmla="*/ 26 w 840"/>
                <a:gd name="T15" fmla="*/ 81 h 1134"/>
                <a:gd name="T16" fmla="*/ 23 w 840"/>
                <a:gd name="T17" fmla="*/ 77 h 1134"/>
                <a:gd name="T18" fmla="*/ 19 w 840"/>
                <a:gd name="T19" fmla="*/ 75 h 1134"/>
                <a:gd name="T20" fmla="*/ 16 w 840"/>
                <a:gd name="T21" fmla="*/ 72 h 1134"/>
                <a:gd name="T22" fmla="*/ 13 w 840"/>
                <a:gd name="T23" fmla="*/ 70 h 1134"/>
                <a:gd name="T24" fmla="*/ 17 w 840"/>
                <a:gd name="T25" fmla="*/ 67 h 1134"/>
                <a:gd name="T26" fmla="*/ 19 w 840"/>
                <a:gd name="T27" fmla="*/ 63 h 1134"/>
                <a:gd name="T28" fmla="*/ 20 w 840"/>
                <a:gd name="T29" fmla="*/ 59 h 1134"/>
                <a:gd name="T30" fmla="*/ 19 w 840"/>
                <a:gd name="T31" fmla="*/ 55 h 1134"/>
                <a:gd name="T32" fmla="*/ 17 w 840"/>
                <a:gd name="T33" fmla="*/ 47 h 1134"/>
                <a:gd name="T34" fmla="*/ 8 w 840"/>
                <a:gd name="T35" fmla="*/ 45 h 1134"/>
                <a:gd name="T36" fmla="*/ 4 w 840"/>
                <a:gd name="T37" fmla="*/ 39 h 1134"/>
                <a:gd name="T38" fmla="*/ 2 w 840"/>
                <a:gd name="T39" fmla="*/ 35 h 1134"/>
                <a:gd name="T40" fmla="*/ 0 w 840"/>
                <a:gd name="T41" fmla="*/ 31 h 1134"/>
                <a:gd name="T42" fmla="*/ 2 w 840"/>
                <a:gd name="T43" fmla="*/ 27 h 1134"/>
                <a:gd name="T44" fmla="*/ 5 w 840"/>
                <a:gd name="T45" fmla="*/ 24 h 1134"/>
                <a:gd name="T46" fmla="*/ 10 w 840"/>
                <a:gd name="T47" fmla="*/ 26 h 1134"/>
                <a:gd name="T48" fmla="*/ 7 w 840"/>
                <a:gd name="T49" fmla="*/ 20 h 1134"/>
                <a:gd name="T50" fmla="*/ 12 w 840"/>
                <a:gd name="T51" fmla="*/ 12 h 1134"/>
                <a:gd name="T52" fmla="*/ 19 w 840"/>
                <a:gd name="T53" fmla="*/ 10 h 1134"/>
                <a:gd name="T54" fmla="*/ 20 w 840"/>
                <a:gd name="T55" fmla="*/ 13 h 1134"/>
                <a:gd name="T56" fmla="*/ 22 w 840"/>
                <a:gd name="T57" fmla="*/ 11 h 1134"/>
                <a:gd name="T58" fmla="*/ 25 w 840"/>
                <a:gd name="T59" fmla="*/ 7 h 1134"/>
                <a:gd name="T60" fmla="*/ 29 w 840"/>
                <a:gd name="T61" fmla="*/ 2 h 1134"/>
                <a:gd name="T62" fmla="*/ 33 w 840"/>
                <a:gd name="T63" fmla="*/ 1 h 1134"/>
                <a:gd name="T64" fmla="*/ 37 w 840"/>
                <a:gd name="T65" fmla="*/ 2 h 1134"/>
                <a:gd name="T66" fmla="*/ 39 w 840"/>
                <a:gd name="T67" fmla="*/ 4 h 1134"/>
                <a:gd name="T68" fmla="*/ 43 w 840"/>
                <a:gd name="T69" fmla="*/ 5 h 1134"/>
                <a:gd name="T70" fmla="*/ 46 w 840"/>
                <a:gd name="T71" fmla="*/ 11 h 1134"/>
                <a:gd name="T72" fmla="*/ 49 w 840"/>
                <a:gd name="T73" fmla="*/ 12 h 1134"/>
                <a:gd name="T74" fmla="*/ 52 w 840"/>
                <a:gd name="T75" fmla="*/ 15 h 1134"/>
                <a:gd name="T76" fmla="*/ 54 w 840"/>
                <a:gd name="T77" fmla="*/ 18 h 1134"/>
                <a:gd name="T78" fmla="*/ 55 w 840"/>
                <a:gd name="T79" fmla="*/ 22 h 1134"/>
                <a:gd name="T80" fmla="*/ 56 w 840"/>
                <a:gd name="T81" fmla="*/ 26 h 1134"/>
                <a:gd name="T82" fmla="*/ 55 w 840"/>
                <a:gd name="T83" fmla="*/ 32 h 1134"/>
                <a:gd name="T84" fmla="*/ 55 w 840"/>
                <a:gd name="T85" fmla="*/ 36 h 1134"/>
                <a:gd name="T86" fmla="*/ 54 w 840"/>
                <a:gd name="T87" fmla="*/ 39 h 1134"/>
                <a:gd name="T88" fmla="*/ 56 w 840"/>
                <a:gd name="T89" fmla="*/ 39 h 1134"/>
                <a:gd name="T90" fmla="*/ 58 w 840"/>
                <a:gd name="T91" fmla="*/ 39 h 1134"/>
                <a:gd name="T92" fmla="*/ 61 w 840"/>
                <a:gd name="T93" fmla="*/ 39 h 1134"/>
                <a:gd name="T94" fmla="*/ 60 w 840"/>
                <a:gd name="T95" fmla="*/ 49 h 1134"/>
                <a:gd name="T96" fmla="*/ 59 w 840"/>
                <a:gd name="T97" fmla="*/ 53 h 1134"/>
                <a:gd name="T98" fmla="*/ 59 w 840"/>
                <a:gd name="T99" fmla="*/ 56 h 1134"/>
                <a:gd name="T100" fmla="*/ 60 w 840"/>
                <a:gd name="T101" fmla="*/ 59 h 1134"/>
                <a:gd name="T102" fmla="*/ 64 w 840"/>
                <a:gd name="T103" fmla="*/ 61 h 1134"/>
                <a:gd name="T104" fmla="*/ 69 w 840"/>
                <a:gd name="T105" fmla="*/ 63 h 1134"/>
                <a:gd name="T106" fmla="*/ 72 w 840"/>
                <a:gd name="T107" fmla="*/ 69 h 1134"/>
                <a:gd name="T108" fmla="*/ 72 w 840"/>
                <a:gd name="T109" fmla="*/ 73 h 1134"/>
                <a:gd name="T110" fmla="*/ 72 w 840"/>
                <a:gd name="T111" fmla="*/ 83 h 1134"/>
                <a:gd name="T112" fmla="*/ 63 w 840"/>
                <a:gd name="T113" fmla="*/ 88 h 1134"/>
                <a:gd name="T114" fmla="*/ 52 w 840"/>
                <a:gd name="T115" fmla="*/ 95 h 11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40"/>
                <a:gd name="T175" fmla="*/ 0 h 1134"/>
                <a:gd name="T176" fmla="*/ 840 w 840"/>
                <a:gd name="T177" fmla="*/ 1134 h 11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40" h="1134">
                  <a:moveTo>
                    <a:pt x="564" y="1110"/>
                  </a:moveTo>
                  <a:lnTo>
                    <a:pt x="564" y="1104"/>
                  </a:lnTo>
                  <a:lnTo>
                    <a:pt x="558" y="1104"/>
                  </a:lnTo>
                  <a:lnTo>
                    <a:pt x="552" y="1110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28" y="1128"/>
                  </a:lnTo>
                  <a:lnTo>
                    <a:pt x="498" y="1128"/>
                  </a:lnTo>
                  <a:lnTo>
                    <a:pt x="492" y="1128"/>
                  </a:lnTo>
                  <a:lnTo>
                    <a:pt x="486" y="1128"/>
                  </a:lnTo>
                  <a:lnTo>
                    <a:pt x="480" y="1128"/>
                  </a:lnTo>
                  <a:lnTo>
                    <a:pt x="474" y="1134"/>
                  </a:lnTo>
                  <a:lnTo>
                    <a:pt x="468" y="1134"/>
                  </a:lnTo>
                  <a:lnTo>
                    <a:pt x="462" y="1134"/>
                  </a:lnTo>
                  <a:lnTo>
                    <a:pt x="456" y="1134"/>
                  </a:lnTo>
                  <a:lnTo>
                    <a:pt x="456" y="1128"/>
                  </a:lnTo>
                  <a:lnTo>
                    <a:pt x="450" y="1122"/>
                  </a:lnTo>
                  <a:lnTo>
                    <a:pt x="426" y="1128"/>
                  </a:lnTo>
                  <a:lnTo>
                    <a:pt x="414" y="1128"/>
                  </a:lnTo>
                  <a:lnTo>
                    <a:pt x="348" y="1134"/>
                  </a:lnTo>
                  <a:lnTo>
                    <a:pt x="348" y="1128"/>
                  </a:lnTo>
                  <a:lnTo>
                    <a:pt x="342" y="1128"/>
                  </a:lnTo>
                  <a:lnTo>
                    <a:pt x="336" y="1122"/>
                  </a:lnTo>
                  <a:lnTo>
                    <a:pt x="330" y="1122"/>
                  </a:lnTo>
                  <a:lnTo>
                    <a:pt x="324" y="1116"/>
                  </a:lnTo>
                  <a:lnTo>
                    <a:pt x="324" y="1110"/>
                  </a:lnTo>
                  <a:lnTo>
                    <a:pt x="318" y="1110"/>
                  </a:lnTo>
                  <a:lnTo>
                    <a:pt x="318" y="1104"/>
                  </a:lnTo>
                  <a:lnTo>
                    <a:pt x="312" y="1092"/>
                  </a:lnTo>
                  <a:lnTo>
                    <a:pt x="306" y="1086"/>
                  </a:lnTo>
                  <a:lnTo>
                    <a:pt x="306" y="1080"/>
                  </a:lnTo>
                  <a:lnTo>
                    <a:pt x="312" y="1074"/>
                  </a:lnTo>
                  <a:lnTo>
                    <a:pt x="306" y="1068"/>
                  </a:lnTo>
                  <a:lnTo>
                    <a:pt x="300" y="1074"/>
                  </a:lnTo>
                  <a:lnTo>
                    <a:pt x="300" y="1068"/>
                  </a:lnTo>
                  <a:lnTo>
                    <a:pt x="294" y="1068"/>
                  </a:lnTo>
                  <a:lnTo>
                    <a:pt x="294" y="1056"/>
                  </a:lnTo>
                  <a:lnTo>
                    <a:pt x="294" y="1026"/>
                  </a:lnTo>
                  <a:lnTo>
                    <a:pt x="294" y="1020"/>
                  </a:lnTo>
                  <a:lnTo>
                    <a:pt x="294" y="1008"/>
                  </a:lnTo>
                  <a:lnTo>
                    <a:pt x="294" y="966"/>
                  </a:lnTo>
                  <a:lnTo>
                    <a:pt x="294" y="960"/>
                  </a:lnTo>
                  <a:lnTo>
                    <a:pt x="294" y="954"/>
                  </a:lnTo>
                  <a:lnTo>
                    <a:pt x="294" y="948"/>
                  </a:lnTo>
                  <a:lnTo>
                    <a:pt x="294" y="942"/>
                  </a:lnTo>
                  <a:lnTo>
                    <a:pt x="300" y="936"/>
                  </a:lnTo>
                  <a:lnTo>
                    <a:pt x="300" y="930"/>
                  </a:lnTo>
                  <a:lnTo>
                    <a:pt x="294" y="930"/>
                  </a:lnTo>
                  <a:lnTo>
                    <a:pt x="288" y="930"/>
                  </a:lnTo>
                  <a:lnTo>
                    <a:pt x="288" y="924"/>
                  </a:lnTo>
                  <a:lnTo>
                    <a:pt x="282" y="918"/>
                  </a:lnTo>
                  <a:lnTo>
                    <a:pt x="282" y="906"/>
                  </a:lnTo>
                  <a:lnTo>
                    <a:pt x="282" y="900"/>
                  </a:lnTo>
                  <a:lnTo>
                    <a:pt x="264" y="894"/>
                  </a:lnTo>
                  <a:lnTo>
                    <a:pt x="252" y="882"/>
                  </a:lnTo>
                  <a:lnTo>
                    <a:pt x="246" y="876"/>
                  </a:lnTo>
                  <a:lnTo>
                    <a:pt x="240" y="876"/>
                  </a:lnTo>
                  <a:lnTo>
                    <a:pt x="240" y="870"/>
                  </a:lnTo>
                  <a:lnTo>
                    <a:pt x="234" y="870"/>
                  </a:lnTo>
                  <a:lnTo>
                    <a:pt x="222" y="864"/>
                  </a:lnTo>
                  <a:lnTo>
                    <a:pt x="216" y="864"/>
                  </a:lnTo>
                  <a:lnTo>
                    <a:pt x="210" y="858"/>
                  </a:lnTo>
                  <a:lnTo>
                    <a:pt x="210" y="852"/>
                  </a:lnTo>
                  <a:lnTo>
                    <a:pt x="210" y="846"/>
                  </a:lnTo>
                  <a:lnTo>
                    <a:pt x="198" y="840"/>
                  </a:lnTo>
                  <a:lnTo>
                    <a:pt x="186" y="834"/>
                  </a:lnTo>
                  <a:lnTo>
                    <a:pt x="180" y="828"/>
                  </a:lnTo>
                  <a:lnTo>
                    <a:pt x="180" y="822"/>
                  </a:lnTo>
                  <a:lnTo>
                    <a:pt x="174" y="822"/>
                  </a:lnTo>
                  <a:lnTo>
                    <a:pt x="162" y="816"/>
                  </a:lnTo>
                  <a:lnTo>
                    <a:pt x="156" y="810"/>
                  </a:lnTo>
                  <a:lnTo>
                    <a:pt x="150" y="810"/>
                  </a:lnTo>
                  <a:lnTo>
                    <a:pt x="144" y="798"/>
                  </a:lnTo>
                  <a:lnTo>
                    <a:pt x="138" y="786"/>
                  </a:lnTo>
                  <a:lnTo>
                    <a:pt x="138" y="780"/>
                  </a:lnTo>
                  <a:lnTo>
                    <a:pt x="144" y="774"/>
                  </a:lnTo>
                  <a:lnTo>
                    <a:pt x="150" y="768"/>
                  </a:lnTo>
                  <a:lnTo>
                    <a:pt x="192" y="768"/>
                  </a:lnTo>
                  <a:lnTo>
                    <a:pt x="210" y="762"/>
                  </a:lnTo>
                  <a:lnTo>
                    <a:pt x="216" y="756"/>
                  </a:lnTo>
                  <a:lnTo>
                    <a:pt x="216" y="744"/>
                  </a:lnTo>
                  <a:lnTo>
                    <a:pt x="216" y="738"/>
                  </a:lnTo>
                  <a:lnTo>
                    <a:pt x="216" y="732"/>
                  </a:lnTo>
                  <a:lnTo>
                    <a:pt x="216" y="726"/>
                  </a:lnTo>
                  <a:lnTo>
                    <a:pt x="216" y="720"/>
                  </a:lnTo>
                  <a:lnTo>
                    <a:pt x="228" y="702"/>
                  </a:lnTo>
                  <a:lnTo>
                    <a:pt x="234" y="696"/>
                  </a:lnTo>
                  <a:lnTo>
                    <a:pt x="240" y="690"/>
                  </a:lnTo>
                  <a:lnTo>
                    <a:pt x="240" y="684"/>
                  </a:lnTo>
                  <a:lnTo>
                    <a:pt x="234" y="678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0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22" y="630"/>
                  </a:lnTo>
                  <a:lnTo>
                    <a:pt x="222" y="618"/>
                  </a:lnTo>
                  <a:lnTo>
                    <a:pt x="222" y="582"/>
                  </a:lnTo>
                  <a:lnTo>
                    <a:pt x="228" y="582"/>
                  </a:lnTo>
                  <a:lnTo>
                    <a:pt x="222" y="564"/>
                  </a:lnTo>
                  <a:lnTo>
                    <a:pt x="210" y="552"/>
                  </a:lnTo>
                  <a:lnTo>
                    <a:pt x="192" y="540"/>
                  </a:lnTo>
                  <a:lnTo>
                    <a:pt x="174" y="540"/>
                  </a:lnTo>
                  <a:lnTo>
                    <a:pt x="150" y="534"/>
                  </a:lnTo>
                  <a:lnTo>
                    <a:pt x="126" y="528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90" y="516"/>
                  </a:lnTo>
                  <a:lnTo>
                    <a:pt x="78" y="504"/>
                  </a:lnTo>
                  <a:lnTo>
                    <a:pt x="72" y="498"/>
                  </a:lnTo>
                  <a:lnTo>
                    <a:pt x="66" y="486"/>
                  </a:lnTo>
                  <a:lnTo>
                    <a:pt x="54" y="468"/>
                  </a:lnTo>
                  <a:lnTo>
                    <a:pt x="54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42" y="438"/>
                  </a:lnTo>
                  <a:lnTo>
                    <a:pt x="36" y="438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24" y="384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2" y="360"/>
                  </a:lnTo>
                  <a:lnTo>
                    <a:pt x="6" y="360"/>
                  </a:lnTo>
                  <a:lnTo>
                    <a:pt x="0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0"/>
                  </a:lnTo>
                  <a:lnTo>
                    <a:pt x="18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8" y="270"/>
                  </a:lnTo>
                  <a:lnTo>
                    <a:pt x="90" y="276"/>
                  </a:lnTo>
                  <a:lnTo>
                    <a:pt x="108" y="294"/>
                  </a:lnTo>
                  <a:lnTo>
                    <a:pt x="114" y="294"/>
                  </a:lnTo>
                  <a:lnTo>
                    <a:pt x="114" y="276"/>
                  </a:lnTo>
                  <a:lnTo>
                    <a:pt x="114" y="270"/>
                  </a:lnTo>
                  <a:lnTo>
                    <a:pt x="102" y="258"/>
                  </a:lnTo>
                  <a:lnTo>
                    <a:pt x="96" y="246"/>
                  </a:lnTo>
                  <a:lnTo>
                    <a:pt x="90" y="234"/>
                  </a:lnTo>
                  <a:lnTo>
                    <a:pt x="78" y="228"/>
                  </a:lnTo>
                  <a:lnTo>
                    <a:pt x="72" y="216"/>
                  </a:lnTo>
                  <a:lnTo>
                    <a:pt x="66" y="192"/>
                  </a:lnTo>
                  <a:lnTo>
                    <a:pt x="90" y="174"/>
                  </a:lnTo>
                  <a:lnTo>
                    <a:pt x="120" y="150"/>
                  </a:lnTo>
                  <a:lnTo>
                    <a:pt x="132" y="150"/>
                  </a:lnTo>
                  <a:lnTo>
                    <a:pt x="138" y="144"/>
                  </a:lnTo>
                  <a:lnTo>
                    <a:pt x="138" y="138"/>
                  </a:lnTo>
                  <a:lnTo>
                    <a:pt x="156" y="126"/>
                  </a:lnTo>
                  <a:lnTo>
                    <a:pt x="180" y="114"/>
                  </a:lnTo>
                  <a:lnTo>
                    <a:pt x="216" y="114"/>
                  </a:lnTo>
                  <a:lnTo>
                    <a:pt x="222" y="114"/>
                  </a:lnTo>
                  <a:lnTo>
                    <a:pt x="222" y="120"/>
                  </a:lnTo>
                  <a:lnTo>
                    <a:pt x="222" y="126"/>
                  </a:lnTo>
                  <a:lnTo>
                    <a:pt x="222" y="132"/>
                  </a:lnTo>
                  <a:lnTo>
                    <a:pt x="228" y="138"/>
                  </a:lnTo>
                  <a:lnTo>
                    <a:pt x="228" y="144"/>
                  </a:lnTo>
                  <a:lnTo>
                    <a:pt x="228" y="150"/>
                  </a:lnTo>
                  <a:lnTo>
                    <a:pt x="234" y="150"/>
                  </a:lnTo>
                  <a:lnTo>
                    <a:pt x="234" y="144"/>
                  </a:lnTo>
                  <a:lnTo>
                    <a:pt x="240" y="144"/>
                  </a:lnTo>
                  <a:lnTo>
                    <a:pt x="246" y="144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58" y="126"/>
                  </a:lnTo>
                  <a:lnTo>
                    <a:pt x="258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76" y="96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6" y="72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36"/>
                  </a:lnTo>
                  <a:lnTo>
                    <a:pt x="330" y="24"/>
                  </a:lnTo>
                  <a:lnTo>
                    <a:pt x="330" y="18"/>
                  </a:lnTo>
                  <a:lnTo>
                    <a:pt x="330" y="12"/>
                  </a:lnTo>
                  <a:lnTo>
                    <a:pt x="336" y="6"/>
                  </a:lnTo>
                  <a:lnTo>
                    <a:pt x="366" y="0"/>
                  </a:lnTo>
                  <a:lnTo>
                    <a:pt x="372" y="6"/>
                  </a:lnTo>
                  <a:lnTo>
                    <a:pt x="384" y="12"/>
                  </a:lnTo>
                  <a:lnTo>
                    <a:pt x="402" y="12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18"/>
                  </a:lnTo>
                  <a:lnTo>
                    <a:pt x="420" y="18"/>
                  </a:lnTo>
                  <a:lnTo>
                    <a:pt x="426" y="24"/>
                  </a:lnTo>
                  <a:lnTo>
                    <a:pt x="432" y="30"/>
                  </a:lnTo>
                  <a:lnTo>
                    <a:pt x="438" y="36"/>
                  </a:lnTo>
                  <a:lnTo>
                    <a:pt x="444" y="42"/>
                  </a:lnTo>
                  <a:lnTo>
                    <a:pt x="450" y="42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16" y="78"/>
                  </a:lnTo>
                  <a:lnTo>
                    <a:pt x="522" y="102"/>
                  </a:lnTo>
                  <a:lnTo>
                    <a:pt x="522" y="108"/>
                  </a:lnTo>
                  <a:lnTo>
                    <a:pt x="528" y="126"/>
                  </a:lnTo>
                  <a:lnTo>
                    <a:pt x="534" y="126"/>
                  </a:lnTo>
                  <a:lnTo>
                    <a:pt x="540" y="120"/>
                  </a:lnTo>
                  <a:lnTo>
                    <a:pt x="546" y="126"/>
                  </a:lnTo>
                  <a:lnTo>
                    <a:pt x="552" y="126"/>
                  </a:lnTo>
                  <a:lnTo>
                    <a:pt x="558" y="132"/>
                  </a:lnTo>
                  <a:lnTo>
                    <a:pt x="564" y="138"/>
                  </a:lnTo>
                  <a:lnTo>
                    <a:pt x="570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594" y="168"/>
                  </a:lnTo>
                  <a:lnTo>
                    <a:pt x="600" y="174"/>
                  </a:lnTo>
                  <a:lnTo>
                    <a:pt x="606" y="180"/>
                  </a:lnTo>
                  <a:lnTo>
                    <a:pt x="606" y="186"/>
                  </a:lnTo>
                  <a:lnTo>
                    <a:pt x="612" y="192"/>
                  </a:lnTo>
                  <a:lnTo>
                    <a:pt x="612" y="198"/>
                  </a:lnTo>
                  <a:lnTo>
                    <a:pt x="624" y="204"/>
                  </a:lnTo>
                  <a:lnTo>
                    <a:pt x="624" y="210"/>
                  </a:lnTo>
                  <a:lnTo>
                    <a:pt x="630" y="216"/>
                  </a:lnTo>
                  <a:lnTo>
                    <a:pt x="636" y="222"/>
                  </a:lnTo>
                  <a:lnTo>
                    <a:pt x="636" y="228"/>
                  </a:lnTo>
                  <a:lnTo>
                    <a:pt x="636" y="234"/>
                  </a:lnTo>
                  <a:lnTo>
                    <a:pt x="636" y="252"/>
                  </a:lnTo>
                  <a:lnTo>
                    <a:pt x="636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42" y="276"/>
                  </a:lnTo>
                  <a:lnTo>
                    <a:pt x="642" y="282"/>
                  </a:lnTo>
                  <a:lnTo>
                    <a:pt x="642" y="288"/>
                  </a:lnTo>
                  <a:lnTo>
                    <a:pt x="642" y="300"/>
                  </a:lnTo>
                  <a:lnTo>
                    <a:pt x="642" y="306"/>
                  </a:lnTo>
                  <a:lnTo>
                    <a:pt x="636" y="312"/>
                  </a:lnTo>
                  <a:lnTo>
                    <a:pt x="636" y="324"/>
                  </a:lnTo>
                  <a:lnTo>
                    <a:pt x="636" y="342"/>
                  </a:lnTo>
                  <a:lnTo>
                    <a:pt x="630" y="354"/>
                  </a:lnTo>
                  <a:lnTo>
                    <a:pt x="630" y="366"/>
                  </a:lnTo>
                  <a:lnTo>
                    <a:pt x="624" y="378"/>
                  </a:lnTo>
                  <a:lnTo>
                    <a:pt x="624" y="384"/>
                  </a:lnTo>
                  <a:lnTo>
                    <a:pt x="636" y="396"/>
                  </a:lnTo>
                  <a:lnTo>
                    <a:pt x="636" y="402"/>
                  </a:lnTo>
                  <a:lnTo>
                    <a:pt x="636" y="408"/>
                  </a:lnTo>
                  <a:lnTo>
                    <a:pt x="630" y="414"/>
                  </a:lnTo>
                  <a:lnTo>
                    <a:pt x="630" y="420"/>
                  </a:lnTo>
                  <a:lnTo>
                    <a:pt x="630" y="426"/>
                  </a:lnTo>
                  <a:lnTo>
                    <a:pt x="630" y="432"/>
                  </a:lnTo>
                  <a:lnTo>
                    <a:pt x="624" y="438"/>
                  </a:lnTo>
                  <a:lnTo>
                    <a:pt x="624" y="444"/>
                  </a:lnTo>
                  <a:lnTo>
                    <a:pt x="624" y="450"/>
                  </a:lnTo>
                  <a:lnTo>
                    <a:pt x="630" y="450"/>
                  </a:lnTo>
                  <a:lnTo>
                    <a:pt x="630" y="456"/>
                  </a:lnTo>
                  <a:lnTo>
                    <a:pt x="630" y="462"/>
                  </a:lnTo>
                  <a:lnTo>
                    <a:pt x="636" y="468"/>
                  </a:lnTo>
                  <a:lnTo>
                    <a:pt x="642" y="456"/>
                  </a:lnTo>
                  <a:lnTo>
                    <a:pt x="642" y="450"/>
                  </a:lnTo>
                  <a:lnTo>
                    <a:pt x="648" y="450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60" y="444"/>
                  </a:lnTo>
                  <a:lnTo>
                    <a:pt x="666" y="450"/>
                  </a:lnTo>
                  <a:lnTo>
                    <a:pt x="672" y="444"/>
                  </a:lnTo>
                  <a:lnTo>
                    <a:pt x="678" y="444"/>
                  </a:lnTo>
                  <a:lnTo>
                    <a:pt x="684" y="438"/>
                  </a:lnTo>
                  <a:lnTo>
                    <a:pt x="690" y="438"/>
                  </a:lnTo>
                  <a:lnTo>
                    <a:pt x="696" y="438"/>
                  </a:lnTo>
                  <a:lnTo>
                    <a:pt x="702" y="444"/>
                  </a:lnTo>
                  <a:lnTo>
                    <a:pt x="702" y="450"/>
                  </a:lnTo>
                  <a:lnTo>
                    <a:pt x="708" y="450"/>
                  </a:lnTo>
                  <a:lnTo>
                    <a:pt x="708" y="456"/>
                  </a:lnTo>
                  <a:lnTo>
                    <a:pt x="708" y="462"/>
                  </a:lnTo>
                  <a:lnTo>
                    <a:pt x="708" y="468"/>
                  </a:lnTo>
                  <a:lnTo>
                    <a:pt x="708" y="504"/>
                  </a:lnTo>
                  <a:lnTo>
                    <a:pt x="696" y="564"/>
                  </a:lnTo>
                  <a:lnTo>
                    <a:pt x="696" y="582"/>
                  </a:lnTo>
                  <a:lnTo>
                    <a:pt x="696" y="600"/>
                  </a:lnTo>
                  <a:lnTo>
                    <a:pt x="690" y="606"/>
                  </a:lnTo>
                  <a:lnTo>
                    <a:pt x="684" y="606"/>
                  </a:lnTo>
                  <a:lnTo>
                    <a:pt x="690" y="612"/>
                  </a:lnTo>
                  <a:lnTo>
                    <a:pt x="684" y="612"/>
                  </a:lnTo>
                  <a:lnTo>
                    <a:pt x="678" y="618"/>
                  </a:lnTo>
                  <a:lnTo>
                    <a:pt x="672" y="624"/>
                  </a:lnTo>
                  <a:lnTo>
                    <a:pt x="666" y="630"/>
                  </a:lnTo>
                  <a:lnTo>
                    <a:pt x="660" y="636"/>
                  </a:lnTo>
                  <a:lnTo>
                    <a:pt x="672" y="636"/>
                  </a:lnTo>
                  <a:lnTo>
                    <a:pt x="678" y="642"/>
                  </a:lnTo>
                  <a:lnTo>
                    <a:pt x="678" y="648"/>
                  </a:lnTo>
                  <a:lnTo>
                    <a:pt x="684" y="654"/>
                  </a:lnTo>
                  <a:lnTo>
                    <a:pt x="690" y="666"/>
                  </a:lnTo>
                  <a:lnTo>
                    <a:pt x="690" y="672"/>
                  </a:lnTo>
                  <a:lnTo>
                    <a:pt x="696" y="672"/>
                  </a:lnTo>
                  <a:lnTo>
                    <a:pt x="696" y="684"/>
                  </a:lnTo>
                  <a:lnTo>
                    <a:pt x="708" y="690"/>
                  </a:lnTo>
                  <a:lnTo>
                    <a:pt x="720" y="696"/>
                  </a:lnTo>
                  <a:lnTo>
                    <a:pt x="726" y="696"/>
                  </a:lnTo>
                  <a:lnTo>
                    <a:pt x="732" y="696"/>
                  </a:lnTo>
                  <a:lnTo>
                    <a:pt x="738" y="696"/>
                  </a:lnTo>
                  <a:lnTo>
                    <a:pt x="738" y="702"/>
                  </a:lnTo>
                  <a:lnTo>
                    <a:pt x="738" y="708"/>
                  </a:lnTo>
                  <a:lnTo>
                    <a:pt x="738" y="714"/>
                  </a:lnTo>
                  <a:lnTo>
                    <a:pt x="744" y="714"/>
                  </a:lnTo>
                  <a:lnTo>
                    <a:pt x="756" y="720"/>
                  </a:lnTo>
                  <a:lnTo>
                    <a:pt x="780" y="726"/>
                  </a:lnTo>
                  <a:lnTo>
                    <a:pt x="792" y="732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22" y="774"/>
                  </a:lnTo>
                  <a:lnTo>
                    <a:pt x="834" y="786"/>
                  </a:lnTo>
                  <a:lnTo>
                    <a:pt x="834" y="792"/>
                  </a:lnTo>
                  <a:lnTo>
                    <a:pt x="834" y="798"/>
                  </a:lnTo>
                  <a:lnTo>
                    <a:pt x="828" y="798"/>
                  </a:lnTo>
                  <a:lnTo>
                    <a:pt x="828" y="804"/>
                  </a:lnTo>
                  <a:lnTo>
                    <a:pt x="834" y="816"/>
                  </a:lnTo>
                  <a:lnTo>
                    <a:pt x="834" y="834"/>
                  </a:lnTo>
                  <a:lnTo>
                    <a:pt x="834" y="840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34" y="858"/>
                  </a:lnTo>
                  <a:lnTo>
                    <a:pt x="834" y="864"/>
                  </a:lnTo>
                  <a:lnTo>
                    <a:pt x="834" y="876"/>
                  </a:lnTo>
                  <a:lnTo>
                    <a:pt x="828" y="960"/>
                  </a:lnTo>
                  <a:lnTo>
                    <a:pt x="816" y="966"/>
                  </a:lnTo>
                  <a:lnTo>
                    <a:pt x="798" y="972"/>
                  </a:lnTo>
                  <a:lnTo>
                    <a:pt x="786" y="990"/>
                  </a:lnTo>
                  <a:lnTo>
                    <a:pt x="774" y="990"/>
                  </a:lnTo>
                  <a:lnTo>
                    <a:pt x="762" y="1008"/>
                  </a:lnTo>
                  <a:lnTo>
                    <a:pt x="732" y="1014"/>
                  </a:lnTo>
                  <a:lnTo>
                    <a:pt x="714" y="1026"/>
                  </a:lnTo>
                  <a:lnTo>
                    <a:pt x="690" y="1050"/>
                  </a:lnTo>
                  <a:lnTo>
                    <a:pt x="654" y="1056"/>
                  </a:lnTo>
                  <a:lnTo>
                    <a:pt x="630" y="1056"/>
                  </a:lnTo>
                  <a:lnTo>
                    <a:pt x="606" y="1068"/>
                  </a:lnTo>
                  <a:lnTo>
                    <a:pt x="600" y="1092"/>
                  </a:lnTo>
                  <a:lnTo>
                    <a:pt x="600" y="1098"/>
                  </a:lnTo>
                  <a:lnTo>
                    <a:pt x="588" y="1104"/>
                  </a:lnTo>
                  <a:lnTo>
                    <a:pt x="582" y="1104"/>
                  </a:lnTo>
                  <a:lnTo>
                    <a:pt x="570" y="1110"/>
                  </a:lnTo>
                  <a:lnTo>
                    <a:pt x="564" y="111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7" name="Freeform 12">
              <a:extLst>
                <a:ext uri="{FF2B5EF4-FFF2-40B4-BE49-F238E27FC236}">
                  <a16:creationId xmlns:a16="http://schemas.microsoft.com/office/drawing/2014/main" id="{6C93C114-E5D0-49BB-A44C-A127CE01CFE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810" y="2271838"/>
              <a:ext cx="923547" cy="845397"/>
            </a:xfrm>
            <a:custGeom>
              <a:avLst/>
              <a:gdLst>
                <a:gd name="T0" fmla="*/ 138 w 1740"/>
                <a:gd name="T1" fmla="*/ 134 h 1590"/>
                <a:gd name="T2" fmla="*/ 128 w 1740"/>
                <a:gd name="T3" fmla="*/ 131 h 1590"/>
                <a:gd name="T4" fmla="*/ 121 w 1740"/>
                <a:gd name="T5" fmla="*/ 130 h 1590"/>
                <a:gd name="T6" fmla="*/ 119 w 1740"/>
                <a:gd name="T7" fmla="*/ 134 h 1590"/>
                <a:gd name="T8" fmla="*/ 110 w 1740"/>
                <a:gd name="T9" fmla="*/ 132 h 1590"/>
                <a:gd name="T10" fmla="*/ 111 w 1740"/>
                <a:gd name="T11" fmla="*/ 127 h 1590"/>
                <a:gd name="T12" fmla="*/ 103 w 1740"/>
                <a:gd name="T13" fmla="*/ 117 h 1590"/>
                <a:gd name="T14" fmla="*/ 93 w 1740"/>
                <a:gd name="T15" fmla="*/ 123 h 1590"/>
                <a:gd name="T16" fmla="*/ 80 w 1740"/>
                <a:gd name="T17" fmla="*/ 118 h 1590"/>
                <a:gd name="T18" fmla="*/ 66 w 1740"/>
                <a:gd name="T19" fmla="*/ 117 h 1590"/>
                <a:gd name="T20" fmla="*/ 66 w 1740"/>
                <a:gd name="T21" fmla="*/ 110 h 1590"/>
                <a:gd name="T22" fmla="*/ 69 w 1740"/>
                <a:gd name="T23" fmla="*/ 107 h 1590"/>
                <a:gd name="T24" fmla="*/ 68 w 1740"/>
                <a:gd name="T25" fmla="*/ 102 h 1590"/>
                <a:gd name="T26" fmla="*/ 68 w 1740"/>
                <a:gd name="T27" fmla="*/ 96 h 1590"/>
                <a:gd name="T28" fmla="*/ 67 w 1740"/>
                <a:gd name="T29" fmla="*/ 82 h 1590"/>
                <a:gd name="T30" fmla="*/ 58 w 1740"/>
                <a:gd name="T31" fmla="*/ 82 h 1590"/>
                <a:gd name="T32" fmla="*/ 52 w 1740"/>
                <a:gd name="T33" fmla="*/ 82 h 1590"/>
                <a:gd name="T34" fmla="*/ 46 w 1740"/>
                <a:gd name="T35" fmla="*/ 80 h 1590"/>
                <a:gd name="T36" fmla="*/ 45 w 1740"/>
                <a:gd name="T37" fmla="*/ 74 h 1590"/>
                <a:gd name="T38" fmla="*/ 52 w 1740"/>
                <a:gd name="T39" fmla="*/ 70 h 1590"/>
                <a:gd name="T40" fmla="*/ 52 w 1740"/>
                <a:gd name="T41" fmla="*/ 64 h 1590"/>
                <a:gd name="T42" fmla="*/ 42 w 1740"/>
                <a:gd name="T43" fmla="*/ 53 h 1590"/>
                <a:gd name="T44" fmla="*/ 35 w 1740"/>
                <a:gd name="T45" fmla="*/ 52 h 1590"/>
                <a:gd name="T46" fmla="*/ 20 w 1740"/>
                <a:gd name="T47" fmla="*/ 51 h 1590"/>
                <a:gd name="T48" fmla="*/ 17 w 1740"/>
                <a:gd name="T49" fmla="*/ 56 h 1590"/>
                <a:gd name="T50" fmla="*/ 11 w 1740"/>
                <a:gd name="T51" fmla="*/ 61 h 1590"/>
                <a:gd name="T52" fmla="*/ 7 w 1740"/>
                <a:gd name="T53" fmla="*/ 63 h 1590"/>
                <a:gd name="T54" fmla="*/ 0 w 1740"/>
                <a:gd name="T55" fmla="*/ 55 h 1590"/>
                <a:gd name="T56" fmla="*/ 2 w 1740"/>
                <a:gd name="T57" fmla="*/ 50 h 1590"/>
                <a:gd name="T58" fmla="*/ 0 w 1740"/>
                <a:gd name="T59" fmla="*/ 44 h 1590"/>
                <a:gd name="T60" fmla="*/ 2 w 1740"/>
                <a:gd name="T61" fmla="*/ 38 h 1590"/>
                <a:gd name="T62" fmla="*/ 7 w 1740"/>
                <a:gd name="T63" fmla="*/ 35 h 1590"/>
                <a:gd name="T64" fmla="*/ 11 w 1740"/>
                <a:gd name="T65" fmla="*/ 30 h 1590"/>
                <a:gd name="T66" fmla="*/ 21 w 1740"/>
                <a:gd name="T67" fmla="*/ 26 h 1590"/>
                <a:gd name="T68" fmla="*/ 29 w 1740"/>
                <a:gd name="T69" fmla="*/ 25 h 1590"/>
                <a:gd name="T70" fmla="*/ 35 w 1740"/>
                <a:gd name="T71" fmla="*/ 21 h 1590"/>
                <a:gd name="T72" fmla="*/ 36 w 1740"/>
                <a:gd name="T73" fmla="*/ 16 h 1590"/>
                <a:gd name="T74" fmla="*/ 41 w 1740"/>
                <a:gd name="T75" fmla="*/ 11 h 1590"/>
                <a:gd name="T76" fmla="*/ 51 w 1740"/>
                <a:gd name="T77" fmla="*/ 9 h 1590"/>
                <a:gd name="T78" fmla="*/ 59 w 1740"/>
                <a:gd name="T79" fmla="*/ 21 h 1590"/>
                <a:gd name="T80" fmla="*/ 65 w 1740"/>
                <a:gd name="T81" fmla="*/ 13 h 1590"/>
                <a:gd name="T82" fmla="*/ 73 w 1740"/>
                <a:gd name="T83" fmla="*/ 8 h 1590"/>
                <a:gd name="T84" fmla="*/ 82 w 1740"/>
                <a:gd name="T85" fmla="*/ 12 h 1590"/>
                <a:gd name="T86" fmla="*/ 88 w 1740"/>
                <a:gd name="T87" fmla="*/ 12 h 1590"/>
                <a:gd name="T88" fmla="*/ 99 w 1740"/>
                <a:gd name="T89" fmla="*/ 7 h 1590"/>
                <a:gd name="T90" fmla="*/ 114 w 1740"/>
                <a:gd name="T91" fmla="*/ 0 h 1590"/>
                <a:gd name="T92" fmla="*/ 117 w 1740"/>
                <a:gd name="T93" fmla="*/ 10 h 1590"/>
                <a:gd name="T94" fmla="*/ 132 w 1740"/>
                <a:gd name="T95" fmla="*/ 17 h 1590"/>
                <a:gd name="T96" fmla="*/ 140 w 1740"/>
                <a:gd name="T97" fmla="*/ 25 h 1590"/>
                <a:gd name="T98" fmla="*/ 140 w 1740"/>
                <a:gd name="T99" fmla="*/ 33 h 1590"/>
                <a:gd name="T100" fmla="*/ 140 w 1740"/>
                <a:gd name="T101" fmla="*/ 44 h 1590"/>
                <a:gd name="T102" fmla="*/ 138 w 1740"/>
                <a:gd name="T103" fmla="*/ 48 h 1590"/>
                <a:gd name="T104" fmla="*/ 141 w 1740"/>
                <a:gd name="T105" fmla="*/ 49 h 1590"/>
                <a:gd name="T106" fmla="*/ 146 w 1740"/>
                <a:gd name="T107" fmla="*/ 50 h 1590"/>
                <a:gd name="T108" fmla="*/ 149 w 1740"/>
                <a:gd name="T109" fmla="*/ 59 h 1590"/>
                <a:gd name="T110" fmla="*/ 148 w 1740"/>
                <a:gd name="T111" fmla="*/ 67 h 1590"/>
                <a:gd name="T112" fmla="*/ 141 w 1740"/>
                <a:gd name="T113" fmla="*/ 78 h 1590"/>
                <a:gd name="T114" fmla="*/ 141 w 1740"/>
                <a:gd name="T115" fmla="*/ 91 h 1590"/>
                <a:gd name="T116" fmla="*/ 138 w 1740"/>
                <a:gd name="T117" fmla="*/ 102 h 1590"/>
                <a:gd name="T118" fmla="*/ 138 w 1740"/>
                <a:gd name="T119" fmla="*/ 110 h 1590"/>
                <a:gd name="T120" fmla="*/ 144 w 1740"/>
                <a:gd name="T121" fmla="*/ 118 h 1590"/>
                <a:gd name="T122" fmla="*/ 143 w 1740"/>
                <a:gd name="T123" fmla="*/ 125 h 159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740"/>
                <a:gd name="T187" fmla="*/ 0 h 1590"/>
                <a:gd name="T188" fmla="*/ 1740 w 1740"/>
                <a:gd name="T189" fmla="*/ 1590 h 159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740" h="1590">
                  <a:moveTo>
                    <a:pt x="1638" y="1458"/>
                  </a:moveTo>
                  <a:lnTo>
                    <a:pt x="1638" y="1482"/>
                  </a:lnTo>
                  <a:lnTo>
                    <a:pt x="1638" y="1500"/>
                  </a:lnTo>
                  <a:lnTo>
                    <a:pt x="1626" y="1500"/>
                  </a:lnTo>
                  <a:lnTo>
                    <a:pt x="1620" y="1500"/>
                  </a:lnTo>
                  <a:lnTo>
                    <a:pt x="1614" y="1500"/>
                  </a:lnTo>
                  <a:lnTo>
                    <a:pt x="1614" y="1506"/>
                  </a:lnTo>
                  <a:lnTo>
                    <a:pt x="1614" y="1512"/>
                  </a:lnTo>
                  <a:lnTo>
                    <a:pt x="1620" y="1518"/>
                  </a:lnTo>
                  <a:lnTo>
                    <a:pt x="1614" y="1524"/>
                  </a:lnTo>
                  <a:lnTo>
                    <a:pt x="1590" y="1536"/>
                  </a:lnTo>
                  <a:lnTo>
                    <a:pt x="1584" y="1566"/>
                  </a:lnTo>
                  <a:lnTo>
                    <a:pt x="1578" y="1590"/>
                  </a:lnTo>
                  <a:lnTo>
                    <a:pt x="1548" y="1590"/>
                  </a:lnTo>
                  <a:lnTo>
                    <a:pt x="1542" y="1584"/>
                  </a:lnTo>
                  <a:lnTo>
                    <a:pt x="1542" y="1572"/>
                  </a:lnTo>
                  <a:lnTo>
                    <a:pt x="1536" y="1566"/>
                  </a:lnTo>
                  <a:lnTo>
                    <a:pt x="1536" y="1554"/>
                  </a:lnTo>
                  <a:lnTo>
                    <a:pt x="1536" y="1548"/>
                  </a:lnTo>
                  <a:lnTo>
                    <a:pt x="1506" y="1530"/>
                  </a:lnTo>
                  <a:lnTo>
                    <a:pt x="1488" y="1506"/>
                  </a:lnTo>
                  <a:lnTo>
                    <a:pt x="1464" y="1500"/>
                  </a:lnTo>
                  <a:lnTo>
                    <a:pt x="1470" y="1494"/>
                  </a:lnTo>
                  <a:lnTo>
                    <a:pt x="1470" y="1488"/>
                  </a:lnTo>
                  <a:lnTo>
                    <a:pt x="1470" y="1482"/>
                  </a:lnTo>
                  <a:lnTo>
                    <a:pt x="1428" y="1464"/>
                  </a:lnTo>
                  <a:lnTo>
                    <a:pt x="1404" y="1470"/>
                  </a:lnTo>
                  <a:lnTo>
                    <a:pt x="1398" y="1470"/>
                  </a:lnTo>
                  <a:lnTo>
                    <a:pt x="1392" y="1476"/>
                  </a:lnTo>
                  <a:lnTo>
                    <a:pt x="1386" y="1476"/>
                  </a:lnTo>
                  <a:lnTo>
                    <a:pt x="1386" y="1482"/>
                  </a:lnTo>
                  <a:lnTo>
                    <a:pt x="1392" y="1482"/>
                  </a:lnTo>
                  <a:lnTo>
                    <a:pt x="1386" y="1488"/>
                  </a:lnTo>
                  <a:lnTo>
                    <a:pt x="1386" y="1494"/>
                  </a:lnTo>
                  <a:lnTo>
                    <a:pt x="1380" y="1494"/>
                  </a:lnTo>
                  <a:lnTo>
                    <a:pt x="1380" y="1500"/>
                  </a:lnTo>
                  <a:lnTo>
                    <a:pt x="1380" y="1512"/>
                  </a:lnTo>
                  <a:lnTo>
                    <a:pt x="1380" y="1518"/>
                  </a:lnTo>
                  <a:lnTo>
                    <a:pt x="1380" y="1524"/>
                  </a:lnTo>
                  <a:lnTo>
                    <a:pt x="1380" y="1530"/>
                  </a:lnTo>
                  <a:lnTo>
                    <a:pt x="1374" y="1536"/>
                  </a:lnTo>
                  <a:lnTo>
                    <a:pt x="1374" y="1542"/>
                  </a:lnTo>
                  <a:lnTo>
                    <a:pt x="1368" y="1542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44" y="1554"/>
                  </a:lnTo>
                  <a:lnTo>
                    <a:pt x="1332" y="1560"/>
                  </a:lnTo>
                  <a:lnTo>
                    <a:pt x="1302" y="1554"/>
                  </a:lnTo>
                  <a:lnTo>
                    <a:pt x="1290" y="1554"/>
                  </a:lnTo>
                  <a:lnTo>
                    <a:pt x="1278" y="1542"/>
                  </a:lnTo>
                  <a:lnTo>
                    <a:pt x="1272" y="1530"/>
                  </a:lnTo>
                  <a:lnTo>
                    <a:pt x="1272" y="1524"/>
                  </a:lnTo>
                  <a:lnTo>
                    <a:pt x="1272" y="1518"/>
                  </a:lnTo>
                  <a:lnTo>
                    <a:pt x="1266" y="1518"/>
                  </a:lnTo>
                  <a:lnTo>
                    <a:pt x="1266" y="1512"/>
                  </a:lnTo>
                  <a:lnTo>
                    <a:pt x="1266" y="1506"/>
                  </a:lnTo>
                  <a:lnTo>
                    <a:pt x="1272" y="1506"/>
                  </a:lnTo>
                  <a:lnTo>
                    <a:pt x="1272" y="1500"/>
                  </a:lnTo>
                  <a:lnTo>
                    <a:pt x="1278" y="1500"/>
                  </a:lnTo>
                  <a:lnTo>
                    <a:pt x="1278" y="1494"/>
                  </a:lnTo>
                  <a:lnTo>
                    <a:pt x="1278" y="1488"/>
                  </a:lnTo>
                  <a:lnTo>
                    <a:pt x="1284" y="1488"/>
                  </a:lnTo>
                  <a:lnTo>
                    <a:pt x="1284" y="1482"/>
                  </a:lnTo>
                  <a:lnTo>
                    <a:pt x="1290" y="1476"/>
                  </a:lnTo>
                  <a:lnTo>
                    <a:pt x="1284" y="1470"/>
                  </a:lnTo>
                  <a:lnTo>
                    <a:pt x="1278" y="1458"/>
                  </a:lnTo>
                  <a:lnTo>
                    <a:pt x="1278" y="1452"/>
                  </a:lnTo>
                  <a:lnTo>
                    <a:pt x="1260" y="1428"/>
                  </a:lnTo>
                  <a:lnTo>
                    <a:pt x="1254" y="1416"/>
                  </a:lnTo>
                  <a:lnTo>
                    <a:pt x="1254" y="1410"/>
                  </a:lnTo>
                  <a:lnTo>
                    <a:pt x="1248" y="1398"/>
                  </a:lnTo>
                  <a:lnTo>
                    <a:pt x="1242" y="1398"/>
                  </a:lnTo>
                  <a:lnTo>
                    <a:pt x="1236" y="1398"/>
                  </a:lnTo>
                  <a:lnTo>
                    <a:pt x="1218" y="1386"/>
                  </a:lnTo>
                  <a:lnTo>
                    <a:pt x="1212" y="1362"/>
                  </a:lnTo>
                  <a:lnTo>
                    <a:pt x="1200" y="1344"/>
                  </a:lnTo>
                  <a:lnTo>
                    <a:pt x="1188" y="1338"/>
                  </a:lnTo>
                  <a:lnTo>
                    <a:pt x="1164" y="1338"/>
                  </a:lnTo>
                  <a:lnTo>
                    <a:pt x="1158" y="1344"/>
                  </a:lnTo>
                  <a:lnTo>
                    <a:pt x="1152" y="1350"/>
                  </a:lnTo>
                  <a:lnTo>
                    <a:pt x="1152" y="1356"/>
                  </a:lnTo>
                  <a:lnTo>
                    <a:pt x="1140" y="1362"/>
                  </a:lnTo>
                  <a:lnTo>
                    <a:pt x="1134" y="1380"/>
                  </a:lnTo>
                  <a:lnTo>
                    <a:pt x="1116" y="1398"/>
                  </a:lnTo>
                  <a:lnTo>
                    <a:pt x="1110" y="1416"/>
                  </a:lnTo>
                  <a:lnTo>
                    <a:pt x="1086" y="1416"/>
                  </a:lnTo>
                  <a:lnTo>
                    <a:pt x="1080" y="1410"/>
                  </a:lnTo>
                  <a:lnTo>
                    <a:pt x="1074" y="1410"/>
                  </a:lnTo>
                  <a:lnTo>
                    <a:pt x="1074" y="1404"/>
                  </a:lnTo>
                  <a:lnTo>
                    <a:pt x="1062" y="1404"/>
                  </a:lnTo>
                  <a:lnTo>
                    <a:pt x="1062" y="1380"/>
                  </a:lnTo>
                  <a:lnTo>
                    <a:pt x="1038" y="1380"/>
                  </a:lnTo>
                  <a:lnTo>
                    <a:pt x="1026" y="1350"/>
                  </a:lnTo>
                  <a:lnTo>
                    <a:pt x="996" y="1326"/>
                  </a:lnTo>
                  <a:lnTo>
                    <a:pt x="966" y="1314"/>
                  </a:lnTo>
                  <a:lnTo>
                    <a:pt x="954" y="1320"/>
                  </a:lnTo>
                  <a:lnTo>
                    <a:pt x="942" y="1338"/>
                  </a:lnTo>
                  <a:lnTo>
                    <a:pt x="930" y="1338"/>
                  </a:lnTo>
                  <a:lnTo>
                    <a:pt x="924" y="1350"/>
                  </a:lnTo>
                  <a:lnTo>
                    <a:pt x="906" y="1356"/>
                  </a:lnTo>
                  <a:lnTo>
                    <a:pt x="846" y="1356"/>
                  </a:lnTo>
                  <a:lnTo>
                    <a:pt x="834" y="1368"/>
                  </a:lnTo>
                  <a:lnTo>
                    <a:pt x="810" y="1362"/>
                  </a:lnTo>
                  <a:lnTo>
                    <a:pt x="792" y="1362"/>
                  </a:lnTo>
                  <a:lnTo>
                    <a:pt x="780" y="1368"/>
                  </a:lnTo>
                  <a:lnTo>
                    <a:pt x="762" y="1368"/>
                  </a:lnTo>
                  <a:lnTo>
                    <a:pt x="762" y="1362"/>
                  </a:lnTo>
                  <a:lnTo>
                    <a:pt x="750" y="1362"/>
                  </a:lnTo>
                  <a:lnTo>
                    <a:pt x="750" y="1338"/>
                  </a:lnTo>
                  <a:lnTo>
                    <a:pt x="762" y="1338"/>
                  </a:lnTo>
                  <a:lnTo>
                    <a:pt x="762" y="1326"/>
                  </a:lnTo>
                  <a:lnTo>
                    <a:pt x="762" y="1314"/>
                  </a:lnTo>
                  <a:lnTo>
                    <a:pt x="732" y="1314"/>
                  </a:lnTo>
                  <a:lnTo>
                    <a:pt x="726" y="1308"/>
                  </a:lnTo>
                  <a:lnTo>
                    <a:pt x="732" y="1284"/>
                  </a:lnTo>
                  <a:lnTo>
                    <a:pt x="732" y="1278"/>
                  </a:lnTo>
                  <a:lnTo>
                    <a:pt x="738" y="1272"/>
                  </a:lnTo>
                  <a:lnTo>
                    <a:pt x="738" y="1266"/>
                  </a:lnTo>
                  <a:lnTo>
                    <a:pt x="744" y="1266"/>
                  </a:lnTo>
                  <a:lnTo>
                    <a:pt x="750" y="1272"/>
                  </a:lnTo>
                  <a:lnTo>
                    <a:pt x="756" y="1266"/>
                  </a:lnTo>
                  <a:lnTo>
                    <a:pt x="762" y="1266"/>
                  </a:lnTo>
                  <a:lnTo>
                    <a:pt x="768" y="1260"/>
                  </a:lnTo>
                  <a:lnTo>
                    <a:pt x="774" y="1260"/>
                  </a:lnTo>
                  <a:lnTo>
                    <a:pt x="780" y="1254"/>
                  </a:lnTo>
                  <a:lnTo>
                    <a:pt x="774" y="1254"/>
                  </a:lnTo>
                  <a:lnTo>
                    <a:pt x="768" y="1254"/>
                  </a:lnTo>
                  <a:lnTo>
                    <a:pt x="774" y="1248"/>
                  </a:lnTo>
                  <a:lnTo>
                    <a:pt x="774" y="1242"/>
                  </a:lnTo>
                  <a:lnTo>
                    <a:pt x="780" y="1236"/>
                  </a:lnTo>
                  <a:lnTo>
                    <a:pt x="786" y="1236"/>
                  </a:lnTo>
                  <a:lnTo>
                    <a:pt x="792" y="1230"/>
                  </a:lnTo>
                  <a:lnTo>
                    <a:pt x="792" y="1236"/>
                  </a:lnTo>
                  <a:lnTo>
                    <a:pt x="798" y="1236"/>
                  </a:lnTo>
                  <a:lnTo>
                    <a:pt x="798" y="1230"/>
                  </a:lnTo>
                  <a:lnTo>
                    <a:pt x="804" y="1230"/>
                  </a:lnTo>
                  <a:lnTo>
                    <a:pt x="804" y="1218"/>
                  </a:lnTo>
                  <a:lnTo>
                    <a:pt x="804" y="1206"/>
                  </a:lnTo>
                  <a:lnTo>
                    <a:pt x="792" y="1188"/>
                  </a:lnTo>
                  <a:lnTo>
                    <a:pt x="768" y="1182"/>
                  </a:lnTo>
                  <a:lnTo>
                    <a:pt x="768" y="1170"/>
                  </a:lnTo>
                  <a:lnTo>
                    <a:pt x="774" y="1170"/>
                  </a:lnTo>
                  <a:lnTo>
                    <a:pt x="780" y="1170"/>
                  </a:lnTo>
                  <a:lnTo>
                    <a:pt x="786" y="1170"/>
                  </a:lnTo>
                  <a:lnTo>
                    <a:pt x="780" y="1152"/>
                  </a:lnTo>
                  <a:lnTo>
                    <a:pt x="780" y="1146"/>
                  </a:lnTo>
                  <a:lnTo>
                    <a:pt x="744" y="1140"/>
                  </a:lnTo>
                  <a:lnTo>
                    <a:pt x="732" y="1128"/>
                  </a:lnTo>
                  <a:lnTo>
                    <a:pt x="720" y="1122"/>
                  </a:lnTo>
                  <a:lnTo>
                    <a:pt x="732" y="1116"/>
                  </a:lnTo>
                  <a:lnTo>
                    <a:pt x="750" y="1104"/>
                  </a:lnTo>
                  <a:lnTo>
                    <a:pt x="756" y="1116"/>
                  </a:lnTo>
                  <a:lnTo>
                    <a:pt x="774" y="1116"/>
                  </a:lnTo>
                  <a:lnTo>
                    <a:pt x="780" y="1104"/>
                  </a:lnTo>
                  <a:lnTo>
                    <a:pt x="780" y="1080"/>
                  </a:lnTo>
                  <a:lnTo>
                    <a:pt x="786" y="1080"/>
                  </a:lnTo>
                  <a:lnTo>
                    <a:pt x="786" y="1074"/>
                  </a:lnTo>
                  <a:lnTo>
                    <a:pt x="792" y="1074"/>
                  </a:lnTo>
                  <a:lnTo>
                    <a:pt x="786" y="1068"/>
                  </a:lnTo>
                  <a:lnTo>
                    <a:pt x="786" y="1062"/>
                  </a:lnTo>
                  <a:lnTo>
                    <a:pt x="786" y="1056"/>
                  </a:lnTo>
                  <a:lnTo>
                    <a:pt x="792" y="1050"/>
                  </a:lnTo>
                  <a:lnTo>
                    <a:pt x="786" y="1020"/>
                  </a:lnTo>
                  <a:lnTo>
                    <a:pt x="780" y="960"/>
                  </a:lnTo>
                  <a:lnTo>
                    <a:pt x="768" y="942"/>
                  </a:lnTo>
                  <a:lnTo>
                    <a:pt x="732" y="936"/>
                  </a:lnTo>
                  <a:lnTo>
                    <a:pt x="732" y="942"/>
                  </a:lnTo>
                  <a:lnTo>
                    <a:pt x="726" y="942"/>
                  </a:lnTo>
                  <a:lnTo>
                    <a:pt x="720" y="936"/>
                  </a:lnTo>
                  <a:lnTo>
                    <a:pt x="714" y="942"/>
                  </a:lnTo>
                  <a:lnTo>
                    <a:pt x="708" y="942"/>
                  </a:lnTo>
                  <a:lnTo>
                    <a:pt x="702" y="942"/>
                  </a:lnTo>
                  <a:lnTo>
                    <a:pt x="690" y="936"/>
                  </a:lnTo>
                  <a:lnTo>
                    <a:pt x="684" y="936"/>
                  </a:lnTo>
                  <a:lnTo>
                    <a:pt x="678" y="936"/>
                  </a:lnTo>
                  <a:lnTo>
                    <a:pt x="672" y="936"/>
                  </a:lnTo>
                  <a:lnTo>
                    <a:pt x="666" y="942"/>
                  </a:lnTo>
                  <a:lnTo>
                    <a:pt x="660" y="942"/>
                  </a:lnTo>
                  <a:lnTo>
                    <a:pt x="654" y="942"/>
                  </a:lnTo>
                  <a:lnTo>
                    <a:pt x="648" y="942"/>
                  </a:lnTo>
                  <a:lnTo>
                    <a:pt x="642" y="936"/>
                  </a:lnTo>
                  <a:lnTo>
                    <a:pt x="636" y="936"/>
                  </a:lnTo>
                  <a:lnTo>
                    <a:pt x="630" y="930"/>
                  </a:lnTo>
                  <a:lnTo>
                    <a:pt x="618" y="930"/>
                  </a:lnTo>
                  <a:lnTo>
                    <a:pt x="612" y="930"/>
                  </a:lnTo>
                  <a:lnTo>
                    <a:pt x="606" y="936"/>
                  </a:lnTo>
                  <a:lnTo>
                    <a:pt x="600" y="942"/>
                  </a:lnTo>
                  <a:lnTo>
                    <a:pt x="600" y="936"/>
                  </a:lnTo>
                  <a:lnTo>
                    <a:pt x="594" y="930"/>
                  </a:lnTo>
                  <a:lnTo>
                    <a:pt x="588" y="930"/>
                  </a:lnTo>
                  <a:lnTo>
                    <a:pt x="582" y="930"/>
                  </a:lnTo>
                  <a:lnTo>
                    <a:pt x="576" y="930"/>
                  </a:lnTo>
                  <a:lnTo>
                    <a:pt x="564" y="936"/>
                  </a:lnTo>
                  <a:lnTo>
                    <a:pt x="558" y="936"/>
                  </a:lnTo>
                  <a:lnTo>
                    <a:pt x="546" y="924"/>
                  </a:lnTo>
                  <a:lnTo>
                    <a:pt x="540" y="924"/>
                  </a:lnTo>
                  <a:lnTo>
                    <a:pt x="534" y="918"/>
                  </a:lnTo>
                  <a:lnTo>
                    <a:pt x="528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6" y="918"/>
                  </a:lnTo>
                  <a:lnTo>
                    <a:pt x="516" y="912"/>
                  </a:lnTo>
                  <a:lnTo>
                    <a:pt x="510" y="894"/>
                  </a:lnTo>
                  <a:lnTo>
                    <a:pt x="510" y="882"/>
                  </a:lnTo>
                  <a:lnTo>
                    <a:pt x="510" y="876"/>
                  </a:lnTo>
                  <a:lnTo>
                    <a:pt x="516" y="870"/>
                  </a:lnTo>
                  <a:lnTo>
                    <a:pt x="510" y="864"/>
                  </a:lnTo>
                  <a:lnTo>
                    <a:pt x="516" y="858"/>
                  </a:lnTo>
                  <a:lnTo>
                    <a:pt x="522" y="858"/>
                  </a:lnTo>
                  <a:lnTo>
                    <a:pt x="528" y="858"/>
                  </a:lnTo>
                  <a:lnTo>
                    <a:pt x="522" y="852"/>
                  </a:lnTo>
                  <a:lnTo>
                    <a:pt x="528" y="852"/>
                  </a:lnTo>
                  <a:lnTo>
                    <a:pt x="528" y="846"/>
                  </a:lnTo>
                  <a:lnTo>
                    <a:pt x="552" y="846"/>
                  </a:lnTo>
                  <a:lnTo>
                    <a:pt x="558" y="840"/>
                  </a:lnTo>
                  <a:lnTo>
                    <a:pt x="564" y="828"/>
                  </a:lnTo>
                  <a:lnTo>
                    <a:pt x="570" y="816"/>
                  </a:lnTo>
                  <a:lnTo>
                    <a:pt x="582" y="810"/>
                  </a:lnTo>
                  <a:lnTo>
                    <a:pt x="588" y="804"/>
                  </a:lnTo>
                  <a:lnTo>
                    <a:pt x="594" y="804"/>
                  </a:lnTo>
                  <a:lnTo>
                    <a:pt x="594" y="792"/>
                  </a:lnTo>
                  <a:lnTo>
                    <a:pt x="600" y="786"/>
                  </a:lnTo>
                  <a:lnTo>
                    <a:pt x="606" y="780"/>
                  </a:lnTo>
                  <a:lnTo>
                    <a:pt x="612" y="774"/>
                  </a:lnTo>
                  <a:lnTo>
                    <a:pt x="618" y="774"/>
                  </a:lnTo>
                  <a:lnTo>
                    <a:pt x="618" y="768"/>
                  </a:lnTo>
                  <a:lnTo>
                    <a:pt x="618" y="762"/>
                  </a:lnTo>
                  <a:lnTo>
                    <a:pt x="624" y="756"/>
                  </a:lnTo>
                  <a:lnTo>
                    <a:pt x="618" y="750"/>
                  </a:lnTo>
                  <a:lnTo>
                    <a:pt x="618" y="744"/>
                  </a:lnTo>
                  <a:lnTo>
                    <a:pt x="600" y="738"/>
                  </a:lnTo>
                  <a:lnTo>
                    <a:pt x="558" y="744"/>
                  </a:lnTo>
                  <a:lnTo>
                    <a:pt x="552" y="732"/>
                  </a:lnTo>
                  <a:lnTo>
                    <a:pt x="546" y="720"/>
                  </a:lnTo>
                  <a:lnTo>
                    <a:pt x="564" y="702"/>
                  </a:lnTo>
                  <a:lnTo>
                    <a:pt x="570" y="684"/>
                  </a:lnTo>
                  <a:lnTo>
                    <a:pt x="564" y="648"/>
                  </a:lnTo>
                  <a:lnTo>
                    <a:pt x="534" y="624"/>
                  </a:lnTo>
                  <a:lnTo>
                    <a:pt x="504" y="612"/>
                  </a:lnTo>
                  <a:lnTo>
                    <a:pt x="498" y="606"/>
                  </a:lnTo>
                  <a:lnTo>
                    <a:pt x="492" y="600"/>
                  </a:lnTo>
                  <a:lnTo>
                    <a:pt x="486" y="606"/>
                  </a:lnTo>
                  <a:lnTo>
                    <a:pt x="480" y="558"/>
                  </a:lnTo>
                  <a:lnTo>
                    <a:pt x="462" y="546"/>
                  </a:lnTo>
                  <a:lnTo>
                    <a:pt x="408" y="540"/>
                  </a:lnTo>
                  <a:lnTo>
                    <a:pt x="408" y="546"/>
                  </a:lnTo>
                  <a:lnTo>
                    <a:pt x="408" y="558"/>
                  </a:lnTo>
                  <a:lnTo>
                    <a:pt x="408" y="564"/>
                  </a:lnTo>
                  <a:lnTo>
                    <a:pt x="408" y="570"/>
                  </a:lnTo>
                  <a:lnTo>
                    <a:pt x="414" y="582"/>
                  </a:lnTo>
                  <a:lnTo>
                    <a:pt x="408" y="594"/>
                  </a:lnTo>
                  <a:lnTo>
                    <a:pt x="414" y="594"/>
                  </a:lnTo>
                  <a:lnTo>
                    <a:pt x="408" y="600"/>
                  </a:lnTo>
                  <a:lnTo>
                    <a:pt x="348" y="600"/>
                  </a:lnTo>
                  <a:lnTo>
                    <a:pt x="324" y="600"/>
                  </a:lnTo>
                  <a:lnTo>
                    <a:pt x="324" y="612"/>
                  </a:lnTo>
                  <a:lnTo>
                    <a:pt x="306" y="618"/>
                  </a:lnTo>
                  <a:lnTo>
                    <a:pt x="312" y="618"/>
                  </a:lnTo>
                  <a:lnTo>
                    <a:pt x="294" y="588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76"/>
                  </a:lnTo>
                  <a:lnTo>
                    <a:pt x="240" y="582"/>
                  </a:lnTo>
                  <a:lnTo>
                    <a:pt x="234" y="582"/>
                  </a:lnTo>
                  <a:lnTo>
                    <a:pt x="228" y="588"/>
                  </a:lnTo>
                  <a:lnTo>
                    <a:pt x="222" y="588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8" y="600"/>
                  </a:lnTo>
                  <a:lnTo>
                    <a:pt x="192" y="612"/>
                  </a:lnTo>
                  <a:lnTo>
                    <a:pt x="192" y="618"/>
                  </a:lnTo>
                  <a:lnTo>
                    <a:pt x="198" y="624"/>
                  </a:lnTo>
                  <a:lnTo>
                    <a:pt x="192" y="624"/>
                  </a:lnTo>
                  <a:lnTo>
                    <a:pt x="192" y="630"/>
                  </a:lnTo>
                  <a:lnTo>
                    <a:pt x="192" y="642"/>
                  </a:lnTo>
                  <a:lnTo>
                    <a:pt x="180" y="648"/>
                  </a:lnTo>
                  <a:lnTo>
                    <a:pt x="174" y="654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6"/>
                  </a:lnTo>
                  <a:lnTo>
                    <a:pt x="156" y="672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90"/>
                  </a:lnTo>
                  <a:lnTo>
                    <a:pt x="132" y="690"/>
                  </a:lnTo>
                  <a:lnTo>
                    <a:pt x="126" y="702"/>
                  </a:lnTo>
                  <a:lnTo>
                    <a:pt x="132" y="708"/>
                  </a:lnTo>
                  <a:lnTo>
                    <a:pt x="126" y="708"/>
                  </a:lnTo>
                  <a:lnTo>
                    <a:pt x="120" y="708"/>
                  </a:lnTo>
                  <a:lnTo>
                    <a:pt x="114" y="708"/>
                  </a:lnTo>
                  <a:lnTo>
                    <a:pt x="108" y="708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78" y="720"/>
                  </a:lnTo>
                  <a:lnTo>
                    <a:pt x="72" y="720"/>
                  </a:lnTo>
                  <a:lnTo>
                    <a:pt x="66" y="720"/>
                  </a:lnTo>
                  <a:lnTo>
                    <a:pt x="54" y="732"/>
                  </a:lnTo>
                  <a:lnTo>
                    <a:pt x="48" y="702"/>
                  </a:lnTo>
                  <a:lnTo>
                    <a:pt x="36" y="666"/>
                  </a:lnTo>
                  <a:lnTo>
                    <a:pt x="0" y="660"/>
                  </a:lnTo>
                  <a:lnTo>
                    <a:pt x="6" y="660"/>
                  </a:lnTo>
                  <a:lnTo>
                    <a:pt x="6" y="654"/>
                  </a:lnTo>
                  <a:lnTo>
                    <a:pt x="6" y="648"/>
                  </a:lnTo>
                  <a:lnTo>
                    <a:pt x="6" y="642"/>
                  </a:lnTo>
                  <a:lnTo>
                    <a:pt x="6" y="624"/>
                  </a:lnTo>
                  <a:lnTo>
                    <a:pt x="6" y="612"/>
                  </a:lnTo>
                  <a:lnTo>
                    <a:pt x="6" y="606"/>
                  </a:lnTo>
                  <a:lnTo>
                    <a:pt x="12" y="612"/>
                  </a:lnTo>
                  <a:lnTo>
                    <a:pt x="18" y="606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30" y="594"/>
                  </a:lnTo>
                  <a:lnTo>
                    <a:pt x="30" y="588"/>
                  </a:lnTo>
                  <a:lnTo>
                    <a:pt x="30" y="582"/>
                  </a:lnTo>
                  <a:lnTo>
                    <a:pt x="24" y="576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18" y="558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36" y="528"/>
                  </a:lnTo>
                  <a:lnTo>
                    <a:pt x="30" y="522"/>
                  </a:lnTo>
                  <a:lnTo>
                    <a:pt x="24" y="522"/>
                  </a:lnTo>
                  <a:lnTo>
                    <a:pt x="18" y="510"/>
                  </a:lnTo>
                  <a:lnTo>
                    <a:pt x="12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8" y="474"/>
                  </a:lnTo>
                  <a:lnTo>
                    <a:pt x="12" y="468"/>
                  </a:lnTo>
                  <a:lnTo>
                    <a:pt x="12" y="462"/>
                  </a:lnTo>
                  <a:lnTo>
                    <a:pt x="18" y="456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0" y="420"/>
                  </a:lnTo>
                  <a:lnTo>
                    <a:pt x="30" y="414"/>
                  </a:lnTo>
                  <a:lnTo>
                    <a:pt x="48" y="414"/>
                  </a:lnTo>
                  <a:lnTo>
                    <a:pt x="54" y="408"/>
                  </a:lnTo>
                  <a:lnTo>
                    <a:pt x="60" y="402"/>
                  </a:lnTo>
                  <a:lnTo>
                    <a:pt x="66" y="402"/>
                  </a:lnTo>
                  <a:lnTo>
                    <a:pt x="72" y="402"/>
                  </a:lnTo>
                  <a:lnTo>
                    <a:pt x="78" y="408"/>
                  </a:lnTo>
                  <a:lnTo>
                    <a:pt x="84" y="396"/>
                  </a:lnTo>
                  <a:lnTo>
                    <a:pt x="90" y="390"/>
                  </a:lnTo>
                  <a:lnTo>
                    <a:pt x="90" y="378"/>
                  </a:lnTo>
                  <a:lnTo>
                    <a:pt x="96" y="372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8" y="354"/>
                  </a:lnTo>
                  <a:lnTo>
                    <a:pt x="114" y="348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32" y="336"/>
                  </a:lnTo>
                  <a:lnTo>
                    <a:pt x="132" y="330"/>
                  </a:lnTo>
                  <a:lnTo>
                    <a:pt x="138" y="324"/>
                  </a:lnTo>
                  <a:lnTo>
                    <a:pt x="138" y="318"/>
                  </a:lnTo>
                  <a:lnTo>
                    <a:pt x="144" y="306"/>
                  </a:lnTo>
                  <a:lnTo>
                    <a:pt x="156" y="306"/>
                  </a:lnTo>
                  <a:lnTo>
                    <a:pt x="186" y="300"/>
                  </a:lnTo>
                  <a:lnTo>
                    <a:pt x="198" y="300"/>
                  </a:lnTo>
                  <a:lnTo>
                    <a:pt x="210" y="300"/>
                  </a:lnTo>
                  <a:lnTo>
                    <a:pt x="222" y="300"/>
                  </a:lnTo>
                  <a:lnTo>
                    <a:pt x="246" y="300"/>
                  </a:lnTo>
                  <a:lnTo>
                    <a:pt x="264" y="312"/>
                  </a:lnTo>
                  <a:lnTo>
                    <a:pt x="270" y="312"/>
                  </a:lnTo>
                  <a:lnTo>
                    <a:pt x="282" y="306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300" y="306"/>
                  </a:lnTo>
                  <a:lnTo>
                    <a:pt x="312" y="306"/>
                  </a:lnTo>
                  <a:lnTo>
                    <a:pt x="318" y="300"/>
                  </a:lnTo>
                  <a:lnTo>
                    <a:pt x="324" y="300"/>
                  </a:lnTo>
                  <a:lnTo>
                    <a:pt x="330" y="294"/>
                  </a:lnTo>
                  <a:lnTo>
                    <a:pt x="336" y="288"/>
                  </a:lnTo>
                  <a:lnTo>
                    <a:pt x="354" y="288"/>
                  </a:lnTo>
                  <a:lnTo>
                    <a:pt x="360" y="288"/>
                  </a:lnTo>
                  <a:lnTo>
                    <a:pt x="366" y="282"/>
                  </a:lnTo>
                  <a:lnTo>
                    <a:pt x="372" y="282"/>
                  </a:lnTo>
                  <a:lnTo>
                    <a:pt x="378" y="282"/>
                  </a:lnTo>
                  <a:lnTo>
                    <a:pt x="384" y="276"/>
                  </a:lnTo>
                  <a:lnTo>
                    <a:pt x="384" y="270"/>
                  </a:lnTo>
                  <a:lnTo>
                    <a:pt x="390" y="264"/>
                  </a:lnTo>
                  <a:lnTo>
                    <a:pt x="402" y="258"/>
                  </a:lnTo>
                  <a:lnTo>
                    <a:pt x="402" y="252"/>
                  </a:lnTo>
                  <a:lnTo>
                    <a:pt x="402" y="246"/>
                  </a:lnTo>
                  <a:lnTo>
                    <a:pt x="408" y="234"/>
                  </a:lnTo>
                  <a:lnTo>
                    <a:pt x="414" y="234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14" y="216"/>
                  </a:lnTo>
                  <a:lnTo>
                    <a:pt x="414" y="210"/>
                  </a:lnTo>
                  <a:lnTo>
                    <a:pt x="420" y="210"/>
                  </a:lnTo>
                  <a:lnTo>
                    <a:pt x="414" y="198"/>
                  </a:lnTo>
                  <a:lnTo>
                    <a:pt x="414" y="192"/>
                  </a:lnTo>
                  <a:lnTo>
                    <a:pt x="420" y="192"/>
                  </a:lnTo>
                  <a:lnTo>
                    <a:pt x="420" y="186"/>
                  </a:lnTo>
                  <a:lnTo>
                    <a:pt x="420" y="174"/>
                  </a:lnTo>
                  <a:lnTo>
                    <a:pt x="420" y="168"/>
                  </a:lnTo>
                  <a:lnTo>
                    <a:pt x="426" y="162"/>
                  </a:lnTo>
                  <a:lnTo>
                    <a:pt x="432" y="156"/>
                  </a:lnTo>
                  <a:lnTo>
                    <a:pt x="438" y="144"/>
                  </a:lnTo>
                  <a:lnTo>
                    <a:pt x="444" y="144"/>
                  </a:lnTo>
                  <a:lnTo>
                    <a:pt x="450" y="138"/>
                  </a:lnTo>
                  <a:lnTo>
                    <a:pt x="456" y="138"/>
                  </a:lnTo>
                  <a:lnTo>
                    <a:pt x="462" y="132"/>
                  </a:lnTo>
                  <a:lnTo>
                    <a:pt x="462" y="126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0"/>
                  </a:lnTo>
                  <a:lnTo>
                    <a:pt x="486" y="108"/>
                  </a:lnTo>
                  <a:lnTo>
                    <a:pt x="492" y="108"/>
                  </a:lnTo>
                  <a:lnTo>
                    <a:pt x="498" y="102"/>
                  </a:lnTo>
                  <a:lnTo>
                    <a:pt x="504" y="96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40" y="102"/>
                  </a:lnTo>
                  <a:lnTo>
                    <a:pt x="552" y="108"/>
                  </a:lnTo>
                  <a:lnTo>
                    <a:pt x="582" y="102"/>
                  </a:lnTo>
                  <a:lnTo>
                    <a:pt x="594" y="126"/>
                  </a:lnTo>
                  <a:lnTo>
                    <a:pt x="594" y="144"/>
                  </a:lnTo>
                  <a:lnTo>
                    <a:pt x="588" y="156"/>
                  </a:lnTo>
                  <a:lnTo>
                    <a:pt x="588" y="168"/>
                  </a:lnTo>
                  <a:lnTo>
                    <a:pt x="582" y="180"/>
                  </a:lnTo>
                  <a:lnTo>
                    <a:pt x="570" y="192"/>
                  </a:lnTo>
                  <a:lnTo>
                    <a:pt x="594" y="192"/>
                  </a:lnTo>
                  <a:lnTo>
                    <a:pt x="618" y="198"/>
                  </a:lnTo>
                  <a:lnTo>
                    <a:pt x="642" y="210"/>
                  </a:lnTo>
                  <a:lnTo>
                    <a:pt x="660" y="234"/>
                  </a:lnTo>
                  <a:lnTo>
                    <a:pt x="678" y="246"/>
                  </a:lnTo>
                  <a:lnTo>
                    <a:pt x="684" y="252"/>
                  </a:lnTo>
                  <a:lnTo>
                    <a:pt x="702" y="252"/>
                  </a:lnTo>
                  <a:lnTo>
                    <a:pt x="732" y="234"/>
                  </a:lnTo>
                  <a:lnTo>
                    <a:pt x="732" y="222"/>
                  </a:lnTo>
                  <a:lnTo>
                    <a:pt x="720" y="216"/>
                  </a:lnTo>
                  <a:lnTo>
                    <a:pt x="714" y="198"/>
                  </a:lnTo>
                  <a:lnTo>
                    <a:pt x="714" y="174"/>
                  </a:lnTo>
                  <a:lnTo>
                    <a:pt x="720" y="162"/>
                  </a:lnTo>
                  <a:lnTo>
                    <a:pt x="726" y="162"/>
                  </a:lnTo>
                  <a:lnTo>
                    <a:pt x="732" y="156"/>
                  </a:lnTo>
                  <a:lnTo>
                    <a:pt x="744" y="150"/>
                  </a:lnTo>
                  <a:lnTo>
                    <a:pt x="774" y="162"/>
                  </a:lnTo>
                  <a:lnTo>
                    <a:pt x="786" y="162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16" y="150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2" y="132"/>
                  </a:lnTo>
                  <a:lnTo>
                    <a:pt x="822" y="114"/>
                  </a:lnTo>
                  <a:lnTo>
                    <a:pt x="828" y="108"/>
                  </a:lnTo>
                  <a:lnTo>
                    <a:pt x="834" y="96"/>
                  </a:lnTo>
                  <a:lnTo>
                    <a:pt x="846" y="96"/>
                  </a:lnTo>
                  <a:lnTo>
                    <a:pt x="858" y="90"/>
                  </a:lnTo>
                  <a:lnTo>
                    <a:pt x="870" y="84"/>
                  </a:lnTo>
                  <a:lnTo>
                    <a:pt x="888" y="84"/>
                  </a:lnTo>
                  <a:lnTo>
                    <a:pt x="894" y="90"/>
                  </a:lnTo>
                  <a:lnTo>
                    <a:pt x="894" y="102"/>
                  </a:lnTo>
                  <a:lnTo>
                    <a:pt x="900" y="102"/>
                  </a:lnTo>
                  <a:lnTo>
                    <a:pt x="906" y="114"/>
                  </a:lnTo>
                  <a:lnTo>
                    <a:pt x="930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54" y="138"/>
                  </a:lnTo>
                  <a:lnTo>
                    <a:pt x="966" y="144"/>
                  </a:lnTo>
                  <a:lnTo>
                    <a:pt x="966" y="150"/>
                  </a:lnTo>
                  <a:lnTo>
                    <a:pt x="972" y="150"/>
                  </a:lnTo>
                  <a:lnTo>
                    <a:pt x="978" y="150"/>
                  </a:lnTo>
                  <a:lnTo>
                    <a:pt x="978" y="144"/>
                  </a:lnTo>
                  <a:lnTo>
                    <a:pt x="984" y="144"/>
                  </a:lnTo>
                  <a:lnTo>
                    <a:pt x="990" y="138"/>
                  </a:lnTo>
                  <a:lnTo>
                    <a:pt x="996" y="138"/>
                  </a:lnTo>
                  <a:lnTo>
                    <a:pt x="1002" y="138"/>
                  </a:lnTo>
                  <a:lnTo>
                    <a:pt x="1008" y="138"/>
                  </a:lnTo>
                  <a:lnTo>
                    <a:pt x="1026" y="132"/>
                  </a:lnTo>
                  <a:lnTo>
                    <a:pt x="1044" y="126"/>
                  </a:lnTo>
                  <a:lnTo>
                    <a:pt x="1056" y="120"/>
                  </a:lnTo>
                  <a:lnTo>
                    <a:pt x="1062" y="108"/>
                  </a:lnTo>
                  <a:lnTo>
                    <a:pt x="1056" y="102"/>
                  </a:lnTo>
                  <a:lnTo>
                    <a:pt x="1062" y="96"/>
                  </a:lnTo>
                  <a:lnTo>
                    <a:pt x="1074" y="90"/>
                  </a:lnTo>
                  <a:lnTo>
                    <a:pt x="1080" y="84"/>
                  </a:lnTo>
                  <a:lnTo>
                    <a:pt x="1128" y="84"/>
                  </a:lnTo>
                  <a:lnTo>
                    <a:pt x="1134" y="84"/>
                  </a:lnTo>
                  <a:lnTo>
                    <a:pt x="1140" y="78"/>
                  </a:lnTo>
                  <a:lnTo>
                    <a:pt x="1152" y="72"/>
                  </a:lnTo>
                  <a:lnTo>
                    <a:pt x="1164" y="66"/>
                  </a:lnTo>
                  <a:lnTo>
                    <a:pt x="1170" y="60"/>
                  </a:lnTo>
                  <a:lnTo>
                    <a:pt x="1188" y="48"/>
                  </a:lnTo>
                  <a:lnTo>
                    <a:pt x="1200" y="36"/>
                  </a:lnTo>
                  <a:lnTo>
                    <a:pt x="1218" y="24"/>
                  </a:lnTo>
                  <a:lnTo>
                    <a:pt x="1248" y="24"/>
                  </a:lnTo>
                  <a:lnTo>
                    <a:pt x="1272" y="24"/>
                  </a:lnTo>
                  <a:lnTo>
                    <a:pt x="1284" y="12"/>
                  </a:lnTo>
                  <a:lnTo>
                    <a:pt x="1302" y="0"/>
                  </a:lnTo>
                  <a:lnTo>
                    <a:pt x="1314" y="0"/>
                  </a:lnTo>
                  <a:lnTo>
                    <a:pt x="1326" y="18"/>
                  </a:lnTo>
                  <a:lnTo>
                    <a:pt x="1338" y="30"/>
                  </a:lnTo>
                  <a:lnTo>
                    <a:pt x="1338" y="54"/>
                  </a:lnTo>
                  <a:lnTo>
                    <a:pt x="1332" y="72"/>
                  </a:lnTo>
                  <a:lnTo>
                    <a:pt x="1326" y="72"/>
                  </a:lnTo>
                  <a:lnTo>
                    <a:pt x="1326" y="78"/>
                  </a:lnTo>
                  <a:lnTo>
                    <a:pt x="1326" y="102"/>
                  </a:lnTo>
                  <a:lnTo>
                    <a:pt x="1332" y="102"/>
                  </a:lnTo>
                  <a:lnTo>
                    <a:pt x="1332" y="108"/>
                  </a:lnTo>
                  <a:lnTo>
                    <a:pt x="1344" y="114"/>
                  </a:lnTo>
                  <a:lnTo>
                    <a:pt x="1350" y="114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404" y="132"/>
                  </a:lnTo>
                  <a:lnTo>
                    <a:pt x="1404" y="138"/>
                  </a:lnTo>
                  <a:lnTo>
                    <a:pt x="1410" y="150"/>
                  </a:lnTo>
                  <a:lnTo>
                    <a:pt x="1416" y="162"/>
                  </a:lnTo>
                  <a:lnTo>
                    <a:pt x="1428" y="168"/>
                  </a:lnTo>
                  <a:lnTo>
                    <a:pt x="1440" y="180"/>
                  </a:lnTo>
                  <a:lnTo>
                    <a:pt x="1476" y="174"/>
                  </a:lnTo>
                  <a:lnTo>
                    <a:pt x="1494" y="174"/>
                  </a:lnTo>
                  <a:lnTo>
                    <a:pt x="1512" y="192"/>
                  </a:lnTo>
                  <a:lnTo>
                    <a:pt x="1518" y="204"/>
                  </a:lnTo>
                  <a:lnTo>
                    <a:pt x="1530" y="216"/>
                  </a:lnTo>
                  <a:lnTo>
                    <a:pt x="1548" y="228"/>
                  </a:lnTo>
                  <a:lnTo>
                    <a:pt x="1548" y="234"/>
                  </a:lnTo>
                  <a:lnTo>
                    <a:pt x="1542" y="246"/>
                  </a:lnTo>
                  <a:lnTo>
                    <a:pt x="1560" y="246"/>
                  </a:lnTo>
                  <a:lnTo>
                    <a:pt x="1560" y="252"/>
                  </a:lnTo>
                  <a:lnTo>
                    <a:pt x="1566" y="258"/>
                  </a:lnTo>
                  <a:lnTo>
                    <a:pt x="1578" y="270"/>
                  </a:lnTo>
                  <a:lnTo>
                    <a:pt x="1596" y="270"/>
                  </a:lnTo>
                  <a:lnTo>
                    <a:pt x="1602" y="288"/>
                  </a:lnTo>
                  <a:lnTo>
                    <a:pt x="1608" y="306"/>
                  </a:lnTo>
                  <a:lnTo>
                    <a:pt x="1608" y="318"/>
                  </a:lnTo>
                  <a:lnTo>
                    <a:pt x="1608" y="324"/>
                  </a:lnTo>
                  <a:lnTo>
                    <a:pt x="1614" y="330"/>
                  </a:lnTo>
                  <a:lnTo>
                    <a:pt x="1614" y="336"/>
                  </a:lnTo>
                  <a:lnTo>
                    <a:pt x="1614" y="342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08" y="390"/>
                  </a:lnTo>
                  <a:lnTo>
                    <a:pt x="1602" y="390"/>
                  </a:lnTo>
                  <a:lnTo>
                    <a:pt x="1602" y="396"/>
                  </a:lnTo>
                  <a:lnTo>
                    <a:pt x="1584" y="420"/>
                  </a:lnTo>
                  <a:lnTo>
                    <a:pt x="1584" y="426"/>
                  </a:lnTo>
                  <a:lnTo>
                    <a:pt x="1602" y="474"/>
                  </a:lnTo>
                  <a:lnTo>
                    <a:pt x="1608" y="480"/>
                  </a:lnTo>
                  <a:lnTo>
                    <a:pt x="1608" y="486"/>
                  </a:lnTo>
                  <a:lnTo>
                    <a:pt x="1614" y="486"/>
                  </a:lnTo>
                  <a:lnTo>
                    <a:pt x="1608" y="504"/>
                  </a:lnTo>
                  <a:lnTo>
                    <a:pt x="1572" y="504"/>
                  </a:lnTo>
                  <a:lnTo>
                    <a:pt x="1560" y="510"/>
                  </a:lnTo>
                  <a:lnTo>
                    <a:pt x="1554" y="522"/>
                  </a:lnTo>
                  <a:lnTo>
                    <a:pt x="1560" y="552"/>
                  </a:lnTo>
                  <a:lnTo>
                    <a:pt x="1566" y="552"/>
                  </a:lnTo>
                  <a:lnTo>
                    <a:pt x="1566" y="558"/>
                  </a:lnTo>
                  <a:lnTo>
                    <a:pt x="1572" y="558"/>
                  </a:lnTo>
                  <a:lnTo>
                    <a:pt x="1578" y="558"/>
                  </a:lnTo>
                  <a:lnTo>
                    <a:pt x="1578" y="552"/>
                  </a:lnTo>
                  <a:lnTo>
                    <a:pt x="1584" y="552"/>
                  </a:lnTo>
                  <a:lnTo>
                    <a:pt x="1590" y="552"/>
                  </a:lnTo>
                  <a:lnTo>
                    <a:pt x="1590" y="546"/>
                  </a:lnTo>
                  <a:lnTo>
                    <a:pt x="1596" y="546"/>
                  </a:lnTo>
                  <a:lnTo>
                    <a:pt x="1602" y="552"/>
                  </a:lnTo>
                  <a:lnTo>
                    <a:pt x="1602" y="546"/>
                  </a:lnTo>
                  <a:lnTo>
                    <a:pt x="1608" y="546"/>
                  </a:lnTo>
                  <a:lnTo>
                    <a:pt x="1608" y="552"/>
                  </a:lnTo>
                  <a:lnTo>
                    <a:pt x="1614" y="552"/>
                  </a:lnTo>
                  <a:lnTo>
                    <a:pt x="1614" y="546"/>
                  </a:lnTo>
                  <a:lnTo>
                    <a:pt x="1620" y="552"/>
                  </a:lnTo>
                  <a:lnTo>
                    <a:pt x="1626" y="552"/>
                  </a:lnTo>
                  <a:lnTo>
                    <a:pt x="1626" y="558"/>
                  </a:lnTo>
                  <a:lnTo>
                    <a:pt x="1632" y="558"/>
                  </a:lnTo>
                  <a:lnTo>
                    <a:pt x="1638" y="558"/>
                  </a:lnTo>
                  <a:lnTo>
                    <a:pt x="1644" y="558"/>
                  </a:lnTo>
                  <a:lnTo>
                    <a:pt x="1650" y="558"/>
                  </a:lnTo>
                  <a:lnTo>
                    <a:pt x="1650" y="564"/>
                  </a:lnTo>
                  <a:lnTo>
                    <a:pt x="1656" y="564"/>
                  </a:lnTo>
                  <a:lnTo>
                    <a:pt x="1662" y="564"/>
                  </a:lnTo>
                  <a:lnTo>
                    <a:pt x="1668" y="564"/>
                  </a:lnTo>
                  <a:lnTo>
                    <a:pt x="1668" y="570"/>
                  </a:lnTo>
                  <a:lnTo>
                    <a:pt x="1674" y="570"/>
                  </a:lnTo>
                  <a:lnTo>
                    <a:pt x="1680" y="570"/>
                  </a:lnTo>
                  <a:lnTo>
                    <a:pt x="1686" y="576"/>
                  </a:lnTo>
                  <a:lnTo>
                    <a:pt x="1686" y="582"/>
                  </a:lnTo>
                  <a:lnTo>
                    <a:pt x="1710" y="588"/>
                  </a:lnTo>
                  <a:lnTo>
                    <a:pt x="1710" y="594"/>
                  </a:lnTo>
                  <a:lnTo>
                    <a:pt x="1704" y="600"/>
                  </a:lnTo>
                  <a:lnTo>
                    <a:pt x="1710" y="624"/>
                  </a:lnTo>
                  <a:lnTo>
                    <a:pt x="1698" y="672"/>
                  </a:lnTo>
                  <a:lnTo>
                    <a:pt x="1704" y="678"/>
                  </a:lnTo>
                  <a:lnTo>
                    <a:pt x="1716" y="684"/>
                  </a:lnTo>
                  <a:lnTo>
                    <a:pt x="1716" y="678"/>
                  </a:lnTo>
                  <a:lnTo>
                    <a:pt x="1716" y="684"/>
                  </a:lnTo>
                  <a:lnTo>
                    <a:pt x="1728" y="684"/>
                  </a:lnTo>
                  <a:lnTo>
                    <a:pt x="1728" y="690"/>
                  </a:lnTo>
                  <a:lnTo>
                    <a:pt x="1734" y="696"/>
                  </a:lnTo>
                  <a:lnTo>
                    <a:pt x="1734" y="702"/>
                  </a:lnTo>
                  <a:lnTo>
                    <a:pt x="1740" y="708"/>
                  </a:lnTo>
                  <a:lnTo>
                    <a:pt x="1740" y="714"/>
                  </a:lnTo>
                  <a:lnTo>
                    <a:pt x="1710" y="714"/>
                  </a:lnTo>
                  <a:lnTo>
                    <a:pt x="1710" y="756"/>
                  </a:lnTo>
                  <a:lnTo>
                    <a:pt x="1704" y="762"/>
                  </a:lnTo>
                  <a:lnTo>
                    <a:pt x="1698" y="762"/>
                  </a:lnTo>
                  <a:lnTo>
                    <a:pt x="1698" y="768"/>
                  </a:lnTo>
                  <a:lnTo>
                    <a:pt x="1698" y="774"/>
                  </a:lnTo>
                  <a:lnTo>
                    <a:pt x="1692" y="780"/>
                  </a:lnTo>
                  <a:lnTo>
                    <a:pt x="1692" y="786"/>
                  </a:lnTo>
                  <a:lnTo>
                    <a:pt x="1686" y="786"/>
                  </a:lnTo>
                  <a:lnTo>
                    <a:pt x="1668" y="798"/>
                  </a:lnTo>
                  <a:lnTo>
                    <a:pt x="1662" y="810"/>
                  </a:lnTo>
                  <a:lnTo>
                    <a:pt x="1650" y="810"/>
                  </a:lnTo>
                  <a:lnTo>
                    <a:pt x="1644" y="816"/>
                  </a:lnTo>
                  <a:lnTo>
                    <a:pt x="1638" y="816"/>
                  </a:lnTo>
                  <a:lnTo>
                    <a:pt x="1626" y="852"/>
                  </a:lnTo>
                  <a:lnTo>
                    <a:pt x="1620" y="888"/>
                  </a:lnTo>
                  <a:lnTo>
                    <a:pt x="1626" y="888"/>
                  </a:lnTo>
                  <a:lnTo>
                    <a:pt x="1638" y="912"/>
                  </a:lnTo>
                  <a:lnTo>
                    <a:pt x="1644" y="918"/>
                  </a:lnTo>
                  <a:lnTo>
                    <a:pt x="1650" y="966"/>
                  </a:lnTo>
                  <a:lnTo>
                    <a:pt x="1626" y="972"/>
                  </a:lnTo>
                  <a:lnTo>
                    <a:pt x="1608" y="978"/>
                  </a:lnTo>
                  <a:lnTo>
                    <a:pt x="1614" y="984"/>
                  </a:lnTo>
                  <a:lnTo>
                    <a:pt x="1620" y="984"/>
                  </a:lnTo>
                  <a:lnTo>
                    <a:pt x="1620" y="1020"/>
                  </a:lnTo>
                  <a:lnTo>
                    <a:pt x="1614" y="1038"/>
                  </a:lnTo>
                  <a:lnTo>
                    <a:pt x="1620" y="1044"/>
                  </a:lnTo>
                  <a:lnTo>
                    <a:pt x="1626" y="1056"/>
                  </a:lnTo>
                  <a:lnTo>
                    <a:pt x="1626" y="1074"/>
                  </a:lnTo>
                  <a:lnTo>
                    <a:pt x="1620" y="1080"/>
                  </a:lnTo>
                  <a:lnTo>
                    <a:pt x="1620" y="1104"/>
                  </a:lnTo>
                  <a:lnTo>
                    <a:pt x="1620" y="1110"/>
                  </a:lnTo>
                  <a:lnTo>
                    <a:pt x="1614" y="1116"/>
                  </a:lnTo>
                  <a:lnTo>
                    <a:pt x="1608" y="1140"/>
                  </a:lnTo>
                  <a:lnTo>
                    <a:pt x="1602" y="1146"/>
                  </a:lnTo>
                  <a:lnTo>
                    <a:pt x="1602" y="1164"/>
                  </a:lnTo>
                  <a:lnTo>
                    <a:pt x="1596" y="1170"/>
                  </a:lnTo>
                  <a:lnTo>
                    <a:pt x="1590" y="1164"/>
                  </a:lnTo>
                  <a:lnTo>
                    <a:pt x="1584" y="1164"/>
                  </a:lnTo>
                  <a:lnTo>
                    <a:pt x="1578" y="1164"/>
                  </a:lnTo>
                  <a:lnTo>
                    <a:pt x="1578" y="1188"/>
                  </a:lnTo>
                  <a:lnTo>
                    <a:pt x="1584" y="1194"/>
                  </a:lnTo>
                  <a:lnTo>
                    <a:pt x="1590" y="1194"/>
                  </a:lnTo>
                  <a:lnTo>
                    <a:pt x="1590" y="1212"/>
                  </a:lnTo>
                  <a:lnTo>
                    <a:pt x="1584" y="1212"/>
                  </a:lnTo>
                  <a:lnTo>
                    <a:pt x="1584" y="1224"/>
                  </a:lnTo>
                  <a:lnTo>
                    <a:pt x="1578" y="1224"/>
                  </a:lnTo>
                  <a:lnTo>
                    <a:pt x="1578" y="1236"/>
                  </a:lnTo>
                  <a:lnTo>
                    <a:pt x="1584" y="1254"/>
                  </a:lnTo>
                  <a:lnTo>
                    <a:pt x="1584" y="1260"/>
                  </a:lnTo>
                  <a:lnTo>
                    <a:pt x="1590" y="1260"/>
                  </a:lnTo>
                  <a:lnTo>
                    <a:pt x="1590" y="1266"/>
                  </a:lnTo>
                  <a:lnTo>
                    <a:pt x="1596" y="1284"/>
                  </a:lnTo>
                  <a:lnTo>
                    <a:pt x="1602" y="1278"/>
                  </a:lnTo>
                  <a:lnTo>
                    <a:pt x="1608" y="1284"/>
                  </a:lnTo>
                  <a:lnTo>
                    <a:pt x="1632" y="1350"/>
                  </a:lnTo>
                  <a:lnTo>
                    <a:pt x="1638" y="1356"/>
                  </a:lnTo>
                  <a:lnTo>
                    <a:pt x="1644" y="1356"/>
                  </a:lnTo>
                  <a:lnTo>
                    <a:pt x="1650" y="1356"/>
                  </a:lnTo>
                  <a:lnTo>
                    <a:pt x="1656" y="1356"/>
                  </a:lnTo>
                  <a:lnTo>
                    <a:pt x="1662" y="1362"/>
                  </a:lnTo>
                  <a:lnTo>
                    <a:pt x="1668" y="1356"/>
                  </a:lnTo>
                  <a:lnTo>
                    <a:pt x="1668" y="1380"/>
                  </a:lnTo>
                  <a:lnTo>
                    <a:pt x="1662" y="1392"/>
                  </a:lnTo>
                  <a:lnTo>
                    <a:pt x="1656" y="1404"/>
                  </a:lnTo>
                  <a:lnTo>
                    <a:pt x="1656" y="1410"/>
                  </a:lnTo>
                  <a:lnTo>
                    <a:pt x="1656" y="1416"/>
                  </a:lnTo>
                  <a:lnTo>
                    <a:pt x="1650" y="1422"/>
                  </a:lnTo>
                  <a:lnTo>
                    <a:pt x="1650" y="1428"/>
                  </a:lnTo>
                  <a:lnTo>
                    <a:pt x="1644" y="1428"/>
                  </a:lnTo>
                  <a:lnTo>
                    <a:pt x="1644" y="1434"/>
                  </a:lnTo>
                  <a:lnTo>
                    <a:pt x="1638" y="1434"/>
                  </a:lnTo>
                  <a:lnTo>
                    <a:pt x="1638" y="1440"/>
                  </a:lnTo>
                  <a:lnTo>
                    <a:pt x="1632" y="1440"/>
                  </a:lnTo>
                  <a:lnTo>
                    <a:pt x="1638" y="145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8" name="Freeform 13">
              <a:extLst>
                <a:ext uri="{FF2B5EF4-FFF2-40B4-BE49-F238E27FC236}">
                  <a16:creationId xmlns:a16="http://schemas.microsoft.com/office/drawing/2014/main" id="{66308D9B-1739-4227-AAC3-BB866CD1F5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63374" y="2969626"/>
              <a:ext cx="330956" cy="357840"/>
            </a:xfrm>
            <a:custGeom>
              <a:avLst/>
              <a:gdLst>
                <a:gd name="T0" fmla="*/ 11 w 624"/>
                <a:gd name="T1" fmla="*/ 59 h 672"/>
                <a:gd name="T2" fmla="*/ 4 w 624"/>
                <a:gd name="T3" fmla="*/ 58 h 672"/>
                <a:gd name="T4" fmla="*/ 3 w 624"/>
                <a:gd name="T5" fmla="*/ 58 h 672"/>
                <a:gd name="T6" fmla="*/ 2 w 624"/>
                <a:gd name="T7" fmla="*/ 11 h 672"/>
                <a:gd name="T8" fmla="*/ 13 w 624"/>
                <a:gd name="T9" fmla="*/ 11 h 672"/>
                <a:gd name="T10" fmla="*/ 14 w 624"/>
                <a:gd name="T11" fmla="*/ 11 h 672"/>
                <a:gd name="T12" fmla="*/ 15 w 624"/>
                <a:gd name="T13" fmla="*/ 12 h 672"/>
                <a:gd name="T14" fmla="*/ 18 w 624"/>
                <a:gd name="T15" fmla="*/ 14 h 672"/>
                <a:gd name="T16" fmla="*/ 21 w 624"/>
                <a:gd name="T17" fmla="*/ 16 h 672"/>
                <a:gd name="T18" fmla="*/ 22 w 624"/>
                <a:gd name="T19" fmla="*/ 18 h 672"/>
                <a:gd name="T20" fmla="*/ 23 w 624"/>
                <a:gd name="T21" fmla="*/ 19 h 672"/>
                <a:gd name="T22" fmla="*/ 24 w 624"/>
                <a:gd name="T23" fmla="*/ 19 h 672"/>
                <a:gd name="T24" fmla="*/ 26 w 624"/>
                <a:gd name="T25" fmla="*/ 19 h 672"/>
                <a:gd name="T26" fmla="*/ 27 w 624"/>
                <a:gd name="T27" fmla="*/ 18 h 672"/>
                <a:gd name="T28" fmla="*/ 29 w 624"/>
                <a:gd name="T29" fmla="*/ 15 h 672"/>
                <a:gd name="T30" fmla="*/ 30 w 624"/>
                <a:gd name="T31" fmla="*/ 14 h 672"/>
                <a:gd name="T32" fmla="*/ 31 w 624"/>
                <a:gd name="T33" fmla="*/ 12 h 672"/>
                <a:gd name="T34" fmla="*/ 32 w 624"/>
                <a:gd name="T35" fmla="*/ 12 h 672"/>
                <a:gd name="T36" fmla="*/ 33 w 624"/>
                <a:gd name="T37" fmla="*/ 10 h 672"/>
                <a:gd name="T38" fmla="*/ 34 w 624"/>
                <a:gd name="T39" fmla="*/ 8 h 672"/>
                <a:gd name="T40" fmla="*/ 34 w 624"/>
                <a:gd name="T41" fmla="*/ 6 h 672"/>
                <a:gd name="T42" fmla="*/ 35 w 624"/>
                <a:gd name="T43" fmla="*/ 4 h 672"/>
                <a:gd name="T44" fmla="*/ 42 w 624"/>
                <a:gd name="T45" fmla="*/ 3 h 672"/>
                <a:gd name="T46" fmla="*/ 44 w 624"/>
                <a:gd name="T47" fmla="*/ 2 h 672"/>
                <a:gd name="T48" fmla="*/ 46 w 624"/>
                <a:gd name="T49" fmla="*/ 0 h 672"/>
                <a:gd name="T50" fmla="*/ 51 w 624"/>
                <a:gd name="T51" fmla="*/ 3 h 672"/>
                <a:gd name="T52" fmla="*/ 54 w 624"/>
                <a:gd name="T53" fmla="*/ 6 h 672"/>
                <a:gd name="T54" fmla="*/ 54 w 624"/>
                <a:gd name="T55" fmla="*/ 8 h 672"/>
                <a:gd name="T56" fmla="*/ 52 w 624"/>
                <a:gd name="T57" fmla="*/ 9 h 672"/>
                <a:gd name="T58" fmla="*/ 49 w 624"/>
                <a:gd name="T59" fmla="*/ 11 h 672"/>
                <a:gd name="T60" fmla="*/ 48 w 624"/>
                <a:gd name="T61" fmla="*/ 14 h 672"/>
                <a:gd name="T62" fmla="*/ 46 w 624"/>
                <a:gd name="T63" fmla="*/ 22 h 672"/>
                <a:gd name="T64" fmla="*/ 45 w 624"/>
                <a:gd name="T65" fmla="*/ 39 h 672"/>
                <a:gd name="T66" fmla="*/ 43 w 624"/>
                <a:gd name="T67" fmla="*/ 43 h 672"/>
                <a:gd name="T68" fmla="*/ 39 w 624"/>
                <a:gd name="T69" fmla="*/ 50 h 672"/>
                <a:gd name="T70" fmla="*/ 36 w 624"/>
                <a:gd name="T71" fmla="*/ 53 h 672"/>
                <a:gd name="T72" fmla="*/ 32 w 624"/>
                <a:gd name="T73" fmla="*/ 56 h 672"/>
                <a:gd name="T74" fmla="*/ 30 w 624"/>
                <a:gd name="T75" fmla="*/ 58 h 672"/>
                <a:gd name="T76" fmla="*/ 20 w 624"/>
                <a:gd name="T77" fmla="*/ 59 h 672"/>
                <a:gd name="T78" fmla="*/ 15 w 624"/>
                <a:gd name="T79" fmla="*/ 59 h 67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24"/>
                <a:gd name="T121" fmla="*/ 0 h 672"/>
                <a:gd name="T122" fmla="*/ 624 w 624"/>
                <a:gd name="T123" fmla="*/ 672 h 67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24" h="672">
                  <a:moveTo>
                    <a:pt x="168" y="672"/>
                  </a:moveTo>
                  <a:lnTo>
                    <a:pt x="132" y="672"/>
                  </a:lnTo>
                  <a:lnTo>
                    <a:pt x="72" y="666"/>
                  </a:lnTo>
                  <a:lnTo>
                    <a:pt x="42" y="666"/>
                  </a:lnTo>
                  <a:lnTo>
                    <a:pt x="36" y="666"/>
                  </a:lnTo>
                  <a:lnTo>
                    <a:pt x="30" y="660"/>
                  </a:lnTo>
                  <a:lnTo>
                    <a:pt x="0" y="660"/>
                  </a:lnTo>
                  <a:lnTo>
                    <a:pt x="24" y="120"/>
                  </a:lnTo>
                  <a:lnTo>
                    <a:pt x="60" y="120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62" y="120"/>
                  </a:lnTo>
                  <a:lnTo>
                    <a:pt x="168" y="120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10" y="156"/>
                  </a:lnTo>
                  <a:lnTo>
                    <a:pt x="222" y="174"/>
                  </a:lnTo>
                  <a:lnTo>
                    <a:pt x="240" y="186"/>
                  </a:lnTo>
                  <a:lnTo>
                    <a:pt x="252" y="198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216"/>
                  </a:lnTo>
                  <a:lnTo>
                    <a:pt x="270" y="216"/>
                  </a:lnTo>
                  <a:lnTo>
                    <a:pt x="282" y="222"/>
                  </a:lnTo>
                  <a:lnTo>
                    <a:pt x="288" y="222"/>
                  </a:lnTo>
                  <a:lnTo>
                    <a:pt x="294" y="216"/>
                  </a:lnTo>
                  <a:lnTo>
                    <a:pt x="294" y="210"/>
                  </a:lnTo>
                  <a:lnTo>
                    <a:pt x="312" y="204"/>
                  </a:lnTo>
                  <a:lnTo>
                    <a:pt x="330" y="186"/>
                  </a:lnTo>
                  <a:lnTo>
                    <a:pt x="336" y="174"/>
                  </a:lnTo>
                  <a:lnTo>
                    <a:pt x="342" y="162"/>
                  </a:lnTo>
                  <a:lnTo>
                    <a:pt x="342" y="156"/>
                  </a:lnTo>
                  <a:lnTo>
                    <a:pt x="348" y="150"/>
                  </a:lnTo>
                  <a:lnTo>
                    <a:pt x="354" y="144"/>
                  </a:lnTo>
                  <a:lnTo>
                    <a:pt x="360" y="138"/>
                  </a:lnTo>
                  <a:lnTo>
                    <a:pt x="366" y="132"/>
                  </a:lnTo>
                  <a:lnTo>
                    <a:pt x="372" y="114"/>
                  </a:lnTo>
                  <a:lnTo>
                    <a:pt x="378" y="114"/>
                  </a:lnTo>
                  <a:lnTo>
                    <a:pt x="378" y="96"/>
                  </a:lnTo>
                  <a:lnTo>
                    <a:pt x="390" y="96"/>
                  </a:lnTo>
                  <a:lnTo>
                    <a:pt x="396" y="84"/>
                  </a:lnTo>
                  <a:lnTo>
                    <a:pt x="396" y="72"/>
                  </a:lnTo>
                  <a:lnTo>
                    <a:pt x="396" y="54"/>
                  </a:lnTo>
                  <a:lnTo>
                    <a:pt x="408" y="42"/>
                  </a:lnTo>
                  <a:lnTo>
                    <a:pt x="468" y="42"/>
                  </a:lnTo>
                  <a:lnTo>
                    <a:pt x="486" y="36"/>
                  </a:lnTo>
                  <a:lnTo>
                    <a:pt x="492" y="24"/>
                  </a:lnTo>
                  <a:lnTo>
                    <a:pt x="504" y="24"/>
                  </a:lnTo>
                  <a:lnTo>
                    <a:pt x="516" y="6"/>
                  </a:lnTo>
                  <a:lnTo>
                    <a:pt x="528" y="0"/>
                  </a:lnTo>
                  <a:lnTo>
                    <a:pt x="558" y="12"/>
                  </a:lnTo>
                  <a:lnTo>
                    <a:pt x="588" y="36"/>
                  </a:lnTo>
                  <a:lnTo>
                    <a:pt x="600" y="66"/>
                  </a:lnTo>
                  <a:lnTo>
                    <a:pt x="624" y="66"/>
                  </a:lnTo>
                  <a:lnTo>
                    <a:pt x="624" y="90"/>
                  </a:lnTo>
                  <a:lnTo>
                    <a:pt x="618" y="90"/>
                  </a:lnTo>
                  <a:lnTo>
                    <a:pt x="618" y="96"/>
                  </a:lnTo>
                  <a:lnTo>
                    <a:pt x="600" y="102"/>
                  </a:lnTo>
                  <a:lnTo>
                    <a:pt x="588" y="108"/>
                  </a:lnTo>
                  <a:lnTo>
                    <a:pt x="570" y="120"/>
                  </a:lnTo>
                  <a:lnTo>
                    <a:pt x="564" y="138"/>
                  </a:lnTo>
                  <a:lnTo>
                    <a:pt x="558" y="162"/>
                  </a:lnTo>
                  <a:lnTo>
                    <a:pt x="540" y="210"/>
                  </a:lnTo>
                  <a:lnTo>
                    <a:pt x="528" y="252"/>
                  </a:lnTo>
                  <a:lnTo>
                    <a:pt x="528" y="402"/>
                  </a:lnTo>
                  <a:lnTo>
                    <a:pt x="522" y="444"/>
                  </a:lnTo>
                  <a:lnTo>
                    <a:pt x="510" y="468"/>
                  </a:lnTo>
                  <a:lnTo>
                    <a:pt x="498" y="498"/>
                  </a:lnTo>
                  <a:lnTo>
                    <a:pt x="474" y="534"/>
                  </a:lnTo>
                  <a:lnTo>
                    <a:pt x="456" y="570"/>
                  </a:lnTo>
                  <a:lnTo>
                    <a:pt x="444" y="576"/>
                  </a:lnTo>
                  <a:lnTo>
                    <a:pt x="420" y="606"/>
                  </a:lnTo>
                  <a:lnTo>
                    <a:pt x="390" y="624"/>
                  </a:lnTo>
                  <a:lnTo>
                    <a:pt x="372" y="642"/>
                  </a:lnTo>
                  <a:lnTo>
                    <a:pt x="366" y="654"/>
                  </a:lnTo>
                  <a:lnTo>
                    <a:pt x="342" y="660"/>
                  </a:lnTo>
                  <a:lnTo>
                    <a:pt x="300" y="666"/>
                  </a:lnTo>
                  <a:lnTo>
                    <a:pt x="234" y="672"/>
                  </a:lnTo>
                  <a:lnTo>
                    <a:pt x="192" y="672"/>
                  </a:lnTo>
                  <a:lnTo>
                    <a:pt x="168" y="67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9" name="Freeform 14">
              <a:extLst>
                <a:ext uri="{FF2B5EF4-FFF2-40B4-BE49-F238E27FC236}">
                  <a16:creationId xmlns:a16="http://schemas.microsoft.com/office/drawing/2014/main" id="{2EA1E999-9CDF-4391-8BC9-7DE71AF9C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0460" y="2983045"/>
              <a:ext cx="905658" cy="561362"/>
            </a:xfrm>
            <a:custGeom>
              <a:avLst/>
              <a:gdLst>
                <a:gd name="T0" fmla="*/ 31 w 1704"/>
                <a:gd name="T1" fmla="*/ 78 h 1056"/>
                <a:gd name="T2" fmla="*/ 23 w 1704"/>
                <a:gd name="T3" fmla="*/ 78 h 1056"/>
                <a:gd name="T4" fmla="*/ 11 w 1704"/>
                <a:gd name="T5" fmla="*/ 79 h 1056"/>
                <a:gd name="T6" fmla="*/ 1 w 1704"/>
                <a:gd name="T7" fmla="*/ 81 h 1056"/>
                <a:gd name="T8" fmla="*/ 0 w 1704"/>
                <a:gd name="T9" fmla="*/ 62 h 1056"/>
                <a:gd name="T10" fmla="*/ 9 w 1704"/>
                <a:gd name="T11" fmla="*/ 56 h 1056"/>
                <a:gd name="T12" fmla="*/ 27 w 1704"/>
                <a:gd name="T13" fmla="*/ 48 h 1056"/>
                <a:gd name="T14" fmla="*/ 35 w 1704"/>
                <a:gd name="T15" fmla="*/ 20 h 1056"/>
                <a:gd name="T16" fmla="*/ 43 w 1704"/>
                <a:gd name="T17" fmla="*/ 6 h 1056"/>
                <a:gd name="T18" fmla="*/ 47 w 1704"/>
                <a:gd name="T19" fmla="*/ 7 h 1056"/>
                <a:gd name="T20" fmla="*/ 52 w 1704"/>
                <a:gd name="T21" fmla="*/ 0 h 1056"/>
                <a:gd name="T22" fmla="*/ 59 w 1704"/>
                <a:gd name="T23" fmla="*/ 5 h 1056"/>
                <a:gd name="T24" fmla="*/ 63 w 1704"/>
                <a:gd name="T25" fmla="*/ 12 h 1056"/>
                <a:gd name="T26" fmla="*/ 62 w 1704"/>
                <a:gd name="T27" fmla="*/ 15 h 1056"/>
                <a:gd name="T28" fmla="*/ 62 w 1704"/>
                <a:gd name="T29" fmla="*/ 18 h 1056"/>
                <a:gd name="T30" fmla="*/ 70 w 1704"/>
                <a:gd name="T31" fmla="*/ 18 h 1056"/>
                <a:gd name="T32" fmla="*/ 71 w 1704"/>
                <a:gd name="T33" fmla="*/ 14 h 1056"/>
                <a:gd name="T34" fmla="*/ 72 w 1704"/>
                <a:gd name="T35" fmla="*/ 12 h 1056"/>
                <a:gd name="T36" fmla="*/ 78 w 1704"/>
                <a:gd name="T37" fmla="*/ 14 h 1056"/>
                <a:gd name="T38" fmla="*/ 85 w 1704"/>
                <a:gd name="T39" fmla="*/ 21 h 1056"/>
                <a:gd name="T40" fmla="*/ 91 w 1704"/>
                <a:gd name="T41" fmla="*/ 15 h 1056"/>
                <a:gd name="T42" fmla="*/ 93 w 1704"/>
                <a:gd name="T43" fmla="*/ 10 h 1056"/>
                <a:gd name="T44" fmla="*/ 101 w 1704"/>
                <a:gd name="T45" fmla="*/ 14 h 1056"/>
                <a:gd name="T46" fmla="*/ 103 w 1704"/>
                <a:gd name="T47" fmla="*/ 19 h 1056"/>
                <a:gd name="T48" fmla="*/ 115 w 1704"/>
                <a:gd name="T49" fmla="*/ 20 h 1056"/>
                <a:gd name="T50" fmla="*/ 118 w 1704"/>
                <a:gd name="T51" fmla="*/ 23 h 1056"/>
                <a:gd name="T52" fmla="*/ 117 w 1704"/>
                <a:gd name="T53" fmla="*/ 27 h 1056"/>
                <a:gd name="T54" fmla="*/ 111 w 1704"/>
                <a:gd name="T55" fmla="*/ 33 h 1056"/>
                <a:gd name="T56" fmla="*/ 108 w 1704"/>
                <a:gd name="T57" fmla="*/ 36 h 1056"/>
                <a:gd name="T58" fmla="*/ 109 w 1704"/>
                <a:gd name="T59" fmla="*/ 40 h 1056"/>
                <a:gd name="T60" fmla="*/ 111 w 1704"/>
                <a:gd name="T61" fmla="*/ 43 h 1056"/>
                <a:gd name="T62" fmla="*/ 113 w 1704"/>
                <a:gd name="T63" fmla="*/ 50 h 1056"/>
                <a:gd name="T64" fmla="*/ 121 w 1704"/>
                <a:gd name="T65" fmla="*/ 55 h 1056"/>
                <a:gd name="T66" fmla="*/ 132 w 1704"/>
                <a:gd name="T67" fmla="*/ 52 h 1056"/>
                <a:gd name="T68" fmla="*/ 148 w 1704"/>
                <a:gd name="T69" fmla="*/ 58 h 1056"/>
                <a:gd name="T70" fmla="*/ 148 w 1704"/>
                <a:gd name="T71" fmla="*/ 61 h 1056"/>
                <a:gd name="T72" fmla="*/ 148 w 1704"/>
                <a:gd name="T73" fmla="*/ 64 h 1056"/>
                <a:gd name="T74" fmla="*/ 135 w 1704"/>
                <a:gd name="T75" fmla="*/ 61 h 1056"/>
                <a:gd name="T76" fmla="*/ 135 w 1704"/>
                <a:gd name="T77" fmla="*/ 66 h 1056"/>
                <a:gd name="T78" fmla="*/ 137 w 1704"/>
                <a:gd name="T79" fmla="*/ 71 h 1056"/>
                <a:gd name="T80" fmla="*/ 136 w 1704"/>
                <a:gd name="T81" fmla="*/ 79 h 1056"/>
                <a:gd name="T82" fmla="*/ 126 w 1704"/>
                <a:gd name="T83" fmla="*/ 84 h 1056"/>
                <a:gd name="T84" fmla="*/ 121 w 1704"/>
                <a:gd name="T85" fmla="*/ 79 h 1056"/>
                <a:gd name="T86" fmla="*/ 117 w 1704"/>
                <a:gd name="T87" fmla="*/ 75 h 1056"/>
                <a:gd name="T88" fmla="*/ 98 w 1704"/>
                <a:gd name="T89" fmla="*/ 74 h 1056"/>
                <a:gd name="T90" fmla="*/ 81 w 1704"/>
                <a:gd name="T91" fmla="*/ 75 h 1056"/>
                <a:gd name="T92" fmla="*/ 83 w 1704"/>
                <a:gd name="T93" fmla="*/ 88 h 1056"/>
                <a:gd name="T94" fmla="*/ 82 w 1704"/>
                <a:gd name="T95" fmla="*/ 91 h 1056"/>
                <a:gd name="T96" fmla="*/ 77 w 1704"/>
                <a:gd name="T97" fmla="*/ 90 h 1056"/>
                <a:gd name="T98" fmla="*/ 73 w 1704"/>
                <a:gd name="T99" fmla="*/ 86 h 1056"/>
                <a:gd name="T100" fmla="*/ 68 w 1704"/>
                <a:gd name="T101" fmla="*/ 85 h 1056"/>
                <a:gd name="T102" fmla="*/ 64 w 1704"/>
                <a:gd name="T103" fmla="*/ 83 h 1056"/>
                <a:gd name="T104" fmla="*/ 57 w 1704"/>
                <a:gd name="T105" fmla="*/ 81 h 1056"/>
                <a:gd name="T106" fmla="*/ 52 w 1704"/>
                <a:gd name="T107" fmla="*/ 80 h 1056"/>
                <a:gd name="T108" fmla="*/ 50 w 1704"/>
                <a:gd name="T109" fmla="*/ 80 h 1056"/>
                <a:gd name="T110" fmla="*/ 46 w 1704"/>
                <a:gd name="T111" fmla="*/ 79 h 1056"/>
                <a:gd name="T112" fmla="*/ 41 w 1704"/>
                <a:gd name="T113" fmla="*/ 78 h 10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04"/>
                <a:gd name="T172" fmla="*/ 0 h 1056"/>
                <a:gd name="T173" fmla="*/ 1704 w 1704"/>
                <a:gd name="T174" fmla="*/ 1056 h 10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04" h="1056">
                  <a:moveTo>
                    <a:pt x="450" y="888"/>
                  </a:moveTo>
                  <a:lnTo>
                    <a:pt x="420" y="888"/>
                  </a:lnTo>
                  <a:lnTo>
                    <a:pt x="414" y="888"/>
                  </a:lnTo>
                  <a:lnTo>
                    <a:pt x="396" y="888"/>
                  </a:lnTo>
                  <a:lnTo>
                    <a:pt x="372" y="888"/>
                  </a:lnTo>
                  <a:lnTo>
                    <a:pt x="366" y="888"/>
                  </a:lnTo>
                  <a:lnTo>
                    <a:pt x="360" y="888"/>
                  </a:lnTo>
                  <a:lnTo>
                    <a:pt x="348" y="888"/>
                  </a:lnTo>
                  <a:lnTo>
                    <a:pt x="330" y="894"/>
                  </a:lnTo>
                  <a:lnTo>
                    <a:pt x="324" y="894"/>
                  </a:lnTo>
                  <a:lnTo>
                    <a:pt x="312" y="888"/>
                  </a:lnTo>
                  <a:lnTo>
                    <a:pt x="300" y="888"/>
                  </a:lnTo>
                  <a:lnTo>
                    <a:pt x="282" y="888"/>
                  </a:lnTo>
                  <a:lnTo>
                    <a:pt x="270" y="888"/>
                  </a:lnTo>
                  <a:lnTo>
                    <a:pt x="240" y="882"/>
                  </a:lnTo>
                  <a:lnTo>
                    <a:pt x="222" y="882"/>
                  </a:lnTo>
                  <a:lnTo>
                    <a:pt x="198" y="882"/>
                  </a:lnTo>
                  <a:lnTo>
                    <a:pt x="174" y="894"/>
                  </a:lnTo>
                  <a:lnTo>
                    <a:pt x="162" y="900"/>
                  </a:lnTo>
                  <a:lnTo>
                    <a:pt x="144" y="906"/>
                  </a:lnTo>
                  <a:lnTo>
                    <a:pt x="126" y="912"/>
                  </a:lnTo>
                  <a:lnTo>
                    <a:pt x="102" y="924"/>
                  </a:lnTo>
                  <a:lnTo>
                    <a:pt x="78" y="930"/>
                  </a:lnTo>
                  <a:lnTo>
                    <a:pt x="72" y="936"/>
                  </a:lnTo>
                  <a:lnTo>
                    <a:pt x="30" y="954"/>
                  </a:lnTo>
                  <a:lnTo>
                    <a:pt x="12" y="966"/>
                  </a:lnTo>
                  <a:lnTo>
                    <a:pt x="12" y="954"/>
                  </a:lnTo>
                  <a:lnTo>
                    <a:pt x="12" y="930"/>
                  </a:lnTo>
                  <a:lnTo>
                    <a:pt x="12" y="894"/>
                  </a:lnTo>
                  <a:lnTo>
                    <a:pt x="30" y="828"/>
                  </a:lnTo>
                  <a:lnTo>
                    <a:pt x="36" y="798"/>
                  </a:lnTo>
                  <a:lnTo>
                    <a:pt x="18" y="774"/>
                  </a:lnTo>
                  <a:lnTo>
                    <a:pt x="18" y="756"/>
                  </a:lnTo>
                  <a:lnTo>
                    <a:pt x="6" y="738"/>
                  </a:lnTo>
                  <a:lnTo>
                    <a:pt x="0" y="714"/>
                  </a:lnTo>
                  <a:lnTo>
                    <a:pt x="12" y="678"/>
                  </a:lnTo>
                  <a:lnTo>
                    <a:pt x="18" y="678"/>
                  </a:lnTo>
                  <a:lnTo>
                    <a:pt x="24" y="672"/>
                  </a:lnTo>
                  <a:lnTo>
                    <a:pt x="30" y="666"/>
                  </a:lnTo>
                  <a:lnTo>
                    <a:pt x="42" y="648"/>
                  </a:lnTo>
                  <a:lnTo>
                    <a:pt x="66" y="648"/>
                  </a:lnTo>
                  <a:lnTo>
                    <a:pt x="108" y="648"/>
                  </a:lnTo>
                  <a:lnTo>
                    <a:pt x="174" y="642"/>
                  </a:lnTo>
                  <a:lnTo>
                    <a:pt x="216" y="636"/>
                  </a:lnTo>
                  <a:lnTo>
                    <a:pt x="240" y="630"/>
                  </a:lnTo>
                  <a:lnTo>
                    <a:pt x="246" y="618"/>
                  </a:lnTo>
                  <a:lnTo>
                    <a:pt x="264" y="600"/>
                  </a:lnTo>
                  <a:lnTo>
                    <a:pt x="294" y="582"/>
                  </a:lnTo>
                  <a:lnTo>
                    <a:pt x="318" y="552"/>
                  </a:lnTo>
                  <a:lnTo>
                    <a:pt x="330" y="546"/>
                  </a:lnTo>
                  <a:lnTo>
                    <a:pt x="348" y="510"/>
                  </a:lnTo>
                  <a:lnTo>
                    <a:pt x="372" y="474"/>
                  </a:lnTo>
                  <a:lnTo>
                    <a:pt x="384" y="444"/>
                  </a:lnTo>
                  <a:lnTo>
                    <a:pt x="396" y="420"/>
                  </a:lnTo>
                  <a:lnTo>
                    <a:pt x="402" y="378"/>
                  </a:lnTo>
                  <a:lnTo>
                    <a:pt x="402" y="228"/>
                  </a:lnTo>
                  <a:lnTo>
                    <a:pt x="414" y="186"/>
                  </a:lnTo>
                  <a:lnTo>
                    <a:pt x="432" y="138"/>
                  </a:lnTo>
                  <a:lnTo>
                    <a:pt x="438" y="114"/>
                  </a:lnTo>
                  <a:lnTo>
                    <a:pt x="444" y="96"/>
                  </a:lnTo>
                  <a:lnTo>
                    <a:pt x="462" y="84"/>
                  </a:lnTo>
                  <a:lnTo>
                    <a:pt x="474" y="78"/>
                  </a:lnTo>
                  <a:lnTo>
                    <a:pt x="492" y="72"/>
                  </a:lnTo>
                  <a:lnTo>
                    <a:pt x="492" y="66"/>
                  </a:lnTo>
                  <a:lnTo>
                    <a:pt x="498" y="66"/>
                  </a:lnTo>
                  <a:lnTo>
                    <a:pt x="510" y="66"/>
                  </a:lnTo>
                  <a:lnTo>
                    <a:pt x="510" y="72"/>
                  </a:lnTo>
                  <a:lnTo>
                    <a:pt x="516" y="72"/>
                  </a:lnTo>
                  <a:lnTo>
                    <a:pt x="522" y="78"/>
                  </a:lnTo>
                  <a:lnTo>
                    <a:pt x="546" y="78"/>
                  </a:lnTo>
                  <a:lnTo>
                    <a:pt x="552" y="60"/>
                  </a:lnTo>
                  <a:lnTo>
                    <a:pt x="570" y="42"/>
                  </a:lnTo>
                  <a:lnTo>
                    <a:pt x="576" y="24"/>
                  </a:lnTo>
                  <a:lnTo>
                    <a:pt x="588" y="18"/>
                  </a:lnTo>
                  <a:lnTo>
                    <a:pt x="588" y="12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624" y="0"/>
                  </a:lnTo>
                  <a:lnTo>
                    <a:pt x="636" y="6"/>
                  </a:lnTo>
                  <a:lnTo>
                    <a:pt x="648" y="24"/>
                  </a:lnTo>
                  <a:lnTo>
                    <a:pt x="654" y="48"/>
                  </a:lnTo>
                  <a:lnTo>
                    <a:pt x="672" y="60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0" y="72"/>
                  </a:lnTo>
                  <a:lnTo>
                    <a:pt x="690" y="78"/>
                  </a:lnTo>
                  <a:lnTo>
                    <a:pt x="696" y="90"/>
                  </a:lnTo>
                  <a:lnTo>
                    <a:pt x="714" y="114"/>
                  </a:lnTo>
                  <a:lnTo>
                    <a:pt x="714" y="120"/>
                  </a:lnTo>
                  <a:lnTo>
                    <a:pt x="720" y="132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20" y="150"/>
                  </a:lnTo>
                  <a:lnTo>
                    <a:pt x="714" y="150"/>
                  </a:lnTo>
                  <a:lnTo>
                    <a:pt x="714" y="156"/>
                  </a:lnTo>
                  <a:lnTo>
                    <a:pt x="714" y="162"/>
                  </a:lnTo>
                  <a:lnTo>
                    <a:pt x="708" y="162"/>
                  </a:lnTo>
                  <a:lnTo>
                    <a:pt x="708" y="168"/>
                  </a:lnTo>
                  <a:lnTo>
                    <a:pt x="702" y="168"/>
                  </a:lnTo>
                  <a:lnTo>
                    <a:pt x="702" y="174"/>
                  </a:lnTo>
                  <a:lnTo>
                    <a:pt x="702" y="180"/>
                  </a:lnTo>
                  <a:lnTo>
                    <a:pt x="708" y="180"/>
                  </a:lnTo>
                  <a:lnTo>
                    <a:pt x="708" y="186"/>
                  </a:lnTo>
                  <a:lnTo>
                    <a:pt x="708" y="192"/>
                  </a:lnTo>
                  <a:lnTo>
                    <a:pt x="714" y="204"/>
                  </a:lnTo>
                  <a:lnTo>
                    <a:pt x="726" y="216"/>
                  </a:lnTo>
                  <a:lnTo>
                    <a:pt x="738" y="216"/>
                  </a:lnTo>
                  <a:lnTo>
                    <a:pt x="768" y="222"/>
                  </a:lnTo>
                  <a:lnTo>
                    <a:pt x="780" y="216"/>
                  </a:lnTo>
                  <a:lnTo>
                    <a:pt x="792" y="204"/>
                  </a:lnTo>
                  <a:lnTo>
                    <a:pt x="798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6" y="192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6" y="174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22" y="156"/>
                  </a:lnTo>
                  <a:lnTo>
                    <a:pt x="822" y="150"/>
                  </a:lnTo>
                  <a:lnTo>
                    <a:pt x="828" y="144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8" y="138"/>
                  </a:lnTo>
                  <a:lnTo>
                    <a:pt x="834" y="132"/>
                  </a:lnTo>
                  <a:lnTo>
                    <a:pt x="840" y="132"/>
                  </a:lnTo>
                  <a:lnTo>
                    <a:pt x="864" y="126"/>
                  </a:lnTo>
                  <a:lnTo>
                    <a:pt x="906" y="144"/>
                  </a:lnTo>
                  <a:lnTo>
                    <a:pt x="906" y="150"/>
                  </a:lnTo>
                  <a:lnTo>
                    <a:pt x="906" y="156"/>
                  </a:lnTo>
                  <a:lnTo>
                    <a:pt x="900" y="162"/>
                  </a:lnTo>
                  <a:lnTo>
                    <a:pt x="924" y="168"/>
                  </a:lnTo>
                  <a:lnTo>
                    <a:pt x="942" y="192"/>
                  </a:lnTo>
                  <a:lnTo>
                    <a:pt x="972" y="210"/>
                  </a:lnTo>
                  <a:lnTo>
                    <a:pt x="972" y="216"/>
                  </a:lnTo>
                  <a:lnTo>
                    <a:pt x="972" y="228"/>
                  </a:lnTo>
                  <a:lnTo>
                    <a:pt x="978" y="234"/>
                  </a:lnTo>
                  <a:lnTo>
                    <a:pt x="978" y="246"/>
                  </a:lnTo>
                  <a:lnTo>
                    <a:pt x="984" y="252"/>
                  </a:lnTo>
                  <a:lnTo>
                    <a:pt x="1014" y="252"/>
                  </a:lnTo>
                  <a:lnTo>
                    <a:pt x="1020" y="228"/>
                  </a:lnTo>
                  <a:lnTo>
                    <a:pt x="1026" y="198"/>
                  </a:lnTo>
                  <a:lnTo>
                    <a:pt x="1050" y="186"/>
                  </a:lnTo>
                  <a:lnTo>
                    <a:pt x="1056" y="180"/>
                  </a:lnTo>
                  <a:lnTo>
                    <a:pt x="1050" y="174"/>
                  </a:lnTo>
                  <a:lnTo>
                    <a:pt x="1050" y="168"/>
                  </a:lnTo>
                  <a:lnTo>
                    <a:pt x="1050" y="162"/>
                  </a:lnTo>
                  <a:lnTo>
                    <a:pt x="1056" y="162"/>
                  </a:lnTo>
                  <a:lnTo>
                    <a:pt x="1062" y="162"/>
                  </a:lnTo>
                  <a:lnTo>
                    <a:pt x="1074" y="162"/>
                  </a:lnTo>
                  <a:lnTo>
                    <a:pt x="1074" y="144"/>
                  </a:lnTo>
                  <a:lnTo>
                    <a:pt x="1074" y="120"/>
                  </a:lnTo>
                  <a:lnTo>
                    <a:pt x="1092" y="120"/>
                  </a:lnTo>
                  <a:lnTo>
                    <a:pt x="1098" y="126"/>
                  </a:lnTo>
                  <a:lnTo>
                    <a:pt x="1134" y="132"/>
                  </a:lnTo>
                  <a:lnTo>
                    <a:pt x="1146" y="132"/>
                  </a:lnTo>
                  <a:lnTo>
                    <a:pt x="1158" y="150"/>
                  </a:lnTo>
                  <a:lnTo>
                    <a:pt x="1158" y="156"/>
                  </a:lnTo>
                  <a:lnTo>
                    <a:pt x="1158" y="162"/>
                  </a:lnTo>
                  <a:lnTo>
                    <a:pt x="1158" y="180"/>
                  </a:lnTo>
                  <a:lnTo>
                    <a:pt x="1158" y="186"/>
                  </a:lnTo>
                  <a:lnTo>
                    <a:pt x="1164" y="192"/>
                  </a:lnTo>
                  <a:lnTo>
                    <a:pt x="1176" y="198"/>
                  </a:lnTo>
                  <a:lnTo>
                    <a:pt x="1182" y="198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8"/>
                  </a:lnTo>
                  <a:lnTo>
                    <a:pt x="1188" y="234"/>
                  </a:lnTo>
                  <a:lnTo>
                    <a:pt x="1212" y="234"/>
                  </a:lnTo>
                  <a:lnTo>
                    <a:pt x="1242" y="234"/>
                  </a:lnTo>
                  <a:lnTo>
                    <a:pt x="1248" y="234"/>
                  </a:lnTo>
                  <a:lnTo>
                    <a:pt x="1278" y="240"/>
                  </a:lnTo>
                  <a:lnTo>
                    <a:pt x="1320" y="234"/>
                  </a:lnTo>
                  <a:lnTo>
                    <a:pt x="1332" y="228"/>
                  </a:lnTo>
                  <a:lnTo>
                    <a:pt x="1344" y="228"/>
                  </a:lnTo>
                  <a:lnTo>
                    <a:pt x="1350" y="234"/>
                  </a:lnTo>
                  <a:lnTo>
                    <a:pt x="1350" y="240"/>
                  </a:lnTo>
                  <a:lnTo>
                    <a:pt x="1356" y="246"/>
                  </a:lnTo>
                  <a:lnTo>
                    <a:pt x="1350" y="252"/>
                  </a:lnTo>
                  <a:lnTo>
                    <a:pt x="1356" y="264"/>
                  </a:lnTo>
                  <a:lnTo>
                    <a:pt x="1356" y="270"/>
                  </a:lnTo>
                  <a:lnTo>
                    <a:pt x="1356" y="276"/>
                  </a:lnTo>
                  <a:lnTo>
                    <a:pt x="1356" y="282"/>
                  </a:lnTo>
                  <a:lnTo>
                    <a:pt x="1356" y="288"/>
                  </a:lnTo>
                  <a:lnTo>
                    <a:pt x="1350" y="294"/>
                  </a:lnTo>
                  <a:lnTo>
                    <a:pt x="1344" y="300"/>
                  </a:lnTo>
                  <a:lnTo>
                    <a:pt x="1344" y="306"/>
                  </a:lnTo>
                  <a:lnTo>
                    <a:pt x="1338" y="312"/>
                  </a:lnTo>
                  <a:lnTo>
                    <a:pt x="1326" y="342"/>
                  </a:lnTo>
                  <a:lnTo>
                    <a:pt x="1320" y="348"/>
                  </a:lnTo>
                  <a:lnTo>
                    <a:pt x="1314" y="354"/>
                  </a:lnTo>
                  <a:lnTo>
                    <a:pt x="1290" y="354"/>
                  </a:lnTo>
                  <a:lnTo>
                    <a:pt x="1284" y="360"/>
                  </a:lnTo>
                  <a:lnTo>
                    <a:pt x="1278" y="378"/>
                  </a:lnTo>
                  <a:lnTo>
                    <a:pt x="1278" y="384"/>
                  </a:lnTo>
                  <a:lnTo>
                    <a:pt x="1272" y="390"/>
                  </a:lnTo>
                  <a:lnTo>
                    <a:pt x="1266" y="396"/>
                  </a:lnTo>
                  <a:lnTo>
                    <a:pt x="1260" y="396"/>
                  </a:lnTo>
                  <a:lnTo>
                    <a:pt x="1248" y="402"/>
                  </a:lnTo>
                  <a:lnTo>
                    <a:pt x="1242" y="408"/>
                  </a:lnTo>
                  <a:lnTo>
                    <a:pt x="1242" y="414"/>
                  </a:lnTo>
                  <a:lnTo>
                    <a:pt x="1242" y="420"/>
                  </a:lnTo>
                  <a:lnTo>
                    <a:pt x="1236" y="432"/>
                  </a:lnTo>
                  <a:lnTo>
                    <a:pt x="1242" y="432"/>
                  </a:lnTo>
                  <a:lnTo>
                    <a:pt x="1242" y="444"/>
                  </a:lnTo>
                  <a:lnTo>
                    <a:pt x="1242" y="456"/>
                  </a:lnTo>
                  <a:lnTo>
                    <a:pt x="1248" y="456"/>
                  </a:lnTo>
                  <a:lnTo>
                    <a:pt x="1254" y="462"/>
                  </a:lnTo>
                  <a:lnTo>
                    <a:pt x="1248" y="468"/>
                  </a:lnTo>
                  <a:lnTo>
                    <a:pt x="1254" y="468"/>
                  </a:lnTo>
                  <a:lnTo>
                    <a:pt x="1266" y="474"/>
                  </a:lnTo>
                  <a:lnTo>
                    <a:pt x="1266" y="480"/>
                  </a:lnTo>
                  <a:lnTo>
                    <a:pt x="1266" y="486"/>
                  </a:lnTo>
                  <a:lnTo>
                    <a:pt x="1272" y="486"/>
                  </a:lnTo>
                  <a:lnTo>
                    <a:pt x="1272" y="492"/>
                  </a:lnTo>
                  <a:lnTo>
                    <a:pt x="1290" y="510"/>
                  </a:lnTo>
                  <a:lnTo>
                    <a:pt x="1296" y="516"/>
                  </a:lnTo>
                  <a:lnTo>
                    <a:pt x="1302" y="540"/>
                  </a:lnTo>
                  <a:lnTo>
                    <a:pt x="1302" y="546"/>
                  </a:lnTo>
                  <a:lnTo>
                    <a:pt x="1302" y="558"/>
                  </a:lnTo>
                  <a:lnTo>
                    <a:pt x="1302" y="570"/>
                  </a:lnTo>
                  <a:lnTo>
                    <a:pt x="1302" y="576"/>
                  </a:lnTo>
                  <a:lnTo>
                    <a:pt x="1344" y="570"/>
                  </a:lnTo>
                  <a:lnTo>
                    <a:pt x="1350" y="582"/>
                  </a:lnTo>
                  <a:lnTo>
                    <a:pt x="1368" y="594"/>
                  </a:lnTo>
                  <a:lnTo>
                    <a:pt x="1374" y="600"/>
                  </a:lnTo>
                  <a:lnTo>
                    <a:pt x="1380" y="600"/>
                  </a:lnTo>
                  <a:lnTo>
                    <a:pt x="1380" y="618"/>
                  </a:lnTo>
                  <a:lnTo>
                    <a:pt x="1386" y="624"/>
                  </a:lnTo>
                  <a:lnTo>
                    <a:pt x="1404" y="624"/>
                  </a:lnTo>
                  <a:lnTo>
                    <a:pt x="1410" y="612"/>
                  </a:lnTo>
                  <a:lnTo>
                    <a:pt x="1428" y="606"/>
                  </a:lnTo>
                  <a:lnTo>
                    <a:pt x="1488" y="606"/>
                  </a:lnTo>
                  <a:lnTo>
                    <a:pt x="1506" y="606"/>
                  </a:lnTo>
                  <a:lnTo>
                    <a:pt x="1512" y="600"/>
                  </a:lnTo>
                  <a:lnTo>
                    <a:pt x="1524" y="594"/>
                  </a:lnTo>
                  <a:lnTo>
                    <a:pt x="1554" y="594"/>
                  </a:lnTo>
                  <a:lnTo>
                    <a:pt x="1578" y="606"/>
                  </a:lnTo>
                  <a:lnTo>
                    <a:pt x="1596" y="624"/>
                  </a:lnTo>
                  <a:lnTo>
                    <a:pt x="1650" y="642"/>
                  </a:lnTo>
                  <a:lnTo>
                    <a:pt x="1686" y="648"/>
                  </a:lnTo>
                  <a:lnTo>
                    <a:pt x="1698" y="654"/>
                  </a:lnTo>
                  <a:lnTo>
                    <a:pt x="1698" y="660"/>
                  </a:lnTo>
                  <a:lnTo>
                    <a:pt x="1692" y="666"/>
                  </a:lnTo>
                  <a:lnTo>
                    <a:pt x="1692" y="672"/>
                  </a:lnTo>
                  <a:lnTo>
                    <a:pt x="1698" y="678"/>
                  </a:lnTo>
                  <a:lnTo>
                    <a:pt x="1698" y="684"/>
                  </a:lnTo>
                  <a:lnTo>
                    <a:pt x="1692" y="684"/>
                  </a:lnTo>
                  <a:lnTo>
                    <a:pt x="1692" y="690"/>
                  </a:lnTo>
                  <a:lnTo>
                    <a:pt x="1698" y="696"/>
                  </a:lnTo>
                  <a:lnTo>
                    <a:pt x="1698" y="702"/>
                  </a:lnTo>
                  <a:lnTo>
                    <a:pt x="1698" y="708"/>
                  </a:lnTo>
                  <a:lnTo>
                    <a:pt x="1704" y="714"/>
                  </a:lnTo>
                  <a:lnTo>
                    <a:pt x="1704" y="720"/>
                  </a:lnTo>
                  <a:lnTo>
                    <a:pt x="1704" y="726"/>
                  </a:lnTo>
                  <a:lnTo>
                    <a:pt x="1704" y="732"/>
                  </a:lnTo>
                  <a:lnTo>
                    <a:pt x="1704" y="738"/>
                  </a:lnTo>
                  <a:lnTo>
                    <a:pt x="1698" y="726"/>
                  </a:lnTo>
                  <a:lnTo>
                    <a:pt x="1668" y="720"/>
                  </a:lnTo>
                  <a:lnTo>
                    <a:pt x="1626" y="714"/>
                  </a:lnTo>
                  <a:lnTo>
                    <a:pt x="1614" y="708"/>
                  </a:lnTo>
                  <a:lnTo>
                    <a:pt x="1578" y="696"/>
                  </a:lnTo>
                  <a:lnTo>
                    <a:pt x="1566" y="696"/>
                  </a:lnTo>
                  <a:lnTo>
                    <a:pt x="1548" y="702"/>
                  </a:lnTo>
                  <a:lnTo>
                    <a:pt x="1542" y="714"/>
                  </a:lnTo>
                  <a:lnTo>
                    <a:pt x="1536" y="732"/>
                  </a:lnTo>
                  <a:lnTo>
                    <a:pt x="1530" y="750"/>
                  </a:lnTo>
                  <a:lnTo>
                    <a:pt x="1536" y="750"/>
                  </a:lnTo>
                  <a:lnTo>
                    <a:pt x="1542" y="756"/>
                  </a:lnTo>
                  <a:lnTo>
                    <a:pt x="1542" y="762"/>
                  </a:lnTo>
                  <a:lnTo>
                    <a:pt x="1548" y="762"/>
                  </a:lnTo>
                  <a:lnTo>
                    <a:pt x="1554" y="762"/>
                  </a:lnTo>
                  <a:lnTo>
                    <a:pt x="1554" y="768"/>
                  </a:lnTo>
                  <a:lnTo>
                    <a:pt x="1560" y="774"/>
                  </a:lnTo>
                  <a:lnTo>
                    <a:pt x="1566" y="774"/>
                  </a:lnTo>
                  <a:lnTo>
                    <a:pt x="1584" y="792"/>
                  </a:lnTo>
                  <a:lnTo>
                    <a:pt x="1584" y="810"/>
                  </a:lnTo>
                  <a:lnTo>
                    <a:pt x="1572" y="816"/>
                  </a:lnTo>
                  <a:lnTo>
                    <a:pt x="1578" y="834"/>
                  </a:lnTo>
                  <a:lnTo>
                    <a:pt x="1578" y="846"/>
                  </a:lnTo>
                  <a:lnTo>
                    <a:pt x="1584" y="858"/>
                  </a:lnTo>
                  <a:lnTo>
                    <a:pt x="1590" y="864"/>
                  </a:lnTo>
                  <a:lnTo>
                    <a:pt x="1590" y="876"/>
                  </a:lnTo>
                  <a:lnTo>
                    <a:pt x="1578" y="888"/>
                  </a:lnTo>
                  <a:lnTo>
                    <a:pt x="1560" y="906"/>
                  </a:lnTo>
                  <a:lnTo>
                    <a:pt x="1536" y="930"/>
                  </a:lnTo>
                  <a:lnTo>
                    <a:pt x="1530" y="930"/>
                  </a:lnTo>
                  <a:lnTo>
                    <a:pt x="1506" y="942"/>
                  </a:lnTo>
                  <a:lnTo>
                    <a:pt x="1488" y="948"/>
                  </a:lnTo>
                  <a:lnTo>
                    <a:pt x="1476" y="954"/>
                  </a:lnTo>
                  <a:lnTo>
                    <a:pt x="1458" y="960"/>
                  </a:lnTo>
                  <a:lnTo>
                    <a:pt x="1452" y="966"/>
                  </a:lnTo>
                  <a:lnTo>
                    <a:pt x="1446" y="966"/>
                  </a:lnTo>
                  <a:lnTo>
                    <a:pt x="1434" y="972"/>
                  </a:lnTo>
                  <a:lnTo>
                    <a:pt x="1434" y="954"/>
                  </a:lnTo>
                  <a:lnTo>
                    <a:pt x="1422" y="942"/>
                  </a:lnTo>
                  <a:lnTo>
                    <a:pt x="1398" y="924"/>
                  </a:lnTo>
                  <a:lnTo>
                    <a:pt x="1398" y="912"/>
                  </a:lnTo>
                  <a:lnTo>
                    <a:pt x="1398" y="906"/>
                  </a:lnTo>
                  <a:lnTo>
                    <a:pt x="1398" y="900"/>
                  </a:lnTo>
                  <a:lnTo>
                    <a:pt x="1380" y="900"/>
                  </a:lnTo>
                  <a:lnTo>
                    <a:pt x="1380" y="894"/>
                  </a:lnTo>
                  <a:lnTo>
                    <a:pt x="1368" y="888"/>
                  </a:lnTo>
                  <a:lnTo>
                    <a:pt x="1362" y="882"/>
                  </a:lnTo>
                  <a:lnTo>
                    <a:pt x="1356" y="876"/>
                  </a:lnTo>
                  <a:lnTo>
                    <a:pt x="1350" y="864"/>
                  </a:lnTo>
                  <a:lnTo>
                    <a:pt x="1344" y="858"/>
                  </a:lnTo>
                  <a:lnTo>
                    <a:pt x="1314" y="870"/>
                  </a:lnTo>
                  <a:lnTo>
                    <a:pt x="1272" y="876"/>
                  </a:lnTo>
                  <a:lnTo>
                    <a:pt x="1218" y="870"/>
                  </a:lnTo>
                  <a:lnTo>
                    <a:pt x="1200" y="864"/>
                  </a:lnTo>
                  <a:lnTo>
                    <a:pt x="1182" y="864"/>
                  </a:lnTo>
                  <a:lnTo>
                    <a:pt x="1134" y="858"/>
                  </a:lnTo>
                  <a:lnTo>
                    <a:pt x="1110" y="840"/>
                  </a:lnTo>
                  <a:lnTo>
                    <a:pt x="1086" y="828"/>
                  </a:lnTo>
                  <a:lnTo>
                    <a:pt x="1044" y="816"/>
                  </a:lnTo>
                  <a:lnTo>
                    <a:pt x="1014" y="816"/>
                  </a:lnTo>
                  <a:lnTo>
                    <a:pt x="990" y="822"/>
                  </a:lnTo>
                  <a:lnTo>
                    <a:pt x="948" y="858"/>
                  </a:lnTo>
                  <a:lnTo>
                    <a:pt x="930" y="864"/>
                  </a:lnTo>
                  <a:lnTo>
                    <a:pt x="924" y="876"/>
                  </a:lnTo>
                  <a:lnTo>
                    <a:pt x="918" y="906"/>
                  </a:lnTo>
                  <a:lnTo>
                    <a:pt x="924" y="930"/>
                  </a:lnTo>
                  <a:lnTo>
                    <a:pt x="948" y="984"/>
                  </a:lnTo>
                  <a:lnTo>
                    <a:pt x="954" y="1008"/>
                  </a:lnTo>
                  <a:lnTo>
                    <a:pt x="948" y="1014"/>
                  </a:lnTo>
                  <a:lnTo>
                    <a:pt x="954" y="1014"/>
                  </a:lnTo>
                  <a:lnTo>
                    <a:pt x="954" y="1032"/>
                  </a:lnTo>
                  <a:lnTo>
                    <a:pt x="966" y="1044"/>
                  </a:lnTo>
                  <a:lnTo>
                    <a:pt x="960" y="1056"/>
                  </a:lnTo>
                  <a:lnTo>
                    <a:pt x="954" y="1056"/>
                  </a:lnTo>
                  <a:lnTo>
                    <a:pt x="948" y="1056"/>
                  </a:lnTo>
                  <a:lnTo>
                    <a:pt x="942" y="1056"/>
                  </a:lnTo>
                  <a:lnTo>
                    <a:pt x="936" y="1050"/>
                  </a:lnTo>
                  <a:lnTo>
                    <a:pt x="930" y="1044"/>
                  </a:lnTo>
                  <a:lnTo>
                    <a:pt x="924" y="1044"/>
                  </a:lnTo>
                  <a:lnTo>
                    <a:pt x="918" y="1038"/>
                  </a:lnTo>
                  <a:lnTo>
                    <a:pt x="912" y="1038"/>
                  </a:lnTo>
                  <a:lnTo>
                    <a:pt x="906" y="1032"/>
                  </a:lnTo>
                  <a:lnTo>
                    <a:pt x="900" y="1032"/>
                  </a:lnTo>
                  <a:lnTo>
                    <a:pt x="888" y="1026"/>
                  </a:lnTo>
                  <a:lnTo>
                    <a:pt x="882" y="1026"/>
                  </a:lnTo>
                  <a:lnTo>
                    <a:pt x="876" y="1026"/>
                  </a:lnTo>
                  <a:lnTo>
                    <a:pt x="864" y="1014"/>
                  </a:lnTo>
                  <a:lnTo>
                    <a:pt x="846" y="1008"/>
                  </a:lnTo>
                  <a:lnTo>
                    <a:pt x="840" y="996"/>
                  </a:lnTo>
                  <a:lnTo>
                    <a:pt x="840" y="990"/>
                  </a:lnTo>
                  <a:lnTo>
                    <a:pt x="834" y="990"/>
                  </a:lnTo>
                  <a:lnTo>
                    <a:pt x="828" y="990"/>
                  </a:lnTo>
                  <a:lnTo>
                    <a:pt x="816" y="990"/>
                  </a:lnTo>
                  <a:lnTo>
                    <a:pt x="810" y="990"/>
                  </a:lnTo>
                  <a:lnTo>
                    <a:pt x="804" y="984"/>
                  </a:lnTo>
                  <a:lnTo>
                    <a:pt x="792" y="978"/>
                  </a:lnTo>
                  <a:lnTo>
                    <a:pt x="786" y="972"/>
                  </a:lnTo>
                  <a:lnTo>
                    <a:pt x="780" y="972"/>
                  </a:lnTo>
                  <a:lnTo>
                    <a:pt x="768" y="966"/>
                  </a:lnTo>
                  <a:lnTo>
                    <a:pt x="762" y="966"/>
                  </a:lnTo>
                  <a:lnTo>
                    <a:pt x="756" y="966"/>
                  </a:lnTo>
                  <a:lnTo>
                    <a:pt x="750" y="966"/>
                  </a:lnTo>
                  <a:lnTo>
                    <a:pt x="744" y="966"/>
                  </a:lnTo>
                  <a:lnTo>
                    <a:pt x="738" y="960"/>
                  </a:lnTo>
                  <a:lnTo>
                    <a:pt x="732" y="954"/>
                  </a:lnTo>
                  <a:lnTo>
                    <a:pt x="720" y="954"/>
                  </a:lnTo>
                  <a:lnTo>
                    <a:pt x="714" y="948"/>
                  </a:lnTo>
                  <a:lnTo>
                    <a:pt x="708" y="948"/>
                  </a:lnTo>
                  <a:lnTo>
                    <a:pt x="696" y="948"/>
                  </a:lnTo>
                  <a:lnTo>
                    <a:pt x="684" y="942"/>
                  </a:lnTo>
                  <a:lnTo>
                    <a:pt x="678" y="936"/>
                  </a:lnTo>
                  <a:lnTo>
                    <a:pt x="660" y="930"/>
                  </a:lnTo>
                  <a:lnTo>
                    <a:pt x="642" y="924"/>
                  </a:lnTo>
                  <a:lnTo>
                    <a:pt x="636" y="924"/>
                  </a:lnTo>
                  <a:lnTo>
                    <a:pt x="630" y="924"/>
                  </a:lnTo>
                  <a:lnTo>
                    <a:pt x="618" y="924"/>
                  </a:lnTo>
                  <a:lnTo>
                    <a:pt x="618" y="918"/>
                  </a:lnTo>
                  <a:lnTo>
                    <a:pt x="606" y="918"/>
                  </a:lnTo>
                  <a:lnTo>
                    <a:pt x="600" y="918"/>
                  </a:lnTo>
                  <a:lnTo>
                    <a:pt x="594" y="918"/>
                  </a:lnTo>
                  <a:lnTo>
                    <a:pt x="594" y="912"/>
                  </a:lnTo>
                  <a:lnTo>
                    <a:pt x="588" y="912"/>
                  </a:lnTo>
                  <a:lnTo>
                    <a:pt x="582" y="912"/>
                  </a:lnTo>
                  <a:lnTo>
                    <a:pt x="582" y="918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58" y="918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12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00"/>
                  </a:lnTo>
                  <a:lnTo>
                    <a:pt x="516" y="900"/>
                  </a:lnTo>
                  <a:lnTo>
                    <a:pt x="510" y="900"/>
                  </a:lnTo>
                  <a:lnTo>
                    <a:pt x="486" y="894"/>
                  </a:lnTo>
                  <a:lnTo>
                    <a:pt x="474" y="888"/>
                  </a:lnTo>
                  <a:lnTo>
                    <a:pt x="468" y="888"/>
                  </a:lnTo>
                  <a:lnTo>
                    <a:pt x="450" y="88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0" name="Freeform 15">
              <a:extLst>
                <a:ext uri="{FF2B5EF4-FFF2-40B4-BE49-F238E27FC236}">
                  <a16:creationId xmlns:a16="http://schemas.microsoft.com/office/drawing/2014/main" id="{8B991D7A-45C6-40F6-A035-24DFC733305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382" y="2652043"/>
              <a:ext cx="724526" cy="695552"/>
            </a:xfrm>
            <a:custGeom>
              <a:avLst/>
              <a:gdLst>
                <a:gd name="T0" fmla="*/ 44 w 1362"/>
                <a:gd name="T1" fmla="*/ 106 h 1308"/>
                <a:gd name="T2" fmla="*/ 32 w 1362"/>
                <a:gd name="T3" fmla="*/ 109 h 1308"/>
                <a:gd name="T4" fmla="*/ 25 w 1362"/>
                <a:gd name="T5" fmla="*/ 105 h 1308"/>
                <a:gd name="T6" fmla="*/ 22 w 1362"/>
                <a:gd name="T7" fmla="*/ 97 h 1308"/>
                <a:gd name="T8" fmla="*/ 21 w 1362"/>
                <a:gd name="T9" fmla="*/ 95 h 1308"/>
                <a:gd name="T10" fmla="*/ 20 w 1362"/>
                <a:gd name="T11" fmla="*/ 90 h 1308"/>
                <a:gd name="T12" fmla="*/ 23 w 1362"/>
                <a:gd name="T13" fmla="*/ 87 h 1308"/>
                <a:gd name="T14" fmla="*/ 29 w 1362"/>
                <a:gd name="T15" fmla="*/ 81 h 1308"/>
                <a:gd name="T16" fmla="*/ 30 w 1362"/>
                <a:gd name="T17" fmla="*/ 78 h 1308"/>
                <a:gd name="T18" fmla="*/ 27 w 1362"/>
                <a:gd name="T19" fmla="*/ 75 h 1308"/>
                <a:gd name="T20" fmla="*/ 15 w 1362"/>
                <a:gd name="T21" fmla="*/ 73 h 1308"/>
                <a:gd name="T22" fmla="*/ 12 w 1362"/>
                <a:gd name="T23" fmla="*/ 69 h 1308"/>
                <a:gd name="T24" fmla="*/ 5 w 1362"/>
                <a:gd name="T25" fmla="*/ 65 h 1308"/>
                <a:gd name="T26" fmla="*/ 6 w 1362"/>
                <a:gd name="T27" fmla="*/ 62 h 1308"/>
                <a:gd name="T28" fmla="*/ 7 w 1362"/>
                <a:gd name="T29" fmla="*/ 56 h 1308"/>
                <a:gd name="T30" fmla="*/ 2 w 1362"/>
                <a:gd name="T31" fmla="*/ 49 h 1308"/>
                <a:gd name="T32" fmla="*/ 0 w 1362"/>
                <a:gd name="T33" fmla="*/ 44 h 1308"/>
                <a:gd name="T34" fmla="*/ 0 w 1362"/>
                <a:gd name="T35" fmla="*/ 39 h 1308"/>
                <a:gd name="T36" fmla="*/ 3 w 1362"/>
                <a:gd name="T37" fmla="*/ 35 h 1308"/>
                <a:gd name="T38" fmla="*/ 3 w 1362"/>
                <a:gd name="T39" fmla="*/ 28 h 1308"/>
                <a:gd name="T40" fmla="*/ 6 w 1362"/>
                <a:gd name="T41" fmla="*/ 18 h 1308"/>
                <a:gd name="T42" fmla="*/ 6 w 1362"/>
                <a:gd name="T43" fmla="*/ 8 h 1308"/>
                <a:gd name="T44" fmla="*/ 10 w 1362"/>
                <a:gd name="T45" fmla="*/ 5 h 1308"/>
                <a:gd name="T46" fmla="*/ 15 w 1362"/>
                <a:gd name="T47" fmla="*/ 0 h 1308"/>
                <a:gd name="T48" fmla="*/ 21 w 1362"/>
                <a:gd name="T49" fmla="*/ 7 h 1308"/>
                <a:gd name="T50" fmla="*/ 25 w 1362"/>
                <a:gd name="T51" fmla="*/ 15 h 1308"/>
                <a:gd name="T52" fmla="*/ 24 w 1362"/>
                <a:gd name="T53" fmla="*/ 19 h 1308"/>
                <a:gd name="T54" fmla="*/ 32 w 1362"/>
                <a:gd name="T55" fmla="*/ 19 h 1308"/>
                <a:gd name="T56" fmla="*/ 35 w 1362"/>
                <a:gd name="T57" fmla="*/ 20 h 1308"/>
                <a:gd name="T58" fmla="*/ 40 w 1362"/>
                <a:gd name="T59" fmla="*/ 23 h 1308"/>
                <a:gd name="T60" fmla="*/ 40 w 1362"/>
                <a:gd name="T61" fmla="*/ 26 h 1308"/>
                <a:gd name="T62" fmla="*/ 34 w 1362"/>
                <a:gd name="T63" fmla="*/ 35 h 1308"/>
                <a:gd name="T64" fmla="*/ 41 w 1362"/>
                <a:gd name="T65" fmla="*/ 37 h 1308"/>
                <a:gd name="T66" fmla="*/ 43 w 1362"/>
                <a:gd name="T67" fmla="*/ 44 h 1308"/>
                <a:gd name="T68" fmla="*/ 48 w 1362"/>
                <a:gd name="T69" fmla="*/ 47 h 1308"/>
                <a:gd name="T70" fmla="*/ 57 w 1362"/>
                <a:gd name="T71" fmla="*/ 48 h 1308"/>
                <a:gd name="T72" fmla="*/ 70 w 1362"/>
                <a:gd name="T73" fmla="*/ 44 h 1308"/>
                <a:gd name="T74" fmla="*/ 80 w 1362"/>
                <a:gd name="T75" fmla="*/ 34 h 1308"/>
                <a:gd name="T76" fmla="*/ 95 w 1362"/>
                <a:gd name="T77" fmla="*/ 41 h 1308"/>
                <a:gd name="T78" fmla="*/ 109 w 1362"/>
                <a:gd name="T79" fmla="*/ 47 h 1308"/>
                <a:gd name="T80" fmla="*/ 111 w 1362"/>
                <a:gd name="T81" fmla="*/ 50 h 1308"/>
                <a:gd name="T82" fmla="*/ 113 w 1362"/>
                <a:gd name="T83" fmla="*/ 53 h 1308"/>
                <a:gd name="T84" fmla="*/ 113 w 1362"/>
                <a:gd name="T85" fmla="*/ 55 h 1308"/>
                <a:gd name="T86" fmla="*/ 113 w 1362"/>
                <a:gd name="T87" fmla="*/ 59 h 1308"/>
                <a:gd name="T88" fmla="*/ 113 w 1362"/>
                <a:gd name="T89" fmla="*/ 62 h 1308"/>
                <a:gd name="T90" fmla="*/ 115 w 1362"/>
                <a:gd name="T91" fmla="*/ 65 h 1308"/>
                <a:gd name="T92" fmla="*/ 115 w 1362"/>
                <a:gd name="T93" fmla="*/ 67 h 1308"/>
                <a:gd name="T94" fmla="*/ 116 w 1362"/>
                <a:gd name="T95" fmla="*/ 69 h 1308"/>
                <a:gd name="T96" fmla="*/ 116 w 1362"/>
                <a:gd name="T97" fmla="*/ 71 h 1308"/>
                <a:gd name="T98" fmla="*/ 118 w 1362"/>
                <a:gd name="T99" fmla="*/ 75 h 1308"/>
                <a:gd name="T100" fmla="*/ 116 w 1362"/>
                <a:gd name="T101" fmla="*/ 77 h 1308"/>
                <a:gd name="T102" fmla="*/ 116 w 1362"/>
                <a:gd name="T103" fmla="*/ 79 h 1308"/>
                <a:gd name="T104" fmla="*/ 101 w 1362"/>
                <a:gd name="T105" fmla="*/ 87 h 1308"/>
                <a:gd name="T106" fmla="*/ 85 w 1362"/>
                <a:gd name="T107" fmla="*/ 103 h 1308"/>
                <a:gd name="T108" fmla="*/ 67 w 1362"/>
                <a:gd name="T109" fmla="*/ 114 h 130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62"/>
                <a:gd name="T166" fmla="*/ 0 h 1308"/>
                <a:gd name="T167" fmla="*/ 1362 w 1362"/>
                <a:gd name="T168" fmla="*/ 1308 h 130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62" h="1308">
                  <a:moveTo>
                    <a:pt x="684" y="1278"/>
                  </a:moveTo>
                  <a:lnTo>
                    <a:pt x="672" y="1272"/>
                  </a:lnTo>
                  <a:lnTo>
                    <a:pt x="636" y="1266"/>
                  </a:lnTo>
                  <a:lnTo>
                    <a:pt x="582" y="1248"/>
                  </a:lnTo>
                  <a:lnTo>
                    <a:pt x="564" y="1230"/>
                  </a:lnTo>
                  <a:lnTo>
                    <a:pt x="540" y="1218"/>
                  </a:lnTo>
                  <a:lnTo>
                    <a:pt x="510" y="1218"/>
                  </a:lnTo>
                  <a:lnTo>
                    <a:pt x="498" y="1224"/>
                  </a:lnTo>
                  <a:lnTo>
                    <a:pt x="492" y="1230"/>
                  </a:lnTo>
                  <a:lnTo>
                    <a:pt x="474" y="1230"/>
                  </a:lnTo>
                  <a:lnTo>
                    <a:pt x="414" y="1230"/>
                  </a:lnTo>
                  <a:lnTo>
                    <a:pt x="396" y="1236"/>
                  </a:lnTo>
                  <a:lnTo>
                    <a:pt x="390" y="1248"/>
                  </a:lnTo>
                  <a:lnTo>
                    <a:pt x="372" y="1248"/>
                  </a:lnTo>
                  <a:lnTo>
                    <a:pt x="366" y="1242"/>
                  </a:lnTo>
                  <a:lnTo>
                    <a:pt x="366" y="1224"/>
                  </a:lnTo>
                  <a:lnTo>
                    <a:pt x="360" y="1224"/>
                  </a:lnTo>
                  <a:lnTo>
                    <a:pt x="354" y="1218"/>
                  </a:lnTo>
                  <a:lnTo>
                    <a:pt x="336" y="1206"/>
                  </a:lnTo>
                  <a:lnTo>
                    <a:pt x="330" y="1194"/>
                  </a:lnTo>
                  <a:lnTo>
                    <a:pt x="288" y="1200"/>
                  </a:lnTo>
                  <a:lnTo>
                    <a:pt x="288" y="1194"/>
                  </a:lnTo>
                  <a:lnTo>
                    <a:pt x="288" y="1182"/>
                  </a:lnTo>
                  <a:lnTo>
                    <a:pt x="288" y="1170"/>
                  </a:lnTo>
                  <a:lnTo>
                    <a:pt x="288" y="1164"/>
                  </a:lnTo>
                  <a:lnTo>
                    <a:pt x="282" y="1140"/>
                  </a:lnTo>
                  <a:lnTo>
                    <a:pt x="276" y="1134"/>
                  </a:lnTo>
                  <a:lnTo>
                    <a:pt x="258" y="1116"/>
                  </a:lnTo>
                  <a:lnTo>
                    <a:pt x="258" y="1110"/>
                  </a:lnTo>
                  <a:lnTo>
                    <a:pt x="252" y="1110"/>
                  </a:lnTo>
                  <a:lnTo>
                    <a:pt x="252" y="1104"/>
                  </a:lnTo>
                  <a:lnTo>
                    <a:pt x="252" y="1098"/>
                  </a:lnTo>
                  <a:lnTo>
                    <a:pt x="240" y="1092"/>
                  </a:lnTo>
                  <a:lnTo>
                    <a:pt x="234" y="1092"/>
                  </a:lnTo>
                  <a:lnTo>
                    <a:pt x="240" y="1086"/>
                  </a:lnTo>
                  <a:lnTo>
                    <a:pt x="234" y="1080"/>
                  </a:lnTo>
                  <a:lnTo>
                    <a:pt x="228" y="1080"/>
                  </a:lnTo>
                  <a:lnTo>
                    <a:pt x="228" y="1068"/>
                  </a:lnTo>
                  <a:lnTo>
                    <a:pt x="228" y="1056"/>
                  </a:lnTo>
                  <a:lnTo>
                    <a:pt x="222" y="1056"/>
                  </a:lnTo>
                  <a:lnTo>
                    <a:pt x="228" y="1044"/>
                  </a:lnTo>
                  <a:lnTo>
                    <a:pt x="228" y="1038"/>
                  </a:lnTo>
                  <a:lnTo>
                    <a:pt x="228" y="1032"/>
                  </a:lnTo>
                  <a:lnTo>
                    <a:pt x="234" y="1026"/>
                  </a:lnTo>
                  <a:lnTo>
                    <a:pt x="246" y="1020"/>
                  </a:lnTo>
                  <a:lnTo>
                    <a:pt x="252" y="1020"/>
                  </a:lnTo>
                  <a:lnTo>
                    <a:pt x="258" y="1014"/>
                  </a:lnTo>
                  <a:lnTo>
                    <a:pt x="264" y="1008"/>
                  </a:lnTo>
                  <a:lnTo>
                    <a:pt x="264" y="1002"/>
                  </a:lnTo>
                  <a:lnTo>
                    <a:pt x="270" y="984"/>
                  </a:lnTo>
                  <a:lnTo>
                    <a:pt x="276" y="978"/>
                  </a:lnTo>
                  <a:lnTo>
                    <a:pt x="300" y="978"/>
                  </a:lnTo>
                  <a:lnTo>
                    <a:pt x="306" y="972"/>
                  </a:lnTo>
                  <a:lnTo>
                    <a:pt x="312" y="966"/>
                  </a:lnTo>
                  <a:lnTo>
                    <a:pt x="324" y="936"/>
                  </a:lnTo>
                  <a:lnTo>
                    <a:pt x="330" y="930"/>
                  </a:lnTo>
                  <a:lnTo>
                    <a:pt x="330" y="924"/>
                  </a:lnTo>
                  <a:lnTo>
                    <a:pt x="336" y="918"/>
                  </a:lnTo>
                  <a:lnTo>
                    <a:pt x="342" y="912"/>
                  </a:lnTo>
                  <a:lnTo>
                    <a:pt x="342" y="906"/>
                  </a:lnTo>
                  <a:lnTo>
                    <a:pt x="342" y="900"/>
                  </a:lnTo>
                  <a:lnTo>
                    <a:pt x="342" y="894"/>
                  </a:lnTo>
                  <a:lnTo>
                    <a:pt x="342" y="888"/>
                  </a:lnTo>
                  <a:lnTo>
                    <a:pt x="336" y="876"/>
                  </a:lnTo>
                  <a:lnTo>
                    <a:pt x="342" y="870"/>
                  </a:lnTo>
                  <a:lnTo>
                    <a:pt x="336" y="864"/>
                  </a:lnTo>
                  <a:lnTo>
                    <a:pt x="336" y="858"/>
                  </a:lnTo>
                  <a:lnTo>
                    <a:pt x="330" y="852"/>
                  </a:lnTo>
                  <a:lnTo>
                    <a:pt x="318" y="852"/>
                  </a:lnTo>
                  <a:lnTo>
                    <a:pt x="306" y="858"/>
                  </a:lnTo>
                  <a:lnTo>
                    <a:pt x="264" y="864"/>
                  </a:lnTo>
                  <a:lnTo>
                    <a:pt x="234" y="858"/>
                  </a:lnTo>
                  <a:lnTo>
                    <a:pt x="228" y="858"/>
                  </a:lnTo>
                  <a:lnTo>
                    <a:pt x="198" y="858"/>
                  </a:lnTo>
                  <a:lnTo>
                    <a:pt x="174" y="858"/>
                  </a:lnTo>
                  <a:lnTo>
                    <a:pt x="168" y="852"/>
                  </a:lnTo>
                  <a:lnTo>
                    <a:pt x="168" y="840"/>
                  </a:lnTo>
                  <a:lnTo>
                    <a:pt x="168" y="834"/>
                  </a:lnTo>
                  <a:lnTo>
                    <a:pt x="168" y="822"/>
                  </a:lnTo>
                  <a:lnTo>
                    <a:pt x="162" y="822"/>
                  </a:lnTo>
                  <a:lnTo>
                    <a:pt x="150" y="816"/>
                  </a:lnTo>
                  <a:lnTo>
                    <a:pt x="144" y="810"/>
                  </a:lnTo>
                  <a:lnTo>
                    <a:pt x="144" y="804"/>
                  </a:lnTo>
                  <a:lnTo>
                    <a:pt x="144" y="786"/>
                  </a:lnTo>
                  <a:lnTo>
                    <a:pt x="144" y="780"/>
                  </a:lnTo>
                  <a:lnTo>
                    <a:pt x="144" y="774"/>
                  </a:lnTo>
                  <a:lnTo>
                    <a:pt x="132" y="756"/>
                  </a:lnTo>
                  <a:lnTo>
                    <a:pt x="120" y="756"/>
                  </a:lnTo>
                  <a:lnTo>
                    <a:pt x="84" y="750"/>
                  </a:lnTo>
                  <a:lnTo>
                    <a:pt x="78" y="744"/>
                  </a:lnTo>
                  <a:lnTo>
                    <a:pt x="60" y="744"/>
                  </a:lnTo>
                  <a:lnTo>
                    <a:pt x="54" y="726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66" y="720"/>
                  </a:lnTo>
                  <a:lnTo>
                    <a:pt x="66" y="714"/>
                  </a:lnTo>
                  <a:lnTo>
                    <a:pt x="72" y="714"/>
                  </a:lnTo>
                  <a:lnTo>
                    <a:pt x="72" y="708"/>
                  </a:lnTo>
                  <a:lnTo>
                    <a:pt x="78" y="702"/>
                  </a:lnTo>
                  <a:lnTo>
                    <a:pt x="78" y="696"/>
                  </a:lnTo>
                  <a:lnTo>
                    <a:pt x="78" y="690"/>
                  </a:lnTo>
                  <a:lnTo>
                    <a:pt x="84" y="678"/>
                  </a:lnTo>
                  <a:lnTo>
                    <a:pt x="90" y="666"/>
                  </a:lnTo>
                  <a:lnTo>
                    <a:pt x="90" y="642"/>
                  </a:lnTo>
                  <a:lnTo>
                    <a:pt x="84" y="648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66" y="642"/>
                  </a:lnTo>
                  <a:lnTo>
                    <a:pt x="60" y="642"/>
                  </a:lnTo>
                  <a:lnTo>
                    <a:pt x="54" y="636"/>
                  </a:lnTo>
                  <a:lnTo>
                    <a:pt x="30" y="570"/>
                  </a:lnTo>
                  <a:lnTo>
                    <a:pt x="24" y="564"/>
                  </a:lnTo>
                  <a:lnTo>
                    <a:pt x="18" y="570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6"/>
                  </a:lnTo>
                  <a:lnTo>
                    <a:pt x="6" y="540"/>
                  </a:lnTo>
                  <a:lnTo>
                    <a:pt x="0" y="522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2" y="480"/>
                  </a:lnTo>
                  <a:lnTo>
                    <a:pt x="6" y="480"/>
                  </a:lnTo>
                  <a:lnTo>
                    <a:pt x="0" y="474"/>
                  </a:lnTo>
                  <a:lnTo>
                    <a:pt x="0" y="450"/>
                  </a:lnTo>
                  <a:lnTo>
                    <a:pt x="6" y="450"/>
                  </a:lnTo>
                  <a:lnTo>
                    <a:pt x="12" y="450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32"/>
                  </a:lnTo>
                  <a:lnTo>
                    <a:pt x="30" y="426"/>
                  </a:lnTo>
                  <a:lnTo>
                    <a:pt x="36" y="402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2" y="366"/>
                  </a:lnTo>
                  <a:lnTo>
                    <a:pt x="48" y="360"/>
                  </a:lnTo>
                  <a:lnTo>
                    <a:pt x="48" y="342"/>
                  </a:lnTo>
                  <a:lnTo>
                    <a:pt x="42" y="330"/>
                  </a:lnTo>
                  <a:lnTo>
                    <a:pt x="36" y="324"/>
                  </a:lnTo>
                  <a:lnTo>
                    <a:pt x="42" y="306"/>
                  </a:lnTo>
                  <a:lnTo>
                    <a:pt x="42" y="270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48" y="258"/>
                  </a:lnTo>
                  <a:lnTo>
                    <a:pt x="72" y="252"/>
                  </a:lnTo>
                  <a:lnTo>
                    <a:pt x="66" y="204"/>
                  </a:lnTo>
                  <a:lnTo>
                    <a:pt x="60" y="198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8" y="13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84" y="96"/>
                  </a:lnTo>
                  <a:lnTo>
                    <a:pt x="90" y="84"/>
                  </a:lnTo>
                  <a:lnTo>
                    <a:pt x="108" y="72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20" y="60"/>
                  </a:lnTo>
                  <a:lnTo>
                    <a:pt x="120" y="54"/>
                  </a:lnTo>
                  <a:lnTo>
                    <a:pt x="120" y="48"/>
                  </a:lnTo>
                  <a:lnTo>
                    <a:pt x="126" y="48"/>
                  </a:lnTo>
                  <a:lnTo>
                    <a:pt x="132" y="42"/>
                  </a:lnTo>
                  <a:lnTo>
                    <a:pt x="132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240" y="18"/>
                  </a:lnTo>
                  <a:lnTo>
                    <a:pt x="246" y="42"/>
                  </a:lnTo>
                  <a:lnTo>
                    <a:pt x="240" y="72"/>
                  </a:lnTo>
                  <a:lnTo>
                    <a:pt x="246" y="78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8" y="108"/>
                  </a:lnTo>
                  <a:lnTo>
                    <a:pt x="276" y="114"/>
                  </a:lnTo>
                  <a:lnTo>
                    <a:pt x="294" y="150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82" y="186"/>
                  </a:lnTo>
                  <a:lnTo>
                    <a:pt x="282" y="192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76" y="216"/>
                  </a:lnTo>
                  <a:lnTo>
                    <a:pt x="288" y="240"/>
                  </a:lnTo>
                  <a:lnTo>
                    <a:pt x="312" y="228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66" y="228"/>
                  </a:lnTo>
                  <a:lnTo>
                    <a:pt x="372" y="228"/>
                  </a:lnTo>
                  <a:lnTo>
                    <a:pt x="372" y="222"/>
                  </a:lnTo>
                  <a:lnTo>
                    <a:pt x="378" y="222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6" y="222"/>
                  </a:lnTo>
                  <a:lnTo>
                    <a:pt x="402" y="222"/>
                  </a:lnTo>
                  <a:lnTo>
                    <a:pt x="402" y="228"/>
                  </a:lnTo>
                  <a:lnTo>
                    <a:pt x="408" y="228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26" y="216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68" y="258"/>
                  </a:lnTo>
                  <a:lnTo>
                    <a:pt x="462" y="264"/>
                  </a:lnTo>
                  <a:lnTo>
                    <a:pt x="468" y="264"/>
                  </a:lnTo>
                  <a:lnTo>
                    <a:pt x="468" y="270"/>
                  </a:lnTo>
                  <a:lnTo>
                    <a:pt x="474" y="270"/>
                  </a:lnTo>
                  <a:lnTo>
                    <a:pt x="480" y="276"/>
                  </a:lnTo>
                  <a:lnTo>
                    <a:pt x="474" y="282"/>
                  </a:lnTo>
                  <a:lnTo>
                    <a:pt x="474" y="288"/>
                  </a:lnTo>
                  <a:lnTo>
                    <a:pt x="462" y="294"/>
                  </a:lnTo>
                  <a:lnTo>
                    <a:pt x="468" y="324"/>
                  </a:lnTo>
                  <a:lnTo>
                    <a:pt x="462" y="336"/>
                  </a:lnTo>
                  <a:lnTo>
                    <a:pt x="456" y="354"/>
                  </a:lnTo>
                  <a:lnTo>
                    <a:pt x="432" y="390"/>
                  </a:lnTo>
                  <a:lnTo>
                    <a:pt x="420" y="390"/>
                  </a:lnTo>
                  <a:lnTo>
                    <a:pt x="402" y="390"/>
                  </a:lnTo>
                  <a:lnTo>
                    <a:pt x="396" y="396"/>
                  </a:lnTo>
                  <a:lnTo>
                    <a:pt x="390" y="396"/>
                  </a:lnTo>
                  <a:lnTo>
                    <a:pt x="390" y="402"/>
                  </a:lnTo>
                  <a:lnTo>
                    <a:pt x="384" y="402"/>
                  </a:lnTo>
                  <a:lnTo>
                    <a:pt x="408" y="432"/>
                  </a:lnTo>
                  <a:lnTo>
                    <a:pt x="432" y="438"/>
                  </a:lnTo>
                  <a:lnTo>
                    <a:pt x="456" y="432"/>
                  </a:lnTo>
                  <a:lnTo>
                    <a:pt x="468" y="426"/>
                  </a:lnTo>
                  <a:lnTo>
                    <a:pt x="468" y="444"/>
                  </a:lnTo>
                  <a:lnTo>
                    <a:pt x="468" y="450"/>
                  </a:lnTo>
                  <a:lnTo>
                    <a:pt x="468" y="474"/>
                  </a:lnTo>
                  <a:lnTo>
                    <a:pt x="486" y="480"/>
                  </a:lnTo>
                  <a:lnTo>
                    <a:pt x="486" y="486"/>
                  </a:lnTo>
                  <a:lnTo>
                    <a:pt x="492" y="498"/>
                  </a:lnTo>
                  <a:lnTo>
                    <a:pt x="492" y="504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504" y="516"/>
                  </a:lnTo>
                  <a:lnTo>
                    <a:pt x="510" y="516"/>
                  </a:lnTo>
                  <a:lnTo>
                    <a:pt x="522" y="528"/>
                  </a:lnTo>
                  <a:lnTo>
                    <a:pt x="546" y="540"/>
                  </a:lnTo>
                  <a:lnTo>
                    <a:pt x="552" y="546"/>
                  </a:lnTo>
                  <a:lnTo>
                    <a:pt x="570" y="552"/>
                  </a:lnTo>
                  <a:lnTo>
                    <a:pt x="594" y="552"/>
                  </a:lnTo>
                  <a:lnTo>
                    <a:pt x="606" y="546"/>
                  </a:lnTo>
                  <a:lnTo>
                    <a:pt x="612" y="540"/>
                  </a:lnTo>
                  <a:lnTo>
                    <a:pt x="630" y="540"/>
                  </a:lnTo>
                  <a:lnTo>
                    <a:pt x="630" y="552"/>
                  </a:lnTo>
                  <a:lnTo>
                    <a:pt x="654" y="552"/>
                  </a:lnTo>
                  <a:lnTo>
                    <a:pt x="702" y="558"/>
                  </a:lnTo>
                  <a:lnTo>
                    <a:pt x="762" y="546"/>
                  </a:lnTo>
                  <a:lnTo>
                    <a:pt x="780" y="546"/>
                  </a:lnTo>
                  <a:lnTo>
                    <a:pt x="780" y="528"/>
                  </a:lnTo>
                  <a:lnTo>
                    <a:pt x="798" y="522"/>
                  </a:lnTo>
                  <a:lnTo>
                    <a:pt x="810" y="510"/>
                  </a:lnTo>
                  <a:lnTo>
                    <a:pt x="810" y="504"/>
                  </a:lnTo>
                  <a:lnTo>
                    <a:pt x="828" y="492"/>
                  </a:lnTo>
                  <a:lnTo>
                    <a:pt x="888" y="486"/>
                  </a:lnTo>
                  <a:lnTo>
                    <a:pt x="912" y="486"/>
                  </a:lnTo>
                  <a:lnTo>
                    <a:pt x="930" y="474"/>
                  </a:lnTo>
                  <a:lnTo>
                    <a:pt x="918" y="456"/>
                  </a:lnTo>
                  <a:lnTo>
                    <a:pt x="912" y="450"/>
                  </a:lnTo>
                  <a:lnTo>
                    <a:pt x="918" y="390"/>
                  </a:lnTo>
                  <a:lnTo>
                    <a:pt x="954" y="396"/>
                  </a:lnTo>
                  <a:lnTo>
                    <a:pt x="984" y="402"/>
                  </a:lnTo>
                  <a:lnTo>
                    <a:pt x="1014" y="420"/>
                  </a:lnTo>
                  <a:lnTo>
                    <a:pt x="1026" y="432"/>
                  </a:lnTo>
                  <a:lnTo>
                    <a:pt x="1044" y="450"/>
                  </a:lnTo>
                  <a:lnTo>
                    <a:pt x="1062" y="462"/>
                  </a:lnTo>
                  <a:lnTo>
                    <a:pt x="1098" y="468"/>
                  </a:lnTo>
                  <a:lnTo>
                    <a:pt x="1128" y="480"/>
                  </a:lnTo>
                  <a:lnTo>
                    <a:pt x="1152" y="486"/>
                  </a:lnTo>
                  <a:lnTo>
                    <a:pt x="1188" y="498"/>
                  </a:lnTo>
                  <a:lnTo>
                    <a:pt x="1212" y="504"/>
                  </a:lnTo>
                  <a:lnTo>
                    <a:pt x="1224" y="528"/>
                  </a:lnTo>
                  <a:lnTo>
                    <a:pt x="1236" y="540"/>
                  </a:lnTo>
                  <a:lnTo>
                    <a:pt x="1254" y="540"/>
                  </a:lnTo>
                  <a:lnTo>
                    <a:pt x="1254" y="546"/>
                  </a:lnTo>
                  <a:lnTo>
                    <a:pt x="1260" y="552"/>
                  </a:lnTo>
                  <a:lnTo>
                    <a:pt x="1266" y="552"/>
                  </a:lnTo>
                  <a:lnTo>
                    <a:pt x="1266" y="558"/>
                  </a:lnTo>
                  <a:lnTo>
                    <a:pt x="1272" y="564"/>
                  </a:lnTo>
                  <a:lnTo>
                    <a:pt x="1278" y="564"/>
                  </a:lnTo>
                  <a:lnTo>
                    <a:pt x="1278" y="570"/>
                  </a:lnTo>
                  <a:lnTo>
                    <a:pt x="1284" y="576"/>
                  </a:lnTo>
                  <a:lnTo>
                    <a:pt x="1290" y="582"/>
                  </a:lnTo>
                  <a:lnTo>
                    <a:pt x="1296" y="582"/>
                  </a:lnTo>
                  <a:lnTo>
                    <a:pt x="1296" y="588"/>
                  </a:lnTo>
                  <a:lnTo>
                    <a:pt x="1308" y="594"/>
                  </a:lnTo>
                  <a:lnTo>
                    <a:pt x="1308" y="600"/>
                  </a:lnTo>
                  <a:lnTo>
                    <a:pt x="1308" y="606"/>
                  </a:lnTo>
                  <a:lnTo>
                    <a:pt x="1314" y="612"/>
                  </a:lnTo>
                  <a:lnTo>
                    <a:pt x="1308" y="618"/>
                  </a:lnTo>
                  <a:lnTo>
                    <a:pt x="1314" y="618"/>
                  </a:lnTo>
                  <a:lnTo>
                    <a:pt x="1314" y="624"/>
                  </a:lnTo>
                  <a:lnTo>
                    <a:pt x="1308" y="624"/>
                  </a:lnTo>
                  <a:lnTo>
                    <a:pt x="1302" y="630"/>
                  </a:lnTo>
                  <a:lnTo>
                    <a:pt x="1302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296" y="654"/>
                  </a:lnTo>
                  <a:lnTo>
                    <a:pt x="1302" y="660"/>
                  </a:lnTo>
                  <a:lnTo>
                    <a:pt x="1302" y="666"/>
                  </a:lnTo>
                  <a:lnTo>
                    <a:pt x="1308" y="666"/>
                  </a:lnTo>
                  <a:lnTo>
                    <a:pt x="1308" y="672"/>
                  </a:lnTo>
                  <a:lnTo>
                    <a:pt x="1308" y="678"/>
                  </a:lnTo>
                  <a:lnTo>
                    <a:pt x="1308" y="684"/>
                  </a:lnTo>
                  <a:lnTo>
                    <a:pt x="1308" y="690"/>
                  </a:lnTo>
                  <a:lnTo>
                    <a:pt x="1302" y="696"/>
                  </a:lnTo>
                  <a:lnTo>
                    <a:pt x="1302" y="702"/>
                  </a:lnTo>
                  <a:lnTo>
                    <a:pt x="1308" y="702"/>
                  </a:lnTo>
                  <a:lnTo>
                    <a:pt x="1302" y="708"/>
                  </a:lnTo>
                  <a:lnTo>
                    <a:pt x="1308" y="714"/>
                  </a:lnTo>
                  <a:lnTo>
                    <a:pt x="1308" y="720"/>
                  </a:lnTo>
                  <a:lnTo>
                    <a:pt x="1308" y="726"/>
                  </a:lnTo>
                  <a:lnTo>
                    <a:pt x="1308" y="732"/>
                  </a:lnTo>
                  <a:lnTo>
                    <a:pt x="1314" y="732"/>
                  </a:lnTo>
                  <a:lnTo>
                    <a:pt x="1314" y="738"/>
                  </a:lnTo>
                  <a:lnTo>
                    <a:pt x="1320" y="744"/>
                  </a:lnTo>
                  <a:lnTo>
                    <a:pt x="1326" y="750"/>
                  </a:lnTo>
                  <a:lnTo>
                    <a:pt x="1320" y="750"/>
                  </a:lnTo>
                  <a:lnTo>
                    <a:pt x="1320" y="756"/>
                  </a:lnTo>
                  <a:lnTo>
                    <a:pt x="1314" y="756"/>
                  </a:lnTo>
                  <a:lnTo>
                    <a:pt x="1314" y="762"/>
                  </a:lnTo>
                  <a:lnTo>
                    <a:pt x="1314" y="768"/>
                  </a:lnTo>
                  <a:lnTo>
                    <a:pt x="1320" y="768"/>
                  </a:lnTo>
                  <a:lnTo>
                    <a:pt x="1320" y="762"/>
                  </a:lnTo>
                  <a:lnTo>
                    <a:pt x="1320" y="768"/>
                  </a:lnTo>
                  <a:lnTo>
                    <a:pt x="1326" y="774"/>
                  </a:lnTo>
                  <a:lnTo>
                    <a:pt x="1332" y="774"/>
                  </a:lnTo>
                  <a:lnTo>
                    <a:pt x="1332" y="780"/>
                  </a:lnTo>
                  <a:lnTo>
                    <a:pt x="1332" y="786"/>
                  </a:lnTo>
                  <a:lnTo>
                    <a:pt x="1332" y="792"/>
                  </a:lnTo>
                  <a:lnTo>
                    <a:pt x="1338" y="786"/>
                  </a:lnTo>
                  <a:lnTo>
                    <a:pt x="1338" y="792"/>
                  </a:lnTo>
                  <a:lnTo>
                    <a:pt x="1344" y="798"/>
                  </a:lnTo>
                  <a:lnTo>
                    <a:pt x="1344" y="804"/>
                  </a:lnTo>
                  <a:lnTo>
                    <a:pt x="1344" y="810"/>
                  </a:lnTo>
                  <a:lnTo>
                    <a:pt x="1344" y="816"/>
                  </a:lnTo>
                  <a:lnTo>
                    <a:pt x="1344" y="822"/>
                  </a:lnTo>
                  <a:lnTo>
                    <a:pt x="1338" y="828"/>
                  </a:lnTo>
                  <a:lnTo>
                    <a:pt x="1332" y="828"/>
                  </a:lnTo>
                  <a:lnTo>
                    <a:pt x="1338" y="840"/>
                  </a:lnTo>
                  <a:lnTo>
                    <a:pt x="1344" y="846"/>
                  </a:lnTo>
                  <a:lnTo>
                    <a:pt x="1344" y="852"/>
                  </a:lnTo>
                  <a:lnTo>
                    <a:pt x="1350" y="852"/>
                  </a:lnTo>
                  <a:lnTo>
                    <a:pt x="1356" y="858"/>
                  </a:lnTo>
                  <a:lnTo>
                    <a:pt x="1362" y="858"/>
                  </a:lnTo>
                  <a:lnTo>
                    <a:pt x="1362" y="870"/>
                  </a:lnTo>
                  <a:lnTo>
                    <a:pt x="1356" y="870"/>
                  </a:lnTo>
                  <a:lnTo>
                    <a:pt x="1356" y="876"/>
                  </a:lnTo>
                  <a:lnTo>
                    <a:pt x="1350" y="876"/>
                  </a:lnTo>
                  <a:lnTo>
                    <a:pt x="1344" y="876"/>
                  </a:lnTo>
                  <a:lnTo>
                    <a:pt x="1344" y="882"/>
                  </a:lnTo>
                  <a:lnTo>
                    <a:pt x="1338" y="882"/>
                  </a:lnTo>
                  <a:lnTo>
                    <a:pt x="1338" y="888"/>
                  </a:lnTo>
                  <a:lnTo>
                    <a:pt x="1338" y="894"/>
                  </a:lnTo>
                  <a:lnTo>
                    <a:pt x="1344" y="900"/>
                  </a:lnTo>
                  <a:lnTo>
                    <a:pt x="1344" y="906"/>
                  </a:lnTo>
                  <a:lnTo>
                    <a:pt x="1338" y="906"/>
                  </a:lnTo>
                  <a:lnTo>
                    <a:pt x="1332" y="912"/>
                  </a:lnTo>
                  <a:lnTo>
                    <a:pt x="1332" y="918"/>
                  </a:lnTo>
                  <a:lnTo>
                    <a:pt x="1326" y="918"/>
                  </a:lnTo>
                  <a:lnTo>
                    <a:pt x="1332" y="924"/>
                  </a:lnTo>
                  <a:lnTo>
                    <a:pt x="1284" y="942"/>
                  </a:lnTo>
                  <a:lnTo>
                    <a:pt x="1236" y="948"/>
                  </a:lnTo>
                  <a:lnTo>
                    <a:pt x="1194" y="966"/>
                  </a:lnTo>
                  <a:lnTo>
                    <a:pt x="1170" y="1002"/>
                  </a:lnTo>
                  <a:lnTo>
                    <a:pt x="1134" y="1020"/>
                  </a:lnTo>
                  <a:lnTo>
                    <a:pt x="1116" y="1032"/>
                  </a:lnTo>
                  <a:lnTo>
                    <a:pt x="1098" y="1050"/>
                  </a:lnTo>
                  <a:lnTo>
                    <a:pt x="1074" y="1074"/>
                  </a:lnTo>
                  <a:lnTo>
                    <a:pt x="1008" y="1134"/>
                  </a:lnTo>
                  <a:lnTo>
                    <a:pt x="990" y="1158"/>
                  </a:lnTo>
                  <a:lnTo>
                    <a:pt x="978" y="1182"/>
                  </a:lnTo>
                  <a:lnTo>
                    <a:pt x="960" y="1194"/>
                  </a:lnTo>
                  <a:lnTo>
                    <a:pt x="942" y="1212"/>
                  </a:lnTo>
                  <a:lnTo>
                    <a:pt x="912" y="1242"/>
                  </a:lnTo>
                  <a:lnTo>
                    <a:pt x="888" y="1254"/>
                  </a:lnTo>
                  <a:lnTo>
                    <a:pt x="864" y="1278"/>
                  </a:lnTo>
                  <a:lnTo>
                    <a:pt x="828" y="1296"/>
                  </a:lnTo>
                  <a:lnTo>
                    <a:pt x="774" y="1308"/>
                  </a:lnTo>
                  <a:lnTo>
                    <a:pt x="732" y="1302"/>
                  </a:lnTo>
                  <a:lnTo>
                    <a:pt x="702" y="1284"/>
                  </a:lnTo>
                  <a:lnTo>
                    <a:pt x="684" y="12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1" name="Freeform 16">
              <a:extLst>
                <a:ext uri="{FF2B5EF4-FFF2-40B4-BE49-F238E27FC236}">
                  <a16:creationId xmlns:a16="http://schemas.microsoft.com/office/drawing/2014/main" id="{D8D8591A-D9DB-4301-BEBD-D8F5A26DA9E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3001" y="2929369"/>
              <a:ext cx="914601" cy="1037736"/>
            </a:xfrm>
            <a:custGeom>
              <a:avLst/>
              <a:gdLst>
                <a:gd name="T0" fmla="*/ 144 w 1722"/>
                <a:gd name="T1" fmla="*/ 131 h 1956"/>
                <a:gd name="T2" fmla="*/ 142 w 1722"/>
                <a:gd name="T3" fmla="*/ 139 h 1956"/>
                <a:gd name="T4" fmla="*/ 137 w 1722"/>
                <a:gd name="T5" fmla="*/ 143 h 1956"/>
                <a:gd name="T6" fmla="*/ 133 w 1722"/>
                <a:gd name="T7" fmla="*/ 147 h 1956"/>
                <a:gd name="T8" fmla="*/ 132 w 1722"/>
                <a:gd name="T9" fmla="*/ 152 h 1956"/>
                <a:gd name="T10" fmla="*/ 130 w 1722"/>
                <a:gd name="T11" fmla="*/ 159 h 1956"/>
                <a:gd name="T12" fmla="*/ 127 w 1722"/>
                <a:gd name="T13" fmla="*/ 164 h 1956"/>
                <a:gd name="T14" fmla="*/ 123 w 1722"/>
                <a:gd name="T15" fmla="*/ 168 h 1956"/>
                <a:gd name="T16" fmla="*/ 117 w 1722"/>
                <a:gd name="T17" fmla="*/ 169 h 1956"/>
                <a:gd name="T18" fmla="*/ 110 w 1722"/>
                <a:gd name="T19" fmla="*/ 168 h 1956"/>
                <a:gd name="T20" fmla="*/ 104 w 1722"/>
                <a:gd name="T21" fmla="*/ 166 h 1956"/>
                <a:gd name="T22" fmla="*/ 101 w 1722"/>
                <a:gd name="T23" fmla="*/ 159 h 1956"/>
                <a:gd name="T24" fmla="*/ 95 w 1722"/>
                <a:gd name="T25" fmla="*/ 156 h 1956"/>
                <a:gd name="T26" fmla="*/ 89 w 1722"/>
                <a:gd name="T27" fmla="*/ 151 h 1956"/>
                <a:gd name="T28" fmla="*/ 87 w 1722"/>
                <a:gd name="T29" fmla="*/ 144 h 1956"/>
                <a:gd name="T30" fmla="*/ 82 w 1722"/>
                <a:gd name="T31" fmla="*/ 141 h 1956"/>
                <a:gd name="T32" fmla="*/ 76 w 1722"/>
                <a:gd name="T33" fmla="*/ 134 h 1956"/>
                <a:gd name="T34" fmla="*/ 74 w 1722"/>
                <a:gd name="T35" fmla="*/ 143 h 1956"/>
                <a:gd name="T36" fmla="*/ 68 w 1722"/>
                <a:gd name="T37" fmla="*/ 147 h 1956"/>
                <a:gd name="T38" fmla="*/ 54 w 1722"/>
                <a:gd name="T39" fmla="*/ 144 h 1956"/>
                <a:gd name="T40" fmla="*/ 51 w 1722"/>
                <a:gd name="T41" fmla="*/ 142 h 1956"/>
                <a:gd name="T42" fmla="*/ 42 w 1722"/>
                <a:gd name="T43" fmla="*/ 151 h 1956"/>
                <a:gd name="T44" fmla="*/ 33 w 1722"/>
                <a:gd name="T45" fmla="*/ 154 h 1956"/>
                <a:gd name="T46" fmla="*/ 31 w 1722"/>
                <a:gd name="T47" fmla="*/ 159 h 1956"/>
                <a:gd name="T48" fmla="*/ 29 w 1722"/>
                <a:gd name="T49" fmla="*/ 166 h 1956"/>
                <a:gd name="T50" fmla="*/ 25 w 1722"/>
                <a:gd name="T51" fmla="*/ 169 h 1956"/>
                <a:gd name="T52" fmla="*/ 27 w 1722"/>
                <a:gd name="T53" fmla="*/ 154 h 1956"/>
                <a:gd name="T54" fmla="*/ 37 w 1722"/>
                <a:gd name="T55" fmla="*/ 133 h 1956"/>
                <a:gd name="T56" fmla="*/ 36 w 1722"/>
                <a:gd name="T57" fmla="*/ 109 h 1956"/>
                <a:gd name="T58" fmla="*/ 27 w 1722"/>
                <a:gd name="T59" fmla="*/ 101 h 1956"/>
                <a:gd name="T60" fmla="*/ 5 w 1722"/>
                <a:gd name="T61" fmla="*/ 98 h 1956"/>
                <a:gd name="T62" fmla="*/ 2 w 1722"/>
                <a:gd name="T63" fmla="*/ 93 h 1956"/>
                <a:gd name="T64" fmla="*/ 12 w 1722"/>
                <a:gd name="T65" fmla="*/ 82 h 1956"/>
                <a:gd name="T66" fmla="*/ 9 w 1722"/>
                <a:gd name="T67" fmla="*/ 74 h 1956"/>
                <a:gd name="T68" fmla="*/ 23 w 1722"/>
                <a:gd name="T69" fmla="*/ 72 h 1956"/>
                <a:gd name="T70" fmla="*/ 22 w 1722"/>
                <a:gd name="T71" fmla="*/ 67 h 1956"/>
                <a:gd name="T72" fmla="*/ 48 w 1722"/>
                <a:gd name="T73" fmla="*/ 57 h 1956"/>
                <a:gd name="T74" fmla="*/ 78 w 1722"/>
                <a:gd name="T75" fmla="*/ 34 h 1956"/>
                <a:gd name="T76" fmla="*/ 81 w 1722"/>
                <a:gd name="T77" fmla="*/ 31 h 1956"/>
                <a:gd name="T78" fmla="*/ 80 w 1722"/>
                <a:gd name="T79" fmla="*/ 26 h 1956"/>
                <a:gd name="T80" fmla="*/ 78 w 1722"/>
                <a:gd name="T81" fmla="*/ 21 h 1956"/>
                <a:gd name="T82" fmla="*/ 77 w 1722"/>
                <a:gd name="T83" fmla="*/ 18 h 1956"/>
                <a:gd name="T84" fmla="*/ 77 w 1722"/>
                <a:gd name="T85" fmla="*/ 12 h 1956"/>
                <a:gd name="T86" fmla="*/ 77 w 1722"/>
                <a:gd name="T87" fmla="*/ 7 h 1956"/>
                <a:gd name="T88" fmla="*/ 102 w 1722"/>
                <a:gd name="T89" fmla="*/ 2 h 1956"/>
                <a:gd name="T90" fmla="*/ 115 w 1722"/>
                <a:gd name="T91" fmla="*/ 3 h 1956"/>
                <a:gd name="T92" fmla="*/ 123 w 1722"/>
                <a:gd name="T93" fmla="*/ 3 h 1956"/>
                <a:gd name="T94" fmla="*/ 125 w 1722"/>
                <a:gd name="T95" fmla="*/ 9 h 1956"/>
                <a:gd name="T96" fmla="*/ 133 w 1722"/>
                <a:gd name="T97" fmla="*/ 13 h 1956"/>
                <a:gd name="T98" fmla="*/ 149 w 1722"/>
                <a:gd name="T99" fmla="*/ 37 h 1956"/>
                <a:gd name="T100" fmla="*/ 141 w 1722"/>
                <a:gd name="T101" fmla="*/ 57 h 1956"/>
                <a:gd name="T102" fmla="*/ 135 w 1722"/>
                <a:gd name="T103" fmla="*/ 63 h 1956"/>
                <a:gd name="T104" fmla="*/ 124 w 1722"/>
                <a:gd name="T105" fmla="*/ 77 h 1956"/>
                <a:gd name="T106" fmla="*/ 123 w 1722"/>
                <a:gd name="T107" fmla="*/ 96 h 1956"/>
                <a:gd name="T108" fmla="*/ 127 w 1722"/>
                <a:gd name="T109" fmla="*/ 97 h 1956"/>
                <a:gd name="T110" fmla="*/ 129 w 1722"/>
                <a:gd name="T111" fmla="*/ 92 h 1956"/>
                <a:gd name="T112" fmla="*/ 134 w 1722"/>
                <a:gd name="T113" fmla="*/ 94 h 1956"/>
                <a:gd name="T114" fmla="*/ 138 w 1722"/>
                <a:gd name="T115" fmla="*/ 99 h 1956"/>
                <a:gd name="T116" fmla="*/ 142 w 1722"/>
                <a:gd name="T117" fmla="*/ 104 h 1956"/>
                <a:gd name="T118" fmla="*/ 141 w 1722"/>
                <a:gd name="T119" fmla="*/ 115 h 19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722"/>
                <a:gd name="T181" fmla="*/ 0 h 1956"/>
                <a:gd name="T182" fmla="*/ 1722 w 1722"/>
                <a:gd name="T183" fmla="*/ 1956 h 19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722" h="1956">
                  <a:moveTo>
                    <a:pt x="1686" y="1404"/>
                  </a:moveTo>
                  <a:lnTo>
                    <a:pt x="1680" y="1416"/>
                  </a:lnTo>
                  <a:lnTo>
                    <a:pt x="1674" y="1422"/>
                  </a:lnTo>
                  <a:lnTo>
                    <a:pt x="1674" y="1428"/>
                  </a:lnTo>
                  <a:lnTo>
                    <a:pt x="1668" y="1428"/>
                  </a:lnTo>
                  <a:lnTo>
                    <a:pt x="1668" y="1434"/>
                  </a:lnTo>
                  <a:lnTo>
                    <a:pt x="1662" y="1446"/>
                  </a:lnTo>
                  <a:lnTo>
                    <a:pt x="1656" y="1464"/>
                  </a:lnTo>
                  <a:lnTo>
                    <a:pt x="1656" y="1476"/>
                  </a:lnTo>
                  <a:lnTo>
                    <a:pt x="1656" y="1488"/>
                  </a:lnTo>
                  <a:lnTo>
                    <a:pt x="1662" y="1500"/>
                  </a:lnTo>
                  <a:lnTo>
                    <a:pt x="1662" y="1506"/>
                  </a:lnTo>
                  <a:lnTo>
                    <a:pt x="1662" y="1524"/>
                  </a:lnTo>
                  <a:lnTo>
                    <a:pt x="1668" y="1542"/>
                  </a:lnTo>
                  <a:lnTo>
                    <a:pt x="1674" y="1560"/>
                  </a:lnTo>
                  <a:lnTo>
                    <a:pt x="1680" y="1578"/>
                  </a:lnTo>
                  <a:lnTo>
                    <a:pt x="1686" y="1578"/>
                  </a:lnTo>
                  <a:lnTo>
                    <a:pt x="1686" y="1584"/>
                  </a:lnTo>
                  <a:lnTo>
                    <a:pt x="1686" y="1590"/>
                  </a:lnTo>
                  <a:lnTo>
                    <a:pt x="1686" y="1596"/>
                  </a:lnTo>
                  <a:lnTo>
                    <a:pt x="1680" y="1596"/>
                  </a:lnTo>
                  <a:lnTo>
                    <a:pt x="1674" y="1602"/>
                  </a:lnTo>
                  <a:lnTo>
                    <a:pt x="1662" y="1602"/>
                  </a:lnTo>
                  <a:lnTo>
                    <a:pt x="1638" y="1596"/>
                  </a:lnTo>
                  <a:lnTo>
                    <a:pt x="1632" y="1596"/>
                  </a:lnTo>
                  <a:lnTo>
                    <a:pt x="1626" y="1602"/>
                  </a:lnTo>
                  <a:lnTo>
                    <a:pt x="1620" y="1602"/>
                  </a:lnTo>
                  <a:lnTo>
                    <a:pt x="1614" y="1602"/>
                  </a:lnTo>
                  <a:lnTo>
                    <a:pt x="1602" y="1602"/>
                  </a:lnTo>
                  <a:lnTo>
                    <a:pt x="1602" y="1608"/>
                  </a:lnTo>
                  <a:lnTo>
                    <a:pt x="1602" y="1620"/>
                  </a:lnTo>
                  <a:lnTo>
                    <a:pt x="1596" y="1620"/>
                  </a:lnTo>
                  <a:lnTo>
                    <a:pt x="1590" y="1620"/>
                  </a:lnTo>
                  <a:lnTo>
                    <a:pt x="1584" y="1626"/>
                  </a:lnTo>
                  <a:lnTo>
                    <a:pt x="1584" y="1632"/>
                  </a:lnTo>
                  <a:lnTo>
                    <a:pt x="1578" y="1644"/>
                  </a:lnTo>
                  <a:lnTo>
                    <a:pt x="1572" y="1644"/>
                  </a:lnTo>
                  <a:lnTo>
                    <a:pt x="1566" y="1644"/>
                  </a:lnTo>
                  <a:lnTo>
                    <a:pt x="1566" y="1650"/>
                  </a:lnTo>
                  <a:lnTo>
                    <a:pt x="1560" y="1650"/>
                  </a:lnTo>
                  <a:lnTo>
                    <a:pt x="1554" y="1650"/>
                  </a:lnTo>
                  <a:lnTo>
                    <a:pt x="1548" y="1650"/>
                  </a:lnTo>
                  <a:lnTo>
                    <a:pt x="1548" y="1656"/>
                  </a:lnTo>
                  <a:lnTo>
                    <a:pt x="1542" y="1668"/>
                  </a:lnTo>
                  <a:lnTo>
                    <a:pt x="1542" y="1674"/>
                  </a:lnTo>
                  <a:lnTo>
                    <a:pt x="1542" y="1692"/>
                  </a:lnTo>
                  <a:lnTo>
                    <a:pt x="1536" y="1698"/>
                  </a:lnTo>
                  <a:lnTo>
                    <a:pt x="1530" y="1698"/>
                  </a:lnTo>
                  <a:lnTo>
                    <a:pt x="1524" y="1698"/>
                  </a:lnTo>
                  <a:lnTo>
                    <a:pt x="1518" y="1704"/>
                  </a:lnTo>
                  <a:lnTo>
                    <a:pt x="1512" y="1710"/>
                  </a:lnTo>
                  <a:lnTo>
                    <a:pt x="1506" y="1722"/>
                  </a:lnTo>
                  <a:lnTo>
                    <a:pt x="1500" y="1728"/>
                  </a:lnTo>
                  <a:lnTo>
                    <a:pt x="1500" y="1734"/>
                  </a:lnTo>
                  <a:lnTo>
                    <a:pt x="1512" y="1734"/>
                  </a:lnTo>
                  <a:lnTo>
                    <a:pt x="1518" y="1740"/>
                  </a:lnTo>
                  <a:lnTo>
                    <a:pt x="1518" y="1746"/>
                  </a:lnTo>
                  <a:lnTo>
                    <a:pt x="1518" y="1752"/>
                  </a:lnTo>
                  <a:lnTo>
                    <a:pt x="1518" y="1758"/>
                  </a:lnTo>
                  <a:lnTo>
                    <a:pt x="1524" y="1758"/>
                  </a:lnTo>
                  <a:lnTo>
                    <a:pt x="1524" y="1764"/>
                  </a:lnTo>
                  <a:lnTo>
                    <a:pt x="1530" y="1770"/>
                  </a:lnTo>
                  <a:lnTo>
                    <a:pt x="1518" y="1770"/>
                  </a:lnTo>
                  <a:lnTo>
                    <a:pt x="1512" y="1782"/>
                  </a:lnTo>
                  <a:lnTo>
                    <a:pt x="1512" y="1788"/>
                  </a:lnTo>
                  <a:lnTo>
                    <a:pt x="1518" y="1788"/>
                  </a:lnTo>
                  <a:lnTo>
                    <a:pt x="1524" y="1800"/>
                  </a:lnTo>
                  <a:lnTo>
                    <a:pt x="1524" y="1806"/>
                  </a:lnTo>
                  <a:lnTo>
                    <a:pt x="1518" y="1812"/>
                  </a:lnTo>
                  <a:lnTo>
                    <a:pt x="1512" y="1818"/>
                  </a:lnTo>
                  <a:lnTo>
                    <a:pt x="1506" y="1818"/>
                  </a:lnTo>
                  <a:lnTo>
                    <a:pt x="1500" y="1824"/>
                  </a:lnTo>
                  <a:lnTo>
                    <a:pt x="1500" y="1836"/>
                  </a:lnTo>
                  <a:lnTo>
                    <a:pt x="1500" y="1842"/>
                  </a:lnTo>
                  <a:lnTo>
                    <a:pt x="1500" y="1848"/>
                  </a:lnTo>
                  <a:lnTo>
                    <a:pt x="1500" y="1854"/>
                  </a:lnTo>
                  <a:lnTo>
                    <a:pt x="1494" y="1860"/>
                  </a:lnTo>
                  <a:lnTo>
                    <a:pt x="1488" y="1860"/>
                  </a:lnTo>
                  <a:lnTo>
                    <a:pt x="1488" y="1866"/>
                  </a:lnTo>
                  <a:lnTo>
                    <a:pt x="1482" y="1872"/>
                  </a:lnTo>
                  <a:lnTo>
                    <a:pt x="1482" y="1878"/>
                  </a:lnTo>
                  <a:lnTo>
                    <a:pt x="1482" y="1884"/>
                  </a:lnTo>
                  <a:lnTo>
                    <a:pt x="1476" y="1890"/>
                  </a:lnTo>
                  <a:lnTo>
                    <a:pt x="1470" y="1890"/>
                  </a:lnTo>
                  <a:lnTo>
                    <a:pt x="1470" y="1896"/>
                  </a:lnTo>
                  <a:lnTo>
                    <a:pt x="1464" y="1896"/>
                  </a:lnTo>
                  <a:lnTo>
                    <a:pt x="1458" y="1896"/>
                  </a:lnTo>
                  <a:lnTo>
                    <a:pt x="1452" y="1896"/>
                  </a:lnTo>
                  <a:lnTo>
                    <a:pt x="1440" y="1890"/>
                  </a:lnTo>
                  <a:lnTo>
                    <a:pt x="1434" y="1896"/>
                  </a:lnTo>
                  <a:lnTo>
                    <a:pt x="1428" y="1896"/>
                  </a:lnTo>
                  <a:lnTo>
                    <a:pt x="1422" y="1896"/>
                  </a:lnTo>
                  <a:lnTo>
                    <a:pt x="1422" y="1902"/>
                  </a:lnTo>
                  <a:lnTo>
                    <a:pt x="1416" y="1902"/>
                  </a:lnTo>
                  <a:lnTo>
                    <a:pt x="1422" y="1914"/>
                  </a:lnTo>
                  <a:lnTo>
                    <a:pt x="1422" y="1932"/>
                  </a:lnTo>
                  <a:lnTo>
                    <a:pt x="1416" y="1938"/>
                  </a:lnTo>
                  <a:lnTo>
                    <a:pt x="1422" y="1938"/>
                  </a:lnTo>
                  <a:lnTo>
                    <a:pt x="1404" y="1938"/>
                  </a:lnTo>
                  <a:lnTo>
                    <a:pt x="1392" y="1944"/>
                  </a:lnTo>
                  <a:lnTo>
                    <a:pt x="1386" y="1944"/>
                  </a:lnTo>
                  <a:lnTo>
                    <a:pt x="1374" y="1944"/>
                  </a:lnTo>
                  <a:lnTo>
                    <a:pt x="1368" y="1950"/>
                  </a:lnTo>
                  <a:lnTo>
                    <a:pt x="1374" y="1956"/>
                  </a:lnTo>
                  <a:lnTo>
                    <a:pt x="1368" y="1956"/>
                  </a:lnTo>
                  <a:lnTo>
                    <a:pt x="1356" y="1956"/>
                  </a:lnTo>
                  <a:lnTo>
                    <a:pt x="1350" y="1956"/>
                  </a:lnTo>
                  <a:lnTo>
                    <a:pt x="1350" y="1950"/>
                  </a:lnTo>
                  <a:lnTo>
                    <a:pt x="1344" y="1944"/>
                  </a:lnTo>
                  <a:lnTo>
                    <a:pt x="1332" y="1938"/>
                  </a:lnTo>
                  <a:lnTo>
                    <a:pt x="1326" y="1938"/>
                  </a:lnTo>
                  <a:lnTo>
                    <a:pt x="1320" y="1938"/>
                  </a:lnTo>
                  <a:lnTo>
                    <a:pt x="1314" y="1944"/>
                  </a:lnTo>
                  <a:lnTo>
                    <a:pt x="1308" y="1944"/>
                  </a:lnTo>
                  <a:lnTo>
                    <a:pt x="1302" y="1944"/>
                  </a:lnTo>
                  <a:lnTo>
                    <a:pt x="1296" y="1938"/>
                  </a:lnTo>
                  <a:lnTo>
                    <a:pt x="1284" y="1938"/>
                  </a:lnTo>
                  <a:lnTo>
                    <a:pt x="1278" y="1938"/>
                  </a:lnTo>
                  <a:lnTo>
                    <a:pt x="1272" y="1938"/>
                  </a:lnTo>
                  <a:lnTo>
                    <a:pt x="1266" y="1932"/>
                  </a:lnTo>
                  <a:lnTo>
                    <a:pt x="1260" y="1932"/>
                  </a:lnTo>
                  <a:lnTo>
                    <a:pt x="1254" y="1920"/>
                  </a:lnTo>
                  <a:lnTo>
                    <a:pt x="1248" y="1920"/>
                  </a:lnTo>
                  <a:lnTo>
                    <a:pt x="1242" y="1920"/>
                  </a:lnTo>
                  <a:lnTo>
                    <a:pt x="1236" y="1926"/>
                  </a:lnTo>
                  <a:lnTo>
                    <a:pt x="1236" y="1932"/>
                  </a:lnTo>
                  <a:lnTo>
                    <a:pt x="1230" y="1932"/>
                  </a:lnTo>
                  <a:lnTo>
                    <a:pt x="1224" y="1932"/>
                  </a:lnTo>
                  <a:lnTo>
                    <a:pt x="1218" y="1938"/>
                  </a:lnTo>
                  <a:lnTo>
                    <a:pt x="1212" y="1932"/>
                  </a:lnTo>
                  <a:lnTo>
                    <a:pt x="1206" y="1926"/>
                  </a:lnTo>
                  <a:lnTo>
                    <a:pt x="1206" y="1908"/>
                  </a:lnTo>
                  <a:lnTo>
                    <a:pt x="1206" y="1884"/>
                  </a:lnTo>
                  <a:lnTo>
                    <a:pt x="1206" y="1866"/>
                  </a:lnTo>
                  <a:lnTo>
                    <a:pt x="1212" y="1848"/>
                  </a:lnTo>
                  <a:lnTo>
                    <a:pt x="1212" y="1842"/>
                  </a:lnTo>
                  <a:lnTo>
                    <a:pt x="1206" y="1836"/>
                  </a:lnTo>
                  <a:lnTo>
                    <a:pt x="1200" y="1830"/>
                  </a:lnTo>
                  <a:lnTo>
                    <a:pt x="1194" y="1824"/>
                  </a:lnTo>
                  <a:lnTo>
                    <a:pt x="1188" y="1824"/>
                  </a:lnTo>
                  <a:lnTo>
                    <a:pt x="1182" y="1824"/>
                  </a:lnTo>
                  <a:lnTo>
                    <a:pt x="1176" y="1824"/>
                  </a:lnTo>
                  <a:lnTo>
                    <a:pt x="1170" y="1818"/>
                  </a:lnTo>
                  <a:lnTo>
                    <a:pt x="1164" y="1830"/>
                  </a:lnTo>
                  <a:lnTo>
                    <a:pt x="1152" y="1836"/>
                  </a:lnTo>
                  <a:lnTo>
                    <a:pt x="1146" y="1842"/>
                  </a:lnTo>
                  <a:lnTo>
                    <a:pt x="1140" y="1842"/>
                  </a:lnTo>
                  <a:lnTo>
                    <a:pt x="1134" y="1842"/>
                  </a:lnTo>
                  <a:lnTo>
                    <a:pt x="1128" y="1842"/>
                  </a:lnTo>
                  <a:lnTo>
                    <a:pt x="1116" y="1836"/>
                  </a:lnTo>
                  <a:lnTo>
                    <a:pt x="1110" y="1842"/>
                  </a:lnTo>
                  <a:lnTo>
                    <a:pt x="1092" y="1830"/>
                  </a:lnTo>
                  <a:lnTo>
                    <a:pt x="1092" y="1824"/>
                  </a:lnTo>
                  <a:lnTo>
                    <a:pt x="1092" y="1806"/>
                  </a:lnTo>
                  <a:lnTo>
                    <a:pt x="1092" y="1800"/>
                  </a:lnTo>
                  <a:lnTo>
                    <a:pt x="1092" y="1794"/>
                  </a:lnTo>
                  <a:lnTo>
                    <a:pt x="1086" y="1788"/>
                  </a:lnTo>
                  <a:lnTo>
                    <a:pt x="1080" y="1794"/>
                  </a:lnTo>
                  <a:lnTo>
                    <a:pt x="1074" y="1788"/>
                  </a:lnTo>
                  <a:lnTo>
                    <a:pt x="1068" y="1770"/>
                  </a:lnTo>
                  <a:lnTo>
                    <a:pt x="1056" y="1764"/>
                  </a:lnTo>
                  <a:lnTo>
                    <a:pt x="1050" y="1764"/>
                  </a:lnTo>
                  <a:lnTo>
                    <a:pt x="1044" y="1764"/>
                  </a:lnTo>
                  <a:lnTo>
                    <a:pt x="1038" y="1758"/>
                  </a:lnTo>
                  <a:lnTo>
                    <a:pt x="1032" y="1752"/>
                  </a:lnTo>
                  <a:lnTo>
                    <a:pt x="1032" y="1746"/>
                  </a:lnTo>
                  <a:lnTo>
                    <a:pt x="1032" y="1740"/>
                  </a:lnTo>
                  <a:lnTo>
                    <a:pt x="1032" y="1734"/>
                  </a:lnTo>
                  <a:lnTo>
                    <a:pt x="1026" y="1734"/>
                  </a:lnTo>
                  <a:lnTo>
                    <a:pt x="1032" y="1728"/>
                  </a:lnTo>
                  <a:lnTo>
                    <a:pt x="1032" y="1722"/>
                  </a:lnTo>
                  <a:lnTo>
                    <a:pt x="1044" y="1686"/>
                  </a:lnTo>
                  <a:lnTo>
                    <a:pt x="1044" y="1680"/>
                  </a:lnTo>
                  <a:lnTo>
                    <a:pt x="1032" y="1674"/>
                  </a:lnTo>
                  <a:lnTo>
                    <a:pt x="1026" y="1674"/>
                  </a:lnTo>
                  <a:lnTo>
                    <a:pt x="1026" y="1668"/>
                  </a:lnTo>
                  <a:lnTo>
                    <a:pt x="1020" y="1662"/>
                  </a:lnTo>
                  <a:lnTo>
                    <a:pt x="1014" y="1668"/>
                  </a:lnTo>
                  <a:lnTo>
                    <a:pt x="1008" y="1662"/>
                  </a:lnTo>
                  <a:lnTo>
                    <a:pt x="1002" y="1662"/>
                  </a:lnTo>
                  <a:lnTo>
                    <a:pt x="1002" y="1668"/>
                  </a:lnTo>
                  <a:lnTo>
                    <a:pt x="996" y="1668"/>
                  </a:lnTo>
                  <a:lnTo>
                    <a:pt x="996" y="1662"/>
                  </a:lnTo>
                  <a:lnTo>
                    <a:pt x="984" y="1662"/>
                  </a:lnTo>
                  <a:lnTo>
                    <a:pt x="984" y="1656"/>
                  </a:lnTo>
                  <a:lnTo>
                    <a:pt x="978" y="1650"/>
                  </a:lnTo>
                  <a:lnTo>
                    <a:pt x="978" y="1644"/>
                  </a:lnTo>
                  <a:lnTo>
                    <a:pt x="966" y="1650"/>
                  </a:lnTo>
                  <a:lnTo>
                    <a:pt x="960" y="1638"/>
                  </a:lnTo>
                  <a:lnTo>
                    <a:pt x="954" y="1632"/>
                  </a:lnTo>
                  <a:lnTo>
                    <a:pt x="948" y="1632"/>
                  </a:lnTo>
                  <a:lnTo>
                    <a:pt x="942" y="1626"/>
                  </a:lnTo>
                  <a:lnTo>
                    <a:pt x="942" y="1614"/>
                  </a:lnTo>
                  <a:lnTo>
                    <a:pt x="930" y="1608"/>
                  </a:lnTo>
                  <a:lnTo>
                    <a:pt x="924" y="1614"/>
                  </a:lnTo>
                  <a:lnTo>
                    <a:pt x="912" y="1608"/>
                  </a:lnTo>
                  <a:lnTo>
                    <a:pt x="888" y="1590"/>
                  </a:lnTo>
                  <a:lnTo>
                    <a:pt x="894" y="1578"/>
                  </a:lnTo>
                  <a:lnTo>
                    <a:pt x="894" y="1572"/>
                  </a:lnTo>
                  <a:lnTo>
                    <a:pt x="894" y="1566"/>
                  </a:lnTo>
                  <a:lnTo>
                    <a:pt x="894" y="1548"/>
                  </a:lnTo>
                  <a:lnTo>
                    <a:pt x="888" y="1548"/>
                  </a:lnTo>
                  <a:lnTo>
                    <a:pt x="882" y="1542"/>
                  </a:lnTo>
                  <a:lnTo>
                    <a:pt x="876" y="1542"/>
                  </a:lnTo>
                  <a:lnTo>
                    <a:pt x="876" y="1536"/>
                  </a:lnTo>
                  <a:lnTo>
                    <a:pt x="870" y="1542"/>
                  </a:lnTo>
                  <a:lnTo>
                    <a:pt x="870" y="1554"/>
                  </a:lnTo>
                  <a:lnTo>
                    <a:pt x="870" y="1566"/>
                  </a:lnTo>
                  <a:lnTo>
                    <a:pt x="870" y="1578"/>
                  </a:lnTo>
                  <a:lnTo>
                    <a:pt x="870" y="1584"/>
                  </a:lnTo>
                  <a:lnTo>
                    <a:pt x="864" y="1584"/>
                  </a:lnTo>
                  <a:lnTo>
                    <a:pt x="870" y="1602"/>
                  </a:lnTo>
                  <a:lnTo>
                    <a:pt x="864" y="1608"/>
                  </a:lnTo>
                  <a:lnTo>
                    <a:pt x="870" y="1614"/>
                  </a:lnTo>
                  <a:lnTo>
                    <a:pt x="864" y="1644"/>
                  </a:lnTo>
                  <a:lnTo>
                    <a:pt x="858" y="1650"/>
                  </a:lnTo>
                  <a:lnTo>
                    <a:pt x="858" y="1656"/>
                  </a:lnTo>
                  <a:lnTo>
                    <a:pt x="852" y="1662"/>
                  </a:lnTo>
                  <a:lnTo>
                    <a:pt x="852" y="1680"/>
                  </a:lnTo>
                  <a:lnTo>
                    <a:pt x="846" y="1686"/>
                  </a:lnTo>
                  <a:lnTo>
                    <a:pt x="834" y="1692"/>
                  </a:lnTo>
                  <a:lnTo>
                    <a:pt x="828" y="1692"/>
                  </a:lnTo>
                  <a:lnTo>
                    <a:pt x="822" y="1698"/>
                  </a:lnTo>
                  <a:lnTo>
                    <a:pt x="822" y="1704"/>
                  </a:lnTo>
                  <a:lnTo>
                    <a:pt x="816" y="1704"/>
                  </a:lnTo>
                  <a:lnTo>
                    <a:pt x="804" y="1692"/>
                  </a:lnTo>
                  <a:lnTo>
                    <a:pt x="786" y="1698"/>
                  </a:lnTo>
                  <a:lnTo>
                    <a:pt x="780" y="1698"/>
                  </a:lnTo>
                  <a:lnTo>
                    <a:pt x="756" y="1698"/>
                  </a:lnTo>
                  <a:lnTo>
                    <a:pt x="744" y="1698"/>
                  </a:lnTo>
                  <a:lnTo>
                    <a:pt x="738" y="1698"/>
                  </a:lnTo>
                  <a:lnTo>
                    <a:pt x="732" y="1704"/>
                  </a:lnTo>
                  <a:lnTo>
                    <a:pt x="726" y="1704"/>
                  </a:lnTo>
                  <a:lnTo>
                    <a:pt x="678" y="1710"/>
                  </a:lnTo>
                  <a:lnTo>
                    <a:pt x="642" y="1710"/>
                  </a:lnTo>
                  <a:lnTo>
                    <a:pt x="618" y="1680"/>
                  </a:lnTo>
                  <a:lnTo>
                    <a:pt x="618" y="1674"/>
                  </a:lnTo>
                  <a:lnTo>
                    <a:pt x="618" y="1668"/>
                  </a:lnTo>
                  <a:lnTo>
                    <a:pt x="624" y="1662"/>
                  </a:lnTo>
                  <a:lnTo>
                    <a:pt x="624" y="1656"/>
                  </a:lnTo>
                  <a:lnTo>
                    <a:pt x="624" y="1650"/>
                  </a:lnTo>
                  <a:lnTo>
                    <a:pt x="618" y="1650"/>
                  </a:lnTo>
                  <a:lnTo>
                    <a:pt x="618" y="1644"/>
                  </a:lnTo>
                  <a:lnTo>
                    <a:pt x="618" y="1638"/>
                  </a:lnTo>
                  <a:lnTo>
                    <a:pt x="618" y="1632"/>
                  </a:lnTo>
                  <a:lnTo>
                    <a:pt x="618" y="1626"/>
                  </a:lnTo>
                  <a:lnTo>
                    <a:pt x="612" y="1626"/>
                  </a:lnTo>
                  <a:lnTo>
                    <a:pt x="612" y="1620"/>
                  </a:lnTo>
                  <a:lnTo>
                    <a:pt x="606" y="1614"/>
                  </a:lnTo>
                  <a:lnTo>
                    <a:pt x="594" y="1626"/>
                  </a:lnTo>
                  <a:lnTo>
                    <a:pt x="594" y="1632"/>
                  </a:lnTo>
                  <a:lnTo>
                    <a:pt x="588" y="1638"/>
                  </a:lnTo>
                  <a:lnTo>
                    <a:pt x="582" y="1638"/>
                  </a:lnTo>
                  <a:lnTo>
                    <a:pt x="564" y="1656"/>
                  </a:lnTo>
                  <a:lnTo>
                    <a:pt x="558" y="1662"/>
                  </a:lnTo>
                  <a:lnTo>
                    <a:pt x="552" y="1662"/>
                  </a:lnTo>
                  <a:lnTo>
                    <a:pt x="540" y="1674"/>
                  </a:lnTo>
                  <a:lnTo>
                    <a:pt x="534" y="1680"/>
                  </a:lnTo>
                  <a:lnTo>
                    <a:pt x="522" y="1692"/>
                  </a:lnTo>
                  <a:lnTo>
                    <a:pt x="516" y="1704"/>
                  </a:lnTo>
                  <a:lnTo>
                    <a:pt x="510" y="1704"/>
                  </a:lnTo>
                  <a:lnTo>
                    <a:pt x="504" y="1704"/>
                  </a:lnTo>
                  <a:lnTo>
                    <a:pt x="486" y="1722"/>
                  </a:lnTo>
                  <a:lnTo>
                    <a:pt x="480" y="1740"/>
                  </a:lnTo>
                  <a:lnTo>
                    <a:pt x="474" y="1740"/>
                  </a:lnTo>
                  <a:lnTo>
                    <a:pt x="468" y="1746"/>
                  </a:lnTo>
                  <a:lnTo>
                    <a:pt x="456" y="1758"/>
                  </a:lnTo>
                  <a:lnTo>
                    <a:pt x="444" y="1770"/>
                  </a:lnTo>
                  <a:lnTo>
                    <a:pt x="438" y="1782"/>
                  </a:lnTo>
                  <a:lnTo>
                    <a:pt x="426" y="1788"/>
                  </a:lnTo>
                  <a:lnTo>
                    <a:pt x="420" y="1788"/>
                  </a:lnTo>
                  <a:lnTo>
                    <a:pt x="420" y="1782"/>
                  </a:lnTo>
                  <a:lnTo>
                    <a:pt x="414" y="1782"/>
                  </a:lnTo>
                  <a:lnTo>
                    <a:pt x="390" y="1782"/>
                  </a:lnTo>
                  <a:lnTo>
                    <a:pt x="390" y="1776"/>
                  </a:lnTo>
                  <a:lnTo>
                    <a:pt x="384" y="1776"/>
                  </a:lnTo>
                  <a:lnTo>
                    <a:pt x="378" y="1776"/>
                  </a:lnTo>
                  <a:lnTo>
                    <a:pt x="372" y="1776"/>
                  </a:lnTo>
                  <a:lnTo>
                    <a:pt x="366" y="1770"/>
                  </a:lnTo>
                  <a:lnTo>
                    <a:pt x="366" y="1776"/>
                  </a:lnTo>
                  <a:lnTo>
                    <a:pt x="360" y="1788"/>
                  </a:lnTo>
                  <a:lnTo>
                    <a:pt x="360" y="1794"/>
                  </a:lnTo>
                  <a:lnTo>
                    <a:pt x="360" y="1800"/>
                  </a:lnTo>
                  <a:lnTo>
                    <a:pt x="354" y="1806"/>
                  </a:lnTo>
                  <a:lnTo>
                    <a:pt x="354" y="1812"/>
                  </a:lnTo>
                  <a:lnTo>
                    <a:pt x="354" y="1824"/>
                  </a:lnTo>
                  <a:lnTo>
                    <a:pt x="348" y="1830"/>
                  </a:lnTo>
                  <a:lnTo>
                    <a:pt x="354" y="1836"/>
                  </a:lnTo>
                  <a:lnTo>
                    <a:pt x="348" y="1842"/>
                  </a:lnTo>
                  <a:lnTo>
                    <a:pt x="354" y="1848"/>
                  </a:lnTo>
                  <a:lnTo>
                    <a:pt x="348" y="1854"/>
                  </a:lnTo>
                  <a:lnTo>
                    <a:pt x="354" y="1854"/>
                  </a:lnTo>
                  <a:lnTo>
                    <a:pt x="348" y="1860"/>
                  </a:lnTo>
                  <a:lnTo>
                    <a:pt x="348" y="1866"/>
                  </a:lnTo>
                  <a:lnTo>
                    <a:pt x="342" y="1866"/>
                  </a:lnTo>
                  <a:lnTo>
                    <a:pt x="342" y="1872"/>
                  </a:lnTo>
                  <a:lnTo>
                    <a:pt x="342" y="1878"/>
                  </a:lnTo>
                  <a:lnTo>
                    <a:pt x="342" y="1884"/>
                  </a:lnTo>
                  <a:lnTo>
                    <a:pt x="336" y="1896"/>
                  </a:lnTo>
                  <a:lnTo>
                    <a:pt x="330" y="1914"/>
                  </a:lnTo>
                  <a:lnTo>
                    <a:pt x="324" y="1920"/>
                  </a:lnTo>
                  <a:lnTo>
                    <a:pt x="324" y="1926"/>
                  </a:lnTo>
                  <a:lnTo>
                    <a:pt x="318" y="1944"/>
                  </a:lnTo>
                  <a:lnTo>
                    <a:pt x="318" y="1950"/>
                  </a:lnTo>
                  <a:lnTo>
                    <a:pt x="312" y="1956"/>
                  </a:lnTo>
                  <a:lnTo>
                    <a:pt x="312" y="1950"/>
                  </a:lnTo>
                  <a:lnTo>
                    <a:pt x="306" y="1950"/>
                  </a:lnTo>
                  <a:lnTo>
                    <a:pt x="306" y="1956"/>
                  </a:lnTo>
                  <a:lnTo>
                    <a:pt x="300" y="1950"/>
                  </a:lnTo>
                  <a:lnTo>
                    <a:pt x="294" y="1956"/>
                  </a:lnTo>
                  <a:lnTo>
                    <a:pt x="288" y="1950"/>
                  </a:lnTo>
                  <a:lnTo>
                    <a:pt x="288" y="1944"/>
                  </a:lnTo>
                  <a:lnTo>
                    <a:pt x="282" y="1938"/>
                  </a:lnTo>
                  <a:lnTo>
                    <a:pt x="282" y="1932"/>
                  </a:lnTo>
                  <a:lnTo>
                    <a:pt x="282" y="1890"/>
                  </a:lnTo>
                  <a:lnTo>
                    <a:pt x="288" y="1860"/>
                  </a:lnTo>
                  <a:lnTo>
                    <a:pt x="294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300" y="1818"/>
                  </a:lnTo>
                  <a:lnTo>
                    <a:pt x="306" y="1794"/>
                  </a:lnTo>
                  <a:lnTo>
                    <a:pt x="306" y="1788"/>
                  </a:lnTo>
                  <a:lnTo>
                    <a:pt x="306" y="1782"/>
                  </a:lnTo>
                  <a:lnTo>
                    <a:pt x="312" y="1776"/>
                  </a:lnTo>
                  <a:lnTo>
                    <a:pt x="306" y="1776"/>
                  </a:lnTo>
                  <a:lnTo>
                    <a:pt x="312" y="1770"/>
                  </a:lnTo>
                  <a:lnTo>
                    <a:pt x="312" y="1740"/>
                  </a:lnTo>
                  <a:lnTo>
                    <a:pt x="318" y="1722"/>
                  </a:lnTo>
                  <a:lnTo>
                    <a:pt x="312" y="1722"/>
                  </a:lnTo>
                  <a:lnTo>
                    <a:pt x="300" y="1716"/>
                  </a:lnTo>
                  <a:lnTo>
                    <a:pt x="306" y="1716"/>
                  </a:lnTo>
                  <a:lnTo>
                    <a:pt x="312" y="1710"/>
                  </a:lnTo>
                  <a:lnTo>
                    <a:pt x="324" y="1674"/>
                  </a:lnTo>
                  <a:lnTo>
                    <a:pt x="366" y="1590"/>
                  </a:lnTo>
                  <a:lnTo>
                    <a:pt x="408" y="1548"/>
                  </a:lnTo>
                  <a:lnTo>
                    <a:pt x="426" y="1530"/>
                  </a:lnTo>
                  <a:lnTo>
                    <a:pt x="432" y="1500"/>
                  </a:lnTo>
                  <a:lnTo>
                    <a:pt x="426" y="1494"/>
                  </a:lnTo>
                  <a:lnTo>
                    <a:pt x="426" y="1482"/>
                  </a:lnTo>
                  <a:lnTo>
                    <a:pt x="432" y="1464"/>
                  </a:lnTo>
                  <a:lnTo>
                    <a:pt x="438" y="1428"/>
                  </a:lnTo>
                  <a:lnTo>
                    <a:pt x="462" y="1398"/>
                  </a:lnTo>
                  <a:lnTo>
                    <a:pt x="468" y="1362"/>
                  </a:lnTo>
                  <a:lnTo>
                    <a:pt x="462" y="1314"/>
                  </a:lnTo>
                  <a:lnTo>
                    <a:pt x="444" y="1284"/>
                  </a:lnTo>
                  <a:lnTo>
                    <a:pt x="432" y="1260"/>
                  </a:lnTo>
                  <a:lnTo>
                    <a:pt x="426" y="1260"/>
                  </a:lnTo>
                  <a:lnTo>
                    <a:pt x="420" y="1254"/>
                  </a:lnTo>
                  <a:lnTo>
                    <a:pt x="408" y="1260"/>
                  </a:lnTo>
                  <a:lnTo>
                    <a:pt x="402" y="1260"/>
                  </a:lnTo>
                  <a:lnTo>
                    <a:pt x="402" y="1254"/>
                  </a:lnTo>
                  <a:lnTo>
                    <a:pt x="396" y="1254"/>
                  </a:lnTo>
                  <a:lnTo>
                    <a:pt x="396" y="1248"/>
                  </a:lnTo>
                  <a:lnTo>
                    <a:pt x="384" y="1248"/>
                  </a:lnTo>
                  <a:lnTo>
                    <a:pt x="372" y="1230"/>
                  </a:lnTo>
                  <a:lnTo>
                    <a:pt x="360" y="1212"/>
                  </a:lnTo>
                  <a:lnTo>
                    <a:pt x="348" y="1188"/>
                  </a:lnTo>
                  <a:lnTo>
                    <a:pt x="324" y="1170"/>
                  </a:lnTo>
                  <a:lnTo>
                    <a:pt x="318" y="1170"/>
                  </a:lnTo>
                  <a:lnTo>
                    <a:pt x="312" y="1158"/>
                  </a:lnTo>
                  <a:lnTo>
                    <a:pt x="312" y="1152"/>
                  </a:lnTo>
                  <a:lnTo>
                    <a:pt x="306" y="1146"/>
                  </a:lnTo>
                  <a:lnTo>
                    <a:pt x="270" y="1122"/>
                  </a:lnTo>
                  <a:lnTo>
                    <a:pt x="240" y="1122"/>
                  </a:lnTo>
                  <a:lnTo>
                    <a:pt x="180" y="1116"/>
                  </a:lnTo>
                  <a:lnTo>
                    <a:pt x="174" y="1122"/>
                  </a:lnTo>
                  <a:lnTo>
                    <a:pt x="174" y="1128"/>
                  </a:lnTo>
                  <a:lnTo>
                    <a:pt x="168" y="1122"/>
                  </a:lnTo>
                  <a:lnTo>
                    <a:pt x="162" y="1116"/>
                  </a:lnTo>
                  <a:lnTo>
                    <a:pt x="144" y="1122"/>
                  </a:lnTo>
                  <a:lnTo>
                    <a:pt x="120" y="1122"/>
                  </a:lnTo>
                  <a:lnTo>
                    <a:pt x="54" y="1134"/>
                  </a:lnTo>
                  <a:lnTo>
                    <a:pt x="24" y="1152"/>
                  </a:lnTo>
                  <a:lnTo>
                    <a:pt x="6" y="1146"/>
                  </a:lnTo>
                  <a:lnTo>
                    <a:pt x="0" y="1134"/>
                  </a:lnTo>
                  <a:lnTo>
                    <a:pt x="0" y="1128"/>
                  </a:lnTo>
                  <a:lnTo>
                    <a:pt x="18" y="1110"/>
                  </a:lnTo>
                  <a:lnTo>
                    <a:pt x="24" y="1104"/>
                  </a:lnTo>
                  <a:lnTo>
                    <a:pt x="24" y="1098"/>
                  </a:lnTo>
                  <a:lnTo>
                    <a:pt x="30" y="1086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24" y="1074"/>
                  </a:lnTo>
                  <a:lnTo>
                    <a:pt x="18" y="1068"/>
                  </a:lnTo>
                  <a:lnTo>
                    <a:pt x="24" y="1062"/>
                  </a:lnTo>
                  <a:lnTo>
                    <a:pt x="42" y="1056"/>
                  </a:lnTo>
                  <a:lnTo>
                    <a:pt x="54" y="1050"/>
                  </a:lnTo>
                  <a:lnTo>
                    <a:pt x="72" y="1044"/>
                  </a:lnTo>
                  <a:lnTo>
                    <a:pt x="96" y="1032"/>
                  </a:lnTo>
                  <a:lnTo>
                    <a:pt x="102" y="1032"/>
                  </a:lnTo>
                  <a:lnTo>
                    <a:pt x="126" y="1008"/>
                  </a:lnTo>
                  <a:lnTo>
                    <a:pt x="144" y="990"/>
                  </a:lnTo>
                  <a:lnTo>
                    <a:pt x="156" y="978"/>
                  </a:lnTo>
                  <a:lnTo>
                    <a:pt x="156" y="966"/>
                  </a:lnTo>
                  <a:lnTo>
                    <a:pt x="150" y="960"/>
                  </a:lnTo>
                  <a:lnTo>
                    <a:pt x="144" y="948"/>
                  </a:lnTo>
                  <a:lnTo>
                    <a:pt x="144" y="936"/>
                  </a:lnTo>
                  <a:lnTo>
                    <a:pt x="138" y="918"/>
                  </a:lnTo>
                  <a:lnTo>
                    <a:pt x="150" y="912"/>
                  </a:lnTo>
                  <a:lnTo>
                    <a:pt x="150" y="894"/>
                  </a:lnTo>
                  <a:lnTo>
                    <a:pt x="132" y="876"/>
                  </a:lnTo>
                  <a:lnTo>
                    <a:pt x="126" y="876"/>
                  </a:lnTo>
                  <a:lnTo>
                    <a:pt x="120" y="870"/>
                  </a:lnTo>
                  <a:lnTo>
                    <a:pt x="120" y="864"/>
                  </a:lnTo>
                  <a:lnTo>
                    <a:pt x="114" y="864"/>
                  </a:lnTo>
                  <a:lnTo>
                    <a:pt x="108" y="864"/>
                  </a:lnTo>
                  <a:lnTo>
                    <a:pt x="108" y="858"/>
                  </a:lnTo>
                  <a:lnTo>
                    <a:pt x="102" y="852"/>
                  </a:lnTo>
                  <a:lnTo>
                    <a:pt x="96" y="852"/>
                  </a:lnTo>
                  <a:lnTo>
                    <a:pt x="102" y="834"/>
                  </a:lnTo>
                  <a:lnTo>
                    <a:pt x="108" y="816"/>
                  </a:lnTo>
                  <a:lnTo>
                    <a:pt x="114" y="804"/>
                  </a:lnTo>
                  <a:lnTo>
                    <a:pt x="132" y="798"/>
                  </a:lnTo>
                  <a:lnTo>
                    <a:pt x="144" y="798"/>
                  </a:lnTo>
                  <a:lnTo>
                    <a:pt x="180" y="810"/>
                  </a:lnTo>
                  <a:lnTo>
                    <a:pt x="192" y="816"/>
                  </a:lnTo>
                  <a:lnTo>
                    <a:pt x="234" y="822"/>
                  </a:lnTo>
                  <a:lnTo>
                    <a:pt x="264" y="828"/>
                  </a:lnTo>
                  <a:lnTo>
                    <a:pt x="270" y="840"/>
                  </a:lnTo>
                  <a:lnTo>
                    <a:pt x="270" y="834"/>
                  </a:lnTo>
                  <a:lnTo>
                    <a:pt x="270" y="828"/>
                  </a:lnTo>
                  <a:lnTo>
                    <a:pt x="270" y="822"/>
                  </a:lnTo>
                  <a:lnTo>
                    <a:pt x="270" y="816"/>
                  </a:lnTo>
                  <a:lnTo>
                    <a:pt x="264" y="810"/>
                  </a:lnTo>
                  <a:lnTo>
                    <a:pt x="264" y="804"/>
                  </a:lnTo>
                  <a:lnTo>
                    <a:pt x="264" y="798"/>
                  </a:lnTo>
                  <a:lnTo>
                    <a:pt x="258" y="792"/>
                  </a:lnTo>
                  <a:lnTo>
                    <a:pt x="258" y="786"/>
                  </a:lnTo>
                  <a:lnTo>
                    <a:pt x="264" y="786"/>
                  </a:lnTo>
                  <a:lnTo>
                    <a:pt x="264" y="780"/>
                  </a:lnTo>
                  <a:lnTo>
                    <a:pt x="258" y="774"/>
                  </a:lnTo>
                  <a:lnTo>
                    <a:pt x="258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82" y="762"/>
                  </a:lnTo>
                  <a:lnTo>
                    <a:pt x="312" y="780"/>
                  </a:lnTo>
                  <a:lnTo>
                    <a:pt x="354" y="786"/>
                  </a:lnTo>
                  <a:lnTo>
                    <a:pt x="408" y="774"/>
                  </a:lnTo>
                  <a:lnTo>
                    <a:pt x="444" y="756"/>
                  </a:lnTo>
                  <a:lnTo>
                    <a:pt x="468" y="732"/>
                  </a:lnTo>
                  <a:lnTo>
                    <a:pt x="492" y="720"/>
                  </a:lnTo>
                  <a:lnTo>
                    <a:pt x="522" y="690"/>
                  </a:lnTo>
                  <a:lnTo>
                    <a:pt x="540" y="672"/>
                  </a:lnTo>
                  <a:lnTo>
                    <a:pt x="558" y="660"/>
                  </a:lnTo>
                  <a:lnTo>
                    <a:pt x="570" y="636"/>
                  </a:lnTo>
                  <a:lnTo>
                    <a:pt x="588" y="612"/>
                  </a:lnTo>
                  <a:lnTo>
                    <a:pt x="654" y="552"/>
                  </a:lnTo>
                  <a:lnTo>
                    <a:pt x="678" y="528"/>
                  </a:lnTo>
                  <a:lnTo>
                    <a:pt x="696" y="510"/>
                  </a:lnTo>
                  <a:lnTo>
                    <a:pt x="714" y="498"/>
                  </a:lnTo>
                  <a:lnTo>
                    <a:pt x="750" y="480"/>
                  </a:lnTo>
                  <a:lnTo>
                    <a:pt x="774" y="444"/>
                  </a:lnTo>
                  <a:lnTo>
                    <a:pt x="816" y="426"/>
                  </a:lnTo>
                  <a:lnTo>
                    <a:pt x="864" y="420"/>
                  </a:lnTo>
                  <a:lnTo>
                    <a:pt x="912" y="402"/>
                  </a:lnTo>
                  <a:lnTo>
                    <a:pt x="906" y="396"/>
                  </a:lnTo>
                  <a:lnTo>
                    <a:pt x="912" y="396"/>
                  </a:lnTo>
                  <a:lnTo>
                    <a:pt x="912" y="390"/>
                  </a:lnTo>
                  <a:lnTo>
                    <a:pt x="918" y="384"/>
                  </a:lnTo>
                  <a:lnTo>
                    <a:pt x="924" y="384"/>
                  </a:lnTo>
                  <a:lnTo>
                    <a:pt x="924" y="378"/>
                  </a:lnTo>
                  <a:lnTo>
                    <a:pt x="918" y="372"/>
                  </a:lnTo>
                  <a:lnTo>
                    <a:pt x="918" y="366"/>
                  </a:lnTo>
                  <a:lnTo>
                    <a:pt x="918" y="360"/>
                  </a:lnTo>
                  <a:lnTo>
                    <a:pt x="924" y="360"/>
                  </a:lnTo>
                  <a:lnTo>
                    <a:pt x="924" y="354"/>
                  </a:lnTo>
                  <a:lnTo>
                    <a:pt x="930" y="354"/>
                  </a:lnTo>
                  <a:lnTo>
                    <a:pt x="936" y="354"/>
                  </a:lnTo>
                  <a:lnTo>
                    <a:pt x="936" y="348"/>
                  </a:lnTo>
                  <a:lnTo>
                    <a:pt x="942" y="348"/>
                  </a:lnTo>
                  <a:lnTo>
                    <a:pt x="942" y="336"/>
                  </a:lnTo>
                  <a:lnTo>
                    <a:pt x="936" y="336"/>
                  </a:lnTo>
                  <a:lnTo>
                    <a:pt x="930" y="330"/>
                  </a:lnTo>
                  <a:lnTo>
                    <a:pt x="924" y="330"/>
                  </a:lnTo>
                  <a:lnTo>
                    <a:pt x="924" y="324"/>
                  </a:lnTo>
                  <a:lnTo>
                    <a:pt x="918" y="318"/>
                  </a:lnTo>
                  <a:lnTo>
                    <a:pt x="912" y="306"/>
                  </a:lnTo>
                  <a:lnTo>
                    <a:pt x="918" y="306"/>
                  </a:lnTo>
                  <a:lnTo>
                    <a:pt x="924" y="300"/>
                  </a:lnTo>
                  <a:lnTo>
                    <a:pt x="924" y="294"/>
                  </a:lnTo>
                  <a:lnTo>
                    <a:pt x="924" y="288"/>
                  </a:lnTo>
                  <a:lnTo>
                    <a:pt x="924" y="282"/>
                  </a:lnTo>
                  <a:lnTo>
                    <a:pt x="924" y="276"/>
                  </a:lnTo>
                  <a:lnTo>
                    <a:pt x="918" y="270"/>
                  </a:lnTo>
                  <a:lnTo>
                    <a:pt x="918" y="264"/>
                  </a:lnTo>
                  <a:lnTo>
                    <a:pt x="912" y="270"/>
                  </a:lnTo>
                  <a:lnTo>
                    <a:pt x="912" y="264"/>
                  </a:lnTo>
                  <a:lnTo>
                    <a:pt x="912" y="258"/>
                  </a:lnTo>
                  <a:lnTo>
                    <a:pt x="912" y="252"/>
                  </a:lnTo>
                  <a:lnTo>
                    <a:pt x="906" y="252"/>
                  </a:lnTo>
                  <a:lnTo>
                    <a:pt x="900" y="246"/>
                  </a:lnTo>
                  <a:lnTo>
                    <a:pt x="900" y="240"/>
                  </a:lnTo>
                  <a:lnTo>
                    <a:pt x="900" y="246"/>
                  </a:lnTo>
                  <a:lnTo>
                    <a:pt x="894" y="246"/>
                  </a:lnTo>
                  <a:lnTo>
                    <a:pt x="894" y="240"/>
                  </a:lnTo>
                  <a:lnTo>
                    <a:pt x="894" y="234"/>
                  </a:lnTo>
                  <a:lnTo>
                    <a:pt x="900" y="234"/>
                  </a:lnTo>
                  <a:lnTo>
                    <a:pt x="900" y="228"/>
                  </a:lnTo>
                  <a:lnTo>
                    <a:pt x="906" y="228"/>
                  </a:lnTo>
                  <a:lnTo>
                    <a:pt x="900" y="222"/>
                  </a:lnTo>
                  <a:lnTo>
                    <a:pt x="894" y="216"/>
                  </a:lnTo>
                  <a:lnTo>
                    <a:pt x="894" y="210"/>
                  </a:lnTo>
                  <a:lnTo>
                    <a:pt x="888" y="210"/>
                  </a:lnTo>
                  <a:lnTo>
                    <a:pt x="888" y="204"/>
                  </a:lnTo>
                  <a:lnTo>
                    <a:pt x="888" y="198"/>
                  </a:lnTo>
                  <a:lnTo>
                    <a:pt x="888" y="192"/>
                  </a:lnTo>
                  <a:lnTo>
                    <a:pt x="882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82" y="174"/>
                  </a:lnTo>
                  <a:lnTo>
                    <a:pt x="888" y="168"/>
                  </a:lnTo>
                  <a:lnTo>
                    <a:pt x="888" y="162"/>
                  </a:lnTo>
                  <a:lnTo>
                    <a:pt x="888" y="156"/>
                  </a:lnTo>
                  <a:lnTo>
                    <a:pt x="888" y="150"/>
                  </a:lnTo>
                  <a:lnTo>
                    <a:pt x="888" y="144"/>
                  </a:lnTo>
                  <a:lnTo>
                    <a:pt x="882" y="144"/>
                  </a:lnTo>
                  <a:lnTo>
                    <a:pt x="882" y="138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76" y="120"/>
                  </a:lnTo>
                  <a:lnTo>
                    <a:pt x="882" y="114"/>
                  </a:lnTo>
                  <a:lnTo>
                    <a:pt x="882" y="108"/>
                  </a:lnTo>
                  <a:lnTo>
                    <a:pt x="888" y="102"/>
                  </a:lnTo>
                  <a:lnTo>
                    <a:pt x="894" y="102"/>
                  </a:lnTo>
                  <a:lnTo>
                    <a:pt x="894" y="96"/>
                  </a:lnTo>
                  <a:lnTo>
                    <a:pt x="888" y="96"/>
                  </a:lnTo>
                  <a:lnTo>
                    <a:pt x="894" y="90"/>
                  </a:lnTo>
                  <a:lnTo>
                    <a:pt x="888" y="84"/>
                  </a:lnTo>
                  <a:lnTo>
                    <a:pt x="888" y="78"/>
                  </a:lnTo>
                  <a:lnTo>
                    <a:pt x="924" y="66"/>
                  </a:lnTo>
                  <a:lnTo>
                    <a:pt x="966" y="66"/>
                  </a:lnTo>
                  <a:lnTo>
                    <a:pt x="996" y="48"/>
                  </a:lnTo>
                  <a:lnTo>
                    <a:pt x="1056" y="12"/>
                  </a:lnTo>
                  <a:lnTo>
                    <a:pt x="1128" y="0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0" y="18"/>
                  </a:lnTo>
                  <a:lnTo>
                    <a:pt x="1176" y="24"/>
                  </a:lnTo>
                  <a:lnTo>
                    <a:pt x="1182" y="24"/>
                  </a:lnTo>
                  <a:lnTo>
                    <a:pt x="1188" y="30"/>
                  </a:lnTo>
                  <a:lnTo>
                    <a:pt x="1194" y="30"/>
                  </a:lnTo>
                  <a:lnTo>
                    <a:pt x="1194" y="36"/>
                  </a:lnTo>
                  <a:lnTo>
                    <a:pt x="1260" y="30"/>
                  </a:lnTo>
                  <a:lnTo>
                    <a:pt x="1272" y="30"/>
                  </a:lnTo>
                  <a:lnTo>
                    <a:pt x="1296" y="24"/>
                  </a:lnTo>
                  <a:lnTo>
                    <a:pt x="1302" y="30"/>
                  </a:lnTo>
                  <a:lnTo>
                    <a:pt x="1302" y="36"/>
                  </a:lnTo>
                  <a:lnTo>
                    <a:pt x="1308" y="36"/>
                  </a:lnTo>
                  <a:lnTo>
                    <a:pt x="1314" y="36"/>
                  </a:lnTo>
                  <a:lnTo>
                    <a:pt x="1320" y="36"/>
                  </a:lnTo>
                  <a:lnTo>
                    <a:pt x="1326" y="30"/>
                  </a:lnTo>
                  <a:lnTo>
                    <a:pt x="1332" y="30"/>
                  </a:lnTo>
                  <a:lnTo>
                    <a:pt x="1338" y="30"/>
                  </a:lnTo>
                  <a:lnTo>
                    <a:pt x="1344" y="30"/>
                  </a:lnTo>
                  <a:lnTo>
                    <a:pt x="1374" y="30"/>
                  </a:lnTo>
                  <a:lnTo>
                    <a:pt x="1386" y="30"/>
                  </a:lnTo>
                  <a:lnTo>
                    <a:pt x="1392" y="24"/>
                  </a:lnTo>
                  <a:lnTo>
                    <a:pt x="1398" y="12"/>
                  </a:lnTo>
                  <a:lnTo>
                    <a:pt x="1404" y="6"/>
                  </a:lnTo>
                  <a:lnTo>
                    <a:pt x="1410" y="6"/>
                  </a:lnTo>
                  <a:lnTo>
                    <a:pt x="1410" y="12"/>
                  </a:lnTo>
                  <a:lnTo>
                    <a:pt x="1416" y="18"/>
                  </a:lnTo>
                  <a:lnTo>
                    <a:pt x="1416" y="36"/>
                  </a:lnTo>
                  <a:lnTo>
                    <a:pt x="1434" y="54"/>
                  </a:lnTo>
                  <a:lnTo>
                    <a:pt x="1434" y="60"/>
                  </a:lnTo>
                  <a:lnTo>
                    <a:pt x="1434" y="66"/>
                  </a:lnTo>
                  <a:lnTo>
                    <a:pt x="1434" y="72"/>
                  </a:lnTo>
                  <a:lnTo>
                    <a:pt x="1428" y="72"/>
                  </a:lnTo>
                  <a:lnTo>
                    <a:pt x="1428" y="78"/>
                  </a:lnTo>
                  <a:lnTo>
                    <a:pt x="1434" y="78"/>
                  </a:lnTo>
                  <a:lnTo>
                    <a:pt x="1440" y="84"/>
                  </a:lnTo>
                  <a:lnTo>
                    <a:pt x="1440" y="90"/>
                  </a:lnTo>
                  <a:lnTo>
                    <a:pt x="1440" y="96"/>
                  </a:lnTo>
                  <a:lnTo>
                    <a:pt x="1446" y="96"/>
                  </a:lnTo>
                  <a:lnTo>
                    <a:pt x="1446" y="108"/>
                  </a:lnTo>
                  <a:lnTo>
                    <a:pt x="1452" y="108"/>
                  </a:lnTo>
                  <a:lnTo>
                    <a:pt x="1452" y="114"/>
                  </a:lnTo>
                  <a:lnTo>
                    <a:pt x="1458" y="114"/>
                  </a:lnTo>
                  <a:lnTo>
                    <a:pt x="1470" y="120"/>
                  </a:lnTo>
                  <a:lnTo>
                    <a:pt x="1476" y="120"/>
                  </a:lnTo>
                  <a:lnTo>
                    <a:pt x="1476" y="114"/>
                  </a:lnTo>
                  <a:lnTo>
                    <a:pt x="1488" y="120"/>
                  </a:lnTo>
                  <a:lnTo>
                    <a:pt x="1506" y="120"/>
                  </a:lnTo>
                  <a:lnTo>
                    <a:pt x="1512" y="120"/>
                  </a:lnTo>
                  <a:lnTo>
                    <a:pt x="1518" y="120"/>
                  </a:lnTo>
                  <a:lnTo>
                    <a:pt x="1524" y="126"/>
                  </a:lnTo>
                  <a:lnTo>
                    <a:pt x="1536" y="150"/>
                  </a:lnTo>
                  <a:lnTo>
                    <a:pt x="1548" y="162"/>
                  </a:lnTo>
                  <a:lnTo>
                    <a:pt x="1554" y="168"/>
                  </a:lnTo>
                  <a:lnTo>
                    <a:pt x="1584" y="228"/>
                  </a:lnTo>
                  <a:lnTo>
                    <a:pt x="1584" y="234"/>
                  </a:lnTo>
                  <a:lnTo>
                    <a:pt x="1578" y="312"/>
                  </a:lnTo>
                  <a:lnTo>
                    <a:pt x="1590" y="318"/>
                  </a:lnTo>
                  <a:lnTo>
                    <a:pt x="1608" y="330"/>
                  </a:lnTo>
                  <a:lnTo>
                    <a:pt x="1620" y="342"/>
                  </a:lnTo>
                  <a:lnTo>
                    <a:pt x="1626" y="342"/>
                  </a:lnTo>
                  <a:lnTo>
                    <a:pt x="1692" y="360"/>
                  </a:lnTo>
                  <a:lnTo>
                    <a:pt x="1710" y="408"/>
                  </a:lnTo>
                  <a:lnTo>
                    <a:pt x="1722" y="426"/>
                  </a:lnTo>
                  <a:lnTo>
                    <a:pt x="1716" y="468"/>
                  </a:lnTo>
                  <a:lnTo>
                    <a:pt x="1686" y="486"/>
                  </a:lnTo>
                  <a:lnTo>
                    <a:pt x="1686" y="492"/>
                  </a:lnTo>
                  <a:lnTo>
                    <a:pt x="1680" y="498"/>
                  </a:lnTo>
                  <a:lnTo>
                    <a:pt x="1650" y="558"/>
                  </a:lnTo>
                  <a:lnTo>
                    <a:pt x="1650" y="570"/>
                  </a:lnTo>
                  <a:lnTo>
                    <a:pt x="1644" y="570"/>
                  </a:lnTo>
                  <a:lnTo>
                    <a:pt x="1638" y="582"/>
                  </a:lnTo>
                  <a:lnTo>
                    <a:pt x="1638" y="624"/>
                  </a:lnTo>
                  <a:lnTo>
                    <a:pt x="1638" y="636"/>
                  </a:lnTo>
                  <a:lnTo>
                    <a:pt x="1638" y="642"/>
                  </a:lnTo>
                  <a:lnTo>
                    <a:pt x="1632" y="660"/>
                  </a:lnTo>
                  <a:lnTo>
                    <a:pt x="1608" y="678"/>
                  </a:lnTo>
                  <a:lnTo>
                    <a:pt x="1584" y="690"/>
                  </a:lnTo>
                  <a:lnTo>
                    <a:pt x="1584" y="696"/>
                  </a:lnTo>
                  <a:lnTo>
                    <a:pt x="1578" y="702"/>
                  </a:lnTo>
                  <a:lnTo>
                    <a:pt x="1584" y="702"/>
                  </a:lnTo>
                  <a:lnTo>
                    <a:pt x="1578" y="714"/>
                  </a:lnTo>
                  <a:lnTo>
                    <a:pt x="1572" y="714"/>
                  </a:lnTo>
                  <a:lnTo>
                    <a:pt x="1572" y="720"/>
                  </a:lnTo>
                  <a:lnTo>
                    <a:pt x="1566" y="720"/>
                  </a:lnTo>
                  <a:lnTo>
                    <a:pt x="1560" y="726"/>
                  </a:lnTo>
                  <a:lnTo>
                    <a:pt x="1560" y="732"/>
                  </a:lnTo>
                  <a:lnTo>
                    <a:pt x="1554" y="732"/>
                  </a:lnTo>
                  <a:lnTo>
                    <a:pt x="1554" y="738"/>
                  </a:lnTo>
                  <a:lnTo>
                    <a:pt x="1554" y="744"/>
                  </a:lnTo>
                  <a:lnTo>
                    <a:pt x="1548" y="744"/>
                  </a:lnTo>
                  <a:lnTo>
                    <a:pt x="1548" y="738"/>
                  </a:lnTo>
                  <a:lnTo>
                    <a:pt x="1542" y="738"/>
                  </a:lnTo>
                  <a:lnTo>
                    <a:pt x="1542" y="744"/>
                  </a:lnTo>
                  <a:lnTo>
                    <a:pt x="1542" y="750"/>
                  </a:lnTo>
                  <a:lnTo>
                    <a:pt x="1494" y="804"/>
                  </a:lnTo>
                  <a:lnTo>
                    <a:pt x="1446" y="876"/>
                  </a:lnTo>
                  <a:lnTo>
                    <a:pt x="1440" y="876"/>
                  </a:lnTo>
                  <a:lnTo>
                    <a:pt x="1434" y="876"/>
                  </a:lnTo>
                  <a:lnTo>
                    <a:pt x="1428" y="882"/>
                  </a:lnTo>
                  <a:lnTo>
                    <a:pt x="1422" y="882"/>
                  </a:lnTo>
                  <a:lnTo>
                    <a:pt x="1386" y="924"/>
                  </a:lnTo>
                  <a:lnTo>
                    <a:pt x="1362" y="954"/>
                  </a:lnTo>
                  <a:lnTo>
                    <a:pt x="1356" y="984"/>
                  </a:lnTo>
                  <a:lnTo>
                    <a:pt x="1362" y="1002"/>
                  </a:lnTo>
                  <a:lnTo>
                    <a:pt x="1368" y="1020"/>
                  </a:lnTo>
                  <a:lnTo>
                    <a:pt x="1386" y="1056"/>
                  </a:lnTo>
                  <a:lnTo>
                    <a:pt x="1404" y="1074"/>
                  </a:lnTo>
                  <a:lnTo>
                    <a:pt x="1416" y="1080"/>
                  </a:lnTo>
                  <a:lnTo>
                    <a:pt x="1416" y="1086"/>
                  </a:lnTo>
                  <a:lnTo>
                    <a:pt x="1422" y="1098"/>
                  </a:lnTo>
                  <a:lnTo>
                    <a:pt x="1422" y="1110"/>
                  </a:lnTo>
                  <a:lnTo>
                    <a:pt x="1428" y="1116"/>
                  </a:lnTo>
                  <a:lnTo>
                    <a:pt x="1434" y="1116"/>
                  </a:lnTo>
                  <a:lnTo>
                    <a:pt x="1434" y="1122"/>
                  </a:lnTo>
                  <a:lnTo>
                    <a:pt x="1434" y="1128"/>
                  </a:lnTo>
                  <a:lnTo>
                    <a:pt x="1440" y="1134"/>
                  </a:lnTo>
                  <a:lnTo>
                    <a:pt x="1446" y="1134"/>
                  </a:lnTo>
                  <a:lnTo>
                    <a:pt x="1458" y="1134"/>
                  </a:lnTo>
                  <a:lnTo>
                    <a:pt x="1458" y="1140"/>
                  </a:lnTo>
                  <a:lnTo>
                    <a:pt x="1464" y="1134"/>
                  </a:lnTo>
                  <a:lnTo>
                    <a:pt x="1470" y="1134"/>
                  </a:lnTo>
                  <a:lnTo>
                    <a:pt x="1464" y="1128"/>
                  </a:lnTo>
                  <a:lnTo>
                    <a:pt x="1464" y="1122"/>
                  </a:lnTo>
                  <a:lnTo>
                    <a:pt x="1470" y="1116"/>
                  </a:lnTo>
                  <a:lnTo>
                    <a:pt x="1470" y="1122"/>
                  </a:lnTo>
                  <a:lnTo>
                    <a:pt x="1476" y="1122"/>
                  </a:lnTo>
                  <a:lnTo>
                    <a:pt x="1476" y="1116"/>
                  </a:lnTo>
                  <a:lnTo>
                    <a:pt x="1482" y="1110"/>
                  </a:lnTo>
                  <a:lnTo>
                    <a:pt x="1476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82" y="1086"/>
                  </a:lnTo>
                  <a:lnTo>
                    <a:pt x="1482" y="1074"/>
                  </a:lnTo>
                  <a:lnTo>
                    <a:pt x="1488" y="1068"/>
                  </a:lnTo>
                  <a:lnTo>
                    <a:pt x="1488" y="1062"/>
                  </a:lnTo>
                  <a:lnTo>
                    <a:pt x="1494" y="1062"/>
                  </a:lnTo>
                  <a:lnTo>
                    <a:pt x="1500" y="1062"/>
                  </a:lnTo>
                  <a:lnTo>
                    <a:pt x="1506" y="1062"/>
                  </a:lnTo>
                  <a:lnTo>
                    <a:pt x="1506" y="1056"/>
                  </a:lnTo>
                  <a:lnTo>
                    <a:pt x="1506" y="1062"/>
                  </a:lnTo>
                  <a:lnTo>
                    <a:pt x="1518" y="1062"/>
                  </a:lnTo>
                  <a:lnTo>
                    <a:pt x="1524" y="1062"/>
                  </a:lnTo>
                  <a:lnTo>
                    <a:pt x="1530" y="1062"/>
                  </a:lnTo>
                  <a:lnTo>
                    <a:pt x="1536" y="1068"/>
                  </a:lnTo>
                  <a:lnTo>
                    <a:pt x="1536" y="1074"/>
                  </a:lnTo>
                  <a:lnTo>
                    <a:pt x="1542" y="1086"/>
                  </a:lnTo>
                  <a:lnTo>
                    <a:pt x="1548" y="1086"/>
                  </a:lnTo>
                  <a:lnTo>
                    <a:pt x="1554" y="1086"/>
                  </a:lnTo>
                  <a:lnTo>
                    <a:pt x="1566" y="1098"/>
                  </a:lnTo>
                  <a:lnTo>
                    <a:pt x="1572" y="1104"/>
                  </a:lnTo>
                  <a:lnTo>
                    <a:pt x="1566" y="1110"/>
                  </a:lnTo>
                  <a:lnTo>
                    <a:pt x="1572" y="1116"/>
                  </a:lnTo>
                  <a:lnTo>
                    <a:pt x="1578" y="1116"/>
                  </a:lnTo>
                  <a:lnTo>
                    <a:pt x="1578" y="1122"/>
                  </a:lnTo>
                  <a:lnTo>
                    <a:pt x="1584" y="1122"/>
                  </a:lnTo>
                  <a:lnTo>
                    <a:pt x="1584" y="1128"/>
                  </a:lnTo>
                  <a:lnTo>
                    <a:pt x="1584" y="1134"/>
                  </a:lnTo>
                  <a:lnTo>
                    <a:pt x="1590" y="1134"/>
                  </a:lnTo>
                  <a:lnTo>
                    <a:pt x="1596" y="1140"/>
                  </a:lnTo>
                  <a:lnTo>
                    <a:pt x="1602" y="1146"/>
                  </a:lnTo>
                  <a:lnTo>
                    <a:pt x="1608" y="1146"/>
                  </a:lnTo>
                  <a:lnTo>
                    <a:pt x="1614" y="1146"/>
                  </a:lnTo>
                  <a:lnTo>
                    <a:pt x="1614" y="1152"/>
                  </a:lnTo>
                  <a:lnTo>
                    <a:pt x="1620" y="1152"/>
                  </a:lnTo>
                  <a:lnTo>
                    <a:pt x="1626" y="1164"/>
                  </a:lnTo>
                  <a:lnTo>
                    <a:pt x="1632" y="1170"/>
                  </a:lnTo>
                  <a:lnTo>
                    <a:pt x="1638" y="1176"/>
                  </a:lnTo>
                  <a:lnTo>
                    <a:pt x="1638" y="1182"/>
                  </a:lnTo>
                  <a:lnTo>
                    <a:pt x="1644" y="1194"/>
                  </a:lnTo>
                  <a:lnTo>
                    <a:pt x="1644" y="1200"/>
                  </a:lnTo>
                  <a:lnTo>
                    <a:pt x="1638" y="1200"/>
                  </a:lnTo>
                  <a:lnTo>
                    <a:pt x="1638" y="1206"/>
                  </a:lnTo>
                  <a:lnTo>
                    <a:pt x="1638" y="1212"/>
                  </a:lnTo>
                  <a:lnTo>
                    <a:pt x="1638" y="1218"/>
                  </a:lnTo>
                  <a:lnTo>
                    <a:pt x="1632" y="1242"/>
                  </a:lnTo>
                  <a:lnTo>
                    <a:pt x="1632" y="1266"/>
                  </a:lnTo>
                  <a:lnTo>
                    <a:pt x="1638" y="1284"/>
                  </a:lnTo>
                  <a:lnTo>
                    <a:pt x="1638" y="1296"/>
                  </a:lnTo>
                  <a:lnTo>
                    <a:pt x="1632" y="1296"/>
                  </a:lnTo>
                  <a:lnTo>
                    <a:pt x="1632" y="1302"/>
                  </a:lnTo>
                  <a:lnTo>
                    <a:pt x="1638" y="1314"/>
                  </a:lnTo>
                  <a:lnTo>
                    <a:pt x="1638" y="1320"/>
                  </a:lnTo>
                  <a:lnTo>
                    <a:pt x="1632" y="1320"/>
                  </a:lnTo>
                  <a:lnTo>
                    <a:pt x="1632" y="1326"/>
                  </a:lnTo>
                  <a:lnTo>
                    <a:pt x="1644" y="1332"/>
                  </a:lnTo>
                  <a:lnTo>
                    <a:pt x="1644" y="1338"/>
                  </a:lnTo>
                  <a:lnTo>
                    <a:pt x="1650" y="1344"/>
                  </a:lnTo>
                  <a:lnTo>
                    <a:pt x="1668" y="1362"/>
                  </a:lnTo>
                  <a:lnTo>
                    <a:pt x="1668" y="1368"/>
                  </a:lnTo>
                  <a:lnTo>
                    <a:pt x="1674" y="1392"/>
                  </a:lnTo>
                  <a:lnTo>
                    <a:pt x="1686" y="140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2" name="Freeform 17">
              <a:extLst>
                <a:ext uri="{FF2B5EF4-FFF2-40B4-BE49-F238E27FC236}">
                  <a16:creationId xmlns:a16="http://schemas.microsoft.com/office/drawing/2014/main" id="{9F9DF7AF-2203-4CCB-AF1B-32CDAF87CC5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416927"/>
              <a:ext cx="816209" cy="574781"/>
            </a:xfrm>
            <a:custGeom>
              <a:avLst/>
              <a:gdLst>
                <a:gd name="T0" fmla="*/ 115 w 1536"/>
                <a:gd name="T1" fmla="*/ 89 h 1080"/>
                <a:gd name="T2" fmla="*/ 113 w 1536"/>
                <a:gd name="T3" fmla="*/ 92 h 1080"/>
                <a:gd name="T4" fmla="*/ 107 w 1536"/>
                <a:gd name="T5" fmla="*/ 93 h 1080"/>
                <a:gd name="T6" fmla="*/ 108 w 1536"/>
                <a:gd name="T7" fmla="*/ 90 h 1080"/>
                <a:gd name="T8" fmla="*/ 105 w 1536"/>
                <a:gd name="T9" fmla="*/ 87 h 1080"/>
                <a:gd name="T10" fmla="*/ 102 w 1536"/>
                <a:gd name="T11" fmla="*/ 85 h 1080"/>
                <a:gd name="T12" fmla="*/ 89 w 1536"/>
                <a:gd name="T13" fmla="*/ 80 h 1080"/>
                <a:gd name="T14" fmla="*/ 85 w 1536"/>
                <a:gd name="T15" fmla="*/ 82 h 1080"/>
                <a:gd name="T16" fmla="*/ 82 w 1536"/>
                <a:gd name="T17" fmla="*/ 80 h 1080"/>
                <a:gd name="T18" fmla="*/ 80 w 1536"/>
                <a:gd name="T19" fmla="*/ 75 h 1080"/>
                <a:gd name="T20" fmla="*/ 75 w 1536"/>
                <a:gd name="T21" fmla="*/ 72 h 1080"/>
                <a:gd name="T22" fmla="*/ 61 w 1536"/>
                <a:gd name="T23" fmla="*/ 70 h 1080"/>
                <a:gd name="T24" fmla="*/ 62 w 1536"/>
                <a:gd name="T25" fmla="*/ 72 h 1080"/>
                <a:gd name="T26" fmla="*/ 58 w 1536"/>
                <a:gd name="T27" fmla="*/ 75 h 1080"/>
                <a:gd name="T28" fmla="*/ 49 w 1536"/>
                <a:gd name="T29" fmla="*/ 76 h 1080"/>
                <a:gd name="T30" fmla="*/ 41 w 1536"/>
                <a:gd name="T31" fmla="*/ 79 h 1080"/>
                <a:gd name="T32" fmla="*/ 41 w 1536"/>
                <a:gd name="T33" fmla="*/ 77 h 1080"/>
                <a:gd name="T34" fmla="*/ 39 w 1536"/>
                <a:gd name="T35" fmla="*/ 74 h 1080"/>
                <a:gd name="T36" fmla="*/ 28 w 1536"/>
                <a:gd name="T37" fmla="*/ 78 h 1080"/>
                <a:gd name="T38" fmla="*/ 18 w 1536"/>
                <a:gd name="T39" fmla="*/ 85 h 1080"/>
                <a:gd name="T40" fmla="*/ 18 w 1536"/>
                <a:gd name="T41" fmla="*/ 77 h 1080"/>
                <a:gd name="T42" fmla="*/ 19 w 1536"/>
                <a:gd name="T43" fmla="*/ 69 h 1080"/>
                <a:gd name="T44" fmla="*/ 16 w 1536"/>
                <a:gd name="T45" fmla="*/ 69 h 1080"/>
                <a:gd name="T46" fmla="*/ 11 w 1536"/>
                <a:gd name="T47" fmla="*/ 69 h 1080"/>
                <a:gd name="T48" fmla="*/ 5 w 1536"/>
                <a:gd name="T49" fmla="*/ 68 h 1080"/>
                <a:gd name="T50" fmla="*/ 1 w 1536"/>
                <a:gd name="T51" fmla="*/ 63 h 1080"/>
                <a:gd name="T52" fmla="*/ 3 w 1536"/>
                <a:gd name="T53" fmla="*/ 59 h 1080"/>
                <a:gd name="T54" fmla="*/ 9 w 1536"/>
                <a:gd name="T55" fmla="*/ 54 h 1080"/>
                <a:gd name="T56" fmla="*/ 15 w 1536"/>
                <a:gd name="T57" fmla="*/ 47 h 1080"/>
                <a:gd name="T58" fmla="*/ 17 w 1536"/>
                <a:gd name="T59" fmla="*/ 40 h 1080"/>
                <a:gd name="T60" fmla="*/ 12 w 1536"/>
                <a:gd name="T61" fmla="*/ 33 h 1080"/>
                <a:gd name="T62" fmla="*/ 10 w 1536"/>
                <a:gd name="T63" fmla="*/ 21 h 1080"/>
                <a:gd name="T64" fmla="*/ 6 w 1536"/>
                <a:gd name="T65" fmla="*/ 14 h 1080"/>
                <a:gd name="T66" fmla="*/ 7 w 1536"/>
                <a:gd name="T67" fmla="*/ 9 h 1080"/>
                <a:gd name="T68" fmla="*/ 12 w 1536"/>
                <a:gd name="T69" fmla="*/ 7 h 1080"/>
                <a:gd name="T70" fmla="*/ 16 w 1536"/>
                <a:gd name="T71" fmla="*/ 8 h 1080"/>
                <a:gd name="T72" fmla="*/ 19 w 1536"/>
                <a:gd name="T73" fmla="*/ 8 h 1080"/>
                <a:gd name="T74" fmla="*/ 22 w 1536"/>
                <a:gd name="T75" fmla="*/ 9 h 1080"/>
                <a:gd name="T76" fmla="*/ 29 w 1536"/>
                <a:gd name="T77" fmla="*/ 12 h 1080"/>
                <a:gd name="T78" fmla="*/ 33 w 1536"/>
                <a:gd name="T79" fmla="*/ 13 h 1080"/>
                <a:gd name="T80" fmla="*/ 38 w 1536"/>
                <a:gd name="T81" fmla="*/ 15 h 1080"/>
                <a:gd name="T82" fmla="*/ 42 w 1536"/>
                <a:gd name="T83" fmla="*/ 17 h 1080"/>
                <a:gd name="T84" fmla="*/ 47 w 1536"/>
                <a:gd name="T85" fmla="*/ 19 h 1080"/>
                <a:gd name="T86" fmla="*/ 51 w 1536"/>
                <a:gd name="T87" fmla="*/ 21 h 1080"/>
                <a:gd name="T88" fmla="*/ 50 w 1536"/>
                <a:gd name="T89" fmla="*/ 15 h 1080"/>
                <a:gd name="T90" fmla="*/ 56 w 1536"/>
                <a:gd name="T91" fmla="*/ 0 h 1080"/>
                <a:gd name="T92" fmla="*/ 74 w 1536"/>
                <a:gd name="T93" fmla="*/ 5 h 1080"/>
                <a:gd name="T94" fmla="*/ 87 w 1536"/>
                <a:gd name="T95" fmla="*/ 6 h 1080"/>
                <a:gd name="T96" fmla="*/ 92 w 1536"/>
                <a:gd name="T97" fmla="*/ 11 h 1080"/>
                <a:gd name="T98" fmla="*/ 95 w 1536"/>
                <a:gd name="T99" fmla="*/ 15 h 1080"/>
                <a:gd name="T100" fmla="*/ 93 w 1536"/>
                <a:gd name="T101" fmla="*/ 20 h 1080"/>
                <a:gd name="T102" fmla="*/ 108 w 1536"/>
                <a:gd name="T103" fmla="*/ 18 h 1080"/>
                <a:gd name="T104" fmla="*/ 120 w 1536"/>
                <a:gd name="T105" fmla="*/ 21 h 1080"/>
                <a:gd name="T106" fmla="*/ 127 w 1536"/>
                <a:gd name="T107" fmla="*/ 29 h 1080"/>
                <a:gd name="T108" fmla="*/ 130 w 1536"/>
                <a:gd name="T109" fmla="*/ 30 h 1080"/>
                <a:gd name="T110" fmla="*/ 130 w 1536"/>
                <a:gd name="T111" fmla="*/ 49 h 1080"/>
                <a:gd name="T112" fmla="*/ 120 w 1536"/>
                <a:gd name="T113" fmla="*/ 69 h 1080"/>
                <a:gd name="T114" fmla="*/ 119 w 1536"/>
                <a:gd name="T115" fmla="*/ 74 h 1080"/>
                <a:gd name="T116" fmla="*/ 118 w 1536"/>
                <a:gd name="T117" fmla="*/ 80 h 108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536"/>
                <a:gd name="T178" fmla="*/ 0 h 1080"/>
                <a:gd name="T179" fmla="*/ 1536 w 1536"/>
                <a:gd name="T180" fmla="*/ 1080 h 108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536" h="1080">
                  <a:moveTo>
                    <a:pt x="1350" y="1020"/>
                  </a:moveTo>
                  <a:lnTo>
                    <a:pt x="1350" y="1026"/>
                  </a:lnTo>
                  <a:lnTo>
                    <a:pt x="1344" y="1026"/>
                  </a:lnTo>
                  <a:lnTo>
                    <a:pt x="1338" y="1032"/>
                  </a:lnTo>
                  <a:lnTo>
                    <a:pt x="1332" y="1026"/>
                  </a:lnTo>
                  <a:lnTo>
                    <a:pt x="1326" y="1026"/>
                  </a:lnTo>
                  <a:lnTo>
                    <a:pt x="1320" y="1020"/>
                  </a:lnTo>
                  <a:lnTo>
                    <a:pt x="1314" y="1026"/>
                  </a:lnTo>
                  <a:lnTo>
                    <a:pt x="1314" y="1032"/>
                  </a:lnTo>
                  <a:lnTo>
                    <a:pt x="1308" y="1038"/>
                  </a:lnTo>
                  <a:lnTo>
                    <a:pt x="1308" y="1044"/>
                  </a:lnTo>
                  <a:lnTo>
                    <a:pt x="1308" y="1050"/>
                  </a:lnTo>
                  <a:lnTo>
                    <a:pt x="1308" y="1056"/>
                  </a:lnTo>
                  <a:lnTo>
                    <a:pt x="1308" y="1062"/>
                  </a:lnTo>
                  <a:lnTo>
                    <a:pt x="1296" y="1068"/>
                  </a:lnTo>
                  <a:lnTo>
                    <a:pt x="1284" y="1074"/>
                  </a:lnTo>
                  <a:lnTo>
                    <a:pt x="1272" y="1080"/>
                  </a:lnTo>
                  <a:lnTo>
                    <a:pt x="1260" y="1080"/>
                  </a:lnTo>
                  <a:lnTo>
                    <a:pt x="1254" y="1074"/>
                  </a:lnTo>
                  <a:lnTo>
                    <a:pt x="1236" y="1074"/>
                  </a:lnTo>
                  <a:lnTo>
                    <a:pt x="1230" y="1074"/>
                  </a:lnTo>
                  <a:lnTo>
                    <a:pt x="1236" y="1074"/>
                  </a:lnTo>
                  <a:lnTo>
                    <a:pt x="1236" y="1068"/>
                  </a:lnTo>
                  <a:lnTo>
                    <a:pt x="1236" y="1062"/>
                  </a:lnTo>
                  <a:lnTo>
                    <a:pt x="1236" y="1056"/>
                  </a:lnTo>
                  <a:lnTo>
                    <a:pt x="1242" y="1050"/>
                  </a:lnTo>
                  <a:lnTo>
                    <a:pt x="1242" y="1044"/>
                  </a:lnTo>
                  <a:lnTo>
                    <a:pt x="1242" y="1038"/>
                  </a:lnTo>
                  <a:lnTo>
                    <a:pt x="1248" y="1032"/>
                  </a:lnTo>
                  <a:lnTo>
                    <a:pt x="1236" y="1026"/>
                  </a:lnTo>
                  <a:lnTo>
                    <a:pt x="1218" y="1020"/>
                  </a:lnTo>
                  <a:lnTo>
                    <a:pt x="1224" y="1014"/>
                  </a:lnTo>
                  <a:lnTo>
                    <a:pt x="1218" y="1008"/>
                  </a:lnTo>
                  <a:lnTo>
                    <a:pt x="1218" y="1002"/>
                  </a:lnTo>
                  <a:lnTo>
                    <a:pt x="1212" y="1008"/>
                  </a:lnTo>
                  <a:lnTo>
                    <a:pt x="1206" y="1002"/>
                  </a:lnTo>
                  <a:lnTo>
                    <a:pt x="1212" y="1002"/>
                  </a:lnTo>
                  <a:lnTo>
                    <a:pt x="1212" y="996"/>
                  </a:lnTo>
                  <a:lnTo>
                    <a:pt x="1200" y="990"/>
                  </a:lnTo>
                  <a:lnTo>
                    <a:pt x="1200" y="984"/>
                  </a:lnTo>
                  <a:lnTo>
                    <a:pt x="1188" y="984"/>
                  </a:lnTo>
                  <a:lnTo>
                    <a:pt x="1176" y="978"/>
                  </a:lnTo>
                  <a:lnTo>
                    <a:pt x="1164" y="960"/>
                  </a:lnTo>
                  <a:lnTo>
                    <a:pt x="1152" y="936"/>
                  </a:lnTo>
                  <a:lnTo>
                    <a:pt x="1146" y="936"/>
                  </a:lnTo>
                  <a:lnTo>
                    <a:pt x="1128" y="900"/>
                  </a:lnTo>
                  <a:lnTo>
                    <a:pt x="1038" y="912"/>
                  </a:lnTo>
                  <a:lnTo>
                    <a:pt x="1038" y="918"/>
                  </a:lnTo>
                  <a:lnTo>
                    <a:pt x="1032" y="924"/>
                  </a:lnTo>
                  <a:lnTo>
                    <a:pt x="1026" y="918"/>
                  </a:lnTo>
                  <a:lnTo>
                    <a:pt x="1020" y="924"/>
                  </a:lnTo>
                  <a:lnTo>
                    <a:pt x="1008" y="936"/>
                  </a:lnTo>
                  <a:lnTo>
                    <a:pt x="990" y="936"/>
                  </a:lnTo>
                  <a:lnTo>
                    <a:pt x="990" y="942"/>
                  </a:lnTo>
                  <a:lnTo>
                    <a:pt x="996" y="942"/>
                  </a:lnTo>
                  <a:lnTo>
                    <a:pt x="984" y="948"/>
                  </a:lnTo>
                  <a:lnTo>
                    <a:pt x="972" y="948"/>
                  </a:lnTo>
                  <a:lnTo>
                    <a:pt x="960" y="948"/>
                  </a:lnTo>
                  <a:lnTo>
                    <a:pt x="948" y="942"/>
                  </a:lnTo>
                  <a:lnTo>
                    <a:pt x="948" y="936"/>
                  </a:lnTo>
                  <a:lnTo>
                    <a:pt x="942" y="936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30" y="924"/>
                  </a:lnTo>
                  <a:lnTo>
                    <a:pt x="936" y="918"/>
                  </a:lnTo>
                  <a:lnTo>
                    <a:pt x="918" y="918"/>
                  </a:lnTo>
                  <a:lnTo>
                    <a:pt x="918" y="900"/>
                  </a:lnTo>
                  <a:lnTo>
                    <a:pt x="924" y="900"/>
                  </a:lnTo>
                  <a:lnTo>
                    <a:pt x="924" y="894"/>
                  </a:lnTo>
                  <a:lnTo>
                    <a:pt x="924" y="870"/>
                  </a:lnTo>
                  <a:lnTo>
                    <a:pt x="924" y="864"/>
                  </a:lnTo>
                  <a:lnTo>
                    <a:pt x="918" y="858"/>
                  </a:lnTo>
                  <a:lnTo>
                    <a:pt x="918" y="852"/>
                  </a:lnTo>
                  <a:lnTo>
                    <a:pt x="906" y="840"/>
                  </a:lnTo>
                  <a:lnTo>
                    <a:pt x="894" y="834"/>
                  </a:lnTo>
                  <a:lnTo>
                    <a:pt x="876" y="822"/>
                  </a:lnTo>
                  <a:lnTo>
                    <a:pt x="870" y="828"/>
                  </a:lnTo>
                  <a:lnTo>
                    <a:pt x="858" y="816"/>
                  </a:lnTo>
                  <a:lnTo>
                    <a:pt x="810" y="798"/>
                  </a:lnTo>
                  <a:lnTo>
                    <a:pt x="774" y="792"/>
                  </a:lnTo>
                  <a:lnTo>
                    <a:pt x="732" y="798"/>
                  </a:lnTo>
                  <a:lnTo>
                    <a:pt x="726" y="804"/>
                  </a:lnTo>
                  <a:lnTo>
                    <a:pt x="714" y="810"/>
                  </a:lnTo>
                  <a:lnTo>
                    <a:pt x="702" y="810"/>
                  </a:lnTo>
                  <a:lnTo>
                    <a:pt x="690" y="810"/>
                  </a:lnTo>
                  <a:lnTo>
                    <a:pt x="696" y="816"/>
                  </a:lnTo>
                  <a:lnTo>
                    <a:pt x="696" y="822"/>
                  </a:lnTo>
                  <a:lnTo>
                    <a:pt x="702" y="822"/>
                  </a:lnTo>
                  <a:lnTo>
                    <a:pt x="708" y="822"/>
                  </a:lnTo>
                  <a:lnTo>
                    <a:pt x="708" y="828"/>
                  </a:lnTo>
                  <a:lnTo>
                    <a:pt x="708" y="834"/>
                  </a:lnTo>
                  <a:lnTo>
                    <a:pt x="714" y="834"/>
                  </a:lnTo>
                  <a:lnTo>
                    <a:pt x="708" y="846"/>
                  </a:lnTo>
                  <a:lnTo>
                    <a:pt x="708" y="852"/>
                  </a:lnTo>
                  <a:lnTo>
                    <a:pt x="702" y="852"/>
                  </a:lnTo>
                  <a:lnTo>
                    <a:pt x="696" y="858"/>
                  </a:lnTo>
                  <a:lnTo>
                    <a:pt x="690" y="864"/>
                  </a:lnTo>
                  <a:lnTo>
                    <a:pt x="666" y="870"/>
                  </a:lnTo>
                  <a:lnTo>
                    <a:pt x="660" y="876"/>
                  </a:lnTo>
                  <a:lnTo>
                    <a:pt x="642" y="876"/>
                  </a:lnTo>
                  <a:lnTo>
                    <a:pt x="606" y="882"/>
                  </a:lnTo>
                  <a:lnTo>
                    <a:pt x="588" y="882"/>
                  </a:lnTo>
                  <a:lnTo>
                    <a:pt x="582" y="876"/>
                  </a:lnTo>
                  <a:lnTo>
                    <a:pt x="576" y="876"/>
                  </a:lnTo>
                  <a:lnTo>
                    <a:pt x="564" y="876"/>
                  </a:lnTo>
                  <a:lnTo>
                    <a:pt x="552" y="882"/>
                  </a:lnTo>
                  <a:lnTo>
                    <a:pt x="540" y="894"/>
                  </a:lnTo>
                  <a:lnTo>
                    <a:pt x="534" y="906"/>
                  </a:lnTo>
                  <a:lnTo>
                    <a:pt x="528" y="912"/>
                  </a:lnTo>
                  <a:lnTo>
                    <a:pt x="516" y="924"/>
                  </a:lnTo>
                  <a:lnTo>
                    <a:pt x="486" y="930"/>
                  </a:lnTo>
                  <a:lnTo>
                    <a:pt x="474" y="912"/>
                  </a:lnTo>
                  <a:lnTo>
                    <a:pt x="474" y="906"/>
                  </a:lnTo>
                  <a:lnTo>
                    <a:pt x="468" y="906"/>
                  </a:lnTo>
                  <a:lnTo>
                    <a:pt x="468" y="900"/>
                  </a:lnTo>
                  <a:lnTo>
                    <a:pt x="462" y="894"/>
                  </a:lnTo>
                  <a:lnTo>
                    <a:pt x="456" y="894"/>
                  </a:lnTo>
                  <a:lnTo>
                    <a:pt x="462" y="888"/>
                  </a:lnTo>
                  <a:lnTo>
                    <a:pt x="468" y="888"/>
                  </a:lnTo>
                  <a:lnTo>
                    <a:pt x="462" y="882"/>
                  </a:lnTo>
                  <a:lnTo>
                    <a:pt x="462" y="876"/>
                  </a:lnTo>
                  <a:lnTo>
                    <a:pt x="456" y="870"/>
                  </a:lnTo>
                  <a:lnTo>
                    <a:pt x="456" y="864"/>
                  </a:lnTo>
                  <a:lnTo>
                    <a:pt x="450" y="858"/>
                  </a:lnTo>
                  <a:lnTo>
                    <a:pt x="444" y="858"/>
                  </a:lnTo>
                  <a:lnTo>
                    <a:pt x="444" y="852"/>
                  </a:lnTo>
                  <a:lnTo>
                    <a:pt x="438" y="852"/>
                  </a:lnTo>
                  <a:lnTo>
                    <a:pt x="438" y="858"/>
                  </a:lnTo>
                  <a:lnTo>
                    <a:pt x="402" y="870"/>
                  </a:lnTo>
                  <a:lnTo>
                    <a:pt x="390" y="882"/>
                  </a:lnTo>
                  <a:lnTo>
                    <a:pt x="384" y="900"/>
                  </a:lnTo>
                  <a:lnTo>
                    <a:pt x="342" y="900"/>
                  </a:lnTo>
                  <a:lnTo>
                    <a:pt x="324" y="900"/>
                  </a:lnTo>
                  <a:lnTo>
                    <a:pt x="294" y="906"/>
                  </a:lnTo>
                  <a:lnTo>
                    <a:pt x="282" y="948"/>
                  </a:lnTo>
                  <a:lnTo>
                    <a:pt x="282" y="978"/>
                  </a:lnTo>
                  <a:lnTo>
                    <a:pt x="270" y="1008"/>
                  </a:lnTo>
                  <a:lnTo>
                    <a:pt x="240" y="1014"/>
                  </a:lnTo>
                  <a:lnTo>
                    <a:pt x="216" y="996"/>
                  </a:lnTo>
                  <a:lnTo>
                    <a:pt x="204" y="984"/>
                  </a:lnTo>
                  <a:lnTo>
                    <a:pt x="192" y="966"/>
                  </a:lnTo>
                  <a:lnTo>
                    <a:pt x="186" y="948"/>
                  </a:lnTo>
                  <a:lnTo>
                    <a:pt x="174" y="948"/>
                  </a:lnTo>
                  <a:lnTo>
                    <a:pt x="174" y="936"/>
                  </a:lnTo>
                  <a:lnTo>
                    <a:pt x="186" y="924"/>
                  </a:lnTo>
                  <a:lnTo>
                    <a:pt x="198" y="906"/>
                  </a:lnTo>
                  <a:lnTo>
                    <a:pt x="204" y="888"/>
                  </a:lnTo>
                  <a:lnTo>
                    <a:pt x="222" y="870"/>
                  </a:lnTo>
                  <a:lnTo>
                    <a:pt x="234" y="858"/>
                  </a:lnTo>
                  <a:lnTo>
                    <a:pt x="234" y="852"/>
                  </a:lnTo>
                  <a:lnTo>
                    <a:pt x="222" y="852"/>
                  </a:lnTo>
                  <a:lnTo>
                    <a:pt x="228" y="810"/>
                  </a:lnTo>
                  <a:lnTo>
                    <a:pt x="222" y="798"/>
                  </a:lnTo>
                  <a:lnTo>
                    <a:pt x="216" y="798"/>
                  </a:lnTo>
                  <a:lnTo>
                    <a:pt x="216" y="792"/>
                  </a:lnTo>
                  <a:lnTo>
                    <a:pt x="210" y="792"/>
                  </a:lnTo>
                  <a:lnTo>
                    <a:pt x="204" y="798"/>
                  </a:lnTo>
                  <a:lnTo>
                    <a:pt x="204" y="792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0" y="786"/>
                  </a:lnTo>
                  <a:lnTo>
                    <a:pt x="174" y="792"/>
                  </a:lnTo>
                  <a:lnTo>
                    <a:pt x="162" y="792"/>
                  </a:lnTo>
                  <a:lnTo>
                    <a:pt x="156" y="792"/>
                  </a:lnTo>
                  <a:lnTo>
                    <a:pt x="156" y="798"/>
                  </a:lnTo>
                  <a:lnTo>
                    <a:pt x="138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6" y="804"/>
                  </a:lnTo>
                  <a:lnTo>
                    <a:pt x="102" y="810"/>
                  </a:lnTo>
                  <a:lnTo>
                    <a:pt x="90" y="810"/>
                  </a:lnTo>
                  <a:lnTo>
                    <a:pt x="72" y="798"/>
                  </a:lnTo>
                  <a:lnTo>
                    <a:pt x="66" y="780"/>
                  </a:lnTo>
                  <a:lnTo>
                    <a:pt x="60" y="780"/>
                  </a:lnTo>
                  <a:lnTo>
                    <a:pt x="60" y="768"/>
                  </a:lnTo>
                  <a:lnTo>
                    <a:pt x="54" y="768"/>
                  </a:lnTo>
                  <a:lnTo>
                    <a:pt x="24" y="756"/>
                  </a:lnTo>
                  <a:lnTo>
                    <a:pt x="18" y="744"/>
                  </a:lnTo>
                  <a:lnTo>
                    <a:pt x="12" y="738"/>
                  </a:lnTo>
                  <a:lnTo>
                    <a:pt x="18" y="732"/>
                  </a:lnTo>
                  <a:lnTo>
                    <a:pt x="12" y="726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8" y="696"/>
                  </a:lnTo>
                  <a:lnTo>
                    <a:pt x="24" y="708"/>
                  </a:lnTo>
                  <a:lnTo>
                    <a:pt x="36" y="702"/>
                  </a:lnTo>
                  <a:lnTo>
                    <a:pt x="36" y="678"/>
                  </a:lnTo>
                  <a:lnTo>
                    <a:pt x="36" y="660"/>
                  </a:lnTo>
                  <a:lnTo>
                    <a:pt x="42" y="654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72" y="624"/>
                  </a:lnTo>
                  <a:lnTo>
                    <a:pt x="90" y="618"/>
                  </a:lnTo>
                  <a:lnTo>
                    <a:pt x="102" y="618"/>
                  </a:lnTo>
                  <a:lnTo>
                    <a:pt x="114" y="612"/>
                  </a:lnTo>
                  <a:lnTo>
                    <a:pt x="138" y="606"/>
                  </a:lnTo>
                  <a:lnTo>
                    <a:pt x="144" y="606"/>
                  </a:lnTo>
                  <a:lnTo>
                    <a:pt x="150" y="594"/>
                  </a:lnTo>
                  <a:lnTo>
                    <a:pt x="156" y="576"/>
                  </a:lnTo>
                  <a:lnTo>
                    <a:pt x="168" y="552"/>
                  </a:lnTo>
                  <a:lnTo>
                    <a:pt x="168" y="540"/>
                  </a:lnTo>
                  <a:lnTo>
                    <a:pt x="180" y="522"/>
                  </a:lnTo>
                  <a:lnTo>
                    <a:pt x="186" y="498"/>
                  </a:lnTo>
                  <a:lnTo>
                    <a:pt x="198" y="480"/>
                  </a:lnTo>
                  <a:lnTo>
                    <a:pt x="204" y="486"/>
                  </a:lnTo>
                  <a:lnTo>
                    <a:pt x="210" y="480"/>
                  </a:lnTo>
                  <a:lnTo>
                    <a:pt x="204" y="474"/>
                  </a:lnTo>
                  <a:lnTo>
                    <a:pt x="198" y="462"/>
                  </a:lnTo>
                  <a:lnTo>
                    <a:pt x="192" y="456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50"/>
                  </a:lnTo>
                  <a:lnTo>
                    <a:pt x="132" y="426"/>
                  </a:lnTo>
                  <a:lnTo>
                    <a:pt x="132" y="396"/>
                  </a:lnTo>
                  <a:lnTo>
                    <a:pt x="132" y="378"/>
                  </a:lnTo>
                  <a:lnTo>
                    <a:pt x="126" y="348"/>
                  </a:lnTo>
                  <a:lnTo>
                    <a:pt x="132" y="312"/>
                  </a:lnTo>
                  <a:lnTo>
                    <a:pt x="126" y="288"/>
                  </a:lnTo>
                  <a:lnTo>
                    <a:pt x="138" y="282"/>
                  </a:lnTo>
                  <a:lnTo>
                    <a:pt x="126" y="264"/>
                  </a:lnTo>
                  <a:lnTo>
                    <a:pt x="126" y="258"/>
                  </a:lnTo>
                  <a:lnTo>
                    <a:pt x="120" y="246"/>
                  </a:lnTo>
                  <a:lnTo>
                    <a:pt x="126" y="234"/>
                  </a:lnTo>
                  <a:lnTo>
                    <a:pt x="114" y="228"/>
                  </a:lnTo>
                  <a:lnTo>
                    <a:pt x="114" y="222"/>
                  </a:lnTo>
                  <a:lnTo>
                    <a:pt x="96" y="204"/>
                  </a:lnTo>
                  <a:lnTo>
                    <a:pt x="84" y="180"/>
                  </a:lnTo>
                  <a:lnTo>
                    <a:pt x="78" y="168"/>
                  </a:lnTo>
                  <a:lnTo>
                    <a:pt x="72" y="162"/>
                  </a:lnTo>
                  <a:lnTo>
                    <a:pt x="66" y="144"/>
                  </a:lnTo>
                  <a:lnTo>
                    <a:pt x="60" y="138"/>
                  </a:lnTo>
                  <a:lnTo>
                    <a:pt x="66" y="126"/>
                  </a:lnTo>
                  <a:lnTo>
                    <a:pt x="66" y="114"/>
                  </a:lnTo>
                  <a:lnTo>
                    <a:pt x="72" y="114"/>
                  </a:lnTo>
                  <a:lnTo>
                    <a:pt x="72" y="108"/>
                  </a:lnTo>
                  <a:lnTo>
                    <a:pt x="78" y="102"/>
                  </a:lnTo>
                  <a:lnTo>
                    <a:pt x="78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120" y="78"/>
                  </a:lnTo>
                  <a:lnTo>
                    <a:pt x="144" y="84"/>
                  </a:lnTo>
                  <a:lnTo>
                    <a:pt x="150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74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92" y="102"/>
                  </a:lnTo>
                  <a:lnTo>
                    <a:pt x="198" y="96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16" y="96"/>
                  </a:lnTo>
                  <a:lnTo>
                    <a:pt x="222" y="96"/>
                  </a:lnTo>
                  <a:lnTo>
                    <a:pt x="228" y="96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94" y="114"/>
                  </a:lnTo>
                  <a:lnTo>
                    <a:pt x="312" y="120"/>
                  </a:lnTo>
                  <a:lnTo>
                    <a:pt x="318" y="126"/>
                  </a:lnTo>
                  <a:lnTo>
                    <a:pt x="330" y="132"/>
                  </a:lnTo>
                  <a:lnTo>
                    <a:pt x="342" y="132"/>
                  </a:lnTo>
                  <a:lnTo>
                    <a:pt x="348" y="132"/>
                  </a:lnTo>
                  <a:lnTo>
                    <a:pt x="354" y="138"/>
                  </a:lnTo>
                  <a:lnTo>
                    <a:pt x="366" y="138"/>
                  </a:lnTo>
                  <a:lnTo>
                    <a:pt x="372" y="144"/>
                  </a:lnTo>
                  <a:lnTo>
                    <a:pt x="378" y="150"/>
                  </a:lnTo>
                  <a:lnTo>
                    <a:pt x="384" y="150"/>
                  </a:lnTo>
                  <a:lnTo>
                    <a:pt x="390" y="150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14" y="156"/>
                  </a:lnTo>
                  <a:lnTo>
                    <a:pt x="420" y="156"/>
                  </a:lnTo>
                  <a:lnTo>
                    <a:pt x="426" y="162"/>
                  </a:lnTo>
                  <a:lnTo>
                    <a:pt x="438" y="168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62" y="174"/>
                  </a:lnTo>
                  <a:lnTo>
                    <a:pt x="468" y="174"/>
                  </a:lnTo>
                  <a:lnTo>
                    <a:pt x="474" y="174"/>
                  </a:lnTo>
                  <a:lnTo>
                    <a:pt x="474" y="180"/>
                  </a:lnTo>
                  <a:lnTo>
                    <a:pt x="480" y="192"/>
                  </a:lnTo>
                  <a:lnTo>
                    <a:pt x="498" y="198"/>
                  </a:lnTo>
                  <a:lnTo>
                    <a:pt x="510" y="210"/>
                  </a:lnTo>
                  <a:lnTo>
                    <a:pt x="516" y="210"/>
                  </a:lnTo>
                  <a:lnTo>
                    <a:pt x="522" y="210"/>
                  </a:lnTo>
                  <a:lnTo>
                    <a:pt x="534" y="216"/>
                  </a:lnTo>
                  <a:lnTo>
                    <a:pt x="540" y="216"/>
                  </a:lnTo>
                  <a:lnTo>
                    <a:pt x="546" y="222"/>
                  </a:lnTo>
                  <a:lnTo>
                    <a:pt x="552" y="222"/>
                  </a:lnTo>
                  <a:lnTo>
                    <a:pt x="558" y="228"/>
                  </a:lnTo>
                  <a:lnTo>
                    <a:pt x="564" y="228"/>
                  </a:lnTo>
                  <a:lnTo>
                    <a:pt x="570" y="234"/>
                  </a:lnTo>
                  <a:lnTo>
                    <a:pt x="576" y="240"/>
                  </a:lnTo>
                  <a:lnTo>
                    <a:pt x="582" y="240"/>
                  </a:lnTo>
                  <a:lnTo>
                    <a:pt x="588" y="240"/>
                  </a:lnTo>
                  <a:lnTo>
                    <a:pt x="594" y="240"/>
                  </a:lnTo>
                  <a:lnTo>
                    <a:pt x="600" y="228"/>
                  </a:lnTo>
                  <a:lnTo>
                    <a:pt x="588" y="216"/>
                  </a:lnTo>
                  <a:lnTo>
                    <a:pt x="588" y="198"/>
                  </a:lnTo>
                  <a:lnTo>
                    <a:pt x="582" y="198"/>
                  </a:lnTo>
                  <a:lnTo>
                    <a:pt x="588" y="192"/>
                  </a:lnTo>
                  <a:lnTo>
                    <a:pt x="582" y="168"/>
                  </a:lnTo>
                  <a:lnTo>
                    <a:pt x="558" y="114"/>
                  </a:lnTo>
                  <a:lnTo>
                    <a:pt x="552" y="90"/>
                  </a:lnTo>
                  <a:lnTo>
                    <a:pt x="558" y="60"/>
                  </a:lnTo>
                  <a:lnTo>
                    <a:pt x="564" y="48"/>
                  </a:lnTo>
                  <a:lnTo>
                    <a:pt x="582" y="42"/>
                  </a:lnTo>
                  <a:lnTo>
                    <a:pt x="624" y="6"/>
                  </a:lnTo>
                  <a:lnTo>
                    <a:pt x="648" y="0"/>
                  </a:lnTo>
                  <a:lnTo>
                    <a:pt x="678" y="0"/>
                  </a:lnTo>
                  <a:lnTo>
                    <a:pt x="720" y="12"/>
                  </a:lnTo>
                  <a:lnTo>
                    <a:pt x="744" y="24"/>
                  </a:lnTo>
                  <a:lnTo>
                    <a:pt x="768" y="42"/>
                  </a:lnTo>
                  <a:lnTo>
                    <a:pt x="816" y="48"/>
                  </a:lnTo>
                  <a:lnTo>
                    <a:pt x="834" y="48"/>
                  </a:lnTo>
                  <a:lnTo>
                    <a:pt x="852" y="54"/>
                  </a:lnTo>
                  <a:lnTo>
                    <a:pt x="906" y="60"/>
                  </a:lnTo>
                  <a:lnTo>
                    <a:pt x="948" y="54"/>
                  </a:lnTo>
                  <a:lnTo>
                    <a:pt x="978" y="42"/>
                  </a:lnTo>
                  <a:lnTo>
                    <a:pt x="984" y="48"/>
                  </a:lnTo>
                  <a:lnTo>
                    <a:pt x="990" y="60"/>
                  </a:lnTo>
                  <a:lnTo>
                    <a:pt x="996" y="66"/>
                  </a:lnTo>
                  <a:lnTo>
                    <a:pt x="1002" y="72"/>
                  </a:lnTo>
                  <a:lnTo>
                    <a:pt x="1014" y="78"/>
                  </a:lnTo>
                  <a:lnTo>
                    <a:pt x="1014" y="84"/>
                  </a:lnTo>
                  <a:lnTo>
                    <a:pt x="1032" y="84"/>
                  </a:lnTo>
                  <a:lnTo>
                    <a:pt x="1032" y="90"/>
                  </a:lnTo>
                  <a:lnTo>
                    <a:pt x="1032" y="96"/>
                  </a:lnTo>
                  <a:lnTo>
                    <a:pt x="1032" y="108"/>
                  </a:lnTo>
                  <a:lnTo>
                    <a:pt x="1056" y="126"/>
                  </a:lnTo>
                  <a:lnTo>
                    <a:pt x="1068" y="138"/>
                  </a:lnTo>
                  <a:lnTo>
                    <a:pt x="1068" y="156"/>
                  </a:lnTo>
                  <a:lnTo>
                    <a:pt x="1080" y="150"/>
                  </a:lnTo>
                  <a:lnTo>
                    <a:pt x="1086" y="150"/>
                  </a:lnTo>
                  <a:lnTo>
                    <a:pt x="1092" y="156"/>
                  </a:lnTo>
                  <a:lnTo>
                    <a:pt x="1092" y="162"/>
                  </a:lnTo>
                  <a:lnTo>
                    <a:pt x="1092" y="168"/>
                  </a:lnTo>
                  <a:lnTo>
                    <a:pt x="1098" y="168"/>
                  </a:lnTo>
                  <a:lnTo>
                    <a:pt x="1092" y="180"/>
                  </a:lnTo>
                  <a:lnTo>
                    <a:pt x="1092" y="186"/>
                  </a:lnTo>
                  <a:lnTo>
                    <a:pt x="1086" y="192"/>
                  </a:lnTo>
                  <a:lnTo>
                    <a:pt x="1068" y="210"/>
                  </a:lnTo>
                  <a:lnTo>
                    <a:pt x="1068" y="216"/>
                  </a:lnTo>
                  <a:lnTo>
                    <a:pt x="1074" y="228"/>
                  </a:lnTo>
                  <a:lnTo>
                    <a:pt x="1092" y="234"/>
                  </a:lnTo>
                  <a:lnTo>
                    <a:pt x="1122" y="216"/>
                  </a:lnTo>
                  <a:lnTo>
                    <a:pt x="1188" y="204"/>
                  </a:lnTo>
                  <a:lnTo>
                    <a:pt x="1212" y="204"/>
                  </a:lnTo>
                  <a:lnTo>
                    <a:pt x="1230" y="198"/>
                  </a:lnTo>
                  <a:lnTo>
                    <a:pt x="1236" y="204"/>
                  </a:lnTo>
                  <a:lnTo>
                    <a:pt x="1242" y="210"/>
                  </a:lnTo>
                  <a:lnTo>
                    <a:pt x="1242" y="204"/>
                  </a:lnTo>
                  <a:lnTo>
                    <a:pt x="1248" y="198"/>
                  </a:lnTo>
                  <a:lnTo>
                    <a:pt x="1308" y="204"/>
                  </a:lnTo>
                  <a:lnTo>
                    <a:pt x="1338" y="204"/>
                  </a:lnTo>
                  <a:lnTo>
                    <a:pt x="1374" y="228"/>
                  </a:lnTo>
                  <a:lnTo>
                    <a:pt x="1380" y="234"/>
                  </a:lnTo>
                  <a:lnTo>
                    <a:pt x="1380" y="240"/>
                  </a:lnTo>
                  <a:lnTo>
                    <a:pt x="1386" y="252"/>
                  </a:lnTo>
                  <a:lnTo>
                    <a:pt x="1392" y="252"/>
                  </a:lnTo>
                  <a:lnTo>
                    <a:pt x="1416" y="270"/>
                  </a:lnTo>
                  <a:lnTo>
                    <a:pt x="1428" y="294"/>
                  </a:lnTo>
                  <a:lnTo>
                    <a:pt x="1440" y="312"/>
                  </a:lnTo>
                  <a:lnTo>
                    <a:pt x="1452" y="330"/>
                  </a:lnTo>
                  <a:lnTo>
                    <a:pt x="1464" y="330"/>
                  </a:lnTo>
                  <a:lnTo>
                    <a:pt x="1464" y="336"/>
                  </a:lnTo>
                  <a:lnTo>
                    <a:pt x="1470" y="336"/>
                  </a:lnTo>
                  <a:lnTo>
                    <a:pt x="1470" y="342"/>
                  </a:lnTo>
                  <a:lnTo>
                    <a:pt x="1476" y="342"/>
                  </a:lnTo>
                  <a:lnTo>
                    <a:pt x="1488" y="336"/>
                  </a:lnTo>
                  <a:lnTo>
                    <a:pt x="1494" y="342"/>
                  </a:lnTo>
                  <a:lnTo>
                    <a:pt x="1500" y="342"/>
                  </a:lnTo>
                  <a:lnTo>
                    <a:pt x="1512" y="366"/>
                  </a:lnTo>
                  <a:lnTo>
                    <a:pt x="1530" y="396"/>
                  </a:lnTo>
                  <a:lnTo>
                    <a:pt x="1536" y="444"/>
                  </a:lnTo>
                  <a:lnTo>
                    <a:pt x="1530" y="480"/>
                  </a:lnTo>
                  <a:lnTo>
                    <a:pt x="1506" y="510"/>
                  </a:lnTo>
                  <a:lnTo>
                    <a:pt x="1500" y="546"/>
                  </a:lnTo>
                  <a:lnTo>
                    <a:pt x="1494" y="564"/>
                  </a:lnTo>
                  <a:lnTo>
                    <a:pt x="1494" y="576"/>
                  </a:lnTo>
                  <a:lnTo>
                    <a:pt x="1500" y="582"/>
                  </a:lnTo>
                  <a:lnTo>
                    <a:pt x="1494" y="612"/>
                  </a:lnTo>
                  <a:lnTo>
                    <a:pt x="1476" y="630"/>
                  </a:lnTo>
                  <a:lnTo>
                    <a:pt x="1434" y="672"/>
                  </a:lnTo>
                  <a:lnTo>
                    <a:pt x="1392" y="756"/>
                  </a:lnTo>
                  <a:lnTo>
                    <a:pt x="1380" y="792"/>
                  </a:lnTo>
                  <a:lnTo>
                    <a:pt x="1374" y="798"/>
                  </a:lnTo>
                  <a:lnTo>
                    <a:pt x="1368" y="798"/>
                  </a:lnTo>
                  <a:lnTo>
                    <a:pt x="1380" y="804"/>
                  </a:lnTo>
                  <a:lnTo>
                    <a:pt x="1386" y="804"/>
                  </a:lnTo>
                  <a:lnTo>
                    <a:pt x="1380" y="822"/>
                  </a:lnTo>
                  <a:lnTo>
                    <a:pt x="1380" y="852"/>
                  </a:lnTo>
                  <a:lnTo>
                    <a:pt x="1374" y="858"/>
                  </a:lnTo>
                  <a:lnTo>
                    <a:pt x="1380" y="858"/>
                  </a:lnTo>
                  <a:lnTo>
                    <a:pt x="1374" y="864"/>
                  </a:lnTo>
                  <a:lnTo>
                    <a:pt x="1374" y="870"/>
                  </a:lnTo>
                  <a:lnTo>
                    <a:pt x="1374" y="876"/>
                  </a:lnTo>
                  <a:lnTo>
                    <a:pt x="1368" y="900"/>
                  </a:lnTo>
                  <a:lnTo>
                    <a:pt x="1362" y="906"/>
                  </a:lnTo>
                  <a:lnTo>
                    <a:pt x="1362" y="918"/>
                  </a:lnTo>
                  <a:lnTo>
                    <a:pt x="1362" y="924"/>
                  </a:lnTo>
                  <a:lnTo>
                    <a:pt x="1356" y="942"/>
                  </a:lnTo>
                  <a:lnTo>
                    <a:pt x="1350" y="972"/>
                  </a:lnTo>
                  <a:lnTo>
                    <a:pt x="1350" y="1014"/>
                  </a:lnTo>
                  <a:lnTo>
                    <a:pt x="1350" y="10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3" name="Freeform 18">
              <a:extLst>
                <a:ext uri="{FF2B5EF4-FFF2-40B4-BE49-F238E27FC236}">
                  <a16:creationId xmlns:a16="http://schemas.microsoft.com/office/drawing/2014/main" id="{EC11F2E0-3C06-46E2-8AD2-66EBE00FFE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32346" y="3837389"/>
              <a:ext cx="556811" cy="818559"/>
            </a:xfrm>
            <a:custGeom>
              <a:avLst/>
              <a:gdLst>
                <a:gd name="T0" fmla="*/ 12 w 1044"/>
                <a:gd name="T1" fmla="*/ 95 h 1542"/>
                <a:gd name="T2" fmla="*/ 7 w 1044"/>
                <a:gd name="T3" fmla="*/ 93 h 1542"/>
                <a:gd name="T4" fmla="*/ 0 w 1044"/>
                <a:gd name="T5" fmla="*/ 88 h 1542"/>
                <a:gd name="T6" fmla="*/ 3 w 1044"/>
                <a:gd name="T7" fmla="*/ 74 h 1542"/>
                <a:gd name="T8" fmla="*/ 4 w 1044"/>
                <a:gd name="T9" fmla="*/ 59 h 1542"/>
                <a:gd name="T10" fmla="*/ 7 w 1044"/>
                <a:gd name="T11" fmla="*/ 52 h 1542"/>
                <a:gd name="T12" fmla="*/ 20 w 1044"/>
                <a:gd name="T13" fmla="*/ 50 h 1542"/>
                <a:gd name="T14" fmla="*/ 24 w 1044"/>
                <a:gd name="T15" fmla="*/ 46 h 1542"/>
                <a:gd name="T16" fmla="*/ 29 w 1044"/>
                <a:gd name="T17" fmla="*/ 33 h 1542"/>
                <a:gd name="T18" fmla="*/ 32 w 1044"/>
                <a:gd name="T19" fmla="*/ 26 h 1542"/>
                <a:gd name="T20" fmla="*/ 30 w 1044"/>
                <a:gd name="T21" fmla="*/ 20 h 1542"/>
                <a:gd name="T22" fmla="*/ 26 w 1044"/>
                <a:gd name="T23" fmla="*/ 17 h 1542"/>
                <a:gd name="T24" fmla="*/ 28 w 1044"/>
                <a:gd name="T25" fmla="*/ 12 h 1542"/>
                <a:gd name="T26" fmla="*/ 44 w 1044"/>
                <a:gd name="T27" fmla="*/ 5 h 1542"/>
                <a:gd name="T28" fmla="*/ 57 w 1044"/>
                <a:gd name="T29" fmla="*/ 2 h 1542"/>
                <a:gd name="T30" fmla="*/ 65 w 1044"/>
                <a:gd name="T31" fmla="*/ 12 h 1542"/>
                <a:gd name="T32" fmla="*/ 81 w 1044"/>
                <a:gd name="T33" fmla="*/ 9 h 1542"/>
                <a:gd name="T34" fmla="*/ 91 w 1044"/>
                <a:gd name="T35" fmla="*/ 20 h 1542"/>
                <a:gd name="T36" fmla="*/ 89 w 1044"/>
                <a:gd name="T37" fmla="*/ 28 h 1542"/>
                <a:gd name="T38" fmla="*/ 83 w 1044"/>
                <a:gd name="T39" fmla="*/ 33 h 1542"/>
                <a:gd name="T40" fmla="*/ 74 w 1044"/>
                <a:gd name="T41" fmla="*/ 42 h 1542"/>
                <a:gd name="T42" fmla="*/ 58 w 1044"/>
                <a:gd name="T43" fmla="*/ 57 h 1542"/>
                <a:gd name="T44" fmla="*/ 54 w 1044"/>
                <a:gd name="T45" fmla="*/ 65 h 1542"/>
                <a:gd name="T46" fmla="*/ 59 w 1044"/>
                <a:gd name="T47" fmla="*/ 74 h 1542"/>
                <a:gd name="T48" fmla="*/ 55 w 1044"/>
                <a:gd name="T49" fmla="*/ 84 h 1542"/>
                <a:gd name="T50" fmla="*/ 52 w 1044"/>
                <a:gd name="T51" fmla="*/ 98 h 1542"/>
                <a:gd name="T52" fmla="*/ 47 w 1044"/>
                <a:gd name="T53" fmla="*/ 105 h 1542"/>
                <a:gd name="T54" fmla="*/ 42 w 1044"/>
                <a:gd name="T55" fmla="*/ 111 h 1542"/>
                <a:gd name="T56" fmla="*/ 43 w 1044"/>
                <a:gd name="T57" fmla="*/ 120 h 1542"/>
                <a:gd name="T58" fmla="*/ 45 w 1044"/>
                <a:gd name="T59" fmla="*/ 125 h 1542"/>
                <a:gd name="T60" fmla="*/ 44 w 1044"/>
                <a:gd name="T61" fmla="*/ 130 h 1542"/>
                <a:gd name="T62" fmla="*/ 45 w 1044"/>
                <a:gd name="T63" fmla="*/ 131 h 1542"/>
                <a:gd name="T64" fmla="*/ 48 w 1044"/>
                <a:gd name="T65" fmla="*/ 133 h 1542"/>
                <a:gd name="T66" fmla="*/ 39 w 1044"/>
                <a:gd name="T67" fmla="*/ 133 h 1542"/>
                <a:gd name="T68" fmla="*/ 42 w 1044"/>
                <a:gd name="T69" fmla="*/ 132 h 1542"/>
                <a:gd name="T70" fmla="*/ 38 w 1044"/>
                <a:gd name="T71" fmla="*/ 133 h 1542"/>
                <a:gd name="T72" fmla="*/ 37 w 1044"/>
                <a:gd name="T73" fmla="*/ 129 h 1542"/>
                <a:gd name="T74" fmla="*/ 40 w 1044"/>
                <a:gd name="T75" fmla="*/ 125 h 1542"/>
                <a:gd name="T76" fmla="*/ 40 w 1044"/>
                <a:gd name="T77" fmla="*/ 120 h 1542"/>
                <a:gd name="T78" fmla="*/ 40 w 1044"/>
                <a:gd name="T79" fmla="*/ 117 h 1542"/>
                <a:gd name="T80" fmla="*/ 37 w 1044"/>
                <a:gd name="T81" fmla="*/ 120 h 1542"/>
                <a:gd name="T82" fmla="*/ 34 w 1044"/>
                <a:gd name="T83" fmla="*/ 122 h 1542"/>
                <a:gd name="T84" fmla="*/ 36 w 1044"/>
                <a:gd name="T85" fmla="*/ 120 h 1542"/>
                <a:gd name="T86" fmla="*/ 30 w 1044"/>
                <a:gd name="T87" fmla="*/ 120 h 1542"/>
                <a:gd name="T88" fmla="*/ 31 w 1044"/>
                <a:gd name="T89" fmla="*/ 113 h 1542"/>
                <a:gd name="T90" fmla="*/ 29 w 1044"/>
                <a:gd name="T91" fmla="*/ 112 h 1542"/>
                <a:gd name="T92" fmla="*/ 31 w 1044"/>
                <a:gd name="T93" fmla="*/ 117 h 1542"/>
                <a:gd name="T94" fmla="*/ 27 w 1044"/>
                <a:gd name="T95" fmla="*/ 116 h 1542"/>
                <a:gd name="T96" fmla="*/ 25 w 1044"/>
                <a:gd name="T97" fmla="*/ 112 h 1542"/>
                <a:gd name="T98" fmla="*/ 21 w 1044"/>
                <a:gd name="T99" fmla="*/ 109 h 1542"/>
                <a:gd name="T100" fmla="*/ 21 w 1044"/>
                <a:gd name="T101" fmla="*/ 113 h 1542"/>
                <a:gd name="T102" fmla="*/ 40 w 1044"/>
                <a:gd name="T103" fmla="*/ 120 h 1542"/>
                <a:gd name="T104" fmla="*/ 40 w 1044"/>
                <a:gd name="T105" fmla="*/ 121 h 1542"/>
                <a:gd name="T106" fmla="*/ 40 w 1044"/>
                <a:gd name="T107" fmla="*/ 116 h 1542"/>
                <a:gd name="T108" fmla="*/ 38 w 1044"/>
                <a:gd name="T109" fmla="*/ 120 h 1542"/>
                <a:gd name="T110" fmla="*/ 23 w 1044"/>
                <a:gd name="T111" fmla="*/ 110 h 1542"/>
                <a:gd name="T112" fmla="*/ 37 w 1044"/>
                <a:gd name="T113" fmla="*/ 124 h 1542"/>
                <a:gd name="T114" fmla="*/ 40 w 1044"/>
                <a:gd name="T115" fmla="*/ 125 h 1542"/>
                <a:gd name="T116" fmla="*/ 38 w 1044"/>
                <a:gd name="T117" fmla="*/ 128 h 1542"/>
                <a:gd name="T118" fmla="*/ 25 w 1044"/>
                <a:gd name="T119" fmla="*/ 117 h 1542"/>
                <a:gd name="T120" fmla="*/ 27 w 1044"/>
                <a:gd name="T121" fmla="*/ 127 h 1542"/>
                <a:gd name="T122" fmla="*/ 24 w 1044"/>
                <a:gd name="T123" fmla="*/ 113 h 15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4"/>
                <a:gd name="T187" fmla="*/ 0 h 1542"/>
                <a:gd name="T188" fmla="*/ 1044 w 1044"/>
                <a:gd name="T189" fmla="*/ 1542 h 154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4" h="1542">
                  <a:moveTo>
                    <a:pt x="234" y="1278"/>
                  </a:moveTo>
                  <a:lnTo>
                    <a:pt x="228" y="1272"/>
                  </a:lnTo>
                  <a:lnTo>
                    <a:pt x="222" y="1266"/>
                  </a:lnTo>
                  <a:lnTo>
                    <a:pt x="222" y="1260"/>
                  </a:lnTo>
                  <a:lnTo>
                    <a:pt x="204" y="1248"/>
                  </a:lnTo>
                  <a:lnTo>
                    <a:pt x="192" y="1248"/>
                  </a:lnTo>
                  <a:lnTo>
                    <a:pt x="186" y="1236"/>
                  </a:lnTo>
                  <a:lnTo>
                    <a:pt x="174" y="1218"/>
                  </a:lnTo>
                  <a:lnTo>
                    <a:pt x="162" y="1194"/>
                  </a:lnTo>
                  <a:lnTo>
                    <a:pt x="156" y="1182"/>
                  </a:lnTo>
                  <a:lnTo>
                    <a:pt x="162" y="1146"/>
                  </a:lnTo>
                  <a:lnTo>
                    <a:pt x="156" y="1134"/>
                  </a:lnTo>
                  <a:lnTo>
                    <a:pt x="138" y="1122"/>
                  </a:lnTo>
                  <a:lnTo>
                    <a:pt x="132" y="1116"/>
                  </a:lnTo>
                  <a:lnTo>
                    <a:pt x="138" y="1098"/>
                  </a:lnTo>
                  <a:lnTo>
                    <a:pt x="138" y="1092"/>
                  </a:lnTo>
                  <a:lnTo>
                    <a:pt x="138" y="1086"/>
                  </a:lnTo>
                  <a:lnTo>
                    <a:pt x="132" y="1074"/>
                  </a:lnTo>
                  <a:lnTo>
                    <a:pt x="126" y="1074"/>
                  </a:lnTo>
                  <a:lnTo>
                    <a:pt x="126" y="1068"/>
                  </a:lnTo>
                  <a:lnTo>
                    <a:pt x="120" y="1062"/>
                  </a:lnTo>
                  <a:lnTo>
                    <a:pt x="120" y="1056"/>
                  </a:lnTo>
                  <a:lnTo>
                    <a:pt x="114" y="1050"/>
                  </a:lnTo>
                  <a:lnTo>
                    <a:pt x="108" y="1050"/>
                  </a:lnTo>
                  <a:lnTo>
                    <a:pt x="102" y="1056"/>
                  </a:lnTo>
                  <a:lnTo>
                    <a:pt x="102" y="1062"/>
                  </a:lnTo>
                  <a:lnTo>
                    <a:pt x="96" y="1062"/>
                  </a:lnTo>
                  <a:lnTo>
                    <a:pt x="96" y="1068"/>
                  </a:lnTo>
                  <a:lnTo>
                    <a:pt x="96" y="1074"/>
                  </a:lnTo>
                  <a:lnTo>
                    <a:pt x="90" y="1074"/>
                  </a:lnTo>
                  <a:lnTo>
                    <a:pt x="84" y="1080"/>
                  </a:lnTo>
                  <a:lnTo>
                    <a:pt x="78" y="1074"/>
                  </a:lnTo>
                  <a:lnTo>
                    <a:pt x="72" y="1074"/>
                  </a:lnTo>
                  <a:lnTo>
                    <a:pt x="72" y="1068"/>
                  </a:lnTo>
                  <a:lnTo>
                    <a:pt x="72" y="1062"/>
                  </a:lnTo>
                  <a:lnTo>
                    <a:pt x="60" y="1056"/>
                  </a:lnTo>
                  <a:lnTo>
                    <a:pt x="60" y="1044"/>
                  </a:lnTo>
                  <a:lnTo>
                    <a:pt x="60" y="1032"/>
                  </a:lnTo>
                  <a:lnTo>
                    <a:pt x="60" y="1026"/>
                  </a:lnTo>
                  <a:lnTo>
                    <a:pt x="54" y="1026"/>
                  </a:lnTo>
                  <a:lnTo>
                    <a:pt x="48" y="1014"/>
                  </a:lnTo>
                  <a:lnTo>
                    <a:pt x="42" y="1008"/>
                  </a:lnTo>
                  <a:lnTo>
                    <a:pt x="30" y="1008"/>
                  </a:lnTo>
                  <a:lnTo>
                    <a:pt x="30" y="1002"/>
                  </a:lnTo>
                  <a:lnTo>
                    <a:pt x="24" y="1008"/>
                  </a:lnTo>
                  <a:lnTo>
                    <a:pt x="12" y="1008"/>
                  </a:lnTo>
                  <a:lnTo>
                    <a:pt x="6" y="1008"/>
                  </a:lnTo>
                  <a:lnTo>
                    <a:pt x="0" y="1008"/>
                  </a:lnTo>
                  <a:lnTo>
                    <a:pt x="0" y="1002"/>
                  </a:lnTo>
                  <a:lnTo>
                    <a:pt x="6" y="990"/>
                  </a:lnTo>
                  <a:lnTo>
                    <a:pt x="6" y="984"/>
                  </a:lnTo>
                  <a:lnTo>
                    <a:pt x="0" y="978"/>
                  </a:lnTo>
                  <a:lnTo>
                    <a:pt x="6" y="972"/>
                  </a:lnTo>
                  <a:lnTo>
                    <a:pt x="12" y="972"/>
                  </a:lnTo>
                  <a:lnTo>
                    <a:pt x="72" y="978"/>
                  </a:lnTo>
                  <a:lnTo>
                    <a:pt x="78" y="972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30"/>
                  </a:lnTo>
                  <a:lnTo>
                    <a:pt x="54" y="912"/>
                  </a:lnTo>
                  <a:lnTo>
                    <a:pt x="42" y="906"/>
                  </a:lnTo>
                  <a:lnTo>
                    <a:pt x="36" y="894"/>
                  </a:lnTo>
                  <a:lnTo>
                    <a:pt x="30" y="876"/>
                  </a:lnTo>
                  <a:lnTo>
                    <a:pt x="30" y="858"/>
                  </a:lnTo>
                  <a:lnTo>
                    <a:pt x="30" y="840"/>
                  </a:lnTo>
                  <a:lnTo>
                    <a:pt x="36" y="816"/>
                  </a:lnTo>
                  <a:lnTo>
                    <a:pt x="36" y="792"/>
                  </a:lnTo>
                  <a:lnTo>
                    <a:pt x="36" y="780"/>
                  </a:lnTo>
                  <a:lnTo>
                    <a:pt x="12" y="774"/>
                  </a:lnTo>
                  <a:lnTo>
                    <a:pt x="24" y="756"/>
                  </a:lnTo>
                  <a:lnTo>
                    <a:pt x="24" y="744"/>
                  </a:lnTo>
                  <a:lnTo>
                    <a:pt x="30" y="738"/>
                  </a:lnTo>
                  <a:lnTo>
                    <a:pt x="30" y="732"/>
                  </a:lnTo>
                  <a:lnTo>
                    <a:pt x="36" y="720"/>
                  </a:lnTo>
                  <a:lnTo>
                    <a:pt x="42" y="714"/>
                  </a:lnTo>
                  <a:lnTo>
                    <a:pt x="54" y="708"/>
                  </a:lnTo>
                  <a:lnTo>
                    <a:pt x="60" y="702"/>
                  </a:lnTo>
                  <a:lnTo>
                    <a:pt x="48" y="690"/>
                  </a:lnTo>
                  <a:lnTo>
                    <a:pt x="48" y="684"/>
                  </a:lnTo>
                  <a:lnTo>
                    <a:pt x="48" y="678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66"/>
                  </a:lnTo>
                  <a:lnTo>
                    <a:pt x="72" y="654"/>
                  </a:lnTo>
                  <a:lnTo>
                    <a:pt x="72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84" y="630"/>
                  </a:lnTo>
                  <a:lnTo>
                    <a:pt x="90" y="630"/>
                  </a:lnTo>
                  <a:lnTo>
                    <a:pt x="96" y="630"/>
                  </a:lnTo>
                  <a:lnTo>
                    <a:pt x="96" y="624"/>
                  </a:lnTo>
                  <a:lnTo>
                    <a:pt x="90" y="624"/>
                  </a:lnTo>
                  <a:lnTo>
                    <a:pt x="84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90" y="600"/>
                  </a:lnTo>
                  <a:lnTo>
                    <a:pt x="84" y="600"/>
                  </a:lnTo>
                  <a:lnTo>
                    <a:pt x="78" y="594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126" y="564"/>
                  </a:lnTo>
                  <a:lnTo>
                    <a:pt x="144" y="564"/>
                  </a:lnTo>
                  <a:lnTo>
                    <a:pt x="156" y="582"/>
                  </a:lnTo>
                  <a:lnTo>
                    <a:pt x="162" y="600"/>
                  </a:lnTo>
                  <a:lnTo>
                    <a:pt x="180" y="588"/>
                  </a:lnTo>
                  <a:lnTo>
                    <a:pt x="192" y="588"/>
                  </a:lnTo>
                  <a:lnTo>
                    <a:pt x="198" y="588"/>
                  </a:lnTo>
                  <a:lnTo>
                    <a:pt x="210" y="582"/>
                  </a:lnTo>
                  <a:lnTo>
                    <a:pt x="216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58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46" y="558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58" y="570"/>
                  </a:lnTo>
                  <a:lnTo>
                    <a:pt x="264" y="570"/>
                  </a:lnTo>
                  <a:lnTo>
                    <a:pt x="270" y="564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46"/>
                  </a:lnTo>
                  <a:lnTo>
                    <a:pt x="276" y="540"/>
                  </a:lnTo>
                  <a:lnTo>
                    <a:pt x="276" y="534"/>
                  </a:lnTo>
                  <a:lnTo>
                    <a:pt x="276" y="528"/>
                  </a:lnTo>
                  <a:lnTo>
                    <a:pt x="282" y="528"/>
                  </a:lnTo>
                  <a:lnTo>
                    <a:pt x="282" y="522"/>
                  </a:lnTo>
                  <a:lnTo>
                    <a:pt x="282" y="516"/>
                  </a:lnTo>
                  <a:lnTo>
                    <a:pt x="282" y="510"/>
                  </a:lnTo>
                  <a:lnTo>
                    <a:pt x="282" y="504"/>
                  </a:lnTo>
                  <a:lnTo>
                    <a:pt x="282" y="492"/>
                  </a:lnTo>
                  <a:lnTo>
                    <a:pt x="288" y="486"/>
                  </a:lnTo>
                  <a:lnTo>
                    <a:pt x="300" y="480"/>
                  </a:lnTo>
                  <a:lnTo>
                    <a:pt x="306" y="462"/>
                  </a:lnTo>
                  <a:lnTo>
                    <a:pt x="318" y="444"/>
                  </a:lnTo>
                  <a:lnTo>
                    <a:pt x="330" y="444"/>
                  </a:lnTo>
                  <a:lnTo>
                    <a:pt x="330" y="432"/>
                  </a:lnTo>
                  <a:lnTo>
                    <a:pt x="342" y="432"/>
                  </a:lnTo>
                  <a:lnTo>
                    <a:pt x="354" y="402"/>
                  </a:lnTo>
                  <a:lnTo>
                    <a:pt x="348" y="390"/>
                  </a:lnTo>
                  <a:lnTo>
                    <a:pt x="336" y="384"/>
                  </a:lnTo>
                  <a:lnTo>
                    <a:pt x="336" y="360"/>
                  </a:lnTo>
                  <a:lnTo>
                    <a:pt x="336" y="354"/>
                  </a:lnTo>
                  <a:lnTo>
                    <a:pt x="336" y="342"/>
                  </a:lnTo>
                  <a:lnTo>
                    <a:pt x="342" y="336"/>
                  </a:lnTo>
                  <a:lnTo>
                    <a:pt x="342" y="324"/>
                  </a:lnTo>
                  <a:lnTo>
                    <a:pt x="372" y="324"/>
                  </a:lnTo>
                  <a:lnTo>
                    <a:pt x="378" y="324"/>
                  </a:lnTo>
                  <a:lnTo>
                    <a:pt x="378" y="318"/>
                  </a:lnTo>
                  <a:lnTo>
                    <a:pt x="372" y="312"/>
                  </a:lnTo>
                  <a:lnTo>
                    <a:pt x="378" y="312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84" y="300"/>
                  </a:lnTo>
                  <a:lnTo>
                    <a:pt x="384" y="294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66" y="294"/>
                  </a:lnTo>
                  <a:lnTo>
                    <a:pt x="366" y="288"/>
                  </a:lnTo>
                  <a:lnTo>
                    <a:pt x="372" y="288"/>
                  </a:lnTo>
                  <a:lnTo>
                    <a:pt x="372" y="282"/>
                  </a:lnTo>
                  <a:lnTo>
                    <a:pt x="366" y="276"/>
                  </a:lnTo>
                  <a:lnTo>
                    <a:pt x="360" y="270"/>
                  </a:lnTo>
                  <a:lnTo>
                    <a:pt x="360" y="264"/>
                  </a:lnTo>
                  <a:lnTo>
                    <a:pt x="354" y="264"/>
                  </a:lnTo>
                  <a:lnTo>
                    <a:pt x="348" y="258"/>
                  </a:lnTo>
                  <a:lnTo>
                    <a:pt x="354" y="258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40"/>
                  </a:lnTo>
                  <a:lnTo>
                    <a:pt x="354" y="240"/>
                  </a:lnTo>
                  <a:lnTo>
                    <a:pt x="342" y="234"/>
                  </a:lnTo>
                  <a:lnTo>
                    <a:pt x="342" y="228"/>
                  </a:lnTo>
                  <a:lnTo>
                    <a:pt x="348" y="228"/>
                  </a:lnTo>
                  <a:lnTo>
                    <a:pt x="342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6" y="216"/>
                  </a:lnTo>
                  <a:lnTo>
                    <a:pt x="330" y="222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24" y="210"/>
                  </a:lnTo>
                  <a:lnTo>
                    <a:pt x="318" y="210"/>
                  </a:lnTo>
                  <a:lnTo>
                    <a:pt x="318" y="204"/>
                  </a:lnTo>
                  <a:lnTo>
                    <a:pt x="312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294" y="192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300" y="174"/>
                  </a:lnTo>
                  <a:lnTo>
                    <a:pt x="300" y="168"/>
                  </a:lnTo>
                  <a:lnTo>
                    <a:pt x="300" y="162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88" y="150"/>
                  </a:lnTo>
                  <a:lnTo>
                    <a:pt x="288" y="144"/>
                  </a:lnTo>
                  <a:lnTo>
                    <a:pt x="282" y="144"/>
                  </a:lnTo>
                  <a:lnTo>
                    <a:pt x="282" y="138"/>
                  </a:lnTo>
                  <a:lnTo>
                    <a:pt x="312" y="132"/>
                  </a:lnTo>
                  <a:lnTo>
                    <a:pt x="324" y="120"/>
                  </a:lnTo>
                  <a:lnTo>
                    <a:pt x="330" y="114"/>
                  </a:lnTo>
                  <a:lnTo>
                    <a:pt x="336" y="102"/>
                  </a:lnTo>
                  <a:lnTo>
                    <a:pt x="348" y="90"/>
                  </a:lnTo>
                  <a:lnTo>
                    <a:pt x="360" y="84"/>
                  </a:lnTo>
                  <a:lnTo>
                    <a:pt x="372" y="84"/>
                  </a:lnTo>
                  <a:lnTo>
                    <a:pt x="378" y="84"/>
                  </a:lnTo>
                  <a:lnTo>
                    <a:pt x="384" y="90"/>
                  </a:lnTo>
                  <a:lnTo>
                    <a:pt x="402" y="90"/>
                  </a:lnTo>
                  <a:lnTo>
                    <a:pt x="438" y="84"/>
                  </a:lnTo>
                  <a:lnTo>
                    <a:pt x="456" y="84"/>
                  </a:lnTo>
                  <a:lnTo>
                    <a:pt x="462" y="78"/>
                  </a:lnTo>
                  <a:lnTo>
                    <a:pt x="486" y="72"/>
                  </a:lnTo>
                  <a:lnTo>
                    <a:pt x="492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04" y="54"/>
                  </a:lnTo>
                  <a:lnTo>
                    <a:pt x="510" y="42"/>
                  </a:lnTo>
                  <a:lnTo>
                    <a:pt x="504" y="42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498" y="30"/>
                  </a:lnTo>
                  <a:lnTo>
                    <a:pt x="492" y="30"/>
                  </a:lnTo>
                  <a:lnTo>
                    <a:pt x="492" y="24"/>
                  </a:lnTo>
                  <a:lnTo>
                    <a:pt x="486" y="18"/>
                  </a:lnTo>
                  <a:lnTo>
                    <a:pt x="498" y="18"/>
                  </a:lnTo>
                  <a:lnTo>
                    <a:pt x="510" y="18"/>
                  </a:lnTo>
                  <a:lnTo>
                    <a:pt x="522" y="12"/>
                  </a:lnTo>
                  <a:lnTo>
                    <a:pt x="528" y="6"/>
                  </a:lnTo>
                  <a:lnTo>
                    <a:pt x="570" y="0"/>
                  </a:lnTo>
                  <a:lnTo>
                    <a:pt x="606" y="6"/>
                  </a:lnTo>
                  <a:lnTo>
                    <a:pt x="654" y="24"/>
                  </a:lnTo>
                  <a:lnTo>
                    <a:pt x="666" y="36"/>
                  </a:lnTo>
                  <a:lnTo>
                    <a:pt x="672" y="30"/>
                  </a:lnTo>
                  <a:lnTo>
                    <a:pt x="690" y="42"/>
                  </a:lnTo>
                  <a:lnTo>
                    <a:pt x="702" y="48"/>
                  </a:lnTo>
                  <a:lnTo>
                    <a:pt x="714" y="60"/>
                  </a:lnTo>
                  <a:lnTo>
                    <a:pt x="714" y="66"/>
                  </a:lnTo>
                  <a:lnTo>
                    <a:pt x="720" y="72"/>
                  </a:lnTo>
                  <a:lnTo>
                    <a:pt x="720" y="78"/>
                  </a:lnTo>
                  <a:lnTo>
                    <a:pt x="720" y="102"/>
                  </a:lnTo>
                  <a:lnTo>
                    <a:pt x="720" y="108"/>
                  </a:lnTo>
                  <a:lnTo>
                    <a:pt x="714" y="108"/>
                  </a:lnTo>
                  <a:lnTo>
                    <a:pt x="714" y="126"/>
                  </a:lnTo>
                  <a:lnTo>
                    <a:pt x="732" y="126"/>
                  </a:lnTo>
                  <a:lnTo>
                    <a:pt x="726" y="132"/>
                  </a:lnTo>
                  <a:lnTo>
                    <a:pt x="738" y="132"/>
                  </a:lnTo>
                  <a:lnTo>
                    <a:pt x="738" y="138"/>
                  </a:lnTo>
                  <a:lnTo>
                    <a:pt x="738" y="144"/>
                  </a:lnTo>
                  <a:lnTo>
                    <a:pt x="744" y="144"/>
                  </a:lnTo>
                  <a:lnTo>
                    <a:pt x="744" y="150"/>
                  </a:lnTo>
                  <a:lnTo>
                    <a:pt x="756" y="156"/>
                  </a:lnTo>
                  <a:lnTo>
                    <a:pt x="768" y="156"/>
                  </a:lnTo>
                  <a:lnTo>
                    <a:pt x="780" y="156"/>
                  </a:lnTo>
                  <a:lnTo>
                    <a:pt x="792" y="150"/>
                  </a:lnTo>
                  <a:lnTo>
                    <a:pt x="786" y="150"/>
                  </a:lnTo>
                  <a:lnTo>
                    <a:pt x="786" y="144"/>
                  </a:lnTo>
                  <a:lnTo>
                    <a:pt x="804" y="144"/>
                  </a:lnTo>
                  <a:lnTo>
                    <a:pt x="816" y="132"/>
                  </a:lnTo>
                  <a:lnTo>
                    <a:pt x="822" y="126"/>
                  </a:lnTo>
                  <a:lnTo>
                    <a:pt x="828" y="132"/>
                  </a:lnTo>
                  <a:lnTo>
                    <a:pt x="834" y="126"/>
                  </a:lnTo>
                  <a:lnTo>
                    <a:pt x="834" y="120"/>
                  </a:lnTo>
                  <a:lnTo>
                    <a:pt x="924" y="108"/>
                  </a:lnTo>
                  <a:lnTo>
                    <a:pt x="942" y="144"/>
                  </a:lnTo>
                  <a:lnTo>
                    <a:pt x="948" y="144"/>
                  </a:lnTo>
                  <a:lnTo>
                    <a:pt x="960" y="168"/>
                  </a:lnTo>
                  <a:lnTo>
                    <a:pt x="972" y="186"/>
                  </a:lnTo>
                  <a:lnTo>
                    <a:pt x="984" y="192"/>
                  </a:lnTo>
                  <a:lnTo>
                    <a:pt x="996" y="192"/>
                  </a:lnTo>
                  <a:lnTo>
                    <a:pt x="996" y="198"/>
                  </a:lnTo>
                  <a:lnTo>
                    <a:pt x="1008" y="204"/>
                  </a:lnTo>
                  <a:lnTo>
                    <a:pt x="1008" y="210"/>
                  </a:lnTo>
                  <a:lnTo>
                    <a:pt x="1002" y="210"/>
                  </a:lnTo>
                  <a:lnTo>
                    <a:pt x="1008" y="216"/>
                  </a:lnTo>
                  <a:lnTo>
                    <a:pt x="1014" y="210"/>
                  </a:lnTo>
                  <a:lnTo>
                    <a:pt x="1014" y="216"/>
                  </a:lnTo>
                  <a:lnTo>
                    <a:pt x="1020" y="222"/>
                  </a:lnTo>
                  <a:lnTo>
                    <a:pt x="1014" y="228"/>
                  </a:lnTo>
                  <a:lnTo>
                    <a:pt x="1032" y="234"/>
                  </a:lnTo>
                  <a:lnTo>
                    <a:pt x="1044" y="240"/>
                  </a:lnTo>
                  <a:lnTo>
                    <a:pt x="1038" y="246"/>
                  </a:lnTo>
                  <a:lnTo>
                    <a:pt x="1038" y="252"/>
                  </a:lnTo>
                  <a:lnTo>
                    <a:pt x="1038" y="258"/>
                  </a:lnTo>
                  <a:lnTo>
                    <a:pt x="1032" y="264"/>
                  </a:lnTo>
                  <a:lnTo>
                    <a:pt x="1032" y="270"/>
                  </a:lnTo>
                  <a:lnTo>
                    <a:pt x="1032" y="276"/>
                  </a:lnTo>
                  <a:lnTo>
                    <a:pt x="1032" y="282"/>
                  </a:lnTo>
                  <a:lnTo>
                    <a:pt x="1026" y="282"/>
                  </a:lnTo>
                  <a:lnTo>
                    <a:pt x="1026" y="288"/>
                  </a:lnTo>
                  <a:lnTo>
                    <a:pt x="1026" y="294"/>
                  </a:lnTo>
                  <a:lnTo>
                    <a:pt x="1026" y="300"/>
                  </a:lnTo>
                  <a:lnTo>
                    <a:pt x="1026" y="306"/>
                  </a:lnTo>
                  <a:lnTo>
                    <a:pt x="1020" y="318"/>
                  </a:lnTo>
                  <a:lnTo>
                    <a:pt x="1020" y="324"/>
                  </a:lnTo>
                  <a:lnTo>
                    <a:pt x="1014" y="324"/>
                  </a:lnTo>
                  <a:lnTo>
                    <a:pt x="1014" y="330"/>
                  </a:lnTo>
                  <a:lnTo>
                    <a:pt x="1014" y="336"/>
                  </a:lnTo>
                  <a:lnTo>
                    <a:pt x="1008" y="366"/>
                  </a:lnTo>
                  <a:lnTo>
                    <a:pt x="1002" y="366"/>
                  </a:lnTo>
                  <a:lnTo>
                    <a:pt x="984" y="354"/>
                  </a:lnTo>
                  <a:lnTo>
                    <a:pt x="978" y="354"/>
                  </a:lnTo>
                  <a:lnTo>
                    <a:pt x="972" y="354"/>
                  </a:lnTo>
                  <a:lnTo>
                    <a:pt x="966" y="348"/>
                  </a:lnTo>
                  <a:lnTo>
                    <a:pt x="954" y="348"/>
                  </a:lnTo>
                  <a:lnTo>
                    <a:pt x="948" y="348"/>
                  </a:lnTo>
                  <a:lnTo>
                    <a:pt x="948" y="360"/>
                  </a:lnTo>
                  <a:lnTo>
                    <a:pt x="948" y="366"/>
                  </a:lnTo>
                  <a:lnTo>
                    <a:pt x="948" y="372"/>
                  </a:lnTo>
                  <a:lnTo>
                    <a:pt x="948" y="378"/>
                  </a:lnTo>
                  <a:lnTo>
                    <a:pt x="948" y="384"/>
                  </a:lnTo>
                  <a:lnTo>
                    <a:pt x="942" y="384"/>
                  </a:lnTo>
                  <a:lnTo>
                    <a:pt x="942" y="390"/>
                  </a:lnTo>
                  <a:lnTo>
                    <a:pt x="936" y="390"/>
                  </a:lnTo>
                  <a:lnTo>
                    <a:pt x="942" y="390"/>
                  </a:lnTo>
                  <a:lnTo>
                    <a:pt x="936" y="396"/>
                  </a:lnTo>
                  <a:lnTo>
                    <a:pt x="930" y="402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2" y="432"/>
                  </a:lnTo>
                  <a:lnTo>
                    <a:pt x="900" y="450"/>
                  </a:lnTo>
                  <a:lnTo>
                    <a:pt x="894" y="456"/>
                  </a:lnTo>
                  <a:lnTo>
                    <a:pt x="888" y="456"/>
                  </a:lnTo>
                  <a:lnTo>
                    <a:pt x="882" y="456"/>
                  </a:lnTo>
                  <a:lnTo>
                    <a:pt x="876" y="456"/>
                  </a:lnTo>
                  <a:lnTo>
                    <a:pt x="864" y="462"/>
                  </a:lnTo>
                  <a:lnTo>
                    <a:pt x="852" y="474"/>
                  </a:lnTo>
                  <a:lnTo>
                    <a:pt x="846" y="480"/>
                  </a:lnTo>
                  <a:lnTo>
                    <a:pt x="840" y="486"/>
                  </a:lnTo>
                  <a:lnTo>
                    <a:pt x="834" y="498"/>
                  </a:lnTo>
                  <a:lnTo>
                    <a:pt x="828" y="510"/>
                  </a:lnTo>
                  <a:lnTo>
                    <a:pt x="816" y="522"/>
                  </a:lnTo>
                  <a:lnTo>
                    <a:pt x="798" y="540"/>
                  </a:lnTo>
                  <a:lnTo>
                    <a:pt x="780" y="558"/>
                  </a:lnTo>
                  <a:lnTo>
                    <a:pt x="774" y="558"/>
                  </a:lnTo>
                  <a:lnTo>
                    <a:pt x="756" y="576"/>
                  </a:lnTo>
                  <a:lnTo>
                    <a:pt x="732" y="600"/>
                  </a:lnTo>
                  <a:lnTo>
                    <a:pt x="726" y="600"/>
                  </a:lnTo>
                  <a:lnTo>
                    <a:pt x="720" y="606"/>
                  </a:lnTo>
                  <a:lnTo>
                    <a:pt x="714" y="612"/>
                  </a:lnTo>
                  <a:lnTo>
                    <a:pt x="690" y="630"/>
                  </a:lnTo>
                  <a:lnTo>
                    <a:pt x="678" y="636"/>
                  </a:lnTo>
                  <a:lnTo>
                    <a:pt x="672" y="642"/>
                  </a:lnTo>
                  <a:lnTo>
                    <a:pt x="660" y="660"/>
                  </a:lnTo>
                  <a:lnTo>
                    <a:pt x="642" y="666"/>
                  </a:lnTo>
                  <a:lnTo>
                    <a:pt x="636" y="678"/>
                  </a:lnTo>
                  <a:lnTo>
                    <a:pt x="630" y="678"/>
                  </a:lnTo>
                  <a:lnTo>
                    <a:pt x="630" y="684"/>
                  </a:lnTo>
                  <a:lnTo>
                    <a:pt x="630" y="690"/>
                  </a:lnTo>
                  <a:lnTo>
                    <a:pt x="636" y="696"/>
                  </a:lnTo>
                  <a:lnTo>
                    <a:pt x="642" y="696"/>
                  </a:lnTo>
                  <a:lnTo>
                    <a:pt x="648" y="702"/>
                  </a:lnTo>
                  <a:lnTo>
                    <a:pt x="648" y="708"/>
                  </a:lnTo>
                  <a:lnTo>
                    <a:pt x="642" y="708"/>
                  </a:lnTo>
                  <a:lnTo>
                    <a:pt x="636" y="714"/>
                  </a:lnTo>
                  <a:lnTo>
                    <a:pt x="636" y="720"/>
                  </a:lnTo>
                  <a:lnTo>
                    <a:pt x="642" y="726"/>
                  </a:lnTo>
                  <a:lnTo>
                    <a:pt x="636" y="738"/>
                  </a:lnTo>
                  <a:lnTo>
                    <a:pt x="618" y="756"/>
                  </a:lnTo>
                  <a:lnTo>
                    <a:pt x="612" y="750"/>
                  </a:lnTo>
                  <a:lnTo>
                    <a:pt x="612" y="756"/>
                  </a:lnTo>
                  <a:lnTo>
                    <a:pt x="618" y="762"/>
                  </a:lnTo>
                  <a:lnTo>
                    <a:pt x="618" y="768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36" y="786"/>
                  </a:lnTo>
                  <a:lnTo>
                    <a:pt x="642" y="792"/>
                  </a:lnTo>
                  <a:lnTo>
                    <a:pt x="642" y="798"/>
                  </a:lnTo>
                  <a:lnTo>
                    <a:pt x="648" y="804"/>
                  </a:lnTo>
                  <a:lnTo>
                    <a:pt x="654" y="810"/>
                  </a:lnTo>
                  <a:lnTo>
                    <a:pt x="660" y="816"/>
                  </a:lnTo>
                  <a:lnTo>
                    <a:pt x="666" y="816"/>
                  </a:lnTo>
                  <a:lnTo>
                    <a:pt x="666" y="822"/>
                  </a:lnTo>
                  <a:lnTo>
                    <a:pt x="672" y="828"/>
                  </a:lnTo>
                  <a:lnTo>
                    <a:pt x="672" y="840"/>
                  </a:lnTo>
                  <a:lnTo>
                    <a:pt x="672" y="846"/>
                  </a:lnTo>
                  <a:lnTo>
                    <a:pt x="666" y="852"/>
                  </a:lnTo>
                  <a:lnTo>
                    <a:pt x="660" y="864"/>
                  </a:lnTo>
                  <a:lnTo>
                    <a:pt x="654" y="876"/>
                  </a:lnTo>
                  <a:lnTo>
                    <a:pt x="648" y="882"/>
                  </a:lnTo>
                  <a:lnTo>
                    <a:pt x="642" y="888"/>
                  </a:lnTo>
                  <a:lnTo>
                    <a:pt x="642" y="894"/>
                  </a:lnTo>
                  <a:lnTo>
                    <a:pt x="642" y="906"/>
                  </a:lnTo>
                  <a:lnTo>
                    <a:pt x="630" y="918"/>
                  </a:lnTo>
                  <a:lnTo>
                    <a:pt x="630" y="924"/>
                  </a:lnTo>
                  <a:lnTo>
                    <a:pt x="624" y="930"/>
                  </a:lnTo>
                  <a:lnTo>
                    <a:pt x="630" y="936"/>
                  </a:lnTo>
                  <a:lnTo>
                    <a:pt x="630" y="942"/>
                  </a:lnTo>
                  <a:lnTo>
                    <a:pt x="630" y="948"/>
                  </a:lnTo>
                  <a:lnTo>
                    <a:pt x="630" y="954"/>
                  </a:lnTo>
                  <a:lnTo>
                    <a:pt x="630" y="960"/>
                  </a:lnTo>
                  <a:lnTo>
                    <a:pt x="624" y="966"/>
                  </a:lnTo>
                  <a:lnTo>
                    <a:pt x="618" y="990"/>
                  </a:lnTo>
                  <a:lnTo>
                    <a:pt x="618" y="1008"/>
                  </a:lnTo>
                  <a:lnTo>
                    <a:pt x="612" y="1026"/>
                  </a:lnTo>
                  <a:lnTo>
                    <a:pt x="612" y="1038"/>
                  </a:lnTo>
                  <a:lnTo>
                    <a:pt x="612" y="1050"/>
                  </a:lnTo>
                  <a:lnTo>
                    <a:pt x="612" y="1056"/>
                  </a:lnTo>
                  <a:lnTo>
                    <a:pt x="612" y="1062"/>
                  </a:lnTo>
                  <a:lnTo>
                    <a:pt x="612" y="1068"/>
                  </a:lnTo>
                  <a:lnTo>
                    <a:pt x="612" y="1086"/>
                  </a:lnTo>
                  <a:lnTo>
                    <a:pt x="612" y="1092"/>
                  </a:lnTo>
                  <a:lnTo>
                    <a:pt x="606" y="1098"/>
                  </a:lnTo>
                  <a:lnTo>
                    <a:pt x="600" y="1110"/>
                  </a:lnTo>
                  <a:lnTo>
                    <a:pt x="600" y="1116"/>
                  </a:lnTo>
                  <a:lnTo>
                    <a:pt x="594" y="1122"/>
                  </a:lnTo>
                  <a:lnTo>
                    <a:pt x="594" y="1128"/>
                  </a:lnTo>
                  <a:lnTo>
                    <a:pt x="588" y="1134"/>
                  </a:lnTo>
                  <a:lnTo>
                    <a:pt x="582" y="1140"/>
                  </a:lnTo>
                  <a:lnTo>
                    <a:pt x="570" y="1140"/>
                  </a:lnTo>
                  <a:lnTo>
                    <a:pt x="564" y="1146"/>
                  </a:lnTo>
                  <a:lnTo>
                    <a:pt x="570" y="1146"/>
                  </a:lnTo>
                  <a:lnTo>
                    <a:pt x="564" y="1152"/>
                  </a:lnTo>
                  <a:lnTo>
                    <a:pt x="558" y="1158"/>
                  </a:lnTo>
                  <a:lnTo>
                    <a:pt x="552" y="1164"/>
                  </a:lnTo>
                  <a:lnTo>
                    <a:pt x="552" y="1170"/>
                  </a:lnTo>
                  <a:lnTo>
                    <a:pt x="546" y="1176"/>
                  </a:lnTo>
                  <a:lnTo>
                    <a:pt x="546" y="1182"/>
                  </a:lnTo>
                  <a:lnTo>
                    <a:pt x="546" y="1188"/>
                  </a:lnTo>
                  <a:lnTo>
                    <a:pt x="540" y="1188"/>
                  </a:lnTo>
                  <a:lnTo>
                    <a:pt x="540" y="1194"/>
                  </a:lnTo>
                  <a:lnTo>
                    <a:pt x="528" y="1206"/>
                  </a:lnTo>
                  <a:lnTo>
                    <a:pt x="528" y="1212"/>
                  </a:lnTo>
                  <a:lnTo>
                    <a:pt x="534" y="1212"/>
                  </a:lnTo>
                  <a:lnTo>
                    <a:pt x="540" y="1218"/>
                  </a:lnTo>
                  <a:lnTo>
                    <a:pt x="534" y="1218"/>
                  </a:lnTo>
                  <a:lnTo>
                    <a:pt x="528" y="1218"/>
                  </a:lnTo>
                  <a:lnTo>
                    <a:pt x="528" y="1224"/>
                  </a:lnTo>
                  <a:lnTo>
                    <a:pt x="522" y="1230"/>
                  </a:lnTo>
                  <a:lnTo>
                    <a:pt x="516" y="1236"/>
                  </a:lnTo>
                  <a:lnTo>
                    <a:pt x="522" y="1236"/>
                  </a:lnTo>
                  <a:lnTo>
                    <a:pt x="516" y="1242"/>
                  </a:lnTo>
                  <a:lnTo>
                    <a:pt x="510" y="1242"/>
                  </a:lnTo>
                  <a:lnTo>
                    <a:pt x="504" y="1248"/>
                  </a:lnTo>
                  <a:lnTo>
                    <a:pt x="510" y="1260"/>
                  </a:lnTo>
                  <a:lnTo>
                    <a:pt x="504" y="1266"/>
                  </a:lnTo>
                  <a:lnTo>
                    <a:pt x="492" y="1266"/>
                  </a:lnTo>
                  <a:lnTo>
                    <a:pt x="486" y="1272"/>
                  </a:lnTo>
                  <a:lnTo>
                    <a:pt x="486" y="1278"/>
                  </a:lnTo>
                  <a:lnTo>
                    <a:pt x="480" y="1278"/>
                  </a:lnTo>
                  <a:lnTo>
                    <a:pt x="480" y="1284"/>
                  </a:lnTo>
                  <a:lnTo>
                    <a:pt x="480" y="1290"/>
                  </a:lnTo>
                  <a:lnTo>
                    <a:pt x="480" y="1296"/>
                  </a:lnTo>
                  <a:lnTo>
                    <a:pt x="492" y="1302"/>
                  </a:lnTo>
                  <a:lnTo>
                    <a:pt x="492" y="1308"/>
                  </a:lnTo>
                  <a:lnTo>
                    <a:pt x="492" y="1320"/>
                  </a:lnTo>
                  <a:lnTo>
                    <a:pt x="492" y="1332"/>
                  </a:lnTo>
                  <a:lnTo>
                    <a:pt x="498" y="1344"/>
                  </a:lnTo>
                  <a:lnTo>
                    <a:pt x="498" y="1350"/>
                  </a:lnTo>
                  <a:lnTo>
                    <a:pt x="498" y="1356"/>
                  </a:lnTo>
                  <a:lnTo>
                    <a:pt x="504" y="1362"/>
                  </a:lnTo>
                  <a:lnTo>
                    <a:pt x="498" y="1362"/>
                  </a:lnTo>
                  <a:lnTo>
                    <a:pt x="498" y="1368"/>
                  </a:lnTo>
                  <a:lnTo>
                    <a:pt x="492" y="1368"/>
                  </a:lnTo>
                  <a:lnTo>
                    <a:pt x="492" y="1374"/>
                  </a:lnTo>
                  <a:lnTo>
                    <a:pt x="492" y="1380"/>
                  </a:lnTo>
                  <a:lnTo>
                    <a:pt x="498" y="1380"/>
                  </a:lnTo>
                  <a:lnTo>
                    <a:pt x="504" y="1380"/>
                  </a:lnTo>
                  <a:lnTo>
                    <a:pt x="498" y="1386"/>
                  </a:lnTo>
                  <a:lnTo>
                    <a:pt x="498" y="1392"/>
                  </a:lnTo>
                  <a:lnTo>
                    <a:pt x="498" y="1398"/>
                  </a:lnTo>
                  <a:lnTo>
                    <a:pt x="498" y="1404"/>
                  </a:lnTo>
                  <a:lnTo>
                    <a:pt x="498" y="1410"/>
                  </a:lnTo>
                  <a:lnTo>
                    <a:pt x="498" y="1416"/>
                  </a:lnTo>
                  <a:lnTo>
                    <a:pt x="492" y="1416"/>
                  </a:lnTo>
                  <a:lnTo>
                    <a:pt x="498" y="1416"/>
                  </a:lnTo>
                  <a:lnTo>
                    <a:pt x="504" y="1416"/>
                  </a:lnTo>
                  <a:lnTo>
                    <a:pt x="504" y="1422"/>
                  </a:lnTo>
                  <a:lnTo>
                    <a:pt x="510" y="1428"/>
                  </a:lnTo>
                  <a:lnTo>
                    <a:pt x="510" y="1434"/>
                  </a:lnTo>
                  <a:lnTo>
                    <a:pt x="510" y="1440"/>
                  </a:lnTo>
                  <a:lnTo>
                    <a:pt x="516" y="1446"/>
                  </a:lnTo>
                  <a:lnTo>
                    <a:pt x="516" y="1452"/>
                  </a:lnTo>
                  <a:lnTo>
                    <a:pt x="516" y="1458"/>
                  </a:lnTo>
                  <a:lnTo>
                    <a:pt x="516" y="1464"/>
                  </a:lnTo>
                  <a:lnTo>
                    <a:pt x="516" y="1482"/>
                  </a:lnTo>
                  <a:lnTo>
                    <a:pt x="516" y="1488"/>
                  </a:lnTo>
                  <a:lnTo>
                    <a:pt x="522" y="1488"/>
                  </a:lnTo>
                  <a:lnTo>
                    <a:pt x="522" y="1494"/>
                  </a:lnTo>
                  <a:lnTo>
                    <a:pt x="522" y="1500"/>
                  </a:lnTo>
                  <a:lnTo>
                    <a:pt x="516" y="1506"/>
                  </a:lnTo>
                  <a:lnTo>
                    <a:pt x="510" y="1500"/>
                  </a:lnTo>
                  <a:lnTo>
                    <a:pt x="504" y="1500"/>
                  </a:lnTo>
                  <a:lnTo>
                    <a:pt x="504" y="1494"/>
                  </a:lnTo>
                  <a:lnTo>
                    <a:pt x="504" y="1488"/>
                  </a:lnTo>
                  <a:lnTo>
                    <a:pt x="504" y="1482"/>
                  </a:lnTo>
                  <a:lnTo>
                    <a:pt x="504" y="1488"/>
                  </a:lnTo>
                  <a:lnTo>
                    <a:pt x="504" y="1494"/>
                  </a:lnTo>
                  <a:lnTo>
                    <a:pt x="504" y="1500"/>
                  </a:lnTo>
                  <a:lnTo>
                    <a:pt x="498" y="1500"/>
                  </a:lnTo>
                  <a:lnTo>
                    <a:pt x="492" y="1500"/>
                  </a:lnTo>
                  <a:lnTo>
                    <a:pt x="492" y="1494"/>
                  </a:lnTo>
                  <a:lnTo>
                    <a:pt x="492" y="1488"/>
                  </a:lnTo>
                  <a:lnTo>
                    <a:pt x="492" y="1494"/>
                  </a:lnTo>
                  <a:lnTo>
                    <a:pt x="492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00"/>
                  </a:lnTo>
                  <a:lnTo>
                    <a:pt x="510" y="1500"/>
                  </a:lnTo>
                  <a:lnTo>
                    <a:pt x="510" y="1506"/>
                  </a:lnTo>
                  <a:lnTo>
                    <a:pt x="516" y="1506"/>
                  </a:lnTo>
                  <a:lnTo>
                    <a:pt x="510" y="1506"/>
                  </a:lnTo>
                  <a:lnTo>
                    <a:pt x="510" y="1512"/>
                  </a:lnTo>
                  <a:lnTo>
                    <a:pt x="516" y="1506"/>
                  </a:lnTo>
                  <a:lnTo>
                    <a:pt x="522" y="1506"/>
                  </a:lnTo>
                  <a:lnTo>
                    <a:pt x="528" y="1506"/>
                  </a:lnTo>
                  <a:lnTo>
                    <a:pt x="528" y="1500"/>
                  </a:lnTo>
                  <a:lnTo>
                    <a:pt x="534" y="1500"/>
                  </a:lnTo>
                  <a:lnTo>
                    <a:pt x="534" y="1506"/>
                  </a:lnTo>
                  <a:lnTo>
                    <a:pt x="540" y="1512"/>
                  </a:lnTo>
                  <a:lnTo>
                    <a:pt x="540" y="1518"/>
                  </a:lnTo>
                  <a:lnTo>
                    <a:pt x="546" y="1518"/>
                  </a:lnTo>
                  <a:lnTo>
                    <a:pt x="540" y="1518"/>
                  </a:lnTo>
                  <a:lnTo>
                    <a:pt x="540" y="1524"/>
                  </a:lnTo>
                  <a:lnTo>
                    <a:pt x="534" y="1524"/>
                  </a:lnTo>
                  <a:lnTo>
                    <a:pt x="540" y="1524"/>
                  </a:lnTo>
                  <a:lnTo>
                    <a:pt x="546" y="1524"/>
                  </a:lnTo>
                  <a:lnTo>
                    <a:pt x="546" y="1530"/>
                  </a:lnTo>
                  <a:lnTo>
                    <a:pt x="540" y="1530"/>
                  </a:lnTo>
                  <a:lnTo>
                    <a:pt x="540" y="1536"/>
                  </a:lnTo>
                  <a:lnTo>
                    <a:pt x="534" y="1542"/>
                  </a:lnTo>
                  <a:lnTo>
                    <a:pt x="528" y="1542"/>
                  </a:lnTo>
                  <a:lnTo>
                    <a:pt x="522" y="1542"/>
                  </a:lnTo>
                  <a:lnTo>
                    <a:pt x="516" y="1542"/>
                  </a:lnTo>
                  <a:lnTo>
                    <a:pt x="510" y="1542"/>
                  </a:lnTo>
                  <a:lnTo>
                    <a:pt x="504" y="1542"/>
                  </a:lnTo>
                  <a:lnTo>
                    <a:pt x="492" y="1542"/>
                  </a:lnTo>
                  <a:lnTo>
                    <a:pt x="486" y="1536"/>
                  </a:lnTo>
                  <a:lnTo>
                    <a:pt x="480" y="1536"/>
                  </a:lnTo>
                  <a:lnTo>
                    <a:pt x="468" y="1536"/>
                  </a:lnTo>
                  <a:lnTo>
                    <a:pt x="468" y="1542"/>
                  </a:lnTo>
                  <a:lnTo>
                    <a:pt x="462" y="1542"/>
                  </a:lnTo>
                  <a:lnTo>
                    <a:pt x="456" y="1542"/>
                  </a:lnTo>
                  <a:lnTo>
                    <a:pt x="450" y="1542"/>
                  </a:lnTo>
                  <a:lnTo>
                    <a:pt x="444" y="1542"/>
                  </a:lnTo>
                  <a:lnTo>
                    <a:pt x="444" y="1536"/>
                  </a:lnTo>
                  <a:lnTo>
                    <a:pt x="450" y="1536"/>
                  </a:lnTo>
                  <a:lnTo>
                    <a:pt x="456" y="1536"/>
                  </a:lnTo>
                  <a:lnTo>
                    <a:pt x="450" y="1536"/>
                  </a:lnTo>
                  <a:lnTo>
                    <a:pt x="444" y="1536"/>
                  </a:lnTo>
                  <a:lnTo>
                    <a:pt x="444" y="1530"/>
                  </a:lnTo>
                  <a:lnTo>
                    <a:pt x="450" y="1530"/>
                  </a:lnTo>
                  <a:lnTo>
                    <a:pt x="456" y="1524"/>
                  </a:lnTo>
                  <a:lnTo>
                    <a:pt x="456" y="1518"/>
                  </a:lnTo>
                  <a:lnTo>
                    <a:pt x="462" y="1518"/>
                  </a:lnTo>
                  <a:lnTo>
                    <a:pt x="462" y="1524"/>
                  </a:lnTo>
                  <a:lnTo>
                    <a:pt x="468" y="1524"/>
                  </a:lnTo>
                  <a:lnTo>
                    <a:pt x="474" y="1524"/>
                  </a:lnTo>
                  <a:lnTo>
                    <a:pt x="474" y="1518"/>
                  </a:lnTo>
                  <a:lnTo>
                    <a:pt x="480" y="1518"/>
                  </a:lnTo>
                  <a:lnTo>
                    <a:pt x="474" y="1518"/>
                  </a:lnTo>
                  <a:lnTo>
                    <a:pt x="474" y="1524"/>
                  </a:lnTo>
                  <a:lnTo>
                    <a:pt x="468" y="1524"/>
                  </a:lnTo>
                  <a:lnTo>
                    <a:pt x="462" y="1518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62" y="1512"/>
                  </a:lnTo>
                  <a:lnTo>
                    <a:pt x="462" y="1506"/>
                  </a:lnTo>
                  <a:lnTo>
                    <a:pt x="456" y="1506"/>
                  </a:lnTo>
                  <a:lnTo>
                    <a:pt x="456" y="1512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50" y="1518"/>
                  </a:lnTo>
                  <a:lnTo>
                    <a:pt x="444" y="1518"/>
                  </a:lnTo>
                  <a:lnTo>
                    <a:pt x="444" y="1524"/>
                  </a:lnTo>
                  <a:lnTo>
                    <a:pt x="438" y="1524"/>
                  </a:lnTo>
                  <a:lnTo>
                    <a:pt x="438" y="1530"/>
                  </a:lnTo>
                  <a:lnTo>
                    <a:pt x="432" y="1530"/>
                  </a:lnTo>
                  <a:lnTo>
                    <a:pt x="432" y="1536"/>
                  </a:lnTo>
                  <a:lnTo>
                    <a:pt x="426" y="1530"/>
                  </a:lnTo>
                  <a:lnTo>
                    <a:pt x="420" y="1530"/>
                  </a:lnTo>
                  <a:lnTo>
                    <a:pt x="414" y="1530"/>
                  </a:lnTo>
                  <a:lnTo>
                    <a:pt x="414" y="1524"/>
                  </a:lnTo>
                  <a:lnTo>
                    <a:pt x="408" y="1518"/>
                  </a:lnTo>
                  <a:lnTo>
                    <a:pt x="414" y="1512"/>
                  </a:lnTo>
                  <a:lnTo>
                    <a:pt x="408" y="1512"/>
                  </a:lnTo>
                  <a:lnTo>
                    <a:pt x="408" y="1506"/>
                  </a:lnTo>
                  <a:lnTo>
                    <a:pt x="408" y="1500"/>
                  </a:lnTo>
                  <a:lnTo>
                    <a:pt x="408" y="1494"/>
                  </a:lnTo>
                  <a:lnTo>
                    <a:pt x="408" y="1488"/>
                  </a:lnTo>
                  <a:lnTo>
                    <a:pt x="408" y="1494"/>
                  </a:lnTo>
                  <a:lnTo>
                    <a:pt x="414" y="1494"/>
                  </a:lnTo>
                  <a:lnTo>
                    <a:pt x="420" y="1494"/>
                  </a:lnTo>
                  <a:lnTo>
                    <a:pt x="420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82"/>
                  </a:lnTo>
                  <a:lnTo>
                    <a:pt x="426" y="1476"/>
                  </a:lnTo>
                  <a:lnTo>
                    <a:pt x="432" y="1476"/>
                  </a:lnTo>
                  <a:lnTo>
                    <a:pt x="432" y="1470"/>
                  </a:lnTo>
                  <a:lnTo>
                    <a:pt x="438" y="1470"/>
                  </a:lnTo>
                  <a:lnTo>
                    <a:pt x="444" y="1464"/>
                  </a:lnTo>
                  <a:lnTo>
                    <a:pt x="450" y="1458"/>
                  </a:lnTo>
                  <a:lnTo>
                    <a:pt x="456" y="1458"/>
                  </a:lnTo>
                  <a:lnTo>
                    <a:pt x="462" y="1452"/>
                  </a:lnTo>
                  <a:lnTo>
                    <a:pt x="468" y="1452"/>
                  </a:lnTo>
                  <a:lnTo>
                    <a:pt x="468" y="1446"/>
                  </a:lnTo>
                  <a:lnTo>
                    <a:pt x="462" y="1440"/>
                  </a:lnTo>
                  <a:lnTo>
                    <a:pt x="456" y="1434"/>
                  </a:lnTo>
                  <a:lnTo>
                    <a:pt x="456" y="1428"/>
                  </a:lnTo>
                  <a:lnTo>
                    <a:pt x="456" y="1422"/>
                  </a:lnTo>
                  <a:lnTo>
                    <a:pt x="456" y="1416"/>
                  </a:lnTo>
                  <a:lnTo>
                    <a:pt x="450" y="1410"/>
                  </a:lnTo>
                  <a:lnTo>
                    <a:pt x="444" y="1410"/>
                  </a:lnTo>
                  <a:lnTo>
                    <a:pt x="450" y="1410"/>
                  </a:lnTo>
                  <a:lnTo>
                    <a:pt x="450" y="1404"/>
                  </a:lnTo>
                  <a:lnTo>
                    <a:pt x="456" y="1404"/>
                  </a:lnTo>
                  <a:lnTo>
                    <a:pt x="462" y="1404"/>
                  </a:lnTo>
                  <a:lnTo>
                    <a:pt x="468" y="1398"/>
                  </a:lnTo>
                  <a:lnTo>
                    <a:pt x="462" y="1398"/>
                  </a:lnTo>
                  <a:lnTo>
                    <a:pt x="462" y="1392"/>
                  </a:lnTo>
                  <a:lnTo>
                    <a:pt x="456" y="1392"/>
                  </a:lnTo>
                  <a:lnTo>
                    <a:pt x="456" y="1386"/>
                  </a:lnTo>
                  <a:lnTo>
                    <a:pt x="462" y="1386"/>
                  </a:lnTo>
                  <a:lnTo>
                    <a:pt x="468" y="1386"/>
                  </a:lnTo>
                  <a:lnTo>
                    <a:pt x="474" y="1386"/>
                  </a:lnTo>
                  <a:lnTo>
                    <a:pt x="468" y="1386"/>
                  </a:lnTo>
                  <a:lnTo>
                    <a:pt x="462" y="1386"/>
                  </a:lnTo>
                  <a:lnTo>
                    <a:pt x="456" y="1380"/>
                  </a:lnTo>
                  <a:lnTo>
                    <a:pt x="456" y="1374"/>
                  </a:lnTo>
                  <a:lnTo>
                    <a:pt x="462" y="1374"/>
                  </a:lnTo>
                  <a:lnTo>
                    <a:pt x="462" y="1368"/>
                  </a:lnTo>
                  <a:lnTo>
                    <a:pt x="456" y="1374"/>
                  </a:lnTo>
                  <a:lnTo>
                    <a:pt x="456" y="1368"/>
                  </a:lnTo>
                  <a:lnTo>
                    <a:pt x="456" y="1362"/>
                  </a:lnTo>
                  <a:lnTo>
                    <a:pt x="450" y="1362"/>
                  </a:lnTo>
                  <a:lnTo>
                    <a:pt x="450" y="1356"/>
                  </a:lnTo>
                  <a:lnTo>
                    <a:pt x="450" y="1350"/>
                  </a:lnTo>
                  <a:lnTo>
                    <a:pt x="450" y="1344"/>
                  </a:lnTo>
                  <a:lnTo>
                    <a:pt x="456" y="1344"/>
                  </a:lnTo>
                  <a:lnTo>
                    <a:pt x="456" y="1338"/>
                  </a:lnTo>
                  <a:lnTo>
                    <a:pt x="462" y="1338"/>
                  </a:lnTo>
                  <a:lnTo>
                    <a:pt x="462" y="1332"/>
                  </a:lnTo>
                  <a:lnTo>
                    <a:pt x="456" y="1332"/>
                  </a:lnTo>
                  <a:lnTo>
                    <a:pt x="456" y="1326"/>
                  </a:lnTo>
                  <a:lnTo>
                    <a:pt x="450" y="1326"/>
                  </a:lnTo>
                  <a:lnTo>
                    <a:pt x="444" y="1326"/>
                  </a:lnTo>
                  <a:lnTo>
                    <a:pt x="444" y="1332"/>
                  </a:lnTo>
                  <a:lnTo>
                    <a:pt x="438" y="1332"/>
                  </a:lnTo>
                  <a:lnTo>
                    <a:pt x="438" y="1338"/>
                  </a:lnTo>
                  <a:lnTo>
                    <a:pt x="432" y="1338"/>
                  </a:lnTo>
                  <a:lnTo>
                    <a:pt x="432" y="1344"/>
                  </a:lnTo>
                  <a:lnTo>
                    <a:pt x="432" y="1350"/>
                  </a:lnTo>
                  <a:lnTo>
                    <a:pt x="426" y="1356"/>
                  </a:lnTo>
                  <a:lnTo>
                    <a:pt x="426" y="1368"/>
                  </a:lnTo>
                  <a:lnTo>
                    <a:pt x="426" y="1374"/>
                  </a:lnTo>
                  <a:lnTo>
                    <a:pt x="426" y="1380"/>
                  </a:lnTo>
                  <a:lnTo>
                    <a:pt x="432" y="1386"/>
                  </a:lnTo>
                  <a:lnTo>
                    <a:pt x="432" y="1392"/>
                  </a:lnTo>
                  <a:lnTo>
                    <a:pt x="432" y="1398"/>
                  </a:lnTo>
                  <a:lnTo>
                    <a:pt x="426" y="1398"/>
                  </a:lnTo>
                  <a:lnTo>
                    <a:pt x="420" y="1398"/>
                  </a:lnTo>
                  <a:lnTo>
                    <a:pt x="414" y="1398"/>
                  </a:lnTo>
                  <a:lnTo>
                    <a:pt x="420" y="1398"/>
                  </a:lnTo>
                  <a:lnTo>
                    <a:pt x="414" y="1404"/>
                  </a:lnTo>
                  <a:lnTo>
                    <a:pt x="420" y="1404"/>
                  </a:lnTo>
                  <a:lnTo>
                    <a:pt x="414" y="1404"/>
                  </a:lnTo>
                  <a:lnTo>
                    <a:pt x="408" y="1404"/>
                  </a:lnTo>
                  <a:lnTo>
                    <a:pt x="402" y="1410"/>
                  </a:lnTo>
                  <a:lnTo>
                    <a:pt x="402" y="1404"/>
                  </a:lnTo>
                  <a:lnTo>
                    <a:pt x="396" y="1404"/>
                  </a:lnTo>
                  <a:lnTo>
                    <a:pt x="390" y="1404"/>
                  </a:lnTo>
                  <a:lnTo>
                    <a:pt x="384" y="1404"/>
                  </a:lnTo>
                  <a:lnTo>
                    <a:pt x="384" y="1398"/>
                  </a:lnTo>
                  <a:lnTo>
                    <a:pt x="384" y="1392"/>
                  </a:lnTo>
                  <a:lnTo>
                    <a:pt x="390" y="1392"/>
                  </a:lnTo>
                  <a:lnTo>
                    <a:pt x="390" y="1386"/>
                  </a:lnTo>
                  <a:lnTo>
                    <a:pt x="390" y="1380"/>
                  </a:lnTo>
                  <a:lnTo>
                    <a:pt x="396" y="1380"/>
                  </a:lnTo>
                  <a:lnTo>
                    <a:pt x="402" y="1380"/>
                  </a:lnTo>
                  <a:lnTo>
                    <a:pt x="408" y="1380"/>
                  </a:lnTo>
                  <a:lnTo>
                    <a:pt x="408" y="1374"/>
                  </a:lnTo>
                  <a:lnTo>
                    <a:pt x="414" y="1374"/>
                  </a:lnTo>
                  <a:lnTo>
                    <a:pt x="414" y="1368"/>
                  </a:lnTo>
                  <a:lnTo>
                    <a:pt x="414" y="1362"/>
                  </a:lnTo>
                  <a:lnTo>
                    <a:pt x="414" y="1368"/>
                  </a:lnTo>
                  <a:lnTo>
                    <a:pt x="414" y="1374"/>
                  </a:lnTo>
                  <a:lnTo>
                    <a:pt x="408" y="1374"/>
                  </a:lnTo>
                  <a:lnTo>
                    <a:pt x="402" y="1380"/>
                  </a:lnTo>
                  <a:lnTo>
                    <a:pt x="396" y="1380"/>
                  </a:lnTo>
                  <a:lnTo>
                    <a:pt x="396" y="1374"/>
                  </a:lnTo>
                  <a:lnTo>
                    <a:pt x="390" y="1374"/>
                  </a:lnTo>
                  <a:lnTo>
                    <a:pt x="390" y="1368"/>
                  </a:lnTo>
                  <a:lnTo>
                    <a:pt x="384" y="1368"/>
                  </a:lnTo>
                  <a:lnTo>
                    <a:pt x="384" y="1374"/>
                  </a:lnTo>
                  <a:lnTo>
                    <a:pt x="378" y="1374"/>
                  </a:lnTo>
                  <a:lnTo>
                    <a:pt x="378" y="1380"/>
                  </a:lnTo>
                  <a:lnTo>
                    <a:pt x="372" y="1380"/>
                  </a:lnTo>
                  <a:lnTo>
                    <a:pt x="366" y="1386"/>
                  </a:lnTo>
                  <a:lnTo>
                    <a:pt x="360" y="1386"/>
                  </a:lnTo>
                  <a:lnTo>
                    <a:pt x="354" y="1386"/>
                  </a:lnTo>
                  <a:lnTo>
                    <a:pt x="354" y="1380"/>
                  </a:lnTo>
                  <a:lnTo>
                    <a:pt x="348" y="1380"/>
                  </a:lnTo>
                  <a:lnTo>
                    <a:pt x="342" y="1380"/>
                  </a:lnTo>
                  <a:lnTo>
                    <a:pt x="342" y="1374"/>
                  </a:lnTo>
                  <a:lnTo>
                    <a:pt x="336" y="1368"/>
                  </a:lnTo>
                  <a:lnTo>
                    <a:pt x="342" y="1368"/>
                  </a:lnTo>
                  <a:lnTo>
                    <a:pt x="342" y="1362"/>
                  </a:lnTo>
                  <a:lnTo>
                    <a:pt x="348" y="1362"/>
                  </a:lnTo>
                  <a:lnTo>
                    <a:pt x="354" y="1362"/>
                  </a:lnTo>
                  <a:lnTo>
                    <a:pt x="354" y="1356"/>
                  </a:lnTo>
                  <a:lnTo>
                    <a:pt x="348" y="1356"/>
                  </a:lnTo>
                  <a:lnTo>
                    <a:pt x="348" y="1350"/>
                  </a:lnTo>
                  <a:lnTo>
                    <a:pt x="348" y="1344"/>
                  </a:lnTo>
                  <a:lnTo>
                    <a:pt x="354" y="1338"/>
                  </a:lnTo>
                  <a:lnTo>
                    <a:pt x="354" y="1332"/>
                  </a:lnTo>
                  <a:lnTo>
                    <a:pt x="354" y="1326"/>
                  </a:lnTo>
                  <a:lnTo>
                    <a:pt x="354" y="1320"/>
                  </a:lnTo>
                  <a:lnTo>
                    <a:pt x="354" y="1314"/>
                  </a:lnTo>
                  <a:lnTo>
                    <a:pt x="354" y="1308"/>
                  </a:lnTo>
                  <a:lnTo>
                    <a:pt x="348" y="1308"/>
                  </a:lnTo>
                  <a:lnTo>
                    <a:pt x="348" y="1302"/>
                  </a:lnTo>
                  <a:lnTo>
                    <a:pt x="342" y="1296"/>
                  </a:lnTo>
                  <a:lnTo>
                    <a:pt x="336" y="1296"/>
                  </a:lnTo>
                  <a:lnTo>
                    <a:pt x="336" y="1290"/>
                  </a:lnTo>
                  <a:lnTo>
                    <a:pt x="330" y="1290"/>
                  </a:lnTo>
                  <a:lnTo>
                    <a:pt x="324" y="1290"/>
                  </a:lnTo>
                  <a:lnTo>
                    <a:pt x="324" y="1284"/>
                  </a:lnTo>
                  <a:lnTo>
                    <a:pt x="318" y="1284"/>
                  </a:lnTo>
                  <a:lnTo>
                    <a:pt x="318" y="1278"/>
                  </a:lnTo>
                  <a:lnTo>
                    <a:pt x="312" y="1278"/>
                  </a:lnTo>
                  <a:lnTo>
                    <a:pt x="312" y="1272"/>
                  </a:lnTo>
                  <a:lnTo>
                    <a:pt x="312" y="1278"/>
                  </a:lnTo>
                  <a:lnTo>
                    <a:pt x="318" y="1284"/>
                  </a:lnTo>
                  <a:lnTo>
                    <a:pt x="324" y="1290"/>
                  </a:lnTo>
                  <a:lnTo>
                    <a:pt x="330" y="1290"/>
                  </a:lnTo>
                  <a:lnTo>
                    <a:pt x="330" y="1296"/>
                  </a:lnTo>
                  <a:lnTo>
                    <a:pt x="336" y="1296"/>
                  </a:lnTo>
                  <a:lnTo>
                    <a:pt x="336" y="1302"/>
                  </a:lnTo>
                  <a:lnTo>
                    <a:pt x="342" y="1302"/>
                  </a:lnTo>
                  <a:lnTo>
                    <a:pt x="348" y="1302"/>
                  </a:lnTo>
                  <a:lnTo>
                    <a:pt x="348" y="1308"/>
                  </a:lnTo>
                  <a:lnTo>
                    <a:pt x="348" y="1314"/>
                  </a:lnTo>
                  <a:lnTo>
                    <a:pt x="354" y="1314"/>
                  </a:lnTo>
                  <a:lnTo>
                    <a:pt x="354" y="1320"/>
                  </a:lnTo>
                  <a:lnTo>
                    <a:pt x="354" y="1326"/>
                  </a:lnTo>
                  <a:lnTo>
                    <a:pt x="348" y="1326"/>
                  </a:lnTo>
                  <a:lnTo>
                    <a:pt x="348" y="1332"/>
                  </a:lnTo>
                  <a:lnTo>
                    <a:pt x="348" y="1338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2" y="1350"/>
                  </a:lnTo>
                  <a:lnTo>
                    <a:pt x="336" y="1350"/>
                  </a:lnTo>
                  <a:lnTo>
                    <a:pt x="330" y="1350"/>
                  </a:lnTo>
                  <a:lnTo>
                    <a:pt x="330" y="1356"/>
                  </a:lnTo>
                  <a:lnTo>
                    <a:pt x="330" y="1350"/>
                  </a:lnTo>
                  <a:lnTo>
                    <a:pt x="324" y="1350"/>
                  </a:lnTo>
                  <a:lnTo>
                    <a:pt x="318" y="1344"/>
                  </a:lnTo>
                  <a:lnTo>
                    <a:pt x="318" y="1350"/>
                  </a:lnTo>
                  <a:lnTo>
                    <a:pt x="312" y="1344"/>
                  </a:lnTo>
                  <a:lnTo>
                    <a:pt x="312" y="1338"/>
                  </a:lnTo>
                  <a:lnTo>
                    <a:pt x="306" y="1338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6" y="1326"/>
                  </a:lnTo>
                  <a:lnTo>
                    <a:pt x="306" y="1320"/>
                  </a:lnTo>
                  <a:lnTo>
                    <a:pt x="306" y="1326"/>
                  </a:lnTo>
                  <a:lnTo>
                    <a:pt x="312" y="1326"/>
                  </a:lnTo>
                  <a:lnTo>
                    <a:pt x="312" y="1320"/>
                  </a:lnTo>
                  <a:lnTo>
                    <a:pt x="306" y="1320"/>
                  </a:lnTo>
                  <a:lnTo>
                    <a:pt x="300" y="1320"/>
                  </a:lnTo>
                  <a:lnTo>
                    <a:pt x="294" y="1320"/>
                  </a:lnTo>
                  <a:lnTo>
                    <a:pt x="294" y="1314"/>
                  </a:lnTo>
                  <a:lnTo>
                    <a:pt x="288" y="1314"/>
                  </a:lnTo>
                  <a:lnTo>
                    <a:pt x="288" y="1308"/>
                  </a:lnTo>
                  <a:lnTo>
                    <a:pt x="288" y="1302"/>
                  </a:lnTo>
                  <a:lnTo>
                    <a:pt x="294" y="1302"/>
                  </a:lnTo>
                  <a:lnTo>
                    <a:pt x="294" y="1296"/>
                  </a:lnTo>
                  <a:lnTo>
                    <a:pt x="288" y="1296"/>
                  </a:lnTo>
                  <a:lnTo>
                    <a:pt x="288" y="1290"/>
                  </a:lnTo>
                  <a:lnTo>
                    <a:pt x="288" y="1296"/>
                  </a:lnTo>
                  <a:lnTo>
                    <a:pt x="294" y="1302"/>
                  </a:lnTo>
                  <a:lnTo>
                    <a:pt x="288" y="1302"/>
                  </a:lnTo>
                  <a:lnTo>
                    <a:pt x="282" y="1296"/>
                  </a:lnTo>
                  <a:lnTo>
                    <a:pt x="276" y="1296"/>
                  </a:lnTo>
                  <a:lnTo>
                    <a:pt x="276" y="1290"/>
                  </a:lnTo>
                  <a:lnTo>
                    <a:pt x="270" y="1290"/>
                  </a:lnTo>
                  <a:lnTo>
                    <a:pt x="264" y="1284"/>
                  </a:lnTo>
                  <a:lnTo>
                    <a:pt x="264" y="1278"/>
                  </a:lnTo>
                  <a:lnTo>
                    <a:pt x="264" y="1272"/>
                  </a:lnTo>
                  <a:lnTo>
                    <a:pt x="264" y="1266"/>
                  </a:lnTo>
                  <a:lnTo>
                    <a:pt x="258" y="1266"/>
                  </a:lnTo>
                  <a:lnTo>
                    <a:pt x="252" y="1266"/>
                  </a:lnTo>
                  <a:lnTo>
                    <a:pt x="246" y="1260"/>
                  </a:lnTo>
                  <a:lnTo>
                    <a:pt x="240" y="1254"/>
                  </a:lnTo>
                  <a:lnTo>
                    <a:pt x="240" y="1260"/>
                  </a:lnTo>
                  <a:lnTo>
                    <a:pt x="240" y="1266"/>
                  </a:lnTo>
                  <a:lnTo>
                    <a:pt x="240" y="1272"/>
                  </a:lnTo>
                  <a:lnTo>
                    <a:pt x="246" y="1272"/>
                  </a:lnTo>
                  <a:lnTo>
                    <a:pt x="246" y="1278"/>
                  </a:lnTo>
                  <a:lnTo>
                    <a:pt x="246" y="1284"/>
                  </a:lnTo>
                  <a:lnTo>
                    <a:pt x="252" y="1284"/>
                  </a:lnTo>
                  <a:lnTo>
                    <a:pt x="252" y="1290"/>
                  </a:lnTo>
                  <a:lnTo>
                    <a:pt x="258" y="1296"/>
                  </a:lnTo>
                  <a:lnTo>
                    <a:pt x="264" y="1302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58" y="1314"/>
                  </a:lnTo>
                  <a:lnTo>
                    <a:pt x="258" y="1308"/>
                  </a:lnTo>
                  <a:lnTo>
                    <a:pt x="252" y="1308"/>
                  </a:lnTo>
                  <a:lnTo>
                    <a:pt x="252" y="1302"/>
                  </a:lnTo>
                  <a:lnTo>
                    <a:pt x="246" y="1302"/>
                  </a:lnTo>
                  <a:lnTo>
                    <a:pt x="246" y="1296"/>
                  </a:lnTo>
                  <a:lnTo>
                    <a:pt x="240" y="1296"/>
                  </a:lnTo>
                  <a:lnTo>
                    <a:pt x="240" y="1290"/>
                  </a:lnTo>
                  <a:lnTo>
                    <a:pt x="234" y="1284"/>
                  </a:lnTo>
                  <a:lnTo>
                    <a:pt x="234" y="1278"/>
                  </a:lnTo>
                  <a:close/>
                  <a:moveTo>
                    <a:pt x="444" y="1332"/>
                  </a:moveTo>
                  <a:lnTo>
                    <a:pt x="450" y="1326"/>
                  </a:lnTo>
                  <a:lnTo>
                    <a:pt x="456" y="1326"/>
                  </a:lnTo>
                  <a:lnTo>
                    <a:pt x="456" y="1332"/>
                  </a:lnTo>
                  <a:lnTo>
                    <a:pt x="456" y="1338"/>
                  </a:lnTo>
                  <a:lnTo>
                    <a:pt x="450" y="1338"/>
                  </a:lnTo>
                  <a:lnTo>
                    <a:pt x="444" y="1338"/>
                  </a:lnTo>
                  <a:lnTo>
                    <a:pt x="444" y="1332"/>
                  </a:lnTo>
                  <a:close/>
                  <a:moveTo>
                    <a:pt x="444" y="1368"/>
                  </a:moveTo>
                  <a:lnTo>
                    <a:pt x="456" y="1368"/>
                  </a:lnTo>
                  <a:lnTo>
                    <a:pt x="456" y="1374"/>
                  </a:lnTo>
                  <a:lnTo>
                    <a:pt x="444" y="1374"/>
                  </a:lnTo>
                  <a:lnTo>
                    <a:pt x="444" y="1368"/>
                  </a:lnTo>
                  <a:close/>
                  <a:moveTo>
                    <a:pt x="444" y="1386"/>
                  </a:moveTo>
                  <a:lnTo>
                    <a:pt x="444" y="1380"/>
                  </a:lnTo>
                  <a:lnTo>
                    <a:pt x="444" y="1374"/>
                  </a:lnTo>
                  <a:lnTo>
                    <a:pt x="444" y="1380"/>
                  </a:lnTo>
                  <a:lnTo>
                    <a:pt x="450" y="1380"/>
                  </a:lnTo>
                  <a:lnTo>
                    <a:pt x="456" y="1380"/>
                  </a:lnTo>
                  <a:lnTo>
                    <a:pt x="456" y="1386"/>
                  </a:lnTo>
                  <a:lnTo>
                    <a:pt x="456" y="1392"/>
                  </a:lnTo>
                  <a:lnTo>
                    <a:pt x="462" y="1392"/>
                  </a:lnTo>
                  <a:lnTo>
                    <a:pt x="462" y="1398"/>
                  </a:lnTo>
                  <a:lnTo>
                    <a:pt x="462" y="1404"/>
                  </a:lnTo>
                  <a:lnTo>
                    <a:pt x="456" y="1404"/>
                  </a:lnTo>
                  <a:lnTo>
                    <a:pt x="450" y="1404"/>
                  </a:lnTo>
                  <a:lnTo>
                    <a:pt x="450" y="1398"/>
                  </a:lnTo>
                  <a:lnTo>
                    <a:pt x="444" y="1398"/>
                  </a:lnTo>
                  <a:lnTo>
                    <a:pt x="444" y="1392"/>
                  </a:lnTo>
                  <a:lnTo>
                    <a:pt x="444" y="1386"/>
                  </a:lnTo>
                  <a:close/>
                  <a:moveTo>
                    <a:pt x="438" y="1362"/>
                  </a:moveTo>
                  <a:lnTo>
                    <a:pt x="444" y="1356"/>
                  </a:lnTo>
                  <a:lnTo>
                    <a:pt x="450" y="1356"/>
                  </a:lnTo>
                  <a:lnTo>
                    <a:pt x="450" y="1362"/>
                  </a:lnTo>
                  <a:lnTo>
                    <a:pt x="450" y="1368"/>
                  </a:lnTo>
                  <a:lnTo>
                    <a:pt x="444" y="1368"/>
                  </a:lnTo>
                  <a:lnTo>
                    <a:pt x="444" y="1362"/>
                  </a:lnTo>
                  <a:lnTo>
                    <a:pt x="438" y="1362"/>
                  </a:lnTo>
                  <a:close/>
                  <a:moveTo>
                    <a:pt x="438" y="1350"/>
                  </a:moveTo>
                  <a:lnTo>
                    <a:pt x="438" y="1344"/>
                  </a:lnTo>
                  <a:lnTo>
                    <a:pt x="438" y="1338"/>
                  </a:lnTo>
                  <a:lnTo>
                    <a:pt x="444" y="1338"/>
                  </a:lnTo>
                  <a:lnTo>
                    <a:pt x="450" y="1338"/>
                  </a:lnTo>
                  <a:lnTo>
                    <a:pt x="456" y="1338"/>
                  </a:lnTo>
                  <a:lnTo>
                    <a:pt x="450" y="1344"/>
                  </a:lnTo>
                  <a:lnTo>
                    <a:pt x="444" y="1350"/>
                  </a:lnTo>
                  <a:lnTo>
                    <a:pt x="438" y="1350"/>
                  </a:lnTo>
                  <a:close/>
                  <a:moveTo>
                    <a:pt x="432" y="1380"/>
                  </a:moveTo>
                  <a:lnTo>
                    <a:pt x="432" y="1368"/>
                  </a:lnTo>
                  <a:lnTo>
                    <a:pt x="432" y="1362"/>
                  </a:lnTo>
                  <a:lnTo>
                    <a:pt x="432" y="1356"/>
                  </a:lnTo>
                  <a:lnTo>
                    <a:pt x="438" y="1356"/>
                  </a:lnTo>
                  <a:lnTo>
                    <a:pt x="438" y="1362"/>
                  </a:lnTo>
                  <a:lnTo>
                    <a:pt x="438" y="1368"/>
                  </a:lnTo>
                  <a:lnTo>
                    <a:pt x="438" y="1374"/>
                  </a:lnTo>
                  <a:lnTo>
                    <a:pt x="438" y="1380"/>
                  </a:lnTo>
                  <a:lnTo>
                    <a:pt x="438" y="1386"/>
                  </a:lnTo>
                  <a:lnTo>
                    <a:pt x="438" y="1380"/>
                  </a:lnTo>
                  <a:lnTo>
                    <a:pt x="432" y="1380"/>
                  </a:lnTo>
                  <a:close/>
                  <a:moveTo>
                    <a:pt x="246" y="1272"/>
                  </a:moveTo>
                  <a:lnTo>
                    <a:pt x="252" y="1272"/>
                  </a:lnTo>
                  <a:lnTo>
                    <a:pt x="252" y="1278"/>
                  </a:lnTo>
                  <a:lnTo>
                    <a:pt x="246" y="1278"/>
                  </a:lnTo>
                  <a:lnTo>
                    <a:pt x="246" y="1272"/>
                  </a:lnTo>
                  <a:close/>
                  <a:moveTo>
                    <a:pt x="426" y="1416"/>
                  </a:moveTo>
                  <a:lnTo>
                    <a:pt x="432" y="1410"/>
                  </a:lnTo>
                  <a:lnTo>
                    <a:pt x="438" y="1410"/>
                  </a:lnTo>
                  <a:lnTo>
                    <a:pt x="438" y="1416"/>
                  </a:lnTo>
                  <a:lnTo>
                    <a:pt x="438" y="1422"/>
                  </a:lnTo>
                  <a:lnTo>
                    <a:pt x="432" y="1422"/>
                  </a:lnTo>
                  <a:lnTo>
                    <a:pt x="426" y="1422"/>
                  </a:lnTo>
                  <a:lnTo>
                    <a:pt x="426" y="1416"/>
                  </a:lnTo>
                  <a:close/>
                  <a:moveTo>
                    <a:pt x="246" y="1266"/>
                  </a:moveTo>
                  <a:lnTo>
                    <a:pt x="252" y="1266"/>
                  </a:lnTo>
                  <a:lnTo>
                    <a:pt x="258" y="1272"/>
                  </a:lnTo>
                  <a:lnTo>
                    <a:pt x="258" y="1278"/>
                  </a:lnTo>
                  <a:lnTo>
                    <a:pt x="258" y="1284"/>
                  </a:lnTo>
                  <a:lnTo>
                    <a:pt x="252" y="1284"/>
                  </a:lnTo>
                  <a:lnTo>
                    <a:pt x="252" y="1278"/>
                  </a:lnTo>
                  <a:lnTo>
                    <a:pt x="252" y="1272"/>
                  </a:lnTo>
                  <a:lnTo>
                    <a:pt x="252" y="1266"/>
                  </a:lnTo>
                  <a:lnTo>
                    <a:pt x="246" y="1266"/>
                  </a:lnTo>
                  <a:close/>
                  <a:moveTo>
                    <a:pt x="408" y="1458"/>
                  </a:moveTo>
                  <a:lnTo>
                    <a:pt x="408" y="1452"/>
                  </a:lnTo>
                  <a:lnTo>
                    <a:pt x="414" y="1452"/>
                  </a:lnTo>
                  <a:lnTo>
                    <a:pt x="414" y="1446"/>
                  </a:lnTo>
                  <a:lnTo>
                    <a:pt x="414" y="1440"/>
                  </a:lnTo>
                  <a:lnTo>
                    <a:pt x="420" y="1440"/>
                  </a:lnTo>
                  <a:lnTo>
                    <a:pt x="420" y="1434"/>
                  </a:lnTo>
                  <a:lnTo>
                    <a:pt x="420" y="1428"/>
                  </a:lnTo>
                  <a:lnTo>
                    <a:pt x="420" y="1422"/>
                  </a:lnTo>
                  <a:lnTo>
                    <a:pt x="426" y="1422"/>
                  </a:lnTo>
                  <a:lnTo>
                    <a:pt x="432" y="1428"/>
                  </a:lnTo>
                  <a:lnTo>
                    <a:pt x="438" y="1428"/>
                  </a:lnTo>
                  <a:lnTo>
                    <a:pt x="438" y="1434"/>
                  </a:lnTo>
                  <a:lnTo>
                    <a:pt x="438" y="1428"/>
                  </a:lnTo>
                  <a:lnTo>
                    <a:pt x="438" y="1422"/>
                  </a:lnTo>
                  <a:lnTo>
                    <a:pt x="444" y="1416"/>
                  </a:lnTo>
                  <a:lnTo>
                    <a:pt x="444" y="1410"/>
                  </a:lnTo>
                  <a:lnTo>
                    <a:pt x="450" y="1416"/>
                  </a:lnTo>
                  <a:lnTo>
                    <a:pt x="456" y="1416"/>
                  </a:lnTo>
                  <a:lnTo>
                    <a:pt x="456" y="1422"/>
                  </a:lnTo>
                  <a:lnTo>
                    <a:pt x="456" y="1428"/>
                  </a:lnTo>
                  <a:lnTo>
                    <a:pt x="456" y="1434"/>
                  </a:lnTo>
                  <a:lnTo>
                    <a:pt x="456" y="1440"/>
                  </a:lnTo>
                  <a:lnTo>
                    <a:pt x="462" y="1440"/>
                  </a:lnTo>
                  <a:lnTo>
                    <a:pt x="462" y="1446"/>
                  </a:lnTo>
                  <a:lnTo>
                    <a:pt x="462" y="1452"/>
                  </a:lnTo>
                  <a:lnTo>
                    <a:pt x="456" y="1452"/>
                  </a:lnTo>
                  <a:lnTo>
                    <a:pt x="450" y="1452"/>
                  </a:lnTo>
                  <a:lnTo>
                    <a:pt x="444" y="1446"/>
                  </a:lnTo>
                  <a:lnTo>
                    <a:pt x="444" y="1452"/>
                  </a:lnTo>
                  <a:lnTo>
                    <a:pt x="450" y="1452"/>
                  </a:lnTo>
                  <a:lnTo>
                    <a:pt x="450" y="1458"/>
                  </a:lnTo>
                  <a:lnTo>
                    <a:pt x="444" y="1458"/>
                  </a:lnTo>
                  <a:lnTo>
                    <a:pt x="438" y="1464"/>
                  </a:lnTo>
                  <a:lnTo>
                    <a:pt x="438" y="1458"/>
                  </a:lnTo>
                  <a:lnTo>
                    <a:pt x="432" y="1458"/>
                  </a:lnTo>
                  <a:lnTo>
                    <a:pt x="426" y="1458"/>
                  </a:lnTo>
                  <a:lnTo>
                    <a:pt x="432" y="1458"/>
                  </a:lnTo>
                  <a:lnTo>
                    <a:pt x="438" y="1464"/>
                  </a:lnTo>
                  <a:lnTo>
                    <a:pt x="432" y="1464"/>
                  </a:lnTo>
                  <a:lnTo>
                    <a:pt x="432" y="1470"/>
                  </a:lnTo>
                  <a:lnTo>
                    <a:pt x="426" y="1470"/>
                  </a:lnTo>
                  <a:lnTo>
                    <a:pt x="420" y="1476"/>
                  </a:lnTo>
                  <a:lnTo>
                    <a:pt x="420" y="1470"/>
                  </a:lnTo>
                  <a:lnTo>
                    <a:pt x="414" y="1470"/>
                  </a:lnTo>
                  <a:lnTo>
                    <a:pt x="414" y="1464"/>
                  </a:lnTo>
                  <a:lnTo>
                    <a:pt x="414" y="1458"/>
                  </a:lnTo>
                  <a:lnTo>
                    <a:pt x="408" y="1458"/>
                  </a:lnTo>
                  <a:close/>
                  <a:moveTo>
                    <a:pt x="270" y="1326"/>
                  </a:moveTo>
                  <a:lnTo>
                    <a:pt x="270" y="1320"/>
                  </a:lnTo>
                  <a:lnTo>
                    <a:pt x="276" y="1320"/>
                  </a:lnTo>
                  <a:lnTo>
                    <a:pt x="282" y="1326"/>
                  </a:lnTo>
                  <a:lnTo>
                    <a:pt x="288" y="1326"/>
                  </a:lnTo>
                  <a:lnTo>
                    <a:pt x="288" y="1332"/>
                  </a:lnTo>
                  <a:lnTo>
                    <a:pt x="288" y="1338"/>
                  </a:lnTo>
                  <a:lnTo>
                    <a:pt x="288" y="1344"/>
                  </a:lnTo>
                  <a:lnTo>
                    <a:pt x="282" y="1344"/>
                  </a:lnTo>
                  <a:lnTo>
                    <a:pt x="282" y="1338"/>
                  </a:lnTo>
                  <a:lnTo>
                    <a:pt x="276" y="1338"/>
                  </a:lnTo>
                  <a:lnTo>
                    <a:pt x="276" y="1332"/>
                  </a:lnTo>
                  <a:lnTo>
                    <a:pt x="270" y="1332"/>
                  </a:lnTo>
                  <a:lnTo>
                    <a:pt x="270" y="1326"/>
                  </a:lnTo>
                  <a:close/>
                  <a:moveTo>
                    <a:pt x="288" y="1458"/>
                  </a:moveTo>
                  <a:lnTo>
                    <a:pt x="294" y="1458"/>
                  </a:lnTo>
                  <a:lnTo>
                    <a:pt x="294" y="1452"/>
                  </a:lnTo>
                  <a:lnTo>
                    <a:pt x="294" y="1446"/>
                  </a:lnTo>
                  <a:lnTo>
                    <a:pt x="300" y="1446"/>
                  </a:lnTo>
                  <a:lnTo>
                    <a:pt x="300" y="1440"/>
                  </a:lnTo>
                  <a:lnTo>
                    <a:pt x="306" y="1440"/>
                  </a:lnTo>
                  <a:lnTo>
                    <a:pt x="306" y="1446"/>
                  </a:lnTo>
                  <a:lnTo>
                    <a:pt x="312" y="1452"/>
                  </a:lnTo>
                  <a:lnTo>
                    <a:pt x="306" y="1452"/>
                  </a:lnTo>
                  <a:lnTo>
                    <a:pt x="306" y="1458"/>
                  </a:lnTo>
                  <a:lnTo>
                    <a:pt x="312" y="1464"/>
                  </a:lnTo>
                  <a:lnTo>
                    <a:pt x="306" y="1464"/>
                  </a:lnTo>
                  <a:lnTo>
                    <a:pt x="306" y="1470"/>
                  </a:lnTo>
                  <a:lnTo>
                    <a:pt x="300" y="1476"/>
                  </a:lnTo>
                  <a:lnTo>
                    <a:pt x="294" y="1476"/>
                  </a:lnTo>
                  <a:lnTo>
                    <a:pt x="294" y="1470"/>
                  </a:lnTo>
                  <a:lnTo>
                    <a:pt x="288" y="1470"/>
                  </a:lnTo>
                  <a:lnTo>
                    <a:pt x="288" y="1464"/>
                  </a:lnTo>
                  <a:lnTo>
                    <a:pt x="288" y="1458"/>
                  </a:lnTo>
                  <a:close/>
                  <a:moveTo>
                    <a:pt x="270" y="1296"/>
                  </a:moveTo>
                  <a:lnTo>
                    <a:pt x="276" y="1296"/>
                  </a:lnTo>
                  <a:lnTo>
                    <a:pt x="282" y="1296"/>
                  </a:lnTo>
                  <a:lnTo>
                    <a:pt x="288" y="1296"/>
                  </a:lnTo>
                  <a:lnTo>
                    <a:pt x="288" y="1302"/>
                  </a:lnTo>
                  <a:lnTo>
                    <a:pt x="282" y="1308"/>
                  </a:lnTo>
                  <a:lnTo>
                    <a:pt x="276" y="1308"/>
                  </a:lnTo>
                  <a:lnTo>
                    <a:pt x="276" y="1302"/>
                  </a:lnTo>
                  <a:lnTo>
                    <a:pt x="270" y="12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4" name="Freeform 19">
              <a:extLst>
                <a:ext uri="{FF2B5EF4-FFF2-40B4-BE49-F238E27FC236}">
                  <a16:creationId xmlns:a16="http://schemas.microsoft.com/office/drawing/2014/main" id="{5B9020B8-E1C1-4611-A248-9642BBD69C9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7043" y="3765821"/>
              <a:ext cx="333193" cy="398097"/>
            </a:xfrm>
            <a:custGeom>
              <a:avLst/>
              <a:gdLst>
                <a:gd name="T0" fmla="*/ 30 w 624"/>
                <a:gd name="T1" fmla="*/ 61 h 750"/>
                <a:gd name="T2" fmla="*/ 27 w 624"/>
                <a:gd name="T3" fmla="*/ 62 h 750"/>
                <a:gd name="T4" fmla="*/ 23 w 624"/>
                <a:gd name="T5" fmla="*/ 59 h 750"/>
                <a:gd name="T6" fmla="*/ 20 w 624"/>
                <a:gd name="T7" fmla="*/ 58 h 750"/>
                <a:gd name="T8" fmla="*/ 19 w 624"/>
                <a:gd name="T9" fmla="*/ 56 h 750"/>
                <a:gd name="T10" fmla="*/ 17 w 624"/>
                <a:gd name="T11" fmla="*/ 55 h 750"/>
                <a:gd name="T12" fmla="*/ 16 w 624"/>
                <a:gd name="T13" fmla="*/ 51 h 750"/>
                <a:gd name="T14" fmla="*/ 14 w 624"/>
                <a:gd name="T15" fmla="*/ 48 h 750"/>
                <a:gd name="T16" fmla="*/ 12 w 624"/>
                <a:gd name="T17" fmla="*/ 46 h 750"/>
                <a:gd name="T18" fmla="*/ 12 w 624"/>
                <a:gd name="T19" fmla="*/ 44 h 750"/>
                <a:gd name="T20" fmla="*/ 11 w 624"/>
                <a:gd name="T21" fmla="*/ 41 h 750"/>
                <a:gd name="T22" fmla="*/ 8 w 624"/>
                <a:gd name="T23" fmla="*/ 38 h 750"/>
                <a:gd name="T24" fmla="*/ 6 w 624"/>
                <a:gd name="T25" fmla="*/ 38 h 750"/>
                <a:gd name="T26" fmla="*/ 6 w 624"/>
                <a:gd name="T27" fmla="*/ 35 h 750"/>
                <a:gd name="T28" fmla="*/ 7 w 624"/>
                <a:gd name="T29" fmla="*/ 31 h 750"/>
                <a:gd name="T30" fmla="*/ 10 w 624"/>
                <a:gd name="T31" fmla="*/ 27 h 750"/>
                <a:gd name="T32" fmla="*/ 8 w 624"/>
                <a:gd name="T33" fmla="*/ 23 h 750"/>
                <a:gd name="T34" fmla="*/ 6 w 624"/>
                <a:gd name="T35" fmla="*/ 23 h 750"/>
                <a:gd name="T36" fmla="*/ 3 w 624"/>
                <a:gd name="T37" fmla="*/ 22 h 750"/>
                <a:gd name="T38" fmla="*/ 0 w 624"/>
                <a:gd name="T39" fmla="*/ 22 h 750"/>
                <a:gd name="T40" fmla="*/ 0 w 624"/>
                <a:gd name="T41" fmla="*/ 19 h 750"/>
                <a:gd name="T42" fmla="*/ 1 w 624"/>
                <a:gd name="T43" fmla="*/ 18 h 750"/>
                <a:gd name="T44" fmla="*/ 2 w 624"/>
                <a:gd name="T45" fmla="*/ 14 h 750"/>
                <a:gd name="T46" fmla="*/ 4 w 624"/>
                <a:gd name="T47" fmla="*/ 17 h 750"/>
                <a:gd name="T48" fmla="*/ 6 w 624"/>
                <a:gd name="T49" fmla="*/ 17 h 750"/>
                <a:gd name="T50" fmla="*/ 7 w 624"/>
                <a:gd name="T51" fmla="*/ 17 h 750"/>
                <a:gd name="T52" fmla="*/ 9 w 624"/>
                <a:gd name="T53" fmla="*/ 15 h 750"/>
                <a:gd name="T54" fmla="*/ 10 w 624"/>
                <a:gd name="T55" fmla="*/ 14 h 750"/>
                <a:gd name="T56" fmla="*/ 11 w 624"/>
                <a:gd name="T57" fmla="*/ 12 h 750"/>
                <a:gd name="T58" fmla="*/ 13 w 624"/>
                <a:gd name="T59" fmla="*/ 12 h 750"/>
                <a:gd name="T60" fmla="*/ 18 w 624"/>
                <a:gd name="T61" fmla="*/ 10 h 750"/>
                <a:gd name="T62" fmla="*/ 22 w 624"/>
                <a:gd name="T63" fmla="*/ 4 h 750"/>
                <a:gd name="T64" fmla="*/ 24 w 624"/>
                <a:gd name="T65" fmla="*/ 4 h 750"/>
                <a:gd name="T66" fmla="*/ 26 w 624"/>
                <a:gd name="T67" fmla="*/ 2 h 750"/>
                <a:gd name="T68" fmla="*/ 29 w 624"/>
                <a:gd name="T69" fmla="*/ 0 h 750"/>
                <a:gd name="T70" fmla="*/ 32 w 624"/>
                <a:gd name="T71" fmla="*/ 2 h 750"/>
                <a:gd name="T72" fmla="*/ 34 w 624"/>
                <a:gd name="T73" fmla="*/ 5 h 750"/>
                <a:gd name="T74" fmla="*/ 35 w 624"/>
                <a:gd name="T75" fmla="*/ 8 h 750"/>
                <a:gd name="T76" fmla="*/ 39 w 624"/>
                <a:gd name="T77" fmla="*/ 11 h 750"/>
                <a:gd name="T78" fmla="*/ 42 w 624"/>
                <a:gd name="T79" fmla="*/ 14 h 750"/>
                <a:gd name="T80" fmla="*/ 46 w 624"/>
                <a:gd name="T81" fmla="*/ 12 h 750"/>
                <a:gd name="T82" fmla="*/ 49 w 624"/>
                <a:gd name="T83" fmla="*/ 12 h 750"/>
                <a:gd name="T84" fmla="*/ 51 w 624"/>
                <a:gd name="T85" fmla="*/ 12 h 750"/>
                <a:gd name="T86" fmla="*/ 53 w 624"/>
                <a:gd name="T87" fmla="*/ 12 h 750"/>
                <a:gd name="T88" fmla="*/ 53 w 624"/>
                <a:gd name="T89" fmla="*/ 17 h 750"/>
                <a:gd name="T90" fmla="*/ 51 w 624"/>
                <a:gd name="T91" fmla="*/ 20 h 750"/>
                <a:gd name="T92" fmla="*/ 49 w 624"/>
                <a:gd name="T93" fmla="*/ 26 h 750"/>
                <a:gd name="T94" fmla="*/ 47 w 624"/>
                <a:gd name="T95" fmla="*/ 26 h 750"/>
                <a:gd name="T96" fmla="*/ 44 w 624"/>
                <a:gd name="T97" fmla="*/ 26 h 750"/>
                <a:gd name="T98" fmla="*/ 43 w 624"/>
                <a:gd name="T99" fmla="*/ 27 h 750"/>
                <a:gd name="T100" fmla="*/ 45 w 624"/>
                <a:gd name="T101" fmla="*/ 32 h 750"/>
                <a:gd name="T102" fmla="*/ 44 w 624"/>
                <a:gd name="T103" fmla="*/ 43 h 750"/>
                <a:gd name="T104" fmla="*/ 44 w 624"/>
                <a:gd name="T105" fmla="*/ 47 h 750"/>
                <a:gd name="T106" fmla="*/ 44 w 624"/>
                <a:gd name="T107" fmla="*/ 54 h 750"/>
                <a:gd name="T108" fmla="*/ 41 w 624"/>
                <a:gd name="T109" fmla="*/ 60 h 750"/>
                <a:gd name="T110" fmla="*/ 42 w 624"/>
                <a:gd name="T111" fmla="*/ 62 h 750"/>
                <a:gd name="T112" fmla="*/ 43 w 624"/>
                <a:gd name="T113" fmla="*/ 65 h 750"/>
                <a:gd name="T114" fmla="*/ 39 w 624"/>
                <a:gd name="T115" fmla="*/ 63 h 750"/>
                <a:gd name="T116" fmla="*/ 35 w 624"/>
                <a:gd name="T117" fmla="*/ 62 h 75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24"/>
                <a:gd name="T178" fmla="*/ 0 h 750"/>
                <a:gd name="T179" fmla="*/ 624 w 624"/>
                <a:gd name="T180" fmla="*/ 750 h 75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24" h="750">
                  <a:moveTo>
                    <a:pt x="390" y="702"/>
                  </a:moveTo>
                  <a:lnTo>
                    <a:pt x="372" y="696"/>
                  </a:lnTo>
                  <a:lnTo>
                    <a:pt x="360" y="702"/>
                  </a:lnTo>
                  <a:lnTo>
                    <a:pt x="348" y="702"/>
                  </a:lnTo>
                  <a:lnTo>
                    <a:pt x="336" y="702"/>
                  </a:lnTo>
                  <a:lnTo>
                    <a:pt x="330" y="702"/>
                  </a:lnTo>
                  <a:lnTo>
                    <a:pt x="318" y="708"/>
                  </a:lnTo>
                  <a:lnTo>
                    <a:pt x="306" y="708"/>
                  </a:lnTo>
                  <a:lnTo>
                    <a:pt x="294" y="690"/>
                  </a:lnTo>
                  <a:lnTo>
                    <a:pt x="294" y="684"/>
                  </a:lnTo>
                  <a:lnTo>
                    <a:pt x="276" y="684"/>
                  </a:lnTo>
                  <a:lnTo>
                    <a:pt x="270" y="678"/>
                  </a:lnTo>
                  <a:lnTo>
                    <a:pt x="240" y="672"/>
                  </a:lnTo>
                  <a:lnTo>
                    <a:pt x="234" y="672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6"/>
                  </a:lnTo>
                  <a:lnTo>
                    <a:pt x="216" y="660"/>
                  </a:lnTo>
                  <a:lnTo>
                    <a:pt x="216" y="654"/>
                  </a:lnTo>
                  <a:lnTo>
                    <a:pt x="216" y="642"/>
                  </a:lnTo>
                  <a:lnTo>
                    <a:pt x="210" y="642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36"/>
                  </a:lnTo>
                  <a:lnTo>
                    <a:pt x="192" y="624"/>
                  </a:lnTo>
                  <a:lnTo>
                    <a:pt x="186" y="612"/>
                  </a:lnTo>
                  <a:lnTo>
                    <a:pt x="186" y="600"/>
                  </a:lnTo>
                  <a:lnTo>
                    <a:pt x="186" y="588"/>
                  </a:lnTo>
                  <a:lnTo>
                    <a:pt x="180" y="582"/>
                  </a:lnTo>
                  <a:lnTo>
                    <a:pt x="180" y="570"/>
                  </a:lnTo>
                  <a:lnTo>
                    <a:pt x="174" y="558"/>
                  </a:lnTo>
                  <a:lnTo>
                    <a:pt x="162" y="558"/>
                  </a:lnTo>
                  <a:lnTo>
                    <a:pt x="144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38" y="534"/>
                  </a:lnTo>
                  <a:lnTo>
                    <a:pt x="138" y="528"/>
                  </a:lnTo>
                  <a:lnTo>
                    <a:pt x="132" y="522"/>
                  </a:lnTo>
                  <a:lnTo>
                    <a:pt x="144" y="522"/>
                  </a:lnTo>
                  <a:lnTo>
                    <a:pt x="144" y="510"/>
                  </a:lnTo>
                  <a:lnTo>
                    <a:pt x="144" y="504"/>
                  </a:lnTo>
                  <a:lnTo>
                    <a:pt x="138" y="492"/>
                  </a:lnTo>
                  <a:lnTo>
                    <a:pt x="138" y="474"/>
                  </a:lnTo>
                  <a:lnTo>
                    <a:pt x="126" y="468"/>
                  </a:lnTo>
                  <a:lnTo>
                    <a:pt x="120" y="456"/>
                  </a:lnTo>
                  <a:lnTo>
                    <a:pt x="114" y="450"/>
                  </a:lnTo>
                  <a:lnTo>
                    <a:pt x="108" y="438"/>
                  </a:lnTo>
                  <a:lnTo>
                    <a:pt x="96" y="432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60" y="426"/>
                  </a:lnTo>
                  <a:lnTo>
                    <a:pt x="66" y="420"/>
                  </a:lnTo>
                  <a:lnTo>
                    <a:pt x="66" y="408"/>
                  </a:lnTo>
                  <a:lnTo>
                    <a:pt x="72" y="408"/>
                  </a:lnTo>
                  <a:lnTo>
                    <a:pt x="72" y="384"/>
                  </a:lnTo>
                  <a:lnTo>
                    <a:pt x="72" y="366"/>
                  </a:lnTo>
                  <a:lnTo>
                    <a:pt x="78" y="354"/>
                  </a:lnTo>
                  <a:lnTo>
                    <a:pt x="84" y="354"/>
                  </a:lnTo>
                  <a:lnTo>
                    <a:pt x="90" y="348"/>
                  </a:lnTo>
                  <a:lnTo>
                    <a:pt x="102" y="336"/>
                  </a:lnTo>
                  <a:lnTo>
                    <a:pt x="114" y="324"/>
                  </a:lnTo>
                  <a:lnTo>
                    <a:pt x="120" y="312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20" y="276"/>
                  </a:lnTo>
                  <a:lnTo>
                    <a:pt x="96" y="270"/>
                  </a:lnTo>
                  <a:lnTo>
                    <a:pt x="84" y="270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72" y="264"/>
                  </a:lnTo>
                  <a:lnTo>
                    <a:pt x="60" y="252"/>
                  </a:lnTo>
                  <a:lnTo>
                    <a:pt x="42" y="252"/>
                  </a:lnTo>
                  <a:lnTo>
                    <a:pt x="42" y="258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18" y="252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42" y="156"/>
                  </a:lnTo>
                  <a:lnTo>
                    <a:pt x="48" y="198"/>
                  </a:lnTo>
                  <a:lnTo>
                    <a:pt x="48" y="204"/>
                  </a:lnTo>
                  <a:lnTo>
                    <a:pt x="54" y="198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204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192"/>
                  </a:lnTo>
                  <a:lnTo>
                    <a:pt x="96" y="186"/>
                  </a:lnTo>
                  <a:lnTo>
                    <a:pt x="102" y="180"/>
                  </a:lnTo>
                  <a:lnTo>
                    <a:pt x="102" y="174"/>
                  </a:lnTo>
                  <a:lnTo>
                    <a:pt x="108" y="168"/>
                  </a:lnTo>
                  <a:lnTo>
                    <a:pt x="108" y="162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0"/>
                  </a:lnTo>
                  <a:lnTo>
                    <a:pt x="132" y="144"/>
                  </a:lnTo>
                  <a:lnTo>
                    <a:pt x="138" y="138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0" y="132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74" y="126"/>
                  </a:lnTo>
                  <a:lnTo>
                    <a:pt x="204" y="120"/>
                  </a:lnTo>
                  <a:lnTo>
                    <a:pt x="210" y="78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54"/>
                  </a:lnTo>
                  <a:lnTo>
                    <a:pt x="276" y="54"/>
                  </a:lnTo>
                  <a:lnTo>
                    <a:pt x="276" y="48"/>
                  </a:lnTo>
                  <a:lnTo>
                    <a:pt x="282" y="48"/>
                  </a:lnTo>
                  <a:lnTo>
                    <a:pt x="288" y="42"/>
                  </a:lnTo>
                  <a:lnTo>
                    <a:pt x="294" y="42"/>
                  </a:lnTo>
                  <a:lnTo>
                    <a:pt x="294" y="18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0"/>
                  </a:lnTo>
                  <a:lnTo>
                    <a:pt x="336" y="0"/>
                  </a:lnTo>
                  <a:lnTo>
                    <a:pt x="342" y="0"/>
                  </a:lnTo>
                  <a:lnTo>
                    <a:pt x="354" y="6"/>
                  </a:lnTo>
                  <a:lnTo>
                    <a:pt x="366" y="18"/>
                  </a:lnTo>
                  <a:lnTo>
                    <a:pt x="378" y="36"/>
                  </a:lnTo>
                  <a:lnTo>
                    <a:pt x="390" y="42"/>
                  </a:lnTo>
                  <a:lnTo>
                    <a:pt x="390" y="48"/>
                  </a:lnTo>
                  <a:lnTo>
                    <a:pt x="396" y="60"/>
                  </a:lnTo>
                  <a:lnTo>
                    <a:pt x="402" y="72"/>
                  </a:lnTo>
                  <a:lnTo>
                    <a:pt x="408" y="78"/>
                  </a:lnTo>
                  <a:lnTo>
                    <a:pt x="402" y="84"/>
                  </a:lnTo>
                  <a:lnTo>
                    <a:pt x="408" y="90"/>
                  </a:lnTo>
                  <a:lnTo>
                    <a:pt x="414" y="102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50" y="126"/>
                  </a:lnTo>
                  <a:lnTo>
                    <a:pt x="456" y="126"/>
                  </a:lnTo>
                  <a:lnTo>
                    <a:pt x="462" y="144"/>
                  </a:lnTo>
                  <a:lnTo>
                    <a:pt x="480" y="156"/>
                  </a:lnTo>
                  <a:lnTo>
                    <a:pt x="492" y="156"/>
                  </a:lnTo>
                  <a:lnTo>
                    <a:pt x="516" y="150"/>
                  </a:lnTo>
                  <a:lnTo>
                    <a:pt x="516" y="144"/>
                  </a:lnTo>
                  <a:lnTo>
                    <a:pt x="516" y="138"/>
                  </a:lnTo>
                  <a:lnTo>
                    <a:pt x="528" y="138"/>
                  </a:lnTo>
                  <a:lnTo>
                    <a:pt x="546" y="144"/>
                  </a:lnTo>
                  <a:lnTo>
                    <a:pt x="546" y="138"/>
                  </a:lnTo>
                  <a:lnTo>
                    <a:pt x="552" y="138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76" y="138"/>
                  </a:lnTo>
                  <a:lnTo>
                    <a:pt x="582" y="138"/>
                  </a:lnTo>
                  <a:lnTo>
                    <a:pt x="588" y="138"/>
                  </a:lnTo>
                  <a:lnTo>
                    <a:pt x="594" y="138"/>
                  </a:lnTo>
                  <a:lnTo>
                    <a:pt x="594" y="144"/>
                  </a:lnTo>
                  <a:lnTo>
                    <a:pt x="600" y="138"/>
                  </a:lnTo>
                  <a:lnTo>
                    <a:pt x="606" y="138"/>
                  </a:lnTo>
                  <a:lnTo>
                    <a:pt x="606" y="144"/>
                  </a:lnTo>
                  <a:lnTo>
                    <a:pt x="612" y="144"/>
                  </a:lnTo>
                  <a:lnTo>
                    <a:pt x="618" y="156"/>
                  </a:lnTo>
                  <a:lnTo>
                    <a:pt x="612" y="198"/>
                  </a:lnTo>
                  <a:lnTo>
                    <a:pt x="624" y="198"/>
                  </a:lnTo>
                  <a:lnTo>
                    <a:pt x="624" y="204"/>
                  </a:lnTo>
                  <a:lnTo>
                    <a:pt x="612" y="216"/>
                  </a:lnTo>
                  <a:lnTo>
                    <a:pt x="594" y="234"/>
                  </a:lnTo>
                  <a:lnTo>
                    <a:pt x="588" y="252"/>
                  </a:lnTo>
                  <a:lnTo>
                    <a:pt x="576" y="270"/>
                  </a:lnTo>
                  <a:lnTo>
                    <a:pt x="564" y="282"/>
                  </a:lnTo>
                  <a:lnTo>
                    <a:pt x="564" y="294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8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34" y="294"/>
                  </a:lnTo>
                  <a:lnTo>
                    <a:pt x="522" y="300"/>
                  </a:lnTo>
                  <a:lnTo>
                    <a:pt x="510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498" y="324"/>
                  </a:lnTo>
                  <a:lnTo>
                    <a:pt x="504" y="336"/>
                  </a:lnTo>
                  <a:lnTo>
                    <a:pt x="510" y="348"/>
                  </a:lnTo>
                  <a:lnTo>
                    <a:pt x="516" y="366"/>
                  </a:lnTo>
                  <a:lnTo>
                    <a:pt x="522" y="432"/>
                  </a:lnTo>
                  <a:lnTo>
                    <a:pt x="522" y="456"/>
                  </a:lnTo>
                  <a:lnTo>
                    <a:pt x="504" y="492"/>
                  </a:lnTo>
                  <a:lnTo>
                    <a:pt x="504" y="498"/>
                  </a:lnTo>
                  <a:lnTo>
                    <a:pt x="498" y="504"/>
                  </a:lnTo>
                  <a:lnTo>
                    <a:pt x="498" y="522"/>
                  </a:lnTo>
                  <a:lnTo>
                    <a:pt x="504" y="534"/>
                  </a:lnTo>
                  <a:lnTo>
                    <a:pt x="510" y="546"/>
                  </a:lnTo>
                  <a:lnTo>
                    <a:pt x="516" y="558"/>
                  </a:lnTo>
                  <a:lnTo>
                    <a:pt x="516" y="588"/>
                  </a:lnTo>
                  <a:lnTo>
                    <a:pt x="516" y="600"/>
                  </a:lnTo>
                  <a:lnTo>
                    <a:pt x="510" y="618"/>
                  </a:lnTo>
                  <a:lnTo>
                    <a:pt x="504" y="636"/>
                  </a:lnTo>
                  <a:lnTo>
                    <a:pt x="504" y="642"/>
                  </a:lnTo>
                  <a:lnTo>
                    <a:pt x="474" y="654"/>
                  </a:lnTo>
                  <a:lnTo>
                    <a:pt x="474" y="690"/>
                  </a:lnTo>
                  <a:lnTo>
                    <a:pt x="474" y="696"/>
                  </a:lnTo>
                  <a:lnTo>
                    <a:pt x="480" y="702"/>
                  </a:lnTo>
                  <a:lnTo>
                    <a:pt x="486" y="708"/>
                  </a:lnTo>
                  <a:lnTo>
                    <a:pt x="492" y="708"/>
                  </a:lnTo>
                  <a:lnTo>
                    <a:pt x="498" y="726"/>
                  </a:lnTo>
                  <a:lnTo>
                    <a:pt x="504" y="726"/>
                  </a:lnTo>
                  <a:lnTo>
                    <a:pt x="504" y="738"/>
                  </a:lnTo>
                  <a:lnTo>
                    <a:pt x="498" y="744"/>
                  </a:lnTo>
                  <a:lnTo>
                    <a:pt x="486" y="750"/>
                  </a:lnTo>
                  <a:lnTo>
                    <a:pt x="474" y="744"/>
                  </a:lnTo>
                  <a:lnTo>
                    <a:pt x="462" y="744"/>
                  </a:lnTo>
                  <a:lnTo>
                    <a:pt x="456" y="732"/>
                  </a:lnTo>
                  <a:lnTo>
                    <a:pt x="444" y="732"/>
                  </a:lnTo>
                  <a:lnTo>
                    <a:pt x="432" y="726"/>
                  </a:lnTo>
                  <a:lnTo>
                    <a:pt x="420" y="720"/>
                  </a:lnTo>
                  <a:lnTo>
                    <a:pt x="408" y="708"/>
                  </a:lnTo>
                  <a:lnTo>
                    <a:pt x="402" y="708"/>
                  </a:lnTo>
                  <a:lnTo>
                    <a:pt x="390" y="70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5" name="Freeform 20">
              <a:extLst>
                <a:ext uri="{FF2B5EF4-FFF2-40B4-BE49-F238E27FC236}">
                  <a16:creationId xmlns:a16="http://schemas.microsoft.com/office/drawing/2014/main" id="{B8342C3B-ECEC-465F-AAFF-4815B8AC392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870937"/>
              <a:ext cx="313067" cy="377968"/>
            </a:xfrm>
            <a:custGeom>
              <a:avLst/>
              <a:gdLst>
                <a:gd name="T0" fmla="*/ 15 w 588"/>
                <a:gd name="T1" fmla="*/ 59 h 714"/>
                <a:gd name="T2" fmla="*/ 14 w 588"/>
                <a:gd name="T3" fmla="*/ 58 h 714"/>
                <a:gd name="T4" fmla="*/ 9 w 588"/>
                <a:gd name="T5" fmla="*/ 54 h 714"/>
                <a:gd name="T6" fmla="*/ 4 w 588"/>
                <a:gd name="T7" fmla="*/ 54 h 714"/>
                <a:gd name="T8" fmla="*/ 0 w 588"/>
                <a:gd name="T9" fmla="*/ 50 h 714"/>
                <a:gd name="T10" fmla="*/ 0 w 588"/>
                <a:gd name="T11" fmla="*/ 44 h 714"/>
                <a:gd name="T12" fmla="*/ 4 w 588"/>
                <a:gd name="T13" fmla="*/ 46 h 714"/>
                <a:gd name="T14" fmla="*/ 7 w 588"/>
                <a:gd name="T15" fmla="*/ 47 h 714"/>
                <a:gd name="T16" fmla="*/ 10 w 588"/>
                <a:gd name="T17" fmla="*/ 46 h 714"/>
                <a:gd name="T18" fmla="*/ 8 w 588"/>
                <a:gd name="T19" fmla="*/ 44 h 714"/>
                <a:gd name="T20" fmla="*/ 10 w 588"/>
                <a:gd name="T21" fmla="*/ 39 h 714"/>
                <a:gd name="T22" fmla="*/ 11 w 588"/>
                <a:gd name="T23" fmla="*/ 34 h 714"/>
                <a:gd name="T24" fmla="*/ 9 w 588"/>
                <a:gd name="T25" fmla="*/ 28 h 714"/>
                <a:gd name="T26" fmla="*/ 11 w 588"/>
                <a:gd name="T27" fmla="*/ 22 h 714"/>
                <a:gd name="T28" fmla="*/ 10 w 588"/>
                <a:gd name="T29" fmla="*/ 12 h 714"/>
                <a:gd name="T30" fmla="*/ 9 w 588"/>
                <a:gd name="T31" fmla="*/ 9 h 714"/>
                <a:gd name="T32" fmla="*/ 12 w 588"/>
                <a:gd name="T33" fmla="*/ 8 h 714"/>
                <a:gd name="T34" fmla="*/ 14 w 588"/>
                <a:gd name="T35" fmla="*/ 7 h 714"/>
                <a:gd name="T36" fmla="*/ 17 w 588"/>
                <a:gd name="T37" fmla="*/ 10 h 714"/>
                <a:gd name="T38" fmla="*/ 23 w 588"/>
                <a:gd name="T39" fmla="*/ 14 h 714"/>
                <a:gd name="T40" fmla="*/ 28 w 588"/>
                <a:gd name="T41" fmla="*/ 4 h 714"/>
                <a:gd name="T42" fmla="*/ 35 w 588"/>
                <a:gd name="T43" fmla="*/ 2 h 714"/>
                <a:gd name="T44" fmla="*/ 38 w 588"/>
                <a:gd name="T45" fmla="*/ 0 h 714"/>
                <a:gd name="T46" fmla="*/ 40 w 588"/>
                <a:gd name="T47" fmla="*/ 2 h 714"/>
                <a:gd name="T48" fmla="*/ 39 w 588"/>
                <a:gd name="T49" fmla="*/ 4 h 714"/>
                <a:gd name="T50" fmla="*/ 41 w 588"/>
                <a:gd name="T51" fmla="*/ 5 h 714"/>
                <a:gd name="T52" fmla="*/ 42 w 588"/>
                <a:gd name="T53" fmla="*/ 7 h 714"/>
                <a:gd name="T54" fmla="*/ 43 w 588"/>
                <a:gd name="T55" fmla="*/ 9 h 714"/>
                <a:gd name="T56" fmla="*/ 43 w 588"/>
                <a:gd name="T57" fmla="*/ 10 h 714"/>
                <a:gd name="T58" fmla="*/ 43 w 588"/>
                <a:gd name="T59" fmla="*/ 12 h 714"/>
                <a:gd name="T60" fmla="*/ 44 w 588"/>
                <a:gd name="T61" fmla="*/ 12 h 714"/>
                <a:gd name="T62" fmla="*/ 46 w 588"/>
                <a:gd name="T63" fmla="*/ 13 h 714"/>
                <a:gd name="T64" fmla="*/ 47 w 588"/>
                <a:gd name="T65" fmla="*/ 14 h 714"/>
                <a:gd name="T66" fmla="*/ 48 w 588"/>
                <a:gd name="T67" fmla="*/ 15 h 714"/>
                <a:gd name="T68" fmla="*/ 49 w 588"/>
                <a:gd name="T69" fmla="*/ 15 h 714"/>
                <a:gd name="T70" fmla="*/ 48 w 588"/>
                <a:gd name="T71" fmla="*/ 17 h 714"/>
                <a:gd name="T72" fmla="*/ 49 w 588"/>
                <a:gd name="T73" fmla="*/ 19 h 714"/>
                <a:gd name="T74" fmla="*/ 49 w 588"/>
                <a:gd name="T75" fmla="*/ 20 h 714"/>
                <a:gd name="T76" fmla="*/ 51 w 588"/>
                <a:gd name="T77" fmla="*/ 21 h 714"/>
                <a:gd name="T78" fmla="*/ 50 w 588"/>
                <a:gd name="T79" fmla="*/ 22 h 714"/>
                <a:gd name="T80" fmla="*/ 47 w 588"/>
                <a:gd name="T81" fmla="*/ 23 h 714"/>
                <a:gd name="T82" fmla="*/ 47 w 588"/>
                <a:gd name="T83" fmla="*/ 26 h 714"/>
                <a:gd name="T84" fmla="*/ 47 w 588"/>
                <a:gd name="T85" fmla="*/ 32 h 714"/>
                <a:gd name="T86" fmla="*/ 44 w 588"/>
                <a:gd name="T87" fmla="*/ 35 h 714"/>
                <a:gd name="T88" fmla="*/ 42 w 588"/>
                <a:gd name="T89" fmla="*/ 39 h 714"/>
                <a:gd name="T90" fmla="*/ 42 w 588"/>
                <a:gd name="T91" fmla="*/ 41 h 714"/>
                <a:gd name="T92" fmla="*/ 42 w 588"/>
                <a:gd name="T93" fmla="*/ 42 h 714"/>
                <a:gd name="T94" fmla="*/ 41 w 588"/>
                <a:gd name="T95" fmla="*/ 44 h 714"/>
                <a:gd name="T96" fmla="*/ 39 w 588"/>
                <a:gd name="T97" fmla="*/ 43 h 714"/>
                <a:gd name="T98" fmla="*/ 37 w 588"/>
                <a:gd name="T99" fmla="*/ 44 h 714"/>
                <a:gd name="T100" fmla="*/ 35 w 588"/>
                <a:gd name="T101" fmla="*/ 46 h 714"/>
                <a:gd name="T102" fmla="*/ 31 w 588"/>
                <a:gd name="T103" fmla="*/ 45 h 714"/>
                <a:gd name="T104" fmla="*/ 24 w 588"/>
                <a:gd name="T105" fmla="*/ 45 h 714"/>
                <a:gd name="T106" fmla="*/ 25 w 588"/>
                <a:gd name="T107" fmla="*/ 47 h 714"/>
                <a:gd name="T108" fmla="*/ 25 w 588"/>
                <a:gd name="T109" fmla="*/ 49 h 714"/>
                <a:gd name="T110" fmla="*/ 25 w 588"/>
                <a:gd name="T111" fmla="*/ 50 h 714"/>
                <a:gd name="T112" fmla="*/ 24 w 588"/>
                <a:gd name="T113" fmla="*/ 51 h 714"/>
                <a:gd name="T114" fmla="*/ 22 w 588"/>
                <a:gd name="T115" fmla="*/ 53 h 714"/>
                <a:gd name="T116" fmla="*/ 23 w 588"/>
                <a:gd name="T117" fmla="*/ 56 h 714"/>
                <a:gd name="T118" fmla="*/ 20 w 588"/>
                <a:gd name="T119" fmla="*/ 58 h 714"/>
                <a:gd name="T120" fmla="*/ 19 w 588"/>
                <a:gd name="T121" fmla="*/ 62 h 7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8"/>
                <a:gd name="T184" fmla="*/ 0 h 714"/>
                <a:gd name="T185" fmla="*/ 588 w 588"/>
                <a:gd name="T186" fmla="*/ 714 h 7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8" h="714">
                  <a:moveTo>
                    <a:pt x="216" y="714"/>
                  </a:moveTo>
                  <a:lnTo>
                    <a:pt x="198" y="702"/>
                  </a:lnTo>
                  <a:lnTo>
                    <a:pt x="186" y="696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74" y="678"/>
                  </a:lnTo>
                  <a:lnTo>
                    <a:pt x="168" y="672"/>
                  </a:lnTo>
                  <a:lnTo>
                    <a:pt x="162" y="666"/>
                  </a:lnTo>
                  <a:lnTo>
                    <a:pt x="156" y="636"/>
                  </a:lnTo>
                  <a:lnTo>
                    <a:pt x="144" y="630"/>
                  </a:lnTo>
                  <a:lnTo>
                    <a:pt x="108" y="630"/>
                  </a:lnTo>
                  <a:lnTo>
                    <a:pt x="102" y="624"/>
                  </a:lnTo>
                  <a:lnTo>
                    <a:pt x="96" y="624"/>
                  </a:lnTo>
                  <a:lnTo>
                    <a:pt x="72" y="624"/>
                  </a:lnTo>
                  <a:lnTo>
                    <a:pt x="54" y="624"/>
                  </a:lnTo>
                  <a:lnTo>
                    <a:pt x="42" y="618"/>
                  </a:lnTo>
                  <a:lnTo>
                    <a:pt x="30" y="612"/>
                  </a:lnTo>
                  <a:lnTo>
                    <a:pt x="6" y="606"/>
                  </a:lnTo>
                  <a:lnTo>
                    <a:pt x="0" y="606"/>
                  </a:lnTo>
                  <a:lnTo>
                    <a:pt x="0" y="570"/>
                  </a:lnTo>
                  <a:lnTo>
                    <a:pt x="6" y="552"/>
                  </a:lnTo>
                  <a:lnTo>
                    <a:pt x="6" y="522"/>
                  </a:lnTo>
                  <a:lnTo>
                    <a:pt x="0" y="510"/>
                  </a:lnTo>
                  <a:lnTo>
                    <a:pt x="0" y="504"/>
                  </a:lnTo>
                  <a:lnTo>
                    <a:pt x="12" y="510"/>
                  </a:lnTo>
                  <a:lnTo>
                    <a:pt x="18" y="510"/>
                  </a:lnTo>
                  <a:lnTo>
                    <a:pt x="30" y="522"/>
                  </a:lnTo>
                  <a:lnTo>
                    <a:pt x="42" y="528"/>
                  </a:lnTo>
                  <a:lnTo>
                    <a:pt x="54" y="534"/>
                  </a:lnTo>
                  <a:lnTo>
                    <a:pt x="66" y="534"/>
                  </a:lnTo>
                  <a:lnTo>
                    <a:pt x="72" y="546"/>
                  </a:lnTo>
                  <a:lnTo>
                    <a:pt x="84" y="546"/>
                  </a:lnTo>
                  <a:lnTo>
                    <a:pt x="96" y="552"/>
                  </a:lnTo>
                  <a:lnTo>
                    <a:pt x="108" y="546"/>
                  </a:lnTo>
                  <a:lnTo>
                    <a:pt x="114" y="540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90" y="504"/>
                  </a:lnTo>
                  <a:lnTo>
                    <a:pt x="84" y="498"/>
                  </a:lnTo>
                  <a:lnTo>
                    <a:pt x="84" y="492"/>
                  </a:lnTo>
                  <a:lnTo>
                    <a:pt x="84" y="456"/>
                  </a:lnTo>
                  <a:lnTo>
                    <a:pt x="114" y="444"/>
                  </a:lnTo>
                  <a:lnTo>
                    <a:pt x="114" y="438"/>
                  </a:lnTo>
                  <a:lnTo>
                    <a:pt x="120" y="420"/>
                  </a:lnTo>
                  <a:lnTo>
                    <a:pt x="126" y="402"/>
                  </a:lnTo>
                  <a:lnTo>
                    <a:pt x="126" y="390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14" y="336"/>
                  </a:lnTo>
                  <a:lnTo>
                    <a:pt x="108" y="324"/>
                  </a:lnTo>
                  <a:lnTo>
                    <a:pt x="108" y="306"/>
                  </a:lnTo>
                  <a:lnTo>
                    <a:pt x="114" y="300"/>
                  </a:lnTo>
                  <a:lnTo>
                    <a:pt x="114" y="294"/>
                  </a:lnTo>
                  <a:lnTo>
                    <a:pt x="132" y="258"/>
                  </a:lnTo>
                  <a:lnTo>
                    <a:pt x="132" y="234"/>
                  </a:lnTo>
                  <a:lnTo>
                    <a:pt x="126" y="168"/>
                  </a:lnTo>
                  <a:lnTo>
                    <a:pt x="120" y="150"/>
                  </a:lnTo>
                  <a:lnTo>
                    <a:pt x="114" y="138"/>
                  </a:lnTo>
                  <a:lnTo>
                    <a:pt x="108" y="126"/>
                  </a:lnTo>
                  <a:lnTo>
                    <a:pt x="108" y="120"/>
                  </a:lnTo>
                  <a:lnTo>
                    <a:pt x="108" y="114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20" y="96"/>
                  </a:lnTo>
                  <a:lnTo>
                    <a:pt x="132" y="102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56" y="90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96"/>
                  </a:lnTo>
                  <a:lnTo>
                    <a:pt x="186" y="96"/>
                  </a:lnTo>
                  <a:lnTo>
                    <a:pt x="192" y="114"/>
                  </a:lnTo>
                  <a:lnTo>
                    <a:pt x="204" y="132"/>
                  </a:lnTo>
                  <a:lnTo>
                    <a:pt x="216" y="144"/>
                  </a:lnTo>
                  <a:lnTo>
                    <a:pt x="240" y="162"/>
                  </a:lnTo>
                  <a:lnTo>
                    <a:pt x="270" y="156"/>
                  </a:lnTo>
                  <a:lnTo>
                    <a:pt x="282" y="126"/>
                  </a:lnTo>
                  <a:lnTo>
                    <a:pt x="282" y="96"/>
                  </a:lnTo>
                  <a:lnTo>
                    <a:pt x="294" y="54"/>
                  </a:lnTo>
                  <a:lnTo>
                    <a:pt x="324" y="48"/>
                  </a:lnTo>
                  <a:lnTo>
                    <a:pt x="342" y="48"/>
                  </a:lnTo>
                  <a:lnTo>
                    <a:pt x="384" y="48"/>
                  </a:lnTo>
                  <a:lnTo>
                    <a:pt x="390" y="30"/>
                  </a:lnTo>
                  <a:lnTo>
                    <a:pt x="402" y="18"/>
                  </a:lnTo>
                  <a:lnTo>
                    <a:pt x="438" y="6"/>
                  </a:lnTo>
                  <a:lnTo>
                    <a:pt x="438" y="0"/>
                  </a:lnTo>
                  <a:lnTo>
                    <a:pt x="444" y="0"/>
                  </a:lnTo>
                  <a:lnTo>
                    <a:pt x="444" y="6"/>
                  </a:lnTo>
                  <a:lnTo>
                    <a:pt x="450" y="6"/>
                  </a:lnTo>
                  <a:lnTo>
                    <a:pt x="456" y="12"/>
                  </a:lnTo>
                  <a:lnTo>
                    <a:pt x="456" y="18"/>
                  </a:lnTo>
                  <a:lnTo>
                    <a:pt x="462" y="24"/>
                  </a:lnTo>
                  <a:lnTo>
                    <a:pt x="462" y="30"/>
                  </a:lnTo>
                  <a:lnTo>
                    <a:pt x="468" y="36"/>
                  </a:lnTo>
                  <a:lnTo>
                    <a:pt x="462" y="36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74" y="60"/>
                  </a:lnTo>
                  <a:lnTo>
                    <a:pt x="486" y="78"/>
                  </a:lnTo>
                  <a:lnTo>
                    <a:pt x="486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8" y="102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498" y="114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504" y="126"/>
                  </a:lnTo>
                  <a:lnTo>
                    <a:pt x="498" y="132"/>
                  </a:lnTo>
                  <a:lnTo>
                    <a:pt x="504" y="138"/>
                  </a:lnTo>
                  <a:lnTo>
                    <a:pt x="504" y="132"/>
                  </a:lnTo>
                  <a:lnTo>
                    <a:pt x="510" y="132"/>
                  </a:lnTo>
                  <a:lnTo>
                    <a:pt x="510" y="138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56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6" y="168"/>
                  </a:lnTo>
                  <a:lnTo>
                    <a:pt x="552" y="168"/>
                  </a:lnTo>
                  <a:lnTo>
                    <a:pt x="546" y="168"/>
                  </a:lnTo>
                  <a:lnTo>
                    <a:pt x="546" y="174"/>
                  </a:lnTo>
                  <a:lnTo>
                    <a:pt x="558" y="180"/>
                  </a:lnTo>
                  <a:lnTo>
                    <a:pt x="564" y="180"/>
                  </a:lnTo>
                  <a:lnTo>
                    <a:pt x="564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52" y="198"/>
                  </a:lnTo>
                  <a:lnTo>
                    <a:pt x="558" y="204"/>
                  </a:lnTo>
                  <a:lnTo>
                    <a:pt x="564" y="204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22"/>
                  </a:lnTo>
                  <a:lnTo>
                    <a:pt x="576" y="228"/>
                  </a:lnTo>
                  <a:lnTo>
                    <a:pt x="570" y="228"/>
                  </a:lnTo>
                  <a:lnTo>
                    <a:pt x="570" y="234"/>
                  </a:lnTo>
                  <a:lnTo>
                    <a:pt x="576" y="234"/>
                  </a:lnTo>
                  <a:lnTo>
                    <a:pt x="582" y="234"/>
                  </a:lnTo>
                  <a:lnTo>
                    <a:pt x="588" y="234"/>
                  </a:lnTo>
                  <a:lnTo>
                    <a:pt x="588" y="240"/>
                  </a:lnTo>
                  <a:lnTo>
                    <a:pt x="588" y="246"/>
                  </a:lnTo>
                  <a:lnTo>
                    <a:pt x="588" y="252"/>
                  </a:lnTo>
                  <a:lnTo>
                    <a:pt x="582" y="252"/>
                  </a:lnTo>
                  <a:lnTo>
                    <a:pt x="576" y="252"/>
                  </a:lnTo>
                  <a:lnTo>
                    <a:pt x="582" y="258"/>
                  </a:lnTo>
                  <a:lnTo>
                    <a:pt x="582" y="264"/>
                  </a:lnTo>
                  <a:lnTo>
                    <a:pt x="576" y="264"/>
                  </a:lnTo>
                  <a:lnTo>
                    <a:pt x="546" y="264"/>
                  </a:lnTo>
                  <a:lnTo>
                    <a:pt x="546" y="276"/>
                  </a:lnTo>
                  <a:lnTo>
                    <a:pt x="540" y="282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40" y="324"/>
                  </a:lnTo>
                  <a:lnTo>
                    <a:pt x="552" y="330"/>
                  </a:lnTo>
                  <a:lnTo>
                    <a:pt x="558" y="342"/>
                  </a:lnTo>
                  <a:lnTo>
                    <a:pt x="546" y="372"/>
                  </a:lnTo>
                  <a:lnTo>
                    <a:pt x="534" y="372"/>
                  </a:lnTo>
                  <a:lnTo>
                    <a:pt x="534" y="384"/>
                  </a:lnTo>
                  <a:lnTo>
                    <a:pt x="522" y="384"/>
                  </a:lnTo>
                  <a:lnTo>
                    <a:pt x="510" y="402"/>
                  </a:lnTo>
                  <a:lnTo>
                    <a:pt x="504" y="420"/>
                  </a:lnTo>
                  <a:lnTo>
                    <a:pt x="492" y="426"/>
                  </a:lnTo>
                  <a:lnTo>
                    <a:pt x="486" y="432"/>
                  </a:lnTo>
                  <a:lnTo>
                    <a:pt x="486" y="444"/>
                  </a:lnTo>
                  <a:lnTo>
                    <a:pt x="486" y="450"/>
                  </a:lnTo>
                  <a:lnTo>
                    <a:pt x="486" y="456"/>
                  </a:lnTo>
                  <a:lnTo>
                    <a:pt x="486" y="462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80" y="474"/>
                  </a:lnTo>
                  <a:lnTo>
                    <a:pt x="480" y="480"/>
                  </a:lnTo>
                  <a:lnTo>
                    <a:pt x="480" y="486"/>
                  </a:lnTo>
                  <a:lnTo>
                    <a:pt x="480" y="492"/>
                  </a:lnTo>
                  <a:lnTo>
                    <a:pt x="480" y="498"/>
                  </a:lnTo>
                  <a:lnTo>
                    <a:pt x="474" y="504"/>
                  </a:lnTo>
                  <a:lnTo>
                    <a:pt x="468" y="510"/>
                  </a:lnTo>
                  <a:lnTo>
                    <a:pt x="462" y="510"/>
                  </a:lnTo>
                  <a:lnTo>
                    <a:pt x="456" y="504"/>
                  </a:lnTo>
                  <a:lnTo>
                    <a:pt x="456" y="498"/>
                  </a:lnTo>
                  <a:lnTo>
                    <a:pt x="450" y="498"/>
                  </a:lnTo>
                  <a:lnTo>
                    <a:pt x="444" y="498"/>
                  </a:lnTo>
                  <a:lnTo>
                    <a:pt x="438" y="498"/>
                  </a:lnTo>
                  <a:lnTo>
                    <a:pt x="432" y="498"/>
                  </a:lnTo>
                  <a:lnTo>
                    <a:pt x="426" y="504"/>
                  </a:lnTo>
                  <a:lnTo>
                    <a:pt x="426" y="510"/>
                  </a:lnTo>
                  <a:lnTo>
                    <a:pt x="420" y="516"/>
                  </a:lnTo>
                  <a:lnTo>
                    <a:pt x="414" y="522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84" y="528"/>
                  </a:lnTo>
                  <a:lnTo>
                    <a:pt x="366" y="540"/>
                  </a:lnTo>
                  <a:lnTo>
                    <a:pt x="360" y="522"/>
                  </a:lnTo>
                  <a:lnTo>
                    <a:pt x="348" y="504"/>
                  </a:lnTo>
                  <a:lnTo>
                    <a:pt x="330" y="504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34"/>
                  </a:lnTo>
                  <a:lnTo>
                    <a:pt x="288" y="540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2" y="540"/>
                  </a:lnTo>
                  <a:lnTo>
                    <a:pt x="282" y="546"/>
                  </a:lnTo>
                  <a:lnTo>
                    <a:pt x="288" y="552"/>
                  </a:lnTo>
                  <a:lnTo>
                    <a:pt x="294" y="564"/>
                  </a:lnTo>
                  <a:lnTo>
                    <a:pt x="300" y="564"/>
                  </a:lnTo>
                  <a:lnTo>
                    <a:pt x="300" y="570"/>
                  </a:lnTo>
                  <a:lnTo>
                    <a:pt x="294" y="570"/>
                  </a:lnTo>
                  <a:lnTo>
                    <a:pt x="288" y="570"/>
                  </a:lnTo>
                  <a:lnTo>
                    <a:pt x="288" y="576"/>
                  </a:lnTo>
                  <a:lnTo>
                    <a:pt x="288" y="582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606"/>
                  </a:lnTo>
                  <a:lnTo>
                    <a:pt x="264" y="612"/>
                  </a:lnTo>
                  <a:lnTo>
                    <a:pt x="258" y="612"/>
                  </a:lnTo>
                  <a:lnTo>
                    <a:pt x="252" y="612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52" y="630"/>
                  </a:lnTo>
                  <a:lnTo>
                    <a:pt x="264" y="642"/>
                  </a:lnTo>
                  <a:lnTo>
                    <a:pt x="258" y="648"/>
                  </a:lnTo>
                  <a:lnTo>
                    <a:pt x="246" y="654"/>
                  </a:lnTo>
                  <a:lnTo>
                    <a:pt x="240" y="660"/>
                  </a:lnTo>
                  <a:lnTo>
                    <a:pt x="234" y="672"/>
                  </a:lnTo>
                  <a:lnTo>
                    <a:pt x="234" y="678"/>
                  </a:lnTo>
                  <a:lnTo>
                    <a:pt x="228" y="684"/>
                  </a:lnTo>
                  <a:lnTo>
                    <a:pt x="228" y="696"/>
                  </a:lnTo>
                  <a:lnTo>
                    <a:pt x="216" y="71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6" name="Freeform 21">
              <a:extLst>
                <a:ext uri="{FF2B5EF4-FFF2-40B4-BE49-F238E27FC236}">
                  <a16:creationId xmlns:a16="http://schemas.microsoft.com/office/drawing/2014/main" id="{DCB1E808-522D-4C19-B741-CC5DD56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4178" y="3866464"/>
              <a:ext cx="250453" cy="371259"/>
            </a:xfrm>
            <a:custGeom>
              <a:avLst/>
              <a:gdLst>
                <a:gd name="T0" fmla="*/ 0 w 468"/>
                <a:gd name="T1" fmla="*/ 61 h 696"/>
                <a:gd name="T2" fmla="*/ 1 w 468"/>
                <a:gd name="T3" fmla="*/ 58 h 696"/>
                <a:gd name="T4" fmla="*/ 2 w 468"/>
                <a:gd name="T5" fmla="*/ 54 h 696"/>
                <a:gd name="T6" fmla="*/ 3 w 468"/>
                <a:gd name="T7" fmla="*/ 51 h 696"/>
                <a:gd name="T8" fmla="*/ 4 w 468"/>
                <a:gd name="T9" fmla="*/ 48 h 696"/>
                <a:gd name="T10" fmla="*/ 6 w 468"/>
                <a:gd name="T11" fmla="*/ 44 h 696"/>
                <a:gd name="T12" fmla="*/ 5 w 468"/>
                <a:gd name="T13" fmla="*/ 41 h 696"/>
                <a:gd name="T14" fmla="*/ 7 w 468"/>
                <a:gd name="T15" fmla="*/ 38 h 696"/>
                <a:gd name="T16" fmla="*/ 8 w 468"/>
                <a:gd name="T17" fmla="*/ 36 h 696"/>
                <a:gd name="T18" fmla="*/ 7 w 468"/>
                <a:gd name="T19" fmla="*/ 33 h 696"/>
                <a:gd name="T20" fmla="*/ 6 w 468"/>
                <a:gd name="T21" fmla="*/ 29 h 696"/>
                <a:gd name="T22" fmla="*/ 4 w 468"/>
                <a:gd name="T23" fmla="*/ 22 h 696"/>
                <a:gd name="T24" fmla="*/ 2 w 468"/>
                <a:gd name="T25" fmla="*/ 14 h 696"/>
                <a:gd name="T26" fmla="*/ 12 w 468"/>
                <a:gd name="T27" fmla="*/ 11 h 696"/>
                <a:gd name="T28" fmla="*/ 14 w 468"/>
                <a:gd name="T29" fmla="*/ 2 h 696"/>
                <a:gd name="T30" fmla="*/ 16 w 468"/>
                <a:gd name="T31" fmla="*/ 0 h 696"/>
                <a:gd name="T32" fmla="*/ 17 w 468"/>
                <a:gd name="T33" fmla="*/ 0 h 696"/>
                <a:gd name="T34" fmla="*/ 18 w 468"/>
                <a:gd name="T35" fmla="*/ 1 h 696"/>
                <a:gd name="T36" fmla="*/ 17 w 468"/>
                <a:gd name="T37" fmla="*/ 2 h 696"/>
                <a:gd name="T38" fmla="*/ 17 w 468"/>
                <a:gd name="T39" fmla="*/ 4 h 696"/>
                <a:gd name="T40" fmla="*/ 17 w 468"/>
                <a:gd name="T41" fmla="*/ 6 h 696"/>
                <a:gd name="T42" fmla="*/ 20 w 468"/>
                <a:gd name="T43" fmla="*/ 6 h 696"/>
                <a:gd name="T44" fmla="*/ 22 w 468"/>
                <a:gd name="T45" fmla="*/ 5 h 696"/>
                <a:gd name="T46" fmla="*/ 24 w 468"/>
                <a:gd name="T47" fmla="*/ 7 h 696"/>
                <a:gd name="T48" fmla="*/ 28 w 468"/>
                <a:gd name="T49" fmla="*/ 7 h 696"/>
                <a:gd name="T50" fmla="*/ 28 w 468"/>
                <a:gd name="T51" fmla="*/ 11 h 696"/>
                <a:gd name="T52" fmla="*/ 25 w 468"/>
                <a:gd name="T53" fmla="*/ 14 h 696"/>
                <a:gd name="T54" fmla="*/ 23 w 468"/>
                <a:gd name="T55" fmla="*/ 15 h 696"/>
                <a:gd name="T56" fmla="*/ 23 w 468"/>
                <a:gd name="T57" fmla="*/ 19 h 696"/>
                <a:gd name="T58" fmla="*/ 23 w 468"/>
                <a:gd name="T59" fmla="*/ 21 h 696"/>
                <a:gd name="T60" fmla="*/ 24 w 468"/>
                <a:gd name="T61" fmla="*/ 21 h 696"/>
                <a:gd name="T62" fmla="*/ 27 w 468"/>
                <a:gd name="T63" fmla="*/ 23 h 696"/>
                <a:gd name="T64" fmla="*/ 29 w 468"/>
                <a:gd name="T65" fmla="*/ 24 h 696"/>
                <a:gd name="T66" fmla="*/ 29 w 468"/>
                <a:gd name="T67" fmla="*/ 28 h 696"/>
                <a:gd name="T68" fmla="*/ 29 w 468"/>
                <a:gd name="T69" fmla="*/ 29 h 696"/>
                <a:gd name="T70" fmla="*/ 29 w 468"/>
                <a:gd name="T71" fmla="*/ 32 h 696"/>
                <a:gd name="T72" fmla="*/ 32 w 468"/>
                <a:gd name="T73" fmla="*/ 32 h 696"/>
                <a:gd name="T74" fmla="*/ 33 w 468"/>
                <a:gd name="T75" fmla="*/ 35 h 696"/>
                <a:gd name="T76" fmla="*/ 34 w 468"/>
                <a:gd name="T77" fmla="*/ 38 h 696"/>
                <a:gd name="T78" fmla="*/ 35 w 468"/>
                <a:gd name="T79" fmla="*/ 39 h 696"/>
                <a:gd name="T80" fmla="*/ 36 w 468"/>
                <a:gd name="T81" fmla="*/ 40 h 696"/>
                <a:gd name="T82" fmla="*/ 37 w 468"/>
                <a:gd name="T83" fmla="*/ 41 h 696"/>
                <a:gd name="T84" fmla="*/ 38 w 468"/>
                <a:gd name="T85" fmla="*/ 42 h 696"/>
                <a:gd name="T86" fmla="*/ 41 w 468"/>
                <a:gd name="T87" fmla="*/ 44 h 696"/>
                <a:gd name="T88" fmla="*/ 40 w 468"/>
                <a:gd name="T89" fmla="*/ 44 h 696"/>
                <a:gd name="T90" fmla="*/ 37 w 468"/>
                <a:gd name="T91" fmla="*/ 45 h 696"/>
                <a:gd name="T92" fmla="*/ 36 w 468"/>
                <a:gd name="T93" fmla="*/ 48 h 696"/>
                <a:gd name="T94" fmla="*/ 34 w 468"/>
                <a:gd name="T95" fmla="*/ 49 h 696"/>
                <a:gd name="T96" fmla="*/ 32 w 468"/>
                <a:gd name="T97" fmla="*/ 51 h 696"/>
                <a:gd name="T98" fmla="*/ 31 w 468"/>
                <a:gd name="T99" fmla="*/ 51 h 696"/>
                <a:gd name="T100" fmla="*/ 26 w 468"/>
                <a:gd name="T101" fmla="*/ 49 h 696"/>
                <a:gd name="T102" fmla="*/ 23 w 468"/>
                <a:gd name="T103" fmla="*/ 51 h 696"/>
                <a:gd name="T104" fmla="*/ 21 w 468"/>
                <a:gd name="T105" fmla="*/ 51 h 696"/>
                <a:gd name="T106" fmla="*/ 20 w 468"/>
                <a:gd name="T107" fmla="*/ 52 h 696"/>
                <a:gd name="T108" fmla="*/ 17 w 468"/>
                <a:gd name="T109" fmla="*/ 55 h 696"/>
                <a:gd name="T110" fmla="*/ 15 w 468"/>
                <a:gd name="T111" fmla="*/ 56 h 696"/>
                <a:gd name="T112" fmla="*/ 15 w 468"/>
                <a:gd name="T113" fmla="*/ 59 h 696"/>
                <a:gd name="T114" fmla="*/ 14 w 468"/>
                <a:gd name="T115" fmla="*/ 59 h 696"/>
                <a:gd name="T116" fmla="*/ 12 w 468"/>
                <a:gd name="T117" fmla="*/ 59 h 696"/>
                <a:gd name="T118" fmla="*/ 11 w 468"/>
                <a:gd name="T119" fmla="*/ 57 h 696"/>
                <a:gd name="T120" fmla="*/ 9 w 468"/>
                <a:gd name="T121" fmla="*/ 57 h 696"/>
                <a:gd name="T122" fmla="*/ 6 w 468"/>
                <a:gd name="T123" fmla="*/ 58 h 696"/>
                <a:gd name="T124" fmla="*/ 4 w 468"/>
                <a:gd name="T125" fmla="*/ 60 h 69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8"/>
                <a:gd name="T190" fmla="*/ 0 h 696"/>
                <a:gd name="T191" fmla="*/ 468 w 468"/>
                <a:gd name="T192" fmla="*/ 696 h 69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8" h="696">
                  <a:moveTo>
                    <a:pt x="30" y="696"/>
                  </a:moveTo>
                  <a:lnTo>
                    <a:pt x="18" y="696"/>
                  </a:lnTo>
                  <a:lnTo>
                    <a:pt x="6" y="696"/>
                  </a:lnTo>
                  <a:lnTo>
                    <a:pt x="0" y="690"/>
                  </a:lnTo>
                  <a:lnTo>
                    <a:pt x="6" y="678"/>
                  </a:lnTo>
                  <a:lnTo>
                    <a:pt x="12" y="666"/>
                  </a:lnTo>
                  <a:lnTo>
                    <a:pt x="18" y="654"/>
                  </a:lnTo>
                  <a:lnTo>
                    <a:pt x="18" y="642"/>
                  </a:lnTo>
                  <a:lnTo>
                    <a:pt x="18" y="618"/>
                  </a:lnTo>
                  <a:lnTo>
                    <a:pt x="24" y="606"/>
                  </a:lnTo>
                  <a:lnTo>
                    <a:pt x="30" y="594"/>
                  </a:lnTo>
                  <a:lnTo>
                    <a:pt x="30" y="582"/>
                  </a:lnTo>
                  <a:lnTo>
                    <a:pt x="36" y="576"/>
                  </a:lnTo>
                  <a:lnTo>
                    <a:pt x="42" y="564"/>
                  </a:lnTo>
                  <a:lnTo>
                    <a:pt x="48" y="546"/>
                  </a:lnTo>
                  <a:lnTo>
                    <a:pt x="48" y="528"/>
                  </a:lnTo>
                  <a:lnTo>
                    <a:pt x="60" y="516"/>
                  </a:lnTo>
                  <a:lnTo>
                    <a:pt x="66" y="504"/>
                  </a:lnTo>
                  <a:lnTo>
                    <a:pt x="66" y="492"/>
                  </a:lnTo>
                  <a:lnTo>
                    <a:pt x="60" y="480"/>
                  </a:lnTo>
                  <a:lnTo>
                    <a:pt x="54" y="468"/>
                  </a:lnTo>
                  <a:lnTo>
                    <a:pt x="60" y="456"/>
                  </a:lnTo>
                  <a:lnTo>
                    <a:pt x="72" y="450"/>
                  </a:lnTo>
                  <a:lnTo>
                    <a:pt x="84" y="438"/>
                  </a:lnTo>
                  <a:lnTo>
                    <a:pt x="90" y="426"/>
                  </a:lnTo>
                  <a:lnTo>
                    <a:pt x="90" y="420"/>
                  </a:lnTo>
                  <a:lnTo>
                    <a:pt x="90" y="408"/>
                  </a:lnTo>
                  <a:lnTo>
                    <a:pt x="90" y="402"/>
                  </a:lnTo>
                  <a:lnTo>
                    <a:pt x="84" y="396"/>
                  </a:lnTo>
                  <a:lnTo>
                    <a:pt x="78" y="378"/>
                  </a:lnTo>
                  <a:lnTo>
                    <a:pt x="72" y="360"/>
                  </a:lnTo>
                  <a:lnTo>
                    <a:pt x="66" y="348"/>
                  </a:lnTo>
                  <a:lnTo>
                    <a:pt x="72" y="336"/>
                  </a:lnTo>
                  <a:lnTo>
                    <a:pt x="66" y="306"/>
                  </a:lnTo>
                  <a:lnTo>
                    <a:pt x="54" y="276"/>
                  </a:lnTo>
                  <a:lnTo>
                    <a:pt x="42" y="252"/>
                  </a:lnTo>
                  <a:lnTo>
                    <a:pt x="36" y="222"/>
                  </a:lnTo>
                  <a:lnTo>
                    <a:pt x="30" y="192"/>
                  </a:lnTo>
                  <a:lnTo>
                    <a:pt x="24" y="162"/>
                  </a:lnTo>
                  <a:lnTo>
                    <a:pt x="42" y="174"/>
                  </a:lnTo>
                  <a:lnTo>
                    <a:pt x="120" y="138"/>
                  </a:lnTo>
                  <a:lnTo>
                    <a:pt x="132" y="126"/>
                  </a:lnTo>
                  <a:lnTo>
                    <a:pt x="120" y="54"/>
                  </a:lnTo>
                  <a:lnTo>
                    <a:pt x="156" y="30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0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8" y="18"/>
                  </a:lnTo>
                  <a:lnTo>
                    <a:pt x="198" y="24"/>
                  </a:lnTo>
                  <a:lnTo>
                    <a:pt x="198" y="30"/>
                  </a:lnTo>
                  <a:lnTo>
                    <a:pt x="198" y="42"/>
                  </a:lnTo>
                  <a:lnTo>
                    <a:pt x="198" y="48"/>
                  </a:lnTo>
                  <a:lnTo>
                    <a:pt x="192" y="60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28" y="60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34" y="60"/>
                  </a:lnTo>
                  <a:lnTo>
                    <a:pt x="252" y="60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312" y="84"/>
                  </a:lnTo>
                  <a:lnTo>
                    <a:pt x="318" y="96"/>
                  </a:lnTo>
                  <a:lnTo>
                    <a:pt x="318" y="102"/>
                  </a:lnTo>
                  <a:lnTo>
                    <a:pt x="312" y="120"/>
                  </a:lnTo>
                  <a:lnTo>
                    <a:pt x="306" y="132"/>
                  </a:lnTo>
                  <a:lnTo>
                    <a:pt x="294" y="144"/>
                  </a:lnTo>
                  <a:lnTo>
                    <a:pt x="282" y="156"/>
                  </a:lnTo>
                  <a:lnTo>
                    <a:pt x="276" y="162"/>
                  </a:lnTo>
                  <a:lnTo>
                    <a:pt x="270" y="162"/>
                  </a:lnTo>
                  <a:lnTo>
                    <a:pt x="264" y="174"/>
                  </a:lnTo>
                  <a:lnTo>
                    <a:pt x="264" y="192"/>
                  </a:lnTo>
                  <a:lnTo>
                    <a:pt x="264" y="216"/>
                  </a:lnTo>
                  <a:lnTo>
                    <a:pt x="258" y="216"/>
                  </a:lnTo>
                  <a:lnTo>
                    <a:pt x="258" y="228"/>
                  </a:lnTo>
                  <a:lnTo>
                    <a:pt x="252" y="234"/>
                  </a:lnTo>
                  <a:lnTo>
                    <a:pt x="258" y="240"/>
                  </a:lnTo>
                  <a:lnTo>
                    <a:pt x="264" y="240"/>
                  </a:lnTo>
                  <a:lnTo>
                    <a:pt x="270" y="240"/>
                  </a:lnTo>
                  <a:lnTo>
                    <a:pt x="276" y="240"/>
                  </a:lnTo>
                  <a:lnTo>
                    <a:pt x="288" y="240"/>
                  </a:lnTo>
                  <a:lnTo>
                    <a:pt x="300" y="246"/>
                  </a:lnTo>
                  <a:lnTo>
                    <a:pt x="306" y="258"/>
                  </a:lnTo>
                  <a:lnTo>
                    <a:pt x="312" y="264"/>
                  </a:lnTo>
                  <a:lnTo>
                    <a:pt x="318" y="276"/>
                  </a:lnTo>
                  <a:lnTo>
                    <a:pt x="330" y="282"/>
                  </a:lnTo>
                  <a:lnTo>
                    <a:pt x="330" y="300"/>
                  </a:lnTo>
                  <a:lnTo>
                    <a:pt x="336" y="312"/>
                  </a:lnTo>
                  <a:lnTo>
                    <a:pt x="336" y="318"/>
                  </a:lnTo>
                  <a:lnTo>
                    <a:pt x="336" y="330"/>
                  </a:lnTo>
                  <a:lnTo>
                    <a:pt x="324" y="330"/>
                  </a:lnTo>
                  <a:lnTo>
                    <a:pt x="330" y="336"/>
                  </a:lnTo>
                  <a:lnTo>
                    <a:pt x="330" y="342"/>
                  </a:lnTo>
                  <a:lnTo>
                    <a:pt x="336" y="348"/>
                  </a:lnTo>
                  <a:lnTo>
                    <a:pt x="330" y="360"/>
                  </a:lnTo>
                  <a:lnTo>
                    <a:pt x="336" y="372"/>
                  </a:lnTo>
                  <a:lnTo>
                    <a:pt x="354" y="366"/>
                  </a:lnTo>
                  <a:lnTo>
                    <a:pt x="366" y="366"/>
                  </a:lnTo>
                  <a:lnTo>
                    <a:pt x="372" y="378"/>
                  </a:lnTo>
                  <a:lnTo>
                    <a:pt x="372" y="390"/>
                  </a:lnTo>
                  <a:lnTo>
                    <a:pt x="378" y="396"/>
                  </a:lnTo>
                  <a:lnTo>
                    <a:pt x="378" y="408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44"/>
                  </a:lnTo>
                  <a:lnTo>
                    <a:pt x="390" y="444"/>
                  </a:lnTo>
                  <a:lnTo>
                    <a:pt x="396" y="444"/>
                  </a:lnTo>
                  <a:lnTo>
                    <a:pt x="402" y="450"/>
                  </a:lnTo>
                  <a:lnTo>
                    <a:pt x="408" y="450"/>
                  </a:lnTo>
                  <a:lnTo>
                    <a:pt x="408" y="462"/>
                  </a:lnTo>
                  <a:lnTo>
                    <a:pt x="408" y="468"/>
                  </a:lnTo>
                  <a:lnTo>
                    <a:pt x="414" y="474"/>
                  </a:lnTo>
                  <a:lnTo>
                    <a:pt x="420" y="474"/>
                  </a:lnTo>
                  <a:lnTo>
                    <a:pt x="420" y="480"/>
                  </a:lnTo>
                  <a:lnTo>
                    <a:pt x="426" y="480"/>
                  </a:lnTo>
                  <a:lnTo>
                    <a:pt x="432" y="480"/>
                  </a:lnTo>
                  <a:lnTo>
                    <a:pt x="462" y="486"/>
                  </a:lnTo>
                  <a:lnTo>
                    <a:pt x="468" y="492"/>
                  </a:lnTo>
                  <a:lnTo>
                    <a:pt x="468" y="498"/>
                  </a:lnTo>
                  <a:lnTo>
                    <a:pt x="462" y="498"/>
                  </a:lnTo>
                  <a:lnTo>
                    <a:pt x="456" y="498"/>
                  </a:lnTo>
                  <a:lnTo>
                    <a:pt x="456" y="504"/>
                  </a:lnTo>
                  <a:lnTo>
                    <a:pt x="456" y="510"/>
                  </a:lnTo>
                  <a:lnTo>
                    <a:pt x="450" y="516"/>
                  </a:lnTo>
                  <a:lnTo>
                    <a:pt x="426" y="516"/>
                  </a:lnTo>
                  <a:lnTo>
                    <a:pt x="408" y="528"/>
                  </a:lnTo>
                  <a:lnTo>
                    <a:pt x="408" y="546"/>
                  </a:lnTo>
                  <a:lnTo>
                    <a:pt x="414" y="552"/>
                  </a:lnTo>
                  <a:lnTo>
                    <a:pt x="408" y="558"/>
                  </a:lnTo>
                  <a:lnTo>
                    <a:pt x="402" y="564"/>
                  </a:lnTo>
                  <a:lnTo>
                    <a:pt x="384" y="564"/>
                  </a:lnTo>
                  <a:lnTo>
                    <a:pt x="372" y="564"/>
                  </a:lnTo>
                  <a:lnTo>
                    <a:pt x="372" y="576"/>
                  </a:lnTo>
                  <a:lnTo>
                    <a:pt x="366" y="576"/>
                  </a:lnTo>
                  <a:lnTo>
                    <a:pt x="366" y="582"/>
                  </a:lnTo>
                  <a:lnTo>
                    <a:pt x="360" y="582"/>
                  </a:lnTo>
                  <a:lnTo>
                    <a:pt x="348" y="576"/>
                  </a:lnTo>
                  <a:lnTo>
                    <a:pt x="336" y="570"/>
                  </a:lnTo>
                  <a:lnTo>
                    <a:pt x="324" y="570"/>
                  </a:lnTo>
                  <a:lnTo>
                    <a:pt x="300" y="564"/>
                  </a:lnTo>
                  <a:lnTo>
                    <a:pt x="282" y="564"/>
                  </a:lnTo>
                  <a:lnTo>
                    <a:pt x="270" y="570"/>
                  </a:lnTo>
                  <a:lnTo>
                    <a:pt x="264" y="576"/>
                  </a:lnTo>
                  <a:lnTo>
                    <a:pt x="258" y="576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34" y="594"/>
                  </a:lnTo>
                  <a:lnTo>
                    <a:pt x="228" y="600"/>
                  </a:lnTo>
                  <a:lnTo>
                    <a:pt x="210" y="618"/>
                  </a:lnTo>
                  <a:lnTo>
                    <a:pt x="210" y="624"/>
                  </a:lnTo>
                  <a:lnTo>
                    <a:pt x="192" y="630"/>
                  </a:lnTo>
                  <a:lnTo>
                    <a:pt x="186" y="630"/>
                  </a:lnTo>
                  <a:lnTo>
                    <a:pt x="180" y="636"/>
                  </a:lnTo>
                  <a:lnTo>
                    <a:pt x="174" y="642"/>
                  </a:lnTo>
                  <a:lnTo>
                    <a:pt x="168" y="642"/>
                  </a:lnTo>
                  <a:lnTo>
                    <a:pt x="168" y="654"/>
                  </a:lnTo>
                  <a:lnTo>
                    <a:pt x="168" y="678"/>
                  </a:lnTo>
                  <a:lnTo>
                    <a:pt x="162" y="684"/>
                  </a:lnTo>
                  <a:lnTo>
                    <a:pt x="156" y="684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72"/>
                  </a:lnTo>
                  <a:lnTo>
                    <a:pt x="138" y="672"/>
                  </a:lnTo>
                  <a:lnTo>
                    <a:pt x="138" y="666"/>
                  </a:lnTo>
                  <a:lnTo>
                    <a:pt x="132" y="660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48"/>
                  </a:lnTo>
                  <a:lnTo>
                    <a:pt x="102" y="654"/>
                  </a:lnTo>
                  <a:lnTo>
                    <a:pt x="90" y="654"/>
                  </a:lnTo>
                  <a:lnTo>
                    <a:pt x="84" y="654"/>
                  </a:lnTo>
                  <a:lnTo>
                    <a:pt x="72" y="660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36" y="684"/>
                  </a:lnTo>
                  <a:lnTo>
                    <a:pt x="30" y="6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7" name="Freeform 22">
              <a:extLst>
                <a:ext uri="{FF2B5EF4-FFF2-40B4-BE49-F238E27FC236}">
                  <a16:creationId xmlns:a16="http://schemas.microsoft.com/office/drawing/2014/main" id="{2F7A477D-6CF8-44B3-8B32-64EE03DC4D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2895" y="3967106"/>
              <a:ext cx="610479" cy="507686"/>
            </a:xfrm>
            <a:custGeom>
              <a:avLst/>
              <a:gdLst>
                <a:gd name="T0" fmla="*/ 87 w 1146"/>
                <a:gd name="T1" fmla="*/ 56 h 954"/>
                <a:gd name="T2" fmla="*/ 83 w 1146"/>
                <a:gd name="T3" fmla="*/ 66 h 954"/>
                <a:gd name="T4" fmla="*/ 74 w 1146"/>
                <a:gd name="T5" fmla="*/ 69 h 954"/>
                <a:gd name="T6" fmla="*/ 67 w 1146"/>
                <a:gd name="T7" fmla="*/ 75 h 954"/>
                <a:gd name="T8" fmla="*/ 59 w 1146"/>
                <a:gd name="T9" fmla="*/ 78 h 954"/>
                <a:gd name="T10" fmla="*/ 52 w 1146"/>
                <a:gd name="T11" fmla="*/ 77 h 954"/>
                <a:gd name="T12" fmla="*/ 48 w 1146"/>
                <a:gd name="T13" fmla="*/ 79 h 954"/>
                <a:gd name="T14" fmla="*/ 41 w 1146"/>
                <a:gd name="T15" fmla="*/ 82 h 954"/>
                <a:gd name="T16" fmla="*/ 29 w 1146"/>
                <a:gd name="T17" fmla="*/ 78 h 954"/>
                <a:gd name="T18" fmla="*/ 28 w 1146"/>
                <a:gd name="T19" fmla="*/ 76 h 954"/>
                <a:gd name="T20" fmla="*/ 28 w 1146"/>
                <a:gd name="T21" fmla="*/ 72 h 954"/>
                <a:gd name="T22" fmla="*/ 28 w 1146"/>
                <a:gd name="T23" fmla="*/ 74 h 954"/>
                <a:gd name="T24" fmla="*/ 21 w 1146"/>
                <a:gd name="T25" fmla="*/ 74 h 954"/>
                <a:gd name="T26" fmla="*/ 20 w 1146"/>
                <a:gd name="T27" fmla="*/ 67 h 954"/>
                <a:gd name="T28" fmla="*/ 23 w 1146"/>
                <a:gd name="T29" fmla="*/ 64 h 954"/>
                <a:gd name="T30" fmla="*/ 28 w 1146"/>
                <a:gd name="T31" fmla="*/ 65 h 954"/>
                <a:gd name="T32" fmla="*/ 32 w 1146"/>
                <a:gd name="T33" fmla="*/ 62 h 954"/>
                <a:gd name="T34" fmla="*/ 31 w 1146"/>
                <a:gd name="T35" fmla="*/ 56 h 954"/>
                <a:gd name="T36" fmla="*/ 36 w 1146"/>
                <a:gd name="T37" fmla="*/ 54 h 954"/>
                <a:gd name="T38" fmla="*/ 38 w 1146"/>
                <a:gd name="T39" fmla="*/ 54 h 954"/>
                <a:gd name="T40" fmla="*/ 32 w 1146"/>
                <a:gd name="T41" fmla="*/ 54 h 954"/>
                <a:gd name="T42" fmla="*/ 29 w 1146"/>
                <a:gd name="T43" fmla="*/ 59 h 954"/>
                <a:gd name="T44" fmla="*/ 26 w 1146"/>
                <a:gd name="T45" fmla="*/ 59 h 954"/>
                <a:gd name="T46" fmla="*/ 25 w 1146"/>
                <a:gd name="T47" fmla="*/ 61 h 954"/>
                <a:gd name="T48" fmla="*/ 20 w 1146"/>
                <a:gd name="T49" fmla="*/ 61 h 954"/>
                <a:gd name="T50" fmla="*/ 11 w 1146"/>
                <a:gd name="T51" fmla="*/ 54 h 954"/>
                <a:gd name="T52" fmla="*/ 14 w 1146"/>
                <a:gd name="T53" fmla="*/ 50 h 954"/>
                <a:gd name="T54" fmla="*/ 21 w 1146"/>
                <a:gd name="T55" fmla="*/ 51 h 954"/>
                <a:gd name="T56" fmla="*/ 24 w 1146"/>
                <a:gd name="T57" fmla="*/ 50 h 954"/>
                <a:gd name="T58" fmla="*/ 28 w 1146"/>
                <a:gd name="T59" fmla="*/ 48 h 954"/>
                <a:gd name="T60" fmla="*/ 30 w 1146"/>
                <a:gd name="T61" fmla="*/ 49 h 954"/>
                <a:gd name="T62" fmla="*/ 26 w 1146"/>
                <a:gd name="T63" fmla="*/ 47 h 954"/>
                <a:gd name="T64" fmla="*/ 20 w 1146"/>
                <a:gd name="T65" fmla="*/ 50 h 954"/>
                <a:gd name="T66" fmla="*/ 20 w 1146"/>
                <a:gd name="T67" fmla="*/ 44 h 954"/>
                <a:gd name="T68" fmla="*/ 19 w 1146"/>
                <a:gd name="T69" fmla="*/ 46 h 954"/>
                <a:gd name="T70" fmla="*/ 15 w 1146"/>
                <a:gd name="T71" fmla="*/ 49 h 954"/>
                <a:gd name="T72" fmla="*/ 8 w 1146"/>
                <a:gd name="T73" fmla="*/ 48 h 954"/>
                <a:gd name="T74" fmla="*/ 6 w 1146"/>
                <a:gd name="T75" fmla="*/ 41 h 954"/>
                <a:gd name="T76" fmla="*/ 10 w 1146"/>
                <a:gd name="T77" fmla="*/ 41 h 954"/>
                <a:gd name="T78" fmla="*/ 9 w 1146"/>
                <a:gd name="T79" fmla="*/ 39 h 954"/>
                <a:gd name="T80" fmla="*/ 14 w 1146"/>
                <a:gd name="T81" fmla="*/ 35 h 954"/>
                <a:gd name="T82" fmla="*/ 19 w 1146"/>
                <a:gd name="T83" fmla="*/ 32 h 954"/>
                <a:gd name="T84" fmla="*/ 20 w 1146"/>
                <a:gd name="T85" fmla="*/ 29 h 954"/>
                <a:gd name="T86" fmla="*/ 27 w 1146"/>
                <a:gd name="T87" fmla="*/ 27 h 954"/>
                <a:gd name="T88" fmla="*/ 33 w 1146"/>
                <a:gd name="T89" fmla="*/ 28 h 954"/>
                <a:gd name="T90" fmla="*/ 44 w 1146"/>
                <a:gd name="T91" fmla="*/ 27 h 954"/>
                <a:gd name="T92" fmla="*/ 52 w 1146"/>
                <a:gd name="T93" fmla="*/ 41 h 954"/>
                <a:gd name="T94" fmla="*/ 61 w 1146"/>
                <a:gd name="T95" fmla="*/ 40 h 954"/>
                <a:gd name="T96" fmla="*/ 69 w 1146"/>
                <a:gd name="T97" fmla="*/ 34 h 954"/>
                <a:gd name="T98" fmla="*/ 62 w 1146"/>
                <a:gd name="T99" fmla="*/ 12 h 954"/>
                <a:gd name="T100" fmla="*/ 74 w 1146"/>
                <a:gd name="T101" fmla="*/ 8 h 954"/>
                <a:gd name="T102" fmla="*/ 87 w 1146"/>
                <a:gd name="T103" fmla="*/ 1 h 954"/>
                <a:gd name="T104" fmla="*/ 99 w 1146"/>
                <a:gd name="T105" fmla="*/ 12 h 954"/>
                <a:gd name="T106" fmla="*/ 98 w 1146"/>
                <a:gd name="T107" fmla="*/ 27 h 954"/>
                <a:gd name="T108" fmla="*/ 16 w 1146"/>
                <a:gd name="T109" fmla="*/ 33 h 954"/>
                <a:gd name="T110" fmla="*/ 11 w 1146"/>
                <a:gd name="T111" fmla="*/ 36 h 954"/>
                <a:gd name="T112" fmla="*/ 5 w 1146"/>
                <a:gd name="T113" fmla="*/ 41 h 954"/>
                <a:gd name="T114" fmla="*/ 2 w 1146"/>
                <a:gd name="T115" fmla="*/ 36 h 954"/>
                <a:gd name="T116" fmla="*/ 5 w 1146"/>
                <a:gd name="T117" fmla="*/ 26 h 954"/>
                <a:gd name="T118" fmla="*/ 10 w 1146"/>
                <a:gd name="T119" fmla="*/ 20 h 954"/>
                <a:gd name="T120" fmla="*/ 13 w 1146"/>
                <a:gd name="T121" fmla="*/ 20 h 954"/>
                <a:gd name="T122" fmla="*/ 15 w 1146"/>
                <a:gd name="T123" fmla="*/ 27 h 95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46"/>
                <a:gd name="T187" fmla="*/ 0 h 954"/>
                <a:gd name="T188" fmla="*/ 1146 w 1146"/>
                <a:gd name="T189" fmla="*/ 954 h 95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46" h="954">
                  <a:moveTo>
                    <a:pt x="1056" y="498"/>
                  </a:moveTo>
                  <a:lnTo>
                    <a:pt x="1044" y="510"/>
                  </a:lnTo>
                  <a:lnTo>
                    <a:pt x="1032" y="516"/>
                  </a:lnTo>
                  <a:lnTo>
                    <a:pt x="1038" y="528"/>
                  </a:lnTo>
                  <a:lnTo>
                    <a:pt x="1050" y="540"/>
                  </a:lnTo>
                  <a:lnTo>
                    <a:pt x="1050" y="546"/>
                  </a:lnTo>
                  <a:lnTo>
                    <a:pt x="1050" y="564"/>
                  </a:lnTo>
                  <a:lnTo>
                    <a:pt x="1038" y="576"/>
                  </a:lnTo>
                  <a:lnTo>
                    <a:pt x="1032" y="588"/>
                  </a:lnTo>
                  <a:lnTo>
                    <a:pt x="1020" y="594"/>
                  </a:lnTo>
                  <a:lnTo>
                    <a:pt x="1008" y="594"/>
                  </a:lnTo>
                  <a:lnTo>
                    <a:pt x="1002" y="600"/>
                  </a:lnTo>
                  <a:lnTo>
                    <a:pt x="996" y="612"/>
                  </a:lnTo>
                  <a:lnTo>
                    <a:pt x="996" y="624"/>
                  </a:lnTo>
                  <a:lnTo>
                    <a:pt x="996" y="648"/>
                  </a:lnTo>
                  <a:lnTo>
                    <a:pt x="996" y="660"/>
                  </a:lnTo>
                  <a:lnTo>
                    <a:pt x="1002" y="672"/>
                  </a:lnTo>
                  <a:lnTo>
                    <a:pt x="1002" y="684"/>
                  </a:lnTo>
                  <a:lnTo>
                    <a:pt x="996" y="684"/>
                  </a:lnTo>
                  <a:lnTo>
                    <a:pt x="984" y="690"/>
                  </a:lnTo>
                  <a:lnTo>
                    <a:pt x="972" y="690"/>
                  </a:lnTo>
                  <a:lnTo>
                    <a:pt x="966" y="696"/>
                  </a:lnTo>
                  <a:lnTo>
                    <a:pt x="966" y="702"/>
                  </a:lnTo>
                  <a:lnTo>
                    <a:pt x="966" y="714"/>
                  </a:lnTo>
                  <a:lnTo>
                    <a:pt x="972" y="726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2" y="756"/>
                  </a:lnTo>
                  <a:lnTo>
                    <a:pt x="966" y="756"/>
                  </a:lnTo>
                  <a:lnTo>
                    <a:pt x="942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18" y="768"/>
                  </a:lnTo>
                  <a:lnTo>
                    <a:pt x="906" y="768"/>
                  </a:lnTo>
                  <a:lnTo>
                    <a:pt x="894" y="762"/>
                  </a:lnTo>
                  <a:lnTo>
                    <a:pt x="882" y="756"/>
                  </a:lnTo>
                  <a:lnTo>
                    <a:pt x="876" y="756"/>
                  </a:lnTo>
                  <a:lnTo>
                    <a:pt x="876" y="762"/>
                  </a:lnTo>
                  <a:lnTo>
                    <a:pt x="864" y="768"/>
                  </a:lnTo>
                  <a:lnTo>
                    <a:pt x="858" y="774"/>
                  </a:lnTo>
                  <a:lnTo>
                    <a:pt x="852" y="774"/>
                  </a:lnTo>
                  <a:lnTo>
                    <a:pt x="840" y="780"/>
                  </a:lnTo>
                  <a:lnTo>
                    <a:pt x="840" y="786"/>
                  </a:lnTo>
                  <a:lnTo>
                    <a:pt x="840" y="792"/>
                  </a:lnTo>
                  <a:lnTo>
                    <a:pt x="840" y="804"/>
                  </a:lnTo>
                  <a:lnTo>
                    <a:pt x="840" y="810"/>
                  </a:lnTo>
                  <a:lnTo>
                    <a:pt x="828" y="816"/>
                  </a:lnTo>
                  <a:lnTo>
                    <a:pt x="810" y="810"/>
                  </a:lnTo>
                  <a:lnTo>
                    <a:pt x="792" y="810"/>
                  </a:lnTo>
                  <a:lnTo>
                    <a:pt x="786" y="816"/>
                  </a:lnTo>
                  <a:lnTo>
                    <a:pt x="780" y="816"/>
                  </a:lnTo>
                  <a:lnTo>
                    <a:pt x="780" y="822"/>
                  </a:lnTo>
                  <a:lnTo>
                    <a:pt x="780" y="828"/>
                  </a:lnTo>
                  <a:lnTo>
                    <a:pt x="780" y="834"/>
                  </a:lnTo>
                  <a:lnTo>
                    <a:pt x="786" y="840"/>
                  </a:lnTo>
                  <a:lnTo>
                    <a:pt x="786" y="846"/>
                  </a:lnTo>
                  <a:lnTo>
                    <a:pt x="786" y="852"/>
                  </a:lnTo>
                  <a:lnTo>
                    <a:pt x="780" y="858"/>
                  </a:lnTo>
                  <a:lnTo>
                    <a:pt x="768" y="858"/>
                  </a:lnTo>
                  <a:lnTo>
                    <a:pt x="762" y="864"/>
                  </a:lnTo>
                  <a:lnTo>
                    <a:pt x="756" y="864"/>
                  </a:lnTo>
                  <a:lnTo>
                    <a:pt x="750" y="870"/>
                  </a:lnTo>
                  <a:lnTo>
                    <a:pt x="744" y="876"/>
                  </a:lnTo>
                  <a:lnTo>
                    <a:pt x="732" y="876"/>
                  </a:lnTo>
                  <a:lnTo>
                    <a:pt x="726" y="876"/>
                  </a:lnTo>
                  <a:lnTo>
                    <a:pt x="720" y="870"/>
                  </a:lnTo>
                  <a:lnTo>
                    <a:pt x="714" y="864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6" y="876"/>
                  </a:lnTo>
                  <a:lnTo>
                    <a:pt x="696" y="882"/>
                  </a:lnTo>
                  <a:lnTo>
                    <a:pt x="696" y="894"/>
                  </a:lnTo>
                  <a:lnTo>
                    <a:pt x="690" y="900"/>
                  </a:lnTo>
                  <a:lnTo>
                    <a:pt x="684" y="900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54" y="888"/>
                  </a:lnTo>
                  <a:lnTo>
                    <a:pt x="654" y="882"/>
                  </a:lnTo>
                  <a:lnTo>
                    <a:pt x="642" y="876"/>
                  </a:lnTo>
                  <a:lnTo>
                    <a:pt x="636" y="876"/>
                  </a:lnTo>
                  <a:lnTo>
                    <a:pt x="630" y="876"/>
                  </a:lnTo>
                  <a:lnTo>
                    <a:pt x="630" y="870"/>
                  </a:lnTo>
                  <a:lnTo>
                    <a:pt x="618" y="858"/>
                  </a:lnTo>
                  <a:lnTo>
                    <a:pt x="612" y="858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06" y="876"/>
                  </a:lnTo>
                  <a:lnTo>
                    <a:pt x="606" y="882"/>
                  </a:lnTo>
                  <a:lnTo>
                    <a:pt x="606" y="888"/>
                  </a:lnTo>
                  <a:lnTo>
                    <a:pt x="600" y="894"/>
                  </a:lnTo>
                  <a:lnTo>
                    <a:pt x="594" y="894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76" y="894"/>
                  </a:lnTo>
                  <a:lnTo>
                    <a:pt x="582" y="900"/>
                  </a:lnTo>
                  <a:lnTo>
                    <a:pt x="576" y="906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64" y="918"/>
                  </a:lnTo>
                  <a:lnTo>
                    <a:pt x="558" y="918"/>
                  </a:lnTo>
                  <a:lnTo>
                    <a:pt x="558" y="912"/>
                  </a:lnTo>
                  <a:lnTo>
                    <a:pt x="552" y="906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06"/>
                  </a:lnTo>
                  <a:lnTo>
                    <a:pt x="534" y="906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0" y="924"/>
                  </a:lnTo>
                  <a:lnTo>
                    <a:pt x="504" y="924"/>
                  </a:lnTo>
                  <a:lnTo>
                    <a:pt x="498" y="930"/>
                  </a:lnTo>
                  <a:lnTo>
                    <a:pt x="492" y="924"/>
                  </a:lnTo>
                  <a:lnTo>
                    <a:pt x="486" y="930"/>
                  </a:lnTo>
                  <a:lnTo>
                    <a:pt x="480" y="942"/>
                  </a:lnTo>
                  <a:lnTo>
                    <a:pt x="468" y="948"/>
                  </a:lnTo>
                  <a:lnTo>
                    <a:pt x="444" y="942"/>
                  </a:lnTo>
                  <a:lnTo>
                    <a:pt x="438" y="954"/>
                  </a:lnTo>
                  <a:lnTo>
                    <a:pt x="426" y="954"/>
                  </a:lnTo>
                  <a:lnTo>
                    <a:pt x="420" y="948"/>
                  </a:lnTo>
                  <a:lnTo>
                    <a:pt x="408" y="936"/>
                  </a:lnTo>
                  <a:lnTo>
                    <a:pt x="396" y="936"/>
                  </a:lnTo>
                  <a:lnTo>
                    <a:pt x="390" y="930"/>
                  </a:lnTo>
                  <a:lnTo>
                    <a:pt x="390" y="924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66" y="924"/>
                  </a:lnTo>
                  <a:lnTo>
                    <a:pt x="360" y="924"/>
                  </a:lnTo>
                  <a:lnTo>
                    <a:pt x="348" y="918"/>
                  </a:lnTo>
                  <a:lnTo>
                    <a:pt x="342" y="906"/>
                  </a:lnTo>
                  <a:lnTo>
                    <a:pt x="336" y="906"/>
                  </a:lnTo>
                  <a:lnTo>
                    <a:pt x="330" y="906"/>
                  </a:lnTo>
                  <a:lnTo>
                    <a:pt x="312" y="906"/>
                  </a:lnTo>
                  <a:lnTo>
                    <a:pt x="312" y="900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888"/>
                  </a:lnTo>
                  <a:lnTo>
                    <a:pt x="312" y="882"/>
                  </a:lnTo>
                  <a:lnTo>
                    <a:pt x="306" y="876"/>
                  </a:lnTo>
                  <a:lnTo>
                    <a:pt x="312" y="876"/>
                  </a:lnTo>
                  <a:lnTo>
                    <a:pt x="312" y="870"/>
                  </a:lnTo>
                  <a:lnTo>
                    <a:pt x="318" y="876"/>
                  </a:lnTo>
                  <a:lnTo>
                    <a:pt x="318" y="870"/>
                  </a:lnTo>
                  <a:lnTo>
                    <a:pt x="324" y="876"/>
                  </a:lnTo>
                  <a:lnTo>
                    <a:pt x="330" y="876"/>
                  </a:lnTo>
                  <a:lnTo>
                    <a:pt x="336" y="876"/>
                  </a:lnTo>
                  <a:lnTo>
                    <a:pt x="342" y="876"/>
                  </a:lnTo>
                  <a:lnTo>
                    <a:pt x="336" y="876"/>
                  </a:lnTo>
                  <a:lnTo>
                    <a:pt x="330" y="870"/>
                  </a:lnTo>
                  <a:lnTo>
                    <a:pt x="324" y="870"/>
                  </a:lnTo>
                  <a:lnTo>
                    <a:pt x="318" y="870"/>
                  </a:lnTo>
                  <a:lnTo>
                    <a:pt x="312" y="870"/>
                  </a:lnTo>
                  <a:lnTo>
                    <a:pt x="318" y="864"/>
                  </a:lnTo>
                  <a:lnTo>
                    <a:pt x="318" y="858"/>
                  </a:lnTo>
                  <a:lnTo>
                    <a:pt x="318" y="852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6" y="846"/>
                  </a:lnTo>
                  <a:lnTo>
                    <a:pt x="312" y="828"/>
                  </a:lnTo>
                  <a:lnTo>
                    <a:pt x="312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06" y="816"/>
                  </a:lnTo>
                  <a:lnTo>
                    <a:pt x="306" y="810"/>
                  </a:lnTo>
                  <a:lnTo>
                    <a:pt x="306" y="816"/>
                  </a:lnTo>
                  <a:lnTo>
                    <a:pt x="312" y="822"/>
                  </a:lnTo>
                  <a:lnTo>
                    <a:pt x="306" y="822"/>
                  </a:lnTo>
                  <a:lnTo>
                    <a:pt x="306" y="828"/>
                  </a:lnTo>
                  <a:lnTo>
                    <a:pt x="306" y="834"/>
                  </a:lnTo>
                  <a:lnTo>
                    <a:pt x="300" y="840"/>
                  </a:lnTo>
                  <a:lnTo>
                    <a:pt x="300" y="846"/>
                  </a:lnTo>
                  <a:lnTo>
                    <a:pt x="306" y="852"/>
                  </a:lnTo>
                  <a:lnTo>
                    <a:pt x="306" y="858"/>
                  </a:lnTo>
                  <a:lnTo>
                    <a:pt x="312" y="858"/>
                  </a:lnTo>
                  <a:lnTo>
                    <a:pt x="312" y="864"/>
                  </a:lnTo>
                  <a:lnTo>
                    <a:pt x="306" y="864"/>
                  </a:lnTo>
                  <a:lnTo>
                    <a:pt x="300" y="864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82" y="870"/>
                  </a:lnTo>
                  <a:lnTo>
                    <a:pt x="276" y="870"/>
                  </a:lnTo>
                  <a:lnTo>
                    <a:pt x="270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8" y="870"/>
                  </a:lnTo>
                  <a:lnTo>
                    <a:pt x="252" y="870"/>
                  </a:lnTo>
                  <a:lnTo>
                    <a:pt x="252" y="864"/>
                  </a:lnTo>
                  <a:lnTo>
                    <a:pt x="246" y="858"/>
                  </a:lnTo>
                  <a:lnTo>
                    <a:pt x="246" y="852"/>
                  </a:lnTo>
                  <a:lnTo>
                    <a:pt x="246" y="846"/>
                  </a:lnTo>
                  <a:lnTo>
                    <a:pt x="246" y="840"/>
                  </a:lnTo>
                  <a:lnTo>
                    <a:pt x="246" y="834"/>
                  </a:lnTo>
                  <a:lnTo>
                    <a:pt x="246" y="828"/>
                  </a:lnTo>
                  <a:lnTo>
                    <a:pt x="246" y="822"/>
                  </a:lnTo>
                  <a:lnTo>
                    <a:pt x="240" y="816"/>
                  </a:lnTo>
                  <a:lnTo>
                    <a:pt x="240" y="810"/>
                  </a:lnTo>
                  <a:lnTo>
                    <a:pt x="240" y="804"/>
                  </a:lnTo>
                  <a:lnTo>
                    <a:pt x="240" y="798"/>
                  </a:lnTo>
                  <a:lnTo>
                    <a:pt x="234" y="798"/>
                  </a:lnTo>
                  <a:lnTo>
                    <a:pt x="234" y="792"/>
                  </a:lnTo>
                  <a:lnTo>
                    <a:pt x="234" y="786"/>
                  </a:lnTo>
                  <a:lnTo>
                    <a:pt x="234" y="780"/>
                  </a:lnTo>
                  <a:lnTo>
                    <a:pt x="228" y="780"/>
                  </a:lnTo>
                  <a:lnTo>
                    <a:pt x="228" y="774"/>
                  </a:lnTo>
                  <a:lnTo>
                    <a:pt x="228" y="768"/>
                  </a:lnTo>
                  <a:lnTo>
                    <a:pt x="222" y="762"/>
                  </a:lnTo>
                  <a:lnTo>
                    <a:pt x="222" y="756"/>
                  </a:lnTo>
                  <a:lnTo>
                    <a:pt x="222" y="750"/>
                  </a:lnTo>
                  <a:lnTo>
                    <a:pt x="222" y="744"/>
                  </a:lnTo>
                  <a:lnTo>
                    <a:pt x="222" y="738"/>
                  </a:lnTo>
                  <a:lnTo>
                    <a:pt x="216" y="732"/>
                  </a:lnTo>
                  <a:lnTo>
                    <a:pt x="222" y="732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32"/>
                  </a:lnTo>
                  <a:lnTo>
                    <a:pt x="246" y="732"/>
                  </a:lnTo>
                  <a:lnTo>
                    <a:pt x="246" y="738"/>
                  </a:lnTo>
                  <a:lnTo>
                    <a:pt x="252" y="738"/>
                  </a:lnTo>
                  <a:lnTo>
                    <a:pt x="258" y="738"/>
                  </a:lnTo>
                  <a:lnTo>
                    <a:pt x="258" y="732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8" y="732"/>
                  </a:lnTo>
                  <a:lnTo>
                    <a:pt x="294" y="732"/>
                  </a:lnTo>
                  <a:lnTo>
                    <a:pt x="300" y="732"/>
                  </a:lnTo>
                  <a:lnTo>
                    <a:pt x="300" y="738"/>
                  </a:lnTo>
                  <a:lnTo>
                    <a:pt x="306" y="738"/>
                  </a:lnTo>
                  <a:lnTo>
                    <a:pt x="306" y="744"/>
                  </a:lnTo>
                  <a:lnTo>
                    <a:pt x="306" y="750"/>
                  </a:lnTo>
                  <a:lnTo>
                    <a:pt x="312" y="750"/>
                  </a:lnTo>
                  <a:lnTo>
                    <a:pt x="312" y="756"/>
                  </a:lnTo>
                  <a:lnTo>
                    <a:pt x="318" y="756"/>
                  </a:lnTo>
                  <a:lnTo>
                    <a:pt x="318" y="750"/>
                  </a:lnTo>
                  <a:lnTo>
                    <a:pt x="312" y="750"/>
                  </a:lnTo>
                  <a:lnTo>
                    <a:pt x="312" y="744"/>
                  </a:lnTo>
                  <a:lnTo>
                    <a:pt x="318" y="738"/>
                  </a:lnTo>
                  <a:lnTo>
                    <a:pt x="324" y="738"/>
                  </a:lnTo>
                  <a:lnTo>
                    <a:pt x="330" y="738"/>
                  </a:lnTo>
                  <a:lnTo>
                    <a:pt x="336" y="738"/>
                  </a:lnTo>
                  <a:lnTo>
                    <a:pt x="342" y="738"/>
                  </a:lnTo>
                  <a:lnTo>
                    <a:pt x="348" y="732"/>
                  </a:lnTo>
                  <a:lnTo>
                    <a:pt x="354" y="732"/>
                  </a:lnTo>
                  <a:lnTo>
                    <a:pt x="360" y="732"/>
                  </a:lnTo>
                  <a:lnTo>
                    <a:pt x="360" y="726"/>
                  </a:lnTo>
                  <a:lnTo>
                    <a:pt x="366" y="726"/>
                  </a:lnTo>
                  <a:lnTo>
                    <a:pt x="366" y="720"/>
                  </a:lnTo>
                  <a:lnTo>
                    <a:pt x="366" y="714"/>
                  </a:lnTo>
                  <a:lnTo>
                    <a:pt x="360" y="708"/>
                  </a:lnTo>
                  <a:lnTo>
                    <a:pt x="354" y="708"/>
                  </a:lnTo>
                  <a:lnTo>
                    <a:pt x="348" y="702"/>
                  </a:lnTo>
                  <a:lnTo>
                    <a:pt x="354" y="702"/>
                  </a:lnTo>
                  <a:lnTo>
                    <a:pt x="354" y="696"/>
                  </a:lnTo>
                  <a:lnTo>
                    <a:pt x="348" y="696"/>
                  </a:lnTo>
                  <a:lnTo>
                    <a:pt x="348" y="690"/>
                  </a:lnTo>
                  <a:lnTo>
                    <a:pt x="342" y="690"/>
                  </a:lnTo>
                  <a:lnTo>
                    <a:pt x="342" y="684"/>
                  </a:lnTo>
                  <a:lnTo>
                    <a:pt x="342" y="678"/>
                  </a:lnTo>
                  <a:lnTo>
                    <a:pt x="342" y="666"/>
                  </a:lnTo>
                  <a:lnTo>
                    <a:pt x="342" y="660"/>
                  </a:lnTo>
                  <a:lnTo>
                    <a:pt x="348" y="654"/>
                  </a:lnTo>
                  <a:lnTo>
                    <a:pt x="348" y="642"/>
                  </a:lnTo>
                  <a:lnTo>
                    <a:pt x="354" y="642"/>
                  </a:lnTo>
                  <a:lnTo>
                    <a:pt x="360" y="642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66" y="642"/>
                  </a:lnTo>
                  <a:lnTo>
                    <a:pt x="372" y="642"/>
                  </a:lnTo>
                  <a:lnTo>
                    <a:pt x="378" y="642"/>
                  </a:lnTo>
                  <a:lnTo>
                    <a:pt x="384" y="642"/>
                  </a:lnTo>
                  <a:lnTo>
                    <a:pt x="390" y="642"/>
                  </a:lnTo>
                  <a:lnTo>
                    <a:pt x="396" y="642"/>
                  </a:lnTo>
                  <a:lnTo>
                    <a:pt x="396" y="636"/>
                  </a:lnTo>
                  <a:lnTo>
                    <a:pt x="402" y="636"/>
                  </a:lnTo>
                  <a:lnTo>
                    <a:pt x="408" y="636"/>
                  </a:lnTo>
                  <a:lnTo>
                    <a:pt x="402" y="636"/>
                  </a:lnTo>
                  <a:lnTo>
                    <a:pt x="402" y="630"/>
                  </a:lnTo>
                  <a:lnTo>
                    <a:pt x="408" y="630"/>
                  </a:lnTo>
                  <a:lnTo>
                    <a:pt x="408" y="624"/>
                  </a:lnTo>
                  <a:lnTo>
                    <a:pt x="408" y="618"/>
                  </a:lnTo>
                  <a:lnTo>
                    <a:pt x="414" y="618"/>
                  </a:lnTo>
                  <a:lnTo>
                    <a:pt x="420" y="618"/>
                  </a:lnTo>
                  <a:lnTo>
                    <a:pt x="426" y="624"/>
                  </a:lnTo>
                  <a:lnTo>
                    <a:pt x="432" y="624"/>
                  </a:lnTo>
                  <a:lnTo>
                    <a:pt x="438" y="624"/>
                  </a:lnTo>
                  <a:lnTo>
                    <a:pt x="438" y="618"/>
                  </a:lnTo>
                  <a:lnTo>
                    <a:pt x="444" y="618"/>
                  </a:lnTo>
                  <a:lnTo>
                    <a:pt x="450" y="618"/>
                  </a:lnTo>
                  <a:lnTo>
                    <a:pt x="444" y="618"/>
                  </a:lnTo>
                  <a:lnTo>
                    <a:pt x="438" y="618"/>
                  </a:lnTo>
                  <a:lnTo>
                    <a:pt x="438" y="612"/>
                  </a:lnTo>
                  <a:lnTo>
                    <a:pt x="438" y="618"/>
                  </a:lnTo>
                  <a:lnTo>
                    <a:pt x="432" y="624"/>
                  </a:lnTo>
                  <a:lnTo>
                    <a:pt x="426" y="618"/>
                  </a:lnTo>
                  <a:lnTo>
                    <a:pt x="420" y="612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402" y="624"/>
                  </a:lnTo>
                  <a:lnTo>
                    <a:pt x="396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78" y="630"/>
                  </a:lnTo>
                  <a:lnTo>
                    <a:pt x="378" y="636"/>
                  </a:lnTo>
                  <a:lnTo>
                    <a:pt x="372" y="630"/>
                  </a:lnTo>
                  <a:lnTo>
                    <a:pt x="366" y="630"/>
                  </a:lnTo>
                  <a:lnTo>
                    <a:pt x="360" y="630"/>
                  </a:lnTo>
                  <a:lnTo>
                    <a:pt x="354" y="630"/>
                  </a:lnTo>
                  <a:lnTo>
                    <a:pt x="354" y="636"/>
                  </a:lnTo>
                  <a:lnTo>
                    <a:pt x="348" y="636"/>
                  </a:lnTo>
                  <a:lnTo>
                    <a:pt x="348" y="642"/>
                  </a:lnTo>
                  <a:lnTo>
                    <a:pt x="342" y="642"/>
                  </a:lnTo>
                  <a:lnTo>
                    <a:pt x="342" y="648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6" y="660"/>
                  </a:lnTo>
                  <a:lnTo>
                    <a:pt x="336" y="666"/>
                  </a:lnTo>
                  <a:lnTo>
                    <a:pt x="330" y="672"/>
                  </a:lnTo>
                  <a:lnTo>
                    <a:pt x="330" y="678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24" y="696"/>
                  </a:lnTo>
                  <a:lnTo>
                    <a:pt x="324" y="702"/>
                  </a:lnTo>
                  <a:lnTo>
                    <a:pt x="318" y="702"/>
                  </a:lnTo>
                  <a:lnTo>
                    <a:pt x="318" y="708"/>
                  </a:lnTo>
                  <a:lnTo>
                    <a:pt x="312" y="708"/>
                  </a:lnTo>
                  <a:lnTo>
                    <a:pt x="312" y="702"/>
                  </a:lnTo>
                  <a:lnTo>
                    <a:pt x="306" y="702"/>
                  </a:lnTo>
                  <a:lnTo>
                    <a:pt x="300" y="702"/>
                  </a:lnTo>
                  <a:lnTo>
                    <a:pt x="294" y="696"/>
                  </a:lnTo>
                  <a:lnTo>
                    <a:pt x="288" y="696"/>
                  </a:lnTo>
                  <a:lnTo>
                    <a:pt x="282" y="690"/>
                  </a:lnTo>
                  <a:lnTo>
                    <a:pt x="288" y="684"/>
                  </a:lnTo>
                  <a:lnTo>
                    <a:pt x="294" y="684"/>
                  </a:lnTo>
                  <a:lnTo>
                    <a:pt x="294" y="678"/>
                  </a:lnTo>
                  <a:lnTo>
                    <a:pt x="300" y="678"/>
                  </a:lnTo>
                  <a:lnTo>
                    <a:pt x="294" y="678"/>
                  </a:lnTo>
                  <a:lnTo>
                    <a:pt x="294" y="672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94" y="672"/>
                  </a:lnTo>
                  <a:lnTo>
                    <a:pt x="288" y="678"/>
                  </a:lnTo>
                  <a:lnTo>
                    <a:pt x="282" y="684"/>
                  </a:lnTo>
                  <a:lnTo>
                    <a:pt x="282" y="678"/>
                  </a:lnTo>
                  <a:lnTo>
                    <a:pt x="276" y="678"/>
                  </a:lnTo>
                  <a:lnTo>
                    <a:pt x="282" y="684"/>
                  </a:lnTo>
                  <a:lnTo>
                    <a:pt x="282" y="690"/>
                  </a:lnTo>
                  <a:lnTo>
                    <a:pt x="282" y="696"/>
                  </a:lnTo>
                  <a:lnTo>
                    <a:pt x="288" y="702"/>
                  </a:lnTo>
                  <a:lnTo>
                    <a:pt x="294" y="708"/>
                  </a:lnTo>
                  <a:lnTo>
                    <a:pt x="294" y="714"/>
                  </a:lnTo>
                  <a:lnTo>
                    <a:pt x="288" y="714"/>
                  </a:lnTo>
                  <a:lnTo>
                    <a:pt x="282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64" y="714"/>
                  </a:lnTo>
                  <a:lnTo>
                    <a:pt x="258" y="714"/>
                  </a:lnTo>
                  <a:lnTo>
                    <a:pt x="252" y="714"/>
                  </a:lnTo>
                  <a:lnTo>
                    <a:pt x="246" y="714"/>
                  </a:lnTo>
                  <a:lnTo>
                    <a:pt x="240" y="714"/>
                  </a:lnTo>
                  <a:lnTo>
                    <a:pt x="240" y="708"/>
                  </a:lnTo>
                  <a:lnTo>
                    <a:pt x="234" y="708"/>
                  </a:lnTo>
                  <a:lnTo>
                    <a:pt x="228" y="708"/>
                  </a:lnTo>
                  <a:lnTo>
                    <a:pt x="222" y="702"/>
                  </a:lnTo>
                  <a:lnTo>
                    <a:pt x="216" y="702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2" y="690"/>
                  </a:lnTo>
                  <a:lnTo>
                    <a:pt x="186" y="690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68" y="684"/>
                  </a:lnTo>
                  <a:lnTo>
                    <a:pt x="168" y="678"/>
                  </a:lnTo>
                  <a:lnTo>
                    <a:pt x="156" y="672"/>
                  </a:lnTo>
                  <a:lnTo>
                    <a:pt x="150" y="660"/>
                  </a:lnTo>
                  <a:lnTo>
                    <a:pt x="126" y="630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12"/>
                  </a:lnTo>
                  <a:lnTo>
                    <a:pt x="126" y="606"/>
                  </a:lnTo>
                  <a:lnTo>
                    <a:pt x="126" y="600"/>
                  </a:lnTo>
                  <a:lnTo>
                    <a:pt x="132" y="594"/>
                  </a:lnTo>
                  <a:lnTo>
                    <a:pt x="138" y="594"/>
                  </a:lnTo>
                  <a:lnTo>
                    <a:pt x="144" y="588"/>
                  </a:lnTo>
                  <a:lnTo>
                    <a:pt x="144" y="582"/>
                  </a:lnTo>
                  <a:lnTo>
                    <a:pt x="150" y="582"/>
                  </a:lnTo>
                  <a:lnTo>
                    <a:pt x="150" y="576"/>
                  </a:lnTo>
                  <a:lnTo>
                    <a:pt x="156" y="576"/>
                  </a:lnTo>
                  <a:lnTo>
                    <a:pt x="156" y="582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8" y="576"/>
                  </a:lnTo>
                  <a:lnTo>
                    <a:pt x="174" y="576"/>
                  </a:lnTo>
                  <a:lnTo>
                    <a:pt x="180" y="582"/>
                  </a:lnTo>
                  <a:lnTo>
                    <a:pt x="192" y="582"/>
                  </a:lnTo>
                  <a:lnTo>
                    <a:pt x="198" y="582"/>
                  </a:lnTo>
                  <a:lnTo>
                    <a:pt x="204" y="582"/>
                  </a:lnTo>
                  <a:lnTo>
                    <a:pt x="210" y="582"/>
                  </a:lnTo>
                  <a:lnTo>
                    <a:pt x="216" y="588"/>
                  </a:lnTo>
                  <a:lnTo>
                    <a:pt x="222" y="588"/>
                  </a:lnTo>
                  <a:lnTo>
                    <a:pt x="234" y="588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46" y="594"/>
                  </a:lnTo>
                  <a:lnTo>
                    <a:pt x="252" y="588"/>
                  </a:lnTo>
                  <a:lnTo>
                    <a:pt x="258" y="588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52" y="600"/>
                  </a:lnTo>
                  <a:lnTo>
                    <a:pt x="246" y="600"/>
                  </a:lnTo>
                  <a:lnTo>
                    <a:pt x="246" y="606"/>
                  </a:lnTo>
                  <a:lnTo>
                    <a:pt x="246" y="600"/>
                  </a:lnTo>
                  <a:lnTo>
                    <a:pt x="252" y="600"/>
                  </a:lnTo>
                  <a:lnTo>
                    <a:pt x="258" y="594"/>
                  </a:lnTo>
                  <a:lnTo>
                    <a:pt x="264" y="594"/>
                  </a:lnTo>
                  <a:lnTo>
                    <a:pt x="264" y="588"/>
                  </a:lnTo>
                  <a:lnTo>
                    <a:pt x="270" y="588"/>
                  </a:lnTo>
                  <a:lnTo>
                    <a:pt x="270" y="582"/>
                  </a:lnTo>
                  <a:lnTo>
                    <a:pt x="270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76" y="564"/>
                  </a:lnTo>
                  <a:lnTo>
                    <a:pt x="270" y="558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58"/>
                  </a:lnTo>
                  <a:lnTo>
                    <a:pt x="282" y="558"/>
                  </a:lnTo>
                  <a:lnTo>
                    <a:pt x="288" y="558"/>
                  </a:lnTo>
                  <a:lnTo>
                    <a:pt x="294" y="558"/>
                  </a:lnTo>
                  <a:lnTo>
                    <a:pt x="300" y="558"/>
                  </a:lnTo>
                  <a:lnTo>
                    <a:pt x="306" y="558"/>
                  </a:lnTo>
                  <a:lnTo>
                    <a:pt x="312" y="558"/>
                  </a:lnTo>
                  <a:lnTo>
                    <a:pt x="318" y="558"/>
                  </a:lnTo>
                  <a:lnTo>
                    <a:pt x="318" y="564"/>
                  </a:lnTo>
                  <a:lnTo>
                    <a:pt x="324" y="564"/>
                  </a:lnTo>
                  <a:lnTo>
                    <a:pt x="324" y="570"/>
                  </a:lnTo>
                  <a:lnTo>
                    <a:pt x="330" y="570"/>
                  </a:lnTo>
                  <a:lnTo>
                    <a:pt x="336" y="570"/>
                  </a:lnTo>
                  <a:lnTo>
                    <a:pt x="342" y="570"/>
                  </a:lnTo>
                  <a:lnTo>
                    <a:pt x="348" y="570"/>
                  </a:lnTo>
                  <a:lnTo>
                    <a:pt x="354" y="570"/>
                  </a:lnTo>
                  <a:lnTo>
                    <a:pt x="360" y="570"/>
                  </a:lnTo>
                  <a:lnTo>
                    <a:pt x="366" y="570"/>
                  </a:lnTo>
                  <a:lnTo>
                    <a:pt x="360" y="570"/>
                  </a:lnTo>
                  <a:lnTo>
                    <a:pt x="360" y="564"/>
                  </a:lnTo>
                  <a:lnTo>
                    <a:pt x="354" y="564"/>
                  </a:lnTo>
                  <a:lnTo>
                    <a:pt x="348" y="564"/>
                  </a:lnTo>
                  <a:lnTo>
                    <a:pt x="342" y="564"/>
                  </a:lnTo>
                  <a:lnTo>
                    <a:pt x="342" y="570"/>
                  </a:lnTo>
                  <a:lnTo>
                    <a:pt x="336" y="564"/>
                  </a:lnTo>
                  <a:lnTo>
                    <a:pt x="336" y="570"/>
                  </a:lnTo>
                  <a:lnTo>
                    <a:pt x="336" y="564"/>
                  </a:lnTo>
                  <a:lnTo>
                    <a:pt x="330" y="564"/>
                  </a:lnTo>
                  <a:lnTo>
                    <a:pt x="324" y="558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18" y="558"/>
                  </a:lnTo>
                  <a:lnTo>
                    <a:pt x="312" y="552"/>
                  </a:lnTo>
                  <a:lnTo>
                    <a:pt x="312" y="558"/>
                  </a:lnTo>
                  <a:lnTo>
                    <a:pt x="312" y="552"/>
                  </a:lnTo>
                  <a:lnTo>
                    <a:pt x="306" y="552"/>
                  </a:lnTo>
                  <a:lnTo>
                    <a:pt x="300" y="546"/>
                  </a:lnTo>
                  <a:lnTo>
                    <a:pt x="294" y="546"/>
                  </a:lnTo>
                  <a:lnTo>
                    <a:pt x="288" y="546"/>
                  </a:lnTo>
                  <a:lnTo>
                    <a:pt x="282" y="546"/>
                  </a:lnTo>
                  <a:lnTo>
                    <a:pt x="276" y="546"/>
                  </a:lnTo>
                  <a:lnTo>
                    <a:pt x="276" y="552"/>
                  </a:lnTo>
                  <a:lnTo>
                    <a:pt x="270" y="552"/>
                  </a:lnTo>
                  <a:lnTo>
                    <a:pt x="270" y="558"/>
                  </a:lnTo>
                  <a:lnTo>
                    <a:pt x="270" y="564"/>
                  </a:lnTo>
                  <a:lnTo>
                    <a:pt x="264" y="570"/>
                  </a:lnTo>
                  <a:lnTo>
                    <a:pt x="258" y="576"/>
                  </a:lnTo>
                  <a:lnTo>
                    <a:pt x="258" y="582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34" y="576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16" y="552"/>
                  </a:lnTo>
                  <a:lnTo>
                    <a:pt x="216" y="546"/>
                  </a:lnTo>
                  <a:lnTo>
                    <a:pt x="216" y="540"/>
                  </a:lnTo>
                  <a:lnTo>
                    <a:pt x="222" y="534"/>
                  </a:lnTo>
                  <a:lnTo>
                    <a:pt x="222" y="528"/>
                  </a:lnTo>
                  <a:lnTo>
                    <a:pt x="228" y="522"/>
                  </a:lnTo>
                  <a:lnTo>
                    <a:pt x="228" y="516"/>
                  </a:lnTo>
                  <a:lnTo>
                    <a:pt x="228" y="510"/>
                  </a:lnTo>
                  <a:lnTo>
                    <a:pt x="234" y="510"/>
                  </a:lnTo>
                  <a:lnTo>
                    <a:pt x="240" y="516"/>
                  </a:lnTo>
                  <a:lnTo>
                    <a:pt x="246" y="522"/>
                  </a:lnTo>
                  <a:lnTo>
                    <a:pt x="246" y="516"/>
                  </a:lnTo>
                  <a:lnTo>
                    <a:pt x="240" y="516"/>
                  </a:lnTo>
                  <a:lnTo>
                    <a:pt x="240" y="510"/>
                  </a:lnTo>
                  <a:lnTo>
                    <a:pt x="234" y="510"/>
                  </a:lnTo>
                  <a:lnTo>
                    <a:pt x="234" y="504"/>
                  </a:lnTo>
                  <a:lnTo>
                    <a:pt x="228" y="504"/>
                  </a:lnTo>
                  <a:lnTo>
                    <a:pt x="222" y="504"/>
                  </a:lnTo>
                  <a:lnTo>
                    <a:pt x="222" y="498"/>
                  </a:lnTo>
                  <a:lnTo>
                    <a:pt x="222" y="504"/>
                  </a:lnTo>
                  <a:lnTo>
                    <a:pt x="222" y="510"/>
                  </a:lnTo>
                  <a:lnTo>
                    <a:pt x="222" y="516"/>
                  </a:lnTo>
                  <a:lnTo>
                    <a:pt x="216" y="522"/>
                  </a:lnTo>
                  <a:lnTo>
                    <a:pt x="216" y="528"/>
                  </a:lnTo>
                  <a:lnTo>
                    <a:pt x="210" y="528"/>
                  </a:lnTo>
                  <a:lnTo>
                    <a:pt x="216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04" y="546"/>
                  </a:lnTo>
                  <a:lnTo>
                    <a:pt x="204" y="552"/>
                  </a:lnTo>
                  <a:lnTo>
                    <a:pt x="204" y="558"/>
                  </a:lnTo>
                  <a:lnTo>
                    <a:pt x="204" y="564"/>
                  </a:lnTo>
                  <a:lnTo>
                    <a:pt x="198" y="570"/>
                  </a:lnTo>
                  <a:lnTo>
                    <a:pt x="192" y="564"/>
                  </a:lnTo>
                  <a:lnTo>
                    <a:pt x="186" y="564"/>
                  </a:lnTo>
                  <a:lnTo>
                    <a:pt x="180" y="564"/>
                  </a:lnTo>
                  <a:lnTo>
                    <a:pt x="174" y="564"/>
                  </a:lnTo>
                  <a:lnTo>
                    <a:pt x="168" y="564"/>
                  </a:lnTo>
                  <a:lnTo>
                    <a:pt x="162" y="564"/>
                  </a:lnTo>
                  <a:lnTo>
                    <a:pt x="156" y="570"/>
                  </a:lnTo>
                  <a:lnTo>
                    <a:pt x="150" y="570"/>
                  </a:lnTo>
                  <a:lnTo>
                    <a:pt x="150" y="564"/>
                  </a:lnTo>
                  <a:lnTo>
                    <a:pt x="150" y="570"/>
                  </a:lnTo>
                  <a:lnTo>
                    <a:pt x="150" y="576"/>
                  </a:lnTo>
                  <a:lnTo>
                    <a:pt x="144" y="576"/>
                  </a:lnTo>
                  <a:lnTo>
                    <a:pt x="138" y="576"/>
                  </a:lnTo>
                  <a:lnTo>
                    <a:pt x="132" y="582"/>
                  </a:lnTo>
                  <a:lnTo>
                    <a:pt x="126" y="582"/>
                  </a:lnTo>
                  <a:lnTo>
                    <a:pt x="120" y="582"/>
                  </a:lnTo>
                  <a:lnTo>
                    <a:pt x="114" y="576"/>
                  </a:lnTo>
                  <a:lnTo>
                    <a:pt x="108" y="564"/>
                  </a:lnTo>
                  <a:lnTo>
                    <a:pt x="102" y="558"/>
                  </a:lnTo>
                  <a:lnTo>
                    <a:pt x="96" y="552"/>
                  </a:lnTo>
                  <a:lnTo>
                    <a:pt x="90" y="546"/>
                  </a:lnTo>
                  <a:lnTo>
                    <a:pt x="90" y="540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2"/>
                  </a:lnTo>
                  <a:lnTo>
                    <a:pt x="78" y="516"/>
                  </a:lnTo>
                  <a:lnTo>
                    <a:pt x="72" y="510"/>
                  </a:lnTo>
                  <a:lnTo>
                    <a:pt x="66" y="504"/>
                  </a:lnTo>
                  <a:lnTo>
                    <a:pt x="66" y="498"/>
                  </a:lnTo>
                  <a:lnTo>
                    <a:pt x="66" y="492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6" y="474"/>
                  </a:lnTo>
                  <a:lnTo>
                    <a:pt x="72" y="474"/>
                  </a:lnTo>
                  <a:lnTo>
                    <a:pt x="72" y="468"/>
                  </a:lnTo>
                  <a:lnTo>
                    <a:pt x="78" y="462"/>
                  </a:lnTo>
                  <a:lnTo>
                    <a:pt x="78" y="456"/>
                  </a:lnTo>
                  <a:lnTo>
                    <a:pt x="84" y="456"/>
                  </a:lnTo>
                  <a:lnTo>
                    <a:pt x="84" y="450"/>
                  </a:lnTo>
                  <a:lnTo>
                    <a:pt x="84" y="444"/>
                  </a:lnTo>
                  <a:lnTo>
                    <a:pt x="90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02" y="450"/>
                  </a:lnTo>
                  <a:lnTo>
                    <a:pt x="108" y="450"/>
                  </a:lnTo>
                  <a:lnTo>
                    <a:pt x="108" y="456"/>
                  </a:lnTo>
                  <a:lnTo>
                    <a:pt x="108" y="462"/>
                  </a:lnTo>
                  <a:lnTo>
                    <a:pt x="114" y="462"/>
                  </a:lnTo>
                  <a:lnTo>
                    <a:pt x="114" y="468"/>
                  </a:lnTo>
                  <a:lnTo>
                    <a:pt x="114" y="474"/>
                  </a:lnTo>
                  <a:lnTo>
                    <a:pt x="114" y="480"/>
                  </a:lnTo>
                  <a:lnTo>
                    <a:pt x="114" y="486"/>
                  </a:lnTo>
                  <a:lnTo>
                    <a:pt x="120" y="486"/>
                  </a:lnTo>
                  <a:lnTo>
                    <a:pt x="126" y="486"/>
                  </a:lnTo>
                  <a:lnTo>
                    <a:pt x="132" y="486"/>
                  </a:lnTo>
                  <a:lnTo>
                    <a:pt x="126" y="480"/>
                  </a:lnTo>
                  <a:lnTo>
                    <a:pt x="120" y="480"/>
                  </a:lnTo>
                  <a:lnTo>
                    <a:pt x="114" y="480"/>
                  </a:lnTo>
                  <a:lnTo>
                    <a:pt x="120" y="480"/>
                  </a:lnTo>
                  <a:lnTo>
                    <a:pt x="120" y="474"/>
                  </a:lnTo>
                  <a:lnTo>
                    <a:pt x="120" y="468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108" y="450"/>
                  </a:lnTo>
                  <a:lnTo>
                    <a:pt x="108" y="444"/>
                  </a:lnTo>
                  <a:lnTo>
                    <a:pt x="114" y="438"/>
                  </a:lnTo>
                  <a:lnTo>
                    <a:pt x="120" y="438"/>
                  </a:lnTo>
                  <a:lnTo>
                    <a:pt x="120" y="432"/>
                  </a:lnTo>
                  <a:lnTo>
                    <a:pt x="132" y="426"/>
                  </a:lnTo>
                  <a:lnTo>
                    <a:pt x="138" y="420"/>
                  </a:lnTo>
                  <a:lnTo>
                    <a:pt x="144" y="420"/>
                  </a:lnTo>
                  <a:lnTo>
                    <a:pt x="144" y="414"/>
                  </a:lnTo>
                  <a:lnTo>
                    <a:pt x="144" y="420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6" y="414"/>
                  </a:lnTo>
                  <a:lnTo>
                    <a:pt x="162" y="414"/>
                  </a:lnTo>
                  <a:lnTo>
                    <a:pt x="162" y="408"/>
                  </a:lnTo>
                  <a:lnTo>
                    <a:pt x="168" y="408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86" y="396"/>
                  </a:lnTo>
                  <a:lnTo>
                    <a:pt x="186" y="390"/>
                  </a:lnTo>
                  <a:lnTo>
                    <a:pt x="192" y="390"/>
                  </a:lnTo>
                  <a:lnTo>
                    <a:pt x="198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210" y="378"/>
                  </a:lnTo>
                  <a:lnTo>
                    <a:pt x="210" y="372"/>
                  </a:lnTo>
                  <a:lnTo>
                    <a:pt x="216" y="372"/>
                  </a:lnTo>
                  <a:lnTo>
                    <a:pt x="222" y="366"/>
                  </a:lnTo>
                  <a:lnTo>
                    <a:pt x="228" y="360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6" y="348"/>
                  </a:lnTo>
                  <a:lnTo>
                    <a:pt x="252" y="348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0" y="342"/>
                  </a:lnTo>
                  <a:lnTo>
                    <a:pt x="234" y="342"/>
                  </a:lnTo>
                  <a:lnTo>
                    <a:pt x="228" y="336"/>
                  </a:lnTo>
                  <a:lnTo>
                    <a:pt x="222" y="336"/>
                  </a:lnTo>
                  <a:lnTo>
                    <a:pt x="216" y="336"/>
                  </a:lnTo>
                  <a:lnTo>
                    <a:pt x="222" y="324"/>
                  </a:lnTo>
                  <a:lnTo>
                    <a:pt x="222" y="318"/>
                  </a:lnTo>
                  <a:lnTo>
                    <a:pt x="222" y="312"/>
                  </a:lnTo>
                  <a:lnTo>
                    <a:pt x="234" y="318"/>
                  </a:lnTo>
                  <a:lnTo>
                    <a:pt x="246" y="318"/>
                  </a:lnTo>
                  <a:lnTo>
                    <a:pt x="258" y="318"/>
                  </a:lnTo>
                  <a:lnTo>
                    <a:pt x="270" y="312"/>
                  </a:lnTo>
                  <a:lnTo>
                    <a:pt x="276" y="312"/>
                  </a:lnTo>
                  <a:lnTo>
                    <a:pt x="288" y="324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94" y="306"/>
                  </a:lnTo>
                  <a:lnTo>
                    <a:pt x="300" y="300"/>
                  </a:lnTo>
                  <a:lnTo>
                    <a:pt x="306" y="306"/>
                  </a:lnTo>
                  <a:lnTo>
                    <a:pt x="312" y="318"/>
                  </a:lnTo>
                  <a:lnTo>
                    <a:pt x="318" y="312"/>
                  </a:lnTo>
                  <a:lnTo>
                    <a:pt x="324" y="312"/>
                  </a:lnTo>
                  <a:lnTo>
                    <a:pt x="330" y="312"/>
                  </a:lnTo>
                  <a:lnTo>
                    <a:pt x="342" y="306"/>
                  </a:lnTo>
                  <a:lnTo>
                    <a:pt x="348" y="306"/>
                  </a:lnTo>
                  <a:lnTo>
                    <a:pt x="348" y="312"/>
                  </a:lnTo>
                  <a:lnTo>
                    <a:pt x="348" y="318"/>
                  </a:lnTo>
                  <a:lnTo>
                    <a:pt x="354" y="318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60" y="336"/>
                  </a:lnTo>
                  <a:lnTo>
                    <a:pt x="366" y="330"/>
                  </a:lnTo>
                  <a:lnTo>
                    <a:pt x="378" y="324"/>
                  </a:lnTo>
                  <a:lnTo>
                    <a:pt x="384" y="324"/>
                  </a:lnTo>
                  <a:lnTo>
                    <a:pt x="384" y="318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6"/>
                  </a:lnTo>
                  <a:lnTo>
                    <a:pt x="402" y="306"/>
                  </a:lnTo>
                  <a:lnTo>
                    <a:pt x="408" y="306"/>
                  </a:lnTo>
                  <a:lnTo>
                    <a:pt x="414" y="300"/>
                  </a:lnTo>
                  <a:lnTo>
                    <a:pt x="420" y="300"/>
                  </a:lnTo>
                  <a:lnTo>
                    <a:pt x="426" y="300"/>
                  </a:lnTo>
                  <a:lnTo>
                    <a:pt x="432" y="300"/>
                  </a:lnTo>
                  <a:lnTo>
                    <a:pt x="444" y="288"/>
                  </a:lnTo>
                  <a:lnTo>
                    <a:pt x="450" y="294"/>
                  </a:lnTo>
                  <a:lnTo>
                    <a:pt x="468" y="300"/>
                  </a:lnTo>
                  <a:lnTo>
                    <a:pt x="498" y="312"/>
                  </a:lnTo>
                  <a:lnTo>
                    <a:pt x="504" y="324"/>
                  </a:lnTo>
                  <a:lnTo>
                    <a:pt x="516" y="330"/>
                  </a:lnTo>
                  <a:lnTo>
                    <a:pt x="516" y="336"/>
                  </a:lnTo>
                  <a:lnTo>
                    <a:pt x="540" y="342"/>
                  </a:lnTo>
                  <a:lnTo>
                    <a:pt x="558" y="372"/>
                  </a:lnTo>
                  <a:lnTo>
                    <a:pt x="594" y="384"/>
                  </a:lnTo>
                  <a:lnTo>
                    <a:pt x="606" y="402"/>
                  </a:lnTo>
                  <a:lnTo>
                    <a:pt x="600" y="420"/>
                  </a:lnTo>
                  <a:lnTo>
                    <a:pt x="588" y="444"/>
                  </a:lnTo>
                  <a:lnTo>
                    <a:pt x="588" y="450"/>
                  </a:lnTo>
                  <a:lnTo>
                    <a:pt x="588" y="456"/>
                  </a:lnTo>
                  <a:lnTo>
                    <a:pt x="594" y="456"/>
                  </a:lnTo>
                  <a:lnTo>
                    <a:pt x="594" y="462"/>
                  </a:lnTo>
                  <a:lnTo>
                    <a:pt x="594" y="468"/>
                  </a:lnTo>
                  <a:lnTo>
                    <a:pt x="594" y="474"/>
                  </a:lnTo>
                  <a:lnTo>
                    <a:pt x="600" y="474"/>
                  </a:lnTo>
                  <a:lnTo>
                    <a:pt x="606" y="480"/>
                  </a:lnTo>
                  <a:lnTo>
                    <a:pt x="606" y="486"/>
                  </a:lnTo>
                  <a:lnTo>
                    <a:pt x="612" y="486"/>
                  </a:lnTo>
                  <a:lnTo>
                    <a:pt x="618" y="486"/>
                  </a:lnTo>
                  <a:lnTo>
                    <a:pt x="624" y="486"/>
                  </a:lnTo>
                  <a:lnTo>
                    <a:pt x="636" y="486"/>
                  </a:lnTo>
                  <a:lnTo>
                    <a:pt x="642" y="486"/>
                  </a:lnTo>
                  <a:lnTo>
                    <a:pt x="648" y="480"/>
                  </a:lnTo>
                  <a:lnTo>
                    <a:pt x="654" y="474"/>
                  </a:lnTo>
                  <a:lnTo>
                    <a:pt x="660" y="468"/>
                  </a:lnTo>
                  <a:lnTo>
                    <a:pt x="666" y="468"/>
                  </a:lnTo>
                  <a:lnTo>
                    <a:pt x="684" y="468"/>
                  </a:lnTo>
                  <a:lnTo>
                    <a:pt x="696" y="468"/>
                  </a:lnTo>
                  <a:lnTo>
                    <a:pt x="696" y="462"/>
                  </a:lnTo>
                  <a:lnTo>
                    <a:pt x="702" y="456"/>
                  </a:lnTo>
                  <a:lnTo>
                    <a:pt x="708" y="450"/>
                  </a:lnTo>
                  <a:lnTo>
                    <a:pt x="714" y="450"/>
                  </a:lnTo>
                  <a:lnTo>
                    <a:pt x="720" y="450"/>
                  </a:lnTo>
                  <a:lnTo>
                    <a:pt x="720" y="438"/>
                  </a:lnTo>
                  <a:lnTo>
                    <a:pt x="726" y="432"/>
                  </a:lnTo>
                  <a:lnTo>
                    <a:pt x="738" y="420"/>
                  </a:lnTo>
                  <a:lnTo>
                    <a:pt x="744" y="420"/>
                  </a:lnTo>
                  <a:lnTo>
                    <a:pt x="750" y="414"/>
                  </a:lnTo>
                  <a:lnTo>
                    <a:pt x="762" y="408"/>
                  </a:lnTo>
                  <a:lnTo>
                    <a:pt x="768" y="408"/>
                  </a:lnTo>
                  <a:lnTo>
                    <a:pt x="768" y="402"/>
                  </a:lnTo>
                  <a:lnTo>
                    <a:pt x="780" y="396"/>
                  </a:lnTo>
                  <a:lnTo>
                    <a:pt x="786" y="396"/>
                  </a:lnTo>
                  <a:lnTo>
                    <a:pt x="786" y="390"/>
                  </a:lnTo>
                  <a:lnTo>
                    <a:pt x="792" y="384"/>
                  </a:lnTo>
                  <a:lnTo>
                    <a:pt x="792" y="378"/>
                  </a:lnTo>
                  <a:lnTo>
                    <a:pt x="798" y="366"/>
                  </a:lnTo>
                  <a:lnTo>
                    <a:pt x="804" y="360"/>
                  </a:lnTo>
                  <a:lnTo>
                    <a:pt x="816" y="342"/>
                  </a:lnTo>
                  <a:lnTo>
                    <a:pt x="816" y="312"/>
                  </a:lnTo>
                  <a:lnTo>
                    <a:pt x="804" y="300"/>
                  </a:lnTo>
                  <a:lnTo>
                    <a:pt x="798" y="288"/>
                  </a:lnTo>
                  <a:lnTo>
                    <a:pt x="762" y="264"/>
                  </a:lnTo>
                  <a:lnTo>
                    <a:pt x="738" y="234"/>
                  </a:lnTo>
                  <a:lnTo>
                    <a:pt x="738" y="222"/>
                  </a:lnTo>
                  <a:lnTo>
                    <a:pt x="744" y="210"/>
                  </a:lnTo>
                  <a:lnTo>
                    <a:pt x="732" y="174"/>
                  </a:lnTo>
                  <a:lnTo>
                    <a:pt x="714" y="156"/>
                  </a:lnTo>
                  <a:lnTo>
                    <a:pt x="708" y="144"/>
                  </a:lnTo>
                  <a:lnTo>
                    <a:pt x="714" y="126"/>
                  </a:lnTo>
                  <a:lnTo>
                    <a:pt x="720" y="114"/>
                  </a:lnTo>
                  <a:lnTo>
                    <a:pt x="732" y="102"/>
                  </a:lnTo>
                  <a:lnTo>
                    <a:pt x="744" y="102"/>
                  </a:lnTo>
                  <a:lnTo>
                    <a:pt x="762" y="108"/>
                  </a:lnTo>
                  <a:lnTo>
                    <a:pt x="774" y="114"/>
                  </a:lnTo>
                  <a:lnTo>
                    <a:pt x="780" y="138"/>
                  </a:lnTo>
                  <a:lnTo>
                    <a:pt x="786" y="144"/>
                  </a:lnTo>
                  <a:lnTo>
                    <a:pt x="798" y="138"/>
                  </a:lnTo>
                  <a:lnTo>
                    <a:pt x="804" y="132"/>
                  </a:lnTo>
                  <a:lnTo>
                    <a:pt x="816" y="120"/>
                  </a:lnTo>
                  <a:lnTo>
                    <a:pt x="816" y="108"/>
                  </a:lnTo>
                  <a:lnTo>
                    <a:pt x="828" y="102"/>
                  </a:lnTo>
                  <a:lnTo>
                    <a:pt x="828" y="96"/>
                  </a:lnTo>
                  <a:lnTo>
                    <a:pt x="840" y="96"/>
                  </a:lnTo>
                  <a:lnTo>
                    <a:pt x="840" y="84"/>
                  </a:lnTo>
                  <a:lnTo>
                    <a:pt x="852" y="90"/>
                  </a:lnTo>
                  <a:lnTo>
                    <a:pt x="852" y="96"/>
                  </a:lnTo>
                  <a:lnTo>
                    <a:pt x="870" y="90"/>
                  </a:lnTo>
                  <a:lnTo>
                    <a:pt x="894" y="78"/>
                  </a:lnTo>
                  <a:lnTo>
                    <a:pt x="912" y="78"/>
                  </a:lnTo>
                  <a:lnTo>
                    <a:pt x="942" y="66"/>
                  </a:lnTo>
                  <a:lnTo>
                    <a:pt x="942" y="60"/>
                  </a:lnTo>
                  <a:lnTo>
                    <a:pt x="954" y="48"/>
                  </a:lnTo>
                  <a:lnTo>
                    <a:pt x="966" y="30"/>
                  </a:lnTo>
                  <a:lnTo>
                    <a:pt x="978" y="30"/>
                  </a:lnTo>
                  <a:lnTo>
                    <a:pt x="978" y="24"/>
                  </a:lnTo>
                  <a:lnTo>
                    <a:pt x="984" y="12"/>
                  </a:lnTo>
                  <a:lnTo>
                    <a:pt x="990" y="12"/>
                  </a:lnTo>
                  <a:lnTo>
                    <a:pt x="996" y="12"/>
                  </a:lnTo>
                  <a:lnTo>
                    <a:pt x="1014" y="6"/>
                  </a:lnTo>
                  <a:lnTo>
                    <a:pt x="1026" y="6"/>
                  </a:lnTo>
                  <a:lnTo>
                    <a:pt x="1044" y="6"/>
                  </a:lnTo>
                  <a:lnTo>
                    <a:pt x="1050" y="6"/>
                  </a:lnTo>
                  <a:lnTo>
                    <a:pt x="1056" y="6"/>
                  </a:lnTo>
                  <a:lnTo>
                    <a:pt x="1062" y="6"/>
                  </a:lnTo>
                  <a:lnTo>
                    <a:pt x="1068" y="6"/>
                  </a:lnTo>
                  <a:lnTo>
                    <a:pt x="1074" y="6"/>
                  </a:lnTo>
                  <a:lnTo>
                    <a:pt x="1080" y="6"/>
                  </a:lnTo>
                  <a:lnTo>
                    <a:pt x="1086" y="0"/>
                  </a:lnTo>
                  <a:lnTo>
                    <a:pt x="1092" y="30"/>
                  </a:lnTo>
                  <a:lnTo>
                    <a:pt x="1098" y="60"/>
                  </a:lnTo>
                  <a:lnTo>
                    <a:pt x="1110" y="84"/>
                  </a:lnTo>
                  <a:lnTo>
                    <a:pt x="1122" y="114"/>
                  </a:lnTo>
                  <a:lnTo>
                    <a:pt x="1128" y="144"/>
                  </a:lnTo>
                  <a:lnTo>
                    <a:pt x="1122" y="156"/>
                  </a:lnTo>
                  <a:lnTo>
                    <a:pt x="1128" y="168"/>
                  </a:lnTo>
                  <a:lnTo>
                    <a:pt x="1134" y="186"/>
                  </a:lnTo>
                  <a:lnTo>
                    <a:pt x="1140" y="204"/>
                  </a:lnTo>
                  <a:lnTo>
                    <a:pt x="1146" y="210"/>
                  </a:lnTo>
                  <a:lnTo>
                    <a:pt x="1146" y="216"/>
                  </a:lnTo>
                  <a:lnTo>
                    <a:pt x="1146" y="228"/>
                  </a:lnTo>
                  <a:lnTo>
                    <a:pt x="1146" y="234"/>
                  </a:lnTo>
                  <a:lnTo>
                    <a:pt x="1140" y="246"/>
                  </a:lnTo>
                  <a:lnTo>
                    <a:pt x="1128" y="258"/>
                  </a:lnTo>
                  <a:lnTo>
                    <a:pt x="1116" y="264"/>
                  </a:lnTo>
                  <a:lnTo>
                    <a:pt x="1110" y="276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2" y="312"/>
                  </a:lnTo>
                  <a:lnTo>
                    <a:pt x="1116" y="324"/>
                  </a:lnTo>
                  <a:lnTo>
                    <a:pt x="1104" y="336"/>
                  </a:lnTo>
                  <a:lnTo>
                    <a:pt x="1104" y="354"/>
                  </a:lnTo>
                  <a:lnTo>
                    <a:pt x="1098" y="372"/>
                  </a:lnTo>
                  <a:lnTo>
                    <a:pt x="1092" y="384"/>
                  </a:lnTo>
                  <a:lnTo>
                    <a:pt x="1086" y="390"/>
                  </a:lnTo>
                  <a:lnTo>
                    <a:pt x="1086" y="402"/>
                  </a:lnTo>
                  <a:lnTo>
                    <a:pt x="1080" y="414"/>
                  </a:lnTo>
                  <a:lnTo>
                    <a:pt x="1074" y="426"/>
                  </a:lnTo>
                  <a:lnTo>
                    <a:pt x="1074" y="450"/>
                  </a:lnTo>
                  <a:lnTo>
                    <a:pt x="1074" y="462"/>
                  </a:lnTo>
                  <a:lnTo>
                    <a:pt x="1068" y="474"/>
                  </a:lnTo>
                  <a:lnTo>
                    <a:pt x="1062" y="486"/>
                  </a:lnTo>
                  <a:lnTo>
                    <a:pt x="1056" y="498"/>
                  </a:lnTo>
                  <a:close/>
                  <a:moveTo>
                    <a:pt x="186" y="378"/>
                  </a:moveTo>
                  <a:lnTo>
                    <a:pt x="186" y="384"/>
                  </a:lnTo>
                  <a:lnTo>
                    <a:pt x="180" y="390"/>
                  </a:lnTo>
                  <a:lnTo>
                    <a:pt x="174" y="396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14"/>
                  </a:lnTo>
                  <a:lnTo>
                    <a:pt x="126" y="414"/>
                  </a:lnTo>
                  <a:lnTo>
                    <a:pt x="120" y="414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2" y="426"/>
                  </a:lnTo>
                  <a:lnTo>
                    <a:pt x="102" y="432"/>
                  </a:lnTo>
                  <a:lnTo>
                    <a:pt x="96" y="432"/>
                  </a:lnTo>
                  <a:lnTo>
                    <a:pt x="90" y="432"/>
                  </a:lnTo>
                  <a:lnTo>
                    <a:pt x="84" y="438"/>
                  </a:lnTo>
                  <a:lnTo>
                    <a:pt x="78" y="438"/>
                  </a:lnTo>
                  <a:lnTo>
                    <a:pt x="78" y="444"/>
                  </a:lnTo>
                  <a:lnTo>
                    <a:pt x="72" y="444"/>
                  </a:lnTo>
                  <a:lnTo>
                    <a:pt x="72" y="450"/>
                  </a:lnTo>
                  <a:lnTo>
                    <a:pt x="66" y="456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48" y="468"/>
                  </a:lnTo>
                  <a:lnTo>
                    <a:pt x="42" y="468"/>
                  </a:lnTo>
                  <a:lnTo>
                    <a:pt x="42" y="462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8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0" y="396"/>
                  </a:lnTo>
                  <a:lnTo>
                    <a:pt x="6" y="384"/>
                  </a:lnTo>
                  <a:lnTo>
                    <a:pt x="18" y="372"/>
                  </a:lnTo>
                  <a:lnTo>
                    <a:pt x="30" y="348"/>
                  </a:lnTo>
                  <a:lnTo>
                    <a:pt x="30" y="342"/>
                  </a:lnTo>
                  <a:lnTo>
                    <a:pt x="42" y="330"/>
                  </a:lnTo>
                  <a:lnTo>
                    <a:pt x="42" y="324"/>
                  </a:lnTo>
                  <a:lnTo>
                    <a:pt x="48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60" y="282"/>
                  </a:lnTo>
                  <a:lnTo>
                    <a:pt x="60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2" y="258"/>
                  </a:lnTo>
                  <a:lnTo>
                    <a:pt x="84" y="246"/>
                  </a:lnTo>
                  <a:lnTo>
                    <a:pt x="90" y="234"/>
                  </a:lnTo>
                  <a:lnTo>
                    <a:pt x="96" y="234"/>
                  </a:lnTo>
                  <a:lnTo>
                    <a:pt x="96" y="228"/>
                  </a:lnTo>
                  <a:lnTo>
                    <a:pt x="102" y="222"/>
                  </a:lnTo>
                  <a:lnTo>
                    <a:pt x="102" y="228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14" y="228"/>
                  </a:lnTo>
                  <a:lnTo>
                    <a:pt x="114" y="234"/>
                  </a:lnTo>
                  <a:lnTo>
                    <a:pt x="120" y="228"/>
                  </a:lnTo>
                  <a:lnTo>
                    <a:pt x="120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26" y="228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8" y="234"/>
                  </a:lnTo>
                  <a:lnTo>
                    <a:pt x="144" y="234"/>
                  </a:lnTo>
                  <a:lnTo>
                    <a:pt x="144" y="228"/>
                  </a:lnTo>
                  <a:lnTo>
                    <a:pt x="150" y="228"/>
                  </a:lnTo>
                  <a:lnTo>
                    <a:pt x="156" y="228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46"/>
                  </a:lnTo>
                  <a:lnTo>
                    <a:pt x="162" y="240"/>
                  </a:lnTo>
                  <a:lnTo>
                    <a:pt x="162" y="246"/>
                  </a:lnTo>
                  <a:lnTo>
                    <a:pt x="162" y="258"/>
                  </a:lnTo>
                  <a:lnTo>
                    <a:pt x="162" y="264"/>
                  </a:lnTo>
                  <a:lnTo>
                    <a:pt x="156" y="270"/>
                  </a:lnTo>
                  <a:lnTo>
                    <a:pt x="162" y="270"/>
                  </a:lnTo>
                  <a:lnTo>
                    <a:pt x="162" y="282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86" y="288"/>
                  </a:lnTo>
                  <a:lnTo>
                    <a:pt x="186" y="294"/>
                  </a:lnTo>
                  <a:lnTo>
                    <a:pt x="180" y="300"/>
                  </a:lnTo>
                  <a:lnTo>
                    <a:pt x="174" y="318"/>
                  </a:lnTo>
                  <a:lnTo>
                    <a:pt x="174" y="324"/>
                  </a:lnTo>
                  <a:lnTo>
                    <a:pt x="168" y="330"/>
                  </a:lnTo>
                  <a:lnTo>
                    <a:pt x="168" y="342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74" y="360"/>
                  </a:lnTo>
                  <a:lnTo>
                    <a:pt x="180" y="366"/>
                  </a:lnTo>
                  <a:lnTo>
                    <a:pt x="186" y="3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8" name="Freeform 23">
              <a:extLst>
                <a:ext uri="{FF2B5EF4-FFF2-40B4-BE49-F238E27FC236}">
                  <a16:creationId xmlns:a16="http://schemas.microsoft.com/office/drawing/2014/main" id="{A539A33E-3F6E-4AF7-BD88-1853165307F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6312" y="3604793"/>
              <a:ext cx="581410" cy="621747"/>
            </a:xfrm>
            <a:custGeom>
              <a:avLst/>
              <a:gdLst>
                <a:gd name="T0" fmla="*/ 90 w 1092"/>
                <a:gd name="T1" fmla="*/ 60 h 1170"/>
                <a:gd name="T2" fmla="*/ 83 w 1092"/>
                <a:gd name="T3" fmla="*/ 62 h 1170"/>
                <a:gd name="T4" fmla="*/ 72 w 1092"/>
                <a:gd name="T5" fmla="*/ 68 h 1170"/>
                <a:gd name="T6" fmla="*/ 68 w 1092"/>
                <a:gd name="T7" fmla="*/ 71 h 1170"/>
                <a:gd name="T8" fmla="*/ 61 w 1092"/>
                <a:gd name="T9" fmla="*/ 69 h 1170"/>
                <a:gd name="T10" fmla="*/ 64 w 1092"/>
                <a:gd name="T11" fmla="*/ 82 h 1170"/>
                <a:gd name="T12" fmla="*/ 67 w 1092"/>
                <a:gd name="T13" fmla="*/ 93 h 1170"/>
                <a:gd name="T14" fmla="*/ 62 w 1092"/>
                <a:gd name="T15" fmla="*/ 96 h 1170"/>
                <a:gd name="T16" fmla="*/ 59 w 1092"/>
                <a:gd name="T17" fmla="*/ 99 h 1170"/>
                <a:gd name="T18" fmla="*/ 53 w 1092"/>
                <a:gd name="T19" fmla="*/ 101 h 1170"/>
                <a:gd name="T20" fmla="*/ 50 w 1092"/>
                <a:gd name="T21" fmla="*/ 100 h 1170"/>
                <a:gd name="T22" fmla="*/ 50 w 1092"/>
                <a:gd name="T23" fmla="*/ 93 h 1170"/>
                <a:gd name="T24" fmla="*/ 37 w 1092"/>
                <a:gd name="T25" fmla="*/ 85 h 1170"/>
                <a:gd name="T26" fmla="*/ 32 w 1092"/>
                <a:gd name="T27" fmla="*/ 86 h 1170"/>
                <a:gd name="T28" fmla="*/ 29 w 1092"/>
                <a:gd name="T29" fmla="*/ 88 h 1170"/>
                <a:gd name="T30" fmla="*/ 27 w 1092"/>
                <a:gd name="T31" fmla="*/ 86 h 1170"/>
                <a:gd name="T32" fmla="*/ 23 w 1092"/>
                <a:gd name="T33" fmla="*/ 87 h 1170"/>
                <a:gd name="T34" fmla="*/ 17 w 1092"/>
                <a:gd name="T35" fmla="*/ 87 h 1170"/>
                <a:gd name="T36" fmla="*/ 18 w 1092"/>
                <a:gd name="T37" fmla="*/ 89 h 1170"/>
                <a:gd name="T38" fmla="*/ 16 w 1092"/>
                <a:gd name="T39" fmla="*/ 92 h 1170"/>
                <a:gd name="T40" fmla="*/ 12 w 1092"/>
                <a:gd name="T41" fmla="*/ 89 h 1170"/>
                <a:gd name="T42" fmla="*/ 13 w 1092"/>
                <a:gd name="T43" fmla="*/ 84 h 1170"/>
                <a:gd name="T44" fmla="*/ 12 w 1092"/>
                <a:gd name="T45" fmla="*/ 80 h 1170"/>
                <a:gd name="T46" fmla="*/ 10 w 1092"/>
                <a:gd name="T47" fmla="*/ 80 h 1170"/>
                <a:gd name="T48" fmla="*/ 8 w 1092"/>
                <a:gd name="T49" fmla="*/ 79 h 1170"/>
                <a:gd name="T50" fmla="*/ 6 w 1092"/>
                <a:gd name="T51" fmla="*/ 78 h 1170"/>
                <a:gd name="T52" fmla="*/ 6 w 1092"/>
                <a:gd name="T53" fmla="*/ 77 h 1170"/>
                <a:gd name="T54" fmla="*/ 4 w 1092"/>
                <a:gd name="T55" fmla="*/ 75 h 1170"/>
                <a:gd name="T56" fmla="*/ 0 w 1092"/>
                <a:gd name="T57" fmla="*/ 72 h 1170"/>
                <a:gd name="T58" fmla="*/ 0 w 1092"/>
                <a:gd name="T59" fmla="*/ 69 h 1170"/>
                <a:gd name="T60" fmla="*/ 3 w 1092"/>
                <a:gd name="T61" fmla="*/ 67 h 1170"/>
                <a:gd name="T62" fmla="*/ 6 w 1092"/>
                <a:gd name="T63" fmla="*/ 62 h 1170"/>
                <a:gd name="T64" fmla="*/ 8 w 1092"/>
                <a:gd name="T65" fmla="*/ 58 h 1170"/>
                <a:gd name="T66" fmla="*/ 5 w 1092"/>
                <a:gd name="T67" fmla="*/ 54 h 1170"/>
                <a:gd name="T68" fmla="*/ 6 w 1092"/>
                <a:gd name="T69" fmla="*/ 50 h 1170"/>
                <a:gd name="T70" fmla="*/ 8 w 1092"/>
                <a:gd name="T71" fmla="*/ 46 h 1170"/>
                <a:gd name="T72" fmla="*/ 10 w 1092"/>
                <a:gd name="T73" fmla="*/ 43 h 1170"/>
                <a:gd name="T74" fmla="*/ 14 w 1092"/>
                <a:gd name="T75" fmla="*/ 38 h 1170"/>
                <a:gd name="T76" fmla="*/ 31 w 1092"/>
                <a:gd name="T77" fmla="*/ 40 h 1170"/>
                <a:gd name="T78" fmla="*/ 30 w 1092"/>
                <a:gd name="T79" fmla="*/ 46 h 1170"/>
                <a:gd name="T80" fmla="*/ 36 w 1092"/>
                <a:gd name="T81" fmla="*/ 47 h 1170"/>
                <a:gd name="T82" fmla="*/ 41 w 1092"/>
                <a:gd name="T83" fmla="*/ 44 h 1170"/>
                <a:gd name="T84" fmla="*/ 43 w 1092"/>
                <a:gd name="T85" fmla="*/ 39 h 1170"/>
                <a:gd name="T86" fmla="*/ 44 w 1092"/>
                <a:gd name="T87" fmla="*/ 35 h 1170"/>
                <a:gd name="T88" fmla="*/ 44 w 1092"/>
                <a:gd name="T89" fmla="*/ 29 h 1170"/>
                <a:gd name="T90" fmla="*/ 48 w 1092"/>
                <a:gd name="T91" fmla="*/ 24 h 1170"/>
                <a:gd name="T92" fmla="*/ 49 w 1092"/>
                <a:gd name="T93" fmla="*/ 19 h 1170"/>
                <a:gd name="T94" fmla="*/ 51 w 1092"/>
                <a:gd name="T95" fmla="*/ 14 h 1170"/>
                <a:gd name="T96" fmla="*/ 54 w 1092"/>
                <a:gd name="T97" fmla="*/ 10 h 1170"/>
                <a:gd name="T98" fmla="*/ 53 w 1092"/>
                <a:gd name="T99" fmla="*/ 7 h 1170"/>
                <a:gd name="T100" fmla="*/ 55 w 1092"/>
                <a:gd name="T101" fmla="*/ 3 h 1170"/>
                <a:gd name="T102" fmla="*/ 58 w 1092"/>
                <a:gd name="T103" fmla="*/ 0 h 1170"/>
                <a:gd name="T104" fmla="*/ 65 w 1092"/>
                <a:gd name="T105" fmla="*/ 2 h 1170"/>
                <a:gd name="T106" fmla="*/ 61 w 1092"/>
                <a:gd name="T107" fmla="*/ 6 h 1170"/>
                <a:gd name="T108" fmla="*/ 67 w 1092"/>
                <a:gd name="T109" fmla="*/ 7 h 1170"/>
                <a:gd name="T110" fmla="*/ 71 w 1092"/>
                <a:gd name="T111" fmla="*/ 6 h 1170"/>
                <a:gd name="T112" fmla="*/ 75 w 1092"/>
                <a:gd name="T113" fmla="*/ 9 h 1170"/>
                <a:gd name="T114" fmla="*/ 82 w 1092"/>
                <a:gd name="T115" fmla="*/ 12 h 1170"/>
                <a:gd name="T116" fmla="*/ 84 w 1092"/>
                <a:gd name="T117" fmla="*/ 17 h 1170"/>
                <a:gd name="T118" fmla="*/ 94 w 1092"/>
                <a:gd name="T119" fmla="*/ 23 h 1170"/>
                <a:gd name="T120" fmla="*/ 94 w 1092"/>
                <a:gd name="T121" fmla="*/ 34 h 1170"/>
                <a:gd name="T122" fmla="*/ 90 w 1092"/>
                <a:gd name="T123" fmla="*/ 41 h 1170"/>
                <a:gd name="T124" fmla="*/ 91 w 1092"/>
                <a:gd name="T125" fmla="*/ 51 h 11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92"/>
                <a:gd name="T190" fmla="*/ 0 h 1170"/>
                <a:gd name="T191" fmla="*/ 1092 w 1092"/>
                <a:gd name="T192" fmla="*/ 1170 h 117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92" h="1170">
                  <a:moveTo>
                    <a:pt x="1056" y="654"/>
                  </a:moveTo>
                  <a:lnTo>
                    <a:pt x="1062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0"/>
                  </a:lnTo>
                  <a:lnTo>
                    <a:pt x="1038" y="690"/>
                  </a:lnTo>
                  <a:lnTo>
                    <a:pt x="1032" y="690"/>
                  </a:lnTo>
                  <a:lnTo>
                    <a:pt x="1026" y="690"/>
                  </a:lnTo>
                  <a:lnTo>
                    <a:pt x="1020" y="690"/>
                  </a:lnTo>
                  <a:lnTo>
                    <a:pt x="1002" y="690"/>
                  </a:lnTo>
                  <a:lnTo>
                    <a:pt x="990" y="690"/>
                  </a:lnTo>
                  <a:lnTo>
                    <a:pt x="972" y="696"/>
                  </a:lnTo>
                  <a:lnTo>
                    <a:pt x="966" y="696"/>
                  </a:lnTo>
                  <a:lnTo>
                    <a:pt x="960" y="696"/>
                  </a:lnTo>
                  <a:lnTo>
                    <a:pt x="954" y="708"/>
                  </a:lnTo>
                  <a:lnTo>
                    <a:pt x="954" y="714"/>
                  </a:lnTo>
                  <a:lnTo>
                    <a:pt x="942" y="714"/>
                  </a:lnTo>
                  <a:lnTo>
                    <a:pt x="930" y="732"/>
                  </a:lnTo>
                  <a:lnTo>
                    <a:pt x="918" y="744"/>
                  </a:lnTo>
                  <a:lnTo>
                    <a:pt x="918" y="750"/>
                  </a:lnTo>
                  <a:lnTo>
                    <a:pt x="888" y="762"/>
                  </a:lnTo>
                  <a:lnTo>
                    <a:pt x="870" y="762"/>
                  </a:lnTo>
                  <a:lnTo>
                    <a:pt x="846" y="774"/>
                  </a:lnTo>
                  <a:lnTo>
                    <a:pt x="828" y="780"/>
                  </a:lnTo>
                  <a:lnTo>
                    <a:pt x="828" y="774"/>
                  </a:lnTo>
                  <a:lnTo>
                    <a:pt x="816" y="768"/>
                  </a:lnTo>
                  <a:lnTo>
                    <a:pt x="816" y="780"/>
                  </a:lnTo>
                  <a:lnTo>
                    <a:pt x="804" y="780"/>
                  </a:lnTo>
                  <a:lnTo>
                    <a:pt x="804" y="786"/>
                  </a:lnTo>
                  <a:lnTo>
                    <a:pt x="792" y="792"/>
                  </a:lnTo>
                  <a:lnTo>
                    <a:pt x="792" y="804"/>
                  </a:lnTo>
                  <a:lnTo>
                    <a:pt x="780" y="816"/>
                  </a:lnTo>
                  <a:lnTo>
                    <a:pt x="774" y="822"/>
                  </a:lnTo>
                  <a:lnTo>
                    <a:pt x="762" y="828"/>
                  </a:lnTo>
                  <a:lnTo>
                    <a:pt x="756" y="822"/>
                  </a:lnTo>
                  <a:lnTo>
                    <a:pt x="750" y="798"/>
                  </a:lnTo>
                  <a:lnTo>
                    <a:pt x="738" y="792"/>
                  </a:lnTo>
                  <a:lnTo>
                    <a:pt x="720" y="786"/>
                  </a:lnTo>
                  <a:lnTo>
                    <a:pt x="708" y="786"/>
                  </a:lnTo>
                  <a:lnTo>
                    <a:pt x="696" y="798"/>
                  </a:lnTo>
                  <a:lnTo>
                    <a:pt x="690" y="810"/>
                  </a:lnTo>
                  <a:lnTo>
                    <a:pt x="684" y="828"/>
                  </a:lnTo>
                  <a:lnTo>
                    <a:pt x="690" y="840"/>
                  </a:lnTo>
                  <a:lnTo>
                    <a:pt x="708" y="858"/>
                  </a:lnTo>
                  <a:lnTo>
                    <a:pt x="720" y="894"/>
                  </a:lnTo>
                  <a:lnTo>
                    <a:pt x="714" y="906"/>
                  </a:lnTo>
                  <a:lnTo>
                    <a:pt x="714" y="918"/>
                  </a:lnTo>
                  <a:lnTo>
                    <a:pt x="738" y="948"/>
                  </a:lnTo>
                  <a:lnTo>
                    <a:pt x="774" y="972"/>
                  </a:lnTo>
                  <a:lnTo>
                    <a:pt x="780" y="984"/>
                  </a:lnTo>
                  <a:lnTo>
                    <a:pt x="792" y="996"/>
                  </a:lnTo>
                  <a:lnTo>
                    <a:pt x="792" y="1026"/>
                  </a:lnTo>
                  <a:lnTo>
                    <a:pt x="780" y="1044"/>
                  </a:lnTo>
                  <a:lnTo>
                    <a:pt x="774" y="1050"/>
                  </a:lnTo>
                  <a:lnTo>
                    <a:pt x="768" y="1062"/>
                  </a:lnTo>
                  <a:lnTo>
                    <a:pt x="768" y="1068"/>
                  </a:lnTo>
                  <a:lnTo>
                    <a:pt x="762" y="1074"/>
                  </a:lnTo>
                  <a:lnTo>
                    <a:pt x="762" y="1080"/>
                  </a:lnTo>
                  <a:lnTo>
                    <a:pt x="756" y="1080"/>
                  </a:lnTo>
                  <a:lnTo>
                    <a:pt x="744" y="1086"/>
                  </a:lnTo>
                  <a:lnTo>
                    <a:pt x="744" y="1092"/>
                  </a:lnTo>
                  <a:lnTo>
                    <a:pt x="738" y="1092"/>
                  </a:lnTo>
                  <a:lnTo>
                    <a:pt x="726" y="1098"/>
                  </a:lnTo>
                  <a:lnTo>
                    <a:pt x="720" y="1104"/>
                  </a:lnTo>
                  <a:lnTo>
                    <a:pt x="714" y="1104"/>
                  </a:lnTo>
                  <a:lnTo>
                    <a:pt x="702" y="1116"/>
                  </a:lnTo>
                  <a:lnTo>
                    <a:pt x="696" y="1122"/>
                  </a:lnTo>
                  <a:lnTo>
                    <a:pt x="696" y="1134"/>
                  </a:lnTo>
                  <a:lnTo>
                    <a:pt x="690" y="1134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72" y="1146"/>
                  </a:lnTo>
                  <a:lnTo>
                    <a:pt x="672" y="1152"/>
                  </a:lnTo>
                  <a:lnTo>
                    <a:pt x="660" y="1152"/>
                  </a:lnTo>
                  <a:lnTo>
                    <a:pt x="642" y="1152"/>
                  </a:lnTo>
                  <a:lnTo>
                    <a:pt x="636" y="1152"/>
                  </a:lnTo>
                  <a:lnTo>
                    <a:pt x="630" y="1158"/>
                  </a:lnTo>
                  <a:lnTo>
                    <a:pt x="624" y="1164"/>
                  </a:lnTo>
                  <a:lnTo>
                    <a:pt x="618" y="1170"/>
                  </a:lnTo>
                  <a:lnTo>
                    <a:pt x="612" y="1170"/>
                  </a:lnTo>
                  <a:lnTo>
                    <a:pt x="600" y="1170"/>
                  </a:lnTo>
                  <a:lnTo>
                    <a:pt x="594" y="1170"/>
                  </a:lnTo>
                  <a:lnTo>
                    <a:pt x="588" y="1170"/>
                  </a:lnTo>
                  <a:lnTo>
                    <a:pt x="582" y="1170"/>
                  </a:lnTo>
                  <a:lnTo>
                    <a:pt x="582" y="1164"/>
                  </a:lnTo>
                  <a:lnTo>
                    <a:pt x="576" y="1158"/>
                  </a:lnTo>
                  <a:lnTo>
                    <a:pt x="570" y="1158"/>
                  </a:lnTo>
                  <a:lnTo>
                    <a:pt x="570" y="1152"/>
                  </a:lnTo>
                  <a:lnTo>
                    <a:pt x="570" y="1146"/>
                  </a:lnTo>
                  <a:lnTo>
                    <a:pt x="570" y="1140"/>
                  </a:lnTo>
                  <a:lnTo>
                    <a:pt x="564" y="1140"/>
                  </a:lnTo>
                  <a:lnTo>
                    <a:pt x="564" y="1134"/>
                  </a:lnTo>
                  <a:lnTo>
                    <a:pt x="564" y="1128"/>
                  </a:lnTo>
                  <a:lnTo>
                    <a:pt x="576" y="1104"/>
                  </a:lnTo>
                  <a:lnTo>
                    <a:pt x="582" y="1086"/>
                  </a:lnTo>
                  <a:lnTo>
                    <a:pt x="570" y="1068"/>
                  </a:lnTo>
                  <a:lnTo>
                    <a:pt x="534" y="1056"/>
                  </a:lnTo>
                  <a:lnTo>
                    <a:pt x="516" y="1026"/>
                  </a:lnTo>
                  <a:lnTo>
                    <a:pt x="492" y="1020"/>
                  </a:lnTo>
                  <a:lnTo>
                    <a:pt x="492" y="1014"/>
                  </a:lnTo>
                  <a:lnTo>
                    <a:pt x="480" y="1008"/>
                  </a:lnTo>
                  <a:lnTo>
                    <a:pt x="474" y="996"/>
                  </a:lnTo>
                  <a:lnTo>
                    <a:pt x="444" y="984"/>
                  </a:lnTo>
                  <a:lnTo>
                    <a:pt x="426" y="978"/>
                  </a:lnTo>
                  <a:lnTo>
                    <a:pt x="420" y="972"/>
                  </a:lnTo>
                  <a:lnTo>
                    <a:pt x="408" y="984"/>
                  </a:lnTo>
                  <a:lnTo>
                    <a:pt x="402" y="984"/>
                  </a:lnTo>
                  <a:lnTo>
                    <a:pt x="396" y="984"/>
                  </a:lnTo>
                  <a:lnTo>
                    <a:pt x="390" y="984"/>
                  </a:lnTo>
                  <a:lnTo>
                    <a:pt x="384" y="990"/>
                  </a:lnTo>
                  <a:lnTo>
                    <a:pt x="378" y="990"/>
                  </a:lnTo>
                  <a:lnTo>
                    <a:pt x="372" y="990"/>
                  </a:lnTo>
                  <a:lnTo>
                    <a:pt x="372" y="996"/>
                  </a:lnTo>
                  <a:lnTo>
                    <a:pt x="366" y="996"/>
                  </a:lnTo>
                  <a:lnTo>
                    <a:pt x="360" y="1002"/>
                  </a:lnTo>
                  <a:lnTo>
                    <a:pt x="360" y="1008"/>
                  </a:lnTo>
                  <a:lnTo>
                    <a:pt x="354" y="1008"/>
                  </a:lnTo>
                  <a:lnTo>
                    <a:pt x="342" y="1014"/>
                  </a:lnTo>
                  <a:lnTo>
                    <a:pt x="336" y="1020"/>
                  </a:lnTo>
                  <a:lnTo>
                    <a:pt x="336" y="1014"/>
                  </a:lnTo>
                  <a:lnTo>
                    <a:pt x="330" y="1014"/>
                  </a:lnTo>
                  <a:lnTo>
                    <a:pt x="330" y="1008"/>
                  </a:lnTo>
                  <a:lnTo>
                    <a:pt x="330" y="1002"/>
                  </a:lnTo>
                  <a:lnTo>
                    <a:pt x="324" y="1002"/>
                  </a:lnTo>
                  <a:lnTo>
                    <a:pt x="324" y="996"/>
                  </a:lnTo>
                  <a:lnTo>
                    <a:pt x="324" y="990"/>
                  </a:lnTo>
                  <a:lnTo>
                    <a:pt x="318" y="990"/>
                  </a:lnTo>
                  <a:lnTo>
                    <a:pt x="306" y="996"/>
                  </a:lnTo>
                  <a:lnTo>
                    <a:pt x="300" y="996"/>
                  </a:lnTo>
                  <a:lnTo>
                    <a:pt x="294" y="996"/>
                  </a:lnTo>
                  <a:lnTo>
                    <a:pt x="288" y="1002"/>
                  </a:lnTo>
                  <a:lnTo>
                    <a:pt x="282" y="990"/>
                  </a:lnTo>
                  <a:lnTo>
                    <a:pt x="276" y="984"/>
                  </a:lnTo>
                  <a:lnTo>
                    <a:pt x="270" y="990"/>
                  </a:lnTo>
                  <a:lnTo>
                    <a:pt x="270" y="996"/>
                  </a:lnTo>
                  <a:lnTo>
                    <a:pt x="270" y="1002"/>
                  </a:lnTo>
                  <a:lnTo>
                    <a:pt x="264" y="1008"/>
                  </a:lnTo>
                  <a:lnTo>
                    <a:pt x="252" y="996"/>
                  </a:lnTo>
                  <a:lnTo>
                    <a:pt x="246" y="996"/>
                  </a:lnTo>
                  <a:lnTo>
                    <a:pt x="234" y="1002"/>
                  </a:lnTo>
                  <a:lnTo>
                    <a:pt x="222" y="1002"/>
                  </a:lnTo>
                  <a:lnTo>
                    <a:pt x="210" y="1002"/>
                  </a:lnTo>
                  <a:lnTo>
                    <a:pt x="198" y="996"/>
                  </a:lnTo>
                  <a:lnTo>
                    <a:pt x="198" y="1002"/>
                  </a:lnTo>
                  <a:lnTo>
                    <a:pt x="198" y="1008"/>
                  </a:lnTo>
                  <a:lnTo>
                    <a:pt x="192" y="1020"/>
                  </a:lnTo>
                  <a:lnTo>
                    <a:pt x="198" y="1020"/>
                  </a:lnTo>
                  <a:lnTo>
                    <a:pt x="204" y="1020"/>
                  </a:lnTo>
                  <a:lnTo>
                    <a:pt x="210" y="1026"/>
                  </a:lnTo>
                  <a:lnTo>
                    <a:pt x="216" y="1026"/>
                  </a:lnTo>
                  <a:lnTo>
                    <a:pt x="216" y="1032"/>
                  </a:lnTo>
                  <a:lnTo>
                    <a:pt x="210" y="1032"/>
                  </a:lnTo>
                  <a:lnTo>
                    <a:pt x="210" y="1038"/>
                  </a:lnTo>
                  <a:lnTo>
                    <a:pt x="204" y="1038"/>
                  </a:lnTo>
                  <a:lnTo>
                    <a:pt x="204" y="1044"/>
                  </a:lnTo>
                  <a:lnTo>
                    <a:pt x="198" y="1044"/>
                  </a:lnTo>
                  <a:lnTo>
                    <a:pt x="192" y="1044"/>
                  </a:lnTo>
                  <a:lnTo>
                    <a:pt x="186" y="1050"/>
                  </a:lnTo>
                  <a:lnTo>
                    <a:pt x="186" y="1056"/>
                  </a:lnTo>
                  <a:lnTo>
                    <a:pt x="180" y="1056"/>
                  </a:lnTo>
                  <a:lnTo>
                    <a:pt x="180" y="1062"/>
                  </a:lnTo>
                  <a:lnTo>
                    <a:pt x="174" y="1062"/>
                  </a:lnTo>
                  <a:lnTo>
                    <a:pt x="168" y="1062"/>
                  </a:lnTo>
                  <a:lnTo>
                    <a:pt x="162" y="1062"/>
                  </a:lnTo>
                  <a:lnTo>
                    <a:pt x="156" y="1050"/>
                  </a:lnTo>
                  <a:lnTo>
                    <a:pt x="150" y="1044"/>
                  </a:lnTo>
                  <a:lnTo>
                    <a:pt x="150" y="1038"/>
                  </a:lnTo>
                  <a:lnTo>
                    <a:pt x="144" y="1032"/>
                  </a:lnTo>
                  <a:lnTo>
                    <a:pt x="144" y="1026"/>
                  </a:lnTo>
                  <a:lnTo>
                    <a:pt x="144" y="1014"/>
                  </a:lnTo>
                  <a:lnTo>
                    <a:pt x="150" y="1008"/>
                  </a:lnTo>
                  <a:lnTo>
                    <a:pt x="150" y="1002"/>
                  </a:lnTo>
                  <a:lnTo>
                    <a:pt x="156" y="984"/>
                  </a:lnTo>
                  <a:lnTo>
                    <a:pt x="162" y="978"/>
                  </a:lnTo>
                  <a:lnTo>
                    <a:pt x="162" y="972"/>
                  </a:lnTo>
                  <a:lnTo>
                    <a:pt x="150" y="966"/>
                  </a:lnTo>
                  <a:lnTo>
                    <a:pt x="144" y="966"/>
                  </a:lnTo>
                  <a:lnTo>
                    <a:pt x="138" y="966"/>
                  </a:lnTo>
                  <a:lnTo>
                    <a:pt x="138" y="954"/>
                  </a:lnTo>
                  <a:lnTo>
                    <a:pt x="132" y="954"/>
                  </a:lnTo>
                  <a:lnTo>
                    <a:pt x="138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8" y="924"/>
                  </a:lnTo>
                  <a:lnTo>
                    <a:pt x="132" y="930"/>
                  </a:lnTo>
                  <a:lnTo>
                    <a:pt x="132" y="924"/>
                  </a:lnTo>
                  <a:lnTo>
                    <a:pt x="126" y="918"/>
                  </a:lnTo>
                  <a:lnTo>
                    <a:pt x="132" y="918"/>
                  </a:lnTo>
                  <a:lnTo>
                    <a:pt x="132" y="912"/>
                  </a:lnTo>
                  <a:lnTo>
                    <a:pt x="126" y="912"/>
                  </a:lnTo>
                  <a:lnTo>
                    <a:pt x="120" y="912"/>
                  </a:lnTo>
                  <a:lnTo>
                    <a:pt x="120" y="918"/>
                  </a:lnTo>
                  <a:lnTo>
                    <a:pt x="114" y="918"/>
                  </a:lnTo>
                  <a:lnTo>
                    <a:pt x="114" y="912"/>
                  </a:lnTo>
                  <a:lnTo>
                    <a:pt x="108" y="912"/>
                  </a:lnTo>
                  <a:lnTo>
                    <a:pt x="102" y="912"/>
                  </a:lnTo>
                  <a:lnTo>
                    <a:pt x="108" y="906"/>
                  </a:lnTo>
                  <a:lnTo>
                    <a:pt x="102" y="906"/>
                  </a:lnTo>
                  <a:lnTo>
                    <a:pt x="96" y="906"/>
                  </a:lnTo>
                  <a:lnTo>
                    <a:pt x="96" y="912"/>
                  </a:lnTo>
                  <a:lnTo>
                    <a:pt x="90" y="918"/>
                  </a:lnTo>
                  <a:lnTo>
                    <a:pt x="90" y="912"/>
                  </a:lnTo>
                  <a:lnTo>
                    <a:pt x="84" y="912"/>
                  </a:lnTo>
                  <a:lnTo>
                    <a:pt x="84" y="918"/>
                  </a:lnTo>
                  <a:lnTo>
                    <a:pt x="78" y="918"/>
                  </a:lnTo>
                  <a:lnTo>
                    <a:pt x="78" y="912"/>
                  </a:lnTo>
                  <a:lnTo>
                    <a:pt x="78" y="906"/>
                  </a:lnTo>
                  <a:lnTo>
                    <a:pt x="72" y="900"/>
                  </a:lnTo>
                  <a:lnTo>
                    <a:pt x="78" y="900"/>
                  </a:lnTo>
                  <a:lnTo>
                    <a:pt x="72" y="900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8" y="888"/>
                  </a:lnTo>
                  <a:lnTo>
                    <a:pt x="72" y="888"/>
                  </a:lnTo>
                  <a:lnTo>
                    <a:pt x="72" y="882"/>
                  </a:lnTo>
                  <a:lnTo>
                    <a:pt x="66" y="876"/>
                  </a:lnTo>
                  <a:lnTo>
                    <a:pt x="60" y="882"/>
                  </a:lnTo>
                  <a:lnTo>
                    <a:pt x="54" y="876"/>
                  </a:lnTo>
                  <a:lnTo>
                    <a:pt x="54" y="882"/>
                  </a:lnTo>
                  <a:lnTo>
                    <a:pt x="48" y="882"/>
                  </a:lnTo>
                  <a:lnTo>
                    <a:pt x="42" y="870"/>
                  </a:lnTo>
                  <a:lnTo>
                    <a:pt x="42" y="864"/>
                  </a:lnTo>
                  <a:lnTo>
                    <a:pt x="36" y="858"/>
                  </a:lnTo>
                  <a:lnTo>
                    <a:pt x="36" y="852"/>
                  </a:lnTo>
                  <a:lnTo>
                    <a:pt x="30" y="852"/>
                  </a:lnTo>
                  <a:lnTo>
                    <a:pt x="30" y="846"/>
                  </a:lnTo>
                  <a:lnTo>
                    <a:pt x="24" y="846"/>
                  </a:lnTo>
                  <a:lnTo>
                    <a:pt x="18" y="840"/>
                  </a:lnTo>
                  <a:lnTo>
                    <a:pt x="12" y="834"/>
                  </a:lnTo>
                  <a:lnTo>
                    <a:pt x="0" y="828"/>
                  </a:lnTo>
                  <a:lnTo>
                    <a:pt x="0" y="822"/>
                  </a:lnTo>
                  <a:lnTo>
                    <a:pt x="0" y="816"/>
                  </a:lnTo>
                  <a:lnTo>
                    <a:pt x="0" y="810"/>
                  </a:lnTo>
                  <a:lnTo>
                    <a:pt x="6" y="804"/>
                  </a:lnTo>
                  <a:lnTo>
                    <a:pt x="12" y="804"/>
                  </a:lnTo>
                  <a:lnTo>
                    <a:pt x="12" y="798"/>
                  </a:lnTo>
                  <a:lnTo>
                    <a:pt x="12" y="792"/>
                  </a:lnTo>
                  <a:lnTo>
                    <a:pt x="6" y="792"/>
                  </a:lnTo>
                  <a:lnTo>
                    <a:pt x="6" y="786"/>
                  </a:lnTo>
                  <a:lnTo>
                    <a:pt x="6" y="780"/>
                  </a:lnTo>
                  <a:lnTo>
                    <a:pt x="18" y="780"/>
                  </a:lnTo>
                  <a:lnTo>
                    <a:pt x="18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0" y="774"/>
                  </a:lnTo>
                  <a:lnTo>
                    <a:pt x="36" y="768"/>
                  </a:lnTo>
                  <a:lnTo>
                    <a:pt x="42" y="768"/>
                  </a:lnTo>
                  <a:lnTo>
                    <a:pt x="60" y="750"/>
                  </a:lnTo>
                  <a:lnTo>
                    <a:pt x="60" y="744"/>
                  </a:lnTo>
                  <a:lnTo>
                    <a:pt x="54" y="738"/>
                  </a:lnTo>
                  <a:lnTo>
                    <a:pt x="60" y="732"/>
                  </a:lnTo>
                  <a:lnTo>
                    <a:pt x="54" y="732"/>
                  </a:lnTo>
                  <a:lnTo>
                    <a:pt x="60" y="726"/>
                  </a:lnTo>
                  <a:lnTo>
                    <a:pt x="66" y="720"/>
                  </a:lnTo>
                  <a:lnTo>
                    <a:pt x="72" y="714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84" y="696"/>
                  </a:lnTo>
                  <a:lnTo>
                    <a:pt x="90" y="684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66"/>
                  </a:lnTo>
                  <a:lnTo>
                    <a:pt x="90" y="660"/>
                  </a:lnTo>
                  <a:lnTo>
                    <a:pt x="84" y="654"/>
                  </a:lnTo>
                  <a:lnTo>
                    <a:pt x="84" y="648"/>
                  </a:lnTo>
                  <a:lnTo>
                    <a:pt x="78" y="636"/>
                  </a:lnTo>
                  <a:lnTo>
                    <a:pt x="66" y="630"/>
                  </a:lnTo>
                  <a:lnTo>
                    <a:pt x="66" y="624"/>
                  </a:lnTo>
                  <a:lnTo>
                    <a:pt x="60" y="624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60" y="600"/>
                  </a:lnTo>
                  <a:lnTo>
                    <a:pt x="66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6" y="588"/>
                  </a:lnTo>
                  <a:lnTo>
                    <a:pt x="66" y="582"/>
                  </a:lnTo>
                  <a:lnTo>
                    <a:pt x="72" y="582"/>
                  </a:lnTo>
                  <a:lnTo>
                    <a:pt x="78" y="576"/>
                  </a:lnTo>
                  <a:lnTo>
                    <a:pt x="72" y="576"/>
                  </a:lnTo>
                  <a:lnTo>
                    <a:pt x="66" y="570"/>
                  </a:lnTo>
                  <a:lnTo>
                    <a:pt x="72" y="564"/>
                  </a:lnTo>
                  <a:lnTo>
                    <a:pt x="78" y="558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90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102" y="516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0" y="504"/>
                  </a:lnTo>
                  <a:lnTo>
                    <a:pt x="120" y="498"/>
                  </a:lnTo>
                  <a:lnTo>
                    <a:pt x="120" y="492"/>
                  </a:lnTo>
                  <a:lnTo>
                    <a:pt x="126" y="480"/>
                  </a:lnTo>
                  <a:lnTo>
                    <a:pt x="132" y="474"/>
                  </a:lnTo>
                  <a:lnTo>
                    <a:pt x="132" y="468"/>
                  </a:lnTo>
                  <a:lnTo>
                    <a:pt x="138" y="462"/>
                  </a:lnTo>
                  <a:lnTo>
                    <a:pt x="138" y="456"/>
                  </a:lnTo>
                  <a:lnTo>
                    <a:pt x="138" y="450"/>
                  </a:lnTo>
                  <a:lnTo>
                    <a:pt x="144" y="444"/>
                  </a:lnTo>
                  <a:lnTo>
                    <a:pt x="162" y="438"/>
                  </a:lnTo>
                  <a:lnTo>
                    <a:pt x="186" y="438"/>
                  </a:lnTo>
                  <a:lnTo>
                    <a:pt x="210" y="444"/>
                  </a:lnTo>
                  <a:lnTo>
                    <a:pt x="276" y="450"/>
                  </a:lnTo>
                  <a:lnTo>
                    <a:pt x="342" y="450"/>
                  </a:lnTo>
                  <a:lnTo>
                    <a:pt x="348" y="450"/>
                  </a:lnTo>
                  <a:lnTo>
                    <a:pt x="354" y="450"/>
                  </a:lnTo>
                  <a:lnTo>
                    <a:pt x="360" y="456"/>
                  </a:lnTo>
                  <a:lnTo>
                    <a:pt x="354" y="462"/>
                  </a:lnTo>
                  <a:lnTo>
                    <a:pt x="354" y="468"/>
                  </a:lnTo>
                  <a:lnTo>
                    <a:pt x="354" y="474"/>
                  </a:lnTo>
                  <a:lnTo>
                    <a:pt x="348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48" y="498"/>
                  </a:lnTo>
                  <a:lnTo>
                    <a:pt x="342" y="510"/>
                  </a:lnTo>
                  <a:lnTo>
                    <a:pt x="348" y="528"/>
                  </a:lnTo>
                  <a:lnTo>
                    <a:pt x="348" y="534"/>
                  </a:lnTo>
                  <a:lnTo>
                    <a:pt x="354" y="552"/>
                  </a:lnTo>
                  <a:lnTo>
                    <a:pt x="366" y="546"/>
                  </a:lnTo>
                  <a:lnTo>
                    <a:pt x="372" y="540"/>
                  </a:lnTo>
                  <a:lnTo>
                    <a:pt x="384" y="540"/>
                  </a:lnTo>
                  <a:lnTo>
                    <a:pt x="396" y="534"/>
                  </a:lnTo>
                  <a:lnTo>
                    <a:pt x="402" y="534"/>
                  </a:lnTo>
                  <a:lnTo>
                    <a:pt x="414" y="546"/>
                  </a:lnTo>
                  <a:lnTo>
                    <a:pt x="432" y="540"/>
                  </a:lnTo>
                  <a:lnTo>
                    <a:pt x="450" y="534"/>
                  </a:lnTo>
                  <a:lnTo>
                    <a:pt x="450" y="528"/>
                  </a:lnTo>
                  <a:lnTo>
                    <a:pt x="456" y="528"/>
                  </a:lnTo>
                  <a:lnTo>
                    <a:pt x="456" y="522"/>
                  </a:lnTo>
                  <a:lnTo>
                    <a:pt x="456" y="516"/>
                  </a:lnTo>
                  <a:lnTo>
                    <a:pt x="462" y="516"/>
                  </a:lnTo>
                  <a:lnTo>
                    <a:pt x="468" y="510"/>
                  </a:lnTo>
                  <a:lnTo>
                    <a:pt x="468" y="504"/>
                  </a:lnTo>
                  <a:lnTo>
                    <a:pt x="474" y="504"/>
                  </a:lnTo>
                  <a:lnTo>
                    <a:pt x="480" y="504"/>
                  </a:lnTo>
                  <a:lnTo>
                    <a:pt x="486" y="498"/>
                  </a:lnTo>
                  <a:lnTo>
                    <a:pt x="492" y="498"/>
                  </a:lnTo>
                  <a:lnTo>
                    <a:pt x="486" y="480"/>
                  </a:lnTo>
                  <a:lnTo>
                    <a:pt x="492" y="462"/>
                  </a:lnTo>
                  <a:lnTo>
                    <a:pt x="498" y="444"/>
                  </a:lnTo>
                  <a:lnTo>
                    <a:pt x="498" y="426"/>
                  </a:lnTo>
                  <a:lnTo>
                    <a:pt x="498" y="420"/>
                  </a:lnTo>
                  <a:lnTo>
                    <a:pt x="504" y="426"/>
                  </a:lnTo>
                  <a:lnTo>
                    <a:pt x="504" y="420"/>
                  </a:lnTo>
                  <a:lnTo>
                    <a:pt x="510" y="420"/>
                  </a:lnTo>
                  <a:lnTo>
                    <a:pt x="510" y="414"/>
                  </a:lnTo>
                  <a:lnTo>
                    <a:pt x="510" y="408"/>
                  </a:lnTo>
                  <a:lnTo>
                    <a:pt x="504" y="402"/>
                  </a:lnTo>
                  <a:lnTo>
                    <a:pt x="504" y="396"/>
                  </a:lnTo>
                  <a:lnTo>
                    <a:pt x="504" y="384"/>
                  </a:lnTo>
                  <a:lnTo>
                    <a:pt x="504" y="378"/>
                  </a:lnTo>
                  <a:lnTo>
                    <a:pt x="504" y="360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510" y="348"/>
                  </a:lnTo>
                  <a:lnTo>
                    <a:pt x="510" y="336"/>
                  </a:lnTo>
                  <a:lnTo>
                    <a:pt x="516" y="330"/>
                  </a:lnTo>
                  <a:lnTo>
                    <a:pt x="522" y="324"/>
                  </a:lnTo>
                  <a:lnTo>
                    <a:pt x="528" y="318"/>
                  </a:lnTo>
                  <a:lnTo>
                    <a:pt x="534" y="312"/>
                  </a:lnTo>
                  <a:lnTo>
                    <a:pt x="534" y="300"/>
                  </a:lnTo>
                  <a:lnTo>
                    <a:pt x="540" y="294"/>
                  </a:lnTo>
                  <a:lnTo>
                    <a:pt x="546" y="288"/>
                  </a:lnTo>
                  <a:lnTo>
                    <a:pt x="552" y="276"/>
                  </a:lnTo>
                  <a:lnTo>
                    <a:pt x="558" y="264"/>
                  </a:lnTo>
                  <a:lnTo>
                    <a:pt x="558" y="258"/>
                  </a:lnTo>
                  <a:lnTo>
                    <a:pt x="558" y="252"/>
                  </a:lnTo>
                  <a:lnTo>
                    <a:pt x="558" y="246"/>
                  </a:lnTo>
                  <a:lnTo>
                    <a:pt x="564" y="246"/>
                  </a:lnTo>
                  <a:lnTo>
                    <a:pt x="564" y="240"/>
                  </a:lnTo>
                  <a:lnTo>
                    <a:pt x="570" y="234"/>
                  </a:lnTo>
                  <a:lnTo>
                    <a:pt x="564" y="216"/>
                  </a:lnTo>
                  <a:lnTo>
                    <a:pt x="564" y="210"/>
                  </a:lnTo>
                  <a:lnTo>
                    <a:pt x="570" y="210"/>
                  </a:lnTo>
                  <a:lnTo>
                    <a:pt x="570" y="204"/>
                  </a:lnTo>
                  <a:lnTo>
                    <a:pt x="570" y="198"/>
                  </a:lnTo>
                  <a:lnTo>
                    <a:pt x="582" y="180"/>
                  </a:lnTo>
                  <a:lnTo>
                    <a:pt x="582" y="174"/>
                  </a:lnTo>
                  <a:lnTo>
                    <a:pt x="582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606" y="150"/>
                  </a:lnTo>
                  <a:lnTo>
                    <a:pt x="612" y="150"/>
                  </a:lnTo>
                  <a:lnTo>
                    <a:pt x="618" y="150"/>
                  </a:lnTo>
                  <a:lnTo>
                    <a:pt x="624" y="138"/>
                  </a:lnTo>
                  <a:lnTo>
                    <a:pt x="618" y="132"/>
                  </a:lnTo>
                  <a:lnTo>
                    <a:pt x="618" y="126"/>
                  </a:lnTo>
                  <a:lnTo>
                    <a:pt x="618" y="120"/>
                  </a:lnTo>
                  <a:lnTo>
                    <a:pt x="618" y="114"/>
                  </a:lnTo>
                  <a:lnTo>
                    <a:pt x="612" y="108"/>
                  </a:lnTo>
                  <a:lnTo>
                    <a:pt x="612" y="102"/>
                  </a:lnTo>
                  <a:lnTo>
                    <a:pt x="618" y="90"/>
                  </a:lnTo>
                  <a:lnTo>
                    <a:pt x="624" y="84"/>
                  </a:lnTo>
                  <a:lnTo>
                    <a:pt x="618" y="84"/>
                  </a:lnTo>
                  <a:lnTo>
                    <a:pt x="618" y="78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0" y="72"/>
                  </a:lnTo>
                  <a:lnTo>
                    <a:pt x="600" y="66"/>
                  </a:lnTo>
                  <a:lnTo>
                    <a:pt x="600" y="60"/>
                  </a:lnTo>
                  <a:lnTo>
                    <a:pt x="600" y="48"/>
                  </a:lnTo>
                  <a:lnTo>
                    <a:pt x="612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36"/>
                  </a:lnTo>
                  <a:lnTo>
                    <a:pt x="630" y="30"/>
                  </a:lnTo>
                  <a:lnTo>
                    <a:pt x="636" y="24"/>
                  </a:lnTo>
                  <a:lnTo>
                    <a:pt x="642" y="24"/>
                  </a:lnTo>
                  <a:lnTo>
                    <a:pt x="648" y="24"/>
                  </a:lnTo>
                  <a:lnTo>
                    <a:pt x="648" y="18"/>
                  </a:lnTo>
                  <a:lnTo>
                    <a:pt x="654" y="12"/>
                  </a:lnTo>
                  <a:lnTo>
                    <a:pt x="660" y="0"/>
                  </a:lnTo>
                  <a:lnTo>
                    <a:pt x="678" y="0"/>
                  </a:lnTo>
                  <a:lnTo>
                    <a:pt x="696" y="0"/>
                  </a:lnTo>
                  <a:lnTo>
                    <a:pt x="702" y="0"/>
                  </a:lnTo>
                  <a:lnTo>
                    <a:pt x="714" y="0"/>
                  </a:lnTo>
                  <a:lnTo>
                    <a:pt x="720" y="6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44" y="24"/>
                  </a:lnTo>
                  <a:lnTo>
                    <a:pt x="744" y="30"/>
                  </a:lnTo>
                  <a:lnTo>
                    <a:pt x="732" y="42"/>
                  </a:lnTo>
                  <a:lnTo>
                    <a:pt x="726" y="42"/>
                  </a:lnTo>
                  <a:lnTo>
                    <a:pt x="720" y="42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54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90"/>
                  </a:lnTo>
                  <a:lnTo>
                    <a:pt x="726" y="84"/>
                  </a:lnTo>
                  <a:lnTo>
                    <a:pt x="738" y="84"/>
                  </a:lnTo>
                  <a:lnTo>
                    <a:pt x="750" y="96"/>
                  </a:lnTo>
                  <a:lnTo>
                    <a:pt x="768" y="96"/>
                  </a:lnTo>
                  <a:lnTo>
                    <a:pt x="768" y="90"/>
                  </a:lnTo>
                  <a:lnTo>
                    <a:pt x="774" y="84"/>
                  </a:lnTo>
                  <a:lnTo>
                    <a:pt x="780" y="78"/>
                  </a:lnTo>
                  <a:lnTo>
                    <a:pt x="786" y="78"/>
                  </a:lnTo>
                  <a:lnTo>
                    <a:pt x="792" y="72"/>
                  </a:lnTo>
                  <a:lnTo>
                    <a:pt x="804" y="72"/>
                  </a:lnTo>
                  <a:lnTo>
                    <a:pt x="804" y="66"/>
                  </a:lnTo>
                  <a:lnTo>
                    <a:pt x="810" y="66"/>
                  </a:lnTo>
                  <a:lnTo>
                    <a:pt x="810" y="72"/>
                  </a:lnTo>
                  <a:lnTo>
                    <a:pt x="816" y="66"/>
                  </a:lnTo>
                  <a:lnTo>
                    <a:pt x="828" y="66"/>
                  </a:lnTo>
                  <a:lnTo>
                    <a:pt x="834" y="72"/>
                  </a:lnTo>
                  <a:lnTo>
                    <a:pt x="840" y="72"/>
                  </a:lnTo>
                  <a:lnTo>
                    <a:pt x="840" y="78"/>
                  </a:lnTo>
                  <a:lnTo>
                    <a:pt x="840" y="84"/>
                  </a:lnTo>
                  <a:lnTo>
                    <a:pt x="852" y="84"/>
                  </a:lnTo>
                  <a:lnTo>
                    <a:pt x="858" y="96"/>
                  </a:lnTo>
                  <a:lnTo>
                    <a:pt x="864" y="108"/>
                  </a:lnTo>
                  <a:lnTo>
                    <a:pt x="876" y="114"/>
                  </a:lnTo>
                  <a:lnTo>
                    <a:pt x="894" y="114"/>
                  </a:lnTo>
                  <a:lnTo>
                    <a:pt x="906" y="114"/>
                  </a:lnTo>
                  <a:lnTo>
                    <a:pt x="906" y="126"/>
                  </a:lnTo>
                  <a:lnTo>
                    <a:pt x="912" y="144"/>
                  </a:lnTo>
                  <a:lnTo>
                    <a:pt x="930" y="138"/>
                  </a:lnTo>
                  <a:lnTo>
                    <a:pt x="936" y="138"/>
                  </a:lnTo>
                  <a:lnTo>
                    <a:pt x="942" y="144"/>
                  </a:lnTo>
                  <a:lnTo>
                    <a:pt x="948" y="150"/>
                  </a:lnTo>
                  <a:lnTo>
                    <a:pt x="954" y="156"/>
                  </a:lnTo>
                  <a:lnTo>
                    <a:pt x="954" y="168"/>
                  </a:lnTo>
                  <a:lnTo>
                    <a:pt x="954" y="174"/>
                  </a:lnTo>
                  <a:lnTo>
                    <a:pt x="960" y="180"/>
                  </a:lnTo>
                  <a:lnTo>
                    <a:pt x="966" y="186"/>
                  </a:lnTo>
                  <a:lnTo>
                    <a:pt x="960" y="186"/>
                  </a:lnTo>
                  <a:lnTo>
                    <a:pt x="966" y="192"/>
                  </a:lnTo>
                  <a:lnTo>
                    <a:pt x="966" y="198"/>
                  </a:lnTo>
                  <a:lnTo>
                    <a:pt x="978" y="204"/>
                  </a:lnTo>
                  <a:lnTo>
                    <a:pt x="1050" y="186"/>
                  </a:lnTo>
                  <a:lnTo>
                    <a:pt x="1056" y="198"/>
                  </a:lnTo>
                  <a:lnTo>
                    <a:pt x="1068" y="210"/>
                  </a:lnTo>
                  <a:lnTo>
                    <a:pt x="1074" y="216"/>
                  </a:lnTo>
                  <a:lnTo>
                    <a:pt x="1080" y="252"/>
                  </a:lnTo>
                  <a:lnTo>
                    <a:pt x="1086" y="270"/>
                  </a:lnTo>
                  <a:lnTo>
                    <a:pt x="1092" y="282"/>
                  </a:lnTo>
                  <a:lnTo>
                    <a:pt x="1086" y="300"/>
                  </a:lnTo>
                  <a:lnTo>
                    <a:pt x="1074" y="330"/>
                  </a:lnTo>
                  <a:lnTo>
                    <a:pt x="1068" y="336"/>
                  </a:lnTo>
                  <a:lnTo>
                    <a:pt x="1062" y="348"/>
                  </a:lnTo>
                  <a:lnTo>
                    <a:pt x="1062" y="360"/>
                  </a:lnTo>
                  <a:lnTo>
                    <a:pt x="1068" y="378"/>
                  </a:lnTo>
                  <a:lnTo>
                    <a:pt x="1074" y="390"/>
                  </a:lnTo>
                  <a:lnTo>
                    <a:pt x="1068" y="396"/>
                  </a:lnTo>
                  <a:lnTo>
                    <a:pt x="1068" y="408"/>
                  </a:lnTo>
                  <a:lnTo>
                    <a:pt x="1062" y="414"/>
                  </a:lnTo>
                  <a:lnTo>
                    <a:pt x="1050" y="432"/>
                  </a:lnTo>
                  <a:lnTo>
                    <a:pt x="1044" y="450"/>
                  </a:lnTo>
                  <a:lnTo>
                    <a:pt x="1038" y="456"/>
                  </a:lnTo>
                  <a:lnTo>
                    <a:pt x="1026" y="468"/>
                  </a:lnTo>
                  <a:lnTo>
                    <a:pt x="1026" y="474"/>
                  </a:lnTo>
                  <a:lnTo>
                    <a:pt x="1026" y="480"/>
                  </a:lnTo>
                  <a:lnTo>
                    <a:pt x="1032" y="492"/>
                  </a:lnTo>
                  <a:lnTo>
                    <a:pt x="1044" y="504"/>
                  </a:lnTo>
                  <a:lnTo>
                    <a:pt x="1044" y="516"/>
                  </a:lnTo>
                  <a:lnTo>
                    <a:pt x="1038" y="528"/>
                  </a:lnTo>
                  <a:lnTo>
                    <a:pt x="1032" y="546"/>
                  </a:lnTo>
                  <a:lnTo>
                    <a:pt x="1032" y="570"/>
                  </a:lnTo>
                  <a:lnTo>
                    <a:pt x="1050" y="594"/>
                  </a:lnTo>
                  <a:lnTo>
                    <a:pt x="1056" y="624"/>
                  </a:lnTo>
                  <a:lnTo>
                    <a:pt x="1056" y="65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9" name="Freeform 24">
              <a:extLst>
                <a:ext uri="{FF2B5EF4-FFF2-40B4-BE49-F238E27FC236}">
                  <a16:creationId xmlns:a16="http://schemas.microsoft.com/office/drawing/2014/main" id="{CAE689DA-332A-4F73-BDE6-8865C9170AA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84829" y="3213406"/>
              <a:ext cx="851989" cy="744754"/>
            </a:xfrm>
            <a:custGeom>
              <a:avLst/>
              <a:gdLst>
                <a:gd name="T0" fmla="*/ 116 w 1602"/>
                <a:gd name="T1" fmla="*/ 91 h 1404"/>
                <a:gd name="T2" fmla="*/ 111 w 1602"/>
                <a:gd name="T3" fmla="*/ 95 h 1404"/>
                <a:gd name="T4" fmla="*/ 102 w 1602"/>
                <a:gd name="T5" fmla="*/ 101 h 1404"/>
                <a:gd name="T6" fmla="*/ 99 w 1602"/>
                <a:gd name="T7" fmla="*/ 103 h 1404"/>
                <a:gd name="T8" fmla="*/ 96 w 1602"/>
                <a:gd name="T9" fmla="*/ 106 h 1404"/>
                <a:gd name="T10" fmla="*/ 93 w 1602"/>
                <a:gd name="T11" fmla="*/ 108 h 1404"/>
                <a:gd name="T12" fmla="*/ 88 w 1602"/>
                <a:gd name="T13" fmla="*/ 106 h 1404"/>
                <a:gd name="T14" fmla="*/ 86 w 1602"/>
                <a:gd name="T15" fmla="*/ 108 h 1404"/>
                <a:gd name="T16" fmla="*/ 81 w 1602"/>
                <a:gd name="T17" fmla="*/ 119 h 1404"/>
                <a:gd name="T18" fmla="*/ 71 w 1602"/>
                <a:gd name="T19" fmla="*/ 109 h 1404"/>
                <a:gd name="T20" fmla="*/ 72 w 1602"/>
                <a:gd name="T21" fmla="*/ 101 h 1404"/>
                <a:gd name="T22" fmla="*/ 74 w 1602"/>
                <a:gd name="T23" fmla="*/ 93 h 1404"/>
                <a:gd name="T24" fmla="*/ 73 w 1602"/>
                <a:gd name="T25" fmla="*/ 82 h 1404"/>
                <a:gd name="T26" fmla="*/ 64 w 1602"/>
                <a:gd name="T27" fmla="*/ 79 h 1404"/>
                <a:gd name="T28" fmla="*/ 59 w 1602"/>
                <a:gd name="T29" fmla="*/ 75 h 1404"/>
                <a:gd name="T30" fmla="*/ 54 w 1602"/>
                <a:gd name="T31" fmla="*/ 71 h 1404"/>
                <a:gd name="T32" fmla="*/ 51 w 1602"/>
                <a:gd name="T33" fmla="*/ 70 h 1404"/>
                <a:gd name="T34" fmla="*/ 45 w 1602"/>
                <a:gd name="T35" fmla="*/ 71 h 1404"/>
                <a:gd name="T36" fmla="*/ 43 w 1602"/>
                <a:gd name="T37" fmla="*/ 68 h 1404"/>
                <a:gd name="T38" fmla="*/ 43 w 1602"/>
                <a:gd name="T39" fmla="*/ 64 h 1404"/>
                <a:gd name="T40" fmla="*/ 36 w 1602"/>
                <a:gd name="T41" fmla="*/ 66 h 1404"/>
                <a:gd name="T42" fmla="*/ 31 w 1602"/>
                <a:gd name="T43" fmla="*/ 55 h 1404"/>
                <a:gd name="T44" fmla="*/ 25 w 1602"/>
                <a:gd name="T45" fmla="*/ 53 h 1404"/>
                <a:gd name="T46" fmla="*/ 19 w 1602"/>
                <a:gd name="T47" fmla="*/ 51 h 1404"/>
                <a:gd name="T48" fmla="*/ 17 w 1602"/>
                <a:gd name="T49" fmla="*/ 43 h 1404"/>
                <a:gd name="T50" fmla="*/ 17 w 1602"/>
                <a:gd name="T51" fmla="*/ 39 h 1404"/>
                <a:gd name="T52" fmla="*/ 12 w 1602"/>
                <a:gd name="T53" fmla="*/ 39 h 1404"/>
                <a:gd name="T54" fmla="*/ 10 w 1602"/>
                <a:gd name="T55" fmla="*/ 35 h 1404"/>
                <a:gd name="T56" fmla="*/ 5 w 1602"/>
                <a:gd name="T57" fmla="*/ 30 h 1404"/>
                <a:gd name="T58" fmla="*/ 3 w 1602"/>
                <a:gd name="T59" fmla="*/ 27 h 1404"/>
                <a:gd name="T60" fmla="*/ 2 w 1602"/>
                <a:gd name="T61" fmla="*/ 25 h 1404"/>
                <a:gd name="T62" fmla="*/ 0 w 1602"/>
                <a:gd name="T63" fmla="*/ 22 h 1404"/>
                <a:gd name="T64" fmla="*/ 8 w 1602"/>
                <a:gd name="T65" fmla="*/ 14 h 1404"/>
                <a:gd name="T66" fmla="*/ 16 w 1602"/>
                <a:gd name="T67" fmla="*/ 16 h 1404"/>
                <a:gd name="T68" fmla="*/ 31 w 1602"/>
                <a:gd name="T69" fmla="*/ 18 h 1404"/>
                <a:gd name="T70" fmla="*/ 43 w 1602"/>
                <a:gd name="T71" fmla="*/ 17 h 1404"/>
                <a:gd name="T72" fmla="*/ 47 w 1602"/>
                <a:gd name="T73" fmla="*/ 6 h 1404"/>
                <a:gd name="T74" fmla="*/ 52 w 1602"/>
                <a:gd name="T75" fmla="*/ 0 h 1404"/>
                <a:gd name="T76" fmla="*/ 55 w 1602"/>
                <a:gd name="T77" fmla="*/ 3 h 1404"/>
                <a:gd name="T78" fmla="*/ 59 w 1602"/>
                <a:gd name="T79" fmla="*/ 9 h 1404"/>
                <a:gd name="T80" fmla="*/ 62 w 1602"/>
                <a:gd name="T81" fmla="*/ 16 h 1404"/>
                <a:gd name="T82" fmla="*/ 66 w 1602"/>
                <a:gd name="T83" fmla="*/ 20 h 1404"/>
                <a:gd name="T84" fmla="*/ 70 w 1602"/>
                <a:gd name="T85" fmla="*/ 25 h 1404"/>
                <a:gd name="T86" fmla="*/ 74 w 1602"/>
                <a:gd name="T87" fmla="*/ 30 h 1404"/>
                <a:gd name="T88" fmla="*/ 76 w 1602"/>
                <a:gd name="T89" fmla="*/ 27 h 1404"/>
                <a:gd name="T90" fmla="*/ 78 w 1602"/>
                <a:gd name="T91" fmla="*/ 27 h 1404"/>
                <a:gd name="T92" fmla="*/ 78 w 1602"/>
                <a:gd name="T93" fmla="*/ 23 h 1404"/>
                <a:gd name="T94" fmla="*/ 82 w 1602"/>
                <a:gd name="T95" fmla="*/ 20 h 1404"/>
                <a:gd name="T96" fmla="*/ 82 w 1602"/>
                <a:gd name="T97" fmla="*/ 18 h 1404"/>
                <a:gd name="T98" fmla="*/ 90 w 1602"/>
                <a:gd name="T99" fmla="*/ 24 h 1404"/>
                <a:gd name="T100" fmla="*/ 90 w 1602"/>
                <a:gd name="T101" fmla="*/ 45 h 1404"/>
                <a:gd name="T102" fmla="*/ 104 w 1602"/>
                <a:gd name="T103" fmla="*/ 41 h 1404"/>
                <a:gd name="T104" fmla="*/ 117 w 1602"/>
                <a:gd name="T105" fmla="*/ 39 h 1404"/>
                <a:gd name="T106" fmla="*/ 125 w 1602"/>
                <a:gd name="T107" fmla="*/ 39 h 1404"/>
                <a:gd name="T108" fmla="*/ 127 w 1602"/>
                <a:gd name="T109" fmla="*/ 43 h 1404"/>
                <a:gd name="T110" fmla="*/ 131 w 1602"/>
                <a:gd name="T111" fmla="*/ 53 h 1404"/>
                <a:gd name="T112" fmla="*/ 133 w 1602"/>
                <a:gd name="T113" fmla="*/ 60 h 1404"/>
                <a:gd name="T114" fmla="*/ 138 w 1602"/>
                <a:gd name="T115" fmla="*/ 73 h 1404"/>
                <a:gd name="T116" fmla="*/ 136 w 1602"/>
                <a:gd name="T117" fmla="*/ 80 h 1404"/>
                <a:gd name="T118" fmla="*/ 129 w 1602"/>
                <a:gd name="T119" fmla="*/ 87 h 1404"/>
                <a:gd name="T120" fmla="*/ 123 w 1602"/>
                <a:gd name="T121" fmla="*/ 95 h 14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02"/>
                <a:gd name="T184" fmla="*/ 0 h 1404"/>
                <a:gd name="T185" fmla="*/ 1602 w 1602"/>
                <a:gd name="T186" fmla="*/ 1404 h 14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02" h="1404">
                  <a:moveTo>
                    <a:pt x="1392" y="1080"/>
                  </a:moveTo>
                  <a:lnTo>
                    <a:pt x="1380" y="1074"/>
                  </a:lnTo>
                  <a:lnTo>
                    <a:pt x="1368" y="1056"/>
                  </a:lnTo>
                  <a:lnTo>
                    <a:pt x="1356" y="1044"/>
                  </a:lnTo>
                  <a:lnTo>
                    <a:pt x="1344" y="1038"/>
                  </a:lnTo>
                  <a:lnTo>
                    <a:pt x="1338" y="1038"/>
                  </a:lnTo>
                  <a:lnTo>
                    <a:pt x="1332" y="1038"/>
                  </a:lnTo>
                  <a:lnTo>
                    <a:pt x="1326" y="1044"/>
                  </a:lnTo>
                  <a:lnTo>
                    <a:pt x="1320" y="1044"/>
                  </a:lnTo>
                  <a:lnTo>
                    <a:pt x="1314" y="1044"/>
                  </a:lnTo>
                  <a:lnTo>
                    <a:pt x="1296" y="1056"/>
                  </a:lnTo>
                  <a:lnTo>
                    <a:pt x="1296" y="1080"/>
                  </a:lnTo>
                  <a:lnTo>
                    <a:pt x="1290" y="1080"/>
                  </a:lnTo>
                  <a:lnTo>
                    <a:pt x="1284" y="1086"/>
                  </a:lnTo>
                  <a:lnTo>
                    <a:pt x="1278" y="1086"/>
                  </a:lnTo>
                  <a:lnTo>
                    <a:pt x="1278" y="1092"/>
                  </a:lnTo>
                  <a:lnTo>
                    <a:pt x="1272" y="1092"/>
                  </a:lnTo>
                  <a:lnTo>
                    <a:pt x="1266" y="1086"/>
                  </a:lnTo>
                  <a:lnTo>
                    <a:pt x="1260" y="1086"/>
                  </a:lnTo>
                  <a:lnTo>
                    <a:pt x="1260" y="1098"/>
                  </a:lnTo>
                  <a:lnTo>
                    <a:pt x="1248" y="1098"/>
                  </a:lnTo>
                  <a:lnTo>
                    <a:pt x="1212" y="1116"/>
                  </a:lnTo>
                  <a:lnTo>
                    <a:pt x="1206" y="1158"/>
                  </a:lnTo>
                  <a:lnTo>
                    <a:pt x="1176" y="1164"/>
                  </a:lnTo>
                  <a:lnTo>
                    <a:pt x="1158" y="1164"/>
                  </a:lnTo>
                  <a:lnTo>
                    <a:pt x="1152" y="1164"/>
                  </a:lnTo>
                  <a:lnTo>
                    <a:pt x="1152" y="1170"/>
                  </a:lnTo>
                  <a:lnTo>
                    <a:pt x="1152" y="1176"/>
                  </a:lnTo>
                  <a:lnTo>
                    <a:pt x="1146" y="1176"/>
                  </a:lnTo>
                  <a:lnTo>
                    <a:pt x="1140" y="1176"/>
                  </a:lnTo>
                  <a:lnTo>
                    <a:pt x="1134" y="1182"/>
                  </a:lnTo>
                  <a:lnTo>
                    <a:pt x="1134" y="1188"/>
                  </a:lnTo>
                  <a:lnTo>
                    <a:pt x="1128" y="1194"/>
                  </a:lnTo>
                  <a:lnTo>
                    <a:pt x="1122" y="1194"/>
                  </a:lnTo>
                  <a:lnTo>
                    <a:pt x="1116" y="1194"/>
                  </a:lnTo>
                  <a:lnTo>
                    <a:pt x="1110" y="1200"/>
                  </a:lnTo>
                  <a:lnTo>
                    <a:pt x="1110" y="1206"/>
                  </a:lnTo>
                  <a:lnTo>
                    <a:pt x="1104" y="1212"/>
                  </a:lnTo>
                  <a:lnTo>
                    <a:pt x="1104" y="1218"/>
                  </a:lnTo>
                  <a:lnTo>
                    <a:pt x="1098" y="1224"/>
                  </a:lnTo>
                  <a:lnTo>
                    <a:pt x="1092" y="1230"/>
                  </a:lnTo>
                  <a:lnTo>
                    <a:pt x="1086" y="1230"/>
                  </a:lnTo>
                  <a:lnTo>
                    <a:pt x="1080" y="1230"/>
                  </a:lnTo>
                  <a:lnTo>
                    <a:pt x="1080" y="1242"/>
                  </a:lnTo>
                  <a:lnTo>
                    <a:pt x="1074" y="1242"/>
                  </a:lnTo>
                  <a:lnTo>
                    <a:pt x="1068" y="1242"/>
                  </a:lnTo>
                  <a:lnTo>
                    <a:pt x="1068" y="1236"/>
                  </a:lnTo>
                  <a:lnTo>
                    <a:pt x="1062" y="1242"/>
                  </a:lnTo>
                  <a:lnTo>
                    <a:pt x="1056" y="1236"/>
                  </a:lnTo>
                  <a:lnTo>
                    <a:pt x="1050" y="1242"/>
                  </a:lnTo>
                  <a:lnTo>
                    <a:pt x="1050" y="1236"/>
                  </a:lnTo>
                  <a:lnTo>
                    <a:pt x="1044" y="1194"/>
                  </a:lnTo>
                  <a:lnTo>
                    <a:pt x="1032" y="1194"/>
                  </a:lnTo>
                  <a:lnTo>
                    <a:pt x="1032" y="1200"/>
                  </a:lnTo>
                  <a:lnTo>
                    <a:pt x="1026" y="1200"/>
                  </a:lnTo>
                  <a:lnTo>
                    <a:pt x="1014" y="1218"/>
                  </a:lnTo>
                  <a:lnTo>
                    <a:pt x="1014" y="1224"/>
                  </a:lnTo>
                  <a:lnTo>
                    <a:pt x="1014" y="1236"/>
                  </a:lnTo>
                  <a:lnTo>
                    <a:pt x="1014" y="1242"/>
                  </a:lnTo>
                  <a:lnTo>
                    <a:pt x="1008" y="1242"/>
                  </a:lnTo>
                  <a:lnTo>
                    <a:pt x="1002" y="1236"/>
                  </a:lnTo>
                  <a:lnTo>
                    <a:pt x="1002" y="1230"/>
                  </a:lnTo>
                  <a:lnTo>
                    <a:pt x="996" y="1236"/>
                  </a:lnTo>
                  <a:lnTo>
                    <a:pt x="990" y="1236"/>
                  </a:lnTo>
                  <a:lnTo>
                    <a:pt x="990" y="1230"/>
                  </a:lnTo>
                  <a:lnTo>
                    <a:pt x="984" y="1236"/>
                  </a:lnTo>
                  <a:lnTo>
                    <a:pt x="978" y="1248"/>
                  </a:lnTo>
                  <a:lnTo>
                    <a:pt x="972" y="1254"/>
                  </a:lnTo>
                  <a:lnTo>
                    <a:pt x="966" y="1260"/>
                  </a:lnTo>
                  <a:lnTo>
                    <a:pt x="930" y="1284"/>
                  </a:lnTo>
                  <a:lnTo>
                    <a:pt x="942" y="1356"/>
                  </a:lnTo>
                  <a:lnTo>
                    <a:pt x="930" y="1368"/>
                  </a:lnTo>
                  <a:lnTo>
                    <a:pt x="852" y="1404"/>
                  </a:lnTo>
                  <a:lnTo>
                    <a:pt x="834" y="1392"/>
                  </a:lnTo>
                  <a:lnTo>
                    <a:pt x="834" y="1362"/>
                  </a:lnTo>
                  <a:lnTo>
                    <a:pt x="828" y="1332"/>
                  </a:lnTo>
                  <a:lnTo>
                    <a:pt x="810" y="1308"/>
                  </a:lnTo>
                  <a:lnTo>
                    <a:pt x="810" y="1284"/>
                  </a:lnTo>
                  <a:lnTo>
                    <a:pt x="816" y="1266"/>
                  </a:lnTo>
                  <a:lnTo>
                    <a:pt x="822" y="1254"/>
                  </a:lnTo>
                  <a:lnTo>
                    <a:pt x="822" y="1242"/>
                  </a:lnTo>
                  <a:lnTo>
                    <a:pt x="810" y="1230"/>
                  </a:lnTo>
                  <a:lnTo>
                    <a:pt x="804" y="1218"/>
                  </a:lnTo>
                  <a:lnTo>
                    <a:pt x="804" y="1212"/>
                  </a:lnTo>
                  <a:lnTo>
                    <a:pt x="804" y="1206"/>
                  </a:lnTo>
                  <a:lnTo>
                    <a:pt x="816" y="1194"/>
                  </a:lnTo>
                  <a:lnTo>
                    <a:pt x="822" y="1188"/>
                  </a:lnTo>
                  <a:lnTo>
                    <a:pt x="828" y="1170"/>
                  </a:lnTo>
                  <a:lnTo>
                    <a:pt x="840" y="1152"/>
                  </a:lnTo>
                  <a:lnTo>
                    <a:pt x="846" y="1146"/>
                  </a:lnTo>
                  <a:lnTo>
                    <a:pt x="846" y="1134"/>
                  </a:lnTo>
                  <a:lnTo>
                    <a:pt x="852" y="1128"/>
                  </a:lnTo>
                  <a:lnTo>
                    <a:pt x="846" y="1116"/>
                  </a:lnTo>
                  <a:lnTo>
                    <a:pt x="840" y="1098"/>
                  </a:lnTo>
                  <a:lnTo>
                    <a:pt x="840" y="1086"/>
                  </a:lnTo>
                  <a:lnTo>
                    <a:pt x="846" y="1074"/>
                  </a:lnTo>
                  <a:lnTo>
                    <a:pt x="852" y="1068"/>
                  </a:lnTo>
                  <a:lnTo>
                    <a:pt x="864" y="1038"/>
                  </a:lnTo>
                  <a:lnTo>
                    <a:pt x="870" y="1020"/>
                  </a:lnTo>
                  <a:lnTo>
                    <a:pt x="864" y="1008"/>
                  </a:lnTo>
                  <a:lnTo>
                    <a:pt x="858" y="990"/>
                  </a:lnTo>
                  <a:lnTo>
                    <a:pt x="852" y="954"/>
                  </a:lnTo>
                  <a:lnTo>
                    <a:pt x="846" y="948"/>
                  </a:lnTo>
                  <a:lnTo>
                    <a:pt x="834" y="936"/>
                  </a:lnTo>
                  <a:lnTo>
                    <a:pt x="828" y="924"/>
                  </a:lnTo>
                  <a:lnTo>
                    <a:pt x="756" y="942"/>
                  </a:lnTo>
                  <a:lnTo>
                    <a:pt x="744" y="936"/>
                  </a:lnTo>
                  <a:lnTo>
                    <a:pt x="744" y="930"/>
                  </a:lnTo>
                  <a:lnTo>
                    <a:pt x="738" y="924"/>
                  </a:lnTo>
                  <a:lnTo>
                    <a:pt x="744" y="924"/>
                  </a:lnTo>
                  <a:lnTo>
                    <a:pt x="738" y="918"/>
                  </a:lnTo>
                  <a:lnTo>
                    <a:pt x="732" y="912"/>
                  </a:lnTo>
                  <a:lnTo>
                    <a:pt x="732" y="906"/>
                  </a:lnTo>
                  <a:lnTo>
                    <a:pt x="732" y="894"/>
                  </a:lnTo>
                  <a:lnTo>
                    <a:pt x="726" y="888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6"/>
                  </a:lnTo>
                  <a:lnTo>
                    <a:pt x="690" y="882"/>
                  </a:lnTo>
                  <a:lnTo>
                    <a:pt x="684" y="864"/>
                  </a:lnTo>
                  <a:lnTo>
                    <a:pt x="684" y="852"/>
                  </a:lnTo>
                  <a:lnTo>
                    <a:pt x="672" y="852"/>
                  </a:lnTo>
                  <a:lnTo>
                    <a:pt x="654" y="852"/>
                  </a:lnTo>
                  <a:lnTo>
                    <a:pt x="642" y="846"/>
                  </a:lnTo>
                  <a:lnTo>
                    <a:pt x="636" y="834"/>
                  </a:lnTo>
                  <a:lnTo>
                    <a:pt x="630" y="822"/>
                  </a:lnTo>
                  <a:lnTo>
                    <a:pt x="618" y="822"/>
                  </a:lnTo>
                  <a:lnTo>
                    <a:pt x="618" y="816"/>
                  </a:lnTo>
                  <a:lnTo>
                    <a:pt x="618" y="810"/>
                  </a:lnTo>
                  <a:lnTo>
                    <a:pt x="612" y="810"/>
                  </a:lnTo>
                  <a:lnTo>
                    <a:pt x="606" y="804"/>
                  </a:lnTo>
                  <a:lnTo>
                    <a:pt x="594" y="804"/>
                  </a:lnTo>
                  <a:lnTo>
                    <a:pt x="588" y="810"/>
                  </a:lnTo>
                  <a:lnTo>
                    <a:pt x="588" y="804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70" y="810"/>
                  </a:lnTo>
                  <a:lnTo>
                    <a:pt x="564" y="816"/>
                  </a:lnTo>
                  <a:lnTo>
                    <a:pt x="558" y="816"/>
                  </a:lnTo>
                  <a:lnTo>
                    <a:pt x="552" y="822"/>
                  </a:lnTo>
                  <a:lnTo>
                    <a:pt x="546" y="828"/>
                  </a:lnTo>
                  <a:lnTo>
                    <a:pt x="546" y="834"/>
                  </a:lnTo>
                  <a:lnTo>
                    <a:pt x="528" y="834"/>
                  </a:lnTo>
                  <a:lnTo>
                    <a:pt x="516" y="822"/>
                  </a:lnTo>
                  <a:lnTo>
                    <a:pt x="504" y="822"/>
                  </a:lnTo>
                  <a:lnTo>
                    <a:pt x="492" y="82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6" y="792"/>
                  </a:lnTo>
                  <a:lnTo>
                    <a:pt x="492" y="786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504" y="780"/>
                  </a:lnTo>
                  <a:lnTo>
                    <a:pt x="510" y="780"/>
                  </a:lnTo>
                  <a:lnTo>
                    <a:pt x="522" y="768"/>
                  </a:lnTo>
                  <a:lnTo>
                    <a:pt x="522" y="762"/>
                  </a:lnTo>
                  <a:lnTo>
                    <a:pt x="504" y="756"/>
                  </a:lnTo>
                  <a:lnTo>
                    <a:pt x="498" y="756"/>
                  </a:lnTo>
                  <a:lnTo>
                    <a:pt x="498" y="744"/>
                  </a:lnTo>
                  <a:lnTo>
                    <a:pt x="492" y="738"/>
                  </a:lnTo>
                  <a:lnTo>
                    <a:pt x="480" y="738"/>
                  </a:lnTo>
                  <a:lnTo>
                    <a:pt x="474" y="738"/>
                  </a:lnTo>
                  <a:lnTo>
                    <a:pt x="456" y="738"/>
                  </a:lnTo>
                  <a:lnTo>
                    <a:pt x="438" y="738"/>
                  </a:lnTo>
                  <a:lnTo>
                    <a:pt x="432" y="750"/>
                  </a:lnTo>
                  <a:lnTo>
                    <a:pt x="426" y="756"/>
                  </a:lnTo>
                  <a:lnTo>
                    <a:pt x="426" y="762"/>
                  </a:lnTo>
                  <a:lnTo>
                    <a:pt x="420" y="762"/>
                  </a:lnTo>
                  <a:lnTo>
                    <a:pt x="408" y="744"/>
                  </a:lnTo>
                  <a:lnTo>
                    <a:pt x="408" y="732"/>
                  </a:lnTo>
                  <a:lnTo>
                    <a:pt x="390" y="714"/>
                  </a:lnTo>
                  <a:lnTo>
                    <a:pt x="384" y="702"/>
                  </a:lnTo>
                  <a:lnTo>
                    <a:pt x="384" y="690"/>
                  </a:lnTo>
                  <a:lnTo>
                    <a:pt x="372" y="690"/>
                  </a:lnTo>
                  <a:lnTo>
                    <a:pt x="366" y="660"/>
                  </a:lnTo>
                  <a:lnTo>
                    <a:pt x="354" y="630"/>
                  </a:lnTo>
                  <a:lnTo>
                    <a:pt x="348" y="630"/>
                  </a:lnTo>
                  <a:lnTo>
                    <a:pt x="336" y="630"/>
                  </a:lnTo>
                  <a:lnTo>
                    <a:pt x="330" y="630"/>
                  </a:lnTo>
                  <a:lnTo>
                    <a:pt x="318" y="630"/>
                  </a:lnTo>
                  <a:lnTo>
                    <a:pt x="312" y="624"/>
                  </a:lnTo>
                  <a:lnTo>
                    <a:pt x="306" y="624"/>
                  </a:lnTo>
                  <a:lnTo>
                    <a:pt x="294" y="618"/>
                  </a:lnTo>
                  <a:lnTo>
                    <a:pt x="288" y="612"/>
                  </a:lnTo>
                  <a:lnTo>
                    <a:pt x="276" y="600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58" y="588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8"/>
                  </a:lnTo>
                  <a:lnTo>
                    <a:pt x="216" y="582"/>
                  </a:lnTo>
                  <a:lnTo>
                    <a:pt x="210" y="588"/>
                  </a:lnTo>
                  <a:lnTo>
                    <a:pt x="198" y="582"/>
                  </a:lnTo>
                  <a:lnTo>
                    <a:pt x="180" y="582"/>
                  </a:lnTo>
                  <a:lnTo>
                    <a:pt x="174" y="552"/>
                  </a:lnTo>
                  <a:lnTo>
                    <a:pt x="168" y="504"/>
                  </a:lnTo>
                  <a:lnTo>
                    <a:pt x="186" y="504"/>
                  </a:lnTo>
                  <a:lnTo>
                    <a:pt x="192" y="504"/>
                  </a:lnTo>
                  <a:lnTo>
                    <a:pt x="192" y="498"/>
                  </a:lnTo>
                  <a:lnTo>
                    <a:pt x="192" y="492"/>
                  </a:lnTo>
                  <a:lnTo>
                    <a:pt x="192" y="486"/>
                  </a:lnTo>
                  <a:lnTo>
                    <a:pt x="198" y="486"/>
                  </a:lnTo>
                  <a:lnTo>
                    <a:pt x="198" y="480"/>
                  </a:lnTo>
                  <a:lnTo>
                    <a:pt x="204" y="474"/>
                  </a:lnTo>
                  <a:lnTo>
                    <a:pt x="210" y="468"/>
                  </a:lnTo>
                  <a:lnTo>
                    <a:pt x="198" y="462"/>
                  </a:lnTo>
                  <a:lnTo>
                    <a:pt x="192" y="444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32"/>
                  </a:lnTo>
                  <a:lnTo>
                    <a:pt x="168" y="438"/>
                  </a:lnTo>
                  <a:lnTo>
                    <a:pt x="150" y="450"/>
                  </a:lnTo>
                  <a:lnTo>
                    <a:pt x="144" y="456"/>
                  </a:lnTo>
                  <a:lnTo>
                    <a:pt x="132" y="456"/>
                  </a:lnTo>
                  <a:lnTo>
                    <a:pt x="126" y="468"/>
                  </a:lnTo>
                  <a:lnTo>
                    <a:pt x="114" y="468"/>
                  </a:lnTo>
                  <a:lnTo>
                    <a:pt x="108" y="468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14"/>
                  </a:lnTo>
                  <a:lnTo>
                    <a:pt x="108" y="396"/>
                  </a:lnTo>
                  <a:lnTo>
                    <a:pt x="120" y="396"/>
                  </a:lnTo>
                  <a:lnTo>
                    <a:pt x="126" y="384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84" y="354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0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60" y="318"/>
                  </a:lnTo>
                  <a:lnTo>
                    <a:pt x="42" y="324"/>
                  </a:lnTo>
                  <a:lnTo>
                    <a:pt x="36" y="318"/>
                  </a:lnTo>
                  <a:lnTo>
                    <a:pt x="36" y="312"/>
                  </a:lnTo>
                  <a:lnTo>
                    <a:pt x="36" y="306"/>
                  </a:lnTo>
                  <a:lnTo>
                    <a:pt x="36" y="300"/>
                  </a:lnTo>
                  <a:lnTo>
                    <a:pt x="30" y="300"/>
                  </a:lnTo>
                  <a:lnTo>
                    <a:pt x="30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24" y="276"/>
                  </a:lnTo>
                  <a:lnTo>
                    <a:pt x="18" y="276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18" y="234"/>
                  </a:lnTo>
                  <a:lnTo>
                    <a:pt x="30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42" y="192"/>
                  </a:lnTo>
                  <a:lnTo>
                    <a:pt x="66" y="186"/>
                  </a:lnTo>
                  <a:lnTo>
                    <a:pt x="90" y="156"/>
                  </a:lnTo>
                  <a:lnTo>
                    <a:pt x="102" y="144"/>
                  </a:lnTo>
                  <a:lnTo>
                    <a:pt x="138" y="150"/>
                  </a:lnTo>
                  <a:lnTo>
                    <a:pt x="162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0" y="180"/>
                  </a:lnTo>
                  <a:lnTo>
                    <a:pt x="174" y="180"/>
                  </a:lnTo>
                  <a:lnTo>
                    <a:pt x="180" y="186"/>
                  </a:lnTo>
                  <a:lnTo>
                    <a:pt x="186" y="186"/>
                  </a:lnTo>
                  <a:lnTo>
                    <a:pt x="198" y="192"/>
                  </a:lnTo>
                  <a:lnTo>
                    <a:pt x="216" y="198"/>
                  </a:lnTo>
                  <a:lnTo>
                    <a:pt x="252" y="204"/>
                  </a:lnTo>
                  <a:lnTo>
                    <a:pt x="258" y="210"/>
                  </a:lnTo>
                  <a:lnTo>
                    <a:pt x="306" y="216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84" y="210"/>
                  </a:lnTo>
                  <a:lnTo>
                    <a:pt x="408" y="222"/>
                  </a:lnTo>
                  <a:lnTo>
                    <a:pt x="438" y="228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86" y="222"/>
                  </a:lnTo>
                  <a:lnTo>
                    <a:pt x="492" y="210"/>
                  </a:lnTo>
                  <a:lnTo>
                    <a:pt x="492" y="198"/>
                  </a:lnTo>
                  <a:lnTo>
                    <a:pt x="486" y="180"/>
                  </a:lnTo>
                  <a:lnTo>
                    <a:pt x="492" y="162"/>
                  </a:lnTo>
                  <a:lnTo>
                    <a:pt x="510" y="96"/>
                  </a:lnTo>
                  <a:lnTo>
                    <a:pt x="516" y="84"/>
                  </a:lnTo>
                  <a:lnTo>
                    <a:pt x="522" y="84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34" y="72"/>
                  </a:lnTo>
                  <a:lnTo>
                    <a:pt x="534" y="60"/>
                  </a:lnTo>
                  <a:lnTo>
                    <a:pt x="540" y="36"/>
                  </a:lnTo>
                  <a:lnTo>
                    <a:pt x="546" y="6"/>
                  </a:lnTo>
                  <a:lnTo>
                    <a:pt x="558" y="6"/>
                  </a:lnTo>
                  <a:lnTo>
                    <a:pt x="564" y="0"/>
                  </a:lnTo>
                  <a:lnTo>
                    <a:pt x="582" y="0"/>
                  </a:lnTo>
                  <a:lnTo>
                    <a:pt x="588" y="0"/>
                  </a:lnTo>
                  <a:lnTo>
                    <a:pt x="594" y="6"/>
                  </a:lnTo>
                  <a:lnTo>
                    <a:pt x="600" y="12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24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36" y="36"/>
                  </a:lnTo>
                  <a:lnTo>
                    <a:pt x="642" y="36"/>
                  </a:lnTo>
                  <a:lnTo>
                    <a:pt x="642" y="42"/>
                  </a:lnTo>
                  <a:lnTo>
                    <a:pt x="648" y="54"/>
                  </a:lnTo>
                  <a:lnTo>
                    <a:pt x="660" y="72"/>
                  </a:lnTo>
                  <a:lnTo>
                    <a:pt x="666" y="78"/>
                  </a:lnTo>
                  <a:lnTo>
                    <a:pt x="672" y="90"/>
                  </a:lnTo>
                  <a:lnTo>
                    <a:pt x="678" y="102"/>
                  </a:lnTo>
                  <a:lnTo>
                    <a:pt x="678" y="114"/>
                  </a:lnTo>
                  <a:lnTo>
                    <a:pt x="684" y="132"/>
                  </a:lnTo>
                  <a:lnTo>
                    <a:pt x="684" y="144"/>
                  </a:lnTo>
                  <a:lnTo>
                    <a:pt x="690" y="162"/>
                  </a:lnTo>
                  <a:lnTo>
                    <a:pt x="696" y="168"/>
                  </a:lnTo>
                  <a:lnTo>
                    <a:pt x="696" y="180"/>
                  </a:lnTo>
                  <a:lnTo>
                    <a:pt x="702" y="186"/>
                  </a:lnTo>
                  <a:lnTo>
                    <a:pt x="708" y="186"/>
                  </a:lnTo>
                  <a:lnTo>
                    <a:pt x="714" y="198"/>
                  </a:lnTo>
                  <a:lnTo>
                    <a:pt x="720" y="198"/>
                  </a:lnTo>
                  <a:lnTo>
                    <a:pt x="732" y="204"/>
                  </a:lnTo>
                  <a:lnTo>
                    <a:pt x="738" y="210"/>
                  </a:lnTo>
                  <a:lnTo>
                    <a:pt x="738" y="216"/>
                  </a:lnTo>
                  <a:lnTo>
                    <a:pt x="744" y="222"/>
                  </a:lnTo>
                  <a:lnTo>
                    <a:pt x="750" y="228"/>
                  </a:lnTo>
                  <a:lnTo>
                    <a:pt x="756" y="228"/>
                  </a:lnTo>
                  <a:lnTo>
                    <a:pt x="768" y="240"/>
                  </a:lnTo>
                  <a:lnTo>
                    <a:pt x="774" y="252"/>
                  </a:lnTo>
                  <a:lnTo>
                    <a:pt x="780" y="258"/>
                  </a:lnTo>
                  <a:lnTo>
                    <a:pt x="786" y="258"/>
                  </a:lnTo>
                  <a:lnTo>
                    <a:pt x="798" y="264"/>
                  </a:lnTo>
                  <a:lnTo>
                    <a:pt x="798" y="270"/>
                  </a:lnTo>
                  <a:lnTo>
                    <a:pt x="798" y="276"/>
                  </a:lnTo>
                  <a:lnTo>
                    <a:pt x="810" y="288"/>
                  </a:lnTo>
                  <a:lnTo>
                    <a:pt x="816" y="288"/>
                  </a:lnTo>
                  <a:lnTo>
                    <a:pt x="816" y="300"/>
                  </a:lnTo>
                  <a:lnTo>
                    <a:pt x="816" y="306"/>
                  </a:lnTo>
                  <a:lnTo>
                    <a:pt x="822" y="318"/>
                  </a:lnTo>
                  <a:lnTo>
                    <a:pt x="828" y="324"/>
                  </a:lnTo>
                  <a:lnTo>
                    <a:pt x="834" y="330"/>
                  </a:lnTo>
                  <a:lnTo>
                    <a:pt x="846" y="336"/>
                  </a:lnTo>
                  <a:lnTo>
                    <a:pt x="846" y="342"/>
                  </a:lnTo>
                  <a:lnTo>
                    <a:pt x="852" y="348"/>
                  </a:lnTo>
                  <a:lnTo>
                    <a:pt x="852" y="354"/>
                  </a:lnTo>
                  <a:lnTo>
                    <a:pt x="858" y="354"/>
                  </a:lnTo>
                  <a:lnTo>
                    <a:pt x="858" y="348"/>
                  </a:lnTo>
                  <a:lnTo>
                    <a:pt x="864" y="342"/>
                  </a:lnTo>
                  <a:lnTo>
                    <a:pt x="864" y="336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76" y="306"/>
                  </a:lnTo>
                  <a:lnTo>
                    <a:pt x="870" y="300"/>
                  </a:lnTo>
                  <a:lnTo>
                    <a:pt x="870" y="294"/>
                  </a:lnTo>
                  <a:lnTo>
                    <a:pt x="876" y="294"/>
                  </a:lnTo>
                  <a:lnTo>
                    <a:pt x="882" y="300"/>
                  </a:lnTo>
                  <a:lnTo>
                    <a:pt x="888" y="300"/>
                  </a:lnTo>
                  <a:lnTo>
                    <a:pt x="888" y="306"/>
                  </a:lnTo>
                  <a:lnTo>
                    <a:pt x="894" y="300"/>
                  </a:lnTo>
                  <a:lnTo>
                    <a:pt x="900" y="294"/>
                  </a:lnTo>
                  <a:lnTo>
                    <a:pt x="894" y="288"/>
                  </a:lnTo>
                  <a:lnTo>
                    <a:pt x="888" y="282"/>
                  </a:lnTo>
                  <a:lnTo>
                    <a:pt x="888" y="276"/>
                  </a:lnTo>
                  <a:lnTo>
                    <a:pt x="894" y="276"/>
                  </a:lnTo>
                  <a:lnTo>
                    <a:pt x="900" y="276"/>
                  </a:lnTo>
                  <a:lnTo>
                    <a:pt x="900" y="270"/>
                  </a:lnTo>
                  <a:lnTo>
                    <a:pt x="906" y="264"/>
                  </a:lnTo>
                  <a:lnTo>
                    <a:pt x="906" y="258"/>
                  </a:lnTo>
                  <a:lnTo>
                    <a:pt x="918" y="264"/>
                  </a:lnTo>
                  <a:lnTo>
                    <a:pt x="918" y="258"/>
                  </a:lnTo>
                  <a:lnTo>
                    <a:pt x="924" y="252"/>
                  </a:lnTo>
                  <a:lnTo>
                    <a:pt x="930" y="252"/>
                  </a:lnTo>
                  <a:lnTo>
                    <a:pt x="930" y="246"/>
                  </a:lnTo>
                  <a:lnTo>
                    <a:pt x="936" y="234"/>
                  </a:lnTo>
                  <a:lnTo>
                    <a:pt x="942" y="228"/>
                  </a:lnTo>
                  <a:lnTo>
                    <a:pt x="942" y="222"/>
                  </a:lnTo>
                  <a:lnTo>
                    <a:pt x="948" y="222"/>
                  </a:lnTo>
                  <a:lnTo>
                    <a:pt x="948" y="216"/>
                  </a:lnTo>
                  <a:lnTo>
                    <a:pt x="942" y="216"/>
                  </a:lnTo>
                  <a:lnTo>
                    <a:pt x="936" y="216"/>
                  </a:lnTo>
                  <a:lnTo>
                    <a:pt x="936" y="210"/>
                  </a:lnTo>
                  <a:lnTo>
                    <a:pt x="942" y="210"/>
                  </a:lnTo>
                  <a:lnTo>
                    <a:pt x="972" y="210"/>
                  </a:lnTo>
                  <a:lnTo>
                    <a:pt x="1032" y="216"/>
                  </a:lnTo>
                  <a:lnTo>
                    <a:pt x="1068" y="216"/>
                  </a:lnTo>
                  <a:lnTo>
                    <a:pt x="1056" y="234"/>
                  </a:lnTo>
                  <a:lnTo>
                    <a:pt x="1050" y="240"/>
                  </a:lnTo>
                  <a:lnTo>
                    <a:pt x="1044" y="246"/>
                  </a:lnTo>
                  <a:lnTo>
                    <a:pt x="1038" y="246"/>
                  </a:lnTo>
                  <a:lnTo>
                    <a:pt x="1026" y="282"/>
                  </a:lnTo>
                  <a:lnTo>
                    <a:pt x="1032" y="306"/>
                  </a:lnTo>
                  <a:lnTo>
                    <a:pt x="1044" y="324"/>
                  </a:lnTo>
                  <a:lnTo>
                    <a:pt x="1044" y="342"/>
                  </a:lnTo>
                  <a:lnTo>
                    <a:pt x="1062" y="366"/>
                  </a:lnTo>
                  <a:lnTo>
                    <a:pt x="1056" y="396"/>
                  </a:lnTo>
                  <a:lnTo>
                    <a:pt x="1038" y="462"/>
                  </a:lnTo>
                  <a:lnTo>
                    <a:pt x="1038" y="498"/>
                  </a:lnTo>
                  <a:lnTo>
                    <a:pt x="1038" y="522"/>
                  </a:lnTo>
                  <a:lnTo>
                    <a:pt x="1038" y="534"/>
                  </a:lnTo>
                  <a:lnTo>
                    <a:pt x="1056" y="522"/>
                  </a:lnTo>
                  <a:lnTo>
                    <a:pt x="1098" y="504"/>
                  </a:lnTo>
                  <a:lnTo>
                    <a:pt x="1104" y="498"/>
                  </a:lnTo>
                  <a:lnTo>
                    <a:pt x="1128" y="492"/>
                  </a:lnTo>
                  <a:lnTo>
                    <a:pt x="1152" y="480"/>
                  </a:lnTo>
                  <a:lnTo>
                    <a:pt x="1170" y="474"/>
                  </a:lnTo>
                  <a:lnTo>
                    <a:pt x="1188" y="468"/>
                  </a:lnTo>
                  <a:lnTo>
                    <a:pt x="1200" y="462"/>
                  </a:lnTo>
                  <a:lnTo>
                    <a:pt x="1224" y="450"/>
                  </a:lnTo>
                  <a:lnTo>
                    <a:pt x="1248" y="450"/>
                  </a:lnTo>
                  <a:lnTo>
                    <a:pt x="1266" y="450"/>
                  </a:lnTo>
                  <a:lnTo>
                    <a:pt x="1296" y="456"/>
                  </a:lnTo>
                  <a:lnTo>
                    <a:pt x="1308" y="456"/>
                  </a:lnTo>
                  <a:lnTo>
                    <a:pt x="1326" y="456"/>
                  </a:lnTo>
                  <a:lnTo>
                    <a:pt x="1338" y="456"/>
                  </a:lnTo>
                  <a:lnTo>
                    <a:pt x="1350" y="462"/>
                  </a:lnTo>
                  <a:lnTo>
                    <a:pt x="1356" y="462"/>
                  </a:lnTo>
                  <a:lnTo>
                    <a:pt x="1374" y="456"/>
                  </a:lnTo>
                  <a:lnTo>
                    <a:pt x="1386" y="456"/>
                  </a:lnTo>
                  <a:lnTo>
                    <a:pt x="1392" y="456"/>
                  </a:lnTo>
                  <a:lnTo>
                    <a:pt x="1398" y="456"/>
                  </a:lnTo>
                  <a:lnTo>
                    <a:pt x="1422" y="456"/>
                  </a:lnTo>
                  <a:lnTo>
                    <a:pt x="1440" y="456"/>
                  </a:lnTo>
                  <a:lnTo>
                    <a:pt x="1446" y="456"/>
                  </a:lnTo>
                  <a:lnTo>
                    <a:pt x="1476" y="456"/>
                  </a:lnTo>
                  <a:lnTo>
                    <a:pt x="1470" y="468"/>
                  </a:lnTo>
                  <a:lnTo>
                    <a:pt x="1470" y="474"/>
                  </a:lnTo>
                  <a:lnTo>
                    <a:pt x="1470" y="486"/>
                  </a:lnTo>
                  <a:lnTo>
                    <a:pt x="1464" y="492"/>
                  </a:lnTo>
                  <a:lnTo>
                    <a:pt x="1464" y="498"/>
                  </a:lnTo>
                  <a:lnTo>
                    <a:pt x="1458" y="498"/>
                  </a:lnTo>
                  <a:lnTo>
                    <a:pt x="1458" y="510"/>
                  </a:lnTo>
                  <a:lnTo>
                    <a:pt x="1452" y="522"/>
                  </a:lnTo>
                  <a:lnTo>
                    <a:pt x="1458" y="528"/>
                  </a:lnTo>
                  <a:lnTo>
                    <a:pt x="1464" y="546"/>
                  </a:lnTo>
                  <a:lnTo>
                    <a:pt x="1470" y="552"/>
                  </a:lnTo>
                  <a:lnTo>
                    <a:pt x="1476" y="564"/>
                  </a:lnTo>
                  <a:lnTo>
                    <a:pt x="1488" y="588"/>
                  </a:lnTo>
                  <a:lnTo>
                    <a:pt x="1506" y="606"/>
                  </a:lnTo>
                  <a:lnTo>
                    <a:pt x="1506" y="612"/>
                  </a:lnTo>
                  <a:lnTo>
                    <a:pt x="1518" y="618"/>
                  </a:lnTo>
                  <a:lnTo>
                    <a:pt x="1512" y="630"/>
                  </a:lnTo>
                  <a:lnTo>
                    <a:pt x="1518" y="642"/>
                  </a:lnTo>
                  <a:lnTo>
                    <a:pt x="1518" y="648"/>
                  </a:lnTo>
                  <a:lnTo>
                    <a:pt x="1530" y="666"/>
                  </a:lnTo>
                  <a:lnTo>
                    <a:pt x="1518" y="672"/>
                  </a:lnTo>
                  <a:lnTo>
                    <a:pt x="1524" y="696"/>
                  </a:lnTo>
                  <a:lnTo>
                    <a:pt x="1518" y="732"/>
                  </a:lnTo>
                  <a:lnTo>
                    <a:pt x="1524" y="762"/>
                  </a:lnTo>
                  <a:lnTo>
                    <a:pt x="1524" y="780"/>
                  </a:lnTo>
                  <a:lnTo>
                    <a:pt x="1524" y="810"/>
                  </a:lnTo>
                  <a:lnTo>
                    <a:pt x="1530" y="834"/>
                  </a:lnTo>
                  <a:lnTo>
                    <a:pt x="1536" y="846"/>
                  </a:lnTo>
                  <a:lnTo>
                    <a:pt x="1542" y="846"/>
                  </a:lnTo>
                  <a:lnTo>
                    <a:pt x="1584" y="840"/>
                  </a:lnTo>
                  <a:lnTo>
                    <a:pt x="1590" y="846"/>
                  </a:lnTo>
                  <a:lnTo>
                    <a:pt x="1596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90" y="864"/>
                  </a:lnTo>
                  <a:lnTo>
                    <a:pt x="1578" y="882"/>
                  </a:lnTo>
                  <a:lnTo>
                    <a:pt x="1572" y="906"/>
                  </a:lnTo>
                  <a:lnTo>
                    <a:pt x="1560" y="924"/>
                  </a:lnTo>
                  <a:lnTo>
                    <a:pt x="1560" y="936"/>
                  </a:lnTo>
                  <a:lnTo>
                    <a:pt x="1548" y="960"/>
                  </a:lnTo>
                  <a:lnTo>
                    <a:pt x="1542" y="978"/>
                  </a:lnTo>
                  <a:lnTo>
                    <a:pt x="1536" y="990"/>
                  </a:lnTo>
                  <a:lnTo>
                    <a:pt x="1530" y="990"/>
                  </a:lnTo>
                  <a:lnTo>
                    <a:pt x="1506" y="996"/>
                  </a:lnTo>
                  <a:lnTo>
                    <a:pt x="1494" y="1002"/>
                  </a:lnTo>
                  <a:lnTo>
                    <a:pt x="1482" y="1002"/>
                  </a:lnTo>
                  <a:lnTo>
                    <a:pt x="1464" y="1008"/>
                  </a:lnTo>
                  <a:lnTo>
                    <a:pt x="1446" y="1026"/>
                  </a:lnTo>
                  <a:lnTo>
                    <a:pt x="1440" y="1026"/>
                  </a:lnTo>
                  <a:lnTo>
                    <a:pt x="1434" y="1038"/>
                  </a:lnTo>
                  <a:lnTo>
                    <a:pt x="1428" y="1044"/>
                  </a:lnTo>
                  <a:lnTo>
                    <a:pt x="1428" y="1062"/>
                  </a:lnTo>
                  <a:lnTo>
                    <a:pt x="1428" y="1086"/>
                  </a:lnTo>
                  <a:lnTo>
                    <a:pt x="1416" y="1092"/>
                  </a:lnTo>
                  <a:lnTo>
                    <a:pt x="1410" y="1080"/>
                  </a:lnTo>
                  <a:lnTo>
                    <a:pt x="1392" y="10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0" name="Freeform 25">
              <a:extLst>
                <a:ext uri="{FF2B5EF4-FFF2-40B4-BE49-F238E27FC236}">
                  <a16:creationId xmlns:a16="http://schemas.microsoft.com/office/drawing/2014/main" id="{39FDFF90-5ACF-4D65-81AD-C44D2CBE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70228" y="3063559"/>
              <a:ext cx="644023" cy="704498"/>
            </a:xfrm>
            <a:custGeom>
              <a:avLst/>
              <a:gdLst>
                <a:gd name="T0" fmla="*/ 74 w 1212"/>
                <a:gd name="T1" fmla="*/ 113 h 1326"/>
                <a:gd name="T2" fmla="*/ 60 w 1212"/>
                <a:gd name="T3" fmla="*/ 116 h 1326"/>
                <a:gd name="T4" fmla="*/ 62 w 1212"/>
                <a:gd name="T5" fmla="*/ 110 h 1326"/>
                <a:gd name="T6" fmla="*/ 60 w 1212"/>
                <a:gd name="T7" fmla="*/ 105 h 1326"/>
                <a:gd name="T8" fmla="*/ 52 w 1212"/>
                <a:gd name="T9" fmla="*/ 96 h 1326"/>
                <a:gd name="T10" fmla="*/ 47 w 1212"/>
                <a:gd name="T11" fmla="*/ 98 h 1326"/>
                <a:gd name="T12" fmla="*/ 44 w 1212"/>
                <a:gd name="T13" fmla="*/ 93 h 1326"/>
                <a:gd name="T14" fmla="*/ 40 w 1212"/>
                <a:gd name="T15" fmla="*/ 96 h 1326"/>
                <a:gd name="T16" fmla="*/ 35 w 1212"/>
                <a:gd name="T17" fmla="*/ 102 h 1326"/>
                <a:gd name="T18" fmla="*/ 27 w 1212"/>
                <a:gd name="T19" fmla="*/ 100 h 1326"/>
                <a:gd name="T20" fmla="*/ 23 w 1212"/>
                <a:gd name="T21" fmla="*/ 96 h 1326"/>
                <a:gd name="T22" fmla="*/ 20 w 1212"/>
                <a:gd name="T23" fmla="*/ 90 h 1326"/>
                <a:gd name="T24" fmla="*/ 18 w 1212"/>
                <a:gd name="T25" fmla="*/ 89 h 1326"/>
                <a:gd name="T26" fmla="*/ 18 w 1212"/>
                <a:gd name="T27" fmla="*/ 85 h 1326"/>
                <a:gd name="T28" fmla="*/ 19 w 1212"/>
                <a:gd name="T29" fmla="*/ 83 h 1326"/>
                <a:gd name="T30" fmla="*/ 19 w 1212"/>
                <a:gd name="T31" fmla="*/ 82 h 1326"/>
                <a:gd name="T32" fmla="*/ 20 w 1212"/>
                <a:gd name="T33" fmla="*/ 79 h 1326"/>
                <a:gd name="T34" fmla="*/ 19 w 1212"/>
                <a:gd name="T35" fmla="*/ 75 h 1326"/>
                <a:gd name="T36" fmla="*/ 17 w 1212"/>
                <a:gd name="T37" fmla="*/ 77 h 1326"/>
                <a:gd name="T38" fmla="*/ 14 w 1212"/>
                <a:gd name="T39" fmla="*/ 76 h 1326"/>
                <a:gd name="T40" fmla="*/ 12 w 1212"/>
                <a:gd name="T41" fmla="*/ 71 h 1326"/>
                <a:gd name="T42" fmla="*/ 8 w 1212"/>
                <a:gd name="T43" fmla="*/ 69 h 1326"/>
                <a:gd name="T44" fmla="*/ 0 w 1212"/>
                <a:gd name="T45" fmla="*/ 72 h 1326"/>
                <a:gd name="T46" fmla="*/ 2 w 1212"/>
                <a:gd name="T47" fmla="*/ 67 h 1326"/>
                <a:gd name="T48" fmla="*/ 3 w 1212"/>
                <a:gd name="T49" fmla="*/ 61 h 1326"/>
                <a:gd name="T50" fmla="*/ 4 w 1212"/>
                <a:gd name="T51" fmla="*/ 56 h 1326"/>
                <a:gd name="T52" fmla="*/ 4 w 1212"/>
                <a:gd name="T53" fmla="*/ 52 h 1326"/>
                <a:gd name="T54" fmla="*/ 2 w 1212"/>
                <a:gd name="T55" fmla="*/ 47 h 1326"/>
                <a:gd name="T56" fmla="*/ 2 w 1212"/>
                <a:gd name="T57" fmla="*/ 42 h 1326"/>
                <a:gd name="T58" fmla="*/ 5 w 1212"/>
                <a:gd name="T59" fmla="*/ 39 h 1326"/>
                <a:gd name="T60" fmla="*/ 5 w 1212"/>
                <a:gd name="T61" fmla="*/ 35 h 1326"/>
                <a:gd name="T62" fmla="*/ 7 w 1212"/>
                <a:gd name="T63" fmla="*/ 31 h 1326"/>
                <a:gd name="T64" fmla="*/ 14 w 1212"/>
                <a:gd name="T65" fmla="*/ 31 h 1326"/>
                <a:gd name="T66" fmla="*/ 18 w 1212"/>
                <a:gd name="T67" fmla="*/ 27 h 1326"/>
                <a:gd name="T68" fmla="*/ 22 w 1212"/>
                <a:gd name="T69" fmla="*/ 24 h 1326"/>
                <a:gd name="T70" fmla="*/ 27 w 1212"/>
                <a:gd name="T71" fmla="*/ 20 h 1326"/>
                <a:gd name="T72" fmla="*/ 35 w 1212"/>
                <a:gd name="T73" fmla="*/ 21 h 1326"/>
                <a:gd name="T74" fmla="*/ 61 w 1212"/>
                <a:gd name="T75" fmla="*/ 8 h 1326"/>
                <a:gd name="T76" fmla="*/ 73 w 1212"/>
                <a:gd name="T77" fmla="*/ 4 h 1326"/>
                <a:gd name="T78" fmla="*/ 86 w 1212"/>
                <a:gd name="T79" fmla="*/ 12 h 1326"/>
                <a:gd name="T80" fmla="*/ 92 w 1212"/>
                <a:gd name="T81" fmla="*/ 13 h 1326"/>
                <a:gd name="T82" fmla="*/ 86 w 1212"/>
                <a:gd name="T83" fmla="*/ 18 h 1326"/>
                <a:gd name="T84" fmla="*/ 88 w 1212"/>
                <a:gd name="T85" fmla="*/ 33 h 1326"/>
                <a:gd name="T86" fmla="*/ 97 w 1212"/>
                <a:gd name="T87" fmla="*/ 49 h 1326"/>
                <a:gd name="T88" fmla="*/ 102 w 1212"/>
                <a:gd name="T89" fmla="*/ 57 h 1326"/>
                <a:gd name="T90" fmla="*/ 104 w 1212"/>
                <a:gd name="T91" fmla="*/ 67 h 1326"/>
                <a:gd name="T92" fmla="*/ 101 w 1212"/>
                <a:gd name="T93" fmla="*/ 69 h 1326"/>
                <a:gd name="T94" fmla="*/ 97 w 1212"/>
                <a:gd name="T95" fmla="*/ 69 h 1326"/>
                <a:gd name="T96" fmla="*/ 96 w 1212"/>
                <a:gd name="T97" fmla="*/ 71 h 1326"/>
                <a:gd name="T98" fmla="*/ 93 w 1212"/>
                <a:gd name="T99" fmla="*/ 70 h 1326"/>
                <a:gd name="T100" fmla="*/ 86 w 1212"/>
                <a:gd name="T101" fmla="*/ 69 h 1326"/>
                <a:gd name="T102" fmla="*/ 82 w 1212"/>
                <a:gd name="T103" fmla="*/ 73 h 1326"/>
                <a:gd name="T104" fmla="*/ 79 w 1212"/>
                <a:gd name="T105" fmla="*/ 74 h 1326"/>
                <a:gd name="T106" fmla="*/ 78 w 1212"/>
                <a:gd name="T107" fmla="*/ 79 h 1326"/>
                <a:gd name="T108" fmla="*/ 78 w 1212"/>
                <a:gd name="T109" fmla="*/ 83 h 1326"/>
                <a:gd name="T110" fmla="*/ 82 w 1212"/>
                <a:gd name="T111" fmla="*/ 87 h 1326"/>
                <a:gd name="T112" fmla="*/ 83 w 1212"/>
                <a:gd name="T113" fmla="*/ 90 h 1326"/>
                <a:gd name="T114" fmla="*/ 82 w 1212"/>
                <a:gd name="T115" fmla="*/ 94 h 1326"/>
                <a:gd name="T116" fmla="*/ 82 w 1212"/>
                <a:gd name="T117" fmla="*/ 98 h 1326"/>
                <a:gd name="T118" fmla="*/ 82 w 1212"/>
                <a:gd name="T119" fmla="*/ 104 h 1326"/>
                <a:gd name="T120" fmla="*/ 78 w 1212"/>
                <a:gd name="T121" fmla="*/ 110 h 132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12"/>
                <a:gd name="T184" fmla="*/ 0 h 1326"/>
                <a:gd name="T185" fmla="*/ 1212 w 1212"/>
                <a:gd name="T186" fmla="*/ 1326 h 132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12" h="1326">
                  <a:moveTo>
                    <a:pt x="906" y="1290"/>
                  </a:moveTo>
                  <a:lnTo>
                    <a:pt x="906" y="1296"/>
                  </a:lnTo>
                  <a:lnTo>
                    <a:pt x="900" y="1296"/>
                  </a:lnTo>
                  <a:lnTo>
                    <a:pt x="876" y="1290"/>
                  </a:lnTo>
                  <a:lnTo>
                    <a:pt x="870" y="1290"/>
                  </a:lnTo>
                  <a:lnTo>
                    <a:pt x="864" y="1296"/>
                  </a:lnTo>
                  <a:lnTo>
                    <a:pt x="852" y="1296"/>
                  </a:lnTo>
                  <a:lnTo>
                    <a:pt x="840" y="1302"/>
                  </a:lnTo>
                  <a:lnTo>
                    <a:pt x="834" y="1308"/>
                  </a:lnTo>
                  <a:lnTo>
                    <a:pt x="822" y="1320"/>
                  </a:lnTo>
                  <a:lnTo>
                    <a:pt x="816" y="1320"/>
                  </a:lnTo>
                  <a:lnTo>
                    <a:pt x="732" y="1320"/>
                  </a:lnTo>
                  <a:lnTo>
                    <a:pt x="696" y="1320"/>
                  </a:lnTo>
                  <a:lnTo>
                    <a:pt x="690" y="1326"/>
                  </a:lnTo>
                  <a:lnTo>
                    <a:pt x="678" y="1326"/>
                  </a:lnTo>
                  <a:lnTo>
                    <a:pt x="672" y="1308"/>
                  </a:lnTo>
                  <a:lnTo>
                    <a:pt x="696" y="1302"/>
                  </a:lnTo>
                  <a:lnTo>
                    <a:pt x="708" y="1296"/>
                  </a:lnTo>
                  <a:lnTo>
                    <a:pt x="720" y="1284"/>
                  </a:lnTo>
                  <a:lnTo>
                    <a:pt x="714" y="1278"/>
                  </a:lnTo>
                  <a:lnTo>
                    <a:pt x="714" y="1266"/>
                  </a:lnTo>
                  <a:lnTo>
                    <a:pt x="708" y="1260"/>
                  </a:lnTo>
                  <a:lnTo>
                    <a:pt x="708" y="1254"/>
                  </a:lnTo>
                  <a:lnTo>
                    <a:pt x="708" y="1248"/>
                  </a:lnTo>
                  <a:lnTo>
                    <a:pt x="702" y="1236"/>
                  </a:lnTo>
                  <a:lnTo>
                    <a:pt x="702" y="1230"/>
                  </a:lnTo>
                  <a:lnTo>
                    <a:pt x="702" y="1218"/>
                  </a:lnTo>
                  <a:lnTo>
                    <a:pt x="696" y="1200"/>
                  </a:lnTo>
                  <a:lnTo>
                    <a:pt x="696" y="1182"/>
                  </a:lnTo>
                  <a:lnTo>
                    <a:pt x="666" y="1182"/>
                  </a:lnTo>
                  <a:lnTo>
                    <a:pt x="672" y="1134"/>
                  </a:lnTo>
                  <a:lnTo>
                    <a:pt x="666" y="1128"/>
                  </a:lnTo>
                  <a:lnTo>
                    <a:pt x="660" y="1092"/>
                  </a:lnTo>
                  <a:lnTo>
                    <a:pt x="654" y="1098"/>
                  </a:lnTo>
                  <a:lnTo>
                    <a:pt x="594" y="1098"/>
                  </a:lnTo>
                  <a:lnTo>
                    <a:pt x="576" y="1098"/>
                  </a:lnTo>
                  <a:lnTo>
                    <a:pt x="570" y="1104"/>
                  </a:lnTo>
                  <a:lnTo>
                    <a:pt x="564" y="1110"/>
                  </a:lnTo>
                  <a:lnTo>
                    <a:pt x="558" y="1110"/>
                  </a:lnTo>
                  <a:lnTo>
                    <a:pt x="552" y="1110"/>
                  </a:lnTo>
                  <a:lnTo>
                    <a:pt x="546" y="1110"/>
                  </a:lnTo>
                  <a:lnTo>
                    <a:pt x="546" y="1116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10" y="1128"/>
                  </a:lnTo>
                  <a:lnTo>
                    <a:pt x="522" y="1104"/>
                  </a:lnTo>
                  <a:lnTo>
                    <a:pt x="510" y="1098"/>
                  </a:lnTo>
                  <a:lnTo>
                    <a:pt x="510" y="1074"/>
                  </a:lnTo>
                  <a:lnTo>
                    <a:pt x="504" y="1068"/>
                  </a:lnTo>
                  <a:lnTo>
                    <a:pt x="498" y="1068"/>
                  </a:lnTo>
                  <a:lnTo>
                    <a:pt x="492" y="1068"/>
                  </a:lnTo>
                  <a:lnTo>
                    <a:pt x="474" y="1080"/>
                  </a:lnTo>
                  <a:lnTo>
                    <a:pt x="474" y="1086"/>
                  </a:lnTo>
                  <a:lnTo>
                    <a:pt x="474" y="1092"/>
                  </a:lnTo>
                  <a:lnTo>
                    <a:pt x="468" y="1098"/>
                  </a:lnTo>
                  <a:lnTo>
                    <a:pt x="462" y="1104"/>
                  </a:lnTo>
                  <a:lnTo>
                    <a:pt x="456" y="1110"/>
                  </a:lnTo>
                  <a:lnTo>
                    <a:pt x="456" y="1122"/>
                  </a:lnTo>
                  <a:lnTo>
                    <a:pt x="456" y="1128"/>
                  </a:lnTo>
                  <a:lnTo>
                    <a:pt x="450" y="1140"/>
                  </a:lnTo>
                  <a:lnTo>
                    <a:pt x="444" y="1146"/>
                  </a:lnTo>
                  <a:lnTo>
                    <a:pt x="426" y="1170"/>
                  </a:lnTo>
                  <a:lnTo>
                    <a:pt x="408" y="1176"/>
                  </a:lnTo>
                  <a:lnTo>
                    <a:pt x="402" y="1170"/>
                  </a:lnTo>
                  <a:lnTo>
                    <a:pt x="396" y="1170"/>
                  </a:lnTo>
                  <a:lnTo>
                    <a:pt x="396" y="1158"/>
                  </a:lnTo>
                  <a:lnTo>
                    <a:pt x="384" y="1152"/>
                  </a:lnTo>
                  <a:lnTo>
                    <a:pt x="372" y="1140"/>
                  </a:lnTo>
                  <a:lnTo>
                    <a:pt x="354" y="1140"/>
                  </a:lnTo>
                  <a:lnTo>
                    <a:pt x="306" y="1146"/>
                  </a:lnTo>
                  <a:lnTo>
                    <a:pt x="294" y="1134"/>
                  </a:lnTo>
                  <a:lnTo>
                    <a:pt x="294" y="1128"/>
                  </a:lnTo>
                  <a:lnTo>
                    <a:pt x="288" y="1122"/>
                  </a:lnTo>
                  <a:lnTo>
                    <a:pt x="276" y="1122"/>
                  </a:lnTo>
                  <a:lnTo>
                    <a:pt x="276" y="1110"/>
                  </a:lnTo>
                  <a:lnTo>
                    <a:pt x="276" y="1104"/>
                  </a:lnTo>
                  <a:lnTo>
                    <a:pt x="270" y="1098"/>
                  </a:lnTo>
                  <a:lnTo>
                    <a:pt x="264" y="1086"/>
                  </a:lnTo>
                  <a:lnTo>
                    <a:pt x="264" y="1074"/>
                  </a:lnTo>
                  <a:lnTo>
                    <a:pt x="258" y="1068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34" y="1038"/>
                  </a:lnTo>
                  <a:lnTo>
                    <a:pt x="228" y="1038"/>
                  </a:lnTo>
                  <a:lnTo>
                    <a:pt x="222" y="1038"/>
                  </a:lnTo>
                  <a:lnTo>
                    <a:pt x="216" y="1038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0"/>
                  </a:lnTo>
                  <a:lnTo>
                    <a:pt x="204" y="1014"/>
                  </a:lnTo>
                  <a:lnTo>
                    <a:pt x="204" y="1008"/>
                  </a:lnTo>
                  <a:lnTo>
                    <a:pt x="198" y="1002"/>
                  </a:lnTo>
                  <a:lnTo>
                    <a:pt x="198" y="996"/>
                  </a:lnTo>
                  <a:lnTo>
                    <a:pt x="198" y="990"/>
                  </a:lnTo>
                  <a:lnTo>
                    <a:pt x="204" y="990"/>
                  </a:lnTo>
                  <a:lnTo>
                    <a:pt x="204" y="984"/>
                  </a:lnTo>
                  <a:lnTo>
                    <a:pt x="210" y="978"/>
                  </a:lnTo>
                  <a:lnTo>
                    <a:pt x="210" y="972"/>
                  </a:lnTo>
                  <a:lnTo>
                    <a:pt x="210" y="966"/>
                  </a:lnTo>
                  <a:lnTo>
                    <a:pt x="216" y="960"/>
                  </a:lnTo>
                  <a:lnTo>
                    <a:pt x="216" y="954"/>
                  </a:lnTo>
                  <a:lnTo>
                    <a:pt x="210" y="954"/>
                  </a:lnTo>
                  <a:lnTo>
                    <a:pt x="204" y="954"/>
                  </a:lnTo>
                  <a:lnTo>
                    <a:pt x="216" y="954"/>
                  </a:lnTo>
                  <a:lnTo>
                    <a:pt x="216" y="948"/>
                  </a:lnTo>
                  <a:lnTo>
                    <a:pt x="210" y="948"/>
                  </a:lnTo>
                  <a:lnTo>
                    <a:pt x="210" y="942"/>
                  </a:lnTo>
                  <a:lnTo>
                    <a:pt x="216" y="942"/>
                  </a:lnTo>
                  <a:lnTo>
                    <a:pt x="222" y="942"/>
                  </a:lnTo>
                  <a:lnTo>
                    <a:pt x="222" y="936"/>
                  </a:lnTo>
                  <a:lnTo>
                    <a:pt x="216" y="936"/>
                  </a:lnTo>
                  <a:lnTo>
                    <a:pt x="210" y="936"/>
                  </a:lnTo>
                  <a:lnTo>
                    <a:pt x="210" y="930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22" y="918"/>
                  </a:lnTo>
                  <a:lnTo>
                    <a:pt x="228" y="912"/>
                  </a:lnTo>
                  <a:lnTo>
                    <a:pt x="228" y="906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2" y="888"/>
                  </a:lnTo>
                  <a:lnTo>
                    <a:pt x="222" y="882"/>
                  </a:lnTo>
                  <a:lnTo>
                    <a:pt x="222" y="876"/>
                  </a:lnTo>
                  <a:lnTo>
                    <a:pt x="222" y="858"/>
                  </a:lnTo>
                  <a:lnTo>
                    <a:pt x="216" y="858"/>
                  </a:lnTo>
                  <a:lnTo>
                    <a:pt x="216" y="852"/>
                  </a:lnTo>
                  <a:lnTo>
                    <a:pt x="210" y="852"/>
                  </a:lnTo>
                  <a:lnTo>
                    <a:pt x="210" y="840"/>
                  </a:lnTo>
                  <a:lnTo>
                    <a:pt x="198" y="840"/>
                  </a:lnTo>
                  <a:lnTo>
                    <a:pt x="198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0" y="894"/>
                  </a:lnTo>
                  <a:lnTo>
                    <a:pt x="180" y="906"/>
                  </a:lnTo>
                  <a:lnTo>
                    <a:pt x="156" y="912"/>
                  </a:lnTo>
                  <a:lnTo>
                    <a:pt x="156" y="894"/>
                  </a:lnTo>
                  <a:lnTo>
                    <a:pt x="156" y="882"/>
                  </a:lnTo>
                  <a:lnTo>
                    <a:pt x="156" y="876"/>
                  </a:lnTo>
                  <a:lnTo>
                    <a:pt x="150" y="876"/>
                  </a:lnTo>
                  <a:lnTo>
                    <a:pt x="144" y="876"/>
                  </a:lnTo>
                  <a:lnTo>
                    <a:pt x="138" y="870"/>
                  </a:lnTo>
                  <a:lnTo>
                    <a:pt x="132" y="864"/>
                  </a:lnTo>
                  <a:lnTo>
                    <a:pt x="138" y="840"/>
                  </a:lnTo>
                  <a:lnTo>
                    <a:pt x="132" y="840"/>
                  </a:lnTo>
                  <a:lnTo>
                    <a:pt x="138" y="810"/>
                  </a:lnTo>
                  <a:lnTo>
                    <a:pt x="144" y="804"/>
                  </a:lnTo>
                  <a:lnTo>
                    <a:pt x="144" y="798"/>
                  </a:lnTo>
                  <a:lnTo>
                    <a:pt x="156" y="798"/>
                  </a:lnTo>
                  <a:lnTo>
                    <a:pt x="156" y="792"/>
                  </a:lnTo>
                  <a:lnTo>
                    <a:pt x="120" y="792"/>
                  </a:lnTo>
                  <a:lnTo>
                    <a:pt x="108" y="786"/>
                  </a:lnTo>
                  <a:lnTo>
                    <a:pt x="96" y="786"/>
                  </a:lnTo>
                  <a:lnTo>
                    <a:pt x="96" y="780"/>
                  </a:lnTo>
                  <a:lnTo>
                    <a:pt x="78" y="780"/>
                  </a:lnTo>
                  <a:lnTo>
                    <a:pt x="72" y="804"/>
                  </a:lnTo>
                  <a:lnTo>
                    <a:pt x="60" y="816"/>
                  </a:lnTo>
                  <a:lnTo>
                    <a:pt x="36" y="828"/>
                  </a:lnTo>
                  <a:lnTo>
                    <a:pt x="18" y="840"/>
                  </a:lnTo>
                  <a:lnTo>
                    <a:pt x="0" y="822"/>
                  </a:lnTo>
                  <a:lnTo>
                    <a:pt x="6" y="816"/>
                  </a:lnTo>
                  <a:lnTo>
                    <a:pt x="12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18" y="786"/>
                  </a:lnTo>
                  <a:lnTo>
                    <a:pt x="24" y="780"/>
                  </a:lnTo>
                  <a:lnTo>
                    <a:pt x="24" y="768"/>
                  </a:lnTo>
                  <a:lnTo>
                    <a:pt x="24" y="762"/>
                  </a:lnTo>
                  <a:lnTo>
                    <a:pt x="24" y="750"/>
                  </a:lnTo>
                  <a:lnTo>
                    <a:pt x="36" y="714"/>
                  </a:lnTo>
                  <a:lnTo>
                    <a:pt x="36" y="708"/>
                  </a:lnTo>
                  <a:lnTo>
                    <a:pt x="42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6" y="690"/>
                  </a:lnTo>
                  <a:lnTo>
                    <a:pt x="42" y="684"/>
                  </a:lnTo>
                  <a:lnTo>
                    <a:pt x="42" y="672"/>
                  </a:lnTo>
                  <a:lnTo>
                    <a:pt x="42" y="666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48" y="648"/>
                  </a:lnTo>
                  <a:lnTo>
                    <a:pt x="54" y="642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54" y="612"/>
                  </a:lnTo>
                  <a:lnTo>
                    <a:pt x="48" y="606"/>
                  </a:lnTo>
                  <a:lnTo>
                    <a:pt x="48" y="600"/>
                  </a:lnTo>
                  <a:lnTo>
                    <a:pt x="42" y="600"/>
                  </a:lnTo>
                  <a:lnTo>
                    <a:pt x="36" y="594"/>
                  </a:lnTo>
                  <a:lnTo>
                    <a:pt x="36" y="588"/>
                  </a:lnTo>
                  <a:lnTo>
                    <a:pt x="30" y="582"/>
                  </a:lnTo>
                  <a:lnTo>
                    <a:pt x="30" y="570"/>
                  </a:lnTo>
                  <a:lnTo>
                    <a:pt x="18" y="552"/>
                  </a:lnTo>
                  <a:lnTo>
                    <a:pt x="18" y="546"/>
                  </a:lnTo>
                  <a:lnTo>
                    <a:pt x="18" y="540"/>
                  </a:lnTo>
                  <a:lnTo>
                    <a:pt x="18" y="528"/>
                  </a:lnTo>
                  <a:lnTo>
                    <a:pt x="18" y="522"/>
                  </a:lnTo>
                  <a:lnTo>
                    <a:pt x="24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30" y="474"/>
                  </a:lnTo>
                  <a:lnTo>
                    <a:pt x="36" y="474"/>
                  </a:lnTo>
                  <a:lnTo>
                    <a:pt x="42" y="468"/>
                  </a:lnTo>
                  <a:lnTo>
                    <a:pt x="48" y="468"/>
                  </a:lnTo>
                  <a:lnTo>
                    <a:pt x="48" y="462"/>
                  </a:lnTo>
                  <a:lnTo>
                    <a:pt x="48" y="456"/>
                  </a:lnTo>
                  <a:lnTo>
                    <a:pt x="54" y="450"/>
                  </a:lnTo>
                  <a:lnTo>
                    <a:pt x="60" y="438"/>
                  </a:lnTo>
                  <a:lnTo>
                    <a:pt x="54" y="438"/>
                  </a:lnTo>
                  <a:lnTo>
                    <a:pt x="54" y="432"/>
                  </a:ln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54" y="402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6" y="384"/>
                  </a:lnTo>
                  <a:lnTo>
                    <a:pt x="72" y="372"/>
                  </a:lnTo>
                  <a:lnTo>
                    <a:pt x="78" y="366"/>
                  </a:lnTo>
                  <a:lnTo>
                    <a:pt x="84" y="360"/>
                  </a:lnTo>
                  <a:lnTo>
                    <a:pt x="102" y="360"/>
                  </a:lnTo>
                  <a:lnTo>
                    <a:pt x="114" y="36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8" y="360"/>
                  </a:lnTo>
                  <a:lnTo>
                    <a:pt x="156" y="360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74" y="342"/>
                  </a:lnTo>
                  <a:lnTo>
                    <a:pt x="180" y="342"/>
                  </a:lnTo>
                  <a:lnTo>
                    <a:pt x="186" y="336"/>
                  </a:lnTo>
                  <a:lnTo>
                    <a:pt x="192" y="330"/>
                  </a:lnTo>
                  <a:lnTo>
                    <a:pt x="204" y="312"/>
                  </a:lnTo>
                  <a:lnTo>
                    <a:pt x="210" y="312"/>
                  </a:lnTo>
                  <a:lnTo>
                    <a:pt x="216" y="306"/>
                  </a:lnTo>
                  <a:lnTo>
                    <a:pt x="216" y="300"/>
                  </a:lnTo>
                  <a:lnTo>
                    <a:pt x="222" y="288"/>
                  </a:lnTo>
                  <a:lnTo>
                    <a:pt x="234" y="288"/>
                  </a:lnTo>
                  <a:lnTo>
                    <a:pt x="240" y="282"/>
                  </a:lnTo>
                  <a:lnTo>
                    <a:pt x="246" y="282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70" y="270"/>
                  </a:lnTo>
                  <a:lnTo>
                    <a:pt x="276" y="264"/>
                  </a:lnTo>
                  <a:lnTo>
                    <a:pt x="282" y="26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8" y="234"/>
                  </a:lnTo>
                  <a:lnTo>
                    <a:pt x="330" y="234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72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14" y="240"/>
                  </a:lnTo>
                  <a:lnTo>
                    <a:pt x="444" y="216"/>
                  </a:lnTo>
                  <a:lnTo>
                    <a:pt x="480" y="204"/>
                  </a:lnTo>
                  <a:lnTo>
                    <a:pt x="600" y="150"/>
                  </a:lnTo>
                  <a:lnTo>
                    <a:pt x="648" y="126"/>
                  </a:lnTo>
                  <a:lnTo>
                    <a:pt x="702" y="96"/>
                  </a:lnTo>
                  <a:lnTo>
                    <a:pt x="708" y="54"/>
                  </a:lnTo>
                  <a:lnTo>
                    <a:pt x="720" y="24"/>
                  </a:lnTo>
                  <a:lnTo>
                    <a:pt x="738" y="12"/>
                  </a:lnTo>
                  <a:lnTo>
                    <a:pt x="768" y="0"/>
                  </a:lnTo>
                  <a:lnTo>
                    <a:pt x="792" y="6"/>
                  </a:lnTo>
                  <a:lnTo>
                    <a:pt x="804" y="12"/>
                  </a:lnTo>
                  <a:lnTo>
                    <a:pt x="834" y="48"/>
                  </a:lnTo>
                  <a:lnTo>
                    <a:pt x="834" y="60"/>
                  </a:lnTo>
                  <a:lnTo>
                    <a:pt x="852" y="84"/>
                  </a:lnTo>
                  <a:lnTo>
                    <a:pt x="864" y="96"/>
                  </a:lnTo>
                  <a:lnTo>
                    <a:pt x="888" y="102"/>
                  </a:lnTo>
                  <a:lnTo>
                    <a:pt x="978" y="120"/>
                  </a:lnTo>
                  <a:lnTo>
                    <a:pt x="984" y="126"/>
                  </a:lnTo>
                  <a:lnTo>
                    <a:pt x="984" y="132"/>
                  </a:lnTo>
                  <a:lnTo>
                    <a:pt x="996" y="138"/>
                  </a:lnTo>
                  <a:lnTo>
                    <a:pt x="1038" y="126"/>
                  </a:lnTo>
                  <a:lnTo>
                    <a:pt x="1056" y="114"/>
                  </a:lnTo>
                  <a:lnTo>
                    <a:pt x="1068" y="126"/>
                  </a:lnTo>
                  <a:lnTo>
                    <a:pt x="1074" y="132"/>
                  </a:lnTo>
                  <a:lnTo>
                    <a:pt x="1068" y="138"/>
                  </a:lnTo>
                  <a:lnTo>
                    <a:pt x="1056" y="150"/>
                  </a:lnTo>
                  <a:lnTo>
                    <a:pt x="1038" y="162"/>
                  </a:lnTo>
                  <a:lnTo>
                    <a:pt x="1038" y="168"/>
                  </a:lnTo>
                  <a:lnTo>
                    <a:pt x="1020" y="174"/>
                  </a:lnTo>
                  <a:lnTo>
                    <a:pt x="1014" y="180"/>
                  </a:lnTo>
                  <a:lnTo>
                    <a:pt x="1008" y="186"/>
                  </a:lnTo>
                  <a:lnTo>
                    <a:pt x="1002" y="198"/>
                  </a:lnTo>
                  <a:lnTo>
                    <a:pt x="984" y="204"/>
                  </a:lnTo>
                  <a:lnTo>
                    <a:pt x="984" y="246"/>
                  </a:lnTo>
                  <a:lnTo>
                    <a:pt x="978" y="270"/>
                  </a:lnTo>
                  <a:lnTo>
                    <a:pt x="990" y="306"/>
                  </a:lnTo>
                  <a:lnTo>
                    <a:pt x="990" y="324"/>
                  </a:lnTo>
                  <a:lnTo>
                    <a:pt x="1002" y="336"/>
                  </a:lnTo>
                  <a:lnTo>
                    <a:pt x="1020" y="372"/>
                  </a:lnTo>
                  <a:lnTo>
                    <a:pt x="1014" y="378"/>
                  </a:lnTo>
                  <a:lnTo>
                    <a:pt x="1014" y="384"/>
                  </a:lnTo>
                  <a:lnTo>
                    <a:pt x="1020" y="384"/>
                  </a:lnTo>
                  <a:lnTo>
                    <a:pt x="1020" y="396"/>
                  </a:lnTo>
                  <a:lnTo>
                    <a:pt x="1062" y="468"/>
                  </a:lnTo>
                  <a:lnTo>
                    <a:pt x="1092" y="522"/>
                  </a:lnTo>
                  <a:lnTo>
                    <a:pt x="1110" y="546"/>
                  </a:lnTo>
                  <a:lnTo>
                    <a:pt x="1122" y="564"/>
                  </a:lnTo>
                  <a:lnTo>
                    <a:pt x="1134" y="576"/>
                  </a:lnTo>
                  <a:lnTo>
                    <a:pt x="1146" y="582"/>
                  </a:lnTo>
                  <a:lnTo>
                    <a:pt x="1146" y="588"/>
                  </a:lnTo>
                  <a:lnTo>
                    <a:pt x="1164" y="600"/>
                  </a:lnTo>
                  <a:lnTo>
                    <a:pt x="1170" y="612"/>
                  </a:lnTo>
                  <a:lnTo>
                    <a:pt x="1170" y="624"/>
                  </a:lnTo>
                  <a:lnTo>
                    <a:pt x="1176" y="654"/>
                  </a:lnTo>
                  <a:lnTo>
                    <a:pt x="1176" y="666"/>
                  </a:lnTo>
                  <a:lnTo>
                    <a:pt x="1182" y="684"/>
                  </a:lnTo>
                  <a:lnTo>
                    <a:pt x="1194" y="696"/>
                  </a:lnTo>
                  <a:lnTo>
                    <a:pt x="1212" y="696"/>
                  </a:lnTo>
                  <a:lnTo>
                    <a:pt x="1206" y="762"/>
                  </a:lnTo>
                  <a:lnTo>
                    <a:pt x="1200" y="768"/>
                  </a:lnTo>
                  <a:lnTo>
                    <a:pt x="1194" y="768"/>
                  </a:lnTo>
                  <a:lnTo>
                    <a:pt x="1194" y="774"/>
                  </a:lnTo>
                  <a:lnTo>
                    <a:pt x="1188" y="774"/>
                  </a:lnTo>
                  <a:lnTo>
                    <a:pt x="1182" y="780"/>
                  </a:lnTo>
                  <a:lnTo>
                    <a:pt x="1176" y="780"/>
                  </a:lnTo>
                  <a:lnTo>
                    <a:pt x="1170" y="780"/>
                  </a:lnTo>
                  <a:lnTo>
                    <a:pt x="1164" y="786"/>
                  </a:lnTo>
                  <a:lnTo>
                    <a:pt x="1158" y="786"/>
                  </a:lnTo>
                  <a:lnTo>
                    <a:pt x="1152" y="786"/>
                  </a:lnTo>
                  <a:lnTo>
                    <a:pt x="1140" y="786"/>
                  </a:lnTo>
                  <a:lnTo>
                    <a:pt x="1134" y="786"/>
                  </a:lnTo>
                  <a:lnTo>
                    <a:pt x="1134" y="780"/>
                  </a:lnTo>
                  <a:lnTo>
                    <a:pt x="1122" y="780"/>
                  </a:lnTo>
                  <a:lnTo>
                    <a:pt x="1116" y="786"/>
                  </a:lnTo>
                  <a:lnTo>
                    <a:pt x="1116" y="792"/>
                  </a:lnTo>
                  <a:lnTo>
                    <a:pt x="1122" y="804"/>
                  </a:lnTo>
                  <a:lnTo>
                    <a:pt x="1128" y="804"/>
                  </a:lnTo>
                  <a:lnTo>
                    <a:pt x="1128" y="816"/>
                  </a:lnTo>
                  <a:lnTo>
                    <a:pt x="1122" y="822"/>
                  </a:lnTo>
                  <a:lnTo>
                    <a:pt x="1116" y="816"/>
                  </a:lnTo>
                  <a:lnTo>
                    <a:pt x="1110" y="816"/>
                  </a:lnTo>
                  <a:lnTo>
                    <a:pt x="1104" y="816"/>
                  </a:lnTo>
                  <a:lnTo>
                    <a:pt x="1098" y="816"/>
                  </a:lnTo>
                  <a:lnTo>
                    <a:pt x="1098" y="822"/>
                  </a:lnTo>
                  <a:lnTo>
                    <a:pt x="1092" y="834"/>
                  </a:lnTo>
                  <a:lnTo>
                    <a:pt x="1092" y="840"/>
                  </a:lnTo>
                  <a:lnTo>
                    <a:pt x="1074" y="840"/>
                  </a:lnTo>
                  <a:lnTo>
                    <a:pt x="1074" y="828"/>
                  </a:lnTo>
                  <a:lnTo>
                    <a:pt x="1062" y="804"/>
                  </a:lnTo>
                  <a:lnTo>
                    <a:pt x="1056" y="792"/>
                  </a:lnTo>
                  <a:lnTo>
                    <a:pt x="1056" y="786"/>
                  </a:lnTo>
                  <a:lnTo>
                    <a:pt x="1026" y="780"/>
                  </a:lnTo>
                  <a:lnTo>
                    <a:pt x="1026" y="768"/>
                  </a:lnTo>
                  <a:lnTo>
                    <a:pt x="1008" y="768"/>
                  </a:lnTo>
                  <a:lnTo>
                    <a:pt x="1002" y="780"/>
                  </a:lnTo>
                  <a:lnTo>
                    <a:pt x="996" y="792"/>
                  </a:lnTo>
                  <a:lnTo>
                    <a:pt x="978" y="798"/>
                  </a:lnTo>
                  <a:lnTo>
                    <a:pt x="972" y="810"/>
                  </a:lnTo>
                  <a:lnTo>
                    <a:pt x="972" y="822"/>
                  </a:lnTo>
                  <a:lnTo>
                    <a:pt x="978" y="828"/>
                  </a:lnTo>
                  <a:lnTo>
                    <a:pt x="978" y="834"/>
                  </a:lnTo>
                  <a:lnTo>
                    <a:pt x="960" y="840"/>
                  </a:lnTo>
                  <a:lnTo>
                    <a:pt x="936" y="840"/>
                  </a:lnTo>
                  <a:lnTo>
                    <a:pt x="918" y="846"/>
                  </a:lnTo>
                  <a:lnTo>
                    <a:pt x="912" y="840"/>
                  </a:lnTo>
                  <a:lnTo>
                    <a:pt x="912" y="834"/>
                  </a:lnTo>
                  <a:lnTo>
                    <a:pt x="906" y="834"/>
                  </a:lnTo>
                  <a:lnTo>
                    <a:pt x="906" y="840"/>
                  </a:lnTo>
                  <a:lnTo>
                    <a:pt x="900" y="846"/>
                  </a:lnTo>
                  <a:lnTo>
                    <a:pt x="906" y="852"/>
                  </a:lnTo>
                  <a:lnTo>
                    <a:pt x="900" y="864"/>
                  </a:lnTo>
                  <a:lnTo>
                    <a:pt x="900" y="876"/>
                  </a:lnTo>
                  <a:lnTo>
                    <a:pt x="900" y="882"/>
                  </a:lnTo>
                  <a:lnTo>
                    <a:pt x="894" y="888"/>
                  </a:lnTo>
                  <a:lnTo>
                    <a:pt x="900" y="900"/>
                  </a:lnTo>
                  <a:lnTo>
                    <a:pt x="900" y="906"/>
                  </a:lnTo>
                  <a:lnTo>
                    <a:pt x="894" y="906"/>
                  </a:lnTo>
                  <a:lnTo>
                    <a:pt x="894" y="912"/>
                  </a:lnTo>
                  <a:lnTo>
                    <a:pt x="900" y="918"/>
                  </a:lnTo>
                  <a:lnTo>
                    <a:pt x="900" y="924"/>
                  </a:lnTo>
                  <a:lnTo>
                    <a:pt x="900" y="948"/>
                  </a:lnTo>
                  <a:lnTo>
                    <a:pt x="888" y="948"/>
                  </a:lnTo>
                  <a:lnTo>
                    <a:pt x="888" y="954"/>
                  </a:lnTo>
                  <a:lnTo>
                    <a:pt x="894" y="954"/>
                  </a:lnTo>
                  <a:lnTo>
                    <a:pt x="900" y="960"/>
                  </a:lnTo>
                  <a:lnTo>
                    <a:pt x="900" y="972"/>
                  </a:lnTo>
                  <a:lnTo>
                    <a:pt x="906" y="984"/>
                  </a:lnTo>
                  <a:lnTo>
                    <a:pt x="912" y="984"/>
                  </a:lnTo>
                  <a:lnTo>
                    <a:pt x="918" y="990"/>
                  </a:lnTo>
                  <a:lnTo>
                    <a:pt x="936" y="990"/>
                  </a:lnTo>
                  <a:lnTo>
                    <a:pt x="936" y="996"/>
                  </a:lnTo>
                  <a:lnTo>
                    <a:pt x="942" y="996"/>
                  </a:lnTo>
                  <a:lnTo>
                    <a:pt x="942" y="1002"/>
                  </a:lnTo>
                  <a:lnTo>
                    <a:pt x="942" y="1008"/>
                  </a:lnTo>
                  <a:lnTo>
                    <a:pt x="948" y="1008"/>
                  </a:lnTo>
                  <a:lnTo>
                    <a:pt x="948" y="1014"/>
                  </a:lnTo>
                  <a:lnTo>
                    <a:pt x="948" y="1020"/>
                  </a:lnTo>
                  <a:lnTo>
                    <a:pt x="954" y="1032"/>
                  </a:lnTo>
                  <a:lnTo>
                    <a:pt x="948" y="1038"/>
                  </a:lnTo>
                  <a:lnTo>
                    <a:pt x="954" y="1044"/>
                  </a:lnTo>
                  <a:lnTo>
                    <a:pt x="954" y="1056"/>
                  </a:lnTo>
                  <a:lnTo>
                    <a:pt x="960" y="1056"/>
                  </a:lnTo>
                  <a:lnTo>
                    <a:pt x="960" y="1062"/>
                  </a:lnTo>
                  <a:lnTo>
                    <a:pt x="954" y="1068"/>
                  </a:lnTo>
                  <a:lnTo>
                    <a:pt x="948" y="1074"/>
                  </a:lnTo>
                  <a:lnTo>
                    <a:pt x="948" y="1080"/>
                  </a:lnTo>
                  <a:lnTo>
                    <a:pt x="948" y="1086"/>
                  </a:lnTo>
                  <a:lnTo>
                    <a:pt x="942" y="1092"/>
                  </a:lnTo>
                  <a:lnTo>
                    <a:pt x="942" y="1098"/>
                  </a:lnTo>
                  <a:lnTo>
                    <a:pt x="942" y="1104"/>
                  </a:lnTo>
                  <a:lnTo>
                    <a:pt x="942" y="1110"/>
                  </a:lnTo>
                  <a:lnTo>
                    <a:pt x="936" y="1116"/>
                  </a:lnTo>
                  <a:lnTo>
                    <a:pt x="936" y="1122"/>
                  </a:lnTo>
                  <a:lnTo>
                    <a:pt x="936" y="1128"/>
                  </a:lnTo>
                  <a:lnTo>
                    <a:pt x="936" y="1134"/>
                  </a:lnTo>
                  <a:lnTo>
                    <a:pt x="942" y="1146"/>
                  </a:lnTo>
                  <a:lnTo>
                    <a:pt x="936" y="1158"/>
                  </a:lnTo>
                  <a:lnTo>
                    <a:pt x="936" y="1170"/>
                  </a:lnTo>
                  <a:lnTo>
                    <a:pt x="936" y="1194"/>
                  </a:lnTo>
                  <a:lnTo>
                    <a:pt x="930" y="1200"/>
                  </a:lnTo>
                  <a:lnTo>
                    <a:pt x="930" y="1212"/>
                  </a:lnTo>
                  <a:lnTo>
                    <a:pt x="918" y="1218"/>
                  </a:lnTo>
                  <a:lnTo>
                    <a:pt x="918" y="1230"/>
                  </a:lnTo>
                  <a:lnTo>
                    <a:pt x="906" y="1230"/>
                  </a:lnTo>
                  <a:lnTo>
                    <a:pt x="900" y="1254"/>
                  </a:lnTo>
                  <a:lnTo>
                    <a:pt x="900" y="1260"/>
                  </a:lnTo>
                  <a:lnTo>
                    <a:pt x="900" y="1266"/>
                  </a:lnTo>
                  <a:lnTo>
                    <a:pt x="900" y="1272"/>
                  </a:lnTo>
                  <a:lnTo>
                    <a:pt x="900" y="1278"/>
                  </a:lnTo>
                  <a:lnTo>
                    <a:pt x="900" y="1284"/>
                  </a:lnTo>
                  <a:lnTo>
                    <a:pt x="906" y="129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1" name="Freeform 26">
              <a:extLst>
                <a:ext uri="{FF2B5EF4-FFF2-40B4-BE49-F238E27FC236}">
                  <a16:creationId xmlns:a16="http://schemas.microsoft.com/office/drawing/2014/main" id="{25725EFE-FE00-49A8-A87A-6752B785C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79173" y="3477313"/>
              <a:ext cx="650731" cy="559125"/>
            </a:xfrm>
            <a:custGeom>
              <a:avLst/>
              <a:gdLst>
                <a:gd name="T0" fmla="*/ 95 w 1224"/>
                <a:gd name="T1" fmla="*/ 89 h 1050"/>
                <a:gd name="T2" fmla="*/ 90 w 1224"/>
                <a:gd name="T3" fmla="*/ 84 h 1050"/>
                <a:gd name="T4" fmla="*/ 84 w 1224"/>
                <a:gd name="T5" fmla="*/ 83 h 1050"/>
                <a:gd name="T6" fmla="*/ 82 w 1224"/>
                <a:gd name="T7" fmla="*/ 80 h 1050"/>
                <a:gd name="T8" fmla="*/ 85 w 1224"/>
                <a:gd name="T9" fmla="*/ 77 h 1050"/>
                <a:gd name="T10" fmla="*/ 81 w 1224"/>
                <a:gd name="T11" fmla="*/ 76 h 1050"/>
                <a:gd name="T12" fmla="*/ 77 w 1224"/>
                <a:gd name="T13" fmla="*/ 77 h 1050"/>
                <a:gd name="T14" fmla="*/ 78 w 1224"/>
                <a:gd name="T15" fmla="*/ 73 h 1050"/>
                <a:gd name="T16" fmla="*/ 59 w 1224"/>
                <a:gd name="T17" fmla="*/ 71 h 1050"/>
                <a:gd name="T18" fmla="*/ 41 w 1224"/>
                <a:gd name="T19" fmla="*/ 73 h 1050"/>
                <a:gd name="T20" fmla="*/ 33 w 1224"/>
                <a:gd name="T21" fmla="*/ 71 h 1050"/>
                <a:gd name="T22" fmla="*/ 30 w 1224"/>
                <a:gd name="T23" fmla="*/ 75 h 1050"/>
                <a:gd name="T24" fmla="*/ 27 w 1224"/>
                <a:gd name="T25" fmla="*/ 80 h 1050"/>
                <a:gd name="T26" fmla="*/ 12 w 1224"/>
                <a:gd name="T27" fmla="*/ 81 h 1050"/>
                <a:gd name="T28" fmla="*/ 9 w 1224"/>
                <a:gd name="T29" fmla="*/ 84 h 1050"/>
                <a:gd name="T30" fmla="*/ 6 w 1224"/>
                <a:gd name="T31" fmla="*/ 83 h 1050"/>
                <a:gd name="T32" fmla="*/ 1 w 1224"/>
                <a:gd name="T33" fmla="*/ 83 h 1050"/>
                <a:gd name="T34" fmla="*/ 3 w 1224"/>
                <a:gd name="T35" fmla="*/ 77 h 1050"/>
                <a:gd name="T36" fmla="*/ 5 w 1224"/>
                <a:gd name="T37" fmla="*/ 70 h 1050"/>
                <a:gd name="T38" fmla="*/ 2 w 1224"/>
                <a:gd name="T39" fmla="*/ 65 h 1050"/>
                <a:gd name="T40" fmla="*/ 3 w 1224"/>
                <a:gd name="T41" fmla="*/ 58 h 1050"/>
                <a:gd name="T42" fmla="*/ 4 w 1224"/>
                <a:gd name="T43" fmla="*/ 51 h 1050"/>
                <a:gd name="T44" fmla="*/ 3 w 1224"/>
                <a:gd name="T45" fmla="*/ 47 h 1050"/>
                <a:gd name="T46" fmla="*/ 4 w 1224"/>
                <a:gd name="T47" fmla="*/ 39 h 1050"/>
                <a:gd name="T48" fmla="*/ 6 w 1224"/>
                <a:gd name="T49" fmla="*/ 29 h 1050"/>
                <a:gd name="T50" fmla="*/ 3 w 1224"/>
                <a:gd name="T51" fmla="*/ 22 h 1050"/>
                <a:gd name="T52" fmla="*/ 2 w 1224"/>
                <a:gd name="T53" fmla="*/ 14 h 1050"/>
                <a:gd name="T54" fmla="*/ 0 w 1224"/>
                <a:gd name="T55" fmla="*/ 6 h 1050"/>
                <a:gd name="T56" fmla="*/ 9 w 1224"/>
                <a:gd name="T57" fmla="*/ 1 h 1050"/>
                <a:gd name="T58" fmla="*/ 11 w 1224"/>
                <a:gd name="T59" fmla="*/ 8 h 1050"/>
                <a:gd name="T60" fmla="*/ 15 w 1224"/>
                <a:gd name="T61" fmla="*/ 9 h 1050"/>
                <a:gd name="T62" fmla="*/ 18 w 1224"/>
                <a:gd name="T63" fmla="*/ 8 h 1050"/>
                <a:gd name="T64" fmla="*/ 18 w 1224"/>
                <a:gd name="T65" fmla="*/ 13 h 1050"/>
                <a:gd name="T66" fmla="*/ 17 w 1224"/>
                <a:gd name="T67" fmla="*/ 15 h 1050"/>
                <a:gd name="T68" fmla="*/ 17 w 1224"/>
                <a:gd name="T69" fmla="*/ 17 h 1050"/>
                <a:gd name="T70" fmla="*/ 17 w 1224"/>
                <a:gd name="T71" fmla="*/ 21 h 1050"/>
                <a:gd name="T72" fmla="*/ 21 w 1224"/>
                <a:gd name="T73" fmla="*/ 25 h 1050"/>
                <a:gd name="T74" fmla="*/ 24 w 1224"/>
                <a:gd name="T75" fmla="*/ 31 h 1050"/>
                <a:gd name="T76" fmla="*/ 35 w 1224"/>
                <a:gd name="T77" fmla="*/ 34 h 1050"/>
                <a:gd name="T78" fmla="*/ 40 w 1224"/>
                <a:gd name="T79" fmla="*/ 27 h 1050"/>
                <a:gd name="T80" fmla="*/ 46 w 1224"/>
                <a:gd name="T81" fmla="*/ 30 h 1050"/>
                <a:gd name="T82" fmla="*/ 51 w 1224"/>
                <a:gd name="T83" fmla="*/ 27 h 1050"/>
                <a:gd name="T84" fmla="*/ 59 w 1224"/>
                <a:gd name="T85" fmla="*/ 39 h 1050"/>
                <a:gd name="T86" fmla="*/ 59 w 1224"/>
                <a:gd name="T87" fmla="*/ 45 h 1050"/>
                <a:gd name="T88" fmla="*/ 72 w 1224"/>
                <a:gd name="T89" fmla="*/ 45 h 1050"/>
                <a:gd name="T90" fmla="*/ 79 w 1224"/>
                <a:gd name="T91" fmla="*/ 44 h 1050"/>
                <a:gd name="T92" fmla="*/ 87 w 1224"/>
                <a:gd name="T93" fmla="*/ 48 h 1050"/>
                <a:gd name="T94" fmla="*/ 93 w 1224"/>
                <a:gd name="T95" fmla="*/ 50 h 1050"/>
                <a:gd name="T96" fmla="*/ 98 w 1224"/>
                <a:gd name="T97" fmla="*/ 51 h 1050"/>
                <a:gd name="T98" fmla="*/ 106 w 1224"/>
                <a:gd name="T99" fmla="*/ 50 h 1050"/>
                <a:gd name="T100" fmla="*/ 104 w 1224"/>
                <a:gd name="T101" fmla="*/ 54 h 1050"/>
                <a:gd name="T102" fmla="*/ 104 w 1224"/>
                <a:gd name="T103" fmla="*/ 60 h 1050"/>
                <a:gd name="T104" fmla="*/ 101 w 1224"/>
                <a:gd name="T105" fmla="*/ 63 h 1050"/>
                <a:gd name="T106" fmla="*/ 98 w 1224"/>
                <a:gd name="T107" fmla="*/ 66 h 1050"/>
                <a:gd name="T108" fmla="*/ 95 w 1224"/>
                <a:gd name="T109" fmla="*/ 68 h 1050"/>
                <a:gd name="T110" fmla="*/ 93 w 1224"/>
                <a:gd name="T111" fmla="*/ 72 h 1050"/>
                <a:gd name="T112" fmla="*/ 98 w 1224"/>
                <a:gd name="T113" fmla="*/ 75 h 1050"/>
                <a:gd name="T114" fmla="*/ 102 w 1224"/>
                <a:gd name="T115" fmla="*/ 77 h 1050"/>
                <a:gd name="T116" fmla="*/ 107 w 1224"/>
                <a:gd name="T117" fmla="*/ 76 h 1050"/>
                <a:gd name="T118" fmla="*/ 104 w 1224"/>
                <a:gd name="T119" fmla="*/ 84 h 1050"/>
                <a:gd name="T120" fmla="*/ 103 w 1224"/>
                <a:gd name="T121" fmla="*/ 87 h 1050"/>
                <a:gd name="T122" fmla="*/ 104 w 1224"/>
                <a:gd name="T123" fmla="*/ 91 h 105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24"/>
                <a:gd name="T187" fmla="*/ 0 h 1050"/>
                <a:gd name="T188" fmla="*/ 1224 w 1224"/>
                <a:gd name="T189" fmla="*/ 1050 h 105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24" h="1050">
                  <a:moveTo>
                    <a:pt x="1128" y="1032"/>
                  </a:moveTo>
                  <a:lnTo>
                    <a:pt x="1122" y="1026"/>
                  </a:lnTo>
                  <a:lnTo>
                    <a:pt x="1116" y="1026"/>
                  </a:lnTo>
                  <a:lnTo>
                    <a:pt x="1110" y="1026"/>
                  </a:lnTo>
                  <a:lnTo>
                    <a:pt x="1104" y="1026"/>
                  </a:lnTo>
                  <a:lnTo>
                    <a:pt x="1104" y="1020"/>
                  </a:lnTo>
                  <a:lnTo>
                    <a:pt x="1098" y="1020"/>
                  </a:lnTo>
                  <a:lnTo>
                    <a:pt x="1092" y="1020"/>
                  </a:lnTo>
                  <a:lnTo>
                    <a:pt x="1086" y="1020"/>
                  </a:lnTo>
                  <a:lnTo>
                    <a:pt x="1080" y="1014"/>
                  </a:lnTo>
                  <a:lnTo>
                    <a:pt x="1068" y="1014"/>
                  </a:lnTo>
                  <a:lnTo>
                    <a:pt x="1062" y="1014"/>
                  </a:lnTo>
                  <a:lnTo>
                    <a:pt x="1062" y="1008"/>
                  </a:lnTo>
                  <a:lnTo>
                    <a:pt x="1062" y="990"/>
                  </a:lnTo>
                  <a:lnTo>
                    <a:pt x="1062" y="984"/>
                  </a:lnTo>
                  <a:lnTo>
                    <a:pt x="1062" y="972"/>
                  </a:lnTo>
                  <a:lnTo>
                    <a:pt x="1044" y="966"/>
                  </a:lnTo>
                  <a:lnTo>
                    <a:pt x="1026" y="966"/>
                  </a:lnTo>
                  <a:lnTo>
                    <a:pt x="1014" y="966"/>
                  </a:lnTo>
                  <a:lnTo>
                    <a:pt x="996" y="966"/>
                  </a:lnTo>
                  <a:lnTo>
                    <a:pt x="996" y="972"/>
                  </a:lnTo>
                  <a:lnTo>
                    <a:pt x="990" y="972"/>
                  </a:lnTo>
                  <a:lnTo>
                    <a:pt x="984" y="966"/>
                  </a:lnTo>
                  <a:lnTo>
                    <a:pt x="978" y="966"/>
                  </a:lnTo>
                  <a:lnTo>
                    <a:pt x="978" y="960"/>
                  </a:lnTo>
                  <a:lnTo>
                    <a:pt x="972" y="954"/>
                  </a:lnTo>
                  <a:lnTo>
                    <a:pt x="966" y="954"/>
                  </a:lnTo>
                  <a:lnTo>
                    <a:pt x="960" y="954"/>
                  </a:lnTo>
                  <a:lnTo>
                    <a:pt x="954" y="954"/>
                  </a:lnTo>
                  <a:lnTo>
                    <a:pt x="954" y="948"/>
                  </a:lnTo>
                  <a:lnTo>
                    <a:pt x="942" y="942"/>
                  </a:lnTo>
                  <a:lnTo>
                    <a:pt x="936" y="942"/>
                  </a:lnTo>
                  <a:lnTo>
                    <a:pt x="936" y="936"/>
                  </a:lnTo>
                  <a:lnTo>
                    <a:pt x="936" y="930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42" y="918"/>
                  </a:lnTo>
                  <a:lnTo>
                    <a:pt x="948" y="918"/>
                  </a:lnTo>
                  <a:lnTo>
                    <a:pt x="960" y="918"/>
                  </a:lnTo>
                  <a:lnTo>
                    <a:pt x="966" y="912"/>
                  </a:lnTo>
                  <a:lnTo>
                    <a:pt x="978" y="906"/>
                  </a:lnTo>
                  <a:lnTo>
                    <a:pt x="978" y="900"/>
                  </a:lnTo>
                  <a:lnTo>
                    <a:pt x="978" y="894"/>
                  </a:lnTo>
                  <a:lnTo>
                    <a:pt x="978" y="888"/>
                  </a:lnTo>
                  <a:lnTo>
                    <a:pt x="972" y="888"/>
                  </a:lnTo>
                  <a:lnTo>
                    <a:pt x="978" y="888"/>
                  </a:lnTo>
                  <a:lnTo>
                    <a:pt x="978" y="882"/>
                  </a:lnTo>
                  <a:lnTo>
                    <a:pt x="972" y="876"/>
                  </a:lnTo>
                  <a:lnTo>
                    <a:pt x="966" y="870"/>
                  </a:lnTo>
                  <a:lnTo>
                    <a:pt x="954" y="876"/>
                  </a:lnTo>
                  <a:lnTo>
                    <a:pt x="948" y="876"/>
                  </a:lnTo>
                  <a:lnTo>
                    <a:pt x="942" y="870"/>
                  </a:lnTo>
                  <a:lnTo>
                    <a:pt x="936" y="876"/>
                  </a:lnTo>
                  <a:lnTo>
                    <a:pt x="930" y="876"/>
                  </a:lnTo>
                  <a:lnTo>
                    <a:pt x="924" y="882"/>
                  </a:lnTo>
                  <a:lnTo>
                    <a:pt x="912" y="888"/>
                  </a:lnTo>
                  <a:lnTo>
                    <a:pt x="906" y="894"/>
                  </a:lnTo>
                  <a:lnTo>
                    <a:pt x="900" y="900"/>
                  </a:lnTo>
                  <a:lnTo>
                    <a:pt x="894" y="888"/>
                  </a:lnTo>
                  <a:lnTo>
                    <a:pt x="888" y="894"/>
                  </a:lnTo>
                  <a:lnTo>
                    <a:pt x="882" y="888"/>
                  </a:lnTo>
                  <a:lnTo>
                    <a:pt x="876" y="894"/>
                  </a:lnTo>
                  <a:lnTo>
                    <a:pt x="876" y="888"/>
                  </a:lnTo>
                  <a:lnTo>
                    <a:pt x="876" y="882"/>
                  </a:lnTo>
                  <a:lnTo>
                    <a:pt x="876" y="876"/>
                  </a:lnTo>
                  <a:lnTo>
                    <a:pt x="870" y="858"/>
                  </a:lnTo>
                  <a:lnTo>
                    <a:pt x="864" y="858"/>
                  </a:lnTo>
                  <a:lnTo>
                    <a:pt x="870" y="852"/>
                  </a:lnTo>
                  <a:lnTo>
                    <a:pt x="870" y="846"/>
                  </a:lnTo>
                  <a:lnTo>
                    <a:pt x="876" y="846"/>
                  </a:lnTo>
                  <a:lnTo>
                    <a:pt x="882" y="846"/>
                  </a:lnTo>
                  <a:lnTo>
                    <a:pt x="888" y="840"/>
                  </a:lnTo>
                  <a:lnTo>
                    <a:pt x="894" y="834"/>
                  </a:lnTo>
                  <a:lnTo>
                    <a:pt x="894" y="828"/>
                  </a:lnTo>
                  <a:lnTo>
                    <a:pt x="894" y="816"/>
                  </a:lnTo>
                  <a:lnTo>
                    <a:pt x="858" y="810"/>
                  </a:lnTo>
                  <a:lnTo>
                    <a:pt x="858" y="816"/>
                  </a:lnTo>
                  <a:lnTo>
                    <a:pt x="852" y="816"/>
                  </a:lnTo>
                  <a:lnTo>
                    <a:pt x="780" y="816"/>
                  </a:lnTo>
                  <a:lnTo>
                    <a:pt x="750" y="816"/>
                  </a:lnTo>
                  <a:lnTo>
                    <a:pt x="684" y="816"/>
                  </a:lnTo>
                  <a:lnTo>
                    <a:pt x="636" y="816"/>
                  </a:lnTo>
                  <a:lnTo>
                    <a:pt x="612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0" y="816"/>
                  </a:lnTo>
                  <a:lnTo>
                    <a:pt x="480" y="822"/>
                  </a:lnTo>
                  <a:lnTo>
                    <a:pt x="480" y="834"/>
                  </a:lnTo>
                  <a:lnTo>
                    <a:pt x="474" y="840"/>
                  </a:lnTo>
                  <a:lnTo>
                    <a:pt x="468" y="840"/>
                  </a:lnTo>
                  <a:lnTo>
                    <a:pt x="432" y="840"/>
                  </a:lnTo>
                  <a:lnTo>
                    <a:pt x="426" y="834"/>
                  </a:lnTo>
                  <a:lnTo>
                    <a:pt x="420" y="834"/>
                  </a:lnTo>
                  <a:lnTo>
                    <a:pt x="420" y="828"/>
                  </a:lnTo>
                  <a:lnTo>
                    <a:pt x="414" y="822"/>
                  </a:lnTo>
                  <a:lnTo>
                    <a:pt x="408" y="822"/>
                  </a:lnTo>
                  <a:lnTo>
                    <a:pt x="396" y="822"/>
                  </a:lnTo>
                  <a:lnTo>
                    <a:pt x="396" y="816"/>
                  </a:lnTo>
                  <a:lnTo>
                    <a:pt x="384" y="816"/>
                  </a:lnTo>
                  <a:lnTo>
                    <a:pt x="372" y="810"/>
                  </a:lnTo>
                  <a:lnTo>
                    <a:pt x="372" y="804"/>
                  </a:lnTo>
                  <a:lnTo>
                    <a:pt x="366" y="804"/>
                  </a:lnTo>
                  <a:lnTo>
                    <a:pt x="360" y="804"/>
                  </a:lnTo>
                  <a:lnTo>
                    <a:pt x="348" y="828"/>
                  </a:lnTo>
                  <a:lnTo>
                    <a:pt x="348" y="834"/>
                  </a:lnTo>
                  <a:lnTo>
                    <a:pt x="348" y="852"/>
                  </a:lnTo>
                  <a:lnTo>
                    <a:pt x="348" y="858"/>
                  </a:lnTo>
                  <a:lnTo>
                    <a:pt x="342" y="864"/>
                  </a:lnTo>
                  <a:lnTo>
                    <a:pt x="342" y="870"/>
                  </a:lnTo>
                  <a:lnTo>
                    <a:pt x="330" y="876"/>
                  </a:lnTo>
                  <a:lnTo>
                    <a:pt x="324" y="888"/>
                  </a:lnTo>
                  <a:lnTo>
                    <a:pt x="324" y="894"/>
                  </a:lnTo>
                  <a:lnTo>
                    <a:pt x="330" y="900"/>
                  </a:lnTo>
                  <a:lnTo>
                    <a:pt x="330" y="906"/>
                  </a:lnTo>
                  <a:lnTo>
                    <a:pt x="324" y="906"/>
                  </a:lnTo>
                  <a:lnTo>
                    <a:pt x="318" y="912"/>
                  </a:lnTo>
                  <a:lnTo>
                    <a:pt x="312" y="918"/>
                  </a:lnTo>
                  <a:lnTo>
                    <a:pt x="306" y="924"/>
                  </a:lnTo>
                  <a:lnTo>
                    <a:pt x="288" y="924"/>
                  </a:lnTo>
                  <a:lnTo>
                    <a:pt x="282" y="924"/>
                  </a:lnTo>
                  <a:lnTo>
                    <a:pt x="276" y="930"/>
                  </a:lnTo>
                  <a:lnTo>
                    <a:pt x="270" y="930"/>
                  </a:lnTo>
                  <a:lnTo>
                    <a:pt x="264" y="930"/>
                  </a:lnTo>
                  <a:lnTo>
                    <a:pt x="198" y="930"/>
                  </a:lnTo>
                  <a:lnTo>
                    <a:pt x="132" y="930"/>
                  </a:lnTo>
                  <a:lnTo>
                    <a:pt x="132" y="936"/>
                  </a:lnTo>
                  <a:lnTo>
                    <a:pt x="132" y="942"/>
                  </a:lnTo>
                  <a:lnTo>
                    <a:pt x="132" y="948"/>
                  </a:lnTo>
                  <a:lnTo>
                    <a:pt x="126" y="948"/>
                  </a:lnTo>
                  <a:lnTo>
                    <a:pt x="120" y="948"/>
                  </a:lnTo>
                  <a:lnTo>
                    <a:pt x="120" y="954"/>
                  </a:lnTo>
                  <a:lnTo>
                    <a:pt x="114" y="954"/>
                  </a:lnTo>
                  <a:lnTo>
                    <a:pt x="114" y="960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02" y="966"/>
                  </a:lnTo>
                  <a:lnTo>
                    <a:pt x="102" y="972"/>
                  </a:lnTo>
                  <a:lnTo>
                    <a:pt x="96" y="972"/>
                  </a:lnTo>
                  <a:lnTo>
                    <a:pt x="96" y="966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78" y="960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60"/>
                  </a:lnTo>
                  <a:lnTo>
                    <a:pt x="54" y="966"/>
                  </a:lnTo>
                  <a:lnTo>
                    <a:pt x="48" y="966"/>
                  </a:lnTo>
                  <a:lnTo>
                    <a:pt x="42" y="966"/>
                  </a:lnTo>
                  <a:lnTo>
                    <a:pt x="36" y="966"/>
                  </a:lnTo>
                  <a:lnTo>
                    <a:pt x="30" y="966"/>
                  </a:lnTo>
                  <a:lnTo>
                    <a:pt x="24" y="960"/>
                  </a:lnTo>
                  <a:lnTo>
                    <a:pt x="18" y="960"/>
                  </a:lnTo>
                  <a:lnTo>
                    <a:pt x="12" y="960"/>
                  </a:lnTo>
                  <a:lnTo>
                    <a:pt x="12" y="948"/>
                  </a:lnTo>
                  <a:lnTo>
                    <a:pt x="18" y="942"/>
                  </a:lnTo>
                  <a:lnTo>
                    <a:pt x="18" y="936"/>
                  </a:lnTo>
                  <a:lnTo>
                    <a:pt x="18" y="930"/>
                  </a:lnTo>
                  <a:lnTo>
                    <a:pt x="18" y="924"/>
                  </a:lnTo>
                  <a:lnTo>
                    <a:pt x="18" y="912"/>
                  </a:lnTo>
                  <a:lnTo>
                    <a:pt x="24" y="906"/>
                  </a:lnTo>
                  <a:lnTo>
                    <a:pt x="30" y="900"/>
                  </a:lnTo>
                  <a:lnTo>
                    <a:pt x="36" y="894"/>
                  </a:lnTo>
                  <a:lnTo>
                    <a:pt x="36" y="882"/>
                  </a:lnTo>
                  <a:lnTo>
                    <a:pt x="30" y="876"/>
                  </a:lnTo>
                  <a:lnTo>
                    <a:pt x="30" y="870"/>
                  </a:lnTo>
                  <a:lnTo>
                    <a:pt x="24" y="858"/>
                  </a:lnTo>
                  <a:lnTo>
                    <a:pt x="24" y="846"/>
                  </a:lnTo>
                  <a:lnTo>
                    <a:pt x="36" y="822"/>
                  </a:lnTo>
                  <a:lnTo>
                    <a:pt x="42" y="816"/>
                  </a:lnTo>
                  <a:lnTo>
                    <a:pt x="48" y="816"/>
                  </a:lnTo>
                  <a:lnTo>
                    <a:pt x="60" y="804"/>
                  </a:lnTo>
                  <a:lnTo>
                    <a:pt x="60" y="786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54" y="762"/>
                  </a:lnTo>
                  <a:lnTo>
                    <a:pt x="42" y="762"/>
                  </a:lnTo>
                  <a:lnTo>
                    <a:pt x="36" y="762"/>
                  </a:lnTo>
                  <a:lnTo>
                    <a:pt x="30" y="762"/>
                  </a:lnTo>
                  <a:lnTo>
                    <a:pt x="30" y="756"/>
                  </a:lnTo>
                  <a:lnTo>
                    <a:pt x="24" y="750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702"/>
                  </a:lnTo>
                  <a:lnTo>
                    <a:pt x="36" y="684"/>
                  </a:lnTo>
                  <a:lnTo>
                    <a:pt x="36" y="678"/>
                  </a:lnTo>
                  <a:lnTo>
                    <a:pt x="36" y="666"/>
                  </a:lnTo>
                  <a:lnTo>
                    <a:pt x="36" y="654"/>
                  </a:lnTo>
                  <a:lnTo>
                    <a:pt x="18" y="654"/>
                  </a:lnTo>
                  <a:lnTo>
                    <a:pt x="18" y="648"/>
                  </a:lnTo>
                  <a:lnTo>
                    <a:pt x="18" y="618"/>
                  </a:lnTo>
                  <a:lnTo>
                    <a:pt x="18" y="612"/>
                  </a:lnTo>
                  <a:lnTo>
                    <a:pt x="24" y="612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54" y="588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76"/>
                  </a:lnTo>
                  <a:lnTo>
                    <a:pt x="48" y="564"/>
                  </a:lnTo>
                  <a:lnTo>
                    <a:pt x="42" y="564"/>
                  </a:lnTo>
                  <a:lnTo>
                    <a:pt x="36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6" y="540"/>
                  </a:lnTo>
                  <a:lnTo>
                    <a:pt x="48" y="534"/>
                  </a:lnTo>
                  <a:lnTo>
                    <a:pt x="54" y="528"/>
                  </a:lnTo>
                  <a:lnTo>
                    <a:pt x="60" y="504"/>
                  </a:lnTo>
                  <a:lnTo>
                    <a:pt x="60" y="492"/>
                  </a:lnTo>
                  <a:lnTo>
                    <a:pt x="54" y="492"/>
                  </a:lnTo>
                  <a:lnTo>
                    <a:pt x="54" y="480"/>
                  </a:lnTo>
                  <a:lnTo>
                    <a:pt x="48" y="456"/>
                  </a:lnTo>
                  <a:lnTo>
                    <a:pt x="42" y="450"/>
                  </a:lnTo>
                  <a:lnTo>
                    <a:pt x="36" y="444"/>
                  </a:lnTo>
                  <a:lnTo>
                    <a:pt x="36" y="420"/>
                  </a:lnTo>
                  <a:lnTo>
                    <a:pt x="36" y="408"/>
                  </a:lnTo>
                  <a:lnTo>
                    <a:pt x="36" y="37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60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6" y="300"/>
                  </a:lnTo>
                  <a:lnTo>
                    <a:pt x="60" y="294"/>
                  </a:lnTo>
                  <a:lnTo>
                    <a:pt x="60" y="288"/>
                  </a:lnTo>
                  <a:lnTo>
                    <a:pt x="54" y="282"/>
                  </a:lnTo>
                  <a:lnTo>
                    <a:pt x="42" y="276"/>
                  </a:lnTo>
                  <a:lnTo>
                    <a:pt x="36" y="276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0" y="252"/>
                  </a:lnTo>
                  <a:lnTo>
                    <a:pt x="24" y="246"/>
                  </a:lnTo>
                  <a:lnTo>
                    <a:pt x="24" y="240"/>
                  </a:lnTo>
                  <a:lnTo>
                    <a:pt x="24" y="228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62"/>
                  </a:lnTo>
                  <a:lnTo>
                    <a:pt x="24" y="144"/>
                  </a:lnTo>
                  <a:lnTo>
                    <a:pt x="24" y="132"/>
                  </a:lnTo>
                  <a:lnTo>
                    <a:pt x="24" y="114"/>
                  </a:lnTo>
                  <a:lnTo>
                    <a:pt x="24" y="102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18" y="48"/>
                  </a:lnTo>
                  <a:lnTo>
                    <a:pt x="42" y="36"/>
                  </a:lnTo>
                  <a:lnTo>
                    <a:pt x="54" y="24"/>
                  </a:lnTo>
                  <a:lnTo>
                    <a:pt x="60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10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14" y="60"/>
                  </a:lnTo>
                  <a:lnTo>
                    <a:pt x="120" y="60"/>
                  </a:lnTo>
                  <a:lnTo>
                    <a:pt x="114" y="84"/>
                  </a:lnTo>
                  <a:lnTo>
                    <a:pt x="120" y="90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38" y="114"/>
                  </a:lnTo>
                  <a:lnTo>
                    <a:pt x="138" y="132"/>
                  </a:lnTo>
                  <a:lnTo>
                    <a:pt x="162" y="126"/>
                  </a:lnTo>
                  <a:lnTo>
                    <a:pt x="162" y="114"/>
                  </a:lnTo>
                  <a:lnTo>
                    <a:pt x="174" y="108"/>
                  </a:lnTo>
                  <a:lnTo>
                    <a:pt x="174" y="102"/>
                  </a:lnTo>
                  <a:lnTo>
                    <a:pt x="180" y="96"/>
                  </a:lnTo>
                  <a:lnTo>
                    <a:pt x="180" y="60"/>
                  </a:lnTo>
                  <a:lnTo>
                    <a:pt x="192" y="60"/>
                  </a:lnTo>
                  <a:lnTo>
                    <a:pt x="192" y="72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04" y="108"/>
                  </a:lnTo>
                  <a:lnTo>
                    <a:pt x="204" y="114"/>
                  </a:lnTo>
                  <a:lnTo>
                    <a:pt x="204" y="120"/>
                  </a:lnTo>
                  <a:lnTo>
                    <a:pt x="204" y="126"/>
                  </a:lnTo>
                  <a:lnTo>
                    <a:pt x="210" y="126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8" y="174"/>
                  </a:lnTo>
                  <a:lnTo>
                    <a:pt x="198" y="180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86" y="204"/>
                  </a:lnTo>
                  <a:lnTo>
                    <a:pt x="186" y="210"/>
                  </a:lnTo>
                  <a:lnTo>
                    <a:pt x="180" y="210"/>
                  </a:lnTo>
                  <a:lnTo>
                    <a:pt x="180" y="216"/>
                  </a:lnTo>
                  <a:lnTo>
                    <a:pt x="180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92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8" y="258"/>
                  </a:lnTo>
                  <a:lnTo>
                    <a:pt x="204" y="258"/>
                  </a:lnTo>
                  <a:lnTo>
                    <a:pt x="210" y="258"/>
                  </a:lnTo>
                  <a:lnTo>
                    <a:pt x="216" y="258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34" y="276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46" y="306"/>
                  </a:lnTo>
                  <a:lnTo>
                    <a:pt x="252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42"/>
                  </a:lnTo>
                  <a:lnTo>
                    <a:pt x="270" y="342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88" y="366"/>
                  </a:lnTo>
                  <a:lnTo>
                    <a:pt x="336" y="360"/>
                  </a:lnTo>
                  <a:lnTo>
                    <a:pt x="354" y="360"/>
                  </a:lnTo>
                  <a:lnTo>
                    <a:pt x="366" y="372"/>
                  </a:lnTo>
                  <a:lnTo>
                    <a:pt x="378" y="378"/>
                  </a:lnTo>
                  <a:lnTo>
                    <a:pt x="378" y="390"/>
                  </a:lnTo>
                  <a:lnTo>
                    <a:pt x="384" y="390"/>
                  </a:lnTo>
                  <a:lnTo>
                    <a:pt x="390" y="396"/>
                  </a:lnTo>
                  <a:lnTo>
                    <a:pt x="408" y="390"/>
                  </a:lnTo>
                  <a:lnTo>
                    <a:pt x="426" y="366"/>
                  </a:lnTo>
                  <a:lnTo>
                    <a:pt x="432" y="360"/>
                  </a:lnTo>
                  <a:lnTo>
                    <a:pt x="438" y="348"/>
                  </a:lnTo>
                  <a:lnTo>
                    <a:pt x="438" y="342"/>
                  </a:lnTo>
                  <a:lnTo>
                    <a:pt x="438" y="330"/>
                  </a:lnTo>
                  <a:lnTo>
                    <a:pt x="444" y="324"/>
                  </a:lnTo>
                  <a:lnTo>
                    <a:pt x="450" y="318"/>
                  </a:lnTo>
                  <a:lnTo>
                    <a:pt x="456" y="312"/>
                  </a:lnTo>
                  <a:lnTo>
                    <a:pt x="456" y="306"/>
                  </a:lnTo>
                  <a:lnTo>
                    <a:pt x="456" y="300"/>
                  </a:lnTo>
                  <a:lnTo>
                    <a:pt x="474" y="288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92" y="294"/>
                  </a:lnTo>
                  <a:lnTo>
                    <a:pt x="492" y="318"/>
                  </a:lnTo>
                  <a:lnTo>
                    <a:pt x="504" y="324"/>
                  </a:lnTo>
                  <a:lnTo>
                    <a:pt x="492" y="348"/>
                  </a:lnTo>
                  <a:lnTo>
                    <a:pt x="522" y="348"/>
                  </a:lnTo>
                  <a:lnTo>
                    <a:pt x="528" y="342"/>
                  </a:lnTo>
                  <a:lnTo>
                    <a:pt x="528" y="336"/>
                  </a:lnTo>
                  <a:lnTo>
                    <a:pt x="528" y="330"/>
                  </a:lnTo>
                  <a:lnTo>
                    <a:pt x="534" y="330"/>
                  </a:lnTo>
                  <a:lnTo>
                    <a:pt x="540" y="330"/>
                  </a:lnTo>
                  <a:lnTo>
                    <a:pt x="546" y="330"/>
                  </a:lnTo>
                  <a:lnTo>
                    <a:pt x="552" y="324"/>
                  </a:lnTo>
                  <a:lnTo>
                    <a:pt x="558" y="318"/>
                  </a:lnTo>
                  <a:lnTo>
                    <a:pt x="576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8" y="348"/>
                  </a:lnTo>
                  <a:lnTo>
                    <a:pt x="654" y="354"/>
                  </a:lnTo>
                  <a:lnTo>
                    <a:pt x="648" y="402"/>
                  </a:lnTo>
                  <a:lnTo>
                    <a:pt x="678" y="402"/>
                  </a:lnTo>
                  <a:lnTo>
                    <a:pt x="678" y="420"/>
                  </a:lnTo>
                  <a:lnTo>
                    <a:pt x="684" y="438"/>
                  </a:lnTo>
                  <a:lnTo>
                    <a:pt x="684" y="450"/>
                  </a:lnTo>
                  <a:lnTo>
                    <a:pt x="684" y="456"/>
                  </a:lnTo>
                  <a:lnTo>
                    <a:pt x="690" y="468"/>
                  </a:lnTo>
                  <a:lnTo>
                    <a:pt x="690" y="474"/>
                  </a:lnTo>
                  <a:lnTo>
                    <a:pt x="690" y="480"/>
                  </a:lnTo>
                  <a:lnTo>
                    <a:pt x="696" y="486"/>
                  </a:lnTo>
                  <a:lnTo>
                    <a:pt x="696" y="498"/>
                  </a:lnTo>
                  <a:lnTo>
                    <a:pt x="702" y="504"/>
                  </a:lnTo>
                  <a:lnTo>
                    <a:pt x="690" y="516"/>
                  </a:lnTo>
                  <a:lnTo>
                    <a:pt x="678" y="522"/>
                  </a:lnTo>
                  <a:lnTo>
                    <a:pt x="654" y="528"/>
                  </a:lnTo>
                  <a:lnTo>
                    <a:pt x="660" y="546"/>
                  </a:lnTo>
                  <a:lnTo>
                    <a:pt x="672" y="546"/>
                  </a:lnTo>
                  <a:lnTo>
                    <a:pt x="678" y="540"/>
                  </a:lnTo>
                  <a:lnTo>
                    <a:pt x="714" y="540"/>
                  </a:lnTo>
                  <a:lnTo>
                    <a:pt x="798" y="540"/>
                  </a:lnTo>
                  <a:lnTo>
                    <a:pt x="804" y="540"/>
                  </a:lnTo>
                  <a:lnTo>
                    <a:pt x="816" y="528"/>
                  </a:lnTo>
                  <a:lnTo>
                    <a:pt x="822" y="522"/>
                  </a:lnTo>
                  <a:lnTo>
                    <a:pt x="834" y="516"/>
                  </a:lnTo>
                  <a:lnTo>
                    <a:pt x="846" y="516"/>
                  </a:lnTo>
                  <a:lnTo>
                    <a:pt x="852" y="510"/>
                  </a:lnTo>
                  <a:lnTo>
                    <a:pt x="858" y="510"/>
                  </a:lnTo>
                  <a:lnTo>
                    <a:pt x="882" y="516"/>
                  </a:lnTo>
                  <a:lnTo>
                    <a:pt x="888" y="516"/>
                  </a:lnTo>
                  <a:lnTo>
                    <a:pt x="888" y="510"/>
                  </a:lnTo>
                  <a:lnTo>
                    <a:pt x="894" y="510"/>
                  </a:lnTo>
                  <a:lnTo>
                    <a:pt x="906" y="504"/>
                  </a:lnTo>
                  <a:lnTo>
                    <a:pt x="918" y="498"/>
                  </a:lnTo>
                  <a:lnTo>
                    <a:pt x="930" y="492"/>
                  </a:lnTo>
                  <a:lnTo>
                    <a:pt x="936" y="492"/>
                  </a:lnTo>
                  <a:lnTo>
                    <a:pt x="948" y="492"/>
                  </a:lnTo>
                  <a:lnTo>
                    <a:pt x="954" y="528"/>
                  </a:lnTo>
                  <a:lnTo>
                    <a:pt x="954" y="564"/>
                  </a:lnTo>
                  <a:lnTo>
                    <a:pt x="972" y="564"/>
                  </a:lnTo>
                  <a:lnTo>
                    <a:pt x="978" y="558"/>
                  </a:lnTo>
                  <a:lnTo>
                    <a:pt x="990" y="552"/>
                  </a:lnTo>
                  <a:lnTo>
                    <a:pt x="1002" y="540"/>
                  </a:lnTo>
                  <a:lnTo>
                    <a:pt x="1026" y="534"/>
                  </a:lnTo>
                  <a:lnTo>
                    <a:pt x="1032" y="540"/>
                  </a:lnTo>
                  <a:lnTo>
                    <a:pt x="1044" y="546"/>
                  </a:lnTo>
                  <a:lnTo>
                    <a:pt x="1062" y="552"/>
                  </a:lnTo>
                  <a:lnTo>
                    <a:pt x="1068" y="552"/>
                  </a:lnTo>
                  <a:lnTo>
                    <a:pt x="1068" y="570"/>
                  </a:lnTo>
                  <a:lnTo>
                    <a:pt x="1068" y="576"/>
                  </a:lnTo>
                  <a:lnTo>
                    <a:pt x="1068" y="582"/>
                  </a:lnTo>
                  <a:lnTo>
                    <a:pt x="1068" y="588"/>
                  </a:lnTo>
                  <a:lnTo>
                    <a:pt x="1068" y="594"/>
                  </a:lnTo>
                  <a:lnTo>
                    <a:pt x="1080" y="600"/>
                  </a:lnTo>
                  <a:lnTo>
                    <a:pt x="1086" y="606"/>
                  </a:lnTo>
                  <a:lnTo>
                    <a:pt x="1092" y="594"/>
                  </a:lnTo>
                  <a:lnTo>
                    <a:pt x="1104" y="588"/>
                  </a:lnTo>
                  <a:lnTo>
                    <a:pt x="1116" y="588"/>
                  </a:lnTo>
                  <a:lnTo>
                    <a:pt x="1122" y="588"/>
                  </a:lnTo>
                  <a:lnTo>
                    <a:pt x="1122" y="594"/>
                  </a:lnTo>
                  <a:lnTo>
                    <a:pt x="1128" y="594"/>
                  </a:lnTo>
                  <a:lnTo>
                    <a:pt x="1134" y="594"/>
                  </a:lnTo>
                  <a:lnTo>
                    <a:pt x="1140" y="594"/>
                  </a:lnTo>
                  <a:lnTo>
                    <a:pt x="1146" y="588"/>
                  </a:lnTo>
                  <a:lnTo>
                    <a:pt x="1158" y="582"/>
                  </a:lnTo>
                  <a:lnTo>
                    <a:pt x="1164" y="576"/>
                  </a:lnTo>
                  <a:lnTo>
                    <a:pt x="1176" y="576"/>
                  </a:lnTo>
                  <a:lnTo>
                    <a:pt x="1194" y="576"/>
                  </a:lnTo>
                  <a:lnTo>
                    <a:pt x="1218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24" y="594"/>
                  </a:lnTo>
                  <a:lnTo>
                    <a:pt x="1212" y="600"/>
                  </a:lnTo>
                  <a:lnTo>
                    <a:pt x="1206" y="606"/>
                  </a:lnTo>
                  <a:lnTo>
                    <a:pt x="1200" y="606"/>
                  </a:lnTo>
                  <a:lnTo>
                    <a:pt x="1200" y="612"/>
                  </a:lnTo>
                  <a:lnTo>
                    <a:pt x="1194" y="612"/>
                  </a:lnTo>
                  <a:lnTo>
                    <a:pt x="1194" y="618"/>
                  </a:lnTo>
                  <a:lnTo>
                    <a:pt x="1194" y="624"/>
                  </a:lnTo>
                  <a:lnTo>
                    <a:pt x="1194" y="630"/>
                  </a:lnTo>
                  <a:lnTo>
                    <a:pt x="1194" y="648"/>
                  </a:lnTo>
                  <a:lnTo>
                    <a:pt x="1194" y="660"/>
                  </a:lnTo>
                  <a:lnTo>
                    <a:pt x="1194" y="666"/>
                  </a:lnTo>
                  <a:lnTo>
                    <a:pt x="1194" y="672"/>
                  </a:lnTo>
                  <a:lnTo>
                    <a:pt x="1194" y="678"/>
                  </a:lnTo>
                  <a:lnTo>
                    <a:pt x="1188" y="684"/>
                  </a:lnTo>
                  <a:lnTo>
                    <a:pt x="1188" y="690"/>
                  </a:lnTo>
                  <a:lnTo>
                    <a:pt x="1188" y="696"/>
                  </a:lnTo>
                  <a:lnTo>
                    <a:pt x="1188" y="702"/>
                  </a:lnTo>
                  <a:lnTo>
                    <a:pt x="1188" y="708"/>
                  </a:lnTo>
                  <a:lnTo>
                    <a:pt x="1188" y="714"/>
                  </a:lnTo>
                  <a:lnTo>
                    <a:pt x="1182" y="720"/>
                  </a:lnTo>
                  <a:lnTo>
                    <a:pt x="1170" y="720"/>
                  </a:lnTo>
                  <a:lnTo>
                    <a:pt x="1158" y="726"/>
                  </a:lnTo>
                  <a:lnTo>
                    <a:pt x="1152" y="726"/>
                  </a:lnTo>
                  <a:lnTo>
                    <a:pt x="1152" y="732"/>
                  </a:lnTo>
                  <a:lnTo>
                    <a:pt x="1146" y="738"/>
                  </a:lnTo>
                  <a:lnTo>
                    <a:pt x="1140" y="738"/>
                  </a:lnTo>
                  <a:lnTo>
                    <a:pt x="1140" y="744"/>
                  </a:lnTo>
                  <a:lnTo>
                    <a:pt x="1134" y="744"/>
                  </a:lnTo>
                  <a:lnTo>
                    <a:pt x="1128" y="744"/>
                  </a:lnTo>
                  <a:lnTo>
                    <a:pt x="1122" y="750"/>
                  </a:lnTo>
                  <a:lnTo>
                    <a:pt x="1128" y="750"/>
                  </a:lnTo>
                  <a:lnTo>
                    <a:pt x="1122" y="756"/>
                  </a:lnTo>
                  <a:lnTo>
                    <a:pt x="1116" y="756"/>
                  </a:lnTo>
                  <a:lnTo>
                    <a:pt x="1110" y="762"/>
                  </a:lnTo>
                  <a:lnTo>
                    <a:pt x="1104" y="762"/>
                  </a:lnTo>
                  <a:lnTo>
                    <a:pt x="1104" y="768"/>
                  </a:lnTo>
                  <a:lnTo>
                    <a:pt x="1098" y="768"/>
                  </a:lnTo>
                  <a:lnTo>
                    <a:pt x="1098" y="774"/>
                  </a:lnTo>
                  <a:lnTo>
                    <a:pt x="1092" y="774"/>
                  </a:lnTo>
                  <a:lnTo>
                    <a:pt x="1092" y="780"/>
                  </a:lnTo>
                  <a:lnTo>
                    <a:pt x="1086" y="780"/>
                  </a:lnTo>
                  <a:lnTo>
                    <a:pt x="1086" y="786"/>
                  </a:lnTo>
                  <a:lnTo>
                    <a:pt x="1080" y="786"/>
                  </a:lnTo>
                  <a:lnTo>
                    <a:pt x="1080" y="792"/>
                  </a:lnTo>
                  <a:lnTo>
                    <a:pt x="1080" y="798"/>
                  </a:lnTo>
                  <a:lnTo>
                    <a:pt x="1080" y="804"/>
                  </a:lnTo>
                  <a:lnTo>
                    <a:pt x="1086" y="810"/>
                  </a:lnTo>
                  <a:lnTo>
                    <a:pt x="1080" y="816"/>
                  </a:lnTo>
                  <a:lnTo>
                    <a:pt x="1080" y="822"/>
                  </a:lnTo>
                  <a:lnTo>
                    <a:pt x="1074" y="822"/>
                  </a:lnTo>
                  <a:lnTo>
                    <a:pt x="1068" y="828"/>
                  </a:lnTo>
                  <a:lnTo>
                    <a:pt x="1074" y="828"/>
                  </a:lnTo>
                  <a:lnTo>
                    <a:pt x="1074" y="834"/>
                  </a:lnTo>
                  <a:lnTo>
                    <a:pt x="1080" y="846"/>
                  </a:lnTo>
                  <a:lnTo>
                    <a:pt x="1086" y="846"/>
                  </a:lnTo>
                  <a:lnTo>
                    <a:pt x="1092" y="852"/>
                  </a:lnTo>
                  <a:lnTo>
                    <a:pt x="1092" y="858"/>
                  </a:lnTo>
                  <a:lnTo>
                    <a:pt x="1098" y="858"/>
                  </a:lnTo>
                  <a:lnTo>
                    <a:pt x="1110" y="864"/>
                  </a:lnTo>
                  <a:lnTo>
                    <a:pt x="1116" y="864"/>
                  </a:lnTo>
                  <a:lnTo>
                    <a:pt x="1122" y="864"/>
                  </a:lnTo>
                  <a:lnTo>
                    <a:pt x="1128" y="864"/>
                  </a:lnTo>
                  <a:lnTo>
                    <a:pt x="1134" y="876"/>
                  </a:lnTo>
                  <a:lnTo>
                    <a:pt x="1140" y="882"/>
                  </a:lnTo>
                  <a:lnTo>
                    <a:pt x="1140" y="888"/>
                  </a:lnTo>
                  <a:lnTo>
                    <a:pt x="1152" y="918"/>
                  </a:lnTo>
                  <a:lnTo>
                    <a:pt x="1158" y="894"/>
                  </a:lnTo>
                  <a:lnTo>
                    <a:pt x="1164" y="888"/>
                  </a:lnTo>
                  <a:lnTo>
                    <a:pt x="1164" y="882"/>
                  </a:lnTo>
                  <a:lnTo>
                    <a:pt x="1176" y="864"/>
                  </a:lnTo>
                  <a:lnTo>
                    <a:pt x="1182" y="858"/>
                  </a:lnTo>
                  <a:lnTo>
                    <a:pt x="1188" y="846"/>
                  </a:lnTo>
                  <a:lnTo>
                    <a:pt x="1200" y="840"/>
                  </a:lnTo>
                  <a:lnTo>
                    <a:pt x="1212" y="840"/>
                  </a:lnTo>
                  <a:lnTo>
                    <a:pt x="1218" y="846"/>
                  </a:lnTo>
                  <a:lnTo>
                    <a:pt x="1224" y="858"/>
                  </a:lnTo>
                  <a:lnTo>
                    <a:pt x="1224" y="864"/>
                  </a:lnTo>
                  <a:lnTo>
                    <a:pt x="1224" y="876"/>
                  </a:lnTo>
                  <a:lnTo>
                    <a:pt x="1212" y="912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00" y="930"/>
                  </a:lnTo>
                  <a:lnTo>
                    <a:pt x="1200" y="942"/>
                  </a:lnTo>
                  <a:lnTo>
                    <a:pt x="1194" y="948"/>
                  </a:lnTo>
                  <a:lnTo>
                    <a:pt x="1194" y="960"/>
                  </a:lnTo>
                  <a:lnTo>
                    <a:pt x="1194" y="966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70" y="984"/>
                  </a:lnTo>
                  <a:lnTo>
                    <a:pt x="1164" y="984"/>
                  </a:lnTo>
                  <a:lnTo>
                    <a:pt x="1158" y="984"/>
                  </a:lnTo>
                  <a:lnTo>
                    <a:pt x="1146" y="984"/>
                  </a:lnTo>
                  <a:lnTo>
                    <a:pt x="1140" y="990"/>
                  </a:lnTo>
                  <a:lnTo>
                    <a:pt x="1140" y="996"/>
                  </a:lnTo>
                  <a:lnTo>
                    <a:pt x="1152" y="996"/>
                  </a:lnTo>
                  <a:lnTo>
                    <a:pt x="1176" y="1002"/>
                  </a:lnTo>
                  <a:lnTo>
                    <a:pt x="1194" y="1008"/>
                  </a:lnTo>
                  <a:lnTo>
                    <a:pt x="1206" y="1008"/>
                  </a:lnTo>
                  <a:lnTo>
                    <a:pt x="1218" y="1014"/>
                  </a:lnTo>
                  <a:lnTo>
                    <a:pt x="1212" y="1038"/>
                  </a:lnTo>
                  <a:lnTo>
                    <a:pt x="1212" y="1044"/>
                  </a:lnTo>
                  <a:lnTo>
                    <a:pt x="1206" y="1044"/>
                  </a:lnTo>
                  <a:lnTo>
                    <a:pt x="1206" y="1050"/>
                  </a:lnTo>
                  <a:lnTo>
                    <a:pt x="1194" y="1050"/>
                  </a:lnTo>
                  <a:lnTo>
                    <a:pt x="1188" y="1044"/>
                  </a:lnTo>
                  <a:lnTo>
                    <a:pt x="1158" y="1020"/>
                  </a:lnTo>
                  <a:lnTo>
                    <a:pt x="1152" y="1020"/>
                  </a:lnTo>
                  <a:lnTo>
                    <a:pt x="1140" y="1020"/>
                  </a:lnTo>
                  <a:lnTo>
                    <a:pt x="1134" y="1020"/>
                  </a:lnTo>
                  <a:lnTo>
                    <a:pt x="1134" y="1026"/>
                  </a:lnTo>
                  <a:lnTo>
                    <a:pt x="1134" y="1032"/>
                  </a:lnTo>
                  <a:lnTo>
                    <a:pt x="1128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2" name="Freeform 27">
              <a:extLst>
                <a:ext uri="{FF2B5EF4-FFF2-40B4-BE49-F238E27FC236}">
                  <a16:creationId xmlns:a16="http://schemas.microsoft.com/office/drawing/2014/main" id="{CE95C9DF-B651-4085-946F-65424BC51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2063" y="3421400"/>
              <a:ext cx="342138" cy="377969"/>
            </a:xfrm>
            <a:custGeom>
              <a:avLst/>
              <a:gdLst>
                <a:gd name="T0" fmla="*/ 43 w 642"/>
                <a:gd name="T1" fmla="*/ 41 h 708"/>
                <a:gd name="T2" fmla="*/ 39 w 642"/>
                <a:gd name="T3" fmla="*/ 41 h 708"/>
                <a:gd name="T4" fmla="*/ 38 w 642"/>
                <a:gd name="T5" fmla="*/ 47 h 708"/>
                <a:gd name="T6" fmla="*/ 38 w 642"/>
                <a:gd name="T7" fmla="*/ 49 h 708"/>
                <a:gd name="T8" fmla="*/ 38 w 642"/>
                <a:gd name="T9" fmla="*/ 50 h 708"/>
                <a:gd name="T10" fmla="*/ 36 w 642"/>
                <a:gd name="T11" fmla="*/ 52 h 708"/>
                <a:gd name="T12" fmla="*/ 35 w 642"/>
                <a:gd name="T13" fmla="*/ 53 h 708"/>
                <a:gd name="T14" fmla="*/ 33 w 642"/>
                <a:gd name="T15" fmla="*/ 55 h 708"/>
                <a:gd name="T16" fmla="*/ 32 w 642"/>
                <a:gd name="T17" fmla="*/ 56 h 708"/>
                <a:gd name="T18" fmla="*/ 31 w 642"/>
                <a:gd name="T19" fmla="*/ 59 h 708"/>
                <a:gd name="T20" fmla="*/ 26 w 642"/>
                <a:gd name="T21" fmla="*/ 59 h 708"/>
                <a:gd name="T22" fmla="*/ 23 w 642"/>
                <a:gd name="T23" fmla="*/ 61 h 708"/>
                <a:gd name="T24" fmla="*/ 20 w 642"/>
                <a:gd name="T25" fmla="*/ 61 h 708"/>
                <a:gd name="T26" fmla="*/ 17 w 642"/>
                <a:gd name="T27" fmla="*/ 59 h 708"/>
                <a:gd name="T28" fmla="*/ 15 w 642"/>
                <a:gd name="T29" fmla="*/ 56 h 708"/>
                <a:gd name="T30" fmla="*/ 9 w 642"/>
                <a:gd name="T31" fmla="*/ 58 h 708"/>
                <a:gd name="T32" fmla="*/ 6 w 642"/>
                <a:gd name="T33" fmla="*/ 52 h 708"/>
                <a:gd name="T34" fmla="*/ 2 w 642"/>
                <a:gd name="T35" fmla="*/ 53 h 708"/>
                <a:gd name="T36" fmla="*/ 1 w 642"/>
                <a:gd name="T37" fmla="*/ 51 h 708"/>
                <a:gd name="T38" fmla="*/ 4 w 642"/>
                <a:gd name="T39" fmla="*/ 47 h 708"/>
                <a:gd name="T40" fmla="*/ 5 w 642"/>
                <a:gd name="T41" fmla="*/ 41 h 708"/>
                <a:gd name="T42" fmla="*/ 5 w 642"/>
                <a:gd name="T43" fmla="*/ 38 h 708"/>
                <a:gd name="T44" fmla="*/ 5 w 642"/>
                <a:gd name="T45" fmla="*/ 35 h 708"/>
                <a:gd name="T46" fmla="*/ 6 w 642"/>
                <a:gd name="T47" fmla="*/ 33 h 708"/>
                <a:gd name="T48" fmla="*/ 5 w 642"/>
                <a:gd name="T49" fmla="*/ 29 h 708"/>
                <a:gd name="T50" fmla="*/ 4 w 642"/>
                <a:gd name="T51" fmla="*/ 28 h 708"/>
                <a:gd name="T52" fmla="*/ 1 w 642"/>
                <a:gd name="T53" fmla="*/ 26 h 708"/>
                <a:gd name="T54" fmla="*/ 1 w 642"/>
                <a:gd name="T55" fmla="*/ 24 h 708"/>
                <a:gd name="T56" fmla="*/ 1 w 642"/>
                <a:gd name="T57" fmla="*/ 20 h 708"/>
                <a:gd name="T58" fmla="*/ 1 w 642"/>
                <a:gd name="T59" fmla="*/ 16 h 708"/>
                <a:gd name="T60" fmla="*/ 2 w 642"/>
                <a:gd name="T61" fmla="*/ 14 h 708"/>
                <a:gd name="T62" fmla="*/ 8 w 642"/>
                <a:gd name="T63" fmla="*/ 14 h 708"/>
                <a:gd name="T64" fmla="*/ 9 w 642"/>
                <a:gd name="T65" fmla="*/ 10 h 708"/>
                <a:gd name="T66" fmla="*/ 15 w 642"/>
                <a:gd name="T67" fmla="*/ 9 h 708"/>
                <a:gd name="T68" fmla="*/ 18 w 642"/>
                <a:gd name="T69" fmla="*/ 14 h 708"/>
                <a:gd name="T70" fmla="*/ 20 w 642"/>
                <a:gd name="T71" fmla="*/ 12 h 708"/>
                <a:gd name="T72" fmla="*/ 20 w 642"/>
                <a:gd name="T73" fmla="*/ 11 h 708"/>
                <a:gd name="T74" fmla="*/ 21 w 642"/>
                <a:gd name="T75" fmla="*/ 9 h 708"/>
                <a:gd name="T76" fmla="*/ 24 w 642"/>
                <a:gd name="T77" fmla="*/ 9 h 708"/>
                <a:gd name="T78" fmla="*/ 27 w 642"/>
                <a:gd name="T79" fmla="*/ 8 h 708"/>
                <a:gd name="T80" fmla="*/ 33 w 642"/>
                <a:gd name="T81" fmla="*/ 2 h 708"/>
                <a:gd name="T82" fmla="*/ 42 w 642"/>
                <a:gd name="T83" fmla="*/ 2 h 708"/>
                <a:gd name="T84" fmla="*/ 49 w 642"/>
                <a:gd name="T85" fmla="*/ 1 h 708"/>
                <a:gd name="T86" fmla="*/ 53 w 642"/>
                <a:gd name="T87" fmla="*/ 4 h 708"/>
                <a:gd name="T88" fmla="*/ 55 w 642"/>
                <a:gd name="T89" fmla="*/ 4 h 708"/>
                <a:gd name="T90" fmla="*/ 55 w 642"/>
                <a:gd name="T91" fmla="*/ 7 h 708"/>
                <a:gd name="T92" fmla="*/ 52 w 642"/>
                <a:gd name="T93" fmla="*/ 9 h 708"/>
                <a:gd name="T94" fmla="*/ 49 w 642"/>
                <a:gd name="T95" fmla="*/ 12 h 708"/>
                <a:gd name="T96" fmla="*/ 47 w 642"/>
                <a:gd name="T97" fmla="*/ 14 h 708"/>
                <a:gd name="T98" fmla="*/ 47 w 642"/>
                <a:gd name="T99" fmla="*/ 17 h 708"/>
                <a:gd name="T100" fmla="*/ 45 w 642"/>
                <a:gd name="T101" fmla="*/ 26 h 708"/>
                <a:gd name="T102" fmla="*/ 50 w 642"/>
                <a:gd name="T103" fmla="*/ 37 h 70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42"/>
                <a:gd name="T157" fmla="*/ 0 h 708"/>
                <a:gd name="T158" fmla="*/ 642 w 642"/>
                <a:gd name="T159" fmla="*/ 708 h 70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42" h="708">
                  <a:moveTo>
                    <a:pt x="576" y="468"/>
                  </a:moveTo>
                  <a:lnTo>
                    <a:pt x="564" y="468"/>
                  </a:lnTo>
                  <a:lnTo>
                    <a:pt x="516" y="468"/>
                  </a:lnTo>
                  <a:lnTo>
                    <a:pt x="498" y="474"/>
                  </a:lnTo>
                  <a:lnTo>
                    <a:pt x="492" y="468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68" y="474"/>
                  </a:lnTo>
                  <a:lnTo>
                    <a:pt x="456" y="468"/>
                  </a:lnTo>
                  <a:lnTo>
                    <a:pt x="444" y="474"/>
                  </a:lnTo>
                  <a:lnTo>
                    <a:pt x="438" y="492"/>
                  </a:lnTo>
                  <a:lnTo>
                    <a:pt x="438" y="504"/>
                  </a:lnTo>
                  <a:lnTo>
                    <a:pt x="432" y="516"/>
                  </a:lnTo>
                  <a:lnTo>
                    <a:pt x="432" y="528"/>
                  </a:lnTo>
                  <a:lnTo>
                    <a:pt x="432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52"/>
                  </a:lnTo>
                  <a:lnTo>
                    <a:pt x="432" y="558"/>
                  </a:lnTo>
                  <a:lnTo>
                    <a:pt x="438" y="564"/>
                  </a:lnTo>
                  <a:lnTo>
                    <a:pt x="444" y="564"/>
                  </a:lnTo>
                  <a:lnTo>
                    <a:pt x="438" y="564"/>
                  </a:lnTo>
                  <a:lnTo>
                    <a:pt x="438" y="570"/>
                  </a:lnTo>
                  <a:lnTo>
                    <a:pt x="432" y="570"/>
                  </a:lnTo>
                  <a:lnTo>
                    <a:pt x="432" y="576"/>
                  </a:lnTo>
                  <a:lnTo>
                    <a:pt x="426" y="588"/>
                  </a:lnTo>
                  <a:lnTo>
                    <a:pt x="420" y="594"/>
                  </a:lnTo>
                  <a:lnTo>
                    <a:pt x="420" y="600"/>
                  </a:lnTo>
                  <a:lnTo>
                    <a:pt x="414" y="600"/>
                  </a:lnTo>
                  <a:lnTo>
                    <a:pt x="414" y="606"/>
                  </a:lnTo>
                  <a:lnTo>
                    <a:pt x="408" y="606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396" y="612"/>
                  </a:lnTo>
                  <a:lnTo>
                    <a:pt x="390" y="612"/>
                  </a:lnTo>
                  <a:lnTo>
                    <a:pt x="390" y="618"/>
                  </a:lnTo>
                  <a:lnTo>
                    <a:pt x="384" y="618"/>
                  </a:lnTo>
                  <a:lnTo>
                    <a:pt x="378" y="618"/>
                  </a:lnTo>
                  <a:lnTo>
                    <a:pt x="378" y="624"/>
                  </a:lnTo>
                  <a:lnTo>
                    <a:pt x="384" y="630"/>
                  </a:lnTo>
                  <a:lnTo>
                    <a:pt x="384" y="636"/>
                  </a:lnTo>
                  <a:lnTo>
                    <a:pt x="378" y="630"/>
                  </a:lnTo>
                  <a:lnTo>
                    <a:pt x="372" y="636"/>
                  </a:lnTo>
                  <a:lnTo>
                    <a:pt x="372" y="642"/>
                  </a:lnTo>
                  <a:lnTo>
                    <a:pt x="366" y="642"/>
                  </a:lnTo>
                  <a:lnTo>
                    <a:pt x="360" y="654"/>
                  </a:lnTo>
                  <a:lnTo>
                    <a:pt x="354" y="666"/>
                  </a:lnTo>
                  <a:lnTo>
                    <a:pt x="354" y="672"/>
                  </a:lnTo>
                  <a:lnTo>
                    <a:pt x="354" y="678"/>
                  </a:lnTo>
                  <a:lnTo>
                    <a:pt x="354" y="684"/>
                  </a:lnTo>
                  <a:lnTo>
                    <a:pt x="348" y="678"/>
                  </a:lnTo>
                  <a:lnTo>
                    <a:pt x="324" y="678"/>
                  </a:lnTo>
                  <a:lnTo>
                    <a:pt x="306" y="678"/>
                  </a:lnTo>
                  <a:lnTo>
                    <a:pt x="294" y="678"/>
                  </a:lnTo>
                  <a:lnTo>
                    <a:pt x="288" y="684"/>
                  </a:lnTo>
                  <a:lnTo>
                    <a:pt x="276" y="690"/>
                  </a:lnTo>
                  <a:lnTo>
                    <a:pt x="270" y="696"/>
                  </a:lnTo>
                  <a:lnTo>
                    <a:pt x="264" y="696"/>
                  </a:lnTo>
                  <a:lnTo>
                    <a:pt x="258" y="696"/>
                  </a:lnTo>
                  <a:lnTo>
                    <a:pt x="252" y="696"/>
                  </a:lnTo>
                  <a:lnTo>
                    <a:pt x="252" y="690"/>
                  </a:lnTo>
                  <a:lnTo>
                    <a:pt x="246" y="690"/>
                  </a:lnTo>
                  <a:lnTo>
                    <a:pt x="234" y="690"/>
                  </a:lnTo>
                  <a:lnTo>
                    <a:pt x="222" y="696"/>
                  </a:lnTo>
                  <a:lnTo>
                    <a:pt x="216" y="708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8" y="690"/>
                  </a:lnTo>
                  <a:lnTo>
                    <a:pt x="198" y="684"/>
                  </a:lnTo>
                  <a:lnTo>
                    <a:pt x="198" y="678"/>
                  </a:lnTo>
                  <a:lnTo>
                    <a:pt x="198" y="672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74" y="648"/>
                  </a:lnTo>
                  <a:lnTo>
                    <a:pt x="162" y="642"/>
                  </a:lnTo>
                  <a:lnTo>
                    <a:pt x="156" y="636"/>
                  </a:lnTo>
                  <a:lnTo>
                    <a:pt x="132" y="642"/>
                  </a:lnTo>
                  <a:lnTo>
                    <a:pt x="120" y="654"/>
                  </a:lnTo>
                  <a:lnTo>
                    <a:pt x="108" y="660"/>
                  </a:lnTo>
                  <a:lnTo>
                    <a:pt x="102" y="666"/>
                  </a:lnTo>
                  <a:lnTo>
                    <a:pt x="84" y="666"/>
                  </a:lnTo>
                  <a:lnTo>
                    <a:pt x="84" y="630"/>
                  </a:lnTo>
                  <a:lnTo>
                    <a:pt x="78" y="594"/>
                  </a:lnTo>
                  <a:lnTo>
                    <a:pt x="66" y="594"/>
                  </a:lnTo>
                  <a:lnTo>
                    <a:pt x="60" y="594"/>
                  </a:lnTo>
                  <a:lnTo>
                    <a:pt x="48" y="600"/>
                  </a:lnTo>
                  <a:lnTo>
                    <a:pt x="36" y="606"/>
                  </a:lnTo>
                  <a:lnTo>
                    <a:pt x="24" y="612"/>
                  </a:lnTo>
                  <a:lnTo>
                    <a:pt x="18" y="612"/>
                  </a:lnTo>
                  <a:lnTo>
                    <a:pt x="12" y="606"/>
                  </a:lnTo>
                  <a:lnTo>
                    <a:pt x="12" y="600"/>
                  </a:lnTo>
                  <a:lnTo>
                    <a:pt x="12" y="594"/>
                  </a:lnTo>
                  <a:lnTo>
                    <a:pt x="12" y="588"/>
                  </a:lnTo>
                  <a:lnTo>
                    <a:pt x="12" y="582"/>
                  </a:lnTo>
                  <a:lnTo>
                    <a:pt x="12" y="576"/>
                  </a:lnTo>
                  <a:lnTo>
                    <a:pt x="18" y="552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42" y="534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48" y="492"/>
                  </a:lnTo>
                  <a:lnTo>
                    <a:pt x="48" y="480"/>
                  </a:lnTo>
                  <a:lnTo>
                    <a:pt x="54" y="468"/>
                  </a:lnTo>
                  <a:lnTo>
                    <a:pt x="48" y="456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66" y="390"/>
                  </a:lnTo>
                  <a:lnTo>
                    <a:pt x="72" y="384"/>
                  </a:lnTo>
                  <a:lnTo>
                    <a:pt x="72" y="378"/>
                  </a:lnTo>
                  <a:lnTo>
                    <a:pt x="66" y="378"/>
                  </a:lnTo>
                  <a:lnTo>
                    <a:pt x="66" y="366"/>
                  </a:lnTo>
                  <a:lnTo>
                    <a:pt x="60" y="360"/>
                  </a:lnTo>
                  <a:lnTo>
                    <a:pt x="66" y="354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48" y="312"/>
                  </a:lnTo>
                  <a:lnTo>
                    <a:pt x="30" y="312"/>
                  </a:lnTo>
                  <a:lnTo>
                    <a:pt x="24" y="306"/>
                  </a:lnTo>
                  <a:lnTo>
                    <a:pt x="18" y="306"/>
                  </a:lnTo>
                  <a:lnTo>
                    <a:pt x="12" y="294"/>
                  </a:lnTo>
                  <a:lnTo>
                    <a:pt x="12" y="282"/>
                  </a:lnTo>
                  <a:lnTo>
                    <a:pt x="6" y="276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12" y="270"/>
                  </a:lnTo>
                  <a:lnTo>
                    <a:pt x="12" y="246"/>
                  </a:lnTo>
                  <a:lnTo>
                    <a:pt x="12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8" y="174"/>
                  </a:lnTo>
                  <a:lnTo>
                    <a:pt x="12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48" y="162"/>
                  </a:lnTo>
                  <a:lnTo>
                    <a:pt x="72" y="162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84" y="132"/>
                  </a:lnTo>
                  <a:lnTo>
                    <a:pt x="90" y="120"/>
                  </a:lnTo>
                  <a:lnTo>
                    <a:pt x="108" y="114"/>
                  </a:lnTo>
                  <a:lnTo>
                    <a:pt x="114" y="102"/>
                  </a:lnTo>
                  <a:lnTo>
                    <a:pt x="120" y="90"/>
                  </a:lnTo>
                  <a:lnTo>
                    <a:pt x="138" y="90"/>
                  </a:lnTo>
                  <a:lnTo>
                    <a:pt x="138" y="102"/>
                  </a:lnTo>
                  <a:lnTo>
                    <a:pt x="168" y="108"/>
                  </a:lnTo>
                  <a:lnTo>
                    <a:pt x="168" y="114"/>
                  </a:lnTo>
                  <a:lnTo>
                    <a:pt x="174" y="126"/>
                  </a:lnTo>
                  <a:lnTo>
                    <a:pt x="186" y="150"/>
                  </a:lnTo>
                  <a:lnTo>
                    <a:pt x="186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34" y="144"/>
                  </a:lnTo>
                  <a:lnTo>
                    <a:pt x="240" y="138"/>
                  </a:lnTo>
                  <a:lnTo>
                    <a:pt x="240" y="126"/>
                  </a:lnTo>
                  <a:lnTo>
                    <a:pt x="234" y="126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34" y="102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82" y="102"/>
                  </a:lnTo>
                  <a:lnTo>
                    <a:pt x="288" y="102"/>
                  </a:lnTo>
                  <a:lnTo>
                    <a:pt x="294" y="102"/>
                  </a:lnTo>
                  <a:lnTo>
                    <a:pt x="300" y="96"/>
                  </a:lnTo>
                  <a:lnTo>
                    <a:pt x="306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84"/>
                  </a:lnTo>
                  <a:lnTo>
                    <a:pt x="324" y="18"/>
                  </a:lnTo>
                  <a:lnTo>
                    <a:pt x="360" y="18"/>
                  </a:lnTo>
                  <a:lnTo>
                    <a:pt x="378" y="18"/>
                  </a:lnTo>
                  <a:lnTo>
                    <a:pt x="378" y="30"/>
                  </a:lnTo>
                  <a:lnTo>
                    <a:pt x="390" y="30"/>
                  </a:lnTo>
                  <a:lnTo>
                    <a:pt x="432" y="30"/>
                  </a:lnTo>
                  <a:lnTo>
                    <a:pt x="456" y="24"/>
                  </a:lnTo>
                  <a:lnTo>
                    <a:pt x="480" y="24"/>
                  </a:lnTo>
                  <a:lnTo>
                    <a:pt x="498" y="30"/>
                  </a:lnTo>
                  <a:lnTo>
                    <a:pt x="522" y="18"/>
                  </a:lnTo>
                  <a:lnTo>
                    <a:pt x="528" y="0"/>
                  </a:lnTo>
                  <a:lnTo>
                    <a:pt x="558" y="6"/>
                  </a:lnTo>
                  <a:lnTo>
                    <a:pt x="558" y="12"/>
                  </a:lnTo>
                  <a:lnTo>
                    <a:pt x="570" y="18"/>
                  </a:lnTo>
                  <a:lnTo>
                    <a:pt x="576" y="24"/>
                  </a:lnTo>
                  <a:lnTo>
                    <a:pt x="588" y="36"/>
                  </a:lnTo>
                  <a:lnTo>
                    <a:pt x="594" y="48"/>
                  </a:lnTo>
                  <a:lnTo>
                    <a:pt x="606" y="48"/>
                  </a:lnTo>
                  <a:lnTo>
                    <a:pt x="606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42"/>
                  </a:lnTo>
                  <a:lnTo>
                    <a:pt x="636" y="42"/>
                  </a:lnTo>
                  <a:lnTo>
                    <a:pt x="636" y="48"/>
                  </a:lnTo>
                  <a:lnTo>
                    <a:pt x="642" y="54"/>
                  </a:lnTo>
                  <a:lnTo>
                    <a:pt x="636" y="60"/>
                  </a:lnTo>
                  <a:lnTo>
                    <a:pt x="636" y="66"/>
                  </a:lnTo>
                  <a:lnTo>
                    <a:pt x="636" y="78"/>
                  </a:lnTo>
                  <a:lnTo>
                    <a:pt x="624" y="84"/>
                  </a:lnTo>
                  <a:lnTo>
                    <a:pt x="618" y="90"/>
                  </a:lnTo>
                  <a:lnTo>
                    <a:pt x="612" y="90"/>
                  </a:lnTo>
                  <a:lnTo>
                    <a:pt x="600" y="102"/>
                  </a:lnTo>
                  <a:lnTo>
                    <a:pt x="594" y="108"/>
                  </a:lnTo>
                  <a:lnTo>
                    <a:pt x="582" y="114"/>
                  </a:lnTo>
                  <a:lnTo>
                    <a:pt x="570" y="132"/>
                  </a:lnTo>
                  <a:lnTo>
                    <a:pt x="564" y="132"/>
                  </a:lnTo>
                  <a:lnTo>
                    <a:pt x="564" y="138"/>
                  </a:lnTo>
                  <a:lnTo>
                    <a:pt x="558" y="144"/>
                  </a:lnTo>
                  <a:lnTo>
                    <a:pt x="558" y="150"/>
                  </a:lnTo>
                  <a:lnTo>
                    <a:pt x="552" y="150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0" y="162"/>
                  </a:lnTo>
                  <a:lnTo>
                    <a:pt x="534" y="168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6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28" y="234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16" y="294"/>
                  </a:lnTo>
                  <a:lnTo>
                    <a:pt x="516" y="312"/>
                  </a:lnTo>
                  <a:lnTo>
                    <a:pt x="528" y="318"/>
                  </a:lnTo>
                  <a:lnTo>
                    <a:pt x="540" y="360"/>
                  </a:lnTo>
                  <a:lnTo>
                    <a:pt x="558" y="408"/>
                  </a:lnTo>
                  <a:lnTo>
                    <a:pt x="570" y="426"/>
                  </a:lnTo>
                  <a:lnTo>
                    <a:pt x="576" y="432"/>
                  </a:lnTo>
                  <a:lnTo>
                    <a:pt x="576" y="438"/>
                  </a:lnTo>
                  <a:lnTo>
                    <a:pt x="576" y="444"/>
                  </a:lnTo>
                  <a:lnTo>
                    <a:pt x="576" y="46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3" name="Freeform 28">
              <a:extLst>
                <a:ext uri="{FF2B5EF4-FFF2-40B4-BE49-F238E27FC236}">
                  <a16:creationId xmlns:a16="http://schemas.microsoft.com/office/drawing/2014/main" id="{CF9B4F31-BF73-448E-83AA-188F6CF1BDC5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4879" y="3432583"/>
              <a:ext cx="324248" cy="270616"/>
            </a:xfrm>
            <a:custGeom>
              <a:avLst/>
              <a:gdLst>
                <a:gd name="T0" fmla="*/ 5 w 606"/>
                <a:gd name="T1" fmla="*/ 36 h 510"/>
                <a:gd name="T2" fmla="*/ 4 w 606"/>
                <a:gd name="T3" fmla="*/ 34 h 510"/>
                <a:gd name="T4" fmla="*/ 0 w 606"/>
                <a:gd name="T5" fmla="*/ 25 h 510"/>
                <a:gd name="T6" fmla="*/ 1 w 606"/>
                <a:gd name="T7" fmla="*/ 20 h 510"/>
                <a:gd name="T8" fmla="*/ 2 w 606"/>
                <a:gd name="T9" fmla="*/ 15 h 510"/>
                <a:gd name="T10" fmla="*/ 2 w 606"/>
                <a:gd name="T11" fmla="*/ 13 h 510"/>
                <a:gd name="T12" fmla="*/ 3 w 606"/>
                <a:gd name="T13" fmla="*/ 12 h 510"/>
                <a:gd name="T14" fmla="*/ 4 w 606"/>
                <a:gd name="T15" fmla="*/ 11 h 510"/>
                <a:gd name="T16" fmla="*/ 4 w 606"/>
                <a:gd name="T17" fmla="*/ 10 h 510"/>
                <a:gd name="T18" fmla="*/ 7 w 606"/>
                <a:gd name="T19" fmla="*/ 8 h 510"/>
                <a:gd name="T20" fmla="*/ 9 w 606"/>
                <a:gd name="T21" fmla="*/ 6 h 510"/>
                <a:gd name="T22" fmla="*/ 11 w 606"/>
                <a:gd name="T23" fmla="*/ 4 h 510"/>
                <a:gd name="T24" fmla="*/ 12 w 606"/>
                <a:gd name="T25" fmla="*/ 3 h 510"/>
                <a:gd name="T26" fmla="*/ 13 w 606"/>
                <a:gd name="T27" fmla="*/ 4 h 510"/>
                <a:gd name="T28" fmla="*/ 15 w 606"/>
                <a:gd name="T29" fmla="*/ 2 h 510"/>
                <a:gd name="T30" fmla="*/ 17 w 606"/>
                <a:gd name="T31" fmla="*/ 2 h 510"/>
                <a:gd name="T32" fmla="*/ 19 w 606"/>
                <a:gd name="T33" fmla="*/ 5 h 510"/>
                <a:gd name="T34" fmla="*/ 22 w 606"/>
                <a:gd name="T35" fmla="*/ 5 h 510"/>
                <a:gd name="T36" fmla="*/ 25 w 606"/>
                <a:gd name="T37" fmla="*/ 6 h 510"/>
                <a:gd name="T38" fmla="*/ 29 w 606"/>
                <a:gd name="T39" fmla="*/ 1 h 510"/>
                <a:gd name="T40" fmla="*/ 38 w 606"/>
                <a:gd name="T41" fmla="*/ 0 h 510"/>
                <a:gd name="T42" fmla="*/ 38 w 606"/>
                <a:gd name="T43" fmla="*/ 5 h 510"/>
                <a:gd name="T44" fmla="*/ 41 w 606"/>
                <a:gd name="T45" fmla="*/ 4 h 510"/>
                <a:gd name="T46" fmla="*/ 45 w 606"/>
                <a:gd name="T47" fmla="*/ 2 h 510"/>
                <a:gd name="T48" fmla="*/ 46 w 606"/>
                <a:gd name="T49" fmla="*/ 2 h 510"/>
                <a:gd name="T50" fmla="*/ 47 w 606"/>
                <a:gd name="T51" fmla="*/ 5 h 510"/>
                <a:gd name="T52" fmla="*/ 45 w 606"/>
                <a:gd name="T53" fmla="*/ 6 h 510"/>
                <a:gd name="T54" fmla="*/ 45 w 606"/>
                <a:gd name="T55" fmla="*/ 7 h 510"/>
                <a:gd name="T56" fmla="*/ 43 w 606"/>
                <a:gd name="T57" fmla="*/ 8 h 510"/>
                <a:gd name="T58" fmla="*/ 45 w 606"/>
                <a:gd name="T59" fmla="*/ 15 h 510"/>
                <a:gd name="T60" fmla="*/ 49 w 606"/>
                <a:gd name="T61" fmla="*/ 15 h 510"/>
                <a:gd name="T62" fmla="*/ 51 w 606"/>
                <a:gd name="T63" fmla="*/ 15 h 510"/>
                <a:gd name="T64" fmla="*/ 53 w 606"/>
                <a:gd name="T65" fmla="*/ 16 h 510"/>
                <a:gd name="T66" fmla="*/ 52 w 606"/>
                <a:gd name="T67" fmla="*/ 20 h 510"/>
                <a:gd name="T68" fmla="*/ 48 w 606"/>
                <a:gd name="T69" fmla="*/ 23 h 510"/>
                <a:gd name="T70" fmla="*/ 45 w 606"/>
                <a:gd name="T71" fmla="*/ 25 h 510"/>
                <a:gd name="T72" fmla="*/ 44 w 606"/>
                <a:gd name="T73" fmla="*/ 28 h 510"/>
                <a:gd name="T74" fmla="*/ 43 w 606"/>
                <a:gd name="T75" fmla="*/ 33 h 510"/>
                <a:gd name="T76" fmla="*/ 39 w 606"/>
                <a:gd name="T77" fmla="*/ 38 h 510"/>
                <a:gd name="T78" fmla="*/ 37 w 606"/>
                <a:gd name="T79" fmla="*/ 41 h 510"/>
                <a:gd name="T80" fmla="*/ 31 w 606"/>
                <a:gd name="T81" fmla="*/ 44 h 510"/>
                <a:gd name="T82" fmla="*/ 28 w 606"/>
                <a:gd name="T83" fmla="*/ 43 h 510"/>
                <a:gd name="T84" fmla="*/ 28 w 606"/>
                <a:gd name="T85" fmla="*/ 41 h 510"/>
                <a:gd name="T86" fmla="*/ 28 w 606"/>
                <a:gd name="T87" fmla="*/ 40 h 510"/>
                <a:gd name="T88" fmla="*/ 27 w 606"/>
                <a:gd name="T89" fmla="*/ 38 h 510"/>
                <a:gd name="T90" fmla="*/ 27 w 606"/>
                <a:gd name="T91" fmla="*/ 36 h 510"/>
                <a:gd name="T92" fmla="*/ 24 w 606"/>
                <a:gd name="T93" fmla="*/ 35 h 510"/>
                <a:gd name="T94" fmla="*/ 16 w 606"/>
                <a:gd name="T95" fmla="*/ 34 h 510"/>
                <a:gd name="T96" fmla="*/ 13 w 606"/>
                <a:gd name="T97" fmla="*/ 34 h 510"/>
                <a:gd name="T98" fmla="*/ 9 w 606"/>
                <a:gd name="T99" fmla="*/ 36 h 510"/>
                <a:gd name="T100" fmla="*/ 8 w 606"/>
                <a:gd name="T101" fmla="*/ 38 h 510"/>
                <a:gd name="T102" fmla="*/ 7 w 606"/>
                <a:gd name="T103" fmla="*/ 39 h 51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06"/>
                <a:gd name="T157" fmla="*/ 0 h 510"/>
                <a:gd name="T158" fmla="*/ 606 w 606"/>
                <a:gd name="T159" fmla="*/ 510 h 51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06" h="510">
                  <a:moveTo>
                    <a:pt x="60" y="450"/>
                  </a:move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42" y="390"/>
                  </a:lnTo>
                  <a:lnTo>
                    <a:pt x="24" y="342"/>
                  </a:lnTo>
                  <a:lnTo>
                    <a:pt x="12" y="300"/>
                  </a:lnTo>
                  <a:lnTo>
                    <a:pt x="0" y="294"/>
                  </a:lnTo>
                  <a:lnTo>
                    <a:pt x="0" y="276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24" y="192"/>
                  </a:lnTo>
                  <a:lnTo>
                    <a:pt x="24" y="180"/>
                  </a:lnTo>
                  <a:lnTo>
                    <a:pt x="24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6" y="96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108" y="66"/>
                  </a:lnTo>
                  <a:lnTo>
                    <a:pt x="120" y="60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36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62" y="36"/>
                  </a:lnTo>
                  <a:lnTo>
                    <a:pt x="162" y="30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0" y="54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46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76" y="66"/>
                  </a:lnTo>
                  <a:lnTo>
                    <a:pt x="312" y="66"/>
                  </a:lnTo>
                  <a:lnTo>
                    <a:pt x="318" y="60"/>
                  </a:lnTo>
                  <a:lnTo>
                    <a:pt x="330" y="12"/>
                  </a:lnTo>
                  <a:lnTo>
                    <a:pt x="414" y="6"/>
                  </a:lnTo>
                  <a:lnTo>
                    <a:pt x="420" y="0"/>
                  </a:lnTo>
                  <a:lnTo>
                    <a:pt x="426" y="6"/>
                  </a:lnTo>
                  <a:lnTo>
                    <a:pt x="426" y="12"/>
                  </a:lnTo>
                  <a:lnTo>
                    <a:pt x="426" y="54"/>
                  </a:lnTo>
                  <a:lnTo>
                    <a:pt x="432" y="54"/>
                  </a:lnTo>
                  <a:lnTo>
                    <a:pt x="444" y="54"/>
                  </a:lnTo>
                  <a:lnTo>
                    <a:pt x="450" y="42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86" y="24"/>
                  </a:lnTo>
                  <a:lnTo>
                    <a:pt x="504" y="18"/>
                  </a:lnTo>
                  <a:lnTo>
                    <a:pt x="510" y="12"/>
                  </a:lnTo>
                  <a:lnTo>
                    <a:pt x="516" y="18"/>
                  </a:lnTo>
                  <a:lnTo>
                    <a:pt x="522" y="24"/>
                  </a:lnTo>
                  <a:lnTo>
                    <a:pt x="510" y="30"/>
                  </a:lnTo>
                  <a:lnTo>
                    <a:pt x="516" y="48"/>
                  </a:lnTo>
                  <a:lnTo>
                    <a:pt x="528" y="54"/>
                  </a:lnTo>
                  <a:lnTo>
                    <a:pt x="522" y="60"/>
                  </a:lnTo>
                  <a:lnTo>
                    <a:pt x="516" y="66"/>
                  </a:lnTo>
                  <a:lnTo>
                    <a:pt x="516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0" y="84"/>
                  </a:lnTo>
                  <a:lnTo>
                    <a:pt x="510" y="90"/>
                  </a:lnTo>
                  <a:lnTo>
                    <a:pt x="504" y="90"/>
                  </a:lnTo>
                  <a:lnTo>
                    <a:pt x="486" y="90"/>
                  </a:lnTo>
                  <a:lnTo>
                    <a:pt x="492" y="138"/>
                  </a:lnTo>
                  <a:lnTo>
                    <a:pt x="498" y="168"/>
                  </a:lnTo>
                  <a:lnTo>
                    <a:pt x="516" y="168"/>
                  </a:lnTo>
                  <a:lnTo>
                    <a:pt x="528" y="174"/>
                  </a:lnTo>
                  <a:lnTo>
                    <a:pt x="534" y="168"/>
                  </a:lnTo>
                  <a:lnTo>
                    <a:pt x="558" y="174"/>
                  </a:lnTo>
                  <a:lnTo>
                    <a:pt x="564" y="168"/>
                  </a:lnTo>
                  <a:lnTo>
                    <a:pt x="570" y="168"/>
                  </a:lnTo>
                  <a:lnTo>
                    <a:pt x="576" y="174"/>
                  </a:lnTo>
                  <a:lnTo>
                    <a:pt x="588" y="168"/>
                  </a:lnTo>
                  <a:lnTo>
                    <a:pt x="594" y="168"/>
                  </a:lnTo>
                  <a:lnTo>
                    <a:pt x="594" y="186"/>
                  </a:lnTo>
                  <a:lnTo>
                    <a:pt x="606" y="198"/>
                  </a:lnTo>
                  <a:lnTo>
                    <a:pt x="600" y="210"/>
                  </a:lnTo>
                  <a:lnTo>
                    <a:pt x="588" y="234"/>
                  </a:lnTo>
                  <a:lnTo>
                    <a:pt x="564" y="246"/>
                  </a:lnTo>
                  <a:lnTo>
                    <a:pt x="546" y="258"/>
                  </a:lnTo>
                  <a:lnTo>
                    <a:pt x="540" y="270"/>
                  </a:lnTo>
                  <a:lnTo>
                    <a:pt x="534" y="294"/>
                  </a:lnTo>
                  <a:lnTo>
                    <a:pt x="528" y="300"/>
                  </a:lnTo>
                  <a:lnTo>
                    <a:pt x="516" y="294"/>
                  </a:lnTo>
                  <a:lnTo>
                    <a:pt x="510" y="300"/>
                  </a:lnTo>
                  <a:lnTo>
                    <a:pt x="498" y="318"/>
                  </a:lnTo>
                  <a:lnTo>
                    <a:pt x="492" y="324"/>
                  </a:lnTo>
                  <a:lnTo>
                    <a:pt x="486" y="336"/>
                  </a:lnTo>
                  <a:lnTo>
                    <a:pt x="486" y="354"/>
                  </a:lnTo>
                  <a:lnTo>
                    <a:pt x="486" y="384"/>
                  </a:lnTo>
                  <a:lnTo>
                    <a:pt x="474" y="408"/>
                  </a:lnTo>
                  <a:lnTo>
                    <a:pt x="450" y="426"/>
                  </a:lnTo>
                  <a:lnTo>
                    <a:pt x="444" y="444"/>
                  </a:lnTo>
                  <a:lnTo>
                    <a:pt x="426" y="474"/>
                  </a:lnTo>
                  <a:lnTo>
                    <a:pt x="420" y="486"/>
                  </a:lnTo>
                  <a:lnTo>
                    <a:pt x="414" y="486"/>
                  </a:lnTo>
                  <a:lnTo>
                    <a:pt x="414" y="498"/>
                  </a:lnTo>
                  <a:lnTo>
                    <a:pt x="378" y="504"/>
                  </a:lnTo>
                  <a:lnTo>
                    <a:pt x="348" y="510"/>
                  </a:lnTo>
                  <a:lnTo>
                    <a:pt x="330" y="510"/>
                  </a:lnTo>
                  <a:lnTo>
                    <a:pt x="324" y="504"/>
                  </a:lnTo>
                  <a:lnTo>
                    <a:pt x="318" y="504"/>
                  </a:lnTo>
                  <a:lnTo>
                    <a:pt x="312" y="504"/>
                  </a:lnTo>
                  <a:lnTo>
                    <a:pt x="312" y="498"/>
                  </a:lnTo>
                  <a:lnTo>
                    <a:pt x="312" y="486"/>
                  </a:lnTo>
                  <a:lnTo>
                    <a:pt x="312" y="480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56"/>
                  </a:lnTo>
                  <a:lnTo>
                    <a:pt x="312" y="450"/>
                  </a:lnTo>
                  <a:lnTo>
                    <a:pt x="306" y="444"/>
                  </a:lnTo>
                  <a:lnTo>
                    <a:pt x="306" y="438"/>
                  </a:lnTo>
                  <a:lnTo>
                    <a:pt x="300" y="426"/>
                  </a:lnTo>
                  <a:lnTo>
                    <a:pt x="300" y="420"/>
                  </a:lnTo>
                  <a:lnTo>
                    <a:pt x="294" y="414"/>
                  </a:lnTo>
                  <a:lnTo>
                    <a:pt x="294" y="408"/>
                  </a:lnTo>
                  <a:lnTo>
                    <a:pt x="270" y="408"/>
                  </a:lnTo>
                  <a:lnTo>
                    <a:pt x="246" y="408"/>
                  </a:lnTo>
                  <a:lnTo>
                    <a:pt x="222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56" y="402"/>
                  </a:lnTo>
                  <a:lnTo>
                    <a:pt x="144" y="396"/>
                  </a:lnTo>
                  <a:lnTo>
                    <a:pt x="126" y="396"/>
                  </a:lnTo>
                  <a:lnTo>
                    <a:pt x="108" y="408"/>
                  </a:lnTo>
                  <a:lnTo>
                    <a:pt x="102" y="414"/>
                  </a:lnTo>
                  <a:lnTo>
                    <a:pt x="102" y="420"/>
                  </a:lnTo>
                  <a:lnTo>
                    <a:pt x="96" y="426"/>
                  </a:lnTo>
                  <a:lnTo>
                    <a:pt x="96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78" y="450"/>
                  </a:lnTo>
                  <a:lnTo>
                    <a:pt x="60" y="45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4" name="Freeform 29">
              <a:extLst>
                <a:ext uri="{FF2B5EF4-FFF2-40B4-BE49-F238E27FC236}">
                  <a16:creationId xmlns:a16="http://schemas.microsoft.com/office/drawing/2014/main" id="{B6AC2B96-1504-4082-8778-17130FDA021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401" y="3537698"/>
              <a:ext cx="559048" cy="641876"/>
            </a:xfrm>
            <a:custGeom>
              <a:avLst/>
              <a:gdLst>
                <a:gd name="T0" fmla="*/ 39 w 1056"/>
                <a:gd name="T1" fmla="*/ 94 h 1206"/>
                <a:gd name="T2" fmla="*/ 35 w 1056"/>
                <a:gd name="T3" fmla="*/ 103 h 1206"/>
                <a:gd name="T4" fmla="*/ 29 w 1056"/>
                <a:gd name="T5" fmla="*/ 99 h 1206"/>
                <a:gd name="T6" fmla="*/ 23 w 1056"/>
                <a:gd name="T7" fmla="*/ 94 h 1206"/>
                <a:gd name="T8" fmla="*/ 21 w 1056"/>
                <a:gd name="T9" fmla="*/ 91 h 1206"/>
                <a:gd name="T10" fmla="*/ 18 w 1056"/>
                <a:gd name="T11" fmla="*/ 89 h 1206"/>
                <a:gd name="T12" fmla="*/ 15 w 1056"/>
                <a:gd name="T13" fmla="*/ 86 h 1206"/>
                <a:gd name="T14" fmla="*/ 11 w 1056"/>
                <a:gd name="T15" fmla="*/ 83 h 1206"/>
                <a:gd name="T16" fmla="*/ 8 w 1056"/>
                <a:gd name="T17" fmla="*/ 81 h 1206"/>
                <a:gd name="T18" fmla="*/ 6 w 1056"/>
                <a:gd name="T19" fmla="*/ 79 h 1206"/>
                <a:gd name="T20" fmla="*/ 13 w 1056"/>
                <a:gd name="T21" fmla="*/ 78 h 1206"/>
                <a:gd name="T22" fmla="*/ 8 w 1056"/>
                <a:gd name="T23" fmla="*/ 75 h 1206"/>
                <a:gd name="T24" fmla="*/ 13 w 1056"/>
                <a:gd name="T25" fmla="*/ 71 h 1206"/>
                <a:gd name="T26" fmla="*/ 10 w 1056"/>
                <a:gd name="T27" fmla="*/ 63 h 1206"/>
                <a:gd name="T28" fmla="*/ 6 w 1056"/>
                <a:gd name="T29" fmla="*/ 66 h 1206"/>
                <a:gd name="T30" fmla="*/ 1 w 1056"/>
                <a:gd name="T31" fmla="*/ 63 h 1206"/>
                <a:gd name="T32" fmla="*/ 1 w 1056"/>
                <a:gd name="T33" fmla="*/ 59 h 1206"/>
                <a:gd name="T34" fmla="*/ 3 w 1056"/>
                <a:gd name="T35" fmla="*/ 57 h 1206"/>
                <a:gd name="T36" fmla="*/ 6 w 1056"/>
                <a:gd name="T37" fmla="*/ 55 h 1206"/>
                <a:gd name="T38" fmla="*/ 10 w 1056"/>
                <a:gd name="T39" fmla="*/ 51 h 1206"/>
                <a:gd name="T40" fmla="*/ 11 w 1056"/>
                <a:gd name="T41" fmla="*/ 46 h 1206"/>
                <a:gd name="T42" fmla="*/ 14 w 1056"/>
                <a:gd name="T43" fmla="*/ 42 h 1206"/>
                <a:gd name="T44" fmla="*/ 15 w 1056"/>
                <a:gd name="T45" fmla="*/ 36 h 1206"/>
                <a:gd name="T46" fmla="*/ 17 w 1056"/>
                <a:gd name="T47" fmla="*/ 34 h 1206"/>
                <a:gd name="T48" fmla="*/ 20 w 1056"/>
                <a:gd name="T49" fmla="*/ 31 h 1206"/>
                <a:gd name="T50" fmla="*/ 21 w 1056"/>
                <a:gd name="T51" fmla="*/ 29 h 1206"/>
                <a:gd name="T52" fmla="*/ 23 w 1056"/>
                <a:gd name="T53" fmla="*/ 22 h 1206"/>
                <a:gd name="T54" fmla="*/ 35 w 1056"/>
                <a:gd name="T55" fmla="*/ 22 h 1206"/>
                <a:gd name="T56" fmla="*/ 41 w 1056"/>
                <a:gd name="T57" fmla="*/ 18 h 1206"/>
                <a:gd name="T58" fmla="*/ 54 w 1056"/>
                <a:gd name="T59" fmla="*/ 20 h 1206"/>
                <a:gd name="T60" fmla="*/ 54 w 1056"/>
                <a:gd name="T61" fmla="*/ 26 h 1206"/>
                <a:gd name="T62" fmla="*/ 64 w 1056"/>
                <a:gd name="T63" fmla="*/ 25 h 1206"/>
                <a:gd name="T64" fmla="*/ 71 w 1056"/>
                <a:gd name="T65" fmla="*/ 10 h 1206"/>
                <a:gd name="T66" fmla="*/ 80 w 1056"/>
                <a:gd name="T67" fmla="*/ 1 h 1206"/>
                <a:gd name="T68" fmla="*/ 86 w 1056"/>
                <a:gd name="T69" fmla="*/ 2 h 1206"/>
                <a:gd name="T70" fmla="*/ 91 w 1056"/>
                <a:gd name="T71" fmla="*/ 13 h 1206"/>
                <a:gd name="T72" fmla="*/ 88 w 1056"/>
                <a:gd name="T73" fmla="*/ 17 h 1206"/>
                <a:gd name="T74" fmla="*/ 89 w 1056"/>
                <a:gd name="T75" fmla="*/ 21 h 1206"/>
                <a:gd name="T76" fmla="*/ 86 w 1056"/>
                <a:gd name="T77" fmla="*/ 25 h 1206"/>
                <a:gd name="T78" fmla="*/ 85 w 1056"/>
                <a:gd name="T79" fmla="*/ 31 h 1206"/>
                <a:gd name="T80" fmla="*/ 83 w 1056"/>
                <a:gd name="T81" fmla="*/ 36 h 1206"/>
                <a:gd name="T82" fmla="*/ 80 w 1056"/>
                <a:gd name="T83" fmla="*/ 42 h 1206"/>
                <a:gd name="T84" fmla="*/ 80 w 1056"/>
                <a:gd name="T85" fmla="*/ 47 h 1206"/>
                <a:gd name="T86" fmla="*/ 77 w 1056"/>
                <a:gd name="T87" fmla="*/ 55 h 1206"/>
                <a:gd name="T88" fmla="*/ 75 w 1056"/>
                <a:gd name="T89" fmla="*/ 57 h 1206"/>
                <a:gd name="T90" fmla="*/ 66 w 1056"/>
                <a:gd name="T91" fmla="*/ 57 h 1206"/>
                <a:gd name="T92" fmla="*/ 66 w 1056"/>
                <a:gd name="T93" fmla="*/ 51 h 1206"/>
                <a:gd name="T94" fmla="*/ 48 w 1056"/>
                <a:gd name="T95" fmla="*/ 50 h 1206"/>
                <a:gd name="T96" fmla="*/ 46 w 1056"/>
                <a:gd name="T97" fmla="*/ 55 h 1206"/>
                <a:gd name="T98" fmla="*/ 42 w 1056"/>
                <a:gd name="T99" fmla="*/ 59 h 1206"/>
                <a:gd name="T100" fmla="*/ 41 w 1056"/>
                <a:gd name="T101" fmla="*/ 62 h 1206"/>
                <a:gd name="T102" fmla="*/ 43 w 1056"/>
                <a:gd name="T103" fmla="*/ 67 h 1206"/>
                <a:gd name="T104" fmla="*/ 42 w 1056"/>
                <a:gd name="T105" fmla="*/ 72 h 1206"/>
                <a:gd name="T106" fmla="*/ 39 w 1056"/>
                <a:gd name="T107" fmla="*/ 77 h 1206"/>
                <a:gd name="T108" fmla="*/ 36 w 1056"/>
                <a:gd name="T109" fmla="*/ 80 h 1206"/>
                <a:gd name="T110" fmla="*/ 37 w 1056"/>
                <a:gd name="T111" fmla="*/ 83 h 1206"/>
                <a:gd name="T112" fmla="*/ 40 w 1056"/>
                <a:gd name="T113" fmla="*/ 87 h 1206"/>
                <a:gd name="T114" fmla="*/ 42 w 1056"/>
                <a:gd name="T115" fmla="*/ 89 h 12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56"/>
                <a:gd name="T175" fmla="*/ 0 h 1206"/>
                <a:gd name="T176" fmla="*/ 1056 w 1056"/>
                <a:gd name="T177" fmla="*/ 1206 h 12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56" h="1206">
                  <a:moveTo>
                    <a:pt x="492" y="1032"/>
                  </a:moveTo>
                  <a:lnTo>
                    <a:pt x="486" y="1038"/>
                  </a:lnTo>
                  <a:lnTo>
                    <a:pt x="486" y="1044"/>
                  </a:lnTo>
                  <a:lnTo>
                    <a:pt x="480" y="1044"/>
                  </a:lnTo>
                  <a:lnTo>
                    <a:pt x="474" y="1056"/>
                  </a:lnTo>
                  <a:lnTo>
                    <a:pt x="462" y="1068"/>
                  </a:lnTo>
                  <a:lnTo>
                    <a:pt x="456" y="1080"/>
                  </a:lnTo>
                  <a:lnTo>
                    <a:pt x="450" y="1080"/>
                  </a:lnTo>
                  <a:lnTo>
                    <a:pt x="450" y="1086"/>
                  </a:lnTo>
                  <a:lnTo>
                    <a:pt x="450" y="1092"/>
                  </a:lnTo>
                  <a:lnTo>
                    <a:pt x="444" y="1104"/>
                  </a:lnTo>
                  <a:lnTo>
                    <a:pt x="444" y="1116"/>
                  </a:lnTo>
                  <a:lnTo>
                    <a:pt x="438" y="1128"/>
                  </a:lnTo>
                  <a:lnTo>
                    <a:pt x="432" y="1134"/>
                  </a:lnTo>
                  <a:lnTo>
                    <a:pt x="432" y="1140"/>
                  </a:lnTo>
                  <a:lnTo>
                    <a:pt x="420" y="1152"/>
                  </a:lnTo>
                  <a:lnTo>
                    <a:pt x="420" y="1158"/>
                  </a:lnTo>
                  <a:lnTo>
                    <a:pt x="408" y="1182"/>
                  </a:lnTo>
                  <a:lnTo>
                    <a:pt x="396" y="1194"/>
                  </a:lnTo>
                  <a:lnTo>
                    <a:pt x="390" y="1206"/>
                  </a:lnTo>
                  <a:lnTo>
                    <a:pt x="390" y="1200"/>
                  </a:lnTo>
                  <a:lnTo>
                    <a:pt x="384" y="1194"/>
                  </a:lnTo>
                  <a:lnTo>
                    <a:pt x="378" y="1188"/>
                  </a:lnTo>
                  <a:lnTo>
                    <a:pt x="366" y="1176"/>
                  </a:lnTo>
                  <a:lnTo>
                    <a:pt x="366" y="1170"/>
                  </a:lnTo>
                  <a:lnTo>
                    <a:pt x="348" y="1152"/>
                  </a:lnTo>
                  <a:lnTo>
                    <a:pt x="336" y="1140"/>
                  </a:lnTo>
                  <a:lnTo>
                    <a:pt x="330" y="1134"/>
                  </a:lnTo>
                  <a:lnTo>
                    <a:pt x="324" y="1128"/>
                  </a:lnTo>
                  <a:lnTo>
                    <a:pt x="318" y="1122"/>
                  </a:lnTo>
                  <a:lnTo>
                    <a:pt x="312" y="1116"/>
                  </a:lnTo>
                  <a:lnTo>
                    <a:pt x="306" y="1110"/>
                  </a:lnTo>
                  <a:lnTo>
                    <a:pt x="300" y="1104"/>
                  </a:lnTo>
                  <a:lnTo>
                    <a:pt x="294" y="1098"/>
                  </a:lnTo>
                  <a:lnTo>
                    <a:pt x="276" y="1080"/>
                  </a:lnTo>
                  <a:lnTo>
                    <a:pt x="270" y="1080"/>
                  </a:lnTo>
                  <a:lnTo>
                    <a:pt x="270" y="1074"/>
                  </a:lnTo>
                  <a:lnTo>
                    <a:pt x="264" y="1068"/>
                  </a:lnTo>
                  <a:lnTo>
                    <a:pt x="258" y="1062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40" y="1050"/>
                  </a:lnTo>
                  <a:lnTo>
                    <a:pt x="234" y="1044"/>
                  </a:lnTo>
                  <a:lnTo>
                    <a:pt x="228" y="1044"/>
                  </a:lnTo>
                  <a:lnTo>
                    <a:pt x="222" y="1038"/>
                  </a:lnTo>
                  <a:lnTo>
                    <a:pt x="222" y="1032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6"/>
                  </a:lnTo>
                  <a:lnTo>
                    <a:pt x="204" y="1020"/>
                  </a:lnTo>
                  <a:lnTo>
                    <a:pt x="204" y="1014"/>
                  </a:lnTo>
                  <a:lnTo>
                    <a:pt x="198" y="1014"/>
                  </a:lnTo>
                  <a:lnTo>
                    <a:pt x="192" y="1014"/>
                  </a:lnTo>
                  <a:lnTo>
                    <a:pt x="192" y="1008"/>
                  </a:lnTo>
                  <a:lnTo>
                    <a:pt x="186" y="1008"/>
                  </a:lnTo>
                  <a:lnTo>
                    <a:pt x="186" y="1002"/>
                  </a:lnTo>
                  <a:lnTo>
                    <a:pt x="180" y="1002"/>
                  </a:lnTo>
                  <a:lnTo>
                    <a:pt x="174" y="996"/>
                  </a:lnTo>
                  <a:lnTo>
                    <a:pt x="168" y="996"/>
                  </a:lnTo>
                  <a:lnTo>
                    <a:pt x="168" y="990"/>
                  </a:lnTo>
                  <a:lnTo>
                    <a:pt x="162" y="990"/>
                  </a:lnTo>
                  <a:lnTo>
                    <a:pt x="162" y="984"/>
                  </a:lnTo>
                  <a:lnTo>
                    <a:pt x="150" y="978"/>
                  </a:lnTo>
                  <a:lnTo>
                    <a:pt x="144" y="972"/>
                  </a:lnTo>
                  <a:lnTo>
                    <a:pt x="138" y="972"/>
                  </a:lnTo>
                  <a:lnTo>
                    <a:pt x="138" y="966"/>
                  </a:lnTo>
                  <a:lnTo>
                    <a:pt x="132" y="966"/>
                  </a:lnTo>
                  <a:lnTo>
                    <a:pt x="126" y="960"/>
                  </a:lnTo>
                  <a:lnTo>
                    <a:pt x="126" y="954"/>
                  </a:lnTo>
                  <a:lnTo>
                    <a:pt x="120" y="954"/>
                  </a:lnTo>
                  <a:lnTo>
                    <a:pt x="114" y="948"/>
                  </a:lnTo>
                  <a:lnTo>
                    <a:pt x="108" y="948"/>
                  </a:lnTo>
                  <a:lnTo>
                    <a:pt x="108" y="942"/>
                  </a:lnTo>
                  <a:lnTo>
                    <a:pt x="102" y="942"/>
                  </a:lnTo>
                  <a:lnTo>
                    <a:pt x="96" y="942"/>
                  </a:lnTo>
                  <a:lnTo>
                    <a:pt x="96" y="936"/>
                  </a:lnTo>
                  <a:lnTo>
                    <a:pt x="90" y="936"/>
                  </a:lnTo>
                  <a:lnTo>
                    <a:pt x="90" y="930"/>
                  </a:lnTo>
                  <a:lnTo>
                    <a:pt x="84" y="930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18"/>
                  </a:lnTo>
                  <a:lnTo>
                    <a:pt x="66" y="918"/>
                  </a:lnTo>
                  <a:lnTo>
                    <a:pt x="66" y="912"/>
                  </a:lnTo>
                  <a:lnTo>
                    <a:pt x="66" y="906"/>
                  </a:lnTo>
                  <a:lnTo>
                    <a:pt x="72" y="906"/>
                  </a:lnTo>
                  <a:lnTo>
                    <a:pt x="84" y="906"/>
                  </a:lnTo>
                  <a:lnTo>
                    <a:pt x="90" y="906"/>
                  </a:lnTo>
                  <a:lnTo>
                    <a:pt x="120" y="930"/>
                  </a:lnTo>
                  <a:lnTo>
                    <a:pt x="126" y="936"/>
                  </a:lnTo>
                  <a:lnTo>
                    <a:pt x="138" y="936"/>
                  </a:lnTo>
                  <a:lnTo>
                    <a:pt x="138" y="930"/>
                  </a:lnTo>
                  <a:lnTo>
                    <a:pt x="144" y="930"/>
                  </a:lnTo>
                  <a:lnTo>
                    <a:pt x="144" y="924"/>
                  </a:lnTo>
                  <a:lnTo>
                    <a:pt x="150" y="900"/>
                  </a:lnTo>
                  <a:lnTo>
                    <a:pt x="138" y="894"/>
                  </a:lnTo>
                  <a:lnTo>
                    <a:pt x="126" y="894"/>
                  </a:lnTo>
                  <a:lnTo>
                    <a:pt x="108" y="888"/>
                  </a:lnTo>
                  <a:lnTo>
                    <a:pt x="84" y="882"/>
                  </a:lnTo>
                  <a:lnTo>
                    <a:pt x="72" y="882"/>
                  </a:lnTo>
                  <a:lnTo>
                    <a:pt x="72" y="876"/>
                  </a:lnTo>
                  <a:lnTo>
                    <a:pt x="78" y="870"/>
                  </a:lnTo>
                  <a:lnTo>
                    <a:pt x="90" y="870"/>
                  </a:lnTo>
                  <a:lnTo>
                    <a:pt x="96" y="870"/>
                  </a:lnTo>
                  <a:lnTo>
                    <a:pt x="102" y="870"/>
                  </a:lnTo>
                  <a:lnTo>
                    <a:pt x="114" y="870"/>
                  </a:lnTo>
                  <a:lnTo>
                    <a:pt x="120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34"/>
                  </a:lnTo>
                  <a:lnTo>
                    <a:pt x="132" y="828"/>
                  </a:lnTo>
                  <a:lnTo>
                    <a:pt x="132" y="816"/>
                  </a:lnTo>
                  <a:lnTo>
                    <a:pt x="150" y="816"/>
                  </a:lnTo>
                  <a:lnTo>
                    <a:pt x="150" y="804"/>
                  </a:lnTo>
                  <a:lnTo>
                    <a:pt x="144" y="798"/>
                  </a:lnTo>
                  <a:lnTo>
                    <a:pt x="156" y="762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32"/>
                  </a:lnTo>
                  <a:lnTo>
                    <a:pt x="144" y="726"/>
                  </a:lnTo>
                  <a:lnTo>
                    <a:pt x="132" y="726"/>
                  </a:lnTo>
                  <a:lnTo>
                    <a:pt x="120" y="732"/>
                  </a:lnTo>
                  <a:lnTo>
                    <a:pt x="114" y="744"/>
                  </a:lnTo>
                  <a:lnTo>
                    <a:pt x="108" y="750"/>
                  </a:lnTo>
                  <a:lnTo>
                    <a:pt x="96" y="768"/>
                  </a:lnTo>
                  <a:lnTo>
                    <a:pt x="96" y="774"/>
                  </a:lnTo>
                  <a:lnTo>
                    <a:pt x="90" y="780"/>
                  </a:lnTo>
                  <a:lnTo>
                    <a:pt x="84" y="804"/>
                  </a:lnTo>
                  <a:lnTo>
                    <a:pt x="72" y="774"/>
                  </a:lnTo>
                  <a:lnTo>
                    <a:pt x="72" y="768"/>
                  </a:lnTo>
                  <a:lnTo>
                    <a:pt x="66" y="762"/>
                  </a:lnTo>
                  <a:lnTo>
                    <a:pt x="60" y="750"/>
                  </a:lnTo>
                  <a:lnTo>
                    <a:pt x="54" y="750"/>
                  </a:lnTo>
                  <a:lnTo>
                    <a:pt x="48" y="750"/>
                  </a:lnTo>
                  <a:lnTo>
                    <a:pt x="42" y="750"/>
                  </a:lnTo>
                  <a:lnTo>
                    <a:pt x="30" y="744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12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2" y="702"/>
                  </a:lnTo>
                  <a:lnTo>
                    <a:pt x="18" y="696"/>
                  </a:lnTo>
                  <a:lnTo>
                    <a:pt x="12" y="690"/>
                  </a:lnTo>
                  <a:lnTo>
                    <a:pt x="12" y="684"/>
                  </a:lnTo>
                  <a:lnTo>
                    <a:pt x="12" y="678"/>
                  </a:lnTo>
                  <a:lnTo>
                    <a:pt x="12" y="672"/>
                  </a:lnTo>
                  <a:lnTo>
                    <a:pt x="18" y="672"/>
                  </a:lnTo>
                  <a:lnTo>
                    <a:pt x="18" y="666"/>
                  </a:lnTo>
                  <a:lnTo>
                    <a:pt x="24" y="666"/>
                  </a:lnTo>
                  <a:lnTo>
                    <a:pt x="24" y="660"/>
                  </a:lnTo>
                  <a:lnTo>
                    <a:pt x="30" y="660"/>
                  </a:lnTo>
                  <a:lnTo>
                    <a:pt x="30" y="654"/>
                  </a:lnTo>
                  <a:lnTo>
                    <a:pt x="36" y="654"/>
                  </a:lnTo>
                  <a:lnTo>
                    <a:pt x="36" y="648"/>
                  </a:lnTo>
                  <a:lnTo>
                    <a:pt x="42" y="648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60" y="630"/>
                  </a:lnTo>
                  <a:lnTo>
                    <a:pt x="66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78" y="624"/>
                  </a:lnTo>
                  <a:lnTo>
                    <a:pt x="84" y="618"/>
                  </a:lnTo>
                  <a:lnTo>
                    <a:pt x="84" y="612"/>
                  </a:lnTo>
                  <a:lnTo>
                    <a:pt x="90" y="612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20" y="588"/>
                  </a:lnTo>
                  <a:lnTo>
                    <a:pt x="120" y="582"/>
                  </a:lnTo>
                  <a:lnTo>
                    <a:pt x="120" y="576"/>
                  </a:lnTo>
                  <a:lnTo>
                    <a:pt x="120" y="570"/>
                  </a:lnTo>
                  <a:lnTo>
                    <a:pt x="126" y="564"/>
                  </a:lnTo>
                  <a:lnTo>
                    <a:pt x="126" y="558"/>
                  </a:lnTo>
                  <a:lnTo>
                    <a:pt x="126" y="552"/>
                  </a:lnTo>
                  <a:lnTo>
                    <a:pt x="126" y="546"/>
                  </a:lnTo>
                  <a:lnTo>
                    <a:pt x="126" y="534"/>
                  </a:lnTo>
                  <a:lnTo>
                    <a:pt x="126" y="516"/>
                  </a:lnTo>
                  <a:lnTo>
                    <a:pt x="126" y="510"/>
                  </a:lnTo>
                  <a:lnTo>
                    <a:pt x="126" y="504"/>
                  </a:lnTo>
                  <a:lnTo>
                    <a:pt x="126" y="498"/>
                  </a:lnTo>
                  <a:lnTo>
                    <a:pt x="132" y="498"/>
                  </a:lnTo>
                  <a:lnTo>
                    <a:pt x="132" y="492"/>
                  </a:lnTo>
                  <a:lnTo>
                    <a:pt x="138" y="492"/>
                  </a:lnTo>
                  <a:lnTo>
                    <a:pt x="144" y="486"/>
                  </a:lnTo>
                  <a:lnTo>
                    <a:pt x="156" y="480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6" y="462"/>
                  </a:lnTo>
                  <a:lnTo>
                    <a:pt x="156" y="456"/>
                  </a:lnTo>
                  <a:lnTo>
                    <a:pt x="156" y="450"/>
                  </a:lnTo>
                  <a:lnTo>
                    <a:pt x="162" y="438"/>
                  </a:lnTo>
                  <a:lnTo>
                    <a:pt x="168" y="426"/>
                  </a:lnTo>
                  <a:lnTo>
                    <a:pt x="174" y="426"/>
                  </a:lnTo>
                  <a:lnTo>
                    <a:pt x="174" y="420"/>
                  </a:lnTo>
                  <a:lnTo>
                    <a:pt x="180" y="414"/>
                  </a:lnTo>
                  <a:lnTo>
                    <a:pt x="186" y="420"/>
                  </a:lnTo>
                  <a:lnTo>
                    <a:pt x="186" y="414"/>
                  </a:lnTo>
                  <a:lnTo>
                    <a:pt x="180" y="408"/>
                  </a:lnTo>
                  <a:lnTo>
                    <a:pt x="180" y="402"/>
                  </a:lnTo>
                  <a:lnTo>
                    <a:pt x="186" y="402"/>
                  </a:lnTo>
                  <a:lnTo>
                    <a:pt x="192" y="402"/>
                  </a:lnTo>
                  <a:lnTo>
                    <a:pt x="192" y="396"/>
                  </a:lnTo>
                  <a:lnTo>
                    <a:pt x="198" y="396"/>
                  </a:lnTo>
                  <a:lnTo>
                    <a:pt x="204" y="396"/>
                  </a:lnTo>
                  <a:lnTo>
                    <a:pt x="210" y="396"/>
                  </a:lnTo>
                  <a:lnTo>
                    <a:pt x="210" y="390"/>
                  </a:lnTo>
                  <a:lnTo>
                    <a:pt x="216" y="390"/>
                  </a:lnTo>
                  <a:lnTo>
                    <a:pt x="216" y="384"/>
                  </a:lnTo>
                  <a:lnTo>
                    <a:pt x="222" y="384"/>
                  </a:lnTo>
                  <a:lnTo>
                    <a:pt x="222" y="378"/>
                  </a:lnTo>
                  <a:lnTo>
                    <a:pt x="228" y="372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0" y="348"/>
                  </a:lnTo>
                  <a:lnTo>
                    <a:pt x="234" y="342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46" y="330"/>
                  </a:lnTo>
                  <a:lnTo>
                    <a:pt x="246" y="324"/>
                  </a:lnTo>
                  <a:lnTo>
                    <a:pt x="234" y="318"/>
                  </a:lnTo>
                  <a:lnTo>
                    <a:pt x="234" y="312"/>
                  </a:lnTo>
                  <a:lnTo>
                    <a:pt x="234" y="300"/>
                  </a:lnTo>
                  <a:lnTo>
                    <a:pt x="240" y="288"/>
                  </a:lnTo>
                  <a:lnTo>
                    <a:pt x="240" y="276"/>
                  </a:lnTo>
                  <a:lnTo>
                    <a:pt x="246" y="258"/>
                  </a:lnTo>
                  <a:lnTo>
                    <a:pt x="258" y="252"/>
                  </a:lnTo>
                  <a:lnTo>
                    <a:pt x="270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294" y="252"/>
                  </a:lnTo>
                  <a:lnTo>
                    <a:pt x="300" y="258"/>
                  </a:lnTo>
                  <a:lnTo>
                    <a:pt x="318" y="252"/>
                  </a:lnTo>
                  <a:lnTo>
                    <a:pt x="366" y="252"/>
                  </a:lnTo>
                  <a:lnTo>
                    <a:pt x="378" y="252"/>
                  </a:lnTo>
                  <a:lnTo>
                    <a:pt x="396" y="252"/>
                  </a:lnTo>
                  <a:lnTo>
                    <a:pt x="408" y="252"/>
                  </a:lnTo>
                  <a:lnTo>
                    <a:pt x="408" y="246"/>
                  </a:lnTo>
                  <a:lnTo>
                    <a:pt x="414" y="240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20" y="216"/>
                  </a:lnTo>
                  <a:lnTo>
                    <a:pt x="426" y="210"/>
                  </a:lnTo>
                  <a:lnTo>
                    <a:pt x="444" y="198"/>
                  </a:lnTo>
                  <a:lnTo>
                    <a:pt x="462" y="198"/>
                  </a:lnTo>
                  <a:lnTo>
                    <a:pt x="474" y="204"/>
                  </a:lnTo>
                  <a:lnTo>
                    <a:pt x="498" y="198"/>
                  </a:lnTo>
                  <a:lnTo>
                    <a:pt x="498" y="204"/>
                  </a:lnTo>
                  <a:lnTo>
                    <a:pt x="540" y="210"/>
                  </a:lnTo>
                  <a:lnTo>
                    <a:pt x="564" y="210"/>
                  </a:lnTo>
                  <a:lnTo>
                    <a:pt x="588" y="210"/>
                  </a:lnTo>
                  <a:lnTo>
                    <a:pt x="612" y="210"/>
                  </a:lnTo>
                  <a:lnTo>
                    <a:pt x="612" y="216"/>
                  </a:lnTo>
                  <a:lnTo>
                    <a:pt x="618" y="222"/>
                  </a:lnTo>
                  <a:lnTo>
                    <a:pt x="618" y="228"/>
                  </a:lnTo>
                  <a:lnTo>
                    <a:pt x="624" y="240"/>
                  </a:lnTo>
                  <a:lnTo>
                    <a:pt x="624" y="246"/>
                  </a:lnTo>
                  <a:lnTo>
                    <a:pt x="630" y="252"/>
                  </a:lnTo>
                  <a:lnTo>
                    <a:pt x="630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0" y="282"/>
                  </a:lnTo>
                  <a:lnTo>
                    <a:pt x="630" y="288"/>
                  </a:lnTo>
                  <a:lnTo>
                    <a:pt x="630" y="300"/>
                  </a:lnTo>
                  <a:lnTo>
                    <a:pt x="630" y="306"/>
                  </a:lnTo>
                  <a:lnTo>
                    <a:pt x="636" y="306"/>
                  </a:lnTo>
                  <a:lnTo>
                    <a:pt x="642" y="306"/>
                  </a:lnTo>
                  <a:lnTo>
                    <a:pt x="648" y="312"/>
                  </a:lnTo>
                  <a:lnTo>
                    <a:pt x="666" y="312"/>
                  </a:lnTo>
                  <a:lnTo>
                    <a:pt x="696" y="306"/>
                  </a:lnTo>
                  <a:lnTo>
                    <a:pt x="732" y="300"/>
                  </a:lnTo>
                  <a:lnTo>
                    <a:pt x="732" y="288"/>
                  </a:lnTo>
                  <a:lnTo>
                    <a:pt x="738" y="288"/>
                  </a:lnTo>
                  <a:lnTo>
                    <a:pt x="744" y="276"/>
                  </a:lnTo>
                  <a:lnTo>
                    <a:pt x="762" y="246"/>
                  </a:lnTo>
                  <a:lnTo>
                    <a:pt x="768" y="228"/>
                  </a:lnTo>
                  <a:lnTo>
                    <a:pt x="792" y="210"/>
                  </a:lnTo>
                  <a:lnTo>
                    <a:pt x="804" y="186"/>
                  </a:lnTo>
                  <a:lnTo>
                    <a:pt x="804" y="156"/>
                  </a:lnTo>
                  <a:lnTo>
                    <a:pt x="804" y="138"/>
                  </a:lnTo>
                  <a:lnTo>
                    <a:pt x="810" y="126"/>
                  </a:lnTo>
                  <a:lnTo>
                    <a:pt x="816" y="120"/>
                  </a:lnTo>
                  <a:lnTo>
                    <a:pt x="828" y="102"/>
                  </a:lnTo>
                  <a:lnTo>
                    <a:pt x="834" y="96"/>
                  </a:lnTo>
                  <a:lnTo>
                    <a:pt x="846" y="102"/>
                  </a:lnTo>
                  <a:lnTo>
                    <a:pt x="852" y="96"/>
                  </a:lnTo>
                  <a:lnTo>
                    <a:pt x="858" y="72"/>
                  </a:lnTo>
                  <a:lnTo>
                    <a:pt x="864" y="60"/>
                  </a:lnTo>
                  <a:lnTo>
                    <a:pt x="882" y="48"/>
                  </a:lnTo>
                  <a:lnTo>
                    <a:pt x="906" y="36"/>
                  </a:lnTo>
                  <a:lnTo>
                    <a:pt x="918" y="12"/>
                  </a:lnTo>
                  <a:lnTo>
                    <a:pt x="924" y="0"/>
                  </a:lnTo>
                  <a:lnTo>
                    <a:pt x="930" y="6"/>
                  </a:lnTo>
                  <a:lnTo>
                    <a:pt x="942" y="12"/>
                  </a:lnTo>
                  <a:lnTo>
                    <a:pt x="948" y="12"/>
                  </a:lnTo>
                  <a:lnTo>
                    <a:pt x="954" y="18"/>
                  </a:lnTo>
                  <a:lnTo>
                    <a:pt x="966" y="18"/>
                  </a:lnTo>
                  <a:lnTo>
                    <a:pt x="972" y="18"/>
                  </a:lnTo>
                  <a:lnTo>
                    <a:pt x="984" y="18"/>
                  </a:lnTo>
                  <a:lnTo>
                    <a:pt x="990" y="18"/>
                  </a:lnTo>
                  <a:lnTo>
                    <a:pt x="1002" y="48"/>
                  </a:lnTo>
                  <a:lnTo>
                    <a:pt x="1008" y="78"/>
                  </a:lnTo>
                  <a:lnTo>
                    <a:pt x="1020" y="78"/>
                  </a:lnTo>
                  <a:lnTo>
                    <a:pt x="1020" y="90"/>
                  </a:lnTo>
                  <a:lnTo>
                    <a:pt x="1026" y="102"/>
                  </a:lnTo>
                  <a:lnTo>
                    <a:pt x="1044" y="120"/>
                  </a:lnTo>
                  <a:lnTo>
                    <a:pt x="1044" y="132"/>
                  </a:lnTo>
                  <a:lnTo>
                    <a:pt x="1056" y="150"/>
                  </a:lnTo>
                  <a:lnTo>
                    <a:pt x="1050" y="150"/>
                  </a:lnTo>
                  <a:lnTo>
                    <a:pt x="1044" y="156"/>
                  </a:lnTo>
                  <a:lnTo>
                    <a:pt x="1044" y="162"/>
                  </a:lnTo>
                  <a:lnTo>
                    <a:pt x="1038" y="162"/>
                  </a:lnTo>
                  <a:lnTo>
                    <a:pt x="1032" y="162"/>
                  </a:lnTo>
                  <a:lnTo>
                    <a:pt x="1026" y="168"/>
                  </a:lnTo>
                  <a:lnTo>
                    <a:pt x="1014" y="174"/>
                  </a:lnTo>
                  <a:lnTo>
                    <a:pt x="1014" y="186"/>
                  </a:lnTo>
                  <a:lnTo>
                    <a:pt x="1014" y="192"/>
                  </a:lnTo>
                  <a:lnTo>
                    <a:pt x="1014" y="198"/>
                  </a:lnTo>
                  <a:lnTo>
                    <a:pt x="1020" y="204"/>
                  </a:lnTo>
                  <a:lnTo>
                    <a:pt x="1026" y="204"/>
                  </a:lnTo>
                  <a:lnTo>
                    <a:pt x="1032" y="204"/>
                  </a:lnTo>
                  <a:lnTo>
                    <a:pt x="1032" y="210"/>
                  </a:lnTo>
                  <a:lnTo>
                    <a:pt x="1038" y="210"/>
                  </a:lnTo>
                  <a:lnTo>
                    <a:pt x="1032" y="216"/>
                  </a:lnTo>
                  <a:lnTo>
                    <a:pt x="1026" y="228"/>
                  </a:lnTo>
                  <a:lnTo>
                    <a:pt x="1026" y="234"/>
                  </a:lnTo>
                  <a:lnTo>
                    <a:pt x="1032" y="240"/>
                  </a:lnTo>
                  <a:lnTo>
                    <a:pt x="1032" y="246"/>
                  </a:lnTo>
                  <a:lnTo>
                    <a:pt x="1032" y="252"/>
                  </a:lnTo>
                  <a:lnTo>
                    <a:pt x="1032" y="258"/>
                  </a:lnTo>
                  <a:lnTo>
                    <a:pt x="1038" y="264"/>
                  </a:lnTo>
                  <a:lnTo>
                    <a:pt x="1032" y="276"/>
                  </a:lnTo>
                  <a:lnTo>
                    <a:pt x="1026" y="276"/>
                  </a:lnTo>
                  <a:lnTo>
                    <a:pt x="1020" y="276"/>
                  </a:lnTo>
                  <a:lnTo>
                    <a:pt x="996" y="282"/>
                  </a:lnTo>
                  <a:lnTo>
                    <a:pt x="996" y="288"/>
                  </a:lnTo>
                  <a:lnTo>
                    <a:pt x="996" y="294"/>
                  </a:lnTo>
                  <a:lnTo>
                    <a:pt x="996" y="300"/>
                  </a:lnTo>
                  <a:lnTo>
                    <a:pt x="996" y="306"/>
                  </a:lnTo>
                  <a:lnTo>
                    <a:pt x="984" y="324"/>
                  </a:lnTo>
                  <a:lnTo>
                    <a:pt x="984" y="330"/>
                  </a:lnTo>
                  <a:lnTo>
                    <a:pt x="984" y="336"/>
                  </a:lnTo>
                  <a:lnTo>
                    <a:pt x="978" y="336"/>
                  </a:lnTo>
                  <a:lnTo>
                    <a:pt x="978" y="342"/>
                  </a:lnTo>
                  <a:lnTo>
                    <a:pt x="984" y="360"/>
                  </a:lnTo>
                  <a:lnTo>
                    <a:pt x="978" y="366"/>
                  </a:lnTo>
                  <a:lnTo>
                    <a:pt x="978" y="372"/>
                  </a:lnTo>
                  <a:lnTo>
                    <a:pt x="972" y="372"/>
                  </a:lnTo>
                  <a:lnTo>
                    <a:pt x="972" y="378"/>
                  </a:lnTo>
                  <a:lnTo>
                    <a:pt x="972" y="384"/>
                  </a:lnTo>
                  <a:lnTo>
                    <a:pt x="972" y="390"/>
                  </a:lnTo>
                  <a:lnTo>
                    <a:pt x="966" y="402"/>
                  </a:lnTo>
                  <a:lnTo>
                    <a:pt x="960" y="414"/>
                  </a:lnTo>
                  <a:lnTo>
                    <a:pt x="954" y="420"/>
                  </a:lnTo>
                  <a:lnTo>
                    <a:pt x="948" y="426"/>
                  </a:lnTo>
                  <a:lnTo>
                    <a:pt x="948" y="438"/>
                  </a:lnTo>
                  <a:lnTo>
                    <a:pt x="942" y="444"/>
                  </a:lnTo>
                  <a:lnTo>
                    <a:pt x="936" y="450"/>
                  </a:lnTo>
                  <a:lnTo>
                    <a:pt x="930" y="456"/>
                  </a:lnTo>
                  <a:lnTo>
                    <a:pt x="924" y="462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18" y="522"/>
                  </a:lnTo>
                  <a:lnTo>
                    <a:pt x="918" y="528"/>
                  </a:lnTo>
                  <a:lnTo>
                    <a:pt x="924" y="534"/>
                  </a:lnTo>
                  <a:lnTo>
                    <a:pt x="924" y="540"/>
                  </a:lnTo>
                  <a:lnTo>
                    <a:pt x="924" y="546"/>
                  </a:lnTo>
                  <a:lnTo>
                    <a:pt x="918" y="546"/>
                  </a:lnTo>
                  <a:lnTo>
                    <a:pt x="918" y="552"/>
                  </a:lnTo>
                  <a:lnTo>
                    <a:pt x="912" y="546"/>
                  </a:lnTo>
                  <a:lnTo>
                    <a:pt x="912" y="552"/>
                  </a:lnTo>
                  <a:lnTo>
                    <a:pt x="912" y="570"/>
                  </a:lnTo>
                  <a:lnTo>
                    <a:pt x="906" y="588"/>
                  </a:lnTo>
                  <a:lnTo>
                    <a:pt x="900" y="606"/>
                  </a:lnTo>
                  <a:lnTo>
                    <a:pt x="906" y="624"/>
                  </a:lnTo>
                  <a:lnTo>
                    <a:pt x="900" y="624"/>
                  </a:lnTo>
                  <a:lnTo>
                    <a:pt x="894" y="630"/>
                  </a:lnTo>
                  <a:lnTo>
                    <a:pt x="888" y="630"/>
                  </a:lnTo>
                  <a:lnTo>
                    <a:pt x="882" y="630"/>
                  </a:lnTo>
                  <a:lnTo>
                    <a:pt x="882" y="636"/>
                  </a:lnTo>
                  <a:lnTo>
                    <a:pt x="876" y="642"/>
                  </a:lnTo>
                  <a:lnTo>
                    <a:pt x="870" y="642"/>
                  </a:lnTo>
                  <a:lnTo>
                    <a:pt x="870" y="648"/>
                  </a:lnTo>
                  <a:lnTo>
                    <a:pt x="870" y="654"/>
                  </a:lnTo>
                  <a:lnTo>
                    <a:pt x="864" y="654"/>
                  </a:lnTo>
                  <a:lnTo>
                    <a:pt x="864" y="660"/>
                  </a:lnTo>
                  <a:lnTo>
                    <a:pt x="846" y="666"/>
                  </a:lnTo>
                  <a:lnTo>
                    <a:pt x="828" y="672"/>
                  </a:lnTo>
                  <a:lnTo>
                    <a:pt x="816" y="660"/>
                  </a:lnTo>
                  <a:lnTo>
                    <a:pt x="810" y="660"/>
                  </a:lnTo>
                  <a:lnTo>
                    <a:pt x="798" y="666"/>
                  </a:lnTo>
                  <a:lnTo>
                    <a:pt x="786" y="666"/>
                  </a:lnTo>
                  <a:lnTo>
                    <a:pt x="780" y="672"/>
                  </a:lnTo>
                  <a:lnTo>
                    <a:pt x="768" y="678"/>
                  </a:lnTo>
                  <a:lnTo>
                    <a:pt x="762" y="660"/>
                  </a:lnTo>
                  <a:lnTo>
                    <a:pt x="762" y="654"/>
                  </a:lnTo>
                  <a:lnTo>
                    <a:pt x="756" y="636"/>
                  </a:lnTo>
                  <a:lnTo>
                    <a:pt x="762" y="624"/>
                  </a:lnTo>
                  <a:lnTo>
                    <a:pt x="756" y="606"/>
                  </a:lnTo>
                  <a:lnTo>
                    <a:pt x="756" y="600"/>
                  </a:lnTo>
                  <a:lnTo>
                    <a:pt x="762" y="594"/>
                  </a:lnTo>
                  <a:lnTo>
                    <a:pt x="768" y="600"/>
                  </a:lnTo>
                  <a:lnTo>
                    <a:pt x="768" y="594"/>
                  </a:lnTo>
                  <a:lnTo>
                    <a:pt x="768" y="588"/>
                  </a:lnTo>
                  <a:lnTo>
                    <a:pt x="774" y="582"/>
                  </a:lnTo>
                  <a:lnTo>
                    <a:pt x="768" y="576"/>
                  </a:lnTo>
                  <a:lnTo>
                    <a:pt x="762" y="576"/>
                  </a:lnTo>
                  <a:lnTo>
                    <a:pt x="756" y="576"/>
                  </a:lnTo>
                  <a:lnTo>
                    <a:pt x="690" y="576"/>
                  </a:lnTo>
                  <a:lnTo>
                    <a:pt x="624" y="570"/>
                  </a:lnTo>
                  <a:lnTo>
                    <a:pt x="600" y="564"/>
                  </a:lnTo>
                  <a:lnTo>
                    <a:pt x="576" y="564"/>
                  </a:lnTo>
                  <a:lnTo>
                    <a:pt x="558" y="570"/>
                  </a:lnTo>
                  <a:lnTo>
                    <a:pt x="552" y="576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46" y="594"/>
                  </a:lnTo>
                  <a:lnTo>
                    <a:pt x="546" y="600"/>
                  </a:lnTo>
                  <a:lnTo>
                    <a:pt x="540" y="606"/>
                  </a:lnTo>
                  <a:lnTo>
                    <a:pt x="534" y="618"/>
                  </a:lnTo>
                  <a:lnTo>
                    <a:pt x="534" y="624"/>
                  </a:lnTo>
                  <a:lnTo>
                    <a:pt x="534" y="630"/>
                  </a:lnTo>
                  <a:lnTo>
                    <a:pt x="534" y="636"/>
                  </a:lnTo>
                  <a:lnTo>
                    <a:pt x="528" y="636"/>
                  </a:lnTo>
                  <a:lnTo>
                    <a:pt x="516" y="642"/>
                  </a:lnTo>
                  <a:lnTo>
                    <a:pt x="516" y="648"/>
                  </a:lnTo>
                  <a:lnTo>
                    <a:pt x="510" y="648"/>
                  </a:lnTo>
                  <a:lnTo>
                    <a:pt x="504" y="654"/>
                  </a:lnTo>
                  <a:lnTo>
                    <a:pt x="492" y="666"/>
                  </a:lnTo>
                  <a:lnTo>
                    <a:pt x="492" y="672"/>
                  </a:lnTo>
                  <a:lnTo>
                    <a:pt x="492" y="684"/>
                  </a:lnTo>
                  <a:lnTo>
                    <a:pt x="486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92" y="702"/>
                  </a:lnTo>
                  <a:lnTo>
                    <a:pt x="486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74" y="720"/>
                  </a:lnTo>
                  <a:lnTo>
                    <a:pt x="480" y="726"/>
                  </a:lnTo>
                  <a:lnTo>
                    <a:pt x="474" y="726"/>
                  </a:lnTo>
                  <a:lnTo>
                    <a:pt x="474" y="738"/>
                  </a:lnTo>
                  <a:lnTo>
                    <a:pt x="474" y="744"/>
                  </a:lnTo>
                  <a:lnTo>
                    <a:pt x="474" y="750"/>
                  </a:lnTo>
                  <a:lnTo>
                    <a:pt x="480" y="750"/>
                  </a:lnTo>
                  <a:lnTo>
                    <a:pt x="480" y="756"/>
                  </a:lnTo>
                  <a:lnTo>
                    <a:pt x="492" y="762"/>
                  </a:lnTo>
                  <a:lnTo>
                    <a:pt x="498" y="774"/>
                  </a:lnTo>
                  <a:lnTo>
                    <a:pt x="498" y="780"/>
                  </a:lnTo>
                  <a:lnTo>
                    <a:pt x="504" y="786"/>
                  </a:lnTo>
                  <a:lnTo>
                    <a:pt x="510" y="792"/>
                  </a:lnTo>
                  <a:lnTo>
                    <a:pt x="504" y="798"/>
                  </a:lnTo>
                  <a:lnTo>
                    <a:pt x="504" y="804"/>
                  </a:lnTo>
                  <a:lnTo>
                    <a:pt x="504" y="810"/>
                  </a:lnTo>
                  <a:lnTo>
                    <a:pt x="498" y="822"/>
                  </a:lnTo>
                  <a:lnTo>
                    <a:pt x="492" y="828"/>
                  </a:lnTo>
                  <a:lnTo>
                    <a:pt x="492" y="834"/>
                  </a:lnTo>
                  <a:lnTo>
                    <a:pt x="486" y="840"/>
                  </a:lnTo>
                  <a:lnTo>
                    <a:pt x="480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74" y="858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876"/>
                  </a:lnTo>
                  <a:lnTo>
                    <a:pt x="456" y="894"/>
                  </a:lnTo>
                  <a:lnTo>
                    <a:pt x="450" y="894"/>
                  </a:lnTo>
                  <a:lnTo>
                    <a:pt x="444" y="900"/>
                  </a:lnTo>
                  <a:lnTo>
                    <a:pt x="444" y="894"/>
                  </a:lnTo>
                  <a:lnTo>
                    <a:pt x="438" y="894"/>
                  </a:lnTo>
                  <a:lnTo>
                    <a:pt x="432" y="900"/>
                  </a:lnTo>
                  <a:lnTo>
                    <a:pt x="432" y="906"/>
                  </a:lnTo>
                  <a:lnTo>
                    <a:pt x="420" y="906"/>
                  </a:lnTo>
                  <a:lnTo>
                    <a:pt x="420" y="912"/>
                  </a:lnTo>
                  <a:lnTo>
                    <a:pt x="420" y="918"/>
                  </a:lnTo>
                  <a:lnTo>
                    <a:pt x="426" y="918"/>
                  </a:lnTo>
                  <a:lnTo>
                    <a:pt x="426" y="924"/>
                  </a:lnTo>
                  <a:lnTo>
                    <a:pt x="426" y="930"/>
                  </a:lnTo>
                  <a:lnTo>
                    <a:pt x="420" y="930"/>
                  </a:lnTo>
                  <a:lnTo>
                    <a:pt x="414" y="936"/>
                  </a:lnTo>
                  <a:lnTo>
                    <a:pt x="414" y="942"/>
                  </a:lnTo>
                  <a:lnTo>
                    <a:pt x="414" y="948"/>
                  </a:lnTo>
                  <a:lnTo>
                    <a:pt x="414" y="954"/>
                  </a:lnTo>
                  <a:lnTo>
                    <a:pt x="426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44" y="972"/>
                  </a:lnTo>
                  <a:lnTo>
                    <a:pt x="444" y="978"/>
                  </a:lnTo>
                  <a:lnTo>
                    <a:pt x="450" y="978"/>
                  </a:lnTo>
                  <a:lnTo>
                    <a:pt x="450" y="984"/>
                  </a:lnTo>
                  <a:lnTo>
                    <a:pt x="456" y="990"/>
                  </a:lnTo>
                  <a:lnTo>
                    <a:pt x="456" y="996"/>
                  </a:lnTo>
                  <a:lnTo>
                    <a:pt x="462" y="1008"/>
                  </a:lnTo>
                  <a:lnTo>
                    <a:pt x="468" y="1008"/>
                  </a:lnTo>
                  <a:lnTo>
                    <a:pt x="468" y="1002"/>
                  </a:lnTo>
                  <a:lnTo>
                    <a:pt x="474" y="1008"/>
                  </a:lnTo>
                  <a:lnTo>
                    <a:pt x="480" y="1002"/>
                  </a:lnTo>
                  <a:lnTo>
                    <a:pt x="486" y="1008"/>
                  </a:lnTo>
                  <a:lnTo>
                    <a:pt x="486" y="1014"/>
                  </a:lnTo>
                  <a:lnTo>
                    <a:pt x="492" y="1014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86" y="1026"/>
                  </a:lnTo>
                  <a:lnTo>
                    <a:pt x="492" y="1026"/>
                  </a:lnTo>
                  <a:lnTo>
                    <a:pt x="486" y="1026"/>
                  </a:lnTo>
                  <a:lnTo>
                    <a:pt x="492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5" name="Freeform 30">
              <a:extLst>
                <a:ext uri="{FF2B5EF4-FFF2-40B4-BE49-F238E27FC236}">
                  <a16:creationId xmlns:a16="http://schemas.microsoft.com/office/drawing/2014/main" id="{85C7B827-0C1A-4D72-AEBD-F01CFE7EC12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3645" y="3904484"/>
              <a:ext cx="559048" cy="111825"/>
            </a:xfrm>
            <a:custGeom>
              <a:avLst/>
              <a:gdLst>
                <a:gd name="T0" fmla="*/ 69 w 1056"/>
                <a:gd name="T1" fmla="*/ 7 h 210"/>
                <a:gd name="T2" fmla="*/ 63 w 1056"/>
                <a:gd name="T3" fmla="*/ 5 h 210"/>
                <a:gd name="T4" fmla="*/ 57 w 1056"/>
                <a:gd name="T5" fmla="*/ 5 h 210"/>
                <a:gd name="T6" fmla="*/ 54 w 1056"/>
                <a:gd name="T7" fmla="*/ 6 h 210"/>
                <a:gd name="T8" fmla="*/ 51 w 1056"/>
                <a:gd name="T9" fmla="*/ 7 h 210"/>
                <a:gd name="T10" fmla="*/ 46 w 1056"/>
                <a:gd name="T11" fmla="*/ 9 h 210"/>
                <a:gd name="T12" fmla="*/ 42 w 1056"/>
                <a:gd name="T13" fmla="*/ 8 h 210"/>
                <a:gd name="T14" fmla="*/ 42 w 1056"/>
                <a:gd name="T15" fmla="*/ 5 h 210"/>
                <a:gd name="T16" fmla="*/ 41 w 1056"/>
                <a:gd name="T17" fmla="*/ 7 h 210"/>
                <a:gd name="T18" fmla="*/ 38 w 1056"/>
                <a:gd name="T19" fmla="*/ 10 h 210"/>
                <a:gd name="T20" fmla="*/ 37 w 1056"/>
                <a:gd name="T21" fmla="*/ 12 h 210"/>
                <a:gd name="T22" fmla="*/ 37 w 1056"/>
                <a:gd name="T23" fmla="*/ 15 h 210"/>
                <a:gd name="T24" fmla="*/ 37 w 1056"/>
                <a:gd name="T25" fmla="*/ 16 h 210"/>
                <a:gd name="T26" fmla="*/ 38 w 1056"/>
                <a:gd name="T27" fmla="*/ 16 h 210"/>
                <a:gd name="T28" fmla="*/ 34 w 1056"/>
                <a:gd name="T29" fmla="*/ 16 h 210"/>
                <a:gd name="T30" fmla="*/ 26 w 1056"/>
                <a:gd name="T31" fmla="*/ 16 h 210"/>
                <a:gd name="T32" fmla="*/ 20 w 1056"/>
                <a:gd name="T33" fmla="*/ 17 h 210"/>
                <a:gd name="T34" fmla="*/ 13 w 1056"/>
                <a:gd name="T35" fmla="*/ 17 h 210"/>
                <a:gd name="T36" fmla="*/ 6 w 1056"/>
                <a:gd name="T37" fmla="*/ 17 h 210"/>
                <a:gd name="T38" fmla="*/ 1 w 1056"/>
                <a:gd name="T39" fmla="*/ 18 h 210"/>
                <a:gd name="T40" fmla="*/ 3 w 1056"/>
                <a:gd name="T41" fmla="*/ 14 h 210"/>
                <a:gd name="T42" fmla="*/ 8 w 1056"/>
                <a:gd name="T43" fmla="*/ 15 h 210"/>
                <a:gd name="T44" fmla="*/ 11 w 1056"/>
                <a:gd name="T45" fmla="*/ 12 h 210"/>
                <a:gd name="T46" fmla="*/ 26 w 1056"/>
                <a:gd name="T47" fmla="*/ 10 h 210"/>
                <a:gd name="T48" fmla="*/ 29 w 1056"/>
                <a:gd name="T49" fmla="*/ 5 h 210"/>
                <a:gd name="T50" fmla="*/ 34 w 1056"/>
                <a:gd name="T51" fmla="*/ 1 h 210"/>
                <a:gd name="T52" fmla="*/ 41 w 1056"/>
                <a:gd name="T53" fmla="*/ 3 h 210"/>
                <a:gd name="T54" fmla="*/ 73 w 1056"/>
                <a:gd name="T55" fmla="*/ 1 h 210"/>
                <a:gd name="T56" fmla="*/ 75 w 1056"/>
                <a:gd name="T57" fmla="*/ 4 h 210"/>
                <a:gd name="T58" fmla="*/ 85 w 1056"/>
                <a:gd name="T59" fmla="*/ 15 h 210"/>
                <a:gd name="T60" fmla="*/ 91 w 1056"/>
                <a:gd name="T61" fmla="*/ 18 h 210"/>
                <a:gd name="T62" fmla="*/ 85 w 1056"/>
                <a:gd name="T63" fmla="*/ 18 h 210"/>
                <a:gd name="T64" fmla="*/ 79 w 1056"/>
                <a:gd name="T65" fmla="*/ 16 h 210"/>
                <a:gd name="T66" fmla="*/ 74 w 1056"/>
                <a:gd name="T67" fmla="*/ 16 h 210"/>
                <a:gd name="T68" fmla="*/ 69 w 1056"/>
                <a:gd name="T69" fmla="*/ 15 h 210"/>
                <a:gd name="T70" fmla="*/ 65 w 1056"/>
                <a:gd name="T71" fmla="*/ 14 h 210"/>
                <a:gd name="T72" fmla="*/ 59 w 1056"/>
                <a:gd name="T73" fmla="*/ 15 h 210"/>
                <a:gd name="T74" fmla="*/ 54 w 1056"/>
                <a:gd name="T75" fmla="*/ 15 h 210"/>
                <a:gd name="T76" fmla="*/ 49 w 1056"/>
                <a:gd name="T77" fmla="*/ 15 h 210"/>
                <a:gd name="T78" fmla="*/ 42 w 1056"/>
                <a:gd name="T79" fmla="*/ 15 h 210"/>
                <a:gd name="T80" fmla="*/ 38 w 1056"/>
                <a:gd name="T81" fmla="*/ 16 h 210"/>
                <a:gd name="T82" fmla="*/ 41 w 1056"/>
                <a:gd name="T83" fmla="*/ 14 h 210"/>
                <a:gd name="T84" fmla="*/ 42 w 1056"/>
                <a:gd name="T85" fmla="*/ 13 h 210"/>
                <a:gd name="T86" fmla="*/ 45 w 1056"/>
                <a:gd name="T87" fmla="*/ 13 h 210"/>
                <a:gd name="T88" fmla="*/ 48 w 1056"/>
                <a:gd name="T89" fmla="*/ 12 h 210"/>
                <a:gd name="T90" fmla="*/ 51 w 1056"/>
                <a:gd name="T91" fmla="*/ 11 h 210"/>
                <a:gd name="T92" fmla="*/ 54 w 1056"/>
                <a:gd name="T93" fmla="*/ 9 h 210"/>
                <a:gd name="T94" fmla="*/ 57 w 1056"/>
                <a:gd name="T95" fmla="*/ 8 h 210"/>
                <a:gd name="T96" fmla="*/ 60 w 1056"/>
                <a:gd name="T97" fmla="*/ 5 h 210"/>
                <a:gd name="T98" fmla="*/ 65 w 1056"/>
                <a:gd name="T99" fmla="*/ 5 h 210"/>
                <a:gd name="T100" fmla="*/ 72 w 1056"/>
                <a:gd name="T101" fmla="*/ 7 h 210"/>
                <a:gd name="T102" fmla="*/ 77 w 1056"/>
                <a:gd name="T103" fmla="*/ 11 h 210"/>
                <a:gd name="T104" fmla="*/ 69 w 1056"/>
                <a:gd name="T105" fmla="*/ 10 h 210"/>
                <a:gd name="T106" fmla="*/ 72 w 1056"/>
                <a:gd name="T107" fmla="*/ 12 h 210"/>
                <a:gd name="T108" fmla="*/ 78 w 1056"/>
                <a:gd name="T109" fmla="*/ 15 h 210"/>
                <a:gd name="T110" fmla="*/ 84 w 1056"/>
                <a:gd name="T111" fmla="*/ 14 h 210"/>
                <a:gd name="T112" fmla="*/ 84 w 1056"/>
                <a:gd name="T113" fmla="*/ 14 h 210"/>
                <a:gd name="T114" fmla="*/ 78 w 1056"/>
                <a:gd name="T115" fmla="*/ 13 h 210"/>
                <a:gd name="T116" fmla="*/ 76 w 1056"/>
                <a:gd name="T117" fmla="*/ 14 h 210"/>
                <a:gd name="T118" fmla="*/ 38 w 1056"/>
                <a:gd name="T119" fmla="*/ 12 h 210"/>
                <a:gd name="T120" fmla="*/ 41 w 1056"/>
                <a:gd name="T121" fmla="*/ 12 h 210"/>
                <a:gd name="T122" fmla="*/ 40 w 1056"/>
                <a:gd name="T123" fmla="*/ 14 h 2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6"/>
                <a:gd name="T187" fmla="*/ 0 h 210"/>
                <a:gd name="T188" fmla="*/ 1056 w 1056"/>
                <a:gd name="T189" fmla="*/ 210 h 21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6" h="210">
                  <a:moveTo>
                    <a:pt x="870" y="90"/>
                  </a:moveTo>
                  <a:lnTo>
                    <a:pt x="864" y="90"/>
                  </a:lnTo>
                  <a:lnTo>
                    <a:pt x="852" y="84"/>
                  </a:lnTo>
                  <a:lnTo>
                    <a:pt x="846" y="84"/>
                  </a:lnTo>
                  <a:lnTo>
                    <a:pt x="846" y="78"/>
                  </a:lnTo>
                  <a:lnTo>
                    <a:pt x="840" y="78"/>
                  </a:lnTo>
                  <a:lnTo>
                    <a:pt x="834" y="78"/>
                  </a:lnTo>
                  <a:lnTo>
                    <a:pt x="834" y="72"/>
                  </a:lnTo>
                  <a:lnTo>
                    <a:pt x="804" y="78"/>
                  </a:lnTo>
                  <a:lnTo>
                    <a:pt x="798" y="78"/>
                  </a:lnTo>
                  <a:lnTo>
                    <a:pt x="792" y="72"/>
                  </a:lnTo>
                  <a:lnTo>
                    <a:pt x="780" y="60"/>
                  </a:lnTo>
                  <a:lnTo>
                    <a:pt x="768" y="54"/>
                  </a:lnTo>
                  <a:lnTo>
                    <a:pt x="756" y="54"/>
                  </a:lnTo>
                  <a:lnTo>
                    <a:pt x="750" y="54"/>
                  </a:lnTo>
                  <a:lnTo>
                    <a:pt x="750" y="48"/>
                  </a:lnTo>
                  <a:lnTo>
                    <a:pt x="744" y="48"/>
                  </a:lnTo>
                  <a:lnTo>
                    <a:pt x="738" y="48"/>
                  </a:lnTo>
                  <a:lnTo>
                    <a:pt x="732" y="48"/>
                  </a:lnTo>
                  <a:lnTo>
                    <a:pt x="732" y="54"/>
                  </a:lnTo>
                  <a:lnTo>
                    <a:pt x="726" y="48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48"/>
                  </a:lnTo>
                  <a:lnTo>
                    <a:pt x="702" y="48"/>
                  </a:lnTo>
                  <a:lnTo>
                    <a:pt x="696" y="48"/>
                  </a:lnTo>
                  <a:lnTo>
                    <a:pt x="684" y="48"/>
                  </a:lnTo>
                  <a:lnTo>
                    <a:pt x="678" y="48"/>
                  </a:lnTo>
                  <a:lnTo>
                    <a:pt x="672" y="48"/>
                  </a:lnTo>
                  <a:lnTo>
                    <a:pt x="666" y="54"/>
                  </a:lnTo>
                  <a:lnTo>
                    <a:pt x="660" y="54"/>
                  </a:lnTo>
                  <a:lnTo>
                    <a:pt x="660" y="48"/>
                  </a:lnTo>
                  <a:lnTo>
                    <a:pt x="654" y="48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42" y="54"/>
                  </a:lnTo>
                  <a:lnTo>
                    <a:pt x="63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30" y="66"/>
                  </a:lnTo>
                  <a:lnTo>
                    <a:pt x="624" y="66"/>
                  </a:lnTo>
                  <a:lnTo>
                    <a:pt x="618" y="66"/>
                  </a:lnTo>
                  <a:lnTo>
                    <a:pt x="618" y="72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6" y="84"/>
                  </a:lnTo>
                  <a:lnTo>
                    <a:pt x="600" y="84"/>
                  </a:lnTo>
                  <a:lnTo>
                    <a:pt x="594" y="90"/>
                  </a:lnTo>
                  <a:lnTo>
                    <a:pt x="588" y="90"/>
                  </a:lnTo>
                  <a:lnTo>
                    <a:pt x="588" y="84"/>
                  </a:lnTo>
                  <a:lnTo>
                    <a:pt x="582" y="84"/>
                  </a:lnTo>
                  <a:lnTo>
                    <a:pt x="576" y="84"/>
                  </a:lnTo>
                  <a:lnTo>
                    <a:pt x="570" y="84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58" y="96"/>
                  </a:lnTo>
                  <a:lnTo>
                    <a:pt x="552" y="96"/>
                  </a:lnTo>
                  <a:lnTo>
                    <a:pt x="546" y="102"/>
                  </a:lnTo>
                  <a:lnTo>
                    <a:pt x="540" y="102"/>
                  </a:lnTo>
                  <a:lnTo>
                    <a:pt x="534" y="102"/>
                  </a:lnTo>
                  <a:lnTo>
                    <a:pt x="528" y="102"/>
                  </a:lnTo>
                  <a:lnTo>
                    <a:pt x="528" y="108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16" y="102"/>
                  </a:lnTo>
                  <a:lnTo>
                    <a:pt x="510" y="102"/>
                  </a:lnTo>
                  <a:lnTo>
                    <a:pt x="504" y="102"/>
                  </a:lnTo>
                  <a:lnTo>
                    <a:pt x="498" y="102"/>
                  </a:lnTo>
                  <a:lnTo>
                    <a:pt x="498" y="96"/>
                  </a:lnTo>
                  <a:lnTo>
                    <a:pt x="492" y="96"/>
                  </a:lnTo>
                  <a:lnTo>
                    <a:pt x="492" y="90"/>
                  </a:lnTo>
                  <a:lnTo>
                    <a:pt x="492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498" y="66"/>
                  </a:lnTo>
                  <a:lnTo>
                    <a:pt x="504" y="60"/>
                  </a:lnTo>
                  <a:lnTo>
                    <a:pt x="498" y="60"/>
                  </a:lnTo>
                  <a:lnTo>
                    <a:pt x="498" y="54"/>
                  </a:lnTo>
                  <a:lnTo>
                    <a:pt x="492" y="54"/>
                  </a:lnTo>
                  <a:lnTo>
                    <a:pt x="492" y="60"/>
                  </a:lnTo>
                  <a:lnTo>
                    <a:pt x="486" y="60"/>
                  </a:lnTo>
                  <a:lnTo>
                    <a:pt x="486" y="66"/>
                  </a:lnTo>
                  <a:lnTo>
                    <a:pt x="480" y="66"/>
                  </a:lnTo>
                  <a:lnTo>
                    <a:pt x="474" y="72"/>
                  </a:lnTo>
                  <a:lnTo>
                    <a:pt x="474" y="66"/>
                  </a:lnTo>
                  <a:lnTo>
                    <a:pt x="474" y="72"/>
                  </a:lnTo>
                  <a:lnTo>
                    <a:pt x="468" y="72"/>
                  </a:lnTo>
                  <a:lnTo>
                    <a:pt x="468" y="78"/>
                  </a:lnTo>
                  <a:lnTo>
                    <a:pt x="468" y="84"/>
                  </a:lnTo>
                  <a:lnTo>
                    <a:pt x="462" y="90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0" y="84"/>
                  </a:lnTo>
                  <a:lnTo>
                    <a:pt x="450" y="90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44" y="102"/>
                  </a:lnTo>
                  <a:lnTo>
                    <a:pt x="444" y="108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38" y="126"/>
                  </a:lnTo>
                  <a:lnTo>
                    <a:pt x="438" y="132"/>
                  </a:lnTo>
                  <a:lnTo>
                    <a:pt x="438" y="138"/>
                  </a:lnTo>
                  <a:lnTo>
                    <a:pt x="438" y="144"/>
                  </a:lnTo>
                  <a:lnTo>
                    <a:pt x="432" y="144"/>
                  </a:lnTo>
                  <a:lnTo>
                    <a:pt x="432" y="150"/>
                  </a:lnTo>
                  <a:lnTo>
                    <a:pt x="432" y="144"/>
                  </a:lnTo>
                  <a:lnTo>
                    <a:pt x="426" y="144"/>
                  </a:lnTo>
                  <a:lnTo>
                    <a:pt x="426" y="150"/>
                  </a:lnTo>
                  <a:lnTo>
                    <a:pt x="426" y="156"/>
                  </a:lnTo>
                  <a:lnTo>
                    <a:pt x="432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2"/>
                  </a:lnTo>
                  <a:lnTo>
                    <a:pt x="432" y="168"/>
                  </a:lnTo>
                  <a:lnTo>
                    <a:pt x="426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44" y="168"/>
                  </a:lnTo>
                  <a:lnTo>
                    <a:pt x="444" y="174"/>
                  </a:lnTo>
                  <a:lnTo>
                    <a:pt x="444" y="180"/>
                  </a:lnTo>
                  <a:lnTo>
                    <a:pt x="444" y="186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2" y="192"/>
                  </a:lnTo>
                  <a:lnTo>
                    <a:pt x="426" y="192"/>
                  </a:lnTo>
                  <a:lnTo>
                    <a:pt x="420" y="186"/>
                  </a:lnTo>
                  <a:lnTo>
                    <a:pt x="414" y="186"/>
                  </a:lnTo>
                  <a:lnTo>
                    <a:pt x="408" y="186"/>
                  </a:lnTo>
                  <a:lnTo>
                    <a:pt x="402" y="186"/>
                  </a:lnTo>
                  <a:lnTo>
                    <a:pt x="396" y="186"/>
                  </a:lnTo>
                  <a:lnTo>
                    <a:pt x="390" y="186"/>
                  </a:lnTo>
                  <a:lnTo>
                    <a:pt x="384" y="186"/>
                  </a:lnTo>
                  <a:lnTo>
                    <a:pt x="378" y="186"/>
                  </a:lnTo>
                  <a:lnTo>
                    <a:pt x="372" y="186"/>
                  </a:lnTo>
                  <a:lnTo>
                    <a:pt x="354" y="186"/>
                  </a:lnTo>
                  <a:lnTo>
                    <a:pt x="342" y="186"/>
                  </a:lnTo>
                  <a:lnTo>
                    <a:pt x="324" y="186"/>
                  </a:lnTo>
                  <a:lnTo>
                    <a:pt x="312" y="186"/>
                  </a:lnTo>
                  <a:lnTo>
                    <a:pt x="306" y="186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82" y="186"/>
                  </a:lnTo>
                  <a:lnTo>
                    <a:pt x="270" y="186"/>
                  </a:lnTo>
                  <a:lnTo>
                    <a:pt x="264" y="186"/>
                  </a:lnTo>
                  <a:lnTo>
                    <a:pt x="258" y="192"/>
                  </a:lnTo>
                  <a:lnTo>
                    <a:pt x="258" y="186"/>
                  </a:lnTo>
                  <a:lnTo>
                    <a:pt x="246" y="186"/>
                  </a:lnTo>
                  <a:lnTo>
                    <a:pt x="240" y="186"/>
                  </a:lnTo>
                  <a:lnTo>
                    <a:pt x="234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2"/>
                  </a:lnTo>
                  <a:lnTo>
                    <a:pt x="204" y="192"/>
                  </a:lnTo>
                  <a:lnTo>
                    <a:pt x="198" y="192"/>
                  </a:lnTo>
                  <a:lnTo>
                    <a:pt x="192" y="192"/>
                  </a:lnTo>
                  <a:lnTo>
                    <a:pt x="180" y="192"/>
                  </a:lnTo>
                  <a:lnTo>
                    <a:pt x="168" y="192"/>
                  </a:lnTo>
                  <a:lnTo>
                    <a:pt x="162" y="192"/>
                  </a:lnTo>
                  <a:lnTo>
                    <a:pt x="150" y="192"/>
                  </a:lnTo>
                  <a:lnTo>
                    <a:pt x="138" y="192"/>
                  </a:lnTo>
                  <a:lnTo>
                    <a:pt x="132" y="192"/>
                  </a:lnTo>
                  <a:lnTo>
                    <a:pt x="120" y="192"/>
                  </a:lnTo>
                  <a:lnTo>
                    <a:pt x="114" y="192"/>
                  </a:lnTo>
                  <a:lnTo>
                    <a:pt x="108" y="192"/>
                  </a:lnTo>
                  <a:lnTo>
                    <a:pt x="102" y="192"/>
                  </a:lnTo>
                  <a:lnTo>
                    <a:pt x="90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2" y="198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36" y="198"/>
                  </a:lnTo>
                  <a:lnTo>
                    <a:pt x="30" y="204"/>
                  </a:lnTo>
                  <a:lnTo>
                    <a:pt x="24" y="204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6" y="210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54" y="156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56"/>
                  </a:lnTo>
                  <a:lnTo>
                    <a:pt x="78" y="162"/>
                  </a:lnTo>
                  <a:lnTo>
                    <a:pt x="84" y="162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9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0" y="126"/>
                  </a:lnTo>
                  <a:lnTo>
                    <a:pt x="276" y="120"/>
                  </a:lnTo>
                  <a:lnTo>
                    <a:pt x="282" y="120"/>
                  </a:lnTo>
                  <a:lnTo>
                    <a:pt x="300" y="120"/>
                  </a:lnTo>
                  <a:lnTo>
                    <a:pt x="306" y="114"/>
                  </a:lnTo>
                  <a:lnTo>
                    <a:pt x="312" y="108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8"/>
                  </a:lnTo>
                  <a:lnTo>
                    <a:pt x="342" y="30"/>
                  </a:lnTo>
                  <a:lnTo>
                    <a:pt x="342" y="24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8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24"/>
                  </a:lnTo>
                  <a:lnTo>
                    <a:pt x="414" y="30"/>
                  </a:lnTo>
                  <a:lnTo>
                    <a:pt x="420" y="30"/>
                  </a:lnTo>
                  <a:lnTo>
                    <a:pt x="42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74" y="30"/>
                  </a:lnTo>
                  <a:lnTo>
                    <a:pt x="474" y="18"/>
                  </a:lnTo>
                  <a:lnTo>
                    <a:pt x="474" y="12"/>
                  </a:lnTo>
                  <a:lnTo>
                    <a:pt x="480" y="12"/>
                  </a:lnTo>
                  <a:lnTo>
                    <a:pt x="486" y="12"/>
                  </a:lnTo>
                  <a:lnTo>
                    <a:pt x="606" y="12"/>
                  </a:lnTo>
                  <a:lnTo>
                    <a:pt x="630" y="12"/>
                  </a:lnTo>
                  <a:lnTo>
                    <a:pt x="678" y="12"/>
                  </a:lnTo>
                  <a:lnTo>
                    <a:pt x="744" y="12"/>
                  </a:lnTo>
                  <a:lnTo>
                    <a:pt x="774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2" y="6"/>
                  </a:lnTo>
                  <a:lnTo>
                    <a:pt x="888" y="12"/>
                  </a:lnTo>
                  <a:lnTo>
                    <a:pt x="888" y="24"/>
                  </a:lnTo>
                  <a:lnTo>
                    <a:pt x="888" y="30"/>
                  </a:lnTo>
                  <a:lnTo>
                    <a:pt x="882" y="36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64" y="42"/>
                  </a:lnTo>
                  <a:lnTo>
                    <a:pt x="864" y="48"/>
                  </a:lnTo>
                  <a:lnTo>
                    <a:pt x="858" y="54"/>
                  </a:lnTo>
                  <a:lnTo>
                    <a:pt x="864" y="54"/>
                  </a:lnTo>
                  <a:lnTo>
                    <a:pt x="870" y="72"/>
                  </a:lnTo>
                  <a:lnTo>
                    <a:pt x="870" y="78"/>
                  </a:lnTo>
                  <a:lnTo>
                    <a:pt x="870" y="84"/>
                  </a:lnTo>
                  <a:lnTo>
                    <a:pt x="870" y="90"/>
                  </a:lnTo>
                  <a:close/>
                  <a:moveTo>
                    <a:pt x="972" y="156"/>
                  </a:moveTo>
                  <a:lnTo>
                    <a:pt x="972" y="162"/>
                  </a:lnTo>
                  <a:lnTo>
                    <a:pt x="978" y="162"/>
                  </a:lnTo>
                  <a:lnTo>
                    <a:pt x="984" y="168"/>
                  </a:lnTo>
                  <a:lnTo>
                    <a:pt x="990" y="168"/>
                  </a:lnTo>
                  <a:lnTo>
                    <a:pt x="990" y="162"/>
                  </a:lnTo>
                  <a:lnTo>
                    <a:pt x="1008" y="162"/>
                  </a:lnTo>
                  <a:lnTo>
                    <a:pt x="1020" y="162"/>
                  </a:lnTo>
                  <a:lnTo>
                    <a:pt x="1038" y="162"/>
                  </a:lnTo>
                  <a:lnTo>
                    <a:pt x="1056" y="168"/>
                  </a:lnTo>
                  <a:lnTo>
                    <a:pt x="1056" y="180"/>
                  </a:lnTo>
                  <a:lnTo>
                    <a:pt x="1056" y="186"/>
                  </a:lnTo>
                  <a:lnTo>
                    <a:pt x="1056" y="204"/>
                  </a:lnTo>
                  <a:lnTo>
                    <a:pt x="1050" y="204"/>
                  </a:lnTo>
                  <a:lnTo>
                    <a:pt x="1044" y="204"/>
                  </a:lnTo>
                  <a:lnTo>
                    <a:pt x="1038" y="204"/>
                  </a:lnTo>
                  <a:lnTo>
                    <a:pt x="1032" y="204"/>
                  </a:lnTo>
                  <a:lnTo>
                    <a:pt x="1026" y="204"/>
                  </a:lnTo>
                  <a:lnTo>
                    <a:pt x="1020" y="204"/>
                  </a:lnTo>
                  <a:lnTo>
                    <a:pt x="1014" y="204"/>
                  </a:lnTo>
                  <a:lnTo>
                    <a:pt x="1008" y="204"/>
                  </a:lnTo>
                  <a:lnTo>
                    <a:pt x="1002" y="204"/>
                  </a:lnTo>
                  <a:lnTo>
                    <a:pt x="996" y="204"/>
                  </a:lnTo>
                  <a:lnTo>
                    <a:pt x="984" y="204"/>
                  </a:lnTo>
                  <a:lnTo>
                    <a:pt x="984" y="198"/>
                  </a:lnTo>
                  <a:lnTo>
                    <a:pt x="978" y="198"/>
                  </a:lnTo>
                  <a:lnTo>
                    <a:pt x="966" y="198"/>
                  </a:lnTo>
                  <a:lnTo>
                    <a:pt x="948" y="192"/>
                  </a:lnTo>
                  <a:lnTo>
                    <a:pt x="942" y="192"/>
                  </a:lnTo>
                  <a:lnTo>
                    <a:pt x="936" y="192"/>
                  </a:lnTo>
                  <a:lnTo>
                    <a:pt x="924" y="192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12" y="186"/>
                  </a:lnTo>
                  <a:lnTo>
                    <a:pt x="906" y="186"/>
                  </a:lnTo>
                  <a:lnTo>
                    <a:pt x="900" y="186"/>
                  </a:lnTo>
                  <a:lnTo>
                    <a:pt x="894" y="186"/>
                  </a:lnTo>
                  <a:lnTo>
                    <a:pt x="888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76" y="180"/>
                  </a:lnTo>
                  <a:lnTo>
                    <a:pt x="870" y="180"/>
                  </a:lnTo>
                  <a:lnTo>
                    <a:pt x="864" y="180"/>
                  </a:lnTo>
                  <a:lnTo>
                    <a:pt x="858" y="180"/>
                  </a:lnTo>
                  <a:lnTo>
                    <a:pt x="852" y="180"/>
                  </a:lnTo>
                  <a:lnTo>
                    <a:pt x="852" y="174"/>
                  </a:lnTo>
                  <a:lnTo>
                    <a:pt x="846" y="174"/>
                  </a:lnTo>
                  <a:lnTo>
                    <a:pt x="840" y="174"/>
                  </a:lnTo>
                  <a:lnTo>
                    <a:pt x="834" y="174"/>
                  </a:lnTo>
                  <a:lnTo>
                    <a:pt x="828" y="174"/>
                  </a:lnTo>
                  <a:lnTo>
                    <a:pt x="822" y="174"/>
                  </a:lnTo>
                  <a:lnTo>
                    <a:pt x="816" y="174"/>
                  </a:lnTo>
                  <a:lnTo>
                    <a:pt x="810" y="168"/>
                  </a:lnTo>
                  <a:lnTo>
                    <a:pt x="804" y="168"/>
                  </a:lnTo>
                  <a:lnTo>
                    <a:pt x="798" y="168"/>
                  </a:lnTo>
                  <a:lnTo>
                    <a:pt x="792" y="168"/>
                  </a:lnTo>
                  <a:lnTo>
                    <a:pt x="786" y="168"/>
                  </a:lnTo>
                  <a:lnTo>
                    <a:pt x="780" y="168"/>
                  </a:lnTo>
                  <a:lnTo>
                    <a:pt x="774" y="168"/>
                  </a:lnTo>
                  <a:lnTo>
                    <a:pt x="768" y="168"/>
                  </a:lnTo>
                  <a:lnTo>
                    <a:pt x="762" y="168"/>
                  </a:lnTo>
                  <a:lnTo>
                    <a:pt x="756" y="168"/>
                  </a:lnTo>
                  <a:lnTo>
                    <a:pt x="750" y="168"/>
                  </a:lnTo>
                  <a:lnTo>
                    <a:pt x="750" y="162"/>
                  </a:lnTo>
                  <a:lnTo>
                    <a:pt x="744" y="168"/>
                  </a:lnTo>
                  <a:lnTo>
                    <a:pt x="738" y="162"/>
                  </a:lnTo>
                  <a:lnTo>
                    <a:pt x="732" y="162"/>
                  </a:lnTo>
                  <a:lnTo>
                    <a:pt x="726" y="162"/>
                  </a:lnTo>
                  <a:lnTo>
                    <a:pt x="714" y="162"/>
                  </a:lnTo>
                  <a:lnTo>
                    <a:pt x="702" y="162"/>
                  </a:lnTo>
                  <a:lnTo>
                    <a:pt x="696" y="168"/>
                  </a:lnTo>
                  <a:lnTo>
                    <a:pt x="690" y="168"/>
                  </a:lnTo>
                  <a:lnTo>
                    <a:pt x="684" y="168"/>
                  </a:lnTo>
                  <a:lnTo>
                    <a:pt x="678" y="168"/>
                  </a:lnTo>
                  <a:lnTo>
                    <a:pt x="672" y="168"/>
                  </a:lnTo>
                  <a:lnTo>
                    <a:pt x="666" y="168"/>
                  </a:lnTo>
                  <a:lnTo>
                    <a:pt x="660" y="168"/>
                  </a:lnTo>
                  <a:lnTo>
                    <a:pt x="654" y="168"/>
                  </a:lnTo>
                  <a:lnTo>
                    <a:pt x="648" y="174"/>
                  </a:lnTo>
                  <a:lnTo>
                    <a:pt x="648" y="168"/>
                  </a:lnTo>
                  <a:lnTo>
                    <a:pt x="642" y="174"/>
                  </a:lnTo>
                  <a:lnTo>
                    <a:pt x="636" y="174"/>
                  </a:lnTo>
                  <a:lnTo>
                    <a:pt x="630" y="174"/>
                  </a:lnTo>
                  <a:lnTo>
                    <a:pt x="624" y="174"/>
                  </a:lnTo>
                  <a:lnTo>
                    <a:pt x="618" y="174"/>
                  </a:lnTo>
                  <a:lnTo>
                    <a:pt x="612" y="174"/>
                  </a:lnTo>
                  <a:lnTo>
                    <a:pt x="606" y="174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74"/>
                  </a:lnTo>
                  <a:lnTo>
                    <a:pt x="582" y="174"/>
                  </a:lnTo>
                  <a:lnTo>
                    <a:pt x="576" y="174"/>
                  </a:lnTo>
                  <a:lnTo>
                    <a:pt x="570" y="174"/>
                  </a:lnTo>
                  <a:lnTo>
                    <a:pt x="564" y="174"/>
                  </a:lnTo>
                  <a:lnTo>
                    <a:pt x="558" y="174"/>
                  </a:lnTo>
                  <a:lnTo>
                    <a:pt x="552" y="174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0" y="174"/>
                  </a:lnTo>
                  <a:lnTo>
                    <a:pt x="504" y="174"/>
                  </a:lnTo>
                  <a:lnTo>
                    <a:pt x="498" y="174"/>
                  </a:lnTo>
                  <a:lnTo>
                    <a:pt x="492" y="174"/>
                  </a:lnTo>
                  <a:lnTo>
                    <a:pt x="486" y="174"/>
                  </a:lnTo>
                  <a:lnTo>
                    <a:pt x="480" y="174"/>
                  </a:lnTo>
                  <a:lnTo>
                    <a:pt x="474" y="174"/>
                  </a:lnTo>
                  <a:lnTo>
                    <a:pt x="468" y="174"/>
                  </a:lnTo>
                  <a:lnTo>
                    <a:pt x="462" y="174"/>
                  </a:lnTo>
                  <a:lnTo>
                    <a:pt x="456" y="174"/>
                  </a:lnTo>
                  <a:lnTo>
                    <a:pt x="450" y="180"/>
                  </a:lnTo>
                  <a:lnTo>
                    <a:pt x="450" y="186"/>
                  </a:lnTo>
                  <a:lnTo>
                    <a:pt x="450" y="192"/>
                  </a:lnTo>
                  <a:lnTo>
                    <a:pt x="444" y="192"/>
                  </a:lnTo>
                  <a:lnTo>
                    <a:pt x="444" y="186"/>
                  </a:lnTo>
                  <a:lnTo>
                    <a:pt x="444" y="180"/>
                  </a:lnTo>
                  <a:lnTo>
                    <a:pt x="450" y="180"/>
                  </a:lnTo>
                  <a:lnTo>
                    <a:pt x="450" y="174"/>
                  </a:lnTo>
                  <a:lnTo>
                    <a:pt x="450" y="168"/>
                  </a:lnTo>
                  <a:lnTo>
                    <a:pt x="450" y="162"/>
                  </a:lnTo>
                  <a:lnTo>
                    <a:pt x="456" y="162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62" y="162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74" y="168"/>
                  </a:lnTo>
                  <a:lnTo>
                    <a:pt x="480" y="168"/>
                  </a:lnTo>
                  <a:lnTo>
                    <a:pt x="480" y="162"/>
                  </a:lnTo>
                  <a:lnTo>
                    <a:pt x="480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56"/>
                  </a:lnTo>
                  <a:lnTo>
                    <a:pt x="492" y="156"/>
                  </a:lnTo>
                  <a:lnTo>
                    <a:pt x="486" y="150"/>
                  </a:lnTo>
                  <a:lnTo>
                    <a:pt x="492" y="150"/>
                  </a:lnTo>
                  <a:lnTo>
                    <a:pt x="498" y="150"/>
                  </a:lnTo>
                  <a:lnTo>
                    <a:pt x="498" y="156"/>
                  </a:lnTo>
                  <a:lnTo>
                    <a:pt x="504" y="156"/>
                  </a:lnTo>
                  <a:lnTo>
                    <a:pt x="504" y="162"/>
                  </a:lnTo>
                  <a:lnTo>
                    <a:pt x="504" y="156"/>
                  </a:lnTo>
                  <a:lnTo>
                    <a:pt x="510" y="156"/>
                  </a:lnTo>
                  <a:lnTo>
                    <a:pt x="510" y="150"/>
                  </a:lnTo>
                  <a:lnTo>
                    <a:pt x="516" y="150"/>
                  </a:lnTo>
                  <a:lnTo>
                    <a:pt x="522" y="150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28" y="150"/>
                  </a:lnTo>
                  <a:lnTo>
                    <a:pt x="528" y="144"/>
                  </a:lnTo>
                  <a:lnTo>
                    <a:pt x="540" y="144"/>
                  </a:lnTo>
                  <a:lnTo>
                    <a:pt x="546" y="144"/>
                  </a:lnTo>
                  <a:lnTo>
                    <a:pt x="552" y="138"/>
                  </a:lnTo>
                  <a:lnTo>
                    <a:pt x="552" y="132"/>
                  </a:lnTo>
                  <a:lnTo>
                    <a:pt x="558" y="132"/>
                  </a:lnTo>
                  <a:lnTo>
                    <a:pt x="558" y="126"/>
                  </a:lnTo>
                  <a:lnTo>
                    <a:pt x="558" y="120"/>
                  </a:lnTo>
                  <a:lnTo>
                    <a:pt x="558" y="114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6" y="114"/>
                  </a:lnTo>
                  <a:lnTo>
                    <a:pt x="582" y="120"/>
                  </a:lnTo>
                  <a:lnTo>
                    <a:pt x="588" y="120"/>
                  </a:lnTo>
                  <a:lnTo>
                    <a:pt x="588" y="126"/>
                  </a:lnTo>
                  <a:lnTo>
                    <a:pt x="588" y="120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600" y="114"/>
                  </a:lnTo>
                  <a:lnTo>
                    <a:pt x="606" y="114"/>
                  </a:lnTo>
                  <a:lnTo>
                    <a:pt x="618" y="114"/>
                  </a:lnTo>
                  <a:lnTo>
                    <a:pt x="618" y="108"/>
                  </a:lnTo>
                  <a:lnTo>
                    <a:pt x="624" y="108"/>
                  </a:lnTo>
                  <a:lnTo>
                    <a:pt x="624" y="102"/>
                  </a:lnTo>
                  <a:lnTo>
                    <a:pt x="630" y="102"/>
                  </a:lnTo>
                  <a:lnTo>
                    <a:pt x="636" y="102"/>
                  </a:lnTo>
                  <a:lnTo>
                    <a:pt x="636" y="108"/>
                  </a:lnTo>
                  <a:lnTo>
                    <a:pt x="642" y="108"/>
                  </a:lnTo>
                  <a:lnTo>
                    <a:pt x="648" y="108"/>
                  </a:lnTo>
                  <a:lnTo>
                    <a:pt x="648" y="102"/>
                  </a:lnTo>
                  <a:lnTo>
                    <a:pt x="654" y="102"/>
                  </a:lnTo>
                  <a:lnTo>
                    <a:pt x="660" y="102"/>
                  </a:lnTo>
                  <a:lnTo>
                    <a:pt x="660" y="96"/>
                  </a:lnTo>
                  <a:lnTo>
                    <a:pt x="660" y="90"/>
                  </a:lnTo>
                  <a:lnTo>
                    <a:pt x="666" y="90"/>
                  </a:lnTo>
                  <a:lnTo>
                    <a:pt x="666" y="84"/>
                  </a:lnTo>
                  <a:lnTo>
                    <a:pt x="672" y="78"/>
                  </a:lnTo>
                  <a:lnTo>
                    <a:pt x="672" y="72"/>
                  </a:lnTo>
                  <a:lnTo>
                    <a:pt x="678" y="66"/>
                  </a:lnTo>
                  <a:lnTo>
                    <a:pt x="684" y="66"/>
                  </a:lnTo>
                  <a:lnTo>
                    <a:pt x="684" y="60"/>
                  </a:lnTo>
                  <a:lnTo>
                    <a:pt x="690" y="60"/>
                  </a:lnTo>
                  <a:lnTo>
                    <a:pt x="696" y="60"/>
                  </a:lnTo>
                  <a:lnTo>
                    <a:pt x="702" y="60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66"/>
                  </a:lnTo>
                  <a:lnTo>
                    <a:pt x="720" y="66"/>
                  </a:lnTo>
                  <a:lnTo>
                    <a:pt x="720" y="60"/>
                  </a:lnTo>
                  <a:lnTo>
                    <a:pt x="726" y="60"/>
                  </a:lnTo>
                  <a:lnTo>
                    <a:pt x="732" y="60"/>
                  </a:lnTo>
                  <a:lnTo>
                    <a:pt x="744" y="60"/>
                  </a:lnTo>
                  <a:lnTo>
                    <a:pt x="750" y="54"/>
                  </a:lnTo>
                  <a:lnTo>
                    <a:pt x="762" y="60"/>
                  </a:lnTo>
                  <a:lnTo>
                    <a:pt x="774" y="60"/>
                  </a:lnTo>
                  <a:lnTo>
                    <a:pt x="774" y="66"/>
                  </a:lnTo>
                  <a:lnTo>
                    <a:pt x="780" y="72"/>
                  </a:lnTo>
                  <a:lnTo>
                    <a:pt x="786" y="78"/>
                  </a:lnTo>
                  <a:lnTo>
                    <a:pt x="792" y="78"/>
                  </a:lnTo>
                  <a:lnTo>
                    <a:pt x="810" y="84"/>
                  </a:lnTo>
                  <a:lnTo>
                    <a:pt x="822" y="84"/>
                  </a:lnTo>
                  <a:lnTo>
                    <a:pt x="828" y="84"/>
                  </a:lnTo>
                  <a:lnTo>
                    <a:pt x="834" y="84"/>
                  </a:lnTo>
                  <a:lnTo>
                    <a:pt x="840" y="96"/>
                  </a:lnTo>
                  <a:lnTo>
                    <a:pt x="846" y="102"/>
                  </a:lnTo>
                  <a:lnTo>
                    <a:pt x="858" y="102"/>
                  </a:lnTo>
                  <a:lnTo>
                    <a:pt x="864" y="102"/>
                  </a:lnTo>
                  <a:lnTo>
                    <a:pt x="876" y="96"/>
                  </a:lnTo>
                  <a:lnTo>
                    <a:pt x="882" y="102"/>
                  </a:lnTo>
                  <a:lnTo>
                    <a:pt x="888" y="108"/>
                  </a:lnTo>
                  <a:lnTo>
                    <a:pt x="888" y="114"/>
                  </a:lnTo>
                  <a:lnTo>
                    <a:pt x="888" y="120"/>
                  </a:lnTo>
                  <a:lnTo>
                    <a:pt x="888" y="126"/>
                  </a:lnTo>
                  <a:lnTo>
                    <a:pt x="888" y="132"/>
                  </a:lnTo>
                  <a:lnTo>
                    <a:pt x="882" y="132"/>
                  </a:lnTo>
                  <a:lnTo>
                    <a:pt x="864" y="126"/>
                  </a:lnTo>
                  <a:lnTo>
                    <a:pt x="852" y="120"/>
                  </a:lnTo>
                  <a:lnTo>
                    <a:pt x="840" y="126"/>
                  </a:lnTo>
                  <a:lnTo>
                    <a:pt x="834" y="120"/>
                  </a:lnTo>
                  <a:lnTo>
                    <a:pt x="828" y="120"/>
                  </a:lnTo>
                  <a:lnTo>
                    <a:pt x="822" y="120"/>
                  </a:lnTo>
                  <a:lnTo>
                    <a:pt x="810" y="114"/>
                  </a:lnTo>
                  <a:lnTo>
                    <a:pt x="804" y="114"/>
                  </a:lnTo>
                  <a:lnTo>
                    <a:pt x="798" y="114"/>
                  </a:lnTo>
                  <a:lnTo>
                    <a:pt x="792" y="114"/>
                  </a:lnTo>
                  <a:lnTo>
                    <a:pt x="786" y="114"/>
                  </a:lnTo>
                  <a:lnTo>
                    <a:pt x="780" y="114"/>
                  </a:lnTo>
                  <a:lnTo>
                    <a:pt x="780" y="126"/>
                  </a:lnTo>
                  <a:lnTo>
                    <a:pt x="786" y="126"/>
                  </a:lnTo>
                  <a:lnTo>
                    <a:pt x="798" y="126"/>
                  </a:lnTo>
                  <a:lnTo>
                    <a:pt x="804" y="126"/>
                  </a:lnTo>
                  <a:lnTo>
                    <a:pt x="822" y="132"/>
                  </a:lnTo>
                  <a:lnTo>
                    <a:pt x="828" y="132"/>
                  </a:lnTo>
                  <a:lnTo>
                    <a:pt x="834" y="132"/>
                  </a:lnTo>
                  <a:lnTo>
                    <a:pt x="840" y="144"/>
                  </a:lnTo>
                  <a:lnTo>
                    <a:pt x="846" y="150"/>
                  </a:lnTo>
                  <a:lnTo>
                    <a:pt x="858" y="150"/>
                  </a:lnTo>
                  <a:lnTo>
                    <a:pt x="864" y="162"/>
                  </a:lnTo>
                  <a:lnTo>
                    <a:pt x="870" y="162"/>
                  </a:lnTo>
                  <a:lnTo>
                    <a:pt x="876" y="168"/>
                  </a:lnTo>
                  <a:lnTo>
                    <a:pt x="888" y="168"/>
                  </a:lnTo>
                  <a:lnTo>
                    <a:pt x="894" y="174"/>
                  </a:lnTo>
                  <a:lnTo>
                    <a:pt x="900" y="174"/>
                  </a:lnTo>
                  <a:lnTo>
                    <a:pt x="918" y="174"/>
                  </a:lnTo>
                  <a:lnTo>
                    <a:pt x="924" y="174"/>
                  </a:lnTo>
                  <a:lnTo>
                    <a:pt x="930" y="174"/>
                  </a:lnTo>
                  <a:lnTo>
                    <a:pt x="942" y="174"/>
                  </a:lnTo>
                  <a:lnTo>
                    <a:pt x="954" y="174"/>
                  </a:lnTo>
                  <a:lnTo>
                    <a:pt x="960" y="174"/>
                  </a:lnTo>
                  <a:lnTo>
                    <a:pt x="966" y="174"/>
                  </a:lnTo>
                  <a:lnTo>
                    <a:pt x="966" y="168"/>
                  </a:lnTo>
                  <a:lnTo>
                    <a:pt x="972" y="162"/>
                  </a:lnTo>
                  <a:lnTo>
                    <a:pt x="972" y="156"/>
                  </a:lnTo>
                  <a:close/>
                  <a:moveTo>
                    <a:pt x="942" y="174"/>
                  </a:moveTo>
                  <a:lnTo>
                    <a:pt x="936" y="174"/>
                  </a:lnTo>
                  <a:lnTo>
                    <a:pt x="936" y="168"/>
                  </a:lnTo>
                  <a:lnTo>
                    <a:pt x="936" y="162"/>
                  </a:lnTo>
                  <a:lnTo>
                    <a:pt x="948" y="162"/>
                  </a:lnTo>
                  <a:lnTo>
                    <a:pt x="948" y="156"/>
                  </a:lnTo>
                  <a:lnTo>
                    <a:pt x="954" y="156"/>
                  </a:lnTo>
                  <a:lnTo>
                    <a:pt x="960" y="156"/>
                  </a:lnTo>
                  <a:lnTo>
                    <a:pt x="966" y="156"/>
                  </a:lnTo>
                  <a:lnTo>
                    <a:pt x="966" y="162"/>
                  </a:lnTo>
                  <a:lnTo>
                    <a:pt x="960" y="168"/>
                  </a:lnTo>
                  <a:lnTo>
                    <a:pt x="942" y="174"/>
                  </a:lnTo>
                  <a:close/>
                  <a:moveTo>
                    <a:pt x="900" y="168"/>
                  </a:moveTo>
                  <a:lnTo>
                    <a:pt x="894" y="168"/>
                  </a:lnTo>
                  <a:lnTo>
                    <a:pt x="882" y="156"/>
                  </a:lnTo>
                  <a:lnTo>
                    <a:pt x="882" y="150"/>
                  </a:lnTo>
                  <a:lnTo>
                    <a:pt x="888" y="156"/>
                  </a:lnTo>
                  <a:lnTo>
                    <a:pt x="894" y="150"/>
                  </a:lnTo>
                  <a:lnTo>
                    <a:pt x="900" y="150"/>
                  </a:lnTo>
                  <a:lnTo>
                    <a:pt x="906" y="150"/>
                  </a:lnTo>
                  <a:lnTo>
                    <a:pt x="912" y="150"/>
                  </a:lnTo>
                  <a:lnTo>
                    <a:pt x="924" y="150"/>
                  </a:lnTo>
                  <a:lnTo>
                    <a:pt x="924" y="156"/>
                  </a:lnTo>
                  <a:lnTo>
                    <a:pt x="924" y="162"/>
                  </a:lnTo>
                  <a:lnTo>
                    <a:pt x="924" y="168"/>
                  </a:lnTo>
                  <a:lnTo>
                    <a:pt x="918" y="168"/>
                  </a:lnTo>
                  <a:lnTo>
                    <a:pt x="906" y="168"/>
                  </a:lnTo>
                  <a:lnTo>
                    <a:pt x="900" y="168"/>
                  </a:lnTo>
                  <a:close/>
                  <a:moveTo>
                    <a:pt x="870" y="162"/>
                  </a:moveTo>
                  <a:lnTo>
                    <a:pt x="876" y="162"/>
                  </a:lnTo>
                  <a:lnTo>
                    <a:pt x="876" y="168"/>
                  </a:lnTo>
                  <a:lnTo>
                    <a:pt x="870" y="168"/>
                  </a:lnTo>
                  <a:lnTo>
                    <a:pt x="870" y="162"/>
                  </a:lnTo>
                  <a:close/>
                  <a:moveTo>
                    <a:pt x="450" y="162"/>
                  </a:moveTo>
                  <a:lnTo>
                    <a:pt x="444" y="162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2" y="150"/>
                  </a:lnTo>
                  <a:lnTo>
                    <a:pt x="438" y="150"/>
                  </a:lnTo>
                  <a:lnTo>
                    <a:pt x="438" y="144"/>
                  </a:lnTo>
                  <a:lnTo>
                    <a:pt x="438" y="150"/>
                  </a:lnTo>
                  <a:lnTo>
                    <a:pt x="444" y="150"/>
                  </a:lnTo>
                  <a:lnTo>
                    <a:pt x="450" y="150"/>
                  </a:lnTo>
                  <a:lnTo>
                    <a:pt x="450" y="156"/>
                  </a:lnTo>
                  <a:lnTo>
                    <a:pt x="456" y="156"/>
                  </a:lnTo>
                  <a:lnTo>
                    <a:pt x="456" y="150"/>
                  </a:lnTo>
                  <a:lnTo>
                    <a:pt x="456" y="156"/>
                  </a:lnTo>
                  <a:lnTo>
                    <a:pt x="462" y="150"/>
                  </a:lnTo>
                  <a:lnTo>
                    <a:pt x="462" y="144"/>
                  </a:lnTo>
                  <a:lnTo>
                    <a:pt x="468" y="144"/>
                  </a:lnTo>
                  <a:lnTo>
                    <a:pt x="468" y="150"/>
                  </a:lnTo>
                  <a:lnTo>
                    <a:pt x="474" y="150"/>
                  </a:lnTo>
                  <a:lnTo>
                    <a:pt x="480" y="150"/>
                  </a:lnTo>
                  <a:lnTo>
                    <a:pt x="480" y="156"/>
                  </a:lnTo>
                  <a:lnTo>
                    <a:pt x="480" y="162"/>
                  </a:lnTo>
                  <a:lnTo>
                    <a:pt x="474" y="162"/>
                  </a:lnTo>
                  <a:lnTo>
                    <a:pt x="474" y="168"/>
                  </a:lnTo>
                  <a:lnTo>
                    <a:pt x="474" y="162"/>
                  </a:lnTo>
                  <a:lnTo>
                    <a:pt x="468" y="162"/>
                  </a:lnTo>
                  <a:lnTo>
                    <a:pt x="462" y="162"/>
                  </a:lnTo>
                  <a:lnTo>
                    <a:pt x="456" y="162"/>
                  </a:lnTo>
                  <a:lnTo>
                    <a:pt x="450" y="16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6" name="Freeform 31">
              <a:extLst>
                <a:ext uri="{FF2B5EF4-FFF2-40B4-BE49-F238E27FC236}">
                  <a16:creationId xmlns:a16="http://schemas.microsoft.com/office/drawing/2014/main" id="{0989F057-38E8-4AA5-8B73-27F6355E235C}"/>
                </a:ext>
              </a:extLst>
            </p:cNvPr>
            <p:cNvSpPr>
              <a:spLocks/>
            </p:cNvSpPr>
            <p:nvPr/>
          </p:nvSpPr>
          <p:spPr bwMode="gray">
            <a:xfrm>
              <a:off x="792590" y="2728084"/>
              <a:ext cx="1182944" cy="740282"/>
            </a:xfrm>
            <a:custGeom>
              <a:avLst/>
              <a:gdLst>
                <a:gd name="T0" fmla="*/ 138 w 2226"/>
                <a:gd name="T1" fmla="*/ 121 h 1392"/>
                <a:gd name="T2" fmla="*/ 133 w 2226"/>
                <a:gd name="T3" fmla="*/ 119 h 1392"/>
                <a:gd name="T4" fmla="*/ 128 w 2226"/>
                <a:gd name="T5" fmla="*/ 117 h 1392"/>
                <a:gd name="T6" fmla="*/ 119 w 2226"/>
                <a:gd name="T7" fmla="*/ 116 h 1392"/>
                <a:gd name="T8" fmla="*/ 101 w 2226"/>
                <a:gd name="T9" fmla="*/ 116 h 1392"/>
                <a:gd name="T10" fmla="*/ 94 w 2226"/>
                <a:gd name="T11" fmla="*/ 104 h 1392"/>
                <a:gd name="T12" fmla="*/ 82 w 2226"/>
                <a:gd name="T13" fmla="*/ 83 h 1392"/>
                <a:gd name="T14" fmla="*/ 87 w 2226"/>
                <a:gd name="T15" fmla="*/ 69 h 1392"/>
                <a:gd name="T16" fmla="*/ 82 w 2226"/>
                <a:gd name="T17" fmla="*/ 65 h 1392"/>
                <a:gd name="T18" fmla="*/ 59 w 2226"/>
                <a:gd name="T19" fmla="*/ 57 h 1392"/>
                <a:gd name="T20" fmla="*/ 29 w 2226"/>
                <a:gd name="T21" fmla="*/ 77 h 1392"/>
                <a:gd name="T22" fmla="*/ 20 w 2226"/>
                <a:gd name="T23" fmla="*/ 78 h 1392"/>
                <a:gd name="T24" fmla="*/ 15 w 2226"/>
                <a:gd name="T25" fmla="*/ 82 h 1392"/>
                <a:gd name="T26" fmla="*/ 8 w 2226"/>
                <a:gd name="T27" fmla="*/ 86 h 1392"/>
                <a:gd name="T28" fmla="*/ 1 w 2226"/>
                <a:gd name="T29" fmla="*/ 88 h 1392"/>
                <a:gd name="T30" fmla="*/ 0 w 2226"/>
                <a:gd name="T31" fmla="*/ 82 h 1392"/>
                <a:gd name="T32" fmla="*/ 0 w 2226"/>
                <a:gd name="T33" fmla="*/ 76 h 1392"/>
                <a:gd name="T34" fmla="*/ 2 w 2226"/>
                <a:gd name="T35" fmla="*/ 70 h 1392"/>
                <a:gd name="T36" fmla="*/ 3 w 2226"/>
                <a:gd name="T37" fmla="*/ 65 h 1392"/>
                <a:gd name="T38" fmla="*/ 2 w 2226"/>
                <a:gd name="T39" fmla="*/ 63 h 1392"/>
                <a:gd name="T40" fmla="*/ 9 w 2226"/>
                <a:gd name="T41" fmla="*/ 60 h 1392"/>
                <a:gd name="T42" fmla="*/ 17 w 2226"/>
                <a:gd name="T43" fmla="*/ 59 h 1392"/>
                <a:gd name="T44" fmla="*/ 22 w 2226"/>
                <a:gd name="T45" fmla="*/ 51 h 1392"/>
                <a:gd name="T46" fmla="*/ 23 w 2226"/>
                <a:gd name="T47" fmla="*/ 43 h 1392"/>
                <a:gd name="T48" fmla="*/ 27 w 2226"/>
                <a:gd name="T49" fmla="*/ 34 h 1392"/>
                <a:gd name="T50" fmla="*/ 30 w 2226"/>
                <a:gd name="T51" fmla="*/ 27 h 1392"/>
                <a:gd name="T52" fmla="*/ 33 w 2226"/>
                <a:gd name="T53" fmla="*/ 22 h 1392"/>
                <a:gd name="T54" fmla="*/ 42 w 2226"/>
                <a:gd name="T55" fmla="*/ 17 h 1392"/>
                <a:gd name="T56" fmla="*/ 47 w 2226"/>
                <a:gd name="T57" fmla="*/ 14 h 1392"/>
                <a:gd name="T58" fmla="*/ 49 w 2226"/>
                <a:gd name="T59" fmla="*/ 5 h 1392"/>
                <a:gd name="T60" fmla="*/ 53 w 2226"/>
                <a:gd name="T61" fmla="*/ 0 h 1392"/>
                <a:gd name="T62" fmla="*/ 55 w 2226"/>
                <a:gd name="T63" fmla="*/ 4 h 1392"/>
                <a:gd name="T64" fmla="*/ 59 w 2226"/>
                <a:gd name="T65" fmla="*/ 7 h 1392"/>
                <a:gd name="T66" fmla="*/ 63 w 2226"/>
                <a:gd name="T67" fmla="*/ 7 h 1392"/>
                <a:gd name="T68" fmla="*/ 66 w 2226"/>
                <a:gd name="T69" fmla="*/ 9 h 1392"/>
                <a:gd name="T70" fmla="*/ 67 w 2226"/>
                <a:gd name="T71" fmla="*/ 12 h 1392"/>
                <a:gd name="T72" fmla="*/ 67 w 2226"/>
                <a:gd name="T73" fmla="*/ 13 h 1392"/>
                <a:gd name="T74" fmla="*/ 70 w 2226"/>
                <a:gd name="T75" fmla="*/ 15 h 1392"/>
                <a:gd name="T76" fmla="*/ 74 w 2226"/>
                <a:gd name="T77" fmla="*/ 17 h 1392"/>
                <a:gd name="T78" fmla="*/ 78 w 2226"/>
                <a:gd name="T79" fmla="*/ 18 h 1392"/>
                <a:gd name="T80" fmla="*/ 97 w 2226"/>
                <a:gd name="T81" fmla="*/ 40 h 1392"/>
                <a:gd name="T82" fmla="*/ 102 w 2226"/>
                <a:gd name="T83" fmla="*/ 44 h 1392"/>
                <a:gd name="T84" fmla="*/ 110 w 2226"/>
                <a:gd name="T85" fmla="*/ 49 h 1392"/>
                <a:gd name="T86" fmla="*/ 113 w 2226"/>
                <a:gd name="T87" fmla="*/ 53 h 1392"/>
                <a:gd name="T88" fmla="*/ 118 w 2226"/>
                <a:gd name="T89" fmla="*/ 57 h 1392"/>
                <a:gd name="T90" fmla="*/ 124 w 2226"/>
                <a:gd name="T91" fmla="*/ 54 h 1392"/>
                <a:gd name="T92" fmla="*/ 133 w 2226"/>
                <a:gd name="T93" fmla="*/ 58 h 1392"/>
                <a:gd name="T94" fmla="*/ 137 w 2226"/>
                <a:gd name="T95" fmla="*/ 64 h 1392"/>
                <a:gd name="T96" fmla="*/ 145 w 2226"/>
                <a:gd name="T97" fmla="*/ 65 h 1392"/>
                <a:gd name="T98" fmla="*/ 152 w 2226"/>
                <a:gd name="T99" fmla="*/ 67 h 1392"/>
                <a:gd name="T100" fmla="*/ 161 w 2226"/>
                <a:gd name="T101" fmla="*/ 72 h 1392"/>
                <a:gd name="T102" fmla="*/ 168 w 2226"/>
                <a:gd name="T103" fmla="*/ 76 h 1392"/>
                <a:gd name="T104" fmla="*/ 177 w 2226"/>
                <a:gd name="T105" fmla="*/ 78 h 1392"/>
                <a:gd name="T106" fmla="*/ 184 w 2226"/>
                <a:gd name="T107" fmla="*/ 78 h 1392"/>
                <a:gd name="T108" fmla="*/ 190 w 2226"/>
                <a:gd name="T109" fmla="*/ 81 h 1392"/>
                <a:gd name="T110" fmla="*/ 192 w 2226"/>
                <a:gd name="T111" fmla="*/ 86 h 1392"/>
                <a:gd name="T112" fmla="*/ 187 w 2226"/>
                <a:gd name="T113" fmla="*/ 99 h 1392"/>
                <a:gd name="T114" fmla="*/ 165 w 2226"/>
                <a:gd name="T115" fmla="*/ 97 h 1392"/>
                <a:gd name="T116" fmla="*/ 155 w 2226"/>
                <a:gd name="T117" fmla="*/ 92 h 1392"/>
                <a:gd name="T118" fmla="*/ 146 w 2226"/>
                <a:gd name="T119" fmla="*/ 102 h 1392"/>
                <a:gd name="T120" fmla="*/ 149 w 2226"/>
                <a:gd name="T121" fmla="*/ 106 h 1392"/>
                <a:gd name="T122" fmla="*/ 151 w 2226"/>
                <a:gd name="T123" fmla="*/ 108 h 1392"/>
                <a:gd name="T124" fmla="*/ 157 w 2226"/>
                <a:gd name="T125" fmla="*/ 113 h 13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1392"/>
                <a:gd name="T191" fmla="*/ 2226 w 2226"/>
                <a:gd name="T192" fmla="*/ 1392 h 13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1392">
                  <a:moveTo>
                    <a:pt x="1782" y="1326"/>
                  </a:moveTo>
                  <a:lnTo>
                    <a:pt x="1776" y="1332"/>
                  </a:lnTo>
                  <a:lnTo>
                    <a:pt x="1692" y="1338"/>
                  </a:lnTo>
                  <a:lnTo>
                    <a:pt x="1680" y="1386"/>
                  </a:lnTo>
                  <a:lnTo>
                    <a:pt x="1674" y="1392"/>
                  </a:lnTo>
                  <a:lnTo>
                    <a:pt x="1638" y="1392"/>
                  </a:lnTo>
                  <a:lnTo>
                    <a:pt x="1620" y="1392"/>
                  </a:lnTo>
                  <a:lnTo>
                    <a:pt x="1614" y="1392"/>
                  </a:lnTo>
                  <a:lnTo>
                    <a:pt x="1608" y="1386"/>
                  </a:lnTo>
                  <a:lnTo>
                    <a:pt x="1584" y="1386"/>
                  </a:lnTo>
                  <a:lnTo>
                    <a:pt x="1578" y="1386"/>
                  </a:lnTo>
                  <a:lnTo>
                    <a:pt x="1572" y="1380"/>
                  </a:lnTo>
                  <a:lnTo>
                    <a:pt x="1578" y="1356"/>
                  </a:lnTo>
                  <a:lnTo>
                    <a:pt x="1572" y="1356"/>
                  </a:lnTo>
                  <a:lnTo>
                    <a:pt x="1560" y="1350"/>
                  </a:lnTo>
                  <a:lnTo>
                    <a:pt x="1554" y="1350"/>
                  </a:lnTo>
                  <a:lnTo>
                    <a:pt x="1542" y="1350"/>
                  </a:lnTo>
                  <a:lnTo>
                    <a:pt x="1530" y="1350"/>
                  </a:lnTo>
                  <a:lnTo>
                    <a:pt x="1524" y="1356"/>
                  </a:lnTo>
                  <a:lnTo>
                    <a:pt x="1524" y="1362"/>
                  </a:lnTo>
                  <a:lnTo>
                    <a:pt x="1512" y="1374"/>
                  </a:lnTo>
                  <a:lnTo>
                    <a:pt x="1506" y="1374"/>
                  </a:lnTo>
                  <a:lnTo>
                    <a:pt x="1500" y="1368"/>
                  </a:lnTo>
                  <a:lnTo>
                    <a:pt x="1500" y="1362"/>
                  </a:lnTo>
                  <a:lnTo>
                    <a:pt x="1488" y="1362"/>
                  </a:lnTo>
                  <a:lnTo>
                    <a:pt x="1482" y="1356"/>
                  </a:lnTo>
                  <a:lnTo>
                    <a:pt x="1482" y="1350"/>
                  </a:lnTo>
                  <a:lnTo>
                    <a:pt x="1476" y="1350"/>
                  </a:lnTo>
                  <a:lnTo>
                    <a:pt x="1470" y="1344"/>
                  </a:lnTo>
                  <a:lnTo>
                    <a:pt x="1464" y="1344"/>
                  </a:lnTo>
                  <a:lnTo>
                    <a:pt x="1452" y="1350"/>
                  </a:lnTo>
                  <a:lnTo>
                    <a:pt x="1452" y="1356"/>
                  </a:lnTo>
                  <a:lnTo>
                    <a:pt x="1440" y="1356"/>
                  </a:lnTo>
                  <a:lnTo>
                    <a:pt x="1434" y="1344"/>
                  </a:lnTo>
                  <a:lnTo>
                    <a:pt x="1422" y="1332"/>
                  </a:lnTo>
                  <a:lnTo>
                    <a:pt x="1416" y="1326"/>
                  </a:lnTo>
                  <a:lnTo>
                    <a:pt x="1404" y="1320"/>
                  </a:lnTo>
                  <a:lnTo>
                    <a:pt x="1404" y="1314"/>
                  </a:lnTo>
                  <a:lnTo>
                    <a:pt x="1374" y="1308"/>
                  </a:lnTo>
                  <a:lnTo>
                    <a:pt x="1368" y="1326"/>
                  </a:lnTo>
                  <a:lnTo>
                    <a:pt x="1344" y="1338"/>
                  </a:lnTo>
                  <a:lnTo>
                    <a:pt x="1326" y="1332"/>
                  </a:lnTo>
                  <a:lnTo>
                    <a:pt x="1302" y="1332"/>
                  </a:lnTo>
                  <a:lnTo>
                    <a:pt x="1278" y="1338"/>
                  </a:lnTo>
                  <a:lnTo>
                    <a:pt x="1236" y="1338"/>
                  </a:lnTo>
                  <a:lnTo>
                    <a:pt x="1224" y="1338"/>
                  </a:lnTo>
                  <a:lnTo>
                    <a:pt x="1224" y="1326"/>
                  </a:lnTo>
                  <a:lnTo>
                    <a:pt x="1206" y="1326"/>
                  </a:lnTo>
                  <a:lnTo>
                    <a:pt x="1170" y="1326"/>
                  </a:lnTo>
                  <a:lnTo>
                    <a:pt x="1152" y="1326"/>
                  </a:lnTo>
                  <a:lnTo>
                    <a:pt x="1140" y="1314"/>
                  </a:lnTo>
                  <a:lnTo>
                    <a:pt x="1134" y="1296"/>
                  </a:lnTo>
                  <a:lnTo>
                    <a:pt x="1134" y="1284"/>
                  </a:lnTo>
                  <a:lnTo>
                    <a:pt x="1128" y="1254"/>
                  </a:lnTo>
                  <a:lnTo>
                    <a:pt x="1128" y="1242"/>
                  </a:lnTo>
                  <a:lnTo>
                    <a:pt x="1122" y="1230"/>
                  </a:lnTo>
                  <a:lnTo>
                    <a:pt x="1104" y="1218"/>
                  </a:lnTo>
                  <a:lnTo>
                    <a:pt x="1104" y="1212"/>
                  </a:lnTo>
                  <a:lnTo>
                    <a:pt x="1092" y="1206"/>
                  </a:lnTo>
                  <a:lnTo>
                    <a:pt x="1080" y="1194"/>
                  </a:lnTo>
                  <a:lnTo>
                    <a:pt x="1068" y="1176"/>
                  </a:lnTo>
                  <a:lnTo>
                    <a:pt x="1050" y="1152"/>
                  </a:lnTo>
                  <a:lnTo>
                    <a:pt x="1020" y="1098"/>
                  </a:lnTo>
                  <a:lnTo>
                    <a:pt x="978" y="1026"/>
                  </a:lnTo>
                  <a:lnTo>
                    <a:pt x="978" y="1014"/>
                  </a:lnTo>
                  <a:lnTo>
                    <a:pt x="972" y="1014"/>
                  </a:lnTo>
                  <a:lnTo>
                    <a:pt x="972" y="1008"/>
                  </a:lnTo>
                  <a:lnTo>
                    <a:pt x="978" y="1002"/>
                  </a:lnTo>
                  <a:lnTo>
                    <a:pt x="960" y="966"/>
                  </a:lnTo>
                  <a:lnTo>
                    <a:pt x="948" y="954"/>
                  </a:lnTo>
                  <a:lnTo>
                    <a:pt x="948" y="936"/>
                  </a:lnTo>
                  <a:lnTo>
                    <a:pt x="936" y="900"/>
                  </a:lnTo>
                  <a:lnTo>
                    <a:pt x="942" y="876"/>
                  </a:lnTo>
                  <a:lnTo>
                    <a:pt x="942" y="834"/>
                  </a:lnTo>
                  <a:lnTo>
                    <a:pt x="960" y="828"/>
                  </a:lnTo>
                  <a:lnTo>
                    <a:pt x="966" y="816"/>
                  </a:lnTo>
                  <a:lnTo>
                    <a:pt x="972" y="810"/>
                  </a:lnTo>
                  <a:lnTo>
                    <a:pt x="978" y="804"/>
                  </a:lnTo>
                  <a:lnTo>
                    <a:pt x="996" y="798"/>
                  </a:lnTo>
                  <a:lnTo>
                    <a:pt x="996" y="792"/>
                  </a:lnTo>
                  <a:lnTo>
                    <a:pt x="1014" y="780"/>
                  </a:lnTo>
                  <a:lnTo>
                    <a:pt x="1026" y="768"/>
                  </a:lnTo>
                  <a:lnTo>
                    <a:pt x="1032" y="762"/>
                  </a:lnTo>
                  <a:lnTo>
                    <a:pt x="1026" y="756"/>
                  </a:lnTo>
                  <a:lnTo>
                    <a:pt x="1014" y="744"/>
                  </a:lnTo>
                  <a:lnTo>
                    <a:pt x="996" y="756"/>
                  </a:lnTo>
                  <a:lnTo>
                    <a:pt x="954" y="768"/>
                  </a:lnTo>
                  <a:lnTo>
                    <a:pt x="942" y="762"/>
                  </a:lnTo>
                  <a:lnTo>
                    <a:pt x="942" y="756"/>
                  </a:lnTo>
                  <a:lnTo>
                    <a:pt x="936" y="750"/>
                  </a:lnTo>
                  <a:lnTo>
                    <a:pt x="846" y="732"/>
                  </a:lnTo>
                  <a:lnTo>
                    <a:pt x="822" y="726"/>
                  </a:lnTo>
                  <a:lnTo>
                    <a:pt x="810" y="714"/>
                  </a:lnTo>
                  <a:lnTo>
                    <a:pt x="792" y="690"/>
                  </a:lnTo>
                  <a:lnTo>
                    <a:pt x="792" y="678"/>
                  </a:lnTo>
                  <a:lnTo>
                    <a:pt x="762" y="642"/>
                  </a:lnTo>
                  <a:lnTo>
                    <a:pt x="750" y="636"/>
                  </a:lnTo>
                  <a:lnTo>
                    <a:pt x="726" y="630"/>
                  </a:lnTo>
                  <a:lnTo>
                    <a:pt x="696" y="642"/>
                  </a:lnTo>
                  <a:lnTo>
                    <a:pt x="678" y="654"/>
                  </a:lnTo>
                  <a:lnTo>
                    <a:pt x="666" y="684"/>
                  </a:lnTo>
                  <a:lnTo>
                    <a:pt x="660" y="726"/>
                  </a:lnTo>
                  <a:lnTo>
                    <a:pt x="606" y="756"/>
                  </a:lnTo>
                  <a:lnTo>
                    <a:pt x="558" y="780"/>
                  </a:lnTo>
                  <a:lnTo>
                    <a:pt x="438" y="834"/>
                  </a:lnTo>
                  <a:lnTo>
                    <a:pt x="402" y="846"/>
                  </a:lnTo>
                  <a:lnTo>
                    <a:pt x="372" y="870"/>
                  </a:lnTo>
                  <a:lnTo>
                    <a:pt x="360" y="876"/>
                  </a:lnTo>
                  <a:lnTo>
                    <a:pt x="354" y="876"/>
                  </a:lnTo>
                  <a:lnTo>
                    <a:pt x="330" y="882"/>
                  </a:lnTo>
                  <a:lnTo>
                    <a:pt x="306" y="882"/>
                  </a:lnTo>
                  <a:lnTo>
                    <a:pt x="300" y="876"/>
                  </a:lnTo>
                  <a:lnTo>
                    <a:pt x="294" y="876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76" y="864"/>
                  </a:lnTo>
                  <a:lnTo>
                    <a:pt x="270" y="870"/>
                  </a:lnTo>
                  <a:lnTo>
                    <a:pt x="264" y="870"/>
                  </a:lnTo>
                  <a:lnTo>
                    <a:pt x="240" y="894"/>
                  </a:lnTo>
                  <a:lnTo>
                    <a:pt x="234" y="894"/>
                  </a:lnTo>
                  <a:lnTo>
                    <a:pt x="228" y="900"/>
                  </a:lnTo>
                  <a:lnTo>
                    <a:pt x="222" y="906"/>
                  </a:lnTo>
                  <a:lnTo>
                    <a:pt x="210" y="912"/>
                  </a:lnTo>
                  <a:lnTo>
                    <a:pt x="204" y="912"/>
                  </a:lnTo>
                  <a:lnTo>
                    <a:pt x="198" y="912"/>
                  </a:lnTo>
                  <a:lnTo>
                    <a:pt x="192" y="918"/>
                  </a:lnTo>
                  <a:lnTo>
                    <a:pt x="180" y="918"/>
                  </a:lnTo>
                  <a:lnTo>
                    <a:pt x="174" y="930"/>
                  </a:lnTo>
                  <a:lnTo>
                    <a:pt x="174" y="936"/>
                  </a:lnTo>
                  <a:lnTo>
                    <a:pt x="168" y="942"/>
                  </a:lnTo>
                  <a:lnTo>
                    <a:pt x="162" y="942"/>
                  </a:lnTo>
                  <a:lnTo>
                    <a:pt x="150" y="960"/>
                  </a:lnTo>
                  <a:lnTo>
                    <a:pt x="144" y="966"/>
                  </a:lnTo>
                  <a:lnTo>
                    <a:pt x="138" y="972"/>
                  </a:lnTo>
                  <a:lnTo>
                    <a:pt x="132" y="972"/>
                  </a:lnTo>
                  <a:lnTo>
                    <a:pt x="126" y="984"/>
                  </a:lnTo>
                  <a:lnTo>
                    <a:pt x="120" y="984"/>
                  </a:lnTo>
                  <a:lnTo>
                    <a:pt x="114" y="990"/>
                  </a:lnTo>
                  <a:lnTo>
                    <a:pt x="96" y="990"/>
                  </a:lnTo>
                  <a:lnTo>
                    <a:pt x="90" y="990"/>
                  </a:lnTo>
                  <a:lnTo>
                    <a:pt x="78" y="990"/>
                  </a:lnTo>
                  <a:lnTo>
                    <a:pt x="72" y="990"/>
                  </a:lnTo>
                  <a:lnTo>
                    <a:pt x="60" y="990"/>
                  </a:lnTo>
                  <a:lnTo>
                    <a:pt x="42" y="990"/>
                  </a:lnTo>
                  <a:lnTo>
                    <a:pt x="36" y="996"/>
                  </a:lnTo>
                  <a:lnTo>
                    <a:pt x="30" y="1002"/>
                  </a:lnTo>
                  <a:lnTo>
                    <a:pt x="24" y="1014"/>
                  </a:lnTo>
                  <a:lnTo>
                    <a:pt x="24" y="1020"/>
                  </a:lnTo>
                  <a:lnTo>
                    <a:pt x="18" y="1020"/>
                  </a:lnTo>
                  <a:lnTo>
                    <a:pt x="12" y="1014"/>
                  </a:lnTo>
                  <a:lnTo>
                    <a:pt x="12" y="1008"/>
                  </a:lnTo>
                  <a:lnTo>
                    <a:pt x="12" y="990"/>
                  </a:lnTo>
                  <a:lnTo>
                    <a:pt x="12" y="984"/>
                  </a:lnTo>
                  <a:lnTo>
                    <a:pt x="12" y="972"/>
                  </a:lnTo>
                  <a:lnTo>
                    <a:pt x="12" y="966"/>
                  </a:lnTo>
                  <a:lnTo>
                    <a:pt x="6" y="966"/>
                  </a:lnTo>
                  <a:lnTo>
                    <a:pt x="6" y="960"/>
                  </a:lnTo>
                  <a:lnTo>
                    <a:pt x="6" y="954"/>
                  </a:lnTo>
                  <a:lnTo>
                    <a:pt x="6" y="948"/>
                  </a:lnTo>
                  <a:lnTo>
                    <a:pt x="6" y="942"/>
                  </a:lnTo>
                  <a:lnTo>
                    <a:pt x="12" y="930"/>
                  </a:lnTo>
                  <a:lnTo>
                    <a:pt x="6" y="924"/>
                  </a:lnTo>
                  <a:lnTo>
                    <a:pt x="6" y="918"/>
                  </a:lnTo>
                  <a:lnTo>
                    <a:pt x="6" y="912"/>
                  </a:lnTo>
                  <a:lnTo>
                    <a:pt x="6" y="906"/>
                  </a:lnTo>
                  <a:lnTo>
                    <a:pt x="6" y="900"/>
                  </a:lnTo>
                  <a:lnTo>
                    <a:pt x="0" y="894"/>
                  </a:lnTo>
                  <a:lnTo>
                    <a:pt x="0" y="888"/>
                  </a:lnTo>
                  <a:lnTo>
                    <a:pt x="0" y="882"/>
                  </a:lnTo>
                  <a:lnTo>
                    <a:pt x="6" y="876"/>
                  </a:lnTo>
                  <a:lnTo>
                    <a:pt x="6" y="870"/>
                  </a:lnTo>
                  <a:lnTo>
                    <a:pt x="18" y="864"/>
                  </a:lnTo>
                  <a:lnTo>
                    <a:pt x="18" y="858"/>
                  </a:lnTo>
                  <a:lnTo>
                    <a:pt x="18" y="846"/>
                  </a:lnTo>
                  <a:lnTo>
                    <a:pt x="18" y="834"/>
                  </a:lnTo>
                  <a:lnTo>
                    <a:pt x="18" y="828"/>
                  </a:lnTo>
                  <a:lnTo>
                    <a:pt x="24" y="828"/>
                  </a:lnTo>
                  <a:lnTo>
                    <a:pt x="24" y="810"/>
                  </a:lnTo>
                  <a:lnTo>
                    <a:pt x="24" y="804"/>
                  </a:lnTo>
                  <a:lnTo>
                    <a:pt x="18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24" y="792"/>
                  </a:lnTo>
                  <a:lnTo>
                    <a:pt x="30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6" y="762"/>
                  </a:lnTo>
                  <a:lnTo>
                    <a:pt x="36" y="756"/>
                  </a:lnTo>
                  <a:lnTo>
                    <a:pt x="30" y="756"/>
                  </a:lnTo>
                  <a:lnTo>
                    <a:pt x="30" y="750"/>
                  </a:lnTo>
                  <a:lnTo>
                    <a:pt x="36" y="750"/>
                  </a:lnTo>
                  <a:lnTo>
                    <a:pt x="36" y="744"/>
                  </a:lnTo>
                  <a:lnTo>
                    <a:pt x="30" y="744"/>
                  </a:lnTo>
                  <a:lnTo>
                    <a:pt x="30" y="738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0" y="732"/>
                  </a:lnTo>
                  <a:lnTo>
                    <a:pt x="36" y="726"/>
                  </a:lnTo>
                  <a:lnTo>
                    <a:pt x="30" y="726"/>
                  </a:lnTo>
                  <a:lnTo>
                    <a:pt x="24" y="726"/>
                  </a:lnTo>
                  <a:lnTo>
                    <a:pt x="30" y="720"/>
                  </a:lnTo>
                  <a:lnTo>
                    <a:pt x="30" y="714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696"/>
                  </a:lnTo>
                  <a:lnTo>
                    <a:pt x="66" y="702"/>
                  </a:lnTo>
                  <a:lnTo>
                    <a:pt x="78" y="702"/>
                  </a:lnTo>
                  <a:lnTo>
                    <a:pt x="84" y="702"/>
                  </a:lnTo>
                  <a:lnTo>
                    <a:pt x="96" y="696"/>
                  </a:lnTo>
                  <a:lnTo>
                    <a:pt x="102" y="690"/>
                  </a:lnTo>
                  <a:lnTo>
                    <a:pt x="102" y="684"/>
                  </a:lnTo>
                  <a:lnTo>
                    <a:pt x="114" y="684"/>
                  </a:lnTo>
                  <a:lnTo>
                    <a:pt x="144" y="684"/>
                  </a:lnTo>
                  <a:lnTo>
                    <a:pt x="150" y="690"/>
                  </a:lnTo>
                  <a:lnTo>
                    <a:pt x="162" y="696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6" y="690"/>
                  </a:lnTo>
                  <a:lnTo>
                    <a:pt x="192" y="690"/>
                  </a:lnTo>
                  <a:lnTo>
                    <a:pt x="198" y="684"/>
                  </a:lnTo>
                  <a:lnTo>
                    <a:pt x="204" y="684"/>
                  </a:lnTo>
                  <a:lnTo>
                    <a:pt x="210" y="684"/>
                  </a:lnTo>
                  <a:lnTo>
                    <a:pt x="222" y="678"/>
                  </a:lnTo>
                  <a:lnTo>
                    <a:pt x="228" y="678"/>
                  </a:lnTo>
                  <a:lnTo>
                    <a:pt x="228" y="660"/>
                  </a:lnTo>
                  <a:lnTo>
                    <a:pt x="234" y="642"/>
                  </a:lnTo>
                  <a:lnTo>
                    <a:pt x="246" y="618"/>
                  </a:lnTo>
                  <a:lnTo>
                    <a:pt x="252" y="618"/>
                  </a:lnTo>
                  <a:lnTo>
                    <a:pt x="252" y="600"/>
                  </a:lnTo>
                  <a:lnTo>
                    <a:pt x="252" y="588"/>
                  </a:lnTo>
                  <a:lnTo>
                    <a:pt x="252" y="582"/>
                  </a:lnTo>
                  <a:lnTo>
                    <a:pt x="258" y="576"/>
                  </a:lnTo>
                  <a:lnTo>
                    <a:pt x="270" y="564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70" y="522"/>
                  </a:lnTo>
                  <a:lnTo>
                    <a:pt x="270" y="510"/>
                  </a:lnTo>
                  <a:lnTo>
                    <a:pt x="270" y="498"/>
                  </a:lnTo>
                  <a:lnTo>
                    <a:pt x="258" y="468"/>
                  </a:lnTo>
                  <a:lnTo>
                    <a:pt x="252" y="456"/>
                  </a:lnTo>
                  <a:lnTo>
                    <a:pt x="258" y="444"/>
                  </a:lnTo>
                  <a:lnTo>
                    <a:pt x="264" y="432"/>
                  </a:lnTo>
                  <a:lnTo>
                    <a:pt x="270" y="426"/>
                  </a:lnTo>
                  <a:lnTo>
                    <a:pt x="276" y="420"/>
                  </a:lnTo>
                  <a:lnTo>
                    <a:pt x="288" y="420"/>
                  </a:lnTo>
                  <a:lnTo>
                    <a:pt x="288" y="414"/>
                  </a:lnTo>
                  <a:lnTo>
                    <a:pt x="294" y="414"/>
                  </a:lnTo>
                  <a:lnTo>
                    <a:pt x="306" y="390"/>
                  </a:lnTo>
                  <a:lnTo>
                    <a:pt x="312" y="384"/>
                  </a:lnTo>
                  <a:lnTo>
                    <a:pt x="318" y="378"/>
                  </a:lnTo>
                  <a:lnTo>
                    <a:pt x="318" y="372"/>
                  </a:lnTo>
                  <a:lnTo>
                    <a:pt x="324" y="366"/>
                  </a:lnTo>
                  <a:lnTo>
                    <a:pt x="330" y="354"/>
                  </a:lnTo>
                  <a:lnTo>
                    <a:pt x="336" y="348"/>
                  </a:lnTo>
                  <a:lnTo>
                    <a:pt x="336" y="330"/>
                  </a:lnTo>
                  <a:lnTo>
                    <a:pt x="342" y="324"/>
                  </a:lnTo>
                  <a:lnTo>
                    <a:pt x="342" y="318"/>
                  </a:lnTo>
                  <a:lnTo>
                    <a:pt x="348" y="318"/>
                  </a:lnTo>
                  <a:lnTo>
                    <a:pt x="360" y="318"/>
                  </a:lnTo>
                  <a:lnTo>
                    <a:pt x="372" y="318"/>
                  </a:lnTo>
                  <a:lnTo>
                    <a:pt x="384" y="306"/>
                  </a:lnTo>
                  <a:lnTo>
                    <a:pt x="396" y="300"/>
                  </a:lnTo>
                  <a:lnTo>
                    <a:pt x="396" y="294"/>
                  </a:lnTo>
                  <a:lnTo>
                    <a:pt x="396" y="288"/>
                  </a:lnTo>
                  <a:lnTo>
                    <a:pt x="390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2"/>
                  </a:lnTo>
                  <a:lnTo>
                    <a:pt x="378" y="246"/>
                  </a:lnTo>
                  <a:lnTo>
                    <a:pt x="384" y="228"/>
                  </a:lnTo>
                  <a:lnTo>
                    <a:pt x="390" y="216"/>
                  </a:lnTo>
                  <a:lnTo>
                    <a:pt x="402" y="210"/>
                  </a:lnTo>
                  <a:lnTo>
                    <a:pt x="408" y="210"/>
                  </a:lnTo>
                  <a:lnTo>
                    <a:pt x="420" y="204"/>
                  </a:lnTo>
                  <a:lnTo>
                    <a:pt x="444" y="198"/>
                  </a:lnTo>
                  <a:lnTo>
                    <a:pt x="462" y="192"/>
                  </a:lnTo>
                  <a:lnTo>
                    <a:pt x="474" y="186"/>
                  </a:lnTo>
                  <a:lnTo>
                    <a:pt x="480" y="192"/>
                  </a:lnTo>
                  <a:lnTo>
                    <a:pt x="492" y="192"/>
                  </a:lnTo>
                  <a:lnTo>
                    <a:pt x="498" y="192"/>
                  </a:lnTo>
                  <a:lnTo>
                    <a:pt x="504" y="192"/>
                  </a:lnTo>
                  <a:lnTo>
                    <a:pt x="510" y="192"/>
                  </a:lnTo>
                  <a:lnTo>
                    <a:pt x="516" y="186"/>
                  </a:lnTo>
                  <a:lnTo>
                    <a:pt x="522" y="180"/>
                  </a:lnTo>
                  <a:lnTo>
                    <a:pt x="522" y="174"/>
                  </a:lnTo>
                  <a:lnTo>
                    <a:pt x="528" y="168"/>
                  </a:lnTo>
                  <a:lnTo>
                    <a:pt x="534" y="168"/>
                  </a:lnTo>
                  <a:lnTo>
                    <a:pt x="534" y="156"/>
                  </a:lnTo>
                  <a:lnTo>
                    <a:pt x="534" y="150"/>
                  </a:lnTo>
                  <a:lnTo>
                    <a:pt x="552" y="138"/>
                  </a:lnTo>
                  <a:lnTo>
                    <a:pt x="558" y="126"/>
                  </a:lnTo>
                  <a:lnTo>
                    <a:pt x="558" y="114"/>
                  </a:lnTo>
                  <a:lnTo>
                    <a:pt x="564" y="102"/>
                  </a:lnTo>
                  <a:lnTo>
                    <a:pt x="564" y="96"/>
                  </a:lnTo>
                  <a:lnTo>
                    <a:pt x="564" y="90"/>
                  </a:lnTo>
                  <a:lnTo>
                    <a:pt x="564" y="72"/>
                  </a:lnTo>
                  <a:lnTo>
                    <a:pt x="564" y="60"/>
                  </a:lnTo>
                  <a:lnTo>
                    <a:pt x="564" y="54"/>
                  </a:lnTo>
                  <a:lnTo>
                    <a:pt x="570" y="42"/>
                  </a:lnTo>
                  <a:lnTo>
                    <a:pt x="576" y="42"/>
                  </a:lnTo>
                  <a:lnTo>
                    <a:pt x="582" y="36"/>
                  </a:lnTo>
                  <a:lnTo>
                    <a:pt x="594" y="36"/>
                  </a:lnTo>
                  <a:lnTo>
                    <a:pt x="594" y="30"/>
                  </a:lnTo>
                  <a:lnTo>
                    <a:pt x="600" y="24"/>
                  </a:lnTo>
                  <a:lnTo>
                    <a:pt x="600" y="12"/>
                  </a:lnTo>
                  <a:lnTo>
                    <a:pt x="606" y="6"/>
                  </a:lnTo>
                  <a:lnTo>
                    <a:pt x="606" y="0"/>
                  </a:lnTo>
                  <a:lnTo>
                    <a:pt x="612" y="0"/>
                  </a:lnTo>
                  <a:lnTo>
                    <a:pt x="618" y="0"/>
                  </a:lnTo>
                  <a:lnTo>
                    <a:pt x="624" y="6"/>
                  </a:lnTo>
                  <a:lnTo>
                    <a:pt x="624" y="12"/>
                  </a:lnTo>
                  <a:lnTo>
                    <a:pt x="624" y="18"/>
                  </a:lnTo>
                  <a:lnTo>
                    <a:pt x="624" y="24"/>
                  </a:lnTo>
                  <a:lnTo>
                    <a:pt x="624" y="30"/>
                  </a:lnTo>
                  <a:lnTo>
                    <a:pt x="630" y="30"/>
                  </a:lnTo>
                  <a:lnTo>
                    <a:pt x="630" y="36"/>
                  </a:lnTo>
                  <a:lnTo>
                    <a:pt x="630" y="42"/>
                  </a:lnTo>
                  <a:lnTo>
                    <a:pt x="630" y="48"/>
                  </a:lnTo>
                  <a:lnTo>
                    <a:pt x="636" y="54"/>
                  </a:lnTo>
                  <a:lnTo>
                    <a:pt x="642" y="48"/>
                  </a:lnTo>
                  <a:lnTo>
                    <a:pt x="648" y="48"/>
                  </a:lnTo>
                  <a:lnTo>
                    <a:pt x="648" y="60"/>
                  </a:lnTo>
                  <a:lnTo>
                    <a:pt x="654" y="66"/>
                  </a:lnTo>
                  <a:lnTo>
                    <a:pt x="660" y="72"/>
                  </a:lnTo>
                  <a:lnTo>
                    <a:pt x="666" y="72"/>
                  </a:lnTo>
                  <a:lnTo>
                    <a:pt x="666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72" y="66"/>
                  </a:lnTo>
                  <a:lnTo>
                    <a:pt x="678" y="66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6" y="66"/>
                  </a:lnTo>
                  <a:lnTo>
                    <a:pt x="696" y="72"/>
                  </a:lnTo>
                  <a:lnTo>
                    <a:pt x="702" y="72"/>
                  </a:lnTo>
                  <a:lnTo>
                    <a:pt x="708" y="72"/>
                  </a:lnTo>
                  <a:lnTo>
                    <a:pt x="720" y="66"/>
                  </a:lnTo>
                  <a:lnTo>
                    <a:pt x="726" y="78"/>
                  </a:lnTo>
                  <a:lnTo>
                    <a:pt x="744" y="84"/>
                  </a:lnTo>
                  <a:lnTo>
                    <a:pt x="744" y="90"/>
                  </a:lnTo>
                  <a:lnTo>
                    <a:pt x="744" y="96"/>
                  </a:lnTo>
                  <a:lnTo>
                    <a:pt x="738" y="96"/>
                  </a:lnTo>
                  <a:lnTo>
                    <a:pt x="738" y="102"/>
                  </a:lnTo>
                  <a:lnTo>
                    <a:pt x="732" y="102"/>
                  </a:lnTo>
                  <a:lnTo>
                    <a:pt x="732" y="108"/>
                  </a:lnTo>
                  <a:lnTo>
                    <a:pt x="738" y="108"/>
                  </a:lnTo>
                  <a:lnTo>
                    <a:pt x="744" y="114"/>
                  </a:lnTo>
                  <a:lnTo>
                    <a:pt x="750" y="108"/>
                  </a:lnTo>
                  <a:lnTo>
                    <a:pt x="756" y="108"/>
                  </a:lnTo>
                  <a:lnTo>
                    <a:pt x="762" y="108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80" y="120"/>
                  </a:lnTo>
                  <a:lnTo>
                    <a:pt x="774" y="120"/>
                  </a:lnTo>
                  <a:lnTo>
                    <a:pt x="768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74" y="138"/>
                  </a:lnTo>
                  <a:lnTo>
                    <a:pt x="774" y="132"/>
                  </a:lnTo>
                  <a:lnTo>
                    <a:pt x="780" y="132"/>
                  </a:lnTo>
                  <a:lnTo>
                    <a:pt x="786" y="132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44"/>
                  </a:lnTo>
                  <a:lnTo>
                    <a:pt x="786" y="150"/>
                  </a:lnTo>
                  <a:lnTo>
                    <a:pt x="780" y="150"/>
                  </a:lnTo>
                  <a:lnTo>
                    <a:pt x="774" y="150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74" y="162"/>
                  </a:lnTo>
                  <a:lnTo>
                    <a:pt x="780" y="162"/>
                  </a:lnTo>
                  <a:lnTo>
                    <a:pt x="786" y="168"/>
                  </a:lnTo>
                  <a:lnTo>
                    <a:pt x="792" y="162"/>
                  </a:lnTo>
                  <a:lnTo>
                    <a:pt x="798" y="168"/>
                  </a:lnTo>
                  <a:lnTo>
                    <a:pt x="798" y="174"/>
                  </a:lnTo>
                  <a:lnTo>
                    <a:pt x="804" y="168"/>
                  </a:lnTo>
                  <a:lnTo>
                    <a:pt x="810" y="168"/>
                  </a:lnTo>
                  <a:lnTo>
                    <a:pt x="810" y="174"/>
                  </a:lnTo>
                  <a:lnTo>
                    <a:pt x="816" y="168"/>
                  </a:lnTo>
                  <a:lnTo>
                    <a:pt x="822" y="162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74"/>
                  </a:lnTo>
                  <a:lnTo>
                    <a:pt x="834" y="192"/>
                  </a:lnTo>
                  <a:lnTo>
                    <a:pt x="834" y="198"/>
                  </a:lnTo>
                  <a:lnTo>
                    <a:pt x="840" y="192"/>
                  </a:lnTo>
                  <a:lnTo>
                    <a:pt x="846" y="192"/>
                  </a:lnTo>
                  <a:lnTo>
                    <a:pt x="852" y="186"/>
                  </a:lnTo>
                  <a:lnTo>
                    <a:pt x="858" y="192"/>
                  </a:lnTo>
                  <a:lnTo>
                    <a:pt x="864" y="192"/>
                  </a:lnTo>
                  <a:lnTo>
                    <a:pt x="870" y="198"/>
                  </a:lnTo>
                  <a:lnTo>
                    <a:pt x="876" y="180"/>
                  </a:lnTo>
                  <a:lnTo>
                    <a:pt x="882" y="180"/>
                  </a:lnTo>
                  <a:lnTo>
                    <a:pt x="888" y="180"/>
                  </a:lnTo>
                  <a:lnTo>
                    <a:pt x="894" y="186"/>
                  </a:lnTo>
                  <a:lnTo>
                    <a:pt x="888" y="198"/>
                  </a:lnTo>
                  <a:lnTo>
                    <a:pt x="894" y="204"/>
                  </a:lnTo>
                  <a:lnTo>
                    <a:pt x="906" y="210"/>
                  </a:lnTo>
                  <a:lnTo>
                    <a:pt x="918" y="246"/>
                  </a:lnTo>
                  <a:lnTo>
                    <a:pt x="930" y="258"/>
                  </a:lnTo>
                  <a:lnTo>
                    <a:pt x="942" y="282"/>
                  </a:lnTo>
                  <a:lnTo>
                    <a:pt x="966" y="288"/>
                  </a:lnTo>
                  <a:lnTo>
                    <a:pt x="972" y="300"/>
                  </a:lnTo>
                  <a:lnTo>
                    <a:pt x="972" y="318"/>
                  </a:lnTo>
                  <a:lnTo>
                    <a:pt x="996" y="336"/>
                  </a:lnTo>
                  <a:lnTo>
                    <a:pt x="1050" y="390"/>
                  </a:lnTo>
                  <a:lnTo>
                    <a:pt x="1116" y="462"/>
                  </a:lnTo>
                  <a:lnTo>
                    <a:pt x="1122" y="468"/>
                  </a:lnTo>
                  <a:lnTo>
                    <a:pt x="1128" y="474"/>
                  </a:lnTo>
                  <a:lnTo>
                    <a:pt x="1140" y="474"/>
                  </a:lnTo>
                  <a:lnTo>
                    <a:pt x="1152" y="486"/>
                  </a:lnTo>
                  <a:lnTo>
                    <a:pt x="1152" y="492"/>
                  </a:lnTo>
                  <a:lnTo>
                    <a:pt x="1158" y="492"/>
                  </a:lnTo>
                  <a:lnTo>
                    <a:pt x="1164" y="492"/>
                  </a:lnTo>
                  <a:lnTo>
                    <a:pt x="1170" y="504"/>
                  </a:lnTo>
                  <a:lnTo>
                    <a:pt x="1176" y="504"/>
                  </a:lnTo>
                  <a:lnTo>
                    <a:pt x="1176" y="510"/>
                  </a:lnTo>
                  <a:lnTo>
                    <a:pt x="1200" y="516"/>
                  </a:lnTo>
                  <a:lnTo>
                    <a:pt x="1200" y="522"/>
                  </a:lnTo>
                  <a:lnTo>
                    <a:pt x="1212" y="534"/>
                  </a:lnTo>
                  <a:lnTo>
                    <a:pt x="1218" y="540"/>
                  </a:lnTo>
                  <a:lnTo>
                    <a:pt x="1224" y="552"/>
                  </a:lnTo>
                  <a:lnTo>
                    <a:pt x="1230" y="552"/>
                  </a:lnTo>
                  <a:lnTo>
                    <a:pt x="1242" y="552"/>
                  </a:lnTo>
                  <a:lnTo>
                    <a:pt x="1248" y="558"/>
                  </a:lnTo>
                  <a:lnTo>
                    <a:pt x="1254" y="558"/>
                  </a:lnTo>
                  <a:lnTo>
                    <a:pt x="1260" y="564"/>
                  </a:lnTo>
                  <a:lnTo>
                    <a:pt x="1266" y="564"/>
                  </a:lnTo>
                  <a:lnTo>
                    <a:pt x="1272" y="564"/>
                  </a:lnTo>
                  <a:lnTo>
                    <a:pt x="1284" y="564"/>
                  </a:lnTo>
                  <a:lnTo>
                    <a:pt x="1290" y="570"/>
                  </a:lnTo>
                  <a:lnTo>
                    <a:pt x="1296" y="576"/>
                  </a:lnTo>
                  <a:lnTo>
                    <a:pt x="1302" y="588"/>
                  </a:lnTo>
                  <a:lnTo>
                    <a:pt x="1296" y="594"/>
                  </a:lnTo>
                  <a:lnTo>
                    <a:pt x="1296" y="600"/>
                  </a:lnTo>
                  <a:lnTo>
                    <a:pt x="1296" y="606"/>
                  </a:lnTo>
                  <a:lnTo>
                    <a:pt x="1290" y="612"/>
                  </a:lnTo>
                  <a:lnTo>
                    <a:pt x="1290" y="624"/>
                  </a:lnTo>
                  <a:lnTo>
                    <a:pt x="1290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308" y="654"/>
                  </a:lnTo>
                  <a:lnTo>
                    <a:pt x="1320" y="654"/>
                  </a:lnTo>
                  <a:lnTo>
                    <a:pt x="1326" y="660"/>
                  </a:lnTo>
                  <a:lnTo>
                    <a:pt x="1338" y="654"/>
                  </a:lnTo>
                  <a:lnTo>
                    <a:pt x="1344" y="654"/>
                  </a:lnTo>
                  <a:lnTo>
                    <a:pt x="1356" y="654"/>
                  </a:lnTo>
                  <a:lnTo>
                    <a:pt x="1362" y="648"/>
                  </a:lnTo>
                  <a:lnTo>
                    <a:pt x="1368" y="642"/>
                  </a:lnTo>
                  <a:lnTo>
                    <a:pt x="1374" y="636"/>
                  </a:lnTo>
                  <a:lnTo>
                    <a:pt x="1380" y="636"/>
                  </a:lnTo>
                  <a:lnTo>
                    <a:pt x="1392" y="636"/>
                  </a:lnTo>
                  <a:lnTo>
                    <a:pt x="1398" y="636"/>
                  </a:lnTo>
                  <a:lnTo>
                    <a:pt x="1404" y="636"/>
                  </a:lnTo>
                  <a:lnTo>
                    <a:pt x="1410" y="630"/>
                  </a:lnTo>
                  <a:lnTo>
                    <a:pt x="1410" y="624"/>
                  </a:lnTo>
                  <a:lnTo>
                    <a:pt x="1422" y="618"/>
                  </a:lnTo>
                  <a:lnTo>
                    <a:pt x="1428" y="618"/>
                  </a:lnTo>
                  <a:lnTo>
                    <a:pt x="1440" y="612"/>
                  </a:lnTo>
                  <a:lnTo>
                    <a:pt x="1446" y="612"/>
                  </a:lnTo>
                  <a:lnTo>
                    <a:pt x="1458" y="612"/>
                  </a:lnTo>
                  <a:lnTo>
                    <a:pt x="1470" y="624"/>
                  </a:lnTo>
                  <a:lnTo>
                    <a:pt x="1488" y="642"/>
                  </a:lnTo>
                  <a:lnTo>
                    <a:pt x="1500" y="648"/>
                  </a:lnTo>
                  <a:lnTo>
                    <a:pt x="1512" y="654"/>
                  </a:lnTo>
                  <a:lnTo>
                    <a:pt x="1518" y="660"/>
                  </a:lnTo>
                  <a:lnTo>
                    <a:pt x="1524" y="660"/>
                  </a:lnTo>
                  <a:lnTo>
                    <a:pt x="1530" y="660"/>
                  </a:lnTo>
                  <a:lnTo>
                    <a:pt x="1536" y="666"/>
                  </a:lnTo>
                  <a:lnTo>
                    <a:pt x="1542" y="672"/>
                  </a:lnTo>
                  <a:lnTo>
                    <a:pt x="1548" y="672"/>
                  </a:lnTo>
                  <a:lnTo>
                    <a:pt x="1554" y="684"/>
                  </a:lnTo>
                  <a:lnTo>
                    <a:pt x="1554" y="690"/>
                  </a:lnTo>
                  <a:lnTo>
                    <a:pt x="1566" y="702"/>
                  </a:lnTo>
                  <a:lnTo>
                    <a:pt x="1572" y="720"/>
                  </a:lnTo>
                  <a:lnTo>
                    <a:pt x="1572" y="726"/>
                  </a:lnTo>
                  <a:lnTo>
                    <a:pt x="1578" y="732"/>
                  </a:lnTo>
                  <a:lnTo>
                    <a:pt x="1584" y="738"/>
                  </a:lnTo>
                  <a:lnTo>
                    <a:pt x="1590" y="738"/>
                  </a:lnTo>
                  <a:lnTo>
                    <a:pt x="1596" y="738"/>
                  </a:lnTo>
                  <a:lnTo>
                    <a:pt x="1602" y="744"/>
                  </a:lnTo>
                  <a:lnTo>
                    <a:pt x="1608" y="744"/>
                  </a:lnTo>
                  <a:lnTo>
                    <a:pt x="1614" y="744"/>
                  </a:lnTo>
                  <a:lnTo>
                    <a:pt x="1626" y="744"/>
                  </a:lnTo>
                  <a:lnTo>
                    <a:pt x="1638" y="744"/>
                  </a:lnTo>
                  <a:lnTo>
                    <a:pt x="1650" y="744"/>
                  </a:lnTo>
                  <a:lnTo>
                    <a:pt x="1662" y="744"/>
                  </a:lnTo>
                  <a:lnTo>
                    <a:pt x="1668" y="744"/>
                  </a:lnTo>
                  <a:lnTo>
                    <a:pt x="1674" y="744"/>
                  </a:lnTo>
                  <a:lnTo>
                    <a:pt x="1686" y="744"/>
                  </a:lnTo>
                  <a:lnTo>
                    <a:pt x="1698" y="750"/>
                  </a:lnTo>
                  <a:lnTo>
                    <a:pt x="1704" y="750"/>
                  </a:lnTo>
                  <a:lnTo>
                    <a:pt x="1716" y="756"/>
                  </a:lnTo>
                  <a:lnTo>
                    <a:pt x="1722" y="756"/>
                  </a:lnTo>
                  <a:lnTo>
                    <a:pt x="1728" y="756"/>
                  </a:lnTo>
                  <a:lnTo>
                    <a:pt x="1734" y="762"/>
                  </a:lnTo>
                  <a:lnTo>
                    <a:pt x="1740" y="768"/>
                  </a:lnTo>
                  <a:lnTo>
                    <a:pt x="1758" y="780"/>
                  </a:lnTo>
                  <a:lnTo>
                    <a:pt x="1770" y="780"/>
                  </a:lnTo>
                  <a:lnTo>
                    <a:pt x="1776" y="780"/>
                  </a:lnTo>
                  <a:lnTo>
                    <a:pt x="1782" y="780"/>
                  </a:lnTo>
                  <a:lnTo>
                    <a:pt x="1800" y="798"/>
                  </a:lnTo>
                  <a:lnTo>
                    <a:pt x="1818" y="810"/>
                  </a:lnTo>
                  <a:lnTo>
                    <a:pt x="1830" y="816"/>
                  </a:lnTo>
                  <a:lnTo>
                    <a:pt x="1836" y="822"/>
                  </a:lnTo>
                  <a:lnTo>
                    <a:pt x="1836" y="828"/>
                  </a:lnTo>
                  <a:lnTo>
                    <a:pt x="1842" y="828"/>
                  </a:lnTo>
                  <a:lnTo>
                    <a:pt x="1848" y="834"/>
                  </a:lnTo>
                  <a:lnTo>
                    <a:pt x="1854" y="840"/>
                  </a:lnTo>
                  <a:lnTo>
                    <a:pt x="1860" y="846"/>
                  </a:lnTo>
                  <a:lnTo>
                    <a:pt x="1872" y="852"/>
                  </a:lnTo>
                  <a:lnTo>
                    <a:pt x="1884" y="852"/>
                  </a:lnTo>
                  <a:lnTo>
                    <a:pt x="1896" y="852"/>
                  </a:lnTo>
                  <a:lnTo>
                    <a:pt x="1902" y="846"/>
                  </a:lnTo>
                  <a:lnTo>
                    <a:pt x="1908" y="852"/>
                  </a:lnTo>
                  <a:lnTo>
                    <a:pt x="1920" y="858"/>
                  </a:lnTo>
                  <a:lnTo>
                    <a:pt x="1926" y="870"/>
                  </a:lnTo>
                  <a:lnTo>
                    <a:pt x="1938" y="888"/>
                  </a:lnTo>
                  <a:lnTo>
                    <a:pt x="1944" y="900"/>
                  </a:lnTo>
                  <a:lnTo>
                    <a:pt x="1950" y="900"/>
                  </a:lnTo>
                  <a:lnTo>
                    <a:pt x="1962" y="906"/>
                  </a:lnTo>
                  <a:lnTo>
                    <a:pt x="1968" y="906"/>
                  </a:lnTo>
                  <a:lnTo>
                    <a:pt x="1980" y="906"/>
                  </a:lnTo>
                  <a:lnTo>
                    <a:pt x="1998" y="906"/>
                  </a:lnTo>
                  <a:lnTo>
                    <a:pt x="2010" y="900"/>
                  </a:lnTo>
                  <a:lnTo>
                    <a:pt x="2022" y="900"/>
                  </a:lnTo>
                  <a:lnTo>
                    <a:pt x="2028" y="900"/>
                  </a:lnTo>
                  <a:lnTo>
                    <a:pt x="2034" y="906"/>
                  </a:lnTo>
                  <a:lnTo>
                    <a:pt x="2046" y="906"/>
                  </a:lnTo>
                  <a:lnTo>
                    <a:pt x="2052" y="900"/>
                  </a:lnTo>
                  <a:lnTo>
                    <a:pt x="2058" y="900"/>
                  </a:lnTo>
                  <a:lnTo>
                    <a:pt x="2064" y="900"/>
                  </a:lnTo>
                  <a:lnTo>
                    <a:pt x="2070" y="900"/>
                  </a:lnTo>
                  <a:lnTo>
                    <a:pt x="2076" y="900"/>
                  </a:lnTo>
                  <a:lnTo>
                    <a:pt x="2076" y="906"/>
                  </a:lnTo>
                  <a:lnTo>
                    <a:pt x="2088" y="906"/>
                  </a:lnTo>
                  <a:lnTo>
                    <a:pt x="2106" y="900"/>
                  </a:lnTo>
                  <a:lnTo>
                    <a:pt x="2118" y="900"/>
                  </a:lnTo>
                  <a:lnTo>
                    <a:pt x="2130" y="900"/>
                  </a:lnTo>
                  <a:lnTo>
                    <a:pt x="2142" y="900"/>
                  </a:lnTo>
                  <a:lnTo>
                    <a:pt x="2148" y="906"/>
                  </a:lnTo>
                  <a:lnTo>
                    <a:pt x="2154" y="906"/>
                  </a:lnTo>
                  <a:lnTo>
                    <a:pt x="2160" y="906"/>
                  </a:lnTo>
                  <a:lnTo>
                    <a:pt x="2166" y="906"/>
                  </a:lnTo>
                  <a:lnTo>
                    <a:pt x="2178" y="918"/>
                  </a:lnTo>
                  <a:lnTo>
                    <a:pt x="2178" y="924"/>
                  </a:lnTo>
                  <a:lnTo>
                    <a:pt x="2184" y="924"/>
                  </a:lnTo>
                  <a:lnTo>
                    <a:pt x="2190" y="924"/>
                  </a:lnTo>
                  <a:lnTo>
                    <a:pt x="2196" y="924"/>
                  </a:lnTo>
                  <a:lnTo>
                    <a:pt x="2202" y="918"/>
                  </a:lnTo>
                  <a:lnTo>
                    <a:pt x="2208" y="918"/>
                  </a:lnTo>
                  <a:lnTo>
                    <a:pt x="2214" y="918"/>
                  </a:lnTo>
                  <a:lnTo>
                    <a:pt x="2226" y="918"/>
                  </a:lnTo>
                  <a:lnTo>
                    <a:pt x="2220" y="948"/>
                  </a:lnTo>
                  <a:lnTo>
                    <a:pt x="2214" y="972"/>
                  </a:lnTo>
                  <a:lnTo>
                    <a:pt x="2214" y="984"/>
                  </a:lnTo>
                  <a:lnTo>
                    <a:pt x="2208" y="990"/>
                  </a:lnTo>
                  <a:lnTo>
                    <a:pt x="2208" y="996"/>
                  </a:lnTo>
                  <a:lnTo>
                    <a:pt x="2202" y="996"/>
                  </a:lnTo>
                  <a:lnTo>
                    <a:pt x="2196" y="996"/>
                  </a:lnTo>
                  <a:lnTo>
                    <a:pt x="2190" y="1008"/>
                  </a:lnTo>
                  <a:lnTo>
                    <a:pt x="2172" y="1074"/>
                  </a:lnTo>
                  <a:lnTo>
                    <a:pt x="2166" y="1092"/>
                  </a:lnTo>
                  <a:lnTo>
                    <a:pt x="2172" y="1110"/>
                  </a:lnTo>
                  <a:lnTo>
                    <a:pt x="2172" y="1122"/>
                  </a:lnTo>
                  <a:lnTo>
                    <a:pt x="2166" y="1134"/>
                  </a:lnTo>
                  <a:lnTo>
                    <a:pt x="2148" y="1140"/>
                  </a:lnTo>
                  <a:lnTo>
                    <a:pt x="2148" y="1134"/>
                  </a:lnTo>
                  <a:lnTo>
                    <a:pt x="2118" y="1140"/>
                  </a:lnTo>
                  <a:lnTo>
                    <a:pt x="2088" y="1134"/>
                  </a:lnTo>
                  <a:lnTo>
                    <a:pt x="2064" y="1122"/>
                  </a:lnTo>
                  <a:lnTo>
                    <a:pt x="2034" y="1122"/>
                  </a:lnTo>
                  <a:lnTo>
                    <a:pt x="2022" y="1128"/>
                  </a:lnTo>
                  <a:lnTo>
                    <a:pt x="1986" y="1128"/>
                  </a:lnTo>
                  <a:lnTo>
                    <a:pt x="1938" y="1122"/>
                  </a:lnTo>
                  <a:lnTo>
                    <a:pt x="1932" y="1116"/>
                  </a:lnTo>
                  <a:lnTo>
                    <a:pt x="1896" y="1110"/>
                  </a:lnTo>
                  <a:lnTo>
                    <a:pt x="1878" y="1104"/>
                  </a:lnTo>
                  <a:lnTo>
                    <a:pt x="1866" y="1098"/>
                  </a:lnTo>
                  <a:lnTo>
                    <a:pt x="1860" y="1098"/>
                  </a:lnTo>
                  <a:lnTo>
                    <a:pt x="1854" y="1092"/>
                  </a:lnTo>
                  <a:lnTo>
                    <a:pt x="1860" y="1092"/>
                  </a:lnTo>
                  <a:lnTo>
                    <a:pt x="1860" y="1086"/>
                  </a:lnTo>
                  <a:lnTo>
                    <a:pt x="1854" y="1086"/>
                  </a:lnTo>
                  <a:lnTo>
                    <a:pt x="1842" y="1080"/>
                  </a:lnTo>
                  <a:lnTo>
                    <a:pt x="1818" y="1062"/>
                  </a:lnTo>
                  <a:lnTo>
                    <a:pt x="1782" y="1056"/>
                  </a:lnTo>
                  <a:lnTo>
                    <a:pt x="1770" y="1068"/>
                  </a:lnTo>
                  <a:lnTo>
                    <a:pt x="1746" y="1098"/>
                  </a:lnTo>
                  <a:lnTo>
                    <a:pt x="1722" y="1104"/>
                  </a:lnTo>
                  <a:lnTo>
                    <a:pt x="1710" y="1122"/>
                  </a:lnTo>
                  <a:lnTo>
                    <a:pt x="1710" y="1128"/>
                  </a:lnTo>
                  <a:lnTo>
                    <a:pt x="1710" y="1140"/>
                  </a:lnTo>
                  <a:lnTo>
                    <a:pt x="1698" y="1146"/>
                  </a:lnTo>
                  <a:lnTo>
                    <a:pt x="1686" y="1152"/>
                  </a:lnTo>
                  <a:lnTo>
                    <a:pt x="1680" y="1164"/>
                  </a:lnTo>
                  <a:lnTo>
                    <a:pt x="1680" y="1170"/>
                  </a:lnTo>
                  <a:lnTo>
                    <a:pt x="1686" y="1170"/>
                  </a:lnTo>
                  <a:lnTo>
                    <a:pt x="1686" y="1176"/>
                  </a:lnTo>
                  <a:lnTo>
                    <a:pt x="1698" y="1188"/>
                  </a:lnTo>
                  <a:lnTo>
                    <a:pt x="1704" y="1188"/>
                  </a:lnTo>
                  <a:lnTo>
                    <a:pt x="1698" y="1194"/>
                  </a:lnTo>
                  <a:lnTo>
                    <a:pt x="1704" y="1194"/>
                  </a:lnTo>
                  <a:lnTo>
                    <a:pt x="1704" y="1200"/>
                  </a:lnTo>
                  <a:lnTo>
                    <a:pt x="1704" y="1206"/>
                  </a:lnTo>
                  <a:lnTo>
                    <a:pt x="1704" y="1212"/>
                  </a:lnTo>
                  <a:lnTo>
                    <a:pt x="1704" y="1218"/>
                  </a:lnTo>
                  <a:lnTo>
                    <a:pt x="1710" y="1218"/>
                  </a:lnTo>
                  <a:lnTo>
                    <a:pt x="1710" y="1212"/>
                  </a:lnTo>
                  <a:lnTo>
                    <a:pt x="1716" y="1212"/>
                  </a:lnTo>
                  <a:lnTo>
                    <a:pt x="1716" y="1218"/>
                  </a:lnTo>
                  <a:lnTo>
                    <a:pt x="1716" y="1224"/>
                  </a:lnTo>
                  <a:lnTo>
                    <a:pt x="1716" y="1230"/>
                  </a:lnTo>
                  <a:lnTo>
                    <a:pt x="1722" y="1236"/>
                  </a:lnTo>
                  <a:lnTo>
                    <a:pt x="1740" y="1230"/>
                  </a:lnTo>
                  <a:lnTo>
                    <a:pt x="1734" y="1236"/>
                  </a:lnTo>
                  <a:lnTo>
                    <a:pt x="1734" y="1242"/>
                  </a:lnTo>
                  <a:lnTo>
                    <a:pt x="1734" y="1248"/>
                  </a:lnTo>
                  <a:lnTo>
                    <a:pt x="1734" y="1254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52" y="1266"/>
                  </a:lnTo>
                  <a:lnTo>
                    <a:pt x="1764" y="1266"/>
                  </a:lnTo>
                  <a:lnTo>
                    <a:pt x="1788" y="1260"/>
                  </a:lnTo>
                  <a:lnTo>
                    <a:pt x="1800" y="1260"/>
                  </a:lnTo>
                  <a:lnTo>
                    <a:pt x="1806" y="1272"/>
                  </a:lnTo>
                  <a:lnTo>
                    <a:pt x="1806" y="1296"/>
                  </a:lnTo>
                  <a:lnTo>
                    <a:pt x="1800" y="1308"/>
                  </a:lnTo>
                  <a:lnTo>
                    <a:pt x="1788" y="1308"/>
                  </a:lnTo>
                  <a:lnTo>
                    <a:pt x="1782" y="13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7" name="Freeform 32">
              <a:extLst>
                <a:ext uri="{FF2B5EF4-FFF2-40B4-BE49-F238E27FC236}">
                  <a16:creationId xmlns:a16="http://schemas.microsoft.com/office/drawing/2014/main" id="{1EF84438-BF7A-47D2-9156-E231EA2A279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3295" y="2316568"/>
              <a:ext cx="1290281" cy="1084704"/>
            </a:xfrm>
            <a:custGeom>
              <a:avLst/>
              <a:gdLst>
                <a:gd name="T0" fmla="*/ 177 w 2430"/>
                <a:gd name="T1" fmla="*/ 169 h 2040"/>
                <a:gd name="T2" fmla="*/ 174 w 2430"/>
                <a:gd name="T3" fmla="*/ 173 h 2040"/>
                <a:gd name="T4" fmla="*/ 169 w 2430"/>
                <a:gd name="T5" fmla="*/ 171 h 2040"/>
                <a:gd name="T6" fmla="*/ 160 w 2430"/>
                <a:gd name="T7" fmla="*/ 163 h 2040"/>
                <a:gd name="T8" fmla="*/ 154 w 2430"/>
                <a:gd name="T9" fmla="*/ 149 h 2040"/>
                <a:gd name="T10" fmla="*/ 144 w 2430"/>
                <a:gd name="T11" fmla="*/ 147 h 2040"/>
                <a:gd name="T12" fmla="*/ 133 w 2430"/>
                <a:gd name="T13" fmla="*/ 146 h 2040"/>
                <a:gd name="T14" fmla="*/ 121 w 2430"/>
                <a:gd name="T15" fmla="*/ 145 h 2040"/>
                <a:gd name="T16" fmla="*/ 110 w 2430"/>
                <a:gd name="T17" fmla="*/ 137 h 2040"/>
                <a:gd name="T18" fmla="*/ 97 w 2430"/>
                <a:gd name="T19" fmla="*/ 131 h 2040"/>
                <a:gd name="T20" fmla="*/ 87 w 2430"/>
                <a:gd name="T21" fmla="*/ 125 h 2040"/>
                <a:gd name="T22" fmla="*/ 75 w 2430"/>
                <a:gd name="T23" fmla="*/ 122 h 2040"/>
                <a:gd name="T24" fmla="*/ 65 w 2430"/>
                <a:gd name="T25" fmla="*/ 122 h 2040"/>
                <a:gd name="T26" fmla="*/ 59 w 2430"/>
                <a:gd name="T27" fmla="*/ 115 h 2040"/>
                <a:gd name="T28" fmla="*/ 50 w 2430"/>
                <a:gd name="T29" fmla="*/ 107 h 2040"/>
                <a:gd name="T30" fmla="*/ 28 w 2430"/>
                <a:gd name="T31" fmla="*/ 84 h 2040"/>
                <a:gd name="T32" fmla="*/ 22 w 2430"/>
                <a:gd name="T33" fmla="*/ 82 h 2040"/>
                <a:gd name="T34" fmla="*/ 20 w 2430"/>
                <a:gd name="T35" fmla="*/ 79 h 2040"/>
                <a:gd name="T36" fmla="*/ 16 w 2430"/>
                <a:gd name="T37" fmla="*/ 76 h 2040"/>
                <a:gd name="T38" fmla="*/ 11 w 2430"/>
                <a:gd name="T39" fmla="*/ 74 h 2040"/>
                <a:gd name="T40" fmla="*/ 7 w 2430"/>
                <a:gd name="T41" fmla="*/ 69 h 2040"/>
                <a:gd name="T42" fmla="*/ 0 w 2430"/>
                <a:gd name="T43" fmla="*/ 60 h 2040"/>
                <a:gd name="T44" fmla="*/ 10 w 2430"/>
                <a:gd name="T45" fmla="*/ 53 h 2040"/>
                <a:gd name="T46" fmla="*/ 15 w 2430"/>
                <a:gd name="T47" fmla="*/ 40 h 2040"/>
                <a:gd name="T48" fmla="*/ 9 w 2430"/>
                <a:gd name="T49" fmla="*/ 29 h 2040"/>
                <a:gd name="T50" fmla="*/ 7 w 2430"/>
                <a:gd name="T51" fmla="*/ 16 h 2040"/>
                <a:gd name="T52" fmla="*/ 18 w 2430"/>
                <a:gd name="T53" fmla="*/ 21 h 2040"/>
                <a:gd name="T54" fmla="*/ 48 w 2430"/>
                <a:gd name="T55" fmla="*/ 27 h 2040"/>
                <a:gd name="T56" fmla="*/ 62 w 2430"/>
                <a:gd name="T57" fmla="*/ 25 h 2040"/>
                <a:gd name="T58" fmla="*/ 59 w 2430"/>
                <a:gd name="T59" fmla="*/ 42 h 2040"/>
                <a:gd name="T60" fmla="*/ 54 w 2430"/>
                <a:gd name="T61" fmla="*/ 65 h 2040"/>
                <a:gd name="T62" fmla="*/ 65 w 2430"/>
                <a:gd name="T63" fmla="*/ 60 h 2040"/>
                <a:gd name="T64" fmla="*/ 68 w 2430"/>
                <a:gd name="T65" fmla="*/ 40 h 2040"/>
                <a:gd name="T66" fmla="*/ 75 w 2430"/>
                <a:gd name="T67" fmla="*/ 36 h 2040"/>
                <a:gd name="T68" fmla="*/ 83 w 2430"/>
                <a:gd name="T69" fmla="*/ 29 h 2040"/>
                <a:gd name="T70" fmla="*/ 81 w 2430"/>
                <a:gd name="T71" fmla="*/ 17 h 2040"/>
                <a:gd name="T72" fmla="*/ 66 w 2430"/>
                <a:gd name="T73" fmla="*/ 7 h 2040"/>
                <a:gd name="T74" fmla="*/ 80 w 2430"/>
                <a:gd name="T75" fmla="*/ 5 h 2040"/>
                <a:gd name="T76" fmla="*/ 89 w 2430"/>
                <a:gd name="T77" fmla="*/ 1 h 2040"/>
                <a:gd name="T78" fmla="*/ 101 w 2430"/>
                <a:gd name="T79" fmla="*/ 10 h 2040"/>
                <a:gd name="T80" fmla="*/ 103 w 2430"/>
                <a:gd name="T81" fmla="*/ 18 h 2040"/>
                <a:gd name="T82" fmla="*/ 110 w 2430"/>
                <a:gd name="T83" fmla="*/ 23 h 2040"/>
                <a:gd name="T84" fmla="*/ 121 w 2430"/>
                <a:gd name="T85" fmla="*/ 20 h 2040"/>
                <a:gd name="T86" fmla="*/ 129 w 2430"/>
                <a:gd name="T87" fmla="*/ 15 h 2040"/>
                <a:gd name="T88" fmla="*/ 142 w 2430"/>
                <a:gd name="T89" fmla="*/ 23 h 2040"/>
                <a:gd name="T90" fmla="*/ 141 w 2430"/>
                <a:gd name="T91" fmla="*/ 30 h 2040"/>
                <a:gd name="T92" fmla="*/ 140 w 2430"/>
                <a:gd name="T93" fmla="*/ 38 h 2040"/>
                <a:gd name="T94" fmla="*/ 139 w 2430"/>
                <a:gd name="T95" fmla="*/ 46 h 2040"/>
                <a:gd name="T96" fmla="*/ 147 w 2430"/>
                <a:gd name="T97" fmla="*/ 54 h 2040"/>
                <a:gd name="T98" fmla="*/ 152 w 2430"/>
                <a:gd name="T99" fmla="*/ 50 h 2040"/>
                <a:gd name="T100" fmla="*/ 159 w 2430"/>
                <a:gd name="T101" fmla="*/ 43 h 2040"/>
                <a:gd name="T102" fmla="*/ 174 w 2430"/>
                <a:gd name="T103" fmla="*/ 41 h 2040"/>
                <a:gd name="T104" fmla="*/ 190 w 2430"/>
                <a:gd name="T105" fmla="*/ 57 h 2040"/>
                <a:gd name="T106" fmla="*/ 187 w 2430"/>
                <a:gd name="T107" fmla="*/ 66 h 2040"/>
                <a:gd name="T108" fmla="*/ 183 w 2430"/>
                <a:gd name="T109" fmla="*/ 72 h 2040"/>
                <a:gd name="T110" fmla="*/ 194 w 2430"/>
                <a:gd name="T111" fmla="*/ 73 h 2040"/>
                <a:gd name="T112" fmla="*/ 202 w 2430"/>
                <a:gd name="T113" fmla="*/ 74 h 2040"/>
                <a:gd name="T114" fmla="*/ 204 w 2430"/>
                <a:gd name="T115" fmla="*/ 89 h 2040"/>
                <a:gd name="T116" fmla="*/ 208 w 2430"/>
                <a:gd name="T117" fmla="*/ 99 h 2040"/>
                <a:gd name="T118" fmla="*/ 203 w 2430"/>
                <a:gd name="T119" fmla="*/ 103 h 2040"/>
                <a:gd name="T120" fmla="*/ 209 w 2430"/>
                <a:gd name="T121" fmla="*/ 111 h 2040"/>
                <a:gd name="T122" fmla="*/ 204 w 2430"/>
                <a:gd name="T123" fmla="*/ 124 h 2040"/>
                <a:gd name="T124" fmla="*/ 190 w 2430"/>
                <a:gd name="T125" fmla="*/ 117 h 20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30"/>
                <a:gd name="T190" fmla="*/ 0 h 2040"/>
                <a:gd name="T191" fmla="*/ 2430 w 2430"/>
                <a:gd name="T192" fmla="*/ 2040 h 20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30" h="2040">
                  <a:moveTo>
                    <a:pt x="2076" y="1896"/>
                  </a:moveTo>
                  <a:lnTo>
                    <a:pt x="2070" y="1896"/>
                  </a:lnTo>
                  <a:lnTo>
                    <a:pt x="2070" y="1902"/>
                  </a:lnTo>
                  <a:lnTo>
                    <a:pt x="2076" y="1902"/>
                  </a:lnTo>
                  <a:lnTo>
                    <a:pt x="2082" y="1902"/>
                  </a:lnTo>
                  <a:lnTo>
                    <a:pt x="2082" y="1908"/>
                  </a:lnTo>
                  <a:lnTo>
                    <a:pt x="2076" y="1908"/>
                  </a:lnTo>
                  <a:lnTo>
                    <a:pt x="2076" y="1914"/>
                  </a:lnTo>
                  <a:lnTo>
                    <a:pt x="2070" y="1920"/>
                  </a:lnTo>
                  <a:lnTo>
                    <a:pt x="2064" y="1932"/>
                  </a:lnTo>
                  <a:lnTo>
                    <a:pt x="2064" y="1938"/>
                  </a:lnTo>
                  <a:lnTo>
                    <a:pt x="2058" y="1938"/>
                  </a:lnTo>
                  <a:lnTo>
                    <a:pt x="2052" y="1944"/>
                  </a:lnTo>
                  <a:lnTo>
                    <a:pt x="2052" y="1950"/>
                  </a:lnTo>
                  <a:lnTo>
                    <a:pt x="2040" y="1944"/>
                  </a:lnTo>
                  <a:lnTo>
                    <a:pt x="2040" y="1950"/>
                  </a:lnTo>
                  <a:lnTo>
                    <a:pt x="2034" y="1956"/>
                  </a:lnTo>
                  <a:lnTo>
                    <a:pt x="2034" y="1962"/>
                  </a:lnTo>
                  <a:lnTo>
                    <a:pt x="2028" y="1962"/>
                  </a:lnTo>
                  <a:lnTo>
                    <a:pt x="2022" y="1962"/>
                  </a:lnTo>
                  <a:lnTo>
                    <a:pt x="2022" y="1968"/>
                  </a:lnTo>
                  <a:lnTo>
                    <a:pt x="2028" y="1974"/>
                  </a:lnTo>
                  <a:lnTo>
                    <a:pt x="2034" y="1980"/>
                  </a:lnTo>
                  <a:lnTo>
                    <a:pt x="2028" y="1986"/>
                  </a:lnTo>
                  <a:lnTo>
                    <a:pt x="2022" y="1992"/>
                  </a:lnTo>
                  <a:lnTo>
                    <a:pt x="2022" y="1986"/>
                  </a:lnTo>
                  <a:lnTo>
                    <a:pt x="2016" y="1986"/>
                  </a:lnTo>
                  <a:lnTo>
                    <a:pt x="2010" y="1980"/>
                  </a:lnTo>
                  <a:lnTo>
                    <a:pt x="2004" y="1980"/>
                  </a:lnTo>
                  <a:lnTo>
                    <a:pt x="2004" y="1986"/>
                  </a:lnTo>
                  <a:lnTo>
                    <a:pt x="2010" y="1992"/>
                  </a:lnTo>
                  <a:lnTo>
                    <a:pt x="2010" y="1998"/>
                  </a:lnTo>
                  <a:lnTo>
                    <a:pt x="2004" y="2004"/>
                  </a:lnTo>
                  <a:lnTo>
                    <a:pt x="1998" y="2004"/>
                  </a:lnTo>
                  <a:lnTo>
                    <a:pt x="1998" y="2022"/>
                  </a:lnTo>
                  <a:lnTo>
                    <a:pt x="1998" y="2028"/>
                  </a:lnTo>
                  <a:lnTo>
                    <a:pt x="1992" y="2034"/>
                  </a:lnTo>
                  <a:lnTo>
                    <a:pt x="1992" y="2040"/>
                  </a:lnTo>
                  <a:lnTo>
                    <a:pt x="1986" y="2040"/>
                  </a:lnTo>
                  <a:lnTo>
                    <a:pt x="1986" y="2034"/>
                  </a:lnTo>
                  <a:lnTo>
                    <a:pt x="1980" y="2028"/>
                  </a:lnTo>
                  <a:lnTo>
                    <a:pt x="1980" y="2022"/>
                  </a:lnTo>
                  <a:lnTo>
                    <a:pt x="1968" y="2016"/>
                  </a:lnTo>
                  <a:lnTo>
                    <a:pt x="1962" y="2010"/>
                  </a:lnTo>
                  <a:lnTo>
                    <a:pt x="1956" y="2004"/>
                  </a:lnTo>
                  <a:lnTo>
                    <a:pt x="1950" y="1992"/>
                  </a:lnTo>
                  <a:lnTo>
                    <a:pt x="1950" y="1986"/>
                  </a:lnTo>
                  <a:lnTo>
                    <a:pt x="1950" y="1974"/>
                  </a:lnTo>
                  <a:lnTo>
                    <a:pt x="1944" y="1974"/>
                  </a:lnTo>
                  <a:lnTo>
                    <a:pt x="1932" y="1962"/>
                  </a:lnTo>
                  <a:lnTo>
                    <a:pt x="1932" y="1956"/>
                  </a:lnTo>
                  <a:lnTo>
                    <a:pt x="1932" y="1950"/>
                  </a:lnTo>
                  <a:lnTo>
                    <a:pt x="1920" y="1944"/>
                  </a:lnTo>
                  <a:lnTo>
                    <a:pt x="1914" y="1944"/>
                  </a:lnTo>
                  <a:lnTo>
                    <a:pt x="1908" y="1938"/>
                  </a:lnTo>
                  <a:lnTo>
                    <a:pt x="1902" y="1926"/>
                  </a:lnTo>
                  <a:lnTo>
                    <a:pt x="1890" y="1914"/>
                  </a:lnTo>
                  <a:lnTo>
                    <a:pt x="1884" y="1914"/>
                  </a:lnTo>
                  <a:lnTo>
                    <a:pt x="1878" y="1908"/>
                  </a:lnTo>
                  <a:lnTo>
                    <a:pt x="1872" y="1902"/>
                  </a:lnTo>
                  <a:lnTo>
                    <a:pt x="1872" y="1896"/>
                  </a:lnTo>
                  <a:lnTo>
                    <a:pt x="1866" y="1890"/>
                  </a:lnTo>
                  <a:lnTo>
                    <a:pt x="1854" y="1884"/>
                  </a:lnTo>
                  <a:lnTo>
                    <a:pt x="1848" y="1884"/>
                  </a:lnTo>
                  <a:lnTo>
                    <a:pt x="1842" y="1872"/>
                  </a:lnTo>
                  <a:lnTo>
                    <a:pt x="1836" y="1872"/>
                  </a:lnTo>
                  <a:lnTo>
                    <a:pt x="1830" y="1866"/>
                  </a:lnTo>
                  <a:lnTo>
                    <a:pt x="1830" y="1854"/>
                  </a:lnTo>
                  <a:lnTo>
                    <a:pt x="1824" y="1848"/>
                  </a:lnTo>
                  <a:lnTo>
                    <a:pt x="1818" y="1830"/>
                  </a:lnTo>
                  <a:lnTo>
                    <a:pt x="1818" y="1818"/>
                  </a:lnTo>
                  <a:lnTo>
                    <a:pt x="1812" y="1800"/>
                  </a:lnTo>
                  <a:lnTo>
                    <a:pt x="1812" y="1788"/>
                  </a:lnTo>
                  <a:lnTo>
                    <a:pt x="1806" y="1776"/>
                  </a:lnTo>
                  <a:lnTo>
                    <a:pt x="1800" y="1764"/>
                  </a:lnTo>
                  <a:lnTo>
                    <a:pt x="1794" y="1758"/>
                  </a:lnTo>
                  <a:lnTo>
                    <a:pt x="1782" y="1740"/>
                  </a:lnTo>
                  <a:lnTo>
                    <a:pt x="1776" y="1728"/>
                  </a:lnTo>
                  <a:lnTo>
                    <a:pt x="1776" y="1722"/>
                  </a:lnTo>
                  <a:lnTo>
                    <a:pt x="1770" y="1722"/>
                  </a:lnTo>
                  <a:lnTo>
                    <a:pt x="1770" y="1716"/>
                  </a:lnTo>
                  <a:lnTo>
                    <a:pt x="1764" y="1716"/>
                  </a:lnTo>
                  <a:lnTo>
                    <a:pt x="1758" y="1710"/>
                  </a:lnTo>
                  <a:lnTo>
                    <a:pt x="1752" y="1704"/>
                  </a:lnTo>
                  <a:lnTo>
                    <a:pt x="1746" y="1704"/>
                  </a:lnTo>
                  <a:lnTo>
                    <a:pt x="1740" y="1704"/>
                  </a:lnTo>
                  <a:lnTo>
                    <a:pt x="1734" y="1704"/>
                  </a:lnTo>
                  <a:lnTo>
                    <a:pt x="1734" y="1698"/>
                  </a:lnTo>
                  <a:lnTo>
                    <a:pt x="1728" y="1692"/>
                  </a:lnTo>
                  <a:lnTo>
                    <a:pt x="1722" y="1686"/>
                  </a:lnTo>
                  <a:lnTo>
                    <a:pt x="1716" y="1686"/>
                  </a:lnTo>
                  <a:lnTo>
                    <a:pt x="1698" y="1686"/>
                  </a:lnTo>
                  <a:lnTo>
                    <a:pt x="1692" y="1692"/>
                  </a:lnTo>
                  <a:lnTo>
                    <a:pt x="1680" y="1692"/>
                  </a:lnTo>
                  <a:lnTo>
                    <a:pt x="1668" y="1692"/>
                  </a:lnTo>
                  <a:lnTo>
                    <a:pt x="1662" y="1692"/>
                  </a:lnTo>
                  <a:lnTo>
                    <a:pt x="1656" y="1692"/>
                  </a:lnTo>
                  <a:lnTo>
                    <a:pt x="1650" y="1698"/>
                  </a:lnTo>
                  <a:lnTo>
                    <a:pt x="1644" y="1698"/>
                  </a:lnTo>
                  <a:lnTo>
                    <a:pt x="1638" y="1698"/>
                  </a:lnTo>
                  <a:lnTo>
                    <a:pt x="1632" y="1698"/>
                  </a:lnTo>
                  <a:lnTo>
                    <a:pt x="1632" y="1692"/>
                  </a:lnTo>
                  <a:lnTo>
                    <a:pt x="1620" y="1680"/>
                  </a:lnTo>
                  <a:lnTo>
                    <a:pt x="1614" y="1680"/>
                  </a:lnTo>
                  <a:lnTo>
                    <a:pt x="1608" y="1680"/>
                  </a:lnTo>
                  <a:lnTo>
                    <a:pt x="1602" y="1680"/>
                  </a:lnTo>
                  <a:lnTo>
                    <a:pt x="1596" y="1674"/>
                  </a:lnTo>
                  <a:lnTo>
                    <a:pt x="1584" y="1674"/>
                  </a:lnTo>
                  <a:lnTo>
                    <a:pt x="1572" y="1674"/>
                  </a:lnTo>
                  <a:lnTo>
                    <a:pt x="1560" y="1674"/>
                  </a:lnTo>
                  <a:lnTo>
                    <a:pt x="1542" y="1680"/>
                  </a:lnTo>
                  <a:lnTo>
                    <a:pt x="1530" y="1680"/>
                  </a:lnTo>
                  <a:lnTo>
                    <a:pt x="1530" y="1674"/>
                  </a:lnTo>
                  <a:lnTo>
                    <a:pt x="1524" y="1674"/>
                  </a:lnTo>
                  <a:lnTo>
                    <a:pt x="1518" y="1674"/>
                  </a:lnTo>
                  <a:lnTo>
                    <a:pt x="1512" y="1674"/>
                  </a:lnTo>
                  <a:lnTo>
                    <a:pt x="1506" y="1674"/>
                  </a:lnTo>
                  <a:lnTo>
                    <a:pt x="1500" y="1680"/>
                  </a:lnTo>
                  <a:lnTo>
                    <a:pt x="1488" y="1680"/>
                  </a:lnTo>
                  <a:lnTo>
                    <a:pt x="1482" y="1674"/>
                  </a:lnTo>
                  <a:lnTo>
                    <a:pt x="1476" y="1674"/>
                  </a:lnTo>
                  <a:lnTo>
                    <a:pt x="1464" y="1674"/>
                  </a:lnTo>
                  <a:lnTo>
                    <a:pt x="1452" y="1680"/>
                  </a:lnTo>
                  <a:lnTo>
                    <a:pt x="1434" y="1680"/>
                  </a:lnTo>
                  <a:lnTo>
                    <a:pt x="1422" y="1680"/>
                  </a:lnTo>
                  <a:lnTo>
                    <a:pt x="1416" y="1680"/>
                  </a:lnTo>
                  <a:lnTo>
                    <a:pt x="1404" y="1674"/>
                  </a:lnTo>
                  <a:lnTo>
                    <a:pt x="1398" y="1674"/>
                  </a:lnTo>
                  <a:lnTo>
                    <a:pt x="1392" y="1662"/>
                  </a:lnTo>
                  <a:lnTo>
                    <a:pt x="1380" y="1644"/>
                  </a:lnTo>
                  <a:lnTo>
                    <a:pt x="1374" y="1632"/>
                  </a:lnTo>
                  <a:lnTo>
                    <a:pt x="1362" y="1626"/>
                  </a:lnTo>
                  <a:lnTo>
                    <a:pt x="1356" y="1620"/>
                  </a:lnTo>
                  <a:lnTo>
                    <a:pt x="1350" y="1626"/>
                  </a:lnTo>
                  <a:lnTo>
                    <a:pt x="1338" y="1626"/>
                  </a:lnTo>
                  <a:lnTo>
                    <a:pt x="1326" y="1626"/>
                  </a:lnTo>
                  <a:lnTo>
                    <a:pt x="1314" y="1620"/>
                  </a:lnTo>
                  <a:lnTo>
                    <a:pt x="1308" y="1614"/>
                  </a:lnTo>
                  <a:lnTo>
                    <a:pt x="1302" y="1608"/>
                  </a:lnTo>
                  <a:lnTo>
                    <a:pt x="1296" y="1602"/>
                  </a:lnTo>
                  <a:lnTo>
                    <a:pt x="1290" y="1602"/>
                  </a:lnTo>
                  <a:lnTo>
                    <a:pt x="1290" y="1596"/>
                  </a:lnTo>
                  <a:lnTo>
                    <a:pt x="1284" y="1590"/>
                  </a:lnTo>
                  <a:lnTo>
                    <a:pt x="1272" y="1584"/>
                  </a:lnTo>
                  <a:lnTo>
                    <a:pt x="1254" y="1572"/>
                  </a:lnTo>
                  <a:lnTo>
                    <a:pt x="1236" y="1554"/>
                  </a:lnTo>
                  <a:lnTo>
                    <a:pt x="1230" y="1554"/>
                  </a:lnTo>
                  <a:lnTo>
                    <a:pt x="1224" y="1554"/>
                  </a:lnTo>
                  <a:lnTo>
                    <a:pt x="1212" y="1554"/>
                  </a:lnTo>
                  <a:lnTo>
                    <a:pt x="1194" y="1542"/>
                  </a:lnTo>
                  <a:lnTo>
                    <a:pt x="1188" y="1536"/>
                  </a:lnTo>
                  <a:lnTo>
                    <a:pt x="1182" y="1530"/>
                  </a:lnTo>
                  <a:lnTo>
                    <a:pt x="1176" y="1530"/>
                  </a:lnTo>
                  <a:lnTo>
                    <a:pt x="1170" y="1530"/>
                  </a:lnTo>
                  <a:lnTo>
                    <a:pt x="1158" y="1524"/>
                  </a:lnTo>
                  <a:lnTo>
                    <a:pt x="1152" y="1524"/>
                  </a:lnTo>
                  <a:lnTo>
                    <a:pt x="1140" y="1518"/>
                  </a:lnTo>
                  <a:lnTo>
                    <a:pt x="1128" y="1518"/>
                  </a:lnTo>
                  <a:lnTo>
                    <a:pt x="1122" y="1518"/>
                  </a:lnTo>
                  <a:lnTo>
                    <a:pt x="1116" y="1518"/>
                  </a:lnTo>
                  <a:lnTo>
                    <a:pt x="1104" y="1518"/>
                  </a:lnTo>
                  <a:lnTo>
                    <a:pt x="1092" y="1518"/>
                  </a:lnTo>
                  <a:lnTo>
                    <a:pt x="1080" y="1518"/>
                  </a:lnTo>
                  <a:lnTo>
                    <a:pt x="1068" y="1518"/>
                  </a:lnTo>
                  <a:lnTo>
                    <a:pt x="1062" y="1518"/>
                  </a:lnTo>
                  <a:lnTo>
                    <a:pt x="1056" y="1518"/>
                  </a:lnTo>
                  <a:lnTo>
                    <a:pt x="1050" y="1512"/>
                  </a:lnTo>
                  <a:lnTo>
                    <a:pt x="1044" y="1512"/>
                  </a:lnTo>
                  <a:lnTo>
                    <a:pt x="1038" y="1512"/>
                  </a:lnTo>
                  <a:lnTo>
                    <a:pt x="1032" y="1506"/>
                  </a:lnTo>
                  <a:lnTo>
                    <a:pt x="1026" y="1500"/>
                  </a:lnTo>
                  <a:lnTo>
                    <a:pt x="1026" y="1494"/>
                  </a:lnTo>
                  <a:lnTo>
                    <a:pt x="1020" y="1476"/>
                  </a:lnTo>
                  <a:lnTo>
                    <a:pt x="1008" y="1464"/>
                  </a:lnTo>
                  <a:lnTo>
                    <a:pt x="1008" y="1458"/>
                  </a:lnTo>
                  <a:lnTo>
                    <a:pt x="1002" y="1446"/>
                  </a:lnTo>
                  <a:lnTo>
                    <a:pt x="996" y="1446"/>
                  </a:lnTo>
                  <a:lnTo>
                    <a:pt x="990" y="1440"/>
                  </a:lnTo>
                  <a:lnTo>
                    <a:pt x="984" y="1434"/>
                  </a:lnTo>
                  <a:lnTo>
                    <a:pt x="978" y="1434"/>
                  </a:lnTo>
                  <a:lnTo>
                    <a:pt x="972" y="1434"/>
                  </a:lnTo>
                  <a:lnTo>
                    <a:pt x="966" y="1428"/>
                  </a:lnTo>
                  <a:lnTo>
                    <a:pt x="954" y="1422"/>
                  </a:lnTo>
                  <a:lnTo>
                    <a:pt x="942" y="1416"/>
                  </a:lnTo>
                  <a:lnTo>
                    <a:pt x="924" y="1398"/>
                  </a:lnTo>
                  <a:lnTo>
                    <a:pt x="912" y="1386"/>
                  </a:lnTo>
                  <a:lnTo>
                    <a:pt x="900" y="1386"/>
                  </a:lnTo>
                  <a:lnTo>
                    <a:pt x="894" y="1386"/>
                  </a:lnTo>
                  <a:lnTo>
                    <a:pt x="882" y="1392"/>
                  </a:lnTo>
                  <a:lnTo>
                    <a:pt x="876" y="1392"/>
                  </a:lnTo>
                  <a:lnTo>
                    <a:pt x="864" y="1398"/>
                  </a:lnTo>
                  <a:lnTo>
                    <a:pt x="864" y="1404"/>
                  </a:lnTo>
                  <a:lnTo>
                    <a:pt x="858" y="1410"/>
                  </a:lnTo>
                  <a:lnTo>
                    <a:pt x="852" y="1410"/>
                  </a:lnTo>
                  <a:lnTo>
                    <a:pt x="846" y="1410"/>
                  </a:lnTo>
                  <a:lnTo>
                    <a:pt x="834" y="1410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10" y="1428"/>
                  </a:lnTo>
                  <a:lnTo>
                    <a:pt x="798" y="1428"/>
                  </a:lnTo>
                  <a:lnTo>
                    <a:pt x="792" y="1428"/>
                  </a:lnTo>
                  <a:lnTo>
                    <a:pt x="780" y="1434"/>
                  </a:lnTo>
                  <a:lnTo>
                    <a:pt x="774" y="1428"/>
                  </a:lnTo>
                  <a:lnTo>
                    <a:pt x="762" y="1428"/>
                  </a:lnTo>
                  <a:lnTo>
                    <a:pt x="756" y="1422"/>
                  </a:lnTo>
                  <a:lnTo>
                    <a:pt x="750" y="1416"/>
                  </a:lnTo>
                  <a:lnTo>
                    <a:pt x="744" y="1410"/>
                  </a:lnTo>
                  <a:lnTo>
                    <a:pt x="744" y="1398"/>
                  </a:lnTo>
                  <a:lnTo>
                    <a:pt x="744" y="1386"/>
                  </a:lnTo>
                  <a:lnTo>
                    <a:pt x="750" y="1380"/>
                  </a:lnTo>
                  <a:lnTo>
                    <a:pt x="750" y="1374"/>
                  </a:lnTo>
                  <a:lnTo>
                    <a:pt x="750" y="1368"/>
                  </a:lnTo>
                  <a:lnTo>
                    <a:pt x="756" y="1362"/>
                  </a:lnTo>
                  <a:lnTo>
                    <a:pt x="750" y="1350"/>
                  </a:lnTo>
                  <a:lnTo>
                    <a:pt x="744" y="1344"/>
                  </a:lnTo>
                  <a:lnTo>
                    <a:pt x="738" y="1338"/>
                  </a:lnTo>
                  <a:lnTo>
                    <a:pt x="726" y="1338"/>
                  </a:lnTo>
                  <a:lnTo>
                    <a:pt x="720" y="1338"/>
                  </a:lnTo>
                  <a:lnTo>
                    <a:pt x="714" y="1338"/>
                  </a:lnTo>
                  <a:lnTo>
                    <a:pt x="708" y="1332"/>
                  </a:lnTo>
                  <a:lnTo>
                    <a:pt x="702" y="1332"/>
                  </a:lnTo>
                  <a:lnTo>
                    <a:pt x="696" y="1326"/>
                  </a:lnTo>
                  <a:lnTo>
                    <a:pt x="684" y="1326"/>
                  </a:lnTo>
                  <a:lnTo>
                    <a:pt x="678" y="1326"/>
                  </a:lnTo>
                  <a:lnTo>
                    <a:pt x="672" y="1314"/>
                  </a:lnTo>
                  <a:lnTo>
                    <a:pt x="666" y="1308"/>
                  </a:lnTo>
                  <a:lnTo>
                    <a:pt x="654" y="1296"/>
                  </a:lnTo>
                  <a:lnTo>
                    <a:pt x="654" y="1290"/>
                  </a:lnTo>
                  <a:lnTo>
                    <a:pt x="630" y="1284"/>
                  </a:lnTo>
                  <a:lnTo>
                    <a:pt x="630" y="1278"/>
                  </a:lnTo>
                  <a:lnTo>
                    <a:pt x="624" y="1278"/>
                  </a:lnTo>
                  <a:lnTo>
                    <a:pt x="618" y="1266"/>
                  </a:lnTo>
                  <a:lnTo>
                    <a:pt x="612" y="1266"/>
                  </a:lnTo>
                  <a:lnTo>
                    <a:pt x="606" y="1266"/>
                  </a:lnTo>
                  <a:lnTo>
                    <a:pt x="606" y="1260"/>
                  </a:lnTo>
                  <a:lnTo>
                    <a:pt x="594" y="1248"/>
                  </a:lnTo>
                  <a:lnTo>
                    <a:pt x="582" y="1248"/>
                  </a:lnTo>
                  <a:lnTo>
                    <a:pt x="576" y="1242"/>
                  </a:lnTo>
                  <a:lnTo>
                    <a:pt x="570" y="1236"/>
                  </a:lnTo>
                  <a:lnTo>
                    <a:pt x="504" y="1164"/>
                  </a:lnTo>
                  <a:lnTo>
                    <a:pt x="450" y="1110"/>
                  </a:lnTo>
                  <a:lnTo>
                    <a:pt x="426" y="1092"/>
                  </a:lnTo>
                  <a:lnTo>
                    <a:pt x="426" y="1074"/>
                  </a:lnTo>
                  <a:lnTo>
                    <a:pt x="420" y="1062"/>
                  </a:lnTo>
                  <a:lnTo>
                    <a:pt x="396" y="1056"/>
                  </a:lnTo>
                  <a:lnTo>
                    <a:pt x="384" y="1032"/>
                  </a:lnTo>
                  <a:lnTo>
                    <a:pt x="372" y="1020"/>
                  </a:lnTo>
                  <a:lnTo>
                    <a:pt x="360" y="984"/>
                  </a:lnTo>
                  <a:lnTo>
                    <a:pt x="348" y="978"/>
                  </a:lnTo>
                  <a:lnTo>
                    <a:pt x="342" y="972"/>
                  </a:lnTo>
                  <a:lnTo>
                    <a:pt x="348" y="960"/>
                  </a:lnTo>
                  <a:lnTo>
                    <a:pt x="342" y="954"/>
                  </a:lnTo>
                  <a:lnTo>
                    <a:pt x="336" y="954"/>
                  </a:lnTo>
                  <a:lnTo>
                    <a:pt x="330" y="954"/>
                  </a:lnTo>
                  <a:lnTo>
                    <a:pt x="324" y="972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0" y="966"/>
                  </a:lnTo>
                  <a:lnTo>
                    <a:pt x="294" y="966"/>
                  </a:lnTo>
                  <a:lnTo>
                    <a:pt x="288" y="972"/>
                  </a:lnTo>
                  <a:lnTo>
                    <a:pt x="288" y="966"/>
                  </a:lnTo>
                  <a:lnTo>
                    <a:pt x="282" y="948"/>
                  </a:lnTo>
                  <a:lnTo>
                    <a:pt x="282" y="942"/>
                  </a:lnTo>
                  <a:lnTo>
                    <a:pt x="276" y="942"/>
                  </a:lnTo>
                  <a:lnTo>
                    <a:pt x="276" y="936"/>
                  </a:lnTo>
                  <a:lnTo>
                    <a:pt x="270" y="942"/>
                  </a:lnTo>
                  <a:lnTo>
                    <a:pt x="264" y="948"/>
                  </a:lnTo>
                  <a:lnTo>
                    <a:pt x="264" y="942"/>
                  </a:lnTo>
                  <a:lnTo>
                    <a:pt x="258" y="942"/>
                  </a:lnTo>
                  <a:lnTo>
                    <a:pt x="252" y="948"/>
                  </a:lnTo>
                  <a:lnTo>
                    <a:pt x="252" y="942"/>
                  </a:lnTo>
                  <a:lnTo>
                    <a:pt x="246" y="936"/>
                  </a:lnTo>
                  <a:lnTo>
                    <a:pt x="240" y="942"/>
                  </a:lnTo>
                  <a:lnTo>
                    <a:pt x="234" y="936"/>
                  </a:lnTo>
                  <a:lnTo>
                    <a:pt x="228" y="936"/>
                  </a:lnTo>
                  <a:lnTo>
                    <a:pt x="222" y="936"/>
                  </a:lnTo>
                  <a:lnTo>
                    <a:pt x="222" y="930"/>
                  </a:lnTo>
                  <a:lnTo>
                    <a:pt x="222" y="924"/>
                  </a:lnTo>
                  <a:lnTo>
                    <a:pt x="228" y="924"/>
                  </a:lnTo>
                  <a:lnTo>
                    <a:pt x="234" y="924"/>
                  </a:lnTo>
                  <a:lnTo>
                    <a:pt x="240" y="924"/>
                  </a:lnTo>
                  <a:lnTo>
                    <a:pt x="240" y="918"/>
                  </a:lnTo>
                  <a:lnTo>
                    <a:pt x="246" y="918"/>
                  </a:lnTo>
                  <a:lnTo>
                    <a:pt x="246" y="912"/>
                  </a:lnTo>
                  <a:lnTo>
                    <a:pt x="240" y="906"/>
                  </a:lnTo>
                  <a:lnTo>
                    <a:pt x="234" y="906"/>
                  </a:lnTo>
                  <a:lnTo>
                    <a:pt x="228" y="906"/>
                  </a:lnTo>
                  <a:lnTo>
                    <a:pt x="228" y="912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8" y="894"/>
                  </a:lnTo>
                  <a:lnTo>
                    <a:pt x="234" y="894"/>
                  </a:lnTo>
                  <a:lnTo>
                    <a:pt x="228" y="888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198" y="888"/>
                  </a:lnTo>
                  <a:lnTo>
                    <a:pt x="192" y="882"/>
                  </a:lnTo>
                  <a:lnTo>
                    <a:pt x="186" y="882"/>
                  </a:lnTo>
                  <a:lnTo>
                    <a:pt x="186" y="876"/>
                  </a:lnTo>
                  <a:lnTo>
                    <a:pt x="192" y="876"/>
                  </a:lnTo>
                  <a:lnTo>
                    <a:pt x="192" y="870"/>
                  </a:lnTo>
                  <a:lnTo>
                    <a:pt x="198" y="870"/>
                  </a:lnTo>
                  <a:lnTo>
                    <a:pt x="198" y="864"/>
                  </a:lnTo>
                  <a:lnTo>
                    <a:pt x="198" y="858"/>
                  </a:lnTo>
                  <a:lnTo>
                    <a:pt x="180" y="852"/>
                  </a:lnTo>
                  <a:lnTo>
                    <a:pt x="174" y="840"/>
                  </a:lnTo>
                  <a:lnTo>
                    <a:pt x="162" y="846"/>
                  </a:lnTo>
                  <a:lnTo>
                    <a:pt x="156" y="846"/>
                  </a:lnTo>
                  <a:lnTo>
                    <a:pt x="150" y="846"/>
                  </a:lnTo>
                  <a:lnTo>
                    <a:pt x="150" y="840"/>
                  </a:lnTo>
                  <a:lnTo>
                    <a:pt x="138" y="834"/>
                  </a:lnTo>
                  <a:lnTo>
                    <a:pt x="132" y="834"/>
                  </a:lnTo>
                  <a:lnTo>
                    <a:pt x="132" y="840"/>
                  </a:lnTo>
                  <a:lnTo>
                    <a:pt x="126" y="840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58"/>
                  </a:lnTo>
                  <a:lnTo>
                    <a:pt x="120" y="846"/>
                  </a:lnTo>
                  <a:lnTo>
                    <a:pt x="114" y="846"/>
                  </a:lnTo>
                  <a:lnTo>
                    <a:pt x="108" y="840"/>
                  </a:lnTo>
                  <a:lnTo>
                    <a:pt x="102" y="834"/>
                  </a:lnTo>
                  <a:lnTo>
                    <a:pt x="102" y="822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78" y="804"/>
                  </a:lnTo>
                  <a:lnTo>
                    <a:pt x="78" y="798"/>
                  </a:lnTo>
                  <a:lnTo>
                    <a:pt x="78" y="792"/>
                  </a:lnTo>
                  <a:lnTo>
                    <a:pt x="78" y="786"/>
                  </a:lnTo>
                  <a:lnTo>
                    <a:pt x="78" y="780"/>
                  </a:lnTo>
                  <a:lnTo>
                    <a:pt x="72" y="774"/>
                  </a:lnTo>
                  <a:lnTo>
                    <a:pt x="66" y="774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60" y="762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6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2" y="666"/>
                  </a:lnTo>
                  <a:lnTo>
                    <a:pt x="18" y="648"/>
                  </a:lnTo>
                  <a:lnTo>
                    <a:pt x="24" y="636"/>
                  </a:lnTo>
                  <a:lnTo>
                    <a:pt x="30" y="630"/>
                  </a:lnTo>
                  <a:lnTo>
                    <a:pt x="30" y="624"/>
                  </a:lnTo>
                  <a:lnTo>
                    <a:pt x="30" y="612"/>
                  </a:lnTo>
                  <a:lnTo>
                    <a:pt x="30" y="606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66" y="582"/>
                  </a:lnTo>
                  <a:lnTo>
                    <a:pt x="72" y="588"/>
                  </a:lnTo>
                  <a:lnTo>
                    <a:pt x="84" y="594"/>
                  </a:lnTo>
                  <a:lnTo>
                    <a:pt x="90" y="600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14" y="612"/>
                  </a:lnTo>
                  <a:lnTo>
                    <a:pt x="120" y="612"/>
                  </a:lnTo>
                  <a:lnTo>
                    <a:pt x="126" y="618"/>
                  </a:lnTo>
                  <a:lnTo>
                    <a:pt x="138" y="594"/>
                  </a:lnTo>
                  <a:lnTo>
                    <a:pt x="138" y="582"/>
                  </a:lnTo>
                  <a:lnTo>
                    <a:pt x="138" y="570"/>
                  </a:lnTo>
                  <a:lnTo>
                    <a:pt x="138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50" y="528"/>
                  </a:lnTo>
                  <a:lnTo>
                    <a:pt x="156" y="510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62"/>
                  </a:lnTo>
                  <a:lnTo>
                    <a:pt x="168" y="450"/>
                  </a:lnTo>
                  <a:lnTo>
                    <a:pt x="168" y="444"/>
                  </a:lnTo>
                  <a:lnTo>
                    <a:pt x="162" y="432"/>
                  </a:lnTo>
                  <a:lnTo>
                    <a:pt x="162" y="426"/>
                  </a:lnTo>
                  <a:lnTo>
                    <a:pt x="156" y="420"/>
                  </a:lnTo>
                  <a:lnTo>
                    <a:pt x="144" y="414"/>
                  </a:lnTo>
                  <a:lnTo>
                    <a:pt x="132" y="402"/>
                  </a:lnTo>
                  <a:lnTo>
                    <a:pt x="126" y="390"/>
                  </a:lnTo>
                  <a:lnTo>
                    <a:pt x="120" y="384"/>
                  </a:lnTo>
                  <a:lnTo>
                    <a:pt x="120" y="372"/>
                  </a:lnTo>
                  <a:lnTo>
                    <a:pt x="114" y="360"/>
                  </a:lnTo>
                  <a:lnTo>
                    <a:pt x="108" y="360"/>
                  </a:lnTo>
                  <a:lnTo>
                    <a:pt x="108" y="354"/>
                  </a:lnTo>
                  <a:lnTo>
                    <a:pt x="102" y="348"/>
                  </a:lnTo>
                  <a:lnTo>
                    <a:pt x="102" y="342"/>
                  </a:lnTo>
                  <a:lnTo>
                    <a:pt x="108" y="330"/>
                  </a:lnTo>
                  <a:lnTo>
                    <a:pt x="114" y="312"/>
                  </a:lnTo>
                  <a:lnTo>
                    <a:pt x="114" y="300"/>
                  </a:lnTo>
                  <a:lnTo>
                    <a:pt x="120" y="288"/>
                  </a:lnTo>
                  <a:lnTo>
                    <a:pt x="120" y="282"/>
                  </a:lnTo>
                  <a:lnTo>
                    <a:pt x="114" y="270"/>
                  </a:lnTo>
                  <a:lnTo>
                    <a:pt x="114" y="258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84" y="222"/>
                  </a:lnTo>
                  <a:lnTo>
                    <a:pt x="84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84" y="186"/>
                  </a:lnTo>
                  <a:lnTo>
                    <a:pt x="84" y="180"/>
                  </a:lnTo>
                  <a:lnTo>
                    <a:pt x="108" y="174"/>
                  </a:lnTo>
                  <a:lnTo>
                    <a:pt x="132" y="186"/>
                  </a:lnTo>
                  <a:lnTo>
                    <a:pt x="138" y="192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56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74" y="204"/>
                  </a:lnTo>
                  <a:lnTo>
                    <a:pt x="180" y="216"/>
                  </a:lnTo>
                  <a:lnTo>
                    <a:pt x="186" y="228"/>
                  </a:lnTo>
                  <a:lnTo>
                    <a:pt x="192" y="234"/>
                  </a:lnTo>
                  <a:lnTo>
                    <a:pt x="198" y="234"/>
                  </a:lnTo>
                  <a:lnTo>
                    <a:pt x="204" y="240"/>
                  </a:lnTo>
                  <a:lnTo>
                    <a:pt x="210" y="240"/>
                  </a:lnTo>
                  <a:lnTo>
                    <a:pt x="216" y="240"/>
                  </a:lnTo>
                  <a:lnTo>
                    <a:pt x="222" y="240"/>
                  </a:lnTo>
                  <a:lnTo>
                    <a:pt x="228" y="246"/>
                  </a:lnTo>
                  <a:lnTo>
                    <a:pt x="234" y="246"/>
                  </a:lnTo>
                  <a:lnTo>
                    <a:pt x="240" y="246"/>
                  </a:lnTo>
                  <a:lnTo>
                    <a:pt x="252" y="252"/>
                  </a:lnTo>
                  <a:lnTo>
                    <a:pt x="330" y="246"/>
                  </a:lnTo>
                  <a:lnTo>
                    <a:pt x="360" y="228"/>
                  </a:lnTo>
                  <a:lnTo>
                    <a:pt x="396" y="228"/>
                  </a:lnTo>
                  <a:lnTo>
                    <a:pt x="402" y="240"/>
                  </a:lnTo>
                  <a:lnTo>
                    <a:pt x="432" y="240"/>
                  </a:lnTo>
                  <a:lnTo>
                    <a:pt x="450" y="258"/>
                  </a:lnTo>
                  <a:lnTo>
                    <a:pt x="468" y="258"/>
                  </a:lnTo>
                  <a:lnTo>
                    <a:pt x="474" y="294"/>
                  </a:lnTo>
                  <a:lnTo>
                    <a:pt x="558" y="318"/>
                  </a:lnTo>
                  <a:lnTo>
                    <a:pt x="588" y="318"/>
                  </a:lnTo>
                  <a:lnTo>
                    <a:pt x="588" y="312"/>
                  </a:lnTo>
                  <a:lnTo>
                    <a:pt x="594" y="306"/>
                  </a:lnTo>
                  <a:lnTo>
                    <a:pt x="600" y="306"/>
                  </a:lnTo>
                  <a:lnTo>
                    <a:pt x="612" y="300"/>
                  </a:lnTo>
                  <a:lnTo>
                    <a:pt x="618" y="300"/>
                  </a:lnTo>
                  <a:lnTo>
                    <a:pt x="630" y="300"/>
                  </a:lnTo>
                  <a:lnTo>
                    <a:pt x="642" y="306"/>
                  </a:lnTo>
                  <a:lnTo>
                    <a:pt x="660" y="306"/>
                  </a:lnTo>
                  <a:lnTo>
                    <a:pt x="666" y="306"/>
                  </a:lnTo>
                  <a:lnTo>
                    <a:pt x="672" y="306"/>
                  </a:lnTo>
                  <a:lnTo>
                    <a:pt x="684" y="300"/>
                  </a:lnTo>
                  <a:lnTo>
                    <a:pt x="696" y="294"/>
                  </a:lnTo>
                  <a:lnTo>
                    <a:pt x="702" y="288"/>
                  </a:lnTo>
                  <a:lnTo>
                    <a:pt x="714" y="282"/>
                  </a:lnTo>
                  <a:lnTo>
                    <a:pt x="714" y="288"/>
                  </a:lnTo>
                  <a:lnTo>
                    <a:pt x="726" y="300"/>
                  </a:lnTo>
                  <a:lnTo>
                    <a:pt x="732" y="306"/>
                  </a:lnTo>
                  <a:lnTo>
                    <a:pt x="732" y="318"/>
                  </a:lnTo>
                  <a:lnTo>
                    <a:pt x="732" y="330"/>
                  </a:lnTo>
                  <a:lnTo>
                    <a:pt x="726" y="342"/>
                  </a:lnTo>
                  <a:lnTo>
                    <a:pt x="720" y="354"/>
                  </a:lnTo>
                  <a:lnTo>
                    <a:pt x="720" y="360"/>
                  </a:lnTo>
                  <a:lnTo>
                    <a:pt x="714" y="372"/>
                  </a:lnTo>
                  <a:lnTo>
                    <a:pt x="714" y="378"/>
                  </a:lnTo>
                  <a:lnTo>
                    <a:pt x="714" y="408"/>
                  </a:lnTo>
                  <a:lnTo>
                    <a:pt x="708" y="420"/>
                  </a:lnTo>
                  <a:lnTo>
                    <a:pt x="714" y="432"/>
                  </a:lnTo>
                  <a:lnTo>
                    <a:pt x="708" y="450"/>
                  </a:lnTo>
                  <a:lnTo>
                    <a:pt x="708" y="468"/>
                  </a:lnTo>
                  <a:lnTo>
                    <a:pt x="696" y="480"/>
                  </a:lnTo>
                  <a:lnTo>
                    <a:pt x="684" y="486"/>
                  </a:lnTo>
                  <a:lnTo>
                    <a:pt x="672" y="492"/>
                  </a:lnTo>
                  <a:lnTo>
                    <a:pt x="660" y="498"/>
                  </a:lnTo>
                  <a:lnTo>
                    <a:pt x="654" y="510"/>
                  </a:lnTo>
                  <a:lnTo>
                    <a:pt x="648" y="516"/>
                  </a:lnTo>
                  <a:lnTo>
                    <a:pt x="642" y="522"/>
                  </a:lnTo>
                  <a:lnTo>
                    <a:pt x="630" y="522"/>
                  </a:lnTo>
                  <a:lnTo>
                    <a:pt x="624" y="528"/>
                  </a:lnTo>
                  <a:lnTo>
                    <a:pt x="618" y="540"/>
                  </a:lnTo>
                  <a:lnTo>
                    <a:pt x="618" y="558"/>
                  </a:lnTo>
                  <a:lnTo>
                    <a:pt x="612" y="576"/>
                  </a:lnTo>
                  <a:lnTo>
                    <a:pt x="612" y="684"/>
                  </a:lnTo>
                  <a:lnTo>
                    <a:pt x="618" y="696"/>
                  </a:lnTo>
                  <a:lnTo>
                    <a:pt x="636" y="696"/>
                  </a:lnTo>
                  <a:lnTo>
                    <a:pt x="636" y="720"/>
                  </a:lnTo>
                  <a:lnTo>
                    <a:pt x="636" y="732"/>
                  </a:lnTo>
                  <a:lnTo>
                    <a:pt x="618" y="750"/>
                  </a:lnTo>
                  <a:lnTo>
                    <a:pt x="606" y="762"/>
                  </a:lnTo>
                  <a:lnTo>
                    <a:pt x="600" y="774"/>
                  </a:lnTo>
                  <a:lnTo>
                    <a:pt x="594" y="798"/>
                  </a:lnTo>
                  <a:lnTo>
                    <a:pt x="606" y="798"/>
                  </a:lnTo>
                  <a:lnTo>
                    <a:pt x="660" y="792"/>
                  </a:lnTo>
                  <a:lnTo>
                    <a:pt x="696" y="798"/>
                  </a:lnTo>
                  <a:lnTo>
                    <a:pt x="720" y="798"/>
                  </a:lnTo>
                  <a:lnTo>
                    <a:pt x="720" y="786"/>
                  </a:lnTo>
                  <a:lnTo>
                    <a:pt x="720" y="774"/>
                  </a:lnTo>
                  <a:lnTo>
                    <a:pt x="702" y="762"/>
                  </a:lnTo>
                  <a:lnTo>
                    <a:pt x="702" y="750"/>
                  </a:lnTo>
                  <a:lnTo>
                    <a:pt x="702" y="726"/>
                  </a:lnTo>
                  <a:lnTo>
                    <a:pt x="714" y="714"/>
                  </a:lnTo>
                  <a:lnTo>
                    <a:pt x="720" y="702"/>
                  </a:lnTo>
                  <a:lnTo>
                    <a:pt x="720" y="696"/>
                  </a:lnTo>
                  <a:lnTo>
                    <a:pt x="744" y="690"/>
                  </a:lnTo>
                  <a:lnTo>
                    <a:pt x="744" y="696"/>
                  </a:lnTo>
                  <a:lnTo>
                    <a:pt x="756" y="696"/>
                  </a:lnTo>
                  <a:lnTo>
                    <a:pt x="762" y="690"/>
                  </a:lnTo>
                  <a:lnTo>
                    <a:pt x="768" y="690"/>
                  </a:lnTo>
                  <a:lnTo>
                    <a:pt x="774" y="696"/>
                  </a:lnTo>
                  <a:lnTo>
                    <a:pt x="780" y="696"/>
                  </a:lnTo>
                  <a:lnTo>
                    <a:pt x="786" y="696"/>
                  </a:lnTo>
                  <a:lnTo>
                    <a:pt x="804" y="684"/>
                  </a:lnTo>
                  <a:lnTo>
                    <a:pt x="810" y="684"/>
                  </a:lnTo>
                  <a:lnTo>
                    <a:pt x="810" y="654"/>
                  </a:lnTo>
                  <a:lnTo>
                    <a:pt x="816" y="588"/>
                  </a:lnTo>
                  <a:lnTo>
                    <a:pt x="804" y="582"/>
                  </a:lnTo>
                  <a:lnTo>
                    <a:pt x="798" y="552"/>
                  </a:lnTo>
                  <a:lnTo>
                    <a:pt x="798" y="480"/>
                  </a:lnTo>
                  <a:lnTo>
                    <a:pt x="780" y="468"/>
                  </a:lnTo>
                  <a:lnTo>
                    <a:pt x="780" y="462"/>
                  </a:lnTo>
                  <a:lnTo>
                    <a:pt x="774" y="450"/>
                  </a:lnTo>
                  <a:lnTo>
                    <a:pt x="762" y="444"/>
                  </a:lnTo>
                  <a:lnTo>
                    <a:pt x="762" y="438"/>
                  </a:lnTo>
                  <a:lnTo>
                    <a:pt x="768" y="432"/>
                  </a:lnTo>
                  <a:lnTo>
                    <a:pt x="774" y="426"/>
                  </a:lnTo>
                  <a:lnTo>
                    <a:pt x="780" y="426"/>
                  </a:lnTo>
                  <a:lnTo>
                    <a:pt x="780" y="414"/>
                  </a:lnTo>
                  <a:lnTo>
                    <a:pt x="834" y="414"/>
                  </a:lnTo>
                  <a:lnTo>
                    <a:pt x="834" y="426"/>
                  </a:lnTo>
                  <a:lnTo>
                    <a:pt x="840" y="432"/>
                  </a:lnTo>
                  <a:lnTo>
                    <a:pt x="846" y="432"/>
                  </a:lnTo>
                  <a:lnTo>
                    <a:pt x="852" y="432"/>
                  </a:lnTo>
                  <a:lnTo>
                    <a:pt x="858" y="432"/>
                  </a:lnTo>
                  <a:lnTo>
                    <a:pt x="870" y="432"/>
                  </a:lnTo>
                  <a:lnTo>
                    <a:pt x="870" y="426"/>
                  </a:lnTo>
                  <a:lnTo>
                    <a:pt x="870" y="420"/>
                  </a:lnTo>
                  <a:lnTo>
                    <a:pt x="876" y="420"/>
                  </a:lnTo>
                  <a:lnTo>
                    <a:pt x="882" y="420"/>
                  </a:lnTo>
                  <a:lnTo>
                    <a:pt x="894" y="414"/>
                  </a:lnTo>
                  <a:lnTo>
                    <a:pt x="900" y="414"/>
                  </a:lnTo>
                  <a:lnTo>
                    <a:pt x="906" y="408"/>
                  </a:lnTo>
                  <a:lnTo>
                    <a:pt x="918" y="408"/>
                  </a:lnTo>
                  <a:lnTo>
                    <a:pt x="924" y="402"/>
                  </a:lnTo>
                  <a:lnTo>
                    <a:pt x="930" y="384"/>
                  </a:lnTo>
                  <a:lnTo>
                    <a:pt x="948" y="396"/>
                  </a:lnTo>
                  <a:lnTo>
                    <a:pt x="954" y="384"/>
                  </a:lnTo>
                  <a:lnTo>
                    <a:pt x="960" y="384"/>
                  </a:lnTo>
                  <a:lnTo>
                    <a:pt x="972" y="384"/>
                  </a:lnTo>
                  <a:lnTo>
                    <a:pt x="978" y="378"/>
                  </a:lnTo>
                  <a:lnTo>
                    <a:pt x="972" y="366"/>
                  </a:lnTo>
                  <a:lnTo>
                    <a:pt x="966" y="342"/>
                  </a:lnTo>
                  <a:lnTo>
                    <a:pt x="960" y="330"/>
                  </a:lnTo>
                  <a:lnTo>
                    <a:pt x="942" y="324"/>
                  </a:lnTo>
                  <a:lnTo>
                    <a:pt x="936" y="318"/>
                  </a:lnTo>
                  <a:lnTo>
                    <a:pt x="936" y="294"/>
                  </a:lnTo>
                  <a:lnTo>
                    <a:pt x="942" y="294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282"/>
                  </a:lnTo>
                  <a:lnTo>
                    <a:pt x="954" y="276"/>
                  </a:lnTo>
                  <a:lnTo>
                    <a:pt x="960" y="276"/>
                  </a:lnTo>
                  <a:lnTo>
                    <a:pt x="966" y="276"/>
                  </a:lnTo>
                  <a:lnTo>
                    <a:pt x="960" y="258"/>
                  </a:lnTo>
                  <a:lnTo>
                    <a:pt x="954" y="240"/>
                  </a:lnTo>
                  <a:lnTo>
                    <a:pt x="948" y="204"/>
                  </a:lnTo>
                  <a:lnTo>
                    <a:pt x="954" y="204"/>
                  </a:lnTo>
                  <a:lnTo>
                    <a:pt x="960" y="198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00" y="186"/>
                  </a:lnTo>
                  <a:lnTo>
                    <a:pt x="876" y="180"/>
                  </a:lnTo>
                  <a:lnTo>
                    <a:pt x="858" y="180"/>
                  </a:lnTo>
                  <a:lnTo>
                    <a:pt x="852" y="168"/>
                  </a:lnTo>
                  <a:lnTo>
                    <a:pt x="834" y="156"/>
                  </a:lnTo>
                  <a:lnTo>
                    <a:pt x="822" y="156"/>
                  </a:lnTo>
                  <a:lnTo>
                    <a:pt x="804" y="156"/>
                  </a:lnTo>
                  <a:lnTo>
                    <a:pt x="804" y="150"/>
                  </a:lnTo>
                  <a:lnTo>
                    <a:pt x="792" y="144"/>
                  </a:lnTo>
                  <a:lnTo>
                    <a:pt x="762" y="138"/>
                  </a:lnTo>
                  <a:lnTo>
                    <a:pt x="768" y="120"/>
                  </a:lnTo>
                  <a:lnTo>
                    <a:pt x="756" y="120"/>
                  </a:lnTo>
                  <a:lnTo>
                    <a:pt x="744" y="108"/>
                  </a:lnTo>
                  <a:lnTo>
                    <a:pt x="744" y="96"/>
                  </a:lnTo>
                  <a:lnTo>
                    <a:pt x="762" y="84"/>
                  </a:lnTo>
                  <a:lnTo>
                    <a:pt x="768" y="84"/>
                  </a:lnTo>
                  <a:lnTo>
                    <a:pt x="768" y="72"/>
                  </a:lnTo>
                  <a:lnTo>
                    <a:pt x="780" y="66"/>
                  </a:lnTo>
                  <a:lnTo>
                    <a:pt x="798" y="54"/>
                  </a:lnTo>
                  <a:lnTo>
                    <a:pt x="792" y="54"/>
                  </a:lnTo>
                  <a:lnTo>
                    <a:pt x="798" y="36"/>
                  </a:lnTo>
                  <a:lnTo>
                    <a:pt x="804" y="36"/>
                  </a:lnTo>
                  <a:lnTo>
                    <a:pt x="816" y="30"/>
                  </a:lnTo>
                  <a:lnTo>
                    <a:pt x="828" y="30"/>
                  </a:lnTo>
                  <a:lnTo>
                    <a:pt x="846" y="12"/>
                  </a:lnTo>
                  <a:lnTo>
                    <a:pt x="876" y="0"/>
                  </a:lnTo>
                  <a:lnTo>
                    <a:pt x="882" y="6"/>
                  </a:lnTo>
                  <a:lnTo>
                    <a:pt x="900" y="6"/>
                  </a:lnTo>
                  <a:lnTo>
                    <a:pt x="912" y="36"/>
                  </a:lnTo>
                  <a:lnTo>
                    <a:pt x="918" y="42"/>
                  </a:lnTo>
                  <a:lnTo>
                    <a:pt x="924" y="54"/>
                  </a:lnTo>
                  <a:lnTo>
                    <a:pt x="930" y="54"/>
                  </a:lnTo>
                  <a:lnTo>
                    <a:pt x="930" y="78"/>
                  </a:lnTo>
                  <a:lnTo>
                    <a:pt x="954" y="72"/>
                  </a:lnTo>
                  <a:lnTo>
                    <a:pt x="954" y="60"/>
                  </a:lnTo>
                  <a:lnTo>
                    <a:pt x="966" y="66"/>
                  </a:lnTo>
                  <a:lnTo>
                    <a:pt x="966" y="78"/>
                  </a:lnTo>
                  <a:lnTo>
                    <a:pt x="960" y="84"/>
                  </a:lnTo>
                  <a:lnTo>
                    <a:pt x="954" y="102"/>
                  </a:lnTo>
                  <a:lnTo>
                    <a:pt x="972" y="102"/>
                  </a:lnTo>
                  <a:lnTo>
                    <a:pt x="978" y="84"/>
                  </a:lnTo>
                  <a:lnTo>
                    <a:pt x="984" y="72"/>
                  </a:lnTo>
                  <a:lnTo>
                    <a:pt x="990" y="72"/>
                  </a:lnTo>
                  <a:lnTo>
                    <a:pt x="996" y="18"/>
                  </a:lnTo>
                  <a:lnTo>
                    <a:pt x="990" y="12"/>
                  </a:lnTo>
                  <a:lnTo>
                    <a:pt x="1014" y="12"/>
                  </a:lnTo>
                  <a:lnTo>
                    <a:pt x="1026" y="12"/>
                  </a:lnTo>
                  <a:lnTo>
                    <a:pt x="1026" y="24"/>
                  </a:lnTo>
                  <a:lnTo>
                    <a:pt x="1050" y="24"/>
                  </a:lnTo>
                  <a:lnTo>
                    <a:pt x="1050" y="36"/>
                  </a:lnTo>
                  <a:lnTo>
                    <a:pt x="1062" y="66"/>
                  </a:lnTo>
                  <a:lnTo>
                    <a:pt x="1074" y="66"/>
                  </a:lnTo>
                  <a:lnTo>
                    <a:pt x="1080" y="60"/>
                  </a:lnTo>
                  <a:lnTo>
                    <a:pt x="1074" y="24"/>
                  </a:lnTo>
                  <a:lnTo>
                    <a:pt x="1086" y="18"/>
                  </a:lnTo>
                  <a:lnTo>
                    <a:pt x="1086" y="12"/>
                  </a:lnTo>
                  <a:lnTo>
                    <a:pt x="1104" y="6"/>
                  </a:lnTo>
                  <a:lnTo>
                    <a:pt x="1122" y="0"/>
                  </a:lnTo>
                  <a:lnTo>
                    <a:pt x="1134" y="6"/>
                  </a:lnTo>
                  <a:lnTo>
                    <a:pt x="1134" y="42"/>
                  </a:lnTo>
                  <a:lnTo>
                    <a:pt x="1140" y="72"/>
                  </a:lnTo>
                  <a:lnTo>
                    <a:pt x="1158" y="114"/>
                  </a:lnTo>
                  <a:lnTo>
                    <a:pt x="1170" y="114"/>
                  </a:lnTo>
                  <a:lnTo>
                    <a:pt x="1170" y="126"/>
                  </a:lnTo>
                  <a:lnTo>
                    <a:pt x="1182" y="126"/>
                  </a:lnTo>
                  <a:lnTo>
                    <a:pt x="1182" y="138"/>
                  </a:lnTo>
                  <a:lnTo>
                    <a:pt x="1194" y="144"/>
                  </a:lnTo>
                  <a:lnTo>
                    <a:pt x="1194" y="156"/>
                  </a:lnTo>
                  <a:lnTo>
                    <a:pt x="1188" y="156"/>
                  </a:lnTo>
                  <a:lnTo>
                    <a:pt x="1194" y="162"/>
                  </a:lnTo>
                  <a:lnTo>
                    <a:pt x="1194" y="168"/>
                  </a:lnTo>
                  <a:lnTo>
                    <a:pt x="1188" y="168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82" y="180"/>
                  </a:lnTo>
                  <a:lnTo>
                    <a:pt x="1188" y="186"/>
                  </a:lnTo>
                  <a:lnTo>
                    <a:pt x="1188" y="192"/>
                  </a:lnTo>
                  <a:lnTo>
                    <a:pt x="1182" y="198"/>
                  </a:lnTo>
                  <a:lnTo>
                    <a:pt x="1182" y="204"/>
                  </a:lnTo>
                  <a:lnTo>
                    <a:pt x="1182" y="210"/>
                  </a:lnTo>
                  <a:lnTo>
                    <a:pt x="1188" y="210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2"/>
                  </a:lnTo>
                  <a:lnTo>
                    <a:pt x="1194" y="264"/>
                  </a:lnTo>
                  <a:lnTo>
                    <a:pt x="1200" y="264"/>
                  </a:lnTo>
                  <a:lnTo>
                    <a:pt x="1212" y="264"/>
                  </a:lnTo>
                  <a:lnTo>
                    <a:pt x="1212" y="258"/>
                  </a:lnTo>
                  <a:lnTo>
                    <a:pt x="1224" y="258"/>
                  </a:lnTo>
                  <a:lnTo>
                    <a:pt x="1248" y="252"/>
                  </a:lnTo>
                  <a:lnTo>
                    <a:pt x="1248" y="264"/>
                  </a:lnTo>
                  <a:lnTo>
                    <a:pt x="1254" y="264"/>
                  </a:lnTo>
                  <a:lnTo>
                    <a:pt x="1254" y="270"/>
                  </a:lnTo>
                  <a:lnTo>
                    <a:pt x="1260" y="270"/>
                  </a:lnTo>
                  <a:lnTo>
                    <a:pt x="1266" y="270"/>
                  </a:lnTo>
                  <a:lnTo>
                    <a:pt x="1272" y="270"/>
                  </a:lnTo>
                  <a:lnTo>
                    <a:pt x="1272" y="264"/>
                  </a:lnTo>
                  <a:lnTo>
                    <a:pt x="1272" y="258"/>
                  </a:lnTo>
                  <a:lnTo>
                    <a:pt x="1278" y="258"/>
                  </a:lnTo>
                  <a:lnTo>
                    <a:pt x="1278" y="252"/>
                  </a:lnTo>
                  <a:lnTo>
                    <a:pt x="1290" y="252"/>
                  </a:lnTo>
                  <a:lnTo>
                    <a:pt x="1296" y="246"/>
                  </a:lnTo>
                  <a:lnTo>
                    <a:pt x="1308" y="246"/>
                  </a:lnTo>
                  <a:lnTo>
                    <a:pt x="1308" y="240"/>
                  </a:lnTo>
                  <a:lnTo>
                    <a:pt x="1320" y="240"/>
                  </a:lnTo>
                  <a:lnTo>
                    <a:pt x="1326" y="246"/>
                  </a:lnTo>
                  <a:lnTo>
                    <a:pt x="1338" y="246"/>
                  </a:lnTo>
                  <a:lnTo>
                    <a:pt x="1338" y="240"/>
                  </a:lnTo>
                  <a:lnTo>
                    <a:pt x="1350" y="240"/>
                  </a:lnTo>
                  <a:lnTo>
                    <a:pt x="1386" y="234"/>
                  </a:lnTo>
                  <a:lnTo>
                    <a:pt x="1398" y="228"/>
                  </a:lnTo>
                  <a:lnTo>
                    <a:pt x="1404" y="216"/>
                  </a:lnTo>
                  <a:lnTo>
                    <a:pt x="1416" y="204"/>
                  </a:lnTo>
                  <a:lnTo>
                    <a:pt x="1434" y="192"/>
                  </a:lnTo>
                  <a:lnTo>
                    <a:pt x="1446" y="198"/>
                  </a:lnTo>
                  <a:lnTo>
                    <a:pt x="1446" y="204"/>
                  </a:lnTo>
                  <a:lnTo>
                    <a:pt x="1452" y="210"/>
                  </a:lnTo>
                  <a:lnTo>
                    <a:pt x="1464" y="222"/>
                  </a:lnTo>
                  <a:lnTo>
                    <a:pt x="1464" y="228"/>
                  </a:lnTo>
                  <a:lnTo>
                    <a:pt x="1464" y="234"/>
                  </a:lnTo>
                  <a:lnTo>
                    <a:pt x="1470" y="240"/>
                  </a:lnTo>
                  <a:lnTo>
                    <a:pt x="1476" y="228"/>
                  </a:lnTo>
                  <a:lnTo>
                    <a:pt x="1476" y="222"/>
                  </a:lnTo>
                  <a:lnTo>
                    <a:pt x="1482" y="210"/>
                  </a:lnTo>
                  <a:lnTo>
                    <a:pt x="1488" y="192"/>
                  </a:lnTo>
                  <a:lnTo>
                    <a:pt x="1488" y="186"/>
                  </a:lnTo>
                  <a:lnTo>
                    <a:pt x="1488" y="180"/>
                  </a:lnTo>
                  <a:lnTo>
                    <a:pt x="1500" y="180"/>
                  </a:lnTo>
                  <a:lnTo>
                    <a:pt x="1500" y="174"/>
                  </a:lnTo>
                  <a:lnTo>
                    <a:pt x="1518" y="162"/>
                  </a:lnTo>
                  <a:lnTo>
                    <a:pt x="1536" y="150"/>
                  </a:lnTo>
                  <a:lnTo>
                    <a:pt x="1554" y="168"/>
                  </a:lnTo>
                  <a:lnTo>
                    <a:pt x="1572" y="180"/>
                  </a:lnTo>
                  <a:lnTo>
                    <a:pt x="1596" y="216"/>
                  </a:lnTo>
                  <a:lnTo>
                    <a:pt x="1602" y="216"/>
                  </a:lnTo>
                  <a:lnTo>
                    <a:pt x="1614" y="228"/>
                  </a:lnTo>
                  <a:lnTo>
                    <a:pt x="1614" y="234"/>
                  </a:lnTo>
                  <a:lnTo>
                    <a:pt x="1620" y="240"/>
                  </a:lnTo>
                  <a:lnTo>
                    <a:pt x="1620" y="246"/>
                  </a:lnTo>
                  <a:lnTo>
                    <a:pt x="1626" y="252"/>
                  </a:lnTo>
                  <a:lnTo>
                    <a:pt x="1632" y="258"/>
                  </a:lnTo>
                  <a:lnTo>
                    <a:pt x="1632" y="264"/>
                  </a:lnTo>
                  <a:lnTo>
                    <a:pt x="1638" y="264"/>
                  </a:lnTo>
                  <a:lnTo>
                    <a:pt x="1638" y="270"/>
                  </a:lnTo>
                  <a:lnTo>
                    <a:pt x="1638" y="276"/>
                  </a:lnTo>
                  <a:lnTo>
                    <a:pt x="1638" y="282"/>
                  </a:lnTo>
                  <a:lnTo>
                    <a:pt x="1644" y="288"/>
                  </a:lnTo>
                  <a:lnTo>
                    <a:pt x="1644" y="294"/>
                  </a:lnTo>
                  <a:lnTo>
                    <a:pt x="1644" y="300"/>
                  </a:lnTo>
                  <a:lnTo>
                    <a:pt x="1644" y="306"/>
                  </a:lnTo>
                  <a:lnTo>
                    <a:pt x="1650" y="306"/>
                  </a:lnTo>
                  <a:lnTo>
                    <a:pt x="1650" y="312"/>
                  </a:lnTo>
                  <a:lnTo>
                    <a:pt x="1650" y="318"/>
                  </a:lnTo>
                  <a:lnTo>
                    <a:pt x="1650" y="324"/>
                  </a:lnTo>
                  <a:lnTo>
                    <a:pt x="1644" y="330"/>
                  </a:lnTo>
                  <a:lnTo>
                    <a:pt x="1626" y="330"/>
                  </a:lnTo>
                  <a:lnTo>
                    <a:pt x="1626" y="336"/>
                  </a:lnTo>
                  <a:lnTo>
                    <a:pt x="1626" y="342"/>
                  </a:lnTo>
                  <a:lnTo>
                    <a:pt x="1626" y="348"/>
                  </a:lnTo>
                  <a:lnTo>
                    <a:pt x="1620" y="354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14" y="390"/>
                  </a:lnTo>
                  <a:lnTo>
                    <a:pt x="1614" y="396"/>
                  </a:lnTo>
                  <a:lnTo>
                    <a:pt x="1614" y="402"/>
                  </a:lnTo>
                  <a:lnTo>
                    <a:pt x="1614" y="408"/>
                  </a:lnTo>
                  <a:lnTo>
                    <a:pt x="1614" y="414"/>
                  </a:lnTo>
                  <a:lnTo>
                    <a:pt x="1602" y="420"/>
                  </a:lnTo>
                  <a:lnTo>
                    <a:pt x="1602" y="426"/>
                  </a:lnTo>
                  <a:lnTo>
                    <a:pt x="1608" y="432"/>
                  </a:lnTo>
                  <a:lnTo>
                    <a:pt x="1614" y="426"/>
                  </a:lnTo>
                  <a:lnTo>
                    <a:pt x="1620" y="438"/>
                  </a:lnTo>
                  <a:lnTo>
                    <a:pt x="1626" y="438"/>
                  </a:lnTo>
                  <a:lnTo>
                    <a:pt x="1632" y="444"/>
                  </a:lnTo>
                  <a:lnTo>
                    <a:pt x="1626" y="456"/>
                  </a:lnTo>
                  <a:lnTo>
                    <a:pt x="1626" y="468"/>
                  </a:lnTo>
                  <a:lnTo>
                    <a:pt x="1620" y="474"/>
                  </a:lnTo>
                  <a:lnTo>
                    <a:pt x="1614" y="474"/>
                  </a:lnTo>
                  <a:lnTo>
                    <a:pt x="1614" y="486"/>
                  </a:lnTo>
                  <a:lnTo>
                    <a:pt x="1614" y="492"/>
                  </a:lnTo>
                  <a:lnTo>
                    <a:pt x="1620" y="492"/>
                  </a:lnTo>
                  <a:lnTo>
                    <a:pt x="1626" y="498"/>
                  </a:lnTo>
                  <a:lnTo>
                    <a:pt x="1626" y="504"/>
                  </a:lnTo>
                  <a:lnTo>
                    <a:pt x="1626" y="510"/>
                  </a:lnTo>
                  <a:lnTo>
                    <a:pt x="1620" y="516"/>
                  </a:lnTo>
                  <a:lnTo>
                    <a:pt x="1620" y="522"/>
                  </a:lnTo>
                  <a:lnTo>
                    <a:pt x="1614" y="522"/>
                  </a:lnTo>
                  <a:lnTo>
                    <a:pt x="1608" y="528"/>
                  </a:lnTo>
                  <a:lnTo>
                    <a:pt x="1602" y="522"/>
                  </a:lnTo>
                  <a:lnTo>
                    <a:pt x="1602" y="528"/>
                  </a:lnTo>
                  <a:lnTo>
                    <a:pt x="1602" y="540"/>
                  </a:lnTo>
                  <a:lnTo>
                    <a:pt x="1602" y="558"/>
                  </a:lnTo>
                  <a:lnTo>
                    <a:pt x="1602" y="564"/>
                  </a:lnTo>
                  <a:lnTo>
                    <a:pt x="1602" y="570"/>
                  </a:lnTo>
                  <a:lnTo>
                    <a:pt x="1602" y="576"/>
                  </a:lnTo>
                  <a:lnTo>
                    <a:pt x="1596" y="576"/>
                  </a:lnTo>
                  <a:lnTo>
                    <a:pt x="1632" y="582"/>
                  </a:lnTo>
                  <a:lnTo>
                    <a:pt x="1644" y="618"/>
                  </a:lnTo>
                  <a:lnTo>
                    <a:pt x="1650" y="648"/>
                  </a:lnTo>
                  <a:lnTo>
                    <a:pt x="1662" y="636"/>
                  </a:lnTo>
                  <a:lnTo>
                    <a:pt x="1668" y="636"/>
                  </a:lnTo>
                  <a:lnTo>
                    <a:pt x="1674" y="636"/>
                  </a:lnTo>
                  <a:lnTo>
                    <a:pt x="1680" y="630"/>
                  </a:lnTo>
                  <a:lnTo>
                    <a:pt x="1686" y="630"/>
                  </a:lnTo>
                  <a:lnTo>
                    <a:pt x="1692" y="630"/>
                  </a:lnTo>
                  <a:lnTo>
                    <a:pt x="1698" y="630"/>
                  </a:lnTo>
                  <a:lnTo>
                    <a:pt x="1704" y="630"/>
                  </a:lnTo>
                  <a:lnTo>
                    <a:pt x="1704" y="624"/>
                  </a:lnTo>
                  <a:lnTo>
                    <a:pt x="1710" y="624"/>
                  </a:lnTo>
                  <a:lnTo>
                    <a:pt x="1716" y="624"/>
                  </a:lnTo>
                  <a:lnTo>
                    <a:pt x="1722" y="624"/>
                  </a:lnTo>
                  <a:lnTo>
                    <a:pt x="1728" y="624"/>
                  </a:lnTo>
                  <a:lnTo>
                    <a:pt x="1722" y="618"/>
                  </a:lnTo>
                  <a:lnTo>
                    <a:pt x="1728" y="606"/>
                  </a:lnTo>
                  <a:lnTo>
                    <a:pt x="1734" y="606"/>
                  </a:lnTo>
                  <a:lnTo>
                    <a:pt x="1740" y="600"/>
                  </a:lnTo>
                  <a:lnTo>
                    <a:pt x="1746" y="594"/>
                  </a:lnTo>
                  <a:lnTo>
                    <a:pt x="1752" y="588"/>
                  </a:lnTo>
                  <a:lnTo>
                    <a:pt x="1752" y="582"/>
                  </a:lnTo>
                  <a:lnTo>
                    <a:pt x="1758" y="576"/>
                  </a:lnTo>
                  <a:lnTo>
                    <a:pt x="1764" y="576"/>
                  </a:lnTo>
                  <a:lnTo>
                    <a:pt x="1770" y="570"/>
                  </a:lnTo>
                  <a:lnTo>
                    <a:pt x="1776" y="564"/>
                  </a:lnTo>
                  <a:lnTo>
                    <a:pt x="1788" y="558"/>
                  </a:lnTo>
                  <a:lnTo>
                    <a:pt x="1788" y="546"/>
                  </a:lnTo>
                  <a:lnTo>
                    <a:pt x="1788" y="540"/>
                  </a:lnTo>
                  <a:lnTo>
                    <a:pt x="1794" y="540"/>
                  </a:lnTo>
                  <a:lnTo>
                    <a:pt x="1788" y="534"/>
                  </a:lnTo>
                  <a:lnTo>
                    <a:pt x="1788" y="528"/>
                  </a:lnTo>
                  <a:lnTo>
                    <a:pt x="1794" y="516"/>
                  </a:lnTo>
                  <a:lnTo>
                    <a:pt x="1800" y="510"/>
                  </a:lnTo>
                  <a:lnTo>
                    <a:pt x="1812" y="510"/>
                  </a:lnTo>
                  <a:lnTo>
                    <a:pt x="1818" y="504"/>
                  </a:lnTo>
                  <a:lnTo>
                    <a:pt x="1824" y="504"/>
                  </a:lnTo>
                  <a:lnTo>
                    <a:pt x="1830" y="498"/>
                  </a:lnTo>
                  <a:lnTo>
                    <a:pt x="1836" y="498"/>
                  </a:lnTo>
                  <a:lnTo>
                    <a:pt x="1848" y="492"/>
                  </a:lnTo>
                  <a:lnTo>
                    <a:pt x="1848" y="480"/>
                  </a:lnTo>
                  <a:lnTo>
                    <a:pt x="1854" y="480"/>
                  </a:lnTo>
                  <a:lnTo>
                    <a:pt x="1890" y="504"/>
                  </a:lnTo>
                  <a:lnTo>
                    <a:pt x="1908" y="534"/>
                  </a:lnTo>
                  <a:lnTo>
                    <a:pt x="1902" y="534"/>
                  </a:lnTo>
                  <a:lnTo>
                    <a:pt x="1920" y="528"/>
                  </a:lnTo>
                  <a:lnTo>
                    <a:pt x="1920" y="516"/>
                  </a:lnTo>
                  <a:lnTo>
                    <a:pt x="1944" y="516"/>
                  </a:lnTo>
                  <a:lnTo>
                    <a:pt x="2004" y="516"/>
                  </a:lnTo>
                  <a:lnTo>
                    <a:pt x="2010" y="510"/>
                  </a:lnTo>
                  <a:lnTo>
                    <a:pt x="2004" y="510"/>
                  </a:lnTo>
                  <a:lnTo>
                    <a:pt x="2010" y="498"/>
                  </a:lnTo>
                  <a:lnTo>
                    <a:pt x="2004" y="486"/>
                  </a:lnTo>
                  <a:lnTo>
                    <a:pt x="2004" y="480"/>
                  </a:lnTo>
                  <a:lnTo>
                    <a:pt x="2004" y="474"/>
                  </a:lnTo>
                  <a:lnTo>
                    <a:pt x="2004" y="462"/>
                  </a:lnTo>
                  <a:lnTo>
                    <a:pt x="2004" y="456"/>
                  </a:lnTo>
                  <a:lnTo>
                    <a:pt x="2058" y="462"/>
                  </a:lnTo>
                  <a:lnTo>
                    <a:pt x="2076" y="474"/>
                  </a:lnTo>
                  <a:lnTo>
                    <a:pt x="2082" y="522"/>
                  </a:lnTo>
                  <a:lnTo>
                    <a:pt x="2088" y="516"/>
                  </a:lnTo>
                  <a:lnTo>
                    <a:pt x="2094" y="522"/>
                  </a:lnTo>
                  <a:lnTo>
                    <a:pt x="2100" y="528"/>
                  </a:lnTo>
                  <a:lnTo>
                    <a:pt x="2130" y="540"/>
                  </a:lnTo>
                  <a:lnTo>
                    <a:pt x="2160" y="564"/>
                  </a:lnTo>
                  <a:lnTo>
                    <a:pt x="2166" y="600"/>
                  </a:lnTo>
                  <a:lnTo>
                    <a:pt x="2160" y="618"/>
                  </a:lnTo>
                  <a:lnTo>
                    <a:pt x="2142" y="636"/>
                  </a:lnTo>
                  <a:lnTo>
                    <a:pt x="2148" y="648"/>
                  </a:lnTo>
                  <a:lnTo>
                    <a:pt x="2154" y="660"/>
                  </a:lnTo>
                  <a:lnTo>
                    <a:pt x="2196" y="654"/>
                  </a:lnTo>
                  <a:lnTo>
                    <a:pt x="2214" y="660"/>
                  </a:lnTo>
                  <a:lnTo>
                    <a:pt x="2214" y="666"/>
                  </a:lnTo>
                  <a:lnTo>
                    <a:pt x="2220" y="672"/>
                  </a:lnTo>
                  <a:lnTo>
                    <a:pt x="2214" y="678"/>
                  </a:lnTo>
                  <a:lnTo>
                    <a:pt x="2214" y="684"/>
                  </a:lnTo>
                  <a:lnTo>
                    <a:pt x="2214" y="690"/>
                  </a:lnTo>
                  <a:lnTo>
                    <a:pt x="2208" y="690"/>
                  </a:lnTo>
                  <a:lnTo>
                    <a:pt x="2202" y="696"/>
                  </a:lnTo>
                  <a:lnTo>
                    <a:pt x="2196" y="702"/>
                  </a:lnTo>
                  <a:lnTo>
                    <a:pt x="2190" y="708"/>
                  </a:lnTo>
                  <a:lnTo>
                    <a:pt x="2190" y="720"/>
                  </a:lnTo>
                  <a:lnTo>
                    <a:pt x="2184" y="720"/>
                  </a:lnTo>
                  <a:lnTo>
                    <a:pt x="2178" y="726"/>
                  </a:lnTo>
                  <a:lnTo>
                    <a:pt x="2166" y="732"/>
                  </a:lnTo>
                  <a:lnTo>
                    <a:pt x="2160" y="744"/>
                  </a:lnTo>
                  <a:lnTo>
                    <a:pt x="2154" y="756"/>
                  </a:lnTo>
                  <a:lnTo>
                    <a:pt x="2148" y="762"/>
                  </a:lnTo>
                  <a:lnTo>
                    <a:pt x="2124" y="762"/>
                  </a:lnTo>
                  <a:lnTo>
                    <a:pt x="2124" y="768"/>
                  </a:lnTo>
                  <a:lnTo>
                    <a:pt x="2118" y="768"/>
                  </a:lnTo>
                  <a:lnTo>
                    <a:pt x="2124" y="774"/>
                  </a:lnTo>
                  <a:lnTo>
                    <a:pt x="2118" y="774"/>
                  </a:lnTo>
                  <a:lnTo>
                    <a:pt x="2112" y="774"/>
                  </a:lnTo>
                  <a:lnTo>
                    <a:pt x="2106" y="780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06" y="798"/>
                  </a:lnTo>
                  <a:lnTo>
                    <a:pt x="2106" y="810"/>
                  </a:lnTo>
                  <a:lnTo>
                    <a:pt x="2112" y="828"/>
                  </a:lnTo>
                  <a:lnTo>
                    <a:pt x="2112" y="834"/>
                  </a:lnTo>
                  <a:lnTo>
                    <a:pt x="2112" y="840"/>
                  </a:lnTo>
                  <a:lnTo>
                    <a:pt x="2112" y="834"/>
                  </a:lnTo>
                  <a:lnTo>
                    <a:pt x="2124" y="834"/>
                  </a:lnTo>
                  <a:lnTo>
                    <a:pt x="2130" y="834"/>
                  </a:lnTo>
                  <a:lnTo>
                    <a:pt x="2136" y="840"/>
                  </a:lnTo>
                  <a:lnTo>
                    <a:pt x="2142" y="840"/>
                  </a:lnTo>
                  <a:lnTo>
                    <a:pt x="2154" y="852"/>
                  </a:lnTo>
                  <a:lnTo>
                    <a:pt x="2160" y="852"/>
                  </a:lnTo>
                  <a:lnTo>
                    <a:pt x="2172" y="846"/>
                  </a:lnTo>
                  <a:lnTo>
                    <a:pt x="2178" y="846"/>
                  </a:lnTo>
                  <a:lnTo>
                    <a:pt x="2184" y="846"/>
                  </a:lnTo>
                  <a:lnTo>
                    <a:pt x="2190" y="846"/>
                  </a:lnTo>
                  <a:lnTo>
                    <a:pt x="2196" y="852"/>
                  </a:lnTo>
                  <a:lnTo>
                    <a:pt x="2196" y="858"/>
                  </a:lnTo>
                  <a:lnTo>
                    <a:pt x="2202" y="852"/>
                  </a:lnTo>
                  <a:lnTo>
                    <a:pt x="2208" y="846"/>
                  </a:lnTo>
                  <a:lnTo>
                    <a:pt x="2214" y="846"/>
                  </a:lnTo>
                  <a:lnTo>
                    <a:pt x="2226" y="846"/>
                  </a:lnTo>
                  <a:lnTo>
                    <a:pt x="2232" y="852"/>
                  </a:lnTo>
                  <a:lnTo>
                    <a:pt x="2238" y="852"/>
                  </a:lnTo>
                  <a:lnTo>
                    <a:pt x="2244" y="858"/>
                  </a:lnTo>
                  <a:lnTo>
                    <a:pt x="2250" y="858"/>
                  </a:lnTo>
                  <a:lnTo>
                    <a:pt x="2256" y="858"/>
                  </a:lnTo>
                  <a:lnTo>
                    <a:pt x="2262" y="858"/>
                  </a:lnTo>
                  <a:lnTo>
                    <a:pt x="2268" y="852"/>
                  </a:lnTo>
                  <a:lnTo>
                    <a:pt x="2274" y="852"/>
                  </a:lnTo>
                  <a:lnTo>
                    <a:pt x="2280" y="852"/>
                  </a:lnTo>
                  <a:lnTo>
                    <a:pt x="2286" y="852"/>
                  </a:lnTo>
                  <a:lnTo>
                    <a:pt x="2298" y="858"/>
                  </a:lnTo>
                  <a:lnTo>
                    <a:pt x="2304" y="858"/>
                  </a:lnTo>
                  <a:lnTo>
                    <a:pt x="2310" y="858"/>
                  </a:lnTo>
                  <a:lnTo>
                    <a:pt x="2316" y="852"/>
                  </a:lnTo>
                  <a:lnTo>
                    <a:pt x="2322" y="858"/>
                  </a:lnTo>
                  <a:lnTo>
                    <a:pt x="2328" y="858"/>
                  </a:lnTo>
                  <a:lnTo>
                    <a:pt x="2328" y="852"/>
                  </a:lnTo>
                  <a:lnTo>
                    <a:pt x="2364" y="858"/>
                  </a:lnTo>
                  <a:lnTo>
                    <a:pt x="2376" y="876"/>
                  </a:lnTo>
                  <a:lnTo>
                    <a:pt x="2382" y="936"/>
                  </a:lnTo>
                  <a:lnTo>
                    <a:pt x="2388" y="966"/>
                  </a:lnTo>
                  <a:lnTo>
                    <a:pt x="2382" y="972"/>
                  </a:lnTo>
                  <a:lnTo>
                    <a:pt x="2382" y="978"/>
                  </a:lnTo>
                  <a:lnTo>
                    <a:pt x="2382" y="984"/>
                  </a:lnTo>
                  <a:lnTo>
                    <a:pt x="2388" y="990"/>
                  </a:lnTo>
                  <a:lnTo>
                    <a:pt x="2382" y="990"/>
                  </a:lnTo>
                  <a:lnTo>
                    <a:pt x="2382" y="996"/>
                  </a:lnTo>
                  <a:lnTo>
                    <a:pt x="2376" y="996"/>
                  </a:lnTo>
                  <a:lnTo>
                    <a:pt x="2376" y="1020"/>
                  </a:lnTo>
                  <a:lnTo>
                    <a:pt x="2370" y="1032"/>
                  </a:lnTo>
                  <a:lnTo>
                    <a:pt x="2352" y="1032"/>
                  </a:lnTo>
                  <a:lnTo>
                    <a:pt x="2346" y="1020"/>
                  </a:lnTo>
                  <a:lnTo>
                    <a:pt x="2328" y="1032"/>
                  </a:lnTo>
                  <a:lnTo>
                    <a:pt x="2316" y="1038"/>
                  </a:lnTo>
                  <a:lnTo>
                    <a:pt x="2328" y="1044"/>
                  </a:lnTo>
                  <a:lnTo>
                    <a:pt x="2340" y="1056"/>
                  </a:lnTo>
                  <a:lnTo>
                    <a:pt x="2376" y="1062"/>
                  </a:lnTo>
                  <a:lnTo>
                    <a:pt x="2376" y="1068"/>
                  </a:lnTo>
                  <a:lnTo>
                    <a:pt x="2382" y="1086"/>
                  </a:lnTo>
                  <a:lnTo>
                    <a:pt x="2376" y="1086"/>
                  </a:lnTo>
                  <a:lnTo>
                    <a:pt x="2370" y="1086"/>
                  </a:lnTo>
                  <a:lnTo>
                    <a:pt x="2364" y="1086"/>
                  </a:lnTo>
                  <a:lnTo>
                    <a:pt x="2364" y="1098"/>
                  </a:lnTo>
                  <a:lnTo>
                    <a:pt x="2388" y="1104"/>
                  </a:lnTo>
                  <a:lnTo>
                    <a:pt x="2400" y="1122"/>
                  </a:lnTo>
                  <a:lnTo>
                    <a:pt x="2400" y="1134"/>
                  </a:lnTo>
                  <a:lnTo>
                    <a:pt x="2400" y="1146"/>
                  </a:lnTo>
                  <a:lnTo>
                    <a:pt x="2394" y="1146"/>
                  </a:lnTo>
                  <a:lnTo>
                    <a:pt x="2394" y="1152"/>
                  </a:lnTo>
                  <a:lnTo>
                    <a:pt x="2388" y="1152"/>
                  </a:lnTo>
                  <a:lnTo>
                    <a:pt x="2388" y="1146"/>
                  </a:lnTo>
                  <a:lnTo>
                    <a:pt x="2382" y="1152"/>
                  </a:lnTo>
                  <a:lnTo>
                    <a:pt x="2376" y="1152"/>
                  </a:lnTo>
                  <a:lnTo>
                    <a:pt x="2370" y="1158"/>
                  </a:lnTo>
                  <a:lnTo>
                    <a:pt x="2370" y="1164"/>
                  </a:lnTo>
                  <a:lnTo>
                    <a:pt x="2364" y="1170"/>
                  </a:lnTo>
                  <a:lnTo>
                    <a:pt x="2370" y="1170"/>
                  </a:lnTo>
                  <a:lnTo>
                    <a:pt x="2376" y="1170"/>
                  </a:lnTo>
                  <a:lnTo>
                    <a:pt x="2370" y="1176"/>
                  </a:lnTo>
                  <a:lnTo>
                    <a:pt x="2364" y="1176"/>
                  </a:lnTo>
                  <a:lnTo>
                    <a:pt x="2358" y="1182"/>
                  </a:lnTo>
                  <a:lnTo>
                    <a:pt x="2352" y="1182"/>
                  </a:lnTo>
                  <a:lnTo>
                    <a:pt x="2346" y="1188"/>
                  </a:lnTo>
                  <a:lnTo>
                    <a:pt x="2340" y="1182"/>
                  </a:lnTo>
                  <a:lnTo>
                    <a:pt x="2334" y="1182"/>
                  </a:lnTo>
                  <a:lnTo>
                    <a:pt x="2334" y="1188"/>
                  </a:lnTo>
                  <a:lnTo>
                    <a:pt x="2328" y="1194"/>
                  </a:lnTo>
                  <a:lnTo>
                    <a:pt x="2328" y="1200"/>
                  </a:lnTo>
                  <a:lnTo>
                    <a:pt x="2322" y="1224"/>
                  </a:lnTo>
                  <a:lnTo>
                    <a:pt x="2328" y="1230"/>
                  </a:lnTo>
                  <a:lnTo>
                    <a:pt x="2358" y="1230"/>
                  </a:lnTo>
                  <a:lnTo>
                    <a:pt x="2358" y="1242"/>
                  </a:lnTo>
                  <a:lnTo>
                    <a:pt x="2358" y="1254"/>
                  </a:lnTo>
                  <a:lnTo>
                    <a:pt x="2346" y="1254"/>
                  </a:lnTo>
                  <a:lnTo>
                    <a:pt x="2346" y="1278"/>
                  </a:lnTo>
                  <a:lnTo>
                    <a:pt x="2358" y="1278"/>
                  </a:lnTo>
                  <a:lnTo>
                    <a:pt x="2358" y="1284"/>
                  </a:lnTo>
                  <a:lnTo>
                    <a:pt x="2376" y="1284"/>
                  </a:lnTo>
                  <a:lnTo>
                    <a:pt x="2388" y="1278"/>
                  </a:lnTo>
                  <a:lnTo>
                    <a:pt x="2406" y="1278"/>
                  </a:lnTo>
                  <a:lnTo>
                    <a:pt x="2430" y="1284"/>
                  </a:lnTo>
                  <a:lnTo>
                    <a:pt x="2430" y="1302"/>
                  </a:lnTo>
                  <a:lnTo>
                    <a:pt x="2430" y="1314"/>
                  </a:lnTo>
                  <a:lnTo>
                    <a:pt x="2424" y="1326"/>
                  </a:lnTo>
                  <a:lnTo>
                    <a:pt x="2412" y="1326"/>
                  </a:lnTo>
                  <a:lnTo>
                    <a:pt x="2412" y="1344"/>
                  </a:lnTo>
                  <a:lnTo>
                    <a:pt x="2406" y="1344"/>
                  </a:lnTo>
                  <a:lnTo>
                    <a:pt x="2400" y="1362"/>
                  </a:lnTo>
                  <a:lnTo>
                    <a:pt x="2394" y="1368"/>
                  </a:lnTo>
                  <a:lnTo>
                    <a:pt x="2388" y="1374"/>
                  </a:lnTo>
                  <a:lnTo>
                    <a:pt x="2382" y="1380"/>
                  </a:lnTo>
                  <a:lnTo>
                    <a:pt x="2376" y="1386"/>
                  </a:lnTo>
                  <a:lnTo>
                    <a:pt x="2376" y="1392"/>
                  </a:lnTo>
                  <a:lnTo>
                    <a:pt x="2370" y="1404"/>
                  </a:lnTo>
                  <a:lnTo>
                    <a:pt x="2364" y="1416"/>
                  </a:lnTo>
                  <a:lnTo>
                    <a:pt x="2346" y="1434"/>
                  </a:lnTo>
                  <a:lnTo>
                    <a:pt x="2328" y="1440"/>
                  </a:lnTo>
                  <a:lnTo>
                    <a:pt x="2328" y="1446"/>
                  </a:lnTo>
                  <a:lnTo>
                    <a:pt x="2322" y="1452"/>
                  </a:lnTo>
                  <a:lnTo>
                    <a:pt x="2316" y="1452"/>
                  </a:lnTo>
                  <a:lnTo>
                    <a:pt x="2304" y="1446"/>
                  </a:lnTo>
                  <a:lnTo>
                    <a:pt x="2298" y="1446"/>
                  </a:lnTo>
                  <a:lnTo>
                    <a:pt x="2298" y="1434"/>
                  </a:lnTo>
                  <a:lnTo>
                    <a:pt x="2292" y="1434"/>
                  </a:lnTo>
                  <a:lnTo>
                    <a:pt x="2286" y="1428"/>
                  </a:lnTo>
                  <a:lnTo>
                    <a:pt x="2274" y="1416"/>
                  </a:lnTo>
                  <a:lnTo>
                    <a:pt x="2256" y="1404"/>
                  </a:lnTo>
                  <a:lnTo>
                    <a:pt x="2244" y="1386"/>
                  </a:lnTo>
                  <a:lnTo>
                    <a:pt x="2220" y="1368"/>
                  </a:lnTo>
                  <a:lnTo>
                    <a:pt x="2208" y="1362"/>
                  </a:lnTo>
                  <a:lnTo>
                    <a:pt x="2202" y="1350"/>
                  </a:lnTo>
                  <a:lnTo>
                    <a:pt x="2196" y="1350"/>
                  </a:lnTo>
                  <a:lnTo>
                    <a:pt x="2190" y="1356"/>
                  </a:lnTo>
                  <a:lnTo>
                    <a:pt x="2184" y="1356"/>
                  </a:lnTo>
                  <a:lnTo>
                    <a:pt x="2094" y="1350"/>
                  </a:lnTo>
                  <a:lnTo>
                    <a:pt x="2058" y="1350"/>
                  </a:lnTo>
                  <a:lnTo>
                    <a:pt x="2034" y="1890"/>
                  </a:lnTo>
                  <a:lnTo>
                    <a:pt x="2064" y="1890"/>
                  </a:lnTo>
                  <a:lnTo>
                    <a:pt x="2070" y="1896"/>
                  </a:lnTo>
                  <a:lnTo>
                    <a:pt x="2076" y="18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8" name="Freeform 33">
              <a:extLst>
                <a:ext uri="{FF2B5EF4-FFF2-40B4-BE49-F238E27FC236}">
                  <a16:creationId xmlns:a16="http://schemas.microsoft.com/office/drawing/2014/main" id="{0E96F118-1F4D-4E52-AF27-149259451CD6}"/>
                </a:ext>
              </a:extLst>
            </p:cNvPr>
            <p:cNvSpPr>
              <a:spLocks/>
            </p:cNvSpPr>
            <p:nvPr/>
          </p:nvSpPr>
          <p:spPr bwMode="gray">
            <a:xfrm>
              <a:off x="1266662" y="1459989"/>
              <a:ext cx="903421" cy="778302"/>
            </a:xfrm>
            <a:custGeom>
              <a:avLst/>
              <a:gdLst>
                <a:gd name="T0" fmla="*/ 143 w 1698"/>
                <a:gd name="T1" fmla="*/ 43 h 1464"/>
                <a:gd name="T2" fmla="*/ 131 w 1698"/>
                <a:gd name="T3" fmla="*/ 44 h 1464"/>
                <a:gd name="T4" fmla="*/ 126 w 1698"/>
                <a:gd name="T5" fmla="*/ 41 h 1464"/>
                <a:gd name="T6" fmla="*/ 119 w 1698"/>
                <a:gd name="T7" fmla="*/ 45 h 1464"/>
                <a:gd name="T8" fmla="*/ 111 w 1698"/>
                <a:gd name="T9" fmla="*/ 46 h 1464"/>
                <a:gd name="T10" fmla="*/ 107 w 1698"/>
                <a:gd name="T11" fmla="*/ 50 h 1464"/>
                <a:gd name="T12" fmla="*/ 107 w 1698"/>
                <a:gd name="T13" fmla="*/ 60 h 1464"/>
                <a:gd name="T14" fmla="*/ 104 w 1698"/>
                <a:gd name="T15" fmla="*/ 62 h 1464"/>
                <a:gd name="T16" fmla="*/ 97 w 1698"/>
                <a:gd name="T17" fmla="*/ 59 h 1464"/>
                <a:gd name="T18" fmla="*/ 92 w 1698"/>
                <a:gd name="T19" fmla="*/ 59 h 1464"/>
                <a:gd name="T20" fmla="*/ 90 w 1698"/>
                <a:gd name="T21" fmla="*/ 62 h 1464"/>
                <a:gd name="T22" fmla="*/ 93 w 1698"/>
                <a:gd name="T23" fmla="*/ 77 h 1464"/>
                <a:gd name="T24" fmla="*/ 85 w 1698"/>
                <a:gd name="T25" fmla="*/ 88 h 1464"/>
                <a:gd name="T26" fmla="*/ 70 w 1698"/>
                <a:gd name="T27" fmla="*/ 89 h 1464"/>
                <a:gd name="T28" fmla="*/ 65 w 1698"/>
                <a:gd name="T29" fmla="*/ 88 h 1464"/>
                <a:gd name="T30" fmla="*/ 50 w 1698"/>
                <a:gd name="T31" fmla="*/ 88 h 1464"/>
                <a:gd name="T32" fmla="*/ 48 w 1698"/>
                <a:gd name="T33" fmla="*/ 107 h 1464"/>
                <a:gd name="T34" fmla="*/ 47 w 1698"/>
                <a:gd name="T35" fmla="*/ 120 h 1464"/>
                <a:gd name="T36" fmla="*/ 43 w 1698"/>
                <a:gd name="T37" fmla="*/ 121 h 1464"/>
                <a:gd name="T38" fmla="*/ 40 w 1698"/>
                <a:gd name="T39" fmla="*/ 120 h 1464"/>
                <a:gd name="T40" fmla="*/ 35 w 1698"/>
                <a:gd name="T41" fmla="*/ 122 h 1464"/>
                <a:gd name="T42" fmla="*/ 29 w 1698"/>
                <a:gd name="T43" fmla="*/ 123 h 1464"/>
                <a:gd name="T44" fmla="*/ 24 w 1698"/>
                <a:gd name="T45" fmla="*/ 125 h 1464"/>
                <a:gd name="T46" fmla="*/ 20 w 1698"/>
                <a:gd name="T47" fmla="*/ 125 h 1464"/>
                <a:gd name="T48" fmla="*/ 18 w 1698"/>
                <a:gd name="T49" fmla="*/ 122 h 1464"/>
                <a:gd name="T50" fmla="*/ 26 w 1698"/>
                <a:gd name="T51" fmla="*/ 108 h 1464"/>
                <a:gd name="T52" fmla="*/ 24 w 1698"/>
                <a:gd name="T53" fmla="*/ 89 h 1464"/>
                <a:gd name="T54" fmla="*/ 28 w 1698"/>
                <a:gd name="T55" fmla="*/ 85 h 1464"/>
                <a:gd name="T56" fmla="*/ 32 w 1698"/>
                <a:gd name="T57" fmla="*/ 80 h 1464"/>
                <a:gd name="T58" fmla="*/ 36 w 1698"/>
                <a:gd name="T59" fmla="*/ 86 h 1464"/>
                <a:gd name="T60" fmla="*/ 39 w 1698"/>
                <a:gd name="T61" fmla="*/ 80 h 1464"/>
                <a:gd name="T62" fmla="*/ 41 w 1698"/>
                <a:gd name="T63" fmla="*/ 73 h 1464"/>
                <a:gd name="T64" fmla="*/ 38 w 1698"/>
                <a:gd name="T65" fmla="*/ 64 h 1464"/>
                <a:gd name="T66" fmla="*/ 39 w 1698"/>
                <a:gd name="T67" fmla="*/ 59 h 1464"/>
                <a:gd name="T68" fmla="*/ 32 w 1698"/>
                <a:gd name="T69" fmla="*/ 54 h 1464"/>
                <a:gd name="T70" fmla="*/ 32 w 1698"/>
                <a:gd name="T71" fmla="*/ 45 h 1464"/>
                <a:gd name="T72" fmla="*/ 31 w 1698"/>
                <a:gd name="T73" fmla="*/ 41 h 1464"/>
                <a:gd name="T74" fmla="*/ 24 w 1698"/>
                <a:gd name="T75" fmla="*/ 43 h 1464"/>
                <a:gd name="T76" fmla="*/ 17 w 1698"/>
                <a:gd name="T77" fmla="*/ 40 h 1464"/>
                <a:gd name="T78" fmla="*/ 11 w 1698"/>
                <a:gd name="T79" fmla="*/ 38 h 1464"/>
                <a:gd name="T80" fmla="*/ 2 w 1698"/>
                <a:gd name="T81" fmla="*/ 36 h 1464"/>
                <a:gd name="T82" fmla="*/ 0 w 1698"/>
                <a:gd name="T83" fmla="*/ 24 h 1464"/>
                <a:gd name="T84" fmla="*/ 11 w 1698"/>
                <a:gd name="T85" fmla="*/ 18 h 1464"/>
                <a:gd name="T86" fmla="*/ 19 w 1698"/>
                <a:gd name="T87" fmla="*/ 10 h 1464"/>
                <a:gd name="T88" fmla="*/ 28 w 1698"/>
                <a:gd name="T89" fmla="*/ 9 h 1464"/>
                <a:gd name="T90" fmla="*/ 40 w 1698"/>
                <a:gd name="T91" fmla="*/ 6 h 1464"/>
                <a:gd name="T92" fmla="*/ 49 w 1698"/>
                <a:gd name="T93" fmla="*/ 8 h 1464"/>
                <a:gd name="T94" fmla="*/ 56 w 1698"/>
                <a:gd name="T95" fmla="*/ 8 h 1464"/>
                <a:gd name="T96" fmla="*/ 64 w 1698"/>
                <a:gd name="T97" fmla="*/ 7 h 1464"/>
                <a:gd name="T98" fmla="*/ 74 w 1698"/>
                <a:gd name="T99" fmla="*/ 1 h 1464"/>
                <a:gd name="T100" fmla="*/ 83 w 1698"/>
                <a:gd name="T101" fmla="*/ 3 h 1464"/>
                <a:gd name="T102" fmla="*/ 99 w 1698"/>
                <a:gd name="T103" fmla="*/ 9 h 1464"/>
                <a:gd name="T104" fmla="*/ 112 w 1698"/>
                <a:gd name="T105" fmla="*/ 14 h 1464"/>
                <a:gd name="T106" fmla="*/ 119 w 1698"/>
                <a:gd name="T107" fmla="*/ 12 h 1464"/>
                <a:gd name="T108" fmla="*/ 128 w 1698"/>
                <a:gd name="T109" fmla="*/ 17 h 1464"/>
                <a:gd name="T110" fmla="*/ 141 w 1698"/>
                <a:gd name="T111" fmla="*/ 29 h 1464"/>
                <a:gd name="T112" fmla="*/ 145 w 1698"/>
                <a:gd name="T113" fmla="*/ 35 h 14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98"/>
                <a:gd name="T172" fmla="*/ 0 h 1464"/>
                <a:gd name="T173" fmla="*/ 1698 w 1698"/>
                <a:gd name="T174" fmla="*/ 1464 h 14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98" h="1464">
                  <a:moveTo>
                    <a:pt x="1698" y="462"/>
                  </a:moveTo>
                  <a:lnTo>
                    <a:pt x="1686" y="468"/>
                  </a:lnTo>
                  <a:lnTo>
                    <a:pt x="1680" y="474"/>
                  </a:lnTo>
                  <a:lnTo>
                    <a:pt x="1674" y="480"/>
                  </a:lnTo>
                  <a:lnTo>
                    <a:pt x="1668" y="480"/>
                  </a:lnTo>
                  <a:lnTo>
                    <a:pt x="1662" y="486"/>
                  </a:lnTo>
                  <a:lnTo>
                    <a:pt x="1656" y="492"/>
                  </a:lnTo>
                  <a:lnTo>
                    <a:pt x="1644" y="498"/>
                  </a:lnTo>
                  <a:lnTo>
                    <a:pt x="1626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0" y="516"/>
                  </a:lnTo>
                  <a:lnTo>
                    <a:pt x="1590" y="522"/>
                  </a:lnTo>
                  <a:lnTo>
                    <a:pt x="1566" y="522"/>
                  </a:lnTo>
                  <a:lnTo>
                    <a:pt x="1506" y="510"/>
                  </a:lnTo>
                  <a:lnTo>
                    <a:pt x="1500" y="510"/>
                  </a:lnTo>
                  <a:lnTo>
                    <a:pt x="1488" y="504"/>
                  </a:lnTo>
                  <a:lnTo>
                    <a:pt x="1482" y="498"/>
                  </a:lnTo>
                  <a:lnTo>
                    <a:pt x="1476" y="498"/>
                  </a:lnTo>
                  <a:lnTo>
                    <a:pt x="1476" y="492"/>
                  </a:lnTo>
                  <a:lnTo>
                    <a:pt x="1470" y="492"/>
                  </a:lnTo>
                  <a:lnTo>
                    <a:pt x="1464" y="486"/>
                  </a:lnTo>
                  <a:lnTo>
                    <a:pt x="1452" y="486"/>
                  </a:lnTo>
                  <a:lnTo>
                    <a:pt x="1446" y="474"/>
                  </a:lnTo>
                  <a:lnTo>
                    <a:pt x="1434" y="468"/>
                  </a:lnTo>
                  <a:lnTo>
                    <a:pt x="1416" y="468"/>
                  </a:lnTo>
                  <a:lnTo>
                    <a:pt x="1392" y="468"/>
                  </a:lnTo>
                  <a:lnTo>
                    <a:pt x="1374" y="474"/>
                  </a:lnTo>
                  <a:lnTo>
                    <a:pt x="1368" y="474"/>
                  </a:lnTo>
                  <a:lnTo>
                    <a:pt x="1368" y="486"/>
                  </a:lnTo>
                  <a:lnTo>
                    <a:pt x="1368" y="498"/>
                  </a:lnTo>
                  <a:lnTo>
                    <a:pt x="1368" y="522"/>
                  </a:lnTo>
                  <a:lnTo>
                    <a:pt x="1368" y="534"/>
                  </a:lnTo>
                  <a:lnTo>
                    <a:pt x="1362" y="546"/>
                  </a:lnTo>
                  <a:lnTo>
                    <a:pt x="1356" y="546"/>
                  </a:lnTo>
                  <a:lnTo>
                    <a:pt x="1344" y="540"/>
                  </a:lnTo>
                  <a:lnTo>
                    <a:pt x="1338" y="534"/>
                  </a:lnTo>
                  <a:lnTo>
                    <a:pt x="1308" y="522"/>
                  </a:lnTo>
                  <a:lnTo>
                    <a:pt x="1296" y="522"/>
                  </a:lnTo>
                  <a:lnTo>
                    <a:pt x="1278" y="528"/>
                  </a:lnTo>
                  <a:lnTo>
                    <a:pt x="1260" y="534"/>
                  </a:lnTo>
                  <a:lnTo>
                    <a:pt x="1242" y="546"/>
                  </a:lnTo>
                  <a:lnTo>
                    <a:pt x="1236" y="552"/>
                  </a:lnTo>
                  <a:lnTo>
                    <a:pt x="1224" y="558"/>
                  </a:lnTo>
                  <a:lnTo>
                    <a:pt x="1218" y="558"/>
                  </a:lnTo>
                  <a:lnTo>
                    <a:pt x="1218" y="564"/>
                  </a:lnTo>
                  <a:lnTo>
                    <a:pt x="1224" y="570"/>
                  </a:lnTo>
                  <a:lnTo>
                    <a:pt x="1224" y="582"/>
                  </a:lnTo>
                  <a:lnTo>
                    <a:pt x="1224" y="594"/>
                  </a:lnTo>
                  <a:lnTo>
                    <a:pt x="1212" y="618"/>
                  </a:lnTo>
                  <a:lnTo>
                    <a:pt x="1212" y="624"/>
                  </a:lnTo>
                  <a:lnTo>
                    <a:pt x="1212" y="630"/>
                  </a:lnTo>
                  <a:lnTo>
                    <a:pt x="1212" y="636"/>
                  </a:lnTo>
                  <a:lnTo>
                    <a:pt x="1218" y="654"/>
                  </a:lnTo>
                  <a:lnTo>
                    <a:pt x="1224" y="672"/>
                  </a:lnTo>
                  <a:lnTo>
                    <a:pt x="1230" y="696"/>
                  </a:lnTo>
                  <a:lnTo>
                    <a:pt x="1236" y="708"/>
                  </a:lnTo>
                  <a:lnTo>
                    <a:pt x="1236" y="714"/>
                  </a:lnTo>
                  <a:lnTo>
                    <a:pt x="1236" y="720"/>
                  </a:lnTo>
                  <a:lnTo>
                    <a:pt x="1218" y="726"/>
                  </a:lnTo>
                  <a:lnTo>
                    <a:pt x="1212" y="726"/>
                  </a:lnTo>
                  <a:lnTo>
                    <a:pt x="1206" y="726"/>
                  </a:lnTo>
                  <a:lnTo>
                    <a:pt x="1194" y="720"/>
                  </a:lnTo>
                  <a:lnTo>
                    <a:pt x="1194" y="714"/>
                  </a:lnTo>
                  <a:lnTo>
                    <a:pt x="1176" y="714"/>
                  </a:lnTo>
                  <a:lnTo>
                    <a:pt x="1164" y="708"/>
                  </a:lnTo>
                  <a:lnTo>
                    <a:pt x="1158" y="708"/>
                  </a:lnTo>
                  <a:lnTo>
                    <a:pt x="1140" y="702"/>
                  </a:lnTo>
                  <a:lnTo>
                    <a:pt x="1134" y="696"/>
                  </a:lnTo>
                  <a:lnTo>
                    <a:pt x="1128" y="690"/>
                  </a:lnTo>
                  <a:lnTo>
                    <a:pt x="1116" y="678"/>
                  </a:lnTo>
                  <a:lnTo>
                    <a:pt x="1110" y="678"/>
                  </a:lnTo>
                  <a:lnTo>
                    <a:pt x="1104" y="672"/>
                  </a:lnTo>
                  <a:lnTo>
                    <a:pt x="1092" y="672"/>
                  </a:lnTo>
                  <a:lnTo>
                    <a:pt x="1086" y="672"/>
                  </a:lnTo>
                  <a:lnTo>
                    <a:pt x="1080" y="672"/>
                  </a:lnTo>
                  <a:lnTo>
                    <a:pt x="1074" y="672"/>
                  </a:lnTo>
                  <a:lnTo>
                    <a:pt x="1068" y="672"/>
                  </a:lnTo>
                  <a:lnTo>
                    <a:pt x="1062" y="678"/>
                  </a:lnTo>
                  <a:lnTo>
                    <a:pt x="1056" y="678"/>
                  </a:lnTo>
                  <a:lnTo>
                    <a:pt x="1056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6"/>
                  </a:lnTo>
                  <a:lnTo>
                    <a:pt x="1032" y="708"/>
                  </a:lnTo>
                  <a:lnTo>
                    <a:pt x="1026" y="708"/>
                  </a:lnTo>
                  <a:lnTo>
                    <a:pt x="1032" y="714"/>
                  </a:lnTo>
                  <a:lnTo>
                    <a:pt x="1026" y="720"/>
                  </a:lnTo>
                  <a:lnTo>
                    <a:pt x="1020" y="720"/>
                  </a:lnTo>
                  <a:lnTo>
                    <a:pt x="1014" y="732"/>
                  </a:lnTo>
                  <a:lnTo>
                    <a:pt x="1014" y="744"/>
                  </a:lnTo>
                  <a:lnTo>
                    <a:pt x="1038" y="810"/>
                  </a:lnTo>
                  <a:lnTo>
                    <a:pt x="1050" y="834"/>
                  </a:lnTo>
                  <a:lnTo>
                    <a:pt x="1056" y="858"/>
                  </a:lnTo>
                  <a:lnTo>
                    <a:pt x="1062" y="876"/>
                  </a:lnTo>
                  <a:lnTo>
                    <a:pt x="1068" y="882"/>
                  </a:lnTo>
                  <a:lnTo>
                    <a:pt x="1062" y="972"/>
                  </a:lnTo>
                  <a:lnTo>
                    <a:pt x="1056" y="972"/>
                  </a:lnTo>
                  <a:lnTo>
                    <a:pt x="1050" y="996"/>
                  </a:lnTo>
                  <a:lnTo>
                    <a:pt x="1044" y="1014"/>
                  </a:lnTo>
                  <a:lnTo>
                    <a:pt x="1008" y="1014"/>
                  </a:lnTo>
                  <a:lnTo>
                    <a:pt x="1008" y="1008"/>
                  </a:lnTo>
                  <a:lnTo>
                    <a:pt x="990" y="1008"/>
                  </a:lnTo>
                  <a:lnTo>
                    <a:pt x="972" y="1014"/>
                  </a:lnTo>
                  <a:lnTo>
                    <a:pt x="948" y="1020"/>
                  </a:lnTo>
                  <a:lnTo>
                    <a:pt x="918" y="1026"/>
                  </a:lnTo>
                  <a:lnTo>
                    <a:pt x="840" y="1032"/>
                  </a:lnTo>
                  <a:lnTo>
                    <a:pt x="834" y="1032"/>
                  </a:lnTo>
                  <a:lnTo>
                    <a:pt x="834" y="1026"/>
                  </a:lnTo>
                  <a:lnTo>
                    <a:pt x="822" y="1026"/>
                  </a:lnTo>
                  <a:lnTo>
                    <a:pt x="816" y="1032"/>
                  </a:lnTo>
                  <a:lnTo>
                    <a:pt x="804" y="1032"/>
                  </a:lnTo>
                  <a:lnTo>
                    <a:pt x="798" y="1026"/>
                  </a:lnTo>
                  <a:lnTo>
                    <a:pt x="780" y="1026"/>
                  </a:lnTo>
                  <a:lnTo>
                    <a:pt x="762" y="1026"/>
                  </a:lnTo>
                  <a:lnTo>
                    <a:pt x="756" y="1026"/>
                  </a:lnTo>
                  <a:lnTo>
                    <a:pt x="750" y="1026"/>
                  </a:lnTo>
                  <a:lnTo>
                    <a:pt x="756" y="1020"/>
                  </a:lnTo>
                  <a:lnTo>
                    <a:pt x="750" y="1020"/>
                  </a:lnTo>
                  <a:lnTo>
                    <a:pt x="744" y="1014"/>
                  </a:lnTo>
                  <a:lnTo>
                    <a:pt x="684" y="1020"/>
                  </a:lnTo>
                  <a:lnTo>
                    <a:pt x="648" y="1020"/>
                  </a:lnTo>
                  <a:lnTo>
                    <a:pt x="630" y="1020"/>
                  </a:lnTo>
                  <a:lnTo>
                    <a:pt x="618" y="1020"/>
                  </a:lnTo>
                  <a:lnTo>
                    <a:pt x="606" y="1014"/>
                  </a:lnTo>
                  <a:lnTo>
                    <a:pt x="582" y="1014"/>
                  </a:lnTo>
                  <a:lnTo>
                    <a:pt x="576" y="1014"/>
                  </a:lnTo>
                  <a:lnTo>
                    <a:pt x="570" y="1014"/>
                  </a:lnTo>
                  <a:lnTo>
                    <a:pt x="564" y="1020"/>
                  </a:lnTo>
                  <a:lnTo>
                    <a:pt x="558" y="1026"/>
                  </a:lnTo>
                  <a:lnTo>
                    <a:pt x="552" y="1032"/>
                  </a:lnTo>
                  <a:lnTo>
                    <a:pt x="552" y="1038"/>
                  </a:lnTo>
                  <a:lnTo>
                    <a:pt x="558" y="1194"/>
                  </a:lnTo>
                  <a:lnTo>
                    <a:pt x="558" y="1206"/>
                  </a:lnTo>
                  <a:lnTo>
                    <a:pt x="552" y="1218"/>
                  </a:lnTo>
                  <a:lnTo>
                    <a:pt x="552" y="1236"/>
                  </a:lnTo>
                  <a:lnTo>
                    <a:pt x="546" y="1272"/>
                  </a:lnTo>
                  <a:lnTo>
                    <a:pt x="546" y="1308"/>
                  </a:lnTo>
                  <a:lnTo>
                    <a:pt x="540" y="1332"/>
                  </a:lnTo>
                  <a:lnTo>
                    <a:pt x="546" y="1356"/>
                  </a:lnTo>
                  <a:lnTo>
                    <a:pt x="546" y="1362"/>
                  </a:lnTo>
                  <a:lnTo>
                    <a:pt x="546" y="1374"/>
                  </a:lnTo>
                  <a:lnTo>
                    <a:pt x="546" y="1380"/>
                  </a:lnTo>
                  <a:lnTo>
                    <a:pt x="540" y="1380"/>
                  </a:lnTo>
                  <a:lnTo>
                    <a:pt x="522" y="1380"/>
                  </a:lnTo>
                  <a:lnTo>
                    <a:pt x="516" y="1380"/>
                  </a:lnTo>
                  <a:lnTo>
                    <a:pt x="516" y="1386"/>
                  </a:lnTo>
                  <a:lnTo>
                    <a:pt x="516" y="1392"/>
                  </a:lnTo>
                  <a:lnTo>
                    <a:pt x="510" y="1392"/>
                  </a:lnTo>
                  <a:lnTo>
                    <a:pt x="504" y="1386"/>
                  </a:lnTo>
                  <a:lnTo>
                    <a:pt x="498" y="1392"/>
                  </a:lnTo>
                  <a:lnTo>
                    <a:pt x="492" y="1398"/>
                  </a:lnTo>
                  <a:lnTo>
                    <a:pt x="486" y="1398"/>
                  </a:lnTo>
                  <a:lnTo>
                    <a:pt x="486" y="1392"/>
                  </a:lnTo>
                  <a:lnTo>
                    <a:pt x="486" y="1380"/>
                  </a:lnTo>
                  <a:lnTo>
                    <a:pt x="486" y="1374"/>
                  </a:lnTo>
                  <a:lnTo>
                    <a:pt x="480" y="1374"/>
                  </a:lnTo>
                  <a:lnTo>
                    <a:pt x="474" y="1374"/>
                  </a:lnTo>
                  <a:lnTo>
                    <a:pt x="468" y="1380"/>
                  </a:lnTo>
                  <a:lnTo>
                    <a:pt x="462" y="1380"/>
                  </a:lnTo>
                  <a:lnTo>
                    <a:pt x="456" y="1380"/>
                  </a:lnTo>
                  <a:lnTo>
                    <a:pt x="450" y="1386"/>
                  </a:lnTo>
                  <a:lnTo>
                    <a:pt x="444" y="1386"/>
                  </a:lnTo>
                  <a:lnTo>
                    <a:pt x="444" y="1392"/>
                  </a:lnTo>
                  <a:lnTo>
                    <a:pt x="432" y="1398"/>
                  </a:lnTo>
                  <a:lnTo>
                    <a:pt x="426" y="1404"/>
                  </a:lnTo>
                  <a:lnTo>
                    <a:pt x="420" y="1404"/>
                  </a:lnTo>
                  <a:lnTo>
                    <a:pt x="408" y="1404"/>
                  </a:lnTo>
                  <a:lnTo>
                    <a:pt x="378" y="1410"/>
                  </a:lnTo>
                  <a:lnTo>
                    <a:pt x="372" y="1410"/>
                  </a:lnTo>
                  <a:lnTo>
                    <a:pt x="360" y="1410"/>
                  </a:lnTo>
                  <a:lnTo>
                    <a:pt x="354" y="1416"/>
                  </a:lnTo>
                  <a:lnTo>
                    <a:pt x="348" y="1416"/>
                  </a:lnTo>
                  <a:lnTo>
                    <a:pt x="342" y="1410"/>
                  </a:lnTo>
                  <a:lnTo>
                    <a:pt x="336" y="1410"/>
                  </a:lnTo>
                  <a:lnTo>
                    <a:pt x="336" y="1416"/>
                  </a:lnTo>
                  <a:lnTo>
                    <a:pt x="330" y="1422"/>
                  </a:lnTo>
                  <a:lnTo>
                    <a:pt x="324" y="1422"/>
                  </a:lnTo>
                  <a:lnTo>
                    <a:pt x="318" y="1422"/>
                  </a:lnTo>
                  <a:lnTo>
                    <a:pt x="312" y="1428"/>
                  </a:lnTo>
                  <a:lnTo>
                    <a:pt x="312" y="1434"/>
                  </a:lnTo>
                  <a:lnTo>
                    <a:pt x="300" y="1428"/>
                  </a:lnTo>
                  <a:lnTo>
                    <a:pt x="288" y="1434"/>
                  </a:lnTo>
                  <a:lnTo>
                    <a:pt x="282" y="1440"/>
                  </a:lnTo>
                  <a:lnTo>
                    <a:pt x="282" y="1446"/>
                  </a:lnTo>
                  <a:lnTo>
                    <a:pt x="276" y="1446"/>
                  </a:lnTo>
                  <a:lnTo>
                    <a:pt x="276" y="1452"/>
                  </a:lnTo>
                  <a:lnTo>
                    <a:pt x="270" y="1452"/>
                  </a:lnTo>
                  <a:lnTo>
                    <a:pt x="258" y="1464"/>
                  </a:lnTo>
                  <a:lnTo>
                    <a:pt x="240" y="1458"/>
                  </a:lnTo>
                  <a:lnTo>
                    <a:pt x="234" y="1452"/>
                  </a:lnTo>
                  <a:lnTo>
                    <a:pt x="234" y="1446"/>
                  </a:lnTo>
                  <a:lnTo>
                    <a:pt x="228" y="1446"/>
                  </a:lnTo>
                  <a:lnTo>
                    <a:pt x="222" y="1440"/>
                  </a:lnTo>
                  <a:lnTo>
                    <a:pt x="216" y="1440"/>
                  </a:lnTo>
                  <a:lnTo>
                    <a:pt x="210" y="1428"/>
                  </a:lnTo>
                  <a:lnTo>
                    <a:pt x="210" y="1422"/>
                  </a:lnTo>
                  <a:lnTo>
                    <a:pt x="198" y="1416"/>
                  </a:lnTo>
                  <a:lnTo>
                    <a:pt x="204" y="1410"/>
                  </a:lnTo>
                  <a:lnTo>
                    <a:pt x="210" y="1404"/>
                  </a:lnTo>
                  <a:lnTo>
                    <a:pt x="210" y="1398"/>
                  </a:lnTo>
                  <a:lnTo>
                    <a:pt x="252" y="1368"/>
                  </a:lnTo>
                  <a:lnTo>
                    <a:pt x="276" y="1350"/>
                  </a:lnTo>
                  <a:lnTo>
                    <a:pt x="300" y="1338"/>
                  </a:lnTo>
                  <a:lnTo>
                    <a:pt x="294" y="1314"/>
                  </a:lnTo>
                  <a:lnTo>
                    <a:pt x="288" y="1308"/>
                  </a:lnTo>
                  <a:lnTo>
                    <a:pt x="300" y="1266"/>
                  </a:lnTo>
                  <a:lnTo>
                    <a:pt x="300" y="1242"/>
                  </a:lnTo>
                  <a:lnTo>
                    <a:pt x="300" y="1206"/>
                  </a:lnTo>
                  <a:lnTo>
                    <a:pt x="300" y="1164"/>
                  </a:lnTo>
                  <a:lnTo>
                    <a:pt x="294" y="1134"/>
                  </a:lnTo>
                  <a:lnTo>
                    <a:pt x="282" y="1086"/>
                  </a:lnTo>
                  <a:lnTo>
                    <a:pt x="276" y="1074"/>
                  </a:lnTo>
                  <a:lnTo>
                    <a:pt x="276" y="1056"/>
                  </a:lnTo>
                  <a:lnTo>
                    <a:pt x="270" y="1038"/>
                  </a:lnTo>
                  <a:lnTo>
                    <a:pt x="270" y="1020"/>
                  </a:lnTo>
                  <a:lnTo>
                    <a:pt x="282" y="1020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94" y="1002"/>
                  </a:lnTo>
                  <a:lnTo>
                    <a:pt x="306" y="996"/>
                  </a:lnTo>
                  <a:lnTo>
                    <a:pt x="312" y="990"/>
                  </a:lnTo>
                  <a:lnTo>
                    <a:pt x="318" y="990"/>
                  </a:lnTo>
                  <a:lnTo>
                    <a:pt x="324" y="984"/>
                  </a:lnTo>
                  <a:lnTo>
                    <a:pt x="324" y="978"/>
                  </a:lnTo>
                  <a:lnTo>
                    <a:pt x="324" y="972"/>
                  </a:lnTo>
                  <a:lnTo>
                    <a:pt x="324" y="954"/>
                  </a:lnTo>
                  <a:lnTo>
                    <a:pt x="336" y="948"/>
                  </a:lnTo>
                  <a:lnTo>
                    <a:pt x="342" y="936"/>
                  </a:lnTo>
                  <a:lnTo>
                    <a:pt x="348" y="924"/>
                  </a:lnTo>
                  <a:lnTo>
                    <a:pt x="354" y="924"/>
                  </a:lnTo>
                  <a:lnTo>
                    <a:pt x="372" y="924"/>
                  </a:lnTo>
                  <a:lnTo>
                    <a:pt x="372" y="930"/>
                  </a:lnTo>
                  <a:lnTo>
                    <a:pt x="378" y="930"/>
                  </a:lnTo>
                  <a:lnTo>
                    <a:pt x="378" y="936"/>
                  </a:lnTo>
                  <a:lnTo>
                    <a:pt x="384" y="936"/>
                  </a:lnTo>
                  <a:lnTo>
                    <a:pt x="384" y="942"/>
                  </a:lnTo>
                  <a:lnTo>
                    <a:pt x="402" y="942"/>
                  </a:lnTo>
                  <a:lnTo>
                    <a:pt x="402" y="996"/>
                  </a:lnTo>
                  <a:lnTo>
                    <a:pt x="414" y="996"/>
                  </a:lnTo>
                  <a:lnTo>
                    <a:pt x="420" y="996"/>
                  </a:lnTo>
                  <a:lnTo>
                    <a:pt x="426" y="996"/>
                  </a:lnTo>
                  <a:lnTo>
                    <a:pt x="432" y="996"/>
                  </a:lnTo>
                  <a:lnTo>
                    <a:pt x="438" y="996"/>
                  </a:lnTo>
                  <a:lnTo>
                    <a:pt x="438" y="942"/>
                  </a:lnTo>
                  <a:lnTo>
                    <a:pt x="444" y="930"/>
                  </a:lnTo>
                  <a:lnTo>
                    <a:pt x="444" y="924"/>
                  </a:lnTo>
                  <a:lnTo>
                    <a:pt x="444" y="918"/>
                  </a:lnTo>
                  <a:lnTo>
                    <a:pt x="462" y="918"/>
                  </a:lnTo>
                  <a:lnTo>
                    <a:pt x="474" y="906"/>
                  </a:lnTo>
                  <a:lnTo>
                    <a:pt x="480" y="900"/>
                  </a:lnTo>
                  <a:lnTo>
                    <a:pt x="486" y="888"/>
                  </a:lnTo>
                  <a:lnTo>
                    <a:pt x="492" y="876"/>
                  </a:lnTo>
                  <a:lnTo>
                    <a:pt x="492" y="858"/>
                  </a:lnTo>
                  <a:lnTo>
                    <a:pt x="480" y="858"/>
                  </a:lnTo>
                  <a:lnTo>
                    <a:pt x="474" y="840"/>
                  </a:lnTo>
                  <a:lnTo>
                    <a:pt x="450" y="834"/>
                  </a:lnTo>
                  <a:lnTo>
                    <a:pt x="438" y="816"/>
                  </a:lnTo>
                  <a:lnTo>
                    <a:pt x="432" y="792"/>
                  </a:lnTo>
                  <a:lnTo>
                    <a:pt x="432" y="786"/>
                  </a:lnTo>
                  <a:lnTo>
                    <a:pt x="432" y="774"/>
                  </a:lnTo>
                  <a:lnTo>
                    <a:pt x="432" y="762"/>
                  </a:lnTo>
                  <a:lnTo>
                    <a:pt x="438" y="750"/>
                  </a:lnTo>
                  <a:lnTo>
                    <a:pt x="438" y="738"/>
                  </a:lnTo>
                  <a:lnTo>
                    <a:pt x="444" y="732"/>
                  </a:lnTo>
                  <a:lnTo>
                    <a:pt x="450" y="732"/>
                  </a:lnTo>
                  <a:lnTo>
                    <a:pt x="456" y="732"/>
                  </a:lnTo>
                  <a:lnTo>
                    <a:pt x="456" y="726"/>
                  </a:lnTo>
                  <a:lnTo>
                    <a:pt x="456" y="714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44" y="684"/>
                  </a:lnTo>
                  <a:lnTo>
                    <a:pt x="438" y="666"/>
                  </a:lnTo>
                  <a:lnTo>
                    <a:pt x="426" y="666"/>
                  </a:lnTo>
                  <a:lnTo>
                    <a:pt x="432" y="666"/>
                  </a:lnTo>
                  <a:lnTo>
                    <a:pt x="420" y="666"/>
                  </a:lnTo>
                  <a:lnTo>
                    <a:pt x="414" y="660"/>
                  </a:lnTo>
                  <a:lnTo>
                    <a:pt x="396" y="654"/>
                  </a:lnTo>
                  <a:lnTo>
                    <a:pt x="384" y="642"/>
                  </a:lnTo>
                  <a:lnTo>
                    <a:pt x="366" y="624"/>
                  </a:lnTo>
                  <a:lnTo>
                    <a:pt x="354" y="606"/>
                  </a:lnTo>
                  <a:lnTo>
                    <a:pt x="342" y="588"/>
                  </a:lnTo>
                  <a:lnTo>
                    <a:pt x="342" y="582"/>
                  </a:lnTo>
                  <a:lnTo>
                    <a:pt x="360" y="564"/>
                  </a:lnTo>
                  <a:lnTo>
                    <a:pt x="372" y="540"/>
                  </a:lnTo>
                  <a:lnTo>
                    <a:pt x="366" y="528"/>
                  </a:lnTo>
                  <a:lnTo>
                    <a:pt x="366" y="522"/>
                  </a:lnTo>
                  <a:lnTo>
                    <a:pt x="372" y="516"/>
                  </a:lnTo>
                  <a:lnTo>
                    <a:pt x="384" y="504"/>
                  </a:lnTo>
                  <a:lnTo>
                    <a:pt x="378" y="492"/>
                  </a:lnTo>
                  <a:lnTo>
                    <a:pt x="378" y="486"/>
                  </a:lnTo>
                  <a:lnTo>
                    <a:pt x="378" y="480"/>
                  </a:lnTo>
                  <a:lnTo>
                    <a:pt x="378" y="474"/>
                  </a:lnTo>
                  <a:lnTo>
                    <a:pt x="378" y="468"/>
                  </a:lnTo>
                  <a:lnTo>
                    <a:pt x="366" y="468"/>
                  </a:lnTo>
                  <a:lnTo>
                    <a:pt x="360" y="474"/>
                  </a:lnTo>
                  <a:lnTo>
                    <a:pt x="354" y="480"/>
                  </a:lnTo>
                  <a:lnTo>
                    <a:pt x="348" y="486"/>
                  </a:lnTo>
                  <a:lnTo>
                    <a:pt x="348" y="492"/>
                  </a:lnTo>
                  <a:lnTo>
                    <a:pt x="336" y="510"/>
                  </a:lnTo>
                  <a:lnTo>
                    <a:pt x="300" y="516"/>
                  </a:lnTo>
                  <a:lnTo>
                    <a:pt x="300" y="510"/>
                  </a:lnTo>
                  <a:lnTo>
                    <a:pt x="282" y="504"/>
                  </a:lnTo>
                  <a:lnTo>
                    <a:pt x="282" y="498"/>
                  </a:lnTo>
                  <a:lnTo>
                    <a:pt x="264" y="486"/>
                  </a:lnTo>
                  <a:lnTo>
                    <a:pt x="258" y="492"/>
                  </a:lnTo>
                  <a:lnTo>
                    <a:pt x="234" y="492"/>
                  </a:lnTo>
                  <a:lnTo>
                    <a:pt x="222" y="486"/>
                  </a:lnTo>
                  <a:lnTo>
                    <a:pt x="204" y="480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92" y="462"/>
                  </a:lnTo>
                  <a:lnTo>
                    <a:pt x="186" y="462"/>
                  </a:lnTo>
                  <a:lnTo>
                    <a:pt x="180" y="468"/>
                  </a:lnTo>
                  <a:lnTo>
                    <a:pt x="150" y="450"/>
                  </a:lnTo>
                  <a:lnTo>
                    <a:pt x="144" y="438"/>
                  </a:lnTo>
                  <a:lnTo>
                    <a:pt x="138" y="438"/>
                  </a:lnTo>
                  <a:lnTo>
                    <a:pt x="132" y="432"/>
                  </a:lnTo>
                  <a:lnTo>
                    <a:pt x="126" y="432"/>
                  </a:lnTo>
                  <a:lnTo>
                    <a:pt x="120" y="432"/>
                  </a:lnTo>
                  <a:lnTo>
                    <a:pt x="102" y="426"/>
                  </a:lnTo>
                  <a:lnTo>
                    <a:pt x="96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2" y="414"/>
                  </a:lnTo>
                  <a:lnTo>
                    <a:pt x="60" y="414"/>
                  </a:lnTo>
                  <a:lnTo>
                    <a:pt x="30" y="414"/>
                  </a:lnTo>
                  <a:lnTo>
                    <a:pt x="24" y="414"/>
                  </a:lnTo>
                  <a:lnTo>
                    <a:pt x="12" y="414"/>
                  </a:lnTo>
                  <a:lnTo>
                    <a:pt x="0" y="420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0" y="336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30" y="270"/>
                  </a:lnTo>
                  <a:lnTo>
                    <a:pt x="42" y="270"/>
                  </a:lnTo>
                  <a:lnTo>
                    <a:pt x="54" y="264"/>
                  </a:lnTo>
                  <a:lnTo>
                    <a:pt x="78" y="240"/>
                  </a:lnTo>
                  <a:lnTo>
                    <a:pt x="102" y="216"/>
                  </a:lnTo>
                  <a:lnTo>
                    <a:pt x="114" y="210"/>
                  </a:lnTo>
                  <a:lnTo>
                    <a:pt x="120" y="204"/>
                  </a:lnTo>
                  <a:lnTo>
                    <a:pt x="126" y="198"/>
                  </a:lnTo>
                  <a:lnTo>
                    <a:pt x="138" y="18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38"/>
                  </a:lnTo>
                  <a:lnTo>
                    <a:pt x="210" y="126"/>
                  </a:lnTo>
                  <a:lnTo>
                    <a:pt x="216" y="120"/>
                  </a:lnTo>
                  <a:lnTo>
                    <a:pt x="222" y="120"/>
                  </a:lnTo>
                  <a:lnTo>
                    <a:pt x="258" y="114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300" y="102"/>
                  </a:lnTo>
                  <a:lnTo>
                    <a:pt x="312" y="102"/>
                  </a:lnTo>
                  <a:lnTo>
                    <a:pt x="318" y="102"/>
                  </a:lnTo>
                  <a:lnTo>
                    <a:pt x="348" y="96"/>
                  </a:lnTo>
                  <a:lnTo>
                    <a:pt x="366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408" y="84"/>
                  </a:lnTo>
                  <a:lnTo>
                    <a:pt x="420" y="84"/>
                  </a:lnTo>
                  <a:lnTo>
                    <a:pt x="462" y="72"/>
                  </a:lnTo>
                  <a:lnTo>
                    <a:pt x="474" y="72"/>
                  </a:lnTo>
                  <a:lnTo>
                    <a:pt x="474" y="78"/>
                  </a:lnTo>
                  <a:lnTo>
                    <a:pt x="492" y="90"/>
                  </a:lnTo>
                  <a:lnTo>
                    <a:pt x="498" y="90"/>
                  </a:lnTo>
                  <a:lnTo>
                    <a:pt x="522" y="96"/>
                  </a:lnTo>
                  <a:lnTo>
                    <a:pt x="540" y="96"/>
                  </a:lnTo>
                  <a:lnTo>
                    <a:pt x="546" y="96"/>
                  </a:lnTo>
                  <a:lnTo>
                    <a:pt x="558" y="96"/>
                  </a:lnTo>
                  <a:lnTo>
                    <a:pt x="564" y="96"/>
                  </a:lnTo>
                  <a:lnTo>
                    <a:pt x="576" y="96"/>
                  </a:lnTo>
                  <a:lnTo>
                    <a:pt x="588" y="96"/>
                  </a:lnTo>
                  <a:lnTo>
                    <a:pt x="612" y="90"/>
                  </a:lnTo>
                  <a:lnTo>
                    <a:pt x="624" y="90"/>
                  </a:lnTo>
                  <a:lnTo>
                    <a:pt x="636" y="90"/>
                  </a:lnTo>
                  <a:lnTo>
                    <a:pt x="642" y="90"/>
                  </a:lnTo>
                  <a:lnTo>
                    <a:pt x="648" y="96"/>
                  </a:lnTo>
                  <a:lnTo>
                    <a:pt x="660" y="96"/>
                  </a:lnTo>
                  <a:lnTo>
                    <a:pt x="666" y="96"/>
                  </a:lnTo>
                  <a:lnTo>
                    <a:pt x="672" y="96"/>
                  </a:lnTo>
                  <a:lnTo>
                    <a:pt x="684" y="96"/>
                  </a:lnTo>
                  <a:lnTo>
                    <a:pt x="708" y="96"/>
                  </a:lnTo>
                  <a:lnTo>
                    <a:pt x="714" y="96"/>
                  </a:lnTo>
                  <a:lnTo>
                    <a:pt x="726" y="96"/>
                  </a:lnTo>
                  <a:lnTo>
                    <a:pt x="738" y="84"/>
                  </a:lnTo>
                  <a:lnTo>
                    <a:pt x="744" y="78"/>
                  </a:lnTo>
                  <a:lnTo>
                    <a:pt x="756" y="66"/>
                  </a:lnTo>
                  <a:lnTo>
                    <a:pt x="774" y="42"/>
                  </a:lnTo>
                  <a:lnTo>
                    <a:pt x="780" y="30"/>
                  </a:lnTo>
                  <a:lnTo>
                    <a:pt x="816" y="24"/>
                  </a:lnTo>
                  <a:lnTo>
                    <a:pt x="840" y="18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64" y="6"/>
                  </a:lnTo>
                  <a:lnTo>
                    <a:pt x="870" y="6"/>
                  </a:lnTo>
                  <a:lnTo>
                    <a:pt x="894" y="0"/>
                  </a:lnTo>
                  <a:lnTo>
                    <a:pt x="900" y="6"/>
                  </a:lnTo>
                  <a:lnTo>
                    <a:pt x="930" y="18"/>
                  </a:lnTo>
                  <a:lnTo>
                    <a:pt x="942" y="24"/>
                  </a:lnTo>
                  <a:lnTo>
                    <a:pt x="954" y="30"/>
                  </a:lnTo>
                  <a:lnTo>
                    <a:pt x="1026" y="60"/>
                  </a:lnTo>
                  <a:lnTo>
                    <a:pt x="1032" y="60"/>
                  </a:lnTo>
                  <a:lnTo>
                    <a:pt x="1038" y="66"/>
                  </a:lnTo>
                  <a:lnTo>
                    <a:pt x="1068" y="72"/>
                  </a:lnTo>
                  <a:lnTo>
                    <a:pt x="1098" y="84"/>
                  </a:lnTo>
                  <a:lnTo>
                    <a:pt x="1122" y="90"/>
                  </a:lnTo>
                  <a:lnTo>
                    <a:pt x="1122" y="96"/>
                  </a:lnTo>
                  <a:lnTo>
                    <a:pt x="1140" y="102"/>
                  </a:lnTo>
                  <a:lnTo>
                    <a:pt x="1182" y="114"/>
                  </a:lnTo>
                  <a:lnTo>
                    <a:pt x="1188" y="114"/>
                  </a:lnTo>
                  <a:lnTo>
                    <a:pt x="1200" y="120"/>
                  </a:lnTo>
                  <a:lnTo>
                    <a:pt x="1212" y="126"/>
                  </a:lnTo>
                  <a:lnTo>
                    <a:pt x="1224" y="126"/>
                  </a:lnTo>
                  <a:lnTo>
                    <a:pt x="1248" y="138"/>
                  </a:lnTo>
                  <a:lnTo>
                    <a:pt x="1272" y="150"/>
                  </a:lnTo>
                  <a:lnTo>
                    <a:pt x="1284" y="156"/>
                  </a:lnTo>
                  <a:lnTo>
                    <a:pt x="1290" y="162"/>
                  </a:lnTo>
                  <a:lnTo>
                    <a:pt x="1296" y="162"/>
                  </a:lnTo>
                  <a:lnTo>
                    <a:pt x="1308" y="156"/>
                  </a:lnTo>
                  <a:lnTo>
                    <a:pt x="1320" y="150"/>
                  </a:lnTo>
                  <a:lnTo>
                    <a:pt x="1326" y="150"/>
                  </a:lnTo>
                  <a:lnTo>
                    <a:pt x="1338" y="144"/>
                  </a:lnTo>
                  <a:lnTo>
                    <a:pt x="1362" y="144"/>
                  </a:lnTo>
                  <a:lnTo>
                    <a:pt x="1368" y="144"/>
                  </a:lnTo>
                  <a:lnTo>
                    <a:pt x="1374" y="144"/>
                  </a:lnTo>
                  <a:lnTo>
                    <a:pt x="1386" y="150"/>
                  </a:lnTo>
                  <a:lnTo>
                    <a:pt x="1392" y="150"/>
                  </a:lnTo>
                  <a:lnTo>
                    <a:pt x="1398" y="150"/>
                  </a:lnTo>
                  <a:lnTo>
                    <a:pt x="1416" y="162"/>
                  </a:lnTo>
                  <a:lnTo>
                    <a:pt x="1458" y="186"/>
                  </a:lnTo>
                  <a:lnTo>
                    <a:pt x="1464" y="186"/>
                  </a:lnTo>
                  <a:lnTo>
                    <a:pt x="1470" y="192"/>
                  </a:lnTo>
                  <a:lnTo>
                    <a:pt x="1482" y="204"/>
                  </a:lnTo>
                  <a:lnTo>
                    <a:pt x="1512" y="234"/>
                  </a:lnTo>
                  <a:lnTo>
                    <a:pt x="1554" y="276"/>
                  </a:lnTo>
                  <a:lnTo>
                    <a:pt x="1560" y="276"/>
                  </a:lnTo>
                  <a:lnTo>
                    <a:pt x="1566" y="282"/>
                  </a:lnTo>
                  <a:lnTo>
                    <a:pt x="1578" y="294"/>
                  </a:lnTo>
                  <a:lnTo>
                    <a:pt x="1602" y="318"/>
                  </a:lnTo>
                  <a:lnTo>
                    <a:pt x="1614" y="330"/>
                  </a:lnTo>
                  <a:lnTo>
                    <a:pt x="1620" y="336"/>
                  </a:lnTo>
                  <a:lnTo>
                    <a:pt x="1626" y="342"/>
                  </a:lnTo>
                  <a:lnTo>
                    <a:pt x="1632" y="354"/>
                  </a:lnTo>
                  <a:lnTo>
                    <a:pt x="1644" y="366"/>
                  </a:lnTo>
                  <a:lnTo>
                    <a:pt x="1650" y="378"/>
                  </a:lnTo>
                  <a:lnTo>
                    <a:pt x="1650" y="384"/>
                  </a:lnTo>
                  <a:lnTo>
                    <a:pt x="1656" y="384"/>
                  </a:lnTo>
                  <a:lnTo>
                    <a:pt x="1662" y="402"/>
                  </a:lnTo>
                  <a:lnTo>
                    <a:pt x="1668" y="408"/>
                  </a:lnTo>
                  <a:lnTo>
                    <a:pt x="1674" y="426"/>
                  </a:lnTo>
                  <a:lnTo>
                    <a:pt x="1686" y="438"/>
                  </a:lnTo>
                  <a:lnTo>
                    <a:pt x="1698" y="46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9" name="Freeform 34">
              <a:extLst>
                <a:ext uri="{FF2B5EF4-FFF2-40B4-BE49-F238E27FC236}">
                  <a16:creationId xmlns:a16="http://schemas.microsoft.com/office/drawing/2014/main" id="{94603F24-8CF7-4226-A433-00D18CA7D9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1988" y="1681402"/>
              <a:ext cx="869877" cy="1060101"/>
            </a:xfrm>
            <a:custGeom>
              <a:avLst/>
              <a:gdLst>
                <a:gd name="T0" fmla="*/ 4 w 1638"/>
                <a:gd name="T1" fmla="*/ 111 h 1998"/>
                <a:gd name="T2" fmla="*/ 6 w 1638"/>
                <a:gd name="T3" fmla="*/ 87 h 1998"/>
                <a:gd name="T4" fmla="*/ 10 w 1638"/>
                <a:gd name="T5" fmla="*/ 80 h 1998"/>
                <a:gd name="T6" fmla="*/ 10 w 1638"/>
                <a:gd name="T7" fmla="*/ 71 h 1998"/>
                <a:gd name="T8" fmla="*/ 9 w 1638"/>
                <a:gd name="T9" fmla="*/ 56 h 1998"/>
                <a:gd name="T10" fmla="*/ 8 w 1638"/>
                <a:gd name="T11" fmla="*/ 40 h 1998"/>
                <a:gd name="T12" fmla="*/ 20 w 1638"/>
                <a:gd name="T13" fmla="*/ 30 h 1998"/>
                <a:gd name="T14" fmla="*/ 30 w 1638"/>
                <a:gd name="T15" fmla="*/ 19 h 1998"/>
                <a:gd name="T16" fmla="*/ 35 w 1638"/>
                <a:gd name="T17" fmla="*/ 2 h 1998"/>
                <a:gd name="T18" fmla="*/ 47 w 1638"/>
                <a:gd name="T19" fmla="*/ 2 h 1998"/>
                <a:gd name="T20" fmla="*/ 56 w 1638"/>
                <a:gd name="T21" fmla="*/ 7 h 1998"/>
                <a:gd name="T22" fmla="*/ 67 w 1638"/>
                <a:gd name="T23" fmla="*/ 5 h 1998"/>
                <a:gd name="T24" fmla="*/ 65 w 1638"/>
                <a:gd name="T25" fmla="*/ 15 h 1998"/>
                <a:gd name="T26" fmla="*/ 74 w 1638"/>
                <a:gd name="T27" fmla="*/ 24 h 1998"/>
                <a:gd name="T28" fmla="*/ 73 w 1638"/>
                <a:gd name="T29" fmla="*/ 33 h 1998"/>
                <a:gd name="T30" fmla="*/ 74 w 1638"/>
                <a:gd name="T31" fmla="*/ 44 h 1998"/>
                <a:gd name="T32" fmla="*/ 68 w 1638"/>
                <a:gd name="T33" fmla="*/ 45 h 1998"/>
                <a:gd name="T34" fmla="*/ 63 w 1638"/>
                <a:gd name="T35" fmla="*/ 50 h 1998"/>
                <a:gd name="T36" fmla="*/ 61 w 1638"/>
                <a:gd name="T37" fmla="*/ 62 h 1998"/>
                <a:gd name="T38" fmla="*/ 53 w 1638"/>
                <a:gd name="T39" fmla="*/ 86 h 1998"/>
                <a:gd name="T40" fmla="*/ 59 w 1638"/>
                <a:gd name="T41" fmla="*/ 90 h 1998"/>
                <a:gd name="T42" fmla="*/ 65 w 1638"/>
                <a:gd name="T43" fmla="*/ 86 h 1998"/>
                <a:gd name="T44" fmla="*/ 74 w 1638"/>
                <a:gd name="T45" fmla="*/ 84 h 1998"/>
                <a:gd name="T46" fmla="*/ 79 w 1638"/>
                <a:gd name="T47" fmla="*/ 85 h 1998"/>
                <a:gd name="T48" fmla="*/ 84 w 1638"/>
                <a:gd name="T49" fmla="*/ 84 h 1998"/>
                <a:gd name="T50" fmla="*/ 91 w 1638"/>
                <a:gd name="T51" fmla="*/ 84 h 1998"/>
                <a:gd name="T52" fmla="*/ 94 w 1638"/>
                <a:gd name="T53" fmla="*/ 81 h 1998"/>
                <a:gd name="T54" fmla="*/ 100 w 1638"/>
                <a:gd name="T55" fmla="*/ 81 h 1998"/>
                <a:gd name="T56" fmla="*/ 102 w 1638"/>
                <a:gd name="T57" fmla="*/ 84 h 1998"/>
                <a:gd name="T58" fmla="*/ 108 w 1638"/>
                <a:gd name="T59" fmla="*/ 85 h 1998"/>
                <a:gd name="T60" fmla="*/ 113 w 1638"/>
                <a:gd name="T61" fmla="*/ 88 h 1998"/>
                <a:gd name="T62" fmla="*/ 116 w 1638"/>
                <a:gd name="T63" fmla="*/ 88 h 1998"/>
                <a:gd name="T64" fmla="*/ 123 w 1638"/>
                <a:gd name="T65" fmla="*/ 87 h 1998"/>
                <a:gd name="T66" fmla="*/ 128 w 1638"/>
                <a:gd name="T67" fmla="*/ 86 h 1998"/>
                <a:gd name="T68" fmla="*/ 132 w 1638"/>
                <a:gd name="T69" fmla="*/ 90 h 1998"/>
                <a:gd name="T70" fmla="*/ 138 w 1638"/>
                <a:gd name="T71" fmla="*/ 96 h 1998"/>
                <a:gd name="T72" fmla="*/ 138 w 1638"/>
                <a:gd name="T73" fmla="*/ 110 h 1998"/>
                <a:gd name="T74" fmla="*/ 137 w 1638"/>
                <a:gd name="T75" fmla="*/ 118 h 1998"/>
                <a:gd name="T76" fmla="*/ 133 w 1638"/>
                <a:gd name="T77" fmla="*/ 124 h 1998"/>
                <a:gd name="T78" fmla="*/ 122 w 1638"/>
                <a:gd name="T79" fmla="*/ 125 h 1998"/>
                <a:gd name="T80" fmla="*/ 116 w 1638"/>
                <a:gd name="T81" fmla="*/ 127 h 1998"/>
                <a:gd name="T82" fmla="*/ 108 w 1638"/>
                <a:gd name="T83" fmla="*/ 123 h 1998"/>
                <a:gd name="T84" fmla="*/ 109 w 1638"/>
                <a:gd name="T85" fmla="*/ 119 h 1998"/>
                <a:gd name="T86" fmla="*/ 104 w 1638"/>
                <a:gd name="T87" fmla="*/ 104 h 1998"/>
                <a:gd name="T88" fmla="*/ 94 w 1638"/>
                <a:gd name="T89" fmla="*/ 105 h 1998"/>
                <a:gd name="T90" fmla="*/ 88 w 1638"/>
                <a:gd name="T91" fmla="*/ 109 h 1998"/>
                <a:gd name="T92" fmla="*/ 76 w 1638"/>
                <a:gd name="T93" fmla="*/ 107 h 1998"/>
                <a:gd name="T94" fmla="*/ 72 w 1638"/>
                <a:gd name="T95" fmla="*/ 114 h 1998"/>
                <a:gd name="T96" fmla="*/ 86 w 1638"/>
                <a:gd name="T97" fmla="*/ 121 h 1998"/>
                <a:gd name="T98" fmla="*/ 87 w 1638"/>
                <a:gd name="T99" fmla="*/ 129 h 1998"/>
                <a:gd name="T100" fmla="*/ 86 w 1638"/>
                <a:gd name="T101" fmla="*/ 137 h 1998"/>
                <a:gd name="T102" fmla="*/ 79 w 1638"/>
                <a:gd name="T103" fmla="*/ 141 h 1998"/>
                <a:gd name="T104" fmla="*/ 73 w 1638"/>
                <a:gd name="T105" fmla="*/ 144 h 1998"/>
                <a:gd name="T106" fmla="*/ 72 w 1638"/>
                <a:gd name="T107" fmla="*/ 164 h 1998"/>
                <a:gd name="T108" fmla="*/ 68 w 1638"/>
                <a:gd name="T109" fmla="*/ 172 h 1998"/>
                <a:gd name="T110" fmla="*/ 59 w 1638"/>
                <a:gd name="T111" fmla="*/ 164 h 1998"/>
                <a:gd name="T112" fmla="*/ 65 w 1638"/>
                <a:gd name="T113" fmla="*/ 146 h 1998"/>
                <a:gd name="T114" fmla="*/ 69 w 1638"/>
                <a:gd name="T115" fmla="*/ 133 h 1998"/>
                <a:gd name="T116" fmla="*/ 61 w 1638"/>
                <a:gd name="T117" fmla="*/ 131 h 1998"/>
                <a:gd name="T118" fmla="*/ 43 w 1638"/>
                <a:gd name="T119" fmla="*/ 125 h 1998"/>
                <a:gd name="T120" fmla="*/ 23 w 1638"/>
                <a:gd name="T121" fmla="*/ 125 h 1998"/>
                <a:gd name="T122" fmla="*/ 17 w 1638"/>
                <a:gd name="T123" fmla="*/ 121 h 19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638"/>
                <a:gd name="T187" fmla="*/ 0 h 1998"/>
                <a:gd name="T188" fmla="*/ 1638 w 1638"/>
                <a:gd name="T189" fmla="*/ 1998 h 19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638" h="1998">
                  <a:moveTo>
                    <a:pt x="144" y="1380"/>
                  </a:moveTo>
                  <a:lnTo>
                    <a:pt x="150" y="1368"/>
                  </a:lnTo>
                  <a:lnTo>
                    <a:pt x="150" y="1362"/>
                  </a:lnTo>
                  <a:lnTo>
                    <a:pt x="150" y="1356"/>
                  </a:lnTo>
                  <a:lnTo>
                    <a:pt x="144" y="1356"/>
                  </a:lnTo>
                  <a:lnTo>
                    <a:pt x="138" y="1356"/>
                  </a:lnTo>
                  <a:lnTo>
                    <a:pt x="126" y="1356"/>
                  </a:lnTo>
                  <a:lnTo>
                    <a:pt x="114" y="1344"/>
                  </a:lnTo>
                  <a:lnTo>
                    <a:pt x="84" y="1320"/>
                  </a:lnTo>
                  <a:lnTo>
                    <a:pt x="54" y="1296"/>
                  </a:lnTo>
                  <a:lnTo>
                    <a:pt x="48" y="1290"/>
                  </a:lnTo>
                  <a:lnTo>
                    <a:pt x="42" y="1278"/>
                  </a:lnTo>
                  <a:lnTo>
                    <a:pt x="30" y="1272"/>
                  </a:lnTo>
                  <a:lnTo>
                    <a:pt x="0" y="1248"/>
                  </a:lnTo>
                  <a:lnTo>
                    <a:pt x="6" y="1230"/>
                  </a:lnTo>
                  <a:lnTo>
                    <a:pt x="12" y="1194"/>
                  </a:lnTo>
                  <a:lnTo>
                    <a:pt x="18" y="1170"/>
                  </a:lnTo>
                  <a:lnTo>
                    <a:pt x="30" y="1134"/>
                  </a:lnTo>
                  <a:lnTo>
                    <a:pt x="36" y="1086"/>
                  </a:lnTo>
                  <a:lnTo>
                    <a:pt x="42" y="1050"/>
                  </a:lnTo>
                  <a:lnTo>
                    <a:pt x="48" y="1044"/>
                  </a:lnTo>
                  <a:lnTo>
                    <a:pt x="54" y="1026"/>
                  </a:lnTo>
                  <a:lnTo>
                    <a:pt x="60" y="1014"/>
                  </a:lnTo>
                  <a:lnTo>
                    <a:pt x="66" y="1002"/>
                  </a:lnTo>
                  <a:lnTo>
                    <a:pt x="66" y="996"/>
                  </a:lnTo>
                  <a:lnTo>
                    <a:pt x="72" y="996"/>
                  </a:lnTo>
                  <a:lnTo>
                    <a:pt x="72" y="990"/>
                  </a:lnTo>
                  <a:lnTo>
                    <a:pt x="78" y="990"/>
                  </a:lnTo>
                  <a:lnTo>
                    <a:pt x="90" y="978"/>
                  </a:lnTo>
                  <a:lnTo>
                    <a:pt x="96" y="966"/>
                  </a:lnTo>
                  <a:lnTo>
                    <a:pt x="102" y="966"/>
                  </a:lnTo>
                  <a:lnTo>
                    <a:pt x="114" y="954"/>
                  </a:lnTo>
                  <a:lnTo>
                    <a:pt x="120" y="954"/>
                  </a:lnTo>
                  <a:lnTo>
                    <a:pt x="120" y="948"/>
                  </a:lnTo>
                  <a:lnTo>
                    <a:pt x="114" y="930"/>
                  </a:lnTo>
                  <a:lnTo>
                    <a:pt x="114" y="924"/>
                  </a:lnTo>
                  <a:lnTo>
                    <a:pt x="108" y="918"/>
                  </a:lnTo>
                  <a:lnTo>
                    <a:pt x="102" y="912"/>
                  </a:lnTo>
                  <a:lnTo>
                    <a:pt x="90" y="906"/>
                  </a:lnTo>
                  <a:lnTo>
                    <a:pt x="84" y="900"/>
                  </a:lnTo>
                  <a:lnTo>
                    <a:pt x="84" y="888"/>
                  </a:lnTo>
                  <a:lnTo>
                    <a:pt x="84" y="882"/>
                  </a:lnTo>
                  <a:lnTo>
                    <a:pt x="78" y="858"/>
                  </a:lnTo>
                  <a:lnTo>
                    <a:pt x="78" y="852"/>
                  </a:lnTo>
                  <a:lnTo>
                    <a:pt x="84" y="846"/>
                  </a:lnTo>
                  <a:lnTo>
                    <a:pt x="84" y="840"/>
                  </a:lnTo>
                  <a:lnTo>
                    <a:pt x="96" y="828"/>
                  </a:lnTo>
                  <a:lnTo>
                    <a:pt x="114" y="816"/>
                  </a:lnTo>
                  <a:lnTo>
                    <a:pt x="114" y="810"/>
                  </a:lnTo>
                  <a:lnTo>
                    <a:pt x="114" y="804"/>
                  </a:lnTo>
                  <a:lnTo>
                    <a:pt x="108" y="780"/>
                  </a:lnTo>
                  <a:lnTo>
                    <a:pt x="96" y="756"/>
                  </a:lnTo>
                  <a:lnTo>
                    <a:pt x="96" y="750"/>
                  </a:lnTo>
                  <a:lnTo>
                    <a:pt x="90" y="720"/>
                  </a:lnTo>
                  <a:lnTo>
                    <a:pt x="90" y="708"/>
                  </a:lnTo>
                  <a:lnTo>
                    <a:pt x="90" y="690"/>
                  </a:lnTo>
                  <a:lnTo>
                    <a:pt x="96" y="672"/>
                  </a:lnTo>
                  <a:lnTo>
                    <a:pt x="90" y="666"/>
                  </a:lnTo>
                  <a:lnTo>
                    <a:pt x="96" y="666"/>
                  </a:lnTo>
                  <a:lnTo>
                    <a:pt x="102" y="642"/>
                  </a:lnTo>
                  <a:lnTo>
                    <a:pt x="108" y="624"/>
                  </a:lnTo>
                  <a:lnTo>
                    <a:pt x="102" y="618"/>
                  </a:lnTo>
                  <a:lnTo>
                    <a:pt x="102" y="588"/>
                  </a:lnTo>
                  <a:lnTo>
                    <a:pt x="102" y="564"/>
                  </a:lnTo>
                  <a:lnTo>
                    <a:pt x="102" y="546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0"/>
                  </a:lnTo>
                  <a:lnTo>
                    <a:pt x="96" y="498"/>
                  </a:lnTo>
                  <a:lnTo>
                    <a:pt x="96" y="486"/>
                  </a:lnTo>
                  <a:lnTo>
                    <a:pt x="96" y="474"/>
                  </a:lnTo>
                  <a:lnTo>
                    <a:pt x="96" y="462"/>
                  </a:lnTo>
                  <a:lnTo>
                    <a:pt x="114" y="450"/>
                  </a:lnTo>
                  <a:lnTo>
                    <a:pt x="126" y="438"/>
                  </a:lnTo>
                  <a:lnTo>
                    <a:pt x="132" y="432"/>
                  </a:lnTo>
                  <a:lnTo>
                    <a:pt x="144" y="426"/>
                  </a:lnTo>
                  <a:lnTo>
                    <a:pt x="144" y="420"/>
                  </a:lnTo>
                  <a:lnTo>
                    <a:pt x="156" y="414"/>
                  </a:lnTo>
                  <a:lnTo>
                    <a:pt x="162" y="408"/>
                  </a:lnTo>
                  <a:lnTo>
                    <a:pt x="180" y="396"/>
                  </a:lnTo>
                  <a:lnTo>
                    <a:pt x="210" y="372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34" y="348"/>
                  </a:lnTo>
                  <a:lnTo>
                    <a:pt x="240" y="348"/>
                  </a:lnTo>
                  <a:lnTo>
                    <a:pt x="246" y="342"/>
                  </a:lnTo>
                  <a:lnTo>
                    <a:pt x="276" y="318"/>
                  </a:lnTo>
                  <a:lnTo>
                    <a:pt x="282" y="312"/>
                  </a:lnTo>
                  <a:lnTo>
                    <a:pt x="288" y="306"/>
                  </a:lnTo>
                  <a:lnTo>
                    <a:pt x="300" y="288"/>
                  </a:lnTo>
                  <a:lnTo>
                    <a:pt x="306" y="276"/>
                  </a:lnTo>
                  <a:lnTo>
                    <a:pt x="324" y="246"/>
                  </a:lnTo>
                  <a:lnTo>
                    <a:pt x="330" y="240"/>
                  </a:lnTo>
                  <a:lnTo>
                    <a:pt x="336" y="234"/>
                  </a:lnTo>
                  <a:lnTo>
                    <a:pt x="342" y="228"/>
                  </a:lnTo>
                  <a:lnTo>
                    <a:pt x="342" y="216"/>
                  </a:lnTo>
                  <a:lnTo>
                    <a:pt x="354" y="204"/>
                  </a:lnTo>
                  <a:lnTo>
                    <a:pt x="360" y="204"/>
                  </a:lnTo>
                  <a:lnTo>
                    <a:pt x="366" y="186"/>
                  </a:lnTo>
                  <a:lnTo>
                    <a:pt x="384" y="162"/>
                  </a:lnTo>
                  <a:lnTo>
                    <a:pt x="390" y="144"/>
                  </a:lnTo>
                  <a:lnTo>
                    <a:pt x="396" y="114"/>
                  </a:lnTo>
                  <a:lnTo>
                    <a:pt x="396" y="102"/>
                  </a:lnTo>
                  <a:lnTo>
                    <a:pt x="402" y="90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08" y="36"/>
                  </a:lnTo>
                  <a:lnTo>
                    <a:pt x="408" y="24"/>
                  </a:lnTo>
                  <a:lnTo>
                    <a:pt x="408" y="6"/>
                  </a:lnTo>
                  <a:lnTo>
                    <a:pt x="420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68" y="0"/>
                  </a:lnTo>
                  <a:lnTo>
                    <a:pt x="480" y="0"/>
                  </a:lnTo>
                  <a:lnTo>
                    <a:pt x="492" y="0"/>
                  </a:lnTo>
                  <a:lnTo>
                    <a:pt x="498" y="0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8" y="18"/>
                  </a:lnTo>
                  <a:lnTo>
                    <a:pt x="534" y="18"/>
                  </a:lnTo>
                  <a:lnTo>
                    <a:pt x="540" y="18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8" y="36"/>
                  </a:lnTo>
                  <a:lnTo>
                    <a:pt x="588" y="54"/>
                  </a:lnTo>
                  <a:lnTo>
                    <a:pt x="594" y="48"/>
                  </a:lnTo>
                  <a:lnTo>
                    <a:pt x="600" y="48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12" y="66"/>
                  </a:lnTo>
                  <a:lnTo>
                    <a:pt x="630" y="72"/>
                  </a:lnTo>
                  <a:lnTo>
                    <a:pt x="642" y="78"/>
                  </a:lnTo>
                  <a:lnTo>
                    <a:pt x="666" y="78"/>
                  </a:lnTo>
                  <a:lnTo>
                    <a:pt x="672" y="72"/>
                  </a:lnTo>
                  <a:lnTo>
                    <a:pt x="690" y="84"/>
                  </a:lnTo>
                  <a:lnTo>
                    <a:pt x="690" y="90"/>
                  </a:lnTo>
                  <a:lnTo>
                    <a:pt x="708" y="96"/>
                  </a:lnTo>
                  <a:lnTo>
                    <a:pt x="708" y="102"/>
                  </a:lnTo>
                  <a:lnTo>
                    <a:pt x="744" y="96"/>
                  </a:lnTo>
                  <a:lnTo>
                    <a:pt x="756" y="78"/>
                  </a:lnTo>
                  <a:lnTo>
                    <a:pt x="756" y="72"/>
                  </a:lnTo>
                  <a:lnTo>
                    <a:pt x="762" y="66"/>
                  </a:lnTo>
                  <a:lnTo>
                    <a:pt x="768" y="60"/>
                  </a:lnTo>
                  <a:lnTo>
                    <a:pt x="774" y="54"/>
                  </a:lnTo>
                  <a:lnTo>
                    <a:pt x="786" y="54"/>
                  </a:lnTo>
                  <a:lnTo>
                    <a:pt x="786" y="60"/>
                  </a:lnTo>
                  <a:lnTo>
                    <a:pt x="786" y="66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92" y="90"/>
                  </a:lnTo>
                  <a:lnTo>
                    <a:pt x="780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26"/>
                  </a:lnTo>
                  <a:lnTo>
                    <a:pt x="768" y="150"/>
                  </a:lnTo>
                  <a:lnTo>
                    <a:pt x="750" y="168"/>
                  </a:lnTo>
                  <a:lnTo>
                    <a:pt x="750" y="174"/>
                  </a:lnTo>
                  <a:lnTo>
                    <a:pt x="762" y="192"/>
                  </a:lnTo>
                  <a:lnTo>
                    <a:pt x="774" y="210"/>
                  </a:lnTo>
                  <a:lnTo>
                    <a:pt x="792" y="228"/>
                  </a:lnTo>
                  <a:lnTo>
                    <a:pt x="804" y="240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40" y="252"/>
                  </a:lnTo>
                  <a:lnTo>
                    <a:pt x="834" y="252"/>
                  </a:lnTo>
                  <a:lnTo>
                    <a:pt x="846" y="252"/>
                  </a:lnTo>
                  <a:lnTo>
                    <a:pt x="852" y="270"/>
                  </a:lnTo>
                  <a:lnTo>
                    <a:pt x="858" y="282"/>
                  </a:lnTo>
                  <a:lnTo>
                    <a:pt x="858" y="288"/>
                  </a:lnTo>
                  <a:lnTo>
                    <a:pt x="864" y="300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58" y="318"/>
                  </a:lnTo>
                  <a:lnTo>
                    <a:pt x="852" y="318"/>
                  </a:lnTo>
                  <a:lnTo>
                    <a:pt x="846" y="324"/>
                  </a:lnTo>
                  <a:lnTo>
                    <a:pt x="846" y="336"/>
                  </a:lnTo>
                  <a:lnTo>
                    <a:pt x="840" y="348"/>
                  </a:lnTo>
                  <a:lnTo>
                    <a:pt x="840" y="360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46" y="402"/>
                  </a:lnTo>
                  <a:lnTo>
                    <a:pt x="858" y="420"/>
                  </a:lnTo>
                  <a:lnTo>
                    <a:pt x="882" y="426"/>
                  </a:lnTo>
                  <a:lnTo>
                    <a:pt x="888" y="444"/>
                  </a:lnTo>
                  <a:lnTo>
                    <a:pt x="900" y="444"/>
                  </a:lnTo>
                  <a:lnTo>
                    <a:pt x="900" y="462"/>
                  </a:lnTo>
                  <a:lnTo>
                    <a:pt x="894" y="474"/>
                  </a:lnTo>
                  <a:lnTo>
                    <a:pt x="888" y="486"/>
                  </a:lnTo>
                  <a:lnTo>
                    <a:pt x="882" y="492"/>
                  </a:lnTo>
                  <a:lnTo>
                    <a:pt x="870" y="504"/>
                  </a:lnTo>
                  <a:lnTo>
                    <a:pt x="852" y="504"/>
                  </a:lnTo>
                  <a:lnTo>
                    <a:pt x="852" y="510"/>
                  </a:lnTo>
                  <a:lnTo>
                    <a:pt x="852" y="516"/>
                  </a:lnTo>
                  <a:lnTo>
                    <a:pt x="846" y="528"/>
                  </a:lnTo>
                  <a:lnTo>
                    <a:pt x="846" y="582"/>
                  </a:lnTo>
                  <a:lnTo>
                    <a:pt x="840" y="582"/>
                  </a:lnTo>
                  <a:lnTo>
                    <a:pt x="834" y="582"/>
                  </a:lnTo>
                  <a:lnTo>
                    <a:pt x="828" y="582"/>
                  </a:lnTo>
                  <a:lnTo>
                    <a:pt x="822" y="582"/>
                  </a:lnTo>
                  <a:lnTo>
                    <a:pt x="810" y="582"/>
                  </a:lnTo>
                  <a:lnTo>
                    <a:pt x="810" y="528"/>
                  </a:lnTo>
                  <a:lnTo>
                    <a:pt x="792" y="528"/>
                  </a:lnTo>
                  <a:lnTo>
                    <a:pt x="792" y="522"/>
                  </a:lnTo>
                  <a:lnTo>
                    <a:pt x="786" y="522"/>
                  </a:lnTo>
                  <a:lnTo>
                    <a:pt x="786" y="516"/>
                  </a:lnTo>
                  <a:lnTo>
                    <a:pt x="780" y="516"/>
                  </a:lnTo>
                  <a:lnTo>
                    <a:pt x="780" y="510"/>
                  </a:lnTo>
                  <a:lnTo>
                    <a:pt x="762" y="510"/>
                  </a:lnTo>
                  <a:lnTo>
                    <a:pt x="756" y="510"/>
                  </a:lnTo>
                  <a:lnTo>
                    <a:pt x="750" y="522"/>
                  </a:lnTo>
                  <a:lnTo>
                    <a:pt x="744" y="534"/>
                  </a:lnTo>
                  <a:lnTo>
                    <a:pt x="732" y="540"/>
                  </a:lnTo>
                  <a:lnTo>
                    <a:pt x="732" y="558"/>
                  </a:lnTo>
                  <a:lnTo>
                    <a:pt x="732" y="564"/>
                  </a:lnTo>
                  <a:lnTo>
                    <a:pt x="732" y="570"/>
                  </a:lnTo>
                  <a:lnTo>
                    <a:pt x="726" y="576"/>
                  </a:lnTo>
                  <a:lnTo>
                    <a:pt x="720" y="576"/>
                  </a:lnTo>
                  <a:lnTo>
                    <a:pt x="714" y="582"/>
                  </a:lnTo>
                  <a:lnTo>
                    <a:pt x="702" y="588"/>
                  </a:lnTo>
                  <a:lnTo>
                    <a:pt x="696" y="594"/>
                  </a:lnTo>
                  <a:lnTo>
                    <a:pt x="690" y="600"/>
                  </a:lnTo>
                  <a:lnTo>
                    <a:pt x="690" y="606"/>
                  </a:lnTo>
                  <a:lnTo>
                    <a:pt x="678" y="606"/>
                  </a:lnTo>
                  <a:lnTo>
                    <a:pt x="678" y="624"/>
                  </a:lnTo>
                  <a:lnTo>
                    <a:pt x="684" y="642"/>
                  </a:lnTo>
                  <a:lnTo>
                    <a:pt x="684" y="660"/>
                  </a:lnTo>
                  <a:lnTo>
                    <a:pt x="690" y="672"/>
                  </a:lnTo>
                  <a:lnTo>
                    <a:pt x="702" y="720"/>
                  </a:lnTo>
                  <a:lnTo>
                    <a:pt x="708" y="750"/>
                  </a:lnTo>
                  <a:lnTo>
                    <a:pt x="708" y="792"/>
                  </a:lnTo>
                  <a:lnTo>
                    <a:pt x="708" y="828"/>
                  </a:lnTo>
                  <a:lnTo>
                    <a:pt x="708" y="852"/>
                  </a:lnTo>
                  <a:lnTo>
                    <a:pt x="696" y="894"/>
                  </a:lnTo>
                  <a:lnTo>
                    <a:pt x="702" y="900"/>
                  </a:lnTo>
                  <a:lnTo>
                    <a:pt x="708" y="924"/>
                  </a:lnTo>
                  <a:lnTo>
                    <a:pt x="684" y="936"/>
                  </a:lnTo>
                  <a:lnTo>
                    <a:pt x="660" y="954"/>
                  </a:lnTo>
                  <a:lnTo>
                    <a:pt x="618" y="984"/>
                  </a:lnTo>
                  <a:lnTo>
                    <a:pt x="618" y="990"/>
                  </a:lnTo>
                  <a:lnTo>
                    <a:pt x="612" y="996"/>
                  </a:lnTo>
                  <a:lnTo>
                    <a:pt x="606" y="1002"/>
                  </a:lnTo>
                  <a:lnTo>
                    <a:pt x="618" y="1008"/>
                  </a:lnTo>
                  <a:lnTo>
                    <a:pt x="618" y="1014"/>
                  </a:lnTo>
                  <a:lnTo>
                    <a:pt x="624" y="1026"/>
                  </a:lnTo>
                  <a:lnTo>
                    <a:pt x="630" y="1026"/>
                  </a:lnTo>
                  <a:lnTo>
                    <a:pt x="636" y="1032"/>
                  </a:lnTo>
                  <a:lnTo>
                    <a:pt x="642" y="1032"/>
                  </a:lnTo>
                  <a:lnTo>
                    <a:pt x="642" y="1038"/>
                  </a:lnTo>
                  <a:lnTo>
                    <a:pt x="648" y="1044"/>
                  </a:lnTo>
                  <a:lnTo>
                    <a:pt x="666" y="1050"/>
                  </a:lnTo>
                  <a:lnTo>
                    <a:pt x="678" y="1038"/>
                  </a:lnTo>
                  <a:lnTo>
                    <a:pt x="684" y="1038"/>
                  </a:lnTo>
                  <a:lnTo>
                    <a:pt x="684" y="1032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20"/>
                  </a:lnTo>
                  <a:lnTo>
                    <a:pt x="708" y="1014"/>
                  </a:lnTo>
                  <a:lnTo>
                    <a:pt x="720" y="1020"/>
                  </a:lnTo>
                  <a:lnTo>
                    <a:pt x="720" y="1014"/>
                  </a:lnTo>
                  <a:lnTo>
                    <a:pt x="726" y="1008"/>
                  </a:lnTo>
                  <a:lnTo>
                    <a:pt x="732" y="1008"/>
                  </a:lnTo>
                  <a:lnTo>
                    <a:pt x="738" y="1008"/>
                  </a:lnTo>
                  <a:lnTo>
                    <a:pt x="744" y="1002"/>
                  </a:lnTo>
                  <a:lnTo>
                    <a:pt x="744" y="996"/>
                  </a:lnTo>
                  <a:lnTo>
                    <a:pt x="750" y="996"/>
                  </a:lnTo>
                  <a:lnTo>
                    <a:pt x="756" y="1002"/>
                  </a:lnTo>
                  <a:lnTo>
                    <a:pt x="762" y="1002"/>
                  </a:lnTo>
                  <a:lnTo>
                    <a:pt x="768" y="996"/>
                  </a:lnTo>
                  <a:lnTo>
                    <a:pt x="780" y="996"/>
                  </a:lnTo>
                  <a:lnTo>
                    <a:pt x="786" y="996"/>
                  </a:lnTo>
                  <a:lnTo>
                    <a:pt x="816" y="990"/>
                  </a:lnTo>
                  <a:lnTo>
                    <a:pt x="828" y="990"/>
                  </a:lnTo>
                  <a:lnTo>
                    <a:pt x="834" y="990"/>
                  </a:lnTo>
                  <a:lnTo>
                    <a:pt x="840" y="984"/>
                  </a:lnTo>
                  <a:lnTo>
                    <a:pt x="852" y="978"/>
                  </a:lnTo>
                  <a:lnTo>
                    <a:pt x="852" y="972"/>
                  </a:lnTo>
                  <a:lnTo>
                    <a:pt x="858" y="972"/>
                  </a:lnTo>
                  <a:lnTo>
                    <a:pt x="864" y="966"/>
                  </a:lnTo>
                  <a:lnTo>
                    <a:pt x="870" y="966"/>
                  </a:lnTo>
                  <a:lnTo>
                    <a:pt x="876" y="966"/>
                  </a:lnTo>
                  <a:lnTo>
                    <a:pt x="882" y="960"/>
                  </a:lnTo>
                  <a:lnTo>
                    <a:pt x="888" y="960"/>
                  </a:lnTo>
                  <a:lnTo>
                    <a:pt x="894" y="960"/>
                  </a:lnTo>
                  <a:lnTo>
                    <a:pt x="894" y="966"/>
                  </a:lnTo>
                  <a:lnTo>
                    <a:pt x="894" y="978"/>
                  </a:lnTo>
                  <a:lnTo>
                    <a:pt x="894" y="984"/>
                  </a:lnTo>
                  <a:lnTo>
                    <a:pt x="900" y="984"/>
                  </a:lnTo>
                  <a:lnTo>
                    <a:pt x="906" y="978"/>
                  </a:lnTo>
                  <a:lnTo>
                    <a:pt x="912" y="972"/>
                  </a:lnTo>
                  <a:lnTo>
                    <a:pt x="918" y="978"/>
                  </a:lnTo>
                  <a:lnTo>
                    <a:pt x="924" y="978"/>
                  </a:lnTo>
                  <a:lnTo>
                    <a:pt x="924" y="972"/>
                  </a:lnTo>
                  <a:lnTo>
                    <a:pt x="924" y="966"/>
                  </a:lnTo>
                  <a:lnTo>
                    <a:pt x="930" y="966"/>
                  </a:lnTo>
                  <a:lnTo>
                    <a:pt x="948" y="966"/>
                  </a:lnTo>
                  <a:lnTo>
                    <a:pt x="954" y="966"/>
                  </a:lnTo>
                  <a:lnTo>
                    <a:pt x="954" y="960"/>
                  </a:lnTo>
                  <a:lnTo>
                    <a:pt x="960" y="960"/>
                  </a:lnTo>
                  <a:lnTo>
                    <a:pt x="966" y="960"/>
                  </a:lnTo>
                  <a:lnTo>
                    <a:pt x="966" y="966"/>
                  </a:lnTo>
                  <a:lnTo>
                    <a:pt x="978" y="972"/>
                  </a:lnTo>
                  <a:lnTo>
                    <a:pt x="978" y="978"/>
                  </a:lnTo>
                  <a:lnTo>
                    <a:pt x="978" y="984"/>
                  </a:lnTo>
                  <a:lnTo>
                    <a:pt x="984" y="978"/>
                  </a:lnTo>
                  <a:lnTo>
                    <a:pt x="990" y="978"/>
                  </a:lnTo>
                  <a:lnTo>
                    <a:pt x="996" y="984"/>
                  </a:lnTo>
                  <a:lnTo>
                    <a:pt x="1002" y="990"/>
                  </a:lnTo>
                  <a:lnTo>
                    <a:pt x="1008" y="972"/>
                  </a:lnTo>
                  <a:lnTo>
                    <a:pt x="1026" y="972"/>
                  </a:lnTo>
                  <a:lnTo>
                    <a:pt x="1032" y="972"/>
                  </a:lnTo>
                  <a:lnTo>
                    <a:pt x="1038" y="972"/>
                  </a:lnTo>
                  <a:lnTo>
                    <a:pt x="1050" y="972"/>
                  </a:lnTo>
                  <a:lnTo>
                    <a:pt x="1056" y="972"/>
                  </a:lnTo>
                  <a:lnTo>
                    <a:pt x="1062" y="966"/>
                  </a:lnTo>
                  <a:lnTo>
                    <a:pt x="1074" y="966"/>
                  </a:lnTo>
                  <a:lnTo>
                    <a:pt x="1074" y="960"/>
                  </a:lnTo>
                  <a:lnTo>
                    <a:pt x="1080" y="954"/>
                  </a:lnTo>
                  <a:lnTo>
                    <a:pt x="1080" y="948"/>
                  </a:lnTo>
                  <a:lnTo>
                    <a:pt x="1074" y="948"/>
                  </a:lnTo>
                  <a:lnTo>
                    <a:pt x="1068" y="948"/>
                  </a:lnTo>
                  <a:lnTo>
                    <a:pt x="1062" y="942"/>
                  </a:lnTo>
                  <a:lnTo>
                    <a:pt x="1068" y="936"/>
                  </a:lnTo>
                  <a:lnTo>
                    <a:pt x="1074" y="936"/>
                  </a:lnTo>
                  <a:lnTo>
                    <a:pt x="1080" y="936"/>
                  </a:lnTo>
                  <a:lnTo>
                    <a:pt x="1086" y="942"/>
                  </a:lnTo>
                  <a:lnTo>
                    <a:pt x="1092" y="942"/>
                  </a:lnTo>
                  <a:lnTo>
                    <a:pt x="1098" y="948"/>
                  </a:lnTo>
                  <a:lnTo>
                    <a:pt x="1104" y="954"/>
                  </a:lnTo>
                  <a:lnTo>
                    <a:pt x="1110" y="954"/>
                  </a:lnTo>
                  <a:lnTo>
                    <a:pt x="1116" y="948"/>
                  </a:lnTo>
                  <a:lnTo>
                    <a:pt x="1122" y="942"/>
                  </a:lnTo>
                  <a:lnTo>
                    <a:pt x="1128" y="942"/>
                  </a:lnTo>
                  <a:lnTo>
                    <a:pt x="1134" y="942"/>
                  </a:lnTo>
                  <a:lnTo>
                    <a:pt x="1140" y="948"/>
                  </a:lnTo>
                  <a:lnTo>
                    <a:pt x="1146" y="942"/>
                  </a:lnTo>
                  <a:lnTo>
                    <a:pt x="1152" y="942"/>
                  </a:lnTo>
                  <a:lnTo>
                    <a:pt x="1152" y="930"/>
                  </a:lnTo>
                  <a:lnTo>
                    <a:pt x="1164" y="936"/>
                  </a:lnTo>
                  <a:lnTo>
                    <a:pt x="1158" y="942"/>
                  </a:lnTo>
                  <a:lnTo>
                    <a:pt x="1158" y="948"/>
                  </a:lnTo>
                  <a:lnTo>
                    <a:pt x="1146" y="954"/>
                  </a:lnTo>
                  <a:lnTo>
                    <a:pt x="1152" y="954"/>
                  </a:lnTo>
                  <a:lnTo>
                    <a:pt x="1158" y="954"/>
                  </a:lnTo>
                  <a:lnTo>
                    <a:pt x="1158" y="948"/>
                  </a:lnTo>
                  <a:lnTo>
                    <a:pt x="1164" y="948"/>
                  </a:lnTo>
                  <a:lnTo>
                    <a:pt x="1170" y="948"/>
                  </a:lnTo>
                  <a:lnTo>
                    <a:pt x="1176" y="954"/>
                  </a:lnTo>
                  <a:lnTo>
                    <a:pt x="1176" y="966"/>
                  </a:lnTo>
                  <a:lnTo>
                    <a:pt x="1182" y="972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88" y="984"/>
                  </a:lnTo>
                  <a:lnTo>
                    <a:pt x="1194" y="984"/>
                  </a:lnTo>
                  <a:lnTo>
                    <a:pt x="1200" y="984"/>
                  </a:lnTo>
                  <a:lnTo>
                    <a:pt x="1212" y="984"/>
                  </a:lnTo>
                  <a:lnTo>
                    <a:pt x="1218" y="990"/>
                  </a:lnTo>
                  <a:lnTo>
                    <a:pt x="1224" y="990"/>
                  </a:lnTo>
                  <a:lnTo>
                    <a:pt x="1224" y="984"/>
                  </a:lnTo>
                  <a:lnTo>
                    <a:pt x="1230" y="990"/>
                  </a:lnTo>
                  <a:lnTo>
                    <a:pt x="1236" y="984"/>
                  </a:lnTo>
                  <a:lnTo>
                    <a:pt x="1242" y="984"/>
                  </a:lnTo>
                  <a:lnTo>
                    <a:pt x="1248" y="990"/>
                  </a:lnTo>
                  <a:lnTo>
                    <a:pt x="1254" y="990"/>
                  </a:lnTo>
                  <a:lnTo>
                    <a:pt x="1254" y="996"/>
                  </a:lnTo>
                  <a:lnTo>
                    <a:pt x="1254" y="1002"/>
                  </a:lnTo>
                  <a:lnTo>
                    <a:pt x="1254" y="1008"/>
                  </a:lnTo>
                  <a:lnTo>
                    <a:pt x="1260" y="1014"/>
                  </a:lnTo>
                  <a:lnTo>
                    <a:pt x="1266" y="1014"/>
                  </a:lnTo>
                  <a:lnTo>
                    <a:pt x="1272" y="1014"/>
                  </a:lnTo>
                  <a:lnTo>
                    <a:pt x="1278" y="1020"/>
                  </a:lnTo>
                  <a:lnTo>
                    <a:pt x="1284" y="1020"/>
                  </a:lnTo>
                  <a:lnTo>
                    <a:pt x="1290" y="1014"/>
                  </a:lnTo>
                  <a:lnTo>
                    <a:pt x="1290" y="1008"/>
                  </a:lnTo>
                  <a:lnTo>
                    <a:pt x="1296" y="1008"/>
                  </a:lnTo>
                  <a:lnTo>
                    <a:pt x="1302" y="1014"/>
                  </a:lnTo>
                  <a:lnTo>
                    <a:pt x="1308" y="1014"/>
                  </a:lnTo>
                  <a:lnTo>
                    <a:pt x="1314" y="1008"/>
                  </a:lnTo>
                  <a:lnTo>
                    <a:pt x="1320" y="1008"/>
                  </a:lnTo>
                  <a:lnTo>
                    <a:pt x="1320" y="1002"/>
                  </a:lnTo>
                  <a:lnTo>
                    <a:pt x="1320" y="996"/>
                  </a:lnTo>
                  <a:lnTo>
                    <a:pt x="1332" y="1002"/>
                  </a:lnTo>
                  <a:lnTo>
                    <a:pt x="1332" y="1008"/>
                  </a:lnTo>
                  <a:lnTo>
                    <a:pt x="1326" y="1014"/>
                  </a:lnTo>
                  <a:lnTo>
                    <a:pt x="1332" y="1014"/>
                  </a:lnTo>
                  <a:lnTo>
                    <a:pt x="1338" y="1014"/>
                  </a:lnTo>
                  <a:lnTo>
                    <a:pt x="1338" y="1008"/>
                  </a:lnTo>
                  <a:lnTo>
                    <a:pt x="1344" y="1008"/>
                  </a:lnTo>
                  <a:lnTo>
                    <a:pt x="1350" y="1008"/>
                  </a:lnTo>
                  <a:lnTo>
                    <a:pt x="1356" y="1014"/>
                  </a:lnTo>
                  <a:lnTo>
                    <a:pt x="1356" y="1008"/>
                  </a:lnTo>
                  <a:lnTo>
                    <a:pt x="1362" y="1014"/>
                  </a:lnTo>
                  <a:lnTo>
                    <a:pt x="1392" y="1014"/>
                  </a:lnTo>
                  <a:lnTo>
                    <a:pt x="1398" y="1014"/>
                  </a:lnTo>
                  <a:lnTo>
                    <a:pt x="1404" y="1008"/>
                  </a:lnTo>
                  <a:lnTo>
                    <a:pt x="1404" y="1014"/>
                  </a:lnTo>
                  <a:lnTo>
                    <a:pt x="1410" y="1008"/>
                  </a:lnTo>
                  <a:lnTo>
                    <a:pt x="1416" y="1008"/>
                  </a:lnTo>
                  <a:lnTo>
                    <a:pt x="1422" y="1002"/>
                  </a:lnTo>
                  <a:lnTo>
                    <a:pt x="1428" y="1002"/>
                  </a:lnTo>
                  <a:lnTo>
                    <a:pt x="1428" y="996"/>
                  </a:lnTo>
                  <a:lnTo>
                    <a:pt x="1428" y="990"/>
                  </a:lnTo>
                  <a:lnTo>
                    <a:pt x="1440" y="1002"/>
                  </a:lnTo>
                  <a:lnTo>
                    <a:pt x="1446" y="1002"/>
                  </a:lnTo>
                  <a:lnTo>
                    <a:pt x="1452" y="1002"/>
                  </a:lnTo>
                  <a:lnTo>
                    <a:pt x="1446" y="996"/>
                  </a:lnTo>
                  <a:lnTo>
                    <a:pt x="1452" y="996"/>
                  </a:lnTo>
                  <a:lnTo>
                    <a:pt x="1458" y="996"/>
                  </a:lnTo>
                  <a:lnTo>
                    <a:pt x="1464" y="996"/>
                  </a:lnTo>
                  <a:lnTo>
                    <a:pt x="1464" y="1002"/>
                  </a:lnTo>
                  <a:lnTo>
                    <a:pt x="1476" y="1014"/>
                  </a:lnTo>
                  <a:lnTo>
                    <a:pt x="1476" y="1008"/>
                  </a:lnTo>
                  <a:lnTo>
                    <a:pt x="1482" y="1008"/>
                  </a:lnTo>
                  <a:lnTo>
                    <a:pt x="1488" y="1020"/>
                  </a:lnTo>
                  <a:lnTo>
                    <a:pt x="1494" y="1020"/>
                  </a:lnTo>
                  <a:lnTo>
                    <a:pt x="1500" y="1014"/>
                  </a:lnTo>
                  <a:lnTo>
                    <a:pt x="1500" y="1020"/>
                  </a:lnTo>
                  <a:lnTo>
                    <a:pt x="1506" y="1026"/>
                  </a:lnTo>
                  <a:lnTo>
                    <a:pt x="1512" y="1032"/>
                  </a:lnTo>
                  <a:lnTo>
                    <a:pt x="1518" y="1032"/>
                  </a:lnTo>
                  <a:lnTo>
                    <a:pt x="1518" y="1038"/>
                  </a:lnTo>
                  <a:lnTo>
                    <a:pt x="1518" y="1044"/>
                  </a:lnTo>
                  <a:lnTo>
                    <a:pt x="1524" y="1044"/>
                  </a:lnTo>
                  <a:lnTo>
                    <a:pt x="1524" y="1050"/>
                  </a:lnTo>
                  <a:lnTo>
                    <a:pt x="1530" y="1056"/>
                  </a:lnTo>
                  <a:lnTo>
                    <a:pt x="1548" y="1062"/>
                  </a:lnTo>
                  <a:lnTo>
                    <a:pt x="1560" y="1074"/>
                  </a:lnTo>
                  <a:lnTo>
                    <a:pt x="1560" y="1080"/>
                  </a:lnTo>
                  <a:lnTo>
                    <a:pt x="1560" y="1086"/>
                  </a:lnTo>
                  <a:lnTo>
                    <a:pt x="1566" y="1086"/>
                  </a:lnTo>
                  <a:lnTo>
                    <a:pt x="1572" y="1098"/>
                  </a:lnTo>
                  <a:lnTo>
                    <a:pt x="1572" y="1104"/>
                  </a:lnTo>
                  <a:lnTo>
                    <a:pt x="1584" y="1110"/>
                  </a:lnTo>
                  <a:lnTo>
                    <a:pt x="1590" y="1116"/>
                  </a:lnTo>
                  <a:lnTo>
                    <a:pt x="1596" y="1116"/>
                  </a:lnTo>
                  <a:lnTo>
                    <a:pt x="1608" y="1122"/>
                  </a:lnTo>
                  <a:lnTo>
                    <a:pt x="1620" y="1140"/>
                  </a:lnTo>
                  <a:lnTo>
                    <a:pt x="1626" y="1158"/>
                  </a:lnTo>
                  <a:lnTo>
                    <a:pt x="1638" y="1200"/>
                  </a:lnTo>
                  <a:lnTo>
                    <a:pt x="1638" y="1218"/>
                  </a:lnTo>
                  <a:lnTo>
                    <a:pt x="1620" y="1230"/>
                  </a:lnTo>
                  <a:lnTo>
                    <a:pt x="1554" y="1230"/>
                  </a:lnTo>
                  <a:lnTo>
                    <a:pt x="1560" y="1248"/>
                  </a:lnTo>
                  <a:lnTo>
                    <a:pt x="1584" y="1260"/>
                  </a:lnTo>
                  <a:lnTo>
                    <a:pt x="1584" y="1266"/>
                  </a:lnTo>
                  <a:lnTo>
                    <a:pt x="1578" y="1272"/>
                  </a:lnTo>
                  <a:lnTo>
                    <a:pt x="1572" y="1272"/>
                  </a:lnTo>
                  <a:lnTo>
                    <a:pt x="1566" y="1278"/>
                  </a:lnTo>
                  <a:lnTo>
                    <a:pt x="1566" y="1284"/>
                  </a:lnTo>
                  <a:lnTo>
                    <a:pt x="1560" y="1290"/>
                  </a:lnTo>
                  <a:lnTo>
                    <a:pt x="1554" y="1290"/>
                  </a:lnTo>
                  <a:lnTo>
                    <a:pt x="1554" y="1296"/>
                  </a:lnTo>
                  <a:lnTo>
                    <a:pt x="1554" y="1302"/>
                  </a:lnTo>
                  <a:lnTo>
                    <a:pt x="1560" y="1332"/>
                  </a:lnTo>
                  <a:lnTo>
                    <a:pt x="1566" y="1356"/>
                  </a:lnTo>
                  <a:lnTo>
                    <a:pt x="1572" y="1356"/>
                  </a:lnTo>
                  <a:lnTo>
                    <a:pt x="1572" y="1362"/>
                  </a:lnTo>
                  <a:lnTo>
                    <a:pt x="1578" y="1362"/>
                  </a:lnTo>
                  <a:lnTo>
                    <a:pt x="1560" y="1374"/>
                  </a:lnTo>
                  <a:lnTo>
                    <a:pt x="1560" y="1380"/>
                  </a:lnTo>
                  <a:lnTo>
                    <a:pt x="1548" y="1380"/>
                  </a:lnTo>
                  <a:lnTo>
                    <a:pt x="1548" y="1386"/>
                  </a:lnTo>
                  <a:lnTo>
                    <a:pt x="1548" y="1392"/>
                  </a:lnTo>
                  <a:lnTo>
                    <a:pt x="1542" y="1410"/>
                  </a:lnTo>
                  <a:lnTo>
                    <a:pt x="1536" y="1422"/>
                  </a:lnTo>
                  <a:lnTo>
                    <a:pt x="1536" y="1428"/>
                  </a:lnTo>
                  <a:lnTo>
                    <a:pt x="1530" y="1440"/>
                  </a:lnTo>
                  <a:lnTo>
                    <a:pt x="1524" y="1434"/>
                  </a:lnTo>
                  <a:lnTo>
                    <a:pt x="1524" y="1428"/>
                  </a:lnTo>
                  <a:lnTo>
                    <a:pt x="1524" y="1422"/>
                  </a:lnTo>
                  <a:lnTo>
                    <a:pt x="1512" y="1410"/>
                  </a:lnTo>
                  <a:lnTo>
                    <a:pt x="1506" y="1404"/>
                  </a:lnTo>
                  <a:lnTo>
                    <a:pt x="1506" y="1398"/>
                  </a:lnTo>
                  <a:lnTo>
                    <a:pt x="1494" y="1392"/>
                  </a:lnTo>
                  <a:lnTo>
                    <a:pt x="1476" y="1404"/>
                  </a:lnTo>
                  <a:lnTo>
                    <a:pt x="1464" y="1416"/>
                  </a:lnTo>
                  <a:lnTo>
                    <a:pt x="1458" y="1428"/>
                  </a:lnTo>
                  <a:lnTo>
                    <a:pt x="1446" y="1434"/>
                  </a:lnTo>
                  <a:lnTo>
                    <a:pt x="1410" y="1440"/>
                  </a:lnTo>
                  <a:lnTo>
                    <a:pt x="1398" y="1440"/>
                  </a:lnTo>
                  <a:lnTo>
                    <a:pt x="1398" y="1446"/>
                  </a:lnTo>
                  <a:lnTo>
                    <a:pt x="1386" y="1446"/>
                  </a:lnTo>
                  <a:lnTo>
                    <a:pt x="1380" y="1440"/>
                  </a:lnTo>
                  <a:lnTo>
                    <a:pt x="1368" y="1440"/>
                  </a:lnTo>
                  <a:lnTo>
                    <a:pt x="1368" y="1446"/>
                  </a:lnTo>
                  <a:lnTo>
                    <a:pt x="1356" y="1446"/>
                  </a:lnTo>
                  <a:lnTo>
                    <a:pt x="1350" y="1452"/>
                  </a:lnTo>
                  <a:lnTo>
                    <a:pt x="1338" y="1452"/>
                  </a:lnTo>
                  <a:lnTo>
                    <a:pt x="1338" y="1458"/>
                  </a:lnTo>
                  <a:lnTo>
                    <a:pt x="1332" y="1458"/>
                  </a:lnTo>
                  <a:lnTo>
                    <a:pt x="1332" y="1464"/>
                  </a:lnTo>
                  <a:lnTo>
                    <a:pt x="1332" y="1470"/>
                  </a:lnTo>
                  <a:lnTo>
                    <a:pt x="1326" y="1470"/>
                  </a:lnTo>
                  <a:lnTo>
                    <a:pt x="1320" y="1470"/>
                  </a:lnTo>
                  <a:lnTo>
                    <a:pt x="1314" y="1470"/>
                  </a:lnTo>
                  <a:lnTo>
                    <a:pt x="1314" y="1464"/>
                  </a:lnTo>
                  <a:lnTo>
                    <a:pt x="1308" y="1464"/>
                  </a:lnTo>
                  <a:lnTo>
                    <a:pt x="1308" y="1452"/>
                  </a:lnTo>
                  <a:lnTo>
                    <a:pt x="1284" y="1458"/>
                  </a:lnTo>
                  <a:lnTo>
                    <a:pt x="1272" y="1458"/>
                  </a:lnTo>
                  <a:lnTo>
                    <a:pt x="1272" y="1464"/>
                  </a:lnTo>
                  <a:lnTo>
                    <a:pt x="1260" y="1464"/>
                  </a:lnTo>
                  <a:lnTo>
                    <a:pt x="1254" y="1464"/>
                  </a:lnTo>
                  <a:lnTo>
                    <a:pt x="1242" y="1422"/>
                  </a:lnTo>
                  <a:lnTo>
                    <a:pt x="1242" y="1416"/>
                  </a:lnTo>
                  <a:lnTo>
                    <a:pt x="1242" y="1410"/>
                  </a:lnTo>
                  <a:lnTo>
                    <a:pt x="1248" y="1410"/>
                  </a:lnTo>
                  <a:lnTo>
                    <a:pt x="1242" y="1410"/>
                  </a:lnTo>
                  <a:lnTo>
                    <a:pt x="1242" y="1404"/>
                  </a:lnTo>
                  <a:lnTo>
                    <a:pt x="1242" y="1398"/>
                  </a:lnTo>
                  <a:lnTo>
                    <a:pt x="1248" y="1392"/>
                  </a:lnTo>
                  <a:lnTo>
                    <a:pt x="1248" y="1386"/>
                  </a:lnTo>
                  <a:lnTo>
                    <a:pt x="1242" y="1380"/>
                  </a:lnTo>
                  <a:lnTo>
                    <a:pt x="1248" y="1380"/>
                  </a:lnTo>
                  <a:lnTo>
                    <a:pt x="1248" y="1374"/>
                  </a:lnTo>
                  <a:lnTo>
                    <a:pt x="1248" y="1368"/>
                  </a:lnTo>
                  <a:lnTo>
                    <a:pt x="1254" y="1368"/>
                  </a:lnTo>
                  <a:lnTo>
                    <a:pt x="1254" y="1362"/>
                  </a:lnTo>
                  <a:lnTo>
                    <a:pt x="1248" y="1356"/>
                  </a:lnTo>
                  <a:lnTo>
                    <a:pt x="1254" y="1356"/>
                  </a:lnTo>
                  <a:lnTo>
                    <a:pt x="1254" y="1344"/>
                  </a:lnTo>
                  <a:lnTo>
                    <a:pt x="1242" y="1338"/>
                  </a:lnTo>
                  <a:lnTo>
                    <a:pt x="1242" y="1326"/>
                  </a:lnTo>
                  <a:lnTo>
                    <a:pt x="1230" y="1326"/>
                  </a:lnTo>
                  <a:lnTo>
                    <a:pt x="1230" y="1314"/>
                  </a:lnTo>
                  <a:lnTo>
                    <a:pt x="1218" y="1314"/>
                  </a:lnTo>
                  <a:lnTo>
                    <a:pt x="1200" y="1272"/>
                  </a:lnTo>
                  <a:lnTo>
                    <a:pt x="1194" y="1242"/>
                  </a:lnTo>
                  <a:lnTo>
                    <a:pt x="1194" y="1206"/>
                  </a:lnTo>
                  <a:lnTo>
                    <a:pt x="1182" y="1200"/>
                  </a:lnTo>
                  <a:lnTo>
                    <a:pt x="1164" y="1206"/>
                  </a:lnTo>
                  <a:lnTo>
                    <a:pt x="1146" y="1212"/>
                  </a:lnTo>
                  <a:lnTo>
                    <a:pt x="1146" y="1218"/>
                  </a:lnTo>
                  <a:lnTo>
                    <a:pt x="1134" y="1224"/>
                  </a:lnTo>
                  <a:lnTo>
                    <a:pt x="1140" y="1260"/>
                  </a:lnTo>
                  <a:lnTo>
                    <a:pt x="1134" y="1266"/>
                  </a:lnTo>
                  <a:lnTo>
                    <a:pt x="1122" y="1266"/>
                  </a:lnTo>
                  <a:lnTo>
                    <a:pt x="1110" y="1236"/>
                  </a:lnTo>
                  <a:lnTo>
                    <a:pt x="1110" y="1224"/>
                  </a:lnTo>
                  <a:lnTo>
                    <a:pt x="1086" y="1224"/>
                  </a:lnTo>
                  <a:lnTo>
                    <a:pt x="1086" y="1212"/>
                  </a:lnTo>
                  <a:lnTo>
                    <a:pt x="1074" y="1212"/>
                  </a:lnTo>
                  <a:lnTo>
                    <a:pt x="1050" y="1212"/>
                  </a:lnTo>
                  <a:lnTo>
                    <a:pt x="1056" y="1218"/>
                  </a:lnTo>
                  <a:lnTo>
                    <a:pt x="1050" y="1272"/>
                  </a:lnTo>
                  <a:lnTo>
                    <a:pt x="1044" y="1272"/>
                  </a:lnTo>
                  <a:lnTo>
                    <a:pt x="1038" y="1284"/>
                  </a:lnTo>
                  <a:lnTo>
                    <a:pt x="1032" y="1302"/>
                  </a:lnTo>
                  <a:lnTo>
                    <a:pt x="1014" y="1302"/>
                  </a:lnTo>
                  <a:lnTo>
                    <a:pt x="1020" y="1284"/>
                  </a:lnTo>
                  <a:lnTo>
                    <a:pt x="1026" y="1278"/>
                  </a:lnTo>
                  <a:lnTo>
                    <a:pt x="1026" y="1266"/>
                  </a:lnTo>
                  <a:lnTo>
                    <a:pt x="1014" y="1260"/>
                  </a:lnTo>
                  <a:lnTo>
                    <a:pt x="1014" y="1272"/>
                  </a:lnTo>
                  <a:lnTo>
                    <a:pt x="990" y="1278"/>
                  </a:lnTo>
                  <a:lnTo>
                    <a:pt x="990" y="1254"/>
                  </a:lnTo>
                  <a:lnTo>
                    <a:pt x="984" y="1254"/>
                  </a:lnTo>
                  <a:lnTo>
                    <a:pt x="978" y="1242"/>
                  </a:lnTo>
                  <a:lnTo>
                    <a:pt x="972" y="1236"/>
                  </a:lnTo>
                  <a:lnTo>
                    <a:pt x="960" y="1206"/>
                  </a:lnTo>
                  <a:lnTo>
                    <a:pt x="942" y="1206"/>
                  </a:lnTo>
                  <a:lnTo>
                    <a:pt x="936" y="1200"/>
                  </a:lnTo>
                  <a:lnTo>
                    <a:pt x="906" y="1212"/>
                  </a:lnTo>
                  <a:lnTo>
                    <a:pt x="888" y="1230"/>
                  </a:lnTo>
                  <a:lnTo>
                    <a:pt x="876" y="1230"/>
                  </a:lnTo>
                  <a:lnTo>
                    <a:pt x="864" y="1236"/>
                  </a:lnTo>
                  <a:lnTo>
                    <a:pt x="858" y="1236"/>
                  </a:lnTo>
                  <a:lnTo>
                    <a:pt x="852" y="1254"/>
                  </a:lnTo>
                  <a:lnTo>
                    <a:pt x="858" y="1254"/>
                  </a:lnTo>
                  <a:lnTo>
                    <a:pt x="840" y="1266"/>
                  </a:lnTo>
                  <a:lnTo>
                    <a:pt x="828" y="1272"/>
                  </a:lnTo>
                  <a:lnTo>
                    <a:pt x="828" y="1284"/>
                  </a:lnTo>
                  <a:lnTo>
                    <a:pt x="822" y="1284"/>
                  </a:lnTo>
                  <a:lnTo>
                    <a:pt x="804" y="1296"/>
                  </a:lnTo>
                  <a:lnTo>
                    <a:pt x="804" y="1308"/>
                  </a:lnTo>
                  <a:lnTo>
                    <a:pt x="816" y="1320"/>
                  </a:lnTo>
                  <a:lnTo>
                    <a:pt x="828" y="1320"/>
                  </a:lnTo>
                  <a:lnTo>
                    <a:pt x="822" y="1338"/>
                  </a:lnTo>
                  <a:lnTo>
                    <a:pt x="852" y="1344"/>
                  </a:lnTo>
                  <a:lnTo>
                    <a:pt x="864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94" y="1356"/>
                  </a:lnTo>
                  <a:lnTo>
                    <a:pt x="912" y="1368"/>
                  </a:lnTo>
                  <a:lnTo>
                    <a:pt x="918" y="1380"/>
                  </a:lnTo>
                  <a:lnTo>
                    <a:pt x="936" y="1380"/>
                  </a:lnTo>
                  <a:lnTo>
                    <a:pt x="960" y="1386"/>
                  </a:lnTo>
                  <a:lnTo>
                    <a:pt x="990" y="1386"/>
                  </a:lnTo>
                  <a:lnTo>
                    <a:pt x="990" y="1392"/>
                  </a:lnTo>
                  <a:lnTo>
                    <a:pt x="1020" y="1398"/>
                  </a:lnTo>
                  <a:lnTo>
                    <a:pt x="1014" y="1404"/>
                  </a:lnTo>
                  <a:lnTo>
                    <a:pt x="1008" y="1404"/>
                  </a:lnTo>
                  <a:lnTo>
                    <a:pt x="1014" y="1440"/>
                  </a:lnTo>
                  <a:lnTo>
                    <a:pt x="1020" y="1458"/>
                  </a:lnTo>
                  <a:lnTo>
                    <a:pt x="1026" y="1476"/>
                  </a:lnTo>
                  <a:lnTo>
                    <a:pt x="1020" y="1476"/>
                  </a:lnTo>
                  <a:lnTo>
                    <a:pt x="1014" y="1476"/>
                  </a:lnTo>
                  <a:lnTo>
                    <a:pt x="1014" y="1482"/>
                  </a:lnTo>
                  <a:lnTo>
                    <a:pt x="1014" y="1488"/>
                  </a:lnTo>
                  <a:lnTo>
                    <a:pt x="1002" y="1488"/>
                  </a:lnTo>
                  <a:lnTo>
                    <a:pt x="1002" y="1494"/>
                  </a:lnTo>
                  <a:lnTo>
                    <a:pt x="996" y="1494"/>
                  </a:lnTo>
                  <a:lnTo>
                    <a:pt x="996" y="1518"/>
                  </a:lnTo>
                  <a:lnTo>
                    <a:pt x="1002" y="1524"/>
                  </a:lnTo>
                  <a:lnTo>
                    <a:pt x="1020" y="1530"/>
                  </a:lnTo>
                  <a:lnTo>
                    <a:pt x="1026" y="1542"/>
                  </a:lnTo>
                  <a:lnTo>
                    <a:pt x="1032" y="1566"/>
                  </a:lnTo>
                  <a:lnTo>
                    <a:pt x="1038" y="1578"/>
                  </a:lnTo>
                  <a:lnTo>
                    <a:pt x="1032" y="1584"/>
                  </a:lnTo>
                  <a:lnTo>
                    <a:pt x="1020" y="1584"/>
                  </a:lnTo>
                  <a:lnTo>
                    <a:pt x="1014" y="1584"/>
                  </a:lnTo>
                  <a:lnTo>
                    <a:pt x="1008" y="1596"/>
                  </a:lnTo>
                  <a:lnTo>
                    <a:pt x="990" y="1584"/>
                  </a:lnTo>
                  <a:lnTo>
                    <a:pt x="984" y="1602"/>
                  </a:lnTo>
                  <a:lnTo>
                    <a:pt x="978" y="1608"/>
                  </a:lnTo>
                  <a:lnTo>
                    <a:pt x="966" y="1608"/>
                  </a:lnTo>
                  <a:lnTo>
                    <a:pt x="960" y="1614"/>
                  </a:lnTo>
                  <a:lnTo>
                    <a:pt x="954" y="1614"/>
                  </a:lnTo>
                  <a:lnTo>
                    <a:pt x="942" y="1620"/>
                  </a:lnTo>
                  <a:lnTo>
                    <a:pt x="936" y="1620"/>
                  </a:lnTo>
                  <a:lnTo>
                    <a:pt x="930" y="1620"/>
                  </a:lnTo>
                  <a:lnTo>
                    <a:pt x="930" y="1626"/>
                  </a:lnTo>
                  <a:lnTo>
                    <a:pt x="930" y="1632"/>
                  </a:lnTo>
                  <a:lnTo>
                    <a:pt x="918" y="1632"/>
                  </a:lnTo>
                  <a:lnTo>
                    <a:pt x="912" y="1632"/>
                  </a:lnTo>
                  <a:lnTo>
                    <a:pt x="906" y="1632"/>
                  </a:lnTo>
                  <a:lnTo>
                    <a:pt x="900" y="1632"/>
                  </a:lnTo>
                  <a:lnTo>
                    <a:pt x="894" y="1626"/>
                  </a:lnTo>
                  <a:lnTo>
                    <a:pt x="894" y="1614"/>
                  </a:lnTo>
                  <a:lnTo>
                    <a:pt x="840" y="1614"/>
                  </a:lnTo>
                  <a:lnTo>
                    <a:pt x="840" y="1626"/>
                  </a:lnTo>
                  <a:lnTo>
                    <a:pt x="834" y="1626"/>
                  </a:lnTo>
                  <a:lnTo>
                    <a:pt x="828" y="1632"/>
                  </a:lnTo>
                  <a:lnTo>
                    <a:pt x="822" y="1638"/>
                  </a:lnTo>
                  <a:lnTo>
                    <a:pt x="822" y="1644"/>
                  </a:lnTo>
                  <a:lnTo>
                    <a:pt x="834" y="1650"/>
                  </a:lnTo>
                  <a:lnTo>
                    <a:pt x="840" y="1662"/>
                  </a:lnTo>
                  <a:lnTo>
                    <a:pt x="840" y="1668"/>
                  </a:lnTo>
                  <a:lnTo>
                    <a:pt x="858" y="1680"/>
                  </a:lnTo>
                  <a:lnTo>
                    <a:pt x="858" y="1752"/>
                  </a:lnTo>
                  <a:lnTo>
                    <a:pt x="864" y="1782"/>
                  </a:lnTo>
                  <a:lnTo>
                    <a:pt x="876" y="1788"/>
                  </a:lnTo>
                  <a:lnTo>
                    <a:pt x="870" y="1854"/>
                  </a:lnTo>
                  <a:lnTo>
                    <a:pt x="870" y="1884"/>
                  </a:lnTo>
                  <a:lnTo>
                    <a:pt x="864" y="1884"/>
                  </a:lnTo>
                  <a:lnTo>
                    <a:pt x="846" y="1896"/>
                  </a:lnTo>
                  <a:lnTo>
                    <a:pt x="840" y="1896"/>
                  </a:lnTo>
                  <a:lnTo>
                    <a:pt x="834" y="1896"/>
                  </a:lnTo>
                  <a:lnTo>
                    <a:pt x="828" y="1890"/>
                  </a:lnTo>
                  <a:lnTo>
                    <a:pt x="822" y="1890"/>
                  </a:lnTo>
                  <a:lnTo>
                    <a:pt x="816" y="1896"/>
                  </a:lnTo>
                  <a:lnTo>
                    <a:pt x="804" y="1896"/>
                  </a:lnTo>
                  <a:lnTo>
                    <a:pt x="804" y="1890"/>
                  </a:lnTo>
                  <a:lnTo>
                    <a:pt x="780" y="1896"/>
                  </a:lnTo>
                  <a:lnTo>
                    <a:pt x="780" y="1902"/>
                  </a:lnTo>
                  <a:lnTo>
                    <a:pt x="774" y="1914"/>
                  </a:lnTo>
                  <a:lnTo>
                    <a:pt x="762" y="1926"/>
                  </a:lnTo>
                  <a:lnTo>
                    <a:pt x="762" y="1950"/>
                  </a:lnTo>
                  <a:lnTo>
                    <a:pt x="762" y="1962"/>
                  </a:lnTo>
                  <a:lnTo>
                    <a:pt x="780" y="1974"/>
                  </a:lnTo>
                  <a:lnTo>
                    <a:pt x="780" y="1986"/>
                  </a:lnTo>
                  <a:lnTo>
                    <a:pt x="780" y="1998"/>
                  </a:lnTo>
                  <a:lnTo>
                    <a:pt x="756" y="1998"/>
                  </a:lnTo>
                  <a:lnTo>
                    <a:pt x="720" y="1992"/>
                  </a:lnTo>
                  <a:lnTo>
                    <a:pt x="666" y="1998"/>
                  </a:lnTo>
                  <a:lnTo>
                    <a:pt x="654" y="1998"/>
                  </a:lnTo>
                  <a:lnTo>
                    <a:pt x="660" y="1974"/>
                  </a:lnTo>
                  <a:lnTo>
                    <a:pt x="666" y="1962"/>
                  </a:lnTo>
                  <a:lnTo>
                    <a:pt x="678" y="1950"/>
                  </a:lnTo>
                  <a:lnTo>
                    <a:pt x="696" y="1932"/>
                  </a:lnTo>
                  <a:lnTo>
                    <a:pt x="696" y="1920"/>
                  </a:lnTo>
                  <a:lnTo>
                    <a:pt x="696" y="1896"/>
                  </a:lnTo>
                  <a:lnTo>
                    <a:pt x="678" y="1896"/>
                  </a:lnTo>
                  <a:lnTo>
                    <a:pt x="672" y="1884"/>
                  </a:lnTo>
                  <a:lnTo>
                    <a:pt x="672" y="1776"/>
                  </a:lnTo>
                  <a:lnTo>
                    <a:pt x="678" y="1758"/>
                  </a:lnTo>
                  <a:lnTo>
                    <a:pt x="678" y="1740"/>
                  </a:lnTo>
                  <a:lnTo>
                    <a:pt x="684" y="1728"/>
                  </a:lnTo>
                  <a:lnTo>
                    <a:pt x="690" y="1722"/>
                  </a:lnTo>
                  <a:lnTo>
                    <a:pt x="702" y="1722"/>
                  </a:lnTo>
                  <a:lnTo>
                    <a:pt x="708" y="1716"/>
                  </a:lnTo>
                  <a:lnTo>
                    <a:pt x="714" y="1710"/>
                  </a:lnTo>
                  <a:lnTo>
                    <a:pt x="720" y="1698"/>
                  </a:lnTo>
                  <a:lnTo>
                    <a:pt x="732" y="1692"/>
                  </a:lnTo>
                  <a:lnTo>
                    <a:pt x="744" y="1686"/>
                  </a:lnTo>
                  <a:lnTo>
                    <a:pt x="756" y="1680"/>
                  </a:lnTo>
                  <a:lnTo>
                    <a:pt x="768" y="1668"/>
                  </a:lnTo>
                  <a:lnTo>
                    <a:pt x="768" y="1650"/>
                  </a:lnTo>
                  <a:lnTo>
                    <a:pt x="774" y="1632"/>
                  </a:lnTo>
                  <a:lnTo>
                    <a:pt x="768" y="1620"/>
                  </a:lnTo>
                  <a:lnTo>
                    <a:pt x="774" y="1608"/>
                  </a:lnTo>
                  <a:lnTo>
                    <a:pt x="774" y="1578"/>
                  </a:lnTo>
                  <a:lnTo>
                    <a:pt x="774" y="1572"/>
                  </a:lnTo>
                  <a:lnTo>
                    <a:pt x="780" y="1560"/>
                  </a:lnTo>
                  <a:lnTo>
                    <a:pt x="780" y="1554"/>
                  </a:lnTo>
                  <a:lnTo>
                    <a:pt x="786" y="1542"/>
                  </a:lnTo>
                  <a:lnTo>
                    <a:pt x="792" y="1530"/>
                  </a:lnTo>
                  <a:lnTo>
                    <a:pt x="792" y="1518"/>
                  </a:lnTo>
                  <a:lnTo>
                    <a:pt x="792" y="1506"/>
                  </a:lnTo>
                  <a:lnTo>
                    <a:pt x="786" y="1500"/>
                  </a:lnTo>
                  <a:lnTo>
                    <a:pt x="774" y="1488"/>
                  </a:lnTo>
                  <a:lnTo>
                    <a:pt x="774" y="1482"/>
                  </a:lnTo>
                  <a:lnTo>
                    <a:pt x="762" y="1488"/>
                  </a:lnTo>
                  <a:lnTo>
                    <a:pt x="756" y="1494"/>
                  </a:lnTo>
                  <a:lnTo>
                    <a:pt x="744" y="1500"/>
                  </a:lnTo>
                  <a:lnTo>
                    <a:pt x="732" y="1506"/>
                  </a:lnTo>
                  <a:lnTo>
                    <a:pt x="726" y="1506"/>
                  </a:lnTo>
                  <a:lnTo>
                    <a:pt x="720" y="1506"/>
                  </a:lnTo>
                  <a:lnTo>
                    <a:pt x="702" y="1506"/>
                  </a:lnTo>
                  <a:lnTo>
                    <a:pt x="690" y="1500"/>
                  </a:lnTo>
                  <a:lnTo>
                    <a:pt x="678" y="1500"/>
                  </a:lnTo>
                  <a:lnTo>
                    <a:pt x="672" y="1500"/>
                  </a:lnTo>
                  <a:lnTo>
                    <a:pt x="660" y="1506"/>
                  </a:lnTo>
                  <a:lnTo>
                    <a:pt x="654" y="1506"/>
                  </a:lnTo>
                  <a:lnTo>
                    <a:pt x="648" y="1512"/>
                  </a:lnTo>
                  <a:lnTo>
                    <a:pt x="648" y="1518"/>
                  </a:lnTo>
                  <a:lnTo>
                    <a:pt x="618" y="1518"/>
                  </a:lnTo>
                  <a:lnTo>
                    <a:pt x="534" y="1494"/>
                  </a:lnTo>
                  <a:lnTo>
                    <a:pt x="528" y="1458"/>
                  </a:lnTo>
                  <a:lnTo>
                    <a:pt x="510" y="1458"/>
                  </a:lnTo>
                  <a:lnTo>
                    <a:pt x="492" y="1440"/>
                  </a:lnTo>
                  <a:lnTo>
                    <a:pt x="462" y="1440"/>
                  </a:lnTo>
                  <a:lnTo>
                    <a:pt x="456" y="1428"/>
                  </a:lnTo>
                  <a:lnTo>
                    <a:pt x="420" y="1428"/>
                  </a:lnTo>
                  <a:lnTo>
                    <a:pt x="390" y="1446"/>
                  </a:lnTo>
                  <a:lnTo>
                    <a:pt x="312" y="1452"/>
                  </a:lnTo>
                  <a:lnTo>
                    <a:pt x="300" y="1446"/>
                  </a:lnTo>
                  <a:lnTo>
                    <a:pt x="294" y="1446"/>
                  </a:lnTo>
                  <a:lnTo>
                    <a:pt x="288" y="1446"/>
                  </a:lnTo>
                  <a:lnTo>
                    <a:pt x="282" y="1440"/>
                  </a:lnTo>
                  <a:lnTo>
                    <a:pt x="276" y="1440"/>
                  </a:lnTo>
                  <a:lnTo>
                    <a:pt x="270" y="1440"/>
                  </a:lnTo>
                  <a:lnTo>
                    <a:pt x="264" y="1440"/>
                  </a:lnTo>
                  <a:lnTo>
                    <a:pt x="258" y="1434"/>
                  </a:lnTo>
                  <a:lnTo>
                    <a:pt x="252" y="1434"/>
                  </a:lnTo>
                  <a:lnTo>
                    <a:pt x="246" y="1428"/>
                  </a:lnTo>
                  <a:lnTo>
                    <a:pt x="240" y="1416"/>
                  </a:lnTo>
                  <a:lnTo>
                    <a:pt x="234" y="1404"/>
                  </a:lnTo>
                  <a:lnTo>
                    <a:pt x="228" y="1398"/>
                  </a:lnTo>
                  <a:lnTo>
                    <a:pt x="222" y="1398"/>
                  </a:lnTo>
                  <a:lnTo>
                    <a:pt x="216" y="1404"/>
                  </a:lnTo>
                  <a:lnTo>
                    <a:pt x="210" y="1404"/>
                  </a:lnTo>
                  <a:lnTo>
                    <a:pt x="204" y="1404"/>
                  </a:lnTo>
                  <a:lnTo>
                    <a:pt x="204" y="1398"/>
                  </a:lnTo>
                  <a:lnTo>
                    <a:pt x="198" y="1392"/>
                  </a:lnTo>
                  <a:lnTo>
                    <a:pt x="192" y="1386"/>
                  </a:lnTo>
                  <a:lnTo>
                    <a:pt x="168" y="1374"/>
                  </a:lnTo>
                  <a:lnTo>
                    <a:pt x="144" y="13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0" name="Freeform 35">
              <a:extLst>
                <a:ext uri="{FF2B5EF4-FFF2-40B4-BE49-F238E27FC236}">
                  <a16:creationId xmlns:a16="http://schemas.microsoft.com/office/drawing/2014/main" id="{F64BF16E-9D62-438E-A1CC-CD4088AC7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2895" y="1706004"/>
              <a:ext cx="767013" cy="785011"/>
            </a:xfrm>
            <a:custGeom>
              <a:avLst/>
              <a:gdLst>
                <a:gd name="T0" fmla="*/ 102 w 1440"/>
                <a:gd name="T1" fmla="*/ 104 h 1476"/>
                <a:gd name="T2" fmla="*/ 99 w 1440"/>
                <a:gd name="T3" fmla="*/ 108 h 1476"/>
                <a:gd name="T4" fmla="*/ 98 w 1440"/>
                <a:gd name="T5" fmla="*/ 112 h 1476"/>
                <a:gd name="T6" fmla="*/ 96 w 1440"/>
                <a:gd name="T7" fmla="*/ 116 h 1476"/>
                <a:gd name="T8" fmla="*/ 91 w 1440"/>
                <a:gd name="T9" fmla="*/ 118 h 1476"/>
                <a:gd name="T10" fmla="*/ 87 w 1440"/>
                <a:gd name="T11" fmla="*/ 120 h 1476"/>
                <a:gd name="T12" fmla="*/ 75 w 1440"/>
                <a:gd name="T13" fmla="*/ 120 h 1476"/>
                <a:gd name="T14" fmla="*/ 72 w 1440"/>
                <a:gd name="T15" fmla="*/ 123 h 1476"/>
                <a:gd name="T16" fmla="*/ 69 w 1440"/>
                <a:gd name="T17" fmla="*/ 128 h 1476"/>
                <a:gd name="T18" fmla="*/ 67 w 1440"/>
                <a:gd name="T19" fmla="*/ 127 h 1476"/>
                <a:gd name="T20" fmla="*/ 66 w 1440"/>
                <a:gd name="T21" fmla="*/ 123 h 1476"/>
                <a:gd name="T22" fmla="*/ 63 w 1440"/>
                <a:gd name="T23" fmla="*/ 119 h 1476"/>
                <a:gd name="T24" fmla="*/ 54 w 1440"/>
                <a:gd name="T25" fmla="*/ 114 h 1476"/>
                <a:gd name="T26" fmla="*/ 55 w 1440"/>
                <a:gd name="T27" fmla="*/ 106 h 1476"/>
                <a:gd name="T28" fmla="*/ 60 w 1440"/>
                <a:gd name="T29" fmla="*/ 100 h 1476"/>
                <a:gd name="T30" fmla="*/ 55 w 1440"/>
                <a:gd name="T31" fmla="*/ 91 h 1476"/>
                <a:gd name="T32" fmla="*/ 51 w 1440"/>
                <a:gd name="T33" fmla="*/ 86 h 1476"/>
                <a:gd name="T34" fmla="*/ 47 w 1440"/>
                <a:gd name="T35" fmla="*/ 85 h 1476"/>
                <a:gd name="T36" fmla="*/ 44 w 1440"/>
                <a:gd name="T37" fmla="*/ 82 h 1476"/>
                <a:gd name="T38" fmla="*/ 41 w 1440"/>
                <a:gd name="T39" fmla="*/ 83 h 1476"/>
                <a:gd name="T40" fmla="*/ 36 w 1440"/>
                <a:gd name="T41" fmla="*/ 83 h 1476"/>
                <a:gd name="T42" fmla="*/ 33 w 1440"/>
                <a:gd name="T43" fmla="*/ 83 h 1476"/>
                <a:gd name="T44" fmla="*/ 30 w 1440"/>
                <a:gd name="T45" fmla="*/ 83 h 1476"/>
                <a:gd name="T46" fmla="*/ 27 w 1440"/>
                <a:gd name="T47" fmla="*/ 83 h 1476"/>
                <a:gd name="T48" fmla="*/ 24 w 1440"/>
                <a:gd name="T49" fmla="*/ 82 h 1476"/>
                <a:gd name="T50" fmla="*/ 21 w 1440"/>
                <a:gd name="T51" fmla="*/ 80 h 1476"/>
                <a:gd name="T52" fmla="*/ 18 w 1440"/>
                <a:gd name="T53" fmla="*/ 79 h 1476"/>
                <a:gd name="T54" fmla="*/ 17 w 1440"/>
                <a:gd name="T55" fmla="*/ 78 h 1476"/>
                <a:gd name="T56" fmla="*/ 12 w 1440"/>
                <a:gd name="T57" fmla="*/ 78 h 1476"/>
                <a:gd name="T58" fmla="*/ 12 w 1440"/>
                <a:gd name="T59" fmla="*/ 78 h 1476"/>
                <a:gd name="T60" fmla="*/ 7 w 1440"/>
                <a:gd name="T61" fmla="*/ 80 h 1476"/>
                <a:gd name="T62" fmla="*/ 3 w 1440"/>
                <a:gd name="T63" fmla="*/ 81 h 1476"/>
                <a:gd name="T64" fmla="*/ 0 w 1440"/>
                <a:gd name="T65" fmla="*/ 76 h 1476"/>
                <a:gd name="T66" fmla="*/ 1 w 1440"/>
                <a:gd name="T67" fmla="*/ 50 h 1476"/>
                <a:gd name="T68" fmla="*/ 8 w 1440"/>
                <a:gd name="T69" fmla="*/ 48 h 1476"/>
                <a:gd name="T70" fmla="*/ 20 w 1440"/>
                <a:gd name="T71" fmla="*/ 49 h 1476"/>
                <a:gd name="T72" fmla="*/ 26 w 1440"/>
                <a:gd name="T73" fmla="*/ 50 h 1476"/>
                <a:gd name="T74" fmla="*/ 44 w 1440"/>
                <a:gd name="T75" fmla="*/ 47 h 1476"/>
                <a:gd name="T76" fmla="*/ 41 w 1440"/>
                <a:gd name="T77" fmla="*/ 24 h 1476"/>
                <a:gd name="T78" fmla="*/ 44 w 1440"/>
                <a:gd name="T79" fmla="*/ 20 h 1476"/>
                <a:gd name="T80" fmla="*/ 47 w 1440"/>
                <a:gd name="T81" fmla="*/ 18 h 1476"/>
                <a:gd name="T82" fmla="*/ 54 w 1440"/>
                <a:gd name="T83" fmla="*/ 21 h 1476"/>
                <a:gd name="T84" fmla="*/ 61 w 1440"/>
                <a:gd name="T85" fmla="*/ 23 h 1476"/>
                <a:gd name="T86" fmla="*/ 59 w 1440"/>
                <a:gd name="T87" fmla="*/ 14 h 1476"/>
                <a:gd name="T88" fmla="*/ 61 w 1440"/>
                <a:gd name="T89" fmla="*/ 8 h 1476"/>
                <a:gd name="T90" fmla="*/ 71 w 1440"/>
                <a:gd name="T91" fmla="*/ 7 h 1476"/>
                <a:gd name="T92" fmla="*/ 75 w 1440"/>
                <a:gd name="T93" fmla="*/ 0 h 1476"/>
                <a:gd name="T94" fmla="*/ 82 w 1440"/>
                <a:gd name="T95" fmla="*/ 3 h 1476"/>
                <a:gd name="T96" fmla="*/ 93 w 1440"/>
                <a:gd name="T97" fmla="*/ 5 h 1476"/>
                <a:gd name="T98" fmla="*/ 100 w 1440"/>
                <a:gd name="T99" fmla="*/ 1 h 1476"/>
                <a:gd name="T100" fmla="*/ 104 w 1440"/>
                <a:gd name="T101" fmla="*/ 4 h 1476"/>
                <a:gd name="T102" fmla="*/ 110 w 1440"/>
                <a:gd name="T103" fmla="*/ 10 h 1476"/>
                <a:gd name="T104" fmla="*/ 115 w 1440"/>
                <a:gd name="T105" fmla="*/ 23 h 1476"/>
                <a:gd name="T106" fmla="*/ 117 w 1440"/>
                <a:gd name="T107" fmla="*/ 42 h 1476"/>
                <a:gd name="T108" fmla="*/ 121 w 1440"/>
                <a:gd name="T109" fmla="*/ 52 h 1476"/>
                <a:gd name="T110" fmla="*/ 118 w 1440"/>
                <a:gd name="T111" fmla="*/ 62 h 1476"/>
                <a:gd name="T112" fmla="*/ 124 w 1440"/>
                <a:gd name="T113" fmla="*/ 66 h 1476"/>
                <a:gd name="T114" fmla="*/ 121 w 1440"/>
                <a:gd name="T115" fmla="*/ 71 h 1476"/>
                <a:gd name="T116" fmla="*/ 115 w 1440"/>
                <a:gd name="T117" fmla="*/ 76 h 1476"/>
                <a:gd name="T118" fmla="*/ 109 w 1440"/>
                <a:gd name="T119" fmla="*/ 76 h 1476"/>
                <a:gd name="T120" fmla="*/ 105 w 1440"/>
                <a:gd name="T121" fmla="*/ 86 h 1476"/>
                <a:gd name="T122" fmla="*/ 107 w 1440"/>
                <a:gd name="T123" fmla="*/ 97 h 147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40"/>
                <a:gd name="T187" fmla="*/ 0 h 1476"/>
                <a:gd name="T188" fmla="*/ 1440 w 1440"/>
                <a:gd name="T189" fmla="*/ 1476 h 147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40" h="1476">
                  <a:moveTo>
                    <a:pt x="1212" y="1164"/>
                  </a:moveTo>
                  <a:lnTo>
                    <a:pt x="1206" y="1170"/>
                  </a:lnTo>
                  <a:lnTo>
                    <a:pt x="1200" y="1176"/>
                  </a:lnTo>
                  <a:lnTo>
                    <a:pt x="1194" y="1176"/>
                  </a:lnTo>
                  <a:lnTo>
                    <a:pt x="1188" y="1188"/>
                  </a:lnTo>
                  <a:lnTo>
                    <a:pt x="1182" y="1194"/>
                  </a:lnTo>
                  <a:lnTo>
                    <a:pt x="1176" y="1194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64" y="1206"/>
                  </a:lnTo>
                  <a:lnTo>
                    <a:pt x="1158" y="1206"/>
                  </a:lnTo>
                  <a:lnTo>
                    <a:pt x="1152" y="1212"/>
                  </a:lnTo>
                  <a:lnTo>
                    <a:pt x="1146" y="1212"/>
                  </a:lnTo>
                  <a:lnTo>
                    <a:pt x="1140" y="1224"/>
                  </a:lnTo>
                  <a:lnTo>
                    <a:pt x="1134" y="1230"/>
                  </a:lnTo>
                  <a:lnTo>
                    <a:pt x="1128" y="1236"/>
                  </a:lnTo>
                  <a:lnTo>
                    <a:pt x="1128" y="1242"/>
                  </a:lnTo>
                  <a:lnTo>
                    <a:pt x="1128" y="1254"/>
                  </a:lnTo>
                  <a:lnTo>
                    <a:pt x="1128" y="1260"/>
                  </a:lnTo>
                  <a:lnTo>
                    <a:pt x="1122" y="1260"/>
                  </a:lnTo>
                  <a:lnTo>
                    <a:pt x="1122" y="1266"/>
                  </a:lnTo>
                  <a:lnTo>
                    <a:pt x="1128" y="1278"/>
                  </a:lnTo>
                  <a:lnTo>
                    <a:pt x="1122" y="1278"/>
                  </a:lnTo>
                  <a:lnTo>
                    <a:pt x="1122" y="1284"/>
                  </a:lnTo>
                  <a:lnTo>
                    <a:pt x="1128" y="1290"/>
                  </a:lnTo>
                  <a:lnTo>
                    <a:pt x="1122" y="1296"/>
                  </a:lnTo>
                  <a:lnTo>
                    <a:pt x="1122" y="1302"/>
                  </a:lnTo>
                  <a:lnTo>
                    <a:pt x="1116" y="1302"/>
                  </a:lnTo>
                  <a:lnTo>
                    <a:pt x="1110" y="1314"/>
                  </a:lnTo>
                  <a:lnTo>
                    <a:pt x="1110" y="1320"/>
                  </a:lnTo>
                  <a:lnTo>
                    <a:pt x="1110" y="1326"/>
                  </a:lnTo>
                  <a:lnTo>
                    <a:pt x="1098" y="1332"/>
                  </a:lnTo>
                  <a:lnTo>
                    <a:pt x="1092" y="1338"/>
                  </a:lnTo>
                  <a:lnTo>
                    <a:pt x="1092" y="1344"/>
                  </a:lnTo>
                  <a:lnTo>
                    <a:pt x="1086" y="1350"/>
                  </a:lnTo>
                  <a:lnTo>
                    <a:pt x="1080" y="1350"/>
                  </a:lnTo>
                  <a:lnTo>
                    <a:pt x="1074" y="1350"/>
                  </a:lnTo>
                  <a:lnTo>
                    <a:pt x="1068" y="1356"/>
                  </a:lnTo>
                  <a:lnTo>
                    <a:pt x="1062" y="1356"/>
                  </a:lnTo>
                  <a:lnTo>
                    <a:pt x="1044" y="1356"/>
                  </a:lnTo>
                  <a:lnTo>
                    <a:pt x="1038" y="1362"/>
                  </a:lnTo>
                  <a:lnTo>
                    <a:pt x="1032" y="1368"/>
                  </a:lnTo>
                  <a:lnTo>
                    <a:pt x="1026" y="1368"/>
                  </a:lnTo>
                  <a:lnTo>
                    <a:pt x="1020" y="1374"/>
                  </a:lnTo>
                  <a:lnTo>
                    <a:pt x="1008" y="1374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74"/>
                  </a:lnTo>
                  <a:lnTo>
                    <a:pt x="978" y="1380"/>
                  </a:lnTo>
                  <a:lnTo>
                    <a:pt x="972" y="1380"/>
                  </a:lnTo>
                  <a:lnTo>
                    <a:pt x="954" y="1368"/>
                  </a:lnTo>
                  <a:lnTo>
                    <a:pt x="930" y="1368"/>
                  </a:lnTo>
                  <a:lnTo>
                    <a:pt x="918" y="1368"/>
                  </a:lnTo>
                  <a:lnTo>
                    <a:pt x="906" y="1368"/>
                  </a:lnTo>
                  <a:lnTo>
                    <a:pt x="894" y="1368"/>
                  </a:lnTo>
                  <a:lnTo>
                    <a:pt x="864" y="1374"/>
                  </a:lnTo>
                  <a:lnTo>
                    <a:pt x="852" y="1374"/>
                  </a:lnTo>
                  <a:lnTo>
                    <a:pt x="846" y="1386"/>
                  </a:lnTo>
                  <a:lnTo>
                    <a:pt x="846" y="1392"/>
                  </a:lnTo>
                  <a:lnTo>
                    <a:pt x="840" y="1398"/>
                  </a:lnTo>
                  <a:lnTo>
                    <a:pt x="840" y="1404"/>
                  </a:lnTo>
                  <a:lnTo>
                    <a:pt x="834" y="1416"/>
                  </a:lnTo>
                  <a:lnTo>
                    <a:pt x="828" y="1416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04" y="1428"/>
                  </a:lnTo>
                  <a:lnTo>
                    <a:pt x="804" y="1434"/>
                  </a:lnTo>
                  <a:lnTo>
                    <a:pt x="804" y="1440"/>
                  </a:lnTo>
                  <a:lnTo>
                    <a:pt x="798" y="1446"/>
                  </a:lnTo>
                  <a:lnTo>
                    <a:pt x="798" y="1458"/>
                  </a:lnTo>
                  <a:lnTo>
                    <a:pt x="792" y="1464"/>
                  </a:lnTo>
                  <a:lnTo>
                    <a:pt x="786" y="1476"/>
                  </a:lnTo>
                  <a:lnTo>
                    <a:pt x="780" y="1470"/>
                  </a:lnTo>
                  <a:lnTo>
                    <a:pt x="774" y="1470"/>
                  </a:lnTo>
                  <a:lnTo>
                    <a:pt x="768" y="1470"/>
                  </a:lnTo>
                  <a:lnTo>
                    <a:pt x="762" y="1476"/>
                  </a:lnTo>
                  <a:lnTo>
                    <a:pt x="762" y="1470"/>
                  </a:lnTo>
                  <a:lnTo>
                    <a:pt x="762" y="1464"/>
                  </a:lnTo>
                  <a:lnTo>
                    <a:pt x="762" y="1458"/>
                  </a:lnTo>
                  <a:lnTo>
                    <a:pt x="756" y="1458"/>
                  </a:lnTo>
                  <a:lnTo>
                    <a:pt x="756" y="1452"/>
                  </a:lnTo>
                  <a:lnTo>
                    <a:pt x="756" y="1446"/>
                  </a:lnTo>
                  <a:lnTo>
                    <a:pt x="756" y="1440"/>
                  </a:lnTo>
                  <a:lnTo>
                    <a:pt x="750" y="1434"/>
                  </a:lnTo>
                  <a:lnTo>
                    <a:pt x="750" y="1428"/>
                  </a:lnTo>
                  <a:lnTo>
                    <a:pt x="750" y="1422"/>
                  </a:lnTo>
                  <a:lnTo>
                    <a:pt x="750" y="1416"/>
                  </a:lnTo>
                  <a:lnTo>
                    <a:pt x="744" y="1416"/>
                  </a:lnTo>
                  <a:lnTo>
                    <a:pt x="744" y="1410"/>
                  </a:lnTo>
                  <a:lnTo>
                    <a:pt x="738" y="1404"/>
                  </a:lnTo>
                  <a:lnTo>
                    <a:pt x="732" y="1398"/>
                  </a:lnTo>
                  <a:lnTo>
                    <a:pt x="732" y="1392"/>
                  </a:lnTo>
                  <a:lnTo>
                    <a:pt x="726" y="1386"/>
                  </a:lnTo>
                  <a:lnTo>
                    <a:pt x="726" y="1380"/>
                  </a:lnTo>
                  <a:lnTo>
                    <a:pt x="714" y="1368"/>
                  </a:lnTo>
                  <a:lnTo>
                    <a:pt x="708" y="1368"/>
                  </a:lnTo>
                  <a:lnTo>
                    <a:pt x="684" y="1332"/>
                  </a:lnTo>
                  <a:lnTo>
                    <a:pt x="666" y="1320"/>
                  </a:lnTo>
                  <a:lnTo>
                    <a:pt x="648" y="1302"/>
                  </a:lnTo>
                  <a:lnTo>
                    <a:pt x="630" y="1314"/>
                  </a:lnTo>
                  <a:lnTo>
                    <a:pt x="624" y="1314"/>
                  </a:lnTo>
                  <a:lnTo>
                    <a:pt x="624" y="1308"/>
                  </a:lnTo>
                  <a:lnTo>
                    <a:pt x="618" y="1308"/>
                  </a:lnTo>
                  <a:lnTo>
                    <a:pt x="612" y="1284"/>
                  </a:lnTo>
                  <a:lnTo>
                    <a:pt x="606" y="1254"/>
                  </a:lnTo>
                  <a:lnTo>
                    <a:pt x="606" y="1248"/>
                  </a:lnTo>
                  <a:lnTo>
                    <a:pt x="606" y="1242"/>
                  </a:lnTo>
                  <a:lnTo>
                    <a:pt x="612" y="1242"/>
                  </a:lnTo>
                  <a:lnTo>
                    <a:pt x="618" y="1236"/>
                  </a:lnTo>
                  <a:lnTo>
                    <a:pt x="618" y="1230"/>
                  </a:lnTo>
                  <a:lnTo>
                    <a:pt x="624" y="1224"/>
                  </a:lnTo>
                  <a:lnTo>
                    <a:pt x="630" y="1224"/>
                  </a:lnTo>
                  <a:lnTo>
                    <a:pt x="636" y="1218"/>
                  </a:lnTo>
                  <a:lnTo>
                    <a:pt x="636" y="1212"/>
                  </a:lnTo>
                  <a:lnTo>
                    <a:pt x="612" y="1200"/>
                  </a:lnTo>
                  <a:lnTo>
                    <a:pt x="606" y="1182"/>
                  </a:lnTo>
                  <a:lnTo>
                    <a:pt x="672" y="1182"/>
                  </a:lnTo>
                  <a:lnTo>
                    <a:pt x="690" y="1170"/>
                  </a:lnTo>
                  <a:lnTo>
                    <a:pt x="690" y="1152"/>
                  </a:lnTo>
                  <a:lnTo>
                    <a:pt x="678" y="1110"/>
                  </a:lnTo>
                  <a:lnTo>
                    <a:pt x="672" y="1092"/>
                  </a:lnTo>
                  <a:lnTo>
                    <a:pt x="660" y="1074"/>
                  </a:lnTo>
                  <a:lnTo>
                    <a:pt x="648" y="1068"/>
                  </a:lnTo>
                  <a:lnTo>
                    <a:pt x="642" y="1068"/>
                  </a:lnTo>
                  <a:lnTo>
                    <a:pt x="636" y="1062"/>
                  </a:lnTo>
                  <a:lnTo>
                    <a:pt x="624" y="1056"/>
                  </a:lnTo>
                  <a:lnTo>
                    <a:pt x="624" y="1050"/>
                  </a:lnTo>
                  <a:lnTo>
                    <a:pt x="618" y="1038"/>
                  </a:lnTo>
                  <a:lnTo>
                    <a:pt x="612" y="1038"/>
                  </a:lnTo>
                  <a:lnTo>
                    <a:pt x="612" y="1032"/>
                  </a:lnTo>
                  <a:lnTo>
                    <a:pt x="612" y="1026"/>
                  </a:lnTo>
                  <a:lnTo>
                    <a:pt x="600" y="1014"/>
                  </a:lnTo>
                  <a:lnTo>
                    <a:pt x="582" y="1008"/>
                  </a:lnTo>
                  <a:lnTo>
                    <a:pt x="576" y="1002"/>
                  </a:lnTo>
                  <a:lnTo>
                    <a:pt x="576" y="996"/>
                  </a:lnTo>
                  <a:lnTo>
                    <a:pt x="570" y="996"/>
                  </a:lnTo>
                  <a:lnTo>
                    <a:pt x="570" y="990"/>
                  </a:lnTo>
                  <a:lnTo>
                    <a:pt x="570" y="984"/>
                  </a:lnTo>
                  <a:lnTo>
                    <a:pt x="564" y="984"/>
                  </a:lnTo>
                  <a:lnTo>
                    <a:pt x="558" y="978"/>
                  </a:lnTo>
                  <a:lnTo>
                    <a:pt x="552" y="972"/>
                  </a:lnTo>
                  <a:lnTo>
                    <a:pt x="552" y="966"/>
                  </a:lnTo>
                  <a:lnTo>
                    <a:pt x="546" y="972"/>
                  </a:lnTo>
                  <a:lnTo>
                    <a:pt x="540" y="972"/>
                  </a:lnTo>
                  <a:lnTo>
                    <a:pt x="534" y="960"/>
                  </a:lnTo>
                  <a:lnTo>
                    <a:pt x="528" y="960"/>
                  </a:lnTo>
                  <a:lnTo>
                    <a:pt x="528" y="966"/>
                  </a:lnTo>
                  <a:lnTo>
                    <a:pt x="516" y="954"/>
                  </a:lnTo>
                  <a:lnTo>
                    <a:pt x="516" y="948"/>
                  </a:lnTo>
                  <a:lnTo>
                    <a:pt x="510" y="948"/>
                  </a:lnTo>
                  <a:lnTo>
                    <a:pt x="504" y="948"/>
                  </a:lnTo>
                  <a:lnTo>
                    <a:pt x="498" y="948"/>
                  </a:lnTo>
                  <a:lnTo>
                    <a:pt x="504" y="954"/>
                  </a:lnTo>
                  <a:lnTo>
                    <a:pt x="498" y="954"/>
                  </a:lnTo>
                  <a:lnTo>
                    <a:pt x="492" y="954"/>
                  </a:lnTo>
                  <a:lnTo>
                    <a:pt x="480" y="942"/>
                  </a:lnTo>
                  <a:lnTo>
                    <a:pt x="480" y="948"/>
                  </a:lnTo>
                  <a:lnTo>
                    <a:pt x="480" y="954"/>
                  </a:lnTo>
                  <a:lnTo>
                    <a:pt x="474" y="954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56" y="966"/>
                  </a:lnTo>
                  <a:lnTo>
                    <a:pt x="456" y="960"/>
                  </a:lnTo>
                  <a:lnTo>
                    <a:pt x="450" y="966"/>
                  </a:lnTo>
                  <a:lnTo>
                    <a:pt x="444" y="966"/>
                  </a:lnTo>
                  <a:lnTo>
                    <a:pt x="414" y="966"/>
                  </a:lnTo>
                  <a:lnTo>
                    <a:pt x="408" y="960"/>
                  </a:lnTo>
                  <a:lnTo>
                    <a:pt x="408" y="966"/>
                  </a:lnTo>
                  <a:lnTo>
                    <a:pt x="402" y="960"/>
                  </a:lnTo>
                  <a:lnTo>
                    <a:pt x="396" y="960"/>
                  </a:lnTo>
                  <a:lnTo>
                    <a:pt x="390" y="960"/>
                  </a:lnTo>
                  <a:lnTo>
                    <a:pt x="390" y="966"/>
                  </a:lnTo>
                  <a:lnTo>
                    <a:pt x="384" y="966"/>
                  </a:lnTo>
                  <a:lnTo>
                    <a:pt x="378" y="966"/>
                  </a:lnTo>
                  <a:lnTo>
                    <a:pt x="384" y="960"/>
                  </a:lnTo>
                  <a:lnTo>
                    <a:pt x="384" y="954"/>
                  </a:lnTo>
                  <a:lnTo>
                    <a:pt x="372" y="948"/>
                  </a:lnTo>
                  <a:lnTo>
                    <a:pt x="372" y="954"/>
                  </a:lnTo>
                  <a:lnTo>
                    <a:pt x="372" y="960"/>
                  </a:lnTo>
                  <a:lnTo>
                    <a:pt x="366" y="960"/>
                  </a:lnTo>
                  <a:lnTo>
                    <a:pt x="360" y="966"/>
                  </a:lnTo>
                  <a:lnTo>
                    <a:pt x="354" y="966"/>
                  </a:lnTo>
                  <a:lnTo>
                    <a:pt x="348" y="960"/>
                  </a:lnTo>
                  <a:lnTo>
                    <a:pt x="342" y="960"/>
                  </a:lnTo>
                  <a:lnTo>
                    <a:pt x="342" y="966"/>
                  </a:lnTo>
                  <a:lnTo>
                    <a:pt x="336" y="972"/>
                  </a:lnTo>
                  <a:lnTo>
                    <a:pt x="330" y="972"/>
                  </a:lnTo>
                  <a:lnTo>
                    <a:pt x="324" y="966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6" y="954"/>
                  </a:lnTo>
                  <a:lnTo>
                    <a:pt x="306" y="948"/>
                  </a:lnTo>
                  <a:lnTo>
                    <a:pt x="306" y="942"/>
                  </a:lnTo>
                  <a:lnTo>
                    <a:pt x="300" y="942"/>
                  </a:lnTo>
                  <a:lnTo>
                    <a:pt x="294" y="936"/>
                  </a:lnTo>
                  <a:lnTo>
                    <a:pt x="288" y="936"/>
                  </a:lnTo>
                  <a:lnTo>
                    <a:pt x="282" y="942"/>
                  </a:lnTo>
                  <a:lnTo>
                    <a:pt x="276" y="936"/>
                  </a:lnTo>
                  <a:lnTo>
                    <a:pt x="276" y="942"/>
                  </a:lnTo>
                  <a:lnTo>
                    <a:pt x="270" y="942"/>
                  </a:lnTo>
                  <a:lnTo>
                    <a:pt x="264" y="936"/>
                  </a:lnTo>
                  <a:lnTo>
                    <a:pt x="252" y="936"/>
                  </a:lnTo>
                  <a:lnTo>
                    <a:pt x="246" y="936"/>
                  </a:lnTo>
                  <a:lnTo>
                    <a:pt x="240" y="936"/>
                  </a:lnTo>
                  <a:lnTo>
                    <a:pt x="234" y="936"/>
                  </a:lnTo>
                  <a:lnTo>
                    <a:pt x="240" y="924"/>
                  </a:lnTo>
                  <a:lnTo>
                    <a:pt x="234" y="924"/>
                  </a:lnTo>
                  <a:lnTo>
                    <a:pt x="228" y="918"/>
                  </a:lnTo>
                  <a:lnTo>
                    <a:pt x="228" y="906"/>
                  </a:lnTo>
                  <a:lnTo>
                    <a:pt x="222" y="900"/>
                  </a:lnTo>
                  <a:lnTo>
                    <a:pt x="216" y="900"/>
                  </a:lnTo>
                  <a:lnTo>
                    <a:pt x="210" y="900"/>
                  </a:lnTo>
                  <a:lnTo>
                    <a:pt x="210" y="906"/>
                  </a:lnTo>
                  <a:lnTo>
                    <a:pt x="204" y="906"/>
                  </a:lnTo>
                  <a:lnTo>
                    <a:pt x="198" y="906"/>
                  </a:lnTo>
                  <a:lnTo>
                    <a:pt x="210" y="900"/>
                  </a:lnTo>
                  <a:lnTo>
                    <a:pt x="210" y="894"/>
                  </a:lnTo>
                  <a:lnTo>
                    <a:pt x="216" y="888"/>
                  </a:lnTo>
                  <a:lnTo>
                    <a:pt x="204" y="882"/>
                  </a:lnTo>
                  <a:lnTo>
                    <a:pt x="204" y="894"/>
                  </a:lnTo>
                  <a:lnTo>
                    <a:pt x="198" y="894"/>
                  </a:lnTo>
                  <a:lnTo>
                    <a:pt x="192" y="900"/>
                  </a:lnTo>
                  <a:lnTo>
                    <a:pt x="186" y="894"/>
                  </a:lnTo>
                  <a:lnTo>
                    <a:pt x="180" y="894"/>
                  </a:lnTo>
                  <a:lnTo>
                    <a:pt x="174" y="894"/>
                  </a:lnTo>
                  <a:lnTo>
                    <a:pt x="168" y="900"/>
                  </a:lnTo>
                  <a:lnTo>
                    <a:pt x="162" y="906"/>
                  </a:lnTo>
                  <a:lnTo>
                    <a:pt x="156" y="906"/>
                  </a:lnTo>
                  <a:lnTo>
                    <a:pt x="150" y="900"/>
                  </a:lnTo>
                  <a:lnTo>
                    <a:pt x="144" y="894"/>
                  </a:lnTo>
                  <a:lnTo>
                    <a:pt x="138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0" y="888"/>
                  </a:lnTo>
                  <a:lnTo>
                    <a:pt x="114" y="894"/>
                  </a:lnTo>
                  <a:lnTo>
                    <a:pt x="120" y="900"/>
                  </a:lnTo>
                  <a:lnTo>
                    <a:pt x="126" y="900"/>
                  </a:lnTo>
                  <a:lnTo>
                    <a:pt x="132" y="900"/>
                  </a:lnTo>
                  <a:lnTo>
                    <a:pt x="132" y="906"/>
                  </a:lnTo>
                  <a:lnTo>
                    <a:pt x="126" y="912"/>
                  </a:lnTo>
                  <a:lnTo>
                    <a:pt x="126" y="918"/>
                  </a:lnTo>
                  <a:lnTo>
                    <a:pt x="114" y="918"/>
                  </a:lnTo>
                  <a:lnTo>
                    <a:pt x="108" y="924"/>
                  </a:lnTo>
                  <a:lnTo>
                    <a:pt x="102" y="924"/>
                  </a:lnTo>
                  <a:lnTo>
                    <a:pt x="90" y="924"/>
                  </a:lnTo>
                  <a:lnTo>
                    <a:pt x="84" y="924"/>
                  </a:lnTo>
                  <a:lnTo>
                    <a:pt x="78" y="924"/>
                  </a:lnTo>
                  <a:lnTo>
                    <a:pt x="60" y="924"/>
                  </a:lnTo>
                  <a:lnTo>
                    <a:pt x="54" y="942"/>
                  </a:lnTo>
                  <a:lnTo>
                    <a:pt x="48" y="936"/>
                  </a:lnTo>
                  <a:lnTo>
                    <a:pt x="42" y="930"/>
                  </a:lnTo>
                  <a:lnTo>
                    <a:pt x="36" y="930"/>
                  </a:lnTo>
                  <a:lnTo>
                    <a:pt x="30" y="936"/>
                  </a:lnTo>
                  <a:lnTo>
                    <a:pt x="30" y="930"/>
                  </a:lnTo>
                  <a:lnTo>
                    <a:pt x="30" y="924"/>
                  </a:lnTo>
                  <a:lnTo>
                    <a:pt x="18" y="918"/>
                  </a:lnTo>
                  <a:lnTo>
                    <a:pt x="18" y="912"/>
                  </a:lnTo>
                  <a:lnTo>
                    <a:pt x="12" y="912"/>
                  </a:lnTo>
                  <a:lnTo>
                    <a:pt x="6" y="912"/>
                  </a:lnTo>
                  <a:lnTo>
                    <a:pt x="6" y="900"/>
                  </a:lnTo>
                  <a:lnTo>
                    <a:pt x="6" y="894"/>
                  </a:lnTo>
                  <a:lnTo>
                    <a:pt x="0" y="870"/>
                  </a:lnTo>
                  <a:lnTo>
                    <a:pt x="6" y="846"/>
                  </a:lnTo>
                  <a:lnTo>
                    <a:pt x="6" y="810"/>
                  </a:lnTo>
                  <a:lnTo>
                    <a:pt x="12" y="774"/>
                  </a:lnTo>
                  <a:lnTo>
                    <a:pt x="12" y="756"/>
                  </a:lnTo>
                  <a:lnTo>
                    <a:pt x="18" y="744"/>
                  </a:lnTo>
                  <a:lnTo>
                    <a:pt x="18" y="732"/>
                  </a:lnTo>
                  <a:lnTo>
                    <a:pt x="12" y="576"/>
                  </a:lnTo>
                  <a:lnTo>
                    <a:pt x="12" y="570"/>
                  </a:lnTo>
                  <a:lnTo>
                    <a:pt x="18" y="564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42" y="552"/>
                  </a:lnTo>
                  <a:lnTo>
                    <a:pt x="66" y="552"/>
                  </a:lnTo>
                  <a:lnTo>
                    <a:pt x="78" y="558"/>
                  </a:lnTo>
                  <a:lnTo>
                    <a:pt x="90" y="558"/>
                  </a:lnTo>
                  <a:lnTo>
                    <a:pt x="108" y="558"/>
                  </a:lnTo>
                  <a:lnTo>
                    <a:pt x="144" y="558"/>
                  </a:lnTo>
                  <a:lnTo>
                    <a:pt x="204" y="552"/>
                  </a:lnTo>
                  <a:lnTo>
                    <a:pt x="210" y="558"/>
                  </a:lnTo>
                  <a:lnTo>
                    <a:pt x="216" y="558"/>
                  </a:lnTo>
                  <a:lnTo>
                    <a:pt x="210" y="564"/>
                  </a:lnTo>
                  <a:lnTo>
                    <a:pt x="216" y="564"/>
                  </a:lnTo>
                  <a:lnTo>
                    <a:pt x="222" y="564"/>
                  </a:lnTo>
                  <a:lnTo>
                    <a:pt x="240" y="564"/>
                  </a:lnTo>
                  <a:lnTo>
                    <a:pt x="258" y="564"/>
                  </a:lnTo>
                  <a:lnTo>
                    <a:pt x="264" y="570"/>
                  </a:lnTo>
                  <a:lnTo>
                    <a:pt x="276" y="570"/>
                  </a:lnTo>
                  <a:lnTo>
                    <a:pt x="282" y="564"/>
                  </a:lnTo>
                  <a:lnTo>
                    <a:pt x="294" y="564"/>
                  </a:lnTo>
                  <a:lnTo>
                    <a:pt x="294" y="570"/>
                  </a:lnTo>
                  <a:lnTo>
                    <a:pt x="300" y="570"/>
                  </a:lnTo>
                  <a:lnTo>
                    <a:pt x="378" y="564"/>
                  </a:lnTo>
                  <a:lnTo>
                    <a:pt x="408" y="558"/>
                  </a:lnTo>
                  <a:lnTo>
                    <a:pt x="432" y="552"/>
                  </a:lnTo>
                  <a:lnTo>
                    <a:pt x="450" y="546"/>
                  </a:lnTo>
                  <a:lnTo>
                    <a:pt x="468" y="546"/>
                  </a:lnTo>
                  <a:lnTo>
                    <a:pt x="468" y="552"/>
                  </a:lnTo>
                  <a:lnTo>
                    <a:pt x="504" y="552"/>
                  </a:lnTo>
                  <a:lnTo>
                    <a:pt x="510" y="534"/>
                  </a:lnTo>
                  <a:lnTo>
                    <a:pt x="516" y="510"/>
                  </a:lnTo>
                  <a:lnTo>
                    <a:pt x="522" y="510"/>
                  </a:lnTo>
                  <a:lnTo>
                    <a:pt x="528" y="420"/>
                  </a:lnTo>
                  <a:lnTo>
                    <a:pt x="522" y="414"/>
                  </a:lnTo>
                  <a:lnTo>
                    <a:pt x="516" y="396"/>
                  </a:lnTo>
                  <a:lnTo>
                    <a:pt x="510" y="372"/>
                  </a:lnTo>
                  <a:lnTo>
                    <a:pt x="498" y="348"/>
                  </a:lnTo>
                  <a:lnTo>
                    <a:pt x="474" y="282"/>
                  </a:lnTo>
                  <a:lnTo>
                    <a:pt x="474" y="270"/>
                  </a:lnTo>
                  <a:lnTo>
                    <a:pt x="480" y="258"/>
                  </a:lnTo>
                  <a:lnTo>
                    <a:pt x="486" y="258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92" y="246"/>
                  </a:lnTo>
                  <a:lnTo>
                    <a:pt x="504" y="234"/>
                  </a:lnTo>
                  <a:lnTo>
                    <a:pt x="510" y="228"/>
                  </a:lnTo>
                  <a:lnTo>
                    <a:pt x="516" y="228"/>
                  </a:lnTo>
                  <a:lnTo>
                    <a:pt x="516" y="222"/>
                  </a:lnTo>
                  <a:lnTo>
                    <a:pt x="516" y="216"/>
                  </a:lnTo>
                  <a:lnTo>
                    <a:pt x="522" y="216"/>
                  </a:lnTo>
                  <a:lnTo>
                    <a:pt x="528" y="210"/>
                  </a:lnTo>
                  <a:lnTo>
                    <a:pt x="534" y="210"/>
                  </a:lnTo>
                  <a:lnTo>
                    <a:pt x="540" y="210"/>
                  </a:lnTo>
                  <a:lnTo>
                    <a:pt x="546" y="210"/>
                  </a:lnTo>
                  <a:lnTo>
                    <a:pt x="552" y="210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16"/>
                  </a:lnTo>
                  <a:lnTo>
                    <a:pt x="588" y="228"/>
                  </a:lnTo>
                  <a:lnTo>
                    <a:pt x="594" y="234"/>
                  </a:lnTo>
                  <a:lnTo>
                    <a:pt x="600" y="240"/>
                  </a:lnTo>
                  <a:lnTo>
                    <a:pt x="618" y="246"/>
                  </a:lnTo>
                  <a:lnTo>
                    <a:pt x="624" y="246"/>
                  </a:lnTo>
                  <a:lnTo>
                    <a:pt x="636" y="252"/>
                  </a:lnTo>
                  <a:lnTo>
                    <a:pt x="654" y="252"/>
                  </a:lnTo>
                  <a:lnTo>
                    <a:pt x="654" y="258"/>
                  </a:lnTo>
                  <a:lnTo>
                    <a:pt x="666" y="264"/>
                  </a:lnTo>
                  <a:lnTo>
                    <a:pt x="672" y="264"/>
                  </a:lnTo>
                  <a:lnTo>
                    <a:pt x="678" y="264"/>
                  </a:lnTo>
                  <a:lnTo>
                    <a:pt x="696" y="258"/>
                  </a:lnTo>
                  <a:lnTo>
                    <a:pt x="696" y="252"/>
                  </a:lnTo>
                  <a:lnTo>
                    <a:pt x="696" y="246"/>
                  </a:lnTo>
                  <a:lnTo>
                    <a:pt x="690" y="234"/>
                  </a:lnTo>
                  <a:lnTo>
                    <a:pt x="684" y="210"/>
                  </a:lnTo>
                  <a:lnTo>
                    <a:pt x="678" y="192"/>
                  </a:lnTo>
                  <a:lnTo>
                    <a:pt x="672" y="174"/>
                  </a:lnTo>
                  <a:lnTo>
                    <a:pt x="672" y="168"/>
                  </a:lnTo>
                  <a:lnTo>
                    <a:pt x="672" y="162"/>
                  </a:lnTo>
                  <a:lnTo>
                    <a:pt x="672" y="156"/>
                  </a:lnTo>
                  <a:lnTo>
                    <a:pt x="684" y="132"/>
                  </a:lnTo>
                  <a:lnTo>
                    <a:pt x="684" y="120"/>
                  </a:lnTo>
                  <a:lnTo>
                    <a:pt x="684" y="108"/>
                  </a:lnTo>
                  <a:lnTo>
                    <a:pt x="678" y="102"/>
                  </a:lnTo>
                  <a:lnTo>
                    <a:pt x="678" y="96"/>
                  </a:lnTo>
                  <a:lnTo>
                    <a:pt x="684" y="96"/>
                  </a:lnTo>
                  <a:lnTo>
                    <a:pt x="696" y="90"/>
                  </a:lnTo>
                  <a:lnTo>
                    <a:pt x="702" y="84"/>
                  </a:lnTo>
                  <a:lnTo>
                    <a:pt x="720" y="72"/>
                  </a:lnTo>
                  <a:lnTo>
                    <a:pt x="738" y="66"/>
                  </a:lnTo>
                  <a:lnTo>
                    <a:pt x="756" y="60"/>
                  </a:lnTo>
                  <a:lnTo>
                    <a:pt x="768" y="60"/>
                  </a:lnTo>
                  <a:lnTo>
                    <a:pt x="798" y="72"/>
                  </a:lnTo>
                  <a:lnTo>
                    <a:pt x="804" y="78"/>
                  </a:lnTo>
                  <a:lnTo>
                    <a:pt x="816" y="84"/>
                  </a:lnTo>
                  <a:lnTo>
                    <a:pt x="822" y="84"/>
                  </a:lnTo>
                  <a:lnTo>
                    <a:pt x="828" y="72"/>
                  </a:lnTo>
                  <a:lnTo>
                    <a:pt x="828" y="60"/>
                  </a:lnTo>
                  <a:lnTo>
                    <a:pt x="828" y="36"/>
                  </a:lnTo>
                  <a:lnTo>
                    <a:pt x="828" y="24"/>
                  </a:lnTo>
                  <a:lnTo>
                    <a:pt x="828" y="12"/>
                  </a:lnTo>
                  <a:lnTo>
                    <a:pt x="834" y="12"/>
                  </a:lnTo>
                  <a:lnTo>
                    <a:pt x="852" y="6"/>
                  </a:lnTo>
                  <a:lnTo>
                    <a:pt x="876" y="6"/>
                  </a:lnTo>
                  <a:lnTo>
                    <a:pt x="894" y="6"/>
                  </a:lnTo>
                  <a:lnTo>
                    <a:pt x="906" y="12"/>
                  </a:lnTo>
                  <a:lnTo>
                    <a:pt x="912" y="24"/>
                  </a:lnTo>
                  <a:lnTo>
                    <a:pt x="924" y="24"/>
                  </a:lnTo>
                  <a:lnTo>
                    <a:pt x="930" y="30"/>
                  </a:lnTo>
                  <a:lnTo>
                    <a:pt x="936" y="30"/>
                  </a:lnTo>
                  <a:lnTo>
                    <a:pt x="936" y="36"/>
                  </a:lnTo>
                  <a:lnTo>
                    <a:pt x="942" y="36"/>
                  </a:lnTo>
                  <a:lnTo>
                    <a:pt x="948" y="42"/>
                  </a:lnTo>
                  <a:lnTo>
                    <a:pt x="960" y="48"/>
                  </a:lnTo>
                  <a:lnTo>
                    <a:pt x="966" y="48"/>
                  </a:lnTo>
                  <a:lnTo>
                    <a:pt x="1026" y="60"/>
                  </a:lnTo>
                  <a:lnTo>
                    <a:pt x="1050" y="60"/>
                  </a:lnTo>
                  <a:lnTo>
                    <a:pt x="1050" y="54"/>
                  </a:lnTo>
                  <a:lnTo>
                    <a:pt x="1062" y="54"/>
                  </a:lnTo>
                  <a:lnTo>
                    <a:pt x="1074" y="48"/>
                  </a:lnTo>
                  <a:lnTo>
                    <a:pt x="1086" y="42"/>
                  </a:lnTo>
                  <a:lnTo>
                    <a:pt x="1104" y="36"/>
                  </a:lnTo>
                  <a:lnTo>
                    <a:pt x="1116" y="30"/>
                  </a:lnTo>
                  <a:lnTo>
                    <a:pt x="1122" y="24"/>
                  </a:lnTo>
                  <a:lnTo>
                    <a:pt x="1128" y="18"/>
                  </a:lnTo>
                  <a:lnTo>
                    <a:pt x="1134" y="18"/>
                  </a:lnTo>
                  <a:lnTo>
                    <a:pt x="1140" y="12"/>
                  </a:lnTo>
                  <a:lnTo>
                    <a:pt x="1146" y="6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24"/>
                  </a:lnTo>
                  <a:lnTo>
                    <a:pt x="1176" y="36"/>
                  </a:lnTo>
                  <a:lnTo>
                    <a:pt x="1188" y="42"/>
                  </a:lnTo>
                  <a:lnTo>
                    <a:pt x="1200" y="54"/>
                  </a:lnTo>
                  <a:lnTo>
                    <a:pt x="1224" y="84"/>
                  </a:lnTo>
                  <a:lnTo>
                    <a:pt x="1224" y="90"/>
                  </a:lnTo>
                  <a:lnTo>
                    <a:pt x="1236" y="96"/>
                  </a:lnTo>
                  <a:lnTo>
                    <a:pt x="1236" y="108"/>
                  </a:lnTo>
                  <a:lnTo>
                    <a:pt x="1248" y="114"/>
                  </a:lnTo>
                  <a:lnTo>
                    <a:pt x="1254" y="114"/>
                  </a:lnTo>
                  <a:lnTo>
                    <a:pt x="1260" y="114"/>
                  </a:lnTo>
                  <a:lnTo>
                    <a:pt x="1296" y="114"/>
                  </a:lnTo>
                  <a:lnTo>
                    <a:pt x="1302" y="114"/>
                  </a:lnTo>
                  <a:lnTo>
                    <a:pt x="1320" y="108"/>
                  </a:lnTo>
                  <a:lnTo>
                    <a:pt x="1326" y="108"/>
                  </a:lnTo>
                  <a:lnTo>
                    <a:pt x="1326" y="138"/>
                  </a:lnTo>
                  <a:lnTo>
                    <a:pt x="1326" y="210"/>
                  </a:lnTo>
                  <a:lnTo>
                    <a:pt x="1320" y="252"/>
                  </a:lnTo>
                  <a:lnTo>
                    <a:pt x="1320" y="270"/>
                  </a:lnTo>
                  <a:lnTo>
                    <a:pt x="1320" y="288"/>
                  </a:lnTo>
                  <a:lnTo>
                    <a:pt x="1320" y="318"/>
                  </a:lnTo>
                  <a:lnTo>
                    <a:pt x="1326" y="354"/>
                  </a:lnTo>
                  <a:lnTo>
                    <a:pt x="1326" y="372"/>
                  </a:lnTo>
                  <a:lnTo>
                    <a:pt x="1332" y="420"/>
                  </a:lnTo>
                  <a:lnTo>
                    <a:pt x="1332" y="450"/>
                  </a:lnTo>
                  <a:lnTo>
                    <a:pt x="1338" y="480"/>
                  </a:lnTo>
                  <a:lnTo>
                    <a:pt x="1344" y="486"/>
                  </a:lnTo>
                  <a:lnTo>
                    <a:pt x="1338" y="492"/>
                  </a:lnTo>
                  <a:lnTo>
                    <a:pt x="1344" y="492"/>
                  </a:lnTo>
                  <a:lnTo>
                    <a:pt x="1344" y="498"/>
                  </a:lnTo>
                  <a:lnTo>
                    <a:pt x="1350" y="498"/>
                  </a:lnTo>
                  <a:lnTo>
                    <a:pt x="1350" y="522"/>
                  </a:lnTo>
                  <a:lnTo>
                    <a:pt x="1362" y="564"/>
                  </a:lnTo>
                  <a:lnTo>
                    <a:pt x="1368" y="582"/>
                  </a:lnTo>
                  <a:lnTo>
                    <a:pt x="1380" y="600"/>
                  </a:lnTo>
                  <a:lnTo>
                    <a:pt x="1386" y="636"/>
                  </a:lnTo>
                  <a:lnTo>
                    <a:pt x="1380" y="660"/>
                  </a:lnTo>
                  <a:lnTo>
                    <a:pt x="1380" y="678"/>
                  </a:lnTo>
                  <a:lnTo>
                    <a:pt x="1380" y="684"/>
                  </a:lnTo>
                  <a:lnTo>
                    <a:pt x="1374" y="684"/>
                  </a:lnTo>
                  <a:lnTo>
                    <a:pt x="1368" y="690"/>
                  </a:lnTo>
                  <a:lnTo>
                    <a:pt x="1356" y="702"/>
                  </a:lnTo>
                  <a:lnTo>
                    <a:pt x="1350" y="708"/>
                  </a:lnTo>
                  <a:lnTo>
                    <a:pt x="1356" y="714"/>
                  </a:lnTo>
                  <a:lnTo>
                    <a:pt x="1368" y="726"/>
                  </a:lnTo>
                  <a:lnTo>
                    <a:pt x="1380" y="738"/>
                  </a:lnTo>
                  <a:lnTo>
                    <a:pt x="1386" y="744"/>
                  </a:lnTo>
                  <a:lnTo>
                    <a:pt x="1392" y="744"/>
                  </a:lnTo>
                  <a:lnTo>
                    <a:pt x="1410" y="750"/>
                  </a:lnTo>
                  <a:lnTo>
                    <a:pt x="1416" y="756"/>
                  </a:lnTo>
                  <a:lnTo>
                    <a:pt x="1422" y="756"/>
                  </a:lnTo>
                  <a:lnTo>
                    <a:pt x="1422" y="762"/>
                  </a:lnTo>
                  <a:lnTo>
                    <a:pt x="1428" y="774"/>
                  </a:lnTo>
                  <a:lnTo>
                    <a:pt x="1428" y="780"/>
                  </a:lnTo>
                  <a:lnTo>
                    <a:pt x="1434" y="780"/>
                  </a:lnTo>
                  <a:lnTo>
                    <a:pt x="1440" y="798"/>
                  </a:lnTo>
                  <a:lnTo>
                    <a:pt x="1422" y="816"/>
                  </a:lnTo>
                  <a:lnTo>
                    <a:pt x="1386" y="810"/>
                  </a:lnTo>
                  <a:lnTo>
                    <a:pt x="1380" y="816"/>
                  </a:lnTo>
                  <a:lnTo>
                    <a:pt x="1374" y="840"/>
                  </a:lnTo>
                  <a:lnTo>
                    <a:pt x="1350" y="852"/>
                  </a:lnTo>
                  <a:lnTo>
                    <a:pt x="1350" y="858"/>
                  </a:lnTo>
                  <a:lnTo>
                    <a:pt x="1350" y="864"/>
                  </a:lnTo>
                  <a:lnTo>
                    <a:pt x="1344" y="864"/>
                  </a:lnTo>
                  <a:lnTo>
                    <a:pt x="1338" y="870"/>
                  </a:lnTo>
                  <a:lnTo>
                    <a:pt x="1332" y="876"/>
                  </a:lnTo>
                  <a:lnTo>
                    <a:pt x="1314" y="876"/>
                  </a:lnTo>
                  <a:lnTo>
                    <a:pt x="1314" y="870"/>
                  </a:lnTo>
                  <a:lnTo>
                    <a:pt x="1308" y="870"/>
                  </a:lnTo>
                  <a:lnTo>
                    <a:pt x="1302" y="864"/>
                  </a:lnTo>
                  <a:lnTo>
                    <a:pt x="1296" y="864"/>
                  </a:lnTo>
                  <a:lnTo>
                    <a:pt x="1284" y="870"/>
                  </a:lnTo>
                  <a:lnTo>
                    <a:pt x="1266" y="870"/>
                  </a:lnTo>
                  <a:lnTo>
                    <a:pt x="1260" y="870"/>
                  </a:lnTo>
                  <a:lnTo>
                    <a:pt x="1248" y="876"/>
                  </a:lnTo>
                  <a:lnTo>
                    <a:pt x="1236" y="876"/>
                  </a:lnTo>
                  <a:lnTo>
                    <a:pt x="1230" y="882"/>
                  </a:lnTo>
                  <a:lnTo>
                    <a:pt x="1224" y="894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18" y="942"/>
                  </a:lnTo>
                  <a:lnTo>
                    <a:pt x="1212" y="948"/>
                  </a:lnTo>
                  <a:lnTo>
                    <a:pt x="1200" y="984"/>
                  </a:lnTo>
                  <a:lnTo>
                    <a:pt x="1194" y="1008"/>
                  </a:lnTo>
                  <a:lnTo>
                    <a:pt x="1218" y="1038"/>
                  </a:lnTo>
                  <a:lnTo>
                    <a:pt x="1224" y="1044"/>
                  </a:lnTo>
                  <a:lnTo>
                    <a:pt x="1224" y="1062"/>
                  </a:lnTo>
                  <a:lnTo>
                    <a:pt x="1236" y="1080"/>
                  </a:lnTo>
                  <a:lnTo>
                    <a:pt x="1236" y="1086"/>
                  </a:lnTo>
                  <a:lnTo>
                    <a:pt x="1230" y="1092"/>
                  </a:lnTo>
                  <a:lnTo>
                    <a:pt x="1224" y="1110"/>
                  </a:lnTo>
                  <a:lnTo>
                    <a:pt x="1218" y="1122"/>
                  </a:lnTo>
                  <a:lnTo>
                    <a:pt x="1224" y="1140"/>
                  </a:lnTo>
                  <a:lnTo>
                    <a:pt x="1218" y="1146"/>
                  </a:lnTo>
                  <a:lnTo>
                    <a:pt x="1218" y="1152"/>
                  </a:lnTo>
                  <a:lnTo>
                    <a:pt x="1212" y="116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1" name="Freeform 36">
              <a:extLst>
                <a:ext uri="{FF2B5EF4-FFF2-40B4-BE49-F238E27FC236}">
                  <a16:creationId xmlns:a16="http://schemas.microsoft.com/office/drawing/2014/main" id="{B9C0D6BE-CB1C-4E69-B224-1ABF097AA8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90208" y="1647855"/>
              <a:ext cx="742415" cy="758173"/>
            </a:xfrm>
            <a:custGeom>
              <a:avLst/>
              <a:gdLst>
                <a:gd name="T0" fmla="*/ 75 w 1398"/>
                <a:gd name="T1" fmla="*/ 48 h 1428"/>
                <a:gd name="T2" fmla="*/ 68 w 1398"/>
                <a:gd name="T3" fmla="*/ 54 h 1428"/>
                <a:gd name="T4" fmla="*/ 57 w 1398"/>
                <a:gd name="T5" fmla="*/ 59 h 1428"/>
                <a:gd name="T6" fmla="*/ 55 w 1398"/>
                <a:gd name="T7" fmla="*/ 68 h 1428"/>
                <a:gd name="T8" fmla="*/ 55 w 1398"/>
                <a:gd name="T9" fmla="*/ 77 h 1428"/>
                <a:gd name="T10" fmla="*/ 57 w 1398"/>
                <a:gd name="T11" fmla="*/ 81 h 1428"/>
                <a:gd name="T12" fmla="*/ 56 w 1398"/>
                <a:gd name="T13" fmla="*/ 86 h 1428"/>
                <a:gd name="T14" fmla="*/ 57 w 1398"/>
                <a:gd name="T15" fmla="*/ 89 h 1428"/>
                <a:gd name="T16" fmla="*/ 58 w 1398"/>
                <a:gd name="T17" fmla="*/ 92 h 1428"/>
                <a:gd name="T18" fmla="*/ 58 w 1398"/>
                <a:gd name="T19" fmla="*/ 96 h 1428"/>
                <a:gd name="T20" fmla="*/ 49 w 1398"/>
                <a:gd name="T21" fmla="*/ 100 h 1428"/>
                <a:gd name="T22" fmla="*/ 47 w 1398"/>
                <a:gd name="T23" fmla="*/ 108 h 1428"/>
                <a:gd name="T24" fmla="*/ 48 w 1398"/>
                <a:gd name="T25" fmla="*/ 113 h 1428"/>
                <a:gd name="T26" fmla="*/ 43 w 1398"/>
                <a:gd name="T27" fmla="*/ 114 h 1428"/>
                <a:gd name="T28" fmla="*/ 39 w 1398"/>
                <a:gd name="T29" fmla="*/ 113 h 1428"/>
                <a:gd name="T30" fmla="*/ 33 w 1398"/>
                <a:gd name="T31" fmla="*/ 109 h 1428"/>
                <a:gd name="T32" fmla="*/ 29 w 1398"/>
                <a:gd name="T33" fmla="*/ 114 h 1428"/>
                <a:gd name="T34" fmla="*/ 22 w 1398"/>
                <a:gd name="T35" fmla="*/ 115 h 1428"/>
                <a:gd name="T36" fmla="*/ 21 w 1398"/>
                <a:gd name="T37" fmla="*/ 121 h 1428"/>
                <a:gd name="T38" fmla="*/ 12 w 1398"/>
                <a:gd name="T39" fmla="*/ 119 h 1428"/>
                <a:gd name="T40" fmla="*/ 9 w 1398"/>
                <a:gd name="T41" fmla="*/ 113 h 1428"/>
                <a:gd name="T42" fmla="*/ 2 w 1398"/>
                <a:gd name="T43" fmla="*/ 109 h 1428"/>
                <a:gd name="T44" fmla="*/ 4 w 1398"/>
                <a:gd name="T45" fmla="*/ 103 h 1428"/>
                <a:gd name="T46" fmla="*/ 2 w 1398"/>
                <a:gd name="T47" fmla="*/ 91 h 1428"/>
                <a:gd name="T48" fmla="*/ 6 w 1398"/>
                <a:gd name="T49" fmla="*/ 85 h 1428"/>
                <a:gd name="T50" fmla="*/ 10 w 1398"/>
                <a:gd name="T51" fmla="*/ 85 h 1428"/>
                <a:gd name="T52" fmla="*/ 15 w 1398"/>
                <a:gd name="T53" fmla="*/ 82 h 1428"/>
                <a:gd name="T54" fmla="*/ 20 w 1398"/>
                <a:gd name="T55" fmla="*/ 77 h 1428"/>
                <a:gd name="T56" fmla="*/ 16 w 1398"/>
                <a:gd name="T57" fmla="*/ 73 h 1428"/>
                <a:gd name="T58" fmla="*/ 16 w 1398"/>
                <a:gd name="T59" fmla="*/ 69 h 1428"/>
                <a:gd name="T60" fmla="*/ 14 w 1398"/>
                <a:gd name="T61" fmla="*/ 54 h 1428"/>
                <a:gd name="T62" fmla="*/ 12 w 1398"/>
                <a:gd name="T63" fmla="*/ 48 h 1428"/>
                <a:gd name="T64" fmla="*/ 11 w 1398"/>
                <a:gd name="T65" fmla="*/ 31 h 1428"/>
                <a:gd name="T66" fmla="*/ 14 w 1398"/>
                <a:gd name="T67" fmla="*/ 18 h 1428"/>
                <a:gd name="T68" fmla="*/ 19 w 1398"/>
                <a:gd name="T69" fmla="*/ 15 h 1428"/>
                <a:gd name="T70" fmla="*/ 26 w 1398"/>
                <a:gd name="T71" fmla="*/ 13 h 1428"/>
                <a:gd name="T72" fmla="*/ 34 w 1398"/>
                <a:gd name="T73" fmla="*/ 12 h 1428"/>
                <a:gd name="T74" fmla="*/ 39 w 1398"/>
                <a:gd name="T75" fmla="*/ 9 h 1428"/>
                <a:gd name="T76" fmla="*/ 43 w 1398"/>
                <a:gd name="T77" fmla="*/ 7 h 1428"/>
                <a:gd name="T78" fmla="*/ 48 w 1398"/>
                <a:gd name="T79" fmla="*/ 3 h 1428"/>
                <a:gd name="T80" fmla="*/ 54 w 1398"/>
                <a:gd name="T81" fmla="*/ 0 h 1428"/>
                <a:gd name="T82" fmla="*/ 58 w 1398"/>
                <a:gd name="T83" fmla="*/ 0 h 1428"/>
                <a:gd name="T84" fmla="*/ 66 w 1398"/>
                <a:gd name="T85" fmla="*/ 2 h 1428"/>
                <a:gd name="T86" fmla="*/ 70 w 1398"/>
                <a:gd name="T87" fmla="*/ 3 h 1428"/>
                <a:gd name="T88" fmla="*/ 75 w 1398"/>
                <a:gd name="T89" fmla="*/ 6 h 1428"/>
                <a:gd name="T90" fmla="*/ 80 w 1398"/>
                <a:gd name="T91" fmla="*/ 9 h 1428"/>
                <a:gd name="T92" fmla="*/ 83 w 1398"/>
                <a:gd name="T93" fmla="*/ 12 h 1428"/>
                <a:gd name="T94" fmla="*/ 87 w 1398"/>
                <a:gd name="T95" fmla="*/ 15 h 1428"/>
                <a:gd name="T96" fmla="*/ 94 w 1398"/>
                <a:gd name="T97" fmla="*/ 15 h 1428"/>
                <a:gd name="T98" fmla="*/ 99 w 1398"/>
                <a:gd name="T99" fmla="*/ 21 h 1428"/>
                <a:gd name="T100" fmla="*/ 103 w 1398"/>
                <a:gd name="T101" fmla="*/ 23 h 1428"/>
                <a:gd name="T102" fmla="*/ 110 w 1398"/>
                <a:gd name="T103" fmla="*/ 26 h 1428"/>
                <a:gd name="T104" fmla="*/ 116 w 1398"/>
                <a:gd name="T105" fmla="*/ 27 h 1428"/>
                <a:gd name="T106" fmla="*/ 120 w 1398"/>
                <a:gd name="T107" fmla="*/ 27 h 1428"/>
                <a:gd name="T108" fmla="*/ 116 w 1398"/>
                <a:gd name="T109" fmla="*/ 35 h 1428"/>
                <a:gd name="T110" fmla="*/ 104 w 1398"/>
                <a:gd name="T111" fmla="*/ 37 h 1428"/>
                <a:gd name="T112" fmla="*/ 97 w 1398"/>
                <a:gd name="T113" fmla="*/ 34 h 1428"/>
                <a:gd name="T114" fmla="*/ 91 w 1398"/>
                <a:gd name="T115" fmla="*/ 29 h 1428"/>
                <a:gd name="T116" fmla="*/ 75 w 1398"/>
                <a:gd name="T117" fmla="*/ 29 h 1428"/>
                <a:gd name="T118" fmla="*/ 72 w 1398"/>
                <a:gd name="T119" fmla="*/ 39 h 1428"/>
                <a:gd name="T120" fmla="*/ 80 w 1398"/>
                <a:gd name="T121" fmla="*/ 41 h 142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98"/>
                <a:gd name="T184" fmla="*/ 0 h 1428"/>
                <a:gd name="T185" fmla="*/ 1398 w 1398"/>
                <a:gd name="T186" fmla="*/ 1428 h 142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98" h="1428">
                  <a:moveTo>
                    <a:pt x="924" y="474"/>
                  </a:moveTo>
                  <a:lnTo>
                    <a:pt x="900" y="480"/>
                  </a:lnTo>
                  <a:lnTo>
                    <a:pt x="864" y="486"/>
                  </a:lnTo>
                  <a:lnTo>
                    <a:pt x="864" y="504"/>
                  </a:lnTo>
                  <a:lnTo>
                    <a:pt x="858" y="522"/>
                  </a:lnTo>
                  <a:lnTo>
                    <a:pt x="864" y="528"/>
                  </a:lnTo>
                  <a:lnTo>
                    <a:pt x="864" y="552"/>
                  </a:lnTo>
                  <a:lnTo>
                    <a:pt x="852" y="552"/>
                  </a:lnTo>
                  <a:lnTo>
                    <a:pt x="846" y="564"/>
                  </a:lnTo>
                  <a:lnTo>
                    <a:pt x="840" y="582"/>
                  </a:lnTo>
                  <a:lnTo>
                    <a:pt x="834" y="594"/>
                  </a:lnTo>
                  <a:lnTo>
                    <a:pt x="828" y="606"/>
                  </a:lnTo>
                  <a:lnTo>
                    <a:pt x="828" y="618"/>
                  </a:lnTo>
                  <a:lnTo>
                    <a:pt x="786" y="630"/>
                  </a:lnTo>
                  <a:lnTo>
                    <a:pt x="774" y="636"/>
                  </a:lnTo>
                  <a:lnTo>
                    <a:pt x="762" y="642"/>
                  </a:lnTo>
                  <a:lnTo>
                    <a:pt x="744" y="648"/>
                  </a:lnTo>
                  <a:lnTo>
                    <a:pt x="714" y="660"/>
                  </a:lnTo>
                  <a:lnTo>
                    <a:pt x="696" y="666"/>
                  </a:lnTo>
                  <a:lnTo>
                    <a:pt x="666" y="672"/>
                  </a:lnTo>
                  <a:lnTo>
                    <a:pt x="654" y="684"/>
                  </a:lnTo>
                  <a:lnTo>
                    <a:pt x="648" y="684"/>
                  </a:lnTo>
                  <a:lnTo>
                    <a:pt x="642" y="696"/>
                  </a:lnTo>
                  <a:lnTo>
                    <a:pt x="636" y="696"/>
                  </a:lnTo>
                  <a:lnTo>
                    <a:pt x="630" y="714"/>
                  </a:lnTo>
                  <a:lnTo>
                    <a:pt x="624" y="738"/>
                  </a:lnTo>
                  <a:lnTo>
                    <a:pt x="624" y="762"/>
                  </a:lnTo>
                  <a:lnTo>
                    <a:pt x="630" y="780"/>
                  </a:lnTo>
                  <a:lnTo>
                    <a:pt x="636" y="804"/>
                  </a:lnTo>
                  <a:lnTo>
                    <a:pt x="642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6" y="834"/>
                  </a:lnTo>
                  <a:lnTo>
                    <a:pt x="636" y="870"/>
                  </a:lnTo>
                  <a:lnTo>
                    <a:pt x="636" y="882"/>
                  </a:lnTo>
                  <a:lnTo>
                    <a:pt x="636" y="906"/>
                  </a:lnTo>
                  <a:lnTo>
                    <a:pt x="630" y="906"/>
                  </a:lnTo>
                  <a:lnTo>
                    <a:pt x="636" y="918"/>
                  </a:lnTo>
                  <a:lnTo>
                    <a:pt x="642" y="918"/>
                  </a:lnTo>
                  <a:lnTo>
                    <a:pt x="642" y="930"/>
                  </a:lnTo>
                  <a:lnTo>
                    <a:pt x="648" y="936"/>
                  </a:lnTo>
                  <a:lnTo>
                    <a:pt x="654" y="936"/>
                  </a:lnTo>
                  <a:lnTo>
                    <a:pt x="654" y="942"/>
                  </a:lnTo>
                  <a:lnTo>
                    <a:pt x="654" y="948"/>
                  </a:lnTo>
                  <a:lnTo>
                    <a:pt x="648" y="954"/>
                  </a:lnTo>
                  <a:lnTo>
                    <a:pt x="648" y="960"/>
                  </a:lnTo>
                  <a:lnTo>
                    <a:pt x="648" y="966"/>
                  </a:lnTo>
                  <a:lnTo>
                    <a:pt x="648" y="972"/>
                  </a:lnTo>
                  <a:lnTo>
                    <a:pt x="648" y="990"/>
                  </a:lnTo>
                  <a:lnTo>
                    <a:pt x="654" y="996"/>
                  </a:lnTo>
                  <a:lnTo>
                    <a:pt x="648" y="1002"/>
                  </a:lnTo>
                  <a:lnTo>
                    <a:pt x="648" y="1008"/>
                  </a:lnTo>
                  <a:lnTo>
                    <a:pt x="654" y="1014"/>
                  </a:lnTo>
                  <a:lnTo>
                    <a:pt x="654" y="1020"/>
                  </a:lnTo>
                  <a:lnTo>
                    <a:pt x="654" y="1026"/>
                  </a:lnTo>
                  <a:lnTo>
                    <a:pt x="660" y="1026"/>
                  </a:lnTo>
                  <a:lnTo>
                    <a:pt x="660" y="1032"/>
                  </a:lnTo>
                  <a:lnTo>
                    <a:pt x="660" y="1038"/>
                  </a:lnTo>
                  <a:lnTo>
                    <a:pt x="666" y="1044"/>
                  </a:lnTo>
                  <a:lnTo>
                    <a:pt x="672" y="1050"/>
                  </a:lnTo>
                  <a:lnTo>
                    <a:pt x="672" y="1056"/>
                  </a:lnTo>
                  <a:lnTo>
                    <a:pt x="672" y="1062"/>
                  </a:lnTo>
                  <a:lnTo>
                    <a:pt x="672" y="1068"/>
                  </a:lnTo>
                  <a:lnTo>
                    <a:pt x="672" y="1074"/>
                  </a:lnTo>
                  <a:lnTo>
                    <a:pt x="678" y="1074"/>
                  </a:lnTo>
                  <a:lnTo>
                    <a:pt x="678" y="1080"/>
                  </a:lnTo>
                  <a:lnTo>
                    <a:pt x="678" y="1086"/>
                  </a:lnTo>
                  <a:lnTo>
                    <a:pt x="672" y="1092"/>
                  </a:lnTo>
                  <a:lnTo>
                    <a:pt x="672" y="1098"/>
                  </a:lnTo>
                  <a:lnTo>
                    <a:pt x="672" y="1104"/>
                  </a:lnTo>
                  <a:lnTo>
                    <a:pt x="666" y="1116"/>
                  </a:lnTo>
                  <a:lnTo>
                    <a:pt x="624" y="1122"/>
                  </a:lnTo>
                  <a:lnTo>
                    <a:pt x="576" y="1134"/>
                  </a:lnTo>
                  <a:lnTo>
                    <a:pt x="570" y="1140"/>
                  </a:lnTo>
                  <a:lnTo>
                    <a:pt x="570" y="1146"/>
                  </a:lnTo>
                  <a:lnTo>
                    <a:pt x="564" y="1146"/>
                  </a:lnTo>
                  <a:lnTo>
                    <a:pt x="564" y="1152"/>
                  </a:lnTo>
                  <a:lnTo>
                    <a:pt x="564" y="1164"/>
                  </a:lnTo>
                  <a:lnTo>
                    <a:pt x="564" y="1170"/>
                  </a:lnTo>
                  <a:lnTo>
                    <a:pt x="564" y="1176"/>
                  </a:lnTo>
                  <a:lnTo>
                    <a:pt x="546" y="1176"/>
                  </a:lnTo>
                  <a:lnTo>
                    <a:pt x="540" y="1212"/>
                  </a:lnTo>
                  <a:lnTo>
                    <a:pt x="540" y="1230"/>
                  </a:lnTo>
                  <a:lnTo>
                    <a:pt x="546" y="1242"/>
                  </a:lnTo>
                  <a:lnTo>
                    <a:pt x="546" y="1254"/>
                  </a:lnTo>
                  <a:lnTo>
                    <a:pt x="558" y="1266"/>
                  </a:lnTo>
                  <a:lnTo>
                    <a:pt x="576" y="1272"/>
                  </a:lnTo>
                  <a:lnTo>
                    <a:pt x="570" y="1278"/>
                  </a:lnTo>
                  <a:lnTo>
                    <a:pt x="576" y="1284"/>
                  </a:lnTo>
                  <a:lnTo>
                    <a:pt x="570" y="1296"/>
                  </a:lnTo>
                  <a:lnTo>
                    <a:pt x="558" y="1302"/>
                  </a:lnTo>
                  <a:lnTo>
                    <a:pt x="540" y="1308"/>
                  </a:lnTo>
                  <a:lnTo>
                    <a:pt x="522" y="1314"/>
                  </a:lnTo>
                  <a:lnTo>
                    <a:pt x="516" y="1314"/>
                  </a:lnTo>
                  <a:lnTo>
                    <a:pt x="510" y="1314"/>
                  </a:lnTo>
                  <a:lnTo>
                    <a:pt x="504" y="1314"/>
                  </a:lnTo>
                  <a:lnTo>
                    <a:pt x="498" y="1320"/>
                  </a:lnTo>
                  <a:lnTo>
                    <a:pt x="492" y="1320"/>
                  </a:lnTo>
                  <a:lnTo>
                    <a:pt x="492" y="1326"/>
                  </a:lnTo>
                  <a:lnTo>
                    <a:pt x="486" y="1326"/>
                  </a:lnTo>
                  <a:lnTo>
                    <a:pt x="480" y="1326"/>
                  </a:lnTo>
                  <a:lnTo>
                    <a:pt x="480" y="1320"/>
                  </a:lnTo>
                  <a:lnTo>
                    <a:pt x="468" y="1314"/>
                  </a:lnTo>
                  <a:lnTo>
                    <a:pt x="462" y="1308"/>
                  </a:lnTo>
                  <a:lnTo>
                    <a:pt x="456" y="1302"/>
                  </a:lnTo>
                  <a:lnTo>
                    <a:pt x="444" y="1296"/>
                  </a:lnTo>
                  <a:lnTo>
                    <a:pt x="420" y="1290"/>
                  </a:lnTo>
                  <a:lnTo>
                    <a:pt x="414" y="1278"/>
                  </a:lnTo>
                  <a:lnTo>
                    <a:pt x="408" y="1278"/>
                  </a:lnTo>
                  <a:lnTo>
                    <a:pt x="408" y="1266"/>
                  </a:lnTo>
                  <a:lnTo>
                    <a:pt x="402" y="1260"/>
                  </a:lnTo>
                  <a:lnTo>
                    <a:pt x="384" y="1260"/>
                  </a:lnTo>
                  <a:lnTo>
                    <a:pt x="372" y="1266"/>
                  </a:lnTo>
                  <a:lnTo>
                    <a:pt x="360" y="1272"/>
                  </a:lnTo>
                  <a:lnTo>
                    <a:pt x="348" y="1272"/>
                  </a:lnTo>
                  <a:lnTo>
                    <a:pt x="342" y="1284"/>
                  </a:lnTo>
                  <a:lnTo>
                    <a:pt x="336" y="1290"/>
                  </a:lnTo>
                  <a:lnTo>
                    <a:pt x="336" y="1308"/>
                  </a:lnTo>
                  <a:lnTo>
                    <a:pt x="336" y="1314"/>
                  </a:lnTo>
                  <a:lnTo>
                    <a:pt x="336" y="1320"/>
                  </a:lnTo>
                  <a:lnTo>
                    <a:pt x="330" y="1326"/>
                  </a:lnTo>
                  <a:lnTo>
                    <a:pt x="330" y="1332"/>
                  </a:lnTo>
                  <a:lnTo>
                    <a:pt x="330" y="1338"/>
                  </a:lnTo>
                  <a:lnTo>
                    <a:pt x="300" y="1338"/>
                  </a:lnTo>
                  <a:lnTo>
                    <a:pt x="288" y="1338"/>
                  </a:lnTo>
                  <a:lnTo>
                    <a:pt x="258" y="1326"/>
                  </a:lnTo>
                  <a:lnTo>
                    <a:pt x="246" y="1332"/>
                  </a:lnTo>
                  <a:lnTo>
                    <a:pt x="240" y="1338"/>
                  </a:lnTo>
                  <a:lnTo>
                    <a:pt x="234" y="1338"/>
                  </a:lnTo>
                  <a:lnTo>
                    <a:pt x="228" y="1350"/>
                  </a:lnTo>
                  <a:lnTo>
                    <a:pt x="228" y="1374"/>
                  </a:lnTo>
                  <a:lnTo>
                    <a:pt x="234" y="1392"/>
                  </a:lnTo>
                  <a:lnTo>
                    <a:pt x="246" y="1398"/>
                  </a:lnTo>
                  <a:lnTo>
                    <a:pt x="246" y="1410"/>
                  </a:lnTo>
                  <a:lnTo>
                    <a:pt x="216" y="1428"/>
                  </a:lnTo>
                  <a:lnTo>
                    <a:pt x="198" y="1428"/>
                  </a:lnTo>
                  <a:lnTo>
                    <a:pt x="192" y="1422"/>
                  </a:lnTo>
                  <a:lnTo>
                    <a:pt x="174" y="1410"/>
                  </a:lnTo>
                  <a:lnTo>
                    <a:pt x="156" y="1386"/>
                  </a:lnTo>
                  <a:lnTo>
                    <a:pt x="132" y="1374"/>
                  </a:lnTo>
                  <a:lnTo>
                    <a:pt x="108" y="1368"/>
                  </a:lnTo>
                  <a:lnTo>
                    <a:pt x="84" y="1368"/>
                  </a:lnTo>
                  <a:lnTo>
                    <a:pt x="96" y="1356"/>
                  </a:lnTo>
                  <a:lnTo>
                    <a:pt x="102" y="1344"/>
                  </a:lnTo>
                  <a:lnTo>
                    <a:pt x="102" y="1332"/>
                  </a:lnTo>
                  <a:lnTo>
                    <a:pt x="108" y="1320"/>
                  </a:lnTo>
                  <a:lnTo>
                    <a:pt x="108" y="1302"/>
                  </a:lnTo>
                  <a:lnTo>
                    <a:pt x="96" y="1278"/>
                  </a:lnTo>
                  <a:lnTo>
                    <a:pt x="66" y="1284"/>
                  </a:lnTo>
                  <a:lnTo>
                    <a:pt x="54" y="1278"/>
                  </a:lnTo>
                  <a:lnTo>
                    <a:pt x="36" y="1278"/>
                  </a:lnTo>
                  <a:lnTo>
                    <a:pt x="18" y="1284"/>
                  </a:lnTo>
                  <a:lnTo>
                    <a:pt x="18" y="1272"/>
                  </a:lnTo>
                  <a:lnTo>
                    <a:pt x="24" y="1260"/>
                  </a:lnTo>
                  <a:lnTo>
                    <a:pt x="24" y="1254"/>
                  </a:lnTo>
                  <a:lnTo>
                    <a:pt x="30" y="1248"/>
                  </a:lnTo>
                  <a:lnTo>
                    <a:pt x="24" y="1230"/>
                  </a:lnTo>
                  <a:lnTo>
                    <a:pt x="30" y="1218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30" y="1170"/>
                  </a:lnTo>
                  <a:lnTo>
                    <a:pt x="30" y="1152"/>
                  </a:lnTo>
                  <a:lnTo>
                    <a:pt x="24" y="1146"/>
                  </a:lnTo>
                  <a:lnTo>
                    <a:pt x="0" y="1116"/>
                  </a:lnTo>
                  <a:lnTo>
                    <a:pt x="6" y="1092"/>
                  </a:lnTo>
                  <a:lnTo>
                    <a:pt x="18" y="1056"/>
                  </a:lnTo>
                  <a:lnTo>
                    <a:pt x="24" y="1050"/>
                  </a:lnTo>
                  <a:lnTo>
                    <a:pt x="24" y="1038"/>
                  </a:lnTo>
                  <a:lnTo>
                    <a:pt x="24" y="1026"/>
                  </a:lnTo>
                  <a:lnTo>
                    <a:pt x="30" y="1002"/>
                  </a:lnTo>
                  <a:lnTo>
                    <a:pt x="36" y="990"/>
                  </a:lnTo>
                  <a:lnTo>
                    <a:pt x="42" y="984"/>
                  </a:lnTo>
                  <a:lnTo>
                    <a:pt x="54" y="984"/>
                  </a:lnTo>
                  <a:lnTo>
                    <a:pt x="66" y="978"/>
                  </a:lnTo>
                  <a:lnTo>
                    <a:pt x="72" y="978"/>
                  </a:lnTo>
                  <a:lnTo>
                    <a:pt x="90" y="978"/>
                  </a:lnTo>
                  <a:lnTo>
                    <a:pt x="102" y="972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78"/>
                  </a:lnTo>
                  <a:lnTo>
                    <a:pt x="120" y="984"/>
                  </a:lnTo>
                  <a:lnTo>
                    <a:pt x="138" y="984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6" y="972"/>
                  </a:lnTo>
                  <a:lnTo>
                    <a:pt x="156" y="966"/>
                  </a:lnTo>
                  <a:lnTo>
                    <a:pt x="156" y="960"/>
                  </a:lnTo>
                  <a:lnTo>
                    <a:pt x="180" y="948"/>
                  </a:lnTo>
                  <a:lnTo>
                    <a:pt x="186" y="924"/>
                  </a:lnTo>
                  <a:lnTo>
                    <a:pt x="192" y="918"/>
                  </a:lnTo>
                  <a:lnTo>
                    <a:pt x="228" y="924"/>
                  </a:lnTo>
                  <a:lnTo>
                    <a:pt x="246" y="906"/>
                  </a:lnTo>
                  <a:lnTo>
                    <a:pt x="240" y="888"/>
                  </a:lnTo>
                  <a:lnTo>
                    <a:pt x="234" y="888"/>
                  </a:lnTo>
                  <a:lnTo>
                    <a:pt x="234" y="882"/>
                  </a:lnTo>
                  <a:lnTo>
                    <a:pt x="228" y="870"/>
                  </a:lnTo>
                  <a:lnTo>
                    <a:pt x="228" y="864"/>
                  </a:lnTo>
                  <a:lnTo>
                    <a:pt x="222" y="864"/>
                  </a:lnTo>
                  <a:lnTo>
                    <a:pt x="216" y="858"/>
                  </a:lnTo>
                  <a:lnTo>
                    <a:pt x="198" y="852"/>
                  </a:lnTo>
                  <a:lnTo>
                    <a:pt x="192" y="852"/>
                  </a:lnTo>
                  <a:lnTo>
                    <a:pt x="186" y="846"/>
                  </a:lnTo>
                  <a:lnTo>
                    <a:pt x="174" y="834"/>
                  </a:lnTo>
                  <a:lnTo>
                    <a:pt x="162" y="822"/>
                  </a:lnTo>
                  <a:lnTo>
                    <a:pt x="156" y="816"/>
                  </a:lnTo>
                  <a:lnTo>
                    <a:pt x="162" y="810"/>
                  </a:lnTo>
                  <a:lnTo>
                    <a:pt x="174" y="798"/>
                  </a:lnTo>
                  <a:lnTo>
                    <a:pt x="180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68"/>
                  </a:lnTo>
                  <a:lnTo>
                    <a:pt x="192" y="744"/>
                  </a:lnTo>
                  <a:lnTo>
                    <a:pt x="186" y="708"/>
                  </a:lnTo>
                  <a:lnTo>
                    <a:pt x="174" y="690"/>
                  </a:lnTo>
                  <a:lnTo>
                    <a:pt x="168" y="672"/>
                  </a:lnTo>
                  <a:lnTo>
                    <a:pt x="156" y="630"/>
                  </a:lnTo>
                  <a:lnTo>
                    <a:pt x="156" y="606"/>
                  </a:lnTo>
                  <a:lnTo>
                    <a:pt x="150" y="606"/>
                  </a:lnTo>
                  <a:lnTo>
                    <a:pt x="150" y="600"/>
                  </a:lnTo>
                  <a:lnTo>
                    <a:pt x="144" y="600"/>
                  </a:lnTo>
                  <a:lnTo>
                    <a:pt x="150" y="594"/>
                  </a:lnTo>
                  <a:lnTo>
                    <a:pt x="144" y="588"/>
                  </a:lnTo>
                  <a:lnTo>
                    <a:pt x="138" y="558"/>
                  </a:lnTo>
                  <a:lnTo>
                    <a:pt x="138" y="528"/>
                  </a:lnTo>
                  <a:lnTo>
                    <a:pt x="132" y="480"/>
                  </a:lnTo>
                  <a:lnTo>
                    <a:pt x="132" y="462"/>
                  </a:lnTo>
                  <a:lnTo>
                    <a:pt x="126" y="426"/>
                  </a:lnTo>
                  <a:lnTo>
                    <a:pt x="126" y="396"/>
                  </a:lnTo>
                  <a:lnTo>
                    <a:pt x="126" y="378"/>
                  </a:lnTo>
                  <a:lnTo>
                    <a:pt x="126" y="360"/>
                  </a:lnTo>
                  <a:lnTo>
                    <a:pt x="132" y="318"/>
                  </a:lnTo>
                  <a:lnTo>
                    <a:pt x="132" y="24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2" y="210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92" y="198"/>
                  </a:lnTo>
                  <a:lnTo>
                    <a:pt x="198" y="198"/>
                  </a:lnTo>
                  <a:lnTo>
                    <a:pt x="216" y="180"/>
                  </a:lnTo>
                  <a:lnTo>
                    <a:pt x="222" y="174"/>
                  </a:lnTo>
                  <a:lnTo>
                    <a:pt x="222" y="168"/>
                  </a:lnTo>
                  <a:lnTo>
                    <a:pt x="228" y="168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44"/>
                  </a:lnTo>
                  <a:lnTo>
                    <a:pt x="258" y="144"/>
                  </a:lnTo>
                  <a:lnTo>
                    <a:pt x="276" y="150"/>
                  </a:lnTo>
                  <a:lnTo>
                    <a:pt x="300" y="150"/>
                  </a:lnTo>
                  <a:lnTo>
                    <a:pt x="312" y="150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8" y="156"/>
                  </a:lnTo>
                  <a:lnTo>
                    <a:pt x="354" y="150"/>
                  </a:lnTo>
                  <a:lnTo>
                    <a:pt x="372" y="144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08" y="126"/>
                  </a:lnTo>
                  <a:lnTo>
                    <a:pt x="414" y="120"/>
                  </a:lnTo>
                  <a:lnTo>
                    <a:pt x="420" y="120"/>
                  </a:lnTo>
                  <a:lnTo>
                    <a:pt x="426" y="120"/>
                  </a:lnTo>
                  <a:lnTo>
                    <a:pt x="432" y="114"/>
                  </a:lnTo>
                  <a:lnTo>
                    <a:pt x="450" y="102"/>
                  </a:lnTo>
                  <a:lnTo>
                    <a:pt x="456" y="96"/>
                  </a:lnTo>
                  <a:lnTo>
                    <a:pt x="468" y="90"/>
                  </a:lnTo>
                  <a:lnTo>
                    <a:pt x="474" y="90"/>
                  </a:lnTo>
                  <a:lnTo>
                    <a:pt x="480" y="84"/>
                  </a:lnTo>
                  <a:lnTo>
                    <a:pt x="486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504" y="72"/>
                  </a:lnTo>
                  <a:lnTo>
                    <a:pt x="510" y="66"/>
                  </a:lnTo>
                  <a:lnTo>
                    <a:pt x="516" y="66"/>
                  </a:lnTo>
                  <a:lnTo>
                    <a:pt x="522" y="60"/>
                  </a:lnTo>
                  <a:lnTo>
                    <a:pt x="552" y="42"/>
                  </a:lnTo>
                  <a:lnTo>
                    <a:pt x="558" y="36"/>
                  </a:lnTo>
                  <a:lnTo>
                    <a:pt x="576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94" y="18"/>
                  </a:lnTo>
                  <a:lnTo>
                    <a:pt x="600" y="12"/>
                  </a:lnTo>
                  <a:lnTo>
                    <a:pt x="612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6"/>
                  </a:lnTo>
                  <a:lnTo>
                    <a:pt x="648" y="6"/>
                  </a:lnTo>
                  <a:lnTo>
                    <a:pt x="660" y="6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38" y="18"/>
                  </a:lnTo>
                  <a:lnTo>
                    <a:pt x="744" y="18"/>
                  </a:lnTo>
                  <a:lnTo>
                    <a:pt x="756" y="18"/>
                  </a:lnTo>
                  <a:lnTo>
                    <a:pt x="762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80" y="24"/>
                  </a:lnTo>
                  <a:lnTo>
                    <a:pt x="792" y="24"/>
                  </a:lnTo>
                  <a:lnTo>
                    <a:pt x="792" y="30"/>
                  </a:lnTo>
                  <a:lnTo>
                    <a:pt x="810" y="30"/>
                  </a:lnTo>
                  <a:lnTo>
                    <a:pt x="822" y="36"/>
                  </a:lnTo>
                  <a:lnTo>
                    <a:pt x="834" y="42"/>
                  </a:lnTo>
                  <a:lnTo>
                    <a:pt x="840" y="48"/>
                  </a:lnTo>
                  <a:lnTo>
                    <a:pt x="846" y="54"/>
                  </a:lnTo>
                  <a:lnTo>
                    <a:pt x="852" y="60"/>
                  </a:lnTo>
                  <a:lnTo>
                    <a:pt x="858" y="66"/>
                  </a:lnTo>
                  <a:lnTo>
                    <a:pt x="864" y="66"/>
                  </a:lnTo>
                  <a:lnTo>
                    <a:pt x="864" y="72"/>
                  </a:lnTo>
                  <a:lnTo>
                    <a:pt x="876" y="78"/>
                  </a:lnTo>
                  <a:lnTo>
                    <a:pt x="900" y="84"/>
                  </a:lnTo>
                  <a:lnTo>
                    <a:pt x="906" y="90"/>
                  </a:lnTo>
                  <a:lnTo>
                    <a:pt x="912" y="90"/>
                  </a:lnTo>
                  <a:lnTo>
                    <a:pt x="912" y="96"/>
                  </a:lnTo>
                  <a:lnTo>
                    <a:pt x="924" y="108"/>
                  </a:lnTo>
                  <a:lnTo>
                    <a:pt x="930" y="108"/>
                  </a:lnTo>
                  <a:lnTo>
                    <a:pt x="936" y="114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60" y="138"/>
                  </a:lnTo>
                  <a:lnTo>
                    <a:pt x="966" y="144"/>
                  </a:lnTo>
                  <a:lnTo>
                    <a:pt x="972" y="156"/>
                  </a:lnTo>
                  <a:lnTo>
                    <a:pt x="978" y="162"/>
                  </a:lnTo>
                  <a:lnTo>
                    <a:pt x="984" y="162"/>
                  </a:lnTo>
                  <a:lnTo>
                    <a:pt x="990" y="168"/>
                  </a:lnTo>
                  <a:lnTo>
                    <a:pt x="996" y="174"/>
                  </a:lnTo>
                  <a:lnTo>
                    <a:pt x="1002" y="180"/>
                  </a:lnTo>
                  <a:lnTo>
                    <a:pt x="1008" y="180"/>
                  </a:lnTo>
                  <a:lnTo>
                    <a:pt x="1020" y="180"/>
                  </a:lnTo>
                  <a:lnTo>
                    <a:pt x="1038" y="174"/>
                  </a:lnTo>
                  <a:lnTo>
                    <a:pt x="1050" y="174"/>
                  </a:lnTo>
                  <a:lnTo>
                    <a:pt x="1056" y="174"/>
                  </a:lnTo>
                  <a:lnTo>
                    <a:pt x="1068" y="180"/>
                  </a:lnTo>
                  <a:lnTo>
                    <a:pt x="1080" y="180"/>
                  </a:lnTo>
                  <a:lnTo>
                    <a:pt x="1086" y="186"/>
                  </a:lnTo>
                  <a:lnTo>
                    <a:pt x="1098" y="192"/>
                  </a:lnTo>
                  <a:lnTo>
                    <a:pt x="1116" y="204"/>
                  </a:lnTo>
                  <a:lnTo>
                    <a:pt x="1122" y="210"/>
                  </a:lnTo>
                  <a:lnTo>
                    <a:pt x="1134" y="222"/>
                  </a:lnTo>
                  <a:lnTo>
                    <a:pt x="1146" y="234"/>
                  </a:lnTo>
                  <a:lnTo>
                    <a:pt x="1146" y="240"/>
                  </a:lnTo>
                  <a:lnTo>
                    <a:pt x="1152" y="246"/>
                  </a:lnTo>
                  <a:lnTo>
                    <a:pt x="1152" y="252"/>
                  </a:lnTo>
                  <a:lnTo>
                    <a:pt x="1152" y="258"/>
                  </a:lnTo>
                  <a:lnTo>
                    <a:pt x="1164" y="258"/>
                  </a:lnTo>
                  <a:lnTo>
                    <a:pt x="1170" y="264"/>
                  </a:lnTo>
                  <a:lnTo>
                    <a:pt x="1182" y="270"/>
                  </a:lnTo>
                  <a:lnTo>
                    <a:pt x="1188" y="270"/>
                  </a:lnTo>
                  <a:lnTo>
                    <a:pt x="1194" y="270"/>
                  </a:lnTo>
                  <a:lnTo>
                    <a:pt x="1206" y="276"/>
                  </a:lnTo>
                  <a:lnTo>
                    <a:pt x="1224" y="282"/>
                  </a:lnTo>
                  <a:lnTo>
                    <a:pt x="1236" y="282"/>
                  </a:lnTo>
                  <a:lnTo>
                    <a:pt x="1242" y="288"/>
                  </a:lnTo>
                  <a:lnTo>
                    <a:pt x="1254" y="288"/>
                  </a:lnTo>
                  <a:lnTo>
                    <a:pt x="1266" y="294"/>
                  </a:lnTo>
                  <a:lnTo>
                    <a:pt x="1272" y="294"/>
                  </a:lnTo>
                  <a:lnTo>
                    <a:pt x="1284" y="300"/>
                  </a:lnTo>
                  <a:lnTo>
                    <a:pt x="1290" y="300"/>
                  </a:lnTo>
                  <a:lnTo>
                    <a:pt x="1296" y="300"/>
                  </a:lnTo>
                  <a:lnTo>
                    <a:pt x="1302" y="306"/>
                  </a:lnTo>
                  <a:lnTo>
                    <a:pt x="1326" y="312"/>
                  </a:lnTo>
                  <a:lnTo>
                    <a:pt x="1338" y="312"/>
                  </a:lnTo>
                  <a:lnTo>
                    <a:pt x="1338" y="318"/>
                  </a:lnTo>
                  <a:lnTo>
                    <a:pt x="1344" y="318"/>
                  </a:lnTo>
                  <a:lnTo>
                    <a:pt x="1350" y="318"/>
                  </a:lnTo>
                  <a:lnTo>
                    <a:pt x="1362" y="324"/>
                  </a:lnTo>
                  <a:lnTo>
                    <a:pt x="1368" y="318"/>
                  </a:lnTo>
                  <a:lnTo>
                    <a:pt x="1374" y="318"/>
                  </a:lnTo>
                  <a:lnTo>
                    <a:pt x="1386" y="318"/>
                  </a:lnTo>
                  <a:lnTo>
                    <a:pt x="1398" y="324"/>
                  </a:lnTo>
                  <a:lnTo>
                    <a:pt x="1398" y="342"/>
                  </a:lnTo>
                  <a:lnTo>
                    <a:pt x="1356" y="342"/>
                  </a:lnTo>
                  <a:lnTo>
                    <a:pt x="1350" y="348"/>
                  </a:lnTo>
                  <a:lnTo>
                    <a:pt x="1350" y="372"/>
                  </a:lnTo>
                  <a:lnTo>
                    <a:pt x="1338" y="384"/>
                  </a:lnTo>
                  <a:lnTo>
                    <a:pt x="1332" y="408"/>
                  </a:lnTo>
                  <a:lnTo>
                    <a:pt x="1320" y="420"/>
                  </a:lnTo>
                  <a:lnTo>
                    <a:pt x="1254" y="426"/>
                  </a:lnTo>
                  <a:lnTo>
                    <a:pt x="1248" y="432"/>
                  </a:lnTo>
                  <a:lnTo>
                    <a:pt x="1230" y="432"/>
                  </a:lnTo>
                  <a:lnTo>
                    <a:pt x="1212" y="432"/>
                  </a:lnTo>
                  <a:lnTo>
                    <a:pt x="1212" y="426"/>
                  </a:lnTo>
                  <a:lnTo>
                    <a:pt x="1200" y="426"/>
                  </a:lnTo>
                  <a:lnTo>
                    <a:pt x="1182" y="414"/>
                  </a:lnTo>
                  <a:lnTo>
                    <a:pt x="1182" y="420"/>
                  </a:lnTo>
                  <a:lnTo>
                    <a:pt x="1164" y="420"/>
                  </a:lnTo>
                  <a:lnTo>
                    <a:pt x="1158" y="414"/>
                  </a:lnTo>
                  <a:lnTo>
                    <a:pt x="1152" y="408"/>
                  </a:lnTo>
                  <a:lnTo>
                    <a:pt x="1146" y="402"/>
                  </a:lnTo>
                  <a:lnTo>
                    <a:pt x="1122" y="396"/>
                  </a:lnTo>
                  <a:lnTo>
                    <a:pt x="1116" y="366"/>
                  </a:lnTo>
                  <a:lnTo>
                    <a:pt x="1116" y="348"/>
                  </a:lnTo>
                  <a:lnTo>
                    <a:pt x="1110" y="342"/>
                  </a:lnTo>
                  <a:lnTo>
                    <a:pt x="1104" y="336"/>
                  </a:lnTo>
                  <a:lnTo>
                    <a:pt x="1092" y="330"/>
                  </a:lnTo>
                  <a:lnTo>
                    <a:pt x="1074" y="330"/>
                  </a:lnTo>
                  <a:lnTo>
                    <a:pt x="1044" y="330"/>
                  </a:lnTo>
                  <a:lnTo>
                    <a:pt x="1014" y="336"/>
                  </a:lnTo>
                  <a:lnTo>
                    <a:pt x="984" y="342"/>
                  </a:lnTo>
                  <a:lnTo>
                    <a:pt x="978" y="330"/>
                  </a:lnTo>
                  <a:lnTo>
                    <a:pt x="966" y="324"/>
                  </a:lnTo>
                  <a:lnTo>
                    <a:pt x="888" y="336"/>
                  </a:lnTo>
                  <a:lnTo>
                    <a:pt x="888" y="330"/>
                  </a:lnTo>
                  <a:lnTo>
                    <a:pt x="870" y="336"/>
                  </a:lnTo>
                  <a:lnTo>
                    <a:pt x="858" y="336"/>
                  </a:lnTo>
                  <a:lnTo>
                    <a:pt x="852" y="354"/>
                  </a:lnTo>
                  <a:lnTo>
                    <a:pt x="852" y="402"/>
                  </a:lnTo>
                  <a:lnTo>
                    <a:pt x="840" y="414"/>
                  </a:lnTo>
                  <a:lnTo>
                    <a:pt x="834" y="420"/>
                  </a:lnTo>
                  <a:lnTo>
                    <a:pt x="834" y="444"/>
                  </a:lnTo>
                  <a:lnTo>
                    <a:pt x="834" y="450"/>
                  </a:lnTo>
                  <a:lnTo>
                    <a:pt x="852" y="456"/>
                  </a:lnTo>
                  <a:lnTo>
                    <a:pt x="864" y="462"/>
                  </a:lnTo>
                  <a:lnTo>
                    <a:pt x="894" y="456"/>
                  </a:lnTo>
                  <a:lnTo>
                    <a:pt x="900" y="468"/>
                  </a:lnTo>
                  <a:lnTo>
                    <a:pt x="918" y="462"/>
                  </a:lnTo>
                  <a:lnTo>
                    <a:pt x="924" y="468"/>
                  </a:lnTo>
                  <a:lnTo>
                    <a:pt x="924" y="47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2" name="Freeform 37">
              <a:extLst>
                <a:ext uri="{FF2B5EF4-FFF2-40B4-BE49-F238E27FC236}">
                  <a16:creationId xmlns:a16="http://schemas.microsoft.com/office/drawing/2014/main" id="{DED8A1FF-B656-4D37-BD26-5B0A7B1A4A6D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441" y="1898343"/>
              <a:ext cx="567992" cy="686605"/>
            </a:xfrm>
            <a:custGeom>
              <a:avLst/>
              <a:gdLst>
                <a:gd name="T0" fmla="*/ 79 w 1068"/>
                <a:gd name="T1" fmla="*/ 72 h 1290"/>
                <a:gd name="T2" fmla="*/ 75 w 1068"/>
                <a:gd name="T3" fmla="*/ 73 h 1290"/>
                <a:gd name="T4" fmla="*/ 72 w 1068"/>
                <a:gd name="T5" fmla="*/ 76 h 1290"/>
                <a:gd name="T6" fmla="*/ 70 w 1068"/>
                <a:gd name="T7" fmla="*/ 78 h 1290"/>
                <a:gd name="T8" fmla="*/ 67 w 1068"/>
                <a:gd name="T9" fmla="*/ 82 h 1290"/>
                <a:gd name="T10" fmla="*/ 61 w 1068"/>
                <a:gd name="T11" fmla="*/ 86 h 1290"/>
                <a:gd name="T12" fmla="*/ 60 w 1068"/>
                <a:gd name="T13" fmla="*/ 93 h 1290"/>
                <a:gd name="T14" fmla="*/ 59 w 1068"/>
                <a:gd name="T15" fmla="*/ 97 h 1290"/>
                <a:gd name="T16" fmla="*/ 61 w 1068"/>
                <a:gd name="T17" fmla="*/ 101 h 1290"/>
                <a:gd name="T18" fmla="*/ 63 w 1068"/>
                <a:gd name="T19" fmla="*/ 104 h 1290"/>
                <a:gd name="T20" fmla="*/ 62 w 1068"/>
                <a:gd name="T21" fmla="*/ 108 h 1290"/>
                <a:gd name="T22" fmla="*/ 60 w 1068"/>
                <a:gd name="T23" fmla="*/ 111 h 1290"/>
                <a:gd name="T24" fmla="*/ 56 w 1068"/>
                <a:gd name="T25" fmla="*/ 111 h 1290"/>
                <a:gd name="T26" fmla="*/ 53 w 1068"/>
                <a:gd name="T27" fmla="*/ 110 h 1290"/>
                <a:gd name="T28" fmla="*/ 50 w 1068"/>
                <a:gd name="T29" fmla="*/ 109 h 1290"/>
                <a:gd name="T30" fmla="*/ 47 w 1068"/>
                <a:gd name="T31" fmla="*/ 110 h 1290"/>
                <a:gd name="T32" fmla="*/ 51 w 1068"/>
                <a:gd name="T33" fmla="*/ 104 h 1290"/>
                <a:gd name="T34" fmla="*/ 50 w 1068"/>
                <a:gd name="T35" fmla="*/ 95 h 1290"/>
                <a:gd name="T36" fmla="*/ 51 w 1068"/>
                <a:gd name="T37" fmla="*/ 90 h 1290"/>
                <a:gd name="T38" fmla="*/ 47 w 1068"/>
                <a:gd name="T39" fmla="*/ 84 h 1290"/>
                <a:gd name="T40" fmla="*/ 42 w 1068"/>
                <a:gd name="T41" fmla="*/ 78 h 1290"/>
                <a:gd name="T42" fmla="*/ 33 w 1068"/>
                <a:gd name="T43" fmla="*/ 73 h 1290"/>
                <a:gd name="T44" fmla="*/ 26 w 1068"/>
                <a:gd name="T45" fmla="*/ 68 h 1290"/>
                <a:gd name="T46" fmla="*/ 22 w 1068"/>
                <a:gd name="T47" fmla="*/ 63 h 1290"/>
                <a:gd name="T48" fmla="*/ 11 w 1068"/>
                <a:gd name="T49" fmla="*/ 67 h 1290"/>
                <a:gd name="T50" fmla="*/ 0 w 1068"/>
                <a:gd name="T51" fmla="*/ 68 h 1290"/>
                <a:gd name="T52" fmla="*/ 2 w 1068"/>
                <a:gd name="T53" fmla="*/ 59 h 1290"/>
                <a:gd name="T54" fmla="*/ 12 w 1068"/>
                <a:gd name="T55" fmla="*/ 55 h 1290"/>
                <a:gd name="T56" fmla="*/ 12 w 1068"/>
                <a:gd name="T57" fmla="*/ 51 h 1290"/>
                <a:gd name="T58" fmla="*/ 10 w 1068"/>
                <a:gd name="T59" fmla="*/ 47 h 1290"/>
                <a:gd name="T60" fmla="*/ 9 w 1068"/>
                <a:gd name="T61" fmla="*/ 42 h 1290"/>
                <a:gd name="T62" fmla="*/ 8 w 1068"/>
                <a:gd name="T63" fmla="*/ 38 h 1290"/>
                <a:gd name="T64" fmla="*/ 8 w 1068"/>
                <a:gd name="T65" fmla="*/ 29 h 1290"/>
                <a:gd name="T66" fmla="*/ 10 w 1068"/>
                <a:gd name="T67" fmla="*/ 18 h 1290"/>
                <a:gd name="T68" fmla="*/ 25 w 1068"/>
                <a:gd name="T69" fmla="*/ 12 h 1290"/>
                <a:gd name="T70" fmla="*/ 27 w 1068"/>
                <a:gd name="T71" fmla="*/ 4 h 1290"/>
                <a:gd name="T72" fmla="*/ 35 w 1068"/>
                <a:gd name="T73" fmla="*/ 6 h 1290"/>
                <a:gd name="T74" fmla="*/ 39 w 1068"/>
                <a:gd name="T75" fmla="*/ 8 h 1290"/>
                <a:gd name="T76" fmla="*/ 41 w 1068"/>
                <a:gd name="T77" fmla="*/ 3 h 1290"/>
                <a:gd name="T78" fmla="*/ 45 w 1068"/>
                <a:gd name="T79" fmla="*/ 0 h 1290"/>
                <a:gd name="T80" fmla="*/ 51 w 1068"/>
                <a:gd name="T81" fmla="*/ 0 h 1290"/>
                <a:gd name="T82" fmla="*/ 56 w 1068"/>
                <a:gd name="T83" fmla="*/ 4 h 1290"/>
                <a:gd name="T84" fmla="*/ 62 w 1068"/>
                <a:gd name="T85" fmla="*/ 12 h 1290"/>
                <a:gd name="T86" fmla="*/ 58 w 1068"/>
                <a:gd name="T87" fmla="*/ 17 h 1290"/>
                <a:gd name="T88" fmla="*/ 60 w 1068"/>
                <a:gd name="T89" fmla="*/ 18 h 1290"/>
                <a:gd name="T90" fmla="*/ 64 w 1068"/>
                <a:gd name="T91" fmla="*/ 16 h 1290"/>
                <a:gd name="T92" fmla="*/ 68 w 1068"/>
                <a:gd name="T93" fmla="*/ 18 h 1290"/>
                <a:gd name="T94" fmla="*/ 71 w 1068"/>
                <a:gd name="T95" fmla="*/ 27 h 1290"/>
                <a:gd name="T96" fmla="*/ 74 w 1068"/>
                <a:gd name="T97" fmla="*/ 30 h 1290"/>
                <a:gd name="T98" fmla="*/ 82 w 1068"/>
                <a:gd name="T99" fmla="*/ 30 h 1290"/>
                <a:gd name="T100" fmla="*/ 87 w 1068"/>
                <a:gd name="T101" fmla="*/ 35 h 1290"/>
                <a:gd name="T102" fmla="*/ 85 w 1068"/>
                <a:gd name="T103" fmla="*/ 42 h 1290"/>
                <a:gd name="T104" fmla="*/ 81 w 1068"/>
                <a:gd name="T105" fmla="*/ 46 h 1290"/>
                <a:gd name="T106" fmla="*/ 86 w 1068"/>
                <a:gd name="T107" fmla="*/ 50 h 1290"/>
                <a:gd name="T108" fmla="*/ 89 w 1068"/>
                <a:gd name="T109" fmla="*/ 58 h 1290"/>
                <a:gd name="T110" fmla="*/ 92 w 1068"/>
                <a:gd name="T111" fmla="*/ 61 h 1290"/>
                <a:gd name="T112" fmla="*/ 86 w 1068"/>
                <a:gd name="T113" fmla="*/ 66 h 1290"/>
                <a:gd name="T114" fmla="*/ 85 w 1068"/>
                <a:gd name="T115" fmla="*/ 70 h 129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68"/>
                <a:gd name="T175" fmla="*/ 0 h 1290"/>
                <a:gd name="T176" fmla="*/ 1068 w 1068"/>
                <a:gd name="T177" fmla="*/ 1290 h 129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68" h="1290">
                  <a:moveTo>
                    <a:pt x="978" y="804"/>
                  </a:moveTo>
                  <a:lnTo>
                    <a:pt x="972" y="810"/>
                  </a:lnTo>
                  <a:lnTo>
                    <a:pt x="966" y="810"/>
                  </a:lnTo>
                  <a:lnTo>
                    <a:pt x="966" y="816"/>
                  </a:lnTo>
                  <a:lnTo>
                    <a:pt x="936" y="828"/>
                  </a:lnTo>
                  <a:lnTo>
                    <a:pt x="924" y="822"/>
                  </a:lnTo>
                  <a:lnTo>
                    <a:pt x="912" y="822"/>
                  </a:lnTo>
                  <a:lnTo>
                    <a:pt x="906" y="828"/>
                  </a:lnTo>
                  <a:lnTo>
                    <a:pt x="900" y="828"/>
                  </a:lnTo>
                  <a:lnTo>
                    <a:pt x="900" y="822"/>
                  </a:lnTo>
                  <a:lnTo>
                    <a:pt x="894" y="822"/>
                  </a:lnTo>
                  <a:lnTo>
                    <a:pt x="888" y="828"/>
                  </a:lnTo>
                  <a:lnTo>
                    <a:pt x="882" y="834"/>
                  </a:lnTo>
                  <a:lnTo>
                    <a:pt x="876" y="834"/>
                  </a:lnTo>
                  <a:lnTo>
                    <a:pt x="870" y="840"/>
                  </a:lnTo>
                  <a:lnTo>
                    <a:pt x="864" y="840"/>
                  </a:lnTo>
                  <a:lnTo>
                    <a:pt x="864" y="846"/>
                  </a:lnTo>
                  <a:lnTo>
                    <a:pt x="858" y="846"/>
                  </a:lnTo>
                  <a:lnTo>
                    <a:pt x="852" y="846"/>
                  </a:lnTo>
                  <a:lnTo>
                    <a:pt x="852" y="858"/>
                  </a:lnTo>
                  <a:lnTo>
                    <a:pt x="846" y="864"/>
                  </a:lnTo>
                  <a:lnTo>
                    <a:pt x="840" y="870"/>
                  </a:lnTo>
                  <a:lnTo>
                    <a:pt x="834" y="870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34" y="876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10" y="894"/>
                  </a:lnTo>
                  <a:lnTo>
                    <a:pt x="810" y="900"/>
                  </a:lnTo>
                  <a:lnTo>
                    <a:pt x="804" y="900"/>
                  </a:lnTo>
                  <a:lnTo>
                    <a:pt x="798" y="900"/>
                  </a:lnTo>
                  <a:lnTo>
                    <a:pt x="798" y="906"/>
                  </a:lnTo>
                  <a:lnTo>
                    <a:pt x="792" y="906"/>
                  </a:lnTo>
                  <a:lnTo>
                    <a:pt x="792" y="912"/>
                  </a:lnTo>
                  <a:lnTo>
                    <a:pt x="792" y="924"/>
                  </a:lnTo>
                  <a:lnTo>
                    <a:pt x="786" y="930"/>
                  </a:lnTo>
                  <a:lnTo>
                    <a:pt x="774" y="942"/>
                  </a:lnTo>
                  <a:lnTo>
                    <a:pt x="774" y="948"/>
                  </a:lnTo>
                  <a:lnTo>
                    <a:pt x="768" y="954"/>
                  </a:lnTo>
                  <a:lnTo>
                    <a:pt x="762" y="954"/>
                  </a:lnTo>
                  <a:lnTo>
                    <a:pt x="750" y="972"/>
                  </a:lnTo>
                  <a:lnTo>
                    <a:pt x="720" y="978"/>
                  </a:lnTo>
                  <a:lnTo>
                    <a:pt x="714" y="978"/>
                  </a:lnTo>
                  <a:lnTo>
                    <a:pt x="708" y="978"/>
                  </a:lnTo>
                  <a:lnTo>
                    <a:pt x="702" y="990"/>
                  </a:lnTo>
                  <a:lnTo>
                    <a:pt x="696" y="990"/>
                  </a:lnTo>
                  <a:lnTo>
                    <a:pt x="696" y="1008"/>
                  </a:lnTo>
                  <a:lnTo>
                    <a:pt x="690" y="1008"/>
                  </a:lnTo>
                  <a:lnTo>
                    <a:pt x="690" y="1014"/>
                  </a:lnTo>
                  <a:lnTo>
                    <a:pt x="684" y="1032"/>
                  </a:lnTo>
                  <a:lnTo>
                    <a:pt x="690" y="1050"/>
                  </a:lnTo>
                  <a:lnTo>
                    <a:pt x="690" y="1062"/>
                  </a:lnTo>
                  <a:lnTo>
                    <a:pt x="690" y="1068"/>
                  </a:lnTo>
                  <a:lnTo>
                    <a:pt x="690" y="1074"/>
                  </a:lnTo>
                  <a:lnTo>
                    <a:pt x="684" y="1074"/>
                  </a:lnTo>
                  <a:lnTo>
                    <a:pt x="684" y="1080"/>
                  </a:lnTo>
                  <a:lnTo>
                    <a:pt x="678" y="1086"/>
                  </a:lnTo>
                  <a:lnTo>
                    <a:pt x="678" y="1104"/>
                  </a:lnTo>
                  <a:lnTo>
                    <a:pt x="678" y="1110"/>
                  </a:lnTo>
                  <a:lnTo>
                    <a:pt x="678" y="1116"/>
                  </a:lnTo>
                  <a:lnTo>
                    <a:pt x="684" y="1116"/>
                  </a:lnTo>
                  <a:lnTo>
                    <a:pt x="678" y="1128"/>
                  </a:lnTo>
                  <a:lnTo>
                    <a:pt x="684" y="1128"/>
                  </a:lnTo>
                  <a:lnTo>
                    <a:pt x="690" y="1134"/>
                  </a:lnTo>
                  <a:lnTo>
                    <a:pt x="690" y="1140"/>
                  </a:lnTo>
                  <a:lnTo>
                    <a:pt x="696" y="1140"/>
                  </a:lnTo>
                  <a:lnTo>
                    <a:pt x="696" y="1146"/>
                  </a:lnTo>
                  <a:lnTo>
                    <a:pt x="696" y="1152"/>
                  </a:lnTo>
                  <a:lnTo>
                    <a:pt x="702" y="1152"/>
                  </a:lnTo>
                  <a:lnTo>
                    <a:pt x="708" y="1152"/>
                  </a:lnTo>
                  <a:lnTo>
                    <a:pt x="714" y="1158"/>
                  </a:lnTo>
                  <a:lnTo>
                    <a:pt x="714" y="1164"/>
                  </a:lnTo>
                  <a:lnTo>
                    <a:pt x="720" y="1170"/>
                  </a:lnTo>
                  <a:lnTo>
                    <a:pt x="720" y="1176"/>
                  </a:lnTo>
                  <a:lnTo>
                    <a:pt x="720" y="1182"/>
                  </a:lnTo>
                  <a:lnTo>
                    <a:pt x="726" y="1188"/>
                  </a:lnTo>
                  <a:lnTo>
                    <a:pt x="726" y="1194"/>
                  </a:lnTo>
                  <a:lnTo>
                    <a:pt x="732" y="1194"/>
                  </a:lnTo>
                  <a:lnTo>
                    <a:pt x="732" y="1200"/>
                  </a:lnTo>
                  <a:lnTo>
                    <a:pt x="738" y="1212"/>
                  </a:lnTo>
                  <a:lnTo>
                    <a:pt x="732" y="1218"/>
                  </a:lnTo>
                  <a:lnTo>
                    <a:pt x="732" y="1224"/>
                  </a:lnTo>
                  <a:lnTo>
                    <a:pt x="726" y="1230"/>
                  </a:lnTo>
                  <a:lnTo>
                    <a:pt x="720" y="1230"/>
                  </a:lnTo>
                  <a:lnTo>
                    <a:pt x="720" y="1236"/>
                  </a:lnTo>
                  <a:lnTo>
                    <a:pt x="720" y="1242"/>
                  </a:lnTo>
                  <a:lnTo>
                    <a:pt x="720" y="1248"/>
                  </a:lnTo>
                  <a:lnTo>
                    <a:pt x="714" y="1248"/>
                  </a:lnTo>
                  <a:lnTo>
                    <a:pt x="714" y="1254"/>
                  </a:lnTo>
                  <a:lnTo>
                    <a:pt x="708" y="1260"/>
                  </a:lnTo>
                  <a:lnTo>
                    <a:pt x="702" y="1272"/>
                  </a:lnTo>
                  <a:lnTo>
                    <a:pt x="696" y="1272"/>
                  </a:lnTo>
                  <a:lnTo>
                    <a:pt x="696" y="1278"/>
                  </a:lnTo>
                  <a:lnTo>
                    <a:pt x="690" y="1284"/>
                  </a:lnTo>
                  <a:lnTo>
                    <a:pt x="690" y="1290"/>
                  </a:lnTo>
                  <a:lnTo>
                    <a:pt x="684" y="1290"/>
                  </a:lnTo>
                  <a:lnTo>
                    <a:pt x="660" y="1284"/>
                  </a:lnTo>
                  <a:lnTo>
                    <a:pt x="660" y="1278"/>
                  </a:lnTo>
                  <a:lnTo>
                    <a:pt x="654" y="1272"/>
                  </a:lnTo>
                  <a:lnTo>
                    <a:pt x="648" y="1272"/>
                  </a:lnTo>
                  <a:lnTo>
                    <a:pt x="642" y="1272"/>
                  </a:lnTo>
                  <a:lnTo>
                    <a:pt x="642" y="1266"/>
                  </a:lnTo>
                  <a:lnTo>
                    <a:pt x="636" y="1266"/>
                  </a:lnTo>
                  <a:lnTo>
                    <a:pt x="630" y="1266"/>
                  </a:lnTo>
                  <a:lnTo>
                    <a:pt x="624" y="1266"/>
                  </a:lnTo>
                  <a:lnTo>
                    <a:pt x="624" y="1260"/>
                  </a:lnTo>
                  <a:lnTo>
                    <a:pt x="618" y="1260"/>
                  </a:lnTo>
                  <a:lnTo>
                    <a:pt x="612" y="1260"/>
                  </a:lnTo>
                  <a:lnTo>
                    <a:pt x="606" y="1260"/>
                  </a:lnTo>
                  <a:lnTo>
                    <a:pt x="600" y="1260"/>
                  </a:lnTo>
                  <a:lnTo>
                    <a:pt x="600" y="1254"/>
                  </a:lnTo>
                  <a:lnTo>
                    <a:pt x="594" y="1254"/>
                  </a:lnTo>
                  <a:lnTo>
                    <a:pt x="588" y="1248"/>
                  </a:lnTo>
                  <a:lnTo>
                    <a:pt x="588" y="1254"/>
                  </a:lnTo>
                  <a:lnTo>
                    <a:pt x="582" y="1254"/>
                  </a:lnTo>
                  <a:lnTo>
                    <a:pt x="582" y="1248"/>
                  </a:lnTo>
                  <a:lnTo>
                    <a:pt x="576" y="1248"/>
                  </a:lnTo>
                  <a:lnTo>
                    <a:pt x="576" y="1254"/>
                  </a:lnTo>
                  <a:lnTo>
                    <a:pt x="570" y="1248"/>
                  </a:lnTo>
                  <a:lnTo>
                    <a:pt x="564" y="1248"/>
                  </a:lnTo>
                  <a:lnTo>
                    <a:pt x="564" y="1254"/>
                  </a:lnTo>
                  <a:lnTo>
                    <a:pt x="558" y="1254"/>
                  </a:lnTo>
                  <a:lnTo>
                    <a:pt x="552" y="1254"/>
                  </a:lnTo>
                  <a:lnTo>
                    <a:pt x="552" y="1260"/>
                  </a:lnTo>
                  <a:lnTo>
                    <a:pt x="546" y="1260"/>
                  </a:lnTo>
                  <a:lnTo>
                    <a:pt x="540" y="1260"/>
                  </a:lnTo>
                  <a:lnTo>
                    <a:pt x="540" y="1254"/>
                  </a:lnTo>
                  <a:lnTo>
                    <a:pt x="534" y="1254"/>
                  </a:lnTo>
                  <a:lnTo>
                    <a:pt x="528" y="1224"/>
                  </a:lnTo>
                  <a:lnTo>
                    <a:pt x="534" y="1212"/>
                  </a:lnTo>
                  <a:lnTo>
                    <a:pt x="546" y="1206"/>
                  </a:lnTo>
                  <a:lnTo>
                    <a:pt x="582" y="1206"/>
                  </a:lnTo>
                  <a:lnTo>
                    <a:pt x="588" y="1188"/>
                  </a:lnTo>
                  <a:lnTo>
                    <a:pt x="582" y="1188"/>
                  </a:lnTo>
                  <a:lnTo>
                    <a:pt x="582" y="1182"/>
                  </a:lnTo>
                  <a:lnTo>
                    <a:pt x="576" y="1176"/>
                  </a:lnTo>
                  <a:lnTo>
                    <a:pt x="558" y="1128"/>
                  </a:lnTo>
                  <a:lnTo>
                    <a:pt x="558" y="1122"/>
                  </a:lnTo>
                  <a:lnTo>
                    <a:pt x="576" y="1098"/>
                  </a:lnTo>
                  <a:lnTo>
                    <a:pt x="576" y="1092"/>
                  </a:lnTo>
                  <a:lnTo>
                    <a:pt x="582" y="1092"/>
                  </a:lnTo>
                  <a:lnTo>
                    <a:pt x="582" y="1086"/>
                  </a:lnTo>
                  <a:lnTo>
                    <a:pt x="582" y="1080"/>
                  </a:lnTo>
                  <a:lnTo>
                    <a:pt x="582" y="1074"/>
                  </a:lnTo>
                  <a:lnTo>
                    <a:pt x="588" y="1074"/>
                  </a:lnTo>
                  <a:lnTo>
                    <a:pt x="588" y="1062"/>
                  </a:lnTo>
                  <a:lnTo>
                    <a:pt x="588" y="1056"/>
                  </a:lnTo>
                  <a:lnTo>
                    <a:pt x="588" y="1044"/>
                  </a:lnTo>
                  <a:lnTo>
                    <a:pt x="588" y="1038"/>
                  </a:lnTo>
                  <a:lnTo>
                    <a:pt x="588" y="1032"/>
                  </a:lnTo>
                  <a:lnTo>
                    <a:pt x="582" y="1026"/>
                  </a:lnTo>
                  <a:lnTo>
                    <a:pt x="582" y="1020"/>
                  </a:lnTo>
                  <a:lnTo>
                    <a:pt x="582" y="1008"/>
                  </a:lnTo>
                  <a:lnTo>
                    <a:pt x="576" y="990"/>
                  </a:lnTo>
                  <a:lnTo>
                    <a:pt x="570" y="972"/>
                  </a:lnTo>
                  <a:lnTo>
                    <a:pt x="552" y="972"/>
                  </a:lnTo>
                  <a:lnTo>
                    <a:pt x="540" y="960"/>
                  </a:lnTo>
                  <a:lnTo>
                    <a:pt x="534" y="954"/>
                  </a:lnTo>
                  <a:lnTo>
                    <a:pt x="534" y="948"/>
                  </a:lnTo>
                  <a:lnTo>
                    <a:pt x="516" y="948"/>
                  </a:lnTo>
                  <a:lnTo>
                    <a:pt x="522" y="936"/>
                  </a:lnTo>
                  <a:lnTo>
                    <a:pt x="522" y="930"/>
                  </a:lnTo>
                  <a:lnTo>
                    <a:pt x="504" y="918"/>
                  </a:lnTo>
                  <a:lnTo>
                    <a:pt x="492" y="906"/>
                  </a:lnTo>
                  <a:lnTo>
                    <a:pt x="486" y="894"/>
                  </a:lnTo>
                  <a:lnTo>
                    <a:pt x="468" y="876"/>
                  </a:lnTo>
                  <a:lnTo>
                    <a:pt x="450" y="876"/>
                  </a:lnTo>
                  <a:lnTo>
                    <a:pt x="414" y="882"/>
                  </a:lnTo>
                  <a:lnTo>
                    <a:pt x="402" y="870"/>
                  </a:lnTo>
                  <a:lnTo>
                    <a:pt x="390" y="864"/>
                  </a:lnTo>
                  <a:lnTo>
                    <a:pt x="384" y="852"/>
                  </a:lnTo>
                  <a:lnTo>
                    <a:pt x="378" y="840"/>
                  </a:lnTo>
                  <a:lnTo>
                    <a:pt x="378" y="834"/>
                  </a:lnTo>
                  <a:lnTo>
                    <a:pt x="360" y="822"/>
                  </a:lnTo>
                  <a:lnTo>
                    <a:pt x="342" y="828"/>
                  </a:lnTo>
                  <a:lnTo>
                    <a:pt x="324" y="816"/>
                  </a:lnTo>
                  <a:lnTo>
                    <a:pt x="318" y="816"/>
                  </a:lnTo>
                  <a:lnTo>
                    <a:pt x="306" y="810"/>
                  </a:lnTo>
                  <a:lnTo>
                    <a:pt x="306" y="804"/>
                  </a:lnTo>
                  <a:lnTo>
                    <a:pt x="300" y="804"/>
                  </a:lnTo>
                  <a:lnTo>
                    <a:pt x="300" y="780"/>
                  </a:lnTo>
                  <a:lnTo>
                    <a:pt x="300" y="774"/>
                  </a:lnTo>
                  <a:lnTo>
                    <a:pt x="306" y="774"/>
                  </a:lnTo>
                  <a:lnTo>
                    <a:pt x="312" y="756"/>
                  </a:lnTo>
                  <a:lnTo>
                    <a:pt x="312" y="732"/>
                  </a:lnTo>
                  <a:lnTo>
                    <a:pt x="300" y="720"/>
                  </a:lnTo>
                  <a:lnTo>
                    <a:pt x="288" y="702"/>
                  </a:lnTo>
                  <a:lnTo>
                    <a:pt x="276" y="702"/>
                  </a:lnTo>
                  <a:lnTo>
                    <a:pt x="258" y="714"/>
                  </a:lnTo>
                  <a:lnTo>
                    <a:pt x="246" y="726"/>
                  </a:lnTo>
                  <a:lnTo>
                    <a:pt x="222" y="726"/>
                  </a:lnTo>
                  <a:lnTo>
                    <a:pt x="192" y="726"/>
                  </a:lnTo>
                  <a:lnTo>
                    <a:pt x="174" y="738"/>
                  </a:lnTo>
                  <a:lnTo>
                    <a:pt x="162" y="750"/>
                  </a:lnTo>
                  <a:lnTo>
                    <a:pt x="144" y="762"/>
                  </a:lnTo>
                  <a:lnTo>
                    <a:pt x="138" y="768"/>
                  </a:lnTo>
                  <a:lnTo>
                    <a:pt x="126" y="774"/>
                  </a:lnTo>
                  <a:lnTo>
                    <a:pt x="114" y="780"/>
                  </a:lnTo>
                  <a:lnTo>
                    <a:pt x="108" y="786"/>
                  </a:lnTo>
                  <a:lnTo>
                    <a:pt x="102" y="786"/>
                  </a:lnTo>
                  <a:lnTo>
                    <a:pt x="54" y="786"/>
                  </a:lnTo>
                  <a:lnTo>
                    <a:pt x="48" y="792"/>
                  </a:lnTo>
                  <a:lnTo>
                    <a:pt x="36" y="798"/>
                  </a:lnTo>
                  <a:lnTo>
                    <a:pt x="18" y="792"/>
                  </a:lnTo>
                  <a:lnTo>
                    <a:pt x="6" y="780"/>
                  </a:lnTo>
                  <a:lnTo>
                    <a:pt x="6" y="768"/>
                  </a:lnTo>
                  <a:lnTo>
                    <a:pt x="0" y="756"/>
                  </a:lnTo>
                  <a:lnTo>
                    <a:pt x="0" y="738"/>
                  </a:lnTo>
                  <a:lnTo>
                    <a:pt x="6" y="702"/>
                  </a:lnTo>
                  <a:lnTo>
                    <a:pt x="24" y="702"/>
                  </a:lnTo>
                  <a:lnTo>
                    <a:pt x="24" y="696"/>
                  </a:lnTo>
                  <a:lnTo>
                    <a:pt x="24" y="690"/>
                  </a:lnTo>
                  <a:lnTo>
                    <a:pt x="24" y="678"/>
                  </a:lnTo>
                  <a:lnTo>
                    <a:pt x="24" y="672"/>
                  </a:lnTo>
                  <a:lnTo>
                    <a:pt x="30" y="672"/>
                  </a:lnTo>
                  <a:lnTo>
                    <a:pt x="30" y="666"/>
                  </a:lnTo>
                  <a:lnTo>
                    <a:pt x="36" y="660"/>
                  </a:lnTo>
                  <a:lnTo>
                    <a:pt x="84" y="648"/>
                  </a:lnTo>
                  <a:lnTo>
                    <a:pt x="126" y="642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32" y="618"/>
                  </a:lnTo>
                  <a:lnTo>
                    <a:pt x="138" y="612"/>
                  </a:lnTo>
                  <a:lnTo>
                    <a:pt x="138" y="606"/>
                  </a:lnTo>
                  <a:lnTo>
                    <a:pt x="138" y="600"/>
                  </a:lnTo>
                  <a:lnTo>
                    <a:pt x="132" y="600"/>
                  </a:lnTo>
                  <a:lnTo>
                    <a:pt x="132" y="594"/>
                  </a:lnTo>
                  <a:lnTo>
                    <a:pt x="132" y="588"/>
                  </a:lnTo>
                  <a:lnTo>
                    <a:pt x="132" y="582"/>
                  </a:lnTo>
                  <a:lnTo>
                    <a:pt x="132" y="576"/>
                  </a:lnTo>
                  <a:lnTo>
                    <a:pt x="126" y="570"/>
                  </a:lnTo>
                  <a:lnTo>
                    <a:pt x="120" y="564"/>
                  </a:lnTo>
                  <a:lnTo>
                    <a:pt x="120" y="558"/>
                  </a:lnTo>
                  <a:lnTo>
                    <a:pt x="120" y="552"/>
                  </a:lnTo>
                  <a:lnTo>
                    <a:pt x="114" y="552"/>
                  </a:lnTo>
                  <a:lnTo>
                    <a:pt x="114" y="546"/>
                  </a:lnTo>
                  <a:lnTo>
                    <a:pt x="114" y="540"/>
                  </a:lnTo>
                  <a:lnTo>
                    <a:pt x="108" y="534"/>
                  </a:lnTo>
                  <a:lnTo>
                    <a:pt x="108" y="528"/>
                  </a:lnTo>
                  <a:lnTo>
                    <a:pt x="114" y="522"/>
                  </a:lnTo>
                  <a:lnTo>
                    <a:pt x="108" y="516"/>
                  </a:lnTo>
                  <a:lnTo>
                    <a:pt x="108" y="498"/>
                  </a:lnTo>
                  <a:lnTo>
                    <a:pt x="108" y="492"/>
                  </a:lnTo>
                  <a:lnTo>
                    <a:pt x="108" y="486"/>
                  </a:lnTo>
                  <a:lnTo>
                    <a:pt x="108" y="480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08" y="462"/>
                  </a:lnTo>
                  <a:lnTo>
                    <a:pt x="102" y="456"/>
                  </a:lnTo>
                  <a:lnTo>
                    <a:pt x="102" y="444"/>
                  </a:lnTo>
                  <a:lnTo>
                    <a:pt x="96" y="444"/>
                  </a:lnTo>
                  <a:lnTo>
                    <a:pt x="90" y="432"/>
                  </a:lnTo>
                  <a:lnTo>
                    <a:pt x="96" y="432"/>
                  </a:lnTo>
                  <a:lnTo>
                    <a:pt x="96" y="408"/>
                  </a:lnTo>
                  <a:lnTo>
                    <a:pt x="96" y="396"/>
                  </a:lnTo>
                  <a:lnTo>
                    <a:pt x="96" y="360"/>
                  </a:lnTo>
                  <a:lnTo>
                    <a:pt x="96" y="354"/>
                  </a:lnTo>
                  <a:lnTo>
                    <a:pt x="102" y="354"/>
                  </a:lnTo>
                  <a:lnTo>
                    <a:pt x="102" y="348"/>
                  </a:lnTo>
                  <a:lnTo>
                    <a:pt x="96" y="330"/>
                  </a:lnTo>
                  <a:lnTo>
                    <a:pt x="90" y="306"/>
                  </a:lnTo>
                  <a:lnTo>
                    <a:pt x="84" y="288"/>
                  </a:lnTo>
                  <a:lnTo>
                    <a:pt x="84" y="264"/>
                  </a:lnTo>
                  <a:lnTo>
                    <a:pt x="90" y="240"/>
                  </a:lnTo>
                  <a:lnTo>
                    <a:pt x="96" y="222"/>
                  </a:lnTo>
                  <a:lnTo>
                    <a:pt x="102" y="222"/>
                  </a:lnTo>
                  <a:lnTo>
                    <a:pt x="108" y="210"/>
                  </a:lnTo>
                  <a:lnTo>
                    <a:pt x="114" y="210"/>
                  </a:lnTo>
                  <a:lnTo>
                    <a:pt x="126" y="198"/>
                  </a:lnTo>
                  <a:lnTo>
                    <a:pt x="156" y="192"/>
                  </a:lnTo>
                  <a:lnTo>
                    <a:pt x="174" y="186"/>
                  </a:lnTo>
                  <a:lnTo>
                    <a:pt x="204" y="174"/>
                  </a:lnTo>
                  <a:lnTo>
                    <a:pt x="222" y="168"/>
                  </a:lnTo>
                  <a:lnTo>
                    <a:pt x="234" y="162"/>
                  </a:lnTo>
                  <a:lnTo>
                    <a:pt x="246" y="156"/>
                  </a:lnTo>
                  <a:lnTo>
                    <a:pt x="288" y="144"/>
                  </a:lnTo>
                  <a:lnTo>
                    <a:pt x="288" y="132"/>
                  </a:lnTo>
                  <a:lnTo>
                    <a:pt x="294" y="120"/>
                  </a:lnTo>
                  <a:lnTo>
                    <a:pt x="300" y="108"/>
                  </a:lnTo>
                  <a:lnTo>
                    <a:pt x="306" y="90"/>
                  </a:lnTo>
                  <a:lnTo>
                    <a:pt x="312" y="78"/>
                  </a:lnTo>
                  <a:lnTo>
                    <a:pt x="324" y="78"/>
                  </a:lnTo>
                  <a:lnTo>
                    <a:pt x="324" y="54"/>
                  </a:lnTo>
                  <a:lnTo>
                    <a:pt x="318" y="48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60" y="6"/>
                  </a:lnTo>
                  <a:lnTo>
                    <a:pt x="384" y="0"/>
                  </a:lnTo>
                  <a:lnTo>
                    <a:pt x="390" y="6"/>
                  </a:lnTo>
                  <a:lnTo>
                    <a:pt x="390" y="18"/>
                  </a:lnTo>
                  <a:lnTo>
                    <a:pt x="390" y="54"/>
                  </a:lnTo>
                  <a:lnTo>
                    <a:pt x="396" y="66"/>
                  </a:lnTo>
                  <a:lnTo>
                    <a:pt x="414" y="84"/>
                  </a:lnTo>
                  <a:lnTo>
                    <a:pt x="426" y="90"/>
                  </a:lnTo>
                  <a:lnTo>
                    <a:pt x="432" y="96"/>
                  </a:lnTo>
                  <a:lnTo>
                    <a:pt x="426" y="102"/>
                  </a:lnTo>
                  <a:lnTo>
                    <a:pt x="438" y="102"/>
                  </a:lnTo>
                  <a:lnTo>
                    <a:pt x="444" y="108"/>
                  </a:lnTo>
                  <a:lnTo>
                    <a:pt x="444" y="102"/>
                  </a:lnTo>
                  <a:lnTo>
                    <a:pt x="450" y="90"/>
                  </a:lnTo>
                  <a:lnTo>
                    <a:pt x="450" y="84"/>
                  </a:lnTo>
                  <a:lnTo>
                    <a:pt x="450" y="78"/>
                  </a:lnTo>
                  <a:lnTo>
                    <a:pt x="456" y="72"/>
                  </a:lnTo>
                  <a:lnTo>
                    <a:pt x="462" y="66"/>
                  </a:lnTo>
                  <a:lnTo>
                    <a:pt x="462" y="60"/>
                  </a:lnTo>
                  <a:lnTo>
                    <a:pt x="462" y="54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74" y="24"/>
                  </a:lnTo>
                  <a:lnTo>
                    <a:pt x="480" y="18"/>
                  </a:lnTo>
                  <a:lnTo>
                    <a:pt x="486" y="12"/>
                  </a:lnTo>
                  <a:lnTo>
                    <a:pt x="492" y="12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2" y="6"/>
                  </a:lnTo>
                  <a:lnTo>
                    <a:pt x="534" y="6"/>
                  </a:lnTo>
                  <a:lnTo>
                    <a:pt x="540" y="6"/>
                  </a:lnTo>
                  <a:lnTo>
                    <a:pt x="546" y="6"/>
                  </a:lnTo>
                  <a:lnTo>
                    <a:pt x="564" y="0"/>
                  </a:lnTo>
                  <a:lnTo>
                    <a:pt x="570" y="0"/>
                  </a:lnTo>
                  <a:lnTo>
                    <a:pt x="576" y="6"/>
                  </a:lnTo>
                  <a:lnTo>
                    <a:pt x="582" y="6"/>
                  </a:lnTo>
                  <a:lnTo>
                    <a:pt x="594" y="6"/>
                  </a:lnTo>
                  <a:lnTo>
                    <a:pt x="600" y="6"/>
                  </a:lnTo>
                  <a:lnTo>
                    <a:pt x="606" y="6"/>
                  </a:lnTo>
                  <a:lnTo>
                    <a:pt x="624" y="0"/>
                  </a:lnTo>
                  <a:lnTo>
                    <a:pt x="636" y="0"/>
                  </a:lnTo>
                  <a:lnTo>
                    <a:pt x="636" y="6"/>
                  </a:lnTo>
                  <a:lnTo>
                    <a:pt x="654" y="18"/>
                  </a:lnTo>
                  <a:lnTo>
                    <a:pt x="654" y="30"/>
                  </a:lnTo>
                  <a:lnTo>
                    <a:pt x="642" y="42"/>
                  </a:lnTo>
                  <a:lnTo>
                    <a:pt x="630" y="66"/>
                  </a:lnTo>
                  <a:lnTo>
                    <a:pt x="636" y="84"/>
                  </a:lnTo>
                  <a:lnTo>
                    <a:pt x="636" y="96"/>
                  </a:lnTo>
                  <a:lnTo>
                    <a:pt x="648" y="102"/>
                  </a:lnTo>
                  <a:lnTo>
                    <a:pt x="672" y="114"/>
                  </a:lnTo>
                  <a:lnTo>
                    <a:pt x="702" y="120"/>
                  </a:lnTo>
                  <a:lnTo>
                    <a:pt x="714" y="126"/>
                  </a:lnTo>
                  <a:lnTo>
                    <a:pt x="720" y="144"/>
                  </a:lnTo>
                  <a:lnTo>
                    <a:pt x="720" y="156"/>
                  </a:lnTo>
                  <a:lnTo>
                    <a:pt x="708" y="156"/>
                  </a:lnTo>
                  <a:lnTo>
                    <a:pt x="702" y="162"/>
                  </a:lnTo>
                  <a:lnTo>
                    <a:pt x="702" y="174"/>
                  </a:lnTo>
                  <a:lnTo>
                    <a:pt x="696" y="174"/>
                  </a:lnTo>
                  <a:lnTo>
                    <a:pt x="690" y="180"/>
                  </a:lnTo>
                  <a:lnTo>
                    <a:pt x="678" y="186"/>
                  </a:lnTo>
                  <a:lnTo>
                    <a:pt x="672" y="192"/>
                  </a:lnTo>
                  <a:lnTo>
                    <a:pt x="654" y="210"/>
                  </a:lnTo>
                  <a:lnTo>
                    <a:pt x="654" y="216"/>
                  </a:lnTo>
                  <a:lnTo>
                    <a:pt x="648" y="246"/>
                  </a:lnTo>
                  <a:lnTo>
                    <a:pt x="660" y="246"/>
                  </a:lnTo>
                  <a:lnTo>
                    <a:pt x="666" y="234"/>
                  </a:lnTo>
                  <a:lnTo>
                    <a:pt x="678" y="240"/>
                  </a:lnTo>
                  <a:lnTo>
                    <a:pt x="684" y="228"/>
                  </a:lnTo>
                  <a:lnTo>
                    <a:pt x="690" y="210"/>
                  </a:lnTo>
                  <a:lnTo>
                    <a:pt x="696" y="204"/>
                  </a:lnTo>
                  <a:lnTo>
                    <a:pt x="702" y="204"/>
                  </a:lnTo>
                  <a:lnTo>
                    <a:pt x="708" y="192"/>
                  </a:lnTo>
                  <a:lnTo>
                    <a:pt x="714" y="192"/>
                  </a:lnTo>
                  <a:lnTo>
                    <a:pt x="714" y="186"/>
                  </a:lnTo>
                  <a:lnTo>
                    <a:pt x="726" y="186"/>
                  </a:lnTo>
                  <a:lnTo>
                    <a:pt x="732" y="186"/>
                  </a:lnTo>
                  <a:lnTo>
                    <a:pt x="738" y="186"/>
                  </a:lnTo>
                  <a:lnTo>
                    <a:pt x="744" y="216"/>
                  </a:lnTo>
                  <a:lnTo>
                    <a:pt x="750" y="210"/>
                  </a:lnTo>
                  <a:lnTo>
                    <a:pt x="750" y="204"/>
                  </a:lnTo>
                  <a:lnTo>
                    <a:pt x="756" y="192"/>
                  </a:lnTo>
                  <a:lnTo>
                    <a:pt x="762" y="192"/>
                  </a:lnTo>
                  <a:lnTo>
                    <a:pt x="768" y="192"/>
                  </a:lnTo>
                  <a:lnTo>
                    <a:pt x="780" y="186"/>
                  </a:lnTo>
                  <a:lnTo>
                    <a:pt x="786" y="204"/>
                  </a:lnTo>
                  <a:lnTo>
                    <a:pt x="774" y="210"/>
                  </a:lnTo>
                  <a:lnTo>
                    <a:pt x="774" y="234"/>
                  </a:lnTo>
                  <a:lnTo>
                    <a:pt x="780" y="246"/>
                  </a:lnTo>
                  <a:lnTo>
                    <a:pt x="804" y="264"/>
                  </a:lnTo>
                  <a:lnTo>
                    <a:pt x="816" y="276"/>
                  </a:lnTo>
                  <a:lnTo>
                    <a:pt x="822" y="288"/>
                  </a:lnTo>
                  <a:lnTo>
                    <a:pt x="822" y="312"/>
                  </a:lnTo>
                  <a:lnTo>
                    <a:pt x="816" y="312"/>
                  </a:lnTo>
                  <a:lnTo>
                    <a:pt x="810" y="318"/>
                  </a:lnTo>
                  <a:lnTo>
                    <a:pt x="810" y="348"/>
                  </a:lnTo>
                  <a:lnTo>
                    <a:pt x="816" y="348"/>
                  </a:lnTo>
                  <a:lnTo>
                    <a:pt x="816" y="342"/>
                  </a:lnTo>
                  <a:lnTo>
                    <a:pt x="834" y="342"/>
                  </a:lnTo>
                  <a:lnTo>
                    <a:pt x="834" y="348"/>
                  </a:lnTo>
                  <a:lnTo>
                    <a:pt x="846" y="348"/>
                  </a:lnTo>
                  <a:lnTo>
                    <a:pt x="846" y="342"/>
                  </a:lnTo>
                  <a:lnTo>
                    <a:pt x="882" y="342"/>
                  </a:lnTo>
                  <a:lnTo>
                    <a:pt x="894" y="366"/>
                  </a:lnTo>
                  <a:lnTo>
                    <a:pt x="900" y="372"/>
                  </a:lnTo>
                  <a:lnTo>
                    <a:pt x="906" y="384"/>
                  </a:lnTo>
                  <a:lnTo>
                    <a:pt x="924" y="384"/>
                  </a:lnTo>
                  <a:lnTo>
                    <a:pt x="930" y="372"/>
                  </a:lnTo>
                  <a:lnTo>
                    <a:pt x="936" y="372"/>
                  </a:lnTo>
                  <a:lnTo>
                    <a:pt x="942" y="348"/>
                  </a:lnTo>
                  <a:lnTo>
                    <a:pt x="954" y="348"/>
                  </a:lnTo>
                  <a:lnTo>
                    <a:pt x="954" y="342"/>
                  </a:lnTo>
                  <a:lnTo>
                    <a:pt x="984" y="342"/>
                  </a:lnTo>
                  <a:lnTo>
                    <a:pt x="978" y="390"/>
                  </a:lnTo>
                  <a:lnTo>
                    <a:pt x="984" y="390"/>
                  </a:lnTo>
                  <a:lnTo>
                    <a:pt x="990" y="396"/>
                  </a:lnTo>
                  <a:lnTo>
                    <a:pt x="996" y="396"/>
                  </a:lnTo>
                  <a:lnTo>
                    <a:pt x="1002" y="396"/>
                  </a:lnTo>
                  <a:lnTo>
                    <a:pt x="1002" y="408"/>
                  </a:lnTo>
                  <a:lnTo>
                    <a:pt x="990" y="414"/>
                  </a:lnTo>
                  <a:lnTo>
                    <a:pt x="984" y="426"/>
                  </a:lnTo>
                  <a:lnTo>
                    <a:pt x="990" y="444"/>
                  </a:lnTo>
                  <a:lnTo>
                    <a:pt x="996" y="450"/>
                  </a:lnTo>
                  <a:lnTo>
                    <a:pt x="990" y="462"/>
                  </a:lnTo>
                  <a:lnTo>
                    <a:pt x="990" y="468"/>
                  </a:lnTo>
                  <a:lnTo>
                    <a:pt x="984" y="480"/>
                  </a:lnTo>
                  <a:lnTo>
                    <a:pt x="978" y="486"/>
                  </a:lnTo>
                  <a:lnTo>
                    <a:pt x="972" y="486"/>
                  </a:lnTo>
                  <a:lnTo>
                    <a:pt x="966" y="492"/>
                  </a:lnTo>
                  <a:lnTo>
                    <a:pt x="966" y="498"/>
                  </a:lnTo>
                  <a:lnTo>
                    <a:pt x="954" y="510"/>
                  </a:lnTo>
                  <a:lnTo>
                    <a:pt x="948" y="510"/>
                  </a:lnTo>
                  <a:lnTo>
                    <a:pt x="942" y="516"/>
                  </a:lnTo>
                  <a:lnTo>
                    <a:pt x="936" y="528"/>
                  </a:lnTo>
                  <a:lnTo>
                    <a:pt x="936" y="534"/>
                  </a:lnTo>
                  <a:lnTo>
                    <a:pt x="936" y="546"/>
                  </a:lnTo>
                  <a:lnTo>
                    <a:pt x="936" y="558"/>
                  </a:lnTo>
                  <a:lnTo>
                    <a:pt x="948" y="558"/>
                  </a:lnTo>
                  <a:lnTo>
                    <a:pt x="954" y="558"/>
                  </a:lnTo>
                  <a:lnTo>
                    <a:pt x="996" y="558"/>
                  </a:lnTo>
                  <a:lnTo>
                    <a:pt x="1002" y="570"/>
                  </a:lnTo>
                  <a:lnTo>
                    <a:pt x="996" y="576"/>
                  </a:lnTo>
                  <a:lnTo>
                    <a:pt x="996" y="588"/>
                  </a:lnTo>
                  <a:lnTo>
                    <a:pt x="984" y="588"/>
                  </a:lnTo>
                  <a:lnTo>
                    <a:pt x="990" y="612"/>
                  </a:lnTo>
                  <a:lnTo>
                    <a:pt x="1014" y="606"/>
                  </a:lnTo>
                  <a:lnTo>
                    <a:pt x="1014" y="636"/>
                  </a:lnTo>
                  <a:lnTo>
                    <a:pt x="1014" y="648"/>
                  </a:lnTo>
                  <a:lnTo>
                    <a:pt x="1020" y="648"/>
                  </a:lnTo>
                  <a:lnTo>
                    <a:pt x="1026" y="660"/>
                  </a:lnTo>
                  <a:lnTo>
                    <a:pt x="1038" y="654"/>
                  </a:lnTo>
                  <a:lnTo>
                    <a:pt x="1050" y="654"/>
                  </a:lnTo>
                  <a:lnTo>
                    <a:pt x="1062" y="654"/>
                  </a:lnTo>
                  <a:lnTo>
                    <a:pt x="1068" y="660"/>
                  </a:lnTo>
                  <a:lnTo>
                    <a:pt x="1068" y="678"/>
                  </a:lnTo>
                  <a:lnTo>
                    <a:pt x="1068" y="684"/>
                  </a:lnTo>
                  <a:lnTo>
                    <a:pt x="1062" y="690"/>
                  </a:lnTo>
                  <a:lnTo>
                    <a:pt x="1056" y="696"/>
                  </a:lnTo>
                  <a:lnTo>
                    <a:pt x="1056" y="702"/>
                  </a:lnTo>
                  <a:lnTo>
                    <a:pt x="1038" y="714"/>
                  </a:lnTo>
                  <a:lnTo>
                    <a:pt x="1026" y="720"/>
                  </a:lnTo>
                  <a:lnTo>
                    <a:pt x="1008" y="726"/>
                  </a:lnTo>
                  <a:lnTo>
                    <a:pt x="1008" y="732"/>
                  </a:lnTo>
                  <a:lnTo>
                    <a:pt x="990" y="732"/>
                  </a:lnTo>
                  <a:lnTo>
                    <a:pt x="984" y="744"/>
                  </a:lnTo>
                  <a:lnTo>
                    <a:pt x="990" y="750"/>
                  </a:lnTo>
                  <a:lnTo>
                    <a:pt x="984" y="762"/>
                  </a:lnTo>
                  <a:lnTo>
                    <a:pt x="984" y="768"/>
                  </a:lnTo>
                  <a:lnTo>
                    <a:pt x="984" y="774"/>
                  </a:lnTo>
                  <a:lnTo>
                    <a:pt x="984" y="780"/>
                  </a:lnTo>
                  <a:lnTo>
                    <a:pt x="984" y="786"/>
                  </a:lnTo>
                  <a:lnTo>
                    <a:pt x="984" y="792"/>
                  </a:lnTo>
                  <a:lnTo>
                    <a:pt x="978" y="798"/>
                  </a:lnTo>
                  <a:lnTo>
                    <a:pt x="978" y="80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3" name="Freeform 38">
              <a:extLst>
                <a:ext uri="{FF2B5EF4-FFF2-40B4-BE49-F238E27FC236}">
                  <a16:creationId xmlns:a16="http://schemas.microsoft.com/office/drawing/2014/main" id="{819B99CE-D972-4530-8964-A992C1EC87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2825" y="1634436"/>
              <a:ext cx="959326" cy="959458"/>
            </a:xfrm>
            <a:custGeom>
              <a:avLst/>
              <a:gdLst>
                <a:gd name="T0" fmla="*/ 105 w 1806"/>
                <a:gd name="T1" fmla="*/ 155 h 1806"/>
                <a:gd name="T2" fmla="*/ 103 w 1806"/>
                <a:gd name="T3" fmla="*/ 155 h 1806"/>
                <a:gd name="T4" fmla="*/ 103 w 1806"/>
                <a:gd name="T5" fmla="*/ 150 h 1806"/>
                <a:gd name="T6" fmla="*/ 104 w 1806"/>
                <a:gd name="T7" fmla="*/ 141 h 1806"/>
                <a:gd name="T8" fmla="*/ 104 w 1806"/>
                <a:gd name="T9" fmla="*/ 136 h 1806"/>
                <a:gd name="T10" fmla="*/ 100 w 1806"/>
                <a:gd name="T11" fmla="*/ 131 h 1806"/>
                <a:gd name="T12" fmla="*/ 96 w 1806"/>
                <a:gd name="T13" fmla="*/ 127 h 1806"/>
                <a:gd name="T14" fmla="*/ 91 w 1806"/>
                <a:gd name="T15" fmla="*/ 121 h 1806"/>
                <a:gd name="T16" fmla="*/ 87 w 1806"/>
                <a:gd name="T17" fmla="*/ 120 h 1806"/>
                <a:gd name="T18" fmla="*/ 81 w 1806"/>
                <a:gd name="T19" fmla="*/ 117 h 1806"/>
                <a:gd name="T20" fmla="*/ 65 w 1806"/>
                <a:gd name="T21" fmla="*/ 113 h 1806"/>
                <a:gd name="T22" fmla="*/ 69 w 1806"/>
                <a:gd name="T23" fmla="*/ 105 h 1806"/>
                <a:gd name="T24" fmla="*/ 66 w 1806"/>
                <a:gd name="T25" fmla="*/ 89 h 1806"/>
                <a:gd name="T26" fmla="*/ 63 w 1806"/>
                <a:gd name="T27" fmla="*/ 84 h 1806"/>
                <a:gd name="T28" fmla="*/ 62 w 1806"/>
                <a:gd name="T29" fmla="*/ 74 h 1806"/>
                <a:gd name="T30" fmla="*/ 58 w 1806"/>
                <a:gd name="T31" fmla="*/ 52 h 1806"/>
                <a:gd name="T32" fmla="*/ 53 w 1806"/>
                <a:gd name="T33" fmla="*/ 49 h 1806"/>
                <a:gd name="T34" fmla="*/ 51 w 1806"/>
                <a:gd name="T35" fmla="*/ 36 h 1806"/>
                <a:gd name="T36" fmla="*/ 43 w 1806"/>
                <a:gd name="T37" fmla="*/ 32 h 1806"/>
                <a:gd name="T38" fmla="*/ 33 w 1806"/>
                <a:gd name="T39" fmla="*/ 30 h 1806"/>
                <a:gd name="T40" fmla="*/ 30 w 1806"/>
                <a:gd name="T41" fmla="*/ 21 h 1806"/>
                <a:gd name="T42" fmla="*/ 17 w 1806"/>
                <a:gd name="T43" fmla="*/ 25 h 1806"/>
                <a:gd name="T44" fmla="*/ 4 w 1806"/>
                <a:gd name="T45" fmla="*/ 33 h 1806"/>
                <a:gd name="T46" fmla="*/ 7 w 1806"/>
                <a:gd name="T47" fmla="*/ 26 h 1806"/>
                <a:gd name="T48" fmla="*/ 11 w 1806"/>
                <a:gd name="T49" fmla="*/ 20 h 1806"/>
                <a:gd name="T50" fmla="*/ 18 w 1806"/>
                <a:gd name="T51" fmla="*/ 12 h 1806"/>
                <a:gd name="T52" fmla="*/ 26 w 1806"/>
                <a:gd name="T53" fmla="*/ 8 h 1806"/>
                <a:gd name="T54" fmla="*/ 35 w 1806"/>
                <a:gd name="T55" fmla="*/ 6 h 1806"/>
                <a:gd name="T56" fmla="*/ 44 w 1806"/>
                <a:gd name="T57" fmla="*/ 5 h 1806"/>
                <a:gd name="T58" fmla="*/ 54 w 1806"/>
                <a:gd name="T59" fmla="*/ 2 h 1806"/>
                <a:gd name="T60" fmla="*/ 65 w 1806"/>
                <a:gd name="T61" fmla="*/ 0 h 1806"/>
                <a:gd name="T62" fmla="*/ 76 w 1806"/>
                <a:gd name="T63" fmla="*/ 0 h 1806"/>
                <a:gd name="T64" fmla="*/ 85 w 1806"/>
                <a:gd name="T65" fmla="*/ 0 h 1806"/>
                <a:gd name="T66" fmla="*/ 97 w 1806"/>
                <a:gd name="T67" fmla="*/ 0 h 1806"/>
                <a:gd name="T68" fmla="*/ 108 w 1806"/>
                <a:gd name="T69" fmla="*/ 3 h 1806"/>
                <a:gd name="T70" fmla="*/ 115 w 1806"/>
                <a:gd name="T71" fmla="*/ 5 h 1806"/>
                <a:gd name="T72" fmla="*/ 123 w 1806"/>
                <a:gd name="T73" fmla="*/ 7 h 1806"/>
                <a:gd name="T74" fmla="*/ 133 w 1806"/>
                <a:gd name="T75" fmla="*/ 14 h 1806"/>
                <a:gd name="T76" fmla="*/ 138 w 1806"/>
                <a:gd name="T77" fmla="*/ 16 h 1806"/>
                <a:gd name="T78" fmla="*/ 140 w 1806"/>
                <a:gd name="T79" fmla="*/ 14 h 1806"/>
                <a:gd name="T80" fmla="*/ 145 w 1806"/>
                <a:gd name="T81" fmla="*/ 16 h 1806"/>
                <a:gd name="T82" fmla="*/ 147 w 1806"/>
                <a:gd name="T83" fmla="*/ 16 h 1806"/>
                <a:gd name="T84" fmla="*/ 150 w 1806"/>
                <a:gd name="T85" fmla="*/ 17 h 1806"/>
                <a:gd name="T86" fmla="*/ 152 w 1806"/>
                <a:gd name="T87" fmla="*/ 18 h 1806"/>
                <a:gd name="T88" fmla="*/ 155 w 1806"/>
                <a:gd name="T89" fmla="*/ 37 h 1806"/>
                <a:gd name="T90" fmla="*/ 146 w 1806"/>
                <a:gd name="T91" fmla="*/ 66 h 1806"/>
                <a:gd name="T92" fmla="*/ 143 w 1806"/>
                <a:gd name="T93" fmla="*/ 88 h 1806"/>
                <a:gd name="T94" fmla="*/ 144 w 1806"/>
                <a:gd name="T95" fmla="*/ 98 h 1806"/>
                <a:gd name="T96" fmla="*/ 137 w 1806"/>
                <a:gd name="T97" fmla="*/ 118 h 1806"/>
                <a:gd name="T98" fmla="*/ 132 w 1806"/>
                <a:gd name="T99" fmla="*/ 129 h 1806"/>
                <a:gd name="T100" fmla="*/ 124 w 1806"/>
                <a:gd name="T101" fmla="*/ 135 h 1806"/>
                <a:gd name="T102" fmla="*/ 119 w 1806"/>
                <a:gd name="T103" fmla="*/ 136 h 1806"/>
                <a:gd name="T104" fmla="*/ 116 w 1806"/>
                <a:gd name="T105" fmla="*/ 137 h 1806"/>
                <a:gd name="T106" fmla="*/ 112 w 1806"/>
                <a:gd name="T107" fmla="*/ 139 h 1806"/>
                <a:gd name="T108" fmla="*/ 112 w 1806"/>
                <a:gd name="T109" fmla="*/ 141 h 1806"/>
                <a:gd name="T110" fmla="*/ 116 w 1806"/>
                <a:gd name="T111" fmla="*/ 146 h 1806"/>
                <a:gd name="T112" fmla="*/ 116 w 1806"/>
                <a:gd name="T113" fmla="*/ 151 h 1806"/>
                <a:gd name="T114" fmla="*/ 113 w 1806"/>
                <a:gd name="T115" fmla="*/ 153 h 18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6"/>
                <a:gd name="T175" fmla="*/ 0 h 1806"/>
                <a:gd name="T176" fmla="*/ 1806 w 1806"/>
                <a:gd name="T177" fmla="*/ 1806 h 18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6" h="1806">
                  <a:moveTo>
                    <a:pt x="1260" y="1776"/>
                  </a:moveTo>
                  <a:lnTo>
                    <a:pt x="1254" y="1776"/>
                  </a:lnTo>
                  <a:lnTo>
                    <a:pt x="1248" y="1776"/>
                  </a:lnTo>
                  <a:lnTo>
                    <a:pt x="1242" y="1782"/>
                  </a:lnTo>
                  <a:lnTo>
                    <a:pt x="1236" y="1782"/>
                  </a:lnTo>
                  <a:lnTo>
                    <a:pt x="1230" y="1788"/>
                  </a:lnTo>
                  <a:lnTo>
                    <a:pt x="1224" y="1782"/>
                  </a:lnTo>
                  <a:lnTo>
                    <a:pt x="1218" y="1782"/>
                  </a:lnTo>
                  <a:lnTo>
                    <a:pt x="1218" y="1788"/>
                  </a:lnTo>
                  <a:lnTo>
                    <a:pt x="1212" y="1788"/>
                  </a:lnTo>
                  <a:lnTo>
                    <a:pt x="1206" y="1788"/>
                  </a:lnTo>
                  <a:lnTo>
                    <a:pt x="1206" y="1794"/>
                  </a:lnTo>
                  <a:lnTo>
                    <a:pt x="1200" y="1806"/>
                  </a:lnTo>
                  <a:lnTo>
                    <a:pt x="1194" y="1800"/>
                  </a:lnTo>
                  <a:lnTo>
                    <a:pt x="1194" y="1794"/>
                  </a:lnTo>
                  <a:lnTo>
                    <a:pt x="1194" y="1788"/>
                  </a:lnTo>
                  <a:lnTo>
                    <a:pt x="1188" y="1788"/>
                  </a:lnTo>
                  <a:lnTo>
                    <a:pt x="1188" y="1782"/>
                  </a:lnTo>
                  <a:lnTo>
                    <a:pt x="1188" y="1776"/>
                  </a:lnTo>
                  <a:lnTo>
                    <a:pt x="1194" y="1770"/>
                  </a:lnTo>
                  <a:lnTo>
                    <a:pt x="1194" y="1764"/>
                  </a:lnTo>
                  <a:lnTo>
                    <a:pt x="1194" y="1758"/>
                  </a:lnTo>
                  <a:lnTo>
                    <a:pt x="1194" y="1752"/>
                  </a:lnTo>
                  <a:lnTo>
                    <a:pt x="1200" y="1746"/>
                  </a:lnTo>
                  <a:lnTo>
                    <a:pt x="1200" y="1740"/>
                  </a:lnTo>
                  <a:lnTo>
                    <a:pt x="1200" y="1734"/>
                  </a:lnTo>
                  <a:lnTo>
                    <a:pt x="1188" y="1722"/>
                  </a:lnTo>
                  <a:lnTo>
                    <a:pt x="1188" y="1716"/>
                  </a:lnTo>
                  <a:lnTo>
                    <a:pt x="1194" y="1704"/>
                  </a:lnTo>
                  <a:lnTo>
                    <a:pt x="1194" y="1692"/>
                  </a:lnTo>
                  <a:lnTo>
                    <a:pt x="1200" y="1680"/>
                  </a:lnTo>
                  <a:lnTo>
                    <a:pt x="1200" y="1662"/>
                  </a:lnTo>
                  <a:lnTo>
                    <a:pt x="1200" y="1650"/>
                  </a:lnTo>
                  <a:lnTo>
                    <a:pt x="1206" y="1644"/>
                  </a:lnTo>
                  <a:lnTo>
                    <a:pt x="1206" y="1638"/>
                  </a:lnTo>
                  <a:lnTo>
                    <a:pt x="1206" y="1626"/>
                  </a:lnTo>
                  <a:lnTo>
                    <a:pt x="1206" y="1620"/>
                  </a:lnTo>
                  <a:lnTo>
                    <a:pt x="1206" y="1614"/>
                  </a:lnTo>
                  <a:lnTo>
                    <a:pt x="1200" y="1608"/>
                  </a:lnTo>
                  <a:lnTo>
                    <a:pt x="1200" y="1602"/>
                  </a:lnTo>
                  <a:lnTo>
                    <a:pt x="1200" y="1596"/>
                  </a:lnTo>
                  <a:lnTo>
                    <a:pt x="1200" y="1590"/>
                  </a:lnTo>
                  <a:lnTo>
                    <a:pt x="1200" y="1572"/>
                  </a:lnTo>
                  <a:lnTo>
                    <a:pt x="1200" y="1566"/>
                  </a:lnTo>
                  <a:lnTo>
                    <a:pt x="1200" y="1560"/>
                  </a:lnTo>
                  <a:lnTo>
                    <a:pt x="1194" y="1554"/>
                  </a:lnTo>
                  <a:lnTo>
                    <a:pt x="1188" y="1548"/>
                  </a:lnTo>
                  <a:lnTo>
                    <a:pt x="1188" y="1542"/>
                  </a:lnTo>
                  <a:lnTo>
                    <a:pt x="1176" y="1536"/>
                  </a:lnTo>
                  <a:lnTo>
                    <a:pt x="1176" y="1530"/>
                  </a:lnTo>
                  <a:lnTo>
                    <a:pt x="1170" y="1524"/>
                  </a:lnTo>
                  <a:lnTo>
                    <a:pt x="1170" y="1518"/>
                  </a:lnTo>
                  <a:lnTo>
                    <a:pt x="1164" y="1512"/>
                  </a:lnTo>
                  <a:lnTo>
                    <a:pt x="1158" y="1506"/>
                  </a:lnTo>
                  <a:lnTo>
                    <a:pt x="1152" y="1500"/>
                  </a:lnTo>
                  <a:lnTo>
                    <a:pt x="1146" y="1494"/>
                  </a:lnTo>
                  <a:lnTo>
                    <a:pt x="1140" y="1488"/>
                  </a:lnTo>
                  <a:lnTo>
                    <a:pt x="1134" y="1482"/>
                  </a:lnTo>
                  <a:lnTo>
                    <a:pt x="1128" y="1476"/>
                  </a:lnTo>
                  <a:lnTo>
                    <a:pt x="1122" y="1470"/>
                  </a:lnTo>
                  <a:lnTo>
                    <a:pt x="1116" y="1464"/>
                  </a:lnTo>
                  <a:lnTo>
                    <a:pt x="1110" y="1464"/>
                  </a:lnTo>
                  <a:lnTo>
                    <a:pt x="1104" y="1458"/>
                  </a:lnTo>
                  <a:lnTo>
                    <a:pt x="1098" y="1464"/>
                  </a:lnTo>
                  <a:lnTo>
                    <a:pt x="1092" y="1464"/>
                  </a:lnTo>
                  <a:lnTo>
                    <a:pt x="1086" y="1446"/>
                  </a:lnTo>
                  <a:lnTo>
                    <a:pt x="1086" y="1440"/>
                  </a:lnTo>
                  <a:lnTo>
                    <a:pt x="1080" y="1416"/>
                  </a:lnTo>
                  <a:lnTo>
                    <a:pt x="1068" y="1404"/>
                  </a:lnTo>
                  <a:lnTo>
                    <a:pt x="1062" y="1398"/>
                  </a:lnTo>
                  <a:lnTo>
                    <a:pt x="1056" y="1398"/>
                  </a:lnTo>
                  <a:lnTo>
                    <a:pt x="1050" y="1398"/>
                  </a:lnTo>
                  <a:lnTo>
                    <a:pt x="1044" y="1398"/>
                  </a:lnTo>
                  <a:lnTo>
                    <a:pt x="1044" y="1392"/>
                  </a:lnTo>
                  <a:lnTo>
                    <a:pt x="1038" y="1392"/>
                  </a:lnTo>
                  <a:lnTo>
                    <a:pt x="1032" y="1392"/>
                  </a:lnTo>
                  <a:lnTo>
                    <a:pt x="1020" y="1386"/>
                  </a:lnTo>
                  <a:lnTo>
                    <a:pt x="1014" y="1386"/>
                  </a:lnTo>
                  <a:lnTo>
                    <a:pt x="1014" y="1380"/>
                  </a:lnTo>
                  <a:lnTo>
                    <a:pt x="1008" y="1380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62"/>
                  </a:lnTo>
                  <a:lnTo>
                    <a:pt x="984" y="1356"/>
                  </a:lnTo>
                  <a:lnTo>
                    <a:pt x="978" y="1356"/>
                  </a:lnTo>
                  <a:lnTo>
                    <a:pt x="972" y="1356"/>
                  </a:lnTo>
                  <a:lnTo>
                    <a:pt x="966" y="1356"/>
                  </a:lnTo>
                  <a:lnTo>
                    <a:pt x="966" y="1350"/>
                  </a:lnTo>
                  <a:lnTo>
                    <a:pt x="948" y="1350"/>
                  </a:lnTo>
                  <a:lnTo>
                    <a:pt x="936" y="1344"/>
                  </a:lnTo>
                  <a:lnTo>
                    <a:pt x="930" y="1338"/>
                  </a:lnTo>
                  <a:lnTo>
                    <a:pt x="918" y="1332"/>
                  </a:lnTo>
                  <a:lnTo>
                    <a:pt x="900" y="1326"/>
                  </a:lnTo>
                  <a:lnTo>
                    <a:pt x="864" y="1332"/>
                  </a:lnTo>
                  <a:lnTo>
                    <a:pt x="828" y="1332"/>
                  </a:lnTo>
                  <a:lnTo>
                    <a:pt x="792" y="1314"/>
                  </a:lnTo>
                  <a:lnTo>
                    <a:pt x="780" y="1314"/>
                  </a:lnTo>
                  <a:lnTo>
                    <a:pt x="780" y="1308"/>
                  </a:lnTo>
                  <a:lnTo>
                    <a:pt x="756" y="1296"/>
                  </a:lnTo>
                  <a:lnTo>
                    <a:pt x="756" y="1278"/>
                  </a:lnTo>
                  <a:lnTo>
                    <a:pt x="768" y="1278"/>
                  </a:lnTo>
                  <a:lnTo>
                    <a:pt x="774" y="1272"/>
                  </a:lnTo>
                  <a:lnTo>
                    <a:pt x="780" y="1266"/>
                  </a:lnTo>
                  <a:lnTo>
                    <a:pt x="786" y="1260"/>
                  </a:lnTo>
                  <a:lnTo>
                    <a:pt x="792" y="1254"/>
                  </a:lnTo>
                  <a:lnTo>
                    <a:pt x="798" y="1242"/>
                  </a:lnTo>
                  <a:lnTo>
                    <a:pt x="804" y="1242"/>
                  </a:lnTo>
                  <a:lnTo>
                    <a:pt x="804" y="1206"/>
                  </a:lnTo>
                  <a:lnTo>
                    <a:pt x="804" y="1182"/>
                  </a:lnTo>
                  <a:lnTo>
                    <a:pt x="804" y="1158"/>
                  </a:lnTo>
                  <a:lnTo>
                    <a:pt x="804" y="1134"/>
                  </a:lnTo>
                  <a:lnTo>
                    <a:pt x="798" y="1116"/>
                  </a:lnTo>
                  <a:lnTo>
                    <a:pt x="792" y="1092"/>
                  </a:lnTo>
                  <a:lnTo>
                    <a:pt x="786" y="1062"/>
                  </a:lnTo>
                  <a:lnTo>
                    <a:pt x="768" y="1032"/>
                  </a:lnTo>
                  <a:lnTo>
                    <a:pt x="762" y="1032"/>
                  </a:lnTo>
                  <a:lnTo>
                    <a:pt x="762" y="1020"/>
                  </a:lnTo>
                  <a:lnTo>
                    <a:pt x="762" y="1014"/>
                  </a:lnTo>
                  <a:lnTo>
                    <a:pt x="756" y="1008"/>
                  </a:lnTo>
                  <a:lnTo>
                    <a:pt x="750" y="1002"/>
                  </a:lnTo>
                  <a:lnTo>
                    <a:pt x="738" y="1002"/>
                  </a:lnTo>
                  <a:lnTo>
                    <a:pt x="738" y="990"/>
                  </a:lnTo>
                  <a:lnTo>
                    <a:pt x="726" y="990"/>
                  </a:lnTo>
                  <a:lnTo>
                    <a:pt x="726" y="978"/>
                  </a:lnTo>
                  <a:lnTo>
                    <a:pt x="732" y="972"/>
                  </a:lnTo>
                  <a:lnTo>
                    <a:pt x="732" y="966"/>
                  </a:lnTo>
                  <a:lnTo>
                    <a:pt x="726" y="966"/>
                  </a:lnTo>
                  <a:lnTo>
                    <a:pt x="732" y="948"/>
                  </a:lnTo>
                  <a:lnTo>
                    <a:pt x="726" y="942"/>
                  </a:lnTo>
                  <a:lnTo>
                    <a:pt x="726" y="930"/>
                  </a:lnTo>
                  <a:lnTo>
                    <a:pt x="720" y="924"/>
                  </a:lnTo>
                  <a:lnTo>
                    <a:pt x="714" y="912"/>
                  </a:lnTo>
                  <a:lnTo>
                    <a:pt x="714" y="882"/>
                  </a:lnTo>
                  <a:lnTo>
                    <a:pt x="714" y="870"/>
                  </a:lnTo>
                  <a:lnTo>
                    <a:pt x="714" y="858"/>
                  </a:lnTo>
                  <a:lnTo>
                    <a:pt x="714" y="846"/>
                  </a:lnTo>
                  <a:lnTo>
                    <a:pt x="708" y="822"/>
                  </a:lnTo>
                  <a:lnTo>
                    <a:pt x="702" y="798"/>
                  </a:lnTo>
                  <a:lnTo>
                    <a:pt x="696" y="792"/>
                  </a:lnTo>
                  <a:lnTo>
                    <a:pt x="684" y="726"/>
                  </a:lnTo>
                  <a:lnTo>
                    <a:pt x="678" y="666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66" y="600"/>
                  </a:lnTo>
                  <a:lnTo>
                    <a:pt x="660" y="594"/>
                  </a:lnTo>
                  <a:lnTo>
                    <a:pt x="654" y="594"/>
                  </a:lnTo>
                  <a:lnTo>
                    <a:pt x="636" y="582"/>
                  </a:lnTo>
                  <a:lnTo>
                    <a:pt x="630" y="576"/>
                  </a:lnTo>
                  <a:lnTo>
                    <a:pt x="624" y="576"/>
                  </a:lnTo>
                  <a:lnTo>
                    <a:pt x="618" y="570"/>
                  </a:lnTo>
                  <a:lnTo>
                    <a:pt x="612" y="564"/>
                  </a:lnTo>
                  <a:lnTo>
                    <a:pt x="606" y="558"/>
                  </a:lnTo>
                  <a:lnTo>
                    <a:pt x="606" y="564"/>
                  </a:lnTo>
                  <a:lnTo>
                    <a:pt x="600" y="564"/>
                  </a:lnTo>
                  <a:lnTo>
                    <a:pt x="594" y="558"/>
                  </a:lnTo>
                  <a:lnTo>
                    <a:pt x="594" y="540"/>
                  </a:lnTo>
                  <a:lnTo>
                    <a:pt x="594" y="528"/>
                  </a:lnTo>
                  <a:lnTo>
                    <a:pt x="594" y="516"/>
                  </a:lnTo>
                  <a:lnTo>
                    <a:pt x="594" y="510"/>
                  </a:lnTo>
                  <a:lnTo>
                    <a:pt x="594" y="492"/>
                  </a:lnTo>
                  <a:lnTo>
                    <a:pt x="594" y="456"/>
                  </a:lnTo>
                  <a:lnTo>
                    <a:pt x="588" y="414"/>
                  </a:lnTo>
                  <a:lnTo>
                    <a:pt x="588" y="408"/>
                  </a:lnTo>
                  <a:lnTo>
                    <a:pt x="582" y="396"/>
                  </a:lnTo>
                  <a:lnTo>
                    <a:pt x="582" y="384"/>
                  </a:lnTo>
                  <a:lnTo>
                    <a:pt x="582" y="372"/>
                  </a:lnTo>
                  <a:lnTo>
                    <a:pt x="564" y="372"/>
                  </a:lnTo>
                  <a:lnTo>
                    <a:pt x="552" y="366"/>
                  </a:lnTo>
                  <a:lnTo>
                    <a:pt x="552" y="372"/>
                  </a:lnTo>
                  <a:lnTo>
                    <a:pt x="498" y="372"/>
                  </a:lnTo>
                  <a:lnTo>
                    <a:pt x="498" y="366"/>
                  </a:lnTo>
                  <a:lnTo>
                    <a:pt x="474" y="360"/>
                  </a:lnTo>
                  <a:lnTo>
                    <a:pt x="456" y="354"/>
                  </a:lnTo>
                  <a:lnTo>
                    <a:pt x="438" y="348"/>
                  </a:lnTo>
                  <a:lnTo>
                    <a:pt x="426" y="354"/>
                  </a:lnTo>
                  <a:lnTo>
                    <a:pt x="408" y="360"/>
                  </a:lnTo>
                  <a:lnTo>
                    <a:pt x="378" y="360"/>
                  </a:lnTo>
                  <a:lnTo>
                    <a:pt x="378" y="354"/>
                  </a:lnTo>
                  <a:lnTo>
                    <a:pt x="378" y="348"/>
                  </a:lnTo>
                  <a:lnTo>
                    <a:pt x="378" y="342"/>
                  </a:lnTo>
                  <a:lnTo>
                    <a:pt x="390" y="330"/>
                  </a:lnTo>
                  <a:lnTo>
                    <a:pt x="396" y="312"/>
                  </a:lnTo>
                  <a:lnTo>
                    <a:pt x="396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8"/>
                  </a:lnTo>
                  <a:lnTo>
                    <a:pt x="372" y="234"/>
                  </a:lnTo>
                  <a:lnTo>
                    <a:pt x="354" y="234"/>
                  </a:lnTo>
                  <a:lnTo>
                    <a:pt x="342" y="246"/>
                  </a:lnTo>
                  <a:lnTo>
                    <a:pt x="330" y="252"/>
                  </a:lnTo>
                  <a:lnTo>
                    <a:pt x="318" y="252"/>
                  </a:lnTo>
                  <a:lnTo>
                    <a:pt x="276" y="258"/>
                  </a:lnTo>
                  <a:lnTo>
                    <a:pt x="276" y="264"/>
                  </a:lnTo>
                  <a:lnTo>
                    <a:pt x="252" y="270"/>
                  </a:lnTo>
                  <a:lnTo>
                    <a:pt x="240" y="270"/>
                  </a:lnTo>
                  <a:lnTo>
                    <a:pt x="228" y="276"/>
                  </a:lnTo>
                  <a:lnTo>
                    <a:pt x="210" y="282"/>
                  </a:lnTo>
                  <a:lnTo>
                    <a:pt x="198" y="288"/>
                  </a:lnTo>
                  <a:lnTo>
                    <a:pt x="186" y="294"/>
                  </a:lnTo>
                  <a:lnTo>
                    <a:pt x="174" y="330"/>
                  </a:lnTo>
                  <a:lnTo>
                    <a:pt x="162" y="342"/>
                  </a:lnTo>
                  <a:lnTo>
                    <a:pt x="156" y="354"/>
                  </a:lnTo>
                  <a:lnTo>
                    <a:pt x="150" y="360"/>
                  </a:lnTo>
                  <a:lnTo>
                    <a:pt x="150" y="366"/>
                  </a:lnTo>
                  <a:lnTo>
                    <a:pt x="108" y="372"/>
                  </a:lnTo>
                  <a:lnTo>
                    <a:pt x="60" y="378"/>
                  </a:lnTo>
                  <a:lnTo>
                    <a:pt x="42" y="378"/>
                  </a:lnTo>
                  <a:lnTo>
                    <a:pt x="12" y="378"/>
                  </a:lnTo>
                  <a:lnTo>
                    <a:pt x="6" y="378"/>
                  </a:lnTo>
                  <a:lnTo>
                    <a:pt x="0" y="366"/>
                  </a:lnTo>
                  <a:lnTo>
                    <a:pt x="12" y="360"/>
                  </a:lnTo>
                  <a:lnTo>
                    <a:pt x="24" y="348"/>
                  </a:lnTo>
                  <a:lnTo>
                    <a:pt x="30" y="342"/>
                  </a:lnTo>
                  <a:lnTo>
                    <a:pt x="36" y="330"/>
                  </a:lnTo>
                  <a:lnTo>
                    <a:pt x="72" y="300"/>
                  </a:lnTo>
                  <a:lnTo>
                    <a:pt x="78" y="294"/>
                  </a:lnTo>
                  <a:lnTo>
                    <a:pt x="78" y="288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96" y="270"/>
                  </a:lnTo>
                  <a:lnTo>
                    <a:pt x="102" y="264"/>
                  </a:lnTo>
                  <a:lnTo>
                    <a:pt x="108" y="258"/>
                  </a:lnTo>
                  <a:lnTo>
                    <a:pt x="114" y="246"/>
                  </a:lnTo>
                  <a:lnTo>
                    <a:pt x="120" y="240"/>
                  </a:lnTo>
                  <a:lnTo>
                    <a:pt x="126" y="234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0" y="210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86" y="174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22" y="138"/>
                  </a:lnTo>
                  <a:lnTo>
                    <a:pt x="234" y="132"/>
                  </a:lnTo>
                  <a:lnTo>
                    <a:pt x="246" y="126"/>
                  </a:lnTo>
                  <a:lnTo>
                    <a:pt x="246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88" y="102"/>
                  </a:lnTo>
                  <a:lnTo>
                    <a:pt x="300" y="96"/>
                  </a:lnTo>
                  <a:lnTo>
                    <a:pt x="306" y="90"/>
                  </a:lnTo>
                  <a:lnTo>
                    <a:pt x="318" y="90"/>
                  </a:lnTo>
                  <a:lnTo>
                    <a:pt x="324" y="84"/>
                  </a:lnTo>
                  <a:lnTo>
                    <a:pt x="348" y="72"/>
                  </a:lnTo>
                  <a:lnTo>
                    <a:pt x="354" y="72"/>
                  </a:lnTo>
                  <a:lnTo>
                    <a:pt x="384" y="66"/>
                  </a:lnTo>
                  <a:lnTo>
                    <a:pt x="390" y="66"/>
                  </a:lnTo>
                  <a:lnTo>
                    <a:pt x="396" y="66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66"/>
                  </a:lnTo>
                  <a:lnTo>
                    <a:pt x="438" y="66"/>
                  </a:lnTo>
                  <a:lnTo>
                    <a:pt x="468" y="66"/>
                  </a:lnTo>
                  <a:lnTo>
                    <a:pt x="480" y="66"/>
                  </a:lnTo>
                  <a:lnTo>
                    <a:pt x="486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22" y="60"/>
                  </a:lnTo>
                  <a:lnTo>
                    <a:pt x="534" y="54"/>
                  </a:lnTo>
                  <a:lnTo>
                    <a:pt x="564" y="42"/>
                  </a:lnTo>
                  <a:lnTo>
                    <a:pt x="570" y="42"/>
                  </a:lnTo>
                  <a:lnTo>
                    <a:pt x="582" y="36"/>
                  </a:lnTo>
                  <a:lnTo>
                    <a:pt x="588" y="36"/>
                  </a:lnTo>
                  <a:lnTo>
                    <a:pt x="600" y="30"/>
                  </a:lnTo>
                  <a:lnTo>
                    <a:pt x="606" y="30"/>
                  </a:lnTo>
                  <a:lnTo>
                    <a:pt x="618" y="24"/>
                  </a:lnTo>
                  <a:lnTo>
                    <a:pt x="642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72" y="12"/>
                  </a:lnTo>
                  <a:lnTo>
                    <a:pt x="696" y="12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50" y="6"/>
                  </a:lnTo>
                  <a:lnTo>
                    <a:pt x="768" y="6"/>
                  </a:lnTo>
                  <a:lnTo>
                    <a:pt x="774" y="6"/>
                  </a:lnTo>
                  <a:lnTo>
                    <a:pt x="786" y="6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6" y="6"/>
                  </a:lnTo>
                  <a:lnTo>
                    <a:pt x="846" y="6"/>
                  </a:lnTo>
                  <a:lnTo>
                    <a:pt x="852" y="0"/>
                  </a:lnTo>
                  <a:lnTo>
                    <a:pt x="876" y="0"/>
                  </a:lnTo>
                  <a:lnTo>
                    <a:pt x="876" y="6"/>
                  </a:lnTo>
                  <a:lnTo>
                    <a:pt x="888" y="0"/>
                  </a:lnTo>
                  <a:lnTo>
                    <a:pt x="900" y="0"/>
                  </a:lnTo>
                  <a:lnTo>
                    <a:pt x="906" y="0"/>
                  </a:lnTo>
                  <a:lnTo>
                    <a:pt x="912" y="0"/>
                  </a:lnTo>
                  <a:lnTo>
                    <a:pt x="948" y="0"/>
                  </a:lnTo>
                  <a:lnTo>
                    <a:pt x="954" y="0"/>
                  </a:lnTo>
                  <a:lnTo>
                    <a:pt x="972" y="0"/>
                  </a:lnTo>
                  <a:lnTo>
                    <a:pt x="978" y="0"/>
                  </a:lnTo>
                  <a:lnTo>
                    <a:pt x="996" y="0"/>
                  </a:lnTo>
                  <a:lnTo>
                    <a:pt x="1032" y="0"/>
                  </a:lnTo>
                  <a:lnTo>
                    <a:pt x="1044" y="0"/>
                  </a:lnTo>
                  <a:lnTo>
                    <a:pt x="1050" y="0"/>
                  </a:lnTo>
                  <a:lnTo>
                    <a:pt x="1056" y="6"/>
                  </a:lnTo>
                  <a:lnTo>
                    <a:pt x="1056" y="0"/>
                  </a:lnTo>
                  <a:lnTo>
                    <a:pt x="1074" y="0"/>
                  </a:lnTo>
                  <a:lnTo>
                    <a:pt x="1098" y="6"/>
                  </a:lnTo>
                  <a:lnTo>
                    <a:pt x="1116" y="6"/>
                  </a:lnTo>
                  <a:lnTo>
                    <a:pt x="1140" y="12"/>
                  </a:lnTo>
                  <a:lnTo>
                    <a:pt x="1152" y="12"/>
                  </a:lnTo>
                  <a:lnTo>
                    <a:pt x="1158" y="12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6" y="12"/>
                  </a:lnTo>
                  <a:lnTo>
                    <a:pt x="1194" y="18"/>
                  </a:lnTo>
                  <a:lnTo>
                    <a:pt x="1206" y="18"/>
                  </a:lnTo>
                  <a:lnTo>
                    <a:pt x="1242" y="36"/>
                  </a:lnTo>
                  <a:lnTo>
                    <a:pt x="1248" y="36"/>
                  </a:lnTo>
                  <a:lnTo>
                    <a:pt x="1254" y="36"/>
                  </a:lnTo>
                  <a:lnTo>
                    <a:pt x="1260" y="42"/>
                  </a:lnTo>
                  <a:lnTo>
                    <a:pt x="1272" y="48"/>
                  </a:lnTo>
                  <a:lnTo>
                    <a:pt x="1278" y="48"/>
                  </a:lnTo>
                  <a:lnTo>
                    <a:pt x="1284" y="48"/>
                  </a:lnTo>
                  <a:lnTo>
                    <a:pt x="1290" y="54"/>
                  </a:lnTo>
                  <a:lnTo>
                    <a:pt x="1308" y="60"/>
                  </a:lnTo>
                  <a:lnTo>
                    <a:pt x="1326" y="60"/>
                  </a:lnTo>
                  <a:lnTo>
                    <a:pt x="1338" y="66"/>
                  </a:lnTo>
                  <a:lnTo>
                    <a:pt x="1344" y="66"/>
                  </a:lnTo>
                  <a:lnTo>
                    <a:pt x="1350" y="66"/>
                  </a:lnTo>
                  <a:lnTo>
                    <a:pt x="1356" y="66"/>
                  </a:lnTo>
                  <a:lnTo>
                    <a:pt x="1362" y="72"/>
                  </a:lnTo>
                  <a:lnTo>
                    <a:pt x="1368" y="72"/>
                  </a:lnTo>
                  <a:lnTo>
                    <a:pt x="1380" y="72"/>
                  </a:lnTo>
                  <a:lnTo>
                    <a:pt x="1386" y="72"/>
                  </a:lnTo>
                  <a:lnTo>
                    <a:pt x="1422" y="84"/>
                  </a:lnTo>
                  <a:lnTo>
                    <a:pt x="1428" y="84"/>
                  </a:lnTo>
                  <a:lnTo>
                    <a:pt x="1446" y="90"/>
                  </a:lnTo>
                  <a:lnTo>
                    <a:pt x="1458" y="102"/>
                  </a:lnTo>
                  <a:lnTo>
                    <a:pt x="1494" y="126"/>
                  </a:lnTo>
                  <a:lnTo>
                    <a:pt x="1500" y="132"/>
                  </a:lnTo>
                  <a:lnTo>
                    <a:pt x="1512" y="138"/>
                  </a:lnTo>
                  <a:lnTo>
                    <a:pt x="1512" y="144"/>
                  </a:lnTo>
                  <a:lnTo>
                    <a:pt x="1518" y="150"/>
                  </a:lnTo>
                  <a:lnTo>
                    <a:pt x="1530" y="156"/>
                  </a:lnTo>
                  <a:lnTo>
                    <a:pt x="1530" y="162"/>
                  </a:lnTo>
                  <a:lnTo>
                    <a:pt x="1548" y="168"/>
                  </a:lnTo>
                  <a:lnTo>
                    <a:pt x="1566" y="180"/>
                  </a:lnTo>
                  <a:lnTo>
                    <a:pt x="1578" y="186"/>
                  </a:lnTo>
                  <a:lnTo>
                    <a:pt x="1578" y="180"/>
                  </a:lnTo>
                  <a:lnTo>
                    <a:pt x="1584" y="186"/>
                  </a:lnTo>
                  <a:lnTo>
                    <a:pt x="1584" y="174"/>
                  </a:lnTo>
                  <a:lnTo>
                    <a:pt x="1590" y="174"/>
                  </a:lnTo>
                  <a:lnTo>
                    <a:pt x="1590" y="180"/>
                  </a:lnTo>
                  <a:lnTo>
                    <a:pt x="1596" y="180"/>
                  </a:lnTo>
                  <a:lnTo>
                    <a:pt x="1596" y="174"/>
                  </a:lnTo>
                  <a:lnTo>
                    <a:pt x="1602" y="174"/>
                  </a:lnTo>
                  <a:lnTo>
                    <a:pt x="1608" y="174"/>
                  </a:lnTo>
                  <a:lnTo>
                    <a:pt x="1614" y="180"/>
                  </a:lnTo>
                  <a:lnTo>
                    <a:pt x="1620" y="174"/>
                  </a:lnTo>
                  <a:lnTo>
                    <a:pt x="1614" y="168"/>
                  </a:lnTo>
                  <a:lnTo>
                    <a:pt x="1614" y="162"/>
                  </a:lnTo>
                  <a:lnTo>
                    <a:pt x="1620" y="162"/>
                  </a:lnTo>
                  <a:lnTo>
                    <a:pt x="1626" y="162"/>
                  </a:lnTo>
                  <a:lnTo>
                    <a:pt x="1632" y="162"/>
                  </a:lnTo>
                  <a:lnTo>
                    <a:pt x="1638" y="168"/>
                  </a:lnTo>
                  <a:lnTo>
                    <a:pt x="1644" y="168"/>
                  </a:lnTo>
                  <a:lnTo>
                    <a:pt x="1650" y="174"/>
                  </a:lnTo>
                  <a:lnTo>
                    <a:pt x="1656" y="168"/>
                  </a:lnTo>
                  <a:lnTo>
                    <a:pt x="1668" y="168"/>
                  </a:lnTo>
                  <a:lnTo>
                    <a:pt x="1674" y="174"/>
                  </a:lnTo>
                  <a:lnTo>
                    <a:pt x="1674" y="180"/>
                  </a:lnTo>
                  <a:lnTo>
                    <a:pt x="1674" y="186"/>
                  </a:lnTo>
                  <a:lnTo>
                    <a:pt x="1680" y="186"/>
                  </a:lnTo>
                  <a:lnTo>
                    <a:pt x="1680" y="192"/>
                  </a:lnTo>
                  <a:lnTo>
                    <a:pt x="1686" y="192"/>
                  </a:lnTo>
                  <a:lnTo>
                    <a:pt x="1686" y="186"/>
                  </a:lnTo>
                  <a:lnTo>
                    <a:pt x="1680" y="186"/>
                  </a:lnTo>
                  <a:lnTo>
                    <a:pt x="1686" y="180"/>
                  </a:lnTo>
                  <a:lnTo>
                    <a:pt x="1692" y="180"/>
                  </a:lnTo>
                  <a:lnTo>
                    <a:pt x="1698" y="180"/>
                  </a:lnTo>
                  <a:lnTo>
                    <a:pt x="1704" y="180"/>
                  </a:lnTo>
                  <a:lnTo>
                    <a:pt x="1704" y="186"/>
                  </a:lnTo>
                  <a:lnTo>
                    <a:pt x="1710" y="186"/>
                  </a:lnTo>
                  <a:lnTo>
                    <a:pt x="1716" y="186"/>
                  </a:lnTo>
                  <a:lnTo>
                    <a:pt x="1716" y="192"/>
                  </a:lnTo>
                  <a:lnTo>
                    <a:pt x="1716" y="198"/>
                  </a:lnTo>
                  <a:lnTo>
                    <a:pt x="1722" y="192"/>
                  </a:lnTo>
                  <a:lnTo>
                    <a:pt x="1722" y="186"/>
                  </a:lnTo>
                  <a:lnTo>
                    <a:pt x="1728" y="192"/>
                  </a:lnTo>
                  <a:lnTo>
                    <a:pt x="1734" y="192"/>
                  </a:lnTo>
                  <a:lnTo>
                    <a:pt x="1734" y="186"/>
                  </a:lnTo>
                  <a:lnTo>
                    <a:pt x="1740" y="186"/>
                  </a:lnTo>
                  <a:lnTo>
                    <a:pt x="1740" y="192"/>
                  </a:lnTo>
                  <a:lnTo>
                    <a:pt x="1746" y="192"/>
                  </a:lnTo>
                  <a:lnTo>
                    <a:pt x="1758" y="192"/>
                  </a:lnTo>
                  <a:lnTo>
                    <a:pt x="1764" y="192"/>
                  </a:lnTo>
                  <a:lnTo>
                    <a:pt x="1764" y="198"/>
                  </a:lnTo>
                  <a:lnTo>
                    <a:pt x="1758" y="204"/>
                  </a:lnTo>
                  <a:lnTo>
                    <a:pt x="1752" y="210"/>
                  </a:lnTo>
                  <a:lnTo>
                    <a:pt x="1746" y="216"/>
                  </a:lnTo>
                  <a:lnTo>
                    <a:pt x="1746" y="222"/>
                  </a:lnTo>
                  <a:lnTo>
                    <a:pt x="1734" y="228"/>
                  </a:lnTo>
                  <a:lnTo>
                    <a:pt x="1734" y="234"/>
                  </a:lnTo>
                  <a:lnTo>
                    <a:pt x="1734" y="258"/>
                  </a:lnTo>
                  <a:lnTo>
                    <a:pt x="1740" y="330"/>
                  </a:lnTo>
                  <a:lnTo>
                    <a:pt x="1746" y="372"/>
                  </a:lnTo>
                  <a:lnTo>
                    <a:pt x="1788" y="426"/>
                  </a:lnTo>
                  <a:lnTo>
                    <a:pt x="1806" y="438"/>
                  </a:lnTo>
                  <a:lnTo>
                    <a:pt x="1794" y="480"/>
                  </a:lnTo>
                  <a:lnTo>
                    <a:pt x="1770" y="516"/>
                  </a:lnTo>
                  <a:lnTo>
                    <a:pt x="1746" y="546"/>
                  </a:lnTo>
                  <a:lnTo>
                    <a:pt x="1716" y="570"/>
                  </a:lnTo>
                  <a:lnTo>
                    <a:pt x="1680" y="594"/>
                  </a:lnTo>
                  <a:lnTo>
                    <a:pt x="1668" y="630"/>
                  </a:lnTo>
                  <a:lnTo>
                    <a:pt x="1680" y="684"/>
                  </a:lnTo>
                  <a:lnTo>
                    <a:pt x="1686" y="756"/>
                  </a:lnTo>
                  <a:lnTo>
                    <a:pt x="1662" y="870"/>
                  </a:lnTo>
                  <a:lnTo>
                    <a:pt x="1656" y="888"/>
                  </a:lnTo>
                  <a:lnTo>
                    <a:pt x="1650" y="972"/>
                  </a:lnTo>
                  <a:lnTo>
                    <a:pt x="1656" y="978"/>
                  </a:lnTo>
                  <a:lnTo>
                    <a:pt x="1650" y="984"/>
                  </a:lnTo>
                  <a:lnTo>
                    <a:pt x="1650" y="990"/>
                  </a:lnTo>
                  <a:lnTo>
                    <a:pt x="1650" y="1002"/>
                  </a:lnTo>
                  <a:lnTo>
                    <a:pt x="1656" y="1008"/>
                  </a:lnTo>
                  <a:lnTo>
                    <a:pt x="1656" y="1014"/>
                  </a:lnTo>
                  <a:lnTo>
                    <a:pt x="1662" y="1026"/>
                  </a:lnTo>
                  <a:lnTo>
                    <a:pt x="1650" y="1032"/>
                  </a:lnTo>
                  <a:lnTo>
                    <a:pt x="1638" y="1044"/>
                  </a:lnTo>
                  <a:lnTo>
                    <a:pt x="1626" y="1080"/>
                  </a:lnTo>
                  <a:lnTo>
                    <a:pt x="1614" y="1116"/>
                  </a:lnTo>
                  <a:lnTo>
                    <a:pt x="1614" y="1128"/>
                  </a:lnTo>
                  <a:lnTo>
                    <a:pt x="1626" y="1134"/>
                  </a:lnTo>
                  <a:lnTo>
                    <a:pt x="1644" y="1134"/>
                  </a:lnTo>
                  <a:lnTo>
                    <a:pt x="1662" y="1134"/>
                  </a:lnTo>
                  <a:lnTo>
                    <a:pt x="1680" y="1140"/>
                  </a:lnTo>
                  <a:lnTo>
                    <a:pt x="1698" y="1170"/>
                  </a:lnTo>
                  <a:lnTo>
                    <a:pt x="1704" y="1194"/>
                  </a:lnTo>
                  <a:lnTo>
                    <a:pt x="1692" y="1206"/>
                  </a:lnTo>
                  <a:lnTo>
                    <a:pt x="1662" y="1242"/>
                  </a:lnTo>
                  <a:lnTo>
                    <a:pt x="1632" y="1266"/>
                  </a:lnTo>
                  <a:lnTo>
                    <a:pt x="1620" y="1314"/>
                  </a:lnTo>
                  <a:lnTo>
                    <a:pt x="1584" y="1356"/>
                  </a:lnTo>
                  <a:lnTo>
                    <a:pt x="1578" y="1356"/>
                  </a:lnTo>
                  <a:lnTo>
                    <a:pt x="1578" y="1362"/>
                  </a:lnTo>
                  <a:lnTo>
                    <a:pt x="1572" y="1410"/>
                  </a:lnTo>
                  <a:lnTo>
                    <a:pt x="1584" y="1452"/>
                  </a:lnTo>
                  <a:lnTo>
                    <a:pt x="1608" y="1476"/>
                  </a:lnTo>
                  <a:lnTo>
                    <a:pt x="1596" y="1476"/>
                  </a:lnTo>
                  <a:lnTo>
                    <a:pt x="1584" y="1482"/>
                  </a:lnTo>
                  <a:lnTo>
                    <a:pt x="1560" y="1482"/>
                  </a:lnTo>
                  <a:lnTo>
                    <a:pt x="1536" y="1482"/>
                  </a:lnTo>
                  <a:lnTo>
                    <a:pt x="1524" y="1482"/>
                  </a:lnTo>
                  <a:lnTo>
                    <a:pt x="1506" y="1500"/>
                  </a:lnTo>
                  <a:lnTo>
                    <a:pt x="1482" y="1530"/>
                  </a:lnTo>
                  <a:lnTo>
                    <a:pt x="1452" y="1542"/>
                  </a:lnTo>
                  <a:lnTo>
                    <a:pt x="1446" y="1542"/>
                  </a:lnTo>
                  <a:lnTo>
                    <a:pt x="1440" y="1542"/>
                  </a:lnTo>
                  <a:lnTo>
                    <a:pt x="1440" y="1548"/>
                  </a:lnTo>
                  <a:lnTo>
                    <a:pt x="1434" y="1548"/>
                  </a:lnTo>
                  <a:lnTo>
                    <a:pt x="1428" y="1548"/>
                  </a:lnTo>
                  <a:lnTo>
                    <a:pt x="1428" y="1554"/>
                  </a:lnTo>
                  <a:lnTo>
                    <a:pt x="1422" y="1560"/>
                  </a:lnTo>
                  <a:lnTo>
                    <a:pt x="1416" y="1560"/>
                  </a:lnTo>
                  <a:lnTo>
                    <a:pt x="1410" y="1566"/>
                  </a:lnTo>
                  <a:lnTo>
                    <a:pt x="1410" y="1560"/>
                  </a:lnTo>
                  <a:lnTo>
                    <a:pt x="1404" y="1560"/>
                  </a:lnTo>
                  <a:lnTo>
                    <a:pt x="1392" y="1560"/>
                  </a:lnTo>
                  <a:lnTo>
                    <a:pt x="1386" y="1560"/>
                  </a:lnTo>
                  <a:lnTo>
                    <a:pt x="1380" y="1566"/>
                  </a:lnTo>
                  <a:lnTo>
                    <a:pt x="1374" y="1560"/>
                  </a:lnTo>
                  <a:lnTo>
                    <a:pt x="1368" y="1566"/>
                  </a:lnTo>
                  <a:lnTo>
                    <a:pt x="1362" y="1566"/>
                  </a:lnTo>
                  <a:lnTo>
                    <a:pt x="1362" y="1572"/>
                  </a:lnTo>
                  <a:lnTo>
                    <a:pt x="1356" y="1572"/>
                  </a:lnTo>
                  <a:lnTo>
                    <a:pt x="1356" y="1578"/>
                  </a:lnTo>
                  <a:lnTo>
                    <a:pt x="1350" y="1578"/>
                  </a:lnTo>
                  <a:lnTo>
                    <a:pt x="1350" y="1572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32" y="1584"/>
                  </a:lnTo>
                  <a:lnTo>
                    <a:pt x="1326" y="1590"/>
                  </a:lnTo>
                  <a:lnTo>
                    <a:pt x="1320" y="1584"/>
                  </a:lnTo>
                  <a:lnTo>
                    <a:pt x="1314" y="1590"/>
                  </a:lnTo>
                  <a:lnTo>
                    <a:pt x="1308" y="1596"/>
                  </a:lnTo>
                  <a:lnTo>
                    <a:pt x="1302" y="1596"/>
                  </a:lnTo>
                  <a:lnTo>
                    <a:pt x="1296" y="1596"/>
                  </a:lnTo>
                  <a:lnTo>
                    <a:pt x="1290" y="1596"/>
                  </a:lnTo>
                  <a:lnTo>
                    <a:pt x="1284" y="1596"/>
                  </a:lnTo>
                  <a:lnTo>
                    <a:pt x="1278" y="1602"/>
                  </a:lnTo>
                  <a:lnTo>
                    <a:pt x="1266" y="1602"/>
                  </a:lnTo>
                  <a:lnTo>
                    <a:pt x="1272" y="1608"/>
                  </a:lnTo>
                  <a:lnTo>
                    <a:pt x="1278" y="1608"/>
                  </a:lnTo>
                  <a:lnTo>
                    <a:pt x="1284" y="1608"/>
                  </a:lnTo>
                  <a:lnTo>
                    <a:pt x="1290" y="1614"/>
                  </a:lnTo>
                  <a:lnTo>
                    <a:pt x="1296" y="1620"/>
                  </a:lnTo>
                  <a:lnTo>
                    <a:pt x="1302" y="1626"/>
                  </a:lnTo>
                  <a:lnTo>
                    <a:pt x="1308" y="1632"/>
                  </a:lnTo>
                  <a:lnTo>
                    <a:pt x="1314" y="1638"/>
                  </a:lnTo>
                  <a:lnTo>
                    <a:pt x="1314" y="1644"/>
                  </a:lnTo>
                  <a:lnTo>
                    <a:pt x="1320" y="1644"/>
                  </a:lnTo>
                  <a:lnTo>
                    <a:pt x="1320" y="1650"/>
                  </a:lnTo>
                  <a:lnTo>
                    <a:pt x="1326" y="1656"/>
                  </a:lnTo>
                  <a:lnTo>
                    <a:pt x="1332" y="1668"/>
                  </a:lnTo>
                  <a:lnTo>
                    <a:pt x="1338" y="1680"/>
                  </a:lnTo>
                  <a:lnTo>
                    <a:pt x="1338" y="1698"/>
                  </a:lnTo>
                  <a:lnTo>
                    <a:pt x="1350" y="1710"/>
                  </a:lnTo>
                  <a:lnTo>
                    <a:pt x="1350" y="1716"/>
                  </a:lnTo>
                  <a:lnTo>
                    <a:pt x="1350" y="1722"/>
                  </a:lnTo>
                  <a:lnTo>
                    <a:pt x="1350" y="1728"/>
                  </a:lnTo>
                  <a:lnTo>
                    <a:pt x="1356" y="1728"/>
                  </a:lnTo>
                  <a:lnTo>
                    <a:pt x="1356" y="1734"/>
                  </a:lnTo>
                  <a:lnTo>
                    <a:pt x="1350" y="1734"/>
                  </a:lnTo>
                  <a:lnTo>
                    <a:pt x="1344" y="1740"/>
                  </a:lnTo>
                  <a:lnTo>
                    <a:pt x="1338" y="1740"/>
                  </a:lnTo>
                  <a:lnTo>
                    <a:pt x="1332" y="1746"/>
                  </a:lnTo>
                  <a:lnTo>
                    <a:pt x="1326" y="1746"/>
                  </a:lnTo>
                  <a:lnTo>
                    <a:pt x="1326" y="1752"/>
                  </a:lnTo>
                  <a:lnTo>
                    <a:pt x="1320" y="1752"/>
                  </a:lnTo>
                  <a:lnTo>
                    <a:pt x="1320" y="1758"/>
                  </a:lnTo>
                  <a:lnTo>
                    <a:pt x="1314" y="1758"/>
                  </a:lnTo>
                  <a:lnTo>
                    <a:pt x="1308" y="1758"/>
                  </a:lnTo>
                  <a:lnTo>
                    <a:pt x="1302" y="1758"/>
                  </a:lnTo>
                  <a:lnTo>
                    <a:pt x="1296" y="1758"/>
                  </a:lnTo>
                  <a:lnTo>
                    <a:pt x="1290" y="1764"/>
                  </a:lnTo>
                  <a:lnTo>
                    <a:pt x="1284" y="1770"/>
                  </a:lnTo>
                  <a:lnTo>
                    <a:pt x="1278" y="1770"/>
                  </a:lnTo>
                  <a:lnTo>
                    <a:pt x="1272" y="1770"/>
                  </a:lnTo>
                  <a:lnTo>
                    <a:pt x="1266" y="1770"/>
                  </a:lnTo>
                  <a:lnTo>
                    <a:pt x="1266" y="1776"/>
                  </a:lnTo>
                  <a:lnTo>
                    <a:pt x="1260" y="177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4" name="Freeform 39">
              <a:extLst>
                <a:ext uri="{FF2B5EF4-FFF2-40B4-BE49-F238E27FC236}">
                  <a16:creationId xmlns:a16="http://schemas.microsoft.com/office/drawing/2014/main" id="{E01CDA8B-32C7-421A-B23E-968CAC7F78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2974" y="1759680"/>
              <a:ext cx="825155" cy="700024"/>
            </a:xfrm>
            <a:custGeom>
              <a:avLst/>
              <a:gdLst>
                <a:gd name="T0" fmla="*/ 60 w 1554"/>
                <a:gd name="T1" fmla="*/ 86 h 1320"/>
                <a:gd name="T2" fmla="*/ 66 w 1554"/>
                <a:gd name="T3" fmla="*/ 80 h 1320"/>
                <a:gd name="T4" fmla="*/ 61 w 1554"/>
                <a:gd name="T5" fmla="*/ 73 h 1320"/>
                <a:gd name="T6" fmla="*/ 57 w 1554"/>
                <a:gd name="T7" fmla="*/ 67 h 1320"/>
                <a:gd name="T8" fmla="*/ 60 w 1554"/>
                <a:gd name="T9" fmla="*/ 59 h 1320"/>
                <a:gd name="T10" fmla="*/ 56 w 1554"/>
                <a:gd name="T11" fmla="*/ 55 h 1320"/>
                <a:gd name="T12" fmla="*/ 45 w 1554"/>
                <a:gd name="T13" fmla="*/ 53 h 1320"/>
                <a:gd name="T14" fmla="*/ 42 w 1554"/>
                <a:gd name="T15" fmla="*/ 41 h 1320"/>
                <a:gd name="T16" fmla="*/ 37 w 1554"/>
                <a:gd name="T17" fmla="*/ 39 h 1320"/>
                <a:gd name="T18" fmla="*/ 31 w 1554"/>
                <a:gd name="T19" fmla="*/ 44 h 1320"/>
                <a:gd name="T20" fmla="*/ 37 w 1554"/>
                <a:gd name="T21" fmla="*/ 35 h 1320"/>
                <a:gd name="T22" fmla="*/ 30 w 1554"/>
                <a:gd name="T23" fmla="*/ 23 h 1320"/>
                <a:gd name="T24" fmla="*/ 21 w 1554"/>
                <a:gd name="T25" fmla="*/ 23 h 1320"/>
                <a:gd name="T26" fmla="*/ 15 w 1554"/>
                <a:gd name="T27" fmla="*/ 27 h 1320"/>
                <a:gd name="T28" fmla="*/ 11 w 1554"/>
                <a:gd name="T29" fmla="*/ 32 h 1320"/>
                <a:gd name="T30" fmla="*/ 6 w 1554"/>
                <a:gd name="T31" fmla="*/ 22 h 1320"/>
                <a:gd name="T32" fmla="*/ 3 w 1554"/>
                <a:gd name="T33" fmla="*/ 11 h 1320"/>
                <a:gd name="T34" fmla="*/ 24 w 1554"/>
                <a:gd name="T35" fmla="*/ 12 h 1320"/>
                <a:gd name="T36" fmla="*/ 33 w 1554"/>
                <a:gd name="T37" fmla="*/ 19 h 1320"/>
                <a:gd name="T38" fmla="*/ 49 w 1554"/>
                <a:gd name="T39" fmla="*/ 12 h 1320"/>
                <a:gd name="T40" fmla="*/ 58 w 1554"/>
                <a:gd name="T41" fmla="*/ 10 h 1320"/>
                <a:gd name="T42" fmla="*/ 68 w 1554"/>
                <a:gd name="T43" fmla="*/ 11 h 1320"/>
                <a:gd name="T44" fmla="*/ 79 w 1554"/>
                <a:gd name="T45" fmla="*/ 12 h 1320"/>
                <a:gd name="T46" fmla="*/ 96 w 1554"/>
                <a:gd name="T47" fmla="*/ 11 h 1320"/>
                <a:gd name="T48" fmla="*/ 107 w 1554"/>
                <a:gd name="T49" fmla="*/ 2 h 1320"/>
                <a:gd name="T50" fmla="*/ 117 w 1554"/>
                <a:gd name="T51" fmla="*/ 8 h 1320"/>
                <a:gd name="T52" fmla="*/ 126 w 1554"/>
                <a:gd name="T53" fmla="*/ 12 h 1320"/>
                <a:gd name="T54" fmla="*/ 134 w 1554"/>
                <a:gd name="T55" fmla="*/ 24 h 1320"/>
                <a:gd name="T56" fmla="*/ 133 w 1554"/>
                <a:gd name="T57" fmla="*/ 29 h 1320"/>
                <a:gd name="T58" fmla="*/ 129 w 1554"/>
                <a:gd name="T59" fmla="*/ 31 h 1320"/>
                <a:gd name="T60" fmla="*/ 125 w 1554"/>
                <a:gd name="T61" fmla="*/ 32 h 1320"/>
                <a:gd name="T62" fmla="*/ 115 w 1554"/>
                <a:gd name="T63" fmla="*/ 34 h 1320"/>
                <a:gd name="T64" fmla="*/ 113 w 1554"/>
                <a:gd name="T65" fmla="*/ 44 h 1320"/>
                <a:gd name="T66" fmla="*/ 111 w 1554"/>
                <a:gd name="T67" fmla="*/ 54 h 1320"/>
                <a:gd name="T68" fmla="*/ 107 w 1554"/>
                <a:gd name="T69" fmla="*/ 56 h 1320"/>
                <a:gd name="T70" fmla="*/ 102 w 1554"/>
                <a:gd name="T71" fmla="*/ 58 h 1320"/>
                <a:gd name="T72" fmla="*/ 99 w 1554"/>
                <a:gd name="T73" fmla="*/ 60 h 1320"/>
                <a:gd name="T74" fmla="*/ 93 w 1554"/>
                <a:gd name="T75" fmla="*/ 62 h 1320"/>
                <a:gd name="T76" fmla="*/ 87 w 1554"/>
                <a:gd name="T77" fmla="*/ 64 h 1320"/>
                <a:gd name="T78" fmla="*/ 84 w 1554"/>
                <a:gd name="T79" fmla="*/ 65 h 1320"/>
                <a:gd name="T80" fmla="*/ 81 w 1554"/>
                <a:gd name="T81" fmla="*/ 69 h 1320"/>
                <a:gd name="T82" fmla="*/ 83 w 1554"/>
                <a:gd name="T83" fmla="*/ 72 h 1320"/>
                <a:gd name="T84" fmla="*/ 92 w 1554"/>
                <a:gd name="T85" fmla="*/ 73 h 1320"/>
                <a:gd name="T86" fmla="*/ 93 w 1554"/>
                <a:gd name="T87" fmla="*/ 87 h 1320"/>
                <a:gd name="T88" fmla="*/ 104 w 1554"/>
                <a:gd name="T89" fmla="*/ 98 h 1320"/>
                <a:gd name="T90" fmla="*/ 108 w 1554"/>
                <a:gd name="T91" fmla="*/ 98 h 1320"/>
                <a:gd name="T92" fmla="*/ 112 w 1554"/>
                <a:gd name="T93" fmla="*/ 100 h 1320"/>
                <a:gd name="T94" fmla="*/ 118 w 1554"/>
                <a:gd name="T95" fmla="*/ 100 h 1320"/>
                <a:gd name="T96" fmla="*/ 122 w 1554"/>
                <a:gd name="T97" fmla="*/ 102 h 1320"/>
                <a:gd name="T98" fmla="*/ 118 w 1554"/>
                <a:gd name="T99" fmla="*/ 105 h 1320"/>
                <a:gd name="T100" fmla="*/ 114 w 1554"/>
                <a:gd name="T101" fmla="*/ 107 h 1320"/>
                <a:gd name="T102" fmla="*/ 113 w 1554"/>
                <a:gd name="T103" fmla="*/ 113 h 1320"/>
                <a:gd name="T104" fmla="*/ 104 w 1554"/>
                <a:gd name="T105" fmla="*/ 113 h 1320"/>
                <a:gd name="T106" fmla="*/ 93 w 1554"/>
                <a:gd name="T107" fmla="*/ 109 h 1320"/>
                <a:gd name="T108" fmla="*/ 96 w 1554"/>
                <a:gd name="T109" fmla="*/ 103 h 1320"/>
                <a:gd name="T110" fmla="*/ 95 w 1554"/>
                <a:gd name="T111" fmla="*/ 97 h 1320"/>
                <a:gd name="T112" fmla="*/ 87 w 1554"/>
                <a:gd name="T113" fmla="*/ 98 h 1320"/>
                <a:gd name="T114" fmla="*/ 81 w 1554"/>
                <a:gd name="T115" fmla="*/ 98 h 1320"/>
                <a:gd name="T116" fmla="*/ 78 w 1554"/>
                <a:gd name="T117" fmla="*/ 93 h 1320"/>
                <a:gd name="T118" fmla="*/ 65 w 1554"/>
                <a:gd name="T119" fmla="*/ 92 h 1320"/>
                <a:gd name="T120" fmla="*/ 59 w 1554"/>
                <a:gd name="T121" fmla="*/ 92 h 13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54"/>
                <a:gd name="T184" fmla="*/ 0 h 1320"/>
                <a:gd name="T185" fmla="*/ 1554 w 1554"/>
                <a:gd name="T186" fmla="*/ 1320 h 132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54" h="1320">
                  <a:moveTo>
                    <a:pt x="684" y="1068"/>
                  </a:moveTo>
                  <a:lnTo>
                    <a:pt x="684" y="1062"/>
                  </a:lnTo>
                  <a:lnTo>
                    <a:pt x="690" y="1056"/>
                  </a:lnTo>
                  <a:lnTo>
                    <a:pt x="690" y="1050"/>
                  </a:lnTo>
                  <a:lnTo>
                    <a:pt x="690" y="1044"/>
                  </a:lnTo>
                  <a:lnTo>
                    <a:pt x="690" y="1038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14"/>
                  </a:lnTo>
                  <a:lnTo>
                    <a:pt x="690" y="1008"/>
                  </a:lnTo>
                  <a:lnTo>
                    <a:pt x="696" y="996"/>
                  </a:lnTo>
                  <a:lnTo>
                    <a:pt x="714" y="996"/>
                  </a:lnTo>
                  <a:lnTo>
                    <a:pt x="714" y="990"/>
                  </a:lnTo>
                  <a:lnTo>
                    <a:pt x="732" y="984"/>
                  </a:lnTo>
                  <a:lnTo>
                    <a:pt x="744" y="978"/>
                  </a:lnTo>
                  <a:lnTo>
                    <a:pt x="762" y="966"/>
                  </a:lnTo>
                  <a:lnTo>
                    <a:pt x="762" y="960"/>
                  </a:lnTo>
                  <a:lnTo>
                    <a:pt x="768" y="954"/>
                  </a:lnTo>
                  <a:lnTo>
                    <a:pt x="774" y="948"/>
                  </a:lnTo>
                  <a:lnTo>
                    <a:pt x="774" y="942"/>
                  </a:lnTo>
                  <a:lnTo>
                    <a:pt x="774" y="924"/>
                  </a:lnTo>
                  <a:lnTo>
                    <a:pt x="768" y="918"/>
                  </a:lnTo>
                  <a:lnTo>
                    <a:pt x="756" y="918"/>
                  </a:lnTo>
                  <a:lnTo>
                    <a:pt x="744" y="918"/>
                  </a:lnTo>
                  <a:lnTo>
                    <a:pt x="732" y="924"/>
                  </a:lnTo>
                  <a:lnTo>
                    <a:pt x="726" y="912"/>
                  </a:lnTo>
                  <a:lnTo>
                    <a:pt x="720" y="912"/>
                  </a:lnTo>
                  <a:lnTo>
                    <a:pt x="720" y="900"/>
                  </a:lnTo>
                  <a:lnTo>
                    <a:pt x="720" y="870"/>
                  </a:lnTo>
                  <a:lnTo>
                    <a:pt x="696" y="876"/>
                  </a:lnTo>
                  <a:lnTo>
                    <a:pt x="690" y="852"/>
                  </a:lnTo>
                  <a:lnTo>
                    <a:pt x="702" y="852"/>
                  </a:lnTo>
                  <a:lnTo>
                    <a:pt x="702" y="840"/>
                  </a:lnTo>
                  <a:lnTo>
                    <a:pt x="708" y="834"/>
                  </a:lnTo>
                  <a:lnTo>
                    <a:pt x="702" y="822"/>
                  </a:lnTo>
                  <a:lnTo>
                    <a:pt x="660" y="822"/>
                  </a:lnTo>
                  <a:lnTo>
                    <a:pt x="654" y="822"/>
                  </a:lnTo>
                  <a:lnTo>
                    <a:pt x="642" y="822"/>
                  </a:lnTo>
                  <a:lnTo>
                    <a:pt x="642" y="810"/>
                  </a:lnTo>
                  <a:lnTo>
                    <a:pt x="642" y="798"/>
                  </a:lnTo>
                  <a:lnTo>
                    <a:pt x="642" y="792"/>
                  </a:lnTo>
                  <a:lnTo>
                    <a:pt x="648" y="780"/>
                  </a:lnTo>
                  <a:lnTo>
                    <a:pt x="654" y="774"/>
                  </a:lnTo>
                  <a:lnTo>
                    <a:pt x="660" y="774"/>
                  </a:lnTo>
                  <a:lnTo>
                    <a:pt x="672" y="762"/>
                  </a:lnTo>
                  <a:lnTo>
                    <a:pt x="672" y="756"/>
                  </a:lnTo>
                  <a:lnTo>
                    <a:pt x="678" y="750"/>
                  </a:lnTo>
                  <a:lnTo>
                    <a:pt x="684" y="750"/>
                  </a:lnTo>
                  <a:lnTo>
                    <a:pt x="690" y="744"/>
                  </a:lnTo>
                  <a:lnTo>
                    <a:pt x="696" y="732"/>
                  </a:lnTo>
                  <a:lnTo>
                    <a:pt x="696" y="726"/>
                  </a:lnTo>
                  <a:lnTo>
                    <a:pt x="702" y="714"/>
                  </a:lnTo>
                  <a:lnTo>
                    <a:pt x="696" y="708"/>
                  </a:lnTo>
                  <a:lnTo>
                    <a:pt x="690" y="690"/>
                  </a:lnTo>
                  <a:lnTo>
                    <a:pt x="696" y="678"/>
                  </a:lnTo>
                  <a:lnTo>
                    <a:pt x="708" y="672"/>
                  </a:lnTo>
                  <a:lnTo>
                    <a:pt x="708" y="660"/>
                  </a:lnTo>
                  <a:lnTo>
                    <a:pt x="702" y="660"/>
                  </a:lnTo>
                  <a:lnTo>
                    <a:pt x="696" y="660"/>
                  </a:lnTo>
                  <a:lnTo>
                    <a:pt x="690" y="654"/>
                  </a:lnTo>
                  <a:lnTo>
                    <a:pt x="684" y="654"/>
                  </a:lnTo>
                  <a:lnTo>
                    <a:pt x="690" y="606"/>
                  </a:lnTo>
                  <a:lnTo>
                    <a:pt x="660" y="606"/>
                  </a:lnTo>
                  <a:lnTo>
                    <a:pt x="660" y="612"/>
                  </a:lnTo>
                  <a:lnTo>
                    <a:pt x="648" y="612"/>
                  </a:lnTo>
                  <a:lnTo>
                    <a:pt x="642" y="636"/>
                  </a:lnTo>
                  <a:lnTo>
                    <a:pt x="636" y="636"/>
                  </a:lnTo>
                  <a:lnTo>
                    <a:pt x="630" y="648"/>
                  </a:lnTo>
                  <a:lnTo>
                    <a:pt x="612" y="648"/>
                  </a:lnTo>
                  <a:lnTo>
                    <a:pt x="606" y="636"/>
                  </a:lnTo>
                  <a:lnTo>
                    <a:pt x="600" y="630"/>
                  </a:lnTo>
                  <a:lnTo>
                    <a:pt x="588" y="606"/>
                  </a:lnTo>
                  <a:lnTo>
                    <a:pt x="552" y="606"/>
                  </a:lnTo>
                  <a:lnTo>
                    <a:pt x="552" y="612"/>
                  </a:lnTo>
                  <a:lnTo>
                    <a:pt x="540" y="612"/>
                  </a:lnTo>
                  <a:lnTo>
                    <a:pt x="540" y="606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16" y="612"/>
                  </a:lnTo>
                  <a:lnTo>
                    <a:pt x="516" y="582"/>
                  </a:lnTo>
                  <a:lnTo>
                    <a:pt x="522" y="576"/>
                  </a:lnTo>
                  <a:lnTo>
                    <a:pt x="528" y="576"/>
                  </a:lnTo>
                  <a:lnTo>
                    <a:pt x="528" y="552"/>
                  </a:lnTo>
                  <a:lnTo>
                    <a:pt x="522" y="540"/>
                  </a:lnTo>
                  <a:lnTo>
                    <a:pt x="510" y="528"/>
                  </a:lnTo>
                  <a:lnTo>
                    <a:pt x="486" y="510"/>
                  </a:lnTo>
                  <a:lnTo>
                    <a:pt x="480" y="498"/>
                  </a:lnTo>
                  <a:lnTo>
                    <a:pt x="480" y="474"/>
                  </a:lnTo>
                  <a:lnTo>
                    <a:pt x="492" y="468"/>
                  </a:lnTo>
                  <a:lnTo>
                    <a:pt x="486" y="450"/>
                  </a:lnTo>
                  <a:lnTo>
                    <a:pt x="474" y="456"/>
                  </a:lnTo>
                  <a:lnTo>
                    <a:pt x="468" y="456"/>
                  </a:lnTo>
                  <a:lnTo>
                    <a:pt x="462" y="456"/>
                  </a:lnTo>
                  <a:lnTo>
                    <a:pt x="456" y="468"/>
                  </a:lnTo>
                  <a:lnTo>
                    <a:pt x="456" y="474"/>
                  </a:lnTo>
                  <a:lnTo>
                    <a:pt x="450" y="480"/>
                  </a:lnTo>
                  <a:lnTo>
                    <a:pt x="444" y="450"/>
                  </a:lnTo>
                  <a:lnTo>
                    <a:pt x="438" y="450"/>
                  </a:lnTo>
                  <a:lnTo>
                    <a:pt x="432" y="450"/>
                  </a:lnTo>
                  <a:lnTo>
                    <a:pt x="420" y="450"/>
                  </a:lnTo>
                  <a:lnTo>
                    <a:pt x="420" y="456"/>
                  </a:lnTo>
                  <a:lnTo>
                    <a:pt x="414" y="456"/>
                  </a:lnTo>
                  <a:lnTo>
                    <a:pt x="408" y="468"/>
                  </a:lnTo>
                  <a:lnTo>
                    <a:pt x="402" y="468"/>
                  </a:lnTo>
                  <a:lnTo>
                    <a:pt x="396" y="474"/>
                  </a:lnTo>
                  <a:lnTo>
                    <a:pt x="390" y="492"/>
                  </a:lnTo>
                  <a:lnTo>
                    <a:pt x="384" y="504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54" y="510"/>
                  </a:lnTo>
                  <a:lnTo>
                    <a:pt x="360" y="480"/>
                  </a:lnTo>
                  <a:lnTo>
                    <a:pt x="360" y="474"/>
                  </a:lnTo>
                  <a:lnTo>
                    <a:pt x="378" y="456"/>
                  </a:lnTo>
                  <a:lnTo>
                    <a:pt x="384" y="450"/>
                  </a:lnTo>
                  <a:lnTo>
                    <a:pt x="396" y="444"/>
                  </a:lnTo>
                  <a:lnTo>
                    <a:pt x="402" y="438"/>
                  </a:lnTo>
                  <a:lnTo>
                    <a:pt x="408" y="438"/>
                  </a:lnTo>
                  <a:lnTo>
                    <a:pt x="408" y="426"/>
                  </a:lnTo>
                  <a:lnTo>
                    <a:pt x="414" y="420"/>
                  </a:lnTo>
                  <a:lnTo>
                    <a:pt x="426" y="420"/>
                  </a:lnTo>
                  <a:lnTo>
                    <a:pt x="426" y="408"/>
                  </a:lnTo>
                  <a:lnTo>
                    <a:pt x="420" y="390"/>
                  </a:lnTo>
                  <a:lnTo>
                    <a:pt x="408" y="384"/>
                  </a:lnTo>
                  <a:lnTo>
                    <a:pt x="378" y="378"/>
                  </a:lnTo>
                  <a:lnTo>
                    <a:pt x="354" y="366"/>
                  </a:lnTo>
                  <a:lnTo>
                    <a:pt x="342" y="360"/>
                  </a:lnTo>
                  <a:lnTo>
                    <a:pt x="342" y="348"/>
                  </a:lnTo>
                  <a:lnTo>
                    <a:pt x="336" y="330"/>
                  </a:lnTo>
                  <a:lnTo>
                    <a:pt x="348" y="306"/>
                  </a:lnTo>
                  <a:lnTo>
                    <a:pt x="360" y="294"/>
                  </a:lnTo>
                  <a:lnTo>
                    <a:pt x="360" y="282"/>
                  </a:lnTo>
                  <a:lnTo>
                    <a:pt x="342" y="270"/>
                  </a:lnTo>
                  <a:lnTo>
                    <a:pt x="342" y="264"/>
                  </a:lnTo>
                  <a:lnTo>
                    <a:pt x="330" y="264"/>
                  </a:lnTo>
                  <a:lnTo>
                    <a:pt x="312" y="270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88" y="270"/>
                  </a:lnTo>
                  <a:lnTo>
                    <a:pt x="282" y="270"/>
                  </a:lnTo>
                  <a:lnTo>
                    <a:pt x="276" y="264"/>
                  </a:lnTo>
                  <a:lnTo>
                    <a:pt x="270" y="264"/>
                  </a:lnTo>
                  <a:lnTo>
                    <a:pt x="252" y="270"/>
                  </a:lnTo>
                  <a:lnTo>
                    <a:pt x="246" y="270"/>
                  </a:lnTo>
                  <a:lnTo>
                    <a:pt x="240" y="270"/>
                  </a:lnTo>
                  <a:lnTo>
                    <a:pt x="228" y="270"/>
                  </a:lnTo>
                  <a:lnTo>
                    <a:pt x="216" y="276"/>
                  </a:lnTo>
                  <a:lnTo>
                    <a:pt x="210" y="270"/>
                  </a:lnTo>
                  <a:lnTo>
                    <a:pt x="204" y="270"/>
                  </a:lnTo>
                  <a:lnTo>
                    <a:pt x="198" y="276"/>
                  </a:lnTo>
                  <a:lnTo>
                    <a:pt x="192" y="276"/>
                  </a:lnTo>
                  <a:lnTo>
                    <a:pt x="186" y="282"/>
                  </a:lnTo>
                  <a:lnTo>
                    <a:pt x="180" y="288"/>
                  </a:lnTo>
                  <a:lnTo>
                    <a:pt x="174" y="300"/>
                  </a:lnTo>
                  <a:lnTo>
                    <a:pt x="168" y="306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8" y="330"/>
                  </a:lnTo>
                  <a:lnTo>
                    <a:pt x="162" y="336"/>
                  </a:lnTo>
                  <a:lnTo>
                    <a:pt x="156" y="342"/>
                  </a:lnTo>
                  <a:lnTo>
                    <a:pt x="156" y="348"/>
                  </a:lnTo>
                  <a:lnTo>
                    <a:pt x="156" y="354"/>
                  </a:lnTo>
                  <a:lnTo>
                    <a:pt x="150" y="366"/>
                  </a:lnTo>
                  <a:lnTo>
                    <a:pt x="150" y="372"/>
                  </a:lnTo>
                  <a:lnTo>
                    <a:pt x="144" y="366"/>
                  </a:lnTo>
                  <a:lnTo>
                    <a:pt x="132" y="366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20" y="348"/>
                  </a:lnTo>
                  <a:lnTo>
                    <a:pt x="102" y="330"/>
                  </a:lnTo>
                  <a:lnTo>
                    <a:pt x="96" y="318"/>
                  </a:lnTo>
                  <a:lnTo>
                    <a:pt x="96" y="282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0" y="258"/>
                  </a:lnTo>
                  <a:lnTo>
                    <a:pt x="84" y="252"/>
                  </a:lnTo>
                  <a:lnTo>
                    <a:pt x="66" y="258"/>
                  </a:lnTo>
                  <a:lnTo>
                    <a:pt x="60" y="246"/>
                  </a:lnTo>
                  <a:lnTo>
                    <a:pt x="30" y="252"/>
                  </a:lnTo>
                  <a:lnTo>
                    <a:pt x="18" y="246"/>
                  </a:lnTo>
                  <a:lnTo>
                    <a:pt x="0" y="240"/>
                  </a:lnTo>
                  <a:lnTo>
                    <a:pt x="0" y="234"/>
                  </a:lnTo>
                  <a:lnTo>
                    <a:pt x="0" y="210"/>
                  </a:lnTo>
                  <a:lnTo>
                    <a:pt x="6" y="204"/>
                  </a:lnTo>
                  <a:lnTo>
                    <a:pt x="18" y="192"/>
                  </a:lnTo>
                  <a:lnTo>
                    <a:pt x="18" y="144"/>
                  </a:lnTo>
                  <a:lnTo>
                    <a:pt x="24" y="126"/>
                  </a:lnTo>
                  <a:lnTo>
                    <a:pt x="36" y="126"/>
                  </a:lnTo>
                  <a:lnTo>
                    <a:pt x="54" y="120"/>
                  </a:lnTo>
                  <a:lnTo>
                    <a:pt x="54" y="126"/>
                  </a:lnTo>
                  <a:lnTo>
                    <a:pt x="132" y="114"/>
                  </a:lnTo>
                  <a:lnTo>
                    <a:pt x="144" y="120"/>
                  </a:lnTo>
                  <a:lnTo>
                    <a:pt x="150" y="132"/>
                  </a:lnTo>
                  <a:lnTo>
                    <a:pt x="180" y="126"/>
                  </a:lnTo>
                  <a:lnTo>
                    <a:pt x="210" y="120"/>
                  </a:lnTo>
                  <a:lnTo>
                    <a:pt x="240" y="120"/>
                  </a:lnTo>
                  <a:lnTo>
                    <a:pt x="258" y="120"/>
                  </a:lnTo>
                  <a:lnTo>
                    <a:pt x="270" y="126"/>
                  </a:lnTo>
                  <a:lnTo>
                    <a:pt x="276" y="132"/>
                  </a:lnTo>
                  <a:lnTo>
                    <a:pt x="282" y="138"/>
                  </a:lnTo>
                  <a:lnTo>
                    <a:pt x="282" y="156"/>
                  </a:lnTo>
                  <a:lnTo>
                    <a:pt x="288" y="186"/>
                  </a:lnTo>
                  <a:lnTo>
                    <a:pt x="312" y="192"/>
                  </a:lnTo>
                  <a:lnTo>
                    <a:pt x="318" y="198"/>
                  </a:lnTo>
                  <a:lnTo>
                    <a:pt x="324" y="204"/>
                  </a:lnTo>
                  <a:lnTo>
                    <a:pt x="330" y="210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66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86" y="210"/>
                  </a:lnTo>
                  <a:lnTo>
                    <a:pt x="498" y="198"/>
                  </a:lnTo>
                  <a:lnTo>
                    <a:pt x="504" y="174"/>
                  </a:lnTo>
                  <a:lnTo>
                    <a:pt x="516" y="162"/>
                  </a:lnTo>
                  <a:lnTo>
                    <a:pt x="516" y="138"/>
                  </a:lnTo>
                  <a:lnTo>
                    <a:pt x="522" y="132"/>
                  </a:lnTo>
                  <a:lnTo>
                    <a:pt x="564" y="132"/>
                  </a:lnTo>
                  <a:lnTo>
                    <a:pt x="564" y="114"/>
                  </a:lnTo>
                  <a:lnTo>
                    <a:pt x="582" y="114"/>
                  </a:lnTo>
                  <a:lnTo>
                    <a:pt x="594" y="114"/>
                  </a:lnTo>
                  <a:lnTo>
                    <a:pt x="606" y="114"/>
                  </a:lnTo>
                  <a:lnTo>
                    <a:pt x="612" y="114"/>
                  </a:lnTo>
                  <a:lnTo>
                    <a:pt x="630" y="114"/>
                  </a:lnTo>
                  <a:lnTo>
                    <a:pt x="636" y="114"/>
                  </a:lnTo>
                  <a:lnTo>
                    <a:pt x="648" y="114"/>
                  </a:lnTo>
                  <a:lnTo>
                    <a:pt x="654" y="114"/>
                  </a:lnTo>
                  <a:lnTo>
                    <a:pt x="660" y="120"/>
                  </a:lnTo>
                  <a:lnTo>
                    <a:pt x="672" y="120"/>
                  </a:lnTo>
                  <a:lnTo>
                    <a:pt x="684" y="120"/>
                  </a:lnTo>
                  <a:lnTo>
                    <a:pt x="690" y="120"/>
                  </a:lnTo>
                  <a:lnTo>
                    <a:pt x="702" y="120"/>
                  </a:lnTo>
                  <a:lnTo>
                    <a:pt x="708" y="120"/>
                  </a:lnTo>
                  <a:lnTo>
                    <a:pt x="726" y="126"/>
                  </a:lnTo>
                  <a:lnTo>
                    <a:pt x="732" y="126"/>
                  </a:lnTo>
                  <a:lnTo>
                    <a:pt x="738" y="126"/>
                  </a:lnTo>
                  <a:lnTo>
                    <a:pt x="750" y="126"/>
                  </a:lnTo>
                  <a:lnTo>
                    <a:pt x="756" y="126"/>
                  </a:lnTo>
                  <a:lnTo>
                    <a:pt x="768" y="126"/>
                  </a:lnTo>
                  <a:lnTo>
                    <a:pt x="780" y="126"/>
                  </a:lnTo>
                  <a:lnTo>
                    <a:pt x="786" y="120"/>
                  </a:lnTo>
                  <a:lnTo>
                    <a:pt x="792" y="120"/>
                  </a:lnTo>
                  <a:lnTo>
                    <a:pt x="810" y="120"/>
                  </a:lnTo>
                  <a:lnTo>
                    <a:pt x="822" y="120"/>
                  </a:lnTo>
                  <a:lnTo>
                    <a:pt x="846" y="126"/>
                  </a:lnTo>
                  <a:lnTo>
                    <a:pt x="858" y="126"/>
                  </a:lnTo>
                  <a:lnTo>
                    <a:pt x="870" y="132"/>
                  </a:lnTo>
                  <a:lnTo>
                    <a:pt x="882" y="132"/>
                  </a:lnTo>
                  <a:lnTo>
                    <a:pt x="894" y="132"/>
                  </a:lnTo>
                  <a:lnTo>
                    <a:pt x="900" y="132"/>
                  </a:lnTo>
                  <a:lnTo>
                    <a:pt x="912" y="132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36" y="132"/>
                  </a:lnTo>
                  <a:lnTo>
                    <a:pt x="960" y="132"/>
                  </a:lnTo>
                  <a:lnTo>
                    <a:pt x="966" y="144"/>
                  </a:lnTo>
                  <a:lnTo>
                    <a:pt x="972" y="144"/>
                  </a:lnTo>
                  <a:lnTo>
                    <a:pt x="1002" y="144"/>
                  </a:lnTo>
                  <a:lnTo>
                    <a:pt x="1020" y="144"/>
                  </a:lnTo>
                  <a:lnTo>
                    <a:pt x="1068" y="138"/>
                  </a:lnTo>
                  <a:lnTo>
                    <a:pt x="1110" y="132"/>
                  </a:lnTo>
                  <a:lnTo>
                    <a:pt x="1110" y="126"/>
                  </a:lnTo>
                  <a:lnTo>
                    <a:pt x="1116" y="120"/>
                  </a:lnTo>
                  <a:lnTo>
                    <a:pt x="1122" y="108"/>
                  </a:lnTo>
                  <a:lnTo>
                    <a:pt x="1134" y="96"/>
                  </a:lnTo>
                  <a:lnTo>
                    <a:pt x="1146" y="60"/>
                  </a:lnTo>
                  <a:lnTo>
                    <a:pt x="1158" y="54"/>
                  </a:lnTo>
                  <a:lnTo>
                    <a:pt x="1170" y="48"/>
                  </a:lnTo>
                  <a:lnTo>
                    <a:pt x="1188" y="42"/>
                  </a:lnTo>
                  <a:lnTo>
                    <a:pt x="1200" y="36"/>
                  </a:lnTo>
                  <a:lnTo>
                    <a:pt x="1212" y="36"/>
                  </a:lnTo>
                  <a:lnTo>
                    <a:pt x="1236" y="30"/>
                  </a:lnTo>
                  <a:lnTo>
                    <a:pt x="1236" y="24"/>
                  </a:lnTo>
                  <a:lnTo>
                    <a:pt x="1278" y="18"/>
                  </a:lnTo>
                  <a:lnTo>
                    <a:pt x="1290" y="18"/>
                  </a:lnTo>
                  <a:lnTo>
                    <a:pt x="1302" y="12"/>
                  </a:lnTo>
                  <a:lnTo>
                    <a:pt x="1314" y="0"/>
                  </a:lnTo>
                  <a:lnTo>
                    <a:pt x="1332" y="0"/>
                  </a:lnTo>
                  <a:lnTo>
                    <a:pt x="1338" y="24"/>
                  </a:lnTo>
                  <a:lnTo>
                    <a:pt x="1344" y="30"/>
                  </a:lnTo>
                  <a:lnTo>
                    <a:pt x="1350" y="42"/>
                  </a:lnTo>
                  <a:lnTo>
                    <a:pt x="1356" y="48"/>
                  </a:lnTo>
                  <a:lnTo>
                    <a:pt x="1356" y="78"/>
                  </a:lnTo>
                  <a:lnTo>
                    <a:pt x="1350" y="96"/>
                  </a:lnTo>
                  <a:lnTo>
                    <a:pt x="1338" y="108"/>
                  </a:lnTo>
                  <a:lnTo>
                    <a:pt x="1338" y="114"/>
                  </a:lnTo>
                  <a:lnTo>
                    <a:pt x="1338" y="120"/>
                  </a:lnTo>
                  <a:lnTo>
                    <a:pt x="1338" y="126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398" y="114"/>
                  </a:lnTo>
                  <a:lnTo>
                    <a:pt x="1416" y="120"/>
                  </a:lnTo>
                  <a:lnTo>
                    <a:pt x="1434" y="126"/>
                  </a:lnTo>
                  <a:lnTo>
                    <a:pt x="1458" y="132"/>
                  </a:lnTo>
                  <a:lnTo>
                    <a:pt x="1458" y="138"/>
                  </a:lnTo>
                  <a:lnTo>
                    <a:pt x="1512" y="138"/>
                  </a:lnTo>
                  <a:lnTo>
                    <a:pt x="1512" y="132"/>
                  </a:lnTo>
                  <a:lnTo>
                    <a:pt x="1524" y="138"/>
                  </a:lnTo>
                  <a:lnTo>
                    <a:pt x="1542" y="138"/>
                  </a:lnTo>
                  <a:lnTo>
                    <a:pt x="1542" y="150"/>
                  </a:lnTo>
                  <a:lnTo>
                    <a:pt x="1542" y="162"/>
                  </a:lnTo>
                  <a:lnTo>
                    <a:pt x="1548" y="174"/>
                  </a:lnTo>
                  <a:lnTo>
                    <a:pt x="1548" y="180"/>
                  </a:lnTo>
                  <a:lnTo>
                    <a:pt x="1554" y="222"/>
                  </a:lnTo>
                  <a:lnTo>
                    <a:pt x="1554" y="258"/>
                  </a:lnTo>
                  <a:lnTo>
                    <a:pt x="1554" y="276"/>
                  </a:lnTo>
                  <a:lnTo>
                    <a:pt x="1554" y="282"/>
                  </a:lnTo>
                  <a:lnTo>
                    <a:pt x="1554" y="294"/>
                  </a:lnTo>
                  <a:lnTo>
                    <a:pt x="1554" y="306"/>
                  </a:lnTo>
                  <a:lnTo>
                    <a:pt x="1554" y="324"/>
                  </a:lnTo>
                  <a:lnTo>
                    <a:pt x="1554" y="330"/>
                  </a:lnTo>
                  <a:lnTo>
                    <a:pt x="1548" y="330"/>
                  </a:lnTo>
                  <a:lnTo>
                    <a:pt x="1548" y="336"/>
                  </a:lnTo>
                  <a:lnTo>
                    <a:pt x="1548" y="342"/>
                  </a:lnTo>
                  <a:lnTo>
                    <a:pt x="1542" y="336"/>
                  </a:lnTo>
                  <a:lnTo>
                    <a:pt x="1542" y="330"/>
                  </a:lnTo>
                  <a:lnTo>
                    <a:pt x="1536" y="330"/>
                  </a:lnTo>
                  <a:lnTo>
                    <a:pt x="1530" y="330"/>
                  </a:lnTo>
                  <a:lnTo>
                    <a:pt x="1530" y="336"/>
                  </a:lnTo>
                  <a:lnTo>
                    <a:pt x="1536" y="342"/>
                  </a:lnTo>
                  <a:lnTo>
                    <a:pt x="1530" y="342"/>
                  </a:lnTo>
                  <a:lnTo>
                    <a:pt x="1518" y="348"/>
                  </a:lnTo>
                  <a:lnTo>
                    <a:pt x="1512" y="354"/>
                  </a:lnTo>
                  <a:lnTo>
                    <a:pt x="1506" y="354"/>
                  </a:lnTo>
                  <a:lnTo>
                    <a:pt x="1500" y="354"/>
                  </a:lnTo>
                  <a:lnTo>
                    <a:pt x="1494" y="354"/>
                  </a:lnTo>
                  <a:lnTo>
                    <a:pt x="1494" y="360"/>
                  </a:lnTo>
                  <a:lnTo>
                    <a:pt x="1488" y="360"/>
                  </a:lnTo>
                  <a:lnTo>
                    <a:pt x="1488" y="366"/>
                  </a:lnTo>
                  <a:lnTo>
                    <a:pt x="1488" y="372"/>
                  </a:lnTo>
                  <a:lnTo>
                    <a:pt x="1482" y="372"/>
                  </a:lnTo>
                  <a:lnTo>
                    <a:pt x="1476" y="372"/>
                  </a:lnTo>
                  <a:lnTo>
                    <a:pt x="1470" y="372"/>
                  </a:lnTo>
                  <a:lnTo>
                    <a:pt x="1470" y="378"/>
                  </a:lnTo>
                  <a:lnTo>
                    <a:pt x="1470" y="384"/>
                  </a:lnTo>
                  <a:lnTo>
                    <a:pt x="1470" y="390"/>
                  </a:lnTo>
                  <a:lnTo>
                    <a:pt x="1464" y="402"/>
                  </a:lnTo>
                  <a:lnTo>
                    <a:pt x="1446" y="402"/>
                  </a:lnTo>
                  <a:lnTo>
                    <a:pt x="1440" y="372"/>
                  </a:lnTo>
                  <a:lnTo>
                    <a:pt x="1410" y="372"/>
                  </a:lnTo>
                  <a:lnTo>
                    <a:pt x="1380" y="372"/>
                  </a:lnTo>
                  <a:lnTo>
                    <a:pt x="1374" y="372"/>
                  </a:lnTo>
                  <a:lnTo>
                    <a:pt x="1368" y="378"/>
                  </a:lnTo>
                  <a:lnTo>
                    <a:pt x="1362" y="378"/>
                  </a:lnTo>
                  <a:lnTo>
                    <a:pt x="1356" y="378"/>
                  </a:lnTo>
                  <a:lnTo>
                    <a:pt x="1350" y="384"/>
                  </a:lnTo>
                  <a:lnTo>
                    <a:pt x="1350" y="390"/>
                  </a:lnTo>
                  <a:lnTo>
                    <a:pt x="1344" y="390"/>
                  </a:lnTo>
                  <a:lnTo>
                    <a:pt x="1338" y="390"/>
                  </a:lnTo>
                  <a:lnTo>
                    <a:pt x="1332" y="390"/>
                  </a:lnTo>
                  <a:lnTo>
                    <a:pt x="1332" y="396"/>
                  </a:lnTo>
                  <a:lnTo>
                    <a:pt x="1332" y="390"/>
                  </a:lnTo>
                  <a:lnTo>
                    <a:pt x="1326" y="402"/>
                  </a:lnTo>
                  <a:lnTo>
                    <a:pt x="1320" y="402"/>
                  </a:lnTo>
                  <a:lnTo>
                    <a:pt x="1302" y="474"/>
                  </a:lnTo>
                  <a:lnTo>
                    <a:pt x="1308" y="480"/>
                  </a:lnTo>
                  <a:lnTo>
                    <a:pt x="1314" y="480"/>
                  </a:lnTo>
                  <a:lnTo>
                    <a:pt x="1308" y="498"/>
                  </a:lnTo>
                  <a:lnTo>
                    <a:pt x="1308" y="504"/>
                  </a:lnTo>
                  <a:lnTo>
                    <a:pt x="1314" y="510"/>
                  </a:lnTo>
                  <a:lnTo>
                    <a:pt x="1308" y="510"/>
                  </a:lnTo>
                  <a:lnTo>
                    <a:pt x="1308" y="516"/>
                  </a:lnTo>
                  <a:lnTo>
                    <a:pt x="1302" y="516"/>
                  </a:lnTo>
                  <a:lnTo>
                    <a:pt x="1296" y="510"/>
                  </a:lnTo>
                  <a:lnTo>
                    <a:pt x="1296" y="516"/>
                  </a:lnTo>
                  <a:lnTo>
                    <a:pt x="1290" y="540"/>
                  </a:lnTo>
                  <a:lnTo>
                    <a:pt x="1290" y="552"/>
                  </a:lnTo>
                  <a:lnTo>
                    <a:pt x="1284" y="558"/>
                  </a:lnTo>
                  <a:lnTo>
                    <a:pt x="1290" y="576"/>
                  </a:lnTo>
                  <a:lnTo>
                    <a:pt x="1290" y="600"/>
                  </a:lnTo>
                  <a:lnTo>
                    <a:pt x="1284" y="618"/>
                  </a:lnTo>
                  <a:lnTo>
                    <a:pt x="1290" y="624"/>
                  </a:lnTo>
                  <a:lnTo>
                    <a:pt x="1284" y="630"/>
                  </a:lnTo>
                  <a:lnTo>
                    <a:pt x="1278" y="630"/>
                  </a:lnTo>
                  <a:lnTo>
                    <a:pt x="1272" y="630"/>
                  </a:lnTo>
                  <a:lnTo>
                    <a:pt x="1266" y="636"/>
                  </a:lnTo>
                  <a:lnTo>
                    <a:pt x="1260" y="642"/>
                  </a:lnTo>
                  <a:lnTo>
                    <a:pt x="1260" y="636"/>
                  </a:lnTo>
                  <a:lnTo>
                    <a:pt x="1254" y="636"/>
                  </a:lnTo>
                  <a:lnTo>
                    <a:pt x="1248" y="636"/>
                  </a:lnTo>
                  <a:lnTo>
                    <a:pt x="1248" y="642"/>
                  </a:lnTo>
                  <a:lnTo>
                    <a:pt x="1242" y="642"/>
                  </a:lnTo>
                  <a:lnTo>
                    <a:pt x="1242" y="648"/>
                  </a:lnTo>
                  <a:lnTo>
                    <a:pt x="1236" y="654"/>
                  </a:lnTo>
                  <a:lnTo>
                    <a:pt x="1230" y="654"/>
                  </a:lnTo>
                  <a:lnTo>
                    <a:pt x="1224" y="654"/>
                  </a:lnTo>
                  <a:lnTo>
                    <a:pt x="1218" y="660"/>
                  </a:lnTo>
                  <a:lnTo>
                    <a:pt x="1212" y="660"/>
                  </a:lnTo>
                  <a:lnTo>
                    <a:pt x="1206" y="660"/>
                  </a:lnTo>
                  <a:lnTo>
                    <a:pt x="1200" y="660"/>
                  </a:lnTo>
                  <a:lnTo>
                    <a:pt x="1200" y="666"/>
                  </a:lnTo>
                  <a:lnTo>
                    <a:pt x="1194" y="666"/>
                  </a:lnTo>
                  <a:lnTo>
                    <a:pt x="1188" y="666"/>
                  </a:lnTo>
                  <a:lnTo>
                    <a:pt x="1182" y="672"/>
                  </a:lnTo>
                  <a:lnTo>
                    <a:pt x="1176" y="672"/>
                  </a:lnTo>
                  <a:lnTo>
                    <a:pt x="1170" y="672"/>
                  </a:lnTo>
                  <a:lnTo>
                    <a:pt x="1164" y="678"/>
                  </a:lnTo>
                  <a:lnTo>
                    <a:pt x="1170" y="678"/>
                  </a:lnTo>
                  <a:lnTo>
                    <a:pt x="1164" y="684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52" y="684"/>
                  </a:lnTo>
                  <a:lnTo>
                    <a:pt x="1152" y="690"/>
                  </a:lnTo>
                  <a:lnTo>
                    <a:pt x="1146" y="690"/>
                  </a:lnTo>
                  <a:lnTo>
                    <a:pt x="1140" y="690"/>
                  </a:lnTo>
                  <a:lnTo>
                    <a:pt x="1134" y="696"/>
                  </a:lnTo>
                  <a:lnTo>
                    <a:pt x="1128" y="696"/>
                  </a:lnTo>
                  <a:lnTo>
                    <a:pt x="1122" y="702"/>
                  </a:lnTo>
                  <a:lnTo>
                    <a:pt x="1116" y="702"/>
                  </a:lnTo>
                  <a:lnTo>
                    <a:pt x="1110" y="708"/>
                  </a:lnTo>
                  <a:lnTo>
                    <a:pt x="1104" y="708"/>
                  </a:lnTo>
                  <a:lnTo>
                    <a:pt x="1098" y="708"/>
                  </a:lnTo>
                  <a:lnTo>
                    <a:pt x="1092" y="708"/>
                  </a:lnTo>
                  <a:lnTo>
                    <a:pt x="1092" y="714"/>
                  </a:lnTo>
                  <a:lnTo>
                    <a:pt x="1086" y="720"/>
                  </a:lnTo>
                  <a:lnTo>
                    <a:pt x="1080" y="720"/>
                  </a:lnTo>
                  <a:lnTo>
                    <a:pt x="1074" y="720"/>
                  </a:lnTo>
                  <a:lnTo>
                    <a:pt x="1068" y="720"/>
                  </a:lnTo>
                  <a:lnTo>
                    <a:pt x="1062" y="720"/>
                  </a:lnTo>
                  <a:lnTo>
                    <a:pt x="1050" y="726"/>
                  </a:lnTo>
                  <a:lnTo>
                    <a:pt x="1044" y="726"/>
                  </a:lnTo>
                  <a:lnTo>
                    <a:pt x="1038" y="732"/>
                  </a:lnTo>
                  <a:lnTo>
                    <a:pt x="1026" y="732"/>
                  </a:lnTo>
                  <a:lnTo>
                    <a:pt x="1020" y="732"/>
                  </a:lnTo>
                  <a:lnTo>
                    <a:pt x="1014" y="738"/>
                  </a:lnTo>
                  <a:lnTo>
                    <a:pt x="1008" y="738"/>
                  </a:lnTo>
                  <a:lnTo>
                    <a:pt x="1002" y="738"/>
                  </a:lnTo>
                  <a:lnTo>
                    <a:pt x="996" y="738"/>
                  </a:lnTo>
                  <a:lnTo>
                    <a:pt x="990" y="738"/>
                  </a:lnTo>
                  <a:lnTo>
                    <a:pt x="990" y="732"/>
                  </a:lnTo>
                  <a:lnTo>
                    <a:pt x="984" y="732"/>
                  </a:lnTo>
                  <a:lnTo>
                    <a:pt x="978" y="738"/>
                  </a:lnTo>
                  <a:lnTo>
                    <a:pt x="978" y="744"/>
                  </a:lnTo>
                  <a:lnTo>
                    <a:pt x="984" y="744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8" y="756"/>
                  </a:lnTo>
                  <a:lnTo>
                    <a:pt x="972" y="756"/>
                  </a:lnTo>
                  <a:lnTo>
                    <a:pt x="972" y="762"/>
                  </a:lnTo>
                  <a:lnTo>
                    <a:pt x="966" y="768"/>
                  </a:lnTo>
                  <a:lnTo>
                    <a:pt x="966" y="762"/>
                  </a:lnTo>
                  <a:lnTo>
                    <a:pt x="960" y="762"/>
                  </a:lnTo>
                  <a:lnTo>
                    <a:pt x="954" y="768"/>
                  </a:lnTo>
                  <a:lnTo>
                    <a:pt x="954" y="774"/>
                  </a:lnTo>
                  <a:lnTo>
                    <a:pt x="948" y="774"/>
                  </a:lnTo>
                  <a:lnTo>
                    <a:pt x="948" y="780"/>
                  </a:lnTo>
                  <a:lnTo>
                    <a:pt x="948" y="786"/>
                  </a:lnTo>
                  <a:lnTo>
                    <a:pt x="942" y="786"/>
                  </a:lnTo>
                  <a:lnTo>
                    <a:pt x="942" y="792"/>
                  </a:lnTo>
                  <a:lnTo>
                    <a:pt x="936" y="792"/>
                  </a:lnTo>
                  <a:lnTo>
                    <a:pt x="942" y="798"/>
                  </a:lnTo>
                  <a:lnTo>
                    <a:pt x="942" y="804"/>
                  </a:lnTo>
                  <a:lnTo>
                    <a:pt x="942" y="810"/>
                  </a:lnTo>
                  <a:lnTo>
                    <a:pt x="948" y="810"/>
                  </a:lnTo>
                  <a:lnTo>
                    <a:pt x="942" y="816"/>
                  </a:lnTo>
                  <a:lnTo>
                    <a:pt x="948" y="816"/>
                  </a:lnTo>
                  <a:lnTo>
                    <a:pt x="948" y="822"/>
                  </a:lnTo>
                  <a:lnTo>
                    <a:pt x="954" y="822"/>
                  </a:lnTo>
                  <a:lnTo>
                    <a:pt x="960" y="828"/>
                  </a:lnTo>
                  <a:lnTo>
                    <a:pt x="960" y="834"/>
                  </a:lnTo>
                  <a:lnTo>
                    <a:pt x="966" y="834"/>
                  </a:lnTo>
                  <a:lnTo>
                    <a:pt x="960" y="840"/>
                  </a:lnTo>
                  <a:lnTo>
                    <a:pt x="966" y="846"/>
                  </a:lnTo>
                  <a:lnTo>
                    <a:pt x="966" y="840"/>
                  </a:lnTo>
                  <a:lnTo>
                    <a:pt x="972" y="840"/>
                  </a:lnTo>
                  <a:lnTo>
                    <a:pt x="990" y="840"/>
                  </a:lnTo>
                  <a:lnTo>
                    <a:pt x="1002" y="834"/>
                  </a:lnTo>
                  <a:lnTo>
                    <a:pt x="1020" y="828"/>
                  </a:lnTo>
                  <a:lnTo>
                    <a:pt x="1032" y="828"/>
                  </a:lnTo>
                  <a:lnTo>
                    <a:pt x="1050" y="828"/>
                  </a:lnTo>
                  <a:lnTo>
                    <a:pt x="1062" y="846"/>
                  </a:lnTo>
                  <a:lnTo>
                    <a:pt x="1074" y="876"/>
                  </a:lnTo>
                  <a:lnTo>
                    <a:pt x="1068" y="900"/>
                  </a:lnTo>
                  <a:lnTo>
                    <a:pt x="1074" y="912"/>
                  </a:lnTo>
                  <a:lnTo>
                    <a:pt x="1074" y="936"/>
                  </a:lnTo>
                  <a:lnTo>
                    <a:pt x="1068" y="942"/>
                  </a:lnTo>
                  <a:lnTo>
                    <a:pt x="1062" y="954"/>
                  </a:lnTo>
                  <a:lnTo>
                    <a:pt x="1056" y="978"/>
                  </a:lnTo>
                  <a:lnTo>
                    <a:pt x="1056" y="996"/>
                  </a:lnTo>
                  <a:lnTo>
                    <a:pt x="1068" y="990"/>
                  </a:lnTo>
                  <a:lnTo>
                    <a:pt x="1074" y="990"/>
                  </a:lnTo>
                  <a:lnTo>
                    <a:pt x="1074" y="1008"/>
                  </a:lnTo>
                  <a:lnTo>
                    <a:pt x="1080" y="1008"/>
                  </a:lnTo>
                  <a:lnTo>
                    <a:pt x="1092" y="1014"/>
                  </a:lnTo>
                  <a:lnTo>
                    <a:pt x="1110" y="1044"/>
                  </a:lnTo>
                  <a:lnTo>
                    <a:pt x="1110" y="1062"/>
                  </a:lnTo>
                  <a:lnTo>
                    <a:pt x="1128" y="1068"/>
                  </a:lnTo>
                  <a:lnTo>
                    <a:pt x="1128" y="1092"/>
                  </a:lnTo>
                  <a:lnTo>
                    <a:pt x="1134" y="1098"/>
                  </a:lnTo>
                  <a:lnTo>
                    <a:pt x="1158" y="1122"/>
                  </a:lnTo>
                  <a:lnTo>
                    <a:pt x="1188" y="1122"/>
                  </a:lnTo>
                  <a:lnTo>
                    <a:pt x="1188" y="1128"/>
                  </a:lnTo>
                  <a:lnTo>
                    <a:pt x="1200" y="1134"/>
                  </a:lnTo>
                  <a:lnTo>
                    <a:pt x="1206" y="1134"/>
                  </a:lnTo>
                  <a:lnTo>
                    <a:pt x="1206" y="1128"/>
                  </a:lnTo>
                  <a:lnTo>
                    <a:pt x="1212" y="1128"/>
                  </a:lnTo>
                  <a:lnTo>
                    <a:pt x="1218" y="1128"/>
                  </a:lnTo>
                  <a:lnTo>
                    <a:pt x="1224" y="1122"/>
                  </a:lnTo>
                  <a:lnTo>
                    <a:pt x="1224" y="1128"/>
                  </a:lnTo>
                  <a:lnTo>
                    <a:pt x="1230" y="1128"/>
                  </a:lnTo>
                  <a:lnTo>
                    <a:pt x="1236" y="1128"/>
                  </a:lnTo>
                  <a:lnTo>
                    <a:pt x="1236" y="1122"/>
                  </a:lnTo>
                  <a:lnTo>
                    <a:pt x="1242" y="1122"/>
                  </a:lnTo>
                  <a:lnTo>
                    <a:pt x="1248" y="1128"/>
                  </a:lnTo>
                  <a:lnTo>
                    <a:pt x="1254" y="1128"/>
                  </a:lnTo>
                  <a:lnTo>
                    <a:pt x="1260" y="1134"/>
                  </a:lnTo>
                  <a:lnTo>
                    <a:pt x="1260" y="1140"/>
                  </a:lnTo>
                  <a:lnTo>
                    <a:pt x="1266" y="1140"/>
                  </a:lnTo>
                  <a:lnTo>
                    <a:pt x="1272" y="1140"/>
                  </a:lnTo>
                  <a:lnTo>
                    <a:pt x="1278" y="1140"/>
                  </a:lnTo>
                  <a:lnTo>
                    <a:pt x="1284" y="1140"/>
                  </a:lnTo>
                  <a:lnTo>
                    <a:pt x="1290" y="1146"/>
                  </a:lnTo>
                  <a:lnTo>
                    <a:pt x="1290" y="1152"/>
                  </a:lnTo>
                  <a:lnTo>
                    <a:pt x="1296" y="1146"/>
                  </a:lnTo>
                  <a:lnTo>
                    <a:pt x="1296" y="1152"/>
                  </a:lnTo>
                  <a:lnTo>
                    <a:pt x="1308" y="1152"/>
                  </a:lnTo>
                  <a:lnTo>
                    <a:pt x="1314" y="1152"/>
                  </a:lnTo>
                  <a:lnTo>
                    <a:pt x="1320" y="1152"/>
                  </a:lnTo>
                  <a:lnTo>
                    <a:pt x="1332" y="1152"/>
                  </a:lnTo>
                  <a:lnTo>
                    <a:pt x="1338" y="1152"/>
                  </a:lnTo>
                  <a:lnTo>
                    <a:pt x="1344" y="1152"/>
                  </a:lnTo>
                  <a:lnTo>
                    <a:pt x="1344" y="1158"/>
                  </a:lnTo>
                  <a:lnTo>
                    <a:pt x="1350" y="1158"/>
                  </a:lnTo>
                  <a:lnTo>
                    <a:pt x="1356" y="1158"/>
                  </a:lnTo>
                  <a:lnTo>
                    <a:pt x="1362" y="1158"/>
                  </a:lnTo>
                  <a:lnTo>
                    <a:pt x="1368" y="1158"/>
                  </a:lnTo>
                  <a:lnTo>
                    <a:pt x="1374" y="1164"/>
                  </a:lnTo>
                  <a:lnTo>
                    <a:pt x="1380" y="1164"/>
                  </a:lnTo>
                  <a:lnTo>
                    <a:pt x="1386" y="1170"/>
                  </a:lnTo>
                  <a:lnTo>
                    <a:pt x="1392" y="1170"/>
                  </a:lnTo>
                  <a:lnTo>
                    <a:pt x="1398" y="1164"/>
                  </a:lnTo>
                  <a:lnTo>
                    <a:pt x="1404" y="1164"/>
                  </a:lnTo>
                  <a:lnTo>
                    <a:pt x="1410" y="1164"/>
                  </a:lnTo>
                  <a:lnTo>
                    <a:pt x="1416" y="1164"/>
                  </a:lnTo>
                  <a:lnTo>
                    <a:pt x="1416" y="1170"/>
                  </a:lnTo>
                  <a:lnTo>
                    <a:pt x="1422" y="1176"/>
                  </a:lnTo>
                  <a:lnTo>
                    <a:pt x="1416" y="1176"/>
                  </a:lnTo>
                  <a:lnTo>
                    <a:pt x="1416" y="1182"/>
                  </a:lnTo>
                  <a:lnTo>
                    <a:pt x="1410" y="1188"/>
                  </a:lnTo>
                  <a:lnTo>
                    <a:pt x="1404" y="1194"/>
                  </a:lnTo>
                  <a:lnTo>
                    <a:pt x="1404" y="1200"/>
                  </a:lnTo>
                  <a:lnTo>
                    <a:pt x="1404" y="1206"/>
                  </a:lnTo>
                  <a:lnTo>
                    <a:pt x="1398" y="1212"/>
                  </a:lnTo>
                  <a:lnTo>
                    <a:pt x="1398" y="1206"/>
                  </a:lnTo>
                  <a:lnTo>
                    <a:pt x="1392" y="1206"/>
                  </a:lnTo>
                  <a:lnTo>
                    <a:pt x="1386" y="1206"/>
                  </a:lnTo>
                  <a:lnTo>
                    <a:pt x="1380" y="1212"/>
                  </a:lnTo>
                  <a:lnTo>
                    <a:pt x="1374" y="1212"/>
                  </a:lnTo>
                  <a:lnTo>
                    <a:pt x="1368" y="1218"/>
                  </a:lnTo>
                  <a:lnTo>
                    <a:pt x="1362" y="1218"/>
                  </a:lnTo>
                  <a:lnTo>
                    <a:pt x="1362" y="1224"/>
                  </a:lnTo>
                  <a:lnTo>
                    <a:pt x="1356" y="1230"/>
                  </a:lnTo>
                  <a:lnTo>
                    <a:pt x="1350" y="1230"/>
                  </a:lnTo>
                  <a:lnTo>
                    <a:pt x="1344" y="1236"/>
                  </a:lnTo>
                  <a:lnTo>
                    <a:pt x="1338" y="1230"/>
                  </a:lnTo>
                  <a:lnTo>
                    <a:pt x="1332" y="1230"/>
                  </a:lnTo>
                  <a:lnTo>
                    <a:pt x="1326" y="1230"/>
                  </a:lnTo>
                  <a:lnTo>
                    <a:pt x="1320" y="1230"/>
                  </a:lnTo>
                  <a:lnTo>
                    <a:pt x="1314" y="1230"/>
                  </a:lnTo>
                  <a:lnTo>
                    <a:pt x="1296" y="1242"/>
                  </a:lnTo>
                  <a:lnTo>
                    <a:pt x="1296" y="1248"/>
                  </a:lnTo>
                  <a:lnTo>
                    <a:pt x="1290" y="1248"/>
                  </a:lnTo>
                  <a:lnTo>
                    <a:pt x="1290" y="1260"/>
                  </a:lnTo>
                  <a:lnTo>
                    <a:pt x="1278" y="1272"/>
                  </a:lnTo>
                  <a:lnTo>
                    <a:pt x="1278" y="1278"/>
                  </a:lnTo>
                  <a:lnTo>
                    <a:pt x="1278" y="1284"/>
                  </a:lnTo>
                  <a:lnTo>
                    <a:pt x="1278" y="1290"/>
                  </a:lnTo>
                  <a:lnTo>
                    <a:pt x="1284" y="1296"/>
                  </a:lnTo>
                  <a:lnTo>
                    <a:pt x="1302" y="1302"/>
                  </a:lnTo>
                  <a:lnTo>
                    <a:pt x="1308" y="1308"/>
                  </a:lnTo>
                  <a:lnTo>
                    <a:pt x="1308" y="1314"/>
                  </a:lnTo>
                  <a:lnTo>
                    <a:pt x="1302" y="1320"/>
                  </a:lnTo>
                  <a:lnTo>
                    <a:pt x="1278" y="1314"/>
                  </a:lnTo>
                  <a:lnTo>
                    <a:pt x="1266" y="1308"/>
                  </a:lnTo>
                  <a:lnTo>
                    <a:pt x="1260" y="1296"/>
                  </a:lnTo>
                  <a:lnTo>
                    <a:pt x="1236" y="1296"/>
                  </a:lnTo>
                  <a:lnTo>
                    <a:pt x="1224" y="1308"/>
                  </a:lnTo>
                  <a:lnTo>
                    <a:pt x="1218" y="1308"/>
                  </a:lnTo>
                  <a:lnTo>
                    <a:pt x="1218" y="1302"/>
                  </a:lnTo>
                  <a:lnTo>
                    <a:pt x="1212" y="1302"/>
                  </a:lnTo>
                  <a:lnTo>
                    <a:pt x="1206" y="1302"/>
                  </a:lnTo>
                  <a:lnTo>
                    <a:pt x="1170" y="1314"/>
                  </a:lnTo>
                  <a:lnTo>
                    <a:pt x="1134" y="1296"/>
                  </a:lnTo>
                  <a:lnTo>
                    <a:pt x="1122" y="1290"/>
                  </a:lnTo>
                  <a:lnTo>
                    <a:pt x="1104" y="1290"/>
                  </a:lnTo>
                  <a:lnTo>
                    <a:pt x="1098" y="1278"/>
                  </a:lnTo>
                  <a:lnTo>
                    <a:pt x="1092" y="1242"/>
                  </a:lnTo>
                  <a:lnTo>
                    <a:pt x="1086" y="1242"/>
                  </a:lnTo>
                  <a:lnTo>
                    <a:pt x="1086" y="1248"/>
                  </a:lnTo>
                  <a:lnTo>
                    <a:pt x="1086" y="1254"/>
                  </a:lnTo>
                  <a:lnTo>
                    <a:pt x="1080" y="1254"/>
                  </a:lnTo>
                  <a:lnTo>
                    <a:pt x="1080" y="1260"/>
                  </a:lnTo>
                  <a:lnTo>
                    <a:pt x="1074" y="1260"/>
                  </a:lnTo>
                  <a:lnTo>
                    <a:pt x="1068" y="1236"/>
                  </a:lnTo>
                  <a:lnTo>
                    <a:pt x="1068" y="1206"/>
                  </a:lnTo>
                  <a:lnTo>
                    <a:pt x="1080" y="1194"/>
                  </a:lnTo>
                  <a:lnTo>
                    <a:pt x="1086" y="1194"/>
                  </a:lnTo>
                  <a:lnTo>
                    <a:pt x="1092" y="1200"/>
                  </a:lnTo>
                  <a:lnTo>
                    <a:pt x="1098" y="1206"/>
                  </a:lnTo>
                  <a:lnTo>
                    <a:pt x="1104" y="1200"/>
                  </a:lnTo>
                  <a:lnTo>
                    <a:pt x="1104" y="1194"/>
                  </a:lnTo>
                  <a:lnTo>
                    <a:pt x="1110" y="1194"/>
                  </a:lnTo>
                  <a:lnTo>
                    <a:pt x="1110" y="1188"/>
                  </a:lnTo>
                  <a:lnTo>
                    <a:pt x="1116" y="1182"/>
                  </a:lnTo>
                  <a:lnTo>
                    <a:pt x="1110" y="1182"/>
                  </a:lnTo>
                  <a:lnTo>
                    <a:pt x="1110" y="1170"/>
                  </a:lnTo>
                  <a:lnTo>
                    <a:pt x="1110" y="1158"/>
                  </a:lnTo>
                  <a:lnTo>
                    <a:pt x="1110" y="1152"/>
                  </a:lnTo>
                  <a:lnTo>
                    <a:pt x="1104" y="1146"/>
                  </a:lnTo>
                  <a:lnTo>
                    <a:pt x="1098" y="1140"/>
                  </a:lnTo>
                  <a:lnTo>
                    <a:pt x="1098" y="1134"/>
                  </a:lnTo>
                  <a:lnTo>
                    <a:pt x="1098" y="1128"/>
                  </a:lnTo>
                  <a:lnTo>
                    <a:pt x="1092" y="1128"/>
                  </a:lnTo>
                  <a:lnTo>
                    <a:pt x="1092" y="1122"/>
                  </a:lnTo>
                  <a:lnTo>
                    <a:pt x="1092" y="1116"/>
                  </a:lnTo>
                  <a:lnTo>
                    <a:pt x="1092" y="1110"/>
                  </a:lnTo>
                  <a:lnTo>
                    <a:pt x="1056" y="1122"/>
                  </a:lnTo>
                  <a:lnTo>
                    <a:pt x="1038" y="1128"/>
                  </a:lnTo>
                  <a:lnTo>
                    <a:pt x="1032" y="1128"/>
                  </a:lnTo>
                  <a:lnTo>
                    <a:pt x="1026" y="1128"/>
                  </a:lnTo>
                  <a:lnTo>
                    <a:pt x="1020" y="1128"/>
                  </a:lnTo>
                  <a:lnTo>
                    <a:pt x="1014" y="1128"/>
                  </a:lnTo>
                  <a:lnTo>
                    <a:pt x="1014" y="1122"/>
                  </a:lnTo>
                  <a:lnTo>
                    <a:pt x="1008" y="1122"/>
                  </a:lnTo>
                  <a:lnTo>
                    <a:pt x="1002" y="1128"/>
                  </a:lnTo>
                  <a:lnTo>
                    <a:pt x="1002" y="1134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84" y="1140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66" y="1140"/>
                  </a:lnTo>
                  <a:lnTo>
                    <a:pt x="954" y="1140"/>
                  </a:lnTo>
                  <a:lnTo>
                    <a:pt x="954" y="1134"/>
                  </a:lnTo>
                  <a:lnTo>
                    <a:pt x="948" y="1134"/>
                  </a:lnTo>
                  <a:lnTo>
                    <a:pt x="942" y="1134"/>
                  </a:lnTo>
                  <a:lnTo>
                    <a:pt x="936" y="1134"/>
                  </a:lnTo>
                  <a:lnTo>
                    <a:pt x="930" y="1134"/>
                  </a:lnTo>
                  <a:lnTo>
                    <a:pt x="924" y="1134"/>
                  </a:lnTo>
                  <a:lnTo>
                    <a:pt x="918" y="1134"/>
                  </a:lnTo>
                  <a:lnTo>
                    <a:pt x="918" y="1128"/>
                  </a:lnTo>
                  <a:lnTo>
                    <a:pt x="918" y="1104"/>
                  </a:lnTo>
                  <a:lnTo>
                    <a:pt x="906" y="1104"/>
                  </a:lnTo>
                  <a:lnTo>
                    <a:pt x="900" y="1098"/>
                  </a:lnTo>
                  <a:lnTo>
                    <a:pt x="900" y="1092"/>
                  </a:lnTo>
                  <a:lnTo>
                    <a:pt x="900" y="1086"/>
                  </a:lnTo>
                  <a:lnTo>
                    <a:pt x="900" y="1080"/>
                  </a:lnTo>
                  <a:lnTo>
                    <a:pt x="894" y="1080"/>
                  </a:lnTo>
                  <a:lnTo>
                    <a:pt x="858" y="1074"/>
                  </a:lnTo>
                  <a:lnTo>
                    <a:pt x="852" y="1080"/>
                  </a:lnTo>
                  <a:lnTo>
                    <a:pt x="846" y="1086"/>
                  </a:lnTo>
                  <a:lnTo>
                    <a:pt x="840" y="1086"/>
                  </a:lnTo>
                  <a:lnTo>
                    <a:pt x="840" y="1092"/>
                  </a:lnTo>
                  <a:lnTo>
                    <a:pt x="834" y="1092"/>
                  </a:lnTo>
                  <a:lnTo>
                    <a:pt x="828" y="1098"/>
                  </a:lnTo>
                  <a:lnTo>
                    <a:pt x="822" y="1098"/>
                  </a:lnTo>
                  <a:lnTo>
                    <a:pt x="762" y="1074"/>
                  </a:lnTo>
                  <a:lnTo>
                    <a:pt x="756" y="1068"/>
                  </a:lnTo>
                  <a:lnTo>
                    <a:pt x="750" y="1068"/>
                  </a:lnTo>
                  <a:lnTo>
                    <a:pt x="744" y="1062"/>
                  </a:lnTo>
                  <a:lnTo>
                    <a:pt x="744" y="1068"/>
                  </a:lnTo>
                  <a:lnTo>
                    <a:pt x="744" y="1074"/>
                  </a:lnTo>
                  <a:lnTo>
                    <a:pt x="738" y="1074"/>
                  </a:lnTo>
                  <a:lnTo>
                    <a:pt x="738" y="1068"/>
                  </a:lnTo>
                  <a:lnTo>
                    <a:pt x="732" y="1068"/>
                  </a:lnTo>
                  <a:lnTo>
                    <a:pt x="726" y="1068"/>
                  </a:lnTo>
                  <a:lnTo>
                    <a:pt x="726" y="1074"/>
                  </a:lnTo>
                  <a:lnTo>
                    <a:pt x="720" y="1074"/>
                  </a:lnTo>
                  <a:lnTo>
                    <a:pt x="684" y="106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5" name="Freeform 40">
              <a:extLst>
                <a:ext uri="{FF2B5EF4-FFF2-40B4-BE49-F238E27FC236}">
                  <a16:creationId xmlns:a16="http://schemas.microsoft.com/office/drawing/2014/main" id="{37EC2F22-BDB9-4162-8FA4-08493F6898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3558" y="1520374"/>
              <a:ext cx="1057717" cy="1252440"/>
            </a:xfrm>
            <a:custGeom>
              <a:avLst/>
              <a:gdLst>
                <a:gd name="T0" fmla="*/ 98 w 1992"/>
                <a:gd name="T1" fmla="*/ 162 h 2358"/>
                <a:gd name="T2" fmla="*/ 93 w 1992"/>
                <a:gd name="T3" fmla="*/ 172 h 2358"/>
                <a:gd name="T4" fmla="*/ 82 w 1992"/>
                <a:gd name="T5" fmla="*/ 179 h 2358"/>
                <a:gd name="T6" fmla="*/ 70 w 1992"/>
                <a:gd name="T7" fmla="*/ 174 h 2358"/>
                <a:gd name="T8" fmla="*/ 62 w 1992"/>
                <a:gd name="T9" fmla="*/ 182 h 2358"/>
                <a:gd name="T10" fmla="*/ 45 w 1992"/>
                <a:gd name="T11" fmla="*/ 189 h 2358"/>
                <a:gd name="T12" fmla="*/ 24 w 1992"/>
                <a:gd name="T13" fmla="*/ 205 h 2358"/>
                <a:gd name="T14" fmla="*/ 17 w 1992"/>
                <a:gd name="T15" fmla="*/ 204 h 2358"/>
                <a:gd name="T16" fmla="*/ 7 w 1992"/>
                <a:gd name="T17" fmla="*/ 197 h 2358"/>
                <a:gd name="T18" fmla="*/ 1 w 1992"/>
                <a:gd name="T19" fmla="*/ 191 h 2358"/>
                <a:gd name="T20" fmla="*/ 4 w 1992"/>
                <a:gd name="T21" fmla="*/ 175 h 2358"/>
                <a:gd name="T22" fmla="*/ 7 w 1992"/>
                <a:gd name="T23" fmla="*/ 172 h 2358"/>
                <a:gd name="T24" fmla="*/ 11 w 1992"/>
                <a:gd name="T25" fmla="*/ 168 h 2358"/>
                <a:gd name="T26" fmla="*/ 5 w 1992"/>
                <a:gd name="T27" fmla="*/ 159 h 2358"/>
                <a:gd name="T28" fmla="*/ 10 w 1992"/>
                <a:gd name="T29" fmla="*/ 156 h 2358"/>
                <a:gd name="T30" fmla="*/ 15 w 1992"/>
                <a:gd name="T31" fmla="*/ 155 h 2358"/>
                <a:gd name="T32" fmla="*/ 24 w 1992"/>
                <a:gd name="T33" fmla="*/ 149 h 2358"/>
                <a:gd name="T34" fmla="*/ 38 w 1992"/>
                <a:gd name="T35" fmla="*/ 127 h 2358"/>
                <a:gd name="T36" fmla="*/ 38 w 1992"/>
                <a:gd name="T37" fmla="*/ 107 h 2358"/>
                <a:gd name="T38" fmla="*/ 45 w 1992"/>
                <a:gd name="T39" fmla="*/ 66 h 2358"/>
                <a:gd name="T40" fmla="*/ 47 w 1992"/>
                <a:gd name="T41" fmla="*/ 36 h 2358"/>
                <a:gd name="T42" fmla="*/ 51 w 1992"/>
                <a:gd name="T43" fmla="*/ 35 h 2358"/>
                <a:gd name="T44" fmla="*/ 55 w 1992"/>
                <a:gd name="T45" fmla="*/ 30 h 2358"/>
                <a:gd name="T46" fmla="*/ 56 w 1992"/>
                <a:gd name="T47" fmla="*/ 27 h 2358"/>
                <a:gd name="T48" fmla="*/ 60 w 1992"/>
                <a:gd name="T49" fmla="*/ 23 h 2358"/>
                <a:gd name="T50" fmla="*/ 63 w 1992"/>
                <a:gd name="T51" fmla="*/ 23 h 2358"/>
                <a:gd name="T52" fmla="*/ 70 w 1992"/>
                <a:gd name="T53" fmla="*/ 18 h 2358"/>
                <a:gd name="T54" fmla="*/ 71 w 1992"/>
                <a:gd name="T55" fmla="*/ 15 h 2358"/>
                <a:gd name="T56" fmla="*/ 72 w 1992"/>
                <a:gd name="T57" fmla="*/ 13 h 2358"/>
                <a:gd name="T58" fmla="*/ 77 w 1992"/>
                <a:gd name="T59" fmla="*/ 12 h 2358"/>
                <a:gd name="T60" fmla="*/ 83 w 1992"/>
                <a:gd name="T61" fmla="*/ 10 h 2358"/>
                <a:gd name="T62" fmla="*/ 87 w 1992"/>
                <a:gd name="T63" fmla="*/ 10 h 2358"/>
                <a:gd name="T64" fmla="*/ 89 w 1992"/>
                <a:gd name="T65" fmla="*/ 10 h 2358"/>
                <a:gd name="T66" fmla="*/ 93 w 1992"/>
                <a:gd name="T67" fmla="*/ 8 h 2358"/>
                <a:gd name="T68" fmla="*/ 95 w 1992"/>
                <a:gd name="T69" fmla="*/ 4 h 2358"/>
                <a:gd name="T70" fmla="*/ 99 w 1992"/>
                <a:gd name="T71" fmla="*/ 0 h 2358"/>
                <a:gd name="T72" fmla="*/ 111 w 1992"/>
                <a:gd name="T73" fmla="*/ 0 h 2358"/>
                <a:gd name="T74" fmla="*/ 121 w 1992"/>
                <a:gd name="T75" fmla="*/ 9 h 2358"/>
                <a:gd name="T76" fmla="*/ 128 w 1992"/>
                <a:gd name="T77" fmla="*/ 19 h 2358"/>
                <a:gd name="T78" fmla="*/ 138 w 1992"/>
                <a:gd name="T79" fmla="*/ 33 h 2358"/>
                <a:gd name="T80" fmla="*/ 142 w 1992"/>
                <a:gd name="T81" fmla="*/ 47 h 2358"/>
                <a:gd name="T82" fmla="*/ 145 w 1992"/>
                <a:gd name="T83" fmla="*/ 62 h 2358"/>
                <a:gd name="T84" fmla="*/ 145 w 1992"/>
                <a:gd name="T85" fmla="*/ 70 h 2358"/>
                <a:gd name="T86" fmla="*/ 147 w 1992"/>
                <a:gd name="T87" fmla="*/ 75 h 2358"/>
                <a:gd name="T88" fmla="*/ 153 w 1992"/>
                <a:gd name="T89" fmla="*/ 75 h 2358"/>
                <a:gd name="T90" fmla="*/ 160 w 1992"/>
                <a:gd name="T91" fmla="*/ 76 h 2358"/>
                <a:gd name="T92" fmla="*/ 164 w 1992"/>
                <a:gd name="T93" fmla="*/ 79 h 2358"/>
                <a:gd name="T94" fmla="*/ 168 w 1992"/>
                <a:gd name="T95" fmla="*/ 83 h 2358"/>
                <a:gd name="T96" fmla="*/ 172 w 1992"/>
                <a:gd name="T97" fmla="*/ 86 h 2358"/>
                <a:gd name="T98" fmla="*/ 170 w 1992"/>
                <a:gd name="T99" fmla="*/ 93 h 2358"/>
                <a:gd name="T100" fmla="*/ 170 w 1992"/>
                <a:gd name="T101" fmla="*/ 99 h 2358"/>
                <a:gd name="T102" fmla="*/ 169 w 1992"/>
                <a:gd name="T103" fmla="*/ 106 h 2358"/>
                <a:gd name="T104" fmla="*/ 166 w 1992"/>
                <a:gd name="T105" fmla="*/ 113 h 2358"/>
                <a:gd name="T106" fmla="*/ 170 w 1992"/>
                <a:gd name="T107" fmla="*/ 122 h 2358"/>
                <a:gd name="T108" fmla="*/ 159 w 1992"/>
                <a:gd name="T109" fmla="*/ 128 h 2358"/>
                <a:gd name="T110" fmla="*/ 148 w 1992"/>
                <a:gd name="T111" fmla="*/ 134 h 2358"/>
                <a:gd name="T112" fmla="*/ 139 w 1992"/>
                <a:gd name="T113" fmla="*/ 136 h 2358"/>
                <a:gd name="T114" fmla="*/ 132 w 1992"/>
                <a:gd name="T115" fmla="*/ 138 h 2358"/>
                <a:gd name="T116" fmla="*/ 128 w 1992"/>
                <a:gd name="T117" fmla="*/ 145 h 2358"/>
                <a:gd name="T118" fmla="*/ 124 w 1992"/>
                <a:gd name="T119" fmla="*/ 150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92"/>
                <a:gd name="T181" fmla="*/ 0 h 2358"/>
                <a:gd name="T182" fmla="*/ 1992 w 1992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92" h="2358">
                  <a:moveTo>
                    <a:pt x="1356" y="1782"/>
                  </a:moveTo>
                  <a:lnTo>
                    <a:pt x="1350" y="1788"/>
                  </a:lnTo>
                  <a:lnTo>
                    <a:pt x="1266" y="1788"/>
                  </a:lnTo>
                  <a:lnTo>
                    <a:pt x="1260" y="1800"/>
                  </a:lnTo>
                  <a:lnTo>
                    <a:pt x="1242" y="1806"/>
                  </a:lnTo>
                  <a:lnTo>
                    <a:pt x="1218" y="1812"/>
                  </a:lnTo>
                  <a:lnTo>
                    <a:pt x="1182" y="1812"/>
                  </a:lnTo>
                  <a:lnTo>
                    <a:pt x="1158" y="1806"/>
                  </a:lnTo>
                  <a:lnTo>
                    <a:pt x="1134" y="1800"/>
                  </a:lnTo>
                  <a:lnTo>
                    <a:pt x="1134" y="1806"/>
                  </a:lnTo>
                  <a:lnTo>
                    <a:pt x="1134" y="1830"/>
                  </a:lnTo>
                  <a:lnTo>
                    <a:pt x="1128" y="1842"/>
                  </a:lnTo>
                  <a:lnTo>
                    <a:pt x="1128" y="1854"/>
                  </a:lnTo>
                  <a:lnTo>
                    <a:pt x="1128" y="1860"/>
                  </a:lnTo>
                  <a:lnTo>
                    <a:pt x="1128" y="1866"/>
                  </a:lnTo>
                  <a:lnTo>
                    <a:pt x="1128" y="1872"/>
                  </a:lnTo>
                  <a:lnTo>
                    <a:pt x="1128" y="1884"/>
                  </a:lnTo>
                  <a:lnTo>
                    <a:pt x="1128" y="1890"/>
                  </a:lnTo>
                  <a:lnTo>
                    <a:pt x="1128" y="1896"/>
                  </a:lnTo>
                  <a:lnTo>
                    <a:pt x="1122" y="1902"/>
                  </a:lnTo>
                  <a:lnTo>
                    <a:pt x="1122" y="1920"/>
                  </a:lnTo>
                  <a:lnTo>
                    <a:pt x="1116" y="1920"/>
                  </a:lnTo>
                  <a:lnTo>
                    <a:pt x="1110" y="1926"/>
                  </a:lnTo>
                  <a:lnTo>
                    <a:pt x="1110" y="1932"/>
                  </a:lnTo>
                  <a:lnTo>
                    <a:pt x="1104" y="1938"/>
                  </a:lnTo>
                  <a:lnTo>
                    <a:pt x="1086" y="1962"/>
                  </a:lnTo>
                  <a:lnTo>
                    <a:pt x="1074" y="1974"/>
                  </a:lnTo>
                  <a:lnTo>
                    <a:pt x="1074" y="1980"/>
                  </a:lnTo>
                  <a:lnTo>
                    <a:pt x="1068" y="1986"/>
                  </a:lnTo>
                  <a:lnTo>
                    <a:pt x="1062" y="1998"/>
                  </a:lnTo>
                  <a:lnTo>
                    <a:pt x="1062" y="2004"/>
                  </a:lnTo>
                  <a:lnTo>
                    <a:pt x="1068" y="2004"/>
                  </a:lnTo>
                  <a:lnTo>
                    <a:pt x="1056" y="2034"/>
                  </a:lnTo>
                  <a:lnTo>
                    <a:pt x="1050" y="2076"/>
                  </a:lnTo>
                  <a:lnTo>
                    <a:pt x="1056" y="2100"/>
                  </a:lnTo>
                  <a:lnTo>
                    <a:pt x="1038" y="2106"/>
                  </a:lnTo>
                  <a:lnTo>
                    <a:pt x="1002" y="2106"/>
                  </a:lnTo>
                  <a:lnTo>
                    <a:pt x="978" y="2094"/>
                  </a:lnTo>
                  <a:lnTo>
                    <a:pt x="972" y="2082"/>
                  </a:lnTo>
                  <a:lnTo>
                    <a:pt x="966" y="2070"/>
                  </a:lnTo>
                  <a:lnTo>
                    <a:pt x="954" y="2064"/>
                  </a:lnTo>
                  <a:lnTo>
                    <a:pt x="942" y="2058"/>
                  </a:lnTo>
                  <a:lnTo>
                    <a:pt x="936" y="2058"/>
                  </a:lnTo>
                  <a:lnTo>
                    <a:pt x="918" y="2046"/>
                  </a:lnTo>
                  <a:lnTo>
                    <a:pt x="906" y="2028"/>
                  </a:lnTo>
                  <a:lnTo>
                    <a:pt x="900" y="2022"/>
                  </a:lnTo>
                  <a:lnTo>
                    <a:pt x="894" y="2022"/>
                  </a:lnTo>
                  <a:lnTo>
                    <a:pt x="882" y="2022"/>
                  </a:lnTo>
                  <a:lnTo>
                    <a:pt x="870" y="2016"/>
                  </a:lnTo>
                  <a:lnTo>
                    <a:pt x="864" y="2016"/>
                  </a:lnTo>
                  <a:lnTo>
                    <a:pt x="852" y="2010"/>
                  </a:lnTo>
                  <a:lnTo>
                    <a:pt x="846" y="2004"/>
                  </a:lnTo>
                  <a:lnTo>
                    <a:pt x="840" y="2004"/>
                  </a:lnTo>
                  <a:lnTo>
                    <a:pt x="828" y="1998"/>
                  </a:lnTo>
                  <a:lnTo>
                    <a:pt x="816" y="1998"/>
                  </a:lnTo>
                  <a:lnTo>
                    <a:pt x="810" y="1998"/>
                  </a:lnTo>
                  <a:lnTo>
                    <a:pt x="804" y="1998"/>
                  </a:lnTo>
                  <a:lnTo>
                    <a:pt x="798" y="1998"/>
                  </a:lnTo>
                  <a:lnTo>
                    <a:pt x="792" y="2004"/>
                  </a:lnTo>
                  <a:lnTo>
                    <a:pt x="786" y="2010"/>
                  </a:lnTo>
                  <a:lnTo>
                    <a:pt x="762" y="2010"/>
                  </a:lnTo>
                  <a:lnTo>
                    <a:pt x="756" y="2010"/>
                  </a:lnTo>
                  <a:lnTo>
                    <a:pt x="744" y="2022"/>
                  </a:lnTo>
                  <a:lnTo>
                    <a:pt x="738" y="2034"/>
                  </a:lnTo>
                  <a:lnTo>
                    <a:pt x="732" y="2040"/>
                  </a:lnTo>
                  <a:lnTo>
                    <a:pt x="732" y="2046"/>
                  </a:lnTo>
                  <a:lnTo>
                    <a:pt x="726" y="2058"/>
                  </a:lnTo>
                  <a:lnTo>
                    <a:pt x="720" y="2064"/>
                  </a:lnTo>
                  <a:lnTo>
                    <a:pt x="714" y="2070"/>
                  </a:lnTo>
                  <a:lnTo>
                    <a:pt x="708" y="2088"/>
                  </a:lnTo>
                  <a:lnTo>
                    <a:pt x="702" y="2100"/>
                  </a:lnTo>
                  <a:lnTo>
                    <a:pt x="690" y="2100"/>
                  </a:lnTo>
                  <a:lnTo>
                    <a:pt x="684" y="2094"/>
                  </a:lnTo>
                  <a:lnTo>
                    <a:pt x="666" y="2100"/>
                  </a:lnTo>
                  <a:lnTo>
                    <a:pt x="636" y="2106"/>
                  </a:lnTo>
                  <a:lnTo>
                    <a:pt x="636" y="2112"/>
                  </a:lnTo>
                  <a:lnTo>
                    <a:pt x="636" y="2118"/>
                  </a:lnTo>
                  <a:lnTo>
                    <a:pt x="636" y="2124"/>
                  </a:lnTo>
                  <a:lnTo>
                    <a:pt x="630" y="2124"/>
                  </a:lnTo>
                  <a:lnTo>
                    <a:pt x="630" y="2148"/>
                  </a:lnTo>
                  <a:lnTo>
                    <a:pt x="612" y="2160"/>
                  </a:lnTo>
                  <a:lnTo>
                    <a:pt x="576" y="2172"/>
                  </a:lnTo>
                  <a:lnTo>
                    <a:pt x="546" y="2172"/>
                  </a:lnTo>
                  <a:lnTo>
                    <a:pt x="516" y="2172"/>
                  </a:lnTo>
                  <a:lnTo>
                    <a:pt x="486" y="2172"/>
                  </a:lnTo>
                  <a:lnTo>
                    <a:pt x="462" y="2172"/>
                  </a:lnTo>
                  <a:lnTo>
                    <a:pt x="444" y="2196"/>
                  </a:lnTo>
                  <a:lnTo>
                    <a:pt x="432" y="2232"/>
                  </a:lnTo>
                  <a:lnTo>
                    <a:pt x="408" y="2238"/>
                  </a:lnTo>
                  <a:lnTo>
                    <a:pt x="390" y="2256"/>
                  </a:lnTo>
                  <a:lnTo>
                    <a:pt x="372" y="2274"/>
                  </a:lnTo>
                  <a:lnTo>
                    <a:pt x="360" y="2274"/>
                  </a:lnTo>
                  <a:lnTo>
                    <a:pt x="336" y="2328"/>
                  </a:lnTo>
                  <a:lnTo>
                    <a:pt x="324" y="2340"/>
                  </a:lnTo>
                  <a:lnTo>
                    <a:pt x="300" y="2346"/>
                  </a:lnTo>
                  <a:lnTo>
                    <a:pt x="294" y="2352"/>
                  </a:lnTo>
                  <a:lnTo>
                    <a:pt x="288" y="2352"/>
                  </a:lnTo>
                  <a:lnTo>
                    <a:pt x="282" y="2352"/>
                  </a:lnTo>
                  <a:lnTo>
                    <a:pt x="276" y="2352"/>
                  </a:lnTo>
                  <a:lnTo>
                    <a:pt x="270" y="2352"/>
                  </a:lnTo>
                  <a:lnTo>
                    <a:pt x="270" y="2346"/>
                  </a:lnTo>
                  <a:lnTo>
                    <a:pt x="264" y="2346"/>
                  </a:lnTo>
                  <a:lnTo>
                    <a:pt x="258" y="2352"/>
                  </a:lnTo>
                  <a:lnTo>
                    <a:pt x="252" y="2352"/>
                  </a:lnTo>
                  <a:lnTo>
                    <a:pt x="240" y="2352"/>
                  </a:lnTo>
                  <a:lnTo>
                    <a:pt x="228" y="2352"/>
                  </a:lnTo>
                  <a:lnTo>
                    <a:pt x="222" y="2352"/>
                  </a:lnTo>
                  <a:lnTo>
                    <a:pt x="216" y="2358"/>
                  </a:lnTo>
                  <a:lnTo>
                    <a:pt x="216" y="2352"/>
                  </a:lnTo>
                  <a:lnTo>
                    <a:pt x="210" y="2346"/>
                  </a:lnTo>
                  <a:lnTo>
                    <a:pt x="204" y="2346"/>
                  </a:lnTo>
                  <a:lnTo>
                    <a:pt x="198" y="2340"/>
                  </a:lnTo>
                  <a:lnTo>
                    <a:pt x="192" y="2340"/>
                  </a:lnTo>
                  <a:lnTo>
                    <a:pt x="186" y="2340"/>
                  </a:lnTo>
                  <a:lnTo>
                    <a:pt x="180" y="2340"/>
                  </a:lnTo>
                  <a:lnTo>
                    <a:pt x="174" y="2340"/>
                  </a:lnTo>
                  <a:lnTo>
                    <a:pt x="162" y="2328"/>
                  </a:lnTo>
                  <a:lnTo>
                    <a:pt x="156" y="2322"/>
                  </a:lnTo>
                  <a:lnTo>
                    <a:pt x="156" y="2316"/>
                  </a:lnTo>
                  <a:lnTo>
                    <a:pt x="156" y="2310"/>
                  </a:lnTo>
                  <a:lnTo>
                    <a:pt x="132" y="2286"/>
                  </a:lnTo>
                  <a:lnTo>
                    <a:pt x="120" y="2280"/>
                  </a:lnTo>
                  <a:lnTo>
                    <a:pt x="96" y="2274"/>
                  </a:lnTo>
                  <a:lnTo>
                    <a:pt x="84" y="2268"/>
                  </a:lnTo>
                  <a:lnTo>
                    <a:pt x="78" y="2268"/>
                  </a:lnTo>
                  <a:lnTo>
                    <a:pt x="78" y="2262"/>
                  </a:lnTo>
                  <a:lnTo>
                    <a:pt x="78" y="2256"/>
                  </a:lnTo>
                  <a:lnTo>
                    <a:pt x="78" y="2250"/>
                  </a:lnTo>
                  <a:lnTo>
                    <a:pt x="72" y="2250"/>
                  </a:lnTo>
                  <a:lnTo>
                    <a:pt x="66" y="2250"/>
                  </a:lnTo>
                  <a:lnTo>
                    <a:pt x="60" y="2250"/>
                  </a:lnTo>
                  <a:lnTo>
                    <a:pt x="48" y="2244"/>
                  </a:lnTo>
                  <a:lnTo>
                    <a:pt x="36" y="2238"/>
                  </a:lnTo>
                  <a:lnTo>
                    <a:pt x="36" y="2226"/>
                  </a:lnTo>
                  <a:lnTo>
                    <a:pt x="30" y="2226"/>
                  </a:lnTo>
                  <a:lnTo>
                    <a:pt x="30" y="2220"/>
                  </a:lnTo>
                  <a:lnTo>
                    <a:pt x="24" y="2208"/>
                  </a:lnTo>
                  <a:lnTo>
                    <a:pt x="18" y="2202"/>
                  </a:lnTo>
                  <a:lnTo>
                    <a:pt x="18" y="2196"/>
                  </a:lnTo>
                  <a:lnTo>
                    <a:pt x="12" y="2190"/>
                  </a:lnTo>
                  <a:lnTo>
                    <a:pt x="0" y="2190"/>
                  </a:lnTo>
                  <a:lnTo>
                    <a:pt x="6" y="2184"/>
                  </a:lnTo>
                  <a:lnTo>
                    <a:pt x="12" y="2178"/>
                  </a:lnTo>
                  <a:lnTo>
                    <a:pt x="18" y="2172"/>
                  </a:lnTo>
                  <a:lnTo>
                    <a:pt x="24" y="2166"/>
                  </a:lnTo>
                  <a:lnTo>
                    <a:pt x="30" y="2166"/>
                  </a:lnTo>
                  <a:lnTo>
                    <a:pt x="24" y="2160"/>
                  </a:lnTo>
                  <a:lnTo>
                    <a:pt x="30" y="2160"/>
                  </a:lnTo>
                  <a:lnTo>
                    <a:pt x="36" y="2154"/>
                  </a:lnTo>
                  <a:lnTo>
                    <a:pt x="36" y="2136"/>
                  </a:lnTo>
                  <a:lnTo>
                    <a:pt x="36" y="2118"/>
                  </a:lnTo>
                  <a:lnTo>
                    <a:pt x="48" y="2058"/>
                  </a:lnTo>
                  <a:lnTo>
                    <a:pt x="48" y="2022"/>
                  </a:lnTo>
                  <a:lnTo>
                    <a:pt x="48" y="2016"/>
                  </a:lnTo>
                  <a:lnTo>
                    <a:pt x="48" y="2010"/>
                  </a:lnTo>
                  <a:lnTo>
                    <a:pt x="48" y="2004"/>
                  </a:lnTo>
                  <a:lnTo>
                    <a:pt x="42" y="2004"/>
                  </a:lnTo>
                  <a:lnTo>
                    <a:pt x="42" y="1998"/>
                  </a:lnTo>
                  <a:lnTo>
                    <a:pt x="36" y="1992"/>
                  </a:lnTo>
                  <a:lnTo>
                    <a:pt x="42" y="1992"/>
                  </a:lnTo>
                  <a:lnTo>
                    <a:pt x="42" y="1986"/>
                  </a:lnTo>
                  <a:lnTo>
                    <a:pt x="48" y="1986"/>
                  </a:lnTo>
                  <a:lnTo>
                    <a:pt x="54" y="1986"/>
                  </a:lnTo>
                  <a:lnTo>
                    <a:pt x="60" y="1986"/>
                  </a:lnTo>
                  <a:lnTo>
                    <a:pt x="66" y="1980"/>
                  </a:lnTo>
                  <a:lnTo>
                    <a:pt x="72" y="1974"/>
                  </a:lnTo>
                  <a:lnTo>
                    <a:pt x="78" y="1974"/>
                  </a:lnTo>
                  <a:lnTo>
                    <a:pt x="84" y="1974"/>
                  </a:lnTo>
                  <a:lnTo>
                    <a:pt x="90" y="1974"/>
                  </a:lnTo>
                  <a:lnTo>
                    <a:pt x="96" y="1974"/>
                  </a:lnTo>
                  <a:lnTo>
                    <a:pt x="96" y="1968"/>
                  </a:lnTo>
                  <a:lnTo>
                    <a:pt x="102" y="1968"/>
                  </a:lnTo>
                  <a:lnTo>
                    <a:pt x="102" y="1962"/>
                  </a:lnTo>
                  <a:lnTo>
                    <a:pt x="108" y="1962"/>
                  </a:lnTo>
                  <a:lnTo>
                    <a:pt x="114" y="1956"/>
                  </a:lnTo>
                  <a:lnTo>
                    <a:pt x="120" y="1956"/>
                  </a:lnTo>
                  <a:lnTo>
                    <a:pt x="126" y="1950"/>
                  </a:lnTo>
                  <a:lnTo>
                    <a:pt x="132" y="1950"/>
                  </a:lnTo>
                  <a:lnTo>
                    <a:pt x="132" y="1944"/>
                  </a:lnTo>
                  <a:lnTo>
                    <a:pt x="126" y="1944"/>
                  </a:lnTo>
                  <a:lnTo>
                    <a:pt x="126" y="1938"/>
                  </a:lnTo>
                  <a:lnTo>
                    <a:pt x="126" y="1932"/>
                  </a:lnTo>
                  <a:lnTo>
                    <a:pt x="126" y="1926"/>
                  </a:lnTo>
                  <a:lnTo>
                    <a:pt x="114" y="1914"/>
                  </a:lnTo>
                  <a:lnTo>
                    <a:pt x="114" y="1896"/>
                  </a:lnTo>
                  <a:lnTo>
                    <a:pt x="108" y="1884"/>
                  </a:lnTo>
                  <a:lnTo>
                    <a:pt x="102" y="1872"/>
                  </a:lnTo>
                  <a:lnTo>
                    <a:pt x="96" y="1866"/>
                  </a:lnTo>
                  <a:lnTo>
                    <a:pt x="96" y="1860"/>
                  </a:lnTo>
                  <a:lnTo>
                    <a:pt x="90" y="1860"/>
                  </a:lnTo>
                  <a:lnTo>
                    <a:pt x="90" y="1854"/>
                  </a:lnTo>
                  <a:lnTo>
                    <a:pt x="84" y="1848"/>
                  </a:lnTo>
                  <a:lnTo>
                    <a:pt x="78" y="1842"/>
                  </a:lnTo>
                  <a:lnTo>
                    <a:pt x="72" y="1836"/>
                  </a:lnTo>
                  <a:lnTo>
                    <a:pt x="66" y="1830"/>
                  </a:lnTo>
                  <a:lnTo>
                    <a:pt x="60" y="1824"/>
                  </a:lnTo>
                  <a:lnTo>
                    <a:pt x="54" y="1824"/>
                  </a:lnTo>
                  <a:lnTo>
                    <a:pt x="48" y="1824"/>
                  </a:lnTo>
                  <a:lnTo>
                    <a:pt x="42" y="1818"/>
                  </a:lnTo>
                  <a:lnTo>
                    <a:pt x="54" y="1818"/>
                  </a:lnTo>
                  <a:lnTo>
                    <a:pt x="60" y="1812"/>
                  </a:lnTo>
                  <a:lnTo>
                    <a:pt x="66" y="1812"/>
                  </a:lnTo>
                  <a:lnTo>
                    <a:pt x="72" y="1812"/>
                  </a:lnTo>
                  <a:lnTo>
                    <a:pt x="78" y="1812"/>
                  </a:lnTo>
                  <a:lnTo>
                    <a:pt x="84" y="1812"/>
                  </a:lnTo>
                  <a:lnTo>
                    <a:pt x="90" y="1806"/>
                  </a:lnTo>
                  <a:lnTo>
                    <a:pt x="96" y="1800"/>
                  </a:lnTo>
                  <a:lnTo>
                    <a:pt x="102" y="1806"/>
                  </a:lnTo>
                  <a:lnTo>
                    <a:pt x="108" y="1800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26" y="1788"/>
                  </a:lnTo>
                  <a:lnTo>
                    <a:pt x="126" y="1794"/>
                  </a:lnTo>
                  <a:lnTo>
                    <a:pt x="132" y="1794"/>
                  </a:lnTo>
                  <a:lnTo>
                    <a:pt x="132" y="1788"/>
                  </a:lnTo>
                  <a:lnTo>
                    <a:pt x="138" y="1788"/>
                  </a:lnTo>
                  <a:lnTo>
                    <a:pt x="138" y="1782"/>
                  </a:lnTo>
                  <a:lnTo>
                    <a:pt x="144" y="1782"/>
                  </a:lnTo>
                  <a:lnTo>
                    <a:pt x="150" y="1776"/>
                  </a:lnTo>
                  <a:lnTo>
                    <a:pt x="156" y="1782"/>
                  </a:lnTo>
                  <a:lnTo>
                    <a:pt x="162" y="1776"/>
                  </a:lnTo>
                  <a:lnTo>
                    <a:pt x="168" y="1776"/>
                  </a:lnTo>
                  <a:lnTo>
                    <a:pt x="180" y="1776"/>
                  </a:lnTo>
                  <a:lnTo>
                    <a:pt x="186" y="1776"/>
                  </a:lnTo>
                  <a:lnTo>
                    <a:pt x="186" y="1782"/>
                  </a:lnTo>
                  <a:lnTo>
                    <a:pt x="192" y="1776"/>
                  </a:lnTo>
                  <a:lnTo>
                    <a:pt x="198" y="1776"/>
                  </a:lnTo>
                  <a:lnTo>
                    <a:pt x="204" y="1770"/>
                  </a:lnTo>
                  <a:lnTo>
                    <a:pt x="204" y="1764"/>
                  </a:lnTo>
                  <a:lnTo>
                    <a:pt x="210" y="1764"/>
                  </a:lnTo>
                  <a:lnTo>
                    <a:pt x="216" y="1764"/>
                  </a:lnTo>
                  <a:lnTo>
                    <a:pt x="216" y="1758"/>
                  </a:lnTo>
                  <a:lnTo>
                    <a:pt x="222" y="1758"/>
                  </a:lnTo>
                  <a:lnTo>
                    <a:pt x="228" y="1758"/>
                  </a:lnTo>
                  <a:lnTo>
                    <a:pt x="258" y="1746"/>
                  </a:lnTo>
                  <a:lnTo>
                    <a:pt x="282" y="1716"/>
                  </a:lnTo>
                  <a:lnTo>
                    <a:pt x="300" y="1698"/>
                  </a:lnTo>
                  <a:lnTo>
                    <a:pt x="312" y="1698"/>
                  </a:lnTo>
                  <a:lnTo>
                    <a:pt x="336" y="1698"/>
                  </a:lnTo>
                  <a:lnTo>
                    <a:pt x="360" y="1698"/>
                  </a:lnTo>
                  <a:lnTo>
                    <a:pt x="372" y="1692"/>
                  </a:lnTo>
                  <a:lnTo>
                    <a:pt x="384" y="1692"/>
                  </a:lnTo>
                  <a:lnTo>
                    <a:pt x="360" y="1668"/>
                  </a:lnTo>
                  <a:lnTo>
                    <a:pt x="348" y="1626"/>
                  </a:lnTo>
                  <a:lnTo>
                    <a:pt x="354" y="1578"/>
                  </a:lnTo>
                  <a:lnTo>
                    <a:pt x="354" y="1572"/>
                  </a:lnTo>
                  <a:lnTo>
                    <a:pt x="360" y="1572"/>
                  </a:lnTo>
                  <a:lnTo>
                    <a:pt x="396" y="1530"/>
                  </a:lnTo>
                  <a:lnTo>
                    <a:pt x="408" y="1482"/>
                  </a:lnTo>
                  <a:lnTo>
                    <a:pt x="438" y="1458"/>
                  </a:lnTo>
                  <a:lnTo>
                    <a:pt x="468" y="1422"/>
                  </a:lnTo>
                  <a:lnTo>
                    <a:pt x="480" y="1410"/>
                  </a:lnTo>
                  <a:lnTo>
                    <a:pt x="474" y="1386"/>
                  </a:lnTo>
                  <a:lnTo>
                    <a:pt x="456" y="1356"/>
                  </a:lnTo>
                  <a:lnTo>
                    <a:pt x="438" y="1350"/>
                  </a:lnTo>
                  <a:lnTo>
                    <a:pt x="420" y="1350"/>
                  </a:lnTo>
                  <a:lnTo>
                    <a:pt x="402" y="1350"/>
                  </a:lnTo>
                  <a:lnTo>
                    <a:pt x="390" y="1344"/>
                  </a:lnTo>
                  <a:lnTo>
                    <a:pt x="390" y="1332"/>
                  </a:lnTo>
                  <a:lnTo>
                    <a:pt x="402" y="1296"/>
                  </a:lnTo>
                  <a:lnTo>
                    <a:pt x="414" y="1260"/>
                  </a:lnTo>
                  <a:lnTo>
                    <a:pt x="426" y="1248"/>
                  </a:lnTo>
                  <a:lnTo>
                    <a:pt x="438" y="1242"/>
                  </a:lnTo>
                  <a:lnTo>
                    <a:pt x="432" y="1230"/>
                  </a:lnTo>
                  <a:lnTo>
                    <a:pt x="432" y="1224"/>
                  </a:lnTo>
                  <a:lnTo>
                    <a:pt x="426" y="1218"/>
                  </a:lnTo>
                  <a:lnTo>
                    <a:pt x="426" y="1206"/>
                  </a:lnTo>
                  <a:lnTo>
                    <a:pt x="426" y="1200"/>
                  </a:lnTo>
                  <a:lnTo>
                    <a:pt x="432" y="1194"/>
                  </a:lnTo>
                  <a:lnTo>
                    <a:pt x="426" y="1188"/>
                  </a:lnTo>
                  <a:lnTo>
                    <a:pt x="432" y="1104"/>
                  </a:lnTo>
                  <a:lnTo>
                    <a:pt x="438" y="1086"/>
                  </a:lnTo>
                  <a:lnTo>
                    <a:pt x="462" y="972"/>
                  </a:lnTo>
                  <a:lnTo>
                    <a:pt x="456" y="900"/>
                  </a:lnTo>
                  <a:lnTo>
                    <a:pt x="444" y="846"/>
                  </a:lnTo>
                  <a:lnTo>
                    <a:pt x="456" y="810"/>
                  </a:lnTo>
                  <a:lnTo>
                    <a:pt x="492" y="786"/>
                  </a:lnTo>
                  <a:lnTo>
                    <a:pt x="522" y="762"/>
                  </a:lnTo>
                  <a:lnTo>
                    <a:pt x="546" y="732"/>
                  </a:lnTo>
                  <a:lnTo>
                    <a:pt x="570" y="696"/>
                  </a:lnTo>
                  <a:lnTo>
                    <a:pt x="582" y="654"/>
                  </a:lnTo>
                  <a:lnTo>
                    <a:pt x="564" y="642"/>
                  </a:lnTo>
                  <a:lnTo>
                    <a:pt x="522" y="588"/>
                  </a:lnTo>
                  <a:lnTo>
                    <a:pt x="516" y="546"/>
                  </a:lnTo>
                  <a:lnTo>
                    <a:pt x="510" y="474"/>
                  </a:lnTo>
                  <a:lnTo>
                    <a:pt x="510" y="450"/>
                  </a:lnTo>
                  <a:lnTo>
                    <a:pt x="510" y="444"/>
                  </a:lnTo>
                  <a:lnTo>
                    <a:pt x="522" y="438"/>
                  </a:lnTo>
                  <a:lnTo>
                    <a:pt x="522" y="432"/>
                  </a:lnTo>
                  <a:lnTo>
                    <a:pt x="528" y="426"/>
                  </a:lnTo>
                  <a:lnTo>
                    <a:pt x="534" y="420"/>
                  </a:lnTo>
                  <a:lnTo>
                    <a:pt x="540" y="414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08"/>
                  </a:lnTo>
                  <a:lnTo>
                    <a:pt x="546" y="408"/>
                  </a:lnTo>
                  <a:lnTo>
                    <a:pt x="558" y="414"/>
                  </a:lnTo>
                  <a:lnTo>
                    <a:pt x="564" y="414"/>
                  </a:lnTo>
                  <a:lnTo>
                    <a:pt x="570" y="414"/>
                  </a:lnTo>
                  <a:lnTo>
                    <a:pt x="582" y="414"/>
                  </a:lnTo>
                  <a:lnTo>
                    <a:pt x="582" y="420"/>
                  </a:lnTo>
                  <a:lnTo>
                    <a:pt x="588" y="414"/>
                  </a:lnTo>
                  <a:lnTo>
                    <a:pt x="582" y="408"/>
                  </a:lnTo>
                  <a:lnTo>
                    <a:pt x="588" y="402"/>
                  </a:lnTo>
                  <a:lnTo>
                    <a:pt x="594" y="402"/>
                  </a:lnTo>
                  <a:lnTo>
                    <a:pt x="594" y="396"/>
                  </a:lnTo>
                  <a:lnTo>
                    <a:pt x="594" y="390"/>
                  </a:lnTo>
                  <a:lnTo>
                    <a:pt x="594" y="384"/>
                  </a:lnTo>
                  <a:lnTo>
                    <a:pt x="594" y="378"/>
                  </a:lnTo>
                  <a:lnTo>
                    <a:pt x="600" y="366"/>
                  </a:lnTo>
                  <a:lnTo>
                    <a:pt x="606" y="366"/>
                  </a:lnTo>
                  <a:lnTo>
                    <a:pt x="612" y="360"/>
                  </a:lnTo>
                  <a:lnTo>
                    <a:pt x="612" y="366"/>
                  </a:lnTo>
                  <a:lnTo>
                    <a:pt x="618" y="366"/>
                  </a:lnTo>
                  <a:lnTo>
                    <a:pt x="624" y="366"/>
                  </a:lnTo>
                  <a:lnTo>
                    <a:pt x="630" y="360"/>
                  </a:lnTo>
                  <a:lnTo>
                    <a:pt x="636" y="354"/>
                  </a:lnTo>
                  <a:lnTo>
                    <a:pt x="630" y="354"/>
                  </a:lnTo>
                  <a:lnTo>
                    <a:pt x="630" y="348"/>
                  </a:lnTo>
                  <a:lnTo>
                    <a:pt x="630" y="342"/>
                  </a:lnTo>
                  <a:lnTo>
                    <a:pt x="636" y="342"/>
                  </a:lnTo>
                  <a:lnTo>
                    <a:pt x="642" y="336"/>
                  </a:lnTo>
                  <a:lnTo>
                    <a:pt x="636" y="330"/>
                  </a:lnTo>
                  <a:lnTo>
                    <a:pt x="630" y="336"/>
                  </a:lnTo>
                  <a:lnTo>
                    <a:pt x="624" y="336"/>
                  </a:lnTo>
                  <a:lnTo>
                    <a:pt x="624" y="330"/>
                  </a:lnTo>
                  <a:lnTo>
                    <a:pt x="624" y="324"/>
                  </a:lnTo>
                  <a:lnTo>
                    <a:pt x="618" y="324"/>
                  </a:lnTo>
                  <a:lnTo>
                    <a:pt x="624" y="324"/>
                  </a:lnTo>
                  <a:lnTo>
                    <a:pt x="630" y="330"/>
                  </a:lnTo>
                  <a:lnTo>
                    <a:pt x="630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2" y="306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8" y="288"/>
                  </a:lnTo>
                  <a:lnTo>
                    <a:pt x="648" y="282"/>
                  </a:lnTo>
                  <a:lnTo>
                    <a:pt x="654" y="288"/>
                  </a:lnTo>
                  <a:lnTo>
                    <a:pt x="654" y="282"/>
                  </a:lnTo>
                  <a:lnTo>
                    <a:pt x="660" y="282"/>
                  </a:lnTo>
                  <a:lnTo>
                    <a:pt x="666" y="282"/>
                  </a:lnTo>
                  <a:lnTo>
                    <a:pt x="672" y="282"/>
                  </a:lnTo>
                  <a:lnTo>
                    <a:pt x="678" y="282"/>
                  </a:lnTo>
                  <a:lnTo>
                    <a:pt x="684" y="276"/>
                  </a:lnTo>
                  <a:lnTo>
                    <a:pt x="690" y="270"/>
                  </a:lnTo>
                  <a:lnTo>
                    <a:pt x="690" y="264"/>
                  </a:lnTo>
                  <a:lnTo>
                    <a:pt x="690" y="270"/>
                  </a:lnTo>
                  <a:lnTo>
                    <a:pt x="690" y="276"/>
                  </a:lnTo>
                  <a:lnTo>
                    <a:pt x="696" y="276"/>
                  </a:lnTo>
                  <a:lnTo>
                    <a:pt x="702" y="276"/>
                  </a:lnTo>
                  <a:lnTo>
                    <a:pt x="702" y="282"/>
                  </a:lnTo>
                  <a:lnTo>
                    <a:pt x="708" y="282"/>
                  </a:lnTo>
                  <a:lnTo>
                    <a:pt x="720" y="270"/>
                  </a:lnTo>
                  <a:lnTo>
                    <a:pt x="720" y="264"/>
                  </a:lnTo>
                  <a:lnTo>
                    <a:pt x="720" y="258"/>
                  </a:lnTo>
                  <a:lnTo>
                    <a:pt x="726" y="258"/>
                  </a:lnTo>
                  <a:lnTo>
                    <a:pt x="732" y="258"/>
                  </a:lnTo>
                  <a:lnTo>
                    <a:pt x="732" y="264"/>
                  </a:lnTo>
                  <a:lnTo>
                    <a:pt x="738" y="264"/>
                  </a:lnTo>
                  <a:lnTo>
                    <a:pt x="738" y="258"/>
                  </a:lnTo>
                  <a:lnTo>
                    <a:pt x="732" y="258"/>
                  </a:lnTo>
                  <a:lnTo>
                    <a:pt x="732" y="252"/>
                  </a:lnTo>
                  <a:lnTo>
                    <a:pt x="744" y="252"/>
                  </a:lnTo>
                  <a:lnTo>
                    <a:pt x="750" y="252"/>
                  </a:lnTo>
                  <a:lnTo>
                    <a:pt x="750" y="246"/>
                  </a:lnTo>
                  <a:lnTo>
                    <a:pt x="750" y="240"/>
                  </a:lnTo>
                  <a:lnTo>
                    <a:pt x="762" y="234"/>
                  </a:lnTo>
                  <a:lnTo>
                    <a:pt x="768" y="234"/>
                  </a:lnTo>
                  <a:lnTo>
                    <a:pt x="774" y="234"/>
                  </a:lnTo>
                  <a:lnTo>
                    <a:pt x="780" y="228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16"/>
                  </a:lnTo>
                  <a:lnTo>
                    <a:pt x="792" y="210"/>
                  </a:lnTo>
                  <a:lnTo>
                    <a:pt x="804" y="204"/>
                  </a:lnTo>
                  <a:lnTo>
                    <a:pt x="804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0" y="192"/>
                  </a:lnTo>
                  <a:lnTo>
                    <a:pt x="798" y="186"/>
                  </a:lnTo>
                  <a:lnTo>
                    <a:pt x="810" y="186"/>
                  </a:lnTo>
                  <a:lnTo>
                    <a:pt x="810" y="180"/>
                  </a:lnTo>
                  <a:lnTo>
                    <a:pt x="810" y="186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0" y="180"/>
                  </a:lnTo>
                  <a:lnTo>
                    <a:pt x="816" y="174"/>
                  </a:lnTo>
                  <a:lnTo>
                    <a:pt x="822" y="174"/>
                  </a:lnTo>
                  <a:lnTo>
                    <a:pt x="822" y="180"/>
                  </a:lnTo>
                  <a:lnTo>
                    <a:pt x="828" y="180"/>
                  </a:lnTo>
                  <a:lnTo>
                    <a:pt x="828" y="174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62"/>
                  </a:lnTo>
                  <a:lnTo>
                    <a:pt x="828" y="156"/>
                  </a:lnTo>
                  <a:lnTo>
                    <a:pt x="822" y="156"/>
                  </a:lnTo>
                  <a:lnTo>
                    <a:pt x="828" y="156"/>
                  </a:lnTo>
                  <a:lnTo>
                    <a:pt x="828" y="150"/>
                  </a:lnTo>
                  <a:lnTo>
                    <a:pt x="834" y="150"/>
                  </a:lnTo>
                  <a:lnTo>
                    <a:pt x="840" y="156"/>
                  </a:lnTo>
                  <a:lnTo>
                    <a:pt x="840" y="150"/>
                  </a:lnTo>
                  <a:lnTo>
                    <a:pt x="834" y="150"/>
                  </a:lnTo>
                  <a:lnTo>
                    <a:pt x="834" y="144"/>
                  </a:lnTo>
                  <a:lnTo>
                    <a:pt x="840" y="138"/>
                  </a:lnTo>
                  <a:lnTo>
                    <a:pt x="846" y="144"/>
                  </a:lnTo>
                  <a:lnTo>
                    <a:pt x="846" y="150"/>
                  </a:lnTo>
                  <a:lnTo>
                    <a:pt x="852" y="150"/>
                  </a:lnTo>
                  <a:lnTo>
                    <a:pt x="858" y="150"/>
                  </a:lnTo>
                  <a:lnTo>
                    <a:pt x="870" y="150"/>
                  </a:lnTo>
                  <a:lnTo>
                    <a:pt x="870" y="144"/>
                  </a:lnTo>
                  <a:lnTo>
                    <a:pt x="876" y="138"/>
                  </a:lnTo>
                  <a:lnTo>
                    <a:pt x="882" y="138"/>
                  </a:lnTo>
                  <a:lnTo>
                    <a:pt x="888" y="132"/>
                  </a:lnTo>
                  <a:lnTo>
                    <a:pt x="888" y="138"/>
                  </a:lnTo>
                  <a:lnTo>
                    <a:pt x="894" y="138"/>
                  </a:lnTo>
                  <a:lnTo>
                    <a:pt x="894" y="132"/>
                  </a:lnTo>
                  <a:lnTo>
                    <a:pt x="900" y="126"/>
                  </a:lnTo>
                  <a:lnTo>
                    <a:pt x="900" y="132"/>
                  </a:lnTo>
                  <a:lnTo>
                    <a:pt x="906" y="132"/>
                  </a:lnTo>
                  <a:lnTo>
                    <a:pt x="912" y="132"/>
                  </a:lnTo>
                  <a:lnTo>
                    <a:pt x="918" y="126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24" y="126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8" y="120"/>
                  </a:lnTo>
                  <a:lnTo>
                    <a:pt x="948" y="114"/>
                  </a:lnTo>
                  <a:lnTo>
                    <a:pt x="948" y="108"/>
                  </a:lnTo>
                  <a:lnTo>
                    <a:pt x="954" y="114"/>
                  </a:lnTo>
                  <a:lnTo>
                    <a:pt x="960" y="108"/>
                  </a:lnTo>
                  <a:lnTo>
                    <a:pt x="966" y="108"/>
                  </a:lnTo>
                  <a:lnTo>
                    <a:pt x="972" y="108"/>
                  </a:lnTo>
                  <a:lnTo>
                    <a:pt x="966" y="114"/>
                  </a:lnTo>
                  <a:lnTo>
                    <a:pt x="960" y="114"/>
                  </a:lnTo>
                  <a:lnTo>
                    <a:pt x="960" y="120"/>
                  </a:lnTo>
                  <a:lnTo>
                    <a:pt x="966" y="126"/>
                  </a:lnTo>
                  <a:lnTo>
                    <a:pt x="972" y="126"/>
                  </a:lnTo>
                  <a:lnTo>
                    <a:pt x="978" y="126"/>
                  </a:lnTo>
                  <a:lnTo>
                    <a:pt x="984" y="120"/>
                  </a:lnTo>
                  <a:lnTo>
                    <a:pt x="984" y="114"/>
                  </a:lnTo>
                  <a:lnTo>
                    <a:pt x="996" y="126"/>
                  </a:lnTo>
                  <a:lnTo>
                    <a:pt x="996" y="120"/>
                  </a:lnTo>
                  <a:lnTo>
                    <a:pt x="1002" y="120"/>
                  </a:lnTo>
                  <a:lnTo>
                    <a:pt x="996" y="114"/>
                  </a:lnTo>
                  <a:lnTo>
                    <a:pt x="1002" y="114"/>
                  </a:lnTo>
                  <a:lnTo>
                    <a:pt x="1008" y="114"/>
                  </a:lnTo>
                  <a:lnTo>
                    <a:pt x="1008" y="108"/>
                  </a:lnTo>
                  <a:lnTo>
                    <a:pt x="1014" y="108"/>
                  </a:lnTo>
                  <a:lnTo>
                    <a:pt x="1008" y="114"/>
                  </a:lnTo>
                  <a:lnTo>
                    <a:pt x="1008" y="120"/>
                  </a:lnTo>
                  <a:lnTo>
                    <a:pt x="1008" y="126"/>
                  </a:lnTo>
                  <a:lnTo>
                    <a:pt x="1014" y="126"/>
                  </a:lnTo>
                  <a:lnTo>
                    <a:pt x="1014" y="132"/>
                  </a:lnTo>
                  <a:lnTo>
                    <a:pt x="1020" y="132"/>
                  </a:lnTo>
                  <a:lnTo>
                    <a:pt x="1020" y="126"/>
                  </a:lnTo>
                  <a:lnTo>
                    <a:pt x="1020" y="120"/>
                  </a:lnTo>
                  <a:lnTo>
                    <a:pt x="1032" y="120"/>
                  </a:lnTo>
                  <a:lnTo>
                    <a:pt x="1038" y="120"/>
                  </a:lnTo>
                  <a:lnTo>
                    <a:pt x="1038" y="126"/>
                  </a:lnTo>
                  <a:lnTo>
                    <a:pt x="1044" y="132"/>
                  </a:lnTo>
                  <a:lnTo>
                    <a:pt x="1044" y="126"/>
                  </a:lnTo>
                  <a:lnTo>
                    <a:pt x="1050" y="120"/>
                  </a:lnTo>
                  <a:lnTo>
                    <a:pt x="1050" y="114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68" y="102"/>
                  </a:lnTo>
                  <a:lnTo>
                    <a:pt x="1074" y="96"/>
                  </a:lnTo>
                  <a:lnTo>
                    <a:pt x="1074" y="90"/>
                  </a:lnTo>
                  <a:lnTo>
                    <a:pt x="1068" y="90"/>
                  </a:lnTo>
                  <a:lnTo>
                    <a:pt x="1068" y="84"/>
                  </a:lnTo>
                  <a:lnTo>
                    <a:pt x="1080" y="84"/>
                  </a:lnTo>
                  <a:lnTo>
                    <a:pt x="1086" y="78"/>
                  </a:lnTo>
                  <a:lnTo>
                    <a:pt x="1086" y="72"/>
                  </a:lnTo>
                  <a:lnTo>
                    <a:pt x="1080" y="78"/>
                  </a:lnTo>
                  <a:lnTo>
                    <a:pt x="1080" y="72"/>
                  </a:lnTo>
                  <a:lnTo>
                    <a:pt x="1080" y="66"/>
                  </a:lnTo>
                  <a:lnTo>
                    <a:pt x="1074" y="66"/>
                  </a:lnTo>
                  <a:lnTo>
                    <a:pt x="1080" y="66"/>
                  </a:lnTo>
                  <a:lnTo>
                    <a:pt x="1080" y="60"/>
                  </a:lnTo>
                  <a:lnTo>
                    <a:pt x="1086" y="60"/>
                  </a:lnTo>
                  <a:lnTo>
                    <a:pt x="1086" y="54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2" y="42"/>
                  </a:lnTo>
                  <a:lnTo>
                    <a:pt x="1098" y="42"/>
                  </a:lnTo>
                  <a:lnTo>
                    <a:pt x="1104" y="36"/>
                  </a:lnTo>
                  <a:lnTo>
                    <a:pt x="1110" y="36"/>
                  </a:lnTo>
                  <a:lnTo>
                    <a:pt x="1110" y="30"/>
                  </a:lnTo>
                  <a:lnTo>
                    <a:pt x="1110" y="24"/>
                  </a:lnTo>
                  <a:lnTo>
                    <a:pt x="1116" y="24"/>
                  </a:lnTo>
                  <a:lnTo>
                    <a:pt x="1116" y="18"/>
                  </a:lnTo>
                  <a:lnTo>
                    <a:pt x="1122" y="18"/>
                  </a:lnTo>
                  <a:lnTo>
                    <a:pt x="1128" y="18"/>
                  </a:lnTo>
                  <a:lnTo>
                    <a:pt x="1134" y="12"/>
                  </a:lnTo>
                  <a:lnTo>
                    <a:pt x="1134" y="6"/>
                  </a:lnTo>
                  <a:lnTo>
                    <a:pt x="1140" y="6"/>
                  </a:lnTo>
                  <a:lnTo>
                    <a:pt x="1146" y="0"/>
                  </a:lnTo>
                  <a:lnTo>
                    <a:pt x="1152" y="0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70" y="0"/>
                  </a:lnTo>
                  <a:lnTo>
                    <a:pt x="1176" y="6"/>
                  </a:lnTo>
                  <a:lnTo>
                    <a:pt x="1182" y="6"/>
                  </a:lnTo>
                  <a:lnTo>
                    <a:pt x="1194" y="6"/>
                  </a:lnTo>
                  <a:lnTo>
                    <a:pt x="1200" y="6"/>
                  </a:lnTo>
                  <a:lnTo>
                    <a:pt x="1212" y="0"/>
                  </a:lnTo>
                  <a:lnTo>
                    <a:pt x="1212" y="6"/>
                  </a:lnTo>
                  <a:lnTo>
                    <a:pt x="1218" y="6"/>
                  </a:lnTo>
                  <a:lnTo>
                    <a:pt x="1266" y="6"/>
                  </a:lnTo>
                  <a:lnTo>
                    <a:pt x="1272" y="0"/>
                  </a:lnTo>
                  <a:lnTo>
                    <a:pt x="1278" y="6"/>
                  </a:lnTo>
                  <a:lnTo>
                    <a:pt x="1290" y="6"/>
                  </a:lnTo>
                  <a:lnTo>
                    <a:pt x="1296" y="6"/>
                  </a:lnTo>
                  <a:lnTo>
                    <a:pt x="1308" y="6"/>
                  </a:lnTo>
                  <a:lnTo>
                    <a:pt x="1314" y="6"/>
                  </a:lnTo>
                  <a:lnTo>
                    <a:pt x="1320" y="6"/>
                  </a:lnTo>
                  <a:lnTo>
                    <a:pt x="1326" y="12"/>
                  </a:lnTo>
                  <a:lnTo>
                    <a:pt x="1338" y="30"/>
                  </a:lnTo>
                  <a:lnTo>
                    <a:pt x="1344" y="36"/>
                  </a:lnTo>
                  <a:lnTo>
                    <a:pt x="1356" y="48"/>
                  </a:lnTo>
                  <a:lnTo>
                    <a:pt x="1362" y="60"/>
                  </a:lnTo>
                  <a:lnTo>
                    <a:pt x="1368" y="66"/>
                  </a:lnTo>
                  <a:lnTo>
                    <a:pt x="1374" y="72"/>
                  </a:lnTo>
                  <a:lnTo>
                    <a:pt x="1374" y="78"/>
                  </a:lnTo>
                  <a:lnTo>
                    <a:pt x="1398" y="108"/>
                  </a:lnTo>
                  <a:lnTo>
                    <a:pt x="1398" y="114"/>
                  </a:lnTo>
                  <a:lnTo>
                    <a:pt x="1404" y="114"/>
                  </a:lnTo>
                  <a:lnTo>
                    <a:pt x="1404" y="120"/>
                  </a:lnTo>
                  <a:lnTo>
                    <a:pt x="1410" y="132"/>
                  </a:lnTo>
                  <a:lnTo>
                    <a:pt x="1416" y="132"/>
                  </a:lnTo>
                  <a:lnTo>
                    <a:pt x="1416" y="138"/>
                  </a:lnTo>
                  <a:lnTo>
                    <a:pt x="1422" y="144"/>
                  </a:lnTo>
                  <a:lnTo>
                    <a:pt x="1428" y="150"/>
                  </a:lnTo>
                  <a:lnTo>
                    <a:pt x="1428" y="156"/>
                  </a:lnTo>
                  <a:lnTo>
                    <a:pt x="1458" y="192"/>
                  </a:lnTo>
                  <a:lnTo>
                    <a:pt x="1458" y="198"/>
                  </a:lnTo>
                  <a:lnTo>
                    <a:pt x="1464" y="204"/>
                  </a:lnTo>
                  <a:lnTo>
                    <a:pt x="1470" y="210"/>
                  </a:lnTo>
                  <a:lnTo>
                    <a:pt x="1476" y="216"/>
                  </a:lnTo>
                  <a:lnTo>
                    <a:pt x="1482" y="228"/>
                  </a:lnTo>
                  <a:lnTo>
                    <a:pt x="1488" y="234"/>
                  </a:lnTo>
                  <a:lnTo>
                    <a:pt x="1512" y="270"/>
                  </a:lnTo>
                  <a:lnTo>
                    <a:pt x="1512" y="276"/>
                  </a:lnTo>
                  <a:lnTo>
                    <a:pt x="1530" y="300"/>
                  </a:lnTo>
                  <a:lnTo>
                    <a:pt x="1536" y="306"/>
                  </a:lnTo>
                  <a:lnTo>
                    <a:pt x="1542" y="312"/>
                  </a:lnTo>
                  <a:lnTo>
                    <a:pt x="1542" y="318"/>
                  </a:lnTo>
                  <a:lnTo>
                    <a:pt x="1560" y="336"/>
                  </a:lnTo>
                  <a:lnTo>
                    <a:pt x="1566" y="348"/>
                  </a:lnTo>
                  <a:lnTo>
                    <a:pt x="1572" y="354"/>
                  </a:lnTo>
                  <a:lnTo>
                    <a:pt x="1578" y="360"/>
                  </a:lnTo>
                  <a:lnTo>
                    <a:pt x="1584" y="378"/>
                  </a:lnTo>
                  <a:lnTo>
                    <a:pt x="1590" y="378"/>
                  </a:lnTo>
                  <a:lnTo>
                    <a:pt x="1596" y="390"/>
                  </a:lnTo>
                  <a:lnTo>
                    <a:pt x="1602" y="396"/>
                  </a:lnTo>
                  <a:lnTo>
                    <a:pt x="1608" y="408"/>
                  </a:lnTo>
                  <a:lnTo>
                    <a:pt x="1614" y="408"/>
                  </a:lnTo>
                  <a:lnTo>
                    <a:pt x="1614" y="432"/>
                  </a:lnTo>
                  <a:lnTo>
                    <a:pt x="1620" y="438"/>
                  </a:lnTo>
                  <a:lnTo>
                    <a:pt x="1620" y="450"/>
                  </a:lnTo>
                  <a:lnTo>
                    <a:pt x="1620" y="462"/>
                  </a:lnTo>
                  <a:lnTo>
                    <a:pt x="1626" y="474"/>
                  </a:lnTo>
                  <a:lnTo>
                    <a:pt x="1626" y="480"/>
                  </a:lnTo>
                  <a:lnTo>
                    <a:pt x="1626" y="486"/>
                  </a:lnTo>
                  <a:lnTo>
                    <a:pt x="1632" y="522"/>
                  </a:lnTo>
                  <a:lnTo>
                    <a:pt x="1632" y="528"/>
                  </a:lnTo>
                  <a:lnTo>
                    <a:pt x="1632" y="534"/>
                  </a:lnTo>
                  <a:lnTo>
                    <a:pt x="1638" y="540"/>
                  </a:lnTo>
                  <a:lnTo>
                    <a:pt x="1638" y="558"/>
                  </a:lnTo>
                  <a:lnTo>
                    <a:pt x="1638" y="570"/>
                  </a:lnTo>
                  <a:lnTo>
                    <a:pt x="1644" y="582"/>
                  </a:lnTo>
                  <a:lnTo>
                    <a:pt x="1650" y="618"/>
                  </a:lnTo>
                  <a:lnTo>
                    <a:pt x="1650" y="624"/>
                  </a:lnTo>
                  <a:lnTo>
                    <a:pt x="1650" y="636"/>
                  </a:lnTo>
                  <a:lnTo>
                    <a:pt x="1656" y="642"/>
                  </a:lnTo>
                  <a:lnTo>
                    <a:pt x="1656" y="648"/>
                  </a:lnTo>
                  <a:lnTo>
                    <a:pt x="1656" y="654"/>
                  </a:lnTo>
                  <a:lnTo>
                    <a:pt x="1656" y="660"/>
                  </a:lnTo>
                  <a:lnTo>
                    <a:pt x="1662" y="696"/>
                  </a:lnTo>
                  <a:lnTo>
                    <a:pt x="1668" y="708"/>
                  </a:lnTo>
                  <a:lnTo>
                    <a:pt x="1668" y="714"/>
                  </a:lnTo>
                  <a:lnTo>
                    <a:pt x="1668" y="732"/>
                  </a:lnTo>
                  <a:lnTo>
                    <a:pt x="1668" y="744"/>
                  </a:lnTo>
                  <a:lnTo>
                    <a:pt x="1674" y="756"/>
                  </a:lnTo>
                  <a:lnTo>
                    <a:pt x="1680" y="762"/>
                  </a:lnTo>
                  <a:lnTo>
                    <a:pt x="1680" y="768"/>
                  </a:lnTo>
                  <a:lnTo>
                    <a:pt x="1680" y="774"/>
                  </a:lnTo>
                  <a:lnTo>
                    <a:pt x="1680" y="780"/>
                  </a:lnTo>
                  <a:lnTo>
                    <a:pt x="1674" y="786"/>
                  </a:lnTo>
                  <a:lnTo>
                    <a:pt x="1668" y="792"/>
                  </a:lnTo>
                  <a:lnTo>
                    <a:pt x="1668" y="798"/>
                  </a:lnTo>
                  <a:lnTo>
                    <a:pt x="1668" y="804"/>
                  </a:lnTo>
                  <a:lnTo>
                    <a:pt x="1674" y="804"/>
                  </a:lnTo>
                  <a:lnTo>
                    <a:pt x="1668" y="810"/>
                  </a:lnTo>
                  <a:lnTo>
                    <a:pt x="1674" y="810"/>
                  </a:lnTo>
                  <a:lnTo>
                    <a:pt x="1680" y="810"/>
                  </a:lnTo>
                  <a:lnTo>
                    <a:pt x="1680" y="816"/>
                  </a:lnTo>
                  <a:lnTo>
                    <a:pt x="1680" y="822"/>
                  </a:lnTo>
                  <a:lnTo>
                    <a:pt x="1674" y="822"/>
                  </a:lnTo>
                  <a:lnTo>
                    <a:pt x="1674" y="828"/>
                  </a:lnTo>
                  <a:lnTo>
                    <a:pt x="1668" y="828"/>
                  </a:lnTo>
                  <a:lnTo>
                    <a:pt x="1674" y="834"/>
                  </a:lnTo>
                  <a:lnTo>
                    <a:pt x="1668" y="834"/>
                  </a:lnTo>
                  <a:lnTo>
                    <a:pt x="1668" y="840"/>
                  </a:lnTo>
                  <a:lnTo>
                    <a:pt x="1674" y="840"/>
                  </a:lnTo>
                  <a:lnTo>
                    <a:pt x="1686" y="852"/>
                  </a:lnTo>
                  <a:lnTo>
                    <a:pt x="1692" y="858"/>
                  </a:lnTo>
                  <a:lnTo>
                    <a:pt x="1698" y="858"/>
                  </a:lnTo>
                  <a:lnTo>
                    <a:pt x="1698" y="864"/>
                  </a:lnTo>
                  <a:lnTo>
                    <a:pt x="1698" y="870"/>
                  </a:lnTo>
                  <a:lnTo>
                    <a:pt x="1704" y="864"/>
                  </a:lnTo>
                  <a:lnTo>
                    <a:pt x="1716" y="864"/>
                  </a:lnTo>
                  <a:lnTo>
                    <a:pt x="1722" y="864"/>
                  </a:lnTo>
                  <a:lnTo>
                    <a:pt x="1728" y="864"/>
                  </a:lnTo>
                  <a:lnTo>
                    <a:pt x="1734" y="864"/>
                  </a:lnTo>
                  <a:lnTo>
                    <a:pt x="1740" y="864"/>
                  </a:lnTo>
                  <a:lnTo>
                    <a:pt x="1746" y="876"/>
                  </a:lnTo>
                  <a:lnTo>
                    <a:pt x="1746" y="870"/>
                  </a:lnTo>
                  <a:lnTo>
                    <a:pt x="1740" y="864"/>
                  </a:lnTo>
                  <a:lnTo>
                    <a:pt x="1746" y="864"/>
                  </a:lnTo>
                  <a:lnTo>
                    <a:pt x="1752" y="870"/>
                  </a:lnTo>
                  <a:lnTo>
                    <a:pt x="1758" y="864"/>
                  </a:lnTo>
                  <a:lnTo>
                    <a:pt x="1764" y="864"/>
                  </a:lnTo>
                  <a:lnTo>
                    <a:pt x="1770" y="858"/>
                  </a:lnTo>
                  <a:lnTo>
                    <a:pt x="1782" y="864"/>
                  </a:lnTo>
                  <a:lnTo>
                    <a:pt x="1782" y="870"/>
                  </a:lnTo>
                  <a:lnTo>
                    <a:pt x="1788" y="864"/>
                  </a:lnTo>
                  <a:lnTo>
                    <a:pt x="1794" y="864"/>
                  </a:lnTo>
                  <a:lnTo>
                    <a:pt x="1800" y="870"/>
                  </a:lnTo>
                  <a:lnTo>
                    <a:pt x="1818" y="864"/>
                  </a:lnTo>
                  <a:lnTo>
                    <a:pt x="1824" y="870"/>
                  </a:lnTo>
                  <a:lnTo>
                    <a:pt x="1830" y="864"/>
                  </a:lnTo>
                  <a:lnTo>
                    <a:pt x="1836" y="864"/>
                  </a:lnTo>
                  <a:lnTo>
                    <a:pt x="1842" y="870"/>
                  </a:lnTo>
                  <a:lnTo>
                    <a:pt x="1842" y="876"/>
                  </a:lnTo>
                  <a:lnTo>
                    <a:pt x="1848" y="876"/>
                  </a:lnTo>
                  <a:lnTo>
                    <a:pt x="1848" y="870"/>
                  </a:lnTo>
                  <a:lnTo>
                    <a:pt x="1854" y="870"/>
                  </a:lnTo>
                  <a:lnTo>
                    <a:pt x="1860" y="870"/>
                  </a:lnTo>
                  <a:lnTo>
                    <a:pt x="1860" y="876"/>
                  </a:lnTo>
                  <a:lnTo>
                    <a:pt x="1866" y="876"/>
                  </a:lnTo>
                  <a:lnTo>
                    <a:pt x="1866" y="882"/>
                  </a:lnTo>
                  <a:lnTo>
                    <a:pt x="1872" y="882"/>
                  </a:lnTo>
                  <a:lnTo>
                    <a:pt x="1878" y="888"/>
                  </a:lnTo>
                  <a:lnTo>
                    <a:pt x="1890" y="888"/>
                  </a:lnTo>
                  <a:lnTo>
                    <a:pt x="1890" y="894"/>
                  </a:lnTo>
                  <a:lnTo>
                    <a:pt x="1890" y="900"/>
                  </a:lnTo>
                  <a:lnTo>
                    <a:pt x="1884" y="900"/>
                  </a:lnTo>
                  <a:lnTo>
                    <a:pt x="1884" y="906"/>
                  </a:lnTo>
                  <a:lnTo>
                    <a:pt x="1884" y="912"/>
                  </a:lnTo>
                  <a:lnTo>
                    <a:pt x="1890" y="912"/>
                  </a:lnTo>
                  <a:lnTo>
                    <a:pt x="1896" y="912"/>
                  </a:lnTo>
                  <a:lnTo>
                    <a:pt x="1902" y="912"/>
                  </a:lnTo>
                  <a:lnTo>
                    <a:pt x="1908" y="918"/>
                  </a:lnTo>
                  <a:lnTo>
                    <a:pt x="1908" y="924"/>
                  </a:lnTo>
                  <a:lnTo>
                    <a:pt x="1908" y="930"/>
                  </a:lnTo>
                  <a:lnTo>
                    <a:pt x="1908" y="936"/>
                  </a:lnTo>
                  <a:lnTo>
                    <a:pt x="1914" y="936"/>
                  </a:lnTo>
                  <a:lnTo>
                    <a:pt x="1914" y="942"/>
                  </a:lnTo>
                  <a:lnTo>
                    <a:pt x="1908" y="948"/>
                  </a:lnTo>
                  <a:lnTo>
                    <a:pt x="1914" y="948"/>
                  </a:lnTo>
                  <a:lnTo>
                    <a:pt x="1920" y="954"/>
                  </a:lnTo>
                  <a:lnTo>
                    <a:pt x="1926" y="954"/>
                  </a:lnTo>
                  <a:lnTo>
                    <a:pt x="1932" y="954"/>
                  </a:lnTo>
                  <a:lnTo>
                    <a:pt x="1938" y="954"/>
                  </a:lnTo>
                  <a:lnTo>
                    <a:pt x="1938" y="960"/>
                  </a:lnTo>
                  <a:lnTo>
                    <a:pt x="1944" y="966"/>
                  </a:lnTo>
                  <a:lnTo>
                    <a:pt x="1944" y="972"/>
                  </a:lnTo>
                  <a:lnTo>
                    <a:pt x="1944" y="978"/>
                  </a:lnTo>
                  <a:lnTo>
                    <a:pt x="1950" y="978"/>
                  </a:lnTo>
                  <a:lnTo>
                    <a:pt x="1950" y="984"/>
                  </a:lnTo>
                  <a:lnTo>
                    <a:pt x="1956" y="984"/>
                  </a:lnTo>
                  <a:lnTo>
                    <a:pt x="1962" y="984"/>
                  </a:lnTo>
                  <a:lnTo>
                    <a:pt x="1962" y="978"/>
                  </a:lnTo>
                  <a:lnTo>
                    <a:pt x="1968" y="978"/>
                  </a:lnTo>
                  <a:lnTo>
                    <a:pt x="1974" y="978"/>
                  </a:lnTo>
                  <a:lnTo>
                    <a:pt x="1980" y="972"/>
                  </a:lnTo>
                  <a:lnTo>
                    <a:pt x="1980" y="978"/>
                  </a:lnTo>
                  <a:lnTo>
                    <a:pt x="1980" y="984"/>
                  </a:lnTo>
                  <a:lnTo>
                    <a:pt x="1986" y="984"/>
                  </a:lnTo>
                  <a:lnTo>
                    <a:pt x="1992" y="990"/>
                  </a:lnTo>
                  <a:lnTo>
                    <a:pt x="1992" y="996"/>
                  </a:lnTo>
                  <a:lnTo>
                    <a:pt x="1992" y="1002"/>
                  </a:lnTo>
                  <a:lnTo>
                    <a:pt x="1974" y="1008"/>
                  </a:lnTo>
                  <a:lnTo>
                    <a:pt x="1974" y="1014"/>
                  </a:lnTo>
                  <a:lnTo>
                    <a:pt x="1974" y="1020"/>
                  </a:lnTo>
                  <a:lnTo>
                    <a:pt x="1974" y="1026"/>
                  </a:lnTo>
                  <a:lnTo>
                    <a:pt x="1968" y="1038"/>
                  </a:lnTo>
                  <a:lnTo>
                    <a:pt x="1968" y="1044"/>
                  </a:lnTo>
                  <a:lnTo>
                    <a:pt x="1974" y="1056"/>
                  </a:lnTo>
                  <a:lnTo>
                    <a:pt x="1968" y="1062"/>
                  </a:lnTo>
                  <a:lnTo>
                    <a:pt x="1962" y="1062"/>
                  </a:lnTo>
                  <a:lnTo>
                    <a:pt x="1956" y="1068"/>
                  </a:lnTo>
                  <a:lnTo>
                    <a:pt x="1956" y="1074"/>
                  </a:lnTo>
                  <a:lnTo>
                    <a:pt x="1956" y="1080"/>
                  </a:lnTo>
                  <a:lnTo>
                    <a:pt x="1956" y="1086"/>
                  </a:lnTo>
                  <a:lnTo>
                    <a:pt x="1956" y="1092"/>
                  </a:lnTo>
                  <a:lnTo>
                    <a:pt x="1962" y="1092"/>
                  </a:lnTo>
                  <a:lnTo>
                    <a:pt x="1962" y="1104"/>
                  </a:lnTo>
                  <a:lnTo>
                    <a:pt x="1968" y="1110"/>
                  </a:lnTo>
                  <a:lnTo>
                    <a:pt x="1968" y="1116"/>
                  </a:lnTo>
                  <a:lnTo>
                    <a:pt x="1974" y="1116"/>
                  </a:lnTo>
                  <a:lnTo>
                    <a:pt x="1974" y="1122"/>
                  </a:lnTo>
                  <a:lnTo>
                    <a:pt x="1980" y="1122"/>
                  </a:lnTo>
                  <a:lnTo>
                    <a:pt x="1974" y="1128"/>
                  </a:lnTo>
                  <a:lnTo>
                    <a:pt x="1968" y="1134"/>
                  </a:lnTo>
                  <a:lnTo>
                    <a:pt x="1962" y="1140"/>
                  </a:lnTo>
                  <a:lnTo>
                    <a:pt x="1962" y="1146"/>
                  </a:lnTo>
                  <a:lnTo>
                    <a:pt x="1968" y="1152"/>
                  </a:lnTo>
                  <a:lnTo>
                    <a:pt x="1968" y="1158"/>
                  </a:lnTo>
                  <a:lnTo>
                    <a:pt x="1962" y="1158"/>
                  </a:lnTo>
                  <a:lnTo>
                    <a:pt x="1962" y="1164"/>
                  </a:lnTo>
                  <a:lnTo>
                    <a:pt x="1956" y="1164"/>
                  </a:lnTo>
                  <a:lnTo>
                    <a:pt x="1956" y="1170"/>
                  </a:lnTo>
                  <a:lnTo>
                    <a:pt x="1944" y="1182"/>
                  </a:lnTo>
                  <a:lnTo>
                    <a:pt x="1944" y="1188"/>
                  </a:lnTo>
                  <a:lnTo>
                    <a:pt x="1950" y="1188"/>
                  </a:lnTo>
                  <a:lnTo>
                    <a:pt x="1944" y="1200"/>
                  </a:lnTo>
                  <a:lnTo>
                    <a:pt x="1944" y="1206"/>
                  </a:lnTo>
                  <a:lnTo>
                    <a:pt x="1944" y="1212"/>
                  </a:lnTo>
                  <a:lnTo>
                    <a:pt x="1944" y="1218"/>
                  </a:lnTo>
                  <a:lnTo>
                    <a:pt x="1944" y="1230"/>
                  </a:lnTo>
                  <a:lnTo>
                    <a:pt x="1944" y="1236"/>
                  </a:lnTo>
                  <a:lnTo>
                    <a:pt x="1944" y="1242"/>
                  </a:lnTo>
                  <a:lnTo>
                    <a:pt x="1938" y="1248"/>
                  </a:lnTo>
                  <a:lnTo>
                    <a:pt x="1938" y="1254"/>
                  </a:lnTo>
                  <a:lnTo>
                    <a:pt x="1932" y="1254"/>
                  </a:lnTo>
                  <a:lnTo>
                    <a:pt x="1926" y="1260"/>
                  </a:lnTo>
                  <a:lnTo>
                    <a:pt x="1920" y="1266"/>
                  </a:lnTo>
                  <a:lnTo>
                    <a:pt x="1914" y="1272"/>
                  </a:lnTo>
                  <a:lnTo>
                    <a:pt x="1908" y="1272"/>
                  </a:lnTo>
                  <a:lnTo>
                    <a:pt x="1908" y="1278"/>
                  </a:lnTo>
                  <a:lnTo>
                    <a:pt x="1914" y="1278"/>
                  </a:lnTo>
                  <a:lnTo>
                    <a:pt x="1914" y="1290"/>
                  </a:lnTo>
                  <a:lnTo>
                    <a:pt x="1920" y="1296"/>
                  </a:lnTo>
                  <a:lnTo>
                    <a:pt x="1938" y="1302"/>
                  </a:lnTo>
                  <a:lnTo>
                    <a:pt x="1944" y="1308"/>
                  </a:lnTo>
                  <a:lnTo>
                    <a:pt x="1950" y="1314"/>
                  </a:lnTo>
                  <a:lnTo>
                    <a:pt x="1956" y="1314"/>
                  </a:lnTo>
                  <a:lnTo>
                    <a:pt x="1962" y="1320"/>
                  </a:lnTo>
                  <a:lnTo>
                    <a:pt x="1962" y="1326"/>
                  </a:lnTo>
                  <a:lnTo>
                    <a:pt x="1968" y="1326"/>
                  </a:lnTo>
                  <a:lnTo>
                    <a:pt x="1968" y="1332"/>
                  </a:lnTo>
                  <a:lnTo>
                    <a:pt x="1968" y="1344"/>
                  </a:lnTo>
                  <a:lnTo>
                    <a:pt x="1968" y="1350"/>
                  </a:lnTo>
                  <a:lnTo>
                    <a:pt x="1968" y="1368"/>
                  </a:lnTo>
                  <a:lnTo>
                    <a:pt x="1962" y="1380"/>
                  </a:lnTo>
                  <a:lnTo>
                    <a:pt x="1968" y="1392"/>
                  </a:lnTo>
                  <a:lnTo>
                    <a:pt x="1962" y="1398"/>
                  </a:lnTo>
                  <a:lnTo>
                    <a:pt x="1956" y="1404"/>
                  </a:lnTo>
                  <a:lnTo>
                    <a:pt x="1950" y="1410"/>
                  </a:lnTo>
                  <a:lnTo>
                    <a:pt x="1944" y="1410"/>
                  </a:lnTo>
                  <a:lnTo>
                    <a:pt x="1932" y="1416"/>
                  </a:lnTo>
                  <a:lnTo>
                    <a:pt x="1926" y="1416"/>
                  </a:lnTo>
                  <a:lnTo>
                    <a:pt x="1896" y="1428"/>
                  </a:lnTo>
                  <a:lnTo>
                    <a:pt x="1884" y="1434"/>
                  </a:lnTo>
                  <a:lnTo>
                    <a:pt x="1878" y="1434"/>
                  </a:lnTo>
                  <a:lnTo>
                    <a:pt x="1866" y="1434"/>
                  </a:lnTo>
                  <a:lnTo>
                    <a:pt x="1854" y="1440"/>
                  </a:lnTo>
                  <a:lnTo>
                    <a:pt x="1848" y="1440"/>
                  </a:lnTo>
                  <a:lnTo>
                    <a:pt x="1842" y="1446"/>
                  </a:lnTo>
                  <a:lnTo>
                    <a:pt x="1842" y="1458"/>
                  </a:lnTo>
                  <a:lnTo>
                    <a:pt x="1836" y="1470"/>
                  </a:lnTo>
                  <a:lnTo>
                    <a:pt x="1830" y="1476"/>
                  </a:lnTo>
                  <a:lnTo>
                    <a:pt x="1824" y="1476"/>
                  </a:lnTo>
                  <a:lnTo>
                    <a:pt x="1806" y="1482"/>
                  </a:lnTo>
                  <a:lnTo>
                    <a:pt x="1800" y="1488"/>
                  </a:lnTo>
                  <a:lnTo>
                    <a:pt x="1794" y="1488"/>
                  </a:lnTo>
                  <a:lnTo>
                    <a:pt x="1788" y="1488"/>
                  </a:lnTo>
                  <a:lnTo>
                    <a:pt x="1776" y="1494"/>
                  </a:lnTo>
                  <a:lnTo>
                    <a:pt x="1764" y="1494"/>
                  </a:lnTo>
                  <a:lnTo>
                    <a:pt x="1758" y="1500"/>
                  </a:lnTo>
                  <a:lnTo>
                    <a:pt x="1746" y="1506"/>
                  </a:lnTo>
                  <a:lnTo>
                    <a:pt x="1728" y="1518"/>
                  </a:lnTo>
                  <a:lnTo>
                    <a:pt x="1716" y="1524"/>
                  </a:lnTo>
                  <a:lnTo>
                    <a:pt x="1710" y="1530"/>
                  </a:lnTo>
                  <a:lnTo>
                    <a:pt x="1704" y="1536"/>
                  </a:lnTo>
                  <a:lnTo>
                    <a:pt x="1698" y="1542"/>
                  </a:lnTo>
                  <a:lnTo>
                    <a:pt x="1692" y="1554"/>
                  </a:lnTo>
                  <a:lnTo>
                    <a:pt x="1686" y="1560"/>
                  </a:lnTo>
                  <a:lnTo>
                    <a:pt x="1680" y="1560"/>
                  </a:lnTo>
                  <a:lnTo>
                    <a:pt x="1674" y="1560"/>
                  </a:lnTo>
                  <a:lnTo>
                    <a:pt x="1656" y="1572"/>
                  </a:lnTo>
                  <a:lnTo>
                    <a:pt x="1650" y="1572"/>
                  </a:lnTo>
                  <a:lnTo>
                    <a:pt x="1644" y="1572"/>
                  </a:lnTo>
                  <a:lnTo>
                    <a:pt x="1638" y="1578"/>
                  </a:lnTo>
                  <a:lnTo>
                    <a:pt x="1632" y="1578"/>
                  </a:lnTo>
                  <a:lnTo>
                    <a:pt x="1626" y="1578"/>
                  </a:lnTo>
                  <a:lnTo>
                    <a:pt x="1620" y="1572"/>
                  </a:lnTo>
                  <a:lnTo>
                    <a:pt x="1614" y="1572"/>
                  </a:lnTo>
                  <a:lnTo>
                    <a:pt x="1608" y="1566"/>
                  </a:lnTo>
                  <a:lnTo>
                    <a:pt x="1602" y="1560"/>
                  </a:lnTo>
                  <a:lnTo>
                    <a:pt x="1596" y="1554"/>
                  </a:lnTo>
                  <a:lnTo>
                    <a:pt x="1590" y="1548"/>
                  </a:lnTo>
                  <a:lnTo>
                    <a:pt x="1578" y="1548"/>
                  </a:lnTo>
                  <a:lnTo>
                    <a:pt x="1572" y="1548"/>
                  </a:lnTo>
                  <a:lnTo>
                    <a:pt x="1566" y="1548"/>
                  </a:lnTo>
                  <a:lnTo>
                    <a:pt x="1554" y="1536"/>
                  </a:lnTo>
                  <a:lnTo>
                    <a:pt x="1548" y="1536"/>
                  </a:lnTo>
                  <a:lnTo>
                    <a:pt x="1542" y="1542"/>
                  </a:lnTo>
                  <a:lnTo>
                    <a:pt x="1536" y="1548"/>
                  </a:lnTo>
                  <a:lnTo>
                    <a:pt x="1536" y="1566"/>
                  </a:lnTo>
                  <a:lnTo>
                    <a:pt x="1530" y="1572"/>
                  </a:lnTo>
                  <a:lnTo>
                    <a:pt x="1524" y="1578"/>
                  </a:lnTo>
                  <a:lnTo>
                    <a:pt x="1518" y="1584"/>
                  </a:lnTo>
                  <a:lnTo>
                    <a:pt x="1512" y="1596"/>
                  </a:lnTo>
                  <a:lnTo>
                    <a:pt x="1506" y="1602"/>
                  </a:lnTo>
                  <a:lnTo>
                    <a:pt x="1506" y="1608"/>
                  </a:lnTo>
                  <a:lnTo>
                    <a:pt x="1506" y="1614"/>
                  </a:lnTo>
                  <a:lnTo>
                    <a:pt x="1500" y="1614"/>
                  </a:lnTo>
                  <a:lnTo>
                    <a:pt x="1500" y="1620"/>
                  </a:lnTo>
                  <a:lnTo>
                    <a:pt x="1500" y="1626"/>
                  </a:lnTo>
                  <a:lnTo>
                    <a:pt x="1494" y="1632"/>
                  </a:lnTo>
                  <a:lnTo>
                    <a:pt x="1488" y="1638"/>
                  </a:lnTo>
                  <a:lnTo>
                    <a:pt x="1482" y="1638"/>
                  </a:lnTo>
                  <a:lnTo>
                    <a:pt x="1482" y="1644"/>
                  </a:lnTo>
                  <a:lnTo>
                    <a:pt x="1482" y="1650"/>
                  </a:lnTo>
                  <a:lnTo>
                    <a:pt x="1482" y="1656"/>
                  </a:lnTo>
                  <a:lnTo>
                    <a:pt x="1476" y="1662"/>
                  </a:lnTo>
                  <a:lnTo>
                    <a:pt x="1470" y="1668"/>
                  </a:lnTo>
                  <a:lnTo>
                    <a:pt x="1464" y="1674"/>
                  </a:lnTo>
                  <a:lnTo>
                    <a:pt x="1464" y="1680"/>
                  </a:lnTo>
                  <a:lnTo>
                    <a:pt x="1458" y="1680"/>
                  </a:lnTo>
                  <a:lnTo>
                    <a:pt x="1452" y="1686"/>
                  </a:lnTo>
                  <a:lnTo>
                    <a:pt x="1446" y="1686"/>
                  </a:lnTo>
                  <a:lnTo>
                    <a:pt x="1440" y="1698"/>
                  </a:lnTo>
                  <a:lnTo>
                    <a:pt x="1440" y="1704"/>
                  </a:lnTo>
                  <a:lnTo>
                    <a:pt x="1434" y="1710"/>
                  </a:lnTo>
                  <a:lnTo>
                    <a:pt x="1434" y="1716"/>
                  </a:lnTo>
                  <a:lnTo>
                    <a:pt x="1428" y="1716"/>
                  </a:lnTo>
                  <a:lnTo>
                    <a:pt x="1428" y="1722"/>
                  </a:lnTo>
                  <a:lnTo>
                    <a:pt x="1428" y="1728"/>
                  </a:lnTo>
                  <a:lnTo>
                    <a:pt x="1422" y="1728"/>
                  </a:lnTo>
                  <a:lnTo>
                    <a:pt x="1422" y="1734"/>
                  </a:lnTo>
                  <a:lnTo>
                    <a:pt x="1416" y="1734"/>
                  </a:lnTo>
                  <a:lnTo>
                    <a:pt x="1410" y="1734"/>
                  </a:lnTo>
                  <a:lnTo>
                    <a:pt x="1392" y="1746"/>
                  </a:lnTo>
                  <a:lnTo>
                    <a:pt x="1386" y="1746"/>
                  </a:lnTo>
                  <a:lnTo>
                    <a:pt x="1368" y="1752"/>
                  </a:lnTo>
                  <a:lnTo>
                    <a:pt x="1362" y="1758"/>
                  </a:lnTo>
                  <a:lnTo>
                    <a:pt x="1362" y="1770"/>
                  </a:lnTo>
                  <a:lnTo>
                    <a:pt x="1356" y="178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</p:grpSp>
      <p:graphicFrame>
        <p:nvGraphicFramePr>
          <p:cNvPr id="357" name="Group 76">
            <a:extLst>
              <a:ext uri="{FF2B5EF4-FFF2-40B4-BE49-F238E27FC236}">
                <a16:creationId xmlns:a16="http://schemas.microsoft.com/office/drawing/2014/main" id="{57830D68-CF73-4A3E-9D36-141B03AADB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564706"/>
              </p:ext>
            </p:extLst>
          </p:nvPr>
        </p:nvGraphicFramePr>
        <p:xfrm>
          <a:off x="541338" y="3402013"/>
          <a:ext cx="3735387" cy="1827306"/>
        </p:xfrm>
        <a:graphic>
          <a:graphicData uri="http://schemas.openxmlformats.org/drawingml/2006/table">
            <a:tbl>
              <a:tblPr/>
              <a:tblGrid>
                <a:gridCol w="1316931">
                  <a:extLst>
                    <a:ext uri="{9D8B030D-6E8A-4147-A177-3AD203B41FA5}">
                      <a16:colId xmlns:a16="http://schemas.microsoft.com/office/drawing/2014/main" val="2027704273"/>
                    </a:ext>
                  </a:extLst>
                </a:gridCol>
                <a:gridCol w="603796">
                  <a:extLst>
                    <a:ext uri="{9D8B030D-6E8A-4147-A177-3AD203B41FA5}">
                      <a16:colId xmlns:a16="http://schemas.microsoft.com/office/drawing/2014/main" val="3432768286"/>
                    </a:ext>
                  </a:extLst>
                </a:gridCol>
                <a:gridCol w="744015">
                  <a:extLst>
                    <a:ext uri="{9D8B030D-6E8A-4147-A177-3AD203B41FA5}">
                      <a16:colId xmlns:a16="http://schemas.microsoft.com/office/drawing/2014/main" val="3730294207"/>
                    </a:ext>
                  </a:extLst>
                </a:gridCol>
                <a:gridCol w="1070645">
                  <a:extLst>
                    <a:ext uri="{9D8B030D-6E8A-4147-A177-3AD203B41FA5}">
                      <a16:colId xmlns:a16="http://schemas.microsoft.com/office/drawing/2014/main" val="2258321117"/>
                    </a:ext>
                  </a:extLst>
                </a:gridCol>
              </a:tblGrid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apital</a:t>
                      </a:r>
                      <a:endParaRPr kumimoji="0" lang="en-SG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292929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SG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Bauchi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703009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nd Are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49,119 km</a:t>
                      </a:r>
                      <a:r>
                        <a:rPr kumimoji="0" lang="en-US" altLang="en-US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4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603614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Population (2017E)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6,500,468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7 of 37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505851"/>
                  </a:ext>
                </a:extLst>
              </a:tr>
              <a:tr h="203024">
                <a:tc row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Dem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0-14: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3,115,703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48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130093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5-64: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3,203,723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49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387564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65+: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   181,042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[3%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38801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bour force 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,881,158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21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797882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limate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ropical savanna, hot semi-arid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3942226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op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Mountainous, sand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32899"/>
                  </a:ext>
                </a:extLst>
              </a:tr>
            </a:tbl>
          </a:graphicData>
        </a:graphic>
      </p:graphicFrame>
      <p:pic>
        <p:nvPicPr>
          <p:cNvPr id="23609" name="Picture 13">
            <a:extLst>
              <a:ext uri="{FF2B5EF4-FFF2-40B4-BE49-F238E27FC236}">
                <a16:creationId xmlns:a16="http://schemas.microsoft.com/office/drawing/2014/main" id="{952964D5-F0ED-4CAE-B71C-DB4A723FA5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0" y="3006725"/>
            <a:ext cx="1116013" cy="155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9" name="TextBox 378">
            <a:extLst>
              <a:ext uri="{FF2B5EF4-FFF2-40B4-BE49-F238E27FC236}">
                <a16:creationId xmlns:a16="http://schemas.microsoft.com/office/drawing/2014/main" id="{1B3FD4BF-4685-4C74-821F-10048D6246BF}"/>
              </a:ext>
            </a:extLst>
          </p:cNvPr>
          <p:cNvSpPr txBox="1"/>
          <p:nvPr/>
        </p:nvSpPr>
        <p:spPr>
          <a:xfrm>
            <a:off x="6132572" y="909638"/>
            <a:ext cx="3475038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mpetitive Advantages</a:t>
            </a: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455FE7A1-ADE5-4F7B-A489-00196671A53E}"/>
              </a:ext>
            </a:extLst>
          </p:cNvPr>
          <p:cNvSpPr/>
          <p:nvPr/>
        </p:nvSpPr>
        <p:spPr>
          <a:xfrm>
            <a:off x="4267248" y="1187511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4.4bn/$14.3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EBB25788-D073-4A78-9D6C-DF3836CFFFBB}"/>
              </a:ext>
            </a:extLst>
          </p:cNvPr>
          <p:cNvSpPr txBox="1"/>
          <p:nvPr/>
        </p:nvSpPr>
        <p:spPr>
          <a:xfrm>
            <a:off x="4267200" y="955675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GR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6F07DF39-553B-44F0-8864-1F897C2BD79A}"/>
              </a:ext>
            </a:extLst>
          </p:cNvPr>
          <p:cNvSpPr/>
          <p:nvPr/>
        </p:nvSpPr>
        <p:spPr>
          <a:xfrm>
            <a:off x="4267252" y="1809750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167.9bn/$550.5bn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2508695A-2D2C-45A3-80FE-9C2CB18200C2}"/>
              </a:ext>
            </a:extLst>
          </p:cNvPr>
          <p:cNvSpPr txBox="1"/>
          <p:nvPr/>
        </p:nvSpPr>
        <p:spPr>
          <a:xfrm>
            <a:off x="4267200" y="1576388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Budget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8)</a:t>
            </a: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86A33ABE-3AE3-40A7-A6A6-1B757A6A9B0F}"/>
              </a:ext>
            </a:extLst>
          </p:cNvPr>
          <p:cNvSpPr/>
          <p:nvPr/>
        </p:nvSpPr>
        <p:spPr>
          <a:xfrm>
            <a:off x="4256076" y="2667155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1.6tn /$5.2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1E919764-A18B-4532-A533-A84A31D7FEFE}"/>
              </a:ext>
            </a:extLst>
          </p:cNvPr>
          <p:cNvSpPr txBox="1"/>
          <p:nvPr/>
        </p:nvSpPr>
        <p:spPr>
          <a:xfrm>
            <a:off x="4256088" y="2185988"/>
            <a:ext cx="1811337" cy="50641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Household </a:t>
            </a:r>
          </a:p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nsumption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96" name="Plaque 95">
            <a:extLst>
              <a:ext uri="{FF2B5EF4-FFF2-40B4-BE49-F238E27FC236}">
                <a16:creationId xmlns:a16="http://schemas.microsoft.com/office/drawing/2014/main" id="{E3BE1182-17B4-4194-8641-F1EA2CCBB757}"/>
              </a:ext>
            </a:extLst>
          </p:cNvPr>
          <p:cNvSpPr/>
          <p:nvPr/>
        </p:nvSpPr>
        <p:spPr>
          <a:xfrm>
            <a:off x="5638800" y="2805162"/>
            <a:ext cx="428625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6 of 36</a:t>
            </a:r>
          </a:p>
        </p:txBody>
      </p:sp>
      <p:sp>
        <p:nvSpPr>
          <p:cNvPr id="99" name="Plaque 98">
            <a:extLst>
              <a:ext uri="{FF2B5EF4-FFF2-40B4-BE49-F238E27FC236}">
                <a16:creationId xmlns:a16="http://schemas.microsoft.com/office/drawing/2014/main" id="{8620E393-1C52-4CE1-9888-20922FA6DFEA}"/>
              </a:ext>
            </a:extLst>
          </p:cNvPr>
          <p:cNvSpPr/>
          <p:nvPr/>
        </p:nvSpPr>
        <p:spPr>
          <a:xfrm>
            <a:off x="5638800" y="1951087"/>
            <a:ext cx="428625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2 of 36</a:t>
            </a:r>
          </a:p>
        </p:txBody>
      </p:sp>
      <p:sp>
        <p:nvSpPr>
          <p:cNvPr id="100" name="Plaque 99">
            <a:extLst>
              <a:ext uri="{FF2B5EF4-FFF2-40B4-BE49-F238E27FC236}">
                <a16:creationId xmlns:a16="http://schemas.microsoft.com/office/drawing/2014/main" id="{3BFA6D28-9A42-4459-8BF1-090CE1B45216}"/>
              </a:ext>
            </a:extLst>
          </p:cNvPr>
          <p:cNvSpPr/>
          <p:nvPr/>
        </p:nvSpPr>
        <p:spPr>
          <a:xfrm>
            <a:off x="5638800" y="1333500"/>
            <a:ext cx="430213" cy="1539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latin typeface="Calibri" panose="020F0502020204030204" pitchFamily="34" charset="0"/>
                <a:cs typeface="Calibri" panose="020F0502020204030204" pitchFamily="34" charset="0"/>
              </a:rPr>
              <a:t>35 of 36</a:t>
            </a:r>
          </a:p>
        </p:txBody>
      </p:sp>
      <p:sp>
        <p:nvSpPr>
          <p:cNvPr id="101" name="Pentagon 19">
            <a:extLst>
              <a:ext uri="{FF2B5EF4-FFF2-40B4-BE49-F238E27FC236}">
                <a16:creationId xmlns:a16="http://schemas.microsoft.com/office/drawing/2014/main" id="{CCD74FA4-19D0-4356-90C9-B3B49BCC3F54}"/>
              </a:ext>
            </a:extLst>
          </p:cNvPr>
          <p:cNvSpPr>
            <a:spLocks/>
          </p:cNvSpPr>
          <p:nvPr/>
        </p:nvSpPr>
        <p:spPr bwMode="auto">
          <a:xfrm>
            <a:off x="688340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2 of 37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12EE735-1E43-4799-A46A-5D0787F375CE}"/>
              </a:ext>
            </a:extLst>
          </p:cNvPr>
          <p:cNvSpPr/>
          <p:nvPr/>
        </p:nvSpPr>
        <p:spPr>
          <a:xfrm>
            <a:off x="6880225" y="5726113"/>
            <a:ext cx="642938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Starting a Business</a:t>
            </a:r>
          </a:p>
        </p:txBody>
      </p:sp>
      <p:pic>
        <p:nvPicPr>
          <p:cNvPr id="23622" name="Picture 3">
            <a:extLst>
              <a:ext uri="{FF2B5EF4-FFF2-40B4-BE49-F238E27FC236}">
                <a16:creationId xmlns:a16="http://schemas.microsoft.com/office/drawing/2014/main" id="{53FAD0C6-8FFE-437B-B7E4-F2A938D3BE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350" y="5249863"/>
            <a:ext cx="41910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23" name="Freeform 15">
            <a:extLst>
              <a:ext uri="{FF2B5EF4-FFF2-40B4-BE49-F238E27FC236}">
                <a16:creationId xmlns:a16="http://schemas.microsoft.com/office/drawing/2014/main" id="{183A3C8B-011E-4D99-9165-3FF03A2D3207}"/>
              </a:ext>
            </a:extLst>
          </p:cNvPr>
          <p:cNvSpPr>
            <a:spLocks noEditPoints="1"/>
          </p:cNvSpPr>
          <p:nvPr/>
        </p:nvSpPr>
        <p:spPr bwMode="auto">
          <a:xfrm>
            <a:off x="9093200" y="5257800"/>
            <a:ext cx="276225" cy="347663"/>
          </a:xfrm>
          <a:custGeom>
            <a:avLst/>
            <a:gdLst>
              <a:gd name="T0" fmla="*/ 2147483646 w 3556"/>
              <a:gd name="T1" fmla="*/ 2147483646 h 3950"/>
              <a:gd name="T2" fmla="*/ 2147483646 w 3556"/>
              <a:gd name="T3" fmla="*/ 2147483646 h 3950"/>
              <a:gd name="T4" fmla="*/ 2147483646 w 3556"/>
              <a:gd name="T5" fmla="*/ 2147483646 h 3950"/>
              <a:gd name="T6" fmla="*/ 2147483646 w 3556"/>
              <a:gd name="T7" fmla="*/ 2147483646 h 3950"/>
              <a:gd name="T8" fmla="*/ 2147483646 w 3556"/>
              <a:gd name="T9" fmla="*/ 2147483646 h 3950"/>
              <a:gd name="T10" fmla="*/ 2147483646 w 3556"/>
              <a:gd name="T11" fmla="*/ 2147483646 h 3950"/>
              <a:gd name="T12" fmla="*/ 2147483646 w 3556"/>
              <a:gd name="T13" fmla="*/ 2147483646 h 3950"/>
              <a:gd name="T14" fmla="*/ 2147483646 w 3556"/>
              <a:gd name="T15" fmla="*/ 2147483646 h 3950"/>
              <a:gd name="T16" fmla="*/ 2147483646 w 3556"/>
              <a:gd name="T17" fmla="*/ 2147483646 h 3950"/>
              <a:gd name="T18" fmla="*/ 2147483646 w 3556"/>
              <a:gd name="T19" fmla="*/ 2147483646 h 3950"/>
              <a:gd name="T20" fmla="*/ 2147483646 w 3556"/>
              <a:gd name="T21" fmla="*/ 2147483646 h 3950"/>
              <a:gd name="T22" fmla="*/ 0 w 3556"/>
              <a:gd name="T23" fmla="*/ 2147483646 h 3950"/>
              <a:gd name="T24" fmla="*/ 2147483646 w 3556"/>
              <a:gd name="T25" fmla="*/ 2147483646 h 3950"/>
              <a:gd name="T26" fmla="*/ 2147483646 w 3556"/>
              <a:gd name="T27" fmla="*/ 2147483646 h 3950"/>
              <a:gd name="T28" fmla="*/ 2147483646 w 3556"/>
              <a:gd name="T29" fmla="*/ 2147483646 h 3950"/>
              <a:gd name="T30" fmla="*/ 2147483646 w 3556"/>
              <a:gd name="T31" fmla="*/ 2147483646 h 3950"/>
              <a:gd name="T32" fmla="*/ 2147483646 w 3556"/>
              <a:gd name="T33" fmla="*/ 2147483646 h 3950"/>
              <a:gd name="T34" fmla="*/ 2147483646 w 3556"/>
              <a:gd name="T35" fmla="*/ 2147483646 h 3950"/>
              <a:gd name="T36" fmla="*/ 2147483646 w 3556"/>
              <a:gd name="T37" fmla="*/ 2147483646 h 3950"/>
              <a:gd name="T38" fmla="*/ 2147483646 w 3556"/>
              <a:gd name="T39" fmla="*/ 2147483646 h 3950"/>
              <a:gd name="T40" fmla="*/ 2147483646 w 3556"/>
              <a:gd name="T41" fmla="*/ 2147483646 h 3950"/>
              <a:gd name="T42" fmla="*/ 2147483646 w 3556"/>
              <a:gd name="T43" fmla="*/ 2147483646 h 3950"/>
              <a:gd name="T44" fmla="*/ 2147483646 w 3556"/>
              <a:gd name="T45" fmla="*/ 2147483646 h 3950"/>
              <a:gd name="T46" fmla="*/ 2147483646 w 3556"/>
              <a:gd name="T47" fmla="*/ 2147483646 h 3950"/>
              <a:gd name="T48" fmla="*/ 2147483646 w 3556"/>
              <a:gd name="T49" fmla="*/ 2147483646 h 3950"/>
              <a:gd name="T50" fmla="*/ 2147483646 w 3556"/>
              <a:gd name="T51" fmla="*/ 2147483646 h 3950"/>
              <a:gd name="T52" fmla="*/ 2147483646 w 3556"/>
              <a:gd name="T53" fmla="*/ 2147483646 h 3950"/>
              <a:gd name="T54" fmla="*/ 2147483646 w 3556"/>
              <a:gd name="T55" fmla="*/ 2147483646 h 3950"/>
              <a:gd name="T56" fmla="*/ 2147483646 w 3556"/>
              <a:gd name="T57" fmla="*/ 2147483646 h 3950"/>
              <a:gd name="T58" fmla="*/ 2147483646 w 3556"/>
              <a:gd name="T59" fmla="*/ 2147483646 h 3950"/>
              <a:gd name="T60" fmla="*/ 2147483646 w 3556"/>
              <a:gd name="T61" fmla="*/ 2147483646 h 3950"/>
              <a:gd name="T62" fmla="*/ 2147483646 w 3556"/>
              <a:gd name="T63" fmla="*/ 2147483646 h 3950"/>
              <a:gd name="T64" fmla="*/ 2147483646 w 3556"/>
              <a:gd name="T65" fmla="*/ 2147483646 h 3950"/>
              <a:gd name="T66" fmla="*/ 2147483646 w 3556"/>
              <a:gd name="T67" fmla="*/ 2147483646 h 3950"/>
              <a:gd name="T68" fmla="*/ 2147483646 w 3556"/>
              <a:gd name="T69" fmla="*/ 2147483646 h 3950"/>
              <a:gd name="T70" fmla="*/ 2147483646 w 3556"/>
              <a:gd name="T71" fmla="*/ 2147483646 h 3950"/>
              <a:gd name="T72" fmla="*/ 2147483646 w 3556"/>
              <a:gd name="T73" fmla="*/ 2147483646 h 3950"/>
              <a:gd name="T74" fmla="*/ 2147483646 w 3556"/>
              <a:gd name="T75" fmla="*/ 2147483646 h 3950"/>
              <a:gd name="T76" fmla="*/ 2147483646 w 3556"/>
              <a:gd name="T77" fmla="*/ 2147483646 h 3950"/>
              <a:gd name="T78" fmla="*/ 2147483646 w 3556"/>
              <a:gd name="T79" fmla="*/ 2147483646 h 3950"/>
              <a:gd name="T80" fmla="*/ 2147483646 w 3556"/>
              <a:gd name="T81" fmla="*/ 0 h 3950"/>
              <a:gd name="T82" fmla="*/ 2147483646 w 3556"/>
              <a:gd name="T83" fmla="*/ 2147483646 h 3950"/>
              <a:gd name="T84" fmla="*/ 2147483646 w 3556"/>
              <a:gd name="T85" fmla="*/ 2147483646 h 3950"/>
              <a:gd name="T86" fmla="*/ 2147483646 w 3556"/>
              <a:gd name="T87" fmla="*/ 2147483646 h 395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556"/>
              <a:gd name="T133" fmla="*/ 0 h 3950"/>
              <a:gd name="T134" fmla="*/ 3556 w 3556"/>
              <a:gd name="T135" fmla="*/ 3950 h 395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556" h="3950">
                <a:moveTo>
                  <a:pt x="909" y="3917"/>
                </a:moveTo>
                <a:cubicBezTo>
                  <a:pt x="824" y="3832"/>
                  <a:pt x="894" y="3725"/>
                  <a:pt x="1036" y="3725"/>
                </a:cubicBezTo>
                <a:cubicBezTo>
                  <a:pt x="1119" y="3725"/>
                  <a:pt x="1129" y="3717"/>
                  <a:pt x="1129" y="3645"/>
                </a:cubicBezTo>
                <a:cubicBezTo>
                  <a:pt x="1129" y="3472"/>
                  <a:pt x="1135" y="3471"/>
                  <a:pt x="2192" y="3471"/>
                </a:cubicBezTo>
                <a:cubicBezTo>
                  <a:pt x="3086" y="3471"/>
                  <a:pt x="3155" y="3475"/>
                  <a:pt x="3199" y="3523"/>
                </a:cubicBezTo>
                <a:cubicBezTo>
                  <a:pt x="3225" y="3551"/>
                  <a:pt x="3246" y="3608"/>
                  <a:pt x="3246" y="3648"/>
                </a:cubicBezTo>
                <a:cubicBezTo>
                  <a:pt x="3246" y="3712"/>
                  <a:pt x="3259" y="3723"/>
                  <a:pt x="3349" y="3730"/>
                </a:cubicBezTo>
                <a:cubicBezTo>
                  <a:pt x="3470" y="3741"/>
                  <a:pt x="3530" y="3811"/>
                  <a:pt x="3482" y="3887"/>
                </a:cubicBezTo>
                <a:cubicBezTo>
                  <a:pt x="3453" y="3933"/>
                  <a:pt x="3356" y="3937"/>
                  <a:pt x="2197" y="3944"/>
                </a:cubicBezTo>
                <a:cubicBezTo>
                  <a:pt x="1245" y="3950"/>
                  <a:pt x="935" y="3943"/>
                  <a:pt x="909" y="3917"/>
                </a:cubicBezTo>
                <a:close/>
                <a:moveTo>
                  <a:pt x="87" y="3370"/>
                </a:moveTo>
                <a:cubicBezTo>
                  <a:pt x="24" y="3317"/>
                  <a:pt x="0" y="3272"/>
                  <a:pt x="0" y="3209"/>
                </a:cubicBezTo>
                <a:cubicBezTo>
                  <a:pt x="0" y="3132"/>
                  <a:pt x="86" y="3035"/>
                  <a:pt x="705" y="2414"/>
                </a:cubicBezTo>
                <a:lnTo>
                  <a:pt x="1411" y="1706"/>
                </a:lnTo>
                <a:lnTo>
                  <a:pt x="1235" y="1530"/>
                </a:lnTo>
                <a:lnTo>
                  <a:pt x="1059" y="1355"/>
                </a:lnTo>
                <a:lnTo>
                  <a:pt x="1510" y="903"/>
                </a:lnTo>
                <a:lnTo>
                  <a:pt x="1960" y="452"/>
                </a:lnTo>
                <a:lnTo>
                  <a:pt x="2135" y="624"/>
                </a:lnTo>
                <a:cubicBezTo>
                  <a:pt x="2305" y="793"/>
                  <a:pt x="2310" y="796"/>
                  <a:pt x="2374" y="751"/>
                </a:cubicBezTo>
                <a:cubicBezTo>
                  <a:pt x="2469" y="685"/>
                  <a:pt x="2547" y="695"/>
                  <a:pt x="2633" y="785"/>
                </a:cubicBezTo>
                <a:cubicBezTo>
                  <a:pt x="2720" y="875"/>
                  <a:pt x="2731" y="974"/>
                  <a:pt x="2662" y="1050"/>
                </a:cubicBezTo>
                <a:cubicBezTo>
                  <a:pt x="2616" y="1100"/>
                  <a:pt x="2624" y="1112"/>
                  <a:pt x="2823" y="1313"/>
                </a:cubicBezTo>
                <a:lnTo>
                  <a:pt x="3033" y="1524"/>
                </a:lnTo>
                <a:lnTo>
                  <a:pt x="2582" y="1975"/>
                </a:lnTo>
                <a:lnTo>
                  <a:pt x="2132" y="2427"/>
                </a:lnTo>
                <a:lnTo>
                  <a:pt x="1933" y="2229"/>
                </a:lnTo>
                <a:cubicBezTo>
                  <a:pt x="1824" y="2121"/>
                  <a:pt x="1722" y="2032"/>
                  <a:pt x="1707" y="2032"/>
                </a:cubicBezTo>
                <a:cubicBezTo>
                  <a:pt x="1693" y="2032"/>
                  <a:pt x="1362" y="2349"/>
                  <a:pt x="973" y="2737"/>
                </a:cubicBezTo>
                <a:cubicBezTo>
                  <a:pt x="584" y="3125"/>
                  <a:pt x="245" y="3443"/>
                  <a:pt x="220" y="3443"/>
                </a:cubicBezTo>
                <a:cubicBezTo>
                  <a:pt x="194" y="3443"/>
                  <a:pt x="135" y="3410"/>
                  <a:pt x="87" y="3370"/>
                </a:cubicBezTo>
                <a:close/>
                <a:moveTo>
                  <a:pt x="2258" y="2887"/>
                </a:moveTo>
                <a:cubicBezTo>
                  <a:pt x="2196" y="2865"/>
                  <a:pt x="2145" y="2792"/>
                  <a:pt x="2145" y="2725"/>
                </a:cubicBezTo>
                <a:cubicBezTo>
                  <a:pt x="2145" y="2686"/>
                  <a:pt x="2337" y="2474"/>
                  <a:pt x="2703" y="2109"/>
                </a:cubicBezTo>
                <a:cubicBezTo>
                  <a:pt x="3289" y="1523"/>
                  <a:pt x="3346" y="1485"/>
                  <a:pt x="3453" y="1604"/>
                </a:cubicBezTo>
                <a:cubicBezTo>
                  <a:pt x="3556" y="1717"/>
                  <a:pt x="3522" y="1766"/>
                  <a:pt x="2956" y="2331"/>
                </a:cubicBezTo>
                <a:cubicBezTo>
                  <a:pt x="2657" y="2630"/>
                  <a:pt x="2388" y="2880"/>
                  <a:pt x="2357" y="2888"/>
                </a:cubicBezTo>
                <a:cubicBezTo>
                  <a:pt x="2326" y="2895"/>
                  <a:pt x="2281" y="2895"/>
                  <a:pt x="2258" y="2887"/>
                </a:cubicBezTo>
                <a:close/>
                <a:moveTo>
                  <a:pt x="637" y="1282"/>
                </a:moveTo>
                <a:cubicBezTo>
                  <a:pt x="528" y="1172"/>
                  <a:pt x="568" y="1113"/>
                  <a:pt x="1137" y="544"/>
                </a:cubicBezTo>
                <a:cubicBezTo>
                  <a:pt x="1607" y="74"/>
                  <a:pt x="1693" y="0"/>
                  <a:pt x="1767" y="0"/>
                </a:cubicBezTo>
                <a:cubicBezTo>
                  <a:pt x="1862" y="0"/>
                  <a:pt x="1947" y="73"/>
                  <a:pt x="1947" y="156"/>
                </a:cubicBezTo>
                <a:cubicBezTo>
                  <a:pt x="1947" y="186"/>
                  <a:pt x="1715" y="442"/>
                  <a:pt x="1391" y="767"/>
                </a:cubicBezTo>
                <a:cubicBezTo>
                  <a:pt x="808" y="1353"/>
                  <a:pt x="749" y="1393"/>
                  <a:pt x="637" y="12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4" name="Group 118">
            <a:extLst>
              <a:ext uri="{FF2B5EF4-FFF2-40B4-BE49-F238E27FC236}">
                <a16:creationId xmlns:a16="http://schemas.microsoft.com/office/drawing/2014/main" id="{FB3D6A90-C4FD-433A-A1C1-A4B3864804A5}"/>
              </a:ext>
            </a:extLst>
          </p:cNvPr>
          <p:cNvGrpSpPr/>
          <p:nvPr/>
        </p:nvGrpSpPr>
        <p:grpSpPr>
          <a:xfrm>
            <a:off x="8409631" y="5248358"/>
            <a:ext cx="346498" cy="347472"/>
            <a:chOff x="1468138" y="5997240"/>
            <a:chExt cx="283642" cy="307072"/>
          </a:xfrm>
          <a:solidFill>
            <a:schemeClr val="bg1"/>
          </a:solidFill>
        </p:grpSpPr>
        <p:sp>
          <p:nvSpPr>
            <p:cNvPr id="120" name="Freeform 16">
              <a:extLst>
                <a:ext uri="{FF2B5EF4-FFF2-40B4-BE49-F238E27FC236}">
                  <a16:creationId xmlns:a16="http://schemas.microsoft.com/office/drawing/2014/main" id="{D6134FC8-4249-4088-8AE8-003C8AAC7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6136" y="6255221"/>
              <a:ext cx="26428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1 w 349"/>
                <a:gd name="T25" fmla="*/ 226 h 350"/>
                <a:gd name="T26" fmla="*/ 225 w 349"/>
                <a:gd name="T27" fmla="*/ 213 h 350"/>
                <a:gd name="T28" fmla="*/ 234 w 349"/>
                <a:gd name="T29" fmla="*/ 194 h 350"/>
                <a:gd name="T30" fmla="*/ 237 w 349"/>
                <a:gd name="T31" fmla="*/ 175 h 350"/>
                <a:gd name="T32" fmla="*/ 235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5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4 w 349"/>
                <a:gd name="T47" fmla="*/ 3 h 350"/>
                <a:gd name="T48" fmla="*/ 234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8 w 349"/>
                <a:gd name="T55" fmla="*/ 63 h 350"/>
                <a:gd name="T56" fmla="*/ 325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5 w 349"/>
                <a:gd name="T65" fmla="*/ 210 h 350"/>
                <a:gd name="T66" fmla="*/ 335 w 349"/>
                <a:gd name="T67" fmla="*/ 243 h 350"/>
                <a:gd name="T68" fmla="*/ 319 w 349"/>
                <a:gd name="T69" fmla="*/ 273 h 350"/>
                <a:gd name="T70" fmla="*/ 297 w 349"/>
                <a:gd name="T71" fmla="*/ 299 h 350"/>
                <a:gd name="T72" fmla="*/ 272 w 349"/>
                <a:gd name="T73" fmla="*/ 319 h 350"/>
                <a:gd name="T74" fmla="*/ 242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39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29 w 349"/>
                <a:gd name="T89" fmla="*/ 273 h 350"/>
                <a:gd name="T90" fmla="*/ 14 w 349"/>
                <a:gd name="T91" fmla="*/ 243 h 350"/>
                <a:gd name="T92" fmla="*/ 3 w 349"/>
                <a:gd name="T93" fmla="*/ 210 h 350"/>
                <a:gd name="T94" fmla="*/ 0 w 349"/>
                <a:gd name="T95" fmla="*/ 175 h 350"/>
                <a:gd name="T96" fmla="*/ 3 w 349"/>
                <a:gd name="T97" fmla="*/ 140 h 350"/>
                <a:gd name="T98" fmla="*/ 14 w 349"/>
                <a:gd name="T99" fmla="*/ 107 h 350"/>
                <a:gd name="T100" fmla="*/ 29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39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1" y="226"/>
                  </a:lnTo>
                  <a:lnTo>
                    <a:pt x="225" y="213"/>
                  </a:lnTo>
                  <a:lnTo>
                    <a:pt x="234" y="194"/>
                  </a:lnTo>
                  <a:lnTo>
                    <a:pt x="237" y="175"/>
                  </a:lnTo>
                  <a:lnTo>
                    <a:pt x="235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5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4" y="3"/>
                  </a:lnTo>
                  <a:lnTo>
                    <a:pt x="234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8" y="63"/>
                  </a:lnTo>
                  <a:lnTo>
                    <a:pt x="325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5" y="210"/>
                  </a:lnTo>
                  <a:lnTo>
                    <a:pt x="335" y="243"/>
                  </a:lnTo>
                  <a:lnTo>
                    <a:pt x="319" y="273"/>
                  </a:lnTo>
                  <a:lnTo>
                    <a:pt x="297" y="299"/>
                  </a:lnTo>
                  <a:lnTo>
                    <a:pt x="272" y="319"/>
                  </a:lnTo>
                  <a:lnTo>
                    <a:pt x="242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39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29" y="273"/>
                  </a:lnTo>
                  <a:lnTo>
                    <a:pt x="14" y="243"/>
                  </a:lnTo>
                  <a:lnTo>
                    <a:pt x="3" y="210"/>
                  </a:lnTo>
                  <a:lnTo>
                    <a:pt x="0" y="175"/>
                  </a:lnTo>
                  <a:lnTo>
                    <a:pt x="3" y="140"/>
                  </a:lnTo>
                  <a:lnTo>
                    <a:pt x="14" y="107"/>
                  </a:lnTo>
                  <a:lnTo>
                    <a:pt x="29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39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1" name="Freeform 17">
              <a:extLst>
                <a:ext uri="{FF2B5EF4-FFF2-40B4-BE49-F238E27FC236}">
                  <a16:creationId xmlns:a16="http://schemas.microsoft.com/office/drawing/2014/main" id="{67A5F0B0-C078-4A85-9E32-409FF0B3D5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2133" y="6255221"/>
              <a:ext cx="26656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2 w 349"/>
                <a:gd name="T25" fmla="*/ 226 h 350"/>
                <a:gd name="T26" fmla="*/ 226 w 349"/>
                <a:gd name="T27" fmla="*/ 213 h 350"/>
                <a:gd name="T28" fmla="*/ 235 w 349"/>
                <a:gd name="T29" fmla="*/ 194 h 350"/>
                <a:gd name="T30" fmla="*/ 237 w 349"/>
                <a:gd name="T31" fmla="*/ 175 h 350"/>
                <a:gd name="T32" fmla="*/ 236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7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5 w 349"/>
                <a:gd name="T47" fmla="*/ 3 h 350"/>
                <a:gd name="T48" fmla="*/ 235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9 w 349"/>
                <a:gd name="T55" fmla="*/ 63 h 350"/>
                <a:gd name="T56" fmla="*/ 326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6 w 349"/>
                <a:gd name="T65" fmla="*/ 210 h 350"/>
                <a:gd name="T66" fmla="*/ 336 w 349"/>
                <a:gd name="T67" fmla="*/ 243 h 350"/>
                <a:gd name="T68" fmla="*/ 319 w 349"/>
                <a:gd name="T69" fmla="*/ 273 h 350"/>
                <a:gd name="T70" fmla="*/ 298 w 349"/>
                <a:gd name="T71" fmla="*/ 299 h 350"/>
                <a:gd name="T72" fmla="*/ 272 w 349"/>
                <a:gd name="T73" fmla="*/ 319 h 350"/>
                <a:gd name="T74" fmla="*/ 243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40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30 w 349"/>
                <a:gd name="T89" fmla="*/ 273 h 350"/>
                <a:gd name="T90" fmla="*/ 14 w 349"/>
                <a:gd name="T91" fmla="*/ 243 h 350"/>
                <a:gd name="T92" fmla="*/ 4 w 349"/>
                <a:gd name="T93" fmla="*/ 210 h 350"/>
                <a:gd name="T94" fmla="*/ 0 w 349"/>
                <a:gd name="T95" fmla="*/ 175 h 350"/>
                <a:gd name="T96" fmla="*/ 4 w 349"/>
                <a:gd name="T97" fmla="*/ 140 h 350"/>
                <a:gd name="T98" fmla="*/ 14 w 349"/>
                <a:gd name="T99" fmla="*/ 107 h 350"/>
                <a:gd name="T100" fmla="*/ 30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40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7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7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5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19" y="273"/>
                  </a:lnTo>
                  <a:lnTo>
                    <a:pt x="298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2" name="Freeform 18">
              <a:extLst>
                <a:ext uri="{FF2B5EF4-FFF2-40B4-BE49-F238E27FC236}">
                  <a16:creationId xmlns:a16="http://schemas.microsoft.com/office/drawing/2014/main" id="{BF1784DA-3E40-44FD-998D-DB1DD379C0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8357" y="6255221"/>
              <a:ext cx="26428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7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1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7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8 w 350"/>
                <a:gd name="T31" fmla="*/ 175 h 350"/>
                <a:gd name="T32" fmla="*/ 236 w 350"/>
                <a:gd name="T33" fmla="*/ 158 h 350"/>
                <a:gd name="T34" fmla="*/ 229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7 w 350"/>
                <a:gd name="T53" fmla="*/ 41 h 350"/>
                <a:gd name="T54" fmla="*/ 309 w 350"/>
                <a:gd name="T55" fmla="*/ 63 h 350"/>
                <a:gd name="T56" fmla="*/ 326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2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7 w 350"/>
                <a:gd name="T85" fmla="*/ 319 h 350"/>
                <a:gd name="T86" fmla="*/ 51 w 350"/>
                <a:gd name="T87" fmla="*/ 299 h 350"/>
                <a:gd name="T88" fmla="*/ 30 w 350"/>
                <a:gd name="T89" fmla="*/ 273 h 350"/>
                <a:gd name="T90" fmla="*/ 14 w 350"/>
                <a:gd name="T91" fmla="*/ 243 h 350"/>
                <a:gd name="T92" fmla="*/ 4 w 350"/>
                <a:gd name="T93" fmla="*/ 210 h 350"/>
                <a:gd name="T94" fmla="*/ 0 w 350"/>
                <a:gd name="T95" fmla="*/ 175 h 350"/>
                <a:gd name="T96" fmla="*/ 4 w 350"/>
                <a:gd name="T97" fmla="*/ 140 h 350"/>
                <a:gd name="T98" fmla="*/ 14 w 350"/>
                <a:gd name="T99" fmla="*/ 107 h 350"/>
                <a:gd name="T100" fmla="*/ 30 w 350"/>
                <a:gd name="T101" fmla="*/ 78 h 350"/>
                <a:gd name="T102" fmla="*/ 51 w 350"/>
                <a:gd name="T103" fmla="*/ 52 h 350"/>
                <a:gd name="T104" fmla="*/ 77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8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3" name="Freeform 19">
              <a:extLst>
                <a:ext uri="{FF2B5EF4-FFF2-40B4-BE49-F238E27FC236}">
                  <a16:creationId xmlns:a16="http://schemas.microsoft.com/office/drawing/2014/main" id="{FF26547B-24B3-4108-8095-A2794E966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4353" y="6255221"/>
              <a:ext cx="26656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8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3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8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9 w 350"/>
                <a:gd name="T31" fmla="*/ 175 h 350"/>
                <a:gd name="T32" fmla="*/ 236 w 350"/>
                <a:gd name="T33" fmla="*/ 158 h 350"/>
                <a:gd name="T34" fmla="*/ 231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8 w 350"/>
                <a:gd name="T53" fmla="*/ 41 h 350"/>
                <a:gd name="T54" fmla="*/ 309 w 350"/>
                <a:gd name="T55" fmla="*/ 63 h 350"/>
                <a:gd name="T56" fmla="*/ 327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3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8 w 350"/>
                <a:gd name="T85" fmla="*/ 319 h 350"/>
                <a:gd name="T86" fmla="*/ 53 w 350"/>
                <a:gd name="T87" fmla="*/ 299 h 350"/>
                <a:gd name="T88" fmla="*/ 31 w 350"/>
                <a:gd name="T89" fmla="*/ 273 h 350"/>
                <a:gd name="T90" fmla="*/ 15 w 350"/>
                <a:gd name="T91" fmla="*/ 243 h 350"/>
                <a:gd name="T92" fmla="*/ 5 w 350"/>
                <a:gd name="T93" fmla="*/ 210 h 350"/>
                <a:gd name="T94" fmla="*/ 0 w 350"/>
                <a:gd name="T95" fmla="*/ 175 h 350"/>
                <a:gd name="T96" fmla="*/ 5 w 350"/>
                <a:gd name="T97" fmla="*/ 140 h 350"/>
                <a:gd name="T98" fmla="*/ 15 w 350"/>
                <a:gd name="T99" fmla="*/ 107 h 350"/>
                <a:gd name="T100" fmla="*/ 31 w 350"/>
                <a:gd name="T101" fmla="*/ 78 h 350"/>
                <a:gd name="T102" fmla="*/ 53 w 350"/>
                <a:gd name="T103" fmla="*/ 52 h 350"/>
                <a:gd name="T104" fmla="*/ 78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8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3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8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9" y="175"/>
                  </a:lnTo>
                  <a:lnTo>
                    <a:pt x="236" y="158"/>
                  </a:lnTo>
                  <a:lnTo>
                    <a:pt x="231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8" y="41"/>
                  </a:lnTo>
                  <a:lnTo>
                    <a:pt x="309" y="63"/>
                  </a:lnTo>
                  <a:lnTo>
                    <a:pt x="327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3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8" y="319"/>
                  </a:lnTo>
                  <a:lnTo>
                    <a:pt x="53" y="299"/>
                  </a:lnTo>
                  <a:lnTo>
                    <a:pt x="31" y="273"/>
                  </a:lnTo>
                  <a:lnTo>
                    <a:pt x="15" y="243"/>
                  </a:lnTo>
                  <a:lnTo>
                    <a:pt x="5" y="210"/>
                  </a:lnTo>
                  <a:lnTo>
                    <a:pt x="0" y="175"/>
                  </a:lnTo>
                  <a:lnTo>
                    <a:pt x="5" y="140"/>
                  </a:lnTo>
                  <a:lnTo>
                    <a:pt x="15" y="107"/>
                  </a:lnTo>
                  <a:lnTo>
                    <a:pt x="31" y="78"/>
                  </a:lnTo>
                  <a:lnTo>
                    <a:pt x="53" y="52"/>
                  </a:lnTo>
                  <a:lnTo>
                    <a:pt x="78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4" name="Freeform 20">
              <a:extLst>
                <a:ext uri="{FF2B5EF4-FFF2-40B4-BE49-F238E27FC236}">
                  <a16:creationId xmlns:a16="http://schemas.microsoft.com/office/drawing/2014/main" id="{6F553FA1-4728-401A-8C20-F18E165CA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80832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2 h 111"/>
                <a:gd name="T10" fmla="*/ 168 w 171"/>
                <a:gd name="T11" fmla="*/ 37 h 111"/>
                <a:gd name="T12" fmla="*/ 171 w 171"/>
                <a:gd name="T13" fmla="*/ 55 h 111"/>
                <a:gd name="T14" fmla="*/ 168 w 171"/>
                <a:gd name="T15" fmla="*/ 72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8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8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2 h 111"/>
                <a:gd name="T34" fmla="*/ 0 w 171"/>
                <a:gd name="T35" fmla="*/ 55 h 111"/>
                <a:gd name="T36" fmla="*/ 2 w 171"/>
                <a:gd name="T37" fmla="*/ 37 h 111"/>
                <a:gd name="T38" fmla="*/ 10 w 171"/>
                <a:gd name="T39" fmla="*/ 22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2"/>
                  </a:lnTo>
                  <a:lnTo>
                    <a:pt x="168" y="37"/>
                  </a:lnTo>
                  <a:lnTo>
                    <a:pt x="171" y="55"/>
                  </a:lnTo>
                  <a:lnTo>
                    <a:pt x="168" y="72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8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8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2"/>
                  </a:lnTo>
                  <a:lnTo>
                    <a:pt x="0" y="55"/>
                  </a:lnTo>
                  <a:lnTo>
                    <a:pt x="2" y="37"/>
                  </a:lnTo>
                  <a:lnTo>
                    <a:pt x="10" y="22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5" name="Freeform 21">
              <a:extLst>
                <a:ext uri="{FF2B5EF4-FFF2-40B4-BE49-F238E27FC236}">
                  <a16:creationId xmlns:a16="http://schemas.microsoft.com/office/drawing/2014/main" id="{2A783787-5E9B-43C9-9BF4-073950C97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95860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3 h 111"/>
                <a:gd name="T10" fmla="*/ 168 w 171"/>
                <a:gd name="T11" fmla="*/ 38 h 111"/>
                <a:gd name="T12" fmla="*/ 171 w 171"/>
                <a:gd name="T13" fmla="*/ 55 h 111"/>
                <a:gd name="T14" fmla="*/ 168 w 171"/>
                <a:gd name="T15" fmla="*/ 74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9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9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4 h 111"/>
                <a:gd name="T34" fmla="*/ 0 w 171"/>
                <a:gd name="T35" fmla="*/ 55 h 111"/>
                <a:gd name="T36" fmla="*/ 2 w 171"/>
                <a:gd name="T37" fmla="*/ 38 h 111"/>
                <a:gd name="T38" fmla="*/ 10 w 171"/>
                <a:gd name="T39" fmla="*/ 23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3"/>
                  </a:lnTo>
                  <a:lnTo>
                    <a:pt x="168" y="38"/>
                  </a:lnTo>
                  <a:lnTo>
                    <a:pt x="171" y="55"/>
                  </a:lnTo>
                  <a:lnTo>
                    <a:pt x="168" y="74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9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9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4"/>
                  </a:lnTo>
                  <a:lnTo>
                    <a:pt x="0" y="55"/>
                  </a:lnTo>
                  <a:lnTo>
                    <a:pt x="2" y="38"/>
                  </a:lnTo>
                  <a:lnTo>
                    <a:pt x="10" y="23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6" name="Freeform 22">
              <a:extLst>
                <a:ext uri="{FF2B5EF4-FFF2-40B4-BE49-F238E27FC236}">
                  <a16:creationId xmlns:a16="http://schemas.microsoft.com/office/drawing/2014/main" id="{6465D05A-ED22-49B3-924E-6DFC4C8C8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8138" y="5997240"/>
              <a:ext cx="283642" cy="307072"/>
            </a:xfrm>
            <a:custGeom>
              <a:avLst/>
              <a:gdLst>
                <a:gd name="T0" fmla="*/ 185 w 3736"/>
                <a:gd name="T1" fmla="*/ 3069 h 3678"/>
                <a:gd name="T2" fmla="*/ 125 w 3736"/>
                <a:gd name="T3" fmla="*/ 3352 h 3678"/>
                <a:gd name="T4" fmla="*/ 325 w 3736"/>
                <a:gd name="T5" fmla="*/ 3554 h 3678"/>
                <a:gd name="T6" fmla="*/ 2002 w 3736"/>
                <a:gd name="T7" fmla="*/ 3518 h 3678"/>
                <a:gd name="T8" fmla="*/ 2140 w 3736"/>
                <a:gd name="T9" fmla="*/ 3266 h 3678"/>
                <a:gd name="T10" fmla="*/ 2002 w 3736"/>
                <a:gd name="T11" fmla="*/ 3013 h 3678"/>
                <a:gd name="T12" fmla="*/ 943 w 3736"/>
                <a:gd name="T13" fmla="*/ 2853 h 3678"/>
                <a:gd name="T14" fmla="*/ 2970 w 3736"/>
                <a:gd name="T15" fmla="*/ 2765 h 3678"/>
                <a:gd name="T16" fmla="*/ 3240 w 3736"/>
                <a:gd name="T17" fmla="*/ 2787 h 3678"/>
                <a:gd name="T18" fmla="*/ 3506 w 3736"/>
                <a:gd name="T19" fmla="*/ 2599 h 3678"/>
                <a:gd name="T20" fmla="*/ 302 w 3736"/>
                <a:gd name="T21" fmla="*/ 2099 h 3678"/>
                <a:gd name="T22" fmla="*/ 333 w 3736"/>
                <a:gd name="T23" fmla="*/ 2613 h 3678"/>
                <a:gd name="T24" fmla="*/ 3524 w 3736"/>
                <a:gd name="T25" fmla="*/ 1966 h 3678"/>
                <a:gd name="T26" fmla="*/ 3542 w 3736"/>
                <a:gd name="T27" fmla="*/ 2077 h 3678"/>
                <a:gd name="T28" fmla="*/ 3622 w 3736"/>
                <a:gd name="T29" fmla="*/ 1998 h 3678"/>
                <a:gd name="T30" fmla="*/ 893 w 3736"/>
                <a:gd name="T31" fmla="*/ 1458 h 3678"/>
                <a:gd name="T32" fmla="*/ 1843 w 3736"/>
                <a:gd name="T33" fmla="*/ 2616 h 3678"/>
                <a:gd name="T34" fmla="*/ 1132 w 3736"/>
                <a:gd name="T35" fmla="*/ 2414 h 3678"/>
                <a:gd name="T36" fmla="*/ 954 w 3736"/>
                <a:gd name="T37" fmla="*/ 2256 h 3678"/>
                <a:gd name="T38" fmla="*/ 1082 w 3736"/>
                <a:gd name="T39" fmla="*/ 2271 h 3678"/>
                <a:gd name="T40" fmla="*/ 1271 w 3736"/>
                <a:gd name="T41" fmla="*/ 1557 h 3678"/>
                <a:gd name="T42" fmla="*/ 1360 w 3736"/>
                <a:gd name="T43" fmla="*/ 1601 h 3678"/>
                <a:gd name="T44" fmla="*/ 1958 w 3736"/>
                <a:gd name="T45" fmla="*/ 2171 h 3678"/>
                <a:gd name="T46" fmla="*/ 1525 w 3736"/>
                <a:gd name="T47" fmla="*/ 1457 h 3678"/>
                <a:gd name="T48" fmla="*/ 2749 w 3736"/>
                <a:gd name="T49" fmla="*/ 361 h 3678"/>
                <a:gd name="T50" fmla="*/ 3541 w 3736"/>
                <a:gd name="T51" fmla="*/ 1844 h 3678"/>
                <a:gd name="T52" fmla="*/ 1658 w 3736"/>
                <a:gd name="T53" fmla="*/ 1439 h 3678"/>
                <a:gd name="T54" fmla="*/ 2419 w 3736"/>
                <a:gd name="T55" fmla="*/ 427 h 3678"/>
                <a:gd name="T56" fmla="*/ 2498 w 3736"/>
                <a:gd name="T57" fmla="*/ 124 h 3678"/>
                <a:gd name="T58" fmla="*/ 2441 w 3736"/>
                <a:gd name="T59" fmla="*/ 287 h 3678"/>
                <a:gd name="T60" fmla="*/ 2599 w 3736"/>
                <a:gd name="T61" fmla="*/ 347 h 3678"/>
                <a:gd name="T62" fmla="*/ 2672 w 3736"/>
                <a:gd name="T63" fmla="*/ 256 h 3678"/>
                <a:gd name="T64" fmla="*/ 2625 w 3736"/>
                <a:gd name="T65" fmla="*/ 136 h 3678"/>
                <a:gd name="T66" fmla="*/ 2665 w 3736"/>
                <a:gd name="T67" fmla="*/ 28 h 3678"/>
                <a:gd name="T68" fmla="*/ 3734 w 3736"/>
                <a:gd name="T69" fmla="*/ 1986 h 3678"/>
                <a:gd name="T70" fmla="*/ 3646 w 3736"/>
                <a:gd name="T71" fmla="*/ 2170 h 3678"/>
                <a:gd name="T72" fmla="*/ 3580 w 3736"/>
                <a:gd name="T73" fmla="*/ 2724 h 3678"/>
                <a:gd name="T74" fmla="*/ 3180 w 3736"/>
                <a:gd name="T75" fmla="*/ 2918 h 3678"/>
                <a:gd name="T76" fmla="*/ 2865 w 3736"/>
                <a:gd name="T77" fmla="*/ 2826 h 3678"/>
                <a:gd name="T78" fmla="*/ 2459 w 3736"/>
                <a:gd name="T79" fmla="*/ 2397 h 3678"/>
                <a:gd name="T80" fmla="*/ 3431 w 3736"/>
                <a:gd name="T81" fmla="*/ 2200 h 3678"/>
                <a:gd name="T82" fmla="*/ 3506 w 3736"/>
                <a:gd name="T83" fmla="*/ 2183 h 3678"/>
                <a:gd name="T84" fmla="*/ 1983 w 3736"/>
                <a:gd name="T85" fmla="*/ 1926 h 3678"/>
                <a:gd name="T86" fmla="*/ 2073 w 3736"/>
                <a:gd name="T87" fmla="*/ 2433 h 3678"/>
                <a:gd name="T88" fmla="*/ 2059 w 3736"/>
                <a:gd name="T89" fmla="*/ 2469 h 3678"/>
                <a:gd name="T90" fmla="*/ 2043 w 3736"/>
                <a:gd name="T91" fmla="*/ 2482 h 3678"/>
                <a:gd name="T92" fmla="*/ 2024 w 3736"/>
                <a:gd name="T93" fmla="*/ 2489 h 3678"/>
                <a:gd name="T94" fmla="*/ 1942 w 3736"/>
                <a:gd name="T95" fmla="*/ 2705 h 3678"/>
                <a:gd name="T96" fmla="*/ 1890 w 3736"/>
                <a:gd name="T97" fmla="*/ 2857 h 3678"/>
                <a:gd name="T98" fmla="*/ 2177 w 3736"/>
                <a:gd name="T99" fmla="*/ 3030 h 3678"/>
                <a:gd name="T100" fmla="*/ 2238 w 3736"/>
                <a:gd name="T101" fmla="*/ 3367 h 3678"/>
                <a:gd name="T102" fmla="*/ 2032 w 3736"/>
                <a:gd name="T103" fmla="*/ 3630 h 3678"/>
                <a:gd name="T104" fmla="*/ 311 w 3736"/>
                <a:gd name="T105" fmla="*/ 3666 h 3678"/>
                <a:gd name="T106" fmla="*/ 49 w 3736"/>
                <a:gd name="T107" fmla="*/ 3460 h 3678"/>
                <a:gd name="T108" fmla="*/ 28 w 3736"/>
                <a:gd name="T109" fmla="*/ 3116 h 3678"/>
                <a:gd name="T110" fmla="*/ 263 w 3736"/>
                <a:gd name="T111" fmla="*/ 2882 h 3678"/>
                <a:gd name="T112" fmla="*/ 317 w 3736"/>
                <a:gd name="T113" fmla="*/ 2724 h 3678"/>
                <a:gd name="T114" fmla="*/ 178 w 3736"/>
                <a:gd name="T115" fmla="*/ 2553 h 3678"/>
                <a:gd name="T116" fmla="*/ 284 w 3736"/>
                <a:gd name="T117" fmla="*/ 1975 h 3678"/>
                <a:gd name="T118" fmla="*/ 740 w 3736"/>
                <a:gd name="T119" fmla="*/ 1477 h 3678"/>
                <a:gd name="T120" fmla="*/ 963 w 3736"/>
                <a:gd name="T121" fmla="*/ 1310 h 3678"/>
                <a:gd name="T122" fmla="*/ 2410 w 3736"/>
                <a:gd name="T123" fmla="*/ 48 h 3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6" h="3678">
                  <a:moveTo>
                    <a:pt x="413" y="2964"/>
                  </a:moveTo>
                  <a:lnTo>
                    <a:pt x="367" y="2968"/>
                  </a:lnTo>
                  <a:lnTo>
                    <a:pt x="325" y="2978"/>
                  </a:lnTo>
                  <a:lnTo>
                    <a:pt x="286" y="2993"/>
                  </a:lnTo>
                  <a:lnTo>
                    <a:pt x="248" y="3013"/>
                  </a:lnTo>
                  <a:lnTo>
                    <a:pt x="215" y="3039"/>
                  </a:lnTo>
                  <a:lnTo>
                    <a:pt x="185" y="3069"/>
                  </a:lnTo>
                  <a:lnTo>
                    <a:pt x="160" y="3102"/>
                  </a:lnTo>
                  <a:lnTo>
                    <a:pt x="139" y="3139"/>
                  </a:lnTo>
                  <a:lnTo>
                    <a:pt x="125" y="3179"/>
                  </a:lnTo>
                  <a:lnTo>
                    <a:pt x="114" y="3222"/>
                  </a:lnTo>
                  <a:lnTo>
                    <a:pt x="111" y="3266"/>
                  </a:lnTo>
                  <a:lnTo>
                    <a:pt x="114" y="3310"/>
                  </a:lnTo>
                  <a:lnTo>
                    <a:pt x="125" y="3352"/>
                  </a:lnTo>
                  <a:lnTo>
                    <a:pt x="139" y="3393"/>
                  </a:lnTo>
                  <a:lnTo>
                    <a:pt x="160" y="3430"/>
                  </a:lnTo>
                  <a:lnTo>
                    <a:pt x="185" y="3464"/>
                  </a:lnTo>
                  <a:lnTo>
                    <a:pt x="215" y="3493"/>
                  </a:lnTo>
                  <a:lnTo>
                    <a:pt x="248" y="3518"/>
                  </a:lnTo>
                  <a:lnTo>
                    <a:pt x="286" y="3538"/>
                  </a:lnTo>
                  <a:lnTo>
                    <a:pt x="325" y="3554"/>
                  </a:lnTo>
                  <a:lnTo>
                    <a:pt x="367" y="3563"/>
                  </a:lnTo>
                  <a:lnTo>
                    <a:pt x="413" y="3567"/>
                  </a:lnTo>
                  <a:lnTo>
                    <a:pt x="1838" y="3567"/>
                  </a:lnTo>
                  <a:lnTo>
                    <a:pt x="1882" y="3563"/>
                  </a:lnTo>
                  <a:lnTo>
                    <a:pt x="1925" y="3554"/>
                  </a:lnTo>
                  <a:lnTo>
                    <a:pt x="1965" y="3538"/>
                  </a:lnTo>
                  <a:lnTo>
                    <a:pt x="2002" y="3518"/>
                  </a:lnTo>
                  <a:lnTo>
                    <a:pt x="2035" y="3493"/>
                  </a:lnTo>
                  <a:lnTo>
                    <a:pt x="2065" y="3464"/>
                  </a:lnTo>
                  <a:lnTo>
                    <a:pt x="2091" y="3430"/>
                  </a:lnTo>
                  <a:lnTo>
                    <a:pt x="2111" y="3393"/>
                  </a:lnTo>
                  <a:lnTo>
                    <a:pt x="2126" y="3352"/>
                  </a:lnTo>
                  <a:lnTo>
                    <a:pt x="2136" y="3310"/>
                  </a:lnTo>
                  <a:lnTo>
                    <a:pt x="2140" y="3266"/>
                  </a:lnTo>
                  <a:lnTo>
                    <a:pt x="2136" y="3222"/>
                  </a:lnTo>
                  <a:lnTo>
                    <a:pt x="2126" y="3179"/>
                  </a:lnTo>
                  <a:lnTo>
                    <a:pt x="2111" y="3139"/>
                  </a:lnTo>
                  <a:lnTo>
                    <a:pt x="2091" y="3102"/>
                  </a:lnTo>
                  <a:lnTo>
                    <a:pt x="2065" y="3069"/>
                  </a:lnTo>
                  <a:lnTo>
                    <a:pt x="2035" y="3039"/>
                  </a:lnTo>
                  <a:lnTo>
                    <a:pt x="2002" y="3013"/>
                  </a:lnTo>
                  <a:lnTo>
                    <a:pt x="1965" y="2993"/>
                  </a:lnTo>
                  <a:lnTo>
                    <a:pt x="1925" y="2978"/>
                  </a:lnTo>
                  <a:lnTo>
                    <a:pt x="1882" y="2968"/>
                  </a:lnTo>
                  <a:lnTo>
                    <a:pt x="1838" y="2964"/>
                  </a:lnTo>
                  <a:lnTo>
                    <a:pt x="413" y="2964"/>
                  </a:lnTo>
                  <a:close/>
                  <a:moveTo>
                    <a:pt x="943" y="2727"/>
                  </a:moveTo>
                  <a:lnTo>
                    <a:pt x="943" y="2853"/>
                  </a:lnTo>
                  <a:lnTo>
                    <a:pt x="1307" y="2853"/>
                  </a:lnTo>
                  <a:lnTo>
                    <a:pt x="1307" y="2727"/>
                  </a:lnTo>
                  <a:lnTo>
                    <a:pt x="943" y="2727"/>
                  </a:lnTo>
                  <a:close/>
                  <a:moveTo>
                    <a:pt x="3407" y="2328"/>
                  </a:moveTo>
                  <a:lnTo>
                    <a:pt x="2754" y="2590"/>
                  </a:lnTo>
                  <a:lnTo>
                    <a:pt x="2936" y="2741"/>
                  </a:lnTo>
                  <a:lnTo>
                    <a:pt x="2970" y="2765"/>
                  </a:lnTo>
                  <a:lnTo>
                    <a:pt x="3005" y="2783"/>
                  </a:lnTo>
                  <a:lnTo>
                    <a:pt x="3042" y="2797"/>
                  </a:lnTo>
                  <a:lnTo>
                    <a:pt x="3081" y="2806"/>
                  </a:lnTo>
                  <a:lnTo>
                    <a:pt x="3121" y="2809"/>
                  </a:lnTo>
                  <a:lnTo>
                    <a:pt x="3161" y="2808"/>
                  </a:lnTo>
                  <a:lnTo>
                    <a:pt x="3201" y="2800"/>
                  </a:lnTo>
                  <a:lnTo>
                    <a:pt x="3240" y="2787"/>
                  </a:lnTo>
                  <a:lnTo>
                    <a:pt x="3429" y="2711"/>
                  </a:lnTo>
                  <a:lnTo>
                    <a:pt x="3452" y="2700"/>
                  </a:lnTo>
                  <a:lnTo>
                    <a:pt x="3470" y="2684"/>
                  </a:lnTo>
                  <a:lnTo>
                    <a:pt x="3485" y="2666"/>
                  </a:lnTo>
                  <a:lnTo>
                    <a:pt x="3496" y="2646"/>
                  </a:lnTo>
                  <a:lnTo>
                    <a:pt x="3504" y="2623"/>
                  </a:lnTo>
                  <a:lnTo>
                    <a:pt x="3506" y="2599"/>
                  </a:lnTo>
                  <a:lnTo>
                    <a:pt x="3504" y="2575"/>
                  </a:lnTo>
                  <a:lnTo>
                    <a:pt x="3497" y="2551"/>
                  </a:lnTo>
                  <a:lnTo>
                    <a:pt x="3407" y="2328"/>
                  </a:lnTo>
                  <a:close/>
                  <a:moveTo>
                    <a:pt x="353" y="2073"/>
                  </a:moveTo>
                  <a:lnTo>
                    <a:pt x="333" y="2076"/>
                  </a:lnTo>
                  <a:lnTo>
                    <a:pt x="315" y="2085"/>
                  </a:lnTo>
                  <a:lnTo>
                    <a:pt x="302" y="2099"/>
                  </a:lnTo>
                  <a:lnTo>
                    <a:pt x="292" y="2116"/>
                  </a:lnTo>
                  <a:lnTo>
                    <a:pt x="289" y="2136"/>
                  </a:lnTo>
                  <a:lnTo>
                    <a:pt x="289" y="2553"/>
                  </a:lnTo>
                  <a:lnTo>
                    <a:pt x="292" y="2572"/>
                  </a:lnTo>
                  <a:lnTo>
                    <a:pt x="302" y="2590"/>
                  </a:lnTo>
                  <a:lnTo>
                    <a:pt x="315" y="2604"/>
                  </a:lnTo>
                  <a:lnTo>
                    <a:pt x="333" y="2613"/>
                  </a:lnTo>
                  <a:lnTo>
                    <a:pt x="353" y="2616"/>
                  </a:lnTo>
                  <a:lnTo>
                    <a:pt x="713" y="2616"/>
                  </a:lnTo>
                  <a:lnTo>
                    <a:pt x="713" y="2073"/>
                  </a:lnTo>
                  <a:lnTo>
                    <a:pt x="353" y="2073"/>
                  </a:lnTo>
                  <a:close/>
                  <a:moveTo>
                    <a:pt x="3562" y="1955"/>
                  </a:moveTo>
                  <a:lnTo>
                    <a:pt x="3542" y="1957"/>
                  </a:lnTo>
                  <a:lnTo>
                    <a:pt x="3524" y="1966"/>
                  </a:lnTo>
                  <a:lnTo>
                    <a:pt x="3511" y="1980"/>
                  </a:lnTo>
                  <a:lnTo>
                    <a:pt x="3502" y="1998"/>
                  </a:lnTo>
                  <a:lnTo>
                    <a:pt x="3498" y="2017"/>
                  </a:lnTo>
                  <a:lnTo>
                    <a:pt x="3502" y="2038"/>
                  </a:lnTo>
                  <a:lnTo>
                    <a:pt x="3511" y="2055"/>
                  </a:lnTo>
                  <a:lnTo>
                    <a:pt x="3524" y="2068"/>
                  </a:lnTo>
                  <a:lnTo>
                    <a:pt x="3542" y="2077"/>
                  </a:lnTo>
                  <a:lnTo>
                    <a:pt x="3562" y="2081"/>
                  </a:lnTo>
                  <a:lnTo>
                    <a:pt x="3582" y="2077"/>
                  </a:lnTo>
                  <a:lnTo>
                    <a:pt x="3599" y="2068"/>
                  </a:lnTo>
                  <a:lnTo>
                    <a:pt x="3613" y="2055"/>
                  </a:lnTo>
                  <a:lnTo>
                    <a:pt x="3622" y="2038"/>
                  </a:lnTo>
                  <a:lnTo>
                    <a:pt x="3625" y="2017"/>
                  </a:lnTo>
                  <a:lnTo>
                    <a:pt x="3622" y="1998"/>
                  </a:lnTo>
                  <a:lnTo>
                    <a:pt x="3613" y="1980"/>
                  </a:lnTo>
                  <a:lnTo>
                    <a:pt x="3599" y="1966"/>
                  </a:lnTo>
                  <a:lnTo>
                    <a:pt x="3582" y="1957"/>
                  </a:lnTo>
                  <a:lnTo>
                    <a:pt x="3562" y="1955"/>
                  </a:lnTo>
                  <a:close/>
                  <a:moveTo>
                    <a:pt x="950" y="1428"/>
                  </a:moveTo>
                  <a:lnTo>
                    <a:pt x="921" y="1441"/>
                  </a:lnTo>
                  <a:lnTo>
                    <a:pt x="893" y="1458"/>
                  </a:lnTo>
                  <a:lnTo>
                    <a:pt x="871" y="1481"/>
                  </a:lnTo>
                  <a:lnTo>
                    <a:pt x="851" y="1507"/>
                  </a:lnTo>
                  <a:lnTo>
                    <a:pt x="837" y="1536"/>
                  </a:lnTo>
                  <a:lnTo>
                    <a:pt x="828" y="1568"/>
                  </a:lnTo>
                  <a:lnTo>
                    <a:pt x="824" y="1601"/>
                  </a:lnTo>
                  <a:lnTo>
                    <a:pt x="824" y="2616"/>
                  </a:lnTo>
                  <a:lnTo>
                    <a:pt x="1843" y="2616"/>
                  </a:lnTo>
                  <a:lnTo>
                    <a:pt x="1843" y="2489"/>
                  </a:lnTo>
                  <a:lnTo>
                    <a:pt x="1556" y="2489"/>
                  </a:lnTo>
                  <a:lnTo>
                    <a:pt x="1468" y="2487"/>
                  </a:lnTo>
                  <a:lnTo>
                    <a:pt x="1382" y="2478"/>
                  </a:lnTo>
                  <a:lnTo>
                    <a:pt x="1297" y="2462"/>
                  </a:lnTo>
                  <a:lnTo>
                    <a:pt x="1213" y="2441"/>
                  </a:lnTo>
                  <a:lnTo>
                    <a:pt x="1132" y="2414"/>
                  </a:lnTo>
                  <a:lnTo>
                    <a:pt x="1050" y="2382"/>
                  </a:lnTo>
                  <a:lnTo>
                    <a:pt x="1026" y="2369"/>
                  </a:lnTo>
                  <a:lnTo>
                    <a:pt x="1005" y="2352"/>
                  </a:lnTo>
                  <a:lnTo>
                    <a:pt x="985" y="2331"/>
                  </a:lnTo>
                  <a:lnTo>
                    <a:pt x="971" y="2309"/>
                  </a:lnTo>
                  <a:lnTo>
                    <a:pt x="960" y="2284"/>
                  </a:lnTo>
                  <a:lnTo>
                    <a:pt x="954" y="2256"/>
                  </a:lnTo>
                  <a:lnTo>
                    <a:pt x="950" y="2228"/>
                  </a:lnTo>
                  <a:lnTo>
                    <a:pt x="950" y="1428"/>
                  </a:lnTo>
                  <a:close/>
                  <a:moveTo>
                    <a:pt x="1062" y="1419"/>
                  </a:moveTo>
                  <a:lnTo>
                    <a:pt x="1062" y="2228"/>
                  </a:lnTo>
                  <a:lnTo>
                    <a:pt x="1065" y="2245"/>
                  </a:lnTo>
                  <a:lnTo>
                    <a:pt x="1071" y="2259"/>
                  </a:lnTo>
                  <a:lnTo>
                    <a:pt x="1082" y="2271"/>
                  </a:lnTo>
                  <a:lnTo>
                    <a:pt x="1095" y="2280"/>
                  </a:lnTo>
                  <a:lnTo>
                    <a:pt x="1171" y="2311"/>
                  </a:lnTo>
                  <a:lnTo>
                    <a:pt x="1248" y="2335"/>
                  </a:lnTo>
                  <a:lnTo>
                    <a:pt x="1248" y="1601"/>
                  </a:lnTo>
                  <a:lnTo>
                    <a:pt x="1251" y="1584"/>
                  </a:lnTo>
                  <a:lnTo>
                    <a:pt x="1259" y="1568"/>
                  </a:lnTo>
                  <a:lnTo>
                    <a:pt x="1271" y="1557"/>
                  </a:lnTo>
                  <a:lnTo>
                    <a:pt x="1286" y="1549"/>
                  </a:lnTo>
                  <a:lnTo>
                    <a:pt x="1304" y="1545"/>
                  </a:lnTo>
                  <a:lnTo>
                    <a:pt x="1321" y="1549"/>
                  </a:lnTo>
                  <a:lnTo>
                    <a:pt x="1337" y="1557"/>
                  </a:lnTo>
                  <a:lnTo>
                    <a:pt x="1348" y="1568"/>
                  </a:lnTo>
                  <a:lnTo>
                    <a:pt x="1356" y="1584"/>
                  </a:lnTo>
                  <a:lnTo>
                    <a:pt x="1360" y="1601"/>
                  </a:lnTo>
                  <a:lnTo>
                    <a:pt x="1360" y="2361"/>
                  </a:lnTo>
                  <a:lnTo>
                    <a:pt x="1424" y="2370"/>
                  </a:lnTo>
                  <a:lnTo>
                    <a:pt x="1490" y="2376"/>
                  </a:lnTo>
                  <a:lnTo>
                    <a:pt x="1556" y="2378"/>
                  </a:lnTo>
                  <a:lnTo>
                    <a:pt x="1961" y="2378"/>
                  </a:lnTo>
                  <a:lnTo>
                    <a:pt x="1961" y="2221"/>
                  </a:lnTo>
                  <a:lnTo>
                    <a:pt x="1958" y="2171"/>
                  </a:lnTo>
                  <a:lnTo>
                    <a:pt x="1949" y="2123"/>
                  </a:lnTo>
                  <a:lnTo>
                    <a:pt x="1936" y="2076"/>
                  </a:lnTo>
                  <a:lnTo>
                    <a:pt x="1915" y="2031"/>
                  </a:lnTo>
                  <a:lnTo>
                    <a:pt x="1890" y="1988"/>
                  </a:lnTo>
                  <a:lnTo>
                    <a:pt x="1566" y="1500"/>
                  </a:lnTo>
                  <a:lnTo>
                    <a:pt x="1547" y="1477"/>
                  </a:lnTo>
                  <a:lnTo>
                    <a:pt x="1525" y="1457"/>
                  </a:lnTo>
                  <a:lnTo>
                    <a:pt x="1500" y="1441"/>
                  </a:lnTo>
                  <a:lnTo>
                    <a:pt x="1473" y="1428"/>
                  </a:lnTo>
                  <a:lnTo>
                    <a:pt x="1445" y="1422"/>
                  </a:lnTo>
                  <a:lnTo>
                    <a:pt x="1414" y="1419"/>
                  </a:lnTo>
                  <a:lnTo>
                    <a:pt x="1062" y="1419"/>
                  </a:lnTo>
                  <a:close/>
                  <a:moveTo>
                    <a:pt x="2753" y="353"/>
                  </a:moveTo>
                  <a:lnTo>
                    <a:pt x="2749" y="361"/>
                  </a:lnTo>
                  <a:lnTo>
                    <a:pt x="2571" y="659"/>
                  </a:lnTo>
                  <a:lnTo>
                    <a:pt x="3419" y="1917"/>
                  </a:lnTo>
                  <a:lnTo>
                    <a:pt x="3437" y="1895"/>
                  </a:lnTo>
                  <a:lnTo>
                    <a:pt x="3460" y="1876"/>
                  </a:lnTo>
                  <a:lnTo>
                    <a:pt x="3485" y="1861"/>
                  </a:lnTo>
                  <a:lnTo>
                    <a:pt x="3512" y="1850"/>
                  </a:lnTo>
                  <a:lnTo>
                    <a:pt x="3541" y="1844"/>
                  </a:lnTo>
                  <a:lnTo>
                    <a:pt x="2753" y="353"/>
                  </a:lnTo>
                  <a:close/>
                  <a:moveTo>
                    <a:pt x="2334" y="320"/>
                  </a:moveTo>
                  <a:lnTo>
                    <a:pt x="1562" y="1348"/>
                  </a:lnTo>
                  <a:lnTo>
                    <a:pt x="1590" y="1366"/>
                  </a:lnTo>
                  <a:lnTo>
                    <a:pt x="1616" y="1387"/>
                  </a:lnTo>
                  <a:lnTo>
                    <a:pt x="1638" y="1411"/>
                  </a:lnTo>
                  <a:lnTo>
                    <a:pt x="1658" y="1439"/>
                  </a:lnTo>
                  <a:lnTo>
                    <a:pt x="1827" y="1690"/>
                  </a:lnTo>
                  <a:lnTo>
                    <a:pt x="2555" y="467"/>
                  </a:lnTo>
                  <a:lnTo>
                    <a:pt x="2551" y="467"/>
                  </a:lnTo>
                  <a:lnTo>
                    <a:pt x="2515" y="465"/>
                  </a:lnTo>
                  <a:lnTo>
                    <a:pt x="2481" y="457"/>
                  </a:lnTo>
                  <a:lnTo>
                    <a:pt x="2448" y="444"/>
                  </a:lnTo>
                  <a:lnTo>
                    <a:pt x="2419" y="427"/>
                  </a:lnTo>
                  <a:lnTo>
                    <a:pt x="2391" y="405"/>
                  </a:lnTo>
                  <a:lnTo>
                    <a:pt x="2369" y="380"/>
                  </a:lnTo>
                  <a:lnTo>
                    <a:pt x="2349" y="351"/>
                  </a:lnTo>
                  <a:lnTo>
                    <a:pt x="2334" y="320"/>
                  </a:lnTo>
                  <a:close/>
                  <a:moveTo>
                    <a:pt x="2551" y="111"/>
                  </a:moveTo>
                  <a:lnTo>
                    <a:pt x="2523" y="115"/>
                  </a:lnTo>
                  <a:lnTo>
                    <a:pt x="2498" y="124"/>
                  </a:lnTo>
                  <a:lnTo>
                    <a:pt x="2475" y="138"/>
                  </a:lnTo>
                  <a:lnTo>
                    <a:pt x="2456" y="157"/>
                  </a:lnTo>
                  <a:lnTo>
                    <a:pt x="2441" y="180"/>
                  </a:lnTo>
                  <a:lnTo>
                    <a:pt x="2432" y="205"/>
                  </a:lnTo>
                  <a:lnTo>
                    <a:pt x="2429" y="234"/>
                  </a:lnTo>
                  <a:lnTo>
                    <a:pt x="2432" y="262"/>
                  </a:lnTo>
                  <a:lnTo>
                    <a:pt x="2441" y="287"/>
                  </a:lnTo>
                  <a:lnTo>
                    <a:pt x="2456" y="311"/>
                  </a:lnTo>
                  <a:lnTo>
                    <a:pt x="2475" y="329"/>
                  </a:lnTo>
                  <a:lnTo>
                    <a:pt x="2498" y="344"/>
                  </a:lnTo>
                  <a:lnTo>
                    <a:pt x="2523" y="353"/>
                  </a:lnTo>
                  <a:lnTo>
                    <a:pt x="2551" y="356"/>
                  </a:lnTo>
                  <a:lnTo>
                    <a:pt x="2576" y="354"/>
                  </a:lnTo>
                  <a:lnTo>
                    <a:pt x="2599" y="347"/>
                  </a:lnTo>
                  <a:lnTo>
                    <a:pt x="2619" y="336"/>
                  </a:lnTo>
                  <a:lnTo>
                    <a:pt x="2638" y="321"/>
                  </a:lnTo>
                  <a:lnTo>
                    <a:pt x="2653" y="303"/>
                  </a:lnTo>
                  <a:lnTo>
                    <a:pt x="2656" y="298"/>
                  </a:lnTo>
                  <a:lnTo>
                    <a:pt x="2657" y="297"/>
                  </a:lnTo>
                  <a:lnTo>
                    <a:pt x="2666" y="278"/>
                  </a:lnTo>
                  <a:lnTo>
                    <a:pt x="2672" y="256"/>
                  </a:lnTo>
                  <a:lnTo>
                    <a:pt x="2674" y="234"/>
                  </a:lnTo>
                  <a:lnTo>
                    <a:pt x="2672" y="210"/>
                  </a:lnTo>
                  <a:lnTo>
                    <a:pt x="2665" y="187"/>
                  </a:lnTo>
                  <a:lnTo>
                    <a:pt x="2661" y="180"/>
                  </a:lnTo>
                  <a:lnTo>
                    <a:pt x="2658" y="174"/>
                  </a:lnTo>
                  <a:lnTo>
                    <a:pt x="2643" y="153"/>
                  </a:lnTo>
                  <a:lnTo>
                    <a:pt x="2625" y="136"/>
                  </a:lnTo>
                  <a:lnTo>
                    <a:pt x="2603" y="123"/>
                  </a:lnTo>
                  <a:lnTo>
                    <a:pt x="2579" y="115"/>
                  </a:lnTo>
                  <a:lnTo>
                    <a:pt x="2551" y="111"/>
                  </a:lnTo>
                  <a:close/>
                  <a:moveTo>
                    <a:pt x="2551" y="0"/>
                  </a:moveTo>
                  <a:lnTo>
                    <a:pt x="2591" y="3"/>
                  </a:lnTo>
                  <a:lnTo>
                    <a:pt x="2630" y="12"/>
                  </a:lnTo>
                  <a:lnTo>
                    <a:pt x="2665" y="28"/>
                  </a:lnTo>
                  <a:lnTo>
                    <a:pt x="2696" y="50"/>
                  </a:lnTo>
                  <a:lnTo>
                    <a:pt x="2724" y="75"/>
                  </a:lnTo>
                  <a:lnTo>
                    <a:pt x="2747" y="106"/>
                  </a:lnTo>
                  <a:lnTo>
                    <a:pt x="2766" y="138"/>
                  </a:lnTo>
                  <a:lnTo>
                    <a:pt x="3713" y="1930"/>
                  </a:lnTo>
                  <a:lnTo>
                    <a:pt x="3726" y="1957"/>
                  </a:lnTo>
                  <a:lnTo>
                    <a:pt x="3734" y="1986"/>
                  </a:lnTo>
                  <a:lnTo>
                    <a:pt x="3736" y="2017"/>
                  </a:lnTo>
                  <a:lnTo>
                    <a:pt x="3733" y="2050"/>
                  </a:lnTo>
                  <a:lnTo>
                    <a:pt x="3725" y="2080"/>
                  </a:lnTo>
                  <a:lnTo>
                    <a:pt x="3711" y="2108"/>
                  </a:lnTo>
                  <a:lnTo>
                    <a:pt x="3693" y="2132"/>
                  </a:lnTo>
                  <a:lnTo>
                    <a:pt x="3672" y="2153"/>
                  </a:lnTo>
                  <a:lnTo>
                    <a:pt x="3646" y="2170"/>
                  </a:lnTo>
                  <a:lnTo>
                    <a:pt x="3617" y="2183"/>
                  </a:lnTo>
                  <a:lnTo>
                    <a:pt x="3617" y="2612"/>
                  </a:lnTo>
                  <a:lnTo>
                    <a:pt x="3617" y="2620"/>
                  </a:lnTo>
                  <a:lnTo>
                    <a:pt x="3616" y="2626"/>
                  </a:lnTo>
                  <a:lnTo>
                    <a:pt x="3609" y="2660"/>
                  </a:lnTo>
                  <a:lnTo>
                    <a:pt x="3597" y="2693"/>
                  </a:lnTo>
                  <a:lnTo>
                    <a:pt x="3580" y="2724"/>
                  </a:lnTo>
                  <a:lnTo>
                    <a:pt x="3559" y="2752"/>
                  </a:lnTo>
                  <a:lnTo>
                    <a:pt x="3533" y="2777"/>
                  </a:lnTo>
                  <a:lnTo>
                    <a:pt x="3504" y="2799"/>
                  </a:lnTo>
                  <a:lnTo>
                    <a:pt x="3471" y="2815"/>
                  </a:lnTo>
                  <a:lnTo>
                    <a:pt x="3282" y="2891"/>
                  </a:lnTo>
                  <a:lnTo>
                    <a:pt x="3231" y="2908"/>
                  </a:lnTo>
                  <a:lnTo>
                    <a:pt x="3180" y="2918"/>
                  </a:lnTo>
                  <a:lnTo>
                    <a:pt x="3127" y="2920"/>
                  </a:lnTo>
                  <a:lnTo>
                    <a:pt x="3081" y="2918"/>
                  </a:lnTo>
                  <a:lnTo>
                    <a:pt x="3034" y="2910"/>
                  </a:lnTo>
                  <a:lnTo>
                    <a:pt x="2989" y="2896"/>
                  </a:lnTo>
                  <a:lnTo>
                    <a:pt x="2946" y="2878"/>
                  </a:lnTo>
                  <a:lnTo>
                    <a:pt x="2904" y="2855"/>
                  </a:lnTo>
                  <a:lnTo>
                    <a:pt x="2865" y="2826"/>
                  </a:lnTo>
                  <a:lnTo>
                    <a:pt x="2454" y="2487"/>
                  </a:lnTo>
                  <a:lnTo>
                    <a:pt x="2442" y="2474"/>
                  </a:lnTo>
                  <a:lnTo>
                    <a:pt x="2436" y="2458"/>
                  </a:lnTo>
                  <a:lnTo>
                    <a:pt x="2433" y="2441"/>
                  </a:lnTo>
                  <a:lnTo>
                    <a:pt x="2438" y="2424"/>
                  </a:lnTo>
                  <a:lnTo>
                    <a:pt x="2447" y="2409"/>
                  </a:lnTo>
                  <a:lnTo>
                    <a:pt x="2459" y="2397"/>
                  </a:lnTo>
                  <a:lnTo>
                    <a:pt x="2475" y="2390"/>
                  </a:lnTo>
                  <a:lnTo>
                    <a:pt x="2492" y="2388"/>
                  </a:lnTo>
                  <a:lnTo>
                    <a:pt x="2509" y="2393"/>
                  </a:lnTo>
                  <a:lnTo>
                    <a:pt x="2525" y="2402"/>
                  </a:lnTo>
                  <a:lnTo>
                    <a:pt x="2656" y="2509"/>
                  </a:lnTo>
                  <a:lnTo>
                    <a:pt x="3418" y="2203"/>
                  </a:lnTo>
                  <a:lnTo>
                    <a:pt x="3431" y="2200"/>
                  </a:lnTo>
                  <a:lnTo>
                    <a:pt x="3446" y="2200"/>
                  </a:lnTo>
                  <a:lnTo>
                    <a:pt x="3460" y="2204"/>
                  </a:lnTo>
                  <a:lnTo>
                    <a:pt x="3472" y="2211"/>
                  </a:lnTo>
                  <a:lnTo>
                    <a:pt x="3482" y="2221"/>
                  </a:lnTo>
                  <a:lnTo>
                    <a:pt x="3490" y="2235"/>
                  </a:lnTo>
                  <a:lnTo>
                    <a:pt x="3506" y="2275"/>
                  </a:lnTo>
                  <a:lnTo>
                    <a:pt x="3506" y="2183"/>
                  </a:lnTo>
                  <a:lnTo>
                    <a:pt x="3478" y="2170"/>
                  </a:lnTo>
                  <a:lnTo>
                    <a:pt x="3452" y="2152"/>
                  </a:lnTo>
                  <a:lnTo>
                    <a:pt x="3429" y="2131"/>
                  </a:lnTo>
                  <a:lnTo>
                    <a:pt x="3411" y="2106"/>
                  </a:lnTo>
                  <a:lnTo>
                    <a:pt x="2507" y="766"/>
                  </a:lnTo>
                  <a:lnTo>
                    <a:pt x="1895" y="1794"/>
                  </a:lnTo>
                  <a:lnTo>
                    <a:pt x="1983" y="1926"/>
                  </a:lnTo>
                  <a:lnTo>
                    <a:pt x="2010" y="1971"/>
                  </a:lnTo>
                  <a:lnTo>
                    <a:pt x="2032" y="2018"/>
                  </a:lnTo>
                  <a:lnTo>
                    <a:pt x="2050" y="2067"/>
                  </a:lnTo>
                  <a:lnTo>
                    <a:pt x="2063" y="2117"/>
                  </a:lnTo>
                  <a:lnTo>
                    <a:pt x="2069" y="2168"/>
                  </a:lnTo>
                  <a:lnTo>
                    <a:pt x="2073" y="2221"/>
                  </a:lnTo>
                  <a:lnTo>
                    <a:pt x="2073" y="2433"/>
                  </a:lnTo>
                  <a:lnTo>
                    <a:pt x="2072" y="2441"/>
                  </a:lnTo>
                  <a:lnTo>
                    <a:pt x="2069" y="2452"/>
                  </a:lnTo>
                  <a:lnTo>
                    <a:pt x="2066" y="2460"/>
                  </a:lnTo>
                  <a:lnTo>
                    <a:pt x="2064" y="2463"/>
                  </a:lnTo>
                  <a:lnTo>
                    <a:pt x="2063" y="2465"/>
                  </a:lnTo>
                  <a:lnTo>
                    <a:pt x="2060" y="2469"/>
                  </a:lnTo>
                  <a:lnTo>
                    <a:pt x="2059" y="2469"/>
                  </a:lnTo>
                  <a:lnTo>
                    <a:pt x="2058" y="2471"/>
                  </a:lnTo>
                  <a:lnTo>
                    <a:pt x="2056" y="2473"/>
                  </a:lnTo>
                  <a:lnTo>
                    <a:pt x="2055" y="2474"/>
                  </a:lnTo>
                  <a:lnTo>
                    <a:pt x="2052" y="2477"/>
                  </a:lnTo>
                  <a:lnTo>
                    <a:pt x="2050" y="2478"/>
                  </a:lnTo>
                  <a:lnTo>
                    <a:pt x="2048" y="2480"/>
                  </a:lnTo>
                  <a:lnTo>
                    <a:pt x="2043" y="2482"/>
                  </a:lnTo>
                  <a:lnTo>
                    <a:pt x="2039" y="2485"/>
                  </a:lnTo>
                  <a:lnTo>
                    <a:pt x="2039" y="2485"/>
                  </a:lnTo>
                  <a:lnTo>
                    <a:pt x="2035" y="2486"/>
                  </a:lnTo>
                  <a:lnTo>
                    <a:pt x="2033" y="2487"/>
                  </a:lnTo>
                  <a:lnTo>
                    <a:pt x="2031" y="2488"/>
                  </a:lnTo>
                  <a:lnTo>
                    <a:pt x="2027" y="2488"/>
                  </a:lnTo>
                  <a:lnTo>
                    <a:pt x="2024" y="2489"/>
                  </a:lnTo>
                  <a:lnTo>
                    <a:pt x="2023" y="2489"/>
                  </a:lnTo>
                  <a:lnTo>
                    <a:pt x="2019" y="2489"/>
                  </a:lnTo>
                  <a:lnTo>
                    <a:pt x="2017" y="2489"/>
                  </a:lnTo>
                  <a:lnTo>
                    <a:pt x="1954" y="2489"/>
                  </a:lnTo>
                  <a:lnTo>
                    <a:pt x="1954" y="2672"/>
                  </a:lnTo>
                  <a:lnTo>
                    <a:pt x="1950" y="2689"/>
                  </a:lnTo>
                  <a:lnTo>
                    <a:pt x="1942" y="2705"/>
                  </a:lnTo>
                  <a:lnTo>
                    <a:pt x="1931" y="2716"/>
                  </a:lnTo>
                  <a:lnTo>
                    <a:pt x="1915" y="2724"/>
                  </a:lnTo>
                  <a:lnTo>
                    <a:pt x="1898" y="2727"/>
                  </a:lnTo>
                  <a:lnTo>
                    <a:pt x="1418" y="2727"/>
                  </a:lnTo>
                  <a:lnTo>
                    <a:pt x="1418" y="2853"/>
                  </a:lnTo>
                  <a:lnTo>
                    <a:pt x="1838" y="2853"/>
                  </a:lnTo>
                  <a:lnTo>
                    <a:pt x="1890" y="2857"/>
                  </a:lnTo>
                  <a:lnTo>
                    <a:pt x="1940" y="2866"/>
                  </a:lnTo>
                  <a:lnTo>
                    <a:pt x="1988" y="2882"/>
                  </a:lnTo>
                  <a:lnTo>
                    <a:pt x="2032" y="2902"/>
                  </a:lnTo>
                  <a:lnTo>
                    <a:pt x="2074" y="2927"/>
                  </a:lnTo>
                  <a:lnTo>
                    <a:pt x="2112" y="2958"/>
                  </a:lnTo>
                  <a:lnTo>
                    <a:pt x="2146" y="2992"/>
                  </a:lnTo>
                  <a:lnTo>
                    <a:pt x="2177" y="3030"/>
                  </a:lnTo>
                  <a:lnTo>
                    <a:pt x="2202" y="3072"/>
                  </a:lnTo>
                  <a:lnTo>
                    <a:pt x="2222" y="3116"/>
                  </a:lnTo>
                  <a:lnTo>
                    <a:pt x="2238" y="3164"/>
                  </a:lnTo>
                  <a:lnTo>
                    <a:pt x="2247" y="3214"/>
                  </a:lnTo>
                  <a:lnTo>
                    <a:pt x="2251" y="3266"/>
                  </a:lnTo>
                  <a:lnTo>
                    <a:pt x="2247" y="3317"/>
                  </a:lnTo>
                  <a:lnTo>
                    <a:pt x="2238" y="3367"/>
                  </a:lnTo>
                  <a:lnTo>
                    <a:pt x="2222" y="3415"/>
                  </a:lnTo>
                  <a:lnTo>
                    <a:pt x="2202" y="3460"/>
                  </a:lnTo>
                  <a:lnTo>
                    <a:pt x="2177" y="3501"/>
                  </a:lnTo>
                  <a:lnTo>
                    <a:pt x="2146" y="3540"/>
                  </a:lnTo>
                  <a:lnTo>
                    <a:pt x="2112" y="3574"/>
                  </a:lnTo>
                  <a:lnTo>
                    <a:pt x="2074" y="3604"/>
                  </a:lnTo>
                  <a:lnTo>
                    <a:pt x="2032" y="3630"/>
                  </a:lnTo>
                  <a:lnTo>
                    <a:pt x="1988" y="3651"/>
                  </a:lnTo>
                  <a:lnTo>
                    <a:pt x="1940" y="3666"/>
                  </a:lnTo>
                  <a:lnTo>
                    <a:pt x="1890" y="3676"/>
                  </a:lnTo>
                  <a:lnTo>
                    <a:pt x="1838" y="3678"/>
                  </a:lnTo>
                  <a:lnTo>
                    <a:pt x="413" y="3678"/>
                  </a:lnTo>
                  <a:lnTo>
                    <a:pt x="360" y="3676"/>
                  </a:lnTo>
                  <a:lnTo>
                    <a:pt x="311" y="3666"/>
                  </a:lnTo>
                  <a:lnTo>
                    <a:pt x="263" y="3651"/>
                  </a:lnTo>
                  <a:lnTo>
                    <a:pt x="219" y="3630"/>
                  </a:lnTo>
                  <a:lnTo>
                    <a:pt x="177" y="3604"/>
                  </a:lnTo>
                  <a:lnTo>
                    <a:pt x="138" y="3574"/>
                  </a:lnTo>
                  <a:lnTo>
                    <a:pt x="104" y="3540"/>
                  </a:lnTo>
                  <a:lnTo>
                    <a:pt x="74" y="3501"/>
                  </a:lnTo>
                  <a:lnTo>
                    <a:pt x="49" y="3460"/>
                  </a:lnTo>
                  <a:lnTo>
                    <a:pt x="28" y="3415"/>
                  </a:lnTo>
                  <a:lnTo>
                    <a:pt x="12" y="3367"/>
                  </a:lnTo>
                  <a:lnTo>
                    <a:pt x="3" y="3317"/>
                  </a:lnTo>
                  <a:lnTo>
                    <a:pt x="0" y="3266"/>
                  </a:lnTo>
                  <a:lnTo>
                    <a:pt x="3" y="3214"/>
                  </a:lnTo>
                  <a:lnTo>
                    <a:pt x="12" y="3164"/>
                  </a:lnTo>
                  <a:lnTo>
                    <a:pt x="28" y="3116"/>
                  </a:lnTo>
                  <a:lnTo>
                    <a:pt x="49" y="3072"/>
                  </a:lnTo>
                  <a:lnTo>
                    <a:pt x="74" y="3030"/>
                  </a:lnTo>
                  <a:lnTo>
                    <a:pt x="104" y="2992"/>
                  </a:lnTo>
                  <a:lnTo>
                    <a:pt x="138" y="2958"/>
                  </a:lnTo>
                  <a:lnTo>
                    <a:pt x="177" y="2927"/>
                  </a:lnTo>
                  <a:lnTo>
                    <a:pt x="219" y="2902"/>
                  </a:lnTo>
                  <a:lnTo>
                    <a:pt x="263" y="2882"/>
                  </a:lnTo>
                  <a:lnTo>
                    <a:pt x="311" y="2866"/>
                  </a:lnTo>
                  <a:lnTo>
                    <a:pt x="360" y="2857"/>
                  </a:lnTo>
                  <a:lnTo>
                    <a:pt x="413" y="2853"/>
                  </a:lnTo>
                  <a:lnTo>
                    <a:pt x="832" y="2853"/>
                  </a:lnTo>
                  <a:lnTo>
                    <a:pt x="832" y="2727"/>
                  </a:lnTo>
                  <a:lnTo>
                    <a:pt x="353" y="2727"/>
                  </a:lnTo>
                  <a:lnTo>
                    <a:pt x="317" y="2724"/>
                  </a:lnTo>
                  <a:lnTo>
                    <a:pt x="284" y="2714"/>
                  </a:lnTo>
                  <a:lnTo>
                    <a:pt x="255" y="2698"/>
                  </a:lnTo>
                  <a:lnTo>
                    <a:pt x="229" y="2676"/>
                  </a:lnTo>
                  <a:lnTo>
                    <a:pt x="209" y="2650"/>
                  </a:lnTo>
                  <a:lnTo>
                    <a:pt x="192" y="2621"/>
                  </a:lnTo>
                  <a:lnTo>
                    <a:pt x="181" y="2588"/>
                  </a:lnTo>
                  <a:lnTo>
                    <a:pt x="178" y="2553"/>
                  </a:lnTo>
                  <a:lnTo>
                    <a:pt x="178" y="2136"/>
                  </a:lnTo>
                  <a:lnTo>
                    <a:pt x="181" y="2101"/>
                  </a:lnTo>
                  <a:lnTo>
                    <a:pt x="192" y="2068"/>
                  </a:lnTo>
                  <a:lnTo>
                    <a:pt x="209" y="2039"/>
                  </a:lnTo>
                  <a:lnTo>
                    <a:pt x="229" y="2013"/>
                  </a:lnTo>
                  <a:lnTo>
                    <a:pt x="255" y="1991"/>
                  </a:lnTo>
                  <a:lnTo>
                    <a:pt x="284" y="1975"/>
                  </a:lnTo>
                  <a:lnTo>
                    <a:pt x="317" y="1965"/>
                  </a:lnTo>
                  <a:lnTo>
                    <a:pt x="353" y="1962"/>
                  </a:lnTo>
                  <a:lnTo>
                    <a:pt x="713" y="1962"/>
                  </a:lnTo>
                  <a:lnTo>
                    <a:pt x="713" y="1601"/>
                  </a:lnTo>
                  <a:lnTo>
                    <a:pt x="717" y="1558"/>
                  </a:lnTo>
                  <a:lnTo>
                    <a:pt x="726" y="1517"/>
                  </a:lnTo>
                  <a:lnTo>
                    <a:pt x="740" y="1477"/>
                  </a:lnTo>
                  <a:lnTo>
                    <a:pt x="761" y="1442"/>
                  </a:lnTo>
                  <a:lnTo>
                    <a:pt x="785" y="1409"/>
                  </a:lnTo>
                  <a:lnTo>
                    <a:pt x="814" y="1380"/>
                  </a:lnTo>
                  <a:lnTo>
                    <a:pt x="847" y="1355"/>
                  </a:lnTo>
                  <a:lnTo>
                    <a:pt x="883" y="1335"/>
                  </a:lnTo>
                  <a:lnTo>
                    <a:pt x="922" y="1321"/>
                  </a:lnTo>
                  <a:lnTo>
                    <a:pt x="963" y="1310"/>
                  </a:lnTo>
                  <a:lnTo>
                    <a:pt x="1007" y="1308"/>
                  </a:lnTo>
                  <a:lnTo>
                    <a:pt x="1414" y="1308"/>
                  </a:lnTo>
                  <a:lnTo>
                    <a:pt x="1452" y="1310"/>
                  </a:lnTo>
                  <a:lnTo>
                    <a:pt x="2359" y="101"/>
                  </a:lnTo>
                  <a:lnTo>
                    <a:pt x="2359" y="101"/>
                  </a:lnTo>
                  <a:lnTo>
                    <a:pt x="2382" y="73"/>
                  </a:lnTo>
                  <a:lnTo>
                    <a:pt x="2410" y="48"/>
                  </a:lnTo>
                  <a:lnTo>
                    <a:pt x="2441" y="27"/>
                  </a:lnTo>
                  <a:lnTo>
                    <a:pt x="2475" y="12"/>
                  </a:lnTo>
                  <a:lnTo>
                    <a:pt x="2513" y="3"/>
                  </a:lnTo>
                  <a:lnTo>
                    <a:pt x="2551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</p:grpSp>
      <p:sp>
        <p:nvSpPr>
          <p:cNvPr id="23625" name="TextBox 158">
            <a:extLst>
              <a:ext uri="{FF2B5EF4-FFF2-40B4-BE49-F238E27FC236}">
                <a16:creationId xmlns:a16="http://schemas.microsoft.com/office/drawing/2014/main" id="{E039C87F-72AD-4054-B63A-554ACFFB9E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4663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6" name="TextBox 159">
            <a:extLst>
              <a:ext uri="{FF2B5EF4-FFF2-40B4-BE49-F238E27FC236}">
                <a16:creationId xmlns:a16="http://schemas.microsoft.com/office/drawing/2014/main" id="{C89D28E8-6E73-4458-A352-42A749EC09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3488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7" name="TextBox 127">
            <a:extLst>
              <a:ext uri="{FF2B5EF4-FFF2-40B4-BE49-F238E27FC236}">
                <a16:creationId xmlns:a16="http://schemas.microsoft.com/office/drawing/2014/main" id="{D2C4F5E9-E854-4896-8355-45DEC69063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7813" y="6378575"/>
            <a:ext cx="426243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Sources: National Bureau of Statistics, World Bank Report on Doing Business in Nigeria 2018, climate-</a:t>
            </a:r>
            <a:r>
              <a:rPr lang="en-GB" altLang="en-US" sz="800" dirty="0" err="1">
                <a:latin typeface="Calibri" panose="020F0502020204030204" pitchFamily="34" charset="0"/>
              </a:rPr>
              <a:t>data.org</a:t>
            </a:r>
            <a:r>
              <a:rPr lang="en-GB" altLang="en-US" sz="800" dirty="0">
                <a:latin typeface="Calibri" panose="020F0502020204030204" pitchFamily="34" charset="0"/>
              </a:rPr>
              <a:t>, State Government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Exchange rate= $1/N305 (Central Bank of Nigeria)</a:t>
            </a:r>
          </a:p>
        </p:txBody>
      </p:sp>
      <p:sp>
        <p:nvSpPr>
          <p:cNvPr id="23628" name="TextBox 128">
            <a:extLst>
              <a:ext uri="{FF2B5EF4-FFF2-40B4-BE49-F238E27FC236}">
                <a16:creationId xmlns:a16="http://schemas.microsoft.com/office/drawing/2014/main" id="{409BCC6F-A5F0-4C79-BB4A-38A1ABC14F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08597" y="3649889"/>
            <a:ext cx="49564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Health</a:t>
            </a:r>
          </a:p>
        </p:txBody>
      </p:sp>
      <p:sp>
        <p:nvSpPr>
          <p:cNvPr id="23629" name="TextBox 129">
            <a:extLst>
              <a:ext uri="{FF2B5EF4-FFF2-40B4-BE49-F238E27FC236}">
                <a16:creationId xmlns:a16="http://schemas.microsoft.com/office/drawing/2014/main" id="{489E7B41-20C9-4493-8E7D-07238EB8FA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2892" y="3654980"/>
            <a:ext cx="56137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Cowpea</a:t>
            </a:r>
          </a:p>
        </p:txBody>
      </p:sp>
      <p:sp>
        <p:nvSpPr>
          <p:cNvPr id="23630" name="TextBox 130">
            <a:extLst>
              <a:ext uri="{FF2B5EF4-FFF2-40B4-BE49-F238E27FC236}">
                <a16:creationId xmlns:a16="http://schemas.microsoft.com/office/drawing/2014/main" id="{048DE5D8-5309-42DA-9D97-2935A10CB7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31" name="TextBox 131">
            <a:extLst>
              <a:ext uri="{FF2B5EF4-FFF2-40B4-BE49-F238E27FC236}">
                <a16:creationId xmlns:a16="http://schemas.microsoft.com/office/drawing/2014/main" id="{FF8B6C80-43E2-43AF-A364-A31845F05C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5388" y="3656013"/>
            <a:ext cx="552450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Cassava</a:t>
            </a:r>
          </a:p>
        </p:txBody>
      </p:sp>
      <p:sp>
        <p:nvSpPr>
          <p:cNvPr id="23632" name="TextBox 132">
            <a:extLst>
              <a:ext uri="{FF2B5EF4-FFF2-40B4-BE49-F238E27FC236}">
                <a16:creationId xmlns:a16="http://schemas.microsoft.com/office/drawing/2014/main" id="{A1C640C1-61D1-4BA5-8A76-E684397E8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46689" y="3650683"/>
            <a:ext cx="56778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Tourism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238751" y="3833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23638" name="TextBox 141">
            <a:extLst>
              <a:ext uri="{FF2B5EF4-FFF2-40B4-BE49-F238E27FC236}">
                <a16:creationId xmlns:a16="http://schemas.microsoft.com/office/drawing/2014/main" id="{EE481231-8673-4FD7-B5CC-900AEE7A9F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8233" y="3652271"/>
            <a:ext cx="66877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Sugarcane</a:t>
            </a:r>
          </a:p>
        </p:txBody>
      </p:sp>
      <p:sp>
        <p:nvSpPr>
          <p:cNvPr id="23649" name="TextBox 165">
            <a:extLst>
              <a:ext uri="{FF2B5EF4-FFF2-40B4-BE49-F238E27FC236}">
                <a16:creationId xmlns:a16="http://schemas.microsoft.com/office/drawing/2014/main" id="{1242633E-9CB1-48ED-83F4-2223DFC7ED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85986" y="4459560"/>
            <a:ext cx="734496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Gum Arabic</a:t>
            </a:r>
          </a:p>
        </p:txBody>
      </p:sp>
      <p:sp>
        <p:nvSpPr>
          <p:cNvPr id="23650" name="TextBox 166">
            <a:extLst>
              <a:ext uri="{FF2B5EF4-FFF2-40B4-BE49-F238E27FC236}">
                <a16:creationId xmlns:a16="http://schemas.microsoft.com/office/drawing/2014/main" id="{6B51369B-8FA6-464A-B908-12B0FFE6B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85166" y="4458812"/>
            <a:ext cx="71365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Sugar Plant</a:t>
            </a:r>
          </a:p>
        </p:txBody>
      </p:sp>
      <p:sp>
        <p:nvSpPr>
          <p:cNvPr id="23651" name="TextBox 167">
            <a:extLst>
              <a:ext uri="{FF2B5EF4-FFF2-40B4-BE49-F238E27FC236}">
                <a16:creationId xmlns:a16="http://schemas.microsoft.com/office/drawing/2014/main" id="{4F9404E1-8339-401B-8B10-4C7D1A8CEC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30261" y="4457881"/>
            <a:ext cx="611065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Light Rail</a:t>
            </a:r>
          </a:p>
        </p:txBody>
      </p:sp>
      <p:sp>
        <p:nvSpPr>
          <p:cNvPr id="23652" name="TextBox 168">
            <a:extLst>
              <a:ext uri="{FF2B5EF4-FFF2-40B4-BE49-F238E27FC236}">
                <a16:creationId xmlns:a16="http://schemas.microsoft.com/office/drawing/2014/main" id="{1C04917D-B2C3-4C21-8CC2-A45C349B4B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08306" y="4457133"/>
            <a:ext cx="708848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Bunt Bricks</a:t>
            </a:r>
          </a:p>
        </p:txBody>
      </p:sp>
      <p:sp>
        <p:nvSpPr>
          <p:cNvPr id="23653" name="TextBox 169">
            <a:extLst>
              <a:ext uri="{FF2B5EF4-FFF2-40B4-BE49-F238E27FC236}">
                <a16:creationId xmlns:a16="http://schemas.microsoft.com/office/drawing/2014/main" id="{4BADA327-4F2D-4897-B7C0-4647A1484B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04876" y="4457973"/>
            <a:ext cx="61587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Livestock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8A28B48-1841-45BB-BFBC-EADE77B37C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5413121"/>
              </p:ext>
            </p:extLst>
          </p:nvPr>
        </p:nvGraphicFramePr>
        <p:xfrm>
          <a:off x="2779712" y="2589213"/>
          <a:ext cx="1482725" cy="812800"/>
        </p:xfrm>
        <a:graphic>
          <a:graphicData uri="http://schemas.openxmlformats.org/drawingml/2006/table">
            <a:tbl>
              <a:tblPr/>
              <a:tblGrid>
                <a:gridCol w="11367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9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32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GB" sz="1000" b="1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Domestic</a:t>
                      </a:r>
                      <a:r>
                        <a:rPr lang="en-GB" sz="10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US" sz="1000" b="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International 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Railway</a:t>
                      </a:r>
                      <a:r>
                        <a:rPr lang="en-GB" sz="1000" b="1" kern="1200" baseline="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 Station</a:t>
                      </a:r>
                      <a:endParaRPr lang="en-GB" sz="1000" b="1" kern="1200" dirty="0">
                        <a:solidFill>
                          <a:srgbClr val="292929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32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Sea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7" name="TextBox 136">
            <a:extLst>
              <a:ext uri="{FF2B5EF4-FFF2-40B4-BE49-F238E27FC236}">
                <a16:creationId xmlns:a16="http://schemas.microsoft.com/office/drawing/2014/main" id="{2F4C4876-7073-4C13-A183-127A8909BDC0}"/>
              </a:ext>
            </a:extLst>
          </p:cNvPr>
          <p:cNvSpPr txBox="1"/>
          <p:nvPr/>
        </p:nvSpPr>
        <p:spPr>
          <a:xfrm>
            <a:off x="538163" y="5268913"/>
            <a:ext cx="373856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For further details</a:t>
            </a:r>
          </a:p>
        </p:txBody>
      </p:sp>
      <p:sp>
        <p:nvSpPr>
          <p:cNvPr id="23676" name="TextBox 156">
            <a:extLst>
              <a:ext uri="{FF2B5EF4-FFF2-40B4-BE49-F238E27FC236}">
                <a16:creationId xmlns:a16="http://schemas.microsoft.com/office/drawing/2014/main" id="{95D66AAF-6B48-4B9E-9E5B-F1BB063A89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6300" y="6342063"/>
            <a:ext cx="37306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Abbreviations: </a:t>
            </a:r>
            <a:r>
              <a:rPr lang="en-GB" altLang="en-US" sz="800" b="1" dirty="0">
                <a:latin typeface="Calibri" panose="020F0502020204030204" pitchFamily="34" charset="0"/>
              </a:rPr>
              <a:t>	NICPS</a:t>
            </a:r>
            <a:r>
              <a:rPr lang="en-GB" altLang="en-US" sz="800" dirty="0">
                <a:latin typeface="Calibri" panose="020F0502020204030204" pitchFamily="34" charset="0"/>
              </a:rPr>
              <a:t>: Nigerian Investment Certification Programme for States                  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	</a:t>
            </a:r>
            <a:r>
              <a:rPr lang="en-GB" altLang="en-US" sz="800" b="1" dirty="0">
                <a:latin typeface="Calibri" panose="020F0502020204030204" pitchFamily="34" charset="0"/>
              </a:rPr>
              <a:t>IGR</a:t>
            </a:r>
            <a:r>
              <a:rPr lang="en-GB" altLang="en-US" sz="800" dirty="0">
                <a:latin typeface="Calibri" panose="020F0502020204030204" pitchFamily="34" charset="0"/>
              </a:rPr>
              <a:t>:     Internal Generated Revenue</a:t>
            </a:r>
          </a:p>
        </p:txBody>
      </p:sp>
      <p:sp>
        <p:nvSpPr>
          <p:cNvPr id="23678" name="TextBox 152">
            <a:extLst>
              <a:ext uri="{FF2B5EF4-FFF2-40B4-BE49-F238E27FC236}">
                <a16:creationId xmlns:a16="http://schemas.microsoft.com/office/drawing/2014/main" id="{BFAF6896-F732-45FC-AC47-950DF99D9E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61827" y="1081088"/>
            <a:ext cx="3781425" cy="1754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15888" indent="-11588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1200" dirty="0" err="1">
                <a:latin typeface="Calibri" panose="020F0502020204030204" pitchFamily="34" charset="0"/>
              </a:rPr>
              <a:t>Yankari</a:t>
            </a:r>
            <a:r>
              <a:rPr lang="en-US" sz="1200" dirty="0">
                <a:latin typeface="Calibri" panose="020F0502020204030204" pitchFamily="34" charset="0"/>
              </a:rPr>
              <a:t> game reserve (biggest game reserve in West Africa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>
                <a:latin typeface="Calibri" panose="020F0502020204030204" pitchFamily="34" charset="0"/>
              </a:rPr>
              <a:t>High deposits of kaoli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>
                <a:latin typeface="Calibri" panose="020F0502020204030204" pitchFamily="34" charset="0"/>
              </a:rPr>
              <a:t>Hydro-power (</a:t>
            </a:r>
            <a:r>
              <a:rPr lang="en-US" sz="1200" dirty="0" err="1">
                <a:latin typeface="Calibri" panose="020F0502020204030204" pitchFamily="34" charset="0"/>
              </a:rPr>
              <a:t>Kafi</a:t>
            </a:r>
            <a:r>
              <a:rPr lang="en-US" sz="1200" dirty="0">
                <a:latin typeface="Calibri" panose="020F0502020204030204" pitchFamily="34" charset="0"/>
              </a:rPr>
              <a:t> </a:t>
            </a:r>
            <a:r>
              <a:rPr lang="en-US" sz="1200" dirty="0" err="1">
                <a:latin typeface="Calibri" panose="020F0502020204030204" pitchFamily="34" charset="0"/>
              </a:rPr>
              <a:t>Zaki</a:t>
            </a:r>
            <a:r>
              <a:rPr lang="en-US" sz="1200" dirty="0">
                <a:latin typeface="Calibri" panose="020F0502020204030204" pitchFamily="34" charset="0"/>
              </a:rPr>
              <a:t> Dam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>
                <a:latin typeface="Calibri" panose="020F0502020204030204" pitchFamily="34" charset="0"/>
              </a:rPr>
              <a:t>Spans  two distinctive vegetation zones (</a:t>
            </a:r>
            <a:r>
              <a:rPr lang="en-US" sz="1200" dirty="0" err="1">
                <a:latin typeface="Calibri" panose="020F0502020204030204" pitchFamily="34" charset="0"/>
              </a:rPr>
              <a:t>sudan</a:t>
            </a:r>
            <a:r>
              <a:rPr lang="en-US" sz="1200" dirty="0">
                <a:latin typeface="Calibri" panose="020F0502020204030204" pitchFamily="34" charset="0"/>
              </a:rPr>
              <a:t> and </a:t>
            </a:r>
            <a:r>
              <a:rPr lang="en-US" sz="1200" dirty="0" err="1">
                <a:latin typeface="Calibri" panose="020F0502020204030204" pitchFamily="34" charset="0"/>
              </a:rPr>
              <a:t>sahel</a:t>
            </a:r>
            <a:r>
              <a:rPr lang="en-US" sz="1200" dirty="0">
                <a:latin typeface="Calibri" panose="020F0502020204030204" pitchFamily="34" charset="0"/>
              </a:rPr>
              <a:t> savanna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>
                <a:latin typeface="Calibri" panose="020F0502020204030204" pitchFamily="34" charset="0"/>
              </a:rPr>
              <a:t>1,300 millimeters of favorable amount of rainfall annually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>
                <a:latin typeface="Calibri" panose="020F0502020204030204" pitchFamily="34" charset="0"/>
              </a:rPr>
              <a:t>Strategic location (borders 7 states) 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D4E23C6-26A0-4545-B8F7-7007C8EEBFE4}"/>
              </a:ext>
            </a:extLst>
          </p:cNvPr>
          <p:cNvSpPr txBox="1"/>
          <p:nvPr/>
        </p:nvSpPr>
        <p:spPr>
          <a:xfrm>
            <a:off x="4338638" y="5265738"/>
            <a:ext cx="247491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id you know?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132" name="Text Placeholder 42">
            <a:extLst>
              <a:ext uri="{FF2B5EF4-FFF2-40B4-BE49-F238E27FC236}">
                <a16:creationId xmlns:a16="http://schemas.microsoft.com/office/drawing/2014/main" id="{D510D0DC-1548-4249-8DB1-9A1055126D07}"/>
              </a:ext>
            </a:extLst>
          </p:cNvPr>
          <p:cNvSpPr txBox="1">
            <a:spLocks/>
          </p:cNvSpPr>
          <p:nvPr/>
        </p:nvSpPr>
        <p:spPr>
          <a:xfrm>
            <a:off x="522288" y="5511800"/>
            <a:ext cx="3733800" cy="701675"/>
          </a:xfrm>
          <a:prstGeom prst="rect">
            <a:avLst/>
          </a:prstGeom>
        </p:spPr>
        <p:txBody>
          <a:bodyPr lIns="36576" tIns="0" rIns="36576" bIns="0"/>
          <a:lstStyle>
            <a:lvl1pPr marL="0" indent="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/>
              <a:buNone/>
              <a:defRPr sz="800" b="1" baseline="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6575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93763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 charset="0"/>
              <a:buChar char="►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50950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619250" indent="-188913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0764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25336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29908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34480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NIGERIAN INVESTMENT PROMOTION COMMISSION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>
                <a:solidFill>
                  <a:schemeClr val="tx1"/>
                </a:solidFill>
                <a:hlinkClick r:id="rId7"/>
              </a:rPr>
              <a:t>statesco@nipc.gov.ng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endParaRPr lang="en-US" sz="5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BAUCHI STATE INVESTMENT PROMOTION AGENCY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>
                <a:solidFill>
                  <a:schemeClr val="tx1"/>
                </a:solidFill>
                <a:hlinkClick r:id="rId8"/>
              </a:rPr>
              <a:t>aminumusa9@gmail.com</a:t>
            </a:r>
            <a:r>
              <a:rPr lang="en-US" sz="1000" b="0" kern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FF015425-7997-4612-9D0E-1F6C433DFCC7}"/>
              </a:ext>
            </a:extLst>
          </p:cNvPr>
          <p:cNvSpPr/>
          <p:nvPr/>
        </p:nvSpPr>
        <p:spPr>
          <a:xfrm>
            <a:off x="6080877" y="3040856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4C0B7457-CABD-4AC8-8A1A-1FD468581E4D}"/>
              </a:ext>
            </a:extLst>
          </p:cNvPr>
          <p:cNvSpPr/>
          <p:nvPr/>
        </p:nvSpPr>
        <p:spPr>
          <a:xfrm>
            <a:off x="6784796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2D626A89-F50C-45A3-9271-5D3F2EEA9C83}"/>
              </a:ext>
            </a:extLst>
          </p:cNvPr>
          <p:cNvSpPr/>
          <p:nvPr/>
        </p:nvSpPr>
        <p:spPr>
          <a:xfrm>
            <a:off x="7518399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240713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A62E850A-D87D-46D0-9257-0071E677FCF0}"/>
              </a:ext>
            </a:extLst>
          </p:cNvPr>
          <p:cNvSpPr/>
          <p:nvPr/>
        </p:nvSpPr>
        <p:spPr>
          <a:xfrm>
            <a:off x="8947150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4D1FAA17-3EFF-404B-B4C4-B468BCE2E9A5}"/>
              </a:ext>
            </a:extLst>
          </p:cNvPr>
          <p:cNvSpPr/>
          <p:nvPr/>
        </p:nvSpPr>
        <p:spPr>
          <a:xfrm>
            <a:off x="6078265" y="3836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E861211D-5D09-4577-8A09-FD96D972A5D4}"/>
              </a:ext>
            </a:extLst>
          </p:cNvPr>
          <p:cNvSpPr/>
          <p:nvPr/>
        </p:nvSpPr>
        <p:spPr>
          <a:xfrm>
            <a:off x="6780509" y="3833831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D9F8790B-E97D-4D8F-AD51-26FAFBF8CA40}"/>
              </a:ext>
            </a:extLst>
          </p:cNvPr>
          <p:cNvSpPr/>
          <p:nvPr/>
        </p:nvSpPr>
        <p:spPr>
          <a:xfrm>
            <a:off x="8946402" y="3833630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3CBEFD1C-6360-47CD-AEDD-DFB49FC0E0C7}"/>
              </a:ext>
            </a:extLst>
          </p:cNvPr>
          <p:cNvSpPr/>
          <p:nvPr/>
        </p:nvSpPr>
        <p:spPr>
          <a:xfrm>
            <a:off x="7518603" y="3830834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pic>
        <p:nvPicPr>
          <p:cNvPr id="127" name="Picture 126">
            <a:extLst>
              <a:ext uri="{FF2B5EF4-FFF2-40B4-BE49-F238E27FC236}">
                <a16:creationId xmlns:a16="http://schemas.microsoft.com/office/drawing/2014/main" id="{502D2996-59F9-489A-9B5F-3D682574A1A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8428" y="3092950"/>
            <a:ext cx="516171" cy="535758"/>
          </a:xfrm>
          <a:prstGeom prst="rect">
            <a:avLst/>
          </a:prstGeom>
        </p:spPr>
      </p:pic>
      <p:pic>
        <p:nvPicPr>
          <p:cNvPr id="134" name="Picture 133" descr="cowpea2.jpg">
            <a:extLst>
              <a:ext uri="{FF2B5EF4-FFF2-40B4-BE49-F238E27FC236}">
                <a16:creationId xmlns:a16="http://schemas.microsoft.com/office/drawing/2014/main" id="{811628F6-96AB-4324-81FC-465D5E3CA65E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l="33504" t="12930" r="35727" b="55646"/>
          <a:stretch>
            <a:fillRect/>
          </a:stretch>
        </p:blipFill>
        <p:spPr>
          <a:xfrm>
            <a:off x="6705562" y="3009837"/>
            <a:ext cx="703384" cy="703385"/>
          </a:xfrm>
          <a:prstGeom prst="rect">
            <a:avLst/>
          </a:prstGeom>
        </p:spPr>
      </p:pic>
      <p:pic>
        <p:nvPicPr>
          <p:cNvPr id="135" name="Picture 134" descr="sugarcane.png">
            <a:extLst>
              <a:ext uri="{FF2B5EF4-FFF2-40B4-BE49-F238E27FC236}">
                <a16:creationId xmlns:a16="http://schemas.microsoft.com/office/drawing/2014/main" id="{0AA4DC2F-A731-46CC-829F-4301EBD9EF12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132572" y="3157369"/>
            <a:ext cx="486086" cy="401832"/>
          </a:xfrm>
          <a:prstGeom prst="rect">
            <a:avLst/>
          </a:prstGeom>
        </p:spPr>
      </p:pic>
      <p:pic>
        <p:nvPicPr>
          <p:cNvPr id="136" name="Picture 6">
            <a:extLst>
              <a:ext uri="{FF2B5EF4-FFF2-40B4-BE49-F238E27FC236}">
                <a16:creationId xmlns:a16="http://schemas.microsoft.com/office/drawing/2014/main" id="{5F2AE876-0549-4614-BD7A-C78FCA87DEF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43074" r="9331"/>
          <a:stretch/>
        </p:blipFill>
        <p:spPr bwMode="auto">
          <a:xfrm>
            <a:off x="7534586" y="3131978"/>
            <a:ext cx="576095" cy="4777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9" name="Picture 138" descr="livestock.jpg">
            <a:extLst>
              <a:ext uri="{FF2B5EF4-FFF2-40B4-BE49-F238E27FC236}">
                <a16:creationId xmlns:a16="http://schemas.microsoft.com/office/drawing/2014/main" id="{7BAC41B1-02AB-429F-BEB1-AB4C8E4BBFEB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t="17215" r="72671" b="56268"/>
          <a:stretch>
            <a:fillRect/>
          </a:stretch>
        </p:blipFill>
        <p:spPr>
          <a:xfrm>
            <a:off x="6072680" y="3858737"/>
            <a:ext cx="682071" cy="476674"/>
          </a:xfrm>
          <a:prstGeom prst="rect">
            <a:avLst/>
          </a:prstGeom>
        </p:spPr>
      </p:pic>
      <p:pic>
        <p:nvPicPr>
          <p:cNvPr id="141" name="Picture 140">
            <a:extLst>
              <a:ext uri="{FF2B5EF4-FFF2-40B4-BE49-F238E27FC236}">
                <a16:creationId xmlns:a16="http://schemas.microsoft.com/office/drawing/2014/main" id="{ACED4D7D-78F7-47D9-B079-1491D16CD099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8781" y="3105497"/>
            <a:ext cx="464155" cy="464155"/>
          </a:xfrm>
          <a:prstGeom prst="rect">
            <a:avLst/>
          </a:prstGeom>
        </p:spPr>
      </p:pic>
      <p:pic>
        <p:nvPicPr>
          <p:cNvPr id="142" name="Picture 3">
            <a:extLst>
              <a:ext uri="{FF2B5EF4-FFF2-40B4-BE49-F238E27FC236}">
                <a16:creationId xmlns:a16="http://schemas.microsoft.com/office/drawing/2014/main" id="{0A9147A5-9E99-4895-8153-C5650FAFDE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0720" y="3963704"/>
            <a:ext cx="457245" cy="3153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9" name="Picture 148">
            <a:extLst>
              <a:ext uri="{FF2B5EF4-FFF2-40B4-BE49-F238E27FC236}">
                <a16:creationId xmlns:a16="http://schemas.microsoft.com/office/drawing/2014/main" id="{30F734C6-1D7F-4ABC-9AA3-F361B76BC489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5415" y="3915630"/>
            <a:ext cx="401486" cy="397097"/>
          </a:xfrm>
          <a:prstGeom prst="rect">
            <a:avLst/>
          </a:prstGeom>
        </p:spPr>
      </p:pic>
      <p:pic>
        <p:nvPicPr>
          <p:cNvPr id="150" name="Picture 2">
            <a:extLst>
              <a:ext uri="{FF2B5EF4-FFF2-40B4-BE49-F238E27FC236}">
                <a16:creationId xmlns:a16="http://schemas.microsoft.com/office/drawing/2014/main" id="{847563D4-2B31-48E4-80AA-3135F38754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3758" y="3941820"/>
            <a:ext cx="317570" cy="386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1" name="Picture 3">
            <a:extLst>
              <a:ext uri="{FF2B5EF4-FFF2-40B4-BE49-F238E27FC236}">
                <a16:creationId xmlns:a16="http://schemas.microsoft.com/office/drawing/2014/main" id="{8E9CD3AC-EE47-4539-8503-0FAC285037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8928" y="3962913"/>
            <a:ext cx="553657" cy="3673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4" name="TextBox 143">
            <a:extLst>
              <a:ext uri="{FF2B5EF4-FFF2-40B4-BE49-F238E27FC236}">
                <a16:creationId xmlns:a16="http://schemas.microsoft.com/office/drawing/2014/main" id="{D0A41506-8873-4C2F-B45B-4459F0229CA3}"/>
              </a:ext>
            </a:extLst>
          </p:cNvPr>
          <p:cNvSpPr txBox="1"/>
          <p:nvPr/>
        </p:nvSpPr>
        <p:spPr>
          <a:xfrm>
            <a:off x="4374578" y="4541674"/>
            <a:ext cx="17988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te Investment Certification Process Not Started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272510" y="5417432"/>
            <a:ext cx="2628352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100" dirty="0">
                <a:latin typeface="Calibri" panose="020F0502020204030204" pitchFamily="34" charset="0"/>
                <a:cs typeface="Calibri" panose="020F0502020204030204" pitchFamily="34" charset="0"/>
              </a:rPr>
              <a:t>Founded by </a:t>
            </a:r>
            <a:r>
              <a:rPr lang="en-US" sz="1100" dirty="0" err="1">
                <a:latin typeface="Calibri" panose="020F0502020204030204" pitchFamily="34" charset="0"/>
                <a:cs typeface="Calibri" panose="020F0502020204030204" pitchFamily="34" charset="0"/>
              </a:rPr>
              <a:t>Yaqub</a:t>
            </a:r>
            <a:r>
              <a:rPr lang="en-US" sz="1100" dirty="0">
                <a:latin typeface="Calibri" panose="020F0502020204030204" pitchFamily="34" charset="0"/>
                <a:cs typeface="Calibri" panose="020F0502020204030204" pitchFamily="34" charset="0"/>
              </a:rPr>
              <a:t> ibn </a:t>
            </a:r>
            <a:r>
              <a:rPr lang="en-US" sz="1100" dirty="0" err="1">
                <a:latin typeface="Calibri" panose="020F0502020204030204" pitchFamily="34" charset="0"/>
                <a:cs typeface="Calibri" panose="020F0502020204030204" pitchFamily="34" charset="0"/>
              </a:rPr>
              <a:t>Dadi</a:t>
            </a:r>
            <a:r>
              <a:rPr lang="en-US" sz="1100" u="sng" dirty="0">
                <a:latin typeface="Calibri" panose="020F0502020204030204" pitchFamily="34" charset="0"/>
                <a:cs typeface="Calibri" panose="020F0502020204030204" pitchFamily="34" charset="0"/>
              </a:rPr>
              <a:t>,</a:t>
            </a:r>
            <a:r>
              <a:rPr lang="en-US" sz="1100" dirty="0">
                <a:latin typeface="Calibri" panose="020F0502020204030204" pitchFamily="34" charset="0"/>
                <a:cs typeface="Calibri" panose="020F0502020204030204" pitchFamily="34" charset="0"/>
              </a:rPr>
              <a:t> the only non-Fulani flag-bearer of the Sokoto Empire. Its name derived from a hunter called </a:t>
            </a:r>
            <a:r>
              <a:rPr lang="en-US" sz="1100" dirty="0" err="1">
                <a:latin typeface="Calibri" panose="020F0502020204030204" pitchFamily="34" charset="0"/>
                <a:cs typeface="Calibri" panose="020F0502020204030204" pitchFamily="34" charset="0"/>
              </a:rPr>
              <a:t>Baushe</a:t>
            </a:r>
            <a:r>
              <a:rPr lang="en-US" sz="1100" dirty="0">
                <a:latin typeface="Calibri" panose="020F0502020204030204" pitchFamily="34" charset="0"/>
                <a:cs typeface="Calibri" panose="020F0502020204030204" pitchFamily="34" charset="0"/>
              </a:rPr>
              <a:t>, who advised </a:t>
            </a:r>
            <a:r>
              <a:rPr lang="en-US" sz="1100" dirty="0" err="1">
                <a:latin typeface="Calibri" panose="020F0502020204030204" pitchFamily="34" charset="0"/>
                <a:cs typeface="Calibri" panose="020F0502020204030204" pitchFamily="34" charset="0"/>
              </a:rPr>
              <a:t>Yaqub</a:t>
            </a:r>
            <a:r>
              <a:rPr lang="en-US" sz="1100" dirty="0">
                <a:latin typeface="Calibri" panose="020F0502020204030204" pitchFamily="34" charset="0"/>
                <a:cs typeface="Calibri" panose="020F0502020204030204" pitchFamily="34" charset="0"/>
              </a:rPr>
              <a:t> to build his city west of </a:t>
            </a:r>
            <a:r>
              <a:rPr lang="en-US" sz="1100" dirty="0" err="1">
                <a:latin typeface="Calibri" panose="020F0502020204030204" pitchFamily="34" charset="0"/>
                <a:cs typeface="Calibri" panose="020F0502020204030204" pitchFamily="34" charset="0"/>
              </a:rPr>
              <a:t>Warinje</a:t>
            </a:r>
            <a:r>
              <a:rPr lang="en-US" sz="1100" dirty="0">
                <a:latin typeface="Calibri" panose="020F0502020204030204" pitchFamily="34" charset="0"/>
                <a:cs typeface="Calibri" panose="020F0502020204030204" pitchFamily="34" charset="0"/>
              </a:rPr>
              <a:t> mountain.</a:t>
            </a:r>
          </a:p>
        </p:txBody>
      </p:sp>
    </p:spTree>
    <p:extLst>
      <p:ext uri="{BB962C8B-B14F-4D97-AF65-F5344CB8AC3E}">
        <p14:creationId xmlns:p14="http://schemas.microsoft.com/office/powerpoint/2010/main" val="27043271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Pentagon 19">
            <a:extLst>
              <a:ext uri="{FF2B5EF4-FFF2-40B4-BE49-F238E27FC236}">
                <a16:creationId xmlns:a16="http://schemas.microsoft.com/office/drawing/2014/main" id="{CAD93C59-72A9-4F6D-A654-02B9F8A5EFF9}"/>
              </a:ext>
            </a:extLst>
          </p:cNvPr>
          <p:cNvSpPr>
            <a:spLocks/>
          </p:cNvSpPr>
          <p:nvPr/>
        </p:nvSpPr>
        <p:spPr bwMode="auto">
          <a:xfrm>
            <a:off x="756602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1 of 37</a:t>
            </a:r>
          </a:p>
        </p:txBody>
      </p:sp>
      <p:sp>
        <p:nvSpPr>
          <p:cNvPr id="376" name="Pentagon 19">
            <a:extLst>
              <a:ext uri="{FF2B5EF4-FFF2-40B4-BE49-F238E27FC236}">
                <a16:creationId xmlns:a16="http://schemas.microsoft.com/office/drawing/2014/main" id="{1BDC5465-6022-4404-B4D8-ED55CF961B8A}"/>
              </a:ext>
            </a:extLst>
          </p:cNvPr>
          <p:cNvSpPr>
            <a:spLocks/>
          </p:cNvSpPr>
          <p:nvPr/>
        </p:nvSpPr>
        <p:spPr bwMode="auto">
          <a:xfrm>
            <a:off x="824865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2 of 3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57F1EBC-D01A-4083-B657-63AFB1490839}"/>
              </a:ext>
            </a:extLst>
          </p:cNvPr>
          <p:cNvSpPr txBox="1"/>
          <p:nvPr/>
        </p:nvSpPr>
        <p:spPr>
          <a:xfrm>
            <a:off x="6122988" y="2749550"/>
            <a:ext cx="3475037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nvestment Opportunit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D251BD-538A-4F4F-847E-620EEDA298A0}"/>
              </a:ext>
            </a:extLst>
          </p:cNvPr>
          <p:cNvSpPr txBox="1"/>
          <p:nvPr/>
        </p:nvSpPr>
        <p:spPr>
          <a:xfrm>
            <a:off x="6881813" y="4632911"/>
            <a:ext cx="2697162" cy="33855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oing Business Ranking(2018)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1B8F13C-F732-4DA1-9250-DB02936E7688}"/>
              </a:ext>
            </a:extLst>
          </p:cNvPr>
          <p:cNvSpPr/>
          <p:nvPr/>
        </p:nvSpPr>
        <p:spPr>
          <a:xfrm>
            <a:off x="756602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Registering Propert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6BA1818-32ED-44D1-975C-958200BDD124}"/>
              </a:ext>
            </a:extLst>
          </p:cNvPr>
          <p:cNvSpPr/>
          <p:nvPr/>
        </p:nvSpPr>
        <p:spPr>
          <a:xfrm>
            <a:off x="8248650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Dealing with Construction Permits</a:t>
            </a:r>
          </a:p>
        </p:txBody>
      </p:sp>
      <p:sp>
        <p:nvSpPr>
          <p:cNvPr id="23560" name="TextBox 174">
            <a:extLst>
              <a:ext uri="{FF2B5EF4-FFF2-40B4-BE49-F238E27FC236}">
                <a16:creationId xmlns:a16="http://schemas.microsoft.com/office/drawing/2014/main" id="{1573FD4E-62B9-45E8-8F28-CED990ED2D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0B63A6C-2A5E-4CA3-BC66-4CBC6008BC9A}"/>
              </a:ext>
            </a:extLst>
          </p:cNvPr>
          <p:cNvSpPr/>
          <p:nvPr/>
        </p:nvSpPr>
        <p:spPr>
          <a:xfrm>
            <a:off x="893127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Enforcing Contracts</a:t>
            </a:r>
          </a:p>
        </p:txBody>
      </p:sp>
      <p:pic>
        <p:nvPicPr>
          <p:cNvPr id="23562" name="Picture 4">
            <a:extLst>
              <a:ext uri="{FF2B5EF4-FFF2-40B4-BE49-F238E27FC236}">
                <a16:creationId xmlns:a16="http://schemas.microsoft.com/office/drawing/2014/main" id="{7C8EEAB2-0239-4BB5-94B3-23E319AF1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513" y="5249863"/>
            <a:ext cx="439737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6" name="Pentagon 19">
            <a:extLst>
              <a:ext uri="{FF2B5EF4-FFF2-40B4-BE49-F238E27FC236}">
                <a16:creationId xmlns:a16="http://schemas.microsoft.com/office/drawing/2014/main" id="{5F8E9670-D71A-4765-B6B5-D711BC9AD6E1}"/>
              </a:ext>
            </a:extLst>
          </p:cNvPr>
          <p:cNvSpPr>
            <a:spLocks/>
          </p:cNvSpPr>
          <p:nvPr/>
        </p:nvSpPr>
        <p:spPr bwMode="auto">
          <a:xfrm>
            <a:off x="893127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2</a:t>
            </a:r>
            <a:r>
              <a:rPr lang="en-GB" sz="1000" baseline="3000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of 37</a:t>
            </a:r>
          </a:p>
        </p:txBody>
      </p:sp>
      <p:sp>
        <p:nvSpPr>
          <p:cNvPr id="23564" name="Title 3">
            <a:extLst>
              <a:ext uri="{FF2B5EF4-FFF2-40B4-BE49-F238E27FC236}">
                <a16:creationId xmlns:a16="http://schemas.microsoft.com/office/drawing/2014/main" id="{C62A749B-CFC7-4224-A789-D20A772AC33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77813" y="222250"/>
            <a:ext cx="8543925" cy="5619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en-GB" alt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ayelsa State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6882DF2C-9120-4A66-8487-575D9494F4D6}"/>
              </a:ext>
            </a:extLst>
          </p:cNvPr>
          <p:cNvSpPr txBox="1"/>
          <p:nvPr/>
        </p:nvSpPr>
        <p:spPr>
          <a:xfrm rot="16200000">
            <a:off x="-2290084" y="3478372"/>
            <a:ext cx="5303837" cy="2743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Glory of all Lands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grpSp>
        <p:nvGrpSpPr>
          <p:cNvPr id="23566" name="Group 9">
            <a:extLst>
              <a:ext uri="{FF2B5EF4-FFF2-40B4-BE49-F238E27FC236}">
                <a16:creationId xmlns:a16="http://schemas.microsoft.com/office/drawing/2014/main" id="{5B6131BD-3CE3-4FC4-B13A-FA9B797C1EF5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41338" y="963613"/>
            <a:ext cx="2897187" cy="2319337"/>
            <a:chOff x="770228" y="1459989"/>
            <a:chExt cx="4081047" cy="3267527"/>
          </a:xfrm>
        </p:grpSpPr>
        <p:sp>
          <p:nvSpPr>
            <p:cNvPr id="299" name="Freeform 4">
              <a:extLst>
                <a:ext uri="{FF2B5EF4-FFF2-40B4-BE49-F238E27FC236}">
                  <a16:creationId xmlns:a16="http://schemas.microsoft.com/office/drawing/2014/main" id="{B6150C82-CBE5-48B4-B60C-C210BB7B26A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91538" y="4349548"/>
              <a:ext cx="418167" cy="377968"/>
            </a:xfrm>
            <a:custGeom>
              <a:avLst/>
              <a:gdLst>
                <a:gd name="T0" fmla="*/ 12 w 786"/>
                <a:gd name="T1" fmla="*/ 19 h 714"/>
                <a:gd name="T2" fmla="*/ 22 w 786"/>
                <a:gd name="T3" fmla="*/ 18 h 714"/>
                <a:gd name="T4" fmla="*/ 27 w 786"/>
                <a:gd name="T5" fmla="*/ 17 h 714"/>
                <a:gd name="T6" fmla="*/ 30 w 786"/>
                <a:gd name="T7" fmla="*/ 14 h 714"/>
                <a:gd name="T8" fmla="*/ 37 w 786"/>
                <a:gd name="T9" fmla="*/ 16 h 714"/>
                <a:gd name="T10" fmla="*/ 43 w 786"/>
                <a:gd name="T11" fmla="*/ 13 h 714"/>
                <a:gd name="T12" fmla="*/ 48 w 786"/>
                <a:gd name="T13" fmla="*/ 8 h 714"/>
                <a:gd name="T14" fmla="*/ 55 w 786"/>
                <a:gd name="T15" fmla="*/ 4 h 714"/>
                <a:gd name="T16" fmla="*/ 66 w 786"/>
                <a:gd name="T17" fmla="*/ 0 h 714"/>
                <a:gd name="T18" fmla="*/ 63 w 786"/>
                <a:gd name="T19" fmla="*/ 12 h 714"/>
                <a:gd name="T20" fmla="*/ 59 w 786"/>
                <a:gd name="T21" fmla="*/ 19 h 714"/>
                <a:gd name="T22" fmla="*/ 57 w 786"/>
                <a:gd name="T23" fmla="*/ 29 h 714"/>
                <a:gd name="T24" fmla="*/ 59 w 786"/>
                <a:gd name="T25" fmla="*/ 36 h 714"/>
                <a:gd name="T26" fmla="*/ 66 w 786"/>
                <a:gd name="T27" fmla="*/ 35 h 714"/>
                <a:gd name="T28" fmla="*/ 64 w 786"/>
                <a:gd name="T29" fmla="*/ 41 h 714"/>
                <a:gd name="T30" fmla="*/ 64 w 786"/>
                <a:gd name="T31" fmla="*/ 48 h 714"/>
                <a:gd name="T32" fmla="*/ 63 w 786"/>
                <a:gd name="T33" fmla="*/ 56 h 714"/>
                <a:gd name="T34" fmla="*/ 60 w 786"/>
                <a:gd name="T35" fmla="*/ 60 h 714"/>
                <a:gd name="T36" fmla="*/ 57 w 786"/>
                <a:gd name="T37" fmla="*/ 58 h 714"/>
                <a:gd name="T38" fmla="*/ 54 w 786"/>
                <a:gd name="T39" fmla="*/ 54 h 714"/>
                <a:gd name="T40" fmla="*/ 53 w 786"/>
                <a:gd name="T41" fmla="*/ 51 h 714"/>
                <a:gd name="T42" fmla="*/ 51 w 786"/>
                <a:gd name="T43" fmla="*/ 53 h 714"/>
                <a:gd name="T44" fmla="*/ 49 w 786"/>
                <a:gd name="T45" fmla="*/ 54 h 714"/>
                <a:gd name="T46" fmla="*/ 47 w 786"/>
                <a:gd name="T47" fmla="*/ 50 h 714"/>
                <a:gd name="T48" fmla="*/ 48 w 786"/>
                <a:gd name="T49" fmla="*/ 54 h 714"/>
                <a:gd name="T50" fmla="*/ 47 w 786"/>
                <a:gd name="T51" fmla="*/ 54 h 714"/>
                <a:gd name="T52" fmla="*/ 46 w 786"/>
                <a:gd name="T53" fmla="*/ 59 h 714"/>
                <a:gd name="T54" fmla="*/ 47 w 786"/>
                <a:gd name="T55" fmla="*/ 62 h 714"/>
                <a:gd name="T56" fmla="*/ 42 w 786"/>
                <a:gd name="T57" fmla="*/ 62 h 714"/>
                <a:gd name="T58" fmla="*/ 39 w 786"/>
                <a:gd name="T59" fmla="*/ 57 h 714"/>
                <a:gd name="T60" fmla="*/ 40 w 786"/>
                <a:gd name="T61" fmla="*/ 54 h 714"/>
                <a:gd name="T62" fmla="*/ 43 w 786"/>
                <a:gd name="T63" fmla="*/ 55 h 714"/>
                <a:gd name="T64" fmla="*/ 40 w 786"/>
                <a:gd name="T65" fmla="*/ 53 h 714"/>
                <a:gd name="T66" fmla="*/ 38 w 786"/>
                <a:gd name="T67" fmla="*/ 57 h 714"/>
                <a:gd name="T68" fmla="*/ 37 w 786"/>
                <a:gd name="T69" fmla="*/ 57 h 714"/>
                <a:gd name="T70" fmla="*/ 37 w 786"/>
                <a:gd name="T71" fmla="*/ 60 h 714"/>
                <a:gd name="T72" fmla="*/ 33 w 786"/>
                <a:gd name="T73" fmla="*/ 56 h 714"/>
                <a:gd name="T74" fmla="*/ 32 w 786"/>
                <a:gd name="T75" fmla="*/ 58 h 714"/>
                <a:gd name="T76" fmla="*/ 26 w 786"/>
                <a:gd name="T77" fmla="*/ 54 h 714"/>
                <a:gd name="T78" fmla="*/ 26 w 786"/>
                <a:gd name="T79" fmla="*/ 54 h 714"/>
                <a:gd name="T80" fmla="*/ 24 w 786"/>
                <a:gd name="T81" fmla="*/ 51 h 714"/>
                <a:gd name="T82" fmla="*/ 22 w 786"/>
                <a:gd name="T83" fmla="*/ 51 h 714"/>
                <a:gd name="T84" fmla="*/ 20 w 786"/>
                <a:gd name="T85" fmla="*/ 50 h 714"/>
                <a:gd name="T86" fmla="*/ 20 w 786"/>
                <a:gd name="T87" fmla="*/ 48 h 714"/>
                <a:gd name="T88" fmla="*/ 18 w 786"/>
                <a:gd name="T89" fmla="*/ 47 h 714"/>
                <a:gd name="T90" fmla="*/ 15 w 786"/>
                <a:gd name="T91" fmla="*/ 45 h 714"/>
                <a:gd name="T92" fmla="*/ 11 w 786"/>
                <a:gd name="T93" fmla="*/ 39 h 714"/>
                <a:gd name="T94" fmla="*/ 12 w 786"/>
                <a:gd name="T95" fmla="*/ 36 h 714"/>
                <a:gd name="T96" fmla="*/ 7 w 786"/>
                <a:gd name="T97" fmla="*/ 33 h 714"/>
                <a:gd name="T98" fmla="*/ 5 w 786"/>
                <a:gd name="T99" fmla="*/ 28 h 714"/>
                <a:gd name="T100" fmla="*/ 7 w 786"/>
                <a:gd name="T101" fmla="*/ 30 h 714"/>
                <a:gd name="T102" fmla="*/ 4 w 786"/>
                <a:gd name="T103" fmla="*/ 24 h 714"/>
                <a:gd name="T104" fmla="*/ 2 w 786"/>
                <a:gd name="T105" fmla="*/ 20 h 714"/>
                <a:gd name="T106" fmla="*/ 0 w 786"/>
                <a:gd name="T107" fmla="*/ 15 h 714"/>
                <a:gd name="T108" fmla="*/ 4 w 786"/>
                <a:gd name="T109" fmla="*/ 16 h 714"/>
                <a:gd name="T110" fmla="*/ 55 w 786"/>
                <a:gd name="T111" fmla="*/ 60 h 714"/>
                <a:gd name="T112" fmla="*/ 47 w 786"/>
                <a:gd name="T113" fmla="*/ 60 h 714"/>
                <a:gd name="T114" fmla="*/ 51 w 786"/>
                <a:gd name="T115" fmla="*/ 54 h 714"/>
                <a:gd name="T116" fmla="*/ 54 w 786"/>
                <a:gd name="T117" fmla="*/ 56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86"/>
                <a:gd name="T178" fmla="*/ 0 h 714"/>
                <a:gd name="T179" fmla="*/ 786 w 786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86" h="714">
                  <a:moveTo>
                    <a:pt x="54" y="186"/>
                  </a:moveTo>
                  <a:lnTo>
                    <a:pt x="54" y="192"/>
                  </a:lnTo>
                  <a:lnTo>
                    <a:pt x="72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204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20" y="210"/>
                  </a:lnTo>
                  <a:lnTo>
                    <a:pt x="126" y="210"/>
                  </a:lnTo>
                  <a:lnTo>
                    <a:pt x="132" y="210"/>
                  </a:lnTo>
                  <a:lnTo>
                    <a:pt x="132" y="216"/>
                  </a:lnTo>
                  <a:lnTo>
                    <a:pt x="138" y="222"/>
                  </a:lnTo>
                  <a:lnTo>
                    <a:pt x="150" y="222"/>
                  </a:lnTo>
                  <a:lnTo>
                    <a:pt x="162" y="234"/>
                  </a:lnTo>
                  <a:lnTo>
                    <a:pt x="168" y="240"/>
                  </a:lnTo>
                  <a:lnTo>
                    <a:pt x="180" y="240"/>
                  </a:lnTo>
                  <a:lnTo>
                    <a:pt x="186" y="228"/>
                  </a:lnTo>
                  <a:lnTo>
                    <a:pt x="210" y="234"/>
                  </a:lnTo>
                  <a:lnTo>
                    <a:pt x="222" y="228"/>
                  </a:lnTo>
                  <a:lnTo>
                    <a:pt x="228" y="216"/>
                  </a:lnTo>
                  <a:lnTo>
                    <a:pt x="234" y="210"/>
                  </a:lnTo>
                  <a:lnTo>
                    <a:pt x="240" y="216"/>
                  </a:lnTo>
                  <a:lnTo>
                    <a:pt x="246" y="210"/>
                  </a:lnTo>
                  <a:lnTo>
                    <a:pt x="252" y="210"/>
                  </a:lnTo>
                  <a:lnTo>
                    <a:pt x="258" y="210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192"/>
                  </a:lnTo>
                  <a:lnTo>
                    <a:pt x="270" y="192"/>
                  </a:lnTo>
                  <a:lnTo>
                    <a:pt x="276" y="192"/>
                  </a:lnTo>
                  <a:lnTo>
                    <a:pt x="282" y="192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192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198"/>
                  </a:lnTo>
                  <a:lnTo>
                    <a:pt x="312" y="198"/>
                  </a:lnTo>
                  <a:lnTo>
                    <a:pt x="312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24" y="186"/>
                  </a:lnTo>
                  <a:lnTo>
                    <a:pt x="318" y="180"/>
                  </a:lnTo>
                  <a:lnTo>
                    <a:pt x="324" y="180"/>
                  </a:lnTo>
                  <a:lnTo>
                    <a:pt x="330" y="186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74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54" y="144"/>
                  </a:lnTo>
                  <a:lnTo>
                    <a:pt x="360" y="144"/>
                  </a:lnTo>
                  <a:lnTo>
                    <a:pt x="372" y="156"/>
                  </a:lnTo>
                  <a:lnTo>
                    <a:pt x="372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96" y="168"/>
                  </a:lnTo>
                  <a:lnTo>
                    <a:pt x="396" y="174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26" y="186"/>
                  </a:lnTo>
                  <a:lnTo>
                    <a:pt x="432" y="186"/>
                  </a:lnTo>
                  <a:lnTo>
                    <a:pt x="438" y="180"/>
                  </a:lnTo>
                  <a:lnTo>
                    <a:pt x="438" y="168"/>
                  </a:lnTo>
                  <a:lnTo>
                    <a:pt x="438" y="162"/>
                  </a:lnTo>
                  <a:lnTo>
                    <a:pt x="444" y="156"/>
                  </a:lnTo>
                  <a:lnTo>
                    <a:pt x="450" y="156"/>
                  </a:lnTo>
                  <a:lnTo>
                    <a:pt x="456" y="150"/>
                  </a:lnTo>
                  <a:lnTo>
                    <a:pt x="462" y="156"/>
                  </a:lnTo>
                  <a:lnTo>
                    <a:pt x="468" y="162"/>
                  </a:lnTo>
                  <a:lnTo>
                    <a:pt x="474" y="162"/>
                  </a:lnTo>
                  <a:lnTo>
                    <a:pt x="486" y="162"/>
                  </a:lnTo>
                  <a:lnTo>
                    <a:pt x="492" y="156"/>
                  </a:lnTo>
                  <a:lnTo>
                    <a:pt x="498" y="150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28" y="126"/>
                  </a:lnTo>
                  <a:lnTo>
                    <a:pt x="522" y="120"/>
                  </a:lnTo>
                  <a:lnTo>
                    <a:pt x="522" y="114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28" y="102"/>
                  </a:lnTo>
                  <a:lnTo>
                    <a:pt x="534" y="96"/>
                  </a:lnTo>
                  <a:lnTo>
                    <a:pt x="552" y="96"/>
                  </a:lnTo>
                  <a:lnTo>
                    <a:pt x="570" y="102"/>
                  </a:lnTo>
                  <a:lnTo>
                    <a:pt x="582" y="96"/>
                  </a:lnTo>
                  <a:lnTo>
                    <a:pt x="582" y="90"/>
                  </a:lnTo>
                  <a:lnTo>
                    <a:pt x="582" y="78"/>
                  </a:lnTo>
                  <a:lnTo>
                    <a:pt x="582" y="72"/>
                  </a:lnTo>
                  <a:lnTo>
                    <a:pt x="582" y="66"/>
                  </a:lnTo>
                  <a:lnTo>
                    <a:pt x="594" y="60"/>
                  </a:lnTo>
                  <a:lnTo>
                    <a:pt x="600" y="60"/>
                  </a:lnTo>
                  <a:lnTo>
                    <a:pt x="606" y="54"/>
                  </a:lnTo>
                  <a:lnTo>
                    <a:pt x="618" y="48"/>
                  </a:lnTo>
                  <a:lnTo>
                    <a:pt x="618" y="42"/>
                  </a:lnTo>
                  <a:lnTo>
                    <a:pt x="624" y="42"/>
                  </a:lnTo>
                  <a:lnTo>
                    <a:pt x="636" y="48"/>
                  </a:lnTo>
                  <a:lnTo>
                    <a:pt x="648" y="54"/>
                  </a:lnTo>
                  <a:lnTo>
                    <a:pt x="660" y="54"/>
                  </a:lnTo>
                  <a:lnTo>
                    <a:pt x="666" y="60"/>
                  </a:lnTo>
                  <a:lnTo>
                    <a:pt x="672" y="54"/>
                  </a:lnTo>
                  <a:lnTo>
                    <a:pt x="684" y="48"/>
                  </a:lnTo>
                  <a:lnTo>
                    <a:pt x="708" y="42"/>
                  </a:lnTo>
                  <a:lnTo>
                    <a:pt x="714" y="42"/>
                  </a:lnTo>
                  <a:lnTo>
                    <a:pt x="720" y="36"/>
                  </a:lnTo>
                  <a:lnTo>
                    <a:pt x="720" y="30"/>
                  </a:lnTo>
                  <a:lnTo>
                    <a:pt x="714" y="12"/>
                  </a:lnTo>
                  <a:lnTo>
                    <a:pt x="708" y="0"/>
                  </a:lnTo>
                  <a:lnTo>
                    <a:pt x="738" y="6"/>
                  </a:lnTo>
                  <a:lnTo>
                    <a:pt x="756" y="6"/>
                  </a:lnTo>
                  <a:lnTo>
                    <a:pt x="762" y="42"/>
                  </a:lnTo>
                  <a:lnTo>
                    <a:pt x="738" y="72"/>
                  </a:lnTo>
                  <a:lnTo>
                    <a:pt x="750" y="90"/>
                  </a:lnTo>
                  <a:lnTo>
                    <a:pt x="762" y="96"/>
                  </a:lnTo>
                  <a:lnTo>
                    <a:pt x="756" y="102"/>
                  </a:lnTo>
                  <a:lnTo>
                    <a:pt x="750" y="108"/>
                  </a:lnTo>
                  <a:lnTo>
                    <a:pt x="750" y="114"/>
                  </a:lnTo>
                  <a:lnTo>
                    <a:pt x="750" y="120"/>
                  </a:lnTo>
                  <a:lnTo>
                    <a:pt x="750" y="126"/>
                  </a:lnTo>
                  <a:lnTo>
                    <a:pt x="750" y="132"/>
                  </a:lnTo>
                  <a:lnTo>
                    <a:pt x="738" y="132"/>
                  </a:lnTo>
                  <a:lnTo>
                    <a:pt x="732" y="138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14" y="144"/>
                  </a:lnTo>
                  <a:lnTo>
                    <a:pt x="714" y="150"/>
                  </a:lnTo>
                  <a:lnTo>
                    <a:pt x="720" y="156"/>
                  </a:lnTo>
                  <a:lnTo>
                    <a:pt x="720" y="162"/>
                  </a:lnTo>
                  <a:lnTo>
                    <a:pt x="714" y="162"/>
                  </a:lnTo>
                  <a:lnTo>
                    <a:pt x="708" y="168"/>
                  </a:lnTo>
                  <a:lnTo>
                    <a:pt x="708" y="180"/>
                  </a:lnTo>
                  <a:lnTo>
                    <a:pt x="708" y="192"/>
                  </a:lnTo>
                  <a:lnTo>
                    <a:pt x="696" y="198"/>
                  </a:lnTo>
                  <a:lnTo>
                    <a:pt x="696" y="204"/>
                  </a:lnTo>
                  <a:lnTo>
                    <a:pt x="684" y="210"/>
                  </a:lnTo>
                  <a:lnTo>
                    <a:pt x="684" y="216"/>
                  </a:lnTo>
                  <a:lnTo>
                    <a:pt x="684" y="222"/>
                  </a:lnTo>
                  <a:lnTo>
                    <a:pt x="678" y="228"/>
                  </a:lnTo>
                  <a:lnTo>
                    <a:pt x="678" y="234"/>
                  </a:lnTo>
                  <a:lnTo>
                    <a:pt x="672" y="240"/>
                  </a:lnTo>
                  <a:lnTo>
                    <a:pt x="672" y="252"/>
                  </a:lnTo>
                  <a:lnTo>
                    <a:pt x="672" y="258"/>
                  </a:lnTo>
                  <a:lnTo>
                    <a:pt x="666" y="264"/>
                  </a:lnTo>
                  <a:lnTo>
                    <a:pt x="678" y="264"/>
                  </a:lnTo>
                  <a:lnTo>
                    <a:pt x="684" y="276"/>
                  </a:lnTo>
                  <a:lnTo>
                    <a:pt x="684" y="288"/>
                  </a:lnTo>
                  <a:lnTo>
                    <a:pt x="672" y="300"/>
                  </a:lnTo>
                  <a:lnTo>
                    <a:pt x="660" y="318"/>
                  </a:lnTo>
                  <a:lnTo>
                    <a:pt x="660" y="336"/>
                  </a:lnTo>
                  <a:lnTo>
                    <a:pt x="654" y="342"/>
                  </a:lnTo>
                  <a:lnTo>
                    <a:pt x="660" y="354"/>
                  </a:lnTo>
                  <a:lnTo>
                    <a:pt x="660" y="366"/>
                  </a:lnTo>
                  <a:lnTo>
                    <a:pt x="666" y="378"/>
                  </a:lnTo>
                  <a:lnTo>
                    <a:pt x="672" y="390"/>
                  </a:lnTo>
                  <a:lnTo>
                    <a:pt x="678" y="396"/>
                  </a:lnTo>
                  <a:lnTo>
                    <a:pt x="684" y="390"/>
                  </a:lnTo>
                  <a:lnTo>
                    <a:pt x="690" y="390"/>
                  </a:lnTo>
                  <a:lnTo>
                    <a:pt x="690" y="396"/>
                  </a:lnTo>
                  <a:lnTo>
                    <a:pt x="684" y="396"/>
                  </a:lnTo>
                  <a:lnTo>
                    <a:pt x="684" y="402"/>
                  </a:lnTo>
                  <a:lnTo>
                    <a:pt x="684" y="408"/>
                  </a:lnTo>
                  <a:lnTo>
                    <a:pt x="678" y="414"/>
                  </a:lnTo>
                  <a:lnTo>
                    <a:pt x="684" y="414"/>
                  </a:lnTo>
                  <a:lnTo>
                    <a:pt x="684" y="420"/>
                  </a:lnTo>
                  <a:lnTo>
                    <a:pt x="684" y="426"/>
                  </a:lnTo>
                  <a:lnTo>
                    <a:pt x="690" y="420"/>
                  </a:lnTo>
                  <a:lnTo>
                    <a:pt x="696" y="420"/>
                  </a:lnTo>
                  <a:lnTo>
                    <a:pt x="696" y="426"/>
                  </a:lnTo>
                  <a:lnTo>
                    <a:pt x="690" y="426"/>
                  </a:lnTo>
                  <a:lnTo>
                    <a:pt x="696" y="426"/>
                  </a:lnTo>
                  <a:lnTo>
                    <a:pt x="708" y="426"/>
                  </a:lnTo>
                  <a:lnTo>
                    <a:pt x="726" y="414"/>
                  </a:lnTo>
                  <a:lnTo>
                    <a:pt x="732" y="408"/>
                  </a:lnTo>
                  <a:lnTo>
                    <a:pt x="744" y="402"/>
                  </a:lnTo>
                  <a:lnTo>
                    <a:pt x="756" y="402"/>
                  </a:lnTo>
                  <a:lnTo>
                    <a:pt x="768" y="402"/>
                  </a:lnTo>
                  <a:lnTo>
                    <a:pt x="786" y="408"/>
                  </a:lnTo>
                  <a:lnTo>
                    <a:pt x="786" y="414"/>
                  </a:lnTo>
                  <a:lnTo>
                    <a:pt x="774" y="420"/>
                  </a:lnTo>
                  <a:lnTo>
                    <a:pt x="774" y="426"/>
                  </a:lnTo>
                  <a:lnTo>
                    <a:pt x="768" y="432"/>
                  </a:lnTo>
                  <a:lnTo>
                    <a:pt x="762" y="438"/>
                  </a:lnTo>
                  <a:lnTo>
                    <a:pt x="756" y="438"/>
                  </a:lnTo>
                  <a:lnTo>
                    <a:pt x="756" y="444"/>
                  </a:lnTo>
                  <a:lnTo>
                    <a:pt x="756" y="450"/>
                  </a:lnTo>
                  <a:lnTo>
                    <a:pt x="762" y="450"/>
                  </a:lnTo>
                  <a:lnTo>
                    <a:pt x="750" y="456"/>
                  </a:lnTo>
                  <a:lnTo>
                    <a:pt x="738" y="468"/>
                  </a:lnTo>
                  <a:lnTo>
                    <a:pt x="726" y="480"/>
                  </a:lnTo>
                  <a:lnTo>
                    <a:pt x="726" y="486"/>
                  </a:lnTo>
                  <a:lnTo>
                    <a:pt x="732" y="486"/>
                  </a:lnTo>
                  <a:lnTo>
                    <a:pt x="732" y="492"/>
                  </a:lnTo>
                  <a:lnTo>
                    <a:pt x="732" y="504"/>
                  </a:lnTo>
                  <a:lnTo>
                    <a:pt x="738" y="504"/>
                  </a:lnTo>
                  <a:lnTo>
                    <a:pt x="744" y="510"/>
                  </a:lnTo>
                  <a:lnTo>
                    <a:pt x="738" y="522"/>
                  </a:lnTo>
                  <a:lnTo>
                    <a:pt x="744" y="528"/>
                  </a:lnTo>
                  <a:lnTo>
                    <a:pt x="756" y="534"/>
                  </a:lnTo>
                  <a:lnTo>
                    <a:pt x="756" y="540"/>
                  </a:lnTo>
                  <a:lnTo>
                    <a:pt x="744" y="552"/>
                  </a:lnTo>
                  <a:lnTo>
                    <a:pt x="738" y="552"/>
                  </a:lnTo>
                  <a:lnTo>
                    <a:pt x="738" y="558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64"/>
                  </a:lnTo>
                  <a:lnTo>
                    <a:pt x="744" y="576"/>
                  </a:lnTo>
                  <a:lnTo>
                    <a:pt x="738" y="588"/>
                  </a:lnTo>
                  <a:lnTo>
                    <a:pt x="738" y="594"/>
                  </a:lnTo>
                  <a:lnTo>
                    <a:pt x="738" y="600"/>
                  </a:lnTo>
                  <a:lnTo>
                    <a:pt x="738" y="606"/>
                  </a:lnTo>
                  <a:lnTo>
                    <a:pt x="732" y="612"/>
                  </a:lnTo>
                  <a:lnTo>
                    <a:pt x="726" y="624"/>
                  </a:lnTo>
                  <a:lnTo>
                    <a:pt x="726" y="636"/>
                  </a:lnTo>
                  <a:lnTo>
                    <a:pt x="726" y="648"/>
                  </a:lnTo>
                  <a:lnTo>
                    <a:pt x="738" y="654"/>
                  </a:lnTo>
                  <a:lnTo>
                    <a:pt x="750" y="660"/>
                  </a:lnTo>
                  <a:lnTo>
                    <a:pt x="750" y="666"/>
                  </a:lnTo>
                  <a:lnTo>
                    <a:pt x="750" y="678"/>
                  </a:lnTo>
                  <a:lnTo>
                    <a:pt x="744" y="678"/>
                  </a:lnTo>
                  <a:lnTo>
                    <a:pt x="738" y="684"/>
                  </a:lnTo>
                  <a:lnTo>
                    <a:pt x="732" y="684"/>
                  </a:lnTo>
                  <a:lnTo>
                    <a:pt x="720" y="678"/>
                  </a:lnTo>
                  <a:lnTo>
                    <a:pt x="714" y="684"/>
                  </a:lnTo>
                  <a:lnTo>
                    <a:pt x="708" y="684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0" y="690"/>
                  </a:lnTo>
                  <a:lnTo>
                    <a:pt x="690" y="684"/>
                  </a:lnTo>
                  <a:lnTo>
                    <a:pt x="690" y="690"/>
                  </a:lnTo>
                  <a:lnTo>
                    <a:pt x="684" y="690"/>
                  </a:lnTo>
                  <a:lnTo>
                    <a:pt x="684" y="684"/>
                  </a:lnTo>
                  <a:lnTo>
                    <a:pt x="678" y="684"/>
                  </a:lnTo>
                  <a:lnTo>
                    <a:pt x="672" y="678"/>
                  </a:lnTo>
                  <a:lnTo>
                    <a:pt x="672" y="672"/>
                  </a:lnTo>
                  <a:lnTo>
                    <a:pt x="678" y="672"/>
                  </a:lnTo>
                  <a:lnTo>
                    <a:pt x="672" y="672"/>
                  </a:lnTo>
                  <a:lnTo>
                    <a:pt x="666" y="672"/>
                  </a:lnTo>
                  <a:lnTo>
                    <a:pt x="660" y="672"/>
                  </a:lnTo>
                  <a:lnTo>
                    <a:pt x="654" y="672"/>
                  </a:lnTo>
                  <a:lnTo>
                    <a:pt x="654" y="666"/>
                  </a:lnTo>
                  <a:lnTo>
                    <a:pt x="648" y="666"/>
                  </a:lnTo>
                  <a:lnTo>
                    <a:pt x="642" y="660"/>
                  </a:lnTo>
                  <a:lnTo>
                    <a:pt x="642" y="654"/>
                  </a:lnTo>
                  <a:lnTo>
                    <a:pt x="642" y="648"/>
                  </a:lnTo>
                  <a:lnTo>
                    <a:pt x="636" y="648"/>
                  </a:lnTo>
                  <a:lnTo>
                    <a:pt x="630" y="648"/>
                  </a:lnTo>
                  <a:lnTo>
                    <a:pt x="624" y="648"/>
                  </a:lnTo>
                  <a:lnTo>
                    <a:pt x="624" y="642"/>
                  </a:lnTo>
                  <a:lnTo>
                    <a:pt x="618" y="636"/>
                  </a:lnTo>
                  <a:lnTo>
                    <a:pt x="624" y="636"/>
                  </a:lnTo>
                  <a:lnTo>
                    <a:pt x="624" y="630"/>
                  </a:lnTo>
                  <a:lnTo>
                    <a:pt x="618" y="630"/>
                  </a:lnTo>
                  <a:lnTo>
                    <a:pt x="618" y="624"/>
                  </a:lnTo>
                  <a:lnTo>
                    <a:pt x="618" y="618"/>
                  </a:lnTo>
                  <a:lnTo>
                    <a:pt x="618" y="612"/>
                  </a:lnTo>
                  <a:lnTo>
                    <a:pt x="618" y="606"/>
                  </a:lnTo>
                  <a:lnTo>
                    <a:pt x="624" y="606"/>
                  </a:lnTo>
                  <a:lnTo>
                    <a:pt x="624" y="600"/>
                  </a:lnTo>
                  <a:lnTo>
                    <a:pt x="618" y="600"/>
                  </a:lnTo>
                  <a:lnTo>
                    <a:pt x="618" y="594"/>
                  </a:lnTo>
                  <a:lnTo>
                    <a:pt x="618" y="588"/>
                  </a:lnTo>
                  <a:lnTo>
                    <a:pt x="618" y="582"/>
                  </a:lnTo>
                  <a:lnTo>
                    <a:pt x="612" y="582"/>
                  </a:lnTo>
                  <a:lnTo>
                    <a:pt x="606" y="582"/>
                  </a:lnTo>
                  <a:lnTo>
                    <a:pt x="612" y="582"/>
                  </a:lnTo>
                  <a:lnTo>
                    <a:pt x="612" y="588"/>
                  </a:lnTo>
                  <a:lnTo>
                    <a:pt x="612" y="594"/>
                  </a:lnTo>
                  <a:lnTo>
                    <a:pt x="618" y="594"/>
                  </a:lnTo>
                  <a:lnTo>
                    <a:pt x="618" y="600"/>
                  </a:lnTo>
                  <a:lnTo>
                    <a:pt x="618" y="606"/>
                  </a:lnTo>
                  <a:lnTo>
                    <a:pt x="618" y="612"/>
                  </a:lnTo>
                  <a:lnTo>
                    <a:pt x="612" y="612"/>
                  </a:lnTo>
                  <a:lnTo>
                    <a:pt x="612" y="618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94" y="612"/>
                  </a:lnTo>
                  <a:lnTo>
                    <a:pt x="588" y="606"/>
                  </a:lnTo>
                  <a:lnTo>
                    <a:pt x="588" y="612"/>
                  </a:lnTo>
                  <a:lnTo>
                    <a:pt x="594" y="612"/>
                  </a:lnTo>
                  <a:lnTo>
                    <a:pt x="594" y="618"/>
                  </a:lnTo>
                  <a:lnTo>
                    <a:pt x="588" y="618"/>
                  </a:lnTo>
                  <a:lnTo>
                    <a:pt x="588" y="624"/>
                  </a:lnTo>
                  <a:lnTo>
                    <a:pt x="582" y="624"/>
                  </a:lnTo>
                  <a:lnTo>
                    <a:pt x="582" y="630"/>
                  </a:lnTo>
                  <a:lnTo>
                    <a:pt x="576" y="630"/>
                  </a:lnTo>
                  <a:lnTo>
                    <a:pt x="576" y="636"/>
                  </a:lnTo>
                  <a:lnTo>
                    <a:pt x="570" y="636"/>
                  </a:lnTo>
                  <a:lnTo>
                    <a:pt x="570" y="642"/>
                  </a:lnTo>
                  <a:lnTo>
                    <a:pt x="564" y="642"/>
                  </a:lnTo>
                  <a:lnTo>
                    <a:pt x="564" y="636"/>
                  </a:lnTo>
                  <a:lnTo>
                    <a:pt x="564" y="630"/>
                  </a:lnTo>
                  <a:lnTo>
                    <a:pt x="564" y="624"/>
                  </a:lnTo>
                  <a:lnTo>
                    <a:pt x="564" y="618"/>
                  </a:lnTo>
                  <a:lnTo>
                    <a:pt x="570" y="612"/>
                  </a:lnTo>
                  <a:lnTo>
                    <a:pt x="564" y="606"/>
                  </a:lnTo>
                  <a:lnTo>
                    <a:pt x="564" y="600"/>
                  </a:lnTo>
                  <a:lnTo>
                    <a:pt x="564" y="594"/>
                  </a:lnTo>
                  <a:lnTo>
                    <a:pt x="558" y="594"/>
                  </a:lnTo>
                  <a:lnTo>
                    <a:pt x="558" y="588"/>
                  </a:lnTo>
                  <a:lnTo>
                    <a:pt x="552" y="582"/>
                  </a:lnTo>
                  <a:lnTo>
                    <a:pt x="552" y="576"/>
                  </a:lnTo>
                  <a:lnTo>
                    <a:pt x="552" y="570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6" y="582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58" y="588"/>
                  </a:lnTo>
                  <a:lnTo>
                    <a:pt x="558" y="594"/>
                  </a:lnTo>
                  <a:lnTo>
                    <a:pt x="558" y="600"/>
                  </a:lnTo>
                  <a:lnTo>
                    <a:pt x="558" y="606"/>
                  </a:lnTo>
                  <a:lnTo>
                    <a:pt x="552" y="612"/>
                  </a:lnTo>
                  <a:lnTo>
                    <a:pt x="558" y="612"/>
                  </a:lnTo>
                  <a:lnTo>
                    <a:pt x="558" y="618"/>
                  </a:lnTo>
                  <a:lnTo>
                    <a:pt x="558" y="624"/>
                  </a:lnTo>
                  <a:lnTo>
                    <a:pt x="558" y="630"/>
                  </a:lnTo>
                  <a:lnTo>
                    <a:pt x="552" y="630"/>
                  </a:lnTo>
                  <a:lnTo>
                    <a:pt x="552" y="624"/>
                  </a:lnTo>
                  <a:lnTo>
                    <a:pt x="546" y="624"/>
                  </a:lnTo>
                  <a:lnTo>
                    <a:pt x="546" y="618"/>
                  </a:lnTo>
                  <a:lnTo>
                    <a:pt x="546" y="612"/>
                  </a:lnTo>
                  <a:lnTo>
                    <a:pt x="540" y="612"/>
                  </a:lnTo>
                  <a:lnTo>
                    <a:pt x="534" y="612"/>
                  </a:lnTo>
                  <a:lnTo>
                    <a:pt x="528" y="612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28" y="618"/>
                  </a:lnTo>
                  <a:lnTo>
                    <a:pt x="534" y="618"/>
                  </a:lnTo>
                  <a:lnTo>
                    <a:pt x="540" y="618"/>
                  </a:lnTo>
                  <a:lnTo>
                    <a:pt x="540" y="624"/>
                  </a:lnTo>
                  <a:lnTo>
                    <a:pt x="546" y="624"/>
                  </a:lnTo>
                  <a:lnTo>
                    <a:pt x="546" y="630"/>
                  </a:lnTo>
                  <a:lnTo>
                    <a:pt x="552" y="630"/>
                  </a:lnTo>
                  <a:lnTo>
                    <a:pt x="552" y="636"/>
                  </a:lnTo>
                  <a:lnTo>
                    <a:pt x="546" y="642"/>
                  </a:lnTo>
                  <a:lnTo>
                    <a:pt x="546" y="648"/>
                  </a:lnTo>
                  <a:lnTo>
                    <a:pt x="540" y="648"/>
                  </a:lnTo>
                  <a:lnTo>
                    <a:pt x="540" y="654"/>
                  </a:lnTo>
                  <a:lnTo>
                    <a:pt x="540" y="660"/>
                  </a:lnTo>
                  <a:lnTo>
                    <a:pt x="534" y="666"/>
                  </a:lnTo>
                  <a:lnTo>
                    <a:pt x="534" y="672"/>
                  </a:lnTo>
                  <a:lnTo>
                    <a:pt x="534" y="678"/>
                  </a:lnTo>
                  <a:lnTo>
                    <a:pt x="534" y="684"/>
                  </a:lnTo>
                  <a:lnTo>
                    <a:pt x="534" y="678"/>
                  </a:lnTo>
                  <a:lnTo>
                    <a:pt x="528" y="678"/>
                  </a:lnTo>
                  <a:lnTo>
                    <a:pt x="528" y="684"/>
                  </a:lnTo>
                  <a:lnTo>
                    <a:pt x="522" y="690"/>
                  </a:lnTo>
                  <a:lnTo>
                    <a:pt x="528" y="690"/>
                  </a:lnTo>
                  <a:lnTo>
                    <a:pt x="528" y="684"/>
                  </a:lnTo>
                  <a:lnTo>
                    <a:pt x="534" y="684"/>
                  </a:lnTo>
                  <a:lnTo>
                    <a:pt x="534" y="690"/>
                  </a:lnTo>
                  <a:lnTo>
                    <a:pt x="534" y="696"/>
                  </a:lnTo>
                  <a:lnTo>
                    <a:pt x="540" y="696"/>
                  </a:lnTo>
                  <a:lnTo>
                    <a:pt x="540" y="702"/>
                  </a:lnTo>
                  <a:lnTo>
                    <a:pt x="540" y="708"/>
                  </a:lnTo>
                  <a:lnTo>
                    <a:pt x="534" y="708"/>
                  </a:lnTo>
                  <a:lnTo>
                    <a:pt x="528" y="708"/>
                  </a:lnTo>
                  <a:lnTo>
                    <a:pt x="522" y="708"/>
                  </a:lnTo>
                  <a:lnTo>
                    <a:pt x="516" y="708"/>
                  </a:lnTo>
                  <a:lnTo>
                    <a:pt x="510" y="708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2" y="708"/>
                  </a:lnTo>
                  <a:lnTo>
                    <a:pt x="486" y="714"/>
                  </a:lnTo>
                  <a:lnTo>
                    <a:pt x="480" y="708"/>
                  </a:lnTo>
                  <a:lnTo>
                    <a:pt x="474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68" y="714"/>
                  </a:lnTo>
                  <a:lnTo>
                    <a:pt x="456" y="714"/>
                  </a:lnTo>
                  <a:lnTo>
                    <a:pt x="450" y="714"/>
                  </a:lnTo>
                  <a:lnTo>
                    <a:pt x="450" y="708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50" y="690"/>
                  </a:lnTo>
                  <a:lnTo>
                    <a:pt x="450" y="684"/>
                  </a:lnTo>
                  <a:lnTo>
                    <a:pt x="450" y="678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56" y="660"/>
                  </a:lnTo>
                  <a:lnTo>
                    <a:pt x="462" y="660"/>
                  </a:lnTo>
                  <a:lnTo>
                    <a:pt x="462" y="654"/>
                  </a:lnTo>
                  <a:lnTo>
                    <a:pt x="456" y="654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48"/>
                  </a:lnTo>
                  <a:lnTo>
                    <a:pt x="444" y="648"/>
                  </a:lnTo>
                  <a:lnTo>
                    <a:pt x="444" y="642"/>
                  </a:lnTo>
                  <a:lnTo>
                    <a:pt x="444" y="636"/>
                  </a:lnTo>
                  <a:lnTo>
                    <a:pt x="450" y="636"/>
                  </a:lnTo>
                  <a:lnTo>
                    <a:pt x="450" y="630"/>
                  </a:lnTo>
                  <a:lnTo>
                    <a:pt x="456" y="630"/>
                  </a:lnTo>
                  <a:lnTo>
                    <a:pt x="462" y="630"/>
                  </a:lnTo>
                  <a:lnTo>
                    <a:pt x="462" y="624"/>
                  </a:lnTo>
                  <a:lnTo>
                    <a:pt x="468" y="624"/>
                  </a:lnTo>
                  <a:lnTo>
                    <a:pt x="474" y="624"/>
                  </a:lnTo>
                  <a:lnTo>
                    <a:pt x="474" y="618"/>
                  </a:lnTo>
                  <a:lnTo>
                    <a:pt x="480" y="618"/>
                  </a:lnTo>
                  <a:lnTo>
                    <a:pt x="486" y="618"/>
                  </a:lnTo>
                  <a:lnTo>
                    <a:pt x="486" y="624"/>
                  </a:lnTo>
                  <a:lnTo>
                    <a:pt x="486" y="636"/>
                  </a:lnTo>
                  <a:lnTo>
                    <a:pt x="486" y="642"/>
                  </a:lnTo>
                  <a:lnTo>
                    <a:pt x="486" y="648"/>
                  </a:lnTo>
                  <a:lnTo>
                    <a:pt x="492" y="648"/>
                  </a:lnTo>
                  <a:lnTo>
                    <a:pt x="492" y="642"/>
                  </a:lnTo>
                  <a:lnTo>
                    <a:pt x="498" y="636"/>
                  </a:lnTo>
                  <a:lnTo>
                    <a:pt x="492" y="636"/>
                  </a:lnTo>
                  <a:lnTo>
                    <a:pt x="492" y="630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6" y="618"/>
                  </a:lnTo>
                  <a:lnTo>
                    <a:pt x="486" y="612"/>
                  </a:lnTo>
                  <a:lnTo>
                    <a:pt x="486" y="606"/>
                  </a:lnTo>
                  <a:lnTo>
                    <a:pt x="480" y="606"/>
                  </a:lnTo>
                  <a:lnTo>
                    <a:pt x="480" y="612"/>
                  </a:lnTo>
                  <a:lnTo>
                    <a:pt x="474" y="618"/>
                  </a:lnTo>
                  <a:lnTo>
                    <a:pt x="468" y="618"/>
                  </a:lnTo>
                  <a:lnTo>
                    <a:pt x="462" y="618"/>
                  </a:lnTo>
                  <a:lnTo>
                    <a:pt x="462" y="612"/>
                  </a:lnTo>
                  <a:lnTo>
                    <a:pt x="456" y="612"/>
                  </a:lnTo>
                  <a:lnTo>
                    <a:pt x="456" y="618"/>
                  </a:lnTo>
                  <a:lnTo>
                    <a:pt x="462" y="618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30"/>
                  </a:lnTo>
                  <a:lnTo>
                    <a:pt x="444" y="630"/>
                  </a:lnTo>
                  <a:lnTo>
                    <a:pt x="444" y="636"/>
                  </a:lnTo>
                  <a:lnTo>
                    <a:pt x="444" y="642"/>
                  </a:lnTo>
                  <a:lnTo>
                    <a:pt x="444" y="654"/>
                  </a:lnTo>
                  <a:lnTo>
                    <a:pt x="444" y="660"/>
                  </a:lnTo>
                  <a:lnTo>
                    <a:pt x="438" y="660"/>
                  </a:lnTo>
                  <a:lnTo>
                    <a:pt x="432" y="660"/>
                  </a:lnTo>
                  <a:lnTo>
                    <a:pt x="432" y="654"/>
                  </a:lnTo>
                  <a:lnTo>
                    <a:pt x="438" y="654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48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26" y="660"/>
                  </a:lnTo>
                  <a:lnTo>
                    <a:pt x="432" y="666"/>
                  </a:lnTo>
                  <a:lnTo>
                    <a:pt x="432" y="672"/>
                  </a:lnTo>
                  <a:lnTo>
                    <a:pt x="438" y="672"/>
                  </a:lnTo>
                  <a:lnTo>
                    <a:pt x="438" y="678"/>
                  </a:lnTo>
                  <a:lnTo>
                    <a:pt x="444" y="678"/>
                  </a:lnTo>
                  <a:lnTo>
                    <a:pt x="444" y="684"/>
                  </a:lnTo>
                  <a:lnTo>
                    <a:pt x="438" y="690"/>
                  </a:lnTo>
                  <a:lnTo>
                    <a:pt x="438" y="696"/>
                  </a:lnTo>
                  <a:lnTo>
                    <a:pt x="438" y="702"/>
                  </a:lnTo>
                  <a:lnTo>
                    <a:pt x="432" y="702"/>
                  </a:lnTo>
                  <a:lnTo>
                    <a:pt x="426" y="702"/>
                  </a:lnTo>
                  <a:lnTo>
                    <a:pt x="426" y="696"/>
                  </a:lnTo>
                  <a:lnTo>
                    <a:pt x="414" y="696"/>
                  </a:lnTo>
                  <a:lnTo>
                    <a:pt x="402" y="696"/>
                  </a:lnTo>
                  <a:lnTo>
                    <a:pt x="402" y="690"/>
                  </a:lnTo>
                  <a:lnTo>
                    <a:pt x="396" y="690"/>
                  </a:lnTo>
                  <a:lnTo>
                    <a:pt x="390" y="690"/>
                  </a:lnTo>
                  <a:lnTo>
                    <a:pt x="384" y="690"/>
                  </a:lnTo>
                  <a:lnTo>
                    <a:pt x="384" y="684"/>
                  </a:lnTo>
                  <a:lnTo>
                    <a:pt x="384" y="678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390" y="660"/>
                  </a:lnTo>
                  <a:lnTo>
                    <a:pt x="390" y="654"/>
                  </a:lnTo>
                  <a:lnTo>
                    <a:pt x="384" y="648"/>
                  </a:lnTo>
                  <a:lnTo>
                    <a:pt x="384" y="642"/>
                  </a:lnTo>
                  <a:lnTo>
                    <a:pt x="378" y="636"/>
                  </a:lnTo>
                  <a:lnTo>
                    <a:pt x="378" y="642"/>
                  </a:lnTo>
                  <a:lnTo>
                    <a:pt x="378" y="648"/>
                  </a:lnTo>
                  <a:lnTo>
                    <a:pt x="372" y="648"/>
                  </a:lnTo>
                  <a:lnTo>
                    <a:pt x="378" y="654"/>
                  </a:lnTo>
                  <a:lnTo>
                    <a:pt x="378" y="660"/>
                  </a:lnTo>
                  <a:lnTo>
                    <a:pt x="378" y="666"/>
                  </a:lnTo>
                  <a:lnTo>
                    <a:pt x="372" y="672"/>
                  </a:lnTo>
                  <a:lnTo>
                    <a:pt x="378" y="672"/>
                  </a:lnTo>
                  <a:lnTo>
                    <a:pt x="378" y="678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54" y="666"/>
                  </a:lnTo>
                  <a:lnTo>
                    <a:pt x="354" y="660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0" y="654"/>
                  </a:lnTo>
                  <a:lnTo>
                    <a:pt x="324" y="648"/>
                  </a:lnTo>
                  <a:lnTo>
                    <a:pt x="318" y="648"/>
                  </a:lnTo>
                  <a:lnTo>
                    <a:pt x="318" y="642"/>
                  </a:lnTo>
                  <a:lnTo>
                    <a:pt x="312" y="642"/>
                  </a:lnTo>
                  <a:lnTo>
                    <a:pt x="306" y="636"/>
                  </a:lnTo>
                  <a:lnTo>
                    <a:pt x="300" y="636"/>
                  </a:lnTo>
                  <a:lnTo>
                    <a:pt x="300" y="630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0" y="618"/>
                  </a:lnTo>
                  <a:lnTo>
                    <a:pt x="306" y="612"/>
                  </a:lnTo>
                  <a:lnTo>
                    <a:pt x="300" y="612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294" y="612"/>
                  </a:lnTo>
                  <a:lnTo>
                    <a:pt x="288" y="618"/>
                  </a:lnTo>
                  <a:lnTo>
                    <a:pt x="288" y="612"/>
                  </a:lnTo>
                  <a:lnTo>
                    <a:pt x="288" y="618"/>
                  </a:lnTo>
                  <a:lnTo>
                    <a:pt x="294" y="618"/>
                  </a:lnTo>
                  <a:lnTo>
                    <a:pt x="300" y="624"/>
                  </a:lnTo>
                  <a:lnTo>
                    <a:pt x="294" y="624"/>
                  </a:lnTo>
                  <a:lnTo>
                    <a:pt x="288" y="624"/>
                  </a:lnTo>
                  <a:lnTo>
                    <a:pt x="282" y="61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70" y="600"/>
                  </a:lnTo>
                  <a:lnTo>
                    <a:pt x="270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82" y="588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594"/>
                  </a:lnTo>
                  <a:lnTo>
                    <a:pt x="264" y="600"/>
                  </a:lnTo>
                  <a:lnTo>
                    <a:pt x="264" y="594"/>
                  </a:lnTo>
                  <a:lnTo>
                    <a:pt x="270" y="594"/>
                  </a:lnTo>
                  <a:lnTo>
                    <a:pt x="270" y="588"/>
                  </a:lnTo>
                  <a:lnTo>
                    <a:pt x="264" y="594"/>
                  </a:lnTo>
                  <a:lnTo>
                    <a:pt x="258" y="594"/>
                  </a:lnTo>
                  <a:lnTo>
                    <a:pt x="258" y="588"/>
                  </a:lnTo>
                  <a:lnTo>
                    <a:pt x="252" y="588"/>
                  </a:lnTo>
                  <a:lnTo>
                    <a:pt x="246" y="588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52" y="588"/>
                  </a:lnTo>
                  <a:lnTo>
                    <a:pt x="252" y="594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46" y="594"/>
                  </a:lnTo>
                  <a:lnTo>
                    <a:pt x="246" y="588"/>
                  </a:lnTo>
                  <a:lnTo>
                    <a:pt x="240" y="588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2" y="570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64"/>
                  </a:lnTo>
                  <a:lnTo>
                    <a:pt x="234" y="564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34" y="558"/>
                  </a:lnTo>
                  <a:lnTo>
                    <a:pt x="228" y="558"/>
                  </a:lnTo>
                  <a:lnTo>
                    <a:pt x="222" y="558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2" y="564"/>
                  </a:lnTo>
                  <a:lnTo>
                    <a:pt x="222" y="558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04" y="546"/>
                  </a:lnTo>
                  <a:lnTo>
                    <a:pt x="204" y="540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10" y="540"/>
                  </a:lnTo>
                  <a:lnTo>
                    <a:pt x="210" y="534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8"/>
                  </a:lnTo>
                  <a:lnTo>
                    <a:pt x="174" y="516"/>
                  </a:lnTo>
                  <a:lnTo>
                    <a:pt x="168" y="510"/>
                  </a:lnTo>
                  <a:lnTo>
                    <a:pt x="162" y="504"/>
                  </a:lnTo>
                  <a:lnTo>
                    <a:pt x="156" y="498"/>
                  </a:lnTo>
                  <a:lnTo>
                    <a:pt x="156" y="492"/>
                  </a:lnTo>
                  <a:lnTo>
                    <a:pt x="150" y="486"/>
                  </a:lnTo>
                  <a:lnTo>
                    <a:pt x="144" y="480"/>
                  </a:lnTo>
                  <a:lnTo>
                    <a:pt x="144" y="474"/>
                  </a:lnTo>
                  <a:lnTo>
                    <a:pt x="138" y="474"/>
                  </a:lnTo>
                  <a:lnTo>
                    <a:pt x="138" y="468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26" y="450"/>
                  </a:lnTo>
                  <a:lnTo>
                    <a:pt x="126" y="444"/>
                  </a:lnTo>
                  <a:lnTo>
                    <a:pt x="114" y="438"/>
                  </a:lnTo>
                  <a:lnTo>
                    <a:pt x="114" y="432"/>
                  </a:lnTo>
                  <a:lnTo>
                    <a:pt x="114" y="426"/>
                  </a:lnTo>
                  <a:lnTo>
                    <a:pt x="114" y="432"/>
                  </a:lnTo>
                  <a:lnTo>
                    <a:pt x="120" y="432"/>
                  </a:lnTo>
                  <a:lnTo>
                    <a:pt x="120" y="438"/>
                  </a:lnTo>
                  <a:lnTo>
                    <a:pt x="120" y="444"/>
                  </a:lnTo>
                  <a:lnTo>
                    <a:pt x="126" y="444"/>
                  </a:lnTo>
                  <a:lnTo>
                    <a:pt x="126" y="438"/>
                  </a:lnTo>
                  <a:lnTo>
                    <a:pt x="120" y="438"/>
                  </a:lnTo>
                  <a:lnTo>
                    <a:pt x="126" y="432"/>
                  </a:lnTo>
                  <a:lnTo>
                    <a:pt x="126" y="426"/>
                  </a:lnTo>
                  <a:lnTo>
                    <a:pt x="132" y="420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08" y="414"/>
                  </a:lnTo>
                  <a:lnTo>
                    <a:pt x="102" y="414"/>
                  </a:lnTo>
                  <a:lnTo>
                    <a:pt x="102" y="408"/>
                  </a:lnTo>
                  <a:lnTo>
                    <a:pt x="96" y="402"/>
                  </a:lnTo>
                  <a:lnTo>
                    <a:pt x="96" y="396"/>
                  </a:lnTo>
                  <a:lnTo>
                    <a:pt x="96" y="390"/>
                  </a:lnTo>
                  <a:lnTo>
                    <a:pt x="90" y="390"/>
                  </a:lnTo>
                  <a:lnTo>
                    <a:pt x="90" y="384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78" y="372"/>
                  </a:lnTo>
                  <a:lnTo>
                    <a:pt x="78" y="366"/>
                  </a:lnTo>
                  <a:lnTo>
                    <a:pt x="78" y="360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6" y="348"/>
                  </a:lnTo>
                  <a:lnTo>
                    <a:pt x="66" y="342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6" y="336"/>
                  </a:lnTo>
                  <a:lnTo>
                    <a:pt x="66" y="342"/>
                  </a:lnTo>
                  <a:lnTo>
                    <a:pt x="72" y="348"/>
                  </a:lnTo>
                  <a:lnTo>
                    <a:pt x="78" y="354"/>
                  </a:lnTo>
                  <a:lnTo>
                    <a:pt x="84" y="360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0" y="360"/>
                  </a:lnTo>
                  <a:lnTo>
                    <a:pt x="84" y="360"/>
                  </a:lnTo>
                  <a:lnTo>
                    <a:pt x="84" y="354"/>
                  </a:lnTo>
                  <a:lnTo>
                    <a:pt x="78" y="348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66" y="330"/>
                  </a:lnTo>
                  <a:lnTo>
                    <a:pt x="66" y="324"/>
                  </a:lnTo>
                  <a:lnTo>
                    <a:pt x="60" y="318"/>
                  </a:lnTo>
                  <a:lnTo>
                    <a:pt x="60" y="312"/>
                  </a:lnTo>
                  <a:lnTo>
                    <a:pt x="54" y="306"/>
                  </a:lnTo>
                  <a:lnTo>
                    <a:pt x="54" y="300"/>
                  </a:lnTo>
                  <a:lnTo>
                    <a:pt x="54" y="294"/>
                  </a:lnTo>
                  <a:lnTo>
                    <a:pt x="48" y="288"/>
                  </a:lnTo>
                  <a:lnTo>
                    <a:pt x="48" y="294"/>
                  </a:lnTo>
                  <a:lnTo>
                    <a:pt x="48" y="288"/>
                  </a:lnTo>
                  <a:lnTo>
                    <a:pt x="48" y="282"/>
                  </a:lnTo>
                  <a:lnTo>
                    <a:pt x="48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18" y="216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62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68"/>
                  </a:lnTo>
                  <a:lnTo>
                    <a:pt x="42" y="168"/>
                  </a:lnTo>
                  <a:lnTo>
                    <a:pt x="42" y="174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86"/>
                  </a:lnTo>
                  <a:close/>
                  <a:moveTo>
                    <a:pt x="642" y="660"/>
                  </a:moveTo>
                  <a:lnTo>
                    <a:pt x="642" y="666"/>
                  </a:lnTo>
                  <a:lnTo>
                    <a:pt x="648" y="666"/>
                  </a:lnTo>
                  <a:lnTo>
                    <a:pt x="648" y="672"/>
                  </a:lnTo>
                  <a:lnTo>
                    <a:pt x="648" y="678"/>
                  </a:lnTo>
                  <a:lnTo>
                    <a:pt x="654" y="678"/>
                  </a:lnTo>
                  <a:lnTo>
                    <a:pt x="654" y="684"/>
                  </a:lnTo>
                  <a:lnTo>
                    <a:pt x="660" y="684"/>
                  </a:lnTo>
                  <a:lnTo>
                    <a:pt x="660" y="690"/>
                  </a:lnTo>
                  <a:lnTo>
                    <a:pt x="654" y="690"/>
                  </a:lnTo>
                  <a:lnTo>
                    <a:pt x="648" y="690"/>
                  </a:lnTo>
                  <a:lnTo>
                    <a:pt x="636" y="696"/>
                  </a:lnTo>
                  <a:lnTo>
                    <a:pt x="630" y="696"/>
                  </a:lnTo>
                  <a:lnTo>
                    <a:pt x="624" y="696"/>
                  </a:lnTo>
                  <a:lnTo>
                    <a:pt x="618" y="696"/>
                  </a:lnTo>
                  <a:lnTo>
                    <a:pt x="612" y="696"/>
                  </a:lnTo>
                  <a:lnTo>
                    <a:pt x="594" y="696"/>
                  </a:lnTo>
                  <a:lnTo>
                    <a:pt x="588" y="696"/>
                  </a:lnTo>
                  <a:lnTo>
                    <a:pt x="582" y="696"/>
                  </a:lnTo>
                  <a:lnTo>
                    <a:pt x="570" y="702"/>
                  </a:lnTo>
                  <a:lnTo>
                    <a:pt x="564" y="702"/>
                  </a:lnTo>
                  <a:lnTo>
                    <a:pt x="558" y="702"/>
                  </a:lnTo>
                  <a:lnTo>
                    <a:pt x="552" y="702"/>
                  </a:lnTo>
                  <a:lnTo>
                    <a:pt x="552" y="696"/>
                  </a:lnTo>
                  <a:lnTo>
                    <a:pt x="546" y="696"/>
                  </a:lnTo>
                  <a:lnTo>
                    <a:pt x="546" y="690"/>
                  </a:lnTo>
                  <a:lnTo>
                    <a:pt x="552" y="684"/>
                  </a:lnTo>
                  <a:lnTo>
                    <a:pt x="552" y="678"/>
                  </a:lnTo>
                  <a:lnTo>
                    <a:pt x="558" y="672"/>
                  </a:lnTo>
                  <a:lnTo>
                    <a:pt x="558" y="666"/>
                  </a:lnTo>
                  <a:lnTo>
                    <a:pt x="564" y="666"/>
                  </a:lnTo>
                  <a:lnTo>
                    <a:pt x="570" y="666"/>
                  </a:lnTo>
                  <a:lnTo>
                    <a:pt x="570" y="654"/>
                  </a:lnTo>
                  <a:lnTo>
                    <a:pt x="570" y="648"/>
                  </a:lnTo>
                  <a:lnTo>
                    <a:pt x="582" y="642"/>
                  </a:lnTo>
                  <a:lnTo>
                    <a:pt x="582" y="636"/>
                  </a:lnTo>
                  <a:lnTo>
                    <a:pt x="588" y="636"/>
                  </a:lnTo>
                  <a:lnTo>
                    <a:pt x="588" y="630"/>
                  </a:lnTo>
                  <a:lnTo>
                    <a:pt x="594" y="624"/>
                  </a:lnTo>
                  <a:lnTo>
                    <a:pt x="594" y="618"/>
                  </a:lnTo>
                  <a:lnTo>
                    <a:pt x="600" y="618"/>
                  </a:lnTo>
                  <a:lnTo>
                    <a:pt x="600" y="612"/>
                  </a:lnTo>
                  <a:lnTo>
                    <a:pt x="606" y="612"/>
                  </a:lnTo>
                  <a:lnTo>
                    <a:pt x="606" y="618"/>
                  </a:lnTo>
                  <a:lnTo>
                    <a:pt x="612" y="618"/>
                  </a:lnTo>
                  <a:lnTo>
                    <a:pt x="618" y="618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18" y="636"/>
                  </a:lnTo>
                  <a:lnTo>
                    <a:pt x="618" y="642"/>
                  </a:lnTo>
                  <a:lnTo>
                    <a:pt x="618" y="648"/>
                  </a:lnTo>
                  <a:lnTo>
                    <a:pt x="624" y="648"/>
                  </a:lnTo>
                  <a:lnTo>
                    <a:pt x="630" y="648"/>
                  </a:lnTo>
                  <a:lnTo>
                    <a:pt x="636" y="654"/>
                  </a:lnTo>
                  <a:lnTo>
                    <a:pt x="642" y="654"/>
                  </a:lnTo>
                  <a:lnTo>
                    <a:pt x="642" y="660"/>
                  </a:lnTo>
                  <a:close/>
                </a:path>
              </a:pathLst>
            </a:custGeom>
            <a:solidFill>
              <a:srgbClr val="2A4F1D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0" name="Freeform 5">
              <a:extLst>
                <a:ext uri="{FF2B5EF4-FFF2-40B4-BE49-F238E27FC236}">
                  <a16:creationId xmlns:a16="http://schemas.microsoft.com/office/drawing/2014/main" id="{5577BDCA-F2C7-42E0-A391-018D79AA29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0384" y="4231013"/>
              <a:ext cx="404750" cy="480848"/>
            </a:xfrm>
            <a:custGeom>
              <a:avLst/>
              <a:gdLst>
                <a:gd name="T0" fmla="*/ 9 w 762"/>
                <a:gd name="T1" fmla="*/ 58 h 900"/>
                <a:gd name="T2" fmla="*/ 4 w 762"/>
                <a:gd name="T3" fmla="*/ 56 h 900"/>
                <a:gd name="T4" fmla="*/ 0 w 762"/>
                <a:gd name="T5" fmla="*/ 49 h 900"/>
                <a:gd name="T6" fmla="*/ 4 w 762"/>
                <a:gd name="T7" fmla="*/ 36 h 900"/>
                <a:gd name="T8" fmla="*/ 8 w 762"/>
                <a:gd name="T9" fmla="*/ 28 h 900"/>
                <a:gd name="T10" fmla="*/ 7 w 762"/>
                <a:gd name="T11" fmla="*/ 13 h 900"/>
                <a:gd name="T12" fmla="*/ 15 w 762"/>
                <a:gd name="T13" fmla="*/ 0 h 900"/>
                <a:gd name="T14" fmla="*/ 16 w 762"/>
                <a:gd name="T15" fmla="*/ 13 h 900"/>
                <a:gd name="T16" fmla="*/ 31 w 762"/>
                <a:gd name="T17" fmla="*/ 28 h 900"/>
                <a:gd name="T18" fmla="*/ 49 w 762"/>
                <a:gd name="T19" fmla="*/ 33 h 900"/>
                <a:gd name="T20" fmla="*/ 42 w 762"/>
                <a:gd name="T21" fmla="*/ 48 h 900"/>
                <a:gd name="T22" fmla="*/ 51 w 762"/>
                <a:gd name="T23" fmla="*/ 48 h 900"/>
                <a:gd name="T24" fmla="*/ 61 w 762"/>
                <a:gd name="T25" fmla="*/ 51 h 900"/>
                <a:gd name="T26" fmla="*/ 63 w 762"/>
                <a:gd name="T27" fmla="*/ 60 h 900"/>
                <a:gd name="T28" fmla="*/ 63 w 762"/>
                <a:gd name="T29" fmla="*/ 66 h 900"/>
                <a:gd name="T30" fmla="*/ 65 w 762"/>
                <a:gd name="T31" fmla="*/ 69 h 900"/>
                <a:gd name="T32" fmla="*/ 66 w 762"/>
                <a:gd name="T33" fmla="*/ 72 h 900"/>
                <a:gd name="T34" fmla="*/ 56 w 762"/>
                <a:gd name="T35" fmla="*/ 73 h 900"/>
                <a:gd name="T36" fmla="*/ 55 w 762"/>
                <a:gd name="T37" fmla="*/ 69 h 900"/>
                <a:gd name="T38" fmla="*/ 57 w 762"/>
                <a:gd name="T39" fmla="*/ 67 h 900"/>
                <a:gd name="T40" fmla="*/ 55 w 762"/>
                <a:gd name="T41" fmla="*/ 65 h 900"/>
                <a:gd name="T42" fmla="*/ 53 w 762"/>
                <a:gd name="T43" fmla="*/ 68 h 900"/>
                <a:gd name="T44" fmla="*/ 49 w 762"/>
                <a:gd name="T45" fmla="*/ 68 h 900"/>
                <a:gd name="T46" fmla="*/ 44 w 762"/>
                <a:gd name="T47" fmla="*/ 63 h 900"/>
                <a:gd name="T48" fmla="*/ 40 w 762"/>
                <a:gd name="T49" fmla="*/ 59 h 900"/>
                <a:gd name="T50" fmla="*/ 38 w 762"/>
                <a:gd name="T51" fmla="*/ 57 h 900"/>
                <a:gd name="T52" fmla="*/ 43 w 762"/>
                <a:gd name="T53" fmla="*/ 62 h 900"/>
                <a:gd name="T54" fmla="*/ 43 w 762"/>
                <a:gd name="T55" fmla="*/ 66 h 900"/>
                <a:gd name="T56" fmla="*/ 41 w 762"/>
                <a:gd name="T57" fmla="*/ 71 h 900"/>
                <a:gd name="T58" fmla="*/ 37 w 762"/>
                <a:gd name="T59" fmla="*/ 69 h 900"/>
                <a:gd name="T60" fmla="*/ 35 w 762"/>
                <a:gd name="T61" fmla="*/ 64 h 900"/>
                <a:gd name="T62" fmla="*/ 31 w 762"/>
                <a:gd name="T63" fmla="*/ 57 h 900"/>
                <a:gd name="T64" fmla="*/ 30 w 762"/>
                <a:gd name="T65" fmla="*/ 62 h 900"/>
                <a:gd name="T66" fmla="*/ 29 w 762"/>
                <a:gd name="T67" fmla="*/ 61 h 900"/>
                <a:gd name="T68" fmla="*/ 31 w 762"/>
                <a:gd name="T69" fmla="*/ 66 h 900"/>
                <a:gd name="T70" fmla="*/ 33 w 762"/>
                <a:gd name="T71" fmla="*/ 72 h 900"/>
                <a:gd name="T72" fmla="*/ 32 w 762"/>
                <a:gd name="T73" fmla="*/ 76 h 900"/>
                <a:gd name="T74" fmla="*/ 28 w 762"/>
                <a:gd name="T75" fmla="*/ 75 h 900"/>
                <a:gd name="T76" fmla="*/ 24 w 762"/>
                <a:gd name="T77" fmla="*/ 69 h 900"/>
                <a:gd name="T78" fmla="*/ 24 w 762"/>
                <a:gd name="T79" fmla="*/ 62 h 900"/>
                <a:gd name="T80" fmla="*/ 23 w 762"/>
                <a:gd name="T81" fmla="*/ 62 h 900"/>
                <a:gd name="T82" fmla="*/ 23 w 762"/>
                <a:gd name="T83" fmla="*/ 68 h 900"/>
                <a:gd name="T84" fmla="*/ 25 w 762"/>
                <a:gd name="T85" fmla="*/ 77 h 900"/>
                <a:gd name="T86" fmla="*/ 17 w 762"/>
                <a:gd name="T87" fmla="*/ 74 h 900"/>
                <a:gd name="T88" fmla="*/ 17 w 762"/>
                <a:gd name="T89" fmla="*/ 67 h 900"/>
                <a:gd name="T90" fmla="*/ 16 w 762"/>
                <a:gd name="T91" fmla="*/ 67 h 900"/>
                <a:gd name="T92" fmla="*/ 15 w 762"/>
                <a:gd name="T93" fmla="*/ 71 h 900"/>
                <a:gd name="T94" fmla="*/ 12 w 762"/>
                <a:gd name="T95" fmla="*/ 68 h 900"/>
                <a:gd name="T96" fmla="*/ 15 w 762"/>
                <a:gd name="T97" fmla="*/ 72 h 900"/>
                <a:gd name="T98" fmla="*/ 17 w 762"/>
                <a:gd name="T99" fmla="*/ 77 h 900"/>
                <a:gd name="T100" fmla="*/ 11 w 762"/>
                <a:gd name="T101" fmla="*/ 77 h 900"/>
                <a:gd name="T102" fmla="*/ 10 w 762"/>
                <a:gd name="T103" fmla="*/ 69 h 900"/>
                <a:gd name="T104" fmla="*/ 11 w 762"/>
                <a:gd name="T105" fmla="*/ 72 h 900"/>
                <a:gd name="T106" fmla="*/ 9 w 762"/>
                <a:gd name="T107" fmla="*/ 78 h 900"/>
                <a:gd name="T108" fmla="*/ 43 w 762"/>
                <a:gd name="T109" fmla="*/ 71 h 900"/>
                <a:gd name="T110" fmla="*/ 51 w 762"/>
                <a:gd name="T111" fmla="*/ 69 h 900"/>
                <a:gd name="T112" fmla="*/ 43 w 762"/>
                <a:gd name="T113" fmla="*/ 76 h 900"/>
                <a:gd name="T114" fmla="*/ 36 w 762"/>
                <a:gd name="T115" fmla="*/ 65 h 900"/>
                <a:gd name="T116" fmla="*/ 38 w 762"/>
                <a:gd name="T117" fmla="*/ 72 h 900"/>
                <a:gd name="T118" fmla="*/ 34 w 762"/>
                <a:gd name="T119" fmla="*/ 69 h 900"/>
                <a:gd name="T120" fmla="*/ 29 w 762"/>
                <a:gd name="T121" fmla="*/ 64 h 900"/>
                <a:gd name="T122" fmla="*/ 32 w 762"/>
                <a:gd name="T123" fmla="*/ 66 h 9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900"/>
                <a:gd name="T188" fmla="*/ 762 w 762"/>
                <a:gd name="T189" fmla="*/ 900 h 90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900">
                  <a:moveTo>
                    <a:pt x="90" y="768"/>
                  </a:moveTo>
                  <a:lnTo>
                    <a:pt x="102" y="756"/>
                  </a:lnTo>
                  <a:lnTo>
                    <a:pt x="102" y="750"/>
                  </a:lnTo>
                  <a:lnTo>
                    <a:pt x="90" y="744"/>
                  </a:lnTo>
                  <a:lnTo>
                    <a:pt x="84" y="738"/>
                  </a:lnTo>
                  <a:lnTo>
                    <a:pt x="90" y="726"/>
                  </a:lnTo>
                  <a:lnTo>
                    <a:pt x="84" y="720"/>
                  </a:lnTo>
                  <a:lnTo>
                    <a:pt x="78" y="720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72" y="702"/>
                  </a:lnTo>
                  <a:lnTo>
                    <a:pt x="72" y="696"/>
                  </a:lnTo>
                  <a:lnTo>
                    <a:pt x="84" y="684"/>
                  </a:lnTo>
                  <a:lnTo>
                    <a:pt x="96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102" y="654"/>
                  </a:lnTo>
                  <a:lnTo>
                    <a:pt x="108" y="654"/>
                  </a:lnTo>
                  <a:lnTo>
                    <a:pt x="114" y="648"/>
                  </a:lnTo>
                  <a:lnTo>
                    <a:pt x="120" y="642"/>
                  </a:lnTo>
                  <a:lnTo>
                    <a:pt x="120" y="636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14" y="618"/>
                  </a:lnTo>
                  <a:lnTo>
                    <a:pt x="102" y="618"/>
                  </a:lnTo>
                  <a:lnTo>
                    <a:pt x="90" y="618"/>
                  </a:lnTo>
                  <a:lnTo>
                    <a:pt x="78" y="624"/>
                  </a:lnTo>
                  <a:lnTo>
                    <a:pt x="72" y="630"/>
                  </a:lnTo>
                  <a:lnTo>
                    <a:pt x="54" y="642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42" y="642"/>
                  </a:lnTo>
                  <a:lnTo>
                    <a:pt x="42" y="636"/>
                  </a:lnTo>
                  <a:lnTo>
                    <a:pt x="36" y="636"/>
                  </a:lnTo>
                  <a:lnTo>
                    <a:pt x="30" y="642"/>
                  </a:lnTo>
                  <a:lnTo>
                    <a:pt x="30" y="636"/>
                  </a:lnTo>
                  <a:lnTo>
                    <a:pt x="30" y="630"/>
                  </a:lnTo>
                  <a:lnTo>
                    <a:pt x="24" y="630"/>
                  </a:lnTo>
                  <a:lnTo>
                    <a:pt x="30" y="624"/>
                  </a:lnTo>
                  <a:lnTo>
                    <a:pt x="30" y="618"/>
                  </a:lnTo>
                  <a:lnTo>
                    <a:pt x="30" y="612"/>
                  </a:lnTo>
                  <a:lnTo>
                    <a:pt x="36" y="612"/>
                  </a:lnTo>
                  <a:lnTo>
                    <a:pt x="36" y="606"/>
                  </a:lnTo>
                  <a:lnTo>
                    <a:pt x="30" y="606"/>
                  </a:lnTo>
                  <a:lnTo>
                    <a:pt x="24" y="612"/>
                  </a:lnTo>
                  <a:lnTo>
                    <a:pt x="18" y="606"/>
                  </a:lnTo>
                  <a:lnTo>
                    <a:pt x="12" y="594"/>
                  </a:lnTo>
                  <a:lnTo>
                    <a:pt x="6" y="582"/>
                  </a:lnTo>
                  <a:lnTo>
                    <a:pt x="6" y="570"/>
                  </a:lnTo>
                  <a:lnTo>
                    <a:pt x="0" y="558"/>
                  </a:lnTo>
                  <a:lnTo>
                    <a:pt x="6" y="552"/>
                  </a:lnTo>
                  <a:lnTo>
                    <a:pt x="6" y="534"/>
                  </a:lnTo>
                  <a:lnTo>
                    <a:pt x="18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12" y="480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54" y="408"/>
                  </a:lnTo>
                  <a:lnTo>
                    <a:pt x="54" y="396"/>
                  </a:lnTo>
                  <a:lnTo>
                    <a:pt x="54" y="384"/>
                  </a:lnTo>
                  <a:lnTo>
                    <a:pt x="60" y="378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66"/>
                  </a:lnTo>
                  <a:lnTo>
                    <a:pt x="60" y="360"/>
                  </a:lnTo>
                  <a:lnTo>
                    <a:pt x="66" y="360"/>
                  </a:lnTo>
                  <a:lnTo>
                    <a:pt x="72" y="354"/>
                  </a:lnTo>
                  <a:lnTo>
                    <a:pt x="78" y="354"/>
                  </a:lnTo>
                  <a:lnTo>
                    <a:pt x="84" y="348"/>
                  </a:lnTo>
                  <a:lnTo>
                    <a:pt x="96" y="348"/>
                  </a:lnTo>
                  <a:lnTo>
                    <a:pt x="96" y="342"/>
                  </a:lnTo>
                  <a:lnTo>
                    <a:pt x="96" y="336"/>
                  </a:lnTo>
                  <a:lnTo>
                    <a:pt x="96" y="330"/>
                  </a:lnTo>
                  <a:lnTo>
                    <a:pt x="96" y="324"/>
                  </a:lnTo>
                  <a:lnTo>
                    <a:pt x="102" y="318"/>
                  </a:lnTo>
                  <a:lnTo>
                    <a:pt x="108" y="312"/>
                  </a:lnTo>
                  <a:lnTo>
                    <a:pt x="96" y="306"/>
                  </a:lnTo>
                  <a:lnTo>
                    <a:pt x="84" y="288"/>
                  </a:lnTo>
                  <a:lnTo>
                    <a:pt x="108" y="258"/>
                  </a:lnTo>
                  <a:lnTo>
                    <a:pt x="102" y="222"/>
                  </a:lnTo>
                  <a:lnTo>
                    <a:pt x="84" y="222"/>
                  </a:lnTo>
                  <a:lnTo>
                    <a:pt x="54" y="216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2"/>
                  </a:lnTo>
                  <a:lnTo>
                    <a:pt x="72" y="192"/>
                  </a:lnTo>
                  <a:lnTo>
                    <a:pt x="84" y="186"/>
                  </a:lnTo>
                  <a:lnTo>
                    <a:pt x="90" y="186"/>
                  </a:lnTo>
                  <a:lnTo>
                    <a:pt x="90" y="174"/>
                  </a:lnTo>
                  <a:lnTo>
                    <a:pt x="84" y="162"/>
                  </a:lnTo>
                  <a:lnTo>
                    <a:pt x="84" y="150"/>
                  </a:lnTo>
                  <a:lnTo>
                    <a:pt x="84" y="126"/>
                  </a:lnTo>
                  <a:lnTo>
                    <a:pt x="84" y="114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8" y="96"/>
                  </a:lnTo>
                  <a:lnTo>
                    <a:pt x="120" y="90"/>
                  </a:lnTo>
                  <a:lnTo>
                    <a:pt x="126" y="78"/>
                  </a:lnTo>
                  <a:lnTo>
                    <a:pt x="138" y="66"/>
                  </a:lnTo>
                  <a:lnTo>
                    <a:pt x="138" y="48"/>
                  </a:lnTo>
                  <a:lnTo>
                    <a:pt x="138" y="42"/>
                  </a:lnTo>
                  <a:lnTo>
                    <a:pt x="126" y="30"/>
                  </a:lnTo>
                  <a:lnTo>
                    <a:pt x="120" y="18"/>
                  </a:lnTo>
                  <a:lnTo>
                    <a:pt x="132" y="12"/>
                  </a:lnTo>
                  <a:lnTo>
                    <a:pt x="144" y="0"/>
                  </a:lnTo>
                  <a:lnTo>
                    <a:pt x="150" y="6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6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74" y="66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68" y="72"/>
                  </a:lnTo>
                  <a:lnTo>
                    <a:pt x="156" y="150"/>
                  </a:lnTo>
                  <a:lnTo>
                    <a:pt x="168" y="144"/>
                  </a:lnTo>
                  <a:lnTo>
                    <a:pt x="180" y="150"/>
                  </a:lnTo>
                  <a:lnTo>
                    <a:pt x="186" y="150"/>
                  </a:lnTo>
                  <a:lnTo>
                    <a:pt x="186" y="144"/>
                  </a:lnTo>
                  <a:lnTo>
                    <a:pt x="192" y="150"/>
                  </a:lnTo>
                  <a:lnTo>
                    <a:pt x="222" y="150"/>
                  </a:lnTo>
                  <a:lnTo>
                    <a:pt x="222" y="168"/>
                  </a:lnTo>
                  <a:lnTo>
                    <a:pt x="222" y="186"/>
                  </a:lnTo>
                  <a:lnTo>
                    <a:pt x="234" y="198"/>
                  </a:lnTo>
                  <a:lnTo>
                    <a:pt x="234" y="234"/>
                  </a:lnTo>
                  <a:lnTo>
                    <a:pt x="228" y="270"/>
                  </a:lnTo>
                  <a:lnTo>
                    <a:pt x="246" y="282"/>
                  </a:lnTo>
                  <a:lnTo>
                    <a:pt x="258" y="294"/>
                  </a:lnTo>
                  <a:lnTo>
                    <a:pt x="270" y="300"/>
                  </a:lnTo>
                  <a:lnTo>
                    <a:pt x="294" y="300"/>
                  </a:lnTo>
                  <a:lnTo>
                    <a:pt x="288" y="306"/>
                  </a:lnTo>
                  <a:lnTo>
                    <a:pt x="300" y="312"/>
                  </a:lnTo>
                  <a:lnTo>
                    <a:pt x="306" y="318"/>
                  </a:lnTo>
                  <a:lnTo>
                    <a:pt x="324" y="324"/>
                  </a:lnTo>
                  <a:lnTo>
                    <a:pt x="354" y="318"/>
                  </a:lnTo>
                  <a:lnTo>
                    <a:pt x="354" y="312"/>
                  </a:lnTo>
                  <a:lnTo>
                    <a:pt x="366" y="312"/>
                  </a:lnTo>
                  <a:lnTo>
                    <a:pt x="384" y="312"/>
                  </a:lnTo>
                  <a:lnTo>
                    <a:pt x="390" y="306"/>
                  </a:lnTo>
                  <a:lnTo>
                    <a:pt x="396" y="306"/>
                  </a:lnTo>
                  <a:lnTo>
                    <a:pt x="408" y="306"/>
                  </a:lnTo>
                  <a:lnTo>
                    <a:pt x="426" y="312"/>
                  </a:lnTo>
                  <a:lnTo>
                    <a:pt x="456" y="324"/>
                  </a:lnTo>
                  <a:lnTo>
                    <a:pt x="504" y="330"/>
                  </a:lnTo>
                  <a:lnTo>
                    <a:pt x="510" y="336"/>
                  </a:lnTo>
                  <a:lnTo>
                    <a:pt x="534" y="336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58" y="330"/>
                  </a:lnTo>
                  <a:lnTo>
                    <a:pt x="564" y="330"/>
                  </a:lnTo>
                  <a:lnTo>
                    <a:pt x="570" y="354"/>
                  </a:lnTo>
                  <a:lnTo>
                    <a:pt x="564" y="378"/>
                  </a:lnTo>
                  <a:lnTo>
                    <a:pt x="558" y="396"/>
                  </a:lnTo>
                  <a:lnTo>
                    <a:pt x="546" y="414"/>
                  </a:lnTo>
                  <a:lnTo>
                    <a:pt x="546" y="438"/>
                  </a:lnTo>
                  <a:lnTo>
                    <a:pt x="540" y="456"/>
                  </a:lnTo>
                  <a:lnTo>
                    <a:pt x="540" y="474"/>
                  </a:lnTo>
                  <a:lnTo>
                    <a:pt x="528" y="480"/>
                  </a:lnTo>
                  <a:lnTo>
                    <a:pt x="522" y="492"/>
                  </a:lnTo>
                  <a:lnTo>
                    <a:pt x="504" y="498"/>
                  </a:lnTo>
                  <a:lnTo>
                    <a:pt x="498" y="498"/>
                  </a:lnTo>
                  <a:lnTo>
                    <a:pt x="492" y="504"/>
                  </a:lnTo>
                  <a:lnTo>
                    <a:pt x="486" y="510"/>
                  </a:lnTo>
                  <a:lnTo>
                    <a:pt x="480" y="510"/>
                  </a:lnTo>
                  <a:lnTo>
                    <a:pt x="480" y="516"/>
                  </a:lnTo>
                  <a:lnTo>
                    <a:pt x="474" y="522"/>
                  </a:lnTo>
                  <a:lnTo>
                    <a:pt x="474" y="528"/>
                  </a:lnTo>
                  <a:lnTo>
                    <a:pt x="474" y="534"/>
                  </a:lnTo>
                  <a:lnTo>
                    <a:pt x="480" y="540"/>
                  </a:lnTo>
                  <a:lnTo>
                    <a:pt x="492" y="540"/>
                  </a:lnTo>
                  <a:lnTo>
                    <a:pt x="498" y="546"/>
                  </a:lnTo>
                  <a:lnTo>
                    <a:pt x="504" y="552"/>
                  </a:lnTo>
                  <a:lnTo>
                    <a:pt x="510" y="552"/>
                  </a:lnTo>
                  <a:lnTo>
                    <a:pt x="516" y="558"/>
                  </a:lnTo>
                  <a:lnTo>
                    <a:pt x="528" y="558"/>
                  </a:lnTo>
                  <a:lnTo>
                    <a:pt x="534" y="552"/>
                  </a:lnTo>
                  <a:lnTo>
                    <a:pt x="540" y="552"/>
                  </a:lnTo>
                  <a:lnTo>
                    <a:pt x="546" y="552"/>
                  </a:lnTo>
                  <a:lnTo>
                    <a:pt x="558" y="546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70" y="546"/>
                  </a:lnTo>
                  <a:lnTo>
                    <a:pt x="570" y="540"/>
                  </a:lnTo>
                  <a:lnTo>
                    <a:pt x="570" y="546"/>
                  </a:lnTo>
                  <a:lnTo>
                    <a:pt x="576" y="546"/>
                  </a:lnTo>
                  <a:lnTo>
                    <a:pt x="582" y="546"/>
                  </a:lnTo>
                  <a:lnTo>
                    <a:pt x="588" y="540"/>
                  </a:lnTo>
                  <a:lnTo>
                    <a:pt x="594" y="546"/>
                  </a:lnTo>
                  <a:lnTo>
                    <a:pt x="606" y="546"/>
                  </a:lnTo>
                  <a:lnTo>
                    <a:pt x="612" y="546"/>
                  </a:lnTo>
                  <a:lnTo>
                    <a:pt x="612" y="552"/>
                  </a:lnTo>
                  <a:lnTo>
                    <a:pt x="618" y="552"/>
                  </a:lnTo>
                  <a:lnTo>
                    <a:pt x="624" y="552"/>
                  </a:lnTo>
                  <a:lnTo>
                    <a:pt x="630" y="552"/>
                  </a:lnTo>
                  <a:lnTo>
                    <a:pt x="648" y="546"/>
                  </a:lnTo>
                  <a:lnTo>
                    <a:pt x="654" y="546"/>
                  </a:lnTo>
                  <a:lnTo>
                    <a:pt x="654" y="552"/>
                  </a:lnTo>
                  <a:lnTo>
                    <a:pt x="660" y="558"/>
                  </a:lnTo>
                  <a:lnTo>
                    <a:pt x="666" y="564"/>
                  </a:lnTo>
                  <a:lnTo>
                    <a:pt x="672" y="564"/>
                  </a:lnTo>
                  <a:lnTo>
                    <a:pt x="678" y="564"/>
                  </a:lnTo>
                  <a:lnTo>
                    <a:pt x="696" y="576"/>
                  </a:lnTo>
                  <a:lnTo>
                    <a:pt x="696" y="582"/>
                  </a:lnTo>
                  <a:lnTo>
                    <a:pt x="708" y="588"/>
                  </a:lnTo>
                  <a:lnTo>
                    <a:pt x="708" y="594"/>
                  </a:lnTo>
                  <a:lnTo>
                    <a:pt x="720" y="606"/>
                  </a:lnTo>
                  <a:lnTo>
                    <a:pt x="720" y="618"/>
                  </a:lnTo>
                  <a:lnTo>
                    <a:pt x="720" y="624"/>
                  </a:lnTo>
                  <a:lnTo>
                    <a:pt x="726" y="630"/>
                  </a:lnTo>
                  <a:lnTo>
                    <a:pt x="732" y="636"/>
                  </a:lnTo>
                  <a:lnTo>
                    <a:pt x="732" y="642"/>
                  </a:lnTo>
                  <a:lnTo>
                    <a:pt x="732" y="648"/>
                  </a:lnTo>
                  <a:lnTo>
                    <a:pt x="726" y="654"/>
                  </a:lnTo>
                  <a:lnTo>
                    <a:pt x="720" y="660"/>
                  </a:lnTo>
                  <a:lnTo>
                    <a:pt x="714" y="666"/>
                  </a:lnTo>
                  <a:lnTo>
                    <a:pt x="714" y="672"/>
                  </a:lnTo>
                  <a:lnTo>
                    <a:pt x="714" y="678"/>
                  </a:lnTo>
                  <a:lnTo>
                    <a:pt x="720" y="678"/>
                  </a:lnTo>
                  <a:lnTo>
                    <a:pt x="720" y="684"/>
                  </a:lnTo>
                  <a:lnTo>
                    <a:pt x="714" y="690"/>
                  </a:lnTo>
                  <a:lnTo>
                    <a:pt x="714" y="696"/>
                  </a:lnTo>
                  <a:lnTo>
                    <a:pt x="714" y="702"/>
                  </a:lnTo>
                  <a:lnTo>
                    <a:pt x="714" y="708"/>
                  </a:lnTo>
                  <a:lnTo>
                    <a:pt x="720" y="708"/>
                  </a:lnTo>
                  <a:lnTo>
                    <a:pt x="720" y="720"/>
                  </a:lnTo>
                  <a:lnTo>
                    <a:pt x="720" y="726"/>
                  </a:lnTo>
                  <a:lnTo>
                    <a:pt x="726" y="726"/>
                  </a:lnTo>
                  <a:lnTo>
                    <a:pt x="726" y="732"/>
                  </a:lnTo>
                  <a:lnTo>
                    <a:pt x="732" y="732"/>
                  </a:lnTo>
                  <a:lnTo>
                    <a:pt x="732" y="738"/>
                  </a:lnTo>
                  <a:lnTo>
                    <a:pt x="726" y="738"/>
                  </a:lnTo>
                  <a:lnTo>
                    <a:pt x="720" y="738"/>
                  </a:lnTo>
                  <a:lnTo>
                    <a:pt x="720" y="744"/>
                  </a:lnTo>
                  <a:lnTo>
                    <a:pt x="720" y="750"/>
                  </a:lnTo>
                  <a:lnTo>
                    <a:pt x="714" y="750"/>
                  </a:lnTo>
                  <a:lnTo>
                    <a:pt x="714" y="756"/>
                  </a:lnTo>
                  <a:lnTo>
                    <a:pt x="720" y="756"/>
                  </a:lnTo>
                  <a:lnTo>
                    <a:pt x="714" y="762"/>
                  </a:lnTo>
                  <a:lnTo>
                    <a:pt x="720" y="762"/>
                  </a:lnTo>
                  <a:lnTo>
                    <a:pt x="726" y="768"/>
                  </a:lnTo>
                  <a:lnTo>
                    <a:pt x="726" y="774"/>
                  </a:lnTo>
                  <a:lnTo>
                    <a:pt x="732" y="774"/>
                  </a:lnTo>
                  <a:lnTo>
                    <a:pt x="732" y="780"/>
                  </a:lnTo>
                  <a:lnTo>
                    <a:pt x="726" y="780"/>
                  </a:lnTo>
                  <a:lnTo>
                    <a:pt x="726" y="786"/>
                  </a:lnTo>
                  <a:lnTo>
                    <a:pt x="720" y="786"/>
                  </a:lnTo>
                  <a:lnTo>
                    <a:pt x="726" y="786"/>
                  </a:lnTo>
                  <a:lnTo>
                    <a:pt x="732" y="780"/>
                  </a:lnTo>
                  <a:lnTo>
                    <a:pt x="738" y="780"/>
                  </a:lnTo>
                  <a:lnTo>
                    <a:pt x="744" y="780"/>
                  </a:lnTo>
                  <a:lnTo>
                    <a:pt x="744" y="786"/>
                  </a:lnTo>
                  <a:lnTo>
                    <a:pt x="750" y="786"/>
                  </a:lnTo>
                  <a:lnTo>
                    <a:pt x="744" y="786"/>
                  </a:lnTo>
                  <a:lnTo>
                    <a:pt x="744" y="792"/>
                  </a:lnTo>
                  <a:lnTo>
                    <a:pt x="744" y="786"/>
                  </a:lnTo>
                  <a:lnTo>
                    <a:pt x="738" y="792"/>
                  </a:lnTo>
                  <a:lnTo>
                    <a:pt x="744" y="792"/>
                  </a:lnTo>
                  <a:lnTo>
                    <a:pt x="750" y="792"/>
                  </a:lnTo>
                  <a:lnTo>
                    <a:pt x="750" y="786"/>
                  </a:lnTo>
                  <a:lnTo>
                    <a:pt x="756" y="786"/>
                  </a:lnTo>
                  <a:lnTo>
                    <a:pt x="756" y="792"/>
                  </a:lnTo>
                  <a:lnTo>
                    <a:pt x="762" y="792"/>
                  </a:lnTo>
                  <a:lnTo>
                    <a:pt x="756" y="798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0" y="810"/>
                  </a:lnTo>
                  <a:lnTo>
                    <a:pt x="756" y="810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6" y="816"/>
                  </a:lnTo>
                  <a:lnTo>
                    <a:pt x="750" y="816"/>
                  </a:lnTo>
                  <a:lnTo>
                    <a:pt x="738" y="810"/>
                  </a:lnTo>
                  <a:lnTo>
                    <a:pt x="732" y="810"/>
                  </a:lnTo>
                  <a:lnTo>
                    <a:pt x="732" y="816"/>
                  </a:lnTo>
                  <a:lnTo>
                    <a:pt x="726" y="810"/>
                  </a:lnTo>
                  <a:lnTo>
                    <a:pt x="714" y="816"/>
                  </a:lnTo>
                  <a:lnTo>
                    <a:pt x="708" y="816"/>
                  </a:lnTo>
                  <a:lnTo>
                    <a:pt x="702" y="816"/>
                  </a:lnTo>
                  <a:lnTo>
                    <a:pt x="696" y="816"/>
                  </a:lnTo>
                  <a:lnTo>
                    <a:pt x="690" y="822"/>
                  </a:lnTo>
                  <a:lnTo>
                    <a:pt x="684" y="822"/>
                  </a:lnTo>
                  <a:lnTo>
                    <a:pt x="678" y="822"/>
                  </a:lnTo>
                  <a:lnTo>
                    <a:pt x="672" y="822"/>
                  </a:lnTo>
                  <a:lnTo>
                    <a:pt x="666" y="822"/>
                  </a:lnTo>
                  <a:lnTo>
                    <a:pt x="666" y="828"/>
                  </a:lnTo>
                  <a:lnTo>
                    <a:pt x="654" y="828"/>
                  </a:lnTo>
                  <a:lnTo>
                    <a:pt x="648" y="828"/>
                  </a:lnTo>
                  <a:lnTo>
                    <a:pt x="642" y="828"/>
                  </a:lnTo>
                  <a:lnTo>
                    <a:pt x="630" y="828"/>
                  </a:lnTo>
                  <a:lnTo>
                    <a:pt x="624" y="822"/>
                  </a:lnTo>
                  <a:lnTo>
                    <a:pt x="618" y="822"/>
                  </a:lnTo>
                  <a:lnTo>
                    <a:pt x="612" y="822"/>
                  </a:lnTo>
                  <a:lnTo>
                    <a:pt x="606" y="822"/>
                  </a:lnTo>
                  <a:lnTo>
                    <a:pt x="600" y="822"/>
                  </a:lnTo>
                  <a:lnTo>
                    <a:pt x="594" y="822"/>
                  </a:lnTo>
                  <a:lnTo>
                    <a:pt x="594" y="816"/>
                  </a:lnTo>
                  <a:lnTo>
                    <a:pt x="594" y="810"/>
                  </a:lnTo>
                  <a:lnTo>
                    <a:pt x="600" y="804"/>
                  </a:lnTo>
                  <a:lnTo>
                    <a:pt x="600" y="798"/>
                  </a:lnTo>
                  <a:lnTo>
                    <a:pt x="600" y="792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2" y="786"/>
                  </a:lnTo>
                  <a:lnTo>
                    <a:pt x="618" y="786"/>
                  </a:lnTo>
                  <a:lnTo>
                    <a:pt x="624" y="786"/>
                  </a:lnTo>
                  <a:lnTo>
                    <a:pt x="624" y="780"/>
                  </a:lnTo>
                  <a:lnTo>
                    <a:pt x="630" y="780"/>
                  </a:lnTo>
                  <a:lnTo>
                    <a:pt x="630" y="774"/>
                  </a:lnTo>
                  <a:lnTo>
                    <a:pt x="636" y="774"/>
                  </a:lnTo>
                  <a:lnTo>
                    <a:pt x="642" y="780"/>
                  </a:lnTo>
                  <a:lnTo>
                    <a:pt x="642" y="786"/>
                  </a:lnTo>
                  <a:lnTo>
                    <a:pt x="642" y="792"/>
                  </a:lnTo>
                  <a:lnTo>
                    <a:pt x="648" y="792"/>
                  </a:lnTo>
                  <a:lnTo>
                    <a:pt x="648" y="786"/>
                  </a:lnTo>
                  <a:lnTo>
                    <a:pt x="642" y="786"/>
                  </a:lnTo>
                  <a:lnTo>
                    <a:pt x="642" y="780"/>
                  </a:lnTo>
                  <a:lnTo>
                    <a:pt x="642" y="774"/>
                  </a:lnTo>
                  <a:lnTo>
                    <a:pt x="648" y="768"/>
                  </a:lnTo>
                  <a:lnTo>
                    <a:pt x="642" y="768"/>
                  </a:lnTo>
                  <a:lnTo>
                    <a:pt x="648" y="768"/>
                  </a:lnTo>
                  <a:lnTo>
                    <a:pt x="648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66" y="762"/>
                  </a:lnTo>
                  <a:lnTo>
                    <a:pt x="672" y="756"/>
                  </a:lnTo>
                  <a:lnTo>
                    <a:pt x="666" y="756"/>
                  </a:lnTo>
                  <a:lnTo>
                    <a:pt x="660" y="756"/>
                  </a:lnTo>
                  <a:lnTo>
                    <a:pt x="660" y="750"/>
                  </a:lnTo>
                  <a:lnTo>
                    <a:pt x="654" y="750"/>
                  </a:lnTo>
                  <a:lnTo>
                    <a:pt x="648" y="750"/>
                  </a:lnTo>
                  <a:lnTo>
                    <a:pt x="648" y="756"/>
                  </a:lnTo>
                  <a:lnTo>
                    <a:pt x="642" y="756"/>
                  </a:lnTo>
                  <a:lnTo>
                    <a:pt x="642" y="750"/>
                  </a:lnTo>
                  <a:lnTo>
                    <a:pt x="642" y="744"/>
                  </a:lnTo>
                  <a:lnTo>
                    <a:pt x="642" y="750"/>
                  </a:lnTo>
                  <a:lnTo>
                    <a:pt x="636" y="750"/>
                  </a:lnTo>
                  <a:lnTo>
                    <a:pt x="636" y="744"/>
                  </a:lnTo>
                  <a:lnTo>
                    <a:pt x="630" y="744"/>
                  </a:lnTo>
                  <a:lnTo>
                    <a:pt x="630" y="738"/>
                  </a:lnTo>
                  <a:lnTo>
                    <a:pt x="630" y="744"/>
                  </a:lnTo>
                  <a:lnTo>
                    <a:pt x="630" y="750"/>
                  </a:lnTo>
                  <a:lnTo>
                    <a:pt x="636" y="750"/>
                  </a:lnTo>
                  <a:lnTo>
                    <a:pt x="636" y="756"/>
                  </a:lnTo>
                  <a:lnTo>
                    <a:pt x="630" y="756"/>
                  </a:lnTo>
                  <a:lnTo>
                    <a:pt x="636" y="762"/>
                  </a:lnTo>
                  <a:lnTo>
                    <a:pt x="630" y="762"/>
                  </a:lnTo>
                  <a:lnTo>
                    <a:pt x="624" y="762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24" y="786"/>
                  </a:lnTo>
                  <a:lnTo>
                    <a:pt x="618" y="786"/>
                  </a:lnTo>
                  <a:lnTo>
                    <a:pt x="618" y="78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12" y="774"/>
                  </a:lnTo>
                  <a:lnTo>
                    <a:pt x="612" y="780"/>
                  </a:lnTo>
                  <a:lnTo>
                    <a:pt x="606" y="780"/>
                  </a:lnTo>
                  <a:lnTo>
                    <a:pt x="600" y="780"/>
                  </a:lnTo>
                  <a:lnTo>
                    <a:pt x="600" y="774"/>
                  </a:lnTo>
                  <a:lnTo>
                    <a:pt x="594" y="768"/>
                  </a:lnTo>
                  <a:lnTo>
                    <a:pt x="594" y="762"/>
                  </a:lnTo>
                  <a:lnTo>
                    <a:pt x="594" y="756"/>
                  </a:lnTo>
                  <a:lnTo>
                    <a:pt x="594" y="762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594" y="780"/>
                  </a:lnTo>
                  <a:lnTo>
                    <a:pt x="588" y="780"/>
                  </a:lnTo>
                  <a:lnTo>
                    <a:pt x="582" y="780"/>
                  </a:lnTo>
                  <a:lnTo>
                    <a:pt x="576" y="780"/>
                  </a:lnTo>
                  <a:lnTo>
                    <a:pt x="570" y="780"/>
                  </a:lnTo>
                  <a:lnTo>
                    <a:pt x="564" y="780"/>
                  </a:lnTo>
                  <a:lnTo>
                    <a:pt x="564" y="786"/>
                  </a:lnTo>
                  <a:lnTo>
                    <a:pt x="558" y="786"/>
                  </a:lnTo>
                  <a:lnTo>
                    <a:pt x="552" y="786"/>
                  </a:lnTo>
                  <a:lnTo>
                    <a:pt x="552" y="780"/>
                  </a:lnTo>
                  <a:lnTo>
                    <a:pt x="552" y="774"/>
                  </a:lnTo>
                  <a:lnTo>
                    <a:pt x="552" y="768"/>
                  </a:lnTo>
                  <a:lnTo>
                    <a:pt x="546" y="768"/>
                  </a:lnTo>
                  <a:lnTo>
                    <a:pt x="540" y="762"/>
                  </a:lnTo>
                  <a:lnTo>
                    <a:pt x="540" y="756"/>
                  </a:lnTo>
                  <a:lnTo>
                    <a:pt x="534" y="756"/>
                  </a:lnTo>
                  <a:lnTo>
                    <a:pt x="534" y="750"/>
                  </a:lnTo>
                  <a:lnTo>
                    <a:pt x="534" y="744"/>
                  </a:lnTo>
                  <a:lnTo>
                    <a:pt x="528" y="738"/>
                  </a:lnTo>
                  <a:lnTo>
                    <a:pt x="522" y="738"/>
                  </a:lnTo>
                  <a:lnTo>
                    <a:pt x="522" y="732"/>
                  </a:lnTo>
                  <a:lnTo>
                    <a:pt x="510" y="726"/>
                  </a:lnTo>
                  <a:lnTo>
                    <a:pt x="510" y="720"/>
                  </a:lnTo>
                  <a:lnTo>
                    <a:pt x="504" y="720"/>
                  </a:lnTo>
                  <a:lnTo>
                    <a:pt x="504" y="714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8" y="702"/>
                  </a:lnTo>
                  <a:lnTo>
                    <a:pt x="498" y="696"/>
                  </a:lnTo>
                  <a:lnTo>
                    <a:pt x="492" y="690"/>
                  </a:lnTo>
                  <a:lnTo>
                    <a:pt x="492" y="684"/>
                  </a:lnTo>
                  <a:lnTo>
                    <a:pt x="486" y="684"/>
                  </a:lnTo>
                  <a:lnTo>
                    <a:pt x="486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74" y="678"/>
                  </a:lnTo>
                  <a:lnTo>
                    <a:pt x="468" y="678"/>
                  </a:lnTo>
                  <a:lnTo>
                    <a:pt x="462" y="678"/>
                  </a:lnTo>
                  <a:lnTo>
                    <a:pt x="462" y="672"/>
                  </a:lnTo>
                  <a:lnTo>
                    <a:pt x="456" y="672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44" y="666"/>
                  </a:lnTo>
                  <a:lnTo>
                    <a:pt x="438" y="660"/>
                  </a:lnTo>
                  <a:lnTo>
                    <a:pt x="438" y="648"/>
                  </a:lnTo>
                  <a:lnTo>
                    <a:pt x="438" y="642"/>
                  </a:lnTo>
                  <a:lnTo>
                    <a:pt x="438" y="636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36"/>
                  </a:lnTo>
                  <a:lnTo>
                    <a:pt x="420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60"/>
                  </a:lnTo>
                  <a:lnTo>
                    <a:pt x="432" y="666"/>
                  </a:lnTo>
                  <a:lnTo>
                    <a:pt x="438" y="666"/>
                  </a:lnTo>
                  <a:lnTo>
                    <a:pt x="438" y="672"/>
                  </a:lnTo>
                  <a:lnTo>
                    <a:pt x="444" y="672"/>
                  </a:lnTo>
                  <a:lnTo>
                    <a:pt x="444" y="678"/>
                  </a:lnTo>
                  <a:lnTo>
                    <a:pt x="450" y="678"/>
                  </a:lnTo>
                  <a:lnTo>
                    <a:pt x="456" y="678"/>
                  </a:lnTo>
                  <a:lnTo>
                    <a:pt x="456" y="684"/>
                  </a:lnTo>
                  <a:lnTo>
                    <a:pt x="462" y="684"/>
                  </a:lnTo>
                  <a:lnTo>
                    <a:pt x="468" y="684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80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86" y="708"/>
                  </a:lnTo>
                  <a:lnTo>
                    <a:pt x="492" y="714"/>
                  </a:lnTo>
                  <a:lnTo>
                    <a:pt x="492" y="720"/>
                  </a:lnTo>
                  <a:lnTo>
                    <a:pt x="492" y="726"/>
                  </a:lnTo>
                  <a:lnTo>
                    <a:pt x="498" y="732"/>
                  </a:lnTo>
                  <a:lnTo>
                    <a:pt x="492" y="738"/>
                  </a:lnTo>
                  <a:lnTo>
                    <a:pt x="492" y="744"/>
                  </a:lnTo>
                  <a:lnTo>
                    <a:pt x="492" y="750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68" y="738"/>
                  </a:lnTo>
                  <a:lnTo>
                    <a:pt x="468" y="744"/>
                  </a:lnTo>
                  <a:lnTo>
                    <a:pt x="474" y="750"/>
                  </a:lnTo>
                  <a:lnTo>
                    <a:pt x="480" y="756"/>
                  </a:lnTo>
                  <a:lnTo>
                    <a:pt x="486" y="756"/>
                  </a:lnTo>
                  <a:lnTo>
                    <a:pt x="492" y="762"/>
                  </a:lnTo>
                  <a:lnTo>
                    <a:pt x="498" y="768"/>
                  </a:lnTo>
                  <a:lnTo>
                    <a:pt x="492" y="774"/>
                  </a:lnTo>
                  <a:lnTo>
                    <a:pt x="492" y="780"/>
                  </a:lnTo>
                  <a:lnTo>
                    <a:pt x="498" y="780"/>
                  </a:lnTo>
                  <a:lnTo>
                    <a:pt x="492" y="786"/>
                  </a:lnTo>
                  <a:lnTo>
                    <a:pt x="492" y="792"/>
                  </a:lnTo>
                  <a:lnTo>
                    <a:pt x="492" y="79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0" y="810"/>
                  </a:lnTo>
                  <a:lnTo>
                    <a:pt x="480" y="804"/>
                  </a:lnTo>
                  <a:lnTo>
                    <a:pt x="474" y="804"/>
                  </a:lnTo>
                  <a:lnTo>
                    <a:pt x="474" y="798"/>
                  </a:lnTo>
                  <a:lnTo>
                    <a:pt x="474" y="804"/>
                  </a:lnTo>
                  <a:lnTo>
                    <a:pt x="468" y="804"/>
                  </a:lnTo>
                  <a:lnTo>
                    <a:pt x="468" y="810"/>
                  </a:lnTo>
                  <a:lnTo>
                    <a:pt x="462" y="810"/>
                  </a:lnTo>
                  <a:lnTo>
                    <a:pt x="456" y="810"/>
                  </a:lnTo>
                  <a:lnTo>
                    <a:pt x="450" y="810"/>
                  </a:lnTo>
                  <a:lnTo>
                    <a:pt x="450" y="816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50" y="822"/>
                  </a:lnTo>
                  <a:lnTo>
                    <a:pt x="450" y="816"/>
                  </a:lnTo>
                  <a:lnTo>
                    <a:pt x="444" y="816"/>
                  </a:lnTo>
                  <a:lnTo>
                    <a:pt x="438" y="810"/>
                  </a:lnTo>
                  <a:lnTo>
                    <a:pt x="432" y="810"/>
                  </a:lnTo>
                  <a:lnTo>
                    <a:pt x="426" y="804"/>
                  </a:lnTo>
                  <a:lnTo>
                    <a:pt x="426" y="798"/>
                  </a:lnTo>
                  <a:lnTo>
                    <a:pt x="420" y="798"/>
                  </a:lnTo>
                  <a:lnTo>
                    <a:pt x="426" y="798"/>
                  </a:lnTo>
                  <a:lnTo>
                    <a:pt x="426" y="792"/>
                  </a:lnTo>
                  <a:lnTo>
                    <a:pt x="426" y="786"/>
                  </a:lnTo>
                  <a:lnTo>
                    <a:pt x="432" y="786"/>
                  </a:lnTo>
                  <a:lnTo>
                    <a:pt x="432" y="780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0" y="756"/>
                  </a:lnTo>
                  <a:lnTo>
                    <a:pt x="420" y="750"/>
                  </a:lnTo>
                  <a:lnTo>
                    <a:pt x="414" y="750"/>
                  </a:lnTo>
                  <a:lnTo>
                    <a:pt x="420" y="750"/>
                  </a:lnTo>
                  <a:lnTo>
                    <a:pt x="420" y="744"/>
                  </a:lnTo>
                  <a:lnTo>
                    <a:pt x="414" y="744"/>
                  </a:lnTo>
                  <a:lnTo>
                    <a:pt x="414" y="738"/>
                  </a:lnTo>
                  <a:lnTo>
                    <a:pt x="414" y="732"/>
                  </a:lnTo>
                  <a:lnTo>
                    <a:pt x="408" y="732"/>
                  </a:lnTo>
                  <a:lnTo>
                    <a:pt x="408" y="726"/>
                  </a:lnTo>
                  <a:lnTo>
                    <a:pt x="402" y="726"/>
                  </a:lnTo>
                  <a:lnTo>
                    <a:pt x="396" y="726"/>
                  </a:lnTo>
                  <a:lnTo>
                    <a:pt x="390" y="726"/>
                  </a:lnTo>
                  <a:lnTo>
                    <a:pt x="390" y="720"/>
                  </a:lnTo>
                  <a:lnTo>
                    <a:pt x="390" y="714"/>
                  </a:lnTo>
                  <a:lnTo>
                    <a:pt x="384" y="708"/>
                  </a:lnTo>
                  <a:lnTo>
                    <a:pt x="384" y="702"/>
                  </a:lnTo>
                  <a:lnTo>
                    <a:pt x="378" y="702"/>
                  </a:lnTo>
                  <a:lnTo>
                    <a:pt x="378" y="696"/>
                  </a:lnTo>
                  <a:lnTo>
                    <a:pt x="378" y="690"/>
                  </a:lnTo>
                  <a:lnTo>
                    <a:pt x="372" y="684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66" y="666"/>
                  </a:lnTo>
                  <a:lnTo>
                    <a:pt x="366" y="660"/>
                  </a:lnTo>
                  <a:lnTo>
                    <a:pt x="366" y="654"/>
                  </a:lnTo>
                  <a:lnTo>
                    <a:pt x="360" y="648"/>
                  </a:lnTo>
                  <a:lnTo>
                    <a:pt x="360" y="654"/>
                  </a:lnTo>
                  <a:lnTo>
                    <a:pt x="360" y="660"/>
                  </a:lnTo>
                  <a:lnTo>
                    <a:pt x="360" y="666"/>
                  </a:lnTo>
                  <a:lnTo>
                    <a:pt x="360" y="672"/>
                  </a:lnTo>
                  <a:lnTo>
                    <a:pt x="360" y="678"/>
                  </a:lnTo>
                  <a:lnTo>
                    <a:pt x="366" y="678"/>
                  </a:lnTo>
                  <a:lnTo>
                    <a:pt x="366" y="684"/>
                  </a:lnTo>
                  <a:lnTo>
                    <a:pt x="366" y="690"/>
                  </a:lnTo>
                  <a:lnTo>
                    <a:pt x="372" y="696"/>
                  </a:lnTo>
                  <a:lnTo>
                    <a:pt x="372" y="702"/>
                  </a:lnTo>
                  <a:lnTo>
                    <a:pt x="372" y="708"/>
                  </a:lnTo>
                  <a:lnTo>
                    <a:pt x="372" y="714"/>
                  </a:lnTo>
                  <a:lnTo>
                    <a:pt x="366" y="714"/>
                  </a:lnTo>
                  <a:lnTo>
                    <a:pt x="360" y="714"/>
                  </a:lnTo>
                  <a:lnTo>
                    <a:pt x="354" y="714"/>
                  </a:lnTo>
                  <a:lnTo>
                    <a:pt x="348" y="714"/>
                  </a:lnTo>
                  <a:lnTo>
                    <a:pt x="348" y="708"/>
                  </a:lnTo>
                  <a:lnTo>
                    <a:pt x="342" y="708"/>
                  </a:lnTo>
                  <a:lnTo>
                    <a:pt x="342" y="702"/>
                  </a:lnTo>
                  <a:lnTo>
                    <a:pt x="342" y="696"/>
                  </a:lnTo>
                  <a:lnTo>
                    <a:pt x="336" y="696"/>
                  </a:lnTo>
                  <a:lnTo>
                    <a:pt x="336" y="690"/>
                  </a:lnTo>
                  <a:lnTo>
                    <a:pt x="336" y="684"/>
                  </a:lnTo>
                  <a:lnTo>
                    <a:pt x="330" y="684"/>
                  </a:lnTo>
                  <a:lnTo>
                    <a:pt x="330" y="678"/>
                  </a:lnTo>
                  <a:lnTo>
                    <a:pt x="324" y="672"/>
                  </a:lnTo>
                  <a:lnTo>
                    <a:pt x="324" y="666"/>
                  </a:lnTo>
                  <a:lnTo>
                    <a:pt x="318" y="666"/>
                  </a:lnTo>
                  <a:lnTo>
                    <a:pt x="318" y="672"/>
                  </a:lnTo>
                  <a:lnTo>
                    <a:pt x="324" y="672"/>
                  </a:lnTo>
                  <a:lnTo>
                    <a:pt x="324" y="678"/>
                  </a:lnTo>
                  <a:lnTo>
                    <a:pt x="324" y="684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30" y="696"/>
                  </a:lnTo>
                  <a:lnTo>
                    <a:pt x="336" y="702"/>
                  </a:lnTo>
                  <a:lnTo>
                    <a:pt x="342" y="708"/>
                  </a:lnTo>
                  <a:lnTo>
                    <a:pt x="342" y="714"/>
                  </a:lnTo>
                  <a:lnTo>
                    <a:pt x="348" y="720"/>
                  </a:lnTo>
                  <a:lnTo>
                    <a:pt x="342" y="720"/>
                  </a:lnTo>
                  <a:lnTo>
                    <a:pt x="336" y="720"/>
                  </a:lnTo>
                  <a:lnTo>
                    <a:pt x="330" y="720"/>
                  </a:lnTo>
                  <a:lnTo>
                    <a:pt x="330" y="726"/>
                  </a:lnTo>
                  <a:lnTo>
                    <a:pt x="336" y="726"/>
                  </a:lnTo>
                  <a:lnTo>
                    <a:pt x="330" y="732"/>
                  </a:lnTo>
                  <a:lnTo>
                    <a:pt x="330" y="738"/>
                  </a:lnTo>
                  <a:lnTo>
                    <a:pt x="330" y="744"/>
                  </a:lnTo>
                  <a:lnTo>
                    <a:pt x="336" y="744"/>
                  </a:lnTo>
                  <a:lnTo>
                    <a:pt x="342" y="744"/>
                  </a:lnTo>
                  <a:lnTo>
                    <a:pt x="348" y="744"/>
                  </a:lnTo>
                  <a:lnTo>
                    <a:pt x="348" y="750"/>
                  </a:lnTo>
                  <a:lnTo>
                    <a:pt x="354" y="750"/>
                  </a:lnTo>
                  <a:lnTo>
                    <a:pt x="360" y="756"/>
                  </a:lnTo>
                  <a:lnTo>
                    <a:pt x="360" y="762"/>
                  </a:lnTo>
                  <a:lnTo>
                    <a:pt x="366" y="762"/>
                  </a:lnTo>
                  <a:lnTo>
                    <a:pt x="366" y="768"/>
                  </a:lnTo>
                  <a:lnTo>
                    <a:pt x="366" y="774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72" y="792"/>
                  </a:lnTo>
                  <a:lnTo>
                    <a:pt x="372" y="798"/>
                  </a:lnTo>
                  <a:lnTo>
                    <a:pt x="372" y="804"/>
                  </a:lnTo>
                  <a:lnTo>
                    <a:pt x="378" y="804"/>
                  </a:lnTo>
                  <a:lnTo>
                    <a:pt x="378" y="810"/>
                  </a:lnTo>
                  <a:lnTo>
                    <a:pt x="378" y="816"/>
                  </a:lnTo>
                  <a:lnTo>
                    <a:pt x="372" y="816"/>
                  </a:lnTo>
                  <a:lnTo>
                    <a:pt x="378" y="816"/>
                  </a:lnTo>
                  <a:lnTo>
                    <a:pt x="378" y="822"/>
                  </a:lnTo>
                  <a:lnTo>
                    <a:pt x="378" y="828"/>
                  </a:lnTo>
                  <a:lnTo>
                    <a:pt x="378" y="834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0" y="864"/>
                  </a:lnTo>
                  <a:lnTo>
                    <a:pt x="384" y="864"/>
                  </a:lnTo>
                  <a:lnTo>
                    <a:pt x="384" y="870"/>
                  </a:lnTo>
                  <a:lnTo>
                    <a:pt x="378" y="864"/>
                  </a:lnTo>
                  <a:lnTo>
                    <a:pt x="372" y="864"/>
                  </a:lnTo>
                  <a:lnTo>
                    <a:pt x="366" y="858"/>
                  </a:lnTo>
                  <a:lnTo>
                    <a:pt x="366" y="852"/>
                  </a:lnTo>
                  <a:lnTo>
                    <a:pt x="360" y="852"/>
                  </a:lnTo>
                  <a:lnTo>
                    <a:pt x="360" y="858"/>
                  </a:lnTo>
                  <a:lnTo>
                    <a:pt x="366" y="858"/>
                  </a:lnTo>
                  <a:lnTo>
                    <a:pt x="366" y="864"/>
                  </a:lnTo>
                  <a:lnTo>
                    <a:pt x="360" y="864"/>
                  </a:lnTo>
                  <a:lnTo>
                    <a:pt x="354" y="864"/>
                  </a:lnTo>
                  <a:lnTo>
                    <a:pt x="354" y="870"/>
                  </a:lnTo>
                  <a:lnTo>
                    <a:pt x="354" y="864"/>
                  </a:lnTo>
                  <a:lnTo>
                    <a:pt x="348" y="864"/>
                  </a:lnTo>
                  <a:lnTo>
                    <a:pt x="342" y="864"/>
                  </a:lnTo>
                  <a:lnTo>
                    <a:pt x="342" y="858"/>
                  </a:lnTo>
                  <a:lnTo>
                    <a:pt x="336" y="858"/>
                  </a:lnTo>
                  <a:lnTo>
                    <a:pt x="330" y="858"/>
                  </a:lnTo>
                  <a:lnTo>
                    <a:pt x="324" y="858"/>
                  </a:lnTo>
                  <a:lnTo>
                    <a:pt x="318" y="858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0" y="852"/>
                  </a:lnTo>
                  <a:lnTo>
                    <a:pt x="294" y="852"/>
                  </a:lnTo>
                  <a:lnTo>
                    <a:pt x="294" y="846"/>
                  </a:lnTo>
                  <a:lnTo>
                    <a:pt x="288" y="840"/>
                  </a:lnTo>
                  <a:lnTo>
                    <a:pt x="288" y="828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2" y="816"/>
                  </a:lnTo>
                  <a:lnTo>
                    <a:pt x="282" y="810"/>
                  </a:lnTo>
                  <a:lnTo>
                    <a:pt x="276" y="810"/>
                  </a:lnTo>
                  <a:lnTo>
                    <a:pt x="276" y="804"/>
                  </a:lnTo>
                  <a:lnTo>
                    <a:pt x="276" y="798"/>
                  </a:lnTo>
                  <a:lnTo>
                    <a:pt x="276" y="792"/>
                  </a:lnTo>
                  <a:lnTo>
                    <a:pt x="270" y="786"/>
                  </a:lnTo>
                  <a:lnTo>
                    <a:pt x="270" y="780"/>
                  </a:lnTo>
                  <a:lnTo>
                    <a:pt x="270" y="774"/>
                  </a:lnTo>
                  <a:lnTo>
                    <a:pt x="264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64" y="750"/>
                  </a:lnTo>
                  <a:lnTo>
                    <a:pt x="264" y="744"/>
                  </a:lnTo>
                  <a:lnTo>
                    <a:pt x="264" y="738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26"/>
                  </a:lnTo>
                  <a:lnTo>
                    <a:pt x="276" y="720"/>
                  </a:lnTo>
                  <a:lnTo>
                    <a:pt x="282" y="720"/>
                  </a:lnTo>
                  <a:lnTo>
                    <a:pt x="282" y="714"/>
                  </a:lnTo>
                  <a:lnTo>
                    <a:pt x="282" y="708"/>
                  </a:lnTo>
                  <a:lnTo>
                    <a:pt x="276" y="708"/>
                  </a:lnTo>
                  <a:lnTo>
                    <a:pt x="276" y="702"/>
                  </a:lnTo>
                  <a:lnTo>
                    <a:pt x="270" y="702"/>
                  </a:lnTo>
                  <a:lnTo>
                    <a:pt x="270" y="696"/>
                  </a:lnTo>
                  <a:lnTo>
                    <a:pt x="264" y="690"/>
                  </a:lnTo>
                  <a:lnTo>
                    <a:pt x="258" y="690"/>
                  </a:lnTo>
                  <a:lnTo>
                    <a:pt x="258" y="684"/>
                  </a:lnTo>
                  <a:lnTo>
                    <a:pt x="252" y="684"/>
                  </a:lnTo>
                  <a:lnTo>
                    <a:pt x="252" y="678"/>
                  </a:lnTo>
                  <a:lnTo>
                    <a:pt x="246" y="678"/>
                  </a:lnTo>
                  <a:lnTo>
                    <a:pt x="240" y="678"/>
                  </a:lnTo>
                  <a:lnTo>
                    <a:pt x="240" y="684"/>
                  </a:lnTo>
                  <a:lnTo>
                    <a:pt x="246" y="684"/>
                  </a:lnTo>
                  <a:lnTo>
                    <a:pt x="252" y="690"/>
                  </a:lnTo>
                  <a:lnTo>
                    <a:pt x="258" y="690"/>
                  </a:lnTo>
                  <a:lnTo>
                    <a:pt x="258" y="696"/>
                  </a:lnTo>
                  <a:lnTo>
                    <a:pt x="258" y="702"/>
                  </a:lnTo>
                  <a:lnTo>
                    <a:pt x="264" y="702"/>
                  </a:lnTo>
                  <a:lnTo>
                    <a:pt x="270" y="708"/>
                  </a:lnTo>
                  <a:lnTo>
                    <a:pt x="270" y="714"/>
                  </a:lnTo>
                  <a:lnTo>
                    <a:pt x="270" y="720"/>
                  </a:lnTo>
                  <a:lnTo>
                    <a:pt x="276" y="720"/>
                  </a:lnTo>
                  <a:lnTo>
                    <a:pt x="270" y="720"/>
                  </a:lnTo>
                  <a:lnTo>
                    <a:pt x="270" y="726"/>
                  </a:lnTo>
                  <a:lnTo>
                    <a:pt x="264" y="726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52" y="738"/>
                  </a:lnTo>
                  <a:lnTo>
                    <a:pt x="252" y="744"/>
                  </a:lnTo>
                  <a:lnTo>
                    <a:pt x="252" y="750"/>
                  </a:lnTo>
                  <a:lnTo>
                    <a:pt x="252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58" y="774"/>
                  </a:lnTo>
                  <a:lnTo>
                    <a:pt x="258" y="780"/>
                  </a:lnTo>
                  <a:lnTo>
                    <a:pt x="264" y="786"/>
                  </a:lnTo>
                  <a:lnTo>
                    <a:pt x="264" y="792"/>
                  </a:lnTo>
                  <a:lnTo>
                    <a:pt x="264" y="798"/>
                  </a:lnTo>
                  <a:lnTo>
                    <a:pt x="270" y="810"/>
                  </a:lnTo>
                  <a:lnTo>
                    <a:pt x="270" y="816"/>
                  </a:lnTo>
                  <a:lnTo>
                    <a:pt x="270" y="822"/>
                  </a:lnTo>
                  <a:lnTo>
                    <a:pt x="276" y="822"/>
                  </a:lnTo>
                  <a:lnTo>
                    <a:pt x="276" y="828"/>
                  </a:lnTo>
                  <a:lnTo>
                    <a:pt x="276" y="834"/>
                  </a:lnTo>
                  <a:lnTo>
                    <a:pt x="276" y="840"/>
                  </a:lnTo>
                  <a:lnTo>
                    <a:pt x="276" y="846"/>
                  </a:lnTo>
                  <a:lnTo>
                    <a:pt x="282" y="852"/>
                  </a:lnTo>
                  <a:lnTo>
                    <a:pt x="282" y="858"/>
                  </a:lnTo>
                  <a:lnTo>
                    <a:pt x="294" y="864"/>
                  </a:lnTo>
                  <a:lnTo>
                    <a:pt x="300" y="870"/>
                  </a:lnTo>
                  <a:lnTo>
                    <a:pt x="300" y="876"/>
                  </a:lnTo>
                  <a:lnTo>
                    <a:pt x="288" y="876"/>
                  </a:lnTo>
                  <a:lnTo>
                    <a:pt x="282" y="876"/>
                  </a:lnTo>
                  <a:lnTo>
                    <a:pt x="276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2" y="882"/>
                  </a:lnTo>
                  <a:lnTo>
                    <a:pt x="246" y="882"/>
                  </a:lnTo>
                  <a:lnTo>
                    <a:pt x="240" y="882"/>
                  </a:lnTo>
                  <a:lnTo>
                    <a:pt x="234" y="882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204" y="876"/>
                  </a:lnTo>
                  <a:lnTo>
                    <a:pt x="198" y="876"/>
                  </a:lnTo>
                  <a:lnTo>
                    <a:pt x="198" y="870"/>
                  </a:lnTo>
                  <a:lnTo>
                    <a:pt x="198" y="852"/>
                  </a:lnTo>
                  <a:lnTo>
                    <a:pt x="198" y="846"/>
                  </a:lnTo>
                  <a:lnTo>
                    <a:pt x="204" y="846"/>
                  </a:lnTo>
                  <a:lnTo>
                    <a:pt x="198" y="840"/>
                  </a:lnTo>
                  <a:lnTo>
                    <a:pt x="198" y="834"/>
                  </a:lnTo>
                  <a:lnTo>
                    <a:pt x="198" y="828"/>
                  </a:lnTo>
                  <a:lnTo>
                    <a:pt x="198" y="822"/>
                  </a:lnTo>
                  <a:lnTo>
                    <a:pt x="198" y="816"/>
                  </a:lnTo>
                  <a:lnTo>
                    <a:pt x="198" y="810"/>
                  </a:lnTo>
                  <a:lnTo>
                    <a:pt x="192" y="810"/>
                  </a:lnTo>
                  <a:lnTo>
                    <a:pt x="192" y="804"/>
                  </a:lnTo>
                  <a:lnTo>
                    <a:pt x="192" y="798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2" y="774"/>
                  </a:lnTo>
                  <a:lnTo>
                    <a:pt x="192" y="768"/>
                  </a:lnTo>
                  <a:lnTo>
                    <a:pt x="198" y="768"/>
                  </a:lnTo>
                  <a:lnTo>
                    <a:pt x="198" y="762"/>
                  </a:lnTo>
                  <a:lnTo>
                    <a:pt x="198" y="756"/>
                  </a:lnTo>
                  <a:lnTo>
                    <a:pt x="204" y="756"/>
                  </a:lnTo>
                  <a:lnTo>
                    <a:pt x="204" y="750"/>
                  </a:lnTo>
                  <a:lnTo>
                    <a:pt x="210" y="744"/>
                  </a:lnTo>
                  <a:lnTo>
                    <a:pt x="210" y="738"/>
                  </a:lnTo>
                  <a:lnTo>
                    <a:pt x="210" y="732"/>
                  </a:lnTo>
                  <a:lnTo>
                    <a:pt x="210" y="726"/>
                  </a:lnTo>
                  <a:lnTo>
                    <a:pt x="210" y="720"/>
                  </a:lnTo>
                  <a:lnTo>
                    <a:pt x="204" y="714"/>
                  </a:lnTo>
                  <a:lnTo>
                    <a:pt x="204" y="720"/>
                  </a:lnTo>
                  <a:lnTo>
                    <a:pt x="204" y="732"/>
                  </a:lnTo>
                  <a:lnTo>
                    <a:pt x="204" y="738"/>
                  </a:lnTo>
                  <a:lnTo>
                    <a:pt x="198" y="738"/>
                  </a:lnTo>
                  <a:lnTo>
                    <a:pt x="198" y="744"/>
                  </a:lnTo>
                  <a:lnTo>
                    <a:pt x="198" y="750"/>
                  </a:lnTo>
                  <a:lnTo>
                    <a:pt x="192" y="756"/>
                  </a:lnTo>
                  <a:lnTo>
                    <a:pt x="186" y="762"/>
                  </a:lnTo>
                  <a:lnTo>
                    <a:pt x="186" y="768"/>
                  </a:lnTo>
                  <a:lnTo>
                    <a:pt x="186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98"/>
                  </a:lnTo>
                  <a:lnTo>
                    <a:pt x="186" y="804"/>
                  </a:lnTo>
                  <a:lnTo>
                    <a:pt x="186" y="810"/>
                  </a:lnTo>
                  <a:lnTo>
                    <a:pt x="192" y="816"/>
                  </a:lnTo>
                  <a:lnTo>
                    <a:pt x="192" y="828"/>
                  </a:lnTo>
                  <a:lnTo>
                    <a:pt x="192" y="834"/>
                  </a:lnTo>
                  <a:lnTo>
                    <a:pt x="186" y="834"/>
                  </a:lnTo>
                  <a:lnTo>
                    <a:pt x="186" y="828"/>
                  </a:lnTo>
                  <a:lnTo>
                    <a:pt x="180" y="822"/>
                  </a:lnTo>
                  <a:lnTo>
                    <a:pt x="180" y="816"/>
                  </a:lnTo>
                  <a:lnTo>
                    <a:pt x="180" y="810"/>
                  </a:lnTo>
                  <a:lnTo>
                    <a:pt x="174" y="810"/>
                  </a:lnTo>
                  <a:lnTo>
                    <a:pt x="174" y="804"/>
                  </a:lnTo>
                  <a:lnTo>
                    <a:pt x="174" y="798"/>
                  </a:lnTo>
                  <a:lnTo>
                    <a:pt x="174" y="792"/>
                  </a:lnTo>
                  <a:lnTo>
                    <a:pt x="168" y="786"/>
                  </a:lnTo>
                  <a:lnTo>
                    <a:pt x="168" y="780"/>
                  </a:lnTo>
                  <a:lnTo>
                    <a:pt x="162" y="780"/>
                  </a:lnTo>
                  <a:lnTo>
                    <a:pt x="168" y="774"/>
                  </a:lnTo>
                  <a:lnTo>
                    <a:pt x="168" y="768"/>
                  </a:lnTo>
                  <a:lnTo>
                    <a:pt x="174" y="768"/>
                  </a:lnTo>
                  <a:lnTo>
                    <a:pt x="168" y="768"/>
                  </a:lnTo>
                  <a:lnTo>
                    <a:pt x="162" y="774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50" y="774"/>
                  </a:lnTo>
                  <a:lnTo>
                    <a:pt x="144" y="774"/>
                  </a:lnTo>
                  <a:lnTo>
                    <a:pt x="144" y="768"/>
                  </a:lnTo>
                  <a:lnTo>
                    <a:pt x="144" y="762"/>
                  </a:lnTo>
                  <a:lnTo>
                    <a:pt x="138" y="756"/>
                  </a:lnTo>
                  <a:lnTo>
                    <a:pt x="132" y="756"/>
                  </a:lnTo>
                  <a:lnTo>
                    <a:pt x="138" y="756"/>
                  </a:lnTo>
                  <a:lnTo>
                    <a:pt x="138" y="762"/>
                  </a:lnTo>
                  <a:lnTo>
                    <a:pt x="138" y="768"/>
                  </a:lnTo>
                  <a:lnTo>
                    <a:pt x="144" y="768"/>
                  </a:lnTo>
                  <a:lnTo>
                    <a:pt x="144" y="774"/>
                  </a:lnTo>
                  <a:lnTo>
                    <a:pt x="150" y="780"/>
                  </a:lnTo>
                  <a:lnTo>
                    <a:pt x="156" y="780"/>
                  </a:lnTo>
                  <a:lnTo>
                    <a:pt x="156" y="786"/>
                  </a:lnTo>
                  <a:lnTo>
                    <a:pt x="162" y="786"/>
                  </a:lnTo>
                  <a:lnTo>
                    <a:pt x="168" y="792"/>
                  </a:lnTo>
                  <a:lnTo>
                    <a:pt x="168" y="798"/>
                  </a:lnTo>
                  <a:lnTo>
                    <a:pt x="168" y="804"/>
                  </a:lnTo>
                  <a:lnTo>
                    <a:pt x="174" y="810"/>
                  </a:lnTo>
                  <a:lnTo>
                    <a:pt x="174" y="816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68" y="828"/>
                  </a:lnTo>
                  <a:lnTo>
                    <a:pt x="168" y="834"/>
                  </a:lnTo>
                  <a:lnTo>
                    <a:pt x="174" y="840"/>
                  </a:lnTo>
                  <a:lnTo>
                    <a:pt x="180" y="840"/>
                  </a:lnTo>
                  <a:lnTo>
                    <a:pt x="180" y="846"/>
                  </a:lnTo>
                  <a:lnTo>
                    <a:pt x="186" y="846"/>
                  </a:lnTo>
                  <a:lnTo>
                    <a:pt x="186" y="852"/>
                  </a:lnTo>
                  <a:lnTo>
                    <a:pt x="186" y="858"/>
                  </a:lnTo>
                  <a:lnTo>
                    <a:pt x="186" y="864"/>
                  </a:lnTo>
                  <a:lnTo>
                    <a:pt x="192" y="864"/>
                  </a:lnTo>
                  <a:lnTo>
                    <a:pt x="192" y="870"/>
                  </a:lnTo>
                  <a:lnTo>
                    <a:pt x="192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6" y="888"/>
                  </a:lnTo>
                  <a:lnTo>
                    <a:pt x="180" y="888"/>
                  </a:lnTo>
                  <a:lnTo>
                    <a:pt x="174" y="888"/>
                  </a:lnTo>
                  <a:lnTo>
                    <a:pt x="168" y="894"/>
                  </a:lnTo>
                  <a:lnTo>
                    <a:pt x="162" y="894"/>
                  </a:lnTo>
                  <a:lnTo>
                    <a:pt x="156" y="894"/>
                  </a:lnTo>
                  <a:lnTo>
                    <a:pt x="150" y="894"/>
                  </a:lnTo>
                  <a:lnTo>
                    <a:pt x="144" y="894"/>
                  </a:lnTo>
                  <a:lnTo>
                    <a:pt x="144" y="900"/>
                  </a:lnTo>
                  <a:lnTo>
                    <a:pt x="138" y="894"/>
                  </a:lnTo>
                  <a:lnTo>
                    <a:pt x="138" y="900"/>
                  </a:lnTo>
                  <a:lnTo>
                    <a:pt x="132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6" y="882"/>
                  </a:lnTo>
                  <a:lnTo>
                    <a:pt x="126" y="876"/>
                  </a:lnTo>
                  <a:lnTo>
                    <a:pt x="120" y="876"/>
                  </a:lnTo>
                  <a:lnTo>
                    <a:pt x="126" y="870"/>
                  </a:lnTo>
                  <a:lnTo>
                    <a:pt x="126" y="864"/>
                  </a:lnTo>
                  <a:lnTo>
                    <a:pt x="126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26" y="828"/>
                  </a:lnTo>
                  <a:lnTo>
                    <a:pt x="126" y="822"/>
                  </a:lnTo>
                  <a:lnTo>
                    <a:pt x="126" y="816"/>
                  </a:lnTo>
                  <a:lnTo>
                    <a:pt x="126" y="810"/>
                  </a:lnTo>
                  <a:lnTo>
                    <a:pt x="126" y="804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20" y="792"/>
                  </a:lnTo>
                  <a:lnTo>
                    <a:pt x="114" y="792"/>
                  </a:lnTo>
                  <a:lnTo>
                    <a:pt x="114" y="786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96" y="780"/>
                  </a:lnTo>
                  <a:lnTo>
                    <a:pt x="96" y="774"/>
                  </a:lnTo>
                  <a:lnTo>
                    <a:pt x="90" y="774"/>
                  </a:lnTo>
                  <a:lnTo>
                    <a:pt x="90" y="768"/>
                  </a:lnTo>
                  <a:close/>
                  <a:moveTo>
                    <a:pt x="96" y="780"/>
                  </a:moveTo>
                  <a:lnTo>
                    <a:pt x="102" y="780"/>
                  </a:lnTo>
                  <a:lnTo>
                    <a:pt x="102" y="786"/>
                  </a:lnTo>
                  <a:lnTo>
                    <a:pt x="108" y="786"/>
                  </a:lnTo>
                  <a:lnTo>
                    <a:pt x="114" y="792"/>
                  </a:lnTo>
                  <a:lnTo>
                    <a:pt x="120" y="798"/>
                  </a:lnTo>
                  <a:lnTo>
                    <a:pt x="120" y="804"/>
                  </a:lnTo>
                  <a:lnTo>
                    <a:pt x="126" y="810"/>
                  </a:lnTo>
                  <a:lnTo>
                    <a:pt x="126" y="816"/>
                  </a:lnTo>
                  <a:lnTo>
                    <a:pt x="126" y="822"/>
                  </a:lnTo>
                  <a:lnTo>
                    <a:pt x="120" y="828"/>
                  </a:lnTo>
                  <a:lnTo>
                    <a:pt x="120" y="840"/>
                  </a:lnTo>
                  <a:lnTo>
                    <a:pt x="120" y="852"/>
                  </a:lnTo>
                  <a:lnTo>
                    <a:pt x="120" y="858"/>
                  </a:lnTo>
                  <a:lnTo>
                    <a:pt x="120" y="864"/>
                  </a:lnTo>
                  <a:lnTo>
                    <a:pt x="120" y="870"/>
                  </a:lnTo>
                  <a:lnTo>
                    <a:pt x="114" y="870"/>
                  </a:lnTo>
                  <a:lnTo>
                    <a:pt x="108" y="870"/>
                  </a:lnTo>
                  <a:lnTo>
                    <a:pt x="108" y="876"/>
                  </a:lnTo>
                  <a:lnTo>
                    <a:pt x="114" y="876"/>
                  </a:lnTo>
                  <a:lnTo>
                    <a:pt x="120" y="876"/>
                  </a:lnTo>
                  <a:lnTo>
                    <a:pt x="120" y="882"/>
                  </a:lnTo>
                  <a:lnTo>
                    <a:pt x="114" y="888"/>
                  </a:lnTo>
                  <a:lnTo>
                    <a:pt x="120" y="888"/>
                  </a:lnTo>
                  <a:lnTo>
                    <a:pt x="120" y="894"/>
                  </a:lnTo>
                  <a:lnTo>
                    <a:pt x="114" y="894"/>
                  </a:lnTo>
                  <a:lnTo>
                    <a:pt x="108" y="894"/>
                  </a:lnTo>
                  <a:lnTo>
                    <a:pt x="96" y="894"/>
                  </a:lnTo>
                  <a:lnTo>
                    <a:pt x="96" y="882"/>
                  </a:lnTo>
                  <a:lnTo>
                    <a:pt x="96" y="876"/>
                  </a:lnTo>
                  <a:lnTo>
                    <a:pt x="84" y="870"/>
                  </a:lnTo>
                  <a:lnTo>
                    <a:pt x="72" y="864"/>
                  </a:lnTo>
                  <a:lnTo>
                    <a:pt x="72" y="852"/>
                  </a:lnTo>
                  <a:lnTo>
                    <a:pt x="72" y="840"/>
                  </a:lnTo>
                  <a:lnTo>
                    <a:pt x="78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90" y="792"/>
                  </a:lnTo>
                  <a:lnTo>
                    <a:pt x="96" y="780"/>
                  </a:lnTo>
                  <a:close/>
                  <a:moveTo>
                    <a:pt x="492" y="810"/>
                  </a:moveTo>
                  <a:lnTo>
                    <a:pt x="498" y="810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510" y="792"/>
                  </a:lnTo>
                  <a:lnTo>
                    <a:pt x="516" y="786"/>
                  </a:lnTo>
                  <a:lnTo>
                    <a:pt x="522" y="780"/>
                  </a:lnTo>
                  <a:lnTo>
                    <a:pt x="522" y="774"/>
                  </a:lnTo>
                  <a:lnTo>
                    <a:pt x="528" y="768"/>
                  </a:lnTo>
                  <a:lnTo>
                    <a:pt x="528" y="762"/>
                  </a:lnTo>
                  <a:lnTo>
                    <a:pt x="534" y="762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46" y="780"/>
                  </a:lnTo>
                  <a:lnTo>
                    <a:pt x="552" y="786"/>
                  </a:lnTo>
                  <a:lnTo>
                    <a:pt x="558" y="786"/>
                  </a:lnTo>
                  <a:lnTo>
                    <a:pt x="564" y="786"/>
                  </a:lnTo>
                  <a:lnTo>
                    <a:pt x="576" y="786"/>
                  </a:lnTo>
                  <a:lnTo>
                    <a:pt x="582" y="786"/>
                  </a:lnTo>
                  <a:lnTo>
                    <a:pt x="588" y="786"/>
                  </a:lnTo>
                  <a:lnTo>
                    <a:pt x="594" y="786"/>
                  </a:lnTo>
                  <a:lnTo>
                    <a:pt x="588" y="792"/>
                  </a:lnTo>
                  <a:lnTo>
                    <a:pt x="588" y="798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82" y="822"/>
                  </a:lnTo>
                  <a:lnTo>
                    <a:pt x="588" y="828"/>
                  </a:lnTo>
                  <a:lnTo>
                    <a:pt x="588" y="834"/>
                  </a:lnTo>
                  <a:lnTo>
                    <a:pt x="582" y="840"/>
                  </a:lnTo>
                  <a:lnTo>
                    <a:pt x="570" y="840"/>
                  </a:lnTo>
                  <a:lnTo>
                    <a:pt x="558" y="846"/>
                  </a:lnTo>
                  <a:lnTo>
                    <a:pt x="552" y="846"/>
                  </a:lnTo>
                  <a:lnTo>
                    <a:pt x="534" y="852"/>
                  </a:lnTo>
                  <a:lnTo>
                    <a:pt x="522" y="858"/>
                  </a:lnTo>
                  <a:lnTo>
                    <a:pt x="510" y="858"/>
                  </a:lnTo>
                  <a:lnTo>
                    <a:pt x="498" y="864"/>
                  </a:lnTo>
                  <a:lnTo>
                    <a:pt x="474" y="864"/>
                  </a:lnTo>
                  <a:lnTo>
                    <a:pt x="468" y="858"/>
                  </a:lnTo>
                  <a:lnTo>
                    <a:pt x="468" y="852"/>
                  </a:lnTo>
                  <a:lnTo>
                    <a:pt x="468" y="846"/>
                  </a:lnTo>
                  <a:lnTo>
                    <a:pt x="474" y="840"/>
                  </a:lnTo>
                  <a:lnTo>
                    <a:pt x="474" y="834"/>
                  </a:lnTo>
                  <a:lnTo>
                    <a:pt x="480" y="828"/>
                  </a:lnTo>
                  <a:lnTo>
                    <a:pt x="492" y="822"/>
                  </a:lnTo>
                  <a:lnTo>
                    <a:pt x="492" y="810"/>
                  </a:lnTo>
                  <a:close/>
                  <a:moveTo>
                    <a:pt x="384" y="720"/>
                  </a:moveTo>
                  <a:lnTo>
                    <a:pt x="384" y="726"/>
                  </a:lnTo>
                  <a:lnTo>
                    <a:pt x="390" y="726"/>
                  </a:lnTo>
                  <a:lnTo>
                    <a:pt x="396" y="726"/>
                  </a:lnTo>
                  <a:lnTo>
                    <a:pt x="402" y="732"/>
                  </a:lnTo>
                  <a:lnTo>
                    <a:pt x="408" y="732"/>
                  </a:lnTo>
                  <a:lnTo>
                    <a:pt x="414" y="732"/>
                  </a:lnTo>
                  <a:lnTo>
                    <a:pt x="414" y="738"/>
                  </a:lnTo>
                  <a:lnTo>
                    <a:pt x="414" y="744"/>
                  </a:lnTo>
                  <a:lnTo>
                    <a:pt x="414" y="750"/>
                  </a:lnTo>
                  <a:lnTo>
                    <a:pt x="414" y="756"/>
                  </a:lnTo>
                  <a:lnTo>
                    <a:pt x="414" y="762"/>
                  </a:lnTo>
                  <a:lnTo>
                    <a:pt x="420" y="768"/>
                  </a:lnTo>
                  <a:lnTo>
                    <a:pt x="420" y="774"/>
                  </a:lnTo>
                  <a:lnTo>
                    <a:pt x="426" y="780"/>
                  </a:lnTo>
                  <a:lnTo>
                    <a:pt x="426" y="786"/>
                  </a:lnTo>
                  <a:lnTo>
                    <a:pt x="420" y="786"/>
                  </a:lnTo>
                  <a:lnTo>
                    <a:pt x="420" y="792"/>
                  </a:lnTo>
                  <a:lnTo>
                    <a:pt x="420" y="798"/>
                  </a:lnTo>
                  <a:lnTo>
                    <a:pt x="420" y="804"/>
                  </a:lnTo>
                  <a:lnTo>
                    <a:pt x="426" y="804"/>
                  </a:lnTo>
                  <a:lnTo>
                    <a:pt x="426" y="810"/>
                  </a:lnTo>
                  <a:lnTo>
                    <a:pt x="426" y="816"/>
                  </a:lnTo>
                  <a:lnTo>
                    <a:pt x="432" y="816"/>
                  </a:lnTo>
                  <a:lnTo>
                    <a:pt x="438" y="816"/>
                  </a:lnTo>
                  <a:lnTo>
                    <a:pt x="438" y="822"/>
                  </a:lnTo>
                  <a:lnTo>
                    <a:pt x="432" y="822"/>
                  </a:lnTo>
                  <a:lnTo>
                    <a:pt x="426" y="828"/>
                  </a:lnTo>
                  <a:lnTo>
                    <a:pt x="420" y="828"/>
                  </a:lnTo>
                  <a:lnTo>
                    <a:pt x="414" y="828"/>
                  </a:lnTo>
                  <a:lnTo>
                    <a:pt x="408" y="828"/>
                  </a:lnTo>
                  <a:lnTo>
                    <a:pt x="402" y="828"/>
                  </a:lnTo>
                  <a:lnTo>
                    <a:pt x="402" y="822"/>
                  </a:lnTo>
                  <a:lnTo>
                    <a:pt x="396" y="822"/>
                  </a:lnTo>
                  <a:lnTo>
                    <a:pt x="402" y="822"/>
                  </a:lnTo>
                  <a:lnTo>
                    <a:pt x="402" y="816"/>
                  </a:lnTo>
                  <a:lnTo>
                    <a:pt x="396" y="816"/>
                  </a:lnTo>
                  <a:lnTo>
                    <a:pt x="396" y="810"/>
                  </a:lnTo>
                  <a:lnTo>
                    <a:pt x="396" y="804"/>
                  </a:lnTo>
                  <a:lnTo>
                    <a:pt x="390" y="798"/>
                  </a:lnTo>
                  <a:lnTo>
                    <a:pt x="390" y="792"/>
                  </a:lnTo>
                  <a:lnTo>
                    <a:pt x="390" y="786"/>
                  </a:lnTo>
                  <a:lnTo>
                    <a:pt x="390" y="780"/>
                  </a:lnTo>
                  <a:lnTo>
                    <a:pt x="390" y="774"/>
                  </a:lnTo>
                  <a:lnTo>
                    <a:pt x="390" y="768"/>
                  </a:lnTo>
                  <a:lnTo>
                    <a:pt x="390" y="762"/>
                  </a:lnTo>
                  <a:lnTo>
                    <a:pt x="384" y="756"/>
                  </a:lnTo>
                  <a:lnTo>
                    <a:pt x="384" y="750"/>
                  </a:lnTo>
                  <a:lnTo>
                    <a:pt x="384" y="744"/>
                  </a:lnTo>
                  <a:lnTo>
                    <a:pt x="378" y="744"/>
                  </a:lnTo>
                  <a:lnTo>
                    <a:pt x="384" y="744"/>
                  </a:lnTo>
                  <a:lnTo>
                    <a:pt x="384" y="738"/>
                  </a:lnTo>
                  <a:lnTo>
                    <a:pt x="378" y="738"/>
                  </a:lnTo>
                  <a:lnTo>
                    <a:pt x="378" y="732"/>
                  </a:lnTo>
                  <a:lnTo>
                    <a:pt x="378" y="726"/>
                  </a:lnTo>
                  <a:lnTo>
                    <a:pt x="378" y="720"/>
                  </a:lnTo>
                  <a:lnTo>
                    <a:pt x="384" y="720"/>
                  </a:lnTo>
                  <a:close/>
                  <a:moveTo>
                    <a:pt x="330" y="738"/>
                  </a:moveTo>
                  <a:lnTo>
                    <a:pt x="336" y="732"/>
                  </a:lnTo>
                  <a:lnTo>
                    <a:pt x="336" y="726"/>
                  </a:lnTo>
                  <a:lnTo>
                    <a:pt x="342" y="720"/>
                  </a:lnTo>
                  <a:lnTo>
                    <a:pt x="348" y="720"/>
                  </a:lnTo>
                  <a:lnTo>
                    <a:pt x="360" y="720"/>
                  </a:lnTo>
                  <a:lnTo>
                    <a:pt x="366" y="726"/>
                  </a:lnTo>
                  <a:lnTo>
                    <a:pt x="372" y="732"/>
                  </a:lnTo>
                  <a:lnTo>
                    <a:pt x="372" y="738"/>
                  </a:lnTo>
                  <a:lnTo>
                    <a:pt x="366" y="750"/>
                  </a:lnTo>
                  <a:lnTo>
                    <a:pt x="372" y="756"/>
                  </a:lnTo>
                  <a:lnTo>
                    <a:pt x="372" y="762"/>
                  </a:lnTo>
                  <a:lnTo>
                    <a:pt x="372" y="768"/>
                  </a:lnTo>
                  <a:lnTo>
                    <a:pt x="372" y="774"/>
                  </a:lnTo>
                  <a:lnTo>
                    <a:pt x="372" y="780"/>
                  </a:lnTo>
                  <a:lnTo>
                    <a:pt x="372" y="774"/>
                  </a:lnTo>
                  <a:lnTo>
                    <a:pt x="366" y="768"/>
                  </a:lnTo>
                  <a:lnTo>
                    <a:pt x="366" y="762"/>
                  </a:lnTo>
                  <a:lnTo>
                    <a:pt x="366" y="756"/>
                  </a:lnTo>
                  <a:lnTo>
                    <a:pt x="360" y="756"/>
                  </a:lnTo>
                  <a:lnTo>
                    <a:pt x="360" y="750"/>
                  </a:lnTo>
                  <a:lnTo>
                    <a:pt x="354" y="750"/>
                  </a:lnTo>
                  <a:lnTo>
                    <a:pt x="348" y="744"/>
                  </a:lnTo>
                  <a:lnTo>
                    <a:pt x="342" y="744"/>
                  </a:lnTo>
                  <a:lnTo>
                    <a:pt x="336" y="744"/>
                  </a:lnTo>
                  <a:lnTo>
                    <a:pt x="330" y="73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1" name="Freeform 6">
              <a:extLst>
                <a:ext uri="{FF2B5EF4-FFF2-40B4-BE49-F238E27FC236}">
                  <a16:creationId xmlns:a16="http://schemas.microsoft.com/office/drawing/2014/main" id="{0656C385-F30A-4AC8-AE9F-B1F66208B38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3123" y="4163918"/>
              <a:ext cx="266107" cy="248252"/>
            </a:xfrm>
            <a:custGeom>
              <a:avLst/>
              <a:gdLst>
                <a:gd name="T0" fmla="*/ 33 w 504"/>
                <a:gd name="T1" fmla="*/ 41 h 468"/>
                <a:gd name="T2" fmla="*/ 26 w 504"/>
                <a:gd name="T3" fmla="*/ 39 h 468"/>
                <a:gd name="T4" fmla="*/ 21 w 504"/>
                <a:gd name="T5" fmla="*/ 38 h 468"/>
                <a:gd name="T6" fmla="*/ 18 w 504"/>
                <a:gd name="T7" fmla="*/ 38 h 468"/>
                <a:gd name="T8" fmla="*/ 15 w 504"/>
                <a:gd name="T9" fmla="*/ 39 h 468"/>
                <a:gd name="T10" fmla="*/ 12 w 504"/>
                <a:gd name="T11" fmla="*/ 38 h 468"/>
                <a:gd name="T12" fmla="*/ 9 w 504"/>
                <a:gd name="T13" fmla="*/ 37 h 468"/>
                <a:gd name="T14" fmla="*/ 7 w 504"/>
                <a:gd name="T15" fmla="*/ 32 h 468"/>
                <a:gd name="T16" fmla="*/ 6 w 504"/>
                <a:gd name="T17" fmla="*/ 26 h 468"/>
                <a:gd name="T18" fmla="*/ 3 w 504"/>
                <a:gd name="T19" fmla="*/ 24 h 468"/>
                <a:gd name="T20" fmla="*/ 1 w 504"/>
                <a:gd name="T21" fmla="*/ 24 h 468"/>
                <a:gd name="T22" fmla="*/ 2 w 504"/>
                <a:gd name="T23" fmla="*/ 18 h 468"/>
                <a:gd name="T24" fmla="*/ 1 w 504"/>
                <a:gd name="T25" fmla="*/ 17 h 468"/>
                <a:gd name="T26" fmla="*/ 0 w 504"/>
                <a:gd name="T27" fmla="*/ 17 h 468"/>
                <a:gd name="T28" fmla="*/ 0 w 504"/>
                <a:gd name="T29" fmla="*/ 15 h 468"/>
                <a:gd name="T30" fmla="*/ 2 w 504"/>
                <a:gd name="T31" fmla="*/ 12 h 468"/>
                <a:gd name="T32" fmla="*/ 4 w 504"/>
                <a:gd name="T33" fmla="*/ 10 h 468"/>
                <a:gd name="T34" fmla="*/ 6 w 504"/>
                <a:gd name="T35" fmla="*/ 8 h 468"/>
                <a:gd name="T36" fmla="*/ 8 w 504"/>
                <a:gd name="T37" fmla="*/ 8 h 468"/>
                <a:gd name="T38" fmla="*/ 10 w 504"/>
                <a:gd name="T39" fmla="*/ 9 h 468"/>
                <a:gd name="T40" fmla="*/ 12 w 504"/>
                <a:gd name="T41" fmla="*/ 10 h 468"/>
                <a:gd name="T42" fmla="*/ 12 w 504"/>
                <a:gd name="T43" fmla="*/ 11 h 468"/>
                <a:gd name="T44" fmla="*/ 14 w 504"/>
                <a:gd name="T45" fmla="*/ 8 h 468"/>
                <a:gd name="T46" fmla="*/ 15 w 504"/>
                <a:gd name="T47" fmla="*/ 7 h 468"/>
                <a:gd name="T48" fmla="*/ 17 w 504"/>
                <a:gd name="T49" fmla="*/ 6 h 468"/>
                <a:gd name="T50" fmla="*/ 19 w 504"/>
                <a:gd name="T51" fmla="*/ 3 h 468"/>
                <a:gd name="T52" fmla="*/ 20 w 504"/>
                <a:gd name="T53" fmla="*/ 2 h 468"/>
                <a:gd name="T54" fmla="*/ 22 w 504"/>
                <a:gd name="T55" fmla="*/ 1 h 468"/>
                <a:gd name="T56" fmla="*/ 27 w 504"/>
                <a:gd name="T57" fmla="*/ 1 h 468"/>
                <a:gd name="T58" fmla="*/ 30 w 504"/>
                <a:gd name="T59" fmla="*/ 2 h 468"/>
                <a:gd name="T60" fmla="*/ 31 w 504"/>
                <a:gd name="T61" fmla="*/ 2 h 468"/>
                <a:gd name="T62" fmla="*/ 34 w 504"/>
                <a:gd name="T63" fmla="*/ 0 h 468"/>
                <a:gd name="T64" fmla="*/ 37 w 504"/>
                <a:gd name="T65" fmla="*/ 1 h 468"/>
                <a:gd name="T66" fmla="*/ 41 w 504"/>
                <a:gd name="T67" fmla="*/ 2 h 468"/>
                <a:gd name="T68" fmla="*/ 42 w 504"/>
                <a:gd name="T69" fmla="*/ 4 h 468"/>
                <a:gd name="T70" fmla="*/ 42 w 504"/>
                <a:gd name="T71" fmla="*/ 10 h 468"/>
                <a:gd name="T72" fmla="*/ 41 w 504"/>
                <a:gd name="T73" fmla="*/ 14 h 468"/>
                <a:gd name="T74" fmla="*/ 42 w 504"/>
                <a:gd name="T75" fmla="*/ 15 h 468"/>
                <a:gd name="T76" fmla="*/ 44 w 504"/>
                <a:gd name="T77" fmla="*/ 18 h 468"/>
                <a:gd name="T78" fmla="*/ 43 w 504"/>
                <a:gd name="T79" fmla="*/ 19 h 468"/>
                <a:gd name="T80" fmla="*/ 42 w 504"/>
                <a:gd name="T81" fmla="*/ 21 h 468"/>
                <a:gd name="T82" fmla="*/ 42 w 504"/>
                <a:gd name="T83" fmla="*/ 23 h 468"/>
                <a:gd name="T84" fmla="*/ 39 w 504"/>
                <a:gd name="T85" fmla="*/ 27 h 468"/>
                <a:gd name="T86" fmla="*/ 38 w 504"/>
                <a:gd name="T87" fmla="*/ 29 h 468"/>
                <a:gd name="T88" fmla="*/ 38 w 504"/>
                <a:gd name="T89" fmla="*/ 31 h 468"/>
                <a:gd name="T90" fmla="*/ 36 w 504"/>
                <a:gd name="T91" fmla="*/ 32 h 468"/>
                <a:gd name="T92" fmla="*/ 35 w 504"/>
                <a:gd name="T93" fmla="*/ 34 h 468"/>
                <a:gd name="T94" fmla="*/ 34 w 504"/>
                <a:gd name="T95" fmla="*/ 38 h 46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04"/>
                <a:gd name="T145" fmla="*/ 0 h 468"/>
                <a:gd name="T146" fmla="*/ 504 w 504"/>
                <a:gd name="T147" fmla="*/ 468 h 46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04" h="468">
                  <a:moveTo>
                    <a:pt x="390" y="456"/>
                  </a:moveTo>
                  <a:lnTo>
                    <a:pt x="384" y="468"/>
                  </a:lnTo>
                  <a:lnTo>
                    <a:pt x="378" y="468"/>
                  </a:lnTo>
                  <a:lnTo>
                    <a:pt x="354" y="468"/>
                  </a:lnTo>
                  <a:lnTo>
                    <a:pt x="348" y="462"/>
                  </a:lnTo>
                  <a:lnTo>
                    <a:pt x="300" y="456"/>
                  </a:lnTo>
                  <a:lnTo>
                    <a:pt x="270" y="444"/>
                  </a:lnTo>
                  <a:lnTo>
                    <a:pt x="252" y="438"/>
                  </a:lnTo>
                  <a:lnTo>
                    <a:pt x="240" y="438"/>
                  </a:lnTo>
                  <a:lnTo>
                    <a:pt x="234" y="438"/>
                  </a:lnTo>
                  <a:lnTo>
                    <a:pt x="228" y="444"/>
                  </a:lnTo>
                  <a:lnTo>
                    <a:pt x="210" y="444"/>
                  </a:lnTo>
                  <a:lnTo>
                    <a:pt x="198" y="444"/>
                  </a:lnTo>
                  <a:lnTo>
                    <a:pt x="198" y="450"/>
                  </a:lnTo>
                  <a:lnTo>
                    <a:pt x="168" y="456"/>
                  </a:lnTo>
                  <a:lnTo>
                    <a:pt x="150" y="450"/>
                  </a:lnTo>
                  <a:lnTo>
                    <a:pt x="144" y="444"/>
                  </a:lnTo>
                  <a:lnTo>
                    <a:pt x="132" y="438"/>
                  </a:lnTo>
                  <a:lnTo>
                    <a:pt x="138" y="432"/>
                  </a:lnTo>
                  <a:lnTo>
                    <a:pt x="114" y="432"/>
                  </a:lnTo>
                  <a:lnTo>
                    <a:pt x="102" y="426"/>
                  </a:lnTo>
                  <a:lnTo>
                    <a:pt x="90" y="414"/>
                  </a:lnTo>
                  <a:lnTo>
                    <a:pt x="72" y="402"/>
                  </a:lnTo>
                  <a:lnTo>
                    <a:pt x="78" y="366"/>
                  </a:lnTo>
                  <a:lnTo>
                    <a:pt x="78" y="330"/>
                  </a:lnTo>
                  <a:lnTo>
                    <a:pt x="66" y="318"/>
                  </a:lnTo>
                  <a:lnTo>
                    <a:pt x="66" y="300"/>
                  </a:lnTo>
                  <a:lnTo>
                    <a:pt x="66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30" y="282"/>
                  </a:lnTo>
                  <a:lnTo>
                    <a:pt x="24" y="282"/>
                  </a:lnTo>
                  <a:lnTo>
                    <a:pt x="12" y="276"/>
                  </a:lnTo>
                  <a:lnTo>
                    <a:pt x="0" y="282"/>
                  </a:lnTo>
                  <a:lnTo>
                    <a:pt x="12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2" y="198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6" y="180"/>
                  </a:lnTo>
                  <a:lnTo>
                    <a:pt x="12" y="186"/>
                  </a:lnTo>
                  <a:lnTo>
                    <a:pt x="18" y="138"/>
                  </a:lnTo>
                  <a:lnTo>
                    <a:pt x="24" y="126"/>
                  </a:lnTo>
                  <a:lnTo>
                    <a:pt x="30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20" y="102"/>
                  </a:lnTo>
                  <a:lnTo>
                    <a:pt x="126" y="108"/>
                  </a:lnTo>
                  <a:lnTo>
                    <a:pt x="126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0"/>
                  </a:lnTo>
                  <a:lnTo>
                    <a:pt x="156" y="96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16" y="42"/>
                  </a:lnTo>
                  <a:lnTo>
                    <a:pt x="222" y="36"/>
                  </a:lnTo>
                  <a:lnTo>
                    <a:pt x="228" y="36"/>
                  </a:lnTo>
                  <a:lnTo>
                    <a:pt x="228" y="30"/>
                  </a:lnTo>
                  <a:lnTo>
                    <a:pt x="228" y="24"/>
                  </a:lnTo>
                  <a:lnTo>
                    <a:pt x="246" y="18"/>
                  </a:lnTo>
                  <a:lnTo>
                    <a:pt x="252" y="18"/>
                  </a:lnTo>
                  <a:lnTo>
                    <a:pt x="258" y="12"/>
                  </a:lnTo>
                  <a:lnTo>
                    <a:pt x="270" y="6"/>
                  </a:lnTo>
                  <a:lnTo>
                    <a:pt x="288" y="6"/>
                  </a:lnTo>
                  <a:lnTo>
                    <a:pt x="312" y="12"/>
                  </a:lnTo>
                  <a:lnTo>
                    <a:pt x="324" y="12"/>
                  </a:lnTo>
                  <a:lnTo>
                    <a:pt x="336" y="18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14" y="12"/>
                  </a:lnTo>
                  <a:lnTo>
                    <a:pt x="426" y="12"/>
                  </a:lnTo>
                  <a:lnTo>
                    <a:pt x="444" y="18"/>
                  </a:lnTo>
                  <a:lnTo>
                    <a:pt x="462" y="18"/>
                  </a:lnTo>
                  <a:lnTo>
                    <a:pt x="474" y="18"/>
                  </a:lnTo>
                  <a:lnTo>
                    <a:pt x="480" y="18"/>
                  </a:lnTo>
                  <a:lnTo>
                    <a:pt x="486" y="36"/>
                  </a:lnTo>
                  <a:lnTo>
                    <a:pt x="480" y="42"/>
                  </a:lnTo>
                  <a:lnTo>
                    <a:pt x="480" y="54"/>
                  </a:lnTo>
                  <a:lnTo>
                    <a:pt x="486" y="78"/>
                  </a:lnTo>
                  <a:lnTo>
                    <a:pt x="486" y="114"/>
                  </a:lnTo>
                  <a:lnTo>
                    <a:pt x="486" y="150"/>
                  </a:lnTo>
                  <a:lnTo>
                    <a:pt x="468" y="150"/>
                  </a:lnTo>
                  <a:lnTo>
                    <a:pt x="474" y="162"/>
                  </a:lnTo>
                  <a:lnTo>
                    <a:pt x="480" y="162"/>
                  </a:lnTo>
                  <a:lnTo>
                    <a:pt x="486" y="174"/>
                  </a:lnTo>
                  <a:lnTo>
                    <a:pt x="492" y="174"/>
                  </a:lnTo>
                  <a:lnTo>
                    <a:pt x="492" y="192"/>
                  </a:lnTo>
                  <a:lnTo>
                    <a:pt x="498" y="198"/>
                  </a:lnTo>
                  <a:lnTo>
                    <a:pt x="504" y="204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8" y="222"/>
                  </a:lnTo>
                  <a:lnTo>
                    <a:pt x="492" y="228"/>
                  </a:lnTo>
                  <a:lnTo>
                    <a:pt x="492" y="234"/>
                  </a:lnTo>
                  <a:lnTo>
                    <a:pt x="492" y="240"/>
                  </a:lnTo>
                  <a:lnTo>
                    <a:pt x="486" y="246"/>
                  </a:lnTo>
                  <a:lnTo>
                    <a:pt x="486" y="258"/>
                  </a:lnTo>
                  <a:lnTo>
                    <a:pt x="480" y="264"/>
                  </a:lnTo>
                  <a:lnTo>
                    <a:pt x="474" y="276"/>
                  </a:lnTo>
                  <a:lnTo>
                    <a:pt x="468" y="288"/>
                  </a:lnTo>
                  <a:lnTo>
                    <a:pt x="456" y="306"/>
                  </a:lnTo>
                  <a:lnTo>
                    <a:pt x="456" y="312"/>
                  </a:lnTo>
                  <a:lnTo>
                    <a:pt x="444" y="318"/>
                  </a:lnTo>
                  <a:lnTo>
                    <a:pt x="432" y="336"/>
                  </a:lnTo>
                  <a:lnTo>
                    <a:pt x="432" y="342"/>
                  </a:lnTo>
                  <a:lnTo>
                    <a:pt x="432" y="348"/>
                  </a:lnTo>
                  <a:lnTo>
                    <a:pt x="432" y="354"/>
                  </a:lnTo>
                  <a:lnTo>
                    <a:pt x="426" y="366"/>
                  </a:lnTo>
                  <a:lnTo>
                    <a:pt x="420" y="366"/>
                  </a:lnTo>
                  <a:lnTo>
                    <a:pt x="420" y="372"/>
                  </a:lnTo>
                  <a:lnTo>
                    <a:pt x="414" y="378"/>
                  </a:lnTo>
                  <a:lnTo>
                    <a:pt x="414" y="390"/>
                  </a:lnTo>
                  <a:lnTo>
                    <a:pt x="408" y="390"/>
                  </a:lnTo>
                  <a:lnTo>
                    <a:pt x="408" y="402"/>
                  </a:lnTo>
                  <a:lnTo>
                    <a:pt x="402" y="414"/>
                  </a:lnTo>
                  <a:lnTo>
                    <a:pt x="396" y="438"/>
                  </a:lnTo>
                  <a:lnTo>
                    <a:pt x="396" y="444"/>
                  </a:lnTo>
                  <a:lnTo>
                    <a:pt x="390" y="45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11" name="Freeform 7">
              <a:extLst>
                <a:ext uri="{FF2B5EF4-FFF2-40B4-BE49-F238E27FC236}">
                  <a16:creationId xmlns:a16="http://schemas.microsoft.com/office/drawing/2014/main" id="{0D8DE62D-4554-4314-9F3A-7208D89B4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90838" y="4128134"/>
              <a:ext cx="283995" cy="411516"/>
            </a:xfrm>
            <a:custGeom>
              <a:avLst/>
              <a:gdLst>
                <a:gd name="T0" fmla="*/ 39 w 534"/>
                <a:gd name="T1" fmla="*/ 35 h 774"/>
                <a:gd name="T2" fmla="*/ 35 w 534"/>
                <a:gd name="T3" fmla="*/ 31 h 774"/>
                <a:gd name="T4" fmla="*/ 32 w 534"/>
                <a:gd name="T5" fmla="*/ 29 h 774"/>
                <a:gd name="T6" fmla="*/ 32 w 534"/>
                <a:gd name="T7" fmla="*/ 31 h 774"/>
                <a:gd name="T8" fmla="*/ 29 w 534"/>
                <a:gd name="T9" fmla="*/ 33 h 774"/>
                <a:gd name="T10" fmla="*/ 27 w 534"/>
                <a:gd name="T11" fmla="*/ 36 h 774"/>
                <a:gd name="T12" fmla="*/ 30 w 534"/>
                <a:gd name="T13" fmla="*/ 38 h 774"/>
                <a:gd name="T14" fmla="*/ 29 w 534"/>
                <a:gd name="T15" fmla="*/ 40 h 774"/>
                <a:gd name="T16" fmla="*/ 25 w 534"/>
                <a:gd name="T17" fmla="*/ 40 h 774"/>
                <a:gd name="T18" fmla="*/ 23 w 534"/>
                <a:gd name="T19" fmla="*/ 42 h 774"/>
                <a:gd name="T20" fmla="*/ 22 w 534"/>
                <a:gd name="T21" fmla="*/ 47 h 774"/>
                <a:gd name="T22" fmla="*/ 22 w 534"/>
                <a:gd name="T23" fmla="*/ 51 h 774"/>
                <a:gd name="T24" fmla="*/ 22 w 534"/>
                <a:gd name="T25" fmla="*/ 54 h 774"/>
                <a:gd name="T26" fmla="*/ 21 w 534"/>
                <a:gd name="T27" fmla="*/ 56 h 774"/>
                <a:gd name="T28" fmla="*/ 19 w 534"/>
                <a:gd name="T29" fmla="*/ 58 h 774"/>
                <a:gd name="T30" fmla="*/ 20 w 534"/>
                <a:gd name="T31" fmla="*/ 59 h 774"/>
                <a:gd name="T32" fmla="*/ 19 w 534"/>
                <a:gd name="T33" fmla="*/ 62 h 774"/>
                <a:gd name="T34" fmla="*/ 19 w 534"/>
                <a:gd name="T35" fmla="*/ 64 h 774"/>
                <a:gd name="T36" fmla="*/ 20 w 534"/>
                <a:gd name="T37" fmla="*/ 66 h 774"/>
                <a:gd name="T38" fmla="*/ 17 w 534"/>
                <a:gd name="T39" fmla="*/ 66 h 774"/>
                <a:gd name="T40" fmla="*/ 16 w 534"/>
                <a:gd name="T41" fmla="*/ 65 h 774"/>
                <a:gd name="T42" fmla="*/ 13 w 534"/>
                <a:gd name="T43" fmla="*/ 65 h 774"/>
                <a:gd name="T44" fmla="*/ 11 w 534"/>
                <a:gd name="T45" fmla="*/ 65 h 774"/>
                <a:gd name="T46" fmla="*/ 8 w 534"/>
                <a:gd name="T47" fmla="*/ 65 h 774"/>
                <a:gd name="T48" fmla="*/ 8 w 534"/>
                <a:gd name="T49" fmla="*/ 64 h 774"/>
                <a:gd name="T50" fmla="*/ 5 w 534"/>
                <a:gd name="T51" fmla="*/ 65 h 774"/>
                <a:gd name="T52" fmla="*/ 3 w 534"/>
                <a:gd name="T53" fmla="*/ 65 h 774"/>
                <a:gd name="T54" fmla="*/ 0 w 534"/>
                <a:gd name="T55" fmla="*/ 64 h 774"/>
                <a:gd name="T56" fmla="*/ 0 w 534"/>
                <a:gd name="T57" fmla="*/ 62 h 774"/>
                <a:gd name="T58" fmla="*/ 3 w 534"/>
                <a:gd name="T59" fmla="*/ 60 h 774"/>
                <a:gd name="T60" fmla="*/ 6 w 534"/>
                <a:gd name="T61" fmla="*/ 57 h 774"/>
                <a:gd name="T62" fmla="*/ 8 w 534"/>
                <a:gd name="T63" fmla="*/ 50 h 774"/>
                <a:gd name="T64" fmla="*/ 6 w 534"/>
                <a:gd name="T65" fmla="*/ 45 h 774"/>
                <a:gd name="T66" fmla="*/ 8 w 534"/>
                <a:gd name="T67" fmla="*/ 41 h 774"/>
                <a:gd name="T68" fmla="*/ 9 w 534"/>
                <a:gd name="T69" fmla="*/ 38 h 774"/>
                <a:gd name="T70" fmla="*/ 10 w 534"/>
                <a:gd name="T71" fmla="*/ 36 h 774"/>
                <a:gd name="T72" fmla="*/ 12 w 534"/>
                <a:gd name="T73" fmla="*/ 33 h 774"/>
                <a:gd name="T74" fmla="*/ 14 w 534"/>
                <a:gd name="T75" fmla="*/ 29 h 774"/>
                <a:gd name="T76" fmla="*/ 16 w 534"/>
                <a:gd name="T77" fmla="*/ 26 h 774"/>
                <a:gd name="T78" fmla="*/ 16 w 534"/>
                <a:gd name="T79" fmla="*/ 24 h 774"/>
                <a:gd name="T80" fmla="*/ 16 w 534"/>
                <a:gd name="T81" fmla="*/ 21 h 774"/>
                <a:gd name="T82" fmla="*/ 13 w 534"/>
                <a:gd name="T83" fmla="*/ 19 h 774"/>
                <a:gd name="T84" fmla="*/ 14 w 534"/>
                <a:gd name="T85" fmla="*/ 10 h 774"/>
                <a:gd name="T86" fmla="*/ 14 w 534"/>
                <a:gd name="T87" fmla="*/ 7 h 774"/>
                <a:gd name="T88" fmla="*/ 8 w 534"/>
                <a:gd name="T89" fmla="*/ 7 h 774"/>
                <a:gd name="T90" fmla="*/ 7 w 534"/>
                <a:gd name="T91" fmla="*/ 3 h 774"/>
                <a:gd name="T92" fmla="*/ 11 w 534"/>
                <a:gd name="T93" fmla="*/ 1 h 774"/>
                <a:gd name="T94" fmla="*/ 12 w 534"/>
                <a:gd name="T95" fmla="*/ 0 h 774"/>
                <a:gd name="T96" fmla="*/ 16 w 534"/>
                <a:gd name="T97" fmla="*/ 2 h 774"/>
                <a:gd name="T98" fmla="*/ 20 w 534"/>
                <a:gd name="T99" fmla="*/ 2 h 774"/>
                <a:gd name="T100" fmla="*/ 23 w 534"/>
                <a:gd name="T101" fmla="*/ 3 h 774"/>
                <a:gd name="T102" fmla="*/ 23 w 534"/>
                <a:gd name="T103" fmla="*/ 10 h 774"/>
                <a:gd name="T104" fmla="*/ 29 w 534"/>
                <a:gd name="T105" fmla="*/ 12 h 774"/>
                <a:gd name="T106" fmla="*/ 35 w 534"/>
                <a:gd name="T107" fmla="*/ 12 h 774"/>
                <a:gd name="T108" fmla="*/ 38 w 534"/>
                <a:gd name="T109" fmla="*/ 17 h 774"/>
                <a:gd name="T110" fmla="*/ 40 w 534"/>
                <a:gd name="T111" fmla="*/ 19 h 774"/>
                <a:gd name="T112" fmla="*/ 44 w 534"/>
                <a:gd name="T113" fmla="*/ 23 h 774"/>
                <a:gd name="T114" fmla="*/ 44 w 534"/>
                <a:gd name="T115" fmla="*/ 30 h 774"/>
                <a:gd name="T116" fmla="*/ 46 w 534"/>
                <a:gd name="T117" fmla="*/ 36 h 774"/>
                <a:gd name="T118" fmla="*/ 41 w 534"/>
                <a:gd name="T119" fmla="*/ 37 h 77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34"/>
                <a:gd name="T181" fmla="*/ 0 h 774"/>
                <a:gd name="T182" fmla="*/ 534 w 534"/>
                <a:gd name="T183" fmla="*/ 774 h 77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34" h="774">
                  <a:moveTo>
                    <a:pt x="462" y="426"/>
                  </a:moveTo>
                  <a:lnTo>
                    <a:pt x="462" y="414"/>
                  </a:lnTo>
                  <a:lnTo>
                    <a:pt x="450" y="402"/>
                  </a:lnTo>
                  <a:lnTo>
                    <a:pt x="444" y="396"/>
                  </a:lnTo>
                  <a:lnTo>
                    <a:pt x="420" y="396"/>
                  </a:lnTo>
                  <a:lnTo>
                    <a:pt x="408" y="390"/>
                  </a:lnTo>
                  <a:lnTo>
                    <a:pt x="402" y="366"/>
                  </a:lnTo>
                  <a:lnTo>
                    <a:pt x="390" y="354"/>
                  </a:lnTo>
                  <a:lnTo>
                    <a:pt x="384" y="336"/>
                  </a:lnTo>
                  <a:lnTo>
                    <a:pt x="378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8" y="348"/>
                  </a:lnTo>
                  <a:lnTo>
                    <a:pt x="360" y="354"/>
                  </a:lnTo>
                  <a:lnTo>
                    <a:pt x="360" y="390"/>
                  </a:lnTo>
                  <a:lnTo>
                    <a:pt x="348" y="390"/>
                  </a:lnTo>
                  <a:lnTo>
                    <a:pt x="342" y="384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90"/>
                  </a:lnTo>
                  <a:lnTo>
                    <a:pt x="312" y="402"/>
                  </a:lnTo>
                  <a:lnTo>
                    <a:pt x="306" y="420"/>
                  </a:lnTo>
                  <a:lnTo>
                    <a:pt x="324" y="414"/>
                  </a:lnTo>
                  <a:lnTo>
                    <a:pt x="330" y="414"/>
                  </a:lnTo>
                  <a:lnTo>
                    <a:pt x="336" y="420"/>
                  </a:lnTo>
                  <a:lnTo>
                    <a:pt x="336" y="432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6"/>
                  </a:lnTo>
                  <a:lnTo>
                    <a:pt x="318" y="456"/>
                  </a:lnTo>
                  <a:lnTo>
                    <a:pt x="300" y="456"/>
                  </a:lnTo>
                  <a:lnTo>
                    <a:pt x="288" y="462"/>
                  </a:lnTo>
                  <a:lnTo>
                    <a:pt x="276" y="462"/>
                  </a:lnTo>
                  <a:lnTo>
                    <a:pt x="270" y="462"/>
                  </a:lnTo>
                  <a:lnTo>
                    <a:pt x="270" y="468"/>
                  </a:lnTo>
                  <a:lnTo>
                    <a:pt x="252" y="468"/>
                  </a:lnTo>
                  <a:lnTo>
                    <a:pt x="258" y="480"/>
                  </a:lnTo>
                  <a:lnTo>
                    <a:pt x="258" y="492"/>
                  </a:lnTo>
                  <a:lnTo>
                    <a:pt x="258" y="498"/>
                  </a:lnTo>
                  <a:lnTo>
                    <a:pt x="258" y="510"/>
                  </a:lnTo>
                  <a:lnTo>
                    <a:pt x="252" y="540"/>
                  </a:lnTo>
                  <a:lnTo>
                    <a:pt x="246" y="564"/>
                  </a:lnTo>
                  <a:lnTo>
                    <a:pt x="246" y="570"/>
                  </a:lnTo>
                  <a:lnTo>
                    <a:pt x="252" y="576"/>
                  </a:lnTo>
                  <a:lnTo>
                    <a:pt x="246" y="582"/>
                  </a:lnTo>
                  <a:lnTo>
                    <a:pt x="252" y="600"/>
                  </a:lnTo>
                  <a:lnTo>
                    <a:pt x="258" y="606"/>
                  </a:lnTo>
                  <a:lnTo>
                    <a:pt x="258" y="612"/>
                  </a:lnTo>
                  <a:lnTo>
                    <a:pt x="252" y="618"/>
                  </a:lnTo>
                  <a:lnTo>
                    <a:pt x="246" y="624"/>
                  </a:lnTo>
                  <a:lnTo>
                    <a:pt x="246" y="630"/>
                  </a:lnTo>
                  <a:lnTo>
                    <a:pt x="246" y="636"/>
                  </a:lnTo>
                  <a:lnTo>
                    <a:pt x="240" y="642"/>
                  </a:lnTo>
                  <a:lnTo>
                    <a:pt x="234" y="654"/>
                  </a:lnTo>
                  <a:lnTo>
                    <a:pt x="228" y="654"/>
                  </a:lnTo>
                  <a:lnTo>
                    <a:pt x="222" y="660"/>
                  </a:lnTo>
                  <a:lnTo>
                    <a:pt x="216" y="666"/>
                  </a:lnTo>
                  <a:lnTo>
                    <a:pt x="210" y="666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22" y="684"/>
                  </a:lnTo>
                  <a:lnTo>
                    <a:pt x="222" y="690"/>
                  </a:lnTo>
                  <a:lnTo>
                    <a:pt x="222" y="696"/>
                  </a:lnTo>
                  <a:lnTo>
                    <a:pt x="222" y="702"/>
                  </a:lnTo>
                  <a:lnTo>
                    <a:pt x="216" y="708"/>
                  </a:lnTo>
                  <a:lnTo>
                    <a:pt x="210" y="720"/>
                  </a:lnTo>
                  <a:lnTo>
                    <a:pt x="216" y="732"/>
                  </a:lnTo>
                  <a:lnTo>
                    <a:pt x="210" y="732"/>
                  </a:lnTo>
                  <a:lnTo>
                    <a:pt x="216" y="738"/>
                  </a:lnTo>
                  <a:lnTo>
                    <a:pt x="216" y="744"/>
                  </a:lnTo>
                  <a:lnTo>
                    <a:pt x="222" y="750"/>
                  </a:lnTo>
                  <a:lnTo>
                    <a:pt x="228" y="756"/>
                  </a:lnTo>
                  <a:lnTo>
                    <a:pt x="222" y="762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04" y="762"/>
                  </a:lnTo>
                  <a:lnTo>
                    <a:pt x="198" y="762"/>
                  </a:lnTo>
                  <a:lnTo>
                    <a:pt x="192" y="762"/>
                  </a:lnTo>
                  <a:lnTo>
                    <a:pt x="186" y="756"/>
                  </a:lnTo>
                  <a:lnTo>
                    <a:pt x="180" y="750"/>
                  </a:lnTo>
                  <a:lnTo>
                    <a:pt x="180" y="744"/>
                  </a:lnTo>
                  <a:lnTo>
                    <a:pt x="174" y="744"/>
                  </a:lnTo>
                  <a:lnTo>
                    <a:pt x="156" y="750"/>
                  </a:lnTo>
                  <a:lnTo>
                    <a:pt x="150" y="750"/>
                  </a:lnTo>
                  <a:lnTo>
                    <a:pt x="144" y="750"/>
                  </a:lnTo>
                  <a:lnTo>
                    <a:pt x="138" y="750"/>
                  </a:lnTo>
                  <a:lnTo>
                    <a:pt x="138" y="744"/>
                  </a:lnTo>
                  <a:lnTo>
                    <a:pt x="132" y="744"/>
                  </a:lnTo>
                  <a:lnTo>
                    <a:pt x="120" y="744"/>
                  </a:lnTo>
                  <a:lnTo>
                    <a:pt x="114" y="738"/>
                  </a:lnTo>
                  <a:lnTo>
                    <a:pt x="108" y="744"/>
                  </a:lnTo>
                  <a:lnTo>
                    <a:pt x="102" y="744"/>
                  </a:lnTo>
                  <a:lnTo>
                    <a:pt x="96" y="744"/>
                  </a:lnTo>
                  <a:lnTo>
                    <a:pt x="96" y="738"/>
                  </a:lnTo>
                  <a:lnTo>
                    <a:pt x="96" y="744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44"/>
                  </a:lnTo>
                  <a:lnTo>
                    <a:pt x="72" y="750"/>
                  </a:lnTo>
                  <a:lnTo>
                    <a:pt x="66" y="750"/>
                  </a:lnTo>
                  <a:lnTo>
                    <a:pt x="60" y="750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0"/>
                  </a:lnTo>
                  <a:lnTo>
                    <a:pt x="30" y="750"/>
                  </a:lnTo>
                  <a:lnTo>
                    <a:pt x="24" y="744"/>
                  </a:lnTo>
                  <a:lnTo>
                    <a:pt x="18" y="738"/>
                  </a:lnTo>
                  <a:lnTo>
                    <a:pt x="6" y="738"/>
                  </a:lnTo>
                  <a:lnTo>
                    <a:pt x="0" y="732"/>
                  </a:lnTo>
                  <a:lnTo>
                    <a:pt x="0" y="726"/>
                  </a:lnTo>
                  <a:lnTo>
                    <a:pt x="0" y="720"/>
                  </a:lnTo>
                  <a:lnTo>
                    <a:pt x="6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8" y="702"/>
                  </a:lnTo>
                  <a:lnTo>
                    <a:pt x="24" y="696"/>
                  </a:lnTo>
                  <a:lnTo>
                    <a:pt x="30" y="696"/>
                  </a:lnTo>
                  <a:lnTo>
                    <a:pt x="48" y="690"/>
                  </a:lnTo>
                  <a:lnTo>
                    <a:pt x="54" y="678"/>
                  </a:lnTo>
                  <a:lnTo>
                    <a:pt x="66" y="672"/>
                  </a:lnTo>
                  <a:lnTo>
                    <a:pt x="66" y="654"/>
                  </a:lnTo>
                  <a:lnTo>
                    <a:pt x="72" y="636"/>
                  </a:lnTo>
                  <a:lnTo>
                    <a:pt x="72" y="612"/>
                  </a:lnTo>
                  <a:lnTo>
                    <a:pt x="84" y="594"/>
                  </a:lnTo>
                  <a:lnTo>
                    <a:pt x="90" y="576"/>
                  </a:lnTo>
                  <a:lnTo>
                    <a:pt x="96" y="552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72" y="522"/>
                  </a:lnTo>
                  <a:lnTo>
                    <a:pt x="78" y="510"/>
                  </a:lnTo>
                  <a:lnTo>
                    <a:pt x="78" y="504"/>
                  </a:lnTo>
                  <a:lnTo>
                    <a:pt x="84" y="480"/>
                  </a:lnTo>
                  <a:lnTo>
                    <a:pt x="90" y="468"/>
                  </a:lnTo>
                  <a:lnTo>
                    <a:pt x="90" y="456"/>
                  </a:lnTo>
                  <a:lnTo>
                    <a:pt x="96" y="456"/>
                  </a:lnTo>
                  <a:lnTo>
                    <a:pt x="96" y="444"/>
                  </a:lnTo>
                  <a:lnTo>
                    <a:pt x="102" y="438"/>
                  </a:lnTo>
                  <a:lnTo>
                    <a:pt x="102" y="432"/>
                  </a:lnTo>
                  <a:lnTo>
                    <a:pt x="108" y="432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14" y="408"/>
                  </a:lnTo>
                  <a:lnTo>
                    <a:pt x="114" y="402"/>
                  </a:lnTo>
                  <a:lnTo>
                    <a:pt x="126" y="384"/>
                  </a:lnTo>
                  <a:lnTo>
                    <a:pt x="138" y="378"/>
                  </a:lnTo>
                  <a:lnTo>
                    <a:pt x="138" y="372"/>
                  </a:lnTo>
                  <a:lnTo>
                    <a:pt x="150" y="354"/>
                  </a:lnTo>
                  <a:lnTo>
                    <a:pt x="156" y="342"/>
                  </a:lnTo>
                  <a:lnTo>
                    <a:pt x="162" y="330"/>
                  </a:lnTo>
                  <a:lnTo>
                    <a:pt x="168" y="324"/>
                  </a:lnTo>
                  <a:lnTo>
                    <a:pt x="168" y="312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74" y="294"/>
                  </a:lnTo>
                  <a:lnTo>
                    <a:pt x="180" y="288"/>
                  </a:lnTo>
                  <a:lnTo>
                    <a:pt x="180" y="276"/>
                  </a:lnTo>
                  <a:lnTo>
                    <a:pt x="186" y="276"/>
                  </a:lnTo>
                  <a:lnTo>
                    <a:pt x="186" y="270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40"/>
                  </a:lnTo>
                  <a:lnTo>
                    <a:pt x="168" y="240"/>
                  </a:lnTo>
                  <a:lnTo>
                    <a:pt x="162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68" y="216"/>
                  </a:lnTo>
                  <a:lnTo>
                    <a:pt x="168" y="180"/>
                  </a:lnTo>
                  <a:lnTo>
                    <a:pt x="168" y="144"/>
                  </a:lnTo>
                  <a:lnTo>
                    <a:pt x="162" y="120"/>
                  </a:lnTo>
                  <a:lnTo>
                    <a:pt x="162" y="108"/>
                  </a:lnTo>
                  <a:lnTo>
                    <a:pt x="168" y="102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44" y="84"/>
                  </a:lnTo>
                  <a:lnTo>
                    <a:pt x="126" y="84"/>
                  </a:lnTo>
                  <a:lnTo>
                    <a:pt x="108" y="78"/>
                  </a:lnTo>
                  <a:lnTo>
                    <a:pt x="96" y="78"/>
                  </a:lnTo>
                  <a:lnTo>
                    <a:pt x="78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8" y="36"/>
                  </a:lnTo>
                  <a:lnTo>
                    <a:pt x="96" y="24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56" y="0"/>
                  </a:lnTo>
                  <a:lnTo>
                    <a:pt x="156" y="6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18"/>
                  </a:lnTo>
                  <a:lnTo>
                    <a:pt x="198" y="18"/>
                  </a:lnTo>
                  <a:lnTo>
                    <a:pt x="210" y="18"/>
                  </a:lnTo>
                  <a:lnTo>
                    <a:pt x="222" y="18"/>
                  </a:lnTo>
                  <a:lnTo>
                    <a:pt x="234" y="12"/>
                  </a:lnTo>
                  <a:lnTo>
                    <a:pt x="252" y="18"/>
                  </a:lnTo>
                  <a:lnTo>
                    <a:pt x="252" y="24"/>
                  </a:lnTo>
                  <a:lnTo>
                    <a:pt x="258" y="36"/>
                  </a:lnTo>
                  <a:lnTo>
                    <a:pt x="258" y="66"/>
                  </a:lnTo>
                  <a:lnTo>
                    <a:pt x="252" y="84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82" y="126"/>
                  </a:lnTo>
                  <a:lnTo>
                    <a:pt x="294" y="132"/>
                  </a:lnTo>
                  <a:lnTo>
                    <a:pt x="306" y="138"/>
                  </a:lnTo>
                  <a:lnTo>
                    <a:pt x="324" y="138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60" y="144"/>
                  </a:lnTo>
                  <a:lnTo>
                    <a:pt x="396" y="144"/>
                  </a:lnTo>
                  <a:lnTo>
                    <a:pt x="408" y="150"/>
                  </a:lnTo>
                  <a:lnTo>
                    <a:pt x="414" y="180"/>
                  </a:lnTo>
                  <a:lnTo>
                    <a:pt x="420" y="186"/>
                  </a:lnTo>
                  <a:lnTo>
                    <a:pt x="426" y="192"/>
                  </a:lnTo>
                  <a:lnTo>
                    <a:pt x="426" y="198"/>
                  </a:lnTo>
                  <a:lnTo>
                    <a:pt x="432" y="198"/>
                  </a:lnTo>
                  <a:lnTo>
                    <a:pt x="438" y="210"/>
                  </a:lnTo>
                  <a:lnTo>
                    <a:pt x="450" y="216"/>
                  </a:lnTo>
                  <a:lnTo>
                    <a:pt x="468" y="228"/>
                  </a:lnTo>
                  <a:lnTo>
                    <a:pt x="492" y="234"/>
                  </a:lnTo>
                  <a:lnTo>
                    <a:pt x="492" y="246"/>
                  </a:lnTo>
                  <a:lnTo>
                    <a:pt x="492" y="270"/>
                  </a:lnTo>
                  <a:lnTo>
                    <a:pt x="486" y="294"/>
                  </a:lnTo>
                  <a:lnTo>
                    <a:pt x="486" y="312"/>
                  </a:lnTo>
                  <a:lnTo>
                    <a:pt x="486" y="330"/>
                  </a:lnTo>
                  <a:lnTo>
                    <a:pt x="492" y="348"/>
                  </a:lnTo>
                  <a:lnTo>
                    <a:pt x="498" y="360"/>
                  </a:lnTo>
                  <a:lnTo>
                    <a:pt x="510" y="366"/>
                  </a:lnTo>
                  <a:lnTo>
                    <a:pt x="516" y="384"/>
                  </a:lnTo>
                  <a:lnTo>
                    <a:pt x="522" y="414"/>
                  </a:lnTo>
                  <a:lnTo>
                    <a:pt x="528" y="414"/>
                  </a:lnTo>
                  <a:lnTo>
                    <a:pt x="534" y="426"/>
                  </a:lnTo>
                  <a:lnTo>
                    <a:pt x="528" y="432"/>
                  </a:lnTo>
                  <a:lnTo>
                    <a:pt x="468" y="426"/>
                  </a:lnTo>
                  <a:lnTo>
                    <a:pt x="462" y="4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3" name="Freeform 8">
              <a:extLst>
                <a:ext uri="{FF2B5EF4-FFF2-40B4-BE49-F238E27FC236}">
                  <a16:creationId xmlns:a16="http://schemas.microsoft.com/office/drawing/2014/main" id="{D473457C-872E-4E31-888A-D60FD52063A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98175" y="4307054"/>
              <a:ext cx="295177" cy="348894"/>
            </a:xfrm>
            <a:custGeom>
              <a:avLst/>
              <a:gdLst>
                <a:gd name="T0" fmla="*/ 3 w 552"/>
                <a:gd name="T1" fmla="*/ 46 h 660"/>
                <a:gd name="T2" fmla="*/ 4 w 552"/>
                <a:gd name="T3" fmla="*/ 42 h 660"/>
                <a:gd name="T4" fmla="*/ 2 w 552"/>
                <a:gd name="T5" fmla="*/ 38 h 660"/>
                <a:gd name="T6" fmla="*/ 0 w 552"/>
                <a:gd name="T7" fmla="*/ 34 h 660"/>
                <a:gd name="T8" fmla="*/ 2 w 552"/>
                <a:gd name="T9" fmla="*/ 30 h 660"/>
                <a:gd name="T10" fmla="*/ 3 w 552"/>
                <a:gd name="T11" fmla="*/ 27 h 660"/>
                <a:gd name="T12" fmla="*/ 5 w 552"/>
                <a:gd name="T13" fmla="*/ 23 h 660"/>
                <a:gd name="T14" fmla="*/ 5 w 552"/>
                <a:gd name="T15" fmla="*/ 15 h 660"/>
                <a:gd name="T16" fmla="*/ 6 w 552"/>
                <a:gd name="T17" fmla="*/ 11 h 660"/>
                <a:gd name="T18" fmla="*/ 11 w 552"/>
                <a:gd name="T19" fmla="*/ 9 h 660"/>
                <a:gd name="T20" fmla="*/ 10 w 552"/>
                <a:gd name="T21" fmla="*/ 5 h 660"/>
                <a:gd name="T22" fmla="*/ 12 w 552"/>
                <a:gd name="T23" fmla="*/ 1 h 660"/>
                <a:gd name="T24" fmla="*/ 16 w 552"/>
                <a:gd name="T25" fmla="*/ 2 h 660"/>
                <a:gd name="T26" fmla="*/ 23 w 552"/>
                <a:gd name="T27" fmla="*/ 8 h 660"/>
                <a:gd name="T28" fmla="*/ 23 w 552"/>
                <a:gd name="T29" fmla="*/ 11 h 660"/>
                <a:gd name="T30" fmla="*/ 27 w 552"/>
                <a:gd name="T31" fmla="*/ 12 h 660"/>
                <a:gd name="T32" fmla="*/ 29 w 552"/>
                <a:gd name="T33" fmla="*/ 17 h 660"/>
                <a:gd name="T34" fmla="*/ 31 w 552"/>
                <a:gd name="T35" fmla="*/ 15 h 660"/>
                <a:gd name="T36" fmla="*/ 33 w 552"/>
                <a:gd name="T37" fmla="*/ 17 h 660"/>
                <a:gd name="T38" fmla="*/ 36 w 552"/>
                <a:gd name="T39" fmla="*/ 23 h 660"/>
                <a:gd name="T40" fmla="*/ 41 w 552"/>
                <a:gd name="T41" fmla="*/ 33 h 660"/>
                <a:gd name="T42" fmla="*/ 43 w 552"/>
                <a:gd name="T43" fmla="*/ 36 h 660"/>
                <a:gd name="T44" fmla="*/ 43 w 552"/>
                <a:gd name="T45" fmla="*/ 37 h 660"/>
                <a:gd name="T46" fmla="*/ 41 w 552"/>
                <a:gd name="T47" fmla="*/ 35 h 660"/>
                <a:gd name="T48" fmla="*/ 43 w 552"/>
                <a:gd name="T49" fmla="*/ 37 h 660"/>
                <a:gd name="T50" fmla="*/ 44 w 552"/>
                <a:gd name="T51" fmla="*/ 39 h 660"/>
                <a:gd name="T52" fmla="*/ 47 w 552"/>
                <a:gd name="T53" fmla="*/ 41 h 660"/>
                <a:gd name="T54" fmla="*/ 47 w 552"/>
                <a:gd name="T55" fmla="*/ 44 h 660"/>
                <a:gd name="T56" fmla="*/ 48 w 552"/>
                <a:gd name="T57" fmla="*/ 46 h 660"/>
                <a:gd name="T58" fmla="*/ 47 w 552"/>
                <a:gd name="T59" fmla="*/ 46 h 660"/>
                <a:gd name="T60" fmla="*/ 44 w 552"/>
                <a:gd name="T61" fmla="*/ 46 h 660"/>
                <a:gd name="T62" fmla="*/ 47 w 552"/>
                <a:gd name="T63" fmla="*/ 47 h 660"/>
                <a:gd name="T64" fmla="*/ 47 w 552"/>
                <a:gd name="T65" fmla="*/ 49 h 660"/>
                <a:gd name="T66" fmla="*/ 47 w 552"/>
                <a:gd name="T67" fmla="*/ 52 h 660"/>
                <a:gd name="T68" fmla="*/ 46 w 552"/>
                <a:gd name="T69" fmla="*/ 53 h 660"/>
                <a:gd name="T70" fmla="*/ 43 w 552"/>
                <a:gd name="T71" fmla="*/ 54 h 660"/>
                <a:gd name="T72" fmla="*/ 37 w 552"/>
                <a:gd name="T73" fmla="*/ 54 h 660"/>
                <a:gd name="T74" fmla="*/ 30 w 552"/>
                <a:gd name="T75" fmla="*/ 54 h 660"/>
                <a:gd name="T76" fmla="*/ 29 w 552"/>
                <a:gd name="T77" fmla="*/ 53 h 660"/>
                <a:gd name="T78" fmla="*/ 27 w 552"/>
                <a:gd name="T79" fmla="*/ 53 h 660"/>
                <a:gd name="T80" fmla="*/ 29 w 552"/>
                <a:gd name="T81" fmla="*/ 53 h 660"/>
                <a:gd name="T82" fmla="*/ 28 w 552"/>
                <a:gd name="T83" fmla="*/ 54 h 660"/>
                <a:gd name="T84" fmla="*/ 24 w 552"/>
                <a:gd name="T85" fmla="*/ 54 h 660"/>
                <a:gd name="T86" fmla="*/ 20 w 552"/>
                <a:gd name="T87" fmla="*/ 55 h 660"/>
                <a:gd name="T88" fmla="*/ 15 w 552"/>
                <a:gd name="T89" fmla="*/ 56 h 660"/>
                <a:gd name="T90" fmla="*/ 12 w 552"/>
                <a:gd name="T91" fmla="*/ 56 h 660"/>
                <a:gd name="T92" fmla="*/ 11 w 552"/>
                <a:gd name="T93" fmla="*/ 57 h 660"/>
                <a:gd name="T94" fmla="*/ 9 w 552"/>
                <a:gd name="T95" fmla="*/ 57 h 660"/>
                <a:gd name="T96" fmla="*/ 7 w 552"/>
                <a:gd name="T97" fmla="*/ 56 h 660"/>
                <a:gd name="T98" fmla="*/ 5 w 552"/>
                <a:gd name="T99" fmla="*/ 55 h 660"/>
                <a:gd name="T100" fmla="*/ 7 w 552"/>
                <a:gd name="T101" fmla="*/ 54 h 660"/>
                <a:gd name="T102" fmla="*/ 5 w 552"/>
                <a:gd name="T103" fmla="*/ 54 h 660"/>
                <a:gd name="T104" fmla="*/ 5 w 552"/>
                <a:gd name="T105" fmla="*/ 53 h 660"/>
                <a:gd name="T106" fmla="*/ 4 w 552"/>
                <a:gd name="T107" fmla="*/ 49 h 660"/>
                <a:gd name="T108" fmla="*/ 45 w 552"/>
                <a:gd name="T109" fmla="*/ 38 h 66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52"/>
                <a:gd name="T166" fmla="*/ 0 h 660"/>
                <a:gd name="T167" fmla="*/ 552 w 552"/>
                <a:gd name="T168" fmla="*/ 660 h 66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52" h="660">
                  <a:moveTo>
                    <a:pt x="36" y="564"/>
                  </a:moveTo>
                  <a:lnTo>
                    <a:pt x="36" y="558"/>
                  </a:lnTo>
                  <a:lnTo>
                    <a:pt x="36" y="552"/>
                  </a:lnTo>
                  <a:lnTo>
                    <a:pt x="42" y="546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34"/>
                  </a:lnTo>
                  <a:lnTo>
                    <a:pt x="36" y="528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54" y="510"/>
                  </a:lnTo>
                  <a:lnTo>
                    <a:pt x="54" y="504"/>
                  </a:lnTo>
                  <a:lnTo>
                    <a:pt x="54" y="498"/>
                  </a:lnTo>
                  <a:lnTo>
                    <a:pt x="48" y="492"/>
                  </a:lnTo>
                  <a:lnTo>
                    <a:pt x="42" y="486"/>
                  </a:lnTo>
                  <a:lnTo>
                    <a:pt x="42" y="480"/>
                  </a:lnTo>
                  <a:lnTo>
                    <a:pt x="42" y="468"/>
                  </a:lnTo>
                  <a:lnTo>
                    <a:pt x="30" y="456"/>
                  </a:lnTo>
                  <a:lnTo>
                    <a:pt x="30" y="450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2"/>
                  </a:lnTo>
                  <a:lnTo>
                    <a:pt x="18" y="426"/>
                  </a:lnTo>
                  <a:lnTo>
                    <a:pt x="24" y="420"/>
                  </a:lnTo>
                  <a:lnTo>
                    <a:pt x="18" y="414"/>
                  </a:lnTo>
                  <a:lnTo>
                    <a:pt x="12" y="408"/>
                  </a:lnTo>
                  <a:lnTo>
                    <a:pt x="12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6" y="384"/>
                  </a:lnTo>
                  <a:lnTo>
                    <a:pt x="12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8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36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54" y="270"/>
                  </a:lnTo>
                  <a:lnTo>
                    <a:pt x="48" y="264"/>
                  </a:lnTo>
                  <a:lnTo>
                    <a:pt x="42" y="246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8" y="204"/>
                  </a:lnTo>
                  <a:lnTo>
                    <a:pt x="54" y="174"/>
                  </a:lnTo>
                  <a:lnTo>
                    <a:pt x="54" y="162"/>
                  </a:lnTo>
                  <a:lnTo>
                    <a:pt x="54" y="156"/>
                  </a:lnTo>
                  <a:lnTo>
                    <a:pt x="54" y="144"/>
                  </a:lnTo>
                  <a:lnTo>
                    <a:pt x="48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72" y="126"/>
                  </a:lnTo>
                  <a:lnTo>
                    <a:pt x="84" y="126"/>
                  </a:lnTo>
                  <a:lnTo>
                    <a:pt x="96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2" y="84"/>
                  </a:lnTo>
                  <a:lnTo>
                    <a:pt x="126" y="78"/>
                  </a:lnTo>
                  <a:lnTo>
                    <a:pt x="120" y="78"/>
                  </a:lnTo>
                  <a:lnTo>
                    <a:pt x="102" y="84"/>
                  </a:lnTo>
                  <a:lnTo>
                    <a:pt x="108" y="66"/>
                  </a:lnTo>
                  <a:lnTo>
                    <a:pt x="114" y="54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8" y="4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6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74" y="0"/>
                  </a:lnTo>
                  <a:lnTo>
                    <a:pt x="180" y="0"/>
                  </a:lnTo>
                  <a:lnTo>
                    <a:pt x="186" y="18"/>
                  </a:lnTo>
                  <a:lnTo>
                    <a:pt x="198" y="30"/>
                  </a:lnTo>
                  <a:lnTo>
                    <a:pt x="204" y="54"/>
                  </a:lnTo>
                  <a:lnTo>
                    <a:pt x="216" y="60"/>
                  </a:lnTo>
                  <a:lnTo>
                    <a:pt x="240" y="60"/>
                  </a:lnTo>
                  <a:lnTo>
                    <a:pt x="246" y="66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2" y="120"/>
                  </a:lnTo>
                  <a:lnTo>
                    <a:pt x="25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6" y="126"/>
                  </a:lnTo>
                  <a:lnTo>
                    <a:pt x="282" y="120"/>
                  </a:lnTo>
                  <a:lnTo>
                    <a:pt x="282" y="126"/>
                  </a:lnTo>
                  <a:lnTo>
                    <a:pt x="294" y="126"/>
                  </a:lnTo>
                  <a:lnTo>
                    <a:pt x="300" y="132"/>
                  </a:lnTo>
                  <a:lnTo>
                    <a:pt x="306" y="144"/>
                  </a:lnTo>
                  <a:lnTo>
                    <a:pt x="312" y="144"/>
                  </a:lnTo>
                  <a:lnTo>
                    <a:pt x="312" y="150"/>
                  </a:lnTo>
                  <a:lnTo>
                    <a:pt x="312" y="162"/>
                  </a:lnTo>
                  <a:lnTo>
                    <a:pt x="312" y="174"/>
                  </a:lnTo>
                  <a:lnTo>
                    <a:pt x="324" y="180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30" y="192"/>
                  </a:lnTo>
                  <a:lnTo>
                    <a:pt x="336" y="198"/>
                  </a:lnTo>
                  <a:lnTo>
                    <a:pt x="342" y="192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54" y="180"/>
                  </a:lnTo>
                  <a:lnTo>
                    <a:pt x="354" y="174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84" y="192"/>
                  </a:lnTo>
                  <a:lnTo>
                    <a:pt x="390" y="204"/>
                  </a:lnTo>
                  <a:lnTo>
                    <a:pt x="390" y="210"/>
                  </a:lnTo>
                  <a:lnTo>
                    <a:pt x="390" y="216"/>
                  </a:lnTo>
                  <a:lnTo>
                    <a:pt x="384" y="234"/>
                  </a:lnTo>
                  <a:lnTo>
                    <a:pt x="390" y="240"/>
                  </a:lnTo>
                  <a:lnTo>
                    <a:pt x="408" y="252"/>
                  </a:lnTo>
                  <a:lnTo>
                    <a:pt x="414" y="264"/>
                  </a:lnTo>
                  <a:lnTo>
                    <a:pt x="408" y="300"/>
                  </a:lnTo>
                  <a:lnTo>
                    <a:pt x="414" y="312"/>
                  </a:lnTo>
                  <a:lnTo>
                    <a:pt x="426" y="336"/>
                  </a:lnTo>
                  <a:lnTo>
                    <a:pt x="438" y="354"/>
                  </a:lnTo>
                  <a:lnTo>
                    <a:pt x="444" y="366"/>
                  </a:lnTo>
                  <a:lnTo>
                    <a:pt x="456" y="366"/>
                  </a:lnTo>
                  <a:lnTo>
                    <a:pt x="474" y="378"/>
                  </a:lnTo>
                  <a:lnTo>
                    <a:pt x="474" y="384"/>
                  </a:lnTo>
                  <a:lnTo>
                    <a:pt x="480" y="390"/>
                  </a:lnTo>
                  <a:lnTo>
                    <a:pt x="486" y="396"/>
                  </a:lnTo>
                  <a:lnTo>
                    <a:pt x="486" y="402"/>
                  </a:lnTo>
                  <a:lnTo>
                    <a:pt x="480" y="408"/>
                  </a:lnTo>
                  <a:lnTo>
                    <a:pt x="486" y="408"/>
                  </a:lnTo>
                  <a:lnTo>
                    <a:pt x="486" y="414"/>
                  </a:lnTo>
                  <a:lnTo>
                    <a:pt x="492" y="414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32"/>
                  </a:lnTo>
                  <a:lnTo>
                    <a:pt x="498" y="438"/>
                  </a:lnTo>
                  <a:lnTo>
                    <a:pt x="492" y="432"/>
                  </a:lnTo>
                  <a:lnTo>
                    <a:pt x="486" y="426"/>
                  </a:lnTo>
                  <a:lnTo>
                    <a:pt x="486" y="420"/>
                  </a:lnTo>
                  <a:lnTo>
                    <a:pt x="486" y="414"/>
                  </a:lnTo>
                  <a:lnTo>
                    <a:pt x="480" y="414"/>
                  </a:lnTo>
                  <a:lnTo>
                    <a:pt x="480" y="408"/>
                  </a:lnTo>
                  <a:lnTo>
                    <a:pt x="474" y="408"/>
                  </a:lnTo>
                  <a:lnTo>
                    <a:pt x="468" y="408"/>
                  </a:lnTo>
                  <a:lnTo>
                    <a:pt x="468" y="402"/>
                  </a:lnTo>
                  <a:lnTo>
                    <a:pt x="462" y="402"/>
                  </a:lnTo>
                  <a:lnTo>
                    <a:pt x="462" y="408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80" y="426"/>
                  </a:lnTo>
                  <a:lnTo>
                    <a:pt x="486" y="426"/>
                  </a:lnTo>
                  <a:lnTo>
                    <a:pt x="486" y="432"/>
                  </a:lnTo>
                  <a:lnTo>
                    <a:pt x="492" y="438"/>
                  </a:lnTo>
                  <a:lnTo>
                    <a:pt x="498" y="438"/>
                  </a:lnTo>
                  <a:lnTo>
                    <a:pt x="504" y="444"/>
                  </a:lnTo>
                  <a:lnTo>
                    <a:pt x="510" y="444"/>
                  </a:lnTo>
                  <a:lnTo>
                    <a:pt x="510" y="450"/>
                  </a:lnTo>
                  <a:lnTo>
                    <a:pt x="510" y="456"/>
                  </a:lnTo>
                  <a:lnTo>
                    <a:pt x="516" y="456"/>
                  </a:lnTo>
                  <a:lnTo>
                    <a:pt x="516" y="462"/>
                  </a:lnTo>
                  <a:lnTo>
                    <a:pt x="522" y="462"/>
                  </a:lnTo>
                  <a:lnTo>
                    <a:pt x="522" y="468"/>
                  </a:lnTo>
                  <a:lnTo>
                    <a:pt x="528" y="468"/>
                  </a:lnTo>
                  <a:lnTo>
                    <a:pt x="534" y="468"/>
                  </a:lnTo>
                  <a:lnTo>
                    <a:pt x="534" y="474"/>
                  </a:lnTo>
                  <a:lnTo>
                    <a:pt x="540" y="474"/>
                  </a:lnTo>
                  <a:lnTo>
                    <a:pt x="540" y="480"/>
                  </a:lnTo>
                  <a:lnTo>
                    <a:pt x="546" y="486"/>
                  </a:lnTo>
                  <a:lnTo>
                    <a:pt x="546" y="492"/>
                  </a:lnTo>
                  <a:lnTo>
                    <a:pt x="546" y="498"/>
                  </a:lnTo>
                  <a:lnTo>
                    <a:pt x="546" y="504"/>
                  </a:lnTo>
                  <a:lnTo>
                    <a:pt x="540" y="504"/>
                  </a:lnTo>
                  <a:lnTo>
                    <a:pt x="546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10"/>
                  </a:lnTo>
                  <a:lnTo>
                    <a:pt x="552" y="516"/>
                  </a:lnTo>
                  <a:lnTo>
                    <a:pt x="552" y="522"/>
                  </a:lnTo>
                  <a:lnTo>
                    <a:pt x="552" y="528"/>
                  </a:lnTo>
                  <a:lnTo>
                    <a:pt x="552" y="534"/>
                  </a:lnTo>
                  <a:lnTo>
                    <a:pt x="552" y="540"/>
                  </a:lnTo>
                  <a:lnTo>
                    <a:pt x="546" y="540"/>
                  </a:lnTo>
                  <a:lnTo>
                    <a:pt x="546" y="546"/>
                  </a:lnTo>
                  <a:lnTo>
                    <a:pt x="546" y="540"/>
                  </a:lnTo>
                  <a:lnTo>
                    <a:pt x="546" y="534"/>
                  </a:lnTo>
                  <a:lnTo>
                    <a:pt x="540" y="534"/>
                  </a:lnTo>
                  <a:lnTo>
                    <a:pt x="540" y="528"/>
                  </a:lnTo>
                  <a:lnTo>
                    <a:pt x="534" y="528"/>
                  </a:lnTo>
                  <a:lnTo>
                    <a:pt x="528" y="528"/>
                  </a:lnTo>
                  <a:lnTo>
                    <a:pt x="522" y="528"/>
                  </a:lnTo>
                  <a:lnTo>
                    <a:pt x="516" y="528"/>
                  </a:lnTo>
                  <a:lnTo>
                    <a:pt x="510" y="528"/>
                  </a:lnTo>
                  <a:lnTo>
                    <a:pt x="510" y="534"/>
                  </a:lnTo>
                  <a:lnTo>
                    <a:pt x="510" y="528"/>
                  </a:lnTo>
                  <a:lnTo>
                    <a:pt x="516" y="528"/>
                  </a:lnTo>
                  <a:lnTo>
                    <a:pt x="522" y="528"/>
                  </a:lnTo>
                  <a:lnTo>
                    <a:pt x="528" y="528"/>
                  </a:lnTo>
                  <a:lnTo>
                    <a:pt x="534" y="534"/>
                  </a:lnTo>
                  <a:lnTo>
                    <a:pt x="540" y="534"/>
                  </a:lnTo>
                  <a:lnTo>
                    <a:pt x="540" y="540"/>
                  </a:lnTo>
                  <a:lnTo>
                    <a:pt x="540" y="546"/>
                  </a:lnTo>
                  <a:lnTo>
                    <a:pt x="546" y="546"/>
                  </a:lnTo>
                  <a:lnTo>
                    <a:pt x="546" y="552"/>
                  </a:lnTo>
                  <a:lnTo>
                    <a:pt x="552" y="552"/>
                  </a:lnTo>
                  <a:lnTo>
                    <a:pt x="552" y="558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0" y="576"/>
                  </a:lnTo>
                  <a:lnTo>
                    <a:pt x="540" y="582"/>
                  </a:lnTo>
                  <a:lnTo>
                    <a:pt x="540" y="588"/>
                  </a:lnTo>
                  <a:lnTo>
                    <a:pt x="534" y="594"/>
                  </a:lnTo>
                  <a:lnTo>
                    <a:pt x="534" y="600"/>
                  </a:lnTo>
                  <a:lnTo>
                    <a:pt x="528" y="600"/>
                  </a:lnTo>
                  <a:lnTo>
                    <a:pt x="522" y="594"/>
                  </a:lnTo>
                  <a:lnTo>
                    <a:pt x="528" y="600"/>
                  </a:lnTo>
                  <a:lnTo>
                    <a:pt x="534" y="600"/>
                  </a:lnTo>
                  <a:lnTo>
                    <a:pt x="534" y="606"/>
                  </a:lnTo>
                  <a:lnTo>
                    <a:pt x="528" y="606"/>
                  </a:lnTo>
                  <a:lnTo>
                    <a:pt x="528" y="612"/>
                  </a:lnTo>
                  <a:lnTo>
                    <a:pt x="522" y="612"/>
                  </a:lnTo>
                  <a:lnTo>
                    <a:pt x="522" y="618"/>
                  </a:lnTo>
                  <a:lnTo>
                    <a:pt x="522" y="624"/>
                  </a:lnTo>
                  <a:lnTo>
                    <a:pt x="510" y="624"/>
                  </a:lnTo>
                  <a:lnTo>
                    <a:pt x="498" y="624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0" y="624"/>
                  </a:lnTo>
                  <a:lnTo>
                    <a:pt x="474" y="624"/>
                  </a:lnTo>
                  <a:lnTo>
                    <a:pt x="468" y="618"/>
                  </a:lnTo>
                  <a:lnTo>
                    <a:pt x="456" y="618"/>
                  </a:lnTo>
                  <a:lnTo>
                    <a:pt x="450" y="618"/>
                  </a:lnTo>
                  <a:lnTo>
                    <a:pt x="426" y="618"/>
                  </a:lnTo>
                  <a:lnTo>
                    <a:pt x="420" y="618"/>
                  </a:lnTo>
                  <a:lnTo>
                    <a:pt x="414" y="618"/>
                  </a:lnTo>
                  <a:lnTo>
                    <a:pt x="408" y="618"/>
                  </a:lnTo>
                  <a:lnTo>
                    <a:pt x="396" y="618"/>
                  </a:lnTo>
                  <a:lnTo>
                    <a:pt x="366" y="618"/>
                  </a:lnTo>
                  <a:lnTo>
                    <a:pt x="348" y="624"/>
                  </a:lnTo>
                  <a:lnTo>
                    <a:pt x="342" y="624"/>
                  </a:lnTo>
                  <a:lnTo>
                    <a:pt x="342" y="618"/>
                  </a:lnTo>
                  <a:lnTo>
                    <a:pt x="336" y="618"/>
                  </a:lnTo>
                  <a:lnTo>
                    <a:pt x="336" y="612"/>
                  </a:lnTo>
                  <a:lnTo>
                    <a:pt x="342" y="612"/>
                  </a:lnTo>
                  <a:lnTo>
                    <a:pt x="348" y="612"/>
                  </a:lnTo>
                  <a:lnTo>
                    <a:pt x="342" y="612"/>
                  </a:lnTo>
                  <a:lnTo>
                    <a:pt x="336" y="612"/>
                  </a:lnTo>
                  <a:lnTo>
                    <a:pt x="336" y="606"/>
                  </a:lnTo>
                  <a:lnTo>
                    <a:pt x="330" y="606"/>
                  </a:lnTo>
                  <a:lnTo>
                    <a:pt x="330" y="600"/>
                  </a:lnTo>
                  <a:lnTo>
                    <a:pt x="324" y="600"/>
                  </a:lnTo>
                  <a:lnTo>
                    <a:pt x="324" y="606"/>
                  </a:lnTo>
                  <a:lnTo>
                    <a:pt x="318" y="606"/>
                  </a:lnTo>
                  <a:lnTo>
                    <a:pt x="318" y="612"/>
                  </a:lnTo>
                  <a:lnTo>
                    <a:pt x="312" y="612"/>
                  </a:lnTo>
                  <a:lnTo>
                    <a:pt x="306" y="606"/>
                  </a:lnTo>
                  <a:lnTo>
                    <a:pt x="306" y="612"/>
                  </a:lnTo>
                  <a:lnTo>
                    <a:pt x="312" y="612"/>
                  </a:lnTo>
                  <a:lnTo>
                    <a:pt x="318" y="612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30" y="606"/>
                  </a:lnTo>
                  <a:lnTo>
                    <a:pt x="336" y="612"/>
                  </a:lnTo>
                  <a:lnTo>
                    <a:pt x="336" y="618"/>
                  </a:lnTo>
                  <a:lnTo>
                    <a:pt x="330" y="618"/>
                  </a:lnTo>
                  <a:lnTo>
                    <a:pt x="336" y="618"/>
                  </a:lnTo>
                  <a:lnTo>
                    <a:pt x="336" y="624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288" y="624"/>
                  </a:lnTo>
                  <a:lnTo>
                    <a:pt x="282" y="624"/>
                  </a:lnTo>
                  <a:lnTo>
                    <a:pt x="270" y="630"/>
                  </a:lnTo>
                  <a:lnTo>
                    <a:pt x="264" y="630"/>
                  </a:lnTo>
                  <a:lnTo>
                    <a:pt x="258" y="630"/>
                  </a:lnTo>
                  <a:lnTo>
                    <a:pt x="252" y="630"/>
                  </a:lnTo>
                  <a:lnTo>
                    <a:pt x="246" y="630"/>
                  </a:lnTo>
                  <a:lnTo>
                    <a:pt x="240" y="630"/>
                  </a:lnTo>
                  <a:lnTo>
                    <a:pt x="228" y="636"/>
                  </a:lnTo>
                  <a:lnTo>
                    <a:pt x="222" y="636"/>
                  </a:lnTo>
                  <a:lnTo>
                    <a:pt x="210" y="636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42"/>
                  </a:lnTo>
                  <a:lnTo>
                    <a:pt x="186" y="642"/>
                  </a:lnTo>
                  <a:lnTo>
                    <a:pt x="180" y="642"/>
                  </a:lnTo>
                  <a:lnTo>
                    <a:pt x="168" y="642"/>
                  </a:lnTo>
                  <a:lnTo>
                    <a:pt x="162" y="642"/>
                  </a:lnTo>
                  <a:lnTo>
                    <a:pt x="162" y="648"/>
                  </a:lnTo>
                  <a:lnTo>
                    <a:pt x="156" y="648"/>
                  </a:lnTo>
                  <a:lnTo>
                    <a:pt x="150" y="648"/>
                  </a:lnTo>
                  <a:lnTo>
                    <a:pt x="144" y="648"/>
                  </a:lnTo>
                  <a:lnTo>
                    <a:pt x="138" y="648"/>
                  </a:lnTo>
                  <a:lnTo>
                    <a:pt x="132" y="648"/>
                  </a:lnTo>
                  <a:lnTo>
                    <a:pt x="126" y="642"/>
                  </a:lnTo>
                  <a:lnTo>
                    <a:pt x="126" y="636"/>
                  </a:lnTo>
                  <a:lnTo>
                    <a:pt x="120" y="636"/>
                  </a:lnTo>
                  <a:lnTo>
                    <a:pt x="126" y="642"/>
                  </a:lnTo>
                  <a:lnTo>
                    <a:pt x="126" y="648"/>
                  </a:lnTo>
                  <a:lnTo>
                    <a:pt x="132" y="648"/>
                  </a:lnTo>
                  <a:lnTo>
                    <a:pt x="126" y="654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54"/>
                  </a:lnTo>
                  <a:lnTo>
                    <a:pt x="108" y="660"/>
                  </a:lnTo>
                  <a:lnTo>
                    <a:pt x="108" y="654"/>
                  </a:lnTo>
                  <a:lnTo>
                    <a:pt x="102" y="654"/>
                  </a:lnTo>
                  <a:lnTo>
                    <a:pt x="102" y="660"/>
                  </a:lnTo>
                  <a:lnTo>
                    <a:pt x="108" y="660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0" y="660"/>
                  </a:lnTo>
                  <a:lnTo>
                    <a:pt x="90" y="654"/>
                  </a:lnTo>
                  <a:lnTo>
                    <a:pt x="84" y="648"/>
                  </a:lnTo>
                  <a:lnTo>
                    <a:pt x="84" y="642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72" y="636"/>
                  </a:lnTo>
                  <a:lnTo>
                    <a:pt x="78" y="636"/>
                  </a:lnTo>
                  <a:lnTo>
                    <a:pt x="72" y="636"/>
                  </a:lnTo>
                  <a:lnTo>
                    <a:pt x="66" y="636"/>
                  </a:lnTo>
                  <a:lnTo>
                    <a:pt x="60" y="636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60" y="618"/>
                  </a:lnTo>
                  <a:lnTo>
                    <a:pt x="66" y="618"/>
                  </a:lnTo>
                  <a:lnTo>
                    <a:pt x="72" y="618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2" y="612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12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54" y="618"/>
                  </a:lnTo>
                  <a:lnTo>
                    <a:pt x="54" y="624"/>
                  </a:lnTo>
                  <a:lnTo>
                    <a:pt x="48" y="618"/>
                  </a:lnTo>
                  <a:lnTo>
                    <a:pt x="42" y="618"/>
                  </a:lnTo>
                  <a:lnTo>
                    <a:pt x="42" y="612"/>
                  </a:lnTo>
                  <a:lnTo>
                    <a:pt x="48" y="606"/>
                  </a:lnTo>
                  <a:lnTo>
                    <a:pt x="54" y="606"/>
                  </a:lnTo>
                  <a:lnTo>
                    <a:pt x="54" y="600"/>
                  </a:lnTo>
                  <a:lnTo>
                    <a:pt x="54" y="594"/>
                  </a:lnTo>
                  <a:lnTo>
                    <a:pt x="54" y="588"/>
                  </a:lnTo>
                  <a:lnTo>
                    <a:pt x="48" y="588"/>
                  </a:lnTo>
                  <a:lnTo>
                    <a:pt x="48" y="582"/>
                  </a:lnTo>
                  <a:lnTo>
                    <a:pt x="42" y="582"/>
                  </a:lnTo>
                  <a:lnTo>
                    <a:pt x="42" y="570"/>
                  </a:lnTo>
                  <a:lnTo>
                    <a:pt x="42" y="564"/>
                  </a:lnTo>
                  <a:lnTo>
                    <a:pt x="36" y="564"/>
                  </a:lnTo>
                  <a:close/>
                  <a:moveTo>
                    <a:pt x="498" y="420"/>
                  </a:moveTo>
                  <a:lnTo>
                    <a:pt x="504" y="426"/>
                  </a:lnTo>
                  <a:lnTo>
                    <a:pt x="510" y="432"/>
                  </a:lnTo>
                  <a:lnTo>
                    <a:pt x="516" y="432"/>
                  </a:lnTo>
                  <a:lnTo>
                    <a:pt x="516" y="438"/>
                  </a:lnTo>
                  <a:lnTo>
                    <a:pt x="510" y="438"/>
                  </a:lnTo>
                  <a:lnTo>
                    <a:pt x="504" y="438"/>
                  </a:lnTo>
                  <a:lnTo>
                    <a:pt x="504" y="432"/>
                  </a:lnTo>
                  <a:lnTo>
                    <a:pt x="498" y="432"/>
                  </a:lnTo>
                  <a:lnTo>
                    <a:pt x="498" y="426"/>
                  </a:lnTo>
                  <a:lnTo>
                    <a:pt x="498" y="42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4" name="Freeform 9">
              <a:extLst>
                <a:ext uri="{FF2B5EF4-FFF2-40B4-BE49-F238E27FC236}">
                  <a16:creationId xmlns:a16="http://schemas.microsoft.com/office/drawing/2014/main" id="{E0116D32-BD2E-45EA-B818-A3082585D5F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3055" y="2468650"/>
              <a:ext cx="800556" cy="1207710"/>
            </a:xfrm>
            <a:custGeom>
              <a:avLst/>
              <a:gdLst>
                <a:gd name="T0" fmla="*/ 24 w 1506"/>
                <a:gd name="T1" fmla="*/ 190 h 2274"/>
                <a:gd name="T2" fmla="*/ 25 w 1506"/>
                <a:gd name="T3" fmla="*/ 180 h 2274"/>
                <a:gd name="T4" fmla="*/ 21 w 1506"/>
                <a:gd name="T5" fmla="*/ 174 h 2274"/>
                <a:gd name="T6" fmla="*/ 17 w 1506"/>
                <a:gd name="T7" fmla="*/ 170 h 2274"/>
                <a:gd name="T8" fmla="*/ 12 w 1506"/>
                <a:gd name="T9" fmla="*/ 168 h 2274"/>
                <a:gd name="T10" fmla="*/ 10 w 1506"/>
                <a:gd name="T11" fmla="*/ 173 h 2274"/>
                <a:gd name="T12" fmla="*/ 7 w 1506"/>
                <a:gd name="T13" fmla="*/ 174 h 2274"/>
                <a:gd name="T14" fmla="*/ 0 w 1506"/>
                <a:gd name="T15" fmla="*/ 163 h 2274"/>
                <a:gd name="T16" fmla="*/ 16 w 1506"/>
                <a:gd name="T17" fmla="*/ 140 h 2274"/>
                <a:gd name="T18" fmla="*/ 19 w 1506"/>
                <a:gd name="T19" fmla="*/ 137 h 2274"/>
                <a:gd name="T20" fmla="*/ 24 w 1506"/>
                <a:gd name="T21" fmla="*/ 126 h 2274"/>
                <a:gd name="T22" fmla="*/ 23 w 1506"/>
                <a:gd name="T23" fmla="*/ 105 h 2274"/>
                <a:gd name="T24" fmla="*/ 14 w 1506"/>
                <a:gd name="T25" fmla="*/ 86 h 2274"/>
                <a:gd name="T26" fmla="*/ 8 w 1506"/>
                <a:gd name="T27" fmla="*/ 84 h 2274"/>
                <a:gd name="T28" fmla="*/ 5 w 1506"/>
                <a:gd name="T29" fmla="*/ 79 h 2274"/>
                <a:gd name="T30" fmla="*/ 16 w 1506"/>
                <a:gd name="T31" fmla="*/ 71 h 2274"/>
                <a:gd name="T32" fmla="*/ 28 w 1506"/>
                <a:gd name="T33" fmla="*/ 55 h 2274"/>
                <a:gd name="T34" fmla="*/ 29 w 1506"/>
                <a:gd name="T35" fmla="*/ 48 h 2274"/>
                <a:gd name="T36" fmla="*/ 35 w 1506"/>
                <a:gd name="T37" fmla="*/ 50 h 2274"/>
                <a:gd name="T38" fmla="*/ 42 w 1506"/>
                <a:gd name="T39" fmla="*/ 47 h 2274"/>
                <a:gd name="T40" fmla="*/ 63 w 1506"/>
                <a:gd name="T41" fmla="*/ 34 h 2274"/>
                <a:gd name="T42" fmla="*/ 74 w 1506"/>
                <a:gd name="T43" fmla="*/ 27 h 2274"/>
                <a:gd name="T44" fmla="*/ 81 w 1506"/>
                <a:gd name="T45" fmla="*/ 20 h 2274"/>
                <a:gd name="T46" fmla="*/ 89 w 1506"/>
                <a:gd name="T47" fmla="*/ 20 h 2274"/>
                <a:gd name="T48" fmla="*/ 98 w 1506"/>
                <a:gd name="T49" fmla="*/ 27 h 2274"/>
                <a:gd name="T50" fmla="*/ 106 w 1506"/>
                <a:gd name="T51" fmla="*/ 17 h 2274"/>
                <a:gd name="T52" fmla="*/ 111 w 1506"/>
                <a:gd name="T53" fmla="*/ 8 h 2274"/>
                <a:gd name="T54" fmla="*/ 121 w 1506"/>
                <a:gd name="T55" fmla="*/ 2 h 2274"/>
                <a:gd name="T56" fmla="*/ 129 w 1506"/>
                <a:gd name="T57" fmla="*/ 5 h 2274"/>
                <a:gd name="T58" fmla="*/ 125 w 1506"/>
                <a:gd name="T59" fmla="*/ 12 h 2274"/>
                <a:gd name="T60" fmla="*/ 122 w 1506"/>
                <a:gd name="T61" fmla="*/ 20 h 2274"/>
                <a:gd name="T62" fmla="*/ 122 w 1506"/>
                <a:gd name="T63" fmla="*/ 27 h 2274"/>
                <a:gd name="T64" fmla="*/ 120 w 1506"/>
                <a:gd name="T65" fmla="*/ 36 h 2274"/>
                <a:gd name="T66" fmla="*/ 116 w 1506"/>
                <a:gd name="T67" fmla="*/ 43 h 2274"/>
                <a:gd name="T68" fmla="*/ 109 w 1506"/>
                <a:gd name="T69" fmla="*/ 47 h 2274"/>
                <a:gd name="T70" fmla="*/ 108 w 1506"/>
                <a:gd name="T71" fmla="*/ 54 h 2274"/>
                <a:gd name="T72" fmla="*/ 106 w 1506"/>
                <a:gd name="T73" fmla="*/ 59 h 2274"/>
                <a:gd name="T74" fmla="*/ 109 w 1506"/>
                <a:gd name="T75" fmla="*/ 64 h 2274"/>
                <a:gd name="T76" fmla="*/ 106 w 1506"/>
                <a:gd name="T77" fmla="*/ 70 h 2274"/>
                <a:gd name="T78" fmla="*/ 105 w 1506"/>
                <a:gd name="T79" fmla="*/ 75 h 2274"/>
                <a:gd name="T80" fmla="*/ 101 w 1506"/>
                <a:gd name="T81" fmla="*/ 78 h 2274"/>
                <a:gd name="T82" fmla="*/ 92 w 1506"/>
                <a:gd name="T83" fmla="*/ 81 h 2274"/>
                <a:gd name="T84" fmla="*/ 85 w 1506"/>
                <a:gd name="T85" fmla="*/ 85 h 2274"/>
                <a:gd name="T86" fmla="*/ 87 w 1506"/>
                <a:gd name="T87" fmla="*/ 91 h 2274"/>
                <a:gd name="T88" fmla="*/ 86 w 1506"/>
                <a:gd name="T89" fmla="*/ 98 h 2274"/>
                <a:gd name="T90" fmla="*/ 86 w 1506"/>
                <a:gd name="T91" fmla="*/ 103 h 2274"/>
                <a:gd name="T92" fmla="*/ 82 w 1506"/>
                <a:gd name="T93" fmla="*/ 111 h 2274"/>
                <a:gd name="T94" fmla="*/ 81 w 1506"/>
                <a:gd name="T95" fmla="*/ 116 h 2274"/>
                <a:gd name="T96" fmla="*/ 78 w 1506"/>
                <a:gd name="T97" fmla="*/ 120 h 2274"/>
                <a:gd name="T98" fmla="*/ 76 w 1506"/>
                <a:gd name="T99" fmla="*/ 126 h 2274"/>
                <a:gd name="T100" fmla="*/ 68 w 1506"/>
                <a:gd name="T101" fmla="*/ 129 h 2274"/>
                <a:gd name="T102" fmla="*/ 62 w 1506"/>
                <a:gd name="T103" fmla="*/ 131 h 2274"/>
                <a:gd name="T104" fmla="*/ 58 w 1506"/>
                <a:gd name="T105" fmla="*/ 136 h 2274"/>
                <a:gd name="T106" fmla="*/ 51 w 1506"/>
                <a:gd name="T107" fmla="*/ 138 h 2274"/>
                <a:gd name="T108" fmla="*/ 51 w 1506"/>
                <a:gd name="T109" fmla="*/ 147 h 2274"/>
                <a:gd name="T110" fmla="*/ 49 w 1506"/>
                <a:gd name="T111" fmla="*/ 159 h 2274"/>
                <a:gd name="T112" fmla="*/ 48 w 1506"/>
                <a:gd name="T113" fmla="*/ 166 h 2274"/>
                <a:gd name="T114" fmla="*/ 41 w 1506"/>
                <a:gd name="T115" fmla="*/ 174 h 2274"/>
                <a:gd name="T116" fmla="*/ 39 w 1506"/>
                <a:gd name="T117" fmla="*/ 181 h 2274"/>
                <a:gd name="T118" fmla="*/ 37 w 1506"/>
                <a:gd name="T119" fmla="*/ 190 h 2274"/>
                <a:gd name="T120" fmla="*/ 29 w 1506"/>
                <a:gd name="T121" fmla="*/ 198 h 22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06"/>
                <a:gd name="T184" fmla="*/ 0 h 2274"/>
                <a:gd name="T185" fmla="*/ 1506 w 1506"/>
                <a:gd name="T186" fmla="*/ 2274 h 227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06" h="2274">
                  <a:moveTo>
                    <a:pt x="330" y="2274"/>
                  </a:moveTo>
                  <a:lnTo>
                    <a:pt x="318" y="2262"/>
                  </a:lnTo>
                  <a:lnTo>
                    <a:pt x="312" y="2238"/>
                  </a:lnTo>
                  <a:lnTo>
                    <a:pt x="312" y="2232"/>
                  </a:lnTo>
                  <a:lnTo>
                    <a:pt x="294" y="2214"/>
                  </a:lnTo>
                  <a:lnTo>
                    <a:pt x="288" y="2208"/>
                  </a:lnTo>
                  <a:lnTo>
                    <a:pt x="288" y="2202"/>
                  </a:lnTo>
                  <a:lnTo>
                    <a:pt x="276" y="2196"/>
                  </a:lnTo>
                  <a:lnTo>
                    <a:pt x="276" y="2190"/>
                  </a:lnTo>
                  <a:lnTo>
                    <a:pt x="282" y="2190"/>
                  </a:lnTo>
                  <a:lnTo>
                    <a:pt x="282" y="2184"/>
                  </a:lnTo>
                  <a:lnTo>
                    <a:pt x="276" y="2172"/>
                  </a:lnTo>
                  <a:lnTo>
                    <a:pt x="276" y="2166"/>
                  </a:lnTo>
                  <a:lnTo>
                    <a:pt x="282" y="2166"/>
                  </a:lnTo>
                  <a:lnTo>
                    <a:pt x="282" y="2154"/>
                  </a:lnTo>
                  <a:lnTo>
                    <a:pt x="276" y="2136"/>
                  </a:lnTo>
                  <a:lnTo>
                    <a:pt x="276" y="2112"/>
                  </a:lnTo>
                  <a:lnTo>
                    <a:pt x="282" y="2088"/>
                  </a:lnTo>
                  <a:lnTo>
                    <a:pt x="282" y="2082"/>
                  </a:lnTo>
                  <a:lnTo>
                    <a:pt x="282" y="2076"/>
                  </a:lnTo>
                  <a:lnTo>
                    <a:pt x="282" y="2070"/>
                  </a:lnTo>
                  <a:lnTo>
                    <a:pt x="288" y="2070"/>
                  </a:lnTo>
                  <a:lnTo>
                    <a:pt x="288" y="2064"/>
                  </a:lnTo>
                  <a:lnTo>
                    <a:pt x="282" y="2052"/>
                  </a:lnTo>
                  <a:lnTo>
                    <a:pt x="282" y="2046"/>
                  </a:lnTo>
                  <a:lnTo>
                    <a:pt x="276" y="2040"/>
                  </a:lnTo>
                  <a:lnTo>
                    <a:pt x="270" y="2034"/>
                  </a:lnTo>
                  <a:lnTo>
                    <a:pt x="264" y="2022"/>
                  </a:lnTo>
                  <a:lnTo>
                    <a:pt x="258" y="2022"/>
                  </a:lnTo>
                  <a:lnTo>
                    <a:pt x="258" y="2016"/>
                  </a:lnTo>
                  <a:lnTo>
                    <a:pt x="252" y="2016"/>
                  </a:lnTo>
                  <a:lnTo>
                    <a:pt x="246" y="2016"/>
                  </a:lnTo>
                  <a:lnTo>
                    <a:pt x="240" y="2010"/>
                  </a:lnTo>
                  <a:lnTo>
                    <a:pt x="234" y="2004"/>
                  </a:lnTo>
                  <a:lnTo>
                    <a:pt x="228" y="2004"/>
                  </a:lnTo>
                  <a:lnTo>
                    <a:pt x="228" y="1998"/>
                  </a:lnTo>
                  <a:lnTo>
                    <a:pt x="228" y="1992"/>
                  </a:lnTo>
                  <a:lnTo>
                    <a:pt x="222" y="1992"/>
                  </a:lnTo>
                  <a:lnTo>
                    <a:pt x="222" y="1986"/>
                  </a:lnTo>
                  <a:lnTo>
                    <a:pt x="216" y="1986"/>
                  </a:lnTo>
                  <a:lnTo>
                    <a:pt x="210" y="1980"/>
                  </a:lnTo>
                  <a:lnTo>
                    <a:pt x="216" y="1974"/>
                  </a:lnTo>
                  <a:lnTo>
                    <a:pt x="210" y="1968"/>
                  </a:lnTo>
                  <a:lnTo>
                    <a:pt x="198" y="1956"/>
                  </a:lnTo>
                  <a:lnTo>
                    <a:pt x="192" y="1956"/>
                  </a:lnTo>
                  <a:lnTo>
                    <a:pt x="186" y="1956"/>
                  </a:lnTo>
                  <a:lnTo>
                    <a:pt x="180" y="1944"/>
                  </a:lnTo>
                  <a:lnTo>
                    <a:pt x="180" y="1938"/>
                  </a:lnTo>
                  <a:lnTo>
                    <a:pt x="174" y="1932"/>
                  </a:lnTo>
                  <a:lnTo>
                    <a:pt x="168" y="1932"/>
                  </a:lnTo>
                  <a:lnTo>
                    <a:pt x="162" y="1932"/>
                  </a:lnTo>
                  <a:lnTo>
                    <a:pt x="150" y="1932"/>
                  </a:lnTo>
                  <a:lnTo>
                    <a:pt x="150" y="1926"/>
                  </a:lnTo>
                  <a:lnTo>
                    <a:pt x="150" y="1932"/>
                  </a:lnTo>
                  <a:lnTo>
                    <a:pt x="144" y="1932"/>
                  </a:lnTo>
                  <a:lnTo>
                    <a:pt x="138" y="1932"/>
                  </a:lnTo>
                  <a:lnTo>
                    <a:pt x="132" y="1932"/>
                  </a:lnTo>
                  <a:lnTo>
                    <a:pt x="132" y="1938"/>
                  </a:lnTo>
                  <a:lnTo>
                    <a:pt x="126" y="1944"/>
                  </a:lnTo>
                  <a:lnTo>
                    <a:pt x="126" y="1956"/>
                  </a:lnTo>
                  <a:lnTo>
                    <a:pt x="120" y="1968"/>
                  </a:lnTo>
                  <a:lnTo>
                    <a:pt x="120" y="1974"/>
                  </a:lnTo>
                  <a:lnTo>
                    <a:pt x="120" y="1980"/>
                  </a:lnTo>
                  <a:lnTo>
                    <a:pt x="126" y="1980"/>
                  </a:lnTo>
                  <a:lnTo>
                    <a:pt x="120" y="1986"/>
                  </a:lnTo>
                  <a:lnTo>
                    <a:pt x="120" y="1992"/>
                  </a:lnTo>
                  <a:lnTo>
                    <a:pt x="114" y="1992"/>
                  </a:lnTo>
                  <a:lnTo>
                    <a:pt x="114" y="1986"/>
                  </a:lnTo>
                  <a:lnTo>
                    <a:pt x="108" y="1992"/>
                  </a:lnTo>
                  <a:lnTo>
                    <a:pt x="108" y="1998"/>
                  </a:lnTo>
                  <a:lnTo>
                    <a:pt x="114" y="2004"/>
                  </a:lnTo>
                  <a:lnTo>
                    <a:pt x="108" y="2004"/>
                  </a:lnTo>
                  <a:lnTo>
                    <a:pt x="102" y="2010"/>
                  </a:lnTo>
                  <a:lnTo>
                    <a:pt x="102" y="2004"/>
                  </a:lnTo>
                  <a:lnTo>
                    <a:pt x="90" y="2004"/>
                  </a:lnTo>
                  <a:lnTo>
                    <a:pt x="84" y="2004"/>
                  </a:lnTo>
                  <a:lnTo>
                    <a:pt x="78" y="1998"/>
                  </a:lnTo>
                  <a:lnTo>
                    <a:pt x="78" y="1992"/>
                  </a:lnTo>
                  <a:lnTo>
                    <a:pt x="78" y="1986"/>
                  </a:lnTo>
                  <a:lnTo>
                    <a:pt x="72" y="1986"/>
                  </a:lnTo>
                  <a:lnTo>
                    <a:pt x="66" y="1980"/>
                  </a:lnTo>
                  <a:lnTo>
                    <a:pt x="66" y="1968"/>
                  </a:lnTo>
                  <a:lnTo>
                    <a:pt x="60" y="1956"/>
                  </a:lnTo>
                  <a:lnTo>
                    <a:pt x="60" y="1950"/>
                  </a:lnTo>
                  <a:lnTo>
                    <a:pt x="48" y="1944"/>
                  </a:lnTo>
                  <a:lnTo>
                    <a:pt x="30" y="1926"/>
                  </a:lnTo>
                  <a:lnTo>
                    <a:pt x="12" y="1890"/>
                  </a:lnTo>
                  <a:lnTo>
                    <a:pt x="6" y="1872"/>
                  </a:lnTo>
                  <a:lnTo>
                    <a:pt x="0" y="1854"/>
                  </a:lnTo>
                  <a:lnTo>
                    <a:pt x="6" y="1824"/>
                  </a:lnTo>
                  <a:lnTo>
                    <a:pt x="30" y="1794"/>
                  </a:lnTo>
                  <a:lnTo>
                    <a:pt x="66" y="1752"/>
                  </a:lnTo>
                  <a:lnTo>
                    <a:pt x="72" y="1752"/>
                  </a:lnTo>
                  <a:lnTo>
                    <a:pt x="78" y="1746"/>
                  </a:lnTo>
                  <a:lnTo>
                    <a:pt x="84" y="1746"/>
                  </a:lnTo>
                  <a:lnTo>
                    <a:pt x="90" y="1746"/>
                  </a:lnTo>
                  <a:lnTo>
                    <a:pt x="138" y="1674"/>
                  </a:lnTo>
                  <a:lnTo>
                    <a:pt x="186" y="1620"/>
                  </a:lnTo>
                  <a:lnTo>
                    <a:pt x="186" y="1614"/>
                  </a:lnTo>
                  <a:lnTo>
                    <a:pt x="186" y="1608"/>
                  </a:lnTo>
                  <a:lnTo>
                    <a:pt x="192" y="1608"/>
                  </a:lnTo>
                  <a:lnTo>
                    <a:pt x="192" y="1614"/>
                  </a:lnTo>
                  <a:lnTo>
                    <a:pt x="198" y="1614"/>
                  </a:lnTo>
                  <a:lnTo>
                    <a:pt x="198" y="1608"/>
                  </a:lnTo>
                  <a:lnTo>
                    <a:pt x="198" y="1602"/>
                  </a:lnTo>
                  <a:lnTo>
                    <a:pt x="204" y="1602"/>
                  </a:lnTo>
                  <a:lnTo>
                    <a:pt x="204" y="1596"/>
                  </a:lnTo>
                  <a:lnTo>
                    <a:pt x="210" y="1590"/>
                  </a:lnTo>
                  <a:lnTo>
                    <a:pt x="216" y="1590"/>
                  </a:lnTo>
                  <a:lnTo>
                    <a:pt x="216" y="1584"/>
                  </a:lnTo>
                  <a:lnTo>
                    <a:pt x="222" y="1584"/>
                  </a:lnTo>
                  <a:lnTo>
                    <a:pt x="228" y="1572"/>
                  </a:lnTo>
                  <a:lnTo>
                    <a:pt x="222" y="1572"/>
                  </a:lnTo>
                  <a:lnTo>
                    <a:pt x="228" y="1566"/>
                  </a:lnTo>
                  <a:lnTo>
                    <a:pt x="228" y="1560"/>
                  </a:lnTo>
                  <a:lnTo>
                    <a:pt x="252" y="1548"/>
                  </a:lnTo>
                  <a:lnTo>
                    <a:pt x="276" y="1530"/>
                  </a:lnTo>
                  <a:lnTo>
                    <a:pt x="282" y="1512"/>
                  </a:lnTo>
                  <a:lnTo>
                    <a:pt x="282" y="1506"/>
                  </a:lnTo>
                  <a:lnTo>
                    <a:pt x="282" y="1494"/>
                  </a:lnTo>
                  <a:lnTo>
                    <a:pt x="282" y="1452"/>
                  </a:lnTo>
                  <a:lnTo>
                    <a:pt x="288" y="1440"/>
                  </a:lnTo>
                  <a:lnTo>
                    <a:pt x="294" y="1440"/>
                  </a:lnTo>
                  <a:lnTo>
                    <a:pt x="294" y="1428"/>
                  </a:lnTo>
                  <a:lnTo>
                    <a:pt x="324" y="1368"/>
                  </a:lnTo>
                  <a:lnTo>
                    <a:pt x="330" y="1362"/>
                  </a:lnTo>
                  <a:lnTo>
                    <a:pt x="330" y="1356"/>
                  </a:lnTo>
                  <a:lnTo>
                    <a:pt x="360" y="1338"/>
                  </a:lnTo>
                  <a:lnTo>
                    <a:pt x="366" y="1296"/>
                  </a:lnTo>
                  <a:lnTo>
                    <a:pt x="354" y="1278"/>
                  </a:lnTo>
                  <a:lnTo>
                    <a:pt x="336" y="1230"/>
                  </a:lnTo>
                  <a:lnTo>
                    <a:pt x="270" y="1212"/>
                  </a:lnTo>
                  <a:lnTo>
                    <a:pt x="264" y="1212"/>
                  </a:lnTo>
                  <a:lnTo>
                    <a:pt x="252" y="1200"/>
                  </a:lnTo>
                  <a:lnTo>
                    <a:pt x="234" y="1188"/>
                  </a:lnTo>
                  <a:lnTo>
                    <a:pt x="222" y="1182"/>
                  </a:lnTo>
                  <a:lnTo>
                    <a:pt x="228" y="1104"/>
                  </a:lnTo>
                  <a:lnTo>
                    <a:pt x="228" y="1098"/>
                  </a:lnTo>
                  <a:lnTo>
                    <a:pt x="198" y="1038"/>
                  </a:lnTo>
                  <a:lnTo>
                    <a:pt x="192" y="1032"/>
                  </a:lnTo>
                  <a:lnTo>
                    <a:pt x="180" y="1020"/>
                  </a:lnTo>
                  <a:lnTo>
                    <a:pt x="168" y="996"/>
                  </a:lnTo>
                  <a:lnTo>
                    <a:pt x="162" y="990"/>
                  </a:lnTo>
                  <a:lnTo>
                    <a:pt x="156" y="990"/>
                  </a:lnTo>
                  <a:lnTo>
                    <a:pt x="150" y="990"/>
                  </a:lnTo>
                  <a:lnTo>
                    <a:pt x="132" y="990"/>
                  </a:lnTo>
                  <a:lnTo>
                    <a:pt x="120" y="984"/>
                  </a:lnTo>
                  <a:lnTo>
                    <a:pt x="120" y="990"/>
                  </a:lnTo>
                  <a:lnTo>
                    <a:pt x="114" y="990"/>
                  </a:lnTo>
                  <a:lnTo>
                    <a:pt x="102" y="984"/>
                  </a:lnTo>
                  <a:lnTo>
                    <a:pt x="96" y="984"/>
                  </a:lnTo>
                  <a:lnTo>
                    <a:pt x="96" y="978"/>
                  </a:lnTo>
                  <a:lnTo>
                    <a:pt x="90" y="978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84" y="960"/>
                  </a:lnTo>
                  <a:lnTo>
                    <a:pt x="84" y="954"/>
                  </a:lnTo>
                  <a:lnTo>
                    <a:pt x="78" y="948"/>
                  </a:lnTo>
                  <a:lnTo>
                    <a:pt x="72" y="948"/>
                  </a:lnTo>
                  <a:lnTo>
                    <a:pt x="72" y="942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06"/>
                  </a:lnTo>
                  <a:lnTo>
                    <a:pt x="60" y="888"/>
                  </a:lnTo>
                  <a:lnTo>
                    <a:pt x="54" y="882"/>
                  </a:lnTo>
                  <a:lnTo>
                    <a:pt x="60" y="882"/>
                  </a:lnTo>
                  <a:lnTo>
                    <a:pt x="72" y="876"/>
                  </a:lnTo>
                  <a:lnTo>
                    <a:pt x="78" y="876"/>
                  </a:lnTo>
                  <a:lnTo>
                    <a:pt x="90" y="870"/>
                  </a:lnTo>
                  <a:lnTo>
                    <a:pt x="90" y="864"/>
                  </a:lnTo>
                  <a:lnTo>
                    <a:pt x="96" y="840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80" y="822"/>
                  </a:lnTo>
                  <a:lnTo>
                    <a:pt x="204" y="798"/>
                  </a:lnTo>
                  <a:lnTo>
                    <a:pt x="222" y="786"/>
                  </a:lnTo>
                  <a:lnTo>
                    <a:pt x="252" y="780"/>
                  </a:lnTo>
                  <a:lnTo>
                    <a:pt x="264" y="762"/>
                  </a:lnTo>
                  <a:lnTo>
                    <a:pt x="276" y="762"/>
                  </a:lnTo>
                  <a:lnTo>
                    <a:pt x="288" y="744"/>
                  </a:lnTo>
                  <a:lnTo>
                    <a:pt x="306" y="738"/>
                  </a:lnTo>
                  <a:lnTo>
                    <a:pt x="318" y="732"/>
                  </a:lnTo>
                  <a:lnTo>
                    <a:pt x="324" y="648"/>
                  </a:lnTo>
                  <a:lnTo>
                    <a:pt x="324" y="636"/>
                  </a:lnTo>
                  <a:lnTo>
                    <a:pt x="324" y="630"/>
                  </a:lnTo>
                  <a:lnTo>
                    <a:pt x="330" y="624"/>
                  </a:lnTo>
                  <a:lnTo>
                    <a:pt x="324" y="618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24" y="588"/>
                  </a:lnTo>
                  <a:lnTo>
                    <a:pt x="318" y="576"/>
                  </a:lnTo>
                  <a:lnTo>
                    <a:pt x="318" y="570"/>
                  </a:lnTo>
                  <a:lnTo>
                    <a:pt x="324" y="570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30" y="558"/>
                  </a:lnTo>
                  <a:lnTo>
                    <a:pt x="336" y="558"/>
                  </a:lnTo>
                  <a:lnTo>
                    <a:pt x="342" y="558"/>
                  </a:lnTo>
                  <a:lnTo>
                    <a:pt x="348" y="558"/>
                  </a:lnTo>
                  <a:lnTo>
                    <a:pt x="354" y="564"/>
                  </a:lnTo>
                  <a:lnTo>
                    <a:pt x="360" y="564"/>
                  </a:lnTo>
                  <a:lnTo>
                    <a:pt x="366" y="570"/>
                  </a:lnTo>
                  <a:lnTo>
                    <a:pt x="366" y="576"/>
                  </a:lnTo>
                  <a:lnTo>
                    <a:pt x="372" y="570"/>
                  </a:lnTo>
                  <a:lnTo>
                    <a:pt x="378" y="570"/>
                  </a:lnTo>
                  <a:lnTo>
                    <a:pt x="390" y="570"/>
                  </a:lnTo>
                  <a:lnTo>
                    <a:pt x="402" y="570"/>
                  </a:lnTo>
                  <a:lnTo>
                    <a:pt x="408" y="570"/>
                  </a:lnTo>
                  <a:lnTo>
                    <a:pt x="414" y="564"/>
                  </a:lnTo>
                  <a:lnTo>
                    <a:pt x="420" y="564"/>
                  </a:lnTo>
                  <a:lnTo>
                    <a:pt x="420" y="570"/>
                  </a:lnTo>
                  <a:lnTo>
                    <a:pt x="426" y="570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44" y="570"/>
                  </a:lnTo>
                  <a:lnTo>
                    <a:pt x="450" y="564"/>
                  </a:lnTo>
                  <a:lnTo>
                    <a:pt x="474" y="558"/>
                  </a:lnTo>
                  <a:lnTo>
                    <a:pt x="486" y="54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40" y="474"/>
                  </a:lnTo>
                  <a:lnTo>
                    <a:pt x="558" y="456"/>
                  </a:lnTo>
                  <a:lnTo>
                    <a:pt x="582" y="450"/>
                  </a:lnTo>
                  <a:lnTo>
                    <a:pt x="594" y="414"/>
                  </a:lnTo>
                  <a:lnTo>
                    <a:pt x="612" y="390"/>
                  </a:lnTo>
                  <a:lnTo>
                    <a:pt x="636" y="390"/>
                  </a:lnTo>
                  <a:lnTo>
                    <a:pt x="666" y="390"/>
                  </a:lnTo>
                  <a:lnTo>
                    <a:pt x="696" y="390"/>
                  </a:lnTo>
                  <a:lnTo>
                    <a:pt x="726" y="390"/>
                  </a:lnTo>
                  <a:lnTo>
                    <a:pt x="762" y="378"/>
                  </a:lnTo>
                  <a:lnTo>
                    <a:pt x="780" y="366"/>
                  </a:lnTo>
                  <a:lnTo>
                    <a:pt x="780" y="342"/>
                  </a:lnTo>
                  <a:lnTo>
                    <a:pt x="786" y="342"/>
                  </a:lnTo>
                  <a:lnTo>
                    <a:pt x="786" y="336"/>
                  </a:lnTo>
                  <a:lnTo>
                    <a:pt x="786" y="330"/>
                  </a:lnTo>
                  <a:lnTo>
                    <a:pt x="786" y="324"/>
                  </a:lnTo>
                  <a:lnTo>
                    <a:pt x="816" y="318"/>
                  </a:lnTo>
                  <a:lnTo>
                    <a:pt x="834" y="312"/>
                  </a:lnTo>
                  <a:lnTo>
                    <a:pt x="840" y="318"/>
                  </a:lnTo>
                  <a:lnTo>
                    <a:pt x="852" y="318"/>
                  </a:lnTo>
                  <a:lnTo>
                    <a:pt x="858" y="306"/>
                  </a:lnTo>
                  <a:lnTo>
                    <a:pt x="864" y="288"/>
                  </a:lnTo>
                  <a:lnTo>
                    <a:pt x="870" y="282"/>
                  </a:lnTo>
                  <a:lnTo>
                    <a:pt x="876" y="276"/>
                  </a:lnTo>
                  <a:lnTo>
                    <a:pt x="882" y="264"/>
                  </a:lnTo>
                  <a:lnTo>
                    <a:pt x="882" y="258"/>
                  </a:lnTo>
                  <a:lnTo>
                    <a:pt x="888" y="252"/>
                  </a:lnTo>
                  <a:lnTo>
                    <a:pt x="894" y="240"/>
                  </a:lnTo>
                  <a:lnTo>
                    <a:pt x="906" y="228"/>
                  </a:lnTo>
                  <a:lnTo>
                    <a:pt x="912" y="228"/>
                  </a:lnTo>
                  <a:lnTo>
                    <a:pt x="936" y="228"/>
                  </a:lnTo>
                  <a:lnTo>
                    <a:pt x="942" y="222"/>
                  </a:lnTo>
                  <a:lnTo>
                    <a:pt x="948" y="216"/>
                  </a:lnTo>
                  <a:lnTo>
                    <a:pt x="954" y="216"/>
                  </a:lnTo>
                  <a:lnTo>
                    <a:pt x="960" y="216"/>
                  </a:lnTo>
                  <a:lnTo>
                    <a:pt x="966" y="216"/>
                  </a:lnTo>
                  <a:lnTo>
                    <a:pt x="978" y="216"/>
                  </a:lnTo>
                  <a:lnTo>
                    <a:pt x="990" y="222"/>
                  </a:lnTo>
                  <a:lnTo>
                    <a:pt x="996" y="222"/>
                  </a:lnTo>
                  <a:lnTo>
                    <a:pt x="1002" y="228"/>
                  </a:lnTo>
                  <a:lnTo>
                    <a:pt x="1014" y="234"/>
                  </a:lnTo>
                  <a:lnTo>
                    <a:pt x="1020" y="234"/>
                  </a:lnTo>
                  <a:lnTo>
                    <a:pt x="1032" y="240"/>
                  </a:lnTo>
                  <a:lnTo>
                    <a:pt x="1044" y="240"/>
                  </a:lnTo>
                  <a:lnTo>
                    <a:pt x="1050" y="240"/>
                  </a:lnTo>
                  <a:lnTo>
                    <a:pt x="1056" y="246"/>
                  </a:lnTo>
                  <a:lnTo>
                    <a:pt x="1068" y="264"/>
                  </a:lnTo>
                  <a:lnTo>
                    <a:pt x="1086" y="276"/>
                  </a:lnTo>
                  <a:lnTo>
                    <a:pt x="1092" y="276"/>
                  </a:lnTo>
                  <a:lnTo>
                    <a:pt x="1104" y="282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8" y="312"/>
                  </a:lnTo>
                  <a:lnTo>
                    <a:pt x="1152" y="324"/>
                  </a:lnTo>
                  <a:lnTo>
                    <a:pt x="1188" y="324"/>
                  </a:lnTo>
                  <a:lnTo>
                    <a:pt x="1206" y="318"/>
                  </a:lnTo>
                  <a:lnTo>
                    <a:pt x="1200" y="294"/>
                  </a:lnTo>
                  <a:lnTo>
                    <a:pt x="1206" y="252"/>
                  </a:lnTo>
                  <a:lnTo>
                    <a:pt x="1218" y="222"/>
                  </a:lnTo>
                  <a:lnTo>
                    <a:pt x="1212" y="222"/>
                  </a:lnTo>
                  <a:lnTo>
                    <a:pt x="1212" y="216"/>
                  </a:lnTo>
                  <a:lnTo>
                    <a:pt x="1218" y="204"/>
                  </a:lnTo>
                  <a:lnTo>
                    <a:pt x="1224" y="198"/>
                  </a:lnTo>
                  <a:lnTo>
                    <a:pt x="1224" y="192"/>
                  </a:lnTo>
                  <a:lnTo>
                    <a:pt x="1236" y="180"/>
                  </a:lnTo>
                  <a:lnTo>
                    <a:pt x="1254" y="156"/>
                  </a:lnTo>
                  <a:lnTo>
                    <a:pt x="1260" y="150"/>
                  </a:lnTo>
                  <a:lnTo>
                    <a:pt x="1260" y="144"/>
                  </a:lnTo>
                  <a:lnTo>
                    <a:pt x="1266" y="138"/>
                  </a:lnTo>
                  <a:lnTo>
                    <a:pt x="1272" y="138"/>
                  </a:lnTo>
                  <a:lnTo>
                    <a:pt x="1272" y="120"/>
                  </a:lnTo>
                  <a:lnTo>
                    <a:pt x="1278" y="114"/>
                  </a:lnTo>
                  <a:lnTo>
                    <a:pt x="1278" y="108"/>
                  </a:lnTo>
                  <a:lnTo>
                    <a:pt x="1278" y="102"/>
                  </a:lnTo>
                  <a:lnTo>
                    <a:pt x="1278" y="90"/>
                  </a:lnTo>
                  <a:lnTo>
                    <a:pt x="1278" y="84"/>
                  </a:lnTo>
                  <a:lnTo>
                    <a:pt x="1278" y="78"/>
                  </a:lnTo>
                  <a:lnTo>
                    <a:pt x="1278" y="72"/>
                  </a:lnTo>
                  <a:lnTo>
                    <a:pt x="1278" y="60"/>
                  </a:lnTo>
                  <a:lnTo>
                    <a:pt x="1284" y="48"/>
                  </a:lnTo>
                  <a:lnTo>
                    <a:pt x="1284" y="24"/>
                  </a:lnTo>
                  <a:lnTo>
                    <a:pt x="1284" y="18"/>
                  </a:lnTo>
                  <a:lnTo>
                    <a:pt x="1308" y="24"/>
                  </a:lnTo>
                  <a:lnTo>
                    <a:pt x="1332" y="30"/>
                  </a:lnTo>
                  <a:lnTo>
                    <a:pt x="1368" y="30"/>
                  </a:lnTo>
                  <a:lnTo>
                    <a:pt x="1392" y="24"/>
                  </a:lnTo>
                  <a:lnTo>
                    <a:pt x="1410" y="18"/>
                  </a:lnTo>
                  <a:lnTo>
                    <a:pt x="1416" y="6"/>
                  </a:lnTo>
                  <a:lnTo>
                    <a:pt x="1500" y="6"/>
                  </a:lnTo>
                  <a:lnTo>
                    <a:pt x="1506" y="0"/>
                  </a:lnTo>
                  <a:lnTo>
                    <a:pt x="1506" y="6"/>
                  </a:lnTo>
                  <a:lnTo>
                    <a:pt x="1506" y="18"/>
                  </a:lnTo>
                  <a:lnTo>
                    <a:pt x="1506" y="24"/>
                  </a:lnTo>
                  <a:lnTo>
                    <a:pt x="1500" y="30"/>
                  </a:lnTo>
                  <a:lnTo>
                    <a:pt x="1500" y="42"/>
                  </a:lnTo>
                  <a:lnTo>
                    <a:pt x="1494" y="54"/>
                  </a:lnTo>
                  <a:lnTo>
                    <a:pt x="1488" y="60"/>
                  </a:lnTo>
                  <a:lnTo>
                    <a:pt x="1482" y="60"/>
                  </a:lnTo>
                  <a:lnTo>
                    <a:pt x="1476" y="66"/>
                  </a:lnTo>
                  <a:lnTo>
                    <a:pt x="1476" y="72"/>
                  </a:lnTo>
                  <a:lnTo>
                    <a:pt x="1476" y="78"/>
                  </a:lnTo>
                  <a:lnTo>
                    <a:pt x="1470" y="78"/>
                  </a:lnTo>
                  <a:lnTo>
                    <a:pt x="1464" y="90"/>
                  </a:lnTo>
                  <a:lnTo>
                    <a:pt x="1458" y="96"/>
                  </a:lnTo>
                  <a:lnTo>
                    <a:pt x="1458" y="102"/>
                  </a:lnTo>
                  <a:lnTo>
                    <a:pt x="1452" y="120"/>
                  </a:lnTo>
                  <a:lnTo>
                    <a:pt x="1452" y="132"/>
                  </a:lnTo>
                  <a:lnTo>
                    <a:pt x="1446" y="144"/>
                  </a:lnTo>
                  <a:lnTo>
                    <a:pt x="1446" y="150"/>
                  </a:lnTo>
                  <a:lnTo>
                    <a:pt x="1440" y="150"/>
                  </a:lnTo>
                  <a:lnTo>
                    <a:pt x="1434" y="156"/>
                  </a:lnTo>
                  <a:lnTo>
                    <a:pt x="1428" y="168"/>
                  </a:lnTo>
                  <a:lnTo>
                    <a:pt x="1422" y="168"/>
                  </a:lnTo>
                  <a:lnTo>
                    <a:pt x="1416" y="174"/>
                  </a:lnTo>
                  <a:lnTo>
                    <a:pt x="1410" y="186"/>
                  </a:lnTo>
                  <a:lnTo>
                    <a:pt x="1410" y="204"/>
                  </a:lnTo>
                  <a:lnTo>
                    <a:pt x="1404" y="210"/>
                  </a:lnTo>
                  <a:lnTo>
                    <a:pt x="1404" y="216"/>
                  </a:lnTo>
                  <a:lnTo>
                    <a:pt x="1410" y="228"/>
                  </a:lnTo>
                  <a:lnTo>
                    <a:pt x="1410" y="234"/>
                  </a:lnTo>
                  <a:lnTo>
                    <a:pt x="1410" y="240"/>
                  </a:lnTo>
                  <a:lnTo>
                    <a:pt x="1416" y="252"/>
                  </a:lnTo>
                  <a:lnTo>
                    <a:pt x="1416" y="258"/>
                  </a:lnTo>
                  <a:lnTo>
                    <a:pt x="1422" y="264"/>
                  </a:lnTo>
                  <a:lnTo>
                    <a:pt x="1422" y="270"/>
                  </a:lnTo>
                  <a:lnTo>
                    <a:pt x="1422" y="282"/>
                  </a:lnTo>
                  <a:lnTo>
                    <a:pt x="1416" y="288"/>
                  </a:lnTo>
                  <a:lnTo>
                    <a:pt x="1410" y="294"/>
                  </a:lnTo>
                  <a:lnTo>
                    <a:pt x="1404" y="300"/>
                  </a:lnTo>
                  <a:lnTo>
                    <a:pt x="1404" y="306"/>
                  </a:lnTo>
                  <a:lnTo>
                    <a:pt x="1398" y="324"/>
                  </a:lnTo>
                  <a:lnTo>
                    <a:pt x="1404" y="330"/>
                  </a:lnTo>
                  <a:lnTo>
                    <a:pt x="1404" y="342"/>
                  </a:lnTo>
                  <a:lnTo>
                    <a:pt x="1392" y="354"/>
                  </a:lnTo>
                  <a:lnTo>
                    <a:pt x="1392" y="360"/>
                  </a:lnTo>
                  <a:lnTo>
                    <a:pt x="1392" y="372"/>
                  </a:lnTo>
                  <a:lnTo>
                    <a:pt x="1392" y="384"/>
                  </a:lnTo>
                  <a:lnTo>
                    <a:pt x="1392" y="396"/>
                  </a:lnTo>
                  <a:lnTo>
                    <a:pt x="1392" y="408"/>
                  </a:lnTo>
                  <a:lnTo>
                    <a:pt x="1386" y="414"/>
                  </a:lnTo>
                  <a:lnTo>
                    <a:pt x="1380" y="420"/>
                  </a:lnTo>
                  <a:lnTo>
                    <a:pt x="1380" y="426"/>
                  </a:lnTo>
                  <a:lnTo>
                    <a:pt x="1368" y="432"/>
                  </a:lnTo>
                  <a:lnTo>
                    <a:pt x="1362" y="444"/>
                  </a:lnTo>
                  <a:lnTo>
                    <a:pt x="1362" y="450"/>
                  </a:lnTo>
                  <a:lnTo>
                    <a:pt x="1362" y="462"/>
                  </a:lnTo>
                  <a:lnTo>
                    <a:pt x="1362" y="468"/>
                  </a:lnTo>
                  <a:lnTo>
                    <a:pt x="1362" y="474"/>
                  </a:lnTo>
                  <a:lnTo>
                    <a:pt x="1356" y="474"/>
                  </a:lnTo>
                  <a:lnTo>
                    <a:pt x="1350" y="480"/>
                  </a:lnTo>
                  <a:lnTo>
                    <a:pt x="1344" y="486"/>
                  </a:lnTo>
                  <a:lnTo>
                    <a:pt x="1338" y="498"/>
                  </a:lnTo>
                  <a:lnTo>
                    <a:pt x="1332" y="510"/>
                  </a:lnTo>
                  <a:lnTo>
                    <a:pt x="1320" y="510"/>
                  </a:lnTo>
                  <a:lnTo>
                    <a:pt x="1314" y="516"/>
                  </a:lnTo>
                  <a:lnTo>
                    <a:pt x="1302" y="522"/>
                  </a:lnTo>
                  <a:lnTo>
                    <a:pt x="1296" y="522"/>
                  </a:lnTo>
                  <a:lnTo>
                    <a:pt x="1284" y="516"/>
                  </a:lnTo>
                  <a:lnTo>
                    <a:pt x="1278" y="516"/>
                  </a:lnTo>
                  <a:lnTo>
                    <a:pt x="1272" y="522"/>
                  </a:lnTo>
                  <a:lnTo>
                    <a:pt x="1266" y="522"/>
                  </a:lnTo>
                  <a:lnTo>
                    <a:pt x="1266" y="528"/>
                  </a:lnTo>
                  <a:lnTo>
                    <a:pt x="1254" y="540"/>
                  </a:lnTo>
                  <a:lnTo>
                    <a:pt x="1248" y="546"/>
                  </a:lnTo>
                  <a:lnTo>
                    <a:pt x="1242" y="558"/>
                  </a:lnTo>
                  <a:lnTo>
                    <a:pt x="1230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30" y="594"/>
                  </a:lnTo>
                  <a:lnTo>
                    <a:pt x="1230" y="600"/>
                  </a:lnTo>
                  <a:lnTo>
                    <a:pt x="1236" y="606"/>
                  </a:lnTo>
                  <a:lnTo>
                    <a:pt x="1242" y="606"/>
                  </a:lnTo>
                  <a:lnTo>
                    <a:pt x="1242" y="612"/>
                  </a:lnTo>
                  <a:lnTo>
                    <a:pt x="1242" y="618"/>
                  </a:lnTo>
                  <a:lnTo>
                    <a:pt x="1242" y="624"/>
                  </a:lnTo>
                  <a:lnTo>
                    <a:pt x="1236" y="630"/>
                  </a:lnTo>
                  <a:lnTo>
                    <a:pt x="1230" y="642"/>
                  </a:lnTo>
                  <a:lnTo>
                    <a:pt x="1230" y="648"/>
                  </a:lnTo>
                  <a:lnTo>
                    <a:pt x="1218" y="654"/>
                  </a:lnTo>
                  <a:lnTo>
                    <a:pt x="1212" y="654"/>
                  </a:lnTo>
                  <a:lnTo>
                    <a:pt x="1212" y="660"/>
                  </a:lnTo>
                  <a:lnTo>
                    <a:pt x="1212" y="666"/>
                  </a:lnTo>
                  <a:lnTo>
                    <a:pt x="1212" y="672"/>
                  </a:lnTo>
                  <a:lnTo>
                    <a:pt x="1212" y="678"/>
                  </a:lnTo>
                  <a:lnTo>
                    <a:pt x="1218" y="684"/>
                  </a:lnTo>
                  <a:lnTo>
                    <a:pt x="1218" y="690"/>
                  </a:lnTo>
                  <a:lnTo>
                    <a:pt x="1224" y="696"/>
                  </a:lnTo>
                  <a:lnTo>
                    <a:pt x="1230" y="702"/>
                  </a:lnTo>
                  <a:lnTo>
                    <a:pt x="1236" y="696"/>
                  </a:lnTo>
                  <a:lnTo>
                    <a:pt x="1242" y="702"/>
                  </a:lnTo>
                  <a:lnTo>
                    <a:pt x="1248" y="708"/>
                  </a:lnTo>
                  <a:lnTo>
                    <a:pt x="1254" y="714"/>
                  </a:lnTo>
                  <a:lnTo>
                    <a:pt x="1254" y="720"/>
                  </a:lnTo>
                  <a:lnTo>
                    <a:pt x="1260" y="720"/>
                  </a:lnTo>
                  <a:lnTo>
                    <a:pt x="1254" y="732"/>
                  </a:lnTo>
                  <a:lnTo>
                    <a:pt x="1248" y="738"/>
                  </a:lnTo>
                  <a:lnTo>
                    <a:pt x="1242" y="744"/>
                  </a:lnTo>
                  <a:lnTo>
                    <a:pt x="1236" y="750"/>
                  </a:lnTo>
                  <a:lnTo>
                    <a:pt x="1236" y="756"/>
                  </a:lnTo>
                  <a:lnTo>
                    <a:pt x="1236" y="762"/>
                  </a:lnTo>
                  <a:lnTo>
                    <a:pt x="1236" y="768"/>
                  </a:lnTo>
                  <a:lnTo>
                    <a:pt x="1236" y="780"/>
                  </a:lnTo>
                  <a:lnTo>
                    <a:pt x="1230" y="780"/>
                  </a:lnTo>
                  <a:lnTo>
                    <a:pt x="1230" y="786"/>
                  </a:lnTo>
                  <a:lnTo>
                    <a:pt x="1230" y="792"/>
                  </a:lnTo>
                  <a:lnTo>
                    <a:pt x="1230" y="804"/>
                  </a:lnTo>
                  <a:lnTo>
                    <a:pt x="1224" y="810"/>
                  </a:lnTo>
                  <a:lnTo>
                    <a:pt x="1218" y="816"/>
                  </a:lnTo>
                  <a:lnTo>
                    <a:pt x="1224" y="822"/>
                  </a:lnTo>
                  <a:lnTo>
                    <a:pt x="1224" y="828"/>
                  </a:lnTo>
                  <a:lnTo>
                    <a:pt x="1218" y="834"/>
                  </a:lnTo>
                  <a:lnTo>
                    <a:pt x="1224" y="834"/>
                  </a:lnTo>
                  <a:lnTo>
                    <a:pt x="1224" y="840"/>
                  </a:lnTo>
                  <a:lnTo>
                    <a:pt x="1224" y="846"/>
                  </a:lnTo>
                  <a:lnTo>
                    <a:pt x="1224" y="852"/>
                  </a:lnTo>
                  <a:lnTo>
                    <a:pt x="1218" y="858"/>
                  </a:lnTo>
                  <a:lnTo>
                    <a:pt x="1218" y="870"/>
                  </a:lnTo>
                  <a:lnTo>
                    <a:pt x="1212" y="870"/>
                  </a:lnTo>
                  <a:lnTo>
                    <a:pt x="1212" y="876"/>
                  </a:lnTo>
                  <a:lnTo>
                    <a:pt x="1206" y="888"/>
                  </a:lnTo>
                  <a:lnTo>
                    <a:pt x="1200" y="882"/>
                  </a:lnTo>
                  <a:lnTo>
                    <a:pt x="1194" y="888"/>
                  </a:lnTo>
                  <a:lnTo>
                    <a:pt x="1188" y="894"/>
                  </a:lnTo>
                  <a:lnTo>
                    <a:pt x="1182" y="894"/>
                  </a:lnTo>
                  <a:lnTo>
                    <a:pt x="1182" y="900"/>
                  </a:lnTo>
                  <a:lnTo>
                    <a:pt x="1176" y="900"/>
                  </a:lnTo>
                  <a:lnTo>
                    <a:pt x="1170" y="894"/>
                  </a:lnTo>
                  <a:lnTo>
                    <a:pt x="1164" y="900"/>
                  </a:lnTo>
                  <a:lnTo>
                    <a:pt x="1158" y="900"/>
                  </a:lnTo>
                  <a:lnTo>
                    <a:pt x="1152" y="900"/>
                  </a:lnTo>
                  <a:lnTo>
                    <a:pt x="1140" y="900"/>
                  </a:lnTo>
                  <a:lnTo>
                    <a:pt x="1134" y="900"/>
                  </a:lnTo>
                  <a:lnTo>
                    <a:pt x="1128" y="906"/>
                  </a:lnTo>
                  <a:lnTo>
                    <a:pt x="1110" y="906"/>
                  </a:lnTo>
                  <a:lnTo>
                    <a:pt x="1104" y="906"/>
                  </a:lnTo>
                  <a:lnTo>
                    <a:pt x="1098" y="906"/>
                  </a:lnTo>
                  <a:lnTo>
                    <a:pt x="1092" y="912"/>
                  </a:lnTo>
                  <a:lnTo>
                    <a:pt x="1080" y="918"/>
                  </a:lnTo>
                  <a:lnTo>
                    <a:pt x="1068" y="930"/>
                  </a:lnTo>
                  <a:lnTo>
                    <a:pt x="1062" y="930"/>
                  </a:lnTo>
                  <a:lnTo>
                    <a:pt x="1056" y="930"/>
                  </a:lnTo>
                  <a:lnTo>
                    <a:pt x="1050" y="930"/>
                  </a:lnTo>
                  <a:lnTo>
                    <a:pt x="1050" y="936"/>
                  </a:lnTo>
                  <a:lnTo>
                    <a:pt x="1038" y="942"/>
                  </a:lnTo>
                  <a:lnTo>
                    <a:pt x="1032" y="948"/>
                  </a:lnTo>
                  <a:lnTo>
                    <a:pt x="1026" y="954"/>
                  </a:lnTo>
                  <a:lnTo>
                    <a:pt x="1020" y="960"/>
                  </a:lnTo>
                  <a:lnTo>
                    <a:pt x="1014" y="966"/>
                  </a:lnTo>
                  <a:lnTo>
                    <a:pt x="1002" y="966"/>
                  </a:lnTo>
                  <a:lnTo>
                    <a:pt x="990" y="978"/>
                  </a:lnTo>
                  <a:lnTo>
                    <a:pt x="984" y="978"/>
                  </a:lnTo>
                  <a:lnTo>
                    <a:pt x="978" y="984"/>
                  </a:lnTo>
                  <a:lnTo>
                    <a:pt x="972" y="984"/>
                  </a:lnTo>
                  <a:lnTo>
                    <a:pt x="978" y="990"/>
                  </a:lnTo>
                  <a:lnTo>
                    <a:pt x="972" y="996"/>
                  </a:lnTo>
                  <a:lnTo>
                    <a:pt x="978" y="1002"/>
                  </a:lnTo>
                  <a:lnTo>
                    <a:pt x="1002" y="1002"/>
                  </a:lnTo>
                  <a:lnTo>
                    <a:pt x="1002" y="1008"/>
                  </a:lnTo>
                  <a:lnTo>
                    <a:pt x="1008" y="1020"/>
                  </a:lnTo>
                  <a:lnTo>
                    <a:pt x="1002" y="1026"/>
                  </a:lnTo>
                  <a:lnTo>
                    <a:pt x="1002" y="1032"/>
                  </a:lnTo>
                  <a:lnTo>
                    <a:pt x="1002" y="1050"/>
                  </a:lnTo>
                  <a:lnTo>
                    <a:pt x="1002" y="1056"/>
                  </a:lnTo>
                  <a:lnTo>
                    <a:pt x="1008" y="1062"/>
                  </a:lnTo>
                  <a:lnTo>
                    <a:pt x="1008" y="1074"/>
                  </a:lnTo>
                  <a:lnTo>
                    <a:pt x="1008" y="1086"/>
                  </a:lnTo>
                  <a:lnTo>
                    <a:pt x="996" y="1092"/>
                  </a:lnTo>
                  <a:lnTo>
                    <a:pt x="996" y="1098"/>
                  </a:lnTo>
                  <a:lnTo>
                    <a:pt x="996" y="1104"/>
                  </a:lnTo>
                  <a:lnTo>
                    <a:pt x="990" y="1110"/>
                  </a:lnTo>
                  <a:lnTo>
                    <a:pt x="990" y="1116"/>
                  </a:lnTo>
                  <a:lnTo>
                    <a:pt x="996" y="1122"/>
                  </a:lnTo>
                  <a:lnTo>
                    <a:pt x="990" y="1128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96" y="1140"/>
                  </a:lnTo>
                  <a:lnTo>
                    <a:pt x="996" y="1146"/>
                  </a:lnTo>
                  <a:lnTo>
                    <a:pt x="996" y="1152"/>
                  </a:lnTo>
                  <a:lnTo>
                    <a:pt x="996" y="1158"/>
                  </a:lnTo>
                  <a:lnTo>
                    <a:pt x="996" y="1164"/>
                  </a:lnTo>
                  <a:lnTo>
                    <a:pt x="996" y="1170"/>
                  </a:lnTo>
                  <a:lnTo>
                    <a:pt x="996" y="1176"/>
                  </a:lnTo>
                  <a:lnTo>
                    <a:pt x="990" y="1182"/>
                  </a:lnTo>
                  <a:lnTo>
                    <a:pt x="990" y="1188"/>
                  </a:lnTo>
                  <a:lnTo>
                    <a:pt x="984" y="1200"/>
                  </a:lnTo>
                  <a:lnTo>
                    <a:pt x="990" y="1206"/>
                  </a:lnTo>
                  <a:lnTo>
                    <a:pt x="990" y="1212"/>
                  </a:lnTo>
                  <a:lnTo>
                    <a:pt x="990" y="1218"/>
                  </a:lnTo>
                  <a:lnTo>
                    <a:pt x="978" y="1230"/>
                  </a:lnTo>
                  <a:lnTo>
                    <a:pt x="972" y="1236"/>
                  </a:lnTo>
                  <a:lnTo>
                    <a:pt x="972" y="1242"/>
                  </a:lnTo>
                  <a:lnTo>
                    <a:pt x="966" y="1248"/>
                  </a:lnTo>
                  <a:lnTo>
                    <a:pt x="960" y="1260"/>
                  </a:lnTo>
                  <a:lnTo>
                    <a:pt x="954" y="1266"/>
                  </a:lnTo>
                  <a:lnTo>
                    <a:pt x="942" y="1278"/>
                  </a:lnTo>
                  <a:lnTo>
                    <a:pt x="936" y="1278"/>
                  </a:lnTo>
                  <a:lnTo>
                    <a:pt x="936" y="1284"/>
                  </a:lnTo>
                  <a:lnTo>
                    <a:pt x="936" y="1296"/>
                  </a:lnTo>
                  <a:lnTo>
                    <a:pt x="936" y="1302"/>
                  </a:lnTo>
                  <a:lnTo>
                    <a:pt x="942" y="1302"/>
                  </a:lnTo>
                  <a:lnTo>
                    <a:pt x="942" y="1308"/>
                  </a:lnTo>
                  <a:lnTo>
                    <a:pt x="936" y="1314"/>
                  </a:lnTo>
                  <a:lnTo>
                    <a:pt x="930" y="1320"/>
                  </a:lnTo>
                  <a:lnTo>
                    <a:pt x="930" y="1326"/>
                  </a:lnTo>
                  <a:lnTo>
                    <a:pt x="930" y="1332"/>
                  </a:lnTo>
                  <a:lnTo>
                    <a:pt x="936" y="1338"/>
                  </a:lnTo>
                  <a:lnTo>
                    <a:pt x="936" y="1344"/>
                  </a:lnTo>
                  <a:lnTo>
                    <a:pt x="942" y="1356"/>
                  </a:lnTo>
                  <a:lnTo>
                    <a:pt x="948" y="1368"/>
                  </a:lnTo>
                  <a:lnTo>
                    <a:pt x="942" y="1380"/>
                  </a:lnTo>
                  <a:lnTo>
                    <a:pt x="936" y="1386"/>
                  </a:lnTo>
                  <a:lnTo>
                    <a:pt x="930" y="1392"/>
                  </a:lnTo>
                  <a:lnTo>
                    <a:pt x="924" y="1392"/>
                  </a:lnTo>
                  <a:lnTo>
                    <a:pt x="918" y="1386"/>
                  </a:lnTo>
                  <a:lnTo>
                    <a:pt x="912" y="1386"/>
                  </a:lnTo>
                  <a:lnTo>
                    <a:pt x="906" y="1386"/>
                  </a:lnTo>
                  <a:lnTo>
                    <a:pt x="900" y="1386"/>
                  </a:lnTo>
                  <a:lnTo>
                    <a:pt x="900" y="1392"/>
                  </a:lnTo>
                  <a:lnTo>
                    <a:pt x="894" y="1392"/>
                  </a:lnTo>
                  <a:lnTo>
                    <a:pt x="888" y="1392"/>
                  </a:lnTo>
                  <a:lnTo>
                    <a:pt x="888" y="1398"/>
                  </a:lnTo>
                  <a:lnTo>
                    <a:pt x="882" y="1404"/>
                  </a:lnTo>
                  <a:lnTo>
                    <a:pt x="882" y="1416"/>
                  </a:lnTo>
                  <a:lnTo>
                    <a:pt x="882" y="1428"/>
                  </a:lnTo>
                  <a:lnTo>
                    <a:pt x="882" y="1434"/>
                  </a:lnTo>
                  <a:lnTo>
                    <a:pt x="870" y="1440"/>
                  </a:lnTo>
                  <a:lnTo>
                    <a:pt x="864" y="1452"/>
                  </a:lnTo>
                  <a:lnTo>
                    <a:pt x="870" y="1452"/>
                  </a:lnTo>
                  <a:lnTo>
                    <a:pt x="864" y="1458"/>
                  </a:lnTo>
                  <a:lnTo>
                    <a:pt x="858" y="1464"/>
                  </a:lnTo>
                  <a:lnTo>
                    <a:pt x="852" y="1464"/>
                  </a:lnTo>
                  <a:lnTo>
                    <a:pt x="846" y="1458"/>
                  </a:lnTo>
                  <a:lnTo>
                    <a:pt x="840" y="1458"/>
                  </a:lnTo>
                  <a:lnTo>
                    <a:pt x="828" y="1470"/>
                  </a:lnTo>
                  <a:lnTo>
                    <a:pt x="810" y="1482"/>
                  </a:lnTo>
                  <a:lnTo>
                    <a:pt x="804" y="1488"/>
                  </a:lnTo>
                  <a:lnTo>
                    <a:pt x="798" y="1488"/>
                  </a:lnTo>
                  <a:lnTo>
                    <a:pt x="792" y="1488"/>
                  </a:lnTo>
                  <a:lnTo>
                    <a:pt x="786" y="1488"/>
                  </a:lnTo>
                  <a:lnTo>
                    <a:pt x="768" y="1482"/>
                  </a:lnTo>
                  <a:lnTo>
                    <a:pt x="762" y="1476"/>
                  </a:lnTo>
                  <a:lnTo>
                    <a:pt x="744" y="1476"/>
                  </a:lnTo>
                  <a:lnTo>
                    <a:pt x="738" y="1476"/>
                  </a:lnTo>
                  <a:lnTo>
                    <a:pt x="732" y="1476"/>
                  </a:lnTo>
                  <a:lnTo>
                    <a:pt x="726" y="1482"/>
                  </a:lnTo>
                  <a:lnTo>
                    <a:pt x="726" y="1488"/>
                  </a:lnTo>
                  <a:lnTo>
                    <a:pt x="726" y="1494"/>
                  </a:lnTo>
                  <a:lnTo>
                    <a:pt x="726" y="1500"/>
                  </a:lnTo>
                  <a:lnTo>
                    <a:pt x="720" y="1500"/>
                  </a:lnTo>
                  <a:lnTo>
                    <a:pt x="720" y="1506"/>
                  </a:lnTo>
                  <a:lnTo>
                    <a:pt x="714" y="1512"/>
                  </a:lnTo>
                  <a:lnTo>
                    <a:pt x="714" y="1518"/>
                  </a:lnTo>
                  <a:lnTo>
                    <a:pt x="708" y="1518"/>
                  </a:lnTo>
                  <a:lnTo>
                    <a:pt x="708" y="1530"/>
                  </a:lnTo>
                  <a:lnTo>
                    <a:pt x="708" y="1536"/>
                  </a:lnTo>
                  <a:lnTo>
                    <a:pt x="708" y="1542"/>
                  </a:lnTo>
                  <a:lnTo>
                    <a:pt x="696" y="1554"/>
                  </a:lnTo>
                  <a:lnTo>
                    <a:pt x="690" y="1560"/>
                  </a:lnTo>
                  <a:lnTo>
                    <a:pt x="684" y="1566"/>
                  </a:lnTo>
                  <a:lnTo>
                    <a:pt x="672" y="1566"/>
                  </a:lnTo>
                  <a:lnTo>
                    <a:pt x="666" y="1566"/>
                  </a:lnTo>
                  <a:lnTo>
                    <a:pt x="660" y="1566"/>
                  </a:lnTo>
                  <a:lnTo>
                    <a:pt x="654" y="1572"/>
                  </a:lnTo>
                  <a:lnTo>
                    <a:pt x="654" y="1578"/>
                  </a:lnTo>
                  <a:lnTo>
                    <a:pt x="642" y="1578"/>
                  </a:lnTo>
                  <a:lnTo>
                    <a:pt x="630" y="1572"/>
                  </a:lnTo>
                  <a:lnTo>
                    <a:pt x="624" y="1572"/>
                  </a:lnTo>
                  <a:lnTo>
                    <a:pt x="618" y="1578"/>
                  </a:lnTo>
                  <a:lnTo>
                    <a:pt x="612" y="1584"/>
                  </a:lnTo>
                  <a:lnTo>
                    <a:pt x="606" y="1584"/>
                  </a:lnTo>
                  <a:lnTo>
                    <a:pt x="600" y="1590"/>
                  </a:lnTo>
                  <a:lnTo>
                    <a:pt x="594" y="1590"/>
                  </a:lnTo>
                  <a:lnTo>
                    <a:pt x="588" y="1590"/>
                  </a:lnTo>
                  <a:lnTo>
                    <a:pt x="582" y="1590"/>
                  </a:lnTo>
                  <a:lnTo>
                    <a:pt x="582" y="1596"/>
                  </a:lnTo>
                  <a:lnTo>
                    <a:pt x="576" y="1614"/>
                  </a:lnTo>
                  <a:lnTo>
                    <a:pt x="570" y="1632"/>
                  </a:lnTo>
                  <a:lnTo>
                    <a:pt x="570" y="1638"/>
                  </a:lnTo>
                  <a:lnTo>
                    <a:pt x="576" y="1644"/>
                  </a:lnTo>
                  <a:lnTo>
                    <a:pt x="576" y="1650"/>
                  </a:lnTo>
                  <a:lnTo>
                    <a:pt x="582" y="1662"/>
                  </a:lnTo>
                  <a:lnTo>
                    <a:pt x="582" y="1668"/>
                  </a:lnTo>
                  <a:lnTo>
                    <a:pt x="588" y="1692"/>
                  </a:lnTo>
                  <a:lnTo>
                    <a:pt x="594" y="1728"/>
                  </a:lnTo>
                  <a:lnTo>
                    <a:pt x="594" y="1752"/>
                  </a:lnTo>
                  <a:lnTo>
                    <a:pt x="594" y="1764"/>
                  </a:lnTo>
                  <a:lnTo>
                    <a:pt x="582" y="1770"/>
                  </a:lnTo>
                  <a:lnTo>
                    <a:pt x="582" y="1782"/>
                  </a:lnTo>
                  <a:lnTo>
                    <a:pt x="576" y="1788"/>
                  </a:lnTo>
                  <a:lnTo>
                    <a:pt x="570" y="1794"/>
                  </a:lnTo>
                  <a:lnTo>
                    <a:pt x="564" y="1806"/>
                  </a:lnTo>
                  <a:lnTo>
                    <a:pt x="564" y="1812"/>
                  </a:lnTo>
                  <a:lnTo>
                    <a:pt x="558" y="1812"/>
                  </a:lnTo>
                  <a:lnTo>
                    <a:pt x="564" y="1824"/>
                  </a:lnTo>
                  <a:lnTo>
                    <a:pt x="564" y="1830"/>
                  </a:lnTo>
                  <a:lnTo>
                    <a:pt x="564" y="1842"/>
                  </a:lnTo>
                  <a:lnTo>
                    <a:pt x="564" y="1848"/>
                  </a:lnTo>
                  <a:lnTo>
                    <a:pt x="564" y="1854"/>
                  </a:lnTo>
                  <a:lnTo>
                    <a:pt x="570" y="1860"/>
                  </a:lnTo>
                  <a:lnTo>
                    <a:pt x="570" y="1866"/>
                  </a:lnTo>
                  <a:lnTo>
                    <a:pt x="570" y="1872"/>
                  </a:lnTo>
                  <a:lnTo>
                    <a:pt x="570" y="1878"/>
                  </a:lnTo>
                  <a:lnTo>
                    <a:pt x="564" y="1890"/>
                  </a:lnTo>
                  <a:lnTo>
                    <a:pt x="558" y="1896"/>
                  </a:lnTo>
                  <a:lnTo>
                    <a:pt x="552" y="1908"/>
                  </a:lnTo>
                  <a:lnTo>
                    <a:pt x="546" y="1914"/>
                  </a:lnTo>
                  <a:lnTo>
                    <a:pt x="540" y="1920"/>
                  </a:lnTo>
                  <a:lnTo>
                    <a:pt x="534" y="1932"/>
                  </a:lnTo>
                  <a:lnTo>
                    <a:pt x="528" y="1944"/>
                  </a:lnTo>
                  <a:lnTo>
                    <a:pt x="516" y="1950"/>
                  </a:lnTo>
                  <a:lnTo>
                    <a:pt x="510" y="1956"/>
                  </a:lnTo>
                  <a:lnTo>
                    <a:pt x="498" y="1962"/>
                  </a:lnTo>
                  <a:lnTo>
                    <a:pt x="492" y="1974"/>
                  </a:lnTo>
                  <a:lnTo>
                    <a:pt x="486" y="1980"/>
                  </a:lnTo>
                  <a:lnTo>
                    <a:pt x="480" y="1998"/>
                  </a:lnTo>
                  <a:lnTo>
                    <a:pt x="474" y="2004"/>
                  </a:lnTo>
                  <a:lnTo>
                    <a:pt x="474" y="2010"/>
                  </a:lnTo>
                  <a:lnTo>
                    <a:pt x="474" y="2016"/>
                  </a:lnTo>
                  <a:lnTo>
                    <a:pt x="468" y="2016"/>
                  </a:lnTo>
                  <a:lnTo>
                    <a:pt x="468" y="2028"/>
                  </a:lnTo>
                  <a:lnTo>
                    <a:pt x="462" y="2034"/>
                  </a:lnTo>
                  <a:lnTo>
                    <a:pt x="456" y="2040"/>
                  </a:lnTo>
                  <a:lnTo>
                    <a:pt x="456" y="2052"/>
                  </a:lnTo>
                  <a:lnTo>
                    <a:pt x="450" y="2058"/>
                  </a:lnTo>
                  <a:lnTo>
                    <a:pt x="450" y="2070"/>
                  </a:lnTo>
                  <a:lnTo>
                    <a:pt x="450" y="2076"/>
                  </a:lnTo>
                  <a:lnTo>
                    <a:pt x="450" y="2082"/>
                  </a:lnTo>
                  <a:lnTo>
                    <a:pt x="444" y="2088"/>
                  </a:lnTo>
                  <a:lnTo>
                    <a:pt x="438" y="2094"/>
                  </a:lnTo>
                  <a:lnTo>
                    <a:pt x="444" y="2100"/>
                  </a:lnTo>
                  <a:lnTo>
                    <a:pt x="444" y="2124"/>
                  </a:lnTo>
                  <a:lnTo>
                    <a:pt x="444" y="2142"/>
                  </a:lnTo>
                  <a:lnTo>
                    <a:pt x="444" y="2160"/>
                  </a:lnTo>
                  <a:lnTo>
                    <a:pt x="450" y="2166"/>
                  </a:lnTo>
                  <a:lnTo>
                    <a:pt x="456" y="2178"/>
                  </a:lnTo>
                  <a:lnTo>
                    <a:pt x="438" y="2184"/>
                  </a:lnTo>
                  <a:lnTo>
                    <a:pt x="432" y="2184"/>
                  </a:lnTo>
                  <a:lnTo>
                    <a:pt x="426" y="2190"/>
                  </a:lnTo>
                  <a:lnTo>
                    <a:pt x="408" y="2190"/>
                  </a:lnTo>
                  <a:lnTo>
                    <a:pt x="402" y="2196"/>
                  </a:lnTo>
                  <a:lnTo>
                    <a:pt x="396" y="2196"/>
                  </a:lnTo>
                  <a:lnTo>
                    <a:pt x="384" y="2208"/>
                  </a:lnTo>
                  <a:lnTo>
                    <a:pt x="378" y="2220"/>
                  </a:lnTo>
                  <a:lnTo>
                    <a:pt x="366" y="2232"/>
                  </a:lnTo>
                  <a:lnTo>
                    <a:pt x="366" y="2238"/>
                  </a:lnTo>
                  <a:lnTo>
                    <a:pt x="360" y="2238"/>
                  </a:lnTo>
                  <a:lnTo>
                    <a:pt x="360" y="2244"/>
                  </a:lnTo>
                  <a:lnTo>
                    <a:pt x="354" y="2244"/>
                  </a:lnTo>
                  <a:lnTo>
                    <a:pt x="330" y="227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5" name="Freeform 10">
              <a:extLst>
                <a:ext uri="{FF2B5EF4-FFF2-40B4-BE49-F238E27FC236}">
                  <a16:creationId xmlns:a16="http://schemas.microsoft.com/office/drawing/2014/main" id="{3AD2FC58-3490-4B7F-A8BE-621F3CDD69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1996" y="1931890"/>
              <a:ext cx="805029" cy="1037736"/>
            </a:xfrm>
            <a:custGeom>
              <a:avLst/>
              <a:gdLst>
                <a:gd name="T0" fmla="*/ 124 w 1512"/>
                <a:gd name="T1" fmla="*/ 76 h 1956"/>
                <a:gd name="T2" fmla="*/ 120 w 1512"/>
                <a:gd name="T3" fmla="*/ 80 h 1956"/>
                <a:gd name="T4" fmla="*/ 106 w 1512"/>
                <a:gd name="T5" fmla="*/ 84 h 1956"/>
                <a:gd name="T6" fmla="*/ 105 w 1512"/>
                <a:gd name="T7" fmla="*/ 91 h 1956"/>
                <a:gd name="T8" fmla="*/ 101 w 1512"/>
                <a:gd name="T9" fmla="*/ 99 h 1956"/>
                <a:gd name="T10" fmla="*/ 105 w 1512"/>
                <a:gd name="T11" fmla="*/ 107 h 1956"/>
                <a:gd name="T12" fmla="*/ 119 w 1512"/>
                <a:gd name="T13" fmla="*/ 116 h 1956"/>
                <a:gd name="T14" fmla="*/ 121 w 1512"/>
                <a:gd name="T15" fmla="*/ 128 h 1956"/>
                <a:gd name="T16" fmla="*/ 112 w 1512"/>
                <a:gd name="T17" fmla="*/ 136 h 1956"/>
                <a:gd name="T18" fmla="*/ 119 w 1512"/>
                <a:gd name="T19" fmla="*/ 143 h 1956"/>
                <a:gd name="T20" fmla="*/ 126 w 1512"/>
                <a:gd name="T21" fmla="*/ 148 h 1956"/>
                <a:gd name="T22" fmla="*/ 126 w 1512"/>
                <a:gd name="T23" fmla="*/ 160 h 1956"/>
                <a:gd name="T24" fmla="*/ 104 w 1512"/>
                <a:gd name="T25" fmla="*/ 170 h 1956"/>
                <a:gd name="T26" fmla="*/ 99 w 1512"/>
                <a:gd name="T27" fmla="*/ 164 h 1956"/>
                <a:gd name="T28" fmla="*/ 73 w 1512"/>
                <a:gd name="T29" fmla="*/ 152 h 1956"/>
                <a:gd name="T30" fmla="*/ 56 w 1512"/>
                <a:gd name="T31" fmla="*/ 165 h 1956"/>
                <a:gd name="T32" fmla="*/ 33 w 1512"/>
                <a:gd name="T33" fmla="*/ 162 h 1956"/>
                <a:gd name="T34" fmla="*/ 25 w 1512"/>
                <a:gd name="T35" fmla="*/ 155 h 1956"/>
                <a:gd name="T36" fmla="*/ 31 w 1512"/>
                <a:gd name="T37" fmla="*/ 142 h 1956"/>
                <a:gd name="T38" fmla="*/ 24 w 1512"/>
                <a:gd name="T39" fmla="*/ 137 h 1956"/>
                <a:gd name="T40" fmla="*/ 14 w 1512"/>
                <a:gd name="T41" fmla="*/ 136 h 1956"/>
                <a:gd name="T42" fmla="*/ 11 w 1512"/>
                <a:gd name="T43" fmla="*/ 125 h 1956"/>
                <a:gd name="T44" fmla="*/ 3 w 1512"/>
                <a:gd name="T45" fmla="*/ 116 h 1956"/>
                <a:gd name="T46" fmla="*/ 2 w 1512"/>
                <a:gd name="T47" fmla="*/ 106 h 1956"/>
                <a:gd name="T48" fmla="*/ 5 w 1512"/>
                <a:gd name="T49" fmla="*/ 101 h 1956"/>
                <a:gd name="T50" fmla="*/ 2 w 1512"/>
                <a:gd name="T51" fmla="*/ 95 h 1956"/>
                <a:gd name="T52" fmla="*/ 1 w 1512"/>
                <a:gd name="T53" fmla="*/ 88 h 1956"/>
                <a:gd name="T54" fmla="*/ 4 w 1512"/>
                <a:gd name="T55" fmla="*/ 80 h 1956"/>
                <a:gd name="T56" fmla="*/ 12 w 1512"/>
                <a:gd name="T57" fmla="*/ 73 h 1956"/>
                <a:gd name="T58" fmla="*/ 16 w 1512"/>
                <a:gd name="T59" fmla="*/ 68 h 1956"/>
                <a:gd name="T60" fmla="*/ 22 w 1512"/>
                <a:gd name="T61" fmla="*/ 66 h 1956"/>
                <a:gd name="T62" fmla="*/ 32 w 1512"/>
                <a:gd name="T63" fmla="*/ 65 h 1956"/>
                <a:gd name="T64" fmla="*/ 45 w 1512"/>
                <a:gd name="T65" fmla="*/ 66 h 1956"/>
                <a:gd name="T66" fmla="*/ 50 w 1512"/>
                <a:gd name="T67" fmla="*/ 70 h 1956"/>
                <a:gd name="T68" fmla="*/ 55 w 1512"/>
                <a:gd name="T69" fmla="*/ 70 h 1956"/>
                <a:gd name="T70" fmla="*/ 63 w 1512"/>
                <a:gd name="T71" fmla="*/ 71 h 1956"/>
                <a:gd name="T72" fmla="*/ 61 w 1512"/>
                <a:gd name="T73" fmla="*/ 75 h 1956"/>
                <a:gd name="T74" fmla="*/ 66 w 1512"/>
                <a:gd name="T75" fmla="*/ 84 h 1956"/>
                <a:gd name="T76" fmla="*/ 81 w 1512"/>
                <a:gd name="T77" fmla="*/ 85 h 1956"/>
                <a:gd name="T78" fmla="*/ 83 w 1512"/>
                <a:gd name="T79" fmla="*/ 79 h 1956"/>
                <a:gd name="T80" fmla="*/ 89 w 1512"/>
                <a:gd name="T81" fmla="*/ 77 h 1956"/>
                <a:gd name="T82" fmla="*/ 89 w 1512"/>
                <a:gd name="T83" fmla="*/ 73 h 1956"/>
                <a:gd name="T84" fmla="*/ 83 w 1512"/>
                <a:gd name="T85" fmla="*/ 72 h 1956"/>
                <a:gd name="T86" fmla="*/ 77 w 1512"/>
                <a:gd name="T87" fmla="*/ 70 h 1956"/>
                <a:gd name="T88" fmla="*/ 71 w 1512"/>
                <a:gd name="T89" fmla="*/ 70 h 1956"/>
                <a:gd name="T90" fmla="*/ 59 w 1512"/>
                <a:gd name="T91" fmla="*/ 58 h 1956"/>
                <a:gd name="T92" fmla="*/ 54 w 1512"/>
                <a:gd name="T93" fmla="*/ 45 h 1956"/>
                <a:gd name="T94" fmla="*/ 49 w 1512"/>
                <a:gd name="T95" fmla="*/ 42 h 1956"/>
                <a:gd name="T96" fmla="*/ 51 w 1512"/>
                <a:gd name="T97" fmla="*/ 39 h 1956"/>
                <a:gd name="T98" fmla="*/ 55 w 1512"/>
                <a:gd name="T99" fmla="*/ 36 h 1956"/>
                <a:gd name="T100" fmla="*/ 63 w 1512"/>
                <a:gd name="T101" fmla="*/ 34 h 1956"/>
                <a:gd name="T102" fmla="*/ 68 w 1512"/>
                <a:gd name="T103" fmla="*/ 32 h 1956"/>
                <a:gd name="T104" fmla="*/ 73 w 1512"/>
                <a:gd name="T105" fmla="*/ 29 h 1956"/>
                <a:gd name="T106" fmla="*/ 78 w 1512"/>
                <a:gd name="T107" fmla="*/ 27 h 1956"/>
                <a:gd name="T108" fmla="*/ 81 w 1512"/>
                <a:gd name="T109" fmla="*/ 17 h 1956"/>
                <a:gd name="T110" fmla="*/ 84 w 1512"/>
                <a:gd name="T111" fmla="*/ 6 h 1956"/>
                <a:gd name="T112" fmla="*/ 95 w 1512"/>
                <a:gd name="T113" fmla="*/ 6 h 1956"/>
                <a:gd name="T114" fmla="*/ 99 w 1512"/>
                <a:gd name="T115" fmla="*/ 3 h 1956"/>
                <a:gd name="T116" fmla="*/ 103 w 1512"/>
                <a:gd name="T117" fmla="*/ 0 h 1956"/>
                <a:gd name="T118" fmla="*/ 110 w 1512"/>
                <a:gd name="T119" fmla="*/ 4 h 1956"/>
                <a:gd name="T120" fmla="*/ 114 w 1512"/>
                <a:gd name="T121" fmla="*/ 33 h 1956"/>
                <a:gd name="T122" fmla="*/ 117 w 1512"/>
                <a:gd name="T123" fmla="*/ 41 h 1956"/>
                <a:gd name="T124" fmla="*/ 119 w 1512"/>
                <a:gd name="T125" fmla="*/ 62 h 195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12"/>
                <a:gd name="T190" fmla="*/ 0 h 1956"/>
                <a:gd name="T191" fmla="*/ 1512 w 1512"/>
                <a:gd name="T192" fmla="*/ 1956 h 195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12" h="1956">
                  <a:moveTo>
                    <a:pt x="1512" y="780"/>
                  </a:moveTo>
                  <a:lnTo>
                    <a:pt x="1482" y="786"/>
                  </a:lnTo>
                  <a:lnTo>
                    <a:pt x="1476" y="792"/>
                  </a:lnTo>
                  <a:lnTo>
                    <a:pt x="1476" y="798"/>
                  </a:lnTo>
                  <a:lnTo>
                    <a:pt x="1476" y="804"/>
                  </a:lnTo>
                  <a:lnTo>
                    <a:pt x="1476" y="816"/>
                  </a:lnTo>
                  <a:lnTo>
                    <a:pt x="1470" y="834"/>
                  </a:lnTo>
                  <a:lnTo>
                    <a:pt x="1464" y="840"/>
                  </a:lnTo>
                  <a:lnTo>
                    <a:pt x="1452" y="852"/>
                  </a:lnTo>
                  <a:lnTo>
                    <a:pt x="1440" y="864"/>
                  </a:lnTo>
                  <a:lnTo>
                    <a:pt x="1434" y="864"/>
                  </a:lnTo>
                  <a:lnTo>
                    <a:pt x="1434" y="870"/>
                  </a:lnTo>
                  <a:lnTo>
                    <a:pt x="1422" y="876"/>
                  </a:lnTo>
                  <a:lnTo>
                    <a:pt x="1410" y="894"/>
                  </a:lnTo>
                  <a:lnTo>
                    <a:pt x="1404" y="894"/>
                  </a:lnTo>
                  <a:lnTo>
                    <a:pt x="1404" y="900"/>
                  </a:lnTo>
                  <a:lnTo>
                    <a:pt x="1404" y="906"/>
                  </a:lnTo>
                  <a:lnTo>
                    <a:pt x="1410" y="918"/>
                  </a:lnTo>
                  <a:lnTo>
                    <a:pt x="1404" y="918"/>
                  </a:lnTo>
                  <a:lnTo>
                    <a:pt x="1392" y="924"/>
                  </a:lnTo>
                  <a:lnTo>
                    <a:pt x="1386" y="924"/>
                  </a:lnTo>
                  <a:lnTo>
                    <a:pt x="1380" y="924"/>
                  </a:lnTo>
                  <a:lnTo>
                    <a:pt x="1380" y="930"/>
                  </a:lnTo>
                  <a:lnTo>
                    <a:pt x="1374" y="930"/>
                  </a:lnTo>
                  <a:lnTo>
                    <a:pt x="1374" y="924"/>
                  </a:lnTo>
                  <a:lnTo>
                    <a:pt x="1374" y="918"/>
                  </a:lnTo>
                  <a:lnTo>
                    <a:pt x="1368" y="912"/>
                  </a:lnTo>
                  <a:lnTo>
                    <a:pt x="1368" y="906"/>
                  </a:lnTo>
                  <a:lnTo>
                    <a:pt x="1368" y="900"/>
                  </a:lnTo>
                  <a:lnTo>
                    <a:pt x="1368" y="894"/>
                  </a:lnTo>
                  <a:lnTo>
                    <a:pt x="1362" y="894"/>
                  </a:lnTo>
                  <a:lnTo>
                    <a:pt x="1326" y="894"/>
                  </a:lnTo>
                  <a:lnTo>
                    <a:pt x="1302" y="906"/>
                  </a:lnTo>
                  <a:lnTo>
                    <a:pt x="1284" y="918"/>
                  </a:lnTo>
                  <a:lnTo>
                    <a:pt x="1284" y="924"/>
                  </a:lnTo>
                  <a:lnTo>
                    <a:pt x="1278" y="930"/>
                  </a:lnTo>
                  <a:lnTo>
                    <a:pt x="1266" y="930"/>
                  </a:lnTo>
                  <a:lnTo>
                    <a:pt x="1236" y="954"/>
                  </a:lnTo>
                  <a:lnTo>
                    <a:pt x="1212" y="972"/>
                  </a:lnTo>
                  <a:lnTo>
                    <a:pt x="1218" y="996"/>
                  </a:lnTo>
                  <a:lnTo>
                    <a:pt x="1224" y="1008"/>
                  </a:lnTo>
                  <a:lnTo>
                    <a:pt x="1236" y="1014"/>
                  </a:lnTo>
                  <a:lnTo>
                    <a:pt x="1242" y="1026"/>
                  </a:lnTo>
                  <a:lnTo>
                    <a:pt x="1248" y="1038"/>
                  </a:lnTo>
                  <a:lnTo>
                    <a:pt x="1260" y="1050"/>
                  </a:lnTo>
                  <a:lnTo>
                    <a:pt x="1260" y="1056"/>
                  </a:lnTo>
                  <a:lnTo>
                    <a:pt x="1260" y="1074"/>
                  </a:lnTo>
                  <a:lnTo>
                    <a:pt x="1254" y="1074"/>
                  </a:lnTo>
                  <a:lnTo>
                    <a:pt x="1236" y="1056"/>
                  </a:lnTo>
                  <a:lnTo>
                    <a:pt x="1224" y="1050"/>
                  </a:lnTo>
                  <a:lnTo>
                    <a:pt x="1212" y="1050"/>
                  </a:lnTo>
                  <a:lnTo>
                    <a:pt x="1206" y="1050"/>
                  </a:lnTo>
                  <a:lnTo>
                    <a:pt x="1200" y="1056"/>
                  </a:lnTo>
                  <a:lnTo>
                    <a:pt x="1194" y="1062"/>
                  </a:lnTo>
                  <a:lnTo>
                    <a:pt x="1188" y="1068"/>
                  </a:lnTo>
                  <a:lnTo>
                    <a:pt x="1188" y="1074"/>
                  </a:lnTo>
                  <a:lnTo>
                    <a:pt x="1176" y="1086"/>
                  </a:lnTo>
                  <a:lnTo>
                    <a:pt x="1170" y="1086"/>
                  </a:lnTo>
                  <a:lnTo>
                    <a:pt x="1170" y="1092"/>
                  </a:lnTo>
                  <a:lnTo>
                    <a:pt x="1164" y="1098"/>
                  </a:lnTo>
                  <a:lnTo>
                    <a:pt x="1158" y="1110"/>
                  </a:lnTo>
                  <a:lnTo>
                    <a:pt x="1152" y="1116"/>
                  </a:lnTo>
                  <a:lnTo>
                    <a:pt x="1152" y="1122"/>
                  </a:lnTo>
                  <a:lnTo>
                    <a:pt x="1146" y="1128"/>
                  </a:lnTo>
                  <a:lnTo>
                    <a:pt x="1152" y="1140"/>
                  </a:lnTo>
                  <a:lnTo>
                    <a:pt x="1158" y="1140"/>
                  </a:lnTo>
                  <a:lnTo>
                    <a:pt x="1164" y="1146"/>
                  </a:lnTo>
                  <a:lnTo>
                    <a:pt x="1164" y="1152"/>
                  </a:lnTo>
                  <a:lnTo>
                    <a:pt x="1170" y="1164"/>
                  </a:lnTo>
                  <a:lnTo>
                    <a:pt x="1164" y="1176"/>
                  </a:lnTo>
                  <a:lnTo>
                    <a:pt x="1170" y="1182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82" y="1218"/>
                  </a:lnTo>
                  <a:lnTo>
                    <a:pt x="1188" y="1218"/>
                  </a:lnTo>
                  <a:lnTo>
                    <a:pt x="1194" y="1218"/>
                  </a:lnTo>
                  <a:lnTo>
                    <a:pt x="1194" y="1224"/>
                  </a:lnTo>
                  <a:lnTo>
                    <a:pt x="1200" y="1230"/>
                  </a:lnTo>
                  <a:lnTo>
                    <a:pt x="1200" y="1248"/>
                  </a:lnTo>
                  <a:lnTo>
                    <a:pt x="1212" y="1266"/>
                  </a:lnTo>
                  <a:lnTo>
                    <a:pt x="1218" y="1278"/>
                  </a:lnTo>
                  <a:lnTo>
                    <a:pt x="1224" y="1284"/>
                  </a:lnTo>
                  <a:lnTo>
                    <a:pt x="1236" y="1296"/>
                  </a:lnTo>
                  <a:lnTo>
                    <a:pt x="1242" y="1302"/>
                  </a:lnTo>
                  <a:lnTo>
                    <a:pt x="1242" y="1308"/>
                  </a:lnTo>
                  <a:lnTo>
                    <a:pt x="1272" y="1308"/>
                  </a:lnTo>
                  <a:lnTo>
                    <a:pt x="1296" y="1314"/>
                  </a:lnTo>
                  <a:lnTo>
                    <a:pt x="1320" y="1320"/>
                  </a:lnTo>
                  <a:lnTo>
                    <a:pt x="1338" y="1320"/>
                  </a:lnTo>
                  <a:lnTo>
                    <a:pt x="1356" y="1332"/>
                  </a:lnTo>
                  <a:lnTo>
                    <a:pt x="1368" y="1344"/>
                  </a:lnTo>
                  <a:lnTo>
                    <a:pt x="1374" y="1362"/>
                  </a:lnTo>
                  <a:lnTo>
                    <a:pt x="1368" y="1362"/>
                  </a:lnTo>
                  <a:lnTo>
                    <a:pt x="1368" y="1398"/>
                  </a:lnTo>
                  <a:lnTo>
                    <a:pt x="1368" y="1410"/>
                  </a:lnTo>
                  <a:lnTo>
                    <a:pt x="1368" y="1428"/>
                  </a:lnTo>
                  <a:lnTo>
                    <a:pt x="1368" y="1434"/>
                  </a:lnTo>
                  <a:lnTo>
                    <a:pt x="1368" y="1440"/>
                  </a:lnTo>
                  <a:lnTo>
                    <a:pt x="1374" y="1446"/>
                  </a:lnTo>
                  <a:lnTo>
                    <a:pt x="1374" y="1452"/>
                  </a:lnTo>
                  <a:lnTo>
                    <a:pt x="1380" y="1458"/>
                  </a:lnTo>
                  <a:lnTo>
                    <a:pt x="1386" y="1464"/>
                  </a:lnTo>
                  <a:lnTo>
                    <a:pt x="1386" y="1470"/>
                  </a:lnTo>
                  <a:lnTo>
                    <a:pt x="1380" y="1476"/>
                  </a:lnTo>
                  <a:lnTo>
                    <a:pt x="1374" y="1482"/>
                  </a:lnTo>
                  <a:lnTo>
                    <a:pt x="1362" y="1500"/>
                  </a:lnTo>
                  <a:lnTo>
                    <a:pt x="1362" y="1506"/>
                  </a:lnTo>
                  <a:lnTo>
                    <a:pt x="1362" y="1512"/>
                  </a:lnTo>
                  <a:lnTo>
                    <a:pt x="1362" y="1518"/>
                  </a:lnTo>
                  <a:lnTo>
                    <a:pt x="1362" y="1524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38" y="1548"/>
                  </a:lnTo>
                  <a:lnTo>
                    <a:pt x="1296" y="1548"/>
                  </a:lnTo>
                  <a:lnTo>
                    <a:pt x="1290" y="1554"/>
                  </a:lnTo>
                  <a:lnTo>
                    <a:pt x="1284" y="1560"/>
                  </a:lnTo>
                  <a:lnTo>
                    <a:pt x="1284" y="1566"/>
                  </a:lnTo>
                  <a:lnTo>
                    <a:pt x="1290" y="1578"/>
                  </a:lnTo>
                  <a:lnTo>
                    <a:pt x="1296" y="1590"/>
                  </a:lnTo>
                  <a:lnTo>
                    <a:pt x="1302" y="1590"/>
                  </a:lnTo>
                  <a:lnTo>
                    <a:pt x="1308" y="1596"/>
                  </a:lnTo>
                  <a:lnTo>
                    <a:pt x="1320" y="1602"/>
                  </a:lnTo>
                  <a:lnTo>
                    <a:pt x="1326" y="1602"/>
                  </a:lnTo>
                  <a:lnTo>
                    <a:pt x="1326" y="1608"/>
                  </a:lnTo>
                  <a:lnTo>
                    <a:pt x="1332" y="1614"/>
                  </a:lnTo>
                  <a:lnTo>
                    <a:pt x="1344" y="1620"/>
                  </a:lnTo>
                  <a:lnTo>
                    <a:pt x="1356" y="1626"/>
                  </a:lnTo>
                  <a:lnTo>
                    <a:pt x="1356" y="1632"/>
                  </a:lnTo>
                  <a:lnTo>
                    <a:pt x="1356" y="1638"/>
                  </a:lnTo>
                  <a:lnTo>
                    <a:pt x="1362" y="1644"/>
                  </a:lnTo>
                  <a:lnTo>
                    <a:pt x="1368" y="1644"/>
                  </a:lnTo>
                  <a:lnTo>
                    <a:pt x="1380" y="1650"/>
                  </a:lnTo>
                  <a:lnTo>
                    <a:pt x="1386" y="1650"/>
                  </a:lnTo>
                  <a:lnTo>
                    <a:pt x="1386" y="1656"/>
                  </a:lnTo>
                  <a:lnTo>
                    <a:pt x="1392" y="1656"/>
                  </a:lnTo>
                  <a:lnTo>
                    <a:pt x="1398" y="1662"/>
                  </a:lnTo>
                  <a:lnTo>
                    <a:pt x="1410" y="1674"/>
                  </a:lnTo>
                  <a:lnTo>
                    <a:pt x="1428" y="1680"/>
                  </a:lnTo>
                  <a:lnTo>
                    <a:pt x="1428" y="1686"/>
                  </a:lnTo>
                  <a:lnTo>
                    <a:pt x="1428" y="1698"/>
                  </a:lnTo>
                  <a:lnTo>
                    <a:pt x="1434" y="1704"/>
                  </a:lnTo>
                  <a:lnTo>
                    <a:pt x="1434" y="1710"/>
                  </a:lnTo>
                  <a:lnTo>
                    <a:pt x="1440" y="1710"/>
                  </a:lnTo>
                  <a:lnTo>
                    <a:pt x="1446" y="1710"/>
                  </a:lnTo>
                  <a:lnTo>
                    <a:pt x="1446" y="1716"/>
                  </a:lnTo>
                  <a:lnTo>
                    <a:pt x="1440" y="1722"/>
                  </a:lnTo>
                  <a:lnTo>
                    <a:pt x="1440" y="1728"/>
                  </a:lnTo>
                  <a:lnTo>
                    <a:pt x="1440" y="1734"/>
                  </a:lnTo>
                  <a:lnTo>
                    <a:pt x="1440" y="1740"/>
                  </a:lnTo>
                  <a:lnTo>
                    <a:pt x="1440" y="1746"/>
                  </a:lnTo>
                  <a:lnTo>
                    <a:pt x="1440" y="1788"/>
                  </a:lnTo>
                  <a:lnTo>
                    <a:pt x="1440" y="1800"/>
                  </a:lnTo>
                  <a:lnTo>
                    <a:pt x="1440" y="1806"/>
                  </a:lnTo>
                  <a:lnTo>
                    <a:pt x="1440" y="1836"/>
                  </a:lnTo>
                  <a:lnTo>
                    <a:pt x="1440" y="1848"/>
                  </a:lnTo>
                  <a:lnTo>
                    <a:pt x="1446" y="1848"/>
                  </a:lnTo>
                  <a:lnTo>
                    <a:pt x="1446" y="1854"/>
                  </a:lnTo>
                  <a:lnTo>
                    <a:pt x="1452" y="1848"/>
                  </a:lnTo>
                  <a:lnTo>
                    <a:pt x="1458" y="1854"/>
                  </a:lnTo>
                  <a:lnTo>
                    <a:pt x="1452" y="1860"/>
                  </a:lnTo>
                  <a:lnTo>
                    <a:pt x="1452" y="1866"/>
                  </a:lnTo>
                  <a:lnTo>
                    <a:pt x="1458" y="1872"/>
                  </a:lnTo>
                  <a:lnTo>
                    <a:pt x="1464" y="1884"/>
                  </a:lnTo>
                  <a:lnTo>
                    <a:pt x="1428" y="1878"/>
                  </a:lnTo>
                  <a:lnTo>
                    <a:pt x="1356" y="1890"/>
                  </a:lnTo>
                  <a:lnTo>
                    <a:pt x="1296" y="1926"/>
                  </a:lnTo>
                  <a:lnTo>
                    <a:pt x="1266" y="1944"/>
                  </a:lnTo>
                  <a:lnTo>
                    <a:pt x="1224" y="1944"/>
                  </a:lnTo>
                  <a:lnTo>
                    <a:pt x="1188" y="1956"/>
                  </a:lnTo>
                  <a:lnTo>
                    <a:pt x="1188" y="1950"/>
                  </a:lnTo>
                  <a:lnTo>
                    <a:pt x="1176" y="1944"/>
                  </a:lnTo>
                  <a:lnTo>
                    <a:pt x="1176" y="1938"/>
                  </a:lnTo>
                  <a:lnTo>
                    <a:pt x="1170" y="1938"/>
                  </a:lnTo>
                  <a:lnTo>
                    <a:pt x="1164" y="1932"/>
                  </a:lnTo>
                  <a:lnTo>
                    <a:pt x="1158" y="1926"/>
                  </a:lnTo>
                  <a:lnTo>
                    <a:pt x="1158" y="1920"/>
                  </a:lnTo>
                  <a:lnTo>
                    <a:pt x="1152" y="1920"/>
                  </a:lnTo>
                  <a:lnTo>
                    <a:pt x="1146" y="1914"/>
                  </a:lnTo>
                  <a:lnTo>
                    <a:pt x="1146" y="1908"/>
                  </a:lnTo>
                  <a:lnTo>
                    <a:pt x="1140" y="1908"/>
                  </a:lnTo>
                  <a:lnTo>
                    <a:pt x="1134" y="1902"/>
                  </a:lnTo>
                  <a:lnTo>
                    <a:pt x="1134" y="1896"/>
                  </a:lnTo>
                  <a:lnTo>
                    <a:pt x="1116" y="1896"/>
                  </a:lnTo>
                  <a:lnTo>
                    <a:pt x="1104" y="1884"/>
                  </a:lnTo>
                  <a:lnTo>
                    <a:pt x="1092" y="1860"/>
                  </a:lnTo>
                  <a:lnTo>
                    <a:pt x="1068" y="1854"/>
                  </a:lnTo>
                  <a:lnTo>
                    <a:pt x="1032" y="1842"/>
                  </a:lnTo>
                  <a:lnTo>
                    <a:pt x="1008" y="1836"/>
                  </a:lnTo>
                  <a:lnTo>
                    <a:pt x="978" y="1824"/>
                  </a:lnTo>
                  <a:lnTo>
                    <a:pt x="942" y="1818"/>
                  </a:lnTo>
                  <a:lnTo>
                    <a:pt x="924" y="1806"/>
                  </a:lnTo>
                  <a:lnTo>
                    <a:pt x="906" y="1788"/>
                  </a:lnTo>
                  <a:lnTo>
                    <a:pt x="894" y="1776"/>
                  </a:lnTo>
                  <a:lnTo>
                    <a:pt x="864" y="1758"/>
                  </a:lnTo>
                  <a:lnTo>
                    <a:pt x="834" y="1752"/>
                  </a:lnTo>
                  <a:lnTo>
                    <a:pt x="798" y="1746"/>
                  </a:lnTo>
                  <a:lnTo>
                    <a:pt x="792" y="1806"/>
                  </a:lnTo>
                  <a:lnTo>
                    <a:pt x="798" y="1812"/>
                  </a:lnTo>
                  <a:lnTo>
                    <a:pt x="810" y="1830"/>
                  </a:lnTo>
                  <a:lnTo>
                    <a:pt x="792" y="1842"/>
                  </a:lnTo>
                  <a:lnTo>
                    <a:pt x="768" y="1842"/>
                  </a:lnTo>
                  <a:lnTo>
                    <a:pt x="708" y="1848"/>
                  </a:lnTo>
                  <a:lnTo>
                    <a:pt x="690" y="1860"/>
                  </a:lnTo>
                  <a:lnTo>
                    <a:pt x="690" y="1866"/>
                  </a:lnTo>
                  <a:lnTo>
                    <a:pt x="678" y="1878"/>
                  </a:lnTo>
                  <a:lnTo>
                    <a:pt x="660" y="1884"/>
                  </a:lnTo>
                  <a:lnTo>
                    <a:pt x="660" y="1902"/>
                  </a:lnTo>
                  <a:lnTo>
                    <a:pt x="642" y="1902"/>
                  </a:lnTo>
                  <a:lnTo>
                    <a:pt x="582" y="1914"/>
                  </a:lnTo>
                  <a:lnTo>
                    <a:pt x="534" y="1908"/>
                  </a:lnTo>
                  <a:lnTo>
                    <a:pt x="510" y="1908"/>
                  </a:lnTo>
                  <a:lnTo>
                    <a:pt x="510" y="1896"/>
                  </a:lnTo>
                  <a:lnTo>
                    <a:pt x="492" y="1896"/>
                  </a:lnTo>
                  <a:lnTo>
                    <a:pt x="486" y="1902"/>
                  </a:lnTo>
                  <a:lnTo>
                    <a:pt x="474" y="1908"/>
                  </a:lnTo>
                  <a:lnTo>
                    <a:pt x="450" y="1908"/>
                  </a:lnTo>
                  <a:lnTo>
                    <a:pt x="432" y="1902"/>
                  </a:lnTo>
                  <a:lnTo>
                    <a:pt x="426" y="1896"/>
                  </a:lnTo>
                  <a:lnTo>
                    <a:pt x="402" y="1884"/>
                  </a:lnTo>
                  <a:lnTo>
                    <a:pt x="390" y="1872"/>
                  </a:lnTo>
                  <a:lnTo>
                    <a:pt x="384" y="1872"/>
                  </a:lnTo>
                  <a:lnTo>
                    <a:pt x="378" y="1872"/>
                  </a:lnTo>
                  <a:lnTo>
                    <a:pt x="378" y="1866"/>
                  </a:lnTo>
                  <a:lnTo>
                    <a:pt x="372" y="1860"/>
                  </a:lnTo>
                  <a:lnTo>
                    <a:pt x="372" y="1854"/>
                  </a:lnTo>
                  <a:lnTo>
                    <a:pt x="366" y="1842"/>
                  </a:lnTo>
                  <a:lnTo>
                    <a:pt x="366" y="1836"/>
                  </a:lnTo>
                  <a:lnTo>
                    <a:pt x="348" y="1830"/>
                  </a:lnTo>
                  <a:lnTo>
                    <a:pt x="348" y="1806"/>
                  </a:lnTo>
                  <a:lnTo>
                    <a:pt x="348" y="1800"/>
                  </a:lnTo>
                  <a:lnTo>
                    <a:pt x="348" y="1782"/>
                  </a:lnTo>
                  <a:lnTo>
                    <a:pt x="336" y="1788"/>
                  </a:lnTo>
                  <a:lnTo>
                    <a:pt x="312" y="1794"/>
                  </a:lnTo>
                  <a:lnTo>
                    <a:pt x="288" y="1788"/>
                  </a:lnTo>
                  <a:lnTo>
                    <a:pt x="264" y="1758"/>
                  </a:lnTo>
                  <a:lnTo>
                    <a:pt x="270" y="1758"/>
                  </a:lnTo>
                  <a:lnTo>
                    <a:pt x="270" y="1752"/>
                  </a:lnTo>
                  <a:lnTo>
                    <a:pt x="276" y="1752"/>
                  </a:lnTo>
                  <a:lnTo>
                    <a:pt x="282" y="1746"/>
                  </a:lnTo>
                  <a:lnTo>
                    <a:pt x="300" y="1746"/>
                  </a:lnTo>
                  <a:lnTo>
                    <a:pt x="312" y="1746"/>
                  </a:lnTo>
                  <a:lnTo>
                    <a:pt x="336" y="1710"/>
                  </a:lnTo>
                  <a:lnTo>
                    <a:pt x="342" y="1692"/>
                  </a:lnTo>
                  <a:lnTo>
                    <a:pt x="348" y="1680"/>
                  </a:lnTo>
                  <a:lnTo>
                    <a:pt x="342" y="1650"/>
                  </a:lnTo>
                  <a:lnTo>
                    <a:pt x="354" y="1644"/>
                  </a:lnTo>
                  <a:lnTo>
                    <a:pt x="354" y="1638"/>
                  </a:lnTo>
                  <a:lnTo>
                    <a:pt x="360" y="1632"/>
                  </a:lnTo>
                  <a:lnTo>
                    <a:pt x="354" y="1626"/>
                  </a:lnTo>
                  <a:lnTo>
                    <a:pt x="348" y="1626"/>
                  </a:lnTo>
                  <a:lnTo>
                    <a:pt x="348" y="1620"/>
                  </a:lnTo>
                  <a:lnTo>
                    <a:pt x="342" y="1620"/>
                  </a:lnTo>
                  <a:lnTo>
                    <a:pt x="348" y="1614"/>
                  </a:lnTo>
                  <a:lnTo>
                    <a:pt x="324" y="1566"/>
                  </a:lnTo>
                  <a:lnTo>
                    <a:pt x="318" y="1566"/>
                  </a:lnTo>
                  <a:lnTo>
                    <a:pt x="306" y="1572"/>
                  </a:lnTo>
                  <a:lnTo>
                    <a:pt x="300" y="1572"/>
                  </a:lnTo>
                  <a:lnTo>
                    <a:pt x="294" y="1578"/>
                  </a:lnTo>
                  <a:lnTo>
                    <a:pt x="288" y="1584"/>
                  </a:lnTo>
                  <a:lnTo>
                    <a:pt x="282" y="1584"/>
                  </a:lnTo>
                  <a:lnTo>
                    <a:pt x="282" y="1578"/>
                  </a:lnTo>
                  <a:lnTo>
                    <a:pt x="276" y="1578"/>
                  </a:lnTo>
                  <a:lnTo>
                    <a:pt x="270" y="1578"/>
                  </a:lnTo>
                  <a:lnTo>
                    <a:pt x="264" y="1578"/>
                  </a:lnTo>
                  <a:lnTo>
                    <a:pt x="258" y="1578"/>
                  </a:lnTo>
                  <a:lnTo>
                    <a:pt x="252" y="1578"/>
                  </a:lnTo>
                  <a:lnTo>
                    <a:pt x="252" y="1584"/>
                  </a:lnTo>
                  <a:lnTo>
                    <a:pt x="246" y="1584"/>
                  </a:lnTo>
                  <a:lnTo>
                    <a:pt x="210" y="1584"/>
                  </a:lnTo>
                  <a:lnTo>
                    <a:pt x="204" y="1584"/>
                  </a:lnTo>
                  <a:lnTo>
                    <a:pt x="192" y="1584"/>
                  </a:lnTo>
                  <a:lnTo>
                    <a:pt x="168" y="1596"/>
                  </a:lnTo>
                  <a:lnTo>
                    <a:pt x="156" y="1572"/>
                  </a:lnTo>
                  <a:lnTo>
                    <a:pt x="156" y="1566"/>
                  </a:lnTo>
                  <a:lnTo>
                    <a:pt x="156" y="1560"/>
                  </a:lnTo>
                  <a:lnTo>
                    <a:pt x="162" y="1548"/>
                  </a:lnTo>
                  <a:lnTo>
                    <a:pt x="162" y="1542"/>
                  </a:lnTo>
                  <a:lnTo>
                    <a:pt x="162" y="1536"/>
                  </a:lnTo>
                  <a:lnTo>
                    <a:pt x="168" y="1530"/>
                  </a:lnTo>
                  <a:lnTo>
                    <a:pt x="168" y="1524"/>
                  </a:lnTo>
                  <a:lnTo>
                    <a:pt x="168" y="1518"/>
                  </a:lnTo>
                  <a:lnTo>
                    <a:pt x="174" y="1518"/>
                  </a:lnTo>
                  <a:lnTo>
                    <a:pt x="174" y="1506"/>
                  </a:lnTo>
                  <a:lnTo>
                    <a:pt x="156" y="1470"/>
                  </a:lnTo>
                  <a:lnTo>
                    <a:pt x="138" y="1464"/>
                  </a:lnTo>
                  <a:lnTo>
                    <a:pt x="126" y="1446"/>
                  </a:lnTo>
                  <a:lnTo>
                    <a:pt x="126" y="1440"/>
                  </a:lnTo>
                  <a:lnTo>
                    <a:pt x="126" y="1434"/>
                  </a:lnTo>
                  <a:lnTo>
                    <a:pt x="120" y="1428"/>
                  </a:lnTo>
                  <a:lnTo>
                    <a:pt x="126" y="1398"/>
                  </a:lnTo>
                  <a:lnTo>
                    <a:pt x="120" y="1374"/>
                  </a:lnTo>
                  <a:lnTo>
                    <a:pt x="60" y="1374"/>
                  </a:lnTo>
                  <a:lnTo>
                    <a:pt x="60" y="1368"/>
                  </a:lnTo>
                  <a:lnTo>
                    <a:pt x="54" y="1362"/>
                  </a:lnTo>
                  <a:lnTo>
                    <a:pt x="48" y="1356"/>
                  </a:lnTo>
                  <a:lnTo>
                    <a:pt x="42" y="1356"/>
                  </a:lnTo>
                  <a:lnTo>
                    <a:pt x="42" y="1350"/>
                  </a:lnTo>
                  <a:lnTo>
                    <a:pt x="36" y="1344"/>
                  </a:lnTo>
                  <a:lnTo>
                    <a:pt x="36" y="1338"/>
                  </a:lnTo>
                  <a:lnTo>
                    <a:pt x="30" y="1332"/>
                  </a:lnTo>
                  <a:lnTo>
                    <a:pt x="30" y="1326"/>
                  </a:lnTo>
                  <a:lnTo>
                    <a:pt x="18" y="1326"/>
                  </a:lnTo>
                  <a:lnTo>
                    <a:pt x="18" y="1320"/>
                  </a:lnTo>
                  <a:lnTo>
                    <a:pt x="18" y="1326"/>
                  </a:lnTo>
                  <a:lnTo>
                    <a:pt x="6" y="1320"/>
                  </a:lnTo>
                  <a:lnTo>
                    <a:pt x="0" y="1314"/>
                  </a:lnTo>
                  <a:lnTo>
                    <a:pt x="12" y="1266"/>
                  </a:lnTo>
                  <a:lnTo>
                    <a:pt x="6" y="1242"/>
                  </a:lnTo>
                  <a:lnTo>
                    <a:pt x="12" y="1236"/>
                  </a:lnTo>
                  <a:lnTo>
                    <a:pt x="12" y="1230"/>
                  </a:lnTo>
                  <a:lnTo>
                    <a:pt x="18" y="1230"/>
                  </a:lnTo>
                  <a:lnTo>
                    <a:pt x="18" y="1224"/>
                  </a:lnTo>
                  <a:lnTo>
                    <a:pt x="24" y="1218"/>
                  </a:lnTo>
                  <a:lnTo>
                    <a:pt x="24" y="1212"/>
                  </a:lnTo>
                  <a:lnTo>
                    <a:pt x="30" y="1212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48" y="1188"/>
                  </a:lnTo>
                  <a:lnTo>
                    <a:pt x="48" y="1182"/>
                  </a:lnTo>
                  <a:lnTo>
                    <a:pt x="48" y="1176"/>
                  </a:lnTo>
                  <a:lnTo>
                    <a:pt x="48" y="1170"/>
                  </a:lnTo>
                  <a:lnTo>
                    <a:pt x="54" y="1170"/>
                  </a:lnTo>
                  <a:lnTo>
                    <a:pt x="60" y="1164"/>
                  </a:lnTo>
                  <a:lnTo>
                    <a:pt x="60" y="1158"/>
                  </a:lnTo>
                  <a:lnTo>
                    <a:pt x="66" y="1152"/>
                  </a:lnTo>
                  <a:lnTo>
                    <a:pt x="60" y="1140"/>
                  </a:lnTo>
                  <a:lnTo>
                    <a:pt x="60" y="1134"/>
                  </a:lnTo>
                  <a:lnTo>
                    <a:pt x="54" y="1134"/>
                  </a:lnTo>
                  <a:lnTo>
                    <a:pt x="54" y="1128"/>
                  </a:lnTo>
                  <a:lnTo>
                    <a:pt x="48" y="1122"/>
                  </a:lnTo>
                  <a:lnTo>
                    <a:pt x="48" y="1116"/>
                  </a:lnTo>
                  <a:lnTo>
                    <a:pt x="48" y="1110"/>
                  </a:lnTo>
                  <a:lnTo>
                    <a:pt x="42" y="1104"/>
                  </a:lnTo>
                  <a:lnTo>
                    <a:pt x="42" y="1098"/>
                  </a:lnTo>
                  <a:lnTo>
                    <a:pt x="36" y="1092"/>
                  </a:lnTo>
                  <a:lnTo>
                    <a:pt x="30" y="1092"/>
                  </a:lnTo>
                  <a:lnTo>
                    <a:pt x="24" y="1092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18" y="1080"/>
                  </a:lnTo>
                  <a:lnTo>
                    <a:pt x="18" y="1074"/>
                  </a:lnTo>
                  <a:lnTo>
                    <a:pt x="12" y="1068"/>
                  </a:lnTo>
                  <a:lnTo>
                    <a:pt x="6" y="1068"/>
                  </a:lnTo>
                  <a:lnTo>
                    <a:pt x="12" y="1056"/>
                  </a:lnTo>
                  <a:lnTo>
                    <a:pt x="6" y="1056"/>
                  </a:lnTo>
                  <a:lnTo>
                    <a:pt x="6" y="1050"/>
                  </a:lnTo>
                  <a:lnTo>
                    <a:pt x="6" y="1044"/>
                  </a:lnTo>
                  <a:lnTo>
                    <a:pt x="6" y="1026"/>
                  </a:lnTo>
                  <a:lnTo>
                    <a:pt x="12" y="1020"/>
                  </a:lnTo>
                  <a:lnTo>
                    <a:pt x="12" y="1014"/>
                  </a:lnTo>
                  <a:lnTo>
                    <a:pt x="18" y="1014"/>
                  </a:lnTo>
                  <a:lnTo>
                    <a:pt x="18" y="1008"/>
                  </a:lnTo>
                  <a:lnTo>
                    <a:pt x="18" y="1002"/>
                  </a:lnTo>
                  <a:lnTo>
                    <a:pt x="18" y="990"/>
                  </a:lnTo>
                  <a:lnTo>
                    <a:pt x="12" y="972"/>
                  </a:lnTo>
                  <a:lnTo>
                    <a:pt x="18" y="954"/>
                  </a:lnTo>
                  <a:lnTo>
                    <a:pt x="18" y="948"/>
                  </a:lnTo>
                  <a:lnTo>
                    <a:pt x="24" y="948"/>
                  </a:lnTo>
                  <a:lnTo>
                    <a:pt x="24" y="930"/>
                  </a:lnTo>
                  <a:lnTo>
                    <a:pt x="30" y="930"/>
                  </a:lnTo>
                  <a:lnTo>
                    <a:pt x="36" y="918"/>
                  </a:lnTo>
                  <a:lnTo>
                    <a:pt x="42" y="918"/>
                  </a:lnTo>
                  <a:lnTo>
                    <a:pt x="48" y="918"/>
                  </a:lnTo>
                  <a:lnTo>
                    <a:pt x="78" y="912"/>
                  </a:lnTo>
                  <a:lnTo>
                    <a:pt x="90" y="894"/>
                  </a:lnTo>
                  <a:lnTo>
                    <a:pt x="96" y="894"/>
                  </a:lnTo>
                  <a:lnTo>
                    <a:pt x="102" y="888"/>
                  </a:lnTo>
                  <a:lnTo>
                    <a:pt x="102" y="882"/>
                  </a:lnTo>
                  <a:lnTo>
                    <a:pt x="114" y="870"/>
                  </a:lnTo>
                  <a:lnTo>
                    <a:pt x="120" y="864"/>
                  </a:lnTo>
                  <a:lnTo>
                    <a:pt x="120" y="852"/>
                  </a:lnTo>
                  <a:lnTo>
                    <a:pt x="120" y="846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32" y="840"/>
                  </a:lnTo>
                  <a:lnTo>
                    <a:pt x="138" y="840"/>
                  </a:lnTo>
                  <a:lnTo>
                    <a:pt x="138" y="834"/>
                  </a:lnTo>
                  <a:lnTo>
                    <a:pt x="144" y="834"/>
                  </a:lnTo>
                  <a:lnTo>
                    <a:pt x="144" y="828"/>
                  </a:lnTo>
                  <a:lnTo>
                    <a:pt x="150" y="828"/>
                  </a:lnTo>
                  <a:lnTo>
                    <a:pt x="156" y="822"/>
                  </a:lnTo>
                  <a:lnTo>
                    <a:pt x="162" y="816"/>
                  </a:lnTo>
                  <a:lnTo>
                    <a:pt x="162" y="822"/>
                  </a:lnTo>
                  <a:lnTo>
                    <a:pt x="162" y="816"/>
                  </a:lnTo>
                  <a:lnTo>
                    <a:pt x="162" y="810"/>
                  </a:lnTo>
                  <a:lnTo>
                    <a:pt x="168" y="810"/>
                  </a:lnTo>
                  <a:lnTo>
                    <a:pt x="174" y="804"/>
                  </a:lnTo>
                  <a:lnTo>
                    <a:pt x="180" y="798"/>
                  </a:lnTo>
                  <a:lnTo>
                    <a:pt x="180" y="786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8" y="780"/>
                  </a:lnTo>
                  <a:lnTo>
                    <a:pt x="204" y="774"/>
                  </a:lnTo>
                  <a:lnTo>
                    <a:pt x="210" y="774"/>
                  </a:lnTo>
                  <a:lnTo>
                    <a:pt x="216" y="768"/>
                  </a:lnTo>
                  <a:lnTo>
                    <a:pt x="222" y="762"/>
                  </a:lnTo>
                  <a:lnTo>
                    <a:pt x="228" y="762"/>
                  </a:lnTo>
                  <a:lnTo>
                    <a:pt x="228" y="768"/>
                  </a:lnTo>
                  <a:lnTo>
                    <a:pt x="234" y="768"/>
                  </a:lnTo>
                  <a:lnTo>
                    <a:pt x="240" y="762"/>
                  </a:lnTo>
                  <a:lnTo>
                    <a:pt x="252" y="762"/>
                  </a:lnTo>
                  <a:lnTo>
                    <a:pt x="264" y="768"/>
                  </a:lnTo>
                  <a:lnTo>
                    <a:pt x="294" y="756"/>
                  </a:lnTo>
                  <a:lnTo>
                    <a:pt x="294" y="750"/>
                  </a:lnTo>
                  <a:lnTo>
                    <a:pt x="300" y="750"/>
                  </a:lnTo>
                  <a:lnTo>
                    <a:pt x="306" y="744"/>
                  </a:lnTo>
                  <a:lnTo>
                    <a:pt x="342" y="750"/>
                  </a:lnTo>
                  <a:lnTo>
                    <a:pt x="348" y="750"/>
                  </a:lnTo>
                  <a:lnTo>
                    <a:pt x="348" y="744"/>
                  </a:lnTo>
                  <a:lnTo>
                    <a:pt x="354" y="744"/>
                  </a:lnTo>
                  <a:lnTo>
                    <a:pt x="360" y="744"/>
                  </a:lnTo>
                  <a:lnTo>
                    <a:pt x="360" y="750"/>
                  </a:lnTo>
                  <a:lnTo>
                    <a:pt x="366" y="750"/>
                  </a:lnTo>
                  <a:lnTo>
                    <a:pt x="366" y="744"/>
                  </a:lnTo>
                  <a:lnTo>
                    <a:pt x="366" y="738"/>
                  </a:lnTo>
                  <a:lnTo>
                    <a:pt x="372" y="744"/>
                  </a:lnTo>
                  <a:lnTo>
                    <a:pt x="378" y="744"/>
                  </a:lnTo>
                  <a:lnTo>
                    <a:pt x="384" y="750"/>
                  </a:lnTo>
                  <a:lnTo>
                    <a:pt x="444" y="774"/>
                  </a:lnTo>
                  <a:lnTo>
                    <a:pt x="450" y="774"/>
                  </a:lnTo>
                  <a:lnTo>
                    <a:pt x="456" y="768"/>
                  </a:lnTo>
                  <a:lnTo>
                    <a:pt x="462" y="768"/>
                  </a:lnTo>
                  <a:lnTo>
                    <a:pt x="462" y="762"/>
                  </a:lnTo>
                  <a:lnTo>
                    <a:pt x="468" y="762"/>
                  </a:lnTo>
                  <a:lnTo>
                    <a:pt x="474" y="756"/>
                  </a:lnTo>
                  <a:lnTo>
                    <a:pt x="480" y="750"/>
                  </a:lnTo>
                  <a:lnTo>
                    <a:pt x="516" y="756"/>
                  </a:lnTo>
                  <a:lnTo>
                    <a:pt x="522" y="756"/>
                  </a:lnTo>
                  <a:lnTo>
                    <a:pt x="522" y="762"/>
                  </a:lnTo>
                  <a:lnTo>
                    <a:pt x="522" y="768"/>
                  </a:lnTo>
                  <a:lnTo>
                    <a:pt x="522" y="774"/>
                  </a:lnTo>
                  <a:lnTo>
                    <a:pt x="528" y="780"/>
                  </a:lnTo>
                  <a:lnTo>
                    <a:pt x="540" y="780"/>
                  </a:lnTo>
                  <a:lnTo>
                    <a:pt x="540" y="804"/>
                  </a:lnTo>
                  <a:lnTo>
                    <a:pt x="540" y="810"/>
                  </a:lnTo>
                  <a:lnTo>
                    <a:pt x="546" y="810"/>
                  </a:lnTo>
                  <a:lnTo>
                    <a:pt x="552" y="810"/>
                  </a:lnTo>
                  <a:lnTo>
                    <a:pt x="558" y="810"/>
                  </a:lnTo>
                  <a:lnTo>
                    <a:pt x="564" y="810"/>
                  </a:lnTo>
                  <a:lnTo>
                    <a:pt x="570" y="810"/>
                  </a:lnTo>
                  <a:lnTo>
                    <a:pt x="576" y="810"/>
                  </a:lnTo>
                  <a:lnTo>
                    <a:pt x="576" y="816"/>
                  </a:lnTo>
                  <a:lnTo>
                    <a:pt x="588" y="816"/>
                  </a:lnTo>
                  <a:lnTo>
                    <a:pt x="594" y="816"/>
                  </a:lnTo>
                  <a:lnTo>
                    <a:pt x="600" y="822"/>
                  </a:lnTo>
                  <a:lnTo>
                    <a:pt x="606" y="816"/>
                  </a:lnTo>
                  <a:lnTo>
                    <a:pt x="612" y="816"/>
                  </a:lnTo>
                  <a:lnTo>
                    <a:pt x="612" y="810"/>
                  </a:lnTo>
                  <a:lnTo>
                    <a:pt x="624" y="810"/>
                  </a:lnTo>
                  <a:lnTo>
                    <a:pt x="624" y="804"/>
                  </a:lnTo>
                  <a:lnTo>
                    <a:pt x="630" y="798"/>
                  </a:lnTo>
                  <a:lnTo>
                    <a:pt x="636" y="798"/>
                  </a:lnTo>
                  <a:lnTo>
                    <a:pt x="636" y="804"/>
                  </a:lnTo>
                  <a:lnTo>
                    <a:pt x="642" y="804"/>
                  </a:lnTo>
                  <a:lnTo>
                    <a:pt x="648" y="804"/>
                  </a:lnTo>
                  <a:lnTo>
                    <a:pt x="654" y="804"/>
                  </a:lnTo>
                  <a:lnTo>
                    <a:pt x="660" y="804"/>
                  </a:lnTo>
                  <a:lnTo>
                    <a:pt x="678" y="798"/>
                  </a:lnTo>
                  <a:lnTo>
                    <a:pt x="714" y="786"/>
                  </a:lnTo>
                  <a:lnTo>
                    <a:pt x="714" y="792"/>
                  </a:lnTo>
                  <a:lnTo>
                    <a:pt x="714" y="798"/>
                  </a:lnTo>
                  <a:lnTo>
                    <a:pt x="714" y="804"/>
                  </a:lnTo>
                  <a:lnTo>
                    <a:pt x="720" y="804"/>
                  </a:lnTo>
                  <a:lnTo>
                    <a:pt x="720" y="810"/>
                  </a:lnTo>
                  <a:lnTo>
                    <a:pt x="720" y="816"/>
                  </a:lnTo>
                  <a:lnTo>
                    <a:pt x="726" y="822"/>
                  </a:lnTo>
                  <a:lnTo>
                    <a:pt x="732" y="828"/>
                  </a:lnTo>
                  <a:lnTo>
                    <a:pt x="732" y="834"/>
                  </a:lnTo>
                  <a:lnTo>
                    <a:pt x="732" y="846"/>
                  </a:lnTo>
                  <a:lnTo>
                    <a:pt x="732" y="858"/>
                  </a:lnTo>
                  <a:lnTo>
                    <a:pt x="738" y="858"/>
                  </a:lnTo>
                  <a:lnTo>
                    <a:pt x="732" y="864"/>
                  </a:lnTo>
                  <a:lnTo>
                    <a:pt x="732" y="870"/>
                  </a:lnTo>
                  <a:lnTo>
                    <a:pt x="726" y="870"/>
                  </a:lnTo>
                  <a:lnTo>
                    <a:pt x="726" y="876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0" y="882"/>
                  </a:lnTo>
                  <a:lnTo>
                    <a:pt x="690" y="912"/>
                  </a:lnTo>
                  <a:lnTo>
                    <a:pt x="696" y="936"/>
                  </a:lnTo>
                  <a:lnTo>
                    <a:pt x="702" y="936"/>
                  </a:lnTo>
                  <a:lnTo>
                    <a:pt x="702" y="930"/>
                  </a:lnTo>
                  <a:lnTo>
                    <a:pt x="708" y="930"/>
                  </a:lnTo>
                  <a:lnTo>
                    <a:pt x="708" y="924"/>
                  </a:lnTo>
                  <a:lnTo>
                    <a:pt x="708" y="918"/>
                  </a:lnTo>
                  <a:lnTo>
                    <a:pt x="714" y="918"/>
                  </a:lnTo>
                  <a:lnTo>
                    <a:pt x="720" y="954"/>
                  </a:lnTo>
                  <a:lnTo>
                    <a:pt x="726" y="966"/>
                  </a:lnTo>
                  <a:lnTo>
                    <a:pt x="744" y="966"/>
                  </a:lnTo>
                  <a:lnTo>
                    <a:pt x="756" y="972"/>
                  </a:lnTo>
                  <a:lnTo>
                    <a:pt x="792" y="990"/>
                  </a:lnTo>
                  <a:lnTo>
                    <a:pt x="828" y="978"/>
                  </a:lnTo>
                  <a:lnTo>
                    <a:pt x="834" y="978"/>
                  </a:lnTo>
                  <a:lnTo>
                    <a:pt x="840" y="978"/>
                  </a:lnTo>
                  <a:lnTo>
                    <a:pt x="840" y="984"/>
                  </a:lnTo>
                  <a:lnTo>
                    <a:pt x="846" y="984"/>
                  </a:lnTo>
                  <a:lnTo>
                    <a:pt x="858" y="972"/>
                  </a:lnTo>
                  <a:lnTo>
                    <a:pt x="882" y="972"/>
                  </a:lnTo>
                  <a:lnTo>
                    <a:pt x="888" y="984"/>
                  </a:lnTo>
                  <a:lnTo>
                    <a:pt x="900" y="990"/>
                  </a:lnTo>
                  <a:lnTo>
                    <a:pt x="924" y="996"/>
                  </a:lnTo>
                  <a:lnTo>
                    <a:pt x="930" y="990"/>
                  </a:lnTo>
                  <a:lnTo>
                    <a:pt x="930" y="984"/>
                  </a:lnTo>
                  <a:lnTo>
                    <a:pt x="924" y="978"/>
                  </a:lnTo>
                  <a:lnTo>
                    <a:pt x="906" y="972"/>
                  </a:lnTo>
                  <a:lnTo>
                    <a:pt x="900" y="966"/>
                  </a:lnTo>
                  <a:lnTo>
                    <a:pt x="900" y="960"/>
                  </a:lnTo>
                  <a:lnTo>
                    <a:pt x="900" y="954"/>
                  </a:lnTo>
                  <a:lnTo>
                    <a:pt x="900" y="948"/>
                  </a:lnTo>
                  <a:lnTo>
                    <a:pt x="912" y="936"/>
                  </a:lnTo>
                  <a:lnTo>
                    <a:pt x="912" y="924"/>
                  </a:lnTo>
                  <a:lnTo>
                    <a:pt x="918" y="924"/>
                  </a:lnTo>
                  <a:lnTo>
                    <a:pt x="918" y="918"/>
                  </a:lnTo>
                  <a:lnTo>
                    <a:pt x="936" y="906"/>
                  </a:lnTo>
                  <a:lnTo>
                    <a:pt x="942" y="906"/>
                  </a:lnTo>
                  <a:lnTo>
                    <a:pt x="948" y="906"/>
                  </a:lnTo>
                  <a:lnTo>
                    <a:pt x="954" y="906"/>
                  </a:lnTo>
                  <a:lnTo>
                    <a:pt x="960" y="906"/>
                  </a:lnTo>
                  <a:lnTo>
                    <a:pt x="966" y="912"/>
                  </a:lnTo>
                  <a:lnTo>
                    <a:pt x="972" y="906"/>
                  </a:lnTo>
                  <a:lnTo>
                    <a:pt x="978" y="906"/>
                  </a:lnTo>
                  <a:lnTo>
                    <a:pt x="984" y="900"/>
                  </a:lnTo>
                  <a:lnTo>
                    <a:pt x="984" y="894"/>
                  </a:lnTo>
                  <a:lnTo>
                    <a:pt x="990" y="894"/>
                  </a:lnTo>
                  <a:lnTo>
                    <a:pt x="996" y="888"/>
                  </a:lnTo>
                  <a:lnTo>
                    <a:pt x="1002" y="888"/>
                  </a:lnTo>
                  <a:lnTo>
                    <a:pt x="1008" y="882"/>
                  </a:lnTo>
                  <a:lnTo>
                    <a:pt x="1014" y="882"/>
                  </a:lnTo>
                  <a:lnTo>
                    <a:pt x="1020" y="882"/>
                  </a:lnTo>
                  <a:lnTo>
                    <a:pt x="1020" y="888"/>
                  </a:lnTo>
                  <a:lnTo>
                    <a:pt x="1026" y="882"/>
                  </a:lnTo>
                  <a:lnTo>
                    <a:pt x="1026" y="876"/>
                  </a:lnTo>
                  <a:lnTo>
                    <a:pt x="1026" y="870"/>
                  </a:lnTo>
                  <a:lnTo>
                    <a:pt x="1032" y="864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44" y="852"/>
                  </a:lnTo>
                  <a:lnTo>
                    <a:pt x="1038" y="846"/>
                  </a:lnTo>
                  <a:lnTo>
                    <a:pt x="1038" y="840"/>
                  </a:lnTo>
                  <a:lnTo>
                    <a:pt x="1032" y="840"/>
                  </a:lnTo>
                  <a:lnTo>
                    <a:pt x="1026" y="840"/>
                  </a:lnTo>
                  <a:lnTo>
                    <a:pt x="1020" y="840"/>
                  </a:lnTo>
                  <a:lnTo>
                    <a:pt x="1014" y="846"/>
                  </a:lnTo>
                  <a:lnTo>
                    <a:pt x="1008" y="846"/>
                  </a:lnTo>
                  <a:lnTo>
                    <a:pt x="1002" y="840"/>
                  </a:lnTo>
                  <a:lnTo>
                    <a:pt x="996" y="840"/>
                  </a:lnTo>
                  <a:lnTo>
                    <a:pt x="990" y="834"/>
                  </a:lnTo>
                  <a:lnTo>
                    <a:pt x="984" y="834"/>
                  </a:lnTo>
                  <a:lnTo>
                    <a:pt x="978" y="834"/>
                  </a:lnTo>
                  <a:lnTo>
                    <a:pt x="972" y="834"/>
                  </a:lnTo>
                  <a:lnTo>
                    <a:pt x="966" y="834"/>
                  </a:lnTo>
                  <a:lnTo>
                    <a:pt x="966" y="828"/>
                  </a:lnTo>
                  <a:lnTo>
                    <a:pt x="960" y="828"/>
                  </a:lnTo>
                  <a:lnTo>
                    <a:pt x="954" y="828"/>
                  </a:lnTo>
                  <a:lnTo>
                    <a:pt x="942" y="828"/>
                  </a:lnTo>
                  <a:lnTo>
                    <a:pt x="936" y="828"/>
                  </a:lnTo>
                  <a:lnTo>
                    <a:pt x="930" y="828"/>
                  </a:lnTo>
                  <a:lnTo>
                    <a:pt x="918" y="828"/>
                  </a:lnTo>
                  <a:lnTo>
                    <a:pt x="918" y="822"/>
                  </a:lnTo>
                  <a:lnTo>
                    <a:pt x="912" y="828"/>
                  </a:lnTo>
                  <a:lnTo>
                    <a:pt x="912" y="822"/>
                  </a:lnTo>
                  <a:lnTo>
                    <a:pt x="906" y="816"/>
                  </a:lnTo>
                  <a:lnTo>
                    <a:pt x="900" y="816"/>
                  </a:lnTo>
                  <a:lnTo>
                    <a:pt x="894" y="816"/>
                  </a:lnTo>
                  <a:lnTo>
                    <a:pt x="888" y="816"/>
                  </a:lnTo>
                  <a:lnTo>
                    <a:pt x="882" y="816"/>
                  </a:lnTo>
                  <a:lnTo>
                    <a:pt x="882" y="810"/>
                  </a:lnTo>
                  <a:lnTo>
                    <a:pt x="876" y="804"/>
                  </a:lnTo>
                  <a:lnTo>
                    <a:pt x="870" y="804"/>
                  </a:lnTo>
                  <a:lnTo>
                    <a:pt x="864" y="798"/>
                  </a:lnTo>
                  <a:lnTo>
                    <a:pt x="858" y="798"/>
                  </a:lnTo>
                  <a:lnTo>
                    <a:pt x="858" y="804"/>
                  </a:lnTo>
                  <a:lnTo>
                    <a:pt x="852" y="804"/>
                  </a:lnTo>
                  <a:lnTo>
                    <a:pt x="846" y="804"/>
                  </a:lnTo>
                  <a:lnTo>
                    <a:pt x="846" y="798"/>
                  </a:lnTo>
                  <a:lnTo>
                    <a:pt x="840" y="804"/>
                  </a:lnTo>
                  <a:lnTo>
                    <a:pt x="834" y="804"/>
                  </a:lnTo>
                  <a:lnTo>
                    <a:pt x="828" y="804"/>
                  </a:lnTo>
                  <a:lnTo>
                    <a:pt x="828" y="810"/>
                  </a:lnTo>
                  <a:lnTo>
                    <a:pt x="822" y="810"/>
                  </a:lnTo>
                  <a:lnTo>
                    <a:pt x="810" y="804"/>
                  </a:lnTo>
                  <a:lnTo>
                    <a:pt x="810" y="798"/>
                  </a:lnTo>
                  <a:lnTo>
                    <a:pt x="780" y="798"/>
                  </a:lnTo>
                  <a:lnTo>
                    <a:pt x="756" y="774"/>
                  </a:lnTo>
                  <a:lnTo>
                    <a:pt x="750" y="768"/>
                  </a:lnTo>
                  <a:lnTo>
                    <a:pt x="750" y="744"/>
                  </a:lnTo>
                  <a:lnTo>
                    <a:pt x="732" y="738"/>
                  </a:lnTo>
                  <a:lnTo>
                    <a:pt x="732" y="720"/>
                  </a:lnTo>
                  <a:lnTo>
                    <a:pt x="714" y="690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6" y="666"/>
                  </a:lnTo>
                  <a:lnTo>
                    <a:pt x="690" y="666"/>
                  </a:lnTo>
                  <a:lnTo>
                    <a:pt x="678" y="672"/>
                  </a:lnTo>
                  <a:lnTo>
                    <a:pt x="678" y="654"/>
                  </a:lnTo>
                  <a:lnTo>
                    <a:pt x="684" y="630"/>
                  </a:lnTo>
                  <a:lnTo>
                    <a:pt x="690" y="618"/>
                  </a:lnTo>
                  <a:lnTo>
                    <a:pt x="696" y="612"/>
                  </a:lnTo>
                  <a:lnTo>
                    <a:pt x="696" y="588"/>
                  </a:lnTo>
                  <a:lnTo>
                    <a:pt x="690" y="576"/>
                  </a:lnTo>
                  <a:lnTo>
                    <a:pt x="696" y="552"/>
                  </a:lnTo>
                  <a:lnTo>
                    <a:pt x="684" y="522"/>
                  </a:lnTo>
                  <a:lnTo>
                    <a:pt x="672" y="504"/>
                  </a:lnTo>
                  <a:lnTo>
                    <a:pt x="654" y="504"/>
                  </a:lnTo>
                  <a:lnTo>
                    <a:pt x="642" y="504"/>
                  </a:lnTo>
                  <a:lnTo>
                    <a:pt x="624" y="510"/>
                  </a:lnTo>
                  <a:lnTo>
                    <a:pt x="612" y="516"/>
                  </a:lnTo>
                  <a:lnTo>
                    <a:pt x="594" y="516"/>
                  </a:lnTo>
                  <a:lnTo>
                    <a:pt x="588" y="516"/>
                  </a:lnTo>
                  <a:lnTo>
                    <a:pt x="588" y="522"/>
                  </a:lnTo>
                  <a:lnTo>
                    <a:pt x="582" y="516"/>
                  </a:lnTo>
                  <a:lnTo>
                    <a:pt x="588" y="510"/>
                  </a:lnTo>
                  <a:lnTo>
                    <a:pt x="582" y="510"/>
                  </a:lnTo>
                  <a:lnTo>
                    <a:pt x="582" y="504"/>
                  </a:lnTo>
                  <a:lnTo>
                    <a:pt x="576" y="498"/>
                  </a:lnTo>
                  <a:lnTo>
                    <a:pt x="570" y="498"/>
                  </a:lnTo>
                  <a:lnTo>
                    <a:pt x="570" y="492"/>
                  </a:lnTo>
                  <a:lnTo>
                    <a:pt x="564" y="492"/>
                  </a:lnTo>
                  <a:lnTo>
                    <a:pt x="570" y="486"/>
                  </a:lnTo>
                  <a:lnTo>
                    <a:pt x="564" y="486"/>
                  </a:lnTo>
                  <a:lnTo>
                    <a:pt x="564" y="480"/>
                  </a:lnTo>
                  <a:lnTo>
                    <a:pt x="564" y="474"/>
                  </a:lnTo>
                  <a:lnTo>
                    <a:pt x="558" y="468"/>
                  </a:lnTo>
                  <a:lnTo>
                    <a:pt x="564" y="468"/>
                  </a:lnTo>
                  <a:lnTo>
                    <a:pt x="564" y="462"/>
                  </a:lnTo>
                  <a:lnTo>
                    <a:pt x="570" y="462"/>
                  </a:lnTo>
                  <a:lnTo>
                    <a:pt x="570" y="456"/>
                  </a:lnTo>
                  <a:lnTo>
                    <a:pt x="570" y="450"/>
                  </a:lnTo>
                  <a:lnTo>
                    <a:pt x="576" y="450"/>
                  </a:lnTo>
                  <a:lnTo>
                    <a:pt x="576" y="444"/>
                  </a:lnTo>
                  <a:lnTo>
                    <a:pt x="582" y="438"/>
                  </a:lnTo>
                  <a:lnTo>
                    <a:pt x="588" y="438"/>
                  </a:lnTo>
                  <a:lnTo>
                    <a:pt x="588" y="444"/>
                  </a:lnTo>
                  <a:lnTo>
                    <a:pt x="594" y="438"/>
                  </a:lnTo>
                  <a:lnTo>
                    <a:pt x="594" y="432"/>
                  </a:lnTo>
                  <a:lnTo>
                    <a:pt x="600" y="432"/>
                  </a:lnTo>
                  <a:lnTo>
                    <a:pt x="600" y="426"/>
                  </a:lnTo>
                  <a:lnTo>
                    <a:pt x="600" y="420"/>
                  </a:lnTo>
                  <a:lnTo>
                    <a:pt x="606" y="420"/>
                  </a:lnTo>
                  <a:lnTo>
                    <a:pt x="600" y="420"/>
                  </a:lnTo>
                  <a:lnTo>
                    <a:pt x="600" y="414"/>
                  </a:lnTo>
                  <a:lnTo>
                    <a:pt x="606" y="408"/>
                  </a:lnTo>
                  <a:lnTo>
                    <a:pt x="612" y="408"/>
                  </a:lnTo>
                  <a:lnTo>
                    <a:pt x="612" y="414"/>
                  </a:lnTo>
                  <a:lnTo>
                    <a:pt x="618" y="414"/>
                  </a:lnTo>
                  <a:lnTo>
                    <a:pt x="624" y="414"/>
                  </a:lnTo>
                  <a:lnTo>
                    <a:pt x="630" y="414"/>
                  </a:lnTo>
                  <a:lnTo>
                    <a:pt x="636" y="414"/>
                  </a:lnTo>
                  <a:lnTo>
                    <a:pt x="642" y="408"/>
                  </a:lnTo>
                  <a:lnTo>
                    <a:pt x="648" y="408"/>
                  </a:lnTo>
                  <a:lnTo>
                    <a:pt x="660" y="408"/>
                  </a:lnTo>
                  <a:lnTo>
                    <a:pt x="666" y="402"/>
                  </a:lnTo>
                  <a:lnTo>
                    <a:pt x="672" y="402"/>
                  </a:lnTo>
                  <a:lnTo>
                    <a:pt x="684" y="396"/>
                  </a:lnTo>
                  <a:lnTo>
                    <a:pt x="690" y="396"/>
                  </a:lnTo>
                  <a:lnTo>
                    <a:pt x="696" y="396"/>
                  </a:lnTo>
                  <a:lnTo>
                    <a:pt x="702" y="396"/>
                  </a:lnTo>
                  <a:lnTo>
                    <a:pt x="708" y="396"/>
                  </a:lnTo>
                  <a:lnTo>
                    <a:pt x="714" y="390"/>
                  </a:lnTo>
                  <a:lnTo>
                    <a:pt x="714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32" y="384"/>
                  </a:lnTo>
                  <a:lnTo>
                    <a:pt x="738" y="378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56" y="372"/>
                  </a:lnTo>
                  <a:lnTo>
                    <a:pt x="762" y="366"/>
                  </a:lnTo>
                  <a:lnTo>
                    <a:pt x="768" y="366"/>
                  </a:lnTo>
                  <a:lnTo>
                    <a:pt x="774" y="366"/>
                  </a:lnTo>
                  <a:lnTo>
                    <a:pt x="774" y="360"/>
                  </a:lnTo>
                  <a:lnTo>
                    <a:pt x="780" y="366"/>
                  </a:lnTo>
                  <a:lnTo>
                    <a:pt x="786" y="366"/>
                  </a:lnTo>
                  <a:lnTo>
                    <a:pt x="786" y="360"/>
                  </a:lnTo>
                  <a:lnTo>
                    <a:pt x="792" y="354"/>
                  </a:lnTo>
                  <a:lnTo>
                    <a:pt x="786" y="354"/>
                  </a:lnTo>
                  <a:lnTo>
                    <a:pt x="792" y="348"/>
                  </a:lnTo>
                  <a:lnTo>
                    <a:pt x="798" y="348"/>
                  </a:lnTo>
                  <a:lnTo>
                    <a:pt x="804" y="348"/>
                  </a:lnTo>
                  <a:lnTo>
                    <a:pt x="810" y="342"/>
                  </a:lnTo>
                  <a:lnTo>
                    <a:pt x="816" y="342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28" y="336"/>
                  </a:lnTo>
                  <a:lnTo>
                    <a:pt x="834" y="336"/>
                  </a:lnTo>
                  <a:lnTo>
                    <a:pt x="840" y="336"/>
                  </a:lnTo>
                  <a:lnTo>
                    <a:pt x="846" y="330"/>
                  </a:lnTo>
                  <a:lnTo>
                    <a:pt x="852" y="330"/>
                  </a:lnTo>
                  <a:lnTo>
                    <a:pt x="858" y="330"/>
                  </a:lnTo>
                  <a:lnTo>
                    <a:pt x="864" y="324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0" y="312"/>
                  </a:lnTo>
                  <a:lnTo>
                    <a:pt x="876" y="312"/>
                  </a:lnTo>
                  <a:lnTo>
                    <a:pt x="882" y="312"/>
                  </a:lnTo>
                  <a:lnTo>
                    <a:pt x="882" y="318"/>
                  </a:lnTo>
                  <a:lnTo>
                    <a:pt x="888" y="312"/>
                  </a:lnTo>
                  <a:lnTo>
                    <a:pt x="894" y="306"/>
                  </a:lnTo>
                  <a:lnTo>
                    <a:pt x="900" y="306"/>
                  </a:lnTo>
                  <a:lnTo>
                    <a:pt x="906" y="306"/>
                  </a:lnTo>
                  <a:lnTo>
                    <a:pt x="912" y="300"/>
                  </a:lnTo>
                  <a:lnTo>
                    <a:pt x="906" y="294"/>
                  </a:lnTo>
                  <a:lnTo>
                    <a:pt x="912" y="276"/>
                  </a:lnTo>
                  <a:lnTo>
                    <a:pt x="912" y="252"/>
                  </a:lnTo>
                  <a:lnTo>
                    <a:pt x="906" y="234"/>
                  </a:lnTo>
                  <a:lnTo>
                    <a:pt x="912" y="228"/>
                  </a:lnTo>
                  <a:lnTo>
                    <a:pt x="912" y="216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24" y="192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36" y="186"/>
                  </a:lnTo>
                  <a:lnTo>
                    <a:pt x="930" y="180"/>
                  </a:lnTo>
                  <a:lnTo>
                    <a:pt x="930" y="174"/>
                  </a:lnTo>
                  <a:lnTo>
                    <a:pt x="936" y="156"/>
                  </a:lnTo>
                  <a:lnTo>
                    <a:pt x="930" y="156"/>
                  </a:lnTo>
                  <a:lnTo>
                    <a:pt x="924" y="150"/>
                  </a:lnTo>
                  <a:lnTo>
                    <a:pt x="942" y="78"/>
                  </a:lnTo>
                  <a:lnTo>
                    <a:pt x="948" y="78"/>
                  </a:lnTo>
                  <a:lnTo>
                    <a:pt x="954" y="66"/>
                  </a:lnTo>
                  <a:lnTo>
                    <a:pt x="954" y="72"/>
                  </a:lnTo>
                  <a:lnTo>
                    <a:pt x="954" y="66"/>
                  </a:lnTo>
                  <a:lnTo>
                    <a:pt x="960" y="66"/>
                  </a:lnTo>
                  <a:lnTo>
                    <a:pt x="966" y="66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54"/>
                  </a:lnTo>
                  <a:lnTo>
                    <a:pt x="990" y="54"/>
                  </a:lnTo>
                  <a:lnTo>
                    <a:pt x="996" y="48"/>
                  </a:lnTo>
                  <a:lnTo>
                    <a:pt x="1002" y="48"/>
                  </a:lnTo>
                  <a:lnTo>
                    <a:pt x="1032" y="48"/>
                  </a:lnTo>
                  <a:lnTo>
                    <a:pt x="1062" y="48"/>
                  </a:lnTo>
                  <a:lnTo>
                    <a:pt x="1068" y="78"/>
                  </a:lnTo>
                  <a:lnTo>
                    <a:pt x="1086" y="78"/>
                  </a:lnTo>
                  <a:lnTo>
                    <a:pt x="1092" y="66"/>
                  </a:lnTo>
                  <a:lnTo>
                    <a:pt x="1092" y="60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8" y="48"/>
                  </a:lnTo>
                  <a:lnTo>
                    <a:pt x="1104" y="48"/>
                  </a:lnTo>
                  <a:lnTo>
                    <a:pt x="1110" y="48"/>
                  </a:lnTo>
                  <a:lnTo>
                    <a:pt x="1110" y="42"/>
                  </a:lnTo>
                  <a:lnTo>
                    <a:pt x="1110" y="36"/>
                  </a:lnTo>
                  <a:lnTo>
                    <a:pt x="1116" y="36"/>
                  </a:lnTo>
                  <a:lnTo>
                    <a:pt x="1116" y="30"/>
                  </a:lnTo>
                  <a:lnTo>
                    <a:pt x="1122" y="30"/>
                  </a:lnTo>
                  <a:lnTo>
                    <a:pt x="1128" y="30"/>
                  </a:lnTo>
                  <a:lnTo>
                    <a:pt x="1134" y="30"/>
                  </a:lnTo>
                  <a:lnTo>
                    <a:pt x="1140" y="24"/>
                  </a:lnTo>
                  <a:lnTo>
                    <a:pt x="1152" y="18"/>
                  </a:lnTo>
                  <a:lnTo>
                    <a:pt x="1158" y="18"/>
                  </a:lnTo>
                  <a:lnTo>
                    <a:pt x="1152" y="12"/>
                  </a:lnTo>
                  <a:lnTo>
                    <a:pt x="1152" y="6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8"/>
                  </a:lnTo>
                  <a:lnTo>
                    <a:pt x="1170" y="12"/>
                  </a:lnTo>
                  <a:lnTo>
                    <a:pt x="1170" y="6"/>
                  </a:lnTo>
                  <a:lnTo>
                    <a:pt x="1176" y="6"/>
                  </a:lnTo>
                  <a:lnTo>
                    <a:pt x="1176" y="0"/>
                  </a:lnTo>
                  <a:lnTo>
                    <a:pt x="1182" y="6"/>
                  </a:lnTo>
                  <a:lnTo>
                    <a:pt x="1188" y="6"/>
                  </a:lnTo>
                  <a:lnTo>
                    <a:pt x="1188" y="0"/>
                  </a:lnTo>
                  <a:lnTo>
                    <a:pt x="1194" y="6"/>
                  </a:lnTo>
                  <a:lnTo>
                    <a:pt x="1200" y="12"/>
                  </a:lnTo>
                  <a:lnTo>
                    <a:pt x="1206" y="18"/>
                  </a:lnTo>
                  <a:lnTo>
                    <a:pt x="1212" y="18"/>
                  </a:lnTo>
                  <a:lnTo>
                    <a:pt x="1218" y="24"/>
                  </a:lnTo>
                  <a:lnTo>
                    <a:pt x="1236" y="36"/>
                  </a:lnTo>
                  <a:lnTo>
                    <a:pt x="1242" y="36"/>
                  </a:lnTo>
                  <a:lnTo>
                    <a:pt x="1248" y="42"/>
                  </a:lnTo>
                  <a:lnTo>
                    <a:pt x="1248" y="48"/>
                  </a:lnTo>
                  <a:lnTo>
                    <a:pt x="1260" y="48"/>
                  </a:lnTo>
                  <a:lnTo>
                    <a:pt x="1260" y="108"/>
                  </a:lnTo>
                  <a:lnTo>
                    <a:pt x="1266" y="168"/>
                  </a:lnTo>
                  <a:lnTo>
                    <a:pt x="1278" y="234"/>
                  </a:lnTo>
                  <a:lnTo>
                    <a:pt x="1284" y="240"/>
                  </a:lnTo>
                  <a:lnTo>
                    <a:pt x="1290" y="264"/>
                  </a:lnTo>
                  <a:lnTo>
                    <a:pt x="1296" y="288"/>
                  </a:lnTo>
                  <a:lnTo>
                    <a:pt x="1296" y="300"/>
                  </a:lnTo>
                  <a:lnTo>
                    <a:pt x="1296" y="312"/>
                  </a:lnTo>
                  <a:lnTo>
                    <a:pt x="1296" y="324"/>
                  </a:lnTo>
                  <a:lnTo>
                    <a:pt x="1296" y="354"/>
                  </a:lnTo>
                  <a:lnTo>
                    <a:pt x="1302" y="366"/>
                  </a:lnTo>
                  <a:lnTo>
                    <a:pt x="1308" y="372"/>
                  </a:lnTo>
                  <a:lnTo>
                    <a:pt x="1308" y="384"/>
                  </a:lnTo>
                  <a:lnTo>
                    <a:pt x="1314" y="390"/>
                  </a:lnTo>
                  <a:lnTo>
                    <a:pt x="1308" y="408"/>
                  </a:lnTo>
                  <a:lnTo>
                    <a:pt x="1314" y="408"/>
                  </a:lnTo>
                  <a:lnTo>
                    <a:pt x="1314" y="414"/>
                  </a:lnTo>
                  <a:lnTo>
                    <a:pt x="1308" y="420"/>
                  </a:lnTo>
                  <a:lnTo>
                    <a:pt x="1308" y="432"/>
                  </a:lnTo>
                  <a:lnTo>
                    <a:pt x="1320" y="432"/>
                  </a:lnTo>
                  <a:lnTo>
                    <a:pt x="1320" y="444"/>
                  </a:lnTo>
                  <a:lnTo>
                    <a:pt x="1332" y="444"/>
                  </a:lnTo>
                  <a:lnTo>
                    <a:pt x="1338" y="450"/>
                  </a:lnTo>
                  <a:lnTo>
                    <a:pt x="1344" y="456"/>
                  </a:lnTo>
                  <a:lnTo>
                    <a:pt x="1344" y="462"/>
                  </a:lnTo>
                  <a:lnTo>
                    <a:pt x="1344" y="474"/>
                  </a:lnTo>
                  <a:lnTo>
                    <a:pt x="1350" y="474"/>
                  </a:lnTo>
                  <a:lnTo>
                    <a:pt x="1368" y="504"/>
                  </a:lnTo>
                  <a:lnTo>
                    <a:pt x="1374" y="534"/>
                  </a:lnTo>
                  <a:lnTo>
                    <a:pt x="1380" y="558"/>
                  </a:lnTo>
                  <a:lnTo>
                    <a:pt x="1386" y="576"/>
                  </a:lnTo>
                  <a:lnTo>
                    <a:pt x="1386" y="600"/>
                  </a:lnTo>
                  <a:lnTo>
                    <a:pt x="1386" y="624"/>
                  </a:lnTo>
                  <a:lnTo>
                    <a:pt x="1386" y="648"/>
                  </a:lnTo>
                  <a:lnTo>
                    <a:pt x="1386" y="684"/>
                  </a:lnTo>
                  <a:lnTo>
                    <a:pt x="1380" y="684"/>
                  </a:lnTo>
                  <a:lnTo>
                    <a:pt x="1374" y="696"/>
                  </a:lnTo>
                  <a:lnTo>
                    <a:pt x="1368" y="702"/>
                  </a:lnTo>
                  <a:lnTo>
                    <a:pt x="1362" y="708"/>
                  </a:lnTo>
                  <a:lnTo>
                    <a:pt x="1356" y="714"/>
                  </a:lnTo>
                  <a:lnTo>
                    <a:pt x="1350" y="720"/>
                  </a:lnTo>
                  <a:lnTo>
                    <a:pt x="1338" y="720"/>
                  </a:lnTo>
                  <a:lnTo>
                    <a:pt x="1338" y="738"/>
                  </a:lnTo>
                  <a:lnTo>
                    <a:pt x="1362" y="750"/>
                  </a:lnTo>
                  <a:lnTo>
                    <a:pt x="1362" y="756"/>
                  </a:lnTo>
                  <a:lnTo>
                    <a:pt x="1374" y="756"/>
                  </a:lnTo>
                  <a:lnTo>
                    <a:pt x="1410" y="774"/>
                  </a:lnTo>
                  <a:lnTo>
                    <a:pt x="1446" y="774"/>
                  </a:lnTo>
                  <a:lnTo>
                    <a:pt x="1482" y="768"/>
                  </a:lnTo>
                  <a:lnTo>
                    <a:pt x="1500" y="774"/>
                  </a:lnTo>
                  <a:lnTo>
                    <a:pt x="1512" y="78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6" name="Freeform 11">
              <a:extLst>
                <a:ext uri="{FF2B5EF4-FFF2-40B4-BE49-F238E27FC236}">
                  <a16:creationId xmlns:a16="http://schemas.microsoft.com/office/drawing/2014/main" id="{1FF8E66F-B850-456A-B132-C45FEEDE95C6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2475" y="2345643"/>
              <a:ext cx="445003" cy="603855"/>
            </a:xfrm>
            <a:custGeom>
              <a:avLst/>
              <a:gdLst>
                <a:gd name="T0" fmla="*/ 47 w 840"/>
                <a:gd name="T1" fmla="*/ 98 h 1134"/>
                <a:gd name="T2" fmla="*/ 41 w 840"/>
                <a:gd name="T3" fmla="*/ 98 h 1134"/>
                <a:gd name="T4" fmla="*/ 37 w 840"/>
                <a:gd name="T5" fmla="*/ 98 h 1134"/>
                <a:gd name="T6" fmla="*/ 29 w 840"/>
                <a:gd name="T7" fmla="*/ 97 h 1134"/>
                <a:gd name="T8" fmla="*/ 27 w 840"/>
                <a:gd name="T9" fmla="*/ 94 h 1134"/>
                <a:gd name="T10" fmla="*/ 26 w 840"/>
                <a:gd name="T11" fmla="*/ 93 h 1134"/>
                <a:gd name="T12" fmla="*/ 26 w 840"/>
                <a:gd name="T13" fmla="*/ 83 h 1134"/>
                <a:gd name="T14" fmla="*/ 26 w 840"/>
                <a:gd name="T15" fmla="*/ 81 h 1134"/>
                <a:gd name="T16" fmla="*/ 23 w 840"/>
                <a:gd name="T17" fmla="*/ 77 h 1134"/>
                <a:gd name="T18" fmla="*/ 19 w 840"/>
                <a:gd name="T19" fmla="*/ 75 h 1134"/>
                <a:gd name="T20" fmla="*/ 16 w 840"/>
                <a:gd name="T21" fmla="*/ 72 h 1134"/>
                <a:gd name="T22" fmla="*/ 13 w 840"/>
                <a:gd name="T23" fmla="*/ 70 h 1134"/>
                <a:gd name="T24" fmla="*/ 17 w 840"/>
                <a:gd name="T25" fmla="*/ 67 h 1134"/>
                <a:gd name="T26" fmla="*/ 19 w 840"/>
                <a:gd name="T27" fmla="*/ 63 h 1134"/>
                <a:gd name="T28" fmla="*/ 20 w 840"/>
                <a:gd name="T29" fmla="*/ 59 h 1134"/>
                <a:gd name="T30" fmla="*/ 19 w 840"/>
                <a:gd name="T31" fmla="*/ 55 h 1134"/>
                <a:gd name="T32" fmla="*/ 17 w 840"/>
                <a:gd name="T33" fmla="*/ 47 h 1134"/>
                <a:gd name="T34" fmla="*/ 8 w 840"/>
                <a:gd name="T35" fmla="*/ 45 h 1134"/>
                <a:gd name="T36" fmla="*/ 4 w 840"/>
                <a:gd name="T37" fmla="*/ 39 h 1134"/>
                <a:gd name="T38" fmla="*/ 2 w 840"/>
                <a:gd name="T39" fmla="*/ 35 h 1134"/>
                <a:gd name="T40" fmla="*/ 0 w 840"/>
                <a:gd name="T41" fmla="*/ 31 h 1134"/>
                <a:gd name="T42" fmla="*/ 2 w 840"/>
                <a:gd name="T43" fmla="*/ 27 h 1134"/>
                <a:gd name="T44" fmla="*/ 5 w 840"/>
                <a:gd name="T45" fmla="*/ 24 h 1134"/>
                <a:gd name="T46" fmla="*/ 10 w 840"/>
                <a:gd name="T47" fmla="*/ 26 h 1134"/>
                <a:gd name="T48" fmla="*/ 7 w 840"/>
                <a:gd name="T49" fmla="*/ 20 h 1134"/>
                <a:gd name="T50" fmla="*/ 12 w 840"/>
                <a:gd name="T51" fmla="*/ 12 h 1134"/>
                <a:gd name="T52" fmla="*/ 19 w 840"/>
                <a:gd name="T53" fmla="*/ 10 h 1134"/>
                <a:gd name="T54" fmla="*/ 20 w 840"/>
                <a:gd name="T55" fmla="*/ 13 h 1134"/>
                <a:gd name="T56" fmla="*/ 22 w 840"/>
                <a:gd name="T57" fmla="*/ 11 h 1134"/>
                <a:gd name="T58" fmla="*/ 25 w 840"/>
                <a:gd name="T59" fmla="*/ 7 h 1134"/>
                <a:gd name="T60" fmla="*/ 29 w 840"/>
                <a:gd name="T61" fmla="*/ 2 h 1134"/>
                <a:gd name="T62" fmla="*/ 33 w 840"/>
                <a:gd name="T63" fmla="*/ 1 h 1134"/>
                <a:gd name="T64" fmla="*/ 37 w 840"/>
                <a:gd name="T65" fmla="*/ 2 h 1134"/>
                <a:gd name="T66" fmla="*/ 39 w 840"/>
                <a:gd name="T67" fmla="*/ 4 h 1134"/>
                <a:gd name="T68" fmla="*/ 43 w 840"/>
                <a:gd name="T69" fmla="*/ 5 h 1134"/>
                <a:gd name="T70" fmla="*/ 46 w 840"/>
                <a:gd name="T71" fmla="*/ 11 h 1134"/>
                <a:gd name="T72" fmla="*/ 49 w 840"/>
                <a:gd name="T73" fmla="*/ 12 h 1134"/>
                <a:gd name="T74" fmla="*/ 52 w 840"/>
                <a:gd name="T75" fmla="*/ 15 h 1134"/>
                <a:gd name="T76" fmla="*/ 54 w 840"/>
                <a:gd name="T77" fmla="*/ 18 h 1134"/>
                <a:gd name="T78" fmla="*/ 55 w 840"/>
                <a:gd name="T79" fmla="*/ 22 h 1134"/>
                <a:gd name="T80" fmla="*/ 56 w 840"/>
                <a:gd name="T81" fmla="*/ 26 h 1134"/>
                <a:gd name="T82" fmla="*/ 55 w 840"/>
                <a:gd name="T83" fmla="*/ 32 h 1134"/>
                <a:gd name="T84" fmla="*/ 55 w 840"/>
                <a:gd name="T85" fmla="*/ 36 h 1134"/>
                <a:gd name="T86" fmla="*/ 54 w 840"/>
                <a:gd name="T87" fmla="*/ 39 h 1134"/>
                <a:gd name="T88" fmla="*/ 56 w 840"/>
                <a:gd name="T89" fmla="*/ 39 h 1134"/>
                <a:gd name="T90" fmla="*/ 58 w 840"/>
                <a:gd name="T91" fmla="*/ 39 h 1134"/>
                <a:gd name="T92" fmla="*/ 61 w 840"/>
                <a:gd name="T93" fmla="*/ 39 h 1134"/>
                <a:gd name="T94" fmla="*/ 60 w 840"/>
                <a:gd name="T95" fmla="*/ 49 h 1134"/>
                <a:gd name="T96" fmla="*/ 59 w 840"/>
                <a:gd name="T97" fmla="*/ 53 h 1134"/>
                <a:gd name="T98" fmla="*/ 59 w 840"/>
                <a:gd name="T99" fmla="*/ 56 h 1134"/>
                <a:gd name="T100" fmla="*/ 60 w 840"/>
                <a:gd name="T101" fmla="*/ 59 h 1134"/>
                <a:gd name="T102" fmla="*/ 64 w 840"/>
                <a:gd name="T103" fmla="*/ 61 h 1134"/>
                <a:gd name="T104" fmla="*/ 69 w 840"/>
                <a:gd name="T105" fmla="*/ 63 h 1134"/>
                <a:gd name="T106" fmla="*/ 72 w 840"/>
                <a:gd name="T107" fmla="*/ 69 h 1134"/>
                <a:gd name="T108" fmla="*/ 72 w 840"/>
                <a:gd name="T109" fmla="*/ 73 h 1134"/>
                <a:gd name="T110" fmla="*/ 72 w 840"/>
                <a:gd name="T111" fmla="*/ 83 h 1134"/>
                <a:gd name="T112" fmla="*/ 63 w 840"/>
                <a:gd name="T113" fmla="*/ 88 h 1134"/>
                <a:gd name="T114" fmla="*/ 52 w 840"/>
                <a:gd name="T115" fmla="*/ 95 h 11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40"/>
                <a:gd name="T175" fmla="*/ 0 h 1134"/>
                <a:gd name="T176" fmla="*/ 840 w 840"/>
                <a:gd name="T177" fmla="*/ 1134 h 11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40" h="1134">
                  <a:moveTo>
                    <a:pt x="564" y="1110"/>
                  </a:moveTo>
                  <a:lnTo>
                    <a:pt x="564" y="1104"/>
                  </a:lnTo>
                  <a:lnTo>
                    <a:pt x="558" y="1104"/>
                  </a:lnTo>
                  <a:lnTo>
                    <a:pt x="552" y="1110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28" y="1128"/>
                  </a:lnTo>
                  <a:lnTo>
                    <a:pt x="498" y="1128"/>
                  </a:lnTo>
                  <a:lnTo>
                    <a:pt x="492" y="1128"/>
                  </a:lnTo>
                  <a:lnTo>
                    <a:pt x="486" y="1128"/>
                  </a:lnTo>
                  <a:lnTo>
                    <a:pt x="480" y="1128"/>
                  </a:lnTo>
                  <a:lnTo>
                    <a:pt x="474" y="1134"/>
                  </a:lnTo>
                  <a:lnTo>
                    <a:pt x="468" y="1134"/>
                  </a:lnTo>
                  <a:lnTo>
                    <a:pt x="462" y="1134"/>
                  </a:lnTo>
                  <a:lnTo>
                    <a:pt x="456" y="1134"/>
                  </a:lnTo>
                  <a:lnTo>
                    <a:pt x="456" y="1128"/>
                  </a:lnTo>
                  <a:lnTo>
                    <a:pt x="450" y="1122"/>
                  </a:lnTo>
                  <a:lnTo>
                    <a:pt x="426" y="1128"/>
                  </a:lnTo>
                  <a:lnTo>
                    <a:pt x="414" y="1128"/>
                  </a:lnTo>
                  <a:lnTo>
                    <a:pt x="348" y="1134"/>
                  </a:lnTo>
                  <a:lnTo>
                    <a:pt x="348" y="1128"/>
                  </a:lnTo>
                  <a:lnTo>
                    <a:pt x="342" y="1128"/>
                  </a:lnTo>
                  <a:lnTo>
                    <a:pt x="336" y="1122"/>
                  </a:lnTo>
                  <a:lnTo>
                    <a:pt x="330" y="1122"/>
                  </a:lnTo>
                  <a:lnTo>
                    <a:pt x="324" y="1116"/>
                  </a:lnTo>
                  <a:lnTo>
                    <a:pt x="324" y="1110"/>
                  </a:lnTo>
                  <a:lnTo>
                    <a:pt x="318" y="1110"/>
                  </a:lnTo>
                  <a:lnTo>
                    <a:pt x="318" y="1104"/>
                  </a:lnTo>
                  <a:lnTo>
                    <a:pt x="312" y="1092"/>
                  </a:lnTo>
                  <a:lnTo>
                    <a:pt x="306" y="1086"/>
                  </a:lnTo>
                  <a:lnTo>
                    <a:pt x="306" y="1080"/>
                  </a:lnTo>
                  <a:lnTo>
                    <a:pt x="312" y="1074"/>
                  </a:lnTo>
                  <a:lnTo>
                    <a:pt x="306" y="1068"/>
                  </a:lnTo>
                  <a:lnTo>
                    <a:pt x="300" y="1074"/>
                  </a:lnTo>
                  <a:lnTo>
                    <a:pt x="300" y="1068"/>
                  </a:lnTo>
                  <a:lnTo>
                    <a:pt x="294" y="1068"/>
                  </a:lnTo>
                  <a:lnTo>
                    <a:pt x="294" y="1056"/>
                  </a:lnTo>
                  <a:lnTo>
                    <a:pt x="294" y="1026"/>
                  </a:lnTo>
                  <a:lnTo>
                    <a:pt x="294" y="1020"/>
                  </a:lnTo>
                  <a:lnTo>
                    <a:pt x="294" y="1008"/>
                  </a:lnTo>
                  <a:lnTo>
                    <a:pt x="294" y="966"/>
                  </a:lnTo>
                  <a:lnTo>
                    <a:pt x="294" y="960"/>
                  </a:lnTo>
                  <a:lnTo>
                    <a:pt x="294" y="954"/>
                  </a:lnTo>
                  <a:lnTo>
                    <a:pt x="294" y="948"/>
                  </a:lnTo>
                  <a:lnTo>
                    <a:pt x="294" y="942"/>
                  </a:lnTo>
                  <a:lnTo>
                    <a:pt x="300" y="936"/>
                  </a:lnTo>
                  <a:lnTo>
                    <a:pt x="300" y="930"/>
                  </a:lnTo>
                  <a:lnTo>
                    <a:pt x="294" y="930"/>
                  </a:lnTo>
                  <a:lnTo>
                    <a:pt x="288" y="930"/>
                  </a:lnTo>
                  <a:lnTo>
                    <a:pt x="288" y="924"/>
                  </a:lnTo>
                  <a:lnTo>
                    <a:pt x="282" y="918"/>
                  </a:lnTo>
                  <a:lnTo>
                    <a:pt x="282" y="906"/>
                  </a:lnTo>
                  <a:lnTo>
                    <a:pt x="282" y="900"/>
                  </a:lnTo>
                  <a:lnTo>
                    <a:pt x="264" y="894"/>
                  </a:lnTo>
                  <a:lnTo>
                    <a:pt x="252" y="882"/>
                  </a:lnTo>
                  <a:lnTo>
                    <a:pt x="246" y="876"/>
                  </a:lnTo>
                  <a:lnTo>
                    <a:pt x="240" y="876"/>
                  </a:lnTo>
                  <a:lnTo>
                    <a:pt x="240" y="870"/>
                  </a:lnTo>
                  <a:lnTo>
                    <a:pt x="234" y="870"/>
                  </a:lnTo>
                  <a:lnTo>
                    <a:pt x="222" y="864"/>
                  </a:lnTo>
                  <a:lnTo>
                    <a:pt x="216" y="864"/>
                  </a:lnTo>
                  <a:lnTo>
                    <a:pt x="210" y="858"/>
                  </a:lnTo>
                  <a:lnTo>
                    <a:pt x="210" y="852"/>
                  </a:lnTo>
                  <a:lnTo>
                    <a:pt x="210" y="846"/>
                  </a:lnTo>
                  <a:lnTo>
                    <a:pt x="198" y="840"/>
                  </a:lnTo>
                  <a:lnTo>
                    <a:pt x="186" y="834"/>
                  </a:lnTo>
                  <a:lnTo>
                    <a:pt x="180" y="828"/>
                  </a:lnTo>
                  <a:lnTo>
                    <a:pt x="180" y="822"/>
                  </a:lnTo>
                  <a:lnTo>
                    <a:pt x="174" y="822"/>
                  </a:lnTo>
                  <a:lnTo>
                    <a:pt x="162" y="816"/>
                  </a:lnTo>
                  <a:lnTo>
                    <a:pt x="156" y="810"/>
                  </a:lnTo>
                  <a:lnTo>
                    <a:pt x="150" y="810"/>
                  </a:lnTo>
                  <a:lnTo>
                    <a:pt x="144" y="798"/>
                  </a:lnTo>
                  <a:lnTo>
                    <a:pt x="138" y="786"/>
                  </a:lnTo>
                  <a:lnTo>
                    <a:pt x="138" y="780"/>
                  </a:lnTo>
                  <a:lnTo>
                    <a:pt x="144" y="774"/>
                  </a:lnTo>
                  <a:lnTo>
                    <a:pt x="150" y="768"/>
                  </a:lnTo>
                  <a:lnTo>
                    <a:pt x="192" y="768"/>
                  </a:lnTo>
                  <a:lnTo>
                    <a:pt x="210" y="762"/>
                  </a:lnTo>
                  <a:lnTo>
                    <a:pt x="216" y="756"/>
                  </a:lnTo>
                  <a:lnTo>
                    <a:pt x="216" y="744"/>
                  </a:lnTo>
                  <a:lnTo>
                    <a:pt x="216" y="738"/>
                  </a:lnTo>
                  <a:lnTo>
                    <a:pt x="216" y="732"/>
                  </a:lnTo>
                  <a:lnTo>
                    <a:pt x="216" y="726"/>
                  </a:lnTo>
                  <a:lnTo>
                    <a:pt x="216" y="720"/>
                  </a:lnTo>
                  <a:lnTo>
                    <a:pt x="228" y="702"/>
                  </a:lnTo>
                  <a:lnTo>
                    <a:pt x="234" y="696"/>
                  </a:lnTo>
                  <a:lnTo>
                    <a:pt x="240" y="690"/>
                  </a:lnTo>
                  <a:lnTo>
                    <a:pt x="240" y="684"/>
                  </a:lnTo>
                  <a:lnTo>
                    <a:pt x="234" y="678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0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22" y="630"/>
                  </a:lnTo>
                  <a:lnTo>
                    <a:pt x="222" y="618"/>
                  </a:lnTo>
                  <a:lnTo>
                    <a:pt x="222" y="582"/>
                  </a:lnTo>
                  <a:lnTo>
                    <a:pt x="228" y="582"/>
                  </a:lnTo>
                  <a:lnTo>
                    <a:pt x="222" y="564"/>
                  </a:lnTo>
                  <a:lnTo>
                    <a:pt x="210" y="552"/>
                  </a:lnTo>
                  <a:lnTo>
                    <a:pt x="192" y="540"/>
                  </a:lnTo>
                  <a:lnTo>
                    <a:pt x="174" y="540"/>
                  </a:lnTo>
                  <a:lnTo>
                    <a:pt x="150" y="534"/>
                  </a:lnTo>
                  <a:lnTo>
                    <a:pt x="126" y="528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90" y="516"/>
                  </a:lnTo>
                  <a:lnTo>
                    <a:pt x="78" y="504"/>
                  </a:lnTo>
                  <a:lnTo>
                    <a:pt x="72" y="498"/>
                  </a:lnTo>
                  <a:lnTo>
                    <a:pt x="66" y="486"/>
                  </a:lnTo>
                  <a:lnTo>
                    <a:pt x="54" y="468"/>
                  </a:lnTo>
                  <a:lnTo>
                    <a:pt x="54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42" y="438"/>
                  </a:lnTo>
                  <a:lnTo>
                    <a:pt x="36" y="438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24" y="384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2" y="360"/>
                  </a:lnTo>
                  <a:lnTo>
                    <a:pt x="6" y="360"/>
                  </a:lnTo>
                  <a:lnTo>
                    <a:pt x="0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0"/>
                  </a:lnTo>
                  <a:lnTo>
                    <a:pt x="18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8" y="270"/>
                  </a:lnTo>
                  <a:lnTo>
                    <a:pt x="90" y="276"/>
                  </a:lnTo>
                  <a:lnTo>
                    <a:pt x="108" y="294"/>
                  </a:lnTo>
                  <a:lnTo>
                    <a:pt x="114" y="294"/>
                  </a:lnTo>
                  <a:lnTo>
                    <a:pt x="114" y="276"/>
                  </a:lnTo>
                  <a:lnTo>
                    <a:pt x="114" y="270"/>
                  </a:lnTo>
                  <a:lnTo>
                    <a:pt x="102" y="258"/>
                  </a:lnTo>
                  <a:lnTo>
                    <a:pt x="96" y="246"/>
                  </a:lnTo>
                  <a:lnTo>
                    <a:pt x="90" y="234"/>
                  </a:lnTo>
                  <a:lnTo>
                    <a:pt x="78" y="228"/>
                  </a:lnTo>
                  <a:lnTo>
                    <a:pt x="72" y="216"/>
                  </a:lnTo>
                  <a:lnTo>
                    <a:pt x="66" y="192"/>
                  </a:lnTo>
                  <a:lnTo>
                    <a:pt x="90" y="174"/>
                  </a:lnTo>
                  <a:lnTo>
                    <a:pt x="120" y="150"/>
                  </a:lnTo>
                  <a:lnTo>
                    <a:pt x="132" y="150"/>
                  </a:lnTo>
                  <a:lnTo>
                    <a:pt x="138" y="144"/>
                  </a:lnTo>
                  <a:lnTo>
                    <a:pt x="138" y="138"/>
                  </a:lnTo>
                  <a:lnTo>
                    <a:pt x="156" y="126"/>
                  </a:lnTo>
                  <a:lnTo>
                    <a:pt x="180" y="114"/>
                  </a:lnTo>
                  <a:lnTo>
                    <a:pt x="216" y="114"/>
                  </a:lnTo>
                  <a:lnTo>
                    <a:pt x="222" y="114"/>
                  </a:lnTo>
                  <a:lnTo>
                    <a:pt x="222" y="120"/>
                  </a:lnTo>
                  <a:lnTo>
                    <a:pt x="222" y="126"/>
                  </a:lnTo>
                  <a:lnTo>
                    <a:pt x="222" y="132"/>
                  </a:lnTo>
                  <a:lnTo>
                    <a:pt x="228" y="138"/>
                  </a:lnTo>
                  <a:lnTo>
                    <a:pt x="228" y="144"/>
                  </a:lnTo>
                  <a:lnTo>
                    <a:pt x="228" y="150"/>
                  </a:lnTo>
                  <a:lnTo>
                    <a:pt x="234" y="150"/>
                  </a:lnTo>
                  <a:lnTo>
                    <a:pt x="234" y="144"/>
                  </a:lnTo>
                  <a:lnTo>
                    <a:pt x="240" y="144"/>
                  </a:lnTo>
                  <a:lnTo>
                    <a:pt x="246" y="144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58" y="126"/>
                  </a:lnTo>
                  <a:lnTo>
                    <a:pt x="258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76" y="96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6" y="72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36"/>
                  </a:lnTo>
                  <a:lnTo>
                    <a:pt x="330" y="24"/>
                  </a:lnTo>
                  <a:lnTo>
                    <a:pt x="330" y="18"/>
                  </a:lnTo>
                  <a:lnTo>
                    <a:pt x="330" y="12"/>
                  </a:lnTo>
                  <a:lnTo>
                    <a:pt x="336" y="6"/>
                  </a:lnTo>
                  <a:lnTo>
                    <a:pt x="366" y="0"/>
                  </a:lnTo>
                  <a:lnTo>
                    <a:pt x="372" y="6"/>
                  </a:lnTo>
                  <a:lnTo>
                    <a:pt x="384" y="12"/>
                  </a:lnTo>
                  <a:lnTo>
                    <a:pt x="402" y="12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18"/>
                  </a:lnTo>
                  <a:lnTo>
                    <a:pt x="420" y="18"/>
                  </a:lnTo>
                  <a:lnTo>
                    <a:pt x="426" y="24"/>
                  </a:lnTo>
                  <a:lnTo>
                    <a:pt x="432" y="30"/>
                  </a:lnTo>
                  <a:lnTo>
                    <a:pt x="438" y="36"/>
                  </a:lnTo>
                  <a:lnTo>
                    <a:pt x="444" y="42"/>
                  </a:lnTo>
                  <a:lnTo>
                    <a:pt x="450" y="42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16" y="78"/>
                  </a:lnTo>
                  <a:lnTo>
                    <a:pt x="522" y="102"/>
                  </a:lnTo>
                  <a:lnTo>
                    <a:pt x="522" y="108"/>
                  </a:lnTo>
                  <a:lnTo>
                    <a:pt x="528" y="126"/>
                  </a:lnTo>
                  <a:lnTo>
                    <a:pt x="534" y="126"/>
                  </a:lnTo>
                  <a:lnTo>
                    <a:pt x="540" y="120"/>
                  </a:lnTo>
                  <a:lnTo>
                    <a:pt x="546" y="126"/>
                  </a:lnTo>
                  <a:lnTo>
                    <a:pt x="552" y="126"/>
                  </a:lnTo>
                  <a:lnTo>
                    <a:pt x="558" y="132"/>
                  </a:lnTo>
                  <a:lnTo>
                    <a:pt x="564" y="138"/>
                  </a:lnTo>
                  <a:lnTo>
                    <a:pt x="570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594" y="168"/>
                  </a:lnTo>
                  <a:lnTo>
                    <a:pt x="600" y="174"/>
                  </a:lnTo>
                  <a:lnTo>
                    <a:pt x="606" y="180"/>
                  </a:lnTo>
                  <a:lnTo>
                    <a:pt x="606" y="186"/>
                  </a:lnTo>
                  <a:lnTo>
                    <a:pt x="612" y="192"/>
                  </a:lnTo>
                  <a:lnTo>
                    <a:pt x="612" y="198"/>
                  </a:lnTo>
                  <a:lnTo>
                    <a:pt x="624" y="204"/>
                  </a:lnTo>
                  <a:lnTo>
                    <a:pt x="624" y="210"/>
                  </a:lnTo>
                  <a:lnTo>
                    <a:pt x="630" y="216"/>
                  </a:lnTo>
                  <a:lnTo>
                    <a:pt x="636" y="222"/>
                  </a:lnTo>
                  <a:lnTo>
                    <a:pt x="636" y="228"/>
                  </a:lnTo>
                  <a:lnTo>
                    <a:pt x="636" y="234"/>
                  </a:lnTo>
                  <a:lnTo>
                    <a:pt x="636" y="252"/>
                  </a:lnTo>
                  <a:lnTo>
                    <a:pt x="636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42" y="276"/>
                  </a:lnTo>
                  <a:lnTo>
                    <a:pt x="642" y="282"/>
                  </a:lnTo>
                  <a:lnTo>
                    <a:pt x="642" y="288"/>
                  </a:lnTo>
                  <a:lnTo>
                    <a:pt x="642" y="300"/>
                  </a:lnTo>
                  <a:lnTo>
                    <a:pt x="642" y="306"/>
                  </a:lnTo>
                  <a:lnTo>
                    <a:pt x="636" y="312"/>
                  </a:lnTo>
                  <a:lnTo>
                    <a:pt x="636" y="324"/>
                  </a:lnTo>
                  <a:lnTo>
                    <a:pt x="636" y="342"/>
                  </a:lnTo>
                  <a:lnTo>
                    <a:pt x="630" y="354"/>
                  </a:lnTo>
                  <a:lnTo>
                    <a:pt x="630" y="366"/>
                  </a:lnTo>
                  <a:lnTo>
                    <a:pt x="624" y="378"/>
                  </a:lnTo>
                  <a:lnTo>
                    <a:pt x="624" y="384"/>
                  </a:lnTo>
                  <a:lnTo>
                    <a:pt x="636" y="396"/>
                  </a:lnTo>
                  <a:lnTo>
                    <a:pt x="636" y="402"/>
                  </a:lnTo>
                  <a:lnTo>
                    <a:pt x="636" y="408"/>
                  </a:lnTo>
                  <a:lnTo>
                    <a:pt x="630" y="414"/>
                  </a:lnTo>
                  <a:lnTo>
                    <a:pt x="630" y="420"/>
                  </a:lnTo>
                  <a:lnTo>
                    <a:pt x="630" y="426"/>
                  </a:lnTo>
                  <a:lnTo>
                    <a:pt x="630" y="432"/>
                  </a:lnTo>
                  <a:lnTo>
                    <a:pt x="624" y="438"/>
                  </a:lnTo>
                  <a:lnTo>
                    <a:pt x="624" y="444"/>
                  </a:lnTo>
                  <a:lnTo>
                    <a:pt x="624" y="450"/>
                  </a:lnTo>
                  <a:lnTo>
                    <a:pt x="630" y="450"/>
                  </a:lnTo>
                  <a:lnTo>
                    <a:pt x="630" y="456"/>
                  </a:lnTo>
                  <a:lnTo>
                    <a:pt x="630" y="462"/>
                  </a:lnTo>
                  <a:lnTo>
                    <a:pt x="636" y="468"/>
                  </a:lnTo>
                  <a:lnTo>
                    <a:pt x="642" y="456"/>
                  </a:lnTo>
                  <a:lnTo>
                    <a:pt x="642" y="450"/>
                  </a:lnTo>
                  <a:lnTo>
                    <a:pt x="648" y="450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60" y="444"/>
                  </a:lnTo>
                  <a:lnTo>
                    <a:pt x="666" y="450"/>
                  </a:lnTo>
                  <a:lnTo>
                    <a:pt x="672" y="444"/>
                  </a:lnTo>
                  <a:lnTo>
                    <a:pt x="678" y="444"/>
                  </a:lnTo>
                  <a:lnTo>
                    <a:pt x="684" y="438"/>
                  </a:lnTo>
                  <a:lnTo>
                    <a:pt x="690" y="438"/>
                  </a:lnTo>
                  <a:lnTo>
                    <a:pt x="696" y="438"/>
                  </a:lnTo>
                  <a:lnTo>
                    <a:pt x="702" y="444"/>
                  </a:lnTo>
                  <a:lnTo>
                    <a:pt x="702" y="450"/>
                  </a:lnTo>
                  <a:lnTo>
                    <a:pt x="708" y="450"/>
                  </a:lnTo>
                  <a:lnTo>
                    <a:pt x="708" y="456"/>
                  </a:lnTo>
                  <a:lnTo>
                    <a:pt x="708" y="462"/>
                  </a:lnTo>
                  <a:lnTo>
                    <a:pt x="708" y="468"/>
                  </a:lnTo>
                  <a:lnTo>
                    <a:pt x="708" y="504"/>
                  </a:lnTo>
                  <a:lnTo>
                    <a:pt x="696" y="564"/>
                  </a:lnTo>
                  <a:lnTo>
                    <a:pt x="696" y="582"/>
                  </a:lnTo>
                  <a:lnTo>
                    <a:pt x="696" y="600"/>
                  </a:lnTo>
                  <a:lnTo>
                    <a:pt x="690" y="606"/>
                  </a:lnTo>
                  <a:lnTo>
                    <a:pt x="684" y="606"/>
                  </a:lnTo>
                  <a:lnTo>
                    <a:pt x="690" y="612"/>
                  </a:lnTo>
                  <a:lnTo>
                    <a:pt x="684" y="612"/>
                  </a:lnTo>
                  <a:lnTo>
                    <a:pt x="678" y="618"/>
                  </a:lnTo>
                  <a:lnTo>
                    <a:pt x="672" y="624"/>
                  </a:lnTo>
                  <a:lnTo>
                    <a:pt x="666" y="630"/>
                  </a:lnTo>
                  <a:lnTo>
                    <a:pt x="660" y="636"/>
                  </a:lnTo>
                  <a:lnTo>
                    <a:pt x="672" y="636"/>
                  </a:lnTo>
                  <a:lnTo>
                    <a:pt x="678" y="642"/>
                  </a:lnTo>
                  <a:lnTo>
                    <a:pt x="678" y="648"/>
                  </a:lnTo>
                  <a:lnTo>
                    <a:pt x="684" y="654"/>
                  </a:lnTo>
                  <a:lnTo>
                    <a:pt x="690" y="666"/>
                  </a:lnTo>
                  <a:lnTo>
                    <a:pt x="690" y="672"/>
                  </a:lnTo>
                  <a:lnTo>
                    <a:pt x="696" y="672"/>
                  </a:lnTo>
                  <a:lnTo>
                    <a:pt x="696" y="684"/>
                  </a:lnTo>
                  <a:lnTo>
                    <a:pt x="708" y="690"/>
                  </a:lnTo>
                  <a:lnTo>
                    <a:pt x="720" y="696"/>
                  </a:lnTo>
                  <a:lnTo>
                    <a:pt x="726" y="696"/>
                  </a:lnTo>
                  <a:lnTo>
                    <a:pt x="732" y="696"/>
                  </a:lnTo>
                  <a:lnTo>
                    <a:pt x="738" y="696"/>
                  </a:lnTo>
                  <a:lnTo>
                    <a:pt x="738" y="702"/>
                  </a:lnTo>
                  <a:lnTo>
                    <a:pt x="738" y="708"/>
                  </a:lnTo>
                  <a:lnTo>
                    <a:pt x="738" y="714"/>
                  </a:lnTo>
                  <a:lnTo>
                    <a:pt x="744" y="714"/>
                  </a:lnTo>
                  <a:lnTo>
                    <a:pt x="756" y="720"/>
                  </a:lnTo>
                  <a:lnTo>
                    <a:pt x="780" y="726"/>
                  </a:lnTo>
                  <a:lnTo>
                    <a:pt x="792" y="732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22" y="774"/>
                  </a:lnTo>
                  <a:lnTo>
                    <a:pt x="834" y="786"/>
                  </a:lnTo>
                  <a:lnTo>
                    <a:pt x="834" y="792"/>
                  </a:lnTo>
                  <a:lnTo>
                    <a:pt x="834" y="798"/>
                  </a:lnTo>
                  <a:lnTo>
                    <a:pt x="828" y="798"/>
                  </a:lnTo>
                  <a:lnTo>
                    <a:pt x="828" y="804"/>
                  </a:lnTo>
                  <a:lnTo>
                    <a:pt x="834" y="816"/>
                  </a:lnTo>
                  <a:lnTo>
                    <a:pt x="834" y="834"/>
                  </a:lnTo>
                  <a:lnTo>
                    <a:pt x="834" y="840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34" y="858"/>
                  </a:lnTo>
                  <a:lnTo>
                    <a:pt x="834" y="864"/>
                  </a:lnTo>
                  <a:lnTo>
                    <a:pt x="834" y="876"/>
                  </a:lnTo>
                  <a:lnTo>
                    <a:pt x="828" y="960"/>
                  </a:lnTo>
                  <a:lnTo>
                    <a:pt x="816" y="966"/>
                  </a:lnTo>
                  <a:lnTo>
                    <a:pt x="798" y="972"/>
                  </a:lnTo>
                  <a:lnTo>
                    <a:pt x="786" y="990"/>
                  </a:lnTo>
                  <a:lnTo>
                    <a:pt x="774" y="990"/>
                  </a:lnTo>
                  <a:lnTo>
                    <a:pt x="762" y="1008"/>
                  </a:lnTo>
                  <a:lnTo>
                    <a:pt x="732" y="1014"/>
                  </a:lnTo>
                  <a:lnTo>
                    <a:pt x="714" y="1026"/>
                  </a:lnTo>
                  <a:lnTo>
                    <a:pt x="690" y="1050"/>
                  </a:lnTo>
                  <a:lnTo>
                    <a:pt x="654" y="1056"/>
                  </a:lnTo>
                  <a:lnTo>
                    <a:pt x="630" y="1056"/>
                  </a:lnTo>
                  <a:lnTo>
                    <a:pt x="606" y="1068"/>
                  </a:lnTo>
                  <a:lnTo>
                    <a:pt x="600" y="1092"/>
                  </a:lnTo>
                  <a:lnTo>
                    <a:pt x="600" y="1098"/>
                  </a:lnTo>
                  <a:lnTo>
                    <a:pt x="588" y="1104"/>
                  </a:lnTo>
                  <a:lnTo>
                    <a:pt x="582" y="1104"/>
                  </a:lnTo>
                  <a:lnTo>
                    <a:pt x="570" y="1110"/>
                  </a:lnTo>
                  <a:lnTo>
                    <a:pt x="564" y="111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7" name="Freeform 12">
              <a:extLst>
                <a:ext uri="{FF2B5EF4-FFF2-40B4-BE49-F238E27FC236}">
                  <a16:creationId xmlns:a16="http://schemas.microsoft.com/office/drawing/2014/main" id="{6C93C114-E5D0-49BB-A44C-A127CE01CFE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810" y="2271838"/>
              <a:ext cx="923547" cy="845397"/>
            </a:xfrm>
            <a:custGeom>
              <a:avLst/>
              <a:gdLst>
                <a:gd name="T0" fmla="*/ 138 w 1740"/>
                <a:gd name="T1" fmla="*/ 134 h 1590"/>
                <a:gd name="T2" fmla="*/ 128 w 1740"/>
                <a:gd name="T3" fmla="*/ 131 h 1590"/>
                <a:gd name="T4" fmla="*/ 121 w 1740"/>
                <a:gd name="T5" fmla="*/ 130 h 1590"/>
                <a:gd name="T6" fmla="*/ 119 w 1740"/>
                <a:gd name="T7" fmla="*/ 134 h 1590"/>
                <a:gd name="T8" fmla="*/ 110 w 1740"/>
                <a:gd name="T9" fmla="*/ 132 h 1590"/>
                <a:gd name="T10" fmla="*/ 111 w 1740"/>
                <a:gd name="T11" fmla="*/ 127 h 1590"/>
                <a:gd name="T12" fmla="*/ 103 w 1740"/>
                <a:gd name="T13" fmla="*/ 117 h 1590"/>
                <a:gd name="T14" fmla="*/ 93 w 1740"/>
                <a:gd name="T15" fmla="*/ 123 h 1590"/>
                <a:gd name="T16" fmla="*/ 80 w 1740"/>
                <a:gd name="T17" fmla="*/ 118 h 1590"/>
                <a:gd name="T18" fmla="*/ 66 w 1740"/>
                <a:gd name="T19" fmla="*/ 117 h 1590"/>
                <a:gd name="T20" fmla="*/ 66 w 1740"/>
                <a:gd name="T21" fmla="*/ 110 h 1590"/>
                <a:gd name="T22" fmla="*/ 69 w 1740"/>
                <a:gd name="T23" fmla="*/ 107 h 1590"/>
                <a:gd name="T24" fmla="*/ 68 w 1740"/>
                <a:gd name="T25" fmla="*/ 102 h 1590"/>
                <a:gd name="T26" fmla="*/ 68 w 1740"/>
                <a:gd name="T27" fmla="*/ 96 h 1590"/>
                <a:gd name="T28" fmla="*/ 67 w 1740"/>
                <a:gd name="T29" fmla="*/ 82 h 1590"/>
                <a:gd name="T30" fmla="*/ 58 w 1740"/>
                <a:gd name="T31" fmla="*/ 82 h 1590"/>
                <a:gd name="T32" fmla="*/ 52 w 1740"/>
                <a:gd name="T33" fmla="*/ 82 h 1590"/>
                <a:gd name="T34" fmla="*/ 46 w 1740"/>
                <a:gd name="T35" fmla="*/ 80 h 1590"/>
                <a:gd name="T36" fmla="*/ 45 w 1740"/>
                <a:gd name="T37" fmla="*/ 74 h 1590"/>
                <a:gd name="T38" fmla="*/ 52 w 1740"/>
                <a:gd name="T39" fmla="*/ 70 h 1590"/>
                <a:gd name="T40" fmla="*/ 52 w 1740"/>
                <a:gd name="T41" fmla="*/ 64 h 1590"/>
                <a:gd name="T42" fmla="*/ 42 w 1740"/>
                <a:gd name="T43" fmla="*/ 53 h 1590"/>
                <a:gd name="T44" fmla="*/ 35 w 1740"/>
                <a:gd name="T45" fmla="*/ 52 h 1590"/>
                <a:gd name="T46" fmla="*/ 20 w 1740"/>
                <a:gd name="T47" fmla="*/ 51 h 1590"/>
                <a:gd name="T48" fmla="*/ 17 w 1740"/>
                <a:gd name="T49" fmla="*/ 56 h 1590"/>
                <a:gd name="T50" fmla="*/ 11 w 1740"/>
                <a:gd name="T51" fmla="*/ 61 h 1590"/>
                <a:gd name="T52" fmla="*/ 7 w 1740"/>
                <a:gd name="T53" fmla="*/ 63 h 1590"/>
                <a:gd name="T54" fmla="*/ 0 w 1740"/>
                <a:gd name="T55" fmla="*/ 55 h 1590"/>
                <a:gd name="T56" fmla="*/ 2 w 1740"/>
                <a:gd name="T57" fmla="*/ 50 h 1590"/>
                <a:gd name="T58" fmla="*/ 0 w 1740"/>
                <a:gd name="T59" fmla="*/ 44 h 1590"/>
                <a:gd name="T60" fmla="*/ 2 w 1740"/>
                <a:gd name="T61" fmla="*/ 38 h 1590"/>
                <a:gd name="T62" fmla="*/ 7 w 1740"/>
                <a:gd name="T63" fmla="*/ 35 h 1590"/>
                <a:gd name="T64" fmla="*/ 11 w 1740"/>
                <a:gd name="T65" fmla="*/ 30 h 1590"/>
                <a:gd name="T66" fmla="*/ 21 w 1740"/>
                <a:gd name="T67" fmla="*/ 26 h 1590"/>
                <a:gd name="T68" fmla="*/ 29 w 1740"/>
                <a:gd name="T69" fmla="*/ 25 h 1590"/>
                <a:gd name="T70" fmla="*/ 35 w 1740"/>
                <a:gd name="T71" fmla="*/ 21 h 1590"/>
                <a:gd name="T72" fmla="*/ 36 w 1740"/>
                <a:gd name="T73" fmla="*/ 16 h 1590"/>
                <a:gd name="T74" fmla="*/ 41 w 1740"/>
                <a:gd name="T75" fmla="*/ 11 h 1590"/>
                <a:gd name="T76" fmla="*/ 51 w 1740"/>
                <a:gd name="T77" fmla="*/ 9 h 1590"/>
                <a:gd name="T78" fmla="*/ 59 w 1740"/>
                <a:gd name="T79" fmla="*/ 21 h 1590"/>
                <a:gd name="T80" fmla="*/ 65 w 1740"/>
                <a:gd name="T81" fmla="*/ 13 h 1590"/>
                <a:gd name="T82" fmla="*/ 73 w 1740"/>
                <a:gd name="T83" fmla="*/ 8 h 1590"/>
                <a:gd name="T84" fmla="*/ 82 w 1740"/>
                <a:gd name="T85" fmla="*/ 12 h 1590"/>
                <a:gd name="T86" fmla="*/ 88 w 1740"/>
                <a:gd name="T87" fmla="*/ 12 h 1590"/>
                <a:gd name="T88" fmla="*/ 99 w 1740"/>
                <a:gd name="T89" fmla="*/ 7 h 1590"/>
                <a:gd name="T90" fmla="*/ 114 w 1740"/>
                <a:gd name="T91" fmla="*/ 0 h 1590"/>
                <a:gd name="T92" fmla="*/ 117 w 1740"/>
                <a:gd name="T93" fmla="*/ 10 h 1590"/>
                <a:gd name="T94" fmla="*/ 132 w 1740"/>
                <a:gd name="T95" fmla="*/ 17 h 1590"/>
                <a:gd name="T96" fmla="*/ 140 w 1740"/>
                <a:gd name="T97" fmla="*/ 25 h 1590"/>
                <a:gd name="T98" fmla="*/ 140 w 1740"/>
                <a:gd name="T99" fmla="*/ 33 h 1590"/>
                <a:gd name="T100" fmla="*/ 140 w 1740"/>
                <a:gd name="T101" fmla="*/ 44 h 1590"/>
                <a:gd name="T102" fmla="*/ 138 w 1740"/>
                <a:gd name="T103" fmla="*/ 48 h 1590"/>
                <a:gd name="T104" fmla="*/ 141 w 1740"/>
                <a:gd name="T105" fmla="*/ 49 h 1590"/>
                <a:gd name="T106" fmla="*/ 146 w 1740"/>
                <a:gd name="T107" fmla="*/ 50 h 1590"/>
                <a:gd name="T108" fmla="*/ 149 w 1740"/>
                <a:gd name="T109" fmla="*/ 59 h 1590"/>
                <a:gd name="T110" fmla="*/ 148 w 1740"/>
                <a:gd name="T111" fmla="*/ 67 h 1590"/>
                <a:gd name="T112" fmla="*/ 141 w 1740"/>
                <a:gd name="T113" fmla="*/ 78 h 1590"/>
                <a:gd name="T114" fmla="*/ 141 w 1740"/>
                <a:gd name="T115" fmla="*/ 91 h 1590"/>
                <a:gd name="T116" fmla="*/ 138 w 1740"/>
                <a:gd name="T117" fmla="*/ 102 h 1590"/>
                <a:gd name="T118" fmla="*/ 138 w 1740"/>
                <a:gd name="T119" fmla="*/ 110 h 1590"/>
                <a:gd name="T120" fmla="*/ 144 w 1740"/>
                <a:gd name="T121" fmla="*/ 118 h 1590"/>
                <a:gd name="T122" fmla="*/ 143 w 1740"/>
                <a:gd name="T123" fmla="*/ 125 h 159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740"/>
                <a:gd name="T187" fmla="*/ 0 h 1590"/>
                <a:gd name="T188" fmla="*/ 1740 w 1740"/>
                <a:gd name="T189" fmla="*/ 1590 h 159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740" h="1590">
                  <a:moveTo>
                    <a:pt x="1638" y="1458"/>
                  </a:moveTo>
                  <a:lnTo>
                    <a:pt x="1638" y="1482"/>
                  </a:lnTo>
                  <a:lnTo>
                    <a:pt x="1638" y="1500"/>
                  </a:lnTo>
                  <a:lnTo>
                    <a:pt x="1626" y="1500"/>
                  </a:lnTo>
                  <a:lnTo>
                    <a:pt x="1620" y="1500"/>
                  </a:lnTo>
                  <a:lnTo>
                    <a:pt x="1614" y="1500"/>
                  </a:lnTo>
                  <a:lnTo>
                    <a:pt x="1614" y="1506"/>
                  </a:lnTo>
                  <a:lnTo>
                    <a:pt x="1614" y="1512"/>
                  </a:lnTo>
                  <a:lnTo>
                    <a:pt x="1620" y="1518"/>
                  </a:lnTo>
                  <a:lnTo>
                    <a:pt x="1614" y="1524"/>
                  </a:lnTo>
                  <a:lnTo>
                    <a:pt x="1590" y="1536"/>
                  </a:lnTo>
                  <a:lnTo>
                    <a:pt x="1584" y="1566"/>
                  </a:lnTo>
                  <a:lnTo>
                    <a:pt x="1578" y="1590"/>
                  </a:lnTo>
                  <a:lnTo>
                    <a:pt x="1548" y="1590"/>
                  </a:lnTo>
                  <a:lnTo>
                    <a:pt x="1542" y="1584"/>
                  </a:lnTo>
                  <a:lnTo>
                    <a:pt x="1542" y="1572"/>
                  </a:lnTo>
                  <a:lnTo>
                    <a:pt x="1536" y="1566"/>
                  </a:lnTo>
                  <a:lnTo>
                    <a:pt x="1536" y="1554"/>
                  </a:lnTo>
                  <a:lnTo>
                    <a:pt x="1536" y="1548"/>
                  </a:lnTo>
                  <a:lnTo>
                    <a:pt x="1506" y="1530"/>
                  </a:lnTo>
                  <a:lnTo>
                    <a:pt x="1488" y="1506"/>
                  </a:lnTo>
                  <a:lnTo>
                    <a:pt x="1464" y="1500"/>
                  </a:lnTo>
                  <a:lnTo>
                    <a:pt x="1470" y="1494"/>
                  </a:lnTo>
                  <a:lnTo>
                    <a:pt x="1470" y="1488"/>
                  </a:lnTo>
                  <a:lnTo>
                    <a:pt x="1470" y="1482"/>
                  </a:lnTo>
                  <a:lnTo>
                    <a:pt x="1428" y="1464"/>
                  </a:lnTo>
                  <a:lnTo>
                    <a:pt x="1404" y="1470"/>
                  </a:lnTo>
                  <a:lnTo>
                    <a:pt x="1398" y="1470"/>
                  </a:lnTo>
                  <a:lnTo>
                    <a:pt x="1392" y="1476"/>
                  </a:lnTo>
                  <a:lnTo>
                    <a:pt x="1386" y="1476"/>
                  </a:lnTo>
                  <a:lnTo>
                    <a:pt x="1386" y="1482"/>
                  </a:lnTo>
                  <a:lnTo>
                    <a:pt x="1392" y="1482"/>
                  </a:lnTo>
                  <a:lnTo>
                    <a:pt x="1386" y="1488"/>
                  </a:lnTo>
                  <a:lnTo>
                    <a:pt x="1386" y="1494"/>
                  </a:lnTo>
                  <a:lnTo>
                    <a:pt x="1380" y="1494"/>
                  </a:lnTo>
                  <a:lnTo>
                    <a:pt x="1380" y="1500"/>
                  </a:lnTo>
                  <a:lnTo>
                    <a:pt x="1380" y="1512"/>
                  </a:lnTo>
                  <a:lnTo>
                    <a:pt x="1380" y="1518"/>
                  </a:lnTo>
                  <a:lnTo>
                    <a:pt x="1380" y="1524"/>
                  </a:lnTo>
                  <a:lnTo>
                    <a:pt x="1380" y="1530"/>
                  </a:lnTo>
                  <a:lnTo>
                    <a:pt x="1374" y="1536"/>
                  </a:lnTo>
                  <a:lnTo>
                    <a:pt x="1374" y="1542"/>
                  </a:lnTo>
                  <a:lnTo>
                    <a:pt x="1368" y="1542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44" y="1554"/>
                  </a:lnTo>
                  <a:lnTo>
                    <a:pt x="1332" y="1560"/>
                  </a:lnTo>
                  <a:lnTo>
                    <a:pt x="1302" y="1554"/>
                  </a:lnTo>
                  <a:lnTo>
                    <a:pt x="1290" y="1554"/>
                  </a:lnTo>
                  <a:lnTo>
                    <a:pt x="1278" y="1542"/>
                  </a:lnTo>
                  <a:lnTo>
                    <a:pt x="1272" y="1530"/>
                  </a:lnTo>
                  <a:lnTo>
                    <a:pt x="1272" y="1524"/>
                  </a:lnTo>
                  <a:lnTo>
                    <a:pt x="1272" y="1518"/>
                  </a:lnTo>
                  <a:lnTo>
                    <a:pt x="1266" y="1518"/>
                  </a:lnTo>
                  <a:lnTo>
                    <a:pt x="1266" y="1512"/>
                  </a:lnTo>
                  <a:lnTo>
                    <a:pt x="1266" y="1506"/>
                  </a:lnTo>
                  <a:lnTo>
                    <a:pt x="1272" y="1506"/>
                  </a:lnTo>
                  <a:lnTo>
                    <a:pt x="1272" y="1500"/>
                  </a:lnTo>
                  <a:lnTo>
                    <a:pt x="1278" y="1500"/>
                  </a:lnTo>
                  <a:lnTo>
                    <a:pt x="1278" y="1494"/>
                  </a:lnTo>
                  <a:lnTo>
                    <a:pt x="1278" y="1488"/>
                  </a:lnTo>
                  <a:lnTo>
                    <a:pt x="1284" y="1488"/>
                  </a:lnTo>
                  <a:lnTo>
                    <a:pt x="1284" y="1482"/>
                  </a:lnTo>
                  <a:lnTo>
                    <a:pt x="1290" y="1476"/>
                  </a:lnTo>
                  <a:lnTo>
                    <a:pt x="1284" y="1470"/>
                  </a:lnTo>
                  <a:lnTo>
                    <a:pt x="1278" y="1458"/>
                  </a:lnTo>
                  <a:lnTo>
                    <a:pt x="1278" y="1452"/>
                  </a:lnTo>
                  <a:lnTo>
                    <a:pt x="1260" y="1428"/>
                  </a:lnTo>
                  <a:lnTo>
                    <a:pt x="1254" y="1416"/>
                  </a:lnTo>
                  <a:lnTo>
                    <a:pt x="1254" y="1410"/>
                  </a:lnTo>
                  <a:lnTo>
                    <a:pt x="1248" y="1398"/>
                  </a:lnTo>
                  <a:lnTo>
                    <a:pt x="1242" y="1398"/>
                  </a:lnTo>
                  <a:lnTo>
                    <a:pt x="1236" y="1398"/>
                  </a:lnTo>
                  <a:lnTo>
                    <a:pt x="1218" y="1386"/>
                  </a:lnTo>
                  <a:lnTo>
                    <a:pt x="1212" y="1362"/>
                  </a:lnTo>
                  <a:lnTo>
                    <a:pt x="1200" y="1344"/>
                  </a:lnTo>
                  <a:lnTo>
                    <a:pt x="1188" y="1338"/>
                  </a:lnTo>
                  <a:lnTo>
                    <a:pt x="1164" y="1338"/>
                  </a:lnTo>
                  <a:lnTo>
                    <a:pt x="1158" y="1344"/>
                  </a:lnTo>
                  <a:lnTo>
                    <a:pt x="1152" y="1350"/>
                  </a:lnTo>
                  <a:lnTo>
                    <a:pt x="1152" y="1356"/>
                  </a:lnTo>
                  <a:lnTo>
                    <a:pt x="1140" y="1362"/>
                  </a:lnTo>
                  <a:lnTo>
                    <a:pt x="1134" y="1380"/>
                  </a:lnTo>
                  <a:lnTo>
                    <a:pt x="1116" y="1398"/>
                  </a:lnTo>
                  <a:lnTo>
                    <a:pt x="1110" y="1416"/>
                  </a:lnTo>
                  <a:lnTo>
                    <a:pt x="1086" y="1416"/>
                  </a:lnTo>
                  <a:lnTo>
                    <a:pt x="1080" y="1410"/>
                  </a:lnTo>
                  <a:lnTo>
                    <a:pt x="1074" y="1410"/>
                  </a:lnTo>
                  <a:lnTo>
                    <a:pt x="1074" y="1404"/>
                  </a:lnTo>
                  <a:lnTo>
                    <a:pt x="1062" y="1404"/>
                  </a:lnTo>
                  <a:lnTo>
                    <a:pt x="1062" y="1380"/>
                  </a:lnTo>
                  <a:lnTo>
                    <a:pt x="1038" y="1380"/>
                  </a:lnTo>
                  <a:lnTo>
                    <a:pt x="1026" y="1350"/>
                  </a:lnTo>
                  <a:lnTo>
                    <a:pt x="996" y="1326"/>
                  </a:lnTo>
                  <a:lnTo>
                    <a:pt x="966" y="1314"/>
                  </a:lnTo>
                  <a:lnTo>
                    <a:pt x="954" y="1320"/>
                  </a:lnTo>
                  <a:lnTo>
                    <a:pt x="942" y="1338"/>
                  </a:lnTo>
                  <a:lnTo>
                    <a:pt x="930" y="1338"/>
                  </a:lnTo>
                  <a:lnTo>
                    <a:pt x="924" y="1350"/>
                  </a:lnTo>
                  <a:lnTo>
                    <a:pt x="906" y="1356"/>
                  </a:lnTo>
                  <a:lnTo>
                    <a:pt x="846" y="1356"/>
                  </a:lnTo>
                  <a:lnTo>
                    <a:pt x="834" y="1368"/>
                  </a:lnTo>
                  <a:lnTo>
                    <a:pt x="810" y="1362"/>
                  </a:lnTo>
                  <a:lnTo>
                    <a:pt x="792" y="1362"/>
                  </a:lnTo>
                  <a:lnTo>
                    <a:pt x="780" y="1368"/>
                  </a:lnTo>
                  <a:lnTo>
                    <a:pt x="762" y="1368"/>
                  </a:lnTo>
                  <a:lnTo>
                    <a:pt x="762" y="1362"/>
                  </a:lnTo>
                  <a:lnTo>
                    <a:pt x="750" y="1362"/>
                  </a:lnTo>
                  <a:lnTo>
                    <a:pt x="750" y="1338"/>
                  </a:lnTo>
                  <a:lnTo>
                    <a:pt x="762" y="1338"/>
                  </a:lnTo>
                  <a:lnTo>
                    <a:pt x="762" y="1326"/>
                  </a:lnTo>
                  <a:lnTo>
                    <a:pt x="762" y="1314"/>
                  </a:lnTo>
                  <a:lnTo>
                    <a:pt x="732" y="1314"/>
                  </a:lnTo>
                  <a:lnTo>
                    <a:pt x="726" y="1308"/>
                  </a:lnTo>
                  <a:lnTo>
                    <a:pt x="732" y="1284"/>
                  </a:lnTo>
                  <a:lnTo>
                    <a:pt x="732" y="1278"/>
                  </a:lnTo>
                  <a:lnTo>
                    <a:pt x="738" y="1272"/>
                  </a:lnTo>
                  <a:lnTo>
                    <a:pt x="738" y="1266"/>
                  </a:lnTo>
                  <a:lnTo>
                    <a:pt x="744" y="1266"/>
                  </a:lnTo>
                  <a:lnTo>
                    <a:pt x="750" y="1272"/>
                  </a:lnTo>
                  <a:lnTo>
                    <a:pt x="756" y="1266"/>
                  </a:lnTo>
                  <a:lnTo>
                    <a:pt x="762" y="1266"/>
                  </a:lnTo>
                  <a:lnTo>
                    <a:pt x="768" y="1260"/>
                  </a:lnTo>
                  <a:lnTo>
                    <a:pt x="774" y="1260"/>
                  </a:lnTo>
                  <a:lnTo>
                    <a:pt x="780" y="1254"/>
                  </a:lnTo>
                  <a:lnTo>
                    <a:pt x="774" y="1254"/>
                  </a:lnTo>
                  <a:lnTo>
                    <a:pt x="768" y="1254"/>
                  </a:lnTo>
                  <a:lnTo>
                    <a:pt x="774" y="1248"/>
                  </a:lnTo>
                  <a:lnTo>
                    <a:pt x="774" y="1242"/>
                  </a:lnTo>
                  <a:lnTo>
                    <a:pt x="780" y="1236"/>
                  </a:lnTo>
                  <a:lnTo>
                    <a:pt x="786" y="1236"/>
                  </a:lnTo>
                  <a:lnTo>
                    <a:pt x="792" y="1230"/>
                  </a:lnTo>
                  <a:lnTo>
                    <a:pt x="792" y="1236"/>
                  </a:lnTo>
                  <a:lnTo>
                    <a:pt x="798" y="1236"/>
                  </a:lnTo>
                  <a:lnTo>
                    <a:pt x="798" y="1230"/>
                  </a:lnTo>
                  <a:lnTo>
                    <a:pt x="804" y="1230"/>
                  </a:lnTo>
                  <a:lnTo>
                    <a:pt x="804" y="1218"/>
                  </a:lnTo>
                  <a:lnTo>
                    <a:pt x="804" y="1206"/>
                  </a:lnTo>
                  <a:lnTo>
                    <a:pt x="792" y="1188"/>
                  </a:lnTo>
                  <a:lnTo>
                    <a:pt x="768" y="1182"/>
                  </a:lnTo>
                  <a:lnTo>
                    <a:pt x="768" y="1170"/>
                  </a:lnTo>
                  <a:lnTo>
                    <a:pt x="774" y="1170"/>
                  </a:lnTo>
                  <a:lnTo>
                    <a:pt x="780" y="1170"/>
                  </a:lnTo>
                  <a:lnTo>
                    <a:pt x="786" y="1170"/>
                  </a:lnTo>
                  <a:lnTo>
                    <a:pt x="780" y="1152"/>
                  </a:lnTo>
                  <a:lnTo>
                    <a:pt x="780" y="1146"/>
                  </a:lnTo>
                  <a:lnTo>
                    <a:pt x="744" y="1140"/>
                  </a:lnTo>
                  <a:lnTo>
                    <a:pt x="732" y="1128"/>
                  </a:lnTo>
                  <a:lnTo>
                    <a:pt x="720" y="1122"/>
                  </a:lnTo>
                  <a:lnTo>
                    <a:pt x="732" y="1116"/>
                  </a:lnTo>
                  <a:lnTo>
                    <a:pt x="750" y="1104"/>
                  </a:lnTo>
                  <a:lnTo>
                    <a:pt x="756" y="1116"/>
                  </a:lnTo>
                  <a:lnTo>
                    <a:pt x="774" y="1116"/>
                  </a:lnTo>
                  <a:lnTo>
                    <a:pt x="780" y="1104"/>
                  </a:lnTo>
                  <a:lnTo>
                    <a:pt x="780" y="1080"/>
                  </a:lnTo>
                  <a:lnTo>
                    <a:pt x="786" y="1080"/>
                  </a:lnTo>
                  <a:lnTo>
                    <a:pt x="786" y="1074"/>
                  </a:lnTo>
                  <a:lnTo>
                    <a:pt x="792" y="1074"/>
                  </a:lnTo>
                  <a:lnTo>
                    <a:pt x="786" y="1068"/>
                  </a:lnTo>
                  <a:lnTo>
                    <a:pt x="786" y="1062"/>
                  </a:lnTo>
                  <a:lnTo>
                    <a:pt x="786" y="1056"/>
                  </a:lnTo>
                  <a:lnTo>
                    <a:pt x="792" y="1050"/>
                  </a:lnTo>
                  <a:lnTo>
                    <a:pt x="786" y="1020"/>
                  </a:lnTo>
                  <a:lnTo>
                    <a:pt x="780" y="960"/>
                  </a:lnTo>
                  <a:lnTo>
                    <a:pt x="768" y="942"/>
                  </a:lnTo>
                  <a:lnTo>
                    <a:pt x="732" y="936"/>
                  </a:lnTo>
                  <a:lnTo>
                    <a:pt x="732" y="942"/>
                  </a:lnTo>
                  <a:lnTo>
                    <a:pt x="726" y="942"/>
                  </a:lnTo>
                  <a:lnTo>
                    <a:pt x="720" y="936"/>
                  </a:lnTo>
                  <a:lnTo>
                    <a:pt x="714" y="942"/>
                  </a:lnTo>
                  <a:lnTo>
                    <a:pt x="708" y="942"/>
                  </a:lnTo>
                  <a:lnTo>
                    <a:pt x="702" y="942"/>
                  </a:lnTo>
                  <a:lnTo>
                    <a:pt x="690" y="936"/>
                  </a:lnTo>
                  <a:lnTo>
                    <a:pt x="684" y="936"/>
                  </a:lnTo>
                  <a:lnTo>
                    <a:pt x="678" y="936"/>
                  </a:lnTo>
                  <a:lnTo>
                    <a:pt x="672" y="936"/>
                  </a:lnTo>
                  <a:lnTo>
                    <a:pt x="666" y="942"/>
                  </a:lnTo>
                  <a:lnTo>
                    <a:pt x="660" y="942"/>
                  </a:lnTo>
                  <a:lnTo>
                    <a:pt x="654" y="942"/>
                  </a:lnTo>
                  <a:lnTo>
                    <a:pt x="648" y="942"/>
                  </a:lnTo>
                  <a:lnTo>
                    <a:pt x="642" y="936"/>
                  </a:lnTo>
                  <a:lnTo>
                    <a:pt x="636" y="936"/>
                  </a:lnTo>
                  <a:lnTo>
                    <a:pt x="630" y="930"/>
                  </a:lnTo>
                  <a:lnTo>
                    <a:pt x="618" y="930"/>
                  </a:lnTo>
                  <a:lnTo>
                    <a:pt x="612" y="930"/>
                  </a:lnTo>
                  <a:lnTo>
                    <a:pt x="606" y="936"/>
                  </a:lnTo>
                  <a:lnTo>
                    <a:pt x="600" y="942"/>
                  </a:lnTo>
                  <a:lnTo>
                    <a:pt x="600" y="936"/>
                  </a:lnTo>
                  <a:lnTo>
                    <a:pt x="594" y="930"/>
                  </a:lnTo>
                  <a:lnTo>
                    <a:pt x="588" y="930"/>
                  </a:lnTo>
                  <a:lnTo>
                    <a:pt x="582" y="930"/>
                  </a:lnTo>
                  <a:lnTo>
                    <a:pt x="576" y="930"/>
                  </a:lnTo>
                  <a:lnTo>
                    <a:pt x="564" y="936"/>
                  </a:lnTo>
                  <a:lnTo>
                    <a:pt x="558" y="936"/>
                  </a:lnTo>
                  <a:lnTo>
                    <a:pt x="546" y="924"/>
                  </a:lnTo>
                  <a:lnTo>
                    <a:pt x="540" y="924"/>
                  </a:lnTo>
                  <a:lnTo>
                    <a:pt x="534" y="918"/>
                  </a:lnTo>
                  <a:lnTo>
                    <a:pt x="528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6" y="918"/>
                  </a:lnTo>
                  <a:lnTo>
                    <a:pt x="516" y="912"/>
                  </a:lnTo>
                  <a:lnTo>
                    <a:pt x="510" y="894"/>
                  </a:lnTo>
                  <a:lnTo>
                    <a:pt x="510" y="882"/>
                  </a:lnTo>
                  <a:lnTo>
                    <a:pt x="510" y="876"/>
                  </a:lnTo>
                  <a:lnTo>
                    <a:pt x="516" y="870"/>
                  </a:lnTo>
                  <a:lnTo>
                    <a:pt x="510" y="864"/>
                  </a:lnTo>
                  <a:lnTo>
                    <a:pt x="516" y="858"/>
                  </a:lnTo>
                  <a:lnTo>
                    <a:pt x="522" y="858"/>
                  </a:lnTo>
                  <a:lnTo>
                    <a:pt x="528" y="858"/>
                  </a:lnTo>
                  <a:lnTo>
                    <a:pt x="522" y="852"/>
                  </a:lnTo>
                  <a:lnTo>
                    <a:pt x="528" y="852"/>
                  </a:lnTo>
                  <a:lnTo>
                    <a:pt x="528" y="846"/>
                  </a:lnTo>
                  <a:lnTo>
                    <a:pt x="552" y="846"/>
                  </a:lnTo>
                  <a:lnTo>
                    <a:pt x="558" y="840"/>
                  </a:lnTo>
                  <a:lnTo>
                    <a:pt x="564" y="828"/>
                  </a:lnTo>
                  <a:lnTo>
                    <a:pt x="570" y="816"/>
                  </a:lnTo>
                  <a:lnTo>
                    <a:pt x="582" y="810"/>
                  </a:lnTo>
                  <a:lnTo>
                    <a:pt x="588" y="804"/>
                  </a:lnTo>
                  <a:lnTo>
                    <a:pt x="594" y="804"/>
                  </a:lnTo>
                  <a:lnTo>
                    <a:pt x="594" y="792"/>
                  </a:lnTo>
                  <a:lnTo>
                    <a:pt x="600" y="786"/>
                  </a:lnTo>
                  <a:lnTo>
                    <a:pt x="606" y="780"/>
                  </a:lnTo>
                  <a:lnTo>
                    <a:pt x="612" y="774"/>
                  </a:lnTo>
                  <a:lnTo>
                    <a:pt x="618" y="774"/>
                  </a:lnTo>
                  <a:lnTo>
                    <a:pt x="618" y="768"/>
                  </a:lnTo>
                  <a:lnTo>
                    <a:pt x="618" y="762"/>
                  </a:lnTo>
                  <a:lnTo>
                    <a:pt x="624" y="756"/>
                  </a:lnTo>
                  <a:lnTo>
                    <a:pt x="618" y="750"/>
                  </a:lnTo>
                  <a:lnTo>
                    <a:pt x="618" y="744"/>
                  </a:lnTo>
                  <a:lnTo>
                    <a:pt x="600" y="738"/>
                  </a:lnTo>
                  <a:lnTo>
                    <a:pt x="558" y="744"/>
                  </a:lnTo>
                  <a:lnTo>
                    <a:pt x="552" y="732"/>
                  </a:lnTo>
                  <a:lnTo>
                    <a:pt x="546" y="720"/>
                  </a:lnTo>
                  <a:lnTo>
                    <a:pt x="564" y="702"/>
                  </a:lnTo>
                  <a:lnTo>
                    <a:pt x="570" y="684"/>
                  </a:lnTo>
                  <a:lnTo>
                    <a:pt x="564" y="648"/>
                  </a:lnTo>
                  <a:lnTo>
                    <a:pt x="534" y="624"/>
                  </a:lnTo>
                  <a:lnTo>
                    <a:pt x="504" y="612"/>
                  </a:lnTo>
                  <a:lnTo>
                    <a:pt x="498" y="606"/>
                  </a:lnTo>
                  <a:lnTo>
                    <a:pt x="492" y="600"/>
                  </a:lnTo>
                  <a:lnTo>
                    <a:pt x="486" y="606"/>
                  </a:lnTo>
                  <a:lnTo>
                    <a:pt x="480" y="558"/>
                  </a:lnTo>
                  <a:lnTo>
                    <a:pt x="462" y="546"/>
                  </a:lnTo>
                  <a:lnTo>
                    <a:pt x="408" y="540"/>
                  </a:lnTo>
                  <a:lnTo>
                    <a:pt x="408" y="546"/>
                  </a:lnTo>
                  <a:lnTo>
                    <a:pt x="408" y="558"/>
                  </a:lnTo>
                  <a:lnTo>
                    <a:pt x="408" y="564"/>
                  </a:lnTo>
                  <a:lnTo>
                    <a:pt x="408" y="570"/>
                  </a:lnTo>
                  <a:lnTo>
                    <a:pt x="414" y="582"/>
                  </a:lnTo>
                  <a:lnTo>
                    <a:pt x="408" y="594"/>
                  </a:lnTo>
                  <a:lnTo>
                    <a:pt x="414" y="594"/>
                  </a:lnTo>
                  <a:lnTo>
                    <a:pt x="408" y="600"/>
                  </a:lnTo>
                  <a:lnTo>
                    <a:pt x="348" y="600"/>
                  </a:lnTo>
                  <a:lnTo>
                    <a:pt x="324" y="600"/>
                  </a:lnTo>
                  <a:lnTo>
                    <a:pt x="324" y="612"/>
                  </a:lnTo>
                  <a:lnTo>
                    <a:pt x="306" y="618"/>
                  </a:lnTo>
                  <a:lnTo>
                    <a:pt x="312" y="618"/>
                  </a:lnTo>
                  <a:lnTo>
                    <a:pt x="294" y="588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76"/>
                  </a:lnTo>
                  <a:lnTo>
                    <a:pt x="240" y="582"/>
                  </a:lnTo>
                  <a:lnTo>
                    <a:pt x="234" y="582"/>
                  </a:lnTo>
                  <a:lnTo>
                    <a:pt x="228" y="588"/>
                  </a:lnTo>
                  <a:lnTo>
                    <a:pt x="222" y="588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8" y="600"/>
                  </a:lnTo>
                  <a:lnTo>
                    <a:pt x="192" y="612"/>
                  </a:lnTo>
                  <a:lnTo>
                    <a:pt x="192" y="618"/>
                  </a:lnTo>
                  <a:lnTo>
                    <a:pt x="198" y="624"/>
                  </a:lnTo>
                  <a:lnTo>
                    <a:pt x="192" y="624"/>
                  </a:lnTo>
                  <a:lnTo>
                    <a:pt x="192" y="630"/>
                  </a:lnTo>
                  <a:lnTo>
                    <a:pt x="192" y="642"/>
                  </a:lnTo>
                  <a:lnTo>
                    <a:pt x="180" y="648"/>
                  </a:lnTo>
                  <a:lnTo>
                    <a:pt x="174" y="654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6"/>
                  </a:lnTo>
                  <a:lnTo>
                    <a:pt x="156" y="672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90"/>
                  </a:lnTo>
                  <a:lnTo>
                    <a:pt x="132" y="690"/>
                  </a:lnTo>
                  <a:lnTo>
                    <a:pt x="126" y="702"/>
                  </a:lnTo>
                  <a:lnTo>
                    <a:pt x="132" y="708"/>
                  </a:lnTo>
                  <a:lnTo>
                    <a:pt x="126" y="708"/>
                  </a:lnTo>
                  <a:lnTo>
                    <a:pt x="120" y="708"/>
                  </a:lnTo>
                  <a:lnTo>
                    <a:pt x="114" y="708"/>
                  </a:lnTo>
                  <a:lnTo>
                    <a:pt x="108" y="708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78" y="720"/>
                  </a:lnTo>
                  <a:lnTo>
                    <a:pt x="72" y="720"/>
                  </a:lnTo>
                  <a:lnTo>
                    <a:pt x="66" y="720"/>
                  </a:lnTo>
                  <a:lnTo>
                    <a:pt x="54" y="732"/>
                  </a:lnTo>
                  <a:lnTo>
                    <a:pt x="48" y="702"/>
                  </a:lnTo>
                  <a:lnTo>
                    <a:pt x="36" y="666"/>
                  </a:lnTo>
                  <a:lnTo>
                    <a:pt x="0" y="660"/>
                  </a:lnTo>
                  <a:lnTo>
                    <a:pt x="6" y="660"/>
                  </a:lnTo>
                  <a:lnTo>
                    <a:pt x="6" y="654"/>
                  </a:lnTo>
                  <a:lnTo>
                    <a:pt x="6" y="648"/>
                  </a:lnTo>
                  <a:lnTo>
                    <a:pt x="6" y="642"/>
                  </a:lnTo>
                  <a:lnTo>
                    <a:pt x="6" y="624"/>
                  </a:lnTo>
                  <a:lnTo>
                    <a:pt x="6" y="612"/>
                  </a:lnTo>
                  <a:lnTo>
                    <a:pt x="6" y="606"/>
                  </a:lnTo>
                  <a:lnTo>
                    <a:pt x="12" y="612"/>
                  </a:lnTo>
                  <a:lnTo>
                    <a:pt x="18" y="606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30" y="594"/>
                  </a:lnTo>
                  <a:lnTo>
                    <a:pt x="30" y="588"/>
                  </a:lnTo>
                  <a:lnTo>
                    <a:pt x="30" y="582"/>
                  </a:lnTo>
                  <a:lnTo>
                    <a:pt x="24" y="576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18" y="558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36" y="528"/>
                  </a:lnTo>
                  <a:lnTo>
                    <a:pt x="30" y="522"/>
                  </a:lnTo>
                  <a:lnTo>
                    <a:pt x="24" y="522"/>
                  </a:lnTo>
                  <a:lnTo>
                    <a:pt x="18" y="510"/>
                  </a:lnTo>
                  <a:lnTo>
                    <a:pt x="12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8" y="474"/>
                  </a:lnTo>
                  <a:lnTo>
                    <a:pt x="12" y="468"/>
                  </a:lnTo>
                  <a:lnTo>
                    <a:pt x="12" y="462"/>
                  </a:lnTo>
                  <a:lnTo>
                    <a:pt x="18" y="456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0" y="420"/>
                  </a:lnTo>
                  <a:lnTo>
                    <a:pt x="30" y="414"/>
                  </a:lnTo>
                  <a:lnTo>
                    <a:pt x="48" y="414"/>
                  </a:lnTo>
                  <a:lnTo>
                    <a:pt x="54" y="408"/>
                  </a:lnTo>
                  <a:lnTo>
                    <a:pt x="60" y="402"/>
                  </a:lnTo>
                  <a:lnTo>
                    <a:pt x="66" y="402"/>
                  </a:lnTo>
                  <a:lnTo>
                    <a:pt x="72" y="402"/>
                  </a:lnTo>
                  <a:lnTo>
                    <a:pt x="78" y="408"/>
                  </a:lnTo>
                  <a:lnTo>
                    <a:pt x="84" y="396"/>
                  </a:lnTo>
                  <a:lnTo>
                    <a:pt x="90" y="390"/>
                  </a:lnTo>
                  <a:lnTo>
                    <a:pt x="90" y="378"/>
                  </a:lnTo>
                  <a:lnTo>
                    <a:pt x="96" y="372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8" y="354"/>
                  </a:lnTo>
                  <a:lnTo>
                    <a:pt x="114" y="348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32" y="336"/>
                  </a:lnTo>
                  <a:lnTo>
                    <a:pt x="132" y="330"/>
                  </a:lnTo>
                  <a:lnTo>
                    <a:pt x="138" y="324"/>
                  </a:lnTo>
                  <a:lnTo>
                    <a:pt x="138" y="318"/>
                  </a:lnTo>
                  <a:lnTo>
                    <a:pt x="144" y="306"/>
                  </a:lnTo>
                  <a:lnTo>
                    <a:pt x="156" y="306"/>
                  </a:lnTo>
                  <a:lnTo>
                    <a:pt x="186" y="300"/>
                  </a:lnTo>
                  <a:lnTo>
                    <a:pt x="198" y="300"/>
                  </a:lnTo>
                  <a:lnTo>
                    <a:pt x="210" y="300"/>
                  </a:lnTo>
                  <a:lnTo>
                    <a:pt x="222" y="300"/>
                  </a:lnTo>
                  <a:lnTo>
                    <a:pt x="246" y="300"/>
                  </a:lnTo>
                  <a:lnTo>
                    <a:pt x="264" y="312"/>
                  </a:lnTo>
                  <a:lnTo>
                    <a:pt x="270" y="312"/>
                  </a:lnTo>
                  <a:lnTo>
                    <a:pt x="282" y="306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300" y="306"/>
                  </a:lnTo>
                  <a:lnTo>
                    <a:pt x="312" y="306"/>
                  </a:lnTo>
                  <a:lnTo>
                    <a:pt x="318" y="300"/>
                  </a:lnTo>
                  <a:lnTo>
                    <a:pt x="324" y="300"/>
                  </a:lnTo>
                  <a:lnTo>
                    <a:pt x="330" y="294"/>
                  </a:lnTo>
                  <a:lnTo>
                    <a:pt x="336" y="288"/>
                  </a:lnTo>
                  <a:lnTo>
                    <a:pt x="354" y="288"/>
                  </a:lnTo>
                  <a:lnTo>
                    <a:pt x="360" y="288"/>
                  </a:lnTo>
                  <a:lnTo>
                    <a:pt x="366" y="282"/>
                  </a:lnTo>
                  <a:lnTo>
                    <a:pt x="372" y="282"/>
                  </a:lnTo>
                  <a:lnTo>
                    <a:pt x="378" y="282"/>
                  </a:lnTo>
                  <a:lnTo>
                    <a:pt x="384" y="276"/>
                  </a:lnTo>
                  <a:lnTo>
                    <a:pt x="384" y="270"/>
                  </a:lnTo>
                  <a:lnTo>
                    <a:pt x="390" y="264"/>
                  </a:lnTo>
                  <a:lnTo>
                    <a:pt x="402" y="258"/>
                  </a:lnTo>
                  <a:lnTo>
                    <a:pt x="402" y="252"/>
                  </a:lnTo>
                  <a:lnTo>
                    <a:pt x="402" y="246"/>
                  </a:lnTo>
                  <a:lnTo>
                    <a:pt x="408" y="234"/>
                  </a:lnTo>
                  <a:lnTo>
                    <a:pt x="414" y="234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14" y="216"/>
                  </a:lnTo>
                  <a:lnTo>
                    <a:pt x="414" y="210"/>
                  </a:lnTo>
                  <a:lnTo>
                    <a:pt x="420" y="210"/>
                  </a:lnTo>
                  <a:lnTo>
                    <a:pt x="414" y="198"/>
                  </a:lnTo>
                  <a:lnTo>
                    <a:pt x="414" y="192"/>
                  </a:lnTo>
                  <a:lnTo>
                    <a:pt x="420" y="192"/>
                  </a:lnTo>
                  <a:lnTo>
                    <a:pt x="420" y="186"/>
                  </a:lnTo>
                  <a:lnTo>
                    <a:pt x="420" y="174"/>
                  </a:lnTo>
                  <a:lnTo>
                    <a:pt x="420" y="168"/>
                  </a:lnTo>
                  <a:lnTo>
                    <a:pt x="426" y="162"/>
                  </a:lnTo>
                  <a:lnTo>
                    <a:pt x="432" y="156"/>
                  </a:lnTo>
                  <a:lnTo>
                    <a:pt x="438" y="144"/>
                  </a:lnTo>
                  <a:lnTo>
                    <a:pt x="444" y="144"/>
                  </a:lnTo>
                  <a:lnTo>
                    <a:pt x="450" y="138"/>
                  </a:lnTo>
                  <a:lnTo>
                    <a:pt x="456" y="138"/>
                  </a:lnTo>
                  <a:lnTo>
                    <a:pt x="462" y="132"/>
                  </a:lnTo>
                  <a:lnTo>
                    <a:pt x="462" y="126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0"/>
                  </a:lnTo>
                  <a:lnTo>
                    <a:pt x="486" y="108"/>
                  </a:lnTo>
                  <a:lnTo>
                    <a:pt x="492" y="108"/>
                  </a:lnTo>
                  <a:lnTo>
                    <a:pt x="498" y="102"/>
                  </a:lnTo>
                  <a:lnTo>
                    <a:pt x="504" y="96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40" y="102"/>
                  </a:lnTo>
                  <a:lnTo>
                    <a:pt x="552" y="108"/>
                  </a:lnTo>
                  <a:lnTo>
                    <a:pt x="582" y="102"/>
                  </a:lnTo>
                  <a:lnTo>
                    <a:pt x="594" y="126"/>
                  </a:lnTo>
                  <a:lnTo>
                    <a:pt x="594" y="144"/>
                  </a:lnTo>
                  <a:lnTo>
                    <a:pt x="588" y="156"/>
                  </a:lnTo>
                  <a:lnTo>
                    <a:pt x="588" y="168"/>
                  </a:lnTo>
                  <a:lnTo>
                    <a:pt x="582" y="180"/>
                  </a:lnTo>
                  <a:lnTo>
                    <a:pt x="570" y="192"/>
                  </a:lnTo>
                  <a:lnTo>
                    <a:pt x="594" y="192"/>
                  </a:lnTo>
                  <a:lnTo>
                    <a:pt x="618" y="198"/>
                  </a:lnTo>
                  <a:lnTo>
                    <a:pt x="642" y="210"/>
                  </a:lnTo>
                  <a:lnTo>
                    <a:pt x="660" y="234"/>
                  </a:lnTo>
                  <a:lnTo>
                    <a:pt x="678" y="246"/>
                  </a:lnTo>
                  <a:lnTo>
                    <a:pt x="684" y="252"/>
                  </a:lnTo>
                  <a:lnTo>
                    <a:pt x="702" y="252"/>
                  </a:lnTo>
                  <a:lnTo>
                    <a:pt x="732" y="234"/>
                  </a:lnTo>
                  <a:lnTo>
                    <a:pt x="732" y="222"/>
                  </a:lnTo>
                  <a:lnTo>
                    <a:pt x="720" y="216"/>
                  </a:lnTo>
                  <a:lnTo>
                    <a:pt x="714" y="198"/>
                  </a:lnTo>
                  <a:lnTo>
                    <a:pt x="714" y="174"/>
                  </a:lnTo>
                  <a:lnTo>
                    <a:pt x="720" y="162"/>
                  </a:lnTo>
                  <a:lnTo>
                    <a:pt x="726" y="162"/>
                  </a:lnTo>
                  <a:lnTo>
                    <a:pt x="732" y="156"/>
                  </a:lnTo>
                  <a:lnTo>
                    <a:pt x="744" y="150"/>
                  </a:lnTo>
                  <a:lnTo>
                    <a:pt x="774" y="162"/>
                  </a:lnTo>
                  <a:lnTo>
                    <a:pt x="786" y="162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16" y="150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2" y="132"/>
                  </a:lnTo>
                  <a:lnTo>
                    <a:pt x="822" y="114"/>
                  </a:lnTo>
                  <a:lnTo>
                    <a:pt x="828" y="108"/>
                  </a:lnTo>
                  <a:lnTo>
                    <a:pt x="834" y="96"/>
                  </a:lnTo>
                  <a:lnTo>
                    <a:pt x="846" y="96"/>
                  </a:lnTo>
                  <a:lnTo>
                    <a:pt x="858" y="90"/>
                  </a:lnTo>
                  <a:lnTo>
                    <a:pt x="870" y="84"/>
                  </a:lnTo>
                  <a:lnTo>
                    <a:pt x="888" y="84"/>
                  </a:lnTo>
                  <a:lnTo>
                    <a:pt x="894" y="90"/>
                  </a:lnTo>
                  <a:lnTo>
                    <a:pt x="894" y="102"/>
                  </a:lnTo>
                  <a:lnTo>
                    <a:pt x="900" y="102"/>
                  </a:lnTo>
                  <a:lnTo>
                    <a:pt x="906" y="114"/>
                  </a:lnTo>
                  <a:lnTo>
                    <a:pt x="930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54" y="138"/>
                  </a:lnTo>
                  <a:lnTo>
                    <a:pt x="966" y="144"/>
                  </a:lnTo>
                  <a:lnTo>
                    <a:pt x="966" y="150"/>
                  </a:lnTo>
                  <a:lnTo>
                    <a:pt x="972" y="150"/>
                  </a:lnTo>
                  <a:lnTo>
                    <a:pt x="978" y="150"/>
                  </a:lnTo>
                  <a:lnTo>
                    <a:pt x="978" y="144"/>
                  </a:lnTo>
                  <a:lnTo>
                    <a:pt x="984" y="144"/>
                  </a:lnTo>
                  <a:lnTo>
                    <a:pt x="990" y="138"/>
                  </a:lnTo>
                  <a:lnTo>
                    <a:pt x="996" y="138"/>
                  </a:lnTo>
                  <a:lnTo>
                    <a:pt x="1002" y="138"/>
                  </a:lnTo>
                  <a:lnTo>
                    <a:pt x="1008" y="138"/>
                  </a:lnTo>
                  <a:lnTo>
                    <a:pt x="1026" y="132"/>
                  </a:lnTo>
                  <a:lnTo>
                    <a:pt x="1044" y="126"/>
                  </a:lnTo>
                  <a:lnTo>
                    <a:pt x="1056" y="120"/>
                  </a:lnTo>
                  <a:lnTo>
                    <a:pt x="1062" y="108"/>
                  </a:lnTo>
                  <a:lnTo>
                    <a:pt x="1056" y="102"/>
                  </a:lnTo>
                  <a:lnTo>
                    <a:pt x="1062" y="96"/>
                  </a:lnTo>
                  <a:lnTo>
                    <a:pt x="1074" y="90"/>
                  </a:lnTo>
                  <a:lnTo>
                    <a:pt x="1080" y="84"/>
                  </a:lnTo>
                  <a:lnTo>
                    <a:pt x="1128" y="84"/>
                  </a:lnTo>
                  <a:lnTo>
                    <a:pt x="1134" y="84"/>
                  </a:lnTo>
                  <a:lnTo>
                    <a:pt x="1140" y="78"/>
                  </a:lnTo>
                  <a:lnTo>
                    <a:pt x="1152" y="72"/>
                  </a:lnTo>
                  <a:lnTo>
                    <a:pt x="1164" y="66"/>
                  </a:lnTo>
                  <a:lnTo>
                    <a:pt x="1170" y="60"/>
                  </a:lnTo>
                  <a:lnTo>
                    <a:pt x="1188" y="48"/>
                  </a:lnTo>
                  <a:lnTo>
                    <a:pt x="1200" y="36"/>
                  </a:lnTo>
                  <a:lnTo>
                    <a:pt x="1218" y="24"/>
                  </a:lnTo>
                  <a:lnTo>
                    <a:pt x="1248" y="24"/>
                  </a:lnTo>
                  <a:lnTo>
                    <a:pt x="1272" y="24"/>
                  </a:lnTo>
                  <a:lnTo>
                    <a:pt x="1284" y="12"/>
                  </a:lnTo>
                  <a:lnTo>
                    <a:pt x="1302" y="0"/>
                  </a:lnTo>
                  <a:lnTo>
                    <a:pt x="1314" y="0"/>
                  </a:lnTo>
                  <a:lnTo>
                    <a:pt x="1326" y="18"/>
                  </a:lnTo>
                  <a:lnTo>
                    <a:pt x="1338" y="30"/>
                  </a:lnTo>
                  <a:lnTo>
                    <a:pt x="1338" y="54"/>
                  </a:lnTo>
                  <a:lnTo>
                    <a:pt x="1332" y="72"/>
                  </a:lnTo>
                  <a:lnTo>
                    <a:pt x="1326" y="72"/>
                  </a:lnTo>
                  <a:lnTo>
                    <a:pt x="1326" y="78"/>
                  </a:lnTo>
                  <a:lnTo>
                    <a:pt x="1326" y="102"/>
                  </a:lnTo>
                  <a:lnTo>
                    <a:pt x="1332" y="102"/>
                  </a:lnTo>
                  <a:lnTo>
                    <a:pt x="1332" y="108"/>
                  </a:lnTo>
                  <a:lnTo>
                    <a:pt x="1344" y="114"/>
                  </a:lnTo>
                  <a:lnTo>
                    <a:pt x="1350" y="114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404" y="132"/>
                  </a:lnTo>
                  <a:lnTo>
                    <a:pt x="1404" y="138"/>
                  </a:lnTo>
                  <a:lnTo>
                    <a:pt x="1410" y="150"/>
                  </a:lnTo>
                  <a:lnTo>
                    <a:pt x="1416" y="162"/>
                  </a:lnTo>
                  <a:lnTo>
                    <a:pt x="1428" y="168"/>
                  </a:lnTo>
                  <a:lnTo>
                    <a:pt x="1440" y="180"/>
                  </a:lnTo>
                  <a:lnTo>
                    <a:pt x="1476" y="174"/>
                  </a:lnTo>
                  <a:lnTo>
                    <a:pt x="1494" y="174"/>
                  </a:lnTo>
                  <a:lnTo>
                    <a:pt x="1512" y="192"/>
                  </a:lnTo>
                  <a:lnTo>
                    <a:pt x="1518" y="204"/>
                  </a:lnTo>
                  <a:lnTo>
                    <a:pt x="1530" y="216"/>
                  </a:lnTo>
                  <a:lnTo>
                    <a:pt x="1548" y="228"/>
                  </a:lnTo>
                  <a:lnTo>
                    <a:pt x="1548" y="234"/>
                  </a:lnTo>
                  <a:lnTo>
                    <a:pt x="1542" y="246"/>
                  </a:lnTo>
                  <a:lnTo>
                    <a:pt x="1560" y="246"/>
                  </a:lnTo>
                  <a:lnTo>
                    <a:pt x="1560" y="252"/>
                  </a:lnTo>
                  <a:lnTo>
                    <a:pt x="1566" y="258"/>
                  </a:lnTo>
                  <a:lnTo>
                    <a:pt x="1578" y="270"/>
                  </a:lnTo>
                  <a:lnTo>
                    <a:pt x="1596" y="270"/>
                  </a:lnTo>
                  <a:lnTo>
                    <a:pt x="1602" y="288"/>
                  </a:lnTo>
                  <a:lnTo>
                    <a:pt x="1608" y="306"/>
                  </a:lnTo>
                  <a:lnTo>
                    <a:pt x="1608" y="318"/>
                  </a:lnTo>
                  <a:lnTo>
                    <a:pt x="1608" y="324"/>
                  </a:lnTo>
                  <a:lnTo>
                    <a:pt x="1614" y="330"/>
                  </a:lnTo>
                  <a:lnTo>
                    <a:pt x="1614" y="336"/>
                  </a:lnTo>
                  <a:lnTo>
                    <a:pt x="1614" y="342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08" y="390"/>
                  </a:lnTo>
                  <a:lnTo>
                    <a:pt x="1602" y="390"/>
                  </a:lnTo>
                  <a:lnTo>
                    <a:pt x="1602" y="396"/>
                  </a:lnTo>
                  <a:lnTo>
                    <a:pt x="1584" y="420"/>
                  </a:lnTo>
                  <a:lnTo>
                    <a:pt x="1584" y="426"/>
                  </a:lnTo>
                  <a:lnTo>
                    <a:pt x="1602" y="474"/>
                  </a:lnTo>
                  <a:lnTo>
                    <a:pt x="1608" y="480"/>
                  </a:lnTo>
                  <a:lnTo>
                    <a:pt x="1608" y="486"/>
                  </a:lnTo>
                  <a:lnTo>
                    <a:pt x="1614" y="486"/>
                  </a:lnTo>
                  <a:lnTo>
                    <a:pt x="1608" y="504"/>
                  </a:lnTo>
                  <a:lnTo>
                    <a:pt x="1572" y="504"/>
                  </a:lnTo>
                  <a:lnTo>
                    <a:pt x="1560" y="510"/>
                  </a:lnTo>
                  <a:lnTo>
                    <a:pt x="1554" y="522"/>
                  </a:lnTo>
                  <a:lnTo>
                    <a:pt x="1560" y="552"/>
                  </a:lnTo>
                  <a:lnTo>
                    <a:pt x="1566" y="552"/>
                  </a:lnTo>
                  <a:lnTo>
                    <a:pt x="1566" y="558"/>
                  </a:lnTo>
                  <a:lnTo>
                    <a:pt x="1572" y="558"/>
                  </a:lnTo>
                  <a:lnTo>
                    <a:pt x="1578" y="558"/>
                  </a:lnTo>
                  <a:lnTo>
                    <a:pt x="1578" y="552"/>
                  </a:lnTo>
                  <a:lnTo>
                    <a:pt x="1584" y="552"/>
                  </a:lnTo>
                  <a:lnTo>
                    <a:pt x="1590" y="552"/>
                  </a:lnTo>
                  <a:lnTo>
                    <a:pt x="1590" y="546"/>
                  </a:lnTo>
                  <a:lnTo>
                    <a:pt x="1596" y="546"/>
                  </a:lnTo>
                  <a:lnTo>
                    <a:pt x="1602" y="552"/>
                  </a:lnTo>
                  <a:lnTo>
                    <a:pt x="1602" y="546"/>
                  </a:lnTo>
                  <a:lnTo>
                    <a:pt x="1608" y="546"/>
                  </a:lnTo>
                  <a:lnTo>
                    <a:pt x="1608" y="552"/>
                  </a:lnTo>
                  <a:lnTo>
                    <a:pt x="1614" y="552"/>
                  </a:lnTo>
                  <a:lnTo>
                    <a:pt x="1614" y="546"/>
                  </a:lnTo>
                  <a:lnTo>
                    <a:pt x="1620" y="552"/>
                  </a:lnTo>
                  <a:lnTo>
                    <a:pt x="1626" y="552"/>
                  </a:lnTo>
                  <a:lnTo>
                    <a:pt x="1626" y="558"/>
                  </a:lnTo>
                  <a:lnTo>
                    <a:pt x="1632" y="558"/>
                  </a:lnTo>
                  <a:lnTo>
                    <a:pt x="1638" y="558"/>
                  </a:lnTo>
                  <a:lnTo>
                    <a:pt x="1644" y="558"/>
                  </a:lnTo>
                  <a:lnTo>
                    <a:pt x="1650" y="558"/>
                  </a:lnTo>
                  <a:lnTo>
                    <a:pt x="1650" y="564"/>
                  </a:lnTo>
                  <a:lnTo>
                    <a:pt x="1656" y="564"/>
                  </a:lnTo>
                  <a:lnTo>
                    <a:pt x="1662" y="564"/>
                  </a:lnTo>
                  <a:lnTo>
                    <a:pt x="1668" y="564"/>
                  </a:lnTo>
                  <a:lnTo>
                    <a:pt x="1668" y="570"/>
                  </a:lnTo>
                  <a:lnTo>
                    <a:pt x="1674" y="570"/>
                  </a:lnTo>
                  <a:lnTo>
                    <a:pt x="1680" y="570"/>
                  </a:lnTo>
                  <a:lnTo>
                    <a:pt x="1686" y="576"/>
                  </a:lnTo>
                  <a:lnTo>
                    <a:pt x="1686" y="582"/>
                  </a:lnTo>
                  <a:lnTo>
                    <a:pt x="1710" y="588"/>
                  </a:lnTo>
                  <a:lnTo>
                    <a:pt x="1710" y="594"/>
                  </a:lnTo>
                  <a:lnTo>
                    <a:pt x="1704" y="600"/>
                  </a:lnTo>
                  <a:lnTo>
                    <a:pt x="1710" y="624"/>
                  </a:lnTo>
                  <a:lnTo>
                    <a:pt x="1698" y="672"/>
                  </a:lnTo>
                  <a:lnTo>
                    <a:pt x="1704" y="678"/>
                  </a:lnTo>
                  <a:lnTo>
                    <a:pt x="1716" y="684"/>
                  </a:lnTo>
                  <a:lnTo>
                    <a:pt x="1716" y="678"/>
                  </a:lnTo>
                  <a:lnTo>
                    <a:pt x="1716" y="684"/>
                  </a:lnTo>
                  <a:lnTo>
                    <a:pt x="1728" y="684"/>
                  </a:lnTo>
                  <a:lnTo>
                    <a:pt x="1728" y="690"/>
                  </a:lnTo>
                  <a:lnTo>
                    <a:pt x="1734" y="696"/>
                  </a:lnTo>
                  <a:lnTo>
                    <a:pt x="1734" y="702"/>
                  </a:lnTo>
                  <a:lnTo>
                    <a:pt x="1740" y="708"/>
                  </a:lnTo>
                  <a:lnTo>
                    <a:pt x="1740" y="714"/>
                  </a:lnTo>
                  <a:lnTo>
                    <a:pt x="1710" y="714"/>
                  </a:lnTo>
                  <a:lnTo>
                    <a:pt x="1710" y="756"/>
                  </a:lnTo>
                  <a:lnTo>
                    <a:pt x="1704" y="762"/>
                  </a:lnTo>
                  <a:lnTo>
                    <a:pt x="1698" y="762"/>
                  </a:lnTo>
                  <a:lnTo>
                    <a:pt x="1698" y="768"/>
                  </a:lnTo>
                  <a:lnTo>
                    <a:pt x="1698" y="774"/>
                  </a:lnTo>
                  <a:lnTo>
                    <a:pt x="1692" y="780"/>
                  </a:lnTo>
                  <a:lnTo>
                    <a:pt x="1692" y="786"/>
                  </a:lnTo>
                  <a:lnTo>
                    <a:pt x="1686" y="786"/>
                  </a:lnTo>
                  <a:lnTo>
                    <a:pt x="1668" y="798"/>
                  </a:lnTo>
                  <a:lnTo>
                    <a:pt x="1662" y="810"/>
                  </a:lnTo>
                  <a:lnTo>
                    <a:pt x="1650" y="810"/>
                  </a:lnTo>
                  <a:lnTo>
                    <a:pt x="1644" y="816"/>
                  </a:lnTo>
                  <a:lnTo>
                    <a:pt x="1638" y="816"/>
                  </a:lnTo>
                  <a:lnTo>
                    <a:pt x="1626" y="852"/>
                  </a:lnTo>
                  <a:lnTo>
                    <a:pt x="1620" y="888"/>
                  </a:lnTo>
                  <a:lnTo>
                    <a:pt x="1626" y="888"/>
                  </a:lnTo>
                  <a:lnTo>
                    <a:pt x="1638" y="912"/>
                  </a:lnTo>
                  <a:lnTo>
                    <a:pt x="1644" y="918"/>
                  </a:lnTo>
                  <a:lnTo>
                    <a:pt x="1650" y="966"/>
                  </a:lnTo>
                  <a:lnTo>
                    <a:pt x="1626" y="972"/>
                  </a:lnTo>
                  <a:lnTo>
                    <a:pt x="1608" y="978"/>
                  </a:lnTo>
                  <a:lnTo>
                    <a:pt x="1614" y="984"/>
                  </a:lnTo>
                  <a:lnTo>
                    <a:pt x="1620" y="984"/>
                  </a:lnTo>
                  <a:lnTo>
                    <a:pt x="1620" y="1020"/>
                  </a:lnTo>
                  <a:lnTo>
                    <a:pt x="1614" y="1038"/>
                  </a:lnTo>
                  <a:lnTo>
                    <a:pt x="1620" y="1044"/>
                  </a:lnTo>
                  <a:lnTo>
                    <a:pt x="1626" y="1056"/>
                  </a:lnTo>
                  <a:lnTo>
                    <a:pt x="1626" y="1074"/>
                  </a:lnTo>
                  <a:lnTo>
                    <a:pt x="1620" y="1080"/>
                  </a:lnTo>
                  <a:lnTo>
                    <a:pt x="1620" y="1104"/>
                  </a:lnTo>
                  <a:lnTo>
                    <a:pt x="1620" y="1110"/>
                  </a:lnTo>
                  <a:lnTo>
                    <a:pt x="1614" y="1116"/>
                  </a:lnTo>
                  <a:lnTo>
                    <a:pt x="1608" y="1140"/>
                  </a:lnTo>
                  <a:lnTo>
                    <a:pt x="1602" y="1146"/>
                  </a:lnTo>
                  <a:lnTo>
                    <a:pt x="1602" y="1164"/>
                  </a:lnTo>
                  <a:lnTo>
                    <a:pt x="1596" y="1170"/>
                  </a:lnTo>
                  <a:lnTo>
                    <a:pt x="1590" y="1164"/>
                  </a:lnTo>
                  <a:lnTo>
                    <a:pt x="1584" y="1164"/>
                  </a:lnTo>
                  <a:lnTo>
                    <a:pt x="1578" y="1164"/>
                  </a:lnTo>
                  <a:lnTo>
                    <a:pt x="1578" y="1188"/>
                  </a:lnTo>
                  <a:lnTo>
                    <a:pt x="1584" y="1194"/>
                  </a:lnTo>
                  <a:lnTo>
                    <a:pt x="1590" y="1194"/>
                  </a:lnTo>
                  <a:lnTo>
                    <a:pt x="1590" y="1212"/>
                  </a:lnTo>
                  <a:lnTo>
                    <a:pt x="1584" y="1212"/>
                  </a:lnTo>
                  <a:lnTo>
                    <a:pt x="1584" y="1224"/>
                  </a:lnTo>
                  <a:lnTo>
                    <a:pt x="1578" y="1224"/>
                  </a:lnTo>
                  <a:lnTo>
                    <a:pt x="1578" y="1236"/>
                  </a:lnTo>
                  <a:lnTo>
                    <a:pt x="1584" y="1254"/>
                  </a:lnTo>
                  <a:lnTo>
                    <a:pt x="1584" y="1260"/>
                  </a:lnTo>
                  <a:lnTo>
                    <a:pt x="1590" y="1260"/>
                  </a:lnTo>
                  <a:lnTo>
                    <a:pt x="1590" y="1266"/>
                  </a:lnTo>
                  <a:lnTo>
                    <a:pt x="1596" y="1284"/>
                  </a:lnTo>
                  <a:lnTo>
                    <a:pt x="1602" y="1278"/>
                  </a:lnTo>
                  <a:lnTo>
                    <a:pt x="1608" y="1284"/>
                  </a:lnTo>
                  <a:lnTo>
                    <a:pt x="1632" y="1350"/>
                  </a:lnTo>
                  <a:lnTo>
                    <a:pt x="1638" y="1356"/>
                  </a:lnTo>
                  <a:lnTo>
                    <a:pt x="1644" y="1356"/>
                  </a:lnTo>
                  <a:lnTo>
                    <a:pt x="1650" y="1356"/>
                  </a:lnTo>
                  <a:lnTo>
                    <a:pt x="1656" y="1356"/>
                  </a:lnTo>
                  <a:lnTo>
                    <a:pt x="1662" y="1362"/>
                  </a:lnTo>
                  <a:lnTo>
                    <a:pt x="1668" y="1356"/>
                  </a:lnTo>
                  <a:lnTo>
                    <a:pt x="1668" y="1380"/>
                  </a:lnTo>
                  <a:lnTo>
                    <a:pt x="1662" y="1392"/>
                  </a:lnTo>
                  <a:lnTo>
                    <a:pt x="1656" y="1404"/>
                  </a:lnTo>
                  <a:lnTo>
                    <a:pt x="1656" y="1410"/>
                  </a:lnTo>
                  <a:lnTo>
                    <a:pt x="1656" y="1416"/>
                  </a:lnTo>
                  <a:lnTo>
                    <a:pt x="1650" y="1422"/>
                  </a:lnTo>
                  <a:lnTo>
                    <a:pt x="1650" y="1428"/>
                  </a:lnTo>
                  <a:lnTo>
                    <a:pt x="1644" y="1428"/>
                  </a:lnTo>
                  <a:lnTo>
                    <a:pt x="1644" y="1434"/>
                  </a:lnTo>
                  <a:lnTo>
                    <a:pt x="1638" y="1434"/>
                  </a:lnTo>
                  <a:lnTo>
                    <a:pt x="1638" y="1440"/>
                  </a:lnTo>
                  <a:lnTo>
                    <a:pt x="1632" y="1440"/>
                  </a:lnTo>
                  <a:lnTo>
                    <a:pt x="1638" y="145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8" name="Freeform 13">
              <a:extLst>
                <a:ext uri="{FF2B5EF4-FFF2-40B4-BE49-F238E27FC236}">
                  <a16:creationId xmlns:a16="http://schemas.microsoft.com/office/drawing/2014/main" id="{66308D9B-1739-4227-AAC3-BB866CD1F5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63374" y="2969626"/>
              <a:ext cx="330956" cy="357840"/>
            </a:xfrm>
            <a:custGeom>
              <a:avLst/>
              <a:gdLst>
                <a:gd name="T0" fmla="*/ 11 w 624"/>
                <a:gd name="T1" fmla="*/ 59 h 672"/>
                <a:gd name="T2" fmla="*/ 4 w 624"/>
                <a:gd name="T3" fmla="*/ 58 h 672"/>
                <a:gd name="T4" fmla="*/ 3 w 624"/>
                <a:gd name="T5" fmla="*/ 58 h 672"/>
                <a:gd name="T6" fmla="*/ 2 w 624"/>
                <a:gd name="T7" fmla="*/ 11 h 672"/>
                <a:gd name="T8" fmla="*/ 13 w 624"/>
                <a:gd name="T9" fmla="*/ 11 h 672"/>
                <a:gd name="T10" fmla="*/ 14 w 624"/>
                <a:gd name="T11" fmla="*/ 11 h 672"/>
                <a:gd name="T12" fmla="*/ 15 w 624"/>
                <a:gd name="T13" fmla="*/ 12 h 672"/>
                <a:gd name="T14" fmla="*/ 18 w 624"/>
                <a:gd name="T15" fmla="*/ 14 h 672"/>
                <a:gd name="T16" fmla="*/ 21 w 624"/>
                <a:gd name="T17" fmla="*/ 16 h 672"/>
                <a:gd name="T18" fmla="*/ 22 w 624"/>
                <a:gd name="T19" fmla="*/ 18 h 672"/>
                <a:gd name="T20" fmla="*/ 23 w 624"/>
                <a:gd name="T21" fmla="*/ 19 h 672"/>
                <a:gd name="T22" fmla="*/ 24 w 624"/>
                <a:gd name="T23" fmla="*/ 19 h 672"/>
                <a:gd name="T24" fmla="*/ 26 w 624"/>
                <a:gd name="T25" fmla="*/ 19 h 672"/>
                <a:gd name="T26" fmla="*/ 27 w 624"/>
                <a:gd name="T27" fmla="*/ 18 h 672"/>
                <a:gd name="T28" fmla="*/ 29 w 624"/>
                <a:gd name="T29" fmla="*/ 15 h 672"/>
                <a:gd name="T30" fmla="*/ 30 w 624"/>
                <a:gd name="T31" fmla="*/ 14 h 672"/>
                <a:gd name="T32" fmla="*/ 31 w 624"/>
                <a:gd name="T33" fmla="*/ 12 h 672"/>
                <a:gd name="T34" fmla="*/ 32 w 624"/>
                <a:gd name="T35" fmla="*/ 12 h 672"/>
                <a:gd name="T36" fmla="*/ 33 w 624"/>
                <a:gd name="T37" fmla="*/ 10 h 672"/>
                <a:gd name="T38" fmla="*/ 34 w 624"/>
                <a:gd name="T39" fmla="*/ 8 h 672"/>
                <a:gd name="T40" fmla="*/ 34 w 624"/>
                <a:gd name="T41" fmla="*/ 6 h 672"/>
                <a:gd name="T42" fmla="*/ 35 w 624"/>
                <a:gd name="T43" fmla="*/ 4 h 672"/>
                <a:gd name="T44" fmla="*/ 42 w 624"/>
                <a:gd name="T45" fmla="*/ 3 h 672"/>
                <a:gd name="T46" fmla="*/ 44 w 624"/>
                <a:gd name="T47" fmla="*/ 2 h 672"/>
                <a:gd name="T48" fmla="*/ 46 w 624"/>
                <a:gd name="T49" fmla="*/ 0 h 672"/>
                <a:gd name="T50" fmla="*/ 51 w 624"/>
                <a:gd name="T51" fmla="*/ 3 h 672"/>
                <a:gd name="T52" fmla="*/ 54 w 624"/>
                <a:gd name="T53" fmla="*/ 6 h 672"/>
                <a:gd name="T54" fmla="*/ 54 w 624"/>
                <a:gd name="T55" fmla="*/ 8 h 672"/>
                <a:gd name="T56" fmla="*/ 52 w 624"/>
                <a:gd name="T57" fmla="*/ 9 h 672"/>
                <a:gd name="T58" fmla="*/ 49 w 624"/>
                <a:gd name="T59" fmla="*/ 11 h 672"/>
                <a:gd name="T60" fmla="*/ 48 w 624"/>
                <a:gd name="T61" fmla="*/ 14 h 672"/>
                <a:gd name="T62" fmla="*/ 46 w 624"/>
                <a:gd name="T63" fmla="*/ 22 h 672"/>
                <a:gd name="T64" fmla="*/ 45 w 624"/>
                <a:gd name="T65" fmla="*/ 39 h 672"/>
                <a:gd name="T66" fmla="*/ 43 w 624"/>
                <a:gd name="T67" fmla="*/ 43 h 672"/>
                <a:gd name="T68" fmla="*/ 39 w 624"/>
                <a:gd name="T69" fmla="*/ 50 h 672"/>
                <a:gd name="T70" fmla="*/ 36 w 624"/>
                <a:gd name="T71" fmla="*/ 53 h 672"/>
                <a:gd name="T72" fmla="*/ 32 w 624"/>
                <a:gd name="T73" fmla="*/ 56 h 672"/>
                <a:gd name="T74" fmla="*/ 30 w 624"/>
                <a:gd name="T75" fmla="*/ 58 h 672"/>
                <a:gd name="T76" fmla="*/ 20 w 624"/>
                <a:gd name="T77" fmla="*/ 59 h 672"/>
                <a:gd name="T78" fmla="*/ 15 w 624"/>
                <a:gd name="T79" fmla="*/ 59 h 67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24"/>
                <a:gd name="T121" fmla="*/ 0 h 672"/>
                <a:gd name="T122" fmla="*/ 624 w 624"/>
                <a:gd name="T123" fmla="*/ 672 h 67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24" h="672">
                  <a:moveTo>
                    <a:pt x="168" y="672"/>
                  </a:moveTo>
                  <a:lnTo>
                    <a:pt x="132" y="672"/>
                  </a:lnTo>
                  <a:lnTo>
                    <a:pt x="72" y="666"/>
                  </a:lnTo>
                  <a:lnTo>
                    <a:pt x="42" y="666"/>
                  </a:lnTo>
                  <a:lnTo>
                    <a:pt x="36" y="666"/>
                  </a:lnTo>
                  <a:lnTo>
                    <a:pt x="30" y="660"/>
                  </a:lnTo>
                  <a:lnTo>
                    <a:pt x="0" y="660"/>
                  </a:lnTo>
                  <a:lnTo>
                    <a:pt x="24" y="120"/>
                  </a:lnTo>
                  <a:lnTo>
                    <a:pt x="60" y="120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62" y="120"/>
                  </a:lnTo>
                  <a:lnTo>
                    <a:pt x="168" y="120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10" y="156"/>
                  </a:lnTo>
                  <a:lnTo>
                    <a:pt x="222" y="174"/>
                  </a:lnTo>
                  <a:lnTo>
                    <a:pt x="240" y="186"/>
                  </a:lnTo>
                  <a:lnTo>
                    <a:pt x="252" y="198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216"/>
                  </a:lnTo>
                  <a:lnTo>
                    <a:pt x="270" y="216"/>
                  </a:lnTo>
                  <a:lnTo>
                    <a:pt x="282" y="222"/>
                  </a:lnTo>
                  <a:lnTo>
                    <a:pt x="288" y="222"/>
                  </a:lnTo>
                  <a:lnTo>
                    <a:pt x="294" y="216"/>
                  </a:lnTo>
                  <a:lnTo>
                    <a:pt x="294" y="210"/>
                  </a:lnTo>
                  <a:lnTo>
                    <a:pt x="312" y="204"/>
                  </a:lnTo>
                  <a:lnTo>
                    <a:pt x="330" y="186"/>
                  </a:lnTo>
                  <a:lnTo>
                    <a:pt x="336" y="174"/>
                  </a:lnTo>
                  <a:lnTo>
                    <a:pt x="342" y="162"/>
                  </a:lnTo>
                  <a:lnTo>
                    <a:pt x="342" y="156"/>
                  </a:lnTo>
                  <a:lnTo>
                    <a:pt x="348" y="150"/>
                  </a:lnTo>
                  <a:lnTo>
                    <a:pt x="354" y="144"/>
                  </a:lnTo>
                  <a:lnTo>
                    <a:pt x="360" y="138"/>
                  </a:lnTo>
                  <a:lnTo>
                    <a:pt x="366" y="132"/>
                  </a:lnTo>
                  <a:lnTo>
                    <a:pt x="372" y="114"/>
                  </a:lnTo>
                  <a:lnTo>
                    <a:pt x="378" y="114"/>
                  </a:lnTo>
                  <a:lnTo>
                    <a:pt x="378" y="96"/>
                  </a:lnTo>
                  <a:lnTo>
                    <a:pt x="390" y="96"/>
                  </a:lnTo>
                  <a:lnTo>
                    <a:pt x="396" y="84"/>
                  </a:lnTo>
                  <a:lnTo>
                    <a:pt x="396" y="72"/>
                  </a:lnTo>
                  <a:lnTo>
                    <a:pt x="396" y="54"/>
                  </a:lnTo>
                  <a:lnTo>
                    <a:pt x="408" y="42"/>
                  </a:lnTo>
                  <a:lnTo>
                    <a:pt x="468" y="42"/>
                  </a:lnTo>
                  <a:lnTo>
                    <a:pt x="486" y="36"/>
                  </a:lnTo>
                  <a:lnTo>
                    <a:pt x="492" y="24"/>
                  </a:lnTo>
                  <a:lnTo>
                    <a:pt x="504" y="24"/>
                  </a:lnTo>
                  <a:lnTo>
                    <a:pt x="516" y="6"/>
                  </a:lnTo>
                  <a:lnTo>
                    <a:pt x="528" y="0"/>
                  </a:lnTo>
                  <a:lnTo>
                    <a:pt x="558" y="12"/>
                  </a:lnTo>
                  <a:lnTo>
                    <a:pt x="588" y="36"/>
                  </a:lnTo>
                  <a:lnTo>
                    <a:pt x="600" y="66"/>
                  </a:lnTo>
                  <a:lnTo>
                    <a:pt x="624" y="66"/>
                  </a:lnTo>
                  <a:lnTo>
                    <a:pt x="624" y="90"/>
                  </a:lnTo>
                  <a:lnTo>
                    <a:pt x="618" y="90"/>
                  </a:lnTo>
                  <a:lnTo>
                    <a:pt x="618" y="96"/>
                  </a:lnTo>
                  <a:lnTo>
                    <a:pt x="600" y="102"/>
                  </a:lnTo>
                  <a:lnTo>
                    <a:pt x="588" y="108"/>
                  </a:lnTo>
                  <a:lnTo>
                    <a:pt x="570" y="120"/>
                  </a:lnTo>
                  <a:lnTo>
                    <a:pt x="564" y="138"/>
                  </a:lnTo>
                  <a:lnTo>
                    <a:pt x="558" y="162"/>
                  </a:lnTo>
                  <a:lnTo>
                    <a:pt x="540" y="210"/>
                  </a:lnTo>
                  <a:lnTo>
                    <a:pt x="528" y="252"/>
                  </a:lnTo>
                  <a:lnTo>
                    <a:pt x="528" y="402"/>
                  </a:lnTo>
                  <a:lnTo>
                    <a:pt x="522" y="444"/>
                  </a:lnTo>
                  <a:lnTo>
                    <a:pt x="510" y="468"/>
                  </a:lnTo>
                  <a:lnTo>
                    <a:pt x="498" y="498"/>
                  </a:lnTo>
                  <a:lnTo>
                    <a:pt x="474" y="534"/>
                  </a:lnTo>
                  <a:lnTo>
                    <a:pt x="456" y="570"/>
                  </a:lnTo>
                  <a:lnTo>
                    <a:pt x="444" y="576"/>
                  </a:lnTo>
                  <a:lnTo>
                    <a:pt x="420" y="606"/>
                  </a:lnTo>
                  <a:lnTo>
                    <a:pt x="390" y="624"/>
                  </a:lnTo>
                  <a:lnTo>
                    <a:pt x="372" y="642"/>
                  </a:lnTo>
                  <a:lnTo>
                    <a:pt x="366" y="654"/>
                  </a:lnTo>
                  <a:lnTo>
                    <a:pt x="342" y="660"/>
                  </a:lnTo>
                  <a:lnTo>
                    <a:pt x="300" y="666"/>
                  </a:lnTo>
                  <a:lnTo>
                    <a:pt x="234" y="672"/>
                  </a:lnTo>
                  <a:lnTo>
                    <a:pt x="192" y="672"/>
                  </a:lnTo>
                  <a:lnTo>
                    <a:pt x="168" y="67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9" name="Freeform 14">
              <a:extLst>
                <a:ext uri="{FF2B5EF4-FFF2-40B4-BE49-F238E27FC236}">
                  <a16:creationId xmlns:a16="http://schemas.microsoft.com/office/drawing/2014/main" id="{2EA1E999-9CDF-4391-8BC9-7DE71AF9C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0460" y="2983045"/>
              <a:ext cx="905658" cy="561362"/>
            </a:xfrm>
            <a:custGeom>
              <a:avLst/>
              <a:gdLst>
                <a:gd name="T0" fmla="*/ 31 w 1704"/>
                <a:gd name="T1" fmla="*/ 78 h 1056"/>
                <a:gd name="T2" fmla="*/ 23 w 1704"/>
                <a:gd name="T3" fmla="*/ 78 h 1056"/>
                <a:gd name="T4" fmla="*/ 11 w 1704"/>
                <a:gd name="T5" fmla="*/ 79 h 1056"/>
                <a:gd name="T6" fmla="*/ 1 w 1704"/>
                <a:gd name="T7" fmla="*/ 81 h 1056"/>
                <a:gd name="T8" fmla="*/ 0 w 1704"/>
                <a:gd name="T9" fmla="*/ 62 h 1056"/>
                <a:gd name="T10" fmla="*/ 9 w 1704"/>
                <a:gd name="T11" fmla="*/ 56 h 1056"/>
                <a:gd name="T12" fmla="*/ 27 w 1704"/>
                <a:gd name="T13" fmla="*/ 48 h 1056"/>
                <a:gd name="T14" fmla="*/ 35 w 1704"/>
                <a:gd name="T15" fmla="*/ 20 h 1056"/>
                <a:gd name="T16" fmla="*/ 43 w 1704"/>
                <a:gd name="T17" fmla="*/ 6 h 1056"/>
                <a:gd name="T18" fmla="*/ 47 w 1704"/>
                <a:gd name="T19" fmla="*/ 7 h 1056"/>
                <a:gd name="T20" fmla="*/ 52 w 1704"/>
                <a:gd name="T21" fmla="*/ 0 h 1056"/>
                <a:gd name="T22" fmla="*/ 59 w 1704"/>
                <a:gd name="T23" fmla="*/ 5 h 1056"/>
                <a:gd name="T24" fmla="*/ 63 w 1704"/>
                <a:gd name="T25" fmla="*/ 12 h 1056"/>
                <a:gd name="T26" fmla="*/ 62 w 1704"/>
                <a:gd name="T27" fmla="*/ 15 h 1056"/>
                <a:gd name="T28" fmla="*/ 62 w 1704"/>
                <a:gd name="T29" fmla="*/ 18 h 1056"/>
                <a:gd name="T30" fmla="*/ 70 w 1704"/>
                <a:gd name="T31" fmla="*/ 18 h 1056"/>
                <a:gd name="T32" fmla="*/ 71 w 1704"/>
                <a:gd name="T33" fmla="*/ 14 h 1056"/>
                <a:gd name="T34" fmla="*/ 72 w 1704"/>
                <a:gd name="T35" fmla="*/ 12 h 1056"/>
                <a:gd name="T36" fmla="*/ 78 w 1704"/>
                <a:gd name="T37" fmla="*/ 14 h 1056"/>
                <a:gd name="T38" fmla="*/ 85 w 1704"/>
                <a:gd name="T39" fmla="*/ 21 h 1056"/>
                <a:gd name="T40" fmla="*/ 91 w 1704"/>
                <a:gd name="T41" fmla="*/ 15 h 1056"/>
                <a:gd name="T42" fmla="*/ 93 w 1704"/>
                <a:gd name="T43" fmla="*/ 10 h 1056"/>
                <a:gd name="T44" fmla="*/ 101 w 1704"/>
                <a:gd name="T45" fmla="*/ 14 h 1056"/>
                <a:gd name="T46" fmla="*/ 103 w 1704"/>
                <a:gd name="T47" fmla="*/ 19 h 1056"/>
                <a:gd name="T48" fmla="*/ 115 w 1704"/>
                <a:gd name="T49" fmla="*/ 20 h 1056"/>
                <a:gd name="T50" fmla="*/ 118 w 1704"/>
                <a:gd name="T51" fmla="*/ 23 h 1056"/>
                <a:gd name="T52" fmla="*/ 117 w 1704"/>
                <a:gd name="T53" fmla="*/ 27 h 1056"/>
                <a:gd name="T54" fmla="*/ 111 w 1704"/>
                <a:gd name="T55" fmla="*/ 33 h 1056"/>
                <a:gd name="T56" fmla="*/ 108 w 1704"/>
                <a:gd name="T57" fmla="*/ 36 h 1056"/>
                <a:gd name="T58" fmla="*/ 109 w 1704"/>
                <a:gd name="T59" fmla="*/ 40 h 1056"/>
                <a:gd name="T60" fmla="*/ 111 w 1704"/>
                <a:gd name="T61" fmla="*/ 43 h 1056"/>
                <a:gd name="T62" fmla="*/ 113 w 1704"/>
                <a:gd name="T63" fmla="*/ 50 h 1056"/>
                <a:gd name="T64" fmla="*/ 121 w 1704"/>
                <a:gd name="T65" fmla="*/ 55 h 1056"/>
                <a:gd name="T66" fmla="*/ 132 w 1704"/>
                <a:gd name="T67" fmla="*/ 52 h 1056"/>
                <a:gd name="T68" fmla="*/ 148 w 1704"/>
                <a:gd name="T69" fmla="*/ 58 h 1056"/>
                <a:gd name="T70" fmla="*/ 148 w 1704"/>
                <a:gd name="T71" fmla="*/ 61 h 1056"/>
                <a:gd name="T72" fmla="*/ 148 w 1704"/>
                <a:gd name="T73" fmla="*/ 64 h 1056"/>
                <a:gd name="T74" fmla="*/ 135 w 1704"/>
                <a:gd name="T75" fmla="*/ 61 h 1056"/>
                <a:gd name="T76" fmla="*/ 135 w 1704"/>
                <a:gd name="T77" fmla="*/ 66 h 1056"/>
                <a:gd name="T78" fmla="*/ 137 w 1704"/>
                <a:gd name="T79" fmla="*/ 71 h 1056"/>
                <a:gd name="T80" fmla="*/ 136 w 1704"/>
                <a:gd name="T81" fmla="*/ 79 h 1056"/>
                <a:gd name="T82" fmla="*/ 126 w 1704"/>
                <a:gd name="T83" fmla="*/ 84 h 1056"/>
                <a:gd name="T84" fmla="*/ 121 w 1704"/>
                <a:gd name="T85" fmla="*/ 79 h 1056"/>
                <a:gd name="T86" fmla="*/ 117 w 1704"/>
                <a:gd name="T87" fmla="*/ 75 h 1056"/>
                <a:gd name="T88" fmla="*/ 98 w 1704"/>
                <a:gd name="T89" fmla="*/ 74 h 1056"/>
                <a:gd name="T90" fmla="*/ 81 w 1704"/>
                <a:gd name="T91" fmla="*/ 75 h 1056"/>
                <a:gd name="T92" fmla="*/ 83 w 1704"/>
                <a:gd name="T93" fmla="*/ 88 h 1056"/>
                <a:gd name="T94" fmla="*/ 82 w 1704"/>
                <a:gd name="T95" fmla="*/ 91 h 1056"/>
                <a:gd name="T96" fmla="*/ 77 w 1704"/>
                <a:gd name="T97" fmla="*/ 90 h 1056"/>
                <a:gd name="T98" fmla="*/ 73 w 1704"/>
                <a:gd name="T99" fmla="*/ 86 h 1056"/>
                <a:gd name="T100" fmla="*/ 68 w 1704"/>
                <a:gd name="T101" fmla="*/ 85 h 1056"/>
                <a:gd name="T102" fmla="*/ 64 w 1704"/>
                <a:gd name="T103" fmla="*/ 83 h 1056"/>
                <a:gd name="T104" fmla="*/ 57 w 1704"/>
                <a:gd name="T105" fmla="*/ 81 h 1056"/>
                <a:gd name="T106" fmla="*/ 52 w 1704"/>
                <a:gd name="T107" fmla="*/ 80 h 1056"/>
                <a:gd name="T108" fmla="*/ 50 w 1704"/>
                <a:gd name="T109" fmla="*/ 80 h 1056"/>
                <a:gd name="T110" fmla="*/ 46 w 1704"/>
                <a:gd name="T111" fmla="*/ 79 h 1056"/>
                <a:gd name="T112" fmla="*/ 41 w 1704"/>
                <a:gd name="T113" fmla="*/ 78 h 10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04"/>
                <a:gd name="T172" fmla="*/ 0 h 1056"/>
                <a:gd name="T173" fmla="*/ 1704 w 1704"/>
                <a:gd name="T174" fmla="*/ 1056 h 10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04" h="1056">
                  <a:moveTo>
                    <a:pt x="450" y="888"/>
                  </a:moveTo>
                  <a:lnTo>
                    <a:pt x="420" y="888"/>
                  </a:lnTo>
                  <a:lnTo>
                    <a:pt x="414" y="888"/>
                  </a:lnTo>
                  <a:lnTo>
                    <a:pt x="396" y="888"/>
                  </a:lnTo>
                  <a:lnTo>
                    <a:pt x="372" y="888"/>
                  </a:lnTo>
                  <a:lnTo>
                    <a:pt x="366" y="888"/>
                  </a:lnTo>
                  <a:lnTo>
                    <a:pt x="360" y="888"/>
                  </a:lnTo>
                  <a:lnTo>
                    <a:pt x="348" y="888"/>
                  </a:lnTo>
                  <a:lnTo>
                    <a:pt x="330" y="894"/>
                  </a:lnTo>
                  <a:lnTo>
                    <a:pt x="324" y="894"/>
                  </a:lnTo>
                  <a:lnTo>
                    <a:pt x="312" y="888"/>
                  </a:lnTo>
                  <a:lnTo>
                    <a:pt x="300" y="888"/>
                  </a:lnTo>
                  <a:lnTo>
                    <a:pt x="282" y="888"/>
                  </a:lnTo>
                  <a:lnTo>
                    <a:pt x="270" y="888"/>
                  </a:lnTo>
                  <a:lnTo>
                    <a:pt x="240" y="882"/>
                  </a:lnTo>
                  <a:lnTo>
                    <a:pt x="222" y="882"/>
                  </a:lnTo>
                  <a:lnTo>
                    <a:pt x="198" y="882"/>
                  </a:lnTo>
                  <a:lnTo>
                    <a:pt x="174" y="894"/>
                  </a:lnTo>
                  <a:lnTo>
                    <a:pt x="162" y="900"/>
                  </a:lnTo>
                  <a:lnTo>
                    <a:pt x="144" y="906"/>
                  </a:lnTo>
                  <a:lnTo>
                    <a:pt x="126" y="912"/>
                  </a:lnTo>
                  <a:lnTo>
                    <a:pt x="102" y="924"/>
                  </a:lnTo>
                  <a:lnTo>
                    <a:pt x="78" y="930"/>
                  </a:lnTo>
                  <a:lnTo>
                    <a:pt x="72" y="936"/>
                  </a:lnTo>
                  <a:lnTo>
                    <a:pt x="30" y="954"/>
                  </a:lnTo>
                  <a:lnTo>
                    <a:pt x="12" y="966"/>
                  </a:lnTo>
                  <a:lnTo>
                    <a:pt x="12" y="954"/>
                  </a:lnTo>
                  <a:lnTo>
                    <a:pt x="12" y="930"/>
                  </a:lnTo>
                  <a:lnTo>
                    <a:pt x="12" y="894"/>
                  </a:lnTo>
                  <a:lnTo>
                    <a:pt x="30" y="828"/>
                  </a:lnTo>
                  <a:lnTo>
                    <a:pt x="36" y="798"/>
                  </a:lnTo>
                  <a:lnTo>
                    <a:pt x="18" y="774"/>
                  </a:lnTo>
                  <a:lnTo>
                    <a:pt x="18" y="756"/>
                  </a:lnTo>
                  <a:lnTo>
                    <a:pt x="6" y="738"/>
                  </a:lnTo>
                  <a:lnTo>
                    <a:pt x="0" y="714"/>
                  </a:lnTo>
                  <a:lnTo>
                    <a:pt x="12" y="678"/>
                  </a:lnTo>
                  <a:lnTo>
                    <a:pt x="18" y="678"/>
                  </a:lnTo>
                  <a:lnTo>
                    <a:pt x="24" y="672"/>
                  </a:lnTo>
                  <a:lnTo>
                    <a:pt x="30" y="666"/>
                  </a:lnTo>
                  <a:lnTo>
                    <a:pt x="42" y="648"/>
                  </a:lnTo>
                  <a:lnTo>
                    <a:pt x="66" y="648"/>
                  </a:lnTo>
                  <a:lnTo>
                    <a:pt x="108" y="648"/>
                  </a:lnTo>
                  <a:lnTo>
                    <a:pt x="174" y="642"/>
                  </a:lnTo>
                  <a:lnTo>
                    <a:pt x="216" y="636"/>
                  </a:lnTo>
                  <a:lnTo>
                    <a:pt x="240" y="630"/>
                  </a:lnTo>
                  <a:lnTo>
                    <a:pt x="246" y="618"/>
                  </a:lnTo>
                  <a:lnTo>
                    <a:pt x="264" y="600"/>
                  </a:lnTo>
                  <a:lnTo>
                    <a:pt x="294" y="582"/>
                  </a:lnTo>
                  <a:lnTo>
                    <a:pt x="318" y="552"/>
                  </a:lnTo>
                  <a:lnTo>
                    <a:pt x="330" y="546"/>
                  </a:lnTo>
                  <a:lnTo>
                    <a:pt x="348" y="510"/>
                  </a:lnTo>
                  <a:lnTo>
                    <a:pt x="372" y="474"/>
                  </a:lnTo>
                  <a:lnTo>
                    <a:pt x="384" y="444"/>
                  </a:lnTo>
                  <a:lnTo>
                    <a:pt x="396" y="420"/>
                  </a:lnTo>
                  <a:lnTo>
                    <a:pt x="402" y="378"/>
                  </a:lnTo>
                  <a:lnTo>
                    <a:pt x="402" y="228"/>
                  </a:lnTo>
                  <a:lnTo>
                    <a:pt x="414" y="186"/>
                  </a:lnTo>
                  <a:lnTo>
                    <a:pt x="432" y="138"/>
                  </a:lnTo>
                  <a:lnTo>
                    <a:pt x="438" y="114"/>
                  </a:lnTo>
                  <a:lnTo>
                    <a:pt x="444" y="96"/>
                  </a:lnTo>
                  <a:lnTo>
                    <a:pt x="462" y="84"/>
                  </a:lnTo>
                  <a:lnTo>
                    <a:pt x="474" y="78"/>
                  </a:lnTo>
                  <a:lnTo>
                    <a:pt x="492" y="72"/>
                  </a:lnTo>
                  <a:lnTo>
                    <a:pt x="492" y="66"/>
                  </a:lnTo>
                  <a:lnTo>
                    <a:pt x="498" y="66"/>
                  </a:lnTo>
                  <a:lnTo>
                    <a:pt x="510" y="66"/>
                  </a:lnTo>
                  <a:lnTo>
                    <a:pt x="510" y="72"/>
                  </a:lnTo>
                  <a:lnTo>
                    <a:pt x="516" y="72"/>
                  </a:lnTo>
                  <a:lnTo>
                    <a:pt x="522" y="78"/>
                  </a:lnTo>
                  <a:lnTo>
                    <a:pt x="546" y="78"/>
                  </a:lnTo>
                  <a:lnTo>
                    <a:pt x="552" y="60"/>
                  </a:lnTo>
                  <a:lnTo>
                    <a:pt x="570" y="42"/>
                  </a:lnTo>
                  <a:lnTo>
                    <a:pt x="576" y="24"/>
                  </a:lnTo>
                  <a:lnTo>
                    <a:pt x="588" y="18"/>
                  </a:lnTo>
                  <a:lnTo>
                    <a:pt x="588" y="12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624" y="0"/>
                  </a:lnTo>
                  <a:lnTo>
                    <a:pt x="636" y="6"/>
                  </a:lnTo>
                  <a:lnTo>
                    <a:pt x="648" y="24"/>
                  </a:lnTo>
                  <a:lnTo>
                    <a:pt x="654" y="48"/>
                  </a:lnTo>
                  <a:lnTo>
                    <a:pt x="672" y="60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0" y="72"/>
                  </a:lnTo>
                  <a:lnTo>
                    <a:pt x="690" y="78"/>
                  </a:lnTo>
                  <a:lnTo>
                    <a:pt x="696" y="90"/>
                  </a:lnTo>
                  <a:lnTo>
                    <a:pt x="714" y="114"/>
                  </a:lnTo>
                  <a:lnTo>
                    <a:pt x="714" y="120"/>
                  </a:lnTo>
                  <a:lnTo>
                    <a:pt x="720" y="132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20" y="150"/>
                  </a:lnTo>
                  <a:lnTo>
                    <a:pt x="714" y="150"/>
                  </a:lnTo>
                  <a:lnTo>
                    <a:pt x="714" y="156"/>
                  </a:lnTo>
                  <a:lnTo>
                    <a:pt x="714" y="162"/>
                  </a:lnTo>
                  <a:lnTo>
                    <a:pt x="708" y="162"/>
                  </a:lnTo>
                  <a:lnTo>
                    <a:pt x="708" y="168"/>
                  </a:lnTo>
                  <a:lnTo>
                    <a:pt x="702" y="168"/>
                  </a:lnTo>
                  <a:lnTo>
                    <a:pt x="702" y="174"/>
                  </a:lnTo>
                  <a:lnTo>
                    <a:pt x="702" y="180"/>
                  </a:lnTo>
                  <a:lnTo>
                    <a:pt x="708" y="180"/>
                  </a:lnTo>
                  <a:lnTo>
                    <a:pt x="708" y="186"/>
                  </a:lnTo>
                  <a:lnTo>
                    <a:pt x="708" y="192"/>
                  </a:lnTo>
                  <a:lnTo>
                    <a:pt x="714" y="204"/>
                  </a:lnTo>
                  <a:lnTo>
                    <a:pt x="726" y="216"/>
                  </a:lnTo>
                  <a:lnTo>
                    <a:pt x="738" y="216"/>
                  </a:lnTo>
                  <a:lnTo>
                    <a:pt x="768" y="222"/>
                  </a:lnTo>
                  <a:lnTo>
                    <a:pt x="780" y="216"/>
                  </a:lnTo>
                  <a:lnTo>
                    <a:pt x="792" y="204"/>
                  </a:lnTo>
                  <a:lnTo>
                    <a:pt x="798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6" y="192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6" y="174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22" y="156"/>
                  </a:lnTo>
                  <a:lnTo>
                    <a:pt x="822" y="150"/>
                  </a:lnTo>
                  <a:lnTo>
                    <a:pt x="828" y="144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8" y="138"/>
                  </a:lnTo>
                  <a:lnTo>
                    <a:pt x="834" y="132"/>
                  </a:lnTo>
                  <a:lnTo>
                    <a:pt x="840" y="132"/>
                  </a:lnTo>
                  <a:lnTo>
                    <a:pt x="864" y="126"/>
                  </a:lnTo>
                  <a:lnTo>
                    <a:pt x="906" y="144"/>
                  </a:lnTo>
                  <a:lnTo>
                    <a:pt x="906" y="150"/>
                  </a:lnTo>
                  <a:lnTo>
                    <a:pt x="906" y="156"/>
                  </a:lnTo>
                  <a:lnTo>
                    <a:pt x="900" y="162"/>
                  </a:lnTo>
                  <a:lnTo>
                    <a:pt x="924" y="168"/>
                  </a:lnTo>
                  <a:lnTo>
                    <a:pt x="942" y="192"/>
                  </a:lnTo>
                  <a:lnTo>
                    <a:pt x="972" y="210"/>
                  </a:lnTo>
                  <a:lnTo>
                    <a:pt x="972" y="216"/>
                  </a:lnTo>
                  <a:lnTo>
                    <a:pt x="972" y="228"/>
                  </a:lnTo>
                  <a:lnTo>
                    <a:pt x="978" y="234"/>
                  </a:lnTo>
                  <a:lnTo>
                    <a:pt x="978" y="246"/>
                  </a:lnTo>
                  <a:lnTo>
                    <a:pt x="984" y="252"/>
                  </a:lnTo>
                  <a:lnTo>
                    <a:pt x="1014" y="252"/>
                  </a:lnTo>
                  <a:lnTo>
                    <a:pt x="1020" y="228"/>
                  </a:lnTo>
                  <a:lnTo>
                    <a:pt x="1026" y="198"/>
                  </a:lnTo>
                  <a:lnTo>
                    <a:pt x="1050" y="186"/>
                  </a:lnTo>
                  <a:lnTo>
                    <a:pt x="1056" y="180"/>
                  </a:lnTo>
                  <a:lnTo>
                    <a:pt x="1050" y="174"/>
                  </a:lnTo>
                  <a:lnTo>
                    <a:pt x="1050" y="168"/>
                  </a:lnTo>
                  <a:lnTo>
                    <a:pt x="1050" y="162"/>
                  </a:lnTo>
                  <a:lnTo>
                    <a:pt x="1056" y="162"/>
                  </a:lnTo>
                  <a:lnTo>
                    <a:pt x="1062" y="162"/>
                  </a:lnTo>
                  <a:lnTo>
                    <a:pt x="1074" y="162"/>
                  </a:lnTo>
                  <a:lnTo>
                    <a:pt x="1074" y="144"/>
                  </a:lnTo>
                  <a:lnTo>
                    <a:pt x="1074" y="120"/>
                  </a:lnTo>
                  <a:lnTo>
                    <a:pt x="1092" y="120"/>
                  </a:lnTo>
                  <a:lnTo>
                    <a:pt x="1098" y="126"/>
                  </a:lnTo>
                  <a:lnTo>
                    <a:pt x="1134" y="132"/>
                  </a:lnTo>
                  <a:lnTo>
                    <a:pt x="1146" y="132"/>
                  </a:lnTo>
                  <a:lnTo>
                    <a:pt x="1158" y="150"/>
                  </a:lnTo>
                  <a:lnTo>
                    <a:pt x="1158" y="156"/>
                  </a:lnTo>
                  <a:lnTo>
                    <a:pt x="1158" y="162"/>
                  </a:lnTo>
                  <a:lnTo>
                    <a:pt x="1158" y="180"/>
                  </a:lnTo>
                  <a:lnTo>
                    <a:pt x="1158" y="186"/>
                  </a:lnTo>
                  <a:lnTo>
                    <a:pt x="1164" y="192"/>
                  </a:lnTo>
                  <a:lnTo>
                    <a:pt x="1176" y="198"/>
                  </a:lnTo>
                  <a:lnTo>
                    <a:pt x="1182" y="198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8"/>
                  </a:lnTo>
                  <a:lnTo>
                    <a:pt x="1188" y="234"/>
                  </a:lnTo>
                  <a:lnTo>
                    <a:pt x="1212" y="234"/>
                  </a:lnTo>
                  <a:lnTo>
                    <a:pt x="1242" y="234"/>
                  </a:lnTo>
                  <a:lnTo>
                    <a:pt x="1248" y="234"/>
                  </a:lnTo>
                  <a:lnTo>
                    <a:pt x="1278" y="240"/>
                  </a:lnTo>
                  <a:lnTo>
                    <a:pt x="1320" y="234"/>
                  </a:lnTo>
                  <a:lnTo>
                    <a:pt x="1332" y="228"/>
                  </a:lnTo>
                  <a:lnTo>
                    <a:pt x="1344" y="228"/>
                  </a:lnTo>
                  <a:lnTo>
                    <a:pt x="1350" y="234"/>
                  </a:lnTo>
                  <a:lnTo>
                    <a:pt x="1350" y="240"/>
                  </a:lnTo>
                  <a:lnTo>
                    <a:pt x="1356" y="246"/>
                  </a:lnTo>
                  <a:lnTo>
                    <a:pt x="1350" y="252"/>
                  </a:lnTo>
                  <a:lnTo>
                    <a:pt x="1356" y="264"/>
                  </a:lnTo>
                  <a:lnTo>
                    <a:pt x="1356" y="270"/>
                  </a:lnTo>
                  <a:lnTo>
                    <a:pt x="1356" y="276"/>
                  </a:lnTo>
                  <a:lnTo>
                    <a:pt x="1356" y="282"/>
                  </a:lnTo>
                  <a:lnTo>
                    <a:pt x="1356" y="288"/>
                  </a:lnTo>
                  <a:lnTo>
                    <a:pt x="1350" y="294"/>
                  </a:lnTo>
                  <a:lnTo>
                    <a:pt x="1344" y="300"/>
                  </a:lnTo>
                  <a:lnTo>
                    <a:pt x="1344" y="306"/>
                  </a:lnTo>
                  <a:lnTo>
                    <a:pt x="1338" y="312"/>
                  </a:lnTo>
                  <a:lnTo>
                    <a:pt x="1326" y="342"/>
                  </a:lnTo>
                  <a:lnTo>
                    <a:pt x="1320" y="348"/>
                  </a:lnTo>
                  <a:lnTo>
                    <a:pt x="1314" y="354"/>
                  </a:lnTo>
                  <a:lnTo>
                    <a:pt x="1290" y="354"/>
                  </a:lnTo>
                  <a:lnTo>
                    <a:pt x="1284" y="360"/>
                  </a:lnTo>
                  <a:lnTo>
                    <a:pt x="1278" y="378"/>
                  </a:lnTo>
                  <a:lnTo>
                    <a:pt x="1278" y="384"/>
                  </a:lnTo>
                  <a:lnTo>
                    <a:pt x="1272" y="390"/>
                  </a:lnTo>
                  <a:lnTo>
                    <a:pt x="1266" y="396"/>
                  </a:lnTo>
                  <a:lnTo>
                    <a:pt x="1260" y="396"/>
                  </a:lnTo>
                  <a:lnTo>
                    <a:pt x="1248" y="402"/>
                  </a:lnTo>
                  <a:lnTo>
                    <a:pt x="1242" y="408"/>
                  </a:lnTo>
                  <a:lnTo>
                    <a:pt x="1242" y="414"/>
                  </a:lnTo>
                  <a:lnTo>
                    <a:pt x="1242" y="420"/>
                  </a:lnTo>
                  <a:lnTo>
                    <a:pt x="1236" y="432"/>
                  </a:lnTo>
                  <a:lnTo>
                    <a:pt x="1242" y="432"/>
                  </a:lnTo>
                  <a:lnTo>
                    <a:pt x="1242" y="444"/>
                  </a:lnTo>
                  <a:lnTo>
                    <a:pt x="1242" y="456"/>
                  </a:lnTo>
                  <a:lnTo>
                    <a:pt x="1248" y="456"/>
                  </a:lnTo>
                  <a:lnTo>
                    <a:pt x="1254" y="462"/>
                  </a:lnTo>
                  <a:lnTo>
                    <a:pt x="1248" y="468"/>
                  </a:lnTo>
                  <a:lnTo>
                    <a:pt x="1254" y="468"/>
                  </a:lnTo>
                  <a:lnTo>
                    <a:pt x="1266" y="474"/>
                  </a:lnTo>
                  <a:lnTo>
                    <a:pt x="1266" y="480"/>
                  </a:lnTo>
                  <a:lnTo>
                    <a:pt x="1266" y="486"/>
                  </a:lnTo>
                  <a:lnTo>
                    <a:pt x="1272" y="486"/>
                  </a:lnTo>
                  <a:lnTo>
                    <a:pt x="1272" y="492"/>
                  </a:lnTo>
                  <a:lnTo>
                    <a:pt x="1290" y="510"/>
                  </a:lnTo>
                  <a:lnTo>
                    <a:pt x="1296" y="516"/>
                  </a:lnTo>
                  <a:lnTo>
                    <a:pt x="1302" y="540"/>
                  </a:lnTo>
                  <a:lnTo>
                    <a:pt x="1302" y="546"/>
                  </a:lnTo>
                  <a:lnTo>
                    <a:pt x="1302" y="558"/>
                  </a:lnTo>
                  <a:lnTo>
                    <a:pt x="1302" y="570"/>
                  </a:lnTo>
                  <a:lnTo>
                    <a:pt x="1302" y="576"/>
                  </a:lnTo>
                  <a:lnTo>
                    <a:pt x="1344" y="570"/>
                  </a:lnTo>
                  <a:lnTo>
                    <a:pt x="1350" y="582"/>
                  </a:lnTo>
                  <a:lnTo>
                    <a:pt x="1368" y="594"/>
                  </a:lnTo>
                  <a:lnTo>
                    <a:pt x="1374" y="600"/>
                  </a:lnTo>
                  <a:lnTo>
                    <a:pt x="1380" y="600"/>
                  </a:lnTo>
                  <a:lnTo>
                    <a:pt x="1380" y="618"/>
                  </a:lnTo>
                  <a:lnTo>
                    <a:pt x="1386" y="624"/>
                  </a:lnTo>
                  <a:lnTo>
                    <a:pt x="1404" y="624"/>
                  </a:lnTo>
                  <a:lnTo>
                    <a:pt x="1410" y="612"/>
                  </a:lnTo>
                  <a:lnTo>
                    <a:pt x="1428" y="606"/>
                  </a:lnTo>
                  <a:lnTo>
                    <a:pt x="1488" y="606"/>
                  </a:lnTo>
                  <a:lnTo>
                    <a:pt x="1506" y="606"/>
                  </a:lnTo>
                  <a:lnTo>
                    <a:pt x="1512" y="600"/>
                  </a:lnTo>
                  <a:lnTo>
                    <a:pt x="1524" y="594"/>
                  </a:lnTo>
                  <a:lnTo>
                    <a:pt x="1554" y="594"/>
                  </a:lnTo>
                  <a:lnTo>
                    <a:pt x="1578" y="606"/>
                  </a:lnTo>
                  <a:lnTo>
                    <a:pt x="1596" y="624"/>
                  </a:lnTo>
                  <a:lnTo>
                    <a:pt x="1650" y="642"/>
                  </a:lnTo>
                  <a:lnTo>
                    <a:pt x="1686" y="648"/>
                  </a:lnTo>
                  <a:lnTo>
                    <a:pt x="1698" y="654"/>
                  </a:lnTo>
                  <a:lnTo>
                    <a:pt x="1698" y="660"/>
                  </a:lnTo>
                  <a:lnTo>
                    <a:pt x="1692" y="666"/>
                  </a:lnTo>
                  <a:lnTo>
                    <a:pt x="1692" y="672"/>
                  </a:lnTo>
                  <a:lnTo>
                    <a:pt x="1698" y="678"/>
                  </a:lnTo>
                  <a:lnTo>
                    <a:pt x="1698" y="684"/>
                  </a:lnTo>
                  <a:lnTo>
                    <a:pt x="1692" y="684"/>
                  </a:lnTo>
                  <a:lnTo>
                    <a:pt x="1692" y="690"/>
                  </a:lnTo>
                  <a:lnTo>
                    <a:pt x="1698" y="696"/>
                  </a:lnTo>
                  <a:lnTo>
                    <a:pt x="1698" y="702"/>
                  </a:lnTo>
                  <a:lnTo>
                    <a:pt x="1698" y="708"/>
                  </a:lnTo>
                  <a:lnTo>
                    <a:pt x="1704" y="714"/>
                  </a:lnTo>
                  <a:lnTo>
                    <a:pt x="1704" y="720"/>
                  </a:lnTo>
                  <a:lnTo>
                    <a:pt x="1704" y="726"/>
                  </a:lnTo>
                  <a:lnTo>
                    <a:pt x="1704" y="732"/>
                  </a:lnTo>
                  <a:lnTo>
                    <a:pt x="1704" y="738"/>
                  </a:lnTo>
                  <a:lnTo>
                    <a:pt x="1698" y="726"/>
                  </a:lnTo>
                  <a:lnTo>
                    <a:pt x="1668" y="720"/>
                  </a:lnTo>
                  <a:lnTo>
                    <a:pt x="1626" y="714"/>
                  </a:lnTo>
                  <a:lnTo>
                    <a:pt x="1614" y="708"/>
                  </a:lnTo>
                  <a:lnTo>
                    <a:pt x="1578" y="696"/>
                  </a:lnTo>
                  <a:lnTo>
                    <a:pt x="1566" y="696"/>
                  </a:lnTo>
                  <a:lnTo>
                    <a:pt x="1548" y="702"/>
                  </a:lnTo>
                  <a:lnTo>
                    <a:pt x="1542" y="714"/>
                  </a:lnTo>
                  <a:lnTo>
                    <a:pt x="1536" y="732"/>
                  </a:lnTo>
                  <a:lnTo>
                    <a:pt x="1530" y="750"/>
                  </a:lnTo>
                  <a:lnTo>
                    <a:pt x="1536" y="750"/>
                  </a:lnTo>
                  <a:lnTo>
                    <a:pt x="1542" y="756"/>
                  </a:lnTo>
                  <a:lnTo>
                    <a:pt x="1542" y="762"/>
                  </a:lnTo>
                  <a:lnTo>
                    <a:pt x="1548" y="762"/>
                  </a:lnTo>
                  <a:lnTo>
                    <a:pt x="1554" y="762"/>
                  </a:lnTo>
                  <a:lnTo>
                    <a:pt x="1554" y="768"/>
                  </a:lnTo>
                  <a:lnTo>
                    <a:pt x="1560" y="774"/>
                  </a:lnTo>
                  <a:lnTo>
                    <a:pt x="1566" y="774"/>
                  </a:lnTo>
                  <a:lnTo>
                    <a:pt x="1584" y="792"/>
                  </a:lnTo>
                  <a:lnTo>
                    <a:pt x="1584" y="810"/>
                  </a:lnTo>
                  <a:lnTo>
                    <a:pt x="1572" y="816"/>
                  </a:lnTo>
                  <a:lnTo>
                    <a:pt x="1578" y="834"/>
                  </a:lnTo>
                  <a:lnTo>
                    <a:pt x="1578" y="846"/>
                  </a:lnTo>
                  <a:lnTo>
                    <a:pt x="1584" y="858"/>
                  </a:lnTo>
                  <a:lnTo>
                    <a:pt x="1590" y="864"/>
                  </a:lnTo>
                  <a:lnTo>
                    <a:pt x="1590" y="876"/>
                  </a:lnTo>
                  <a:lnTo>
                    <a:pt x="1578" y="888"/>
                  </a:lnTo>
                  <a:lnTo>
                    <a:pt x="1560" y="906"/>
                  </a:lnTo>
                  <a:lnTo>
                    <a:pt x="1536" y="930"/>
                  </a:lnTo>
                  <a:lnTo>
                    <a:pt x="1530" y="930"/>
                  </a:lnTo>
                  <a:lnTo>
                    <a:pt x="1506" y="942"/>
                  </a:lnTo>
                  <a:lnTo>
                    <a:pt x="1488" y="948"/>
                  </a:lnTo>
                  <a:lnTo>
                    <a:pt x="1476" y="954"/>
                  </a:lnTo>
                  <a:lnTo>
                    <a:pt x="1458" y="960"/>
                  </a:lnTo>
                  <a:lnTo>
                    <a:pt x="1452" y="966"/>
                  </a:lnTo>
                  <a:lnTo>
                    <a:pt x="1446" y="966"/>
                  </a:lnTo>
                  <a:lnTo>
                    <a:pt x="1434" y="972"/>
                  </a:lnTo>
                  <a:lnTo>
                    <a:pt x="1434" y="954"/>
                  </a:lnTo>
                  <a:lnTo>
                    <a:pt x="1422" y="942"/>
                  </a:lnTo>
                  <a:lnTo>
                    <a:pt x="1398" y="924"/>
                  </a:lnTo>
                  <a:lnTo>
                    <a:pt x="1398" y="912"/>
                  </a:lnTo>
                  <a:lnTo>
                    <a:pt x="1398" y="906"/>
                  </a:lnTo>
                  <a:lnTo>
                    <a:pt x="1398" y="900"/>
                  </a:lnTo>
                  <a:lnTo>
                    <a:pt x="1380" y="900"/>
                  </a:lnTo>
                  <a:lnTo>
                    <a:pt x="1380" y="894"/>
                  </a:lnTo>
                  <a:lnTo>
                    <a:pt x="1368" y="888"/>
                  </a:lnTo>
                  <a:lnTo>
                    <a:pt x="1362" y="882"/>
                  </a:lnTo>
                  <a:lnTo>
                    <a:pt x="1356" y="876"/>
                  </a:lnTo>
                  <a:lnTo>
                    <a:pt x="1350" y="864"/>
                  </a:lnTo>
                  <a:lnTo>
                    <a:pt x="1344" y="858"/>
                  </a:lnTo>
                  <a:lnTo>
                    <a:pt x="1314" y="870"/>
                  </a:lnTo>
                  <a:lnTo>
                    <a:pt x="1272" y="876"/>
                  </a:lnTo>
                  <a:lnTo>
                    <a:pt x="1218" y="870"/>
                  </a:lnTo>
                  <a:lnTo>
                    <a:pt x="1200" y="864"/>
                  </a:lnTo>
                  <a:lnTo>
                    <a:pt x="1182" y="864"/>
                  </a:lnTo>
                  <a:lnTo>
                    <a:pt x="1134" y="858"/>
                  </a:lnTo>
                  <a:lnTo>
                    <a:pt x="1110" y="840"/>
                  </a:lnTo>
                  <a:lnTo>
                    <a:pt x="1086" y="828"/>
                  </a:lnTo>
                  <a:lnTo>
                    <a:pt x="1044" y="816"/>
                  </a:lnTo>
                  <a:lnTo>
                    <a:pt x="1014" y="816"/>
                  </a:lnTo>
                  <a:lnTo>
                    <a:pt x="990" y="822"/>
                  </a:lnTo>
                  <a:lnTo>
                    <a:pt x="948" y="858"/>
                  </a:lnTo>
                  <a:lnTo>
                    <a:pt x="930" y="864"/>
                  </a:lnTo>
                  <a:lnTo>
                    <a:pt x="924" y="876"/>
                  </a:lnTo>
                  <a:lnTo>
                    <a:pt x="918" y="906"/>
                  </a:lnTo>
                  <a:lnTo>
                    <a:pt x="924" y="930"/>
                  </a:lnTo>
                  <a:lnTo>
                    <a:pt x="948" y="984"/>
                  </a:lnTo>
                  <a:lnTo>
                    <a:pt x="954" y="1008"/>
                  </a:lnTo>
                  <a:lnTo>
                    <a:pt x="948" y="1014"/>
                  </a:lnTo>
                  <a:lnTo>
                    <a:pt x="954" y="1014"/>
                  </a:lnTo>
                  <a:lnTo>
                    <a:pt x="954" y="1032"/>
                  </a:lnTo>
                  <a:lnTo>
                    <a:pt x="966" y="1044"/>
                  </a:lnTo>
                  <a:lnTo>
                    <a:pt x="960" y="1056"/>
                  </a:lnTo>
                  <a:lnTo>
                    <a:pt x="954" y="1056"/>
                  </a:lnTo>
                  <a:lnTo>
                    <a:pt x="948" y="1056"/>
                  </a:lnTo>
                  <a:lnTo>
                    <a:pt x="942" y="1056"/>
                  </a:lnTo>
                  <a:lnTo>
                    <a:pt x="936" y="1050"/>
                  </a:lnTo>
                  <a:lnTo>
                    <a:pt x="930" y="1044"/>
                  </a:lnTo>
                  <a:lnTo>
                    <a:pt x="924" y="1044"/>
                  </a:lnTo>
                  <a:lnTo>
                    <a:pt x="918" y="1038"/>
                  </a:lnTo>
                  <a:lnTo>
                    <a:pt x="912" y="1038"/>
                  </a:lnTo>
                  <a:lnTo>
                    <a:pt x="906" y="1032"/>
                  </a:lnTo>
                  <a:lnTo>
                    <a:pt x="900" y="1032"/>
                  </a:lnTo>
                  <a:lnTo>
                    <a:pt x="888" y="1026"/>
                  </a:lnTo>
                  <a:lnTo>
                    <a:pt x="882" y="1026"/>
                  </a:lnTo>
                  <a:lnTo>
                    <a:pt x="876" y="1026"/>
                  </a:lnTo>
                  <a:lnTo>
                    <a:pt x="864" y="1014"/>
                  </a:lnTo>
                  <a:lnTo>
                    <a:pt x="846" y="1008"/>
                  </a:lnTo>
                  <a:lnTo>
                    <a:pt x="840" y="996"/>
                  </a:lnTo>
                  <a:lnTo>
                    <a:pt x="840" y="990"/>
                  </a:lnTo>
                  <a:lnTo>
                    <a:pt x="834" y="990"/>
                  </a:lnTo>
                  <a:lnTo>
                    <a:pt x="828" y="990"/>
                  </a:lnTo>
                  <a:lnTo>
                    <a:pt x="816" y="990"/>
                  </a:lnTo>
                  <a:lnTo>
                    <a:pt x="810" y="990"/>
                  </a:lnTo>
                  <a:lnTo>
                    <a:pt x="804" y="984"/>
                  </a:lnTo>
                  <a:lnTo>
                    <a:pt x="792" y="978"/>
                  </a:lnTo>
                  <a:lnTo>
                    <a:pt x="786" y="972"/>
                  </a:lnTo>
                  <a:lnTo>
                    <a:pt x="780" y="972"/>
                  </a:lnTo>
                  <a:lnTo>
                    <a:pt x="768" y="966"/>
                  </a:lnTo>
                  <a:lnTo>
                    <a:pt x="762" y="966"/>
                  </a:lnTo>
                  <a:lnTo>
                    <a:pt x="756" y="966"/>
                  </a:lnTo>
                  <a:lnTo>
                    <a:pt x="750" y="966"/>
                  </a:lnTo>
                  <a:lnTo>
                    <a:pt x="744" y="966"/>
                  </a:lnTo>
                  <a:lnTo>
                    <a:pt x="738" y="960"/>
                  </a:lnTo>
                  <a:lnTo>
                    <a:pt x="732" y="954"/>
                  </a:lnTo>
                  <a:lnTo>
                    <a:pt x="720" y="954"/>
                  </a:lnTo>
                  <a:lnTo>
                    <a:pt x="714" y="948"/>
                  </a:lnTo>
                  <a:lnTo>
                    <a:pt x="708" y="948"/>
                  </a:lnTo>
                  <a:lnTo>
                    <a:pt x="696" y="948"/>
                  </a:lnTo>
                  <a:lnTo>
                    <a:pt x="684" y="942"/>
                  </a:lnTo>
                  <a:lnTo>
                    <a:pt x="678" y="936"/>
                  </a:lnTo>
                  <a:lnTo>
                    <a:pt x="660" y="930"/>
                  </a:lnTo>
                  <a:lnTo>
                    <a:pt x="642" y="924"/>
                  </a:lnTo>
                  <a:lnTo>
                    <a:pt x="636" y="924"/>
                  </a:lnTo>
                  <a:lnTo>
                    <a:pt x="630" y="924"/>
                  </a:lnTo>
                  <a:lnTo>
                    <a:pt x="618" y="924"/>
                  </a:lnTo>
                  <a:lnTo>
                    <a:pt x="618" y="918"/>
                  </a:lnTo>
                  <a:lnTo>
                    <a:pt x="606" y="918"/>
                  </a:lnTo>
                  <a:lnTo>
                    <a:pt x="600" y="918"/>
                  </a:lnTo>
                  <a:lnTo>
                    <a:pt x="594" y="918"/>
                  </a:lnTo>
                  <a:lnTo>
                    <a:pt x="594" y="912"/>
                  </a:lnTo>
                  <a:lnTo>
                    <a:pt x="588" y="912"/>
                  </a:lnTo>
                  <a:lnTo>
                    <a:pt x="582" y="912"/>
                  </a:lnTo>
                  <a:lnTo>
                    <a:pt x="582" y="918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58" y="918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12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00"/>
                  </a:lnTo>
                  <a:lnTo>
                    <a:pt x="516" y="900"/>
                  </a:lnTo>
                  <a:lnTo>
                    <a:pt x="510" y="900"/>
                  </a:lnTo>
                  <a:lnTo>
                    <a:pt x="486" y="894"/>
                  </a:lnTo>
                  <a:lnTo>
                    <a:pt x="474" y="888"/>
                  </a:lnTo>
                  <a:lnTo>
                    <a:pt x="468" y="888"/>
                  </a:lnTo>
                  <a:lnTo>
                    <a:pt x="450" y="88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0" name="Freeform 15">
              <a:extLst>
                <a:ext uri="{FF2B5EF4-FFF2-40B4-BE49-F238E27FC236}">
                  <a16:creationId xmlns:a16="http://schemas.microsoft.com/office/drawing/2014/main" id="{8B991D7A-45C6-40F6-A035-24DFC733305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382" y="2652043"/>
              <a:ext cx="724526" cy="695552"/>
            </a:xfrm>
            <a:custGeom>
              <a:avLst/>
              <a:gdLst>
                <a:gd name="T0" fmla="*/ 44 w 1362"/>
                <a:gd name="T1" fmla="*/ 106 h 1308"/>
                <a:gd name="T2" fmla="*/ 32 w 1362"/>
                <a:gd name="T3" fmla="*/ 109 h 1308"/>
                <a:gd name="T4" fmla="*/ 25 w 1362"/>
                <a:gd name="T5" fmla="*/ 105 h 1308"/>
                <a:gd name="T6" fmla="*/ 22 w 1362"/>
                <a:gd name="T7" fmla="*/ 97 h 1308"/>
                <a:gd name="T8" fmla="*/ 21 w 1362"/>
                <a:gd name="T9" fmla="*/ 95 h 1308"/>
                <a:gd name="T10" fmla="*/ 20 w 1362"/>
                <a:gd name="T11" fmla="*/ 90 h 1308"/>
                <a:gd name="T12" fmla="*/ 23 w 1362"/>
                <a:gd name="T13" fmla="*/ 87 h 1308"/>
                <a:gd name="T14" fmla="*/ 29 w 1362"/>
                <a:gd name="T15" fmla="*/ 81 h 1308"/>
                <a:gd name="T16" fmla="*/ 30 w 1362"/>
                <a:gd name="T17" fmla="*/ 78 h 1308"/>
                <a:gd name="T18" fmla="*/ 27 w 1362"/>
                <a:gd name="T19" fmla="*/ 75 h 1308"/>
                <a:gd name="T20" fmla="*/ 15 w 1362"/>
                <a:gd name="T21" fmla="*/ 73 h 1308"/>
                <a:gd name="T22" fmla="*/ 12 w 1362"/>
                <a:gd name="T23" fmla="*/ 69 h 1308"/>
                <a:gd name="T24" fmla="*/ 5 w 1362"/>
                <a:gd name="T25" fmla="*/ 65 h 1308"/>
                <a:gd name="T26" fmla="*/ 6 w 1362"/>
                <a:gd name="T27" fmla="*/ 62 h 1308"/>
                <a:gd name="T28" fmla="*/ 7 w 1362"/>
                <a:gd name="T29" fmla="*/ 56 h 1308"/>
                <a:gd name="T30" fmla="*/ 2 w 1362"/>
                <a:gd name="T31" fmla="*/ 49 h 1308"/>
                <a:gd name="T32" fmla="*/ 0 w 1362"/>
                <a:gd name="T33" fmla="*/ 44 h 1308"/>
                <a:gd name="T34" fmla="*/ 0 w 1362"/>
                <a:gd name="T35" fmla="*/ 39 h 1308"/>
                <a:gd name="T36" fmla="*/ 3 w 1362"/>
                <a:gd name="T37" fmla="*/ 35 h 1308"/>
                <a:gd name="T38" fmla="*/ 3 w 1362"/>
                <a:gd name="T39" fmla="*/ 28 h 1308"/>
                <a:gd name="T40" fmla="*/ 6 w 1362"/>
                <a:gd name="T41" fmla="*/ 18 h 1308"/>
                <a:gd name="T42" fmla="*/ 6 w 1362"/>
                <a:gd name="T43" fmla="*/ 8 h 1308"/>
                <a:gd name="T44" fmla="*/ 10 w 1362"/>
                <a:gd name="T45" fmla="*/ 5 h 1308"/>
                <a:gd name="T46" fmla="*/ 15 w 1362"/>
                <a:gd name="T47" fmla="*/ 0 h 1308"/>
                <a:gd name="T48" fmla="*/ 21 w 1362"/>
                <a:gd name="T49" fmla="*/ 7 h 1308"/>
                <a:gd name="T50" fmla="*/ 25 w 1362"/>
                <a:gd name="T51" fmla="*/ 15 h 1308"/>
                <a:gd name="T52" fmla="*/ 24 w 1362"/>
                <a:gd name="T53" fmla="*/ 19 h 1308"/>
                <a:gd name="T54" fmla="*/ 32 w 1362"/>
                <a:gd name="T55" fmla="*/ 19 h 1308"/>
                <a:gd name="T56" fmla="*/ 35 w 1362"/>
                <a:gd name="T57" fmla="*/ 20 h 1308"/>
                <a:gd name="T58" fmla="*/ 40 w 1362"/>
                <a:gd name="T59" fmla="*/ 23 h 1308"/>
                <a:gd name="T60" fmla="*/ 40 w 1362"/>
                <a:gd name="T61" fmla="*/ 26 h 1308"/>
                <a:gd name="T62" fmla="*/ 34 w 1362"/>
                <a:gd name="T63" fmla="*/ 35 h 1308"/>
                <a:gd name="T64" fmla="*/ 41 w 1362"/>
                <a:gd name="T65" fmla="*/ 37 h 1308"/>
                <a:gd name="T66" fmla="*/ 43 w 1362"/>
                <a:gd name="T67" fmla="*/ 44 h 1308"/>
                <a:gd name="T68" fmla="*/ 48 w 1362"/>
                <a:gd name="T69" fmla="*/ 47 h 1308"/>
                <a:gd name="T70" fmla="*/ 57 w 1362"/>
                <a:gd name="T71" fmla="*/ 48 h 1308"/>
                <a:gd name="T72" fmla="*/ 70 w 1362"/>
                <a:gd name="T73" fmla="*/ 44 h 1308"/>
                <a:gd name="T74" fmla="*/ 80 w 1362"/>
                <a:gd name="T75" fmla="*/ 34 h 1308"/>
                <a:gd name="T76" fmla="*/ 95 w 1362"/>
                <a:gd name="T77" fmla="*/ 41 h 1308"/>
                <a:gd name="T78" fmla="*/ 109 w 1362"/>
                <a:gd name="T79" fmla="*/ 47 h 1308"/>
                <a:gd name="T80" fmla="*/ 111 w 1362"/>
                <a:gd name="T81" fmla="*/ 50 h 1308"/>
                <a:gd name="T82" fmla="*/ 113 w 1362"/>
                <a:gd name="T83" fmla="*/ 53 h 1308"/>
                <a:gd name="T84" fmla="*/ 113 w 1362"/>
                <a:gd name="T85" fmla="*/ 55 h 1308"/>
                <a:gd name="T86" fmla="*/ 113 w 1362"/>
                <a:gd name="T87" fmla="*/ 59 h 1308"/>
                <a:gd name="T88" fmla="*/ 113 w 1362"/>
                <a:gd name="T89" fmla="*/ 62 h 1308"/>
                <a:gd name="T90" fmla="*/ 115 w 1362"/>
                <a:gd name="T91" fmla="*/ 65 h 1308"/>
                <a:gd name="T92" fmla="*/ 115 w 1362"/>
                <a:gd name="T93" fmla="*/ 67 h 1308"/>
                <a:gd name="T94" fmla="*/ 116 w 1362"/>
                <a:gd name="T95" fmla="*/ 69 h 1308"/>
                <a:gd name="T96" fmla="*/ 116 w 1362"/>
                <a:gd name="T97" fmla="*/ 71 h 1308"/>
                <a:gd name="T98" fmla="*/ 118 w 1362"/>
                <a:gd name="T99" fmla="*/ 75 h 1308"/>
                <a:gd name="T100" fmla="*/ 116 w 1362"/>
                <a:gd name="T101" fmla="*/ 77 h 1308"/>
                <a:gd name="T102" fmla="*/ 116 w 1362"/>
                <a:gd name="T103" fmla="*/ 79 h 1308"/>
                <a:gd name="T104" fmla="*/ 101 w 1362"/>
                <a:gd name="T105" fmla="*/ 87 h 1308"/>
                <a:gd name="T106" fmla="*/ 85 w 1362"/>
                <a:gd name="T107" fmla="*/ 103 h 1308"/>
                <a:gd name="T108" fmla="*/ 67 w 1362"/>
                <a:gd name="T109" fmla="*/ 114 h 130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62"/>
                <a:gd name="T166" fmla="*/ 0 h 1308"/>
                <a:gd name="T167" fmla="*/ 1362 w 1362"/>
                <a:gd name="T168" fmla="*/ 1308 h 130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62" h="1308">
                  <a:moveTo>
                    <a:pt x="684" y="1278"/>
                  </a:moveTo>
                  <a:lnTo>
                    <a:pt x="672" y="1272"/>
                  </a:lnTo>
                  <a:lnTo>
                    <a:pt x="636" y="1266"/>
                  </a:lnTo>
                  <a:lnTo>
                    <a:pt x="582" y="1248"/>
                  </a:lnTo>
                  <a:lnTo>
                    <a:pt x="564" y="1230"/>
                  </a:lnTo>
                  <a:lnTo>
                    <a:pt x="540" y="1218"/>
                  </a:lnTo>
                  <a:lnTo>
                    <a:pt x="510" y="1218"/>
                  </a:lnTo>
                  <a:lnTo>
                    <a:pt x="498" y="1224"/>
                  </a:lnTo>
                  <a:lnTo>
                    <a:pt x="492" y="1230"/>
                  </a:lnTo>
                  <a:lnTo>
                    <a:pt x="474" y="1230"/>
                  </a:lnTo>
                  <a:lnTo>
                    <a:pt x="414" y="1230"/>
                  </a:lnTo>
                  <a:lnTo>
                    <a:pt x="396" y="1236"/>
                  </a:lnTo>
                  <a:lnTo>
                    <a:pt x="390" y="1248"/>
                  </a:lnTo>
                  <a:lnTo>
                    <a:pt x="372" y="1248"/>
                  </a:lnTo>
                  <a:lnTo>
                    <a:pt x="366" y="1242"/>
                  </a:lnTo>
                  <a:lnTo>
                    <a:pt x="366" y="1224"/>
                  </a:lnTo>
                  <a:lnTo>
                    <a:pt x="360" y="1224"/>
                  </a:lnTo>
                  <a:lnTo>
                    <a:pt x="354" y="1218"/>
                  </a:lnTo>
                  <a:lnTo>
                    <a:pt x="336" y="1206"/>
                  </a:lnTo>
                  <a:lnTo>
                    <a:pt x="330" y="1194"/>
                  </a:lnTo>
                  <a:lnTo>
                    <a:pt x="288" y="1200"/>
                  </a:lnTo>
                  <a:lnTo>
                    <a:pt x="288" y="1194"/>
                  </a:lnTo>
                  <a:lnTo>
                    <a:pt x="288" y="1182"/>
                  </a:lnTo>
                  <a:lnTo>
                    <a:pt x="288" y="1170"/>
                  </a:lnTo>
                  <a:lnTo>
                    <a:pt x="288" y="1164"/>
                  </a:lnTo>
                  <a:lnTo>
                    <a:pt x="282" y="1140"/>
                  </a:lnTo>
                  <a:lnTo>
                    <a:pt x="276" y="1134"/>
                  </a:lnTo>
                  <a:lnTo>
                    <a:pt x="258" y="1116"/>
                  </a:lnTo>
                  <a:lnTo>
                    <a:pt x="258" y="1110"/>
                  </a:lnTo>
                  <a:lnTo>
                    <a:pt x="252" y="1110"/>
                  </a:lnTo>
                  <a:lnTo>
                    <a:pt x="252" y="1104"/>
                  </a:lnTo>
                  <a:lnTo>
                    <a:pt x="252" y="1098"/>
                  </a:lnTo>
                  <a:lnTo>
                    <a:pt x="240" y="1092"/>
                  </a:lnTo>
                  <a:lnTo>
                    <a:pt x="234" y="1092"/>
                  </a:lnTo>
                  <a:lnTo>
                    <a:pt x="240" y="1086"/>
                  </a:lnTo>
                  <a:lnTo>
                    <a:pt x="234" y="1080"/>
                  </a:lnTo>
                  <a:lnTo>
                    <a:pt x="228" y="1080"/>
                  </a:lnTo>
                  <a:lnTo>
                    <a:pt x="228" y="1068"/>
                  </a:lnTo>
                  <a:lnTo>
                    <a:pt x="228" y="1056"/>
                  </a:lnTo>
                  <a:lnTo>
                    <a:pt x="222" y="1056"/>
                  </a:lnTo>
                  <a:lnTo>
                    <a:pt x="228" y="1044"/>
                  </a:lnTo>
                  <a:lnTo>
                    <a:pt x="228" y="1038"/>
                  </a:lnTo>
                  <a:lnTo>
                    <a:pt x="228" y="1032"/>
                  </a:lnTo>
                  <a:lnTo>
                    <a:pt x="234" y="1026"/>
                  </a:lnTo>
                  <a:lnTo>
                    <a:pt x="246" y="1020"/>
                  </a:lnTo>
                  <a:lnTo>
                    <a:pt x="252" y="1020"/>
                  </a:lnTo>
                  <a:lnTo>
                    <a:pt x="258" y="1014"/>
                  </a:lnTo>
                  <a:lnTo>
                    <a:pt x="264" y="1008"/>
                  </a:lnTo>
                  <a:lnTo>
                    <a:pt x="264" y="1002"/>
                  </a:lnTo>
                  <a:lnTo>
                    <a:pt x="270" y="984"/>
                  </a:lnTo>
                  <a:lnTo>
                    <a:pt x="276" y="978"/>
                  </a:lnTo>
                  <a:lnTo>
                    <a:pt x="300" y="978"/>
                  </a:lnTo>
                  <a:lnTo>
                    <a:pt x="306" y="972"/>
                  </a:lnTo>
                  <a:lnTo>
                    <a:pt x="312" y="966"/>
                  </a:lnTo>
                  <a:lnTo>
                    <a:pt x="324" y="936"/>
                  </a:lnTo>
                  <a:lnTo>
                    <a:pt x="330" y="930"/>
                  </a:lnTo>
                  <a:lnTo>
                    <a:pt x="330" y="924"/>
                  </a:lnTo>
                  <a:lnTo>
                    <a:pt x="336" y="918"/>
                  </a:lnTo>
                  <a:lnTo>
                    <a:pt x="342" y="912"/>
                  </a:lnTo>
                  <a:lnTo>
                    <a:pt x="342" y="906"/>
                  </a:lnTo>
                  <a:lnTo>
                    <a:pt x="342" y="900"/>
                  </a:lnTo>
                  <a:lnTo>
                    <a:pt x="342" y="894"/>
                  </a:lnTo>
                  <a:lnTo>
                    <a:pt x="342" y="888"/>
                  </a:lnTo>
                  <a:lnTo>
                    <a:pt x="336" y="876"/>
                  </a:lnTo>
                  <a:lnTo>
                    <a:pt x="342" y="870"/>
                  </a:lnTo>
                  <a:lnTo>
                    <a:pt x="336" y="864"/>
                  </a:lnTo>
                  <a:lnTo>
                    <a:pt x="336" y="858"/>
                  </a:lnTo>
                  <a:lnTo>
                    <a:pt x="330" y="852"/>
                  </a:lnTo>
                  <a:lnTo>
                    <a:pt x="318" y="852"/>
                  </a:lnTo>
                  <a:lnTo>
                    <a:pt x="306" y="858"/>
                  </a:lnTo>
                  <a:lnTo>
                    <a:pt x="264" y="864"/>
                  </a:lnTo>
                  <a:lnTo>
                    <a:pt x="234" y="858"/>
                  </a:lnTo>
                  <a:lnTo>
                    <a:pt x="228" y="858"/>
                  </a:lnTo>
                  <a:lnTo>
                    <a:pt x="198" y="858"/>
                  </a:lnTo>
                  <a:lnTo>
                    <a:pt x="174" y="858"/>
                  </a:lnTo>
                  <a:lnTo>
                    <a:pt x="168" y="852"/>
                  </a:lnTo>
                  <a:lnTo>
                    <a:pt x="168" y="840"/>
                  </a:lnTo>
                  <a:lnTo>
                    <a:pt x="168" y="834"/>
                  </a:lnTo>
                  <a:lnTo>
                    <a:pt x="168" y="822"/>
                  </a:lnTo>
                  <a:lnTo>
                    <a:pt x="162" y="822"/>
                  </a:lnTo>
                  <a:lnTo>
                    <a:pt x="150" y="816"/>
                  </a:lnTo>
                  <a:lnTo>
                    <a:pt x="144" y="810"/>
                  </a:lnTo>
                  <a:lnTo>
                    <a:pt x="144" y="804"/>
                  </a:lnTo>
                  <a:lnTo>
                    <a:pt x="144" y="786"/>
                  </a:lnTo>
                  <a:lnTo>
                    <a:pt x="144" y="780"/>
                  </a:lnTo>
                  <a:lnTo>
                    <a:pt x="144" y="774"/>
                  </a:lnTo>
                  <a:lnTo>
                    <a:pt x="132" y="756"/>
                  </a:lnTo>
                  <a:lnTo>
                    <a:pt x="120" y="756"/>
                  </a:lnTo>
                  <a:lnTo>
                    <a:pt x="84" y="750"/>
                  </a:lnTo>
                  <a:lnTo>
                    <a:pt x="78" y="744"/>
                  </a:lnTo>
                  <a:lnTo>
                    <a:pt x="60" y="744"/>
                  </a:lnTo>
                  <a:lnTo>
                    <a:pt x="54" y="726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66" y="720"/>
                  </a:lnTo>
                  <a:lnTo>
                    <a:pt x="66" y="714"/>
                  </a:lnTo>
                  <a:lnTo>
                    <a:pt x="72" y="714"/>
                  </a:lnTo>
                  <a:lnTo>
                    <a:pt x="72" y="708"/>
                  </a:lnTo>
                  <a:lnTo>
                    <a:pt x="78" y="702"/>
                  </a:lnTo>
                  <a:lnTo>
                    <a:pt x="78" y="696"/>
                  </a:lnTo>
                  <a:lnTo>
                    <a:pt x="78" y="690"/>
                  </a:lnTo>
                  <a:lnTo>
                    <a:pt x="84" y="678"/>
                  </a:lnTo>
                  <a:lnTo>
                    <a:pt x="90" y="666"/>
                  </a:lnTo>
                  <a:lnTo>
                    <a:pt x="90" y="642"/>
                  </a:lnTo>
                  <a:lnTo>
                    <a:pt x="84" y="648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66" y="642"/>
                  </a:lnTo>
                  <a:lnTo>
                    <a:pt x="60" y="642"/>
                  </a:lnTo>
                  <a:lnTo>
                    <a:pt x="54" y="636"/>
                  </a:lnTo>
                  <a:lnTo>
                    <a:pt x="30" y="570"/>
                  </a:lnTo>
                  <a:lnTo>
                    <a:pt x="24" y="564"/>
                  </a:lnTo>
                  <a:lnTo>
                    <a:pt x="18" y="570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6"/>
                  </a:lnTo>
                  <a:lnTo>
                    <a:pt x="6" y="540"/>
                  </a:lnTo>
                  <a:lnTo>
                    <a:pt x="0" y="522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2" y="480"/>
                  </a:lnTo>
                  <a:lnTo>
                    <a:pt x="6" y="480"/>
                  </a:lnTo>
                  <a:lnTo>
                    <a:pt x="0" y="474"/>
                  </a:lnTo>
                  <a:lnTo>
                    <a:pt x="0" y="450"/>
                  </a:lnTo>
                  <a:lnTo>
                    <a:pt x="6" y="450"/>
                  </a:lnTo>
                  <a:lnTo>
                    <a:pt x="12" y="450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32"/>
                  </a:lnTo>
                  <a:lnTo>
                    <a:pt x="30" y="426"/>
                  </a:lnTo>
                  <a:lnTo>
                    <a:pt x="36" y="402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2" y="366"/>
                  </a:lnTo>
                  <a:lnTo>
                    <a:pt x="48" y="360"/>
                  </a:lnTo>
                  <a:lnTo>
                    <a:pt x="48" y="342"/>
                  </a:lnTo>
                  <a:lnTo>
                    <a:pt x="42" y="330"/>
                  </a:lnTo>
                  <a:lnTo>
                    <a:pt x="36" y="324"/>
                  </a:lnTo>
                  <a:lnTo>
                    <a:pt x="42" y="306"/>
                  </a:lnTo>
                  <a:lnTo>
                    <a:pt x="42" y="270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48" y="258"/>
                  </a:lnTo>
                  <a:lnTo>
                    <a:pt x="72" y="252"/>
                  </a:lnTo>
                  <a:lnTo>
                    <a:pt x="66" y="204"/>
                  </a:lnTo>
                  <a:lnTo>
                    <a:pt x="60" y="198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8" y="13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84" y="96"/>
                  </a:lnTo>
                  <a:lnTo>
                    <a:pt x="90" y="84"/>
                  </a:lnTo>
                  <a:lnTo>
                    <a:pt x="108" y="72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20" y="60"/>
                  </a:lnTo>
                  <a:lnTo>
                    <a:pt x="120" y="54"/>
                  </a:lnTo>
                  <a:lnTo>
                    <a:pt x="120" y="48"/>
                  </a:lnTo>
                  <a:lnTo>
                    <a:pt x="126" y="48"/>
                  </a:lnTo>
                  <a:lnTo>
                    <a:pt x="132" y="42"/>
                  </a:lnTo>
                  <a:lnTo>
                    <a:pt x="132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240" y="18"/>
                  </a:lnTo>
                  <a:lnTo>
                    <a:pt x="246" y="42"/>
                  </a:lnTo>
                  <a:lnTo>
                    <a:pt x="240" y="72"/>
                  </a:lnTo>
                  <a:lnTo>
                    <a:pt x="246" y="78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8" y="108"/>
                  </a:lnTo>
                  <a:lnTo>
                    <a:pt x="276" y="114"/>
                  </a:lnTo>
                  <a:lnTo>
                    <a:pt x="294" y="150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82" y="186"/>
                  </a:lnTo>
                  <a:lnTo>
                    <a:pt x="282" y="192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76" y="216"/>
                  </a:lnTo>
                  <a:lnTo>
                    <a:pt x="288" y="240"/>
                  </a:lnTo>
                  <a:lnTo>
                    <a:pt x="312" y="228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66" y="228"/>
                  </a:lnTo>
                  <a:lnTo>
                    <a:pt x="372" y="228"/>
                  </a:lnTo>
                  <a:lnTo>
                    <a:pt x="372" y="222"/>
                  </a:lnTo>
                  <a:lnTo>
                    <a:pt x="378" y="222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6" y="222"/>
                  </a:lnTo>
                  <a:lnTo>
                    <a:pt x="402" y="222"/>
                  </a:lnTo>
                  <a:lnTo>
                    <a:pt x="402" y="228"/>
                  </a:lnTo>
                  <a:lnTo>
                    <a:pt x="408" y="228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26" y="216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68" y="258"/>
                  </a:lnTo>
                  <a:lnTo>
                    <a:pt x="462" y="264"/>
                  </a:lnTo>
                  <a:lnTo>
                    <a:pt x="468" y="264"/>
                  </a:lnTo>
                  <a:lnTo>
                    <a:pt x="468" y="270"/>
                  </a:lnTo>
                  <a:lnTo>
                    <a:pt x="474" y="270"/>
                  </a:lnTo>
                  <a:lnTo>
                    <a:pt x="480" y="276"/>
                  </a:lnTo>
                  <a:lnTo>
                    <a:pt x="474" y="282"/>
                  </a:lnTo>
                  <a:lnTo>
                    <a:pt x="474" y="288"/>
                  </a:lnTo>
                  <a:lnTo>
                    <a:pt x="462" y="294"/>
                  </a:lnTo>
                  <a:lnTo>
                    <a:pt x="468" y="324"/>
                  </a:lnTo>
                  <a:lnTo>
                    <a:pt x="462" y="336"/>
                  </a:lnTo>
                  <a:lnTo>
                    <a:pt x="456" y="354"/>
                  </a:lnTo>
                  <a:lnTo>
                    <a:pt x="432" y="390"/>
                  </a:lnTo>
                  <a:lnTo>
                    <a:pt x="420" y="390"/>
                  </a:lnTo>
                  <a:lnTo>
                    <a:pt x="402" y="390"/>
                  </a:lnTo>
                  <a:lnTo>
                    <a:pt x="396" y="396"/>
                  </a:lnTo>
                  <a:lnTo>
                    <a:pt x="390" y="396"/>
                  </a:lnTo>
                  <a:lnTo>
                    <a:pt x="390" y="402"/>
                  </a:lnTo>
                  <a:lnTo>
                    <a:pt x="384" y="402"/>
                  </a:lnTo>
                  <a:lnTo>
                    <a:pt x="408" y="432"/>
                  </a:lnTo>
                  <a:lnTo>
                    <a:pt x="432" y="438"/>
                  </a:lnTo>
                  <a:lnTo>
                    <a:pt x="456" y="432"/>
                  </a:lnTo>
                  <a:lnTo>
                    <a:pt x="468" y="426"/>
                  </a:lnTo>
                  <a:lnTo>
                    <a:pt x="468" y="444"/>
                  </a:lnTo>
                  <a:lnTo>
                    <a:pt x="468" y="450"/>
                  </a:lnTo>
                  <a:lnTo>
                    <a:pt x="468" y="474"/>
                  </a:lnTo>
                  <a:lnTo>
                    <a:pt x="486" y="480"/>
                  </a:lnTo>
                  <a:lnTo>
                    <a:pt x="486" y="486"/>
                  </a:lnTo>
                  <a:lnTo>
                    <a:pt x="492" y="498"/>
                  </a:lnTo>
                  <a:lnTo>
                    <a:pt x="492" y="504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504" y="516"/>
                  </a:lnTo>
                  <a:lnTo>
                    <a:pt x="510" y="516"/>
                  </a:lnTo>
                  <a:lnTo>
                    <a:pt x="522" y="528"/>
                  </a:lnTo>
                  <a:lnTo>
                    <a:pt x="546" y="540"/>
                  </a:lnTo>
                  <a:lnTo>
                    <a:pt x="552" y="546"/>
                  </a:lnTo>
                  <a:lnTo>
                    <a:pt x="570" y="552"/>
                  </a:lnTo>
                  <a:lnTo>
                    <a:pt x="594" y="552"/>
                  </a:lnTo>
                  <a:lnTo>
                    <a:pt x="606" y="546"/>
                  </a:lnTo>
                  <a:lnTo>
                    <a:pt x="612" y="540"/>
                  </a:lnTo>
                  <a:lnTo>
                    <a:pt x="630" y="540"/>
                  </a:lnTo>
                  <a:lnTo>
                    <a:pt x="630" y="552"/>
                  </a:lnTo>
                  <a:lnTo>
                    <a:pt x="654" y="552"/>
                  </a:lnTo>
                  <a:lnTo>
                    <a:pt x="702" y="558"/>
                  </a:lnTo>
                  <a:lnTo>
                    <a:pt x="762" y="546"/>
                  </a:lnTo>
                  <a:lnTo>
                    <a:pt x="780" y="546"/>
                  </a:lnTo>
                  <a:lnTo>
                    <a:pt x="780" y="528"/>
                  </a:lnTo>
                  <a:lnTo>
                    <a:pt x="798" y="522"/>
                  </a:lnTo>
                  <a:lnTo>
                    <a:pt x="810" y="510"/>
                  </a:lnTo>
                  <a:lnTo>
                    <a:pt x="810" y="504"/>
                  </a:lnTo>
                  <a:lnTo>
                    <a:pt x="828" y="492"/>
                  </a:lnTo>
                  <a:lnTo>
                    <a:pt x="888" y="486"/>
                  </a:lnTo>
                  <a:lnTo>
                    <a:pt x="912" y="486"/>
                  </a:lnTo>
                  <a:lnTo>
                    <a:pt x="930" y="474"/>
                  </a:lnTo>
                  <a:lnTo>
                    <a:pt x="918" y="456"/>
                  </a:lnTo>
                  <a:lnTo>
                    <a:pt x="912" y="450"/>
                  </a:lnTo>
                  <a:lnTo>
                    <a:pt x="918" y="390"/>
                  </a:lnTo>
                  <a:lnTo>
                    <a:pt x="954" y="396"/>
                  </a:lnTo>
                  <a:lnTo>
                    <a:pt x="984" y="402"/>
                  </a:lnTo>
                  <a:lnTo>
                    <a:pt x="1014" y="420"/>
                  </a:lnTo>
                  <a:lnTo>
                    <a:pt x="1026" y="432"/>
                  </a:lnTo>
                  <a:lnTo>
                    <a:pt x="1044" y="450"/>
                  </a:lnTo>
                  <a:lnTo>
                    <a:pt x="1062" y="462"/>
                  </a:lnTo>
                  <a:lnTo>
                    <a:pt x="1098" y="468"/>
                  </a:lnTo>
                  <a:lnTo>
                    <a:pt x="1128" y="480"/>
                  </a:lnTo>
                  <a:lnTo>
                    <a:pt x="1152" y="486"/>
                  </a:lnTo>
                  <a:lnTo>
                    <a:pt x="1188" y="498"/>
                  </a:lnTo>
                  <a:lnTo>
                    <a:pt x="1212" y="504"/>
                  </a:lnTo>
                  <a:lnTo>
                    <a:pt x="1224" y="528"/>
                  </a:lnTo>
                  <a:lnTo>
                    <a:pt x="1236" y="540"/>
                  </a:lnTo>
                  <a:lnTo>
                    <a:pt x="1254" y="540"/>
                  </a:lnTo>
                  <a:lnTo>
                    <a:pt x="1254" y="546"/>
                  </a:lnTo>
                  <a:lnTo>
                    <a:pt x="1260" y="552"/>
                  </a:lnTo>
                  <a:lnTo>
                    <a:pt x="1266" y="552"/>
                  </a:lnTo>
                  <a:lnTo>
                    <a:pt x="1266" y="558"/>
                  </a:lnTo>
                  <a:lnTo>
                    <a:pt x="1272" y="564"/>
                  </a:lnTo>
                  <a:lnTo>
                    <a:pt x="1278" y="564"/>
                  </a:lnTo>
                  <a:lnTo>
                    <a:pt x="1278" y="570"/>
                  </a:lnTo>
                  <a:lnTo>
                    <a:pt x="1284" y="576"/>
                  </a:lnTo>
                  <a:lnTo>
                    <a:pt x="1290" y="582"/>
                  </a:lnTo>
                  <a:lnTo>
                    <a:pt x="1296" y="582"/>
                  </a:lnTo>
                  <a:lnTo>
                    <a:pt x="1296" y="588"/>
                  </a:lnTo>
                  <a:lnTo>
                    <a:pt x="1308" y="594"/>
                  </a:lnTo>
                  <a:lnTo>
                    <a:pt x="1308" y="600"/>
                  </a:lnTo>
                  <a:lnTo>
                    <a:pt x="1308" y="606"/>
                  </a:lnTo>
                  <a:lnTo>
                    <a:pt x="1314" y="612"/>
                  </a:lnTo>
                  <a:lnTo>
                    <a:pt x="1308" y="618"/>
                  </a:lnTo>
                  <a:lnTo>
                    <a:pt x="1314" y="618"/>
                  </a:lnTo>
                  <a:lnTo>
                    <a:pt x="1314" y="624"/>
                  </a:lnTo>
                  <a:lnTo>
                    <a:pt x="1308" y="624"/>
                  </a:lnTo>
                  <a:lnTo>
                    <a:pt x="1302" y="630"/>
                  </a:lnTo>
                  <a:lnTo>
                    <a:pt x="1302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296" y="654"/>
                  </a:lnTo>
                  <a:lnTo>
                    <a:pt x="1302" y="660"/>
                  </a:lnTo>
                  <a:lnTo>
                    <a:pt x="1302" y="666"/>
                  </a:lnTo>
                  <a:lnTo>
                    <a:pt x="1308" y="666"/>
                  </a:lnTo>
                  <a:lnTo>
                    <a:pt x="1308" y="672"/>
                  </a:lnTo>
                  <a:lnTo>
                    <a:pt x="1308" y="678"/>
                  </a:lnTo>
                  <a:lnTo>
                    <a:pt x="1308" y="684"/>
                  </a:lnTo>
                  <a:lnTo>
                    <a:pt x="1308" y="690"/>
                  </a:lnTo>
                  <a:lnTo>
                    <a:pt x="1302" y="696"/>
                  </a:lnTo>
                  <a:lnTo>
                    <a:pt x="1302" y="702"/>
                  </a:lnTo>
                  <a:lnTo>
                    <a:pt x="1308" y="702"/>
                  </a:lnTo>
                  <a:lnTo>
                    <a:pt x="1302" y="708"/>
                  </a:lnTo>
                  <a:lnTo>
                    <a:pt x="1308" y="714"/>
                  </a:lnTo>
                  <a:lnTo>
                    <a:pt x="1308" y="720"/>
                  </a:lnTo>
                  <a:lnTo>
                    <a:pt x="1308" y="726"/>
                  </a:lnTo>
                  <a:lnTo>
                    <a:pt x="1308" y="732"/>
                  </a:lnTo>
                  <a:lnTo>
                    <a:pt x="1314" y="732"/>
                  </a:lnTo>
                  <a:lnTo>
                    <a:pt x="1314" y="738"/>
                  </a:lnTo>
                  <a:lnTo>
                    <a:pt x="1320" y="744"/>
                  </a:lnTo>
                  <a:lnTo>
                    <a:pt x="1326" y="750"/>
                  </a:lnTo>
                  <a:lnTo>
                    <a:pt x="1320" y="750"/>
                  </a:lnTo>
                  <a:lnTo>
                    <a:pt x="1320" y="756"/>
                  </a:lnTo>
                  <a:lnTo>
                    <a:pt x="1314" y="756"/>
                  </a:lnTo>
                  <a:lnTo>
                    <a:pt x="1314" y="762"/>
                  </a:lnTo>
                  <a:lnTo>
                    <a:pt x="1314" y="768"/>
                  </a:lnTo>
                  <a:lnTo>
                    <a:pt x="1320" y="768"/>
                  </a:lnTo>
                  <a:lnTo>
                    <a:pt x="1320" y="762"/>
                  </a:lnTo>
                  <a:lnTo>
                    <a:pt x="1320" y="768"/>
                  </a:lnTo>
                  <a:lnTo>
                    <a:pt x="1326" y="774"/>
                  </a:lnTo>
                  <a:lnTo>
                    <a:pt x="1332" y="774"/>
                  </a:lnTo>
                  <a:lnTo>
                    <a:pt x="1332" y="780"/>
                  </a:lnTo>
                  <a:lnTo>
                    <a:pt x="1332" y="786"/>
                  </a:lnTo>
                  <a:lnTo>
                    <a:pt x="1332" y="792"/>
                  </a:lnTo>
                  <a:lnTo>
                    <a:pt x="1338" y="786"/>
                  </a:lnTo>
                  <a:lnTo>
                    <a:pt x="1338" y="792"/>
                  </a:lnTo>
                  <a:lnTo>
                    <a:pt x="1344" y="798"/>
                  </a:lnTo>
                  <a:lnTo>
                    <a:pt x="1344" y="804"/>
                  </a:lnTo>
                  <a:lnTo>
                    <a:pt x="1344" y="810"/>
                  </a:lnTo>
                  <a:lnTo>
                    <a:pt x="1344" y="816"/>
                  </a:lnTo>
                  <a:lnTo>
                    <a:pt x="1344" y="822"/>
                  </a:lnTo>
                  <a:lnTo>
                    <a:pt x="1338" y="828"/>
                  </a:lnTo>
                  <a:lnTo>
                    <a:pt x="1332" y="828"/>
                  </a:lnTo>
                  <a:lnTo>
                    <a:pt x="1338" y="840"/>
                  </a:lnTo>
                  <a:lnTo>
                    <a:pt x="1344" y="846"/>
                  </a:lnTo>
                  <a:lnTo>
                    <a:pt x="1344" y="852"/>
                  </a:lnTo>
                  <a:lnTo>
                    <a:pt x="1350" y="852"/>
                  </a:lnTo>
                  <a:lnTo>
                    <a:pt x="1356" y="858"/>
                  </a:lnTo>
                  <a:lnTo>
                    <a:pt x="1362" y="858"/>
                  </a:lnTo>
                  <a:lnTo>
                    <a:pt x="1362" y="870"/>
                  </a:lnTo>
                  <a:lnTo>
                    <a:pt x="1356" y="870"/>
                  </a:lnTo>
                  <a:lnTo>
                    <a:pt x="1356" y="876"/>
                  </a:lnTo>
                  <a:lnTo>
                    <a:pt x="1350" y="876"/>
                  </a:lnTo>
                  <a:lnTo>
                    <a:pt x="1344" y="876"/>
                  </a:lnTo>
                  <a:lnTo>
                    <a:pt x="1344" y="882"/>
                  </a:lnTo>
                  <a:lnTo>
                    <a:pt x="1338" y="882"/>
                  </a:lnTo>
                  <a:lnTo>
                    <a:pt x="1338" y="888"/>
                  </a:lnTo>
                  <a:lnTo>
                    <a:pt x="1338" y="894"/>
                  </a:lnTo>
                  <a:lnTo>
                    <a:pt x="1344" y="900"/>
                  </a:lnTo>
                  <a:lnTo>
                    <a:pt x="1344" y="906"/>
                  </a:lnTo>
                  <a:lnTo>
                    <a:pt x="1338" y="906"/>
                  </a:lnTo>
                  <a:lnTo>
                    <a:pt x="1332" y="912"/>
                  </a:lnTo>
                  <a:lnTo>
                    <a:pt x="1332" y="918"/>
                  </a:lnTo>
                  <a:lnTo>
                    <a:pt x="1326" y="918"/>
                  </a:lnTo>
                  <a:lnTo>
                    <a:pt x="1332" y="924"/>
                  </a:lnTo>
                  <a:lnTo>
                    <a:pt x="1284" y="942"/>
                  </a:lnTo>
                  <a:lnTo>
                    <a:pt x="1236" y="948"/>
                  </a:lnTo>
                  <a:lnTo>
                    <a:pt x="1194" y="966"/>
                  </a:lnTo>
                  <a:lnTo>
                    <a:pt x="1170" y="1002"/>
                  </a:lnTo>
                  <a:lnTo>
                    <a:pt x="1134" y="1020"/>
                  </a:lnTo>
                  <a:lnTo>
                    <a:pt x="1116" y="1032"/>
                  </a:lnTo>
                  <a:lnTo>
                    <a:pt x="1098" y="1050"/>
                  </a:lnTo>
                  <a:lnTo>
                    <a:pt x="1074" y="1074"/>
                  </a:lnTo>
                  <a:lnTo>
                    <a:pt x="1008" y="1134"/>
                  </a:lnTo>
                  <a:lnTo>
                    <a:pt x="990" y="1158"/>
                  </a:lnTo>
                  <a:lnTo>
                    <a:pt x="978" y="1182"/>
                  </a:lnTo>
                  <a:lnTo>
                    <a:pt x="960" y="1194"/>
                  </a:lnTo>
                  <a:lnTo>
                    <a:pt x="942" y="1212"/>
                  </a:lnTo>
                  <a:lnTo>
                    <a:pt x="912" y="1242"/>
                  </a:lnTo>
                  <a:lnTo>
                    <a:pt x="888" y="1254"/>
                  </a:lnTo>
                  <a:lnTo>
                    <a:pt x="864" y="1278"/>
                  </a:lnTo>
                  <a:lnTo>
                    <a:pt x="828" y="1296"/>
                  </a:lnTo>
                  <a:lnTo>
                    <a:pt x="774" y="1308"/>
                  </a:lnTo>
                  <a:lnTo>
                    <a:pt x="732" y="1302"/>
                  </a:lnTo>
                  <a:lnTo>
                    <a:pt x="702" y="1284"/>
                  </a:lnTo>
                  <a:lnTo>
                    <a:pt x="684" y="12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1" name="Freeform 16">
              <a:extLst>
                <a:ext uri="{FF2B5EF4-FFF2-40B4-BE49-F238E27FC236}">
                  <a16:creationId xmlns:a16="http://schemas.microsoft.com/office/drawing/2014/main" id="{D8D8591A-D9DB-4301-BEBD-D8F5A26DA9E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3001" y="2929369"/>
              <a:ext cx="914601" cy="1037736"/>
            </a:xfrm>
            <a:custGeom>
              <a:avLst/>
              <a:gdLst>
                <a:gd name="T0" fmla="*/ 144 w 1722"/>
                <a:gd name="T1" fmla="*/ 131 h 1956"/>
                <a:gd name="T2" fmla="*/ 142 w 1722"/>
                <a:gd name="T3" fmla="*/ 139 h 1956"/>
                <a:gd name="T4" fmla="*/ 137 w 1722"/>
                <a:gd name="T5" fmla="*/ 143 h 1956"/>
                <a:gd name="T6" fmla="*/ 133 w 1722"/>
                <a:gd name="T7" fmla="*/ 147 h 1956"/>
                <a:gd name="T8" fmla="*/ 132 w 1722"/>
                <a:gd name="T9" fmla="*/ 152 h 1956"/>
                <a:gd name="T10" fmla="*/ 130 w 1722"/>
                <a:gd name="T11" fmla="*/ 159 h 1956"/>
                <a:gd name="T12" fmla="*/ 127 w 1722"/>
                <a:gd name="T13" fmla="*/ 164 h 1956"/>
                <a:gd name="T14" fmla="*/ 123 w 1722"/>
                <a:gd name="T15" fmla="*/ 168 h 1956"/>
                <a:gd name="T16" fmla="*/ 117 w 1722"/>
                <a:gd name="T17" fmla="*/ 169 h 1956"/>
                <a:gd name="T18" fmla="*/ 110 w 1722"/>
                <a:gd name="T19" fmla="*/ 168 h 1956"/>
                <a:gd name="T20" fmla="*/ 104 w 1722"/>
                <a:gd name="T21" fmla="*/ 166 h 1956"/>
                <a:gd name="T22" fmla="*/ 101 w 1722"/>
                <a:gd name="T23" fmla="*/ 159 h 1956"/>
                <a:gd name="T24" fmla="*/ 95 w 1722"/>
                <a:gd name="T25" fmla="*/ 156 h 1956"/>
                <a:gd name="T26" fmla="*/ 89 w 1722"/>
                <a:gd name="T27" fmla="*/ 151 h 1956"/>
                <a:gd name="T28" fmla="*/ 87 w 1722"/>
                <a:gd name="T29" fmla="*/ 144 h 1956"/>
                <a:gd name="T30" fmla="*/ 82 w 1722"/>
                <a:gd name="T31" fmla="*/ 141 h 1956"/>
                <a:gd name="T32" fmla="*/ 76 w 1722"/>
                <a:gd name="T33" fmla="*/ 134 h 1956"/>
                <a:gd name="T34" fmla="*/ 74 w 1722"/>
                <a:gd name="T35" fmla="*/ 143 h 1956"/>
                <a:gd name="T36" fmla="*/ 68 w 1722"/>
                <a:gd name="T37" fmla="*/ 147 h 1956"/>
                <a:gd name="T38" fmla="*/ 54 w 1722"/>
                <a:gd name="T39" fmla="*/ 144 h 1956"/>
                <a:gd name="T40" fmla="*/ 51 w 1722"/>
                <a:gd name="T41" fmla="*/ 142 h 1956"/>
                <a:gd name="T42" fmla="*/ 42 w 1722"/>
                <a:gd name="T43" fmla="*/ 151 h 1956"/>
                <a:gd name="T44" fmla="*/ 33 w 1722"/>
                <a:gd name="T45" fmla="*/ 154 h 1956"/>
                <a:gd name="T46" fmla="*/ 31 w 1722"/>
                <a:gd name="T47" fmla="*/ 159 h 1956"/>
                <a:gd name="T48" fmla="*/ 29 w 1722"/>
                <a:gd name="T49" fmla="*/ 166 h 1956"/>
                <a:gd name="T50" fmla="*/ 25 w 1722"/>
                <a:gd name="T51" fmla="*/ 169 h 1956"/>
                <a:gd name="T52" fmla="*/ 27 w 1722"/>
                <a:gd name="T53" fmla="*/ 154 h 1956"/>
                <a:gd name="T54" fmla="*/ 37 w 1722"/>
                <a:gd name="T55" fmla="*/ 133 h 1956"/>
                <a:gd name="T56" fmla="*/ 36 w 1722"/>
                <a:gd name="T57" fmla="*/ 109 h 1956"/>
                <a:gd name="T58" fmla="*/ 27 w 1722"/>
                <a:gd name="T59" fmla="*/ 101 h 1956"/>
                <a:gd name="T60" fmla="*/ 5 w 1722"/>
                <a:gd name="T61" fmla="*/ 98 h 1956"/>
                <a:gd name="T62" fmla="*/ 2 w 1722"/>
                <a:gd name="T63" fmla="*/ 93 h 1956"/>
                <a:gd name="T64" fmla="*/ 12 w 1722"/>
                <a:gd name="T65" fmla="*/ 82 h 1956"/>
                <a:gd name="T66" fmla="*/ 9 w 1722"/>
                <a:gd name="T67" fmla="*/ 74 h 1956"/>
                <a:gd name="T68" fmla="*/ 23 w 1722"/>
                <a:gd name="T69" fmla="*/ 72 h 1956"/>
                <a:gd name="T70" fmla="*/ 22 w 1722"/>
                <a:gd name="T71" fmla="*/ 67 h 1956"/>
                <a:gd name="T72" fmla="*/ 48 w 1722"/>
                <a:gd name="T73" fmla="*/ 57 h 1956"/>
                <a:gd name="T74" fmla="*/ 78 w 1722"/>
                <a:gd name="T75" fmla="*/ 34 h 1956"/>
                <a:gd name="T76" fmla="*/ 81 w 1722"/>
                <a:gd name="T77" fmla="*/ 31 h 1956"/>
                <a:gd name="T78" fmla="*/ 80 w 1722"/>
                <a:gd name="T79" fmla="*/ 26 h 1956"/>
                <a:gd name="T80" fmla="*/ 78 w 1722"/>
                <a:gd name="T81" fmla="*/ 21 h 1956"/>
                <a:gd name="T82" fmla="*/ 77 w 1722"/>
                <a:gd name="T83" fmla="*/ 18 h 1956"/>
                <a:gd name="T84" fmla="*/ 77 w 1722"/>
                <a:gd name="T85" fmla="*/ 12 h 1956"/>
                <a:gd name="T86" fmla="*/ 77 w 1722"/>
                <a:gd name="T87" fmla="*/ 7 h 1956"/>
                <a:gd name="T88" fmla="*/ 102 w 1722"/>
                <a:gd name="T89" fmla="*/ 2 h 1956"/>
                <a:gd name="T90" fmla="*/ 115 w 1722"/>
                <a:gd name="T91" fmla="*/ 3 h 1956"/>
                <a:gd name="T92" fmla="*/ 123 w 1722"/>
                <a:gd name="T93" fmla="*/ 3 h 1956"/>
                <a:gd name="T94" fmla="*/ 125 w 1722"/>
                <a:gd name="T95" fmla="*/ 9 h 1956"/>
                <a:gd name="T96" fmla="*/ 133 w 1722"/>
                <a:gd name="T97" fmla="*/ 13 h 1956"/>
                <a:gd name="T98" fmla="*/ 149 w 1722"/>
                <a:gd name="T99" fmla="*/ 37 h 1956"/>
                <a:gd name="T100" fmla="*/ 141 w 1722"/>
                <a:gd name="T101" fmla="*/ 57 h 1956"/>
                <a:gd name="T102" fmla="*/ 135 w 1722"/>
                <a:gd name="T103" fmla="*/ 63 h 1956"/>
                <a:gd name="T104" fmla="*/ 124 w 1722"/>
                <a:gd name="T105" fmla="*/ 77 h 1956"/>
                <a:gd name="T106" fmla="*/ 123 w 1722"/>
                <a:gd name="T107" fmla="*/ 96 h 1956"/>
                <a:gd name="T108" fmla="*/ 127 w 1722"/>
                <a:gd name="T109" fmla="*/ 97 h 1956"/>
                <a:gd name="T110" fmla="*/ 129 w 1722"/>
                <a:gd name="T111" fmla="*/ 92 h 1956"/>
                <a:gd name="T112" fmla="*/ 134 w 1722"/>
                <a:gd name="T113" fmla="*/ 94 h 1956"/>
                <a:gd name="T114" fmla="*/ 138 w 1722"/>
                <a:gd name="T115" fmla="*/ 99 h 1956"/>
                <a:gd name="T116" fmla="*/ 142 w 1722"/>
                <a:gd name="T117" fmla="*/ 104 h 1956"/>
                <a:gd name="T118" fmla="*/ 141 w 1722"/>
                <a:gd name="T119" fmla="*/ 115 h 19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722"/>
                <a:gd name="T181" fmla="*/ 0 h 1956"/>
                <a:gd name="T182" fmla="*/ 1722 w 1722"/>
                <a:gd name="T183" fmla="*/ 1956 h 19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722" h="1956">
                  <a:moveTo>
                    <a:pt x="1686" y="1404"/>
                  </a:moveTo>
                  <a:lnTo>
                    <a:pt x="1680" y="1416"/>
                  </a:lnTo>
                  <a:lnTo>
                    <a:pt x="1674" y="1422"/>
                  </a:lnTo>
                  <a:lnTo>
                    <a:pt x="1674" y="1428"/>
                  </a:lnTo>
                  <a:lnTo>
                    <a:pt x="1668" y="1428"/>
                  </a:lnTo>
                  <a:lnTo>
                    <a:pt x="1668" y="1434"/>
                  </a:lnTo>
                  <a:lnTo>
                    <a:pt x="1662" y="1446"/>
                  </a:lnTo>
                  <a:lnTo>
                    <a:pt x="1656" y="1464"/>
                  </a:lnTo>
                  <a:lnTo>
                    <a:pt x="1656" y="1476"/>
                  </a:lnTo>
                  <a:lnTo>
                    <a:pt x="1656" y="1488"/>
                  </a:lnTo>
                  <a:lnTo>
                    <a:pt x="1662" y="1500"/>
                  </a:lnTo>
                  <a:lnTo>
                    <a:pt x="1662" y="1506"/>
                  </a:lnTo>
                  <a:lnTo>
                    <a:pt x="1662" y="1524"/>
                  </a:lnTo>
                  <a:lnTo>
                    <a:pt x="1668" y="1542"/>
                  </a:lnTo>
                  <a:lnTo>
                    <a:pt x="1674" y="1560"/>
                  </a:lnTo>
                  <a:lnTo>
                    <a:pt x="1680" y="1578"/>
                  </a:lnTo>
                  <a:lnTo>
                    <a:pt x="1686" y="1578"/>
                  </a:lnTo>
                  <a:lnTo>
                    <a:pt x="1686" y="1584"/>
                  </a:lnTo>
                  <a:lnTo>
                    <a:pt x="1686" y="1590"/>
                  </a:lnTo>
                  <a:lnTo>
                    <a:pt x="1686" y="1596"/>
                  </a:lnTo>
                  <a:lnTo>
                    <a:pt x="1680" y="1596"/>
                  </a:lnTo>
                  <a:lnTo>
                    <a:pt x="1674" y="1602"/>
                  </a:lnTo>
                  <a:lnTo>
                    <a:pt x="1662" y="1602"/>
                  </a:lnTo>
                  <a:lnTo>
                    <a:pt x="1638" y="1596"/>
                  </a:lnTo>
                  <a:lnTo>
                    <a:pt x="1632" y="1596"/>
                  </a:lnTo>
                  <a:lnTo>
                    <a:pt x="1626" y="1602"/>
                  </a:lnTo>
                  <a:lnTo>
                    <a:pt x="1620" y="1602"/>
                  </a:lnTo>
                  <a:lnTo>
                    <a:pt x="1614" y="1602"/>
                  </a:lnTo>
                  <a:lnTo>
                    <a:pt x="1602" y="1602"/>
                  </a:lnTo>
                  <a:lnTo>
                    <a:pt x="1602" y="1608"/>
                  </a:lnTo>
                  <a:lnTo>
                    <a:pt x="1602" y="1620"/>
                  </a:lnTo>
                  <a:lnTo>
                    <a:pt x="1596" y="1620"/>
                  </a:lnTo>
                  <a:lnTo>
                    <a:pt x="1590" y="1620"/>
                  </a:lnTo>
                  <a:lnTo>
                    <a:pt x="1584" y="1626"/>
                  </a:lnTo>
                  <a:lnTo>
                    <a:pt x="1584" y="1632"/>
                  </a:lnTo>
                  <a:lnTo>
                    <a:pt x="1578" y="1644"/>
                  </a:lnTo>
                  <a:lnTo>
                    <a:pt x="1572" y="1644"/>
                  </a:lnTo>
                  <a:lnTo>
                    <a:pt x="1566" y="1644"/>
                  </a:lnTo>
                  <a:lnTo>
                    <a:pt x="1566" y="1650"/>
                  </a:lnTo>
                  <a:lnTo>
                    <a:pt x="1560" y="1650"/>
                  </a:lnTo>
                  <a:lnTo>
                    <a:pt x="1554" y="1650"/>
                  </a:lnTo>
                  <a:lnTo>
                    <a:pt x="1548" y="1650"/>
                  </a:lnTo>
                  <a:lnTo>
                    <a:pt x="1548" y="1656"/>
                  </a:lnTo>
                  <a:lnTo>
                    <a:pt x="1542" y="1668"/>
                  </a:lnTo>
                  <a:lnTo>
                    <a:pt x="1542" y="1674"/>
                  </a:lnTo>
                  <a:lnTo>
                    <a:pt x="1542" y="1692"/>
                  </a:lnTo>
                  <a:lnTo>
                    <a:pt x="1536" y="1698"/>
                  </a:lnTo>
                  <a:lnTo>
                    <a:pt x="1530" y="1698"/>
                  </a:lnTo>
                  <a:lnTo>
                    <a:pt x="1524" y="1698"/>
                  </a:lnTo>
                  <a:lnTo>
                    <a:pt x="1518" y="1704"/>
                  </a:lnTo>
                  <a:lnTo>
                    <a:pt x="1512" y="1710"/>
                  </a:lnTo>
                  <a:lnTo>
                    <a:pt x="1506" y="1722"/>
                  </a:lnTo>
                  <a:lnTo>
                    <a:pt x="1500" y="1728"/>
                  </a:lnTo>
                  <a:lnTo>
                    <a:pt x="1500" y="1734"/>
                  </a:lnTo>
                  <a:lnTo>
                    <a:pt x="1512" y="1734"/>
                  </a:lnTo>
                  <a:lnTo>
                    <a:pt x="1518" y="1740"/>
                  </a:lnTo>
                  <a:lnTo>
                    <a:pt x="1518" y="1746"/>
                  </a:lnTo>
                  <a:lnTo>
                    <a:pt x="1518" y="1752"/>
                  </a:lnTo>
                  <a:lnTo>
                    <a:pt x="1518" y="1758"/>
                  </a:lnTo>
                  <a:lnTo>
                    <a:pt x="1524" y="1758"/>
                  </a:lnTo>
                  <a:lnTo>
                    <a:pt x="1524" y="1764"/>
                  </a:lnTo>
                  <a:lnTo>
                    <a:pt x="1530" y="1770"/>
                  </a:lnTo>
                  <a:lnTo>
                    <a:pt x="1518" y="1770"/>
                  </a:lnTo>
                  <a:lnTo>
                    <a:pt x="1512" y="1782"/>
                  </a:lnTo>
                  <a:lnTo>
                    <a:pt x="1512" y="1788"/>
                  </a:lnTo>
                  <a:lnTo>
                    <a:pt x="1518" y="1788"/>
                  </a:lnTo>
                  <a:lnTo>
                    <a:pt x="1524" y="1800"/>
                  </a:lnTo>
                  <a:lnTo>
                    <a:pt x="1524" y="1806"/>
                  </a:lnTo>
                  <a:lnTo>
                    <a:pt x="1518" y="1812"/>
                  </a:lnTo>
                  <a:lnTo>
                    <a:pt x="1512" y="1818"/>
                  </a:lnTo>
                  <a:lnTo>
                    <a:pt x="1506" y="1818"/>
                  </a:lnTo>
                  <a:lnTo>
                    <a:pt x="1500" y="1824"/>
                  </a:lnTo>
                  <a:lnTo>
                    <a:pt x="1500" y="1836"/>
                  </a:lnTo>
                  <a:lnTo>
                    <a:pt x="1500" y="1842"/>
                  </a:lnTo>
                  <a:lnTo>
                    <a:pt x="1500" y="1848"/>
                  </a:lnTo>
                  <a:lnTo>
                    <a:pt x="1500" y="1854"/>
                  </a:lnTo>
                  <a:lnTo>
                    <a:pt x="1494" y="1860"/>
                  </a:lnTo>
                  <a:lnTo>
                    <a:pt x="1488" y="1860"/>
                  </a:lnTo>
                  <a:lnTo>
                    <a:pt x="1488" y="1866"/>
                  </a:lnTo>
                  <a:lnTo>
                    <a:pt x="1482" y="1872"/>
                  </a:lnTo>
                  <a:lnTo>
                    <a:pt x="1482" y="1878"/>
                  </a:lnTo>
                  <a:lnTo>
                    <a:pt x="1482" y="1884"/>
                  </a:lnTo>
                  <a:lnTo>
                    <a:pt x="1476" y="1890"/>
                  </a:lnTo>
                  <a:lnTo>
                    <a:pt x="1470" y="1890"/>
                  </a:lnTo>
                  <a:lnTo>
                    <a:pt x="1470" y="1896"/>
                  </a:lnTo>
                  <a:lnTo>
                    <a:pt x="1464" y="1896"/>
                  </a:lnTo>
                  <a:lnTo>
                    <a:pt x="1458" y="1896"/>
                  </a:lnTo>
                  <a:lnTo>
                    <a:pt x="1452" y="1896"/>
                  </a:lnTo>
                  <a:lnTo>
                    <a:pt x="1440" y="1890"/>
                  </a:lnTo>
                  <a:lnTo>
                    <a:pt x="1434" y="1896"/>
                  </a:lnTo>
                  <a:lnTo>
                    <a:pt x="1428" y="1896"/>
                  </a:lnTo>
                  <a:lnTo>
                    <a:pt x="1422" y="1896"/>
                  </a:lnTo>
                  <a:lnTo>
                    <a:pt x="1422" y="1902"/>
                  </a:lnTo>
                  <a:lnTo>
                    <a:pt x="1416" y="1902"/>
                  </a:lnTo>
                  <a:lnTo>
                    <a:pt x="1422" y="1914"/>
                  </a:lnTo>
                  <a:lnTo>
                    <a:pt x="1422" y="1932"/>
                  </a:lnTo>
                  <a:lnTo>
                    <a:pt x="1416" y="1938"/>
                  </a:lnTo>
                  <a:lnTo>
                    <a:pt x="1422" y="1938"/>
                  </a:lnTo>
                  <a:lnTo>
                    <a:pt x="1404" y="1938"/>
                  </a:lnTo>
                  <a:lnTo>
                    <a:pt x="1392" y="1944"/>
                  </a:lnTo>
                  <a:lnTo>
                    <a:pt x="1386" y="1944"/>
                  </a:lnTo>
                  <a:lnTo>
                    <a:pt x="1374" y="1944"/>
                  </a:lnTo>
                  <a:lnTo>
                    <a:pt x="1368" y="1950"/>
                  </a:lnTo>
                  <a:lnTo>
                    <a:pt x="1374" y="1956"/>
                  </a:lnTo>
                  <a:lnTo>
                    <a:pt x="1368" y="1956"/>
                  </a:lnTo>
                  <a:lnTo>
                    <a:pt x="1356" y="1956"/>
                  </a:lnTo>
                  <a:lnTo>
                    <a:pt x="1350" y="1956"/>
                  </a:lnTo>
                  <a:lnTo>
                    <a:pt x="1350" y="1950"/>
                  </a:lnTo>
                  <a:lnTo>
                    <a:pt x="1344" y="1944"/>
                  </a:lnTo>
                  <a:lnTo>
                    <a:pt x="1332" y="1938"/>
                  </a:lnTo>
                  <a:lnTo>
                    <a:pt x="1326" y="1938"/>
                  </a:lnTo>
                  <a:lnTo>
                    <a:pt x="1320" y="1938"/>
                  </a:lnTo>
                  <a:lnTo>
                    <a:pt x="1314" y="1944"/>
                  </a:lnTo>
                  <a:lnTo>
                    <a:pt x="1308" y="1944"/>
                  </a:lnTo>
                  <a:lnTo>
                    <a:pt x="1302" y="1944"/>
                  </a:lnTo>
                  <a:lnTo>
                    <a:pt x="1296" y="1938"/>
                  </a:lnTo>
                  <a:lnTo>
                    <a:pt x="1284" y="1938"/>
                  </a:lnTo>
                  <a:lnTo>
                    <a:pt x="1278" y="1938"/>
                  </a:lnTo>
                  <a:lnTo>
                    <a:pt x="1272" y="1938"/>
                  </a:lnTo>
                  <a:lnTo>
                    <a:pt x="1266" y="1932"/>
                  </a:lnTo>
                  <a:lnTo>
                    <a:pt x="1260" y="1932"/>
                  </a:lnTo>
                  <a:lnTo>
                    <a:pt x="1254" y="1920"/>
                  </a:lnTo>
                  <a:lnTo>
                    <a:pt x="1248" y="1920"/>
                  </a:lnTo>
                  <a:lnTo>
                    <a:pt x="1242" y="1920"/>
                  </a:lnTo>
                  <a:lnTo>
                    <a:pt x="1236" y="1926"/>
                  </a:lnTo>
                  <a:lnTo>
                    <a:pt x="1236" y="1932"/>
                  </a:lnTo>
                  <a:lnTo>
                    <a:pt x="1230" y="1932"/>
                  </a:lnTo>
                  <a:lnTo>
                    <a:pt x="1224" y="1932"/>
                  </a:lnTo>
                  <a:lnTo>
                    <a:pt x="1218" y="1938"/>
                  </a:lnTo>
                  <a:lnTo>
                    <a:pt x="1212" y="1932"/>
                  </a:lnTo>
                  <a:lnTo>
                    <a:pt x="1206" y="1926"/>
                  </a:lnTo>
                  <a:lnTo>
                    <a:pt x="1206" y="1908"/>
                  </a:lnTo>
                  <a:lnTo>
                    <a:pt x="1206" y="1884"/>
                  </a:lnTo>
                  <a:lnTo>
                    <a:pt x="1206" y="1866"/>
                  </a:lnTo>
                  <a:lnTo>
                    <a:pt x="1212" y="1848"/>
                  </a:lnTo>
                  <a:lnTo>
                    <a:pt x="1212" y="1842"/>
                  </a:lnTo>
                  <a:lnTo>
                    <a:pt x="1206" y="1836"/>
                  </a:lnTo>
                  <a:lnTo>
                    <a:pt x="1200" y="1830"/>
                  </a:lnTo>
                  <a:lnTo>
                    <a:pt x="1194" y="1824"/>
                  </a:lnTo>
                  <a:lnTo>
                    <a:pt x="1188" y="1824"/>
                  </a:lnTo>
                  <a:lnTo>
                    <a:pt x="1182" y="1824"/>
                  </a:lnTo>
                  <a:lnTo>
                    <a:pt x="1176" y="1824"/>
                  </a:lnTo>
                  <a:lnTo>
                    <a:pt x="1170" y="1818"/>
                  </a:lnTo>
                  <a:lnTo>
                    <a:pt x="1164" y="1830"/>
                  </a:lnTo>
                  <a:lnTo>
                    <a:pt x="1152" y="1836"/>
                  </a:lnTo>
                  <a:lnTo>
                    <a:pt x="1146" y="1842"/>
                  </a:lnTo>
                  <a:lnTo>
                    <a:pt x="1140" y="1842"/>
                  </a:lnTo>
                  <a:lnTo>
                    <a:pt x="1134" y="1842"/>
                  </a:lnTo>
                  <a:lnTo>
                    <a:pt x="1128" y="1842"/>
                  </a:lnTo>
                  <a:lnTo>
                    <a:pt x="1116" y="1836"/>
                  </a:lnTo>
                  <a:lnTo>
                    <a:pt x="1110" y="1842"/>
                  </a:lnTo>
                  <a:lnTo>
                    <a:pt x="1092" y="1830"/>
                  </a:lnTo>
                  <a:lnTo>
                    <a:pt x="1092" y="1824"/>
                  </a:lnTo>
                  <a:lnTo>
                    <a:pt x="1092" y="1806"/>
                  </a:lnTo>
                  <a:lnTo>
                    <a:pt x="1092" y="1800"/>
                  </a:lnTo>
                  <a:lnTo>
                    <a:pt x="1092" y="1794"/>
                  </a:lnTo>
                  <a:lnTo>
                    <a:pt x="1086" y="1788"/>
                  </a:lnTo>
                  <a:lnTo>
                    <a:pt x="1080" y="1794"/>
                  </a:lnTo>
                  <a:lnTo>
                    <a:pt x="1074" y="1788"/>
                  </a:lnTo>
                  <a:lnTo>
                    <a:pt x="1068" y="1770"/>
                  </a:lnTo>
                  <a:lnTo>
                    <a:pt x="1056" y="1764"/>
                  </a:lnTo>
                  <a:lnTo>
                    <a:pt x="1050" y="1764"/>
                  </a:lnTo>
                  <a:lnTo>
                    <a:pt x="1044" y="1764"/>
                  </a:lnTo>
                  <a:lnTo>
                    <a:pt x="1038" y="1758"/>
                  </a:lnTo>
                  <a:lnTo>
                    <a:pt x="1032" y="1752"/>
                  </a:lnTo>
                  <a:lnTo>
                    <a:pt x="1032" y="1746"/>
                  </a:lnTo>
                  <a:lnTo>
                    <a:pt x="1032" y="1740"/>
                  </a:lnTo>
                  <a:lnTo>
                    <a:pt x="1032" y="1734"/>
                  </a:lnTo>
                  <a:lnTo>
                    <a:pt x="1026" y="1734"/>
                  </a:lnTo>
                  <a:lnTo>
                    <a:pt x="1032" y="1728"/>
                  </a:lnTo>
                  <a:lnTo>
                    <a:pt x="1032" y="1722"/>
                  </a:lnTo>
                  <a:lnTo>
                    <a:pt x="1044" y="1686"/>
                  </a:lnTo>
                  <a:lnTo>
                    <a:pt x="1044" y="1680"/>
                  </a:lnTo>
                  <a:lnTo>
                    <a:pt x="1032" y="1674"/>
                  </a:lnTo>
                  <a:lnTo>
                    <a:pt x="1026" y="1674"/>
                  </a:lnTo>
                  <a:lnTo>
                    <a:pt x="1026" y="1668"/>
                  </a:lnTo>
                  <a:lnTo>
                    <a:pt x="1020" y="1662"/>
                  </a:lnTo>
                  <a:lnTo>
                    <a:pt x="1014" y="1668"/>
                  </a:lnTo>
                  <a:lnTo>
                    <a:pt x="1008" y="1662"/>
                  </a:lnTo>
                  <a:lnTo>
                    <a:pt x="1002" y="1662"/>
                  </a:lnTo>
                  <a:lnTo>
                    <a:pt x="1002" y="1668"/>
                  </a:lnTo>
                  <a:lnTo>
                    <a:pt x="996" y="1668"/>
                  </a:lnTo>
                  <a:lnTo>
                    <a:pt x="996" y="1662"/>
                  </a:lnTo>
                  <a:lnTo>
                    <a:pt x="984" y="1662"/>
                  </a:lnTo>
                  <a:lnTo>
                    <a:pt x="984" y="1656"/>
                  </a:lnTo>
                  <a:lnTo>
                    <a:pt x="978" y="1650"/>
                  </a:lnTo>
                  <a:lnTo>
                    <a:pt x="978" y="1644"/>
                  </a:lnTo>
                  <a:lnTo>
                    <a:pt x="966" y="1650"/>
                  </a:lnTo>
                  <a:lnTo>
                    <a:pt x="960" y="1638"/>
                  </a:lnTo>
                  <a:lnTo>
                    <a:pt x="954" y="1632"/>
                  </a:lnTo>
                  <a:lnTo>
                    <a:pt x="948" y="1632"/>
                  </a:lnTo>
                  <a:lnTo>
                    <a:pt x="942" y="1626"/>
                  </a:lnTo>
                  <a:lnTo>
                    <a:pt x="942" y="1614"/>
                  </a:lnTo>
                  <a:lnTo>
                    <a:pt x="930" y="1608"/>
                  </a:lnTo>
                  <a:lnTo>
                    <a:pt x="924" y="1614"/>
                  </a:lnTo>
                  <a:lnTo>
                    <a:pt x="912" y="1608"/>
                  </a:lnTo>
                  <a:lnTo>
                    <a:pt x="888" y="1590"/>
                  </a:lnTo>
                  <a:lnTo>
                    <a:pt x="894" y="1578"/>
                  </a:lnTo>
                  <a:lnTo>
                    <a:pt x="894" y="1572"/>
                  </a:lnTo>
                  <a:lnTo>
                    <a:pt x="894" y="1566"/>
                  </a:lnTo>
                  <a:lnTo>
                    <a:pt x="894" y="1548"/>
                  </a:lnTo>
                  <a:lnTo>
                    <a:pt x="888" y="1548"/>
                  </a:lnTo>
                  <a:lnTo>
                    <a:pt x="882" y="1542"/>
                  </a:lnTo>
                  <a:lnTo>
                    <a:pt x="876" y="1542"/>
                  </a:lnTo>
                  <a:lnTo>
                    <a:pt x="876" y="1536"/>
                  </a:lnTo>
                  <a:lnTo>
                    <a:pt x="870" y="1542"/>
                  </a:lnTo>
                  <a:lnTo>
                    <a:pt x="870" y="1554"/>
                  </a:lnTo>
                  <a:lnTo>
                    <a:pt x="870" y="1566"/>
                  </a:lnTo>
                  <a:lnTo>
                    <a:pt x="870" y="1578"/>
                  </a:lnTo>
                  <a:lnTo>
                    <a:pt x="870" y="1584"/>
                  </a:lnTo>
                  <a:lnTo>
                    <a:pt x="864" y="1584"/>
                  </a:lnTo>
                  <a:lnTo>
                    <a:pt x="870" y="1602"/>
                  </a:lnTo>
                  <a:lnTo>
                    <a:pt x="864" y="1608"/>
                  </a:lnTo>
                  <a:lnTo>
                    <a:pt x="870" y="1614"/>
                  </a:lnTo>
                  <a:lnTo>
                    <a:pt x="864" y="1644"/>
                  </a:lnTo>
                  <a:lnTo>
                    <a:pt x="858" y="1650"/>
                  </a:lnTo>
                  <a:lnTo>
                    <a:pt x="858" y="1656"/>
                  </a:lnTo>
                  <a:lnTo>
                    <a:pt x="852" y="1662"/>
                  </a:lnTo>
                  <a:lnTo>
                    <a:pt x="852" y="1680"/>
                  </a:lnTo>
                  <a:lnTo>
                    <a:pt x="846" y="1686"/>
                  </a:lnTo>
                  <a:lnTo>
                    <a:pt x="834" y="1692"/>
                  </a:lnTo>
                  <a:lnTo>
                    <a:pt x="828" y="1692"/>
                  </a:lnTo>
                  <a:lnTo>
                    <a:pt x="822" y="1698"/>
                  </a:lnTo>
                  <a:lnTo>
                    <a:pt x="822" y="1704"/>
                  </a:lnTo>
                  <a:lnTo>
                    <a:pt x="816" y="1704"/>
                  </a:lnTo>
                  <a:lnTo>
                    <a:pt x="804" y="1692"/>
                  </a:lnTo>
                  <a:lnTo>
                    <a:pt x="786" y="1698"/>
                  </a:lnTo>
                  <a:lnTo>
                    <a:pt x="780" y="1698"/>
                  </a:lnTo>
                  <a:lnTo>
                    <a:pt x="756" y="1698"/>
                  </a:lnTo>
                  <a:lnTo>
                    <a:pt x="744" y="1698"/>
                  </a:lnTo>
                  <a:lnTo>
                    <a:pt x="738" y="1698"/>
                  </a:lnTo>
                  <a:lnTo>
                    <a:pt x="732" y="1704"/>
                  </a:lnTo>
                  <a:lnTo>
                    <a:pt x="726" y="1704"/>
                  </a:lnTo>
                  <a:lnTo>
                    <a:pt x="678" y="1710"/>
                  </a:lnTo>
                  <a:lnTo>
                    <a:pt x="642" y="1710"/>
                  </a:lnTo>
                  <a:lnTo>
                    <a:pt x="618" y="1680"/>
                  </a:lnTo>
                  <a:lnTo>
                    <a:pt x="618" y="1674"/>
                  </a:lnTo>
                  <a:lnTo>
                    <a:pt x="618" y="1668"/>
                  </a:lnTo>
                  <a:lnTo>
                    <a:pt x="624" y="1662"/>
                  </a:lnTo>
                  <a:lnTo>
                    <a:pt x="624" y="1656"/>
                  </a:lnTo>
                  <a:lnTo>
                    <a:pt x="624" y="1650"/>
                  </a:lnTo>
                  <a:lnTo>
                    <a:pt x="618" y="1650"/>
                  </a:lnTo>
                  <a:lnTo>
                    <a:pt x="618" y="1644"/>
                  </a:lnTo>
                  <a:lnTo>
                    <a:pt x="618" y="1638"/>
                  </a:lnTo>
                  <a:lnTo>
                    <a:pt x="618" y="1632"/>
                  </a:lnTo>
                  <a:lnTo>
                    <a:pt x="618" y="1626"/>
                  </a:lnTo>
                  <a:lnTo>
                    <a:pt x="612" y="1626"/>
                  </a:lnTo>
                  <a:lnTo>
                    <a:pt x="612" y="1620"/>
                  </a:lnTo>
                  <a:lnTo>
                    <a:pt x="606" y="1614"/>
                  </a:lnTo>
                  <a:lnTo>
                    <a:pt x="594" y="1626"/>
                  </a:lnTo>
                  <a:lnTo>
                    <a:pt x="594" y="1632"/>
                  </a:lnTo>
                  <a:lnTo>
                    <a:pt x="588" y="1638"/>
                  </a:lnTo>
                  <a:lnTo>
                    <a:pt x="582" y="1638"/>
                  </a:lnTo>
                  <a:lnTo>
                    <a:pt x="564" y="1656"/>
                  </a:lnTo>
                  <a:lnTo>
                    <a:pt x="558" y="1662"/>
                  </a:lnTo>
                  <a:lnTo>
                    <a:pt x="552" y="1662"/>
                  </a:lnTo>
                  <a:lnTo>
                    <a:pt x="540" y="1674"/>
                  </a:lnTo>
                  <a:lnTo>
                    <a:pt x="534" y="1680"/>
                  </a:lnTo>
                  <a:lnTo>
                    <a:pt x="522" y="1692"/>
                  </a:lnTo>
                  <a:lnTo>
                    <a:pt x="516" y="1704"/>
                  </a:lnTo>
                  <a:lnTo>
                    <a:pt x="510" y="1704"/>
                  </a:lnTo>
                  <a:lnTo>
                    <a:pt x="504" y="1704"/>
                  </a:lnTo>
                  <a:lnTo>
                    <a:pt x="486" y="1722"/>
                  </a:lnTo>
                  <a:lnTo>
                    <a:pt x="480" y="1740"/>
                  </a:lnTo>
                  <a:lnTo>
                    <a:pt x="474" y="1740"/>
                  </a:lnTo>
                  <a:lnTo>
                    <a:pt x="468" y="1746"/>
                  </a:lnTo>
                  <a:lnTo>
                    <a:pt x="456" y="1758"/>
                  </a:lnTo>
                  <a:lnTo>
                    <a:pt x="444" y="1770"/>
                  </a:lnTo>
                  <a:lnTo>
                    <a:pt x="438" y="1782"/>
                  </a:lnTo>
                  <a:lnTo>
                    <a:pt x="426" y="1788"/>
                  </a:lnTo>
                  <a:lnTo>
                    <a:pt x="420" y="1788"/>
                  </a:lnTo>
                  <a:lnTo>
                    <a:pt x="420" y="1782"/>
                  </a:lnTo>
                  <a:lnTo>
                    <a:pt x="414" y="1782"/>
                  </a:lnTo>
                  <a:lnTo>
                    <a:pt x="390" y="1782"/>
                  </a:lnTo>
                  <a:lnTo>
                    <a:pt x="390" y="1776"/>
                  </a:lnTo>
                  <a:lnTo>
                    <a:pt x="384" y="1776"/>
                  </a:lnTo>
                  <a:lnTo>
                    <a:pt x="378" y="1776"/>
                  </a:lnTo>
                  <a:lnTo>
                    <a:pt x="372" y="1776"/>
                  </a:lnTo>
                  <a:lnTo>
                    <a:pt x="366" y="1770"/>
                  </a:lnTo>
                  <a:lnTo>
                    <a:pt x="366" y="1776"/>
                  </a:lnTo>
                  <a:lnTo>
                    <a:pt x="360" y="1788"/>
                  </a:lnTo>
                  <a:lnTo>
                    <a:pt x="360" y="1794"/>
                  </a:lnTo>
                  <a:lnTo>
                    <a:pt x="360" y="1800"/>
                  </a:lnTo>
                  <a:lnTo>
                    <a:pt x="354" y="1806"/>
                  </a:lnTo>
                  <a:lnTo>
                    <a:pt x="354" y="1812"/>
                  </a:lnTo>
                  <a:lnTo>
                    <a:pt x="354" y="1824"/>
                  </a:lnTo>
                  <a:lnTo>
                    <a:pt x="348" y="1830"/>
                  </a:lnTo>
                  <a:lnTo>
                    <a:pt x="354" y="1836"/>
                  </a:lnTo>
                  <a:lnTo>
                    <a:pt x="348" y="1842"/>
                  </a:lnTo>
                  <a:lnTo>
                    <a:pt x="354" y="1848"/>
                  </a:lnTo>
                  <a:lnTo>
                    <a:pt x="348" y="1854"/>
                  </a:lnTo>
                  <a:lnTo>
                    <a:pt x="354" y="1854"/>
                  </a:lnTo>
                  <a:lnTo>
                    <a:pt x="348" y="1860"/>
                  </a:lnTo>
                  <a:lnTo>
                    <a:pt x="348" y="1866"/>
                  </a:lnTo>
                  <a:lnTo>
                    <a:pt x="342" y="1866"/>
                  </a:lnTo>
                  <a:lnTo>
                    <a:pt x="342" y="1872"/>
                  </a:lnTo>
                  <a:lnTo>
                    <a:pt x="342" y="1878"/>
                  </a:lnTo>
                  <a:lnTo>
                    <a:pt x="342" y="1884"/>
                  </a:lnTo>
                  <a:lnTo>
                    <a:pt x="336" y="1896"/>
                  </a:lnTo>
                  <a:lnTo>
                    <a:pt x="330" y="1914"/>
                  </a:lnTo>
                  <a:lnTo>
                    <a:pt x="324" y="1920"/>
                  </a:lnTo>
                  <a:lnTo>
                    <a:pt x="324" y="1926"/>
                  </a:lnTo>
                  <a:lnTo>
                    <a:pt x="318" y="1944"/>
                  </a:lnTo>
                  <a:lnTo>
                    <a:pt x="318" y="1950"/>
                  </a:lnTo>
                  <a:lnTo>
                    <a:pt x="312" y="1956"/>
                  </a:lnTo>
                  <a:lnTo>
                    <a:pt x="312" y="1950"/>
                  </a:lnTo>
                  <a:lnTo>
                    <a:pt x="306" y="1950"/>
                  </a:lnTo>
                  <a:lnTo>
                    <a:pt x="306" y="1956"/>
                  </a:lnTo>
                  <a:lnTo>
                    <a:pt x="300" y="1950"/>
                  </a:lnTo>
                  <a:lnTo>
                    <a:pt x="294" y="1956"/>
                  </a:lnTo>
                  <a:lnTo>
                    <a:pt x="288" y="1950"/>
                  </a:lnTo>
                  <a:lnTo>
                    <a:pt x="288" y="1944"/>
                  </a:lnTo>
                  <a:lnTo>
                    <a:pt x="282" y="1938"/>
                  </a:lnTo>
                  <a:lnTo>
                    <a:pt x="282" y="1932"/>
                  </a:lnTo>
                  <a:lnTo>
                    <a:pt x="282" y="1890"/>
                  </a:lnTo>
                  <a:lnTo>
                    <a:pt x="288" y="1860"/>
                  </a:lnTo>
                  <a:lnTo>
                    <a:pt x="294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300" y="1818"/>
                  </a:lnTo>
                  <a:lnTo>
                    <a:pt x="306" y="1794"/>
                  </a:lnTo>
                  <a:lnTo>
                    <a:pt x="306" y="1788"/>
                  </a:lnTo>
                  <a:lnTo>
                    <a:pt x="306" y="1782"/>
                  </a:lnTo>
                  <a:lnTo>
                    <a:pt x="312" y="1776"/>
                  </a:lnTo>
                  <a:lnTo>
                    <a:pt x="306" y="1776"/>
                  </a:lnTo>
                  <a:lnTo>
                    <a:pt x="312" y="1770"/>
                  </a:lnTo>
                  <a:lnTo>
                    <a:pt x="312" y="1740"/>
                  </a:lnTo>
                  <a:lnTo>
                    <a:pt x="318" y="1722"/>
                  </a:lnTo>
                  <a:lnTo>
                    <a:pt x="312" y="1722"/>
                  </a:lnTo>
                  <a:lnTo>
                    <a:pt x="300" y="1716"/>
                  </a:lnTo>
                  <a:lnTo>
                    <a:pt x="306" y="1716"/>
                  </a:lnTo>
                  <a:lnTo>
                    <a:pt x="312" y="1710"/>
                  </a:lnTo>
                  <a:lnTo>
                    <a:pt x="324" y="1674"/>
                  </a:lnTo>
                  <a:lnTo>
                    <a:pt x="366" y="1590"/>
                  </a:lnTo>
                  <a:lnTo>
                    <a:pt x="408" y="1548"/>
                  </a:lnTo>
                  <a:lnTo>
                    <a:pt x="426" y="1530"/>
                  </a:lnTo>
                  <a:lnTo>
                    <a:pt x="432" y="1500"/>
                  </a:lnTo>
                  <a:lnTo>
                    <a:pt x="426" y="1494"/>
                  </a:lnTo>
                  <a:lnTo>
                    <a:pt x="426" y="1482"/>
                  </a:lnTo>
                  <a:lnTo>
                    <a:pt x="432" y="1464"/>
                  </a:lnTo>
                  <a:lnTo>
                    <a:pt x="438" y="1428"/>
                  </a:lnTo>
                  <a:lnTo>
                    <a:pt x="462" y="1398"/>
                  </a:lnTo>
                  <a:lnTo>
                    <a:pt x="468" y="1362"/>
                  </a:lnTo>
                  <a:lnTo>
                    <a:pt x="462" y="1314"/>
                  </a:lnTo>
                  <a:lnTo>
                    <a:pt x="444" y="1284"/>
                  </a:lnTo>
                  <a:lnTo>
                    <a:pt x="432" y="1260"/>
                  </a:lnTo>
                  <a:lnTo>
                    <a:pt x="426" y="1260"/>
                  </a:lnTo>
                  <a:lnTo>
                    <a:pt x="420" y="1254"/>
                  </a:lnTo>
                  <a:lnTo>
                    <a:pt x="408" y="1260"/>
                  </a:lnTo>
                  <a:lnTo>
                    <a:pt x="402" y="1260"/>
                  </a:lnTo>
                  <a:lnTo>
                    <a:pt x="402" y="1254"/>
                  </a:lnTo>
                  <a:lnTo>
                    <a:pt x="396" y="1254"/>
                  </a:lnTo>
                  <a:lnTo>
                    <a:pt x="396" y="1248"/>
                  </a:lnTo>
                  <a:lnTo>
                    <a:pt x="384" y="1248"/>
                  </a:lnTo>
                  <a:lnTo>
                    <a:pt x="372" y="1230"/>
                  </a:lnTo>
                  <a:lnTo>
                    <a:pt x="360" y="1212"/>
                  </a:lnTo>
                  <a:lnTo>
                    <a:pt x="348" y="1188"/>
                  </a:lnTo>
                  <a:lnTo>
                    <a:pt x="324" y="1170"/>
                  </a:lnTo>
                  <a:lnTo>
                    <a:pt x="318" y="1170"/>
                  </a:lnTo>
                  <a:lnTo>
                    <a:pt x="312" y="1158"/>
                  </a:lnTo>
                  <a:lnTo>
                    <a:pt x="312" y="1152"/>
                  </a:lnTo>
                  <a:lnTo>
                    <a:pt x="306" y="1146"/>
                  </a:lnTo>
                  <a:lnTo>
                    <a:pt x="270" y="1122"/>
                  </a:lnTo>
                  <a:lnTo>
                    <a:pt x="240" y="1122"/>
                  </a:lnTo>
                  <a:lnTo>
                    <a:pt x="180" y="1116"/>
                  </a:lnTo>
                  <a:lnTo>
                    <a:pt x="174" y="1122"/>
                  </a:lnTo>
                  <a:lnTo>
                    <a:pt x="174" y="1128"/>
                  </a:lnTo>
                  <a:lnTo>
                    <a:pt x="168" y="1122"/>
                  </a:lnTo>
                  <a:lnTo>
                    <a:pt x="162" y="1116"/>
                  </a:lnTo>
                  <a:lnTo>
                    <a:pt x="144" y="1122"/>
                  </a:lnTo>
                  <a:lnTo>
                    <a:pt x="120" y="1122"/>
                  </a:lnTo>
                  <a:lnTo>
                    <a:pt x="54" y="1134"/>
                  </a:lnTo>
                  <a:lnTo>
                    <a:pt x="24" y="1152"/>
                  </a:lnTo>
                  <a:lnTo>
                    <a:pt x="6" y="1146"/>
                  </a:lnTo>
                  <a:lnTo>
                    <a:pt x="0" y="1134"/>
                  </a:lnTo>
                  <a:lnTo>
                    <a:pt x="0" y="1128"/>
                  </a:lnTo>
                  <a:lnTo>
                    <a:pt x="18" y="1110"/>
                  </a:lnTo>
                  <a:lnTo>
                    <a:pt x="24" y="1104"/>
                  </a:lnTo>
                  <a:lnTo>
                    <a:pt x="24" y="1098"/>
                  </a:lnTo>
                  <a:lnTo>
                    <a:pt x="30" y="1086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24" y="1074"/>
                  </a:lnTo>
                  <a:lnTo>
                    <a:pt x="18" y="1068"/>
                  </a:lnTo>
                  <a:lnTo>
                    <a:pt x="24" y="1062"/>
                  </a:lnTo>
                  <a:lnTo>
                    <a:pt x="42" y="1056"/>
                  </a:lnTo>
                  <a:lnTo>
                    <a:pt x="54" y="1050"/>
                  </a:lnTo>
                  <a:lnTo>
                    <a:pt x="72" y="1044"/>
                  </a:lnTo>
                  <a:lnTo>
                    <a:pt x="96" y="1032"/>
                  </a:lnTo>
                  <a:lnTo>
                    <a:pt x="102" y="1032"/>
                  </a:lnTo>
                  <a:lnTo>
                    <a:pt x="126" y="1008"/>
                  </a:lnTo>
                  <a:lnTo>
                    <a:pt x="144" y="990"/>
                  </a:lnTo>
                  <a:lnTo>
                    <a:pt x="156" y="978"/>
                  </a:lnTo>
                  <a:lnTo>
                    <a:pt x="156" y="966"/>
                  </a:lnTo>
                  <a:lnTo>
                    <a:pt x="150" y="960"/>
                  </a:lnTo>
                  <a:lnTo>
                    <a:pt x="144" y="948"/>
                  </a:lnTo>
                  <a:lnTo>
                    <a:pt x="144" y="936"/>
                  </a:lnTo>
                  <a:lnTo>
                    <a:pt x="138" y="918"/>
                  </a:lnTo>
                  <a:lnTo>
                    <a:pt x="150" y="912"/>
                  </a:lnTo>
                  <a:lnTo>
                    <a:pt x="150" y="894"/>
                  </a:lnTo>
                  <a:lnTo>
                    <a:pt x="132" y="876"/>
                  </a:lnTo>
                  <a:lnTo>
                    <a:pt x="126" y="876"/>
                  </a:lnTo>
                  <a:lnTo>
                    <a:pt x="120" y="870"/>
                  </a:lnTo>
                  <a:lnTo>
                    <a:pt x="120" y="864"/>
                  </a:lnTo>
                  <a:lnTo>
                    <a:pt x="114" y="864"/>
                  </a:lnTo>
                  <a:lnTo>
                    <a:pt x="108" y="864"/>
                  </a:lnTo>
                  <a:lnTo>
                    <a:pt x="108" y="858"/>
                  </a:lnTo>
                  <a:lnTo>
                    <a:pt x="102" y="852"/>
                  </a:lnTo>
                  <a:lnTo>
                    <a:pt x="96" y="852"/>
                  </a:lnTo>
                  <a:lnTo>
                    <a:pt x="102" y="834"/>
                  </a:lnTo>
                  <a:lnTo>
                    <a:pt x="108" y="816"/>
                  </a:lnTo>
                  <a:lnTo>
                    <a:pt x="114" y="804"/>
                  </a:lnTo>
                  <a:lnTo>
                    <a:pt x="132" y="798"/>
                  </a:lnTo>
                  <a:lnTo>
                    <a:pt x="144" y="798"/>
                  </a:lnTo>
                  <a:lnTo>
                    <a:pt x="180" y="810"/>
                  </a:lnTo>
                  <a:lnTo>
                    <a:pt x="192" y="816"/>
                  </a:lnTo>
                  <a:lnTo>
                    <a:pt x="234" y="822"/>
                  </a:lnTo>
                  <a:lnTo>
                    <a:pt x="264" y="828"/>
                  </a:lnTo>
                  <a:lnTo>
                    <a:pt x="270" y="840"/>
                  </a:lnTo>
                  <a:lnTo>
                    <a:pt x="270" y="834"/>
                  </a:lnTo>
                  <a:lnTo>
                    <a:pt x="270" y="828"/>
                  </a:lnTo>
                  <a:lnTo>
                    <a:pt x="270" y="822"/>
                  </a:lnTo>
                  <a:lnTo>
                    <a:pt x="270" y="816"/>
                  </a:lnTo>
                  <a:lnTo>
                    <a:pt x="264" y="810"/>
                  </a:lnTo>
                  <a:lnTo>
                    <a:pt x="264" y="804"/>
                  </a:lnTo>
                  <a:lnTo>
                    <a:pt x="264" y="798"/>
                  </a:lnTo>
                  <a:lnTo>
                    <a:pt x="258" y="792"/>
                  </a:lnTo>
                  <a:lnTo>
                    <a:pt x="258" y="786"/>
                  </a:lnTo>
                  <a:lnTo>
                    <a:pt x="264" y="786"/>
                  </a:lnTo>
                  <a:lnTo>
                    <a:pt x="264" y="780"/>
                  </a:lnTo>
                  <a:lnTo>
                    <a:pt x="258" y="774"/>
                  </a:lnTo>
                  <a:lnTo>
                    <a:pt x="258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82" y="762"/>
                  </a:lnTo>
                  <a:lnTo>
                    <a:pt x="312" y="780"/>
                  </a:lnTo>
                  <a:lnTo>
                    <a:pt x="354" y="786"/>
                  </a:lnTo>
                  <a:lnTo>
                    <a:pt x="408" y="774"/>
                  </a:lnTo>
                  <a:lnTo>
                    <a:pt x="444" y="756"/>
                  </a:lnTo>
                  <a:lnTo>
                    <a:pt x="468" y="732"/>
                  </a:lnTo>
                  <a:lnTo>
                    <a:pt x="492" y="720"/>
                  </a:lnTo>
                  <a:lnTo>
                    <a:pt x="522" y="690"/>
                  </a:lnTo>
                  <a:lnTo>
                    <a:pt x="540" y="672"/>
                  </a:lnTo>
                  <a:lnTo>
                    <a:pt x="558" y="660"/>
                  </a:lnTo>
                  <a:lnTo>
                    <a:pt x="570" y="636"/>
                  </a:lnTo>
                  <a:lnTo>
                    <a:pt x="588" y="612"/>
                  </a:lnTo>
                  <a:lnTo>
                    <a:pt x="654" y="552"/>
                  </a:lnTo>
                  <a:lnTo>
                    <a:pt x="678" y="528"/>
                  </a:lnTo>
                  <a:lnTo>
                    <a:pt x="696" y="510"/>
                  </a:lnTo>
                  <a:lnTo>
                    <a:pt x="714" y="498"/>
                  </a:lnTo>
                  <a:lnTo>
                    <a:pt x="750" y="480"/>
                  </a:lnTo>
                  <a:lnTo>
                    <a:pt x="774" y="444"/>
                  </a:lnTo>
                  <a:lnTo>
                    <a:pt x="816" y="426"/>
                  </a:lnTo>
                  <a:lnTo>
                    <a:pt x="864" y="420"/>
                  </a:lnTo>
                  <a:lnTo>
                    <a:pt x="912" y="402"/>
                  </a:lnTo>
                  <a:lnTo>
                    <a:pt x="906" y="396"/>
                  </a:lnTo>
                  <a:lnTo>
                    <a:pt x="912" y="396"/>
                  </a:lnTo>
                  <a:lnTo>
                    <a:pt x="912" y="390"/>
                  </a:lnTo>
                  <a:lnTo>
                    <a:pt x="918" y="384"/>
                  </a:lnTo>
                  <a:lnTo>
                    <a:pt x="924" y="384"/>
                  </a:lnTo>
                  <a:lnTo>
                    <a:pt x="924" y="378"/>
                  </a:lnTo>
                  <a:lnTo>
                    <a:pt x="918" y="372"/>
                  </a:lnTo>
                  <a:lnTo>
                    <a:pt x="918" y="366"/>
                  </a:lnTo>
                  <a:lnTo>
                    <a:pt x="918" y="360"/>
                  </a:lnTo>
                  <a:lnTo>
                    <a:pt x="924" y="360"/>
                  </a:lnTo>
                  <a:lnTo>
                    <a:pt x="924" y="354"/>
                  </a:lnTo>
                  <a:lnTo>
                    <a:pt x="930" y="354"/>
                  </a:lnTo>
                  <a:lnTo>
                    <a:pt x="936" y="354"/>
                  </a:lnTo>
                  <a:lnTo>
                    <a:pt x="936" y="348"/>
                  </a:lnTo>
                  <a:lnTo>
                    <a:pt x="942" y="348"/>
                  </a:lnTo>
                  <a:lnTo>
                    <a:pt x="942" y="336"/>
                  </a:lnTo>
                  <a:lnTo>
                    <a:pt x="936" y="336"/>
                  </a:lnTo>
                  <a:lnTo>
                    <a:pt x="930" y="330"/>
                  </a:lnTo>
                  <a:lnTo>
                    <a:pt x="924" y="330"/>
                  </a:lnTo>
                  <a:lnTo>
                    <a:pt x="924" y="324"/>
                  </a:lnTo>
                  <a:lnTo>
                    <a:pt x="918" y="318"/>
                  </a:lnTo>
                  <a:lnTo>
                    <a:pt x="912" y="306"/>
                  </a:lnTo>
                  <a:lnTo>
                    <a:pt x="918" y="306"/>
                  </a:lnTo>
                  <a:lnTo>
                    <a:pt x="924" y="300"/>
                  </a:lnTo>
                  <a:lnTo>
                    <a:pt x="924" y="294"/>
                  </a:lnTo>
                  <a:lnTo>
                    <a:pt x="924" y="288"/>
                  </a:lnTo>
                  <a:lnTo>
                    <a:pt x="924" y="282"/>
                  </a:lnTo>
                  <a:lnTo>
                    <a:pt x="924" y="276"/>
                  </a:lnTo>
                  <a:lnTo>
                    <a:pt x="918" y="270"/>
                  </a:lnTo>
                  <a:lnTo>
                    <a:pt x="918" y="264"/>
                  </a:lnTo>
                  <a:lnTo>
                    <a:pt x="912" y="270"/>
                  </a:lnTo>
                  <a:lnTo>
                    <a:pt x="912" y="264"/>
                  </a:lnTo>
                  <a:lnTo>
                    <a:pt x="912" y="258"/>
                  </a:lnTo>
                  <a:lnTo>
                    <a:pt x="912" y="252"/>
                  </a:lnTo>
                  <a:lnTo>
                    <a:pt x="906" y="252"/>
                  </a:lnTo>
                  <a:lnTo>
                    <a:pt x="900" y="246"/>
                  </a:lnTo>
                  <a:lnTo>
                    <a:pt x="900" y="240"/>
                  </a:lnTo>
                  <a:lnTo>
                    <a:pt x="900" y="246"/>
                  </a:lnTo>
                  <a:lnTo>
                    <a:pt x="894" y="246"/>
                  </a:lnTo>
                  <a:lnTo>
                    <a:pt x="894" y="240"/>
                  </a:lnTo>
                  <a:lnTo>
                    <a:pt x="894" y="234"/>
                  </a:lnTo>
                  <a:lnTo>
                    <a:pt x="900" y="234"/>
                  </a:lnTo>
                  <a:lnTo>
                    <a:pt x="900" y="228"/>
                  </a:lnTo>
                  <a:lnTo>
                    <a:pt x="906" y="228"/>
                  </a:lnTo>
                  <a:lnTo>
                    <a:pt x="900" y="222"/>
                  </a:lnTo>
                  <a:lnTo>
                    <a:pt x="894" y="216"/>
                  </a:lnTo>
                  <a:lnTo>
                    <a:pt x="894" y="210"/>
                  </a:lnTo>
                  <a:lnTo>
                    <a:pt x="888" y="210"/>
                  </a:lnTo>
                  <a:lnTo>
                    <a:pt x="888" y="204"/>
                  </a:lnTo>
                  <a:lnTo>
                    <a:pt x="888" y="198"/>
                  </a:lnTo>
                  <a:lnTo>
                    <a:pt x="888" y="192"/>
                  </a:lnTo>
                  <a:lnTo>
                    <a:pt x="882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82" y="174"/>
                  </a:lnTo>
                  <a:lnTo>
                    <a:pt x="888" y="168"/>
                  </a:lnTo>
                  <a:lnTo>
                    <a:pt x="888" y="162"/>
                  </a:lnTo>
                  <a:lnTo>
                    <a:pt x="888" y="156"/>
                  </a:lnTo>
                  <a:lnTo>
                    <a:pt x="888" y="150"/>
                  </a:lnTo>
                  <a:lnTo>
                    <a:pt x="888" y="144"/>
                  </a:lnTo>
                  <a:lnTo>
                    <a:pt x="882" y="144"/>
                  </a:lnTo>
                  <a:lnTo>
                    <a:pt x="882" y="138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76" y="120"/>
                  </a:lnTo>
                  <a:lnTo>
                    <a:pt x="882" y="114"/>
                  </a:lnTo>
                  <a:lnTo>
                    <a:pt x="882" y="108"/>
                  </a:lnTo>
                  <a:lnTo>
                    <a:pt x="888" y="102"/>
                  </a:lnTo>
                  <a:lnTo>
                    <a:pt x="894" y="102"/>
                  </a:lnTo>
                  <a:lnTo>
                    <a:pt x="894" y="96"/>
                  </a:lnTo>
                  <a:lnTo>
                    <a:pt x="888" y="96"/>
                  </a:lnTo>
                  <a:lnTo>
                    <a:pt x="894" y="90"/>
                  </a:lnTo>
                  <a:lnTo>
                    <a:pt x="888" y="84"/>
                  </a:lnTo>
                  <a:lnTo>
                    <a:pt x="888" y="78"/>
                  </a:lnTo>
                  <a:lnTo>
                    <a:pt x="924" y="66"/>
                  </a:lnTo>
                  <a:lnTo>
                    <a:pt x="966" y="66"/>
                  </a:lnTo>
                  <a:lnTo>
                    <a:pt x="996" y="48"/>
                  </a:lnTo>
                  <a:lnTo>
                    <a:pt x="1056" y="12"/>
                  </a:lnTo>
                  <a:lnTo>
                    <a:pt x="1128" y="0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0" y="18"/>
                  </a:lnTo>
                  <a:lnTo>
                    <a:pt x="1176" y="24"/>
                  </a:lnTo>
                  <a:lnTo>
                    <a:pt x="1182" y="24"/>
                  </a:lnTo>
                  <a:lnTo>
                    <a:pt x="1188" y="30"/>
                  </a:lnTo>
                  <a:lnTo>
                    <a:pt x="1194" y="30"/>
                  </a:lnTo>
                  <a:lnTo>
                    <a:pt x="1194" y="36"/>
                  </a:lnTo>
                  <a:lnTo>
                    <a:pt x="1260" y="30"/>
                  </a:lnTo>
                  <a:lnTo>
                    <a:pt x="1272" y="30"/>
                  </a:lnTo>
                  <a:lnTo>
                    <a:pt x="1296" y="24"/>
                  </a:lnTo>
                  <a:lnTo>
                    <a:pt x="1302" y="30"/>
                  </a:lnTo>
                  <a:lnTo>
                    <a:pt x="1302" y="36"/>
                  </a:lnTo>
                  <a:lnTo>
                    <a:pt x="1308" y="36"/>
                  </a:lnTo>
                  <a:lnTo>
                    <a:pt x="1314" y="36"/>
                  </a:lnTo>
                  <a:lnTo>
                    <a:pt x="1320" y="36"/>
                  </a:lnTo>
                  <a:lnTo>
                    <a:pt x="1326" y="30"/>
                  </a:lnTo>
                  <a:lnTo>
                    <a:pt x="1332" y="30"/>
                  </a:lnTo>
                  <a:lnTo>
                    <a:pt x="1338" y="30"/>
                  </a:lnTo>
                  <a:lnTo>
                    <a:pt x="1344" y="30"/>
                  </a:lnTo>
                  <a:lnTo>
                    <a:pt x="1374" y="30"/>
                  </a:lnTo>
                  <a:lnTo>
                    <a:pt x="1386" y="30"/>
                  </a:lnTo>
                  <a:lnTo>
                    <a:pt x="1392" y="24"/>
                  </a:lnTo>
                  <a:lnTo>
                    <a:pt x="1398" y="12"/>
                  </a:lnTo>
                  <a:lnTo>
                    <a:pt x="1404" y="6"/>
                  </a:lnTo>
                  <a:lnTo>
                    <a:pt x="1410" y="6"/>
                  </a:lnTo>
                  <a:lnTo>
                    <a:pt x="1410" y="12"/>
                  </a:lnTo>
                  <a:lnTo>
                    <a:pt x="1416" y="18"/>
                  </a:lnTo>
                  <a:lnTo>
                    <a:pt x="1416" y="36"/>
                  </a:lnTo>
                  <a:lnTo>
                    <a:pt x="1434" y="54"/>
                  </a:lnTo>
                  <a:lnTo>
                    <a:pt x="1434" y="60"/>
                  </a:lnTo>
                  <a:lnTo>
                    <a:pt x="1434" y="66"/>
                  </a:lnTo>
                  <a:lnTo>
                    <a:pt x="1434" y="72"/>
                  </a:lnTo>
                  <a:lnTo>
                    <a:pt x="1428" y="72"/>
                  </a:lnTo>
                  <a:lnTo>
                    <a:pt x="1428" y="78"/>
                  </a:lnTo>
                  <a:lnTo>
                    <a:pt x="1434" y="78"/>
                  </a:lnTo>
                  <a:lnTo>
                    <a:pt x="1440" y="84"/>
                  </a:lnTo>
                  <a:lnTo>
                    <a:pt x="1440" y="90"/>
                  </a:lnTo>
                  <a:lnTo>
                    <a:pt x="1440" y="96"/>
                  </a:lnTo>
                  <a:lnTo>
                    <a:pt x="1446" y="96"/>
                  </a:lnTo>
                  <a:lnTo>
                    <a:pt x="1446" y="108"/>
                  </a:lnTo>
                  <a:lnTo>
                    <a:pt x="1452" y="108"/>
                  </a:lnTo>
                  <a:lnTo>
                    <a:pt x="1452" y="114"/>
                  </a:lnTo>
                  <a:lnTo>
                    <a:pt x="1458" y="114"/>
                  </a:lnTo>
                  <a:lnTo>
                    <a:pt x="1470" y="120"/>
                  </a:lnTo>
                  <a:lnTo>
                    <a:pt x="1476" y="120"/>
                  </a:lnTo>
                  <a:lnTo>
                    <a:pt x="1476" y="114"/>
                  </a:lnTo>
                  <a:lnTo>
                    <a:pt x="1488" y="120"/>
                  </a:lnTo>
                  <a:lnTo>
                    <a:pt x="1506" y="120"/>
                  </a:lnTo>
                  <a:lnTo>
                    <a:pt x="1512" y="120"/>
                  </a:lnTo>
                  <a:lnTo>
                    <a:pt x="1518" y="120"/>
                  </a:lnTo>
                  <a:lnTo>
                    <a:pt x="1524" y="126"/>
                  </a:lnTo>
                  <a:lnTo>
                    <a:pt x="1536" y="150"/>
                  </a:lnTo>
                  <a:lnTo>
                    <a:pt x="1548" y="162"/>
                  </a:lnTo>
                  <a:lnTo>
                    <a:pt x="1554" y="168"/>
                  </a:lnTo>
                  <a:lnTo>
                    <a:pt x="1584" y="228"/>
                  </a:lnTo>
                  <a:lnTo>
                    <a:pt x="1584" y="234"/>
                  </a:lnTo>
                  <a:lnTo>
                    <a:pt x="1578" y="312"/>
                  </a:lnTo>
                  <a:lnTo>
                    <a:pt x="1590" y="318"/>
                  </a:lnTo>
                  <a:lnTo>
                    <a:pt x="1608" y="330"/>
                  </a:lnTo>
                  <a:lnTo>
                    <a:pt x="1620" y="342"/>
                  </a:lnTo>
                  <a:lnTo>
                    <a:pt x="1626" y="342"/>
                  </a:lnTo>
                  <a:lnTo>
                    <a:pt x="1692" y="360"/>
                  </a:lnTo>
                  <a:lnTo>
                    <a:pt x="1710" y="408"/>
                  </a:lnTo>
                  <a:lnTo>
                    <a:pt x="1722" y="426"/>
                  </a:lnTo>
                  <a:lnTo>
                    <a:pt x="1716" y="468"/>
                  </a:lnTo>
                  <a:lnTo>
                    <a:pt x="1686" y="486"/>
                  </a:lnTo>
                  <a:lnTo>
                    <a:pt x="1686" y="492"/>
                  </a:lnTo>
                  <a:lnTo>
                    <a:pt x="1680" y="498"/>
                  </a:lnTo>
                  <a:lnTo>
                    <a:pt x="1650" y="558"/>
                  </a:lnTo>
                  <a:lnTo>
                    <a:pt x="1650" y="570"/>
                  </a:lnTo>
                  <a:lnTo>
                    <a:pt x="1644" y="570"/>
                  </a:lnTo>
                  <a:lnTo>
                    <a:pt x="1638" y="582"/>
                  </a:lnTo>
                  <a:lnTo>
                    <a:pt x="1638" y="624"/>
                  </a:lnTo>
                  <a:lnTo>
                    <a:pt x="1638" y="636"/>
                  </a:lnTo>
                  <a:lnTo>
                    <a:pt x="1638" y="642"/>
                  </a:lnTo>
                  <a:lnTo>
                    <a:pt x="1632" y="660"/>
                  </a:lnTo>
                  <a:lnTo>
                    <a:pt x="1608" y="678"/>
                  </a:lnTo>
                  <a:lnTo>
                    <a:pt x="1584" y="690"/>
                  </a:lnTo>
                  <a:lnTo>
                    <a:pt x="1584" y="696"/>
                  </a:lnTo>
                  <a:lnTo>
                    <a:pt x="1578" y="702"/>
                  </a:lnTo>
                  <a:lnTo>
                    <a:pt x="1584" y="702"/>
                  </a:lnTo>
                  <a:lnTo>
                    <a:pt x="1578" y="714"/>
                  </a:lnTo>
                  <a:lnTo>
                    <a:pt x="1572" y="714"/>
                  </a:lnTo>
                  <a:lnTo>
                    <a:pt x="1572" y="720"/>
                  </a:lnTo>
                  <a:lnTo>
                    <a:pt x="1566" y="720"/>
                  </a:lnTo>
                  <a:lnTo>
                    <a:pt x="1560" y="726"/>
                  </a:lnTo>
                  <a:lnTo>
                    <a:pt x="1560" y="732"/>
                  </a:lnTo>
                  <a:lnTo>
                    <a:pt x="1554" y="732"/>
                  </a:lnTo>
                  <a:lnTo>
                    <a:pt x="1554" y="738"/>
                  </a:lnTo>
                  <a:lnTo>
                    <a:pt x="1554" y="744"/>
                  </a:lnTo>
                  <a:lnTo>
                    <a:pt x="1548" y="744"/>
                  </a:lnTo>
                  <a:lnTo>
                    <a:pt x="1548" y="738"/>
                  </a:lnTo>
                  <a:lnTo>
                    <a:pt x="1542" y="738"/>
                  </a:lnTo>
                  <a:lnTo>
                    <a:pt x="1542" y="744"/>
                  </a:lnTo>
                  <a:lnTo>
                    <a:pt x="1542" y="750"/>
                  </a:lnTo>
                  <a:lnTo>
                    <a:pt x="1494" y="804"/>
                  </a:lnTo>
                  <a:lnTo>
                    <a:pt x="1446" y="876"/>
                  </a:lnTo>
                  <a:lnTo>
                    <a:pt x="1440" y="876"/>
                  </a:lnTo>
                  <a:lnTo>
                    <a:pt x="1434" y="876"/>
                  </a:lnTo>
                  <a:lnTo>
                    <a:pt x="1428" y="882"/>
                  </a:lnTo>
                  <a:lnTo>
                    <a:pt x="1422" y="882"/>
                  </a:lnTo>
                  <a:lnTo>
                    <a:pt x="1386" y="924"/>
                  </a:lnTo>
                  <a:lnTo>
                    <a:pt x="1362" y="954"/>
                  </a:lnTo>
                  <a:lnTo>
                    <a:pt x="1356" y="984"/>
                  </a:lnTo>
                  <a:lnTo>
                    <a:pt x="1362" y="1002"/>
                  </a:lnTo>
                  <a:lnTo>
                    <a:pt x="1368" y="1020"/>
                  </a:lnTo>
                  <a:lnTo>
                    <a:pt x="1386" y="1056"/>
                  </a:lnTo>
                  <a:lnTo>
                    <a:pt x="1404" y="1074"/>
                  </a:lnTo>
                  <a:lnTo>
                    <a:pt x="1416" y="1080"/>
                  </a:lnTo>
                  <a:lnTo>
                    <a:pt x="1416" y="1086"/>
                  </a:lnTo>
                  <a:lnTo>
                    <a:pt x="1422" y="1098"/>
                  </a:lnTo>
                  <a:lnTo>
                    <a:pt x="1422" y="1110"/>
                  </a:lnTo>
                  <a:lnTo>
                    <a:pt x="1428" y="1116"/>
                  </a:lnTo>
                  <a:lnTo>
                    <a:pt x="1434" y="1116"/>
                  </a:lnTo>
                  <a:lnTo>
                    <a:pt x="1434" y="1122"/>
                  </a:lnTo>
                  <a:lnTo>
                    <a:pt x="1434" y="1128"/>
                  </a:lnTo>
                  <a:lnTo>
                    <a:pt x="1440" y="1134"/>
                  </a:lnTo>
                  <a:lnTo>
                    <a:pt x="1446" y="1134"/>
                  </a:lnTo>
                  <a:lnTo>
                    <a:pt x="1458" y="1134"/>
                  </a:lnTo>
                  <a:lnTo>
                    <a:pt x="1458" y="1140"/>
                  </a:lnTo>
                  <a:lnTo>
                    <a:pt x="1464" y="1134"/>
                  </a:lnTo>
                  <a:lnTo>
                    <a:pt x="1470" y="1134"/>
                  </a:lnTo>
                  <a:lnTo>
                    <a:pt x="1464" y="1128"/>
                  </a:lnTo>
                  <a:lnTo>
                    <a:pt x="1464" y="1122"/>
                  </a:lnTo>
                  <a:lnTo>
                    <a:pt x="1470" y="1116"/>
                  </a:lnTo>
                  <a:lnTo>
                    <a:pt x="1470" y="1122"/>
                  </a:lnTo>
                  <a:lnTo>
                    <a:pt x="1476" y="1122"/>
                  </a:lnTo>
                  <a:lnTo>
                    <a:pt x="1476" y="1116"/>
                  </a:lnTo>
                  <a:lnTo>
                    <a:pt x="1482" y="1110"/>
                  </a:lnTo>
                  <a:lnTo>
                    <a:pt x="1476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82" y="1086"/>
                  </a:lnTo>
                  <a:lnTo>
                    <a:pt x="1482" y="1074"/>
                  </a:lnTo>
                  <a:lnTo>
                    <a:pt x="1488" y="1068"/>
                  </a:lnTo>
                  <a:lnTo>
                    <a:pt x="1488" y="1062"/>
                  </a:lnTo>
                  <a:lnTo>
                    <a:pt x="1494" y="1062"/>
                  </a:lnTo>
                  <a:lnTo>
                    <a:pt x="1500" y="1062"/>
                  </a:lnTo>
                  <a:lnTo>
                    <a:pt x="1506" y="1062"/>
                  </a:lnTo>
                  <a:lnTo>
                    <a:pt x="1506" y="1056"/>
                  </a:lnTo>
                  <a:lnTo>
                    <a:pt x="1506" y="1062"/>
                  </a:lnTo>
                  <a:lnTo>
                    <a:pt x="1518" y="1062"/>
                  </a:lnTo>
                  <a:lnTo>
                    <a:pt x="1524" y="1062"/>
                  </a:lnTo>
                  <a:lnTo>
                    <a:pt x="1530" y="1062"/>
                  </a:lnTo>
                  <a:lnTo>
                    <a:pt x="1536" y="1068"/>
                  </a:lnTo>
                  <a:lnTo>
                    <a:pt x="1536" y="1074"/>
                  </a:lnTo>
                  <a:lnTo>
                    <a:pt x="1542" y="1086"/>
                  </a:lnTo>
                  <a:lnTo>
                    <a:pt x="1548" y="1086"/>
                  </a:lnTo>
                  <a:lnTo>
                    <a:pt x="1554" y="1086"/>
                  </a:lnTo>
                  <a:lnTo>
                    <a:pt x="1566" y="1098"/>
                  </a:lnTo>
                  <a:lnTo>
                    <a:pt x="1572" y="1104"/>
                  </a:lnTo>
                  <a:lnTo>
                    <a:pt x="1566" y="1110"/>
                  </a:lnTo>
                  <a:lnTo>
                    <a:pt x="1572" y="1116"/>
                  </a:lnTo>
                  <a:lnTo>
                    <a:pt x="1578" y="1116"/>
                  </a:lnTo>
                  <a:lnTo>
                    <a:pt x="1578" y="1122"/>
                  </a:lnTo>
                  <a:lnTo>
                    <a:pt x="1584" y="1122"/>
                  </a:lnTo>
                  <a:lnTo>
                    <a:pt x="1584" y="1128"/>
                  </a:lnTo>
                  <a:lnTo>
                    <a:pt x="1584" y="1134"/>
                  </a:lnTo>
                  <a:lnTo>
                    <a:pt x="1590" y="1134"/>
                  </a:lnTo>
                  <a:lnTo>
                    <a:pt x="1596" y="1140"/>
                  </a:lnTo>
                  <a:lnTo>
                    <a:pt x="1602" y="1146"/>
                  </a:lnTo>
                  <a:lnTo>
                    <a:pt x="1608" y="1146"/>
                  </a:lnTo>
                  <a:lnTo>
                    <a:pt x="1614" y="1146"/>
                  </a:lnTo>
                  <a:lnTo>
                    <a:pt x="1614" y="1152"/>
                  </a:lnTo>
                  <a:lnTo>
                    <a:pt x="1620" y="1152"/>
                  </a:lnTo>
                  <a:lnTo>
                    <a:pt x="1626" y="1164"/>
                  </a:lnTo>
                  <a:lnTo>
                    <a:pt x="1632" y="1170"/>
                  </a:lnTo>
                  <a:lnTo>
                    <a:pt x="1638" y="1176"/>
                  </a:lnTo>
                  <a:lnTo>
                    <a:pt x="1638" y="1182"/>
                  </a:lnTo>
                  <a:lnTo>
                    <a:pt x="1644" y="1194"/>
                  </a:lnTo>
                  <a:lnTo>
                    <a:pt x="1644" y="1200"/>
                  </a:lnTo>
                  <a:lnTo>
                    <a:pt x="1638" y="1200"/>
                  </a:lnTo>
                  <a:lnTo>
                    <a:pt x="1638" y="1206"/>
                  </a:lnTo>
                  <a:lnTo>
                    <a:pt x="1638" y="1212"/>
                  </a:lnTo>
                  <a:lnTo>
                    <a:pt x="1638" y="1218"/>
                  </a:lnTo>
                  <a:lnTo>
                    <a:pt x="1632" y="1242"/>
                  </a:lnTo>
                  <a:lnTo>
                    <a:pt x="1632" y="1266"/>
                  </a:lnTo>
                  <a:lnTo>
                    <a:pt x="1638" y="1284"/>
                  </a:lnTo>
                  <a:lnTo>
                    <a:pt x="1638" y="1296"/>
                  </a:lnTo>
                  <a:lnTo>
                    <a:pt x="1632" y="1296"/>
                  </a:lnTo>
                  <a:lnTo>
                    <a:pt x="1632" y="1302"/>
                  </a:lnTo>
                  <a:lnTo>
                    <a:pt x="1638" y="1314"/>
                  </a:lnTo>
                  <a:lnTo>
                    <a:pt x="1638" y="1320"/>
                  </a:lnTo>
                  <a:lnTo>
                    <a:pt x="1632" y="1320"/>
                  </a:lnTo>
                  <a:lnTo>
                    <a:pt x="1632" y="1326"/>
                  </a:lnTo>
                  <a:lnTo>
                    <a:pt x="1644" y="1332"/>
                  </a:lnTo>
                  <a:lnTo>
                    <a:pt x="1644" y="1338"/>
                  </a:lnTo>
                  <a:lnTo>
                    <a:pt x="1650" y="1344"/>
                  </a:lnTo>
                  <a:lnTo>
                    <a:pt x="1668" y="1362"/>
                  </a:lnTo>
                  <a:lnTo>
                    <a:pt x="1668" y="1368"/>
                  </a:lnTo>
                  <a:lnTo>
                    <a:pt x="1674" y="1392"/>
                  </a:lnTo>
                  <a:lnTo>
                    <a:pt x="1686" y="140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2" name="Freeform 17">
              <a:extLst>
                <a:ext uri="{FF2B5EF4-FFF2-40B4-BE49-F238E27FC236}">
                  <a16:creationId xmlns:a16="http://schemas.microsoft.com/office/drawing/2014/main" id="{9F9DF7AF-2203-4CCB-AF1B-32CDAF87CC5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416927"/>
              <a:ext cx="816209" cy="574781"/>
            </a:xfrm>
            <a:custGeom>
              <a:avLst/>
              <a:gdLst>
                <a:gd name="T0" fmla="*/ 115 w 1536"/>
                <a:gd name="T1" fmla="*/ 89 h 1080"/>
                <a:gd name="T2" fmla="*/ 113 w 1536"/>
                <a:gd name="T3" fmla="*/ 92 h 1080"/>
                <a:gd name="T4" fmla="*/ 107 w 1536"/>
                <a:gd name="T5" fmla="*/ 93 h 1080"/>
                <a:gd name="T6" fmla="*/ 108 w 1536"/>
                <a:gd name="T7" fmla="*/ 90 h 1080"/>
                <a:gd name="T8" fmla="*/ 105 w 1536"/>
                <a:gd name="T9" fmla="*/ 87 h 1080"/>
                <a:gd name="T10" fmla="*/ 102 w 1536"/>
                <a:gd name="T11" fmla="*/ 85 h 1080"/>
                <a:gd name="T12" fmla="*/ 89 w 1536"/>
                <a:gd name="T13" fmla="*/ 80 h 1080"/>
                <a:gd name="T14" fmla="*/ 85 w 1536"/>
                <a:gd name="T15" fmla="*/ 82 h 1080"/>
                <a:gd name="T16" fmla="*/ 82 w 1536"/>
                <a:gd name="T17" fmla="*/ 80 h 1080"/>
                <a:gd name="T18" fmla="*/ 80 w 1536"/>
                <a:gd name="T19" fmla="*/ 75 h 1080"/>
                <a:gd name="T20" fmla="*/ 75 w 1536"/>
                <a:gd name="T21" fmla="*/ 72 h 1080"/>
                <a:gd name="T22" fmla="*/ 61 w 1536"/>
                <a:gd name="T23" fmla="*/ 70 h 1080"/>
                <a:gd name="T24" fmla="*/ 62 w 1536"/>
                <a:gd name="T25" fmla="*/ 72 h 1080"/>
                <a:gd name="T26" fmla="*/ 58 w 1536"/>
                <a:gd name="T27" fmla="*/ 75 h 1080"/>
                <a:gd name="T28" fmla="*/ 49 w 1536"/>
                <a:gd name="T29" fmla="*/ 76 h 1080"/>
                <a:gd name="T30" fmla="*/ 41 w 1536"/>
                <a:gd name="T31" fmla="*/ 79 h 1080"/>
                <a:gd name="T32" fmla="*/ 41 w 1536"/>
                <a:gd name="T33" fmla="*/ 77 h 1080"/>
                <a:gd name="T34" fmla="*/ 39 w 1536"/>
                <a:gd name="T35" fmla="*/ 74 h 1080"/>
                <a:gd name="T36" fmla="*/ 28 w 1536"/>
                <a:gd name="T37" fmla="*/ 78 h 1080"/>
                <a:gd name="T38" fmla="*/ 18 w 1536"/>
                <a:gd name="T39" fmla="*/ 85 h 1080"/>
                <a:gd name="T40" fmla="*/ 18 w 1536"/>
                <a:gd name="T41" fmla="*/ 77 h 1080"/>
                <a:gd name="T42" fmla="*/ 19 w 1536"/>
                <a:gd name="T43" fmla="*/ 69 h 1080"/>
                <a:gd name="T44" fmla="*/ 16 w 1536"/>
                <a:gd name="T45" fmla="*/ 69 h 1080"/>
                <a:gd name="T46" fmla="*/ 11 w 1536"/>
                <a:gd name="T47" fmla="*/ 69 h 1080"/>
                <a:gd name="T48" fmla="*/ 5 w 1536"/>
                <a:gd name="T49" fmla="*/ 68 h 1080"/>
                <a:gd name="T50" fmla="*/ 1 w 1536"/>
                <a:gd name="T51" fmla="*/ 63 h 1080"/>
                <a:gd name="T52" fmla="*/ 3 w 1536"/>
                <a:gd name="T53" fmla="*/ 59 h 1080"/>
                <a:gd name="T54" fmla="*/ 9 w 1536"/>
                <a:gd name="T55" fmla="*/ 54 h 1080"/>
                <a:gd name="T56" fmla="*/ 15 w 1536"/>
                <a:gd name="T57" fmla="*/ 47 h 1080"/>
                <a:gd name="T58" fmla="*/ 17 w 1536"/>
                <a:gd name="T59" fmla="*/ 40 h 1080"/>
                <a:gd name="T60" fmla="*/ 12 w 1536"/>
                <a:gd name="T61" fmla="*/ 33 h 1080"/>
                <a:gd name="T62" fmla="*/ 10 w 1536"/>
                <a:gd name="T63" fmla="*/ 21 h 1080"/>
                <a:gd name="T64" fmla="*/ 6 w 1536"/>
                <a:gd name="T65" fmla="*/ 14 h 1080"/>
                <a:gd name="T66" fmla="*/ 7 w 1536"/>
                <a:gd name="T67" fmla="*/ 9 h 1080"/>
                <a:gd name="T68" fmla="*/ 12 w 1536"/>
                <a:gd name="T69" fmla="*/ 7 h 1080"/>
                <a:gd name="T70" fmla="*/ 16 w 1536"/>
                <a:gd name="T71" fmla="*/ 8 h 1080"/>
                <a:gd name="T72" fmla="*/ 19 w 1536"/>
                <a:gd name="T73" fmla="*/ 8 h 1080"/>
                <a:gd name="T74" fmla="*/ 22 w 1536"/>
                <a:gd name="T75" fmla="*/ 9 h 1080"/>
                <a:gd name="T76" fmla="*/ 29 w 1536"/>
                <a:gd name="T77" fmla="*/ 12 h 1080"/>
                <a:gd name="T78" fmla="*/ 33 w 1536"/>
                <a:gd name="T79" fmla="*/ 13 h 1080"/>
                <a:gd name="T80" fmla="*/ 38 w 1536"/>
                <a:gd name="T81" fmla="*/ 15 h 1080"/>
                <a:gd name="T82" fmla="*/ 42 w 1536"/>
                <a:gd name="T83" fmla="*/ 17 h 1080"/>
                <a:gd name="T84" fmla="*/ 47 w 1536"/>
                <a:gd name="T85" fmla="*/ 19 h 1080"/>
                <a:gd name="T86" fmla="*/ 51 w 1536"/>
                <a:gd name="T87" fmla="*/ 21 h 1080"/>
                <a:gd name="T88" fmla="*/ 50 w 1536"/>
                <a:gd name="T89" fmla="*/ 15 h 1080"/>
                <a:gd name="T90" fmla="*/ 56 w 1536"/>
                <a:gd name="T91" fmla="*/ 0 h 1080"/>
                <a:gd name="T92" fmla="*/ 74 w 1536"/>
                <a:gd name="T93" fmla="*/ 5 h 1080"/>
                <a:gd name="T94" fmla="*/ 87 w 1536"/>
                <a:gd name="T95" fmla="*/ 6 h 1080"/>
                <a:gd name="T96" fmla="*/ 92 w 1536"/>
                <a:gd name="T97" fmla="*/ 11 h 1080"/>
                <a:gd name="T98" fmla="*/ 95 w 1536"/>
                <a:gd name="T99" fmla="*/ 15 h 1080"/>
                <a:gd name="T100" fmla="*/ 93 w 1536"/>
                <a:gd name="T101" fmla="*/ 20 h 1080"/>
                <a:gd name="T102" fmla="*/ 108 w 1536"/>
                <a:gd name="T103" fmla="*/ 18 h 1080"/>
                <a:gd name="T104" fmla="*/ 120 w 1536"/>
                <a:gd name="T105" fmla="*/ 21 h 1080"/>
                <a:gd name="T106" fmla="*/ 127 w 1536"/>
                <a:gd name="T107" fmla="*/ 29 h 1080"/>
                <a:gd name="T108" fmla="*/ 130 w 1536"/>
                <a:gd name="T109" fmla="*/ 30 h 1080"/>
                <a:gd name="T110" fmla="*/ 130 w 1536"/>
                <a:gd name="T111" fmla="*/ 49 h 1080"/>
                <a:gd name="T112" fmla="*/ 120 w 1536"/>
                <a:gd name="T113" fmla="*/ 69 h 1080"/>
                <a:gd name="T114" fmla="*/ 119 w 1536"/>
                <a:gd name="T115" fmla="*/ 74 h 1080"/>
                <a:gd name="T116" fmla="*/ 118 w 1536"/>
                <a:gd name="T117" fmla="*/ 80 h 108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536"/>
                <a:gd name="T178" fmla="*/ 0 h 1080"/>
                <a:gd name="T179" fmla="*/ 1536 w 1536"/>
                <a:gd name="T180" fmla="*/ 1080 h 108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536" h="1080">
                  <a:moveTo>
                    <a:pt x="1350" y="1020"/>
                  </a:moveTo>
                  <a:lnTo>
                    <a:pt x="1350" y="1026"/>
                  </a:lnTo>
                  <a:lnTo>
                    <a:pt x="1344" y="1026"/>
                  </a:lnTo>
                  <a:lnTo>
                    <a:pt x="1338" y="1032"/>
                  </a:lnTo>
                  <a:lnTo>
                    <a:pt x="1332" y="1026"/>
                  </a:lnTo>
                  <a:lnTo>
                    <a:pt x="1326" y="1026"/>
                  </a:lnTo>
                  <a:lnTo>
                    <a:pt x="1320" y="1020"/>
                  </a:lnTo>
                  <a:lnTo>
                    <a:pt x="1314" y="1026"/>
                  </a:lnTo>
                  <a:lnTo>
                    <a:pt x="1314" y="1032"/>
                  </a:lnTo>
                  <a:lnTo>
                    <a:pt x="1308" y="1038"/>
                  </a:lnTo>
                  <a:lnTo>
                    <a:pt x="1308" y="1044"/>
                  </a:lnTo>
                  <a:lnTo>
                    <a:pt x="1308" y="1050"/>
                  </a:lnTo>
                  <a:lnTo>
                    <a:pt x="1308" y="1056"/>
                  </a:lnTo>
                  <a:lnTo>
                    <a:pt x="1308" y="1062"/>
                  </a:lnTo>
                  <a:lnTo>
                    <a:pt x="1296" y="1068"/>
                  </a:lnTo>
                  <a:lnTo>
                    <a:pt x="1284" y="1074"/>
                  </a:lnTo>
                  <a:lnTo>
                    <a:pt x="1272" y="1080"/>
                  </a:lnTo>
                  <a:lnTo>
                    <a:pt x="1260" y="1080"/>
                  </a:lnTo>
                  <a:lnTo>
                    <a:pt x="1254" y="1074"/>
                  </a:lnTo>
                  <a:lnTo>
                    <a:pt x="1236" y="1074"/>
                  </a:lnTo>
                  <a:lnTo>
                    <a:pt x="1230" y="1074"/>
                  </a:lnTo>
                  <a:lnTo>
                    <a:pt x="1236" y="1074"/>
                  </a:lnTo>
                  <a:lnTo>
                    <a:pt x="1236" y="1068"/>
                  </a:lnTo>
                  <a:lnTo>
                    <a:pt x="1236" y="1062"/>
                  </a:lnTo>
                  <a:lnTo>
                    <a:pt x="1236" y="1056"/>
                  </a:lnTo>
                  <a:lnTo>
                    <a:pt x="1242" y="1050"/>
                  </a:lnTo>
                  <a:lnTo>
                    <a:pt x="1242" y="1044"/>
                  </a:lnTo>
                  <a:lnTo>
                    <a:pt x="1242" y="1038"/>
                  </a:lnTo>
                  <a:lnTo>
                    <a:pt x="1248" y="1032"/>
                  </a:lnTo>
                  <a:lnTo>
                    <a:pt x="1236" y="1026"/>
                  </a:lnTo>
                  <a:lnTo>
                    <a:pt x="1218" y="1020"/>
                  </a:lnTo>
                  <a:lnTo>
                    <a:pt x="1224" y="1014"/>
                  </a:lnTo>
                  <a:lnTo>
                    <a:pt x="1218" y="1008"/>
                  </a:lnTo>
                  <a:lnTo>
                    <a:pt x="1218" y="1002"/>
                  </a:lnTo>
                  <a:lnTo>
                    <a:pt x="1212" y="1008"/>
                  </a:lnTo>
                  <a:lnTo>
                    <a:pt x="1206" y="1002"/>
                  </a:lnTo>
                  <a:lnTo>
                    <a:pt x="1212" y="1002"/>
                  </a:lnTo>
                  <a:lnTo>
                    <a:pt x="1212" y="996"/>
                  </a:lnTo>
                  <a:lnTo>
                    <a:pt x="1200" y="990"/>
                  </a:lnTo>
                  <a:lnTo>
                    <a:pt x="1200" y="984"/>
                  </a:lnTo>
                  <a:lnTo>
                    <a:pt x="1188" y="984"/>
                  </a:lnTo>
                  <a:lnTo>
                    <a:pt x="1176" y="978"/>
                  </a:lnTo>
                  <a:lnTo>
                    <a:pt x="1164" y="960"/>
                  </a:lnTo>
                  <a:lnTo>
                    <a:pt x="1152" y="936"/>
                  </a:lnTo>
                  <a:lnTo>
                    <a:pt x="1146" y="936"/>
                  </a:lnTo>
                  <a:lnTo>
                    <a:pt x="1128" y="900"/>
                  </a:lnTo>
                  <a:lnTo>
                    <a:pt x="1038" y="912"/>
                  </a:lnTo>
                  <a:lnTo>
                    <a:pt x="1038" y="918"/>
                  </a:lnTo>
                  <a:lnTo>
                    <a:pt x="1032" y="924"/>
                  </a:lnTo>
                  <a:lnTo>
                    <a:pt x="1026" y="918"/>
                  </a:lnTo>
                  <a:lnTo>
                    <a:pt x="1020" y="924"/>
                  </a:lnTo>
                  <a:lnTo>
                    <a:pt x="1008" y="936"/>
                  </a:lnTo>
                  <a:lnTo>
                    <a:pt x="990" y="936"/>
                  </a:lnTo>
                  <a:lnTo>
                    <a:pt x="990" y="942"/>
                  </a:lnTo>
                  <a:lnTo>
                    <a:pt x="996" y="942"/>
                  </a:lnTo>
                  <a:lnTo>
                    <a:pt x="984" y="948"/>
                  </a:lnTo>
                  <a:lnTo>
                    <a:pt x="972" y="948"/>
                  </a:lnTo>
                  <a:lnTo>
                    <a:pt x="960" y="948"/>
                  </a:lnTo>
                  <a:lnTo>
                    <a:pt x="948" y="942"/>
                  </a:lnTo>
                  <a:lnTo>
                    <a:pt x="948" y="936"/>
                  </a:lnTo>
                  <a:lnTo>
                    <a:pt x="942" y="936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30" y="924"/>
                  </a:lnTo>
                  <a:lnTo>
                    <a:pt x="936" y="918"/>
                  </a:lnTo>
                  <a:lnTo>
                    <a:pt x="918" y="918"/>
                  </a:lnTo>
                  <a:lnTo>
                    <a:pt x="918" y="900"/>
                  </a:lnTo>
                  <a:lnTo>
                    <a:pt x="924" y="900"/>
                  </a:lnTo>
                  <a:lnTo>
                    <a:pt x="924" y="894"/>
                  </a:lnTo>
                  <a:lnTo>
                    <a:pt x="924" y="870"/>
                  </a:lnTo>
                  <a:lnTo>
                    <a:pt x="924" y="864"/>
                  </a:lnTo>
                  <a:lnTo>
                    <a:pt x="918" y="858"/>
                  </a:lnTo>
                  <a:lnTo>
                    <a:pt x="918" y="852"/>
                  </a:lnTo>
                  <a:lnTo>
                    <a:pt x="906" y="840"/>
                  </a:lnTo>
                  <a:lnTo>
                    <a:pt x="894" y="834"/>
                  </a:lnTo>
                  <a:lnTo>
                    <a:pt x="876" y="822"/>
                  </a:lnTo>
                  <a:lnTo>
                    <a:pt x="870" y="828"/>
                  </a:lnTo>
                  <a:lnTo>
                    <a:pt x="858" y="816"/>
                  </a:lnTo>
                  <a:lnTo>
                    <a:pt x="810" y="798"/>
                  </a:lnTo>
                  <a:lnTo>
                    <a:pt x="774" y="792"/>
                  </a:lnTo>
                  <a:lnTo>
                    <a:pt x="732" y="798"/>
                  </a:lnTo>
                  <a:lnTo>
                    <a:pt x="726" y="804"/>
                  </a:lnTo>
                  <a:lnTo>
                    <a:pt x="714" y="810"/>
                  </a:lnTo>
                  <a:lnTo>
                    <a:pt x="702" y="810"/>
                  </a:lnTo>
                  <a:lnTo>
                    <a:pt x="690" y="810"/>
                  </a:lnTo>
                  <a:lnTo>
                    <a:pt x="696" y="816"/>
                  </a:lnTo>
                  <a:lnTo>
                    <a:pt x="696" y="822"/>
                  </a:lnTo>
                  <a:lnTo>
                    <a:pt x="702" y="822"/>
                  </a:lnTo>
                  <a:lnTo>
                    <a:pt x="708" y="822"/>
                  </a:lnTo>
                  <a:lnTo>
                    <a:pt x="708" y="828"/>
                  </a:lnTo>
                  <a:lnTo>
                    <a:pt x="708" y="834"/>
                  </a:lnTo>
                  <a:lnTo>
                    <a:pt x="714" y="834"/>
                  </a:lnTo>
                  <a:lnTo>
                    <a:pt x="708" y="846"/>
                  </a:lnTo>
                  <a:lnTo>
                    <a:pt x="708" y="852"/>
                  </a:lnTo>
                  <a:lnTo>
                    <a:pt x="702" y="852"/>
                  </a:lnTo>
                  <a:lnTo>
                    <a:pt x="696" y="858"/>
                  </a:lnTo>
                  <a:lnTo>
                    <a:pt x="690" y="864"/>
                  </a:lnTo>
                  <a:lnTo>
                    <a:pt x="666" y="870"/>
                  </a:lnTo>
                  <a:lnTo>
                    <a:pt x="660" y="876"/>
                  </a:lnTo>
                  <a:lnTo>
                    <a:pt x="642" y="876"/>
                  </a:lnTo>
                  <a:lnTo>
                    <a:pt x="606" y="882"/>
                  </a:lnTo>
                  <a:lnTo>
                    <a:pt x="588" y="882"/>
                  </a:lnTo>
                  <a:lnTo>
                    <a:pt x="582" y="876"/>
                  </a:lnTo>
                  <a:lnTo>
                    <a:pt x="576" y="876"/>
                  </a:lnTo>
                  <a:lnTo>
                    <a:pt x="564" y="876"/>
                  </a:lnTo>
                  <a:lnTo>
                    <a:pt x="552" y="882"/>
                  </a:lnTo>
                  <a:lnTo>
                    <a:pt x="540" y="894"/>
                  </a:lnTo>
                  <a:lnTo>
                    <a:pt x="534" y="906"/>
                  </a:lnTo>
                  <a:lnTo>
                    <a:pt x="528" y="912"/>
                  </a:lnTo>
                  <a:lnTo>
                    <a:pt x="516" y="924"/>
                  </a:lnTo>
                  <a:lnTo>
                    <a:pt x="486" y="930"/>
                  </a:lnTo>
                  <a:lnTo>
                    <a:pt x="474" y="912"/>
                  </a:lnTo>
                  <a:lnTo>
                    <a:pt x="474" y="906"/>
                  </a:lnTo>
                  <a:lnTo>
                    <a:pt x="468" y="906"/>
                  </a:lnTo>
                  <a:lnTo>
                    <a:pt x="468" y="900"/>
                  </a:lnTo>
                  <a:lnTo>
                    <a:pt x="462" y="894"/>
                  </a:lnTo>
                  <a:lnTo>
                    <a:pt x="456" y="894"/>
                  </a:lnTo>
                  <a:lnTo>
                    <a:pt x="462" y="888"/>
                  </a:lnTo>
                  <a:lnTo>
                    <a:pt x="468" y="888"/>
                  </a:lnTo>
                  <a:lnTo>
                    <a:pt x="462" y="882"/>
                  </a:lnTo>
                  <a:lnTo>
                    <a:pt x="462" y="876"/>
                  </a:lnTo>
                  <a:lnTo>
                    <a:pt x="456" y="870"/>
                  </a:lnTo>
                  <a:lnTo>
                    <a:pt x="456" y="864"/>
                  </a:lnTo>
                  <a:lnTo>
                    <a:pt x="450" y="858"/>
                  </a:lnTo>
                  <a:lnTo>
                    <a:pt x="444" y="858"/>
                  </a:lnTo>
                  <a:lnTo>
                    <a:pt x="444" y="852"/>
                  </a:lnTo>
                  <a:lnTo>
                    <a:pt x="438" y="852"/>
                  </a:lnTo>
                  <a:lnTo>
                    <a:pt x="438" y="858"/>
                  </a:lnTo>
                  <a:lnTo>
                    <a:pt x="402" y="870"/>
                  </a:lnTo>
                  <a:lnTo>
                    <a:pt x="390" y="882"/>
                  </a:lnTo>
                  <a:lnTo>
                    <a:pt x="384" y="900"/>
                  </a:lnTo>
                  <a:lnTo>
                    <a:pt x="342" y="900"/>
                  </a:lnTo>
                  <a:lnTo>
                    <a:pt x="324" y="900"/>
                  </a:lnTo>
                  <a:lnTo>
                    <a:pt x="294" y="906"/>
                  </a:lnTo>
                  <a:lnTo>
                    <a:pt x="282" y="948"/>
                  </a:lnTo>
                  <a:lnTo>
                    <a:pt x="282" y="978"/>
                  </a:lnTo>
                  <a:lnTo>
                    <a:pt x="270" y="1008"/>
                  </a:lnTo>
                  <a:lnTo>
                    <a:pt x="240" y="1014"/>
                  </a:lnTo>
                  <a:lnTo>
                    <a:pt x="216" y="996"/>
                  </a:lnTo>
                  <a:lnTo>
                    <a:pt x="204" y="984"/>
                  </a:lnTo>
                  <a:lnTo>
                    <a:pt x="192" y="966"/>
                  </a:lnTo>
                  <a:lnTo>
                    <a:pt x="186" y="948"/>
                  </a:lnTo>
                  <a:lnTo>
                    <a:pt x="174" y="948"/>
                  </a:lnTo>
                  <a:lnTo>
                    <a:pt x="174" y="936"/>
                  </a:lnTo>
                  <a:lnTo>
                    <a:pt x="186" y="924"/>
                  </a:lnTo>
                  <a:lnTo>
                    <a:pt x="198" y="906"/>
                  </a:lnTo>
                  <a:lnTo>
                    <a:pt x="204" y="888"/>
                  </a:lnTo>
                  <a:lnTo>
                    <a:pt x="222" y="870"/>
                  </a:lnTo>
                  <a:lnTo>
                    <a:pt x="234" y="858"/>
                  </a:lnTo>
                  <a:lnTo>
                    <a:pt x="234" y="852"/>
                  </a:lnTo>
                  <a:lnTo>
                    <a:pt x="222" y="852"/>
                  </a:lnTo>
                  <a:lnTo>
                    <a:pt x="228" y="810"/>
                  </a:lnTo>
                  <a:lnTo>
                    <a:pt x="222" y="798"/>
                  </a:lnTo>
                  <a:lnTo>
                    <a:pt x="216" y="798"/>
                  </a:lnTo>
                  <a:lnTo>
                    <a:pt x="216" y="792"/>
                  </a:lnTo>
                  <a:lnTo>
                    <a:pt x="210" y="792"/>
                  </a:lnTo>
                  <a:lnTo>
                    <a:pt x="204" y="798"/>
                  </a:lnTo>
                  <a:lnTo>
                    <a:pt x="204" y="792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0" y="786"/>
                  </a:lnTo>
                  <a:lnTo>
                    <a:pt x="174" y="792"/>
                  </a:lnTo>
                  <a:lnTo>
                    <a:pt x="162" y="792"/>
                  </a:lnTo>
                  <a:lnTo>
                    <a:pt x="156" y="792"/>
                  </a:lnTo>
                  <a:lnTo>
                    <a:pt x="156" y="798"/>
                  </a:lnTo>
                  <a:lnTo>
                    <a:pt x="138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6" y="804"/>
                  </a:lnTo>
                  <a:lnTo>
                    <a:pt x="102" y="810"/>
                  </a:lnTo>
                  <a:lnTo>
                    <a:pt x="90" y="810"/>
                  </a:lnTo>
                  <a:lnTo>
                    <a:pt x="72" y="798"/>
                  </a:lnTo>
                  <a:lnTo>
                    <a:pt x="66" y="780"/>
                  </a:lnTo>
                  <a:lnTo>
                    <a:pt x="60" y="780"/>
                  </a:lnTo>
                  <a:lnTo>
                    <a:pt x="60" y="768"/>
                  </a:lnTo>
                  <a:lnTo>
                    <a:pt x="54" y="768"/>
                  </a:lnTo>
                  <a:lnTo>
                    <a:pt x="24" y="756"/>
                  </a:lnTo>
                  <a:lnTo>
                    <a:pt x="18" y="744"/>
                  </a:lnTo>
                  <a:lnTo>
                    <a:pt x="12" y="738"/>
                  </a:lnTo>
                  <a:lnTo>
                    <a:pt x="18" y="732"/>
                  </a:lnTo>
                  <a:lnTo>
                    <a:pt x="12" y="726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8" y="696"/>
                  </a:lnTo>
                  <a:lnTo>
                    <a:pt x="24" y="708"/>
                  </a:lnTo>
                  <a:lnTo>
                    <a:pt x="36" y="702"/>
                  </a:lnTo>
                  <a:lnTo>
                    <a:pt x="36" y="678"/>
                  </a:lnTo>
                  <a:lnTo>
                    <a:pt x="36" y="660"/>
                  </a:lnTo>
                  <a:lnTo>
                    <a:pt x="42" y="654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72" y="624"/>
                  </a:lnTo>
                  <a:lnTo>
                    <a:pt x="90" y="618"/>
                  </a:lnTo>
                  <a:lnTo>
                    <a:pt x="102" y="618"/>
                  </a:lnTo>
                  <a:lnTo>
                    <a:pt x="114" y="612"/>
                  </a:lnTo>
                  <a:lnTo>
                    <a:pt x="138" y="606"/>
                  </a:lnTo>
                  <a:lnTo>
                    <a:pt x="144" y="606"/>
                  </a:lnTo>
                  <a:lnTo>
                    <a:pt x="150" y="594"/>
                  </a:lnTo>
                  <a:lnTo>
                    <a:pt x="156" y="576"/>
                  </a:lnTo>
                  <a:lnTo>
                    <a:pt x="168" y="552"/>
                  </a:lnTo>
                  <a:lnTo>
                    <a:pt x="168" y="540"/>
                  </a:lnTo>
                  <a:lnTo>
                    <a:pt x="180" y="522"/>
                  </a:lnTo>
                  <a:lnTo>
                    <a:pt x="186" y="498"/>
                  </a:lnTo>
                  <a:lnTo>
                    <a:pt x="198" y="480"/>
                  </a:lnTo>
                  <a:lnTo>
                    <a:pt x="204" y="486"/>
                  </a:lnTo>
                  <a:lnTo>
                    <a:pt x="210" y="480"/>
                  </a:lnTo>
                  <a:lnTo>
                    <a:pt x="204" y="474"/>
                  </a:lnTo>
                  <a:lnTo>
                    <a:pt x="198" y="462"/>
                  </a:lnTo>
                  <a:lnTo>
                    <a:pt x="192" y="456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50"/>
                  </a:lnTo>
                  <a:lnTo>
                    <a:pt x="132" y="426"/>
                  </a:lnTo>
                  <a:lnTo>
                    <a:pt x="132" y="396"/>
                  </a:lnTo>
                  <a:lnTo>
                    <a:pt x="132" y="378"/>
                  </a:lnTo>
                  <a:lnTo>
                    <a:pt x="126" y="348"/>
                  </a:lnTo>
                  <a:lnTo>
                    <a:pt x="132" y="312"/>
                  </a:lnTo>
                  <a:lnTo>
                    <a:pt x="126" y="288"/>
                  </a:lnTo>
                  <a:lnTo>
                    <a:pt x="138" y="282"/>
                  </a:lnTo>
                  <a:lnTo>
                    <a:pt x="126" y="264"/>
                  </a:lnTo>
                  <a:lnTo>
                    <a:pt x="126" y="258"/>
                  </a:lnTo>
                  <a:lnTo>
                    <a:pt x="120" y="246"/>
                  </a:lnTo>
                  <a:lnTo>
                    <a:pt x="126" y="234"/>
                  </a:lnTo>
                  <a:lnTo>
                    <a:pt x="114" y="228"/>
                  </a:lnTo>
                  <a:lnTo>
                    <a:pt x="114" y="222"/>
                  </a:lnTo>
                  <a:lnTo>
                    <a:pt x="96" y="204"/>
                  </a:lnTo>
                  <a:lnTo>
                    <a:pt x="84" y="180"/>
                  </a:lnTo>
                  <a:lnTo>
                    <a:pt x="78" y="168"/>
                  </a:lnTo>
                  <a:lnTo>
                    <a:pt x="72" y="162"/>
                  </a:lnTo>
                  <a:lnTo>
                    <a:pt x="66" y="144"/>
                  </a:lnTo>
                  <a:lnTo>
                    <a:pt x="60" y="138"/>
                  </a:lnTo>
                  <a:lnTo>
                    <a:pt x="66" y="126"/>
                  </a:lnTo>
                  <a:lnTo>
                    <a:pt x="66" y="114"/>
                  </a:lnTo>
                  <a:lnTo>
                    <a:pt x="72" y="114"/>
                  </a:lnTo>
                  <a:lnTo>
                    <a:pt x="72" y="108"/>
                  </a:lnTo>
                  <a:lnTo>
                    <a:pt x="78" y="102"/>
                  </a:lnTo>
                  <a:lnTo>
                    <a:pt x="78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120" y="78"/>
                  </a:lnTo>
                  <a:lnTo>
                    <a:pt x="144" y="84"/>
                  </a:lnTo>
                  <a:lnTo>
                    <a:pt x="150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74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92" y="102"/>
                  </a:lnTo>
                  <a:lnTo>
                    <a:pt x="198" y="96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16" y="96"/>
                  </a:lnTo>
                  <a:lnTo>
                    <a:pt x="222" y="96"/>
                  </a:lnTo>
                  <a:lnTo>
                    <a:pt x="228" y="96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94" y="114"/>
                  </a:lnTo>
                  <a:lnTo>
                    <a:pt x="312" y="120"/>
                  </a:lnTo>
                  <a:lnTo>
                    <a:pt x="318" y="126"/>
                  </a:lnTo>
                  <a:lnTo>
                    <a:pt x="330" y="132"/>
                  </a:lnTo>
                  <a:lnTo>
                    <a:pt x="342" y="132"/>
                  </a:lnTo>
                  <a:lnTo>
                    <a:pt x="348" y="132"/>
                  </a:lnTo>
                  <a:lnTo>
                    <a:pt x="354" y="138"/>
                  </a:lnTo>
                  <a:lnTo>
                    <a:pt x="366" y="138"/>
                  </a:lnTo>
                  <a:lnTo>
                    <a:pt x="372" y="144"/>
                  </a:lnTo>
                  <a:lnTo>
                    <a:pt x="378" y="150"/>
                  </a:lnTo>
                  <a:lnTo>
                    <a:pt x="384" y="150"/>
                  </a:lnTo>
                  <a:lnTo>
                    <a:pt x="390" y="150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14" y="156"/>
                  </a:lnTo>
                  <a:lnTo>
                    <a:pt x="420" y="156"/>
                  </a:lnTo>
                  <a:lnTo>
                    <a:pt x="426" y="162"/>
                  </a:lnTo>
                  <a:lnTo>
                    <a:pt x="438" y="168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62" y="174"/>
                  </a:lnTo>
                  <a:lnTo>
                    <a:pt x="468" y="174"/>
                  </a:lnTo>
                  <a:lnTo>
                    <a:pt x="474" y="174"/>
                  </a:lnTo>
                  <a:lnTo>
                    <a:pt x="474" y="180"/>
                  </a:lnTo>
                  <a:lnTo>
                    <a:pt x="480" y="192"/>
                  </a:lnTo>
                  <a:lnTo>
                    <a:pt x="498" y="198"/>
                  </a:lnTo>
                  <a:lnTo>
                    <a:pt x="510" y="210"/>
                  </a:lnTo>
                  <a:lnTo>
                    <a:pt x="516" y="210"/>
                  </a:lnTo>
                  <a:lnTo>
                    <a:pt x="522" y="210"/>
                  </a:lnTo>
                  <a:lnTo>
                    <a:pt x="534" y="216"/>
                  </a:lnTo>
                  <a:lnTo>
                    <a:pt x="540" y="216"/>
                  </a:lnTo>
                  <a:lnTo>
                    <a:pt x="546" y="222"/>
                  </a:lnTo>
                  <a:lnTo>
                    <a:pt x="552" y="222"/>
                  </a:lnTo>
                  <a:lnTo>
                    <a:pt x="558" y="228"/>
                  </a:lnTo>
                  <a:lnTo>
                    <a:pt x="564" y="228"/>
                  </a:lnTo>
                  <a:lnTo>
                    <a:pt x="570" y="234"/>
                  </a:lnTo>
                  <a:lnTo>
                    <a:pt x="576" y="240"/>
                  </a:lnTo>
                  <a:lnTo>
                    <a:pt x="582" y="240"/>
                  </a:lnTo>
                  <a:lnTo>
                    <a:pt x="588" y="240"/>
                  </a:lnTo>
                  <a:lnTo>
                    <a:pt x="594" y="240"/>
                  </a:lnTo>
                  <a:lnTo>
                    <a:pt x="600" y="228"/>
                  </a:lnTo>
                  <a:lnTo>
                    <a:pt x="588" y="216"/>
                  </a:lnTo>
                  <a:lnTo>
                    <a:pt x="588" y="198"/>
                  </a:lnTo>
                  <a:lnTo>
                    <a:pt x="582" y="198"/>
                  </a:lnTo>
                  <a:lnTo>
                    <a:pt x="588" y="192"/>
                  </a:lnTo>
                  <a:lnTo>
                    <a:pt x="582" y="168"/>
                  </a:lnTo>
                  <a:lnTo>
                    <a:pt x="558" y="114"/>
                  </a:lnTo>
                  <a:lnTo>
                    <a:pt x="552" y="90"/>
                  </a:lnTo>
                  <a:lnTo>
                    <a:pt x="558" y="60"/>
                  </a:lnTo>
                  <a:lnTo>
                    <a:pt x="564" y="48"/>
                  </a:lnTo>
                  <a:lnTo>
                    <a:pt x="582" y="42"/>
                  </a:lnTo>
                  <a:lnTo>
                    <a:pt x="624" y="6"/>
                  </a:lnTo>
                  <a:lnTo>
                    <a:pt x="648" y="0"/>
                  </a:lnTo>
                  <a:lnTo>
                    <a:pt x="678" y="0"/>
                  </a:lnTo>
                  <a:lnTo>
                    <a:pt x="720" y="12"/>
                  </a:lnTo>
                  <a:lnTo>
                    <a:pt x="744" y="24"/>
                  </a:lnTo>
                  <a:lnTo>
                    <a:pt x="768" y="42"/>
                  </a:lnTo>
                  <a:lnTo>
                    <a:pt x="816" y="48"/>
                  </a:lnTo>
                  <a:lnTo>
                    <a:pt x="834" y="48"/>
                  </a:lnTo>
                  <a:lnTo>
                    <a:pt x="852" y="54"/>
                  </a:lnTo>
                  <a:lnTo>
                    <a:pt x="906" y="60"/>
                  </a:lnTo>
                  <a:lnTo>
                    <a:pt x="948" y="54"/>
                  </a:lnTo>
                  <a:lnTo>
                    <a:pt x="978" y="42"/>
                  </a:lnTo>
                  <a:lnTo>
                    <a:pt x="984" y="48"/>
                  </a:lnTo>
                  <a:lnTo>
                    <a:pt x="990" y="60"/>
                  </a:lnTo>
                  <a:lnTo>
                    <a:pt x="996" y="66"/>
                  </a:lnTo>
                  <a:lnTo>
                    <a:pt x="1002" y="72"/>
                  </a:lnTo>
                  <a:lnTo>
                    <a:pt x="1014" y="78"/>
                  </a:lnTo>
                  <a:lnTo>
                    <a:pt x="1014" y="84"/>
                  </a:lnTo>
                  <a:lnTo>
                    <a:pt x="1032" y="84"/>
                  </a:lnTo>
                  <a:lnTo>
                    <a:pt x="1032" y="90"/>
                  </a:lnTo>
                  <a:lnTo>
                    <a:pt x="1032" y="96"/>
                  </a:lnTo>
                  <a:lnTo>
                    <a:pt x="1032" y="108"/>
                  </a:lnTo>
                  <a:lnTo>
                    <a:pt x="1056" y="126"/>
                  </a:lnTo>
                  <a:lnTo>
                    <a:pt x="1068" y="138"/>
                  </a:lnTo>
                  <a:lnTo>
                    <a:pt x="1068" y="156"/>
                  </a:lnTo>
                  <a:lnTo>
                    <a:pt x="1080" y="150"/>
                  </a:lnTo>
                  <a:lnTo>
                    <a:pt x="1086" y="150"/>
                  </a:lnTo>
                  <a:lnTo>
                    <a:pt x="1092" y="156"/>
                  </a:lnTo>
                  <a:lnTo>
                    <a:pt x="1092" y="162"/>
                  </a:lnTo>
                  <a:lnTo>
                    <a:pt x="1092" y="168"/>
                  </a:lnTo>
                  <a:lnTo>
                    <a:pt x="1098" y="168"/>
                  </a:lnTo>
                  <a:lnTo>
                    <a:pt x="1092" y="180"/>
                  </a:lnTo>
                  <a:lnTo>
                    <a:pt x="1092" y="186"/>
                  </a:lnTo>
                  <a:lnTo>
                    <a:pt x="1086" y="192"/>
                  </a:lnTo>
                  <a:lnTo>
                    <a:pt x="1068" y="210"/>
                  </a:lnTo>
                  <a:lnTo>
                    <a:pt x="1068" y="216"/>
                  </a:lnTo>
                  <a:lnTo>
                    <a:pt x="1074" y="228"/>
                  </a:lnTo>
                  <a:lnTo>
                    <a:pt x="1092" y="234"/>
                  </a:lnTo>
                  <a:lnTo>
                    <a:pt x="1122" y="216"/>
                  </a:lnTo>
                  <a:lnTo>
                    <a:pt x="1188" y="204"/>
                  </a:lnTo>
                  <a:lnTo>
                    <a:pt x="1212" y="204"/>
                  </a:lnTo>
                  <a:lnTo>
                    <a:pt x="1230" y="198"/>
                  </a:lnTo>
                  <a:lnTo>
                    <a:pt x="1236" y="204"/>
                  </a:lnTo>
                  <a:lnTo>
                    <a:pt x="1242" y="210"/>
                  </a:lnTo>
                  <a:lnTo>
                    <a:pt x="1242" y="204"/>
                  </a:lnTo>
                  <a:lnTo>
                    <a:pt x="1248" y="198"/>
                  </a:lnTo>
                  <a:lnTo>
                    <a:pt x="1308" y="204"/>
                  </a:lnTo>
                  <a:lnTo>
                    <a:pt x="1338" y="204"/>
                  </a:lnTo>
                  <a:lnTo>
                    <a:pt x="1374" y="228"/>
                  </a:lnTo>
                  <a:lnTo>
                    <a:pt x="1380" y="234"/>
                  </a:lnTo>
                  <a:lnTo>
                    <a:pt x="1380" y="240"/>
                  </a:lnTo>
                  <a:lnTo>
                    <a:pt x="1386" y="252"/>
                  </a:lnTo>
                  <a:lnTo>
                    <a:pt x="1392" y="252"/>
                  </a:lnTo>
                  <a:lnTo>
                    <a:pt x="1416" y="270"/>
                  </a:lnTo>
                  <a:lnTo>
                    <a:pt x="1428" y="294"/>
                  </a:lnTo>
                  <a:lnTo>
                    <a:pt x="1440" y="312"/>
                  </a:lnTo>
                  <a:lnTo>
                    <a:pt x="1452" y="330"/>
                  </a:lnTo>
                  <a:lnTo>
                    <a:pt x="1464" y="330"/>
                  </a:lnTo>
                  <a:lnTo>
                    <a:pt x="1464" y="336"/>
                  </a:lnTo>
                  <a:lnTo>
                    <a:pt x="1470" y="336"/>
                  </a:lnTo>
                  <a:lnTo>
                    <a:pt x="1470" y="342"/>
                  </a:lnTo>
                  <a:lnTo>
                    <a:pt x="1476" y="342"/>
                  </a:lnTo>
                  <a:lnTo>
                    <a:pt x="1488" y="336"/>
                  </a:lnTo>
                  <a:lnTo>
                    <a:pt x="1494" y="342"/>
                  </a:lnTo>
                  <a:lnTo>
                    <a:pt x="1500" y="342"/>
                  </a:lnTo>
                  <a:lnTo>
                    <a:pt x="1512" y="366"/>
                  </a:lnTo>
                  <a:lnTo>
                    <a:pt x="1530" y="396"/>
                  </a:lnTo>
                  <a:lnTo>
                    <a:pt x="1536" y="444"/>
                  </a:lnTo>
                  <a:lnTo>
                    <a:pt x="1530" y="480"/>
                  </a:lnTo>
                  <a:lnTo>
                    <a:pt x="1506" y="510"/>
                  </a:lnTo>
                  <a:lnTo>
                    <a:pt x="1500" y="546"/>
                  </a:lnTo>
                  <a:lnTo>
                    <a:pt x="1494" y="564"/>
                  </a:lnTo>
                  <a:lnTo>
                    <a:pt x="1494" y="576"/>
                  </a:lnTo>
                  <a:lnTo>
                    <a:pt x="1500" y="582"/>
                  </a:lnTo>
                  <a:lnTo>
                    <a:pt x="1494" y="612"/>
                  </a:lnTo>
                  <a:lnTo>
                    <a:pt x="1476" y="630"/>
                  </a:lnTo>
                  <a:lnTo>
                    <a:pt x="1434" y="672"/>
                  </a:lnTo>
                  <a:lnTo>
                    <a:pt x="1392" y="756"/>
                  </a:lnTo>
                  <a:lnTo>
                    <a:pt x="1380" y="792"/>
                  </a:lnTo>
                  <a:lnTo>
                    <a:pt x="1374" y="798"/>
                  </a:lnTo>
                  <a:lnTo>
                    <a:pt x="1368" y="798"/>
                  </a:lnTo>
                  <a:lnTo>
                    <a:pt x="1380" y="804"/>
                  </a:lnTo>
                  <a:lnTo>
                    <a:pt x="1386" y="804"/>
                  </a:lnTo>
                  <a:lnTo>
                    <a:pt x="1380" y="822"/>
                  </a:lnTo>
                  <a:lnTo>
                    <a:pt x="1380" y="852"/>
                  </a:lnTo>
                  <a:lnTo>
                    <a:pt x="1374" y="858"/>
                  </a:lnTo>
                  <a:lnTo>
                    <a:pt x="1380" y="858"/>
                  </a:lnTo>
                  <a:lnTo>
                    <a:pt x="1374" y="864"/>
                  </a:lnTo>
                  <a:lnTo>
                    <a:pt x="1374" y="870"/>
                  </a:lnTo>
                  <a:lnTo>
                    <a:pt x="1374" y="876"/>
                  </a:lnTo>
                  <a:lnTo>
                    <a:pt x="1368" y="900"/>
                  </a:lnTo>
                  <a:lnTo>
                    <a:pt x="1362" y="906"/>
                  </a:lnTo>
                  <a:lnTo>
                    <a:pt x="1362" y="918"/>
                  </a:lnTo>
                  <a:lnTo>
                    <a:pt x="1362" y="924"/>
                  </a:lnTo>
                  <a:lnTo>
                    <a:pt x="1356" y="942"/>
                  </a:lnTo>
                  <a:lnTo>
                    <a:pt x="1350" y="972"/>
                  </a:lnTo>
                  <a:lnTo>
                    <a:pt x="1350" y="1014"/>
                  </a:lnTo>
                  <a:lnTo>
                    <a:pt x="1350" y="10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3" name="Freeform 18">
              <a:extLst>
                <a:ext uri="{FF2B5EF4-FFF2-40B4-BE49-F238E27FC236}">
                  <a16:creationId xmlns:a16="http://schemas.microsoft.com/office/drawing/2014/main" id="{EC11F2E0-3C06-46E2-8AD2-66EBE00FFE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32346" y="3837389"/>
              <a:ext cx="556811" cy="818559"/>
            </a:xfrm>
            <a:custGeom>
              <a:avLst/>
              <a:gdLst>
                <a:gd name="T0" fmla="*/ 12 w 1044"/>
                <a:gd name="T1" fmla="*/ 95 h 1542"/>
                <a:gd name="T2" fmla="*/ 7 w 1044"/>
                <a:gd name="T3" fmla="*/ 93 h 1542"/>
                <a:gd name="T4" fmla="*/ 0 w 1044"/>
                <a:gd name="T5" fmla="*/ 88 h 1542"/>
                <a:gd name="T6" fmla="*/ 3 w 1044"/>
                <a:gd name="T7" fmla="*/ 74 h 1542"/>
                <a:gd name="T8" fmla="*/ 4 w 1044"/>
                <a:gd name="T9" fmla="*/ 59 h 1542"/>
                <a:gd name="T10" fmla="*/ 7 w 1044"/>
                <a:gd name="T11" fmla="*/ 52 h 1542"/>
                <a:gd name="T12" fmla="*/ 20 w 1044"/>
                <a:gd name="T13" fmla="*/ 50 h 1542"/>
                <a:gd name="T14" fmla="*/ 24 w 1044"/>
                <a:gd name="T15" fmla="*/ 46 h 1542"/>
                <a:gd name="T16" fmla="*/ 29 w 1044"/>
                <a:gd name="T17" fmla="*/ 33 h 1542"/>
                <a:gd name="T18" fmla="*/ 32 w 1044"/>
                <a:gd name="T19" fmla="*/ 26 h 1542"/>
                <a:gd name="T20" fmla="*/ 30 w 1044"/>
                <a:gd name="T21" fmla="*/ 20 h 1542"/>
                <a:gd name="T22" fmla="*/ 26 w 1044"/>
                <a:gd name="T23" fmla="*/ 17 h 1542"/>
                <a:gd name="T24" fmla="*/ 28 w 1044"/>
                <a:gd name="T25" fmla="*/ 12 h 1542"/>
                <a:gd name="T26" fmla="*/ 44 w 1044"/>
                <a:gd name="T27" fmla="*/ 5 h 1542"/>
                <a:gd name="T28" fmla="*/ 57 w 1044"/>
                <a:gd name="T29" fmla="*/ 2 h 1542"/>
                <a:gd name="T30" fmla="*/ 65 w 1044"/>
                <a:gd name="T31" fmla="*/ 12 h 1542"/>
                <a:gd name="T32" fmla="*/ 81 w 1044"/>
                <a:gd name="T33" fmla="*/ 9 h 1542"/>
                <a:gd name="T34" fmla="*/ 91 w 1044"/>
                <a:gd name="T35" fmla="*/ 20 h 1542"/>
                <a:gd name="T36" fmla="*/ 89 w 1044"/>
                <a:gd name="T37" fmla="*/ 28 h 1542"/>
                <a:gd name="T38" fmla="*/ 83 w 1044"/>
                <a:gd name="T39" fmla="*/ 33 h 1542"/>
                <a:gd name="T40" fmla="*/ 74 w 1044"/>
                <a:gd name="T41" fmla="*/ 42 h 1542"/>
                <a:gd name="T42" fmla="*/ 58 w 1044"/>
                <a:gd name="T43" fmla="*/ 57 h 1542"/>
                <a:gd name="T44" fmla="*/ 54 w 1044"/>
                <a:gd name="T45" fmla="*/ 65 h 1542"/>
                <a:gd name="T46" fmla="*/ 59 w 1044"/>
                <a:gd name="T47" fmla="*/ 74 h 1542"/>
                <a:gd name="T48" fmla="*/ 55 w 1044"/>
                <a:gd name="T49" fmla="*/ 84 h 1542"/>
                <a:gd name="T50" fmla="*/ 52 w 1044"/>
                <a:gd name="T51" fmla="*/ 98 h 1542"/>
                <a:gd name="T52" fmla="*/ 47 w 1044"/>
                <a:gd name="T53" fmla="*/ 105 h 1542"/>
                <a:gd name="T54" fmla="*/ 42 w 1044"/>
                <a:gd name="T55" fmla="*/ 111 h 1542"/>
                <a:gd name="T56" fmla="*/ 43 w 1044"/>
                <a:gd name="T57" fmla="*/ 120 h 1542"/>
                <a:gd name="T58" fmla="*/ 45 w 1044"/>
                <a:gd name="T59" fmla="*/ 125 h 1542"/>
                <a:gd name="T60" fmla="*/ 44 w 1044"/>
                <a:gd name="T61" fmla="*/ 130 h 1542"/>
                <a:gd name="T62" fmla="*/ 45 w 1044"/>
                <a:gd name="T63" fmla="*/ 131 h 1542"/>
                <a:gd name="T64" fmla="*/ 48 w 1044"/>
                <a:gd name="T65" fmla="*/ 133 h 1542"/>
                <a:gd name="T66" fmla="*/ 39 w 1044"/>
                <a:gd name="T67" fmla="*/ 133 h 1542"/>
                <a:gd name="T68" fmla="*/ 42 w 1044"/>
                <a:gd name="T69" fmla="*/ 132 h 1542"/>
                <a:gd name="T70" fmla="*/ 38 w 1044"/>
                <a:gd name="T71" fmla="*/ 133 h 1542"/>
                <a:gd name="T72" fmla="*/ 37 w 1044"/>
                <a:gd name="T73" fmla="*/ 129 h 1542"/>
                <a:gd name="T74" fmla="*/ 40 w 1044"/>
                <a:gd name="T75" fmla="*/ 125 h 1542"/>
                <a:gd name="T76" fmla="*/ 40 w 1044"/>
                <a:gd name="T77" fmla="*/ 120 h 1542"/>
                <a:gd name="T78" fmla="*/ 40 w 1044"/>
                <a:gd name="T79" fmla="*/ 117 h 1542"/>
                <a:gd name="T80" fmla="*/ 37 w 1044"/>
                <a:gd name="T81" fmla="*/ 120 h 1542"/>
                <a:gd name="T82" fmla="*/ 34 w 1044"/>
                <a:gd name="T83" fmla="*/ 122 h 1542"/>
                <a:gd name="T84" fmla="*/ 36 w 1044"/>
                <a:gd name="T85" fmla="*/ 120 h 1542"/>
                <a:gd name="T86" fmla="*/ 30 w 1044"/>
                <a:gd name="T87" fmla="*/ 120 h 1542"/>
                <a:gd name="T88" fmla="*/ 31 w 1044"/>
                <a:gd name="T89" fmla="*/ 113 h 1542"/>
                <a:gd name="T90" fmla="*/ 29 w 1044"/>
                <a:gd name="T91" fmla="*/ 112 h 1542"/>
                <a:gd name="T92" fmla="*/ 31 w 1044"/>
                <a:gd name="T93" fmla="*/ 117 h 1542"/>
                <a:gd name="T94" fmla="*/ 27 w 1044"/>
                <a:gd name="T95" fmla="*/ 116 h 1542"/>
                <a:gd name="T96" fmla="*/ 25 w 1044"/>
                <a:gd name="T97" fmla="*/ 112 h 1542"/>
                <a:gd name="T98" fmla="*/ 21 w 1044"/>
                <a:gd name="T99" fmla="*/ 109 h 1542"/>
                <a:gd name="T100" fmla="*/ 21 w 1044"/>
                <a:gd name="T101" fmla="*/ 113 h 1542"/>
                <a:gd name="T102" fmla="*/ 40 w 1044"/>
                <a:gd name="T103" fmla="*/ 120 h 1542"/>
                <a:gd name="T104" fmla="*/ 40 w 1044"/>
                <a:gd name="T105" fmla="*/ 121 h 1542"/>
                <a:gd name="T106" fmla="*/ 40 w 1044"/>
                <a:gd name="T107" fmla="*/ 116 h 1542"/>
                <a:gd name="T108" fmla="*/ 38 w 1044"/>
                <a:gd name="T109" fmla="*/ 120 h 1542"/>
                <a:gd name="T110" fmla="*/ 23 w 1044"/>
                <a:gd name="T111" fmla="*/ 110 h 1542"/>
                <a:gd name="T112" fmla="*/ 37 w 1044"/>
                <a:gd name="T113" fmla="*/ 124 h 1542"/>
                <a:gd name="T114" fmla="*/ 40 w 1044"/>
                <a:gd name="T115" fmla="*/ 125 h 1542"/>
                <a:gd name="T116" fmla="*/ 38 w 1044"/>
                <a:gd name="T117" fmla="*/ 128 h 1542"/>
                <a:gd name="T118" fmla="*/ 25 w 1044"/>
                <a:gd name="T119" fmla="*/ 117 h 1542"/>
                <a:gd name="T120" fmla="*/ 27 w 1044"/>
                <a:gd name="T121" fmla="*/ 127 h 1542"/>
                <a:gd name="T122" fmla="*/ 24 w 1044"/>
                <a:gd name="T123" fmla="*/ 113 h 15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4"/>
                <a:gd name="T187" fmla="*/ 0 h 1542"/>
                <a:gd name="T188" fmla="*/ 1044 w 1044"/>
                <a:gd name="T189" fmla="*/ 1542 h 154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4" h="1542">
                  <a:moveTo>
                    <a:pt x="234" y="1278"/>
                  </a:moveTo>
                  <a:lnTo>
                    <a:pt x="228" y="1272"/>
                  </a:lnTo>
                  <a:lnTo>
                    <a:pt x="222" y="1266"/>
                  </a:lnTo>
                  <a:lnTo>
                    <a:pt x="222" y="1260"/>
                  </a:lnTo>
                  <a:lnTo>
                    <a:pt x="204" y="1248"/>
                  </a:lnTo>
                  <a:lnTo>
                    <a:pt x="192" y="1248"/>
                  </a:lnTo>
                  <a:lnTo>
                    <a:pt x="186" y="1236"/>
                  </a:lnTo>
                  <a:lnTo>
                    <a:pt x="174" y="1218"/>
                  </a:lnTo>
                  <a:lnTo>
                    <a:pt x="162" y="1194"/>
                  </a:lnTo>
                  <a:lnTo>
                    <a:pt x="156" y="1182"/>
                  </a:lnTo>
                  <a:lnTo>
                    <a:pt x="162" y="1146"/>
                  </a:lnTo>
                  <a:lnTo>
                    <a:pt x="156" y="1134"/>
                  </a:lnTo>
                  <a:lnTo>
                    <a:pt x="138" y="1122"/>
                  </a:lnTo>
                  <a:lnTo>
                    <a:pt x="132" y="1116"/>
                  </a:lnTo>
                  <a:lnTo>
                    <a:pt x="138" y="1098"/>
                  </a:lnTo>
                  <a:lnTo>
                    <a:pt x="138" y="1092"/>
                  </a:lnTo>
                  <a:lnTo>
                    <a:pt x="138" y="1086"/>
                  </a:lnTo>
                  <a:lnTo>
                    <a:pt x="132" y="1074"/>
                  </a:lnTo>
                  <a:lnTo>
                    <a:pt x="126" y="1074"/>
                  </a:lnTo>
                  <a:lnTo>
                    <a:pt x="126" y="1068"/>
                  </a:lnTo>
                  <a:lnTo>
                    <a:pt x="120" y="1062"/>
                  </a:lnTo>
                  <a:lnTo>
                    <a:pt x="120" y="1056"/>
                  </a:lnTo>
                  <a:lnTo>
                    <a:pt x="114" y="1050"/>
                  </a:lnTo>
                  <a:lnTo>
                    <a:pt x="108" y="1050"/>
                  </a:lnTo>
                  <a:lnTo>
                    <a:pt x="102" y="1056"/>
                  </a:lnTo>
                  <a:lnTo>
                    <a:pt x="102" y="1062"/>
                  </a:lnTo>
                  <a:lnTo>
                    <a:pt x="96" y="1062"/>
                  </a:lnTo>
                  <a:lnTo>
                    <a:pt x="96" y="1068"/>
                  </a:lnTo>
                  <a:lnTo>
                    <a:pt x="96" y="1074"/>
                  </a:lnTo>
                  <a:lnTo>
                    <a:pt x="90" y="1074"/>
                  </a:lnTo>
                  <a:lnTo>
                    <a:pt x="84" y="1080"/>
                  </a:lnTo>
                  <a:lnTo>
                    <a:pt x="78" y="1074"/>
                  </a:lnTo>
                  <a:lnTo>
                    <a:pt x="72" y="1074"/>
                  </a:lnTo>
                  <a:lnTo>
                    <a:pt x="72" y="1068"/>
                  </a:lnTo>
                  <a:lnTo>
                    <a:pt x="72" y="1062"/>
                  </a:lnTo>
                  <a:lnTo>
                    <a:pt x="60" y="1056"/>
                  </a:lnTo>
                  <a:lnTo>
                    <a:pt x="60" y="1044"/>
                  </a:lnTo>
                  <a:lnTo>
                    <a:pt x="60" y="1032"/>
                  </a:lnTo>
                  <a:lnTo>
                    <a:pt x="60" y="1026"/>
                  </a:lnTo>
                  <a:lnTo>
                    <a:pt x="54" y="1026"/>
                  </a:lnTo>
                  <a:lnTo>
                    <a:pt x="48" y="1014"/>
                  </a:lnTo>
                  <a:lnTo>
                    <a:pt x="42" y="1008"/>
                  </a:lnTo>
                  <a:lnTo>
                    <a:pt x="30" y="1008"/>
                  </a:lnTo>
                  <a:lnTo>
                    <a:pt x="30" y="1002"/>
                  </a:lnTo>
                  <a:lnTo>
                    <a:pt x="24" y="1008"/>
                  </a:lnTo>
                  <a:lnTo>
                    <a:pt x="12" y="1008"/>
                  </a:lnTo>
                  <a:lnTo>
                    <a:pt x="6" y="1008"/>
                  </a:lnTo>
                  <a:lnTo>
                    <a:pt x="0" y="1008"/>
                  </a:lnTo>
                  <a:lnTo>
                    <a:pt x="0" y="1002"/>
                  </a:lnTo>
                  <a:lnTo>
                    <a:pt x="6" y="990"/>
                  </a:lnTo>
                  <a:lnTo>
                    <a:pt x="6" y="984"/>
                  </a:lnTo>
                  <a:lnTo>
                    <a:pt x="0" y="978"/>
                  </a:lnTo>
                  <a:lnTo>
                    <a:pt x="6" y="972"/>
                  </a:lnTo>
                  <a:lnTo>
                    <a:pt x="12" y="972"/>
                  </a:lnTo>
                  <a:lnTo>
                    <a:pt x="72" y="978"/>
                  </a:lnTo>
                  <a:lnTo>
                    <a:pt x="78" y="972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30"/>
                  </a:lnTo>
                  <a:lnTo>
                    <a:pt x="54" y="912"/>
                  </a:lnTo>
                  <a:lnTo>
                    <a:pt x="42" y="906"/>
                  </a:lnTo>
                  <a:lnTo>
                    <a:pt x="36" y="894"/>
                  </a:lnTo>
                  <a:lnTo>
                    <a:pt x="30" y="876"/>
                  </a:lnTo>
                  <a:lnTo>
                    <a:pt x="30" y="858"/>
                  </a:lnTo>
                  <a:lnTo>
                    <a:pt x="30" y="840"/>
                  </a:lnTo>
                  <a:lnTo>
                    <a:pt x="36" y="816"/>
                  </a:lnTo>
                  <a:lnTo>
                    <a:pt x="36" y="792"/>
                  </a:lnTo>
                  <a:lnTo>
                    <a:pt x="36" y="780"/>
                  </a:lnTo>
                  <a:lnTo>
                    <a:pt x="12" y="774"/>
                  </a:lnTo>
                  <a:lnTo>
                    <a:pt x="24" y="756"/>
                  </a:lnTo>
                  <a:lnTo>
                    <a:pt x="24" y="744"/>
                  </a:lnTo>
                  <a:lnTo>
                    <a:pt x="30" y="738"/>
                  </a:lnTo>
                  <a:lnTo>
                    <a:pt x="30" y="732"/>
                  </a:lnTo>
                  <a:lnTo>
                    <a:pt x="36" y="720"/>
                  </a:lnTo>
                  <a:lnTo>
                    <a:pt x="42" y="714"/>
                  </a:lnTo>
                  <a:lnTo>
                    <a:pt x="54" y="708"/>
                  </a:lnTo>
                  <a:lnTo>
                    <a:pt x="60" y="702"/>
                  </a:lnTo>
                  <a:lnTo>
                    <a:pt x="48" y="690"/>
                  </a:lnTo>
                  <a:lnTo>
                    <a:pt x="48" y="684"/>
                  </a:lnTo>
                  <a:lnTo>
                    <a:pt x="48" y="678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66"/>
                  </a:lnTo>
                  <a:lnTo>
                    <a:pt x="72" y="654"/>
                  </a:lnTo>
                  <a:lnTo>
                    <a:pt x="72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84" y="630"/>
                  </a:lnTo>
                  <a:lnTo>
                    <a:pt x="90" y="630"/>
                  </a:lnTo>
                  <a:lnTo>
                    <a:pt x="96" y="630"/>
                  </a:lnTo>
                  <a:lnTo>
                    <a:pt x="96" y="624"/>
                  </a:lnTo>
                  <a:lnTo>
                    <a:pt x="90" y="624"/>
                  </a:lnTo>
                  <a:lnTo>
                    <a:pt x="84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90" y="600"/>
                  </a:lnTo>
                  <a:lnTo>
                    <a:pt x="84" y="600"/>
                  </a:lnTo>
                  <a:lnTo>
                    <a:pt x="78" y="594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126" y="564"/>
                  </a:lnTo>
                  <a:lnTo>
                    <a:pt x="144" y="564"/>
                  </a:lnTo>
                  <a:lnTo>
                    <a:pt x="156" y="582"/>
                  </a:lnTo>
                  <a:lnTo>
                    <a:pt x="162" y="600"/>
                  </a:lnTo>
                  <a:lnTo>
                    <a:pt x="180" y="588"/>
                  </a:lnTo>
                  <a:lnTo>
                    <a:pt x="192" y="588"/>
                  </a:lnTo>
                  <a:lnTo>
                    <a:pt x="198" y="588"/>
                  </a:lnTo>
                  <a:lnTo>
                    <a:pt x="210" y="582"/>
                  </a:lnTo>
                  <a:lnTo>
                    <a:pt x="216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58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46" y="558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58" y="570"/>
                  </a:lnTo>
                  <a:lnTo>
                    <a:pt x="264" y="570"/>
                  </a:lnTo>
                  <a:lnTo>
                    <a:pt x="270" y="564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46"/>
                  </a:lnTo>
                  <a:lnTo>
                    <a:pt x="276" y="540"/>
                  </a:lnTo>
                  <a:lnTo>
                    <a:pt x="276" y="534"/>
                  </a:lnTo>
                  <a:lnTo>
                    <a:pt x="276" y="528"/>
                  </a:lnTo>
                  <a:lnTo>
                    <a:pt x="282" y="528"/>
                  </a:lnTo>
                  <a:lnTo>
                    <a:pt x="282" y="522"/>
                  </a:lnTo>
                  <a:lnTo>
                    <a:pt x="282" y="516"/>
                  </a:lnTo>
                  <a:lnTo>
                    <a:pt x="282" y="510"/>
                  </a:lnTo>
                  <a:lnTo>
                    <a:pt x="282" y="504"/>
                  </a:lnTo>
                  <a:lnTo>
                    <a:pt x="282" y="492"/>
                  </a:lnTo>
                  <a:lnTo>
                    <a:pt x="288" y="486"/>
                  </a:lnTo>
                  <a:lnTo>
                    <a:pt x="300" y="480"/>
                  </a:lnTo>
                  <a:lnTo>
                    <a:pt x="306" y="462"/>
                  </a:lnTo>
                  <a:lnTo>
                    <a:pt x="318" y="444"/>
                  </a:lnTo>
                  <a:lnTo>
                    <a:pt x="330" y="444"/>
                  </a:lnTo>
                  <a:lnTo>
                    <a:pt x="330" y="432"/>
                  </a:lnTo>
                  <a:lnTo>
                    <a:pt x="342" y="432"/>
                  </a:lnTo>
                  <a:lnTo>
                    <a:pt x="354" y="402"/>
                  </a:lnTo>
                  <a:lnTo>
                    <a:pt x="348" y="390"/>
                  </a:lnTo>
                  <a:lnTo>
                    <a:pt x="336" y="384"/>
                  </a:lnTo>
                  <a:lnTo>
                    <a:pt x="336" y="360"/>
                  </a:lnTo>
                  <a:lnTo>
                    <a:pt x="336" y="354"/>
                  </a:lnTo>
                  <a:lnTo>
                    <a:pt x="336" y="342"/>
                  </a:lnTo>
                  <a:lnTo>
                    <a:pt x="342" y="336"/>
                  </a:lnTo>
                  <a:lnTo>
                    <a:pt x="342" y="324"/>
                  </a:lnTo>
                  <a:lnTo>
                    <a:pt x="372" y="324"/>
                  </a:lnTo>
                  <a:lnTo>
                    <a:pt x="378" y="324"/>
                  </a:lnTo>
                  <a:lnTo>
                    <a:pt x="378" y="318"/>
                  </a:lnTo>
                  <a:lnTo>
                    <a:pt x="372" y="312"/>
                  </a:lnTo>
                  <a:lnTo>
                    <a:pt x="378" y="312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84" y="300"/>
                  </a:lnTo>
                  <a:lnTo>
                    <a:pt x="384" y="294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66" y="294"/>
                  </a:lnTo>
                  <a:lnTo>
                    <a:pt x="366" y="288"/>
                  </a:lnTo>
                  <a:lnTo>
                    <a:pt x="372" y="288"/>
                  </a:lnTo>
                  <a:lnTo>
                    <a:pt x="372" y="282"/>
                  </a:lnTo>
                  <a:lnTo>
                    <a:pt x="366" y="276"/>
                  </a:lnTo>
                  <a:lnTo>
                    <a:pt x="360" y="270"/>
                  </a:lnTo>
                  <a:lnTo>
                    <a:pt x="360" y="264"/>
                  </a:lnTo>
                  <a:lnTo>
                    <a:pt x="354" y="264"/>
                  </a:lnTo>
                  <a:lnTo>
                    <a:pt x="348" y="258"/>
                  </a:lnTo>
                  <a:lnTo>
                    <a:pt x="354" y="258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40"/>
                  </a:lnTo>
                  <a:lnTo>
                    <a:pt x="354" y="240"/>
                  </a:lnTo>
                  <a:lnTo>
                    <a:pt x="342" y="234"/>
                  </a:lnTo>
                  <a:lnTo>
                    <a:pt x="342" y="228"/>
                  </a:lnTo>
                  <a:lnTo>
                    <a:pt x="348" y="228"/>
                  </a:lnTo>
                  <a:lnTo>
                    <a:pt x="342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6" y="216"/>
                  </a:lnTo>
                  <a:lnTo>
                    <a:pt x="330" y="222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24" y="210"/>
                  </a:lnTo>
                  <a:lnTo>
                    <a:pt x="318" y="210"/>
                  </a:lnTo>
                  <a:lnTo>
                    <a:pt x="318" y="204"/>
                  </a:lnTo>
                  <a:lnTo>
                    <a:pt x="312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294" y="192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300" y="174"/>
                  </a:lnTo>
                  <a:lnTo>
                    <a:pt x="300" y="168"/>
                  </a:lnTo>
                  <a:lnTo>
                    <a:pt x="300" y="162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88" y="150"/>
                  </a:lnTo>
                  <a:lnTo>
                    <a:pt x="288" y="144"/>
                  </a:lnTo>
                  <a:lnTo>
                    <a:pt x="282" y="144"/>
                  </a:lnTo>
                  <a:lnTo>
                    <a:pt x="282" y="138"/>
                  </a:lnTo>
                  <a:lnTo>
                    <a:pt x="312" y="132"/>
                  </a:lnTo>
                  <a:lnTo>
                    <a:pt x="324" y="120"/>
                  </a:lnTo>
                  <a:lnTo>
                    <a:pt x="330" y="114"/>
                  </a:lnTo>
                  <a:lnTo>
                    <a:pt x="336" y="102"/>
                  </a:lnTo>
                  <a:lnTo>
                    <a:pt x="348" y="90"/>
                  </a:lnTo>
                  <a:lnTo>
                    <a:pt x="360" y="84"/>
                  </a:lnTo>
                  <a:lnTo>
                    <a:pt x="372" y="84"/>
                  </a:lnTo>
                  <a:lnTo>
                    <a:pt x="378" y="84"/>
                  </a:lnTo>
                  <a:lnTo>
                    <a:pt x="384" y="90"/>
                  </a:lnTo>
                  <a:lnTo>
                    <a:pt x="402" y="90"/>
                  </a:lnTo>
                  <a:lnTo>
                    <a:pt x="438" y="84"/>
                  </a:lnTo>
                  <a:lnTo>
                    <a:pt x="456" y="84"/>
                  </a:lnTo>
                  <a:lnTo>
                    <a:pt x="462" y="78"/>
                  </a:lnTo>
                  <a:lnTo>
                    <a:pt x="486" y="72"/>
                  </a:lnTo>
                  <a:lnTo>
                    <a:pt x="492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04" y="54"/>
                  </a:lnTo>
                  <a:lnTo>
                    <a:pt x="510" y="42"/>
                  </a:lnTo>
                  <a:lnTo>
                    <a:pt x="504" y="42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498" y="30"/>
                  </a:lnTo>
                  <a:lnTo>
                    <a:pt x="492" y="30"/>
                  </a:lnTo>
                  <a:lnTo>
                    <a:pt x="492" y="24"/>
                  </a:lnTo>
                  <a:lnTo>
                    <a:pt x="486" y="18"/>
                  </a:lnTo>
                  <a:lnTo>
                    <a:pt x="498" y="18"/>
                  </a:lnTo>
                  <a:lnTo>
                    <a:pt x="510" y="18"/>
                  </a:lnTo>
                  <a:lnTo>
                    <a:pt x="522" y="12"/>
                  </a:lnTo>
                  <a:lnTo>
                    <a:pt x="528" y="6"/>
                  </a:lnTo>
                  <a:lnTo>
                    <a:pt x="570" y="0"/>
                  </a:lnTo>
                  <a:lnTo>
                    <a:pt x="606" y="6"/>
                  </a:lnTo>
                  <a:lnTo>
                    <a:pt x="654" y="24"/>
                  </a:lnTo>
                  <a:lnTo>
                    <a:pt x="666" y="36"/>
                  </a:lnTo>
                  <a:lnTo>
                    <a:pt x="672" y="30"/>
                  </a:lnTo>
                  <a:lnTo>
                    <a:pt x="690" y="42"/>
                  </a:lnTo>
                  <a:lnTo>
                    <a:pt x="702" y="48"/>
                  </a:lnTo>
                  <a:lnTo>
                    <a:pt x="714" y="60"/>
                  </a:lnTo>
                  <a:lnTo>
                    <a:pt x="714" y="66"/>
                  </a:lnTo>
                  <a:lnTo>
                    <a:pt x="720" y="72"/>
                  </a:lnTo>
                  <a:lnTo>
                    <a:pt x="720" y="78"/>
                  </a:lnTo>
                  <a:lnTo>
                    <a:pt x="720" y="102"/>
                  </a:lnTo>
                  <a:lnTo>
                    <a:pt x="720" y="108"/>
                  </a:lnTo>
                  <a:lnTo>
                    <a:pt x="714" y="108"/>
                  </a:lnTo>
                  <a:lnTo>
                    <a:pt x="714" y="126"/>
                  </a:lnTo>
                  <a:lnTo>
                    <a:pt x="732" y="126"/>
                  </a:lnTo>
                  <a:lnTo>
                    <a:pt x="726" y="132"/>
                  </a:lnTo>
                  <a:lnTo>
                    <a:pt x="738" y="132"/>
                  </a:lnTo>
                  <a:lnTo>
                    <a:pt x="738" y="138"/>
                  </a:lnTo>
                  <a:lnTo>
                    <a:pt x="738" y="144"/>
                  </a:lnTo>
                  <a:lnTo>
                    <a:pt x="744" y="144"/>
                  </a:lnTo>
                  <a:lnTo>
                    <a:pt x="744" y="150"/>
                  </a:lnTo>
                  <a:lnTo>
                    <a:pt x="756" y="156"/>
                  </a:lnTo>
                  <a:lnTo>
                    <a:pt x="768" y="156"/>
                  </a:lnTo>
                  <a:lnTo>
                    <a:pt x="780" y="156"/>
                  </a:lnTo>
                  <a:lnTo>
                    <a:pt x="792" y="150"/>
                  </a:lnTo>
                  <a:lnTo>
                    <a:pt x="786" y="150"/>
                  </a:lnTo>
                  <a:lnTo>
                    <a:pt x="786" y="144"/>
                  </a:lnTo>
                  <a:lnTo>
                    <a:pt x="804" y="144"/>
                  </a:lnTo>
                  <a:lnTo>
                    <a:pt x="816" y="132"/>
                  </a:lnTo>
                  <a:lnTo>
                    <a:pt x="822" y="126"/>
                  </a:lnTo>
                  <a:lnTo>
                    <a:pt x="828" y="132"/>
                  </a:lnTo>
                  <a:lnTo>
                    <a:pt x="834" y="126"/>
                  </a:lnTo>
                  <a:lnTo>
                    <a:pt x="834" y="120"/>
                  </a:lnTo>
                  <a:lnTo>
                    <a:pt x="924" y="108"/>
                  </a:lnTo>
                  <a:lnTo>
                    <a:pt x="942" y="144"/>
                  </a:lnTo>
                  <a:lnTo>
                    <a:pt x="948" y="144"/>
                  </a:lnTo>
                  <a:lnTo>
                    <a:pt x="960" y="168"/>
                  </a:lnTo>
                  <a:lnTo>
                    <a:pt x="972" y="186"/>
                  </a:lnTo>
                  <a:lnTo>
                    <a:pt x="984" y="192"/>
                  </a:lnTo>
                  <a:lnTo>
                    <a:pt x="996" y="192"/>
                  </a:lnTo>
                  <a:lnTo>
                    <a:pt x="996" y="198"/>
                  </a:lnTo>
                  <a:lnTo>
                    <a:pt x="1008" y="204"/>
                  </a:lnTo>
                  <a:lnTo>
                    <a:pt x="1008" y="210"/>
                  </a:lnTo>
                  <a:lnTo>
                    <a:pt x="1002" y="210"/>
                  </a:lnTo>
                  <a:lnTo>
                    <a:pt x="1008" y="216"/>
                  </a:lnTo>
                  <a:lnTo>
                    <a:pt x="1014" y="210"/>
                  </a:lnTo>
                  <a:lnTo>
                    <a:pt x="1014" y="216"/>
                  </a:lnTo>
                  <a:lnTo>
                    <a:pt x="1020" y="222"/>
                  </a:lnTo>
                  <a:lnTo>
                    <a:pt x="1014" y="228"/>
                  </a:lnTo>
                  <a:lnTo>
                    <a:pt x="1032" y="234"/>
                  </a:lnTo>
                  <a:lnTo>
                    <a:pt x="1044" y="240"/>
                  </a:lnTo>
                  <a:lnTo>
                    <a:pt x="1038" y="246"/>
                  </a:lnTo>
                  <a:lnTo>
                    <a:pt x="1038" y="252"/>
                  </a:lnTo>
                  <a:lnTo>
                    <a:pt x="1038" y="258"/>
                  </a:lnTo>
                  <a:lnTo>
                    <a:pt x="1032" y="264"/>
                  </a:lnTo>
                  <a:lnTo>
                    <a:pt x="1032" y="270"/>
                  </a:lnTo>
                  <a:lnTo>
                    <a:pt x="1032" y="276"/>
                  </a:lnTo>
                  <a:lnTo>
                    <a:pt x="1032" y="282"/>
                  </a:lnTo>
                  <a:lnTo>
                    <a:pt x="1026" y="282"/>
                  </a:lnTo>
                  <a:lnTo>
                    <a:pt x="1026" y="288"/>
                  </a:lnTo>
                  <a:lnTo>
                    <a:pt x="1026" y="294"/>
                  </a:lnTo>
                  <a:lnTo>
                    <a:pt x="1026" y="300"/>
                  </a:lnTo>
                  <a:lnTo>
                    <a:pt x="1026" y="306"/>
                  </a:lnTo>
                  <a:lnTo>
                    <a:pt x="1020" y="318"/>
                  </a:lnTo>
                  <a:lnTo>
                    <a:pt x="1020" y="324"/>
                  </a:lnTo>
                  <a:lnTo>
                    <a:pt x="1014" y="324"/>
                  </a:lnTo>
                  <a:lnTo>
                    <a:pt x="1014" y="330"/>
                  </a:lnTo>
                  <a:lnTo>
                    <a:pt x="1014" y="336"/>
                  </a:lnTo>
                  <a:lnTo>
                    <a:pt x="1008" y="366"/>
                  </a:lnTo>
                  <a:lnTo>
                    <a:pt x="1002" y="366"/>
                  </a:lnTo>
                  <a:lnTo>
                    <a:pt x="984" y="354"/>
                  </a:lnTo>
                  <a:lnTo>
                    <a:pt x="978" y="354"/>
                  </a:lnTo>
                  <a:lnTo>
                    <a:pt x="972" y="354"/>
                  </a:lnTo>
                  <a:lnTo>
                    <a:pt x="966" y="348"/>
                  </a:lnTo>
                  <a:lnTo>
                    <a:pt x="954" y="348"/>
                  </a:lnTo>
                  <a:lnTo>
                    <a:pt x="948" y="348"/>
                  </a:lnTo>
                  <a:lnTo>
                    <a:pt x="948" y="360"/>
                  </a:lnTo>
                  <a:lnTo>
                    <a:pt x="948" y="366"/>
                  </a:lnTo>
                  <a:lnTo>
                    <a:pt x="948" y="372"/>
                  </a:lnTo>
                  <a:lnTo>
                    <a:pt x="948" y="378"/>
                  </a:lnTo>
                  <a:lnTo>
                    <a:pt x="948" y="384"/>
                  </a:lnTo>
                  <a:lnTo>
                    <a:pt x="942" y="384"/>
                  </a:lnTo>
                  <a:lnTo>
                    <a:pt x="942" y="390"/>
                  </a:lnTo>
                  <a:lnTo>
                    <a:pt x="936" y="390"/>
                  </a:lnTo>
                  <a:lnTo>
                    <a:pt x="942" y="390"/>
                  </a:lnTo>
                  <a:lnTo>
                    <a:pt x="936" y="396"/>
                  </a:lnTo>
                  <a:lnTo>
                    <a:pt x="930" y="402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2" y="432"/>
                  </a:lnTo>
                  <a:lnTo>
                    <a:pt x="900" y="450"/>
                  </a:lnTo>
                  <a:lnTo>
                    <a:pt x="894" y="456"/>
                  </a:lnTo>
                  <a:lnTo>
                    <a:pt x="888" y="456"/>
                  </a:lnTo>
                  <a:lnTo>
                    <a:pt x="882" y="456"/>
                  </a:lnTo>
                  <a:lnTo>
                    <a:pt x="876" y="456"/>
                  </a:lnTo>
                  <a:lnTo>
                    <a:pt x="864" y="462"/>
                  </a:lnTo>
                  <a:lnTo>
                    <a:pt x="852" y="474"/>
                  </a:lnTo>
                  <a:lnTo>
                    <a:pt x="846" y="480"/>
                  </a:lnTo>
                  <a:lnTo>
                    <a:pt x="840" y="486"/>
                  </a:lnTo>
                  <a:lnTo>
                    <a:pt x="834" y="498"/>
                  </a:lnTo>
                  <a:lnTo>
                    <a:pt x="828" y="510"/>
                  </a:lnTo>
                  <a:lnTo>
                    <a:pt x="816" y="522"/>
                  </a:lnTo>
                  <a:lnTo>
                    <a:pt x="798" y="540"/>
                  </a:lnTo>
                  <a:lnTo>
                    <a:pt x="780" y="558"/>
                  </a:lnTo>
                  <a:lnTo>
                    <a:pt x="774" y="558"/>
                  </a:lnTo>
                  <a:lnTo>
                    <a:pt x="756" y="576"/>
                  </a:lnTo>
                  <a:lnTo>
                    <a:pt x="732" y="600"/>
                  </a:lnTo>
                  <a:lnTo>
                    <a:pt x="726" y="600"/>
                  </a:lnTo>
                  <a:lnTo>
                    <a:pt x="720" y="606"/>
                  </a:lnTo>
                  <a:lnTo>
                    <a:pt x="714" y="612"/>
                  </a:lnTo>
                  <a:lnTo>
                    <a:pt x="690" y="630"/>
                  </a:lnTo>
                  <a:lnTo>
                    <a:pt x="678" y="636"/>
                  </a:lnTo>
                  <a:lnTo>
                    <a:pt x="672" y="642"/>
                  </a:lnTo>
                  <a:lnTo>
                    <a:pt x="660" y="660"/>
                  </a:lnTo>
                  <a:lnTo>
                    <a:pt x="642" y="666"/>
                  </a:lnTo>
                  <a:lnTo>
                    <a:pt x="636" y="678"/>
                  </a:lnTo>
                  <a:lnTo>
                    <a:pt x="630" y="678"/>
                  </a:lnTo>
                  <a:lnTo>
                    <a:pt x="630" y="684"/>
                  </a:lnTo>
                  <a:lnTo>
                    <a:pt x="630" y="690"/>
                  </a:lnTo>
                  <a:lnTo>
                    <a:pt x="636" y="696"/>
                  </a:lnTo>
                  <a:lnTo>
                    <a:pt x="642" y="696"/>
                  </a:lnTo>
                  <a:lnTo>
                    <a:pt x="648" y="702"/>
                  </a:lnTo>
                  <a:lnTo>
                    <a:pt x="648" y="708"/>
                  </a:lnTo>
                  <a:lnTo>
                    <a:pt x="642" y="708"/>
                  </a:lnTo>
                  <a:lnTo>
                    <a:pt x="636" y="714"/>
                  </a:lnTo>
                  <a:lnTo>
                    <a:pt x="636" y="720"/>
                  </a:lnTo>
                  <a:lnTo>
                    <a:pt x="642" y="726"/>
                  </a:lnTo>
                  <a:lnTo>
                    <a:pt x="636" y="738"/>
                  </a:lnTo>
                  <a:lnTo>
                    <a:pt x="618" y="756"/>
                  </a:lnTo>
                  <a:lnTo>
                    <a:pt x="612" y="750"/>
                  </a:lnTo>
                  <a:lnTo>
                    <a:pt x="612" y="756"/>
                  </a:lnTo>
                  <a:lnTo>
                    <a:pt x="618" y="762"/>
                  </a:lnTo>
                  <a:lnTo>
                    <a:pt x="618" y="768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36" y="786"/>
                  </a:lnTo>
                  <a:lnTo>
                    <a:pt x="642" y="792"/>
                  </a:lnTo>
                  <a:lnTo>
                    <a:pt x="642" y="798"/>
                  </a:lnTo>
                  <a:lnTo>
                    <a:pt x="648" y="804"/>
                  </a:lnTo>
                  <a:lnTo>
                    <a:pt x="654" y="810"/>
                  </a:lnTo>
                  <a:lnTo>
                    <a:pt x="660" y="816"/>
                  </a:lnTo>
                  <a:lnTo>
                    <a:pt x="666" y="816"/>
                  </a:lnTo>
                  <a:lnTo>
                    <a:pt x="666" y="822"/>
                  </a:lnTo>
                  <a:lnTo>
                    <a:pt x="672" y="828"/>
                  </a:lnTo>
                  <a:lnTo>
                    <a:pt x="672" y="840"/>
                  </a:lnTo>
                  <a:lnTo>
                    <a:pt x="672" y="846"/>
                  </a:lnTo>
                  <a:lnTo>
                    <a:pt x="666" y="852"/>
                  </a:lnTo>
                  <a:lnTo>
                    <a:pt x="660" y="864"/>
                  </a:lnTo>
                  <a:lnTo>
                    <a:pt x="654" y="876"/>
                  </a:lnTo>
                  <a:lnTo>
                    <a:pt x="648" y="882"/>
                  </a:lnTo>
                  <a:lnTo>
                    <a:pt x="642" y="888"/>
                  </a:lnTo>
                  <a:lnTo>
                    <a:pt x="642" y="894"/>
                  </a:lnTo>
                  <a:lnTo>
                    <a:pt x="642" y="906"/>
                  </a:lnTo>
                  <a:lnTo>
                    <a:pt x="630" y="918"/>
                  </a:lnTo>
                  <a:lnTo>
                    <a:pt x="630" y="924"/>
                  </a:lnTo>
                  <a:lnTo>
                    <a:pt x="624" y="930"/>
                  </a:lnTo>
                  <a:lnTo>
                    <a:pt x="630" y="936"/>
                  </a:lnTo>
                  <a:lnTo>
                    <a:pt x="630" y="942"/>
                  </a:lnTo>
                  <a:lnTo>
                    <a:pt x="630" y="948"/>
                  </a:lnTo>
                  <a:lnTo>
                    <a:pt x="630" y="954"/>
                  </a:lnTo>
                  <a:lnTo>
                    <a:pt x="630" y="960"/>
                  </a:lnTo>
                  <a:lnTo>
                    <a:pt x="624" y="966"/>
                  </a:lnTo>
                  <a:lnTo>
                    <a:pt x="618" y="990"/>
                  </a:lnTo>
                  <a:lnTo>
                    <a:pt x="618" y="1008"/>
                  </a:lnTo>
                  <a:lnTo>
                    <a:pt x="612" y="1026"/>
                  </a:lnTo>
                  <a:lnTo>
                    <a:pt x="612" y="1038"/>
                  </a:lnTo>
                  <a:lnTo>
                    <a:pt x="612" y="1050"/>
                  </a:lnTo>
                  <a:lnTo>
                    <a:pt x="612" y="1056"/>
                  </a:lnTo>
                  <a:lnTo>
                    <a:pt x="612" y="1062"/>
                  </a:lnTo>
                  <a:lnTo>
                    <a:pt x="612" y="1068"/>
                  </a:lnTo>
                  <a:lnTo>
                    <a:pt x="612" y="1086"/>
                  </a:lnTo>
                  <a:lnTo>
                    <a:pt x="612" y="1092"/>
                  </a:lnTo>
                  <a:lnTo>
                    <a:pt x="606" y="1098"/>
                  </a:lnTo>
                  <a:lnTo>
                    <a:pt x="600" y="1110"/>
                  </a:lnTo>
                  <a:lnTo>
                    <a:pt x="600" y="1116"/>
                  </a:lnTo>
                  <a:lnTo>
                    <a:pt x="594" y="1122"/>
                  </a:lnTo>
                  <a:lnTo>
                    <a:pt x="594" y="1128"/>
                  </a:lnTo>
                  <a:lnTo>
                    <a:pt x="588" y="1134"/>
                  </a:lnTo>
                  <a:lnTo>
                    <a:pt x="582" y="1140"/>
                  </a:lnTo>
                  <a:lnTo>
                    <a:pt x="570" y="1140"/>
                  </a:lnTo>
                  <a:lnTo>
                    <a:pt x="564" y="1146"/>
                  </a:lnTo>
                  <a:lnTo>
                    <a:pt x="570" y="1146"/>
                  </a:lnTo>
                  <a:lnTo>
                    <a:pt x="564" y="1152"/>
                  </a:lnTo>
                  <a:lnTo>
                    <a:pt x="558" y="1158"/>
                  </a:lnTo>
                  <a:lnTo>
                    <a:pt x="552" y="1164"/>
                  </a:lnTo>
                  <a:lnTo>
                    <a:pt x="552" y="1170"/>
                  </a:lnTo>
                  <a:lnTo>
                    <a:pt x="546" y="1176"/>
                  </a:lnTo>
                  <a:lnTo>
                    <a:pt x="546" y="1182"/>
                  </a:lnTo>
                  <a:lnTo>
                    <a:pt x="546" y="1188"/>
                  </a:lnTo>
                  <a:lnTo>
                    <a:pt x="540" y="1188"/>
                  </a:lnTo>
                  <a:lnTo>
                    <a:pt x="540" y="1194"/>
                  </a:lnTo>
                  <a:lnTo>
                    <a:pt x="528" y="1206"/>
                  </a:lnTo>
                  <a:lnTo>
                    <a:pt x="528" y="1212"/>
                  </a:lnTo>
                  <a:lnTo>
                    <a:pt x="534" y="1212"/>
                  </a:lnTo>
                  <a:lnTo>
                    <a:pt x="540" y="1218"/>
                  </a:lnTo>
                  <a:lnTo>
                    <a:pt x="534" y="1218"/>
                  </a:lnTo>
                  <a:lnTo>
                    <a:pt x="528" y="1218"/>
                  </a:lnTo>
                  <a:lnTo>
                    <a:pt x="528" y="1224"/>
                  </a:lnTo>
                  <a:lnTo>
                    <a:pt x="522" y="1230"/>
                  </a:lnTo>
                  <a:lnTo>
                    <a:pt x="516" y="1236"/>
                  </a:lnTo>
                  <a:lnTo>
                    <a:pt x="522" y="1236"/>
                  </a:lnTo>
                  <a:lnTo>
                    <a:pt x="516" y="1242"/>
                  </a:lnTo>
                  <a:lnTo>
                    <a:pt x="510" y="1242"/>
                  </a:lnTo>
                  <a:lnTo>
                    <a:pt x="504" y="1248"/>
                  </a:lnTo>
                  <a:lnTo>
                    <a:pt x="510" y="1260"/>
                  </a:lnTo>
                  <a:lnTo>
                    <a:pt x="504" y="1266"/>
                  </a:lnTo>
                  <a:lnTo>
                    <a:pt x="492" y="1266"/>
                  </a:lnTo>
                  <a:lnTo>
                    <a:pt x="486" y="1272"/>
                  </a:lnTo>
                  <a:lnTo>
                    <a:pt x="486" y="1278"/>
                  </a:lnTo>
                  <a:lnTo>
                    <a:pt x="480" y="1278"/>
                  </a:lnTo>
                  <a:lnTo>
                    <a:pt x="480" y="1284"/>
                  </a:lnTo>
                  <a:lnTo>
                    <a:pt x="480" y="1290"/>
                  </a:lnTo>
                  <a:lnTo>
                    <a:pt x="480" y="1296"/>
                  </a:lnTo>
                  <a:lnTo>
                    <a:pt x="492" y="1302"/>
                  </a:lnTo>
                  <a:lnTo>
                    <a:pt x="492" y="1308"/>
                  </a:lnTo>
                  <a:lnTo>
                    <a:pt x="492" y="1320"/>
                  </a:lnTo>
                  <a:lnTo>
                    <a:pt x="492" y="1332"/>
                  </a:lnTo>
                  <a:lnTo>
                    <a:pt x="498" y="1344"/>
                  </a:lnTo>
                  <a:lnTo>
                    <a:pt x="498" y="1350"/>
                  </a:lnTo>
                  <a:lnTo>
                    <a:pt x="498" y="1356"/>
                  </a:lnTo>
                  <a:lnTo>
                    <a:pt x="504" y="1362"/>
                  </a:lnTo>
                  <a:lnTo>
                    <a:pt x="498" y="1362"/>
                  </a:lnTo>
                  <a:lnTo>
                    <a:pt x="498" y="1368"/>
                  </a:lnTo>
                  <a:lnTo>
                    <a:pt x="492" y="1368"/>
                  </a:lnTo>
                  <a:lnTo>
                    <a:pt x="492" y="1374"/>
                  </a:lnTo>
                  <a:lnTo>
                    <a:pt x="492" y="1380"/>
                  </a:lnTo>
                  <a:lnTo>
                    <a:pt x="498" y="1380"/>
                  </a:lnTo>
                  <a:lnTo>
                    <a:pt x="504" y="1380"/>
                  </a:lnTo>
                  <a:lnTo>
                    <a:pt x="498" y="1386"/>
                  </a:lnTo>
                  <a:lnTo>
                    <a:pt x="498" y="1392"/>
                  </a:lnTo>
                  <a:lnTo>
                    <a:pt x="498" y="1398"/>
                  </a:lnTo>
                  <a:lnTo>
                    <a:pt x="498" y="1404"/>
                  </a:lnTo>
                  <a:lnTo>
                    <a:pt x="498" y="1410"/>
                  </a:lnTo>
                  <a:lnTo>
                    <a:pt x="498" y="1416"/>
                  </a:lnTo>
                  <a:lnTo>
                    <a:pt x="492" y="1416"/>
                  </a:lnTo>
                  <a:lnTo>
                    <a:pt x="498" y="1416"/>
                  </a:lnTo>
                  <a:lnTo>
                    <a:pt x="504" y="1416"/>
                  </a:lnTo>
                  <a:lnTo>
                    <a:pt x="504" y="1422"/>
                  </a:lnTo>
                  <a:lnTo>
                    <a:pt x="510" y="1428"/>
                  </a:lnTo>
                  <a:lnTo>
                    <a:pt x="510" y="1434"/>
                  </a:lnTo>
                  <a:lnTo>
                    <a:pt x="510" y="1440"/>
                  </a:lnTo>
                  <a:lnTo>
                    <a:pt x="516" y="1446"/>
                  </a:lnTo>
                  <a:lnTo>
                    <a:pt x="516" y="1452"/>
                  </a:lnTo>
                  <a:lnTo>
                    <a:pt x="516" y="1458"/>
                  </a:lnTo>
                  <a:lnTo>
                    <a:pt x="516" y="1464"/>
                  </a:lnTo>
                  <a:lnTo>
                    <a:pt x="516" y="1482"/>
                  </a:lnTo>
                  <a:lnTo>
                    <a:pt x="516" y="1488"/>
                  </a:lnTo>
                  <a:lnTo>
                    <a:pt x="522" y="1488"/>
                  </a:lnTo>
                  <a:lnTo>
                    <a:pt x="522" y="1494"/>
                  </a:lnTo>
                  <a:lnTo>
                    <a:pt x="522" y="1500"/>
                  </a:lnTo>
                  <a:lnTo>
                    <a:pt x="516" y="1506"/>
                  </a:lnTo>
                  <a:lnTo>
                    <a:pt x="510" y="1500"/>
                  </a:lnTo>
                  <a:lnTo>
                    <a:pt x="504" y="1500"/>
                  </a:lnTo>
                  <a:lnTo>
                    <a:pt x="504" y="1494"/>
                  </a:lnTo>
                  <a:lnTo>
                    <a:pt x="504" y="1488"/>
                  </a:lnTo>
                  <a:lnTo>
                    <a:pt x="504" y="1482"/>
                  </a:lnTo>
                  <a:lnTo>
                    <a:pt x="504" y="1488"/>
                  </a:lnTo>
                  <a:lnTo>
                    <a:pt x="504" y="1494"/>
                  </a:lnTo>
                  <a:lnTo>
                    <a:pt x="504" y="1500"/>
                  </a:lnTo>
                  <a:lnTo>
                    <a:pt x="498" y="1500"/>
                  </a:lnTo>
                  <a:lnTo>
                    <a:pt x="492" y="1500"/>
                  </a:lnTo>
                  <a:lnTo>
                    <a:pt x="492" y="1494"/>
                  </a:lnTo>
                  <a:lnTo>
                    <a:pt x="492" y="1488"/>
                  </a:lnTo>
                  <a:lnTo>
                    <a:pt x="492" y="1494"/>
                  </a:lnTo>
                  <a:lnTo>
                    <a:pt x="492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00"/>
                  </a:lnTo>
                  <a:lnTo>
                    <a:pt x="510" y="1500"/>
                  </a:lnTo>
                  <a:lnTo>
                    <a:pt x="510" y="1506"/>
                  </a:lnTo>
                  <a:lnTo>
                    <a:pt x="516" y="1506"/>
                  </a:lnTo>
                  <a:lnTo>
                    <a:pt x="510" y="1506"/>
                  </a:lnTo>
                  <a:lnTo>
                    <a:pt x="510" y="1512"/>
                  </a:lnTo>
                  <a:lnTo>
                    <a:pt x="516" y="1506"/>
                  </a:lnTo>
                  <a:lnTo>
                    <a:pt x="522" y="1506"/>
                  </a:lnTo>
                  <a:lnTo>
                    <a:pt x="528" y="1506"/>
                  </a:lnTo>
                  <a:lnTo>
                    <a:pt x="528" y="1500"/>
                  </a:lnTo>
                  <a:lnTo>
                    <a:pt x="534" y="1500"/>
                  </a:lnTo>
                  <a:lnTo>
                    <a:pt x="534" y="1506"/>
                  </a:lnTo>
                  <a:lnTo>
                    <a:pt x="540" y="1512"/>
                  </a:lnTo>
                  <a:lnTo>
                    <a:pt x="540" y="1518"/>
                  </a:lnTo>
                  <a:lnTo>
                    <a:pt x="546" y="1518"/>
                  </a:lnTo>
                  <a:lnTo>
                    <a:pt x="540" y="1518"/>
                  </a:lnTo>
                  <a:lnTo>
                    <a:pt x="540" y="1524"/>
                  </a:lnTo>
                  <a:lnTo>
                    <a:pt x="534" y="1524"/>
                  </a:lnTo>
                  <a:lnTo>
                    <a:pt x="540" y="1524"/>
                  </a:lnTo>
                  <a:lnTo>
                    <a:pt x="546" y="1524"/>
                  </a:lnTo>
                  <a:lnTo>
                    <a:pt x="546" y="1530"/>
                  </a:lnTo>
                  <a:lnTo>
                    <a:pt x="540" y="1530"/>
                  </a:lnTo>
                  <a:lnTo>
                    <a:pt x="540" y="1536"/>
                  </a:lnTo>
                  <a:lnTo>
                    <a:pt x="534" y="1542"/>
                  </a:lnTo>
                  <a:lnTo>
                    <a:pt x="528" y="1542"/>
                  </a:lnTo>
                  <a:lnTo>
                    <a:pt x="522" y="1542"/>
                  </a:lnTo>
                  <a:lnTo>
                    <a:pt x="516" y="1542"/>
                  </a:lnTo>
                  <a:lnTo>
                    <a:pt x="510" y="1542"/>
                  </a:lnTo>
                  <a:lnTo>
                    <a:pt x="504" y="1542"/>
                  </a:lnTo>
                  <a:lnTo>
                    <a:pt x="492" y="1542"/>
                  </a:lnTo>
                  <a:lnTo>
                    <a:pt x="486" y="1536"/>
                  </a:lnTo>
                  <a:lnTo>
                    <a:pt x="480" y="1536"/>
                  </a:lnTo>
                  <a:lnTo>
                    <a:pt x="468" y="1536"/>
                  </a:lnTo>
                  <a:lnTo>
                    <a:pt x="468" y="1542"/>
                  </a:lnTo>
                  <a:lnTo>
                    <a:pt x="462" y="1542"/>
                  </a:lnTo>
                  <a:lnTo>
                    <a:pt x="456" y="1542"/>
                  </a:lnTo>
                  <a:lnTo>
                    <a:pt x="450" y="1542"/>
                  </a:lnTo>
                  <a:lnTo>
                    <a:pt x="444" y="1542"/>
                  </a:lnTo>
                  <a:lnTo>
                    <a:pt x="444" y="1536"/>
                  </a:lnTo>
                  <a:lnTo>
                    <a:pt x="450" y="1536"/>
                  </a:lnTo>
                  <a:lnTo>
                    <a:pt x="456" y="1536"/>
                  </a:lnTo>
                  <a:lnTo>
                    <a:pt x="450" y="1536"/>
                  </a:lnTo>
                  <a:lnTo>
                    <a:pt x="444" y="1536"/>
                  </a:lnTo>
                  <a:lnTo>
                    <a:pt x="444" y="1530"/>
                  </a:lnTo>
                  <a:lnTo>
                    <a:pt x="450" y="1530"/>
                  </a:lnTo>
                  <a:lnTo>
                    <a:pt x="456" y="1524"/>
                  </a:lnTo>
                  <a:lnTo>
                    <a:pt x="456" y="1518"/>
                  </a:lnTo>
                  <a:lnTo>
                    <a:pt x="462" y="1518"/>
                  </a:lnTo>
                  <a:lnTo>
                    <a:pt x="462" y="1524"/>
                  </a:lnTo>
                  <a:lnTo>
                    <a:pt x="468" y="1524"/>
                  </a:lnTo>
                  <a:lnTo>
                    <a:pt x="474" y="1524"/>
                  </a:lnTo>
                  <a:lnTo>
                    <a:pt x="474" y="1518"/>
                  </a:lnTo>
                  <a:lnTo>
                    <a:pt x="480" y="1518"/>
                  </a:lnTo>
                  <a:lnTo>
                    <a:pt x="474" y="1518"/>
                  </a:lnTo>
                  <a:lnTo>
                    <a:pt x="474" y="1524"/>
                  </a:lnTo>
                  <a:lnTo>
                    <a:pt x="468" y="1524"/>
                  </a:lnTo>
                  <a:lnTo>
                    <a:pt x="462" y="1518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62" y="1512"/>
                  </a:lnTo>
                  <a:lnTo>
                    <a:pt x="462" y="1506"/>
                  </a:lnTo>
                  <a:lnTo>
                    <a:pt x="456" y="1506"/>
                  </a:lnTo>
                  <a:lnTo>
                    <a:pt x="456" y="1512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50" y="1518"/>
                  </a:lnTo>
                  <a:lnTo>
                    <a:pt x="444" y="1518"/>
                  </a:lnTo>
                  <a:lnTo>
                    <a:pt x="444" y="1524"/>
                  </a:lnTo>
                  <a:lnTo>
                    <a:pt x="438" y="1524"/>
                  </a:lnTo>
                  <a:lnTo>
                    <a:pt x="438" y="1530"/>
                  </a:lnTo>
                  <a:lnTo>
                    <a:pt x="432" y="1530"/>
                  </a:lnTo>
                  <a:lnTo>
                    <a:pt x="432" y="1536"/>
                  </a:lnTo>
                  <a:lnTo>
                    <a:pt x="426" y="1530"/>
                  </a:lnTo>
                  <a:lnTo>
                    <a:pt x="420" y="1530"/>
                  </a:lnTo>
                  <a:lnTo>
                    <a:pt x="414" y="1530"/>
                  </a:lnTo>
                  <a:lnTo>
                    <a:pt x="414" y="1524"/>
                  </a:lnTo>
                  <a:lnTo>
                    <a:pt x="408" y="1518"/>
                  </a:lnTo>
                  <a:lnTo>
                    <a:pt x="414" y="1512"/>
                  </a:lnTo>
                  <a:lnTo>
                    <a:pt x="408" y="1512"/>
                  </a:lnTo>
                  <a:lnTo>
                    <a:pt x="408" y="1506"/>
                  </a:lnTo>
                  <a:lnTo>
                    <a:pt x="408" y="1500"/>
                  </a:lnTo>
                  <a:lnTo>
                    <a:pt x="408" y="1494"/>
                  </a:lnTo>
                  <a:lnTo>
                    <a:pt x="408" y="1488"/>
                  </a:lnTo>
                  <a:lnTo>
                    <a:pt x="408" y="1494"/>
                  </a:lnTo>
                  <a:lnTo>
                    <a:pt x="414" y="1494"/>
                  </a:lnTo>
                  <a:lnTo>
                    <a:pt x="420" y="1494"/>
                  </a:lnTo>
                  <a:lnTo>
                    <a:pt x="420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82"/>
                  </a:lnTo>
                  <a:lnTo>
                    <a:pt x="426" y="1476"/>
                  </a:lnTo>
                  <a:lnTo>
                    <a:pt x="432" y="1476"/>
                  </a:lnTo>
                  <a:lnTo>
                    <a:pt x="432" y="1470"/>
                  </a:lnTo>
                  <a:lnTo>
                    <a:pt x="438" y="1470"/>
                  </a:lnTo>
                  <a:lnTo>
                    <a:pt x="444" y="1464"/>
                  </a:lnTo>
                  <a:lnTo>
                    <a:pt x="450" y="1458"/>
                  </a:lnTo>
                  <a:lnTo>
                    <a:pt x="456" y="1458"/>
                  </a:lnTo>
                  <a:lnTo>
                    <a:pt x="462" y="1452"/>
                  </a:lnTo>
                  <a:lnTo>
                    <a:pt x="468" y="1452"/>
                  </a:lnTo>
                  <a:lnTo>
                    <a:pt x="468" y="1446"/>
                  </a:lnTo>
                  <a:lnTo>
                    <a:pt x="462" y="1440"/>
                  </a:lnTo>
                  <a:lnTo>
                    <a:pt x="456" y="1434"/>
                  </a:lnTo>
                  <a:lnTo>
                    <a:pt x="456" y="1428"/>
                  </a:lnTo>
                  <a:lnTo>
                    <a:pt x="456" y="1422"/>
                  </a:lnTo>
                  <a:lnTo>
                    <a:pt x="456" y="1416"/>
                  </a:lnTo>
                  <a:lnTo>
                    <a:pt x="450" y="1410"/>
                  </a:lnTo>
                  <a:lnTo>
                    <a:pt x="444" y="1410"/>
                  </a:lnTo>
                  <a:lnTo>
                    <a:pt x="450" y="1410"/>
                  </a:lnTo>
                  <a:lnTo>
                    <a:pt x="450" y="1404"/>
                  </a:lnTo>
                  <a:lnTo>
                    <a:pt x="456" y="1404"/>
                  </a:lnTo>
                  <a:lnTo>
                    <a:pt x="462" y="1404"/>
                  </a:lnTo>
                  <a:lnTo>
                    <a:pt x="468" y="1398"/>
                  </a:lnTo>
                  <a:lnTo>
                    <a:pt x="462" y="1398"/>
                  </a:lnTo>
                  <a:lnTo>
                    <a:pt x="462" y="1392"/>
                  </a:lnTo>
                  <a:lnTo>
                    <a:pt x="456" y="1392"/>
                  </a:lnTo>
                  <a:lnTo>
                    <a:pt x="456" y="1386"/>
                  </a:lnTo>
                  <a:lnTo>
                    <a:pt x="462" y="1386"/>
                  </a:lnTo>
                  <a:lnTo>
                    <a:pt x="468" y="1386"/>
                  </a:lnTo>
                  <a:lnTo>
                    <a:pt x="474" y="1386"/>
                  </a:lnTo>
                  <a:lnTo>
                    <a:pt x="468" y="1386"/>
                  </a:lnTo>
                  <a:lnTo>
                    <a:pt x="462" y="1386"/>
                  </a:lnTo>
                  <a:lnTo>
                    <a:pt x="456" y="1380"/>
                  </a:lnTo>
                  <a:lnTo>
                    <a:pt x="456" y="1374"/>
                  </a:lnTo>
                  <a:lnTo>
                    <a:pt x="462" y="1374"/>
                  </a:lnTo>
                  <a:lnTo>
                    <a:pt x="462" y="1368"/>
                  </a:lnTo>
                  <a:lnTo>
                    <a:pt x="456" y="1374"/>
                  </a:lnTo>
                  <a:lnTo>
                    <a:pt x="456" y="1368"/>
                  </a:lnTo>
                  <a:lnTo>
                    <a:pt x="456" y="1362"/>
                  </a:lnTo>
                  <a:lnTo>
                    <a:pt x="450" y="1362"/>
                  </a:lnTo>
                  <a:lnTo>
                    <a:pt x="450" y="1356"/>
                  </a:lnTo>
                  <a:lnTo>
                    <a:pt x="450" y="1350"/>
                  </a:lnTo>
                  <a:lnTo>
                    <a:pt x="450" y="1344"/>
                  </a:lnTo>
                  <a:lnTo>
                    <a:pt x="456" y="1344"/>
                  </a:lnTo>
                  <a:lnTo>
                    <a:pt x="456" y="1338"/>
                  </a:lnTo>
                  <a:lnTo>
                    <a:pt x="462" y="1338"/>
                  </a:lnTo>
                  <a:lnTo>
                    <a:pt x="462" y="1332"/>
                  </a:lnTo>
                  <a:lnTo>
                    <a:pt x="456" y="1332"/>
                  </a:lnTo>
                  <a:lnTo>
                    <a:pt x="456" y="1326"/>
                  </a:lnTo>
                  <a:lnTo>
                    <a:pt x="450" y="1326"/>
                  </a:lnTo>
                  <a:lnTo>
                    <a:pt x="444" y="1326"/>
                  </a:lnTo>
                  <a:lnTo>
                    <a:pt x="444" y="1332"/>
                  </a:lnTo>
                  <a:lnTo>
                    <a:pt x="438" y="1332"/>
                  </a:lnTo>
                  <a:lnTo>
                    <a:pt x="438" y="1338"/>
                  </a:lnTo>
                  <a:lnTo>
                    <a:pt x="432" y="1338"/>
                  </a:lnTo>
                  <a:lnTo>
                    <a:pt x="432" y="1344"/>
                  </a:lnTo>
                  <a:lnTo>
                    <a:pt x="432" y="1350"/>
                  </a:lnTo>
                  <a:lnTo>
                    <a:pt x="426" y="1356"/>
                  </a:lnTo>
                  <a:lnTo>
                    <a:pt x="426" y="1368"/>
                  </a:lnTo>
                  <a:lnTo>
                    <a:pt x="426" y="1374"/>
                  </a:lnTo>
                  <a:lnTo>
                    <a:pt x="426" y="1380"/>
                  </a:lnTo>
                  <a:lnTo>
                    <a:pt x="432" y="1386"/>
                  </a:lnTo>
                  <a:lnTo>
                    <a:pt x="432" y="1392"/>
                  </a:lnTo>
                  <a:lnTo>
                    <a:pt x="432" y="1398"/>
                  </a:lnTo>
                  <a:lnTo>
                    <a:pt x="426" y="1398"/>
                  </a:lnTo>
                  <a:lnTo>
                    <a:pt x="420" y="1398"/>
                  </a:lnTo>
                  <a:lnTo>
                    <a:pt x="414" y="1398"/>
                  </a:lnTo>
                  <a:lnTo>
                    <a:pt x="420" y="1398"/>
                  </a:lnTo>
                  <a:lnTo>
                    <a:pt x="414" y="1404"/>
                  </a:lnTo>
                  <a:lnTo>
                    <a:pt x="420" y="1404"/>
                  </a:lnTo>
                  <a:lnTo>
                    <a:pt x="414" y="1404"/>
                  </a:lnTo>
                  <a:lnTo>
                    <a:pt x="408" y="1404"/>
                  </a:lnTo>
                  <a:lnTo>
                    <a:pt x="402" y="1410"/>
                  </a:lnTo>
                  <a:lnTo>
                    <a:pt x="402" y="1404"/>
                  </a:lnTo>
                  <a:lnTo>
                    <a:pt x="396" y="1404"/>
                  </a:lnTo>
                  <a:lnTo>
                    <a:pt x="390" y="1404"/>
                  </a:lnTo>
                  <a:lnTo>
                    <a:pt x="384" y="1404"/>
                  </a:lnTo>
                  <a:lnTo>
                    <a:pt x="384" y="1398"/>
                  </a:lnTo>
                  <a:lnTo>
                    <a:pt x="384" y="1392"/>
                  </a:lnTo>
                  <a:lnTo>
                    <a:pt x="390" y="1392"/>
                  </a:lnTo>
                  <a:lnTo>
                    <a:pt x="390" y="1386"/>
                  </a:lnTo>
                  <a:lnTo>
                    <a:pt x="390" y="1380"/>
                  </a:lnTo>
                  <a:lnTo>
                    <a:pt x="396" y="1380"/>
                  </a:lnTo>
                  <a:lnTo>
                    <a:pt x="402" y="1380"/>
                  </a:lnTo>
                  <a:lnTo>
                    <a:pt x="408" y="1380"/>
                  </a:lnTo>
                  <a:lnTo>
                    <a:pt x="408" y="1374"/>
                  </a:lnTo>
                  <a:lnTo>
                    <a:pt x="414" y="1374"/>
                  </a:lnTo>
                  <a:lnTo>
                    <a:pt x="414" y="1368"/>
                  </a:lnTo>
                  <a:lnTo>
                    <a:pt x="414" y="1362"/>
                  </a:lnTo>
                  <a:lnTo>
                    <a:pt x="414" y="1368"/>
                  </a:lnTo>
                  <a:lnTo>
                    <a:pt x="414" y="1374"/>
                  </a:lnTo>
                  <a:lnTo>
                    <a:pt x="408" y="1374"/>
                  </a:lnTo>
                  <a:lnTo>
                    <a:pt x="402" y="1380"/>
                  </a:lnTo>
                  <a:lnTo>
                    <a:pt x="396" y="1380"/>
                  </a:lnTo>
                  <a:lnTo>
                    <a:pt x="396" y="1374"/>
                  </a:lnTo>
                  <a:lnTo>
                    <a:pt x="390" y="1374"/>
                  </a:lnTo>
                  <a:lnTo>
                    <a:pt x="390" y="1368"/>
                  </a:lnTo>
                  <a:lnTo>
                    <a:pt x="384" y="1368"/>
                  </a:lnTo>
                  <a:lnTo>
                    <a:pt x="384" y="1374"/>
                  </a:lnTo>
                  <a:lnTo>
                    <a:pt x="378" y="1374"/>
                  </a:lnTo>
                  <a:lnTo>
                    <a:pt x="378" y="1380"/>
                  </a:lnTo>
                  <a:lnTo>
                    <a:pt x="372" y="1380"/>
                  </a:lnTo>
                  <a:lnTo>
                    <a:pt x="366" y="1386"/>
                  </a:lnTo>
                  <a:lnTo>
                    <a:pt x="360" y="1386"/>
                  </a:lnTo>
                  <a:lnTo>
                    <a:pt x="354" y="1386"/>
                  </a:lnTo>
                  <a:lnTo>
                    <a:pt x="354" y="1380"/>
                  </a:lnTo>
                  <a:lnTo>
                    <a:pt x="348" y="1380"/>
                  </a:lnTo>
                  <a:lnTo>
                    <a:pt x="342" y="1380"/>
                  </a:lnTo>
                  <a:lnTo>
                    <a:pt x="342" y="1374"/>
                  </a:lnTo>
                  <a:lnTo>
                    <a:pt x="336" y="1368"/>
                  </a:lnTo>
                  <a:lnTo>
                    <a:pt x="342" y="1368"/>
                  </a:lnTo>
                  <a:lnTo>
                    <a:pt x="342" y="1362"/>
                  </a:lnTo>
                  <a:lnTo>
                    <a:pt x="348" y="1362"/>
                  </a:lnTo>
                  <a:lnTo>
                    <a:pt x="354" y="1362"/>
                  </a:lnTo>
                  <a:lnTo>
                    <a:pt x="354" y="1356"/>
                  </a:lnTo>
                  <a:lnTo>
                    <a:pt x="348" y="1356"/>
                  </a:lnTo>
                  <a:lnTo>
                    <a:pt x="348" y="1350"/>
                  </a:lnTo>
                  <a:lnTo>
                    <a:pt x="348" y="1344"/>
                  </a:lnTo>
                  <a:lnTo>
                    <a:pt x="354" y="1338"/>
                  </a:lnTo>
                  <a:lnTo>
                    <a:pt x="354" y="1332"/>
                  </a:lnTo>
                  <a:lnTo>
                    <a:pt x="354" y="1326"/>
                  </a:lnTo>
                  <a:lnTo>
                    <a:pt x="354" y="1320"/>
                  </a:lnTo>
                  <a:lnTo>
                    <a:pt x="354" y="1314"/>
                  </a:lnTo>
                  <a:lnTo>
                    <a:pt x="354" y="1308"/>
                  </a:lnTo>
                  <a:lnTo>
                    <a:pt x="348" y="1308"/>
                  </a:lnTo>
                  <a:lnTo>
                    <a:pt x="348" y="1302"/>
                  </a:lnTo>
                  <a:lnTo>
                    <a:pt x="342" y="1296"/>
                  </a:lnTo>
                  <a:lnTo>
                    <a:pt x="336" y="1296"/>
                  </a:lnTo>
                  <a:lnTo>
                    <a:pt x="336" y="1290"/>
                  </a:lnTo>
                  <a:lnTo>
                    <a:pt x="330" y="1290"/>
                  </a:lnTo>
                  <a:lnTo>
                    <a:pt x="324" y="1290"/>
                  </a:lnTo>
                  <a:lnTo>
                    <a:pt x="324" y="1284"/>
                  </a:lnTo>
                  <a:lnTo>
                    <a:pt x="318" y="1284"/>
                  </a:lnTo>
                  <a:lnTo>
                    <a:pt x="318" y="1278"/>
                  </a:lnTo>
                  <a:lnTo>
                    <a:pt x="312" y="1278"/>
                  </a:lnTo>
                  <a:lnTo>
                    <a:pt x="312" y="1272"/>
                  </a:lnTo>
                  <a:lnTo>
                    <a:pt x="312" y="1278"/>
                  </a:lnTo>
                  <a:lnTo>
                    <a:pt x="318" y="1284"/>
                  </a:lnTo>
                  <a:lnTo>
                    <a:pt x="324" y="1290"/>
                  </a:lnTo>
                  <a:lnTo>
                    <a:pt x="330" y="1290"/>
                  </a:lnTo>
                  <a:lnTo>
                    <a:pt x="330" y="1296"/>
                  </a:lnTo>
                  <a:lnTo>
                    <a:pt x="336" y="1296"/>
                  </a:lnTo>
                  <a:lnTo>
                    <a:pt x="336" y="1302"/>
                  </a:lnTo>
                  <a:lnTo>
                    <a:pt x="342" y="1302"/>
                  </a:lnTo>
                  <a:lnTo>
                    <a:pt x="348" y="1302"/>
                  </a:lnTo>
                  <a:lnTo>
                    <a:pt x="348" y="1308"/>
                  </a:lnTo>
                  <a:lnTo>
                    <a:pt x="348" y="1314"/>
                  </a:lnTo>
                  <a:lnTo>
                    <a:pt x="354" y="1314"/>
                  </a:lnTo>
                  <a:lnTo>
                    <a:pt x="354" y="1320"/>
                  </a:lnTo>
                  <a:lnTo>
                    <a:pt x="354" y="1326"/>
                  </a:lnTo>
                  <a:lnTo>
                    <a:pt x="348" y="1326"/>
                  </a:lnTo>
                  <a:lnTo>
                    <a:pt x="348" y="1332"/>
                  </a:lnTo>
                  <a:lnTo>
                    <a:pt x="348" y="1338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2" y="1350"/>
                  </a:lnTo>
                  <a:lnTo>
                    <a:pt x="336" y="1350"/>
                  </a:lnTo>
                  <a:lnTo>
                    <a:pt x="330" y="1350"/>
                  </a:lnTo>
                  <a:lnTo>
                    <a:pt x="330" y="1356"/>
                  </a:lnTo>
                  <a:lnTo>
                    <a:pt x="330" y="1350"/>
                  </a:lnTo>
                  <a:lnTo>
                    <a:pt x="324" y="1350"/>
                  </a:lnTo>
                  <a:lnTo>
                    <a:pt x="318" y="1344"/>
                  </a:lnTo>
                  <a:lnTo>
                    <a:pt x="318" y="1350"/>
                  </a:lnTo>
                  <a:lnTo>
                    <a:pt x="312" y="1344"/>
                  </a:lnTo>
                  <a:lnTo>
                    <a:pt x="312" y="1338"/>
                  </a:lnTo>
                  <a:lnTo>
                    <a:pt x="306" y="1338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6" y="1326"/>
                  </a:lnTo>
                  <a:lnTo>
                    <a:pt x="306" y="1320"/>
                  </a:lnTo>
                  <a:lnTo>
                    <a:pt x="306" y="1326"/>
                  </a:lnTo>
                  <a:lnTo>
                    <a:pt x="312" y="1326"/>
                  </a:lnTo>
                  <a:lnTo>
                    <a:pt x="312" y="1320"/>
                  </a:lnTo>
                  <a:lnTo>
                    <a:pt x="306" y="1320"/>
                  </a:lnTo>
                  <a:lnTo>
                    <a:pt x="300" y="1320"/>
                  </a:lnTo>
                  <a:lnTo>
                    <a:pt x="294" y="1320"/>
                  </a:lnTo>
                  <a:lnTo>
                    <a:pt x="294" y="1314"/>
                  </a:lnTo>
                  <a:lnTo>
                    <a:pt x="288" y="1314"/>
                  </a:lnTo>
                  <a:lnTo>
                    <a:pt x="288" y="1308"/>
                  </a:lnTo>
                  <a:lnTo>
                    <a:pt x="288" y="1302"/>
                  </a:lnTo>
                  <a:lnTo>
                    <a:pt x="294" y="1302"/>
                  </a:lnTo>
                  <a:lnTo>
                    <a:pt x="294" y="1296"/>
                  </a:lnTo>
                  <a:lnTo>
                    <a:pt x="288" y="1296"/>
                  </a:lnTo>
                  <a:lnTo>
                    <a:pt x="288" y="1290"/>
                  </a:lnTo>
                  <a:lnTo>
                    <a:pt x="288" y="1296"/>
                  </a:lnTo>
                  <a:lnTo>
                    <a:pt x="294" y="1302"/>
                  </a:lnTo>
                  <a:lnTo>
                    <a:pt x="288" y="1302"/>
                  </a:lnTo>
                  <a:lnTo>
                    <a:pt x="282" y="1296"/>
                  </a:lnTo>
                  <a:lnTo>
                    <a:pt x="276" y="1296"/>
                  </a:lnTo>
                  <a:lnTo>
                    <a:pt x="276" y="1290"/>
                  </a:lnTo>
                  <a:lnTo>
                    <a:pt x="270" y="1290"/>
                  </a:lnTo>
                  <a:lnTo>
                    <a:pt x="264" y="1284"/>
                  </a:lnTo>
                  <a:lnTo>
                    <a:pt x="264" y="1278"/>
                  </a:lnTo>
                  <a:lnTo>
                    <a:pt x="264" y="1272"/>
                  </a:lnTo>
                  <a:lnTo>
                    <a:pt x="264" y="1266"/>
                  </a:lnTo>
                  <a:lnTo>
                    <a:pt x="258" y="1266"/>
                  </a:lnTo>
                  <a:lnTo>
                    <a:pt x="252" y="1266"/>
                  </a:lnTo>
                  <a:lnTo>
                    <a:pt x="246" y="1260"/>
                  </a:lnTo>
                  <a:lnTo>
                    <a:pt x="240" y="1254"/>
                  </a:lnTo>
                  <a:lnTo>
                    <a:pt x="240" y="1260"/>
                  </a:lnTo>
                  <a:lnTo>
                    <a:pt x="240" y="1266"/>
                  </a:lnTo>
                  <a:lnTo>
                    <a:pt x="240" y="1272"/>
                  </a:lnTo>
                  <a:lnTo>
                    <a:pt x="246" y="1272"/>
                  </a:lnTo>
                  <a:lnTo>
                    <a:pt x="246" y="1278"/>
                  </a:lnTo>
                  <a:lnTo>
                    <a:pt x="246" y="1284"/>
                  </a:lnTo>
                  <a:lnTo>
                    <a:pt x="252" y="1284"/>
                  </a:lnTo>
                  <a:lnTo>
                    <a:pt x="252" y="1290"/>
                  </a:lnTo>
                  <a:lnTo>
                    <a:pt x="258" y="1296"/>
                  </a:lnTo>
                  <a:lnTo>
                    <a:pt x="264" y="1302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58" y="1314"/>
                  </a:lnTo>
                  <a:lnTo>
                    <a:pt x="258" y="1308"/>
                  </a:lnTo>
                  <a:lnTo>
                    <a:pt x="252" y="1308"/>
                  </a:lnTo>
                  <a:lnTo>
                    <a:pt x="252" y="1302"/>
                  </a:lnTo>
                  <a:lnTo>
                    <a:pt x="246" y="1302"/>
                  </a:lnTo>
                  <a:lnTo>
                    <a:pt x="246" y="1296"/>
                  </a:lnTo>
                  <a:lnTo>
                    <a:pt x="240" y="1296"/>
                  </a:lnTo>
                  <a:lnTo>
                    <a:pt x="240" y="1290"/>
                  </a:lnTo>
                  <a:lnTo>
                    <a:pt x="234" y="1284"/>
                  </a:lnTo>
                  <a:lnTo>
                    <a:pt x="234" y="1278"/>
                  </a:lnTo>
                  <a:close/>
                  <a:moveTo>
                    <a:pt x="444" y="1332"/>
                  </a:moveTo>
                  <a:lnTo>
                    <a:pt x="450" y="1326"/>
                  </a:lnTo>
                  <a:lnTo>
                    <a:pt x="456" y="1326"/>
                  </a:lnTo>
                  <a:lnTo>
                    <a:pt x="456" y="1332"/>
                  </a:lnTo>
                  <a:lnTo>
                    <a:pt x="456" y="1338"/>
                  </a:lnTo>
                  <a:lnTo>
                    <a:pt x="450" y="1338"/>
                  </a:lnTo>
                  <a:lnTo>
                    <a:pt x="444" y="1338"/>
                  </a:lnTo>
                  <a:lnTo>
                    <a:pt x="444" y="1332"/>
                  </a:lnTo>
                  <a:close/>
                  <a:moveTo>
                    <a:pt x="444" y="1368"/>
                  </a:moveTo>
                  <a:lnTo>
                    <a:pt x="456" y="1368"/>
                  </a:lnTo>
                  <a:lnTo>
                    <a:pt x="456" y="1374"/>
                  </a:lnTo>
                  <a:lnTo>
                    <a:pt x="444" y="1374"/>
                  </a:lnTo>
                  <a:lnTo>
                    <a:pt x="444" y="1368"/>
                  </a:lnTo>
                  <a:close/>
                  <a:moveTo>
                    <a:pt x="444" y="1386"/>
                  </a:moveTo>
                  <a:lnTo>
                    <a:pt x="444" y="1380"/>
                  </a:lnTo>
                  <a:lnTo>
                    <a:pt x="444" y="1374"/>
                  </a:lnTo>
                  <a:lnTo>
                    <a:pt x="444" y="1380"/>
                  </a:lnTo>
                  <a:lnTo>
                    <a:pt x="450" y="1380"/>
                  </a:lnTo>
                  <a:lnTo>
                    <a:pt x="456" y="1380"/>
                  </a:lnTo>
                  <a:lnTo>
                    <a:pt x="456" y="1386"/>
                  </a:lnTo>
                  <a:lnTo>
                    <a:pt x="456" y="1392"/>
                  </a:lnTo>
                  <a:lnTo>
                    <a:pt x="462" y="1392"/>
                  </a:lnTo>
                  <a:lnTo>
                    <a:pt x="462" y="1398"/>
                  </a:lnTo>
                  <a:lnTo>
                    <a:pt x="462" y="1404"/>
                  </a:lnTo>
                  <a:lnTo>
                    <a:pt x="456" y="1404"/>
                  </a:lnTo>
                  <a:lnTo>
                    <a:pt x="450" y="1404"/>
                  </a:lnTo>
                  <a:lnTo>
                    <a:pt x="450" y="1398"/>
                  </a:lnTo>
                  <a:lnTo>
                    <a:pt x="444" y="1398"/>
                  </a:lnTo>
                  <a:lnTo>
                    <a:pt x="444" y="1392"/>
                  </a:lnTo>
                  <a:lnTo>
                    <a:pt x="444" y="1386"/>
                  </a:lnTo>
                  <a:close/>
                  <a:moveTo>
                    <a:pt x="438" y="1362"/>
                  </a:moveTo>
                  <a:lnTo>
                    <a:pt x="444" y="1356"/>
                  </a:lnTo>
                  <a:lnTo>
                    <a:pt x="450" y="1356"/>
                  </a:lnTo>
                  <a:lnTo>
                    <a:pt x="450" y="1362"/>
                  </a:lnTo>
                  <a:lnTo>
                    <a:pt x="450" y="1368"/>
                  </a:lnTo>
                  <a:lnTo>
                    <a:pt x="444" y="1368"/>
                  </a:lnTo>
                  <a:lnTo>
                    <a:pt x="444" y="1362"/>
                  </a:lnTo>
                  <a:lnTo>
                    <a:pt x="438" y="1362"/>
                  </a:lnTo>
                  <a:close/>
                  <a:moveTo>
                    <a:pt x="438" y="1350"/>
                  </a:moveTo>
                  <a:lnTo>
                    <a:pt x="438" y="1344"/>
                  </a:lnTo>
                  <a:lnTo>
                    <a:pt x="438" y="1338"/>
                  </a:lnTo>
                  <a:lnTo>
                    <a:pt x="444" y="1338"/>
                  </a:lnTo>
                  <a:lnTo>
                    <a:pt x="450" y="1338"/>
                  </a:lnTo>
                  <a:lnTo>
                    <a:pt x="456" y="1338"/>
                  </a:lnTo>
                  <a:lnTo>
                    <a:pt x="450" y="1344"/>
                  </a:lnTo>
                  <a:lnTo>
                    <a:pt x="444" y="1350"/>
                  </a:lnTo>
                  <a:lnTo>
                    <a:pt x="438" y="1350"/>
                  </a:lnTo>
                  <a:close/>
                  <a:moveTo>
                    <a:pt x="432" y="1380"/>
                  </a:moveTo>
                  <a:lnTo>
                    <a:pt x="432" y="1368"/>
                  </a:lnTo>
                  <a:lnTo>
                    <a:pt x="432" y="1362"/>
                  </a:lnTo>
                  <a:lnTo>
                    <a:pt x="432" y="1356"/>
                  </a:lnTo>
                  <a:lnTo>
                    <a:pt x="438" y="1356"/>
                  </a:lnTo>
                  <a:lnTo>
                    <a:pt x="438" y="1362"/>
                  </a:lnTo>
                  <a:lnTo>
                    <a:pt x="438" y="1368"/>
                  </a:lnTo>
                  <a:lnTo>
                    <a:pt x="438" y="1374"/>
                  </a:lnTo>
                  <a:lnTo>
                    <a:pt x="438" y="1380"/>
                  </a:lnTo>
                  <a:lnTo>
                    <a:pt x="438" y="1386"/>
                  </a:lnTo>
                  <a:lnTo>
                    <a:pt x="438" y="1380"/>
                  </a:lnTo>
                  <a:lnTo>
                    <a:pt x="432" y="1380"/>
                  </a:lnTo>
                  <a:close/>
                  <a:moveTo>
                    <a:pt x="246" y="1272"/>
                  </a:moveTo>
                  <a:lnTo>
                    <a:pt x="252" y="1272"/>
                  </a:lnTo>
                  <a:lnTo>
                    <a:pt x="252" y="1278"/>
                  </a:lnTo>
                  <a:lnTo>
                    <a:pt x="246" y="1278"/>
                  </a:lnTo>
                  <a:lnTo>
                    <a:pt x="246" y="1272"/>
                  </a:lnTo>
                  <a:close/>
                  <a:moveTo>
                    <a:pt x="426" y="1416"/>
                  </a:moveTo>
                  <a:lnTo>
                    <a:pt x="432" y="1410"/>
                  </a:lnTo>
                  <a:lnTo>
                    <a:pt x="438" y="1410"/>
                  </a:lnTo>
                  <a:lnTo>
                    <a:pt x="438" y="1416"/>
                  </a:lnTo>
                  <a:lnTo>
                    <a:pt x="438" y="1422"/>
                  </a:lnTo>
                  <a:lnTo>
                    <a:pt x="432" y="1422"/>
                  </a:lnTo>
                  <a:lnTo>
                    <a:pt x="426" y="1422"/>
                  </a:lnTo>
                  <a:lnTo>
                    <a:pt x="426" y="1416"/>
                  </a:lnTo>
                  <a:close/>
                  <a:moveTo>
                    <a:pt x="246" y="1266"/>
                  </a:moveTo>
                  <a:lnTo>
                    <a:pt x="252" y="1266"/>
                  </a:lnTo>
                  <a:lnTo>
                    <a:pt x="258" y="1272"/>
                  </a:lnTo>
                  <a:lnTo>
                    <a:pt x="258" y="1278"/>
                  </a:lnTo>
                  <a:lnTo>
                    <a:pt x="258" y="1284"/>
                  </a:lnTo>
                  <a:lnTo>
                    <a:pt x="252" y="1284"/>
                  </a:lnTo>
                  <a:lnTo>
                    <a:pt x="252" y="1278"/>
                  </a:lnTo>
                  <a:lnTo>
                    <a:pt x="252" y="1272"/>
                  </a:lnTo>
                  <a:lnTo>
                    <a:pt x="252" y="1266"/>
                  </a:lnTo>
                  <a:lnTo>
                    <a:pt x="246" y="1266"/>
                  </a:lnTo>
                  <a:close/>
                  <a:moveTo>
                    <a:pt x="408" y="1458"/>
                  </a:moveTo>
                  <a:lnTo>
                    <a:pt x="408" y="1452"/>
                  </a:lnTo>
                  <a:lnTo>
                    <a:pt x="414" y="1452"/>
                  </a:lnTo>
                  <a:lnTo>
                    <a:pt x="414" y="1446"/>
                  </a:lnTo>
                  <a:lnTo>
                    <a:pt x="414" y="1440"/>
                  </a:lnTo>
                  <a:lnTo>
                    <a:pt x="420" y="1440"/>
                  </a:lnTo>
                  <a:lnTo>
                    <a:pt x="420" y="1434"/>
                  </a:lnTo>
                  <a:lnTo>
                    <a:pt x="420" y="1428"/>
                  </a:lnTo>
                  <a:lnTo>
                    <a:pt x="420" y="1422"/>
                  </a:lnTo>
                  <a:lnTo>
                    <a:pt x="426" y="1422"/>
                  </a:lnTo>
                  <a:lnTo>
                    <a:pt x="432" y="1428"/>
                  </a:lnTo>
                  <a:lnTo>
                    <a:pt x="438" y="1428"/>
                  </a:lnTo>
                  <a:lnTo>
                    <a:pt x="438" y="1434"/>
                  </a:lnTo>
                  <a:lnTo>
                    <a:pt x="438" y="1428"/>
                  </a:lnTo>
                  <a:lnTo>
                    <a:pt x="438" y="1422"/>
                  </a:lnTo>
                  <a:lnTo>
                    <a:pt x="444" y="1416"/>
                  </a:lnTo>
                  <a:lnTo>
                    <a:pt x="444" y="1410"/>
                  </a:lnTo>
                  <a:lnTo>
                    <a:pt x="450" y="1416"/>
                  </a:lnTo>
                  <a:lnTo>
                    <a:pt x="456" y="1416"/>
                  </a:lnTo>
                  <a:lnTo>
                    <a:pt x="456" y="1422"/>
                  </a:lnTo>
                  <a:lnTo>
                    <a:pt x="456" y="1428"/>
                  </a:lnTo>
                  <a:lnTo>
                    <a:pt x="456" y="1434"/>
                  </a:lnTo>
                  <a:lnTo>
                    <a:pt x="456" y="1440"/>
                  </a:lnTo>
                  <a:lnTo>
                    <a:pt x="462" y="1440"/>
                  </a:lnTo>
                  <a:lnTo>
                    <a:pt x="462" y="1446"/>
                  </a:lnTo>
                  <a:lnTo>
                    <a:pt x="462" y="1452"/>
                  </a:lnTo>
                  <a:lnTo>
                    <a:pt x="456" y="1452"/>
                  </a:lnTo>
                  <a:lnTo>
                    <a:pt x="450" y="1452"/>
                  </a:lnTo>
                  <a:lnTo>
                    <a:pt x="444" y="1446"/>
                  </a:lnTo>
                  <a:lnTo>
                    <a:pt x="444" y="1452"/>
                  </a:lnTo>
                  <a:lnTo>
                    <a:pt x="450" y="1452"/>
                  </a:lnTo>
                  <a:lnTo>
                    <a:pt x="450" y="1458"/>
                  </a:lnTo>
                  <a:lnTo>
                    <a:pt x="444" y="1458"/>
                  </a:lnTo>
                  <a:lnTo>
                    <a:pt x="438" y="1464"/>
                  </a:lnTo>
                  <a:lnTo>
                    <a:pt x="438" y="1458"/>
                  </a:lnTo>
                  <a:lnTo>
                    <a:pt x="432" y="1458"/>
                  </a:lnTo>
                  <a:lnTo>
                    <a:pt x="426" y="1458"/>
                  </a:lnTo>
                  <a:lnTo>
                    <a:pt x="432" y="1458"/>
                  </a:lnTo>
                  <a:lnTo>
                    <a:pt x="438" y="1464"/>
                  </a:lnTo>
                  <a:lnTo>
                    <a:pt x="432" y="1464"/>
                  </a:lnTo>
                  <a:lnTo>
                    <a:pt x="432" y="1470"/>
                  </a:lnTo>
                  <a:lnTo>
                    <a:pt x="426" y="1470"/>
                  </a:lnTo>
                  <a:lnTo>
                    <a:pt x="420" y="1476"/>
                  </a:lnTo>
                  <a:lnTo>
                    <a:pt x="420" y="1470"/>
                  </a:lnTo>
                  <a:lnTo>
                    <a:pt x="414" y="1470"/>
                  </a:lnTo>
                  <a:lnTo>
                    <a:pt x="414" y="1464"/>
                  </a:lnTo>
                  <a:lnTo>
                    <a:pt x="414" y="1458"/>
                  </a:lnTo>
                  <a:lnTo>
                    <a:pt x="408" y="1458"/>
                  </a:lnTo>
                  <a:close/>
                  <a:moveTo>
                    <a:pt x="270" y="1326"/>
                  </a:moveTo>
                  <a:lnTo>
                    <a:pt x="270" y="1320"/>
                  </a:lnTo>
                  <a:lnTo>
                    <a:pt x="276" y="1320"/>
                  </a:lnTo>
                  <a:lnTo>
                    <a:pt x="282" y="1326"/>
                  </a:lnTo>
                  <a:lnTo>
                    <a:pt x="288" y="1326"/>
                  </a:lnTo>
                  <a:lnTo>
                    <a:pt x="288" y="1332"/>
                  </a:lnTo>
                  <a:lnTo>
                    <a:pt x="288" y="1338"/>
                  </a:lnTo>
                  <a:lnTo>
                    <a:pt x="288" y="1344"/>
                  </a:lnTo>
                  <a:lnTo>
                    <a:pt x="282" y="1344"/>
                  </a:lnTo>
                  <a:lnTo>
                    <a:pt x="282" y="1338"/>
                  </a:lnTo>
                  <a:lnTo>
                    <a:pt x="276" y="1338"/>
                  </a:lnTo>
                  <a:lnTo>
                    <a:pt x="276" y="1332"/>
                  </a:lnTo>
                  <a:lnTo>
                    <a:pt x="270" y="1332"/>
                  </a:lnTo>
                  <a:lnTo>
                    <a:pt x="270" y="1326"/>
                  </a:lnTo>
                  <a:close/>
                  <a:moveTo>
                    <a:pt x="288" y="1458"/>
                  </a:moveTo>
                  <a:lnTo>
                    <a:pt x="294" y="1458"/>
                  </a:lnTo>
                  <a:lnTo>
                    <a:pt x="294" y="1452"/>
                  </a:lnTo>
                  <a:lnTo>
                    <a:pt x="294" y="1446"/>
                  </a:lnTo>
                  <a:lnTo>
                    <a:pt x="300" y="1446"/>
                  </a:lnTo>
                  <a:lnTo>
                    <a:pt x="300" y="1440"/>
                  </a:lnTo>
                  <a:lnTo>
                    <a:pt x="306" y="1440"/>
                  </a:lnTo>
                  <a:lnTo>
                    <a:pt x="306" y="1446"/>
                  </a:lnTo>
                  <a:lnTo>
                    <a:pt x="312" y="1452"/>
                  </a:lnTo>
                  <a:lnTo>
                    <a:pt x="306" y="1452"/>
                  </a:lnTo>
                  <a:lnTo>
                    <a:pt x="306" y="1458"/>
                  </a:lnTo>
                  <a:lnTo>
                    <a:pt x="312" y="1464"/>
                  </a:lnTo>
                  <a:lnTo>
                    <a:pt x="306" y="1464"/>
                  </a:lnTo>
                  <a:lnTo>
                    <a:pt x="306" y="1470"/>
                  </a:lnTo>
                  <a:lnTo>
                    <a:pt x="300" y="1476"/>
                  </a:lnTo>
                  <a:lnTo>
                    <a:pt x="294" y="1476"/>
                  </a:lnTo>
                  <a:lnTo>
                    <a:pt x="294" y="1470"/>
                  </a:lnTo>
                  <a:lnTo>
                    <a:pt x="288" y="1470"/>
                  </a:lnTo>
                  <a:lnTo>
                    <a:pt x="288" y="1464"/>
                  </a:lnTo>
                  <a:lnTo>
                    <a:pt x="288" y="1458"/>
                  </a:lnTo>
                  <a:close/>
                  <a:moveTo>
                    <a:pt x="270" y="1296"/>
                  </a:moveTo>
                  <a:lnTo>
                    <a:pt x="276" y="1296"/>
                  </a:lnTo>
                  <a:lnTo>
                    <a:pt x="282" y="1296"/>
                  </a:lnTo>
                  <a:lnTo>
                    <a:pt x="288" y="1296"/>
                  </a:lnTo>
                  <a:lnTo>
                    <a:pt x="288" y="1302"/>
                  </a:lnTo>
                  <a:lnTo>
                    <a:pt x="282" y="1308"/>
                  </a:lnTo>
                  <a:lnTo>
                    <a:pt x="276" y="1308"/>
                  </a:lnTo>
                  <a:lnTo>
                    <a:pt x="276" y="1302"/>
                  </a:lnTo>
                  <a:lnTo>
                    <a:pt x="270" y="129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4" name="Freeform 19">
              <a:extLst>
                <a:ext uri="{FF2B5EF4-FFF2-40B4-BE49-F238E27FC236}">
                  <a16:creationId xmlns:a16="http://schemas.microsoft.com/office/drawing/2014/main" id="{5B9020B8-E1C1-4611-A248-9642BBD69C9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7043" y="3765821"/>
              <a:ext cx="333193" cy="398097"/>
            </a:xfrm>
            <a:custGeom>
              <a:avLst/>
              <a:gdLst>
                <a:gd name="T0" fmla="*/ 30 w 624"/>
                <a:gd name="T1" fmla="*/ 61 h 750"/>
                <a:gd name="T2" fmla="*/ 27 w 624"/>
                <a:gd name="T3" fmla="*/ 62 h 750"/>
                <a:gd name="T4" fmla="*/ 23 w 624"/>
                <a:gd name="T5" fmla="*/ 59 h 750"/>
                <a:gd name="T6" fmla="*/ 20 w 624"/>
                <a:gd name="T7" fmla="*/ 58 h 750"/>
                <a:gd name="T8" fmla="*/ 19 w 624"/>
                <a:gd name="T9" fmla="*/ 56 h 750"/>
                <a:gd name="T10" fmla="*/ 17 w 624"/>
                <a:gd name="T11" fmla="*/ 55 h 750"/>
                <a:gd name="T12" fmla="*/ 16 w 624"/>
                <a:gd name="T13" fmla="*/ 51 h 750"/>
                <a:gd name="T14" fmla="*/ 14 w 624"/>
                <a:gd name="T15" fmla="*/ 48 h 750"/>
                <a:gd name="T16" fmla="*/ 12 w 624"/>
                <a:gd name="T17" fmla="*/ 46 h 750"/>
                <a:gd name="T18" fmla="*/ 12 w 624"/>
                <a:gd name="T19" fmla="*/ 44 h 750"/>
                <a:gd name="T20" fmla="*/ 11 w 624"/>
                <a:gd name="T21" fmla="*/ 41 h 750"/>
                <a:gd name="T22" fmla="*/ 8 w 624"/>
                <a:gd name="T23" fmla="*/ 38 h 750"/>
                <a:gd name="T24" fmla="*/ 6 w 624"/>
                <a:gd name="T25" fmla="*/ 38 h 750"/>
                <a:gd name="T26" fmla="*/ 6 w 624"/>
                <a:gd name="T27" fmla="*/ 35 h 750"/>
                <a:gd name="T28" fmla="*/ 7 w 624"/>
                <a:gd name="T29" fmla="*/ 31 h 750"/>
                <a:gd name="T30" fmla="*/ 10 w 624"/>
                <a:gd name="T31" fmla="*/ 27 h 750"/>
                <a:gd name="T32" fmla="*/ 8 w 624"/>
                <a:gd name="T33" fmla="*/ 23 h 750"/>
                <a:gd name="T34" fmla="*/ 6 w 624"/>
                <a:gd name="T35" fmla="*/ 23 h 750"/>
                <a:gd name="T36" fmla="*/ 3 w 624"/>
                <a:gd name="T37" fmla="*/ 22 h 750"/>
                <a:gd name="T38" fmla="*/ 0 w 624"/>
                <a:gd name="T39" fmla="*/ 22 h 750"/>
                <a:gd name="T40" fmla="*/ 0 w 624"/>
                <a:gd name="T41" fmla="*/ 19 h 750"/>
                <a:gd name="T42" fmla="*/ 1 w 624"/>
                <a:gd name="T43" fmla="*/ 18 h 750"/>
                <a:gd name="T44" fmla="*/ 2 w 624"/>
                <a:gd name="T45" fmla="*/ 14 h 750"/>
                <a:gd name="T46" fmla="*/ 4 w 624"/>
                <a:gd name="T47" fmla="*/ 17 h 750"/>
                <a:gd name="T48" fmla="*/ 6 w 624"/>
                <a:gd name="T49" fmla="*/ 17 h 750"/>
                <a:gd name="T50" fmla="*/ 7 w 624"/>
                <a:gd name="T51" fmla="*/ 17 h 750"/>
                <a:gd name="T52" fmla="*/ 9 w 624"/>
                <a:gd name="T53" fmla="*/ 15 h 750"/>
                <a:gd name="T54" fmla="*/ 10 w 624"/>
                <a:gd name="T55" fmla="*/ 14 h 750"/>
                <a:gd name="T56" fmla="*/ 11 w 624"/>
                <a:gd name="T57" fmla="*/ 12 h 750"/>
                <a:gd name="T58" fmla="*/ 13 w 624"/>
                <a:gd name="T59" fmla="*/ 12 h 750"/>
                <a:gd name="T60" fmla="*/ 18 w 624"/>
                <a:gd name="T61" fmla="*/ 10 h 750"/>
                <a:gd name="T62" fmla="*/ 22 w 624"/>
                <a:gd name="T63" fmla="*/ 4 h 750"/>
                <a:gd name="T64" fmla="*/ 24 w 624"/>
                <a:gd name="T65" fmla="*/ 4 h 750"/>
                <a:gd name="T66" fmla="*/ 26 w 624"/>
                <a:gd name="T67" fmla="*/ 2 h 750"/>
                <a:gd name="T68" fmla="*/ 29 w 624"/>
                <a:gd name="T69" fmla="*/ 0 h 750"/>
                <a:gd name="T70" fmla="*/ 32 w 624"/>
                <a:gd name="T71" fmla="*/ 2 h 750"/>
                <a:gd name="T72" fmla="*/ 34 w 624"/>
                <a:gd name="T73" fmla="*/ 5 h 750"/>
                <a:gd name="T74" fmla="*/ 35 w 624"/>
                <a:gd name="T75" fmla="*/ 8 h 750"/>
                <a:gd name="T76" fmla="*/ 39 w 624"/>
                <a:gd name="T77" fmla="*/ 11 h 750"/>
                <a:gd name="T78" fmla="*/ 42 w 624"/>
                <a:gd name="T79" fmla="*/ 14 h 750"/>
                <a:gd name="T80" fmla="*/ 46 w 624"/>
                <a:gd name="T81" fmla="*/ 12 h 750"/>
                <a:gd name="T82" fmla="*/ 49 w 624"/>
                <a:gd name="T83" fmla="*/ 12 h 750"/>
                <a:gd name="T84" fmla="*/ 51 w 624"/>
                <a:gd name="T85" fmla="*/ 12 h 750"/>
                <a:gd name="T86" fmla="*/ 53 w 624"/>
                <a:gd name="T87" fmla="*/ 12 h 750"/>
                <a:gd name="T88" fmla="*/ 53 w 624"/>
                <a:gd name="T89" fmla="*/ 17 h 750"/>
                <a:gd name="T90" fmla="*/ 51 w 624"/>
                <a:gd name="T91" fmla="*/ 20 h 750"/>
                <a:gd name="T92" fmla="*/ 49 w 624"/>
                <a:gd name="T93" fmla="*/ 26 h 750"/>
                <a:gd name="T94" fmla="*/ 47 w 624"/>
                <a:gd name="T95" fmla="*/ 26 h 750"/>
                <a:gd name="T96" fmla="*/ 44 w 624"/>
                <a:gd name="T97" fmla="*/ 26 h 750"/>
                <a:gd name="T98" fmla="*/ 43 w 624"/>
                <a:gd name="T99" fmla="*/ 27 h 750"/>
                <a:gd name="T100" fmla="*/ 45 w 624"/>
                <a:gd name="T101" fmla="*/ 32 h 750"/>
                <a:gd name="T102" fmla="*/ 44 w 624"/>
                <a:gd name="T103" fmla="*/ 43 h 750"/>
                <a:gd name="T104" fmla="*/ 44 w 624"/>
                <a:gd name="T105" fmla="*/ 47 h 750"/>
                <a:gd name="T106" fmla="*/ 44 w 624"/>
                <a:gd name="T107" fmla="*/ 54 h 750"/>
                <a:gd name="T108" fmla="*/ 41 w 624"/>
                <a:gd name="T109" fmla="*/ 60 h 750"/>
                <a:gd name="T110" fmla="*/ 42 w 624"/>
                <a:gd name="T111" fmla="*/ 62 h 750"/>
                <a:gd name="T112" fmla="*/ 43 w 624"/>
                <a:gd name="T113" fmla="*/ 65 h 750"/>
                <a:gd name="T114" fmla="*/ 39 w 624"/>
                <a:gd name="T115" fmla="*/ 63 h 750"/>
                <a:gd name="T116" fmla="*/ 35 w 624"/>
                <a:gd name="T117" fmla="*/ 62 h 75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24"/>
                <a:gd name="T178" fmla="*/ 0 h 750"/>
                <a:gd name="T179" fmla="*/ 624 w 624"/>
                <a:gd name="T180" fmla="*/ 750 h 75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24" h="750">
                  <a:moveTo>
                    <a:pt x="390" y="702"/>
                  </a:moveTo>
                  <a:lnTo>
                    <a:pt x="372" y="696"/>
                  </a:lnTo>
                  <a:lnTo>
                    <a:pt x="360" y="702"/>
                  </a:lnTo>
                  <a:lnTo>
                    <a:pt x="348" y="702"/>
                  </a:lnTo>
                  <a:lnTo>
                    <a:pt x="336" y="702"/>
                  </a:lnTo>
                  <a:lnTo>
                    <a:pt x="330" y="702"/>
                  </a:lnTo>
                  <a:lnTo>
                    <a:pt x="318" y="708"/>
                  </a:lnTo>
                  <a:lnTo>
                    <a:pt x="306" y="708"/>
                  </a:lnTo>
                  <a:lnTo>
                    <a:pt x="294" y="690"/>
                  </a:lnTo>
                  <a:lnTo>
                    <a:pt x="294" y="684"/>
                  </a:lnTo>
                  <a:lnTo>
                    <a:pt x="276" y="684"/>
                  </a:lnTo>
                  <a:lnTo>
                    <a:pt x="270" y="678"/>
                  </a:lnTo>
                  <a:lnTo>
                    <a:pt x="240" y="672"/>
                  </a:lnTo>
                  <a:lnTo>
                    <a:pt x="234" y="672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6"/>
                  </a:lnTo>
                  <a:lnTo>
                    <a:pt x="216" y="660"/>
                  </a:lnTo>
                  <a:lnTo>
                    <a:pt x="216" y="654"/>
                  </a:lnTo>
                  <a:lnTo>
                    <a:pt x="216" y="642"/>
                  </a:lnTo>
                  <a:lnTo>
                    <a:pt x="210" y="642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36"/>
                  </a:lnTo>
                  <a:lnTo>
                    <a:pt x="192" y="624"/>
                  </a:lnTo>
                  <a:lnTo>
                    <a:pt x="186" y="612"/>
                  </a:lnTo>
                  <a:lnTo>
                    <a:pt x="186" y="600"/>
                  </a:lnTo>
                  <a:lnTo>
                    <a:pt x="186" y="588"/>
                  </a:lnTo>
                  <a:lnTo>
                    <a:pt x="180" y="582"/>
                  </a:lnTo>
                  <a:lnTo>
                    <a:pt x="180" y="570"/>
                  </a:lnTo>
                  <a:lnTo>
                    <a:pt x="174" y="558"/>
                  </a:lnTo>
                  <a:lnTo>
                    <a:pt x="162" y="558"/>
                  </a:lnTo>
                  <a:lnTo>
                    <a:pt x="144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38" y="534"/>
                  </a:lnTo>
                  <a:lnTo>
                    <a:pt x="138" y="528"/>
                  </a:lnTo>
                  <a:lnTo>
                    <a:pt x="132" y="522"/>
                  </a:lnTo>
                  <a:lnTo>
                    <a:pt x="144" y="522"/>
                  </a:lnTo>
                  <a:lnTo>
                    <a:pt x="144" y="510"/>
                  </a:lnTo>
                  <a:lnTo>
                    <a:pt x="144" y="504"/>
                  </a:lnTo>
                  <a:lnTo>
                    <a:pt x="138" y="492"/>
                  </a:lnTo>
                  <a:lnTo>
                    <a:pt x="138" y="474"/>
                  </a:lnTo>
                  <a:lnTo>
                    <a:pt x="126" y="468"/>
                  </a:lnTo>
                  <a:lnTo>
                    <a:pt x="120" y="456"/>
                  </a:lnTo>
                  <a:lnTo>
                    <a:pt x="114" y="450"/>
                  </a:lnTo>
                  <a:lnTo>
                    <a:pt x="108" y="438"/>
                  </a:lnTo>
                  <a:lnTo>
                    <a:pt x="96" y="432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60" y="426"/>
                  </a:lnTo>
                  <a:lnTo>
                    <a:pt x="66" y="420"/>
                  </a:lnTo>
                  <a:lnTo>
                    <a:pt x="66" y="408"/>
                  </a:lnTo>
                  <a:lnTo>
                    <a:pt x="72" y="408"/>
                  </a:lnTo>
                  <a:lnTo>
                    <a:pt x="72" y="384"/>
                  </a:lnTo>
                  <a:lnTo>
                    <a:pt x="72" y="366"/>
                  </a:lnTo>
                  <a:lnTo>
                    <a:pt x="78" y="354"/>
                  </a:lnTo>
                  <a:lnTo>
                    <a:pt x="84" y="354"/>
                  </a:lnTo>
                  <a:lnTo>
                    <a:pt x="90" y="348"/>
                  </a:lnTo>
                  <a:lnTo>
                    <a:pt x="102" y="336"/>
                  </a:lnTo>
                  <a:lnTo>
                    <a:pt x="114" y="324"/>
                  </a:lnTo>
                  <a:lnTo>
                    <a:pt x="120" y="312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20" y="276"/>
                  </a:lnTo>
                  <a:lnTo>
                    <a:pt x="96" y="270"/>
                  </a:lnTo>
                  <a:lnTo>
                    <a:pt x="84" y="270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72" y="264"/>
                  </a:lnTo>
                  <a:lnTo>
                    <a:pt x="60" y="252"/>
                  </a:lnTo>
                  <a:lnTo>
                    <a:pt x="42" y="252"/>
                  </a:lnTo>
                  <a:lnTo>
                    <a:pt x="42" y="258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18" y="252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42" y="156"/>
                  </a:lnTo>
                  <a:lnTo>
                    <a:pt x="48" y="198"/>
                  </a:lnTo>
                  <a:lnTo>
                    <a:pt x="48" y="204"/>
                  </a:lnTo>
                  <a:lnTo>
                    <a:pt x="54" y="198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204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192"/>
                  </a:lnTo>
                  <a:lnTo>
                    <a:pt x="96" y="186"/>
                  </a:lnTo>
                  <a:lnTo>
                    <a:pt x="102" y="180"/>
                  </a:lnTo>
                  <a:lnTo>
                    <a:pt x="102" y="174"/>
                  </a:lnTo>
                  <a:lnTo>
                    <a:pt x="108" y="168"/>
                  </a:lnTo>
                  <a:lnTo>
                    <a:pt x="108" y="162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0"/>
                  </a:lnTo>
                  <a:lnTo>
                    <a:pt x="132" y="144"/>
                  </a:lnTo>
                  <a:lnTo>
                    <a:pt x="138" y="138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0" y="132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74" y="126"/>
                  </a:lnTo>
                  <a:lnTo>
                    <a:pt x="204" y="120"/>
                  </a:lnTo>
                  <a:lnTo>
                    <a:pt x="210" y="78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54"/>
                  </a:lnTo>
                  <a:lnTo>
                    <a:pt x="276" y="54"/>
                  </a:lnTo>
                  <a:lnTo>
                    <a:pt x="276" y="48"/>
                  </a:lnTo>
                  <a:lnTo>
                    <a:pt x="282" y="48"/>
                  </a:lnTo>
                  <a:lnTo>
                    <a:pt x="288" y="42"/>
                  </a:lnTo>
                  <a:lnTo>
                    <a:pt x="294" y="42"/>
                  </a:lnTo>
                  <a:lnTo>
                    <a:pt x="294" y="18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0"/>
                  </a:lnTo>
                  <a:lnTo>
                    <a:pt x="336" y="0"/>
                  </a:lnTo>
                  <a:lnTo>
                    <a:pt x="342" y="0"/>
                  </a:lnTo>
                  <a:lnTo>
                    <a:pt x="354" y="6"/>
                  </a:lnTo>
                  <a:lnTo>
                    <a:pt x="366" y="18"/>
                  </a:lnTo>
                  <a:lnTo>
                    <a:pt x="378" y="36"/>
                  </a:lnTo>
                  <a:lnTo>
                    <a:pt x="390" y="42"/>
                  </a:lnTo>
                  <a:lnTo>
                    <a:pt x="390" y="48"/>
                  </a:lnTo>
                  <a:lnTo>
                    <a:pt x="396" y="60"/>
                  </a:lnTo>
                  <a:lnTo>
                    <a:pt x="402" y="72"/>
                  </a:lnTo>
                  <a:lnTo>
                    <a:pt x="408" y="78"/>
                  </a:lnTo>
                  <a:lnTo>
                    <a:pt x="402" y="84"/>
                  </a:lnTo>
                  <a:lnTo>
                    <a:pt x="408" y="90"/>
                  </a:lnTo>
                  <a:lnTo>
                    <a:pt x="414" y="102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50" y="126"/>
                  </a:lnTo>
                  <a:lnTo>
                    <a:pt x="456" y="126"/>
                  </a:lnTo>
                  <a:lnTo>
                    <a:pt x="462" y="144"/>
                  </a:lnTo>
                  <a:lnTo>
                    <a:pt x="480" y="156"/>
                  </a:lnTo>
                  <a:lnTo>
                    <a:pt x="492" y="156"/>
                  </a:lnTo>
                  <a:lnTo>
                    <a:pt x="516" y="150"/>
                  </a:lnTo>
                  <a:lnTo>
                    <a:pt x="516" y="144"/>
                  </a:lnTo>
                  <a:lnTo>
                    <a:pt x="516" y="138"/>
                  </a:lnTo>
                  <a:lnTo>
                    <a:pt x="528" y="138"/>
                  </a:lnTo>
                  <a:lnTo>
                    <a:pt x="546" y="144"/>
                  </a:lnTo>
                  <a:lnTo>
                    <a:pt x="546" y="138"/>
                  </a:lnTo>
                  <a:lnTo>
                    <a:pt x="552" y="138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76" y="138"/>
                  </a:lnTo>
                  <a:lnTo>
                    <a:pt x="582" y="138"/>
                  </a:lnTo>
                  <a:lnTo>
                    <a:pt x="588" y="138"/>
                  </a:lnTo>
                  <a:lnTo>
                    <a:pt x="594" y="138"/>
                  </a:lnTo>
                  <a:lnTo>
                    <a:pt x="594" y="144"/>
                  </a:lnTo>
                  <a:lnTo>
                    <a:pt x="600" y="138"/>
                  </a:lnTo>
                  <a:lnTo>
                    <a:pt x="606" y="138"/>
                  </a:lnTo>
                  <a:lnTo>
                    <a:pt x="606" y="144"/>
                  </a:lnTo>
                  <a:lnTo>
                    <a:pt x="612" y="144"/>
                  </a:lnTo>
                  <a:lnTo>
                    <a:pt x="618" y="156"/>
                  </a:lnTo>
                  <a:lnTo>
                    <a:pt x="612" y="198"/>
                  </a:lnTo>
                  <a:lnTo>
                    <a:pt x="624" y="198"/>
                  </a:lnTo>
                  <a:lnTo>
                    <a:pt x="624" y="204"/>
                  </a:lnTo>
                  <a:lnTo>
                    <a:pt x="612" y="216"/>
                  </a:lnTo>
                  <a:lnTo>
                    <a:pt x="594" y="234"/>
                  </a:lnTo>
                  <a:lnTo>
                    <a:pt x="588" y="252"/>
                  </a:lnTo>
                  <a:lnTo>
                    <a:pt x="576" y="270"/>
                  </a:lnTo>
                  <a:lnTo>
                    <a:pt x="564" y="282"/>
                  </a:lnTo>
                  <a:lnTo>
                    <a:pt x="564" y="294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8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34" y="294"/>
                  </a:lnTo>
                  <a:lnTo>
                    <a:pt x="522" y="300"/>
                  </a:lnTo>
                  <a:lnTo>
                    <a:pt x="510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498" y="324"/>
                  </a:lnTo>
                  <a:lnTo>
                    <a:pt x="504" y="336"/>
                  </a:lnTo>
                  <a:lnTo>
                    <a:pt x="510" y="348"/>
                  </a:lnTo>
                  <a:lnTo>
                    <a:pt x="516" y="366"/>
                  </a:lnTo>
                  <a:lnTo>
                    <a:pt x="522" y="432"/>
                  </a:lnTo>
                  <a:lnTo>
                    <a:pt x="522" y="456"/>
                  </a:lnTo>
                  <a:lnTo>
                    <a:pt x="504" y="492"/>
                  </a:lnTo>
                  <a:lnTo>
                    <a:pt x="504" y="498"/>
                  </a:lnTo>
                  <a:lnTo>
                    <a:pt x="498" y="504"/>
                  </a:lnTo>
                  <a:lnTo>
                    <a:pt x="498" y="522"/>
                  </a:lnTo>
                  <a:lnTo>
                    <a:pt x="504" y="534"/>
                  </a:lnTo>
                  <a:lnTo>
                    <a:pt x="510" y="546"/>
                  </a:lnTo>
                  <a:lnTo>
                    <a:pt x="516" y="558"/>
                  </a:lnTo>
                  <a:lnTo>
                    <a:pt x="516" y="588"/>
                  </a:lnTo>
                  <a:lnTo>
                    <a:pt x="516" y="600"/>
                  </a:lnTo>
                  <a:lnTo>
                    <a:pt x="510" y="618"/>
                  </a:lnTo>
                  <a:lnTo>
                    <a:pt x="504" y="636"/>
                  </a:lnTo>
                  <a:lnTo>
                    <a:pt x="504" y="642"/>
                  </a:lnTo>
                  <a:lnTo>
                    <a:pt x="474" y="654"/>
                  </a:lnTo>
                  <a:lnTo>
                    <a:pt x="474" y="690"/>
                  </a:lnTo>
                  <a:lnTo>
                    <a:pt x="474" y="696"/>
                  </a:lnTo>
                  <a:lnTo>
                    <a:pt x="480" y="702"/>
                  </a:lnTo>
                  <a:lnTo>
                    <a:pt x="486" y="708"/>
                  </a:lnTo>
                  <a:lnTo>
                    <a:pt x="492" y="708"/>
                  </a:lnTo>
                  <a:lnTo>
                    <a:pt x="498" y="726"/>
                  </a:lnTo>
                  <a:lnTo>
                    <a:pt x="504" y="726"/>
                  </a:lnTo>
                  <a:lnTo>
                    <a:pt x="504" y="738"/>
                  </a:lnTo>
                  <a:lnTo>
                    <a:pt x="498" y="744"/>
                  </a:lnTo>
                  <a:lnTo>
                    <a:pt x="486" y="750"/>
                  </a:lnTo>
                  <a:lnTo>
                    <a:pt x="474" y="744"/>
                  </a:lnTo>
                  <a:lnTo>
                    <a:pt x="462" y="744"/>
                  </a:lnTo>
                  <a:lnTo>
                    <a:pt x="456" y="732"/>
                  </a:lnTo>
                  <a:lnTo>
                    <a:pt x="444" y="732"/>
                  </a:lnTo>
                  <a:lnTo>
                    <a:pt x="432" y="726"/>
                  </a:lnTo>
                  <a:lnTo>
                    <a:pt x="420" y="720"/>
                  </a:lnTo>
                  <a:lnTo>
                    <a:pt x="408" y="708"/>
                  </a:lnTo>
                  <a:lnTo>
                    <a:pt x="402" y="708"/>
                  </a:lnTo>
                  <a:lnTo>
                    <a:pt x="390" y="70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5" name="Freeform 20">
              <a:extLst>
                <a:ext uri="{FF2B5EF4-FFF2-40B4-BE49-F238E27FC236}">
                  <a16:creationId xmlns:a16="http://schemas.microsoft.com/office/drawing/2014/main" id="{B8342C3B-ECEC-465F-AAFF-4815B8AC392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870937"/>
              <a:ext cx="313067" cy="377968"/>
            </a:xfrm>
            <a:custGeom>
              <a:avLst/>
              <a:gdLst>
                <a:gd name="T0" fmla="*/ 15 w 588"/>
                <a:gd name="T1" fmla="*/ 59 h 714"/>
                <a:gd name="T2" fmla="*/ 14 w 588"/>
                <a:gd name="T3" fmla="*/ 58 h 714"/>
                <a:gd name="T4" fmla="*/ 9 w 588"/>
                <a:gd name="T5" fmla="*/ 54 h 714"/>
                <a:gd name="T6" fmla="*/ 4 w 588"/>
                <a:gd name="T7" fmla="*/ 54 h 714"/>
                <a:gd name="T8" fmla="*/ 0 w 588"/>
                <a:gd name="T9" fmla="*/ 50 h 714"/>
                <a:gd name="T10" fmla="*/ 0 w 588"/>
                <a:gd name="T11" fmla="*/ 44 h 714"/>
                <a:gd name="T12" fmla="*/ 4 w 588"/>
                <a:gd name="T13" fmla="*/ 46 h 714"/>
                <a:gd name="T14" fmla="*/ 7 w 588"/>
                <a:gd name="T15" fmla="*/ 47 h 714"/>
                <a:gd name="T16" fmla="*/ 10 w 588"/>
                <a:gd name="T17" fmla="*/ 46 h 714"/>
                <a:gd name="T18" fmla="*/ 8 w 588"/>
                <a:gd name="T19" fmla="*/ 44 h 714"/>
                <a:gd name="T20" fmla="*/ 10 w 588"/>
                <a:gd name="T21" fmla="*/ 39 h 714"/>
                <a:gd name="T22" fmla="*/ 11 w 588"/>
                <a:gd name="T23" fmla="*/ 34 h 714"/>
                <a:gd name="T24" fmla="*/ 9 w 588"/>
                <a:gd name="T25" fmla="*/ 28 h 714"/>
                <a:gd name="T26" fmla="*/ 11 w 588"/>
                <a:gd name="T27" fmla="*/ 22 h 714"/>
                <a:gd name="T28" fmla="*/ 10 w 588"/>
                <a:gd name="T29" fmla="*/ 12 h 714"/>
                <a:gd name="T30" fmla="*/ 9 w 588"/>
                <a:gd name="T31" fmla="*/ 9 h 714"/>
                <a:gd name="T32" fmla="*/ 12 w 588"/>
                <a:gd name="T33" fmla="*/ 8 h 714"/>
                <a:gd name="T34" fmla="*/ 14 w 588"/>
                <a:gd name="T35" fmla="*/ 7 h 714"/>
                <a:gd name="T36" fmla="*/ 17 w 588"/>
                <a:gd name="T37" fmla="*/ 10 h 714"/>
                <a:gd name="T38" fmla="*/ 23 w 588"/>
                <a:gd name="T39" fmla="*/ 14 h 714"/>
                <a:gd name="T40" fmla="*/ 28 w 588"/>
                <a:gd name="T41" fmla="*/ 4 h 714"/>
                <a:gd name="T42" fmla="*/ 35 w 588"/>
                <a:gd name="T43" fmla="*/ 2 h 714"/>
                <a:gd name="T44" fmla="*/ 38 w 588"/>
                <a:gd name="T45" fmla="*/ 0 h 714"/>
                <a:gd name="T46" fmla="*/ 40 w 588"/>
                <a:gd name="T47" fmla="*/ 2 h 714"/>
                <a:gd name="T48" fmla="*/ 39 w 588"/>
                <a:gd name="T49" fmla="*/ 4 h 714"/>
                <a:gd name="T50" fmla="*/ 41 w 588"/>
                <a:gd name="T51" fmla="*/ 5 h 714"/>
                <a:gd name="T52" fmla="*/ 42 w 588"/>
                <a:gd name="T53" fmla="*/ 7 h 714"/>
                <a:gd name="T54" fmla="*/ 43 w 588"/>
                <a:gd name="T55" fmla="*/ 9 h 714"/>
                <a:gd name="T56" fmla="*/ 43 w 588"/>
                <a:gd name="T57" fmla="*/ 10 h 714"/>
                <a:gd name="T58" fmla="*/ 43 w 588"/>
                <a:gd name="T59" fmla="*/ 12 h 714"/>
                <a:gd name="T60" fmla="*/ 44 w 588"/>
                <a:gd name="T61" fmla="*/ 12 h 714"/>
                <a:gd name="T62" fmla="*/ 46 w 588"/>
                <a:gd name="T63" fmla="*/ 13 h 714"/>
                <a:gd name="T64" fmla="*/ 47 w 588"/>
                <a:gd name="T65" fmla="*/ 14 h 714"/>
                <a:gd name="T66" fmla="*/ 48 w 588"/>
                <a:gd name="T67" fmla="*/ 15 h 714"/>
                <a:gd name="T68" fmla="*/ 49 w 588"/>
                <a:gd name="T69" fmla="*/ 15 h 714"/>
                <a:gd name="T70" fmla="*/ 48 w 588"/>
                <a:gd name="T71" fmla="*/ 17 h 714"/>
                <a:gd name="T72" fmla="*/ 49 w 588"/>
                <a:gd name="T73" fmla="*/ 19 h 714"/>
                <a:gd name="T74" fmla="*/ 49 w 588"/>
                <a:gd name="T75" fmla="*/ 20 h 714"/>
                <a:gd name="T76" fmla="*/ 51 w 588"/>
                <a:gd name="T77" fmla="*/ 21 h 714"/>
                <a:gd name="T78" fmla="*/ 50 w 588"/>
                <a:gd name="T79" fmla="*/ 22 h 714"/>
                <a:gd name="T80" fmla="*/ 47 w 588"/>
                <a:gd name="T81" fmla="*/ 23 h 714"/>
                <a:gd name="T82" fmla="*/ 47 w 588"/>
                <a:gd name="T83" fmla="*/ 26 h 714"/>
                <a:gd name="T84" fmla="*/ 47 w 588"/>
                <a:gd name="T85" fmla="*/ 32 h 714"/>
                <a:gd name="T86" fmla="*/ 44 w 588"/>
                <a:gd name="T87" fmla="*/ 35 h 714"/>
                <a:gd name="T88" fmla="*/ 42 w 588"/>
                <a:gd name="T89" fmla="*/ 39 h 714"/>
                <a:gd name="T90" fmla="*/ 42 w 588"/>
                <a:gd name="T91" fmla="*/ 41 h 714"/>
                <a:gd name="T92" fmla="*/ 42 w 588"/>
                <a:gd name="T93" fmla="*/ 42 h 714"/>
                <a:gd name="T94" fmla="*/ 41 w 588"/>
                <a:gd name="T95" fmla="*/ 44 h 714"/>
                <a:gd name="T96" fmla="*/ 39 w 588"/>
                <a:gd name="T97" fmla="*/ 43 h 714"/>
                <a:gd name="T98" fmla="*/ 37 w 588"/>
                <a:gd name="T99" fmla="*/ 44 h 714"/>
                <a:gd name="T100" fmla="*/ 35 w 588"/>
                <a:gd name="T101" fmla="*/ 46 h 714"/>
                <a:gd name="T102" fmla="*/ 31 w 588"/>
                <a:gd name="T103" fmla="*/ 45 h 714"/>
                <a:gd name="T104" fmla="*/ 24 w 588"/>
                <a:gd name="T105" fmla="*/ 45 h 714"/>
                <a:gd name="T106" fmla="*/ 25 w 588"/>
                <a:gd name="T107" fmla="*/ 47 h 714"/>
                <a:gd name="T108" fmla="*/ 25 w 588"/>
                <a:gd name="T109" fmla="*/ 49 h 714"/>
                <a:gd name="T110" fmla="*/ 25 w 588"/>
                <a:gd name="T111" fmla="*/ 50 h 714"/>
                <a:gd name="T112" fmla="*/ 24 w 588"/>
                <a:gd name="T113" fmla="*/ 51 h 714"/>
                <a:gd name="T114" fmla="*/ 22 w 588"/>
                <a:gd name="T115" fmla="*/ 53 h 714"/>
                <a:gd name="T116" fmla="*/ 23 w 588"/>
                <a:gd name="T117" fmla="*/ 56 h 714"/>
                <a:gd name="T118" fmla="*/ 20 w 588"/>
                <a:gd name="T119" fmla="*/ 58 h 714"/>
                <a:gd name="T120" fmla="*/ 19 w 588"/>
                <a:gd name="T121" fmla="*/ 62 h 7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8"/>
                <a:gd name="T184" fmla="*/ 0 h 714"/>
                <a:gd name="T185" fmla="*/ 588 w 588"/>
                <a:gd name="T186" fmla="*/ 714 h 7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8" h="714">
                  <a:moveTo>
                    <a:pt x="216" y="714"/>
                  </a:moveTo>
                  <a:lnTo>
                    <a:pt x="198" y="702"/>
                  </a:lnTo>
                  <a:lnTo>
                    <a:pt x="186" y="696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74" y="678"/>
                  </a:lnTo>
                  <a:lnTo>
                    <a:pt x="168" y="672"/>
                  </a:lnTo>
                  <a:lnTo>
                    <a:pt x="162" y="666"/>
                  </a:lnTo>
                  <a:lnTo>
                    <a:pt x="156" y="636"/>
                  </a:lnTo>
                  <a:lnTo>
                    <a:pt x="144" y="630"/>
                  </a:lnTo>
                  <a:lnTo>
                    <a:pt x="108" y="630"/>
                  </a:lnTo>
                  <a:lnTo>
                    <a:pt x="102" y="624"/>
                  </a:lnTo>
                  <a:lnTo>
                    <a:pt x="96" y="624"/>
                  </a:lnTo>
                  <a:lnTo>
                    <a:pt x="72" y="624"/>
                  </a:lnTo>
                  <a:lnTo>
                    <a:pt x="54" y="624"/>
                  </a:lnTo>
                  <a:lnTo>
                    <a:pt x="42" y="618"/>
                  </a:lnTo>
                  <a:lnTo>
                    <a:pt x="30" y="612"/>
                  </a:lnTo>
                  <a:lnTo>
                    <a:pt x="6" y="606"/>
                  </a:lnTo>
                  <a:lnTo>
                    <a:pt x="0" y="606"/>
                  </a:lnTo>
                  <a:lnTo>
                    <a:pt x="0" y="570"/>
                  </a:lnTo>
                  <a:lnTo>
                    <a:pt x="6" y="552"/>
                  </a:lnTo>
                  <a:lnTo>
                    <a:pt x="6" y="522"/>
                  </a:lnTo>
                  <a:lnTo>
                    <a:pt x="0" y="510"/>
                  </a:lnTo>
                  <a:lnTo>
                    <a:pt x="0" y="504"/>
                  </a:lnTo>
                  <a:lnTo>
                    <a:pt x="12" y="510"/>
                  </a:lnTo>
                  <a:lnTo>
                    <a:pt x="18" y="510"/>
                  </a:lnTo>
                  <a:lnTo>
                    <a:pt x="30" y="522"/>
                  </a:lnTo>
                  <a:lnTo>
                    <a:pt x="42" y="528"/>
                  </a:lnTo>
                  <a:lnTo>
                    <a:pt x="54" y="534"/>
                  </a:lnTo>
                  <a:lnTo>
                    <a:pt x="66" y="534"/>
                  </a:lnTo>
                  <a:lnTo>
                    <a:pt x="72" y="546"/>
                  </a:lnTo>
                  <a:lnTo>
                    <a:pt x="84" y="546"/>
                  </a:lnTo>
                  <a:lnTo>
                    <a:pt x="96" y="552"/>
                  </a:lnTo>
                  <a:lnTo>
                    <a:pt x="108" y="546"/>
                  </a:lnTo>
                  <a:lnTo>
                    <a:pt x="114" y="540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90" y="504"/>
                  </a:lnTo>
                  <a:lnTo>
                    <a:pt x="84" y="498"/>
                  </a:lnTo>
                  <a:lnTo>
                    <a:pt x="84" y="492"/>
                  </a:lnTo>
                  <a:lnTo>
                    <a:pt x="84" y="456"/>
                  </a:lnTo>
                  <a:lnTo>
                    <a:pt x="114" y="444"/>
                  </a:lnTo>
                  <a:lnTo>
                    <a:pt x="114" y="438"/>
                  </a:lnTo>
                  <a:lnTo>
                    <a:pt x="120" y="420"/>
                  </a:lnTo>
                  <a:lnTo>
                    <a:pt x="126" y="402"/>
                  </a:lnTo>
                  <a:lnTo>
                    <a:pt x="126" y="390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14" y="336"/>
                  </a:lnTo>
                  <a:lnTo>
                    <a:pt x="108" y="324"/>
                  </a:lnTo>
                  <a:lnTo>
                    <a:pt x="108" y="306"/>
                  </a:lnTo>
                  <a:lnTo>
                    <a:pt x="114" y="300"/>
                  </a:lnTo>
                  <a:lnTo>
                    <a:pt x="114" y="294"/>
                  </a:lnTo>
                  <a:lnTo>
                    <a:pt x="132" y="258"/>
                  </a:lnTo>
                  <a:lnTo>
                    <a:pt x="132" y="234"/>
                  </a:lnTo>
                  <a:lnTo>
                    <a:pt x="126" y="168"/>
                  </a:lnTo>
                  <a:lnTo>
                    <a:pt x="120" y="150"/>
                  </a:lnTo>
                  <a:lnTo>
                    <a:pt x="114" y="138"/>
                  </a:lnTo>
                  <a:lnTo>
                    <a:pt x="108" y="126"/>
                  </a:lnTo>
                  <a:lnTo>
                    <a:pt x="108" y="120"/>
                  </a:lnTo>
                  <a:lnTo>
                    <a:pt x="108" y="114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20" y="96"/>
                  </a:lnTo>
                  <a:lnTo>
                    <a:pt x="132" y="102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56" y="90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96"/>
                  </a:lnTo>
                  <a:lnTo>
                    <a:pt x="186" y="96"/>
                  </a:lnTo>
                  <a:lnTo>
                    <a:pt x="192" y="114"/>
                  </a:lnTo>
                  <a:lnTo>
                    <a:pt x="204" y="132"/>
                  </a:lnTo>
                  <a:lnTo>
                    <a:pt x="216" y="144"/>
                  </a:lnTo>
                  <a:lnTo>
                    <a:pt x="240" y="162"/>
                  </a:lnTo>
                  <a:lnTo>
                    <a:pt x="270" y="156"/>
                  </a:lnTo>
                  <a:lnTo>
                    <a:pt x="282" y="126"/>
                  </a:lnTo>
                  <a:lnTo>
                    <a:pt x="282" y="96"/>
                  </a:lnTo>
                  <a:lnTo>
                    <a:pt x="294" y="54"/>
                  </a:lnTo>
                  <a:lnTo>
                    <a:pt x="324" y="48"/>
                  </a:lnTo>
                  <a:lnTo>
                    <a:pt x="342" y="48"/>
                  </a:lnTo>
                  <a:lnTo>
                    <a:pt x="384" y="48"/>
                  </a:lnTo>
                  <a:lnTo>
                    <a:pt x="390" y="30"/>
                  </a:lnTo>
                  <a:lnTo>
                    <a:pt x="402" y="18"/>
                  </a:lnTo>
                  <a:lnTo>
                    <a:pt x="438" y="6"/>
                  </a:lnTo>
                  <a:lnTo>
                    <a:pt x="438" y="0"/>
                  </a:lnTo>
                  <a:lnTo>
                    <a:pt x="444" y="0"/>
                  </a:lnTo>
                  <a:lnTo>
                    <a:pt x="444" y="6"/>
                  </a:lnTo>
                  <a:lnTo>
                    <a:pt x="450" y="6"/>
                  </a:lnTo>
                  <a:lnTo>
                    <a:pt x="456" y="12"/>
                  </a:lnTo>
                  <a:lnTo>
                    <a:pt x="456" y="18"/>
                  </a:lnTo>
                  <a:lnTo>
                    <a:pt x="462" y="24"/>
                  </a:lnTo>
                  <a:lnTo>
                    <a:pt x="462" y="30"/>
                  </a:lnTo>
                  <a:lnTo>
                    <a:pt x="468" y="36"/>
                  </a:lnTo>
                  <a:lnTo>
                    <a:pt x="462" y="36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74" y="60"/>
                  </a:lnTo>
                  <a:lnTo>
                    <a:pt x="486" y="78"/>
                  </a:lnTo>
                  <a:lnTo>
                    <a:pt x="486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8" y="102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498" y="114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504" y="126"/>
                  </a:lnTo>
                  <a:lnTo>
                    <a:pt x="498" y="132"/>
                  </a:lnTo>
                  <a:lnTo>
                    <a:pt x="504" y="138"/>
                  </a:lnTo>
                  <a:lnTo>
                    <a:pt x="504" y="132"/>
                  </a:lnTo>
                  <a:lnTo>
                    <a:pt x="510" y="132"/>
                  </a:lnTo>
                  <a:lnTo>
                    <a:pt x="510" y="138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56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6" y="168"/>
                  </a:lnTo>
                  <a:lnTo>
                    <a:pt x="552" y="168"/>
                  </a:lnTo>
                  <a:lnTo>
                    <a:pt x="546" y="168"/>
                  </a:lnTo>
                  <a:lnTo>
                    <a:pt x="546" y="174"/>
                  </a:lnTo>
                  <a:lnTo>
                    <a:pt x="558" y="180"/>
                  </a:lnTo>
                  <a:lnTo>
                    <a:pt x="564" y="180"/>
                  </a:lnTo>
                  <a:lnTo>
                    <a:pt x="564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52" y="198"/>
                  </a:lnTo>
                  <a:lnTo>
                    <a:pt x="558" y="204"/>
                  </a:lnTo>
                  <a:lnTo>
                    <a:pt x="564" y="204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22"/>
                  </a:lnTo>
                  <a:lnTo>
                    <a:pt x="576" y="228"/>
                  </a:lnTo>
                  <a:lnTo>
                    <a:pt x="570" y="228"/>
                  </a:lnTo>
                  <a:lnTo>
                    <a:pt x="570" y="234"/>
                  </a:lnTo>
                  <a:lnTo>
                    <a:pt x="576" y="234"/>
                  </a:lnTo>
                  <a:lnTo>
                    <a:pt x="582" y="234"/>
                  </a:lnTo>
                  <a:lnTo>
                    <a:pt x="588" y="234"/>
                  </a:lnTo>
                  <a:lnTo>
                    <a:pt x="588" y="240"/>
                  </a:lnTo>
                  <a:lnTo>
                    <a:pt x="588" y="246"/>
                  </a:lnTo>
                  <a:lnTo>
                    <a:pt x="588" y="252"/>
                  </a:lnTo>
                  <a:lnTo>
                    <a:pt x="582" y="252"/>
                  </a:lnTo>
                  <a:lnTo>
                    <a:pt x="576" y="252"/>
                  </a:lnTo>
                  <a:lnTo>
                    <a:pt x="582" y="258"/>
                  </a:lnTo>
                  <a:lnTo>
                    <a:pt x="582" y="264"/>
                  </a:lnTo>
                  <a:lnTo>
                    <a:pt x="576" y="264"/>
                  </a:lnTo>
                  <a:lnTo>
                    <a:pt x="546" y="264"/>
                  </a:lnTo>
                  <a:lnTo>
                    <a:pt x="546" y="276"/>
                  </a:lnTo>
                  <a:lnTo>
                    <a:pt x="540" y="282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40" y="324"/>
                  </a:lnTo>
                  <a:lnTo>
                    <a:pt x="552" y="330"/>
                  </a:lnTo>
                  <a:lnTo>
                    <a:pt x="558" y="342"/>
                  </a:lnTo>
                  <a:lnTo>
                    <a:pt x="546" y="372"/>
                  </a:lnTo>
                  <a:lnTo>
                    <a:pt x="534" y="372"/>
                  </a:lnTo>
                  <a:lnTo>
                    <a:pt x="534" y="384"/>
                  </a:lnTo>
                  <a:lnTo>
                    <a:pt x="522" y="384"/>
                  </a:lnTo>
                  <a:lnTo>
                    <a:pt x="510" y="402"/>
                  </a:lnTo>
                  <a:lnTo>
                    <a:pt x="504" y="420"/>
                  </a:lnTo>
                  <a:lnTo>
                    <a:pt x="492" y="426"/>
                  </a:lnTo>
                  <a:lnTo>
                    <a:pt x="486" y="432"/>
                  </a:lnTo>
                  <a:lnTo>
                    <a:pt x="486" y="444"/>
                  </a:lnTo>
                  <a:lnTo>
                    <a:pt x="486" y="450"/>
                  </a:lnTo>
                  <a:lnTo>
                    <a:pt x="486" y="456"/>
                  </a:lnTo>
                  <a:lnTo>
                    <a:pt x="486" y="462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80" y="474"/>
                  </a:lnTo>
                  <a:lnTo>
                    <a:pt x="480" y="480"/>
                  </a:lnTo>
                  <a:lnTo>
                    <a:pt x="480" y="486"/>
                  </a:lnTo>
                  <a:lnTo>
                    <a:pt x="480" y="492"/>
                  </a:lnTo>
                  <a:lnTo>
                    <a:pt x="480" y="498"/>
                  </a:lnTo>
                  <a:lnTo>
                    <a:pt x="474" y="504"/>
                  </a:lnTo>
                  <a:lnTo>
                    <a:pt x="468" y="510"/>
                  </a:lnTo>
                  <a:lnTo>
                    <a:pt x="462" y="510"/>
                  </a:lnTo>
                  <a:lnTo>
                    <a:pt x="456" y="504"/>
                  </a:lnTo>
                  <a:lnTo>
                    <a:pt x="456" y="498"/>
                  </a:lnTo>
                  <a:lnTo>
                    <a:pt x="450" y="498"/>
                  </a:lnTo>
                  <a:lnTo>
                    <a:pt x="444" y="498"/>
                  </a:lnTo>
                  <a:lnTo>
                    <a:pt x="438" y="498"/>
                  </a:lnTo>
                  <a:lnTo>
                    <a:pt x="432" y="498"/>
                  </a:lnTo>
                  <a:lnTo>
                    <a:pt x="426" y="504"/>
                  </a:lnTo>
                  <a:lnTo>
                    <a:pt x="426" y="510"/>
                  </a:lnTo>
                  <a:lnTo>
                    <a:pt x="420" y="516"/>
                  </a:lnTo>
                  <a:lnTo>
                    <a:pt x="414" y="522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84" y="528"/>
                  </a:lnTo>
                  <a:lnTo>
                    <a:pt x="366" y="540"/>
                  </a:lnTo>
                  <a:lnTo>
                    <a:pt x="360" y="522"/>
                  </a:lnTo>
                  <a:lnTo>
                    <a:pt x="348" y="504"/>
                  </a:lnTo>
                  <a:lnTo>
                    <a:pt x="330" y="504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34"/>
                  </a:lnTo>
                  <a:lnTo>
                    <a:pt x="288" y="540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2" y="540"/>
                  </a:lnTo>
                  <a:lnTo>
                    <a:pt x="282" y="546"/>
                  </a:lnTo>
                  <a:lnTo>
                    <a:pt x="288" y="552"/>
                  </a:lnTo>
                  <a:lnTo>
                    <a:pt x="294" y="564"/>
                  </a:lnTo>
                  <a:lnTo>
                    <a:pt x="300" y="564"/>
                  </a:lnTo>
                  <a:lnTo>
                    <a:pt x="300" y="570"/>
                  </a:lnTo>
                  <a:lnTo>
                    <a:pt x="294" y="570"/>
                  </a:lnTo>
                  <a:lnTo>
                    <a:pt x="288" y="570"/>
                  </a:lnTo>
                  <a:lnTo>
                    <a:pt x="288" y="576"/>
                  </a:lnTo>
                  <a:lnTo>
                    <a:pt x="288" y="582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606"/>
                  </a:lnTo>
                  <a:lnTo>
                    <a:pt x="264" y="612"/>
                  </a:lnTo>
                  <a:lnTo>
                    <a:pt x="258" y="612"/>
                  </a:lnTo>
                  <a:lnTo>
                    <a:pt x="252" y="612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52" y="630"/>
                  </a:lnTo>
                  <a:lnTo>
                    <a:pt x="264" y="642"/>
                  </a:lnTo>
                  <a:lnTo>
                    <a:pt x="258" y="648"/>
                  </a:lnTo>
                  <a:lnTo>
                    <a:pt x="246" y="654"/>
                  </a:lnTo>
                  <a:lnTo>
                    <a:pt x="240" y="660"/>
                  </a:lnTo>
                  <a:lnTo>
                    <a:pt x="234" y="672"/>
                  </a:lnTo>
                  <a:lnTo>
                    <a:pt x="234" y="678"/>
                  </a:lnTo>
                  <a:lnTo>
                    <a:pt x="228" y="684"/>
                  </a:lnTo>
                  <a:lnTo>
                    <a:pt x="228" y="696"/>
                  </a:lnTo>
                  <a:lnTo>
                    <a:pt x="216" y="71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6" name="Freeform 21">
              <a:extLst>
                <a:ext uri="{FF2B5EF4-FFF2-40B4-BE49-F238E27FC236}">
                  <a16:creationId xmlns:a16="http://schemas.microsoft.com/office/drawing/2014/main" id="{DCB1E808-522D-4C19-B741-CC5DD56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4178" y="3866464"/>
              <a:ext cx="250453" cy="371259"/>
            </a:xfrm>
            <a:custGeom>
              <a:avLst/>
              <a:gdLst>
                <a:gd name="T0" fmla="*/ 0 w 468"/>
                <a:gd name="T1" fmla="*/ 61 h 696"/>
                <a:gd name="T2" fmla="*/ 1 w 468"/>
                <a:gd name="T3" fmla="*/ 58 h 696"/>
                <a:gd name="T4" fmla="*/ 2 w 468"/>
                <a:gd name="T5" fmla="*/ 54 h 696"/>
                <a:gd name="T6" fmla="*/ 3 w 468"/>
                <a:gd name="T7" fmla="*/ 51 h 696"/>
                <a:gd name="T8" fmla="*/ 4 w 468"/>
                <a:gd name="T9" fmla="*/ 48 h 696"/>
                <a:gd name="T10" fmla="*/ 6 w 468"/>
                <a:gd name="T11" fmla="*/ 44 h 696"/>
                <a:gd name="T12" fmla="*/ 5 w 468"/>
                <a:gd name="T13" fmla="*/ 41 h 696"/>
                <a:gd name="T14" fmla="*/ 7 w 468"/>
                <a:gd name="T15" fmla="*/ 38 h 696"/>
                <a:gd name="T16" fmla="*/ 8 w 468"/>
                <a:gd name="T17" fmla="*/ 36 h 696"/>
                <a:gd name="T18" fmla="*/ 7 w 468"/>
                <a:gd name="T19" fmla="*/ 33 h 696"/>
                <a:gd name="T20" fmla="*/ 6 w 468"/>
                <a:gd name="T21" fmla="*/ 29 h 696"/>
                <a:gd name="T22" fmla="*/ 4 w 468"/>
                <a:gd name="T23" fmla="*/ 22 h 696"/>
                <a:gd name="T24" fmla="*/ 2 w 468"/>
                <a:gd name="T25" fmla="*/ 14 h 696"/>
                <a:gd name="T26" fmla="*/ 12 w 468"/>
                <a:gd name="T27" fmla="*/ 11 h 696"/>
                <a:gd name="T28" fmla="*/ 14 w 468"/>
                <a:gd name="T29" fmla="*/ 2 h 696"/>
                <a:gd name="T30" fmla="*/ 16 w 468"/>
                <a:gd name="T31" fmla="*/ 0 h 696"/>
                <a:gd name="T32" fmla="*/ 17 w 468"/>
                <a:gd name="T33" fmla="*/ 0 h 696"/>
                <a:gd name="T34" fmla="*/ 18 w 468"/>
                <a:gd name="T35" fmla="*/ 1 h 696"/>
                <a:gd name="T36" fmla="*/ 17 w 468"/>
                <a:gd name="T37" fmla="*/ 2 h 696"/>
                <a:gd name="T38" fmla="*/ 17 w 468"/>
                <a:gd name="T39" fmla="*/ 4 h 696"/>
                <a:gd name="T40" fmla="*/ 17 w 468"/>
                <a:gd name="T41" fmla="*/ 6 h 696"/>
                <a:gd name="T42" fmla="*/ 20 w 468"/>
                <a:gd name="T43" fmla="*/ 6 h 696"/>
                <a:gd name="T44" fmla="*/ 22 w 468"/>
                <a:gd name="T45" fmla="*/ 5 h 696"/>
                <a:gd name="T46" fmla="*/ 24 w 468"/>
                <a:gd name="T47" fmla="*/ 7 h 696"/>
                <a:gd name="T48" fmla="*/ 28 w 468"/>
                <a:gd name="T49" fmla="*/ 7 h 696"/>
                <a:gd name="T50" fmla="*/ 28 w 468"/>
                <a:gd name="T51" fmla="*/ 11 h 696"/>
                <a:gd name="T52" fmla="*/ 25 w 468"/>
                <a:gd name="T53" fmla="*/ 14 h 696"/>
                <a:gd name="T54" fmla="*/ 23 w 468"/>
                <a:gd name="T55" fmla="*/ 15 h 696"/>
                <a:gd name="T56" fmla="*/ 23 w 468"/>
                <a:gd name="T57" fmla="*/ 19 h 696"/>
                <a:gd name="T58" fmla="*/ 23 w 468"/>
                <a:gd name="T59" fmla="*/ 21 h 696"/>
                <a:gd name="T60" fmla="*/ 24 w 468"/>
                <a:gd name="T61" fmla="*/ 21 h 696"/>
                <a:gd name="T62" fmla="*/ 27 w 468"/>
                <a:gd name="T63" fmla="*/ 23 h 696"/>
                <a:gd name="T64" fmla="*/ 29 w 468"/>
                <a:gd name="T65" fmla="*/ 24 h 696"/>
                <a:gd name="T66" fmla="*/ 29 w 468"/>
                <a:gd name="T67" fmla="*/ 28 h 696"/>
                <a:gd name="T68" fmla="*/ 29 w 468"/>
                <a:gd name="T69" fmla="*/ 29 h 696"/>
                <a:gd name="T70" fmla="*/ 29 w 468"/>
                <a:gd name="T71" fmla="*/ 32 h 696"/>
                <a:gd name="T72" fmla="*/ 32 w 468"/>
                <a:gd name="T73" fmla="*/ 32 h 696"/>
                <a:gd name="T74" fmla="*/ 33 w 468"/>
                <a:gd name="T75" fmla="*/ 35 h 696"/>
                <a:gd name="T76" fmla="*/ 34 w 468"/>
                <a:gd name="T77" fmla="*/ 38 h 696"/>
                <a:gd name="T78" fmla="*/ 35 w 468"/>
                <a:gd name="T79" fmla="*/ 39 h 696"/>
                <a:gd name="T80" fmla="*/ 36 w 468"/>
                <a:gd name="T81" fmla="*/ 40 h 696"/>
                <a:gd name="T82" fmla="*/ 37 w 468"/>
                <a:gd name="T83" fmla="*/ 41 h 696"/>
                <a:gd name="T84" fmla="*/ 38 w 468"/>
                <a:gd name="T85" fmla="*/ 42 h 696"/>
                <a:gd name="T86" fmla="*/ 41 w 468"/>
                <a:gd name="T87" fmla="*/ 44 h 696"/>
                <a:gd name="T88" fmla="*/ 40 w 468"/>
                <a:gd name="T89" fmla="*/ 44 h 696"/>
                <a:gd name="T90" fmla="*/ 37 w 468"/>
                <a:gd name="T91" fmla="*/ 45 h 696"/>
                <a:gd name="T92" fmla="*/ 36 w 468"/>
                <a:gd name="T93" fmla="*/ 48 h 696"/>
                <a:gd name="T94" fmla="*/ 34 w 468"/>
                <a:gd name="T95" fmla="*/ 49 h 696"/>
                <a:gd name="T96" fmla="*/ 32 w 468"/>
                <a:gd name="T97" fmla="*/ 51 h 696"/>
                <a:gd name="T98" fmla="*/ 31 w 468"/>
                <a:gd name="T99" fmla="*/ 51 h 696"/>
                <a:gd name="T100" fmla="*/ 26 w 468"/>
                <a:gd name="T101" fmla="*/ 49 h 696"/>
                <a:gd name="T102" fmla="*/ 23 w 468"/>
                <a:gd name="T103" fmla="*/ 51 h 696"/>
                <a:gd name="T104" fmla="*/ 21 w 468"/>
                <a:gd name="T105" fmla="*/ 51 h 696"/>
                <a:gd name="T106" fmla="*/ 20 w 468"/>
                <a:gd name="T107" fmla="*/ 52 h 696"/>
                <a:gd name="T108" fmla="*/ 17 w 468"/>
                <a:gd name="T109" fmla="*/ 55 h 696"/>
                <a:gd name="T110" fmla="*/ 15 w 468"/>
                <a:gd name="T111" fmla="*/ 56 h 696"/>
                <a:gd name="T112" fmla="*/ 15 w 468"/>
                <a:gd name="T113" fmla="*/ 59 h 696"/>
                <a:gd name="T114" fmla="*/ 14 w 468"/>
                <a:gd name="T115" fmla="*/ 59 h 696"/>
                <a:gd name="T116" fmla="*/ 12 w 468"/>
                <a:gd name="T117" fmla="*/ 59 h 696"/>
                <a:gd name="T118" fmla="*/ 11 w 468"/>
                <a:gd name="T119" fmla="*/ 57 h 696"/>
                <a:gd name="T120" fmla="*/ 9 w 468"/>
                <a:gd name="T121" fmla="*/ 57 h 696"/>
                <a:gd name="T122" fmla="*/ 6 w 468"/>
                <a:gd name="T123" fmla="*/ 58 h 696"/>
                <a:gd name="T124" fmla="*/ 4 w 468"/>
                <a:gd name="T125" fmla="*/ 60 h 69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8"/>
                <a:gd name="T190" fmla="*/ 0 h 696"/>
                <a:gd name="T191" fmla="*/ 468 w 468"/>
                <a:gd name="T192" fmla="*/ 696 h 69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8" h="696">
                  <a:moveTo>
                    <a:pt x="30" y="696"/>
                  </a:moveTo>
                  <a:lnTo>
                    <a:pt x="18" y="696"/>
                  </a:lnTo>
                  <a:lnTo>
                    <a:pt x="6" y="696"/>
                  </a:lnTo>
                  <a:lnTo>
                    <a:pt x="0" y="690"/>
                  </a:lnTo>
                  <a:lnTo>
                    <a:pt x="6" y="678"/>
                  </a:lnTo>
                  <a:lnTo>
                    <a:pt x="12" y="666"/>
                  </a:lnTo>
                  <a:lnTo>
                    <a:pt x="18" y="654"/>
                  </a:lnTo>
                  <a:lnTo>
                    <a:pt x="18" y="642"/>
                  </a:lnTo>
                  <a:lnTo>
                    <a:pt x="18" y="618"/>
                  </a:lnTo>
                  <a:lnTo>
                    <a:pt x="24" y="606"/>
                  </a:lnTo>
                  <a:lnTo>
                    <a:pt x="30" y="594"/>
                  </a:lnTo>
                  <a:lnTo>
                    <a:pt x="30" y="582"/>
                  </a:lnTo>
                  <a:lnTo>
                    <a:pt x="36" y="576"/>
                  </a:lnTo>
                  <a:lnTo>
                    <a:pt x="42" y="564"/>
                  </a:lnTo>
                  <a:lnTo>
                    <a:pt x="48" y="546"/>
                  </a:lnTo>
                  <a:lnTo>
                    <a:pt x="48" y="528"/>
                  </a:lnTo>
                  <a:lnTo>
                    <a:pt x="60" y="516"/>
                  </a:lnTo>
                  <a:lnTo>
                    <a:pt x="66" y="504"/>
                  </a:lnTo>
                  <a:lnTo>
                    <a:pt x="66" y="492"/>
                  </a:lnTo>
                  <a:lnTo>
                    <a:pt x="60" y="480"/>
                  </a:lnTo>
                  <a:lnTo>
                    <a:pt x="54" y="468"/>
                  </a:lnTo>
                  <a:lnTo>
                    <a:pt x="60" y="456"/>
                  </a:lnTo>
                  <a:lnTo>
                    <a:pt x="72" y="450"/>
                  </a:lnTo>
                  <a:lnTo>
                    <a:pt x="84" y="438"/>
                  </a:lnTo>
                  <a:lnTo>
                    <a:pt x="90" y="426"/>
                  </a:lnTo>
                  <a:lnTo>
                    <a:pt x="90" y="420"/>
                  </a:lnTo>
                  <a:lnTo>
                    <a:pt x="90" y="408"/>
                  </a:lnTo>
                  <a:lnTo>
                    <a:pt x="90" y="402"/>
                  </a:lnTo>
                  <a:lnTo>
                    <a:pt x="84" y="396"/>
                  </a:lnTo>
                  <a:lnTo>
                    <a:pt x="78" y="378"/>
                  </a:lnTo>
                  <a:lnTo>
                    <a:pt x="72" y="360"/>
                  </a:lnTo>
                  <a:lnTo>
                    <a:pt x="66" y="348"/>
                  </a:lnTo>
                  <a:lnTo>
                    <a:pt x="72" y="336"/>
                  </a:lnTo>
                  <a:lnTo>
                    <a:pt x="66" y="306"/>
                  </a:lnTo>
                  <a:lnTo>
                    <a:pt x="54" y="276"/>
                  </a:lnTo>
                  <a:lnTo>
                    <a:pt x="42" y="252"/>
                  </a:lnTo>
                  <a:lnTo>
                    <a:pt x="36" y="222"/>
                  </a:lnTo>
                  <a:lnTo>
                    <a:pt x="30" y="192"/>
                  </a:lnTo>
                  <a:lnTo>
                    <a:pt x="24" y="162"/>
                  </a:lnTo>
                  <a:lnTo>
                    <a:pt x="42" y="174"/>
                  </a:lnTo>
                  <a:lnTo>
                    <a:pt x="120" y="138"/>
                  </a:lnTo>
                  <a:lnTo>
                    <a:pt x="132" y="126"/>
                  </a:lnTo>
                  <a:lnTo>
                    <a:pt x="120" y="54"/>
                  </a:lnTo>
                  <a:lnTo>
                    <a:pt x="156" y="30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0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8" y="18"/>
                  </a:lnTo>
                  <a:lnTo>
                    <a:pt x="198" y="24"/>
                  </a:lnTo>
                  <a:lnTo>
                    <a:pt x="198" y="30"/>
                  </a:lnTo>
                  <a:lnTo>
                    <a:pt x="198" y="42"/>
                  </a:lnTo>
                  <a:lnTo>
                    <a:pt x="198" y="48"/>
                  </a:lnTo>
                  <a:lnTo>
                    <a:pt x="192" y="60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28" y="60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34" y="60"/>
                  </a:lnTo>
                  <a:lnTo>
                    <a:pt x="252" y="60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312" y="84"/>
                  </a:lnTo>
                  <a:lnTo>
                    <a:pt x="318" y="96"/>
                  </a:lnTo>
                  <a:lnTo>
                    <a:pt x="318" y="102"/>
                  </a:lnTo>
                  <a:lnTo>
                    <a:pt x="312" y="120"/>
                  </a:lnTo>
                  <a:lnTo>
                    <a:pt x="306" y="132"/>
                  </a:lnTo>
                  <a:lnTo>
                    <a:pt x="294" y="144"/>
                  </a:lnTo>
                  <a:lnTo>
                    <a:pt x="282" y="156"/>
                  </a:lnTo>
                  <a:lnTo>
                    <a:pt x="276" y="162"/>
                  </a:lnTo>
                  <a:lnTo>
                    <a:pt x="270" y="162"/>
                  </a:lnTo>
                  <a:lnTo>
                    <a:pt x="264" y="174"/>
                  </a:lnTo>
                  <a:lnTo>
                    <a:pt x="264" y="192"/>
                  </a:lnTo>
                  <a:lnTo>
                    <a:pt x="264" y="216"/>
                  </a:lnTo>
                  <a:lnTo>
                    <a:pt x="258" y="216"/>
                  </a:lnTo>
                  <a:lnTo>
                    <a:pt x="258" y="228"/>
                  </a:lnTo>
                  <a:lnTo>
                    <a:pt x="252" y="234"/>
                  </a:lnTo>
                  <a:lnTo>
                    <a:pt x="258" y="240"/>
                  </a:lnTo>
                  <a:lnTo>
                    <a:pt x="264" y="240"/>
                  </a:lnTo>
                  <a:lnTo>
                    <a:pt x="270" y="240"/>
                  </a:lnTo>
                  <a:lnTo>
                    <a:pt x="276" y="240"/>
                  </a:lnTo>
                  <a:lnTo>
                    <a:pt x="288" y="240"/>
                  </a:lnTo>
                  <a:lnTo>
                    <a:pt x="300" y="246"/>
                  </a:lnTo>
                  <a:lnTo>
                    <a:pt x="306" y="258"/>
                  </a:lnTo>
                  <a:lnTo>
                    <a:pt x="312" y="264"/>
                  </a:lnTo>
                  <a:lnTo>
                    <a:pt x="318" y="276"/>
                  </a:lnTo>
                  <a:lnTo>
                    <a:pt x="330" y="282"/>
                  </a:lnTo>
                  <a:lnTo>
                    <a:pt x="330" y="300"/>
                  </a:lnTo>
                  <a:lnTo>
                    <a:pt x="336" y="312"/>
                  </a:lnTo>
                  <a:lnTo>
                    <a:pt x="336" y="318"/>
                  </a:lnTo>
                  <a:lnTo>
                    <a:pt x="336" y="330"/>
                  </a:lnTo>
                  <a:lnTo>
                    <a:pt x="324" y="330"/>
                  </a:lnTo>
                  <a:lnTo>
                    <a:pt x="330" y="336"/>
                  </a:lnTo>
                  <a:lnTo>
                    <a:pt x="330" y="342"/>
                  </a:lnTo>
                  <a:lnTo>
                    <a:pt x="336" y="348"/>
                  </a:lnTo>
                  <a:lnTo>
                    <a:pt x="330" y="360"/>
                  </a:lnTo>
                  <a:lnTo>
                    <a:pt x="336" y="372"/>
                  </a:lnTo>
                  <a:lnTo>
                    <a:pt x="354" y="366"/>
                  </a:lnTo>
                  <a:lnTo>
                    <a:pt x="366" y="366"/>
                  </a:lnTo>
                  <a:lnTo>
                    <a:pt x="372" y="378"/>
                  </a:lnTo>
                  <a:lnTo>
                    <a:pt x="372" y="390"/>
                  </a:lnTo>
                  <a:lnTo>
                    <a:pt x="378" y="396"/>
                  </a:lnTo>
                  <a:lnTo>
                    <a:pt x="378" y="408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44"/>
                  </a:lnTo>
                  <a:lnTo>
                    <a:pt x="390" y="444"/>
                  </a:lnTo>
                  <a:lnTo>
                    <a:pt x="396" y="444"/>
                  </a:lnTo>
                  <a:lnTo>
                    <a:pt x="402" y="450"/>
                  </a:lnTo>
                  <a:lnTo>
                    <a:pt x="408" y="450"/>
                  </a:lnTo>
                  <a:lnTo>
                    <a:pt x="408" y="462"/>
                  </a:lnTo>
                  <a:lnTo>
                    <a:pt x="408" y="468"/>
                  </a:lnTo>
                  <a:lnTo>
                    <a:pt x="414" y="474"/>
                  </a:lnTo>
                  <a:lnTo>
                    <a:pt x="420" y="474"/>
                  </a:lnTo>
                  <a:lnTo>
                    <a:pt x="420" y="480"/>
                  </a:lnTo>
                  <a:lnTo>
                    <a:pt x="426" y="480"/>
                  </a:lnTo>
                  <a:lnTo>
                    <a:pt x="432" y="480"/>
                  </a:lnTo>
                  <a:lnTo>
                    <a:pt x="462" y="486"/>
                  </a:lnTo>
                  <a:lnTo>
                    <a:pt x="468" y="492"/>
                  </a:lnTo>
                  <a:lnTo>
                    <a:pt x="468" y="498"/>
                  </a:lnTo>
                  <a:lnTo>
                    <a:pt x="462" y="498"/>
                  </a:lnTo>
                  <a:lnTo>
                    <a:pt x="456" y="498"/>
                  </a:lnTo>
                  <a:lnTo>
                    <a:pt x="456" y="504"/>
                  </a:lnTo>
                  <a:lnTo>
                    <a:pt x="456" y="510"/>
                  </a:lnTo>
                  <a:lnTo>
                    <a:pt x="450" y="516"/>
                  </a:lnTo>
                  <a:lnTo>
                    <a:pt x="426" y="516"/>
                  </a:lnTo>
                  <a:lnTo>
                    <a:pt x="408" y="528"/>
                  </a:lnTo>
                  <a:lnTo>
                    <a:pt x="408" y="546"/>
                  </a:lnTo>
                  <a:lnTo>
                    <a:pt x="414" y="552"/>
                  </a:lnTo>
                  <a:lnTo>
                    <a:pt x="408" y="558"/>
                  </a:lnTo>
                  <a:lnTo>
                    <a:pt x="402" y="564"/>
                  </a:lnTo>
                  <a:lnTo>
                    <a:pt x="384" y="564"/>
                  </a:lnTo>
                  <a:lnTo>
                    <a:pt x="372" y="564"/>
                  </a:lnTo>
                  <a:lnTo>
                    <a:pt x="372" y="576"/>
                  </a:lnTo>
                  <a:lnTo>
                    <a:pt x="366" y="576"/>
                  </a:lnTo>
                  <a:lnTo>
                    <a:pt x="366" y="582"/>
                  </a:lnTo>
                  <a:lnTo>
                    <a:pt x="360" y="582"/>
                  </a:lnTo>
                  <a:lnTo>
                    <a:pt x="348" y="576"/>
                  </a:lnTo>
                  <a:lnTo>
                    <a:pt x="336" y="570"/>
                  </a:lnTo>
                  <a:lnTo>
                    <a:pt x="324" y="570"/>
                  </a:lnTo>
                  <a:lnTo>
                    <a:pt x="300" y="564"/>
                  </a:lnTo>
                  <a:lnTo>
                    <a:pt x="282" y="564"/>
                  </a:lnTo>
                  <a:lnTo>
                    <a:pt x="270" y="570"/>
                  </a:lnTo>
                  <a:lnTo>
                    <a:pt x="264" y="576"/>
                  </a:lnTo>
                  <a:lnTo>
                    <a:pt x="258" y="576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34" y="594"/>
                  </a:lnTo>
                  <a:lnTo>
                    <a:pt x="228" y="600"/>
                  </a:lnTo>
                  <a:lnTo>
                    <a:pt x="210" y="618"/>
                  </a:lnTo>
                  <a:lnTo>
                    <a:pt x="210" y="624"/>
                  </a:lnTo>
                  <a:lnTo>
                    <a:pt x="192" y="630"/>
                  </a:lnTo>
                  <a:lnTo>
                    <a:pt x="186" y="630"/>
                  </a:lnTo>
                  <a:lnTo>
                    <a:pt x="180" y="636"/>
                  </a:lnTo>
                  <a:lnTo>
                    <a:pt x="174" y="642"/>
                  </a:lnTo>
                  <a:lnTo>
                    <a:pt x="168" y="642"/>
                  </a:lnTo>
                  <a:lnTo>
                    <a:pt x="168" y="654"/>
                  </a:lnTo>
                  <a:lnTo>
                    <a:pt x="168" y="678"/>
                  </a:lnTo>
                  <a:lnTo>
                    <a:pt x="162" y="684"/>
                  </a:lnTo>
                  <a:lnTo>
                    <a:pt x="156" y="684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72"/>
                  </a:lnTo>
                  <a:lnTo>
                    <a:pt x="138" y="672"/>
                  </a:lnTo>
                  <a:lnTo>
                    <a:pt x="138" y="666"/>
                  </a:lnTo>
                  <a:lnTo>
                    <a:pt x="132" y="660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48"/>
                  </a:lnTo>
                  <a:lnTo>
                    <a:pt x="102" y="654"/>
                  </a:lnTo>
                  <a:lnTo>
                    <a:pt x="90" y="654"/>
                  </a:lnTo>
                  <a:lnTo>
                    <a:pt x="84" y="654"/>
                  </a:lnTo>
                  <a:lnTo>
                    <a:pt x="72" y="660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36" y="684"/>
                  </a:lnTo>
                  <a:lnTo>
                    <a:pt x="30" y="6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7" name="Freeform 22">
              <a:extLst>
                <a:ext uri="{FF2B5EF4-FFF2-40B4-BE49-F238E27FC236}">
                  <a16:creationId xmlns:a16="http://schemas.microsoft.com/office/drawing/2014/main" id="{2F7A477D-6CF8-44B3-8B32-64EE03DC4D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2895" y="3967106"/>
              <a:ext cx="610479" cy="507686"/>
            </a:xfrm>
            <a:custGeom>
              <a:avLst/>
              <a:gdLst>
                <a:gd name="T0" fmla="*/ 87 w 1146"/>
                <a:gd name="T1" fmla="*/ 56 h 954"/>
                <a:gd name="T2" fmla="*/ 83 w 1146"/>
                <a:gd name="T3" fmla="*/ 66 h 954"/>
                <a:gd name="T4" fmla="*/ 74 w 1146"/>
                <a:gd name="T5" fmla="*/ 69 h 954"/>
                <a:gd name="T6" fmla="*/ 67 w 1146"/>
                <a:gd name="T7" fmla="*/ 75 h 954"/>
                <a:gd name="T8" fmla="*/ 59 w 1146"/>
                <a:gd name="T9" fmla="*/ 78 h 954"/>
                <a:gd name="T10" fmla="*/ 52 w 1146"/>
                <a:gd name="T11" fmla="*/ 77 h 954"/>
                <a:gd name="T12" fmla="*/ 48 w 1146"/>
                <a:gd name="T13" fmla="*/ 79 h 954"/>
                <a:gd name="T14" fmla="*/ 41 w 1146"/>
                <a:gd name="T15" fmla="*/ 82 h 954"/>
                <a:gd name="T16" fmla="*/ 29 w 1146"/>
                <a:gd name="T17" fmla="*/ 78 h 954"/>
                <a:gd name="T18" fmla="*/ 28 w 1146"/>
                <a:gd name="T19" fmla="*/ 76 h 954"/>
                <a:gd name="T20" fmla="*/ 28 w 1146"/>
                <a:gd name="T21" fmla="*/ 72 h 954"/>
                <a:gd name="T22" fmla="*/ 28 w 1146"/>
                <a:gd name="T23" fmla="*/ 74 h 954"/>
                <a:gd name="T24" fmla="*/ 21 w 1146"/>
                <a:gd name="T25" fmla="*/ 74 h 954"/>
                <a:gd name="T26" fmla="*/ 20 w 1146"/>
                <a:gd name="T27" fmla="*/ 67 h 954"/>
                <a:gd name="T28" fmla="*/ 23 w 1146"/>
                <a:gd name="T29" fmla="*/ 64 h 954"/>
                <a:gd name="T30" fmla="*/ 28 w 1146"/>
                <a:gd name="T31" fmla="*/ 65 h 954"/>
                <a:gd name="T32" fmla="*/ 32 w 1146"/>
                <a:gd name="T33" fmla="*/ 62 h 954"/>
                <a:gd name="T34" fmla="*/ 31 w 1146"/>
                <a:gd name="T35" fmla="*/ 56 h 954"/>
                <a:gd name="T36" fmla="*/ 36 w 1146"/>
                <a:gd name="T37" fmla="*/ 54 h 954"/>
                <a:gd name="T38" fmla="*/ 38 w 1146"/>
                <a:gd name="T39" fmla="*/ 54 h 954"/>
                <a:gd name="T40" fmla="*/ 32 w 1146"/>
                <a:gd name="T41" fmla="*/ 54 h 954"/>
                <a:gd name="T42" fmla="*/ 29 w 1146"/>
                <a:gd name="T43" fmla="*/ 59 h 954"/>
                <a:gd name="T44" fmla="*/ 26 w 1146"/>
                <a:gd name="T45" fmla="*/ 59 h 954"/>
                <a:gd name="T46" fmla="*/ 25 w 1146"/>
                <a:gd name="T47" fmla="*/ 61 h 954"/>
                <a:gd name="T48" fmla="*/ 20 w 1146"/>
                <a:gd name="T49" fmla="*/ 61 h 954"/>
                <a:gd name="T50" fmla="*/ 11 w 1146"/>
                <a:gd name="T51" fmla="*/ 54 h 954"/>
                <a:gd name="T52" fmla="*/ 14 w 1146"/>
                <a:gd name="T53" fmla="*/ 50 h 954"/>
                <a:gd name="T54" fmla="*/ 21 w 1146"/>
                <a:gd name="T55" fmla="*/ 51 h 954"/>
                <a:gd name="T56" fmla="*/ 24 w 1146"/>
                <a:gd name="T57" fmla="*/ 50 h 954"/>
                <a:gd name="T58" fmla="*/ 28 w 1146"/>
                <a:gd name="T59" fmla="*/ 48 h 954"/>
                <a:gd name="T60" fmla="*/ 30 w 1146"/>
                <a:gd name="T61" fmla="*/ 49 h 954"/>
                <a:gd name="T62" fmla="*/ 26 w 1146"/>
                <a:gd name="T63" fmla="*/ 47 h 954"/>
                <a:gd name="T64" fmla="*/ 20 w 1146"/>
                <a:gd name="T65" fmla="*/ 50 h 954"/>
                <a:gd name="T66" fmla="*/ 20 w 1146"/>
                <a:gd name="T67" fmla="*/ 44 h 954"/>
                <a:gd name="T68" fmla="*/ 19 w 1146"/>
                <a:gd name="T69" fmla="*/ 46 h 954"/>
                <a:gd name="T70" fmla="*/ 15 w 1146"/>
                <a:gd name="T71" fmla="*/ 49 h 954"/>
                <a:gd name="T72" fmla="*/ 8 w 1146"/>
                <a:gd name="T73" fmla="*/ 48 h 954"/>
                <a:gd name="T74" fmla="*/ 6 w 1146"/>
                <a:gd name="T75" fmla="*/ 41 h 954"/>
                <a:gd name="T76" fmla="*/ 10 w 1146"/>
                <a:gd name="T77" fmla="*/ 41 h 954"/>
                <a:gd name="T78" fmla="*/ 9 w 1146"/>
                <a:gd name="T79" fmla="*/ 39 h 954"/>
                <a:gd name="T80" fmla="*/ 14 w 1146"/>
                <a:gd name="T81" fmla="*/ 35 h 954"/>
                <a:gd name="T82" fmla="*/ 19 w 1146"/>
                <a:gd name="T83" fmla="*/ 32 h 954"/>
                <a:gd name="T84" fmla="*/ 20 w 1146"/>
                <a:gd name="T85" fmla="*/ 29 h 954"/>
                <a:gd name="T86" fmla="*/ 27 w 1146"/>
                <a:gd name="T87" fmla="*/ 27 h 954"/>
                <a:gd name="T88" fmla="*/ 33 w 1146"/>
                <a:gd name="T89" fmla="*/ 28 h 954"/>
                <a:gd name="T90" fmla="*/ 44 w 1146"/>
                <a:gd name="T91" fmla="*/ 27 h 954"/>
                <a:gd name="T92" fmla="*/ 52 w 1146"/>
                <a:gd name="T93" fmla="*/ 41 h 954"/>
                <a:gd name="T94" fmla="*/ 61 w 1146"/>
                <a:gd name="T95" fmla="*/ 40 h 954"/>
                <a:gd name="T96" fmla="*/ 69 w 1146"/>
                <a:gd name="T97" fmla="*/ 34 h 954"/>
                <a:gd name="T98" fmla="*/ 62 w 1146"/>
                <a:gd name="T99" fmla="*/ 12 h 954"/>
                <a:gd name="T100" fmla="*/ 74 w 1146"/>
                <a:gd name="T101" fmla="*/ 8 h 954"/>
                <a:gd name="T102" fmla="*/ 87 w 1146"/>
                <a:gd name="T103" fmla="*/ 1 h 954"/>
                <a:gd name="T104" fmla="*/ 99 w 1146"/>
                <a:gd name="T105" fmla="*/ 12 h 954"/>
                <a:gd name="T106" fmla="*/ 98 w 1146"/>
                <a:gd name="T107" fmla="*/ 27 h 954"/>
                <a:gd name="T108" fmla="*/ 16 w 1146"/>
                <a:gd name="T109" fmla="*/ 33 h 954"/>
                <a:gd name="T110" fmla="*/ 11 w 1146"/>
                <a:gd name="T111" fmla="*/ 36 h 954"/>
                <a:gd name="T112" fmla="*/ 5 w 1146"/>
                <a:gd name="T113" fmla="*/ 41 h 954"/>
                <a:gd name="T114" fmla="*/ 2 w 1146"/>
                <a:gd name="T115" fmla="*/ 36 h 954"/>
                <a:gd name="T116" fmla="*/ 5 w 1146"/>
                <a:gd name="T117" fmla="*/ 26 h 954"/>
                <a:gd name="T118" fmla="*/ 10 w 1146"/>
                <a:gd name="T119" fmla="*/ 20 h 954"/>
                <a:gd name="T120" fmla="*/ 13 w 1146"/>
                <a:gd name="T121" fmla="*/ 20 h 954"/>
                <a:gd name="T122" fmla="*/ 15 w 1146"/>
                <a:gd name="T123" fmla="*/ 27 h 95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46"/>
                <a:gd name="T187" fmla="*/ 0 h 954"/>
                <a:gd name="T188" fmla="*/ 1146 w 1146"/>
                <a:gd name="T189" fmla="*/ 954 h 95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46" h="954">
                  <a:moveTo>
                    <a:pt x="1056" y="498"/>
                  </a:moveTo>
                  <a:lnTo>
                    <a:pt x="1044" y="510"/>
                  </a:lnTo>
                  <a:lnTo>
                    <a:pt x="1032" y="516"/>
                  </a:lnTo>
                  <a:lnTo>
                    <a:pt x="1038" y="528"/>
                  </a:lnTo>
                  <a:lnTo>
                    <a:pt x="1050" y="540"/>
                  </a:lnTo>
                  <a:lnTo>
                    <a:pt x="1050" y="546"/>
                  </a:lnTo>
                  <a:lnTo>
                    <a:pt x="1050" y="564"/>
                  </a:lnTo>
                  <a:lnTo>
                    <a:pt x="1038" y="576"/>
                  </a:lnTo>
                  <a:lnTo>
                    <a:pt x="1032" y="588"/>
                  </a:lnTo>
                  <a:lnTo>
                    <a:pt x="1020" y="594"/>
                  </a:lnTo>
                  <a:lnTo>
                    <a:pt x="1008" y="594"/>
                  </a:lnTo>
                  <a:lnTo>
                    <a:pt x="1002" y="600"/>
                  </a:lnTo>
                  <a:lnTo>
                    <a:pt x="996" y="612"/>
                  </a:lnTo>
                  <a:lnTo>
                    <a:pt x="996" y="624"/>
                  </a:lnTo>
                  <a:lnTo>
                    <a:pt x="996" y="648"/>
                  </a:lnTo>
                  <a:lnTo>
                    <a:pt x="996" y="660"/>
                  </a:lnTo>
                  <a:lnTo>
                    <a:pt x="1002" y="672"/>
                  </a:lnTo>
                  <a:lnTo>
                    <a:pt x="1002" y="684"/>
                  </a:lnTo>
                  <a:lnTo>
                    <a:pt x="996" y="684"/>
                  </a:lnTo>
                  <a:lnTo>
                    <a:pt x="984" y="690"/>
                  </a:lnTo>
                  <a:lnTo>
                    <a:pt x="972" y="690"/>
                  </a:lnTo>
                  <a:lnTo>
                    <a:pt x="966" y="696"/>
                  </a:lnTo>
                  <a:lnTo>
                    <a:pt x="966" y="702"/>
                  </a:lnTo>
                  <a:lnTo>
                    <a:pt x="966" y="714"/>
                  </a:lnTo>
                  <a:lnTo>
                    <a:pt x="972" y="726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2" y="756"/>
                  </a:lnTo>
                  <a:lnTo>
                    <a:pt x="966" y="756"/>
                  </a:lnTo>
                  <a:lnTo>
                    <a:pt x="942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18" y="768"/>
                  </a:lnTo>
                  <a:lnTo>
                    <a:pt x="906" y="768"/>
                  </a:lnTo>
                  <a:lnTo>
                    <a:pt x="894" y="762"/>
                  </a:lnTo>
                  <a:lnTo>
                    <a:pt x="882" y="756"/>
                  </a:lnTo>
                  <a:lnTo>
                    <a:pt x="876" y="756"/>
                  </a:lnTo>
                  <a:lnTo>
                    <a:pt x="876" y="762"/>
                  </a:lnTo>
                  <a:lnTo>
                    <a:pt x="864" y="768"/>
                  </a:lnTo>
                  <a:lnTo>
                    <a:pt x="858" y="774"/>
                  </a:lnTo>
                  <a:lnTo>
                    <a:pt x="852" y="774"/>
                  </a:lnTo>
                  <a:lnTo>
                    <a:pt x="840" y="780"/>
                  </a:lnTo>
                  <a:lnTo>
                    <a:pt x="840" y="786"/>
                  </a:lnTo>
                  <a:lnTo>
                    <a:pt x="840" y="792"/>
                  </a:lnTo>
                  <a:lnTo>
                    <a:pt x="840" y="804"/>
                  </a:lnTo>
                  <a:lnTo>
                    <a:pt x="840" y="810"/>
                  </a:lnTo>
                  <a:lnTo>
                    <a:pt x="828" y="816"/>
                  </a:lnTo>
                  <a:lnTo>
                    <a:pt x="810" y="810"/>
                  </a:lnTo>
                  <a:lnTo>
                    <a:pt x="792" y="810"/>
                  </a:lnTo>
                  <a:lnTo>
                    <a:pt x="786" y="816"/>
                  </a:lnTo>
                  <a:lnTo>
                    <a:pt x="780" y="816"/>
                  </a:lnTo>
                  <a:lnTo>
                    <a:pt x="780" y="822"/>
                  </a:lnTo>
                  <a:lnTo>
                    <a:pt x="780" y="828"/>
                  </a:lnTo>
                  <a:lnTo>
                    <a:pt x="780" y="834"/>
                  </a:lnTo>
                  <a:lnTo>
                    <a:pt x="786" y="840"/>
                  </a:lnTo>
                  <a:lnTo>
                    <a:pt x="786" y="846"/>
                  </a:lnTo>
                  <a:lnTo>
                    <a:pt x="786" y="852"/>
                  </a:lnTo>
                  <a:lnTo>
                    <a:pt x="780" y="858"/>
                  </a:lnTo>
                  <a:lnTo>
                    <a:pt x="768" y="858"/>
                  </a:lnTo>
                  <a:lnTo>
                    <a:pt x="762" y="864"/>
                  </a:lnTo>
                  <a:lnTo>
                    <a:pt x="756" y="864"/>
                  </a:lnTo>
                  <a:lnTo>
                    <a:pt x="750" y="870"/>
                  </a:lnTo>
                  <a:lnTo>
                    <a:pt x="744" y="876"/>
                  </a:lnTo>
                  <a:lnTo>
                    <a:pt x="732" y="876"/>
                  </a:lnTo>
                  <a:lnTo>
                    <a:pt x="726" y="876"/>
                  </a:lnTo>
                  <a:lnTo>
                    <a:pt x="720" y="870"/>
                  </a:lnTo>
                  <a:lnTo>
                    <a:pt x="714" y="864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6" y="876"/>
                  </a:lnTo>
                  <a:lnTo>
                    <a:pt x="696" y="882"/>
                  </a:lnTo>
                  <a:lnTo>
                    <a:pt x="696" y="894"/>
                  </a:lnTo>
                  <a:lnTo>
                    <a:pt x="690" y="900"/>
                  </a:lnTo>
                  <a:lnTo>
                    <a:pt x="684" y="900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54" y="888"/>
                  </a:lnTo>
                  <a:lnTo>
                    <a:pt x="654" y="882"/>
                  </a:lnTo>
                  <a:lnTo>
                    <a:pt x="642" y="876"/>
                  </a:lnTo>
                  <a:lnTo>
                    <a:pt x="636" y="876"/>
                  </a:lnTo>
                  <a:lnTo>
                    <a:pt x="630" y="876"/>
                  </a:lnTo>
                  <a:lnTo>
                    <a:pt x="630" y="870"/>
                  </a:lnTo>
                  <a:lnTo>
                    <a:pt x="618" y="858"/>
                  </a:lnTo>
                  <a:lnTo>
                    <a:pt x="612" y="858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06" y="876"/>
                  </a:lnTo>
                  <a:lnTo>
                    <a:pt x="606" y="882"/>
                  </a:lnTo>
                  <a:lnTo>
                    <a:pt x="606" y="888"/>
                  </a:lnTo>
                  <a:lnTo>
                    <a:pt x="600" y="894"/>
                  </a:lnTo>
                  <a:lnTo>
                    <a:pt x="594" y="894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76" y="894"/>
                  </a:lnTo>
                  <a:lnTo>
                    <a:pt x="582" y="900"/>
                  </a:lnTo>
                  <a:lnTo>
                    <a:pt x="576" y="906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64" y="918"/>
                  </a:lnTo>
                  <a:lnTo>
                    <a:pt x="558" y="918"/>
                  </a:lnTo>
                  <a:lnTo>
                    <a:pt x="558" y="912"/>
                  </a:lnTo>
                  <a:lnTo>
                    <a:pt x="552" y="906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06"/>
                  </a:lnTo>
                  <a:lnTo>
                    <a:pt x="534" y="906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0" y="924"/>
                  </a:lnTo>
                  <a:lnTo>
                    <a:pt x="504" y="924"/>
                  </a:lnTo>
                  <a:lnTo>
                    <a:pt x="498" y="930"/>
                  </a:lnTo>
                  <a:lnTo>
                    <a:pt x="492" y="924"/>
                  </a:lnTo>
                  <a:lnTo>
                    <a:pt x="486" y="930"/>
                  </a:lnTo>
                  <a:lnTo>
                    <a:pt x="480" y="942"/>
                  </a:lnTo>
                  <a:lnTo>
                    <a:pt x="468" y="948"/>
                  </a:lnTo>
                  <a:lnTo>
                    <a:pt x="444" y="942"/>
                  </a:lnTo>
                  <a:lnTo>
                    <a:pt x="438" y="954"/>
                  </a:lnTo>
                  <a:lnTo>
                    <a:pt x="426" y="954"/>
                  </a:lnTo>
                  <a:lnTo>
                    <a:pt x="420" y="948"/>
                  </a:lnTo>
                  <a:lnTo>
                    <a:pt x="408" y="936"/>
                  </a:lnTo>
                  <a:lnTo>
                    <a:pt x="396" y="936"/>
                  </a:lnTo>
                  <a:lnTo>
                    <a:pt x="390" y="930"/>
                  </a:lnTo>
                  <a:lnTo>
                    <a:pt x="390" y="924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66" y="924"/>
                  </a:lnTo>
                  <a:lnTo>
                    <a:pt x="360" y="924"/>
                  </a:lnTo>
                  <a:lnTo>
                    <a:pt x="348" y="918"/>
                  </a:lnTo>
                  <a:lnTo>
                    <a:pt x="342" y="906"/>
                  </a:lnTo>
                  <a:lnTo>
                    <a:pt x="336" y="906"/>
                  </a:lnTo>
                  <a:lnTo>
                    <a:pt x="330" y="906"/>
                  </a:lnTo>
                  <a:lnTo>
                    <a:pt x="312" y="906"/>
                  </a:lnTo>
                  <a:lnTo>
                    <a:pt x="312" y="900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888"/>
                  </a:lnTo>
                  <a:lnTo>
                    <a:pt x="312" y="882"/>
                  </a:lnTo>
                  <a:lnTo>
                    <a:pt x="306" y="876"/>
                  </a:lnTo>
                  <a:lnTo>
                    <a:pt x="312" y="876"/>
                  </a:lnTo>
                  <a:lnTo>
                    <a:pt x="312" y="870"/>
                  </a:lnTo>
                  <a:lnTo>
                    <a:pt x="318" y="876"/>
                  </a:lnTo>
                  <a:lnTo>
                    <a:pt x="318" y="870"/>
                  </a:lnTo>
                  <a:lnTo>
                    <a:pt x="324" y="876"/>
                  </a:lnTo>
                  <a:lnTo>
                    <a:pt x="330" y="876"/>
                  </a:lnTo>
                  <a:lnTo>
                    <a:pt x="336" y="876"/>
                  </a:lnTo>
                  <a:lnTo>
                    <a:pt x="342" y="876"/>
                  </a:lnTo>
                  <a:lnTo>
                    <a:pt x="336" y="876"/>
                  </a:lnTo>
                  <a:lnTo>
                    <a:pt x="330" y="870"/>
                  </a:lnTo>
                  <a:lnTo>
                    <a:pt x="324" y="870"/>
                  </a:lnTo>
                  <a:lnTo>
                    <a:pt x="318" y="870"/>
                  </a:lnTo>
                  <a:lnTo>
                    <a:pt x="312" y="870"/>
                  </a:lnTo>
                  <a:lnTo>
                    <a:pt x="318" y="864"/>
                  </a:lnTo>
                  <a:lnTo>
                    <a:pt x="318" y="858"/>
                  </a:lnTo>
                  <a:lnTo>
                    <a:pt x="318" y="852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6" y="846"/>
                  </a:lnTo>
                  <a:lnTo>
                    <a:pt x="312" y="828"/>
                  </a:lnTo>
                  <a:lnTo>
                    <a:pt x="312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06" y="816"/>
                  </a:lnTo>
                  <a:lnTo>
                    <a:pt x="306" y="810"/>
                  </a:lnTo>
                  <a:lnTo>
                    <a:pt x="306" y="816"/>
                  </a:lnTo>
                  <a:lnTo>
                    <a:pt x="312" y="822"/>
                  </a:lnTo>
                  <a:lnTo>
                    <a:pt x="306" y="822"/>
                  </a:lnTo>
                  <a:lnTo>
                    <a:pt x="306" y="828"/>
                  </a:lnTo>
                  <a:lnTo>
                    <a:pt x="306" y="834"/>
                  </a:lnTo>
                  <a:lnTo>
                    <a:pt x="300" y="840"/>
                  </a:lnTo>
                  <a:lnTo>
                    <a:pt x="300" y="846"/>
                  </a:lnTo>
                  <a:lnTo>
                    <a:pt x="306" y="852"/>
                  </a:lnTo>
                  <a:lnTo>
                    <a:pt x="306" y="858"/>
                  </a:lnTo>
                  <a:lnTo>
                    <a:pt x="312" y="858"/>
                  </a:lnTo>
                  <a:lnTo>
                    <a:pt x="312" y="864"/>
                  </a:lnTo>
                  <a:lnTo>
                    <a:pt x="306" y="864"/>
                  </a:lnTo>
                  <a:lnTo>
                    <a:pt x="300" y="864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82" y="870"/>
                  </a:lnTo>
                  <a:lnTo>
                    <a:pt x="276" y="870"/>
                  </a:lnTo>
                  <a:lnTo>
                    <a:pt x="270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8" y="870"/>
                  </a:lnTo>
                  <a:lnTo>
                    <a:pt x="252" y="870"/>
                  </a:lnTo>
                  <a:lnTo>
                    <a:pt x="252" y="864"/>
                  </a:lnTo>
                  <a:lnTo>
                    <a:pt x="246" y="858"/>
                  </a:lnTo>
                  <a:lnTo>
                    <a:pt x="246" y="852"/>
                  </a:lnTo>
                  <a:lnTo>
                    <a:pt x="246" y="846"/>
                  </a:lnTo>
                  <a:lnTo>
                    <a:pt x="246" y="840"/>
                  </a:lnTo>
                  <a:lnTo>
                    <a:pt x="246" y="834"/>
                  </a:lnTo>
                  <a:lnTo>
                    <a:pt x="246" y="828"/>
                  </a:lnTo>
                  <a:lnTo>
                    <a:pt x="246" y="822"/>
                  </a:lnTo>
                  <a:lnTo>
                    <a:pt x="240" y="816"/>
                  </a:lnTo>
                  <a:lnTo>
                    <a:pt x="240" y="810"/>
                  </a:lnTo>
                  <a:lnTo>
                    <a:pt x="240" y="804"/>
                  </a:lnTo>
                  <a:lnTo>
                    <a:pt x="240" y="798"/>
                  </a:lnTo>
                  <a:lnTo>
                    <a:pt x="234" y="798"/>
                  </a:lnTo>
                  <a:lnTo>
                    <a:pt x="234" y="792"/>
                  </a:lnTo>
                  <a:lnTo>
                    <a:pt x="234" y="786"/>
                  </a:lnTo>
                  <a:lnTo>
                    <a:pt x="234" y="780"/>
                  </a:lnTo>
                  <a:lnTo>
                    <a:pt x="228" y="780"/>
                  </a:lnTo>
                  <a:lnTo>
                    <a:pt x="228" y="774"/>
                  </a:lnTo>
                  <a:lnTo>
                    <a:pt x="228" y="768"/>
                  </a:lnTo>
                  <a:lnTo>
                    <a:pt x="222" y="762"/>
                  </a:lnTo>
                  <a:lnTo>
                    <a:pt x="222" y="756"/>
                  </a:lnTo>
                  <a:lnTo>
                    <a:pt x="222" y="750"/>
                  </a:lnTo>
                  <a:lnTo>
                    <a:pt x="222" y="744"/>
                  </a:lnTo>
                  <a:lnTo>
                    <a:pt x="222" y="738"/>
                  </a:lnTo>
                  <a:lnTo>
                    <a:pt x="216" y="732"/>
                  </a:lnTo>
                  <a:lnTo>
                    <a:pt x="222" y="732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32"/>
                  </a:lnTo>
                  <a:lnTo>
                    <a:pt x="246" y="732"/>
                  </a:lnTo>
                  <a:lnTo>
                    <a:pt x="246" y="738"/>
                  </a:lnTo>
                  <a:lnTo>
                    <a:pt x="252" y="738"/>
                  </a:lnTo>
                  <a:lnTo>
                    <a:pt x="258" y="738"/>
                  </a:lnTo>
                  <a:lnTo>
                    <a:pt x="258" y="732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8" y="732"/>
                  </a:lnTo>
                  <a:lnTo>
                    <a:pt x="294" y="732"/>
                  </a:lnTo>
                  <a:lnTo>
                    <a:pt x="300" y="732"/>
                  </a:lnTo>
                  <a:lnTo>
                    <a:pt x="300" y="738"/>
                  </a:lnTo>
                  <a:lnTo>
                    <a:pt x="306" y="738"/>
                  </a:lnTo>
                  <a:lnTo>
                    <a:pt x="306" y="744"/>
                  </a:lnTo>
                  <a:lnTo>
                    <a:pt x="306" y="750"/>
                  </a:lnTo>
                  <a:lnTo>
                    <a:pt x="312" y="750"/>
                  </a:lnTo>
                  <a:lnTo>
                    <a:pt x="312" y="756"/>
                  </a:lnTo>
                  <a:lnTo>
                    <a:pt x="318" y="756"/>
                  </a:lnTo>
                  <a:lnTo>
                    <a:pt x="318" y="750"/>
                  </a:lnTo>
                  <a:lnTo>
                    <a:pt x="312" y="750"/>
                  </a:lnTo>
                  <a:lnTo>
                    <a:pt x="312" y="744"/>
                  </a:lnTo>
                  <a:lnTo>
                    <a:pt x="318" y="738"/>
                  </a:lnTo>
                  <a:lnTo>
                    <a:pt x="324" y="738"/>
                  </a:lnTo>
                  <a:lnTo>
                    <a:pt x="330" y="738"/>
                  </a:lnTo>
                  <a:lnTo>
                    <a:pt x="336" y="738"/>
                  </a:lnTo>
                  <a:lnTo>
                    <a:pt x="342" y="738"/>
                  </a:lnTo>
                  <a:lnTo>
                    <a:pt x="348" y="732"/>
                  </a:lnTo>
                  <a:lnTo>
                    <a:pt x="354" y="732"/>
                  </a:lnTo>
                  <a:lnTo>
                    <a:pt x="360" y="732"/>
                  </a:lnTo>
                  <a:lnTo>
                    <a:pt x="360" y="726"/>
                  </a:lnTo>
                  <a:lnTo>
                    <a:pt x="366" y="726"/>
                  </a:lnTo>
                  <a:lnTo>
                    <a:pt x="366" y="720"/>
                  </a:lnTo>
                  <a:lnTo>
                    <a:pt x="366" y="714"/>
                  </a:lnTo>
                  <a:lnTo>
                    <a:pt x="360" y="708"/>
                  </a:lnTo>
                  <a:lnTo>
                    <a:pt x="354" y="708"/>
                  </a:lnTo>
                  <a:lnTo>
                    <a:pt x="348" y="702"/>
                  </a:lnTo>
                  <a:lnTo>
                    <a:pt x="354" y="702"/>
                  </a:lnTo>
                  <a:lnTo>
                    <a:pt x="354" y="696"/>
                  </a:lnTo>
                  <a:lnTo>
                    <a:pt x="348" y="696"/>
                  </a:lnTo>
                  <a:lnTo>
                    <a:pt x="348" y="690"/>
                  </a:lnTo>
                  <a:lnTo>
                    <a:pt x="342" y="690"/>
                  </a:lnTo>
                  <a:lnTo>
                    <a:pt x="342" y="684"/>
                  </a:lnTo>
                  <a:lnTo>
                    <a:pt x="342" y="678"/>
                  </a:lnTo>
                  <a:lnTo>
                    <a:pt x="342" y="666"/>
                  </a:lnTo>
                  <a:lnTo>
                    <a:pt x="342" y="660"/>
                  </a:lnTo>
                  <a:lnTo>
                    <a:pt x="348" y="654"/>
                  </a:lnTo>
                  <a:lnTo>
                    <a:pt x="348" y="642"/>
                  </a:lnTo>
                  <a:lnTo>
                    <a:pt x="354" y="642"/>
                  </a:lnTo>
                  <a:lnTo>
                    <a:pt x="360" y="642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66" y="642"/>
                  </a:lnTo>
                  <a:lnTo>
                    <a:pt x="372" y="642"/>
                  </a:lnTo>
                  <a:lnTo>
                    <a:pt x="378" y="642"/>
                  </a:lnTo>
                  <a:lnTo>
                    <a:pt x="384" y="642"/>
                  </a:lnTo>
                  <a:lnTo>
                    <a:pt x="390" y="642"/>
                  </a:lnTo>
                  <a:lnTo>
                    <a:pt x="396" y="642"/>
                  </a:lnTo>
                  <a:lnTo>
                    <a:pt x="396" y="636"/>
                  </a:lnTo>
                  <a:lnTo>
                    <a:pt x="402" y="636"/>
                  </a:lnTo>
                  <a:lnTo>
                    <a:pt x="408" y="636"/>
                  </a:lnTo>
                  <a:lnTo>
                    <a:pt x="402" y="636"/>
                  </a:lnTo>
                  <a:lnTo>
                    <a:pt x="402" y="630"/>
                  </a:lnTo>
                  <a:lnTo>
                    <a:pt x="408" y="630"/>
                  </a:lnTo>
                  <a:lnTo>
                    <a:pt x="408" y="624"/>
                  </a:lnTo>
                  <a:lnTo>
                    <a:pt x="408" y="618"/>
                  </a:lnTo>
                  <a:lnTo>
                    <a:pt x="414" y="618"/>
                  </a:lnTo>
                  <a:lnTo>
                    <a:pt x="420" y="618"/>
                  </a:lnTo>
                  <a:lnTo>
                    <a:pt x="426" y="624"/>
                  </a:lnTo>
                  <a:lnTo>
                    <a:pt x="432" y="624"/>
                  </a:lnTo>
                  <a:lnTo>
                    <a:pt x="438" y="624"/>
                  </a:lnTo>
                  <a:lnTo>
                    <a:pt x="438" y="618"/>
                  </a:lnTo>
                  <a:lnTo>
                    <a:pt x="444" y="618"/>
                  </a:lnTo>
                  <a:lnTo>
                    <a:pt x="450" y="618"/>
                  </a:lnTo>
                  <a:lnTo>
                    <a:pt x="444" y="618"/>
                  </a:lnTo>
                  <a:lnTo>
                    <a:pt x="438" y="618"/>
                  </a:lnTo>
                  <a:lnTo>
                    <a:pt x="438" y="612"/>
                  </a:lnTo>
                  <a:lnTo>
                    <a:pt x="438" y="618"/>
                  </a:lnTo>
                  <a:lnTo>
                    <a:pt x="432" y="624"/>
                  </a:lnTo>
                  <a:lnTo>
                    <a:pt x="426" y="618"/>
                  </a:lnTo>
                  <a:lnTo>
                    <a:pt x="420" y="612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402" y="624"/>
                  </a:lnTo>
                  <a:lnTo>
                    <a:pt x="396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78" y="630"/>
                  </a:lnTo>
                  <a:lnTo>
                    <a:pt x="378" y="636"/>
                  </a:lnTo>
                  <a:lnTo>
                    <a:pt x="372" y="630"/>
                  </a:lnTo>
                  <a:lnTo>
                    <a:pt x="366" y="630"/>
                  </a:lnTo>
                  <a:lnTo>
                    <a:pt x="360" y="630"/>
                  </a:lnTo>
                  <a:lnTo>
                    <a:pt x="354" y="630"/>
                  </a:lnTo>
                  <a:lnTo>
                    <a:pt x="354" y="636"/>
                  </a:lnTo>
                  <a:lnTo>
                    <a:pt x="348" y="636"/>
                  </a:lnTo>
                  <a:lnTo>
                    <a:pt x="348" y="642"/>
                  </a:lnTo>
                  <a:lnTo>
                    <a:pt x="342" y="642"/>
                  </a:lnTo>
                  <a:lnTo>
                    <a:pt x="342" y="648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6" y="660"/>
                  </a:lnTo>
                  <a:lnTo>
                    <a:pt x="336" y="666"/>
                  </a:lnTo>
                  <a:lnTo>
                    <a:pt x="330" y="672"/>
                  </a:lnTo>
                  <a:lnTo>
                    <a:pt x="330" y="678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24" y="696"/>
                  </a:lnTo>
                  <a:lnTo>
                    <a:pt x="324" y="702"/>
                  </a:lnTo>
                  <a:lnTo>
                    <a:pt x="318" y="702"/>
                  </a:lnTo>
                  <a:lnTo>
                    <a:pt x="318" y="708"/>
                  </a:lnTo>
                  <a:lnTo>
                    <a:pt x="312" y="708"/>
                  </a:lnTo>
                  <a:lnTo>
                    <a:pt x="312" y="702"/>
                  </a:lnTo>
                  <a:lnTo>
                    <a:pt x="306" y="702"/>
                  </a:lnTo>
                  <a:lnTo>
                    <a:pt x="300" y="702"/>
                  </a:lnTo>
                  <a:lnTo>
                    <a:pt x="294" y="696"/>
                  </a:lnTo>
                  <a:lnTo>
                    <a:pt x="288" y="696"/>
                  </a:lnTo>
                  <a:lnTo>
                    <a:pt x="282" y="690"/>
                  </a:lnTo>
                  <a:lnTo>
                    <a:pt x="288" y="684"/>
                  </a:lnTo>
                  <a:lnTo>
                    <a:pt x="294" y="684"/>
                  </a:lnTo>
                  <a:lnTo>
                    <a:pt x="294" y="678"/>
                  </a:lnTo>
                  <a:lnTo>
                    <a:pt x="300" y="678"/>
                  </a:lnTo>
                  <a:lnTo>
                    <a:pt x="294" y="678"/>
                  </a:lnTo>
                  <a:lnTo>
                    <a:pt x="294" y="672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94" y="672"/>
                  </a:lnTo>
                  <a:lnTo>
                    <a:pt x="288" y="678"/>
                  </a:lnTo>
                  <a:lnTo>
                    <a:pt x="282" y="684"/>
                  </a:lnTo>
                  <a:lnTo>
                    <a:pt x="282" y="678"/>
                  </a:lnTo>
                  <a:lnTo>
                    <a:pt x="276" y="678"/>
                  </a:lnTo>
                  <a:lnTo>
                    <a:pt x="282" y="684"/>
                  </a:lnTo>
                  <a:lnTo>
                    <a:pt x="282" y="690"/>
                  </a:lnTo>
                  <a:lnTo>
                    <a:pt x="282" y="696"/>
                  </a:lnTo>
                  <a:lnTo>
                    <a:pt x="288" y="702"/>
                  </a:lnTo>
                  <a:lnTo>
                    <a:pt x="294" y="708"/>
                  </a:lnTo>
                  <a:lnTo>
                    <a:pt x="294" y="714"/>
                  </a:lnTo>
                  <a:lnTo>
                    <a:pt x="288" y="714"/>
                  </a:lnTo>
                  <a:lnTo>
                    <a:pt x="282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64" y="714"/>
                  </a:lnTo>
                  <a:lnTo>
                    <a:pt x="258" y="714"/>
                  </a:lnTo>
                  <a:lnTo>
                    <a:pt x="252" y="714"/>
                  </a:lnTo>
                  <a:lnTo>
                    <a:pt x="246" y="714"/>
                  </a:lnTo>
                  <a:lnTo>
                    <a:pt x="240" y="714"/>
                  </a:lnTo>
                  <a:lnTo>
                    <a:pt x="240" y="708"/>
                  </a:lnTo>
                  <a:lnTo>
                    <a:pt x="234" y="708"/>
                  </a:lnTo>
                  <a:lnTo>
                    <a:pt x="228" y="708"/>
                  </a:lnTo>
                  <a:lnTo>
                    <a:pt x="222" y="702"/>
                  </a:lnTo>
                  <a:lnTo>
                    <a:pt x="216" y="702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2" y="690"/>
                  </a:lnTo>
                  <a:lnTo>
                    <a:pt x="186" y="690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68" y="684"/>
                  </a:lnTo>
                  <a:lnTo>
                    <a:pt x="168" y="678"/>
                  </a:lnTo>
                  <a:lnTo>
                    <a:pt x="156" y="672"/>
                  </a:lnTo>
                  <a:lnTo>
                    <a:pt x="150" y="660"/>
                  </a:lnTo>
                  <a:lnTo>
                    <a:pt x="126" y="630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12"/>
                  </a:lnTo>
                  <a:lnTo>
                    <a:pt x="126" y="606"/>
                  </a:lnTo>
                  <a:lnTo>
                    <a:pt x="126" y="600"/>
                  </a:lnTo>
                  <a:lnTo>
                    <a:pt x="132" y="594"/>
                  </a:lnTo>
                  <a:lnTo>
                    <a:pt x="138" y="594"/>
                  </a:lnTo>
                  <a:lnTo>
                    <a:pt x="144" y="588"/>
                  </a:lnTo>
                  <a:lnTo>
                    <a:pt x="144" y="582"/>
                  </a:lnTo>
                  <a:lnTo>
                    <a:pt x="150" y="582"/>
                  </a:lnTo>
                  <a:lnTo>
                    <a:pt x="150" y="576"/>
                  </a:lnTo>
                  <a:lnTo>
                    <a:pt x="156" y="576"/>
                  </a:lnTo>
                  <a:lnTo>
                    <a:pt x="156" y="582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8" y="576"/>
                  </a:lnTo>
                  <a:lnTo>
                    <a:pt x="174" y="576"/>
                  </a:lnTo>
                  <a:lnTo>
                    <a:pt x="180" y="582"/>
                  </a:lnTo>
                  <a:lnTo>
                    <a:pt x="192" y="582"/>
                  </a:lnTo>
                  <a:lnTo>
                    <a:pt x="198" y="582"/>
                  </a:lnTo>
                  <a:lnTo>
                    <a:pt x="204" y="582"/>
                  </a:lnTo>
                  <a:lnTo>
                    <a:pt x="210" y="582"/>
                  </a:lnTo>
                  <a:lnTo>
                    <a:pt x="216" y="588"/>
                  </a:lnTo>
                  <a:lnTo>
                    <a:pt x="222" y="588"/>
                  </a:lnTo>
                  <a:lnTo>
                    <a:pt x="234" y="588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46" y="594"/>
                  </a:lnTo>
                  <a:lnTo>
                    <a:pt x="252" y="588"/>
                  </a:lnTo>
                  <a:lnTo>
                    <a:pt x="258" y="588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52" y="600"/>
                  </a:lnTo>
                  <a:lnTo>
                    <a:pt x="246" y="600"/>
                  </a:lnTo>
                  <a:lnTo>
                    <a:pt x="246" y="606"/>
                  </a:lnTo>
                  <a:lnTo>
                    <a:pt x="246" y="600"/>
                  </a:lnTo>
                  <a:lnTo>
                    <a:pt x="252" y="600"/>
                  </a:lnTo>
                  <a:lnTo>
                    <a:pt x="258" y="594"/>
                  </a:lnTo>
                  <a:lnTo>
                    <a:pt x="264" y="594"/>
                  </a:lnTo>
                  <a:lnTo>
                    <a:pt x="264" y="588"/>
                  </a:lnTo>
                  <a:lnTo>
                    <a:pt x="270" y="588"/>
                  </a:lnTo>
                  <a:lnTo>
                    <a:pt x="270" y="582"/>
                  </a:lnTo>
                  <a:lnTo>
                    <a:pt x="270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76" y="564"/>
                  </a:lnTo>
                  <a:lnTo>
                    <a:pt x="270" y="558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58"/>
                  </a:lnTo>
                  <a:lnTo>
                    <a:pt x="282" y="558"/>
                  </a:lnTo>
                  <a:lnTo>
                    <a:pt x="288" y="558"/>
                  </a:lnTo>
                  <a:lnTo>
                    <a:pt x="294" y="558"/>
                  </a:lnTo>
                  <a:lnTo>
                    <a:pt x="300" y="558"/>
                  </a:lnTo>
                  <a:lnTo>
                    <a:pt x="306" y="558"/>
                  </a:lnTo>
                  <a:lnTo>
                    <a:pt x="312" y="558"/>
                  </a:lnTo>
                  <a:lnTo>
                    <a:pt x="318" y="558"/>
                  </a:lnTo>
                  <a:lnTo>
                    <a:pt x="318" y="564"/>
                  </a:lnTo>
                  <a:lnTo>
                    <a:pt x="324" y="564"/>
                  </a:lnTo>
                  <a:lnTo>
                    <a:pt x="324" y="570"/>
                  </a:lnTo>
                  <a:lnTo>
                    <a:pt x="330" y="570"/>
                  </a:lnTo>
                  <a:lnTo>
                    <a:pt x="336" y="570"/>
                  </a:lnTo>
                  <a:lnTo>
                    <a:pt x="342" y="570"/>
                  </a:lnTo>
                  <a:lnTo>
                    <a:pt x="348" y="570"/>
                  </a:lnTo>
                  <a:lnTo>
                    <a:pt x="354" y="570"/>
                  </a:lnTo>
                  <a:lnTo>
                    <a:pt x="360" y="570"/>
                  </a:lnTo>
                  <a:lnTo>
                    <a:pt x="366" y="570"/>
                  </a:lnTo>
                  <a:lnTo>
                    <a:pt x="360" y="570"/>
                  </a:lnTo>
                  <a:lnTo>
                    <a:pt x="360" y="564"/>
                  </a:lnTo>
                  <a:lnTo>
                    <a:pt x="354" y="564"/>
                  </a:lnTo>
                  <a:lnTo>
                    <a:pt x="348" y="564"/>
                  </a:lnTo>
                  <a:lnTo>
                    <a:pt x="342" y="564"/>
                  </a:lnTo>
                  <a:lnTo>
                    <a:pt x="342" y="570"/>
                  </a:lnTo>
                  <a:lnTo>
                    <a:pt x="336" y="564"/>
                  </a:lnTo>
                  <a:lnTo>
                    <a:pt x="336" y="570"/>
                  </a:lnTo>
                  <a:lnTo>
                    <a:pt x="336" y="564"/>
                  </a:lnTo>
                  <a:lnTo>
                    <a:pt x="330" y="564"/>
                  </a:lnTo>
                  <a:lnTo>
                    <a:pt x="324" y="558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18" y="558"/>
                  </a:lnTo>
                  <a:lnTo>
                    <a:pt x="312" y="552"/>
                  </a:lnTo>
                  <a:lnTo>
                    <a:pt x="312" y="558"/>
                  </a:lnTo>
                  <a:lnTo>
                    <a:pt x="312" y="552"/>
                  </a:lnTo>
                  <a:lnTo>
                    <a:pt x="306" y="552"/>
                  </a:lnTo>
                  <a:lnTo>
                    <a:pt x="300" y="546"/>
                  </a:lnTo>
                  <a:lnTo>
                    <a:pt x="294" y="546"/>
                  </a:lnTo>
                  <a:lnTo>
                    <a:pt x="288" y="546"/>
                  </a:lnTo>
                  <a:lnTo>
                    <a:pt x="282" y="546"/>
                  </a:lnTo>
                  <a:lnTo>
                    <a:pt x="276" y="546"/>
                  </a:lnTo>
                  <a:lnTo>
                    <a:pt x="276" y="552"/>
                  </a:lnTo>
                  <a:lnTo>
                    <a:pt x="270" y="552"/>
                  </a:lnTo>
                  <a:lnTo>
                    <a:pt x="270" y="558"/>
                  </a:lnTo>
                  <a:lnTo>
                    <a:pt x="270" y="564"/>
                  </a:lnTo>
                  <a:lnTo>
                    <a:pt x="264" y="570"/>
                  </a:lnTo>
                  <a:lnTo>
                    <a:pt x="258" y="576"/>
                  </a:lnTo>
                  <a:lnTo>
                    <a:pt x="258" y="582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34" y="576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16" y="552"/>
                  </a:lnTo>
                  <a:lnTo>
                    <a:pt x="216" y="546"/>
                  </a:lnTo>
                  <a:lnTo>
                    <a:pt x="216" y="540"/>
                  </a:lnTo>
                  <a:lnTo>
                    <a:pt x="222" y="534"/>
                  </a:lnTo>
                  <a:lnTo>
                    <a:pt x="222" y="528"/>
                  </a:lnTo>
                  <a:lnTo>
                    <a:pt x="228" y="522"/>
                  </a:lnTo>
                  <a:lnTo>
                    <a:pt x="228" y="516"/>
                  </a:lnTo>
                  <a:lnTo>
                    <a:pt x="228" y="510"/>
                  </a:lnTo>
                  <a:lnTo>
                    <a:pt x="234" y="510"/>
                  </a:lnTo>
                  <a:lnTo>
                    <a:pt x="240" y="516"/>
                  </a:lnTo>
                  <a:lnTo>
                    <a:pt x="246" y="522"/>
                  </a:lnTo>
                  <a:lnTo>
                    <a:pt x="246" y="516"/>
                  </a:lnTo>
                  <a:lnTo>
                    <a:pt x="240" y="516"/>
                  </a:lnTo>
                  <a:lnTo>
                    <a:pt x="240" y="510"/>
                  </a:lnTo>
                  <a:lnTo>
                    <a:pt x="234" y="510"/>
                  </a:lnTo>
                  <a:lnTo>
                    <a:pt x="234" y="504"/>
                  </a:lnTo>
                  <a:lnTo>
                    <a:pt x="228" y="504"/>
                  </a:lnTo>
                  <a:lnTo>
                    <a:pt x="222" y="504"/>
                  </a:lnTo>
                  <a:lnTo>
                    <a:pt x="222" y="498"/>
                  </a:lnTo>
                  <a:lnTo>
                    <a:pt x="222" y="504"/>
                  </a:lnTo>
                  <a:lnTo>
                    <a:pt x="222" y="510"/>
                  </a:lnTo>
                  <a:lnTo>
                    <a:pt x="222" y="516"/>
                  </a:lnTo>
                  <a:lnTo>
                    <a:pt x="216" y="522"/>
                  </a:lnTo>
                  <a:lnTo>
                    <a:pt x="216" y="528"/>
                  </a:lnTo>
                  <a:lnTo>
                    <a:pt x="210" y="528"/>
                  </a:lnTo>
                  <a:lnTo>
                    <a:pt x="216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04" y="546"/>
                  </a:lnTo>
                  <a:lnTo>
                    <a:pt x="204" y="552"/>
                  </a:lnTo>
                  <a:lnTo>
                    <a:pt x="204" y="558"/>
                  </a:lnTo>
                  <a:lnTo>
                    <a:pt x="204" y="564"/>
                  </a:lnTo>
                  <a:lnTo>
                    <a:pt x="198" y="570"/>
                  </a:lnTo>
                  <a:lnTo>
                    <a:pt x="192" y="564"/>
                  </a:lnTo>
                  <a:lnTo>
                    <a:pt x="186" y="564"/>
                  </a:lnTo>
                  <a:lnTo>
                    <a:pt x="180" y="564"/>
                  </a:lnTo>
                  <a:lnTo>
                    <a:pt x="174" y="564"/>
                  </a:lnTo>
                  <a:lnTo>
                    <a:pt x="168" y="564"/>
                  </a:lnTo>
                  <a:lnTo>
                    <a:pt x="162" y="564"/>
                  </a:lnTo>
                  <a:lnTo>
                    <a:pt x="156" y="570"/>
                  </a:lnTo>
                  <a:lnTo>
                    <a:pt x="150" y="570"/>
                  </a:lnTo>
                  <a:lnTo>
                    <a:pt x="150" y="564"/>
                  </a:lnTo>
                  <a:lnTo>
                    <a:pt x="150" y="570"/>
                  </a:lnTo>
                  <a:lnTo>
                    <a:pt x="150" y="576"/>
                  </a:lnTo>
                  <a:lnTo>
                    <a:pt x="144" y="576"/>
                  </a:lnTo>
                  <a:lnTo>
                    <a:pt x="138" y="576"/>
                  </a:lnTo>
                  <a:lnTo>
                    <a:pt x="132" y="582"/>
                  </a:lnTo>
                  <a:lnTo>
                    <a:pt x="126" y="582"/>
                  </a:lnTo>
                  <a:lnTo>
                    <a:pt x="120" y="582"/>
                  </a:lnTo>
                  <a:lnTo>
                    <a:pt x="114" y="576"/>
                  </a:lnTo>
                  <a:lnTo>
                    <a:pt x="108" y="564"/>
                  </a:lnTo>
                  <a:lnTo>
                    <a:pt x="102" y="558"/>
                  </a:lnTo>
                  <a:lnTo>
                    <a:pt x="96" y="552"/>
                  </a:lnTo>
                  <a:lnTo>
                    <a:pt x="90" y="546"/>
                  </a:lnTo>
                  <a:lnTo>
                    <a:pt x="90" y="540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2"/>
                  </a:lnTo>
                  <a:lnTo>
                    <a:pt x="78" y="516"/>
                  </a:lnTo>
                  <a:lnTo>
                    <a:pt x="72" y="510"/>
                  </a:lnTo>
                  <a:lnTo>
                    <a:pt x="66" y="504"/>
                  </a:lnTo>
                  <a:lnTo>
                    <a:pt x="66" y="498"/>
                  </a:lnTo>
                  <a:lnTo>
                    <a:pt x="66" y="492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6" y="474"/>
                  </a:lnTo>
                  <a:lnTo>
                    <a:pt x="72" y="474"/>
                  </a:lnTo>
                  <a:lnTo>
                    <a:pt x="72" y="468"/>
                  </a:lnTo>
                  <a:lnTo>
                    <a:pt x="78" y="462"/>
                  </a:lnTo>
                  <a:lnTo>
                    <a:pt x="78" y="456"/>
                  </a:lnTo>
                  <a:lnTo>
                    <a:pt x="84" y="456"/>
                  </a:lnTo>
                  <a:lnTo>
                    <a:pt x="84" y="450"/>
                  </a:lnTo>
                  <a:lnTo>
                    <a:pt x="84" y="444"/>
                  </a:lnTo>
                  <a:lnTo>
                    <a:pt x="90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02" y="450"/>
                  </a:lnTo>
                  <a:lnTo>
                    <a:pt x="108" y="450"/>
                  </a:lnTo>
                  <a:lnTo>
                    <a:pt x="108" y="456"/>
                  </a:lnTo>
                  <a:lnTo>
                    <a:pt x="108" y="462"/>
                  </a:lnTo>
                  <a:lnTo>
                    <a:pt x="114" y="462"/>
                  </a:lnTo>
                  <a:lnTo>
                    <a:pt x="114" y="468"/>
                  </a:lnTo>
                  <a:lnTo>
                    <a:pt x="114" y="474"/>
                  </a:lnTo>
                  <a:lnTo>
                    <a:pt x="114" y="480"/>
                  </a:lnTo>
                  <a:lnTo>
                    <a:pt x="114" y="486"/>
                  </a:lnTo>
                  <a:lnTo>
                    <a:pt x="120" y="486"/>
                  </a:lnTo>
                  <a:lnTo>
                    <a:pt x="126" y="486"/>
                  </a:lnTo>
                  <a:lnTo>
                    <a:pt x="132" y="486"/>
                  </a:lnTo>
                  <a:lnTo>
                    <a:pt x="126" y="480"/>
                  </a:lnTo>
                  <a:lnTo>
                    <a:pt x="120" y="480"/>
                  </a:lnTo>
                  <a:lnTo>
                    <a:pt x="114" y="480"/>
                  </a:lnTo>
                  <a:lnTo>
                    <a:pt x="120" y="480"/>
                  </a:lnTo>
                  <a:lnTo>
                    <a:pt x="120" y="474"/>
                  </a:lnTo>
                  <a:lnTo>
                    <a:pt x="120" y="468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108" y="450"/>
                  </a:lnTo>
                  <a:lnTo>
                    <a:pt x="108" y="444"/>
                  </a:lnTo>
                  <a:lnTo>
                    <a:pt x="114" y="438"/>
                  </a:lnTo>
                  <a:lnTo>
                    <a:pt x="120" y="438"/>
                  </a:lnTo>
                  <a:lnTo>
                    <a:pt x="120" y="432"/>
                  </a:lnTo>
                  <a:lnTo>
                    <a:pt x="132" y="426"/>
                  </a:lnTo>
                  <a:lnTo>
                    <a:pt x="138" y="420"/>
                  </a:lnTo>
                  <a:lnTo>
                    <a:pt x="144" y="420"/>
                  </a:lnTo>
                  <a:lnTo>
                    <a:pt x="144" y="414"/>
                  </a:lnTo>
                  <a:lnTo>
                    <a:pt x="144" y="420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6" y="414"/>
                  </a:lnTo>
                  <a:lnTo>
                    <a:pt x="162" y="414"/>
                  </a:lnTo>
                  <a:lnTo>
                    <a:pt x="162" y="408"/>
                  </a:lnTo>
                  <a:lnTo>
                    <a:pt x="168" y="408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86" y="396"/>
                  </a:lnTo>
                  <a:lnTo>
                    <a:pt x="186" y="390"/>
                  </a:lnTo>
                  <a:lnTo>
                    <a:pt x="192" y="390"/>
                  </a:lnTo>
                  <a:lnTo>
                    <a:pt x="198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210" y="378"/>
                  </a:lnTo>
                  <a:lnTo>
                    <a:pt x="210" y="372"/>
                  </a:lnTo>
                  <a:lnTo>
                    <a:pt x="216" y="372"/>
                  </a:lnTo>
                  <a:lnTo>
                    <a:pt x="222" y="366"/>
                  </a:lnTo>
                  <a:lnTo>
                    <a:pt x="228" y="360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6" y="348"/>
                  </a:lnTo>
                  <a:lnTo>
                    <a:pt x="252" y="348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0" y="342"/>
                  </a:lnTo>
                  <a:lnTo>
                    <a:pt x="234" y="342"/>
                  </a:lnTo>
                  <a:lnTo>
                    <a:pt x="228" y="336"/>
                  </a:lnTo>
                  <a:lnTo>
                    <a:pt x="222" y="336"/>
                  </a:lnTo>
                  <a:lnTo>
                    <a:pt x="216" y="336"/>
                  </a:lnTo>
                  <a:lnTo>
                    <a:pt x="222" y="324"/>
                  </a:lnTo>
                  <a:lnTo>
                    <a:pt x="222" y="318"/>
                  </a:lnTo>
                  <a:lnTo>
                    <a:pt x="222" y="312"/>
                  </a:lnTo>
                  <a:lnTo>
                    <a:pt x="234" y="318"/>
                  </a:lnTo>
                  <a:lnTo>
                    <a:pt x="246" y="318"/>
                  </a:lnTo>
                  <a:lnTo>
                    <a:pt x="258" y="318"/>
                  </a:lnTo>
                  <a:lnTo>
                    <a:pt x="270" y="312"/>
                  </a:lnTo>
                  <a:lnTo>
                    <a:pt x="276" y="312"/>
                  </a:lnTo>
                  <a:lnTo>
                    <a:pt x="288" y="324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94" y="306"/>
                  </a:lnTo>
                  <a:lnTo>
                    <a:pt x="300" y="300"/>
                  </a:lnTo>
                  <a:lnTo>
                    <a:pt x="306" y="306"/>
                  </a:lnTo>
                  <a:lnTo>
                    <a:pt x="312" y="318"/>
                  </a:lnTo>
                  <a:lnTo>
                    <a:pt x="318" y="312"/>
                  </a:lnTo>
                  <a:lnTo>
                    <a:pt x="324" y="312"/>
                  </a:lnTo>
                  <a:lnTo>
                    <a:pt x="330" y="312"/>
                  </a:lnTo>
                  <a:lnTo>
                    <a:pt x="342" y="306"/>
                  </a:lnTo>
                  <a:lnTo>
                    <a:pt x="348" y="306"/>
                  </a:lnTo>
                  <a:lnTo>
                    <a:pt x="348" y="312"/>
                  </a:lnTo>
                  <a:lnTo>
                    <a:pt x="348" y="318"/>
                  </a:lnTo>
                  <a:lnTo>
                    <a:pt x="354" y="318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60" y="336"/>
                  </a:lnTo>
                  <a:lnTo>
                    <a:pt x="366" y="330"/>
                  </a:lnTo>
                  <a:lnTo>
                    <a:pt x="378" y="324"/>
                  </a:lnTo>
                  <a:lnTo>
                    <a:pt x="384" y="324"/>
                  </a:lnTo>
                  <a:lnTo>
                    <a:pt x="384" y="318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6"/>
                  </a:lnTo>
                  <a:lnTo>
                    <a:pt x="402" y="306"/>
                  </a:lnTo>
                  <a:lnTo>
                    <a:pt x="408" y="306"/>
                  </a:lnTo>
                  <a:lnTo>
                    <a:pt x="414" y="300"/>
                  </a:lnTo>
                  <a:lnTo>
                    <a:pt x="420" y="300"/>
                  </a:lnTo>
                  <a:lnTo>
                    <a:pt x="426" y="300"/>
                  </a:lnTo>
                  <a:lnTo>
                    <a:pt x="432" y="300"/>
                  </a:lnTo>
                  <a:lnTo>
                    <a:pt x="444" y="288"/>
                  </a:lnTo>
                  <a:lnTo>
                    <a:pt x="450" y="294"/>
                  </a:lnTo>
                  <a:lnTo>
                    <a:pt x="468" y="300"/>
                  </a:lnTo>
                  <a:lnTo>
                    <a:pt x="498" y="312"/>
                  </a:lnTo>
                  <a:lnTo>
                    <a:pt x="504" y="324"/>
                  </a:lnTo>
                  <a:lnTo>
                    <a:pt x="516" y="330"/>
                  </a:lnTo>
                  <a:lnTo>
                    <a:pt x="516" y="336"/>
                  </a:lnTo>
                  <a:lnTo>
                    <a:pt x="540" y="342"/>
                  </a:lnTo>
                  <a:lnTo>
                    <a:pt x="558" y="372"/>
                  </a:lnTo>
                  <a:lnTo>
                    <a:pt x="594" y="384"/>
                  </a:lnTo>
                  <a:lnTo>
                    <a:pt x="606" y="402"/>
                  </a:lnTo>
                  <a:lnTo>
                    <a:pt x="600" y="420"/>
                  </a:lnTo>
                  <a:lnTo>
                    <a:pt x="588" y="444"/>
                  </a:lnTo>
                  <a:lnTo>
                    <a:pt x="588" y="450"/>
                  </a:lnTo>
                  <a:lnTo>
                    <a:pt x="588" y="456"/>
                  </a:lnTo>
                  <a:lnTo>
                    <a:pt x="594" y="456"/>
                  </a:lnTo>
                  <a:lnTo>
                    <a:pt x="594" y="462"/>
                  </a:lnTo>
                  <a:lnTo>
                    <a:pt x="594" y="468"/>
                  </a:lnTo>
                  <a:lnTo>
                    <a:pt x="594" y="474"/>
                  </a:lnTo>
                  <a:lnTo>
                    <a:pt x="600" y="474"/>
                  </a:lnTo>
                  <a:lnTo>
                    <a:pt x="606" y="480"/>
                  </a:lnTo>
                  <a:lnTo>
                    <a:pt x="606" y="486"/>
                  </a:lnTo>
                  <a:lnTo>
                    <a:pt x="612" y="486"/>
                  </a:lnTo>
                  <a:lnTo>
                    <a:pt x="618" y="486"/>
                  </a:lnTo>
                  <a:lnTo>
                    <a:pt x="624" y="486"/>
                  </a:lnTo>
                  <a:lnTo>
                    <a:pt x="636" y="486"/>
                  </a:lnTo>
                  <a:lnTo>
                    <a:pt x="642" y="486"/>
                  </a:lnTo>
                  <a:lnTo>
                    <a:pt x="648" y="480"/>
                  </a:lnTo>
                  <a:lnTo>
                    <a:pt x="654" y="474"/>
                  </a:lnTo>
                  <a:lnTo>
                    <a:pt x="660" y="468"/>
                  </a:lnTo>
                  <a:lnTo>
                    <a:pt x="666" y="468"/>
                  </a:lnTo>
                  <a:lnTo>
                    <a:pt x="684" y="468"/>
                  </a:lnTo>
                  <a:lnTo>
                    <a:pt x="696" y="468"/>
                  </a:lnTo>
                  <a:lnTo>
                    <a:pt x="696" y="462"/>
                  </a:lnTo>
                  <a:lnTo>
                    <a:pt x="702" y="456"/>
                  </a:lnTo>
                  <a:lnTo>
                    <a:pt x="708" y="450"/>
                  </a:lnTo>
                  <a:lnTo>
                    <a:pt x="714" y="450"/>
                  </a:lnTo>
                  <a:lnTo>
                    <a:pt x="720" y="450"/>
                  </a:lnTo>
                  <a:lnTo>
                    <a:pt x="720" y="438"/>
                  </a:lnTo>
                  <a:lnTo>
                    <a:pt x="726" y="432"/>
                  </a:lnTo>
                  <a:lnTo>
                    <a:pt x="738" y="420"/>
                  </a:lnTo>
                  <a:lnTo>
                    <a:pt x="744" y="420"/>
                  </a:lnTo>
                  <a:lnTo>
                    <a:pt x="750" y="414"/>
                  </a:lnTo>
                  <a:lnTo>
                    <a:pt x="762" y="408"/>
                  </a:lnTo>
                  <a:lnTo>
                    <a:pt x="768" y="408"/>
                  </a:lnTo>
                  <a:lnTo>
                    <a:pt x="768" y="402"/>
                  </a:lnTo>
                  <a:lnTo>
                    <a:pt x="780" y="396"/>
                  </a:lnTo>
                  <a:lnTo>
                    <a:pt x="786" y="396"/>
                  </a:lnTo>
                  <a:lnTo>
                    <a:pt x="786" y="390"/>
                  </a:lnTo>
                  <a:lnTo>
                    <a:pt x="792" y="384"/>
                  </a:lnTo>
                  <a:lnTo>
                    <a:pt x="792" y="378"/>
                  </a:lnTo>
                  <a:lnTo>
                    <a:pt x="798" y="366"/>
                  </a:lnTo>
                  <a:lnTo>
                    <a:pt x="804" y="360"/>
                  </a:lnTo>
                  <a:lnTo>
                    <a:pt x="816" y="342"/>
                  </a:lnTo>
                  <a:lnTo>
                    <a:pt x="816" y="312"/>
                  </a:lnTo>
                  <a:lnTo>
                    <a:pt x="804" y="300"/>
                  </a:lnTo>
                  <a:lnTo>
                    <a:pt x="798" y="288"/>
                  </a:lnTo>
                  <a:lnTo>
                    <a:pt x="762" y="264"/>
                  </a:lnTo>
                  <a:lnTo>
                    <a:pt x="738" y="234"/>
                  </a:lnTo>
                  <a:lnTo>
                    <a:pt x="738" y="222"/>
                  </a:lnTo>
                  <a:lnTo>
                    <a:pt x="744" y="210"/>
                  </a:lnTo>
                  <a:lnTo>
                    <a:pt x="732" y="174"/>
                  </a:lnTo>
                  <a:lnTo>
                    <a:pt x="714" y="156"/>
                  </a:lnTo>
                  <a:lnTo>
                    <a:pt x="708" y="144"/>
                  </a:lnTo>
                  <a:lnTo>
                    <a:pt x="714" y="126"/>
                  </a:lnTo>
                  <a:lnTo>
                    <a:pt x="720" y="114"/>
                  </a:lnTo>
                  <a:lnTo>
                    <a:pt x="732" y="102"/>
                  </a:lnTo>
                  <a:lnTo>
                    <a:pt x="744" y="102"/>
                  </a:lnTo>
                  <a:lnTo>
                    <a:pt x="762" y="108"/>
                  </a:lnTo>
                  <a:lnTo>
                    <a:pt x="774" y="114"/>
                  </a:lnTo>
                  <a:lnTo>
                    <a:pt x="780" y="138"/>
                  </a:lnTo>
                  <a:lnTo>
                    <a:pt x="786" y="144"/>
                  </a:lnTo>
                  <a:lnTo>
                    <a:pt x="798" y="138"/>
                  </a:lnTo>
                  <a:lnTo>
                    <a:pt x="804" y="132"/>
                  </a:lnTo>
                  <a:lnTo>
                    <a:pt x="816" y="120"/>
                  </a:lnTo>
                  <a:lnTo>
                    <a:pt x="816" y="108"/>
                  </a:lnTo>
                  <a:lnTo>
                    <a:pt x="828" y="102"/>
                  </a:lnTo>
                  <a:lnTo>
                    <a:pt x="828" y="96"/>
                  </a:lnTo>
                  <a:lnTo>
                    <a:pt x="840" y="96"/>
                  </a:lnTo>
                  <a:lnTo>
                    <a:pt x="840" y="84"/>
                  </a:lnTo>
                  <a:lnTo>
                    <a:pt x="852" y="90"/>
                  </a:lnTo>
                  <a:lnTo>
                    <a:pt x="852" y="96"/>
                  </a:lnTo>
                  <a:lnTo>
                    <a:pt x="870" y="90"/>
                  </a:lnTo>
                  <a:lnTo>
                    <a:pt x="894" y="78"/>
                  </a:lnTo>
                  <a:lnTo>
                    <a:pt x="912" y="78"/>
                  </a:lnTo>
                  <a:lnTo>
                    <a:pt x="942" y="66"/>
                  </a:lnTo>
                  <a:lnTo>
                    <a:pt x="942" y="60"/>
                  </a:lnTo>
                  <a:lnTo>
                    <a:pt x="954" y="48"/>
                  </a:lnTo>
                  <a:lnTo>
                    <a:pt x="966" y="30"/>
                  </a:lnTo>
                  <a:lnTo>
                    <a:pt x="978" y="30"/>
                  </a:lnTo>
                  <a:lnTo>
                    <a:pt x="978" y="24"/>
                  </a:lnTo>
                  <a:lnTo>
                    <a:pt x="984" y="12"/>
                  </a:lnTo>
                  <a:lnTo>
                    <a:pt x="990" y="12"/>
                  </a:lnTo>
                  <a:lnTo>
                    <a:pt x="996" y="12"/>
                  </a:lnTo>
                  <a:lnTo>
                    <a:pt x="1014" y="6"/>
                  </a:lnTo>
                  <a:lnTo>
                    <a:pt x="1026" y="6"/>
                  </a:lnTo>
                  <a:lnTo>
                    <a:pt x="1044" y="6"/>
                  </a:lnTo>
                  <a:lnTo>
                    <a:pt x="1050" y="6"/>
                  </a:lnTo>
                  <a:lnTo>
                    <a:pt x="1056" y="6"/>
                  </a:lnTo>
                  <a:lnTo>
                    <a:pt x="1062" y="6"/>
                  </a:lnTo>
                  <a:lnTo>
                    <a:pt x="1068" y="6"/>
                  </a:lnTo>
                  <a:lnTo>
                    <a:pt x="1074" y="6"/>
                  </a:lnTo>
                  <a:lnTo>
                    <a:pt x="1080" y="6"/>
                  </a:lnTo>
                  <a:lnTo>
                    <a:pt x="1086" y="0"/>
                  </a:lnTo>
                  <a:lnTo>
                    <a:pt x="1092" y="30"/>
                  </a:lnTo>
                  <a:lnTo>
                    <a:pt x="1098" y="60"/>
                  </a:lnTo>
                  <a:lnTo>
                    <a:pt x="1110" y="84"/>
                  </a:lnTo>
                  <a:lnTo>
                    <a:pt x="1122" y="114"/>
                  </a:lnTo>
                  <a:lnTo>
                    <a:pt x="1128" y="144"/>
                  </a:lnTo>
                  <a:lnTo>
                    <a:pt x="1122" y="156"/>
                  </a:lnTo>
                  <a:lnTo>
                    <a:pt x="1128" y="168"/>
                  </a:lnTo>
                  <a:lnTo>
                    <a:pt x="1134" y="186"/>
                  </a:lnTo>
                  <a:lnTo>
                    <a:pt x="1140" y="204"/>
                  </a:lnTo>
                  <a:lnTo>
                    <a:pt x="1146" y="210"/>
                  </a:lnTo>
                  <a:lnTo>
                    <a:pt x="1146" y="216"/>
                  </a:lnTo>
                  <a:lnTo>
                    <a:pt x="1146" y="228"/>
                  </a:lnTo>
                  <a:lnTo>
                    <a:pt x="1146" y="234"/>
                  </a:lnTo>
                  <a:lnTo>
                    <a:pt x="1140" y="246"/>
                  </a:lnTo>
                  <a:lnTo>
                    <a:pt x="1128" y="258"/>
                  </a:lnTo>
                  <a:lnTo>
                    <a:pt x="1116" y="264"/>
                  </a:lnTo>
                  <a:lnTo>
                    <a:pt x="1110" y="276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2" y="312"/>
                  </a:lnTo>
                  <a:lnTo>
                    <a:pt x="1116" y="324"/>
                  </a:lnTo>
                  <a:lnTo>
                    <a:pt x="1104" y="336"/>
                  </a:lnTo>
                  <a:lnTo>
                    <a:pt x="1104" y="354"/>
                  </a:lnTo>
                  <a:lnTo>
                    <a:pt x="1098" y="372"/>
                  </a:lnTo>
                  <a:lnTo>
                    <a:pt x="1092" y="384"/>
                  </a:lnTo>
                  <a:lnTo>
                    <a:pt x="1086" y="390"/>
                  </a:lnTo>
                  <a:lnTo>
                    <a:pt x="1086" y="402"/>
                  </a:lnTo>
                  <a:lnTo>
                    <a:pt x="1080" y="414"/>
                  </a:lnTo>
                  <a:lnTo>
                    <a:pt x="1074" y="426"/>
                  </a:lnTo>
                  <a:lnTo>
                    <a:pt x="1074" y="450"/>
                  </a:lnTo>
                  <a:lnTo>
                    <a:pt x="1074" y="462"/>
                  </a:lnTo>
                  <a:lnTo>
                    <a:pt x="1068" y="474"/>
                  </a:lnTo>
                  <a:lnTo>
                    <a:pt x="1062" y="486"/>
                  </a:lnTo>
                  <a:lnTo>
                    <a:pt x="1056" y="498"/>
                  </a:lnTo>
                  <a:close/>
                  <a:moveTo>
                    <a:pt x="186" y="378"/>
                  </a:moveTo>
                  <a:lnTo>
                    <a:pt x="186" y="384"/>
                  </a:lnTo>
                  <a:lnTo>
                    <a:pt x="180" y="390"/>
                  </a:lnTo>
                  <a:lnTo>
                    <a:pt x="174" y="396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14"/>
                  </a:lnTo>
                  <a:lnTo>
                    <a:pt x="126" y="414"/>
                  </a:lnTo>
                  <a:lnTo>
                    <a:pt x="120" y="414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2" y="426"/>
                  </a:lnTo>
                  <a:lnTo>
                    <a:pt x="102" y="432"/>
                  </a:lnTo>
                  <a:lnTo>
                    <a:pt x="96" y="432"/>
                  </a:lnTo>
                  <a:lnTo>
                    <a:pt x="90" y="432"/>
                  </a:lnTo>
                  <a:lnTo>
                    <a:pt x="84" y="438"/>
                  </a:lnTo>
                  <a:lnTo>
                    <a:pt x="78" y="438"/>
                  </a:lnTo>
                  <a:lnTo>
                    <a:pt x="78" y="444"/>
                  </a:lnTo>
                  <a:lnTo>
                    <a:pt x="72" y="444"/>
                  </a:lnTo>
                  <a:lnTo>
                    <a:pt x="72" y="450"/>
                  </a:lnTo>
                  <a:lnTo>
                    <a:pt x="66" y="456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48" y="468"/>
                  </a:lnTo>
                  <a:lnTo>
                    <a:pt x="42" y="468"/>
                  </a:lnTo>
                  <a:lnTo>
                    <a:pt x="42" y="462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8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0" y="396"/>
                  </a:lnTo>
                  <a:lnTo>
                    <a:pt x="6" y="384"/>
                  </a:lnTo>
                  <a:lnTo>
                    <a:pt x="18" y="372"/>
                  </a:lnTo>
                  <a:lnTo>
                    <a:pt x="30" y="348"/>
                  </a:lnTo>
                  <a:lnTo>
                    <a:pt x="30" y="342"/>
                  </a:lnTo>
                  <a:lnTo>
                    <a:pt x="42" y="330"/>
                  </a:lnTo>
                  <a:lnTo>
                    <a:pt x="42" y="324"/>
                  </a:lnTo>
                  <a:lnTo>
                    <a:pt x="48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60" y="282"/>
                  </a:lnTo>
                  <a:lnTo>
                    <a:pt x="60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2" y="258"/>
                  </a:lnTo>
                  <a:lnTo>
                    <a:pt x="84" y="246"/>
                  </a:lnTo>
                  <a:lnTo>
                    <a:pt x="90" y="234"/>
                  </a:lnTo>
                  <a:lnTo>
                    <a:pt x="96" y="234"/>
                  </a:lnTo>
                  <a:lnTo>
                    <a:pt x="96" y="228"/>
                  </a:lnTo>
                  <a:lnTo>
                    <a:pt x="102" y="222"/>
                  </a:lnTo>
                  <a:lnTo>
                    <a:pt x="102" y="228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14" y="228"/>
                  </a:lnTo>
                  <a:lnTo>
                    <a:pt x="114" y="234"/>
                  </a:lnTo>
                  <a:lnTo>
                    <a:pt x="120" y="228"/>
                  </a:lnTo>
                  <a:lnTo>
                    <a:pt x="120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26" y="228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8" y="234"/>
                  </a:lnTo>
                  <a:lnTo>
                    <a:pt x="144" y="234"/>
                  </a:lnTo>
                  <a:lnTo>
                    <a:pt x="144" y="228"/>
                  </a:lnTo>
                  <a:lnTo>
                    <a:pt x="150" y="228"/>
                  </a:lnTo>
                  <a:lnTo>
                    <a:pt x="156" y="228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46"/>
                  </a:lnTo>
                  <a:lnTo>
                    <a:pt x="162" y="240"/>
                  </a:lnTo>
                  <a:lnTo>
                    <a:pt x="162" y="246"/>
                  </a:lnTo>
                  <a:lnTo>
                    <a:pt x="162" y="258"/>
                  </a:lnTo>
                  <a:lnTo>
                    <a:pt x="162" y="264"/>
                  </a:lnTo>
                  <a:lnTo>
                    <a:pt x="156" y="270"/>
                  </a:lnTo>
                  <a:lnTo>
                    <a:pt x="162" y="270"/>
                  </a:lnTo>
                  <a:lnTo>
                    <a:pt x="162" y="282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86" y="288"/>
                  </a:lnTo>
                  <a:lnTo>
                    <a:pt x="186" y="294"/>
                  </a:lnTo>
                  <a:lnTo>
                    <a:pt x="180" y="300"/>
                  </a:lnTo>
                  <a:lnTo>
                    <a:pt x="174" y="318"/>
                  </a:lnTo>
                  <a:lnTo>
                    <a:pt x="174" y="324"/>
                  </a:lnTo>
                  <a:lnTo>
                    <a:pt x="168" y="330"/>
                  </a:lnTo>
                  <a:lnTo>
                    <a:pt x="168" y="342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74" y="360"/>
                  </a:lnTo>
                  <a:lnTo>
                    <a:pt x="180" y="366"/>
                  </a:lnTo>
                  <a:lnTo>
                    <a:pt x="186" y="37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8" name="Freeform 23">
              <a:extLst>
                <a:ext uri="{FF2B5EF4-FFF2-40B4-BE49-F238E27FC236}">
                  <a16:creationId xmlns:a16="http://schemas.microsoft.com/office/drawing/2014/main" id="{A539A33E-3F6E-4AF7-BD88-1853165307F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6312" y="3604793"/>
              <a:ext cx="581410" cy="621747"/>
            </a:xfrm>
            <a:custGeom>
              <a:avLst/>
              <a:gdLst>
                <a:gd name="T0" fmla="*/ 90 w 1092"/>
                <a:gd name="T1" fmla="*/ 60 h 1170"/>
                <a:gd name="T2" fmla="*/ 83 w 1092"/>
                <a:gd name="T3" fmla="*/ 62 h 1170"/>
                <a:gd name="T4" fmla="*/ 72 w 1092"/>
                <a:gd name="T5" fmla="*/ 68 h 1170"/>
                <a:gd name="T6" fmla="*/ 68 w 1092"/>
                <a:gd name="T7" fmla="*/ 71 h 1170"/>
                <a:gd name="T8" fmla="*/ 61 w 1092"/>
                <a:gd name="T9" fmla="*/ 69 h 1170"/>
                <a:gd name="T10" fmla="*/ 64 w 1092"/>
                <a:gd name="T11" fmla="*/ 82 h 1170"/>
                <a:gd name="T12" fmla="*/ 67 w 1092"/>
                <a:gd name="T13" fmla="*/ 93 h 1170"/>
                <a:gd name="T14" fmla="*/ 62 w 1092"/>
                <a:gd name="T15" fmla="*/ 96 h 1170"/>
                <a:gd name="T16" fmla="*/ 59 w 1092"/>
                <a:gd name="T17" fmla="*/ 99 h 1170"/>
                <a:gd name="T18" fmla="*/ 53 w 1092"/>
                <a:gd name="T19" fmla="*/ 101 h 1170"/>
                <a:gd name="T20" fmla="*/ 50 w 1092"/>
                <a:gd name="T21" fmla="*/ 100 h 1170"/>
                <a:gd name="T22" fmla="*/ 50 w 1092"/>
                <a:gd name="T23" fmla="*/ 93 h 1170"/>
                <a:gd name="T24" fmla="*/ 37 w 1092"/>
                <a:gd name="T25" fmla="*/ 85 h 1170"/>
                <a:gd name="T26" fmla="*/ 32 w 1092"/>
                <a:gd name="T27" fmla="*/ 86 h 1170"/>
                <a:gd name="T28" fmla="*/ 29 w 1092"/>
                <a:gd name="T29" fmla="*/ 88 h 1170"/>
                <a:gd name="T30" fmla="*/ 27 w 1092"/>
                <a:gd name="T31" fmla="*/ 86 h 1170"/>
                <a:gd name="T32" fmla="*/ 23 w 1092"/>
                <a:gd name="T33" fmla="*/ 87 h 1170"/>
                <a:gd name="T34" fmla="*/ 17 w 1092"/>
                <a:gd name="T35" fmla="*/ 87 h 1170"/>
                <a:gd name="T36" fmla="*/ 18 w 1092"/>
                <a:gd name="T37" fmla="*/ 89 h 1170"/>
                <a:gd name="T38" fmla="*/ 16 w 1092"/>
                <a:gd name="T39" fmla="*/ 92 h 1170"/>
                <a:gd name="T40" fmla="*/ 12 w 1092"/>
                <a:gd name="T41" fmla="*/ 89 h 1170"/>
                <a:gd name="T42" fmla="*/ 13 w 1092"/>
                <a:gd name="T43" fmla="*/ 84 h 1170"/>
                <a:gd name="T44" fmla="*/ 12 w 1092"/>
                <a:gd name="T45" fmla="*/ 80 h 1170"/>
                <a:gd name="T46" fmla="*/ 10 w 1092"/>
                <a:gd name="T47" fmla="*/ 80 h 1170"/>
                <a:gd name="T48" fmla="*/ 8 w 1092"/>
                <a:gd name="T49" fmla="*/ 79 h 1170"/>
                <a:gd name="T50" fmla="*/ 6 w 1092"/>
                <a:gd name="T51" fmla="*/ 78 h 1170"/>
                <a:gd name="T52" fmla="*/ 6 w 1092"/>
                <a:gd name="T53" fmla="*/ 77 h 1170"/>
                <a:gd name="T54" fmla="*/ 4 w 1092"/>
                <a:gd name="T55" fmla="*/ 75 h 1170"/>
                <a:gd name="T56" fmla="*/ 0 w 1092"/>
                <a:gd name="T57" fmla="*/ 72 h 1170"/>
                <a:gd name="T58" fmla="*/ 0 w 1092"/>
                <a:gd name="T59" fmla="*/ 69 h 1170"/>
                <a:gd name="T60" fmla="*/ 3 w 1092"/>
                <a:gd name="T61" fmla="*/ 67 h 1170"/>
                <a:gd name="T62" fmla="*/ 6 w 1092"/>
                <a:gd name="T63" fmla="*/ 62 h 1170"/>
                <a:gd name="T64" fmla="*/ 8 w 1092"/>
                <a:gd name="T65" fmla="*/ 58 h 1170"/>
                <a:gd name="T66" fmla="*/ 5 w 1092"/>
                <a:gd name="T67" fmla="*/ 54 h 1170"/>
                <a:gd name="T68" fmla="*/ 6 w 1092"/>
                <a:gd name="T69" fmla="*/ 50 h 1170"/>
                <a:gd name="T70" fmla="*/ 8 w 1092"/>
                <a:gd name="T71" fmla="*/ 46 h 1170"/>
                <a:gd name="T72" fmla="*/ 10 w 1092"/>
                <a:gd name="T73" fmla="*/ 43 h 1170"/>
                <a:gd name="T74" fmla="*/ 14 w 1092"/>
                <a:gd name="T75" fmla="*/ 38 h 1170"/>
                <a:gd name="T76" fmla="*/ 31 w 1092"/>
                <a:gd name="T77" fmla="*/ 40 h 1170"/>
                <a:gd name="T78" fmla="*/ 30 w 1092"/>
                <a:gd name="T79" fmla="*/ 46 h 1170"/>
                <a:gd name="T80" fmla="*/ 36 w 1092"/>
                <a:gd name="T81" fmla="*/ 47 h 1170"/>
                <a:gd name="T82" fmla="*/ 41 w 1092"/>
                <a:gd name="T83" fmla="*/ 44 h 1170"/>
                <a:gd name="T84" fmla="*/ 43 w 1092"/>
                <a:gd name="T85" fmla="*/ 39 h 1170"/>
                <a:gd name="T86" fmla="*/ 44 w 1092"/>
                <a:gd name="T87" fmla="*/ 35 h 1170"/>
                <a:gd name="T88" fmla="*/ 44 w 1092"/>
                <a:gd name="T89" fmla="*/ 29 h 1170"/>
                <a:gd name="T90" fmla="*/ 48 w 1092"/>
                <a:gd name="T91" fmla="*/ 24 h 1170"/>
                <a:gd name="T92" fmla="*/ 49 w 1092"/>
                <a:gd name="T93" fmla="*/ 19 h 1170"/>
                <a:gd name="T94" fmla="*/ 51 w 1092"/>
                <a:gd name="T95" fmla="*/ 14 h 1170"/>
                <a:gd name="T96" fmla="*/ 54 w 1092"/>
                <a:gd name="T97" fmla="*/ 10 h 1170"/>
                <a:gd name="T98" fmla="*/ 53 w 1092"/>
                <a:gd name="T99" fmla="*/ 7 h 1170"/>
                <a:gd name="T100" fmla="*/ 55 w 1092"/>
                <a:gd name="T101" fmla="*/ 3 h 1170"/>
                <a:gd name="T102" fmla="*/ 58 w 1092"/>
                <a:gd name="T103" fmla="*/ 0 h 1170"/>
                <a:gd name="T104" fmla="*/ 65 w 1092"/>
                <a:gd name="T105" fmla="*/ 2 h 1170"/>
                <a:gd name="T106" fmla="*/ 61 w 1092"/>
                <a:gd name="T107" fmla="*/ 6 h 1170"/>
                <a:gd name="T108" fmla="*/ 67 w 1092"/>
                <a:gd name="T109" fmla="*/ 7 h 1170"/>
                <a:gd name="T110" fmla="*/ 71 w 1092"/>
                <a:gd name="T111" fmla="*/ 6 h 1170"/>
                <a:gd name="T112" fmla="*/ 75 w 1092"/>
                <a:gd name="T113" fmla="*/ 9 h 1170"/>
                <a:gd name="T114" fmla="*/ 82 w 1092"/>
                <a:gd name="T115" fmla="*/ 12 h 1170"/>
                <a:gd name="T116" fmla="*/ 84 w 1092"/>
                <a:gd name="T117" fmla="*/ 17 h 1170"/>
                <a:gd name="T118" fmla="*/ 94 w 1092"/>
                <a:gd name="T119" fmla="*/ 23 h 1170"/>
                <a:gd name="T120" fmla="*/ 94 w 1092"/>
                <a:gd name="T121" fmla="*/ 34 h 1170"/>
                <a:gd name="T122" fmla="*/ 90 w 1092"/>
                <a:gd name="T123" fmla="*/ 41 h 1170"/>
                <a:gd name="T124" fmla="*/ 91 w 1092"/>
                <a:gd name="T125" fmla="*/ 51 h 11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92"/>
                <a:gd name="T190" fmla="*/ 0 h 1170"/>
                <a:gd name="T191" fmla="*/ 1092 w 1092"/>
                <a:gd name="T192" fmla="*/ 1170 h 117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92" h="1170">
                  <a:moveTo>
                    <a:pt x="1056" y="654"/>
                  </a:moveTo>
                  <a:lnTo>
                    <a:pt x="1062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0"/>
                  </a:lnTo>
                  <a:lnTo>
                    <a:pt x="1038" y="690"/>
                  </a:lnTo>
                  <a:lnTo>
                    <a:pt x="1032" y="690"/>
                  </a:lnTo>
                  <a:lnTo>
                    <a:pt x="1026" y="690"/>
                  </a:lnTo>
                  <a:lnTo>
                    <a:pt x="1020" y="690"/>
                  </a:lnTo>
                  <a:lnTo>
                    <a:pt x="1002" y="690"/>
                  </a:lnTo>
                  <a:lnTo>
                    <a:pt x="990" y="690"/>
                  </a:lnTo>
                  <a:lnTo>
                    <a:pt x="972" y="696"/>
                  </a:lnTo>
                  <a:lnTo>
                    <a:pt x="966" y="696"/>
                  </a:lnTo>
                  <a:lnTo>
                    <a:pt x="960" y="696"/>
                  </a:lnTo>
                  <a:lnTo>
                    <a:pt x="954" y="708"/>
                  </a:lnTo>
                  <a:lnTo>
                    <a:pt x="954" y="714"/>
                  </a:lnTo>
                  <a:lnTo>
                    <a:pt x="942" y="714"/>
                  </a:lnTo>
                  <a:lnTo>
                    <a:pt x="930" y="732"/>
                  </a:lnTo>
                  <a:lnTo>
                    <a:pt x="918" y="744"/>
                  </a:lnTo>
                  <a:lnTo>
                    <a:pt x="918" y="750"/>
                  </a:lnTo>
                  <a:lnTo>
                    <a:pt x="888" y="762"/>
                  </a:lnTo>
                  <a:lnTo>
                    <a:pt x="870" y="762"/>
                  </a:lnTo>
                  <a:lnTo>
                    <a:pt x="846" y="774"/>
                  </a:lnTo>
                  <a:lnTo>
                    <a:pt x="828" y="780"/>
                  </a:lnTo>
                  <a:lnTo>
                    <a:pt x="828" y="774"/>
                  </a:lnTo>
                  <a:lnTo>
                    <a:pt x="816" y="768"/>
                  </a:lnTo>
                  <a:lnTo>
                    <a:pt x="816" y="780"/>
                  </a:lnTo>
                  <a:lnTo>
                    <a:pt x="804" y="780"/>
                  </a:lnTo>
                  <a:lnTo>
                    <a:pt x="804" y="786"/>
                  </a:lnTo>
                  <a:lnTo>
                    <a:pt x="792" y="792"/>
                  </a:lnTo>
                  <a:lnTo>
                    <a:pt x="792" y="804"/>
                  </a:lnTo>
                  <a:lnTo>
                    <a:pt x="780" y="816"/>
                  </a:lnTo>
                  <a:lnTo>
                    <a:pt x="774" y="822"/>
                  </a:lnTo>
                  <a:lnTo>
                    <a:pt x="762" y="828"/>
                  </a:lnTo>
                  <a:lnTo>
                    <a:pt x="756" y="822"/>
                  </a:lnTo>
                  <a:lnTo>
                    <a:pt x="750" y="798"/>
                  </a:lnTo>
                  <a:lnTo>
                    <a:pt x="738" y="792"/>
                  </a:lnTo>
                  <a:lnTo>
                    <a:pt x="720" y="786"/>
                  </a:lnTo>
                  <a:lnTo>
                    <a:pt x="708" y="786"/>
                  </a:lnTo>
                  <a:lnTo>
                    <a:pt x="696" y="798"/>
                  </a:lnTo>
                  <a:lnTo>
                    <a:pt x="690" y="810"/>
                  </a:lnTo>
                  <a:lnTo>
                    <a:pt x="684" y="828"/>
                  </a:lnTo>
                  <a:lnTo>
                    <a:pt x="690" y="840"/>
                  </a:lnTo>
                  <a:lnTo>
                    <a:pt x="708" y="858"/>
                  </a:lnTo>
                  <a:lnTo>
                    <a:pt x="720" y="894"/>
                  </a:lnTo>
                  <a:lnTo>
                    <a:pt x="714" y="906"/>
                  </a:lnTo>
                  <a:lnTo>
                    <a:pt x="714" y="918"/>
                  </a:lnTo>
                  <a:lnTo>
                    <a:pt x="738" y="948"/>
                  </a:lnTo>
                  <a:lnTo>
                    <a:pt x="774" y="972"/>
                  </a:lnTo>
                  <a:lnTo>
                    <a:pt x="780" y="984"/>
                  </a:lnTo>
                  <a:lnTo>
                    <a:pt x="792" y="996"/>
                  </a:lnTo>
                  <a:lnTo>
                    <a:pt x="792" y="1026"/>
                  </a:lnTo>
                  <a:lnTo>
                    <a:pt x="780" y="1044"/>
                  </a:lnTo>
                  <a:lnTo>
                    <a:pt x="774" y="1050"/>
                  </a:lnTo>
                  <a:lnTo>
                    <a:pt x="768" y="1062"/>
                  </a:lnTo>
                  <a:lnTo>
                    <a:pt x="768" y="1068"/>
                  </a:lnTo>
                  <a:lnTo>
                    <a:pt x="762" y="1074"/>
                  </a:lnTo>
                  <a:lnTo>
                    <a:pt x="762" y="1080"/>
                  </a:lnTo>
                  <a:lnTo>
                    <a:pt x="756" y="1080"/>
                  </a:lnTo>
                  <a:lnTo>
                    <a:pt x="744" y="1086"/>
                  </a:lnTo>
                  <a:lnTo>
                    <a:pt x="744" y="1092"/>
                  </a:lnTo>
                  <a:lnTo>
                    <a:pt x="738" y="1092"/>
                  </a:lnTo>
                  <a:lnTo>
                    <a:pt x="726" y="1098"/>
                  </a:lnTo>
                  <a:lnTo>
                    <a:pt x="720" y="1104"/>
                  </a:lnTo>
                  <a:lnTo>
                    <a:pt x="714" y="1104"/>
                  </a:lnTo>
                  <a:lnTo>
                    <a:pt x="702" y="1116"/>
                  </a:lnTo>
                  <a:lnTo>
                    <a:pt x="696" y="1122"/>
                  </a:lnTo>
                  <a:lnTo>
                    <a:pt x="696" y="1134"/>
                  </a:lnTo>
                  <a:lnTo>
                    <a:pt x="690" y="1134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72" y="1146"/>
                  </a:lnTo>
                  <a:lnTo>
                    <a:pt x="672" y="1152"/>
                  </a:lnTo>
                  <a:lnTo>
                    <a:pt x="660" y="1152"/>
                  </a:lnTo>
                  <a:lnTo>
                    <a:pt x="642" y="1152"/>
                  </a:lnTo>
                  <a:lnTo>
                    <a:pt x="636" y="1152"/>
                  </a:lnTo>
                  <a:lnTo>
                    <a:pt x="630" y="1158"/>
                  </a:lnTo>
                  <a:lnTo>
                    <a:pt x="624" y="1164"/>
                  </a:lnTo>
                  <a:lnTo>
                    <a:pt x="618" y="1170"/>
                  </a:lnTo>
                  <a:lnTo>
                    <a:pt x="612" y="1170"/>
                  </a:lnTo>
                  <a:lnTo>
                    <a:pt x="600" y="1170"/>
                  </a:lnTo>
                  <a:lnTo>
                    <a:pt x="594" y="1170"/>
                  </a:lnTo>
                  <a:lnTo>
                    <a:pt x="588" y="1170"/>
                  </a:lnTo>
                  <a:lnTo>
                    <a:pt x="582" y="1170"/>
                  </a:lnTo>
                  <a:lnTo>
                    <a:pt x="582" y="1164"/>
                  </a:lnTo>
                  <a:lnTo>
                    <a:pt x="576" y="1158"/>
                  </a:lnTo>
                  <a:lnTo>
                    <a:pt x="570" y="1158"/>
                  </a:lnTo>
                  <a:lnTo>
                    <a:pt x="570" y="1152"/>
                  </a:lnTo>
                  <a:lnTo>
                    <a:pt x="570" y="1146"/>
                  </a:lnTo>
                  <a:lnTo>
                    <a:pt x="570" y="1140"/>
                  </a:lnTo>
                  <a:lnTo>
                    <a:pt x="564" y="1140"/>
                  </a:lnTo>
                  <a:lnTo>
                    <a:pt x="564" y="1134"/>
                  </a:lnTo>
                  <a:lnTo>
                    <a:pt x="564" y="1128"/>
                  </a:lnTo>
                  <a:lnTo>
                    <a:pt x="576" y="1104"/>
                  </a:lnTo>
                  <a:lnTo>
                    <a:pt x="582" y="1086"/>
                  </a:lnTo>
                  <a:lnTo>
                    <a:pt x="570" y="1068"/>
                  </a:lnTo>
                  <a:lnTo>
                    <a:pt x="534" y="1056"/>
                  </a:lnTo>
                  <a:lnTo>
                    <a:pt x="516" y="1026"/>
                  </a:lnTo>
                  <a:lnTo>
                    <a:pt x="492" y="1020"/>
                  </a:lnTo>
                  <a:lnTo>
                    <a:pt x="492" y="1014"/>
                  </a:lnTo>
                  <a:lnTo>
                    <a:pt x="480" y="1008"/>
                  </a:lnTo>
                  <a:lnTo>
                    <a:pt x="474" y="996"/>
                  </a:lnTo>
                  <a:lnTo>
                    <a:pt x="444" y="984"/>
                  </a:lnTo>
                  <a:lnTo>
                    <a:pt x="426" y="978"/>
                  </a:lnTo>
                  <a:lnTo>
                    <a:pt x="420" y="972"/>
                  </a:lnTo>
                  <a:lnTo>
                    <a:pt x="408" y="984"/>
                  </a:lnTo>
                  <a:lnTo>
                    <a:pt x="402" y="984"/>
                  </a:lnTo>
                  <a:lnTo>
                    <a:pt x="396" y="984"/>
                  </a:lnTo>
                  <a:lnTo>
                    <a:pt x="390" y="984"/>
                  </a:lnTo>
                  <a:lnTo>
                    <a:pt x="384" y="990"/>
                  </a:lnTo>
                  <a:lnTo>
                    <a:pt x="378" y="990"/>
                  </a:lnTo>
                  <a:lnTo>
                    <a:pt x="372" y="990"/>
                  </a:lnTo>
                  <a:lnTo>
                    <a:pt x="372" y="996"/>
                  </a:lnTo>
                  <a:lnTo>
                    <a:pt x="366" y="996"/>
                  </a:lnTo>
                  <a:lnTo>
                    <a:pt x="360" y="1002"/>
                  </a:lnTo>
                  <a:lnTo>
                    <a:pt x="360" y="1008"/>
                  </a:lnTo>
                  <a:lnTo>
                    <a:pt x="354" y="1008"/>
                  </a:lnTo>
                  <a:lnTo>
                    <a:pt x="342" y="1014"/>
                  </a:lnTo>
                  <a:lnTo>
                    <a:pt x="336" y="1020"/>
                  </a:lnTo>
                  <a:lnTo>
                    <a:pt x="336" y="1014"/>
                  </a:lnTo>
                  <a:lnTo>
                    <a:pt x="330" y="1014"/>
                  </a:lnTo>
                  <a:lnTo>
                    <a:pt x="330" y="1008"/>
                  </a:lnTo>
                  <a:lnTo>
                    <a:pt x="330" y="1002"/>
                  </a:lnTo>
                  <a:lnTo>
                    <a:pt x="324" y="1002"/>
                  </a:lnTo>
                  <a:lnTo>
                    <a:pt x="324" y="996"/>
                  </a:lnTo>
                  <a:lnTo>
                    <a:pt x="324" y="990"/>
                  </a:lnTo>
                  <a:lnTo>
                    <a:pt x="318" y="990"/>
                  </a:lnTo>
                  <a:lnTo>
                    <a:pt x="306" y="996"/>
                  </a:lnTo>
                  <a:lnTo>
                    <a:pt x="300" y="996"/>
                  </a:lnTo>
                  <a:lnTo>
                    <a:pt x="294" y="996"/>
                  </a:lnTo>
                  <a:lnTo>
                    <a:pt x="288" y="1002"/>
                  </a:lnTo>
                  <a:lnTo>
                    <a:pt x="282" y="990"/>
                  </a:lnTo>
                  <a:lnTo>
                    <a:pt x="276" y="984"/>
                  </a:lnTo>
                  <a:lnTo>
                    <a:pt x="270" y="990"/>
                  </a:lnTo>
                  <a:lnTo>
                    <a:pt x="270" y="996"/>
                  </a:lnTo>
                  <a:lnTo>
                    <a:pt x="270" y="1002"/>
                  </a:lnTo>
                  <a:lnTo>
                    <a:pt x="264" y="1008"/>
                  </a:lnTo>
                  <a:lnTo>
                    <a:pt x="252" y="996"/>
                  </a:lnTo>
                  <a:lnTo>
                    <a:pt x="246" y="996"/>
                  </a:lnTo>
                  <a:lnTo>
                    <a:pt x="234" y="1002"/>
                  </a:lnTo>
                  <a:lnTo>
                    <a:pt x="222" y="1002"/>
                  </a:lnTo>
                  <a:lnTo>
                    <a:pt x="210" y="1002"/>
                  </a:lnTo>
                  <a:lnTo>
                    <a:pt x="198" y="996"/>
                  </a:lnTo>
                  <a:lnTo>
                    <a:pt x="198" y="1002"/>
                  </a:lnTo>
                  <a:lnTo>
                    <a:pt x="198" y="1008"/>
                  </a:lnTo>
                  <a:lnTo>
                    <a:pt x="192" y="1020"/>
                  </a:lnTo>
                  <a:lnTo>
                    <a:pt x="198" y="1020"/>
                  </a:lnTo>
                  <a:lnTo>
                    <a:pt x="204" y="1020"/>
                  </a:lnTo>
                  <a:lnTo>
                    <a:pt x="210" y="1026"/>
                  </a:lnTo>
                  <a:lnTo>
                    <a:pt x="216" y="1026"/>
                  </a:lnTo>
                  <a:lnTo>
                    <a:pt x="216" y="1032"/>
                  </a:lnTo>
                  <a:lnTo>
                    <a:pt x="210" y="1032"/>
                  </a:lnTo>
                  <a:lnTo>
                    <a:pt x="210" y="1038"/>
                  </a:lnTo>
                  <a:lnTo>
                    <a:pt x="204" y="1038"/>
                  </a:lnTo>
                  <a:lnTo>
                    <a:pt x="204" y="1044"/>
                  </a:lnTo>
                  <a:lnTo>
                    <a:pt x="198" y="1044"/>
                  </a:lnTo>
                  <a:lnTo>
                    <a:pt x="192" y="1044"/>
                  </a:lnTo>
                  <a:lnTo>
                    <a:pt x="186" y="1050"/>
                  </a:lnTo>
                  <a:lnTo>
                    <a:pt x="186" y="1056"/>
                  </a:lnTo>
                  <a:lnTo>
                    <a:pt x="180" y="1056"/>
                  </a:lnTo>
                  <a:lnTo>
                    <a:pt x="180" y="1062"/>
                  </a:lnTo>
                  <a:lnTo>
                    <a:pt x="174" y="1062"/>
                  </a:lnTo>
                  <a:lnTo>
                    <a:pt x="168" y="1062"/>
                  </a:lnTo>
                  <a:lnTo>
                    <a:pt x="162" y="1062"/>
                  </a:lnTo>
                  <a:lnTo>
                    <a:pt x="156" y="1050"/>
                  </a:lnTo>
                  <a:lnTo>
                    <a:pt x="150" y="1044"/>
                  </a:lnTo>
                  <a:lnTo>
                    <a:pt x="150" y="1038"/>
                  </a:lnTo>
                  <a:lnTo>
                    <a:pt x="144" y="1032"/>
                  </a:lnTo>
                  <a:lnTo>
                    <a:pt x="144" y="1026"/>
                  </a:lnTo>
                  <a:lnTo>
                    <a:pt x="144" y="1014"/>
                  </a:lnTo>
                  <a:lnTo>
                    <a:pt x="150" y="1008"/>
                  </a:lnTo>
                  <a:lnTo>
                    <a:pt x="150" y="1002"/>
                  </a:lnTo>
                  <a:lnTo>
                    <a:pt x="156" y="984"/>
                  </a:lnTo>
                  <a:lnTo>
                    <a:pt x="162" y="978"/>
                  </a:lnTo>
                  <a:lnTo>
                    <a:pt x="162" y="972"/>
                  </a:lnTo>
                  <a:lnTo>
                    <a:pt x="150" y="966"/>
                  </a:lnTo>
                  <a:lnTo>
                    <a:pt x="144" y="966"/>
                  </a:lnTo>
                  <a:lnTo>
                    <a:pt x="138" y="966"/>
                  </a:lnTo>
                  <a:lnTo>
                    <a:pt x="138" y="954"/>
                  </a:lnTo>
                  <a:lnTo>
                    <a:pt x="132" y="954"/>
                  </a:lnTo>
                  <a:lnTo>
                    <a:pt x="138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8" y="924"/>
                  </a:lnTo>
                  <a:lnTo>
                    <a:pt x="132" y="930"/>
                  </a:lnTo>
                  <a:lnTo>
                    <a:pt x="132" y="924"/>
                  </a:lnTo>
                  <a:lnTo>
                    <a:pt x="126" y="918"/>
                  </a:lnTo>
                  <a:lnTo>
                    <a:pt x="132" y="918"/>
                  </a:lnTo>
                  <a:lnTo>
                    <a:pt x="132" y="912"/>
                  </a:lnTo>
                  <a:lnTo>
                    <a:pt x="126" y="912"/>
                  </a:lnTo>
                  <a:lnTo>
                    <a:pt x="120" y="912"/>
                  </a:lnTo>
                  <a:lnTo>
                    <a:pt x="120" y="918"/>
                  </a:lnTo>
                  <a:lnTo>
                    <a:pt x="114" y="918"/>
                  </a:lnTo>
                  <a:lnTo>
                    <a:pt x="114" y="912"/>
                  </a:lnTo>
                  <a:lnTo>
                    <a:pt x="108" y="912"/>
                  </a:lnTo>
                  <a:lnTo>
                    <a:pt x="102" y="912"/>
                  </a:lnTo>
                  <a:lnTo>
                    <a:pt x="108" y="906"/>
                  </a:lnTo>
                  <a:lnTo>
                    <a:pt x="102" y="906"/>
                  </a:lnTo>
                  <a:lnTo>
                    <a:pt x="96" y="906"/>
                  </a:lnTo>
                  <a:lnTo>
                    <a:pt x="96" y="912"/>
                  </a:lnTo>
                  <a:lnTo>
                    <a:pt x="90" y="918"/>
                  </a:lnTo>
                  <a:lnTo>
                    <a:pt x="90" y="912"/>
                  </a:lnTo>
                  <a:lnTo>
                    <a:pt x="84" y="912"/>
                  </a:lnTo>
                  <a:lnTo>
                    <a:pt x="84" y="918"/>
                  </a:lnTo>
                  <a:lnTo>
                    <a:pt x="78" y="918"/>
                  </a:lnTo>
                  <a:lnTo>
                    <a:pt x="78" y="912"/>
                  </a:lnTo>
                  <a:lnTo>
                    <a:pt x="78" y="906"/>
                  </a:lnTo>
                  <a:lnTo>
                    <a:pt x="72" y="900"/>
                  </a:lnTo>
                  <a:lnTo>
                    <a:pt x="78" y="900"/>
                  </a:lnTo>
                  <a:lnTo>
                    <a:pt x="72" y="900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8" y="888"/>
                  </a:lnTo>
                  <a:lnTo>
                    <a:pt x="72" y="888"/>
                  </a:lnTo>
                  <a:lnTo>
                    <a:pt x="72" y="882"/>
                  </a:lnTo>
                  <a:lnTo>
                    <a:pt x="66" y="876"/>
                  </a:lnTo>
                  <a:lnTo>
                    <a:pt x="60" y="882"/>
                  </a:lnTo>
                  <a:lnTo>
                    <a:pt x="54" y="876"/>
                  </a:lnTo>
                  <a:lnTo>
                    <a:pt x="54" y="882"/>
                  </a:lnTo>
                  <a:lnTo>
                    <a:pt x="48" y="882"/>
                  </a:lnTo>
                  <a:lnTo>
                    <a:pt x="42" y="870"/>
                  </a:lnTo>
                  <a:lnTo>
                    <a:pt x="42" y="864"/>
                  </a:lnTo>
                  <a:lnTo>
                    <a:pt x="36" y="858"/>
                  </a:lnTo>
                  <a:lnTo>
                    <a:pt x="36" y="852"/>
                  </a:lnTo>
                  <a:lnTo>
                    <a:pt x="30" y="852"/>
                  </a:lnTo>
                  <a:lnTo>
                    <a:pt x="30" y="846"/>
                  </a:lnTo>
                  <a:lnTo>
                    <a:pt x="24" y="846"/>
                  </a:lnTo>
                  <a:lnTo>
                    <a:pt x="18" y="840"/>
                  </a:lnTo>
                  <a:lnTo>
                    <a:pt x="12" y="834"/>
                  </a:lnTo>
                  <a:lnTo>
                    <a:pt x="0" y="828"/>
                  </a:lnTo>
                  <a:lnTo>
                    <a:pt x="0" y="822"/>
                  </a:lnTo>
                  <a:lnTo>
                    <a:pt x="0" y="816"/>
                  </a:lnTo>
                  <a:lnTo>
                    <a:pt x="0" y="810"/>
                  </a:lnTo>
                  <a:lnTo>
                    <a:pt x="6" y="804"/>
                  </a:lnTo>
                  <a:lnTo>
                    <a:pt x="12" y="804"/>
                  </a:lnTo>
                  <a:lnTo>
                    <a:pt x="12" y="798"/>
                  </a:lnTo>
                  <a:lnTo>
                    <a:pt x="12" y="792"/>
                  </a:lnTo>
                  <a:lnTo>
                    <a:pt x="6" y="792"/>
                  </a:lnTo>
                  <a:lnTo>
                    <a:pt x="6" y="786"/>
                  </a:lnTo>
                  <a:lnTo>
                    <a:pt x="6" y="780"/>
                  </a:lnTo>
                  <a:lnTo>
                    <a:pt x="18" y="780"/>
                  </a:lnTo>
                  <a:lnTo>
                    <a:pt x="18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0" y="774"/>
                  </a:lnTo>
                  <a:lnTo>
                    <a:pt x="36" y="768"/>
                  </a:lnTo>
                  <a:lnTo>
                    <a:pt x="42" y="768"/>
                  </a:lnTo>
                  <a:lnTo>
                    <a:pt x="60" y="750"/>
                  </a:lnTo>
                  <a:lnTo>
                    <a:pt x="60" y="744"/>
                  </a:lnTo>
                  <a:lnTo>
                    <a:pt x="54" y="738"/>
                  </a:lnTo>
                  <a:lnTo>
                    <a:pt x="60" y="732"/>
                  </a:lnTo>
                  <a:lnTo>
                    <a:pt x="54" y="732"/>
                  </a:lnTo>
                  <a:lnTo>
                    <a:pt x="60" y="726"/>
                  </a:lnTo>
                  <a:lnTo>
                    <a:pt x="66" y="720"/>
                  </a:lnTo>
                  <a:lnTo>
                    <a:pt x="72" y="714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84" y="696"/>
                  </a:lnTo>
                  <a:lnTo>
                    <a:pt x="90" y="684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66"/>
                  </a:lnTo>
                  <a:lnTo>
                    <a:pt x="90" y="660"/>
                  </a:lnTo>
                  <a:lnTo>
                    <a:pt x="84" y="654"/>
                  </a:lnTo>
                  <a:lnTo>
                    <a:pt x="84" y="648"/>
                  </a:lnTo>
                  <a:lnTo>
                    <a:pt x="78" y="636"/>
                  </a:lnTo>
                  <a:lnTo>
                    <a:pt x="66" y="630"/>
                  </a:lnTo>
                  <a:lnTo>
                    <a:pt x="66" y="624"/>
                  </a:lnTo>
                  <a:lnTo>
                    <a:pt x="60" y="624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60" y="600"/>
                  </a:lnTo>
                  <a:lnTo>
                    <a:pt x="66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6" y="588"/>
                  </a:lnTo>
                  <a:lnTo>
                    <a:pt x="66" y="582"/>
                  </a:lnTo>
                  <a:lnTo>
                    <a:pt x="72" y="582"/>
                  </a:lnTo>
                  <a:lnTo>
                    <a:pt x="78" y="576"/>
                  </a:lnTo>
                  <a:lnTo>
                    <a:pt x="72" y="576"/>
                  </a:lnTo>
                  <a:lnTo>
                    <a:pt x="66" y="570"/>
                  </a:lnTo>
                  <a:lnTo>
                    <a:pt x="72" y="564"/>
                  </a:lnTo>
                  <a:lnTo>
                    <a:pt x="78" y="558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90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102" y="516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0" y="504"/>
                  </a:lnTo>
                  <a:lnTo>
                    <a:pt x="120" y="498"/>
                  </a:lnTo>
                  <a:lnTo>
                    <a:pt x="120" y="492"/>
                  </a:lnTo>
                  <a:lnTo>
                    <a:pt x="126" y="480"/>
                  </a:lnTo>
                  <a:lnTo>
                    <a:pt x="132" y="474"/>
                  </a:lnTo>
                  <a:lnTo>
                    <a:pt x="132" y="468"/>
                  </a:lnTo>
                  <a:lnTo>
                    <a:pt x="138" y="462"/>
                  </a:lnTo>
                  <a:lnTo>
                    <a:pt x="138" y="456"/>
                  </a:lnTo>
                  <a:lnTo>
                    <a:pt x="138" y="450"/>
                  </a:lnTo>
                  <a:lnTo>
                    <a:pt x="144" y="444"/>
                  </a:lnTo>
                  <a:lnTo>
                    <a:pt x="162" y="438"/>
                  </a:lnTo>
                  <a:lnTo>
                    <a:pt x="186" y="438"/>
                  </a:lnTo>
                  <a:lnTo>
                    <a:pt x="210" y="444"/>
                  </a:lnTo>
                  <a:lnTo>
                    <a:pt x="276" y="450"/>
                  </a:lnTo>
                  <a:lnTo>
                    <a:pt x="342" y="450"/>
                  </a:lnTo>
                  <a:lnTo>
                    <a:pt x="348" y="450"/>
                  </a:lnTo>
                  <a:lnTo>
                    <a:pt x="354" y="450"/>
                  </a:lnTo>
                  <a:lnTo>
                    <a:pt x="360" y="456"/>
                  </a:lnTo>
                  <a:lnTo>
                    <a:pt x="354" y="462"/>
                  </a:lnTo>
                  <a:lnTo>
                    <a:pt x="354" y="468"/>
                  </a:lnTo>
                  <a:lnTo>
                    <a:pt x="354" y="474"/>
                  </a:lnTo>
                  <a:lnTo>
                    <a:pt x="348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48" y="498"/>
                  </a:lnTo>
                  <a:lnTo>
                    <a:pt x="342" y="510"/>
                  </a:lnTo>
                  <a:lnTo>
                    <a:pt x="348" y="528"/>
                  </a:lnTo>
                  <a:lnTo>
                    <a:pt x="348" y="534"/>
                  </a:lnTo>
                  <a:lnTo>
                    <a:pt x="354" y="552"/>
                  </a:lnTo>
                  <a:lnTo>
                    <a:pt x="366" y="546"/>
                  </a:lnTo>
                  <a:lnTo>
                    <a:pt x="372" y="540"/>
                  </a:lnTo>
                  <a:lnTo>
                    <a:pt x="384" y="540"/>
                  </a:lnTo>
                  <a:lnTo>
                    <a:pt x="396" y="534"/>
                  </a:lnTo>
                  <a:lnTo>
                    <a:pt x="402" y="534"/>
                  </a:lnTo>
                  <a:lnTo>
                    <a:pt x="414" y="546"/>
                  </a:lnTo>
                  <a:lnTo>
                    <a:pt x="432" y="540"/>
                  </a:lnTo>
                  <a:lnTo>
                    <a:pt x="450" y="534"/>
                  </a:lnTo>
                  <a:lnTo>
                    <a:pt x="450" y="528"/>
                  </a:lnTo>
                  <a:lnTo>
                    <a:pt x="456" y="528"/>
                  </a:lnTo>
                  <a:lnTo>
                    <a:pt x="456" y="522"/>
                  </a:lnTo>
                  <a:lnTo>
                    <a:pt x="456" y="516"/>
                  </a:lnTo>
                  <a:lnTo>
                    <a:pt x="462" y="516"/>
                  </a:lnTo>
                  <a:lnTo>
                    <a:pt x="468" y="510"/>
                  </a:lnTo>
                  <a:lnTo>
                    <a:pt x="468" y="504"/>
                  </a:lnTo>
                  <a:lnTo>
                    <a:pt x="474" y="504"/>
                  </a:lnTo>
                  <a:lnTo>
                    <a:pt x="480" y="504"/>
                  </a:lnTo>
                  <a:lnTo>
                    <a:pt x="486" y="498"/>
                  </a:lnTo>
                  <a:lnTo>
                    <a:pt x="492" y="498"/>
                  </a:lnTo>
                  <a:lnTo>
                    <a:pt x="486" y="480"/>
                  </a:lnTo>
                  <a:lnTo>
                    <a:pt x="492" y="462"/>
                  </a:lnTo>
                  <a:lnTo>
                    <a:pt x="498" y="444"/>
                  </a:lnTo>
                  <a:lnTo>
                    <a:pt x="498" y="426"/>
                  </a:lnTo>
                  <a:lnTo>
                    <a:pt x="498" y="420"/>
                  </a:lnTo>
                  <a:lnTo>
                    <a:pt x="504" y="426"/>
                  </a:lnTo>
                  <a:lnTo>
                    <a:pt x="504" y="420"/>
                  </a:lnTo>
                  <a:lnTo>
                    <a:pt x="510" y="420"/>
                  </a:lnTo>
                  <a:lnTo>
                    <a:pt x="510" y="414"/>
                  </a:lnTo>
                  <a:lnTo>
                    <a:pt x="510" y="408"/>
                  </a:lnTo>
                  <a:lnTo>
                    <a:pt x="504" y="402"/>
                  </a:lnTo>
                  <a:lnTo>
                    <a:pt x="504" y="396"/>
                  </a:lnTo>
                  <a:lnTo>
                    <a:pt x="504" y="384"/>
                  </a:lnTo>
                  <a:lnTo>
                    <a:pt x="504" y="378"/>
                  </a:lnTo>
                  <a:lnTo>
                    <a:pt x="504" y="360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510" y="348"/>
                  </a:lnTo>
                  <a:lnTo>
                    <a:pt x="510" y="336"/>
                  </a:lnTo>
                  <a:lnTo>
                    <a:pt x="516" y="330"/>
                  </a:lnTo>
                  <a:lnTo>
                    <a:pt x="522" y="324"/>
                  </a:lnTo>
                  <a:lnTo>
                    <a:pt x="528" y="318"/>
                  </a:lnTo>
                  <a:lnTo>
                    <a:pt x="534" y="312"/>
                  </a:lnTo>
                  <a:lnTo>
                    <a:pt x="534" y="300"/>
                  </a:lnTo>
                  <a:lnTo>
                    <a:pt x="540" y="294"/>
                  </a:lnTo>
                  <a:lnTo>
                    <a:pt x="546" y="288"/>
                  </a:lnTo>
                  <a:lnTo>
                    <a:pt x="552" y="276"/>
                  </a:lnTo>
                  <a:lnTo>
                    <a:pt x="558" y="264"/>
                  </a:lnTo>
                  <a:lnTo>
                    <a:pt x="558" y="258"/>
                  </a:lnTo>
                  <a:lnTo>
                    <a:pt x="558" y="252"/>
                  </a:lnTo>
                  <a:lnTo>
                    <a:pt x="558" y="246"/>
                  </a:lnTo>
                  <a:lnTo>
                    <a:pt x="564" y="246"/>
                  </a:lnTo>
                  <a:lnTo>
                    <a:pt x="564" y="240"/>
                  </a:lnTo>
                  <a:lnTo>
                    <a:pt x="570" y="234"/>
                  </a:lnTo>
                  <a:lnTo>
                    <a:pt x="564" y="216"/>
                  </a:lnTo>
                  <a:lnTo>
                    <a:pt x="564" y="210"/>
                  </a:lnTo>
                  <a:lnTo>
                    <a:pt x="570" y="210"/>
                  </a:lnTo>
                  <a:lnTo>
                    <a:pt x="570" y="204"/>
                  </a:lnTo>
                  <a:lnTo>
                    <a:pt x="570" y="198"/>
                  </a:lnTo>
                  <a:lnTo>
                    <a:pt x="582" y="180"/>
                  </a:lnTo>
                  <a:lnTo>
                    <a:pt x="582" y="174"/>
                  </a:lnTo>
                  <a:lnTo>
                    <a:pt x="582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606" y="150"/>
                  </a:lnTo>
                  <a:lnTo>
                    <a:pt x="612" y="150"/>
                  </a:lnTo>
                  <a:lnTo>
                    <a:pt x="618" y="150"/>
                  </a:lnTo>
                  <a:lnTo>
                    <a:pt x="624" y="138"/>
                  </a:lnTo>
                  <a:lnTo>
                    <a:pt x="618" y="132"/>
                  </a:lnTo>
                  <a:lnTo>
                    <a:pt x="618" y="126"/>
                  </a:lnTo>
                  <a:lnTo>
                    <a:pt x="618" y="120"/>
                  </a:lnTo>
                  <a:lnTo>
                    <a:pt x="618" y="114"/>
                  </a:lnTo>
                  <a:lnTo>
                    <a:pt x="612" y="108"/>
                  </a:lnTo>
                  <a:lnTo>
                    <a:pt x="612" y="102"/>
                  </a:lnTo>
                  <a:lnTo>
                    <a:pt x="618" y="90"/>
                  </a:lnTo>
                  <a:lnTo>
                    <a:pt x="624" y="84"/>
                  </a:lnTo>
                  <a:lnTo>
                    <a:pt x="618" y="84"/>
                  </a:lnTo>
                  <a:lnTo>
                    <a:pt x="618" y="78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0" y="72"/>
                  </a:lnTo>
                  <a:lnTo>
                    <a:pt x="600" y="66"/>
                  </a:lnTo>
                  <a:lnTo>
                    <a:pt x="600" y="60"/>
                  </a:lnTo>
                  <a:lnTo>
                    <a:pt x="600" y="48"/>
                  </a:lnTo>
                  <a:lnTo>
                    <a:pt x="612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36"/>
                  </a:lnTo>
                  <a:lnTo>
                    <a:pt x="630" y="30"/>
                  </a:lnTo>
                  <a:lnTo>
                    <a:pt x="636" y="24"/>
                  </a:lnTo>
                  <a:lnTo>
                    <a:pt x="642" y="24"/>
                  </a:lnTo>
                  <a:lnTo>
                    <a:pt x="648" y="24"/>
                  </a:lnTo>
                  <a:lnTo>
                    <a:pt x="648" y="18"/>
                  </a:lnTo>
                  <a:lnTo>
                    <a:pt x="654" y="12"/>
                  </a:lnTo>
                  <a:lnTo>
                    <a:pt x="660" y="0"/>
                  </a:lnTo>
                  <a:lnTo>
                    <a:pt x="678" y="0"/>
                  </a:lnTo>
                  <a:lnTo>
                    <a:pt x="696" y="0"/>
                  </a:lnTo>
                  <a:lnTo>
                    <a:pt x="702" y="0"/>
                  </a:lnTo>
                  <a:lnTo>
                    <a:pt x="714" y="0"/>
                  </a:lnTo>
                  <a:lnTo>
                    <a:pt x="720" y="6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44" y="24"/>
                  </a:lnTo>
                  <a:lnTo>
                    <a:pt x="744" y="30"/>
                  </a:lnTo>
                  <a:lnTo>
                    <a:pt x="732" y="42"/>
                  </a:lnTo>
                  <a:lnTo>
                    <a:pt x="726" y="42"/>
                  </a:lnTo>
                  <a:lnTo>
                    <a:pt x="720" y="42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54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90"/>
                  </a:lnTo>
                  <a:lnTo>
                    <a:pt x="726" y="84"/>
                  </a:lnTo>
                  <a:lnTo>
                    <a:pt x="738" y="84"/>
                  </a:lnTo>
                  <a:lnTo>
                    <a:pt x="750" y="96"/>
                  </a:lnTo>
                  <a:lnTo>
                    <a:pt x="768" y="96"/>
                  </a:lnTo>
                  <a:lnTo>
                    <a:pt x="768" y="90"/>
                  </a:lnTo>
                  <a:lnTo>
                    <a:pt x="774" y="84"/>
                  </a:lnTo>
                  <a:lnTo>
                    <a:pt x="780" y="78"/>
                  </a:lnTo>
                  <a:lnTo>
                    <a:pt x="786" y="78"/>
                  </a:lnTo>
                  <a:lnTo>
                    <a:pt x="792" y="72"/>
                  </a:lnTo>
                  <a:lnTo>
                    <a:pt x="804" y="72"/>
                  </a:lnTo>
                  <a:lnTo>
                    <a:pt x="804" y="66"/>
                  </a:lnTo>
                  <a:lnTo>
                    <a:pt x="810" y="66"/>
                  </a:lnTo>
                  <a:lnTo>
                    <a:pt x="810" y="72"/>
                  </a:lnTo>
                  <a:lnTo>
                    <a:pt x="816" y="66"/>
                  </a:lnTo>
                  <a:lnTo>
                    <a:pt x="828" y="66"/>
                  </a:lnTo>
                  <a:lnTo>
                    <a:pt x="834" y="72"/>
                  </a:lnTo>
                  <a:lnTo>
                    <a:pt x="840" y="72"/>
                  </a:lnTo>
                  <a:lnTo>
                    <a:pt x="840" y="78"/>
                  </a:lnTo>
                  <a:lnTo>
                    <a:pt x="840" y="84"/>
                  </a:lnTo>
                  <a:lnTo>
                    <a:pt x="852" y="84"/>
                  </a:lnTo>
                  <a:lnTo>
                    <a:pt x="858" y="96"/>
                  </a:lnTo>
                  <a:lnTo>
                    <a:pt x="864" y="108"/>
                  </a:lnTo>
                  <a:lnTo>
                    <a:pt x="876" y="114"/>
                  </a:lnTo>
                  <a:lnTo>
                    <a:pt x="894" y="114"/>
                  </a:lnTo>
                  <a:lnTo>
                    <a:pt x="906" y="114"/>
                  </a:lnTo>
                  <a:lnTo>
                    <a:pt x="906" y="126"/>
                  </a:lnTo>
                  <a:lnTo>
                    <a:pt x="912" y="144"/>
                  </a:lnTo>
                  <a:lnTo>
                    <a:pt x="930" y="138"/>
                  </a:lnTo>
                  <a:lnTo>
                    <a:pt x="936" y="138"/>
                  </a:lnTo>
                  <a:lnTo>
                    <a:pt x="942" y="144"/>
                  </a:lnTo>
                  <a:lnTo>
                    <a:pt x="948" y="150"/>
                  </a:lnTo>
                  <a:lnTo>
                    <a:pt x="954" y="156"/>
                  </a:lnTo>
                  <a:lnTo>
                    <a:pt x="954" y="168"/>
                  </a:lnTo>
                  <a:lnTo>
                    <a:pt x="954" y="174"/>
                  </a:lnTo>
                  <a:lnTo>
                    <a:pt x="960" y="180"/>
                  </a:lnTo>
                  <a:lnTo>
                    <a:pt x="966" y="186"/>
                  </a:lnTo>
                  <a:lnTo>
                    <a:pt x="960" y="186"/>
                  </a:lnTo>
                  <a:lnTo>
                    <a:pt x="966" y="192"/>
                  </a:lnTo>
                  <a:lnTo>
                    <a:pt x="966" y="198"/>
                  </a:lnTo>
                  <a:lnTo>
                    <a:pt x="978" y="204"/>
                  </a:lnTo>
                  <a:lnTo>
                    <a:pt x="1050" y="186"/>
                  </a:lnTo>
                  <a:lnTo>
                    <a:pt x="1056" y="198"/>
                  </a:lnTo>
                  <a:lnTo>
                    <a:pt x="1068" y="210"/>
                  </a:lnTo>
                  <a:lnTo>
                    <a:pt x="1074" y="216"/>
                  </a:lnTo>
                  <a:lnTo>
                    <a:pt x="1080" y="252"/>
                  </a:lnTo>
                  <a:lnTo>
                    <a:pt x="1086" y="270"/>
                  </a:lnTo>
                  <a:lnTo>
                    <a:pt x="1092" y="282"/>
                  </a:lnTo>
                  <a:lnTo>
                    <a:pt x="1086" y="300"/>
                  </a:lnTo>
                  <a:lnTo>
                    <a:pt x="1074" y="330"/>
                  </a:lnTo>
                  <a:lnTo>
                    <a:pt x="1068" y="336"/>
                  </a:lnTo>
                  <a:lnTo>
                    <a:pt x="1062" y="348"/>
                  </a:lnTo>
                  <a:lnTo>
                    <a:pt x="1062" y="360"/>
                  </a:lnTo>
                  <a:lnTo>
                    <a:pt x="1068" y="378"/>
                  </a:lnTo>
                  <a:lnTo>
                    <a:pt x="1074" y="390"/>
                  </a:lnTo>
                  <a:lnTo>
                    <a:pt x="1068" y="396"/>
                  </a:lnTo>
                  <a:lnTo>
                    <a:pt x="1068" y="408"/>
                  </a:lnTo>
                  <a:lnTo>
                    <a:pt x="1062" y="414"/>
                  </a:lnTo>
                  <a:lnTo>
                    <a:pt x="1050" y="432"/>
                  </a:lnTo>
                  <a:lnTo>
                    <a:pt x="1044" y="450"/>
                  </a:lnTo>
                  <a:lnTo>
                    <a:pt x="1038" y="456"/>
                  </a:lnTo>
                  <a:lnTo>
                    <a:pt x="1026" y="468"/>
                  </a:lnTo>
                  <a:lnTo>
                    <a:pt x="1026" y="474"/>
                  </a:lnTo>
                  <a:lnTo>
                    <a:pt x="1026" y="480"/>
                  </a:lnTo>
                  <a:lnTo>
                    <a:pt x="1032" y="492"/>
                  </a:lnTo>
                  <a:lnTo>
                    <a:pt x="1044" y="504"/>
                  </a:lnTo>
                  <a:lnTo>
                    <a:pt x="1044" y="516"/>
                  </a:lnTo>
                  <a:lnTo>
                    <a:pt x="1038" y="528"/>
                  </a:lnTo>
                  <a:lnTo>
                    <a:pt x="1032" y="546"/>
                  </a:lnTo>
                  <a:lnTo>
                    <a:pt x="1032" y="570"/>
                  </a:lnTo>
                  <a:lnTo>
                    <a:pt x="1050" y="594"/>
                  </a:lnTo>
                  <a:lnTo>
                    <a:pt x="1056" y="624"/>
                  </a:lnTo>
                  <a:lnTo>
                    <a:pt x="1056" y="65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9" name="Freeform 24">
              <a:extLst>
                <a:ext uri="{FF2B5EF4-FFF2-40B4-BE49-F238E27FC236}">
                  <a16:creationId xmlns:a16="http://schemas.microsoft.com/office/drawing/2014/main" id="{CAE689DA-332A-4F73-BDE6-8865C9170AA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84829" y="3213406"/>
              <a:ext cx="851989" cy="744754"/>
            </a:xfrm>
            <a:custGeom>
              <a:avLst/>
              <a:gdLst>
                <a:gd name="T0" fmla="*/ 116 w 1602"/>
                <a:gd name="T1" fmla="*/ 91 h 1404"/>
                <a:gd name="T2" fmla="*/ 111 w 1602"/>
                <a:gd name="T3" fmla="*/ 95 h 1404"/>
                <a:gd name="T4" fmla="*/ 102 w 1602"/>
                <a:gd name="T5" fmla="*/ 101 h 1404"/>
                <a:gd name="T6" fmla="*/ 99 w 1602"/>
                <a:gd name="T7" fmla="*/ 103 h 1404"/>
                <a:gd name="T8" fmla="*/ 96 w 1602"/>
                <a:gd name="T9" fmla="*/ 106 h 1404"/>
                <a:gd name="T10" fmla="*/ 93 w 1602"/>
                <a:gd name="T11" fmla="*/ 108 h 1404"/>
                <a:gd name="T12" fmla="*/ 88 w 1602"/>
                <a:gd name="T13" fmla="*/ 106 h 1404"/>
                <a:gd name="T14" fmla="*/ 86 w 1602"/>
                <a:gd name="T15" fmla="*/ 108 h 1404"/>
                <a:gd name="T16" fmla="*/ 81 w 1602"/>
                <a:gd name="T17" fmla="*/ 119 h 1404"/>
                <a:gd name="T18" fmla="*/ 71 w 1602"/>
                <a:gd name="T19" fmla="*/ 109 h 1404"/>
                <a:gd name="T20" fmla="*/ 72 w 1602"/>
                <a:gd name="T21" fmla="*/ 101 h 1404"/>
                <a:gd name="T22" fmla="*/ 74 w 1602"/>
                <a:gd name="T23" fmla="*/ 93 h 1404"/>
                <a:gd name="T24" fmla="*/ 73 w 1602"/>
                <a:gd name="T25" fmla="*/ 82 h 1404"/>
                <a:gd name="T26" fmla="*/ 64 w 1602"/>
                <a:gd name="T27" fmla="*/ 79 h 1404"/>
                <a:gd name="T28" fmla="*/ 59 w 1602"/>
                <a:gd name="T29" fmla="*/ 75 h 1404"/>
                <a:gd name="T30" fmla="*/ 54 w 1602"/>
                <a:gd name="T31" fmla="*/ 71 h 1404"/>
                <a:gd name="T32" fmla="*/ 51 w 1602"/>
                <a:gd name="T33" fmla="*/ 70 h 1404"/>
                <a:gd name="T34" fmla="*/ 45 w 1602"/>
                <a:gd name="T35" fmla="*/ 71 h 1404"/>
                <a:gd name="T36" fmla="*/ 43 w 1602"/>
                <a:gd name="T37" fmla="*/ 68 h 1404"/>
                <a:gd name="T38" fmla="*/ 43 w 1602"/>
                <a:gd name="T39" fmla="*/ 64 h 1404"/>
                <a:gd name="T40" fmla="*/ 36 w 1602"/>
                <a:gd name="T41" fmla="*/ 66 h 1404"/>
                <a:gd name="T42" fmla="*/ 31 w 1602"/>
                <a:gd name="T43" fmla="*/ 55 h 1404"/>
                <a:gd name="T44" fmla="*/ 25 w 1602"/>
                <a:gd name="T45" fmla="*/ 53 h 1404"/>
                <a:gd name="T46" fmla="*/ 19 w 1602"/>
                <a:gd name="T47" fmla="*/ 51 h 1404"/>
                <a:gd name="T48" fmla="*/ 17 w 1602"/>
                <a:gd name="T49" fmla="*/ 43 h 1404"/>
                <a:gd name="T50" fmla="*/ 17 w 1602"/>
                <a:gd name="T51" fmla="*/ 39 h 1404"/>
                <a:gd name="T52" fmla="*/ 12 w 1602"/>
                <a:gd name="T53" fmla="*/ 39 h 1404"/>
                <a:gd name="T54" fmla="*/ 10 w 1602"/>
                <a:gd name="T55" fmla="*/ 35 h 1404"/>
                <a:gd name="T56" fmla="*/ 5 w 1602"/>
                <a:gd name="T57" fmla="*/ 30 h 1404"/>
                <a:gd name="T58" fmla="*/ 3 w 1602"/>
                <a:gd name="T59" fmla="*/ 27 h 1404"/>
                <a:gd name="T60" fmla="*/ 2 w 1602"/>
                <a:gd name="T61" fmla="*/ 25 h 1404"/>
                <a:gd name="T62" fmla="*/ 0 w 1602"/>
                <a:gd name="T63" fmla="*/ 22 h 1404"/>
                <a:gd name="T64" fmla="*/ 8 w 1602"/>
                <a:gd name="T65" fmla="*/ 14 h 1404"/>
                <a:gd name="T66" fmla="*/ 16 w 1602"/>
                <a:gd name="T67" fmla="*/ 16 h 1404"/>
                <a:gd name="T68" fmla="*/ 31 w 1602"/>
                <a:gd name="T69" fmla="*/ 18 h 1404"/>
                <a:gd name="T70" fmla="*/ 43 w 1602"/>
                <a:gd name="T71" fmla="*/ 17 h 1404"/>
                <a:gd name="T72" fmla="*/ 47 w 1602"/>
                <a:gd name="T73" fmla="*/ 6 h 1404"/>
                <a:gd name="T74" fmla="*/ 52 w 1602"/>
                <a:gd name="T75" fmla="*/ 0 h 1404"/>
                <a:gd name="T76" fmla="*/ 55 w 1602"/>
                <a:gd name="T77" fmla="*/ 3 h 1404"/>
                <a:gd name="T78" fmla="*/ 59 w 1602"/>
                <a:gd name="T79" fmla="*/ 9 h 1404"/>
                <a:gd name="T80" fmla="*/ 62 w 1602"/>
                <a:gd name="T81" fmla="*/ 16 h 1404"/>
                <a:gd name="T82" fmla="*/ 66 w 1602"/>
                <a:gd name="T83" fmla="*/ 20 h 1404"/>
                <a:gd name="T84" fmla="*/ 70 w 1602"/>
                <a:gd name="T85" fmla="*/ 25 h 1404"/>
                <a:gd name="T86" fmla="*/ 74 w 1602"/>
                <a:gd name="T87" fmla="*/ 30 h 1404"/>
                <a:gd name="T88" fmla="*/ 76 w 1602"/>
                <a:gd name="T89" fmla="*/ 27 h 1404"/>
                <a:gd name="T90" fmla="*/ 78 w 1602"/>
                <a:gd name="T91" fmla="*/ 27 h 1404"/>
                <a:gd name="T92" fmla="*/ 78 w 1602"/>
                <a:gd name="T93" fmla="*/ 23 h 1404"/>
                <a:gd name="T94" fmla="*/ 82 w 1602"/>
                <a:gd name="T95" fmla="*/ 20 h 1404"/>
                <a:gd name="T96" fmla="*/ 82 w 1602"/>
                <a:gd name="T97" fmla="*/ 18 h 1404"/>
                <a:gd name="T98" fmla="*/ 90 w 1602"/>
                <a:gd name="T99" fmla="*/ 24 h 1404"/>
                <a:gd name="T100" fmla="*/ 90 w 1602"/>
                <a:gd name="T101" fmla="*/ 45 h 1404"/>
                <a:gd name="T102" fmla="*/ 104 w 1602"/>
                <a:gd name="T103" fmla="*/ 41 h 1404"/>
                <a:gd name="T104" fmla="*/ 117 w 1602"/>
                <a:gd name="T105" fmla="*/ 39 h 1404"/>
                <a:gd name="T106" fmla="*/ 125 w 1602"/>
                <a:gd name="T107" fmla="*/ 39 h 1404"/>
                <a:gd name="T108" fmla="*/ 127 w 1602"/>
                <a:gd name="T109" fmla="*/ 43 h 1404"/>
                <a:gd name="T110" fmla="*/ 131 w 1602"/>
                <a:gd name="T111" fmla="*/ 53 h 1404"/>
                <a:gd name="T112" fmla="*/ 133 w 1602"/>
                <a:gd name="T113" fmla="*/ 60 h 1404"/>
                <a:gd name="T114" fmla="*/ 138 w 1602"/>
                <a:gd name="T115" fmla="*/ 73 h 1404"/>
                <a:gd name="T116" fmla="*/ 136 w 1602"/>
                <a:gd name="T117" fmla="*/ 80 h 1404"/>
                <a:gd name="T118" fmla="*/ 129 w 1602"/>
                <a:gd name="T119" fmla="*/ 87 h 1404"/>
                <a:gd name="T120" fmla="*/ 123 w 1602"/>
                <a:gd name="T121" fmla="*/ 95 h 14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02"/>
                <a:gd name="T184" fmla="*/ 0 h 1404"/>
                <a:gd name="T185" fmla="*/ 1602 w 1602"/>
                <a:gd name="T186" fmla="*/ 1404 h 14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02" h="1404">
                  <a:moveTo>
                    <a:pt x="1392" y="1080"/>
                  </a:moveTo>
                  <a:lnTo>
                    <a:pt x="1380" y="1074"/>
                  </a:lnTo>
                  <a:lnTo>
                    <a:pt x="1368" y="1056"/>
                  </a:lnTo>
                  <a:lnTo>
                    <a:pt x="1356" y="1044"/>
                  </a:lnTo>
                  <a:lnTo>
                    <a:pt x="1344" y="1038"/>
                  </a:lnTo>
                  <a:lnTo>
                    <a:pt x="1338" y="1038"/>
                  </a:lnTo>
                  <a:lnTo>
                    <a:pt x="1332" y="1038"/>
                  </a:lnTo>
                  <a:lnTo>
                    <a:pt x="1326" y="1044"/>
                  </a:lnTo>
                  <a:lnTo>
                    <a:pt x="1320" y="1044"/>
                  </a:lnTo>
                  <a:lnTo>
                    <a:pt x="1314" y="1044"/>
                  </a:lnTo>
                  <a:lnTo>
                    <a:pt x="1296" y="1056"/>
                  </a:lnTo>
                  <a:lnTo>
                    <a:pt x="1296" y="1080"/>
                  </a:lnTo>
                  <a:lnTo>
                    <a:pt x="1290" y="1080"/>
                  </a:lnTo>
                  <a:lnTo>
                    <a:pt x="1284" y="1086"/>
                  </a:lnTo>
                  <a:lnTo>
                    <a:pt x="1278" y="1086"/>
                  </a:lnTo>
                  <a:lnTo>
                    <a:pt x="1278" y="1092"/>
                  </a:lnTo>
                  <a:lnTo>
                    <a:pt x="1272" y="1092"/>
                  </a:lnTo>
                  <a:lnTo>
                    <a:pt x="1266" y="1086"/>
                  </a:lnTo>
                  <a:lnTo>
                    <a:pt x="1260" y="1086"/>
                  </a:lnTo>
                  <a:lnTo>
                    <a:pt x="1260" y="1098"/>
                  </a:lnTo>
                  <a:lnTo>
                    <a:pt x="1248" y="1098"/>
                  </a:lnTo>
                  <a:lnTo>
                    <a:pt x="1212" y="1116"/>
                  </a:lnTo>
                  <a:lnTo>
                    <a:pt x="1206" y="1158"/>
                  </a:lnTo>
                  <a:lnTo>
                    <a:pt x="1176" y="1164"/>
                  </a:lnTo>
                  <a:lnTo>
                    <a:pt x="1158" y="1164"/>
                  </a:lnTo>
                  <a:lnTo>
                    <a:pt x="1152" y="1164"/>
                  </a:lnTo>
                  <a:lnTo>
                    <a:pt x="1152" y="1170"/>
                  </a:lnTo>
                  <a:lnTo>
                    <a:pt x="1152" y="1176"/>
                  </a:lnTo>
                  <a:lnTo>
                    <a:pt x="1146" y="1176"/>
                  </a:lnTo>
                  <a:lnTo>
                    <a:pt x="1140" y="1176"/>
                  </a:lnTo>
                  <a:lnTo>
                    <a:pt x="1134" y="1182"/>
                  </a:lnTo>
                  <a:lnTo>
                    <a:pt x="1134" y="1188"/>
                  </a:lnTo>
                  <a:lnTo>
                    <a:pt x="1128" y="1194"/>
                  </a:lnTo>
                  <a:lnTo>
                    <a:pt x="1122" y="1194"/>
                  </a:lnTo>
                  <a:lnTo>
                    <a:pt x="1116" y="1194"/>
                  </a:lnTo>
                  <a:lnTo>
                    <a:pt x="1110" y="1200"/>
                  </a:lnTo>
                  <a:lnTo>
                    <a:pt x="1110" y="1206"/>
                  </a:lnTo>
                  <a:lnTo>
                    <a:pt x="1104" y="1212"/>
                  </a:lnTo>
                  <a:lnTo>
                    <a:pt x="1104" y="1218"/>
                  </a:lnTo>
                  <a:lnTo>
                    <a:pt x="1098" y="1224"/>
                  </a:lnTo>
                  <a:lnTo>
                    <a:pt x="1092" y="1230"/>
                  </a:lnTo>
                  <a:lnTo>
                    <a:pt x="1086" y="1230"/>
                  </a:lnTo>
                  <a:lnTo>
                    <a:pt x="1080" y="1230"/>
                  </a:lnTo>
                  <a:lnTo>
                    <a:pt x="1080" y="1242"/>
                  </a:lnTo>
                  <a:lnTo>
                    <a:pt x="1074" y="1242"/>
                  </a:lnTo>
                  <a:lnTo>
                    <a:pt x="1068" y="1242"/>
                  </a:lnTo>
                  <a:lnTo>
                    <a:pt x="1068" y="1236"/>
                  </a:lnTo>
                  <a:lnTo>
                    <a:pt x="1062" y="1242"/>
                  </a:lnTo>
                  <a:lnTo>
                    <a:pt x="1056" y="1236"/>
                  </a:lnTo>
                  <a:lnTo>
                    <a:pt x="1050" y="1242"/>
                  </a:lnTo>
                  <a:lnTo>
                    <a:pt x="1050" y="1236"/>
                  </a:lnTo>
                  <a:lnTo>
                    <a:pt x="1044" y="1194"/>
                  </a:lnTo>
                  <a:lnTo>
                    <a:pt x="1032" y="1194"/>
                  </a:lnTo>
                  <a:lnTo>
                    <a:pt x="1032" y="1200"/>
                  </a:lnTo>
                  <a:lnTo>
                    <a:pt x="1026" y="1200"/>
                  </a:lnTo>
                  <a:lnTo>
                    <a:pt x="1014" y="1218"/>
                  </a:lnTo>
                  <a:lnTo>
                    <a:pt x="1014" y="1224"/>
                  </a:lnTo>
                  <a:lnTo>
                    <a:pt x="1014" y="1236"/>
                  </a:lnTo>
                  <a:lnTo>
                    <a:pt x="1014" y="1242"/>
                  </a:lnTo>
                  <a:lnTo>
                    <a:pt x="1008" y="1242"/>
                  </a:lnTo>
                  <a:lnTo>
                    <a:pt x="1002" y="1236"/>
                  </a:lnTo>
                  <a:lnTo>
                    <a:pt x="1002" y="1230"/>
                  </a:lnTo>
                  <a:lnTo>
                    <a:pt x="996" y="1236"/>
                  </a:lnTo>
                  <a:lnTo>
                    <a:pt x="990" y="1236"/>
                  </a:lnTo>
                  <a:lnTo>
                    <a:pt x="990" y="1230"/>
                  </a:lnTo>
                  <a:lnTo>
                    <a:pt x="984" y="1236"/>
                  </a:lnTo>
                  <a:lnTo>
                    <a:pt x="978" y="1248"/>
                  </a:lnTo>
                  <a:lnTo>
                    <a:pt x="972" y="1254"/>
                  </a:lnTo>
                  <a:lnTo>
                    <a:pt x="966" y="1260"/>
                  </a:lnTo>
                  <a:lnTo>
                    <a:pt x="930" y="1284"/>
                  </a:lnTo>
                  <a:lnTo>
                    <a:pt x="942" y="1356"/>
                  </a:lnTo>
                  <a:lnTo>
                    <a:pt x="930" y="1368"/>
                  </a:lnTo>
                  <a:lnTo>
                    <a:pt x="852" y="1404"/>
                  </a:lnTo>
                  <a:lnTo>
                    <a:pt x="834" y="1392"/>
                  </a:lnTo>
                  <a:lnTo>
                    <a:pt x="834" y="1362"/>
                  </a:lnTo>
                  <a:lnTo>
                    <a:pt x="828" y="1332"/>
                  </a:lnTo>
                  <a:lnTo>
                    <a:pt x="810" y="1308"/>
                  </a:lnTo>
                  <a:lnTo>
                    <a:pt x="810" y="1284"/>
                  </a:lnTo>
                  <a:lnTo>
                    <a:pt x="816" y="1266"/>
                  </a:lnTo>
                  <a:lnTo>
                    <a:pt x="822" y="1254"/>
                  </a:lnTo>
                  <a:lnTo>
                    <a:pt x="822" y="1242"/>
                  </a:lnTo>
                  <a:lnTo>
                    <a:pt x="810" y="1230"/>
                  </a:lnTo>
                  <a:lnTo>
                    <a:pt x="804" y="1218"/>
                  </a:lnTo>
                  <a:lnTo>
                    <a:pt x="804" y="1212"/>
                  </a:lnTo>
                  <a:lnTo>
                    <a:pt x="804" y="1206"/>
                  </a:lnTo>
                  <a:lnTo>
                    <a:pt x="816" y="1194"/>
                  </a:lnTo>
                  <a:lnTo>
                    <a:pt x="822" y="1188"/>
                  </a:lnTo>
                  <a:lnTo>
                    <a:pt x="828" y="1170"/>
                  </a:lnTo>
                  <a:lnTo>
                    <a:pt x="840" y="1152"/>
                  </a:lnTo>
                  <a:lnTo>
                    <a:pt x="846" y="1146"/>
                  </a:lnTo>
                  <a:lnTo>
                    <a:pt x="846" y="1134"/>
                  </a:lnTo>
                  <a:lnTo>
                    <a:pt x="852" y="1128"/>
                  </a:lnTo>
                  <a:lnTo>
                    <a:pt x="846" y="1116"/>
                  </a:lnTo>
                  <a:lnTo>
                    <a:pt x="840" y="1098"/>
                  </a:lnTo>
                  <a:lnTo>
                    <a:pt x="840" y="1086"/>
                  </a:lnTo>
                  <a:lnTo>
                    <a:pt x="846" y="1074"/>
                  </a:lnTo>
                  <a:lnTo>
                    <a:pt x="852" y="1068"/>
                  </a:lnTo>
                  <a:lnTo>
                    <a:pt x="864" y="1038"/>
                  </a:lnTo>
                  <a:lnTo>
                    <a:pt x="870" y="1020"/>
                  </a:lnTo>
                  <a:lnTo>
                    <a:pt x="864" y="1008"/>
                  </a:lnTo>
                  <a:lnTo>
                    <a:pt x="858" y="990"/>
                  </a:lnTo>
                  <a:lnTo>
                    <a:pt x="852" y="954"/>
                  </a:lnTo>
                  <a:lnTo>
                    <a:pt x="846" y="948"/>
                  </a:lnTo>
                  <a:lnTo>
                    <a:pt x="834" y="936"/>
                  </a:lnTo>
                  <a:lnTo>
                    <a:pt x="828" y="924"/>
                  </a:lnTo>
                  <a:lnTo>
                    <a:pt x="756" y="942"/>
                  </a:lnTo>
                  <a:lnTo>
                    <a:pt x="744" y="936"/>
                  </a:lnTo>
                  <a:lnTo>
                    <a:pt x="744" y="930"/>
                  </a:lnTo>
                  <a:lnTo>
                    <a:pt x="738" y="924"/>
                  </a:lnTo>
                  <a:lnTo>
                    <a:pt x="744" y="924"/>
                  </a:lnTo>
                  <a:lnTo>
                    <a:pt x="738" y="918"/>
                  </a:lnTo>
                  <a:lnTo>
                    <a:pt x="732" y="912"/>
                  </a:lnTo>
                  <a:lnTo>
                    <a:pt x="732" y="906"/>
                  </a:lnTo>
                  <a:lnTo>
                    <a:pt x="732" y="894"/>
                  </a:lnTo>
                  <a:lnTo>
                    <a:pt x="726" y="888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6"/>
                  </a:lnTo>
                  <a:lnTo>
                    <a:pt x="690" y="882"/>
                  </a:lnTo>
                  <a:lnTo>
                    <a:pt x="684" y="864"/>
                  </a:lnTo>
                  <a:lnTo>
                    <a:pt x="684" y="852"/>
                  </a:lnTo>
                  <a:lnTo>
                    <a:pt x="672" y="852"/>
                  </a:lnTo>
                  <a:lnTo>
                    <a:pt x="654" y="852"/>
                  </a:lnTo>
                  <a:lnTo>
                    <a:pt x="642" y="846"/>
                  </a:lnTo>
                  <a:lnTo>
                    <a:pt x="636" y="834"/>
                  </a:lnTo>
                  <a:lnTo>
                    <a:pt x="630" y="822"/>
                  </a:lnTo>
                  <a:lnTo>
                    <a:pt x="618" y="822"/>
                  </a:lnTo>
                  <a:lnTo>
                    <a:pt x="618" y="816"/>
                  </a:lnTo>
                  <a:lnTo>
                    <a:pt x="618" y="810"/>
                  </a:lnTo>
                  <a:lnTo>
                    <a:pt x="612" y="810"/>
                  </a:lnTo>
                  <a:lnTo>
                    <a:pt x="606" y="804"/>
                  </a:lnTo>
                  <a:lnTo>
                    <a:pt x="594" y="804"/>
                  </a:lnTo>
                  <a:lnTo>
                    <a:pt x="588" y="810"/>
                  </a:lnTo>
                  <a:lnTo>
                    <a:pt x="588" y="804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70" y="810"/>
                  </a:lnTo>
                  <a:lnTo>
                    <a:pt x="564" y="816"/>
                  </a:lnTo>
                  <a:lnTo>
                    <a:pt x="558" y="816"/>
                  </a:lnTo>
                  <a:lnTo>
                    <a:pt x="552" y="822"/>
                  </a:lnTo>
                  <a:lnTo>
                    <a:pt x="546" y="828"/>
                  </a:lnTo>
                  <a:lnTo>
                    <a:pt x="546" y="834"/>
                  </a:lnTo>
                  <a:lnTo>
                    <a:pt x="528" y="834"/>
                  </a:lnTo>
                  <a:lnTo>
                    <a:pt x="516" y="822"/>
                  </a:lnTo>
                  <a:lnTo>
                    <a:pt x="504" y="822"/>
                  </a:lnTo>
                  <a:lnTo>
                    <a:pt x="492" y="82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6" y="792"/>
                  </a:lnTo>
                  <a:lnTo>
                    <a:pt x="492" y="786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504" y="780"/>
                  </a:lnTo>
                  <a:lnTo>
                    <a:pt x="510" y="780"/>
                  </a:lnTo>
                  <a:lnTo>
                    <a:pt x="522" y="768"/>
                  </a:lnTo>
                  <a:lnTo>
                    <a:pt x="522" y="762"/>
                  </a:lnTo>
                  <a:lnTo>
                    <a:pt x="504" y="756"/>
                  </a:lnTo>
                  <a:lnTo>
                    <a:pt x="498" y="756"/>
                  </a:lnTo>
                  <a:lnTo>
                    <a:pt x="498" y="744"/>
                  </a:lnTo>
                  <a:lnTo>
                    <a:pt x="492" y="738"/>
                  </a:lnTo>
                  <a:lnTo>
                    <a:pt x="480" y="738"/>
                  </a:lnTo>
                  <a:lnTo>
                    <a:pt x="474" y="738"/>
                  </a:lnTo>
                  <a:lnTo>
                    <a:pt x="456" y="738"/>
                  </a:lnTo>
                  <a:lnTo>
                    <a:pt x="438" y="738"/>
                  </a:lnTo>
                  <a:lnTo>
                    <a:pt x="432" y="750"/>
                  </a:lnTo>
                  <a:lnTo>
                    <a:pt x="426" y="756"/>
                  </a:lnTo>
                  <a:lnTo>
                    <a:pt x="426" y="762"/>
                  </a:lnTo>
                  <a:lnTo>
                    <a:pt x="420" y="762"/>
                  </a:lnTo>
                  <a:lnTo>
                    <a:pt x="408" y="744"/>
                  </a:lnTo>
                  <a:lnTo>
                    <a:pt x="408" y="732"/>
                  </a:lnTo>
                  <a:lnTo>
                    <a:pt x="390" y="714"/>
                  </a:lnTo>
                  <a:lnTo>
                    <a:pt x="384" y="702"/>
                  </a:lnTo>
                  <a:lnTo>
                    <a:pt x="384" y="690"/>
                  </a:lnTo>
                  <a:lnTo>
                    <a:pt x="372" y="690"/>
                  </a:lnTo>
                  <a:lnTo>
                    <a:pt x="366" y="660"/>
                  </a:lnTo>
                  <a:lnTo>
                    <a:pt x="354" y="630"/>
                  </a:lnTo>
                  <a:lnTo>
                    <a:pt x="348" y="630"/>
                  </a:lnTo>
                  <a:lnTo>
                    <a:pt x="336" y="630"/>
                  </a:lnTo>
                  <a:lnTo>
                    <a:pt x="330" y="630"/>
                  </a:lnTo>
                  <a:lnTo>
                    <a:pt x="318" y="630"/>
                  </a:lnTo>
                  <a:lnTo>
                    <a:pt x="312" y="624"/>
                  </a:lnTo>
                  <a:lnTo>
                    <a:pt x="306" y="624"/>
                  </a:lnTo>
                  <a:lnTo>
                    <a:pt x="294" y="618"/>
                  </a:lnTo>
                  <a:lnTo>
                    <a:pt x="288" y="612"/>
                  </a:lnTo>
                  <a:lnTo>
                    <a:pt x="276" y="600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58" y="588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8"/>
                  </a:lnTo>
                  <a:lnTo>
                    <a:pt x="216" y="582"/>
                  </a:lnTo>
                  <a:lnTo>
                    <a:pt x="210" y="588"/>
                  </a:lnTo>
                  <a:lnTo>
                    <a:pt x="198" y="582"/>
                  </a:lnTo>
                  <a:lnTo>
                    <a:pt x="180" y="582"/>
                  </a:lnTo>
                  <a:lnTo>
                    <a:pt x="174" y="552"/>
                  </a:lnTo>
                  <a:lnTo>
                    <a:pt x="168" y="504"/>
                  </a:lnTo>
                  <a:lnTo>
                    <a:pt x="186" y="504"/>
                  </a:lnTo>
                  <a:lnTo>
                    <a:pt x="192" y="504"/>
                  </a:lnTo>
                  <a:lnTo>
                    <a:pt x="192" y="498"/>
                  </a:lnTo>
                  <a:lnTo>
                    <a:pt x="192" y="492"/>
                  </a:lnTo>
                  <a:lnTo>
                    <a:pt x="192" y="486"/>
                  </a:lnTo>
                  <a:lnTo>
                    <a:pt x="198" y="486"/>
                  </a:lnTo>
                  <a:lnTo>
                    <a:pt x="198" y="480"/>
                  </a:lnTo>
                  <a:lnTo>
                    <a:pt x="204" y="474"/>
                  </a:lnTo>
                  <a:lnTo>
                    <a:pt x="210" y="468"/>
                  </a:lnTo>
                  <a:lnTo>
                    <a:pt x="198" y="462"/>
                  </a:lnTo>
                  <a:lnTo>
                    <a:pt x="192" y="444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32"/>
                  </a:lnTo>
                  <a:lnTo>
                    <a:pt x="168" y="438"/>
                  </a:lnTo>
                  <a:lnTo>
                    <a:pt x="150" y="450"/>
                  </a:lnTo>
                  <a:lnTo>
                    <a:pt x="144" y="456"/>
                  </a:lnTo>
                  <a:lnTo>
                    <a:pt x="132" y="456"/>
                  </a:lnTo>
                  <a:lnTo>
                    <a:pt x="126" y="468"/>
                  </a:lnTo>
                  <a:lnTo>
                    <a:pt x="114" y="468"/>
                  </a:lnTo>
                  <a:lnTo>
                    <a:pt x="108" y="468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14"/>
                  </a:lnTo>
                  <a:lnTo>
                    <a:pt x="108" y="396"/>
                  </a:lnTo>
                  <a:lnTo>
                    <a:pt x="120" y="396"/>
                  </a:lnTo>
                  <a:lnTo>
                    <a:pt x="126" y="384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84" y="354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0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60" y="318"/>
                  </a:lnTo>
                  <a:lnTo>
                    <a:pt x="42" y="324"/>
                  </a:lnTo>
                  <a:lnTo>
                    <a:pt x="36" y="318"/>
                  </a:lnTo>
                  <a:lnTo>
                    <a:pt x="36" y="312"/>
                  </a:lnTo>
                  <a:lnTo>
                    <a:pt x="36" y="306"/>
                  </a:lnTo>
                  <a:lnTo>
                    <a:pt x="36" y="300"/>
                  </a:lnTo>
                  <a:lnTo>
                    <a:pt x="30" y="300"/>
                  </a:lnTo>
                  <a:lnTo>
                    <a:pt x="30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24" y="276"/>
                  </a:lnTo>
                  <a:lnTo>
                    <a:pt x="18" y="276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18" y="234"/>
                  </a:lnTo>
                  <a:lnTo>
                    <a:pt x="30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42" y="192"/>
                  </a:lnTo>
                  <a:lnTo>
                    <a:pt x="66" y="186"/>
                  </a:lnTo>
                  <a:lnTo>
                    <a:pt x="90" y="156"/>
                  </a:lnTo>
                  <a:lnTo>
                    <a:pt x="102" y="144"/>
                  </a:lnTo>
                  <a:lnTo>
                    <a:pt x="138" y="150"/>
                  </a:lnTo>
                  <a:lnTo>
                    <a:pt x="162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0" y="180"/>
                  </a:lnTo>
                  <a:lnTo>
                    <a:pt x="174" y="180"/>
                  </a:lnTo>
                  <a:lnTo>
                    <a:pt x="180" y="186"/>
                  </a:lnTo>
                  <a:lnTo>
                    <a:pt x="186" y="186"/>
                  </a:lnTo>
                  <a:lnTo>
                    <a:pt x="198" y="192"/>
                  </a:lnTo>
                  <a:lnTo>
                    <a:pt x="216" y="198"/>
                  </a:lnTo>
                  <a:lnTo>
                    <a:pt x="252" y="204"/>
                  </a:lnTo>
                  <a:lnTo>
                    <a:pt x="258" y="210"/>
                  </a:lnTo>
                  <a:lnTo>
                    <a:pt x="306" y="216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84" y="210"/>
                  </a:lnTo>
                  <a:lnTo>
                    <a:pt x="408" y="222"/>
                  </a:lnTo>
                  <a:lnTo>
                    <a:pt x="438" y="228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86" y="222"/>
                  </a:lnTo>
                  <a:lnTo>
                    <a:pt x="492" y="210"/>
                  </a:lnTo>
                  <a:lnTo>
                    <a:pt x="492" y="198"/>
                  </a:lnTo>
                  <a:lnTo>
                    <a:pt x="486" y="180"/>
                  </a:lnTo>
                  <a:lnTo>
                    <a:pt x="492" y="162"/>
                  </a:lnTo>
                  <a:lnTo>
                    <a:pt x="510" y="96"/>
                  </a:lnTo>
                  <a:lnTo>
                    <a:pt x="516" y="84"/>
                  </a:lnTo>
                  <a:lnTo>
                    <a:pt x="522" y="84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34" y="72"/>
                  </a:lnTo>
                  <a:lnTo>
                    <a:pt x="534" y="60"/>
                  </a:lnTo>
                  <a:lnTo>
                    <a:pt x="540" y="36"/>
                  </a:lnTo>
                  <a:lnTo>
                    <a:pt x="546" y="6"/>
                  </a:lnTo>
                  <a:lnTo>
                    <a:pt x="558" y="6"/>
                  </a:lnTo>
                  <a:lnTo>
                    <a:pt x="564" y="0"/>
                  </a:lnTo>
                  <a:lnTo>
                    <a:pt x="582" y="0"/>
                  </a:lnTo>
                  <a:lnTo>
                    <a:pt x="588" y="0"/>
                  </a:lnTo>
                  <a:lnTo>
                    <a:pt x="594" y="6"/>
                  </a:lnTo>
                  <a:lnTo>
                    <a:pt x="600" y="12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24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36" y="36"/>
                  </a:lnTo>
                  <a:lnTo>
                    <a:pt x="642" y="36"/>
                  </a:lnTo>
                  <a:lnTo>
                    <a:pt x="642" y="42"/>
                  </a:lnTo>
                  <a:lnTo>
                    <a:pt x="648" y="54"/>
                  </a:lnTo>
                  <a:lnTo>
                    <a:pt x="660" y="72"/>
                  </a:lnTo>
                  <a:lnTo>
                    <a:pt x="666" y="78"/>
                  </a:lnTo>
                  <a:lnTo>
                    <a:pt x="672" y="90"/>
                  </a:lnTo>
                  <a:lnTo>
                    <a:pt x="678" y="102"/>
                  </a:lnTo>
                  <a:lnTo>
                    <a:pt x="678" y="114"/>
                  </a:lnTo>
                  <a:lnTo>
                    <a:pt x="684" y="132"/>
                  </a:lnTo>
                  <a:lnTo>
                    <a:pt x="684" y="144"/>
                  </a:lnTo>
                  <a:lnTo>
                    <a:pt x="690" y="162"/>
                  </a:lnTo>
                  <a:lnTo>
                    <a:pt x="696" y="168"/>
                  </a:lnTo>
                  <a:lnTo>
                    <a:pt x="696" y="180"/>
                  </a:lnTo>
                  <a:lnTo>
                    <a:pt x="702" y="186"/>
                  </a:lnTo>
                  <a:lnTo>
                    <a:pt x="708" y="186"/>
                  </a:lnTo>
                  <a:lnTo>
                    <a:pt x="714" y="198"/>
                  </a:lnTo>
                  <a:lnTo>
                    <a:pt x="720" y="198"/>
                  </a:lnTo>
                  <a:lnTo>
                    <a:pt x="732" y="204"/>
                  </a:lnTo>
                  <a:lnTo>
                    <a:pt x="738" y="210"/>
                  </a:lnTo>
                  <a:lnTo>
                    <a:pt x="738" y="216"/>
                  </a:lnTo>
                  <a:lnTo>
                    <a:pt x="744" y="222"/>
                  </a:lnTo>
                  <a:lnTo>
                    <a:pt x="750" y="228"/>
                  </a:lnTo>
                  <a:lnTo>
                    <a:pt x="756" y="228"/>
                  </a:lnTo>
                  <a:lnTo>
                    <a:pt x="768" y="240"/>
                  </a:lnTo>
                  <a:lnTo>
                    <a:pt x="774" y="252"/>
                  </a:lnTo>
                  <a:lnTo>
                    <a:pt x="780" y="258"/>
                  </a:lnTo>
                  <a:lnTo>
                    <a:pt x="786" y="258"/>
                  </a:lnTo>
                  <a:lnTo>
                    <a:pt x="798" y="264"/>
                  </a:lnTo>
                  <a:lnTo>
                    <a:pt x="798" y="270"/>
                  </a:lnTo>
                  <a:lnTo>
                    <a:pt x="798" y="276"/>
                  </a:lnTo>
                  <a:lnTo>
                    <a:pt x="810" y="288"/>
                  </a:lnTo>
                  <a:lnTo>
                    <a:pt x="816" y="288"/>
                  </a:lnTo>
                  <a:lnTo>
                    <a:pt x="816" y="300"/>
                  </a:lnTo>
                  <a:lnTo>
                    <a:pt x="816" y="306"/>
                  </a:lnTo>
                  <a:lnTo>
                    <a:pt x="822" y="318"/>
                  </a:lnTo>
                  <a:lnTo>
                    <a:pt x="828" y="324"/>
                  </a:lnTo>
                  <a:lnTo>
                    <a:pt x="834" y="330"/>
                  </a:lnTo>
                  <a:lnTo>
                    <a:pt x="846" y="336"/>
                  </a:lnTo>
                  <a:lnTo>
                    <a:pt x="846" y="342"/>
                  </a:lnTo>
                  <a:lnTo>
                    <a:pt x="852" y="348"/>
                  </a:lnTo>
                  <a:lnTo>
                    <a:pt x="852" y="354"/>
                  </a:lnTo>
                  <a:lnTo>
                    <a:pt x="858" y="354"/>
                  </a:lnTo>
                  <a:lnTo>
                    <a:pt x="858" y="348"/>
                  </a:lnTo>
                  <a:lnTo>
                    <a:pt x="864" y="342"/>
                  </a:lnTo>
                  <a:lnTo>
                    <a:pt x="864" y="336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76" y="306"/>
                  </a:lnTo>
                  <a:lnTo>
                    <a:pt x="870" y="300"/>
                  </a:lnTo>
                  <a:lnTo>
                    <a:pt x="870" y="294"/>
                  </a:lnTo>
                  <a:lnTo>
                    <a:pt x="876" y="294"/>
                  </a:lnTo>
                  <a:lnTo>
                    <a:pt x="882" y="300"/>
                  </a:lnTo>
                  <a:lnTo>
                    <a:pt x="888" y="300"/>
                  </a:lnTo>
                  <a:lnTo>
                    <a:pt x="888" y="306"/>
                  </a:lnTo>
                  <a:lnTo>
                    <a:pt x="894" y="300"/>
                  </a:lnTo>
                  <a:lnTo>
                    <a:pt x="900" y="294"/>
                  </a:lnTo>
                  <a:lnTo>
                    <a:pt x="894" y="288"/>
                  </a:lnTo>
                  <a:lnTo>
                    <a:pt x="888" y="282"/>
                  </a:lnTo>
                  <a:lnTo>
                    <a:pt x="888" y="276"/>
                  </a:lnTo>
                  <a:lnTo>
                    <a:pt x="894" y="276"/>
                  </a:lnTo>
                  <a:lnTo>
                    <a:pt x="900" y="276"/>
                  </a:lnTo>
                  <a:lnTo>
                    <a:pt x="900" y="270"/>
                  </a:lnTo>
                  <a:lnTo>
                    <a:pt x="906" y="264"/>
                  </a:lnTo>
                  <a:lnTo>
                    <a:pt x="906" y="258"/>
                  </a:lnTo>
                  <a:lnTo>
                    <a:pt x="918" y="264"/>
                  </a:lnTo>
                  <a:lnTo>
                    <a:pt x="918" y="258"/>
                  </a:lnTo>
                  <a:lnTo>
                    <a:pt x="924" y="252"/>
                  </a:lnTo>
                  <a:lnTo>
                    <a:pt x="930" y="252"/>
                  </a:lnTo>
                  <a:lnTo>
                    <a:pt x="930" y="246"/>
                  </a:lnTo>
                  <a:lnTo>
                    <a:pt x="936" y="234"/>
                  </a:lnTo>
                  <a:lnTo>
                    <a:pt x="942" y="228"/>
                  </a:lnTo>
                  <a:lnTo>
                    <a:pt x="942" y="222"/>
                  </a:lnTo>
                  <a:lnTo>
                    <a:pt x="948" y="222"/>
                  </a:lnTo>
                  <a:lnTo>
                    <a:pt x="948" y="216"/>
                  </a:lnTo>
                  <a:lnTo>
                    <a:pt x="942" y="216"/>
                  </a:lnTo>
                  <a:lnTo>
                    <a:pt x="936" y="216"/>
                  </a:lnTo>
                  <a:lnTo>
                    <a:pt x="936" y="210"/>
                  </a:lnTo>
                  <a:lnTo>
                    <a:pt x="942" y="210"/>
                  </a:lnTo>
                  <a:lnTo>
                    <a:pt x="972" y="210"/>
                  </a:lnTo>
                  <a:lnTo>
                    <a:pt x="1032" y="216"/>
                  </a:lnTo>
                  <a:lnTo>
                    <a:pt x="1068" y="216"/>
                  </a:lnTo>
                  <a:lnTo>
                    <a:pt x="1056" y="234"/>
                  </a:lnTo>
                  <a:lnTo>
                    <a:pt x="1050" y="240"/>
                  </a:lnTo>
                  <a:lnTo>
                    <a:pt x="1044" y="246"/>
                  </a:lnTo>
                  <a:lnTo>
                    <a:pt x="1038" y="246"/>
                  </a:lnTo>
                  <a:lnTo>
                    <a:pt x="1026" y="282"/>
                  </a:lnTo>
                  <a:lnTo>
                    <a:pt x="1032" y="306"/>
                  </a:lnTo>
                  <a:lnTo>
                    <a:pt x="1044" y="324"/>
                  </a:lnTo>
                  <a:lnTo>
                    <a:pt x="1044" y="342"/>
                  </a:lnTo>
                  <a:lnTo>
                    <a:pt x="1062" y="366"/>
                  </a:lnTo>
                  <a:lnTo>
                    <a:pt x="1056" y="396"/>
                  </a:lnTo>
                  <a:lnTo>
                    <a:pt x="1038" y="462"/>
                  </a:lnTo>
                  <a:lnTo>
                    <a:pt x="1038" y="498"/>
                  </a:lnTo>
                  <a:lnTo>
                    <a:pt x="1038" y="522"/>
                  </a:lnTo>
                  <a:lnTo>
                    <a:pt x="1038" y="534"/>
                  </a:lnTo>
                  <a:lnTo>
                    <a:pt x="1056" y="522"/>
                  </a:lnTo>
                  <a:lnTo>
                    <a:pt x="1098" y="504"/>
                  </a:lnTo>
                  <a:lnTo>
                    <a:pt x="1104" y="498"/>
                  </a:lnTo>
                  <a:lnTo>
                    <a:pt x="1128" y="492"/>
                  </a:lnTo>
                  <a:lnTo>
                    <a:pt x="1152" y="480"/>
                  </a:lnTo>
                  <a:lnTo>
                    <a:pt x="1170" y="474"/>
                  </a:lnTo>
                  <a:lnTo>
                    <a:pt x="1188" y="468"/>
                  </a:lnTo>
                  <a:lnTo>
                    <a:pt x="1200" y="462"/>
                  </a:lnTo>
                  <a:lnTo>
                    <a:pt x="1224" y="450"/>
                  </a:lnTo>
                  <a:lnTo>
                    <a:pt x="1248" y="450"/>
                  </a:lnTo>
                  <a:lnTo>
                    <a:pt x="1266" y="450"/>
                  </a:lnTo>
                  <a:lnTo>
                    <a:pt x="1296" y="456"/>
                  </a:lnTo>
                  <a:lnTo>
                    <a:pt x="1308" y="456"/>
                  </a:lnTo>
                  <a:lnTo>
                    <a:pt x="1326" y="456"/>
                  </a:lnTo>
                  <a:lnTo>
                    <a:pt x="1338" y="456"/>
                  </a:lnTo>
                  <a:lnTo>
                    <a:pt x="1350" y="462"/>
                  </a:lnTo>
                  <a:lnTo>
                    <a:pt x="1356" y="462"/>
                  </a:lnTo>
                  <a:lnTo>
                    <a:pt x="1374" y="456"/>
                  </a:lnTo>
                  <a:lnTo>
                    <a:pt x="1386" y="456"/>
                  </a:lnTo>
                  <a:lnTo>
                    <a:pt x="1392" y="456"/>
                  </a:lnTo>
                  <a:lnTo>
                    <a:pt x="1398" y="456"/>
                  </a:lnTo>
                  <a:lnTo>
                    <a:pt x="1422" y="456"/>
                  </a:lnTo>
                  <a:lnTo>
                    <a:pt x="1440" y="456"/>
                  </a:lnTo>
                  <a:lnTo>
                    <a:pt x="1446" y="456"/>
                  </a:lnTo>
                  <a:lnTo>
                    <a:pt x="1476" y="456"/>
                  </a:lnTo>
                  <a:lnTo>
                    <a:pt x="1470" y="468"/>
                  </a:lnTo>
                  <a:lnTo>
                    <a:pt x="1470" y="474"/>
                  </a:lnTo>
                  <a:lnTo>
                    <a:pt x="1470" y="486"/>
                  </a:lnTo>
                  <a:lnTo>
                    <a:pt x="1464" y="492"/>
                  </a:lnTo>
                  <a:lnTo>
                    <a:pt x="1464" y="498"/>
                  </a:lnTo>
                  <a:lnTo>
                    <a:pt x="1458" y="498"/>
                  </a:lnTo>
                  <a:lnTo>
                    <a:pt x="1458" y="510"/>
                  </a:lnTo>
                  <a:lnTo>
                    <a:pt x="1452" y="522"/>
                  </a:lnTo>
                  <a:lnTo>
                    <a:pt x="1458" y="528"/>
                  </a:lnTo>
                  <a:lnTo>
                    <a:pt x="1464" y="546"/>
                  </a:lnTo>
                  <a:lnTo>
                    <a:pt x="1470" y="552"/>
                  </a:lnTo>
                  <a:lnTo>
                    <a:pt x="1476" y="564"/>
                  </a:lnTo>
                  <a:lnTo>
                    <a:pt x="1488" y="588"/>
                  </a:lnTo>
                  <a:lnTo>
                    <a:pt x="1506" y="606"/>
                  </a:lnTo>
                  <a:lnTo>
                    <a:pt x="1506" y="612"/>
                  </a:lnTo>
                  <a:lnTo>
                    <a:pt x="1518" y="618"/>
                  </a:lnTo>
                  <a:lnTo>
                    <a:pt x="1512" y="630"/>
                  </a:lnTo>
                  <a:lnTo>
                    <a:pt x="1518" y="642"/>
                  </a:lnTo>
                  <a:lnTo>
                    <a:pt x="1518" y="648"/>
                  </a:lnTo>
                  <a:lnTo>
                    <a:pt x="1530" y="666"/>
                  </a:lnTo>
                  <a:lnTo>
                    <a:pt x="1518" y="672"/>
                  </a:lnTo>
                  <a:lnTo>
                    <a:pt x="1524" y="696"/>
                  </a:lnTo>
                  <a:lnTo>
                    <a:pt x="1518" y="732"/>
                  </a:lnTo>
                  <a:lnTo>
                    <a:pt x="1524" y="762"/>
                  </a:lnTo>
                  <a:lnTo>
                    <a:pt x="1524" y="780"/>
                  </a:lnTo>
                  <a:lnTo>
                    <a:pt x="1524" y="810"/>
                  </a:lnTo>
                  <a:lnTo>
                    <a:pt x="1530" y="834"/>
                  </a:lnTo>
                  <a:lnTo>
                    <a:pt x="1536" y="846"/>
                  </a:lnTo>
                  <a:lnTo>
                    <a:pt x="1542" y="846"/>
                  </a:lnTo>
                  <a:lnTo>
                    <a:pt x="1584" y="840"/>
                  </a:lnTo>
                  <a:lnTo>
                    <a:pt x="1590" y="846"/>
                  </a:lnTo>
                  <a:lnTo>
                    <a:pt x="1596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90" y="864"/>
                  </a:lnTo>
                  <a:lnTo>
                    <a:pt x="1578" y="882"/>
                  </a:lnTo>
                  <a:lnTo>
                    <a:pt x="1572" y="906"/>
                  </a:lnTo>
                  <a:lnTo>
                    <a:pt x="1560" y="924"/>
                  </a:lnTo>
                  <a:lnTo>
                    <a:pt x="1560" y="936"/>
                  </a:lnTo>
                  <a:lnTo>
                    <a:pt x="1548" y="960"/>
                  </a:lnTo>
                  <a:lnTo>
                    <a:pt x="1542" y="978"/>
                  </a:lnTo>
                  <a:lnTo>
                    <a:pt x="1536" y="990"/>
                  </a:lnTo>
                  <a:lnTo>
                    <a:pt x="1530" y="990"/>
                  </a:lnTo>
                  <a:lnTo>
                    <a:pt x="1506" y="996"/>
                  </a:lnTo>
                  <a:lnTo>
                    <a:pt x="1494" y="1002"/>
                  </a:lnTo>
                  <a:lnTo>
                    <a:pt x="1482" y="1002"/>
                  </a:lnTo>
                  <a:lnTo>
                    <a:pt x="1464" y="1008"/>
                  </a:lnTo>
                  <a:lnTo>
                    <a:pt x="1446" y="1026"/>
                  </a:lnTo>
                  <a:lnTo>
                    <a:pt x="1440" y="1026"/>
                  </a:lnTo>
                  <a:lnTo>
                    <a:pt x="1434" y="1038"/>
                  </a:lnTo>
                  <a:lnTo>
                    <a:pt x="1428" y="1044"/>
                  </a:lnTo>
                  <a:lnTo>
                    <a:pt x="1428" y="1062"/>
                  </a:lnTo>
                  <a:lnTo>
                    <a:pt x="1428" y="1086"/>
                  </a:lnTo>
                  <a:lnTo>
                    <a:pt x="1416" y="1092"/>
                  </a:lnTo>
                  <a:lnTo>
                    <a:pt x="1410" y="1080"/>
                  </a:lnTo>
                  <a:lnTo>
                    <a:pt x="1392" y="10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0" name="Freeform 25">
              <a:extLst>
                <a:ext uri="{FF2B5EF4-FFF2-40B4-BE49-F238E27FC236}">
                  <a16:creationId xmlns:a16="http://schemas.microsoft.com/office/drawing/2014/main" id="{39FDFF90-5ACF-4D65-81AD-C44D2CBE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70228" y="3063559"/>
              <a:ext cx="644023" cy="704498"/>
            </a:xfrm>
            <a:custGeom>
              <a:avLst/>
              <a:gdLst>
                <a:gd name="T0" fmla="*/ 74 w 1212"/>
                <a:gd name="T1" fmla="*/ 113 h 1326"/>
                <a:gd name="T2" fmla="*/ 60 w 1212"/>
                <a:gd name="T3" fmla="*/ 116 h 1326"/>
                <a:gd name="T4" fmla="*/ 62 w 1212"/>
                <a:gd name="T5" fmla="*/ 110 h 1326"/>
                <a:gd name="T6" fmla="*/ 60 w 1212"/>
                <a:gd name="T7" fmla="*/ 105 h 1326"/>
                <a:gd name="T8" fmla="*/ 52 w 1212"/>
                <a:gd name="T9" fmla="*/ 96 h 1326"/>
                <a:gd name="T10" fmla="*/ 47 w 1212"/>
                <a:gd name="T11" fmla="*/ 98 h 1326"/>
                <a:gd name="T12" fmla="*/ 44 w 1212"/>
                <a:gd name="T13" fmla="*/ 93 h 1326"/>
                <a:gd name="T14" fmla="*/ 40 w 1212"/>
                <a:gd name="T15" fmla="*/ 96 h 1326"/>
                <a:gd name="T16" fmla="*/ 35 w 1212"/>
                <a:gd name="T17" fmla="*/ 102 h 1326"/>
                <a:gd name="T18" fmla="*/ 27 w 1212"/>
                <a:gd name="T19" fmla="*/ 100 h 1326"/>
                <a:gd name="T20" fmla="*/ 23 w 1212"/>
                <a:gd name="T21" fmla="*/ 96 h 1326"/>
                <a:gd name="T22" fmla="*/ 20 w 1212"/>
                <a:gd name="T23" fmla="*/ 90 h 1326"/>
                <a:gd name="T24" fmla="*/ 18 w 1212"/>
                <a:gd name="T25" fmla="*/ 89 h 1326"/>
                <a:gd name="T26" fmla="*/ 18 w 1212"/>
                <a:gd name="T27" fmla="*/ 85 h 1326"/>
                <a:gd name="T28" fmla="*/ 19 w 1212"/>
                <a:gd name="T29" fmla="*/ 83 h 1326"/>
                <a:gd name="T30" fmla="*/ 19 w 1212"/>
                <a:gd name="T31" fmla="*/ 82 h 1326"/>
                <a:gd name="T32" fmla="*/ 20 w 1212"/>
                <a:gd name="T33" fmla="*/ 79 h 1326"/>
                <a:gd name="T34" fmla="*/ 19 w 1212"/>
                <a:gd name="T35" fmla="*/ 75 h 1326"/>
                <a:gd name="T36" fmla="*/ 17 w 1212"/>
                <a:gd name="T37" fmla="*/ 77 h 1326"/>
                <a:gd name="T38" fmla="*/ 14 w 1212"/>
                <a:gd name="T39" fmla="*/ 76 h 1326"/>
                <a:gd name="T40" fmla="*/ 12 w 1212"/>
                <a:gd name="T41" fmla="*/ 71 h 1326"/>
                <a:gd name="T42" fmla="*/ 8 w 1212"/>
                <a:gd name="T43" fmla="*/ 69 h 1326"/>
                <a:gd name="T44" fmla="*/ 0 w 1212"/>
                <a:gd name="T45" fmla="*/ 72 h 1326"/>
                <a:gd name="T46" fmla="*/ 2 w 1212"/>
                <a:gd name="T47" fmla="*/ 67 h 1326"/>
                <a:gd name="T48" fmla="*/ 3 w 1212"/>
                <a:gd name="T49" fmla="*/ 61 h 1326"/>
                <a:gd name="T50" fmla="*/ 4 w 1212"/>
                <a:gd name="T51" fmla="*/ 56 h 1326"/>
                <a:gd name="T52" fmla="*/ 4 w 1212"/>
                <a:gd name="T53" fmla="*/ 52 h 1326"/>
                <a:gd name="T54" fmla="*/ 2 w 1212"/>
                <a:gd name="T55" fmla="*/ 47 h 1326"/>
                <a:gd name="T56" fmla="*/ 2 w 1212"/>
                <a:gd name="T57" fmla="*/ 42 h 1326"/>
                <a:gd name="T58" fmla="*/ 5 w 1212"/>
                <a:gd name="T59" fmla="*/ 39 h 1326"/>
                <a:gd name="T60" fmla="*/ 5 w 1212"/>
                <a:gd name="T61" fmla="*/ 35 h 1326"/>
                <a:gd name="T62" fmla="*/ 7 w 1212"/>
                <a:gd name="T63" fmla="*/ 31 h 1326"/>
                <a:gd name="T64" fmla="*/ 14 w 1212"/>
                <a:gd name="T65" fmla="*/ 31 h 1326"/>
                <a:gd name="T66" fmla="*/ 18 w 1212"/>
                <a:gd name="T67" fmla="*/ 27 h 1326"/>
                <a:gd name="T68" fmla="*/ 22 w 1212"/>
                <a:gd name="T69" fmla="*/ 24 h 1326"/>
                <a:gd name="T70" fmla="*/ 27 w 1212"/>
                <a:gd name="T71" fmla="*/ 20 h 1326"/>
                <a:gd name="T72" fmla="*/ 35 w 1212"/>
                <a:gd name="T73" fmla="*/ 21 h 1326"/>
                <a:gd name="T74" fmla="*/ 61 w 1212"/>
                <a:gd name="T75" fmla="*/ 8 h 1326"/>
                <a:gd name="T76" fmla="*/ 73 w 1212"/>
                <a:gd name="T77" fmla="*/ 4 h 1326"/>
                <a:gd name="T78" fmla="*/ 86 w 1212"/>
                <a:gd name="T79" fmla="*/ 12 h 1326"/>
                <a:gd name="T80" fmla="*/ 92 w 1212"/>
                <a:gd name="T81" fmla="*/ 13 h 1326"/>
                <a:gd name="T82" fmla="*/ 86 w 1212"/>
                <a:gd name="T83" fmla="*/ 18 h 1326"/>
                <a:gd name="T84" fmla="*/ 88 w 1212"/>
                <a:gd name="T85" fmla="*/ 33 h 1326"/>
                <a:gd name="T86" fmla="*/ 97 w 1212"/>
                <a:gd name="T87" fmla="*/ 49 h 1326"/>
                <a:gd name="T88" fmla="*/ 102 w 1212"/>
                <a:gd name="T89" fmla="*/ 57 h 1326"/>
                <a:gd name="T90" fmla="*/ 104 w 1212"/>
                <a:gd name="T91" fmla="*/ 67 h 1326"/>
                <a:gd name="T92" fmla="*/ 101 w 1212"/>
                <a:gd name="T93" fmla="*/ 69 h 1326"/>
                <a:gd name="T94" fmla="*/ 97 w 1212"/>
                <a:gd name="T95" fmla="*/ 69 h 1326"/>
                <a:gd name="T96" fmla="*/ 96 w 1212"/>
                <a:gd name="T97" fmla="*/ 71 h 1326"/>
                <a:gd name="T98" fmla="*/ 93 w 1212"/>
                <a:gd name="T99" fmla="*/ 70 h 1326"/>
                <a:gd name="T100" fmla="*/ 86 w 1212"/>
                <a:gd name="T101" fmla="*/ 69 h 1326"/>
                <a:gd name="T102" fmla="*/ 82 w 1212"/>
                <a:gd name="T103" fmla="*/ 73 h 1326"/>
                <a:gd name="T104" fmla="*/ 79 w 1212"/>
                <a:gd name="T105" fmla="*/ 74 h 1326"/>
                <a:gd name="T106" fmla="*/ 78 w 1212"/>
                <a:gd name="T107" fmla="*/ 79 h 1326"/>
                <a:gd name="T108" fmla="*/ 78 w 1212"/>
                <a:gd name="T109" fmla="*/ 83 h 1326"/>
                <a:gd name="T110" fmla="*/ 82 w 1212"/>
                <a:gd name="T111" fmla="*/ 87 h 1326"/>
                <a:gd name="T112" fmla="*/ 83 w 1212"/>
                <a:gd name="T113" fmla="*/ 90 h 1326"/>
                <a:gd name="T114" fmla="*/ 82 w 1212"/>
                <a:gd name="T115" fmla="*/ 94 h 1326"/>
                <a:gd name="T116" fmla="*/ 82 w 1212"/>
                <a:gd name="T117" fmla="*/ 98 h 1326"/>
                <a:gd name="T118" fmla="*/ 82 w 1212"/>
                <a:gd name="T119" fmla="*/ 104 h 1326"/>
                <a:gd name="T120" fmla="*/ 78 w 1212"/>
                <a:gd name="T121" fmla="*/ 110 h 132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12"/>
                <a:gd name="T184" fmla="*/ 0 h 1326"/>
                <a:gd name="T185" fmla="*/ 1212 w 1212"/>
                <a:gd name="T186" fmla="*/ 1326 h 132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12" h="1326">
                  <a:moveTo>
                    <a:pt x="906" y="1290"/>
                  </a:moveTo>
                  <a:lnTo>
                    <a:pt x="906" y="1296"/>
                  </a:lnTo>
                  <a:lnTo>
                    <a:pt x="900" y="1296"/>
                  </a:lnTo>
                  <a:lnTo>
                    <a:pt x="876" y="1290"/>
                  </a:lnTo>
                  <a:lnTo>
                    <a:pt x="870" y="1290"/>
                  </a:lnTo>
                  <a:lnTo>
                    <a:pt x="864" y="1296"/>
                  </a:lnTo>
                  <a:lnTo>
                    <a:pt x="852" y="1296"/>
                  </a:lnTo>
                  <a:lnTo>
                    <a:pt x="840" y="1302"/>
                  </a:lnTo>
                  <a:lnTo>
                    <a:pt x="834" y="1308"/>
                  </a:lnTo>
                  <a:lnTo>
                    <a:pt x="822" y="1320"/>
                  </a:lnTo>
                  <a:lnTo>
                    <a:pt x="816" y="1320"/>
                  </a:lnTo>
                  <a:lnTo>
                    <a:pt x="732" y="1320"/>
                  </a:lnTo>
                  <a:lnTo>
                    <a:pt x="696" y="1320"/>
                  </a:lnTo>
                  <a:lnTo>
                    <a:pt x="690" y="1326"/>
                  </a:lnTo>
                  <a:lnTo>
                    <a:pt x="678" y="1326"/>
                  </a:lnTo>
                  <a:lnTo>
                    <a:pt x="672" y="1308"/>
                  </a:lnTo>
                  <a:lnTo>
                    <a:pt x="696" y="1302"/>
                  </a:lnTo>
                  <a:lnTo>
                    <a:pt x="708" y="1296"/>
                  </a:lnTo>
                  <a:lnTo>
                    <a:pt x="720" y="1284"/>
                  </a:lnTo>
                  <a:lnTo>
                    <a:pt x="714" y="1278"/>
                  </a:lnTo>
                  <a:lnTo>
                    <a:pt x="714" y="1266"/>
                  </a:lnTo>
                  <a:lnTo>
                    <a:pt x="708" y="1260"/>
                  </a:lnTo>
                  <a:lnTo>
                    <a:pt x="708" y="1254"/>
                  </a:lnTo>
                  <a:lnTo>
                    <a:pt x="708" y="1248"/>
                  </a:lnTo>
                  <a:lnTo>
                    <a:pt x="702" y="1236"/>
                  </a:lnTo>
                  <a:lnTo>
                    <a:pt x="702" y="1230"/>
                  </a:lnTo>
                  <a:lnTo>
                    <a:pt x="702" y="1218"/>
                  </a:lnTo>
                  <a:lnTo>
                    <a:pt x="696" y="1200"/>
                  </a:lnTo>
                  <a:lnTo>
                    <a:pt x="696" y="1182"/>
                  </a:lnTo>
                  <a:lnTo>
                    <a:pt x="666" y="1182"/>
                  </a:lnTo>
                  <a:lnTo>
                    <a:pt x="672" y="1134"/>
                  </a:lnTo>
                  <a:lnTo>
                    <a:pt x="666" y="1128"/>
                  </a:lnTo>
                  <a:lnTo>
                    <a:pt x="660" y="1092"/>
                  </a:lnTo>
                  <a:lnTo>
                    <a:pt x="654" y="1098"/>
                  </a:lnTo>
                  <a:lnTo>
                    <a:pt x="594" y="1098"/>
                  </a:lnTo>
                  <a:lnTo>
                    <a:pt x="576" y="1098"/>
                  </a:lnTo>
                  <a:lnTo>
                    <a:pt x="570" y="1104"/>
                  </a:lnTo>
                  <a:lnTo>
                    <a:pt x="564" y="1110"/>
                  </a:lnTo>
                  <a:lnTo>
                    <a:pt x="558" y="1110"/>
                  </a:lnTo>
                  <a:lnTo>
                    <a:pt x="552" y="1110"/>
                  </a:lnTo>
                  <a:lnTo>
                    <a:pt x="546" y="1110"/>
                  </a:lnTo>
                  <a:lnTo>
                    <a:pt x="546" y="1116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10" y="1128"/>
                  </a:lnTo>
                  <a:lnTo>
                    <a:pt x="522" y="1104"/>
                  </a:lnTo>
                  <a:lnTo>
                    <a:pt x="510" y="1098"/>
                  </a:lnTo>
                  <a:lnTo>
                    <a:pt x="510" y="1074"/>
                  </a:lnTo>
                  <a:lnTo>
                    <a:pt x="504" y="1068"/>
                  </a:lnTo>
                  <a:lnTo>
                    <a:pt x="498" y="1068"/>
                  </a:lnTo>
                  <a:lnTo>
                    <a:pt x="492" y="1068"/>
                  </a:lnTo>
                  <a:lnTo>
                    <a:pt x="474" y="1080"/>
                  </a:lnTo>
                  <a:lnTo>
                    <a:pt x="474" y="1086"/>
                  </a:lnTo>
                  <a:lnTo>
                    <a:pt x="474" y="1092"/>
                  </a:lnTo>
                  <a:lnTo>
                    <a:pt x="468" y="1098"/>
                  </a:lnTo>
                  <a:lnTo>
                    <a:pt x="462" y="1104"/>
                  </a:lnTo>
                  <a:lnTo>
                    <a:pt x="456" y="1110"/>
                  </a:lnTo>
                  <a:lnTo>
                    <a:pt x="456" y="1122"/>
                  </a:lnTo>
                  <a:lnTo>
                    <a:pt x="456" y="1128"/>
                  </a:lnTo>
                  <a:lnTo>
                    <a:pt x="450" y="1140"/>
                  </a:lnTo>
                  <a:lnTo>
                    <a:pt x="444" y="1146"/>
                  </a:lnTo>
                  <a:lnTo>
                    <a:pt x="426" y="1170"/>
                  </a:lnTo>
                  <a:lnTo>
                    <a:pt x="408" y="1176"/>
                  </a:lnTo>
                  <a:lnTo>
                    <a:pt x="402" y="1170"/>
                  </a:lnTo>
                  <a:lnTo>
                    <a:pt x="396" y="1170"/>
                  </a:lnTo>
                  <a:lnTo>
                    <a:pt x="396" y="1158"/>
                  </a:lnTo>
                  <a:lnTo>
                    <a:pt x="384" y="1152"/>
                  </a:lnTo>
                  <a:lnTo>
                    <a:pt x="372" y="1140"/>
                  </a:lnTo>
                  <a:lnTo>
                    <a:pt x="354" y="1140"/>
                  </a:lnTo>
                  <a:lnTo>
                    <a:pt x="306" y="1146"/>
                  </a:lnTo>
                  <a:lnTo>
                    <a:pt x="294" y="1134"/>
                  </a:lnTo>
                  <a:lnTo>
                    <a:pt x="294" y="1128"/>
                  </a:lnTo>
                  <a:lnTo>
                    <a:pt x="288" y="1122"/>
                  </a:lnTo>
                  <a:lnTo>
                    <a:pt x="276" y="1122"/>
                  </a:lnTo>
                  <a:lnTo>
                    <a:pt x="276" y="1110"/>
                  </a:lnTo>
                  <a:lnTo>
                    <a:pt x="276" y="1104"/>
                  </a:lnTo>
                  <a:lnTo>
                    <a:pt x="270" y="1098"/>
                  </a:lnTo>
                  <a:lnTo>
                    <a:pt x="264" y="1086"/>
                  </a:lnTo>
                  <a:lnTo>
                    <a:pt x="264" y="1074"/>
                  </a:lnTo>
                  <a:lnTo>
                    <a:pt x="258" y="1068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34" y="1038"/>
                  </a:lnTo>
                  <a:lnTo>
                    <a:pt x="228" y="1038"/>
                  </a:lnTo>
                  <a:lnTo>
                    <a:pt x="222" y="1038"/>
                  </a:lnTo>
                  <a:lnTo>
                    <a:pt x="216" y="1038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0"/>
                  </a:lnTo>
                  <a:lnTo>
                    <a:pt x="204" y="1014"/>
                  </a:lnTo>
                  <a:lnTo>
                    <a:pt x="204" y="1008"/>
                  </a:lnTo>
                  <a:lnTo>
                    <a:pt x="198" y="1002"/>
                  </a:lnTo>
                  <a:lnTo>
                    <a:pt x="198" y="996"/>
                  </a:lnTo>
                  <a:lnTo>
                    <a:pt x="198" y="990"/>
                  </a:lnTo>
                  <a:lnTo>
                    <a:pt x="204" y="990"/>
                  </a:lnTo>
                  <a:lnTo>
                    <a:pt x="204" y="984"/>
                  </a:lnTo>
                  <a:lnTo>
                    <a:pt x="210" y="978"/>
                  </a:lnTo>
                  <a:lnTo>
                    <a:pt x="210" y="972"/>
                  </a:lnTo>
                  <a:lnTo>
                    <a:pt x="210" y="966"/>
                  </a:lnTo>
                  <a:lnTo>
                    <a:pt x="216" y="960"/>
                  </a:lnTo>
                  <a:lnTo>
                    <a:pt x="216" y="954"/>
                  </a:lnTo>
                  <a:lnTo>
                    <a:pt x="210" y="954"/>
                  </a:lnTo>
                  <a:lnTo>
                    <a:pt x="204" y="954"/>
                  </a:lnTo>
                  <a:lnTo>
                    <a:pt x="216" y="954"/>
                  </a:lnTo>
                  <a:lnTo>
                    <a:pt x="216" y="948"/>
                  </a:lnTo>
                  <a:lnTo>
                    <a:pt x="210" y="948"/>
                  </a:lnTo>
                  <a:lnTo>
                    <a:pt x="210" y="942"/>
                  </a:lnTo>
                  <a:lnTo>
                    <a:pt x="216" y="942"/>
                  </a:lnTo>
                  <a:lnTo>
                    <a:pt x="222" y="942"/>
                  </a:lnTo>
                  <a:lnTo>
                    <a:pt x="222" y="936"/>
                  </a:lnTo>
                  <a:lnTo>
                    <a:pt x="216" y="936"/>
                  </a:lnTo>
                  <a:lnTo>
                    <a:pt x="210" y="936"/>
                  </a:lnTo>
                  <a:lnTo>
                    <a:pt x="210" y="930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22" y="918"/>
                  </a:lnTo>
                  <a:lnTo>
                    <a:pt x="228" y="912"/>
                  </a:lnTo>
                  <a:lnTo>
                    <a:pt x="228" y="906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2" y="888"/>
                  </a:lnTo>
                  <a:lnTo>
                    <a:pt x="222" y="882"/>
                  </a:lnTo>
                  <a:lnTo>
                    <a:pt x="222" y="876"/>
                  </a:lnTo>
                  <a:lnTo>
                    <a:pt x="222" y="858"/>
                  </a:lnTo>
                  <a:lnTo>
                    <a:pt x="216" y="858"/>
                  </a:lnTo>
                  <a:lnTo>
                    <a:pt x="216" y="852"/>
                  </a:lnTo>
                  <a:lnTo>
                    <a:pt x="210" y="852"/>
                  </a:lnTo>
                  <a:lnTo>
                    <a:pt x="210" y="840"/>
                  </a:lnTo>
                  <a:lnTo>
                    <a:pt x="198" y="840"/>
                  </a:lnTo>
                  <a:lnTo>
                    <a:pt x="198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0" y="894"/>
                  </a:lnTo>
                  <a:lnTo>
                    <a:pt x="180" y="906"/>
                  </a:lnTo>
                  <a:lnTo>
                    <a:pt x="156" y="912"/>
                  </a:lnTo>
                  <a:lnTo>
                    <a:pt x="156" y="894"/>
                  </a:lnTo>
                  <a:lnTo>
                    <a:pt x="156" y="882"/>
                  </a:lnTo>
                  <a:lnTo>
                    <a:pt x="156" y="876"/>
                  </a:lnTo>
                  <a:lnTo>
                    <a:pt x="150" y="876"/>
                  </a:lnTo>
                  <a:lnTo>
                    <a:pt x="144" y="876"/>
                  </a:lnTo>
                  <a:lnTo>
                    <a:pt x="138" y="870"/>
                  </a:lnTo>
                  <a:lnTo>
                    <a:pt x="132" y="864"/>
                  </a:lnTo>
                  <a:lnTo>
                    <a:pt x="138" y="840"/>
                  </a:lnTo>
                  <a:lnTo>
                    <a:pt x="132" y="840"/>
                  </a:lnTo>
                  <a:lnTo>
                    <a:pt x="138" y="810"/>
                  </a:lnTo>
                  <a:lnTo>
                    <a:pt x="144" y="804"/>
                  </a:lnTo>
                  <a:lnTo>
                    <a:pt x="144" y="798"/>
                  </a:lnTo>
                  <a:lnTo>
                    <a:pt x="156" y="798"/>
                  </a:lnTo>
                  <a:lnTo>
                    <a:pt x="156" y="792"/>
                  </a:lnTo>
                  <a:lnTo>
                    <a:pt x="120" y="792"/>
                  </a:lnTo>
                  <a:lnTo>
                    <a:pt x="108" y="786"/>
                  </a:lnTo>
                  <a:lnTo>
                    <a:pt x="96" y="786"/>
                  </a:lnTo>
                  <a:lnTo>
                    <a:pt x="96" y="780"/>
                  </a:lnTo>
                  <a:lnTo>
                    <a:pt x="78" y="780"/>
                  </a:lnTo>
                  <a:lnTo>
                    <a:pt x="72" y="804"/>
                  </a:lnTo>
                  <a:lnTo>
                    <a:pt x="60" y="816"/>
                  </a:lnTo>
                  <a:lnTo>
                    <a:pt x="36" y="828"/>
                  </a:lnTo>
                  <a:lnTo>
                    <a:pt x="18" y="840"/>
                  </a:lnTo>
                  <a:lnTo>
                    <a:pt x="0" y="822"/>
                  </a:lnTo>
                  <a:lnTo>
                    <a:pt x="6" y="816"/>
                  </a:lnTo>
                  <a:lnTo>
                    <a:pt x="12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18" y="786"/>
                  </a:lnTo>
                  <a:lnTo>
                    <a:pt x="24" y="780"/>
                  </a:lnTo>
                  <a:lnTo>
                    <a:pt x="24" y="768"/>
                  </a:lnTo>
                  <a:lnTo>
                    <a:pt x="24" y="762"/>
                  </a:lnTo>
                  <a:lnTo>
                    <a:pt x="24" y="750"/>
                  </a:lnTo>
                  <a:lnTo>
                    <a:pt x="36" y="714"/>
                  </a:lnTo>
                  <a:lnTo>
                    <a:pt x="36" y="708"/>
                  </a:lnTo>
                  <a:lnTo>
                    <a:pt x="42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6" y="690"/>
                  </a:lnTo>
                  <a:lnTo>
                    <a:pt x="42" y="684"/>
                  </a:lnTo>
                  <a:lnTo>
                    <a:pt x="42" y="672"/>
                  </a:lnTo>
                  <a:lnTo>
                    <a:pt x="42" y="666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48" y="648"/>
                  </a:lnTo>
                  <a:lnTo>
                    <a:pt x="54" y="642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54" y="612"/>
                  </a:lnTo>
                  <a:lnTo>
                    <a:pt x="48" y="606"/>
                  </a:lnTo>
                  <a:lnTo>
                    <a:pt x="48" y="600"/>
                  </a:lnTo>
                  <a:lnTo>
                    <a:pt x="42" y="600"/>
                  </a:lnTo>
                  <a:lnTo>
                    <a:pt x="36" y="594"/>
                  </a:lnTo>
                  <a:lnTo>
                    <a:pt x="36" y="588"/>
                  </a:lnTo>
                  <a:lnTo>
                    <a:pt x="30" y="582"/>
                  </a:lnTo>
                  <a:lnTo>
                    <a:pt x="30" y="570"/>
                  </a:lnTo>
                  <a:lnTo>
                    <a:pt x="18" y="552"/>
                  </a:lnTo>
                  <a:lnTo>
                    <a:pt x="18" y="546"/>
                  </a:lnTo>
                  <a:lnTo>
                    <a:pt x="18" y="540"/>
                  </a:lnTo>
                  <a:lnTo>
                    <a:pt x="18" y="528"/>
                  </a:lnTo>
                  <a:lnTo>
                    <a:pt x="18" y="522"/>
                  </a:lnTo>
                  <a:lnTo>
                    <a:pt x="24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30" y="474"/>
                  </a:lnTo>
                  <a:lnTo>
                    <a:pt x="36" y="474"/>
                  </a:lnTo>
                  <a:lnTo>
                    <a:pt x="42" y="468"/>
                  </a:lnTo>
                  <a:lnTo>
                    <a:pt x="48" y="468"/>
                  </a:lnTo>
                  <a:lnTo>
                    <a:pt x="48" y="462"/>
                  </a:lnTo>
                  <a:lnTo>
                    <a:pt x="48" y="456"/>
                  </a:lnTo>
                  <a:lnTo>
                    <a:pt x="54" y="450"/>
                  </a:lnTo>
                  <a:lnTo>
                    <a:pt x="60" y="438"/>
                  </a:lnTo>
                  <a:lnTo>
                    <a:pt x="54" y="438"/>
                  </a:lnTo>
                  <a:lnTo>
                    <a:pt x="54" y="432"/>
                  </a:ln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54" y="402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6" y="384"/>
                  </a:lnTo>
                  <a:lnTo>
                    <a:pt x="72" y="372"/>
                  </a:lnTo>
                  <a:lnTo>
                    <a:pt x="78" y="366"/>
                  </a:lnTo>
                  <a:lnTo>
                    <a:pt x="84" y="360"/>
                  </a:lnTo>
                  <a:lnTo>
                    <a:pt x="102" y="360"/>
                  </a:lnTo>
                  <a:lnTo>
                    <a:pt x="114" y="36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8" y="360"/>
                  </a:lnTo>
                  <a:lnTo>
                    <a:pt x="156" y="360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74" y="342"/>
                  </a:lnTo>
                  <a:lnTo>
                    <a:pt x="180" y="342"/>
                  </a:lnTo>
                  <a:lnTo>
                    <a:pt x="186" y="336"/>
                  </a:lnTo>
                  <a:lnTo>
                    <a:pt x="192" y="330"/>
                  </a:lnTo>
                  <a:lnTo>
                    <a:pt x="204" y="312"/>
                  </a:lnTo>
                  <a:lnTo>
                    <a:pt x="210" y="312"/>
                  </a:lnTo>
                  <a:lnTo>
                    <a:pt x="216" y="306"/>
                  </a:lnTo>
                  <a:lnTo>
                    <a:pt x="216" y="300"/>
                  </a:lnTo>
                  <a:lnTo>
                    <a:pt x="222" y="288"/>
                  </a:lnTo>
                  <a:lnTo>
                    <a:pt x="234" y="288"/>
                  </a:lnTo>
                  <a:lnTo>
                    <a:pt x="240" y="282"/>
                  </a:lnTo>
                  <a:lnTo>
                    <a:pt x="246" y="282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70" y="270"/>
                  </a:lnTo>
                  <a:lnTo>
                    <a:pt x="276" y="264"/>
                  </a:lnTo>
                  <a:lnTo>
                    <a:pt x="282" y="26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8" y="234"/>
                  </a:lnTo>
                  <a:lnTo>
                    <a:pt x="330" y="234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72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14" y="240"/>
                  </a:lnTo>
                  <a:lnTo>
                    <a:pt x="444" y="216"/>
                  </a:lnTo>
                  <a:lnTo>
                    <a:pt x="480" y="204"/>
                  </a:lnTo>
                  <a:lnTo>
                    <a:pt x="600" y="150"/>
                  </a:lnTo>
                  <a:lnTo>
                    <a:pt x="648" y="126"/>
                  </a:lnTo>
                  <a:lnTo>
                    <a:pt x="702" y="96"/>
                  </a:lnTo>
                  <a:lnTo>
                    <a:pt x="708" y="54"/>
                  </a:lnTo>
                  <a:lnTo>
                    <a:pt x="720" y="24"/>
                  </a:lnTo>
                  <a:lnTo>
                    <a:pt x="738" y="12"/>
                  </a:lnTo>
                  <a:lnTo>
                    <a:pt x="768" y="0"/>
                  </a:lnTo>
                  <a:lnTo>
                    <a:pt x="792" y="6"/>
                  </a:lnTo>
                  <a:lnTo>
                    <a:pt x="804" y="12"/>
                  </a:lnTo>
                  <a:lnTo>
                    <a:pt x="834" y="48"/>
                  </a:lnTo>
                  <a:lnTo>
                    <a:pt x="834" y="60"/>
                  </a:lnTo>
                  <a:lnTo>
                    <a:pt x="852" y="84"/>
                  </a:lnTo>
                  <a:lnTo>
                    <a:pt x="864" y="96"/>
                  </a:lnTo>
                  <a:lnTo>
                    <a:pt x="888" y="102"/>
                  </a:lnTo>
                  <a:lnTo>
                    <a:pt x="978" y="120"/>
                  </a:lnTo>
                  <a:lnTo>
                    <a:pt x="984" y="126"/>
                  </a:lnTo>
                  <a:lnTo>
                    <a:pt x="984" y="132"/>
                  </a:lnTo>
                  <a:lnTo>
                    <a:pt x="996" y="138"/>
                  </a:lnTo>
                  <a:lnTo>
                    <a:pt x="1038" y="126"/>
                  </a:lnTo>
                  <a:lnTo>
                    <a:pt x="1056" y="114"/>
                  </a:lnTo>
                  <a:lnTo>
                    <a:pt x="1068" y="126"/>
                  </a:lnTo>
                  <a:lnTo>
                    <a:pt x="1074" y="132"/>
                  </a:lnTo>
                  <a:lnTo>
                    <a:pt x="1068" y="138"/>
                  </a:lnTo>
                  <a:lnTo>
                    <a:pt x="1056" y="150"/>
                  </a:lnTo>
                  <a:lnTo>
                    <a:pt x="1038" y="162"/>
                  </a:lnTo>
                  <a:lnTo>
                    <a:pt x="1038" y="168"/>
                  </a:lnTo>
                  <a:lnTo>
                    <a:pt x="1020" y="174"/>
                  </a:lnTo>
                  <a:lnTo>
                    <a:pt x="1014" y="180"/>
                  </a:lnTo>
                  <a:lnTo>
                    <a:pt x="1008" y="186"/>
                  </a:lnTo>
                  <a:lnTo>
                    <a:pt x="1002" y="198"/>
                  </a:lnTo>
                  <a:lnTo>
                    <a:pt x="984" y="204"/>
                  </a:lnTo>
                  <a:lnTo>
                    <a:pt x="984" y="246"/>
                  </a:lnTo>
                  <a:lnTo>
                    <a:pt x="978" y="270"/>
                  </a:lnTo>
                  <a:lnTo>
                    <a:pt x="990" y="306"/>
                  </a:lnTo>
                  <a:lnTo>
                    <a:pt x="990" y="324"/>
                  </a:lnTo>
                  <a:lnTo>
                    <a:pt x="1002" y="336"/>
                  </a:lnTo>
                  <a:lnTo>
                    <a:pt x="1020" y="372"/>
                  </a:lnTo>
                  <a:lnTo>
                    <a:pt x="1014" y="378"/>
                  </a:lnTo>
                  <a:lnTo>
                    <a:pt x="1014" y="384"/>
                  </a:lnTo>
                  <a:lnTo>
                    <a:pt x="1020" y="384"/>
                  </a:lnTo>
                  <a:lnTo>
                    <a:pt x="1020" y="396"/>
                  </a:lnTo>
                  <a:lnTo>
                    <a:pt x="1062" y="468"/>
                  </a:lnTo>
                  <a:lnTo>
                    <a:pt x="1092" y="522"/>
                  </a:lnTo>
                  <a:lnTo>
                    <a:pt x="1110" y="546"/>
                  </a:lnTo>
                  <a:lnTo>
                    <a:pt x="1122" y="564"/>
                  </a:lnTo>
                  <a:lnTo>
                    <a:pt x="1134" y="576"/>
                  </a:lnTo>
                  <a:lnTo>
                    <a:pt x="1146" y="582"/>
                  </a:lnTo>
                  <a:lnTo>
                    <a:pt x="1146" y="588"/>
                  </a:lnTo>
                  <a:lnTo>
                    <a:pt x="1164" y="600"/>
                  </a:lnTo>
                  <a:lnTo>
                    <a:pt x="1170" y="612"/>
                  </a:lnTo>
                  <a:lnTo>
                    <a:pt x="1170" y="624"/>
                  </a:lnTo>
                  <a:lnTo>
                    <a:pt x="1176" y="654"/>
                  </a:lnTo>
                  <a:lnTo>
                    <a:pt x="1176" y="666"/>
                  </a:lnTo>
                  <a:lnTo>
                    <a:pt x="1182" y="684"/>
                  </a:lnTo>
                  <a:lnTo>
                    <a:pt x="1194" y="696"/>
                  </a:lnTo>
                  <a:lnTo>
                    <a:pt x="1212" y="696"/>
                  </a:lnTo>
                  <a:lnTo>
                    <a:pt x="1206" y="762"/>
                  </a:lnTo>
                  <a:lnTo>
                    <a:pt x="1200" y="768"/>
                  </a:lnTo>
                  <a:lnTo>
                    <a:pt x="1194" y="768"/>
                  </a:lnTo>
                  <a:lnTo>
                    <a:pt x="1194" y="774"/>
                  </a:lnTo>
                  <a:lnTo>
                    <a:pt x="1188" y="774"/>
                  </a:lnTo>
                  <a:lnTo>
                    <a:pt x="1182" y="780"/>
                  </a:lnTo>
                  <a:lnTo>
                    <a:pt x="1176" y="780"/>
                  </a:lnTo>
                  <a:lnTo>
                    <a:pt x="1170" y="780"/>
                  </a:lnTo>
                  <a:lnTo>
                    <a:pt x="1164" y="786"/>
                  </a:lnTo>
                  <a:lnTo>
                    <a:pt x="1158" y="786"/>
                  </a:lnTo>
                  <a:lnTo>
                    <a:pt x="1152" y="786"/>
                  </a:lnTo>
                  <a:lnTo>
                    <a:pt x="1140" y="786"/>
                  </a:lnTo>
                  <a:lnTo>
                    <a:pt x="1134" y="786"/>
                  </a:lnTo>
                  <a:lnTo>
                    <a:pt x="1134" y="780"/>
                  </a:lnTo>
                  <a:lnTo>
                    <a:pt x="1122" y="780"/>
                  </a:lnTo>
                  <a:lnTo>
                    <a:pt x="1116" y="786"/>
                  </a:lnTo>
                  <a:lnTo>
                    <a:pt x="1116" y="792"/>
                  </a:lnTo>
                  <a:lnTo>
                    <a:pt x="1122" y="804"/>
                  </a:lnTo>
                  <a:lnTo>
                    <a:pt x="1128" y="804"/>
                  </a:lnTo>
                  <a:lnTo>
                    <a:pt x="1128" y="816"/>
                  </a:lnTo>
                  <a:lnTo>
                    <a:pt x="1122" y="822"/>
                  </a:lnTo>
                  <a:lnTo>
                    <a:pt x="1116" y="816"/>
                  </a:lnTo>
                  <a:lnTo>
                    <a:pt x="1110" y="816"/>
                  </a:lnTo>
                  <a:lnTo>
                    <a:pt x="1104" y="816"/>
                  </a:lnTo>
                  <a:lnTo>
                    <a:pt x="1098" y="816"/>
                  </a:lnTo>
                  <a:lnTo>
                    <a:pt x="1098" y="822"/>
                  </a:lnTo>
                  <a:lnTo>
                    <a:pt x="1092" y="834"/>
                  </a:lnTo>
                  <a:lnTo>
                    <a:pt x="1092" y="840"/>
                  </a:lnTo>
                  <a:lnTo>
                    <a:pt x="1074" y="840"/>
                  </a:lnTo>
                  <a:lnTo>
                    <a:pt x="1074" y="828"/>
                  </a:lnTo>
                  <a:lnTo>
                    <a:pt x="1062" y="804"/>
                  </a:lnTo>
                  <a:lnTo>
                    <a:pt x="1056" y="792"/>
                  </a:lnTo>
                  <a:lnTo>
                    <a:pt x="1056" y="786"/>
                  </a:lnTo>
                  <a:lnTo>
                    <a:pt x="1026" y="780"/>
                  </a:lnTo>
                  <a:lnTo>
                    <a:pt x="1026" y="768"/>
                  </a:lnTo>
                  <a:lnTo>
                    <a:pt x="1008" y="768"/>
                  </a:lnTo>
                  <a:lnTo>
                    <a:pt x="1002" y="780"/>
                  </a:lnTo>
                  <a:lnTo>
                    <a:pt x="996" y="792"/>
                  </a:lnTo>
                  <a:lnTo>
                    <a:pt x="978" y="798"/>
                  </a:lnTo>
                  <a:lnTo>
                    <a:pt x="972" y="810"/>
                  </a:lnTo>
                  <a:lnTo>
                    <a:pt x="972" y="822"/>
                  </a:lnTo>
                  <a:lnTo>
                    <a:pt x="978" y="828"/>
                  </a:lnTo>
                  <a:lnTo>
                    <a:pt x="978" y="834"/>
                  </a:lnTo>
                  <a:lnTo>
                    <a:pt x="960" y="840"/>
                  </a:lnTo>
                  <a:lnTo>
                    <a:pt x="936" y="840"/>
                  </a:lnTo>
                  <a:lnTo>
                    <a:pt x="918" y="846"/>
                  </a:lnTo>
                  <a:lnTo>
                    <a:pt x="912" y="840"/>
                  </a:lnTo>
                  <a:lnTo>
                    <a:pt x="912" y="834"/>
                  </a:lnTo>
                  <a:lnTo>
                    <a:pt x="906" y="834"/>
                  </a:lnTo>
                  <a:lnTo>
                    <a:pt x="906" y="840"/>
                  </a:lnTo>
                  <a:lnTo>
                    <a:pt x="900" y="846"/>
                  </a:lnTo>
                  <a:lnTo>
                    <a:pt x="906" y="852"/>
                  </a:lnTo>
                  <a:lnTo>
                    <a:pt x="900" y="864"/>
                  </a:lnTo>
                  <a:lnTo>
                    <a:pt x="900" y="876"/>
                  </a:lnTo>
                  <a:lnTo>
                    <a:pt x="900" y="882"/>
                  </a:lnTo>
                  <a:lnTo>
                    <a:pt x="894" y="888"/>
                  </a:lnTo>
                  <a:lnTo>
                    <a:pt x="900" y="900"/>
                  </a:lnTo>
                  <a:lnTo>
                    <a:pt x="900" y="906"/>
                  </a:lnTo>
                  <a:lnTo>
                    <a:pt x="894" y="906"/>
                  </a:lnTo>
                  <a:lnTo>
                    <a:pt x="894" y="912"/>
                  </a:lnTo>
                  <a:lnTo>
                    <a:pt x="900" y="918"/>
                  </a:lnTo>
                  <a:lnTo>
                    <a:pt x="900" y="924"/>
                  </a:lnTo>
                  <a:lnTo>
                    <a:pt x="900" y="948"/>
                  </a:lnTo>
                  <a:lnTo>
                    <a:pt x="888" y="948"/>
                  </a:lnTo>
                  <a:lnTo>
                    <a:pt x="888" y="954"/>
                  </a:lnTo>
                  <a:lnTo>
                    <a:pt x="894" y="954"/>
                  </a:lnTo>
                  <a:lnTo>
                    <a:pt x="900" y="960"/>
                  </a:lnTo>
                  <a:lnTo>
                    <a:pt x="900" y="972"/>
                  </a:lnTo>
                  <a:lnTo>
                    <a:pt x="906" y="984"/>
                  </a:lnTo>
                  <a:lnTo>
                    <a:pt x="912" y="984"/>
                  </a:lnTo>
                  <a:lnTo>
                    <a:pt x="918" y="990"/>
                  </a:lnTo>
                  <a:lnTo>
                    <a:pt x="936" y="990"/>
                  </a:lnTo>
                  <a:lnTo>
                    <a:pt x="936" y="996"/>
                  </a:lnTo>
                  <a:lnTo>
                    <a:pt x="942" y="996"/>
                  </a:lnTo>
                  <a:lnTo>
                    <a:pt x="942" y="1002"/>
                  </a:lnTo>
                  <a:lnTo>
                    <a:pt x="942" y="1008"/>
                  </a:lnTo>
                  <a:lnTo>
                    <a:pt x="948" y="1008"/>
                  </a:lnTo>
                  <a:lnTo>
                    <a:pt x="948" y="1014"/>
                  </a:lnTo>
                  <a:lnTo>
                    <a:pt x="948" y="1020"/>
                  </a:lnTo>
                  <a:lnTo>
                    <a:pt x="954" y="1032"/>
                  </a:lnTo>
                  <a:lnTo>
                    <a:pt x="948" y="1038"/>
                  </a:lnTo>
                  <a:lnTo>
                    <a:pt x="954" y="1044"/>
                  </a:lnTo>
                  <a:lnTo>
                    <a:pt x="954" y="1056"/>
                  </a:lnTo>
                  <a:lnTo>
                    <a:pt x="960" y="1056"/>
                  </a:lnTo>
                  <a:lnTo>
                    <a:pt x="960" y="1062"/>
                  </a:lnTo>
                  <a:lnTo>
                    <a:pt x="954" y="1068"/>
                  </a:lnTo>
                  <a:lnTo>
                    <a:pt x="948" y="1074"/>
                  </a:lnTo>
                  <a:lnTo>
                    <a:pt x="948" y="1080"/>
                  </a:lnTo>
                  <a:lnTo>
                    <a:pt x="948" y="1086"/>
                  </a:lnTo>
                  <a:lnTo>
                    <a:pt x="942" y="1092"/>
                  </a:lnTo>
                  <a:lnTo>
                    <a:pt x="942" y="1098"/>
                  </a:lnTo>
                  <a:lnTo>
                    <a:pt x="942" y="1104"/>
                  </a:lnTo>
                  <a:lnTo>
                    <a:pt x="942" y="1110"/>
                  </a:lnTo>
                  <a:lnTo>
                    <a:pt x="936" y="1116"/>
                  </a:lnTo>
                  <a:lnTo>
                    <a:pt x="936" y="1122"/>
                  </a:lnTo>
                  <a:lnTo>
                    <a:pt x="936" y="1128"/>
                  </a:lnTo>
                  <a:lnTo>
                    <a:pt x="936" y="1134"/>
                  </a:lnTo>
                  <a:lnTo>
                    <a:pt x="942" y="1146"/>
                  </a:lnTo>
                  <a:lnTo>
                    <a:pt x="936" y="1158"/>
                  </a:lnTo>
                  <a:lnTo>
                    <a:pt x="936" y="1170"/>
                  </a:lnTo>
                  <a:lnTo>
                    <a:pt x="936" y="1194"/>
                  </a:lnTo>
                  <a:lnTo>
                    <a:pt x="930" y="1200"/>
                  </a:lnTo>
                  <a:lnTo>
                    <a:pt x="930" y="1212"/>
                  </a:lnTo>
                  <a:lnTo>
                    <a:pt x="918" y="1218"/>
                  </a:lnTo>
                  <a:lnTo>
                    <a:pt x="918" y="1230"/>
                  </a:lnTo>
                  <a:lnTo>
                    <a:pt x="906" y="1230"/>
                  </a:lnTo>
                  <a:lnTo>
                    <a:pt x="900" y="1254"/>
                  </a:lnTo>
                  <a:lnTo>
                    <a:pt x="900" y="1260"/>
                  </a:lnTo>
                  <a:lnTo>
                    <a:pt x="900" y="1266"/>
                  </a:lnTo>
                  <a:lnTo>
                    <a:pt x="900" y="1272"/>
                  </a:lnTo>
                  <a:lnTo>
                    <a:pt x="900" y="1278"/>
                  </a:lnTo>
                  <a:lnTo>
                    <a:pt x="900" y="1284"/>
                  </a:lnTo>
                  <a:lnTo>
                    <a:pt x="906" y="129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1" name="Freeform 26">
              <a:extLst>
                <a:ext uri="{FF2B5EF4-FFF2-40B4-BE49-F238E27FC236}">
                  <a16:creationId xmlns:a16="http://schemas.microsoft.com/office/drawing/2014/main" id="{25725EFE-FE00-49A8-A87A-6752B785C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79173" y="3477313"/>
              <a:ext cx="650731" cy="559125"/>
            </a:xfrm>
            <a:custGeom>
              <a:avLst/>
              <a:gdLst>
                <a:gd name="T0" fmla="*/ 95 w 1224"/>
                <a:gd name="T1" fmla="*/ 89 h 1050"/>
                <a:gd name="T2" fmla="*/ 90 w 1224"/>
                <a:gd name="T3" fmla="*/ 84 h 1050"/>
                <a:gd name="T4" fmla="*/ 84 w 1224"/>
                <a:gd name="T5" fmla="*/ 83 h 1050"/>
                <a:gd name="T6" fmla="*/ 82 w 1224"/>
                <a:gd name="T7" fmla="*/ 80 h 1050"/>
                <a:gd name="T8" fmla="*/ 85 w 1224"/>
                <a:gd name="T9" fmla="*/ 77 h 1050"/>
                <a:gd name="T10" fmla="*/ 81 w 1224"/>
                <a:gd name="T11" fmla="*/ 76 h 1050"/>
                <a:gd name="T12" fmla="*/ 77 w 1224"/>
                <a:gd name="T13" fmla="*/ 77 h 1050"/>
                <a:gd name="T14" fmla="*/ 78 w 1224"/>
                <a:gd name="T15" fmla="*/ 73 h 1050"/>
                <a:gd name="T16" fmla="*/ 59 w 1224"/>
                <a:gd name="T17" fmla="*/ 71 h 1050"/>
                <a:gd name="T18" fmla="*/ 41 w 1224"/>
                <a:gd name="T19" fmla="*/ 73 h 1050"/>
                <a:gd name="T20" fmla="*/ 33 w 1224"/>
                <a:gd name="T21" fmla="*/ 71 h 1050"/>
                <a:gd name="T22" fmla="*/ 30 w 1224"/>
                <a:gd name="T23" fmla="*/ 75 h 1050"/>
                <a:gd name="T24" fmla="*/ 27 w 1224"/>
                <a:gd name="T25" fmla="*/ 80 h 1050"/>
                <a:gd name="T26" fmla="*/ 12 w 1224"/>
                <a:gd name="T27" fmla="*/ 81 h 1050"/>
                <a:gd name="T28" fmla="*/ 9 w 1224"/>
                <a:gd name="T29" fmla="*/ 84 h 1050"/>
                <a:gd name="T30" fmla="*/ 6 w 1224"/>
                <a:gd name="T31" fmla="*/ 83 h 1050"/>
                <a:gd name="T32" fmla="*/ 1 w 1224"/>
                <a:gd name="T33" fmla="*/ 83 h 1050"/>
                <a:gd name="T34" fmla="*/ 3 w 1224"/>
                <a:gd name="T35" fmla="*/ 77 h 1050"/>
                <a:gd name="T36" fmla="*/ 5 w 1224"/>
                <a:gd name="T37" fmla="*/ 70 h 1050"/>
                <a:gd name="T38" fmla="*/ 2 w 1224"/>
                <a:gd name="T39" fmla="*/ 65 h 1050"/>
                <a:gd name="T40" fmla="*/ 3 w 1224"/>
                <a:gd name="T41" fmla="*/ 58 h 1050"/>
                <a:gd name="T42" fmla="*/ 4 w 1224"/>
                <a:gd name="T43" fmla="*/ 51 h 1050"/>
                <a:gd name="T44" fmla="*/ 3 w 1224"/>
                <a:gd name="T45" fmla="*/ 47 h 1050"/>
                <a:gd name="T46" fmla="*/ 4 w 1224"/>
                <a:gd name="T47" fmla="*/ 39 h 1050"/>
                <a:gd name="T48" fmla="*/ 6 w 1224"/>
                <a:gd name="T49" fmla="*/ 29 h 1050"/>
                <a:gd name="T50" fmla="*/ 3 w 1224"/>
                <a:gd name="T51" fmla="*/ 22 h 1050"/>
                <a:gd name="T52" fmla="*/ 2 w 1224"/>
                <a:gd name="T53" fmla="*/ 14 h 1050"/>
                <a:gd name="T54" fmla="*/ 0 w 1224"/>
                <a:gd name="T55" fmla="*/ 6 h 1050"/>
                <a:gd name="T56" fmla="*/ 9 w 1224"/>
                <a:gd name="T57" fmla="*/ 1 h 1050"/>
                <a:gd name="T58" fmla="*/ 11 w 1224"/>
                <a:gd name="T59" fmla="*/ 8 h 1050"/>
                <a:gd name="T60" fmla="*/ 15 w 1224"/>
                <a:gd name="T61" fmla="*/ 9 h 1050"/>
                <a:gd name="T62" fmla="*/ 18 w 1224"/>
                <a:gd name="T63" fmla="*/ 8 h 1050"/>
                <a:gd name="T64" fmla="*/ 18 w 1224"/>
                <a:gd name="T65" fmla="*/ 13 h 1050"/>
                <a:gd name="T66" fmla="*/ 17 w 1224"/>
                <a:gd name="T67" fmla="*/ 15 h 1050"/>
                <a:gd name="T68" fmla="*/ 17 w 1224"/>
                <a:gd name="T69" fmla="*/ 17 h 1050"/>
                <a:gd name="T70" fmla="*/ 17 w 1224"/>
                <a:gd name="T71" fmla="*/ 21 h 1050"/>
                <a:gd name="T72" fmla="*/ 21 w 1224"/>
                <a:gd name="T73" fmla="*/ 25 h 1050"/>
                <a:gd name="T74" fmla="*/ 24 w 1224"/>
                <a:gd name="T75" fmla="*/ 31 h 1050"/>
                <a:gd name="T76" fmla="*/ 35 w 1224"/>
                <a:gd name="T77" fmla="*/ 34 h 1050"/>
                <a:gd name="T78" fmla="*/ 40 w 1224"/>
                <a:gd name="T79" fmla="*/ 27 h 1050"/>
                <a:gd name="T80" fmla="*/ 46 w 1224"/>
                <a:gd name="T81" fmla="*/ 30 h 1050"/>
                <a:gd name="T82" fmla="*/ 51 w 1224"/>
                <a:gd name="T83" fmla="*/ 27 h 1050"/>
                <a:gd name="T84" fmla="*/ 59 w 1224"/>
                <a:gd name="T85" fmla="*/ 39 h 1050"/>
                <a:gd name="T86" fmla="*/ 59 w 1224"/>
                <a:gd name="T87" fmla="*/ 45 h 1050"/>
                <a:gd name="T88" fmla="*/ 72 w 1224"/>
                <a:gd name="T89" fmla="*/ 45 h 1050"/>
                <a:gd name="T90" fmla="*/ 79 w 1224"/>
                <a:gd name="T91" fmla="*/ 44 h 1050"/>
                <a:gd name="T92" fmla="*/ 87 w 1224"/>
                <a:gd name="T93" fmla="*/ 48 h 1050"/>
                <a:gd name="T94" fmla="*/ 93 w 1224"/>
                <a:gd name="T95" fmla="*/ 50 h 1050"/>
                <a:gd name="T96" fmla="*/ 98 w 1224"/>
                <a:gd name="T97" fmla="*/ 51 h 1050"/>
                <a:gd name="T98" fmla="*/ 106 w 1224"/>
                <a:gd name="T99" fmla="*/ 50 h 1050"/>
                <a:gd name="T100" fmla="*/ 104 w 1224"/>
                <a:gd name="T101" fmla="*/ 54 h 1050"/>
                <a:gd name="T102" fmla="*/ 104 w 1224"/>
                <a:gd name="T103" fmla="*/ 60 h 1050"/>
                <a:gd name="T104" fmla="*/ 101 w 1224"/>
                <a:gd name="T105" fmla="*/ 63 h 1050"/>
                <a:gd name="T106" fmla="*/ 98 w 1224"/>
                <a:gd name="T107" fmla="*/ 66 h 1050"/>
                <a:gd name="T108" fmla="*/ 95 w 1224"/>
                <a:gd name="T109" fmla="*/ 68 h 1050"/>
                <a:gd name="T110" fmla="*/ 93 w 1224"/>
                <a:gd name="T111" fmla="*/ 72 h 1050"/>
                <a:gd name="T112" fmla="*/ 98 w 1224"/>
                <a:gd name="T113" fmla="*/ 75 h 1050"/>
                <a:gd name="T114" fmla="*/ 102 w 1224"/>
                <a:gd name="T115" fmla="*/ 77 h 1050"/>
                <a:gd name="T116" fmla="*/ 107 w 1224"/>
                <a:gd name="T117" fmla="*/ 76 h 1050"/>
                <a:gd name="T118" fmla="*/ 104 w 1224"/>
                <a:gd name="T119" fmla="*/ 84 h 1050"/>
                <a:gd name="T120" fmla="*/ 103 w 1224"/>
                <a:gd name="T121" fmla="*/ 87 h 1050"/>
                <a:gd name="T122" fmla="*/ 104 w 1224"/>
                <a:gd name="T123" fmla="*/ 91 h 105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24"/>
                <a:gd name="T187" fmla="*/ 0 h 1050"/>
                <a:gd name="T188" fmla="*/ 1224 w 1224"/>
                <a:gd name="T189" fmla="*/ 1050 h 105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24" h="1050">
                  <a:moveTo>
                    <a:pt x="1128" y="1032"/>
                  </a:moveTo>
                  <a:lnTo>
                    <a:pt x="1122" y="1026"/>
                  </a:lnTo>
                  <a:lnTo>
                    <a:pt x="1116" y="1026"/>
                  </a:lnTo>
                  <a:lnTo>
                    <a:pt x="1110" y="1026"/>
                  </a:lnTo>
                  <a:lnTo>
                    <a:pt x="1104" y="1026"/>
                  </a:lnTo>
                  <a:lnTo>
                    <a:pt x="1104" y="1020"/>
                  </a:lnTo>
                  <a:lnTo>
                    <a:pt x="1098" y="1020"/>
                  </a:lnTo>
                  <a:lnTo>
                    <a:pt x="1092" y="1020"/>
                  </a:lnTo>
                  <a:lnTo>
                    <a:pt x="1086" y="1020"/>
                  </a:lnTo>
                  <a:lnTo>
                    <a:pt x="1080" y="1014"/>
                  </a:lnTo>
                  <a:lnTo>
                    <a:pt x="1068" y="1014"/>
                  </a:lnTo>
                  <a:lnTo>
                    <a:pt x="1062" y="1014"/>
                  </a:lnTo>
                  <a:lnTo>
                    <a:pt x="1062" y="1008"/>
                  </a:lnTo>
                  <a:lnTo>
                    <a:pt x="1062" y="990"/>
                  </a:lnTo>
                  <a:lnTo>
                    <a:pt x="1062" y="984"/>
                  </a:lnTo>
                  <a:lnTo>
                    <a:pt x="1062" y="972"/>
                  </a:lnTo>
                  <a:lnTo>
                    <a:pt x="1044" y="966"/>
                  </a:lnTo>
                  <a:lnTo>
                    <a:pt x="1026" y="966"/>
                  </a:lnTo>
                  <a:lnTo>
                    <a:pt x="1014" y="966"/>
                  </a:lnTo>
                  <a:lnTo>
                    <a:pt x="996" y="966"/>
                  </a:lnTo>
                  <a:lnTo>
                    <a:pt x="996" y="972"/>
                  </a:lnTo>
                  <a:lnTo>
                    <a:pt x="990" y="972"/>
                  </a:lnTo>
                  <a:lnTo>
                    <a:pt x="984" y="966"/>
                  </a:lnTo>
                  <a:lnTo>
                    <a:pt x="978" y="966"/>
                  </a:lnTo>
                  <a:lnTo>
                    <a:pt x="978" y="960"/>
                  </a:lnTo>
                  <a:lnTo>
                    <a:pt x="972" y="954"/>
                  </a:lnTo>
                  <a:lnTo>
                    <a:pt x="966" y="954"/>
                  </a:lnTo>
                  <a:lnTo>
                    <a:pt x="960" y="954"/>
                  </a:lnTo>
                  <a:lnTo>
                    <a:pt x="954" y="954"/>
                  </a:lnTo>
                  <a:lnTo>
                    <a:pt x="954" y="948"/>
                  </a:lnTo>
                  <a:lnTo>
                    <a:pt x="942" y="942"/>
                  </a:lnTo>
                  <a:lnTo>
                    <a:pt x="936" y="942"/>
                  </a:lnTo>
                  <a:lnTo>
                    <a:pt x="936" y="936"/>
                  </a:lnTo>
                  <a:lnTo>
                    <a:pt x="936" y="930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42" y="918"/>
                  </a:lnTo>
                  <a:lnTo>
                    <a:pt x="948" y="918"/>
                  </a:lnTo>
                  <a:lnTo>
                    <a:pt x="960" y="918"/>
                  </a:lnTo>
                  <a:lnTo>
                    <a:pt x="966" y="912"/>
                  </a:lnTo>
                  <a:lnTo>
                    <a:pt x="978" y="906"/>
                  </a:lnTo>
                  <a:lnTo>
                    <a:pt x="978" y="900"/>
                  </a:lnTo>
                  <a:lnTo>
                    <a:pt x="978" y="894"/>
                  </a:lnTo>
                  <a:lnTo>
                    <a:pt x="978" y="888"/>
                  </a:lnTo>
                  <a:lnTo>
                    <a:pt x="972" y="888"/>
                  </a:lnTo>
                  <a:lnTo>
                    <a:pt x="978" y="888"/>
                  </a:lnTo>
                  <a:lnTo>
                    <a:pt x="978" y="882"/>
                  </a:lnTo>
                  <a:lnTo>
                    <a:pt x="972" y="876"/>
                  </a:lnTo>
                  <a:lnTo>
                    <a:pt x="966" y="870"/>
                  </a:lnTo>
                  <a:lnTo>
                    <a:pt x="954" y="876"/>
                  </a:lnTo>
                  <a:lnTo>
                    <a:pt x="948" y="876"/>
                  </a:lnTo>
                  <a:lnTo>
                    <a:pt x="942" y="870"/>
                  </a:lnTo>
                  <a:lnTo>
                    <a:pt x="936" y="876"/>
                  </a:lnTo>
                  <a:lnTo>
                    <a:pt x="930" y="876"/>
                  </a:lnTo>
                  <a:lnTo>
                    <a:pt x="924" y="882"/>
                  </a:lnTo>
                  <a:lnTo>
                    <a:pt x="912" y="888"/>
                  </a:lnTo>
                  <a:lnTo>
                    <a:pt x="906" y="894"/>
                  </a:lnTo>
                  <a:lnTo>
                    <a:pt x="900" y="900"/>
                  </a:lnTo>
                  <a:lnTo>
                    <a:pt x="894" y="888"/>
                  </a:lnTo>
                  <a:lnTo>
                    <a:pt x="888" y="894"/>
                  </a:lnTo>
                  <a:lnTo>
                    <a:pt x="882" y="888"/>
                  </a:lnTo>
                  <a:lnTo>
                    <a:pt x="876" y="894"/>
                  </a:lnTo>
                  <a:lnTo>
                    <a:pt x="876" y="888"/>
                  </a:lnTo>
                  <a:lnTo>
                    <a:pt x="876" y="882"/>
                  </a:lnTo>
                  <a:lnTo>
                    <a:pt x="876" y="876"/>
                  </a:lnTo>
                  <a:lnTo>
                    <a:pt x="870" y="858"/>
                  </a:lnTo>
                  <a:lnTo>
                    <a:pt x="864" y="858"/>
                  </a:lnTo>
                  <a:lnTo>
                    <a:pt x="870" y="852"/>
                  </a:lnTo>
                  <a:lnTo>
                    <a:pt x="870" y="846"/>
                  </a:lnTo>
                  <a:lnTo>
                    <a:pt x="876" y="846"/>
                  </a:lnTo>
                  <a:lnTo>
                    <a:pt x="882" y="846"/>
                  </a:lnTo>
                  <a:lnTo>
                    <a:pt x="888" y="840"/>
                  </a:lnTo>
                  <a:lnTo>
                    <a:pt x="894" y="834"/>
                  </a:lnTo>
                  <a:lnTo>
                    <a:pt x="894" y="828"/>
                  </a:lnTo>
                  <a:lnTo>
                    <a:pt x="894" y="816"/>
                  </a:lnTo>
                  <a:lnTo>
                    <a:pt x="858" y="810"/>
                  </a:lnTo>
                  <a:lnTo>
                    <a:pt x="858" y="816"/>
                  </a:lnTo>
                  <a:lnTo>
                    <a:pt x="852" y="816"/>
                  </a:lnTo>
                  <a:lnTo>
                    <a:pt x="780" y="816"/>
                  </a:lnTo>
                  <a:lnTo>
                    <a:pt x="750" y="816"/>
                  </a:lnTo>
                  <a:lnTo>
                    <a:pt x="684" y="816"/>
                  </a:lnTo>
                  <a:lnTo>
                    <a:pt x="636" y="816"/>
                  </a:lnTo>
                  <a:lnTo>
                    <a:pt x="612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0" y="816"/>
                  </a:lnTo>
                  <a:lnTo>
                    <a:pt x="480" y="822"/>
                  </a:lnTo>
                  <a:lnTo>
                    <a:pt x="480" y="834"/>
                  </a:lnTo>
                  <a:lnTo>
                    <a:pt x="474" y="840"/>
                  </a:lnTo>
                  <a:lnTo>
                    <a:pt x="468" y="840"/>
                  </a:lnTo>
                  <a:lnTo>
                    <a:pt x="432" y="840"/>
                  </a:lnTo>
                  <a:lnTo>
                    <a:pt x="426" y="834"/>
                  </a:lnTo>
                  <a:lnTo>
                    <a:pt x="420" y="834"/>
                  </a:lnTo>
                  <a:lnTo>
                    <a:pt x="420" y="828"/>
                  </a:lnTo>
                  <a:lnTo>
                    <a:pt x="414" y="822"/>
                  </a:lnTo>
                  <a:lnTo>
                    <a:pt x="408" y="822"/>
                  </a:lnTo>
                  <a:lnTo>
                    <a:pt x="396" y="822"/>
                  </a:lnTo>
                  <a:lnTo>
                    <a:pt x="396" y="816"/>
                  </a:lnTo>
                  <a:lnTo>
                    <a:pt x="384" y="816"/>
                  </a:lnTo>
                  <a:lnTo>
                    <a:pt x="372" y="810"/>
                  </a:lnTo>
                  <a:lnTo>
                    <a:pt x="372" y="804"/>
                  </a:lnTo>
                  <a:lnTo>
                    <a:pt x="366" y="804"/>
                  </a:lnTo>
                  <a:lnTo>
                    <a:pt x="360" y="804"/>
                  </a:lnTo>
                  <a:lnTo>
                    <a:pt x="348" y="828"/>
                  </a:lnTo>
                  <a:lnTo>
                    <a:pt x="348" y="834"/>
                  </a:lnTo>
                  <a:lnTo>
                    <a:pt x="348" y="852"/>
                  </a:lnTo>
                  <a:lnTo>
                    <a:pt x="348" y="858"/>
                  </a:lnTo>
                  <a:lnTo>
                    <a:pt x="342" y="864"/>
                  </a:lnTo>
                  <a:lnTo>
                    <a:pt x="342" y="870"/>
                  </a:lnTo>
                  <a:lnTo>
                    <a:pt x="330" y="876"/>
                  </a:lnTo>
                  <a:lnTo>
                    <a:pt x="324" y="888"/>
                  </a:lnTo>
                  <a:lnTo>
                    <a:pt x="324" y="894"/>
                  </a:lnTo>
                  <a:lnTo>
                    <a:pt x="330" y="900"/>
                  </a:lnTo>
                  <a:lnTo>
                    <a:pt x="330" y="906"/>
                  </a:lnTo>
                  <a:lnTo>
                    <a:pt x="324" y="906"/>
                  </a:lnTo>
                  <a:lnTo>
                    <a:pt x="318" y="912"/>
                  </a:lnTo>
                  <a:lnTo>
                    <a:pt x="312" y="918"/>
                  </a:lnTo>
                  <a:lnTo>
                    <a:pt x="306" y="924"/>
                  </a:lnTo>
                  <a:lnTo>
                    <a:pt x="288" y="924"/>
                  </a:lnTo>
                  <a:lnTo>
                    <a:pt x="282" y="924"/>
                  </a:lnTo>
                  <a:lnTo>
                    <a:pt x="276" y="930"/>
                  </a:lnTo>
                  <a:lnTo>
                    <a:pt x="270" y="930"/>
                  </a:lnTo>
                  <a:lnTo>
                    <a:pt x="264" y="930"/>
                  </a:lnTo>
                  <a:lnTo>
                    <a:pt x="198" y="930"/>
                  </a:lnTo>
                  <a:lnTo>
                    <a:pt x="132" y="930"/>
                  </a:lnTo>
                  <a:lnTo>
                    <a:pt x="132" y="936"/>
                  </a:lnTo>
                  <a:lnTo>
                    <a:pt x="132" y="942"/>
                  </a:lnTo>
                  <a:lnTo>
                    <a:pt x="132" y="948"/>
                  </a:lnTo>
                  <a:lnTo>
                    <a:pt x="126" y="948"/>
                  </a:lnTo>
                  <a:lnTo>
                    <a:pt x="120" y="948"/>
                  </a:lnTo>
                  <a:lnTo>
                    <a:pt x="120" y="954"/>
                  </a:lnTo>
                  <a:lnTo>
                    <a:pt x="114" y="954"/>
                  </a:lnTo>
                  <a:lnTo>
                    <a:pt x="114" y="960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02" y="966"/>
                  </a:lnTo>
                  <a:lnTo>
                    <a:pt x="102" y="972"/>
                  </a:lnTo>
                  <a:lnTo>
                    <a:pt x="96" y="972"/>
                  </a:lnTo>
                  <a:lnTo>
                    <a:pt x="96" y="966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78" y="960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60"/>
                  </a:lnTo>
                  <a:lnTo>
                    <a:pt x="54" y="966"/>
                  </a:lnTo>
                  <a:lnTo>
                    <a:pt x="48" y="966"/>
                  </a:lnTo>
                  <a:lnTo>
                    <a:pt x="42" y="966"/>
                  </a:lnTo>
                  <a:lnTo>
                    <a:pt x="36" y="966"/>
                  </a:lnTo>
                  <a:lnTo>
                    <a:pt x="30" y="966"/>
                  </a:lnTo>
                  <a:lnTo>
                    <a:pt x="24" y="960"/>
                  </a:lnTo>
                  <a:lnTo>
                    <a:pt x="18" y="960"/>
                  </a:lnTo>
                  <a:lnTo>
                    <a:pt x="12" y="960"/>
                  </a:lnTo>
                  <a:lnTo>
                    <a:pt x="12" y="948"/>
                  </a:lnTo>
                  <a:lnTo>
                    <a:pt x="18" y="942"/>
                  </a:lnTo>
                  <a:lnTo>
                    <a:pt x="18" y="936"/>
                  </a:lnTo>
                  <a:lnTo>
                    <a:pt x="18" y="930"/>
                  </a:lnTo>
                  <a:lnTo>
                    <a:pt x="18" y="924"/>
                  </a:lnTo>
                  <a:lnTo>
                    <a:pt x="18" y="912"/>
                  </a:lnTo>
                  <a:lnTo>
                    <a:pt x="24" y="906"/>
                  </a:lnTo>
                  <a:lnTo>
                    <a:pt x="30" y="900"/>
                  </a:lnTo>
                  <a:lnTo>
                    <a:pt x="36" y="894"/>
                  </a:lnTo>
                  <a:lnTo>
                    <a:pt x="36" y="882"/>
                  </a:lnTo>
                  <a:lnTo>
                    <a:pt x="30" y="876"/>
                  </a:lnTo>
                  <a:lnTo>
                    <a:pt x="30" y="870"/>
                  </a:lnTo>
                  <a:lnTo>
                    <a:pt x="24" y="858"/>
                  </a:lnTo>
                  <a:lnTo>
                    <a:pt x="24" y="846"/>
                  </a:lnTo>
                  <a:lnTo>
                    <a:pt x="36" y="822"/>
                  </a:lnTo>
                  <a:lnTo>
                    <a:pt x="42" y="816"/>
                  </a:lnTo>
                  <a:lnTo>
                    <a:pt x="48" y="816"/>
                  </a:lnTo>
                  <a:lnTo>
                    <a:pt x="60" y="804"/>
                  </a:lnTo>
                  <a:lnTo>
                    <a:pt x="60" y="786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54" y="762"/>
                  </a:lnTo>
                  <a:lnTo>
                    <a:pt x="42" y="762"/>
                  </a:lnTo>
                  <a:lnTo>
                    <a:pt x="36" y="762"/>
                  </a:lnTo>
                  <a:lnTo>
                    <a:pt x="30" y="762"/>
                  </a:lnTo>
                  <a:lnTo>
                    <a:pt x="30" y="756"/>
                  </a:lnTo>
                  <a:lnTo>
                    <a:pt x="24" y="750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702"/>
                  </a:lnTo>
                  <a:lnTo>
                    <a:pt x="36" y="684"/>
                  </a:lnTo>
                  <a:lnTo>
                    <a:pt x="36" y="678"/>
                  </a:lnTo>
                  <a:lnTo>
                    <a:pt x="36" y="666"/>
                  </a:lnTo>
                  <a:lnTo>
                    <a:pt x="36" y="654"/>
                  </a:lnTo>
                  <a:lnTo>
                    <a:pt x="18" y="654"/>
                  </a:lnTo>
                  <a:lnTo>
                    <a:pt x="18" y="648"/>
                  </a:lnTo>
                  <a:lnTo>
                    <a:pt x="18" y="618"/>
                  </a:lnTo>
                  <a:lnTo>
                    <a:pt x="18" y="612"/>
                  </a:lnTo>
                  <a:lnTo>
                    <a:pt x="24" y="612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54" y="588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76"/>
                  </a:lnTo>
                  <a:lnTo>
                    <a:pt x="48" y="564"/>
                  </a:lnTo>
                  <a:lnTo>
                    <a:pt x="42" y="564"/>
                  </a:lnTo>
                  <a:lnTo>
                    <a:pt x="36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6" y="540"/>
                  </a:lnTo>
                  <a:lnTo>
                    <a:pt x="48" y="534"/>
                  </a:lnTo>
                  <a:lnTo>
                    <a:pt x="54" y="528"/>
                  </a:lnTo>
                  <a:lnTo>
                    <a:pt x="60" y="504"/>
                  </a:lnTo>
                  <a:lnTo>
                    <a:pt x="60" y="492"/>
                  </a:lnTo>
                  <a:lnTo>
                    <a:pt x="54" y="492"/>
                  </a:lnTo>
                  <a:lnTo>
                    <a:pt x="54" y="480"/>
                  </a:lnTo>
                  <a:lnTo>
                    <a:pt x="48" y="456"/>
                  </a:lnTo>
                  <a:lnTo>
                    <a:pt x="42" y="450"/>
                  </a:lnTo>
                  <a:lnTo>
                    <a:pt x="36" y="444"/>
                  </a:lnTo>
                  <a:lnTo>
                    <a:pt x="36" y="420"/>
                  </a:lnTo>
                  <a:lnTo>
                    <a:pt x="36" y="408"/>
                  </a:lnTo>
                  <a:lnTo>
                    <a:pt x="36" y="37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60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6" y="300"/>
                  </a:lnTo>
                  <a:lnTo>
                    <a:pt x="60" y="294"/>
                  </a:lnTo>
                  <a:lnTo>
                    <a:pt x="60" y="288"/>
                  </a:lnTo>
                  <a:lnTo>
                    <a:pt x="54" y="282"/>
                  </a:lnTo>
                  <a:lnTo>
                    <a:pt x="42" y="276"/>
                  </a:lnTo>
                  <a:lnTo>
                    <a:pt x="36" y="276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0" y="252"/>
                  </a:lnTo>
                  <a:lnTo>
                    <a:pt x="24" y="246"/>
                  </a:lnTo>
                  <a:lnTo>
                    <a:pt x="24" y="240"/>
                  </a:lnTo>
                  <a:lnTo>
                    <a:pt x="24" y="228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62"/>
                  </a:lnTo>
                  <a:lnTo>
                    <a:pt x="24" y="144"/>
                  </a:lnTo>
                  <a:lnTo>
                    <a:pt x="24" y="132"/>
                  </a:lnTo>
                  <a:lnTo>
                    <a:pt x="24" y="114"/>
                  </a:lnTo>
                  <a:lnTo>
                    <a:pt x="24" y="102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18" y="48"/>
                  </a:lnTo>
                  <a:lnTo>
                    <a:pt x="42" y="36"/>
                  </a:lnTo>
                  <a:lnTo>
                    <a:pt x="54" y="24"/>
                  </a:lnTo>
                  <a:lnTo>
                    <a:pt x="60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10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14" y="60"/>
                  </a:lnTo>
                  <a:lnTo>
                    <a:pt x="120" y="60"/>
                  </a:lnTo>
                  <a:lnTo>
                    <a:pt x="114" y="84"/>
                  </a:lnTo>
                  <a:lnTo>
                    <a:pt x="120" y="90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38" y="114"/>
                  </a:lnTo>
                  <a:lnTo>
                    <a:pt x="138" y="132"/>
                  </a:lnTo>
                  <a:lnTo>
                    <a:pt x="162" y="126"/>
                  </a:lnTo>
                  <a:lnTo>
                    <a:pt x="162" y="114"/>
                  </a:lnTo>
                  <a:lnTo>
                    <a:pt x="174" y="108"/>
                  </a:lnTo>
                  <a:lnTo>
                    <a:pt x="174" y="102"/>
                  </a:lnTo>
                  <a:lnTo>
                    <a:pt x="180" y="96"/>
                  </a:lnTo>
                  <a:lnTo>
                    <a:pt x="180" y="60"/>
                  </a:lnTo>
                  <a:lnTo>
                    <a:pt x="192" y="60"/>
                  </a:lnTo>
                  <a:lnTo>
                    <a:pt x="192" y="72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04" y="108"/>
                  </a:lnTo>
                  <a:lnTo>
                    <a:pt x="204" y="114"/>
                  </a:lnTo>
                  <a:lnTo>
                    <a:pt x="204" y="120"/>
                  </a:lnTo>
                  <a:lnTo>
                    <a:pt x="204" y="126"/>
                  </a:lnTo>
                  <a:lnTo>
                    <a:pt x="210" y="126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8" y="174"/>
                  </a:lnTo>
                  <a:lnTo>
                    <a:pt x="198" y="180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86" y="204"/>
                  </a:lnTo>
                  <a:lnTo>
                    <a:pt x="186" y="210"/>
                  </a:lnTo>
                  <a:lnTo>
                    <a:pt x="180" y="210"/>
                  </a:lnTo>
                  <a:lnTo>
                    <a:pt x="180" y="216"/>
                  </a:lnTo>
                  <a:lnTo>
                    <a:pt x="180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92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8" y="258"/>
                  </a:lnTo>
                  <a:lnTo>
                    <a:pt x="204" y="258"/>
                  </a:lnTo>
                  <a:lnTo>
                    <a:pt x="210" y="258"/>
                  </a:lnTo>
                  <a:lnTo>
                    <a:pt x="216" y="258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34" y="276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46" y="306"/>
                  </a:lnTo>
                  <a:lnTo>
                    <a:pt x="252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42"/>
                  </a:lnTo>
                  <a:lnTo>
                    <a:pt x="270" y="342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88" y="366"/>
                  </a:lnTo>
                  <a:lnTo>
                    <a:pt x="336" y="360"/>
                  </a:lnTo>
                  <a:lnTo>
                    <a:pt x="354" y="360"/>
                  </a:lnTo>
                  <a:lnTo>
                    <a:pt x="366" y="372"/>
                  </a:lnTo>
                  <a:lnTo>
                    <a:pt x="378" y="378"/>
                  </a:lnTo>
                  <a:lnTo>
                    <a:pt x="378" y="390"/>
                  </a:lnTo>
                  <a:lnTo>
                    <a:pt x="384" y="390"/>
                  </a:lnTo>
                  <a:lnTo>
                    <a:pt x="390" y="396"/>
                  </a:lnTo>
                  <a:lnTo>
                    <a:pt x="408" y="390"/>
                  </a:lnTo>
                  <a:lnTo>
                    <a:pt x="426" y="366"/>
                  </a:lnTo>
                  <a:lnTo>
                    <a:pt x="432" y="360"/>
                  </a:lnTo>
                  <a:lnTo>
                    <a:pt x="438" y="348"/>
                  </a:lnTo>
                  <a:lnTo>
                    <a:pt x="438" y="342"/>
                  </a:lnTo>
                  <a:lnTo>
                    <a:pt x="438" y="330"/>
                  </a:lnTo>
                  <a:lnTo>
                    <a:pt x="444" y="324"/>
                  </a:lnTo>
                  <a:lnTo>
                    <a:pt x="450" y="318"/>
                  </a:lnTo>
                  <a:lnTo>
                    <a:pt x="456" y="312"/>
                  </a:lnTo>
                  <a:lnTo>
                    <a:pt x="456" y="306"/>
                  </a:lnTo>
                  <a:lnTo>
                    <a:pt x="456" y="300"/>
                  </a:lnTo>
                  <a:lnTo>
                    <a:pt x="474" y="288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92" y="294"/>
                  </a:lnTo>
                  <a:lnTo>
                    <a:pt x="492" y="318"/>
                  </a:lnTo>
                  <a:lnTo>
                    <a:pt x="504" y="324"/>
                  </a:lnTo>
                  <a:lnTo>
                    <a:pt x="492" y="348"/>
                  </a:lnTo>
                  <a:lnTo>
                    <a:pt x="522" y="348"/>
                  </a:lnTo>
                  <a:lnTo>
                    <a:pt x="528" y="342"/>
                  </a:lnTo>
                  <a:lnTo>
                    <a:pt x="528" y="336"/>
                  </a:lnTo>
                  <a:lnTo>
                    <a:pt x="528" y="330"/>
                  </a:lnTo>
                  <a:lnTo>
                    <a:pt x="534" y="330"/>
                  </a:lnTo>
                  <a:lnTo>
                    <a:pt x="540" y="330"/>
                  </a:lnTo>
                  <a:lnTo>
                    <a:pt x="546" y="330"/>
                  </a:lnTo>
                  <a:lnTo>
                    <a:pt x="552" y="324"/>
                  </a:lnTo>
                  <a:lnTo>
                    <a:pt x="558" y="318"/>
                  </a:lnTo>
                  <a:lnTo>
                    <a:pt x="576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8" y="348"/>
                  </a:lnTo>
                  <a:lnTo>
                    <a:pt x="654" y="354"/>
                  </a:lnTo>
                  <a:lnTo>
                    <a:pt x="648" y="402"/>
                  </a:lnTo>
                  <a:lnTo>
                    <a:pt x="678" y="402"/>
                  </a:lnTo>
                  <a:lnTo>
                    <a:pt x="678" y="420"/>
                  </a:lnTo>
                  <a:lnTo>
                    <a:pt x="684" y="438"/>
                  </a:lnTo>
                  <a:lnTo>
                    <a:pt x="684" y="450"/>
                  </a:lnTo>
                  <a:lnTo>
                    <a:pt x="684" y="456"/>
                  </a:lnTo>
                  <a:lnTo>
                    <a:pt x="690" y="468"/>
                  </a:lnTo>
                  <a:lnTo>
                    <a:pt x="690" y="474"/>
                  </a:lnTo>
                  <a:lnTo>
                    <a:pt x="690" y="480"/>
                  </a:lnTo>
                  <a:lnTo>
                    <a:pt x="696" y="486"/>
                  </a:lnTo>
                  <a:lnTo>
                    <a:pt x="696" y="498"/>
                  </a:lnTo>
                  <a:lnTo>
                    <a:pt x="702" y="504"/>
                  </a:lnTo>
                  <a:lnTo>
                    <a:pt x="690" y="516"/>
                  </a:lnTo>
                  <a:lnTo>
                    <a:pt x="678" y="522"/>
                  </a:lnTo>
                  <a:lnTo>
                    <a:pt x="654" y="528"/>
                  </a:lnTo>
                  <a:lnTo>
                    <a:pt x="660" y="546"/>
                  </a:lnTo>
                  <a:lnTo>
                    <a:pt x="672" y="546"/>
                  </a:lnTo>
                  <a:lnTo>
                    <a:pt x="678" y="540"/>
                  </a:lnTo>
                  <a:lnTo>
                    <a:pt x="714" y="540"/>
                  </a:lnTo>
                  <a:lnTo>
                    <a:pt x="798" y="540"/>
                  </a:lnTo>
                  <a:lnTo>
                    <a:pt x="804" y="540"/>
                  </a:lnTo>
                  <a:lnTo>
                    <a:pt x="816" y="528"/>
                  </a:lnTo>
                  <a:lnTo>
                    <a:pt x="822" y="522"/>
                  </a:lnTo>
                  <a:lnTo>
                    <a:pt x="834" y="516"/>
                  </a:lnTo>
                  <a:lnTo>
                    <a:pt x="846" y="516"/>
                  </a:lnTo>
                  <a:lnTo>
                    <a:pt x="852" y="510"/>
                  </a:lnTo>
                  <a:lnTo>
                    <a:pt x="858" y="510"/>
                  </a:lnTo>
                  <a:lnTo>
                    <a:pt x="882" y="516"/>
                  </a:lnTo>
                  <a:lnTo>
                    <a:pt x="888" y="516"/>
                  </a:lnTo>
                  <a:lnTo>
                    <a:pt x="888" y="510"/>
                  </a:lnTo>
                  <a:lnTo>
                    <a:pt x="894" y="510"/>
                  </a:lnTo>
                  <a:lnTo>
                    <a:pt x="906" y="504"/>
                  </a:lnTo>
                  <a:lnTo>
                    <a:pt x="918" y="498"/>
                  </a:lnTo>
                  <a:lnTo>
                    <a:pt x="930" y="492"/>
                  </a:lnTo>
                  <a:lnTo>
                    <a:pt x="936" y="492"/>
                  </a:lnTo>
                  <a:lnTo>
                    <a:pt x="948" y="492"/>
                  </a:lnTo>
                  <a:lnTo>
                    <a:pt x="954" y="528"/>
                  </a:lnTo>
                  <a:lnTo>
                    <a:pt x="954" y="564"/>
                  </a:lnTo>
                  <a:lnTo>
                    <a:pt x="972" y="564"/>
                  </a:lnTo>
                  <a:lnTo>
                    <a:pt x="978" y="558"/>
                  </a:lnTo>
                  <a:lnTo>
                    <a:pt x="990" y="552"/>
                  </a:lnTo>
                  <a:lnTo>
                    <a:pt x="1002" y="540"/>
                  </a:lnTo>
                  <a:lnTo>
                    <a:pt x="1026" y="534"/>
                  </a:lnTo>
                  <a:lnTo>
                    <a:pt x="1032" y="540"/>
                  </a:lnTo>
                  <a:lnTo>
                    <a:pt x="1044" y="546"/>
                  </a:lnTo>
                  <a:lnTo>
                    <a:pt x="1062" y="552"/>
                  </a:lnTo>
                  <a:lnTo>
                    <a:pt x="1068" y="552"/>
                  </a:lnTo>
                  <a:lnTo>
                    <a:pt x="1068" y="570"/>
                  </a:lnTo>
                  <a:lnTo>
                    <a:pt x="1068" y="576"/>
                  </a:lnTo>
                  <a:lnTo>
                    <a:pt x="1068" y="582"/>
                  </a:lnTo>
                  <a:lnTo>
                    <a:pt x="1068" y="588"/>
                  </a:lnTo>
                  <a:lnTo>
                    <a:pt x="1068" y="594"/>
                  </a:lnTo>
                  <a:lnTo>
                    <a:pt x="1080" y="600"/>
                  </a:lnTo>
                  <a:lnTo>
                    <a:pt x="1086" y="606"/>
                  </a:lnTo>
                  <a:lnTo>
                    <a:pt x="1092" y="594"/>
                  </a:lnTo>
                  <a:lnTo>
                    <a:pt x="1104" y="588"/>
                  </a:lnTo>
                  <a:lnTo>
                    <a:pt x="1116" y="588"/>
                  </a:lnTo>
                  <a:lnTo>
                    <a:pt x="1122" y="588"/>
                  </a:lnTo>
                  <a:lnTo>
                    <a:pt x="1122" y="594"/>
                  </a:lnTo>
                  <a:lnTo>
                    <a:pt x="1128" y="594"/>
                  </a:lnTo>
                  <a:lnTo>
                    <a:pt x="1134" y="594"/>
                  </a:lnTo>
                  <a:lnTo>
                    <a:pt x="1140" y="594"/>
                  </a:lnTo>
                  <a:lnTo>
                    <a:pt x="1146" y="588"/>
                  </a:lnTo>
                  <a:lnTo>
                    <a:pt x="1158" y="582"/>
                  </a:lnTo>
                  <a:lnTo>
                    <a:pt x="1164" y="576"/>
                  </a:lnTo>
                  <a:lnTo>
                    <a:pt x="1176" y="576"/>
                  </a:lnTo>
                  <a:lnTo>
                    <a:pt x="1194" y="576"/>
                  </a:lnTo>
                  <a:lnTo>
                    <a:pt x="1218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24" y="594"/>
                  </a:lnTo>
                  <a:lnTo>
                    <a:pt x="1212" y="600"/>
                  </a:lnTo>
                  <a:lnTo>
                    <a:pt x="1206" y="606"/>
                  </a:lnTo>
                  <a:lnTo>
                    <a:pt x="1200" y="606"/>
                  </a:lnTo>
                  <a:lnTo>
                    <a:pt x="1200" y="612"/>
                  </a:lnTo>
                  <a:lnTo>
                    <a:pt x="1194" y="612"/>
                  </a:lnTo>
                  <a:lnTo>
                    <a:pt x="1194" y="618"/>
                  </a:lnTo>
                  <a:lnTo>
                    <a:pt x="1194" y="624"/>
                  </a:lnTo>
                  <a:lnTo>
                    <a:pt x="1194" y="630"/>
                  </a:lnTo>
                  <a:lnTo>
                    <a:pt x="1194" y="648"/>
                  </a:lnTo>
                  <a:lnTo>
                    <a:pt x="1194" y="660"/>
                  </a:lnTo>
                  <a:lnTo>
                    <a:pt x="1194" y="666"/>
                  </a:lnTo>
                  <a:lnTo>
                    <a:pt x="1194" y="672"/>
                  </a:lnTo>
                  <a:lnTo>
                    <a:pt x="1194" y="678"/>
                  </a:lnTo>
                  <a:lnTo>
                    <a:pt x="1188" y="684"/>
                  </a:lnTo>
                  <a:lnTo>
                    <a:pt x="1188" y="690"/>
                  </a:lnTo>
                  <a:lnTo>
                    <a:pt x="1188" y="696"/>
                  </a:lnTo>
                  <a:lnTo>
                    <a:pt x="1188" y="702"/>
                  </a:lnTo>
                  <a:lnTo>
                    <a:pt x="1188" y="708"/>
                  </a:lnTo>
                  <a:lnTo>
                    <a:pt x="1188" y="714"/>
                  </a:lnTo>
                  <a:lnTo>
                    <a:pt x="1182" y="720"/>
                  </a:lnTo>
                  <a:lnTo>
                    <a:pt x="1170" y="720"/>
                  </a:lnTo>
                  <a:lnTo>
                    <a:pt x="1158" y="726"/>
                  </a:lnTo>
                  <a:lnTo>
                    <a:pt x="1152" y="726"/>
                  </a:lnTo>
                  <a:lnTo>
                    <a:pt x="1152" y="732"/>
                  </a:lnTo>
                  <a:lnTo>
                    <a:pt x="1146" y="738"/>
                  </a:lnTo>
                  <a:lnTo>
                    <a:pt x="1140" y="738"/>
                  </a:lnTo>
                  <a:lnTo>
                    <a:pt x="1140" y="744"/>
                  </a:lnTo>
                  <a:lnTo>
                    <a:pt x="1134" y="744"/>
                  </a:lnTo>
                  <a:lnTo>
                    <a:pt x="1128" y="744"/>
                  </a:lnTo>
                  <a:lnTo>
                    <a:pt x="1122" y="750"/>
                  </a:lnTo>
                  <a:lnTo>
                    <a:pt x="1128" y="750"/>
                  </a:lnTo>
                  <a:lnTo>
                    <a:pt x="1122" y="756"/>
                  </a:lnTo>
                  <a:lnTo>
                    <a:pt x="1116" y="756"/>
                  </a:lnTo>
                  <a:lnTo>
                    <a:pt x="1110" y="762"/>
                  </a:lnTo>
                  <a:lnTo>
                    <a:pt x="1104" y="762"/>
                  </a:lnTo>
                  <a:lnTo>
                    <a:pt x="1104" y="768"/>
                  </a:lnTo>
                  <a:lnTo>
                    <a:pt x="1098" y="768"/>
                  </a:lnTo>
                  <a:lnTo>
                    <a:pt x="1098" y="774"/>
                  </a:lnTo>
                  <a:lnTo>
                    <a:pt x="1092" y="774"/>
                  </a:lnTo>
                  <a:lnTo>
                    <a:pt x="1092" y="780"/>
                  </a:lnTo>
                  <a:lnTo>
                    <a:pt x="1086" y="780"/>
                  </a:lnTo>
                  <a:lnTo>
                    <a:pt x="1086" y="786"/>
                  </a:lnTo>
                  <a:lnTo>
                    <a:pt x="1080" y="786"/>
                  </a:lnTo>
                  <a:lnTo>
                    <a:pt x="1080" y="792"/>
                  </a:lnTo>
                  <a:lnTo>
                    <a:pt x="1080" y="798"/>
                  </a:lnTo>
                  <a:lnTo>
                    <a:pt x="1080" y="804"/>
                  </a:lnTo>
                  <a:lnTo>
                    <a:pt x="1086" y="810"/>
                  </a:lnTo>
                  <a:lnTo>
                    <a:pt x="1080" y="816"/>
                  </a:lnTo>
                  <a:lnTo>
                    <a:pt x="1080" y="822"/>
                  </a:lnTo>
                  <a:lnTo>
                    <a:pt x="1074" y="822"/>
                  </a:lnTo>
                  <a:lnTo>
                    <a:pt x="1068" y="828"/>
                  </a:lnTo>
                  <a:lnTo>
                    <a:pt x="1074" y="828"/>
                  </a:lnTo>
                  <a:lnTo>
                    <a:pt x="1074" y="834"/>
                  </a:lnTo>
                  <a:lnTo>
                    <a:pt x="1080" y="846"/>
                  </a:lnTo>
                  <a:lnTo>
                    <a:pt x="1086" y="846"/>
                  </a:lnTo>
                  <a:lnTo>
                    <a:pt x="1092" y="852"/>
                  </a:lnTo>
                  <a:lnTo>
                    <a:pt x="1092" y="858"/>
                  </a:lnTo>
                  <a:lnTo>
                    <a:pt x="1098" y="858"/>
                  </a:lnTo>
                  <a:lnTo>
                    <a:pt x="1110" y="864"/>
                  </a:lnTo>
                  <a:lnTo>
                    <a:pt x="1116" y="864"/>
                  </a:lnTo>
                  <a:lnTo>
                    <a:pt x="1122" y="864"/>
                  </a:lnTo>
                  <a:lnTo>
                    <a:pt x="1128" y="864"/>
                  </a:lnTo>
                  <a:lnTo>
                    <a:pt x="1134" y="876"/>
                  </a:lnTo>
                  <a:lnTo>
                    <a:pt x="1140" y="882"/>
                  </a:lnTo>
                  <a:lnTo>
                    <a:pt x="1140" y="888"/>
                  </a:lnTo>
                  <a:lnTo>
                    <a:pt x="1152" y="918"/>
                  </a:lnTo>
                  <a:lnTo>
                    <a:pt x="1158" y="894"/>
                  </a:lnTo>
                  <a:lnTo>
                    <a:pt x="1164" y="888"/>
                  </a:lnTo>
                  <a:lnTo>
                    <a:pt x="1164" y="882"/>
                  </a:lnTo>
                  <a:lnTo>
                    <a:pt x="1176" y="864"/>
                  </a:lnTo>
                  <a:lnTo>
                    <a:pt x="1182" y="858"/>
                  </a:lnTo>
                  <a:lnTo>
                    <a:pt x="1188" y="846"/>
                  </a:lnTo>
                  <a:lnTo>
                    <a:pt x="1200" y="840"/>
                  </a:lnTo>
                  <a:lnTo>
                    <a:pt x="1212" y="840"/>
                  </a:lnTo>
                  <a:lnTo>
                    <a:pt x="1218" y="846"/>
                  </a:lnTo>
                  <a:lnTo>
                    <a:pt x="1224" y="858"/>
                  </a:lnTo>
                  <a:lnTo>
                    <a:pt x="1224" y="864"/>
                  </a:lnTo>
                  <a:lnTo>
                    <a:pt x="1224" y="876"/>
                  </a:lnTo>
                  <a:lnTo>
                    <a:pt x="1212" y="912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00" y="930"/>
                  </a:lnTo>
                  <a:lnTo>
                    <a:pt x="1200" y="942"/>
                  </a:lnTo>
                  <a:lnTo>
                    <a:pt x="1194" y="948"/>
                  </a:lnTo>
                  <a:lnTo>
                    <a:pt x="1194" y="960"/>
                  </a:lnTo>
                  <a:lnTo>
                    <a:pt x="1194" y="966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70" y="984"/>
                  </a:lnTo>
                  <a:lnTo>
                    <a:pt x="1164" y="984"/>
                  </a:lnTo>
                  <a:lnTo>
                    <a:pt x="1158" y="984"/>
                  </a:lnTo>
                  <a:lnTo>
                    <a:pt x="1146" y="984"/>
                  </a:lnTo>
                  <a:lnTo>
                    <a:pt x="1140" y="990"/>
                  </a:lnTo>
                  <a:lnTo>
                    <a:pt x="1140" y="996"/>
                  </a:lnTo>
                  <a:lnTo>
                    <a:pt x="1152" y="996"/>
                  </a:lnTo>
                  <a:lnTo>
                    <a:pt x="1176" y="1002"/>
                  </a:lnTo>
                  <a:lnTo>
                    <a:pt x="1194" y="1008"/>
                  </a:lnTo>
                  <a:lnTo>
                    <a:pt x="1206" y="1008"/>
                  </a:lnTo>
                  <a:lnTo>
                    <a:pt x="1218" y="1014"/>
                  </a:lnTo>
                  <a:lnTo>
                    <a:pt x="1212" y="1038"/>
                  </a:lnTo>
                  <a:lnTo>
                    <a:pt x="1212" y="1044"/>
                  </a:lnTo>
                  <a:lnTo>
                    <a:pt x="1206" y="1044"/>
                  </a:lnTo>
                  <a:lnTo>
                    <a:pt x="1206" y="1050"/>
                  </a:lnTo>
                  <a:lnTo>
                    <a:pt x="1194" y="1050"/>
                  </a:lnTo>
                  <a:lnTo>
                    <a:pt x="1188" y="1044"/>
                  </a:lnTo>
                  <a:lnTo>
                    <a:pt x="1158" y="1020"/>
                  </a:lnTo>
                  <a:lnTo>
                    <a:pt x="1152" y="1020"/>
                  </a:lnTo>
                  <a:lnTo>
                    <a:pt x="1140" y="1020"/>
                  </a:lnTo>
                  <a:lnTo>
                    <a:pt x="1134" y="1020"/>
                  </a:lnTo>
                  <a:lnTo>
                    <a:pt x="1134" y="1026"/>
                  </a:lnTo>
                  <a:lnTo>
                    <a:pt x="1134" y="1032"/>
                  </a:lnTo>
                  <a:lnTo>
                    <a:pt x="1128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2" name="Freeform 27">
              <a:extLst>
                <a:ext uri="{FF2B5EF4-FFF2-40B4-BE49-F238E27FC236}">
                  <a16:creationId xmlns:a16="http://schemas.microsoft.com/office/drawing/2014/main" id="{CE95C9DF-B651-4085-946F-65424BC51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2063" y="3421400"/>
              <a:ext cx="342138" cy="377969"/>
            </a:xfrm>
            <a:custGeom>
              <a:avLst/>
              <a:gdLst>
                <a:gd name="T0" fmla="*/ 43 w 642"/>
                <a:gd name="T1" fmla="*/ 41 h 708"/>
                <a:gd name="T2" fmla="*/ 39 w 642"/>
                <a:gd name="T3" fmla="*/ 41 h 708"/>
                <a:gd name="T4" fmla="*/ 38 w 642"/>
                <a:gd name="T5" fmla="*/ 47 h 708"/>
                <a:gd name="T6" fmla="*/ 38 w 642"/>
                <a:gd name="T7" fmla="*/ 49 h 708"/>
                <a:gd name="T8" fmla="*/ 38 w 642"/>
                <a:gd name="T9" fmla="*/ 50 h 708"/>
                <a:gd name="T10" fmla="*/ 36 w 642"/>
                <a:gd name="T11" fmla="*/ 52 h 708"/>
                <a:gd name="T12" fmla="*/ 35 w 642"/>
                <a:gd name="T13" fmla="*/ 53 h 708"/>
                <a:gd name="T14" fmla="*/ 33 w 642"/>
                <a:gd name="T15" fmla="*/ 55 h 708"/>
                <a:gd name="T16" fmla="*/ 32 w 642"/>
                <a:gd name="T17" fmla="*/ 56 h 708"/>
                <a:gd name="T18" fmla="*/ 31 w 642"/>
                <a:gd name="T19" fmla="*/ 59 h 708"/>
                <a:gd name="T20" fmla="*/ 26 w 642"/>
                <a:gd name="T21" fmla="*/ 59 h 708"/>
                <a:gd name="T22" fmla="*/ 23 w 642"/>
                <a:gd name="T23" fmla="*/ 61 h 708"/>
                <a:gd name="T24" fmla="*/ 20 w 642"/>
                <a:gd name="T25" fmla="*/ 61 h 708"/>
                <a:gd name="T26" fmla="*/ 17 w 642"/>
                <a:gd name="T27" fmla="*/ 59 h 708"/>
                <a:gd name="T28" fmla="*/ 15 w 642"/>
                <a:gd name="T29" fmla="*/ 56 h 708"/>
                <a:gd name="T30" fmla="*/ 9 w 642"/>
                <a:gd name="T31" fmla="*/ 58 h 708"/>
                <a:gd name="T32" fmla="*/ 6 w 642"/>
                <a:gd name="T33" fmla="*/ 52 h 708"/>
                <a:gd name="T34" fmla="*/ 2 w 642"/>
                <a:gd name="T35" fmla="*/ 53 h 708"/>
                <a:gd name="T36" fmla="*/ 1 w 642"/>
                <a:gd name="T37" fmla="*/ 51 h 708"/>
                <a:gd name="T38" fmla="*/ 4 w 642"/>
                <a:gd name="T39" fmla="*/ 47 h 708"/>
                <a:gd name="T40" fmla="*/ 5 w 642"/>
                <a:gd name="T41" fmla="*/ 41 h 708"/>
                <a:gd name="T42" fmla="*/ 5 w 642"/>
                <a:gd name="T43" fmla="*/ 38 h 708"/>
                <a:gd name="T44" fmla="*/ 5 w 642"/>
                <a:gd name="T45" fmla="*/ 35 h 708"/>
                <a:gd name="T46" fmla="*/ 6 w 642"/>
                <a:gd name="T47" fmla="*/ 33 h 708"/>
                <a:gd name="T48" fmla="*/ 5 w 642"/>
                <a:gd name="T49" fmla="*/ 29 h 708"/>
                <a:gd name="T50" fmla="*/ 4 w 642"/>
                <a:gd name="T51" fmla="*/ 28 h 708"/>
                <a:gd name="T52" fmla="*/ 1 w 642"/>
                <a:gd name="T53" fmla="*/ 26 h 708"/>
                <a:gd name="T54" fmla="*/ 1 w 642"/>
                <a:gd name="T55" fmla="*/ 24 h 708"/>
                <a:gd name="T56" fmla="*/ 1 w 642"/>
                <a:gd name="T57" fmla="*/ 20 h 708"/>
                <a:gd name="T58" fmla="*/ 1 w 642"/>
                <a:gd name="T59" fmla="*/ 16 h 708"/>
                <a:gd name="T60" fmla="*/ 2 w 642"/>
                <a:gd name="T61" fmla="*/ 14 h 708"/>
                <a:gd name="T62" fmla="*/ 8 w 642"/>
                <a:gd name="T63" fmla="*/ 14 h 708"/>
                <a:gd name="T64" fmla="*/ 9 w 642"/>
                <a:gd name="T65" fmla="*/ 10 h 708"/>
                <a:gd name="T66" fmla="*/ 15 w 642"/>
                <a:gd name="T67" fmla="*/ 9 h 708"/>
                <a:gd name="T68" fmla="*/ 18 w 642"/>
                <a:gd name="T69" fmla="*/ 14 h 708"/>
                <a:gd name="T70" fmla="*/ 20 w 642"/>
                <a:gd name="T71" fmla="*/ 12 h 708"/>
                <a:gd name="T72" fmla="*/ 20 w 642"/>
                <a:gd name="T73" fmla="*/ 11 h 708"/>
                <a:gd name="T74" fmla="*/ 21 w 642"/>
                <a:gd name="T75" fmla="*/ 9 h 708"/>
                <a:gd name="T76" fmla="*/ 24 w 642"/>
                <a:gd name="T77" fmla="*/ 9 h 708"/>
                <a:gd name="T78" fmla="*/ 27 w 642"/>
                <a:gd name="T79" fmla="*/ 8 h 708"/>
                <a:gd name="T80" fmla="*/ 33 w 642"/>
                <a:gd name="T81" fmla="*/ 2 h 708"/>
                <a:gd name="T82" fmla="*/ 42 w 642"/>
                <a:gd name="T83" fmla="*/ 2 h 708"/>
                <a:gd name="T84" fmla="*/ 49 w 642"/>
                <a:gd name="T85" fmla="*/ 1 h 708"/>
                <a:gd name="T86" fmla="*/ 53 w 642"/>
                <a:gd name="T87" fmla="*/ 4 h 708"/>
                <a:gd name="T88" fmla="*/ 55 w 642"/>
                <a:gd name="T89" fmla="*/ 4 h 708"/>
                <a:gd name="T90" fmla="*/ 55 w 642"/>
                <a:gd name="T91" fmla="*/ 7 h 708"/>
                <a:gd name="T92" fmla="*/ 52 w 642"/>
                <a:gd name="T93" fmla="*/ 9 h 708"/>
                <a:gd name="T94" fmla="*/ 49 w 642"/>
                <a:gd name="T95" fmla="*/ 12 h 708"/>
                <a:gd name="T96" fmla="*/ 47 w 642"/>
                <a:gd name="T97" fmla="*/ 14 h 708"/>
                <a:gd name="T98" fmla="*/ 47 w 642"/>
                <a:gd name="T99" fmla="*/ 17 h 708"/>
                <a:gd name="T100" fmla="*/ 45 w 642"/>
                <a:gd name="T101" fmla="*/ 26 h 708"/>
                <a:gd name="T102" fmla="*/ 50 w 642"/>
                <a:gd name="T103" fmla="*/ 37 h 70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42"/>
                <a:gd name="T157" fmla="*/ 0 h 708"/>
                <a:gd name="T158" fmla="*/ 642 w 642"/>
                <a:gd name="T159" fmla="*/ 708 h 70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42" h="708">
                  <a:moveTo>
                    <a:pt x="576" y="468"/>
                  </a:moveTo>
                  <a:lnTo>
                    <a:pt x="564" y="468"/>
                  </a:lnTo>
                  <a:lnTo>
                    <a:pt x="516" y="468"/>
                  </a:lnTo>
                  <a:lnTo>
                    <a:pt x="498" y="474"/>
                  </a:lnTo>
                  <a:lnTo>
                    <a:pt x="492" y="468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68" y="474"/>
                  </a:lnTo>
                  <a:lnTo>
                    <a:pt x="456" y="468"/>
                  </a:lnTo>
                  <a:lnTo>
                    <a:pt x="444" y="474"/>
                  </a:lnTo>
                  <a:lnTo>
                    <a:pt x="438" y="492"/>
                  </a:lnTo>
                  <a:lnTo>
                    <a:pt x="438" y="504"/>
                  </a:lnTo>
                  <a:lnTo>
                    <a:pt x="432" y="516"/>
                  </a:lnTo>
                  <a:lnTo>
                    <a:pt x="432" y="528"/>
                  </a:lnTo>
                  <a:lnTo>
                    <a:pt x="432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52"/>
                  </a:lnTo>
                  <a:lnTo>
                    <a:pt x="432" y="558"/>
                  </a:lnTo>
                  <a:lnTo>
                    <a:pt x="438" y="564"/>
                  </a:lnTo>
                  <a:lnTo>
                    <a:pt x="444" y="564"/>
                  </a:lnTo>
                  <a:lnTo>
                    <a:pt x="438" y="564"/>
                  </a:lnTo>
                  <a:lnTo>
                    <a:pt x="438" y="570"/>
                  </a:lnTo>
                  <a:lnTo>
                    <a:pt x="432" y="570"/>
                  </a:lnTo>
                  <a:lnTo>
                    <a:pt x="432" y="576"/>
                  </a:lnTo>
                  <a:lnTo>
                    <a:pt x="426" y="588"/>
                  </a:lnTo>
                  <a:lnTo>
                    <a:pt x="420" y="594"/>
                  </a:lnTo>
                  <a:lnTo>
                    <a:pt x="420" y="600"/>
                  </a:lnTo>
                  <a:lnTo>
                    <a:pt x="414" y="600"/>
                  </a:lnTo>
                  <a:lnTo>
                    <a:pt x="414" y="606"/>
                  </a:lnTo>
                  <a:lnTo>
                    <a:pt x="408" y="606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396" y="612"/>
                  </a:lnTo>
                  <a:lnTo>
                    <a:pt x="390" y="612"/>
                  </a:lnTo>
                  <a:lnTo>
                    <a:pt x="390" y="618"/>
                  </a:lnTo>
                  <a:lnTo>
                    <a:pt x="384" y="618"/>
                  </a:lnTo>
                  <a:lnTo>
                    <a:pt x="378" y="618"/>
                  </a:lnTo>
                  <a:lnTo>
                    <a:pt x="378" y="624"/>
                  </a:lnTo>
                  <a:lnTo>
                    <a:pt x="384" y="630"/>
                  </a:lnTo>
                  <a:lnTo>
                    <a:pt x="384" y="636"/>
                  </a:lnTo>
                  <a:lnTo>
                    <a:pt x="378" y="630"/>
                  </a:lnTo>
                  <a:lnTo>
                    <a:pt x="372" y="636"/>
                  </a:lnTo>
                  <a:lnTo>
                    <a:pt x="372" y="642"/>
                  </a:lnTo>
                  <a:lnTo>
                    <a:pt x="366" y="642"/>
                  </a:lnTo>
                  <a:lnTo>
                    <a:pt x="360" y="654"/>
                  </a:lnTo>
                  <a:lnTo>
                    <a:pt x="354" y="666"/>
                  </a:lnTo>
                  <a:lnTo>
                    <a:pt x="354" y="672"/>
                  </a:lnTo>
                  <a:lnTo>
                    <a:pt x="354" y="678"/>
                  </a:lnTo>
                  <a:lnTo>
                    <a:pt x="354" y="684"/>
                  </a:lnTo>
                  <a:lnTo>
                    <a:pt x="348" y="678"/>
                  </a:lnTo>
                  <a:lnTo>
                    <a:pt x="324" y="678"/>
                  </a:lnTo>
                  <a:lnTo>
                    <a:pt x="306" y="678"/>
                  </a:lnTo>
                  <a:lnTo>
                    <a:pt x="294" y="678"/>
                  </a:lnTo>
                  <a:lnTo>
                    <a:pt x="288" y="684"/>
                  </a:lnTo>
                  <a:lnTo>
                    <a:pt x="276" y="690"/>
                  </a:lnTo>
                  <a:lnTo>
                    <a:pt x="270" y="696"/>
                  </a:lnTo>
                  <a:lnTo>
                    <a:pt x="264" y="696"/>
                  </a:lnTo>
                  <a:lnTo>
                    <a:pt x="258" y="696"/>
                  </a:lnTo>
                  <a:lnTo>
                    <a:pt x="252" y="696"/>
                  </a:lnTo>
                  <a:lnTo>
                    <a:pt x="252" y="690"/>
                  </a:lnTo>
                  <a:lnTo>
                    <a:pt x="246" y="690"/>
                  </a:lnTo>
                  <a:lnTo>
                    <a:pt x="234" y="690"/>
                  </a:lnTo>
                  <a:lnTo>
                    <a:pt x="222" y="696"/>
                  </a:lnTo>
                  <a:lnTo>
                    <a:pt x="216" y="708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8" y="690"/>
                  </a:lnTo>
                  <a:lnTo>
                    <a:pt x="198" y="684"/>
                  </a:lnTo>
                  <a:lnTo>
                    <a:pt x="198" y="678"/>
                  </a:lnTo>
                  <a:lnTo>
                    <a:pt x="198" y="672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74" y="648"/>
                  </a:lnTo>
                  <a:lnTo>
                    <a:pt x="162" y="642"/>
                  </a:lnTo>
                  <a:lnTo>
                    <a:pt x="156" y="636"/>
                  </a:lnTo>
                  <a:lnTo>
                    <a:pt x="132" y="642"/>
                  </a:lnTo>
                  <a:lnTo>
                    <a:pt x="120" y="654"/>
                  </a:lnTo>
                  <a:lnTo>
                    <a:pt x="108" y="660"/>
                  </a:lnTo>
                  <a:lnTo>
                    <a:pt x="102" y="666"/>
                  </a:lnTo>
                  <a:lnTo>
                    <a:pt x="84" y="666"/>
                  </a:lnTo>
                  <a:lnTo>
                    <a:pt x="84" y="630"/>
                  </a:lnTo>
                  <a:lnTo>
                    <a:pt x="78" y="594"/>
                  </a:lnTo>
                  <a:lnTo>
                    <a:pt x="66" y="594"/>
                  </a:lnTo>
                  <a:lnTo>
                    <a:pt x="60" y="594"/>
                  </a:lnTo>
                  <a:lnTo>
                    <a:pt x="48" y="600"/>
                  </a:lnTo>
                  <a:lnTo>
                    <a:pt x="36" y="606"/>
                  </a:lnTo>
                  <a:lnTo>
                    <a:pt x="24" y="612"/>
                  </a:lnTo>
                  <a:lnTo>
                    <a:pt x="18" y="612"/>
                  </a:lnTo>
                  <a:lnTo>
                    <a:pt x="12" y="606"/>
                  </a:lnTo>
                  <a:lnTo>
                    <a:pt x="12" y="600"/>
                  </a:lnTo>
                  <a:lnTo>
                    <a:pt x="12" y="594"/>
                  </a:lnTo>
                  <a:lnTo>
                    <a:pt x="12" y="588"/>
                  </a:lnTo>
                  <a:lnTo>
                    <a:pt x="12" y="582"/>
                  </a:lnTo>
                  <a:lnTo>
                    <a:pt x="12" y="576"/>
                  </a:lnTo>
                  <a:lnTo>
                    <a:pt x="18" y="552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42" y="534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48" y="492"/>
                  </a:lnTo>
                  <a:lnTo>
                    <a:pt x="48" y="480"/>
                  </a:lnTo>
                  <a:lnTo>
                    <a:pt x="54" y="468"/>
                  </a:lnTo>
                  <a:lnTo>
                    <a:pt x="48" y="456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66" y="390"/>
                  </a:lnTo>
                  <a:lnTo>
                    <a:pt x="72" y="384"/>
                  </a:lnTo>
                  <a:lnTo>
                    <a:pt x="72" y="378"/>
                  </a:lnTo>
                  <a:lnTo>
                    <a:pt x="66" y="378"/>
                  </a:lnTo>
                  <a:lnTo>
                    <a:pt x="66" y="366"/>
                  </a:lnTo>
                  <a:lnTo>
                    <a:pt x="60" y="360"/>
                  </a:lnTo>
                  <a:lnTo>
                    <a:pt x="66" y="354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48" y="312"/>
                  </a:lnTo>
                  <a:lnTo>
                    <a:pt x="30" y="312"/>
                  </a:lnTo>
                  <a:lnTo>
                    <a:pt x="24" y="306"/>
                  </a:lnTo>
                  <a:lnTo>
                    <a:pt x="18" y="306"/>
                  </a:lnTo>
                  <a:lnTo>
                    <a:pt x="12" y="294"/>
                  </a:lnTo>
                  <a:lnTo>
                    <a:pt x="12" y="282"/>
                  </a:lnTo>
                  <a:lnTo>
                    <a:pt x="6" y="276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12" y="270"/>
                  </a:lnTo>
                  <a:lnTo>
                    <a:pt x="12" y="246"/>
                  </a:lnTo>
                  <a:lnTo>
                    <a:pt x="12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8" y="174"/>
                  </a:lnTo>
                  <a:lnTo>
                    <a:pt x="12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48" y="162"/>
                  </a:lnTo>
                  <a:lnTo>
                    <a:pt x="72" y="162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84" y="132"/>
                  </a:lnTo>
                  <a:lnTo>
                    <a:pt x="90" y="120"/>
                  </a:lnTo>
                  <a:lnTo>
                    <a:pt x="108" y="114"/>
                  </a:lnTo>
                  <a:lnTo>
                    <a:pt x="114" y="102"/>
                  </a:lnTo>
                  <a:lnTo>
                    <a:pt x="120" y="90"/>
                  </a:lnTo>
                  <a:lnTo>
                    <a:pt x="138" y="90"/>
                  </a:lnTo>
                  <a:lnTo>
                    <a:pt x="138" y="102"/>
                  </a:lnTo>
                  <a:lnTo>
                    <a:pt x="168" y="108"/>
                  </a:lnTo>
                  <a:lnTo>
                    <a:pt x="168" y="114"/>
                  </a:lnTo>
                  <a:lnTo>
                    <a:pt x="174" y="126"/>
                  </a:lnTo>
                  <a:lnTo>
                    <a:pt x="186" y="150"/>
                  </a:lnTo>
                  <a:lnTo>
                    <a:pt x="186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34" y="144"/>
                  </a:lnTo>
                  <a:lnTo>
                    <a:pt x="240" y="138"/>
                  </a:lnTo>
                  <a:lnTo>
                    <a:pt x="240" y="126"/>
                  </a:lnTo>
                  <a:lnTo>
                    <a:pt x="234" y="126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34" y="102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82" y="102"/>
                  </a:lnTo>
                  <a:lnTo>
                    <a:pt x="288" y="102"/>
                  </a:lnTo>
                  <a:lnTo>
                    <a:pt x="294" y="102"/>
                  </a:lnTo>
                  <a:lnTo>
                    <a:pt x="300" y="96"/>
                  </a:lnTo>
                  <a:lnTo>
                    <a:pt x="306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84"/>
                  </a:lnTo>
                  <a:lnTo>
                    <a:pt x="324" y="18"/>
                  </a:lnTo>
                  <a:lnTo>
                    <a:pt x="360" y="18"/>
                  </a:lnTo>
                  <a:lnTo>
                    <a:pt x="378" y="18"/>
                  </a:lnTo>
                  <a:lnTo>
                    <a:pt x="378" y="30"/>
                  </a:lnTo>
                  <a:lnTo>
                    <a:pt x="390" y="30"/>
                  </a:lnTo>
                  <a:lnTo>
                    <a:pt x="432" y="30"/>
                  </a:lnTo>
                  <a:lnTo>
                    <a:pt x="456" y="24"/>
                  </a:lnTo>
                  <a:lnTo>
                    <a:pt x="480" y="24"/>
                  </a:lnTo>
                  <a:lnTo>
                    <a:pt x="498" y="30"/>
                  </a:lnTo>
                  <a:lnTo>
                    <a:pt x="522" y="18"/>
                  </a:lnTo>
                  <a:lnTo>
                    <a:pt x="528" y="0"/>
                  </a:lnTo>
                  <a:lnTo>
                    <a:pt x="558" y="6"/>
                  </a:lnTo>
                  <a:lnTo>
                    <a:pt x="558" y="12"/>
                  </a:lnTo>
                  <a:lnTo>
                    <a:pt x="570" y="18"/>
                  </a:lnTo>
                  <a:lnTo>
                    <a:pt x="576" y="24"/>
                  </a:lnTo>
                  <a:lnTo>
                    <a:pt x="588" y="36"/>
                  </a:lnTo>
                  <a:lnTo>
                    <a:pt x="594" y="48"/>
                  </a:lnTo>
                  <a:lnTo>
                    <a:pt x="606" y="48"/>
                  </a:lnTo>
                  <a:lnTo>
                    <a:pt x="606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42"/>
                  </a:lnTo>
                  <a:lnTo>
                    <a:pt x="636" y="42"/>
                  </a:lnTo>
                  <a:lnTo>
                    <a:pt x="636" y="48"/>
                  </a:lnTo>
                  <a:lnTo>
                    <a:pt x="642" y="54"/>
                  </a:lnTo>
                  <a:lnTo>
                    <a:pt x="636" y="60"/>
                  </a:lnTo>
                  <a:lnTo>
                    <a:pt x="636" y="66"/>
                  </a:lnTo>
                  <a:lnTo>
                    <a:pt x="636" y="78"/>
                  </a:lnTo>
                  <a:lnTo>
                    <a:pt x="624" y="84"/>
                  </a:lnTo>
                  <a:lnTo>
                    <a:pt x="618" y="90"/>
                  </a:lnTo>
                  <a:lnTo>
                    <a:pt x="612" y="90"/>
                  </a:lnTo>
                  <a:lnTo>
                    <a:pt x="600" y="102"/>
                  </a:lnTo>
                  <a:lnTo>
                    <a:pt x="594" y="108"/>
                  </a:lnTo>
                  <a:lnTo>
                    <a:pt x="582" y="114"/>
                  </a:lnTo>
                  <a:lnTo>
                    <a:pt x="570" y="132"/>
                  </a:lnTo>
                  <a:lnTo>
                    <a:pt x="564" y="132"/>
                  </a:lnTo>
                  <a:lnTo>
                    <a:pt x="564" y="138"/>
                  </a:lnTo>
                  <a:lnTo>
                    <a:pt x="558" y="144"/>
                  </a:lnTo>
                  <a:lnTo>
                    <a:pt x="558" y="150"/>
                  </a:lnTo>
                  <a:lnTo>
                    <a:pt x="552" y="150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0" y="162"/>
                  </a:lnTo>
                  <a:lnTo>
                    <a:pt x="534" y="168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6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28" y="234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16" y="294"/>
                  </a:lnTo>
                  <a:lnTo>
                    <a:pt x="516" y="312"/>
                  </a:lnTo>
                  <a:lnTo>
                    <a:pt x="528" y="318"/>
                  </a:lnTo>
                  <a:lnTo>
                    <a:pt x="540" y="360"/>
                  </a:lnTo>
                  <a:lnTo>
                    <a:pt x="558" y="408"/>
                  </a:lnTo>
                  <a:lnTo>
                    <a:pt x="570" y="426"/>
                  </a:lnTo>
                  <a:lnTo>
                    <a:pt x="576" y="432"/>
                  </a:lnTo>
                  <a:lnTo>
                    <a:pt x="576" y="438"/>
                  </a:lnTo>
                  <a:lnTo>
                    <a:pt x="576" y="444"/>
                  </a:lnTo>
                  <a:lnTo>
                    <a:pt x="576" y="46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3" name="Freeform 28">
              <a:extLst>
                <a:ext uri="{FF2B5EF4-FFF2-40B4-BE49-F238E27FC236}">
                  <a16:creationId xmlns:a16="http://schemas.microsoft.com/office/drawing/2014/main" id="{CF9B4F31-BF73-448E-83AA-188F6CF1BDC5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4879" y="3432583"/>
              <a:ext cx="324248" cy="270616"/>
            </a:xfrm>
            <a:custGeom>
              <a:avLst/>
              <a:gdLst>
                <a:gd name="T0" fmla="*/ 5 w 606"/>
                <a:gd name="T1" fmla="*/ 36 h 510"/>
                <a:gd name="T2" fmla="*/ 4 w 606"/>
                <a:gd name="T3" fmla="*/ 34 h 510"/>
                <a:gd name="T4" fmla="*/ 0 w 606"/>
                <a:gd name="T5" fmla="*/ 25 h 510"/>
                <a:gd name="T6" fmla="*/ 1 w 606"/>
                <a:gd name="T7" fmla="*/ 20 h 510"/>
                <a:gd name="T8" fmla="*/ 2 w 606"/>
                <a:gd name="T9" fmla="*/ 15 h 510"/>
                <a:gd name="T10" fmla="*/ 2 w 606"/>
                <a:gd name="T11" fmla="*/ 13 h 510"/>
                <a:gd name="T12" fmla="*/ 3 w 606"/>
                <a:gd name="T13" fmla="*/ 12 h 510"/>
                <a:gd name="T14" fmla="*/ 4 w 606"/>
                <a:gd name="T15" fmla="*/ 11 h 510"/>
                <a:gd name="T16" fmla="*/ 4 w 606"/>
                <a:gd name="T17" fmla="*/ 10 h 510"/>
                <a:gd name="T18" fmla="*/ 7 w 606"/>
                <a:gd name="T19" fmla="*/ 8 h 510"/>
                <a:gd name="T20" fmla="*/ 9 w 606"/>
                <a:gd name="T21" fmla="*/ 6 h 510"/>
                <a:gd name="T22" fmla="*/ 11 w 606"/>
                <a:gd name="T23" fmla="*/ 4 h 510"/>
                <a:gd name="T24" fmla="*/ 12 w 606"/>
                <a:gd name="T25" fmla="*/ 3 h 510"/>
                <a:gd name="T26" fmla="*/ 13 w 606"/>
                <a:gd name="T27" fmla="*/ 4 h 510"/>
                <a:gd name="T28" fmla="*/ 15 w 606"/>
                <a:gd name="T29" fmla="*/ 2 h 510"/>
                <a:gd name="T30" fmla="*/ 17 w 606"/>
                <a:gd name="T31" fmla="*/ 2 h 510"/>
                <a:gd name="T32" fmla="*/ 19 w 606"/>
                <a:gd name="T33" fmla="*/ 5 h 510"/>
                <a:gd name="T34" fmla="*/ 22 w 606"/>
                <a:gd name="T35" fmla="*/ 5 h 510"/>
                <a:gd name="T36" fmla="*/ 25 w 606"/>
                <a:gd name="T37" fmla="*/ 6 h 510"/>
                <a:gd name="T38" fmla="*/ 29 w 606"/>
                <a:gd name="T39" fmla="*/ 1 h 510"/>
                <a:gd name="T40" fmla="*/ 38 w 606"/>
                <a:gd name="T41" fmla="*/ 0 h 510"/>
                <a:gd name="T42" fmla="*/ 38 w 606"/>
                <a:gd name="T43" fmla="*/ 5 h 510"/>
                <a:gd name="T44" fmla="*/ 41 w 606"/>
                <a:gd name="T45" fmla="*/ 4 h 510"/>
                <a:gd name="T46" fmla="*/ 45 w 606"/>
                <a:gd name="T47" fmla="*/ 2 h 510"/>
                <a:gd name="T48" fmla="*/ 46 w 606"/>
                <a:gd name="T49" fmla="*/ 2 h 510"/>
                <a:gd name="T50" fmla="*/ 47 w 606"/>
                <a:gd name="T51" fmla="*/ 5 h 510"/>
                <a:gd name="T52" fmla="*/ 45 w 606"/>
                <a:gd name="T53" fmla="*/ 6 h 510"/>
                <a:gd name="T54" fmla="*/ 45 w 606"/>
                <a:gd name="T55" fmla="*/ 7 h 510"/>
                <a:gd name="T56" fmla="*/ 43 w 606"/>
                <a:gd name="T57" fmla="*/ 8 h 510"/>
                <a:gd name="T58" fmla="*/ 45 w 606"/>
                <a:gd name="T59" fmla="*/ 15 h 510"/>
                <a:gd name="T60" fmla="*/ 49 w 606"/>
                <a:gd name="T61" fmla="*/ 15 h 510"/>
                <a:gd name="T62" fmla="*/ 51 w 606"/>
                <a:gd name="T63" fmla="*/ 15 h 510"/>
                <a:gd name="T64" fmla="*/ 53 w 606"/>
                <a:gd name="T65" fmla="*/ 16 h 510"/>
                <a:gd name="T66" fmla="*/ 52 w 606"/>
                <a:gd name="T67" fmla="*/ 20 h 510"/>
                <a:gd name="T68" fmla="*/ 48 w 606"/>
                <a:gd name="T69" fmla="*/ 23 h 510"/>
                <a:gd name="T70" fmla="*/ 45 w 606"/>
                <a:gd name="T71" fmla="*/ 25 h 510"/>
                <a:gd name="T72" fmla="*/ 44 w 606"/>
                <a:gd name="T73" fmla="*/ 28 h 510"/>
                <a:gd name="T74" fmla="*/ 43 w 606"/>
                <a:gd name="T75" fmla="*/ 33 h 510"/>
                <a:gd name="T76" fmla="*/ 39 w 606"/>
                <a:gd name="T77" fmla="*/ 38 h 510"/>
                <a:gd name="T78" fmla="*/ 37 w 606"/>
                <a:gd name="T79" fmla="*/ 41 h 510"/>
                <a:gd name="T80" fmla="*/ 31 w 606"/>
                <a:gd name="T81" fmla="*/ 44 h 510"/>
                <a:gd name="T82" fmla="*/ 28 w 606"/>
                <a:gd name="T83" fmla="*/ 43 h 510"/>
                <a:gd name="T84" fmla="*/ 28 w 606"/>
                <a:gd name="T85" fmla="*/ 41 h 510"/>
                <a:gd name="T86" fmla="*/ 28 w 606"/>
                <a:gd name="T87" fmla="*/ 40 h 510"/>
                <a:gd name="T88" fmla="*/ 27 w 606"/>
                <a:gd name="T89" fmla="*/ 38 h 510"/>
                <a:gd name="T90" fmla="*/ 27 w 606"/>
                <a:gd name="T91" fmla="*/ 36 h 510"/>
                <a:gd name="T92" fmla="*/ 24 w 606"/>
                <a:gd name="T93" fmla="*/ 35 h 510"/>
                <a:gd name="T94" fmla="*/ 16 w 606"/>
                <a:gd name="T95" fmla="*/ 34 h 510"/>
                <a:gd name="T96" fmla="*/ 13 w 606"/>
                <a:gd name="T97" fmla="*/ 34 h 510"/>
                <a:gd name="T98" fmla="*/ 9 w 606"/>
                <a:gd name="T99" fmla="*/ 36 h 510"/>
                <a:gd name="T100" fmla="*/ 8 w 606"/>
                <a:gd name="T101" fmla="*/ 38 h 510"/>
                <a:gd name="T102" fmla="*/ 7 w 606"/>
                <a:gd name="T103" fmla="*/ 39 h 51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06"/>
                <a:gd name="T157" fmla="*/ 0 h 510"/>
                <a:gd name="T158" fmla="*/ 606 w 606"/>
                <a:gd name="T159" fmla="*/ 510 h 51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06" h="510">
                  <a:moveTo>
                    <a:pt x="60" y="450"/>
                  </a:move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42" y="390"/>
                  </a:lnTo>
                  <a:lnTo>
                    <a:pt x="24" y="342"/>
                  </a:lnTo>
                  <a:lnTo>
                    <a:pt x="12" y="300"/>
                  </a:lnTo>
                  <a:lnTo>
                    <a:pt x="0" y="294"/>
                  </a:lnTo>
                  <a:lnTo>
                    <a:pt x="0" y="276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24" y="192"/>
                  </a:lnTo>
                  <a:lnTo>
                    <a:pt x="24" y="180"/>
                  </a:lnTo>
                  <a:lnTo>
                    <a:pt x="24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6" y="96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108" y="66"/>
                  </a:lnTo>
                  <a:lnTo>
                    <a:pt x="120" y="60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36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62" y="36"/>
                  </a:lnTo>
                  <a:lnTo>
                    <a:pt x="162" y="30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0" y="54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46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76" y="66"/>
                  </a:lnTo>
                  <a:lnTo>
                    <a:pt x="312" y="66"/>
                  </a:lnTo>
                  <a:lnTo>
                    <a:pt x="318" y="60"/>
                  </a:lnTo>
                  <a:lnTo>
                    <a:pt x="330" y="12"/>
                  </a:lnTo>
                  <a:lnTo>
                    <a:pt x="414" y="6"/>
                  </a:lnTo>
                  <a:lnTo>
                    <a:pt x="420" y="0"/>
                  </a:lnTo>
                  <a:lnTo>
                    <a:pt x="426" y="6"/>
                  </a:lnTo>
                  <a:lnTo>
                    <a:pt x="426" y="12"/>
                  </a:lnTo>
                  <a:lnTo>
                    <a:pt x="426" y="54"/>
                  </a:lnTo>
                  <a:lnTo>
                    <a:pt x="432" y="54"/>
                  </a:lnTo>
                  <a:lnTo>
                    <a:pt x="444" y="54"/>
                  </a:lnTo>
                  <a:lnTo>
                    <a:pt x="450" y="42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86" y="24"/>
                  </a:lnTo>
                  <a:lnTo>
                    <a:pt x="504" y="18"/>
                  </a:lnTo>
                  <a:lnTo>
                    <a:pt x="510" y="12"/>
                  </a:lnTo>
                  <a:lnTo>
                    <a:pt x="516" y="18"/>
                  </a:lnTo>
                  <a:lnTo>
                    <a:pt x="522" y="24"/>
                  </a:lnTo>
                  <a:lnTo>
                    <a:pt x="510" y="30"/>
                  </a:lnTo>
                  <a:lnTo>
                    <a:pt x="516" y="48"/>
                  </a:lnTo>
                  <a:lnTo>
                    <a:pt x="528" y="54"/>
                  </a:lnTo>
                  <a:lnTo>
                    <a:pt x="522" y="60"/>
                  </a:lnTo>
                  <a:lnTo>
                    <a:pt x="516" y="66"/>
                  </a:lnTo>
                  <a:lnTo>
                    <a:pt x="516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0" y="84"/>
                  </a:lnTo>
                  <a:lnTo>
                    <a:pt x="510" y="90"/>
                  </a:lnTo>
                  <a:lnTo>
                    <a:pt x="504" y="90"/>
                  </a:lnTo>
                  <a:lnTo>
                    <a:pt x="486" y="90"/>
                  </a:lnTo>
                  <a:lnTo>
                    <a:pt x="492" y="138"/>
                  </a:lnTo>
                  <a:lnTo>
                    <a:pt x="498" y="168"/>
                  </a:lnTo>
                  <a:lnTo>
                    <a:pt x="516" y="168"/>
                  </a:lnTo>
                  <a:lnTo>
                    <a:pt x="528" y="174"/>
                  </a:lnTo>
                  <a:lnTo>
                    <a:pt x="534" y="168"/>
                  </a:lnTo>
                  <a:lnTo>
                    <a:pt x="558" y="174"/>
                  </a:lnTo>
                  <a:lnTo>
                    <a:pt x="564" y="168"/>
                  </a:lnTo>
                  <a:lnTo>
                    <a:pt x="570" y="168"/>
                  </a:lnTo>
                  <a:lnTo>
                    <a:pt x="576" y="174"/>
                  </a:lnTo>
                  <a:lnTo>
                    <a:pt x="588" y="168"/>
                  </a:lnTo>
                  <a:lnTo>
                    <a:pt x="594" y="168"/>
                  </a:lnTo>
                  <a:lnTo>
                    <a:pt x="594" y="186"/>
                  </a:lnTo>
                  <a:lnTo>
                    <a:pt x="606" y="198"/>
                  </a:lnTo>
                  <a:lnTo>
                    <a:pt x="600" y="210"/>
                  </a:lnTo>
                  <a:lnTo>
                    <a:pt x="588" y="234"/>
                  </a:lnTo>
                  <a:lnTo>
                    <a:pt x="564" y="246"/>
                  </a:lnTo>
                  <a:lnTo>
                    <a:pt x="546" y="258"/>
                  </a:lnTo>
                  <a:lnTo>
                    <a:pt x="540" y="270"/>
                  </a:lnTo>
                  <a:lnTo>
                    <a:pt x="534" y="294"/>
                  </a:lnTo>
                  <a:lnTo>
                    <a:pt x="528" y="300"/>
                  </a:lnTo>
                  <a:lnTo>
                    <a:pt x="516" y="294"/>
                  </a:lnTo>
                  <a:lnTo>
                    <a:pt x="510" y="300"/>
                  </a:lnTo>
                  <a:lnTo>
                    <a:pt x="498" y="318"/>
                  </a:lnTo>
                  <a:lnTo>
                    <a:pt x="492" y="324"/>
                  </a:lnTo>
                  <a:lnTo>
                    <a:pt x="486" y="336"/>
                  </a:lnTo>
                  <a:lnTo>
                    <a:pt x="486" y="354"/>
                  </a:lnTo>
                  <a:lnTo>
                    <a:pt x="486" y="384"/>
                  </a:lnTo>
                  <a:lnTo>
                    <a:pt x="474" y="408"/>
                  </a:lnTo>
                  <a:lnTo>
                    <a:pt x="450" y="426"/>
                  </a:lnTo>
                  <a:lnTo>
                    <a:pt x="444" y="444"/>
                  </a:lnTo>
                  <a:lnTo>
                    <a:pt x="426" y="474"/>
                  </a:lnTo>
                  <a:lnTo>
                    <a:pt x="420" y="486"/>
                  </a:lnTo>
                  <a:lnTo>
                    <a:pt x="414" y="486"/>
                  </a:lnTo>
                  <a:lnTo>
                    <a:pt x="414" y="498"/>
                  </a:lnTo>
                  <a:lnTo>
                    <a:pt x="378" y="504"/>
                  </a:lnTo>
                  <a:lnTo>
                    <a:pt x="348" y="510"/>
                  </a:lnTo>
                  <a:lnTo>
                    <a:pt x="330" y="510"/>
                  </a:lnTo>
                  <a:lnTo>
                    <a:pt x="324" y="504"/>
                  </a:lnTo>
                  <a:lnTo>
                    <a:pt x="318" y="504"/>
                  </a:lnTo>
                  <a:lnTo>
                    <a:pt x="312" y="504"/>
                  </a:lnTo>
                  <a:lnTo>
                    <a:pt x="312" y="498"/>
                  </a:lnTo>
                  <a:lnTo>
                    <a:pt x="312" y="486"/>
                  </a:lnTo>
                  <a:lnTo>
                    <a:pt x="312" y="480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56"/>
                  </a:lnTo>
                  <a:lnTo>
                    <a:pt x="312" y="450"/>
                  </a:lnTo>
                  <a:lnTo>
                    <a:pt x="306" y="444"/>
                  </a:lnTo>
                  <a:lnTo>
                    <a:pt x="306" y="438"/>
                  </a:lnTo>
                  <a:lnTo>
                    <a:pt x="300" y="426"/>
                  </a:lnTo>
                  <a:lnTo>
                    <a:pt x="300" y="420"/>
                  </a:lnTo>
                  <a:lnTo>
                    <a:pt x="294" y="414"/>
                  </a:lnTo>
                  <a:lnTo>
                    <a:pt x="294" y="408"/>
                  </a:lnTo>
                  <a:lnTo>
                    <a:pt x="270" y="408"/>
                  </a:lnTo>
                  <a:lnTo>
                    <a:pt x="246" y="408"/>
                  </a:lnTo>
                  <a:lnTo>
                    <a:pt x="222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56" y="402"/>
                  </a:lnTo>
                  <a:lnTo>
                    <a:pt x="144" y="396"/>
                  </a:lnTo>
                  <a:lnTo>
                    <a:pt x="126" y="396"/>
                  </a:lnTo>
                  <a:lnTo>
                    <a:pt x="108" y="408"/>
                  </a:lnTo>
                  <a:lnTo>
                    <a:pt x="102" y="414"/>
                  </a:lnTo>
                  <a:lnTo>
                    <a:pt x="102" y="420"/>
                  </a:lnTo>
                  <a:lnTo>
                    <a:pt x="96" y="426"/>
                  </a:lnTo>
                  <a:lnTo>
                    <a:pt x="96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78" y="450"/>
                  </a:lnTo>
                  <a:lnTo>
                    <a:pt x="60" y="45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4" name="Freeform 29">
              <a:extLst>
                <a:ext uri="{FF2B5EF4-FFF2-40B4-BE49-F238E27FC236}">
                  <a16:creationId xmlns:a16="http://schemas.microsoft.com/office/drawing/2014/main" id="{B6AC2B96-1504-4082-8778-17130FDA021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401" y="3537698"/>
              <a:ext cx="559048" cy="641876"/>
            </a:xfrm>
            <a:custGeom>
              <a:avLst/>
              <a:gdLst>
                <a:gd name="T0" fmla="*/ 39 w 1056"/>
                <a:gd name="T1" fmla="*/ 94 h 1206"/>
                <a:gd name="T2" fmla="*/ 35 w 1056"/>
                <a:gd name="T3" fmla="*/ 103 h 1206"/>
                <a:gd name="T4" fmla="*/ 29 w 1056"/>
                <a:gd name="T5" fmla="*/ 99 h 1206"/>
                <a:gd name="T6" fmla="*/ 23 w 1056"/>
                <a:gd name="T7" fmla="*/ 94 h 1206"/>
                <a:gd name="T8" fmla="*/ 21 w 1056"/>
                <a:gd name="T9" fmla="*/ 91 h 1206"/>
                <a:gd name="T10" fmla="*/ 18 w 1056"/>
                <a:gd name="T11" fmla="*/ 89 h 1206"/>
                <a:gd name="T12" fmla="*/ 15 w 1056"/>
                <a:gd name="T13" fmla="*/ 86 h 1206"/>
                <a:gd name="T14" fmla="*/ 11 w 1056"/>
                <a:gd name="T15" fmla="*/ 83 h 1206"/>
                <a:gd name="T16" fmla="*/ 8 w 1056"/>
                <a:gd name="T17" fmla="*/ 81 h 1206"/>
                <a:gd name="T18" fmla="*/ 6 w 1056"/>
                <a:gd name="T19" fmla="*/ 79 h 1206"/>
                <a:gd name="T20" fmla="*/ 13 w 1056"/>
                <a:gd name="T21" fmla="*/ 78 h 1206"/>
                <a:gd name="T22" fmla="*/ 8 w 1056"/>
                <a:gd name="T23" fmla="*/ 75 h 1206"/>
                <a:gd name="T24" fmla="*/ 13 w 1056"/>
                <a:gd name="T25" fmla="*/ 71 h 1206"/>
                <a:gd name="T26" fmla="*/ 10 w 1056"/>
                <a:gd name="T27" fmla="*/ 63 h 1206"/>
                <a:gd name="T28" fmla="*/ 6 w 1056"/>
                <a:gd name="T29" fmla="*/ 66 h 1206"/>
                <a:gd name="T30" fmla="*/ 1 w 1056"/>
                <a:gd name="T31" fmla="*/ 63 h 1206"/>
                <a:gd name="T32" fmla="*/ 1 w 1056"/>
                <a:gd name="T33" fmla="*/ 59 h 1206"/>
                <a:gd name="T34" fmla="*/ 3 w 1056"/>
                <a:gd name="T35" fmla="*/ 57 h 1206"/>
                <a:gd name="T36" fmla="*/ 6 w 1056"/>
                <a:gd name="T37" fmla="*/ 55 h 1206"/>
                <a:gd name="T38" fmla="*/ 10 w 1056"/>
                <a:gd name="T39" fmla="*/ 51 h 1206"/>
                <a:gd name="T40" fmla="*/ 11 w 1056"/>
                <a:gd name="T41" fmla="*/ 46 h 1206"/>
                <a:gd name="T42" fmla="*/ 14 w 1056"/>
                <a:gd name="T43" fmla="*/ 42 h 1206"/>
                <a:gd name="T44" fmla="*/ 15 w 1056"/>
                <a:gd name="T45" fmla="*/ 36 h 1206"/>
                <a:gd name="T46" fmla="*/ 17 w 1056"/>
                <a:gd name="T47" fmla="*/ 34 h 1206"/>
                <a:gd name="T48" fmla="*/ 20 w 1056"/>
                <a:gd name="T49" fmla="*/ 31 h 1206"/>
                <a:gd name="T50" fmla="*/ 21 w 1056"/>
                <a:gd name="T51" fmla="*/ 29 h 1206"/>
                <a:gd name="T52" fmla="*/ 23 w 1056"/>
                <a:gd name="T53" fmla="*/ 22 h 1206"/>
                <a:gd name="T54" fmla="*/ 35 w 1056"/>
                <a:gd name="T55" fmla="*/ 22 h 1206"/>
                <a:gd name="T56" fmla="*/ 41 w 1056"/>
                <a:gd name="T57" fmla="*/ 18 h 1206"/>
                <a:gd name="T58" fmla="*/ 54 w 1056"/>
                <a:gd name="T59" fmla="*/ 20 h 1206"/>
                <a:gd name="T60" fmla="*/ 54 w 1056"/>
                <a:gd name="T61" fmla="*/ 26 h 1206"/>
                <a:gd name="T62" fmla="*/ 64 w 1056"/>
                <a:gd name="T63" fmla="*/ 25 h 1206"/>
                <a:gd name="T64" fmla="*/ 71 w 1056"/>
                <a:gd name="T65" fmla="*/ 10 h 1206"/>
                <a:gd name="T66" fmla="*/ 80 w 1056"/>
                <a:gd name="T67" fmla="*/ 1 h 1206"/>
                <a:gd name="T68" fmla="*/ 86 w 1056"/>
                <a:gd name="T69" fmla="*/ 2 h 1206"/>
                <a:gd name="T70" fmla="*/ 91 w 1056"/>
                <a:gd name="T71" fmla="*/ 13 h 1206"/>
                <a:gd name="T72" fmla="*/ 88 w 1056"/>
                <a:gd name="T73" fmla="*/ 17 h 1206"/>
                <a:gd name="T74" fmla="*/ 89 w 1056"/>
                <a:gd name="T75" fmla="*/ 21 h 1206"/>
                <a:gd name="T76" fmla="*/ 86 w 1056"/>
                <a:gd name="T77" fmla="*/ 25 h 1206"/>
                <a:gd name="T78" fmla="*/ 85 w 1056"/>
                <a:gd name="T79" fmla="*/ 31 h 1206"/>
                <a:gd name="T80" fmla="*/ 83 w 1056"/>
                <a:gd name="T81" fmla="*/ 36 h 1206"/>
                <a:gd name="T82" fmla="*/ 80 w 1056"/>
                <a:gd name="T83" fmla="*/ 42 h 1206"/>
                <a:gd name="T84" fmla="*/ 80 w 1056"/>
                <a:gd name="T85" fmla="*/ 47 h 1206"/>
                <a:gd name="T86" fmla="*/ 77 w 1056"/>
                <a:gd name="T87" fmla="*/ 55 h 1206"/>
                <a:gd name="T88" fmla="*/ 75 w 1056"/>
                <a:gd name="T89" fmla="*/ 57 h 1206"/>
                <a:gd name="T90" fmla="*/ 66 w 1056"/>
                <a:gd name="T91" fmla="*/ 57 h 1206"/>
                <a:gd name="T92" fmla="*/ 66 w 1056"/>
                <a:gd name="T93" fmla="*/ 51 h 1206"/>
                <a:gd name="T94" fmla="*/ 48 w 1056"/>
                <a:gd name="T95" fmla="*/ 50 h 1206"/>
                <a:gd name="T96" fmla="*/ 46 w 1056"/>
                <a:gd name="T97" fmla="*/ 55 h 1206"/>
                <a:gd name="T98" fmla="*/ 42 w 1056"/>
                <a:gd name="T99" fmla="*/ 59 h 1206"/>
                <a:gd name="T100" fmla="*/ 41 w 1056"/>
                <a:gd name="T101" fmla="*/ 62 h 1206"/>
                <a:gd name="T102" fmla="*/ 43 w 1056"/>
                <a:gd name="T103" fmla="*/ 67 h 1206"/>
                <a:gd name="T104" fmla="*/ 42 w 1056"/>
                <a:gd name="T105" fmla="*/ 72 h 1206"/>
                <a:gd name="T106" fmla="*/ 39 w 1056"/>
                <a:gd name="T107" fmla="*/ 77 h 1206"/>
                <a:gd name="T108" fmla="*/ 36 w 1056"/>
                <a:gd name="T109" fmla="*/ 80 h 1206"/>
                <a:gd name="T110" fmla="*/ 37 w 1056"/>
                <a:gd name="T111" fmla="*/ 83 h 1206"/>
                <a:gd name="T112" fmla="*/ 40 w 1056"/>
                <a:gd name="T113" fmla="*/ 87 h 1206"/>
                <a:gd name="T114" fmla="*/ 42 w 1056"/>
                <a:gd name="T115" fmla="*/ 89 h 12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56"/>
                <a:gd name="T175" fmla="*/ 0 h 1206"/>
                <a:gd name="T176" fmla="*/ 1056 w 1056"/>
                <a:gd name="T177" fmla="*/ 1206 h 12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56" h="1206">
                  <a:moveTo>
                    <a:pt x="492" y="1032"/>
                  </a:moveTo>
                  <a:lnTo>
                    <a:pt x="486" y="1038"/>
                  </a:lnTo>
                  <a:lnTo>
                    <a:pt x="486" y="1044"/>
                  </a:lnTo>
                  <a:lnTo>
                    <a:pt x="480" y="1044"/>
                  </a:lnTo>
                  <a:lnTo>
                    <a:pt x="474" y="1056"/>
                  </a:lnTo>
                  <a:lnTo>
                    <a:pt x="462" y="1068"/>
                  </a:lnTo>
                  <a:lnTo>
                    <a:pt x="456" y="1080"/>
                  </a:lnTo>
                  <a:lnTo>
                    <a:pt x="450" y="1080"/>
                  </a:lnTo>
                  <a:lnTo>
                    <a:pt x="450" y="1086"/>
                  </a:lnTo>
                  <a:lnTo>
                    <a:pt x="450" y="1092"/>
                  </a:lnTo>
                  <a:lnTo>
                    <a:pt x="444" y="1104"/>
                  </a:lnTo>
                  <a:lnTo>
                    <a:pt x="444" y="1116"/>
                  </a:lnTo>
                  <a:lnTo>
                    <a:pt x="438" y="1128"/>
                  </a:lnTo>
                  <a:lnTo>
                    <a:pt x="432" y="1134"/>
                  </a:lnTo>
                  <a:lnTo>
                    <a:pt x="432" y="1140"/>
                  </a:lnTo>
                  <a:lnTo>
                    <a:pt x="420" y="1152"/>
                  </a:lnTo>
                  <a:lnTo>
                    <a:pt x="420" y="1158"/>
                  </a:lnTo>
                  <a:lnTo>
                    <a:pt x="408" y="1182"/>
                  </a:lnTo>
                  <a:lnTo>
                    <a:pt x="396" y="1194"/>
                  </a:lnTo>
                  <a:lnTo>
                    <a:pt x="390" y="1206"/>
                  </a:lnTo>
                  <a:lnTo>
                    <a:pt x="390" y="1200"/>
                  </a:lnTo>
                  <a:lnTo>
                    <a:pt x="384" y="1194"/>
                  </a:lnTo>
                  <a:lnTo>
                    <a:pt x="378" y="1188"/>
                  </a:lnTo>
                  <a:lnTo>
                    <a:pt x="366" y="1176"/>
                  </a:lnTo>
                  <a:lnTo>
                    <a:pt x="366" y="1170"/>
                  </a:lnTo>
                  <a:lnTo>
                    <a:pt x="348" y="1152"/>
                  </a:lnTo>
                  <a:lnTo>
                    <a:pt x="336" y="1140"/>
                  </a:lnTo>
                  <a:lnTo>
                    <a:pt x="330" y="1134"/>
                  </a:lnTo>
                  <a:lnTo>
                    <a:pt x="324" y="1128"/>
                  </a:lnTo>
                  <a:lnTo>
                    <a:pt x="318" y="1122"/>
                  </a:lnTo>
                  <a:lnTo>
                    <a:pt x="312" y="1116"/>
                  </a:lnTo>
                  <a:lnTo>
                    <a:pt x="306" y="1110"/>
                  </a:lnTo>
                  <a:lnTo>
                    <a:pt x="300" y="1104"/>
                  </a:lnTo>
                  <a:lnTo>
                    <a:pt x="294" y="1098"/>
                  </a:lnTo>
                  <a:lnTo>
                    <a:pt x="276" y="1080"/>
                  </a:lnTo>
                  <a:lnTo>
                    <a:pt x="270" y="1080"/>
                  </a:lnTo>
                  <a:lnTo>
                    <a:pt x="270" y="1074"/>
                  </a:lnTo>
                  <a:lnTo>
                    <a:pt x="264" y="1068"/>
                  </a:lnTo>
                  <a:lnTo>
                    <a:pt x="258" y="1062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40" y="1050"/>
                  </a:lnTo>
                  <a:lnTo>
                    <a:pt x="234" y="1044"/>
                  </a:lnTo>
                  <a:lnTo>
                    <a:pt x="228" y="1044"/>
                  </a:lnTo>
                  <a:lnTo>
                    <a:pt x="222" y="1038"/>
                  </a:lnTo>
                  <a:lnTo>
                    <a:pt x="222" y="1032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6"/>
                  </a:lnTo>
                  <a:lnTo>
                    <a:pt x="204" y="1020"/>
                  </a:lnTo>
                  <a:lnTo>
                    <a:pt x="204" y="1014"/>
                  </a:lnTo>
                  <a:lnTo>
                    <a:pt x="198" y="1014"/>
                  </a:lnTo>
                  <a:lnTo>
                    <a:pt x="192" y="1014"/>
                  </a:lnTo>
                  <a:lnTo>
                    <a:pt x="192" y="1008"/>
                  </a:lnTo>
                  <a:lnTo>
                    <a:pt x="186" y="1008"/>
                  </a:lnTo>
                  <a:lnTo>
                    <a:pt x="186" y="1002"/>
                  </a:lnTo>
                  <a:lnTo>
                    <a:pt x="180" y="1002"/>
                  </a:lnTo>
                  <a:lnTo>
                    <a:pt x="174" y="996"/>
                  </a:lnTo>
                  <a:lnTo>
                    <a:pt x="168" y="996"/>
                  </a:lnTo>
                  <a:lnTo>
                    <a:pt x="168" y="990"/>
                  </a:lnTo>
                  <a:lnTo>
                    <a:pt x="162" y="990"/>
                  </a:lnTo>
                  <a:lnTo>
                    <a:pt x="162" y="984"/>
                  </a:lnTo>
                  <a:lnTo>
                    <a:pt x="150" y="978"/>
                  </a:lnTo>
                  <a:lnTo>
                    <a:pt x="144" y="972"/>
                  </a:lnTo>
                  <a:lnTo>
                    <a:pt x="138" y="972"/>
                  </a:lnTo>
                  <a:lnTo>
                    <a:pt x="138" y="966"/>
                  </a:lnTo>
                  <a:lnTo>
                    <a:pt x="132" y="966"/>
                  </a:lnTo>
                  <a:lnTo>
                    <a:pt x="126" y="960"/>
                  </a:lnTo>
                  <a:lnTo>
                    <a:pt x="126" y="954"/>
                  </a:lnTo>
                  <a:lnTo>
                    <a:pt x="120" y="954"/>
                  </a:lnTo>
                  <a:lnTo>
                    <a:pt x="114" y="948"/>
                  </a:lnTo>
                  <a:lnTo>
                    <a:pt x="108" y="948"/>
                  </a:lnTo>
                  <a:lnTo>
                    <a:pt x="108" y="942"/>
                  </a:lnTo>
                  <a:lnTo>
                    <a:pt x="102" y="942"/>
                  </a:lnTo>
                  <a:lnTo>
                    <a:pt x="96" y="942"/>
                  </a:lnTo>
                  <a:lnTo>
                    <a:pt x="96" y="936"/>
                  </a:lnTo>
                  <a:lnTo>
                    <a:pt x="90" y="936"/>
                  </a:lnTo>
                  <a:lnTo>
                    <a:pt x="90" y="930"/>
                  </a:lnTo>
                  <a:lnTo>
                    <a:pt x="84" y="930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18"/>
                  </a:lnTo>
                  <a:lnTo>
                    <a:pt x="66" y="918"/>
                  </a:lnTo>
                  <a:lnTo>
                    <a:pt x="66" y="912"/>
                  </a:lnTo>
                  <a:lnTo>
                    <a:pt x="66" y="906"/>
                  </a:lnTo>
                  <a:lnTo>
                    <a:pt x="72" y="906"/>
                  </a:lnTo>
                  <a:lnTo>
                    <a:pt x="84" y="906"/>
                  </a:lnTo>
                  <a:lnTo>
                    <a:pt x="90" y="906"/>
                  </a:lnTo>
                  <a:lnTo>
                    <a:pt x="120" y="930"/>
                  </a:lnTo>
                  <a:lnTo>
                    <a:pt x="126" y="936"/>
                  </a:lnTo>
                  <a:lnTo>
                    <a:pt x="138" y="936"/>
                  </a:lnTo>
                  <a:lnTo>
                    <a:pt x="138" y="930"/>
                  </a:lnTo>
                  <a:lnTo>
                    <a:pt x="144" y="930"/>
                  </a:lnTo>
                  <a:lnTo>
                    <a:pt x="144" y="924"/>
                  </a:lnTo>
                  <a:lnTo>
                    <a:pt x="150" y="900"/>
                  </a:lnTo>
                  <a:lnTo>
                    <a:pt x="138" y="894"/>
                  </a:lnTo>
                  <a:lnTo>
                    <a:pt x="126" y="894"/>
                  </a:lnTo>
                  <a:lnTo>
                    <a:pt x="108" y="888"/>
                  </a:lnTo>
                  <a:lnTo>
                    <a:pt x="84" y="882"/>
                  </a:lnTo>
                  <a:lnTo>
                    <a:pt x="72" y="882"/>
                  </a:lnTo>
                  <a:lnTo>
                    <a:pt x="72" y="876"/>
                  </a:lnTo>
                  <a:lnTo>
                    <a:pt x="78" y="870"/>
                  </a:lnTo>
                  <a:lnTo>
                    <a:pt x="90" y="870"/>
                  </a:lnTo>
                  <a:lnTo>
                    <a:pt x="96" y="870"/>
                  </a:lnTo>
                  <a:lnTo>
                    <a:pt x="102" y="870"/>
                  </a:lnTo>
                  <a:lnTo>
                    <a:pt x="114" y="870"/>
                  </a:lnTo>
                  <a:lnTo>
                    <a:pt x="120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34"/>
                  </a:lnTo>
                  <a:lnTo>
                    <a:pt x="132" y="828"/>
                  </a:lnTo>
                  <a:lnTo>
                    <a:pt x="132" y="816"/>
                  </a:lnTo>
                  <a:lnTo>
                    <a:pt x="150" y="816"/>
                  </a:lnTo>
                  <a:lnTo>
                    <a:pt x="150" y="804"/>
                  </a:lnTo>
                  <a:lnTo>
                    <a:pt x="144" y="798"/>
                  </a:lnTo>
                  <a:lnTo>
                    <a:pt x="156" y="762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32"/>
                  </a:lnTo>
                  <a:lnTo>
                    <a:pt x="144" y="726"/>
                  </a:lnTo>
                  <a:lnTo>
                    <a:pt x="132" y="726"/>
                  </a:lnTo>
                  <a:lnTo>
                    <a:pt x="120" y="732"/>
                  </a:lnTo>
                  <a:lnTo>
                    <a:pt x="114" y="744"/>
                  </a:lnTo>
                  <a:lnTo>
                    <a:pt x="108" y="750"/>
                  </a:lnTo>
                  <a:lnTo>
                    <a:pt x="96" y="768"/>
                  </a:lnTo>
                  <a:lnTo>
                    <a:pt x="96" y="774"/>
                  </a:lnTo>
                  <a:lnTo>
                    <a:pt x="90" y="780"/>
                  </a:lnTo>
                  <a:lnTo>
                    <a:pt x="84" y="804"/>
                  </a:lnTo>
                  <a:lnTo>
                    <a:pt x="72" y="774"/>
                  </a:lnTo>
                  <a:lnTo>
                    <a:pt x="72" y="768"/>
                  </a:lnTo>
                  <a:lnTo>
                    <a:pt x="66" y="762"/>
                  </a:lnTo>
                  <a:lnTo>
                    <a:pt x="60" y="750"/>
                  </a:lnTo>
                  <a:lnTo>
                    <a:pt x="54" y="750"/>
                  </a:lnTo>
                  <a:lnTo>
                    <a:pt x="48" y="750"/>
                  </a:lnTo>
                  <a:lnTo>
                    <a:pt x="42" y="750"/>
                  </a:lnTo>
                  <a:lnTo>
                    <a:pt x="30" y="744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12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2" y="702"/>
                  </a:lnTo>
                  <a:lnTo>
                    <a:pt x="18" y="696"/>
                  </a:lnTo>
                  <a:lnTo>
                    <a:pt x="12" y="690"/>
                  </a:lnTo>
                  <a:lnTo>
                    <a:pt x="12" y="684"/>
                  </a:lnTo>
                  <a:lnTo>
                    <a:pt x="12" y="678"/>
                  </a:lnTo>
                  <a:lnTo>
                    <a:pt x="12" y="672"/>
                  </a:lnTo>
                  <a:lnTo>
                    <a:pt x="18" y="672"/>
                  </a:lnTo>
                  <a:lnTo>
                    <a:pt x="18" y="666"/>
                  </a:lnTo>
                  <a:lnTo>
                    <a:pt x="24" y="666"/>
                  </a:lnTo>
                  <a:lnTo>
                    <a:pt x="24" y="660"/>
                  </a:lnTo>
                  <a:lnTo>
                    <a:pt x="30" y="660"/>
                  </a:lnTo>
                  <a:lnTo>
                    <a:pt x="30" y="654"/>
                  </a:lnTo>
                  <a:lnTo>
                    <a:pt x="36" y="654"/>
                  </a:lnTo>
                  <a:lnTo>
                    <a:pt x="36" y="648"/>
                  </a:lnTo>
                  <a:lnTo>
                    <a:pt x="42" y="648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60" y="630"/>
                  </a:lnTo>
                  <a:lnTo>
                    <a:pt x="66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78" y="624"/>
                  </a:lnTo>
                  <a:lnTo>
                    <a:pt x="84" y="618"/>
                  </a:lnTo>
                  <a:lnTo>
                    <a:pt x="84" y="612"/>
                  </a:lnTo>
                  <a:lnTo>
                    <a:pt x="90" y="612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20" y="588"/>
                  </a:lnTo>
                  <a:lnTo>
                    <a:pt x="120" y="582"/>
                  </a:lnTo>
                  <a:lnTo>
                    <a:pt x="120" y="576"/>
                  </a:lnTo>
                  <a:lnTo>
                    <a:pt x="120" y="570"/>
                  </a:lnTo>
                  <a:lnTo>
                    <a:pt x="126" y="564"/>
                  </a:lnTo>
                  <a:lnTo>
                    <a:pt x="126" y="558"/>
                  </a:lnTo>
                  <a:lnTo>
                    <a:pt x="126" y="552"/>
                  </a:lnTo>
                  <a:lnTo>
                    <a:pt x="126" y="546"/>
                  </a:lnTo>
                  <a:lnTo>
                    <a:pt x="126" y="534"/>
                  </a:lnTo>
                  <a:lnTo>
                    <a:pt x="126" y="516"/>
                  </a:lnTo>
                  <a:lnTo>
                    <a:pt x="126" y="510"/>
                  </a:lnTo>
                  <a:lnTo>
                    <a:pt x="126" y="504"/>
                  </a:lnTo>
                  <a:lnTo>
                    <a:pt x="126" y="498"/>
                  </a:lnTo>
                  <a:lnTo>
                    <a:pt x="132" y="498"/>
                  </a:lnTo>
                  <a:lnTo>
                    <a:pt x="132" y="492"/>
                  </a:lnTo>
                  <a:lnTo>
                    <a:pt x="138" y="492"/>
                  </a:lnTo>
                  <a:lnTo>
                    <a:pt x="144" y="486"/>
                  </a:lnTo>
                  <a:lnTo>
                    <a:pt x="156" y="480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6" y="462"/>
                  </a:lnTo>
                  <a:lnTo>
                    <a:pt x="156" y="456"/>
                  </a:lnTo>
                  <a:lnTo>
                    <a:pt x="156" y="450"/>
                  </a:lnTo>
                  <a:lnTo>
                    <a:pt x="162" y="438"/>
                  </a:lnTo>
                  <a:lnTo>
                    <a:pt x="168" y="426"/>
                  </a:lnTo>
                  <a:lnTo>
                    <a:pt x="174" y="426"/>
                  </a:lnTo>
                  <a:lnTo>
                    <a:pt x="174" y="420"/>
                  </a:lnTo>
                  <a:lnTo>
                    <a:pt x="180" y="414"/>
                  </a:lnTo>
                  <a:lnTo>
                    <a:pt x="186" y="420"/>
                  </a:lnTo>
                  <a:lnTo>
                    <a:pt x="186" y="414"/>
                  </a:lnTo>
                  <a:lnTo>
                    <a:pt x="180" y="408"/>
                  </a:lnTo>
                  <a:lnTo>
                    <a:pt x="180" y="402"/>
                  </a:lnTo>
                  <a:lnTo>
                    <a:pt x="186" y="402"/>
                  </a:lnTo>
                  <a:lnTo>
                    <a:pt x="192" y="402"/>
                  </a:lnTo>
                  <a:lnTo>
                    <a:pt x="192" y="396"/>
                  </a:lnTo>
                  <a:lnTo>
                    <a:pt x="198" y="396"/>
                  </a:lnTo>
                  <a:lnTo>
                    <a:pt x="204" y="396"/>
                  </a:lnTo>
                  <a:lnTo>
                    <a:pt x="210" y="396"/>
                  </a:lnTo>
                  <a:lnTo>
                    <a:pt x="210" y="390"/>
                  </a:lnTo>
                  <a:lnTo>
                    <a:pt x="216" y="390"/>
                  </a:lnTo>
                  <a:lnTo>
                    <a:pt x="216" y="384"/>
                  </a:lnTo>
                  <a:lnTo>
                    <a:pt x="222" y="384"/>
                  </a:lnTo>
                  <a:lnTo>
                    <a:pt x="222" y="378"/>
                  </a:lnTo>
                  <a:lnTo>
                    <a:pt x="228" y="372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0" y="348"/>
                  </a:lnTo>
                  <a:lnTo>
                    <a:pt x="234" y="342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46" y="330"/>
                  </a:lnTo>
                  <a:lnTo>
                    <a:pt x="246" y="324"/>
                  </a:lnTo>
                  <a:lnTo>
                    <a:pt x="234" y="318"/>
                  </a:lnTo>
                  <a:lnTo>
                    <a:pt x="234" y="312"/>
                  </a:lnTo>
                  <a:lnTo>
                    <a:pt x="234" y="300"/>
                  </a:lnTo>
                  <a:lnTo>
                    <a:pt x="240" y="288"/>
                  </a:lnTo>
                  <a:lnTo>
                    <a:pt x="240" y="276"/>
                  </a:lnTo>
                  <a:lnTo>
                    <a:pt x="246" y="258"/>
                  </a:lnTo>
                  <a:lnTo>
                    <a:pt x="258" y="252"/>
                  </a:lnTo>
                  <a:lnTo>
                    <a:pt x="270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294" y="252"/>
                  </a:lnTo>
                  <a:lnTo>
                    <a:pt x="300" y="258"/>
                  </a:lnTo>
                  <a:lnTo>
                    <a:pt x="318" y="252"/>
                  </a:lnTo>
                  <a:lnTo>
                    <a:pt x="366" y="252"/>
                  </a:lnTo>
                  <a:lnTo>
                    <a:pt x="378" y="252"/>
                  </a:lnTo>
                  <a:lnTo>
                    <a:pt x="396" y="252"/>
                  </a:lnTo>
                  <a:lnTo>
                    <a:pt x="408" y="252"/>
                  </a:lnTo>
                  <a:lnTo>
                    <a:pt x="408" y="246"/>
                  </a:lnTo>
                  <a:lnTo>
                    <a:pt x="414" y="240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20" y="216"/>
                  </a:lnTo>
                  <a:lnTo>
                    <a:pt x="426" y="210"/>
                  </a:lnTo>
                  <a:lnTo>
                    <a:pt x="444" y="198"/>
                  </a:lnTo>
                  <a:lnTo>
                    <a:pt x="462" y="198"/>
                  </a:lnTo>
                  <a:lnTo>
                    <a:pt x="474" y="204"/>
                  </a:lnTo>
                  <a:lnTo>
                    <a:pt x="498" y="198"/>
                  </a:lnTo>
                  <a:lnTo>
                    <a:pt x="498" y="204"/>
                  </a:lnTo>
                  <a:lnTo>
                    <a:pt x="540" y="210"/>
                  </a:lnTo>
                  <a:lnTo>
                    <a:pt x="564" y="210"/>
                  </a:lnTo>
                  <a:lnTo>
                    <a:pt x="588" y="210"/>
                  </a:lnTo>
                  <a:lnTo>
                    <a:pt x="612" y="210"/>
                  </a:lnTo>
                  <a:lnTo>
                    <a:pt x="612" y="216"/>
                  </a:lnTo>
                  <a:lnTo>
                    <a:pt x="618" y="222"/>
                  </a:lnTo>
                  <a:lnTo>
                    <a:pt x="618" y="228"/>
                  </a:lnTo>
                  <a:lnTo>
                    <a:pt x="624" y="240"/>
                  </a:lnTo>
                  <a:lnTo>
                    <a:pt x="624" y="246"/>
                  </a:lnTo>
                  <a:lnTo>
                    <a:pt x="630" y="252"/>
                  </a:lnTo>
                  <a:lnTo>
                    <a:pt x="630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0" y="282"/>
                  </a:lnTo>
                  <a:lnTo>
                    <a:pt x="630" y="288"/>
                  </a:lnTo>
                  <a:lnTo>
                    <a:pt x="630" y="300"/>
                  </a:lnTo>
                  <a:lnTo>
                    <a:pt x="630" y="306"/>
                  </a:lnTo>
                  <a:lnTo>
                    <a:pt x="636" y="306"/>
                  </a:lnTo>
                  <a:lnTo>
                    <a:pt x="642" y="306"/>
                  </a:lnTo>
                  <a:lnTo>
                    <a:pt x="648" y="312"/>
                  </a:lnTo>
                  <a:lnTo>
                    <a:pt x="666" y="312"/>
                  </a:lnTo>
                  <a:lnTo>
                    <a:pt x="696" y="306"/>
                  </a:lnTo>
                  <a:lnTo>
                    <a:pt x="732" y="300"/>
                  </a:lnTo>
                  <a:lnTo>
                    <a:pt x="732" y="288"/>
                  </a:lnTo>
                  <a:lnTo>
                    <a:pt x="738" y="288"/>
                  </a:lnTo>
                  <a:lnTo>
                    <a:pt x="744" y="276"/>
                  </a:lnTo>
                  <a:lnTo>
                    <a:pt x="762" y="246"/>
                  </a:lnTo>
                  <a:lnTo>
                    <a:pt x="768" y="228"/>
                  </a:lnTo>
                  <a:lnTo>
                    <a:pt x="792" y="210"/>
                  </a:lnTo>
                  <a:lnTo>
                    <a:pt x="804" y="186"/>
                  </a:lnTo>
                  <a:lnTo>
                    <a:pt x="804" y="156"/>
                  </a:lnTo>
                  <a:lnTo>
                    <a:pt x="804" y="138"/>
                  </a:lnTo>
                  <a:lnTo>
                    <a:pt x="810" y="126"/>
                  </a:lnTo>
                  <a:lnTo>
                    <a:pt x="816" y="120"/>
                  </a:lnTo>
                  <a:lnTo>
                    <a:pt x="828" y="102"/>
                  </a:lnTo>
                  <a:lnTo>
                    <a:pt x="834" y="96"/>
                  </a:lnTo>
                  <a:lnTo>
                    <a:pt x="846" y="102"/>
                  </a:lnTo>
                  <a:lnTo>
                    <a:pt x="852" y="96"/>
                  </a:lnTo>
                  <a:lnTo>
                    <a:pt x="858" y="72"/>
                  </a:lnTo>
                  <a:lnTo>
                    <a:pt x="864" y="60"/>
                  </a:lnTo>
                  <a:lnTo>
                    <a:pt x="882" y="48"/>
                  </a:lnTo>
                  <a:lnTo>
                    <a:pt x="906" y="36"/>
                  </a:lnTo>
                  <a:lnTo>
                    <a:pt x="918" y="12"/>
                  </a:lnTo>
                  <a:lnTo>
                    <a:pt x="924" y="0"/>
                  </a:lnTo>
                  <a:lnTo>
                    <a:pt x="930" y="6"/>
                  </a:lnTo>
                  <a:lnTo>
                    <a:pt x="942" y="12"/>
                  </a:lnTo>
                  <a:lnTo>
                    <a:pt x="948" y="12"/>
                  </a:lnTo>
                  <a:lnTo>
                    <a:pt x="954" y="18"/>
                  </a:lnTo>
                  <a:lnTo>
                    <a:pt x="966" y="18"/>
                  </a:lnTo>
                  <a:lnTo>
                    <a:pt x="972" y="18"/>
                  </a:lnTo>
                  <a:lnTo>
                    <a:pt x="984" y="18"/>
                  </a:lnTo>
                  <a:lnTo>
                    <a:pt x="990" y="18"/>
                  </a:lnTo>
                  <a:lnTo>
                    <a:pt x="1002" y="48"/>
                  </a:lnTo>
                  <a:lnTo>
                    <a:pt x="1008" y="78"/>
                  </a:lnTo>
                  <a:lnTo>
                    <a:pt x="1020" y="78"/>
                  </a:lnTo>
                  <a:lnTo>
                    <a:pt x="1020" y="90"/>
                  </a:lnTo>
                  <a:lnTo>
                    <a:pt x="1026" y="102"/>
                  </a:lnTo>
                  <a:lnTo>
                    <a:pt x="1044" y="120"/>
                  </a:lnTo>
                  <a:lnTo>
                    <a:pt x="1044" y="132"/>
                  </a:lnTo>
                  <a:lnTo>
                    <a:pt x="1056" y="150"/>
                  </a:lnTo>
                  <a:lnTo>
                    <a:pt x="1050" y="150"/>
                  </a:lnTo>
                  <a:lnTo>
                    <a:pt x="1044" y="156"/>
                  </a:lnTo>
                  <a:lnTo>
                    <a:pt x="1044" y="162"/>
                  </a:lnTo>
                  <a:lnTo>
                    <a:pt x="1038" y="162"/>
                  </a:lnTo>
                  <a:lnTo>
                    <a:pt x="1032" y="162"/>
                  </a:lnTo>
                  <a:lnTo>
                    <a:pt x="1026" y="168"/>
                  </a:lnTo>
                  <a:lnTo>
                    <a:pt x="1014" y="174"/>
                  </a:lnTo>
                  <a:lnTo>
                    <a:pt x="1014" y="186"/>
                  </a:lnTo>
                  <a:lnTo>
                    <a:pt x="1014" y="192"/>
                  </a:lnTo>
                  <a:lnTo>
                    <a:pt x="1014" y="198"/>
                  </a:lnTo>
                  <a:lnTo>
                    <a:pt x="1020" y="204"/>
                  </a:lnTo>
                  <a:lnTo>
                    <a:pt x="1026" y="204"/>
                  </a:lnTo>
                  <a:lnTo>
                    <a:pt x="1032" y="204"/>
                  </a:lnTo>
                  <a:lnTo>
                    <a:pt x="1032" y="210"/>
                  </a:lnTo>
                  <a:lnTo>
                    <a:pt x="1038" y="210"/>
                  </a:lnTo>
                  <a:lnTo>
                    <a:pt x="1032" y="216"/>
                  </a:lnTo>
                  <a:lnTo>
                    <a:pt x="1026" y="228"/>
                  </a:lnTo>
                  <a:lnTo>
                    <a:pt x="1026" y="234"/>
                  </a:lnTo>
                  <a:lnTo>
                    <a:pt x="1032" y="240"/>
                  </a:lnTo>
                  <a:lnTo>
                    <a:pt x="1032" y="246"/>
                  </a:lnTo>
                  <a:lnTo>
                    <a:pt x="1032" y="252"/>
                  </a:lnTo>
                  <a:lnTo>
                    <a:pt x="1032" y="258"/>
                  </a:lnTo>
                  <a:lnTo>
                    <a:pt x="1038" y="264"/>
                  </a:lnTo>
                  <a:lnTo>
                    <a:pt x="1032" y="276"/>
                  </a:lnTo>
                  <a:lnTo>
                    <a:pt x="1026" y="276"/>
                  </a:lnTo>
                  <a:lnTo>
                    <a:pt x="1020" y="276"/>
                  </a:lnTo>
                  <a:lnTo>
                    <a:pt x="996" y="282"/>
                  </a:lnTo>
                  <a:lnTo>
                    <a:pt x="996" y="288"/>
                  </a:lnTo>
                  <a:lnTo>
                    <a:pt x="996" y="294"/>
                  </a:lnTo>
                  <a:lnTo>
                    <a:pt x="996" y="300"/>
                  </a:lnTo>
                  <a:lnTo>
                    <a:pt x="996" y="306"/>
                  </a:lnTo>
                  <a:lnTo>
                    <a:pt x="984" y="324"/>
                  </a:lnTo>
                  <a:lnTo>
                    <a:pt x="984" y="330"/>
                  </a:lnTo>
                  <a:lnTo>
                    <a:pt x="984" y="336"/>
                  </a:lnTo>
                  <a:lnTo>
                    <a:pt x="978" y="336"/>
                  </a:lnTo>
                  <a:lnTo>
                    <a:pt x="978" y="342"/>
                  </a:lnTo>
                  <a:lnTo>
                    <a:pt x="984" y="360"/>
                  </a:lnTo>
                  <a:lnTo>
                    <a:pt x="978" y="366"/>
                  </a:lnTo>
                  <a:lnTo>
                    <a:pt x="978" y="372"/>
                  </a:lnTo>
                  <a:lnTo>
                    <a:pt x="972" y="372"/>
                  </a:lnTo>
                  <a:lnTo>
                    <a:pt x="972" y="378"/>
                  </a:lnTo>
                  <a:lnTo>
                    <a:pt x="972" y="384"/>
                  </a:lnTo>
                  <a:lnTo>
                    <a:pt x="972" y="390"/>
                  </a:lnTo>
                  <a:lnTo>
                    <a:pt x="966" y="402"/>
                  </a:lnTo>
                  <a:lnTo>
                    <a:pt x="960" y="414"/>
                  </a:lnTo>
                  <a:lnTo>
                    <a:pt x="954" y="420"/>
                  </a:lnTo>
                  <a:lnTo>
                    <a:pt x="948" y="426"/>
                  </a:lnTo>
                  <a:lnTo>
                    <a:pt x="948" y="438"/>
                  </a:lnTo>
                  <a:lnTo>
                    <a:pt x="942" y="444"/>
                  </a:lnTo>
                  <a:lnTo>
                    <a:pt x="936" y="450"/>
                  </a:lnTo>
                  <a:lnTo>
                    <a:pt x="930" y="456"/>
                  </a:lnTo>
                  <a:lnTo>
                    <a:pt x="924" y="462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18" y="522"/>
                  </a:lnTo>
                  <a:lnTo>
                    <a:pt x="918" y="528"/>
                  </a:lnTo>
                  <a:lnTo>
                    <a:pt x="924" y="534"/>
                  </a:lnTo>
                  <a:lnTo>
                    <a:pt x="924" y="540"/>
                  </a:lnTo>
                  <a:lnTo>
                    <a:pt x="924" y="546"/>
                  </a:lnTo>
                  <a:lnTo>
                    <a:pt x="918" y="546"/>
                  </a:lnTo>
                  <a:lnTo>
                    <a:pt x="918" y="552"/>
                  </a:lnTo>
                  <a:lnTo>
                    <a:pt x="912" y="546"/>
                  </a:lnTo>
                  <a:lnTo>
                    <a:pt x="912" y="552"/>
                  </a:lnTo>
                  <a:lnTo>
                    <a:pt x="912" y="570"/>
                  </a:lnTo>
                  <a:lnTo>
                    <a:pt x="906" y="588"/>
                  </a:lnTo>
                  <a:lnTo>
                    <a:pt x="900" y="606"/>
                  </a:lnTo>
                  <a:lnTo>
                    <a:pt x="906" y="624"/>
                  </a:lnTo>
                  <a:lnTo>
                    <a:pt x="900" y="624"/>
                  </a:lnTo>
                  <a:lnTo>
                    <a:pt x="894" y="630"/>
                  </a:lnTo>
                  <a:lnTo>
                    <a:pt x="888" y="630"/>
                  </a:lnTo>
                  <a:lnTo>
                    <a:pt x="882" y="630"/>
                  </a:lnTo>
                  <a:lnTo>
                    <a:pt x="882" y="636"/>
                  </a:lnTo>
                  <a:lnTo>
                    <a:pt x="876" y="642"/>
                  </a:lnTo>
                  <a:lnTo>
                    <a:pt x="870" y="642"/>
                  </a:lnTo>
                  <a:lnTo>
                    <a:pt x="870" y="648"/>
                  </a:lnTo>
                  <a:lnTo>
                    <a:pt x="870" y="654"/>
                  </a:lnTo>
                  <a:lnTo>
                    <a:pt x="864" y="654"/>
                  </a:lnTo>
                  <a:lnTo>
                    <a:pt x="864" y="660"/>
                  </a:lnTo>
                  <a:lnTo>
                    <a:pt x="846" y="666"/>
                  </a:lnTo>
                  <a:lnTo>
                    <a:pt x="828" y="672"/>
                  </a:lnTo>
                  <a:lnTo>
                    <a:pt x="816" y="660"/>
                  </a:lnTo>
                  <a:lnTo>
                    <a:pt x="810" y="660"/>
                  </a:lnTo>
                  <a:lnTo>
                    <a:pt x="798" y="666"/>
                  </a:lnTo>
                  <a:lnTo>
                    <a:pt x="786" y="666"/>
                  </a:lnTo>
                  <a:lnTo>
                    <a:pt x="780" y="672"/>
                  </a:lnTo>
                  <a:lnTo>
                    <a:pt x="768" y="678"/>
                  </a:lnTo>
                  <a:lnTo>
                    <a:pt x="762" y="660"/>
                  </a:lnTo>
                  <a:lnTo>
                    <a:pt x="762" y="654"/>
                  </a:lnTo>
                  <a:lnTo>
                    <a:pt x="756" y="636"/>
                  </a:lnTo>
                  <a:lnTo>
                    <a:pt x="762" y="624"/>
                  </a:lnTo>
                  <a:lnTo>
                    <a:pt x="756" y="606"/>
                  </a:lnTo>
                  <a:lnTo>
                    <a:pt x="756" y="600"/>
                  </a:lnTo>
                  <a:lnTo>
                    <a:pt x="762" y="594"/>
                  </a:lnTo>
                  <a:lnTo>
                    <a:pt x="768" y="600"/>
                  </a:lnTo>
                  <a:lnTo>
                    <a:pt x="768" y="594"/>
                  </a:lnTo>
                  <a:lnTo>
                    <a:pt x="768" y="588"/>
                  </a:lnTo>
                  <a:lnTo>
                    <a:pt x="774" y="582"/>
                  </a:lnTo>
                  <a:lnTo>
                    <a:pt x="768" y="576"/>
                  </a:lnTo>
                  <a:lnTo>
                    <a:pt x="762" y="576"/>
                  </a:lnTo>
                  <a:lnTo>
                    <a:pt x="756" y="576"/>
                  </a:lnTo>
                  <a:lnTo>
                    <a:pt x="690" y="576"/>
                  </a:lnTo>
                  <a:lnTo>
                    <a:pt x="624" y="570"/>
                  </a:lnTo>
                  <a:lnTo>
                    <a:pt x="600" y="564"/>
                  </a:lnTo>
                  <a:lnTo>
                    <a:pt x="576" y="564"/>
                  </a:lnTo>
                  <a:lnTo>
                    <a:pt x="558" y="570"/>
                  </a:lnTo>
                  <a:lnTo>
                    <a:pt x="552" y="576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46" y="594"/>
                  </a:lnTo>
                  <a:lnTo>
                    <a:pt x="546" y="600"/>
                  </a:lnTo>
                  <a:lnTo>
                    <a:pt x="540" y="606"/>
                  </a:lnTo>
                  <a:lnTo>
                    <a:pt x="534" y="618"/>
                  </a:lnTo>
                  <a:lnTo>
                    <a:pt x="534" y="624"/>
                  </a:lnTo>
                  <a:lnTo>
                    <a:pt x="534" y="630"/>
                  </a:lnTo>
                  <a:lnTo>
                    <a:pt x="534" y="636"/>
                  </a:lnTo>
                  <a:lnTo>
                    <a:pt x="528" y="636"/>
                  </a:lnTo>
                  <a:lnTo>
                    <a:pt x="516" y="642"/>
                  </a:lnTo>
                  <a:lnTo>
                    <a:pt x="516" y="648"/>
                  </a:lnTo>
                  <a:lnTo>
                    <a:pt x="510" y="648"/>
                  </a:lnTo>
                  <a:lnTo>
                    <a:pt x="504" y="654"/>
                  </a:lnTo>
                  <a:lnTo>
                    <a:pt x="492" y="666"/>
                  </a:lnTo>
                  <a:lnTo>
                    <a:pt x="492" y="672"/>
                  </a:lnTo>
                  <a:lnTo>
                    <a:pt x="492" y="684"/>
                  </a:lnTo>
                  <a:lnTo>
                    <a:pt x="486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92" y="702"/>
                  </a:lnTo>
                  <a:lnTo>
                    <a:pt x="486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74" y="720"/>
                  </a:lnTo>
                  <a:lnTo>
                    <a:pt x="480" y="726"/>
                  </a:lnTo>
                  <a:lnTo>
                    <a:pt x="474" y="726"/>
                  </a:lnTo>
                  <a:lnTo>
                    <a:pt x="474" y="738"/>
                  </a:lnTo>
                  <a:lnTo>
                    <a:pt x="474" y="744"/>
                  </a:lnTo>
                  <a:lnTo>
                    <a:pt x="474" y="750"/>
                  </a:lnTo>
                  <a:lnTo>
                    <a:pt x="480" y="750"/>
                  </a:lnTo>
                  <a:lnTo>
                    <a:pt x="480" y="756"/>
                  </a:lnTo>
                  <a:lnTo>
                    <a:pt x="492" y="762"/>
                  </a:lnTo>
                  <a:lnTo>
                    <a:pt x="498" y="774"/>
                  </a:lnTo>
                  <a:lnTo>
                    <a:pt x="498" y="780"/>
                  </a:lnTo>
                  <a:lnTo>
                    <a:pt x="504" y="786"/>
                  </a:lnTo>
                  <a:lnTo>
                    <a:pt x="510" y="792"/>
                  </a:lnTo>
                  <a:lnTo>
                    <a:pt x="504" y="798"/>
                  </a:lnTo>
                  <a:lnTo>
                    <a:pt x="504" y="804"/>
                  </a:lnTo>
                  <a:lnTo>
                    <a:pt x="504" y="810"/>
                  </a:lnTo>
                  <a:lnTo>
                    <a:pt x="498" y="822"/>
                  </a:lnTo>
                  <a:lnTo>
                    <a:pt x="492" y="828"/>
                  </a:lnTo>
                  <a:lnTo>
                    <a:pt x="492" y="834"/>
                  </a:lnTo>
                  <a:lnTo>
                    <a:pt x="486" y="840"/>
                  </a:lnTo>
                  <a:lnTo>
                    <a:pt x="480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74" y="858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876"/>
                  </a:lnTo>
                  <a:lnTo>
                    <a:pt x="456" y="894"/>
                  </a:lnTo>
                  <a:lnTo>
                    <a:pt x="450" y="894"/>
                  </a:lnTo>
                  <a:lnTo>
                    <a:pt x="444" y="900"/>
                  </a:lnTo>
                  <a:lnTo>
                    <a:pt x="444" y="894"/>
                  </a:lnTo>
                  <a:lnTo>
                    <a:pt x="438" y="894"/>
                  </a:lnTo>
                  <a:lnTo>
                    <a:pt x="432" y="900"/>
                  </a:lnTo>
                  <a:lnTo>
                    <a:pt x="432" y="906"/>
                  </a:lnTo>
                  <a:lnTo>
                    <a:pt x="420" y="906"/>
                  </a:lnTo>
                  <a:lnTo>
                    <a:pt x="420" y="912"/>
                  </a:lnTo>
                  <a:lnTo>
                    <a:pt x="420" y="918"/>
                  </a:lnTo>
                  <a:lnTo>
                    <a:pt x="426" y="918"/>
                  </a:lnTo>
                  <a:lnTo>
                    <a:pt x="426" y="924"/>
                  </a:lnTo>
                  <a:lnTo>
                    <a:pt x="426" y="930"/>
                  </a:lnTo>
                  <a:lnTo>
                    <a:pt x="420" y="930"/>
                  </a:lnTo>
                  <a:lnTo>
                    <a:pt x="414" y="936"/>
                  </a:lnTo>
                  <a:lnTo>
                    <a:pt x="414" y="942"/>
                  </a:lnTo>
                  <a:lnTo>
                    <a:pt x="414" y="948"/>
                  </a:lnTo>
                  <a:lnTo>
                    <a:pt x="414" y="954"/>
                  </a:lnTo>
                  <a:lnTo>
                    <a:pt x="426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44" y="972"/>
                  </a:lnTo>
                  <a:lnTo>
                    <a:pt x="444" y="978"/>
                  </a:lnTo>
                  <a:lnTo>
                    <a:pt x="450" y="978"/>
                  </a:lnTo>
                  <a:lnTo>
                    <a:pt x="450" y="984"/>
                  </a:lnTo>
                  <a:lnTo>
                    <a:pt x="456" y="990"/>
                  </a:lnTo>
                  <a:lnTo>
                    <a:pt x="456" y="996"/>
                  </a:lnTo>
                  <a:lnTo>
                    <a:pt x="462" y="1008"/>
                  </a:lnTo>
                  <a:lnTo>
                    <a:pt x="468" y="1008"/>
                  </a:lnTo>
                  <a:lnTo>
                    <a:pt x="468" y="1002"/>
                  </a:lnTo>
                  <a:lnTo>
                    <a:pt x="474" y="1008"/>
                  </a:lnTo>
                  <a:lnTo>
                    <a:pt x="480" y="1002"/>
                  </a:lnTo>
                  <a:lnTo>
                    <a:pt x="486" y="1008"/>
                  </a:lnTo>
                  <a:lnTo>
                    <a:pt x="486" y="1014"/>
                  </a:lnTo>
                  <a:lnTo>
                    <a:pt x="492" y="1014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86" y="1026"/>
                  </a:lnTo>
                  <a:lnTo>
                    <a:pt x="492" y="1026"/>
                  </a:lnTo>
                  <a:lnTo>
                    <a:pt x="486" y="1026"/>
                  </a:lnTo>
                  <a:lnTo>
                    <a:pt x="492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5" name="Freeform 30">
              <a:extLst>
                <a:ext uri="{FF2B5EF4-FFF2-40B4-BE49-F238E27FC236}">
                  <a16:creationId xmlns:a16="http://schemas.microsoft.com/office/drawing/2014/main" id="{85C7B827-0C1A-4D72-AEBD-F01CFE7EC12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3645" y="3904484"/>
              <a:ext cx="559048" cy="111825"/>
            </a:xfrm>
            <a:custGeom>
              <a:avLst/>
              <a:gdLst>
                <a:gd name="T0" fmla="*/ 69 w 1056"/>
                <a:gd name="T1" fmla="*/ 7 h 210"/>
                <a:gd name="T2" fmla="*/ 63 w 1056"/>
                <a:gd name="T3" fmla="*/ 5 h 210"/>
                <a:gd name="T4" fmla="*/ 57 w 1056"/>
                <a:gd name="T5" fmla="*/ 5 h 210"/>
                <a:gd name="T6" fmla="*/ 54 w 1056"/>
                <a:gd name="T7" fmla="*/ 6 h 210"/>
                <a:gd name="T8" fmla="*/ 51 w 1056"/>
                <a:gd name="T9" fmla="*/ 7 h 210"/>
                <a:gd name="T10" fmla="*/ 46 w 1056"/>
                <a:gd name="T11" fmla="*/ 9 h 210"/>
                <a:gd name="T12" fmla="*/ 42 w 1056"/>
                <a:gd name="T13" fmla="*/ 8 h 210"/>
                <a:gd name="T14" fmla="*/ 42 w 1056"/>
                <a:gd name="T15" fmla="*/ 5 h 210"/>
                <a:gd name="T16" fmla="*/ 41 w 1056"/>
                <a:gd name="T17" fmla="*/ 7 h 210"/>
                <a:gd name="T18" fmla="*/ 38 w 1056"/>
                <a:gd name="T19" fmla="*/ 10 h 210"/>
                <a:gd name="T20" fmla="*/ 37 w 1056"/>
                <a:gd name="T21" fmla="*/ 12 h 210"/>
                <a:gd name="T22" fmla="*/ 37 w 1056"/>
                <a:gd name="T23" fmla="*/ 15 h 210"/>
                <a:gd name="T24" fmla="*/ 37 w 1056"/>
                <a:gd name="T25" fmla="*/ 16 h 210"/>
                <a:gd name="T26" fmla="*/ 38 w 1056"/>
                <a:gd name="T27" fmla="*/ 16 h 210"/>
                <a:gd name="T28" fmla="*/ 34 w 1056"/>
                <a:gd name="T29" fmla="*/ 16 h 210"/>
                <a:gd name="T30" fmla="*/ 26 w 1056"/>
                <a:gd name="T31" fmla="*/ 16 h 210"/>
                <a:gd name="T32" fmla="*/ 20 w 1056"/>
                <a:gd name="T33" fmla="*/ 17 h 210"/>
                <a:gd name="T34" fmla="*/ 13 w 1056"/>
                <a:gd name="T35" fmla="*/ 17 h 210"/>
                <a:gd name="T36" fmla="*/ 6 w 1056"/>
                <a:gd name="T37" fmla="*/ 17 h 210"/>
                <a:gd name="T38" fmla="*/ 1 w 1056"/>
                <a:gd name="T39" fmla="*/ 18 h 210"/>
                <a:gd name="T40" fmla="*/ 3 w 1056"/>
                <a:gd name="T41" fmla="*/ 14 h 210"/>
                <a:gd name="T42" fmla="*/ 8 w 1056"/>
                <a:gd name="T43" fmla="*/ 15 h 210"/>
                <a:gd name="T44" fmla="*/ 11 w 1056"/>
                <a:gd name="T45" fmla="*/ 12 h 210"/>
                <a:gd name="T46" fmla="*/ 26 w 1056"/>
                <a:gd name="T47" fmla="*/ 10 h 210"/>
                <a:gd name="T48" fmla="*/ 29 w 1056"/>
                <a:gd name="T49" fmla="*/ 5 h 210"/>
                <a:gd name="T50" fmla="*/ 34 w 1056"/>
                <a:gd name="T51" fmla="*/ 1 h 210"/>
                <a:gd name="T52" fmla="*/ 41 w 1056"/>
                <a:gd name="T53" fmla="*/ 3 h 210"/>
                <a:gd name="T54" fmla="*/ 73 w 1056"/>
                <a:gd name="T55" fmla="*/ 1 h 210"/>
                <a:gd name="T56" fmla="*/ 75 w 1056"/>
                <a:gd name="T57" fmla="*/ 4 h 210"/>
                <a:gd name="T58" fmla="*/ 85 w 1056"/>
                <a:gd name="T59" fmla="*/ 15 h 210"/>
                <a:gd name="T60" fmla="*/ 91 w 1056"/>
                <a:gd name="T61" fmla="*/ 18 h 210"/>
                <a:gd name="T62" fmla="*/ 85 w 1056"/>
                <a:gd name="T63" fmla="*/ 18 h 210"/>
                <a:gd name="T64" fmla="*/ 79 w 1056"/>
                <a:gd name="T65" fmla="*/ 16 h 210"/>
                <a:gd name="T66" fmla="*/ 74 w 1056"/>
                <a:gd name="T67" fmla="*/ 16 h 210"/>
                <a:gd name="T68" fmla="*/ 69 w 1056"/>
                <a:gd name="T69" fmla="*/ 15 h 210"/>
                <a:gd name="T70" fmla="*/ 65 w 1056"/>
                <a:gd name="T71" fmla="*/ 14 h 210"/>
                <a:gd name="T72" fmla="*/ 59 w 1056"/>
                <a:gd name="T73" fmla="*/ 15 h 210"/>
                <a:gd name="T74" fmla="*/ 54 w 1056"/>
                <a:gd name="T75" fmla="*/ 15 h 210"/>
                <a:gd name="T76" fmla="*/ 49 w 1056"/>
                <a:gd name="T77" fmla="*/ 15 h 210"/>
                <a:gd name="T78" fmla="*/ 42 w 1056"/>
                <a:gd name="T79" fmla="*/ 15 h 210"/>
                <a:gd name="T80" fmla="*/ 38 w 1056"/>
                <a:gd name="T81" fmla="*/ 16 h 210"/>
                <a:gd name="T82" fmla="*/ 41 w 1056"/>
                <a:gd name="T83" fmla="*/ 14 h 210"/>
                <a:gd name="T84" fmla="*/ 42 w 1056"/>
                <a:gd name="T85" fmla="*/ 13 h 210"/>
                <a:gd name="T86" fmla="*/ 45 w 1056"/>
                <a:gd name="T87" fmla="*/ 13 h 210"/>
                <a:gd name="T88" fmla="*/ 48 w 1056"/>
                <a:gd name="T89" fmla="*/ 12 h 210"/>
                <a:gd name="T90" fmla="*/ 51 w 1056"/>
                <a:gd name="T91" fmla="*/ 11 h 210"/>
                <a:gd name="T92" fmla="*/ 54 w 1056"/>
                <a:gd name="T93" fmla="*/ 9 h 210"/>
                <a:gd name="T94" fmla="*/ 57 w 1056"/>
                <a:gd name="T95" fmla="*/ 8 h 210"/>
                <a:gd name="T96" fmla="*/ 60 w 1056"/>
                <a:gd name="T97" fmla="*/ 5 h 210"/>
                <a:gd name="T98" fmla="*/ 65 w 1056"/>
                <a:gd name="T99" fmla="*/ 5 h 210"/>
                <a:gd name="T100" fmla="*/ 72 w 1056"/>
                <a:gd name="T101" fmla="*/ 7 h 210"/>
                <a:gd name="T102" fmla="*/ 77 w 1056"/>
                <a:gd name="T103" fmla="*/ 11 h 210"/>
                <a:gd name="T104" fmla="*/ 69 w 1056"/>
                <a:gd name="T105" fmla="*/ 10 h 210"/>
                <a:gd name="T106" fmla="*/ 72 w 1056"/>
                <a:gd name="T107" fmla="*/ 12 h 210"/>
                <a:gd name="T108" fmla="*/ 78 w 1056"/>
                <a:gd name="T109" fmla="*/ 15 h 210"/>
                <a:gd name="T110" fmla="*/ 84 w 1056"/>
                <a:gd name="T111" fmla="*/ 14 h 210"/>
                <a:gd name="T112" fmla="*/ 84 w 1056"/>
                <a:gd name="T113" fmla="*/ 14 h 210"/>
                <a:gd name="T114" fmla="*/ 78 w 1056"/>
                <a:gd name="T115" fmla="*/ 13 h 210"/>
                <a:gd name="T116" fmla="*/ 76 w 1056"/>
                <a:gd name="T117" fmla="*/ 14 h 210"/>
                <a:gd name="T118" fmla="*/ 38 w 1056"/>
                <a:gd name="T119" fmla="*/ 12 h 210"/>
                <a:gd name="T120" fmla="*/ 41 w 1056"/>
                <a:gd name="T121" fmla="*/ 12 h 210"/>
                <a:gd name="T122" fmla="*/ 40 w 1056"/>
                <a:gd name="T123" fmla="*/ 14 h 2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6"/>
                <a:gd name="T187" fmla="*/ 0 h 210"/>
                <a:gd name="T188" fmla="*/ 1056 w 1056"/>
                <a:gd name="T189" fmla="*/ 210 h 21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6" h="210">
                  <a:moveTo>
                    <a:pt x="870" y="90"/>
                  </a:moveTo>
                  <a:lnTo>
                    <a:pt x="864" y="90"/>
                  </a:lnTo>
                  <a:lnTo>
                    <a:pt x="852" y="84"/>
                  </a:lnTo>
                  <a:lnTo>
                    <a:pt x="846" y="84"/>
                  </a:lnTo>
                  <a:lnTo>
                    <a:pt x="846" y="78"/>
                  </a:lnTo>
                  <a:lnTo>
                    <a:pt x="840" y="78"/>
                  </a:lnTo>
                  <a:lnTo>
                    <a:pt x="834" y="78"/>
                  </a:lnTo>
                  <a:lnTo>
                    <a:pt x="834" y="72"/>
                  </a:lnTo>
                  <a:lnTo>
                    <a:pt x="804" y="78"/>
                  </a:lnTo>
                  <a:lnTo>
                    <a:pt x="798" y="78"/>
                  </a:lnTo>
                  <a:lnTo>
                    <a:pt x="792" y="72"/>
                  </a:lnTo>
                  <a:lnTo>
                    <a:pt x="780" y="60"/>
                  </a:lnTo>
                  <a:lnTo>
                    <a:pt x="768" y="54"/>
                  </a:lnTo>
                  <a:lnTo>
                    <a:pt x="756" y="54"/>
                  </a:lnTo>
                  <a:lnTo>
                    <a:pt x="750" y="54"/>
                  </a:lnTo>
                  <a:lnTo>
                    <a:pt x="750" y="48"/>
                  </a:lnTo>
                  <a:lnTo>
                    <a:pt x="744" y="48"/>
                  </a:lnTo>
                  <a:lnTo>
                    <a:pt x="738" y="48"/>
                  </a:lnTo>
                  <a:lnTo>
                    <a:pt x="732" y="48"/>
                  </a:lnTo>
                  <a:lnTo>
                    <a:pt x="732" y="54"/>
                  </a:lnTo>
                  <a:lnTo>
                    <a:pt x="726" y="48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48"/>
                  </a:lnTo>
                  <a:lnTo>
                    <a:pt x="702" y="48"/>
                  </a:lnTo>
                  <a:lnTo>
                    <a:pt x="696" y="48"/>
                  </a:lnTo>
                  <a:lnTo>
                    <a:pt x="684" y="48"/>
                  </a:lnTo>
                  <a:lnTo>
                    <a:pt x="678" y="48"/>
                  </a:lnTo>
                  <a:lnTo>
                    <a:pt x="672" y="48"/>
                  </a:lnTo>
                  <a:lnTo>
                    <a:pt x="666" y="54"/>
                  </a:lnTo>
                  <a:lnTo>
                    <a:pt x="660" y="54"/>
                  </a:lnTo>
                  <a:lnTo>
                    <a:pt x="660" y="48"/>
                  </a:lnTo>
                  <a:lnTo>
                    <a:pt x="654" y="48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42" y="54"/>
                  </a:lnTo>
                  <a:lnTo>
                    <a:pt x="63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30" y="66"/>
                  </a:lnTo>
                  <a:lnTo>
                    <a:pt x="624" y="66"/>
                  </a:lnTo>
                  <a:lnTo>
                    <a:pt x="618" y="66"/>
                  </a:lnTo>
                  <a:lnTo>
                    <a:pt x="618" y="72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6" y="84"/>
                  </a:lnTo>
                  <a:lnTo>
                    <a:pt x="600" y="84"/>
                  </a:lnTo>
                  <a:lnTo>
                    <a:pt x="594" y="90"/>
                  </a:lnTo>
                  <a:lnTo>
                    <a:pt x="588" y="90"/>
                  </a:lnTo>
                  <a:lnTo>
                    <a:pt x="588" y="84"/>
                  </a:lnTo>
                  <a:lnTo>
                    <a:pt x="582" y="84"/>
                  </a:lnTo>
                  <a:lnTo>
                    <a:pt x="576" y="84"/>
                  </a:lnTo>
                  <a:lnTo>
                    <a:pt x="570" y="84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58" y="96"/>
                  </a:lnTo>
                  <a:lnTo>
                    <a:pt x="552" y="96"/>
                  </a:lnTo>
                  <a:lnTo>
                    <a:pt x="546" y="102"/>
                  </a:lnTo>
                  <a:lnTo>
                    <a:pt x="540" y="102"/>
                  </a:lnTo>
                  <a:lnTo>
                    <a:pt x="534" y="102"/>
                  </a:lnTo>
                  <a:lnTo>
                    <a:pt x="528" y="102"/>
                  </a:lnTo>
                  <a:lnTo>
                    <a:pt x="528" y="108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16" y="102"/>
                  </a:lnTo>
                  <a:lnTo>
                    <a:pt x="510" y="102"/>
                  </a:lnTo>
                  <a:lnTo>
                    <a:pt x="504" y="102"/>
                  </a:lnTo>
                  <a:lnTo>
                    <a:pt x="498" y="102"/>
                  </a:lnTo>
                  <a:lnTo>
                    <a:pt x="498" y="96"/>
                  </a:lnTo>
                  <a:lnTo>
                    <a:pt x="492" y="96"/>
                  </a:lnTo>
                  <a:lnTo>
                    <a:pt x="492" y="90"/>
                  </a:lnTo>
                  <a:lnTo>
                    <a:pt x="492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498" y="66"/>
                  </a:lnTo>
                  <a:lnTo>
                    <a:pt x="504" y="60"/>
                  </a:lnTo>
                  <a:lnTo>
                    <a:pt x="498" y="60"/>
                  </a:lnTo>
                  <a:lnTo>
                    <a:pt x="498" y="54"/>
                  </a:lnTo>
                  <a:lnTo>
                    <a:pt x="492" y="54"/>
                  </a:lnTo>
                  <a:lnTo>
                    <a:pt x="492" y="60"/>
                  </a:lnTo>
                  <a:lnTo>
                    <a:pt x="486" y="60"/>
                  </a:lnTo>
                  <a:lnTo>
                    <a:pt x="486" y="66"/>
                  </a:lnTo>
                  <a:lnTo>
                    <a:pt x="480" y="66"/>
                  </a:lnTo>
                  <a:lnTo>
                    <a:pt x="474" y="72"/>
                  </a:lnTo>
                  <a:lnTo>
                    <a:pt x="474" y="66"/>
                  </a:lnTo>
                  <a:lnTo>
                    <a:pt x="474" y="72"/>
                  </a:lnTo>
                  <a:lnTo>
                    <a:pt x="468" y="72"/>
                  </a:lnTo>
                  <a:lnTo>
                    <a:pt x="468" y="78"/>
                  </a:lnTo>
                  <a:lnTo>
                    <a:pt x="468" y="84"/>
                  </a:lnTo>
                  <a:lnTo>
                    <a:pt x="462" y="90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0" y="84"/>
                  </a:lnTo>
                  <a:lnTo>
                    <a:pt x="450" y="90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44" y="102"/>
                  </a:lnTo>
                  <a:lnTo>
                    <a:pt x="444" y="108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38" y="126"/>
                  </a:lnTo>
                  <a:lnTo>
                    <a:pt x="438" y="132"/>
                  </a:lnTo>
                  <a:lnTo>
                    <a:pt x="438" y="138"/>
                  </a:lnTo>
                  <a:lnTo>
                    <a:pt x="438" y="144"/>
                  </a:lnTo>
                  <a:lnTo>
                    <a:pt x="432" y="144"/>
                  </a:lnTo>
                  <a:lnTo>
                    <a:pt x="432" y="150"/>
                  </a:lnTo>
                  <a:lnTo>
                    <a:pt x="432" y="144"/>
                  </a:lnTo>
                  <a:lnTo>
                    <a:pt x="426" y="144"/>
                  </a:lnTo>
                  <a:lnTo>
                    <a:pt x="426" y="150"/>
                  </a:lnTo>
                  <a:lnTo>
                    <a:pt x="426" y="156"/>
                  </a:lnTo>
                  <a:lnTo>
                    <a:pt x="432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2"/>
                  </a:lnTo>
                  <a:lnTo>
                    <a:pt x="432" y="168"/>
                  </a:lnTo>
                  <a:lnTo>
                    <a:pt x="426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44" y="168"/>
                  </a:lnTo>
                  <a:lnTo>
                    <a:pt x="444" y="174"/>
                  </a:lnTo>
                  <a:lnTo>
                    <a:pt x="444" y="180"/>
                  </a:lnTo>
                  <a:lnTo>
                    <a:pt x="444" y="186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2" y="192"/>
                  </a:lnTo>
                  <a:lnTo>
                    <a:pt x="426" y="192"/>
                  </a:lnTo>
                  <a:lnTo>
                    <a:pt x="420" y="186"/>
                  </a:lnTo>
                  <a:lnTo>
                    <a:pt x="414" y="186"/>
                  </a:lnTo>
                  <a:lnTo>
                    <a:pt x="408" y="186"/>
                  </a:lnTo>
                  <a:lnTo>
                    <a:pt x="402" y="186"/>
                  </a:lnTo>
                  <a:lnTo>
                    <a:pt x="396" y="186"/>
                  </a:lnTo>
                  <a:lnTo>
                    <a:pt x="390" y="186"/>
                  </a:lnTo>
                  <a:lnTo>
                    <a:pt x="384" y="186"/>
                  </a:lnTo>
                  <a:lnTo>
                    <a:pt x="378" y="186"/>
                  </a:lnTo>
                  <a:lnTo>
                    <a:pt x="372" y="186"/>
                  </a:lnTo>
                  <a:lnTo>
                    <a:pt x="354" y="186"/>
                  </a:lnTo>
                  <a:lnTo>
                    <a:pt x="342" y="186"/>
                  </a:lnTo>
                  <a:lnTo>
                    <a:pt x="324" y="186"/>
                  </a:lnTo>
                  <a:lnTo>
                    <a:pt x="312" y="186"/>
                  </a:lnTo>
                  <a:lnTo>
                    <a:pt x="306" y="186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82" y="186"/>
                  </a:lnTo>
                  <a:lnTo>
                    <a:pt x="270" y="186"/>
                  </a:lnTo>
                  <a:lnTo>
                    <a:pt x="264" y="186"/>
                  </a:lnTo>
                  <a:lnTo>
                    <a:pt x="258" y="192"/>
                  </a:lnTo>
                  <a:lnTo>
                    <a:pt x="258" y="186"/>
                  </a:lnTo>
                  <a:lnTo>
                    <a:pt x="246" y="186"/>
                  </a:lnTo>
                  <a:lnTo>
                    <a:pt x="240" y="186"/>
                  </a:lnTo>
                  <a:lnTo>
                    <a:pt x="234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2"/>
                  </a:lnTo>
                  <a:lnTo>
                    <a:pt x="204" y="192"/>
                  </a:lnTo>
                  <a:lnTo>
                    <a:pt x="198" y="192"/>
                  </a:lnTo>
                  <a:lnTo>
                    <a:pt x="192" y="192"/>
                  </a:lnTo>
                  <a:lnTo>
                    <a:pt x="180" y="192"/>
                  </a:lnTo>
                  <a:lnTo>
                    <a:pt x="168" y="192"/>
                  </a:lnTo>
                  <a:lnTo>
                    <a:pt x="162" y="192"/>
                  </a:lnTo>
                  <a:lnTo>
                    <a:pt x="150" y="192"/>
                  </a:lnTo>
                  <a:lnTo>
                    <a:pt x="138" y="192"/>
                  </a:lnTo>
                  <a:lnTo>
                    <a:pt x="132" y="192"/>
                  </a:lnTo>
                  <a:lnTo>
                    <a:pt x="120" y="192"/>
                  </a:lnTo>
                  <a:lnTo>
                    <a:pt x="114" y="192"/>
                  </a:lnTo>
                  <a:lnTo>
                    <a:pt x="108" y="192"/>
                  </a:lnTo>
                  <a:lnTo>
                    <a:pt x="102" y="192"/>
                  </a:lnTo>
                  <a:lnTo>
                    <a:pt x="90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2" y="198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36" y="198"/>
                  </a:lnTo>
                  <a:lnTo>
                    <a:pt x="30" y="204"/>
                  </a:lnTo>
                  <a:lnTo>
                    <a:pt x="24" y="204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6" y="210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54" y="156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56"/>
                  </a:lnTo>
                  <a:lnTo>
                    <a:pt x="78" y="162"/>
                  </a:lnTo>
                  <a:lnTo>
                    <a:pt x="84" y="162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9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0" y="126"/>
                  </a:lnTo>
                  <a:lnTo>
                    <a:pt x="276" y="120"/>
                  </a:lnTo>
                  <a:lnTo>
                    <a:pt x="282" y="120"/>
                  </a:lnTo>
                  <a:lnTo>
                    <a:pt x="300" y="120"/>
                  </a:lnTo>
                  <a:lnTo>
                    <a:pt x="306" y="114"/>
                  </a:lnTo>
                  <a:lnTo>
                    <a:pt x="312" y="108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8"/>
                  </a:lnTo>
                  <a:lnTo>
                    <a:pt x="342" y="30"/>
                  </a:lnTo>
                  <a:lnTo>
                    <a:pt x="342" y="24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8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24"/>
                  </a:lnTo>
                  <a:lnTo>
                    <a:pt x="414" y="30"/>
                  </a:lnTo>
                  <a:lnTo>
                    <a:pt x="420" y="30"/>
                  </a:lnTo>
                  <a:lnTo>
                    <a:pt x="42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74" y="30"/>
                  </a:lnTo>
                  <a:lnTo>
                    <a:pt x="474" y="18"/>
                  </a:lnTo>
                  <a:lnTo>
                    <a:pt x="474" y="12"/>
                  </a:lnTo>
                  <a:lnTo>
                    <a:pt x="480" y="12"/>
                  </a:lnTo>
                  <a:lnTo>
                    <a:pt x="486" y="12"/>
                  </a:lnTo>
                  <a:lnTo>
                    <a:pt x="606" y="12"/>
                  </a:lnTo>
                  <a:lnTo>
                    <a:pt x="630" y="12"/>
                  </a:lnTo>
                  <a:lnTo>
                    <a:pt x="678" y="12"/>
                  </a:lnTo>
                  <a:lnTo>
                    <a:pt x="744" y="12"/>
                  </a:lnTo>
                  <a:lnTo>
                    <a:pt x="774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2" y="6"/>
                  </a:lnTo>
                  <a:lnTo>
                    <a:pt x="888" y="12"/>
                  </a:lnTo>
                  <a:lnTo>
                    <a:pt x="888" y="24"/>
                  </a:lnTo>
                  <a:lnTo>
                    <a:pt x="888" y="30"/>
                  </a:lnTo>
                  <a:lnTo>
                    <a:pt x="882" y="36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64" y="42"/>
                  </a:lnTo>
                  <a:lnTo>
                    <a:pt x="864" y="48"/>
                  </a:lnTo>
                  <a:lnTo>
                    <a:pt x="858" y="54"/>
                  </a:lnTo>
                  <a:lnTo>
                    <a:pt x="864" y="54"/>
                  </a:lnTo>
                  <a:lnTo>
                    <a:pt x="870" y="72"/>
                  </a:lnTo>
                  <a:lnTo>
                    <a:pt x="870" y="78"/>
                  </a:lnTo>
                  <a:lnTo>
                    <a:pt x="870" y="84"/>
                  </a:lnTo>
                  <a:lnTo>
                    <a:pt x="870" y="90"/>
                  </a:lnTo>
                  <a:close/>
                  <a:moveTo>
                    <a:pt x="972" y="156"/>
                  </a:moveTo>
                  <a:lnTo>
                    <a:pt x="972" y="162"/>
                  </a:lnTo>
                  <a:lnTo>
                    <a:pt x="978" y="162"/>
                  </a:lnTo>
                  <a:lnTo>
                    <a:pt x="984" y="168"/>
                  </a:lnTo>
                  <a:lnTo>
                    <a:pt x="990" y="168"/>
                  </a:lnTo>
                  <a:lnTo>
                    <a:pt x="990" y="162"/>
                  </a:lnTo>
                  <a:lnTo>
                    <a:pt x="1008" y="162"/>
                  </a:lnTo>
                  <a:lnTo>
                    <a:pt x="1020" y="162"/>
                  </a:lnTo>
                  <a:lnTo>
                    <a:pt x="1038" y="162"/>
                  </a:lnTo>
                  <a:lnTo>
                    <a:pt x="1056" y="168"/>
                  </a:lnTo>
                  <a:lnTo>
                    <a:pt x="1056" y="180"/>
                  </a:lnTo>
                  <a:lnTo>
                    <a:pt x="1056" y="186"/>
                  </a:lnTo>
                  <a:lnTo>
                    <a:pt x="1056" y="204"/>
                  </a:lnTo>
                  <a:lnTo>
                    <a:pt x="1050" y="204"/>
                  </a:lnTo>
                  <a:lnTo>
                    <a:pt x="1044" y="204"/>
                  </a:lnTo>
                  <a:lnTo>
                    <a:pt x="1038" y="204"/>
                  </a:lnTo>
                  <a:lnTo>
                    <a:pt x="1032" y="204"/>
                  </a:lnTo>
                  <a:lnTo>
                    <a:pt x="1026" y="204"/>
                  </a:lnTo>
                  <a:lnTo>
                    <a:pt x="1020" y="204"/>
                  </a:lnTo>
                  <a:lnTo>
                    <a:pt x="1014" y="204"/>
                  </a:lnTo>
                  <a:lnTo>
                    <a:pt x="1008" y="204"/>
                  </a:lnTo>
                  <a:lnTo>
                    <a:pt x="1002" y="204"/>
                  </a:lnTo>
                  <a:lnTo>
                    <a:pt x="996" y="204"/>
                  </a:lnTo>
                  <a:lnTo>
                    <a:pt x="984" y="204"/>
                  </a:lnTo>
                  <a:lnTo>
                    <a:pt x="984" y="198"/>
                  </a:lnTo>
                  <a:lnTo>
                    <a:pt x="978" y="198"/>
                  </a:lnTo>
                  <a:lnTo>
                    <a:pt x="966" y="198"/>
                  </a:lnTo>
                  <a:lnTo>
                    <a:pt x="948" y="192"/>
                  </a:lnTo>
                  <a:lnTo>
                    <a:pt x="942" y="192"/>
                  </a:lnTo>
                  <a:lnTo>
                    <a:pt x="936" y="192"/>
                  </a:lnTo>
                  <a:lnTo>
                    <a:pt x="924" y="192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12" y="186"/>
                  </a:lnTo>
                  <a:lnTo>
                    <a:pt x="906" y="186"/>
                  </a:lnTo>
                  <a:lnTo>
                    <a:pt x="900" y="186"/>
                  </a:lnTo>
                  <a:lnTo>
                    <a:pt x="894" y="186"/>
                  </a:lnTo>
                  <a:lnTo>
                    <a:pt x="888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76" y="180"/>
                  </a:lnTo>
                  <a:lnTo>
                    <a:pt x="870" y="180"/>
                  </a:lnTo>
                  <a:lnTo>
                    <a:pt x="864" y="180"/>
                  </a:lnTo>
                  <a:lnTo>
                    <a:pt x="858" y="180"/>
                  </a:lnTo>
                  <a:lnTo>
                    <a:pt x="852" y="180"/>
                  </a:lnTo>
                  <a:lnTo>
                    <a:pt x="852" y="174"/>
                  </a:lnTo>
                  <a:lnTo>
                    <a:pt x="846" y="174"/>
                  </a:lnTo>
                  <a:lnTo>
                    <a:pt x="840" y="174"/>
                  </a:lnTo>
                  <a:lnTo>
                    <a:pt x="834" y="174"/>
                  </a:lnTo>
                  <a:lnTo>
                    <a:pt x="828" y="174"/>
                  </a:lnTo>
                  <a:lnTo>
                    <a:pt x="822" y="174"/>
                  </a:lnTo>
                  <a:lnTo>
                    <a:pt x="816" y="174"/>
                  </a:lnTo>
                  <a:lnTo>
                    <a:pt x="810" y="168"/>
                  </a:lnTo>
                  <a:lnTo>
                    <a:pt x="804" y="168"/>
                  </a:lnTo>
                  <a:lnTo>
                    <a:pt x="798" y="168"/>
                  </a:lnTo>
                  <a:lnTo>
                    <a:pt x="792" y="168"/>
                  </a:lnTo>
                  <a:lnTo>
                    <a:pt x="786" y="168"/>
                  </a:lnTo>
                  <a:lnTo>
                    <a:pt x="780" y="168"/>
                  </a:lnTo>
                  <a:lnTo>
                    <a:pt x="774" y="168"/>
                  </a:lnTo>
                  <a:lnTo>
                    <a:pt x="768" y="168"/>
                  </a:lnTo>
                  <a:lnTo>
                    <a:pt x="762" y="168"/>
                  </a:lnTo>
                  <a:lnTo>
                    <a:pt x="756" y="168"/>
                  </a:lnTo>
                  <a:lnTo>
                    <a:pt x="750" y="168"/>
                  </a:lnTo>
                  <a:lnTo>
                    <a:pt x="750" y="162"/>
                  </a:lnTo>
                  <a:lnTo>
                    <a:pt x="744" y="168"/>
                  </a:lnTo>
                  <a:lnTo>
                    <a:pt x="738" y="162"/>
                  </a:lnTo>
                  <a:lnTo>
                    <a:pt x="732" y="162"/>
                  </a:lnTo>
                  <a:lnTo>
                    <a:pt x="726" y="162"/>
                  </a:lnTo>
                  <a:lnTo>
                    <a:pt x="714" y="162"/>
                  </a:lnTo>
                  <a:lnTo>
                    <a:pt x="702" y="162"/>
                  </a:lnTo>
                  <a:lnTo>
                    <a:pt x="696" y="168"/>
                  </a:lnTo>
                  <a:lnTo>
                    <a:pt x="690" y="168"/>
                  </a:lnTo>
                  <a:lnTo>
                    <a:pt x="684" y="168"/>
                  </a:lnTo>
                  <a:lnTo>
                    <a:pt x="678" y="168"/>
                  </a:lnTo>
                  <a:lnTo>
                    <a:pt x="672" y="168"/>
                  </a:lnTo>
                  <a:lnTo>
                    <a:pt x="666" y="168"/>
                  </a:lnTo>
                  <a:lnTo>
                    <a:pt x="660" y="168"/>
                  </a:lnTo>
                  <a:lnTo>
                    <a:pt x="654" y="168"/>
                  </a:lnTo>
                  <a:lnTo>
                    <a:pt x="648" y="174"/>
                  </a:lnTo>
                  <a:lnTo>
                    <a:pt x="648" y="168"/>
                  </a:lnTo>
                  <a:lnTo>
                    <a:pt x="642" y="174"/>
                  </a:lnTo>
                  <a:lnTo>
                    <a:pt x="636" y="174"/>
                  </a:lnTo>
                  <a:lnTo>
                    <a:pt x="630" y="174"/>
                  </a:lnTo>
                  <a:lnTo>
                    <a:pt x="624" y="174"/>
                  </a:lnTo>
                  <a:lnTo>
                    <a:pt x="618" y="174"/>
                  </a:lnTo>
                  <a:lnTo>
                    <a:pt x="612" y="174"/>
                  </a:lnTo>
                  <a:lnTo>
                    <a:pt x="606" y="174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74"/>
                  </a:lnTo>
                  <a:lnTo>
                    <a:pt x="582" y="174"/>
                  </a:lnTo>
                  <a:lnTo>
                    <a:pt x="576" y="174"/>
                  </a:lnTo>
                  <a:lnTo>
                    <a:pt x="570" y="174"/>
                  </a:lnTo>
                  <a:lnTo>
                    <a:pt x="564" y="174"/>
                  </a:lnTo>
                  <a:lnTo>
                    <a:pt x="558" y="174"/>
                  </a:lnTo>
                  <a:lnTo>
                    <a:pt x="552" y="174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0" y="174"/>
                  </a:lnTo>
                  <a:lnTo>
                    <a:pt x="504" y="174"/>
                  </a:lnTo>
                  <a:lnTo>
                    <a:pt x="498" y="174"/>
                  </a:lnTo>
                  <a:lnTo>
                    <a:pt x="492" y="174"/>
                  </a:lnTo>
                  <a:lnTo>
                    <a:pt x="486" y="174"/>
                  </a:lnTo>
                  <a:lnTo>
                    <a:pt x="480" y="174"/>
                  </a:lnTo>
                  <a:lnTo>
                    <a:pt x="474" y="174"/>
                  </a:lnTo>
                  <a:lnTo>
                    <a:pt x="468" y="174"/>
                  </a:lnTo>
                  <a:lnTo>
                    <a:pt x="462" y="174"/>
                  </a:lnTo>
                  <a:lnTo>
                    <a:pt x="456" y="174"/>
                  </a:lnTo>
                  <a:lnTo>
                    <a:pt x="450" y="180"/>
                  </a:lnTo>
                  <a:lnTo>
                    <a:pt x="450" y="186"/>
                  </a:lnTo>
                  <a:lnTo>
                    <a:pt x="450" y="192"/>
                  </a:lnTo>
                  <a:lnTo>
                    <a:pt x="444" y="192"/>
                  </a:lnTo>
                  <a:lnTo>
                    <a:pt x="444" y="186"/>
                  </a:lnTo>
                  <a:lnTo>
                    <a:pt x="444" y="180"/>
                  </a:lnTo>
                  <a:lnTo>
                    <a:pt x="450" y="180"/>
                  </a:lnTo>
                  <a:lnTo>
                    <a:pt x="450" y="174"/>
                  </a:lnTo>
                  <a:lnTo>
                    <a:pt x="450" y="168"/>
                  </a:lnTo>
                  <a:lnTo>
                    <a:pt x="450" y="162"/>
                  </a:lnTo>
                  <a:lnTo>
                    <a:pt x="456" y="162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62" y="162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74" y="168"/>
                  </a:lnTo>
                  <a:lnTo>
                    <a:pt x="480" y="168"/>
                  </a:lnTo>
                  <a:lnTo>
                    <a:pt x="480" y="162"/>
                  </a:lnTo>
                  <a:lnTo>
                    <a:pt x="480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56"/>
                  </a:lnTo>
                  <a:lnTo>
                    <a:pt x="492" y="156"/>
                  </a:lnTo>
                  <a:lnTo>
                    <a:pt x="486" y="150"/>
                  </a:lnTo>
                  <a:lnTo>
                    <a:pt x="492" y="150"/>
                  </a:lnTo>
                  <a:lnTo>
                    <a:pt x="498" y="150"/>
                  </a:lnTo>
                  <a:lnTo>
                    <a:pt x="498" y="156"/>
                  </a:lnTo>
                  <a:lnTo>
                    <a:pt x="504" y="156"/>
                  </a:lnTo>
                  <a:lnTo>
                    <a:pt x="504" y="162"/>
                  </a:lnTo>
                  <a:lnTo>
                    <a:pt x="504" y="156"/>
                  </a:lnTo>
                  <a:lnTo>
                    <a:pt x="510" y="156"/>
                  </a:lnTo>
                  <a:lnTo>
                    <a:pt x="510" y="150"/>
                  </a:lnTo>
                  <a:lnTo>
                    <a:pt x="516" y="150"/>
                  </a:lnTo>
                  <a:lnTo>
                    <a:pt x="522" y="150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28" y="150"/>
                  </a:lnTo>
                  <a:lnTo>
                    <a:pt x="528" y="144"/>
                  </a:lnTo>
                  <a:lnTo>
                    <a:pt x="540" y="144"/>
                  </a:lnTo>
                  <a:lnTo>
                    <a:pt x="546" y="144"/>
                  </a:lnTo>
                  <a:lnTo>
                    <a:pt x="552" y="138"/>
                  </a:lnTo>
                  <a:lnTo>
                    <a:pt x="552" y="132"/>
                  </a:lnTo>
                  <a:lnTo>
                    <a:pt x="558" y="132"/>
                  </a:lnTo>
                  <a:lnTo>
                    <a:pt x="558" y="126"/>
                  </a:lnTo>
                  <a:lnTo>
                    <a:pt x="558" y="120"/>
                  </a:lnTo>
                  <a:lnTo>
                    <a:pt x="558" y="114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6" y="114"/>
                  </a:lnTo>
                  <a:lnTo>
                    <a:pt x="582" y="120"/>
                  </a:lnTo>
                  <a:lnTo>
                    <a:pt x="588" y="120"/>
                  </a:lnTo>
                  <a:lnTo>
                    <a:pt x="588" y="126"/>
                  </a:lnTo>
                  <a:lnTo>
                    <a:pt x="588" y="120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600" y="114"/>
                  </a:lnTo>
                  <a:lnTo>
                    <a:pt x="606" y="114"/>
                  </a:lnTo>
                  <a:lnTo>
                    <a:pt x="618" y="114"/>
                  </a:lnTo>
                  <a:lnTo>
                    <a:pt x="618" y="108"/>
                  </a:lnTo>
                  <a:lnTo>
                    <a:pt x="624" y="108"/>
                  </a:lnTo>
                  <a:lnTo>
                    <a:pt x="624" y="102"/>
                  </a:lnTo>
                  <a:lnTo>
                    <a:pt x="630" y="102"/>
                  </a:lnTo>
                  <a:lnTo>
                    <a:pt x="636" y="102"/>
                  </a:lnTo>
                  <a:lnTo>
                    <a:pt x="636" y="108"/>
                  </a:lnTo>
                  <a:lnTo>
                    <a:pt x="642" y="108"/>
                  </a:lnTo>
                  <a:lnTo>
                    <a:pt x="648" y="108"/>
                  </a:lnTo>
                  <a:lnTo>
                    <a:pt x="648" y="102"/>
                  </a:lnTo>
                  <a:lnTo>
                    <a:pt x="654" y="102"/>
                  </a:lnTo>
                  <a:lnTo>
                    <a:pt x="660" y="102"/>
                  </a:lnTo>
                  <a:lnTo>
                    <a:pt x="660" y="96"/>
                  </a:lnTo>
                  <a:lnTo>
                    <a:pt x="660" y="90"/>
                  </a:lnTo>
                  <a:lnTo>
                    <a:pt x="666" y="90"/>
                  </a:lnTo>
                  <a:lnTo>
                    <a:pt x="666" y="84"/>
                  </a:lnTo>
                  <a:lnTo>
                    <a:pt x="672" y="78"/>
                  </a:lnTo>
                  <a:lnTo>
                    <a:pt x="672" y="72"/>
                  </a:lnTo>
                  <a:lnTo>
                    <a:pt x="678" y="66"/>
                  </a:lnTo>
                  <a:lnTo>
                    <a:pt x="684" y="66"/>
                  </a:lnTo>
                  <a:lnTo>
                    <a:pt x="684" y="60"/>
                  </a:lnTo>
                  <a:lnTo>
                    <a:pt x="690" y="60"/>
                  </a:lnTo>
                  <a:lnTo>
                    <a:pt x="696" y="60"/>
                  </a:lnTo>
                  <a:lnTo>
                    <a:pt x="702" y="60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66"/>
                  </a:lnTo>
                  <a:lnTo>
                    <a:pt x="720" y="66"/>
                  </a:lnTo>
                  <a:lnTo>
                    <a:pt x="720" y="60"/>
                  </a:lnTo>
                  <a:lnTo>
                    <a:pt x="726" y="60"/>
                  </a:lnTo>
                  <a:lnTo>
                    <a:pt x="732" y="60"/>
                  </a:lnTo>
                  <a:lnTo>
                    <a:pt x="744" y="60"/>
                  </a:lnTo>
                  <a:lnTo>
                    <a:pt x="750" y="54"/>
                  </a:lnTo>
                  <a:lnTo>
                    <a:pt x="762" y="60"/>
                  </a:lnTo>
                  <a:lnTo>
                    <a:pt x="774" y="60"/>
                  </a:lnTo>
                  <a:lnTo>
                    <a:pt x="774" y="66"/>
                  </a:lnTo>
                  <a:lnTo>
                    <a:pt x="780" y="72"/>
                  </a:lnTo>
                  <a:lnTo>
                    <a:pt x="786" y="78"/>
                  </a:lnTo>
                  <a:lnTo>
                    <a:pt x="792" y="78"/>
                  </a:lnTo>
                  <a:lnTo>
                    <a:pt x="810" y="84"/>
                  </a:lnTo>
                  <a:lnTo>
                    <a:pt x="822" y="84"/>
                  </a:lnTo>
                  <a:lnTo>
                    <a:pt x="828" y="84"/>
                  </a:lnTo>
                  <a:lnTo>
                    <a:pt x="834" y="84"/>
                  </a:lnTo>
                  <a:lnTo>
                    <a:pt x="840" y="96"/>
                  </a:lnTo>
                  <a:lnTo>
                    <a:pt x="846" y="102"/>
                  </a:lnTo>
                  <a:lnTo>
                    <a:pt x="858" y="102"/>
                  </a:lnTo>
                  <a:lnTo>
                    <a:pt x="864" y="102"/>
                  </a:lnTo>
                  <a:lnTo>
                    <a:pt x="876" y="96"/>
                  </a:lnTo>
                  <a:lnTo>
                    <a:pt x="882" y="102"/>
                  </a:lnTo>
                  <a:lnTo>
                    <a:pt x="888" y="108"/>
                  </a:lnTo>
                  <a:lnTo>
                    <a:pt x="888" y="114"/>
                  </a:lnTo>
                  <a:lnTo>
                    <a:pt x="888" y="120"/>
                  </a:lnTo>
                  <a:lnTo>
                    <a:pt x="888" y="126"/>
                  </a:lnTo>
                  <a:lnTo>
                    <a:pt x="888" y="132"/>
                  </a:lnTo>
                  <a:lnTo>
                    <a:pt x="882" y="132"/>
                  </a:lnTo>
                  <a:lnTo>
                    <a:pt x="864" y="126"/>
                  </a:lnTo>
                  <a:lnTo>
                    <a:pt x="852" y="120"/>
                  </a:lnTo>
                  <a:lnTo>
                    <a:pt x="840" y="126"/>
                  </a:lnTo>
                  <a:lnTo>
                    <a:pt x="834" y="120"/>
                  </a:lnTo>
                  <a:lnTo>
                    <a:pt x="828" y="120"/>
                  </a:lnTo>
                  <a:lnTo>
                    <a:pt x="822" y="120"/>
                  </a:lnTo>
                  <a:lnTo>
                    <a:pt x="810" y="114"/>
                  </a:lnTo>
                  <a:lnTo>
                    <a:pt x="804" y="114"/>
                  </a:lnTo>
                  <a:lnTo>
                    <a:pt x="798" y="114"/>
                  </a:lnTo>
                  <a:lnTo>
                    <a:pt x="792" y="114"/>
                  </a:lnTo>
                  <a:lnTo>
                    <a:pt x="786" y="114"/>
                  </a:lnTo>
                  <a:lnTo>
                    <a:pt x="780" y="114"/>
                  </a:lnTo>
                  <a:lnTo>
                    <a:pt x="780" y="126"/>
                  </a:lnTo>
                  <a:lnTo>
                    <a:pt x="786" y="126"/>
                  </a:lnTo>
                  <a:lnTo>
                    <a:pt x="798" y="126"/>
                  </a:lnTo>
                  <a:lnTo>
                    <a:pt x="804" y="126"/>
                  </a:lnTo>
                  <a:lnTo>
                    <a:pt x="822" y="132"/>
                  </a:lnTo>
                  <a:lnTo>
                    <a:pt x="828" y="132"/>
                  </a:lnTo>
                  <a:lnTo>
                    <a:pt x="834" y="132"/>
                  </a:lnTo>
                  <a:lnTo>
                    <a:pt x="840" y="144"/>
                  </a:lnTo>
                  <a:lnTo>
                    <a:pt x="846" y="150"/>
                  </a:lnTo>
                  <a:lnTo>
                    <a:pt x="858" y="150"/>
                  </a:lnTo>
                  <a:lnTo>
                    <a:pt x="864" y="162"/>
                  </a:lnTo>
                  <a:lnTo>
                    <a:pt x="870" y="162"/>
                  </a:lnTo>
                  <a:lnTo>
                    <a:pt x="876" y="168"/>
                  </a:lnTo>
                  <a:lnTo>
                    <a:pt x="888" y="168"/>
                  </a:lnTo>
                  <a:lnTo>
                    <a:pt x="894" y="174"/>
                  </a:lnTo>
                  <a:lnTo>
                    <a:pt x="900" y="174"/>
                  </a:lnTo>
                  <a:lnTo>
                    <a:pt x="918" y="174"/>
                  </a:lnTo>
                  <a:lnTo>
                    <a:pt x="924" y="174"/>
                  </a:lnTo>
                  <a:lnTo>
                    <a:pt x="930" y="174"/>
                  </a:lnTo>
                  <a:lnTo>
                    <a:pt x="942" y="174"/>
                  </a:lnTo>
                  <a:lnTo>
                    <a:pt x="954" y="174"/>
                  </a:lnTo>
                  <a:lnTo>
                    <a:pt x="960" y="174"/>
                  </a:lnTo>
                  <a:lnTo>
                    <a:pt x="966" y="174"/>
                  </a:lnTo>
                  <a:lnTo>
                    <a:pt x="966" y="168"/>
                  </a:lnTo>
                  <a:lnTo>
                    <a:pt x="972" y="162"/>
                  </a:lnTo>
                  <a:lnTo>
                    <a:pt x="972" y="156"/>
                  </a:lnTo>
                  <a:close/>
                  <a:moveTo>
                    <a:pt x="942" y="174"/>
                  </a:moveTo>
                  <a:lnTo>
                    <a:pt x="936" y="174"/>
                  </a:lnTo>
                  <a:lnTo>
                    <a:pt x="936" y="168"/>
                  </a:lnTo>
                  <a:lnTo>
                    <a:pt x="936" y="162"/>
                  </a:lnTo>
                  <a:lnTo>
                    <a:pt x="948" y="162"/>
                  </a:lnTo>
                  <a:lnTo>
                    <a:pt x="948" y="156"/>
                  </a:lnTo>
                  <a:lnTo>
                    <a:pt x="954" y="156"/>
                  </a:lnTo>
                  <a:lnTo>
                    <a:pt x="960" y="156"/>
                  </a:lnTo>
                  <a:lnTo>
                    <a:pt x="966" y="156"/>
                  </a:lnTo>
                  <a:lnTo>
                    <a:pt x="966" y="162"/>
                  </a:lnTo>
                  <a:lnTo>
                    <a:pt x="960" y="168"/>
                  </a:lnTo>
                  <a:lnTo>
                    <a:pt x="942" y="174"/>
                  </a:lnTo>
                  <a:close/>
                  <a:moveTo>
                    <a:pt x="900" y="168"/>
                  </a:moveTo>
                  <a:lnTo>
                    <a:pt x="894" y="168"/>
                  </a:lnTo>
                  <a:lnTo>
                    <a:pt x="882" y="156"/>
                  </a:lnTo>
                  <a:lnTo>
                    <a:pt x="882" y="150"/>
                  </a:lnTo>
                  <a:lnTo>
                    <a:pt x="888" y="156"/>
                  </a:lnTo>
                  <a:lnTo>
                    <a:pt x="894" y="150"/>
                  </a:lnTo>
                  <a:lnTo>
                    <a:pt x="900" y="150"/>
                  </a:lnTo>
                  <a:lnTo>
                    <a:pt x="906" y="150"/>
                  </a:lnTo>
                  <a:lnTo>
                    <a:pt x="912" y="150"/>
                  </a:lnTo>
                  <a:lnTo>
                    <a:pt x="924" y="150"/>
                  </a:lnTo>
                  <a:lnTo>
                    <a:pt x="924" y="156"/>
                  </a:lnTo>
                  <a:lnTo>
                    <a:pt x="924" y="162"/>
                  </a:lnTo>
                  <a:lnTo>
                    <a:pt x="924" y="168"/>
                  </a:lnTo>
                  <a:lnTo>
                    <a:pt x="918" y="168"/>
                  </a:lnTo>
                  <a:lnTo>
                    <a:pt x="906" y="168"/>
                  </a:lnTo>
                  <a:lnTo>
                    <a:pt x="900" y="168"/>
                  </a:lnTo>
                  <a:close/>
                  <a:moveTo>
                    <a:pt x="870" y="162"/>
                  </a:moveTo>
                  <a:lnTo>
                    <a:pt x="876" y="162"/>
                  </a:lnTo>
                  <a:lnTo>
                    <a:pt x="876" y="168"/>
                  </a:lnTo>
                  <a:lnTo>
                    <a:pt x="870" y="168"/>
                  </a:lnTo>
                  <a:lnTo>
                    <a:pt x="870" y="162"/>
                  </a:lnTo>
                  <a:close/>
                  <a:moveTo>
                    <a:pt x="450" y="162"/>
                  </a:moveTo>
                  <a:lnTo>
                    <a:pt x="444" y="162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2" y="150"/>
                  </a:lnTo>
                  <a:lnTo>
                    <a:pt x="438" y="150"/>
                  </a:lnTo>
                  <a:lnTo>
                    <a:pt x="438" y="144"/>
                  </a:lnTo>
                  <a:lnTo>
                    <a:pt x="438" y="150"/>
                  </a:lnTo>
                  <a:lnTo>
                    <a:pt x="444" y="150"/>
                  </a:lnTo>
                  <a:lnTo>
                    <a:pt x="450" y="150"/>
                  </a:lnTo>
                  <a:lnTo>
                    <a:pt x="450" y="156"/>
                  </a:lnTo>
                  <a:lnTo>
                    <a:pt x="456" y="156"/>
                  </a:lnTo>
                  <a:lnTo>
                    <a:pt x="456" y="150"/>
                  </a:lnTo>
                  <a:lnTo>
                    <a:pt x="456" y="156"/>
                  </a:lnTo>
                  <a:lnTo>
                    <a:pt x="462" y="150"/>
                  </a:lnTo>
                  <a:lnTo>
                    <a:pt x="462" y="144"/>
                  </a:lnTo>
                  <a:lnTo>
                    <a:pt x="468" y="144"/>
                  </a:lnTo>
                  <a:lnTo>
                    <a:pt x="468" y="150"/>
                  </a:lnTo>
                  <a:lnTo>
                    <a:pt x="474" y="150"/>
                  </a:lnTo>
                  <a:lnTo>
                    <a:pt x="480" y="150"/>
                  </a:lnTo>
                  <a:lnTo>
                    <a:pt x="480" y="156"/>
                  </a:lnTo>
                  <a:lnTo>
                    <a:pt x="480" y="162"/>
                  </a:lnTo>
                  <a:lnTo>
                    <a:pt x="474" y="162"/>
                  </a:lnTo>
                  <a:lnTo>
                    <a:pt x="474" y="168"/>
                  </a:lnTo>
                  <a:lnTo>
                    <a:pt x="474" y="162"/>
                  </a:lnTo>
                  <a:lnTo>
                    <a:pt x="468" y="162"/>
                  </a:lnTo>
                  <a:lnTo>
                    <a:pt x="462" y="162"/>
                  </a:lnTo>
                  <a:lnTo>
                    <a:pt x="456" y="162"/>
                  </a:lnTo>
                  <a:lnTo>
                    <a:pt x="450" y="16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6" name="Freeform 31">
              <a:extLst>
                <a:ext uri="{FF2B5EF4-FFF2-40B4-BE49-F238E27FC236}">
                  <a16:creationId xmlns:a16="http://schemas.microsoft.com/office/drawing/2014/main" id="{0989F057-38E8-4AA5-8B73-27F6355E235C}"/>
                </a:ext>
              </a:extLst>
            </p:cNvPr>
            <p:cNvSpPr>
              <a:spLocks/>
            </p:cNvSpPr>
            <p:nvPr/>
          </p:nvSpPr>
          <p:spPr bwMode="gray">
            <a:xfrm>
              <a:off x="792590" y="2728084"/>
              <a:ext cx="1182944" cy="740282"/>
            </a:xfrm>
            <a:custGeom>
              <a:avLst/>
              <a:gdLst>
                <a:gd name="T0" fmla="*/ 138 w 2226"/>
                <a:gd name="T1" fmla="*/ 121 h 1392"/>
                <a:gd name="T2" fmla="*/ 133 w 2226"/>
                <a:gd name="T3" fmla="*/ 119 h 1392"/>
                <a:gd name="T4" fmla="*/ 128 w 2226"/>
                <a:gd name="T5" fmla="*/ 117 h 1392"/>
                <a:gd name="T6" fmla="*/ 119 w 2226"/>
                <a:gd name="T7" fmla="*/ 116 h 1392"/>
                <a:gd name="T8" fmla="*/ 101 w 2226"/>
                <a:gd name="T9" fmla="*/ 116 h 1392"/>
                <a:gd name="T10" fmla="*/ 94 w 2226"/>
                <a:gd name="T11" fmla="*/ 104 h 1392"/>
                <a:gd name="T12" fmla="*/ 82 w 2226"/>
                <a:gd name="T13" fmla="*/ 83 h 1392"/>
                <a:gd name="T14" fmla="*/ 87 w 2226"/>
                <a:gd name="T15" fmla="*/ 69 h 1392"/>
                <a:gd name="T16" fmla="*/ 82 w 2226"/>
                <a:gd name="T17" fmla="*/ 65 h 1392"/>
                <a:gd name="T18" fmla="*/ 59 w 2226"/>
                <a:gd name="T19" fmla="*/ 57 h 1392"/>
                <a:gd name="T20" fmla="*/ 29 w 2226"/>
                <a:gd name="T21" fmla="*/ 77 h 1392"/>
                <a:gd name="T22" fmla="*/ 20 w 2226"/>
                <a:gd name="T23" fmla="*/ 78 h 1392"/>
                <a:gd name="T24" fmla="*/ 15 w 2226"/>
                <a:gd name="T25" fmla="*/ 82 h 1392"/>
                <a:gd name="T26" fmla="*/ 8 w 2226"/>
                <a:gd name="T27" fmla="*/ 86 h 1392"/>
                <a:gd name="T28" fmla="*/ 1 w 2226"/>
                <a:gd name="T29" fmla="*/ 88 h 1392"/>
                <a:gd name="T30" fmla="*/ 0 w 2226"/>
                <a:gd name="T31" fmla="*/ 82 h 1392"/>
                <a:gd name="T32" fmla="*/ 0 w 2226"/>
                <a:gd name="T33" fmla="*/ 76 h 1392"/>
                <a:gd name="T34" fmla="*/ 2 w 2226"/>
                <a:gd name="T35" fmla="*/ 70 h 1392"/>
                <a:gd name="T36" fmla="*/ 3 w 2226"/>
                <a:gd name="T37" fmla="*/ 65 h 1392"/>
                <a:gd name="T38" fmla="*/ 2 w 2226"/>
                <a:gd name="T39" fmla="*/ 63 h 1392"/>
                <a:gd name="T40" fmla="*/ 9 w 2226"/>
                <a:gd name="T41" fmla="*/ 60 h 1392"/>
                <a:gd name="T42" fmla="*/ 17 w 2226"/>
                <a:gd name="T43" fmla="*/ 59 h 1392"/>
                <a:gd name="T44" fmla="*/ 22 w 2226"/>
                <a:gd name="T45" fmla="*/ 51 h 1392"/>
                <a:gd name="T46" fmla="*/ 23 w 2226"/>
                <a:gd name="T47" fmla="*/ 43 h 1392"/>
                <a:gd name="T48" fmla="*/ 27 w 2226"/>
                <a:gd name="T49" fmla="*/ 34 h 1392"/>
                <a:gd name="T50" fmla="*/ 30 w 2226"/>
                <a:gd name="T51" fmla="*/ 27 h 1392"/>
                <a:gd name="T52" fmla="*/ 33 w 2226"/>
                <a:gd name="T53" fmla="*/ 22 h 1392"/>
                <a:gd name="T54" fmla="*/ 42 w 2226"/>
                <a:gd name="T55" fmla="*/ 17 h 1392"/>
                <a:gd name="T56" fmla="*/ 47 w 2226"/>
                <a:gd name="T57" fmla="*/ 14 h 1392"/>
                <a:gd name="T58" fmla="*/ 49 w 2226"/>
                <a:gd name="T59" fmla="*/ 5 h 1392"/>
                <a:gd name="T60" fmla="*/ 53 w 2226"/>
                <a:gd name="T61" fmla="*/ 0 h 1392"/>
                <a:gd name="T62" fmla="*/ 55 w 2226"/>
                <a:gd name="T63" fmla="*/ 4 h 1392"/>
                <a:gd name="T64" fmla="*/ 59 w 2226"/>
                <a:gd name="T65" fmla="*/ 7 h 1392"/>
                <a:gd name="T66" fmla="*/ 63 w 2226"/>
                <a:gd name="T67" fmla="*/ 7 h 1392"/>
                <a:gd name="T68" fmla="*/ 66 w 2226"/>
                <a:gd name="T69" fmla="*/ 9 h 1392"/>
                <a:gd name="T70" fmla="*/ 67 w 2226"/>
                <a:gd name="T71" fmla="*/ 12 h 1392"/>
                <a:gd name="T72" fmla="*/ 67 w 2226"/>
                <a:gd name="T73" fmla="*/ 13 h 1392"/>
                <a:gd name="T74" fmla="*/ 70 w 2226"/>
                <a:gd name="T75" fmla="*/ 15 h 1392"/>
                <a:gd name="T76" fmla="*/ 74 w 2226"/>
                <a:gd name="T77" fmla="*/ 17 h 1392"/>
                <a:gd name="T78" fmla="*/ 78 w 2226"/>
                <a:gd name="T79" fmla="*/ 18 h 1392"/>
                <a:gd name="T80" fmla="*/ 97 w 2226"/>
                <a:gd name="T81" fmla="*/ 40 h 1392"/>
                <a:gd name="T82" fmla="*/ 102 w 2226"/>
                <a:gd name="T83" fmla="*/ 44 h 1392"/>
                <a:gd name="T84" fmla="*/ 110 w 2226"/>
                <a:gd name="T85" fmla="*/ 49 h 1392"/>
                <a:gd name="T86" fmla="*/ 113 w 2226"/>
                <a:gd name="T87" fmla="*/ 53 h 1392"/>
                <a:gd name="T88" fmla="*/ 118 w 2226"/>
                <a:gd name="T89" fmla="*/ 57 h 1392"/>
                <a:gd name="T90" fmla="*/ 124 w 2226"/>
                <a:gd name="T91" fmla="*/ 54 h 1392"/>
                <a:gd name="T92" fmla="*/ 133 w 2226"/>
                <a:gd name="T93" fmla="*/ 58 h 1392"/>
                <a:gd name="T94" fmla="*/ 137 w 2226"/>
                <a:gd name="T95" fmla="*/ 64 h 1392"/>
                <a:gd name="T96" fmla="*/ 145 w 2226"/>
                <a:gd name="T97" fmla="*/ 65 h 1392"/>
                <a:gd name="T98" fmla="*/ 152 w 2226"/>
                <a:gd name="T99" fmla="*/ 67 h 1392"/>
                <a:gd name="T100" fmla="*/ 161 w 2226"/>
                <a:gd name="T101" fmla="*/ 72 h 1392"/>
                <a:gd name="T102" fmla="*/ 168 w 2226"/>
                <a:gd name="T103" fmla="*/ 76 h 1392"/>
                <a:gd name="T104" fmla="*/ 177 w 2226"/>
                <a:gd name="T105" fmla="*/ 78 h 1392"/>
                <a:gd name="T106" fmla="*/ 184 w 2226"/>
                <a:gd name="T107" fmla="*/ 78 h 1392"/>
                <a:gd name="T108" fmla="*/ 190 w 2226"/>
                <a:gd name="T109" fmla="*/ 81 h 1392"/>
                <a:gd name="T110" fmla="*/ 192 w 2226"/>
                <a:gd name="T111" fmla="*/ 86 h 1392"/>
                <a:gd name="T112" fmla="*/ 187 w 2226"/>
                <a:gd name="T113" fmla="*/ 99 h 1392"/>
                <a:gd name="T114" fmla="*/ 165 w 2226"/>
                <a:gd name="T115" fmla="*/ 97 h 1392"/>
                <a:gd name="T116" fmla="*/ 155 w 2226"/>
                <a:gd name="T117" fmla="*/ 92 h 1392"/>
                <a:gd name="T118" fmla="*/ 146 w 2226"/>
                <a:gd name="T119" fmla="*/ 102 h 1392"/>
                <a:gd name="T120" fmla="*/ 149 w 2226"/>
                <a:gd name="T121" fmla="*/ 106 h 1392"/>
                <a:gd name="T122" fmla="*/ 151 w 2226"/>
                <a:gd name="T123" fmla="*/ 108 h 1392"/>
                <a:gd name="T124" fmla="*/ 157 w 2226"/>
                <a:gd name="T125" fmla="*/ 113 h 13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1392"/>
                <a:gd name="T191" fmla="*/ 2226 w 2226"/>
                <a:gd name="T192" fmla="*/ 1392 h 13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1392">
                  <a:moveTo>
                    <a:pt x="1782" y="1326"/>
                  </a:moveTo>
                  <a:lnTo>
                    <a:pt x="1776" y="1332"/>
                  </a:lnTo>
                  <a:lnTo>
                    <a:pt x="1692" y="1338"/>
                  </a:lnTo>
                  <a:lnTo>
                    <a:pt x="1680" y="1386"/>
                  </a:lnTo>
                  <a:lnTo>
                    <a:pt x="1674" y="1392"/>
                  </a:lnTo>
                  <a:lnTo>
                    <a:pt x="1638" y="1392"/>
                  </a:lnTo>
                  <a:lnTo>
                    <a:pt x="1620" y="1392"/>
                  </a:lnTo>
                  <a:lnTo>
                    <a:pt x="1614" y="1392"/>
                  </a:lnTo>
                  <a:lnTo>
                    <a:pt x="1608" y="1386"/>
                  </a:lnTo>
                  <a:lnTo>
                    <a:pt x="1584" y="1386"/>
                  </a:lnTo>
                  <a:lnTo>
                    <a:pt x="1578" y="1386"/>
                  </a:lnTo>
                  <a:lnTo>
                    <a:pt x="1572" y="1380"/>
                  </a:lnTo>
                  <a:lnTo>
                    <a:pt x="1578" y="1356"/>
                  </a:lnTo>
                  <a:lnTo>
                    <a:pt x="1572" y="1356"/>
                  </a:lnTo>
                  <a:lnTo>
                    <a:pt x="1560" y="1350"/>
                  </a:lnTo>
                  <a:lnTo>
                    <a:pt x="1554" y="1350"/>
                  </a:lnTo>
                  <a:lnTo>
                    <a:pt x="1542" y="1350"/>
                  </a:lnTo>
                  <a:lnTo>
                    <a:pt x="1530" y="1350"/>
                  </a:lnTo>
                  <a:lnTo>
                    <a:pt x="1524" y="1356"/>
                  </a:lnTo>
                  <a:lnTo>
                    <a:pt x="1524" y="1362"/>
                  </a:lnTo>
                  <a:lnTo>
                    <a:pt x="1512" y="1374"/>
                  </a:lnTo>
                  <a:lnTo>
                    <a:pt x="1506" y="1374"/>
                  </a:lnTo>
                  <a:lnTo>
                    <a:pt x="1500" y="1368"/>
                  </a:lnTo>
                  <a:lnTo>
                    <a:pt x="1500" y="1362"/>
                  </a:lnTo>
                  <a:lnTo>
                    <a:pt x="1488" y="1362"/>
                  </a:lnTo>
                  <a:lnTo>
                    <a:pt x="1482" y="1356"/>
                  </a:lnTo>
                  <a:lnTo>
                    <a:pt x="1482" y="1350"/>
                  </a:lnTo>
                  <a:lnTo>
                    <a:pt x="1476" y="1350"/>
                  </a:lnTo>
                  <a:lnTo>
                    <a:pt x="1470" y="1344"/>
                  </a:lnTo>
                  <a:lnTo>
                    <a:pt x="1464" y="1344"/>
                  </a:lnTo>
                  <a:lnTo>
                    <a:pt x="1452" y="1350"/>
                  </a:lnTo>
                  <a:lnTo>
                    <a:pt x="1452" y="1356"/>
                  </a:lnTo>
                  <a:lnTo>
                    <a:pt x="1440" y="1356"/>
                  </a:lnTo>
                  <a:lnTo>
                    <a:pt x="1434" y="1344"/>
                  </a:lnTo>
                  <a:lnTo>
                    <a:pt x="1422" y="1332"/>
                  </a:lnTo>
                  <a:lnTo>
                    <a:pt x="1416" y="1326"/>
                  </a:lnTo>
                  <a:lnTo>
                    <a:pt x="1404" y="1320"/>
                  </a:lnTo>
                  <a:lnTo>
                    <a:pt x="1404" y="1314"/>
                  </a:lnTo>
                  <a:lnTo>
                    <a:pt x="1374" y="1308"/>
                  </a:lnTo>
                  <a:lnTo>
                    <a:pt x="1368" y="1326"/>
                  </a:lnTo>
                  <a:lnTo>
                    <a:pt x="1344" y="1338"/>
                  </a:lnTo>
                  <a:lnTo>
                    <a:pt x="1326" y="1332"/>
                  </a:lnTo>
                  <a:lnTo>
                    <a:pt x="1302" y="1332"/>
                  </a:lnTo>
                  <a:lnTo>
                    <a:pt x="1278" y="1338"/>
                  </a:lnTo>
                  <a:lnTo>
                    <a:pt x="1236" y="1338"/>
                  </a:lnTo>
                  <a:lnTo>
                    <a:pt x="1224" y="1338"/>
                  </a:lnTo>
                  <a:lnTo>
                    <a:pt x="1224" y="1326"/>
                  </a:lnTo>
                  <a:lnTo>
                    <a:pt x="1206" y="1326"/>
                  </a:lnTo>
                  <a:lnTo>
                    <a:pt x="1170" y="1326"/>
                  </a:lnTo>
                  <a:lnTo>
                    <a:pt x="1152" y="1326"/>
                  </a:lnTo>
                  <a:lnTo>
                    <a:pt x="1140" y="1314"/>
                  </a:lnTo>
                  <a:lnTo>
                    <a:pt x="1134" y="1296"/>
                  </a:lnTo>
                  <a:lnTo>
                    <a:pt x="1134" y="1284"/>
                  </a:lnTo>
                  <a:lnTo>
                    <a:pt x="1128" y="1254"/>
                  </a:lnTo>
                  <a:lnTo>
                    <a:pt x="1128" y="1242"/>
                  </a:lnTo>
                  <a:lnTo>
                    <a:pt x="1122" y="1230"/>
                  </a:lnTo>
                  <a:lnTo>
                    <a:pt x="1104" y="1218"/>
                  </a:lnTo>
                  <a:lnTo>
                    <a:pt x="1104" y="1212"/>
                  </a:lnTo>
                  <a:lnTo>
                    <a:pt x="1092" y="1206"/>
                  </a:lnTo>
                  <a:lnTo>
                    <a:pt x="1080" y="1194"/>
                  </a:lnTo>
                  <a:lnTo>
                    <a:pt x="1068" y="1176"/>
                  </a:lnTo>
                  <a:lnTo>
                    <a:pt x="1050" y="1152"/>
                  </a:lnTo>
                  <a:lnTo>
                    <a:pt x="1020" y="1098"/>
                  </a:lnTo>
                  <a:lnTo>
                    <a:pt x="978" y="1026"/>
                  </a:lnTo>
                  <a:lnTo>
                    <a:pt x="978" y="1014"/>
                  </a:lnTo>
                  <a:lnTo>
                    <a:pt x="972" y="1014"/>
                  </a:lnTo>
                  <a:lnTo>
                    <a:pt x="972" y="1008"/>
                  </a:lnTo>
                  <a:lnTo>
                    <a:pt x="978" y="1002"/>
                  </a:lnTo>
                  <a:lnTo>
                    <a:pt x="960" y="966"/>
                  </a:lnTo>
                  <a:lnTo>
                    <a:pt x="948" y="954"/>
                  </a:lnTo>
                  <a:lnTo>
                    <a:pt x="948" y="936"/>
                  </a:lnTo>
                  <a:lnTo>
                    <a:pt x="936" y="900"/>
                  </a:lnTo>
                  <a:lnTo>
                    <a:pt x="942" y="876"/>
                  </a:lnTo>
                  <a:lnTo>
                    <a:pt x="942" y="834"/>
                  </a:lnTo>
                  <a:lnTo>
                    <a:pt x="960" y="828"/>
                  </a:lnTo>
                  <a:lnTo>
                    <a:pt x="966" y="816"/>
                  </a:lnTo>
                  <a:lnTo>
                    <a:pt x="972" y="810"/>
                  </a:lnTo>
                  <a:lnTo>
                    <a:pt x="978" y="804"/>
                  </a:lnTo>
                  <a:lnTo>
                    <a:pt x="996" y="798"/>
                  </a:lnTo>
                  <a:lnTo>
                    <a:pt x="996" y="792"/>
                  </a:lnTo>
                  <a:lnTo>
                    <a:pt x="1014" y="780"/>
                  </a:lnTo>
                  <a:lnTo>
                    <a:pt x="1026" y="768"/>
                  </a:lnTo>
                  <a:lnTo>
                    <a:pt x="1032" y="762"/>
                  </a:lnTo>
                  <a:lnTo>
                    <a:pt x="1026" y="756"/>
                  </a:lnTo>
                  <a:lnTo>
                    <a:pt x="1014" y="744"/>
                  </a:lnTo>
                  <a:lnTo>
                    <a:pt x="996" y="756"/>
                  </a:lnTo>
                  <a:lnTo>
                    <a:pt x="954" y="768"/>
                  </a:lnTo>
                  <a:lnTo>
                    <a:pt x="942" y="762"/>
                  </a:lnTo>
                  <a:lnTo>
                    <a:pt x="942" y="756"/>
                  </a:lnTo>
                  <a:lnTo>
                    <a:pt x="936" y="750"/>
                  </a:lnTo>
                  <a:lnTo>
                    <a:pt x="846" y="732"/>
                  </a:lnTo>
                  <a:lnTo>
                    <a:pt x="822" y="726"/>
                  </a:lnTo>
                  <a:lnTo>
                    <a:pt x="810" y="714"/>
                  </a:lnTo>
                  <a:lnTo>
                    <a:pt x="792" y="690"/>
                  </a:lnTo>
                  <a:lnTo>
                    <a:pt x="792" y="678"/>
                  </a:lnTo>
                  <a:lnTo>
                    <a:pt x="762" y="642"/>
                  </a:lnTo>
                  <a:lnTo>
                    <a:pt x="750" y="636"/>
                  </a:lnTo>
                  <a:lnTo>
                    <a:pt x="726" y="630"/>
                  </a:lnTo>
                  <a:lnTo>
                    <a:pt x="696" y="642"/>
                  </a:lnTo>
                  <a:lnTo>
                    <a:pt x="678" y="654"/>
                  </a:lnTo>
                  <a:lnTo>
                    <a:pt x="666" y="684"/>
                  </a:lnTo>
                  <a:lnTo>
                    <a:pt x="660" y="726"/>
                  </a:lnTo>
                  <a:lnTo>
                    <a:pt x="606" y="756"/>
                  </a:lnTo>
                  <a:lnTo>
                    <a:pt x="558" y="780"/>
                  </a:lnTo>
                  <a:lnTo>
                    <a:pt x="438" y="834"/>
                  </a:lnTo>
                  <a:lnTo>
                    <a:pt x="402" y="846"/>
                  </a:lnTo>
                  <a:lnTo>
                    <a:pt x="372" y="870"/>
                  </a:lnTo>
                  <a:lnTo>
                    <a:pt x="360" y="876"/>
                  </a:lnTo>
                  <a:lnTo>
                    <a:pt x="354" y="876"/>
                  </a:lnTo>
                  <a:lnTo>
                    <a:pt x="330" y="882"/>
                  </a:lnTo>
                  <a:lnTo>
                    <a:pt x="306" y="882"/>
                  </a:lnTo>
                  <a:lnTo>
                    <a:pt x="300" y="876"/>
                  </a:lnTo>
                  <a:lnTo>
                    <a:pt x="294" y="876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76" y="864"/>
                  </a:lnTo>
                  <a:lnTo>
                    <a:pt x="270" y="870"/>
                  </a:lnTo>
                  <a:lnTo>
                    <a:pt x="264" y="870"/>
                  </a:lnTo>
                  <a:lnTo>
                    <a:pt x="240" y="894"/>
                  </a:lnTo>
                  <a:lnTo>
                    <a:pt x="234" y="894"/>
                  </a:lnTo>
                  <a:lnTo>
                    <a:pt x="228" y="900"/>
                  </a:lnTo>
                  <a:lnTo>
                    <a:pt x="222" y="906"/>
                  </a:lnTo>
                  <a:lnTo>
                    <a:pt x="210" y="912"/>
                  </a:lnTo>
                  <a:lnTo>
                    <a:pt x="204" y="912"/>
                  </a:lnTo>
                  <a:lnTo>
                    <a:pt x="198" y="912"/>
                  </a:lnTo>
                  <a:lnTo>
                    <a:pt x="192" y="918"/>
                  </a:lnTo>
                  <a:lnTo>
                    <a:pt x="180" y="918"/>
                  </a:lnTo>
                  <a:lnTo>
                    <a:pt x="174" y="930"/>
                  </a:lnTo>
                  <a:lnTo>
                    <a:pt x="174" y="936"/>
                  </a:lnTo>
                  <a:lnTo>
                    <a:pt x="168" y="942"/>
                  </a:lnTo>
                  <a:lnTo>
                    <a:pt x="162" y="942"/>
                  </a:lnTo>
                  <a:lnTo>
                    <a:pt x="150" y="960"/>
                  </a:lnTo>
                  <a:lnTo>
                    <a:pt x="144" y="966"/>
                  </a:lnTo>
                  <a:lnTo>
                    <a:pt x="138" y="972"/>
                  </a:lnTo>
                  <a:lnTo>
                    <a:pt x="132" y="972"/>
                  </a:lnTo>
                  <a:lnTo>
                    <a:pt x="126" y="984"/>
                  </a:lnTo>
                  <a:lnTo>
                    <a:pt x="120" y="984"/>
                  </a:lnTo>
                  <a:lnTo>
                    <a:pt x="114" y="990"/>
                  </a:lnTo>
                  <a:lnTo>
                    <a:pt x="96" y="990"/>
                  </a:lnTo>
                  <a:lnTo>
                    <a:pt x="90" y="990"/>
                  </a:lnTo>
                  <a:lnTo>
                    <a:pt x="78" y="990"/>
                  </a:lnTo>
                  <a:lnTo>
                    <a:pt x="72" y="990"/>
                  </a:lnTo>
                  <a:lnTo>
                    <a:pt x="60" y="990"/>
                  </a:lnTo>
                  <a:lnTo>
                    <a:pt x="42" y="990"/>
                  </a:lnTo>
                  <a:lnTo>
                    <a:pt x="36" y="996"/>
                  </a:lnTo>
                  <a:lnTo>
                    <a:pt x="30" y="1002"/>
                  </a:lnTo>
                  <a:lnTo>
                    <a:pt x="24" y="1014"/>
                  </a:lnTo>
                  <a:lnTo>
                    <a:pt x="24" y="1020"/>
                  </a:lnTo>
                  <a:lnTo>
                    <a:pt x="18" y="1020"/>
                  </a:lnTo>
                  <a:lnTo>
                    <a:pt x="12" y="1014"/>
                  </a:lnTo>
                  <a:lnTo>
                    <a:pt x="12" y="1008"/>
                  </a:lnTo>
                  <a:lnTo>
                    <a:pt x="12" y="990"/>
                  </a:lnTo>
                  <a:lnTo>
                    <a:pt x="12" y="984"/>
                  </a:lnTo>
                  <a:lnTo>
                    <a:pt x="12" y="972"/>
                  </a:lnTo>
                  <a:lnTo>
                    <a:pt x="12" y="966"/>
                  </a:lnTo>
                  <a:lnTo>
                    <a:pt x="6" y="966"/>
                  </a:lnTo>
                  <a:lnTo>
                    <a:pt x="6" y="960"/>
                  </a:lnTo>
                  <a:lnTo>
                    <a:pt x="6" y="954"/>
                  </a:lnTo>
                  <a:lnTo>
                    <a:pt x="6" y="948"/>
                  </a:lnTo>
                  <a:lnTo>
                    <a:pt x="6" y="942"/>
                  </a:lnTo>
                  <a:lnTo>
                    <a:pt x="12" y="930"/>
                  </a:lnTo>
                  <a:lnTo>
                    <a:pt x="6" y="924"/>
                  </a:lnTo>
                  <a:lnTo>
                    <a:pt x="6" y="918"/>
                  </a:lnTo>
                  <a:lnTo>
                    <a:pt x="6" y="912"/>
                  </a:lnTo>
                  <a:lnTo>
                    <a:pt x="6" y="906"/>
                  </a:lnTo>
                  <a:lnTo>
                    <a:pt x="6" y="900"/>
                  </a:lnTo>
                  <a:lnTo>
                    <a:pt x="0" y="894"/>
                  </a:lnTo>
                  <a:lnTo>
                    <a:pt x="0" y="888"/>
                  </a:lnTo>
                  <a:lnTo>
                    <a:pt x="0" y="882"/>
                  </a:lnTo>
                  <a:lnTo>
                    <a:pt x="6" y="876"/>
                  </a:lnTo>
                  <a:lnTo>
                    <a:pt x="6" y="870"/>
                  </a:lnTo>
                  <a:lnTo>
                    <a:pt x="18" y="864"/>
                  </a:lnTo>
                  <a:lnTo>
                    <a:pt x="18" y="858"/>
                  </a:lnTo>
                  <a:lnTo>
                    <a:pt x="18" y="846"/>
                  </a:lnTo>
                  <a:lnTo>
                    <a:pt x="18" y="834"/>
                  </a:lnTo>
                  <a:lnTo>
                    <a:pt x="18" y="828"/>
                  </a:lnTo>
                  <a:lnTo>
                    <a:pt x="24" y="828"/>
                  </a:lnTo>
                  <a:lnTo>
                    <a:pt x="24" y="810"/>
                  </a:lnTo>
                  <a:lnTo>
                    <a:pt x="24" y="804"/>
                  </a:lnTo>
                  <a:lnTo>
                    <a:pt x="18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24" y="792"/>
                  </a:lnTo>
                  <a:lnTo>
                    <a:pt x="30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6" y="762"/>
                  </a:lnTo>
                  <a:lnTo>
                    <a:pt x="36" y="756"/>
                  </a:lnTo>
                  <a:lnTo>
                    <a:pt x="30" y="756"/>
                  </a:lnTo>
                  <a:lnTo>
                    <a:pt x="30" y="750"/>
                  </a:lnTo>
                  <a:lnTo>
                    <a:pt x="36" y="750"/>
                  </a:lnTo>
                  <a:lnTo>
                    <a:pt x="36" y="744"/>
                  </a:lnTo>
                  <a:lnTo>
                    <a:pt x="30" y="744"/>
                  </a:lnTo>
                  <a:lnTo>
                    <a:pt x="30" y="738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0" y="732"/>
                  </a:lnTo>
                  <a:lnTo>
                    <a:pt x="36" y="726"/>
                  </a:lnTo>
                  <a:lnTo>
                    <a:pt x="30" y="726"/>
                  </a:lnTo>
                  <a:lnTo>
                    <a:pt x="24" y="726"/>
                  </a:lnTo>
                  <a:lnTo>
                    <a:pt x="30" y="720"/>
                  </a:lnTo>
                  <a:lnTo>
                    <a:pt x="30" y="714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696"/>
                  </a:lnTo>
                  <a:lnTo>
                    <a:pt x="66" y="702"/>
                  </a:lnTo>
                  <a:lnTo>
                    <a:pt x="78" y="702"/>
                  </a:lnTo>
                  <a:lnTo>
                    <a:pt x="84" y="702"/>
                  </a:lnTo>
                  <a:lnTo>
                    <a:pt x="96" y="696"/>
                  </a:lnTo>
                  <a:lnTo>
                    <a:pt x="102" y="690"/>
                  </a:lnTo>
                  <a:lnTo>
                    <a:pt x="102" y="684"/>
                  </a:lnTo>
                  <a:lnTo>
                    <a:pt x="114" y="684"/>
                  </a:lnTo>
                  <a:lnTo>
                    <a:pt x="144" y="684"/>
                  </a:lnTo>
                  <a:lnTo>
                    <a:pt x="150" y="690"/>
                  </a:lnTo>
                  <a:lnTo>
                    <a:pt x="162" y="696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6" y="690"/>
                  </a:lnTo>
                  <a:lnTo>
                    <a:pt x="192" y="690"/>
                  </a:lnTo>
                  <a:lnTo>
                    <a:pt x="198" y="684"/>
                  </a:lnTo>
                  <a:lnTo>
                    <a:pt x="204" y="684"/>
                  </a:lnTo>
                  <a:lnTo>
                    <a:pt x="210" y="684"/>
                  </a:lnTo>
                  <a:lnTo>
                    <a:pt x="222" y="678"/>
                  </a:lnTo>
                  <a:lnTo>
                    <a:pt x="228" y="678"/>
                  </a:lnTo>
                  <a:lnTo>
                    <a:pt x="228" y="660"/>
                  </a:lnTo>
                  <a:lnTo>
                    <a:pt x="234" y="642"/>
                  </a:lnTo>
                  <a:lnTo>
                    <a:pt x="246" y="618"/>
                  </a:lnTo>
                  <a:lnTo>
                    <a:pt x="252" y="618"/>
                  </a:lnTo>
                  <a:lnTo>
                    <a:pt x="252" y="600"/>
                  </a:lnTo>
                  <a:lnTo>
                    <a:pt x="252" y="588"/>
                  </a:lnTo>
                  <a:lnTo>
                    <a:pt x="252" y="582"/>
                  </a:lnTo>
                  <a:lnTo>
                    <a:pt x="258" y="576"/>
                  </a:lnTo>
                  <a:lnTo>
                    <a:pt x="270" y="564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70" y="522"/>
                  </a:lnTo>
                  <a:lnTo>
                    <a:pt x="270" y="510"/>
                  </a:lnTo>
                  <a:lnTo>
                    <a:pt x="270" y="498"/>
                  </a:lnTo>
                  <a:lnTo>
                    <a:pt x="258" y="468"/>
                  </a:lnTo>
                  <a:lnTo>
                    <a:pt x="252" y="456"/>
                  </a:lnTo>
                  <a:lnTo>
                    <a:pt x="258" y="444"/>
                  </a:lnTo>
                  <a:lnTo>
                    <a:pt x="264" y="432"/>
                  </a:lnTo>
                  <a:lnTo>
                    <a:pt x="270" y="426"/>
                  </a:lnTo>
                  <a:lnTo>
                    <a:pt x="276" y="420"/>
                  </a:lnTo>
                  <a:lnTo>
                    <a:pt x="288" y="420"/>
                  </a:lnTo>
                  <a:lnTo>
                    <a:pt x="288" y="414"/>
                  </a:lnTo>
                  <a:lnTo>
                    <a:pt x="294" y="414"/>
                  </a:lnTo>
                  <a:lnTo>
                    <a:pt x="306" y="390"/>
                  </a:lnTo>
                  <a:lnTo>
                    <a:pt x="312" y="384"/>
                  </a:lnTo>
                  <a:lnTo>
                    <a:pt x="318" y="378"/>
                  </a:lnTo>
                  <a:lnTo>
                    <a:pt x="318" y="372"/>
                  </a:lnTo>
                  <a:lnTo>
                    <a:pt x="324" y="366"/>
                  </a:lnTo>
                  <a:lnTo>
                    <a:pt x="330" y="354"/>
                  </a:lnTo>
                  <a:lnTo>
                    <a:pt x="336" y="348"/>
                  </a:lnTo>
                  <a:lnTo>
                    <a:pt x="336" y="330"/>
                  </a:lnTo>
                  <a:lnTo>
                    <a:pt x="342" y="324"/>
                  </a:lnTo>
                  <a:lnTo>
                    <a:pt x="342" y="318"/>
                  </a:lnTo>
                  <a:lnTo>
                    <a:pt x="348" y="318"/>
                  </a:lnTo>
                  <a:lnTo>
                    <a:pt x="360" y="318"/>
                  </a:lnTo>
                  <a:lnTo>
                    <a:pt x="372" y="318"/>
                  </a:lnTo>
                  <a:lnTo>
                    <a:pt x="384" y="306"/>
                  </a:lnTo>
                  <a:lnTo>
                    <a:pt x="396" y="300"/>
                  </a:lnTo>
                  <a:lnTo>
                    <a:pt x="396" y="294"/>
                  </a:lnTo>
                  <a:lnTo>
                    <a:pt x="396" y="288"/>
                  </a:lnTo>
                  <a:lnTo>
                    <a:pt x="390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2"/>
                  </a:lnTo>
                  <a:lnTo>
                    <a:pt x="378" y="246"/>
                  </a:lnTo>
                  <a:lnTo>
                    <a:pt x="384" y="228"/>
                  </a:lnTo>
                  <a:lnTo>
                    <a:pt x="390" y="216"/>
                  </a:lnTo>
                  <a:lnTo>
                    <a:pt x="402" y="210"/>
                  </a:lnTo>
                  <a:lnTo>
                    <a:pt x="408" y="210"/>
                  </a:lnTo>
                  <a:lnTo>
                    <a:pt x="420" y="204"/>
                  </a:lnTo>
                  <a:lnTo>
                    <a:pt x="444" y="198"/>
                  </a:lnTo>
                  <a:lnTo>
                    <a:pt x="462" y="192"/>
                  </a:lnTo>
                  <a:lnTo>
                    <a:pt x="474" y="186"/>
                  </a:lnTo>
                  <a:lnTo>
                    <a:pt x="480" y="192"/>
                  </a:lnTo>
                  <a:lnTo>
                    <a:pt x="492" y="192"/>
                  </a:lnTo>
                  <a:lnTo>
                    <a:pt x="498" y="192"/>
                  </a:lnTo>
                  <a:lnTo>
                    <a:pt x="504" y="192"/>
                  </a:lnTo>
                  <a:lnTo>
                    <a:pt x="510" y="192"/>
                  </a:lnTo>
                  <a:lnTo>
                    <a:pt x="516" y="186"/>
                  </a:lnTo>
                  <a:lnTo>
                    <a:pt x="522" y="180"/>
                  </a:lnTo>
                  <a:lnTo>
                    <a:pt x="522" y="174"/>
                  </a:lnTo>
                  <a:lnTo>
                    <a:pt x="528" y="168"/>
                  </a:lnTo>
                  <a:lnTo>
                    <a:pt x="534" y="168"/>
                  </a:lnTo>
                  <a:lnTo>
                    <a:pt x="534" y="156"/>
                  </a:lnTo>
                  <a:lnTo>
                    <a:pt x="534" y="150"/>
                  </a:lnTo>
                  <a:lnTo>
                    <a:pt x="552" y="138"/>
                  </a:lnTo>
                  <a:lnTo>
                    <a:pt x="558" y="126"/>
                  </a:lnTo>
                  <a:lnTo>
                    <a:pt x="558" y="114"/>
                  </a:lnTo>
                  <a:lnTo>
                    <a:pt x="564" y="102"/>
                  </a:lnTo>
                  <a:lnTo>
                    <a:pt x="564" y="96"/>
                  </a:lnTo>
                  <a:lnTo>
                    <a:pt x="564" y="90"/>
                  </a:lnTo>
                  <a:lnTo>
                    <a:pt x="564" y="72"/>
                  </a:lnTo>
                  <a:lnTo>
                    <a:pt x="564" y="60"/>
                  </a:lnTo>
                  <a:lnTo>
                    <a:pt x="564" y="54"/>
                  </a:lnTo>
                  <a:lnTo>
                    <a:pt x="570" y="42"/>
                  </a:lnTo>
                  <a:lnTo>
                    <a:pt x="576" y="42"/>
                  </a:lnTo>
                  <a:lnTo>
                    <a:pt x="582" y="36"/>
                  </a:lnTo>
                  <a:lnTo>
                    <a:pt x="594" y="36"/>
                  </a:lnTo>
                  <a:lnTo>
                    <a:pt x="594" y="30"/>
                  </a:lnTo>
                  <a:lnTo>
                    <a:pt x="600" y="24"/>
                  </a:lnTo>
                  <a:lnTo>
                    <a:pt x="600" y="12"/>
                  </a:lnTo>
                  <a:lnTo>
                    <a:pt x="606" y="6"/>
                  </a:lnTo>
                  <a:lnTo>
                    <a:pt x="606" y="0"/>
                  </a:lnTo>
                  <a:lnTo>
                    <a:pt x="612" y="0"/>
                  </a:lnTo>
                  <a:lnTo>
                    <a:pt x="618" y="0"/>
                  </a:lnTo>
                  <a:lnTo>
                    <a:pt x="624" y="6"/>
                  </a:lnTo>
                  <a:lnTo>
                    <a:pt x="624" y="12"/>
                  </a:lnTo>
                  <a:lnTo>
                    <a:pt x="624" y="18"/>
                  </a:lnTo>
                  <a:lnTo>
                    <a:pt x="624" y="24"/>
                  </a:lnTo>
                  <a:lnTo>
                    <a:pt x="624" y="30"/>
                  </a:lnTo>
                  <a:lnTo>
                    <a:pt x="630" y="30"/>
                  </a:lnTo>
                  <a:lnTo>
                    <a:pt x="630" y="36"/>
                  </a:lnTo>
                  <a:lnTo>
                    <a:pt x="630" y="42"/>
                  </a:lnTo>
                  <a:lnTo>
                    <a:pt x="630" y="48"/>
                  </a:lnTo>
                  <a:lnTo>
                    <a:pt x="636" y="54"/>
                  </a:lnTo>
                  <a:lnTo>
                    <a:pt x="642" y="48"/>
                  </a:lnTo>
                  <a:lnTo>
                    <a:pt x="648" y="48"/>
                  </a:lnTo>
                  <a:lnTo>
                    <a:pt x="648" y="60"/>
                  </a:lnTo>
                  <a:lnTo>
                    <a:pt x="654" y="66"/>
                  </a:lnTo>
                  <a:lnTo>
                    <a:pt x="660" y="72"/>
                  </a:lnTo>
                  <a:lnTo>
                    <a:pt x="666" y="72"/>
                  </a:lnTo>
                  <a:lnTo>
                    <a:pt x="666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72" y="66"/>
                  </a:lnTo>
                  <a:lnTo>
                    <a:pt x="678" y="66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6" y="66"/>
                  </a:lnTo>
                  <a:lnTo>
                    <a:pt x="696" y="72"/>
                  </a:lnTo>
                  <a:lnTo>
                    <a:pt x="702" y="72"/>
                  </a:lnTo>
                  <a:lnTo>
                    <a:pt x="708" y="72"/>
                  </a:lnTo>
                  <a:lnTo>
                    <a:pt x="720" y="66"/>
                  </a:lnTo>
                  <a:lnTo>
                    <a:pt x="726" y="78"/>
                  </a:lnTo>
                  <a:lnTo>
                    <a:pt x="744" y="84"/>
                  </a:lnTo>
                  <a:lnTo>
                    <a:pt x="744" y="90"/>
                  </a:lnTo>
                  <a:lnTo>
                    <a:pt x="744" y="96"/>
                  </a:lnTo>
                  <a:lnTo>
                    <a:pt x="738" y="96"/>
                  </a:lnTo>
                  <a:lnTo>
                    <a:pt x="738" y="102"/>
                  </a:lnTo>
                  <a:lnTo>
                    <a:pt x="732" y="102"/>
                  </a:lnTo>
                  <a:lnTo>
                    <a:pt x="732" y="108"/>
                  </a:lnTo>
                  <a:lnTo>
                    <a:pt x="738" y="108"/>
                  </a:lnTo>
                  <a:lnTo>
                    <a:pt x="744" y="114"/>
                  </a:lnTo>
                  <a:lnTo>
                    <a:pt x="750" y="108"/>
                  </a:lnTo>
                  <a:lnTo>
                    <a:pt x="756" y="108"/>
                  </a:lnTo>
                  <a:lnTo>
                    <a:pt x="762" y="108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80" y="120"/>
                  </a:lnTo>
                  <a:lnTo>
                    <a:pt x="774" y="120"/>
                  </a:lnTo>
                  <a:lnTo>
                    <a:pt x="768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74" y="138"/>
                  </a:lnTo>
                  <a:lnTo>
                    <a:pt x="774" y="132"/>
                  </a:lnTo>
                  <a:lnTo>
                    <a:pt x="780" y="132"/>
                  </a:lnTo>
                  <a:lnTo>
                    <a:pt x="786" y="132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44"/>
                  </a:lnTo>
                  <a:lnTo>
                    <a:pt x="786" y="150"/>
                  </a:lnTo>
                  <a:lnTo>
                    <a:pt x="780" y="150"/>
                  </a:lnTo>
                  <a:lnTo>
                    <a:pt x="774" y="150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74" y="162"/>
                  </a:lnTo>
                  <a:lnTo>
                    <a:pt x="780" y="162"/>
                  </a:lnTo>
                  <a:lnTo>
                    <a:pt x="786" y="168"/>
                  </a:lnTo>
                  <a:lnTo>
                    <a:pt x="792" y="162"/>
                  </a:lnTo>
                  <a:lnTo>
                    <a:pt x="798" y="168"/>
                  </a:lnTo>
                  <a:lnTo>
                    <a:pt x="798" y="174"/>
                  </a:lnTo>
                  <a:lnTo>
                    <a:pt x="804" y="168"/>
                  </a:lnTo>
                  <a:lnTo>
                    <a:pt x="810" y="168"/>
                  </a:lnTo>
                  <a:lnTo>
                    <a:pt x="810" y="174"/>
                  </a:lnTo>
                  <a:lnTo>
                    <a:pt x="816" y="168"/>
                  </a:lnTo>
                  <a:lnTo>
                    <a:pt x="822" y="162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74"/>
                  </a:lnTo>
                  <a:lnTo>
                    <a:pt x="834" y="192"/>
                  </a:lnTo>
                  <a:lnTo>
                    <a:pt x="834" y="198"/>
                  </a:lnTo>
                  <a:lnTo>
                    <a:pt x="840" y="192"/>
                  </a:lnTo>
                  <a:lnTo>
                    <a:pt x="846" y="192"/>
                  </a:lnTo>
                  <a:lnTo>
                    <a:pt x="852" y="186"/>
                  </a:lnTo>
                  <a:lnTo>
                    <a:pt x="858" y="192"/>
                  </a:lnTo>
                  <a:lnTo>
                    <a:pt x="864" y="192"/>
                  </a:lnTo>
                  <a:lnTo>
                    <a:pt x="870" y="198"/>
                  </a:lnTo>
                  <a:lnTo>
                    <a:pt x="876" y="180"/>
                  </a:lnTo>
                  <a:lnTo>
                    <a:pt x="882" y="180"/>
                  </a:lnTo>
                  <a:lnTo>
                    <a:pt x="888" y="180"/>
                  </a:lnTo>
                  <a:lnTo>
                    <a:pt x="894" y="186"/>
                  </a:lnTo>
                  <a:lnTo>
                    <a:pt x="888" y="198"/>
                  </a:lnTo>
                  <a:lnTo>
                    <a:pt x="894" y="204"/>
                  </a:lnTo>
                  <a:lnTo>
                    <a:pt x="906" y="210"/>
                  </a:lnTo>
                  <a:lnTo>
                    <a:pt x="918" y="246"/>
                  </a:lnTo>
                  <a:lnTo>
                    <a:pt x="930" y="258"/>
                  </a:lnTo>
                  <a:lnTo>
                    <a:pt x="942" y="282"/>
                  </a:lnTo>
                  <a:lnTo>
                    <a:pt x="966" y="288"/>
                  </a:lnTo>
                  <a:lnTo>
                    <a:pt x="972" y="300"/>
                  </a:lnTo>
                  <a:lnTo>
                    <a:pt x="972" y="318"/>
                  </a:lnTo>
                  <a:lnTo>
                    <a:pt x="996" y="336"/>
                  </a:lnTo>
                  <a:lnTo>
                    <a:pt x="1050" y="390"/>
                  </a:lnTo>
                  <a:lnTo>
                    <a:pt x="1116" y="462"/>
                  </a:lnTo>
                  <a:lnTo>
                    <a:pt x="1122" y="468"/>
                  </a:lnTo>
                  <a:lnTo>
                    <a:pt x="1128" y="474"/>
                  </a:lnTo>
                  <a:lnTo>
                    <a:pt x="1140" y="474"/>
                  </a:lnTo>
                  <a:lnTo>
                    <a:pt x="1152" y="486"/>
                  </a:lnTo>
                  <a:lnTo>
                    <a:pt x="1152" y="492"/>
                  </a:lnTo>
                  <a:lnTo>
                    <a:pt x="1158" y="492"/>
                  </a:lnTo>
                  <a:lnTo>
                    <a:pt x="1164" y="492"/>
                  </a:lnTo>
                  <a:lnTo>
                    <a:pt x="1170" y="504"/>
                  </a:lnTo>
                  <a:lnTo>
                    <a:pt x="1176" y="504"/>
                  </a:lnTo>
                  <a:lnTo>
                    <a:pt x="1176" y="510"/>
                  </a:lnTo>
                  <a:lnTo>
                    <a:pt x="1200" y="516"/>
                  </a:lnTo>
                  <a:lnTo>
                    <a:pt x="1200" y="522"/>
                  </a:lnTo>
                  <a:lnTo>
                    <a:pt x="1212" y="534"/>
                  </a:lnTo>
                  <a:lnTo>
                    <a:pt x="1218" y="540"/>
                  </a:lnTo>
                  <a:lnTo>
                    <a:pt x="1224" y="552"/>
                  </a:lnTo>
                  <a:lnTo>
                    <a:pt x="1230" y="552"/>
                  </a:lnTo>
                  <a:lnTo>
                    <a:pt x="1242" y="552"/>
                  </a:lnTo>
                  <a:lnTo>
                    <a:pt x="1248" y="558"/>
                  </a:lnTo>
                  <a:lnTo>
                    <a:pt x="1254" y="558"/>
                  </a:lnTo>
                  <a:lnTo>
                    <a:pt x="1260" y="564"/>
                  </a:lnTo>
                  <a:lnTo>
                    <a:pt x="1266" y="564"/>
                  </a:lnTo>
                  <a:lnTo>
                    <a:pt x="1272" y="564"/>
                  </a:lnTo>
                  <a:lnTo>
                    <a:pt x="1284" y="564"/>
                  </a:lnTo>
                  <a:lnTo>
                    <a:pt x="1290" y="570"/>
                  </a:lnTo>
                  <a:lnTo>
                    <a:pt x="1296" y="576"/>
                  </a:lnTo>
                  <a:lnTo>
                    <a:pt x="1302" y="588"/>
                  </a:lnTo>
                  <a:lnTo>
                    <a:pt x="1296" y="594"/>
                  </a:lnTo>
                  <a:lnTo>
                    <a:pt x="1296" y="600"/>
                  </a:lnTo>
                  <a:lnTo>
                    <a:pt x="1296" y="606"/>
                  </a:lnTo>
                  <a:lnTo>
                    <a:pt x="1290" y="612"/>
                  </a:lnTo>
                  <a:lnTo>
                    <a:pt x="1290" y="624"/>
                  </a:lnTo>
                  <a:lnTo>
                    <a:pt x="1290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308" y="654"/>
                  </a:lnTo>
                  <a:lnTo>
                    <a:pt x="1320" y="654"/>
                  </a:lnTo>
                  <a:lnTo>
                    <a:pt x="1326" y="660"/>
                  </a:lnTo>
                  <a:lnTo>
                    <a:pt x="1338" y="654"/>
                  </a:lnTo>
                  <a:lnTo>
                    <a:pt x="1344" y="654"/>
                  </a:lnTo>
                  <a:lnTo>
                    <a:pt x="1356" y="654"/>
                  </a:lnTo>
                  <a:lnTo>
                    <a:pt x="1362" y="648"/>
                  </a:lnTo>
                  <a:lnTo>
                    <a:pt x="1368" y="642"/>
                  </a:lnTo>
                  <a:lnTo>
                    <a:pt x="1374" y="636"/>
                  </a:lnTo>
                  <a:lnTo>
                    <a:pt x="1380" y="636"/>
                  </a:lnTo>
                  <a:lnTo>
                    <a:pt x="1392" y="636"/>
                  </a:lnTo>
                  <a:lnTo>
                    <a:pt x="1398" y="636"/>
                  </a:lnTo>
                  <a:lnTo>
                    <a:pt x="1404" y="636"/>
                  </a:lnTo>
                  <a:lnTo>
                    <a:pt x="1410" y="630"/>
                  </a:lnTo>
                  <a:lnTo>
                    <a:pt x="1410" y="624"/>
                  </a:lnTo>
                  <a:lnTo>
                    <a:pt x="1422" y="618"/>
                  </a:lnTo>
                  <a:lnTo>
                    <a:pt x="1428" y="618"/>
                  </a:lnTo>
                  <a:lnTo>
                    <a:pt x="1440" y="612"/>
                  </a:lnTo>
                  <a:lnTo>
                    <a:pt x="1446" y="612"/>
                  </a:lnTo>
                  <a:lnTo>
                    <a:pt x="1458" y="612"/>
                  </a:lnTo>
                  <a:lnTo>
                    <a:pt x="1470" y="624"/>
                  </a:lnTo>
                  <a:lnTo>
                    <a:pt x="1488" y="642"/>
                  </a:lnTo>
                  <a:lnTo>
                    <a:pt x="1500" y="648"/>
                  </a:lnTo>
                  <a:lnTo>
                    <a:pt x="1512" y="654"/>
                  </a:lnTo>
                  <a:lnTo>
                    <a:pt x="1518" y="660"/>
                  </a:lnTo>
                  <a:lnTo>
                    <a:pt x="1524" y="660"/>
                  </a:lnTo>
                  <a:lnTo>
                    <a:pt x="1530" y="660"/>
                  </a:lnTo>
                  <a:lnTo>
                    <a:pt x="1536" y="666"/>
                  </a:lnTo>
                  <a:lnTo>
                    <a:pt x="1542" y="672"/>
                  </a:lnTo>
                  <a:lnTo>
                    <a:pt x="1548" y="672"/>
                  </a:lnTo>
                  <a:lnTo>
                    <a:pt x="1554" y="684"/>
                  </a:lnTo>
                  <a:lnTo>
                    <a:pt x="1554" y="690"/>
                  </a:lnTo>
                  <a:lnTo>
                    <a:pt x="1566" y="702"/>
                  </a:lnTo>
                  <a:lnTo>
                    <a:pt x="1572" y="720"/>
                  </a:lnTo>
                  <a:lnTo>
                    <a:pt x="1572" y="726"/>
                  </a:lnTo>
                  <a:lnTo>
                    <a:pt x="1578" y="732"/>
                  </a:lnTo>
                  <a:lnTo>
                    <a:pt x="1584" y="738"/>
                  </a:lnTo>
                  <a:lnTo>
                    <a:pt x="1590" y="738"/>
                  </a:lnTo>
                  <a:lnTo>
                    <a:pt x="1596" y="738"/>
                  </a:lnTo>
                  <a:lnTo>
                    <a:pt x="1602" y="744"/>
                  </a:lnTo>
                  <a:lnTo>
                    <a:pt x="1608" y="744"/>
                  </a:lnTo>
                  <a:lnTo>
                    <a:pt x="1614" y="744"/>
                  </a:lnTo>
                  <a:lnTo>
                    <a:pt x="1626" y="744"/>
                  </a:lnTo>
                  <a:lnTo>
                    <a:pt x="1638" y="744"/>
                  </a:lnTo>
                  <a:lnTo>
                    <a:pt x="1650" y="744"/>
                  </a:lnTo>
                  <a:lnTo>
                    <a:pt x="1662" y="744"/>
                  </a:lnTo>
                  <a:lnTo>
                    <a:pt x="1668" y="744"/>
                  </a:lnTo>
                  <a:lnTo>
                    <a:pt x="1674" y="744"/>
                  </a:lnTo>
                  <a:lnTo>
                    <a:pt x="1686" y="744"/>
                  </a:lnTo>
                  <a:lnTo>
                    <a:pt x="1698" y="750"/>
                  </a:lnTo>
                  <a:lnTo>
                    <a:pt x="1704" y="750"/>
                  </a:lnTo>
                  <a:lnTo>
                    <a:pt x="1716" y="756"/>
                  </a:lnTo>
                  <a:lnTo>
                    <a:pt x="1722" y="756"/>
                  </a:lnTo>
                  <a:lnTo>
                    <a:pt x="1728" y="756"/>
                  </a:lnTo>
                  <a:lnTo>
                    <a:pt x="1734" y="762"/>
                  </a:lnTo>
                  <a:lnTo>
                    <a:pt x="1740" y="768"/>
                  </a:lnTo>
                  <a:lnTo>
                    <a:pt x="1758" y="780"/>
                  </a:lnTo>
                  <a:lnTo>
                    <a:pt x="1770" y="780"/>
                  </a:lnTo>
                  <a:lnTo>
                    <a:pt x="1776" y="780"/>
                  </a:lnTo>
                  <a:lnTo>
                    <a:pt x="1782" y="780"/>
                  </a:lnTo>
                  <a:lnTo>
                    <a:pt x="1800" y="798"/>
                  </a:lnTo>
                  <a:lnTo>
                    <a:pt x="1818" y="810"/>
                  </a:lnTo>
                  <a:lnTo>
                    <a:pt x="1830" y="816"/>
                  </a:lnTo>
                  <a:lnTo>
                    <a:pt x="1836" y="822"/>
                  </a:lnTo>
                  <a:lnTo>
                    <a:pt x="1836" y="828"/>
                  </a:lnTo>
                  <a:lnTo>
                    <a:pt x="1842" y="828"/>
                  </a:lnTo>
                  <a:lnTo>
                    <a:pt x="1848" y="834"/>
                  </a:lnTo>
                  <a:lnTo>
                    <a:pt x="1854" y="840"/>
                  </a:lnTo>
                  <a:lnTo>
                    <a:pt x="1860" y="846"/>
                  </a:lnTo>
                  <a:lnTo>
                    <a:pt x="1872" y="852"/>
                  </a:lnTo>
                  <a:lnTo>
                    <a:pt x="1884" y="852"/>
                  </a:lnTo>
                  <a:lnTo>
                    <a:pt x="1896" y="852"/>
                  </a:lnTo>
                  <a:lnTo>
                    <a:pt x="1902" y="846"/>
                  </a:lnTo>
                  <a:lnTo>
                    <a:pt x="1908" y="852"/>
                  </a:lnTo>
                  <a:lnTo>
                    <a:pt x="1920" y="858"/>
                  </a:lnTo>
                  <a:lnTo>
                    <a:pt x="1926" y="870"/>
                  </a:lnTo>
                  <a:lnTo>
                    <a:pt x="1938" y="888"/>
                  </a:lnTo>
                  <a:lnTo>
                    <a:pt x="1944" y="900"/>
                  </a:lnTo>
                  <a:lnTo>
                    <a:pt x="1950" y="900"/>
                  </a:lnTo>
                  <a:lnTo>
                    <a:pt x="1962" y="906"/>
                  </a:lnTo>
                  <a:lnTo>
                    <a:pt x="1968" y="906"/>
                  </a:lnTo>
                  <a:lnTo>
                    <a:pt x="1980" y="906"/>
                  </a:lnTo>
                  <a:lnTo>
                    <a:pt x="1998" y="906"/>
                  </a:lnTo>
                  <a:lnTo>
                    <a:pt x="2010" y="900"/>
                  </a:lnTo>
                  <a:lnTo>
                    <a:pt x="2022" y="900"/>
                  </a:lnTo>
                  <a:lnTo>
                    <a:pt x="2028" y="900"/>
                  </a:lnTo>
                  <a:lnTo>
                    <a:pt x="2034" y="906"/>
                  </a:lnTo>
                  <a:lnTo>
                    <a:pt x="2046" y="906"/>
                  </a:lnTo>
                  <a:lnTo>
                    <a:pt x="2052" y="900"/>
                  </a:lnTo>
                  <a:lnTo>
                    <a:pt x="2058" y="900"/>
                  </a:lnTo>
                  <a:lnTo>
                    <a:pt x="2064" y="900"/>
                  </a:lnTo>
                  <a:lnTo>
                    <a:pt x="2070" y="900"/>
                  </a:lnTo>
                  <a:lnTo>
                    <a:pt x="2076" y="900"/>
                  </a:lnTo>
                  <a:lnTo>
                    <a:pt x="2076" y="906"/>
                  </a:lnTo>
                  <a:lnTo>
                    <a:pt x="2088" y="906"/>
                  </a:lnTo>
                  <a:lnTo>
                    <a:pt x="2106" y="900"/>
                  </a:lnTo>
                  <a:lnTo>
                    <a:pt x="2118" y="900"/>
                  </a:lnTo>
                  <a:lnTo>
                    <a:pt x="2130" y="900"/>
                  </a:lnTo>
                  <a:lnTo>
                    <a:pt x="2142" y="900"/>
                  </a:lnTo>
                  <a:lnTo>
                    <a:pt x="2148" y="906"/>
                  </a:lnTo>
                  <a:lnTo>
                    <a:pt x="2154" y="906"/>
                  </a:lnTo>
                  <a:lnTo>
                    <a:pt x="2160" y="906"/>
                  </a:lnTo>
                  <a:lnTo>
                    <a:pt x="2166" y="906"/>
                  </a:lnTo>
                  <a:lnTo>
                    <a:pt x="2178" y="918"/>
                  </a:lnTo>
                  <a:lnTo>
                    <a:pt x="2178" y="924"/>
                  </a:lnTo>
                  <a:lnTo>
                    <a:pt x="2184" y="924"/>
                  </a:lnTo>
                  <a:lnTo>
                    <a:pt x="2190" y="924"/>
                  </a:lnTo>
                  <a:lnTo>
                    <a:pt x="2196" y="924"/>
                  </a:lnTo>
                  <a:lnTo>
                    <a:pt x="2202" y="918"/>
                  </a:lnTo>
                  <a:lnTo>
                    <a:pt x="2208" y="918"/>
                  </a:lnTo>
                  <a:lnTo>
                    <a:pt x="2214" y="918"/>
                  </a:lnTo>
                  <a:lnTo>
                    <a:pt x="2226" y="918"/>
                  </a:lnTo>
                  <a:lnTo>
                    <a:pt x="2220" y="948"/>
                  </a:lnTo>
                  <a:lnTo>
                    <a:pt x="2214" y="972"/>
                  </a:lnTo>
                  <a:lnTo>
                    <a:pt x="2214" y="984"/>
                  </a:lnTo>
                  <a:lnTo>
                    <a:pt x="2208" y="990"/>
                  </a:lnTo>
                  <a:lnTo>
                    <a:pt x="2208" y="996"/>
                  </a:lnTo>
                  <a:lnTo>
                    <a:pt x="2202" y="996"/>
                  </a:lnTo>
                  <a:lnTo>
                    <a:pt x="2196" y="996"/>
                  </a:lnTo>
                  <a:lnTo>
                    <a:pt x="2190" y="1008"/>
                  </a:lnTo>
                  <a:lnTo>
                    <a:pt x="2172" y="1074"/>
                  </a:lnTo>
                  <a:lnTo>
                    <a:pt x="2166" y="1092"/>
                  </a:lnTo>
                  <a:lnTo>
                    <a:pt x="2172" y="1110"/>
                  </a:lnTo>
                  <a:lnTo>
                    <a:pt x="2172" y="1122"/>
                  </a:lnTo>
                  <a:lnTo>
                    <a:pt x="2166" y="1134"/>
                  </a:lnTo>
                  <a:lnTo>
                    <a:pt x="2148" y="1140"/>
                  </a:lnTo>
                  <a:lnTo>
                    <a:pt x="2148" y="1134"/>
                  </a:lnTo>
                  <a:lnTo>
                    <a:pt x="2118" y="1140"/>
                  </a:lnTo>
                  <a:lnTo>
                    <a:pt x="2088" y="1134"/>
                  </a:lnTo>
                  <a:lnTo>
                    <a:pt x="2064" y="1122"/>
                  </a:lnTo>
                  <a:lnTo>
                    <a:pt x="2034" y="1122"/>
                  </a:lnTo>
                  <a:lnTo>
                    <a:pt x="2022" y="1128"/>
                  </a:lnTo>
                  <a:lnTo>
                    <a:pt x="1986" y="1128"/>
                  </a:lnTo>
                  <a:lnTo>
                    <a:pt x="1938" y="1122"/>
                  </a:lnTo>
                  <a:lnTo>
                    <a:pt x="1932" y="1116"/>
                  </a:lnTo>
                  <a:lnTo>
                    <a:pt x="1896" y="1110"/>
                  </a:lnTo>
                  <a:lnTo>
                    <a:pt x="1878" y="1104"/>
                  </a:lnTo>
                  <a:lnTo>
                    <a:pt x="1866" y="1098"/>
                  </a:lnTo>
                  <a:lnTo>
                    <a:pt x="1860" y="1098"/>
                  </a:lnTo>
                  <a:lnTo>
                    <a:pt x="1854" y="1092"/>
                  </a:lnTo>
                  <a:lnTo>
                    <a:pt x="1860" y="1092"/>
                  </a:lnTo>
                  <a:lnTo>
                    <a:pt x="1860" y="1086"/>
                  </a:lnTo>
                  <a:lnTo>
                    <a:pt x="1854" y="1086"/>
                  </a:lnTo>
                  <a:lnTo>
                    <a:pt x="1842" y="1080"/>
                  </a:lnTo>
                  <a:lnTo>
                    <a:pt x="1818" y="1062"/>
                  </a:lnTo>
                  <a:lnTo>
                    <a:pt x="1782" y="1056"/>
                  </a:lnTo>
                  <a:lnTo>
                    <a:pt x="1770" y="1068"/>
                  </a:lnTo>
                  <a:lnTo>
                    <a:pt x="1746" y="1098"/>
                  </a:lnTo>
                  <a:lnTo>
                    <a:pt x="1722" y="1104"/>
                  </a:lnTo>
                  <a:lnTo>
                    <a:pt x="1710" y="1122"/>
                  </a:lnTo>
                  <a:lnTo>
                    <a:pt x="1710" y="1128"/>
                  </a:lnTo>
                  <a:lnTo>
                    <a:pt x="1710" y="1140"/>
                  </a:lnTo>
                  <a:lnTo>
                    <a:pt x="1698" y="1146"/>
                  </a:lnTo>
                  <a:lnTo>
                    <a:pt x="1686" y="1152"/>
                  </a:lnTo>
                  <a:lnTo>
                    <a:pt x="1680" y="1164"/>
                  </a:lnTo>
                  <a:lnTo>
                    <a:pt x="1680" y="1170"/>
                  </a:lnTo>
                  <a:lnTo>
                    <a:pt x="1686" y="1170"/>
                  </a:lnTo>
                  <a:lnTo>
                    <a:pt x="1686" y="1176"/>
                  </a:lnTo>
                  <a:lnTo>
                    <a:pt x="1698" y="1188"/>
                  </a:lnTo>
                  <a:lnTo>
                    <a:pt x="1704" y="1188"/>
                  </a:lnTo>
                  <a:lnTo>
                    <a:pt x="1698" y="1194"/>
                  </a:lnTo>
                  <a:lnTo>
                    <a:pt x="1704" y="1194"/>
                  </a:lnTo>
                  <a:lnTo>
                    <a:pt x="1704" y="1200"/>
                  </a:lnTo>
                  <a:lnTo>
                    <a:pt x="1704" y="1206"/>
                  </a:lnTo>
                  <a:lnTo>
                    <a:pt x="1704" y="1212"/>
                  </a:lnTo>
                  <a:lnTo>
                    <a:pt x="1704" y="1218"/>
                  </a:lnTo>
                  <a:lnTo>
                    <a:pt x="1710" y="1218"/>
                  </a:lnTo>
                  <a:lnTo>
                    <a:pt x="1710" y="1212"/>
                  </a:lnTo>
                  <a:lnTo>
                    <a:pt x="1716" y="1212"/>
                  </a:lnTo>
                  <a:lnTo>
                    <a:pt x="1716" y="1218"/>
                  </a:lnTo>
                  <a:lnTo>
                    <a:pt x="1716" y="1224"/>
                  </a:lnTo>
                  <a:lnTo>
                    <a:pt x="1716" y="1230"/>
                  </a:lnTo>
                  <a:lnTo>
                    <a:pt x="1722" y="1236"/>
                  </a:lnTo>
                  <a:lnTo>
                    <a:pt x="1740" y="1230"/>
                  </a:lnTo>
                  <a:lnTo>
                    <a:pt x="1734" y="1236"/>
                  </a:lnTo>
                  <a:lnTo>
                    <a:pt x="1734" y="1242"/>
                  </a:lnTo>
                  <a:lnTo>
                    <a:pt x="1734" y="1248"/>
                  </a:lnTo>
                  <a:lnTo>
                    <a:pt x="1734" y="1254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52" y="1266"/>
                  </a:lnTo>
                  <a:lnTo>
                    <a:pt x="1764" y="1266"/>
                  </a:lnTo>
                  <a:lnTo>
                    <a:pt x="1788" y="1260"/>
                  </a:lnTo>
                  <a:lnTo>
                    <a:pt x="1800" y="1260"/>
                  </a:lnTo>
                  <a:lnTo>
                    <a:pt x="1806" y="1272"/>
                  </a:lnTo>
                  <a:lnTo>
                    <a:pt x="1806" y="1296"/>
                  </a:lnTo>
                  <a:lnTo>
                    <a:pt x="1800" y="1308"/>
                  </a:lnTo>
                  <a:lnTo>
                    <a:pt x="1788" y="1308"/>
                  </a:lnTo>
                  <a:lnTo>
                    <a:pt x="1782" y="1326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7" name="Freeform 32">
              <a:extLst>
                <a:ext uri="{FF2B5EF4-FFF2-40B4-BE49-F238E27FC236}">
                  <a16:creationId xmlns:a16="http://schemas.microsoft.com/office/drawing/2014/main" id="{1EF84438-BF7A-47D2-9156-E231EA2A279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3295" y="2316568"/>
              <a:ext cx="1290281" cy="1084704"/>
            </a:xfrm>
            <a:custGeom>
              <a:avLst/>
              <a:gdLst>
                <a:gd name="T0" fmla="*/ 177 w 2430"/>
                <a:gd name="T1" fmla="*/ 169 h 2040"/>
                <a:gd name="T2" fmla="*/ 174 w 2430"/>
                <a:gd name="T3" fmla="*/ 173 h 2040"/>
                <a:gd name="T4" fmla="*/ 169 w 2430"/>
                <a:gd name="T5" fmla="*/ 171 h 2040"/>
                <a:gd name="T6" fmla="*/ 160 w 2430"/>
                <a:gd name="T7" fmla="*/ 163 h 2040"/>
                <a:gd name="T8" fmla="*/ 154 w 2430"/>
                <a:gd name="T9" fmla="*/ 149 h 2040"/>
                <a:gd name="T10" fmla="*/ 144 w 2430"/>
                <a:gd name="T11" fmla="*/ 147 h 2040"/>
                <a:gd name="T12" fmla="*/ 133 w 2430"/>
                <a:gd name="T13" fmla="*/ 146 h 2040"/>
                <a:gd name="T14" fmla="*/ 121 w 2430"/>
                <a:gd name="T15" fmla="*/ 145 h 2040"/>
                <a:gd name="T16" fmla="*/ 110 w 2430"/>
                <a:gd name="T17" fmla="*/ 137 h 2040"/>
                <a:gd name="T18" fmla="*/ 97 w 2430"/>
                <a:gd name="T19" fmla="*/ 131 h 2040"/>
                <a:gd name="T20" fmla="*/ 87 w 2430"/>
                <a:gd name="T21" fmla="*/ 125 h 2040"/>
                <a:gd name="T22" fmla="*/ 75 w 2430"/>
                <a:gd name="T23" fmla="*/ 122 h 2040"/>
                <a:gd name="T24" fmla="*/ 65 w 2430"/>
                <a:gd name="T25" fmla="*/ 122 h 2040"/>
                <a:gd name="T26" fmla="*/ 59 w 2430"/>
                <a:gd name="T27" fmla="*/ 115 h 2040"/>
                <a:gd name="T28" fmla="*/ 50 w 2430"/>
                <a:gd name="T29" fmla="*/ 107 h 2040"/>
                <a:gd name="T30" fmla="*/ 28 w 2430"/>
                <a:gd name="T31" fmla="*/ 84 h 2040"/>
                <a:gd name="T32" fmla="*/ 22 w 2430"/>
                <a:gd name="T33" fmla="*/ 82 h 2040"/>
                <a:gd name="T34" fmla="*/ 20 w 2430"/>
                <a:gd name="T35" fmla="*/ 79 h 2040"/>
                <a:gd name="T36" fmla="*/ 16 w 2430"/>
                <a:gd name="T37" fmla="*/ 76 h 2040"/>
                <a:gd name="T38" fmla="*/ 11 w 2430"/>
                <a:gd name="T39" fmla="*/ 74 h 2040"/>
                <a:gd name="T40" fmla="*/ 7 w 2430"/>
                <a:gd name="T41" fmla="*/ 69 h 2040"/>
                <a:gd name="T42" fmla="*/ 0 w 2430"/>
                <a:gd name="T43" fmla="*/ 60 h 2040"/>
                <a:gd name="T44" fmla="*/ 10 w 2430"/>
                <a:gd name="T45" fmla="*/ 53 h 2040"/>
                <a:gd name="T46" fmla="*/ 15 w 2430"/>
                <a:gd name="T47" fmla="*/ 40 h 2040"/>
                <a:gd name="T48" fmla="*/ 9 w 2430"/>
                <a:gd name="T49" fmla="*/ 29 h 2040"/>
                <a:gd name="T50" fmla="*/ 7 w 2430"/>
                <a:gd name="T51" fmla="*/ 16 h 2040"/>
                <a:gd name="T52" fmla="*/ 18 w 2430"/>
                <a:gd name="T53" fmla="*/ 21 h 2040"/>
                <a:gd name="T54" fmla="*/ 48 w 2430"/>
                <a:gd name="T55" fmla="*/ 27 h 2040"/>
                <a:gd name="T56" fmla="*/ 62 w 2430"/>
                <a:gd name="T57" fmla="*/ 25 h 2040"/>
                <a:gd name="T58" fmla="*/ 59 w 2430"/>
                <a:gd name="T59" fmla="*/ 42 h 2040"/>
                <a:gd name="T60" fmla="*/ 54 w 2430"/>
                <a:gd name="T61" fmla="*/ 65 h 2040"/>
                <a:gd name="T62" fmla="*/ 65 w 2430"/>
                <a:gd name="T63" fmla="*/ 60 h 2040"/>
                <a:gd name="T64" fmla="*/ 68 w 2430"/>
                <a:gd name="T65" fmla="*/ 40 h 2040"/>
                <a:gd name="T66" fmla="*/ 75 w 2430"/>
                <a:gd name="T67" fmla="*/ 36 h 2040"/>
                <a:gd name="T68" fmla="*/ 83 w 2430"/>
                <a:gd name="T69" fmla="*/ 29 h 2040"/>
                <a:gd name="T70" fmla="*/ 81 w 2430"/>
                <a:gd name="T71" fmla="*/ 17 h 2040"/>
                <a:gd name="T72" fmla="*/ 66 w 2430"/>
                <a:gd name="T73" fmla="*/ 7 h 2040"/>
                <a:gd name="T74" fmla="*/ 80 w 2430"/>
                <a:gd name="T75" fmla="*/ 5 h 2040"/>
                <a:gd name="T76" fmla="*/ 89 w 2430"/>
                <a:gd name="T77" fmla="*/ 1 h 2040"/>
                <a:gd name="T78" fmla="*/ 101 w 2430"/>
                <a:gd name="T79" fmla="*/ 10 h 2040"/>
                <a:gd name="T80" fmla="*/ 103 w 2430"/>
                <a:gd name="T81" fmla="*/ 18 h 2040"/>
                <a:gd name="T82" fmla="*/ 110 w 2430"/>
                <a:gd name="T83" fmla="*/ 23 h 2040"/>
                <a:gd name="T84" fmla="*/ 121 w 2430"/>
                <a:gd name="T85" fmla="*/ 20 h 2040"/>
                <a:gd name="T86" fmla="*/ 129 w 2430"/>
                <a:gd name="T87" fmla="*/ 15 h 2040"/>
                <a:gd name="T88" fmla="*/ 142 w 2430"/>
                <a:gd name="T89" fmla="*/ 23 h 2040"/>
                <a:gd name="T90" fmla="*/ 141 w 2430"/>
                <a:gd name="T91" fmla="*/ 30 h 2040"/>
                <a:gd name="T92" fmla="*/ 140 w 2430"/>
                <a:gd name="T93" fmla="*/ 38 h 2040"/>
                <a:gd name="T94" fmla="*/ 139 w 2430"/>
                <a:gd name="T95" fmla="*/ 46 h 2040"/>
                <a:gd name="T96" fmla="*/ 147 w 2430"/>
                <a:gd name="T97" fmla="*/ 54 h 2040"/>
                <a:gd name="T98" fmla="*/ 152 w 2430"/>
                <a:gd name="T99" fmla="*/ 50 h 2040"/>
                <a:gd name="T100" fmla="*/ 159 w 2430"/>
                <a:gd name="T101" fmla="*/ 43 h 2040"/>
                <a:gd name="T102" fmla="*/ 174 w 2430"/>
                <a:gd name="T103" fmla="*/ 41 h 2040"/>
                <a:gd name="T104" fmla="*/ 190 w 2430"/>
                <a:gd name="T105" fmla="*/ 57 h 2040"/>
                <a:gd name="T106" fmla="*/ 187 w 2430"/>
                <a:gd name="T107" fmla="*/ 66 h 2040"/>
                <a:gd name="T108" fmla="*/ 183 w 2430"/>
                <a:gd name="T109" fmla="*/ 72 h 2040"/>
                <a:gd name="T110" fmla="*/ 194 w 2430"/>
                <a:gd name="T111" fmla="*/ 73 h 2040"/>
                <a:gd name="T112" fmla="*/ 202 w 2430"/>
                <a:gd name="T113" fmla="*/ 74 h 2040"/>
                <a:gd name="T114" fmla="*/ 204 w 2430"/>
                <a:gd name="T115" fmla="*/ 89 h 2040"/>
                <a:gd name="T116" fmla="*/ 208 w 2430"/>
                <a:gd name="T117" fmla="*/ 99 h 2040"/>
                <a:gd name="T118" fmla="*/ 203 w 2430"/>
                <a:gd name="T119" fmla="*/ 103 h 2040"/>
                <a:gd name="T120" fmla="*/ 209 w 2430"/>
                <a:gd name="T121" fmla="*/ 111 h 2040"/>
                <a:gd name="T122" fmla="*/ 204 w 2430"/>
                <a:gd name="T123" fmla="*/ 124 h 2040"/>
                <a:gd name="T124" fmla="*/ 190 w 2430"/>
                <a:gd name="T125" fmla="*/ 117 h 20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30"/>
                <a:gd name="T190" fmla="*/ 0 h 2040"/>
                <a:gd name="T191" fmla="*/ 2430 w 2430"/>
                <a:gd name="T192" fmla="*/ 2040 h 20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30" h="2040">
                  <a:moveTo>
                    <a:pt x="2076" y="1896"/>
                  </a:moveTo>
                  <a:lnTo>
                    <a:pt x="2070" y="1896"/>
                  </a:lnTo>
                  <a:lnTo>
                    <a:pt x="2070" y="1902"/>
                  </a:lnTo>
                  <a:lnTo>
                    <a:pt x="2076" y="1902"/>
                  </a:lnTo>
                  <a:lnTo>
                    <a:pt x="2082" y="1902"/>
                  </a:lnTo>
                  <a:lnTo>
                    <a:pt x="2082" y="1908"/>
                  </a:lnTo>
                  <a:lnTo>
                    <a:pt x="2076" y="1908"/>
                  </a:lnTo>
                  <a:lnTo>
                    <a:pt x="2076" y="1914"/>
                  </a:lnTo>
                  <a:lnTo>
                    <a:pt x="2070" y="1920"/>
                  </a:lnTo>
                  <a:lnTo>
                    <a:pt x="2064" y="1932"/>
                  </a:lnTo>
                  <a:lnTo>
                    <a:pt x="2064" y="1938"/>
                  </a:lnTo>
                  <a:lnTo>
                    <a:pt x="2058" y="1938"/>
                  </a:lnTo>
                  <a:lnTo>
                    <a:pt x="2052" y="1944"/>
                  </a:lnTo>
                  <a:lnTo>
                    <a:pt x="2052" y="1950"/>
                  </a:lnTo>
                  <a:lnTo>
                    <a:pt x="2040" y="1944"/>
                  </a:lnTo>
                  <a:lnTo>
                    <a:pt x="2040" y="1950"/>
                  </a:lnTo>
                  <a:lnTo>
                    <a:pt x="2034" y="1956"/>
                  </a:lnTo>
                  <a:lnTo>
                    <a:pt x="2034" y="1962"/>
                  </a:lnTo>
                  <a:lnTo>
                    <a:pt x="2028" y="1962"/>
                  </a:lnTo>
                  <a:lnTo>
                    <a:pt x="2022" y="1962"/>
                  </a:lnTo>
                  <a:lnTo>
                    <a:pt x="2022" y="1968"/>
                  </a:lnTo>
                  <a:lnTo>
                    <a:pt x="2028" y="1974"/>
                  </a:lnTo>
                  <a:lnTo>
                    <a:pt x="2034" y="1980"/>
                  </a:lnTo>
                  <a:lnTo>
                    <a:pt x="2028" y="1986"/>
                  </a:lnTo>
                  <a:lnTo>
                    <a:pt x="2022" y="1992"/>
                  </a:lnTo>
                  <a:lnTo>
                    <a:pt x="2022" y="1986"/>
                  </a:lnTo>
                  <a:lnTo>
                    <a:pt x="2016" y="1986"/>
                  </a:lnTo>
                  <a:lnTo>
                    <a:pt x="2010" y="1980"/>
                  </a:lnTo>
                  <a:lnTo>
                    <a:pt x="2004" y="1980"/>
                  </a:lnTo>
                  <a:lnTo>
                    <a:pt x="2004" y="1986"/>
                  </a:lnTo>
                  <a:lnTo>
                    <a:pt x="2010" y="1992"/>
                  </a:lnTo>
                  <a:lnTo>
                    <a:pt x="2010" y="1998"/>
                  </a:lnTo>
                  <a:lnTo>
                    <a:pt x="2004" y="2004"/>
                  </a:lnTo>
                  <a:lnTo>
                    <a:pt x="1998" y="2004"/>
                  </a:lnTo>
                  <a:lnTo>
                    <a:pt x="1998" y="2022"/>
                  </a:lnTo>
                  <a:lnTo>
                    <a:pt x="1998" y="2028"/>
                  </a:lnTo>
                  <a:lnTo>
                    <a:pt x="1992" y="2034"/>
                  </a:lnTo>
                  <a:lnTo>
                    <a:pt x="1992" y="2040"/>
                  </a:lnTo>
                  <a:lnTo>
                    <a:pt x="1986" y="2040"/>
                  </a:lnTo>
                  <a:lnTo>
                    <a:pt x="1986" y="2034"/>
                  </a:lnTo>
                  <a:lnTo>
                    <a:pt x="1980" y="2028"/>
                  </a:lnTo>
                  <a:lnTo>
                    <a:pt x="1980" y="2022"/>
                  </a:lnTo>
                  <a:lnTo>
                    <a:pt x="1968" y="2016"/>
                  </a:lnTo>
                  <a:lnTo>
                    <a:pt x="1962" y="2010"/>
                  </a:lnTo>
                  <a:lnTo>
                    <a:pt x="1956" y="2004"/>
                  </a:lnTo>
                  <a:lnTo>
                    <a:pt x="1950" y="1992"/>
                  </a:lnTo>
                  <a:lnTo>
                    <a:pt x="1950" y="1986"/>
                  </a:lnTo>
                  <a:lnTo>
                    <a:pt x="1950" y="1974"/>
                  </a:lnTo>
                  <a:lnTo>
                    <a:pt x="1944" y="1974"/>
                  </a:lnTo>
                  <a:lnTo>
                    <a:pt x="1932" y="1962"/>
                  </a:lnTo>
                  <a:lnTo>
                    <a:pt x="1932" y="1956"/>
                  </a:lnTo>
                  <a:lnTo>
                    <a:pt x="1932" y="1950"/>
                  </a:lnTo>
                  <a:lnTo>
                    <a:pt x="1920" y="1944"/>
                  </a:lnTo>
                  <a:lnTo>
                    <a:pt x="1914" y="1944"/>
                  </a:lnTo>
                  <a:lnTo>
                    <a:pt x="1908" y="1938"/>
                  </a:lnTo>
                  <a:lnTo>
                    <a:pt x="1902" y="1926"/>
                  </a:lnTo>
                  <a:lnTo>
                    <a:pt x="1890" y="1914"/>
                  </a:lnTo>
                  <a:lnTo>
                    <a:pt x="1884" y="1914"/>
                  </a:lnTo>
                  <a:lnTo>
                    <a:pt x="1878" y="1908"/>
                  </a:lnTo>
                  <a:lnTo>
                    <a:pt x="1872" y="1902"/>
                  </a:lnTo>
                  <a:lnTo>
                    <a:pt x="1872" y="1896"/>
                  </a:lnTo>
                  <a:lnTo>
                    <a:pt x="1866" y="1890"/>
                  </a:lnTo>
                  <a:lnTo>
                    <a:pt x="1854" y="1884"/>
                  </a:lnTo>
                  <a:lnTo>
                    <a:pt x="1848" y="1884"/>
                  </a:lnTo>
                  <a:lnTo>
                    <a:pt x="1842" y="1872"/>
                  </a:lnTo>
                  <a:lnTo>
                    <a:pt x="1836" y="1872"/>
                  </a:lnTo>
                  <a:lnTo>
                    <a:pt x="1830" y="1866"/>
                  </a:lnTo>
                  <a:lnTo>
                    <a:pt x="1830" y="1854"/>
                  </a:lnTo>
                  <a:lnTo>
                    <a:pt x="1824" y="1848"/>
                  </a:lnTo>
                  <a:lnTo>
                    <a:pt x="1818" y="1830"/>
                  </a:lnTo>
                  <a:lnTo>
                    <a:pt x="1818" y="1818"/>
                  </a:lnTo>
                  <a:lnTo>
                    <a:pt x="1812" y="1800"/>
                  </a:lnTo>
                  <a:lnTo>
                    <a:pt x="1812" y="1788"/>
                  </a:lnTo>
                  <a:lnTo>
                    <a:pt x="1806" y="1776"/>
                  </a:lnTo>
                  <a:lnTo>
                    <a:pt x="1800" y="1764"/>
                  </a:lnTo>
                  <a:lnTo>
                    <a:pt x="1794" y="1758"/>
                  </a:lnTo>
                  <a:lnTo>
                    <a:pt x="1782" y="1740"/>
                  </a:lnTo>
                  <a:lnTo>
                    <a:pt x="1776" y="1728"/>
                  </a:lnTo>
                  <a:lnTo>
                    <a:pt x="1776" y="1722"/>
                  </a:lnTo>
                  <a:lnTo>
                    <a:pt x="1770" y="1722"/>
                  </a:lnTo>
                  <a:lnTo>
                    <a:pt x="1770" y="1716"/>
                  </a:lnTo>
                  <a:lnTo>
                    <a:pt x="1764" y="1716"/>
                  </a:lnTo>
                  <a:lnTo>
                    <a:pt x="1758" y="1710"/>
                  </a:lnTo>
                  <a:lnTo>
                    <a:pt x="1752" y="1704"/>
                  </a:lnTo>
                  <a:lnTo>
                    <a:pt x="1746" y="1704"/>
                  </a:lnTo>
                  <a:lnTo>
                    <a:pt x="1740" y="1704"/>
                  </a:lnTo>
                  <a:lnTo>
                    <a:pt x="1734" y="1704"/>
                  </a:lnTo>
                  <a:lnTo>
                    <a:pt x="1734" y="1698"/>
                  </a:lnTo>
                  <a:lnTo>
                    <a:pt x="1728" y="1692"/>
                  </a:lnTo>
                  <a:lnTo>
                    <a:pt x="1722" y="1686"/>
                  </a:lnTo>
                  <a:lnTo>
                    <a:pt x="1716" y="1686"/>
                  </a:lnTo>
                  <a:lnTo>
                    <a:pt x="1698" y="1686"/>
                  </a:lnTo>
                  <a:lnTo>
                    <a:pt x="1692" y="1692"/>
                  </a:lnTo>
                  <a:lnTo>
                    <a:pt x="1680" y="1692"/>
                  </a:lnTo>
                  <a:lnTo>
                    <a:pt x="1668" y="1692"/>
                  </a:lnTo>
                  <a:lnTo>
                    <a:pt x="1662" y="1692"/>
                  </a:lnTo>
                  <a:lnTo>
                    <a:pt x="1656" y="1692"/>
                  </a:lnTo>
                  <a:lnTo>
                    <a:pt x="1650" y="1698"/>
                  </a:lnTo>
                  <a:lnTo>
                    <a:pt x="1644" y="1698"/>
                  </a:lnTo>
                  <a:lnTo>
                    <a:pt x="1638" y="1698"/>
                  </a:lnTo>
                  <a:lnTo>
                    <a:pt x="1632" y="1698"/>
                  </a:lnTo>
                  <a:lnTo>
                    <a:pt x="1632" y="1692"/>
                  </a:lnTo>
                  <a:lnTo>
                    <a:pt x="1620" y="1680"/>
                  </a:lnTo>
                  <a:lnTo>
                    <a:pt x="1614" y="1680"/>
                  </a:lnTo>
                  <a:lnTo>
                    <a:pt x="1608" y="1680"/>
                  </a:lnTo>
                  <a:lnTo>
                    <a:pt x="1602" y="1680"/>
                  </a:lnTo>
                  <a:lnTo>
                    <a:pt x="1596" y="1674"/>
                  </a:lnTo>
                  <a:lnTo>
                    <a:pt x="1584" y="1674"/>
                  </a:lnTo>
                  <a:lnTo>
                    <a:pt x="1572" y="1674"/>
                  </a:lnTo>
                  <a:lnTo>
                    <a:pt x="1560" y="1674"/>
                  </a:lnTo>
                  <a:lnTo>
                    <a:pt x="1542" y="1680"/>
                  </a:lnTo>
                  <a:lnTo>
                    <a:pt x="1530" y="1680"/>
                  </a:lnTo>
                  <a:lnTo>
                    <a:pt x="1530" y="1674"/>
                  </a:lnTo>
                  <a:lnTo>
                    <a:pt x="1524" y="1674"/>
                  </a:lnTo>
                  <a:lnTo>
                    <a:pt x="1518" y="1674"/>
                  </a:lnTo>
                  <a:lnTo>
                    <a:pt x="1512" y="1674"/>
                  </a:lnTo>
                  <a:lnTo>
                    <a:pt x="1506" y="1674"/>
                  </a:lnTo>
                  <a:lnTo>
                    <a:pt x="1500" y="1680"/>
                  </a:lnTo>
                  <a:lnTo>
                    <a:pt x="1488" y="1680"/>
                  </a:lnTo>
                  <a:lnTo>
                    <a:pt x="1482" y="1674"/>
                  </a:lnTo>
                  <a:lnTo>
                    <a:pt x="1476" y="1674"/>
                  </a:lnTo>
                  <a:lnTo>
                    <a:pt x="1464" y="1674"/>
                  </a:lnTo>
                  <a:lnTo>
                    <a:pt x="1452" y="1680"/>
                  </a:lnTo>
                  <a:lnTo>
                    <a:pt x="1434" y="1680"/>
                  </a:lnTo>
                  <a:lnTo>
                    <a:pt x="1422" y="1680"/>
                  </a:lnTo>
                  <a:lnTo>
                    <a:pt x="1416" y="1680"/>
                  </a:lnTo>
                  <a:lnTo>
                    <a:pt x="1404" y="1674"/>
                  </a:lnTo>
                  <a:lnTo>
                    <a:pt x="1398" y="1674"/>
                  </a:lnTo>
                  <a:lnTo>
                    <a:pt x="1392" y="1662"/>
                  </a:lnTo>
                  <a:lnTo>
                    <a:pt x="1380" y="1644"/>
                  </a:lnTo>
                  <a:lnTo>
                    <a:pt x="1374" y="1632"/>
                  </a:lnTo>
                  <a:lnTo>
                    <a:pt x="1362" y="1626"/>
                  </a:lnTo>
                  <a:lnTo>
                    <a:pt x="1356" y="1620"/>
                  </a:lnTo>
                  <a:lnTo>
                    <a:pt x="1350" y="1626"/>
                  </a:lnTo>
                  <a:lnTo>
                    <a:pt x="1338" y="1626"/>
                  </a:lnTo>
                  <a:lnTo>
                    <a:pt x="1326" y="1626"/>
                  </a:lnTo>
                  <a:lnTo>
                    <a:pt x="1314" y="1620"/>
                  </a:lnTo>
                  <a:lnTo>
                    <a:pt x="1308" y="1614"/>
                  </a:lnTo>
                  <a:lnTo>
                    <a:pt x="1302" y="1608"/>
                  </a:lnTo>
                  <a:lnTo>
                    <a:pt x="1296" y="1602"/>
                  </a:lnTo>
                  <a:lnTo>
                    <a:pt x="1290" y="1602"/>
                  </a:lnTo>
                  <a:lnTo>
                    <a:pt x="1290" y="1596"/>
                  </a:lnTo>
                  <a:lnTo>
                    <a:pt x="1284" y="1590"/>
                  </a:lnTo>
                  <a:lnTo>
                    <a:pt x="1272" y="1584"/>
                  </a:lnTo>
                  <a:lnTo>
                    <a:pt x="1254" y="1572"/>
                  </a:lnTo>
                  <a:lnTo>
                    <a:pt x="1236" y="1554"/>
                  </a:lnTo>
                  <a:lnTo>
                    <a:pt x="1230" y="1554"/>
                  </a:lnTo>
                  <a:lnTo>
                    <a:pt x="1224" y="1554"/>
                  </a:lnTo>
                  <a:lnTo>
                    <a:pt x="1212" y="1554"/>
                  </a:lnTo>
                  <a:lnTo>
                    <a:pt x="1194" y="1542"/>
                  </a:lnTo>
                  <a:lnTo>
                    <a:pt x="1188" y="1536"/>
                  </a:lnTo>
                  <a:lnTo>
                    <a:pt x="1182" y="1530"/>
                  </a:lnTo>
                  <a:lnTo>
                    <a:pt x="1176" y="1530"/>
                  </a:lnTo>
                  <a:lnTo>
                    <a:pt x="1170" y="1530"/>
                  </a:lnTo>
                  <a:lnTo>
                    <a:pt x="1158" y="1524"/>
                  </a:lnTo>
                  <a:lnTo>
                    <a:pt x="1152" y="1524"/>
                  </a:lnTo>
                  <a:lnTo>
                    <a:pt x="1140" y="1518"/>
                  </a:lnTo>
                  <a:lnTo>
                    <a:pt x="1128" y="1518"/>
                  </a:lnTo>
                  <a:lnTo>
                    <a:pt x="1122" y="1518"/>
                  </a:lnTo>
                  <a:lnTo>
                    <a:pt x="1116" y="1518"/>
                  </a:lnTo>
                  <a:lnTo>
                    <a:pt x="1104" y="1518"/>
                  </a:lnTo>
                  <a:lnTo>
                    <a:pt x="1092" y="1518"/>
                  </a:lnTo>
                  <a:lnTo>
                    <a:pt x="1080" y="1518"/>
                  </a:lnTo>
                  <a:lnTo>
                    <a:pt x="1068" y="1518"/>
                  </a:lnTo>
                  <a:lnTo>
                    <a:pt x="1062" y="1518"/>
                  </a:lnTo>
                  <a:lnTo>
                    <a:pt x="1056" y="1518"/>
                  </a:lnTo>
                  <a:lnTo>
                    <a:pt x="1050" y="1512"/>
                  </a:lnTo>
                  <a:lnTo>
                    <a:pt x="1044" y="1512"/>
                  </a:lnTo>
                  <a:lnTo>
                    <a:pt x="1038" y="1512"/>
                  </a:lnTo>
                  <a:lnTo>
                    <a:pt x="1032" y="1506"/>
                  </a:lnTo>
                  <a:lnTo>
                    <a:pt x="1026" y="1500"/>
                  </a:lnTo>
                  <a:lnTo>
                    <a:pt x="1026" y="1494"/>
                  </a:lnTo>
                  <a:lnTo>
                    <a:pt x="1020" y="1476"/>
                  </a:lnTo>
                  <a:lnTo>
                    <a:pt x="1008" y="1464"/>
                  </a:lnTo>
                  <a:lnTo>
                    <a:pt x="1008" y="1458"/>
                  </a:lnTo>
                  <a:lnTo>
                    <a:pt x="1002" y="1446"/>
                  </a:lnTo>
                  <a:lnTo>
                    <a:pt x="996" y="1446"/>
                  </a:lnTo>
                  <a:lnTo>
                    <a:pt x="990" y="1440"/>
                  </a:lnTo>
                  <a:lnTo>
                    <a:pt x="984" y="1434"/>
                  </a:lnTo>
                  <a:lnTo>
                    <a:pt x="978" y="1434"/>
                  </a:lnTo>
                  <a:lnTo>
                    <a:pt x="972" y="1434"/>
                  </a:lnTo>
                  <a:lnTo>
                    <a:pt x="966" y="1428"/>
                  </a:lnTo>
                  <a:lnTo>
                    <a:pt x="954" y="1422"/>
                  </a:lnTo>
                  <a:lnTo>
                    <a:pt x="942" y="1416"/>
                  </a:lnTo>
                  <a:lnTo>
                    <a:pt x="924" y="1398"/>
                  </a:lnTo>
                  <a:lnTo>
                    <a:pt x="912" y="1386"/>
                  </a:lnTo>
                  <a:lnTo>
                    <a:pt x="900" y="1386"/>
                  </a:lnTo>
                  <a:lnTo>
                    <a:pt x="894" y="1386"/>
                  </a:lnTo>
                  <a:lnTo>
                    <a:pt x="882" y="1392"/>
                  </a:lnTo>
                  <a:lnTo>
                    <a:pt x="876" y="1392"/>
                  </a:lnTo>
                  <a:lnTo>
                    <a:pt x="864" y="1398"/>
                  </a:lnTo>
                  <a:lnTo>
                    <a:pt x="864" y="1404"/>
                  </a:lnTo>
                  <a:lnTo>
                    <a:pt x="858" y="1410"/>
                  </a:lnTo>
                  <a:lnTo>
                    <a:pt x="852" y="1410"/>
                  </a:lnTo>
                  <a:lnTo>
                    <a:pt x="846" y="1410"/>
                  </a:lnTo>
                  <a:lnTo>
                    <a:pt x="834" y="1410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10" y="1428"/>
                  </a:lnTo>
                  <a:lnTo>
                    <a:pt x="798" y="1428"/>
                  </a:lnTo>
                  <a:lnTo>
                    <a:pt x="792" y="1428"/>
                  </a:lnTo>
                  <a:lnTo>
                    <a:pt x="780" y="1434"/>
                  </a:lnTo>
                  <a:lnTo>
                    <a:pt x="774" y="1428"/>
                  </a:lnTo>
                  <a:lnTo>
                    <a:pt x="762" y="1428"/>
                  </a:lnTo>
                  <a:lnTo>
                    <a:pt x="756" y="1422"/>
                  </a:lnTo>
                  <a:lnTo>
                    <a:pt x="750" y="1416"/>
                  </a:lnTo>
                  <a:lnTo>
                    <a:pt x="744" y="1410"/>
                  </a:lnTo>
                  <a:lnTo>
                    <a:pt x="744" y="1398"/>
                  </a:lnTo>
                  <a:lnTo>
                    <a:pt x="744" y="1386"/>
                  </a:lnTo>
                  <a:lnTo>
                    <a:pt x="750" y="1380"/>
                  </a:lnTo>
                  <a:lnTo>
                    <a:pt x="750" y="1374"/>
                  </a:lnTo>
                  <a:lnTo>
                    <a:pt x="750" y="1368"/>
                  </a:lnTo>
                  <a:lnTo>
                    <a:pt x="756" y="1362"/>
                  </a:lnTo>
                  <a:lnTo>
                    <a:pt x="750" y="1350"/>
                  </a:lnTo>
                  <a:lnTo>
                    <a:pt x="744" y="1344"/>
                  </a:lnTo>
                  <a:lnTo>
                    <a:pt x="738" y="1338"/>
                  </a:lnTo>
                  <a:lnTo>
                    <a:pt x="726" y="1338"/>
                  </a:lnTo>
                  <a:lnTo>
                    <a:pt x="720" y="1338"/>
                  </a:lnTo>
                  <a:lnTo>
                    <a:pt x="714" y="1338"/>
                  </a:lnTo>
                  <a:lnTo>
                    <a:pt x="708" y="1332"/>
                  </a:lnTo>
                  <a:lnTo>
                    <a:pt x="702" y="1332"/>
                  </a:lnTo>
                  <a:lnTo>
                    <a:pt x="696" y="1326"/>
                  </a:lnTo>
                  <a:lnTo>
                    <a:pt x="684" y="1326"/>
                  </a:lnTo>
                  <a:lnTo>
                    <a:pt x="678" y="1326"/>
                  </a:lnTo>
                  <a:lnTo>
                    <a:pt x="672" y="1314"/>
                  </a:lnTo>
                  <a:lnTo>
                    <a:pt x="666" y="1308"/>
                  </a:lnTo>
                  <a:lnTo>
                    <a:pt x="654" y="1296"/>
                  </a:lnTo>
                  <a:lnTo>
                    <a:pt x="654" y="1290"/>
                  </a:lnTo>
                  <a:lnTo>
                    <a:pt x="630" y="1284"/>
                  </a:lnTo>
                  <a:lnTo>
                    <a:pt x="630" y="1278"/>
                  </a:lnTo>
                  <a:lnTo>
                    <a:pt x="624" y="1278"/>
                  </a:lnTo>
                  <a:lnTo>
                    <a:pt x="618" y="1266"/>
                  </a:lnTo>
                  <a:lnTo>
                    <a:pt x="612" y="1266"/>
                  </a:lnTo>
                  <a:lnTo>
                    <a:pt x="606" y="1266"/>
                  </a:lnTo>
                  <a:lnTo>
                    <a:pt x="606" y="1260"/>
                  </a:lnTo>
                  <a:lnTo>
                    <a:pt x="594" y="1248"/>
                  </a:lnTo>
                  <a:lnTo>
                    <a:pt x="582" y="1248"/>
                  </a:lnTo>
                  <a:lnTo>
                    <a:pt x="576" y="1242"/>
                  </a:lnTo>
                  <a:lnTo>
                    <a:pt x="570" y="1236"/>
                  </a:lnTo>
                  <a:lnTo>
                    <a:pt x="504" y="1164"/>
                  </a:lnTo>
                  <a:lnTo>
                    <a:pt x="450" y="1110"/>
                  </a:lnTo>
                  <a:lnTo>
                    <a:pt x="426" y="1092"/>
                  </a:lnTo>
                  <a:lnTo>
                    <a:pt x="426" y="1074"/>
                  </a:lnTo>
                  <a:lnTo>
                    <a:pt x="420" y="1062"/>
                  </a:lnTo>
                  <a:lnTo>
                    <a:pt x="396" y="1056"/>
                  </a:lnTo>
                  <a:lnTo>
                    <a:pt x="384" y="1032"/>
                  </a:lnTo>
                  <a:lnTo>
                    <a:pt x="372" y="1020"/>
                  </a:lnTo>
                  <a:lnTo>
                    <a:pt x="360" y="984"/>
                  </a:lnTo>
                  <a:lnTo>
                    <a:pt x="348" y="978"/>
                  </a:lnTo>
                  <a:lnTo>
                    <a:pt x="342" y="972"/>
                  </a:lnTo>
                  <a:lnTo>
                    <a:pt x="348" y="960"/>
                  </a:lnTo>
                  <a:lnTo>
                    <a:pt x="342" y="954"/>
                  </a:lnTo>
                  <a:lnTo>
                    <a:pt x="336" y="954"/>
                  </a:lnTo>
                  <a:lnTo>
                    <a:pt x="330" y="954"/>
                  </a:lnTo>
                  <a:lnTo>
                    <a:pt x="324" y="972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0" y="966"/>
                  </a:lnTo>
                  <a:lnTo>
                    <a:pt x="294" y="966"/>
                  </a:lnTo>
                  <a:lnTo>
                    <a:pt x="288" y="972"/>
                  </a:lnTo>
                  <a:lnTo>
                    <a:pt x="288" y="966"/>
                  </a:lnTo>
                  <a:lnTo>
                    <a:pt x="282" y="948"/>
                  </a:lnTo>
                  <a:lnTo>
                    <a:pt x="282" y="942"/>
                  </a:lnTo>
                  <a:lnTo>
                    <a:pt x="276" y="942"/>
                  </a:lnTo>
                  <a:lnTo>
                    <a:pt x="276" y="936"/>
                  </a:lnTo>
                  <a:lnTo>
                    <a:pt x="270" y="942"/>
                  </a:lnTo>
                  <a:lnTo>
                    <a:pt x="264" y="948"/>
                  </a:lnTo>
                  <a:lnTo>
                    <a:pt x="264" y="942"/>
                  </a:lnTo>
                  <a:lnTo>
                    <a:pt x="258" y="942"/>
                  </a:lnTo>
                  <a:lnTo>
                    <a:pt x="252" y="948"/>
                  </a:lnTo>
                  <a:lnTo>
                    <a:pt x="252" y="942"/>
                  </a:lnTo>
                  <a:lnTo>
                    <a:pt x="246" y="936"/>
                  </a:lnTo>
                  <a:lnTo>
                    <a:pt x="240" y="942"/>
                  </a:lnTo>
                  <a:lnTo>
                    <a:pt x="234" y="936"/>
                  </a:lnTo>
                  <a:lnTo>
                    <a:pt x="228" y="936"/>
                  </a:lnTo>
                  <a:lnTo>
                    <a:pt x="222" y="936"/>
                  </a:lnTo>
                  <a:lnTo>
                    <a:pt x="222" y="930"/>
                  </a:lnTo>
                  <a:lnTo>
                    <a:pt x="222" y="924"/>
                  </a:lnTo>
                  <a:lnTo>
                    <a:pt x="228" y="924"/>
                  </a:lnTo>
                  <a:lnTo>
                    <a:pt x="234" y="924"/>
                  </a:lnTo>
                  <a:lnTo>
                    <a:pt x="240" y="924"/>
                  </a:lnTo>
                  <a:lnTo>
                    <a:pt x="240" y="918"/>
                  </a:lnTo>
                  <a:lnTo>
                    <a:pt x="246" y="918"/>
                  </a:lnTo>
                  <a:lnTo>
                    <a:pt x="246" y="912"/>
                  </a:lnTo>
                  <a:lnTo>
                    <a:pt x="240" y="906"/>
                  </a:lnTo>
                  <a:lnTo>
                    <a:pt x="234" y="906"/>
                  </a:lnTo>
                  <a:lnTo>
                    <a:pt x="228" y="906"/>
                  </a:lnTo>
                  <a:lnTo>
                    <a:pt x="228" y="912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8" y="894"/>
                  </a:lnTo>
                  <a:lnTo>
                    <a:pt x="234" y="894"/>
                  </a:lnTo>
                  <a:lnTo>
                    <a:pt x="228" y="888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198" y="888"/>
                  </a:lnTo>
                  <a:lnTo>
                    <a:pt x="192" y="882"/>
                  </a:lnTo>
                  <a:lnTo>
                    <a:pt x="186" y="882"/>
                  </a:lnTo>
                  <a:lnTo>
                    <a:pt x="186" y="876"/>
                  </a:lnTo>
                  <a:lnTo>
                    <a:pt x="192" y="876"/>
                  </a:lnTo>
                  <a:lnTo>
                    <a:pt x="192" y="870"/>
                  </a:lnTo>
                  <a:lnTo>
                    <a:pt x="198" y="870"/>
                  </a:lnTo>
                  <a:lnTo>
                    <a:pt x="198" y="864"/>
                  </a:lnTo>
                  <a:lnTo>
                    <a:pt x="198" y="858"/>
                  </a:lnTo>
                  <a:lnTo>
                    <a:pt x="180" y="852"/>
                  </a:lnTo>
                  <a:lnTo>
                    <a:pt x="174" y="840"/>
                  </a:lnTo>
                  <a:lnTo>
                    <a:pt x="162" y="846"/>
                  </a:lnTo>
                  <a:lnTo>
                    <a:pt x="156" y="846"/>
                  </a:lnTo>
                  <a:lnTo>
                    <a:pt x="150" y="846"/>
                  </a:lnTo>
                  <a:lnTo>
                    <a:pt x="150" y="840"/>
                  </a:lnTo>
                  <a:lnTo>
                    <a:pt x="138" y="834"/>
                  </a:lnTo>
                  <a:lnTo>
                    <a:pt x="132" y="834"/>
                  </a:lnTo>
                  <a:lnTo>
                    <a:pt x="132" y="840"/>
                  </a:lnTo>
                  <a:lnTo>
                    <a:pt x="126" y="840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58"/>
                  </a:lnTo>
                  <a:lnTo>
                    <a:pt x="120" y="846"/>
                  </a:lnTo>
                  <a:lnTo>
                    <a:pt x="114" y="846"/>
                  </a:lnTo>
                  <a:lnTo>
                    <a:pt x="108" y="840"/>
                  </a:lnTo>
                  <a:lnTo>
                    <a:pt x="102" y="834"/>
                  </a:lnTo>
                  <a:lnTo>
                    <a:pt x="102" y="822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78" y="804"/>
                  </a:lnTo>
                  <a:lnTo>
                    <a:pt x="78" y="798"/>
                  </a:lnTo>
                  <a:lnTo>
                    <a:pt x="78" y="792"/>
                  </a:lnTo>
                  <a:lnTo>
                    <a:pt x="78" y="786"/>
                  </a:lnTo>
                  <a:lnTo>
                    <a:pt x="78" y="780"/>
                  </a:lnTo>
                  <a:lnTo>
                    <a:pt x="72" y="774"/>
                  </a:lnTo>
                  <a:lnTo>
                    <a:pt x="66" y="774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60" y="762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6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2" y="666"/>
                  </a:lnTo>
                  <a:lnTo>
                    <a:pt x="18" y="648"/>
                  </a:lnTo>
                  <a:lnTo>
                    <a:pt x="24" y="636"/>
                  </a:lnTo>
                  <a:lnTo>
                    <a:pt x="30" y="630"/>
                  </a:lnTo>
                  <a:lnTo>
                    <a:pt x="30" y="624"/>
                  </a:lnTo>
                  <a:lnTo>
                    <a:pt x="30" y="612"/>
                  </a:lnTo>
                  <a:lnTo>
                    <a:pt x="30" y="606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66" y="582"/>
                  </a:lnTo>
                  <a:lnTo>
                    <a:pt x="72" y="588"/>
                  </a:lnTo>
                  <a:lnTo>
                    <a:pt x="84" y="594"/>
                  </a:lnTo>
                  <a:lnTo>
                    <a:pt x="90" y="600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14" y="612"/>
                  </a:lnTo>
                  <a:lnTo>
                    <a:pt x="120" y="612"/>
                  </a:lnTo>
                  <a:lnTo>
                    <a:pt x="126" y="618"/>
                  </a:lnTo>
                  <a:lnTo>
                    <a:pt x="138" y="594"/>
                  </a:lnTo>
                  <a:lnTo>
                    <a:pt x="138" y="582"/>
                  </a:lnTo>
                  <a:lnTo>
                    <a:pt x="138" y="570"/>
                  </a:lnTo>
                  <a:lnTo>
                    <a:pt x="138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50" y="528"/>
                  </a:lnTo>
                  <a:lnTo>
                    <a:pt x="156" y="510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62"/>
                  </a:lnTo>
                  <a:lnTo>
                    <a:pt x="168" y="450"/>
                  </a:lnTo>
                  <a:lnTo>
                    <a:pt x="168" y="444"/>
                  </a:lnTo>
                  <a:lnTo>
                    <a:pt x="162" y="432"/>
                  </a:lnTo>
                  <a:lnTo>
                    <a:pt x="162" y="426"/>
                  </a:lnTo>
                  <a:lnTo>
                    <a:pt x="156" y="420"/>
                  </a:lnTo>
                  <a:lnTo>
                    <a:pt x="144" y="414"/>
                  </a:lnTo>
                  <a:lnTo>
                    <a:pt x="132" y="402"/>
                  </a:lnTo>
                  <a:lnTo>
                    <a:pt x="126" y="390"/>
                  </a:lnTo>
                  <a:lnTo>
                    <a:pt x="120" y="384"/>
                  </a:lnTo>
                  <a:lnTo>
                    <a:pt x="120" y="372"/>
                  </a:lnTo>
                  <a:lnTo>
                    <a:pt x="114" y="360"/>
                  </a:lnTo>
                  <a:lnTo>
                    <a:pt x="108" y="360"/>
                  </a:lnTo>
                  <a:lnTo>
                    <a:pt x="108" y="354"/>
                  </a:lnTo>
                  <a:lnTo>
                    <a:pt x="102" y="348"/>
                  </a:lnTo>
                  <a:lnTo>
                    <a:pt x="102" y="342"/>
                  </a:lnTo>
                  <a:lnTo>
                    <a:pt x="108" y="330"/>
                  </a:lnTo>
                  <a:lnTo>
                    <a:pt x="114" y="312"/>
                  </a:lnTo>
                  <a:lnTo>
                    <a:pt x="114" y="300"/>
                  </a:lnTo>
                  <a:lnTo>
                    <a:pt x="120" y="288"/>
                  </a:lnTo>
                  <a:lnTo>
                    <a:pt x="120" y="282"/>
                  </a:lnTo>
                  <a:lnTo>
                    <a:pt x="114" y="270"/>
                  </a:lnTo>
                  <a:lnTo>
                    <a:pt x="114" y="258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84" y="222"/>
                  </a:lnTo>
                  <a:lnTo>
                    <a:pt x="84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84" y="186"/>
                  </a:lnTo>
                  <a:lnTo>
                    <a:pt x="84" y="180"/>
                  </a:lnTo>
                  <a:lnTo>
                    <a:pt x="108" y="174"/>
                  </a:lnTo>
                  <a:lnTo>
                    <a:pt x="132" y="186"/>
                  </a:lnTo>
                  <a:lnTo>
                    <a:pt x="138" y="192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56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74" y="204"/>
                  </a:lnTo>
                  <a:lnTo>
                    <a:pt x="180" y="216"/>
                  </a:lnTo>
                  <a:lnTo>
                    <a:pt x="186" y="228"/>
                  </a:lnTo>
                  <a:lnTo>
                    <a:pt x="192" y="234"/>
                  </a:lnTo>
                  <a:lnTo>
                    <a:pt x="198" y="234"/>
                  </a:lnTo>
                  <a:lnTo>
                    <a:pt x="204" y="240"/>
                  </a:lnTo>
                  <a:lnTo>
                    <a:pt x="210" y="240"/>
                  </a:lnTo>
                  <a:lnTo>
                    <a:pt x="216" y="240"/>
                  </a:lnTo>
                  <a:lnTo>
                    <a:pt x="222" y="240"/>
                  </a:lnTo>
                  <a:lnTo>
                    <a:pt x="228" y="246"/>
                  </a:lnTo>
                  <a:lnTo>
                    <a:pt x="234" y="246"/>
                  </a:lnTo>
                  <a:lnTo>
                    <a:pt x="240" y="246"/>
                  </a:lnTo>
                  <a:lnTo>
                    <a:pt x="252" y="252"/>
                  </a:lnTo>
                  <a:lnTo>
                    <a:pt x="330" y="246"/>
                  </a:lnTo>
                  <a:lnTo>
                    <a:pt x="360" y="228"/>
                  </a:lnTo>
                  <a:lnTo>
                    <a:pt x="396" y="228"/>
                  </a:lnTo>
                  <a:lnTo>
                    <a:pt x="402" y="240"/>
                  </a:lnTo>
                  <a:lnTo>
                    <a:pt x="432" y="240"/>
                  </a:lnTo>
                  <a:lnTo>
                    <a:pt x="450" y="258"/>
                  </a:lnTo>
                  <a:lnTo>
                    <a:pt x="468" y="258"/>
                  </a:lnTo>
                  <a:lnTo>
                    <a:pt x="474" y="294"/>
                  </a:lnTo>
                  <a:lnTo>
                    <a:pt x="558" y="318"/>
                  </a:lnTo>
                  <a:lnTo>
                    <a:pt x="588" y="318"/>
                  </a:lnTo>
                  <a:lnTo>
                    <a:pt x="588" y="312"/>
                  </a:lnTo>
                  <a:lnTo>
                    <a:pt x="594" y="306"/>
                  </a:lnTo>
                  <a:lnTo>
                    <a:pt x="600" y="306"/>
                  </a:lnTo>
                  <a:lnTo>
                    <a:pt x="612" y="300"/>
                  </a:lnTo>
                  <a:lnTo>
                    <a:pt x="618" y="300"/>
                  </a:lnTo>
                  <a:lnTo>
                    <a:pt x="630" y="300"/>
                  </a:lnTo>
                  <a:lnTo>
                    <a:pt x="642" y="306"/>
                  </a:lnTo>
                  <a:lnTo>
                    <a:pt x="660" y="306"/>
                  </a:lnTo>
                  <a:lnTo>
                    <a:pt x="666" y="306"/>
                  </a:lnTo>
                  <a:lnTo>
                    <a:pt x="672" y="306"/>
                  </a:lnTo>
                  <a:lnTo>
                    <a:pt x="684" y="300"/>
                  </a:lnTo>
                  <a:lnTo>
                    <a:pt x="696" y="294"/>
                  </a:lnTo>
                  <a:lnTo>
                    <a:pt x="702" y="288"/>
                  </a:lnTo>
                  <a:lnTo>
                    <a:pt x="714" y="282"/>
                  </a:lnTo>
                  <a:lnTo>
                    <a:pt x="714" y="288"/>
                  </a:lnTo>
                  <a:lnTo>
                    <a:pt x="726" y="300"/>
                  </a:lnTo>
                  <a:lnTo>
                    <a:pt x="732" y="306"/>
                  </a:lnTo>
                  <a:lnTo>
                    <a:pt x="732" y="318"/>
                  </a:lnTo>
                  <a:lnTo>
                    <a:pt x="732" y="330"/>
                  </a:lnTo>
                  <a:lnTo>
                    <a:pt x="726" y="342"/>
                  </a:lnTo>
                  <a:lnTo>
                    <a:pt x="720" y="354"/>
                  </a:lnTo>
                  <a:lnTo>
                    <a:pt x="720" y="360"/>
                  </a:lnTo>
                  <a:lnTo>
                    <a:pt x="714" y="372"/>
                  </a:lnTo>
                  <a:lnTo>
                    <a:pt x="714" y="378"/>
                  </a:lnTo>
                  <a:lnTo>
                    <a:pt x="714" y="408"/>
                  </a:lnTo>
                  <a:lnTo>
                    <a:pt x="708" y="420"/>
                  </a:lnTo>
                  <a:lnTo>
                    <a:pt x="714" y="432"/>
                  </a:lnTo>
                  <a:lnTo>
                    <a:pt x="708" y="450"/>
                  </a:lnTo>
                  <a:lnTo>
                    <a:pt x="708" y="468"/>
                  </a:lnTo>
                  <a:lnTo>
                    <a:pt x="696" y="480"/>
                  </a:lnTo>
                  <a:lnTo>
                    <a:pt x="684" y="486"/>
                  </a:lnTo>
                  <a:lnTo>
                    <a:pt x="672" y="492"/>
                  </a:lnTo>
                  <a:lnTo>
                    <a:pt x="660" y="498"/>
                  </a:lnTo>
                  <a:lnTo>
                    <a:pt x="654" y="510"/>
                  </a:lnTo>
                  <a:lnTo>
                    <a:pt x="648" y="516"/>
                  </a:lnTo>
                  <a:lnTo>
                    <a:pt x="642" y="522"/>
                  </a:lnTo>
                  <a:lnTo>
                    <a:pt x="630" y="522"/>
                  </a:lnTo>
                  <a:lnTo>
                    <a:pt x="624" y="528"/>
                  </a:lnTo>
                  <a:lnTo>
                    <a:pt x="618" y="540"/>
                  </a:lnTo>
                  <a:lnTo>
                    <a:pt x="618" y="558"/>
                  </a:lnTo>
                  <a:lnTo>
                    <a:pt x="612" y="576"/>
                  </a:lnTo>
                  <a:lnTo>
                    <a:pt x="612" y="684"/>
                  </a:lnTo>
                  <a:lnTo>
                    <a:pt x="618" y="696"/>
                  </a:lnTo>
                  <a:lnTo>
                    <a:pt x="636" y="696"/>
                  </a:lnTo>
                  <a:lnTo>
                    <a:pt x="636" y="720"/>
                  </a:lnTo>
                  <a:lnTo>
                    <a:pt x="636" y="732"/>
                  </a:lnTo>
                  <a:lnTo>
                    <a:pt x="618" y="750"/>
                  </a:lnTo>
                  <a:lnTo>
                    <a:pt x="606" y="762"/>
                  </a:lnTo>
                  <a:lnTo>
                    <a:pt x="600" y="774"/>
                  </a:lnTo>
                  <a:lnTo>
                    <a:pt x="594" y="798"/>
                  </a:lnTo>
                  <a:lnTo>
                    <a:pt x="606" y="798"/>
                  </a:lnTo>
                  <a:lnTo>
                    <a:pt x="660" y="792"/>
                  </a:lnTo>
                  <a:lnTo>
                    <a:pt x="696" y="798"/>
                  </a:lnTo>
                  <a:lnTo>
                    <a:pt x="720" y="798"/>
                  </a:lnTo>
                  <a:lnTo>
                    <a:pt x="720" y="786"/>
                  </a:lnTo>
                  <a:lnTo>
                    <a:pt x="720" y="774"/>
                  </a:lnTo>
                  <a:lnTo>
                    <a:pt x="702" y="762"/>
                  </a:lnTo>
                  <a:lnTo>
                    <a:pt x="702" y="750"/>
                  </a:lnTo>
                  <a:lnTo>
                    <a:pt x="702" y="726"/>
                  </a:lnTo>
                  <a:lnTo>
                    <a:pt x="714" y="714"/>
                  </a:lnTo>
                  <a:lnTo>
                    <a:pt x="720" y="702"/>
                  </a:lnTo>
                  <a:lnTo>
                    <a:pt x="720" y="696"/>
                  </a:lnTo>
                  <a:lnTo>
                    <a:pt x="744" y="690"/>
                  </a:lnTo>
                  <a:lnTo>
                    <a:pt x="744" y="696"/>
                  </a:lnTo>
                  <a:lnTo>
                    <a:pt x="756" y="696"/>
                  </a:lnTo>
                  <a:lnTo>
                    <a:pt x="762" y="690"/>
                  </a:lnTo>
                  <a:lnTo>
                    <a:pt x="768" y="690"/>
                  </a:lnTo>
                  <a:lnTo>
                    <a:pt x="774" y="696"/>
                  </a:lnTo>
                  <a:lnTo>
                    <a:pt x="780" y="696"/>
                  </a:lnTo>
                  <a:lnTo>
                    <a:pt x="786" y="696"/>
                  </a:lnTo>
                  <a:lnTo>
                    <a:pt x="804" y="684"/>
                  </a:lnTo>
                  <a:lnTo>
                    <a:pt x="810" y="684"/>
                  </a:lnTo>
                  <a:lnTo>
                    <a:pt x="810" y="654"/>
                  </a:lnTo>
                  <a:lnTo>
                    <a:pt x="816" y="588"/>
                  </a:lnTo>
                  <a:lnTo>
                    <a:pt x="804" y="582"/>
                  </a:lnTo>
                  <a:lnTo>
                    <a:pt x="798" y="552"/>
                  </a:lnTo>
                  <a:lnTo>
                    <a:pt x="798" y="480"/>
                  </a:lnTo>
                  <a:lnTo>
                    <a:pt x="780" y="468"/>
                  </a:lnTo>
                  <a:lnTo>
                    <a:pt x="780" y="462"/>
                  </a:lnTo>
                  <a:lnTo>
                    <a:pt x="774" y="450"/>
                  </a:lnTo>
                  <a:lnTo>
                    <a:pt x="762" y="444"/>
                  </a:lnTo>
                  <a:lnTo>
                    <a:pt x="762" y="438"/>
                  </a:lnTo>
                  <a:lnTo>
                    <a:pt x="768" y="432"/>
                  </a:lnTo>
                  <a:lnTo>
                    <a:pt x="774" y="426"/>
                  </a:lnTo>
                  <a:lnTo>
                    <a:pt x="780" y="426"/>
                  </a:lnTo>
                  <a:lnTo>
                    <a:pt x="780" y="414"/>
                  </a:lnTo>
                  <a:lnTo>
                    <a:pt x="834" y="414"/>
                  </a:lnTo>
                  <a:lnTo>
                    <a:pt x="834" y="426"/>
                  </a:lnTo>
                  <a:lnTo>
                    <a:pt x="840" y="432"/>
                  </a:lnTo>
                  <a:lnTo>
                    <a:pt x="846" y="432"/>
                  </a:lnTo>
                  <a:lnTo>
                    <a:pt x="852" y="432"/>
                  </a:lnTo>
                  <a:lnTo>
                    <a:pt x="858" y="432"/>
                  </a:lnTo>
                  <a:lnTo>
                    <a:pt x="870" y="432"/>
                  </a:lnTo>
                  <a:lnTo>
                    <a:pt x="870" y="426"/>
                  </a:lnTo>
                  <a:lnTo>
                    <a:pt x="870" y="420"/>
                  </a:lnTo>
                  <a:lnTo>
                    <a:pt x="876" y="420"/>
                  </a:lnTo>
                  <a:lnTo>
                    <a:pt x="882" y="420"/>
                  </a:lnTo>
                  <a:lnTo>
                    <a:pt x="894" y="414"/>
                  </a:lnTo>
                  <a:lnTo>
                    <a:pt x="900" y="414"/>
                  </a:lnTo>
                  <a:lnTo>
                    <a:pt x="906" y="408"/>
                  </a:lnTo>
                  <a:lnTo>
                    <a:pt x="918" y="408"/>
                  </a:lnTo>
                  <a:lnTo>
                    <a:pt x="924" y="402"/>
                  </a:lnTo>
                  <a:lnTo>
                    <a:pt x="930" y="384"/>
                  </a:lnTo>
                  <a:lnTo>
                    <a:pt x="948" y="396"/>
                  </a:lnTo>
                  <a:lnTo>
                    <a:pt x="954" y="384"/>
                  </a:lnTo>
                  <a:lnTo>
                    <a:pt x="960" y="384"/>
                  </a:lnTo>
                  <a:lnTo>
                    <a:pt x="972" y="384"/>
                  </a:lnTo>
                  <a:lnTo>
                    <a:pt x="978" y="378"/>
                  </a:lnTo>
                  <a:lnTo>
                    <a:pt x="972" y="366"/>
                  </a:lnTo>
                  <a:lnTo>
                    <a:pt x="966" y="342"/>
                  </a:lnTo>
                  <a:lnTo>
                    <a:pt x="960" y="330"/>
                  </a:lnTo>
                  <a:lnTo>
                    <a:pt x="942" y="324"/>
                  </a:lnTo>
                  <a:lnTo>
                    <a:pt x="936" y="318"/>
                  </a:lnTo>
                  <a:lnTo>
                    <a:pt x="936" y="294"/>
                  </a:lnTo>
                  <a:lnTo>
                    <a:pt x="942" y="294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282"/>
                  </a:lnTo>
                  <a:lnTo>
                    <a:pt x="954" y="276"/>
                  </a:lnTo>
                  <a:lnTo>
                    <a:pt x="960" y="276"/>
                  </a:lnTo>
                  <a:lnTo>
                    <a:pt x="966" y="276"/>
                  </a:lnTo>
                  <a:lnTo>
                    <a:pt x="960" y="258"/>
                  </a:lnTo>
                  <a:lnTo>
                    <a:pt x="954" y="240"/>
                  </a:lnTo>
                  <a:lnTo>
                    <a:pt x="948" y="204"/>
                  </a:lnTo>
                  <a:lnTo>
                    <a:pt x="954" y="204"/>
                  </a:lnTo>
                  <a:lnTo>
                    <a:pt x="960" y="198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00" y="186"/>
                  </a:lnTo>
                  <a:lnTo>
                    <a:pt x="876" y="180"/>
                  </a:lnTo>
                  <a:lnTo>
                    <a:pt x="858" y="180"/>
                  </a:lnTo>
                  <a:lnTo>
                    <a:pt x="852" y="168"/>
                  </a:lnTo>
                  <a:lnTo>
                    <a:pt x="834" y="156"/>
                  </a:lnTo>
                  <a:lnTo>
                    <a:pt x="822" y="156"/>
                  </a:lnTo>
                  <a:lnTo>
                    <a:pt x="804" y="156"/>
                  </a:lnTo>
                  <a:lnTo>
                    <a:pt x="804" y="150"/>
                  </a:lnTo>
                  <a:lnTo>
                    <a:pt x="792" y="144"/>
                  </a:lnTo>
                  <a:lnTo>
                    <a:pt x="762" y="138"/>
                  </a:lnTo>
                  <a:lnTo>
                    <a:pt x="768" y="120"/>
                  </a:lnTo>
                  <a:lnTo>
                    <a:pt x="756" y="120"/>
                  </a:lnTo>
                  <a:lnTo>
                    <a:pt x="744" y="108"/>
                  </a:lnTo>
                  <a:lnTo>
                    <a:pt x="744" y="96"/>
                  </a:lnTo>
                  <a:lnTo>
                    <a:pt x="762" y="84"/>
                  </a:lnTo>
                  <a:lnTo>
                    <a:pt x="768" y="84"/>
                  </a:lnTo>
                  <a:lnTo>
                    <a:pt x="768" y="72"/>
                  </a:lnTo>
                  <a:lnTo>
                    <a:pt x="780" y="66"/>
                  </a:lnTo>
                  <a:lnTo>
                    <a:pt x="798" y="54"/>
                  </a:lnTo>
                  <a:lnTo>
                    <a:pt x="792" y="54"/>
                  </a:lnTo>
                  <a:lnTo>
                    <a:pt x="798" y="36"/>
                  </a:lnTo>
                  <a:lnTo>
                    <a:pt x="804" y="36"/>
                  </a:lnTo>
                  <a:lnTo>
                    <a:pt x="816" y="30"/>
                  </a:lnTo>
                  <a:lnTo>
                    <a:pt x="828" y="30"/>
                  </a:lnTo>
                  <a:lnTo>
                    <a:pt x="846" y="12"/>
                  </a:lnTo>
                  <a:lnTo>
                    <a:pt x="876" y="0"/>
                  </a:lnTo>
                  <a:lnTo>
                    <a:pt x="882" y="6"/>
                  </a:lnTo>
                  <a:lnTo>
                    <a:pt x="900" y="6"/>
                  </a:lnTo>
                  <a:lnTo>
                    <a:pt x="912" y="36"/>
                  </a:lnTo>
                  <a:lnTo>
                    <a:pt x="918" y="42"/>
                  </a:lnTo>
                  <a:lnTo>
                    <a:pt x="924" y="54"/>
                  </a:lnTo>
                  <a:lnTo>
                    <a:pt x="930" y="54"/>
                  </a:lnTo>
                  <a:lnTo>
                    <a:pt x="930" y="78"/>
                  </a:lnTo>
                  <a:lnTo>
                    <a:pt x="954" y="72"/>
                  </a:lnTo>
                  <a:lnTo>
                    <a:pt x="954" y="60"/>
                  </a:lnTo>
                  <a:lnTo>
                    <a:pt x="966" y="66"/>
                  </a:lnTo>
                  <a:lnTo>
                    <a:pt x="966" y="78"/>
                  </a:lnTo>
                  <a:lnTo>
                    <a:pt x="960" y="84"/>
                  </a:lnTo>
                  <a:lnTo>
                    <a:pt x="954" y="102"/>
                  </a:lnTo>
                  <a:lnTo>
                    <a:pt x="972" y="102"/>
                  </a:lnTo>
                  <a:lnTo>
                    <a:pt x="978" y="84"/>
                  </a:lnTo>
                  <a:lnTo>
                    <a:pt x="984" y="72"/>
                  </a:lnTo>
                  <a:lnTo>
                    <a:pt x="990" y="72"/>
                  </a:lnTo>
                  <a:lnTo>
                    <a:pt x="996" y="18"/>
                  </a:lnTo>
                  <a:lnTo>
                    <a:pt x="990" y="12"/>
                  </a:lnTo>
                  <a:lnTo>
                    <a:pt x="1014" y="12"/>
                  </a:lnTo>
                  <a:lnTo>
                    <a:pt x="1026" y="12"/>
                  </a:lnTo>
                  <a:lnTo>
                    <a:pt x="1026" y="24"/>
                  </a:lnTo>
                  <a:lnTo>
                    <a:pt x="1050" y="24"/>
                  </a:lnTo>
                  <a:lnTo>
                    <a:pt x="1050" y="36"/>
                  </a:lnTo>
                  <a:lnTo>
                    <a:pt x="1062" y="66"/>
                  </a:lnTo>
                  <a:lnTo>
                    <a:pt x="1074" y="66"/>
                  </a:lnTo>
                  <a:lnTo>
                    <a:pt x="1080" y="60"/>
                  </a:lnTo>
                  <a:lnTo>
                    <a:pt x="1074" y="24"/>
                  </a:lnTo>
                  <a:lnTo>
                    <a:pt x="1086" y="18"/>
                  </a:lnTo>
                  <a:lnTo>
                    <a:pt x="1086" y="12"/>
                  </a:lnTo>
                  <a:lnTo>
                    <a:pt x="1104" y="6"/>
                  </a:lnTo>
                  <a:lnTo>
                    <a:pt x="1122" y="0"/>
                  </a:lnTo>
                  <a:lnTo>
                    <a:pt x="1134" y="6"/>
                  </a:lnTo>
                  <a:lnTo>
                    <a:pt x="1134" y="42"/>
                  </a:lnTo>
                  <a:lnTo>
                    <a:pt x="1140" y="72"/>
                  </a:lnTo>
                  <a:lnTo>
                    <a:pt x="1158" y="114"/>
                  </a:lnTo>
                  <a:lnTo>
                    <a:pt x="1170" y="114"/>
                  </a:lnTo>
                  <a:lnTo>
                    <a:pt x="1170" y="126"/>
                  </a:lnTo>
                  <a:lnTo>
                    <a:pt x="1182" y="126"/>
                  </a:lnTo>
                  <a:lnTo>
                    <a:pt x="1182" y="138"/>
                  </a:lnTo>
                  <a:lnTo>
                    <a:pt x="1194" y="144"/>
                  </a:lnTo>
                  <a:lnTo>
                    <a:pt x="1194" y="156"/>
                  </a:lnTo>
                  <a:lnTo>
                    <a:pt x="1188" y="156"/>
                  </a:lnTo>
                  <a:lnTo>
                    <a:pt x="1194" y="162"/>
                  </a:lnTo>
                  <a:lnTo>
                    <a:pt x="1194" y="168"/>
                  </a:lnTo>
                  <a:lnTo>
                    <a:pt x="1188" y="168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82" y="180"/>
                  </a:lnTo>
                  <a:lnTo>
                    <a:pt x="1188" y="186"/>
                  </a:lnTo>
                  <a:lnTo>
                    <a:pt x="1188" y="192"/>
                  </a:lnTo>
                  <a:lnTo>
                    <a:pt x="1182" y="198"/>
                  </a:lnTo>
                  <a:lnTo>
                    <a:pt x="1182" y="204"/>
                  </a:lnTo>
                  <a:lnTo>
                    <a:pt x="1182" y="210"/>
                  </a:lnTo>
                  <a:lnTo>
                    <a:pt x="1188" y="210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2"/>
                  </a:lnTo>
                  <a:lnTo>
                    <a:pt x="1194" y="264"/>
                  </a:lnTo>
                  <a:lnTo>
                    <a:pt x="1200" y="264"/>
                  </a:lnTo>
                  <a:lnTo>
                    <a:pt x="1212" y="264"/>
                  </a:lnTo>
                  <a:lnTo>
                    <a:pt x="1212" y="258"/>
                  </a:lnTo>
                  <a:lnTo>
                    <a:pt x="1224" y="258"/>
                  </a:lnTo>
                  <a:lnTo>
                    <a:pt x="1248" y="252"/>
                  </a:lnTo>
                  <a:lnTo>
                    <a:pt x="1248" y="264"/>
                  </a:lnTo>
                  <a:lnTo>
                    <a:pt x="1254" y="264"/>
                  </a:lnTo>
                  <a:lnTo>
                    <a:pt x="1254" y="270"/>
                  </a:lnTo>
                  <a:lnTo>
                    <a:pt x="1260" y="270"/>
                  </a:lnTo>
                  <a:lnTo>
                    <a:pt x="1266" y="270"/>
                  </a:lnTo>
                  <a:lnTo>
                    <a:pt x="1272" y="270"/>
                  </a:lnTo>
                  <a:lnTo>
                    <a:pt x="1272" y="264"/>
                  </a:lnTo>
                  <a:lnTo>
                    <a:pt x="1272" y="258"/>
                  </a:lnTo>
                  <a:lnTo>
                    <a:pt x="1278" y="258"/>
                  </a:lnTo>
                  <a:lnTo>
                    <a:pt x="1278" y="252"/>
                  </a:lnTo>
                  <a:lnTo>
                    <a:pt x="1290" y="252"/>
                  </a:lnTo>
                  <a:lnTo>
                    <a:pt x="1296" y="246"/>
                  </a:lnTo>
                  <a:lnTo>
                    <a:pt x="1308" y="246"/>
                  </a:lnTo>
                  <a:lnTo>
                    <a:pt x="1308" y="240"/>
                  </a:lnTo>
                  <a:lnTo>
                    <a:pt x="1320" y="240"/>
                  </a:lnTo>
                  <a:lnTo>
                    <a:pt x="1326" y="246"/>
                  </a:lnTo>
                  <a:lnTo>
                    <a:pt x="1338" y="246"/>
                  </a:lnTo>
                  <a:lnTo>
                    <a:pt x="1338" y="240"/>
                  </a:lnTo>
                  <a:lnTo>
                    <a:pt x="1350" y="240"/>
                  </a:lnTo>
                  <a:lnTo>
                    <a:pt x="1386" y="234"/>
                  </a:lnTo>
                  <a:lnTo>
                    <a:pt x="1398" y="228"/>
                  </a:lnTo>
                  <a:lnTo>
                    <a:pt x="1404" y="216"/>
                  </a:lnTo>
                  <a:lnTo>
                    <a:pt x="1416" y="204"/>
                  </a:lnTo>
                  <a:lnTo>
                    <a:pt x="1434" y="192"/>
                  </a:lnTo>
                  <a:lnTo>
                    <a:pt x="1446" y="198"/>
                  </a:lnTo>
                  <a:lnTo>
                    <a:pt x="1446" y="204"/>
                  </a:lnTo>
                  <a:lnTo>
                    <a:pt x="1452" y="210"/>
                  </a:lnTo>
                  <a:lnTo>
                    <a:pt x="1464" y="222"/>
                  </a:lnTo>
                  <a:lnTo>
                    <a:pt x="1464" y="228"/>
                  </a:lnTo>
                  <a:lnTo>
                    <a:pt x="1464" y="234"/>
                  </a:lnTo>
                  <a:lnTo>
                    <a:pt x="1470" y="240"/>
                  </a:lnTo>
                  <a:lnTo>
                    <a:pt x="1476" y="228"/>
                  </a:lnTo>
                  <a:lnTo>
                    <a:pt x="1476" y="222"/>
                  </a:lnTo>
                  <a:lnTo>
                    <a:pt x="1482" y="210"/>
                  </a:lnTo>
                  <a:lnTo>
                    <a:pt x="1488" y="192"/>
                  </a:lnTo>
                  <a:lnTo>
                    <a:pt x="1488" y="186"/>
                  </a:lnTo>
                  <a:lnTo>
                    <a:pt x="1488" y="180"/>
                  </a:lnTo>
                  <a:lnTo>
                    <a:pt x="1500" y="180"/>
                  </a:lnTo>
                  <a:lnTo>
                    <a:pt x="1500" y="174"/>
                  </a:lnTo>
                  <a:lnTo>
                    <a:pt x="1518" y="162"/>
                  </a:lnTo>
                  <a:lnTo>
                    <a:pt x="1536" y="150"/>
                  </a:lnTo>
                  <a:lnTo>
                    <a:pt x="1554" y="168"/>
                  </a:lnTo>
                  <a:lnTo>
                    <a:pt x="1572" y="180"/>
                  </a:lnTo>
                  <a:lnTo>
                    <a:pt x="1596" y="216"/>
                  </a:lnTo>
                  <a:lnTo>
                    <a:pt x="1602" y="216"/>
                  </a:lnTo>
                  <a:lnTo>
                    <a:pt x="1614" y="228"/>
                  </a:lnTo>
                  <a:lnTo>
                    <a:pt x="1614" y="234"/>
                  </a:lnTo>
                  <a:lnTo>
                    <a:pt x="1620" y="240"/>
                  </a:lnTo>
                  <a:lnTo>
                    <a:pt x="1620" y="246"/>
                  </a:lnTo>
                  <a:lnTo>
                    <a:pt x="1626" y="252"/>
                  </a:lnTo>
                  <a:lnTo>
                    <a:pt x="1632" y="258"/>
                  </a:lnTo>
                  <a:lnTo>
                    <a:pt x="1632" y="264"/>
                  </a:lnTo>
                  <a:lnTo>
                    <a:pt x="1638" y="264"/>
                  </a:lnTo>
                  <a:lnTo>
                    <a:pt x="1638" y="270"/>
                  </a:lnTo>
                  <a:lnTo>
                    <a:pt x="1638" y="276"/>
                  </a:lnTo>
                  <a:lnTo>
                    <a:pt x="1638" y="282"/>
                  </a:lnTo>
                  <a:lnTo>
                    <a:pt x="1644" y="288"/>
                  </a:lnTo>
                  <a:lnTo>
                    <a:pt x="1644" y="294"/>
                  </a:lnTo>
                  <a:lnTo>
                    <a:pt x="1644" y="300"/>
                  </a:lnTo>
                  <a:lnTo>
                    <a:pt x="1644" y="306"/>
                  </a:lnTo>
                  <a:lnTo>
                    <a:pt x="1650" y="306"/>
                  </a:lnTo>
                  <a:lnTo>
                    <a:pt x="1650" y="312"/>
                  </a:lnTo>
                  <a:lnTo>
                    <a:pt x="1650" y="318"/>
                  </a:lnTo>
                  <a:lnTo>
                    <a:pt x="1650" y="324"/>
                  </a:lnTo>
                  <a:lnTo>
                    <a:pt x="1644" y="330"/>
                  </a:lnTo>
                  <a:lnTo>
                    <a:pt x="1626" y="330"/>
                  </a:lnTo>
                  <a:lnTo>
                    <a:pt x="1626" y="336"/>
                  </a:lnTo>
                  <a:lnTo>
                    <a:pt x="1626" y="342"/>
                  </a:lnTo>
                  <a:lnTo>
                    <a:pt x="1626" y="348"/>
                  </a:lnTo>
                  <a:lnTo>
                    <a:pt x="1620" y="354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14" y="390"/>
                  </a:lnTo>
                  <a:lnTo>
                    <a:pt x="1614" y="396"/>
                  </a:lnTo>
                  <a:lnTo>
                    <a:pt x="1614" y="402"/>
                  </a:lnTo>
                  <a:lnTo>
                    <a:pt x="1614" y="408"/>
                  </a:lnTo>
                  <a:lnTo>
                    <a:pt x="1614" y="414"/>
                  </a:lnTo>
                  <a:lnTo>
                    <a:pt x="1602" y="420"/>
                  </a:lnTo>
                  <a:lnTo>
                    <a:pt x="1602" y="426"/>
                  </a:lnTo>
                  <a:lnTo>
                    <a:pt x="1608" y="432"/>
                  </a:lnTo>
                  <a:lnTo>
                    <a:pt x="1614" y="426"/>
                  </a:lnTo>
                  <a:lnTo>
                    <a:pt x="1620" y="438"/>
                  </a:lnTo>
                  <a:lnTo>
                    <a:pt x="1626" y="438"/>
                  </a:lnTo>
                  <a:lnTo>
                    <a:pt x="1632" y="444"/>
                  </a:lnTo>
                  <a:lnTo>
                    <a:pt x="1626" y="456"/>
                  </a:lnTo>
                  <a:lnTo>
                    <a:pt x="1626" y="468"/>
                  </a:lnTo>
                  <a:lnTo>
                    <a:pt x="1620" y="474"/>
                  </a:lnTo>
                  <a:lnTo>
                    <a:pt x="1614" y="474"/>
                  </a:lnTo>
                  <a:lnTo>
                    <a:pt x="1614" y="486"/>
                  </a:lnTo>
                  <a:lnTo>
                    <a:pt x="1614" y="492"/>
                  </a:lnTo>
                  <a:lnTo>
                    <a:pt x="1620" y="492"/>
                  </a:lnTo>
                  <a:lnTo>
                    <a:pt x="1626" y="498"/>
                  </a:lnTo>
                  <a:lnTo>
                    <a:pt x="1626" y="504"/>
                  </a:lnTo>
                  <a:lnTo>
                    <a:pt x="1626" y="510"/>
                  </a:lnTo>
                  <a:lnTo>
                    <a:pt x="1620" y="516"/>
                  </a:lnTo>
                  <a:lnTo>
                    <a:pt x="1620" y="522"/>
                  </a:lnTo>
                  <a:lnTo>
                    <a:pt x="1614" y="522"/>
                  </a:lnTo>
                  <a:lnTo>
                    <a:pt x="1608" y="528"/>
                  </a:lnTo>
                  <a:lnTo>
                    <a:pt x="1602" y="522"/>
                  </a:lnTo>
                  <a:lnTo>
                    <a:pt x="1602" y="528"/>
                  </a:lnTo>
                  <a:lnTo>
                    <a:pt x="1602" y="540"/>
                  </a:lnTo>
                  <a:lnTo>
                    <a:pt x="1602" y="558"/>
                  </a:lnTo>
                  <a:lnTo>
                    <a:pt x="1602" y="564"/>
                  </a:lnTo>
                  <a:lnTo>
                    <a:pt x="1602" y="570"/>
                  </a:lnTo>
                  <a:lnTo>
                    <a:pt x="1602" y="576"/>
                  </a:lnTo>
                  <a:lnTo>
                    <a:pt x="1596" y="576"/>
                  </a:lnTo>
                  <a:lnTo>
                    <a:pt x="1632" y="582"/>
                  </a:lnTo>
                  <a:lnTo>
                    <a:pt x="1644" y="618"/>
                  </a:lnTo>
                  <a:lnTo>
                    <a:pt x="1650" y="648"/>
                  </a:lnTo>
                  <a:lnTo>
                    <a:pt x="1662" y="636"/>
                  </a:lnTo>
                  <a:lnTo>
                    <a:pt x="1668" y="636"/>
                  </a:lnTo>
                  <a:lnTo>
                    <a:pt x="1674" y="636"/>
                  </a:lnTo>
                  <a:lnTo>
                    <a:pt x="1680" y="630"/>
                  </a:lnTo>
                  <a:lnTo>
                    <a:pt x="1686" y="630"/>
                  </a:lnTo>
                  <a:lnTo>
                    <a:pt x="1692" y="630"/>
                  </a:lnTo>
                  <a:lnTo>
                    <a:pt x="1698" y="630"/>
                  </a:lnTo>
                  <a:lnTo>
                    <a:pt x="1704" y="630"/>
                  </a:lnTo>
                  <a:lnTo>
                    <a:pt x="1704" y="624"/>
                  </a:lnTo>
                  <a:lnTo>
                    <a:pt x="1710" y="624"/>
                  </a:lnTo>
                  <a:lnTo>
                    <a:pt x="1716" y="624"/>
                  </a:lnTo>
                  <a:lnTo>
                    <a:pt x="1722" y="624"/>
                  </a:lnTo>
                  <a:lnTo>
                    <a:pt x="1728" y="624"/>
                  </a:lnTo>
                  <a:lnTo>
                    <a:pt x="1722" y="618"/>
                  </a:lnTo>
                  <a:lnTo>
                    <a:pt x="1728" y="606"/>
                  </a:lnTo>
                  <a:lnTo>
                    <a:pt x="1734" y="606"/>
                  </a:lnTo>
                  <a:lnTo>
                    <a:pt x="1740" y="600"/>
                  </a:lnTo>
                  <a:lnTo>
                    <a:pt x="1746" y="594"/>
                  </a:lnTo>
                  <a:lnTo>
                    <a:pt x="1752" y="588"/>
                  </a:lnTo>
                  <a:lnTo>
                    <a:pt x="1752" y="582"/>
                  </a:lnTo>
                  <a:lnTo>
                    <a:pt x="1758" y="576"/>
                  </a:lnTo>
                  <a:lnTo>
                    <a:pt x="1764" y="576"/>
                  </a:lnTo>
                  <a:lnTo>
                    <a:pt x="1770" y="570"/>
                  </a:lnTo>
                  <a:lnTo>
                    <a:pt x="1776" y="564"/>
                  </a:lnTo>
                  <a:lnTo>
                    <a:pt x="1788" y="558"/>
                  </a:lnTo>
                  <a:lnTo>
                    <a:pt x="1788" y="546"/>
                  </a:lnTo>
                  <a:lnTo>
                    <a:pt x="1788" y="540"/>
                  </a:lnTo>
                  <a:lnTo>
                    <a:pt x="1794" y="540"/>
                  </a:lnTo>
                  <a:lnTo>
                    <a:pt x="1788" y="534"/>
                  </a:lnTo>
                  <a:lnTo>
                    <a:pt x="1788" y="528"/>
                  </a:lnTo>
                  <a:lnTo>
                    <a:pt x="1794" y="516"/>
                  </a:lnTo>
                  <a:lnTo>
                    <a:pt x="1800" y="510"/>
                  </a:lnTo>
                  <a:lnTo>
                    <a:pt x="1812" y="510"/>
                  </a:lnTo>
                  <a:lnTo>
                    <a:pt x="1818" y="504"/>
                  </a:lnTo>
                  <a:lnTo>
                    <a:pt x="1824" y="504"/>
                  </a:lnTo>
                  <a:lnTo>
                    <a:pt x="1830" y="498"/>
                  </a:lnTo>
                  <a:lnTo>
                    <a:pt x="1836" y="498"/>
                  </a:lnTo>
                  <a:lnTo>
                    <a:pt x="1848" y="492"/>
                  </a:lnTo>
                  <a:lnTo>
                    <a:pt x="1848" y="480"/>
                  </a:lnTo>
                  <a:lnTo>
                    <a:pt x="1854" y="480"/>
                  </a:lnTo>
                  <a:lnTo>
                    <a:pt x="1890" y="504"/>
                  </a:lnTo>
                  <a:lnTo>
                    <a:pt x="1908" y="534"/>
                  </a:lnTo>
                  <a:lnTo>
                    <a:pt x="1902" y="534"/>
                  </a:lnTo>
                  <a:lnTo>
                    <a:pt x="1920" y="528"/>
                  </a:lnTo>
                  <a:lnTo>
                    <a:pt x="1920" y="516"/>
                  </a:lnTo>
                  <a:lnTo>
                    <a:pt x="1944" y="516"/>
                  </a:lnTo>
                  <a:lnTo>
                    <a:pt x="2004" y="516"/>
                  </a:lnTo>
                  <a:lnTo>
                    <a:pt x="2010" y="510"/>
                  </a:lnTo>
                  <a:lnTo>
                    <a:pt x="2004" y="510"/>
                  </a:lnTo>
                  <a:lnTo>
                    <a:pt x="2010" y="498"/>
                  </a:lnTo>
                  <a:lnTo>
                    <a:pt x="2004" y="486"/>
                  </a:lnTo>
                  <a:lnTo>
                    <a:pt x="2004" y="480"/>
                  </a:lnTo>
                  <a:lnTo>
                    <a:pt x="2004" y="474"/>
                  </a:lnTo>
                  <a:lnTo>
                    <a:pt x="2004" y="462"/>
                  </a:lnTo>
                  <a:lnTo>
                    <a:pt x="2004" y="456"/>
                  </a:lnTo>
                  <a:lnTo>
                    <a:pt x="2058" y="462"/>
                  </a:lnTo>
                  <a:lnTo>
                    <a:pt x="2076" y="474"/>
                  </a:lnTo>
                  <a:lnTo>
                    <a:pt x="2082" y="522"/>
                  </a:lnTo>
                  <a:lnTo>
                    <a:pt x="2088" y="516"/>
                  </a:lnTo>
                  <a:lnTo>
                    <a:pt x="2094" y="522"/>
                  </a:lnTo>
                  <a:lnTo>
                    <a:pt x="2100" y="528"/>
                  </a:lnTo>
                  <a:lnTo>
                    <a:pt x="2130" y="540"/>
                  </a:lnTo>
                  <a:lnTo>
                    <a:pt x="2160" y="564"/>
                  </a:lnTo>
                  <a:lnTo>
                    <a:pt x="2166" y="600"/>
                  </a:lnTo>
                  <a:lnTo>
                    <a:pt x="2160" y="618"/>
                  </a:lnTo>
                  <a:lnTo>
                    <a:pt x="2142" y="636"/>
                  </a:lnTo>
                  <a:lnTo>
                    <a:pt x="2148" y="648"/>
                  </a:lnTo>
                  <a:lnTo>
                    <a:pt x="2154" y="660"/>
                  </a:lnTo>
                  <a:lnTo>
                    <a:pt x="2196" y="654"/>
                  </a:lnTo>
                  <a:lnTo>
                    <a:pt x="2214" y="660"/>
                  </a:lnTo>
                  <a:lnTo>
                    <a:pt x="2214" y="666"/>
                  </a:lnTo>
                  <a:lnTo>
                    <a:pt x="2220" y="672"/>
                  </a:lnTo>
                  <a:lnTo>
                    <a:pt x="2214" y="678"/>
                  </a:lnTo>
                  <a:lnTo>
                    <a:pt x="2214" y="684"/>
                  </a:lnTo>
                  <a:lnTo>
                    <a:pt x="2214" y="690"/>
                  </a:lnTo>
                  <a:lnTo>
                    <a:pt x="2208" y="690"/>
                  </a:lnTo>
                  <a:lnTo>
                    <a:pt x="2202" y="696"/>
                  </a:lnTo>
                  <a:lnTo>
                    <a:pt x="2196" y="702"/>
                  </a:lnTo>
                  <a:lnTo>
                    <a:pt x="2190" y="708"/>
                  </a:lnTo>
                  <a:lnTo>
                    <a:pt x="2190" y="720"/>
                  </a:lnTo>
                  <a:lnTo>
                    <a:pt x="2184" y="720"/>
                  </a:lnTo>
                  <a:lnTo>
                    <a:pt x="2178" y="726"/>
                  </a:lnTo>
                  <a:lnTo>
                    <a:pt x="2166" y="732"/>
                  </a:lnTo>
                  <a:lnTo>
                    <a:pt x="2160" y="744"/>
                  </a:lnTo>
                  <a:lnTo>
                    <a:pt x="2154" y="756"/>
                  </a:lnTo>
                  <a:lnTo>
                    <a:pt x="2148" y="762"/>
                  </a:lnTo>
                  <a:lnTo>
                    <a:pt x="2124" y="762"/>
                  </a:lnTo>
                  <a:lnTo>
                    <a:pt x="2124" y="768"/>
                  </a:lnTo>
                  <a:lnTo>
                    <a:pt x="2118" y="768"/>
                  </a:lnTo>
                  <a:lnTo>
                    <a:pt x="2124" y="774"/>
                  </a:lnTo>
                  <a:lnTo>
                    <a:pt x="2118" y="774"/>
                  </a:lnTo>
                  <a:lnTo>
                    <a:pt x="2112" y="774"/>
                  </a:lnTo>
                  <a:lnTo>
                    <a:pt x="2106" y="780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06" y="798"/>
                  </a:lnTo>
                  <a:lnTo>
                    <a:pt x="2106" y="810"/>
                  </a:lnTo>
                  <a:lnTo>
                    <a:pt x="2112" y="828"/>
                  </a:lnTo>
                  <a:lnTo>
                    <a:pt x="2112" y="834"/>
                  </a:lnTo>
                  <a:lnTo>
                    <a:pt x="2112" y="840"/>
                  </a:lnTo>
                  <a:lnTo>
                    <a:pt x="2112" y="834"/>
                  </a:lnTo>
                  <a:lnTo>
                    <a:pt x="2124" y="834"/>
                  </a:lnTo>
                  <a:lnTo>
                    <a:pt x="2130" y="834"/>
                  </a:lnTo>
                  <a:lnTo>
                    <a:pt x="2136" y="840"/>
                  </a:lnTo>
                  <a:lnTo>
                    <a:pt x="2142" y="840"/>
                  </a:lnTo>
                  <a:lnTo>
                    <a:pt x="2154" y="852"/>
                  </a:lnTo>
                  <a:lnTo>
                    <a:pt x="2160" y="852"/>
                  </a:lnTo>
                  <a:lnTo>
                    <a:pt x="2172" y="846"/>
                  </a:lnTo>
                  <a:lnTo>
                    <a:pt x="2178" y="846"/>
                  </a:lnTo>
                  <a:lnTo>
                    <a:pt x="2184" y="846"/>
                  </a:lnTo>
                  <a:lnTo>
                    <a:pt x="2190" y="846"/>
                  </a:lnTo>
                  <a:lnTo>
                    <a:pt x="2196" y="852"/>
                  </a:lnTo>
                  <a:lnTo>
                    <a:pt x="2196" y="858"/>
                  </a:lnTo>
                  <a:lnTo>
                    <a:pt x="2202" y="852"/>
                  </a:lnTo>
                  <a:lnTo>
                    <a:pt x="2208" y="846"/>
                  </a:lnTo>
                  <a:lnTo>
                    <a:pt x="2214" y="846"/>
                  </a:lnTo>
                  <a:lnTo>
                    <a:pt x="2226" y="846"/>
                  </a:lnTo>
                  <a:lnTo>
                    <a:pt x="2232" y="852"/>
                  </a:lnTo>
                  <a:lnTo>
                    <a:pt x="2238" y="852"/>
                  </a:lnTo>
                  <a:lnTo>
                    <a:pt x="2244" y="858"/>
                  </a:lnTo>
                  <a:lnTo>
                    <a:pt x="2250" y="858"/>
                  </a:lnTo>
                  <a:lnTo>
                    <a:pt x="2256" y="858"/>
                  </a:lnTo>
                  <a:lnTo>
                    <a:pt x="2262" y="858"/>
                  </a:lnTo>
                  <a:lnTo>
                    <a:pt x="2268" y="852"/>
                  </a:lnTo>
                  <a:lnTo>
                    <a:pt x="2274" y="852"/>
                  </a:lnTo>
                  <a:lnTo>
                    <a:pt x="2280" y="852"/>
                  </a:lnTo>
                  <a:lnTo>
                    <a:pt x="2286" y="852"/>
                  </a:lnTo>
                  <a:lnTo>
                    <a:pt x="2298" y="858"/>
                  </a:lnTo>
                  <a:lnTo>
                    <a:pt x="2304" y="858"/>
                  </a:lnTo>
                  <a:lnTo>
                    <a:pt x="2310" y="858"/>
                  </a:lnTo>
                  <a:lnTo>
                    <a:pt x="2316" y="852"/>
                  </a:lnTo>
                  <a:lnTo>
                    <a:pt x="2322" y="858"/>
                  </a:lnTo>
                  <a:lnTo>
                    <a:pt x="2328" y="858"/>
                  </a:lnTo>
                  <a:lnTo>
                    <a:pt x="2328" y="852"/>
                  </a:lnTo>
                  <a:lnTo>
                    <a:pt x="2364" y="858"/>
                  </a:lnTo>
                  <a:lnTo>
                    <a:pt x="2376" y="876"/>
                  </a:lnTo>
                  <a:lnTo>
                    <a:pt x="2382" y="936"/>
                  </a:lnTo>
                  <a:lnTo>
                    <a:pt x="2388" y="966"/>
                  </a:lnTo>
                  <a:lnTo>
                    <a:pt x="2382" y="972"/>
                  </a:lnTo>
                  <a:lnTo>
                    <a:pt x="2382" y="978"/>
                  </a:lnTo>
                  <a:lnTo>
                    <a:pt x="2382" y="984"/>
                  </a:lnTo>
                  <a:lnTo>
                    <a:pt x="2388" y="990"/>
                  </a:lnTo>
                  <a:lnTo>
                    <a:pt x="2382" y="990"/>
                  </a:lnTo>
                  <a:lnTo>
                    <a:pt x="2382" y="996"/>
                  </a:lnTo>
                  <a:lnTo>
                    <a:pt x="2376" y="996"/>
                  </a:lnTo>
                  <a:lnTo>
                    <a:pt x="2376" y="1020"/>
                  </a:lnTo>
                  <a:lnTo>
                    <a:pt x="2370" y="1032"/>
                  </a:lnTo>
                  <a:lnTo>
                    <a:pt x="2352" y="1032"/>
                  </a:lnTo>
                  <a:lnTo>
                    <a:pt x="2346" y="1020"/>
                  </a:lnTo>
                  <a:lnTo>
                    <a:pt x="2328" y="1032"/>
                  </a:lnTo>
                  <a:lnTo>
                    <a:pt x="2316" y="1038"/>
                  </a:lnTo>
                  <a:lnTo>
                    <a:pt x="2328" y="1044"/>
                  </a:lnTo>
                  <a:lnTo>
                    <a:pt x="2340" y="1056"/>
                  </a:lnTo>
                  <a:lnTo>
                    <a:pt x="2376" y="1062"/>
                  </a:lnTo>
                  <a:lnTo>
                    <a:pt x="2376" y="1068"/>
                  </a:lnTo>
                  <a:lnTo>
                    <a:pt x="2382" y="1086"/>
                  </a:lnTo>
                  <a:lnTo>
                    <a:pt x="2376" y="1086"/>
                  </a:lnTo>
                  <a:lnTo>
                    <a:pt x="2370" y="1086"/>
                  </a:lnTo>
                  <a:lnTo>
                    <a:pt x="2364" y="1086"/>
                  </a:lnTo>
                  <a:lnTo>
                    <a:pt x="2364" y="1098"/>
                  </a:lnTo>
                  <a:lnTo>
                    <a:pt x="2388" y="1104"/>
                  </a:lnTo>
                  <a:lnTo>
                    <a:pt x="2400" y="1122"/>
                  </a:lnTo>
                  <a:lnTo>
                    <a:pt x="2400" y="1134"/>
                  </a:lnTo>
                  <a:lnTo>
                    <a:pt x="2400" y="1146"/>
                  </a:lnTo>
                  <a:lnTo>
                    <a:pt x="2394" y="1146"/>
                  </a:lnTo>
                  <a:lnTo>
                    <a:pt x="2394" y="1152"/>
                  </a:lnTo>
                  <a:lnTo>
                    <a:pt x="2388" y="1152"/>
                  </a:lnTo>
                  <a:lnTo>
                    <a:pt x="2388" y="1146"/>
                  </a:lnTo>
                  <a:lnTo>
                    <a:pt x="2382" y="1152"/>
                  </a:lnTo>
                  <a:lnTo>
                    <a:pt x="2376" y="1152"/>
                  </a:lnTo>
                  <a:lnTo>
                    <a:pt x="2370" y="1158"/>
                  </a:lnTo>
                  <a:lnTo>
                    <a:pt x="2370" y="1164"/>
                  </a:lnTo>
                  <a:lnTo>
                    <a:pt x="2364" y="1170"/>
                  </a:lnTo>
                  <a:lnTo>
                    <a:pt x="2370" y="1170"/>
                  </a:lnTo>
                  <a:lnTo>
                    <a:pt x="2376" y="1170"/>
                  </a:lnTo>
                  <a:lnTo>
                    <a:pt x="2370" y="1176"/>
                  </a:lnTo>
                  <a:lnTo>
                    <a:pt x="2364" y="1176"/>
                  </a:lnTo>
                  <a:lnTo>
                    <a:pt x="2358" y="1182"/>
                  </a:lnTo>
                  <a:lnTo>
                    <a:pt x="2352" y="1182"/>
                  </a:lnTo>
                  <a:lnTo>
                    <a:pt x="2346" y="1188"/>
                  </a:lnTo>
                  <a:lnTo>
                    <a:pt x="2340" y="1182"/>
                  </a:lnTo>
                  <a:lnTo>
                    <a:pt x="2334" y="1182"/>
                  </a:lnTo>
                  <a:lnTo>
                    <a:pt x="2334" y="1188"/>
                  </a:lnTo>
                  <a:lnTo>
                    <a:pt x="2328" y="1194"/>
                  </a:lnTo>
                  <a:lnTo>
                    <a:pt x="2328" y="1200"/>
                  </a:lnTo>
                  <a:lnTo>
                    <a:pt x="2322" y="1224"/>
                  </a:lnTo>
                  <a:lnTo>
                    <a:pt x="2328" y="1230"/>
                  </a:lnTo>
                  <a:lnTo>
                    <a:pt x="2358" y="1230"/>
                  </a:lnTo>
                  <a:lnTo>
                    <a:pt x="2358" y="1242"/>
                  </a:lnTo>
                  <a:lnTo>
                    <a:pt x="2358" y="1254"/>
                  </a:lnTo>
                  <a:lnTo>
                    <a:pt x="2346" y="1254"/>
                  </a:lnTo>
                  <a:lnTo>
                    <a:pt x="2346" y="1278"/>
                  </a:lnTo>
                  <a:lnTo>
                    <a:pt x="2358" y="1278"/>
                  </a:lnTo>
                  <a:lnTo>
                    <a:pt x="2358" y="1284"/>
                  </a:lnTo>
                  <a:lnTo>
                    <a:pt x="2376" y="1284"/>
                  </a:lnTo>
                  <a:lnTo>
                    <a:pt x="2388" y="1278"/>
                  </a:lnTo>
                  <a:lnTo>
                    <a:pt x="2406" y="1278"/>
                  </a:lnTo>
                  <a:lnTo>
                    <a:pt x="2430" y="1284"/>
                  </a:lnTo>
                  <a:lnTo>
                    <a:pt x="2430" y="1302"/>
                  </a:lnTo>
                  <a:lnTo>
                    <a:pt x="2430" y="1314"/>
                  </a:lnTo>
                  <a:lnTo>
                    <a:pt x="2424" y="1326"/>
                  </a:lnTo>
                  <a:lnTo>
                    <a:pt x="2412" y="1326"/>
                  </a:lnTo>
                  <a:lnTo>
                    <a:pt x="2412" y="1344"/>
                  </a:lnTo>
                  <a:lnTo>
                    <a:pt x="2406" y="1344"/>
                  </a:lnTo>
                  <a:lnTo>
                    <a:pt x="2400" y="1362"/>
                  </a:lnTo>
                  <a:lnTo>
                    <a:pt x="2394" y="1368"/>
                  </a:lnTo>
                  <a:lnTo>
                    <a:pt x="2388" y="1374"/>
                  </a:lnTo>
                  <a:lnTo>
                    <a:pt x="2382" y="1380"/>
                  </a:lnTo>
                  <a:lnTo>
                    <a:pt x="2376" y="1386"/>
                  </a:lnTo>
                  <a:lnTo>
                    <a:pt x="2376" y="1392"/>
                  </a:lnTo>
                  <a:lnTo>
                    <a:pt x="2370" y="1404"/>
                  </a:lnTo>
                  <a:lnTo>
                    <a:pt x="2364" y="1416"/>
                  </a:lnTo>
                  <a:lnTo>
                    <a:pt x="2346" y="1434"/>
                  </a:lnTo>
                  <a:lnTo>
                    <a:pt x="2328" y="1440"/>
                  </a:lnTo>
                  <a:lnTo>
                    <a:pt x="2328" y="1446"/>
                  </a:lnTo>
                  <a:lnTo>
                    <a:pt x="2322" y="1452"/>
                  </a:lnTo>
                  <a:lnTo>
                    <a:pt x="2316" y="1452"/>
                  </a:lnTo>
                  <a:lnTo>
                    <a:pt x="2304" y="1446"/>
                  </a:lnTo>
                  <a:lnTo>
                    <a:pt x="2298" y="1446"/>
                  </a:lnTo>
                  <a:lnTo>
                    <a:pt x="2298" y="1434"/>
                  </a:lnTo>
                  <a:lnTo>
                    <a:pt x="2292" y="1434"/>
                  </a:lnTo>
                  <a:lnTo>
                    <a:pt x="2286" y="1428"/>
                  </a:lnTo>
                  <a:lnTo>
                    <a:pt x="2274" y="1416"/>
                  </a:lnTo>
                  <a:lnTo>
                    <a:pt x="2256" y="1404"/>
                  </a:lnTo>
                  <a:lnTo>
                    <a:pt x="2244" y="1386"/>
                  </a:lnTo>
                  <a:lnTo>
                    <a:pt x="2220" y="1368"/>
                  </a:lnTo>
                  <a:lnTo>
                    <a:pt x="2208" y="1362"/>
                  </a:lnTo>
                  <a:lnTo>
                    <a:pt x="2202" y="1350"/>
                  </a:lnTo>
                  <a:lnTo>
                    <a:pt x="2196" y="1350"/>
                  </a:lnTo>
                  <a:lnTo>
                    <a:pt x="2190" y="1356"/>
                  </a:lnTo>
                  <a:lnTo>
                    <a:pt x="2184" y="1356"/>
                  </a:lnTo>
                  <a:lnTo>
                    <a:pt x="2094" y="1350"/>
                  </a:lnTo>
                  <a:lnTo>
                    <a:pt x="2058" y="1350"/>
                  </a:lnTo>
                  <a:lnTo>
                    <a:pt x="2034" y="1890"/>
                  </a:lnTo>
                  <a:lnTo>
                    <a:pt x="2064" y="1890"/>
                  </a:lnTo>
                  <a:lnTo>
                    <a:pt x="2070" y="1896"/>
                  </a:lnTo>
                  <a:lnTo>
                    <a:pt x="2076" y="18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8" name="Freeform 33">
              <a:extLst>
                <a:ext uri="{FF2B5EF4-FFF2-40B4-BE49-F238E27FC236}">
                  <a16:creationId xmlns:a16="http://schemas.microsoft.com/office/drawing/2014/main" id="{0E96F118-1F4D-4E52-AF27-149259451CD6}"/>
                </a:ext>
              </a:extLst>
            </p:cNvPr>
            <p:cNvSpPr>
              <a:spLocks/>
            </p:cNvSpPr>
            <p:nvPr/>
          </p:nvSpPr>
          <p:spPr bwMode="gray">
            <a:xfrm>
              <a:off x="1266662" y="1459989"/>
              <a:ext cx="903421" cy="778302"/>
            </a:xfrm>
            <a:custGeom>
              <a:avLst/>
              <a:gdLst>
                <a:gd name="T0" fmla="*/ 143 w 1698"/>
                <a:gd name="T1" fmla="*/ 43 h 1464"/>
                <a:gd name="T2" fmla="*/ 131 w 1698"/>
                <a:gd name="T3" fmla="*/ 44 h 1464"/>
                <a:gd name="T4" fmla="*/ 126 w 1698"/>
                <a:gd name="T5" fmla="*/ 41 h 1464"/>
                <a:gd name="T6" fmla="*/ 119 w 1698"/>
                <a:gd name="T7" fmla="*/ 45 h 1464"/>
                <a:gd name="T8" fmla="*/ 111 w 1698"/>
                <a:gd name="T9" fmla="*/ 46 h 1464"/>
                <a:gd name="T10" fmla="*/ 107 w 1698"/>
                <a:gd name="T11" fmla="*/ 50 h 1464"/>
                <a:gd name="T12" fmla="*/ 107 w 1698"/>
                <a:gd name="T13" fmla="*/ 60 h 1464"/>
                <a:gd name="T14" fmla="*/ 104 w 1698"/>
                <a:gd name="T15" fmla="*/ 62 h 1464"/>
                <a:gd name="T16" fmla="*/ 97 w 1698"/>
                <a:gd name="T17" fmla="*/ 59 h 1464"/>
                <a:gd name="T18" fmla="*/ 92 w 1698"/>
                <a:gd name="T19" fmla="*/ 59 h 1464"/>
                <a:gd name="T20" fmla="*/ 90 w 1698"/>
                <a:gd name="T21" fmla="*/ 62 h 1464"/>
                <a:gd name="T22" fmla="*/ 93 w 1698"/>
                <a:gd name="T23" fmla="*/ 77 h 1464"/>
                <a:gd name="T24" fmla="*/ 85 w 1698"/>
                <a:gd name="T25" fmla="*/ 88 h 1464"/>
                <a:gd name="T26" fmla="*/ 70 w 1698"/>
                <a:gd name="T27" fmla="*/ 89 h 1464"/>
                <a:gd name="T28" fmla="*/ 65 w 1698"/>
                <a:gd name="T29" fmla="*/ 88 h 1464"/>
                <a:gd name="T30" fmla="*/ 50 w 1698"/>
                <a:gd name="T31" fmla="*/ 88 h 1464"/>
                <a:gd name="T32" fmla="*/ 48 w 1698"/>
                <a:gd name="T33" fmla="*/ 107 h 1464"/>
                <a:gd name="T34" fmla="*/ 47 w 1698"/>
                <a:gd name="T35" fmla="*/ 120 h 1464"/>
                <a:gd name="T36" fmla="*/ 43 w 1698"/>
                <a:gd name="T37" fmla="*/ 121 h 1464"/>
                <a:gd name="T38" fmla="*/ 40 w 1698"/>
                <a:gd name="T39" fmla="*/ 120 h 1464"/>
                <a:gd name="T40" fmla="*/ 35 w 1698"/>
                <a:gd name="T41" fmla="*/ 122 h 1464"/>
                <a:gd name="T42" fmla="*/ 29 w 1698"/>
                <a:gd name="T43" fmla="*/ 123 h 1464"/>
                <a:gd name="T44" fmla="*/ 24 w 1698"/>
                <a:gd name="T45" fmla="*/ 125 h 1464"/>
                <a:gd name="T46" fmla="*/ 20 w 1698"/>
                <a:gd name="T47" fmla="*/ 125 h 1464"/>
                <a:gd name="T48" fmla="*/ 18 w 1698"/>
                <a:gd name="T49" fmla="*/ 122 h 1464"/>
                <a:gd name="T50" fmla="*/ 26 w 1698"/>
                <a:gd name="T51" fmla="*/ 108 h 1464"/>
                <a:gd name="T52" fmla="*/ 24 w 1698"/>
                <a:gd name="T53" fmla="*/ 89 h 1464"/>
                <a:gd name="T54" fmla="*/ 28 w 1698"/>
                <a:gd name="T55" fmla="*/ 85 h 1464"/>
                <a:gd name="T56" fmla="*/ 32 w 1698"/>
                <a:gd name="T57" fmla="*/ 80 h 1464"/>
                <a:gd name="T58" fmla="*/ 36 w 1698"/>
                <a:gd name="T59" fmla="*/ 86 h 1464"/>
                <a:gd name="T60" fmla="*/ 39 w 1698"/>
                <a:gd name="T61" fmla="*/ 80 h 1464"/>
                <a:gd name="T62" fmla="*/ 41 w 1698"/>
                <a:gd name="T63" fmla="*/ 73 h 1464"/>
                <a:gd name="T64" fmla="*/ 38 w 1698"/>
                <a:gd name="T65" fmla="*/ 64 h 1464"/>
                <a:gd name="T66" fmla="*/ 39 w 1698"/>
                <a:gd name="T67" fmla="*/ 59 h 1464"/>
                <a:gd name="T68" fmla="*/ 32 w 1698"/>
                <a:gd name="T69" fmla="*/ 54 h 1464"/>
                <a:gd name="T70" fmla="*/ 32 w 1698"/>
                <a:gd name="T71" fmla="*/ 45 h 1464"/>
                <a:gd name="T72" fmla="*/ 31 w 1698"/>
                <a:gd name="T73" fmla="*/ 41 h 1464"/>
                <a:gd name="T74" fmla="*/ 24 w 1698"/>
                <a:gd name="T75" fmla="*/ 43 h 1464"/>
                <a:gd name="T76" fmla="*/ 17 w 1698"/>
                <a:gd name="T77" fmla="*/ 40 h 1464"/>
                <a:gd name="T78" fmla="*/ 11 w 1698"/>
                <a:gd name="T79" fmla="*/ 38 h 1464"/>
                <a:gd name="T80" fmla="*/ 2 w 1698"/>
                <a:gd name="T81" fmla="*/ 36 h 1464"/>
                <a:gd name="T82" fmla="*/ 0 w 1698"/>
                <a:gd name="T83" fmla="*/ 24 h 1464"/>
                <a:gd name="T84" fmla="*/ 11 w 1698"/>
                <a:gd name="T85" fmla="*/ 18 h 1464"/>
                <a:gd name="T86" fmla="*/ 19 w 1698"/>
                <a:gd name="T87" fmla="*/ 10 h 1464"/>
                <a:gd name="T88" fmla="*/ 28 w 1698"/>
                <a:gd name="T89" fmla="*/ 9 h 1464"/>
                <a:gd name="T90" fmla="*/ 40 w 1698"/>
                <a:gd name="T91" fmla="*/ 6 h 1464"/>
                <a:gd name="T92" fmla="*/ 49 w 1698"/>
                <a:gd name="T93" fmla="*/ 8 h 1464"/>
                <a:gd name="T94" fmla="*/ 56 w 1698"/>
                <a:gd name="T95" fmla="*/ 8 h 1464"/>
                <a:gd name="T96" fmla="*/ 64 w 1698"/>
                <a:gd name="T97" fmla="*/ 7 h 1464"/>
                <a:gd name="T98" fmla="*/ 74 w 1698"/>
                <a:gd name="T99" fmla="*/ 1 h 1464"/>
                <a:gd name="T100" fmla="*/ 83 w 1698"/>
                <a:gd name="T101" fmla="*/ 3 h 1464"/>
                <a:gd name="T102" fmla="*/ 99 w 1698"/>
                <a:gd name="T103" fmla="*/ 9 h 1464"/>
                <a:gd name="T104" fmla="*/ 112 w 1698"/>
                <a:gd name="T105" fmla="*/ 14 h 1464"/>
                <a:gd name="T106" fmla="*/ 119 w 1698"/>
                <a:gd name="T107" fmla="*/ 12 h 1464"/>
                <a:gd name="T108" fmla="*/ 128 w 1698"/>
                <a:gd name="T109" fmla="*/ 17 h 1464"/>
                <a:gd name="T110" fmla="*/ 141 w 1698"/>
                <a:gd name="T111" fmla="*/ 29 h 1464"/>
                <a:gd name="T112" fmla="*/ 145 w 1698"/>
                <a:gd name="T113" fmla="*/ 35 h 14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98"/>
                <a:gd name="T172" fmla="*/ 0 h 1464"/>
                <a:gd name="T173" fmla="*/ 1698 w 1698"/>
                <a:gd name="T174" fmla="*/ 1464 h 14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98" h="1464">
                  <a:moveTo>
                    <a:pt x="1698" y="462"/>
                  </a:moveTo>
                  <a:lnTo>
                    <a:pt x="1686" y="468"/>
                  </a:lnTo>
                  <a:lnTo>
                    <a:pt x="1680" y="474"/>
                  </a:lnTo>
                  <a:lnTo>
                    <a:pt x="1674" y="480"/>
                  </a:lnTo>
                  <a:lnTo>
                    <a:pt x="1668" y="480"/>
                  </a:lnTo>
                  <a:lnTo>
                    <a:pt x="1662" y="486"/>
                  </a:lnTo>
                  <a:lnTo>
                    <a:pt x="1656" y="492"/>
                  </a:lnTo>
                  <a:lnTo>
                    <a:pt x="1644" y="498"/>
                  </a:lnTo>
                  <a:lnTo>
                    <a:pt x="1626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0" y="516"/>
                  </a:lnTo>
                  <a:lnTo>
                    <a:pt x="1590" y="522"/>
                  </a:lnTo>
                  <a:lnTo>
                    <a:pt x="1566" y="522"/>
                  </a:lnTo>
                  <a:lnTo>
                    <a:pt x="1506" y="510"/>
                  </a:lnTo>
                  <a:lnTo>
                    <a:pt x="1500" y="510"/>
                  </a:lnTo>
                  <a:lnTo>
                    <a:pt x="1488" y="504"/>
                  </a:lnTo>
                  <a:lnTo>
                    <a:pt x="1482" y="498"/>
                  </a:lnTo>
                  <a:lnTo>
                    <a:pt x="1476" y="498"/>
                  </a:lnTo>
                  <a:lnTo>
                    <a:pt x="1476" y="492"/>
                  </a:lnTo>
                  <a:lnTo>
                    <a:pt x="1470" y="492"/>
                  </a:lnTo>
                  <a:lnTo>
                    <a:pt x="1464" y="486"/>
                  </a:lnTo>
                  <a:lnTo>
                    <a:pt x="1452" y="486"/>
                  </a:lnTo>
                  <a:lnTo>
                    <a:pt x="1446" y="474"/>
                  </a:lnTo>
                  <a:lnTo>
                    <a:pt x="1434" y="468"/>
                  </a:lnTo>
                  <a:lnTo>
                    <a:pt x="1416" y="468"/>
                  </a:lnTo>
                  <a:lnTo>
                    <a:pt x="1392" y="468"/>
                  </a:lnTo>
                  <a:lnTo>
                    <a:pt x="1374" y="474"/>
                  </a:lnTo>
                  <a:lnTo>
                    <a:pt x="1368" y="474"/>
                  </a:lnTo>
                  <a:lnTo>
                    <a:pt x="1368" y="486"/>
                  </a:lnTo>
                  <a:lnTo>
                    <a:pt x="1368" y="498"/>
                  </a:lnTo>
                  <a:lnTo>
                    <a:pt x="1368" y="522"/>
                  </a:lnTo>
                  <a:lnTo>
                    <a:pt x="1368" y="534"/>
                  </a:lnTo>
                  <a:lnTo>
                    <a:pt x="1362" y="546"/>
                  </a:lnTo>
                  <a:lnTo>
                    <a:pt x="1356" y="546"/>
                  </a:lnTo>
                  <a:lnTo>
                    <a:pt x="1344" y="540"/>
                  </a:lnTo>
                  <a:lnTo>
                    <a:pt x="1338" y="534"/>
                  </a:lnTo>
                  <a:lnTo>
                    <a:pt x="1308" y="522"/>
                  </a:lnTo>
                  <a:lnTo>
                    <a:pt x="1296" y="522"/>
                  </a:lnTo>
                  <a:lnTo>
                    <a:pt x="1278" y="528"/>
                  </a:lnTo>
                  <a:lnTo>
                    <a:pt x="1260" y="534"/>
                  </a:lnTo>
                  <a:lnTo>
                    <a:pt x="1242" y="546"/>
                  </a:lnTo>
                  <a:lnTo>
                    <a:pt x="1236" y="552"/>
                  </a:lnTo>
                  <a:lnTo>
                    <a:pt x="1224" y="558"/>
                  </a:lnTo>
                  <a:lnTo>
                    <a:pt x="1218" y="558"/>
                  </a:lnTo>
                  <a:lnTo>
                    <a:pt x="1218" y="564"/>
                  </a:lnTo>
                  <a:lnTo>
                    <a:pt x="1224" y="570"/>
                  </a:lnTo>
                  <a:lnTo>
                    <a:pt x="1224" y="582"/>
                  </a:lnTo>
                  <a:lnTo>
                    <a:pt x="1224" y="594"/>
                  </a:lnTo>
                  <a:lnTo>
                    <a:pt x="1212" y="618"/>
                  </a:lnTo>
                  <a:lnTo>
                    <a:pt x="1212" y="624"/>
                  </a:lnTo>
                  <a:lnTo>
                    <a:pt x="1212" y="630"/>
                  </a:lnTo>
                  <a:lnTo>
                    <a:pt x="1212" y="636"/>
                  </a:lnTo>
                  <a:lnTo>
                    <a:pt x="1218" y="654"/>
                  </a:lnTo>
                  <a:lnTo>
                    <a:pt x="1224" y="672"/>
                  </a:lnTo>
                  <a:lnTo>
                    <a:pt x="1230" y="696"/>
                  </a:lnTo>
                  <a:lnTo>
                    <a:pt x="1236" y="708"/>
                  </a:lnTo>
                  <a:lnTo>
                    <a:pt x="1236" y="714"/>
                  </a:lnTo>
                  <a:lnTo>
                    <a:pt x="1236" y="720"/>
                  </a:lnTo>
                  <a:lnTo>
                    <a:pt x="1218" y="726"/>
                  </a:lnTo>
                  <a:lnTo>
                    <a:pt x="1212" y="726"/>
                  </a:lnTo>
                  <a:lnTo>
                    <a:pt x="1206" y="726"/>
                  </a:lnTo>
                  <a:lnTo>
                    <a:pt x="1194" y="720"/>
                  </a:lnTo>
                  <a:lnTo>
                    <a:pt x="1194" y="714"/>
                  </a:lnTo>
                  <a:lnTo>
                    <a:pt x="1176" y="714"/>
                  </a:lnTo>
                  <a:lnTo>
                    <a:pt x="1164" y="708"/>
                  </a:lnTo>
                  <a:lnTo>
                    <a:pt x="1158" y="708"/>
                  </a:lnTo>
                  <a:lnTo>
                    <a:pt x="1140" y="702"/>
                  </a:lnTo>
                  <a:lnTo>
                    <a:pt x="1134" y="696"/>
                  </a:lnTo>
                  <a:lnTo>
                    <a:pt x="1128" y="690"/>
                  </a:lnTo>
                  <a:lnTo>
                    <a:pt x="1116" y="678"/>
                  </a:lnTo>
                  <a:lnTo>
                    <a:pt x="1110" y="678"/>
                  </a:lnTo>
                  <a:lnTo>
                    <a:pt x="1104" y="672"/>
                  </a:lnTo>
                  <a:lnTo>
                    <a:pt x="1092" y="672"/>
                  </a:lnTo>
                  <a:lnTo>
                    <a:pt x="1086" y="672"/>
                  </a:lnTo>
                  <a:lnTo>
                    <a:pt x="1080" y="672"/>
                  </a:lnTo>
                  <a:lnTo>
                    <a:pt x="1074" y="672"/>
                  </a:lnTo>
                  <a:lnTo>
                    <a:pt x="1068" y="672"/>
                  </a:lnTo>
                  <a:lnTo>
                    <a:pt x="1062" y="678"/>
                  </a:lnTo>
                  <a:lnTo>
                    <a:pt x="1056" y="678"/>
                  </a:lnTo>
                  <a:lnTo>
                    <a:pt x="1056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6"/>
                  </a:lnTo>
                  <a:lnTo>
                    <a:pt x="1032" y="708"/>
                  </a:lnTo>
                  <a:lnTo>
                    <a:pt x="1026" y="708"/>
                  </a:lnTo>
                  <a:lnTo>
                    <a:pt x="1032" y="714"/>
                  </a:lnTo>
                  <a:lnTo>
                    <a:pt x="1026" y="720"/>
                  </a:lnTo>
                  <a:lnTo>
                    <a:pt x="1020" y="720"/>
                  </a:lnTo>
                  <a:lnTo>
                    <a:pt x="1014" y="732"/>
                  </a:lnTo>
                  <a:lnTo>
                    <a:pt x="1014" y="744"/>
                  </a:lnTo>
                  <a:lnTo>
                    <a:pt x="1038" y="810"/>
                  </a:lnTo>
                  <a:lnTo>
                    <a:pt x="1050" y="834"/>
                  </a:lnTo>
                  <a:lnTo>
                    <a:pt x="1056" y="858"/>
                  </a:lnTo>
                  <a:lnTo>
                    <a:pt x="1062" y="876"/>
                  </a:lnTo>
                  <a:lnTo>
                    <a:pt x="1068" y="882"/>
                  </a:lnTo>
                  <a:lnTo>
                    <a:pt x="1062" y="972"/>
                  </a:lnTo>
                  <a:lnTo>
                    <a:pt x="1056" y="972"/>
                  </a:lnTo>
                  <a:lnTo>
                    <a:pt x="1050" y="996"/>
                  </a:lnTo>
                  <a:lnTo>
                    <a:pt x="1044" y="1014"/>
                  </a:lnTo>
                  <a:lnTo>
                    <a:pt x="1008" y="1014"/>
                  </a:lnTo>
                  <a:lnTo>
                    <a:pt x="1008" y="1008"/>
                  </a:lnTo>
                  <a:lnTo>
                    <a:pt x="990" y="1008"/>
                  </a:lnTo>
                  <a:lnTo>
                    <a:pt x="972" y="1014"/>
                  </a:lnTo>
                  <a:lnTo>
                    <a:pt x="948" y="1020"/>
                  </a:lnTo>
                  <a:lnTo>
                    <a:pt x="918" y="1026"/>
                  </a:lnTo>
                  <a:lnTo>
                    <a:pt x="840" y="1032"/>
                  </a:lnTo>
                  <a:lnTo>
                    <a:pt x="834" y="1032"/>
                  </a:lnTo>
                  <a:lnTo>
                    <a:pt x="834" y="1026"/>
                  </a:lnTo>
                  <a:lnTo>
                    <a:pt x="822" y="1026"/>
                  </a:lnTo>
                  <a:lnTo>
                    <a:pt x="816" y="1032"/>
                  </a:lnTo>
                  <a:lnTo>
                    <a:pt x="804" y="1032"/>
                  </a:lnTo>
                  <a:lnTo>
                    <a:pt x="798" y="1026"/>
                  </a:lnTo>
                  <a:lnTo>
                    <a:pt x="780" y="1026"/>
                  </a:lnTo>
                  <a:lnTo>
                    <a:pt x="762" y="1026"/>
                  </a:lnTo>
                  <a:lnTo>
                    <a:pt x="756" y="1026"/>
                  </a:lnTo>
                  <a:lnTo>
                    <a:pt x="750" y="1026"/>
                  </a:lnTo>
                  <a:lnTo>
                    <a:pt x="756" y="1020"/>
                  </a:lnTo>
                  <a:lnTo>
                    <a:pt x="750" y="1020"/>
                  </a:lnTo>
                  <a:lnTo>
                    <a:pt x="744" y="1014"/>
                  </a:lnTo>
                  <a:lnTo>
                    <a:pt x="684" y="1020"/>
                  </a:lnTo>
                  <a:lnTo>
                    <a:pt x="648" y="1020"/>
                  </a:lnTo>
                  <a:lnTo>
                    <a:pt x="630" y="1020"/>
                  </a:lnTo>
                  <a:lnTo>
                    <a:pt x="618" y="1020"/>
                  </a:lnTo>
                  <a:lnTo>
                    <a:pt x="606" y="1014"/>
                  </a:lnTo>
                  <a:lnTo>
                    <a:pt x="582" y="1014"/>
                  </a:lnTo>
                  <a:lnTo>
                    <a:pt x="576" y="1014"/>
                  </a:lnTo>
                  <a:lnTo>
                    <a:pt x="570" y="1014"/>
                  </a:lnTo>
                  <a:lnTo>
                    <a:pt x="564" y="1020"/>
                  </a:lnTo>
                  <a:lnTo>
                    <a:pt x="558" y="1026"/>
                  </a:lnTo>
                  <a:lnTo>
                    <a:pt x="552" y="1032"/>
                  </a:lnTo>
                  <a:lnTo>
                    <a:pt x="552" y="1038"/>
                  </a:lnTo>
                  <a:lnTo>
                    <a:pt x="558" y="1194"/>
                  </a:lnTo>
                  <a:lnTo>
                    <a:pt x="558" y="1206"/>
                  </a:lnTo>
                  <a:lnTo>
                    <a:pt x="552" y="1218"/>
                  </a:lnTo>
                  <a:lnTo>
                    <a:pt x="552" y="1236"/>
                  </a:lnTo>
                  <a:lnTo>
                    <a:pt x="546" y="1272"/>
                  </a:lnTo>
                  <a:lnTo>
                    <a:pt x="546" y="1308"/>
                  </a:lnTo>
                  <a:lnTo>
                    <a:pt x="540" y="1332"/>
                  </a:lnTo>
                  <a:lnTo>
                    <a:pt x="546" y="1356"/>
                  </a:lnTo>
                  <a:lnTo>
                    <a:pt x="546" y="1362"/>
                  </a:lnTo>
                  <a:lnTo>
                    <a:pt x="546" y="1374"/>
                  </a:lnTo>
                  <a:lnTo>
                    <a:pt x="546" y="1380"/>
                  </a:lnTo>
                  <a:lnTo>
                    <a:pt x="540" y="1380"/>
                  </a:lnTo>
                  <a:lnTo>
                    <a:pt x="522" y="1380"/>
                  </a:lnTo>
                  <a:lnTo>
                    <a:pt x="516" y="1380"/>
                  </a:lnTo>
                  <a:lnTo>
                    <a:pt x="516" y="1386"/>
                  </a:lnTo>
                  <a:lnTo>
                    <a:pt x="516" y="1392"/>
                  </a:lnTo>
                  <a:lnTo>
                    <a:pt x="510" y="1392"/>
                  </a:lnTo>
                  <a:lnTo>
                    <a:pt x="504" y="1386"/>
                  </a:lnTo>
                  <a:lnTo>
                    <a:pt x="498" y="1392"/>
                  </a:lnTo>
                  <a:lnTo>
                    <a:pt x="492" y="1398"/>
                  </a:lnTo>
                  <a:lnTo>
                    <a:pt x="486" y="1398"/>
                  </a:lnTo>
                  <a:lnTo>
                    <a:pt x="486" y="1392"/>
                  </a:lnTo>
                  <a:lnTo>
                    <a:pt x="486" y="1380"/>
                  </a:lnTo>
                  <a:lnTo>
                    <a:pt x="486" y="1374"/>
                  </a:lnTo>
                  <a:lnTo>
                    <a:pt x="480" y="1374"/>
                  </a:lnTo>
                  <a:lnTo>
                    <a:pt x="474" y="1374"/>
                  </a:lnTo>
                  <a:lnTo>
                    <a:pt x="468" y="1380"/>
                  </a:lnTo>
                  <a:lnTo>
                    <a:pt x="462" y="1380"/>
                  </a:lnTo>
                  <a:lnTo>
                    <a:pt x="456" y="1380"/>
                  </a:lnTo>
                  <a:lnTo>
                    <a:pt x="450" y="1386"/>
                  </a:lnTo>
                  <a:lnTo>
                    <a:pt x="444" y="1386"/>
                  </a:lnTo>
                  <a:lnTo>
                    <a:pt x="444" y="1392"/>
                  </a:lnTo>
                  <a:lnTo>
                    <a:pt x="432" y="1398"/>
                  </a:lnTo>
                  <a:lnTo>
                    <a:pt x="426" y="1404"/>
                  </a:lnTo>
                  <a:lnTo>
                    <a:pt x="420" y="1404"/>
                  </a:lnTo>
                  <a:lnTo>
                    <a:pt x="408" y="1404"/>
                  </a:lnTo>
                  <a:lnTo>
                    <a:pt x="378" y="1410"/>
                  </a:lnTo>
                  <a:lnTo>
                    <a:pt x="372" y="1410"/>
                  </a:lnTo>
                  <a:lnTo>
                    <a:pt x="360" y="1410"/>
                  </a:lnTo>
                  <a:lnTo>
                    <a:pt x="354" y="1416"/>
                  </a:lnTo>
                  <a:lnTo>
                    <a:pt x="348" y="1416"/>
                  </a:lnTo>
                  <a:lnTo>
                    <a:pt x="342" y="1410"/>
                  </a:lnTo>
                  <a:lnTo>
                    <a:pt x="336" y="1410"/>
                  </a:lnTo>
                  <a:lnTo>
                    <a:pt x="336" y="1416"/>
                  </a:lnTo>
                  <a:lnTo>
                    <a:pt x="330" y="1422"/>
                  </a:lnTo>
                  <a:lnTo>
                    <a:pt x="324" y="1422"/>
                  </a:lnTo>
                  <a:lnTo>
                    <a:pt x="318" y="1422"/>
                  </a:lnTo>
                  <a:lnTo>
                    <a:pt x="312" y="1428"/>
                  </a:lnTo>
                  <a:lnTo>
                    <a:pt x="312" y="1434"/>
                  </a:lnTo>
                  <a:lnTo>
                    <a:pt x="300" y="1428"/>
                  </a:lnTo>
                  <a:lnTo>
                    <a:pt x="288" y="1434"/>
                  </a:lnTo>
                  <a:lnTo>
                    <a:pt x="282" y="1440"/>
                  </a:lnTo>
                  <a:lnTo>
                    <a:pt x="282" y="1446"/>
                  </a:lnTo>
                  <a:lnTo>
                    <a:pt x="276" y="1446"/>
                  </a:lnTo>
                  <a:lnTo>
                    <a:pt x="276" y="1452"/>
                  </a:lnTo>
                  <a:lnTo>
                    <a:pt x="270" y="1452"/>
                  </a:lnTo>
                  <a:lnTo>
                    <a:pt x="258" y="1464"/>
                  </a:lnTo>
                  <a:lnTo>
                    <a:pt x="240" y="1458"/>
                  </a:lnTo>
                  <a:lnTo>
                    <a:pt x="234" y="1452"/>
                  </a:lnTo>
                  <a:lnTo>
                    <a:pt x="234" y="1446"/>
                  </a:lnTo>
                  <a:lnTo>
                    <a:pt x="228" y="1446"/>
                  </a:lnTo>
                  <a:lnTo>
                    <a:pt x="222" y="1440"/>
                  </a:lnTo>
                  <a:lnTo>
                    <a:pt x="216" y="1440"/>
                  </a:lnTo>
                  <a:lnTo>
                    <a:pt x="210" y="1428"/>
                  </a:lnTo>
                  <a:lnTo>
                    <a:pt x="210" y="1422"/>
                  </a:lnTo>
                  <a:lnTo>
                    <a:pt x="198" y="1416"/>
                  </a:lnTo>
                  <a:lnTo>
                    <a:pt x="204" y="1410"/>
                  </a:lnTo>
                  <a:lnTo>
                    <a:pt x="210" y="1404"/>
                  </a:lnTo>
                  <a:lnTo>
                    <a:pt x="210" y="1398"/>
                  </a:lnTo>
                  <a:lnTo>
                    <a:pt x="252" y="1368"/>
                  </a:lnTo>
                  <a:lnTo>
                    <a:pt x="276" y="1350"/>
                  </a:lnTo>
                  <a:lnTo>
                    <a:pt x="300" y="1338"/>
                  </a:lnTo>
                  <a:lnTo>
                    <a:pt x="294" y="1314"/>
                  </a:lnTo>
                  <a:lnTo>
                    <a:pt x="288" y="1308"/>
                  </a:lnTo>
                  <a:lnTo>
                    <a:pt x="300" y="1266"/>
                  </a:lnTo>
                  <a:lnTo>
                    <a:pt x="300" y="1242"/>
                  </a:lnTo>
                  <a:lnTo>
                    <a:pt x="300" y="1206"/>
                  </a:lnTo>
                  <a:lnTo>
                    <a:pt x="300" y="1164"/>
                  </a:lnTo>
                  <a:lnTo>
                    <a:pt x="294" y="1134"/>
                  </a:lnTo>
                  <a:lnTo>
                    <a:pt x="282" y="1086"/>
                  </a:lnTo>
                  <a:lnTo>
                    <a:pt x="276" y="1074"/>
                  </a:lnTo>
                  <a:lnTo>
                    <a:pt x="276" y="1056"/>
                  </a:lnTo>
                  <a:lnTo>
                    <a:pt x="270" y="1038"/>
                  </a:lnTo>
                  <a:lnTo>
                    <a:pt x="270" y="1020"/>
                  </a:lnTo>
                  <a:lnTo>
                    <a:pt x="282" y="1020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94" y="1002"/>
                  </a:lnTo>
                  <a:lnTo>
                    <a:pt x="306" y="996"/>
                  </a:lnTo>
                  <a:lnTo>
                    <a:pt x="312" y="990"/>
                  </a:lnTo>
                  <a:lnTo>
                    <a:pt x="318" y="990"/>
                  </a:lnTo>
                  <a:lnTo>
                    <a:pt x="324" y="984"/>
                  </a:lnTo>
                  <a:lnTo>
                    <a:pt x="324" y="978"/>
                  </a:lnTo>
                  <a:lnTo>
                    <a:pt x="324" y="972"/>
                  </a:lnTo>
                  <a:lnTo>
                    <a:pt x="324" y="954"/>
                  </a:lnTo>
                  <a:lnTo>
                    <a:pt x="336" y="948"/>
                  </a:lnTo>
                  <a:lnTo>
                    <a:pt x="342" y="936"/>
                  </a:lnTo>
                  <a:lnTo>
                    <a:pt x="348" y="924"/>
                  </a:lnTo>
                  <a:lnTo>
                    <a:pt x="354" y="924"/>
                  </a:lnTo>
                  <a:lnTo>
                    <a:pt x="372" y="924"/>
                  </a:lnTo>
                  <a:lnTo>
                    <a:pt x="372" y="930"/>
                  </a:lnTo>
                  <a:lnTo>
                    <a:pt x="378" y="930"/>
                  </a:lnTo>
                  <a:lnTo>
                    <a:pt x="378" y="936"/>
                  </a:lnTo>
                  <a:lnTo>
                    <a:pt x="384" y="936"/>
                  </a:lnTo>
                  <a:lnTo>
                    <a:pt x="384" y="942"/>
                  </a:lnTo>
                  <a:lnTo>
                    <a:pt x="402" y="942"/>
                  </a:lnTo>
                  <a:lnTo>
                    <a:pt x="402" y="996"/>
                  </a:lnTo>
                  <a:lnTo>
                    <a:pt x="414" y="996"/>
                  </a:lnTo>
                  <a:lnTo>
                    <a:pt x="420" y="996"/>
                  </a:lnTo>
                  <a:lnTo>
                    <a:pt x="426" y="996"/>
                  </a:lnTo>
                  <a:lnTo>
                    <a:pt x="432" y="996"/>
                  </a:lnTo>
                  <a:lnTo>
                    <a:pt x="438" y="996"/>
                  </a:lnTo>
                  <a:lnTo>
                    <a:pt x="438" y="942"/>
                  </a:lnTo>
                  <a:lnTo>
                    <a:pt x="444" y="930"/>
                  </a:lnTo>
                  <a:lnTo>
                    <a:pt x="444" y="924"/>
                  </a:lnTo>
                  <a:lnTo>
                    <a:pt x="444" y="918"/>
                  </a:lnTo>
                  <a:lnTo>
                    <a:pt x="462" y="918"/>
                  </a:lnTo>
                  <a:lnTo>
                    <a:pt x="474" y="906"/>
                  </a:lnTo>
                  <a:lnTo>
                    <a:pt x="480" y="900"/>
                  </a:lnTo>
                  <a:lnTo>
                    <a:pt x="486" y="888"/>
                  </a:lnTo>
                  <a:lnTo>
                    <a:pt x="492" y="876"/>
                  </a:lnTo>
                  <a:lnTo>
                    <a:pt x="492" y="858"/>
                  </a:lnTo>
                  <a:lnTo>
                    <a:pt x="480" y="858"/>
                  </a:lnTo>
                  <a:lnTo>
                    <a:pt x="474" y="840"/>
                  </a:lnTo>
                  <a:lnTo>
                    <a:pt x="450" y="834"/>
                  </a:lnTo>
                  <a:lnTo>
                    <a:pt x="438" y="816"/>
                  </a:lnTo>
                  <a:lnTo>
                    <a:pt x="432" y="792"/>
                  </a:lnTo>
                  <a:lnTo>
                    <a:pt x="432" y="786"/>
                  </a:lnTo>
                  <a:lnTo>
                    <a:pt x="432" y="774"/>
                  </a:lnTo>
                  <a:lnTo>
                    <a:pt x="432" y="762"/>
                  </a:lnTo>
                  <a:lnTo>
                    <a:pt x="438" y="750"/>
                  </a:lnTo>
                  <a:lnTo>
                    <a:pt x="438" y="738"/>
                  </a:lnTo>
                  <a:lnTo>
                    <a:pt x="444" y="732"/>
                  </a:lnTo>
                  <a:lnTo>
                    <a:pt x="450" y="732"/>
                  </a:lnTo>
                  <a:lnTo>
                    <a:pt x="456" y="732"/>
                  </a:lnTo>
                  <a:lnTo>
                    <a:pt x="456" y="726"/>
                  </a:lnTo>
                  <a:lnTo>
                    <a:pt x="456" y="714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44" y="684"/>
                  </a:lnTo>
                  <a:lnTo>
                    <a:pt x="438" y="666"/>
                  </a:lnTo>
                  <a:lnTo>
                    <a:pt x="426" y="666"/>
                  </a:lnTo>
                  <a:lnTo>
                    <a:pt x="432" y="666"/>
                  </a:lnTo>
                  <a:lnTo>
                    <a:pt x="420" y="666"/>
                  </a:lnTo>
                  <a:lnTo>
                    <a:pt x="414" y="660"/>
                  </a:lnTo>
                  <a:lnTo>
                    <a:pt x="396" y="654"/>
                  </a:lnTo>
                  <a:lnTo>
                    <a:pt x="384" y="642"/>
                  </a:lnTo>
                  <a:lnTo>
                    <a:pt x="366" y="624"/>
                  </a:lnTo>
                  <a:lnTo>
                    <a:pt x="354" y="606"/>
                  </a:lnTo>
                  <a:lnTo>
                    <a:pt x="342" y="588"/>
                  </a:lnTo>
                  <a:lnTo>
                    <a:pt x="342" y="582"/>
                  </a:lnTo>
                  <a:lnTo>
                    <a:pt x="360" y="564"/>
                  </a:lnTo>
                  <a:lnTo>
                    <a:pt x="372" y="540"/>
                  </a:lnTo>
                  <a:lnTo>
                    <a:pt x="366" y="528"/>
                  </a:lnTo>
                  <a:lnTo>
                    <a:pt x="366" y="522"/>
                  </a:lnTo>
                  <a:lnTo>
                    <a:pt x="372" y="516"/>
                  </a:lnTo>
                  <a:lnTo>
                    <a:pt x="384" y="504"/>
                  </a:lnTo>
                  <a:lnTo>
                    <a:pt x="378" y="492"/>
                  </a:lnTo>
                  <a:lnTo>
                    <a:pt x="378" y="486"/>
                  </a:lnTo>
                  <a:lnTo>
                    <a:pt x="378" y="480"/>
                  </a:lnTo>
                  <a:lnTo>
                    <a:pt x="378" y="474"/>
                  </a:lnTo>
                  <a:lnTo>
                    <a:pt x="378" y="468"/>
                  </a:lnTo>
                  <a:lnTo>
                    <a:pt x="366" y="468"/>
                  </a:lnTo>
                  <a:lnTo>
                    <a:pt x="360" y="474"/>
                  </a:lnTo>
                  <a:lnTo>
                    <a:pt x="354" y="480"/>
                  </a:lnTo>
                  <a:lnTo>
                    <a:pt x="348" y="486"/>
                  </a:lnTo>
                  <a:lnTo>
                    <a:pt x="348" y="492"/>
                  </a:lnTo>
                  <a:lnTo>
                    <a:pt x="336" y="510"/>
                  </a:lnTo>
                  <a:lnTo>
                    <a:pt x="300" y="516"/>
                  </a:lnTo>
                  <a:lnTo>
                    <a:pt x="300" y="510"/>
                  </a:lnTo>
                  <a:lnTo>
                    <a:pt x="282" y="504"/>
                  </a:lnTo>
                  <a:lnTo>
                    <a:pt x="282" y="498"/>
                  </a:lnTo>
                  <a:lnTo>
                    <a:pt x="264" y="486"/>
                  </a:lnTo>
                  <a:lnTo>
                    <a:pt x="258" y="492"/>
                  </a:lnTo>
                  <a:lnTo>
                    <a:pt x="234" y="492"/>
                  </a:lnTo>
                  <a:lnTo>
                    <a:pt x="222" y="486"/>
                  </a:lnTo>
                  <a:lnTo>
                    <a:pt x="204" y="480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92" y="462"/>
                  </a:lnTo>
                  <a:lnTo>
                    <a:pt x="186" y="462"/>
                  </a:lnTo>
                  <a:lnTo>
                    <a:pt x="180" y="468"/>
                  </a:lnTo>
                  <a:lnTo>
                    <a:pt x="150" y="450"/>
                  </a:lnTo>
                  <a:lnTo>
                    <a:pt x="144" y="438"/>
                  </a:lnTo>
                  <a:lnTo>
                    <a:pt x="138" y="438"/>
                  </a:lnTo>
                  <a:lnTo>
                    <a:pt x="132" y="432"/>
                  </a:lnTo>
                  <a:lnTo>
                    <a:pt x="126" y="432"/>
                  </a:lnTo>
                  <a:lnTo>
                    <a:pt x="120" y="432"/>
                  </a:lnTo>
                  <a:lnTo>
                    <a:pt x="102" y="426"/>
                  </a:lnTo>
                  <a:lnTo>
                    <a:pt x="96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2" y="414"/>
                  </a:lnTo>
                  <a:lnTo>
                    <a:pt x="60" y="414"/>
                  </a:lnTo>
                  <a:lnTo>
                    <a:pt x="30" y="414"/>
                  </a:lnTo>
                  <a:lnTo>
                    <a:pt x="24" y="414"/>
                  </a:lnTo>
                  <a:lnTo>
                    <a:pt x="12" y="414"/>
                  </a:lnTo>
                  <a:lnTo>
                    <a:pt x="0" y="420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0" y="336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30" y="270"/>
                  </a:lnTo>
                  <a:lnTo>
                    <a:pt x="42" y="270"/>
                  </a:lnTo>
                  <a:lnTo>
                    <a:pt x="54" y="264"/>
                  </a:lnTo>
                  <a:lnTo>
                    <a:pt x="78" y="240"/>
                  </a:lnTo>
                  <a:lnTo>
                    <a:pt x="102" y="216"/>
                  </a:lnTo>
                  <a:lnTo>
                    <a:pt x="114" y="210"/>
                  </a:lnTo>
                  <a:lnTo>
                    <a:pt x="120" y="204"/>
                  </a:lnTo>
                  <a:lnTo>
                    <a:pt x="126" y="198"/>
                  </a:lnTo>
                  <a:lnTo>
                    <a:pt x="138" y="18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38"/>
                  </a:lnTo>
                  <a:lnTo>
                    <a:pt x="210" y="126"/>
                  </a:lnTo>
                  <a:lnTo>
                    <a:pt x="216" y="120"/>
                  </a:lnTo>
                  <a:lnTo>
                    <a:pt x="222" y="120"/>
                  </a:lnTo>
                  <a:lnTo>
                    <a:pt x="258" y="114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300" y="102"/>
                  </a:lnTo>
                  <a:lnTo>
                    <a:pt x="312" y="102"/>
                  </a:lnTo>
                  <a:lnTo>
                    <a:pt x="318" y="102"/>
                  </a:lnTo>
                  <a:lnTo>
                    <a:pt x="348" y="96"/>
                  </a:lnTo>
                  <a:lnTo>
                    <a:pt x="366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408" y="84"/>
                  </a:lnTo>
                  <a:lnTo>
                    <a:pt x="420" y="84"/>
                  </a:lnTo>
                  <a:lnTo>
                    <a:pt x="462" y="72"/>
                  </a:lnTo>
                  <a:lnTo>
                    <a:pt x="474" y="72"/>
                  </a:lnTo>
                  <a:lnTo>
                    <a:pt x="474" y="78"/>
                  </a:lnTo>
                  <a:lnTo>
                    <a:pt x="492" y="90"/>
                  </a:lnTo>
                  <a:lnTo>
                    <a:pt x="498" y="90"/>
                  </a:lnTo>
                  <a:lnTo>
                    <a:pt x="522" y="96"/>
                  </a:lnTo>
                  <a:lnTo>
                    <a:pt x="540" y="96"/>
                  </a:lnTo>
                  <a:lnTo>
                    <a:pt x="546" y="96"/>
                  </a:lnTo>
                  <a:lnTo>
                    <a:pt x="558" y="96"/>
                  </a:lnTo>
                  <a:lnTo>
                    <a:pt x="564" y="96"/>
                  </a:lnTo>
                  <a:lnTo>
                    <a:pt x="576" y="96"/>
                  </a:lnTo>
                  <a:lnTo>
                    <a:pt x="588" y="96"/>
                  </a:lnTo>
                  <a:lnTo>
                    <a:pt x="612" y="90"/>
                  </a:lnTo>
                  <a:lnTo>
                    <a:pt x="624" y="90"/>
                  </a:lnTo>
                  <a:lnTo>
                    <a:pt x="636" y="90"/>
                  </a:lnTo>
                  <a:lnTo>
                    <a:pt x="642" y="90"/>
                  </a:lnTo>
                  <a:lnTo>
                    <a:pt x="648" y="96"/>
                  </a:lnTo>
                  <a:lnTo>
                    <a:pt x="660" y="96"/>
                  </a:lnTo>
                  <a:lnTo>
                    <a:pt x="666" y="96"/>
                  </a:lnTo>
                  <a:lnTo>
                    <a:pt x="672" y="96"/>
                  </a:lnTo>
                  <a:lnTo>
                    <a:pt x="684" y="96"/>
                  </a:lnTo>
                  <a:lnTo>
                    <a:pt x="708" y="96"/>
                  </a:lnTo>
                  <a:lnTo>
                    <a:pt x="714" y="96"/>
                  </a:lnTo>
                  <a:lnTo>
                    <a:pt x="726" y="96"/>
                  </a:lnTo>
                  <a:lnTo>
                    <a:pt x="738" y="84"/>
                  </a:lnTo>
                  <a:lnTo>
                    <a:pt x="744" y="78"/>
                  </a:lnTo>
                  <a:lnTo>
                    <a:pt x="756" y="66"/>
                  </a:lnTo>
                  <a:lnTo>
                    <a:pt x="774" y="42"/>
                  </a:lnTo>
                  <a:lnTo>
                    <a:pt x="780" y="30"/>
                  </a:lnTo>
                  <a:lnTo>
                    <a:pt x="816" y="24"/>
                  </a:lnTo>
                  <a:lnTo>
                    <a:pt x="840" y="18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64" y="6"/>
                  </a:lnTo>
                  <a:lnTo>
                    <a:pt x="870" y="6"/>
                  </a:lnTo>
                  <a:lnTo>
                    <a:pt x="894" y="0"/>
                  </a:lnTo>
                  <a:lnTo>
                    <a:pt x="900" y="6"/>
                  </a:lnTo>
                  <a:lnTo>
                    <a:pt x="930" y="18"/>
                  </a:lnTo>
                  <a:lnTo>
                    <a:pt x="942" y="24"/>
                  </a:lnTo>
                  <a:lnTo>
                    <a:pt x="954" y="30"/>
                  </a:lnTo>
                  <a:lnTo>
                    <a:pt x="1026" y="60"/>
                  </a:lnTo>
                  <a:lnTo>
                    <a:pt x="1032" y="60"/>
                  </a:lnTo>
                  <a:lnTo>
                    <a:pt x="1038" y="66"/>
                  </a:lnTo>
                  <a:lnTo>
                    <a:pt x="1068" y="72"/>
                  </a:lnTo>
                  <a:lnTo>
                    <a:pt x="1098" y="84"/>
                  </a:lnTo>
                  <a:lnTo>
                    <a:pt x="1122" y="90"/>
                  </a:lnTo>
                  <a:lnTo>
                    <a:pt x="1122" y="96"/>
                  </a:lnTo>
                  <a:lnTo>
                    <a:pt x="1140" y="102"/>
                  </a:lnTo>
                  <a:lnTo>
                    <a:pt x="1182" y="114"/>
                  </a:lnTo>
                  <a:lnTo>
                    <a:pt x="1188" y="114"/>
                  </a:lnTo>
                  <a:lnTo>
                    <a:pt x="1200" y="120"/>
                  </a:lnTo>
                  <a:lnTo>
                    <a:pt x="1212" y="126"/>
                  </a:lnTo>
                  <a:lnTo>
                    <a:pt x="1224" y="126"/>
                  </a:lnTo>
                  <a:lnTo>
                    <a:pt x="1248" y="138"/>
                  </a:lnTo>
                  <a:lnTo>
                    <a:pt x="1272" y="150"/>
                  </a:lnTo>
                  <a:lnTo>
                    <a:pt x="1284" y="156"/>
                  </a:lnTo>
                  <a:lnTo>
                    <a:pt x="1290" y="162"/>
                  </a:lnTo>
                  <a:lnTo>
                    <a:pt x="1296" y="162"/>
                  </a:lnTo>
                  <a:lnTo>
                    <a:pt x="1308" y="156"/>
                  </a:lnTo>
                  <a:lnTo>
                    <a:pt x="1320" y="150"/>
                  </a:lnTo>
                  <a:lnTo>
                    <a:pt x="1326" y="150"/>
                  </a:lnTo>
                  <a:lnTo>
                    <a:pt x="1338" y="144"/>
                  </a:lnTo>
                  <a:lnTo>
                    <a:pt x="1362" y="144"/>
                  </a:lnTo>
                  <a:lnTo>
                    <a:pt x="1368" y="144"/>
                  </a:lnTo>
                  <a:lnTo>
                    <a:pt x="1374" y="144"/>
                  </a:lnTo>
                  <a:lnTo>
                    <a:pt x="1386" y="150"/>
                  </a:lnTo>
                  <a:lnTo>
                    <a:pt x="1392" y="150"/>
                  </a:lnTo>
                  <a:lnTo>
                    <a:pt x="1398" y="150"/>
                  </a:lnTo>
                  <a:lnTo>
                    <a:pt x="1416" y="162"/>
                  </a:lnTo>
                  <a:lnTo>
                    <a:pt x="1458" y="186"/>
                  </a:lnTo>
                  <a:lnTo>
                    <a:pt x="1464" y="186"/>
                  </a:lnTo>
                  <a:lnTo>
                    <a:pt x="1470" y="192"/>
                  </a:lnTo>
                  <a:lnTo>
                    <a:pt x="1482" y="204"/>
                  </a:lnTo>
                  <a:lnTo>
                    <a:pt x="1512" y="234"/>
                  </a:lnTo>
                  <a:lnTo>
                    <a:pt x="1554" y="276"/>
                  </a:lnTo>
                  <a:lnTo>
                    <a:pt x="1560" y="276"/>
                  </a:lnTo>
                  <a:lnTo>
                    <a:pt x="1566" y="282"/>
                  </a:lnTo>
                  <a:lnTo>
                    <a:pt x="1578" y="294"/>
                  </a:lnTo>
                  <a:lnTo>
                    <a:pt x="1602" y="318"/>
                  </a:lnTo>
                  <a:lnTo>
                    <a:pt x="1614" y="330"/>
                  </a:lnTo>
                  <a:lnTo>
                    <a:pt x="1620" y="336"/>
                  </a:lnTo>
                  <a:lnTo>
                    <a:pt x="1626" y="342"/>
                  </a:lnTo>
                  <a:lnTo>
                    <a:pt x="1632" y="354"/>
                  </a:lnTo>
                  <a:lnTo>
                    <a:pt x="1644" y="366"/>
                  </a:lnTo>
                  <a:lnTo>
                    <a:pt x="1650" y="378"/>
                  </a:lnTo>
                  <a:lnTo>
                    <a:pt x="1650" y="384"/>
                  </a:lnTo>
                  <a:lnTo>
                    <a:pt x="1656" y="384"/>
                  </a:lnTo>
                  <a:lnTo>
                    <a:pt x="1662" y="402"/>
                  </a:lnTo>
                  <a:lnTo>
                    <a:pt x="1668" y="408"/>
                  </a:lnTo>
                  <a:lnTo>
                    <a:pt x="1674" y="426"/>
                  </a:lnTo>
                  <a:lnTo>
                    <a:pt x="1686" y="438"/>
                  </a:lnTo>
                  <a:lnTo>
                    <a:pt x="1698" y="46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9" name="Freeform 34">
              <a:extLst>
                <a:ext uri="{FF2B5EF4-FFF2-40B4-BE49-F238E27FC236}">
                  <a16:creationId xmlns:a16="http://schemas.microsoft.com/office/drawing/2014/main" id="{94603F24-8CF7-4226-A433-00D18CA7D9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1988" y="1681402"/>
              <a:ext cx="869877" cy="1060101"/>
            </a:xfrm>
            <a:custGeom>
              <a:avLst/>
              <a:gdLst>
                <a:gd name="T0" fmla="*/ 4 w 1638"/>
                <a:gd name="T1" fmla="*/ 111 h 1998"/>
                <a:gd name="T2" fmla="*/ 6 w 1638"/>
                <a:gd name="T3" fmla="*/ 87 h 1998"/>
                <a:gd name="T4" fmla="*/ 10 w 1638"/>
                <a:gd name="T5" fmla="*/ 80 h 1998"/>
                <a:gd name="T6" fmla="*/ 10 w 1638"/>
                <a:gd name="T7" fmla="*/ 71 h 1998"/>
                <a:gd name="T8" fmla="*/ 9 w 1638"/>
                <a:gd name="T9" fmla="*/ 56 h 1998"/>
                <a:gd name="T10" fmla="*/ 8 w 1638"/>
                <a:gd name="T11" fmla="*/ 40 h 1998"/>
                <a:gd name="T12" fmla="*/ 20 w 1638"/>
                <a:gd name="T13" fmla="*/ 30 h 1998"/>
                <a:gd name="T14" fmla="*/ 30 w 1638"/>
                <a:gd name="T15" fmla="*/ 19 h 1998"/>
                <a:gd name="T16" fmla="*/ 35 w 1638"/>
                <a:gd name="T17" fmla="*/ 2 h 1998"/>
                <a:gd name="T18" fmla="*/ 47 w 1638"/>
                <a:gd name="T19" fmla="*/ 2 h 1998"/>
                <a:gd name="T20" fmla="*/ 56 w 1638"/>
                <a:gd name="T21" fmla="*/ 7 h 1998"/>
                <a:gd name="T22" fmla="*/ 67 w 1638"/>
                <a:gd name="T23" fmla="*/ 5 h 1998"/>
                <a:gd name="T24" fmla="*/ 65 w 1638"/>
                <a:gd name="T25" fmla="*/ 15 h 1998"/>
                <a:gd name="T26" fmla="*/ 74 w 1638"/>
                <a:gd name="T27" fmla="*/ 24 h 1998"/>
                <a:gd name="T28" fmla="*/ 73 w 1638"/>
                <a:gd name="T29" fmla="*/ 33 h 1998"/>
                <a:gd name="T30" fmla="*/ 74 w 1638"/>
                <a:gd name="T31" fmla="*/ 44 h 1998"/>
                <a:gd name="T32" fmla="*/ 68 w 1638"/>
                <a:gd name="T33" fmla="*/ 45 h 1998"/>
                <a:gd name="T34" fmla="*/ 63 w 1638"/>
                <a:gd name="T35" fmla="*/ 50 h 1998"/>
                <a:gd name="T36" fmla="*/ 61 w 1638"/>
                <a:gd name="T37" fmla="*/ 62 h 1998"/>
                <a:gd name="T38" fmla="*/ 53 w 1638"/>
                <a:gd name="T39" fmla="*/ 86 h 1998"/>
                <a:gd name="T40" fmla="*/ 59 w 1638"/>
                <a:gd name="T41" fmla="*/ 90 h 1998"/>
                <a:gd name="T42" fmla="*/ 65 w 1638"/>
                <a:gd name="T43" fmla="*/ 86 h 1998"/>
                <a:gd name="T44" fmla="*/ 74 w 1638"/>
                <a:gd name="T45" fmla="*/ 84 h 1998"/>
                <a:gd name="T46" fmla="*/ 79 w 1638"/>
                <a:gd name="T47" fmla="*/ 85 h 1998"/>
                <a:gd name="T48" fmla="*/ 84 w 1638"/>
                <a:gd name="T49" fmla="*/ 84 h 1998"/>
                <a:gd name="T50" fmla="*/ 91 w 1638"/>
                <a:gd name="T51" fmla="*/ 84 h 1998"/>
                <a:gd name="T52" fmla="*/ 94 w 1638"/>
                <a:gd name="T53" fmla="*/ 81 h 1998"/>
                <a:gd name="T54" fmla="*/ 100 w 1638"/>
                <a:gd name="T55" fmla="*/ 81 h 1998"/>
                <a:gd name="T56" fmla="*/ 102 w 1638"/>
                <a:gd name="T57" fmla="*/ 84 h 1998"/>
                <a:gd name="T58" fmla="*/ 108 w 1638"/>
                <a:gd name="T59" fmla="*/ 85 h 1998"/>
                <a:gd name="T60" fmla="*/ 113 w 1638"/>
                <a:gd name="T61" fmla="*/ 88 h 1998"/>
                <a:gd name="T62" fmla="*/ 116 w 1638"/>
                <a:gd name="T63" fmla="*/ 88 h 1998"/>
                <a:gd name="T64" fmla="*/ 123 w 1638"/>
                <a:gd name="T65" fmla="*/ 87 h 1998"/>
                <a:gd name="T66" fmla="*/ 128 w 1638"/>
                <a:gd name="T67" fmla="*/ 86 h 1998"/>
                <a:gd name="T68" fmla="*/ 132 w 1638"/>
                <a:gd name="T69" fmla="*/ 90 h 1998"/>
                <a:gd name="T70" fmla="*/ 138 w 1638"/>
                <a:gd name="T71" fmla="*/ 96 h 1998"/>
                <a:gd name="T72" fmla="*/ 138 w 1638"/>
                <a:gd name="T73" fmla="*/ 110 h 1998"/>
                <a:gd name="T74" fmla="*/ 137 w 1638"/>
                <a:gd name="T75" fmla="*/ 118 h 1998"/>
                <a:gd name="T76" fmla="*/ 133 w 1638"/>
                <a:gd name="T77" fmla="*/ 124 h 1998"/>
                <a:gd name="T78" fmla="*/ 122 w 1638"/>
                <a:gd name="T79" fmla="*/ 125 h 1998"/>
                <a:gd name="T80" fmla="*/ 116 w 1638"/>
                <a:gd name="T81" fmla="*/ 127 h 1998"/>
                <a:gd name="T82" fmla="*/ 108 w 1638"/>
                <a:gd name="T83" fmla="*/ 123 h 1998"/>
                <a:gd name="T84" fmla="*/ 109 w 1638"/>
                <a:gd name="T85" fmla="*/ 119 h 1998"/>
                <a:gd name="T86" fmla="*/ 104 w 1638"/>
                <a:gd name="T87" fmla="*/ 104 h 1998"/>
                <a:gd name="T88" fmla="*/ 94 w 1638"/>
                <a:gd name="T89" fmla="*/ 105 h 1998"/>
                <a:gd name="T90" fmla="*/ 88 w 1638"/>
                <a:gd name="T91" fmla="*/ 109 h 1998"/>
                <a:gd name="T92" fmla="*/ 76 w 1638"/>
                <a:gd name="T93" fmla="*/ 107 h 1998"/>
                <a:gd name="T94" fmla="*/ 72 w 1638"/>
                <a:gd name="T95" fmla="*/ 114 h 1998"/>
                <a:gd name="T96" fmla="*/ 86 w 1638"/>
                <a:gd name="T97" fmla="*/ 121 h 1998"/>
                <a:gd name="T98" fmla="*/ 87 w 1638"/>
                <a:gd name="T99" fmla="*/ 129 h 1998"/>
                <a:gd name="T100" fmla="*/ 86 w 1638"/>
                <a:gd name="T101" fmla="*/ 137 h 1998"/>
                <a:gd name="T102" fmla="*/ 79 w 1638"/>
                <a:gd name="T103" fmla="*/ 141 h 1998"/>
                <a:gd name="T104" fmla="*/ 73 w 1638"/>
                <a:gd name="T105" fmla="*/ 144 h 1998"/>
                <a:gd name="T106" fmla="*/ 72 w 1638"/>
                <a:gd name="T107" fmla="*/ 164 h 1998"/>
                <a:gd name="T108" fmla="*/ 68 w 1638"/>
                <a:gd name="T109" fmla="*/ 172 h 1998"/>
                <a:gd name="T110" fmla="*/ 59 w 1638"/>
                <a:gd name="T111" fmla="*/ 164 h 1998"/>
                <a:gd name="T112" fmla="*/ 65 w 1638"/>
                <a:gd name="T113" fmla="*/ 146 h 1998"/>
                <a:gd name="T114" fmla="*/ 69 w 1638"/>
                <a:gd name="T115" fmla="*/ 133 h 1998"/>
                <a:gd name="T116" fmla="*/ 61 w 1638"/>
                <a:gd name="T117" fmla="*/ 131 h 1998"/>
                <a:gd name="T118" fmla="*/ 43 w 1638"/>
                <a:gd name="T119" fmla="*/ 125 h 1998"/>
                <a:gd name="T120" fmla="*/ 23 w 1638"/>
                <a:gd name="T121" fmla="*/ 125 h 1998"/>
                <a:gd name="T122" fmla="*/ 17 w 1638"/>
                <a:gd name="T123" fmla="*/ 121 h 19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638"/>
                <a:gd name="T187" fmla="*/ 0 h 1998"/>
                <a:gd name="T188" fmla="*/ 1638 w 1638"/>
                <a:gd name="T189" fmla="*/ 1998 h 19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638" h="1998">
                  <a:moveTo>
                    <a:pt x="144" y="1380"/>
                  </a:moveTo>
                  <a:lnTo>
                    <a:pt x="150" y="1368"/>
                  </a:lnTo>
                  <a:lnTo>
                    <a:pt x="150" y="1362"/>
                  </a:lnTo>
                  <a:lnTo>
                    <a:pt x="150" y="1356"/>
                  </a:lnTo>
                  <a:lnTo>
                    <a:pt x="144" y="1356"/>
                  </a:lnTo>
                  <a:lnTo>
                    <a:pt x="138" y="1356"/>
                  </a:lnTo>
                  <a:lnTo>
                    <a:pt x="126" y="1356"/>
                  </a:lnTo>
                  <a:lnTo>
                    <a:pt x="114" y="1344"/>
                  </a:lnTo>
                  <a:lnTo>
                    <a:pt x="84" y="1320"/>
                  </a:lnTo>
                  <a:lnTo>
                    <a:pt x="54" y="1296"/>
                  </a:lnTo>
                  <a:lnTo>
                    <a:pt x="48" y="1290"/>
                  </a:lnTo>
                  <a:lnTo>
                    <a:pt x="42" y="1278"/>
                  </a:lnTo>
                  <a:lnTo>
                    <a:pt x="30" y="1272"/>
                  </a:lnTo>
                  <a:lnTo>
                    <a:pt x="0" y="1248"/>
                  </a:lnTo>
                  <a:lnTo>
                    <a:pt x="6" y="1230"/>
                  </a:lnTo>
                  <a:lnTo>
                    <a:pt x="12" y="1194"/>
                  </a:lnTo>
                  <a:lnTo>
                    <a:pt x="18" y="1170"/>
                  </a:lnTo>
                  <a:lnTo>
                    <a:pt x="30" y="1134"/>
                  </a:lnTo>
                  <a:lnTo>
                    <a:pt x="36" y="1086"/>
                  </a:lnTo>
                  <a:lnTo>
                    <a:pt x="42" y="1050"/>
                  </a:lnTo>
                  <a:lnTo>
                    <a:pt x="48" y="1044"/>
                  </a:lnTo>
                  <a:lnTo>
                    <a:pt x="54" y="1026"/>
                  </a:lnTo>
                  <a:lnTo>
                    <a:pt x="60" y="1014"/>
                  </a:lnTo>
                  <a:lnTo>
                    <a:pt x="66" y="1002"/>
                  </a:lnTo>
                  <a:lnTo>
                    <a:pt x="66" y="996"/>
                  </a:lnTo>
                  <a:lnTo>
                    <a:pt x="72" y="996"/>
                  </a:lnTo>
                  <a:lnTo>
                    <a:pt x="72" y="990"/>
                  </a:lnTo>
                  <a:lnTo>
                    <a:pt x="78" y="990"/>
                  </a:lnTo>
                  <a:lnTo>
                    <a:pt x="90" y="978"/>
                  </a:lnTo>
                  <a:lnTo>
                    <a:pt x="96" y="966"/>
                  </a:lnTo>
                  <a:lnTo>
                    <a:pt x="102" y="966"/>
                  </a:lnTo>
                  <a:lnTo>
                    <a:pt x="114" y="954"/>
                  </a:lnTo>
                  <a:lnTo>
                    <a:pt x="120" y="954"/>
                  </a:lnTo>
                  <a:lnTo>
                    <a:pt x="120" y="948"/>
                  </a:lnTo>
                  <a:lnTo>
                    <a:pt x="114" y="930"/>
                  </a:lnTo>
                  <a:lnTo>
                    <a:pt x="114" y="924"/>
                  </a:lnTo>
                  <a:lnTo>
                    <a:pt x="108" y="918"/>
                  </a:lnTo>
                  <a:lnTo>
                    <a:pt x="102" y="912"/>
                  </a:lnTo>
                  <a:lnTo>
                    <a:pt x="90" y="906"/>
                  </a:lnTo>
                  <a:lnTo>
                    <a:pt x="84" y="900"/>
                  </a:lnTo>
                  <a:lnTo>
                    <a:pt x="84" y="888"/>
                  </a:lnTo>
                  <a:lnTo>
                    <a:pt x="84" y="882"/>
                  </a:lnTo>
                  <a:lnTo>
                    <a:pt x="78" y="858"/>
                  </a:lnTo>
                  <a:lnTo>
                    <a:pt x="78" y="852"/>
                  </a:lnTo>
                  <a:lnTo>
                    <a:pt x="84" y="846"/>
                  </a:lnTo>
                  <a:lnTo>
                    <a:pt x="84" y="840"/>
                  </a:lnTo>
                  <a:lnTo>
                    <a:pt x="96" y="828"/>
                  </a:lnTo>
                  <a:lnTo>
                    <a:pt x="114" y="816"/>
                  </a:lnTo>
                  <a:lnTo>
                    <a:pt x="114" y="810"/>
                  </a:lnTo>
                  <a:lnTo>
                    <a:pt x="114" y="804"/>
                  </a:lnTo>
                  <a:lnTo>
                    <a:pt x="108" y="780"/>
                  </a:lnTo>
                  <a:lnTo>
                    <a:pt x="96" y="756"/>
                  </a:lnTo>
                  <a:lnTo>
                    <a:pt x="96" y="750"/>
                  </a:lnTo>
                  <a:lnTo>
                    <a:pt x="90" y="720"/>
                  </a:lnTo>
                  <a:lnTo>
                    <a:pt x="90" y="708"/>
                  </a:lnTo>
                  <a:lnTo>
                    <a:pt x="90" y="690"/>
                  </a:lnTo>
                  <a:lnTo>
                    <a:pt x="96" y="672"/>
                  </a:lnTo>
                  <a:lnTo>
                    <a:pt x="90" y="666"/>
                  </a:lnTo>
                  <a:lnTo>
                    <a:pt x="96" y="666"/>
                  </a:lnTo>
                  <a:lnTo>
                    <a:pt x="102" y="642"/>
                  </a:lnTo>
                  <a:lnTo>
                    <a:pt x="108" y="624"/>
                  </a:lnTo>
                  <a:lnTo>
                    <a:pt x="102" y="618"/>
                  </a:lnTo>
                  <a:lnTo>
                    <a:pt x="102" y="588"/>
                  </a:lnTo>
                  <a:lnTo>
                    <a:pt x="102" y="564"/>
                  </a:lnTo>
                  <a:lnTo>
                    <a:pt x="102" y="546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0"/>
                  </a:lnTo>
                  <a:lnTo>
                    <a:pt x="96" y="498"/>
                  </a:lnTo>
                  <a:lnTo>
                    <a:pt x="96" y="486"/>
                  </a:lnTo>
                  <a:lnTo>
                    <a:pt x="96" y="474"/>
                  </a:lnTo>
                  <a:lnTo>
                    <a:pt x="96" y="462"/>
                  </a:lnTo>
                  <a:lnTo>
                    <a:pt x="114" y="450"/>
                  </a:lnTo>
                  <a:lnTo>
                    <a:pt x="126" y="438"/>
                  </a:lnTo>
                  <a:lnTo>
                    <a:pt x="132" y="432"/>
                  </a:lnTo>
                  <a:lnTo>
                    <a:pt x="144" y="426"/>
                  </a:lnTo>
                  <a:lnTo>
                    <a:pt x="144" y="420"/>
                  </a:lnTo>
                  <a:lnTo>
                    <a:pt x="156" y="414"/>
                  </a:lnTo>
                  <a:lnTo>
                    <a:pt x="162" y="408"/>
                  </a:lnTo>
                  <a:lnTo>
                    <a:pt x="180" y="396"/>
                  </a:lnTo>
                  <a:lnTo>
                    <a:pt x="210" y="372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34" y="348"/>
                  </a:lnTo>
                  <a:lnTo>
                    <a:pt x="240" y="348"/>
                  </a:lnTo>
                  <a:lnTo>
                    <a:pt x="246" y="342"/>
                  </a:lnTo>
                  <a:lnTo>
                    <a:pt x="276" y="318"/>
                  </a:lnTo>
                  <a:lnTo>
                    <a:pt x="282" y="312"/>
                  </a:lnTo>
                  <a:lnTo>
                    <a:pt x="288" y="306"/>
                  </a:lnTo>
                  <a:lnTo>
                    <a:pt x="300" y="288"/>
                  </a:lnTo>
                  <a:lnTo>
                    <a:pt x="306" y="276"/>
                  </a:lnTo>
                  <a:lnTo>
                    <a:pt x="324" y="246"/>
                  </a:lnTo>
                  <a:lnTo>
                    <a:pt x="330" y="240"/>
                  </a:lnTo>
                  <a:lnTo>
                    <a:pt x="336" y="234"/>
                  </a:lnTo>
                  <a:lnTo>
                    <a:pt x="342" y="228"/>
                  </a:lnTo>
                  <a:lnTo>
                    <a:pt x="342" y="216"/>
                  </a:lnTo>
                  <a:lnTo>
                    <a:pt x="354" y="204"/>
                  </a:lnTo>
                  <a:lnTo>
                    <a:pt x="360" y="204"/>
                  </a:lnTo>
                  <a:lnTo>
                    <a:pt x="366" y="186"/>
                  </a:lnTo>
                  <a:lnTo>
                    <a:pt x="384" y="162"/>
                  </a:lnTo>
                  <a:lnTo>
                    <a:pt x="390" y="144"/>
                  </a:lnTo>
                  <a:lnTo>
                    <a:pt x="396" y="114"/>
                  </a:lnTo>
                  <a:lnTo>
                    <a:pt x="396" y="102"/>
                  </a:lnTo>
                  <a:lnTo>
                    <a:pt x="402" y="90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08" y="36"/>
                  </a:lnTo>
                  <a:lnTo>
                    <a:pt x="408" y="24"/>
                  </a:lnTo>
                  <a:lnTo>
                    <a:pt x="408" y="6"/>
                  </a:lnTo>
                  <a:lnTo>
                    <a:pt x="420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68" y="0"/>
                  </a:lnTo>
                  <a:lnTo>
                    <a:pt x="480" y="0"/>
                  </a:lnTo>
                  <a:lnTo>
                    <a:pt x="492" y="0"/>
                  </a:lnTo>
                  <a:lnTo>
                    <a:pt x="498" y="0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8" y="18"/>
                  </a:lnTo>
                  <a:lnTo>
                    <a:pt x="534" y="18"/>
                  </a:lnTo>
                  <a:lnTo>
                    <a:pt x="540" y="18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8" y="36"/>
                  </a:lnTo>
                  <a:lnTo>
                    <a:pt x="588" y="54"/>
                  </a:lnTo>
                  <a:lnTo>
                    <a:pt x="594" y="48"/>
                  </a:lnTo>
                  <a:lnTo>
                    <a:pt x="600" y="48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12" y="66"/>
                  </a:lnTo>
                  <a:lnTo>
                    <a:pt x="630" y="72"/>
                  </a:lnTo>
                  <a:lnTo>
                    <a:pt x="642" y="78"/>
                  </a:lnTo>
                  <a:lnTo>
                    <a:pt x="666" y="78"/>
                  </a:lnTo>
                  <a:lnTo>
                    <a:pt x="672" y="72"/>
                  </a:lnTo>
                  <a:lnTo>
                    <a:pt x="690" y="84"/>
                  </a:lnTo>
                  <a:lnTo>
                    <a:pt x="690" y="90"/>
                  </a:lnTo>
                  <a:lnTo>
                    <a:pt x="708" y="96"/>
                  </a:lnTo>
                  <a:lnTo>
                    <a:pt x="708" y="102"/>
                  </a:lnTo>
                  <a:lnTo>
                    <a:pt x="744" y="96"/>
                  </a:lnTo>
                  <a:lnTo>
                    <a:pt x="756" y="78"/>
                  </a:lnTo>
                  <a:lnTo>
                    <a:pt x="756" y="72"/>
                  </a:lnTo>
                  <a:lnTo>
                    <a:pt x="762" y="66"/>
                  </a:lnTo>
                  <a:lnTo>
                    <a:pt x="768" y="60"/>
                  </a:lnTo>
                  <a:lnTo>
                    <a:pt x="774" y="54"/>
                  </a:lnTo>
                  <a:lnTo>
                    <a:pt x="786" y="54"/>
                  </a:lnTo>
                  <a:lnTo>
                    <a:pt x="786" y="60"/>
                  </a:lnTo>
                  <a:lnTo>
                    <a:pt x="786" y="66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92" y="90"/>
                  </a:lnTo>
                  <a:lnTo>
                    <a:pt x="780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26"/>
                  </a:lnTo>
                  <a:lnTo>
                    <a:pt x="768" y="150"/>
                  </a:lnTo>
                  <a:lnTo>
                    <a:pt x="750" y="168"/>
                  </a:lnTo>
                  <a:lnTo>
                    <a:pt x="750" y="174"/>
                  </a:lnTo>
                  <a:lnTo>
                    <a:pt x="762" y="192"/>
                  </a:lnTo>
                  <a:lnTo>
                    <a:pt x="774" y="210"/>
                  </a:lnTo>
                  <a:lnTo>
                    <a:pt x="792" y="228"/>
                  </a:lnTo>
                  <a:lnTo>
                    <a:pt x="804" y="240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40" y="252"/>
                  </a:lnTo>
                  <a:lnTo>
                    <a:pt x="834" y="252"/>
                  </a:lnTo>
                  <a:lnTo>
                    <a:pt x="846" y="252"/>
                  </a:lnTo>
                  <a:lnTo>
                    <a:pt x="852" y="270"/>
                  </a:lnTo>
                  <a:lnTo>
                    <a:pt x="858" y="282"/>
                  </a:lnTo>
                  <a:lnTo>
                    <a:pt x="858" y="288"/>
                  </a:lnTo>
                  <a:lnTo>
                    <a:pt x="864" y="300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58" y="318"/>
                  </a:lnTo>
                  <a:lnTo>
                    <a:pt x="852" y="318"/>
                  </a:lnTo>
                  <a:lnTo>
                    <a:pt x="846" y="324"/>
                  </a:lnTo>
                  <a:lnTo>
                    <a:pt x="846" y="336"/>
                  </a:lnTo>
                  <a:lnTo>
                    <a:pt x="840" y="348"/>
                  </a:lnTo>
                  <a:lnTo>
                    <a:pt x="840" y="360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46" y="402"/>
                  </a:lnTo>
                  <a:lnTo>
                    <a:pt x="858" y="420"/>
                  </a:lnTo>
                  <a:lnTo>
                    <a:pt x="882" y="426"/>
                  </a:lnTo>
                  <a:lnTo>
                    <a:pt x="888" y="444"/>
                  </a:lnTo>
                  <a:lnTo>
                    <a:pt x="900" y="444"/>
                  </a:lnTo>
                  <a:lnTo>
                    <a:pt x="900" y="462"/>
                  </a:lnTo>
                  <a:lnTo>
                    <a:pt x="894" y="474"/>
                  </a:lnTo>
                  <a:lnTo>
                    <a:pt x="888" y="486"/>
                  </a:lnTo>
                  <a:lnTo>
                    <a:pt x="882" y="492"/>
                  </a:lnTo>
                  <a:lnTo>
                    <a:pt x="870" y="504"/>
                  </a:lnTo>
                  <a:lnTo>
                    <a:pt x="852" y="504"/>
                  </a:lnTo>
                  <a:lnTo>
                    <a:pt x="852" y="510"/>
                  </a:lnTo>
                  <a:lnTo>
                    <a:pt x="852" y="516"/>
                  </a:lnTo>
                  <a:lnTo>
                    <a:pt x="846" y="528"/>
                  </a:lnTo>
                  <a:lnTo>
                    <a:pt x="846" y="582"/>
                  </a:lnTo>
                  <a:lnTo>
                    <a:pt x="840" y="582"/>
                  </a:lnTo>
                  <a:lnTo>
                    <a:pt x="834" y="582"/>
                  </a:lnTo>
                  <a:lnTo>
                    <a:pt x="828" y="582"/>
                  </a:lnTo>
                  <a:lnTo>
                    <a:pt x="822" y="582"/>
                  </a:lnTo>
                  <a:lnTo>
                    <a:pt x="810" y="582"/>
                  </a:lnTo>
                  <a:lnTo>
                    <a:pt x="810" y="528"/>
                  </a:lnTo>
                  <a:lnTo>
                    <a:pt x="792" y="528"/>
                  </a:lnTo>
                  <a:lnTo>
                    <a:pt x="792" y="522"/>
                  </a:lnTo>
                  <a:lnTo>
                    <a:pt x="786" y="522"/>
                  </a:lnTo>
                  <a:lnTo>
                    <a:pt x="786" y="516"/>
                  </a:lnTo>
                  <a:lnTo>
                    <a:pt x="780" y="516"/>
                  </a:lnTo>
                  <a:lnTo>
                    <a:pt x="780" y="510"/>
                  </a:lnTo>
                  <a:lnTo>
                    <a:pt x="762" y="510"/>
                  </a:lnTo>
                  <a:lnTo>
                    <a:pt x="756" y="510"/>
                  </a:lnTo>
                  <a:lnTo>
                    <a:pt x="750" y="522"/>
                  </a:lnTo>
                  <a:lnTo>
                    <a:pt x="744" y="534"/>
                  </a:lnTo>
                  <a:lnTo>
                    <a:pt x="732" y="540"/>
                  </a:lnTo>
                  <a:lnTo>
                    <a:pt x="732" y="558"/>
                  </a:lnTo>
                  <a:lnTo>
                    <a:pt x="732" y="564"/>
                  </a:lnTo>
                  <a:lnTo>
                    <a:pt x="732" y="570"/>
                  </a:lnTo>
                  <a:lnTo>
                    <a:pt x="726" y="576"/>
                  </a:lnTo>
                  <a:lnTo>
                    <a:pt x="720" y="576"/>
                  </a:lnTo>
                  <a:lnTo>
                    <a:pt x="714" y="582"/>
                  </a:lnTo>
                  <a:lnTo>
                    <a:pt x="702" y="588"/>
                  </a:lnTo>
                  <a:lnTo>
                    <a:pt x="696" y="594"/>
                  </a:lnTo>
                  <a:lnTo>
                    <a:pt x="690" y="600"/>
                  </a:lnTo>
                  <a:lnTo>
                    <a:pt x="690" y="606"/>
                  </a:lnTo>
                  <a:lnTo>
                    <a:pt x="678" y="606"/>
                  </a:lnTo>
                  <a:lnTo>
                    <a:pt x="678" y="624"/>
                  </a:lnTo>
                  <a:lnTo>
                    <a:pt x="684" y="642"/>
                  </a:lnTo>
                  <a:lnTo>
                    <a:pt x="684" y="660"/>
                  </a:lnTo>
                  <a:lnTo>
                    <a:pt x="690" y="672"/>
                  </a:lnTo>
                  <a:lnTo>
                    <a:pt x="702" y="720"/>
                  </a:lnTo>
                  <a:lnTo>
                    <a:pt x="708" y="750"/>
                  </a:lnTo>
                  <a:lnTo>
                    <a:pt x="708" y="792"/>
                  </a:lnTo>
                  <a:lnTo>
                    <a:pt x="708" y="828"/>
                  </a:lnTo>
                  <a:lnTo>
                    <a:pt x="708" y="852"/>
                  </a:lnTo>
                  <a:lnTo>
                    <a:pt x="696" y="894"/>
                  </a:lnTo>
                  <a:lnTo>
                    <a:pt x="702" y="900"/>
                  </a:lnTo>
                  <a:lnTo>
                    <a:pt x="708" y="924"/>
                  </a:lnTo>
                  <a:lnTo>
                    <a:pt x="684" y="936"/>
                  </a:lnTo>
                  <a:lnTo>
                    <a:pt x="660" y="954"/>
                  </a:lnTo>
                  <a:lnTo>
                    <a:pt x="618" y="984"/>
                  </a:lnTo>
                  <a:lnTo>
                    <a:pt x="618" y="990"/>
                  </a:lnTo>
                  <a:lnTo>
                    <a:pt x="612" y="996"/>
                  </a:lnTo>
                  <a:lnTo>
                    <a:pt x="606" y="1002"/>
                  </a:lnTo>
                  <a:lnTo>
                    <a:pt x="618" y="1008"/>
                  </a:lnTo>
                  <a:lnTo>
                    <a:pt x="618" y="1014"/>
                  </a:lnTo>
                  <a:lnTo>
                    <a:pt x="624" y="1026"/>
                  </a:lnTo>
                  <a:lnTo>
                    <a:pt x="630" y="1026"/>
                  </a:lnTo>
                  <a:lnTo>
                    <a:pt x="636" y="1032"/>
                  </a:lnTo>
                  <a:lnTo>
                    <a:pt x="642" y="1032"/>
                  </a:lnTo>
                  <a:lnTo>
                    <a:pt x="642" y="1038"/>
                  </a:lnTo>
                  <a:lnTo>
                    <a:pt x="648" y="1044"/>
                  </a:lnTo>
                  <a:lnTo>
                    <a:pt x="666" y="1050"/>
                  </a:lnTo>
                  <a:lnTo>
                    <a:pt x="678" y="1038"/>
                  </a:lnTo>
                  <a:lnTo>
                    <a:pt x="684" y="1038"/>
                  </a:lnTo>
                  <a:lnTo>
                    <a:pt x="684" y="1032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20"/>
                  </a:lnTo>
                  <a:lnTo>
                    <a:pt x="708" y="1014"/>
                  </a:lnTo>
                  <a:lnTo>
                    <a:pt x="720" y="1020"/>
                  </a:lnTo>
                  <a:lnTo>
                    <a:pt x="720" y="1014"/>
                  </a:lnTo>
                  <a:lnTo>
                    <a:pt x="726" y="1008"/>
                  </a:lnTo>
                  <a:lnTo>
                    <a:pt x="732" y="1008"/>
                  </a:lnTo>
                  <a:lnTo>
                    <a:pt x="738" y="1008"/>
                  </a:lnTo>
                  <a:lnTo>
                    <a:pt x="744" y="1002"/>
                  </a:lnTo>
                  <a:lnTo>
                    <a:pt x="744" y="996"/>
                  </a:lnTo>
                  <a:lnTo>
                    <a:pt x="750" y="996"/>
                  </a:lnTo>
                  <a:lnTo>
                    <a:pt x="756" y="1002"/>
                  </a:lnTo>
                  <a:lnTo>
                    <a:pt x="762" y="1002"/>
                  </a:lnTo>
                  <a:lnTo>
                    <a:pt x="768" y="996"/>
                  </a:lnTo>
                  <a:lnTo>
                    <a:pt x="780" y="996"/>
                  </a:lnTo>
                  <a:lnTo>
                    <a:pt x="786" y="996"/>
                  </a:lnTo>
                  <a:lnTo>
                    <a:pt x="816" y="990"/>
                  </a:lnTo>
                  <a:lnTo>
                    <a:pt x="828" y="990"/>
                  </a:lnTo>
                  <a:lnTo>
                    <a:pt x="834" y="990"/>
                  </a:lnTo>
                  <a:lnTo>
                    <a:pt x="840" y="984"/>
                  </a:lnTo>
                  <a:lnTo>
                    <a:pt x="852" y="978"/>
                  </a:lnTo>
                  <a:lnTo>
                    <a:pt x="852" y="972"/>
                  </a:lnTo>
                  <a:lnTo>
                    <a:pt x="858" y="972"/>
                  </a:lnTo>
                  <a:lnTo>
                    <a:pt x="864" y="966"/>
                  </a:lnTo>
                  <a:lnTo>
                    <a:pt x="870" y="966"/>
                  </a:lnTo>
                  <a:lnTo>
                    <a:pt x="876" y="966"/>
                  </a:lnTo>
                  <a:lnTo>
                    <a:pt x="882" y="960"/>
                  </a:lnTo>
                  <a:lnTo>
                    <a:pt x="888" y="960"/>
                  </a:lnTo>
                  <a:lnTo>
                    <a:pt x="894" y="960"/>
                  </a:lnTo>
                  <a:lnTo>
                    <a:pt x="894" y="966"/>
                  </a:lnTo>
                  <a:lnTo>
                    <a:pt x="894" y="978"/>
                  </a:lnTo>
                  <a:lnTo>
                    <a:pt x="894" y="984"/>
                  </a:lnTo>
                  <a:lnTo>
                    <a:pt x="900" y="984"/>
                  </a:lnTo>
                  <a:lnTo>
                    <a:pt x="906" y="978"/>
                  </a:lnTo>
                  <a:lnTo>
                    <a:pt x="912" y="972"/>
                  </a:lnTo>
                  <a:lnTo>
                    <a:pt x="918" y="978"/>
                  </a:lnTo>
                  <a:lnTo>
                    <a:pt x="924" y="978"/>
                  </a:lnTo>
                  <a:lnTo>
                    <a:pt x="924" y="972"/>
                  </a:lnTo>
                  <a:lnTo>
                    <a:pt x="924" y="966"/>
                  </a:lnTo>
                  <a:lnTo>
                    <a:pt x="930" y="966"/>
                  </a:lnTo>
                  <a:lnTo>
                    <a:pt x="948" y="966"/>
                  </a:lnTo>
                  <a:lnTo>
                    <a:pt x="954" y="966"/>
                  </a:lnTo>
                  <a:lnTo>
                    <a:pt x="954" y="960"/>
                  </a:lnTo>
                  <a:lnTo>
                    <a:pt x="960" y="960"/>
                  </a:lnTo>
                  <a:lnTo>
                    <a:pt x="966" y="960"/>
                  </a:lnTo>
                  <a:lnTo>
                    <a:pt x="966" y="966"/>
                  </a:lnTo>
                  <a:lnTo>
                    <a:pt x="978" y="972"/>
                  </a:lnTo>
                  <a:lnTo>
                    <a:pt x="978" y="978"/>
                  </a:lnTo>
                  <a:lnTo>
                    <a:pt x="978" y="984"/>
                  </a:lnTo>
                  <a:lnTo>
                    <a:pt x="984" y="978"/>
                  </a:lnTo>
                  <a:lnTo>
                    <a:pt x="990" y="978"/>
                  </a:lnTo>
                  <a:lnTo>
                    <a:pt x="996" y="984"/>
                  </a:lnTo>
                  <a:lnTo>
                    <a:pt x="1002" y="990"/>
                  </a:lnTo>
                  <a:lnTo>
                    <a:pt x="1008" y="972"/>
                  </a:lnTo>
                  <a:lnTo>
                    <a:pt x="1026" y="972"/>
                  </a:lnTo>
                  <a:lnTo>
                    <a:pt x="1032" y="972"/>
                  </a:lnTo>
                  <a:lnTo>
                    <a:pt x="1038" y="972"/>
                  </a:lnTo>
                  <a:lnTo>
                    <a:pt x="1050" y="972"/>
                  </a:lnTo>
                  <a:lnTo>
                    <a:pt x="1056" y="972"/>
                  </a:lnTo>
                  <a:lnTo>
                    <a:pt x="1062" y="966"/>
                  </a:lnTo>
                  <a:lnTo>
                    <a:pt x="1074" y="966"/>
                  </a:lnTo>
                  <a:lnTo>
                    <a:pt x="1074" y="960"/>
                  </a:lnTo>
                  <a:lnTo>
                    <a:pt x="1080" y="954"/>
                  </a:lnTo>
                  <a:lnTo>
                    <a:pt x="1080" y="948"/>
                  </a:lnTo>
                  <a:lnTo>
                    <a:pt x="1074" y="948"/>
                  </a:lnTo>
                  <a:lnTo>
                    <a:pt x="1068" y="948"/>
                  </a:lnTo>
                  <a:lnTo>
                    <a:pt x="1062" y="942"/>
                  </a:lnTo>
                  <a:lnTo>
                    <a:pt x="1068" y="936"/>
                  </a:lnTo>
                  <a:lnTo>
                    <a:pt x="1074" y="936"/>
                  </a:lnTo>
                  <a:lnTo>
                    <a:pt x="1080" y="936"/>
                  </a:lnTo>
                  <a:lnTo>
                    <a:pt x="1086" y="942"/>
                  </a:lnTo>
                  <a:lnTo>
                    <a:pt x="1092" y="942"/>
                  </a:lnTo>
                  <a:lnTo>
                    <a:pt x="1098" y="948"/>
                  </a:lnTo>
                  <a:lnTo>
                    <a:pt x="1104" y="954"/>
                  </a:lnTo>
                  <a:lnTo>
                    <a:pt x="1110" y="954"/>
                  </a:lnTo>
                  <a:lnTo>
                    <a:pt x="1116" y="948"/>
                  </a:lnTo>
                  <a:lnTo>
                    <a:pt x="1122" y="942"/>
                  </a:lnTo>
                  <a:lnTo>
                    <a:pt x="1128" y="942"/>
                  </a:lnTo>
                  <a:lnTo>
                    <a:pt x="1134" y="942"/>
                  </a:lnTo>
                  <a:lnTo>
                    <a:pt x="1140" y="948"/>
                  </a:lnTo>
                  <a:lnTo>
                    <a:pt x="1146" y="942"/>
                  </a:lnTo>
                  <a:lnTo>
                    <a:pt x="1152" y="942"/>
                  </a:lnTo>
                  <a:lnTo>
                    <a:pt x="1152" y="930"/>
                  </a:lnTo>
                  <a:lnTo>
                    <a:pt x="1164" y="936"/>
                  </a:lnTo>
                  <a:lnTo>
                    <a:pt x="1158" y="942"/>
                  </a:lnTo>
                  <a:lnTo>
                    <a:pt x="1158" y="948"/>
                  </a:lnTo>
                  <a:lnTo>
                    <a:pt x="1146" y="954"/>
                  </a:lnTo>
                  <a:lnTo>
                    <a:pt x="1152" y="954"/>
                  </a:lnTo>
                  <a:lnTo>
                    <a:pt x="1158" y="954"/>
                  </a:lnTo>
                  <a:lnTo>
                    <a:pt x="1158" y="948"/>
                  </a:lnTo>
                  <a:lnTo>
                    <a:pt x="1164" y="948"/>
                  </a:lnTo>
                  <a:lnTo>
                    <a:pt x="1170" y="948"/>
                  </a:lnTo>
                  <a:lnTo>
                    <a:pt x="1176" y="954"/>
                  </a:lnTo>
                  <a:lnTo>
                    <a:pt x="1176" y="966"/>
                  </a:lnTo>
                  <a:lnTo>
                    <a:pt x="1182" y="972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88" y="984"/>
                  </a:lnTo>
                  <a:lnTo>
                    <a:pt x="1194" y="984"/>
                  </a:lnTo>
                  <a:lnTo>
                    <a:pt x="1200" y="984"/>
                  </a:lnTo>
                  <a:lnTo>
                    <a:pt x="1212" y="984"/>
                  </a:lnTo>
                  <a:lnTo>
                    <a:pt x="1218" y="990"/>
                  </a:lnTo>
                  <a:lnTo>
                    <a:pt x="1224" y="990"/>
                  </a:lnTo>
                  <a:lnTo>
                    <a:pt x="1224" y="984"/>
                  </a:lnTo>
                  <a:lnTo>
                    <a:pt x="1230" y="990"/>
                  </a:lnTo>
                  <a:lnTo>
                    <a:pt x="1236" y="984"/>
                  </a:lnTo>
                  <a:lnTo>
                    <a:pt x="1242" y="984"/>
                  </a:lnTo>
                  <a:lnTo>
                    <a:pt x="1248" y="990"/>
                  </a:lnTo>
                  <a:lnTo>
                    <a:pt x="1254" y="990"/>
                  </a:lnTo>
                  <a:lnTo>
                    <a:pt x="1254" y="996"/>
                  </a:lnTo>
                  <a:lnTo>
                    <a:pt x="1254" y="1002"/>
                  </a:lnTo>
                  <a:lnTo>
                    <a:pt x="1254" y="1008"/>
                  </a:lnTo>
                  <a:lnTo>
                    <a:pt x="1260" y="1014"/>
                  </a:lnTo>
                  <a:lnTo>
                    <a:pt x="1266" y="1014"/>
                  </a:lnTo>
                  <a:lnTo>
                    <a:pt x="1272" y="1014"/>
                  </a:lnTo>
                  <a:lnTo>
                    <a:pt x="1278" y="1020"/>
                  </a:lnTo>
                  <a:lnTo>
                    <a:pt x="1284" y="1020"/>
                  </a:lnTo>
                  <a:lnTo>
                    <a:pt x="1290" y="1014"/>
                  </a:lnTo>
                  <a:lnTo>
                    <a:pt x="1290" y="1008"/>
                  </a:lnTo>
                  <a:lnTo>
                    <a:pt x="1296" y="1008"/>
                  </a:lnTo>
                  <a:lnTo>
                    <a:pt x="1302" y="1014"/>
                  </a:lnTo>
                  <a:lnTo>
                    <a:pt x="1308" y="1014"/>
                  </a:lnTo>
                  <a:lnTo>
                    <a:pt x="1314" y="1008"/>
                  </a:lnTo>
                  <a:lnTo>
                    <a:pt x="1320" y="1008"/>
                  </a:lnTo>
                  <a:lnTo>
                    <a:pt x="1320" y="1002"/>
                  </a:lnTo>
                  <a:lnTo>
                    <a:pt x="1320" y="996"/>
                  </a:lnTo>
                  <a:lnTo>
                    <a:pt x="1332" y="1002"/>
                  </a:lnTo>
                  <a:lnTo>
                    <a:pt x="1332" y="1008"/>
                  </a:lnTo>
                  <a:lnTo>
                    <a:pt x="1326" y="1014"/>
                  </a:lnTo>
                  <a:lnTo>
                    <a:pt x="1332" y="1014"/>
                  </a:lnTo>
                  <a:lnTo>
                    <a:pt x="1338" y="1014"/>
                  </a:lnTo>
                  <a:lnTo>
                    <a:pt x="1338" y="1008"/>
                  </a:lnTo>
                  <a:lnTo>
                    <a:pt x="1344" y="1008"/>
                  </a:lnTo>
                  <a:lnTo>
                    <a:pt x="1350" y="1008"/>
                  </a:lnTo>
                  <a:lnTo>
                    <a:pt x="1356" y="1014"/>
                  </a:lnTo>
                  <a:lnTo>
                    <a:pt x="1356" y="1008"/>
                  </a:lnTo>
                  <a:lnTo>
                    <a:pt x="1362" y="1014"/>
                  </a:lnTo>
                  <a:lnTo>
                    <a:pt x="1392" y="1014"/>
                  </a:lnTo>
                  <a:lnTo>
                    <a:pt x="1398" y="1014"/>
                  </a:lnTo>
                  <a:lnTo>
                    <a:pt x="1404" y="1008"/>
                  </a:lnTo>
                  <a:lnTo>
                    <a:pt x="1404" y="1014"/>
                  </a:lnTo>
                  <a:lnTo>
                    <a:pt x="1410" y="1008"/>
                  </a:lnTo>
                  <a:lnTo>
                    <a:pt x="1416" y="1008"/>
                  </a:lnTo>
                  <a:lnTo>
                    <a:pt x="1422" y="1002"/>
                  </a:lnTo>
                  <a:lnTo>
                    <a:pt x="1428" y="1002"/>
                  </a:lnTo>
                  <a:lnTo>
                    <a:pt x="1428" y="996"/>
                  </a:lnTo>
                  <a:lnTo>
                    <a:pt x="1428" y="990"/>
                  </a:lnTo>
                  <a:lnTo>
                    <a:pt x="1440" y="1002"/>
                  </a:lnTo>
                  <a:lnTo>
                    <a:pt x="1446" y="1002"/>
                  </a:lnTo>
                  <a:lnTo>
                    <a:pt x="1452" y="1002"/>
                  </a:lnTo>
                  <a:lnTo>
                    <a:pt x="1446" y="996"/>
                  </a:lnTo>
                  <a:lnTo>
                    <a:pt x="1452" y="996"/>
                  </a:lnTo>
                  <a:lnTo>
                    <a:pt x="1458" y="996"/>
                  </a:lnTo>
                  <a:lnTo>
                    <a:pt x="1464" y="996"/>
                  </a:lnTo>
                  <a:lnTo>
                    <a:pt x="1464" y="1002"/>
                  </a:lnTo>
                  <a:lnTo>
                    <a:pt x="1476" y="1014"/>
                  </a:lnTo>
                  <a:lnTo>
                    <a:pt x="1476" y="1008"/>
                  </a:lnTo>
                  <a:lnTo>
                    <a:pt x="1482" y="1008"/>
                  </a:lnTo>
                  <a:lnTo>
                    <a:pt x="1488" y="1020"/>
                  </a:lnTo>
                  <a:lnTo>
                    <a:pt x="1494" y="1020"/>
                  </a:lnTo>
                  <a:lnTo>
                    <a:pt x="1500" y="1014"/>
                  </a:lnTo>
                  <a:lnTo>
                    <a:pt x="1500" y="1020"/>
                  </a:lnTo>
                  <a:lnTo>
                    <a:pt x="1506" y="1026"/>
                  </a:lnTo>
                  <a:lnTo>
                    <a:pt x="1512" y="1032"/>
                  </a:lnTo>
                  <a:lnTo>
                    <a:pt x="1518" y="1032"/>
                  </a:lnTo>
                  <a:lnTo>
                    <a:pt x="1518" y="1038"/>
                  </a:lnTo>
                  <a:lnTo>
                    <a:pt x="1518" y="1044"/>
                  </a:lnTo>
                  <a:lnTo>
                    <a:pt x="1524" y="1044"/>
                  </a:lnTo>
                  <a:lnTo>
                    <a:pt x="1524" y="1050"/>
                  </a:lnTo>
                  <a:lnTo>
                    <a:pt x="1530" y="1056"/>
                  </a:lnTo>
                  <a:lnTo>
                    <a:pt x="1548" y="1062"/>
                  </a:lnTo>
                  <a:lnTo>
                    <a:pt x="1560" y="1074"/>
                  </a:lnTo>
                  <a:lnTo>
                    <a:pt x="1560" y="1080"/>
                  </a:lnTo>
                  <a:lnTo>
                    <a:pt x="1560" y="1086"/>
                  </a:lnTo>
                  <a:lnTo>
                    <a:pt x="1566" y="1086"/>
                  </a:lnTo>
                  <a:lnTo>
                    <a:pt x="1572" y="1098"/>
                  </a:lnTo>
                  <a:lnTo>
                    <a:pt x="1572" y="1104"/>
                  </a:lnTo>
                  <a:lnTo>
                    <a:pt x="1584" y="1110"/>
                  </a:lnTo>
                  <a:lnTo>
                    <a:pt x="1590" y="1116"/>
                  </a:lnTo>
                  <a:lnTo>
                    <a:pt x="1596" y="1116"/>
                  </a:lnTo>
                  <a:lnTo>
                    <a:pt x="1608" y="1122"/>
                  </a:lnTo>
                  <a:lnTo>
                    <a:pt x="1620" y="1140"/>
                  </a:lnTo>
                  <a:lnTo>
                    <a:pt x="1626" y="1158"/>
                  </a:lnTo>
                  <a:lnTo>
                    <a:pt x="1638" y="1200"/>
                  </a:lnTo>
                  <a:lnTo>
                    <a:pt x="1638" y="1218"/>
                  </a:lnTo>
                  <a:lnTo>
                    <a:pt x="1620" y="1230"/>
                  </a:lnTo>
                  <a:lnTo>
                    <a:pt x="1554" y="1230"/>
                  </a:lnTo>
                  <a:lnTo>
                    <a:pt x="1560" y="1248"/>
                  </a:lnTo>
                  <a:lnTo>
                    <a:pt x="1584" y="1260"/>
                  </a:lnTo>
                  <a:lnTo>
                    <a:pt x="1584" y="1266"/>
                  </a:lnTo>
                  <a:lnTo>
                    <a:pt x="1578" y="1272"/>
                  </a:lnTo>
                  <a:lnTo>
                    <a:pt x="1572" y="1272"/>
                  </a:lnTo>
                  <a:lnTo>
                    <a:pt x="1566" y="1278"/>
                  </a:lnTo>
                  <a:lnTo>
                    <a:pt x="1566" y="1284"/>
                  </a:lnTo>
                  <a:lnTo>
                    <a:pt x="1560" y="1290"/>
                  </a:lnTo>
                  <a:lnTo>
                    <a:pt x="1554" y="1290"/>
                  </a:lnTo>
                  <a:lnTo>
                    <a:pt x="1554" y="1296"/>
                  </a:lnTo>
                  <a:lnTo>
                    <a:pt x="1554" y="1302"/>
                  </a:lnTo>
                  <a:lnTo>
                    <a:pt x="1560" y="1332"/>
                  </a:lnTo>
                  <a:lnTo>
                    <a:pt x="1566" y="1356"/>
                  </a:lnTo>
                  <a:lnTo>
                    <a:pt x="1572" y="1356"/>
                  </a:lnTo>
                  <a:lnTo>
                    <a:pt x="1572" y="1362"/>
                  </a:lnTo>
                  <a:lnTo>
                    <a:pt x="1578" y="1362"/>
                  </a:lnTo>
                  <a:lnTo>
                    <a:pt x="1560" y="1374"/>
                  </a:lnTo>
                  <a:lnTo>
                    <a:pt x="1560" y="1380"/>
                  </a:lnTo>
                  <a:lnTo>
                    <a:pt x="1548" y="1380"/>
                  </a:lnTo>
                  <a:lnTo>
                    <a:pt x="1548" y="1386"/>
                  </a:lnTo>
                  <a:lnTo>
                    <a:pt x="1548" y="1392"/>
                  </a:lnTo>
                  <a:lnTo>
                    <a:pt x="1542" y="1410"/>
                  </a:lnTo>
                  <a:lnTo>
                    <a:pt x="1536" y="1422"/>
                  </a:lnTo>
                  <a:lnTo>
                    <a:pt x="1536" y="1428"/>
                  </a:lnTo>
                  <a:lnTo>
                    <a:pt x="1530" y="1440"/>
                  </a:lnTo>
                  <a:lnTo>
                    <a:pt x="1524" y="1434"/>
                  </a:lnTo>
                  <a:lnTo>
                    <a:pt x="1524" y="1428"/>
                  </a:lnTo>
                  <a:lnTo>
                    <a:pt x="1524" y="1422"/>
                  </a:lnTo>
                  <a:lnTo>
                    <a:pt x="1512" y="1410"/>
                  </a:lnTo>
                  <a:lnTo>
                    <a:pt x="1506" y="1404"/>
                  </a:lnTo>
                  <a:lnTo>
                    <a:pt x="1506" y="1398"/>
                  </a:lnTo>
                  <a:lnTo>
                    <a:pt x="1494" y="1392"/>
                  </a:lnTo>
                  <a:lnTo>
                    <a:pt x="1476" y="1404"/>
                  </a:lnTo>
                  <a:lnTo>
                    <a:pt x="1464" y="1416"/>
                  </a:lnTo>
                  <a:lnTo>
                    <a:pt x="1458" y="1428"/>
                  </a:lnTo>
                  <a:lnTo>
                    <a:pt x="1446" y="1434"/>
                  </a:lnTo>
                  <a:lnTo>
                    <a:pt x="1410" y="1440"/>
                  </a:lnTo>
                  <a:lnTo>
                    <a:pt x="1398" y="1440"/>
                  </a:lnTo>
                  <a:lnTo>
                    <a:pt x="1398" y="1446"/>
                  </a:lnTo>
                  <a:lnTo>
                    <a:pt x="1386" y="1446"/>
                  </a:lnTo>
                  <a:lnTo>
                    <a:pt x="1380" y="1440"/>
                  </a:lnTo>
                  <a:lnTo>
                    <a:pt x="1368" y="1440"/>
                  </a:lnTo>
                  <a:lnTo>
                    <a:pt x="1368" y="1446"/>
                  </a:lnTo>
                  <a:lnTo>
                    <a:pt x="1356" y="1446"/>
                  </a:lnTo>
                  <a:lnTo>
                    <a:pt x="1350" y="1452"/>
                  </a:lnTo>
                  <a:lnTo>
                    <a:pt x="1338" y="1452"/>
                  </a:lnTo>
                  <a:lnTo>
                    <a:pt x="1338" y="1458"/>
                  </a:lnTo>
                  <a:lnTo>
                    <a:pt x="1332" y="1458"/>
                  </a:lnTo>
                  <a:lnTo>
                    <a:pt x="1332" y="1464"/>
                  </a:lnTo>
                  <a:lnTo>
                    <a:pt x="1332" y="1470"/>
                  </a:lnTo>
                  <a:lnTo>
                    <a:pt x="1326" y="1470"/>
                  </a:lnTo>
                  <a:lnTo>
                    <a:pt x="1320" y="1470"/>
                  </a:lnTo>
                  <a:lnTo>
                    <a:pt x="1314" y="1470"/>
                  </a:lnTo>
                  <a:lnTo>
                    <a:pt x="1314" y="1464"/>
                  </a:lnTo>
                  <a:lnTo>
                    <a:pt x="1308" y="1464"/>
                  </a:lnTo>
                  <a:lnTo>
                    <a:pt x="1308" y="1452"/>
                  </a:lnTo>
                  <a:lnTo>
                    <a:pt x="1284" y="1458"/>
                  </a:lnTo>
                  <a:lnTo>
                    <a:pt x="1272" y="1458"/>
                  </a:lnTo>
                  <a:lnTo>
                    <a:pt x="1272" y="1464"/>
                  </a:lnTo>
                  <a:lnTo>
                    <a:pt x="1260" y="1464"/>
                  </a:lnTo>
                  <a:lnTo>
                    <a:pt x="1254" y="1464"/>
                  </a:lnTo>
                  <a:lnTo>
                    <a:pt x="1242" y="1422"/>
                  </a:lnTo>
                  <a:lnTo>
                    <a:pt x="1242" y="1416"/>
                  </a:lnTo>
                  <a:lnTo>
                    <a:pt x="1242" y="1410"/>
                  </a:lnTo>
                  <a:lnTo>
                    <a:pt x="1248" y="1410"/>
                  </a:lnTo>
                  <a:lnTo>
                    <a:pt x="1242" y="1410"/>
                  </a:lnTo>
                  <a:lnTo>
                    <a:pt x="1242" y="1404"/>
                  </a:lnTo>
                  <a:lnTo>
                    <a:pt x="1242" y="1398"/>
                  </a:lnTo>
                  <a:lnTo>
                    <a:pt x="1248" y="1392"/>
                  </a:lnTo>
                  <a:lnTo>
                    <a:pt x="1248" y="1386"/>
                  </a:lnTo>
                  <a:lnTo>
                    <a:pt x="1242" y="1380"/>
                  </a:lnTo>
                  <a:lnTo>
                    <a:pt x="1248" y="1380"/>
                  </a:lnTo>
                  <a:lnTo>
                    <a:pt x="1248" y="1374"/>
                  </a:lnTo>
                  <a:lnTo>
                    <a:pt x="1248" y="1368"/>
                  </a:lnTo>
                  <a:lnTo>
                    <a:pt x="1254" y="1368"/>
                  </a:lnTo>
                  <a:lnTo>
                    <a:pt x="1254" y="1362"/>
                  </a:lnTo>
                  <a:lnTo>
                    <a:pt x="1248" y="1356"/>
                  </a:lnTo>
                  <a:lnTo>
                    <a:pt x="1254" y="1356"/>
                  </a:lnTo>
                  <a:lnTo>
                    <a:pt x="1254" y="1344"/>
                  </a:lnTo>
                  <a:lnTo>
                    <a:pt x="1242" y="1338"/>
                  </a:lnTo>
                  <a:lnTo>
                    <a:pt x="1242" y="1326"/>
                  </a:lnTo>
                  <a:lnTo>
                    <a:pt x="1230" y="1326"/>
                  </a:lnTo>
                  <a:lnTo>
                    <a:pt x="1230" y="1314"/>
                  </a:lnTo>
                  <a:lnTo>
                    <a:pt x="1218" y="1314"/>
                  </a:lnTo>
                  <a:lnTo>
                    <a:pt x="1200" y="1272"/>
                  </a:lnTo>
                  <a:lnTo>
                    <a:pt x="1194" y="1242"/>
                  </a:lnTo>
                  <a:lnTo>
                    <a:pt x="1194" y="1206"/>
                  </a:lnTo>
                  <a:lnTo>
                    <a:pt x="1182" y="1200"/>
                  </a:lnTo>
                  <a:lnTo>
                    <a:pt x="1164" y="1206"/>
                  </a:lnTo>
                  <a:lnTo>
                    <a:pt x="1146" y="1212"/>
                  </a:lnTo>
                  <a:lnTo>
                    <a:pt x="1146" y="1218"/>
                  </a:lnTo>
                  <a:lnTo>
                    <a:pt x="1134" y="1224"/>
                  </a:lnTo>
                  <a:lnTo>
                    <a:pt x="1140" y="1260"/>
                  </a:lnTo>
                  <a:lnTo>
                    <a:pt x="1134" y="1266"/>
                  </a:lnTo>
                  <a:lnTo>
                    <a:pt x="1122" y="1266"/>
                  </a:lnTo>
                  <a:lnTo>
                    <a:pt x="1110" y="1236"/>
                  </a:lnTo>
                  <a:lnTo>
                    <a:pt x="1110" y="1224"/>
                  </a:lnTo>
                  <a:lnTo>
                    <a:pt x="1086" y="1224"/>
                  </a:lnTo>
                  <a:lnTo>
                    <a:pt x="1086" y="1212"/>
                  </a:lnTo>
                  <a:lnTo>
                    <a:pt x="1074" y="1212"/>
                  </a:lnTo>
                  <a:lnTo>
                    <a:pt x="1050" y="1212"/>
                  </a:lnTo>
                  <a:lnTo>
                    <a:pt x="1056" y="1218"/>
                  </a:lnTo>
                  <a:lnTo>
                    <a:pt x="1050" y="1272"/>
                  </a:lnTo>
                  <a:lnTo>
                    <a:pt x="1044" y="1272"/>
                  </a:lnTo>
                  <a:lnTo>
                    <a:pt x="1038" y="1284"/>
                  </a:lnTo>
                  <a:lnTo>
                    <a:pt x="1032" y="1302"/>
                  </a:lnTo>
                  <a:lnTo>
                    <a:pt x="1014" y="1302"/>
                  </a:lnTo>
                  <a:lnTo>
                    <a:pt x="1020" y="1284"/>
                  </a:lnTo>
                  <a:lnTo>
                    <a:pt x="1026" y="1278"/>
                  </a:lnTo>
                  <a:lnTo>
                    <a:pt x="1026" y="1266"/>
                  </a:lnTo>
                  <a:lnTo>
                    <a:pt x="1014" y="1260"/>
                  </a:lnTo>
                  <a:lnTo>
                    <a:pt x="1014" y="1272"/>
                  </a:lnTo>
                  <a:lnTo>
                    <a:pt x="990" y="1278"/>
                  </a:lnTo>
                  <a:lnTo>
                    <a:pt x="990" y="1254"/>
                  </a:lnTo>
                  <a:lnTo>
                    <a:pt x="984" y="1254"/>
                  </a:lnTo>
                  <a:lnTo>
                    <a:pt x="978" y="1242"/>
                  </a:lnTo>
                  <a:lnTo>
                    <a:pt x="972" y="1236"/>
                  </a:lnTo>
                  <a:lnTo>
                    <a:pt x="960" y="1206"/>
                  </a:lnTo>
                  <a:lnTo>
                    <a:pt x="942" y="1206"/>
                  </a:lnTo>
                  <a:lnTo>
                    <a:pt x="936" y="1200"/>
                  </a:lnTo>
                  <a:lnTo>
                    <a:pt x="906" y="1212"/>
                  </a:lnTo>
                  <a:lnTo>
                    <a:pt x="888" y="1230"/>
                  </a:lnTo>
                  <a:lnTo>
                    <a:pt x="876" y="1230"/>
                  </a:lnTo>
                  <a:lnTo>
                    <a:pt x="864" y="1236"/>
                  </a:lnTo>
                  <a:lnTo>
                    <a:pt x="858" y="1236"/>
                  </a:lnTo>
                  <a:lnTo>
                    <a:pt x="852" y="1254"/>
                  </a:lnTo>
                  <a:lnTo>
                    <a:pt x="858" y="1254"/>
                  </a:lnTo>
                  <a:lnTo>
                    <a:pt x="840" y="1266"/>
                  </a:lnTo>
                  <a:lnTo>
                    <a:pt x="828" y="1272"/>
                  </a:lnTo>
                  <a:lnTo>
                    <a:pt x="828" y="1284"/>
                  </a:lnTo>
                  <a:lnTo>
                    <a:pt x="822" y="1284"/>
                  </a:lnTo>
                  <a:lnTo>
                    <a:pt x="804" y="1296"/>
                  </a:lnTo>
                  <a:lnTo>
                    <a:pt x="804" y="1308"/>
                  </a:lnTo>
                  <a:lnTo>
                    <a:pt x="816" y="1320"/>
                  </a:lnTo>
                  <a:lnTo>
                    <a:pt x="828" y="1320"/>
                  </a:lnTo>
                  <a:lnTo>
                    <a:pt x="822" y="1338"/>
                  </a:lnTo>
                  <a:lnTo>
                    <a:pt x="852" y="1344"/>
                  </a:lnTo>
                  <a:lnTo>
                    <a:pt x="864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94" y="1356"/>
                  </a:lnTo>
                  <a:lnTo>
                    <a:pt x="912" y="1368"/>
                  </a:lnTo>
                  <a:lnTo>
                    <a:pt x="918" y="1380"/>
                  </a:lnTo>
                  <a:lnTo>
                    <a:pt x="936" y="1380"/>
                  </a:lnTo>
                  <a:lnTo>
                    <a:pt x="960" y="1386"/>
                  </a:lnTo>
                  <a:lnTo>
                    <a:pt x="990" y="1386"/>
                  </a:lnTo>
                  <a:lnTo>
                    <a:pt x="990" y="1392"/>
                  </a:lnTo>
                  <a:lnTo>
                    <a:pt x="1020" y="1398"/>
                  </a:lnTo>
                  <a:lnTo>
                    <a:pt x="1014" y="1404"/>
                  </a:lnTo>
                  <a:lnTo>
                    <a:pt x="1008" y="1404"/>
                  </a:lnTo>
                  <a:lnTo>
                    <a:pt x="1014" y="1440"/>
                  </a:lnTo>
                  <a:lnTo>
                    <a:pt x="1020" y="1458"/>
                  </a:lnTo>
                  <a:lnTo>
                    <a:pt x="1026" y="1476"/>
                  </a:lnTo>
                  <a:lnTo>
                    <a:pt x="1020" y="1476"/>
                  </a:lnTo>
                  <a:lnTo>
                    <a:pt x="1014" y="1476"/>
                  </a:lnTo>
                  <a:lnTo>
                    <a:pt x="1014" y="1482"/>
                  </a:lnTo>
                  <a:lnTo>
                    <a:pt x="1014" y="1488"/>
                  </a:lnTo>
                  <a:lnTo>
                    <a:pt x="1002" y="1488"/>
                  </a:lnTo>
                  <a:lnTo>
                    <a:pt x="1002" y="1494"/>
                  </a:lnTo>
                  <a:lnTo>
                    <a:pt x="996" y="1494"/>
                  </a:lnTo>
                  <a:lnTo>
                    <a:pt x="996" y="1518"/>
                  </a:lnTo>
                  <a:lnTo>
                    <a:pt x="1002" y="1524"/>
                  </a:lnTo>
                  <a:lnTo>
                    <a:pt x="1020" y="1530"/>
                  </a:lnTo>
                  <a:lnTo>
                    <a:pt x="1026" y="1542"/>
                  </a:lnTo>
                  <a:lnTo>
                    <a:pt x="1032" y="1566"/>
                  </a:lnTo>
                  <a:lnTo>
                    <a:pt x="1038" y="1578"/>
                  </a:lnTo>
                  <a:lnTo>
                    <a:pt x="1032" y="1584"/>
                  </a:lnTo>
                  <a:lnTo>
                    <a:pt x="1020" y="1584"/>
                  </a:lnTo>
                  <a:lnTo>
                    <a:pt x="1014" y="1584"/>
                  </a:lnTo>
                  <a:lnTo>
                    <a:pt x="1008" y="1596"/>
                  </a:lnTo>
                  <a:lnTo>
                    <a:pt x="990" y="1584"/>
                  </a:lnTo>
                  <a:lnTo>
                    <a:pt x="984" y="1602"/>
                  </a:lnTo>
                  <a:lnTo>
                    <a:pt x="978" y="1608"/>
                  </a:lnTo>
                  <a:lnTo>
                    <a:pt x="966" y="1608"/>
                  </a:lnTo>
                  <a:lnTo>
                    <a:pt x="960" y="1614"/>
                  </a:lnTo>
                  <a:lnTo>
                    <a:pt x="954" y="1614"/>
                  </a:lnTo>
                  <a:lnTo>
                    <a:pt x="942" y="1620"/>
                  </a:lnTo>
                  <a:lnTo>
                    <a:pt x="936" y="1620"/>
                  </a:lnTo>
                  <a:lnTo>
                    <a:pt x="930" y="1620"/>
                  </a:lnTo>
                  <a:lnTo>
                    <a:pt x="930" y="1626"/>
                  </a:lnTo>
                  <a:lnTo>
                    <a:pt x="930" y="1632"/>
                  </a:lnTo>
                  <a:lnTo>
                    <a:pt x="918" y="1632"/>
                  </a:lnTo>
                  <a:lnTo>
                    <a:pt x="912" y="1632"/>
                  </a:lnTo>
                  <a:lnTo>
                    <a:pt x="906" y="1632"/>
                  </a:lnTo>
                  <a:lnTo>
                    <a:pt x="900" y="1632"/>
                  </a:lnTo>
                  <a:lnTo>
                    <a:pt x="894" y="1626"/>
                  </a:lnTo>
                  <a:lnTo>
                    <a:pt x="894" y="1614"/>
                  </a:lnTo>
                  <a:lnTo>
                    <a:pt x="840" y="1614"/>
                  </a:lnTo>
                  <a:lnTo>
                    <a:pt x="840" y="1626"/>
                  </a:lnTo>
                  <a:lnTo>
                    <a:pt x="834" y="1626"/>
                  </a:lnTo>
                  <a:lnTo>
                    <a:pt x="828" y="1632"/>
                  </a:lnTo>
                  <a:lnTo>
                    <a:pt x="822" y="1638"/>
                  </a:lnTo>
                  <a:lnTo>
                    <a:pt x="822" y="1644"/>
                  </a:lnTo>
                  <a:lnTo>
                    <a:pt x="834" y="1650"/>
                  </a:lnTo>
                  <a:lnTo>
                    <a:pt x="840" y="1662"/>
                  </a:lnTo>
                  <a:lnTo>
                    <a:pt x="840" y="1668"/>
                  </a:lnTo>
                  <a:lnTo>
                    <a:pt x="858" y="1680"/>
                  </a:lnTo>
                  <a:lnTo>
                    <a:pt x="858" y="1752"/>
                  </a:lnTo>
                  <a:lnTo>
                    <a:pt x="864" y="1782"/>
                  </a:lnTo>
                  <a:lnTo>
                    <a:pt x="876" y="1788"/>
                  </a:lnTo>
                  <a:lnTo>
                    <a:pt x="870" y="1854"/>
                  </a:lnTo>
                  <a:lnTo>
                    <a:pt x="870" y="1884"/>
                  </a:lnTo>
                  <a:lnTo>
                    <a:pt x="864" y="1884"/>
                  </a:lnTo>
                  <a:lnTo>
                    <a:pt x="846" y="1896"/>
                  </a:lnTo>
                  <a:lnTo>
                    <a:pt x="840" y="1896"/>
                  </a:lnTo>
                  <a:lnTo>
                    <a:pt x="834" y="1896"/>
                  </a:lnTo>
                  <a:lnTo>
                    <a:pt x="828" y="1890"/>
                  </a:lnTo>
                  <a:lnTo>
                    <a:pt x="822" y="1890"/>
                  </a:lnTo>
                  <a:lnTo>
                    <a:pt x="816" y="1896"/>
                  </a:lnTo>
                  <a:lnTo>
                    <a:pt x="804" y="1896"/>
                  </a:lnTo>
                  <a:lnTo>
                    <a:pt x="804" y="1890"/>
                  </a:lnTo>
                  <a:lnTo>
                    <a:pt x="780" y="1896"/>
                  </a:lnTo>
                  <a:lnTo>
                    <a:pt x="780" y="1902"/>
                  </a:lnTo>
                  <a:lnTo>
                    <a:pt x="774" y="1914"/>
                  </a:lnTo>
                  <a:lnTo>
                    <a:pt x="762" y="1926"/>
                  </a:lnTo>
                  <a:lnTo>
                    <a:pt x="762" y="1950"/>
                  </a:lnTo>
                  <a:lnTo>
                    <a:pt x="762" y="1962"/>
                  </a:lnTo>
                  <a:lnTo>
                    <a:pt x="780" y="1974"/>
                  </a:lnTo>
                  <a:lnTo>
                    <a:pt x="780" y="1986"/>
                  </a:lnTo>
                  <a:lnTo>
                    <a:pt x="780" y="1998"/>
                  </a:lnTo>
                  <a:lnTo>
                    <a:pt x="756" y="1998"/>
                  </a:lnTo>
                  <a:lnTo>
                    <a:pt x="720" y="1992"/>
                  </a:lnTo>
                  <a:lnTo>
                    <a:pt x="666" y="1998"/>
                  </a:lnTo>
                  <a:lnTo>
                    <a:pt x="654" y="1998"/>
                  </a:lnTo>
                  <a:lnTo>
                    <a:pt x="660" y="1974"/>
                  </a:lnTo>
                  <a:lnTo>
                    <a:pt x="666" y="1962"/>
                  </a:lnTo>
                  <a:lnTo>
                    <a:pt x="678" y="1950"/>
                  </a:lnTo>
                  <a:lnTo>
                    <a:pt x="696" y="1932"/>
                  </a:lnTo>
                  <a:lnTo>
                    <a:pt x="696" y="1920"/>
                  </a:lnTo>
                  <a:lnTo>
                    <a:pt x="696" y="1896"/>
                  </a:lnTo>
                  <a:lnTo>
                    <a:pt x="678" y="1896"/>
                  </a:lnTo>
                  <a:lnTo>
                    <a:pt x="672" y="1884"/>
                  </a:lnTo>
                  <a:lnTo>
                    <a:pt x="672" y="1776"/>
                  </a:lnTo>
                  <a:lnTo>
                    <a:pt x="678" y="1758"/>
                  </a:lnTo>
                  <a:lnTo>
                    <a:pt x="678" y="1740"/>
                  </a:lnTo>
                  <a:lnTo>
                    <a:pt x="684" y="1728"/>
                  </a:lnTo>
                  <a:lnTo>
                    <a:pt x="690" y="1722"/>
                  </a:lnTo>
                  <a:lnTo>
                    <a:pt x="702" y="1722"/>
                  </a:lnTo>
                  <a:lnTo>
                    <a:pt x="708" y="1716"/>
                  </a:lnTo>
                  <a:lnTo>
                    <a:pt x="714" y="1710"/>
                  </a:lnTo>
                  <a:lnTo>
                    <a:pt x="720" y="1698"/>
                  </a:lnTo>
                  <a:lnTo>
                    <a:pt x="732" y="1692"/>
                  </a:lnTo>
                  <a:lnTo>
                    <a:pt x="744" y="1686"/>
                  </a:lnTo>
                  <a:lnTo>
                    <a:pt x="756" y="1680"/>
                  </a:lnTo>
                  <a:lnTo>
                    <a:pt x="768" y="1668"/>
                  </a:lnTo>
                  <a:lnTo>
                    <a:pt x="768" y="1650"/>
                  </a:lnTo>
                  <a:lnTo>
                    <a:pt x="774" y="1632"/>
                  </a:lnTo>
                  <a:lnTo>
                    <a:pt x="768" y="1620"/>
                  </a:lnTo>
                  <a:lnTo>
                    <a:pt x="774" y="1608"/>
                  </a:lnTo>
                  <a:lnTo>
                    <a:pt x="774" y="1578"/>
                  </a:lnTo>
                  <a:lnTo>
                    <a:pt x="774" y="1572"/>
                  </a:lnTo>
                  <a:lnTo>
                    <a:pt x="780" y="1560"/>
                  </a:lnTo>
                  <a:lnTo>
                    <a:pt x="780" y="1554"/>
                  </a:lnTo>
                  <a:lnTo>
                    <a:pt x="786" y="1542"/>
                  </a:lnTo>
                  <a:lnTo>
                    <a:pt x="792" y="1530"/>
                  </a:lnTo>
                  <a:lnTo>
                    <a:pt x="792" y="1518"/>
                  </a:lnTo>
                  <a:lnTo>
                    <a:pt x="792" y="1506"/>
                  </a:lnTo>
                  <a:lnTo>
                    <a:pt x="786" y="1500"/>
                  </a:lnTo>
                  <a:lnTo>
                    <a:pt x="774" y="1488"/>
                  </a:lnTo>
                  <a:lnTo>
                    <a:pt x="774" y="1482"/>
                  </a:lnTo>
                  <a:lnTo>
                    <a:pt x="762" y="1488"/>
                  </a:lnTo>
                  <a:lnTo>
                    <a:pt x="756" y="1494"/>
                  </a:lnTo>
                  <a:lnTo>
                    <a:pt x="744" y="1500"/>
                  </a:lnTo>
                  <a:lnTo>
                    <a:pt x="732" y="1506"/>
                  </a:lnTo>
                  <a:lnTo>
                    <a:pt x="726" y="1506"/>
                  </a:lnTo>
                  <a:lnTo>
                    <a:pt x="720" y="1506"/>
                  </a:lnTo>
                  <a:lnTo>
                    <a:pt x="702" y="1506"/>
                  </a:lnTo>
                  <a:lnTo>
                    <a:pt x="690" y="1500"/>
                  </a:lnTo>
                  <a:lnTo>
                    <a:pt x="678" y="1500"/>
                  </a:lnTo>
                  <a:lnTo>
                    <a:pt x="672" y="1500"/>
                  </a:lnTo>
                  <a:lnTo>
                    <a:pt x="660" y="1506"/>
                  </a:lnTo>
                  <a:lnTo>
                    <a:pt x="654" y="1506"/>
                  </a:lnTo>
                  <a:lnTo>
                    <a:pt x="648" y="1512"/>
                  </a:lnTo>
                  <a:lnTo>
                    <a:pt x="648" y="1518"/>
                  </a:lnTo>
                  <a:lnTo>
                    <a:pt x="618" y="1518"/>
                  </a:lnTo>
                  <a:lnTo>
                    <a:pt x="534" y="1494"/>
                  </a:lnTo>
                  <a:lnTo>
                    <a:pt x="528" y="1458"/>
                  </a:lnTo>
                  <a:lnTo>
                    <a:pt x="510" y="1458"/>
                  </a:lnTo>
                  <a:lnTo>
                    <a:pt x="492" y="1440"/>
                  </a:lnTo>
                  <a:lnTo>
                    <a:pt x="462" y="1440"/>
                  </a:lnTo>
                  <a:lnTo>
                    <a:pt x="456" y="1428"/>
                  </a:lnTo>
                  <a:lnTo>
                    <a:pt x="420" y="1428"/>
                  </a:lnTo>
                  <a:lnTo>
                    <a:pt x="390" y="1446"/>
                  </a:lnTo>
                  <a:lnTo>
                    <a:pt x="312" y="1452"/>
                  </a:lnTo>
                  <a:lnTo>
                    <a:pt x="300" y="1446"/>
                  </a:lnTo>
                  <a:lnTo>
                    <a:pt x="294" y="1446"/>
                  </a:lnTo>
                  <a:lnTo>
                    <a:pt x="288" y="1446"/>
                  </a:lnTo>
                  <a:lnTo>
                    <a:pt x="282" y="1440"/>
                  </a:lnTo>
                  <a:lnTo>
                    <a:pt x="276" y="1440"/>
                  </a:lnTo>
                  <a:lnTo>
                    <a:pt x="270" y="1440"/>
                  </a:lnTo>
                  <a:lnTo>
                    <a:pt x="264" y="1440"/>
                  </a:lnTo>
                  <a:lnTo>
                    <a:pt x="258" y="1434"/>
                  </a:lnTo>
                  <a:lnTo>
                    <a:pt x="252" y="1434"/>
                  </a:lnTo>
                  <a:lnTo>
                    <a:pt x="246" y="1428"/>
                  </a:lnTo>
                  <a:lnTo>
                    <a:pt x="240" y="1416"/>
                  </a:lnTo>
                  <a:lnTo>
                    <a:pt x="234" y="1404"/>
                  </a:lnTo>
                  <a:lnTo>
                    <a:pt x="228" y="1398"/>
                  </a:lnTo>
                  <a:lnTo>
                    <a:pt x="222" y="1398"/>
                  </a:lnTo>
                  <a:lnTo>
                    <a:pt x="216" y="1404"/>
                  </a:lnTo>
                  <a:lnTo>
                    <a:pt x="210" y="1404"/>
                  </a:lnTo>
                  <a:lnTo>
                    <a:pt x="204" y="1404"/>
                  </a:lnTo>
                  <a:lnTo>
                    <a:pt x="204" y="1398"/>
                  </a:lnTo>
                  <a:lnTo>
                    <a:pt x="198" y="1392"/>
                  </a:lnTo>
                  <a:lnTo>
                    <a:pt x="192" y="1386"/>
                  </a:lnTo>
                  <a:lnTo>
                    <a:pt x="168" y="1374"/>
                  </a:lnTo>
                  <a:lnTo>
                    <a:pt x="144" y="13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0" name="Freeform 35">
              <a:extLst>
                <a:ext uri="{FF2B5EF4-FFF2-40B4-BE49-F238E27FC236}">
                  <a16:creationId xmlns:a16="http://schemas.microsoft.com/office/drawing/2014/main" id="{F64BF16E-9D62-438E-A1CC-CD4088AC7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2895" y="1706004"/>
              <a:ext cx="767013" cy="785011"/>
            </a:xfrm>
            <a:custGeom>
              <a:avLst/>
              <a:gdLst>
                <a:gd name="T0" fmla="*/ 102 w 1440"/>
                <a:gd name="T1" fmla="*/ 104 h 1476"/>
                <a:gd name="T2" fmla="*/ 99 w 1440"/>
                <a:gd name="T3" fmla="*/ 108 h 1476"/>
                <a:gd name="T4" fmla="*/ 98 w 1440"/>
                <a:gd name="T5" fmla="*/ 112 h 1476"/>
                <a:gd name="T6" fmla="*/ 96 w 1440"/>
                <a:gd name="T7" fmla="*/ 116 h 1476"/>
                <a:gd name="T8" fmla="*/ 91 w 1440"/>
                <a:gd name="T9" fmla="*/ 118 h 1476"/>
                <a:gd name="T10" fmla="*/ 87 w 1440"/>
                <a:gd name="T11" fmla="*/ 120 h 1476"/>
                <a:gd name="T12" fmla="*/ 75 w 1440"/>
                <a:gd name="T13" fmla="*/ 120 h 1476"/>
                <a:gd name="T14" fmla="*/ 72 w 1440"/>
                <a:gd name="T15" fmla="*/ 123 h 1476"/>
                <a:gd name="T16" fmla="*/ 69 w 1440"/>
                <a:gd name="T17" fmla="*/ 128 h 1476"/>
                <a:gd name="T18" fmla="*/ 67 w 1440"/>
                <a:gd name="T19" fmla="*/ 127 h 1476"/>
                <a:gd name="T20" fmla="*/ 66 w 1440"/>
                <a:gd name="T21" fmla="*/ 123 h 1476"/>
                <a:gd name="T22" fmla="*/ 63 w 1440"/>
                <a:gd name="T23" fmla="*/ 119 h 1476"/>
                <a:gd name="T24" fmla="*/ 54 w 1440"/>
                <a:gd name="T25" fmla="*/ 114 h 1476"/>
                <a:gd name="T26" fmla="*/ 55 w 1440"/>
                <a:gd name="T27" fmla="*/ 106 h 1476"/>
                <a:gd name="T28" fmla="*/ 60 w 1440"/>
                <a:gd name="T29" fmla="*/ 100 h 1476"/>
                <a:gd name="T30" fmla="*/ 55 w 1440"/>
                <a:gd name="T31" fmla="*/ 91 h 1476"/>
                <a:gd name="T32" fmla="*/ 51 w 1440"/>
                <a:gd name="T33" fmla="*/ 86 h 1476"/>
                <a:gd name="T34" fmla="*/ 47 w 1440"/>
                <a:gd name="T35" fmla="*/ 85 h 1476"/>
                <a:gd name="T36" fmla="*/ 44 w 1440"/>
                <a:gd name="T37" fmla="*/ 82 h 1476"/>
                <a:gd name="T38" fmla="*/ 41 w 1440"/>
                <a:gd name="T39" fmla="*/ 83 h 1476"/>
                <a:gd name="T40" fmla="*/ 36 w 1440"/>
                <a:gd name="T41" fmla="*/ 83 h 1476"/>
                <a:gd name="T42" fmla="*/ 33 w 1440"/>
                <a:gd name="T43" fmla="*/ 83 h 1476"/>
                <a:gd name="T44" fmla="*/ 30 w 1440"/>
                <a:gd name="T45" fmla="*/ 83 h 1476"/>
                <a:gd name="T46" fmla="*/ 27 w 1440"/>
                <a:gd name="T47" fmla="*/ 83 h 1476"/>
                <a:gd name="T48" fmla="*/ 24 w 1440"/>
                <a:gd name="T49" fmla="*/ 82 h 1476"/>
                <a:gd name="T50" fmla="*/ 21 w 1440"/>
                <a:gd name="T51" fmla="*/ 80 h 1476"/>
                <a:gd name="T52" fmla="*/ 18 w 1440"/>
                <a:gd name="T53" fmla="*/ 79 h 1476"/>
                <a:gd name="T54" fmla="*/ 17 w 1440"/>
                <a:gd name="T55" fmla="*/ 78 h 1476"/>
                <a:gd name="T56" fmla="*/ 12 w 1440"/>
                <a:gd name="T57" fmla="*/ 78 h 1476"/>
                <a:gd name="T58" fmla="*/ 12 w 1440"/>
                <a:gd name="T59" fmla="*/ 78 h 1476"/>
                <a:gd name="T60" fmla="*/ 7 w 1440"/>
                <a:gd name="T61" fmla="*/ 80 h 1476"/>
                <a:gd name="T62" fmla="*/ 3 w 1440"/>
                <a:gd name="T63" fmla="*/ 81 h 1476"/>
                <a:gd name="T64" fmla="*/ 0 w 1440"/>
                <a:gd name="T65" fmla="*/ 76 h 1476"/>
                <a:gd name="T66" fmla="*/ 1 w 1440"/>
                <a:gd name="T67" fmla="*/ 50 h 1476"/>
                <a:gd name="T68" fmla="*/ 8 w 1440"/>
                <a:gd name="T69" fmla="*/ 48 h 1476"/>
                <a:gd name="T70" fmla="*/ 20 w 1440"/>
                <a:gd name="T71" fmla="*/ 49 h 1476"/>
                <a:gd name="T72" fmla="*/ 26 w 1440"/>
                <a:gd name="T73" fmla="*/ 50 h 1476"/>
                <a:gd name="T74" fmla="*/ 44 w 1440"/>
                <a:gd name="T75" fmla="*/ 47 h 1476"/>
                <a:gd name="T76" fmla="*/ 41 w 1440"/>
                <a:gd name="T77" fmla="*/ 24 h 1476"/>
                <a:gd name="T78" fmla="*/ 44 w 1440"/>
                <a:gd name="T79" fmla="*/ 20 h 1476"/>
                <a:gd name="T80" fmla="*/ 47 w 1440"/>
                <a:gd name="T81" fmla="*/ 18 h 1476"/>
                <a:gd name="T82" fmla="*/ 54 w 1440"/>
                <a:gd name="T83" fmla="*/ 21 h 1476"/>
                <a:gd name="T84" fmla="*/ 61 w 1440"/>
                <a:gd name="T85" fmla="*/ 23 h 1476"/>
                <a:gd name="T86" fmla="*/ 59 w 1440"/>
                <a:gd name="T87" fmla="*/ 14 h 1476"/>
                <a:gd name="T88" fmla="*/ 61 w 1440"/>
                <a:gd name="T89" fmla="*/ 8 h 1476"/>
                <a:gd name="T90" fmla="*/ 71 w 1440"/>
                <a:gd name="T91" fmla="*/ 7 h 1476"/>
                <a:gd name="T92" fmla="*/ 75 w 1440"/>
                <a:gd name="T93" fmla="*/ 0 h 1476"/>
                <a:gd name="T94" fmla="*/ 82 w 1440"/>
                <a:gd name="T95" fmla="*/ 3 h 1476"/>
                <a:gd name="T96" fmla="*/ 93 w 1440"/>
                <a:gd name="T97" fmla="*/ 5 h 1476"/>
                <a:gd name="T98" fmla="*/ 100 w 1440"/>
                <a:gd name="T99" fmla="*/ 1 h 1476"/>
                <a:gd name="T100" fmla="*/ 104 w 1440"/>
                <a:gd name="T101" fmla="*/ 4 h 1476"/>
                <a:gd name="T102" fmla="*/ 110 w 1440"/>
                <a:gd name="T103" fmla="*/ 10 h 1476"/>
                <a:gd name="T104" fmla="*/ 115 w 1440"/>
                <a:gd name="T105" fmla="*/ 23 h 1476"/>
                <a:gd name="T106" fmla="*/ 117 w 1440"/>
                <a:gd name="T107" fmla="*/ 42 h 1476"/>
                <a:gd name="T108" fmla="*/ 121 w 1440"/>
                <a:gd name="T109" fmla="*/ 52 h 1476"/>
                <a:gd name="T110" fmla="*/ 118 w 1440"/>
                <a:gd name="T111" fmla="*/ 62 h 1476"/>
                <a:gd name="T112" fmla="*/ 124 w 1440"/>
                <a:gd name="T113" fmla="*/ 66 h 1476"/>
                <a:gd name="T114" fmla="*/ 121 w 1440"/>
                <a:gd name="T115" fmla="*/ 71 h 1476"/>
                <a:gd name="T116" fmla="*/ 115 w 1440"/>
                <a:gd name="T117" fmla="*/ 76 h 1476"/>
                <a:gd name="T118" fmla="*/ 109 w 1440"/>
                <a:gd name="T119" fmla="*/ 76 h 1476"/>
                <a:gd name="T120" fmla="*/ 105 w 1440"/>
                <a:gd name="T121" fmla="*/ 86 h 1476"/>
                <a:gd name="T122" fmla="*/ 107 w 1440"/>
                <a:gd name="T123" fmla="*/ 97 h 147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40"/>
                <a:gd name="T187" fmla="*/ 0 h 1476"/>
                <a:gd name="T188" fmla="*/ 1440 w 1440"/>
                <a:gd name="T189" fmla="*/ 1476 h 147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40" h="1476">
                  <a:moveTo>
                    <a:pt x="1212" y="1164"/>
                  </a:moveTo>
                  <a:lnTo>
                    <a:pt x="1206" y="1170"/>
                  </a:lnTo>
                  <a:lnTo>
                    <a:pt x="1200" y="1176"/>
                  </a:lnTo>
                  <a:lnTo>
                    <a:pt x="1194" y="1176"/>
                  </a:lnTo>
                  <a:lnTo>
                    <a:pt x="1188" y="1188"/>
                  </a:lnTo>
                  <a:lnTo>
                    <a:pt x="1182" y="1194"/>
                  </a:lnTo>
                  <a:lnTo>
                    <a:pt x="1176" y="1194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64" y="1206"/>
                  </a:lnTo>
                  <a:lnTo>
                    <a:pt x="1158" y="1206"/>
                  </a:lnTo>
                  <a:lnTo>
                    <a:pt x="1152" y="1212"/>
                  </a:lnTo>
                  <a:lnTo>
                    <a:pt x="1146" y="1212"/>
                  </a:lnTo>
                  <a:lnTo>
                    <a:pt x="1140" y="1224"/>
                  </a:lnTo>
                  <a:lnTo>
                    <a:pt x="1134" y="1230"/>
                  </a:lnTo>
                  <a:lnTo>
                    <a:pt x="1128" y="1236"/>
                  </a:lnTo>
                  <a:lnTo>
                    <a:pt x="1128" y="1242"/>
                  </a:lnTo>
                  <a:lnTo>
                    <a:pt x="1128" y="1254"/>
                  </a:lnTo>
                  <a:lnTo>
                    <a:pt x="1128" y="1260"/>
                  </a:lnTo>
                  <a:lnTo>
                    <a:pt x="1122" y="1260"/>
                  </a:lnTo>
                  <a:lnTo>
                    <a:pt x="1122" y="1266"/>
                  </a:lnTo>
                  <a:lnTo>
                    <a:pt x="1128" y="1278"/>
                  </a:lnTo>
                  <a:lnTo>
                    <a:pt x="1122" y="1278"/>
                  </a:lnTo>
                  <a:lnTo>
                    <a:pt x="1122" y="1284"/>
                  </a:lnTo>
                  <a:lnTo>
                    <a:pt x="1128" y="1290"/>
                  </a:lnTo>
                  <a:lnTo>
                    <a:pt x="1122" y="1296"/>
                  </a:lnTo>
                  <a:lnTo>
                    <a:pt x="1122" y="1302"/>
                  </a:lnTo>
                  <a:lnTo>
                    <a:pt x="1116" y="1302"/>
                  </a:lnTo>
                  <a:lnTo>
                    <a:pt x="1110" y="1314"/>
                  </a:lnTo>
                  <a:lnTo>
                    <a:pt x="1110" y="1320"/>
                  </a:lnTo>
                  <a:lnTo>
                    <a:pt x="1110" y="1326"/>
                  </a:lnTo>
                  <a:lnTo>
                    <a:pt x="1098" y="1332"/>
                  </a:lnTo>
                  <a:lnTo>
                    <a:pt x="1092" y="1338"/>
                  </a:lnTo>
                  <a:lnTo>
                    <a:pt x="1092" y="1344"/>
                  </a:lnTo>
                  <a:lnTo>
                    <a:pt x="1086" y="1350"/>
                  </a:lnTo>
                  <a:lnTo>
                    <a:pt x="1080" y="1350"/>
                  </a:lnTo>
                  <a:lnTo>
                    <a:pt x="1074" y="1350"/>
                  </a:lnTo>
                  <a:lnTo>
                    <a:pt x="1068" y="1356"/>
                  </a:lnTo>
                  <a:lnTo>
                    <a:pt x="1062" y="1356"/>
                  </a:lnTo>
                  <a:lnTo>
                    <a:pt x="1044" y="1356"/>
                  </a:lnTo>
                  <a:lnTo>
                    <a:pt x="1038" y="1362"/>
                  </a:lnTo>
                  <a:lnTo>
                    <a:pt x="1032" y="1368"/>
                  </a:lnTo>
                  <a:lnTo>
                    <a:pt x="1026" y="1368"/>
                  </a:lnTo>
                  <a:lnTo>
                    <a:pt x="1020" y="1374"/>
                  </a:lnTo>
                  <a:lnTo>
                    <a:pt x="1008" y="1374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74"/>
                  </a:lnTo>
                  <a:lnTo>
                    <a:pt x="978" y="1380"/>
                  </a:lnTo>
                  <a:lnTo>
                    <a:pt x="972" y="1380"/>
                  </a:lnTo>
                  <a:lnTo>
                    <a:pt x="954" y="1368"/>
                  </a:lnTo>
                  <a:lnTo>
                    <a:pt x="930" y="1368"/>
                  </a:lnTo>
                  <a:lnTo>
                    <a:pt x="918" y="1368"/>
                  </a:lnTo>
                  <a:lnTo>
                    <a:pt x="906" y="1368"/>
                  </a:lnTo>
                  <a:lnTo>
                    <a:pt x="894" y="1368"/>
                  </a:lnTo>
                  <a:lnTo>
                    <a:pt x="864" y="1374"/>
                  </a:lnTo>
                  <a:lnTo>
                    <a:pt x="852" y="1374"/>
                  </a:lnTo>
                  <a:lnTo>
                    <a:pt x="846" y="1386"/>
                  </a:lnTo>
                  <a:lnTo>
                    <a:pt x="846" y="1392"/>
                  </a:lnTo>
                  <a:lnTo>
                    <a:pt x="840" y="1398"/>
                  </a:lnTo>
                  <a:lnTo>
                    <a:pt x="840" y="1404"/>
                  </a:lnTo>
                  <a:lnTo>
                    <a:pt x="834" y="1416"/>
                  </a:lnTo>
                  <a:lnTo>
                    <a:pt x="828" y="1416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04" y="1428"/>
                  </a:lnTo>
                  <a:lnTo>
                    <a:pt x="804" y="1434"/>
                  </a:lnTo>
                  <a:lnTo>
                    <a:pt x="804" y="1440"/>
                  </a:lnTo>
                  <a:lnTo>
                    <a:pt x="798" y="1446"/>
                  </a:lnTo>
                  <a:lnTo>
                    <a:pt x="798" y="1458"/>
                  </a:lnTo>
                  <a:lnTo>
                    <a:pt x="792" y="1464"/>
                  </a:lnTo>
                  <a:lnTo>
                    <a:pt x="786" y="1476"/>
                  </a:lnTo>
                  <a:lnTo>
                    <a:pt x="780" y="1470"/>
                  </a:lnTo>
                  <a:lnTo>
                    <a:pt x="774" y="1470"/>
                  </a:lnTo>
                  <a:lnTo>
                    <a:pt x="768" y="1470"/>
                  </a:lnTo>
                  <a:lnTo>
                    <a:pt x="762" y="1476"/>
                  </a:lnTo>
                  <a:lnTo>
                    <a:pt x="762" y="1470"/>
                  </a:lnTo>
                  <a:lnTo>
                    <a:pt x="762" y="1464"/>
                  </a:lnTo>
                  <a:lnTo>
                    <a:pt x="762" y="1458"/>
                  </a:lnTo>
                  <a:lnTo>
                    <a:pt x="756" y="1458"/>
                  </a:lnTo>
                  <a:lnTo>
                    <a:pt x="756" y="1452"/>
                  </a:lnTo>
                  <a:lnTo>
                    <a:pt x="756" y="1446"/>
                  </a:lnTo>
                  <a:lnTo>
                    <a:pt x="756" y="1440"/>
                  </a:lnTo>
                  <a:lnTo>
                    <a:pt x="750" y="1434"/>
                  </a:lnTo>
                  <a:lnTo>
                    <a:pt x="750" y="1428"/>
                  </a:lnTo>
                  <a:lnTo>
                    <a:pt x="750" y="1422"/>
                  </a:lnTo>
                  <a:lnTo>
                    <a:pt x="750" y="1416"/>
                  </a:lnTo>
                  <a:lnTo>
                    <a:pt x="744" y="1416"/>
                  </a:lnTo>
                  <a:lnTo>
                    <a:pt x="744" y="1410"/>
                  </a:lnTo>
                  <a:lnTo>
                    <a:pt x="738" y="1404"/>
                  </a:lnTo>
                  <a:lnTo>
                    <a:pt x="732" y="1398"/>
                  </a:lnTo>
                  <a:lnTo>
                    <a:pt x="732" y="1392"/>
                  </a:lnTo>
                  <a:lnTo>
                    <a:pt x="726" y="1386"/>
                  </a:lnTo>
                  <a:lnTo>
                    <a:pt x="726" y="1380"/>
                  </a:lnTo>
                  <a:lnTo>
                    <a:pt x="714" y="1368"/>
                  </a:lnTo>
                  <a:lnTo>
                    <a:pt x="708" y="1368"/>
                  </a:lnTo>
                  <a:lnTo>
                    <a:pt x="684" y="1332"/>
                  </a:lnTo>
                  <a:lnTo>
                    <a:pt x="666" y="1320"/>
                  </a:lnTo>
                  <a:lnTo>
                    <a:pt x="648" y="1302"/>
                  </a:lnTo>
                  <a:lnTo>
                    <a:pt x="630" y="1314"/>
                  </a:lnTo>
                  <a:lnTo>
                    <a:pt x="624" y="1314"/>
                  </a:lnTo>
                  <a:lnTo>
                    <a:pt x="624" y="1308"/>
                  </a:lnTo>
                  <a:lnTo>
                    <a:pt x="618" y="1308"/>
                  </a:lnTo>
                  <a:lnTo>
                    <a:pt x="612" y="1284"/>
                  </a:lnTo>
                  <a:lnTo>
                    <a:pt x="606" y="1254"/>
                  </a:lnTo>
                  <a:lnTo>
                    <a:pt x="606" y="1248"/>
                  </a:lnTo>
                  <a:lnTo>
                    <a:pt x="606" y="1242"/>
                  </a:lnTo>
                  <a:lnTo>
                    <a:pt x="612" y="1242"/>
                  </a:lnTo>
                  <a:lnTo>
                    <a:pt x="618" y="1236"/>
                  </a:lnTo>
                  <a:lnTo>
                    <a:pt x="618" y="1230"/>
                  </a:lnTo>
                  <a:lnTo>
                    <a:pt x="624" y="1224"/>
                  </a:lnTo>
                  <a:lnTo>
                    <a:pt x="630" y="1224"/>
                  </a:lnTo>
                  <a:lnTo>
                    <a:pt x="636" y="1218"/>
                  </a:lnTo>
                  <a:lnTo>
                    <a:pt x="636" y="1212"/>
                  </a:lnTo>
                  <a:lnTo>
                    <a:pt x="612" y="1200"/>
                  </a:lnTo>
                  <a:lnTo>
                    <a:pt x="606" y="1182"/>
                  </a:lnTo>
                  <a:lnTo>
                    <a:pt x="672" y="1182"/>
                  </a:lnTo>
                  <a:lnTo>
                    <a:pt x="690" y="1170"/>
                  </a:lnTo>
                  <a:lnTo>
                    <a:pt x="690" y="1152"/>
                  </a:lnTo>
                  <a:lnTo>
                    <a:pt x="678" y="1110"/>
                  </a:lnTo>
                  <a:lnTo>
                    <a:pt x="672" y="1092"/>
                  </a:lnTo>
                  <a:lnTo>
                    <a:pt x="660" y="1074"/>
                  </a:lnTo>
                  <a:lnTo>
                    <a:pt x="648" y="1068"/>
                  </a:lnTo>
                  <a:lnTo>
                    <a:pt x="642" y="1068"/>
                  </a:lnTo>
                  <a:lnTo>
                    <a:pt x="636" y="1062"/>
                  </a:lnTo>
                  <a:lnTo>
                    <a:pt x="624" y="1056"/>
                  </a:lnTo>
                  <a:lnTo>
                    <a:pt x="624" y="1050"/>
                  </a:lnTo>
                  <a:lnTo>
                    <a:pt x="618" y="1038"/>
                  </a:lnTo>
                  <a:lnTo>
                    <a:pt x="612" y="1038"/>
                  </a:lnTo>
                  <a:lnTo>
                    <a:pt x="612" y="1032"/>
                  </a:lnTo>
                  <a:lnTo>
                    <a:pt x="612" y="1026"/>
                  </a:lnTo>
                  <a:lnTo>
                    <a:pt x="600" y="1014"/>
                  </a:lnTo>
                  <a:lnTo>
                    <a:pt x="582" y="1008"/>
                  </a:lnTo>
                  <a:lnTo>
                    <a:pt x="576" y="1002"/>
                  </a:lnTo>
                  <a:lnTo>
                    <a:pt x="576" y="996"/>
                  </a:lnTo>
                  <a:lnTo>
                    <a:pt x="570" y="996"/>
                  </a:lnTo>
                  <a:lnTo>
                    <a:pt x="570" y="990"/>
                  </a:lnTo>
                  <a:lnTo>
                    <a:pt x="570" y="984"/>
                  </a:lnTo>
                  <a:lnTo>
                    <a:pt x="564" y="984"/>
                  </a:lnTo>
                  <a:lnTo>
                    <a:pt x="558" y="978"/>
                  </a:lnTo>
                  <a:lnTo>
                    <a:pt x="552" y="972"/>
                  </a:lnTo>
                  <a:lnTo>
                    <a:pt x="552" y="966"/>
                  </a:lnTo>
                  <a:lnTo>
                    <a:pt x="546" y="972"/>
                  </a:lnTo>
                  <a:lnTo>
                    <a:pt x="540" y="972"/>
                  </a:lnTo>
                  <a:lnTo>
                    <a:pt x="534" y="960"/>
                  </a:lnTo>
                  <a:lnTo>
                    <a:pt x="528" y="960"/>
                  </a:lnTo>
                  <a:lnTo>
                    <a:pt x="528" y="966"/>
                  </a:lnTo>
                  <a:lnTo>
                    <a:pt x="516" y="954"/>
                  </a:lnTo>
                  <a:lnTo>
                    <a:pt x="516" y="948"/>
                  </a:lnTo>
                  <a:lnTo>
                    <a:pt x="510" y="948"/>
                  </a:lnTo>
                  <a:lnTo>
                    <a:pt x="504" y="948"/>
                  </a:lnTo>
                  <a:lnTo>
                    <a:pt x="498" y="948"/>
                  </a:lnTo>
                  <a:lnTo>
                    <a:pt x="504" y="954"/>
                  </a:lnTo>
                  <a:lnTo>
                    <a:pt x="498" y="954"/>
                  </a:lnTo>
                  <a:lnTo>
                    <a:pt x="492" y="954"/>
                  </a:lnTo>
                  <a:lnTo>
                    <a:pt x="480" y="942"/>
                  </a:lnTo>
                  <a:lnTo>
                    <a:pt x="480" y="948"/>
                  </a:lnTo>
                  <a:lnTo>
                    <a:pt x="480" y="954"/>
                  </a:lnTo>
                  <a:lnTo>
                    <a:pt x="474" y="954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56" y="966"/>
                  </a:lnTo>
                  <a:lnTo>
                    <a:pt x="456" y="960"/>
                  </a:lnTo>
                  <a:lnTo>
                    <a:pt x="450" y="966"/>
                  </a:lnTo>
                  <a:lnTo>
                    <a:pt x="444" y="966"/>
                  </a:lnTo>
                  <a:lnTo>
                    <a:pt x="414" y="966"/>
                  </a:lnTo>
                  <a:lnTo>
                    <a:pt x="408" y="960"/>
                  </a:lnTo>
                  <a:lnTo>
                    <a:pt x="408" y="966"/>
                  </a:lnTo>
                  <a:lnTo>
                    <a:pt x="402" y="960"/>
                  </a:lnTo>
                  <a:lnTo>
                    <a:pt x="396" y="960"/>
                  </a:lnTo>
                  <a:lnTo>
                    <a:pt x="390" y="960"/>
                  </a:lnTo>
                  <a:lnTo>
                    <a:pt x="390" y="966"/>
                  </a:lnTo>
                  <a:lnTo>
                    <a:pt x="384" y="966"/>
                  </a:lnTo>
                  <a:lnTo>
                    <a:pt x="378" y="966"/>
                  </a:lnTo>
                  <a:lnTo>
                    <a:pt x="384" y="960"/>
                  </a:lnTo>
                  <a:lnTo>
                    <a:pt x="384" y="954"/>
                  </a:lnTo>
                  <a:lnTo>
                    <a:pt x="372" y="948"/>
                  </a:lnTo>
                  <a:lnTo>
                    <a:pt x="372" y="954"/>
                  </a:lnTo>
                  <a:lnTo>
                    <a:pt x="372" y="960"/>
                  </a:lnTo>
                  <a:lnTo>
                    <a:pt x="366" y="960"/>
                  </a:lnTo>
                  <a:lnTo>
                    <a:pt x="360" y="966"/>
                  </a:lnTo>
                  <a:lnTo>
                    <a:pt x="354" y="966"/>
                  </a:lnTo>
                  <a:lnTo>
                    <a:pt x="348" y="960"/>
                  </a:lnTo>
                  <a:lnTo>
                    <a:pt x="342" y="960"/>
                  </a:lnTo>
                  <a:lnTo>
                    <a:pt x="342" y="966"/>
                  </a:lnTo>
                  <a:lnTo>
                    <a:pt x="336" y="972"/>
                  </a:lnTo>
                  <a:lnTo>
                    <a:pt x="330" y="972"/>
                  </a:lnTo>
                  <a:lnTo>
                    <a:pt x="324" y="966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6" y="954"/>
                  </a:lnTo>
                  <a:lnTo>
                    <a:pt x="306" y="948"/>
                  </a:lnTo>
                  <a:lnTo>
                    <a:pt x="306" y="942"/>
                  </a:lnTo>
                  <a:lnTo>
                    <a:pt x="300" y="942"/>
                  </a:lnTo>
                  <a:lnTo>
                    <a:pt x="294" y="936"/>
                  </a:lnTo>
                  <a:lnTo>
                    <a:pt x="288" y="936"/>
                  </a:lnTo>
                  <a:lnTo>
                    <a:pt x="282" y="942"/>
                  </a:lnTo>
                  <a:lnTo>
                    <a:pt x="276" y="936"/>
                  </a:lnTo>
                  <a:lnTo>
                    <a:pt x="276" y="942"/>
                  </a:lnTo>
                  <a:lnTo>
                    <a:pt x="270" y="942"/>
                  </a:lnTo>
                  <a:lnTo>
                    <a:pt x="264" y="936"/>
                  </a:lnTo>
                  <a:lnTo>
                    <a:pt x="252" y="936"/>
                  </a:lnTo>
                  <a:lnTo>
                    <a:pt x="246" y="936"/>
                  </a:lnTo>
                  <a:lnTo>
                    <a:pt x="240" y="936"/>
                  </a:lnTo>
                  <a:lnTo>
                    <a:pt x="234" y="936"/>
                  </a:lnTo>
                  <a:lnTo>
                    <a:pt x="240" y="924"/>
                  </a:lnTo>
                  <a:lnTo>
                    <a:pt x="234" y="924"/>
                  </a:lnTo>
                  <a:lnTo>
                    <a:pt x="228" y="918"/>
                  </a:lnTo>
                  <a:lnTo>
                    <a:pt x="228" y="906"/>
                  </a:lnTo>
                  <a:lnTo>
                    <a:pt x="222" y="900"/>
                  </a:lnTo>
                  <a:lnTo>
                    <a:pt x="216" y="900"/>
                  </a:lnTo>
                  <a:lnTo>
                    <a:pt x="210" y="900"/>
                  </a:lnTo>
                  <a:lnTo>
                    <a:pt x="210" y="906"/>
                  </a:lnTo>
                  <a:lnTo>
                    <a:pt x="204" y="906"/>
                  </a:lnTo>
                  <a:lnTo>
                    <a:pt x="198" y="906"/>
                  </a:lnTo>
                  <a:lnTo>
                    <a:pt x="210" y="900"/>
                  </a:lnTo>
                  <a:lnTo>
                    <a:pt x="210" y="894"/>
                  </a:lnTo>
                  <a:lnTo>
                    <a:pt x="216" y="888"/>
                  </a:lnTo>
                  <a:lnTo>
                    <a:pt x="204" y="882"/>
                  </a:lnTo>
                  <a:lnTo>
                    <a:pt x="204" y="894"/>
                  </a:lnTo>
                  <a:lnTo>
                    <a:pt x="198" y="894"/>
                  </a:lnTo>
                  <a:lnTo>
                    <a:pt x="192" y="900"/>
                  </a:lnTo>
                  <a:lnTo>
                    <a:pt x="186" y="894"/>
                  </a:lnTo>
                  <a:lnTo>
                    <a:pt x="180" y="894"/>
                  </a:lnTo>
                  <a:lnTo>
                    <a:pt x="174" y="894"/>
                  </a:lnTo>
                  <a:lnTo>
                    <a:pt x="168" y="900"/>
                  </a:lnTo>
                  <a:lnTo>
                    <a:pt x="162" y="906"/>
                  </a:lnTo>
                  <a:lnTo>
                    <a:pt x="156" y="906"/>
                  </a:lnTo>
                  <a:lnTo>
                    <a:pt x="150" y="900"/>
                  </a:lnTo>
                  <a:lnTo>
                    <a:pt x="144" y="894"/>
                  </a:lnTo>
                  <a:lnTo>
                    <a:pt x="138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0" y="888"/>
                  </a:lnTo>
                  <a:lnTo>
                    <a:pt x="114" y="894"/>
                  </a:lnTo>
                  <a:lnTo>
                    <a:pt x="120" y="900"/>
                  </a:lnTo>
                  <a:lnTo>
                    <a:pt x="126" y="900"/>
                  </a:lnTo>
                  <a:lnTo>
                    <a:pt x="132" y="900"/>
                  </a:lnTo>
                  <a:lnTo>
                    <a:pt x="132" y="906"/>
                  </a:lnTo>
                  <a:lnTo>
                    <a:pt x="126" y="912"/>
                  </a:lnTo>
                  <a:lnTo>
                    <a:pt x="126" y="918"/>
                  </a:lnTo>
                  <a:lnTo>
                    <a:pt x="114" y="918"/>
                  </a:lnTo>
                  <a:lnTo>
                    <a:pt x="108" y="924"/>
                  </a:lnTo>
                  <a:lnTo>
                    <a:pt x="102" y="924"/>
                  </a:lnTo>
                  <a:lnTo>
                    <a:pt x="90" y="924"/>
                  </a:lnTo>
                  <a:lnTo>
                    <a:pt x="84" y="924"/>
                  </a:lnTo>
                  <a:lnTo>
                    <a:pt x="78" y="924"/>
                  </a:lnTo>
                  <a:lnTo>
                    <a:pt x="60" y="924"/>
                  </a:lnTo>
                  <a:lnTo>
                    <a:pt x="54" y="942"/>
                  </a:lnTo>
                  <a:lnTo>
                    <a:pt x="48" y="936"/>
                  </a:lnTo>
                  <a:lnTo>
                    <a:pt x="42" y="930"/>
                  </a:lnTo>
                  <a:lnTo>
                    <a:pt x="36" y="930"/>
                  </a:lnTo>
                  <a:lnTo>
                    <a:pt x="30" y="936"/>
                  </a:lnTo>
                  <a:lnTo>
                    <a:pt x="30" y="930"/>
                  </a:lnTo>
                  <a:lnTo>
                    <a:pt x="30" y="924"/>
                  </a:lnTo>
                  <a:lnTo>
                    <a:pt x="18" y="918"/>
                  </a:lnTo>
                  <a:lnTo>
                    <a:pt x="18" y="912"/>
                  </a:lnTo>
                  <a:lnTo>
                    <a:pt x="12" y="912"/>
                  </a:lnTo>
                  <a:lnTo>
                    <a:pt x="6" y="912"/>
                  </a:lnTo>
                  <a:lnTo>
                    <a:pt x="6" y="900"/>
                  </a:lnTo>
                  <a:lnTo>
                    <a:pt x="6" y="894"/>
                  </a:lnTo>
                  <a:lnTo>
                    <a:pt x="0" y="870"/>
                  </a:lnTo>
                  <a:lnTo>
                    <a:pt x="6" y="846"/>
                  </a:lnTo>
                  <a:lnTo>
                    <a:pt x="6" y="810"/>
                  </a:lnTo>
                  <a:lnTo>
                    <a:pt x="12" y="774"/>
                  </a:lnTo>
                  <a:lnTo>
                    <a:pt x="12" y="756"/>
                  </a:lnTo>
                  <a:lnTo>
                    <a:pt x="18" y="744"/>
                  </a:lnTo>
                  <a:lnTo>
                    <a:pt x="18" y="732"/>
                  </a:lnTo>
                  <a:lnTo>
                    <a:pt x="12" y="576"/>
                  </a:lnTo>
                  <a:lnTo>
                    <a:pt x="12" y="570"/>
                  </a:lnTo>
                  <a:lnTo>
                    <a:pt x="18" y="564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42" y="552"/>
                  </a:lnTo>
                  <a:lnTo>
                    <a:pt x="66" y="552"/>
                  </a:lnTo>
                  <a:lnTo>
                    <a:pt x="78" y="558"/>
                  </a:lnTo>
                  <a:lnTo>
                    <a:pt x="90" y="558"/>
                  </a:lnTo>
                  <a:lnTo>
                    <a:pt x="108" y="558"/>
                  </a:lnTo>
                  <a:lnTo>
                    <a:pt x="144" y="558"/>
                  </a:lnTo>
                  <a:lnTo>
                    <a:pt x="204" y="552"/>
                  </a:lnTo>
                  <a:lnTo>
                    <a:pt x="210" y="558"/>
                  </a:lnTo>
                  <a:lnTo>
                    <a:pt x="216" y="558"/>
                  </a:lnTo>
                  <a:lnTo>
                    <a:pt x="210" y="564"/>
                  </a:lnTo>
                  <a:lnTo>
                    <a:pt x="216" y="564"/>
                  </a:lnTo>
                  <a:lnTo>
                    <a:pt x="222" y="564"/>
                  </a:lnTo>
                  <a:lnTo>
                    <a:pt x="240" y="564"/>
                  </a:lnTo>
                  <a:lnTo>
                    <a:pt x="258" y="564"/>
                  </a:lnTo>
                  <a:lnTo>
                    <a:pt x="264" y="570"/>
                  </a:lnTo>
                  <a:lnTo>
                    <a:pt x="276" y="570"/>
                  </a:lnTo>
                  <a:lnTo>
                    <a:pt x="282" y="564"/>
                  </a:lnTo>
                  <a:lnTo>
                    <a:pt x="294" y="564"/>
                  </a:lnTo>
                  <a:lnTo>
                    <a:pt x="294" y="570"/>
                  </a:lnTo>
                  <a:lnTo>
                    <a:pt x="300" y="570"/>
                  </a:lnTo>
                  <a:lnTo>
                    <a:pt x="378" y="564"/>
                  </a:lnTo>
                  <a:lnTo>
                    <a:pt x="408" y="558"/>
                  </a:lnTo>
                  <a:lnTo>
                    <a:pt x="432" y="552"/>
                  </a:lnTo>
                  <a:lnTo>
                    <a:pt x="450" y="546"/>
                  </a:lnTo>
                  <a:lnTo>
                    <a:pt x="468" y="546"/>
                  </a:lnTo>
                  <a:lnTo>
                    <a:pt x="468" y="552"/>
                  </a:lnTo>
                  <a:lnTo>
                    <a:pt x="504" y="552"/>
                  </a:lnTo>
                  <a:lnTo>
                    <a:pt x="510" y="534"/>
                  </a:lnTo>
                  <a:lnTo>
                    <a:pt x="516" y="510"/>
                  </a:lnTo>
                  <a:lnTo>
                    <a:pt x="522" y="510"/>
                  </a:lnTo>
                  <a:lnTo>
                    <a:pt x="528" y="420"/>
                  </a:lnTo>
                  <a:lnTo>
                    <a:pt x="522" y="414"/>
                  </a:lnTo>
                  <a:lnTo>
                    <a:pt x="516" y="396"/>
                  </a:lnTo>
                  <a:lnTo>
                    <a:pt x="510" y="372"/>
                  </a:lnTo>
                  <a:lnTo>
                    <a:pt x="498" y="348"/>
                  </a:lnTo>
                  <a:lnTo>
                    <a:pt x="474" y="282"/>
                  </a:lnTo>
                  <a:lnTo>
                    <a:pt x="474" y="270"/>
                  </a:lnTo>
                  <a:lnTo>
                    <a:pt x="480" y="258"/>
                  </a:lnTo>
                  <a:lnTo>
                    <a:pt x="486" y="258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92" y="246"/>
                  </a:lnTo>
                  <a:lnTo>
                    <a:pt x="504" y="234"/>
                  </a:lnTo>
                  <a:lnTo>
                    <a:pt x="510" y="228"/>
                  </a:lnTo>
                  <a:lnTo>
                    <a:pt x="516" y="228"/>
                  </a:lnTo>
                  <a:lnTo>
                    <a:pt x="516" y="222"/>
                  </a:lnTo>
                  <a:lnTo>
                    <a:pt x="516" y="216"/>
                  </a:lnTo>
                  <a:lnTo>
                    <a:pt x="522" y="216"/>
                  </a:lnTo>
                  <a:lnTo>
                    <a:pt x="528" y="210"/>
                  </a:lnTo>
                  <a:lnTo>
                    <a:pt x="534" y="210"/>
                  </a:lnTo>
                  <a:lnTo>
                    <a:pt x="540" y="210"/>
                  </a:lnTo>
                  <a:lnTo>
                    <a:pt x="546" y="210"/>
                  </a:lnTo>
                  <a:lnTo>
                    <a:pt x="552" y="210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16"/>
                  </a:lnTo>
                  <a:lnTo>
                    <a:pt x="588" y="228"/>
                  </a:lnTo>
                  <a:lnTo>
                    <a:pt x="594" y="234"/>
                  </a:lnTo>
                  <a:lnTo>
                    <a:pt x="600" y="240"/>
                  </a:lnTo>
                  <a:lnTo>
                    <a:pt x="618" y="246"/>
                  </a:lnTo>
                  <a:lnTo>
                    <a:pt x="624" y="246"/>
                  </a:lnTo>
                  <a:lnTo>
                    <a:pt x="636" y="252"/>
                  </a:lnTo>
                  <a:lnTo>
                    <a:pt x="654" y="252"/>
                  </a:lnTo>
                  <a:lnTo>
                    <a:pt x="654" y="258"/>
                  </a:lnTo>
                  <a:lnTo>
                    <a:pt x="666" y="264"/>
                  </a:lnTo>
                  <a:lnTo>
                    <a:pt x="672" y="264"/>
                  </a:lnTo>
                  <a:lnTo>
                    <a:pt x="678" y="264"/>
                  </a:lnTo>
                  <a:lnTo>
                    <a:pt x="696" y="258"/>
                  </a:lnTo>
                  <a:lnTo>
                    <a:pt x="696" y="252"/>
                  </a:lnTo>
                  <a:lnTo>
                    <a:pt x="696" y="246"/>
                  </a:lnTo>
                  <a:lnTo>
                    <a:pt x="690" y="234"/>
                  </a:lnTo>
                  <a:lnTo>
                    <a:pt x="684" y="210"/>
                  </a:lnTo>
                  <a:lnTo>
                    <a:pt x="678" y="192"/>
                  </a:lnTo>
                  <a:lnTo>
                    <a:pt x="672" y="174"/>
                  </a:lnTo>
                  <a:lnTo>
                    <a:pt x="672" y="168"/>
                  </a:lnTo>
                  <a:lnTo>
                    <a:pt x="672" y="162"/>
                  </a:lnTo>
                  <a:lnTo>
                    <a:pt x="672" y="156"/>
                  </a:lnTo>
                  <a:lnTo>
                    <a:pt x="684" y="132"/>
                  </a:lnTo>
                  <a:lnTo>
                    <a:pt x="684" y="120"/>
                  </a:lnTo>
                  <a:lnTo>
                    <a:pt x="684" y="108"/>
                  </a:lnTo>
                  <a:lnTo>
                    <a:pt x="678" y="102"/>
                  </a:lnTo>
                  <a:lnTo>
                    <a:pt x="678" y="96"/>
                  </a:lnTo>
                  <a:lnTo>
                    <a:pt x="684" y="96"/>
                  </a:lnTo>
                  <a:lnTo>
                    <a:pt x="696" y="90"/>
                  </a:lnTo>
                  <a:lnTo>
                    <a:pt x="702" y="84"/>
                  </a:lnTo>
                  <a:lnTo>
                    <a:pt x="720" y="72"/>
                  </a:lnTo>
                  <a:lnTo>
                    <a:pt x="738" y="66"/>
                  </a:lnTo>
                  <a:lnTo>
                    <a:pt x="756" y="60"/>
                  </a:lnTo>
                  <a:lnTo>
                    <a:pt x="768" y="60"/>
                  </a:lnTo>
                  <a:lnTo>
                    <a:pt x="798" y="72"/>
                  </a:lnTo>
                  <a:lnTo>
                    <a:pt x="804" y="78"/>
                  </a:lnTo>
                  <a:lnTo>
                    <a:pt x="816" y="84"/>
                  </a:lnTo>
                  <a:lnTo>
                    <a:pt x="822" y="84"/>
                  </a:lnTo>
                  <a:lnTo>
                    <a:pt x="828" y="72"/>
                  </a:lnTo>
                  <a:lnTo>
                    <a:pt x="828" y="60"/>
                  </a:lnTo>
                  <a:lnTo>
                    <a:pt x="828" y="36"/>
                  </a:lnTo>
                  <a:lnTo>
                    <a:pt x="828" y="24"/>
                  </a:lnTo>
                  <a:lnTo>
                    <a:pt x="828" y="12"/>
                  </a:lnTo>
                  <a:lnTo>
                    <a:pt x="834" y="12"/>
                  </a:lnTo>
                  <a:lnTo>
                    <a:pt x="852" y="6"/>
                  </a:lnTo>
                  <a:lnTo>
                    <a:pt x="876" y="6"/>
                  </a:lnTo>
                  <a:lnTo>
                    <a:pt x="894" y="6"/>
                  </a:lnTo>
                  <a:lnTo>
                    <a:pt x="906" y="12"/>
                  </a:lnTo>
                  <a:lnTo>
                    <a:pt x="912" y="24"/>
                  </a:lnTo>
                  <a:lnTo>
                    <a:pt x="924" y="24"/>
                  </a:lnTo>
                  <a:lnTo>
                    <a:pt x="930" y="30"/>
                  </a:lnTo>
                  <a:lnTo>
                    <a:pt x="936" y="30"/>
                  </a:lnTo>
                  <a:lnTo>
                    <a:pt x="936" y="36"/>
                  </a:lnTo>
                  <a:lnTo>
                    <a:pt x="942" y="36"/>
                  </a:lnTo>
                  <a:lnTo>
                    <a:pt x="948" y="42"/>
                  </a:lnTo>
                  <a:lnTo>
                    <a:pt x="960" y="48"/>
                  </a:lnTo>
                  <a:lnTo>
                    <a:pt x="966" y="48"/>
                  </a:lnTo>
                  <a:lnTo>
                    <a:pt x="1026" y="60"/>
                  </a:lnTo>
                  <a:lnTo>
                    <a:pt x="1050" y="60"/>
                  </a:lnTo>
                  <a:lnTo>
                    <a:pt x="1050" y="54"/>
                  </a:lnTo>
                  <a:lnTo>
                    <a:pt x="1062" y="54"/>
                  </a:lnTo>
                  <a:lnTo>
                    <a:pt x="1074" y="48"/>
                  </a:lnTo>
                  <a:lnTo>
                    <a:pt x="1086" y="42"/>
                  </a:lnTo>
                  <a:lnTo>
                    <a:pt x="1104" y="36"/>
                  </a:lnTo>
                  <a:lnTo>
                    <a:pt x="1116" y="30"/>
                  </a:lnTo>
                  <a:lnTo>
                    <a:pt x="1122" y="24"/>
                  </a:lnTo>
                  <a:lnTo>
                    <a:pt x="1128" y="18"/>
                  </a:lnTo>
                  <a:lnTo>
                    <a:pt x="1134" y="18"/>
                  </a:lnTo>
                  <a:lnTo>
                    <a:pt x="1140" y="12"/>
                  </a:lnTo>
                  <a:lnTo>
                    <a:pt x="1146" y="6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24"/>
                  </a:lnTo>
                  <a:lnTo>
                    <a:pt x="1176" y="36"/>
                  </a:lnTo>
                  <a:lnTo>
                    <a:pt x="1188" y="42"/>
                  </a:lnTo>
                  <a:lnTo>
                    <a:pt x="1200" y="54"/>
                  </a:lnTo>
                  <a:lnTo>
                    <a:pt x="1224" y="84"/>
                  </a:lnTo>
                  <a:lnTo>
                    <a:pt x="1224" y="90"/>
                  </a:lnTo>
                  <a:lnTo>
                    <a:pt x="1236" y="96"/>
                  </a:lnTo>
                  <a:lnTo>
                    <a:pt x="1236" y="108"/>
                  </a:lnTo>
                  <a:lnTo>
                    <a:pt x="1248" y="114"/>
                  </a:lnTo>
                  <a:lnTo>
                    <a:pt x="1254" y="114"/>
                  </a:lnTo>
                  <a:lnTo>
                    <a:pt x="1260" y="114"/>
                  </a:lnTo>
                  <a:lnTo>
                    <a:pt x="1296" y="114"/>
                  </a:lnTo>
                  <a:lnTo>
                    <a:pt x="1302" y="114"/>
                  </a:lnTo>
                  <a:lnTo>
                    <a:pt x="1320" y="108"/>
                  </a:lnTo>
                  <a:lnTo>
                    <a:pt x="1326" y="108"/>
                  </a:lnTo>
                  <a:lnTo>
                    <a:pt x="1326" y="138"/>
                  </a:lnTo>
                  <a:lnTo>
                    <a:pt x="1326" y="210"/>
                  </a:lnTo>
                  <a:lnTo>
                    <a:pt x="1320" y="252"/>
                  </a:lnTo>
                  <a:lnTo>
                    <a:pt x="1320" y="270"/>
                  </a:lnTo>
                  <a:lnTo>
                    <a:pt x="1320" y="288"/>
                  </a:lnTo>
                  <a:lnTo>
                    <a:pt x="1320" y="318"/>
                  </a:lnTo>
                  <a:lnTo>
                    <a:pt x="1326" y="354"/>
                  </a:lnTo>
                  <a:lnTo>
                    <a:pt x="1326" y="372"/>
                  </a:lnTo>
                  <a:lnTo>
                    <a:pt x="1332" y="420"/>
                  </a:lnTo>
                  <a:lnTo>
                    <a:pt x="1332" y="450"/>
                  </a:lnTo>
                  <a:lnTo>
                    <a:pt x="1338" y="480"/>
                  </a:lnTo>
                  <a:lnTo>
                    <a:pt x="1344" y="486"/>
                  </a:lnTo>
                  <a:lnTo>
                    <a:pt x="1338" y="492"/>
                  </a:lnTo>
                  <a:lnTo>
                    <a:pt x="1344" y="492"/>
                  </a:lnTo>
                  <a:lnTo>
                    <a:pt x="1344" y="498"/>
                  </a:lnTo>
                  <a:lnTo>
                    <a:pt x="1350" y="498"/>
                  </a:lnTo>
                  <a:lnTo>
                    <a:pt x="1350" y="522"/>
                  </a:lnTo>
                  <a:lnTo>
                    <a:pt x="1362" y="564"/>
                  </a:lnTo>
                  <a:lnTo>
                    <a:pt x="1368" y="582"/>
                  </a:lnTo>
                  <a:lnTo>
                    <a:pt x="1380" y="600"/>
                  </a:lnTo>
                  <a:lnTo>
                    <a:pt x="1386" y="636"/>
                  </a:lnTo>
                  <a:lnTo>
                    <a:pt x="1380" y="660"/>
                  </a:lnTo>
                  <a:lnTo>
                    <a:pt x="1380" y="678"/>
                  </a:lnTo>
                  <a:lnTo>
                    <a:pt x="1380" y="684"/>
                  </a:lnTo>
                  <a:lnTo>
                    <a:pt x="1374" y="684"/>
                  </a:lnTo>
                  <a:lnTo>
                    <a:pt x="1368" y="690"/>
                  </a:lnTo>
                  <a:lnTo>
                    <a:pt x="1356" y="702"/>
                  </a:lnTo>
                  <a:lnTo>
                    <a:pt x="1350" y="708"/>
                  </a:lnTo>
                  <a:lnTo>
                    <a:pt x="1356" y="714"/>
                  </a:lnTo>
                  <a:lnTo>
                    <a:pt x="1368" y="726"/>
                  </a:lnTo>
                  <a:lnTo>
                    <a:pt x="1380" y="738"/>
                  </a:lnTo>
                  <a:lnTo>
                    <a:pt x="1386" y="744"/>
                  </a:lnTo>
                  <a:lnTo>
                    <a:pt x="1392" y="744"/>
                  </a:lnTo>
                  <a:lnTo>
                    <a:pt x="1410" y="750"/>
                  </a:lnTo>
                  <a:lnTo>
                    <a:pt x="1416" y="756"/>
                  </a:lnTo>
                  <a:lnTo>
                    <a:pt x="1422" y="756"/>
                  </a:lnTo>
                  <a:lnTo>
                    <a:pt x="1422" y="762"/>
                  </a:lnTo>
                  <a:lnTo>
                    <a:pt x="1428" y="774"/>
                  </a:lnTo>
                  <a:lnTo>
                    <a:pt x="1428" y="780"/>
                  </a:lnTo>
                  <a:lnTo>
                    <a:pt x="1434" y="780"/>
                  </a:lnTo>
                  <a:lnTo>
                    <a:pt x="1440" y="798"/>
                  </a:lnTo>
                  <a:lnTo>
                    <a:pt x="1422" y="816"/>
                  </a:lnTo>
                  <a:lnTo>
                    <a:pt x="1386" y="810"/>
                  </a:lnTo>
                  <a:lnTo>
                    <a:pt x="1380" y="816"/>
                  </a:lnTo>
                  <a:lnTo>
                    <a:pt x="1374" y="840"/>
                  </a:lnTo>
                  <a:lnTo>
                    <a:pt x="1350" y="852"/>
                  </a:lnTo>
                  <a:lnTo>
                    <a:pt x="1350" y="858"/>
                  </a:lnTo>
                  <a:lnTo>
                    <a:pt x="1350" y="864"/>
                  </a:lnTo>
                  <a:lnTo>
                    <a:pt x="1344" y="864"/>
                  </a:lnTo>
                  <a:lnTo>
                    <a:pt x="1338" y="870"/>
                  </a:lnTo>
                  <a:lnTo>
                    <a:pt x="1332" y="876"/>
                  </a:lnTo>
                  <a:lnTo>
                    <a:pt x="1314" y="876"/>
                  </a:lnTo>
                  <a:lnTo>
                    <a:pt x="1314" y="870"/>
                  </a:lnTo>
                  <a:lnTo>
                    <a:pt x="1308" y="870"/>
                  </a:lnTo>
                  <a:lnTo>
                    <a:pt x="1302" y="864"/>
                  </a:lnTo>
                  <a:lnTo>
                    <a:pt x="1296" y="864"/>
                  </a:lnTo>
                  <a:lnTo>
                    <a:pt x="1284" y="870"/>
                  </a:lnTo>
                  <a:lnTo>
                    <a:pt x="1266" y="870"/>
                  </a:lnTo>
                  <a:lnTo>
                    <a:pt x="1260" y="870"/>
                  </a:lnTo>
                  <a:lnTo>
                    <a:pt x="1248" y="876"/>
                  </a:lnTo>
                  <a:lnTo>
                    <a:pt x="1236" y="876"/>
                  </a:lnTo>
                  <a:lnTo>
                    <a:pt x="1230" y="882"/>
                  </a:lnTo>
                  <a:lnTo>
                    <a:pt x="1224" y="894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18" y="942"/>
                  </a:lnTo>
                  <a:lnTo>
                    <a:pt x="1212" y="948"/>
                  </a:lnTo>
                  <a:lnTo>
                    <a:pt x="1200" y="984"/>
                  </a:lnTo>
                  <a:lnTo>
                    <a:pt x="1194" y="1008"/>
                  </a:lnTo>
                  <a:lnTo>
                    <a:pt x="1218" y="1038"/>
                  </a:lnTo>
                  <a:lnTo>
                    <a:pt x="1224" y="1044"/>
                  </a:lnTo>
                  <a:lnTo>
                    <a:pt x="1224" y="1062"/>
                  </a:lnTo>
                  <a:lnTo>
                    <a:pt x="1236" y="1080"/>
                  </a:lnTo>
                  <a:lnTo>
                    <a:pt x="1236" y="1086"/>
                  </a:lnTo>
                  <a:lnTo>
                    <a:pt x="1230" y="1092"/>
                  </a:lnTo>
                  <a:lnTo>
                    <a:pt x="1224" y="1110"/>
                  </a:lnTo>
                  <a:lnTo>
                    <a:pt x="1218" y="1122"/>
                  </a:lnTo>
                  <a:lnTo>
                    <a:pt x="1224" y="1140"/>
                  </a:lnTo>
                  <a:lnTo>
                    <a:pt x="1218" y="1146"/>
                  </a:lnTo>
                  <a:lnTo>
                    <a:pt x="1218" y="1152"/>
                  </a:lnTo>
                  <a:lnTo>
                    <a:pt x="1212" y="116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1" name="Freeform 36">
              <a:extLst>
                <a:ext uri="{FF2B5EF4-FFF2-40B4-BE49-F238E27FC236}">
                  <a16:creationId xmlns:a16="http://schemas.microsoft.com/office/drawing/2014/main" id="{B9C0D6BE-CB1C-4E69-B224-1ABF097AA8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90208" y="1647855"/>
              <a:ext cx="742415" cy="758173"/>
            </a:xfrm>
            <a:custGeom>
              <a:avLst/>
              <a:gdLst>
                <a:gd name="T0" fmla="*/ 75 w 1398"/>
                <a:gd name="T1" fmla="*/ 48 h 1428"/>
                <a:gd name="T2" fmla="*/ 68 w 1398"/>
                <a:gd name="T3" fmla="*/ 54 h 1428"/>
                <a:gd name="T4" fmla="*/ 57 w 1398"/>
                <a:gd name="T5" fmla="*/ 59 h 1428"/>
                <a:gd name="T6" fmla="*/ 55 w 1398"/>
                <a:gd name="T7" fmla="*/ 68 h 1428"/>
                <a:gd name="T8" fmla="*/ 55 w 1398"/>
                <a:gd name="T9" fmla="*/ 77 h 1428"/>
                <a:gd name="T10" fmla="*/ 57 w 1398"/>
                <a:gd name="T11" fmla="*/ 81 h 1428"/>
                <a:gd name="T12" fmla="*/ 56 w 1398"/>
                <a:gd name="T13" fmla="*/ 86 h 1428"/>
                <a:gd name="T14" fmla="*/ 57 w 1398"/>
                <a:gd name="T15" fmla="*/ 89 h 1428"/>
                <a:gd name="T16" fmla="*/ 58 w 1398"/>
                <a:gd name="T17" fmla="*/ 92 h 1428"/>
                <a:gd name="T18" fmla="*/ 58 w 1398"/>
                <a:gd name="T19" fmla="*/ 96 h 1428"/>
                <a:gd name="T20" fmla="*/ 49 w 1398"/>
                <a:gd name="T21" fmla="*/ 100 h 1428"/>
                <a:gd name="T22" fmla="*/ 47 w 1398"/>
                <a:gd name="T23" fmla="*/ 108 h 1428"/>
                <a:gd name="T24" fmla="*/ 48 w 1398"/>
                <a:gd name="T25" fmla="*/ 113 h 1428"/>
                <a:gd name="T26" fmla="*/ 43 w 1398"/>
                <a:gd name="T27" fmla="*/ 114 h 1428"/>
                <a:gd name="T28" fmla="*/ 39 w 1398"/>
                <a:gd name="T29" fmla="*/ 113 h 1428"/>
                <a:gd name="T30" fmla="*/ 33 w 1398"/>
                <a:gd name="T31" fmla="*/ 109 h 1428"/>
                <a:gd name="T32" fmla="*/ 29 w 1398"/>
                <a:gd name="T33" fmla="*/ 114 h 1428"/>
                <a:gd name="T34" fmla="*/ 22 w 1398"/>
                <a:gd name="T35" fmla="*/ 115 h 1428"/>
                <a:gd name="T36" fmla="*/ 21 w 1398"/>
                <a:gd name="T37" fmla="*/ 121 h 1428"/>
                <a:gd name="T38" fmla="*/ 12 w 1398"/>
                <a:gd name="T39" fmla="*/ 119 h 1428"/>
                <a:gd name="T40" fmla="*/ 9 w 1398"/>
                <a:gd name="T41" fmla="*/ 113 h 1428"/>
                <a:gd name="T42" fmla="*/ 2 w 1398"/>
                <a:gd name="T43" fmla="*/ 109 h 1428"/>
                <a:gd name="T44" fmla="*/ 4 w 1398"/>
                <a:gd name="T45" fmla="*/ 103 h 1428"/>
                <a:gd name="T46" fmla="*/ 2 w 1398"/>
                <a:gd name="T47" fmla="*/ 91 h 1428"/>
                <a:gd name="T48" fmla="*/ 6 w 1398"/>
                <a:gd name="T49" fmla="*/ 85 h 1428"/>
                <a:gd name="T50" fmla="*/ 10 w 1398"/>
                <a:gd name="T51" fmla="*/ 85 h 1428"/>
                <a:gd name="T52" fmla="*/ 15 w 1398"/>
                <a:gd name="T53" fmla="*/ 82 h 1428"/>
                <a:gd name="T54" fmla="*/ 20 w 1398"/>
                <a:gd name="T55" fmla="*/ 77 h 1428"/>
                <a:gd name="T56" fmla="*/ 16 w 1398"/>
                <a:gd name="T57" fmla="*/ 73 h 1428"/>
                <a:gd name="T58" fmla="*/ 16 w 1398"/>
                <a:gd name="T59" fmla="*/ 69 h 1428"/>
                <a:gd name="T60" fmla="*/ 14 w 1398"/>
                <a:gd name="T61" fmla="*/ 54 h 1428"/>
                <a:gd name="T62" fmla="*/ 12 w 1398"/>
                <a:gd name="T63" fmla="*/ 48 h 1428"/>
                <a:gd name="T64" fmla="*/ 11 w 1398"/>
                <a:gd name="T65" fmla="*/ 31 h 1428"/>
                <a:gd name="T66" fmla="*/ 14 w 1398"/>
                <a:gd name="T67" fmla="*/ 18 h 1428"/>
                <a:gd name="T68" fmla="*/ 19 w 1398"/>
                <a:gd name="T69" fmla="*/ 15 h 1428"/>
                <a:gd name="T70" fmla="*/ 26 w 1398"/>
                <a:gd name="T71" fmla="*/ 13 h 1428"/>
                <a:gd name="T72" fmla="*/ 34 w 1398"/>
                <a:gd name="T73" fmla="*/ 12 h 1428"/>
                <a:gd name="T74" fmla="*/ 39 w 1398"/>
                <a:gd name="T75" fmla="*/ 9 h 1428"/>
                <a:gd name="T76" fmla="*/ 43 w 1398"/>
                <a:gd name="T77" fmla="*/ 7 h 1428"/>
                <a:gd name="T78" fmla="*/ 48 w 1398"/>
                <a:gd name="T79" fmla="*/ 3 h 1428"/>
                <a:gd name="T80" fmla="*/ 54 w 1398"/>
                <a:gd name="T81" fmla="*/ 0 h 1428"/>
                <a:gd name="T82" fmla="*/ 58 w 1398"/>
                <a:gd name="T83" fmla="*/ 0 h 1428"/>
                <a:gd name="T84" fmla="*/ 66 w 1398"/>
                <a:gd name="T85" fmla="*/ 2 h 1428"/>
                <a:gd name="T86" fmla="*/ 70 w 1398"/>
                <a:gd name="T87" fmla="*/ 3 h 1428"/>
                <a:gd name="T88" fmla="*/ 75 w 1398"/>
                <a:gd name="T89" fmla="*/ 6 h 1428"/>
                <a:gd name="T90" fmla="*/ 80 w 1398"/>
                <a:gd name="T91" fmla="*/ 9 h 1428"/>
                <a:gd name="T92" fmla="*/ 83 w 1398"/>
                <a:gd name="T93" fmla="*/ 12 h 1428"/>
                <a:gd name="T94" fmla="*/ 87 w 1398"/>
                <a:gd name="T95" fmla="*/ 15 h 1428"/>
                <a:gd name="T96" fmla="*/ 94 w 1398"/>
                <a:gd name="T97" fmla="*/ 15 h 1428"/>
                <a:gd name="T98" fmla="*/ 99 w 1398"/>
                <a:gd name="T99" fmla="*/ 21 h 1428"/>
                <a:gd name="T100" fmla="*/ 103 w 1398"/>
                <a:gd name="T101" fmla="*/ 23 h 1428"/>
                <a:gd name="T102" fmla="*/ 110 w 1398"/>
                <a:gd name="T103" fmla="*/ 26 h 1428"/>
                <a:gd name="T104" fmla="*/ 116 w 1398"/>
                <a:gd name="T105" fmla="*/ 27 h 1428"/>
                <a:gd name="T106" fmla="*/ 120 w 1398"/>
                <a:gd name="T107" fmla="*/ 27 h 1428"/>
                <a:gd name="T108" fmla="*/ 116 w 1398"/>
                <a:gd name="T109" fmla="*/ 35 h 1428"/>
                <a:gd name="T110" fmla="*/ 104 w 1398"/>
                <a:gd name="T111" fmla="*/ 37 h 1428"/>
                <a:gd name="T112" fmla="*/ 97 w 1398"/>
                <a:gd name="T113" fmla="*/ 34 h 1428"/>
                <a:gd name="T114" fmla="*/ 91 w 1398"/>
                <a:gd name="T115" fmla="*/ 29 h 1428"/>
                <a:gd name="T116" fmla="*/ 75 w 1398"/>
                <a:gd name="T117" fmla="*/ 29 h 1428"/>
                <a:gd name="T118" fmla="*/ 72 w 1398"/>
                <a:gd name="T119" fmla="*/ 39 h 1428"/>
                <a:gd name="T120" fmla="*/ 80 w 1398"/>
                <a:gd name="T121" fmla="*/ 41 h 142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98"/>
                <a:gd name="T184" fmla="*/ 0 h 1428"/>
                <a:gd name="T185" fmla="*/ 1398 w 1398"/>
                <a:gd name="T186" fmla="*/ 1428 h 142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98" h="1428">
                  <a:moveTo>
                    <a:pt x="924" y="474"/>
                  </a:moveTo>
                  <a:lnTo>
                    <a:pt x="900" y="480"/>
                  </a:lnTo>
                  <a:lnTo>
                    <a:pt x="864" y="486"/>
                  </a:lnTo>
                  <a:lnTo>
                    <a:pt x="864" y="504"/>
                  </a:lnTo>
                  <a:lnTo>
                    <a:pt x="858" y="522"/>
                  </a:lnTo>
                  <a:lnTo>
                    <a:pt x="864" y="528"/>
                  </a:lnTo>
                  <a:lnTo>
                    <a:pt x="864" y="552"/>
                  </a:lnTo>
                  <a:lnTo>
                    <a:pt x="852" y="552"/>
                  </a:lnTo>
                  <a:lnTo>
                    <a:pt x="846" y="564"/>
                  </a:lnTo>
                  <a:lnTo>
                    <a:pt x="840" y="582"/>
                  </a:lnTo>
                  <a:lnTo>
                    <a:pt x="834" y="594"/>
                  </a:lnTo>
                  <a:lnTo>
                    <a:pt x="828" y="606"/>
                  </a:lnTo>
                  <a:lnTo>
                    <a:pt x="828" y="618"/>
                  </a:lnTo>
                  <a:lnTo>
                    <a:pt x="786" y="630"/>
                  </a:lnTo>
                  <a:lnTo>
                    <a:pt x="774" y="636"/>
                  </a:lnTo>
                  <a:lnTo>
                    <a:pt x="762" y="642"/>
                  </a:lnTo>
                  <a:lnTo>
                    <a:pt x="744" y="648"/>
                  </a:lnTo>
                  <a:lnTo>
                    <a:pt x="714" y="660"/>
                  </a:lnTo>
                  <a:lnTo>
                    <a:pt x="696" y="666"/>
                  </a:lnTo>
                  <a:lnTo>
                    <a:pt x="666" y="672"/>
                  </a:lnTo>
                  <a:lnTo>
                    <a:pt x="654" y="684"/>
                  </a:lnTo>
                  <a:lnTo>
                    <a:pt x="648" y="684"/>
                  </a:lnTo>
                  <a:lnTo>
                    <a:pt x="642" y="696"/>
                  </a:lnTo>
                  <a:lnTo>
                    <a:pt x="636" y="696"/>
                  </a:lnTo>
                  <a:lnTo>
                    <a:pt x="630" y="714"/>
                  </a:lnTo>
                  <a:lnTo>
                    <a:pt x="624" y="738"/>
                  </a:lnTo>
                  <a:lnTo>
                    <a:pt x="624" y="762"/>
                  </a:lnTo>
                  <a:lnTo>
                    <a:pt x="630" y="780"/>
                  </a:lnTo>
                  <a:lnTo>
                    <a:pt x="636" y="804"/>
                  </a:lnTo>
                  <a:lnTo>
                    <a:pt x="642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6" y="834"/>
                  </a:lnTo>
                  <a:lnTo>
                    <a:pt x="636" y="870"/>
                  </a:lnTo>
                  <a:lnTo>
                    <a:pt x="636" y="882"/>
                  </a:lnTo>
                  <a:lnTo>
                    <a:pt x="636" y="906"/>
                  </a:lnTo>
                  <a:lnTo>
                    <a:pt x="630" y="906"/>
                  </a:lnTo>
                  <a:lnTo>
                    <a:pt x="636" y="918"/>
                  </a:lnTo>
                  <a:lnTo>
                    <a:pt x="642" y="918"/>
                  </a:lnTo>
                  <a:lnTo>
                    <a:pt x="642" y="930"/>
                  </a:lnTo>
                  <a:lnTo>
                    <a:pt x="648" y="936"/>
                  </a:lnTo>
                  <a:lnTo>
                    <a:pt x="654" y="936"/>
                  </a:lnTo>
                  <a:lnTo>
                    <a:pt x="654" y="942"/>
                  </a:lnTo>
                  <a:lnTo>
                    <a:pt x="654" y="948"/>
                  </a:lnTo>
                  <a:lnTo>
                    <a:pt x="648" y="954"/>
                  </a:lnTo>
                  <a:lnTo>
                    <a:pt x="648" y="960"/>
                  </a:lnTo>
                  <a:lnTo>
                    <a:pt x="648" y="966"/>
                  </a:lnTo>
                  <a:lnTo>
                    <a:pt x="648" y="972"/>
                  </a:lnTo>
                  <a:lnTo>
                    <a:pt x="648" y="990"/>
                  </a:lnTo>
                  <a:lnTo>
                    <a:pt x="654" y="996"/>
                  </a:lnTo>
                  <a:lnTo>
                    <a:pt x="648" y="1002"/>
                  </a:lnTo>
                  <a:lnTo>
                    <a:pt x="648" y="1008"/>
                  </a:lnTo>
                  <a:lnTo>
                    <a:pt x="654" y="1014"/>
                  </a:lnTo>
                  <a:lnTo>
                    <a:pt x="654" y="1020"/>
                  </a:lnTo>
                  <a:lnTo>
                    <a:pt x="654" y="1026"/>
                  </a:lnTo>
                  <a:lnTo>
                    <a:pt x="660" y="1026"/>
                  </a:lnTo>
                  <a:lnTo>
                    <a:pt x="660" y="1032"/>
                  </a:lnTo>
                  <a:lnTo>
                    <a:pt x="660" y="1038"/>
                  </a:lnTo>
                  <a:lnTo>
                    <a:pt x="666" y="1044"/>
                  </a:lnTo>
                  <a:lnTo>
                    <a:pt x="672" y="1050"/>
                  </a:lnTo>
                  <a:lnTo>
                    <a:pt x="672" y="1056"/>
                  </a:lnTo>
                  <a:lnTo>
                    <a:pt x="672" y="1062"/>
                  </a:lnTo>
                  <a:lnTo>
                    <a:pt x="672" y="1068"/>
                  </a:lnTo>
                  <a:lnTo>
                    <a:pt x="672" y="1074"/>
                  </a:lnTo>
                  <a:lnTo>
                    <a:pt x="678" y="1074"/>
                  </a:lnTo>
                  <a:lnTo>
                    <a:pt x="678" y="1080"/>
                  </a:lnTo>
                  <a:lnTo>
                    <a:pt x="678" y="1086"/>
                  </a:lnTo>
                  <a:lnTo>
                    <a:pt x="672" y="1092"/>
                  </a:lnTo>
                  <a:lnTo>
                    <a:pt x="672" y="1098"/>
                  </a:lnTo>
                  <a:lnTo>
                    <a:pt x="672" y="1104"/>
                  </a:lnTo>
                  <a:lnTo>
                    <a:pt x="666" y="1116"/>
                  </a:lnTo>
                  <a:lnTo>
                    <a:pt x="624" y="1122"/>
                  </a:lnTo>
                  <a:lnTo>
                    <a:pt x="576" y="1134"/>
                  </a:lnTo>
                  <a:lnTo>
                    <a:pt x="570" y="1140"/>
                  </a:lnTo>
                  <a:lnTo>
                    <a:pt x="570" y="1146"/>
                  </a:lnTo>
                  <a:lnTo>
                    <a:pt x="564" y="1146"/>
                  </a:lnTo>
                  <a:lnTo>
                    <a:pt x="564" y="1152"/>
                  </a:lnTo>
                  <a:lnTo>
                    <a:pt x="564" y="1164"/>
                  </a:lnTo>
                  <a:lnTo>
                    <a:pt x="564" y="1170"/>
                  </a:lnTo>
                  <a:lnTo>
                    <a:pt x="564" y="1176"/>
                  </a:lnTo>
                  <a:lnTo>
                    <a:pt x="546" y="1176"/>
                  </a:lnTo>
                  <a:lnTo>
                    <a:pt x="540" y="1212"/>
                  </a:lnTo>
                  <a:lnTo>
                    <a:pt x="540" y="1230"/>
                  </a:lnTo>
                  <a:lnTo>
                    <a:pt x="546" y="1242"/>
                  </a:lnTo>
                  <a:lnTo>
                    <a:pt x="546" y="1254"/>
                  </a:lnTo>
                  <a:lnTo>
                    <a:pt x="558" y="1266"/>
                  </a:lnTo>
                  <a:lnTo>
                    <a:pt x="576" y="1272"/>
                  </a:lnTo>
                  <a:lnTo>
                    <a:pt x="570" y="1278"/>
                  </a:lnTo>
                  <a:lnTo>
                    <a:pt x="576" y="1284"/>
                  </a:lnTo>
                  <a:lnTo>
                    <a:pt x="570" y="1296"/>
                  </a:lnTo>
                  <a:lnTo>
                    <a:pt x="558" y="1302"/>
                  </a:lnTo>
                  <a:lnTo>
                    <a:pt x="540" y="1308"/>
                  </a:lnTo>
                  <a:lnTo>
                    <a:pt x="522" y="1314"/>
                  </a:lnTo>
                  <a:lnTo>
                    <a:pt x="516" y="1314"/>
                  </a:lnTo>
                  <a:lnTo>
                    <a:pt x="510" y="1314"/>
                  </a:lnTo>
                  <a:lnTo>
                    <a:pt x="504" y="1314"/>
                  </a:lnTo>
                  <a:lnTo>
                    <a:pt x="498" y="1320"/>
                  </a:lnTo>
                  <a:lnTo>
                    <a:pt x="492" y="1320"/>
                  </a:lnTo>
                  <a:lnTo>
                    <a:pt x="492" y="1326"/>
                  </a:lnTo>
                  <a:lnTo>
                    <a:pt x="486" y="1326"/>
                  </a:lnTo>
                  <a:lnTo>
                    <a:pt x="480" y="1326"/>
                  </a:lnTo>
                  <a:lnTo>
                    <a:pt x="480" y="1320"/>
                  </a:lnTo>
                  <a:lnTo>
                    <a:pt x="468" y="1314"/>
                  </a:lnTo>
                  <a:lnTo>
                    <a:pt x="462" y="1308"/>
                  </a:lnTo>
                  <a:lnTo>
                    <a:pt x="456" y="1302"/>
                  </a:lnTo>
                  <a:lnTo>
                    <a:pt x="444" y="1296"/>
                  </a:lnTo>
                  <a:lnTo>
                    <a:pt x="420" y="1290"/>
                  </a:lnTo>
                  <a:lnTo>
                    <a:pt x="414" y="1278"/>
                  </a:lnTo>
                  <a:lnTo>
                    <a:pt x="408" y="1278"/>
                  </a:lnTo>
                  <a:lnTo>
                    <a:pt x="408" y="1266"/>
                  </a:lnTo>
                  <a:lnTo>
                    <a:pt x="402" y="1260"/>
                  </a:lnTo>
                  <a:lnTo>
                    <a:pt x="384" y="1260"/>
                  </a:lnTo>
                  <a:lnTo>
                    <a:pt x="372" y="1266"/>
                  </a:lnTo>
                  <a:lnTo>
                    <a:pt x="360" y="1272"/>
                  </a:lnTo>
                  <a:lnTo>
                    <a:pt x="348" y="1272"/>
                  </a:lnTo>
                  <a:lnTo>
                    <a:pt x="342" y="1284"/>
                  </a:lnTo>
                  <a:lnTo>
                    <a:pt x="336" y="1290"/>
                  </a:lnTo>
                  <a:lnTo>
                    <a:pt x="336" y="1308"/>
                  </a:lnTo>
                  <a:lnTo>
                    <a:pt x="336" y="1314"/>
                  </a:lnTo>
                  <a:lnTo>
                    <a:pt x="336" y="1320"/>
                  </a:lnTo>
                  <a:lnTo>
                    <a:pt x="330" y="1326"/>
                  </a:lnTo>
                  <a:lnTo>
                    <a:pt x="330" y="1332"/>
                  </a:lnTo>
                  <a:lnTo>
                    <a:pt x="330" y="1338"/>
                  </a:lnTo>
                  <a:lnTo>
                    <a:pt x="300" y="1338"/>
                  </a:lnTo>
                  <a:lnTo>
                    <a:pt x="288" y="1338"/>
                  </a:lnTo>
                  <a:lnTo>
                    <a:pt x="258" y="1326"/>
                  </a:lnTo>
                  <a:lnTo>
                    <a:pt x="246" y="1332"/>
                  </a:lnTo>
                  <a:lnTo>
                    <a:pt x="240" y="1338"/>
                  </a:lnTo>
                  <a:lnTo>
                    <a:pt x="234" y="1338"/>
                  </a:lnTo>
                  <a:lnTo>
                    <a:pt x="228" y="1350"/>
                  </a:lnTo>
                  <a:lnTo>
                    <a:pt x="228" y="1374"/>
                  </a:lnTo>
                  <a:lnTo>
                    <a:pt x="234" y="1392"/>
                  </a:lnTo>
                  <a:lnTo>
                    <a:pt x="246" y="1398"/>
                  </a:lnTo>
                  <a:lnTo>
                    <a:pt x="246" y="1410"/>
                  </a:lnTo>
                  <a:lnTo>
                    <a:pt x="216" y="1428"/>
                  </a:lnTo>
                  <a:lnTo>
                    <a:pt x="198" y="1428"/>
                  </a:lnTo>
                  <a:lnTo>
                    <a:pt x="192" y="1422"/>
                  </a:lnTo>
                  <a:lnTo>
                    <a:pt x="174" y="1410"/>
                  </a:lnTo>
                  <a:lnTo>
                    <a:pt x="156" y="1386"/>
                  </a:lnTo>
                  <a:lnTo>
                    <a:pt x="132" y="1374"/>
                  </a:lnTo>
                  <a:lnTo>
                    <a:pt x="108" y="1368"/>
                  </a:lnTo>
                  <a:lnTo>
                    <a:pt x="84" y="1368"/>
                  </a:lnTo>
                  <a:lnTo>
                    <a:pt x="96" y="1356"/>
                  </a:lnTo>
                  <a:lnTo>
                    <a:pt x="102" y="1344"/>
                  </a:lnTo>
                  <a:lnTo>
                    <a:pt x="102" y="1332"/>
                  </a:lnTo>
                  <a:lnTo>
                    <a:pt x="108" y="1320"/>
                  </a:lnTo>
                  <a:lnTo>
                    <a:pt x="108" y="1302"/>
                  </a:lnTo>
                  <a:lnTo>
                    <a:pt x="96" y="1278"/>
                  </a:lnTo>
                  <a:lnTo>
                    <a:pt x="66" y="1284"/>
                  </a:lnTo>
                  <a:lnTo>
                    <a:pt x="54" y="1278"/>
                  </a:lnTo>
                  <a:lnTo>
                    <a:pt x="36" y="1278"/>
                  </a:lnTo>
                  <a:lnTo>
                    <a:pt x="18" y="1284"/>
                  </a:lnTo>
                  <a:lnTo>
                    <a:pt x="18" y="1272"/>
                  </a:lnTo>
                  <a:lnTo>
                    <a:pt x="24" y="1260"/>
                  </a:lnTo>
                  <a:lnTo>
                    <a:pt x="24" y="1254"/>
                  </a:lnTo>
                  <a:lnTo>
                    <a:pt x="30" y="1248"/>
                  </a:lnTo>
                  <a:lnTo>
                    <a:pt x="24" y="1230"/>
                  </a:lnTo>
                  <a:lnTo>
                    <a:pt x="30" y="1218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30" y="1170"/>
                  </a:lnTo>
                  <a:lnTo>
                    <a:pt x="30" y="1152"/>
                  </a:lnTo>
                  <a:lnTo>
                    <a:pt x="24" y="1146"/>
                  </a:lnTo>
                  <a:lnTo>
                    <a:pt x="0" y="1116"/>
                  </a:lnTo>
                  <a:lnTo>
                    <a:pt x="6" y="1092"/>
                  </a:lnTo>
                  <a:lnTo>
                    <a:pt x="18" y="1056"/>
                  </a:lnTo>
                  <a:lnTo>
                    <a:pt x="24" y="1050"/>
                  </a:lnTo>
                  <a:lnTo>
                    <a:pt x="24" y="1038"/>
                  </a:lnTo>
                  <a:lnTo>
                    <a:pt x="24" y="1026"/>
                  </a:lnTo>
                  <a:lnTo>
                    <a:pt x="30" y="1002"/>
                  </a:lnTo>
                  <a:lnTo>
                    <a:pt x="36" y="990"/>
                  </a:lnTo>
                  <a:lnTo>
                    <a:pt x="42" y="984"/>
                  </a:lnTo>
                  <a:lnTo>
                    <a:pt x="54" y="984"/>
                  </a:lnTo>
                  <a:lnTo>
                    <a:pt x="66" y="978"/>
                  </a:lnTo>
                  <a:lnTo>
                    <a:pt x="72" y="978"/>
                  </a:lnTo>
                  <a:lnTo>
                    <a:pt x="90" y="978"/>
                  </a:lnTo>
                  <a:lnTo>
                    <a:pt x="102" y="972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78"/>
                  </a:lnTo>
                  <a:lnTo>
                    <a:pt x="120" y="984"/>
                  </a:lnTo>
                  <a:lnTo>
                    <a:pt x="138" y="984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6" y="972"/>
                  </a:lnTo>
                  <a:lnTo>
                    <a:pt x="156" y="966"/>
                  </a:lnTo>
                  <a:lnTo>
                    <a:pt x="156" y="960"/>
                  </a:lnTo>
                  <a:lnTo>
                    <a:pt x="180" y="948"/>
                  </a:lnTo>
                  <a:lnTo>
                    <a:pt x="186" y="924"/>
                  </a:lnTo>
                  <a:lnTo>
                    <a:pt x="192" y="918"/>
                  </a:lnTo>
                  <a:lnTo>
                    <a:pt x="228" y="924"/>
                  </a:lnTo>
                  <a:lnTo>
                    <a:pt x="246" y="906"/>
                  </a:lnTo>
                  <a:lnTo>
                    <a:pt x="240" y="888"/>
                  </a:lnTo>
                  <a:lnTo>
                    <a:pt x="234" y="888"/>
                  </a:lnTo>
                  <a:lnTo>
                    <a:pt x="234" y="882"/>
                  </a:lnTo>
                  <a:lnTo>
                    <a:pt x="228" y="870"/>
                  </a:lnTo>
                  <a:lnTo>
                    <a:pt x="228" y="864"/>
                  </a:lnTo>
                  <a:lnTo>
                    <a:pt x="222" y="864"/>
                  </a:lnTo>
                  <a:lnTo>
                    <a:pt x="216" y="858"/>
                  </a:lnTo>
                  <a:lnTo>
                    <a:pt x="198" y="852"/>
                  </a:lnTo>
                  <a:lnTo>
                    <a:pt x="192" y="852"/>
                  </a:lnTo>
                  <a:lnTo>
                    <a:pt x="186" y="846"/>
                  </a:lnTo>
                  <a:lnTo>
                    <a:pt x="174" y="834"/>
                  </a:lnTo>
                  <a:lnTo>
                    <a:pt x="162" y="822"/>
                  </a:lnTo>
                  <a:lnTo>
                    <a:pt x="156" y="816"/>
                  </a:lnTo>
                  <a:lnTo>
                    <a:pt x="162" y="810"/>
                  </a:lnTo>
                  <a:lnTo>
                    <a:pt x="174" y="798"/>
                  </a:lnTo>
                  <a:lnTo>
                    <a:pt x="180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68"/>
                  </a:lnTo>
                  <a:lnTo>
                    <a:pt x="192" y="744"/>
                  </a:lnTo>
                  <a:lnTo>
                    <a:pt x="186" y="708"/>
                  </a:lnTo>
                  <a:lnTo>
                    <a:pt x="174" y="690"/>
                  </a:lnTo>
                  <a:lnTo>
                    <a:pt x="168" y="672"/>
                  </a:lnTo>
                  <a:lnTo>
                    <a:pt x="156" y="630"/>
                  </a:lnTo>
                  <a:lnTo>
                    <a:pt x="156" y="606"/>
                  </a:lnTo>
                  <a:lnTo>
                    <a:pt x="150" y="606"/>
                  </a:lnTo>
                  <a:lnTo>
                    <a:pt x="150" y="600"/>
                  </a:lnTo>
                  <a:lnTo>
                    <a:pt x="144" y="600"/>
                  </a:lnTo>
                  <a:lnTo>
                    <a:pt x="150" y="594"/>
                  </a:lnTo>
                  <a:lnTo>
                    <a:pt x="144" y="588"/>
                  </a:lnTo>
                  <a:lnTo>
                    <a:pt x="138" y="558"/>
                  </a:lnTo>
                  <a:lnTo>
                    <a:pt x="138" y="528"/>
                  </a:lnTo>
                  <a:lnTo>
                    <a:pt x="132" y="480"/>
                  </a:lnTo>
                  <a:lnTo>
                    <a:pt x="132" y="462"/>
                  </a:lnTo>
                  <a:lnTo>
                    <a:pt x="126" y="426"/>
                  </a:lnTo>
                  <a:lnTo>
                    <a:pt x="126" y="396"/>
                  </a:lnTo>
                  <a:lnTo>
                    <a:pt x="126" y="378"/>
                  </a:lnTo>
                  <a:lnTo>
                    <a:pt x="126" y="360"/>
                  </a:lnTo>
                  <a:lnTo>
                    <a:pt x="132" y="318"/>
                  </a:lnTo>
                  <a:lnTo>
                    <a:pt x="132" y="24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2" y="210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92" y="198"/>
                  </a:lnTo>
                  <a:lnTo>
                    <a:pt x="198" y="198"/>
                  </a:lnTo>
                  <a:lnTo>
                    <a:pt x="216" y="180"/>
                  </a:lnTo>
                  <a:lnTo>
                    <a:pt x="222" y="174"/>
                  </a:lnTo>
                  <a:lnTo>
                    <a:pt x="222" y="168"/>
                  </a:lnTo>
                  <a:lnTo>
                    <a:pt x="228" y="168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44"/>
                  </a:lnTo>
                  <a:lnTo>
                    <a:pt x="258" y="144"/>
                  </a:lnTo>
                  <a:lnTo>
                    <a:pt x="276" y="150"/>
                  </a:lnTo>
                  <a:lnTo>
                    <a:pt x="300" y="150"/>
                  </a:lnTo>
                  <a:lnTo>
                    <a:pt x="312" y="150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8" y="156"/>
                  </a:lnTo>
                  <a:lnTo>
                    <a:pt x="354" y="150"/>
                  </a:lnTo>
                  <a:lnTo>
                    <a:pt x="372" y="144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08" y="126"/>
                  </a:lnTo>
                  <a:lnTo>
                    <a:pt x="414" y="120"/>
                  </a:lnTo>
                  <a:lnTo>
                    <a:pt x="420" y="120"/>
                  </a:lnTo>
                  <a:lnTo>
                    <a:pt x="426" y="120"/>
                  </a:lnTo>
                  <a:lnTo>
                    <a:pt x="432" y="114"/>
                  </a:lnTo>
                  <a:lnTo>
                    <a:pt x="450" y="102"/>
                  </a:lnTo>
                  <a:lnTo>
                    <a:pt x="456" y="96"/>
                  </a:lnTo>
                  <a:lnTo>
                    <a:pt x="468" y="90"/>
                  </a:lnTo>
                  <a:lnTo>
                    <a:pt x="474" y="90"/>
                  </a:lnTo>
                  <a:lnTo>
                    <a:pt x="480" y="84"/>
                  </a:lnTo>
                  <a:lnTo>
                    <a:pt x="486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504" y="72"/>
                  </a:lnTo>
                  <a:lnTo>
                    <a:pt x="510" y="66"/>
                  </a:lnTo>
                  <a:lnTo>
                    <a:pt x="516" y="66"/>
                  </a:lnTo>
                  <a:lnTo>
                    <a:pt x="522" y="60"/>
                  </a:lnTo>
                  <a:lnTo>
                    <a:pt x="552" y="42"/>
                  </a:lnTo>
                  <a:lnTo>
                    <a:pt x="558" y="36"/>
                  </a:lnTo>
                  <a:lnTo>
                    <a:pt x="576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94" y="18"/>
                  </a:lnTo>
                  <a:lnTo>
                    <a:pt x="600" y="12"/>
                  </a:lnTo>
                  <a:lnTo>
                    <a:pt x="612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6"/>
                  </a:lnTo>
                  <a:lnTo>
                    <a:pt x="648" y="6"/>
                  </a:lnTo>
                  <a:lnTo>
                    <a:pt x="660" y="6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38" y="18"/>
                  </a:lnTo>
                  <a:lnTo>
                    <a:pt x="744" y="18"/>
                  </a:lnTo>
                  <a:lnTo>
                    <a:pt x="756" y="18"/>
                  </a:lnTo>
                  <a:lnTo>
                    <a:pt x="762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80" y="24"/>
                  </a:lnTo>
                  <a:lnTo>
                    <a:pt x="792" y="24"/>
                  </a:lnTo>
                  <a:lnTo>
                    <a:pt x="792" y="30"/>
                  </a:lnTo>
                  <a:lnTo>
                    <a:pt x="810" y="30"/>
                  </a:lnTo>
                  <a:lnTo>
                    <a:pt x="822" y="36"/>
                  </a:lnTo>
                  <a:lnTo>
                    <a:pt x="834" y="42"/>
                  </a:lnTo>
                  <a:lnTo>
                    <a:pt x="840" y="48"/>
                  </a:lnTo>
                  <a:lnTo>
                    <a:pt x="846" y="54"/>
                  </a:lnTo>
                  <a:lnTo>
                    <a:pt x="852" y="60"/>
                  </a:lnTo>
                  <a:lnTo>
                    <a:pt x="858" y="66"/>
                  </a:lnTo>
                  <a:lnTo>
                    <a:pt x="864" y="66"/>
                  </a:lnTo>
                  <a:lnTo>
                    <a:pt x="864" y="72"/>
                  </a:lnTo>
                  <a:lnTo>
                    <a:pt x="876" y="78"/>
                  </a:lnTo>
                  <a:lnTo>
                    <a:pt x="900" y="84"/>
                  </a:lnTo>
                  <a:lnTo>
                    <a:pt x="906" y="90"/>
                  </a:lnTo>
                  <a:lnTo>
                    <a:pt x="912" y="90"/>
                  </a:lnTo>
                  <a:lnTo>
                    <a:pt x="912" y="96"/>
                  </a:lnTo>
                  <a:lnTo>
                    <a:pt x="924" y="108"/>
                  </a:lnTo>
                  <a:lnTo>
                    <a:pt x="930" y="108"/>
                  </a:lnTo>
                  <a:lnTo>
                    <a:pt x="936" y="114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60" y="138"/>
                  </a:lnTo>
                  <a:lnTo>
                    <a:pt x="966" y="144"/>
                  </a:lnTo>
                  <a:lnTo>
                    <a:pt x="972" y="156"/>
                  </a:lnTo>
                  <a:lnTo>
                    <a:pt x="978" y="162"/>
                  </a:lnTo>
                  <a:lnTo>
                    <a:pt x="984" y="162"/>
                  </a:lnTo>
                  <a:lnTo>
                    <a:pt x="990" y="168"/>
                  </a:lnTo>
                  <a:lnTo>
                    <a:pt x="996" y="174"/>
                  </a:lnTo>
                  <a:lnTo>
                    <a:pt x="1002" y="180"/>
                  </a:lnTo>
                  <a:lnTo>
                    <a:pt x="1008" y="180"/>
                  </a:lnTo>
                  <a:lnTo>
                    <a:pt x="1020" y="180"/>
                  </a:lnTo>
                  <a:lnTo>
                    <a:pt x="1038" y="174"/>
                  </a:lnTo>
                  <a:lnTo>
                    <a:pt x="1050" y="174"/>
                  </a:lnTo>
                  <a:lnTo>
                    <a:pt x="1056" y="174"/>
                  </a:lnTo>
                  <a:lnTo>
                    <a:pt x="1068" y="180"/>
                  </a:lnTo>
                  <a:lnTo>
                    <a:pt x="1080" y="180"/>
                  </a:lnTo>
                  <a:lnTo>
                    <a:pt x="1086" y="186"/>
                  </a:lnTo>
                  <a:lnTo>
                    <a:pt x="1098" y="192"/>
                  </a:lnTo>
                  <a:lnTo>
                    <a:pt x="1116" y="204"/>
                  </a:lnTo>
                  <a:lnTo>
                    <a:pt x="1122" y="210"/>
                  </a:lnTo>
                  <a:lnTo>
                    <a:pt x="1134" y="222"/>
                  </a:lnTo>
                  <a:lnTo>
                    <a:pt x="1146" y="234"/>
                  </a:lnTo>
                  <a:lnTo>
                    <a:pt x="1146" y="240"/>
                  </a:lnTo>
                  <a:lnTo>
                    <a:pt x="1152" y="246"/>
                  </a:lnTo>
                  <a:lnTo>
                    <a:pt x="1152" y="252"/>
                  </a:lnTo>
                  <a:lnTo>
                    <a:pt x="1152" y="258"/>
                  </a:lnTo>
                  <a:lnTo>
                    <a:pt x="1164" y="258"/>
                  </a:lnTo>
                  <a:lnTo>
                    <a:pt x="1170" y="264"/>
                  </a:lnTo>
                  <a:lnTo>
                    <a:pt x="1182" y="270"/>
                  </a:lnTo>
                  <a:lnTo>
                    <a:pt x="1188" y="270"/>
                  </a:lnTo>
                  <a:lnTo>
                    <a:pt x="1194" y="270"/>
                  </a:lnTo>
                  <a:lnTo>
                    <a:pt x="1206" y="276"/>
                  </a:lnTo>
                  <a:lnTo>
                    <a:pt x="1224" y="282"/>
                  </a:lnTo>
                  <a:lnTo>
                    <a:pt x="1236" y="282"/>
                  </a:lnTo>
                  <a:lnTo>
                    <a:pt x="1242" y="288"/>
                  </a:lnTo>
                  <a:lnTo>
                    <a:pt x="1254" y="288"/>
                  </a:lnTo>
                  <a:lnTo>
                    <a:pt x="1266" y="294"/>
                  </a:lnTo>
                  <a:lnTo>
                    <a:pt x="1272" y="294"/>
                  </a:lnTo>
                  <a:lnTo>
                    <a:pt x="1284" y="300"/>
                  </a:lnTo>
                  <a:lnTo>
                    <a:pt x="1290" y="300"/>
                  </a:lnTo>
                  <a:lnTo>
                    <a:pt x="1296" y="300"/>
                  </a:lnTo>
                  <a:lnTo>
                    <a:pt x="1302" y="306"/>
                  </a:lnTo>
                  <a:lnTo>
                    <a:pt x="1326" y="312"/>
                  </a:lnTo>
                  <a:lnTo>
                    <a:pt x="1338" y="312"/>
                  </a:lnTo>
                  <a:lnTo>
                    <a:pt x="1338" y="318"/>
                  </a:lnTo>
                  <a:lnTo>
                    <a:pt x="1344" y="318"/>
                  </a:lnTo>
                  <a:lnTo>
                    <a:pt x="1350" y="318"/>
                  </a:lnTo>
                  <a:lnTo>
                    <a:pt x="1362" y="324"/>
                  </a:lnTo>
                  <a:lnTo>
                    <a:pt x="1368" y="318"/>
                  </a:lnTo>
                  <a:lnTo>
                    <a:pt x="1374" y="318"/>
                  </a:lnTo>
                  <a:lnTo>
                    <a:pt x="1386" y="318"/>
                  </a:lnTo>
                  <a:lnTo>
                    <a:pt x="1398" y="324"/>
                  </a:lnTo>
                  <a:lnTo>
                    <a:pt x="1398" y="342"/>
                  </a:lnTo>
                  <a:lnTo>
                    <a:pt x="1356" y="342"/>
                  </a:lnTo>
                  <a:lnTo>
                    <a:pt x="1350" y="348"/>
                  </a:lnTo>
                  <a:lnTo>
                    <a:pt x="1350" y="372"/>
                  </a:lnTo>
                  <a:lnTo>
                    <a:pt x="1338" y="384"/>
                  </a:lnTo>
                  <a:lnTo>
                    <a:pt x="1332" y="408"/>
                  </a:lnTo>
                  <a:lnTo>
                    <a:pt x="1320" y="420"/>
                  </a:lnTo>
                  <a:lnTo>
                    <a:pt x="1254" y="426"/>
                  </a:lnTo>
                  <a:lnTo>
                    <a:pt x="1248" y="432"/>
                  </a:lnTo>
                  <a:lnTo>
                    <a:pt x="1230" y="432"/>
                  </a:lnTo>
                  <a:lnTo>
                    <a:pt x="1212" y="432"/>
                  </a:lnTo>
                  <a:lnTo>
                    <a:pt x="1212" y="426"/>
                  </a:lnTo>
                  <a:lnTo>
                    <a:pt x="1200" y="426"/>
                  </a:lnTo>
                  <a:lnTo>
                    <a:pt x="1182" y="414"/>
                  </a:lnTo>
                  <a:lnTo>
                    <a:pt x="1182" y="420"/>
                  </a:lnTo>
                  <a:lnTo>
                    <a:pt x="1164" y="420"/>
                  </a:lnTo>
                  <a:lnTo>
                    <a:pt x="1158" y="414"/>
                  </a:lnTo>
                  <a:lnTo>
                    <a:pt x="1152" y="408"/>
                  </a:lnTo>
                  <a:lnTo>
                    <a:pt x="1146" y="402"/>
                  </a:lnTo>
                  <a:lnTo>
                    <a:pt x="1122" y="396"/>
                  </a:lnTo>
                  <a:lnTo>
                    <a:pt x="1116" y="366"/>
                  </a:lnTo>
                  <a:lnTo>
                    <a:pt x="1116" y="348"/>
                  </a:lnTo>
                  <a:lnTo>
                    <a:pt x="1110" y="342"/>
                  </a:lnTo>
                  <a:lnTo>
                    <a:pt x="1104" y="336"/>
                  </a:lnTo>
                  <a:lnTo>
                    <a:pt x="1092" y="330"/>
                  </a:lnTo>
                  <a:lnTo>
                    <a:pt x="1074" y="330"/>
                  </a:lnTo>
                  <a:lnTo>
                    <a:pt x="1044" y="330"/>
                  </a:lnTo>
                  <a:lnTo>
                    <a:pt x="1014" y="336"/>
                  </a:lnTo>
                  <a:lnTo>
                    <a:pt x="984" y="342"/>
                  </a:lnTo>
                  <a:lnTo>
                    <a:pt x="978" y="330"/>
                  </a:lnTo>
                  <a:lnTo>
                    <a:pt x="966" y="324"/>
                  </a:lnTo>
                  <a:lnTo>
                    <a:pt x="888" y="336"/>
                  </a:lnTo>
                  <a:lnTo>
                    <a:pt x="888" y="330"/>
                  </a:lnTo>
                  <a:lnTo>
                    <a:pt x="870" y="336"/>
                  </a:lnTo>
                  <a:lnTo>
                    <a:pt x="858" y="336"/>
                  </a:lnTo>
                  <a:lnTo>
                    <a:pt x="852" y="354"/>
                  </a:lnTo>
                  <a:lnTo>
                    <a:pt x="852" y="402"/>
                  </a:lnTo>
                  <a:lnTo>
                    <a:pt x="840" y="414"/>
                  </a:lnTo>
                  <a:lnTo>
                    <a:pt x="834" y="420"/>
                  </a:lnTo>
                  <a:lnTo>
                    <a:pt x="834" y="444"/>
                  </a:lnTo>
                  <a:lnTo>
                    <a:pt x="834" y="450"/>
                  </a:lnTo>
                  <a:lnTo>
                    <a:pt x="852" y="456"/>
                  </a:lnTo>
                  <a:lnTo>
                    <a:pt x="864" y="462"/>
                  </a:lnTo>
                  <a:lnTo>
                    <a:pt x="894" y="456"/>
                  </a:lnTo>
                  <a:lnTo>
                    <a:pt x="900" y="468"/>
                  </a:lnTo>
                  <a:lnTo>
                    <a:pt x="918" y="462"/>
                  </a:lnTo>
                  <a:lnTo>
                    <a:pt x="924" y="468"/>
                  </a:lnTo>
                  <a:lnTo>
                    <a:pt x="924" y="47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2" name="Freeform 37">
              <a:extLst>
                <a:ext uri="{FF2B5EF4-FFF2-40B4-BE49-F238E27FC236}">
                  <a16:creationId xmlns:a16="http://schemas.microsoft.com/office/drawing/2014/main" id="{DED8A1FF-B656-4D37-BD26-5B0A7B1A4A6D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441" y="1898343"/>
              <a:ext cx="567992" cy="686605"/>
            </a:xfrm>
            <a:custGeom>
              <a:avLst/>
              <a:gdLst>
                <a:gd name="T0" fmla="*/ 79 w 1068"/>
                <a:gd name="T1" fmla="*/ 72 h 1290"/>
                <a:gd name="T2" fmla="*/ 75 w 1068"/>
                <a:gd name="T3" fmla="*/ 73 h 1290"/>
                <a:gd name="T4" fmla="*/ 72 w 1068"/>
                <a:gd name="T5" fmla="*/ 76 h 1290"/>
                <a:gd name="T6" fmla="*/ 70 w 1068"/>
                <a:gd name="T7" fmla="*/ 78 h 1290"/>
                <a:gd name="T8" fmla="*/ 67 w 1068"/>
                <a:gd name="T9" fmla="*/ 82 h 1290"/>
                <a:gd name="T10" fmla="*/ 61 w 1068"/>
                <a:gd name="T11" fmla="*/ 86 h 1290"/>
                <a:gd name="T12" fmla="*/ 60 w 1068"/>
                <a:gd name="T13" fmla="*/ 93 h 1290"/>
                <a:gd name="T14" fmla="*/ 59 w 1068"/>
                <a:gd name="T15" fmla="*/ 97 h 1290"/>
                <a:gd name="T16" fmla="*/ 61 w 1068"/>
                <a:gd name="T17" fmla="*/ 101 h 1290"/>
                <a:gd name="T18" fmla="*/ 63 w 1068"/>
                <a:gd name="T19" fmla="*/ 104 h 1290"/>
                <a:gd name="T20" fmla="*/ 62 w 1068"/>
                <a:gd name="T21" fmla="*/ 108 h 1290"/>
                <a:gd name="T22" fmla="*/ 60 w 1068"/>
                <a:gd name="T23" fmla="*/ 111 h 1290"/>
                <a:gd name="T24" fmla="*/ 56 w 1068"/>
                <a:gd name="T25" fmla="*/ 111 h 1290"/>
                <a:gd name="T26" fmla="*/ 53 w 1068"/>
                <a:gd name="T27" fmla="*/ 110 h 1290"/>
                <a:gd name="T28" fmla="*/ 50 w 1068"/>
                <a:gd name="T29" fmla="*/ 109 h 1290"/>
                <a:gd name="T30" fmla="*/ 47 w 1068"/>
                <a:gd name="T31" fmla="*/ 110 h 1290"/>
                <a:gd name="T32" fmla="*/ 51 w 1068"/>
                <a:gd name="T33" fmla="*/ 104 h 1290"/>
                <a:gd name="T34" fmla="*/ 50 w 1068"/>
                <a:gd name="T35" fmla="*/ 95 h 1290"/>
                <a:gd name="T36" fmla="*/ 51 w 1068"/>
                <a:gd name="T37" fmla="*/ 90 h 1290"/>
                <a:gd name="T38" fmla="*/ 47 w 1068"/>
                <a:gd name="T39" fmla="*/ 84 h 1290"/>
                <a:gd name="T40" fmla="*/ 42 w 1068"/>
                <a:gd name="T41" fmla="*/ 78 h 1290"/>
                <a:gd name="T42" fmla="*/ 33 w 1068"/>
                <a:gd name="T43" fmla="*/ 73 h 1290"/>
                <a:gd name="T44" fmla="*/ 26 w 1068"/>
                <a:gd name="T45" fmla="*/ 68 h 1290"/>
                <a:gd name="T46" fmla="*/ 22 w 1068"/>
                <a:gd name="T47" fmla="*/ 63 h 1290"/>
                <a:gd name="T48" fmla="*/ 11 w 1068"/>
                <a:gd name="T49" fmla="*/ 67 h 1290"/>
                <a:gd name="T50" fmla="*/ 0 w 1068"/>
                <a:gd name="T51" fmla="*/ 68 h 1290"/>
                <a:gd name="T52" fmla="*/ 2 w 1068"/>
                <a:gd name="T53" fmla="*/ 59 h 1290"/>
                <a:gd name="T54" fmla="*/ 12 w 1068"/>
                <a:gd name="T55" fmla="*/ 55 h 1290"/>
                <a:gd name="T56" fmla="*/ 12 w 1068"/>
                <a:gd name="T57" fmla="*/ 51 h 1290"/>
                <a:gd name="T58" fmla="*/ 10 w 1068"/>
                <a:gd name="T59" fmla="*/ 47 h 1290"/>
                <a:gd name="T60" fmla="*/ 9 w 1068"/>
                <a:gd name="T61" fmla="*/ 42 h 1290"/>
                <a:gd name="T62" fmla="*/ 8 w 1068"/>
                <a:gd name="T63" fmla="*/ 38 h 1290"/>
                <a:gd name="T64" fmla="*/ 8 w 1068"/>
                <a:gd name="T65" fmla="*/ 29 h 1290"/>
                <a:gd name="T66" fmla="*/ 10 w 1068"/>
                <a:gd name="T67" fmla="*/ 18 h 1290"/>
                <a:gd name="T68" fmla="*/ 25 w 1068"/>
                <a:gd name="T69" fmla="*/ 12 h 1290"/>
                <a:gd name="T70" fmla="*/ 27 w 1068"/>
                <a:gd name="T71" fmla="*/ 4 h 1290"/>
                <a:gd name="T72" fmla="*/ 35 w 1068"/>
                <a:gd name="T73" fmla="*/ 6 h 1290"/>
                <a:gd name="T74" fmla="*/ 39 w 1068"/>
                <a:gd name="T75" fmla="*/ 8 h 1290"/>
                <a:gd name="T76" fmla="*/ 41 w 1068"/>
                <a:gd name="T77" fmla="*/ 3 h 1290"/>
                <a:gd name="T78" fmla="*/ 45 w 1068"/>
                <a:gd name="T79" fmla="*/ 0 h 1290"/>
                <a:gd name="T80" fmla="*/ 51 w 1068"/>
                <a:gd name="T81" fmla="*/ 0 h 1290"/>
                <a:gd name="T82" fmla="*/ 56 w 1068"/>
                <a:gd name="T83" fmla="*/ 4 h 1290"/>
                <a:gd name="T84" fmla="*/ 62 w 1068"/>
                <a:gd name="T85" fmla="*/ 12 h 1290"/>
                <a:gd name="T86" fmla="*/ 58 w 1068"/>
                <a:gd name="T87" fmla="*/ 17 h 1290"/>
                <a:gd name="T88" fmla="*/ 60 w 1068"/>
                <a:gd name="T89" fmla="*/ 18 h 1290"/>
                <a:gd name="T90" fmla="*/ 64 w 1068"/>
                <a:gd name="T91" fmla="*/ 16 h 1290"/>
                <a:gd name="T92" fmla="*/ 68 w 1068"/>
                <a:gd name="T93" fmla="*/ 18 h 1290"/>
                <a:gd name="T94" fmla="*/ 71 w 1068"/>
                <a:gd name="T95" fmla="*/ 27 h 1290"/>
                <a:gd name="T96" fmla="*/ 74 w 1068"/>
                <a:gd name="T97" fmla="*/ 30 h 1290"/>
                <a:gd name="T98" fmla="*/ 82 w 1068"/>
                <a:gd name="T99" fmla="*/ 30 h 1290"/>
                <a:gd name="T100" fmla="*/ 87 w 1068"/>
                <a:gd name="T101" fmla="*/ 35 h 1290"/>
                <a:gd name="T102" fmla="*/ 85 w 1068"/>
                <a:gd name="T103" fmla="*/ 42 h 1290"/>
                <a:gd name="T104" fmla="*/ 81 w 1068"/>
                <a:gd name="T105" fmla="*/ 46 h 1290"/>
                <a:gd name="T106" fmla="*/ 86 w 1068"/>
                <a:gd name="T107" fmla="*/ 50 h 1290"/>
                <a:gd name="T108" fmla="*/ 89 w 1068"/>
                <a:gd name="T109" fmla="*/ 58 h 1290"/>
                <a:gd name="T110" fmla="*/ 92 w 1068"/>
                <a:gd name="T111" fmla="*/ 61 h 1290"/>
                <a:gd name="T112" fmla="*/ 86 w 1068"/>
                <a:gd name="T113" fmla="*/ 66 h 1290"/>
                <a:gd name="T114" fmla="*/ 85 w 1068"/>
                <a:gd name="T115" fmla="*/ 70 h 129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68"/>
                <a:gd name="T175" fmla="*/ 0 h 1290"/>
                <a:gd name="T176" fmla="*/ 1068 w 1068"/>
                <a:gd name="T177" fmla="*/ 1290 h 129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68" h="1290">
                  <a:moveTo>
                    <a:pt x="978" y="804"/>
                  </a:moveTo>
                  <a:lnTo>
                    <a:pt x="972" y="810"/>
                  </a:lnTo>
                  <a:lnTo>
                    <a:pt x="966" y="810"/>
                  </a:lnTo>
                  <a:lnTo>
                    <a:pt x="966" y="816"/>
                  </a:lnTo>
                  <a:lnTo>
                    <a:pt x="936" y="828"/>
                  </a:lnTo>
                  <a:lnTo>
                    <a:pt x="924" y="822"/>
                  </a:lnTo>
                  <a:lnTo>
                    <a:pt x="912" y="822"/>
                  </a:lnTo>
                  <a:lnTo>
                    <a:pt x="906" y="828"/>
                  </a:lnTo>
                  <a:lnTo>
                    <a:pt x="900" y="828"/>
                  </a:lnTo>
                  <a:lnTo>
                    <a:pt x="900" y="822"/>
                  </a:lnTo>
                  <a:lnTo>
                    <a:pt x="894" y="822"/>
                  </a:lnTo>
                  <a:lnTo>
                    <a:pt x="888" y="828"/>
                  </a:lnTo>
                  <a:lnTo>
                    <a:pt x="882" y="834"/>
                  </a:lnTo>
                  <a:lnTo>
                    <a:pt x="876" y="834"/>
                  </a:lnTo>
                  <a:lnTo>
                    <a:pt x="870" y="840"/>
                  </a:lnTo>
                  <a:lnTo>
                    <a:pt x="864" y="840"/>
                  </a:lnTo>
                  <a:lnTo>
                    <a:pt x="864" y="846"/>
                  </a:lnTo>
                  <a:lnTo>
                    <a:pt x="858" y="846"/>
                  </a:lnTo>
                  <a:lnTo>
                    <a:pt x="852" y="846"/>
                  </a:lnTo>
                  <a:lnTo>
                    <a:pt x="852" y="858"/>
                  </a:lnTo>
                  <a:lnTo>
                    <a:pt x="846" y="864"/>
                  </a:lnTo>
                  <a:lnTo>
                    <a:pt x="840" y="870"/>
                  </a:lnTo>
                  <a:lnTo>
                    <a:pt x="834" y="870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34" y="876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10" y="894"/>
                  </a:lnTo>
                  <a:lnTo>
                    <a:pt x="810" y="900"/>
                  </a:lnTo>
                  <a:lnTo>
                    <a:pt x="804" y="900"/>
                  </a:lnTo>
                  <a:lnTo>
                    <a:pt x="798" y="900"/>
                  </a:lnTo>
                  <a:lnTo>
                    <a:pt x="798" y="906"/>
                  </a:lnTo>
                  <a:lnTo>
                    <a:pt x="792" y="906"/>
                  </a:lnTo>
                  <a:lnTo>
                    <a:pt x="792" y="912"/>
                  </a:lnTo>
                  <a:lnTo>
                    <a:pt x="792" y="924"/>
                  </a:lnTo>
                  <a:lnTo>
                    <a:pt x="786" y="930"/>
                  </a:lnTo>
                  <a:lnTo>
                    <a:pt x="774" y="942"/>
                  </a:lnTo>
                  <a:lnTo>
                    <a:pt x="774" y="948"/>
                  </a:lnTo>
                  <a:lnTo>
                    <a:pt x="768" y="954"/>
                  </a:lnTo>
                  <a:lnTo>
                    <a:pt x="762" y="954"/>
                  </a:lnTo>
                  <a:lnTo>
                    <a:pt x="750" y="972"/>
                  </a:lnTo>
                  <a:lnTo>
                    <a:pt x="720" y="978"/>
                  </a:lnTo>
                  <a:lnTo>
                    <a:pt x="714" y="978"/>
                  </a:lnTo>
                  <a:lnTo>
                    <a:pt x="708" y="978"/>
                  </a:lnTo>
                  <a:lnTo>
                    <a:pt x="702" y="990"/>
                  </a:lnTo>
                  <a:lnTo>
                    <a:pt x="696" y="990"/>
                  </a:lnTo>
                  <a:lnTo>
                    <a:pt x="696" y="1008"/>
                  </a:lnTo>
                  <a:lnTo>
                    <a:pt x="690" y="1008"/>
                  </a:lnTo>
                  <a:lnTo>
                    <a:pt x="690" y="1014"/>
                  </a:lnTo>
                  <a:lnTo>
                    <a:pt x="684" y="1032"/>
                  </a:lnTo>
                  <a:lnTo>
                    <a:pt x="690" y="1050"/>
                  </a:lnTo>
                  <a:lnTo>
                    <a:pt x="690" y="1062"/>
                  </a:lnTo>
                  <a:lnTo>
                    <a:pt x="690" y="1068"/>
                  </a:lnTo>
                  <a:lnTo>
                    <a:pt x="690" y="1074"/>
                  </a:lnTo>
                  <a:lnTo>
                    <a:pt x="684" y="1074"/>
                  </a:lnTo>
                  <a:lnTo>
                    <a:pt x="684" y="1080"/>
                  </a:lnTo>
                  <a:lnTo>
                    <a:pt x="678" y="1086"/>
                  </a:lnTo>
                  <a:lnTo>
                    <a:pt x="678" y="1104"/>
                  </a:lnTo>
                  <a:lnTo>
                    <a:pt x="678" y="1110"/>
                  </a:lnTo>
                  <a:lnTo>
                    <a:pt x="678" y="1116"/>
                  </a:lnTo>
                  <a:lnTo>
                    <a:pt x="684" y="1116"/>
                  </a:lnTo>
                  <a:lnTo>
                    <a:pt x="678" y="1128"/>
                  </a:lnTo>
                  <a:lnTo>
                    <a:pt x="684" y="1128"/>
                  </a:lnTo>
                  <a:lnTo>
                    <a:pt x="690" y="1134"/>
                  </a:lnTo>
                  <a:lnTo>
                    <a:pt x="690" y="1140"/>
                  </a:lnTo>
                  <a:lnTo>
                    <a:pt x="696" y="1140"/>
                  </a:lnTo>
                  <a:lnTo>
                    <a:pt x="696" y="1146"/>
                  </a:lnTo>
                  <a:lnTo>
                    <a:pt x="696" y="1152"/>
                  </a:lnTo>
                  <a:lnTo>
                    <a:pt x="702" y="1152"/>
                  </a:lnTo>
                  <a:lnTo>
                    <a:pt x="708" y="1152"/>
                  </a:lnTo>
                  <a:lnTo>
                    <a:pt x="714" y="1158"/>
                  </a:lnTo>
                  <a:lnTo>
                    <a:pt x="714" y="1164"/>
                  </a:lnTo>
                  <a:lnTo>
                    <a:pt x="720" y="1170"/>
                  </a:lnTo>
                  <a:lnTo>
                    <a:pt x="720" y="1176"/>
                  </a:lnTo>
                  <a:lnTo>
                    <a:pt x="720" y="1182"/>
                  </a:lnTo>
                  <a:lnTo>
                    <a:pt x="726" y="1188"/>
                  </a:lnTo>
                  <a:lnTo>
                    <a:pt x="726" y="1194"/>
                  </a:lnTo>
                  <a:lnTo>
                    <a:pt x="732" y="1194"/>
                  </a:lnTo>
                  <a:lnTo>
                    <a:pt x="732" y="1200"/>
                  </a:lnTo>
                  <a:lnTo>
                    <a:pt x="738" y="1212"/>
                  </a:lnTo>
                  <a:lnTo>
                    <a:pt x="732" y="1218"/>
                  </a:lnTo>
                  <a:lnTo>
                    <a:pt x="732" y="1224"/>
                  </a:lnTo>
                  <a:lnTo>
                    <a:pt x="726" y="1230"/>
                  </a:lnTo>
                  <a:lnTo>
                    <a:pt x="720" y="1230"/>
                  </a:lnTo>
                  <a:lnTo>
                    <a:pt x="720" y="1236"/>
                  </a:lnTo>
                  <a:lnTo>
                    <a:pt x="720" y="1242"/>
                  </a:lnTo>
                  <a:lnTo>
                    <a:pt x="720" y="1248"/>
                  </a:lnTo>
                  <a:lnTo>
                    <a:pt x="714" y="1248"/>
                  </a:lnTo>
                  <a:lnTo>
                    <a:pt x="714" y="1254"/>
                  </a:lnTo>
                  <a:lnTo>
                    <a:pt x="708" y="1260"/>
                  </a:lnTo>
                  <a:lnTo>
                    <a:pt x="702" y="1272"/>
                  </a:lnTo>
                  <a:lnTo>
                    <a:pt x="696" y="1272"/>
                  </a:lnTo>
                  <a:lnTo>
                    <a:pt x="696" y="1278"/>
                  </a:lnTo>
                  <a:lnTo>
                    <a:pt x="690" y="1284"/>
                  </a:lnTo>
                  <a:lnTo>
                    <a:pt x="690" y="1290"/>
                  </a:lnTo>
                  <a:lnTo>
                    <a:pt x="684" y="1290"/>
                  </a:lnTo>
                  <a:lnTo>
                    <a:pt x="660" y="1284"/>
                  </a:lnTo>
                  <a:lnTo>
                    <a:pt x="660" y="1278"/>
                  </a:lnTo>
                  <a:lnTo>
                    <a:pt x="654" y="1272"/>
                  </a:lnTo>
                  <a:lnTo>
                    <a:pt x="648" y="1272"/>
                  </a:lnTo>
                  <a:lnTo>
                    <a:pt x="642" y="1272"/>
                  </a:lnTo>
                  <a:lnTo>
                    <a:pt x="642" y="1266"/>
                  </a:lnTo>
                  <a:lnTo>
                    <a:pt x="636" y="1266"/>
                  </a:lnTo>
                  <a:lnTo>
                    <a:pt x="630" y="1266"/>
                  </a:lnTo>
                  <a:lnTo>
                    <a:pt x="624" y="1266"/>
                  </a:lnTo>
                  <a:lnTo>
                    <a:pt x="624" y="1260"/>
                  </a:lnTo>
                  <a:lnTo>
                    <a:pt x="618" y="1260"/>
                  </a:lnTo>
                  <a:lnTo>
                    <a:pt x="612" y="1260"/>
                  </a:lnTo>
                  <a:lnTo>
                    <a:pt x="606" y="1260"/>
                  </a:lnTo>
                  <a:lnTo>
                    <a:pt x="600" y="1260"/>
                  </a:lnTo>
                  <a:lnTo>
                    <a:pt x="600" y="1254"/>
                  </a:lnTo>
                  <a:lnTo>
                    <a:pt x="594" y="1254"/>
                  </a:lnTo>
                  <a:lnTo>
                    <a:pt x="588" y="1248"/>
                  </a:lnTo>
                  <a:lnTo>
                    <a:pt x="588" y="1254"/>
                  </a:lnTo>
                  <a:lnTo>
                    <a:pt x="582" y="1254"/>
                  </a:lnTo>
                  <a:lnTo>
                    <a:pt x="582" y="1248"/>
                  </a:lnTo>
                  <a:lnTo>
                    <a:pt x="576" y="1248"/>
                  </a:lnTo>
                  <a:lnTo>
                    <a:pt x="576" y="1254"/>
                  </a:lnTo>
                  <a:lnTo>
                    <a:pt x="570" y="1248"/>
                  </a:lnTo>
                  <a:lnTo>
                    <a:pt x="564" y="1248"/>
                  </a:lnTo>
                  <a:lnTo>
                    <a:pt x="564" y="1254"/>
                  </a:lnTo>
                  <a:lnTo>
                    <a:pt x="558" y="1254"/>
                  </a:lnTo>
                  <a:lnTo>
                    <a:pt x="552" y="1254"/>
                  </a:lnTo>
                  <a:lnTo>
                    <a:pt x="552" y="1260"/>
                  </a:lnTo>
                  <a:lnTo>
                    <a:pt x="546" y="1260"/>
                  </a:lnTo>
                  <a:lnTo>
                    <a:pt x="540" y="1260"/>
                  </a:lnTo>
                  <a:lnTo>
                    <a:pt x="540" y="1254"/>
                  </a:lnTo>
                  <a:lnTo>
                    <a:pt x="534" y="1254"/>
                  </a:lnTo>
                  <a:lnTo>
                    <a:pt x="528" y="1224"/>
                  </a:lnTo>
                  <a:lnTo>
                    <a:pt x="534" y="1212"/>
                  </a:lnTo>
                  <a:lnTo>
                    <a:pt x="546" y="1206"/>
                  </a:lnTo>
                  <a:lnTo>
                    <a:pt x="582" y="1206"/>
                  </a:lnTo>
                  <a:lnTo>
                    <a:pt x="588" y="1188"/>
                  </a:lnTo>
                  <a:lnTo>
                    <a:pt x="582" y="1188"/>
                  </a:lnTo>
                  <a:lnTo>
                    <a:pt x="582" y="1182"/>
                  </a:lnTo>
                  <a:lnTo>
                    <a:pt x="576" y="1176"/>
                  </a:lnTo>
                  <a:lnTo>
                    <a:pt x="558" y="1128"/>
                  </a:lnTo>
                  <a:lnTo>
                    <a:pt x="558" y="1122"/>
                  </a:lnTo>
                  <a:lnTo>
                    <a:pt x="576" y="1098"/>
                  </a:lnTo>
                  <a:lnTo>
                    <a:pt x="576" y="1092"/>
                  </a:lnTo>
                  <a:lnTo>
                    <a:pt x="582" y="1092"/>
                  </a:lnTo>
                  <a:lnTo>
                    <a:pt x="582" y="1086"/>
                  </a:lnTo>
                  <a:lnTo>
                    <a:pt x="582" y="1080"/>
                  </a:lnTo>
                  <a:lnTo>
                    <a:pt x="582" y="1074"/>
                  </a:lnTo>
                  <a:lnTo>
                    <a:pt x="588" y="1074"/>
                  </a:lnTo>
                  <a:lnTo>
                    <a:pt x="588" y="1062"/>
                  </a:lnTo>
                  <a:lnTo>
                    <a:pt x="588" y="1056"/>
                  </a:lnTo>
                  <a:lnTo>
                    <a:pt x="588" y="1044"/>
                  </a:lnTo>
                  <a:lnTo>
                    <a:pt x="588" y="1038"/>
                  </a:lnTo>
                  <a:lnTo>
                    <a:pt x="588" y="1032"/>
                  </a:lnTo>
                  <a:lnTo>
                    <a:pt x="582" y="1026"/>
                  </a:lnTo>
                  <a:lnTo>
                    <a:pt x="582" y="1020"/>
                  </a:lnTo>
                  <a:lnTo>
                    <a:pt x="582" y="1008"/>
                  </a:lnTo>
                  <a:lnTo>
                    <a:pt x="576" y="990"/>
                  </a:lnTo>
                  <a:lnTo>
                    <a:pt x="570" y="972"/>
                  </a:lnTo>
                  <a:lnTo>
                    <a:pt x="552" y="972"/>
                  </a:lnTo>
                  <a:lnTo>
                    <a:pt x="540" y="960"/>
                  </a:lnTo>
                  <a:lnTo>
                    <a:pt x="534" y="954"/>
                  </a:lnTo>
                  <a:lnTo>
                    <a:pt x="534" y="948"/>
                  </a:lnTo>
                  <a:lnTo>
                    <a:pt x="516" y="948"/>
                  </a:lnTo>
                  <a:lnTo>
                    <a:pt x="522" y="936"/>
                  </a:lnTo>
                  <a:lnTo>
                    <a:pt x="522" y="930"/>
                  </a:lnTo>
                  <a:lnTo>
                    <a:pt x="504" y="918"/>
                  </a:lnTo>
                  <a:lnTo>
                    <a:pt x="492" y="906"/>
                  </a:lnTo>
                  <a:lnTo>
                    <a:pt x="486" y="894"/>
                  </a:lnTo>
                  <a:lnTo>
                    <a:pt x="468" y="876"/>
                  </a:lnTo>
                  <a:lnTo>
                    <a:pt x="450" y="876"/>
                  </a:lnTo>
                  <a:lnTo>
                    <a:pt x="414" y="882"/>
                  </a:lnTo>
                  <a:lnTo>
                    <a:pt x="402" y="870"/>
                  </a:lnTo>
                  <a:lnTo>
                    <a:pt x="390" y="864"/>
                  </a:lnTo>
                  <a:lnTo>
                    <a:pt x="384" y="852"/>
                  </a:lnTo>
                  <a:lnTo>
                    <a:pt x="378" y="840"/>
                  </a:lnTo>
                  <a:lnTo>
                    <a:pt x="378" y="834"/>
                  </a:lnTo>
                  <a:lnTo>
                    <a:pt x="360" y="822"/>
                  </a:lnTo>
                  <a:lnTo>
                    <a:pt x="342" y="828"/>
                  </a:lnTo>
                  <a:lnTo>
                    <a:pt x="324" y="816"/>
                  </a:lnTo>
                  <a:lnTo>
                    <a:pt x="318" y="816"/>
                  </a:lnTo>
                  <a:lnTo>
                    <a:pt x="306" y="810"/>
                  </a:lnTo>
                  <a:lnTo>
                    <a:pt x="306" y="804"/>
                  </a:lnTo>
                  <a:lnTo>
                    <a:pt x="300" y="804"/>
                  </a:lnTo>
                  <a:lnTo>
                    <a:pt x="300" y="780"/>
                  </a:lnTo>
                  <a:lnTo>
                    <a:pt x="300" y="774"/>
                  </a:lnTo>
                  <a:lnTo>
                    <a:pt x="306" y="774"/>
                  </a:lnTo>
                  <a:lnTo>
                    <a:pt x="312" y="756"/>
                  </a:lnTo>
                  <a:lnTo>
                    <a:pt x="312" y="732"/>
                  </a:lnTo>
                  <a:lnTo>
                    <a:pt x="300" y="720"/>
                  </a:lnTo>
                  <a:lnTo>
                    <a:pt x="288" y="702"/>
                  </a:lnTo>
                  <a:lnTo>
                    <a:pt x="276" y="702"/>
                  </a:lnTo>
                  <a:lnTo>
                    <a:pt x="258" y="714"/>
                  </a:lnTo>
                  <a:lnTo>
                    <a:pt x="246" y="726"/>
                  </a:lnTo>
                  <a:lnTo>
                    <a:pt x="222" y="726"/>
                  </a:lnTo>
                  <a:lnTo>
                    <a:pt x="192" y="726"/>
                  </a:lnTo>
                  <a:lnTo>
                    <a:pt x="174" y="738"/>
                  </a:lnTo>
                  <a:lnTo>
                    <a:pt x="162" y="750"/>
                  </a:lnTo>
                  <a:lnTo>
                    <a:pt x="144" y="762"/>
                  </a:lnTo>
                  <a:lnTo>
                    <a:pt x="138" y="768"/>
                  </a:lnTo>
                  <a:lnTo>
                    <a:pt x="126" y="774"/>
                  </a:lnTo>
                  <a:lnTo>
                    <a:pt x="114" y="780"/>
                  </a:lnTo>
                  <a:lnTo>
                    <a:pt x="108" y="786"/>
                  </a:lnTo>
                  <a:lnTo>
                    <a:pt x="102" y="786"/>
                  </a:lnTo>
                  <a:lnTo>
                    <a:pt x="54" y="786"/>
                  </a:lnTo>
                  <a:lnTo>
                    <a:pt x="48" y="792"/>
                  </a:lnTo>
                  <a:lnTo>
                    <a:pt x="36" y="798"/>
                  </a:lnTo>
                  <a:lnTo>
                    <a:pt x="18" y="792"/>
                  </a:lnTo>
                  <a:lnTo>
                    <a:pt x="6" y="780"/>
                  </a:lnTo>
                  <a:lnTo>
                    <a:pt x="6" y="768"/>
                  </a:lnTo>
                  <a:lnTo>
                    <a:pt x="0" y="756"/>
                  </a:lnTo>
                  <a:lnTo>
                    <a:pt x="0" y="738"/>
                  </a:lnTo>
                  <a:lnTo>
                    <a:pt x="6" y="702"/>
                  </a:lnTo>
                  <a:lnTo>
                    <a:pt x="24" y="702"/>
                  </a:lnTo>
                  <a:lnTo>
                    <a:pt x="24" y="696"/>
                  </a:lnTo>
                  <a:lnTo>
                    <a:pt x="24" y="690"/>
                  </a:lnTo>
                  <a:lnTo>
                    <a:pt x="24" y="678"/>
                  </a:lnTo>
                  <a:lnTo>
                    <a:pt x="24" y="672"/>
                  </a:lnTo>
                  <a:lnTo>
                    <a:pt x="30" y="672"/>
                  </a:lnTo>
                  <a:lnTo>
                    <a:pt x="30" y="666"/>
                  </a:lnTo>
                  <a:lnTo>
                    <a:pt x="36" y="660"/>
                  </a:lnTo>
                  <a:lnTo>
                    <a:pt x="84" y="648"/>
                  </a:lnTo>
                  <a:lnTo>
                    <a:pt x="126" y="642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32" y="618"/>
                  </a:lnTo>
                  <a:lnTo>
                    <a:pt x="138" y="612"/>
                  </a:lnTo>
                  <a:lnTo>
                    <a:pt x="138" y="606"/>
                  </a:lnTo>
                  <a:lnTo>
                    <a:pt x="138" y="600"/>
                  </a:lnTo>
                  <a:lnTo>
                    <a:pt x="132" y="600"/>
                  </a:lnTo>
                  <a:lnTo>
                    <a:pt x="132" y="594"/>
                  </a:lnTo>
                  <a:lnTo>
                    <a:pt x="132" y="588"/>
                  </a:lnTo>
                  <a:lnTo>
                    <a:pt x="132" y="582"/>
                  </a:lnTo>
                  <a:lnTo>
                    <a:pt x="132" y="576"/>
                  </a:lnTo>
                  <a:lnTo>
                    <a:pt x="126" y="570"/>
                  </a:lnTo>
                  <a:lnTo>
                    <a:pt x="120" y="564"/>
                  </a:lnTo>
                  <a:lnTo>
                    <a:pt x="120" y="558"/>
                  </a:lnTo>
                  <a:lnTo>
                    <a:pt x="120" y="552"/>
                  </a:lnTo>
                  <a:lnTo>
                    <a:pt x="114" y="552"/>
                  </a:lnTo>
                  <a:lnTo>
                    <a:pt x="114" y="546"/>
                  </a:lnTo>
                  <a:lnTo>
                    <a:pt x="114" y="540"/>
                  </a:lnTo>
                  <a:lnTo>
                    <a:pt x="108" y="534"/>
                  </a:lnTo>
                  <a:lnTo>
                    <a:pt x="108" y="528"/>
                  </a:lnTo>
                  <a:lnTo>
                    <a:pt x="114" y="522"/>
                  </a:lnTo>
                  <a:lnTo>
                    <a:pt x="108" y="516"/>
                  </a:lnTo>
                  <a:lnTo>
                    <a:pt x="108" y="498"/>
                  </a:lnTo>
                  <a:lnTo>
                    <a:pt x="108" y="492"/>
                  </a:lnTo>
                  <a:lnTo>
                    <a:pt x="108" y="486"/>
                  </a:lnTo>
                  <a:lnTo>
                    <a:pt x="108" y="480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08" y="462"/>
                  </a:lnTo>
                  <a:lnTo>
                    <a:pt x="102" y="456"/>
                  </a:lnTo>
                  <a:lnTo>
                    <a:pt x="102" y="444"/>
                  </a:lnTo>
                  <a:lnTo>
                    <a:pt x="96" y="444"/>
                  </a:lnTo>
                  <a:lnTo>
                    <a:pt x="90" y="432"/>
                  </a:lnTo>
                  <a:lnTo>
                    <a:pt x="96" y="432"/>
                  </a:lnTo>
                  <a:lnTo>
                    <a:pt x="96" y="408"/>
                  </a:lnTo>
                  <a:lnTo>
                    <a:pt x="96" y="396"/>
                  </a:lnTo>
                  <a:lnTo>
                    <a:pt x="96" y="360"/>
                  </a:lnTo>
                  <a:lnTo>
                    <a:pt x="96" y="354"/>
                  </a:lnTo>
                  <a:lnTo>
                    <a:pt x="102" y="354"/>
                  </a:lnTo>
                  <a:lnTo>
                    <a:pt x="102" y="348"/>
                  </a:lnTo>
                  <a:lnTo>
                    <a:pt x="96" y="330"/>
                  </a:lnTo>
                  <a:lnTo>
                    <a:pt x="90" y="306"/>
                  </a:lnTo>
                  <a:lnTo>
                    <a:pt x="84" y="288"/>
                  </a:lnTo>
                  <a:lnTo>
                    <a:pt x="84" y="264"/>
                  </a:lnTo>
                  <a:lnTo>
                    <a:pt x="90" y="240"/>
                  </a:lnTo>
                  <a:lnTo>
                    <a:pt x="96" y="222"/>
                  </a:lnTo>
                  <a:lnTo>
                    <a:pt x="102" y="222"/>
                  </a:lnTo>
                  <a:lnTo>
                    <a:pt x="108" y="210"/>
                  </a:lnTo>
                  <a:lnTo>
                    <a:pt x="114" y="210"/>
                  </a:lnTo>
                  <a:lnTo>
                    <a:pt x="126" y="198"/>
                  </a:lnTo>
                  <a:lnTo>
                    <a:pt x="156" y="192"/>
                  </a:lnTo>
                  <a:lnTo>
                    <a:pt x="174" y="186"/>
                  </a:lnTo>
                  <a:lnTo>
                    <a:pt x="204" y="174"/>
                  </a:lnTo>
                  <a:lnTo>
                    <a:pt x="222" y="168"/>
                  </a:lnTo>
                  <a:lnTo>
                    <a:pt x="234" y="162"/>
                  </a:lnTo>
                  <a:lnTo>
                    <a:pt x="246" y="156"/>
                  </a:lnTo>
                  <a:lnTo>
                    <a:pt x="288" y="144"/>
                  </a:lnTo>
                  <a:lnTo>
                    <a:pt x="288" y="132"/>
                  </a:lnTo>
                  <a:lnTo>
                    <a:pt x="294" y="120"/>
                  </a:lnTo>
                  <a:lnTo>
                    <a:pt x="300" y="108"/>
                  </a:lnTo>
                  <a:lnTo>
                    <a:pt x="306" y="90"/>
                  </a:lnTo>
                  <a:lnTo>
                    <a:pt x="312" y="78"/>
                  </a:lnTo>
                  <a:lnTo>
                    <a:pt x="324" y="78"/>
                  </a:lnTo>
                  <a:lnTo>
                    <a:pt x="324" y="54"/>
                  </a:lnTo>
                  <a:lnTo>
                    <a:pt x="318" y="48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60" y="6"/>
                  </a:lnTo>
                  <a:lnTo>
                    <a:pt x="384" y="0"/>
                  </a:lnTo>
                  <a:lnTo>
                    <a:pt x="390" y="6"/>
                  </a:lnTo>
                  <a:lnTo>
                    <a:pt x="390" y="18"/>
                  </a:lnTo>
                  <a:lnTo>
                    <a:pt x="390" y="54"/>
                  </a:lnTo>
                  <a:lnTo>
                    <a:pt x="396" y="66"/>
                  </a:lnTo>
                  <a:lnTo>
                    <a:pt x="414" y="84"/>
                  </a:lnTo>
                  <a:lnTo>
                    <a:pt x="426" y="90"/>
                  </a:lnTo>
                  <a:lnTo>
                    <a:pt x="432" y="96"/>
                  </a:lnTo>
                  <a:lnTo>
                    <a:pt x="426" y="102"/>
                  </a:lnTo>
                  <a:lnTo>
                    <a:pt x="438" y="102"/>
                  </a:lnTo>
                  <a:lnTo>
                    <a:pt x="444" y="108"/>
                  </a:lnTo>
                  <a:lnTo>
                    <a:pt x="444" y="102"/>
                  </a:lnTo>
                  <a:lnTo>
                    <a:pt x="450" y="90"/>
                  </a:lnTo>
                  <a:lnTo>
                    <a:pt x="450" y="84"/>
                  </a:lnTo>
                  <a:lnTo>
                    <a:pt x="450" y="78"/>
                  </a:lnTo>
                  <a:lnTo>
                    <a:pt x="456" y="72"/>
                  </a:lnTo>
                  <a:lnTo>
                    <a:pt x="462" y="66"/>
                  </a:lnTo>
                  <a:lnTo>
                    <a:pt x="462" y="60"/>
                  </a:lnTo>
                  <a:lnTo>
                    <a:pt x="462" y="54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74" y="24"/>
                  </a:lnTo>
                  <a:lnTo>
                    <a:pt x="480" y="18"/>
                  </a:lnTo>
                  <a:lnTo>
                    <a:pt x="486" y="12"/>
                  </a:lnTo>
                  <a:lnTo>
                    <a:pt x="492" y="12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2" y="6"/>
                  </a:lnTo>
                  <a:lnTo>
                    <a:pt x="534" y="6"/>
                  </a:lnTo>
                  <a:lnTo>
                    <a:pt x="540" y="6"/>
                  </a:lnTo>
                  <a:lnTo>
                    <a:pt x="546" y="6"/>
                  </a:lnTo>
                  <a:lnTo>
                    <a:pt x="564" y="0"/>
                  </a:lnTo>
                  <a:lnTo>
                    <a:pt x="570" y="0"/>
                  </a:lnTo>
                  <a:lnTo>
                    <a:pt x="576" y="6"/>
                  </a:lnTo>
                  <a:lnTo>
                    <a:pt x="582" y="6"/>
                  </a:lnTo>
                  <a:lnTo>
                    <a:pt x="594" y="6"/>
                  </a:lnTo>
                  <a:lnTo>
                    <a:pt x="600" y="6"/>
                  </a:lnTo>
                  <a:lnTo>
                    <a:pt x="606" y="6"/>
                  </a:lnTo>
                  <a:lnTo>
                    <a:pt x="624" y="0"/>
                  </a:lnTo>
                  <a:lnTo>
                    <a:pt x="636" y="0"/>
                  </a:lnTo>
                  <a:lnTo>
                    <a:pt x="636" y="6"/>
                  </a:lnTo>
                  <a:lnTo>
                    <a:pt x="654" y="18"/>
                  </a:lnTo>
                  <a:lnTo>
                    <a:pt x="654" y="30"/>
                  </a:lnTo>
                  <a:lnTo>
                    <a:pt x="642" y="42"/>
                  </a:lnTo>
                  <a:lnTo>
                    <a:pt x="630" y="66"/>
                  </a:lnTo>
                  <a:lnTo>
                    <a:pt x="636" y="84"/>
                  </a:lnTo>
                  <a:lnTo>
                    <a:pt x="636" y="96"/>
                  </a:lnTo>
                  <a:lnTo>
                    <a:pt x="648" y="102"/>
                  </a:lnTo>
                  <a:lnTo>
                    <a:pt x="672" y="114"/>
                  </a:lnTo>
                  <a:lnTo>
                    <a:pt x="702" y="120"/>
                  </a:lnTo>
                  <a:lnTo>
                    <a:pt x="714" y="126"/>
                  </a:lnTo>
                  <a:lnTo>
                    <a:pt x="720" y="144"/>
                  </a:lnTo>
                  <a:lnTo>
                    <a:pt x="720" y="156"/>
                  </a:lnTo>
                  <a:lnTo>
                    <a:pt x="708" y="156"/>
                  </a:lnTo>
                  <a:lnTo>
                    <a:pt x="702" y="162"/>
                  </a:lnTo>
                  <a:lnTo>
                    <a:pt x="702" y="174"/>
                  </a:lnTo>
                  <a:lnTo>
                    <a:pt x="696" y="174"/>
                  </a:lnTo>
                  <a:lnTo>
                    <a:pt x="690" y="180"/>
                  </a:lnTo>
                  <a:lnTo>
                    <a:pt x="678" y="186"/>
                  </a:lnTo>
                  <a:lnTo>
                    <a:pt x="672" y="192"/>
                  </a:lnTo>
                  <a:lnTo>
                    <a:pt x="654" y="210"/>
                  </a:lnTo>
                  <a:lnTo>
                    <a:pt x="654" y="216"/>
                  </a:lnTo>
                  <a:lnTo>
                    <a:pt x="648" y="246"/>
                  </a:lnTo>
                  <a:lnTo>
                    <a:pt x="660" y="246"/>
                  </a:lnTo>
                  <a:lnTo>
                    <a:pt x="666" y="234"/>
                  </a:lnTo>
                  <a:lnTo>
                    <a:pt x="678" y="240"/>
                  </a:lnTo>
                  <a:lnTo>
                    <a:pt x="684" y="228"/>
                  </a:lnTo>
                  <a:lnTo>
                    <a:pt x="690" y="210"/>
                  </a:lnTo>
                  <a:lnTo>
                    <a:pt x="696" y="204"/>
                  </a:lnTo>
                  <a:lnTo>
                    <a:pt x="702" y="204"/>
                  </a:lnTo>
                  <a:lnTo>
                    <a:pt x="708" y="192"/>
                  </a:lnTo>
                  <a:lnTo>
                    <a:pt x="714" y="192"/>
                  </a:lnTo>
                  <a:lnTo>
                    <a:pt x="714" y="186"/>
                  </a:lnTo>
                  <a:lnTo>
                    <a:pt x="726" y="186"/>
                  </a:lnTo>
                  <a:lnTo>
                    <a:pt x="732" y="186"/>
                  </a:lnTo>
                  <a:lnTo>
                    <a:pt x="738" y="186"/>
                  </a:lnTo>
                  <a:lnTo>
                    <a:pt x="744" y="216"/>
                  </a:lnTo>
                  <a:lnTo>
                    <a:pt x="750" y="210"/>
                  </a:lnTo>
                  <a:lnTo>
                    <a:pt x="750" y="204"/>
                  </a:lnTo>
                  <a:lnTo>
                    <a:pt x="756" y="192"/>
                  </a:lnTo>
                  <a:lnTo>
                    <a:pt x="762" y="192"/>
                  </a:lnTo>
                  <a:lnTo>
                    <a:pt x="768" y="192"/>
                  </a:lnTo>
                  <a:lnTo>
                    <a:pt x="780" y="186"/>
                  </a:lnTo>
                  <a:lnTo>
                    <a:pt x="786" y="204"/>
                  </a:lnTo>
                  <a:lnTo>
                    <a:pt x="774" y="210"/>
                  </a:lnTo>
                  <a:lnTo>
                    <a:pt x="774" y="234"/>
                  </a:lnTo>
                  <a:lnTo>
                    <a:pt x="780" y="246"/>
                  </a:lnTo>
                  <a:lnTo>
                    <a:pt x="804" y="264"/>
                  </a:lnTo>
                  <a:lnTo>
                    <a:pt x="816" y="276"/>
                  </a:lnTo>
                  <a:lnTo>
                    <a:pt x="822" y="288"/>
                  </a:lnTo>
                  <a:lnTo>
                    <a:pt x="822" y="312"/>
                  </a:lnTo>
                  <a:lnTo>
                    <a:pt x="816" y="312"/>
                  </a:lnTo>
                  <a:lnTo>
                    <a:pt x="810" y="318"/>
                  </a:lnTo>
                  <a:lnTo>
                    <a:pt x="810" y="348"/>
                  </a:lnTo>
                  <a:lnTo>
                    <a:pt x="816" y="348"/>
                  </a:lnTo>
                  <a:lnTo>
                    <a:pt x="816" y="342"/>
                  </a:lnTo>
                  <a:lnTo>
                    <a:pt x="834" y="342"/>
                  </a:lnTo>
                  <a:lnTo>
                    <a:pt x="834" y="348"/>
                  </a:lnTo>
                  <a:lnTo>
                    <a:pt x="846" y="348"/>
                  </a:lnTo>
                  <a:lnTo>
                    <a:pt x="846" y="342"/>
                  </a:lnTo>
                  <a:lnTo>
                    <a:pt x="882" y="342"/>
                  </a:lnTo>
                  <a:lnTo>
                    <a:pt x="894" y="366"/>
                  </a:lnTo>
                  <a:lnTo>
                    <a:pt x="900" y="372"/>
                  </a:lnTo>
                  <a:lnTo>
                    <a:pt x="906" y="384"/>
                  </a:lnTo>
                  <a:lnTo>
                    <a:pt x="924" y="384"/>
                  </a:lnTo>
                  <a:lnTo>
                    <a:pt x="930" y="372"/>
                  </a:lnTo>
                  <a:lnTo>
                    <a:pt x="936" y="372"/>
                  </a:lnTo>
                  <a:lnTo>
                    <a:pt x="942" y="348"/>
                  </a:lnTo>
                  <a:lnTo>
                    <a:pt x="954" y="348"/>
                  </a:lnTo>
                  <a:lnTo>
                    <a:pt x="954" y="342"/>
                  </a:lnTo>
                  <a:lnTo>
                    <a:pt x="984" y="342"/>
                  </a:lnTo>
                  <a:lnTo>
                    <a:pt x="978" y="390"/>
                  </a:lnTo>
                  <a:lnTo>
                    <a:pt x="984" y="390"/>
                  </a:lnTo>
                  <a:lnTo>
                    <a:pt x="990" y="396"/>
                  </a:lnTo>
                  <a:lnTo>
                    <a:pt x="996" y="396"/>
                  </a:lnTo>
                  <a:lnTo>
                    <a:pt x="1002" y="396"/>
                  </a:lnTo>
                  <a:lnTo>
                    <a:pt x="1002" y="408"/>
                  </a:lnTo>
                  <a:lnTo>
                    <a:pt x="990" y="414"/>
                  </a:lnTo>
                  <a:lnTo>
                    <a:pt x="984" y="426"/>
                  </a:lnTo>
                  <a:lnTo>
                    <a:pt x="990" y="444"/>
                  </a:lnTo>
                  <a:lnTo>
                    <a:pt x="996" y="450"/>
                  </a:lnTo>
                  <a:lnTo>
                    <a:pt x="990" y="462"/>
                  </a:lnTo>
                  <a:lnTo>
                    <a:pt x="990" y="468"/>
                  </a:lnTo>
                  <a:lnTo>
                    <a:pt x="984" y="480"/>
                  </a:lnTo>
                  <a:lnTo>
                    <a:pt x="978" y="486"/>
                  </a:lnTo>
                  <a:lnTo>
                    <a:pt x="972" y="486"/>
                  </a:lnTo>
                  <a:lnTo>
                    <a:pt x="966" y="492"/>
                  </a:lnTo>
                  <a:lnTo>
                    <a:pt x="966" y="498"/>
                  </a:lnTo>
                  <a:lnTo>
                    <a:pt x="954" y="510"/>
                  </a:lnTo>
                  <a:lnTo>
                    <a:pt x="948" y="510"/>
                  </a:lnTo>
                  <a:lnTo>
                    <a:pt x="942" y="516"/>
                  </a:lnTo>
                  <a:lnTo>
                    <a:pt x="936" y="528"/>
                  </a:lnTo>
                  <a:lnTo>
                    <a:pt x="936" y="534"/>
                  </a:lnTo>
                  <a:lnTo>
                    <a:pt x="936" y="546"/>
                  </a:lnTo>
                  <a:lnTo>
                    <a:pt x="936" y="558"/>
                  </a:lnTo>
                  <a:lnTo>
                    <a:pt x="948" y="558"/>
                  </a:lnTo>
                  <a:lnTo>
                    <a:pt x="954" y="558"/>
                  </a:lnTo>
                  <a:lnTo>
                    <a:pt x="996" y="558"/>
                  </a:lnTo>
                  <a:lnTo>
                    <a:pt x="1002" y="570"/>
                  </a:lnTo>
                  <a:lnTo>
                    <a:pt x="996" y="576"/>
                  </a:lnTo>
                  <a:lnTo>
                    <a:pt x="996" y="588"/>
                  </a:lnTo>
                  <a:lnTo>
                    <a:pt x="984" y="588"/>
                  </a:lnTo>
                  <a:lnTo>
                    <a:pt x="990" y="612"/>
                  </a:lnTo>
                  <a:lnTo>
                    <a:pt x="1014" y="606"/>
                  </a:lnTo>
                  <a:lnTo>
                    <a:pt x="1014" y="636"/>
                  </a:lnTo>
                  <a:lnTo>
                    <a:pt x="1014" y="648"/>
                  </a:lnTo>
                  <a:lnTo>
                    <a:pt x="1020" y="648"/>
                  </a:lnTo>
                  <a:lnTo>
                    <a:pt x="1026" y="660"/>
                  </a:lnTo>
                  <a:lnTo>
                    <a:pt x="1038" y="654"/>
                  </a:lnTo>
                  <a:lnTo>
                    <a:pt x="1050" y="654"/>
                  </a:lnTo>
                  <a:lnTo>
                    <a:pt x="1062" y="654"/>
                  </a:lnTo>
                  <a:lnTo>
                    <a:pt x="1068" y="660"/>
                  </a:lnTo>
                  <a:lnTo>
                    <a:pt x="1068" y="678"/>
                  </a:lnTo>
                  <a:lnTo>
                    <a:pt x="1068" y="684"/>
                  </a:lnTo>
                  <a:lnTo>
                    <a:pt x="1062" y="690"/>
                  </a:lnTo>
                  <a:lnTo>
                    <a:pt x="1056" y="696"/>
                  </a:lnTo>
                  <a:lnTo>
                    <a:pt x="1056" y="702"/>
                  </a:lnTo>
                  <a:lnTo>
                    <a:pt x="1038" y="714"/>
                  </a:lnTo>
                  <a:lnTo>
                    <a:pt x="1026" y="720"/>
                  </a:lnTo>
                  <a:lnTo>
                    <a:pt x="1008" y="726"/>
                  </a:lnTo>
                  <a:lnTo>
                    <a:pt x="1008" y="732"/>
                  </a:lnTo>
                  <a:lnTo>
                    <a:pt x="990" y="732"/>
                  </a:lnTo>
                  <a:lnTo>
                    <a:pt x="984" y="744"/>
                  </a:lnTo>
                  <a:lnTo>
                    <a:pt x="990" y="750"/>
                  </a:lnTo>
                  <a:lnTo>
                    <a:pt x="984" y="762"/>
                  </a:lnTo>
                  <a:lnTo>
                    <a:pt x="984" y="768"/>
                  </a:lnTo>
                  <a:lnTo>
                    <a:pt x="984" y="774"/>
                  </a:lnTo>
                  <a:lnTo>
                    <a:pt x="984" y="780"/>
                  </a:lnTo>
                  <a:lnTo>
                    <a:pt x="984" y="786"/>
                  </a:lnTo>
                  <a:lnTo>
                    <a:pt x="984" y="792"/>
                  </a:lnTo>
                  <a:lnTo>
                    <a:pt x="978" y="798"/>
                  </a:lnTo>
                  <a:lnTo>
                    <a:pt x="978" y="80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3" name="Freeform 38">
              <a:extLst>
                <a:ext uri="{FF2B5EF4-FFF2-40B4-BE49-F238E27FC236}">
                  <a16:creationId xmlns:a16="http://schemas.microsoft.com/office/drawing/2014/main" id="{819B99CE-D972-4530-8964-A992C1EC87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2825" y="1634436"/>
              <a:ext cx="959326" cy="959458"/>
            </a:xfrm>
            <a:custGeom>
              <a:avLst/>
              <a:gdLst>
                <a:gd name="T0" fmla="*/ 105 w 1806"/>
                <a:gd name="T1" fmla="*/ 155 h 1806"/>
                <a:gd name="T2" fmla="*/ 103 w 1806"/>
                <a:gd name="T3" fmla="*/ 155 h 1806"/>
                <a:gd name="T4" fmla="*/ 103 w 1806"/>
                <a:gd name="T5" fmla="*/ 150 h 1806"/>
                <a:gd name="T6" fmla="*/ 104 w 1806"/>
                <a:gd name="T7" fmla="*/ 141 h 1806"/>
                <a:gd name="T8" fmla="*/ 104 w 1806"/>
                <a:gd name="T9" fmla="*/ 136 h 1806"/>
                <a:gd name="T10" fmla="*/ 100 w 1806"/>
                <a:gd name="T11" fmla="*/ 131 h 1806"/>
                <a:gd name="T12" fmla="*/ 96 w 1806"/>
                <a:gd name="T13" fmla="*/ 127 h 1806"/>
                <a:gd name="T14" fmla="*/ 91 w 1806"/>
                <a:gd name="T15" fmla="*/ 121 h 1806"/>
                <a:gd name="T16" fmla="*/ 87 w 1806"/>
                <a:gd name="T17" fmla="*/ 120 h 1806"/>
                <a:gd name="T18" fmla="*/ 81 w 1806"/>
                <a:gd name="T19" fmla="*/ 117 h 1806"/>
                <a:gd name="T20" fmla="*/ 65 w 1806"/>
                <a:gd name="T21" fmla="*/ 113 h 1806"/>
                <a:gd name="T22" fmla="*/ 69 w 1806"/>
                <a:gd name="T23" fmla="*/ 105 h 1806"/>
                <a:gd name="T24" fmla="*/ 66 w 1806"/>
                <a:gd name="T25" fmla="*/ 89 h 1806"/>
                <a:gd name="T26" fmla="*/ 63 w 1806"/>
                <a:gd name="T27" fmla="*/ 84 h 1806"/>
                <a:gd name="T28" fmla="*/ 62 w 1806"/>
                <a:gd name="T29" fmla="*/ 74 h 1806"/>
                <a:gd name="T30" fmla="*/ 58 w 1806"/>
                <a:gd name="T31" fmla="*/ 52 h 1806"/>
                <a:gd name="T32" fmla="*/ 53 w 1806"/>
                <a:gd name="T33" fmla="*/ 49 h 1806"/>
                <a:gd name="T34" fmla="*/ 51 w 1806"/>
                <a:gd name="T35" fmla="*/ 36 h 1806"/>
                <a:gd name="T36" fmla="*/ 43 w 1806"/>
                <a:gd name="T37" fmla="*/ 32 h 1806"/>
                <a:gd name="T38" fmla="*/ 33 w 1806"/>
                <a:gd name="T39" fmla="*/ 30 h 1806"/>
                <a:gd name="T40" fmla="*/ 30 w 1806"/>
                <a:gd name="T41" fmla="*/ 21 h 1806"/>
                <a:gd name="T42" fmla="*/ 17 w 1806"/>
                <a:gd name="T43" fmla="*/ 25 h 1806"/>
                <a:gd name="T44" fmla="*/ 4 w 1806"/>
                <a:gd name="T45" fmla="*/ 33 h 1806"/>
                <a:gd name="T46" fmla="*/ 7 w 1806"/>
                <a:gd name="T47" fmla="*/ 26 h 1806"/>
                <a:gd name="T48" fmla="*/ 11 w 1806"/>
                <a:gd name="T49" fmla="*/ 20 h 1806"/>
                <a:gd name="T50" fmla="*/ 18 w 1806"/>
                <a:gd name="T51" fmla="*/ 12 h 1806"/>
                <a:gd name="T52" fmla="*/ 26 w 1806"/>
                <a:gd name="T53" fmla="*/ 8 h 1806"/>
                <a:gd name="T54" fmla="*/ 35 w 1806"/>
                <a:gd name="T55" fmla="*/ 6 h 1806"/>
                <a:gd name="T56" fmla="*/ 44 w 1806"/>
                <a:gd name="T57" fmla="*/ 5 h 1806"/>
                <a:gd name="T58" fmla="*/ 54 w 1806"/>
                <a:gd name="T59" fmla="*/ 2 h 1806"/>
                <a:gd name="T60" fmla="*/ 65 w 1806"/>
                <a:gd name="T61" fmla="*/ 0 h 1806"/>
                <a:gd name="T62" fmla="*/ 76 w 1806"/>
                <a:gd name="T63" fmla="*/ 0 h 1806"/>
                <a:gd name="T64" fmla="*/ 85 w 1806"/>
                <a:gd name="T65" fmla="*/ 0 h 1806"/>
                <a:gd name="T66" fmla="*/ 97 w 1806"/>
                <a:gd name="T67" fmla="*/ 0 h 1806"/>
                <a:gd name="T68" fmla="*/ 108 w 1806"/>
                <a:gd name="T69" fmla="*/ 3 h 1806"/>
                <a:gd name="T70" fmla="*/ 115 w 1806"/>
                <a:gd name="T71" fmla="*/ 5 h 1806"/>
                <a:gd name="T72" fmla="*/ 123 w 1806"/>
                <a:gd name="T73" fmla="*/ 7 h 1806"/>
                <a:gd name="T74" fmla="*/ 133 w 1806"/>
                <a:gd name="T75" fmla="*/ 14 h 1806"/>
                <a:gd name="T76" fmla="*/ 138 w 1806"/>
                <a:gd name="T77" fmla="*/ 16 h 1806"/>
                <a:gd name="T78" fmla="*/ 140 w 1806"/>
                <a:gd name="T79" fmla="*/ 14 h 1806"/>
                <a:gd name="T80" fmla="*/ 145 w 1806"/>
                <a:gd name="T81" fmla="*/ 16 h 1806"/>
                <a:gd name="T82" fmla="*/ 147 w 1806"/>
                <a:gd name="T83" fmla="*/ 16 h 1806"/>
                <a:gd name="T84" fmla="*/ 150 w 1806"/>
                <a:gd name="T85" fmla="*/ 17 h 1806"/>
                <a:gd name="T86" fmla="*/ 152 w 1806"/>
                <a:gd name="T87" fmla="*/ 18 h 1806"/>
                <a:gd name="T88" fmla="*/ 155 w 1806"/>
                <a:gd name="T89" fmla="*/ 37 h 1806"/>
                <a:gd name="T90" fmla="*/ 146 w 1806"/>
                <a:gd name="T91" fmla="*/ 66 h 1806"/>
                <a:gd name="T92" fmla="*/ 143 w 1806"/>
                <a:gd name="T93" fmla="*/ 88 h 1806"/>
                <a:gd name="T94" fmla="*/ 144 w 1806"/>
                <a:gd name="T95" fmla="*/ 98 h 1806"/>
                <a:gd name="T96" fmla="*/ 137 w 1806"/>
                <a:gd name="T97" fmla="*/ 118 h 1806"/>
                <a:gd name="T98" fmla="*/ 132 w 1806"/>
                <a:gd name="T99" fmla="*/ 129 h 1806"/>
                <a:gd name="T100" fmla="*/ 124 w 1806"/>
                <a:gd name="T101" fmla="*/ 135 h 1806"/>
                <a:gd name="T102" fmla="*/ 119 w 1806"/>
                <a:gd name="T103" fmla="*/ 136 h 1806"/>
                <a:gd name="T104" fmla="*/ 116 w 1806"/>
                <a:gd name="T105" fmla="*/ 137 h 1806"/>
                <a:gd name="T106" fmla="*/ 112 w 1806"/>
                <a:gd name="T107" fmla="*/ 139 h 1806"/>
                <a:gd name="T108" fmla="*/ 112 w 1806"/>
                <a:gd name="T109" fmla="*/ 141 h 1806"/>
                <a:gd name="T110" fmla="*/ 116 w 1806"/>
                <a:gd name="T111" fmla="*/ 146 h 1806"/>
                <a:gd name="T112" fmla="*/ 116 w 1806"/>
                <a:gd name="T113" fmla="*/ 151 h 1806"/>
                <a:gd name="T114" fmla="*/ 113 w 1806"/>
                <a:gd name="T115" fmla="*/ 153 h 18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6"/>
                <a:gd name="T175" fmla="*/ 0 h 1806"/>
                <a:gd name="T176" fmla="*/ 1806 w 1806"/>
                <a:gd name="T177" fmla="*/ 1806 h 18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6" h="1806">
                  <a:moveTo>
                    <a:pt x="1260" y="1776"/>
                  </a:moveTo>
                  <a:lnTo>
                    <a:pt x="1254" y="1776"/>
                  </a:lnTo>
                  <a:lnTo>
                    <a:pt x="1248" y="1776"/>
                  </a:lnTo>
                  <a:lnTo>
                    <a:pt x="1242" y="1782"/>
                  </a:lnTo>
                  <a:lnTo>
                    <a:pt x="1236" y="1782"/>
                  </a:lnTo>
                  <a:lnTo>
                    <a:pt x="1230" y="1788"/>
                  </a:lnTo>
                  <a:lnTo>
                    <a:pt x="1224" y="1782"/>
                  </a:lnTo>
                  <a:lnTo>
                    <a:pt x="1218" y="1782"/>
                  </a:lnTo>
                  <a:lnTo>
                    <a:pt x="1218" y="1788"/>
                  </a:lnTo>
                  <a:lnTo>
                    <a:pt x="1212" y="1788"/>
                  </a:lnTo>
                  <a:lnTo>
                    <a:pt x="1206" y="1788"/>
                  </a:lnTo>
                  <a:lnTo>
                    <a:pt x="1206" y="1794"/>
                  </a:lnTo>
                  <a:lnTo>
                    <a:pt x="1200" y="1806"/>
                  </a:lnTo>
                  <a:lnTo>
                    <a:pt x="1194" y="1800"/>
                  </a:lnTo>
                  <a:lnTo>
                    <a:pt x="1194" y="1794"/>
                  </a:lnTo>
                  <a:lnTo>
                    <a:pt x="1194" y="1788"/>
                  </a:lnTo>
                  <a:lnTo>
                    <a:pt x="1188" y="1788"/>
                  </a:lnTo>
                  <a:lnTo>
                    <a:pt x="1188" y="1782"/>
                  </a:lnTo>
                  <a:lnTo>
                    <a:pt x="1188" y="1776"/>
                  </a:lnTo>
                  <a:lnTo>
                    <a:pt x="1194" y="1770"/>
                  </a:lnTo>
                  <a:lnTo>
                    <a:pt x="1194" y="1764"/>
                  </a:lnTo>
                  <a:lnTo>
                    <a:pt x="1194" y="1758"/>
                  </a:lnTo>
                  <a:lnTo>
                    <a:pt x="1194" y="1752"/>
                  </a:lnTo>
                  <a:lnTo>
                    <a:pt x="1200" y="1746"/>
                  </a:lnTo>
                  <a:lnTo>
                    <a:pt x="1200" y="1740"/>
                  </a:lnTo>
                  <a:lnTo>
                    <a:pt x="1200" y="1734"/>
                  </a:lnTo>
                  <a:lnTo>
                    <a:pt x="1188" y="1722"/>
                  </a:lnTo>
                  <a:lnTo>
                    <a:pt x="1188" y="1716"/>
                  </a:lnTo>
                  <a:lnTo>
                    <a:pt x="1194" y="1704"/>
                  </a:lnTo>
                  <a:lnTo>
                    <a:pt x="1194" y="1692"/>
                  </a:lnTo>
                  <a:lnTo>
                    <a:pt x="1200" y="1680"/>
                  </a:lnTo>
                  <a:lnTo>
                    <a:pt x="1200" y="1662"/>
                  </a:lnTo>
                  <a:lnTo>
                    <a:pt x="1200" y="1650"/>
                  </a:lnTo>
                  <a:lnTo>
                    <a:pt x="1206" y="1644"/>
                  </a:lnTo>
                  <a:lnTo>
                    <a:pt x="1206" y="1638"/>
                  </a:lnTo>
                  <a:lnTo>
                    <a:pt x="1206" y="1626"/>
                  </a:lnTo>
                  <a:lnTo>
                    <a:pt x="1206" y="1620"/>
                  </a:lnTo>
                  <a:lnTo>
                    <a:pt x="1206" y="1614"/>
                  </a:lnTo>
                  <a:lnTo>
                    <a:pt x="1200" y="1608"/>
                  </a:lnTo>
                  <a:lnTo>
                    <a:pt x="1200" y="1602"/>
                  </a:lnTo>
                  <a:lnTo>
                    <a:pt x="1200" y="1596"/>
                  </a:lnTo>
                  <a:lnTo>
                    <a:pt x="1200" y="1590"/>
                  </a:lnTo>
                  <a:lnTo>
                    <a:pt x="1200" y="1572"/>
                  </a:lnTo>
                  <a:lnTo>
                    <a:pt x="1200" y="1566"/>
                  </a:lnTo>
                  <a:lnTo>
                    <a:pt x="1200" y="1560"/>
                  </a:lnTo>
                  <a:lnTo>
                    <a:pt x="1194" y="1554"/>
                  </a:lnTo>
                  <a:lnTo>
                    <a:pt x="1188" y="1548"/>
                  </a:lnTo>
                  <a:lnTo>
                    <a:pt x="1188" y="1542"/>
                  </a:lnTo>
                  <a:lnTo>
                    <a:pt x="1176" y="1536"/>
                  </a:lnTo>
                  <a:lnTo>
                    <a:pt x="1176" y="1530"/>
                  </a:lnTo>
                  <a:lnTo>
                    <a:pt x="1170" y="1524"/>
                  </a:lnTo>
                  <a:lnTo>
                    <a:pt x="1170" y="1518"/>
                  </a:lnTo>
                  <a:lnTo>
                    <a:pt x="1164" y="1512"/>
                  </a:lnTo>
                  <a:lnTo>
                    <a:pt x="1158" y="1506"/>
                  </a:lnTo>
                  <a:lnTo>
                    <a:pt x="1152" y="1500"/>
                  </a:lnTo>
                  <a:lnTo>
                    <a:pt x="1146" y="1494"/>
                  </a:lnTo>
                  <a:lnTo>
                    <a:pt x="1140" y="1488"/>
                  </a:lnTo>
                  <a:lnTo>
                    <a:pt x="1134" y="1482"/>
                  </a:lnTo>
                  <a:lnTo>
                    <a:pt x="1128" y="1476"/>
                  </a:lnTo>
                  <a:lnTo>
                    <a:pt x="1122" y="1470"/>
                  </a:lnTo>
                  <a:lnTo>
                    <a:pt x="1116" y="1464"/>
                  </a:lnTo>
                  <a:lnTo>
                    <a:pt x="1110" y="1464"/>
                  </a:lnTo>
                  <a:lnTo>
                    <a:pt x="1104" y="1458"/>
                  </a:lnTo>
                  <a:lnTo>
                    <a:pt x="1098" y="1464"/>
                  </a:lnTo>
                  <a:lnTo>
                    <a:pt x="1092" y="1464"/>
                  </a:lnTo>
                  <a:lnTo>
                    <a:pt x="1086" y="1446"/>
                  </a:lnTo>
                  <a:lnTo>
                    <a:pt x="1086" y="1440"/>
                  </a:lnTo>
                  <a:lnTo>
                    <a:pt x="1080" y="1416"/>
                  </a:lnTo>
                  <a:lnTo>
                    <a:pt x="1068" y="1404"/>
                  </a:lnTo>
                  <a:lnTo>
                    <a:pt x="1062" y="1398"/>
                  </a:lnTo>
                  <a:lnTo>
                    <a:pt x="1056" y="1398"/>
                  </a:lnTo>
                  <a:lnTo>
                    <a:pt x="1050" y="1398"/>
                  </a:lnTo>
                  <a:lnTo>
                    <a:pt x="1044" y="1398"/>
                  </a:lnTo>
                  <a:lnTo>
                    <a:pt x="1044" y="1392"/>
                  </a:lnTo>
                  <a:lnTo>
                    <a:pt x="1038" y="1392"/>
                  </a:lnTo>
                  <a:lnTo>
                    <a:pt x="1032" y="1392"/>
                  </a:lnTo>
                  <a:lnTo>
                    <a:pt x="1020" y="1386"/>
                  </a:lnTo>
                  <a:lnTo>
                    <a:pt x="1014" y="1386"/>
                  </a:lnTo>
                  <a:lnTo>
                    <a:pt x="1014" y="1380"/>
                  </a:lnTo>
                  <a:lnTo>
                    <a:pt x="1008" y="1380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62"/>
                  </a:lnTo>
                  <a:lnTo>
                    <a:pt x="984" y="1356"/>
                  </a:lnTo>
                  <a:lnTo>
                    <a:pt x="978" y="1356"/>
                  </a:lnTo>
                  <a:lnTo>
                    <a:pt x="972" y="1356"/>
                  </a:lnTo>
                  <a:lnTo>
                    <a:pt x="966" y="1356"/>
                  </a:lnTo>
                  <a:lnTo>
                    <a:pt x="966" y="1350"/>
                  </a:lnTo>
                  <a:lnTo>
                    <a:pt x="948" y="1350"/>
                  </a:lnTo>
                  <a:lnTo>
                    <a:pt x="936" y="1344"/>
                  </a:lnTo>
                  <a:lnTo>
                    <a:pt x="930" y="1338"/>
                  </a:lnTo>
                  <a:lnTo>
                    <a:pt x="918" y="1332"/>
                  </a:lnTo>
                  <a:lnTo>
                    <a:pt x="900" y="1326"/>
                  </a:lnTo>
                  <a:lnTo>
                    <a:pt x="864" y="1332"/>
                  </a:lnTo>
                  <a:lnTo>
                    <a:pt x="828" y="1332"/>
                  </a:lnTo>
                  <a:lnTo>
                    <a:pt x="792" y="1314"/>
                  </a:lnTo>
                  <a:lnTo>
                    <a:pt x="780" y="1314"/>
                  </a:lnTo>
                  <a:lnTo>
                    <a:pt x="780" y="1308"/>
                  </a:lnTo>
                  <a:lnTo>
                    <a:pt x="756" y="1296"/>
                  </a:lnTo>
                  <a:lnTo>
                    <a:pt x="756" y="1278"/>
                  </a:lnTo>
                  <a:lnTo>
                    <a:pt x="768" y="1278"/>
                  </a:lnTo>
                  <a:lnTo>
                    <a:pt x="774" y="1272"/>
                  </a:lnTo>
                  <a:lnTo>
                    <a:pt x="780" y="1266"/>
                  </a:lnTo>
                  <a:lnTo>
                    <a:pt x="786" y="1260"/>
                  </a:lnTo>
                  <a:lnTo>
                    <a:pt x="792" y="1254"/>
                  </a:lnTo>
                  <a:lnTo>
                    <a:pt x="798" y="1242"/>
                  </a:lnTo>
                  <a:lnTo>
                    <a:pt x="804" y="1242"/>
                  </a:lnTo>
                  <a:lnTo>
                    <a:pt x="804" y="1206"/>
                  </a:lnTo>
                  <a:lnTo>
                    <a:pt x="804" y="1182"/>
                  </a:lnTo>
                  <a:lnTo>
                    <a:pt x="804" y="1158"/>
                  </a:lnTo>
                  <a:lnTo>
                    <a:pt x="804" y="1134"/>
                  </a:lnTo>
                  <a:lnTo>
                    <a:pt x="798" y="1116"/>
                  </a:lnTo>
                  <a:lnTo>
                    <a:pt x="792" y="1092"/>
                  </a:lnTo>
                  <a:lnTo>
                    <a:pt x="786" y="1062"/>
                  </a:lnTo>
                  <a:lnTo>
                    <a:pt x="768" y="1032"/>
                  </a:lnTo>
                  <a:lnTo>
                    <a:pt x="762" y="1032"/>
                  </a:lnTo>
                  <a:lnTo>
                    <a:pt x="762" y="1020"/>
                  </a:lnTo>
                  <a:lnTo>
                    <a:pt x="762" y="1014"/>
                  </a:lnTo>
                  <a:lnTo>
                    <a:pt x="756" y="1008"/>
                  </a:lnTo>
                  <a:lnTo>
                    <a:pt x="750" y="1002"/>
                  </a:lnTo>
                  <a:lnTo>
                    <a:pt x="738" y="1002"/>
                  </a:lnTo>
                  <a:lnTo>
                    <a:pt x="738" y="990"/>
                  </a:lnTo>
                  <a:lnTo>
                    <a:pt x="726" y="990"/>
                  </a:lnTo>
                  <a:lnTo>
                    <a:pt x="726" y="978"/>
                  </a:lnTo>
                  <a:lnTo>
                    <a:pt x="732" y="972"/>
                  </a:lnTo>
                  <a:lnTo>
                    <a:pt x="732" y="966"/>
                  </a:lnTo>
                  <a:lnTo>
                    <a:pt x="726" y="966"/>
                  </a:lnTo>
                  <a:lnTo>
                    <a:pt x="732" y="948"/>
                  </a:lnTo>
                  <a:lnTo>
                    <a:pt x="726" y="942"/>
                  </a:lnTo>
                  <a:lnTo>
                    <a:pt x="726" y="930"/>
                  </a:lnTo>
                  <a:lnTo>
                    <a:pt x="720" y="924"/>
                  </a:lnTo>
                  <a:lnTo>
                    <a:pt x="714" y="912"/>
                  </a:lnTo>
                  <a:lnTo>
                    <a:pt x="714" y="882"/>
                  </a:lnTo>
                  <a:lnTo>
                    <a:pt x="714" y="870"/>
                  </a:lnTo>
                  <a:lnTo>
                    <a:pt x="714" y="858"/>
                  </a:lnTo>
                  <a:lnTo>
                    <a:pt x="714" y="846"/>
                  </a:lnTo>
                  <a:lnTo>
                    <a:pt x="708" y="822"/>
                  </a:lnTo>
                  <a:lnTo>
                    <a:pt x="702" y="798"/>
                  </a:lnTo>
                  <a:lnTo>
                    <a:pt x="696" y="792"/>
                  </a:lnTo>
                  <a:lnTo>
                    <a:pt x="684" y="726"/>
                  </a:lnTo>
                  <a:lnTo>
                    <a:pt x="678" y="666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66" y="600"/>
                  </a:lnTo>
                  <a:lnTo>
                    <a:pt x="660" y="594"/>
                  </a:lnTo>
                  <a:lnTo>
                    <a:pt x="654" y="594"/>
                  </a:lnTo>
                  <a:lnTo>
                    <a:pt x="636" y="582"/>
                  </a:lnTo>
                  <a:lnTo>
                    <a:pt x="630" y="576"/>
                  </a:lnTo>
                  <a:lnTo>
                    <a:pt x="624" y="576"/>
                  </a:lnTo>
                  <a:lnTo>
                    <a:pt x="618" y="570"/>
                  </a:lnTo>
                  <a:lnTo>
                    <a:pt x="612" y="564"/>
                  </a:lnTo>
                  <a:lnTo>
                    <a:pt x="606" y="558"/>
                  </a:lnTo>
                  <a:lnTo>
                    <a:pt x="606" y="564"/>
                  </a:lnTo>
                  <a:lnTo>
                    <a:pt x="600" y="564"/>
                  </a:lnTo>
                  <a:lnTo>
                    <a:pt x="594" y="558"/>
                  </a:lnTo>
                  <a:lnTo>
                    <a:pt x="594" y="540"/>
                  </a:lnTo>
                  <a:lnTo>
                    <a:pt x="594" y="528"/>
                  </a:lnTo>
                  <a:lnTo>
                    <a:pt x="594" y="516"/>
                  </a:lnTo>
                  <a:lnTo>
                    <a:pt x="594" y="510"/>
                  </a:lnTo>
                  <a:lnTo>
                    <a:pt x="594" y="492"/>
                  </a:lnTo>
                  <a:lnTo>
                    <a:pt x="594" y="456"/>
                  </a:lnTo>
                  <a:lnTo>
                    <a:pt x="588" y="414"/>
                  </a:lnTo>
                  <a:lnTo>
                    <a:pt x="588" y="408"/>
                  </a:lnTo>
                  <a:lnTo>
                    <a:pt x="582" y="396"/>
                  </a:lnTo>
                  <a:lnTo>
                    <a:pt x="582" y="384"/>
                  </a:lnTo>
                  <a:lnTo>
                    <a:pt x="582" y="372"/>
                  </a:lnTo>
                  <a:lnTo>
                    <a:pt x="564" y="372"/>
                  </a:lnTo>
                  <a:lnTo>
                    <a:pt x="552" y="366"/>
                  </a:lnTo>
                  <a:lnTo>
                    <a:pt x="552" y="372"/>
                  </a:lnTo>
                  <a:lnTo>
                    <a:pt x="498" y="372"/>
                  </a:lnTo>
                  <a:lnTo>
                    <a:pt x="498" y="366"/>
                  </a:lnTo>
                  <a:lnTo>
                    <a:pt x="474" y="360"/>
                  </a:lnTo>
                  <a:lnTo>
                    <a:pt x="456" y="354"/>
                  </a:lnTo>
                  <a:lnTo>
                    <a:pt x="438" y="348"/>
                  </a:lnTo>
                  <a:lnTo>
                    <a:pt x="426" y="354"/>
                  </a:lnTo>
                  <a:lnTo>
                    <a:pt x="408" y="360"/>
                  </a:lnTo>
                  <a:lnTo>
                    <a:pt x="378" y="360"/>
                  </a:lnTo>
                  <a:lnTo>
                    <a:pt x="378" y="354"/>
                  </a:lnTo>
                  <a:lnTo>
                    <a:pt x="378" y="348"/>
                  </a:lnTo>
                  <a:lnTo>
                    <a:pt x="378" y="342"/>
                  </a:lnTo>
                  <a:lnTo>
                    <a:pt x="390" y="330"/>
                  </a:lnTo>
                  <a:lnTo>
                    <a:pt x="396" y="312"/>
                  </a:lnTo>
                  <a:lnTo>
                    <a:pt x="396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8"/>
                  </a:lnTo>
                  <a:lnTo>
                    <a:pt x="372" y="234"/>
                  </a:lnTo>
                  <a:lnTo>
                    <a:pt x="354" y="234"/>
                  </a:lnTo>
                  <a:lnTo>
                    <a:pt x="342" y="246"/>
                  </a:lnTo>
                  <a:lnTo>
                    <a:pt x="330" y="252"/>
                  </a:lnTo>
                  <a:lnTo>
                    <a:pt x="318" y="252"/>
                  </a:lnTo>
                  <a:lnTo>
                    <a:pt x="276" y="258"/>
                  </a:lnTo>
                  <a:lnTo>
                    <a:pt x="276" y="264"/>
                  </a:lnTo>
                  <a:lnTo>
                    <a:pt x="252" y="270"/>
                  </a:lnTo>
                  <a:lnTo>
                    <a:pt x="240" y="270"/>
                  </a:lnTo>
                  <a:lnTo>
                    <a:pt x="228" y="276"/>
                  </a:lnTo>
                  <a:lnTo>
                    <a:pt x="210" y="282"/>
                  </a:lnTo>
                  <a:lnTo>
                    <a:pt x="198" y="288"/>
                  </a:lnTo>
                  <a:lnTo>
                    <a:pt x="186" y="294"/>
                  </a:lnTo>
                  <a:lnTo>
                    <a:pt x="174" y="330"/>
                  </a:lnTo>
                  <a:lnTo>
                    <a:pt x="162" y="342"/>
                  </a:lnTo>
                  <a:lnTo>
                    <a:pt x="156" y="354"/>
                  </a:lnTo>
                  <a:lnTo>
                    <a:pt x="150" y="360"/>
                  </a:lnTo>
                  <a:lnTo>
                    <a:pt x="150" y="366"/>
                  </a:lnTo>
                  <a:lnTo>
                    <a:pt x="108" y="372"/>
                  </a:lnTo>
                  <a:lnTo>
                    <a:pt x="60" y="378"/>
                  </a:lnTo>
                  <a:lnTo>
                    <a:pt x="42" y="378"/>
                  </a:lnTo>
                  <a:lnTo>
                    <a:pt x="12" y="378"/>
                  </a:lnTo>
                  <a:lnTo>
                    <a:pt x="6" y="378"/>
                  </a:lnTo>
                  <a:lnTo>
                    <a:pt x="0" y="366"/>
                  </a:lnTo>
                  <a:lnTo>
                    <a:pt x="12" y="360"/>
                  </a:lnTo>
                  <a:lnTo>
                    <a:pt x="24" y="348"/>
                  </a:lnTo>
                  <a:lnTo>
                    <a:pt x="30" y="342"/>
                  </a:lnTo>
                  <a:lnTo>
                    <a:pt x="36" y="330"/>
                  </a:lnTo>
                  <a:lnTo>
                    <a:pt x="72" y="300"/>
                  </a:lnTo>
                  <a:lnTo>
                    <a:pt x="78" y="294"/>
                  </a:lnTo>
                  <a:lnTo>
                    <a:pt x="78" y="288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96" y="270"/>
                  </a:lnTo>
                  <a:lnTo>
                    <a:pt x="102" y="264"/>
                  </a:lnTo>
                  <a:lnTo>
                    <a:pt x="108" y="258"/>
                  </a:lnTo>
                  <a:lnTo>
                    <a:pt x="114" y="246"/>
                  </a:lnTo>
                  <a:lnTo>
                    <a:pt x="120" y="240"/>
                  </a:lnTo>
                  <a:lnTo>
                    <a:pt x="126" y="234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0" y="210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86" y="174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22" y="138"/>
                  </a:lnTo>
                  <a:lnTo>
                    <a:pt x="234" y="132"/>
                  </a:lnTo>
                  <a:lnTo>
                    <a:pt x="246" y="126"/>
                  </a:lnTo>
                  <a:lnTo>
                    <a:pt x="246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88" y="102"/>
                  </a:lnTo>
                  <a:lnTo>
                    <a:pt x="300" y="96"/>
                  </a:lnTo>
                  <a:lnTo>
                    <a:pt x="306" y="90"/>
                  </a:lnTo>
                  <a:lnTo>
                    <a:pt x="318" y="90"/>
                  </a:lnTo>
                  <a:lnTo>
                    <a:pt x="324" y="84"/>
                  </a:lnTo>
                  <a:lnTo>
                    <a:pt x="348" y="72"/>
                  </a:lnTo>
                  <a:lnTo>
                    <a:pt x="354" y="72"/>
                  </a:lnTo>
                  <a:lnTo>
                    <a:pt x="384" y="66"/>
                  </a:lnTo>
                  <a:lnTo>
                    <a:pt x="390" y="66"/>
                  </a:lnTo>
                  <a:lnTo>
                    <a:pt x="396" y="66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66"/>
                  </a:lnTo>
                  <a:lnTo>
                    <a:pt x="438" y="66"/>
                  </a:lnTo>
                  <a:lnTo>
                    <a:pt x="468" y="66"/>
                  </a:lnTo>
                  <a:lnTo>
                    <a:pt x="480" y="66"/>
                  </a:lnTo>
                  <a:lnTo>
                    <a:pt x="486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22" y="60"/>
                  </a:lnTo>
                  <a:lnTo>
                    <a:pt x="534" y="54"/>
                  </a:lnTo>
                  <a:lnTo>
                    <a:pt x="564" y="42"/>
                  </a:lnTo>
                  <a:lnTo>
                    <a:pt x="570" y="42"/>
                  </a:lnTo>
                  <a:lnTo>
                    <a:pt x="582" y="36"/>
                  </a:lnTo>
                  <a:lnTo>
                    <a:pt x="588" y="36"/>
                  </a:lnTo>
                  <a:lnTo>
                    <a:pt x="600" y="30"/>
                  </a:lnTo>
                  <a:lnTo>
                    <a:pt x="606" y="30"/>
                  </a:lnTo>
                  <a:lnTo>
                    <a:pt x="618" y="24"/>
                  </a:lnTo>
                  <a:lnTo>
                    <a:pt x="642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72" y="12"/>
                  </a:lnTo>
                  <a:lnTo>
                    <a:pt x="696" y="12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50" y="6"/>
                  </a:lnTo>
                  <a:lnTo>
                    <a:pt x="768" y="6"/>
                  </a:lnTo>
                  <a:lnTo>
                    <a:pt x="774" y="6"/>
                  </a:lnTo>
                  <a:lnTo>
                    <a:pt x="786" y="6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6" y="6"/>
                  </a:lnTo>
                  <a:lnTo>
                    <a:pt x="846" y="6"/>
                  </a:lnTo>
                  <a:lnTo>
                    <a:pt x="852" y="0"/>
                  </a:lnTo>
                  <a:lnTo>
                    <a:pt x="876" y="0"/>
                  </a:lnTo>
                  <a:lnTo>
                    <a:pt x="876" y="6"/>
                  </a:lnTo>
                  <a:lnTo>
                    <a:pt x="888" y="0"/>
                  </a:lnTo>
                  <a:lnTo>
                    <a:pt x="900" y="0"/>
                  </a:lnTo>
                  <a:lnTo>
                    <a:pt x="906" y="0"/>
                  </a:lnTo>
                  <a:lnTo>
                    <a:pt x="912" y="0"/>
                  </a:lnTo>
                  <a:lnTo>
                    <a:pt x="948" y="0"/>
                  </a:lnTo>
                  <a:lnTo>
                    <a:pt x="954" y="0"/>
                  </a:lnTo>
                  <a:lnTo>
                    <a:pt x="972" y="0"/>
                  </a:lnTo>
                  <a:lnTo>
                    <a:pt x="978" y="0"/>
                  </a:lnTo>
                  <a:lnTo>
                    <a:pt x="996" y="0"/>
                  </a:lnTo>
                  <a:lnTo>
                    <a:pt x="1032" y="0"/>
                  </a:lnTo>
                  <a:lnTo>
                    <a:pt x="1044" y="0"/>
                  </a:lnTo>
                  <a:lnTo>
                    <a:pt x="1050" y="0"/>
                  </a:lnTo>
                  <a:lnTo>
                    <a:pt x="1056" y="6"/>
                  </a:lnTo>
                  <a:lnTo>
                    <a:pt x="1056" y="0"/>
                  </a:lnTo>
                  <a:lnTo>
                    <a:pt x="1074" y="0"/>
                  </a:lnTo>
                  <a:lnTo>
                    <a:pt x="1098" y="6"/>
                  </a:lnTo>
                  <a:lnTo>
                    <a:pt x="1116" y="6"/>
                  </a:lnTo>
                  <a:lnTo>
                    <a:pt x="1140" y="12"/>
                  </a:lnTo>
                  <a:lnTo>
                    <a:pt x="1152" y="12"/>
                  </a:lnTo>
                  <a:lnTo>
                    <a:pt x="1158" y="12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6" y="12"/>
                  </a:lnTo>
                  <a:lnTo>
                    <a:pt x="1194" y="18"/>
                  </a:lnTo>
                  <a:lnTo>
                    <a:pt x="1206" y="18"/>
                  </a:lnTo>
                  <a:lnTo>
                    <a:pt x="1242" y="36"/>
                  </a:lnTo>
                  <a:lnTo>
                    <a:pt x="1248" y="36"/>
                  </a:lnTo>
                  <a:lnTo>
                    <a:pt x="1254" y="36"/>
                  </a:lnTo>
                  <a:lnTo>
                    <a:pt x="1260" y="42"/>
                  </a:lnTo>
                  <a:lnTo>
                    <a:pt x="1272" y="48"/>
                  </a:lnTo>
                  <a:lnTo>
                    <a:pt x="1278" y="48"/>
                  </a:lnTo>
                  <a:lnTo>
                    <a:pt x="1284" y="48"/>
                  </a:lnTo>
                  <a:lnTo>
                    <a:pt x="1290" y="54"/>
                  </a:lnTo>
                  <a:lnTo>
                    <a:pt x="1308" y="60"/>
                  </a:lnTo>
                  <a:lnTo>
                    <a:pt x="1326" y="60"/>
                  </a:lnTo>
                  <a:lnTo>
                    <a:pt x="1338" y="66"/>
                  </a:lnTo>
                  <a:lnTo>
                    <a:pt x="1344" y="66"/>
                  </a:lnTo>
                  <a:lnTo>
                    <a:pt x="1350" y="66"/>
                  </a:lnTo>
                  <a:lnTo>
                    <a:pt x="1356" y="66"/>
                  </a:lnTo>
                  <a:lnTo>
                    <a:pt x="1362" y="72"/>
                  </a:lnTo>
                  <a:lnTo>
                    <a:pt x="1368" y="72"/>
                  </a:lnTo>
                  <a:lnTo>
                    <a:pt x="1380" y="72"/>
                  </a:lnTo>
                  <a:lnTo>
                    <a:pt x="1386" y="72"/>
                  </a:lnTo>
                  <a:lnTo>
                    <a:pt x="1422" y="84"/>
                  </a:lnTo>
                  <a:lnTo>
                    <a:pt x="1428" y="84"/>
                  </a:lnTo>
                  <a:lnTo>
                    <a:pt x="1446" y="90"/>
                  </a:lnTo>
                  <a:lnTo>
                    <a:pt x="1458" y="102"/>
                  </a:lnTo>
                  <a:lnTo>
                    <a:pt x="1494" y="126"/>
                  </a:lnTo>
                  <a:lnTo>
                    <a:pt x="1500" y="132"/>
                  </a:lnTo>
                  <a:lnTo>
                    <a:pt x="1512" y="138"/>
                  </a:lnTo>
                  <a:lnTo>
                    <a:pt x="1512" y="144"/>
                  </a:lnTo>
                  <a:lnTo>
                    <a:pt x="1518" y="150"/>
                  </a:lnTo>
                  <a:lnTo>
                    <a:pt x="1530" y="156"/>
                  </a:lnTo>
                  <a:lnTo>
                    <a:pt x="1530" y="162"/>
                  </a:lnTo>
                  <a:lnTo>
                    <a:pt x="1548" y="168"/>
                  </a:lnTo>
                  <a:lnTo>
                    <a:pt x="1566" y="180"/>
                  </a:lnTo>
                  <a:lnTo>
                    <a:pt x="1578" y="186"/>
                  </a:lnTo>
                  <a:lnTo>
                    <a:pt x="1578" y="180"/>
                  </a:lnTo>
                  <a:lnTo>
                    <a:pt x="1584" y="186"/>
                  </a:lnTo>
                  <a:lnTo>
                    <a:pt x="1584" y="174"/>
                  </a:lnTo>
                  <a:lnTo>
                    <a:pt x="1590" y="174"/>
                  </a:lnTo>
                  <a:lnTo>
                    <a:pt x="1590" y="180"/>
                  </a:lnTo>
                  <a:lnTo>
                    <a:pt x="1596" y="180"/>
                  </a:lnTo>
                  <a:lnTo>
                    <a:pt x="1596" y="174"/>
                  </a:lnTo>
                  <a:lnTo>
                    <a:pt x="1602" y="174"/>
                  </a:lnTo>
                  <a:lnTo>
                    <a:pt x="1608" y="174"/>
                  </a:lnTo>
                  <a:lnTo>
                    <a:pt x="1614" y="180"/>
                  </a:lnTo>
                  <a:lnTo>
                    <a:pt x="1620" y="174"/>
                  </a:lnTo>
                  <a:lnTo>
                    <a:pt x="1614" y="168"/>
                  </a:lnTo>
                  <a:lnTo>
                    <a:pt x="1614" y="162"/>
                  </a:lnTo>
                  <a:lnTo>
                    <a:pt x="1620" y="162"/>
                  </a:lnTo>
                  <a:lnTo>
                    <a:pt x="1626" y="162"/>
                  </a:lnTo>
                  <a:lnTo>
                    <a:pt x="1632" y="162"/>
                  </a:lnTo>
                  <a:lnTo>
                    <a:pt x="1638" y="168"/>
                  </a:lnTo>
                  <a:lnTo>
                    <a:pt x="1644" y="168"/>
                  </a:lnTo>
                  <a:lnTo>
                    <a:pt x="1650" y="174"/>
                  </a:lnTo>
                  <a:lnTo>
                    <a:pt x="1656" y="168"/>
                  </a:lnTo>
                  <a:lnTo>
                    <a:pt x="1668" y="168"/>
                  </a:lnTo>
                  <a:lnTo>
                    <a:pt x="1674" y="174"/>
                  </a:lnTo>
                  <a:lnTo>
                    <a:pt x="1674" y="180"/>
                  </a:lnTo>
                  <a:lnTo>
                    <a:pt x="1674" y="186"/>
                  </a:lnTo>
                  <a:lnTo>
                    <a:pt x="1680" y="186"/>
                  </a:lnTo>
                  <a:lnTo>
                    <a:pt x="1680" y="192"/>
                  </a:lnTo>
                  <a:lnTo>
                    <a:pt x="1686" y="192"/>
                  </a:lnTo>
                  <a:lnTo>
                    <a:pt x="1686" y="186"/>
                  </a:lnTo>
                  <a:lnTo>
                    <a:pt x="1680" y="186"/>
                  </a:lnTo>
                  <a:lnTo>
                    <a:pt x="1686" y="180"/>
                  </a:lnTo>
                  <a:lnTo>
                    <a:pt x="1692" y="180"/>
                  </a:lnTo>
                  <a:lnTo>
                    <a:pt x="1698" y="180"/>
                  </a:lnTo>
                  <a:lnTo>
                    <a:pt x="1704" y="180"/>
                  </a:lnTo>
                  <a:lnTo>
                    <a:pt x="1704" y="186"/>
                  </a:lnTo>
                  <a:lnTo>
                    <a:pt x="1710" y="186"/>
                  </a:lnTo>
                  <a:lnTo>
                    <a:pt x="1716" y="186"/>
                  </a:lnTo>
                  <a:lnTo>
                    <a:pt x="1716" y="192"/>
                  </a:lnTo>
                  <a:lnTo>
                    <a:pt x="1716" y="198"/>
                  </a:lnTo>
                  <a:lnTo>
                    <a:pt x="1722" y="192"/>
                  </a:lnTo>
                  <a:lnTo>
                    <a:pt x="1722" y="186"/>
                  </a:lnTo>
                  <a:lnTo>
                    <a:pt x="1728" y="192"/>
                  </a:lnTo>
                  <a:lnTo>
                    <a:pt x="1734" y="192"/>
                  </a:lnTo>
                  <a:lnTo>
                    <a:pt x="1734" y="186"/>
                  </a:lnTo>
                  <a:lnTo>
                    <a:pt x="1740" y="186"/>
                  </a:lnTo>
                  <a:lnTo>
                    <a:pt x="1740" y="192"/>
                  </a:lnTo>
                  <a:lnTo>
                    <a:pt x="1746" y="192"/>
                  </a:lnTo>
                  <a:lnTo>
                    <a:pt x="1758" y="192"/>
                  </a:lnTo>
                  <a:lnTo>
                    <a:pt x="1764" y="192"/>
                  </a:lnTo>
                  <a:lnTo>
                    <a:pt x="1764" y="198"/>
                  </a:lnTo>
                  <a:lnTo>
                    <a:pt x="1758" y="204"/>
                  </a:lnTo>
                  <a:lnTo>
                    <a:pt x="1752" y="210"/>
                  </a:lnTo>
                  <a:lnTo>
                    <a:pt x="1746" y="216"/>
                  </a:lnTo>
                  <a:lnTo>
                    <a:pt x="1746" y="222"/>
                  </a:lnTo>
                  <a:lnTo>
                    <a:pt x="1734" y="228"/>
                  </a:lnTo>
                  <a:lnTo>
                    <a:pt x="1734" y="234"/>
                  </a:lnTo>
                  <a:lnTo>
                    <a:pt x="1734" y="258"/>
                  </a:lnTo>
                  <a:lnTo>
                    <a:pt x="1740" y="330"/>
                  </a:lnTo>
                  <a:lnTo>
                    <a:pt x="1746" y="372"/>
                  </a:lnTo>
                  <a:lnTo>
                    <a:pt x="1788" y="426"/>
                  </a:lnTo>
                  <a:lnTo>
                    <a:pt x="1806" y="438"/>
                  </a:lnTo>
                  <a:lnTo>
                    <a:pt x="1794" y="480"/>
                  </a:lnTo>
                  <a:lnTo>
                    <a:pt x="1770" y="516"/>
                  </a:lnTo>
                  <a:lnTo>
                    <a:pt x="1746" y="546"/>
                  </a:lnTo>
                  <a:lnTo>
                    <a:pt x="1716" y="570"/>
                  </a:lnTo>
                  <a:lnTo>
                    <a:pt x="1680" y="594"/>
                  </a:lnTo>
                  <a:lnTo>
                    <a:pt x="1668" y="630"/>
                  </a:lnTo>
                  <a:lnTo>
                    <a:pt x="1680" y="684"/>
                  </a:lnTo>
                  <a:lnTo>
                    <a:pt x="1686" y="756"/>
                  </a:lnTo>
                  <a:lnTo>
                    <a:pt x="1662" y="870"/>
                  </a:lnTo>
                  <a:lnTo>
                    <a:pt x="1656" y="888"/>
                  </a:lnTo>
                  <a:lnTo>
                    <a:pt x="1650" y="972"/>
                  </a:lnTo>
                  <a:lnTo>
                    <a:pt x="1656" y="978"/>
                  </a:lnTo>
                  <a:lnTo>
                    <a:pt x="1650" y="984"/>
                  </a:lnTo>
                  <a:lnTo>
                    <a:pt x="1650" y="990"/>
                  </a:lnTo>
                  <a:lnTo>
                    <a:pt x="1650" y="1002"/>
                  </a:lnTo>
                  <a:lnTo>
                    <a:pt x="1656" y="1008"/>
                  </a:lnTo>
                  <a:lnTo>
                    <a:pt x="1656" y="1014"/>
                  </a:lnTo>
                  <a:lnTo>
                    <a:pt x="1662" y="1026"/>
                  </a:lnTo>
                  <a:lnTo>
                    <a:pt x="1650" y="1032"/>
                  </a:lnTo>
                  <a:lnTo>
                    <a:pt x="1638" y="1044"/>
                  </a:lnTo>
                  <a:lnTo>
                    <a:pt x="1626" y="1080"/>
                  </a:lnTo>
                  <a:lnTo>
                    <a:pt x="1614" y="1116"/>
                  </a:lnTo>
                  <a:lnTo>
                    <a:pt x="1614" y="1128"/>
                  </a:lnTo>
                  <a:lnTo>
                    <a:pt x="1626" y="1134"/>
                  </a:lnTo>
                  <a:lnTo>
                    <a:pt x="1644" y="1134"/>
                  </a:lnTo>
                  <a:lnTo>
                    <a:pt x="1662" y="1134"/>
                  </a:lnTo>
                  <a:lnTo>
                    <a:pt x="1680" y="1140"/>
                  </a:lnTo>
                  <a:lnTo>
                    <a:pt x="1698" y="1170"/>
                  </a:lnTo>
                  <a:lnTo>
                    <a:pt x="1704" y="1194"/>
                  </a:lnTo>
                  <a:lnTo>
                    <a:pt x="1692" y="1206"/>
                  </a:lnTo>
                  <a:lnTo>
                    <a:pt x="1662" y="1242"/>
                  </a:lnTo>
                  <a:lnTo>
                    <a:pt x="1632" y="1266"/>
                  </a:lnTo>
                  <a:lnTo>
                    <a:pt x="1620" y="1314"/>
                  </a:lnTo>
                  <a:lnTo>
                    <a:pt x="1584" y="1356"/>
                  </a:lnTo>
                  <a:lnTo>
                    <a:pt x="1578" y="1356"/>
                  </a:lnTo>
                  <a:lnTo>
                    <a:pt x="1578" y="1362"/>
                  </a:lnTo>
                  <a:lnTo>
                    <a:pt x="1572" y="1410"/>
                  </a:lnTo>
                  <a:lnTo>
                    <a:pt x="1584" y="1452"/>
                  </a:lnTo>
                  <a:lnTo>
                    <a:pt x="1608" y="1476"/>
                  </a:lnTo>
                  <a:lnTo>
                    <a:pt x="1596" y="1476"/>
                  </a:lnTo>
                  <a:lnTo>
                    <a:pt x="1584" y="1482"/>
                  </a:lnTo>
                  <a:lnTo>
                    <a:pt x="1560" y="1482"/>
                  </a:lnTo>
                  <a:lnTo>
                    <a:pt x="1536" y="1482"/>
                  </a:lnTo>
                  <a:lnTo>
                    <a:pt x="1524" y="1482"/>
                  </a:lnTo>
                  <a:lnTo>
                    <a:pt x="1506" y="1500"/>
                  </a:lnTo>
                  <a:lnTo>
                    <a:pt x="1482" y="1530"/>
                  </a:lnTo>
                  <a:lnTo>
                    <a:pt x="1452" y="1542"/>
                  </a:lnTo>
                  <a:lnTo>
                    <a:pt x="1446" y="1542"/>
                  </a:lnTo>
                  <a:lnTo>
                    <a:pt x="1440" y="1542"/>
                  </a:lnTo>
                  <a:lnTo>
                    <a:pt x="1440" y="1548"/>
                  </a:lnTo>
                  <a:lnTo>
                    <a:pt x="1434" y="1548"/>
                  </a:lnTo>
                  <a:lnTo>
                    <a:pt x="1428" y="1548"/>
                  </a:lnTo>
                  <a:lnTo>
                    <a:pt x="1428" y="1554"/>
                  </a:lnTo>
                  <a:lnTo>
                    <a:pt x="1422" y="1560"/>
                  </a:lnTo>
                  <a:lnTo>
                    <a:pt x="1416" y="1560"/>
                  </a:lnTo>
                  <a:lnTo>
                    <a:pt x="1410" y="1566"/>
                  </a:lnTo>
                  <a:lnTo>
                    <a:pt x="1410" y="1560"/>
                  </a:lnTo>
                  <a:lnTo>
                    <a:pt x="1404" y="1560"/>
                  </a:lnTo>
                  <a:lnTo>
                    <a:pt x="1392" y="1560"/>
                  </a:lnTo>
                  <a:lnTo>
                    <a:pt x="1386" y="1560"/>
                  </a:lnTo>
                  <a:lnTo>
                    <a:pt x="1380" y="1566"/>
                  </a:lnTo>
                  <a:lnTo>
                    <a:pt x="1374" y="1560"/>
                  </a:lnTo>
                  <a:lnTo>
                    <a:pt x="1368" y="1566"/>
                  </a:lnTo>
                  <a:lnTo>
                    <a:pt x="1362" y="1566"/>
                  </a:lnTo>
                  <a:lnTo>
                    <a:pt x="1362" y="1572"/>
                  </a:lnTo>
                  <a:lnTo>
                    <a:pt x="1356" y="1572"/>
                  </a:lnTo>
                  <a:lnTo>
                    <a:pt x="1356" y="1578"/>
                  </a:lnTo>
                  <a:lnTo>
                    <a:pt x="1350" y="1578"/>
                  </a:lnTo>
                  <a:lnTo>
                    <a:pt x="1350" y="1572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32" y="1584"/>
                  </a:lnTo>
                  <a:lnTo>
                    <a:pt x="1326" y="1590"/>
                  </a:lnTo>
                  <a:lnTo>
                    <a:pt x="1320" y="1584"/>
                  </a:lnTo>
                  <a:lnTo>
                    <a:pt x="1314" y="1590"/>
                  </a:lnTo>
                  <a:lnTo>
                    <a:pt x="1308" y="1596"/>
                  </a:lnTo>
                  <a:lnTo>
                    <a:pt x="1302" y="1596"/>
                  </a:lnTo>
                  <a:lnTo>
                    <a:pt x="1296" y="1596"/>
                  </a:lnTo>
                  <a:lnTo>
                    <a:pt x="1290" y="1596"/>
                  </a:lnTo>
                  <a:lnTo>
                    <a:pt x="1284" y="1596"/>
                  </a:lnTo>
                  <a:lnTo>
                    <a:pt x="1278" y="1602"/>
                  </a:lnTo>
                  <a:lnTo>
                    <a:pt x="1266" y="1602"/>
                  </a:lnTo>
                  <a:lnTo>
                    <a:pt x="1272" y="1608"/>
                  </a:lnTo>
                  <a:lnTo>
                    <a:pt x="1278" y="1608"/>
                  </a:lnTo>
                  <a:lnTo>
                    <a:pt x="1284" y="1608"/>
                  </a:lnTo>
                  <a:lnTo>
                    <a:pt x="1290" y="1614"/>
                  </a:lnTo>
                  <a:lnTo>
                    <a:pt x="1296" y="1620"/>
                  </a:lnTo>
                  <a:lnTo>
                    <a:pt x="1302" y="1626"/>
                  </a:lnTo>
                  <a:lnTo>
                    <a:pt x="1308" y="1632"/>
                  </a:lnTo>
                  <a:lnTo>
                    <a:pt x="1314" y="1638"/>
                  </a:lnTo>
                  <a:lnTo>
                    <a:pt x="1314" y="1644"/>
                  </a:lnTo>
                  <a:lnTo>
                    <a:pt x="1320" y="1644"/>
                  </a:lnTo>
                  <a:lnTo>
                    <a:pt x="1320" y="1650"/>
                  </a:lnTo>
                  <a:lnTo>
                    <a:pt x="1326" y="1656"/>
                  </a:lnTo>
                  <a:lnTo>
                    <a:pt x="1332" y="1668"/>
                  </a:lnTo>
                  <a:lnTo>
                    <a:pt x="1338" y="1680"/>
                  </a:lnTo>
                  <a:lnTo>
                    <a:pt x="1338" y="1698"/>
                  </a:lnTo>
                  <a:lnTo>
                    <a:pt x="1350" y="1710"/>
                  </a:lnTo>
                  <a:lnTo>
                    <a:pt x="1350" y="1716"/>
                  </a:lnTo>
                  <a:lnTo>
                    <a:pt x="1350" y="1722"/>
                  </a:lnTo>
                  <a:lnTo>
                    <a:pt x="1350" y="1728"/>
                  </a:lnTo>
                  <a:lnTo>
                    <a:pt x="1356" y="1728"/>
                  </a:lnTo>
                  <a:lnTo>
                    <a:pt x="1356" y="1734"/>
                  </a:lnTo>
                  <a:lnTo>
                    <a:pt x="1350" y="1734"/>
                  </a:lnTo>
                  <a:lnTo>
                    <a:pt x="1344" y="1740"/>
                  </a:lnTo>
                  <a:lnTo>
                    <a:pt x="1338" y="1740"/>
                  </a:lnTo>
                  <a:lnTo>
                    <a:pt x="1332" y="1746"/>
                  </a:lnTo>
                  <a:lnTo>
                    <a:pt x="1326" y="1746"/>
                  </a:lnTo>
                  <a:lnTo>
                    <a:pt x="1326" y="1752"/>
                  </a:lnTo>
                  <a:lnTo>
                    <a:pt x="1320" y="1752"/>
                  </a:lnTo>
                  <a:lnTo>
                    <a:pt x="1320" y="1758"/>
                  </a:lnTo>
                  <a:lnTo>
                    <a:pt x="1314" y="1758"/>
                  </a:lnTo>
                  <a:lnTo>
                    <a:pt x="1308" y="1758"/>
                  </a:lnTo>
                  <a:lnTo>
                    <a:pt x="1302" y="1758"/>
                  </a:lnTo>
                  <a:lnTo>
                    <a:pt x="1296" y="1758"/>
                  </a:lnTo>
                  <a:lnTo>
                    <a:pt x="1290" y="1764"/>
                  </a:lnTo>
                  <a:lnTo>
                    <a:pt x="1284" y="1770"/>
                  </a:lnTo>
                  <a:lnTo>
                    <a:pt x="1278" y="1770"/>
                  </a:lnTo>
                  <a:lnTo>
                    <a:pt x="1272" y="1770"/>
                  </a:lnTo>
                  <a:lnTo>
                    <a:pt x="1266" y="1770"/>
                  </a:lnTo>
                  <a:lnTo>
                    <a:pt x="1266" y="1776"/>
                  </a:lnTo>
                  <a:lnTo>
                    <a:pt x="1260" y="1776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4" name="Freeform 39">
              <a:extLst>
                <a:ext uri="{FF2B5EF4-FFF2-40B4-BE49-F238E27FC236}">
                  <a16:creationId xmlns:a16="http://schemas.microsoft.com/office/drawing/2014/main" id="{E01CDA8B-32C7-421A-B23E-968CAC7F78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2974" y="1759680"/>
              <a:ext cx="825155" cy="700024"/>
            </a:xfrm>
            <a:custGeom>
              <a:avLst/>
              <a:gdLst>
                <a:gd name="T0" fmla="*/ 60 w 1554"/>
                <a:gd name="T1" fmla="*/ 86 h 1320"/>
                <a:gd name="T2" fmla="*/ 66 w 1554"/>
                <a:gd name="T3" fmla="*/ 80 h 1320"/>
                <a:gd name="T4" fmla="*/ 61 w 1554"/>
                <a:gd name="T5" fmla="*/ 73 h 1320"/>
                <a:gd name="T6" fmla="*/ 57 w 1554"/>
                <a:gd name="T7" fmla="*/ 67 h 1320"/>
                <a:gd name="T8" fmla="*/ 60 w 1554"/>
                <a:gd name="T9" fmla="*/ 59 h 1320"/>
                <a:gd name="T10" fmla="*/ 56 w 1554"/>
                <a:gd name="T11" fmla="*/ 55 h 1320"/>
                <a:gd name="T12" fmla="*/ 45 w 1554"/>
                <a:gd name="T13" fmla="*/ 53 h 1320"/>
                <a:gd name="T14" fmla="*/ 42 w 1554"/>
                <a:gd name="T15" fmla="*/ 41 h 1320"/>
                <a:gd name="T16" fmla="*/ 37 w 1554"/>
                <a:gd name="T17" fmla="*/ 39 h 1320"/>
                <a:gd name="T18" fmla="*/ 31 w 1554"/>
                <a:gd name="T19" fmla="*/ 44 h 1320"/>
                <a:gd name="T20" fmla="*/ 37 w 1554"/>
                <a:gd name="T21" fmla="*/ 35 h 1320"/>
                <a:gd name="T22" fmla="*/ 30 w 1554"/>
                <a:gd name="T23" fmla="*/ 23 h 1320"/>
                <a:gd name="T24" fmla="*/ 21 w 1554"/>
                <a:gd name="T25" fmla="*/ 23 h 1320"/>
                <a:gd name="T26" fmla="*/ 15 w 1554"/>
                <a:gd name="T27" fmla="*/ 27 h 1320"/>
                <a:gd name="T28" fmla="*/ 11 w 1554"/>
                <a:gd name="T29" fmla="*/ 32 h 1320"/>
                <a:gd name="T30" fmla="*/ 6 w 1554"/>
                <a:gd name="T31" fmla="*/ 22 h 1320"/>
                <a:gd name="T32" fmla="*/ 3 w 1554"/>
                <a:gd name="T33" fmla="*/ 11 h 1320"/>
                <a:gd name="T34" fmla="*/ 24 w 1554"/>
                <a:gd name="T35" fmla="*/ 12 h 1320"/>
                <a:gd name="T36" fmla="*/ 33 w 1554"/>
                <a:gd name="T37" fmla="*/ 19 h 1320"/>
                <a:gd name="T38" fmla="*/ 49 w 1554"/>
                <a:gd name="T39" fmla="*/ 12 h 1320"/>
                <a:gd name="T40" fmla="*/ 58 w 1554"/>
                <a:gd name="T41" fmla="*/ 10 h 1320"/>
                <a:gd name="T42" fmla="*/ 68 w 1554"/>
                <a:gd name="T43" fmla="*/ 11 h 1320"/>
                <a:gd name="T44" fmla="*/ 79 w 1554"/>
                <a:gd name="T45" fmla="*/ 12 h 1320"/>
                <a:gd name="T46" fmla="*/ 96 w 1554"/>
                <a:gd name="T47" fmla="*/ 11 h 1320"/>
                <a:gd name="T48" fmla="*/ 107 w 1554"/>
                <a:gd name="T49" fmla="*/ 2 h 1320"/>
                <a:gd name="T50" fmla="*/ 117 w 1554"/>
                <a:gd name="T51" fmla="*/ 8 h 1320"/>
                <a:gd name="T52" fmla="*/ 126 w 1554"/>
                <a:gd name="T53" fmla="*/ 12 h 1320"/>
                <a:gd name="T54" fmla="*/ 134 w 1554"/>
                <a:gd name="T55" fmla="*/ 24 h 1320"/>
                <a:gd name="T56" fmla="*/ 133 w 1554"/>
                <a:gd name="T57" fmla="*/ 29 h 1320"/>
                <a:gd name="T58" fmla="*/ 129 w 1554"/>
                <a:gd name="T59" fmla="*/ 31 h 1320"/>
                <a:gd name="T60" fmla="*/ 125 w 1554"/>
                <a:gd name="T61" fmla="*/ 32 h 1320"/>
                <a:gd name="T62" fmla="*/ 115 w 1554"/>
                <a:gd name="T63" fmla="*/ 34 h 1320"/>
                <a:gd name="T64" fmla="*/ 113 w 1554"/>
                <a:gd name="T65" fmla="*/ 44 h 1320"/>
                <a:gd name="T66" fmla="*/ 111 w 1554"/>
                <a:gd name="T67" fmla="*/ 54 h 1320"/>
                <a:gd name="T68" fmla="*/ 107 w 1554"/>
                <a:gd name="T69" fmla="*/ 56 h 1320"/>
                <a:gd name="T70" fmla="*/ 102 w 1554"/>
                <a:gd name="T71" fmla="*/ 58 h 1320"/>
                <a:gd name="T72" fmla="*/ 99 w 1554"/>
                <a:gd name="T73" fmla="*/ 60 h 1320"/>
                <a:gd name="T74" fmla="*/ 93 w 1554"/>
                <a:gd name="T75" fmla="*/ 62 h 1320"/>
                <a:gd name="T76" fmla="*/ 87 w 1554"/>
                <a:gd name="T77" fmla="*/ 64 h 1320"/>
                <a:gd name="T78" fmla="*/ 84 w 1554"/>
                <a:gd name="T79" fmla="*/ 65 h 1320"/>
                <a:gd name="T80" fmla="*/ 81 w 1554"/>
                <a:gd name="T81" fmla="*/ 69 h 1320"/>
                <a:gd name="T82" fmla="*/ 83 w 1554"/>
                <a:gd name="T83" fmla="*/ 72 h 1320"/>
                <a:gd name="T84" fmla="*/ 92 w 1554"/>
                <a:gd name="T85" fmla="*/ 73 h 1320"/>
                <a:gd name="T86" fmla="*/ 93 w 1554"/>
                <a:gd name="T87" fmla="*/ 87 h 1320"/>
                <a:gd name="T88" fmla="*/ 104 w 1554"/>
                <a:gd name="T89" fmla="*/ 98 h 1320"/>
                <a:gd name="T90" fmla="*/ 108 w 1554"/>
                <a:gd name="T91" fmla="*/ 98 h 1320"/>
                <a:gd name="T92" fmla="*/ 112 w 1554"/>
                <a:gd name="T93" fmla="*/ 100 h 1320"/>
                <a:gd name="T94" fmla="*/ 118 w 1554"/>
                <a:gd name="T95" fmla="*/ 100 h 1320"/>
                <a:gd name="T96" fmla="*/ 122 w 1554"/>
                <a:gd name="T97" fmla="*/ 102 h 1320"/>
                <a:gd name="T98" fmla="*/ 118 w 1554"/>
                <a:gd name="T99" fmla="*/ 105 h 1320"/>
                <a:gd name="T100" fmla="*/ 114 w 1554"/>
                <a:gd name="T101" fmla="*/ 107 h 1320"/>
                <a:gd name="T102" fmla="*/ 113 w 1554"/>
                <a:gd name="T103" fmla="*/ 113 h 1320"/>
                <a:gd name="T104" fmla="*/ 104 w 1554"/>
                <a:gd name="T105" fmla="*/ 113 h 1320"/>
                <a:gd name="T106" fmla="*/ 93 w 1554"/>
                <a:gd name="T107" fmla="*/ 109 h 1320"/>
                <a:gd name="T108" fmla="*/ 96 w 1554"/>
                <a:gd name="T109" fmla="*/ 103 h 1320"/>
                <a:gd name="T110" fmla="*/ 95 w 1554"/>
                <a:gd name="T111" fmla="*/ 97 h 1320"/>
                <a:gd name="T112" fmla="*/ 87 w 1554"/>
                <a:gd name="T113" fmla="*/ 98 h 1320"/>
                <a:gd name="T114" fmla="*/ 81 w 1554"/>
                <a:gd name="T115" fmla="*/ 98 h 1320"/>
                <a:gd name="T116" fmla="*/ 78 w 1554"/>
                <a:gd name="T117" fmla="*/ 93 h 1320"/>
                <a:gd name="T118" fmla="*/ 65 w 1554"/>
                <a:gd name="T119" fmla="*/ 92 h 1320"/>
                <a:gd name="T120" fmla="*/ 59 w 1554"/>
                <a:gd name="T121" fmla="*/ 92 h 13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54"/>
                <a:gd name="T184" fmla="*/ 0 h 1320"/>
                <a:gd name="T185" fmla="*/ 1554 w 1554"/>
                <a:gd name="T186" fmla="*/ 1320 h 132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54" h="1320">
                  <a:moveTo>
                    <a:pt x="684" y="1068"/>
                  </a:moveTo>
                  <a:lnTo>
                    <a:pt x="684" y="1062"/>
                  </a:lnTo>
                  <a:lnTo>
                    <a:pt x="690" y="1056"/>
                  </a:lnTo>
                  <a:lnTo>
                    <a:pt x="690" y="1050"/>
                  </a:lnTo>
                  <a:lnTo>
                    <a:pt x="690" y="1044"/>
                  </a:lnTo>
                  <a:lnTo>
                    <a:pt x="690" y="1038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14"/>
                  </a:lnTo>
                  <a:lnTo>
                    <a:pt x="690" y="1008"/>
                  </a:lnTo>
                  <a:lnTo>
                    <a:pt x="696" y="996"/>
                  </a:lnTo>
                  <a:lnTo>
                    <a:pt x="714" y="996"/>
                  </a:lnTo>
                  <a:lnTo>
                    <a:pt x="714" y="990"/>
                  </a:lnTo>
                  <a:lnTo>
                    <a:pt x="732" y="984"/>
                  </a:lnTo>
                  <a:lnTo>
                    <a:pt x="744" y="978"/>
                  </a:lnTo>
                  <a:lnTo>
                    <a:pt x="762" y="966"/>
                  </a:lnTo>
                  <a:lnTo>
                    <a:pt x="762" y="960"/>
                  </a:lnTo>
                  <a:lnTo>
                    <a:pt x="768" y="954"/>
                  </a:lnTo>
                  <a:lnTo>
                    <a:pt x="774" y="948"/>
                  </a:lnTo>
                  <a:lnTo>
                    <a:pt x="774" y="942"/>
                  </a:lnTo>
                  <a:lnTo>
                    <a:pt x="774" y="924"/>
                  </a:lnTo>
                  <a:lnTo>
                    <a:pt x="768" y="918"/>
                  </a:lnTo>
                  <a:lnTo>
                    <a:pt x="756" y="918"/>
                  </a:lnTo>
                  <a:lnTo>
                    <a:pt x="744" y="918"/>
                  </a:lnTo>
                  <a:lnTo>
                    <a:pt x="732" y="924"/>
                  </a:lnTo>
                  <a:lnTo>
                    <a:pt x="726" y="912"/>
                  </a:lnTo>
                  <a:lnTo>
                    <a:pt x="720" y="912"/>
                  </a:lnTo>
                  <a:lnTo>
                    <a:pt x="720" y="900"/>
                  </a:lnTo>
                  <a:lnTo>
                    <a:pt x="720" y="870"/>
                  </a:lnTo>
                  <a:lnTo>
                    <a:pt x="696" y="876"/>
                  </a:lnTo>
                  <a:lnTo>
                    <a:pt x="690" y="852"/>
                  </a:lnTo>
                  <a:lnTo>
                    <a:pt x="702" y="852"/>
                  </a:lnTo>
                  <a:lnTo>
                    <a:pt x="702" y="840"/>
                  </a:lnTo>
                  <a:lnTo>
                    <a:pt x="708" y="834"/>
                  </a:lnTo>
                  <a:lnTo>
                    <a:pt x="702" y="822"/>
                  </a:lnTo>
                  <a:lnTo>
                    <a:pt x="660" y="822"/>
                  </a:lnTo>
                  <a:lnTo>
                    <a:pt x="654" y="822"/>
                  </a:lnTo>
                  <a:lnTo>
                    <a:pt x="642" y="822"/>
                  </a:lnTo>
                  <a:lnTo>
                    <a:pt x="642" y="810"/>
                  </a:lnTo>
                  <a:lnTo>
                    <a:pt x="642" y="798"/>
                  </a:lnTo>
                  <a:lnTo>
                    <a:pt x="642" y="792"/>
                  </a:lnTo>
                  <a:lnTo>
                    <a:pt x="648" y="780"/>
                  </a:lnTo>
                  <a:lnTo>
                    <a:pt x="654" y="774"/>
                  </a:lnTo>
                  <a:lnTo>
                    <a:pt x="660" y="774"/>
                  </a:lnTo>
                  <a:lnTo>
                    <a:pt x="672" y="762"/>
                  </a:lnTo>
                  <a:lnTo>
                    <a:pt x="672" y="756"/>
                  </a:lnTo>
                  <a:lnTo>
                    <a:pt x="678" y="750"/>
                  </a:lnTo>
                  <a:lnTo>
                    <a:pt x="684" y="750"/>
                  </a:lnTo>
                  <a:lnTo>
                    <a:pt x="690" y="744"/>
                  </a:lnTo>
                  <a:lnTo>
                    <a:pt x="696" y="732"/>
                  </a:lnTo>
                  <a:lnTo>
                    <a:pt x="696" y="726"/>
                  </a:lnTo>
                  <a:lnTo>
                    <a:pt x="702" y="714"/>
                  </a:lnTo>
                  <a:lnTo>
                    <a:pt x="696" y="708"/>
                  </a:lnTo>
                  <a:lnTo>
                    <a:pt x="690" y="690"/>
                  </a:lnTo>
                  <a:lnTo>
                    <a:pt x="696" y="678"/>
                  </a:lnTo>
                  <a:lnTo>
                    <a:pt x="708" y="672"/>
                  </a:lnTo>
                  <a:lnTo>
                    <a:pt x="708" y="660"/>
                  </a:lnTo>
                  <a:lnTo>
                    <a:pt x="702" y="660"/>
                  </a:lnTo>
                  <a:lnTo>
                    <a:pt x="696" y="660"/>
                  </a:lnTo>
                  <a:lnTo>
                    <a:pt x="690" y="654"/>
                  </a:lnTo>
                  <a:lnTo>
                    <a:pt x="684" y="654"/>
                  </a:lnTo>
                  <a:lnTo>
                    <a:pt x="690" y="606"/>
                  </a:lnTo>
                  <a:lnTo>
                    <a:pt x="660" y="606"/>
                  </a:lnTo>
                  <a:lnTo>
                    <a:pt x="660" y="612"/>
                  </a:lnTo>
                  <a:lnTo>
                    <a:pt x="648" y="612"/>
                  </a:lnTo>
                  <a:lnTo>
                    <a:pt x="642" y="636"/>
                  </a:lnTo>
                  <a:lnTo>
                    <a:pt x="636" y="636"/>
                  </a:lnTo>
                  <a:lnTo>
                    <a:pt x="630" y="648"/>
                  </a:lnTo>
                  <a:lnTo>
                    <a:pt x="612" y="648"/>
                  </a:lnTo>
                  <a:lnTo>
                    <a:pt x="606" y="636"/>
                  </a:lnTo>
                  <a:lnTo>
                    <a:pt x="600" y="630"/>
                  </a:lnTo>
                  <a:lnTo>
                    <a:pt x="588" y="606"/>
                  </a:lnTo>
                  <a:lnTo>
                    <a:pt x="552" y="606"/>
                  </a:lnTo>
                  <a:lnTo>
                    <a:pt x="552" y="612"/>
                  </a:lnTo>
                  <a:lnTo>
                    <a:pt x="540" y="612"/>
                  </a:lnTo>
                  <a:lnTo>
                    <a:pt x="540" y="606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16" y="612"/>
                  </a:lnTo>
                  <a:lnTo>
                    <a:pt x="516" y="582"/>
                  </a:lnTo>
                  <a:lnTo>
                    <a:pt x="522" y="576"/>
                  </a:lnTo>
                  <a:lnTo>
                    <a:pt x="528" y="576"/>
                  </a:lnTo>
                  <a:lnTo>
                    <a:pt x="528" y="552"/>
                  </a:lnTo>
                  <a:lnTo>
                    <a:pt x="522" y="540"/>
                  </a:lnTo>
                  <a:lnTo>
                    <a:pt x="510" y="528"/>
                  </a:lnTo>
                  <a:lnTo>
                    <a:pt x="486" y="510"/>
                  </a:lnTo>
                  <a:lnTo>
                    <a:pt x="480" y="498"/>
                  </a:lnTo>
                  <a:lnTo>
                    <a:pt x="480" y="474"/>
                  </a:lnTo>
                  <a:lnTo>
                    <a:pt x="492" y="468"/>
                  </a:lnTo>
                  <a:lnTo>
                    <a:pt x="486" y="450"/>
                  </a:lnTo>
                  <a:lnTo>
                    <a:pt x="474" y="456"/>
                  </a:lnTo>
                  <a:lnTo>
                    <a:pt x="468" y="456"/>
                  </a:lnTo>
                  <a:lnTo>
                    <a:pt x="462" y="456"/>
                  </a:lnTo>
                  <a:lnTo>
                    <a:pt x="456" y="468"/>
                  </a:lnTo>
                  <a:lnTo>
                    <a:pt x="456" y="474"/>
                  </a:lnTo>
                  <a:lnTo>
                    <a:pt x="450" y="480"/>
                  </a:lnTo>
                  <a:lnTo>
                    <a:pt x="444" y="450"/>
                  </a:lnTo>
                  <a:lnTo>
                    <a:pt x="438" y="450"/>
                  </a:lnTo>
                  <a:lnTo>
                    <a:pt x="432" y="450"/>
                  </a:lnTo>
                  <a:lnTo>
                    <a:pt x="420" y="450"/>
                  </a:lnTo>
                  <a:lnTo>
                    <a:pt x="420" y="456"/>
                  </a:lnTo>
                  <a:lnTo>
                    <a:pt x="414" y="456"/>
                  </a:lnTo>
                  <a:lnTo>
                    <a:pt x="408" y="468"/>
                  </a:lnTo>
                  <a:lnTo>
                    <a:pt x="402" y="468"/>
                  </a:lnTo>
                  <a:lnTo>
                    <a:pt x="396" y="474"/>
                  </a:lnTo>
                  <a:lnTo>
                    <a:pt x="390" y="492"/>
                  </a:lnTo>
                  <a:lnTo>
                    <a:pt x="384" y="504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54" y="510"/>
                  </a:lnTo>
                  <a:lnTo>
                    <a:pt x="360" y="480"/>
                  </a:lnTo>
                  <a:lnTo>
                    <a:pt x="360" y="474"/>
                  </a:lnTo>
                  <a:lnTo>
                    <a:pt x="378" y="456"/>
                  </a:lnTo>
                  <a:lnTo>
                    <a:pt x="384" y="450"/>
                  </a:lnTo>
                  <a:lnTo>
                    <a:pt x="396" y="444"/>
                  </a:lnTo>
                  <a:lnTo>
                    <a:pt x="402" y="438"/>
                  </a:lnTo>
                  <a:lnTo>
                    <a:pt x="408" y="438"/>
                  </a:lnTo>
                  <a:lnTo>
                    <a:pt x="408" y="426"/>
                  </a:lnTo>
                  <a:lnTo>
                    <a:pt x="414" y="420"/>
                  </a:lnTo>
                  <a:lnTo>
                    <a:pt x="426" y="420"/>
                  </a:lnTo>
                  <a:lnTo>
                    <a:pt x="426" y="408"/>
                  </a:lnTo>
                  <a:lnTo>
                    <a:pt x="420" y="390"/>
                  </a:lnTo>
                  <a:lnTo>
                    <a:pt x="408" y="384"/>
                  </a:lnTo>
                  <a:lnTo>
                    <a:pt x="378" y="378"/>
                  </a:lnTo>
                  <a:lnTo>
                    <a:pt x="354" y="366"/>
                  </a:lnTo>
                  <a:lnTo>
                    <a:pt x="342" y="360"/>
                  </a:lnTo>
                  <a:lnTo>
                    <a:pt x="342" y="348"/>
                  </a:lnTo>
                  <a:lnTo>
                    <a:pt x="336" y="330"/>
                  </a:lnTo>
                  <a:lnTo>
                    <a:pt x="348" y="306"/>
                  </a:lnTo>
                  <a:lnTo>
                    <a:pt x="360" y="294"/>
                  </a:lnTo>
                  <a:lnTo>
                    <a:pt x="360" y="282"/>
                  </a:lnTo>
                  <a:lnTo>
                    <a:pt x="342" y="270"/>
                  </a:lnTo>
                  <a:lnTo>
                    <a:pt x="342" y="264"/>
                  </a:lnTo>
                  <a:lnTo>
                    <a:pt x="330" y="264"/>
                  </a:lnTo>
                  <a:lnTo>
                    <a:pt x="312" y="270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88" y="270"/>
                  </a:lnTo>
                  <a:lnTo>
                    <a:pt x="282" y="270"/>
                  </a:lnTo>
                  <a:lnTo>
                    <a:pt x="276" y="264"/>
                  </a:lnTo>
                  <a:lnTo>
                    <a:pt x="270" y="264"/>
                  </a:lnTo>
                  <a:lnTo>
                    <a:pt x="252" y="270"/>
                  </a:lnTo>
                  <a:lnTo>
                    <a:pt x="246" y="270"/>
                  </a:lnTo>
                  <a:lnTo>
                    <a:pt x="240" y="270"/>
                  </a:lnTo>
                  <a:lnTo>
                    <a:pt x="228" y="270"/>
                  </a:lnTo>
                  <a:lnTo>
                    <a:pt x="216" y="276"/>
                  </a:lnTo>
                  <a:lnTo>
                    <a:pt x="210" y="270"/>
                  </a:lnTo>
                  <a:lnTo>
                    <a:pt x="204" y="270"/>
                  </a:lnTo>
                  <a:lnTo>
                    <a:pt x="198" y="276"/>
                  </a:lnTo>
                  <a:lnTo>
                    <a:pt x="192" y="276"/>
                  </a:lnTo>
                  <a:lnTo>
                    <a:pt x="186" y="282"/>
                  </a:lnTo>
                  <a:lnTo>
                    <a:pt x="180" y="288"/>
                  </a:lnTo>
                  <a:lnTo>
                    <a:pt x="174" y="300"/>
                  </a:lnTo>
                  <a:lnTo>
                    <a:pt x="168" y="306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8" y="330"/>
                  </a:lnTo>
                  <a:lnTo>
                    <a:pt x="162" y="336"/>
                  </a:lnTo>
                  <a:lnTo>
                    <a:pt x="156" y="342"/>
                  </a:lnTo>
                  <a:lnTo>
                    <a:pt x="156" y="348"/>
                  </a:lnTo>
                  <a:lnTo>
                    <a:pt x="156" y="354"/>
                  </a:lnTo>
                  <a:lnTo>
                    <a:pt x="150" y="366"/>
                  </a:lnTo>
                  <a:lnTo>
                    <a:pt x="150" y="372"/>
                  </a:lnTo>
                  <a:lnTo>
                    <a:pt x="144" y="366"/>
                  </a:lnTo>
                  <a:lnTo>
                    <a:pt x="132" y="366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20" y="348"/>
                  </a:lnTo>
                  <a:lnTo>
                    <a:pt x="102" y="330"/>
                  </a:lnTo>
                  <a:lnTo>
                    <a:pt x="96" y="318"/>
                  </a:lnTo>
                  <a:lnTo>
                    <a:pt x="96" y="282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0" y="258"/>
                  </a:lnTo>
                  <a:lnTo>
                    <a:pt x="84" y="252"/>
                  </a:lnTo>
                  <a:lnTo>
                    <a:pt x="66" y="258"/>
                  </a:lnTo>
                  <a:lnTo>
                    <a:pt x="60" y="246"/>
                  </a:lnTo>
                  <a:lnTo>
                    <a:pt x="30" y="252"/>
                  </a:lnTo>
                  <a:lnTo>
                    <a:pt x="18" y="246"/>
                  </a:lnTo>
                  <a:lnTo>
                    <a:pt x="0" y="240"/>
                  </a:lnTo>
                  <a:lnTo>
                    <a:pt x="0" y="234"/>
                  </a:lnTo>
                  <a:lnTo>
                    <a:pt x="0" y="210"/>
                  </a:lnTo>
                  <a:lnTo>
                    <a:pt x="6" y="204"/>
                  </a:lnTo>
                  <a:lnTo>
                    <a:pt x="18" y="192"/>
                  </a:lnTo>
                  <a:lnTo>
                    <a:pt x="18" y="144"/>
                  </a:lnTo>
                  <a:lnTo>
                    <a:pt x="24" y="126"/>
                  </a:lnTo>
                  <a:lnTo>
                    <a:pt x="36" y="126"/>
                  </a:lnTo>
                  <a:lnTo>
                    <a:pt x="54" y="120"/>
                  </a:lnTo>
                  <a:lnTo>
                    <a:pt x="54" y="126"/>
                  </a:lnTo>
                  <a:lnTo>
                    <a:pt x="132" y="114"/>
                  </a:lnTo>
                  <a:lnTo>
                    <a:pt x="144" y="120"/>
                  </a:lnTo>
                  <a:lnTo>
                    <a:pt x="150" y="132"/>
                  </a:lnTo>
                  <a:lnTo>
                    <a:pt x="180" y="126"/>
                  </a:lnTo>
                  <a:lnTo>
                    <a:pt x="210" y="120"/>
                  </a:lnTo>
                  <a:lnTo>
                    <a:pt x="240" y="120"/>
                  </a:lnTo>
                  <a:lnTo>
                    <a:pt x="258" y="120"/>
                  </a:lnTo>
                  <a:lnTo>
                    <a:pt x="270" y="126"/>
                  </a:lnTo>
                  <a:lnTo>
                    <a:pt x="276" y="132"/>
                  </a:lnTo>
                  <a:lnTo>
                    <a:pt x="282" y="138"/>
                  </a:lnTo>
                  <a:lnTo>
                    <a:pt x="282" y="156"/>
                  </a:lnTo>
                  <a:lnTo>
                    <a:pt x="288" y="186"/>
                  </a:lnTo>
                  <a:lnTo>
                    <a:pt x="312" y="192"/>
                  </a:lnTo>
                  <a:lnTo>
                    <a:pt x="318" y="198"/>
                  </a:lnTo>
                  <a:lnTo>
                    <a:pt x="324" y="204"/>
                  </a:lnTo>
                  <a:lnTo>
                    <a:pt x="330" y="210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66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86" y="210"/>
                  </a:lnTo>
                  <a:lnTo>
                    <a:pt x="498" y="198"/>
                  </a:lnTo>
                  <a:lnTo>
                    <a:pt x="504" y="174"/>
                  </a:lnTo>
                  <a:lnTo>
                    <a:pt x="516" y="162"/>
                  </a:lnTo>
                  <a:lnTo>
                    <a:pt x="516" y="138"/>
                  </a:lnTo>
                  <a:lnTo>
                    <a:pt x="522" y="132"/>
                  </a:lnTo>
                  <a:lnTo>
                    <a:pt x="564" y="132"/>
                  </a:lnTo>
                  <a:lnTo>
                    <a:pt x="564" y="114"/>
                  </a:lnTo>
                  <a:lnTo>
                    <a:pt x="582" y="114"/>
                  </a:lnTo>
                  <a:lnTo>
                    <a:pt x="594" y="114"/>
                  </a:lnTo>
                  <a:lnTo>
                    <a:pt x="606" y="114"/>
                  </a:lnTo>
                  <a:lnTo>
                    <a:pt x="612" y="114"/>
                  </a:lnTo>
                  <a:lnTo>
                    <a:pt x="630" y="114"/>
                  </a:lnTo>
                  <a:lnTo>
                    <a:pt x="636" y="114"/>
                  </a:lnTo>
                  <a:lnTo>
                    <a:pt x="648" y="114"/>
                  </a:lnTo>
                  <a:lnTo>
                    <a:pt x="654" y="114"/>
                  </a:lnTo>
                  <a:lnTo>
                    <a:pt x="660" y="120"/>
                  </a:lnTo>
                  <a:lnTo>
                    <a:pt x="672" y="120"/>
                  </a:lnTo>
                  <a:lnTo>
                    <a:pt x="684" y="120"/>
                  </a:lnTo>
                  <a:lnTo>
                    <a:pt x="690" y="120"/>
                  </a:lnTo>
                  <a:lnTo>
                    <a:pt x="702" y="120"/>
                  </a:lnTo>
                  <a:lnTo>
                    <a:pt x="708" y="120"/>
                  </a:lnTo>
                  <a:lnTo>
                    <a:pt x="726" y="126"/>
                  </a:lnTo>
                  <a:lnTo>
                    <a:pt x="732" y="126"/>
                  </a:lnTo>
                  <a:lnTo>
                    <a:pt x="738" y="126"/>
                  </a:lnTo>
                  <a:lnTo>
                    <a:pt x="750" y="126"/>
                  </a:lnTo>
                  <a:lnTo>
                    <a:pt x="756" y="126"/>
                  </a:lnTo>
                  <a:lnTo>
                    <a:pt x="768" y="126"/>
                  </a:lnTo>
                  <a:lnTo>
                    <a:pt x="780" y="126"/>
                  </a:lnTo>
                  <a:lnTo>
                    <a:pt x="786" y="120"/>
                  </a:lnTo>
                  <a:lnTo>
                    <a:pt x="792" y="120"/>
                  </a:lnTo>
                  <a:lnTo>
                    <a:pt x="810" y="120"/>
                  </a:lnTo>
                  <a:lnTo>
                    <a:pt x="822" y="120"/>
                  </a:lnTo>
                  <a:lnTo>
                    <a:pt x="846" y="126"/>
                  </a:lnTo>
                  <a:lnTo>
                    <a:pt x="858" y="126"/>
                  </a:lnTo>
                  <a:lnTo>
                    <a:pt x="870" y="132"/>
                  </a:lnTo>
                  <a:lnTo>
                    <a:pt x="882" y="132"/>
                  </a:lnTo>
                  <a:lnTo>
                    <a:pt x="894" y="132"/>
                  </a:lnTo>
                  <a:lnTo>
                    <a:pt x="900" y="132"/>
                  </a:lnTo>
                  <a:lnTo>
                    <a:pt x="912" y="132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36" y="132"/>
                  </a:lnTo>
                  <a:lnTo>
                    <a:pt x="960" y="132"/>
                  </a:lnTo>
                  <a:lnTo>
                    <a:pt x="966" y="144"/>
                  </a:lnTo>
                  <a:lnTo>
                    <a:pt x="972" y="144"/>
                  </a:lnTo>
                  <a:lnTo>
                    <a:pt x="1002" y="144"/>
                  </a:lnTo>
                  <a:lnTo>
                    <a:pt x="1020" y="144"/>
                  </a:lnTo>
                  <a:lnTo>
                    <a:pt x="1068" y="138"/>
                  </a:lnTo>
                  <a:lnTo>
                    <a:pt x="1110" y="132"/>
                  </a:lnTo>
                  <a:lnTo>
                    <a:pt x="1110" y="126"/>
                  </a:lnTo>
                  <a:lnTo>
                    <a:pt x="1116" y="120"/>
                  </a:lnTo>
                  <a:lnTo>
                    <a:pt x="1122" y="108"/>
                  </a:lnTo>
                  <a:lnTo>
                    <a:pt x="1134" y="96"/>
                  </a:lnTo>
                  <a:lnTo>
                    <a:pt x="1146" y="60"/>
                  </a:lnTo>
                  <a:lnTo>
                    <a:pt x="1158" y="54"/>
                  </a:lnTo>
                  <a:lnTo>
                    <a:pt x="1170" y="48"/>
                  </a:lnTo>
                  <a:lnTo>
                    <a:pt x="1188" y="42"/>
                  </a:lnTo>
                  <a:lnTo>
                    <a:pt x="1200" y="36"/>
                  </a:lnTo>
                  <a:lnTo>
                    <a:pt x="1212" y="36"/>
                  </a:lnTo>
                  <a:lnTo>
                    <a:pt x="1236" y="30"/>
                  </a:lnTo>
                  <a:lnTo>
                    <a:pt x="1236" y="24"/>
                  </a:lnTo>
                  <a:lnTo>
                    <a:pt x="1278" y="18"/>
                  </a:lnTo>
                  <a:lnTo>
                    <a:pt x="1290" y="18"/>
                  </a:lnTo>
                  <a:lnTo>
                    <a:pt x="1302" y="12"/>
                  </a:lnTo>
                  <a:lnTo>
                    <a:pt x="1314" y="0"/>
                  </a:lnTo>
                  <a:lnTo>
                    <a:pt x="1332" y="0"/>
                  </a:lnTo>
                  <a:lnTo>
                    <a:pt x="1338" y="24"/>
                  </a:lnTo>
                  <a:lnTo>
                    <a:pt x="1344" y="30"/>
                  </a:lnTo>
                  <a:lnTo>
                    <a:pt x="1350" y="42"/>
                  </a:lnTo>
                  <a:lnTo>
                    <a:pt x="1356" y="48"/>
                  </a:lnTo>
                  <a:lnTo>
                    <a:pt x="1356" y="78"/>
                  </a:lnTo>
                  <a:lnTo>
                    <a:pt x="1350" y="96"/>
                  </a:lnTo>
                  <a:lnTo>
                    <a:pt x="1338" y="108"/>
                  </a:lnTo>
                  <a:lnTo>
                    <a:pt x="1338" y="114"/>
                  </a:lnTo>
                  <a:lnTo>
                    <a:pt x="1338" y="120"/>
                  </a:lnTo>
                  <a:lnTo>
                    <a:pt x="1338" y="126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398" y="114"/>
                  </a:lnTo>
                  <a:lnTo>
                    <a:pt x="1416" y="120"/>
                  </a:lnTo>
                  <a:lnTo>
                    <a:pt x="1434" y="126"/>
                  </a:lnTo>
                  <a:lnTo>
                    <a:pt x="1458" y="132"/>
                  </a:lnTo>
                  <a:lnTo>
                    <a:pt x="1458" y="138"/>
                  </a:lnTo>
                  <a:lnTo>
                    <a:pt x="1512" y="138"/>
                  </a:lnTo>
                  <a:lnTo>
                    <a:pt x="1512" y="132"/>
                  </a:lnTo>
                  <a:lnTo>
                    <a:pt x="1524" y="138"/>
                  </a:lnTo>
                  <a:lnTo>
                    <a:pt x="1542" y="138"/>
                  </a:lnTo>
                  <a:lnTo>
                    <a:pt x="1542" y="150"/>
                  </a:lnTo>
                  <a:lnTo>
                    <a:pt x="1542" y="162"/>
                  </a:lnTo>
                  <a:lnTo>
                    <a:pt x="1548" y="174"/>
                  </a:lnTo>
                  <a:lnTo>
                    <a:pt x="1548" y="180"/>
                  </a:lnTo>
                  <a:lnTo>
                    <a:pt x="1554" y="222"/>
                  </a:lnTo>
                  <a:lnTo>
                    <a:pt x="1554" y="258"/>
                  </a:lnTo>
                  <a:lnTo>
                    <a:pt x="1554" y="276"/>
                  </a:lnTo>
                  <a:lnTo>
                    <a:pt x="1554" y="282"/>
                  </a:lnTo>
                  <a:lnTo>
                    <a:pt x="1554" y="294"/>
                  </a:lnTo>
                  <a:lnTo>
                    <a:pt x="1554" y="306"/>
                  </a:lnTo>
                  <a:lnTo>
                    <a:pt x="1554" y="324"/>
                  </a:lnTo>
                  <a:lnTo>
                    <a:pt x="1554" y="330"/>
                  </a:lnTo>
                  <a:lnTo>
                    <a:pt x="1548" y="330"/>
                  </a:lnTo>
                  <a:lnTo>
                    <a:pt x="1548" y="336"/>
                  </a:lnTo>
                  <a:lnTo>
                    <a:pt x="1548" y="342"/>
                  </a:lnTo>
                  <a:lnTo>
                    <a:pt x="1542" y="336"/>
                  </a:lnTo>
                  <a:lnTo>
                    <a:pt x="1542" y="330"/>
                  </a:lnTo>
                  <a:lnTo>
                    <a:pt x="1536" y="330"/>
                  </a:lnTo>
                  <a:lnTo>
                    <a:pt x="1530" y="330"/>
                  </a:lnTo>
                  <a:lnTo>
                    <a:pt x="1530" y="336"/>
                  </a:lnTo>
                  <a:lnTo>
                    <a:pt x="1536" y="342"/>
                  </a:lnTo>
                  <a:lnTo>
                    <a:pt x="1530" y="342"/>
                  </a:lnTo>
                  <a:lnTo>
                    <a:pt x="1518" y="348"/>
                  </a:lnTo>
                  <a:lnTo>
                    <a:pt x="1512" y="354"/>
                  </a:lnTo>
                  <a:lnTo>
                    <a:pt x="1506" y="354"/>
                  </a:lnTo>
                  <a:lnTo>
                    <a:pt x="1500" y="354"/>
                  </a:lnTo>
                  <a:lnTo>
                    <a:pt x="1494" y="354"/>
                  </a:lnTo>
                  <a:lnTo>
                    <a:pt x="1494" y="360"/>
                  </a:lnTo>
                  <a:lnTo>
                    <a:pt x="1488" y="360"/>
                  </a:lnTo>
                  <a:lnTo>
                    <a:pt x="1488" y="366"/>
                  </a:lnTo>
                  <a:lnTo>
                    <a:pt x="1488" y="372"/>
                  </a:lnTo>
                  <a:lnTo>
                    <a:pt x="1482" y="372"/>
                  </a:lnTo>
                  <a:lnTo>
                    <a:pt x="1476" y="372"/>
                  </a:lnTo>
                  <a:lnTo>
                    <a:pt x="1470" y="372"/>
                  </a:lnTo>
                  <a:lnTo>
                    <a:pt x="1470" y="378"/>
                  </a:lnTo>
                  <a:lnTo>
                    <a:pt x="1470" y="384"/>
                  </a:lnTo>
                  <a:lnTo>
                    <a:pt x="1470" y="390"/>
                  </a:lnTo>
                  <a:lnTo>
                    <a:pt x="1464" y="402"/>
                  </a:lnTo>
                  <a:lnTo>
                    <a:pt x="1446" y="402"/>
                  </a:lnTo>
                  <a:lnTo>
                    <a:pt x="1440" y="372"/>
                  </a:lnTo>
                  <a:lnTo>
                    <a:pt x="1410" y="372"/>
                  </a:lnTo>
                  <a:lnTo>
                    <a:pt x="1380" y="372"/>
                  </a:lnTo>
                  <a:lnTo>
                    <a:pt x="1374" y="372"/>
                  </a:lnTo>
                  <a:lnTo>
                    <a:pt x="1368" y="378"/>
                  </a:lnTo>
                  <a:lnTo>
                    <a:pt x="1362" y="378"/>
                  </a:lnTo>
                  <a:lnTo>
                    <a:pt x="1356" y="378"/>
                  </a:lnTo>
                  <a:lnTo>
                    <a:pt x="1350" y="384"/>
                  </a:lnTo>
                  <a:lnTo>
                    <a:pt x="1350" y="390"/>
                  </a:lnTo>
                  <a:lnTo>
                    <a:pt x="1344" y="390"/>
                  </a:lnTo>
                  <a:lnTo>
                    <a:pt x="1338" y="390"/>
                  </a:lnTo>
                  <a:lnTo>
                    <a:pt x="1332" y="390"/>
                  </a:lnTo>
                  <a:lnTo>
                    <a:pt x="1332" y="396"/>
                  </a:lnTo>
                  <a:lnTo>
                    <a:pt x="1332" y="390"/>
                  </a:lnTo>
                  <a:lnTo>
                    <a:pt x="1326" y="402"/>
                  </a:lnTo>
                  <a:lnTo>
                    <a:pt x="1320" y="402"/>
                  </a:lnTo>
                  <a:lnTo>
                    <a:pt x="1302" y="474"/>
                  </a:lnTo>
                  <a:lnTo>
                    <a:pt x="1308" y="480"/>
                  </a:lnTo>
                  <a:lnTo>
                    <a:pt x="1314" y="480"/>
                  </a:lnTo>
                  <a:lnTo>
                    <a:pt x="1308" y="498"/>
                  </a:lnTo>
                  <a:lnTo>
                    <a:pt x="1308" y="504"/>
                  </a:lnTo>
                  <a:lnTo>
                    <a:pt x="1314" y="510"/>
                  </a:lnTo>
                  <a:lnTo>
                    <a:pt x="1308" y="510"/>
                  </a:lnTo>
                  <a:lnTo>
                    <a:pt x="1308" y="516"/>
                  </a:lnTo>
                  <a:lnTo>
                    <a:pt x="1302" y="516"/>
                  </a:lnTo>
                  <a:lnTo>
                    <a:pt x="1296" y="510"/>
                  </a:lnTo>
                  <a:lnTo>
                    <a:pt x="1296" y="516"/>
                  </a:lnTo>
                  <a:lnTo>
                    <a:pt x="1290" y="540"/>
                  </a:lnTo>
                  <a:lnTo>
                    <a:pt x="1290" y="552"/>
                  </a:lnTo>
                  <a:lnTo>
                    <a:pt x="1284" y="558"/>
                  </a:lnTo>
                  <a:lnTo>
                    <a:pt x="1290" y="576"/>
                  </a:lnTo>
                  <a:lnTo>
                    <a:pt x="1290" y="600"/>
                  </a:lnTo>
                  <a:lnTo>
                    <a:pt x="1284" y="618"/>
                  </a:lnTo>
                  <a:lnTo>
                    <a:pt x="1290" y="624"/>
                  </a:lnTo>
                  <a:lnTo>
                    <a:pt x="1284" y="630"/>
                  </a:lnTo>
                  <a:lnTo>
                    <a:pt x="1278" y="630"/>
                  </a:lnTo>
                  <a:lnTo>
                    <a:pt x="1272" y="630"/>
                  </a:lnTo>
                  <a:lnTo>
                    <a:pt x="1266" y="636"/>
                  </a:lnTo>
                  <a:lnTo>
                    <a:pt x="1260" y="642"/>
                  </a:lnTo>
                  <a:lnTo>
                    <a:pt x="1260" y="636"/>
                  </a:lnTo>
                  <a:lnTo>
                    <a:pt x="1254" y="636"/>
                  </a:lnTo>
                  <a:lnTo>
                    <a:pt x="1248" y="636"/>
                  </a:lnTo>
                  <a:lnTo>
                    <a:pt x="1248" y="642"/>
                  </a:lnTo>
                  <a:lnTo>
                    <a:pt x="1242" y="642"/>
                  </a:lnTo>
                  <a:lnTo>
                    <a:pt x="1242" y="648"/>
                  </a:lnTo>
                  <a:lnTo>
                    <a:pt x="1236" y="654"/>
                  </a:lnTo>
                  <a:lnTo>
                    <a:pt x="1230" y="654"/>
                  </a:lnTo>
                  <a:lnTo>
                    <a:pt x="1224" y="654"/>
                  </a:lnTo>
                  <a:lnTo>
                    <a:pt x="1218" y="660"/>
                  </a:lnTo>
                  <a:lnTo>
                    <a:pt x="1212" y="660"/>
                  </a:lnTo>
                  <a:lnTo>
                    <a:pt x="1206" y="660"/>
                  </a:lnTo>
                  <a:lnTo>
                    <a:pt x="1200" y="660"/>
                  </a:lnTo>
                  <a:lnTo>
                    <a:pt x="1200" y="666"/>
                  </a:lnTo>
                  <a:lnTo>
                    <a:pt x="1194" y="666"/>
                  </a:lnTo>
                  <a:lnTo>
                    <a:pt x="1188" y="666"/>
                  </a:lnTo>
                  <a:lnTo>
                    <a:pt x="1182" y="672"/>
                  </a:lnTo>
                  <a:lnTo>
                    <a:pt x="1176" y="672"/>
                  </a:lnTo>
                  <a:lnTo>
                    <a:pt x="1170" y="672"/>
                  </a:lnTo>
                  <a:lnTo>
                    <a:pt x="1164" y="678"/>
                  </a:lnTo>
                  <a:lnTo>
                    <a:pt x="1170" y="678"/>
                  </a:lnTo>
                  <a:lnTo>
                    <a:pt x="1164" y="684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52" y="684"/>
                  </a:lnTo>
                  <a:lnTo>
                    <a:pt x="1152" y="690"/>
                  </a:lnTo>
                  <a:lnTo>
                    <a:pt x="1146" y="690"/>
                  </a:lnTo>
                  <a:lnTo>
                    <a:pt x="1140" y="690"/>
                  </a:lnTo>
                  <a:lnTo>
                    <a:pt x="1134" y="696"/>
                  </a:lnTo>
                  <a:lnTo>
                    <a:pt x="1128" y="696"/>
                  </a:lnTo>
                  <a:lnTo>
                    <a:pt x="1122" y="702"/>
                  </a:lnTo>
                  <a:lnTo>
                    <a:pt x="1116" y="702"/>
                  </a:lnTo>
                  <a:lnTo>
                    <a:pt x="1110" y="708"/>
                  </a:lnTo>
                  <a:lnTo>
                    <a:pt x="1104" y="708"/>
                  </a:lnTo>
                  <a:lnTo>
                    <a:pt x="1098" y="708"/>
                  </a:lnTo>
                  <a:lnTo>
                    <a:pt x="1092" y="708"/>
                  </a:lnTo>
                  <a:lnTo>
                    <a:pt x="1092" y="714"/>
                  </a:lnTo>
                  <a:lnTo>
                    <a:pt x="1086" y="720"/>
                  </a:lnTo>
                  <a:lnTo>
                    <a:pt x="1080" y="720"/>
                  </a:lnTo>
                  <a:lnTo>
                    <a:pt x="1074" y="720"/>
                  </a:lnTo>
                  <a:lnTo>
                    <a:pt x="1068" y="720"/>
                  </a:lnTo>
                  <a:lnTo>
                    <a:pt x="1062" y="720"/>
                  </a:lnTo>
                  <a:lnTo>
                    <a:pt x="1050" y="726"/>
                  </a:lnTo>
                  <a:lnTo>
                    <a:pt x="1044" y="726"/>
                  </a:lnTo>
                  <a:lnTo>
                    <a:pt x="1038" y="732"/>
                  </a:lnTo>
                  <a:lnTo>
                    <a:pt x="1026" y="732"/>
                  </a:lnTo>
                  <a:lnTo>
                    <a:pt x="1020" y="732"/>
                  </a:lnTo>
                  <a:lnTo>
                    <a:pt x="1014" y="738"/>
                  </a:lnTo>
                  <a:lnTo>
                    <a:pt x="1008" y="738"/>
                  </a:lnTo>
                  <a:lnTo>
                    <a:pt x="1002" y="738"/>
                  </a:lnTo>
                  <a:lnTo>
                    <a:pt x="996" y="738"/>
                  </a:lnTo>
                  <a:lnTo>
                    <a:pt x="990" y="738"/>
                  </a:lnTo>
                  <a:lnTo>
                    <a:pt x="990" y="732"/>
                  </a:lnTo>
                  <a:lnTo>
                    <a:pt x="984" y="732"/>
                  </a:lnTo>
                  <a:lnTo>
                    <a:pt x="978" y="738"/>
                  </a:lnTo>
                  <a:lnTo>
                    <a:pt x="978" y="744"/>
                  </a:lnTo>
                  <a:lnTo>
                    <a:pt x="984" y="744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8" y="756"/>
                  </a:lnTo>
                  <a:lnTo>
                    <a:pt x="972" y="756"/>
                  </a:lnTo>
                  <a:lnTo>
                    <a:pt x="972" y="762"/>
                  </a:lnTo>
                  <a:lnTo>
                    <a:pt x="966" y="768"/>
                  </a:lnTo>
                  <a:lnTo>
                    <a:pt x="966" y="762"/>
                  </a:lnTo>
                  <a:lnTo>
                    <a:pt x="960" y="762"/>
                  </a:lnTo>
                  <a:lnTo>
                    <a:pt x="954" y="768"/>
                  </a:lnTo>
                  <a:lnTo>
                    <a:pt x="954" y="774"/>
                  </a:lnTo>
                  <a:lnTo>
                    <a:pt x="948" y="774"/>
                  </a:lnTo>
                  <a:lnTo>
                    <a:pt x="948" y="780"/>
                  </a:lnTo>
                  <a:lnTo>
                    <a:pt x="948" y="786"/>
                  </a:lnTo>
                  <a:lnTo>
                    <a:pt x="942" y="786"/>
                  </a:lnTo>
                  <a:lnTo>
                    <a:pt x="942" y="792"/>
                  </a:lnTo>
                  <a:lnTo>
                    <a:pt x="936" y="792"/>
                  </a:lnTo>
                  <a:lnTo>
                    <a:pt x="942" y="798"/>
                  </a:lnTo>
                  <a:lnTo>
                    <a:pt x="942" y="804"/>
                  </a:lnTo>
                  <a:lnTo>
                    <a:pt x="942" y="810"/>
                  </a:lnTo>
                  <a:lnTo>
                    <a:pt x="948" y="810"/>
                  </a:lnTo>
                  <a:lnTo>
                    <a:pt x="942" y="816"/>
                  </a:lnTo>
                  <a:lnTo>
                    <a:pt x="948" y="816"/>
                  </a:lnTo>
                  <a:lnTo>
                    <a:pt x="948" y="822"/>
                  </a:lnTo>
                  <a:lnTo>
                    <a:pt x="954" y="822"/>
                  </a:lnTo>
                  <a:lnTo>
                    <a:pt x="960" y="828"/>
                  </a:lnTo>
                  <a:lnTo>
                    <a:pt x="960" y="834"/>
                  </a:lnTo>
                  <a:lnTo>
                    <a:pt x="966" y="834"/>
                  </a:lnTo>
                  <a:lnTo>
                    <a:pt x="960" y="840"/>
                  </a:lnTo>
                  <a:lnTo>
                    <a:pt x="966" y="846"/>
                  </a:lnTo>
                  <a:lnTo>
                    <a:pt x="966" y="840"/>
                  </a:lnTo>
                  <a:lnTo>
                    <a:pt x="972" y="840"/>
                  </a:lnTo>
                  <a:lnTo>
                    <a:pt x="990" y="840"/>
                  </a:lnTo>
                  <a:lnTo>
                    <a:pt x="1002" y="834"/>
                  </a:lnTo>
                  <a:lnTo>
                    <a:pt x="1020" y="828"/>
                  </a:lnTo>
                  <a:lnTo>
                    <a:pt x="1032" y="828"/>
                  </a:lnTo>
                  <a:lnTo>
                    <a:pt x="1050" y="828"/>
                  </a:lnTo>
                  <a:lnTo>
                    <a:pt x="1062" y="846"/>
                  </a:lnTo>
                  <a:lnTo>
                    <a:pt x="1074" y="876"/>
                  </a:lnTo>
                  <a:lnTo>
                    <a:pt x="1068" y="900"/>
                  </a:lnTo>
                  <a:lnTo>
                    <a:pt x="1074" y="912"/>
                  </a:lnTo>
                  <a:lnTo>
                    <a:pt x="1074" y="936"/>
                  </a:lnTo>
                  <a:lnTo>
                    <a:pt x="1068" y="942"/>
                  </a:lnTo>
                  <a:lnTo>
                    <a:pt x="1062" y="954"/>
                  </a:lnTo>
                  <a:lnTo>
                    <a:pt x="1056" y="978"/>
                  </a:lnTo>
                  <a:lnTo>
                    <a:pt x="1056" y="996"/>
                  </a:lnTo>
                  <a:lnTo>
                    <a:pt x="1068" y="990"/>
                  </a:lnTo>
                  <a:lnTo>
                    <a:pt x="1074" y="990"/>
                  </a:lnTo>
                  <a:lnTo>
                    <a:pt x="1074" y="1008"/>
                  </a:lnTo>
                  <a:lnTo>
                    <a:pt x="1080" y="1008"/>
                  </a:lnTo>
                  <a:lnTo>
                    <a:pt x="1092" y="1014"/>
                  </a:lnTo>
                  <a:lnTo>
                    <a:pt x="1110" y="1044"/>
                  </a:lnTo>
                  <a:lnTo>
                    <a:pt x="1110" y="1062"/>
                  </a:lnTo>
                  <a:lnTo>
                    <a:pt x="1128" y="1068"/>
                  </a:lnTo>
                  <a:lnTo>
                    <a:pt x="1128" y="1092"/>
                  </a:lnTo>
                  <a:lnTo>
                    <a:pt x="1134" y="1098"/>
                  </a:lnTo>
                  <a:lnTo>
                    <a:pt x="1158" y="1122"/>
                  </a:lnTo>
                  <a:lnTo>
                    <a:pt x="1188" y="1122"/>
                  </a:lnTo>
                  <a:lnTo>
                    <a:pt x="1188" y="1128"/>
                  </a:lnTo>
                  <a:lnTo>
                    <a:pt x="1200" y="1134"/>
                  </a:lnTo>
                  <a:lnTo>
                    <a:pt x="1206" y="1134"/>
                  </a:lnTo>
                  <a:lnTo>
                    <a:pt x="1206" y="1128"/>
                  </a:lnTo>
                  <a:lnTo>
                    <a:pt x="1212" y="1128"/>
                  </a:lnTo>
                  <a:lnTo>
                    <a:pt x="1218" y="1128"/>
                  </a:lnTo>
                  <a:lnTo>
                    <a:pt x="1224" y="1122"/>
                  </a:lnTo>
                  <a:lnTo>
                    <a:pt x="1224" y="1128"/>
                  </a:lnTo>
                  <a:lnTo>
                    <a:pt x="1230" y="1128"/>
                  </a:lnTo>
                  <a:lnTo>
                    <a:pt x="1236" y="1128"/>
                  </a:lnTo>
                  <a:lnTo>
                    <a:pt x="1236" y="1122"/>
                  </a:lnTo>
                  <a:lnTo>
                    <a:pt x="1242" y="1122"/>
                  </a:lnTo>
                  <a:lnTo>
                    <a:pt x="1248" y="1128"/>
                  </a:lnTo>
                  <a:lnTo>
                    <a:pt x="1254" y="1128"/>
                  </a:lnTo>
                  <a:lnTo>
                    <a:pt x="1260" y="1134"/>
                  </a:lnTo>
                  <a:lnTo>
                    <a:pt x="1260" y="1140"/>
                  </a:lnTo>
                  <a:lnTo>
                    <a:pt x="1266" y="1140"/>
                  </a:lnTo>
                  <a:lnTo>
                    <a:pt x="1272" y="1140"/>
                  </a:lnTo>
                  <a:lnTo>
                    <a:pt x="1278" y="1140"/>
                  </a:lnTo>
                  <a:lnTo>
                    <a:pt x="1284" y="1140"/>
                  </a:lnTo>
                  <a:lnTo>
                    <a:pt x="1290" y="1146"/>
                  </a:lnTo>
                  <a:lnTo>
                    <a:pt x="1290" y="1152"/>
                  </a:lnTo>
                  <a:lnTo>
                    <a:pt x="1296" y="1146"/>
                  </a:lnTo>
                  <a:lnTo>
                    <a:pt x="1296" y="1152"/>
                  </a:lnTo>
                  <a:lnTo>
                    <a:pt x="1308" y="1152"/>
                  </a:lnTo>
                  <a:lnTo>
                    <a:pt x="1314" y="1152"/>
                  </a:lnTo>
                  <a:lnTo>
                    <a:pt x="1320" y="1152"/>
                  </a:lnTo>
                  <a:lnTo>
                    <a:pt x="1332" y="1152"/>
                  </a:lnTo>
                  <a:lnTo>
                    <a:pt x="1338" y="1152"/>
                  </a:lnTo>
                  <a:lnTo>
                    <a:pt x="1344" y="1152"/>
                  </a:lnTo>
                  <a:lnTo>
                    <a:pt x="1344" y="1158"/>
                  </a:lnTo>
                  <a:lnTo>
                    <a:pt x="1350" y="1158"/>
                  </a:lnTo>
                  <a:lnTo>
                    <a:pt x="1356" y="1158"/>
                  </a:lnTo>
                  <a:lnTo>
                    <a:pt x="1362" y="1158"/>
                  </a:lnTo>
                  <a:lnTo>
                    <a:pt x="1368" y="1158"/>
                  </a:lnTo>
                  <a:lnTo>
                    <a:pt x="1374" y="1164"/>
                  </a:lnTo>
                  <a:lnTo>
                    <a:pt x="1380" y="1164"/>
                  </a:lnTo>
                  <a:lnTo>
                    <a:pt x="1386" y="1170"/>
                  </a:lnTo>
                  <a:lnTo>
                    <a:pt x="1392" y="1170"/>
                  </a:lnTo>
                  <a:lnTo>
                    <a:pt x="1398" y="1164"/>
                  </a:lnTo>
                  <a:lnTo>
                    <a:pt x="1404" y="1164"/>
                  </a:lnTo>
                  <a:lnTo>
                    <a:pt x="1410" y="1164"/>
                  </a:lnTo>
                  <a:lnTo>
                    <a:pt x="1416" y="1164"/>
                  </a:lnTo>
                  <a:lnTo>
                    <a:pt x="1416" y="1170"/>
                  </a:lnTo>
                  <a:lnTo>
                    <a:pt x="1422" y="1176"/>
                  </a:lnTo>
                  <a:lnTo>
                    <a:pt x="1416" y="1176"/>
                  </a:lnTo>
                  <a:lnTo>
                    <a:pt x="1416" y="1182"/>
                  </a:lnTo>
                  <a:lnTo>
                    <a:pt x="1410" y="1188"/>
                  </a:lnTo>
                  <a:lnTo>
                    <a:pt x="1404" y="1194"/>
                  </a:lnTo>
                  <a:lnTo>
                    <a:pt x="1404" y="1200"/>
                  </a:lnTo>
                  <a:lnTo>
                    <a:pt x="1404" y="1206"/>
                  </a:lnTo>
                  <a:lnTo>
                    <a:pt x="1398" y="1212"/>
                  </a:lnTo>
                  <a:lnTo>
                    <a:pt x="1398" y="1206"/>
                  </a:lnTo>
                  <a:lnTo>
                    <a:pt x="1392" y="1206"/>
                  </a:lnTo>
                  <a:lnTo>
                    <a:pt x="1386" y="1206"/>
                  </a:lnTo>
                  <a:lnTo>
                    <a:pt x="1380" y="1212"/>
                  </a:lnTo>
                  <a:lnTo>
                    <a:pt x="1374" y="1212"/>
                  </a:lnTo>
                  <a:lnTo>
                    <a:pt x="1368" y="1218"/>
                  </a:lnTo>
                  <a:lnTo>
                    <a:pt x="1362" y="1218"/>
                  </a:lnTo>
                  <a:lnTo>
                    <a:pt x="1362" y="1224"/>
                  </a:lnTo>
                  <a:lnTo>
                    <a:pt x="1356" y="1230"/>
                  </a:lnTo>
                  <a:lnTo>
                    <a:pt x="1350" y="1230"/>
                  </a:lnTo>
                  <a:lnTo>
                    <a:pt x="1344" y="1236"/>
                  </a:lnTo>
                  <a:lnTo>
                    <a:pt x="1338" y="1230"/>
                  </a:lnTo>
                  <a:lnTo>
                    <a:pt x="1332" y="1230"/>
                  </a:lnTo>
                  <a:lnTo>
                    <a:pt x="1326" y="1230"/>
                  </a:lnTo>
                  <a:lnTo>
                    <a:pt x="1320" y="1230"/>
                  </a:lnTo>
                  <a:lnTo>
                    <a:pt x="1314" y="1230"/>
                  </a:lnTo>
                  <a:lnTo>
                    <a:pt x="1296" y="1242"/>
                  </a:lnTo>
                  <a:lnTo>
                    <a:pt x="1296" y="1248"/>
                  </a:lnTo>
                  <a:lnTo>
                    <a:pt x="1290" y="1248"/>
                  </a:lnTo>
                  <a:lnTo>
                    <a:pt x="1290" y="1260"/>
                  </a:lnTo>
                  <a:lnTo>
                    <a:pt x="1278" y="1272"/>
                  </a:lnTo>
                  <a:lnTo>
                    <a:pt x="1278" y="1278"/>
                  </a:lnTo>
                  <a:lnTo>
                    <a:pt x="1278" y="1284"/>
                  </a:lnTo>
                  <a:lnTo>
                    <a:pt x="1278" y="1290"/>
                  </a:lnTo>
                  <a:lnTo>
                    <a:pt x="1284" y="1296"/>
                  </a:lnTo>
                  <a:lnTo>
                    <a:pt x="1302" y="1302"/>
                  </a:lnTo>
                  <a:lnTo>
                    <a:pt x="1308" y="1308"/>
                  </a:lnTo>
                  <a:lnTo>
                    <a:pt x="1308" y="1314"/>
                  </a:lnTo>
                  <a:lnTo>
                    <a:pt x="1302" y="1320"/>
                  </a:lnTo>
                  <a:lnTo>
                    <a:pt x="1278" y="1314"/>
                  </a:lnTo>
                  <a:lnTo>
                    <a:pt x="1266" y="1308"/>
                  </a:lnTo>
                  <a:lnTo>
                    <a:pt x="1260" y="1296"/>
                  </a:lnTo>
                  <a:lnTo>
                    <a:pt x="1236" y="1296"/>
                  </a:lnTo>
                  <a:lnTo>
                    <a:pt x="1224" y="1308"/>
                  </a:lnTo>
                  <a:lnTo>
                    <a:pt x="1218" y="1308"/>
                  </a:lnTo>
                  <a:lnTo>
                    <a:pt x="1218" y="1302"/>
                  </a:lnTo>
                  <a:lnTo>
                    <a:pt x="1212" y="1302"/>
                  </a:lnTo>
                  <a:lnTo>
                    <a:pt x="1206" y="1302"/>
                  </a:lnTo>
                  <a:lnTo>
                    <a:pt x="1170" y="1314"/>
                  </a:lnTo>
                  <a:lnTo>
                    <a:pt x="1134" y="1296"/>
                  </a:lnTo>
                  <a:lnTo>
                    <a:pt x="1122" y="1290"/>
                  </a:lnTo>
                  <a:lnTo>
                    <a:pt x="1104" y="1290"/>
                  </a:lnTo>
                  <a:lnTo>
                    <a:pt x="1098" y="1278"/>
                  </a:lnTo>
                  <a:lnTo>
                    <a:pt x="1092" y="1242"/>
                  </a:lnTo>
                  <a:lnTo>
                    <a:pt x="1086" y="1242"/>
                  </a:lnTo>
                  <a:lnTo>
                    <a:pt x="1086" y="1248"/>
                  </a:lnTo>
                  <a:lnTo>
                    <a:pt x="1086" y="1254"/>
                  </a:lnTo>
                  <a:lnTo>
                    <a:pt x="1080" y="1254"/>
                  </a:lnTo>
                  <a:lnTo>
                    <a:pt x="1080" y="1260"/>
                  </a:lnTo>
                  <a:lnTo>
                    <a:pt x="1074" y="1260"/>
                  </a:lnTo>
                  <a:lnTo>
                    <a:pt x="1068" y="1236"/>
                  </a:lnTo>
                  <a:lnTo>
                    <a:pt x="1068" y="1206"/>
                  </a:lnTo>
                  <a:lnTo>
                    <a:pt x="1080" y="1194"/>
                  </a:lnTo>
                  <a:lnTo>
                    <a:pt x="1086" y="1194"/>
                  </a:lnTo>
                  <a:lnTo>
                    <a:pt x="1092" y="1200"/>
                  </a:lnTo>
                  <a:lnTo>
                    <a:pt x="1098" y="1206"/>
                  </a:lnTo>
                  <a:lnTo>
                    <a:pt x="1104" y="1200"/>
                  </a:lnTo>
                  <a:lnTo>
                    <a:pt x="1104" y="1194"/>
                  </a:lnTo>
                  <a:lnTo>
                    <a:pt x="1110" y="1194"/>
                  </a:lnTo>
                  <a:lnTo>
                    <a:pt x="1110" y="1188"/>
                  </a:lnTo>
                  <a:lnTo>
                    <a:pt x="1116" y="1182"/>
                  </a:lnTo>
                  <a:lnTo>
                    <a:pt x="1110" y="1182"/>
                  </a:lnTo>
                  <a:lnTo>
                    <a:pt x="1110" y="1170"/>
                  </a:lnTo>
                  <a:lnTo>
                    <a:pt x="1110" y="1158"/>
                  </a:lnTo>
                  <a:lnTo>
                    <a:pt x="1110" y="1152"/>
                  </a:lnTo>
                  <a:lnTo>
                    <a:pt x="1104" y="1146"/>
                  </a:lnTo>
                  <a:lnTo>
                    <a:pt x="1098" y="1140"/>
                  </a:lnTo>
                  <a:lnTo>
                    <a:pt x="1098" y="1134"/>
                  </a:lnTo>
                  <a:lnTo>
                    <a:pt x="1098" y="1128"/>
                  </a:lnTo>
                  <a:lnTo>
                    <a:pt x="1092" y="1128"/>
                  </a:lnTo>
                  <a:lnTo>
                    <a:pt x="1092" y="1122"/>
                  </a:lnTo>
                  <a:lnTo>
                    <a:pt x="1092" y="1116"/>
                  </a:lnTo>
                  <a:lnTo>
                    <a:pt x="1092" y="1110"/>
                  </a:lnTo>
                  <a:lnTo>
                    <a:pt x="1056" y="1122"/>
                  </a:lnTo>
                  <a:lnTo>
                    <a:pt x="1038" y="1128"/>
                  </a:lnTo>
                  <a:lnTo>
                    <a:pt x="1032" y="1128"/>
                  </a:lnTo>
                  <a:lnTo>
                    <a:pt x="1026" y="1128"/>
                  </a:lnTo>
                  <a:lnTo>
                    <a:pt x="1020" y="1128"/>
                  </a:lnTo>
                  <a:lnTo>
                    <a:pt x="1014" y="1128"/>
                  </a:lnTo>
                  <a:lnTo>
                    <a:pt x="1014" y="1122"/>
                  </a:lnTo>
                  <a:lnTo>
                    <a:pt x="1008" y="1122"/>
                  </a:lnTo>
                  <a:lnTo>
                    <a:pt x="1002" y="1128"/>
                  </a:lnTo>
                  <a:lnTo>
                    <a:pt x="1002" y="1134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84" y="1140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66" y="1140"/>
                  </a:lnTo>
                  <a:lnTo>
                    <a:pt x="954" y="1140"/>
                  </a:lnTo>
                  <a:lnTo>
                    <a:pt x="954" y="1134"/>
                  </a:lnTo>
                  <a:lnTo>
                    <a:pt x="948" y="1134"/>
                  </a:lnTo>
                  <a:lnTo>
                    <a:pt x="942" y="1134"/>
                  </a:lnTo>
                  <a:lnTo>
                    <a:pt x="936" y="1134"/>
                  </a:lnTo>
                  <a:lnTo>
                    <a:pt x="930" y="1134"/>
                  </a:lnTo>
                  <a:lnTo>
                    <a:pt x="924" y="1134"/>
                  </a:lnTo>
                  <a:lnTo>
                    <a:pt x="918" y="1134"/>
                  </a:lnTo>
                  <a:lnTo>
                    <a:pt x="918" y="1128"/>
                  </a:lnTo>
                  <a:lnTo>
                    <a:pt x="918" y="1104"/>
                  </a:lnTo>
                  <a:lnTo>
                    <a:pt x="906" y="1104"/>
                  </a:lnTo>
                  <a:lnTo>
                    <a:pt x="900" y="1098"/>
                  </a:lnTo>
                  <a:lnTo>
                    <a:pt x="900" y="1092"/>
                  </a:lnTo>
                  <a:lnTo>
                    <a:pt x="900" y="1086"/>
                  </a:lnTo>
                  <a:lnTo>
                    <a:pt x="900" y="1080"/>
                  </a:lnTo>
                  <a:lnTo>
                    <a:pt x="894" y="1080"/>
                  </a:lnTo>
                  <a:lnTo>
                    <a:pt x="858" y="1074"/>
                  </a:lnTo>
                  <a:lnTo>
                    <a:pt x="852" y="1080"/>
                  </a:lnTo>
                  <a:lnTo>
                    <a:pt x="846" y="1086"/>
                  </a:lnTo>
                  <a:lnTo>
                    <a:pt x="840" y="1086"/>
                  </a:lnTo>
                  <a:lnTo>
                    <a:pt x="840" y="1092"/>
                  </a:lnTo>
                  <a:lnTo>
                    <a:pt x="834" y="1092"/>
                  </a:lnTo>
                  <a:lnTo>
                    <a:pt x="828" y="1098"/>
                  </a:lnTo>
                  <a:lnTo>
                    <a:pt x="822" y="1098"/>
                  </a:lnTo>
                  <a:lnTo>
                    <a:pt x="762" y="1074"/>
                  </a:lnTo>
                  <a:lnTo>
                    <a:pt x="756" y="1068"/>
                  </a:lnTo>
                  <a:lnTo>
                    <a:pt x="750" y="1068"/>
                  </a:lnTo>
                  <a:lnTo>
                    <a:pt x="744" y="1062"/>
                  </a:lnTo>
                  <a:lnTo>
                    <a:pt x="744" y="1068"/>
                  </a:lnTo>
                  <a:lnTo>
                    <a:pt x="744" y="1074"/>
                  </a:lnTo>
                  <a:lnTo>
                    <a:pt x="738" y="1074"/>
                  </a:lnTo>
                  <a:lnTo>
                    <a:pt x="738" y="1068"/>
                  </a:lnTo>
                  <a:lnTo>
                    <a:pt x="732" y="1068"/>
                  </a:lnTo>
                  <a:lnTo>
                    <a:pt x="726" y="1068"/>
                  </a:lnTo>
                  <a:lnTo>
                    <a:pt x="726" y="1074"/>
                  </a:lnTo>
                  <a:lnTo>
                    <a:pt x="720" y="1074"/>
                  </a:lnTo>
                  <a:lnTo>
                    <a:pt x="684" y="106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5" name="Freeform 40">
              <a:extLst>
                <a:ext uri="{FF2B5EF4-FFF2-40B4-BE49-F238E27FC236}">
                  <a16:creationId xmlns:a16="http://schemas.microsoft.com/office/drawing/2014/main" id="{37EC2F22-BDB9-4162-8FA4-08493F6898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3558" y="1520374"/>
              <a:ext cx="1057717" cy="1252440"/>
            </a:xfrm>
            <a:custGeom>
              <a:avLst/>
              <a:gdLst>
                <a:gd name="T0" fmla="*/ 98 w 1992"/>
                <a:gd name="T1" fmla="*/ 162 h 2358"/>
                <a:gd name="T2" fmla="*/ 93 w 1992"/>
                <a:gd name="T3" fmla="*/ 172 h 2358"/>
                <a:gd name="T4" fmla="*/ 82 w 1992"/>
                <a:gd name="T5" fmla="*/ 179 h 2358"/>
                <a:gd name="T6" fmla="*/ 70 w 1992"/>
                <a:gd name="T7" fmla="*/ 174 h 2358"/>
                <a:gd name="T8" fmla="*/ 62 w 1992"/>
                <a:gd name="T9" fmla="*/ 182 h 2358"/>
                <a:gd name="T10" fmla="*/ 45 w 1992"/>
                <a:gd name="T11" fmla="*/ 189 h 2358"/>
                <a:gd name="T12" fmla="*/ 24 w 1992"/>
                <a:gd name="T13" fmla="*/ 205 h 2358"/>
                <a:gd name="T14" fmla="*/ 17 w 1992"/>
                <a:gd name="T15" fmla="*/ 204 h 2358"/>
                <a:gd name="T16" fmla="*/ 7 w 1992"/>
                <a:gd name="T17" fmla="*/ 197 h 2358"/>
                <a:gd name="T18" fmla="*/ 1 w 1992"/>
                <a:gd name="T19" fmla="*/ 191 h 2358"/>
                <a:gd name="T20" fmla="*/ 4 w 1992"/>
                <a:gd name="T21" fmla="*/ 175 h 2358"/>
                <a:gd name="T22" fmla="*/ 7 w 1992"/>
                <a:gd name="T23" fmla="*/ 172 h 2358"/>
                <a:gd name="T24" fmla="*/ 11 w 1992"/>
                <a:gd name="T25" fmla="*/ 168 h 2358"/>
                <a:gd name="T26" fmla="*/ 5 w 1992"/>
                <a:gd name="T27" fmla="*/ 159 h 2358"/>
                <a:gd name="T28" fmla="*/ 10 w 1992"/>
                <a:gd name="T29" fmla="*/ 156 h 2358"/>
                <a:gd name="T30" fmla="*/ 15 w 1992"/>
                <a:gd name="T31" fmla="*/ 155 h 2358"/>
                <a:gd name="T32" fmla="*/ 24 w 1992"/>
                <a:gd name="T33" fmla="*/ 149 h 2358"/>
                <a:gd name="T34" fmla="*/ 38 w 1992"/>
                <a:gd name="T35" fmla="*/ 127 h 2358"/>
                <a:gd name="T36" fmla="*/ 38 w 1992"/>
                <a:gd name="T37" fmla="*/ 107 h 2358"/>
                <a:gd name="T38" fmla="*/ 45 w 1992"/>
                <a:gd name="T39" fmla="*/ 66 h 2358"/>
                <a:gd name="T40" fmla="*/ 47 w 1992"/>
                <a:gd name="T41" fmla="*/ 36 h 2358"/>
                <a:gd name="T42" fmla="*/ 51 w 1992"/>
                <a:gd name="T43" fmla="*/ 35 h 2358"/>
                <a:gd name="T44" fmla="*/ 55 w 1992"/>
                <a:gd name="T45" fmla="*/ 30 h 2358"/>
                <a:gd name="T46" fmla="*/ 56 w 1992"/>
                <a:gd name="T47" fmla="*/ 27 h 2358"/>
                <a:gd name="T48" fmla="*/ 60 w 1992"/>
                <a:gd name="T49" fmla="*/ 23 h 2358"/>
                <a:gd name="T50" fmla="*/ 63 w 1992"/>
                <a:gd name="T51" fmla="*/ 23 h 2358"/>
                <a:gd name="T52" fmla="*/ 70 w 1992"/>
                <a:gd name="T53" fmla="*/ 18 h 2358"/>
                <a:gd name="T54" fmla="*/ 71 w 1992"/>
                <a:gd name="T55" fmla="*/ 15 h 2358"/>
                <a:gd name="T56" fmla="*/ 72 w 1992"/>
                <a:gd name="T57" fmla="*/ 13 h 2358"/>
                <a:gd name="T58" fmla="*/ 77 w 1992"/>
                <a:gd name="T59" fmla="*/ 12 h 2358"/>
                <a:gd name="T60" fmla="*/ 83 w 1992"/>
                <a:gd name="T61" fmla="*/ 10 h 2358"/>
                <a:gd name="T62" fmla="*/ 87 w 1992"/>
                <a:gd name="T63" fmla="*/ 10 h 2358"/>
                <a:gd name="T64" fmla="*/ 89 w 1992"/>
                <a:gd name="T65" fmla="*/ 10 h 2358"/>
                <a:gd name="T66" fmla="*/ 93 w 1992"/>
                <a:gd name="T67" fmla="*/ 8 h 2358"/>
                <a:gd name="T68" fmla="*/ 95 w 1992"/>
                <a:gd name="T69" fmla="*/ 4 h 2358"/>
                <a:gd name="T70" fmla="*/ 99 w 1992"/>
                <a:gd name="T71" fmla="*/ 0 h 2358"/>
                <a:gd name="T72" fmla="*/ 111 w 1992"/>
                <a:gd name="T73" fmla="*/ 0 h 2358"/>
                <a:gd name="T74" fmla="*/ 121 w 1992"/>
                <a:gd name="T75" fmla="*/ 9 h 2358"/>
                <a:gd name="T76" fmla="*/ 128 w 1992"/>
                <a:gd name="T77" fmla="*/ 19 h 2358"/>
                <a:gd name="T78" fmla="*/ 138 w 1992"/>
                <a:gd name="T79" fmla="*/ 33 h 2358"/>
                <a:gd name="T80" fmla="*/ 142 w 1992"/>
                <a:gd name="T81" fmla="*/ 47 h 2358"/>
                <a:gd name="T82" fmla="*/ 145 w 1992"/>
                <a:gd name="T83" fmla="*/ 62 h 2358"/>
                <a:gd name="T84" fmla="*/ 145 w 1992"/>
                <a:gd name="T85" fmla="*/ 70 h 2358"/>
                <a:gd name="T86" fmla="*/ 147 w 1992"/>
                <a:gd name="T87" fmla="*/ 75 h 2358"/>
                <a:gd name="T88" fmla="*/ 153 w 1992"/>
                <a:gd name="T89" fmla="*/ 75 h 2358"/>
                <a:gd name="T90" fmla="*/ 160 w 1992"/>
                <a:gd name="T91" fmla="*/ 76 h 2358"/>
                <a:gd name="T92" fmla="*/ 164 w 1992"/>
                <a:gd name="T93" fmla="*/ 79 h 2358"/>
                <a:gd name="T94" fmla="*/ 168 w 1992"/>
                <a:gd name="T95" fmla="*/ 83 h 2358"/>
                <a:gd name="T96" fmla="*/ 172 w 1992"/>
                <a:gd name="T97" fmla="*/ 86 h 2358"/>
                <a:gd name="T98" fmla="*/ 170 w 1992"/>
                <a:gd name="T99" fmla="*/ 93 h 2358"/>
                <a:gd name="T100" fmla="*/ 170 w 1992"/>
                <a:gd name="T101" fmla="*/ 99 h 2358"/>
                <a:gd name="T102" fmla="*/ 169 w 1992"/>
                <a:gd name="T103" fmla="*/ 106 h 2358"/>
                <a:gd name="T104" fmla="*/ 166 w 1992"/>
                <a:gd name="T105" fmla="*/ 113 h 2358"/>
                <a:gd name="T106" fmla="*/ 170 w 1992"/>
                <a:gd name="T107" fmla="*/ 122 h 2358"/>
                <a:gd name="T108" fmla="*/ 159 w 1992"/>
                <a:gd name="T109" fmla="*/ 128 h 2358"/>
                <a:gd name="T110" fmla="*/ 148 w 1992"/>
                <a:gd name="T111" fmla="*/ 134 h 2358"/>
                <a:gd name="T112" fmla="*/ 139 w 1992"/>
                <a:gd name="T113" fmla="*/ 136 h 2358"/>
                <a:gd name="T114" fmla="*/ 132 w 1992"/>
                <a:gd name="T115" fmla="*/ 138 h 2358"/>
                <a:gd name="T116" fmla="*/ 128 w 1992"/>
                <a:gd name="T117" fmla="*/ 145 h 2358"/>
                <a:gd name="T118" fmla="*/ 124 w 1992"/>
                <a:gd name="T119" fmla="*/ 150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92"/>
                <a:gd name="T181" fmla="*/ 0 h 2358"/>
                <a:gd name="T182" fmla="*/ 1992 w 1992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92" h="2358">
                  <a:moveTo>
                    <a:pt x="1356" y="1782"/>
                  </a:moveTo>
                  <a:lnTo>
                    <a:pt x="1350" y="1788"/>
                  </a:lnTo>
                  <a:lnTo>
                    <a:pt x="1266" y="1788"/>
                  </a:lnTo>
                  <a:lnTo>
                    <a:pt x="1260" y="1800"/>
                  </a:lnTo>
                  <a:lnTo>
                    <a:pt x="1242" y="1806"/>
                  </a:lnTo>
                  <a:lnTo>
                    <a:pt x="1218" y="1812"/>
                  </a:lnTo>
                  <a:lnTo>
                    <a:pt x="1182" y="1812"/>
                  </a:lnTo>
                  <a:lnTo>
                    <a:pt x="1158" y="1806"/>
                  </a:lnTo>
                  <a:lnTo>
                    <a:pt x="1134" y="1800"/>
                  </a:lnTo>
                  <a:lnTo>
                    <a:pt x="1134" y="1806"/>
                  </a:lnTo>
                  <a:lnTo>
                    <a:pt x="1134" y="1830"/>
                  </a:lnTo>
                  <a:lnTo>
                    <a:pt x="1128" y="1842"/>
                  </a:lnTo>
                  <a:lnTo>
                    <a:pt x="1128" y="1854"/>
                  </a:lnTo>
                  <a:lnTo>
                    <a:pt x="1128" y="1860"/>
                  </a:lnTo>
                  <a:lnTo>
                    <a:pt x="1128" y="1866"/>
                  </a:lnTo>
                  <a:lnTo>
                    <a:pt x="1128" y="1872"/>
                  </a:lnTo>
                  <a:lnTo>
                    <a:pt x="1128" y="1884"/>
                  </a:lnTo>
                  <a:lnTo>
                    <a:pt x="1128" y="1890"/>
                  </a:lnTo>
                  <a:lnTo>
                    <a:pt x="1128" y="1896"/>
                  </a:lnTo>
                  <a:lnTo>
                    <a:pt x="1122" y="1902"/>
                  </a:lnTo>
                  <a:lnTo>
                    <a:pt x="1122" y="1920"/>
                  </a:lnTo>
                  <a:lnTo>
                    <a:pt x="1116" y="1920"/>
                  </a:lnTo>
                  <a:lnTo>
                    <a:pt x="1110" y="1926"/>
                  </a:lnTo>
                  <a:lnTo>
                    <a:pt x="1110" y="1932"/>
                  </a:lnTo>
                  <a:lnTo>
                    <a:pt x="1104" y="1938"/>
                  </a:lnTo>
                  <a:lnTo>
                    <a:pt x="1086" y="1962"/>
                  </a:lnTo>
                  <a:lnTo>
                    <a:pt x="1074" y="1974"/>
                  </a:lnTo>
                  <a:lnTo>
                    <a:pt x="1074" y="1980"/>
                  </a:lnTo>
                  <a:lnTo>
                    <a:pt x="1068" y="1986"/>
                  </a:lnTo>
                  <a:lnTo>
                    <a:pt x="1062" y="1998"/>
                  </a:lnTo>
                  <a:lnTo>
                    <a:pt x="1062" y="2004"/>
                  </a:lnTo>
                  <a:lnTo>
                    <a:pt x="1068" y="2004"/>
                  </a:lnTo>
                  <a:lnTo>
                    <a:pt x="1056" y="2034"/>
                  </a:lnTo>
                  <a:lnTo>
                    <a:pt x="1050" y="2076"/>
                  </a:lnTo>
                  <a:lnTo>
                    <a:pt x="1056" y="2100"/>
                  </a:lnTo>
                  <a:lnTo>
                    <a:pt x="1038" y="2106"/>
                  </a:lnTo>
                  <a:lnTo>
                    <a:pt x="1002" y="2106"/>
                  </a:lnTo>
                  <a:lnTo>
                    <a:pt x="978" y="2094"/>
                  </a:lnTo>
                  <a:lnTo>
                    <a:pt x="972" y="2082"/>
                  </a:lnTo>
                  <a:lnTo>
                    <a:pt x="966" y="2070"/>
                  </a:lnTo>
                  <a:lnTo>
                    <a:pt x="954" y="2064"/>
                  </a:lnTo>
                  <a:lnTo>
                    <a:pt x="942" y="2058"/>
                  </a:lnTo>
                  <a:lnTo>
                    <a:pt x="936" y="2058"/>
                  </a:lnTo>
                  <a:lnTo>
                    <a:pt x="918" y="2046"/>
                  </a:lnTo>
                  <a:lnTo>
                    <a:pt x="906" y="2028"/>
                  </a:lnTo>
                  <a:lnTo>
                    <a:pt x="900" y="2022"/>
                  </a:lnTo>
                  <a:lnTo>
                    <a:pt x="894" y="2022"/>
                  </a:lnTo>
                  <a:lnTo>
                    <a:pt x="882" y="2022"/>
                  </a:lnTo>
                  <a:lnTo>
                    <a:pt x="870" y="2016"/>
                  </a:lnTo>
                  <a:lnTo>
                    <a:pt x="864" y="2016"/>
                  </a:lnTo>
                  <a:lnTo>
                    <a:pt x="852" y="2010"/>
                  </a:lnTo>
                  <a:lnTo>
                    <a:pt x="846" y="2004"/>
                  </a:lnTo>
                  <a:lnTo>
                    <a:pt x="840" y="2004"/>
                  </a:lnTo>
                  <a:lnTo>
                    <a:pt x="828" y="1998"/>
                  </a:lnTo>
                  <a:lnTo>
                    <a:pt x="816" y="1998"/>
                  </a:lnTo>
                  <a:lnTo>
                    <a:pt x="810" y="1998"/>
                  </a:lnTo>
                  <a:lnTo>
                    <a:pt x="804" y="1998"/>
                  </a:lnTo>
                  <a:lnTo>
                    <a:pt x="798" y="1998"/>
                  </a:lnTo>
                  <a:lnTo>
                    <a:pt x="792" y="2004"/>
                  </a:lnTo>
                  <a:lnTo>
                    <a:pt x="786" y="2010"/>
                  </a:lnTo>
                  <a:lnTo>
                    <a:pt x="762" y="2010"/>
                  </a:lnTo>
                  <a:lnTo>
                    <a:pt x="756" y="2010"/>
                  </a:lnTo>
                  <a:lnTo>
                    <a:pt x="744" y="2022"/>
                  </a:lnTo>
                  <a:lnTo>
                    <a:pt x="738" y="2034"/>
                  </a:lnTo>
                  <a:lnTo>
                    <a:pt x="732" y="2040"/>
                  </a:lnTo>
                  <a:lnTo>
                    <a:pt x="732" y="2046"/>
                  </a:lnTo>
                  <a:lnTo>
                    <a:pt x="726" y="2058"/>
                  </a:lnTo>
                  <a:lnTo>
                    <a:pt x="720" y="2064"/>
                  </a:lnTo>
                  <a:lnTo>
                    <a:pt x="714" y="2070"/>
                  </a:lnTo>
                  <a:lnTo>
                    <a:pt x="708" y="2088"/>
                  </a:lnTo>
                  <a:lnTo>
                    <a:pt x="702" y="2100"/>
                  </a:lnTo>
                  <a:lnTo>
                    <a:pt x="690" y="2100"/>
                  </a:lnTo>
                  <a:lnTo>
                    <a:pt x="684" y="2094"/>
                  </a:lnTo>
                  <a:lnTo>
                    <a:pt x="666" y="2100"/>
                  </a:lnTo>
                  <a:lnTo>
                    <a:pt x="636" y="2106"/>
                  </a:lnTo>
                  <a:lnTo>
                    <a:pt x="636" y="2112"/>
                  </a:lnTo>
                  <a:lnTo>
                    <a:pt x="636" y="2118"/>
                  </a:lnTo>
                  <a:lnTo>
                    <a:pt x="636" y="2124"/>
                  </a:lnTo>
                  <a:lnTo>
                    <a:pt x="630" y="2124"/>
                  </a:lnTo>
                  <a:lnTo>
                    <a:pt x="630" y="2148"/>
                  </a:lnTo>
                  <a:lnTo>
                    <a:pt x="612" y="2160"/>
                  </a:lnTo>
                  <a:lnTo>
                    <a:pt x="576" y="2172"/>
                  </a:lnTo>
                  <a:lnTo>
                    <a:pt x="546" y="2172"/>
                  </a:lnTo>
                  <a:lnTo>
                    <a:pt x="516" y="2172"/>
                  </a:lnTo>
                  <a:lnTo>
                    <a:pt x="486" y="2172"/>
                  </a:lnTo>
                  <a:lnTo>
                    <a:pt x="462" y="2172"/>
                  </a:lnTo>
                  <a:lnTo>
                    <a:pt x="444" y="2196"/>
                  </a:lnTo>
                  <a:lnTo>
                    <a:pt x="432" y="2232"/>
                  </a:lnTo>
                  <a:lnTo>
                    <a:pt x="408" y="2238"/>
                  </a:lnTo>
                  <a:lnTo>
                    <a:pt x="390" y="2256"/>
                  </a:lnTo>
                  <a:lnTo>
                    <a:pt x="372" y="2274"/>
                  </a:lnTo>
                  <a:lnTo>
                    <a:pt x="360" y="2274"/>
                  </a:lnTo>
                  <a:lnTo>
                    <a:pt x="336" y="2328"/>
                  </a:lnTo>
                  <a:lnTo>
                    <a:pt x="324" y="2340"/>
                  </a:lnTo>
                  <a:lnTo>
                    <a:pt x="300" y="2346"/>
                  </a:lnTo>
                  <a:lnTo>
                    <a:pt x="294" y="2352"/>
                  </a:lnTo>
                  <a:lnTo>
                    <a:pt x="288" y="2352"/>
                  </a:lnTo>
                  <a:lnTo>
                    <a:pt x="282" y="2352"/>
                  </a:lnTo>
                  <a:lnTo>
                    <a:pt x="276" y="2352"/>
                  </a:lnTo>
                  <a:lnTo>
                    <a:pt x="270" y="2352"/>
                  </a:lnTo>
                  <a:lnTo>
                    <a:pt x="270" y="2346"/>
                  </a:lnTo>
                  <a:lnTo>
                    <a:pt x="264" y="2346"/>
                  </a:lnTo>
                  <a:lnTo>
                    <a:pt x="258" y="2352"/>
                  </a:lnTo>
                  <a:lnTo>
                    <a:pt x="252" y="2352"/>
                  </a:lnTo>
                  <a:lnTo>
                    <a:pt x="240" y="2352"/>
                  </a:lnTo>
                  <a:lnTo>
                    <a:pt x="228" y="2352"/>
                  </a:lnTo>
                  <a:lnTo>
                    <a:pt x="222" y="2352"/>
                  </a:lnTo>
                  <a:lnTo>
                    <a:pt x="216" y="2358"/>
                  </a:lnTo>
                  <a:lnTo>
                    <a:pt x="216" y="2352"/>
                  </a:lnTo>
                  <a:lnTo>
                    <a:pt x="210" y="2346"/>
                  </a:lnTo>
                  <a:lnTo>
                    <a:pt x="204" y="2346"/>
                  </a:lnTo>
                  <a:lnTo>
                    <a:pt x="198" y="2340"/>
                  </a:lnTo>
                  <a:lnTo>
                    <a:pt x="192" y="2340"/>
                  </a:lnTo>
                  <a:lnTo>
                    <a:pt x="186" y="2340"/>
                  </a:lnTo>
                  <a:lnTo>
                    <a:pt x="180" y="2340"/>
                  </a:lnTo>
                  <a:lnTo>
                    <a:pt x="174" y="2340"/>
                  </a:lnTo>
                  <a:lnTo>
                    <a:pt x="162" y="2328"/>
                  </a:lnTo>
                  <a:lnTo>
                    <a:pt x="156" y="2322"/>
                  </a:lnTo>
                  <a:lnTo>
                    <a:pt x="156" y="2316"/>
                  </a:lnTo>
                  <a:lnTo>
                    <a:pt x="156" y="2310"/>
                  </a:lnTo>
                  <a:lnTo>
                    <a:pt x="132" y="2286"/>
                  </a:lnTo>
                  <a:lnTo>
                    <a:pt x="120" y="2280"/>
                  </a:lnTo>
                  <a:lnTo>
                    <a:pt x="96" y="2274"/>
                  </a:lnTo>
                  <a:lnTo>
                    <a:pt x="84" y="2268"/>
                  </a:lnTo>
                  <a:lnTo>
                    <a:pt x="78" y="2268"/>
                  </a:lnTo>
                  <a:lnTo>
                    <a:pt x="78" y="2262"/>
                  </a:lnTo>
                  <a:lnTo>
                    <a:pt x="78" y="2256"/>
                  </a:lnTo>
                  <a:lnTo>
                    <a:pt x="78" y="2250"/>
                  </a:lnTo>
                  <a:lnTo>
                    <a:pt x="72" y="2250"/>
                  </a:lnTo>
                  <a:lnTo>
                    <a:pt x="66" y="2250"/>
                  </a:lnTo>
                  <a:lnTo>
                    <a:pt x="60" y="2250"/>
                  </a:lnTo>
                  <a:lnTo>
                    <a:pt x="48" y="2244"/>
                  </a:lnTo>
                  <a:lnTo>
                    <a:pt x="36" y="2238"/>
                  </a:lnTo>
                  <a:lnTo>
                    <a:pt x="36" y="2226"/>
                  </a:lnTo>
                  <a:lnTo>
                    <a:pt x="30" y="2226"/>
                  </a:lnTo>
                  <a:lnTo>
                    <a:pt x="30" y="2220"/>
                  </a:lnTo>
                  <a:lnTo>
                    <a:pt x="24" y="2208"/>
                  </a:lnTo>
                  <a:lnTo>
                    <a:pt x="18" y="2202"/>
                  </a:lnTo>
                  <a:lnTo>
                    <a:pt x="18" y="2196"/>
                  </a:lnTo>
                  <a:lnTo>
                    <a:pt x="12" y="2190"/>
                  </a:lnTo>
                  <a:lnTo>
                    <a:pt x="0" y="2190"/>
                  </a:lnTo>
                  <a:lnTo>
                    <a:pt x="6" y="2184"/>
                  </a:lnTo>
                  <a:lnTo>
                    <a:pt x="12" y="2178"/>
                  </a:lnTo>
                  <a:lnTo>
                    <a:pt x="18" y="2172"/>
                  </a:lnTo>
                  <a:lnTo>
                    <a:pt x="24" y="2166"/>
                  </a:lnTo>
                  <a:lnTo>
                    <a:pt x="30" y="2166"/>
                  </a:lnTo>
                  <a:lnTo>
                    <a:pt x="24" y="2160"/>
                  </a:lnTo>
                  <a:lnTo>
                    <a:pt x="30" y="2160"/>
                  </a:lnTo>
                  <a:lnTo>
                    <a:pt x="36" y="2154"/>
                  </a:lnTo>
                  <a:lnTo>
                    <a:pt x="36" y="2136"/>
                  </a:lnTo>
                  <a:lnTo>
                    <a:pt x="36" y="2118"/>
                  </a:lnTo>
                  <a:lnTo>
                    <a:pt x="48" y="2058"/>
                  </a:lnTo>
                  <a:lnTo>
                    <a:pt x="48" y="2022"/>
                  </a:lnTo>
                  <a:lnTo>
                    <a:pt x="48" y="2016"/>
                  </a:lnTo>
                  <a:lnTo>
                    <a:pt x="48" y="2010"/>
                  </a:lnTo>
                  <a:lnTo>
                    <a:pt x="48" y="2004"/>
                  </a:lnTo>
                  <a:lnTo>
                    <a:pt x="42" y="2004"/>
                  </a:lnTo>
                  <a:lnTo>
                    <a:pt x="42" y="1998"/>
                  </a:lnTo>
                  <a:lnTo>
                    <a:pt x="36" y="1992"/>
                  </a:lnTo>
                  <a:lnTo>
                    <a:pt x="42" y="1992"/>
                  </a:lnTo>
                  <a:lnTo>
                    <a:pt x="42" y="1986"/>
                  </a:lnTo>
                  <a:lnTo>
                    <a:pt x="48" y="1986"/>
                  </a:lnTo>
                  <a:lnTo>
                    <a:pt x="54" y="1986"/>
                  </a:lnTo>
                  <a:lnTo>
                    <a:pt x="60" y="1986"/>
                  </a:lnTo>
                  <a:lnTo>
                    <a:pt x="66" y="1980"/>
                  </a:lnTo>
                  <a:lnTo>
                    <a:pt x="72" y="1974"/>
                  </a:lnTo>
                  <a:lnTo>
                    <a:pt x="78" y="1974"/>
                  </a:lnTo>
                  <a:lnTo>
                    <a:pt x="84" y="1974"/>
                  </a:lnTo>
                  <a:lnTo>
                    <a:pt x="90" y="1974"/>
                  </a:lnTo>
                  <a:lnTo>
                    <a:pt x="96" y="1974"/>
                  </a:lnTo>
                  <a:lnTo>
                    <a:pt x="96" y="1968"/>
                  </a:lnTo>
                  <a:lnTo>
                    <a:pt x="102" y="1968"/>
                  </a:lnTo>
                  <a:lnTo>
                    <a:pt x="102" y="1962"/>
                  </a:lnTo>
                  <a:lnTo>
                    <a:pt x="108" y="1962"/>
                  </a:lnTo>
                  <a:lnTo>
                    <a:pt x="114" y="1956"/>
                  </a:lnTo>
                  <a:lnTo>
                    <a:pt x="120" y="1956"/>
                  </a:lnTo>
                  <a:lnTo>
                    <a:pt x="126" y="1950"/>
                  </a:lnTo>
                  <a:lnTo>
                    <a:pt x="132" y="1950"/>
                  </a:lnTo>
                  <a:lnTo>
                    <a:pt x="132" y="1944"/>
                  </a:lnTo>
                  <a:lnTo>
                    <a:pt x="126" y="1944"/>
                  </a:lnTo>
                  <a:lnTo>
                    <a:pt x="126" y="1938"/>
                  </a:lnTo>
                  <a:lnTo>
                    <a:pt x="126" y="1932"/>
                  </a:lnTo>
                  <a:lnTo>
                    <a:pt x="126" y="1926"/>
                  </a:lnTo>
                  <a:lnTo>
                    <a:pt x="114" y="1914"/>
                  </a:lnTo>
                  <a:lnTo>
                    <a:pt x="114" y="1896"/>
                  </a:lnTo>
                  <a:lnTo>
                    <a:pt x="108" y="1884"/>
                  </a:lnTo>
                  <a:lnTo>
                    <a:pt x="102" y="1872"/>
                  </a:lnTo>
                  <a:lnTo>
                    <a:pt x="96" y="1866"/>
                  </a:lnTo>
                  <a:lnTo>
                    <a:pt x="96" y="1860"/>
                  </a:lnTo>
                  <a:lnTo>
                    <a:pt x="90" y="1860"/>
                  </a:lnTo>
                  <a:lnTo>
                    <a:pt x="90" y="1854"/>
                  </a:lnTo>
                  <a:lnTo>
                    <a:pt x="84" y="1848"/>
                  </a:lnTo>
                  <a:lnTo>
                    <a:pt x="78" y="1842"/>
                  </a:lnTo>
                  <a:lnTo>
                    <a:pt x="72" y="1836"/>
                  </a:lnTo>
                  <a:lnTo>
                    <a:pt x="66" y="1830"/>
                  </a:lnTo>
                  <a:lnTo>
                    <a:pt x="60" y="1824"/>
                  </a:lnTo>
                  <a:lnTo>
                    <a:pt x="54" y="1824"/>
                  </a:lnTo>
                  <a:lnTo>
                    <a:pt x="48" y="1824"/>
                  </a:lnTo>
                  <a:lnTo>
                    <a:pt x="42" y="1818"/>
                  </a:lnTo>
                  <a:lnTo>
                    <a:pt x="54" y="1818"/>
                  </a:lnTo>
                  <a:lnTo>
                    <a:pt x="60" y="1812"/>
                  </a:lnTo>
                  <a:lnTo>
                    <a:pt x="66" y="1812"/>
                  </a:lnTo>
                  <a:lnTo>
                    <a:pt x="72" y="1812"/>
                  </a:lnTo>
                  <a:lnTo>
                    <a:pt x="78" y="1812"/>
                  </a:lnTo>
                  <a:lnTo>
                    <a:pt x="84" y="1812"/>
                  </a:lnTo>
                  <a:lnTo>
                    <a:pt x="90" y="1806"/>
                  </a:lnTo>
                  <a:lnTo>
                    <a:pt x="96" y="1800"/>
                  </a:lnTo>
                  <a:lnTo>
                    <a:pt x="102" y="1806"/>
                  </a:lnTo>
                  <a:lnTo>
                    <a:pt x="108" y="1800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26" y="1788"/>
                  </a:lnTo>
                  <a:lnTo>
                    <a:pt x="126" y="1794"/>
                  </a:lnTo>
                  <a:lnTo>
                    <a:pt x="132" y="1794"/>
                  </a:lnTo>
                  <a:lnTo>
                    <a:pt x="132" y="1788"/>
                  </a:lnTo>
                  <a:lnTo>
                    <a:pt x="138" y="1788"/>
                  </a:lnTo>
                  <a:lnTo>
                    <a:pt x="138" y="1782"/>
                  </a:lnTo>
                  <a:lnTo>
                    <a:pt x="144" y="1782"/>
                  </a:lnTo>
                  <a:lnTo>
                    <a:pt x="150" y="1776"/>
                  </a:lnTo>
                  <a:lnTo>
                    <a:pt x="156" y="1782"/>
                  </a:lnTo>
                  <a:lnTo>
                    <a:pt x="162" y="1776"/>
                  </a:lnTo>
                  <a:lnTo>
                    <a:pt x="168" y="1776"/>
                  </a:lnTo>
                  <a:lnTo>
                    <a:pt x="180" y="1776"/>
                  </a:lnTo>
                  <a:lnTo>
                    <a:pt x="186" y="1776"/>
                  </a:lnTo>
                  <a:lnTo>
                    <a:pt x="186" y="1782"/>
                  </a:lnTo>
                  <a:lnTo>
                    <a:pt x="192" y="1776"/>
                  </a:lnTo>
                  <a:lnTo>
                    <a:pt x="198" y="1776"/>
                  </a:lnTo>
                  <a:lnTo>
                    <a:pt x="204" y="1770"/>
                  </a:lnTo>
                  <a:lnTo>
                    <a:pt x="204" y="1764"/>
                  </a:lnTo>
                  <a:lnTo>
                    <a:pt x="210" y="1764"/>
                  </a:lnTo>
                  <a:lnTo>
                    <a:pt x="216" y="1764"/>
                  </a:lnTo>
                  <a:lnTo>
                    <a:pt x="216" y="1758"/>
                  </a:lnTo>
                  <a:lnTo>
                    <a:pt x="222" y="1758"/>
                  </a:lnTo>
                  <a:lnTo>
                    <a:pt x="228" y="1758"/>
                  </a:lnTo>
                  <a:lnTo>
                    <a:pt x="258" y="1746"/>
                  </a:lnTo>
                  <a:lnTo>
                    <a:pt x="282" y="1716"/>
                  </a:lnTo>
                  <a:lnTo>
                    <a:pt x="300" y="1698"/>
                  </a:lnTo>
                  <a:lnTo>
                    <a:pt x="312" y="1698"/>
                  </a:lnTo>
                  <a:lnTo>
                    <a:pt x="336" y="1698"/>
                  </a:lnTo>
                  <a:lnTo>
                    <a:pt x="360" y="1698"/>
                  </a:lnTo>
                  <a:lnTo>
                    <a:pt x="372" y="1692"/>
                  </a:lnTo>
                  <a:lnTo>
                    <a:pt x="384" y="1692"/>
                  </a:lnTo>
                  <a:lnTo>
                    <a:pt x="360" y="1668"/>
                  </a:lnTo>
                  <a:lnTo>
                    <a:pt x="348" y="1626"/>
                  </a:lnTo>
                  <a:lnTo>
                    <a:pt x="354" y="1578"/>
                  </a:lnTo>
                  <a:lnTo>
                    <a:pt x="354" y="1572"/>
                  </a:lnTo>
                  <a:lnTo>
                    <a:pt x="360" y="1572"/>
                  </a:lnTo>
                  <a:lnTo>
                    <a:pt x="396" y="1530"/>
                  </a:lnTo>
                  <a:lnTo>
                    <a:pt x="408" y="1482"/>
                  </a:lnTo>
                  <a:lnTo>
                    <a:pt x="438" y="1458"/>
                  </a:lnTo>
                  <a:lnTo>
                    <a:pt x="468" y="1422"/>
                  </a:lnTo>
                  <a:lnTo>
                    <a:pt x="480" y="1410"/>
                  </a:lnTo>
                  <a:lnTo>
                    <a:pt x="474" y="1386"/>
                  </a:lnTo>
                  <a:lnTo>
                    <a:pt x="456" y="1356"/>
                  </a:lnTo>
                  <a:lnTo>
                    <a:pt x="438" y="1350"/>
                  </a:lnTo>
                  <a:lnTo>
                    <a:pt x="420" y="1350"/>
                  </a:lnTo>
                  <a:lnTo>
                    <a:pt x="402" y="1350"/>
                  </a:lnTo>
                  <a:lnTo>
                    <a:pt x="390" y="1344"/>
                  </a:lnTo>
                  <a:lnTo>
                    <a:pt x="390" y="1332"/>
                  </a:lnTo>
                  <a:lnTo>
                    <a:pt x="402" y="1296"/>
                  </a:lnTo>
                  <a:lnTo>
                    <a:pt x="414" y="1260"/>
                  </a:lnTo>
                  <a:lnTo>
                    <a:pt x="426" y="1248"/>
                  </a:lnTo>
                  <a:lnTo>
                    <a:pt x="438" y="1242"/>
                  </a:lnTo>
                  <a:lnTo>
                    <a:pt x="432" y="1230"/>
                  </a:lnTo>
                  <a:lnTo>
                    <a:pt x="432" y="1224"/>
                  </a:lnTo>
                  <a:lnTo>
                    <a:pt x="426" y="1218"/>
                  </a:lnTo>
                  <a:lnTo>
                    <a:pt x="426" y="1206"/>
                  </a:lnTo>
                  <a:lnTo>
                    <a:pt x="426" y="1200"/>
                  </a:lnTo>
                  <a:lnTo>
                    <a:pt x="432" y="1194"/>
                  </a:lnTo>
                  <a:lnTo>
                    <a:pt x="426" y="1188"/>
                  </a:lnTo>
                  <a:lnTo>
                    <a:pt x="432" y="1104"/>
                  </a:lnTo>
                  <a:lnTo>
                    <a:pt x="438" y="1086"/>
                  </a:lnTo>
                  <a:lnTo>
                    <a:pt x="462" y="972"/>
                  </a:lnTo>
                  <a:lnTo>
                    <a:pt x="456" y="900"/>
                  </a:lnTo>
                  <a:lnTo>
                    <a:pt x="444" y="846"/>
                  </a:lnTo>
                  <a:lnTo>
                    <a:pt x="456" y="810"/>
                  </a:lnTo>
                  <a:lnTo>
                    <a:pt x="492" y="786"/>
                  </a:lnTo>
                  <a:lnTo>
                    <a:pt x="522" y="762"/>
                  </a:lnTo>
                  <a:lnTo>
                    <a:pt x="546" y="732"/>
                  </a:lnTo>
                  <a:lnTo>
                    <a:pt x="570" y="696"/>
                  </a:lnTo>
                  <a:lnTo>
                    <a:pt x="582" y="654"/>
                  </a:lnTo>
                  <a:lnTo>
                    <a:pt x="564" y="642"/>
                  </a:lnTo>
                  <a:lnTo>
                    <a:pt x="522" y="588"/>
                  </a:lnTo>
                  <a:lnTo>
                    <a:pt x="516" y="546"/>
                  </a:lnTo>
                  <a:lnTo>
                    <a:pt x="510" y="474"/>
                  </a:lnTo>
                  <a:lnTo>
                    <a:pt x="510" y="450"/>
                  </a:lnTo>
                  <a:lnTo>
                    <a:pt x="510" y="444"/>
                  </a:lnTo>
                  <a:lnTo>
                    <a:pt x="522" y="438"/>
                  </a:lnTo>
                  <a:lnTo>
                    <a:pt x="522" y="432"/>
                  </a:lnTo>
                  <a:lnTo>
                    <a:pt x="528" y="426"/>
                  </a:lnTo>
                  <a:lnTo>
                    <a:pt x="534" y="420"/>
                  </a:lnTo>
                  <a:lnTo>
                    <a:pt x="540" y="414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08"/>
                  </a:lnTo>
                  <a:lnTo>
                    <a:pt x="546" y="408"/>
                  </a:lnTo>
                  <a:lnTo>
                    <a:pt x="558" y="414"/>
                  </a:lnTo>
                  <a:lnTo>
                    <a:pt x="564" y="414"/>
                  </a:lnTo>
                  <a:lnTo>
                    <a:pt x="570" y="414"/>
                  </a:lnTo>
                  <a:lnTo>
                    <a:pt x="582" y="414"/>
                  </a:lnTo>
                  <a:lnTo>
                    <a:pt x="582" y="420"/>
                  </a:lnTo>
                  <a:lnTo>
                    <a:pt x="588" y="414"/>
                  </a:lnTo>
                  <a:lnTo>
                    <a:pt x="582" y="408"/>
                  </a:lnTo>
                  <a:lnTo>
                    <a:pt x="588" y="402"/>
                  </a:lnTo>
                  <a:lnTo>
                    <a:pt x="594" y="402"/>
                  </a:lnTo>
                  <a:lnTo>
                    <a:pt x="594" y="396"/>
                  </a:lnTo>
                  <a:lnTo>
                    <a:pt x="594" y="390"/>
                  </a:lnTo>
                  <a:lnTo>
                    <a:pt x="594" y="384"/>
                  </a:lnTo>
                  <a:lnTo>
                    <a:pt x="594" y="378"/>
                  </a:lnTo>
                  <a:lnTo>
                    <a:pt x="600" y="366"/>
                  </a:lnTo>
                  <a:lnTo>
                    <a:pt x="606" y="366"/>
                  </a:lnTo>
                  <a:lnTo>
                    <a:pt x="612" y="360"/>
                  </a:lnTo>
                  <a:lnTo>
                    <a:pt x="612" y="366"/>
                  </a:lnTo>
                  <a:lnTo>
                    <a:pt x="618" y="366"/>
                  </a:lnTo>
                  <a:lnTo>
                    <a:pt x="624" y="366"/>
                  </a:lnTo>
                  <a:lnTo>
                    <a:pt x="630" y="360"/>
                  </a:lnTo>
                  <a:lnTo>
                    <a:pt x="636" y="354"/>
                  </a:lnTo>
                  <a:lnTo>
                    <a:pt x="630" y="354"/>
                  </a:lnTo>
                  <a:lnTo>
                    <a:pt x="630" y="348"/>
                  </a:lnTo>
                  <a:lnTo>
                    <a:pt x="630" y="342"/>
                  </a:lnTo>
                  <a:lnTo>
                    <a:pt x="636" y="342"/>
                  </a:lnTo>
                  <a:lnTo>
                    <a:pt x="642" y="336"/>
                  </a:lnTo>
                  <a:lnTo>
                    <a:pt x="636" y="330"/>
                  </a:lnTo>
                  <a:lnTo>
                    <a:pt x="630" y="336"/>
                  </a:lnTo>
                  <a:lnTo>
                    <a:pt x="624" y="336"/>
                  </a:lnTo>
                  <a:lnTo>
                    <a:pt x="624" y="330"/>
                  </a:lnTo>
                  <a:lnTo>
                    <a:pt x="624" y="324"/>
                  </a:lnTo>
                  <a:lnTo>
                    <a:pt x="618" y="324"/>
                  </a:lnTo>
                  <a:lnTo>
                    <a:pt x="624" y="324"/>
                  </a:lnTo>
                  <a:lnTo>
                    <a:pt x="630" y="330"/>
                  </a:lnTo>
                  <a:lnTo>
                    <a:pt x="630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2" y="306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8" y="288"/>
                  </a:lnTo>
                  <a:lnTo>
                    <a:pt x="648" y="282"/>
                  </a:lnTo>
                  <a:lnTo>
                    <a:pt x="654" y="288"/>
                  </a:lnTo>
                  <a:lnTo>
                    <a:pt x="654" y="282"/>
                  </a:lnTo>
                  <a:lnTo>
                    <a:pt x="660" y="282"/>
                  </a:lnTo>
                  <a:lnTo>
                    <a:pt x="666" y="282"/>
                  </a:lnTo>
                  <a:lnTo>
                    <a:pt x="672" y="282"/>
                  </a:lnTo>
                  <a:lnTo>
                    <a:pt x="678" y="282"/>
                  </a:lnTo>
                  <a:lnTo>
                    <a:pt x="684" y="276"/>
                  </a:lnTo>
                  <a:lnTo>
                    <a:pt x="690" y="270"/>
                  </a:lnTo>
                  <a:lnTo>
                    <a:pt x="690" y="264"/>
                  </a:lnTo>
                  <a:lnTo>
                    <a:pt x="690" y="270"/>
                  </a:lnTo>
                  <a:lnTo>
                    <a:pt x="690" y="276"/>
                  </a:lnTo>
                  <a:lnTo>
                    <a:pt x="696" y="276"/>
                  </a:lnTo>
                  <a:lnTo>
                    <a:pt x="702" y="276"/>
                  </a:lnTo>
                  <a:lnTo>
                    <a:pt x="702" y="282"/>
                  </a:lnTo>
                  <a:lnTo>
                    <a:pt x="708" y="282"/>
                  </a:lnTo>
                  <a:lnTo>
                    <a:pt x="720" y="270"/>
                  </a:lnTo>
                  <a:lnTo>
                    <a:pt x="720" y="264"/>
                  </a:lnTo>
                  <a:lnTo>
                    <a:pt x="720" y="258"/>
                  </a:lnTo>
                  <a:lnTo>
                    <a:pt x="726" y="258"/>
                  </a:lnTo>
                  <a:lnTo>
                    <a:pt x="732" y="258"/>
                  </a:lnTo>
                  <a:lnTo>
                    <a:pt x="732" y="264"/>
                  </a:lnTo>
                  <a:lnTo>
                    <a:pt x="738" y="264"/>
                  </a:lnTo>
                  <a:lnTo>
                    <a:pt x="738" y="258"/>
                  </a:lnTo>
                  <a:lnTo>
                    <a:pt x="732" y="258"/>
                  </a:lnTo>
                  <a:lnTo>
                    <a:pt x="732" y="252"/>
                  </a:lnTo>
                  <a:lnTo>
                    <a:pt x="744" y="252"/>
                  </a:lnTo>
                  <a:lnTo>
                    <a:pt x="750" y="252"/>
                  </a:lnTo>
                  <a:lnTo>
                    <a:pt x="750" y="246"/>
                  </a:lnTo>
                  <a:lnTo>
                    <a:pt x="750" y="240"/>
                  </a:lnTo>
                  <a:lnTo>
                    <a:pt x="762" y="234"/>
                  </a:lnTo>
                  <a:lnTo>
                    <a:pt x="768" y="234"/>
                  </a:lnTo>
                  <a:lnTo>
                    <a:pt x="774" y="234"/>
                  </a:lnTo>
                  <a:lnTo>
                    <a:pt x="780" y="228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16"/>
                  </a:lnTo>
                  <a:lnTo>
                    <a:pt x="792" y="210"/>
                  </a:lnTo>
                  <a:lnTo>
                    <a:pt x="804" y="204"/>
                  </a:lnTo>
                  <a:lnTo>
                    <a:pt x="804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0" y="192"/>
                  </a:lnTo>
                  <a:lnTo>
                    <a:pt x="798" y="186"/>
                  </a:lnTo>
                  <a:lnTo>
                    <a:pt x="810" y="186"/>
                  </a:lnTo>
                  <a:lnTo>
                    <a:pt x="810" y="180"/>
                  </a:lnTo>
                  <a:lnTo>
                    <a:pt x="810" y="186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0" y="180"/>
                  </a:lnTo>
                  <a:lnTo>
                    <a:pt x="816" y="174"/>
                  </a:lnTo>
                  <a:lnTo>
                    <a:pt x="822" y="174"/>
                  </a:lnTo>
                  <a:lnTo>
                    <a:pt x="822" y="180"/>
                  </a:lnTo>
                  <a:lnTo>
                    <a:pt x="828" y="180"/>
                  </a:lnTo>
                  <a:lnTo>
                    <a:pt x="828" y="174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62"/>
                  </a:lnTo>
                  <a:lnTo>
                    <a:pt x="828" y="156"/>
                  </a:lnTo>
                  <a:lnTo>
                    <a:pt x="822" y="156"/>
                  </a:lnTo>
                  <a:lnTo>
                    <a:pt x="828" y="156"/>
                  </a:lnTo>
                  <a:lnTo>
                    <a:pt x="828" y="150"/>
                  </a:lnTo>
                  <a:lnTo>
                    <a:pt x="834" y="150"/>
                  </a:lnTo>
                  <a:lnTo>
                    <a:pt x="840" y="156"/>
                  </a:lnTo>
                  <a:lnTo>
                    <a:pt x="840" y="150"/>
                  </a:lnTo>
                  <a:lnTo>
                    <a:pt x="834" y="150"/>
                  </a:lnTo>
                  <a:lnTo>
                    <a:pt x="834" y="144"/>
                  </a:lnTo>
                  <a:lnTo>
                    <a:pt x="840" y="138"/>
                  </a:lnTo>
                  <a:lnTo>
                    <a:pt x="846" y="144"/>
                  </a:lnTo>
                  <a:lnTo>
                    <a:pt x="846" y="150"/>
                  </a:lnTo>
                  <a:lnTo>
                    <a:pt x="852" y="150"/>
                  </a:lnTo>
                  <a:lnTo>
                    <a:pt x="858" y="150"/>
                  </a:lnTo>
                  <a:lnTo>
                    <a:pt x="870" y="150"/>
                  </a:lnTo>
                  <a:lnTo>
                    <a:pt x="870" y="144"/>
                  </a:lnTo>
                  <a:lnTo>
                    <a:pt x="876" y="138"/>
                  </a:lnTo>
                  <a:lnTo>
                    <a:pt x="882" y="138"/>
                  </a:lnTo>
                  <a:lnTo>
                    <a:pt x="888" y="132"/>
                  </a:lnTo>
                  <a:lnTo>
                    <a:pt x="888" y="138"/>
                  </a:lnTo>
                  <a:lnTo>
                    <a:pt x="894" y="138"/>
                  </a:lnTo>
                  <a:lnTo>
                    <a:pt x="894" y="132"/>
                  </a:lnTo>
                  <a:lnTo>
                    <a:pt x="900" y="126"/>
                  </a:lnTo>
                  <a:lnTo>
                    <a:pt x="900" y="132"/>
                  </a:lnTo>
                  <a:lnTo>
                    <a:pt x="906" y="132"/>
                  </a:lnTo>
                  <a:lnTo>
                    <a:pt x="912" y="132"/>
                  </a:lnTo>
                  <a:lnTo>
                    <a:pt x="918" y="126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24" y="126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8" y="120"/>
                  </a:lnTo>
                  <a:lnTo>
                    <a:pt x="948" y="114"/>
                  </a:lnTo>
                  <a:lnTo>
                    <a:pt x="948" y="108"/>
                  </a:lnTo>
                  <a:lnTo>
                    <a:pt x="954" y="114"/>
                  </a:lnTo>
                  <a:lnTo>
                    <a:pt x="960" y="108"/>
                  </a:lnTo>
                  <a:lnTo>
                    <a:pt x="966" y="108"/>
                  </a:lnTo>
                  <a:lnTo>
                    <a:pt x="972" y="108"/>
                  </a:lnTo>
                  <a:lnTo>
                    <a:pt x="966" y="114"/>
                  </a:lnTo>
                  <a:lnTo>
                    <a:pt x="960" y="114"/>
                  </a:lnTo>
                  <a:lnTo>
                    <a:pt x="960" y="120"/>
                  </a:lnTo>
                  <a:lnTo>
                    <a:pt x="966" y="126"/>
                  </a:lnTo>
                  <a:lnTo>
                    <a:pt x="972" y="126"/>
                  </a:lnTo>
                  <a:lnTo>
                    <a:pt x="978" y="126"/>
                  </a:lnTo>
                  <a:lnTo>
                    <a:pt x="984" y="120"/>
                  </a:lnTo>
                  <a:lnTo>
                    <a:pt x="984" y="114"/>
                  </a:lnTo>
                  <a:lnTo>
                    <a:pt x="996" y="126"/>
                  </a:lnTo>
                  <a:lnTo>
                    <a:pt x="996" y="120"/>
                  </a:lnTo>
                  <a:lnTo>
                    <a:pt x="1002" y="120"/>
                  </a:lnTo>
                  <a:lnTo>
                    <a:pt x="996" y="114"/>
                  </a:lnTo>
                  <a:lnTo>
                    <a:pt x="1002" y="114"/>
                  </a:lnTo>
                  <a:lnTo>
                    <a:pt x="1008" y="114"/>
                  </a:lnTo>
                  <a:lnTo>
                    <a:pt x="1008" y="108"/>
                  </a:lnTo>
                  <a:lnTo>
                    <a:pt x="1014" y="108"/>
                  </a:lnTo>
                  <a:lnTo>
                    <a:pt x="1008" y="114"/>
                  </a:lnTo>
                  <a:lnTo>
                    <a:pt x="1008" y="120"/>
                  </a:lnTo>
                  <a:lnTo>
                    <a:pt x="1008" y="126"/>
                  </a:lnTo>
                  <a:lnTo>
                    <a:pt x="1014" y="126"/>
                  </a:lnTo>
                  <a:lnTo>
                    <a:pt x="1014" y="132"/>
                  </a:lnTo>
                  <a:lnTo>
                    <a:pt x="1020" y="132"/>
                  </a:lnTo>
                  <a:lnTo>
                    <a:pt x="1020" y="126"/>
                  </a:lnTo>
                  <a:lnTo>
                    <a:pt x="1020" y="120"/>
                  </a:lnTo>
                  <a:lnTo>
                    <a:pt x="1032" y="120"/>
                  </a:lnTo>
                  <a:lnTo>
                    <a:pt x="1038" y="120"/>
                  </a:lnTo>
                  <a:lnTo>
                    <a:pt x="1038" y="126"/>
                  </a:lnTo>
                  <a:lnTo>
                    <a:pt x="1044" y="132"/>
                  </a:lnTo>
                  <a:lnTo>
                    <a:pt x="1044" y="126"/>
                  </a:lnTo>
                  <a:lnTo>
                    <a:pt x="1050" y="120"/>
                  </a:lnTo>
                  <a:lnTo>
                    <a:pt x="1050" y="114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68" y="102"/>
                  </a:lnTo>
                  <a:lnTo>
                    <a:pt x="1074" y="96"/>
                  </a:lnTo>
                  <a:lnTo>
                    <a:pt x="1074" y="90"/>
                  </a:lnTo>
                  <a:lnTo>
                    <a:pt x="1068" y="90"/>
                  </a:lnTo>
                  <a:lnTo>
                    <a:pt x="1068" y="84"/>
                  </a:lnTo>
                  <a:lnTo>
                    <a:pt x="1080" y="84"/>
                  </a:lnTo>
                  <a:lnTo>
                    <a:pt x="1086" y="78"/>
                  </a:lnTo>
                  <a:lnTo>
                    <a:pt x="1086" y="72"/>
                  </a:lnTo>
                  <a:lnTo>
                    <a:pt x="1080" y="78"/>
                  </a:lnTo>
                  <a:lnTo>
                    <a:pt x="1080" y="72"/>
                  </a:lnTo>
                  <a:lnTo>
                    <a:pt x="1080" y="66"/>
                  </a:lnTo>
                  <a:lnTo>
                    <a:pt x="1074" y="66"/>
                  </a:lnTo>
                  <a:lnTo>
                    <a:pt x="1080" y="66"/>
                  </a:lnTo>
                  <a:lnTo>
                    <a:pt x="1080" y="60"/>
                  </a:lnTo>
                  <a:lnTo>
                    <a:pt x="1086" y="60"/>
                  </a:lnTo>
                  <a:lnTo>
                    <a:pt x="1086" y="54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2" y="42"/>
                  </a:lnTo>
                  <a:lnTo>
                    <a:pt x="1098" y="42"/>
                  </a:lnTo>
                  <a:lnTo>
                    <a:pt x="1104" y="36"/>
                  </a:lnTo>
                  <a:lnTo>
                    <a:pt x="1110" y="36"/>
                  </a:lnTo>
                  <a:lnTo>
                    <a:pt x="1110" y="30"/>
                  </a:lnTo>
                  <a:lnTo>
                    <a:pt x="1110" y="24"/>
                  </a:lnTo>
                  <a:lnTo>
                    <a:pt x="1116" y="24"/>
                  </a:lnTo>
                  <a:lnTo>
                    <a:pt x="1116" y="18"/>
                  </a:lnTo>
                  <a:lnTo>
                    <a:pt x="1122" y="18"/>
                  </a:lnTo>
                  <a:lnTo>
                    <a:pt x="1128" y="18"/>
                  </a:lnTo>
                  <a:lnTo>
                    <a:pt x="1134" y="12"/>
                  </a:lnTo>
                  <a:lnTo>
                    <a:pt x="1134" y="6"/>
                  </a:lnTo>
                  <a:lnTo>
                    <a:pt x="1140" y="6"/>
                  </a:lnTo>
                  <a:lnTo>
                    <a:pt x="1146" y="0"/>
                  </a:lnTo>
                  <a:lnTo>
                    <a:pt x="1152" y="0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70" y="0"/>
                  </a:lnTo>
                  <a:lnTo>
                    <a:pt x="1176" y="6"/>
                  </a:lnTo>
                  <a:lnTo>
                    <a:pt x="1182" y="6"/>
                  </a:lnTo>
                  <a:lnTo>
                    <a:pt x="1194" y="6"/>
                  </a:lnTo>
                  <a:lnTo>
                    <a:pt x="1200" y="6"/>
                  </a:lnTo>
                  <a:lnTo>
                    <a:pt x="1212" y="0"/>
                  </a:lnTo>
                  <a:lnTo>
                    <a:pt x="1212" y="6"/>
                  </a:lnTo>
                  <a:lnTo>
                    <a:pt x="1218" y="6"/>
                  </a:lnTo>
                  <a:lnTo>
                    <a:pt x="1266" y="6"/>
                  </a:lnTo>
                  <a:lnTo>
                    <a:pt x="1272" y="0"/>
                  </a:lnTo>
                  <a:lnTo>
                    <a:pt x="1278" y="6"/>
                  </a:lnTo>
                  <a:lnTo>
                    <a:pt x="1290" y="6"/>
                  </a:lnTo>
                  <a:lnTo>
                    <a:pt x="1296" y="6"/>
                  </a:lnTo>
                  <a:lnTo>
                    <a:pt x="1308" y="6"/>
                  </a:lnTo>
                  <a:lnTo>
                    <a:pt x="1314" y="6"/>
                  </a:lnTo>
                  <a:lnTo>
                    <a:pt x="1320" y="6"/>
                  </a:lnTo>
                  <a:lnTo>
                    <a:pt x="1326" y="12"/>
                  </a:lnTo>
                  <a:lnTo>
                    <a:pt x="1338" y="30"/>
                  </a:lnTo>
                  <a:lnTo>
                    <a:pt x="1344" y="36"/>
                  </a:lnTo>
                  <a:lnTo>
                    <a:pt x="1356" y="48"/>
                  </a:lnTo>
                  <a:lnTo>
                    <a:pt x="1362" y="60"/>
                  </a:lnTo>
                  <a:lnTo>
                    <a:pt x="1368" y="66"/>
                  </a:lnTo>
                  <a:lnTo>
                    <a:pt x="1374" y="72"/>
                  </a:lnTo>
                  <a:lnTo>
                    <a:pt x="1374" y="78"/>
                  </a:lnTo>
                  <a:lnTo>
                    <a:pt x="1398" y="108"/>
                  </a:lnTo>
                  <a:lnTo>
                    <a:pt x="1398" y="114"/>
                  </a:lnTo>
                  <a:lnTo>
                    <a:pt x="1404" y="114"/>
                  </a:lnTo>
                  <a:lnTo>
                    <a:pt x="1404" y="120"/>
                  </a:lnTo>
                  <a:lnTo>
                    <a:pt x="1410" y="132"/>
                  </a:lnTo>
                  <a:lnTo>
                    <a:pt x="1416" y="132"/>
                  </a:lnTo>
                  <a:lnTo>
                    <a:pt x="1416" y="138"/>
                  </a:lnTo>
                  <a:lnTo>
                    <a:pt x="1422" y="144"/>
                  </a:lnTo>
                  <a:lnTo>
                    <a:pt x="1428" y="150"/>
                  </a:lnTo>
                  <a:lnTo>
                    <a:pt x="1428" y="156"/>
                  </a:lnTo>
                  <a:lnTo>
                    <a:pt x="1458" y="192"/>
                  </a:lnTo>
                  <a:lnTo>
                    <a:pt x="1458" y="198"/>
                  </a:lnTo>
                  <a:lnTo>
                    <a:pt x="1464" y="204"/>
                  </a:lnTo>
                  <a:lnTo>
                    <a:pt x="1470" y="210"/>
                  </a:lnTo>
                  <a:lnTo>
                    <a:pt x="1476" y="216"/>
                  </a:lnTo>
                  <a:lnTo>
                    <a:pt x="1482" y="228"/>
                  </a:lnTo>
                  <a:lnTo>
                    <a:pt x="1488" y="234"/>
                  </a:lnTo>
                  <a:lnTo>
                    <a:pt x="1512" y="270"/>
                  </a:lnTo>
                  <a:lnTo>
                    <a:pt x="1512" y="276"/>
                  </a:lnTo>
                  <a:lnTo>
                    <a:pt x="1530" y="300"/>
                  </a:lnTo>
                  <a:lnTo>
                    <a:pt x="1536" y="306"/>
                  </a:lnTo>
                  <a:lnTo>
                    <a:pt x="1542" y="312"/>
                  </a:lnTo>
                  <a:lnTo>
                    <a:pt x="1542" y="318"/>
                  </a:lnTo>
                  <a:lnTo>
                    <a:pt x="1560" y="336"/>
                  </a:lnTo>
                  <a:lnTo>
                    <a:pt x="1566" y="348"/>
                  </a:lnTo>
                  <a:lnTo>
                    <a:pt x="1572" y="354"/>
                  </a:lnTo>
                  <a:lnTo>
                    <a:pt x="1578" y="360"/>
                  </a:lnTo>
                  <a:lnTo>
                    <a:pt x="1584" y="378"/>
                  </a:lnTo>
                  <a:lnTo>
                    <a:pt x="1590" y="378"/>
                  </a:lnTo>
                  <a:lnTo>
                    <a:pt x="1596" y="390"/>
                  </a:lnTo>
                  <a:lnTo>
                    <a:pt x="1602" y="396"/>
                  </a:lnTo>
                  <a:lnTo>
                    <a:pt x="1608" y="408"/>
                  </a:lnTo>
                  <a:lnTo>
                    <a:pt x="1614" y="408"/>
                  </a:lnTo>
                  <a:lnTo>
                    <a:pt x="1614" y="432"/>
                  </a:lnTo>
                  <a:lnTo>
                    <a:pt x="1620" y="438"/>
                  </a:lnTo>
                  <a:lnTo>
                    <a:pt x="1620" y="450"/>
                  </a:lnTo>
                  <a:lnTo>
                    <a:pt x="1620" y="462"/>
                  </a:lnTo>
                  <a:lnTo>
                    <a:pt x="1626" y="474"/>
                  </a:lnTo>
                  <a:lnTo>
                    <a:pt x="1626" y="480"/>
                  </a:lnTo>
                  <a:lnTo>
                    <a:pt x="1626" y="486"/>
                  </a:lnTo>
                  <a:lnTo>
                    <a:pt x="1632" y="522"/>
                  </a:lnTo>
                  <a:lnTo>
                    <a:pt x="1632" y="528"/>
                  </a:lnTo>
                  <a:lnTo>
                    <a:pt x="1632" y="534"/>
                  </a:lnTo>
                  <a:lnTo>
                    <a:pt x="1638" y="540"/>
                  </a:lnTo>
                  <a:lnTo>
                    <a:pt x="1638" y="558"/>
                  </a:lnTo>
                  <a:lnTo>
                    <a:pt x="1638" y="570"/>
                  </a:lnTo>
                  <a:lnTo>
                    <a:pt x="1644" y="582"/>
                  </a:lnTo>
                  <a:lnTo>
                    <a:pt x="1650" y="618"/>
                  </a:lnTo>
                  <a:lnTo>
                    <a:pt x="1650" y="624"/>
                  </a:lnTo>
                  <a:lnTo>
                    <a:pt x="1650" y="636"/>
                  </a:lnTo>
                  <a:lnTo>
                    <a:pt x="1656" y="642"/>
                  </a:lnTo>
                  <a:lnTo>
                    <a:pt x="1656" y="648"/>
                  </a:lnTo>
                  <a:lnTo>
                    <a:pt x="1656" y="654"/>
                  </a:lnTo>
                  <a:lnTo>
                    <a:pt x="1656" y="660"/>
                  </a:lnTo>
                  <a:lnTo>
                    <a:pt x="1662" y="696"/>
                  </a:lnTo>
                  <a:lnTo>
                    <a:pt x="1668" y="708"/>
                  </a:lnTo>
                  <a:lnTo>
                    <a:pt x="1668" y="714"/>
                  </a:lnTo>
                  <a:lnTo>
                    <a:pt x="1668" y="732"/>
                  </a:lnTo>
                  <a:lnTo>
                    <a:pt x="1668" y="744"/>
                  </a:lnTo>
                  <a:lnTo>
                    <a:pt x="1674" y="756"/>
                  </a:lnTo>
                  <a:lnTo>
                    <a:pt x="1680" y="762"/>
                  </a:lnTo>
                  <a:lnTo>
                    <a:pt x="1680" y="768"/>
                  </a:lnTo>
                  <a:lnTo>
                    <a:pt x="1680" y="774"/>
                  </a:lnTo>
                  <a:lnTo>
                    <a:pt x="1680" y="780"/>
                  </a:lnTo>
                  <a:lnTo>
                    <a:pt x="1674" y="786"/>
                  </a:lnTo>
                  <a:lnTo>
                    <a:pt x="1668" y="792"/>
                  </a:lnTo>
                  <a:lnTo>
                    <a:pt x="1668" y="798"/>
                  </a:lnTo>
                  <a:lnTo>
                    <a:pt x="1668" y="804"/>
                  </a:lnTo>
                  <a:lnTo>
                    <a:pt x="1674" y="804"/>
                  </a:lnTo>
                  <a:lnTo>
                    <a:pt x="1668" y="810"/>
                  </a:lnTo>
                  <a:lnTo>
                    <a:pt x="1674" y="810"/>
                  </a:lnTo>
                  <a:lnTo>
                    <a:pt x="1680" y="810"/>
                  </a:lnTo>
                  <a:lnTo>
                    <a:pt x="1680" y="816"/>
                  </a:lnTo>
                  <a:lnTo>
                    <a:pt x="1680" y="822"/>
                  </a:lnTo>
                  <a:lnTo>
                    <a:pt x="1674" y="822"/>
                  </a:lnTo>
                  <a:lnTo>
                    <a:pt x="1674" y="828"/>
                  </a:lnTo>
                  <a:lnTo>
                    <a:pt x="1668" y="828"/>
                  </a:lnTo>
                  <a:lnTo>
                    <a:pt x="1674" y="834"/>
                  </a:lnTo>
                  <a:lnTo>
                    <a:pt x="1668" y="834"/>
                  </a:lnTo>
                  <a:lnTo>
                    <a:pt x="1668" y="840"/>
                  </a:lnTo>
                  <a:lnTo>
                    <a:pt x="1674" y="840"/>
                  </a:lnTo>
                  <a:lnTo>
                    <a:pt x="1686" y="852"/>
                  </a:lnTo>
                  <a:lnTo>
                    <a:pt x="1692" y="858"/>
                  </a:lnTo>
                  <a:lnTo>
                    <a:pt x="1698" y="858"/>
                  </a:lnTo>
                  <a:lnTo>
                    <a:pt x="1698" y="864"/>
                  </a:lnTo>
                  <a:lnTo>
                    <a:pt x="1698" y="870"/>
                  </a:lnTo>
                  <a:lnTo>
                    <a:pt x="1704" y="864"/>
                  </a:lnTo>
                  <a:lnTo>
                    <a:pt x="1716" y="864"/>
                  </a:lnTo>
                  <a:lnTo>
                    <a:pt x="1722" y="864"/>
                  </a:lnTo>
                  <a:lnTo>
                    <a:pt x="1728" y="864"/>
                  </a:lnTo>
                  <a:lnTo>
                    <a:pt x="1734" y="864"/>
                  </a:lnTo>
                  <a:lnTo>
                    <a:pt x="1740" y="864"/>
                  </a:lnTo>
                  <a:lnTo>
                    <a:pt x="1746" y="876"/>
                  </a:lnTo>
                  <a:lnTo>
                    <a:pt x="1746" y="870"/>
                  </a:lnTo>
                  <a:lnTo>
                    <a:pt x="1740" y="864"/>
                  </a:lnTo>
                  <a:lnTo>
                    <a:pt x="1746" y="864"/>
                  </a:lnTo>
                  <a:lnTo>
                    <a:pt x="1752" y="870"/>
                  </a:lnTo>
                  <a:lnTo>
                    <a:pt x="1758" y="864"/>
                  </a:lnTo>
                  <a:lnTo>
                    <a:pt x="1764" y="864"/>
                  </a:lnTo>
                  <a:lnTo>
                    <a:pt x="1770" y="858"/>
                  </a:lnTo>
                  <a:lnTo>
                    <a:pt x="1782" y="864"/>
                  </a:lnTo>
                  <a:lnTo>
                    <a:pt x="1782" y="870"/>
                  </a:lnTo>
                  <a:lnTo>
                    <a:pt x="1788" y="864"/>
                  </a:lnTo>
                  <a:lnTo>
                    <a:pt x="1794" y="864"/>
                  </a:lnTo>
                  <a:lnTo>
                    <a:pt x="1800" y="870"/>
                  </a:lnTo>
                  <a:lnTo>
                    <a:pt x="1818" y="864"/>
                  </a:lnTo>
                  <a:lnTo>
                    <a:pt x="1824" y="870"/>
                  </a:lnTo>
                  <a:lnTo>
                    <a:pt x="1830" y="864"/>
                  </a:lnTo>
                  <a:lnTo>
                    <a:pt x="1836" y="864"/>
                  </a:lnTo>
                  <a:lnTo>
                    <a:pt x="1842" y="870"/>
                  </a:lnTo>
                  <a:lnTo>
                    <a:pt x="1842" y="876"/>
                  </a:lnTo>
                  <a:lnTo>
                    <a:pt x="1848" y="876"/>
                  </a:lnTo>
                  <a:lnTo>
                    <a:pt x="1848" y="870"/>
                  </a:lnTo>
                  <a:lnTo>
                    <a:pt x="1854" y="870"/>
                  </a:lnTo>
                  <a:lnTo>
                    <a:pt x="1860" y="870"/>
                  </a:lnTo>
                  <a:lnTo>
                    <a:pt x="1860" y="876"/>
                  </a:lnTo>
                  <a:lnTo>
                    <a:pt x="1866" y="876"/>
                  </a:lnTo>
                  <a:lnTo>
                    <a:pt x="1866" y="882"/>
                  </a:lnTo>
                  <a:lnTo>
                    <a:pt x="1872" y="882"/>
                  </a:lnTo>
                  <a:lnTo>
                    <a:pt x="1878" y="888"/>
                  </a:lnTo>
                  <a:lnTo>
                    <a:pt x="1890" y="888"/>
                  </a:lnTo>
                  <a:lnTo>
                    <a:pt x="1890" y="894"/>
                  </a:lnTo>
                  <a:lnTo>
                    <a:pt x="1890" y="900"/>
                  </a:lnTo>
                  <a:lnTo>
                    <a:pt x="1884" y="900"/>
                  </a:lnTo>
                  <a:lnTo>
                    <a:pt x="1884" y="906"/>
                  </a:lnTo>
                  <a:lnTo>
                    <a:pt x="1884" y="912"/>
                  </a:lnTo>
                  <a:lnTo>
                    <a:pt x="1890" y="912"/>
                  </a:lnTo>
                  <a:lnTo>
                    <a:pt x="1896" y="912"/>
                  </a:lnTo>
                  <a:lnTo>
                    <a:pt x="1902" y="912"/>
                  </a:lnTo>
                  <a:lnTo>
                    <a:pt x="1908" y="918"/>
                  </a:lnTo>
                  <a:lnTo>
                    <a:pt x="1908" y="924"/>
                  </a:lnTo>
                  <a:lnTo>
                    <a:pt x="1908" y="930"/>
                  </a:lnTo>
                  <a:lnTo>
                    <a:pt x="1908" y="936"/>
                  </a:lnTo>
                  <a:lnTo>
                    <a:pt x="1914" y="936"/>
                  </a:lnTo>
                  <a:lnTo>
                    <a:pt x="1914" y="942"/>
                  </a:lnTo>
                  <a:lnTo>
                    <a:pt x="1908" y="948"/>
                  </a:lnTo>
                  <a:lnTo>
                    <a:pt x="1914" y="948"/>
                  </a:lnTo>
                  <a:lnTo>
                    <a:pt x="1920" y="954"/>
                  </a:lnTo>
                  <a:lnTo>
                    <a:pt x="1926" y="954"/>
                  </a:lnTo>
                  <a:lnTo>
                    <a:pt x="1932" y="954"/>
                  </a:lnTo>
                  <a:lnTo>
                    <a:pt x="1938" y="954"/>
                  </a:lnTo>
                  <a:lnTo>
                    <a:pt x="1938" y="960"/>
                  </a:lnTo>
                  <a:lnTo>
                    <a:pt x="1944" y="966"/>
                  </a:lnTo>
                  <a:lnTo>
                    <a:pt x="1944" y="972"/>
                  </a:lnTo>
                  <a:lnTo>
                    <a:pt x="1944" y="978"/>
                  </a:lnTo>
                  <a:lnTo>
                    <a:pt x="1950" y="978"/>
                  </a:lnTo>
                  <a:lnTo>
                    <a:pt x="1950" y="984"/>
                  </a:lnTo>
                  <a:lnTo>
                    <a:pt x="1956" y="984"/>
                  </a:lnTo>
                  <a:lnTo>
                    <a:pt x="1962" y="984"/>
                  </a:lnTo>
                  <a:lnTo>
                    <a:pt x="1962" y="978"/>
                  </a:lnTo>
                  <a:lnTo>
                    <a:pt x="1968" y="978"/>
                  </a:lnTo>
                  <a:lnTo>
                    <a:pt x="1974" y="978"/>
                  </a:lnTo>
                  <a:lnTo>
                    <a:pt x="1980" y="972"/>
                  </a:lnTo>
                  <a:lnTo>
                    <a:pt x="1980" y="978"/>
                  </a:lnTo>
                  <a:lnTo>
                    <a:pt x="1980" y="984"/>
                  </a:lnTo>
                  <a:lnTo>
                    <a:pt x="1986" y="984"/>
                  </a:lnTo>
                  <a:lnTo>
                    <a:pt x="1992" y="990"/>
                  </a:lnTo>
                  <a:lnTo>
                    <a:pt x="1992" y="996"/>
                  </a:lnTo>
                  <a:lnTo>
                    <a:pt x="1992" y="1002"/>
                  </a:lnTo>
                  <a:lnTo>
                    <a:pt x="1974" y="1008"/>
                  </a:lnTo>
                  <a:lnTo>
                    <a:pt x="1974" y="1014"/>
                  </a:lnTo>
                  <a:lnTo>
                    <a:pt x="1974" y="1020"/>
                  </a:lnTo>
                  <a:lnTo>
                    <a:pt x="1974" y="1026"/>
                  </a:lnTo>
                  <a:lnTo>
                    <a:pt x="1968" y="1038"/>
                  </a:lnTo>
                  <a:lnTo>
                    <a:pt x="1968" y="1044"/>
                  </a:lnTo>
                  <a:lnTo>
                    <a:pt x="1974" y="1056"/>
                  </a:lnTo>
                  <a:lnTo>
                    <a:pt x="1968" y="1062"/>
                  </a:lnTo>
                  <a:lnTo>
                    <a:pt x="1962" y="1062"/>
                  </a:lnTo>
                  <a:lnTo>
                    <a:pt x="1956" y="1068"/>
                  </a:lnTo>
                  <a:lnTo>
                    <a:pt x="1956" y="1074"/>
                  </a:lnTo>
                  <a:lnTo>
                    <a:pt x="1956" y="1080"/>
                  </a:lnTo>
                  <a:lnTo>
                    <a:pt x="1956" y="1086"/>
                  </a:lnTo>
                  <a:lnTo>
                    <a:pt x="1956" y="1092"/>
                  </a:lnTo>
                  <a:lnTo>
                    <a:pt x="1962" y="1092"/>
                  </a:lnTo>
                  <a:lnTo>
                    <a:pt x="1962" y="1104"/>
                  </a:lnTo>
                  <a:lnTo>
                    <a:pt x="1968" y="1110"/>
                  </a:lnTo>
                  <a:lnTo>
                    <a:pt x="1968" y="1116"/>
                  </a:lnTo>
                  <a:lnTo>
                    <a:pt x="1974" y="1116"/>
                  </a:lnTo>
                  <a:lnTo>
                    <a:pt x="1974" y="1122"/>
                  </a:lnTo>
                  <a:lnTo>
                    <a:pt x="1980" y="1122"/>
                  </a:lnTo>
                  <a:lnTo>
                    <a:pt x="1974" y="1128"/>
                  </a:lnTo>
                  <a:lnTo>
                    <a:pt x="1968" y="1134"/>
                  </a:lnTo>
                  <a:lnTo>
                    <a:pt x="1962" y="1140"/>
                  </a:lnTo>
                  <a:lnTo>
                    <a:pt x="1962" y="1146"/>
                  </a:lnTo>
                  <a:lnTo>
                    <a:pt x="1968" y="1152"/>
                  </a:lnTo>
                  <a:lnTo>
                    <a:pt x="1968" y="1158"/>
                  </a:lnTo>
                  <a:lnTo>
                    <a:pt x="1962" y="1158"/>
                  </a:lnTo>
                  <a:lnTo>
                    <a:pt x="1962" y="1164"/>
                  </a:lnTo>
                  <a:lnTo>
                    <a:pt x="1956" y="1164"/>
                  </a:lnTo>
                  <a:lnTo>
                    <a:pt x="1956" y="1170"/>
                  </a:lnTo>
                  <a:lnTo>
                    <a:pt x="1944" y="1182"/>
                  </a:lnTo>
                  <a:lnTo>
                    <a:pt x="1944" y="1188"/>
                  </a:lnTo>
                  <a:lnTo>
                    <a:pt x="1950" y="1188"/>
                  </a:lnTo>
                  <a:lnTo>
                    <a:pt x="1944" y="1200"/>
                  </a:lnTo>
                  <a:lnTo>
                    <a:pt x="1944" y="1206"/>
                  </a:lnTo>
                  <a:lnTo>
                    <a:pt x="1944" y="1212"/>
                  </a:lnTo>
                  <a:lnTo>
                    <a:pt x="1944" y="1218"/>
                  </a:lnTo>
                  <a:lnTo>
                    <a:pt x="1944" y="1230"/>
                  </a:lnTo>
                  <a:lnTo>
                    <a:pt x="1944" y="1236"/>
                  </a:lnTo>
                  <a:lnTo>
                    <a:pt x="1944" y="1242"/>
                  </a:lnTo>
                  <a:lnTo>
                    <a:pt x="1938" y="1248"/>
                  </a:lnTo>
                  <a:lnTo>
                    <a:pt x="1938" y="1254"/>
                  </a:lnTo>
                  <a:lnTo>
                    <a:pt x="1932" y="1254"/>
                  </a:lnTo>
                  <a:lnTo>
                    <a:pt x="1926" y="1260"/>
                  </a:lnTo>
                  <a:lnTo>
                    <a:pt x="1920" y="1266"/>
                  </a:lnTo>
                  <a:lnTo>
                    <a:pt x="1914" y="1272"/>
                  </a:lnTo>
                  <a:lnTo>
                    <a:pt x="1908" y="1272"/>
                  </a:lnTo>
                  <a:lnTo>
                    <a:pt x="1908" y="1278"/>
                  </a:lnTo>
                  <a:lnTo>
                    <a:pt x="1914" y="1278"/>
                  </a:lnTo>
                  <a:lnTo>
                    <a:pt x="1914" y="1290"/>
                  </a:lnTo>
                  <a:lnTo>
                    <a:pt x="1920" y="1296"/>
                  </a:lnTo>
                  <a:lnTo>
                    <a:pt x="1938" y="1302"/>
                  </a:lnTo>
                  <a:lnTo>
                    <a:pt x="1944" y="1308"/>
                  </a:lnTo>
                  <a:lnTo>
                    <a:pt x="1950" y="1314"/>
                  </a:lnTo>
                  <a:lnTo>
                    <a:pt x="1956" y="1314"/>
                  </a:lnTo>
                  <a:lnTo>
                    <a:pt x="1962" y="1320"/>
                  </a:lnTo>
                  <a:lnTo>
                    <a:pt x="1962" y="1326"/>
                  </a:lnTo>
                  <a:lnTo>
                    <a:pt x="1968" y="1326"/>
                  </a:lnTo>
                  <a:lnTo>
                    <a:pt x="1968" y="1332"/>
                  </a:lnTo>
                  <a:lnTo>
                    <a:pt x="1968" y="1344"/>
                  </a:lnTo>
                  <a:lnTo>
                    <a:pt x="1968" y="1350"/>
                  </a:lnTo>
                  <a:lnTo>
                    <a:pt x="1968" y="1368"/>
                  </a:lnTo>
                  <a:lnTo>
                    <a:pt x="1962" y="1380"/>
                  </a:lnTo>
                  <a:lnTo>
                    <a:pt x="1968" y="1392"/>
                  </a:lnTo>
                  <a:lnTo>
                    <a:pt x="1962" y="1398"/>
                  </a:lnTo>
                  <a:lnTo>
                    <a:pt x="1956" y="1404"/>
                  </a:lnTo>
                  <a:lnTo>
                    <a:pt x="1950" y="1410"/>
                  </a:lnTo>
                  <a:lnTo>
                    <a:pt x="1944" y="1410"/>
                  </a:lnTo>
                  <a:lnTo>
                    <a:pt x="1932" y="1416"/>
                  </a:lnTo>
                  <a:lnTo>
                    <a:pt x="1926" y="1416"/>
                  </a:lnTo>
                  <a:lnTo>
                    <a:pt x="1896" y="1428"/>
                  </a:lnTo>
                  <a:lnTo>
                    <a:pt x="1884" y="1434"/>
                  </a:lnTo>
                  <a:lnTo>
                    <a:pt x="1878" y="1434"/>
                  </a:lnTo>
                  <a:lnTo>
                    <a:pt x="1866" y="1434"/>
                  </a:lnTo>
                  <a:lnTo>
                    <a:pt x="1854" y="1440"/>
                  </a:lnTo>
                  <a:lnTo>
                    <a:pt x="1848" y="1440"/>
                  </a:lnTo>
                  <a:lnTo>
                    <a:pt x="1842" y="1446"/>
                  </a:lnTo>
                  <a:lnTo>
                    <a:pt x="1842" y="1458"/>
                  </a:lnTo>
                  <a:lnTo>
                    <a:pt x="1836" y="1470"/>
                  </a:lnTo>
                  <a:lnTo>
                    <a:pt x="1830" y="1476"/>
                  </a:lnTo>
                  <a:lnTo>
                    <a:pt x="1824" y="1476"/>
                  </a:lnTo>
                  <a:lnTo>
                    <a:pt x="1806" y="1482"/>
                  </a:lnTo>
                  <a:lnTo>
                    <a:pt x="1800" y="1488"/>
                  </a:lnTo>
                  <a:lnTo>
                    <a:pt x="1794" y="1488"/>
                  </a:lnTo>
                  <a:lnTo>
                    <a:pt x="1788" y="1488"/>
                  </a:lnTo>
                  <a:lnTo>
                    <a:pt x="1776" y="1494"/>
                  </a:lnTo>
                  <a:lnTo>
                    <a:pt x="1764" y="1494"/>
                  </a:lnTo>
                  <a:lnTo>
                    <a:pt x="1758" y="1500"/>
                  </a:lnTo>
                  <a:lnTo>
                    <a:pt x="1746" y="1506"/>
                  </a:lnTo>
                  <a:lnTo>
                    <a:pt x="1728" y="1518"/>
                  </a:lnTo>
                  <a:lnTo>
                    <a:pt x="1716" y="1524"/>
                  </a:lnTo>
                  <a:lnTo>
                    <a:pt x="1710" y="1530"/>
                  </a:lnTo>
                  <a:lnTo>
                    <a:pt x="1704" y="1536"/>
                  </a:lnTo>
                  <a:lnTo>
                    <a:pt x="1698" y="1542"/>
                  </a:lnTo>
                  <a:lnTo>
                    <a:pt x="1692" y="1554"/>
                  </a:lnTo>
                  <a:lnTo>
                    <a:pt x="1686" y="1560"/>
                  </a:lnTo>
                  <a:lnTo>
                    <a:pt x="1680" y="1560"/>
                  </a:lnTo>
                  <a:lnTo>
                    <a:pt x="1674" y="1560"/>
                  </a:lnTo>
                  <a:lnTo>
                    <a:pt x="1656" y="1572"/>
                  </a:lnTo>
                  <a:lnTo>
                    <a:pt x="1650" y="1572"/>
                  </a:lnTo>
                  <a:lnTo>
                    <a:pt x="1644" y="1572"/>
                  </a:lnTo>
                  <a:lnTo>
                    <a:pt x="1638" y="1578"/>
                  </a:lnTo>
                  <a:lnTo>
                    <a:pt x="1632" y="1578"/>
                  </a:lnTo>
                  <a:lnTo>
                    <a:pt x="1626" y="1578"/>
                  </a:lnTo>
                  <a:lnTo>
                    <a:pt x="1620" y="1572"/>
                  </a:lnTo>
                  <a:lnTo>
                    <a:pt x="1614" y="1572"/>
                  </a:lnTo>
                  <a:lnTo>
                    <a:pt x="1608" y="1566"/>
                  </a:lnTo>
                  <a:lnTo>
                    <a:pt x="1602" y="1560"/>
                  </a:lnTo>
                  <a:lnTo>
                    <a:pt x="1596" y="1554"/>
                  </a:lnTo>
                  <a:lnTo>
                    <a:pt x="1590" y="1548"/>
                  </a:lnTo>
                  <a:lnTo>
                    <a:pt x="1578" y="1548"/>
                  </a:lnTo>
                  <a:lnTo>
                    <a:pt x="1572" y="1548"/>
                  </a:lnTo>
                  <a:lnTo>
                    <a:pt x="1566" y="1548"/>
                  </a:lnTo>
                  <a:lnTo>
                    <a:pt x="1554" y="1536"/>
                  </a:lnTo>
                  <a:lnTo>
                    <a:pt x="1548" y="1536"/>
                  </a:lnTo>
                  <a:lnTo>
                    <a:pt x="1542" y="1542"/>
                  </a:lnTo>
                  <a:lnTo>
                    <a:pt x="1536" y="1548"/>
                  </a:lnTo>
                  <a:lnTo>
                    <a:pt x="1536" y="1566"/>
                  </a:lnTo>
                  <a:lnTo>
                    <a:pt x="1530" y="1572"/>
                  </a:lnTo>
                  <a:lnTo>
                    <a:pt x="1524" y="1578"/>
                  </a:lnTo>
                  <a:lnTo>
                    <a:pt x="1518" y="1584"/>
                  </a:lnTo>
                  <a:lnTo>
                    <a:pt x="1512" y="1596"/>
                  </a:lnTo>
                  <a:lnTo>
                    <a:pt x="1506" y="1602"/>
                  </a:lnTo>
                  <a:lnTo>
                    <a:pt x="1506" y="1608"/>
                  </a:lnTo>
                  <a:lnTo>
                    <a:pt x="1506" y="1614"/>
                  </a:lnTo>
                  <a:lnTo>
                    <a:pt x="1500" y="1614"/>
                  </a:lnTo>
                  <a:lnTo>
                    <a:pt x="1500" y="1620"/>
                  </a:lnTo>
                  <a:lnTo>
                    <a:pt x="1500" y="1626"/>
                  </a:lnTo>
                  <a:lnTo>
                    <a:pt x="1494" y="1632"/>
                  </a:lnTo>
                  <a:lnTo>
                    <a:pt x="1488" y="1638"/>
                  </a:lnTo>
                  <a:lnTo>
                    <a:pt x="1482" y="1638"/>
                  </a:lnTo>
                  <a:lnTo>
                    <a:pt x="1482" y="1644"/>
                  </a:lnTo>
                  <a:lnTo>
                    <a:pt x="1482" y="1650"/>
                  </a:lnTo>
                  <a:lnTo>
                    <a:pt x="1482" y="1656"/>
                  </a:lnTo>
                  <a:lnTo>
                    <a:pt x="1476" y="1662"/>
                  </a:lnTo>
                  <a:lnTo>
                    <a:pt x="1470" y="1668"/>
                  </a:lnTo>
                  <a:lnTo>
                    <a:pt x="1464" y="1674"/>
                  </a:lnTo>
                  <a:lnTo>
                    <a:pt x="1464" y="1680"/>
                  </a:lnTo>
                  <a:lnTo>
                    <a:pt x="1458" y="1680"/>
                  </a:lnTo>
                  <a:lnTo>
                    <a:pt x="1452" y="1686"/>
                  </a:lnTo>
                  <a:lnTo>
                    <a:pt x="1446" y="1686"/>
                  </a:lnTo>
                  <a:lnTo>
                    <a:pt x="1440" y="1698"/>
                  </a:lnTo>
                  <a:lnTo>
                    <a:pt x="1440" y="1704"/>
                  </a:lnTo>
                  <a:lnTo>
                    <a:pt x="1434" y="1710"/>
                  </a:lnTo>
                  <a:lnTo>
                    <a:pt x="1434" y="1716"/>
                  </a:lnTo>
                  <a:lnTo>
                    <a:pt x="1428" y="1716"/>
                  </a:lnTo>
                  <a:lnTo>
                    <a:pt x="1428" y="1722"/>
                  </a:lnTo>
                  <a:lnTo>
                    <a:pt x="1428" y="1728"/>
                  </a:lnTo>
                  <a:lnTo>
                    <a:pt x="1422" y="1728"/>
                  </a:lnTo>
                  <a:lnTo>
                    <a:pt x="1422" y="1734"/>
                  </a:lnTo>
                  <a:lnTo>
                    <a:pt x="1416" y="1734"/>
                  </a:lnTo>
                  <a:lnTo>
                    <a:pt x="1410" y="1734"/>
                  </a:lnTo>
                  <a:lnTo>
                    <a:pt x="1392" y="1746"/>
                  </a:lnTo>
                  <a:lnTo>
                    <a:pt x="1386" y="1746"/>
                  </a:lnTo>
                  <a:lnTo>
                    <a:pt x="1368" y="1752"/>
                  </a:lnTo>
                  <a:lnTo>
                    <a:pt x="1362" y="1758"/>
                  </a:lnTo>
                  <a:lnTo>
                    <a:pt x="1362" y="1770"/>
                  </a:lnTo>
                  <a:lnTo>
                    <a:pt x="1356" y="178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</p:grpSp>
      <p:graphicFrame>
        <p:nvGraphicFramePr>
          <p:cNvPr id="357" name="Group 76">
            <a:extLst>
              <a:ext uri="{FF2B5EF4-FFF2-40B4-BE49-F238E27FC236}">
                <a16:creationId xmlns:a16="http://schemas.microsoft.com/office/drawing/2014/main" id="{57830D68-CF73-4A3E-9D36-141B03AADB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210902"/>
              </p:ext>
            </p:extLst>
          </p:nvPr>
        </p:nvGraphicFramePr>
        <p:xfrm>
          <a:off x="541338" y="3402013"/>
          <a:ext cx="3735387" cy="1827306"/>
        </p:xfrm>
        <a:graphic>
          <a:graphicData uri="http://schemas.openxmlformats.org/drawingml/2006/table">
            <a:tbl>
              <a:tblPr/>
              <a:tblGrid>
                <a:gridCol w="1316931">
                  <a:extLst>
                    <a:ext uri="{9D8B030D-6E8A-4147-A177-3AD203B41FA5}">
                      <a16:colId xmlns:a16="http://schemas.microsoft.com/office/drawing/2014/main" val="2027704273"/>
                    </a:ext>
                  </a:extLst>
                </a:gridCol>
                <a:gridCol w="603796">
                  <a:extLst>
                    <a:ext uri="{9D8B030D-6E8A-4147-A177-3AD203B41FA5}">
                      <a16:colId xmlns:a16="http://schemas.microsoft.com/office/drawing/2014/main" val="3432768286"/>
                    </a:ext>
                  </a:extLst>
                </a:gridCol>
                <a:gridCol w="744015">
                  <a:extLst>
                    <a:ext uri="{9D8B030D-6E8A-4147-A177-3AD203B41FA5}">
                      <a16:colId xmlns:a16="http://schemas.microsoft.com/office/drawing/2014/main" val="3730294207"/>
                    </a:ext>
                  </a:extLst>
                </a:gridCol>
                <a:gridCol w="1070645">
                  <a:extLst>
                    <a:ext uri="{9D8B030D-6E8A-4147-A177-3AD203B41FA5}">
                      <a16:colId xmlns:a16="http://schemas.microsoft.com/office/drawing/2014/main" val="2258321117"/>
                    </a:ext>
                  </a:extLst>
                </a:gridCol>
              </a:tblGrid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apital</a:t>
                      </a:r>
                      <a:endParaRPr kumimoji="0" lang="en-SG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292929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SG" alt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Yenagoa</a:t>
                      </a:r>
                      <a:endParaRPr kumimoji="0" lang="en-SG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703009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nd Are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9,059 km</a:t>
                      </a:r>
                      <a:r>
                        <a:rPr kumimoji="0" lang="en-US" altLang="en-US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27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603614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Population (2017E)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,268,582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7 of 37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505851"/>
                  </a:ext>
                </a:extLst>
              </a:tr>
              <a:tr h="203024">
                <a:tc row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Dem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0-14: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   860,664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8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130093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5-64: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,332,344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59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387564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65+: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      75,574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[3%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38801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bour force 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,262,406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35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797882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limate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ropical savanna and monsoon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3942226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op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Riverine, estuarine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32899"/>
                  </a:ext>
                </a:extLst>
              </a:tr>
            </a:tbl>
          </a:graphicData>
        </a:graphic>
      </p:graphicFrame>
      <p:pic>
        <p:nvPicPr>
          <p:cNvPr id="23609" name="Picture 13">
            <a:extLst>
              <a:ext uri="{FF2B5EF4-FFF2-40B4-BE49-F238E27FC236}">
                <a16:creationId xmlns:a16="http://schemas.microsoft.com/office/drawing/2014/main" id="{952964D5-F0ED-4CAE-B71C-DB4A723FA5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0" y="3006725"/>
            <a:ext cx="1116013" cy="155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9" name="TextBox 378">
            <a:extLst>
              <a:ext uri="{FF2B5EF4-FFF2-40B4-BE49-F238E27FC236}">
                <a16:creationId xmlns:a16="http://schemas.microsoft.com/office/drawing/2014/main" id="{1B3FD4BF-4685-4C74-821F-10048D6246BF}"/>
              </a:ext>
            </a:extLst>
          </p:cNvPr>
          <p:cNvSpPr txBox="1"/>
          <p:nvPr/>
        </p:nvSpPr>
        <p:spPr>
          <a:xfrm>
            <a:off x="6124575" y="957263"/>
            <a:ext cx="3475038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mpetitive Advantages</a:t>
            </a: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455FE7A1-ADE5-4F7B-A489-00196671A53E}"/>
              </a:ext>
            </a:extLst>
          </p:cNvPr>
          <p:cNvSpPr/>
          <p:nvPr/>
        </p:nvSpPr>
        <p:spPr>
          <a:xfrm>
            <a:off x="4267248" y="1187511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12.5bn/$41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EBB25788-D073-4A78-9D6C-DF3836CFFFBB}"/>
              </a:ext>
            </a:extLst>
          </p:cNvPr>
          <p:cNvSpPr txBox="1"/>
          <p:nvPr/>
        </p:nvSpPr>
        <p:spPr>
          <a:xfrm>
            <a:off x="4267200" y="955675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GR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6F07DF39-553B-44F0-8864-1F897C2BD79A}"/>
              </a:ext>
            </a:extLst>
          </p:cNvPr>
          <p:cNvSpPr/>
          <p:nvPr/>
        </p:nvSpPr>
        <p:spPr>
          <a:xfrm>
            <a:off x="4267252" y="1809750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295bn/$967.2bn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2508695A-2D2C-45A3-80FE-9C2CB18200C2}"/>
              </a:ext>
            </a:extLst>
          </p:cNvPr>
          <p:cNvSpPr txBox="1"/>
          <p:nvPr/>
        </p:nvSpPr>
        <p:spPr>
          <a:xfrm>
            <a:off x="4267200" y="1576388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Budget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8)</a:t>
            </a: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86A33ABE-3AE3-40A7-A6A6-1B757A6A9B0F}"/>
              </a:ext>
            </a:extLst>
          </p:cNvPr>
          <p:cNvSpPr/>
          <p:nvPr/>
        </p:nvSpPr>
        <p:spPr>
          <a:xfrm>
            <a:off x="4256076" y="2667155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777.6tn /$2.5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1E919764-A18B-4532-A533-A84A31D7FEFE}"/>
              </a:ext>
            </a:extLst>
          </p:cNvPr>
          <p:cNvSpPr txBox="1"/>
          <p:nvPr/>
        </p:nvSpPr>
        <p:spPr>
          <a:xfrm>
            <a:off x="4256088" y="2185988"/>
            <a:ext cx="1811337" cy="50641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Household </a:t>
            </a:r>
          </a:p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nsumption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96" name="Plaque 95">
            <a:extLst>
              <a:ext uri="{FF2B5EF4-FFF2-40B4-BE49-F238E27FC236}">
                <a16:creationId xmlns:a16="http://schemas.microsoft.com/office/drawing/2014/main" id="{E3BE1182-17B4-4194-8641-F1EA2CCBB757}"/>
              </a:ext>
            </a:extLst>
          </p:cNvPr>
          <p:cNvSpPr/>
          <p:nvPr/>
        </p:nvSpPr>
        <p:spPr>
          <a:xfrm>
            <a:off x="5638800" y="2805162"/>
            <a:ext cx="428625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33 of 36</a:t>
            </a:r>
          </a:p>
        </p:txBody>
      </p:sp>
      <p:sp>
        <p:nvSpPr>
          <p:cNvPr id="99" name="Plaque 98">
            <a:extLst>
              <a:ext uri="{FF2B5EF4-FFF2-40B4-BE49-F238E27FC236}">
                <a16:creationId xmlns:a16="http://schemas.microsoft.com/office/drawing/2014/main" id="{8620E393-1C52-4CE1-9888-20922FA6DFEA}"/>
              </a:ext>
            </a:extLst>
          </p:cNvPr>
          <p:cNvSpPr/>
          <p:nvPr/>
        </p:nvSpPr>
        <p:spPr>
          <a:xfrm>
            <a:off x="5689600" y="1951038"/>
            <a:ext cx="377825" cy="153987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7 of 36</a:t>
            </a:r>
          </a:p>
        </p:txBody>
      </p:sp>
      <p:sp>
        <p:nvSpPr>
          <p:cNvPr id="100" name="Plaque 99">
            <a:extLst>
              <a:ext uri="{FF2B5EF4-FFF2-40B4-BE49-F238E27FC236}">
                <a16:creationId xmlns:a16="http://schemas.microsoft.com/office/drawing/2014/main" id="{3BFA6D28-9A42-4459-8BF1-090CE1B45216}"/>
              </a:ext>
            </a:extLst>
          </p:cNvPr>
          <p:cNvSpPr/>
          <p:nvPr/>
        </p:nvSpPr>
        <p:spPr>
          <a:xfrm>
            <a:off x="5638800" y="1333500"/>
            <a:ext cx="430213" cy="1539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latin typeface="Calibri" panose="020F0502020204030204" pitchFamily="34" charset="0"/>
                <a:cs typeface="Calibri" panose="020F0502020204030204" pitchFamily="34" charset="0"/>
              </a:rPr>
              <a:t>15 of 36</a:t>
            </a:r>
          </a:p>
        </p:txBody>
      </p:sp>
      <p:sp>
        <p:nvSpPr>
          <p:cNvPr id="101" name="Pentagon 19">
            <a:extLst>
              <a:ext uri="{FF2B5EF4-FFF2-40B4-BE49-F238E27FC236}">
                <a16:creationId xmlns:a16="http://schemas.microsoft.com/office/drawing/2014/main" id="{CCD74FA4-19D0-4356-90C9-B3B49BCC3F54}"/>
              </a:ext>
            </a:extLst>
          </p:cNvPr>
          <p:cNvSpPr>
            <a:spLocks/>
          </p:cNvSpPr>
          <p:nvPr/>
        </p:nvSpPr>
        <p:spPr bwMode="auto">
          <a:xfrm>
            <a:off x="688340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7 of 37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12EE735-1E43-4799-A46A-5D0787F375CE}"/>
              </a:ext>
            </a:extLst>
          </p:cNvPr>
          <p:cNvSpPr/>
          <p:nvPr/>
        </p:nvSpPr>
        <p:spPr>
          <a:xfrm>
            <a:off x="6880225" y="5726113"/>
            <a:ext cx="642938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Starting a Business</a:t>
            </a:r>
          </a:p>
        </p:txBody>
      </p:sp>
      <p:pic>
        <p:nvPicPr>
          <p:cNvPr id="23622" name="Picture 3">
            <a:extLst>
              <a:ext uri="{FF2B5EF4-FFF2-40B4-BE49-F238E27FC236}">
                <a16:creationId xmlns:a16="http://schemas.microsoft.com/office/drawing/2014/main" id="{53FAD0C6-8FFE-437B-B7E4-F2A938D3BE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350" y="5249863"/>
            <a:ext cx="41910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23" name="Freeform 15">
            <a:extLst>
              <a:ext uri="{FF2B5EF4-FFF2-40B4-BE49-F238E27FC236}">
                <a16:creationId xmlns:a16="http://schemas.microsoft.com/office/drawing/2014/main" id="{183A3C8B-011E-4D99-9165-3FF03A2D3207}"/>
              </a:ext>
            </a:extLst>
          </p:cNvPr>
          <p:cNvSpPr>
            <a:spLocks noEditPoints="1"/>
          </p:cNvSpPr>
          <p:nvPr/>
        </p:nvSpPr>
        <p:spPr bwMode="auto">
          <a:xfrm>
            <a:off x="9093200" y="5257800"/>
            <a:ext cx="276225" cy="347663"/>
          </a:xfrm>
          <a:custGeom>
            <a:avLst/>
            <a:gdLst>
              <a:gd name="T0" fmla="*/ 2147483646 w 3556"/>
              <a:gd name="T1" fmla="*/ 2147483646 h 3950"/>
              <a:gd name="T2" fmla="*/ 2147483646 w 3556"/>
              <a:gd name="T3" fmla="*/ 2147483646 h 3950"/>
              <a:gd name="T4" fmla="*/ 2147483646 w 3556"/>
              <a:gd name="T5" fmla="*/ 2147483646 h 3950"/>
              <a:gd name="T6" fmla="*/ 2147483646 w 3556"/>
              <a:gd name="T7" fmla="*/ 2147483646 h 3950"/>
              <a:gd name="T8" fmla="*/ 2147483646 w 3556"/>
              <a:gd name="T9" fmla="*/ 2147483646 h 3950"/>
              <a:gd name="T10" fmla="*/ 2147483646 w 3556"/>
              <a:gd name="T11" fmla="*/ 2147483646 h 3950"/>
              <a:gd name="T12" fmla="*/ 2147483646 w 3556"/>
              <a:gd name="T13" fmla="*/ 2147483646 h 3950"/>
              <a:gd name="T14" fmla="*/ 2147483646 w 3556"/>
              <a:gd name="T15" fmla="*/ 2147483646 h 3950"/>
              <a:gd name="T16" fmla="*/ 2147483646 w 3556"/>
              <a:gd name="T17" fmla="*/ 2147483646 h 3950"/>
              <a:gd name="T18" fmla="*/ 2147483646 w 3556"/>
              <a:gd name="T19" fmla="*/ 2147483646 h 3950"/>
              <a:gd name="T20" fmla="*/ 2147483646 w 3556"/>
              <a:gd name="T21" fmla="*/ 2147483646 h 3950"/>
              <a:gd name="T22" fmla="*/ 0 w 3556"/>
              <a:gd name="T23" fmla="*/ 2147483646 h 3950"/>
              <a:gd name="T24" fmla="*/ 2147483646 w 3556"/>
              <a:gd name="T25" fmla="*/ 2147483646 h 3950"/>
              <a:gd name="T26" fmla="*/ 2147483646 w 3556"/>
              <a:gd name="T27" fmla="*/ 2147483646 h 3950"/>
              <a:gd name="T28" fmla="*/ 2147483646 w 3556"/>
              <a:gd name="T29" fmla="*/ 2147483646 h 3950"/>
              <a:gd name="T30" fmla="*/ 2147483646 w 3556"/>
              <a:gd name="T31" fmla="*/ 2147483646 h 3950"/>
              <a:gd name="T32" fmla="*/ 2147483646 w 3556"/>
              <a:gd name="T33" fmla="*/ 2147483646 h 3950"/>
              <a:gd name="T34" fmla="*/ 2147483646 w 3556"/>
              <a:gd name="T35" fmla="*/ 2147483646 h 3950"/>
              <a:gd name="T36" fmla="*/ 2147483646 w 3556"/>
              <a:gd name="T37" fmla="*/ 2147483646 h 3950"/>
              <a:gd name="T38" fmla="*/ 2147483646 w 3556"/>
              <a:gd name="T39" fmla="*/ 2147483646 h 3950"/>
              <a:gd name="T40" fmla="*/ 2147483646 w 3556"/>
              <a:gd name="T41" fmla="*/ 2147483646 h 3950"/>
              <a:gd name="T42" fmla="*/ 2147483646 w 3556"/>
              <a:gd name="T43" fmla="*/ 2147483646 h 3950"/>
              <a:gd name="T44" fmla="*/ 2147483646 w 3556"/>
              <a:gd name="T45" fmla="*/ 2147483646 h 3950"/>
              <a:gd name="T46" fmla="*/ 2147483646 w 3556"/>
              <a:gd name="T47" fmla="*/ 2147483646 h 3950"/>
              <a:gd name="T48" fmla="*/ 2147483646 w 3556"/>
              <a:gd name="T49" fmla="*/ 2147483646 h 3950"/>
              <a:gd name="T50" fmla="*/ 2147483646 w 3556"/>
              <a:gd name="T51" fmla="*/ 2147483646 h 3950"/>
              <a:gd name="T52" fmla="*/ 2147483646 w 3556"/>
              <a:gd name="T53" fmla="*/ 2147483646 h 3950"/>
              <a:gd name="T54" fmla="*/ 2147483646 w 3556"/>
              <a:gd name="T55" fmla="*/ 2147483646 h 3950"/>
              <a:gd name="T56" fmla="*/ 2147483646 w 3556"/>
              <a:gd name="T57" fmla="*/ 2147483646 h 3950"/>
              <a:gd name="T58" fmla="*/ 2147483646 w 3556"/>
              <a:gd name="T59" fmla="*/ 2147483646 h 3950"/>
              <a:gd name="T60" fmla="*/ 2147483646 w 3556"/>
              <a:gd name="T61" fmla="*/ 2147483646 h 3950"/>
              <a:gd name="T62" fmla="*/ 2147483646 w 3556"/>
              <a:gd name="T63" fmla="*/ 2147483646 h 3950"/>
              <a:gd name="T64" fmla="*/ 2147483646 w 3556"/>
              <a:gd name="T65" fmla="*/ 2147483646 h 3950"/>
              <a:gd name="T66" fmla="*/ 2147483646 w 3556"/>
              <a:gd name="T67" fmla="*/ 2147483646 h 3950"/>
              <a:gd name="T68" fmla="*/ 2147483646 w 3556"/>
              <a:gd name="T69" fmla="*/ 2147483646 h 3950"/>
              <a:gd name="T70" fmla="*/ 2147483646 w 3556"/>
              <a:gd name="T71" fmla="*/ 2147483646 h 3950"/>
              <a:gd name="T72" fmla="*/ 2147483646 w 3556"/>
              <a:gd name="T73" fmla="*/ 2147483646 h 3950"/>
              <a:gd name="T74" fmla="*/ 2147483646 w 3556"/>
              <a:gd name="T75" fmla="*/ 2147483646 h 3950"/>
              <a:gd name="T76" fmla="*/ 2147483646 w 3556"/>
              <a:gd name="T77" fmla="*/ 2147483646 h 3950"/>
              <a:gd name="T78" fmla="*/ 2147483646 w 3556"/>
              <a:gd name="T79" fmla="*/ 2147483646 h 3950"/>
              <a:gd name="T80" fmla="*/ 2147483646 w 3556"/>
              <a:gd name="T81" fmla="*/ 0 h 3950"/>
              <a:gd name="T82" fmla="*/ 2147483646 w 3556"/>
              <a:gd name="T83" fmla="*/ 2147483646 h 3950"/>
              <a:gd name="T84" fmla="*/ 2147483646 w 3556"/>
              <a:gd name="T85" fmla="*/ 2147483646 h 3950"/>
              <a:gd name="T86" fmla="*/ 2147483646 w 3556"/>
              <a:gd name="T87" fmla="*/ 2147483646 h 395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556"/>
              <a:gd name="T133" fmla="*/ 0 h 3950"/>
              <a:gd name="T134" fmla="*/ 3556 w 3556"/>
              <a:gd name="T135" fmla="*/ 3950 h 395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556" h="3950">
                <a:moveTo>
                  <a:pt x="909" y="3917"/>
                </a:moveTo>
                <a:cubicBezTo>
                  <a:pt x="824" y="3832"/>
                  <a:pt x="894" y="3725"/>
                  <a:pt x="1036" y="3725"/>
                </a:cubicBezTo>
                <a:cubicBezTo>
                  <a:pt x="1119" y="3725"/>
                  <a:pt x="1129" y="3717"/>
                  <a:pt x="1129" y="3645"/>
                </a:cubicBezTo>
                <a:cubicBezTo>
                  <a:pt x="1129" y="3472"/>
                  <a:pt x="1135" y="3471"/>
                  <a:pt x="2192" y="3471"/>
                </a:cubicBezTo>
                <a:cubicBezTo>
                  <a:pt x="3086" y="3471"/>
                  <a:pt x="3155" y="3475"/>
                  <a:pt x="3199" y="3523"/>
                </a:cubicBezTo>
                <a:cubicBezTo>
                  <a:pt x="3225" y="3551"/>
                  <a:pt x="3246" y="3608"/>
                  <a:pt x="3246" y="3648"/>
                </a:cubicBezTo>
                <a:cubicBezTo>
                  <a:pt x="3246" y="3712"/>
                  <a:pt x="3259" y="3723"/>
                  <a:pt x="3349" y="3730"/>
                </a:cubicBezTo>
                <a:cubicBezTo>
                  <a:pt x="3470" y="3741"/>
                  <a:pt x="3530" y="3811"/>
                  <a:pt x="3482" y="3887"/>
                </a:cubicBezTo>
                <a:cubicBezTo>
                  <a:pt x="3453" y="3933"/>
                  <a:pt x="3356" y="3937"/>
                  <a:pt x="2197" y="3944"/>
                </a:cubicBezTo>
                <a:cubicBezTo>
                  <a:pt x="1245" y="3950"/>
                  <a:pt x="935" y="3943"/>
                  <a:pt x="909" y="3917"/>
                </a:cubicBezTo>
                <a:close/>
                <a:moveTo>
                  <a:pt x="87" y="3370"/>
                </a:moveTo>
                <a:cubicBezTo>
                  <a:pt x="24" y="3317"/>
                  <a:pt x="0" y="3272"/>
                  <a:pt x="0" y="3209"/>
                </a:cubicBezTo>
                <a:cubicBezTo>
                  <a:pt x="0" y="3132"/>
                  <a:pt x="86" y="3035"/>
                  <a:pt x="705" y="2414"/>
                </a:cubicBezTo>
                <a:lnTo>
                  <a:pt x="1411" y="1706"/>
                </a:lnTo>
                <a:lnTo>
                  <a:pt x="1235" y="1530"/>
                </a:lnTo>
                <a:lnTo>
                  <a:pt x="1059" y="1355"/>
                </a:lnTo>
                <a:lnTo>
                  <a:pt x="1510" y="903"/>
                </a:lnTo>
                <a:lnTo>
                  <a:pt x="1960" y="452"/>
                </a:lnTo>
                <a:lnTo>
                  <a:pt x="2135" y="624"/>
                </a:lnTo>
                <a:cubicBezTo>
                  <a:pt x="2305" y="793"/>
                  <a:pt x="2310" y="796"/>
                  <a:pt x="2374" y="751"/>
                </a:cubicBezTo>
                <a:cubicBezTo>
                  <a:pt x="2469" y="685"/>
                  <a:pt x="2547" y="695"/>
                  <a:pt x="2633" y="785"/>
                </a:cubicBezTo>
                <a:cubicBezTo>
                  <a:pt x="2720" y="875"/>
                  <a:pt x="2731" y="974"/>
                  <a:pt x="2662" y="1050"/>
                </a:cubicBezTo>
                <a:cubicBezTo>
                  <a:pt x="2616" y="1100"/>
                  <a:pt x="2624" y="1112"/>
                  <a:pt x="2823" y="1313"/>
                </a:cubicBezTo>
                <a:lnTo>
                  <a:pt x="3033" y="1524"/>
                </a:lnTo>
                <a:lnTo>
                  <a:pt x="2582" y="1975"/>
                </a:lnTo>
                <a:lnTo>
                  <a:pt x="2132" y="2427"/>
                </a:lnTo>
                <a:lnTo>
                  <a:pt x="1933" y="2229"/>
                </a:lnTo>
                <a:cubicBezTo>
                  <a:pt x="1824" y="2121"/>
                  <a:pt x="1722" y="2032"/>
                  <a:pt x="1707" y="2032"/>
                </a:cubicBezTo>
                <a:cubicBezTo>
                  <a:pt x="1693" y="2032"/>
                  <a:pt x="1362" y="2349"/>
                  <a:pt x="973" y="2737"/>
                </a:cubicBezTo>
                <a:cubicBezTo>
                  <a:pt x="584" y="3125"/>
                  <a:pt x="245" y="3443"/>
                  <a:pt x="220" y="3443"/>
                </a:cubicBezTo>
                <a:cubicBezTo>
                  <a:pt x="194" y="3443"/>
                  <a:pt x="135" y="3410"/>
                  <a:pt x="87" y="3370"/>
                </a:cubicBezTo>
                <a:close/>
                <a:moveTo>
                  <a:pt x="2258" y="2887"/>
                </a:moveTo>
                <a:cubicBezTo>
                  <a:pt x="2196" y="2865"/>
                  <a:pt x="2145" y="2792"/>
                  <a:pt x="2145" y="2725"/>
                </a:cubicBezTo>
                <a:cubicBezTo>
                  <a:pt x="2145" y="2686"/>
                  <a:pt x="2337" y="2474"/>
                  <a:pt x="2703" y="2109"/>
                </a:cubicBezTo>
                <a:cubicBezTo>
                  <a:pt x="3289" y="1523"/>
                  <a:pt x="3346" y="1485"/>
                  <a:pt x="3453" y="1604"/>
                </a:cubicBezTo>
                <a:cubicBezTo>
                  <a:pt x="3556" y="1717"/>
                  <a:pt x="3522" y="1766"/>
                  <a:pt x="2956" y="2331"/>
                </a:cubicBezTo>
                <a:cubicBezTo>
                  <a:pt x="2657" y="2630"/>
                  <a:pt x="2388" y="2880"/>
                  <a:pt x="2357" y="2888"/>
                </a:cubicBezTo>
                <a:cubicBezTo>
                  <a:pt x="2326" y="2895"/>
                  <a:pt x="2281" y="2895"/>
                  <a:pt x="2258" y="2887"/>
                </a:cubicBezTo>
                <a:close/>
                <a:moveTo>
                  <a:pt x="637" y="1282"/>
                </a:moveTo>
                <a:cubicBezTo>
                  <a:pt x="528" y="1172"/>
                  <a:pt x="568" y="1113"/>
                  <a:pt x="1137" y="544"/>
                </a:cubicBezTo>
                <a:cubicBezTo>
                  <a:pt x="1607" y="74"/>
                  <a:pt x="1693" y="0"/>
                  <a:pt x="1767" y="0"/>
                </a:cubicBezTo>
                <a:cubicBezTo>
                  <a:pt x="1862" y="0"/>
                  <a:pt x="1947" y="73"/>
                  <a:pt x="1947" y="156"/>
                </a:cubicBezTo>
                <a:cubicBezTo>
                  <a:pt x="1947" y="186"/>
                  <a:pt x="1715" y="442"/>
                  <a:pt x="1391" y="767"/>
                </a:cubicBezTo>
                <a:cubicBezTo>
                  <a:pt x="808" y="1353"/>
                  <a:pt x="749" y="1393"/>
                  <a:pt x="637" y="12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4" name="Group 118">
            <a:extLst>
              <a:ext uri="{FF2B5EF4-FFF2-40B4-BE49-F238E27FC236}">
                <a16:creationId xmlns:a16="http://schemas.microsoft.com/office/drawing/2014/main" id="{FB3D6A90-C4FD-433A-A1C1-A4B3864804A5}"/>
              </a:ext>
            </a:extLst>
          </p:cNvPr>
          <p:cNvGrpSpPr/>
          <p:nvPr/>
        </p:nvGrpSpPr>
        <p:grpSpPr>
          <a:xfrm>
            <a:off x="8409631" y="5248358"/>
            <a:ext cx="346498" cy="347472"/>
            <a:chOff x="1468138" y="5997240"/>
            <a:chExt cx="283642" cy="307072"/>
          </a:xfrm>
          <a:solidFill>
            <a:schemeClr val="bg1"/>
          </a:solidFill>
        </p:grpSpPr>
        <p:sp>
          <p:nvSpPr>
            <p:cNvPr id="120" name="Freeform 16">
              <a:extLst>
                <a:ext uri="{FF2B5EF4-FFF2-40B4-BE49-F238E27FC236}">
                  <a16:creationId xmlns:a16="http://schemas.microsoft.com/office/drawing/2014/main" id="{D6134FC8-4249-4088-8AE8-003C8AAC7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6136" y="6255221"/>
              <a:ext cx="26428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1 w 349"/>
                <a:gd name="T25" fmla="*/ 226 h 350"/>
                <a:gd name="T26" fmla="*/ 225 w 349"/>
                <a:gd name="T27" fmla="*/ 213 h 350"/>
                <a:gd name="T28" fmla="*/ 234 w 349"/>
                <a:gd name="T29" fmla="*/ 194 h 350"/>
                <a:gd name="T30" fmla="*/ 237 w 349"/>
                <a:gd name="T31" fmla="*/ 175 h 350"/>
                <a:gd name="T32" fmla="*/ 235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5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4 w 349"/>
                <a:gd name="T47" fmla="*/ 3 h 350"/>
                <a:gd name="T48" fmla="*/ 234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8 w 349"/>
                <a:gd name="T55" fmla="*/ 63 h 350"/>
                <a:gd name="T56" fmla="*/ 325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5 w 349"/>
                <a:gd name="T65" fmla="*/ 210 h 350"/>
                <a:gd name="T66" fmla="*/ 335 w 349"/>
                <a:gd name="T67" fmla="*/ 243 h 350"/>
                <a:gd name="T68" fmla="*/ 319 w 349"/>
                <a:gd name="T69" fmla="*/ 273 h 350"/>
                <a:gd name="T70" fmla="*/ 297 w 349"/>
                <a:gd name="T71" fmla="*/ 299 h 350"/>
                <a:gd name="T72" fmla="*/ 272 w 349"/>
                <a:gd name="T73" fmla="*/ 319 h 350"/>
                <a:gd name="T74" fmla="*/ 242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39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29 w 349"/>
                <a:gd name="T89" fmla="*/ 273 h 350"/>
                <a:gd name="T90" fmla="*/ 14 w 349"/>
                <a:gd name="T91" fmla="*/ 243 h 350"/>
                <a:gd name="T92" fmla="*/ 3 w 349"/>
                <a:gd name="T93" fmla="*/ 210 h 350"/>
                <a:gd name="T94" fmla="*/ 0 w 349"/>
                <a:gd name="T95" fmla="*/ 175 h 350"/>
                <a:gd name="T96" fmla="*/ 3 w 349"/>
                <a:gd name="T97" fmla="*/ 140 h 350"/>
                <a:gd name="T98" fmla="*/ 14 w 349"/>
                <a:gd name="T99" fmla="*/ 107 h 350"/>
                <a:gd name="T100" fmla="*/ 29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39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1" y="226"/>
                  </a:lnTo>
                  <a:lnTo>
                    <a:pt x="225" y="213"/>
                  </a:lnTo>
                  <a:lnTo>
                    <a:pt x="234" y="194"/>
                  </a:lnTo>
                  <a:lnTo>
                    <a:pt x="237" y="175"/>
                  </a:lnTo>
                  <a:lnTo>
                    <a:pt x="235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5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4" y="3"/>
                  </a:lnTo>
                  <a:lnTo>
                    <a:pt x="234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8" y="63"/>
                  </a:lnTo>
                  <a:lnTo>
                    <a:pt x="325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5" y="210"/>
                  </a:lnTo>
                  <a:lnTo>
                    <a:pt x="335" y="243"/>
                  </a:lnTo>
                  <a:lnTo>
                    <a:pt x="319" y="273"/>
                  </a:lnTo>
                  <a:lnTo>
                    <a:pt x="297" y="299"/>
                  </a:lnTo>
                  <a:lnTo>
                    <a:pt x="272" y="319"/>
                  </a:lnTo>
                  <a:lnTo>
                    <a:pt x="242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39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29" y="273"/>
                  </a:lnTo>
                  <a:lnTo>
                    <a:pt x="14" y="243"/>
                  </a:lnTo>
                  <a:lnTo>
                    <a:pt x="3" y="210"/>
                  </a:lnTo>
                  <a:lnTo>
                    <a:pt x="0" y="175"/>
                  </a:lnTo>
                  <a:lnTo>
                    <a:pt x="3" y="140"/>
                  </a:lnTo>
                  <a:lnTo>
                    <a:pt x="14" y="107"/>
                  </a:lnTo>
                  <a:lnTo>
                    <a:pt x="29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39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1" name="Freeform 17">
              <a:extLst>
                <a:ext uri="{FF2B5EF4-FFF2-40B4-BE49-F238E27FC236}">
                  <a16:creationId xmlns:a16="http://schemas.microsoft.com/office/drawing/2014/main" id="{67A5F0B0-C078-4A85-9E32-409FF0B3D5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2133" y="6255221"/>
              <a:ext cx="26656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2 w 349"/>
                <a:gd name="T25" fmla="*/ 226 h 350"/>
                <a:gd name="T26" fmla="*/ 226 w 349"/>
                <a:gd name="T27" fmla="*/ 213 h 350"/>
                <a:gd name="T28" fmla="*/ 235 w 349"/>
                <a:gd name="T29" fmla="*/ 194 h 350"/>
                <a:gd name="T30" fmla="*/ 237 w 349"/>
                <a:gd name="T31" fmla="*/ 175 h 350"/>
                <a:gd name="T32" fmla="*/ 236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7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5 w 349"/>
                <a:gd name="T47" fmla="*/ 3 h 350"/>
                <a:gd name="T48" fmla="*/ 235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9 w 349"/>
                <a:gd name="T55" fmla="*/ 63 h 350"/>
                <a:gd name="T56" fmla="*/ 326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6 w 349"/>
                <a:gd name="T65" fmla="*/ 210 h 350"/>
                <a:gd name="T66" fmla="*/ 336 w 349"/>
                <a:gd name="T67" fmla="*/ 243 h 350"/>
                <a:gd name="T68" fmla="*/ 319 w 349"/>
                <a:gd name="T69" fmla="*/ 273 h 350"/>
                <a:gd name="T70" fmla="*/ 298 w 349"/>
                <a:gd name="T71" fmla="*/ 299 h 350"/>
                <a:gd name="T72" fmla="*/ 272 w 349"/>
                <a:gd name="T73" fmla="*/ 319 h 350"/>
                <a:gd name="T74" fmla="*/ 243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40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30 w 349"/>
                <a:gd name="T89" fmla="*/ 273 h 350"/>
                <a:gd name="T90" fmla="*/ 14 w 349"/>
                <a:gd name="T91" fmla="*/ 243 h 350"/>
                <a:gd name="T92" fmla="*/ 4 w 349"/>
                <a:gd name="T93" fmla="*/ 210 h 350"/>
                <a:gd name="T94" fmla="*/ 0 w 349"/>
                <a:gd name="T95" fmla="*/ 175 h 350"/>
                <a:gd name="T96" fmla="*/ 4 w 349"/>
                <a:gd name="T97" fmla="*/ 140 h 350"/>
                <a:gd name="T98" fmla="*/ 14 w 349"/>
                <a:gd name="T99" fmla="*/ 107 h 350"/>
                <a:gd name="T100" fmla="*/ 30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40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7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7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5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19" y="273"/>
                  </a:lnTo>
                  <a:lnTo>
                    <a:pt x="298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2" name="Freeform 18">
              <a:extLst>
                <a:ext uri="{FF2B5EF4-FFF2-40B4-BE49-F238E27FC236}">
                  <a16:creationId xmlns:a16="http://schemas.microsoft.com/office/drawing/2014/main" id="{BF1784DA-3E40-44FD-998D-DB1DD379C0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8357" y="6255221"/>
              <a:ext cx="26428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7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1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7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8 w 350"/>
                <a:gd name="T31" fmla="*/ 175 h 350"/>
                <a:gd name="T32" fmla="*/ 236 w 350"/>
                <a:gd name="T33" fmla="*/ 158 h 350"/>
                <a:gd name="T34" fmla="*/ 229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7 w 350"/>
                <a:gd name="T53" fmla="*/ 41 h 350"/>
                <a:gd name="T54" fmla="*/ 309 w 350"/>
                <a:gd name="T55" fmla="*/ 63 h 350"/>
                <a:gd name="T56" fmla="*/ 326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2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7 w 350"/>
                <a:gd name="T85" fmla="*/ 319 h 350"/>
                <a:gd name="T86" fmla="*/ 51 w 350"/>
                <a:gd name="T87" fmla="*/ 299 h 350"/>
                <a:gd name="T88" fmla="*/ 30 w 350"/>
                <a:gd name="T89" fmla="*/ 273 h 350"/>
                <a:gd name="T90" fmla="*/ 14 w 350"/>
                <a:gd name="T91" fmla="*/ 243 h 350"/>
                <a:gd name="T92" fmla="*/ 4 w 350"/>
                <a:gd name="T93" fmla="*/ 210 h 350"/>
                <a:gd name="T94" fmla="*/ 0 w 350"/>
                <a:gd name="T95" fmla="*/ 175 h 350"/>
                <a:gd name="T96" fmla="*/ 4 w 350"/>
                <a:gd name="T97" fmla="*/ 140 h 350"/>
                <a:gd name="T98" fmla="*/ 14 w 350"/>
                <a:gd name="T99" fmla="*/ 107 h 350"/>
                <a:gd name="T100" fmla="*/ 30 w 350"/>
                <a:gd name="T101" fmla="*/ 78 h 350"/>
                <a:gd name="T102" fmla="*/ 51 w 350"/>
                <a:gd name="T103" fmla="*/ 52 h 350"/>
                <a:gd name="T104" fmla="*/ 77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8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3" name="Freeform 19">
              <a:extLst>
                <a:ext uri="{FF2B5EF4-FFF2-40B4-BE49-F238E27FC236}">
                  <a16:creationId xmlns:a16="http://schemas.microsoft.com/office/drawing/2014/main" id="{FF26547B-24B3-4108-8095-A2794E966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4353" y="6255221"/>
              <a:ext cx="26656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8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3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8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9 w 350"/>
                <a:gd name="T31" fmla="*/ 175 h 350"/>
                <a:gd name="T32" fmla="*/ 236 w 350"/>
                <a:gd name="T33" fmla="*/ 158 h 350"/>
                <a:gd name="T34" fmla="*/ 231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8 w 350"/>
                <a:gd name="T53" fmla="*/ 41 h 350"/>
                <a:gd name="T54" fmla="*/ 309 w 350"/>
                <a:gd name="T55" fmla="*/ 63 h 350"/>
                <a:gd name="T56" fmla="*/ 327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3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8 w 350"/>
                <a:gd name="T85" fmla="*/ 319 h 350"/>
                <a:gd name="T86" fmla="*/ 53 w 350"/>
                <a:gd name="T87" fmla="*/ 299 h 350"/>
                <a:gd name="T88" fmla="*/ 31 w 350"/>
                <a:gd name="T89" fmla="*/ 273 h 350"/>
                <a:gd name="T90" fmla="*/ 15 w 350"/>
                <a:gd name="T91" fmla="*/ 243 h 350"/>
                <a:gd name="T92" fmla="*/ 5 w 350"/>
                <a:gd name="T93" fmla="*/ 210 h 350"/>
                <a:gd name="T94" fmla="*/ 0 w 350"/>
                <a:gd name="T95" fmla="*/ 175 h 350"/>
                <a:gd name="T96" fmla="*/ 5 w 350"/>
                <a:gd name="T97" fmla="*/ 140 h 350"/>
                <a:gd name="T98" fmla="*/ 15 w 350"/>
                <a:gd name="T99" fmla="*/ 107 h 350"/>
                <a:gd name="T100" fmla="*/ 31 w 350"/>
                <a:gd name="T101" fmla="*/ 78 h 350"/>
                <a:gd name="T102" fmla="*/ 53 w 350"/>
                <a:gd name="T103" fmla="*/ 52 h 350"/>
                <a:gd name="T104" fmla="*/ 78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8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3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8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9" y="175"/>
                  </a:lnTo>
                  <a:lnTo>
                    <a:pt x="236" y="158"/>
                  </a:lnTo>
                  <a:lnTo>
                    <a:pt x="231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8" y="41"/>
                  </a:lnTo>
                  <a:lnTo>
                    <a:pt x="309" y="63"/>
                  </a:lnTo>
                  <a:lnTo>
                    <a:pt x="327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3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8" y="319"/>
                  </a:lnTo>
                  <a:lnTo>
                    <a:pt x="53" y="299"/>
                  </a:lnTo>
                  <a:lnTo>
                    <a:pt x="31" y="273"/>
                  </a:lnTo>
                  <a:lnTo>
                    <a:pt x="15" y="243"/>
                  </a:lnTo>
                  <a:lnTo>
                    <a:pt x="5" y="210"/>
                  </a:lnTo>
                  <a:lnTo>
                    <a:pt x="0" y="175"/>
                  </a:lnTo>
                  <a:lnTo>
                    <a:pt x="5" y="140"/>
                  </a:lnTo>
                  <a:lnTo>
                    <a:pt x="15" y="107"/>
                  </a:lnTo>
                  <a:lnTo>
                    <a:pt x="31" y="78"/>
                  </a:lnTo>
                  <a:lnTo>
                    <a:pt x="53" y="52"/>
                  </a:lnTo>
                  <a:lnTo>
                    <a:pt x="78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4" name="Freeform 20">
              <a:extLst>
                <a:ext uri="{FF2B5EF4-FFF2-40B4-BE49-F238E27FC236}">
                  <a16:creationId xmlns:a16="http://schemas.microsoft.com/office/drawing/2014/main" id="{6F553FA1-4728-401A-8C20-F18E165CA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80832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2 h 111"/>
                <a:gd name="T10" fmla="*/ 168 w 171"/>
                <a:gd name="T11" fmla="*/ 37 h 111"/>
                <a:gd name="T12" fmla="*/ 171 w 171"/>
                <a:gd name="T13" fmla="*/ 55 h 111"/>
                <a:gd name="T14" fmla="*/ 168 w 171"/>
                <a:gd name="T15" fmla="*/ 72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8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8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2 h 111"/>
                <a:gd name="T34" fmla="*/ 0 w 171"/>
                <a:gd name="T35" fmla="*/ 55 h 111"/>
                <a:gd name="T36" fmla="*/ 2 w 171"/>
                <a:gd name="T37" fmla="*/ 37 h 111"/>
                <a:gd name="T38" fmla="*/ 10 w 171"/>
                <a:gd name="T39" fmla="*/ 22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2"/>
                  </a:lnTo>
                  <a:lnTo>
                    <a:pt x="168" y="37"/>
                  </a:lnTo>
                  <a:lnTo>
                    <a:pt x="171" y="55"/>
                  </a:lnTo>
                  <a:lnTo>
                    <a:pt x="168" y="72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8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8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2"/>
                  </a:lnTo>
                  <a:lnTo>
                    <a:pt x="0" y="55"/>
                  </a:lnTo>
                  <a:lnTo>
                    <a:pt x="2" y="37"/>
                  </a:lnTo>
                  <a:lnTo>
                    <a:pt x="10" y="22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5" name="Freeform 21">
              <a:extLst>
                <a:ext uri="{FF2B5EF4-FFF2-40B4-BE49-F238E27FC236}">
                  <a16:creationId xmlns:a16="http://schemas.microsoft.com/office/drawing/2014/main" id="{2A783787-5E9B-43C9-9BF4-073950C97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95860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3 h 111"/>
                <a:gd name="T10" fmla="*/ 168 w 171"/>
                <a:gd name="T11" fmla="*/ 38 h 111"/>
                <a:gd name="T12" fmla="*/ 171 w 171"/>
                <a:gd name="T13" fmla="*/ 55 h 111"/>
                <a:gd name="T14" fmla="*/ 168 w 171"/>
                <a:gd name="T15" fmla="*/ 74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9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9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4 h 111"/>
                <a:gd name="T34" fmla="*/ 0 w 171"/>
                <a:gd name="T35" fmla="*/ 55 h 111"/>
                <a:gd name="T36" fmla="*/ 2 w 171"/>
                <a:gd name="T37" fmla="*/ 38 h 111"/>
                <a:gd name="T38" fmla="*/ 10 w 171"/>
                <a:gd name="T39" fmla="*/ 23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3"/>
                  </a:lnTo>
                  <a:lnTo>
                    <a:pt x="168" y="38"/>
                  </a:lnTo>
                  <a:lnTo>
                    <a:pt x="171" y="55"/>
                  </a:lnTo>
                  <a:lnTo>
                    <a:pt x="168" y="74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9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9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4"/>
                  </a:lnTo>
                  <a:lnTo>
                    <a:pt x="0" y="55"/>
                  </a:lnTo>
                  <a:lnTo>
                    <a:pt x="2" y="38"/>
                  </a:lnTo>
                  <a:lnTo>
                    <a:pt x="10" y="23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6" name="Freeform 22">
              <a:extLst>
                <a:ext uri="{FF2B5EF4-FFF2-40B4-BE49-F238E27FC236}">
                  <a16:creationId xmlns:a16="http://schemas.microsoft.com/office/drawing/2014/main" id="{6465D05A-ED22-49B3-924E-6DFC4C8C8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8138" y="5997240"/>
              <a:ext cx="283642" cy="307072"/>
            </a:xfrm>
            <a:custGeom>
              <a:avLst/>
              <a:gdLst>
                <a:gd name="T0" fmla="*/ 185 w 3736"/>
                <a:gd name="T1" fmla="*/ 3069 h 3678"/>
                <a:gd name="T2" fmla="*/ 125 w 3736"/>
                <a:gd name="T3" fmla="*/ 3352 h 3678"/>
                <a:gd name="T4" fmla="*/ 325 w 3736"/>
                <a:gd name="T5" fmla="*/ 3554 h 3678"/>
                <a:gd name="T6" fmla="*/ 2002 w 3736"/>
                <a:gd name="T7" fmla="*/ 3518 h 3678"/>
                <a:gd name="T8" fmla="*/ 2140 w 3736"/>
                <a:gd name="T9" fmla="*/ 3266 h 3678"/>
                <a:gd name="T10" fmla="*/ 2002 w 3736"/>
                <a:gd name="T11" fmla="*/ 3013 h 3678"/>
                <a:gd name="T12" fmla="*/ 943 w 3736"/>
                <a:gd name="T13" fmla="*/ 2853 h 3678"/>
                <a:gd name="T14" fmla="*/ 2970 w 3736"/>
                <a:gd name="T15" fmla="*/ 2765 h 3678"/>
                <a:gd name="T16" fmla="*/ 3240 w 3736"/>
                <a:gd name="T17" fmla="*/ 2787 h 3678"/>
                <a:gd name="T18" fmla="*/ 3506 w 3736"/>
                <a:gd name="T19" fmla="*/ 2599 h 3678"/>
                <a:gd name="T20" fmla="*/ 302 w 3736"/>
                <a:gd name="T21" fmla="*/ 2099 h 3678"/>
                <a:gd name="T22" fmla="*/ 333 w 3736"/>
                <a:gd name="T23" fmla="*/ 2613 h 3678"/>
                <a:gd name="T24" fmla="*/ 3524 w 3736"/>
                <a:gd name="T25" fmla="*/ 1966 h 3678"/>
                <a:gd name="T26" fmla="*/ 3542 w 3736"/>
                <a:gd name="T27" fmla="*/ 2077 h 3678"/>
                <a:gd name="T28" fmla="*/ 3622 w 3736"/>
                <a:gd name="T29" fmla="*/ 1998 h 3678"/>
                <a:gd name="T30" fmla="*/ 893 w 3736"/>
                <a:gd name="T31" fmla="*/ 1458 h 3678"/>
                <a:gd name="T32" fmla="*/ 1843 w 3736"/>
                <a:gd name="T33" fmla="*/ 2616 h 3678"/>
                <a:gd name="T34" fmla="*/ 1132 w 3736"/>
                <a:gd name="T35" fmla="*/ 2414 h 3678"/>
                <a:gd name="T36" fmla="*/ 954 w 3736"/>
                <a:gd name="T37" fmla="*/ 2256 h 3678"/>
                <a:gd name="T38" fmla="*/ 1082 w 3736"/>
                <a:gd name="T39" fmla="*/ 2271 h 3678"/>
                <a:gd name="T40" fmla="*/ 1271 w 3736"/>
                <a:gd name="T41" fmla="*/ 1557 h 3678"/>
                <a:gd name="T42" fmla="*/ 1360 w 3736"/>
                <a:gd name="T43" fmla="*/ 1601 h 3678"/>
                <a:gd name="T44" fmla="*/ 1958 w 3736"/>
                <a:gd name="T45" fmla="*/ 2171 h 3678"/>
                <a:gd name="T46" fmla="*/ 1525 w 3736"/>
                <a:gd name="T47" fmla="*/ 1457 h 3678"/>
                <a:gd name="T48" fmla="*/ 2749 w 3736"/>
                <a:gd name="T49" fmla="*/ 361 h 3678"/>
                <a:gd name="T50" fmla="*/ 3541 w 3736"/>
                <a:gd name="T51" fmla="*/ 1844 h 3678"/>
                <a:gd name="T52" fmla="*/ 1658 w 3736"/>
                <a:gd name="T53" fmla="*/ 1439 h 3678"/>
                <a:gd name="T54" fmla="*/ 2419 w 3736"/>
                <a:gd name="T55" fmla="*/ 427 h 3678"/>
                <a:gd name="T56" fmla="*/ 2498 w 3736"/>
                <a:gd name="T57" fmla="*/ 124 h 3678"/>
                <a:gd name="T58" fmla="*/ 2441 w 3736"/>
                <a:gd name="T59" fmla="*/ 287 h 3678"/>
                <a:gd name="T60" fmla="*/ 2599 w 3736"/>
                <a:gd name="T61" fmla="*/ 347 h 3678"/>
                <a:gd name="T62" fmla="*/ 2672 w 3736"/>
                <a:gd name="T63" fmla="*/ 256 h 3678"/>
                <a:gd name="T64" fmla="*/ 2625 w 3736"/>
                <a:gd name="T65" fmla="*/ 136 h 3678"/>
                <a:gd name="T66" fmla="*/ 2665 w 3736"/>
                <a:gd name="T67" fmla="*/ 28 h 3678"/>
                <a:gd name="T68" fmla="*/ 3734 w 3736"/>
                <a:gd name="T69" fmla="*/ 1986 h 3678"/>
                <a:gd name="T70" fmla="*/ 3646 w 3736"/>
                <a:gd name="T71" fmla="*/ 2170 h 3678"/>
                <a:gd name="T72" fmla="*/ 3580 w 3736"/>
                <a:gd name="T73" fmla="*/ 2724 h 3678"/>
                <a:gd name="T74" fmla="*/ 3180 w 3736"/>
                <a:gd name="T75" fmla="*/ 2918 h 3678"/>
                <a:gd name="T76" fmla="*/ 2865 w 3736"/>
                <a:gd name="T77" fmla="*/ 2826 h 3678"/>
                <a:gd name="T78" fmla="*/ 2459 w 3736"/>
                <a:gd name="T79" fmla="*/ 2397 h 3678"/>
                <a:gd name="T80" fmla="*/ 3431 w 3736"/>
                <a:gd name="T81" fmla="*/ 2200 h 3678"/>
                <a:gd name="T82" fmla="*/ 3506 w 3736"/>
                <a:gd name="T83" fmla="*/ 2183 h 3678"/>
                <a:gd name="T84" fmla="*/ 1983 w 3736"/>
                <a:gd name="T85" fmla="*/ 1926 h 3678"/>
                <a:gd name="T86" fmla="*/ 2073 w 3736"/>
                <a:gd name="T87" fmla="*/ 2433 h 3678"/>
                <a:gd name="T88" fmla="*/ 2059 w 3736"/>
                <a:gd name="T89" fmla="*/ 2469 h 3678"/>
                <a:gd name="T90" fmla="*/ 2043 w 3736"/>
                <a:gd name="T91" fmla="*/ 2482 h 3678"/>
                <a:gd name="T92" fmla="*/ 2024 w 3736"/>
                <a:gd name="T93" fmla="*/ 2489 h 3678"/>
                <a:gd name="T94" fmla="*/ 1942 w 3736"/>
                <a:gd name="T95" fmla="*/ 2705 h 3678"/>
                <a:gd name="T96" fmla="*/ 1890 w 3736"/>
                <a:gd name="T97" fmla="*/ 2857 h 3678"/>
                <a:gd name="T98" fmla="*/ 2177 w 3736"/>
                <a:gd name="T99" fmla="*/ 3030 h 3678"/>
                <a:gd name="T100" fmla="*/ 2238 w 3736"/>
                <a:gd name="T101" fmla="*/ 3367 h 3678"/>
                <a:gd name="T102" fmla="*/ 2032 w 3736"/>
                <a:gd name="T103" fmla="*/ 3630 h 3678"/>
                <a:gd name="T104" fmla="*/ 311 w 3736"/>
                <a:gd name="T105" fmla="*/ 3666 h 3678"/>
                <a:gd name="T106" fmla="*/ 49 w 3736"/>
                <a:gd name="T107" fmla="*/ 3460 h 3678"/>
                <a:gd name="T108" fmla="*/ 28 w 3736"/>
                <a:gd name="T109" fmla="*/ 3116 h 3678"/>
                <a:gd name="T110" fmla="*/ 263 w 3736"/>
                <a:gd name="T111" fmla="*/ 2882 h 3678"/>
                <a:gd name="T112" fmla="*/ 317 w 3736"/>
                <a:gd name="T113" fmla="*/ 2724 h 3678"/>
                <a:gd name="T114" fmla="*/ 178 w 3736"/>
                <a:gd name="T115" fmla="*/ 2553 h 3678"/>
                <a:gd name="T116" fmla="*/ 284 w 3736"/>
                <a:gd name="T117" fmla="*/ 1975 h 3678"/>
                <a:gd name="T118" fmla="*/ 740 w 3736"/>
                <a:gd name="T119" fmla="*/ 1477 h 3678"/>
                <a:gd name="T120" fmla="*/ 963 w 3736"/>
                <a:gd name="T121" fmla="*/ 1310 h 3678"/>
                <a:gd name="T122" fmla="*/ 2410 w 3736"/>
                <a:gd name="T123" fmla="*/ 48 h 3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6" h="3678">
                  <a:moveTo>
                    <a:pt x="413" y="2964"/>
                  </a:moveTo>
                  <a:lnTo>
                    <a:pt x="367" y="2968"/>
                  </a:lnTo>
                  <a:lnTo>
                    <a:pt x="325" y="2978"/>
                  </a:lnTo>
                  <a:lnTo>
                    <a:pt x="286" y="2993"/>
                  </a:lnTo>
                  <a:lnTo>
                    <a:pt x="248" y="3013"/>
                  </a:lnTo>
                  <a:lnTo>
                    <a:pt x="215" y="3039"/>
                  </a:lnTo>
                  <a:lnTo>
                    <a:pt x="185" y="3069"/>
                  </a:lnTo>
                  <a:lnTo>
                    <a:pt x="160" y="3102"/>
                  </a:lnTo>
                  <a:lnTo>
                    <a:pt x="139" y="3139"/>
                  </a:lnTo>
                  <a:lnTo>
                    <a:pt x="125" y="3179"/>
                  </a:lnTo>
                  <a:lnTo>
                    <a:pt x="114" y="3222"/>
                  </a:lnTo>
                  <a:lnTo>
                    <a:pt x="111" y="3266"/>
                  </a:lnTo>
                  <a:lnTo>
                    <a:pt x="114" y="3310"/>
                  </a:lnTo>
                  <a:lnTo>
                    <a:pt x="125" y="3352"/>
                  </a:lnTo>
                  <a:lnTo>
                    <a:pt x="139" y="3393"/>
                  </a:lnTo>
                  <a:lnTo>
                    <a:pt x="160" y="3430"/>
                  </a:lnTo>
                  <a:lnTo>
                    <a:pt x="185" y="3464"/>
                  </a:lnTo>
                  <a:lnTo>
                    <a:pt x="215" y="3493"/>
                  </a:lnTo>
                  <a:lnTo>
                    <a:pt x="248" y="3518"/>
                  </a:lnTo>
                  <a:lnTo>
                    <a:pt x="286" y="3538"/>
                  </a:lnTo>
                  <a:lnTo>
                    <a:pt x="325" y="3554"/>
                  </a:lnTo>
                  <a:lnTo>
                    <a:pt x="367" y="3563"/>
                  </a:lnTo>
                  <a:lnTo>
                    <a:pt x="413" y="3567"/>
                  </a:lnTo>
                  <a:lnTo>
                    <a:pt x="1838" y="3567"/>
                  </a:lnTo>
                  <a:lnTo>
                    <a:pt x="1882" y="3563"/>
                  </a:lnTo>
                  <a:lnTo>
                    <a:pt x="1925" y="3554"/>
                  </a:lnTo>
                  <a:lnTo>
                    <a:pt x="1965" y="3538"/>
                  </a:lnTo>
                  <a:lnTo>
                    <a:pt x="2002" y="3518"/>
                  </a:lnTo>
                  <a:lnTo>
                    <a:pt x="2035" y="3493"/>
                  </a:lnTo>
                  <a:lnTo>
                    <a:pt x="2065" y="3464"/>
                  </a:lnTo>
                  <a:lnTo>
                    <a:pt x="2091" y="3430"/>
                  </a:lnTo>
                  <a:lnTo>
                    <a:pt x="2111" y="3393"/>
                  </a:lnTo>
                  <a:lnTo>
                    <a:pt x="2126" y="3352"/>
                  </a:lnTo>
                  <a:lnTo>
                    <a:pt x="2136" y="3310"/>
                  </a:lnTo>
                  <a:lnTo>
                    <a:pt x="2140" y="3266"/>
                  </a:lnTo>
                  <a:lnTo>
                    <a:pt x="2136" y="3222"/>
                  </a:lnTo>
                  <a:lnTo>
                    <a:pt x="2126" y="3179"/>
                  </a:lnTo>
                  <a:lnTo>
                    <a:pt x="2111" y="3139"/>
                  </a:lnTo>
                  <a:lnTo>
                    <a:pt x="2091" y="3102"/>
                  </a:lnTo>
                  <a:lnTo>
                    <a:pt x="2065" y="3069"/>
                  </a:lnTo>
                  <a:lnTo>
                    <a:pt x="2035" y="3039"/>
                  </a:lnTo>
                  <a:lnTo>
                    <a:pt x="2002" y="3013"/>
                  </a:lnTo>
                  <a:lnTo>
                    <a:pt x="1965" y="2993"/>
                  </a:lnTo>
                  <a:lnTo>
                    <a:pt x="1925" y="2978"/>
                  </a:lnTo>
                  <a:lnTo>
                    <a:pt x="1882" y="2968"/>
                  </a:lnTo>
                  <a:lnTo>
                    <a:pt x="1838" y="2964"/>
                  </a:lnTo>
                  <a:lnTo>
                    <a:pt x="413" y="2964"/>
                  </a:lnTo>
                  <a:close/>
                  <a:moveTo>
                    <a:pt x="943" y="2727"/>
                  </a:moveTo>
                  <a:lnTo>
                    <a:pt x="943" y="2853"/>
                  </a:lnTo>
                  <a:lnTo>
                    <a:pt x="1307" y="2853"/>
                  </a:lnTo>
                  <a:lnTo>
                    <a:pt x="1307" y="2727"/>
                  </a:lnTo>
                  <a:lnTo>
                    <a:pt x="943" y="2727"/>
                  </a:lnTo>
                  <a:close/>
                  <a:moveTo>
                    <a:pt x="3407" y="2328"/>
                  </a:moveTo>
                  <a:lnTo>
                    <a:pt x="2754" y="2590"/>
                  </a:lnTo>
                  <a:lnTo>
                    <a:pt x="2936" y="2741"/>
                  </a:lnTo>
                  <a:lnTo>
                    <a:pt x="2970" y="2765"/>
                  </a:lnTo>
                  <a:lnTo>
                    <a:pt x="3005" y="2783"/>
                  </a:lnTo>
                  <a:lnTo>
                    <a:pt x="3042" y="2797"/>
                  </a:lnTo>
                  <a:lnTo>
                    <a:pt x="3081" y="2806"/>
                  </a:lnTo>
                  <a:lnTo>
                    <a:pt x="3121" y="2809"/>
                  </a:lnTo>
                  <a:lnTo>
                    <a:pt x="3161" y="2808"/>
                  </a:lnTo>
                  <a:lnTo>
                    <a:pt x="3201" y="2800"/>
                  </a:lnTo>
                  <a:lnTo>
                    <a:pt x="3240" y="2787"/>
                  </a:lnTo>
                  <a:lnTo>
                    <a:pt x="3429" y="2711"/>
                  </a:lnTo>
                  <a:lnTo>
                    <a:pt x="3452" y="2700"/>
                  </a:lnTo>
                  <a:lnTo>
                    <a:pt x="3470" y="2684"/>
                  </a:lnTo>
                  <a:lnTo>
                    <a:pt x="3485" y="2666"/>
                  </a:lnTo>
                  <a:lnTo>
                    <a:pt x="3496" y="2646"/>
                  </a:lnTo>
                  <a:lnTo>
                    <a:pt x="3504" y="2623"/>
                  </a:lnTo>
                  <a:lnTo>
                    <a:pt x="3506" y="2599"/>
                  </a:lnTo>
                  <a:lnTo>
                    <a:pt x="3504" y="2575"/>
                  </a:lnTo>
                  <a:lnTo>
                    <a:pt x="3497" y="2551"/>
                  </a:lnTo>
                  <a:lnTo>
                    <a:pt x="3407" y="2328"/>
                  </a:lnTo>
                  <a:close/>
                  <a:moveTo>
                    <a:pt x="353" y="2073"/>
                  </a:moveTo>
                  <a:lnTo>
                    <a:pt x="333" y="2076"/>
                  </a:lnTo>
                  <a:lnTo>
                    <a:pt x="315" y="2085"/>
                  </a:lnTo>
                  <a:lnTo>
                    <a:pt x="302" y="2099"/>
                  </a:lnTo>
                  <a:lnTo>
                    <a:pt x="292" y="2116"/>
                  </a:lnTo>
                  <a:lnTo>
                    <a:pt x="289" y="2136"/>
                  </a:lnTo>
                  <a:lnTo>
                    <a:pt x="289" y="2553"/>
                  </a:lnTo>
                  <a:lnTo>
                    <a:pt x="292" y="2572"/>
                  </a:lnTo>
                  <a:lnTo>
                    <a:pt x="302" y="2590"/>
                  </a:lnTo>
                  <a:lnTo>
                    <a:pt x="315" y="2604"/>
                  </a:lnTo>
                  <a:lnTo>
                    <a:pt x="333" y="2613"/>
                  </a:lnTo>
                  <a:lnTo>
                    <a:pt x="353" y="2616"/>
                  </a:lnTo>
                  <a:lnTo>
                    <a:pt x="713" y="2616"/>
                  </a:lnTo>
                  <a:lnTo>
                    <a:pt x="713" y="2073"/>
                  </a:lnTo>
                  <a:lnTo>
                    <a:pt x="353" y="2073"/>
                  </a:lnTo>
                  <a:close/>
                  <a:moveTo>
                    <a:pt x="3562" y="1955"/>
                  </a:moveTo>
                  <a:lnTo>
                    <a:pt x="3542" y="1957"/>
                  </a:lnTo>
                  <a:lnTo>
                    <a:pt x="3524" y="1966"/>
                  </a:lnTo>
                  <a:lnTo>
                    <a:pt x="3511" y="1980"/>
                  </a:lnTo>
                  <a:lnTo>
                    <a:pt x="3502" y="1998"/>
                  </a:lnTo>
                  <a:lnTo>
                    <a:pt x="3498" y="2017"/>
                  </a:lnTo>
                  <a:lnTo>
                    <a:pt x="3502" y="2038"/>
                  </a:lnTo>
                  <a:lnTo>
                    <a:pt x="3511" y="2055"/>
                  </a:lnTo>
                  <a:lnTo>
                    <a:pt x="3524" y="2068"/>
                  </a:lnTo>
                  <a:lnTo>
                    <a:pt x="3542" y="2077"/>
                  </a:lnTo>
                  <a:lnTo>
                    <a:pt x="3562" y="2081"/>
                  </a:lnTo>
                  <a:lnTo>
                    <a:pt x="3582" y="2077"/>
                  </a:lnTo>
                  <a:lnTo>
                    <a:pt x="3599" y="2068"/>
                  </a:lnTo>
                  <a:lnTo>
                    <a:pt x="3613" y="2055"/>
                  </a:lnTo>
                  <a:lnTo>
                    <a:pt x="3622" y="2038"/>
                  </a:lnTo>
                  <a:lnTo>
                    <a:pt x="3625" y="2017"/>
                  </a:lnTo>
                  <a:lnTo>
                    <a:pt x="3622" y="1998"/>
                  </a:lnTo>
                  <a:lnTo>
                    <a:pt x="3613" y="1980"/>
                  </a:lnTo>
                  <a:lnTo>
                    <a:pt x="3599" y="1966"/>
                  </a:lnTo>
                  <a:lnTo>
                    <a:pt x="3582" y="1957"/>
                  </a:lnTo>
                  <a:lnTo>
                    <a:pt x="3562" y="1955"/>
                  </a:lnTo>
                  <a:close/>
                  <a:moveTo>
                    <a:pt x="950" y="1428"/>
                  </a:moveTo>
                  <a:lnTo>
                    <a:pt x="921" y="1441"/>
                  </a:lnTo>
                  <a:lnTo>
                    <a:pt x="893" y="1458"/>
                  </a:lnTo>
                  <a:lnTo>
                    <a:pt x="871" y="1481"/>
                  </a:lnTo>
                  <a:lnTo>
                    <a:pt x="851" y="1507"/>
                  </a:lnTo>
                  <a:lnTo>
                    <a:pt x="837" y="1536"/>
                  </a:lnTo>
                  <a:lnTo>
                    <a:pt x="828" y="1568"/>
                  </a:lnTo>
                  <a:lnTo>
                    <a:pt x="824" y="1601"/>
                  </a:lnTo>
                  <a:lnTo>
                    <a:pt x="824" y="2616"/>
                  </a:lnTo>
                  <a:lnTo>
                    <a:pt x="1843" y="2616"/>
                  </a:lnTo>
                  <a:lnTo>
                    <a:pt x="1843" y="2489"/>
                  </a:lnTo>
                  <a:lnTo>
                    <a:pt x="1556" y="2489"/>
                  </a:lnTo>
                  <a:lnTo>
                    <a:pt x="1468" y="2487"/>
                  </a:lnTo>
                  <a:lnTo>
                    <a:pt x="1382" y="2478"/>
                  </a:lnTo>
                  <a:lnTo>
                    <a:pt x="1297" y="2462"/>
                  </a:lnTo>
                  <a:lnTo>
                    <a:pt x="1213" y="2441"/>
                  </a:lnTo>
                  <a:lnTo>
                    <a:pt x="1132" y="2414"/>
                  </a:lnTo>
                  <a:lnTo>
                    <a:pt x="1050" y="2382"/>
                  </a:lnTo>
                  <a:lnTo>
                    <a:pt x="1026" y="2369"/>
                  </a:lnTo>
                  <a:lnTo>
                    <a:pt x="1005" y="2352"/>
                  </a:lnTo>
                  <a:lnTo>
                    <a:pt x="985" y="2331"/>
                  </a:lnTo>
                  <a:lnTo>
                    <a:pt x="971" y="2309"/>
                  </a:lnTo>
                  <a:lnTo>
                    <a:pt x="960" y="2284"/>
                  </a:lnTo>
                  <a:lnTo>
                    <a:pt x="954" y="2256"/>
                  </a:lnTo>
                  <a:lnTo>
                    <a:pt x="950" y="2228"/>
                  </a:lnTo>
                  <a:lnTo>
                    <a:pt x="950" y="1428"/>
                  </a:lnTo>
                  <a:close/>
                  <a:moveTo>
                    <a:pt x="1062" y="1419"/>
                  </a:moveTo>
                  <a:lnTo>
                    <a:pt x="1062" y="2228"/>
                  </a:lnTo>
                  <a:lnTo>
                    <a:pt x="1065" y="2245"/>
                  </a:lnTo>
                  <a:lnTo>
                    <a:pt x="1071" y="2259"/>
                  </a:lnTo>
                  <a:lnTo>
                    <a:pt x="1082" y="2271"/>
                  </a:lnTo>
                  <a:lnTo>
                    <a:pt x="1095" y="2280"/>
                  </a:lnTo>
                  <a:lnTo>
                    <a:pt x="1171" y="2311"/>
                  </a:lnTo>
                  <a:lnTo>
                    <a:pt x="1248" y="2335"/>
                  </a:lnTo>
                  <a:lnTo>
                    <a:pt x="1248" y="1601"/>
                  </a:lnTo>
                  <a:lnTo>
                    <a:pt x="1251" y="1584"/>
                  </a:lnTo>
                  <a:lnTo>
                    <a:pt x="1259" y="1568"/>
                  </a:lnTo>
                  <a:lnTo>
                    <a:pt x="1271" y="1557"/>
                  </a:lnTo>
                  <a:lnTo>
                    <a:pt x="1286" y="1549"/>
                  </a:lnTo>
                  <a:lnTo>
                    <a:pt x="1304" y="1545"/>
                  </a:lnTo>
                  <a:lnTo>
                    <a:pt x="1321" y="1549"/>
                  </a:lnTo>
                  <a:lnTo>
                    <a:pt x="1337" y="1557"/>
                  </a:lnTo>
                  <a:lnTo>
                    <a:pt x="1348" y="1568"/>
                  </a:lnTo>
                  <a:lnTo>
                    <a:pt x="1356" y="1584"/>
                  </a:lnTo>
                  <a:lnTo>
                    <a:pt x="1360" y="1601"/>
                  </a:lnTo>
                  <a:lnTo>
                    <a:pt x="1360" y="2361"/>
                  </a:lnTo>
                  <a:lnTo>
                    <a:pt x="1424" y="2370"/>
                  </a:lnTo>
                  <a:lnTo>
                    <a:pt x="1490" y="2376"/>
                  </a:lnTo>
                  <a:lnTo>
                    <a:pt x="1556" y="2378"/>
                  </a:lnTo>
                  <a:lnTo>
                    <a:pt x="1961" y="2378"/>
                  </a:lnTo>
                  <a:lnTo>
                    <a:pt x="1961" y="2221"/>
                  </a:lnTo>
                  <a:lnTo>
                    <a:pt x="1958" y="2171"/>
                  </a:lnTo>
                  <a:lnTo>
                    <a:pt x="1949" y="2123"/>
                  </a:lnTo>
                  <a:lnTo>
                    <a:pt x="1936" y="2076"/>
                  </a:lnTo>
                  <a:lnTo>
                    <a:pt x="1915" y="2031"/>
                  </a:lnTo>
                  <a:lnTo>
                    <a:pt x="1890" y="1988"/>
                  </a:lnTo>
                  <a:lnTo>
                    <a:pt x="1566" y="1500"/>
                  </a:lnTo>
                  <a:lnTo>
                    <a:pt x="1547" y="1477"/>
                  </a:lnTo>
                  <a:lnTo>
                    <a:pt x="1525" y="1457"/>
                  </a:lnTo>
                  <a:lnTo>
                    <a:pt x="1500" y="1441"/>
                  </a:lnTo>
                  <a:lnTo>
                    <a:pt x="1473" y="1428"/>
                  </a:lnTo>
                  <a:lnTo>
                    <a:pt x="1445" y="1422"/>
                  </a:lnTo>
                  <a:lnTo>
                    <a:pt x="1414" y="1419"/>
                  </a:lnTo>
                  <a:lnTo>
                    <a:pt x="1062" y="1419"/>
                  </a:lnTo>
                  <a:close/>
                  <a:moveTo>
                    <a:pt x="2753" y="353"/>
                  </a:moveTo>
                  <a:lnTo>
                    <a:pt x="2749" y="361"/>
                  </a:lnTo>
                  <a:lnTo>
                    <a:pt x="2571" y="659"/>
                  </a:lnTo>
                  <a:lnTo>
                    <a:pt x="3419" y="1917"/>
                  </a:lnTo>
                  <a:lnTo>
                    <a:pt x="3437" y="1895"/>
                  </a:lnTo>
                  <a:lnTo>
                    <a:pt x="3460" y="1876"/>
                  </a:lnTo>
                  <a:lnTo>
                    <a:pt x="3485" y="1861"/>
                  </a:lnTo>
                  <a:lnTo>
                    <a:pt x="3512" y="1850"/>
                  </a:lnTo>
                  <a:lnTo>
                    <a:pt x="3541" y="1844"/>
                  </a:lnTo>
                  <a:lnTo>
                    <a:pt x="2753" y="353"/>
                  </a:lnTo>
                  <a:close/>
                  <a:moveTo>
                    <a:pt x="2334" y="320"/>
                  </a:moveTo>
                  <a:lnTo>
                    <a:pt x="1562" y="1348"/>
                  </a:lnTo>
                  <a:lnTo>
                    <a:pt x="1590" y="1366"/>
                  </a:lnTo>
                  <a:lnTo>
                    <a:pt x="1616" y="1387"/>
                  </a:lnTo>
                  <a:lnTo>
                    <a:pt x="1638" y="1411"/>
                  </a:lnTo>
                  <a:lnTo>
                    <a:pt x="1658" y="1439"/>
                  </a:lnTo>
                  <a:lnTo>
                    <a:pt x="1827" y="1690"/>
                  </a:lnTo>
                  <a:lnTo>
                    <a:pt x="2555" y="467"/>
                  </a:lnTo>
                  <a:lnTo>
                    <a:pt x="2551" y="467"/>
                  </a:lnTo>
                  <a:lnTo>
                    <a:pt x="2515" y="465"/>
                  </a:lnTo>
                  <a:lnTo>
                    <a:pt x="2481" y="457"/>
                  </a:lnTo>
                  <a:lnTo>
                    <a:pt x="2448" y="444"/>
                  </a:lnTo>
                  <a:lnTo>
                    <a:pt x="2419" y="427"/>
                  </a:lnTo>
                  <a:lnTo>
                    <a:pt x="2391" y="405"/>
                  </a:lnTo>
                  <a:lnTo>
                    <a:pt x="2369" y="380"/>
                  </a:lnTo>
                  <a:lnTo>
                    <a:pt x="2349" y="351"/>
                  </a:lnTo>
                  <a:lnTo>
                    <a:pt x="2334" y="320"/>
                  </a:lnTo>
                  <a:close/>
                  <a:moveTo>
                    <a:pt x="2551" y="111"/>
                  </a:moveTo>
                  <a:lnTo>
                    <a:pt x="2523" y="115"/>
                  </a:lnTo>
                  <a:lnTo>
                    <a:pt x="2498" y="124"/>
                  </a:lnTo>
                  <a:lnTo>
                    <a:pt x="2475" y="138"/>
                  </a:lnTo>
                  <a:lnTo>
                    <a:pt x="2456" y="157"/>
                  </a:lnTo>
                  <a:lnTo>
                    <a:pt x="2441" y="180"/>
                  </a:lnTo>
                  <a:lnTo>
                    <a:pt x="2432" y="205"/>
                  </a:lnTo>
                  <a:lnTo>
                    <a:pt x="2429" y="234"/>
                  </a:lnTo>
                  <a:lnTo>
                    <a:pt x="2432" y="262"/>
                  </a:lnTo>
                  <a:lnTo>
                    <a:pt x="2441" y="287"/>
                  </a:lnTo>
                  <a:lnTo>
                    <a:pt x="2456" y="311"/>
                  </a:lnTo>
                  <a:lnTo>
                    <a:pt x="2475" y="329"/>
                  </a:lnTo>
                  <a:lnTo>
                    <a:pt x="2498" y="344"/>
                  </a:lnTo>
                  <a:lnTo>
                    <a:pt x="2523" y="353"/>
                  </a:lnTo>
                  <a:lnTo>
                    <a:pt x="2551" y="356"/>
                  </a:lnTo>
                  <a:lnTo>
                    <a:pt x="2576" y="354"/>
                  </a:lnTo>
                  <a:lnTo>
                    <a:pt x="2599" y="347"/>
                  </a:lnTo>
                  <a:lnTo>
                    <a:pt x="2619" y="336"/>
                  </a:lnTo>
                  <a:lnTo>
                    <a:pt x="2638" y="321"/>
                  </a:lnTo>
                  <a:lnTo>
                    <a:pt x="2653" y="303"/>
                  </a:lnTo>
                  <a:lnTo>
                    <a:pt x="2656" y="298"/>
                  </a:lnTo>
                  <a:lnTo>
                    <a:pt x="2657" y="297"/>
                  </a:lnTo>
                  <a:lnTo>
                    <a:pt x="2666" y="278"/>
                  </a:lnTo>
                  <a:lnTo>
                    <a:pt x="2672" y="256"/>
                  </a:lnTo>
                  <a:lnTo>
                    <a:pt x="2674" y="234"/>
                  </a:lnTo>
                  <a:lnTo>
                    <a:pt x="2672" y="210"/>
                  </a:lnTo>
                  <a:lnTo>
                    <a:pt x="2665" y="187"/>
                  </a:lnTo>
                  <a:lnTo>
                    <a:pt x="2661" y="180"/>
                  </a:lnTo>
                  <a:lnTo>
                    <a:pt x="2658" y="174"/>
                  </a:lnTo>
                  <a:lnTo>
                    <a:pt x="2643" y="153"/>
                  </a:lnTo>
                  <a:lnTo>
                    <a:pt x="2625" y="136"/>
                  </a:lnTo>
                  <a:lnTo>
                    <a:pt x="2603" y="123"/>
                  </a:lnTo>
                  <a:lnTo>
                    <a:pt x="2579" y="115"/>
                  </a:lnTo>
                  <a:lnTo>
                    <a:pt x="2551" y="111"/>
                  </a:lnTo>
                  <a:close/>
                  <a:moveTo>
                    <a:pt x="2551" y="0"/>
                  </a:moveTo>
                  <a:lnTo>
                    <a:pt x="2591" y="3"/>
                  </a:lnTo>
                  <a:lnTo>
                    <a:pt x="2630" y="12"/>
                  </a:lnTo>
                  <a:lnTo>
                    <a:pt x="2665" y="28"/>
                  </a:lnTo>
                  <a:lnTo>
                    <a:pt x="2696" y="50"/>
                  </a:lnTo>
                  <a:lnTo>
                    <a:pt x="2724" y="75"/>
                  </a:lnTo>
                  <a:lnTo>
                    <a:pt x="2747" y="106"/>
                  </a:lnTo>
                  <a:lnTo>
                    <a:pt x="2766" y="138"/>
                  </a:lnTo>
                  <a:lnTo>
                    <a:pt x="3713" y="1930"/>
                  </a:lnTo>
                  <a:lnTo>
                    <a:pt x="3726" y="1957"/>
                  </a:lnTo>
                  <a:lnTo>
                    <a:pt x="3734" y="1986"/>
                  </a:lnTo>
                  <a:lnTo>
                    <a:pt x="3736" y="2017"/>
                  </a:lnTo>
                  <a:lnTo>
                    <a:pt x="3733" y="2050"/>
                  </a:lnTo>
                  <a:lnTo>
                    <a:pt x="3725" y="2080"/>
                  </a:lnTo>
                  <a:lnTo>
                    <a:pt x="3711" y="2108"/>
                  </a:lnTo>
                  <a:lnTo>
                    <a:pt x="3693" y="2132"/>
                  </a:lnTo>
                  <a:lnTo>
                    <a:pt x="3672" y="2153"/>
                  </a:lnTo>
                  <a:lnTo>
                    <a:pt x="3646" y="2170"/>
                  </a:lnTo>
                  <a:lnTo>
                    <a:pt x="3617" y="2183"/>
                  </a:lnTo>
                  <a:lnTo>
                    <a:pt x="3617" y="2612"/>
                  </a:lnTo>
                  <a:lnTo>
                    <a:pt x="3617" y="2620"/>
                  </a:lnTo>
                  <a:lnTo>
                    <a:pt x="3616" y="2626"/>
                  </a:lnTo>
                  <a:lnTo>
                    <a:pt x="3609" y="2660"/>
                  </a:lnTo>
                  <a:lnTo>
                    <a:pt x="3597" y="2693"/>
                  </a:lnTo>
                  <a:lnTo>
                    <a:pt x="3580" y="2724"/>
                  </a:lnTo>
                  <a:lnTo>
                    <a:pt x="3559" y="2752"/>
                  </a:lnTo>
                  <a:lnTo>
                    <a:pt x="3533" y="2777"/>
                  </a:lnTo>
                  <a:lnTo>
                    <a:pt x="3504" y="2799"/>
                  </a:lnTo>
                  <a:lnTo>
                    <a:pt x="3471" y="2815"/>
                  </a:lnTo>
                  <a:lnTo>
                    <a:pt x="3282" y="2891"/>
                  </a:lnTo>
                  <a:lnTo>
                    <a:pt x="3231" y="2908"/>
                  </a:lnTo>
                  <a:lnTo>
                    <a:pt x="3180" y="2918"/>
                  </a:lnTo>
                  <a:lnTo>
                    <a:pt x="3127" y="2920"/>
                  </a:lnTo>
                  <a:lnTo>
                    <a:pt x="3081" y="2918"/>
                  </a:lnTo>
                  <a:lnTo>
                    <a:pt x="3034" y="2910"/>
                  </a:lnTo>
                  <a:lnTo>
                    <a:pt x="2989" y="2896"/>
                  </a:lnTo>
                  <a:lnTo>
                    <a:pt x="2946" y="2878"/>
                  </a:lnTo>
                  <a:lnTo>
                    <a:pt x="2904" y="2855"/>
                  </a:lnTo>
                  <a:lnTo>
                    <a:pt x="2865" y="2826"/>
                  </a:lnTo>
                  <a:lnTo>
                    <a:pt x="2454" y="2487"/>
                  </a:lnTo>
                  <a:lnTo>
                    <a:pt x="2442" y="2474"/>
                  </a:lnTo>
                  <a:lnTo>
                    <a:pt x="2436" y="2458"/>
                  </a:lnTo>
                  <a:lnTo>
                    <a:pt x="2433" y="2441"/>
                  </a:lnTo>
                  <a:lnTo>
                    <a:pt x="2438" y="2424"/>
                  </a:lnTo>
                  <a:lnTo>
                    <a:pt x="2447" y="2409"/>
                  </a:lnTo>
                  <a:lnTo>
                    <a:pt x="2459" y="2397"/>
                  </a:lnTo>
                  <a:lnTo>
                    <a:pt x="2475" y="2390"/>
                  </a:lnTo>
                  <a:lnTo>
                    <a:pt x="2492" y="2388"/>
                  </a:lnTo>
                  <a:lnTo>
                    <a:pt x="2509" y="2393"/>
                  </a:lnTo>
                  <a:lnTo>
                    <a:pt x="2525" y="2402"/>
                  </a:lnTo>
                  <a:lnTo>
                    <a:pt x="2656" y="2509"/>
                  </a:lnTo>
                  <a:lnTo>
                    <a:pt x="3418" y="2203"/>
                  </a:lnTo>
                  <a:lnTo>
                    <a:pt x="3431" y="2200"/>
                  </a:lnTo>
                  <a:lnTo>
                    <a:pt x="3446" y="2200"/>
                  </a:lnTo>
                  <a:lnTo>
                    <a:pt x="3460" y="2204"/>
                  </a:lnTo>
                  <a:lnTo>
                    <a:pt x="3472" y="2211"/>
                  </a:lnTo>
                  <a:lnTo>
                    <a:pt x="3482" y="2221"/>
                  </a:lnTo>
                  <a:lnTo>
                    <a:pt x="3490" y="2235"/>
                  </a:lnTo>
                  <a:lnTo>
                    <a:pt x="3506" y="2275"/>
                  </a:lnTo>
                  <a:lnTo>
                    <a:pt x="3506" y="2183"/>
                  </a:lnTo>
                  <a:lnTo>
                    <a:pt x="3478" y="2170"/>
                  </a:lnTo>
                  <a:lnTo>
                    <a:pt x="3452" y="2152"/>
                  </a:lnTo>
                  <a:lnTo>
                    <a:pt x="3429" y="2131"/>
                  </a:lnTo>
                  <a:lnTo>
                    <a:pt x="3411" y="2106"/>
                  </a:lnTo>
                  <a:lnTo>
                    <a:pt x="2507" y="766"/>
                  </a:lnTo>
                  <a:lnTo>
                    <a:pt x="1895" y="1794"/>
                  </a:lnTo>
                  <a:lnTo>
                    <a:pt x="1983" y="1926"/>
                  </a:lnTo>
                  <a:lnTo>
                    <a:pt x="2010" y="1971"/>
                  </a:lnTo>
                  <a:lnTo>
                    <a:pt x="2032" y="2018"/>
                  </a:lnTo>
                  <a:lnTo>
                    <a:pt x="2050" y="2067"/>
                  </a:lnTo>
                  <a:lnTo>
                    <a:pt x="2063" y="2117"/>
                  </a:lnTo>
                  <a:lnTo>
                    <a:pt x="2069" y="2168"/>
                  </a:lnTo>
                  <a:lnTo>
                    <a:pt x="2073" y="2221"/>
                  </a:lnTo>
                  <a:lnTo>
                    <a:pt x="2073" y="2433"/>
                  </a:lnTo>
                  <a:lnTo>
                    <a:pt x="2072" y="2441"/>
                  </a:lnTo>
                  <a:lnTo>
                    <a:pt x="2069" y="2452"/>
                  </a:lnTo>
                  <a:lnTo>
                    <a:pt x="2066" y="2460"/>
                  </a:lnTo>
                  <a:lnTo>
                    <a:pt x="2064" y="2463"/>
                  </a:lnTo>
                  <a:lnTo>
                    <a:pt x="2063" y="2465"/>
                  </a:lnTo>
                  <a:lnTo>
                    <a:pt x="2060" y="2469"/>
                  </a:lnTo>
                  <a:lnTo>
                    <a:pt x="2059" y="2469"/>
                  </a:lnTo>
                  <a:lnTo>
                    <a:pt x="2058" y="2471"/>
                  </a:lnTo>
                  <a:lnTo>
                    <a:pt x="2056" y="2473"/>
                  </a:lnTo>
                  <a:lnTo>
                    <a:pt x="2055" y="2474"/>
                  </a:lnTo>
                  <a:lnTo>
                    <a:pt x="2052" y="2477"/>
                  </a:lnTo>
                  <a:lnTo>
                    <a:pt x="2050" y="2478"/>
                  </a:lnTo>
                  <a:lnTo>
                    <a:pt x="2048" y="2480"/>
                  </a:lnTo>
                  <a:lnTo>
                    <a:pt x="2043" y="2482"/>
                  </a:lnTo>
                  <a:lnTo>
                    <a:pt x="2039" y="2485"/>
                  </a:lnTo>
                  <a:lnTo>
                    <a:pt x="2039" y="2485"/>
                  </a:lnTo>
                  <a:lnTo>
                    <a:pt x="2035" y="2486"/>
                  </a:lnTo>
                  <a:lnTo>
                    <a:pt x="2033" y="2487"/>
                  </a:lnTo>
                  <a:lnTo>
                    <a:pt x="2031" y="2488"/>
                  </a:lnTo>
                  <a:lnTo>
                    <a:pt x="2027" y="2488"/>
                  </a:lnTo>
                  <a:lnTo>
                    <a:pt x="2024" y="2489"/>
                  </a:lnTo>
                  <a:lnTo>
                    <a:pt x="2023" y="2489"/>
                  </a:lnTo>
                  <a:lnTo>
                    <a:pt x="2019" y="2489"/>
                  </a:lnTo>
                  <a:lnTo>
                    <a:pt x="2017" y="2489"/>
                  </a:lnTo>
                  <a:lnTo>
                    <a:pt x="1954" y="2489"/>
                  </a:lnTo>
                  <a:lnTo>
                    <a:pt x="1954" y="2672"/>
                  </a:lnTo>
                  <a:lnTo>
                    <a:pt x="1950" y="2689"/>
                  </a:lnTo>
                  <a:lnTo>
                    <a:pt x="1942" y="2705"/>
                  </a:lnTo>
                  <a:lnTo>
                    <a:pt x="1931" y="2716"/>
                  </a:lnTo>
                  <a:lnTo>
                    <a:pt x="1915" y="2724"/>
                  </a:lnTo>
                  <a:lnTo>
                    <a:pt x="1898" y="2727"/>
                  </a:lnTo>
                  <a:lnTo>
                    <a:pt x="1418" y="2727"/>
                  </a:lnTo>
                  <a:lnTo>
                    <a:pt x="1418" y="2853"/>
                  </a:lnTo>
                  <a:lnTo>
                    <a:pt x="1838" y="2853"/>
                  </a:lnTo>
                  <a:lnTo>
                    <a:pt x="1890" y="2857"/>
                  </a:lnTo>
                  <a:lnTo>
                    <a:pt x="1940" y="2866"/>
                  </a:lnTo>
                  <a:lnTo>
                    <a:pt x="1988" y="2882"/>
                  </a:lnTo>
                  <a:lnTo>
                    <a:pt x="2032" y="2902"/>
                  </a:lnTo>
                  <a:lnTo>
                    <a:pt x="2074" y="2927"/>
                  </a:lnTo>
                  <a:lnTo>
                    <a:pt x="2112" y="2958"/>
                  </a:lnTo>
                  <a:lnTo>
                    <a:pt x="2146" y="2992"/>
                  </a:lnTo>
                  <a:lnTo>
                    <a:pt x="2177" y="3030"/>
                  </a:lnTo>
                  <a:lnTo>
                    <a:pt x="2202" y="3072"/>
                  </a:lnTo>
                  <a:lnTo>
                    <a:pt x="2222" y="3116"/>
                  </a:lnTo>
                  <a:lnTo>
                    <a:pt x="2238" y="3164"/>
                  </a:lnTo>
                  <a:lnTo>
                    <a:pt x="2247" y="3214"/>
                  </a:lnTo>
                  <a:lnTo>
                    <a:pt x="2251" y="3266"/>
                  </a:lnTo>
                  <a:lnTo>
                    <a:pt x="2247" y="3317"/>
                  </a:lnTo>
                  <a:lnTo>
                    <a:pt x="2238" y="3367"/>
                  </a:lnTo>
                  <a:lnTo>
                    <a:pt x="2222" y="3415"/>
                  </a:lnTo>
                  <a:lnTo>
                    <a:pt x="2202" y="3460"/>
                  </a:lnTo>
                  <a:lnTo>
                    <a:pt x="2177" y="3501"/>
                  </a:lnTo>
                  <a:lnTo>
                    <a:pt x="2146" y="3540"/>
                  </a:lnTo>
                  <a:lnTo>
                    <a:pt x="2112" y="3574"/>
                  </a:lnTo>
                  <a:lnTo>
                    <a:pt x="2074" y="3604"/>
                  </a:lnTo>
                  <a:lnTo>
                    <a:pt x="2032" y="3630"/>
                  </a:lnTo>
                  <a:lnTo>
                    <a:pt x="1988" y="3651"/>
                  </a:lnTo>
                  <a:lnTo>
                    <a:pt x="1940" y="3666"/>
                  </a:lnTo>
                  <a:lnTo>
                    <a:pt x="1890" y="3676"/>
                  </a:lnTo>
                  <a:lnTo>
                    <a:pt x="1838" y="3678"/>
                  </a:lnTo>
                  <a:lnTo>
                    <a:pt x="413" y="3678"/>
                  </a:lnTo>
                  <a:lnTo>
                    <a:pt x="360" y="3676"/>
                  </a:lnTo>
                  <a:lnTo>
                    <a:pt x="311" y="3666"/>
                  </a:lnTo>
                  <a:lnTo>
                    <a:pt x="263" y="3651"/>
                  </a:lnTo>
                  <a:lnTo>
                    <a:pt x="219" y="3630"/>
                  </a:lnTo>
                  <a:lnTo>
                    <a:pt x="177" y="3604"/>
                  </a:lnTo>
                  <a:lnTo>
                    <a:pt x="138" y="3574"/>
                  </a:lnTo>
                  <a:lnTo>
                    <a:pt x="104" y="3540"/>
                  </a:lnTo>
                  <a:lnTo>
                    <a:pt x="74" y="3501"/>
                  </a:lnTo>
                  <a:lnTo>
                    <a:pt x="49" y="3460"/>
                  </a:lnTo>
                  <a:lnTo>
                    <a:pt x="28" y="3415"/>
                  </a:lnTo>
                  <a:lnTo>
                    <a:pt x="12" y="3367"/>
                  </a:lnTo>
                  <a:lnTo>
                    <a:pt x="3" y="3317"/>
                  </a:lnTo>
                  <a:lnTo>
                    <a:pt x="0" y="3266"/>
                  </a:lnTo>
                  <a:lnTo>
                    <a:pt x="3" y="3214"/>
                  </a:lnTo>
                  <a:lnTo>
                    <a:pt x="12" y="3164"/>
                  </a:lnTo>
                  <a:lnTo>
                    <a:pt x="28" y="3116"/>
                  </a:lnTo>
                  <a:lnTo>
                    <a:pt x="49" y="3072"/>
                  </a:lnTo>
                  <a:lnTo>
                    <a:pt x="74" y="3030"/>
                  </a:lnTo>
                  <a:lnTo>
                    <a:pt x="104" y="2992"/>
                  </a:lnTo>
                  <a:lnTo>
                    <a:pt x="138" y="2958"/>
                  </a:lnTo>
                  <a:lnTo>
                    <a:pt x="177" y="2927"/>
                  </a:lnTo>
                  <a:lnTo>
                    <a:pt x="219" y="2902"/>
                  </a:lnTo>
                  <a:lnTo>
                    <a:pt x="263" y="2882"/>
                  </a:lnTo>
                  <a:lnTo>
                    <a:pt x="311" y="2866"/>
                  </a:lnTo>
                  <a:lnTo>
                    <a:pt x="360" y="2857"/>
                  </a:lnTo>
                  <a:lnTo>
                    <a:pt x="413" y="2853"/>
                  </a:lnTo>
                  <a:lnTo>
                    <a:pt x="832" y="2853"/>
                  </a:lnTo>
                  <a:lnTo>
                    <a:pt x="832" y="2727"/>
                  </a:lnTo>
                  <a:lnTo>
                    <a:pt x="353" y="2727"/>
                  </a:lnTo>
                  <a:lnTo>
                    <a:pt x="317" y="2724"/>
                  </a:lnTo>
                  <a:lnTo>
                    <a:pt x="284" y="2714"/>
                  </a:lnTo>
                  <a:lnTo>
                    <a:pt x="255" y="2698"/>
                  </a:lnTo>
                  <a:lnTo>
                    <a:pt x="229" y="2676"/>
                  </a:lnTo>
                  <a:lnTo>
                    <a:pt x="209" y="2650"/>
                  </a:lnTo>
                  <a:lnTo>
                    <a:pt x="192" y="2621"/>
                  </a:lnTo>
                  <a:lnTo>
                    <a:pt x="181" y="2588"/>
                  </a:lnTo>
                  <a:lnTo>
                    <a:pt x="178" y="2553"/>
                  </a:lnTo>
                  <a:lnTo>
                    <a:pt x="178" y="2136"/>
                  </a:lnTo>
                  <a:lnTo>
                    <a:pt x="181" y="2101"/>
                  </a:lnTo>
                  <a:lnTo>
                    <a:pt x="192" y="2068"/>
                  </a:lnTo>
                  <a:lnTo>
                    <a:pt x="209" y="2039"/>
                  </a:lnTo>
                  <a:lnTo>
                    <a:pt x="229" y="2013"/>
                  </a:lnTo>
                  <a:lnTo>
                    <a:pt x="255" y="1991"/>
                  </a:lnTo>
                  <a:lnTo>
                    <a:pt x="284" y="1975"/>
                  </a:lnTo>
                  <a:lnTo>
                    <a:pt x="317" y="1965"/>
                  </a:lnTo>
                  <a:lnTo>
                    <a:pt x="353" y="1962"/>
                  </a:lnTo>
                  <a:lnTo>
                    <a:pt x="713" y="1962"/>
                  </a:lnTo>
                  <a:lnTo>
                    <a:pt x="713" y="1601"/>
                  </a:lnTo>
                  <a:lnTo>
                    <a:pt x="717" y="1558"/>
                  </a:lnTo>
                  <a:lnTo>
                    <a:pt x="726" y="1517"/>
                  </a:lnTo>
                  <a:lnTo>
                    <a:pt x="740" y="1477"/>
                  </a:lnTo>
                  <a:lnTo>
                    <a:pt x="761" y="1442"/>
                  </a:lnTo>
                  <a:lnTo>
                    <a:pt x="785" y="1409"/>
                  </a:lnTo>
                  <a:lnTo>
                    <a:pt x="814" y="1380"/>
                  </a:lnTo>
                  <a:lnTo>
                    <a:pt x="847" y="1355"/>
                  </a:lnTo>
                  <a:lnTo>
                    <a:pt x="883" y="1335"/>
                  </a:lnTo>
                  <a:lnTo>
                    <a:pt x="922" y="1321"/>
                  </a:lnTo>
                  <a:lnTo>
                    <a:pt x="963" y="1310"/>
                  </a:lnTo>
                  <a:lnTo>
                    <a:pt x="1007" y="1308"/>
                  </a:lnTo>
                  <a:lnTo>
                    <a:pt x="1414" y="1308"/>
                  </a:lnTo>
                  <a:lnTo>
                    <a:pt x="1452" y="1310"/>
                  </a:lnTo>
                  <a:lnTo>
                    <a:pt x="2359" y="101"/>
                  </a:lnTo>
                  <a:lnTo>
                    <a:pt x="2359" y="101"/>
                  </a:lnTo>
                  <a:lnTo>
                    <a:pt x="2382" y="73"/>
                  </a:lnTo>
                  <a:lnTo>
                    <a:pt x="2410" y="48"/>
                  </a:lnTo>
                  <a:lnTo>
                    <a:pt x="2441" y="27"/>
                  </a:lnTo>
                  <a:lnTo>
                    <a:pt x="2475" y="12"/>
                  </a:lnTo>
                  <a:lnTo>
                    <a:pt x="2513" y="3"/>
                  </a:lnTo>
                  <a:lnTo>
                    <a:pt x="2551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</p:grpSp>
      <p:sp>
        <p:nvSpPr>
          <p:cNvPr id="23625" name="TextBox 158">
            <a:extLst>
              <a:ext uri="{FF2B5EF4-FFF2-40B4-BE49-F238E27FC236}">
                <a16:creationId xmlns:a16="http://schemas.microsoft.com/office/drawing/2014/main" id="{E039C87F-72AD-4054-B63A-554ACFFB9E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4663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6" name="TextBox 159">
            <a:extLst>
              <a:ext uri="{FF2B5EF4-FFF2-40B4-BE49-F238E27FC236}">
                <a16:creationId xmlns:a16="http://schemas.microsoft.com/office/drawing/2014/main" id="{C89D28E8-6E73-4458-A352-42A749EC09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3488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7" name="TextBox 127">
            <a:extLst>
              <a:ext uri="{FF2B5EF4-FFF2-40B4-BE49-F238E27FC236}">
                <a16:creationId xmlns:a16="http://schemas.microsoft.com/office/drawing/2014/main" id="{D2C4F5E9-E854-4896-8355-45DEC69063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7813" y="6378575"/>
            <a:ext cx="426243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Sources: National Bureau of Statistics, World Bank Report on Doing Business in Nigeria 2018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climate-</a:t>
            </a:r>
            <a:r>
              <a:rPr lang="en-GB" altLang="en-US" sz="800" dirty="0" err="1">
                <a:latin typeface="Calibri" panose="020F0502020204030204" pitchFamily="34" charset="0"/>
              </a:rPr>
              <a:t>data.org</a:t>
            </a:r>
            <a:r>
              <a:rPr lang="en-GB" altLang="en-US" sz="800" dirty="0">
                <a:latin typeface="Calibri" panose="020F0502020204030204" pitchFamily="34" charset="0"/>
              </a:rPr>
              <a:t>, State Government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Exchange rate= $1/N305 (Central Bank of Nigeria)</a:t>
            </a:r>
          </a:p>
        </p:txBody>
      </p:sp>
      <p:sp>
        <p:nvSpPr>
          <p:cNvPr id="23628" name="TextBox 128">
            <a:extLst>
              <a:ext uri="{FF2B5EF4-FFF2-40B4-BE49-F238E27FC236}">
                <a16:creationId xmlns:a16="http://schemas.microsoft.com/office/drawing/2014/main" id="{409BCC6F-A5F0-4C79-BB4A-38A1ABC14F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18122" y="3649889"/>
            <a:ext cx="49564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Health</a:t>
            </a:r>
          </a:p>
        </p:txBody>
      </p:sp>
      <p:sp>
        <p:nvSpPr>
          <p:cNvPr id="23629" name="TextBox 129">
            <a:extLst>
              <a:ext uri="{FF2B5EF4-FFF2-40B4-BE49-F238E27FC236}">
                <a16:creationId xmlns:a16="http://schemas.microsoft.com/office/drawing/2014/main" id="{489E7B41-20C9-4493-8E7D-07238EB8FA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51467" y="3654980"/>
            <a:ext cx="550151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Seaport</a:t>
            </a:r>
          </a:p>
        </p:txBody>
      </p:sp>
      <p:sp>
        <p:nvSpPr>
          <p:cNvPr id="23630" name="TextBox 130">
            <a:extLst>
              <a:ext uri="{FF2B5EF4-FFF2-40B4-BE49-F238E27FC236}">
                <a16:creationId xmlns:a16="http://schemas.microsoft.com/office/drawing/2014/main" id="{048DE5D8-5309-42DA-9D97-2935A10CB7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31" name="TextBox 131">
            <a:extLst>
              <a:ext uri="{FF2B5EF4-FFF2-40B4-BE49-F238E27FC236}">
                <a16:creationId xmlns:a16="http://schemas.microsoft.com/office/drawing/2014/main" id="{FF8B6C80-43E2-43AF-A364-A31845F05C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21588" y="3656613"/>
            <a:ext cx="37061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Fish</a:t>
            </a:r>
          </a:p>
        </p:txBody>
      </p:sp>
      <p:sp>
        <p:nvSpPr>
          <p:cNvPr id="23632" name="TextBox 132">
            <a:extLst>
              <a:ext uri="{FF2B5EF4-FFF2-40B4-BE49-F238E27FC236}">
                <a16:creationId xmlns:a16="http://schemas.microsoft.com/office/drawing/2014/main" id="{A1C640C1-61D1-4BA5-8A76-E684397E8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80014" y="3650683"/>
            <a:ext cx="902811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Petrochemicals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238751" y="3833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23638" name="TextBox 141">
            <a:extLst>
              <a:ext uri="{FF2B5EF4-FFF2-40B4-BE49-F238E27FC236}">
                <a16:creationId xmlns:a16="http://schemas.microsoft.com/office/drawing/2014/main" id="{EE481231-8673-4FD7-B5CC-900AEE7A9F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8233" y="3652271"/>
            <a:ext cx="76174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Aquaculture</a:t>
            </a:r>
          </a:p>
        </p:txBody>
      </p:sp>
      <p:sp>
        <p:nvSpPr>
          <p:cNvPr id="23649" name="TextBox 165">
            <a:extLst>
              <a:ext uri="{FF2B5EF4-FFF2-40B4-BE49-F238E27FC236}">
                <a16:creationId xmlns:a16="http://schemas.microsoft.com/office/drawing/2014/main" id="{1242633E-9CB1-48ED-83F4-2223DFC7ED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33611" y="4459560"/>
            <a:ext cx="65274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Education</a:t>
            </a:r>
          </a:p>
        </p:txBody>
      </p:sp>
      <p:sp>
        <p:nvSpPr>
          <p:cNvPr id="23650" name="TextBox 166">
            <a:extLst>
              <a:ext uri="{FF2B5EF4-FFF2-40B4-BE49-F238E27FC236}">
                <a16:creationId xmlns:a16="http://schemas.microsoft.com/office/drawing/2014/main" id="{6B51369B-8FA6-464A-B908-12B0FFE6B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04216" y="4458812"/>
            <a:ext cx="55175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Cassava</a:t>
            </a:r>
          </a:p>
        </p:txBody>
      </p:sp>
      <p:sp>
        <p:nvSpPr>
          <p:cNvPr id="23651" name="TextBox 167">
            <a:extLst>
              <a:ext uri="{FF2B5EF4-FFF2-40B4-BE49-F238E27FC236}">
                <a16:creationId xmlns:a16="http://schemas.microsoft.com/office/drawing/2014/main" id="{4F9404E1-8339-401B-8B10-4C7D1A8CEC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06461" y="4457881"/>
            <a:ext cx="38023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Rice</a:t>
            </a:r>
          </a:p>
        </p:txBody>
      </p:sp>
      <p:sp>
        <p:nvSpPr>
          <p:cNvPr id="23652" name="TextBox 168">
            <a:extLst>
              <a:ext uri="{FF2B5EF4-FFF2-40B4-BE49-F238E27FC236}">
                <a16:creationId xmlns:a16="http://schemas.microsoft.com/office/drawing/2014/main" id="{1C04917D-B2C3-4C21-8CC2-A45C349B4B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36881" y="4457133"/>
            <a:ext cx="61747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Oil &amp; Gas</a:t>
            </a:r>
          </a:p>
        </p:txBody>
      </p:sp>
      <p:sp>
        <p:nvSpPr>
          <p:cNvPr id="23653" name="TextBox 169">
            <a:extLst>
              <a:ext uri="{FF2B5EF4-FFF2-40B4-BE49-F238E27FC236}">
                <a16:creationId xmlns:a16="http://schemas.microsoft.com/office/drawing/2014/main" id="{4BADA327-4F2D-4897-B7C0-4647A1484B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3926" y="4457973"/>
            <a:ext cx="468398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Maize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8A28B48-1841-45BB-BFBC-EADE77B37C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0947682"/>
              </p:ext>
            </p:extLst>
          </p:nvPr>
        </p:nvGraphicFramePr>
        <p:xfrm>
          <a:off x="2779712" y="2589213"/>
          <a:ext cx="1482725" cy="812800"/>
        </p:xfrm>
        <a:graphic>
          <a:graphicData uri="http://schemas.openxmlformats.org/drawingml/2006/table">
            <a:tbl>
              <a:tblPr/>
              <a:tblGrid>
                <a:gridCol w="11367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9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32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GB" sz="1000" b="1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Domestic</a:t>
                      </a:r>
                      <a:r>
                        <a:rPr lang="en-GB" sz="10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US" sz="1000" b="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International 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Yes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Railway</a:t>
                      </a:r>
                      <a:r>
                        <a:rPr lang="en-GB" sz="1000" b="1" kern="1200" baseline="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 Station</a:t>
                      </a:r>
                      <a:endParaRPr lang="en-GB" sz="1000" b="1" kern="1200" dirty="0">
                        <a:solidFill>
                          <a:srgbClr val="292929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32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Sea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7" name="TextBox 136">
            <a:extLst>
              <a:ext uri="{FF2B5EF4-FFF2-40B4-BE49-F238E27FC236}">
                <a16:creationId xmlns:a16="http://schemas.microsoft.com/office/drawing/2014/main" id="{2F4C4876-7073-4C13-A183-127A8909BDC0}"/>
              </a:ext>
            </a:extLst>
          </p:cNvPr>
          <p:cNvSpPr txBox="1"/>
          <p:nvPr/>
        </p:nvSpPr>
        <p:spPr>
          <a:xfrm>
            <a:off x="538163" y="5268913"/>
            <a:ext cx="373856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For further details</a:t>
            </a:r>
          </a:p>
        </p:txBody>
      </p:sp>
      <p:sp>
        <p:nvSpPr>
          <p:cNvPr id="23676" name="TextBox 156">
            <a:extLst>
              <a:ext uri="{FF2B5EF4-FFF2-40B4-BE49-F238E27FC236}">
                <a16:creationId xmlns:a16="http://schemas.microsoft.com/office/drawing/2014/main" id="{95D66AAF-6B48-4B9E-9E5B-F1BB063A89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6300" y="6342063"/>
            <a:ext cx="37306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Abbreviations: </a:t>
            </a:r>
            <a:r>
              <a:rPr lang="en-GB" altLang="en-US" sz="800" b="1" dirty="0">
                <a:latin typeface="Calibri" panose="020F0502020204030204" pitchFamily="34" charset="0"/>
              </a:rPr>
              <a:t>	NICPS</a:t>
            </a:r>
            <a:r>
              <a:rPr lang="en-GB" altLang="en-US" sz="800" dirty="0">
                <a:latin typeface="Calibri" panose="020F0502020204030204" pitchFamily="34" charset="0"/>
              </a:rPr>
              <a:t>: Nigerian Investment Certification Programme for States              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	</a:t>
            </a:r>
            <a:r>
              <a:rPr lang="en-GB" altLang="en-US" sz="800" b="1" dirty="0">
                <a:latin typeface="Calibri" panose="020F0502020204030204" pitchFamily="34" charset="0"/>
              </a:rPr>
              <a:t>IGR</a:t>
            </a:r>
            <a:r>
              <a:rPr lang="en-GB" altLang="en-US" sz="800" dirty="0">
                <a:latin typeface="Calibri" panose="020F0502020204030204" pitchFamily="34" charset="0"/>
              </a:rPr>
              <a:t>:     Internal Generated Revenue</a:t>
            </a:r>
          </a:p>
        </p:txBody>
      </p:sp>
      <p:sp>
        <p:nvSpPr>
          <p:cNvPr id="23678" name="TextBox 152">
            <a:extLst>
              <a:ext uri="{FF2B5EF4-FFF2-40B4-BE49-F238E27FC236}">
                <a16:creationId xmlns:a16="http://schemas.microsoft.com/office/drawing/2014/main" id="{BFAF6896-F732-45FC-AC47-950DF99D9E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4575" y="1134205"/>
            <a:ext cx="3446463" cy="1492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15888" indent="-11588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Highest producers of liquefied natural gas (LNG) in the country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The largest gas reservoir (18 </a:t>
            </a:r>
            <a:r>
              <a:rPr lang="en-GB" sz="1300" dirty="0" err="1">
                <a:latin typeface="Calibri" panose="020F0502020204030204" pitchFamily="34" charset="0"/>
              </a:rPr>
              <a:t>tcf</a:t>
            </a:r>
            <a:r>
              <a:rPr lang="en-GB" sz="1300" dirty="0">
                <a:latin typeface="Calibri" panose="020F0502020204030204" pitchFamily="34" charset="0"/>
              </a:rPr>
              <a:t>) in Nigeri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Number 1 fish producing state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Holds 40% of on-shore crude oil producti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One of the top nine palm oil producing stat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Tourist  attraction (</a:t>
            </a:r>
            <a:r>
              <a:rPr lang="en-GB" sz="1300" dirty="0" err="1">
                <a:latin typeface="Calibri" panose="020F0502020204030204" pitchFamily="34" charset="0"/>
              </a:rPr>
              <a:t>Akassa</a:t>
            </a:r>
            <a:r>
              <a:rPr lang="en-GB" sz="1300" dirty="0">
                <a:latin typeface="Calibri" panose="020F0502020204030204" pitchFamily="34" charset="0"/>
              </a:rPr>
              <a:t> wildlife forest)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D4E23C6-26A0-4545-B8F7-7007C8EEBFE4}"/>
              </a:ext>
            </a:extLst>
          </p:cNvPr>
          <p:cNvSpPr txBox="1"/>
          <p:nvPr/>
        </p:nvSpPr>
        <p:spPr>
          <a:xfrm>
            <a:off x="4338638" y="5265738"/>
            <a:ext cx="247491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id you know?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132" name="Text Placeholder 42">
            <a:extLst>
              <a:ext uri="{FF2B5EF4-FFF2-40B4-BE49-F238E27FC236}">
                <a16:creationId xmlns:a16="http://schemas.microsoft.com/office/drawing/2014/main" id="{D510D0DC-1548-4249-8DB1-9A1055126D07}"/>
              </a:ext>
            </a:extLst>
          </p:cNvPr>
          <p:cNvSpPr txBox="1">
            <a:spLocks/>
          </p:cNvSpPr>
          <p:nvPr/>
        </p:nvSpPr>
        <p:spPr>
          <a:xfrm>
            <a:off x="522288" y="5511800"/>
            <a:ext cx="3733800" cy="701675"/>
          </a:xfrm>
          <a:prstGeom prst="rect">
            <a:avLst/>
          </a:prstGeom>
        </p:spPr>
        <p:txBody>
          <a:bodyPr lIns="36576" tIns="0" rIns="36576" bIns="0"/>
          <a:lstStyle>
            <a:lvl1pPr marL="0" indent="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/>
              <a:buNone/>
              <a:defRPr sz="800" b="1" baseline="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6575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93763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 charset="0"/>
              <a:buChar char="►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50950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619250" indent="-188913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0764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25336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29908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34480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NIGERIAN INVESTMENT PROMOTION COMMISSION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>
                <a:solidFill>
                  <a:schemeClr val="tx1"/>
                </a:solidFill>
                <a:hlinkClick r:id="rId7"/>
              </a:rPr>
              <a:t>statesco@nipc.gov.ng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endParaRPr lang="en-US" sz="5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BAYELSA STATE INVESTMENT PROMOTION AGENCY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 err="1">
                <a:solidFill>
                  <a:schemeClr val="tx1"/>
                </a:solidFill>
                <a:hlinkClick r:id="rId8"/>
              </a:rPr>
              <a:t>patience.abah@bayelsa.gov.ng</a:t>
            </a:r>
            <a:r>
              <a:rPr lang="en-US" sz="1000" b="0" kern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FF015425-7997-4612-9D0E-1F6C433DFCC7}"/>
              </a:ext>
            </a:extLst>
          </p:cNvPr>
          <p:cNvSpPr/>
          <p:nvPr/>
        </p:nvSpPr>
        <p:spPr>
          <a:xfrm>
            <a:off x="6080877" y="3040856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4C0B7457-CABD-4AC8-8A1A-1FD468581E4D}"/>
              </a:ext>
            </a:extLst>
          </p:cNvPr>
          <p:cNvSpPr/>
          <p:nvPr/>
        </p:nvSpPr>
        <p:spPr>
          <a:xfrm>
            <a:off x="6784796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2D626A89-F50C-45A3-9271-5D3F2EEA9C83}"/>
              </a:ext>
            </a:extLst>
          </p:cNvPr>
          <p:cNvSpPr/>
          <p:nvPr/>
        </p:nvSpPr>
        <p:spPr>
          <a:xfrm>
            <a:off x="7518399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240713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A62E850A-D87D-46D0-9257-0071E677FCF0}"/>
              </a:ext>
            </a:extLst>
          </p:cNvPr>
          <p:cNvSpPr/>
          <p:nvPr/>
        </p:nvSpPr>
        <p:spPr>
          <a:xfrm>
            <a:off x="8947150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4D1FAA17-3EFF-404B-B4C4-B468BCE2E9A5}"/>
              </a:ext>
            </a:extLst>
          </p:cNvPr>
          <p:cNvSpPr/>
          <p:nvPr/>
        </p:nvSpPr>
        <p:spPr>
          <a:xfrm>
            <a:off x="6078265" y="3836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E861211D-5D09-4577-8A09-FD96D972A5D4}"/>
              </a:ext>
            </a:extLst>
          </p:cNvPr>
          <p:cNvSpPr/>
          <p:nvPr/>
        </p:nvSpPr>
        <p:spPr>
          <a:xfrm>
            <a:off x="6780509" y="3833831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D9F8790B-E97D-4D8F-AD51-26FAFBF8CA40}"/>
              </a:ext>
            </a:extLst>
          </p:cNvPr>
          <p:cNvSpPr/>
          <p:nvPr/>
        </p:nvSpPr>
        <p:spPr>
          <a:xfrm>
            <a:off x="8946402" y="3833630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3CBEFD1C-6360-47CD-AEDD-DFB49FC0E0C7}"/>
              </a:ext>
            </a:extLst>
          </p:cNvPr>
          <p:cNvSpPr/>
          <p:nvPr/>
        </p:nvSpPr>
        <p:spPr>
          <a:xfrm>
            <a:off x="7518603" y="3830834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pic>
        <p:nvPicPr>
          <p:cNvPr id="127" name="Picture 126">
            <a:extLst>
              <a:ext uri="{FF2B5EF4-FFF2-40B4-BE49-F238E27FC236}">
                <a16:creationId xmlns:a16="http://schemas.microsoft.com/office/drawing/2014/main" id="{493D2CDA-A09F-4F99-B004-7F04826E004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8428" y="3092950"/>
            <a:ext cx="516171" cy="535758"/>
          </a:xfrm>
          <a:prstGeom prst="rect">
            <a:avLst/>
          </a:prstGeom>
        </p:spPr>
      </p:pic>
      <p:pic>
        <p:nvPicPr>
          <p:cNvPr id="134" name="Picture 133">
            <a:extLst>
              <a:ext uri="{FF2B5EF4-FFF2-40B4-BE49-F238E27FC236}">
                <a16:creationId xmlns:a16="http://schemas.microsoft.com/office/drawing/2014/main" id="{BB7CEFD9-A7F5-4F33-8F03-37E38290E72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879286" y="3149176"/>
            <a:ext cx="375166" cy="362555"/>
          </a:xfrm>
          <a:prstGeom prst="rect">
            <a:avLst/>
          </a:prstGeom>
        </p:spPr>
      </p:pic>
      <p:pic>
        <p:nvPicPr>
          <p:cNvPr id="135" name="Picture 134">
            <a:extLst>
              <a:ext uri="{FF2B5EF4-FFF2-40B4-BE49-F238E27FC236}">
                <a16:creationId xmlns:a16="http://schemas.microsoft.com/office/drawing/2014/main" id="{043571F9-A66C-4C83-AF21-4623107F52DE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16" t="17956" b="25500"/>
          <a:stretch/>
        </p:blipFill>
        <p:spPr>
          <a:xfrm>
            <a:off x="7561640" y="3092005"/>
            <a:ext cx="563983" cy="503286"/>
          </a:xfrm>
          <a:prstGeom prst="rect">
            <a:avLst/>
          </a:prstGeom>
        </p:spPr>
      </p:pic>
      <p:pic>
        <p:nvPicPr>
          <p:cNvPr id="136" name="Picture 6">
            <a:extLst>
              <a:ext uri="{FF2B5EF4-FFF2-40B4-BE49-F238E27FC236}">
                <a16:creationId xmlns:a16="http://schemas.microsoft.com/office/drawing/2014/main" id="{231662E2-E2E8-4E57-BDF7-51038287155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44814" r="-1"/>
          <a:stretch/>
        </p:blipFill>
        <p:spPr bwMode="auto">
          <a:xfrm>
            <a:off x="6828069" y="3959407"/>
            <a:ext cx="525118" cy="3827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9" name="Picture 138" descr="Maize.jpg">
            <a:extLst>
              <a:ext uri="{FF2B5EF4-FFF2-40B4-BE49-F238E27FC236}">
                <a16:creationId xmlns:a16="http://schemas.microsoft.com/office/drawing/2014/main" id="{37450613-1DF9-45F3-8FC5-70DFF5E7727B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093444" y="3899170"/>
            <a:ext cx="604911" cy="591587"/>
          </a:xfrm>
          <a:prstGeom prst="rect">
            <a:avLst/>
          </a:prstGeom>
        </p:spPr>
      </p:pic>
      <p:pic>
        <p:nvPicPr>
          <p:cNvPr id="141" name="Picture 140" descr="rice.png">
            <a:extLst>
              <a:ext uri="{FF2B5EF4-FFF2-40B4-BE49-F238E27FC236}">
                <a16:creationId xmlns:a16="http://schemas.microsoft.com/office/drawing/2014/main" id="{62BD5177-AF66-41B2-BFA1-8815DA5FEC7D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15867" r="20664"/>
          <a:stretch>
            <a:fillRect/>
          </a:stretch>
        </p:blipFill>
        <p:spPr>
          <a:xfrm>
            <a:off x="7595423" y="3876803"/>
            <a:ext cx="524341" cy="512146"/>
          </a:xfrm>
          <a:prstGeom prst="rect">
            <a:avLst/>
          </a:prstGeom>
        </p:spPr>
      </p:pic>
      <p:pic>
        <p:nvPicPr>
          <p:cNvPr id="142" name="Picture 2">
            <a:extLst>
              <a:ext uri="{FF2B5EF4-FFF2-40B4-BE49-F238E27FC236}">
                <a16:creationId xmlns:a16="http://schemas.microsoft.com/office/drawing/2014/main" id="{61F17CA2-F278-4CE7-863D-E730D78549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5628" y="3072807"/>
            <a:ext cx="468398" cy="506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9" name="Picture 4">
            <a:extLst>
              <a:ext uri="{FF2B5EF4-FFF2-40B4-BE49-F238E27FC236}">
                <a16:creationId xmlns:a16="http://schemas.microsoft.com/office/drawing/2014/main" id="{C4AB022E-7A3E-40E8-ADE3-84BE997F83D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594" t="39373" r="-2652" b="28787"/>
          <a:stretch/>
        </p:blipFill>
        <p:spPr bwMode="auto">
          <a:xfrm>
            <a:off x="8290145" y="3017074"/>
            <a:ext cx="551486" cy="5734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0" name="Picture 5">
            <a:extLst>
              <a:ext uri="{FF2B5EF4-FFF2-40B4-BE49-F238E27FC236}">
                <a16:creationId xmlns:a16="http://schemas.microsoft.com/office/drawing/2014/main" id="{DA965167-4A50-4F94-9B56-E1DD5BBA77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5263" y="3908104"/>
            <a:ext cx="415636" cy="437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1" name="Picture 150">
            <a:extLst>
              <a:ext uri="{FF2B5EF4-FFF2-40B4-BE49-F238E27FC236}">
                <a16:creationId xmlns:a16="http://schemas.microsoft.com/office/drawing/2014/main" id="{093B9C1F-E9BA-442D-8DF1-54115B7C7C4B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9027950" y="3903129"/>
            <a:ext cx="468576" cy="468576"/>
          </a:xfrm>
          <a:prstGeom prst="rect">
            <a:avLst/>
          </a:prstGeom>
        </p:spPr>
      </p:pic>
      <p:sp>
        <p:nvSpPr>
          <p:cNvPr id="144" name="TextBox 143">
            <a:extLst>
              <a:ext uri="{FF2B5EF4-FFF2-40B4-BE49-F238E27FC236}">
                <a16:creationId xmlns:a16="http://schemas.microsoft.com/office/drawing/2014/main" id="{D0A41506-8873-4C2F-B45B-4459F0229CA3}"/>
              </a:ext>
            </a:extLst>
          </p:cNvPr>
          <p:cNvSpPr txBox="1"/>
          <p:nvPr/>
        </p:nvSpPr>
        <p:spPr>
          <a:xfrm>
            <a:off x="4374578" y="4541674"/>
            <a:ext cx="17988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te Investment Certification Process Not Started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262437" y="5462720"/>
            <a:ext cx="2616200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GB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Oloibiri</a:t>
            </a:r>
            <a:r>
              <a:rPr lang="en-GB" sz="1300" dirty="0">
                <a:latin typeface="Calibri" panose="020F0502020204030204" pitchFamily="34" charset="0"/>
                <a:cs typeface="Calibri" panose="020F0502020204030204" pitchFamily="34" charset="0"/>
              </a:rPr>
              <a:t> Oil Well in </a:t>
            </a:r>
            <a:r>
              <a:rPr lang="en-GB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Ogbia</a:t>
            </a:r>
            <a:r>
              <a:rPr lang="en-GB" sz="1300" dirty="0">
                <a:latin typeface="Calibri" panose="020F0502020204030204" pitchFamily="34" charset="0"/>
                <a:cs typeface="Calibri" panose="020F0502020204030204" pitchFamily="34" charset="0"/>
              </a:rPr>
              <a:t> local government area of Bayelsa State is the first  built in Nigeria (1956).</a:t>
            </a:r>
            <a:endParaRPr lang="en-US" sz="13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19602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Pentagon 19">
            <a:extLst>
              <a:ext uri="{FF2B5EF4-FFF2-40B4-BE49-F238E27FC236}">
                <a16:creationId xmlns:a16="http://schemas.microsoft.com/office/drawing/2014/main" id="{CAD93C59-72A9-4F6D-A654-02B9F8A5EFF9}"/>
              </a:ext>
            </a:extLst>
          </p:cNvPr>
          <p:cNvSpPr>
            <a:spLocks/>
          </p:cNvSpPr>
          <p:nvPr/>
        </p:nvSpPr>
        <p:spPr bwMode="auto">
          <a:xfrm>
            <a:off x="756602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2 of 37</a:t>
            </a:r>
          </a:p>
        </p:txBody>
      </p:sp>
      <p:sp>
        <p:nvSpPr>
          <p:cNvPr id="376" name="Pentagon 19">
            <a:extLst>
              <a:ext uri="{FF2B5EF4-FFF2-40B4-BE49-F238E27FC236}">
                <a16:creationId xmlns:a16="http://schemas.microsoft.com/office/drawing/2014/main" id="{1BDC5465-6022-4404-B4D8-ED55CF961B8A}"/>
              </a:ext>
            </a:extLst>
          </p:cNvPr>
          <p:cNvSpPr>
            <a:spLocks/>
          </p:cNvSpPr>
          <p:nvPr/>
        </p:nvSpPr>
        <p:spPr bwMode="auto">
          <a:xfrm>
            <a:off x="824865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9 of 3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57F1EBC-D01A-4083-B657-63AFB1490839}"/>
              </a:ext>
            </a:extLst>
          </p:cNvPr>
          <p:cNvSpPr txBox="1"/>
          <p:nvPr/>
        </p:nvSpPr>
        <p:spPr>
          <a:xfrm>
            <a:off x="6122988" y="2749550"/>
            <a:ext cx="3475037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nvestment Opportunit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D251BD-538A-4F4F-847E-620EEDA298A0}"/>
              </a:ext>
            </a:extLst>
          </p:cNvPr>
          <p:cNvSpPr txBox="1"/>
          <p:nvPr/>
        </p:nvSpPr>
        <p:spPr>
          <a:xfrm>
            <a:off x="6881813" y="4632911"/>
            <a:ext cx="2697162" cy="33855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oing Business Ranking(2018)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1B8F13C-F732-4DA1-9250-DB02936E7688}"/>
              </a:ext>
            </a:extLst>
          </p:cNvPr>
          <p:cNvSpPr/>
          <p:nvPr/>
        </p:nvSpPr>
        <p:spPr>
          <a:xfrm>
            <a:off x="756602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Registering Propert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6BA1818-32ED-44D1-975C-958200BDD124}"/>
              </a:ext>
            </a:extLst>
          </p:cNvPr>
          <p:cNvSpPr/>
          <p:nvPr/>
        </p:nvSpPr>
        <p:spPr>
          <a:xfrm>
            <a:off x="8248650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Dealing with Construction Permits</a:t>
            </a:r>
          </a:p>
        </p:txBody>
      </p:sp>
      <p:sp>
        <p:nvSpPr>
          <p:cNvPr id="23560" name="TextBox 174">
            <a:extLst>
              <a:ext uri="{FF2B5EF4-FFF2-40B4-BE49-F238E27FC236}">
                <a16:creationId xmlns:a16="http://schemas.microsoft.com/office/drawing/2014/main" id="{1573FD4E-62B9-45E8-8F28-CED990ED2D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0B63A6C-2A5E-4CA3-BC66-4CBC6008BC9A}"/>
              </a:ext>
            </a:extLst>
          </p:cNvPr>
          <p:cNvSpPr/>
          <p:nvPr/>
        </p:nvSpPr>
        <p:spPr>
          <a:xfrm>
            <a:off x="8931275" y="5726113"/>
            <a:ext cx="639763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Enforcing Contracts</a:t>
            </a:r>
          </a:p>
        </p:txBody>
      </p:sp>
      <p:pic>
        <p:nvPicPr>
          <p:cNvPr id="23562" name="Picture 4">
            <a:extLst>
              <a:ext uri="{FF2B5EF4-FFF2-40B4-BE49-F238E27FC236}">
                <a16:creationId xmlns:a16="http://schemas.microsoft.com/office/drawing/2014/main" id="{7C8EEAB2-0239-4BB5-94B3-23E319AF1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513" y="5249863"/>
            <a:ext cx="439737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6" name="Pentagon 19">
            <a:extLst>
              <a:ext uri="{FF2B5EF4-FFF2-40B4-BE49-F238E27FC236}">
                <a16:creationId xmlns:a16="http://schemas.microsoft.com/office/drawing/2014/main" id="{5F8E9670-D71A-4765-B6B5-D711BC9AD6E1}"/>
              </a:ext>
            </a:extLst>
          </p:cNvPr>
          <p:cNvSpPr>
            <a:spLocks/>
          </p:cNvSpPr>
          <p:nvPr/>
        </p:nvSpPr>
        <p:spPr bwMode="auto">
          <a:xfrm>
            <a:off x="8931275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1</a:t>
            </a:r>
            <a:r>
              <a:rPr lang="en-GB" sz="1000" baseline="3000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of 37</a:t>
            </a:r>
          </a:p>
        </p:txBody>
      </p:sp>
      <p:sp>
        <p:nvSpPr>
          <p:cNvPr id="23564" name="Title 3">
            <a:extLst>
              <a:ext uri="{FF2B5EF4-FFF2-40B4-BE49-F238E27FC236}">
                <a16:creationId xmlns:a16="http://schemas.microsoft.com/office/drawing/2014/main" id="{C62A749B-CFC7-4224-A789-D20A772AC33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77813" y="222250"/>
            <a:ext cx="8543925" cy="5619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en-GB" alt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enue State</a:t>
            </a: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6882DF2C-9120-4A66-8487-575D9494F4D6}"/>
              </a:ext>
            </a:extLst>
          </p:cNvPr>
          <p:cNvSpPr txBox="1"/>
          <p:nvPr/>
        </p:nvSpPr>
        <p:spPr>
          <a:xfrm rot="16200000">
            <a:off x="-2290084" y="3478372"/>
            <a:ext cx="5303837" cy="2743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anchor="ctr" anchorCtr="1">
            <a:spAutoFit/>
          </a:bodyPr>
          <a:lstStyle/>
          <a:p>
            <a:pPr algn="ctr" eaLnBrk="1" hangingPunct="1">
              <a:defRPr/>
            </a:pPr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Food Basket of the Nation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grpSp>
        <p:nvGrpSpPr>
          <p:cNvPr id="23566" name="Group 9">
            <a:extLst>
              <a:ext uri="{FF2B5EF4-FFF2-40B4-BE49-F238E27FC236}">
                <a16:creationId xmlns:a16="http://schemas.microsoft.com/office/drawing/2014/main" id="{5B6131BD-3CE3-4FC4-B13A-FA9B797C1EF5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41338" y="963613"/>
            <a:ext cx="2897187" cy="2319337"/>
            <a:chOff x="770228" y="1459989"/>
            <a:chExt cx="4081047" cy="3267527"/>
          </a:xfrm>
        </p:grpSpPr>
        <p:sp>
          <p:nvSpPr>
            <p:cNvPr id="299" name="Freeform 4">
              <a:extLst>
                <a:ext uri="{FF2B5EF4-FFF2-40B4-BE49-F238E27FC236}">
                  <a16:creationId xmlns:a16="http://schemas.microsoft.com/office/drawing/2014/main" id="{B6150C82-CBE5-48B4-B60C-C210BB7B26A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91538" y="4349548"/>
              <a:ext cx="418167" cy="377968"/>
            </a:xfrm>
            <a:custGeom>
              <a:avLst/>
              <a:gdLst>
                <a:gd name="T0" fmla="*/ 12 w 786"/>
                <a:gd name="T1" fmla="*/ 19 h 714"/>
                <a:gd name="T2" fmla="*/ 22 w 786"/>
                <a:gd name="T3" fmla="*/ 18 h 714"/>
                <a:gd name="T4" fmla="*/ 27 w 786"/>
                <a:gd name="T5" fmla="*/ 17 h 714"/>
                <a:gd name="T6" fmla="*/ 30 w 786"/>
                <a:gd name="T7" fmla="*/ 14 h 714"/>
                <a:gd name="T8" fmla="*/ 37 w 786"/>
                <a:gd name="T9" fmla="*/ 16 h 714"/>
                <a:gd name="T10" fmla="*/ 43 w 786"/>
                <a:gd name="T11" fmla="*/ 13 h 714"/>
                <a:gd name="T12" fmla="*/ 48 w 786"/>
                <a:gd name="T13" fmla="*/ 8 h 714"/>
                <a:gd name="T14" fmla="*/ 55 w 786"/>
                <a:gd name="T15" fmla="*/ 4 h 714"/>
                <a:gd name="T16" fmla="*/ 66 w 786"/>
                <a:gd name="T17" fmla="*/ 0 h 714"/>
                <a:gd name="T18" fmla="*/ 63 w 786"/>
                <a:gd name="T19" fmla="*/ 12 h 714"/>
                <a:gd name="T20" fmla="*/ 59 w 786"/>
                <a:gd name="T21" fmla="*/ 19 h 714"/>
                <a:gd name="T22" fmla="*/ 57 w 786"/>
                <a:gd name="T23" fmla="*/ 29 h 714"/>
                <a:gd name="T24" fmla="*/ 59 w 786"/>
                <a:gd name="T25" fmla="*/ 36 h 714"/>
                <a:gd name="T26" fmla="*/ 66 w 786"/>
                <a:gd name="T27" fmla="*/ 35 h 714"/>
                <a:gd name="T28" fmla="*/ 64 w 786"/>
                <a:gd name="T29" fmla="*/ 41 h 714"/>
                <a:gd name="T30" fmla="*/ 64 w 786"/>
                <a:gd name="T31" fmla="*/ 48 h 714"/>
                <a:gd name="T32" fmla="*/ 63 w 786"/>
                <a:gd name="T33" fmla="*/ 56 h 714"/>
                <a:gd name="T34" fmla="*/ 60 w 786"/>
                <a:gd name="T35" fmla="*/ 60 h 714"/>
                <a:gd name="T36" fmla="*/ 57 w 786"/>
                <a:gd name="T37" fmla="*/ 58 h 714"/>
                <a:gd name="T38" fmla="*/ 54 w 786"/>
                <a:gd name="T39" fmla="*/ 54 h 714"/>
                <a:gd name="T40" fmla="*/ 53 w 786"/>
                <a:gd name="T41" fmla="*/ 51 h 714"/>
                <a:gd name="T42" fmla="*/ 51 w 786"/>
                <a:gd name="T43" fmla="*/ 53 h 714"/>
                <a:gd name="T44" fmla="*/ 49 w 786"/>
                <a:gd name="T45" fmla="*/ 54 h 714"/>
                <a:gd name="T46" fmla="*/ 47 w 786"/>
                <a:gd name="T47" fmla="*/ 50 h 714"/>
                <a:gd name="T48" fmla="*/ 48 w 786"/>
                <a:gd name="T49" fmla="*/ 54 h 714"/>
                <a:gd name="T50" fmla="*/ 47 w 786"/>
                <a:gd name="T51" fmla="*/ 54 h 714"/>
                <a:gd name="T52" fmla="*/ 46 w 786"/>
                <a:gd name="T53" fmla="*/ 59 h 714"/>
                <a:gd name="T54" fmla="*/ 47 w 786"/>
                <a:gd name="T55" fmla="*/ 62 h 714"/>
                <a:gd name="T56" fmla="*/ 42 w 786"/>
                <a:gd name="T57" fmla="*/ 62 h 714"/>
                <a:gd name="T58" fmla="*/ 39 w 786"/>
                <a:gd name="T59" fmla="*/ 57 h 714"/>
                <a:gd name="T60" fmla="*/ 40 w 786"/>
                <a:gd name="T61" fmla="*/ 54 h 714"/>
                <a:gd name="T62" fmla="*/ 43 w 786"/>
                <a:gd name="T63" fmla="*/ 55 h 714"/>
                <a:gd name="T64" fmla="*/ 40 w 786"/>
                <a:gd name="T65" fmla="*/ 53 h 714"/>
                <a:gd name="T66" fmla="*/ 38 w 786"/>
                <a:gd name="T67" fmla="*/ 57 h 714"/>
                <a:gd name="T68" fmla="*/ 37 w 786"/>
                <a:gd name="T69" fmla="*/ 57 h 714"/>
                <a:gd name="T70" fmla="*/ 37 w 786"/>
                <a:gd name="T71" fmla="*/ 60 h 714"/>
                <a:gd name="T72" fmla="*/ 33 w 786"/>
                <a:gd name="T73" fmla="*/ 56 h 714"/>
                <a:gd name="T74" fmla="*/ 32 w 786"/>
                <a:gd name="T75" fmla="*/ 58 h 714"/>
                <a:gd name="T76" fmla="*/ 26 w 786"/>
                <a:gd name="T77" fmla="*/ 54 h 714"/>
                <a:gd name="T78" fmla="*/ 26 w 786"/>
                <a:gd name="T79" fmla="*/ 54 h 714"/>
                <a:gd name="T80" fmla="*/ 24 w 786"/>
                <a:gd name="T81" fmla="*/ 51 h 714"/>
                <a:gd name="T82" fmla="*/ 22 w 786"/>
                <a:gd name="T83" fmla="*/ 51 h 714"/>
                <a:gd name="T84" fmla="*/ 20 w 786"/>
                <a:gd name="T85" fmla="*/ 50 h 714"/>
                <a:gd name="T86" fmla="*/ 20 w 786"/>
                <a:gd name="T87" fmla="*/ 48 h 714"/>
                <a:gd name="T88" fmla="*/ 18 w 786"/>
                <a:gd name="T89" fmla="*/ 47 h 714"/>
                <a:gd name="T90" fmla="*/ 15 w 786"/>
                <a:gd name="T91" fmla="*/ 45 h 714"/>
                <a:gd name="T92" fmla="*/ 11 w 786"/>
                <a:gd name="T93" fmla="*/ 39 h 714"/>
                <a:gd name="T94" fmla="*/ 12 w 786"/>
                <a:gd name="T95" fmla="*/ 36 h 714"/>
                <a:gd name="T96" fmla="*/ 7 w 786"/>
                <a:gd name="T97" fmla="*/ 33 h 714"/>
                <a:gd name="T98" fmla="*/ 5 w 786"/>
                <a:gd name="T99" fmla="*/ 28 h 714"/>
                <a:gd name="T100" fmla="*/ 7 w 786"/>
                <a:gd name="T101" fmla="*/ 30 h 714"/>
                <a:gd name="T102" fmla="*/ 4 w 786"/>
                <a:gd name="T103" fmla="*/ 24 h 714"/>
                <a:gd name="T104" fmla="*/ 2 w 786"/>
                <a:gd name="T105" fmla="*/ 20 h 714"/>
                <a:gd name="T106" fmla="*/ 0 w 786"/>
                <a:gd name="T107" fmla="*/ 15 h 714"/>
                <a:gd name="T108" fmla="*/ 4 w 786"/>
                <a:gd name="T109" fmla="*/ 16 h 714"/>
                <a:gd name="T110" fmla="*/ 55 w 786"/>
                <a:gd name="T111" fmla="*/ 60 h 714"/>
                <a:gd name="T112" fmla="*/ 47 w 786"/>
                <a:gd name="T113" fmla="*/ 60 h 714"/>
                <a:gd name="T114" fmla="*/ 51 w 786"/>
                <a:gd name="T115" fmla="*/ 54 h 714"/>
                <a:gd name="T116" fmla="*/ 54 w 786"/>
                <a:gd name="T117" fmla="*/ 56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86"/>
                <a:gd name="T178" fmla="*/ 0 h 714"/>
                <a:gd name="T179" fmla="*/ 786 w 786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86" h="714">
                  <a:moveTo>
                    <a:pt x="54" y="186"/>
                  </a:moveTo>
                  <a:lnTo>
                    <a:pt x="54" y="192"/>
                  </a:lnTo>
                  <a:lnTo>
                    <a:pt x="72" y="192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204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20" y="210"/>
                  </a:lnTo>
                  <a:lnTo>
                    <a:pt x="126" y="210"/>
                  </a:lnTo>
                  <a:lnTo>
                    <a:pt x="132" y="210"/>
                  </a:lnTo>
                  <a:lnTo>
                    <a:pt x="132" y="216"/>
                  </a:lnTo>
                  <a:lnTo>
                    <a:pt x="138" y="222"/>
                  </a:lnTo>
                  <a:lnTo>
                    <a:pt x="150" y="222"/>
                  </a:lnTo>
                  <a:lnTo>
                    <a:pt x="162" y="234"/>
                  </a:lnTo>
                  <a:lnTo>
                    <a:pt x="168" y="240"/>
                  </a:lnTo>
                  <a:lnTo>
                    <a:pt x="180" y="240"/>
                  </a:lnTo>
                  <a:lnTo>
                    <a:pt x="186" y="228"/>
                  </a:lnTo>
                  <a:lnTo>
                    <a:pt x="210" y="234"/>
                  </a:lnTo>
                  <a:lnTo>
                    <a:pt x="222" y="228"/>
                  </a:lnTo>
                  <a:lnTo>
                    <a:pt x="228" y="216"/>
                  </a:lnTo>
                  <a:lnTo>
                    <a:pt x="234" y="210"/>
                  </a:lnTo>
                  <a:lnTo>
                    <a:pt x="240" y="216"/>
                  </a:lnTo>
                  <a:lnTo>
                    <a:pt x="246" y="210"/>
                  </a:lnTo>
                  <a:lnTo>
                    <a:pt x="252" y="210"/>
                  </a:lnTo>
                  <a:lnTo>
                    <a:pt x="258" y="210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192"/>
                  </a:lnTo>
                  <a:lnTo>
                    <a:pt x="270" y="192"/>
                  </a:lnTo>
                  <a:lnTo>
                    <a:pt x="276" y="192"/>
                  </a:lnTo>
                  <a:lnTo>
                    <a:pt x="282" y="192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192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198"/>
                  </a:lnTo>
                  <a:lnTo>
                    <a:pt x="312" y="198"/>
                  </a:lnTo>
                  <a:lnTo>
                    <a:pt x="312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24" y="186"/>
                  </a:lnTo>
                  <a:lnTo>
                    <a:pt x="318" y="180"/>
                  </a:lnTo>
                  <a:lnTo>
                    <a:pt x="324" y="180"/>
                  </a:lnTo>
                  <a:lnTo>
                    <a:pt x="330" y="186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74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54" y="144"/>
                  </a:lnTo>
                  <a:lnTo>
                    <a:pt x="360" y="144"/>
                  </a:lnTo>
                  <a:lnTo>
                    <a:pt x="372" y="156"/>
                  </a:lnTo>
                  <a:lnTo>
                    <a:pt x="372" y="162"/>
                  </a:lnTo>
                  <a:lnTo>
                    <a:pt x="378" y="162"/>
                  </a:lnTo>
                  <a:lnTo>
                    <a:pt x="384" y="162"/>
                  </a:lnTo>
                  <a:lnTo>
                    <a:pt x="396" y="168"/>
                  </a:lnTo>
                  <a:lnTo>
                    <a:pt x="396" y="174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26" y="186"/>
                  </a:lnTo>
                  <a:lnTo>
                    <a:pt x="432" y="186"/>
                  </a:lnTo>
                  <a:lnTo>
                    <a:pt x="438" y="180"/>
                  </a:lnTo>
                  <a:lnTo>
                    <a:pt x="438" y="168"/>
                  </a:lnTo>
                  <a:lnTo>
                    <a:pt x="438" y="162"/>
                  </a:lnTo>
                  <a:lnTo>
                    <a:pt x="444" y="156"/>
                  </a:lnTo>
                  <a:lnTo>
                    <a:pt x="450" y="156"/>
                  </a:lnTo>
                  <a:lnTo>
                    <a:pt x="456" y="150"/>
                  </a:lnTo>
                  <a:lnTo>
                    <a:pt x="462" y="156"/>
                  </a:lnTo>
                  <a:lnTo>
                    <a:pt x="468" y="162"/>
                  </a:lnTo>
                  <a:lnTo>
                    <a:pt x="474" y="162"/>
                  </a:lnTo>
                  <a:lnTo>
                    <a:pt x="486" y="162"/>
                  </a:lnTo>
                  <a:lnTo>
                    <a:pt x="492" y="156"/>
                  </a:lnTo>
                  <a:lnTo>
                    <a:pt x="498" y="150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28" y="126"/>
                  </a:lnTo>
                  <a:lnTo>
                    <a:pt x="522" y="120"/>
                  </a:lnTo>
                  <a:lnTo>
                    <a:pt x="522" y="114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28" y="102"/>
                  </a:lnTo>
                  <a:lnTo>
                    <a:pt x="534" y="96"/>
                  </a:lnTo>
                  <a:lnTo>
                    <a:pt x="552" y="96"/>
                  </a:lnTo>
                  <a:lnTo>
                    <a:pt x="570" y="102"/>
                  </a:lnTo>
                  <a:lnTo>
                    <a:pt x="582" y="96"/>
                  </a:lnTo>
                  <a:lnTo>
                    <a:pt x="582" y="90"/>
                  </a:lnTo>
                  <a:lnTo>
                    <a:pt x="582" y="78"/>
                  </a:lnTo>
                  <a:lnTo>
                    <a:pt x="582" y="72"/>
                  </a:lnTo>
                  <a:lnTo>
                    <a:pt x="582" y="66"/>
                  </a:lnTo>
                  <a:lnTo>
                    <a:pt x="594" y="60"/>
                  </a:lnTo>
                  <a:lnTo>
                    <a:pt x="600" y="60"/>
                  </a:lnTo>
                  <a:lnTo>
                    <a:pt x="606" y="54"/>
                  </a:lnTo>
                  <a:lnTo>
                    <a:pt x="618" y="48"/>
                  </a:lnTo>
                  <a:lnTo>
                    <a:pt x="618" y="42"/>
                  </a:lnTo>
                  <a:lnTo>
                    <a:pt x="624" y="42"/>
                  </a:lnTo>
                  <a:lnTo>
                    <a:pt x="636" y="48"/>
                  </a:lnTo>
                  <a:lnTo>
                    <a:pt x="648" y="54"/>
                  </a:lnTo>
                  <a:lnTo>
                    <a:pt x="660" y="54"/>
                  </a:lnTo>
                  <a:lnTo>
                    <a:pt x="666" y="60"/>
                  </a:lnTo>
                  <a:lnTo>
                    <a:pt x="672" y="54"/>
                  </a:lnTo>
                  <a:lnTo>
                    <a:pt x="684" y="48"/>
                  </a:lnTo>
                  <a:lnTo>
                    <a:pt x="708" y="42"/>
                  </a:lnTo>
                  <a:lnTo>
                    <a:pt x="714" y="42"/>
                  </a:lnTo>
                  <a:lnTo>
                    <a:pt x="720" y="36"/>
                  </a:lnTo>
                  <a:lnTo>
                    <a:pt x="720" y="30"/>
                  </a:lnTo>
                  <a:lnTo>
                    <a:pt x="714" y="12"/>
                  </a:lnTo>
                  <a:lnTo>
                    <a:pt x="708" y="0"/>
                  </a:lnTo>
                  <a:lnTo>
                    <a:pt x="738" y="6"/>
                  </a:lnTo>
                  <a:lnTo>
                    <a:pt x="756" y="6"/>
                  </a:lnTo>
                  <a:lnTo>
                    <a:pt x="762" y="42"/>
                  </a:lnTo>
                  <a:lnTo>
                    <a:pt x="738" y="72"/>
                  </a:lnTo>
                  <a:lnTo>
                    <a:pt x="750" y="90"/>
                  </a:lnTo>
                  <a:lnTo>
                    <a:pt x="762" y="96"/>
                  </a:lnTo>
                  <a:lnTo>
                    <a:pt x="756" y="102"/>
                  </a:lnTo>
                  <a:lnTo>
                    <a:pt x="750" y="108"/>
                  </a:lnTo>
                  <a:lnTo>
                    <a:pt x="750" y="114"/>
                  </a:lnTo>
                  <a:lnTo>
                    <a:pt x="750" y="120"/>
                  </a:lnTo>
                  <a:lnTo>
                    <a:pt x="750" y="126"/>
                  </a:lnTo>
                  <a:lnTo>
                    <a:pt x="750" y="132"/>
                  </a:lnTo>
                  <a:lnTo>
                    <a:pt x="738" y="132"/>
                  </a:lnTo>
                  <a:lnTo>
                    <a:pt x="732" y="138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14" y="144"/>
                  </a:lnTo>
                  <a:lnTo>
                    <a:pt x="714" y="150"/>
                  </a:lnTo>
                  <a:lnTo>
                    <a:pt x="720" y="156"/>
                  </a:lnTo>
                  <a:lnTo>
                    <a:pt x="720" y="162"/>
                  </a:lnTo>
                  <a:lnTo>
                    <a:pt x="714" y="162"/>
                  </a:lnTo>
                  <a:lnTo>
                    <a:pt x="708" y="168"/>
                  </a:lnTo>
                  <a:lnTo>
                    <a:pt x="708" y="180"/>
                  </a:lnTo>
                  <a:lnTo>
                    <a:pt x="708" y="192"/>
                  </a:lnTo>
                  <a:lnTo>
                    <a:pt x="696" y="198"/>
                  </a:lnTo>
                  <a:lnTo>
                    <a:pt x="696" y="204"/>
                  </a:lnTo>
                  <a:lnTo>
                    <a:pt x="684" y="210"/>
                  </a:lnTo>
                  <a:lnTo>
                    <a:pt x="684" y="216"/>
                  </a:lnTo>
                  <a:lnTo>
                    <a:pt x="684" y="222"/>
                  </a:lnTo>
                  <a:lnTo>
                    <a:pt x="678" y="228"/>
                  </a:lnTo>
                  <a:lnTo>
                    <a:pt x="678" y="234"/>
                  </a:lnTo>
                  <a:lnTo>
                    <a:pt x="672" y="240"/>
                  </a:lnTo>
                  <a:lnTo>
                    <a:pt x="672" y="252"/>
                  </a:lnTo>
                  <a:lnTo>
                    <a:pt x="672" y="258"/>
                  </a:lnTo>
                  <a:lnTo>
                    <a:pt x="666" y="264"/>
                  </a:lnTo>
                  <a:lnTo>
                    <a:pt x="678" y="264"/>
                  </a:lnTo>
                  <a:lnTo>
                    <a:pt x="684" y="276"/>
                  </a:lnTo>
                  <a:lnTo>
                    <a:pt x="684" y="288"/>
                  </a:lnTo>
                  <a:lnTo>
                    <a:pt x="672" y="300"/>
                  </a:lnTo>
                  <a:lnTo>
                    <a:pt x="660" y="318"/>
                  </a:lnTo>
                  <a:lnTo>
                    <a:pt x="660" y="336"/>
                  </a:lnTo>
                  <a:lnTo>
                    <a:pt x="654" y="342"/>
                  </a:lnTo>
                  <a:lnTo>
                    <a:pt x="660" y="354"/>
                  </a:lnTo>
                  <a:lnTo>
                    <a:pt x="660" y="366"/>
                  </a:lnTo>
                  <a:lnTo>
                    <a:pt x="666" y="378"/>
                  </a:lnTo>
                  <a:lnTo>
                    <a:pt x="672" y="390"/>
                  </a:lnTo>
                  <a:lnTo>
                    <a:pt x="678" y="396"/>
                  </a:lnTo>
                  <a:lnTo>
                    <a:pt x="684" y="390"/>
                  </a:lnTo>
                  <a:lnTo>
                    <a:pt x="690" y="390"/>
                  </a:lnTo>
                  <a:lnTo>
                    <a:pt x="690" y="396"/>
                  </a:lnTo>
                  <a:lnTo>
                    <a:pt x="684" y="396"/>
                  </a:lnTo>
                  <a:lnTo>
                    <a:pt x="684" y="402"/>
                  </a:lnTo>
                  <a:lnTo>
                    <a:pt x="684" y="408"/>
                  </a:lnTo>
                  <a:lnTo>
                    <a:pt x="678" y="414"/>
                  </a:lnTo>
                  <a:lnTo>
                    <a:pt x="684" y="414"/>
                  </a:lnTo>
                  <a:lnTo>
                    <a:pt x="684" y="420"/>
                  </a:lnTo>
                  <a:lnTo>
                    <a:pt x="684" y="426"/>
                  </a:lnTo>
                  <a:lnTo>
                    <a:pt x="690" y="420"/>
                  </a:lnTo>
                  <a:lnTo>
                    <a:pt x="696" y="420"/>
                  </a:lnTo>
                  <a:lnTo>
                    <a:pt x="696" y="426"/>
                  </a:lnTo>
                  <a:lnTo>
                    <a:pt x="690" y="426"/>
                  </a:lnTo>
                  <a:lnTo>
                    <a:pt x="696" y="426"/>
                  </a:lnTo>
                  <a:lnTo>
                    <a:pt x="708" y="426"/>
                  </a:lnTo>
                  <a:lnTo>
                    <a:pt x="726" y="414"/>
                  </a:lnTo>
                  <a:lnTo>
                    <a:pt x="732" y="408"/>
                  </a:lnTo>
                  <a:lnTo>
                    <a:pt x="744" y="402"/>
                  </a:lnTo>
                  <a:lnTo>
                    <a:pt x="756" y="402"/>
                  </a:lnTo>
                  <a:lnTo>
                    <a:pt x="768" y="402"/>
                  </a:lnTo>
                  <a:lnTo>
                    <a:pt x="786" y="408"/>
                  </a:lnTo>
                  <a:lnTo>
                    <a:pt x="786" y="414"/>
                  </a:lnTo>
                  <a:lnTo>
                    <a:pt x="774" y="420"/>
                  </a:lnTo>
                  <a:lnTo>
                    <a:pt x="774" y="426"/>
                  </a:lnTo>
                  <a:lnTo>
                    <a:pt x="768" y="432"/>
                  </a:lnTo>
                  <a:lnTo>
                    <a:pt x="762" y="438"/>
                  </a:lnTo>
                  <a:lnTo>
                    <a:pt x="756" y="438"/>
                  </a:lnTo>
                  <a:lnTo>
                    <a:pt x="756" y="444"/>
                  </a:lnTo>
                  <a:lnTo>
                    <a:pt x="756" y="450"/>
                  </a:lnTo>
                  <a:lnTo>
                    <a:pt x="762" y="450"/>
                  </a:lnTo>
                  <a:lnTo>
                    <a:pt x="750" y="456"/>
                  </a:lnTo>
                  <a:lnTo>
                    <a:pt x="738" y="468"/>
                  </a:lnTo>
                  <a:lnTo>
                    <a:pt x="726" y="480"/>
                  </a:lnTo>
                  <a:lnTo>
                    <a:pt x="726" y="486"/>
                  </a:lnTo>
                  <a:lnTo>
                    <a:pt x="732" y="486"/>
                  </a:lnTo>
                  <a:lnTo>
                    <a:pt x="732" y="492"/>
                  </a:lnTo>
                  <a:lnTo>
                    <a:pt x="732" y="504"/>
                  </a:lnTo>
                  <a:lnTo>
                    <a:pt x="738" y="504"/>
                  </a:lnTo>
                  <a:lnTo>
                    <a:pt x="744" y="510"/>
                  </a:lnTo>
                  <a:lnTo>
                    <a:pt x="738" y="522"/>
                  </a:lnTo>
                  <a:lnTo>
                    <a:pt x="744" y="528"/>
                  </a:lnTo>
                  <a:lnTo>
                    <a:pt x="756" y="534"/>
                  </a:lnTo>
                  <a:lnTo>
                    <a:pt x="756" y="540"/>
                  </a:lnTo>
                  <a:lnTo>
                    <a:pt x="744" y="552"/>
                  </a:lnTo>
                  <a:lnTo>
                    <a:pt x="738" y="552"/>
                  </a:lnTo>
                  <a:lnTo>
                    <a:pt x="738" y="558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64"/>
                  </a:lnTo>
                  <a:lnTo>
                    <a:pt x="744" y="576"/>
                  </a:lnTo>
                  <a:lnTo>
                    <a:pt x="738" y="588"/>
                  </a:lnTo>
                  <a:lnTo>
                    <a:pt x="738" y="594"/>
                  </a:lnTo>
                  <a:lnTo>
                    <a:pt x="738" y="600"/>
                  </a:lnTo>
                  <a:lnTo>
                    <a:pt x="738" y="606"/>
                  </a:lnTo>
                  <a:lnTo>
                    <a:pt x="732" y="612"/>
                  </a:lnTo>
                  <a:lnTo>
                    <a:pt x="726" y="624"/>
                  </a:lnTo>
                  <a:lnTo>
                    <a:pt x="726" y="636"/>
                  </a:lnTo>
                  <a:lnTo>
                    <a:pt x="726" y="648"/>
                  </a:lnTo>
                  <a:lnTo>
                    <a:pt x="738" y="654"/>
                  </a:lnTo>
                  <a:lnTo>
                    <a:pt x="750" y="660"/>
                  </a:lnTo>
                  <a:lnTo>
                    <a:pt x="750" y="666"/>
                  </a:lnTo>
                  <a:lnTo>
                    <a:pt x="750" y="678"/>
                  </a:lnTo>
                  <a:lnTo>
                    <a:pt x="744" y="678"/>
                  </a:lnTo>
                  <a:lnTo>
                    <a:pt x="738" y="684"/>
                  </a:lnTo>
                  <a:lnTo>
                    <a:pt x="732" y="684"/>
                  </a:lnTo>
                  <a:lnTo>
                    <a:pt x="720" y="678"/>
                  </a:lnTo>
                  <a:lnTo>
                    <a:pt x="714" y="684"/>
                  </a:lnTo>
                  <a:lnTo>
                    <a:pt x="708" y="684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0" y="690"/>
                  </a:lnTo>
                  <a:lnTo>
                    <a:pt x="690" y="684"/>
                  </a:lnTo>
                  <a:lnTo>
                    <a:pt x="690" y="690"/>
                  </a:lnTo>
                  <a:lnTo>
                    <a:pt x="684" y="690"/>
                  </a:lnTo>
                  <a:lnTo>
                    <a:pt x="684" y="684"/>
                  </a:lnTo>
                  <a:lnTo>
                    <a:pt x="678" y="684"/>
                  </a:lnTo>
                  <a:lnTo>
                    <a:pt x="672" y="678"/>
                  </a:lnTo>
                  <a:lnTo>
                    <a:pt x="672" y="672"/>
                  </a:lnTo>
                  <a:lnTo>
                    <a:pt x="678" y="672"/>
                  </a:lnTo>
                  <a:lnTo>
                    <a:pt x="672" y="672"/>
                  </a:lnTo>
                  <a:lnTo>
                    <a:pt x="666" y="672"/>
                  </a:lnTo>
                  <a:lnTo>
                    <a:pt x="660" y="672"/>
                  </a:lnTo>
                  <a:lnTo>
                    <a:pt x="654" y="672"/>
                  </a:lnTo>
                  <a:lnTo>
                    <a:pt x="654" y="666"/>
                  </a:lnTo>
                  <a:lnTo>
                    <a:pt x="648" y="666"/>
                  </a:lnTo>
                  <a:lnTo>
                    <a:pt x="642" y="660"/>
                  </a:lnTo>
                  <a:lnTo>
                    <a:pt x="642" y="654"/>
                  </a:lnTo>
                  <a:lnTo>
                    <a:pt x="642" y="648"/>
                  </a:lnTo>
                  <a:lnTo>
                    <a:pt x="636" y="648"/>
                  </a:lnTo>
                  <a:lnTo>
                    <a:pt x="630" y="648"/>
                  </a:lnTo>
                  <a:lnTo>
                    <a:pt x="624" y="648"/>
                  </a:lnTo>
                  <a:lnTo>
                    <a:pt x="624" y="642"/>
                  </a:lnTo>
                  <a:lnTo>
                    <a:pt x="618" y="636"/>
                  </a:lnTo>
                  <a:lnTo>
                    <a:pt x="624" y="636"/>
                  </a:lnTo>
                  <a:lnTo>
                    <a:pt x="624" y="630"/>
                  </a:lnTo>
                  <a:lnTo>
                    <a:pt x="618" y="630"/>
                  </a:lnTo>
                  <a:lnTo>
                    <a:pt x="618" y="624"/>
                  </a:lnTo>
                  <a:lnTo>
                    <a:pt x="618" y="618"/>
                  </a:lnTo>
                  <a:lnTo>
                    <a:pt x="618" y="612"/>
                  </a:lnTo>
                  <a:lnTo>
                    <a:pt x="618" y="606"/>
                  </a:lnTo>
                  <a:lnTo>
                    <a:pt x="624" y="606"/>
                  </a:lnTo>
                  <a:lnTo>
                    <a:pt x="624" y="600"/>
                  </a:lnTo>
                  <a:lnTo>
                    <a:pt x="618" y="600"/>
                  </a:lnTo>
                  <a:lnTo>
                    <a:pt x="618" y="594"/>
                  </a:lnTo>
                  <a:lnTo>
                    <a:pt x="618" y="588"/>
                  </a:lnTo>
                  <a:lnTo>
                    <a:pt x="618" y="582"/>
                  </a:lnTo>
                  <a:lnTo>
                    <a:pt x="612" y="582"/>
                  </a:lnTo>
                  <a:lnTo>
                    <a:pt x="606" y="582"/>
                  </a:lnTo>
                  <a:lnTo>
                    <a:pt x="612" y="582"/>
                  </a:lnTo>
                  <a:lnTo>
                    <a:pt x="612" y="588"/>
                  </a:lnTo>
                  <a:lnTo>
                    <a:pt x="612" y="594"/>
                  </a:lnTo>
                  <a:lnTo>
                    <a:pt x="618" y="594"/>
                  </a:lnTo>
                  <a:lnTo>
                    <a:pt x="618" y="600"/>
                  </a:lnTo>
                  <a:lnTo>
                    <a:pt x="618" y="606"/>
                  </a:lnTo>
                  <a:lnTo>
                    <a:pt x="618" y="612"/>
                  </a:lnTo>
                  <a:lnTo>
                    <a:pt x="612" y="612"/>
                  </a:lnTo>
                  <a:lnTo>
                    <a:pt x="612" y="618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94" y="612"/>
                  </a:lnTo>
                  <a:lnTo>
                    <a:pt x="588" y="606"/>
                  </a:lnTo>
                  <a:lnTo>
                    <a:pt x="588" y="612"/>
                  </a:lnTo>
                  <a:lnTo>
                    <a:pt x="594" y="612"/>
                  </a:lnTo>
                  <a:lnTo>
                    <a:pt x="594" y="618"/>
                  </a:lnTo>
                  <a:lnTo>
                    <a:pt x="588" y="618"/>
                  </a:lnTo>
                  <a:lnTo>
                    <a:pt x="588" y="624"/>
                  </a:lnTo>
                  <a:lnTo>
                    <a:pt x="582" y="624"/>
                  </a:lnTo>
                  <a:lnTo>
                    <a:pt x="582" y="630"/>
                  </a:lnTo>
                  <a:lnTo>
                    <a:pt x="576" y="630"/>
                  </a:lnTo>
                  <a:lnTo>
                    <a:pt x="576" y="636"/>
                  </a:lnTo>
                  <a:lnTo>
                    <a:pt x="570" y="636"/>
                  </a:lnTo>
                  <a:lnTo>
                    <a:pt x="570" y="642"/>
                  </a:lnTo>
                  <a:lnTo>
                    <a:pt x="564" y="642"/>
                  </a:lnTo>
                  <a:lnTo>
                    <a:pt x="564" y="636"/>
                  </a:lnTo>
                  <a:lnTo>
                    <a:pt x="564" y="630"/>
                  </a:lnTo>
                  <a:lnTo>
                    <a:pt x="564" y="624"/>
                  </a:lnTo>
                  <a:lnTo>
                    <a:pt x="564" y="618"/>
                  </a:lnTo>
                  <a:lnTo>
                    <a:pt x="570" y="612"/>
                  </a:lnTo>
                  <a:lnTo>
                    <a:pt x="564" y="606"/>
                  </a:lnTo>
                  <a:lnTo>
                    <a:pt x="564" y="600"/>
                  </a:lnTo>
                  <a:lnTo>
                    <a:pt x="564" y="594"/>
                  </a:lnTo>
                  <a:lnTo>
                    <a:pt x="558" y="594"/>
                  </a:lnTo>
                  <a:lnTo>
                    <a:pt x="558" y="588"/>
                  </a:lnTo>
                  <a:lnTo>
                    <a:pt x="552" y="582"/>
                  </a:lnTo>
                  <a:lnTo>
                    <a:pt x="552" y="576"/>
                  </a:lnTo>
                  <a:lnTo>
                    <a:pt x="552" y="570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6" y="582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58" y="588"/>
                  </a:lnTo>
                  <a:lnTo>
                    <a:pt x="558" y="594"/>
                  </a:lnTo>
                  <a:lnTo>
                    <a:pt x="558" y="600"/>
                  </a:lnTo>
                  <a:lnTo>
                    <a:pt x="558" y="606"/>
                  </a:lnTo>
                  <a:lnTo>
                    <a:pt x="552" y="612"/>
                  </a:lnTo>
                  <a:lnTo>
                    <a:pt x="558" y="612"/>
                  </a:lnTo>
                  <a:lnTo>
                    <a:pt x="558" y="618"/>
                  </a:lnTo>
                  <a:lnTo>
                    <a:pt x="558" y="624"/>
                  </a:lnTo>
                  <a:lnTo>
                    <a:pt x="558" y="630"/>
                  </a:lnTo>
                  <a:lnTo>
                    <a:pt x="552" y="630"/>
                  </a:lnTo>
                  <a:lnTo>
                    <a:pt x="552" y="624"/>
                  </a:lnTo>
                  <a:lnTo>
                    <a:pt x="546" y="624"/>
                  </a:lnTo>
                  <a:lnTo>
                    <a:pt x="546" y="618"/>
                  </a:lnTo>
                  <a:lnTo>
                    <a:pt x="546" y="612"/>
                  </a:lnTo>
                  <a:lnTo>
                    <a:pt x="540" y="612"/>
                  </a:lnTo>
                  <a:lnTo>
                    <a:pt x="534" y="612"/>
                  </a:lnTo>
                  <a:lnTo>
                    <a:pt x="528" y="612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28" y="618"/>
                  </a:lnTo>
                  <a:lnTo>
                    <a:pt x="534" y="618"/>
                  </a:lnTo>
                  <a:lnTo>
                    <a:pt x="540" y="618"/>
                  </a:lnTo>
                  <a:lnTo>
                    <a:pt x="540" y="624"/>
                  </a:lnTo>
                  <a:lnTo>
                    <a:pt x="546" y="624"/>
                  </a:lnTo>
                  <a:lnTo>
                    <a:pt x="546" y="630"/>
                  </a:lnTo>
                  <a:lnTo>
                    <a:pt x="552" y="630"/>
                  </a:lnTo>
                  <a:lnTo>
                    <a:pt x="552" y="636"/>
                  </a:lnTo>
                  <a:lnTo>
                    <a:pt x="546" y="642"/>
                  </a:lnTo>
                  <a:lnTo>
                    <a:pt x="546" y="648"/>
                  </a:lnTo>
                  <a:lnTo>
                    <a:pt x="540" y="648"/>
                  </a:lnTo>
                  <a:lnTo>
                    <a:pt x="540" y="654"/>
                  </a:lnTo>
                  <a:lnTo>
                    <a:pt x="540" y="660"/>
                  </a:lnTo>
                  <a:lnTo>
                    <a:pt x="534" y="666"/>
                  </a:lnTo>
                  <a:lnTo>
                    <a:pt x="534" y="672"/>
                  </a:lnTo>
                  <a:lnTo>
                    <a:pt x="534" y="678"/>
                  </a:lnTo>
                  <a:lnTo>
                    <a:pt x="534" y="684"/>
                  </a:lnTo>
                  <a:lnTo>
                    <a:pt x="534" y="678"/>
                  </a:lnTo>
                  <a:lnTo>
                    <a:pt x="528" y="678"/>
                  </a:lnTo>
                  <a:lnTo>
                    <a:pt x="528" y="684"/>
                  </a:lnTo>
                  <a:lnTo>
                    <a:pt x="522" y="690"/>
                  </a:lnTo>
                  <a:lnTo>
                    <a:pt x="528" y="690"/>
                  </a:lnTo>
                  <a:lnTo>
                    <a:pt x="528" y="684"/>
                  </a:lnTo>
                  <a:lnTo>
                    <a:pt x="534" y="684"/>
                  </a:lnTo>
                  <a:lnTo>
                    <a:pt x="534" y="690"/>
                  </a:lnTo>
                  <a:lnTo>
                    <a:pt x="534" y="696"/>
                  </a:lnTo>
                  <a:lnTo>
                    <a:pt x="540" y="696"/>
                  </a:lnTo>
                  <a:lnTo>
                    <a:pt x="540" y="702"/>
                  </a:lnTo>
                  <a:lnTo>
                    <a:pt x="540" y="708"/>
                  </a:lnTo>
                  <a:lnTo>
                    <a:pt x="534" y="708"/>
                  </a:lnTo>
                  <a:lnTo>
                    <a:pt x="528" y="708"/>
                  </a:lnTo>
                  <a:lnTo>
                    <a:pt x="522" y="708"/>
                  </a:lnTo>
                  <a:lnTo>
                    <a:pt x="516" y="708"/>
                  </a:lnTo>
                  <a:lnTo>
                    <a:pt x="510" y="708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2" y="708"/>
                  </a:lnTo>
                  <a:lnTo>
                    <a:pt x="486" y="714"/>
                  </a:lnTo>
                  <a:lnTo>
                    <a:pt x="480" y="708"/>
                  </a:lnTo>
                  <a:lnTo>
                    <a:pt x="474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68" y="714"/>
                  </a:lnTo>
                  <a:lnTo>
                    <a:pt x="456" y="714"/>
                  </a:lnTo>
                  <a:lnTo>
                    <a:pt x="450" y="714"/>
                  </a:lnTo>
                  <a:lnTo>
                    <a:pt x="450" y="708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50" y="690"/>
                  </a:lnTo>
                  <a:lnTo>
                    <a:pt x="450" y="684"/>
                  </a:lnTo>
                  <a:lnTo>
                    <a:pt x="450" y="678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56" y="660"/>
                  </a:lnTo>
                  <a:lnTo>
                    <a:pt x="462" y="660"/>
                  </a:lnTo>
                  <a:lnTo>
                    <a:pt x="462" y="654"/>
                  </a:lnTo>
                  <a:lnTo>
                    <a:pt x="456" y="654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48"/>
                  </a:lnTo>
                  <a:lnTo>
                    <a:pt x="444" y="648"/>
                  </a:lnTo>
                  <a:lnTo>
                    <a:pt x="444" y="642"/>
                  </a:lnTo>
                  <a:lnTo>
                    <a:pt x="444" y="636"/>
                  </a:lnTo>
                  <a:lnTo>
                    <a:pt x="450" y="636"/>
                  </a:lnTo>
                  <a:lnTo>
                    <a:pt x="450" y="630"/>
                  </a:lnTo>
                  <a:lnTo>
                    <a:pt x="456" y="630"/>
                  </a:lnTo>
                  <a:lnTo>
                    <a:pt x="462" y="630"/>
                  </a:lnTo>
                  <a:lnTo>
                    <a:pt x="462" y="624"/>
                  </a:lnTo>
                  <a:lnTo>
                    <a:pt x="468" y="624"/>
                  </a:lnTo>
                  <a:lnTo>
                    <a:pt x="474" y="624"/>
                  </a:lnTo>
                  <a:lnTo>
                    <a:pt x="474" y="618"/>
                  </a:lnTo>
                  <a:lnTo>
                    <a:pt x="480" y="618"/>
                  </a:lnTo>
                  <a:lnTo>
                    <a:pt x="486" y="618"/>
                  </a:lnTo>
                  <a:lnTo>
                    <a:pt x="486" y="624"/>
                  </a:lnTo>
                  <a:lnTo>
                    <a:pt x="486" y="636"/>
                  </a:lnTo>
                  <a:lnTo>
                    <a:pt x="486" y="642"/>
                  </a:lnTo>
                  <a:lnTo>
                    <a:pt x="486" y="648"/>
                  </a:lnTo>
                  <a:lnTo>
                    <a:pt x="492" y="648"/>
                  </a:lnTo>
                  <a:lnTo>
                    <a:pt x="492" y="642"/>
                  </a:lnTo>
                  <a:lnTo>
                    <a:pt x="498" y="636"/>
                  </a:lnTo>
                  <a:lnTo>
                    <a:pt x="492" y="636"/>
                  </a:lnTo>
                  <a:lnTo>
                    <a:pt x="492" y="630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6" y="618"/>
                  </a:lnTo>
                  <a:lnTo>
                    <a:pt x="486" y="612"/>
                  </a:lnTo>
                  <a:lnTo>
                    <a:pt x="486" y="606"/>
                  </a:lnTo>
                  <a:lnTo>
                    <a:pt x="480" y="606"/>
                  </a:lnTo>
                  <a:lnTo>
                    <a:pt x="480" y="612"/>
                  </a:lnTo>
                  <a:lnTo>
                    <a:pt x="474" y="618"/>
                  </a:lnTo>
                  <a:lnTo>
                    <a:pt x="468" y="618"/>
                  </a:lnTo>
                  <a:lnTo>
                    <a:pt x="462" y="618"/>
                  </a:lnTo>
                  <a:lnTo>
                    <a:pt x="462" y="612"/>
                  </a:lnTo>
                  <a:lnTo>
                    <a:pt x="456" y="612"/>
                  </a:lnTo>
                  <a:lnTo>
                    <a:pt x="456" y="618"/>
                  </a:lnTo>
                  <a:lnTo>
                    <a:pt x="462" y="618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30"/>
                  </a:lnTo>
                  <a:lnTo>
                    <a:pt x="444" y="630"/>
                  </a:lnTo>
                  <a:lnTo>
                    <a:pt x="444" y="636"/>
                  </a:lnTo>
                  <a:lnTo>
                    <a:pt x="444" y="642"/>
                  </a:lnTo>
                  <a:lnTo>
                    <a:pt x="444" y="654"/>
                  </a:lnTo>
                  <a:lnTo>
                    <a:pt x="444" y="660"/>
                  </a:lnTo>
                  <a:lnTo>
                    <a:pt x="438" y="660"/>
                  </a:lnTo>
                  <a:lnTo>
                    <a:pt x="432" y="660"/>
                  </a:lnTo>
                  <a:lnTo>
                    <a:pt x="432" y="654"/>
                  </a:lnTo>
                  <a:lnTo>
                    <a:pt x="438" y="654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48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26" y="660"/>
                  </a:lnTo>
                  <a:lnTo>
                    <a:pt x="432" y="666"/>
                  </a:lnTo>
                  <a:lnTo>
                    <a:pt x="432" y="672"/>
                  </a:lnTo>
                  <a:lnTo>
                    <a:pt x="438" y="672"/>
                  </a:lnTo>
                  <a:lnTo>
                    <a:pt x="438" y="678"/>
                  </a:lnTo>
                  <a:lnTo>
                    <a:pt x="444" y="678"/>
                  </a:lnTo>
                  <a:lnTo>
                    <a:pt x="444" y="684"/>
                  </a:lnTo>
                  <a:lnTo>
                    <a:pt x="438" y="690"/>
                  </a:lnTo>
                  <a:lnTo>
                    <a:pt x="438" y="696"/>
                  </a:lnTo>
                  <a:lnTo>
                    <a:pt x="438" y="702"/>
                  </a:lnTo>
                  <a:lnTo>
                    <a:pt x="432" y="702"/>
                  </a:lnTo>
                  <a:lnTo>
                    <a:pt x="426" y="702"/>
                  </a:lnTo>
                  <a:lnTo>
                    <a:pt x="426" y="696"/>
                  </a:lnTo>
                  <a:lnTo>
                    <a:pt x="414" y="696"/>
                  </a:lnTo>
                  <a:lnTo>
                    <a:pt x="402" y="696"/>
                  </a:lnTo>
                  <a:lnTo>
                    <a:pt x="402" y="690"/>
                  </a:lnTo>
                  <a:lnTo>
                    <a:pt x="396" y="690"/>
                  </a:lnTo>
                  <a:lnTo>
                    <a:pt x="390" y="690"/>
                  </a:lnTo>
                  <a:lnTo>
                    <a:pt x="384" y="690"/>
                  </a:lnTo>
                  <a:lnTo>
                    <a:pt x="384" y="684"/>
                  </a:lnTo>
                  <a:lnTo>
                    <a:pt x="384" y="678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390" y="660"/>
                  </a:lnTo>
                  <a:lnTo>
                    <a:pt x="390" y="654"/>
                  </a:lnTo>
                  <a:lnTo>
                    <a:pt x="384" y="648"/>
                  </a:lnTo>
                  <a:lnTo>
                    <a:pt x="384" y="642"/>
                  </a:lnTo>
                  <a:lnTo>
                    <a:pt x="378" y="636"/>
                  </a:lnTo>
                  <a:lnTo>
                    <a:pt x="378" y="642"/>
                  </a:lnTo>
                  <a:lnTo>
                    <a:pt x="378" y="648"/>
                  </a:lnTo>
                  <a:lnTo>
                    <a:pt x="372" y="648"/>
                  </a:lnTo>
                  <a:lnTo>
                    <a:pt x="378" y="654"/>
                  </a:lnTo>
                  <a:lnTo>
                    <a:pt x="378" y="660"/>
                  </a:lnTo>
                  <a:lnTo>
                    <a:pt x="378" y="666"/>
                  </a:lnTo>
                  <a:lnTo>
                    <a:pt x="372" y="672"/>
                  </a:lnTo>
                  <a:lnTo>
                    <a:pt x="378" y="672"/>
                  </a:lnTo>
                  <a:lnTo>
                    <a:pt x="378" y="678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54" y="666"/>
                  </a:lnTo>
                  <a:lnTo>
                    <a:pt x="354" y="660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0" y="654"/>
                  </a:lnTo>
                  <a:lnTo>
                    <a:pt x="324" y="648"/>
                  </a:lnTo>
                  <a:lnTo>
                    <a:pt x="318" y="648"/>
                  </a:lnTo>
                  <a:lnTo>
                    <a:pt x="318" y="642"/>
                  </a:lnTo>
                  <a:lnTo>
                    <a:pt x="312" y="642"/>
                  </a:lnTo>
                  <a:lnTo>
                    <a:pt x="306" y="636"/>
                  </a:lnTo>
                  <a:lnTo>
                    <a:pt x="300" y="636"/>
                  </a:lnTo>
                  <a:lnTo>
                    <a:pt x="300" y="630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0" y="618"/>
                  </a:lnTo>
                  <a:lnTo>
                    <a:pt x="306" y="612"/>
                  </a:lnTo>
                  <a:lnTo>
                    <a:pt x="300" y="612"/>
                  </a:lnTo>
                  <a:lnTo>
                    <a:pt x="300" y="606"/>
                  </a:lnTo>
                  <a:lnTo>
                    <a:pt x="300" y="612"/>
                  </a:lnTo>
                  <a:lnTo>
                    <a:pt x="294" y="612"/>
                  </a:lnTo>
                  <a:lnTo>
                    <a:pt x="288" y="618"/>
                  </a:lnTo>
                  <a:lnTo>
                    <a:pt x="288" y="612"/>
                  </a:lnTo>
                  <a:lnTo>
                    <a:pt x="288" y="618"/>
                  </a:lnTo>
                  <a:lnTo>
                    <a:pt x="294" y="618"/>
                  </a:lnTo>
                  <a:lnTo>
                    <a:pt x="300" y="624"/>
                  </a:lnTo>
                  <a:lnTo>
                    <a:pt x="294" y="624"/>
                  </a:lnTo>
                  <a:lnTo>
                    <a:pt x="288" y="624"/>
                  </a:lnTo>
                  <a:lnTo>
                    <a:pt x="282" y="61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70" y="600"/>
                  </a:lnTo>
                  <a:lnTo>
                    <a:pt x="270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76" y="594"/>
                  </a:lnTo>
                  <a:lnTo>
                    <a:pt x="282" y="594"/>
                  </a:lnTo>
                  <a:lnTo>
                    <a:pt x="282" y="588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594"/>
                  </a:lnTo>
                  <a:lnTo>
                    <a:pt x="264" y="600"/>
                  </a:lnTo>
                  <a:lnTo>
                    <a:pt x="264" y="594"/>
                  </a:lnTo>
                  <a:lnTo>
                    <a:pt x="270" y="594"/>
                  </a:lnTo>
                  <a:lnTo>
                    <a:pt x="270" y="588"/>
                  </a:lnTo>
                  <a:lnTo>
                    <a:pt x="264" y="594"/>
                  </a:lnTo>
                  <a:lnTo>
                    <a:pt x="258" y="594"/>
                  </a:lnTo>
                  <a:lnTo>
                    <a:pt x="258" y="588"/>
                  </a:lnTo>
                  <a:lnTo>
                    <a:pt x="252" y="588"/>
                  </a:lnTo>
                  <a:lnTo>
                    <a:pt x="246" y="588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52" y="588"/>
                  </a:lnTo>
                  <a:lnTo>
                    <a:pt x="252" y="594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46" y="594"/>
                  </a:lnTo>
                  <a:lnTo>
                    <a:pt x="246" y="588"/>
                  </a:lnTo>
                  <a:lnTo>
                    <a:pt x="240" y="588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2" y="570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64"/>
                  </a:lnTo>
                  <a:lnTo>
                    <a:pt x="234" y="564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34" y="558"/>
                  </a:lnTo>
                  <a:lnTo>
                    <a:pt x="228" y="558"/>
                  </a:lnTo>
                  <a:lnTo>
                    <a:pt x="222" y="558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2" y="564"/>
                  </a:lnTo>
                  <a:lnTo>
                    <a:pt x="222" y="558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04" y="546"/>
                  </a:lnTo>
                  <a:lnTo>
                    <a:pt x="204" y="540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10" y="540"/>
                  </a:lnTo>
                  <a:lnTo>
                    <a:pt x="210" y="534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8"/>
                  </a:lnTo>
                  <a:lnTo>
                    <a:pt x="174" y="516"/>
                  </a:lnTo>
                  <a:lnTo>
                    <a:pt x="168" y="510"/>
                  </a:lnTo>
                  <a:lnTo>
                    <a:pt x="162" y="504"/>
                  </a:lnTo>
                  <a:lnTo>
                    <a:pt x="156" y="498"/>
                  </a:lnTo>
                  <a:lnTo>
                    <a:pt x="156" y="492"/>
                  </a:lnTo>
                  <a:lnTo>
                    <a:pt x="150" y="486"/>
                  </a:lnTo>
                  <a:lnTo>
                    <a:pt x="144" y="480"/>
                  </a:lnTo>
                  <a:lnTo>
                    <a:pt x="144" y="474"/>
                  </a:lnTo>
                  <a:lnTo>
                    <a:pt x="138" y="474"/>
                  </a:lnTo>
                  <a:lnTo>
                    <a:pt x="138" y="468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26" y="450"/>
                  </a:lnTo>
                  <a:lnTo>
                    <a:pt x="126" y="444"/>
                  </a:lnTo>
                  <a:lnTo>
                    <a:pt x="114" y="438"/>
                  </a:lnTo>
                  <a:lnTo>
                    <a:pt x="114" y="432"/>
                  </a:lnTo>
                  <a:lnTo>
                    <a:pt x="114" y="426"/>
                  </a:lnTo>
                  <a:lnTo>
                    <a:pt x="114" y="432"/>
                  </a:lnTo>
                  <a:lnTo>
                    <a:pt x="120" y="432"/>
                  </a:lnTo>
                  <a:lnTo>
                    <a:pt x="120" y="438"/>
                  </a:lnTo>
                  <a:lnTo>
                    <a:pt x="120" y="444"/>
                  </a:lnTo>
                  <a:lnTo>
                    <a:pt x="126" y="444"/>
                  </a:lnTo>
                  <a:lnTo>
                    <a:pt x="126" y="438"/>
                  </a:lnTo>
                  <a:lnTo>
                    <a:pt x="120" y="438"/>
                  </a:lnTo>
                  <a:lnTo>
                    <a:pt x="126" y="432"/>
                  </a:lnTo>
                  <a:lnTo>
                    <a:pt x="126" y="426"/>
                  </a:lnTo>
                  <a:lnTo>
                    <a:pt x="132" y="420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08" y="414"/>
                  </a:lnTo>
                  <a:lnTo>
                    <a:pt x="102" y="414"/>
                  </a:lnTo>
                  <a:lnTo>
                    <a:pt x="102" y="408"/>
                  </a:lnTo>
                  <a:lnTo>
                    <a:pt x="96" y="402"/>
                  </a:lnTo>
                  <a:lnTo>
                    <a:pt x="96" y="396"/>
                  </a:lnTo>
                  <a:lnTo>
                    <a:pt x="96" y="390"/>
                  </a:lnTo>
                  <a:lnTo>
                    <a:pt x="90" y="390"/>
                  </a:lnTo>
                  <a:lnTo>
                    <a:pt x="90" y="384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78" y="372"/>
                  </a:lnTo>
                  <a:lnTo>
                    <a:pt x="78" y="366"/>
                  </a:lnTo>
                  <a:lnTo>
                    <a:pt x="78" y="360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6" y="348"/>
                  </a:lnTo>
                  <a:lnTo>
                    <a:pt x="66" y="342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6" y="336"/>
                  </a:lnTo>
                  <a:lnTo>
                    <a:pt x="66" y="342"/>
                  </a:lnTo>
                  <a:lnTo>
                    <a:pt x="72" y="348"/>
                  </a:lnTo>
                  <a:lnTo>
                    <a:pt x="78" y="354"/>
                  </a:lnTo>
                  <a:lnTo>
                    <a:pt x="84" y="360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0" y="360"/>
                  </a:lnTo>
                  <a:lnTo>
                    <a:pt x="84" y="360"/>
                  </a:lnTo>
                  <a:lnTo>
                    <a:pt x="84" y="354"/>
                  </a:lnTo>
                  <a:lnTo>
                    <a:pt x="78" y="348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66" y="330"/>
                  </a:lnTo>
                  <a:lnTo>
                    <a:pt x="66" y="324"/>
                  </a:lnTo>
                  <a:lnTo>
                    <a:pt x="60" y="318"/>
                  </a:lnTo>
                  <a:lnTo>
                    <a:pt x="60" y="312"/>
                  </a:lnTo>
                  <a:lnTo>
                    <a:pt x="54" y="306"/>
                  </a:lnTo>
                  <a:lnTo>
                    <a:pt x="54" y="300"/>
                  </a:lnTo>
                  <a:lnTo>
                    <a:pt x="54" y="294"/>
                  </a:lnTo>
                  <a:lnTo>
                    <a:pt x="48" y="288"/>
                  </a:lnTo>
                  <a:lnTo>
                    <a:pt x="48" y="294"/>
                  </a:lnTo>
                  <a:lnTo>
                    <a:pt x="48" y="288"/>
                  </a:lnTo>
                  <a:lnTo>
                    <a:pt x="48" y="282"/>
                  </a:lnTo>
                  <a:lnTo>
                    <a:pt x="48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18" y="216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6" y="180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62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68"/>
                  </a:lnTo>
                  <a:lnTo>
                    <a:pt x="42" y="168"/>
                  </a:lnTo>
                  <a:lnTo>
                    <a:pt x="42" y="174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86"/>
                  </a:lnTo>
                  <a:close/>
                  <a:moveTo>
                    <a:pt x="642" y="660"/>
                  </a:moveTo>
                  <a:lnTo>
                    <a:pt x="642" y="666"/>
                  </a:lnTo>
                  <a:lnTo>
                    <a:pt x="648" y="666"/>
                  </a:lnTo>
                  <a:lnTo>
                    <a:pt x="648" y="672"/>
                  </a:lnTo>
                  <a:lnTo>
                    <a:pt x="648" y="678"/>
                  </a:lnTo>
                  <a:lnTo>
                    <a:pt x="654" y="678"/>
                  </a:lnTo>
                  <a:lnTo>
                    <a:pt x="654" y="684"/>
                  </a:lnTo>
                  <a:lnTo>
                    <a:pt x="660" y="684"/>
                  </a:lnTo>
                  <a:lnTo>
                    <a:pt x="660" y="690"/>
                  </a:lnTo>
                  <a:lnTo>
                    <a:pt x="654" y="690"/>
                  </a:lnTo>
                  <a:lnTo>
                    <a:pt x="648" y="690"/>
                  </a:lnTo>
                  <a:lnTo>
                    <a:pt x="636" y="696"/>
                  </a:lnTo>
                  <a:lnTo>
                    <a:pt x="630" y="696"/>
                  </a:lnTo>
                  <a:lnTo>
                    <a:pt x="624" y="696"/>
                  </a:lnTo>
                  <a:lnTo>
                    <a:pt x="618" y="696"/>
                  </a:lnTo>
                  <a:lnTo>
                    <a:pt x="612" y="696"/>
                  </a:lnTo>
                  <a:lnTo>
                    <a:pt x="594" y="696"/>
                  </a:lnTo>
                  <a:lnTo>
                    <a:pt x="588" y="696"/>
                  </a:lnTo>
                  <a:lnTo>
                    <a:pt x="582" y="696"/>
                  </a:lnTo>
                  <a:lnTo>
                    <a:pt x="570" y="702"/>
                  </a:lnTo>
                  <a:lnTo>
                    <a:pt x="564" y="702"/>
                  </a:lnTo>
                  <a:lnTo>
                    <a:pt x="558" y="702"/>
                  </a:lnTo>
                  <a:lnTo>
                    <a:pt x="552" y="702"/>
                  </a:lnTo>
                  <a:lnTo>
                    <a:pt x="552" y="696"/>
                  </a:lnTo>
                  <a:lnTo>
                    <a:pt x="546" y="696"/>
                  </a:lnTo>
                  <a:lnTo>
                    <a:pt x="546" y="690"/>
                  </a:lnTo>
                  <a:lnTo>
                    <a:pt x="552" y="684"/>
                  </a:lnTo>
                  <a:lnTo>
                    <a:pt x="552" y="678"/>
                  </a:lnTo>
                  <a:lnTo>
                    <a:pt x="558" y="672"/>
                  </a:lnTo>
                  <a:lnTo>
                    <a:pt x="558" y="666"/>
                  </a:lnTo>
                  <a:lnTo>
                    <a:pt x="564" y="666"/>
                  </a:lnTo>
                  <a:lnTo>
                    <a:pt x="570" y="666"/>
                  </a:lnTo>
                  <a:lnTo>
                    <a:pt x="570" y="654"/>
                  </a:lnTo>
                  <a:lnTo>
                    <a:pt x="570" y="648"/>
                  </a:lnTo>
                  <a:lnTo>
                    <a:pt x="582" y="642"/>
                  </a:lnTo>
                  <a:lnTo>
                    <a:pt x="582" y="636"/>
                  </a:lnTo>
                  <a:lnTo>
                    <a:pt x="588" y="636"/>
                  </a:lnTo>
                  <a:lnTo>
                    <a:pt x="588" y="630"/>
                  </a:lnTo>
                  <a:lnTo>
                    <a:pt x="594" y="624"/>
                  </a:lnTo>
                  <a:lnTo>
                    <a:pt x="594" y="618"/>
                  </a:lnTo>
                  <a:lnTo>
                    <a:pt x="600" y="618"/>
                  </a:lnTo>
                  <a:lnTo>
                    <a:pt x="600" y="612"/>
                  </a:lnTo>
                  <a:lnTo>
                    <a:pt x="606" y="612"/>
                  </a:lnTo>
                  <a:lnTo>
                    <a:pt x="606" y="618"/>
                  </a:lnTo>
                  <a:lnTo>
                    <a:pt x="612" y="618"/>
                  </a:lnTo>
                  <a:lnTo>
                    <a:pt x="618" y="618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18" y="636"/>
                  </a:lnTo>
                  <a:lnTo>
                    <a:pt x="618" y="642"/>
                  </a:lnTo>
                  <a:lnTo>
                    <a:pt x="618" y="648"/>
                  </a:lnTo>
                  <a:lnTo>
                    <a:pt x="624" y="648"/>
                  </a:lnTo>
                  <a:lnTo>
                    <a:pt x="630" y="648"/>
                  </a:lnTo>
                  <a:lnTo>
                    <a:pt x="636" y="654"/>
                  </a:lnTo>
                  <a:lnTo>
                    <a:pt x="642" y="654"/>
                  </a:lnTo>
                  <a:lnTo>
                    <a:pt x="642" y="66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0" name="Freeform 5">
              <a:extLst>
                <a:ext uri="{FF2B5EF4-FFF2-40B4-BE49-F238E27FC236}">
                  <a16:creationId xmlns:a16="http://schemas.microsoft.com/office/drawing/2014/main" id="{5577BDCA-F2C7-42E0-A391-018D79AA29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0384" y="4231013"/>
              <a:ext cx="404750" cy="480848"/>
            </a:xfrm>
            <a:custGeom>
              <a:avLst/>
              <a:gdLst>
                <a:gd name="T0" fmla="*/ 9 w 762"/>
                <a:gd name="T1" fmla="*/ 58 h 900"/>
                <a:gd name="T2" fmla="*/ 4 w 762"/>
                <a:gd name="T3" fmla="*/ 56 h 900"/>
                <a:gd name="T4" fmla="*/ 0 w 762"/>
                <a:gd name="T5" fmla="*/ 49 h 900"/>
                <a:gd name="T6" fmla="*/ 4 w 762"/>
                <a:gd name="T7" fmla="*/ 36 h 900"/>
                <a:gd name="T8" fmla="*/ 8 w 762"/>
                <a:gd name="T9" fmla="*/ 28 h 900"/>
                <a:gd name="T10" fmla="*/ 7 w 762"/>
                <a:gd name="T11" fmla="*/ 13 h 900"/>
                <a:gd name="T12" fmla="*/ 15 w 762"/>
                <a:gd name="T13" fmla="*/ 0 h 900"/>
                <a:gd name="T14" fmla="*/ 16 w 762"/>
                <a:gd name="T15" fmla="*/ 13 h 900"/>
                <a:gd name="T16" fmla="*/ 31 w 762"/>
                <a:gd name="T17" fmla="*/ 28 h 900"/>
                <a:gd name="T18" fmla="*/ 49 w 762"/>
                <a:gd name="T19" fmla="*/ 33 h 900"/>
                <a:gd name="T20" fmla="*/ 42 w 762"/>
                <a:gd name="T21" fmla="*/ 48 h 900"/>
                <a:gd name="T22" fmla="*/ 51 w 762"/>
                <a:gd name="T23" fmla="*/ 48 h 900"/>
                <a:gd name="T24" fmla="*/ 61 w 762"/>
                <a:gd name="T25" fmla="*/ 51 h 900"/>
                <a:gd name="T26" fmla="*/ 63 w 762"/>
                <a:gd name="T27" fmla="*/ 60 h 900"/>
                <a:gd name="T28" fmla="*/ 63 w 762"/>
                <a:gd name="T29" fmla="*/ 66 h 900"/>
                <a:gd name="T30" fmla="*/ 65 w 762"/>
                <a:gd name="T31" fmla="*/ 69 h 900"/>
                <a:gd name="T32" fmla="*/ 66 w 762"/>
                <a:gd name="T33" fmla="*/ 72 h 900"/>
                <a:gd name="T34" fmla="*/ 56 w 762"/>
                <a:gd name="T35" fmla="*/ 73 h 900"/>
                <a:gd name="T36" fmla="*/ 55 w 762"/>
                <a:gd name="T37" fmla="*/ 69 h 900"/>
                <a:gd name="T38" fmla="*/ 57 w 762"/>
                <a:gd name="T39" fmla="*/ 67 h 900"/>
                <a:gd name="T40" fmla="*/ 55 w 762"/>
                <a:gd name="T41" fmla="*/ 65 h 900"/>
                <a:gd name="T42" fmla="*/ 53 w 762"/>
                <a:gd name="T43" fmla="*/ 68 h 900"/>
                <a:gd name="T44" fmla="*/ 49 w 762"/>
                <a:gd name="T45" fmla="*/ 68 h 900"/>
                <a:gd name="T46" fmla="*/ 44 w 762"/>
                <a:gd name="T47" fmla="*/ 63 h 900"/>
                <a:gd name="T48" fmla="*/ 40 w 762"/>
                <a:gd name="T49" fmla="*/ 59 h 900"/>
                <a:gd name="T50" fmla="*/ 38 w 762"/>
                <a:gd name="T51" fmla="*/ 57 h 900"/>
                <a:gd name="T52" fmla="*/ 43 w 762"/>
                <a:gd name="T53" fmla="*/ 62 h 900"/>
                <a:gd name="T54" fmla="*/ 43 w 762"/>
                <a:gd name="T55" fmla="*/ 66 h 900"/>
                <a:gd name="T56" fmla="*/ 41 w 762"/>
                <a:gd name="T57" fmla="*/ 71 h 900"/>
                <a:gd name="T58" fmla="*/ 37 w 762"/>
                <a:gd name="T59" fmla="*/ 69 h 900"/>
                <a:gd name="T60" fmla="*/ 35 w 762"/>
                <a:gd name="T61" fmla="*/ 64 h 900"/>
                <a:gd name="T62" fmla="*/ 31 w 762"/>
                <a:gd name="T63" fmla="*/ 57 h 900"/>
                <a:gd name="T64" fmla="*/ 30 w 762"/>
                <a:gd name="T65" fmla="*/ 62 h 900"/>
                <a:gd name="T66" fmla="*/ 29 w 762"/>
                <a:gd name="T67" fmla="*/ 61 h 900"/>
                <a:gd name="T68" fmla="*/ 31 w 762"/>
                <a:gd name="T69" fmla="*/ 66 h 900"/>
                <a:gd name="T70" fmla="*/ 33 w 762"/>
                <a:gd name="T71" fmla="*/ 72 h 900"/>
                <a:gd name="T72" fmla="*/ 32 w 762"/>
                <a:gd name="T73" fmla="*/ 76 h 900"/>
                <a:gd name="T74" fmla="*/ 28 w 762"/>
                <a:gd name="T75" fmla="*/ 75 h 900"/>
                <a:gd name="T76" fmla="*/ 24 w 762"/>
                <a:gd name="T77" fmla="*/ 69 h 900"/>
                <a:gd name="T78" fmla="*/ 24 w 762"/>
                <a:gd name="T79" fmla="*/ 62 h 900"/>
                <a:gd name="T80" fmla="*/ 23 w 762"/>
                <a:gd name="T81" fmla="*/ 62 h 900"/>
                <a:gd name="T82" fmla="*/ 23 w 762"/>
                <a:gd name="T83" fmla="*/ 68 h 900"/>
                <a:gd name="T84" fmla="*/ 25 w 762"/>
                <a:gd name="T85" fmla="*/ 77 h 900"/>
                <a:gd name="T86" fmla="*/ 17 w 762"/>
                <a:gd name="T87" fmla="*/ 74 h 900"/>
                <a:gd name="T88" fmla="*/ 17 w 762"/>
                <a:gd name="T89" fmla="*/ 67 h 900"/>
                <a:gd name="T90" fmla="*/ 16 w 762"/>
                <a:gd name="T91" fmla="*/ 67 h 900"/>
                <a:gd name="T92" fmla="*/ 15 w 762"/>
                <a:gd name="T93" fmla="*/ 71 h 900"/>
                <a:gd name="T94" fmla="*/ 12 w 762"/>
                <a:gd name="T95" fmla="*/ 68 h 900"/>
                <a:gd name="T96" fmla="*/ 15 w 762"/>
                <a:gd name="T97" fmla="*/ 72 h 900"/>
                <a:gd name="T98" fmla="*/ 17 w 762"/>
                <a:gd name="T99" fmla="*/ 77 h 900"/>
                <a:gd name="T100" fmla="*/ 11 w 762"/>
                <a:gd name="T101" fmla="*/ 77 h 900"/>
                <a:gd name="T102" fmla="*/ 10 w 762"/>
                <a:gd name="T103" fmla="*/ 69 h 900"/>
                <a:gd name="T104" fmla="*/ 11 w 762"/>
                <a:gd name="T105" fmla="*/ 72 h 900"/>
                <a:gd name="T106" fmla="*/ 9 w 762"/>
                <a:gd name="T107" fmla="*/ 78 h 900"/>
                <a:gd name="T108" fmla="*/ 43 w 762"/>
                <a:gd name="T109" fmla="*/ 71 h 900"/>
                <a:gd name="T110" fmla="*/ 51 w 762"/>
                <a:gd name="T111" fmla="*/ 69 h 900"/>
                <a:gd name="T112" fmla="*/ 43 w 762"/>
                <a:gd name="T113" fmla="*/ 76 h 900"/>
                <a:gd name="T114" fmla="*/ 36 w 762"/>
                <a:gd name="T115" fmla="*/ 65 h 900"/>
                <a:gd name="T116" fmla="*/ 38 w 762"/>
                <a:gd name="T117" fmla="*/ 72 h 900"/>
                <a:gd name="T118" fmla="*/ 34 w 762"/>
                <a:gd name="T119" fmla="*/ 69 h 900"/>
                <a:gd name="T120" fmla="*/ 29 w 762"/>
                <a:gd name="T121" fmla="*/ 64 h 900"/>
                <a:gd name="T122" fmla="*/ 32 w 762"/>
                <a:gd name="T123" fmla="*/ 66 h 90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900"/>
                <a:gd name="T188" fmla="*/ 762 w 762"/>
                <a:gd name="T189" fmla="*/ 900 h 90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900">
                  <a:moveTo>
                    <a:pt x="90" y="768"/>
                  </a:moveTo>
                  <a:lnTo>
                    <a:pt x="102" y="756"/>
                  </a:lnTo>
                  <a:lnTo>
                    <a:pt x="102" y="750"/>
                  </a:lnTo>
                  <a:lnTo>
                    <a:pt x="90" y="744"/>
                  </a:lnTo>
                  <a:lnTo>
                    <a:pt x="84" y="738"/>
                  </a:lnTo>
                  <a:lnTo>
                    <a:pt x="90" y="726"/>
                  </a:lnTo>
                  <a:lnTo>
                    <a:pt x="84" y="720"/>
                  </a:lnTo>
                  <a:lnTo>
                    <a:pt x="78" y="720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72" y="702"/>
                  </a:lnTo>
                  <a:lnTo>
                    <a:pt x="72" y="696"/>
                  </a:lnTo>
                  <a:lnTo>
                    <a:pt x="84" y="684"/>
                  </a:lnTo>
                  <a:lnTo>
                    <a:pt x="96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102" y="654"/>
                  </a:lnTo>
                  <a:lnTo>
                    <a:pt x="108" y="654"/>
                  </a:lnTo>
                  <a:lnTo>
                    <a:pt x="114" y="648"/>
                  </a:lnTo>
                  <a:lnTo>
                    <a:pt x="120" y="642"/>
                  </a:lnTo>
                  <a:lnTo>
                    <a:pt x="120" y="636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14" y="618"/>
                  </a:lnTo>
                  <a:lnTo>
                    <a:pt x="102" y="618"/>
                  </a:lnTo>
                  <a:lnTo>
                    <a:pt x="90" y="618"/>
                  </a:lnTo>
                  <a:lnTo>
                    <a:pt x="78" y="624"/>
                  </a:lnTo>
                  <a:lnTo>
                    <a:pt x="72" y="630"/>
                  </a:lnTo>
                  <a:lnTo>
                    <a:pt x="54" y="642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42" y="642"/>
                  </a:lnTo>
                  <a:lnTo>
                    <a:pt x="42" y="636"/>
                  </a:lnTo>
                  <a:lnTo>
                    <a:pt x="36" y="636"/>
                  </a:lnTo>
                  <a:lnTo>
                    <a:pt x="30" y="642"/>
                  </a:lnTo>
                  <a:lnTo>
                    <a:pt x="30" y="636"/>
                  </a:lnTo>
                  <a:lnTo>
                    <a:pt x="30" y="630"/>
                  </a:lnTo>
                  <a:lnTo>
                    <a:pt x="24" y="630"/>
                  </a:lnTo>
                  <a:lnTo>
                    <a:pt x="30" y="624"/>
                  </a:lnTo>
                  <a:lnTo>
                    <a:pt x="30" y="618"/>
                  </a:lnTo>
                  <a:lnTo>
                    <a:pt x="30" y="612"/>
                  </a:lnTo>
                  <a:lnTo>
                    <a:pt x="36" y="612"/>
                  </a:lnTo>
                  <a:lnTo>
                    <a:pt x="36" y="606"/>
                  </a:lnTo>
                  <a:lnTo>
                    <a:pt x="30" y="606"/>
                  </a:lnTo>
                  <a:lnTo>
                    <a:pt x="24" y="612"/>
                  </a:lnTo>
                  <a:lnTo>
                    <a:pt x="18" y="606"/>
                  </a:lnTo>
                  <a:lnTo>
                    <a:pt x="12" y="594"/>
                  </a:lnTo>
                  <a:lnTo>
                    <a:pt x="6" y="582"/>
                  </a:lnTo>
                  <a:lnTo>
                    <a:pt x="6" y="570"/>
                  </a:lnTo>
                  <a:lnTo>
                    <a:pt x="0" y="558"/>
                  </a:lnTo>
                  <a:lnTo>
                    <a:pt x="6" y="552"/>
                  </a:lnTo>
                  <a:lnTo>
                    <a:pt x="6" y="534"/>
                  </a:lnTo>
                  <a:lnTo>
                    <a:pt x="18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12" y="480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54" y="408"/>
                  </a:lnTo>
                  <a:lnTo>
                    <a:pt x="54" y="396"/>
                  </a:lnTo>
                  <a:lnTo>
                    <a:pt x="54" y="384"/>
                  </a:lnTo>
                  <a:lnTo>
                    <a:pt x="60" y="378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66"/>
                  </a:lnTo>
                  <a:lnTo>
                    <a:pt x="60" y="360"/>
                  </a:lnTo>
                  <a:lnTo>
                    <a:pt x="66" y="360"/>
                  </a:lnTo>
                  <a:lnTo>
                    <a:pt x="72" y="354"/>
                  </a:lnTo>
                  <a:lnTo>
                    <a:pt x="78" y="354"/>
                  </a:lnTo>
                  <a:lnTo>
                    <a:pt x="84" y="348"/>
                  </a:lnTo>
                  <a:lnTo>
                    <a:pt x="96" y="348"/>
                  </a:lnTo>
                  <a:lnTo>
                    <a:pt x="96" y="342"/>
                  </a:lnTo>
                  <a:lnTo>
                    <a:pt x="96" y="336"/>
                  </a:lnTo>
                  <a:lnTo>
                    <a:pt x="96" y="330"/>
                  </a:lnTo>
                  <a:lnTo>
                    <a:pt x="96" y="324"/>
                  </a:lnTo>
                  <a:lnTo>
                    <a:pt x="102" y="318"/>
                  </a:lnTo>
                  <a:lnTo>
                    <a:pt x="108" y="312"/>
                  </a:lnTo>
                  <a:lnTo>
                    <a:pt x="96" y="306"/>
                  </a:lnTo>
                  <a:lnTo>
                    <a:pt x="84" y="288"/>
                  </a:lnTo>
                  <a:lnTo>
                    <a:pt x="108" y="258"/>
                  </a:lnTo>
                  <a:lnTo>
                    <a:pt x="102" y="222"/>
                  </a:lnTo>
                  <a:lnTo>
                    <a:pt x="84" y="222"/>
                  </a:lnTo>
                  <a:lnTo>
                    <a:pt x="54" y="216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2"/>
                  </a:lnTo>
                  <a:lnTo>
                    <a:pt x="72" y="192"/>
                  </a:lnTo>
                  <a:lnTo>
                    <a:pt x="84" y="186"/>
                  </a:lnTo>
                  <a:lnTo>
                    <a:pt x="90" y="186"/>
                  </a:lnTo>
                  <a:lnTo>
                    <a:pt x="90" y="174"/>
                  </a:lnTo>
                  <a:lnTo>
                    <a:pt x="84" y="162"/>
                  </a:lnTo>
                  <a:lnTo>
                    <a:pt x="84" y="150"/>
                  </a:lnTo>
                  <a:lnTo>
                    <a:pt x="84" y="126"/>
                  </a:lnTo>
                  <a:lnTo>
                    <a:pt x="84" y="114"/>
                  </a:lnTo>
                  <a:lnTo>
                    <a:pt x="90" y="102"/>
                  </a:lnTo>
                  <a:lnTo>
                    <a:pt x="96" y="96"/>
                  </a:lnTo>
                  <a:lnTo>
                    <a:pt x="108" y="96"/>
                  </a:lnTo>
                  <a:lnTo>
                    <a:pt x="120" y="90"/>
                  </a:lnTo>
                  <a:lnTo>
                    <a:pt x="126" y="78"/>
                  </a:lnTo>
                  <a:lnTo>
                    <a:pt x="138" y="66"/>
                  </a:lnTo>
                  <a:lnTo>
                    <a:pt x="138" y="48"/>
                  </a:lnTo>
                  <a:lnTo>
                    <a:pt x="138" y="42"/>
                  </a:lnTo>
                  <a:lnTo>
                    <a:pt x="126" y="30"/>
                  </a:lnTo>
                  <a:lnTo>
                    <a:pt x="120" y="18"/>
                  </a:lnTo>
                  <a:lnTo>
                    <a:pt x="132" y="12"/>
                  </a:lnTo>
                  <a:lnTo>
                    <a:pt x="144" y="0"/>
                  </a:lnTo>
                  <a:lnTo>
                    <a:pt x="150" y="6"/>
                  </a:lnTo>
                  <a:lnTo>
                    <a:pt x="162" y="6"/>
                  </a:lnTo>
                  <a:lnTo>
                    <a:pt x="174" y="6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6" y="54"/>
                  </a:lnTo>
                  <a:lnTo>
                    <a:pt x="162" y="54"/>
                  </a:lnTo>
                  <a:lnTo>
                    <a:pt x="162" y="60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68" y="66"/>
                  </a:lnTo>
                  <a:lnTo>
                    <a:pt x="174" y="66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68" y="72"/>
                  </a:lnTo>
                  <a:lnTo>
                    <a:pt x="156" y="150"/>
                  </a:lnTo>
                  <a:lnTo>
                    <a:pt x="168" y="144"/>
                  </a:lnTo>
                  <a:lnTo>
                    <a:pt x="180" y="150"/>
                  </a:lnTo>
                  <a:lnTo>
                    <a:pt x="186" y="150"/>
                  </a:lnTo>
                  <a:lnTo>
                    <a:pt x="186" y="144"/>
                  </a:lnTo>
                  <a:lnTo>
                    <a:pt x="192" y="150"/>
                  </a:lnTo>
                  <a:lnTo>
                    <a:pt x="222" y="150"/>
                  </a:lnTo>
                  <a:lnTo>
                    <a:pt x="222" y="168"/>
                  </a:lnTo>
                  <a:lnTo>
                    <a:pt x="222" y="186"/>
                  </a:lnTo>
                  <a:lnTo>
                    <a:pt x="234" y="198"/>
                  </a:lnTo>
                  <a:lnTo>
                    <a:pt x="234" y="234"/>
                  </a:lnTo>
                  <a:lnTo>
                    <a:pt x="228" y="270"/>
                  </a:lnTo>
                  <a:lnTo>
                    <a:pt x="246" y="282"/>
                  </a:lnTo>
                  <a:lnTo>
                    <a:pt x="258" y="294"/>
                  </a:lnTo>
                  <a:lnTo>
                    <a:pt x="270" y="300"/>
                  </a:lnTo>
                  <a:lnTo>
                    <a:pt x="294" y="300"/>
                  </a:lnTo>
                  <a:lnTo>
                    <a:pt x="288" y="306"/>
                  </a:lnTo>
                  <a:lnTo>
                    <a:pt x="300" y="312"/>
                  </a:lnTo>
                  <a:lnTo>
                    <a:pt x="306" y="318"/>
                  </a:lnTo>
                  <a:lnTo>
                    <a:pt x="324" y="324"/>
                  </a:lnTo>
                  <a:lnTo>
                    <a:pt x="354" y="318"/>
                  </a:lnTo>
                  <a:lnTo>
                    <a:pt x="354" y="312"/>
                  </a:lnTo>
                  <a:lnTo>
                    <a:pt x="366" y="312"/>
                  </a:lnTo>
                  <a:lnTo>
                    <a:pt x="384" y="312"/>
                  </a:lnTo>
                  <a:lnTo>
                    <a:pt x="390" y="306"/>
                  </a:lnTo>
                  <a:lnTo>
                    <a:pt x="396" y="306"/>
                  </a:lnTo>
                  <a:lnTo>
                    <a:pt x="408" y="306"/>
                  </a:lnTo>
                  <a:lnTo>
                    <a:pt x="426" y="312"/>
                  </a:lnTo>
                  <a:lnTo>
                    <a:pt x="456" y="324"/>
                  </a:lnTo>
                  <a:lnTo>
                    <a:pt x="504" y="330"/>
                  </a:lnTo>
                  <a:lnTo>
                    <a:pt x="510" y="336"/>
                  </a:lnTo>
                  <a:lnTo>
                    <a:pt x="534" y="336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58" y="330"/>
                  </a:lnTo>
                  <a:lnTo>
                    <a:pt x="564" y="330"/>
                  </a:lnTo>
                  <a:lnTo>
                    <a:pt x="570" y="354"/>
                  </a:lnTo>
                  <a:lnTo>
                    <a:pt x="564" y="378"/>
                  </a:lnTo>
                  <a:lnTo>
                    <a:pt x="558" y="396"/>
                  </a:lnTo>
                  <a:lnTo>
                    <a:pt x="546" y="414"/>
                  </a:lnTo>
                  <a:lnTo>
                    <a:pt x="546" y="438"/>
                  </a:lnTo>
                  <a:lnTo>
                    <a:pt x="540" y="456"/>
                  </a:lnTo>
                  <a:lnTo>
                    <a:pt x="540" y="474"/>
                  </a:lnTo>
                  <a:lnTo>
                    <a:pt x="528" y="480"/>
                  </a:lnTo>
                  <a:lnTo>
                    <a:pt x="522" y="492"/>
                  </a:lnTo>
                  <a:lnTo>
                    <a:pt x="504" y="498"/>
                  </a:lnTo>
                  <a:lnTo>
                    <a:pt x="498" y="498"/>
                  </a:lnTo>
                  <a:lnTo>
                    <a:pt x="492" y="504"/>
                  </a:lnTo>
                  <a:lnTo>
                    <a:pt x="486" y="510"/>
                  </a:lnTo>
                  <a:lnTo>
                    <a:pt x="480" y="510"/>
                  </a:lnTo>
                  <a:lnTo>
                    <a:pt x="480" y="516"/>
                  </a:lnTo>
                  <a:lnTo>
                    <a:pt x="474" y="522"/>
                  </a:lnTo>
                  <a:lnTo>
                    <a:pt x="474" y="528"/>
                  </a:lnTo>
                  <a:lnTo>
                    <a:pt x="474" y="534"/>
                  </a:lnTo>
                  <a:lnTo>
                    <a:pt x="480" y="540"/>
                  </a:lnTo>
                  <a:lnTo>
                    <a:pt x="492" y="540"/>
                  </a:lnTo>
                  <a:lnTo>
                    <a:pt x="498" y="546"/>
                  </a:lnTo>
                  <a:lnTo>
                    <a:pt x="504" y="552"/>
                  </a:lnTo>
                  <a:lnTo>
                    <a:pt x="510" y="552"/>
                  </a:lnTo>
                  <a:lnTo>
                    <a:pt x="516" y="558"/>
                  </a:lnTo>
                  <a:lnTo>
                    <a:pt x="528" y="558"/>
                  </a:lnTo>
                  <a:lnTo>
                    <a:pt x="534" y="552"/>
                  </a:lnTo>
                  <a:lnTo>
                    <a:pt x="540" y="552"/>
                  </a:lnTo>
                  <a:lnTo>
                    <a:pt x="546" y="552"/>
                  </a:lnTo>
                  <a:lnTo>
                    <a:pt x="558" y="546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70" y="546"/>
                  </a:lnTo>
                  <a:lnTo>
                    <a:pt x="570" y="540"/>
                  </a:lnTo>
                  <a:lnTo>
                    <a:pt x="570" y="546"/>
                  </a:lnTo>
                  <a:lnTo>
                    <a:pt x="576" y="546"/>
                  </a:lnTo>
                  <a:lnTo>
                    <a:pt x="582" y="546"/>
                  </a:lnTo>
                  <a:lnTo>
                    <a:pt x="588" y="540"/>
                  </a:lnTo>
                  <a:lnTo>
                    <a:pt x="594" y="546"/>
                  </a:lnTo>
                  <a:lnTo>
                    <a:pt x="606" y="546"/>
                  </a:lnTo>
                  <a:lnTo>
                    <a:pt x="612" y="546"/>
                  </a:lnTo>
                  <a:lnTo>
                    <a:pt x="612" y="552"/>
                  </a:lnTo>
                  <a:lnTo>
                    <a:pt x="618" y="552"/>
                  </a:lnTo>
                  <a:lnTo>
                    <a:pt x="624" y="552"/>
                  </a:lnTo>
                  <a:lnTo>
                    <a:pt x="630" y="552"/>
                  </a:lnTo>
                  <a:lnTo>
                    <a:pt x="648" y="546"/>
                  </a:lnTo>
                  <a:lnTo>
                    <a:pt x="654" y="546"/>
                  </a:lnTo>
                  <a:lnTo>
                    <a:pt x="654" y="552"/>
                  </a:lnTo>
                  <a:lnTo>
                    <a:pt x="660" y="558"/>
                  </a:lnTo>
                  <a:lnTo>
                    <a:pt x="666" y="564"/>
                  </a:lnTo>
                  <a:lnTo>
                    <a:pt x="672" y="564"/>
                  </a:lnTo>
                  <a:lnTo>
                    <a:pt x="678" y="564"/>
                  </a:lnTo>
                  <a:lnTo>
                    <a:pt x="696" y="576"/>
                  </a:lnTo>
                  <a:lnTo>
                    <a:pt x="696" y="582"/>
                  </a:lnTo>
                  <a:lnTo>
                    <a:pt x="708" y="588"/>
                  </a:lnTo>
                  <a:lnTo>
                    <a:pt x="708" y="594"/>
                  </a:lnTo>
                  <a:lnTo>
                    <a:pt x="720" y="606"/>
                  </a:lnTo>
                  <a:lnTo>
                    <a:pt x="720" y="618"/>
                  </a:lnTo>
                  <a:lnTo>
                    <a:pt x="720" y="624"/>
                  </a:lnTo>
                  <a:lnTo>
                    <a:pt x="726" y="630"/>
                  </a:lnTo>
                  <a:lnTo>
                    <a:pt x="732" y="636"/>
                  </a:lnTo>
                  <a:lnTo>
                    <a:pt x="732" y="642"/>
                  </a:lnTo>
                  <a:lnTo>
                    <a:pt x="732" y="648"/>
                  </a:lnTo>
                  <a:lnTo>
                    <a:pt x="726" y="654"/>
                  </a:lnTo>
                  <a:lnTo>
                    <a:pt x="720" y="660"/>
                  </a:lnTo>
                  <a:lnTo>
                    <a:pt x="714" y="666"/>
                  </a:lnTo>
                  <a:lnTo>
                    <a:pt x="714" y="672"/>
                  </a:lnTo>
                  <a:lnTo>
                    <a:pt x="714" y="678"/>
                  </a:lnTo>
                  <a:lnTo>
                    <a:pt x="720" y="678"/>
                  </a:lnTo>
                  <a:lnTo>
                    <a:pt x="720" y="684"/>
                  </a:lnTo>
                  <a:lnTo>
                    <a:pt x="714" y="690"/>
                  </a:lnTo>
                  <a:lnTo>
                    <a:pt x="714" y="696"/>
                  </a:lnTo>
                  <a:lnTo>
                    <a:pt x="714" y="702"/>
                  </a:lnTo>
                  <a:lnTo>
                    <a:pt x="714" y="708"/>
                  </a:lnTo>
                  <a:lnTo>
                    <a:pt x="720" y="708"/>
                  </a:lnTo>
                  <a:lnTo>
                    <a:pt x="720" y="720"/>
                  </a:lnTo>
                  <a:lnTo>
                    <a:pt x="720" y="726"/>
                  </a:lnTo>
                  <a:lnTo>
                    <a:pt x="726" y="726"/>
                  </a:lnTo>
                  <a:lnTo>
                    <a:pt x="726" y="732"/>
                  </a:lnTo>
                  <a:lnTo>
                    <a:pt x="732" y="732"/>
                  </a:lnTo>
                  <a:lnTo>
                    <a:pt x="732" y="738"/>
                  </a:lnTo>
                  <a:lnTo>
                    <a:pt x="726" y="738"/>
                  </a:lnTo>
                  <a:lnTo>
                    <a:pt x="720" y="738"/>
                  </a:lnTo>
                  <a:lnTo>
                    <a:pt x="720" y="744"/>
                  </a:lnTo>
                  <a:lnTo>
                    <a:pt x="720" y="750"/>
                  </a:lnTo>
                  <a:lnTo>
                    <a:pt x="714" y="750"/>
                  </a:lnTo>
                  <a:lnTo>
                    <a:pt x="714" y="756"/>
                  </a:lnTo>
                  <a:lnTo>
                    <a:pt x="720" y="756"/>
                  </a:lnTo>
                  <a:lnTo>
                    <a:pt x="714" y="762"/>
                  </a:lnTo>
                  <a:lnTo>
                    <a:pt x="720" y="762"/>
                  </a:lnTo>
                  <a:lnTo>
                    <a:pt x="726" y="768"/>
                  </a:lnTo>
                  <a:lnTo>
                    <a:pt x="726" y="774"/>
                  </a:lnTo>
                  <a:lnTo>
                    <a:pt x="732" y="774"/>
                  </a:lnTo>
                  <a:lnTo>
                    <a:pt x="732" y="780"/>
                  </a:lnTo>
                  <a:lnTo>
                    <a:pt x="726" y="780"/>
                  </a:lnTo>
                  <a:lnTo>
                    <a:pt x="726" y="786"/>
                  </a:lnTo>
                  <a:lnTo>
                    <a:pt x="720" y="786"/>
                  </a:lnTo>
                  <a:lnTo>
                    <a:pt x="726" y="786"/>
                  </a:lnTo>
                  <a:lnTo>
                    <a:pt x="732" y="780"/>
                  </a:lnTo>
                  <a:lnTo>
                    <a:pt x="738" y="780"/>
                  </a:lnTo>
                  <a:lnTo>
                    <a:pt x="744" y="780"/>
                  </a:lnTo>
                  <a:lnTo>
                    <a:pt x="744" y="786"/>
                  </a:lnTo>
                  <a:lnTo>
                    <a:pt x="750" y="786"/>
                  </a:lnTo>
                  <a:lnTo>
                    <a:pt x="744" y="786"/>
                  </a:lnTo>
                  <a:lnTo>
                    <a:pt x="744" y="792"/>
                  </a:lnTo>
                  <a:lnTo>
                    <a:pt x="744" y="786"/>
                  </a:lnTo>
                  <a:lnTo>
                    <a:pt x="738" y="792"/>
                  </a:lnTo>
                  <a:lnTo>
                    <a:pt x="744" y="792"/>
                  </a:lnTo>
                  <a:lnTo>
                    <a:pt x="750" y="792"/>
                  </a:lnTo>
                  <a:lnTo>
                    <a:pt x="750" y="786"/>
                  </a:lnTo>
                  <a:lnTo>
                    <a:pt x="756" y="786"/>
                  </a:lnTo>
                  <a:lnTo>
                    <a:pt x="756" y="792"/>
                  </a:lnTo>
                  <a:lnTo>
                    <a:pt x="762" y="792"/>
                  </a:lnTo>
                  <a:lnTo>
                    <a:pt x="756" y="798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0" y="810"/>
                  </a:lnTo>
                  <a:lnTo>
                    <a:pt x="756" y="810"/>
                  </a:lnTo>
                  <a:lnTo>
                    <a:pt x="756" y="804"/>
                  </a:lnTo>
                  <a:lnTo>
                    <a:pt x="756" y="810"/>
                  </a:lnTo>
                  <a:lnTo>
                    <a:pt x="756" y="816"/>
                  </a:lnTo>
                  <a:lnTo>
                    <a:pt x="750" y="816"/>
                  </a:lnTo>
                  <a:lnTo>
                    <a:pt x="738" y="810"/>
                  </a:lnTo>
                  <a:lnTo>
                    <a:pt x="732" y="810"/>
                  </a:lnTo>
                  <a:lnTo>
                    <a:pt x="732" y="816"/>
                  </a:lnTo>
                  <a:lnTo>
                    <a:pt x="726" y="810"/>
                  </a:lnTo>
                  <a:lnTo>
                    <a:pt x="714" y="816"/>
                  </a:lnTo>
                  <a:lnTo>
                    <a:pt x="708" y="816"/>
                  </a:lnTo>
                  <a:lnTo>
                    <a:pt x="702" y="816"/>
                  </a:lnTo>
                  <a:lnTo>
                    <a:pt x="696" y="816"/>
                  </a:lnTo>
                  <a:lnTo>
                    <a:pt x="690" y="822"/>
                  </a:lnTo>
                  <a:lnTo>
                    <a:pt x="684" y="822"/>
                  </a:lnTo>
                  <a:lnTo>
                    <a:pt x="678" y="822"/>
                  </a:lnTo>
                  <a:lnTo>
                    <a:pt x="672" y="822"/>
                  </a:lnTo>
                  <a:lnTo>
                    <a:pt x="666" y="822"/>
                  </a:lnTo>
                  <a:lnTo>
                    <a:pt x="666" y="828"/>
                  </a:lnTo>
                  <a:lnTo>
                    <a:pt x="654" y="828"/>
                  </a:lnTo>
                  <a:lnTo>
                    <a:pt x="648" y="828"/>
                  </a:lnTo>
                  <a:lnTo>
                    <a:pt x="642" y="828"/>
                  </a:lnTo>
                  <a:lnTo>
                    <a:pt x="630" y="828"/>
                  </a:lnTo>
                  <a:lnTo>
                    <a:pt x="624" y="822"/>
                  </a:lnTo>
                  <a:lnTo>
                    <a:pt x="618" y="822"/>
                  </a:lnTo>
                  <a:lnTo>
                    <a:pt x="612" y="822"/>
                  </a:lnTo>
                  <a:lnTo>
                    <a:pt x="606" y="822"/>
                  </a:lnTo>
                  <a:lnTo>
                    <a:pt x="600" y="822"/>
                  </a:lnTo>
                  <a:lnTo>
                    <a:pt x="594" y="822"/>
                  </a:lnTo>
                  <a:lnTo>
                    <a:pt x="594" y="816"/>
                  </a:lnTo>
                  <a:lnTo>
                    <a:pt x="594" y="810"/>
                  </a:lnTo>
                  <a:lnTo>
                    <a:pt x="600" y="804"/>
                  </a:lnTo>
                  <a:lnTo>
                    <a:pt x="600" y="798"/>
                  </a:lnTo>
                  <a:lnTo>
                    <a:pt x="600" y="792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2" y="786"/>
                  </a:lnTo>
                  <a:lnTo>
                    <a:pt x="618" y="786"/>
                  </a:lnTo>
                  <a:lnTo>
                    <a:pt x="624" y="786"/>
                  </a:lnTo>
                  <a:lnTo>
                    <a:pt x="624" y="780"/>
                  </a:lnTo>
                  <a:lnTo>
                    <a:pt x="630" y="780"/>
                  </a:lnTo>
                  <a:lnTo>
                    <a:pt x="630" y="774"/>
                  </a:lnTo>
                  <a:lnTo>
                    <a:pt x="636" y="774"/>
                  </a:lnTo>
                  <a:lnTo>
                    <a:pt x="642" y="780"/>
                  </a:lnTo>
                  <a:lnTo>
                    <a:pt x="642" y="786"/>
                  </a:lnTo>
                  <a:lnTo>
                    <a:pt x="642" y="792"/>
                  </a:lnTo>
                  <a:lnTo>
                    <a:pt x="648" y="792"/>
                  </a:lnTo>
                  <a:lnTo>
                    <a:pt x="648" y="786"/>
                  </a:lnTo>
                  <a:lnTo>
                    <a:pt x="642" y="786"/>
                  </a:lnTo>
                  <a:lnTo>
                    <a:pt x="642" y="780"/>
                  </a:lnTo>
                  <a:lnTo>
                    <a:pt x="642" y="774"/>
                  </a:lnTo>
                  <a:lnTo>
                    <a:pt x="648" y="768"/>
                  </a:lnTo>
                  <a:lnTo>
                    <a:pt x="642" y="768"/>
                  </a:lnTo>
                  <a:lnTo>
                    <a:pt x="648" y="768"/>
                  </a:lnTo>
                  <a:lnTo>
                    <a:pt x="648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54" y="762"/>
                  </a:lnTo>
                  <a:lnTo>
                    <a:pt x="660" y="762"/>
                  </a:lnTo>
                  <a:lnTo>
                    <a:pt x="666" y="762"/>
                  </a:lnTo>
                  <a:lnTo>
                    <a:pt x="672" y="756"/>
                  </a:lnTo>
                  <a:lnTo>
                    <a:pt x="666" y="756"/>
                  </a:lnTo>
                  <a:lnTo>
                    <a:pt x="660" y="756"/>
                  </a:lnTo>
                  <a:lnTo>
                    <a:pt x="660" y="750"/>
                  </a:lnTo>
                  <a:lnTo>
                    <a:pt x="654" y="750"/>
                  </a:lnTo>
                  <a:lnTo>
                    <a:pt x="648" y="750"/>
                  </a:lnTo>
                  <a:lnTo>
                    <a:pt x="648" y="756"/>
                  </a:lnTo>
                  <a:lnTo>
                    <a:pt x="642" y="756"/>
                  </a:lnTo>
                  <a:lnTo>
                    <a:pt x="642" y="750"/>
                  </a:lnTo>
                  <a:lnTo>
                    <a:pt x="642" y="744"/>
                  </a:lnTo>
                  <a:lnTo>
                    <a:pt x="642" y="750"/>
                  </a:lnTo>
                  <a:lnTo>
                    <a:pt x="636" y="750"/>
                  </a:lnTo>
                  <a:lnTo>
                    <a:pt x="636" y="744"/>
                  </a:lnTo>
                  <a:lnTo>
                    <a:pt x="630" y="744"/>
                  </a:lnTo>
                  <a:lnTo>
                    <a:pt x="630" y="738"/>
                  </a:lnTo>
                  <a:lnTo>
                    <a:pt x="630" y="744"/>
                  </a:lnTo>
                  <a:lnTo>
                    <a:pt x="630" y="750"/>
                  </a:lnTo>
                  <a:lnTo>
                    <a:pt x="636" y="750"/>
                  </a:lnTo>
                  <a:lnTo>
                    <a:pt x="636" y="756"/>
                  </a:lnTo>
                  <a:lnTo>
                    <a:pt x="630" y="756"/>
                  </a:lnTo>
                  <a:lnTo>
                    <a:pt x="636" y="762"/>
                  </a:lnTo>
                  <a:lnTo>
                    <a:pt x="630" y="762"/>
                  </a:lnTo>
                  <a:lnTo>
                    <a:pt x="624" y="762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24" y="786"/>
                  </a:lnTo>
                  <a:lnTo>
                    <a:pt x="618" y="786"/>
                  </a:lnTo>
                  <a:lnTo>
                    <a:pt x="618" y="78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12" y="774"/>
                  </a:lnTo>
                  <a:lnTo>
                    <a:pt x="612" y="780"/>
                  </a:lnTo>
                  <a:lnTo>
                    <a:pt x="606" y="780"/>
                  </a:lnTo>
                  <a:lnTo>
                    <a:pt x="600" y="780"/>
                  </a:lnTo>
                  <a:lnTo>
                    <a:pt x="600" y="774"/>
                  </a:lnTo>
                  <a:lnTo>
                    <a:pt x="594" y="768"/>
                  </a:lnTo>
                  <a:lnTo>
                    <a:pt x="594" y="762"/>
                  </a:lnTo>
                  <a:lnTo>
                    <a:pt x="594" y="756"/>
                  </a:lnTo>
                  <a:lnTo>
                    <a:pt x="594" y="762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594" y="780"/>
                  </a:lnTo>
                  <a:lnTo>
                    <a:pt x="588" y="780"/>
                  </a:lnTo>
                  <a:lnTo>
                    <a:pt x="582" y="780"/>
                  </a:lnTo>
                  <a:lnTo>
                    <a:pt x="576" y="780"/>
                  </a:lnTo>
                  <a:lnTo>
                    <a:pt x="570" y="780"/>
                  </a:lnTo>
                  <a:lnTo>
                    <a:pt x="564" y="780"/>
                  </a:lnTo>
                  <a:lnTo>
                    <a:pt x="564" y="786"/>
                  </a:lnTo>
                  <a:lnTo>
                    <a:pt x="558" y="786"/>
                  </a:lnTo>
                  <a:lnTo>
                    <a:pt x="552" y="786"/>
                  </a:lnTo>
                  <a:lnTo>
                    <a:pt x="552" y="780"/>
                  </a:lnTo>
                  <a:lnTo>
                    <a:pt x="552" y="774"/>
                  </a:lnTo>
                  <a:lnTo>
                    <a:pt x="552" y="768"/>
                  </a:lnTo>
                  <a:lnTo>
                    <a:pt x="546" y="768"/>
                  </a:lnTo>
                  <a:lnTo>
                    <a:pt x="540" y="762"/>
                  </a:lnTo>
                  <a:lnTo>
                    <a:pt x="540" y="756"/>
                  </a:lnTo>
                  <a:lnTo>
                    <a:pt x="534" y="756"/>
                  </a:lnTo>
                  <a:lnTo>
                    <a:pt x="534" y="750"/>
                  </a:lnTo>
                  <a:lnTo>
                    <a:pt x="534" y="744"/>
                  </a:lnTo>
                  <a:lnTo>
                    <a:pt x="528" y="738"/>
                  </a:lnTo>
                  <a:lnTo>
                    <a:pt x="522" y="738"/>
                  </a:lnTo>
                  <a:lnTo>
                    <a:pt x="522" y="732"/>
                  </a:lnTo>
                  <a:lnTo>
                    <a:pt x="510" y="726"/>
                  </a:lnTo>
                  <a:lnTo>
                    <a:pt x="510" y="720"/>
                  </a:lnTo>
                  <a:lnTo>
                    <a:pt x="504" y="720"/>
                  </a:lnTo>
                  <a:lnTo>
                    <a:pt x="504" y="714"/>
                  </a:lnTo>
                  <a:lnTo>
                    <a:pt x="504" y="708"/>
                  </a:lnTo>
                  <a:lnTo>
                    <a:pt x="498" y="708"/>
                  </a:lnTo>
                  <a:lnTo>
                    <a:pt x="498" y="702"/>
                  </a:lnTo>
                  <a:lnTo>
                    <a:pt x="498" y="696"/>
                  </a:lnTo>
                  <a:lnTo>
                    <a:pt x="492" y="690"/>
                  </a:lnTo>
                  <a:lnTo>
                    <a:pt x="492" y="684"/>
                  </a:lnTo>
                  <a:lnTo>
                    <a:pt x="486" y="684"/>
                  </a:lnTo>
                  <a:lnTo>
                    <a:pt x="486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74" y="678"/>
                  </a:lnTo>
                  <a:lnTo>
                    <a:pt x="468" y="678"/>
                  </a:lnTo>
                  <a:lnTo>
                    <a:pt x="462" y="678"/>
                  </a:lnTo>
                  <a:lnTo>
                    <a:pt x="462" y="672"/>
                  </a:lnTo>
                  <a:lnTo>
                    <a:pt x="456" y="672"/>
                  </a:lnTo>
                  <a:lnTo>
                    <a:pt x="450" y="672"/>
                  </a:lnTo>
                  <a:lnTo>
                    <a:pt x="450" y="666"/>
                  </a:lnTo>
                  <a:lnTo>
                    <a:pt x="444" y="666"/>
                  </a:lnTo>
                  <a:lnTo>
                    <a:pt x="438" y="660"/>
                  </a:lnTo>
                  <a:lnTo>
                    <a:pt x="438" y="648"/>
                  </a:lnTo>
                  <a:lnTo>
                    <a:pt x="438" y="642"/>
                  </a:lnTo>
                  <a:lnTo>
                    <a:pt x="438" y="636"/>
                  </a:lnTo>
                  <a:lnTo>
                    <a:pt x="432" y="636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36"/>
                  </a:lnTo>
                  <a:lnTo>
                    <a:pt x="420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2"/>
                  </a:lnTo>
                  <a:lnTo>
                    <a:pt x="432" y="648"/>
                  </a:lnTo>
                  <a:lnTo>
                    <a:pt x="432" y="654"/>
                  </a:lnTo>
                  <a:lnTo>
                    <a:pt x="432" y="660"/>
                  </a:lnTo>
                  <a:lnTo>
                    <a:pt x="432" y="666"/>
                  </a:lnTo>
                  <a:lnTo>
                    <a:pt x="438" y="666"/>
                  </a:lnTo>
                  <a:lnTo>
                    <a:pt x="438" y="672"/>
                  </a:lnTo>
                  <a:lnTo>
                    <a:pt x="444" y="672"/>
                  </a:lnTo>
                  <a:lnTo>
                    <a:pt x="444" y="678"/>
                  </a:lnTo>
                  <a:lnTo>
                    <a:pt x="450" y="678"/>
                  </a:lnTo>
                  <a:lnTo>
                    <a:pt x="456" y="678"/>
                  </a:lnTo>
                  <a:lnTo>
                    <a:pt x="456" y="684"/>
                  </a:lnTo>
                  <a:lnTo>
                    <a:pt x="462" y="684"/>
                  </a:lnTo>
                  <a:lnTo>
                    <a:pt x="468" y="684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80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86" y="708"/>
                  </a:lnTo>
                  <a:lnTo>
                    <a:pt x="492" y="714"/>
                  </a:lnTo>
                  <a:lnTo>
                    <a:pt x="492" y="720"/>
                  </a:lnTo>
                  <a:lnTo>
                    <a:pt x="492" y="726"/>
                  </a:lnTo>
                  <a:lnTo>
                    <a:pt x="498" y="732"/>
                  </a:lnTo>
                  <a:lnTo>
                    <a:pt x="492" y="738"/>
                  </a:lnTo>
                  <a:lnTo>
                    <a:pt x="492" y="744"/>
                  </a:lnTo>
                  <a:lnTo>
                    <a:pt x="492" y="750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68" y="738"/>
                  </a:lnTo>
                  <a:lnTo>
                    <a:pt x="468" y="744"/>
                  </a:lnTo>
                  <a:lnTo>
                    <a:pt x="474" y="750"/>
                  </a:lnTo>
                  <a:lnTo>
                    <a:pt x="480" y="756"/>
                  </a:lnTo>
                  <a:lnTo>
                    <a:pt x="486" y="756"/>
                  </a:lnTo>
                  <a:lnTo>
                    <a:pt x="492" y="762"/>
                  </a:lnTo>
                  <a:lnTo>
                    <a:pt x="498" y="768"/>
                  </a:lnTo>
                  <a:lnTo>
                    <a:pt x="492" y="774"/>
                  </a:lnTo>
                  <a:lnTo>
                    <a:pt x="492" y="780"/>
                  </a:lnTo>
                  <a:lnTo>
                    <a:pt x="498" y="780"/>
                  </a:lnTo>
                  <a:lnTo>
                    <a:pt x="492" y="786"/>
                  </a:lnTo>
                  <a:lnTo>
                    <a:pt x="492" y="792"/>
                  </a:lnTo>
                  <a:lnTo>
                    <a:pt x="492" y="79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0" y="810"/>
                  </a:lnTo>
                  <a:lnTo>
                    <a:pt x="480" y="804"/>
                  </a:lnTo>
                  <a:lnTo>
                    <a:pt x="474" y="804"/>
                  </a:lnTo>
                  <a:lnTo>
                    <a:pt x="474" y="798"/>
                  </a:lnTo>
                  <a:lnTo>
                    <a:pt x="474" y="804"/>
                  </a:lnTo>
                  <a:lnTo>
                    <a:pt x="468" y="804"/>
                  </a:lnTo>
                  <a:lnTo>
                    <a:pt x="468" y="810"/>
                  </a:lnTo>
                  <a:lnTo>
                    <a:pt x="462" y="810"/>
                  </a:lnTo>
                  <a:lnTo>
                    <a:pt x="456" y="810"/>
                  </a:lnTo>
                  <a:lnTo>
                    <a:pt x="450" y="810"/>
                  </a:lnTo>
                  <a:lnTo>
                    <a:pt x="450" y="816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50" y="822"/>
                  </a:lnTo>
                  <a:lnTo>
                    <a:pt x="450" y="816"/>
                  </a:lnTo>
                  <a:lnTo>
                    <a:pt x="444" y="816"/>
                  </a:lnTo>
                  <a:lnTo>
                    <a:pt x="438" y="810"/>
                  </a:lnTo>
                  <a:lnTo>
                    <a:pt x="432" y="810"/>
                  </a:lnTo>
                  <a:lnTo>
                    <a:pt x="426" y="804"/>
                  </a:lnTo>
                  <a:lnTo>
                    <a:pt x="426" y="798"/>
                  </a:lnTo>
                  <a:lnTo>
                    <a:pt x="420" y="798"/>
                  </a:lnTo>
                  <a:lnTo>
                    <a:pt x="426" y="798"/>
                  </a:lnTo>
                  <a:lnTo>
                    <a:pt x="426" y="792"/>
                  </a:lnTo>
                  <a:lnTo>
                    <a:pt x="426" y="786"/>
                  </a:lnTo>
                  <a:lnTo>
                    <a:pt x="432" y="786"/>
                  </a:lnTo>
                  <a:lnTo>
                    <a:pt x="432" y="780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0" y="756"/>
                  </a:lnTo>
                  <a:lnTo>
                    <a:pt x="420" y="750"/>
                  </a:lnTo>
                  <a:lnTo>
                    <a:pt x="414" y="750"/>
                  </a:lnTo>
                  <a:lnTo>
                    <a:pt x="420" y="750"/>
                  </a:lnTo>
                  <a:lnTo>
                    <a:pt x="420" y="744"/>
                  </a:lnTo>
                  <a:lnTo>
                    <a:pt x="414" y="744"/>
                  </a:lnTo>
                  <a:lnTo>
                    <a:pt x="414" y="738"/>
                  </a:lnTo>
                  <a:lnTo>
                    <a:pt x="414" y="732"/>
                  </a:lnTo>
                  <a:lnTo>
                    <a:pt x="408" y="732"/>
                  </a:lnTo>
                  <a:lnTo>
                    <a:pt x="408" y="726"/>
                  </a:lnTo>
                  <a:lnTo>
                    <a:pt x="402" y="726"/>
                  </a:lnTo>
                  <a:lnTo>
                    <a:pt x="396" y="726"/>
                  </a:lnTo>
                  <a:lnTo>
                    <a:pt x="390" y="726"/>
                  </a:lnTo>
                  <a:lnTo>
                    <a:pt x="390" y="720"/>
                  </a:lnTo>
                  <a:lnTo>
                    <a:pt x="390" y="714"/>
                  </a:lnTo>
                  <a:lnTo>
                    <a:pt x="384" y="708"/>
                  </a:lnTo>
                  <a:lnTo>
                    <a:pt x="384" y="702"/>
                  </a:lnTo>
                  <a:lnTo>
                    <a:pt x="378" y="702"/>
                  </a:lnTo>
                  <a:lnTo>
                    <a:pt x="378" y="696"/>
                  </a:lnTo>
                  <a:lnTo>
                    <a:pt x="378" y="690"/>
                  </a:lnTo>
                  <a:lnTo>
                    <a:pt x="372" y="684"/>
                  </a:lnTo>
                  <a:lnTo>
                    <a:pt x="372" y="678"/>
                  </a:lnTo>
                  <a:lnTo>
                    <a:pt x="372" y="672"/>
                  </a:lnTo>
                  <a:lnTo>
                    <a:pt x="366" y="672"/>
                  </a:lnTo>
                  <a:lnTo>
                    <a:pt x="366" y="666"/>
                  </a:lnTo>
                  <a:lnTo>
                    <a:pt x="366" y="660"/>
                  </a:lnTo>
                  <a:lnTo>
                    <a:pt x="366" y="654"/>
                  </a:lnTo>
                  <a:lnTo>
                    <a:pt x="360" y="648"/>
                  </a:lnTo>
                  <a:lnTo>
                    <a:pt x="360" y="654"/>
                  </a:lnTo>
                  <a:lnTo>
                    <a:pt x="360" y="660"/>
                  </a:lnTo>
                  <a:lnTo>
                    <a:pt x="360" y="666"/>
                  </a:lnTo>
                  <a:lnTo>
                    <a:pt x="360" y="672"/>
                  </a:lnTo>
                  <a:lnTo>
                    <a:pt x="360" y="678"/>
                  </a:lnTo>
                  <a:lnTo>
                    <a:pt x="366" y="678"/>
                  </a:lnTo>
                  <a:lnTo>
                    <a:pt x="366" y="684"/>
                  </a:lnTo>
                  <a:lnTo>
                    <a:pt x="366" y="690"/>
                  </a:lnTo>
                  <a:lnTo>
                    <a:pt x="372" y="696"/>
                  </a:lnTo>
                  <a:lnTo>
                    <a:pt x="372" y="702"/>
                  </a:lnTo>
                  <a:lnTo>
                    <a:pt x="372" y="708"/>
                  </a:lnTo>
                  <a:lnTo>
                    <a:pt x="372" y="714"/>
                  </a:lnTo>
                  <a:lnTo>
                    <a:pt x="366" y="714"/>
                  </a:lnTo>
                  <a:lnTo>
                    <a:pt x="360" y="714"/>
                  </a:lnTo>
                  <a:lnTo>
                    <a:pt x="354" y="714"/>
                  </a:lnTo>
                  <a:lnTo>
                    <a:pt x="348" y="714"/>
                  </a:lnTo>
                  <a:lnTo>
                    <a:pt x="348" y="708"/>
                  </a:lnTo>
                  <a:lnTo>
                    <a:pt x="342" y="708"/>
                  </a:lnTo>
                  <a:lnTo>
                    <a:pt x="342" y="702"/>
                  </a:lnTo>
                  <a:lnTo>
                    <a:pt x="342" y="696"/>
                  </a:lnTo>
                  <a:lnTo>
                    <a:pt x="336" y="696"/>
                  </a:lnTo>
                  <a:lnTo>
                    <a:pt x="336" y="690"/>
                  </a:lnTo>
                  <a:lnTo>
                    <a:pt x="336" y="684"/>
                  </a:lnTo>
                  <a:lnTo>
                    <a:pt x="330" y="684"/>
                  </a:lnTo>
                  <a:lnTo>
                    <a:pt x="330" y="678"/>
                  </a:lnTo>
                  <a:lnTo>
                    <a:pt x="324" y="672"/>
                  </a:lnTo>
                  <a:lnTo>
                    <a:pt x="324" y="666"/>
                  </a:lnTo>
                  <a:lnTo>
                    <a:pt x="318" y="666"/>
                  </a:lnTo>
                  <a:lnTo>
                    <a:pt x="318" y="672"/>
                  </a:lnTo>
                  <a:lnTo>
                    <a:pt x="324" y="672"/>
                  </a:lnTo>
                  <a:lnTo>
                    <a:pt x="324" y="678"/>
                  </a:lnTo>
                  <a:lnTo>
                    <a:pt x="324" y="684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30" y="696"/>
                  </a:lnTo>
                  <a:lnTo>
                    <a:pt x="336" y="702"/>
                  </a:lnTo>
                  <a:lnTo>
                    <a:pt x="342" y="708"/>
                  </a:lnTo>
                  <a:lnTo>
                    <a:pt x="342" y="714"/>
                  </a:lnTo>
                  <a:lnTo>
                    <a:pt x="348" y="720"/>
                  </a:lnTo>
                  <a:lnTo>
                    <a:pt x="342" y="720"/>
                  </a:lnTo>
                  <a:lnTo>
                    <a:pt x="336" y="720"/>
                  </a:lnTo>
                  <a:lnTo>
                    <a:pt x="330" y="720"/>
                  </a:lnTo>
                  <a:lnTo>
                    <a:pt x="330" y="726"/>
                  </a:lnTo>
                  <a:lnTo>
                    <a:pt x="336" y="726"/>
                  </a:lnTo>
                  <a:lnTo>
                    <a:pt x="330" y="732"/>
                  </a:lnTo>
                  <a:lnTo>
                    <a:pt x="330" y="738"/>
                  </a:lnTo>
                  <a:lnTo>
                    <a:pt x="330" y="744"/>
                  </a:lnTo>
                  <a:lnTo>
                    <a:pt x="336" y="744"/>
                  </a:lnTo>
                  <a:lnTo>
                    <a:pt x="342" y="744"/>
                  </a:lnTo>
                  <a:lnTo>
                    <a:pt x="348" y="744"/>
                  </a:lnTo>
                  <a:lnTo>
                    <a:pt x="348" y="750"/>
                  </a:lnTo>
                  <a:lnTo>
                    <a:pt x="354" y="750"/>
                  </a:lnTo>
                  <a:lnTo>
                    <a:pt x="360" y="756"/>
                  </a:lnTo>
                  <a:lnTo>
                    <a:pt x="360" y="762"/>
                  </a:lnTo>
                  <a:lnTo>
                    <a:pt x="366" y="762"/>
                  </a:lnTo>
                  <a:lnTo>
                    <a:pt x="366" y="768"/>
                  </a:lnTo>
                  <a:lnTo>
                    <a:pt x="366" y="774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66" y="780"/>
                  </a:lnTo>
                  <a:lnTo>
                    <a:pt x="366" y="786"/>
                  </a:lnTo>
                  <a:lnTo>
                    <a:pt x="372" y="792"/>
                  </a:lnTo>
                  <a:lnTo>
                    <a:pt x="372" y="798"/>
                  </a:lnTo>
                  <a:lnTo>
                    <a:pt x="372" y="804"/>
                  </a:lnTo>
                  <a:lnTo>
                    <a:pt x="378" y="804"/>
                  </a:lnTo>
                  <a:lnTo>
                    <a:pt x="378" y="810"/>
                  </a:lnTo>
                  <a:lnTo>
                    <a:pt x="378" y="816"/>
                  </a:lnTo>
                  <a:lnTo>
                    <a:pt x="372" y="816"/>
                  </a:lnTo>
                  <a:lnTo>
                    <a:pt x="378" y="816"/>
                  </a:lnTo>
                  <a:lnTo>
                    <a:pt x="378" y="822"/>
                  </a:lnTo>
                  <a:lnTo>
                    <a:pt x="378" y="828"/>
                  </a:lnTo>
                  <a:lnTo>
                    <a:pt x="378" y="834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6" y="852"/>
                  </a:lnTo>
                  <a:lnTo>
                    <a:pt x="396" y="858"/>
                  </a:lnTo>
                  <a:lnTo>
                    <a:pt x="390" y="864"/>
                  </a:lnTo>
                  <a:lnTo>
                    <a:pt x="384" y="864"/>
                  </a:lnTo>
                  <a:lnTo>
                    <a:pt x="384" y="870"/>
                  </a:lnTo>
                  <a:lnTo>
                    <a:pt x="378" y="864"/>
                  </a:lnTo>
                  <a:lnTo>
                    <a:pt x="372" y="864"/>
                  </a:lnTo>
                  <a:lnTo>
                    <a:pt x="366" y="858"/>
                  </a:lnTo>
                  <a:lnTo>
                    <a:pt x="366" y="852"/>
                  </a:lnTo>
                  <a:lnTo>
                    <a:pt x="360" y="852"/>
                  </a:lnTo>
                  <a:lnTo>
                    <a:pt x="360" y="858"/>
                  </a:lnTo>
                  <a:lnTo>
                    <a:pt x="366" y="858"/>
                  </a:lnTo>
                  <a:lnTo>
                    <a:pt x="366" y="864"/>
                  </a:lnTo>
                  <a:lnTo>
                    <a:pt x="360" y="864"/>
                  </a:lnTo>
                  <a:lnTo>
                    <a:pt x="354" y="864"/>
                  </a:lnTo>
                  <a:lnTo>
                    <a:pt x="354" y="870"/>
                  </a:lnTo>
                  <a:lnTo>
                    <a:pt x="354" y="864"/>
                  </a:lnTo>
                  <a:lnTo>
                    <a:pt x="348" y="864"/>
                  </a:lnTo>
                  <a:lnTo>
                    <a:pt x="342" y="864"/>
                  </a:lnTo>
                  <a:lnTo>
                    <a:pt x="342" y="858"/>
                  </a:lnTo>
                  <a:lnTo>
                    <a:pt x="336" y="858"/>
                  </a:lnTo>
                  <a:lnTo>
                    <a:pt x="330" y="858"/>
                  </a:lnTo>
                  <a:lnTo>
                    <a:pt x="324" y="858"/>
                  </a:lnTo>
                  <a:lnTo>
                    <a:pt x="318" y="858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0" y="852"/>
                  </a:lnTo>
                  <a:lnTo>
                    <a:pt x="294" y="852"/>
                  </a:lnTo>
                  <a:lnTo>
                    <a:pt x="294" y="846"/>
                  </a:lnTo>
                  <a:lnTo>
                    <a:pt x="288" y="840"/>
                  </a:lnTo>
                  <a:lnTo>
                    <a:pt x="288" y="828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8" y="822"/>
                  </a:lnTo>
                  <a:lnTo>
                    <a:pt x="282" y="822"/>
                  </a:lnTo>
                  <a:lnTo>
                    <a:pt x="282" y="816"/>
                  </a:lnTo>
                  <a:lnTo>
                    <a:pt x="282" y="810"/>
                  </a:lnTo>
                  <a:lnTo>
                    <a:pt x="276" y="810"/>
                  </a:lnTo>
                  <a:lnTo>
                    <a:pt x="276" y="804"/>
                  </a:lnTo>
                  <a:lnTo>
                    <a:pt x="276" y="798"/>
                  </a:lnTo>
                  <a:lnTo>
                    <a:pt x="276" y="792"/>
                  </a:lnTo>
                  <a:lnTo>
                    <a:pt x="270" y="786"/>
                  </a:lnTo>
                  <a:lnTo>
                    <a:pt x="270" y="780"/>
                  </a:lnTo>
                  <a:lnTo>
                    <a:pt x="270" y="774"/>
                  </a:lnTo>
                  <a:lnTo>
                    <a:pt x="264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64" y="750"/>
                  </a:lnTo>
                  <a:lnTo>
                    <a:pt x="264" y="744"/>
                  </a:lnTo>
                  <a:lnTo>
                    <a:pt x="264" y="738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26"/>
                  </a:lnTo>
                  <a:lnTo>
                    <a:pt x="276" y="720"/>
                  </a:lnTo>
                  <a:lnTo>
                    <a:pt x="282" y="720"/>
                  </a:lnTo>
                  <a:lnTo>
                    <a:pt x="282" y="714"/>
                  </a:lnTo>
                  <a:lnTo>
                    <a:pt x="282" y="708"/>
                  </a:lnTo>
                  <a:lnTo>
                    <a:pt x="276" y="708"/>
                  </a:lnTo>
                  <a:lnTo>
                    <a:pt x="276" y="702"/>
                  </a:lnTo>
                  <a:lnTo>
                    <a:pt x="270" y="702"/>
                  </a:lnTo>
                  <a:lnTo>
                    <a:pt x="270" y="696"/>
                  </a:lnTo>
                  <a:lnTo>
                    <a:pt x="264" y="690"/>
                  </a:lnTo>
                  <a:lnTo>
                    <a:pt x="258" y="690"/>
                  </a:lnTo>
                  <a:lnTo>
                    <a:pt x="258" y="684"/>
                  </a:lnTo>
                  <a:lnTo>
                    <a:pt x="252" y="684"/>
                  </a:lnTo>
                  <a:lnTo>
                    <a:pt x="252" y="678"/>
                  </a:lnTo>
                  <a:lnTo>
                    <a:pt x="246" y="678"/>
                  </a:lnTo>
                  <a:lnTo>
                    <a:pt x="240" y="678"/>
                  </a:lnTo>
                  <a:lnTo>
                    <a:pt x="240" y="684"/>
                  </a:lnTo>
                  <a:lnTo>
                    <a:pt x="246" y="684"/>
                  </a:lnTo>
                  <a:lnTo>
                    <a:pt x="252" y="690"/>
                  </a:lnTo>
                  <a:lnTo>
                    <a:pt x="258" y="690"/>
                  </a:lnTo>
                  <a:lnTo>
                    <a:pt x="258" y="696"/>
                  </a:lnTo>
                  <a:lnTo>
                    <a:pt x="258" y="702"/>
                  </a:lnTo>
                  <a:lnTo>
                    <a:pt x="264" y="702"/>
                  </a:lnTo>
                  <a:lnTo>
                    <a:pt x="270" y="708"/>
                  </a:lnTo>
                  <a:lnTo>
                    <a:pt x="270" y="714"/>
                  </a:lnTo>
                  <a:lnTo>
                    <a:pt x="270" y="720"/>
                  </a:lnTo>
                  <a:lnTo>
                    <a:pt x="276" y="720"/>
                  </a:lnTo>
                  <a:lnTo>
                    <a:pt x="270" y="720"/>
                  </a:lnTo>
                  <a:lnTo>
                    <a:pt x="270" y="726"/>
                  </a:lnTo>
                  <a:lnTo>
                    <a:pt x="264" y="726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52" y="738"/>
                  </a:lnTo>
                  <a:lnTo>
                    <a:pt x="252" y="744"/>
                  </a:lnTo>
                  <a:lnTo>
                    <a:pt x="252" y="750"/>
                  </a:lnTo>
                  <a:lnTo>
                    <a:pt x="252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58" y="774"/>
                  </a:lnTo>
                  <a:lnTo>
                    <a:pt x="258" y="780"/>
                  </a:lnTo>
                  <a:lnTo>
                    <a:pt x="264" y="786"/>
                  </a:lnTo>
                  <a:lnTo>
                    <a:pt x="264" y="792"/>
                  </a:lnTo>
                  <a:lnTo>
                    <a:pt x="264" y="798"/>
                  </a:lnTo>
                  <a:lnTo>
                    <a:pt x="270" y="810"/>
                  </a:lnTo>
                  <a:lnTo>
                    <a:pt x="270" y="816"/>
                  </a:lnTo>
                  <a:lnTo>
                    <a:pt x="270" y="822"/>
                  </a:lnTo>
                  <a:lnTo>
                    <a:pt x="276" y="822"/>
                  </a:lnTo>
                  <a:lnTo>
                    <a:pt x="276" y="828"/>
                  </a:lnTo>
                  <a:lnTo>
                    <a:pt x="276" y="834"/>
                  </a:lnTo>
                  <a:lnTo>
                    <a:pt x="276" y="840"/>
                  </a:lnTo>
                  <a:lnTo>
                    <a:pt x="276" y="846"/>
                  </a:lnTo>
                  <a:lnTo>
                    <a:pt x="282" y="852"/>
                  </a:lnTo>
                  <a:lnTo>
                    <a:pt x="282" y="858"/>
                  </a:lnTo>
                  <a:lnTo>
                    <a:pt x="294" y="864"/>
                  </a:lnTo>
                  <a:lnTo>
                    <a:pt x="300" y="870"/>
                  </a:lnTo>
                  <a:lnTo>
                    <a:pt x="300" y="876"/>
                  </a:lnTo>
                  <a:lnTo>
                    <a:pt x="288" y="876"/>
                  </a:lnTo>
                  <a:lnTo>
                    <a:pt x="282" y="876"/>
                  </a:lnTo>
                  <a:lnTo>
                    <a:pt x="276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2" y="882"/>
                  </a:lnTo>
                  <a:lnTo>
                    <a:pt x="246" y="882"/>
                  </a:lnTo>
                  <a:lnTo>
                    <a:pt x="240" y="882"/>
                  </a:lnTo>
                  <a:lnTo>
                    <a:pt x="234" y="882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204" y="876"/>
                  </a:lnTo>
                  <a:lnTo>
                    <a:pt x="198" y="876"/>
                  </a:lnTo>
                  <a:lnTo>
                    <a:pt x="198" y="870"/>
                  </a:lnTo>
                  <a:lnTo>
                    <a:pt x="198" y="852"/>
                  </a:lnTo>
                  <a:lnTo>
                    <a:pt x="198" y="846"/>
                  </a:lnTo>
                  <a:lnTo>
                    <a:pt x="204" y="846"/>
                  </a:lnTo>
                  <a:lnTo>
                    <a:pt x="198" y="840"/>
                  </a:lnTo>
                  <a:lnTo>
                    <a:pt x="198" y="834"/>
                  </a:lnTo>
                  <a:lnTo>
                    <a:pt x="198" y="828"/>
                  </a:lnTo>
                  <a:lnTo>
                    <a:pt x="198" y="822"/>
                  </a:lnTo>
                  <a:lnTo>
                    <a:pt x="198" y="816"/>
                  </a:lnTo>
                  <a:lnTo>
                    <a:pt x="198" y="810"/>
                  </a:lnTo>
                  <a:lnTo>
                    <a:pt x="192" y="810"/>
                  </a:lnTo>
                  <a:lnTo>
                    <a:pt x="192" y="804"/>
                  </a:lnTo>
                  <a:lnTo>
                    <a:pt x="192" y="798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2" y="774"/>
                  </a:lnTo>
                  <a:lnTo>
                    <a:pt x="192" y="768"/>
                  </a:lnTo>
                  <a:lnTo>
                    <a:pt x="198" y="768"/>
                  </a:lnTo>
                  <a:lnTo>
                    <a:pt x="198" y="762"/>
                  </a:lnTo>
                  <a:lnTo>
                    <a:pt x="198" y="756"/>
                  </a:lnTo>
                  <a:lnTo>
                    <a:pt x="204" y="756"/>
                  </a:lnTo>
                  <a:lnTo>
                    <a:pt x="204" y="750"/>
                  </a:lnTo>
                  <a:lnTo>
                    <a:pt x="210" y="744"/>
                  </a:lnTo>
                  <a:lnTo>
                    <a:pt x="210" y="738"/>
                  </a:lnTo>
                  <a:lnTo>
                    <a:pt x="210" y="732"/>
                  </a:lnTo>
                  <a:lnTo>
                    <a:pt x="210" y="726"/>
                  </a:lnTo>
                  <a:lnTo>
                    <a:pt x="210" y="720"/>
                  </a:lnTo>
                  <a:lnTo>
                    <a:pt x="204" y="714"/>
                  </a:lnTo>
                  <a:lnTo>
                    <a:pt x="204" y="720"/>
                  </a:lnTo>
                  <a:lnTo>
                    <a:pt x="204" y="732"/>
                  </a:lnTo>
                  <a:lnTo>
                    <a:pt x="204" y="738"/>
                  </a:lnTo>
                  <a:lnTo>
                    <a:pt x="198" y="738"/>
                  </a:lnTo>
                  <a:lnTo>
                    <a:pt x="198" y="744"/>
                  </a:lnTo>
                  <a:lnTo>
                    <a:pt x="198" y="750"/>
                  </a:lnTo>
                  <a:lnTo>
                    <a:pt x="192" y="756"/>
                  </a:lnTo>
                  <a:lnTo>
                    <a:pt x="186" y="762"/>
                  </a:lnTo>
                  <a:lnTo>
                    <a:pt x="186" y="768"/>
                  </a:lnTo>
                  <a:lnTo>
                    <a:pt x="186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98"/>
                  </a:lnTo>
                  <a:lnTo>
                    <a:pt x="186" y="804"/>
                  </a:lnTo>
                  <a:lnTo>
                    <a:pt x="186" y="810"/>
                  </a:lnTo>
                  <a:lnTo>
                    <a:pt x="192" y="816"/>
                  </a:lnTo>
                  <a:lnTo>
                    <a:pt x="192" y="828"/>
                  </a:lnTo>
                  <a:lnTo>
                    <a:pt x="192" y="834"/>
                  </a:lnTo>
                  <a:lnTo>
                    <a:pt x="186" y="834"/>
                  </a:lnTo>
                  <a:lnTo>
                    <a:pt x="186" y="828"/>
                  </a:lnTo>
                  <a:lnTo>
                    <a:pt x="180" y="822"/>
                  </a:lnTo>
                  <a:lnTo>
                    <a:pt x="180" y="816"/>
                  </a:lnTo>
                  <a:lnTo>
                    <a:pt x="180" y="810"/>
                  </a:lnTo>
                  <a:lnTo>
                    <a:pt x="174" y="810"/>
                  </a:lnTo>
                  <a:lnTo>
                    <a:pt x="174" y="804"/>
                  </a:lnTo>
                  <a:lnTo>
                    <a:pt x="174" y="798"/>
                  </a:lnTo>
                  <a:lnTo>
                    <a:pt x="174" y="792"/>
                  </a:lnTo>
                  <a:lnTo>
                    <a:pt x="168" y="786"/>
                  </a:lnTo>
                  <a:lnTo>
                    <a:pt x="168" y="780"/>
                  </a:lnTo>
                  <a:lnTo>
                    <a:pt x="162" y="780"/>
                  </a:lnTo>
                  <a:lnTo>
                    <a:pt x="168" y="774"/>
                  </a:lnTo>
                  <a:lnTo>
                    <a:pt x="168" y="768"/>
                  </a:lnTo>
                  <a:lnTo>
                    <a:pt x="174" y="768"/>
                  </a:lnTo>
                  <a:lnTo>
                    <a:pt x="168" y="768"/>
                  </a:lnTo>
                  <a:lnTo>
                    <a:pt x="162" y="774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50" y="774"/>
                  </a:lnTo>
                  <a:lnTo>
                    <a:pt x="144" y="774"/>
                  </a:lnTo>
                  <a:lnTo>
                    <a:pt x="144" y="768"/>
                  </a:lnTo>
                  <a:lnTo>
                    <a:pt x="144" y="762"/>
                  </a:lnTo>
                  <a:lnTo>
                    <a:pt x="138" y="756"/>
                  </a:lnTo>
                  <a:lnTo>
                    <a:pt x="132" y="756"/>
                  </a:lnTo>
                  <a:lnTo>
                    <a:pt x="138" y="756"/>
                  </a:lnTo>
                  <a:lnTo>
                    <a:pt x="138" y="762"/>
                  </a:lnTo>
                  <a:lnTo>
                    <a:pt x="138" y="768"/>
                  </a:lnTo>
                  <a:lnTo>
                    <a:pt x="144" y="768"/>
                  </a:lnTo>
                  <a:lnTo>
                    <a:pt x="144" y="774"/>
                  </a:lnTo>
                  <a:lnTo>
                    <a:pt x="150" y="780"/>
                  </a:lnTo>
                  <a:lnTo>
                    <a:pt x="156" y="780"/>
                  </a:lnTo>
                  <a:lnTo>
                    <a:pt x="156" y="786"/>
                  </a:lnTo>
                  <a:lnTo>
                    <a:pt x="162" y="786"/>
                  </a:lnTo>
                  <a:lnTo>
                    <a:pt x="168" y="792"/>
                  </a:lnTo>
                  <a:lnTo>
                    <a:pt x="168" y="798"/>
                  </a:lnTo>
                  <a:lnTo>
                    <a:pt x="168" y="804"/>
                  </a:lnTo>
                  <a:lnTo>
                    <a:pt x="174" y="810"/>
                  </a:lnTo>
                  <a:lnTo>
                    <a:pt x="174" y="816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74" y="822"/>
                  </a:lnTo>
                  <a:lnTo>
                    <a:pt x="168" y="822"/>
                  </a:lnTo>
                  <a:lnTo>
                    <a:pt x="168" y="828"/>
                  </a:lnTo>
                  <a:lnTo>
                    <a:pt x="168" y="834"/>
                  </a:lnTo>
                  <a:lnTo>
                    <a:pt x="174" y="840"/>
                  </a:lnTo>
                  <a:lnTo>
                    <a:pt x="180" y="840"/>
                  </a:lnTo>
                  <a:lnTo>
                    <a:pt x="180" y="846"/>
                  </a:lnTo>
                  <a:lnTo>
                    <a:pt x="186" y="846"/>
                  </a:lnTo>
                  <a:lnTo>
                    <a:pt x="186" y="852"/>
                  </a:lnTo>
                  <a:lnTo>
                    <a:pt x="186" y="858"/>
                  </a:lnTo>
                  <a:lnTo>
                    <a:pt x="186" y="864"/>
                  </a:lnTo>
                  <a:lnTo>
                    <a:pt x="192" y="864"/>
                  </a:lnTo>
                  <a:lnTo>
                    <a:pt x="192" y="870"/>
                  </a:lnTo>
                  <a:lnTo>
                    <a:pt x="192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6" y="888"/>
                  </a:lnTo>
                  <a:lnTo>
                    <a:pt x="180" y="888"/>
                  </a:lnTo>
                  <a:lnTo>
                    <a:pt x="174" y="888"/>
                  </a:lnTo>
                  <a:lnTo>
                    <a:pt x="168" y="894"/>
                  </a:lnTo>
                  <a:lnTo>
                    <a:pt x="162" y="894"/>
                  </a:lnTo>
                  <a:lnTo>
                    <a:pt x="156" y="894"/>
                  </a:lnTo>
                  <a:lnTo>
                    <a:pt x="150" y="894"/>
                  </a:lnTo>
                  <a:lnTo>
                    <a:pt x="144" y="894"/>
                  </a:lnTo>
                  <a:lnTo>
                    <a:pt x="144" y="900"/>
                  </a:lnTo>
                  <a:lnTo>
                    <a:pt x="138" y="894"/>
                  </a:lnTo>
                  <a:lnTo>
                    <a:pt x="138" y="900"/>
                  </a:lnTo>
                  <a:lnTo>
                    <a:pt x="132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6" y="882"/>
                  </a:lnTo>
                  <a:lnTo>
                    <a:pt x="126" y="876"/>
                  </a:lnTo>
                  <a:lnTo>
                    <a:pt x="120" y="876"/>
                  </a:lnTo>
                  <a:lnTo>
                    <a:pt x="126" y="870"/>
                  </a:lnTo>
                  <a:lnTo>
                    <a:pt x="126" y="864"/>
                  </a:lnTo>
                  <a:lnTo>
                    <a:pt x="126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26" y="828"/>
                  </a:lnTo>
                  <a:lnTo>
                    <a:pt x="126" y="822"/>
                  </a:lnTo>
                  <a:lnTo>
                    <a:pt x="126" y="816"/>
                  </a:lnTo>
                  <a:lnTo>
                    <a:pt x="126" y="810"/>
                  </a:lnTo>
                  <a:lnTo>
                    <a:pt x="126" y="804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20" y="792"/>
                  </a:lnTo>
                  <a:lnTo>
                    <a:pt x="114" y="792"/>
                  </a:lnTo>
                  <a:lnTo>
                    <a:pt x="114" y="786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96" y="780"/>
                  </a:lnTo>
                  <a:lnTo>
                    <a:pt x="96" y="774"/>
                  </a:lnTo>
                  <a:lnTo>
                    <a:pt x="90" y="774"/>
                  </a:lnTo>
                  <a:lnTo>
                    <a:pt x="90" y="768"/>
                  </a:lnTo>
                  <a:close/>
                  <a:moveTo>
                    <a:pt x="96" y="780"/>
                  </a:moveTo>
                  <a:lnTo>
                    <a:pt x="102" y="780"/>
                  </a:lnTo>
                  <a:lnTo>
                    <a:pt x="102" y="786"/>
                  </a:lnTo>
                  <a:lnTo>
                    <a:pt x="108" y="786"/>
                  </a:lnTo>
                  <a:lnTo>
                    <a:pt x="114" y="792"/>
                  </a:lnTo>
                  <a:lnTo>
                    <a:pt x="120" y="798"/>
                  </a:lnTo>
                  <a:lnTo>
                    <a:pt x="120" y="804"/>
                  </a:lnTo>
                  <a:lnTo>
                    <a:pt x="126" y="810"/>
                  </a:lnTo>
                  <a:lnTo>
                    <a:pt x="126" y="816"/>
                  </a:lnTo>
                  <a:lnTo>
                    <a:pt x="126" y="822"/>
                  </a:lnTo>
                  <a:lnTo>
                    <a:pt x="120" y="828"/>
                  </a:lnTo>
                  <a:lnTo>
                    <a:pt x="120" y="840"/>
                  </a:lnTo>
                  <a:lnTo>
                    <a:pt x="120" y="852"/>
                  </a:lnTo>
                  <a:lnTo>
                    <a:pt x="120" y="858"/>
                  </a:lnTo>
                  <a:lnTo>
                    <a:pt x="120" y="864"/>
                  </a:lnTo>
                  <a:lnTo>
                    <a:pt x="120" y="870"/>
                  </a:lnTo>
                  <a:lnTo>
                    <a:pt x="114" y="870"/>
                  </a:lnTo>
                  <a:lnTo>
                    <a:pt x="108" y="870"/>
                  </a:lnTo>
                  <a:lnTo>
                    <a:pt x="108" y="876"/>
                  </a:lnTo>
                  <a:lnTo>
                    <a:pt x="114" y="876"/>
                  </a:lnTo>
                  <a:lnTo>
                    <a:pt x="120" y="876"/>
                  </a:lnTo>
                  <a:lnTo>
                    <a:pt x="120" y="882"/>
                  </a:lnTo>
                  <a:lnTo>
                    <a:pt x="114" y="888"/>
                  </a:lnTo>
                  <a:lnTo>
                    <a:pt x="120" y="888"/>
                  </a:lnTo>
                  <a:lnTo>
                    <a:pt x="120" y="894"/>
                  </a:lnTo>
                  <a:lnTo>
                    <a:pt x="114" y="894"/>
                  </a:lnTo>
                  <a:lnTo>
                    <a:pt x="108" y="894"/>
                  </a:lnTo>
                  <a:lnTo>
                    <a:pt x="96" y="894"/>
                  </a:lnTo>
                  <a:lnTo>
                    <a:pt x="96" y="882"/>
                  </a:lnTo>
                  <a:lnTo>
                    <a:pt x="96" y="876"/>
                  </a:lnTo>
                  <a:lnTo>
                    <a:pt x="84" y="870"/>
                  </a:lnTo>
                  <a:lnTo>
                    <a:pt x="72" y="864"/>
                  </a:lnTo>
                  <a:lnTo>
                    <a:pt x="72" y="852"/>
                  </a:lnTo>
                  <a:lnTo>
                    <a:pt x="72" y="840"/>
                  </a:lnTo>
                  <a:lnTo>
                    <a:pt x="78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90" y="792"/>
                  </a:lnTo>
                  <a:lnTo>
                    <a:pt x="96" y="780"/>
                  </a:lnTo>
                  <a:close/>
                  <a:moveTo>
                    <a:pt x="492" y="810"/>
                  </a:moveTo>
                  <a:lnTo>
                    <a:pt x="498" y="810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510" y="792"/>
                  </a:lnTo>
                  <a:lnTo>
                    <a:pt x="516" y="786"/>
                  </a:lnTo>
                  <a:lnTo>
                    <a:pt x="522" y="780"/>
                  </a:lnTo>
                  <a:lnTo>
                    <a:pt x="522" y="774"/>
                  </a:lnTo>
                  <a:lnTo>
                    <a:pt x="528" y="768"/>
                  </a:lnTo>
                  <a:lnTo>
                    <a:pt x="528" y="762"/>
                  </a:lnTo>
                  <a:lnTo>
                    <a:pt x="534" y="762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46" y="780"/>
                  </a:lnTo>
                  <a:lnTo>
                    <a:pt x="552" y="786"/>
                  </a:lnTo>
                  <a:lnTo>
                    <a:pt x="558" y="786"/>
                  </a:lnTo>
                  <a:lnTo>
                    <a:pt x="564" y="786"/>
                  </a:lnTo>
                  <a:lnTo>
                    <a:pt x="576" y="786"/>
                  </a:lnTo>
                  <a:lnTo>
                    <a:pt x="582" y="786"/>
                  </a:lnTo>
                  <a:lnTo>
                    <a:pt x="588" y="786"/>
                  </a:lnTo>
                  <a:lnTo>
                    <a:pt x="594" y="786"/>
                  </a:lnTo>
                  <a:lnTo>
                    <a:pt x="588" y="792"/>
                  </a:lnTo>
                  <a:lnTo>
                    <a:pt x="588" y="798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82" y="822"/>
                  </a:lnTo>
                  <a:lnTo>
                    <a:pt x="588" y="828"/>
                  </a:lnTo>
                  <a:lnTo>
                    <a:pt x="588" y="834"/>
                  </a:lnTo>
                  <a:lnTo>
                    <a:pt x="582" y="840"/>
                  </a:lnTo>
                  <a:lnTo>
                    <a:pt x="570" y="840"/>
                  </a:lnTo>
                  <a:lnTo>
                    <a:pt x="558" y="846"/>
                  </a:lnTo>
                  <a:lnTo>
                    <a:pt x="552" y="846"/>
                  </a:lnTo>
                  <a:lnTo>
                    <a:pt x="534" y="852"/>
                  </a:lnTo>
                  <a:lnTo>
                    <a:pt x="522" y="858"/>
                  </a:lnTo>
                  <a:lnTo>
                    <a:pt x="510" y="858"/>
                  </a:lnTo>
                  <a:lnTo>
                    <a:pt x="498" y="864"/>
                  </a:lnTo>
                  <a:lnTo>
                    <a:pt x="474" y="864"/>
                  </a:lnTo>
                  <a:lnTo>
                    <a:pt x="468" y="858"/>
                  </a:lnTo>
                  <a:lnTo>
                    <a:pt x="468" y="852"/>
                  </a:lnTo>
                  <a:lnTo>
                    <a:pt x="468" y="846"/>
                  </a:lnTo>
                  <a:lnTo>
                    <a:pt x="474" y="840"/>
                  </a:lnTo>
                  <a:lnTo>
                    <a:pt x="474" y="834"/>
                  </a:lnTo>
                  <a:lnTo>
                    <a:pt x="480" y="828"/>
                  </a:lnTo>
                  <a:lnTo>
                    <a:pt x="492" y="822"/>
                  </a:lnTo>
                  <a:lnTo>
                    <a:pt x="492" y="810"/>
                  </a:lnTo>
                  <a:close/>
                  <a:moveTo>
                    <a:pt x="384" y="720"/>
                  </a:moveTo>
                  <a:lnTo>
                    <a:pt x="384" y="726"/>
                  </a:lnTo>
                  <a:lnTo>
                    <a:pt x="390" y="726"/>
                  </a:lnTo>
                  <a:lnTo>
                    <a:pt x="396" y="726"/>
                  </a:lnTo>
                  <a:lnTo>
                    <a:pt x="402" y="732"/>
                  </a:lnTo>
                  <a:lnTo>
                    <a:pt x="408" y="732"/>
                  </a:lnTo>
                  <a:lnTo>
                    <a:pt x="414" y="732"/>
                  </a:lnTo>
                  <a:lnTo>
                    <a:pt x="414" y="738"/>
                  </a:lnTo>
                  <a:lnTo>
                    <a:pt x="414" y="744"/>
                  </a:lnTo>
                  <a:lnTo>
                    <a:pt x="414" y="750"/>
                  </a:lnTo>
                  <a:lnTo>
                    <a:pt x="414" y="756"/>
                  </a:lnTo>
                  <a:lnTo>
                    <a:pt x="414" y="762"/>
                  </a:lnTo>
                  <a:lnTo>
                    <a:pt x="420" y="768"/>
                  </a:lnTo>
                  <a:lnTo>
                    <a:pt x="420" y="774"/>
                  </a:lnTo>
                  <a:lnTo>
                    <a:pt x="426" y="780"/>
                  </a:lnTo>
                  <a:lnTo>
                    <a:pt x="426" y="786"/>
                  </a:lnTo>
                  <a:lnTo>
                    <a:pt x="420" y="786"/>
                  </a:lnTo>
                  <a:lnTo>
                    <a:pt x="420" y="792"/>
                  </a:lnTo>
                  <a:lnTo>
                    <a:pt x="420" y="798"/>
                  </a:lnTo>
                  <a:lnTo>
                    <a:pt x="420" y="804"/>
                  </a:lnTo>
                  <a:lnTo>
                    <a:pt x="426" y="804"/>
                  </a:lnTo>
                  <a:lnTo>
                    <a:pt x="426" y="810"/>
                  </a:lnTo>
                  <a:lnTo>
                    <a:pt x="426" y="816"/>
                  </a:lnTo>
                  <a:lnTo>
                    <a:pt x="432" y="816"/>
                  </a:lnTo>
                  <a:lnTo>
                    <a:pt x="438" y="816"/>
                  </a:lnTo>
                  <a:lnTo>
                    <a:pt x="438" y="822"/>
                  </a:lnTo>
                  <a:lnTo>
                    <a:pt x="432" y="822"/>
                  </a:lnTo>
                  <a:lnTo>
                    <a:pt x="426" y="828"/>
                  </a:lnTo>
                  <a:lnTo>
                    <a:pt x="420" y="828"/>
                  </a:lnTo>
                  <a:lnTo>
                    <a:pt x="414" y="828"/>
                  </a:lnTo>
                  <a:lnTo>
                    <a:pt x="408" y="828"/>
                  </a:lnTo>
                  <a:lnTo>
                    <a:pt x="402" y="828"/>
                  </a:lnTo>
                  <a:lnTo>
                    <a:pt x="402" y="822"/>
                  </a:lnTo>
                  <a:lnTo>
                    <a:pt x="396" y="822"/>
                  </a:lnTo>
                  <a:lnTo>
                    <a:pt x="402" y="822"/>
                  </a:lnTo>
                  <a:lnTo>
                    <a:pt x="402" y="816"/>
                  </a:lnTo>
                  <a:lnTo>
                    <a:pt x="396" y="816"/>
                  </a:lnTo>
                  <a:lnTo>
                    <a:pt x="396" y="810"/>
                  </a:lnTo>
                  <a:lnTo>
                    <a:pt x="396" y="804"/>
                  </a:lnTo>
                  <a:lnTo>
                    <a:pt x="390" y="798"/>
                  </a:lnTo>
                  <a:lnTo>
                    <a:pt x="390" y="792"/>
                  </a:lnTo>
                  <a:lnTo>
                    <a:pt x="390" y="786"/>
                  </a:lnTo>
                  <a:lnTo>
                    <a:pt x="390" y="780"/>
                  </a:lnTo>
                  <a:lnTo>
                    <a:pt x="390" y="774"/>
                  </a:lnTo>
                  <a:lnTo>
                    <a:pt x="390" y="768"/>
                  </a:lnTo>
                  <a:lnTo>
                    <a:pt x="390" y="762"/>
                  </a:lnTo>
                  <a:lnTo>
                    <a:pt x="384" y="756"/>
                  </a:lnTo>
                  <a:lnTo>
                    <a:pt x="384" y="750"/>
                  </a:lnTo>
                  <a:lnTo>
                    <a:pt x="384" y="744"/>
                  </a:lnTo>
                  <a:lnTo>
                    <a:pt x="378" y="744"/>
                  </a:lnTo>
                  <a:lnTo>
                    <a:pt x="384" y="744"/>
                  </a:lnTo>
                  <a:lnTo>
                    <a:pt x="384" y="738"/>
                  </a:lnTo>
                  <a:lnTo>
                    <a:pt x="378" y="738"/>
                  </a:lnTo>
                  <a:lnTo>
                    <a:pt x="378" y="732"/>
                  </a:lnTo>
                  <a:lnTo>
                    <a:pt x="378" y="726"/>
                  </a:lnTo>
                  <a:lnTo>
                    <a:pt x="378" y="720"/>
                  </a:lnTo>
                  <a:lnTo>
                    <a:pt x="384" y="720"/>
                  </a:lnTo>
                  <a:close/>
                  <a:moveTo>
                    <a:pt x="330" y="738"/>
                  </a:moveTo>
                  <a:lnTo>
                    <a:pt x="336" y="732"/>
                  </a:lnTo>
                  <a:lnTo>
                    <a:pt x="336" y="726"/>
                  </a:lnTo>
                  <a:lnTo>
                    <a:pt x="342" y="720"/>
                  </a:lnTo>
                  <a:lnTo>
                    <a:pt x="348" y="720"/>
                  </a:lnTo>
                  <a:lnTo>
                    <a:pt x="360" y="720"/>
                  </a:lnTo>
                  <a:lnTo>
                    <a:pt x="366" y="726"/>
                  </a:lnTo>
                  <a:lnTo>
                    <a:pt x="372" y="732"/>
                  </a:lnTo>
                  <a:lnTo>
                    <a:pt x="372" y="738"/>
                  </a:lnTo>
                  <a:lnTo>
                    <a:pt x="366" y="750"/>
                  </a:lnTo>
                  <a:lnTo>
                    <a:pt x="372" y="756"/>
                  </a:lnTo>
                  <a:lnTo>
                    <a:pt x="372" y="762"/>
                  </a:lnTo>
                  <a:lnTo>
                    <a:pt x="372" y="768"/>
                  </a:lnTo>
                  <a:lnTo>
                    <a:pt x="372" y="774"/>
                  </a:lnTo>
                  <a:lnTo>
                    <a:pt x="372" y="780"/>
                  </a:lnTo>
                  <a:lnTo>
                    <a:pt x="372" y="774"/>
                  </a:lnTo>
                  <a:lnTo>
                    <a:pt x="366" y="768"/>
                  </a:lnTo>
                  <a:lnTo>
                    <a:pt x="366" y="762"/>
                  </a:lnTo>
                  <a:lnTo>
                    <a:pt x="366" y="756"/>
                  </a:lnTo>
                  <a:lnTo>
                    <a:pt x="360" y="756"/>
                  </a:lnTo>
                  <a:lnTo>
                    <a:pt x="360" y="750"/>
                  </a:lnTo>
                  <a:lnTo>
                    <a:pt x="354" y="750"/>
                  </a:lnTo>
                  <a:lnTo>
                    <a:pt x="348" y="744"/>
                  </a:lnTo>
                  <a:lnTo>
                    <a:pt x="342" y="744"/>
                  </a:lnTo>
                  <a:lnTo>
                    <a:pt x="336" y="744"/>
                  </a:lnTo>
                  <a:lnTo>
                    <a:pt x="330" y="73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01" name="Freeform 6">
              <a:extLst>
                <a:ext uri="{FF2B5EF4-FFF2-40B4-BE49-F238E27FC236}">
                  <a16:creationId xmlns:a16="http://schemas.microsoft.com/office/drawing/2014/main" id="{0656C385-F30A-4AC8-AE9F-B1F66208B384}"/>
                </a:ext>
              </a:extLst>
            </p:cNvPr>
            <p:cNvSpPr>
              <a:spLocks/>
            </p:cNvSpPr>
            <p:nvPr/>
          </p:nvSpPr>
          <p:spPr bwMode="gray">
            <a:xfrm>
              <a:off x="2123123" y="4163918"/>
              <a:ext cx="266107" cy="248252"/>
            </a:xfrm>
            <a:custGeom>
              <a:avLst/>
              <a:gdLst>
                <a:gd name="T0" fmla="*/ 33 w 504"/>
                <a:gd name="T1" fmla="*/ 41 h 468"/>
                <a:gd name="T2" fmla="*/ 26 w 504"/>
                <a:gd name="T3" fmla="*/ 39 h 468"/>
                <a:gd name="T4" fmla="*/ 21 w 504"/>
                <a:gd name="T5" fmla="*/ 38 h 468"/>
                <a:gd name="T6" fmla="*/ 18 w 504"/>
                <a:gd name="T7" fmla="*/ 38 h 468"/>
                <a:gd name="T8" fmla="*/ 15 w 504"/>
                <a:gd name="T9" fmla="*/ 39 h 468"/>
                <a:gd name="T10" fmla="*/ 12 w 504"/>
                <a:gd name="T11" fmla="*/ 38 h 468"/>
                <a:gd name="T12" fmla="*/ 9 w 504"/>
                <a:gd name="T13" fmla="*/ 37 h 468"/>
                <a:gd name="T14" fmla="*/ 7 w 504"/>
                <a:gd name="T15" fmla="*/ 32 h 468"/>
                <a:gd name="T16" fmla="*/ 6 w 504"/>
                <a:gd name="T17" fmla="*/ 26 h 468"/>
                <a:gd name="T18" fmla="*/ 3 w 504"/>
                <a:gd name="T19" fmla="*/ 24 h 468"/>
                <a:gd name="T20" fmla="*/ 1 w 504"/>
                <a:gd name="T21" fmla="*/ 24 h 468"/>
                <a:gd name="T22" fmla="*/ 2 w 504"/>
                <a:gd name="T23" fmla="*/ 18 h 468"/>
                <a:gd name="T24" fmla="*/ 1 w 504"/>
                <a:gd name="T25" fmla="*/ 17 h 468"/>
                <a:gd name="T26" fmla="*/ 0 w 504"/>
                <a:gd name="T27" fmla="*/ 17 h 468"/>
                <a:gd name="T28" fmla="*/ 0 w 504"/>
                <a:gd name="T29" fmla="*/ 15 h 468"/>
                <a:gd name="T30" fmla="*/ 2 w 504"/>
                <a:gd name="T31" fmla="*/ 12 h 468"/>
                <a:gd name="T32" fmla="*/ 4 w 504"/>
                <a:gd name="T33" fmla="*/ 10 h 468"/>
                <a:gd name="T34" fmla="*/ 6 w 504"/>
                <a:gd name="T35" fmla="*/ 8 h 468"/>
                <a:gd name="T36" fmla="*/ 8 w 504"/>
                <a:gd name="T37" fmla="*/ 8 h 468"/>
                <a:gd name="T38" fmla="*/ 10 w 504"/>
                <a:gd name="T39" fmla="*/ 9 h 468"/>
                <a:gd name="T40" fmla="*/ 12 w 504"/>
                <a:gd name="T41" fmla="*/ 10 h 468"/>
                <a:gd name="T42" fmla="*/ 12 w 504"/>
                <a:gd name="T43" fmla="*/ 11 h 468"/>
                <a:gd name="T44" fmla="*/ 14 w 504"/>
                <a:gd name="T45" fmla="*/ 8 h 468"/>
                <a:gd name="T46" fmla="*/ 15 w 504"/>
                <a:gd name="T47" fmla="*/ 7 h 468"/>
                <a:gd name="T48" fmla="*/ 17 w 504"/>
                <a:gd name="T49" fmla="*/ 6 h 468"/>
                <a:gd name="T50" fmla="*/ 19 w 504"/>
                <a:gd name="T51" fmla="*/ 3 h 468"/>
                <a:gd name="T52" fmla="*/ 20 w 504"/>
                <a:gd name="T53" fmla="*/ 2 h 468"/>
                <a:gd name="T54" fmla="*/ 22 w 504"/>
                <a:gd name="T55" fmla="*/ 1 h 468"/>
                <a:gd name="T56" fmla="*/ 27 w 504"/>
                <a:gd name="T57" fmla="*/ 1 h 468"/>
                <a:gd name="T58" fmla="*/ 30 w 504"/>
                <a:gd name="T59" fmla="*/ 2 h 468"/>
                <a:gd name="T60" fmla="*/ 31 w 504"/>
                <a:gd name="T61" fmla="*/ 2 h 468"/>
                <a:gd name="T62" fmla="*/ 34 w 504"/>
                <a:gd name="T63" fmla="*/ 0 h 468"/>
                <a:gd name="T64" fmla="*/ 37 w 504"/>
                <a:gd name="T65" fmla="*/ 1 h 468"/>
                <a:gd name="T66" fmla="*/ 41 w 504"/>
                <a:gd name="T67" fmla="*/ 2 h 468"/>
                <a:gd name="T68" fmla="*/ 42 w 504"/>
                <a:gd name="T69" fmla="*/ 4 h 468"/>
                <a:gd name="T70" fmla="*/ 42 w 504"/>
                <a:gd name="T71" fmla="*/ 10 h 468"/>
                <a:gd name="T72" fmla="*/ 41 w 504"/>
                <a:gd name="T73" fmla="*/ 14 h 468"/>
                <a:gd name="T74" fmla="*/ 42 w 504"/>
                <a:gd name="T75" fmla="*/ 15 h 468"/>
                <a:gd name="T76" fmla="*/ 44 w 504"/>
                <a:gd name="T77" fmla="*/ 18 h 468"/>
                <a:gd name="T78" fmla="*/ 43 w 504"/>
                <a:gd name="T79" fmla="*/ 19 h 468"/>
                <a:gd name="T80" fmla="*/ 42 w 504"/>
                <a:gd name="T81" fmla="*/ 21 h 468"/>
                <a:gd name="T82" fmla="*/ 42 w 504"/>
                <a:gd name="T83" fmla="*/ 23 h 468"/>
                <a:gd name="T84" fmla="*/ 39 w 504"/>
                <a:gd name="T85" fmla="*/ 27 h 468"/>
                <a:gd name="T86" fmla="*/ 38 w 504"/>
                <a:gd name="T87" fmla="*/ 29 h 468"/>
                <a:gd name="T88" fmla="*/ 38 w 504"/>
                <a:gd name="T89" fmla="*/ 31 h 468"/>
                <a:gd name="T90" fmla="*/ 36 w 504"/>
                <a:gd name="T91" fmla="*/ 32 h 468"/>
                <a:gd name="T92" fmla="*/ 35 w 504"/>
                <a:gd name="T93" fmla="*/ 34 h 468"/>
                <a:gd name="T94" fmla="*/ 34 w 504"/>
                <a:gd name="T95" fmla="*/ 38 h 46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04"/>
                <a:gd name="T145" fmla="*/ 0 h 468"/>
                <a:gd name="T146" fmla="*/ 504 w 504"/>
                <a:gd name="T147" fmla="*/ 468 h 46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04" h="468">
                  <a:moveTo>
                    <a:pt x="390" y="456"/>
                  </a:moveTo>
                  <a:lnTo>
                    <a:pt x="384" y="468"/>
                  </a:lnTo>
                  <a:lnTo>
                    <a:pt x="378" y="468"/>
                  </a:lnTo>
                  <a:lnTo>
                    <a:pt x="354" y="468"/>
                  </a:lnTo>
                  <a:lnTo>
                    <a:pt x="348" y="462"/>
                  </a:lnTo>
                  <a:lnTo>
                    <a:pt x="300" y="456"/>
                  </a:lnTo>
                  <a:lnTo>
                    <a:pt x="270" y="444"/>
                  </a:lnTo>
                  <a:lnTo>
                    <a:pt x="252" y="438"/>
                  </a:lnTo>
                  <a:lnTo>
                    <a:pt x="240" y="438"/>
                  </a:lnTo>
                  <a:lnTo>
                    <a:pt x="234" y="438"/>
                  </a:lnTo>
                  <a:lnTo>
                    <a:pt x="228" y="444"/>
                  </a:lnTo>
                  <a:lnTo>
                    <a:pt x="210" y="444"/>
                  </a:lnTo>
                  <a:lnTo>
                    <a:pt x="198" y="444"/>
                  </a:lnTo>
                  <a:lnTo>
                    <a:pt x="198" y="450"/>
                  </a:lnTo>
                  <a:lnTo>
                    <a:pt x="168" y="456"/>
                  </a:lnTo>
                  <a:lnTo>
                    <a:pt x="150" y="450"/>
                  </a:lnTo>
                  <a:lnTo>
                    <a:pt x="144" y="444"/>
                  </a:lnTo>
                  <a:lnTo>
                    <a:pt x="132" y="438"/>
                  </a:lnTo>
                  <a:lnTo>
                    <a:pt x="138" y="432"/>
                  </a:lnTo>
                  <a:lnTo>
                    <a:pt x="114" y="432"/>
                  </a:lnTo>
                  <a:lnTo>
                    <a:pt x="102" y="426"/>
                  </a:lnTo>
                  <a:lnTo>
                    <a:pt x="90" y="414"/>
                  </a:lnTo>
                  <a:lnTo>
                    <a:pt x="72" y="402"/>
                  </a:lnTo>
                  <a:lnTo>
                    <a:pt x="78" y="366"/>
                  </a:lnTo>
                  <a:lnTo>
                    <a:pt x="78" y="330"/>
                  </a:lnTo>
                  <a:lnTo>
                    <a:pt x="66" y="318"/>
                  </a:lnTo>
                  <a:lnTo>
                    <a:pt x="66" y="300"/>
                  </a:lnTo>
                  <a:lnTo>
                    <a:pt x="66" y="282"/>
                  </a:lnTo>
                  <a:lnTo>
                    <a:pt x="36" y="282"/>
                  </a:lnTo>
                  <a:lnTo>
                    <a:pt x="30" y="276"/>
                  </a:lnTo>
                  <a:lnTo>
                    <a:pt x="30" y="282"/>
                  </a:lnTo>
                  <a:lnTo>
                    <a:pt x="24" y="282"/>
                  </a:lnTo>
                  <a:lnTo>
                    <a:pt x="12" y="276"/>
                  </a:lnTo>
                  <a:lnTo>
                    <a:pt x="0" y="282"/>
                  </a:lnTo>
                  <a:lnTo>
                    <a:pt x="12" y="204"/>
                  </a:lnTo>
                  <a:lnTo>
                    <a:pt x="18" y="210"/>
                  </a:lnTo>
                  <a:lnTo>
                    <a:pt x="18" y="204"/>
                  </a:lnTo>
                  <a:lnTo>
                    <a:pt x="18" y="198"/>
                  </a:lnTo>
                  <a:lnTo>
                    <a:pt x="12" y="198"/>
                  </a:lnTo>
                  <a:lnTo>
                    <a:pt x="18" y="192"/>
                  </a:lnTo>
                  <a:lnTo>
                    <a:pt x="12" y="192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6" y="180"/>
                  </a:lnTo>
                  <a:lnTo>
                    <a:pt x="12" y="186"/>
                  </a:lnTo>
                  <a:lnTo>
                    <a:pt x="18" y="138"/>
                  </a:lnTo>
                  <a:lnTo>
                    <a:pt x="24" y="126"/>
                  </a:lnTo>
                  <a:lnTo>
                    <a:pt x="30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90" y="96"/>
                  </a:lnTo>
                  <a:lnTo>
                    <a:pt x="96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20" y="102"/>
                  </a:lnTo>
                  <a:lnTo>
                    <a:pt x="126" y="108"/>
                  </a:lnTo>
                  <a:lnTo>
                    <a:pt x="126" y="114"/>
                  </a:lnTo>
                  <a:lnTo>
                    <a:pt x="132" y="114"/>
                  </a:lnTo>
                  <a:lnTo>
                    <a:pt x="138" y="120"/>
                  </a:lnTo>
                  <a:lnTo>
                    <a:pt x="144" y="120"/>
                  </a:lnTo>
                  <a:lnTo>
                    <a:pt x="144" y="126"/>
                  </a:lnTo>
                  <a:lnTo>
                    <a:pt x="150" y="126"/>
                  </a:lnTo>
                  <a:lnTo>
                    <a:pt x="156" y="120"/>
                  </a:lnTo>
                  <a:lnTo>
                    <a:pt x="156" y="96"/>
                  </a:lnTo>
                  <a:lnTo>
                    <a:pt x="156" y="84"/>
                  </a:lnTo>
                  <a:lnTo>
                    <a:pt x="162" y="84"/>
                  </a:lnTo>
                  <a:lnTo>
                    <a:pt x="168" y="78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16" y="42"/>
                  </a:lnTo>
                  <a:lnTo>
                    <a:pt x="222" y="36"/>
                  </a:lnTo>
                  <a:lnTo>
                    <a:pt x="228" y="36"/>
                  </a:lnTo>
                  <a:lnTo>
                    <a:pt x="228" y="30"/>
                  </a:lnTo>
                  <a:lnTo>
                    <a:pt x="228" y="24"/>
                  </a:lnTo>
                  <a:lnTo>
                    <a:pt x="246" y="18"/>
                  </a:lnTo>
                  <a:lnTo>
                    <a:pt x="252" y="18"/>
                  </a:lnTo>
                  <a:lnTo>
                    <a:pt x="258" y="12"/>
                  </a:lnTo>
                  <a:lnTo>
                    <a:pt x="270" y="6"/>
                  </a:lnTo>
                  <a:lnTo>
                    <a:pt x="288" y="6"/>
                  </a:lnTo>
                  <a:lnTo>
                    <a:pt x="312" y="12"/>
                  </a:lnTo>
                  <a:lnTo>
                    <a:pt x="324" y="12"/>
                  </a:lnTo>
                  <a:lnTo>
                    <a:pt x="336" y="18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60" y="6"/>
                  </a:lnTo>
                  <a:lnTo>
                    <a:pt x="372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14" y="12"/>
                  </a:lnTo>
                  <a:lnTo>
                    <a:pt x="426" y="12"/>
                  </a:lnTo>
                  <a:lnTo>
                    <a:pt x="444" y="18"/>
                  </a:lnTo>
                  <a:lnTo>
                    <a:pt x="462" y="18"/>
                  </a:lnTo>
                  <a:lnTo>
                    <a:pt x="474" y="18"/>
                  </a:lnTo>
                  <a:lnTo>
                    <a:pt x="480" y="18"/>
                  </a:lnTo>
                  <a:lnTo>
                    <a:pt x="486" y="36"/>
                  </a:lnTo>
                  <a:lnTo>
                    <a:pt x="480" y="42"/>
                  </a:lnTo>
                  <a:lnTo>
                    <a:pt x="480" y="54"/>
                  </a:lnTo>
                  <a:lnTo>
                    <a:pt x="486" y="78"/>
                  </a:lnTo>
                  <a:lnTo>
                    <a:pt x="486" y="114"/>
                  </a:lnTo>
                  <a:lnTo>
                    <a:pt x="486" y="150"/>
                  </a:lnTo>
                  <a:lnTo>
                    <a:pt x="468" y="150"/>
                  </a:lnTo>
                  <a:lnTo>
                    <a:pt x="474" y="162"/>
                  </a:lnTo>
                  <a:lnTo>
                    <a:pt x="480" y="162"/>
                  </a:lnTo>
                  <a:lnTo>
                    <a:pt x="486" y="174"/>
                  </a:lnTo>
                  <a:lnTo>
                    <a:pt x="492" y="174"/>
                  </a:lnTo>
                  <a:lnTo>
                    <a:pt x="492" y="192"/>
                  </a:lnTo>
                  <a:lnTo>
                    <a:pt x="498" y="198"/>
                  </a:lnTo>
                  <a:lnTo>
                    <a:pt x="504" y="204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8" y="222"/>
                  </a:lnTo>
                  <a:lnTo>
                    <a:pt x="492" y="228"/>
                  </a:lnTo>
                  <a:lnTo>
                    <a:pt x="492" y="234"/>
                  </a:lnTo>
                  <a:lnTo>
                    <a:pt x="492" y="240"/>
                  </a:lnTo>
                  <a:lnTo>
                    <a:pt x="486" y="246"/>
                  </a:lnTo>
                  <a:lnTo>
                    <a:pt x="486" y="258"/>
                  </a:lnTo>
                  <a:lnTo>
                    <a:pt x="480" y="264"/>
                  </a:lnTo>
                  <a:lnTo>
                    <a:pt x="474" y="276"/>
                  </a:lnTo>
                  <a:lnTo>
                    <a:pt x="468" y="288"/>
                  </a:lnTo>
                  <a:lnTo>
                    <a:pt x="456" y="306"/>
                  </a:lnTo>
                  <a:lnTo>
                    <a:pt x="456" y="312"/>
                  </a:lnTo>
                  <a:lnTo>
                    <a:pt x="444" y="318"/>
                  </a:lnTo>
                  <a:lnTo>
                    <a:pt x="432" y="336"/>
                  </a:lnTo>
                  <a:lnTo>
                    <a:pt x="432" y="342"/>
                  </a:lnTo>
                  <a:lnTo>
                    <a:pt x="432" y="348"/>
                  </a:lnTo>
                  <a:lnTo>
                    <a:pt x="432" y="354"/>
                  </a:lnTo>
                  <a:lnTo>
                    <a:pt x="426" y="366"/>
                  </a:lnTo>
                  <a:lnTo>
                    <a:pt x="420" y="366"/>
                  </a:lnTo>
                  <a:lnTo>
                    <a:pt x="420" y="372"/>
                  </a:lnTo>
                  <a:lnTo>
                    <a:pt x="414" y="378"/>
                  </a:lnTo>
                  <a:lnTo>
                    <a:pt x="414" y="390"/>
                  </a:lnTo>
                  <a:lnTo>
                    <a:pt x="408" y="390"/>
                  </a:lnTo>
                  <a:lnTo>
                    <a:pt x="408" y="402"/>
                  </a:lnTo>
                  <a:lnTo>
                    <a:pt x="402" y="414"/>
                  </a:lnTo>
                  <a:lnTo>
                    <a:pt x="396" y="438"/>
                  </a:lnTo>
                  <a:lnTo>
                    <a:pt x="396" y="444"/>
                  </a:lnTo>
                  <a:lnTo>
                    <a:pt x="390" y="45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11" name="Freeform 7">
              <a:extLst>
                <a:ext uri="{FF2B5EF4-FFF2-40B4-BE49-F238E27FC236}">
                  <a16:creationId xmlns:a16="http://schemas.microsoft.com/office/drawing/2014/main" id="{0D8DE62D-4554-4314-9F3A-7208D89B4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290838" y="4128134"/>
              <a:ext cx="283995" cy="411516"/>
            </a:xfrm>
            <a:custGeom>
              <a:avLst/>
              <a:gdLst>
                <a:gd name="T0" fmla="*/ 39 w 534"/>
                <a:gd name="T1" fmla="*/ 35 h 774"/>
                <a:gd name="T2" fmla="*/ 35 w 534"/>
                <a:gd name="T3" fmla="*/ 31 h 774"/>
                <a:gd name="T4" fmla="*/ 32 w 534"/>
                <a:gd name="T5" fmla="*/ 29 h 774"/>
                <a:gd name="T6" fmla="*/ 32 w 534"/>
                <a:gd name="T7" fmla="*/ 31 h 774"/>
                <a:gd name="T8" fmla="*/ 29 w 534"/>
                <a:gd name="T9" fmla="*/ 33 h 774"/>
                <a:gd name="T10" fmla="*/ 27 w 534"/>
                <a:gd name="T11" fmla="*/ 36 h 774"/>
                <a:gd name="T12" fmla="*/ 30 w 534"/>
                <a:gd name="T13" fmla="*/ 38 h 774"/>
                <a:gd name="T14" fmla="*/ 29 w 534"/>
                <a:gd name="T15" fmla="*/ 40 h 774"/>
                <a:gd name="T16" fmla="*/ 25 w 534"/>
                <a:gd name="T17" fmla="*/ 40 h 774"/>
                <a:gd name="T18" fmla="*/ 23 w 534"/>
                <a:gd name="T19" fmla="*/ 42 h 774"/>
                <a:gd name="T20" fmla="*/ 22 w 534"/>
                <a:gd name="T21" fmla="*/ 47 h 774"/>
                <a:gd name="T22" fmla="*/ 22 w 534"/>
                <a:gd name="T23" fmla="*/ 51 h 774"/>
                <a:gd name="T24" fmla="*/ 22 w 534"/>
                <a:gd name="T25" fmla="*/ 54 h 774"/>
                <a:gd name="T26" fmla="*/ 21 w 534"/>
                <a:gd name="T27" fmla="*/ 56 h 774"/>
                <a:gd name="T28" fmla="*/ 19 w 534"/>
                <a:gd name="T29" fmla="*/ 58 h 774"/>
                <a:gd name="T30" fmla="*/ 20 w 534"/>
                <a:gd name="T31" fmla="*/ 59 h 774"/>
                <a:gd name="T32" fmla="*/ 19 w 534"/>
                <a:gd name="T33" fmla="*/ 62 h 774"/>
                <a:gd name="T34" fmla="*/ 19 w 534"/>
                <a:gd name="T35" fmla="*/ 64 h 774"/>
                <a:gd name="T36" fmla="*/ 20 w 534"/>
                <a:gd name="T37" fmla="*/ 66 h 774"/>
                <a:gd name="T38" fmla="*/ 17 w 534"/>
                <a:gd name="T39" fmla="*/ 66 h 774"/>
                <a:gd name="T40" fmla="*/ 16 w 534"/>
                <a:gd name="T41" fmla="*/ 65 h 774"/>
                <a:gd name="T42" fmla="*/ 13 w 534"/>
                <a:gd name="T43" fmla="*/ 65 h 774"/>
                <a:gd name="T44" fmla="*/ 11 w 534"/>
                <a:gd name="T45" fmla="*/ 65 h 774"/>
                <a:gd name="T46" fmla="*/ 8 w 534"/>
                <a:gd name="T47" fmla="*/ 65 h 774"/>
                <a:gd name="T48" fmla="*/ 8 w 534"/>
                <a:gd name="T49" fmla="*/ 64 h 774"/>
                <a:gd name="T50" fmla="*/ 5 w 534"/>
                <a:gd name="T51" fmla="*/ 65 h 774"/>
                <a:gd name="T52" fmla="*/ 3 w 534"/>
                <a:gd name="T53" fmla="*/ 65 h 774"/>
                <a:gd name="T54" fmla="*/ 0 w 534"/>
                <a:gd name="T55" fmla="*/ 64 h 774"/>
                <a:gd name="T56" fmla="*/ 0 w 534"/>
                <a:gd name="T57" fmla="*/ 62 h 774"/>
                <a:gd name="T58" fmla="*/ 3 w 534"/>
                <a:gd name="T59" fmla="*/ 60 h 774"/>
                <a:gd name="T60" fmla="*/ 6 w 534"/>
                <a:gd name="T61" fmla="*/ 57 h 774"/>
                <a:gd name="T62" fmla="*/ 8 w 534"/>
                <a:gd name="T63" fmla="*/ 50 h 774"/>
                <a:gd name="T64" fmla="*/ 6 w 534"/>
                <a:gd name="T65" fmla="*/ 45 h 774"/>
                <a:gd name="T66" fmla="*/ 8 w 534"/>
                <a:gd name="T67" fmla="*/ 41 h 774"/>
                <a:gd name="T68" fmla="*/ 9 w 534"/>
                <a:gd name="T69" fmla="*/ 38 h 774"/>
                <a:gd name="T70" fmla="*/ 10 w 534"/>
                <a:gd name="T71" fmla="*/ 36 h 774"/>
                <a:gd name="T72" fmla="*/ 12 w 534"/>
                <a:gd name="T73" fmla="*/ 33 h 774"/>
                <a:gd name="T74" fmla="*/ 14 w 534"/>
                <a:gd name="T75" fmla="*/ 29 h 774"/>
                <a:gd name="T76" fmla="*/ 16 w 534"/>
                <a:gd name="T77" fmla="*/ 26 h 774"/>
                <a:gd name="T78" fmla="*/ 16 w 534"/>
                <a:gd name="T79" fmla="*/ 24 h 774"/>
                <a:gd name="T80" fmla="*/ 16 w 534"/>
                <a:gd name="T81" fmla="*/ 21 h 774"/>
                <a:gd name="T82" fmla="*/ 13 w 534"/>
                <a:gd name="T83" fmla="*/ 19 h 774"/>
                <a:gd name="T84" fmla="*/ 14 w 534"/>
                <a:gd name="T85" fmla="*/ 10 h 774"/>
                <a:gd name="T86" fmla="*/ 14 w 534"/>
                <a:gd name="T87" fmla="*/ 7 h 774"/>
                <a:gd name="T88" fmla="*/ 8 w 534"/>
                <a:gd name="T89" fmla="*/ 7 h 774"/>
                <a:gd name="T90" fmla="*/ 7 w 534"/>
                <a:gd name="T91" fmla="*/ 3 h 774"/>
                <a:gd name="T92" fmla="*/ 11 w 534"/>
                <a:gd name="T93" fmla="*/ 1 h 774"/>
                <a:gd name="T94" fmla="*/ 12 w 534"/>
                <a:gd name="T95" fmla="*/ 0 h 774"/>
                <a:gd name="T96" fmla="*/ 16 w 534"/>
                <a:gd name="T97" fmla="*/ 2 h 774"/>
                <a:gd name="T98" fmla="*/ 20 w 534"/>
                <a:gd name="T99" fmla="*/ 2 h 774"/>
                <a:gd name="T100" fmla="*/ 23 w 534"/>
                <a:gd name="T101" fmla="*/ 3 h 774"/>
                <a:gd name="T102" fmla="*/ 23 w 534"/>
                <a:gd name="T103" fmla="*/ 10 h 774"/>
                <a:gd name="T104" fmla="*/ 29 w 534"/>
                <a:gd name="T105" fmla="*/ 12 h 774"/>
                <a:gd name="T106" fmla="*/ 35 w 534"/>
                <a:gd name="T107" fmla="*/ 12 h 774"/>
                <a:gd name="T108" fmla="*/ 38 w 534"/>
                <a:gd name="T109" fmla="*/ 17 h 774"/>
                <a:gd name="T110" fmla="*/ 40 w 534"/>
                <a:gd name="T111" fmla="*/ 19 h 774"/>
                <a:gd name="T112" fmla="*/ 44 w 534"/>
                <a:gd name="T113" fmla="*/ 23 h 774"/>
                <a:gd name="T114" fmla="*/ 44 w 534"/>
                <a:gd name="T115" fmla="*/ 30 h 774"/>
                <a:gd name="T116" fmla="*/ 46 w 534"/>
                <a:gd name="T117" fmla="*/ 36 h 774"/>
                <a:gd name="T118" fmla="*/ 41 w 534"/>
                <a:gd name="T119" fmla="*/ 37 h 77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34"/>
                <a:gd name="T181" fmla="*/ 0 h 774"/>
                <a:gd name="T182" fmla="*/ 534 w 534"/>
                <a:gd name="T183" fmla="*/ 774 h 77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34" h="774">
                  <a:moveTo>
                    <a:pt x="462" y="426"/>
                  </a:moveTo>
                  <a:lnTo>
                    <a:pt x="462" y="414"/>
                  </a:lnTo>
                  <a:lnTo>
                    <a:pt x="450" y="402"/>
                  </a:lnTo>
                  <a:lnTo>
                    <a:pt x="444" y="396"/>
                  </a:lnTo>
                  <a:lnTo>
                    <a:pt x="420" y="396"/>
                  </a:lnTo>
                  <a:lnTo>
                    <a:pt x="408" y="390"/>
                  </a:lnTo>
                  <a:lnTo>
                    <a:pt x="402" y="366"/>
                  </a:lnTo>
                  <a:lnTo>
                    <a:pt x="390" y="354"/>
                  </a:lnTo>
                  <a:lnTo>
                    <a:pt x="384" y="336"/>
                  </a:lnTo>
                  <a:lnTo>
                    <a:pt x="378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8" y="348"/>
                  </a:lnTo>
                  <a:lnTo>
                    <a:pt x="360" y="354"/>
                  </a:lnTo>
                  <a:lnTo>
                    <a:pt x="360" y="390"/>
                  </a:lnTo>
                  <a:lnTo>
                    <a:pt x="348" y="390"/>
                  </a:lnTo>
                  <a:lnTo>
                    <a:pt x="342" y="384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90"/>
                  </a:lnTo>
                  <a:lnTo>
                    <a:pt x="312" y="402"/>
                  </a:lnTo>
                  <a:lnTo>
                    <a:pt x="306" y="420"/>
                  </a:lnTo>
                  <a:lnTo>
                    <a:pt x="324" y="414"/>
                  </a:lnTo>
                  <a:lnTo>
                    <a:pt x="330" y="414"/>
                  </a:lnTo>
                  <a:lnTo>
                    <a:pt x="336" y="420"/>
                  </a:lnTo>
                  <a:lnTo>
                    <a:pt x="336" y="432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6"/>
                  </a:lnTo>
                  <a:lnTo>
                    <a:pt x="318" y="456"/>
                  </a:lnTo>
                  <a:lnTo>
                    <a:pt x="300" y="456"/>
                  </a:lnTo>
                  <a:lnTo>
                    <a:pt x="288" y="462"/>
                  </a:lnTo>
                  <a:lnTo>
                    <a:pt x="276" y="462"/>
                  </a:lnTo>
                  <a:lnTo>
                    <a:pt x="270" y="462"/>
                  </a:lnTo>
                  <a:lnTo>
                    <a:pt x="270" y="468"/>
                  </a:lnTo>
                  <a:lnTo>
                    <a:pt x="252" y="468"/>
                  </a:lnTo>
                  <a:lnTo>
                    <a:pt x="258" y="480"/>
                  </a:lnTo>
                  <a:lnTo>
                    <a:pt x="258" y="492"/>
                  </a:lnTo>
                  <a:lnTo>
                    <a:pt x="258" y="498"/>
                  </a:lnTo>
                  <a:lnTo>
                    <a:pt x="258" y="510"/>
                  </a:lnTo>
                  <a:lnTo>
                    <a:pt x="252" y="540"/>
                  </a:lnTo>
                  <a:lnTo>
                    <a:pt x="246" y="564"/>
                  </a:lnTo>
                  <a:lnTo>
                    <a:pt x="246" y="570"/>
                  </a:lnTo>
                  <a:lnTo>
                    <a:pt x="252" y="576"/>
                  </a:lnTo>
                  <a:lnTo>
                    <a:pt x="246" y="582"/>
                  </a:lnTo>
                  <a:lnTo>
                    <a:pt x="252" y="600"/>
                  </a:lnTo>
                  <a:lnTo>
                    <a:pt x="258" y="606"/>
                  </a:lnTo>
                  <a:lnTo>
                    <a:pt x="258" y="612"/>
                  </a:lnTo>
                  <a:lnTo>
                    <a:pt x="252" y="618"/>
                  </a:lnTo>
                  <a:lnTo>
                    <a:pt x="246" y="624"/>
                  </a:lnTo>
                  <a:lnTo>
                    <a:pt x="246" y="630"/>
                  </a:lnTo>
                  <a:lnTo>
                    <a:pt x="246" y="636"/>
                  </a:lnTo>
                  <a:lnTo>
                    <a:pt x="240" y="642"/>
                  </a:lnTo>
                  <a:lnTo>
                    <a:pt x="234" y="654"/>
                  </a:lnTo>
                  <a:lnTo>
                    <a:pt x="228" y="654"/>
                  </a:lnTo>
                  <a:lnTo>
                    <a:pt x="222" y="660"/>
                  </a:lnTo>
                  <a:lnTo>
                    <a:pt x="216" y="666"/>
                  </a:lnTo>
                  <a:lnTo>
                    <a:pt x="210" y="666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22" y="684"/>
                  </a:lnTo>
                  <a:lnTo>
                    <a:pt x="222" y="690"/>
                  </a:lnTo>
                  <a:lnTo>
                    <a:pt x="222" y="696"/>
                  </a:lnTo>
                  <a:lnTo>
                    <a:pt x="222" y="702"/>
                  </a:lnTo>
                  <a:lnTo>
                    <a:pt x="216" y="708"/>
                  </a:lnTo>
                  <a:lnTo>
                    <a:pt x="210" y="720"/>
                  </a:lnTo>
                  <a:lnTo>
                    <a:pt x="216" y="732"/>
                  </a:lnTo>
                  <a:lnTo>
                    <a:pt x="210" y="732"/>
                  </a:lnTo>
                  <a:lnTo>
                    <a:pt x="216" y="738"/>
                  </a:lnTo>
                  <a:lnTo>
                    <a:pt x="216" y="744"/>
                  </a:lnTo>
                  <a:lnTo>
                    <a:pt x="222" y="750"/>
                  </a:lnTo>
                  <a:lnTo>
                    <a:pt x="228" y="756"/>
                  </a:lnTo>
                  <a:lnTo>
                    <a:pt x="222" y="762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04" y="762"/>
                  </a:lnTo>
                  <a:lnTo>
                    <a:pt x="198" y="762"/>
                  </a:lnTo>
                  <a:lnTo>
                    <a:pt x="192" y="762"/>
                  </a:lnTo>
                  <a:lnTo>
                    <a:pt x="186" y="756"/>
                  </a:lnTo>
                  <a:lnTo>
                    <a:pt x="180" y="750"/>
                  </a:lnTo>
                  <a:lnTo>
                    <a:pt x="180" y="744"/>
                  </a:lnTo>
                  <a:lnTo>
                    <a:pt x="174" y="744"/>
                  </a:lnTo>
                  <a:lnTo>
                    <a:pt x="156" y="750"/>
                  </a:lnTo>
                  <a:lnTo>
                    <a:pt x="150" y="750"/>
                  </a:lnTo>
                  <a:lnTo>
                    <a:pt x="144" y="750"/>
                  </a:lnTo>
                  <a:lnTo>
                    <a:pt x="138" y="750"/>
                  </a:lnTo>
                  <a:lnTo>
                    <a:pt x="138" y="744"/>
                  </a:lnTo>
                  <a:lnTo>
                    <a:pt x="132" y="744"/>
                  </a:lnTo>
                  <a:lnTo>
                    <a:pt x="120" y="744"/>
                  </a:lnTo>
                  <a:lnTo>
                    <a:pt x="114" y="738"/>
                  </a:lnTo>
                  <a:lnTo>
                    <a:pt x="108" y="744"/>
                  </a:lnTo>
                  <a:lnTo>
                    <a:pt x="102" y="744"/>
                  </a:lnTo>
                  <a:lnTo>
                    <a:pt x="96" y="744"/>
                  </a:lnTo>
                  <a:lnTo>
                    <a:pt x="96" y="738"/>
                  </a:lnTo>
                  <a:lnTo>
                    <a:pt x="96" y="744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44"/>
                  </a:lnTo>
                  <a:lnTo>
                    <a:pt x="72" y="750"/>
                  </a:lnTo>
                  <a:lnTo>
                    <a:pt x="66" y="750"/>
                  </a:lnTo>
                  <a:lnTo>
                    <a:pt x="60" y="750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0"/>
                  </a:lnTo>
                  <a:lnTo>
                    <a:pt x="30" y="750"/>
                  </a:lnTo>
                  <a:lnTo>
                    <a:pt x="24" y="744"/>
                  </a:lnTo>
                  <a:lnTo>
                    <a:pt x="18" y="738"/>
                  </a:lnTo>
                  <a:lnTo>
                    <a:pt x="6" y="738"/>
                  </a:lnTo>
                  <a:lnTo>
                    <a:pt x="0" y="732"/>
                  </a:lnTo>
                  <a:lnTo>
                    <a:pt x="0" y="726"/>
                  </a:lnTo>
                  <a:lnTo>
                    <a:pt x="0" y="720"/>
                  </a:lnTo>
                  <a:lnTo>
                    <a:pt x="6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8" y="702"/>
                  </a:lnTo>
                  <a:lnTo>
                    <a:pt x="24" y="696"/>
                  </a:lnTo>
                  <a:lnTo>
                    <a:pt x="30" y="696"/>
                  </a:lnTo>
                  <a:lnTo>
                    <a:pt x="48" y="690"/>
                  </a:lnTo>
                  <a:lnTo>
                    <a:pt x="54" y="678"/>
                  </a:lnTo>
                  <a:lnTo>
                    <a:pt x="66" y="672"/>
                  </a:lnTo>
                  <a:lnTo>
                    <a:pt x="66" y="654"/>
                  </a:lnTo>
                  <a:lnTo>
                    <a:pt x="72" y="636"/>
                  </a:lnTo>
                  <a:lnTo>
                    <a:pt x="72" y="612"/>
                  </a:lnTo>
                  <a:lnTo>
                    <a:pt x="84" y="594"/>
                  </a:lnTo>
                  <a:lnTo>
                    <a:pt x="90" y="576"/>
                  </a:lnTo>
                  <a:lnTo>
                    <a:pt x="96" y="552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72" y="522"/>
                  </a:lnTo>
                  <a:lnTo>
                    <a:pt x="78" y="510"/>
                  </a:lnTo>
                  <a:lnTo>
                    <a:pt x="78" y="504"/>
                  </a:lnTo>
                  <a:lnTo>
                    <a:pt x="84" y="480"/>
                  </a:lnTo>
                  <a:lnTo>
                    <a:pt x="90" y="468"/>
                  </a:lnTo>
                  <a:lnTo>
                    <a:pt x="90" y="456"/>
                  </a:lnTo>
                  <a:lnTo>
                    <a:pt x="96" y="456"/>
                  </a:lnTo>
                  <a:lnTo>
                    <a:pt x="96" y="444"/>
                  </a:lnTo>
                  <a:lnTo>
                    <a:pt x="102" y="438"/>
                  </a:lnTo>
                  <a:lnTo>
                    <a:pt x="102" y="432"/>
                  </a:lnTo>
                  <a:lnTo>
                    <a:pt x="108" y="432"/>
                  </a:lnTo>
                  <a:lnTo>
                    <a:pt x="114" y="420"/>
                  </a:lnTo>
                  <a:lnTo>
                    <a:pt x="114" y="414"/>
                  </a:lnTo>
                  <a:lnTo>
                    <a:pt x="114" y="408"/>
                  </a:lnTo>
                  <a:lnTo>
                    <a:pt x="114" y="402"/>
                  </a:lnTo>
                  <a:lnTo>
                    <a:pt x="126" y="384"/>
                  </a:lnTo>
                  <a:lnTo>
                    <a:pt x="138" y="378"/>
                  </a:lnTo>
                  <a:lnTo>
                    <a:pt x="138" y="372"/>
                  </a:lnTo>
                  <a:lnTo>
                    <a:pt x="150" y="354"/>
                  </a:lnTo>
                  <a:lnTo>
                    <a:pt x="156" y="342"/>
                  </a:lnTo>
                  <a:lnTo>
                    <a:pt x="162" y="330"/>
                  </a:lnTo>
                  <a:lnTo>
                    <a:pt x="168" y="324"/>
                  </a:lnTo>
                  <a:lnTo>
                    <a:pt x="168" y="312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74" y="294"/>
                  </a:lnTo>
                  <a:lnTo>
                    <a:pt x="180" y="288"/>
                  </a:lnTo>
                  <a:lnTo>
                    <a:pt x="180" y="276"/>
                  </a:lnTo>
                  <a:lnTo>
                    <a:pt x="186" y="276"/>
                  </a:lnTo>
                  <a:lnTo>
                    <a:pt x="186" y="270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40"/>
                  </a:lnTo>
                  <a:lnTo>
                    <a:pt x="168" y="240"/>
                  </a:lnTo>
                  <a:lnTo>
                    <a:pt x="162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68" y="216"/>
                  </a:lnTo>
                  <a:lnTo>
                    <a:pt x="168" y="180"/>
                  </a:lnTo>
                  <a:lnTo>
                    <a:pt x="168" y="144"/>
                  </a:lnTo>
                  <a:lnTo>
                    <a:pt x="162" y="120"/>
                  </a:lnTo>
                  <a:lnTo>
                    <a:pt x="162" y="108"/>
                  </a:lnTo>
                  <a:lnTo>
                    <a:pt x="168" y="102"/>
                  </a:lnTo>
                  <a:lnTo>
                    <a:pt x="162" y="84"/>
                  </a:lnTo>
                  <a:lnTo>
                    <a:pt x="156" y="84"/>
                  </a:lnTo>
                  <a:lnTo>
                    <a:pt x="144" y="84"/>
                  </a:lnTo>
                  <a:lnTo>
                    <a:pt x="126" y="84"/>
                  </a:lnTo>
                  <a:lnTo>
                    <a:pt x="108" y="78"/>
                  </a:lnTo>
                  <a:lnTo>
                    <a:pt x="96" y="78"/>
                  </a:lnTo>
                  <a:lnTo>
                    <a:pt x="78" y="66"/>
                  </a:lnTo>
                  <a:lnTo>
                    <a:pt x="84" y="60"/>
                  </a:lnTo>
                  <a:lnTo>
                    <a:pt x="78" y="54"/>
                  </a:lnTo>
                  <a:lnTo>
                    <a:pt x="78" y="36"/>
                  </a:lnTo>
                  <a:lnTo>
                    <a:pt x="96" y="24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56" y="0"/>
                  </a:lnTo>
                  <a:lnTo>
                    <a:pt x="156" y="6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18"/>
                  </a:lnTo>
                  <a:lnTo>
                    <a:pt x="198" y="18"/>
                  </a:lnTo>
                  <a:lnTo>
                    <a:pt x="210" y="18"/>
                  </a:lnTo>
                  <a:lnTo>
                    <a:pt x="222" y="18"/>
                  </a:lnTo>
                  <a:lnTo>
                    <a:pt x="234" y="12"/>
                  </a:lnTo>
                  <a:lnTo>
                    <a:pt x="252" y="18"/>
                  </a:lnTo>
                  <a:lnTo>
                    <a:pt x="252" y="24"/>
                  </a:lnTo>
                  <a:lnTo>
                    <a:pt x="258" y="36"/>
                  </a:lnTo>
                  <a:lnTo>
                    <a:pt x="258" y="66"/>
                  </a:lnTo>
                  <a:lnTo>
                    <a:pt x="252" y="84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82" y="126"/>
                  </a:lnTo>
                  <a:lnTo>
                    <a:pt x="294" y="132"/>
                  </a:lnTo>
                  <a:lnTo>
                    <a:pt x="306" y="138"/>
                  </a:lnTo>
                  <a:lnTo>
                    <a:pt x="324" y="138"/>
                  </a:lnTo>
                  <a:lnTo>
                    <a:pt x="348" y="138"/>
                  </a:lnTo>
                  <a:lnTo>
                    <a:pt x="354" y="138"/>
                  </a:lnTo>
                  <a:lnTo>
                    <a:pt x="360" y="144"/>
                  </a:lnTo>
                  <a:lnTo>
                    <a:pt x="396" y="144"/>
                  </a:lnTo>
                  <a:lnTo>
                    <a:pt x="408" y="150"/>
                  </a:lnTo>
                  <a:lnTo>
                    <a:pt x="414" y="180"/>
                  </a:lnTo>
                  <a:lnTo>
                    <a:pt x="420" y="186"/>
                  </a:lnTo>
                  <a:lnTo>
                    <a:pt x="426" y="192"/>
                  </a:lnTo>
                  <a:lnTo>
                    <a:pt x="426" y="198"/>
                  </a:lnTo>
                  <a:lnTo>
                    <a:pt x="432" y="198"/>
                  </a:lnTo>
                  <a:lnTo>
                    <a:pt x="438" y="210"/>
                  </a:lnTo>
                  <a:lnTo>
                    <a:pt x="450" y="216"/>
                  </a:lnTo>
                  <a:lnTo>
                    <a:pt x="468" y="228"/>
                  </a:lnTo>
                  <a:lnTo>
                    <a:pt x="492" y="234"/>
                  </a:lnTo>
                  <a:lnTo>
                    <a:pt x="492" y="246"/>
                  </a:lnTo>
                  <a:lnTo>
                    <a:pt x="492" y="270"/>
                  </a:lnTo>
                  <a:lnTo>
                    <a:pt x="486" y="294"/>
                  </a:lnTo>
                  <a:lnTo>
                    <a:pt x="486" y="312"/>
                  </a:lnTo>
                  <a:lnTo>
                    <a:pt x="486" y="330"/>
                  </a:lnTo>
                  <a:lnTo>
                    <a:pt x="492" y="348"/>
                  </a:lnTo>
                  <a:lnTo>
                    <a:pt x="498" y="360"/>
                  </a:lnTo>
                  <a:lnTo>
                    <a:pt x="510" y="366"/>
                  </a:lnTo>
                  <a:lnTo>
                    <a:pt x="516" y="384"/>
                  </a:lnTo>
                  <a:lnTo>
                    <a:pt x="522" y="414"/>
                  </a:lnTo>
                  <a:lnTo>
                    <a:pt x="528" y="414"/>
                  </a:lnTo>
                  <a:lnTo>
                    <a:pt x="534" y="426"/>
                  </a:lnTo>
                  <a:lnTo>
                    <a:pt x="528" y="432"/>
                  </a:lnTo>
                  <a:lnTo>
                    <a:pt x="468" y="426"/>
                  </a:lnTo>
                  <a:lnTo>
                    <a:pt x="462" y="42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3" name="Freeform 8">
              <a:extLst>
                <a:ext uri="{FF2B5EF4-FFF2-40B4-BE49-F238E27FC236}">
                  <a16:creationId xmlns:a16="http://schemas.microsoft.com/office/drawing/2014/main" id="{D473457C-872E-4E31-888A-D60FD52063A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98175" y="4307054"/>
              <a:ext cx="295177" cy="348894"/>
            </a:xfrm>
            <a:custGeom>
              <a:avLst/>
              <a:gdLst>
                <a:gd name="T0" fmla="*/ 3 w 552"/>
                <a:gd name="T1" fmla="*/ 46 h 660"/>
                <a:gd name="T2" fmla="*/ 4 w 552"/>
                <a:gd name="T3" fmla="*/ 42 h 660"/>
                <a:gd name="T4" fmla="*/ 2 w 552"/>
                <a:gd name="T5" fmla="*/ 38 h 660"/>
                <a:gd name="T6" fmla="*/ 0 w 552"/>
                <a:gd name="T7" fmla="*/ 34 h 660"/>
                <a:gd name="T8" fmla="*/ 2 w 552"/>
                <a:gd name="T9" fmla="*/ 30 h 660"/>
                <a:gd name="T10" fmla="*/ 3 w 552"/>
                <a:gd name="T11" fmla="*/ 27 h 660"/>
                <a:gd name="T12" fmla="*/ 5 w 552"/>
                <a:gd name="T13" fmla="*/ 23 h 660"/>
                <a:gd name="T14" fmla="*/ 5 w 552"/>
                <a:gd name="T15" fmla="*/ 15 h 660"/>
                <a:gd name="T16" fmla="*/ 6 w 552"/>
                <a:gd name="T17" fmla="*/ 11 h 660"/>
                <a:gd name="T18" fmla="*/ 11 w 552"/>
                <a:gd name="T19" fmla="*/ 9 h 660"/>
                <a:gd name="T20" fmla="*/ 10 w 552"/>
                <a:gd name="T21" fmla="*/ 5 h 660"/>
                <a:gd name="T22" fmla="*/ 12 w 552"/>
                <a:gd name="T23" fmla="*/ 1 h 660"/>
                <a:gd name="T24" fmla="*/ 16 w 552"/>
                <a:gd name="T25" fmla="*/ 2 h 660"/>
                <a:gd name="T26" fmla="*/ 23 w 552"/>
                <a:gd name="T27" fmla="*/ 8 h 660"/>
                <a:gd name="T28" fmla="*/ 23 w 552"/>
                <a:gd name="T29" fmla="*/ 11 h 660"/>
                <a:gd name="T30" fmla="*/ 27 w 552"/>
                <a:gd name="T31" fmla="*/ 12 h 660"/>
                <a:gd name="T32" fmla="*/ 29 w 552"/>
                <a:gd name="T33" fmla="*/ 17 h 660"/>
                <a:gd name="T34" fmla="*/ 31 w 552"/>
                <a:gd name="T35" fmla="*/ 15 h 660"/>
                <a:gd name="T36" fmla="*/ 33 w 552"/>
                <a:gd name="T37" fmla="*/ 17 h 660"/>
                <a:gd name="T38" fmla="*/ 36 w 552"/>
                <a:gd name="T39" fmla="*/ 23 h 660"/>
                <a:gd name="T40" fmla="*/ 41 w 552"/>
                <a:gd name="T41" fmla="*/ 33 h 660"/>
                <a:gd name="T42" fmla="*/ 43 w 552"/>
                <a:gd name="T43" fmla="*/ 36 h 660"/>
                <a:gd name="T44" fmla="*/ 43 w 552"/>
                <a:gd name="T45" fmla="*/ 37 h 660"/>
                <a:gd name="T46" fmla="*/ 41 w 552"/>
                <a:gd name="T47" fmla="*/ 35 h 660"/>
                <a:gd name="T48" fmla="*/ 43 w 552"/>
                <a:gd name="T49" fmla="*/ 37 h 660"/>
                <a:gd name="T50" fmla="*/ 44 w 552"/>
                <a:gd name="T51" fmla="*/ 39 h 660"/>
                <a:gd name="T52" fmla="*/ 47 w 552"/>
                <a:gd name="T53" fmla="*/ 41 h 660"/>
                <a:gd name="T54" fmla="*/ 47 w 552"/>
                <a:gd name="T55" fmla="*/ 44 h 660"/>
                <a:gd name="T56" fmla="*/ 48 w 552"/>
                <a:gd name="T57" fmla="*/ 46 h 660"/>
                <a:gd name="T58" fmla="*/ 47 w 552"/>
                <a:gd name="T59" fmla="*/ 46 h 660"/>
                <a:gd name="T60" fmla="*/ 44 w 552"/>
                <a:gd name="T61" fmla="*/ 46 h 660"/>
                <a:gd name="T62" fmla="*/ 47 w 552"/>
                <a:gd name="T63" fmla="*/ 47 h 660"/>
                <a:gd name="T64" fmla="*/ 47 w 552"/>
                <a:gd name="T65" fmla="*/ 49 h 660"/>
                <a:gd name="T66" fmla="*/ 47 w 552"/>
                <a:gd name="T67" fmla="*/ 52 h 660"/>
                <a:gd name="T68" fmla="*/ 46 w 552"/>
                <a:gd name="T69" fmla="*/ 53 h 660"/>
                <a:gd name="T70" fmla="*/ 43 w 552"/>
                <a:gd name="T71" fmla="*/ 54 h 660"/>
                <a:gd name="T72" fmla="*/ 37 w 552"/>
                <a:gd name="T73" fmla="*/ 54 h 660"/>
                <a:gd name="T74" fmla="*/ 30 w 552"/>
                <a:gd name="T75" fmla="*/ 54 h 660"/>
                <a:gd name="T76" fmla="*/ 29 w 552"/>
                <a:gd name="T77" fmla="*/ 53 h 660"/>
                <a:gd name="T78" fmla="*/ 27 w 552"/>
                <a:gd name="T79" fmla="*/ 53 h 660"/>
                <a:gd name="T80" fmla="*/ 29 w 552"/>
                <a:gd name="T81" fmla="*/ 53 h 660"/>
                <a:gd name="T82" fmla="*/ 28 w 552"/>
                <a:gd name="T83" fmla="*/ 54 h 660"/>
                <a:gd name="T84" fmla="*/ 24 w 552"/>
                <a:gd name="T85" fmla="*/ 54 h 660"/>
                <a:gd name="T86" fmla="*/ 20 w 552"/>
                <a:gd name="T87" fmla="*/ 55 h 660"/>
                <a:gd name="T88" fmla="*/ 15 w 552"/>
                <a:gd name="T89" fmla="*/ 56 h 660"/>
                <a:gd name="T90" fmla="*/ 12 w 552"/>
                <a:gd name="T91" fmla="*/ 56 h 660"/>
                <a:gd name="T92" fmla="*/ 11 w 552"/>
                <a:gd name="T93" fmla="*/ 57 h 660"/>
                <a:gd name="T94" fmla="*/ 9 w 552"/>
                <a:gd name="T95" fmla="*/ 57 h 660"/>
                <a:gd name="T96" fmla="*/ 7 w 552"/>
                <a:gd name="T97" fmla="*/ 56 h 660"/>
                <a:gd name="T98" fmla="*/ 5 w 552"/>
                <a:gd name="T99" fmla="*/ 55 h 660"/>
                <a:gd name="T100" fmla="*/ 7 w 552"/>
                <a:gd name="T101" fmla="*/ 54 h 660"/>
                <a:gd name="T102" fmla="*/ 5 w 552"/>
                <a:gd name="T103" fmla="*/ 54 h 660"/>
                <a:gd name="T104" fmla="*/ 5 w 552"/>
                <a:gd name="T105" fmla="*/ 53 h 660"/>
                <a:gd name="T106" fmla="*/ 4 w 552"/>
                <a:gd name="T107" fmla="*/ 49 h 660"/>
                <a:gd name="T108" fmla="*/ 45 w 552"/>
                <a:gd name="T109" fmla="*/ 38 h 66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52"/>
                <a:gd name="T166" fmla="*/ 0 h 660"/>
                <a:gd name="T167" fmla="*/ 552 w 552"/>
                <a:gd name="T168" fmla="*/ 660 h 66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52" h="660">
                  <a:moveTo>
                    <a:pt x="36" y="564"/>
                  </a:moveTo>
                  <a:lnTo>
                    <a:pt x="36" y="558"/>
                  </a:lnTo>
                  <a:lnTo>
                    <a:pt x="36" y="552"/>
                  </a:lnTo>
                  <a:lnTo>
                    <a:pt x="42" y="546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34"/>
                  </a:lnTo>
                  <a:lnTo>
                    <a:pt x="36" y="528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54" y="510"/>
                  </a:lnTo>
                  <a:lnTo>
                    <a:pt x="54" y="504"/>
                  </a:lnTo>
                  <a:lnTo>
                    <a:pt x="54" y="498"/>
                  </a:lnTo>
                  <a:lnTo>
                    <a:pt x="48" y="492"/>
                  </a:lnTo>
                  <a:lnTo>
                    <a:pt x="42" y="486"/>
                  </a:lnTo>
                  <a:lnTo>
                    <a:pt x="42" y="480"/>
                  </a:lnTo>
                  <a:lnTo>
                    <a:pt x="42" y="468"/>
                  </a:lnTo>
                  <a:lnTo>
                    <a:pt x="30" y="456"/>
                  </a:lnTo>
                  <a:lnTo>
                    <a:pt x="30" y="450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2"/>
                  </a:lnTo>
                  <a:lnTo>
                    <a:pt x="18" y="426"/>
                  </a:lnTo>
                  <a:lnTo>
                    <a:pt x="24" y="420"/>
                  </a:lnTo>
                  <a:lnTo>
                    <a:pt x="18" y="414"/>
                  </a:lnTo>
                  <a:lnTo>
                    <a:pt x="12" y="408"/>
                  </a:lnTo>
                  <a:lnTo>
                    <a:pt x="12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6" y="384"/>
                  </a:lnTo>
                  <a:lnTo>
                    <a:pt x="12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8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36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54" y="270"/>
                  </a:lnTo>
                  <a:lnTo>
                    <a:pt x="48" y="264"/>
                  </a:lnTo>
                  <a:lnTo>
                    <a:pt x="42" y="246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8" y="204"/>
                  </a:lnTo>
                  <a:lnTo>
                    <a:pt x="54" y="174"/>
                  </a:lnTo>
                  <a:lnTo>
                    <a:pt x="54" y="162"/>
                  </a:lnTo>
                  <a:lnTo>
                    <a:pt x="54" y="156"/>
                  </a:lnTo>
                  <a:lnTo>
                    <a:pt x="54" y="144"/>
                  </a:lnTo>
                  <a:lnTo>
                    <a:pt x="48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72" y="126"/>
                  </a:lnTo>
                  <a:lnTo>
                    <a:pt x="84" y="126"/>
                  </a:lnTo>
                  <a:lnTo>
                    <a:pt x="96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26" y="114"/>
                  </a:lnTo>
                  <a:lnTo>
                    <a:pt x="126" y="108"/>
                  </a:lnTo>
                  <a:lnTo>
                    <a:pt x="126" y="102"/>
                  </a:lnTo>
                  <a:lnTo>
                    <a:pt x="132" y="96"/>
                  </a:lnTo>
                  <a:lnTo>
                    <a:pt x="132" y="84"/>
                  </a:lnTo>
                  <a:lnTo>
                    <a:pt x="126" y="78"/>
                  </a:lnTo>
                  <a:lnTo>
                    <a:pt x="120" y="78"/>
                  </a:lnTo>
                  <a:lnTo>
                    <a:pt x="102" y="84"/>
                  </a:lnTo>
                  <a:lnTo>
                    <a:pt x="108" y="66"/>
                  </a:lnTo>
                  <a:lnTo>
                    <a:pt x="114" y="54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38" y="48"/>
                  </a:lnTo>
                  <a:lnTo>
                    <a:pt x="144" y="54"/>
                  </a:lnTo>
                  <a:lnTo>
                    <a:pt x="156" y="54"/>
                  </a:lnTo>
                  <a:lnTo>
                    <a:pt x="156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6" y="0"/>
                  </a:lnTo>
                  <a:lnTo>
                    <a:pt x="162" y="0"/>
                  </a:lnTo>
                  <a:lnTo>
                    <a:pt x="174" y="0"/>
                  </a:lnTo>
                  <a:lnTo>
                    <a:pt x="180" y="0"/>
                  </a:lnTo>
                  <a:lnTo>
                    <a:pt x="186" y="18"/>
                  </a:lnTo>
                  <a:lnTo>
                    <a:pt x="198" y="30"/>
                  </a:lnTo>
                  <a:lnTo>
                    <a:pt x="204" y="54"/>
                  </a:lnTo>
                  <a:lnTo>
                    <a:pt x="216" y="60"/>
                  </a:lnTo>
                  <a:lnTo>
                    <a:pt x="240" y="60"/>
                  </a:lnTo>
                  <a:lnTo>
                    <a:pt x="246" y="66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52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2" y="120"/>
                  </a:lnTo>
                  <a:lnTo>
                    <a:pt x="25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6" y="126"/>
                  </a:lnTo>
                  <a:lnTo>
                    <a:pt x="282" y="120"/>
                  </a:lnTo>
                  <a:lnTo>
                    <a:pt x="282" y="126"/>
                  </a:lnTo>
                  <a:lnTo>
                    <a:pt x="294" y="126"/>
                  </a:lnTo>
                  <a:lnTo>
                    <a:pt x="300" y="132"/>
                  </a:lnTo>
                  <a:lnTo>
                    <a:pt x="306" y="144"/>
                  </a:lnTo>
                  <a:lnTo>
                    <a:pt x="312" y="144"/>
                  </a:lnTo>
                  <a:lnTo>
                    <a:pt x="312" y="150"/>
                  </a:lnTo>
                  <a:lnTo>
                    <a:pt x="312" y="162"/>
                  </a:lnTo>
                  <a:lnTo>
                    <a:pt x="312" y="174"/>
                  </a:lnTo>
                  <a:lnTo>
                    <a:pt x="324" y="180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30" y="192"/>
                  </a:lnTo>
                  <a:lnTo>
                    <a:pt x="336" y="198"/>
                  </a:lnTo>
                  <a:lnTo>
                    <a:pt x="342" y="192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54" y="180"/>
                  </a:lnTo>
                  <a:lnTo>
                    <a:pt x="354" y="174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78" y="186"/>
                  </a:lnTo>
                  <a:lnTo>
                    <a:pt x="378" y="192"/>
                  </a:lnTo>
                  <a:lnTo>
                    <a:pt x="384" y="192"/>
                  </a:lnTo>
                  <a:lnTo>
                    <a:pt x="390" y="204"/>
                  </a:lnTo>
                  <a:lnTo>
                    <a:pt x="390" y="210"/>
                  </a:lnTo>
                  <a:lnTo>
                    <a:pt x="390" y="216"/>
                  </a:lnTo>
                  <a:lnTo>
                    <a:pt x="384" y="234"/>
                  </a:lnTo>
                  <a:lnTo>
                    <a:pt x="390" y="240"/>
                  </a:lnTo>
                  <a:lnTo>
                    <a:pt x="408" y="252"/>
                  </a:lnTo>
                  <a:lnTo>
                    <a:pt x="414" y="264"/>
                  </a:lnTo>
                  <a:lnTo>
                    <a:pt x="408" y="300"/>
                  </a:lnTo>
                  <a:lnTo>
                    <a:pt x="414" y="312"/>
                  </a:lnTo>
                  <a:lnTo>
                    <a:pt x="426" y="336"/>
                  </a:lnTo>
                  <a:lnTo>
                    <a:pt x="438" y="354"/>
                  </a:lnTo>
                  <a:lnTo>
                    <a:pt x="444" y="366"/>
                  </a:lnTo>
                  <a:lnTo>
                    <a:pt x="456" y="366"/>
                  </a:lnTo>
                  <a:lnTo>
                    <a:pt x="474" y="378"/>
                  </a:lnTo>
                  <a:lnTo>
                    <a:pt x="474" y="384"/>
                  </a:lnTo>
                  <a:lnTo>
                    <a:pt x="480" y="390"/>
                  </a:lnTo>
                  <a:lnTo>
                    <a:pt x="486" y="396"/>
                  </a:lnTo>
                  <a:lnTo>
                    <a:pt x="486" y="402"/>
                  </a:lnTo>
                  <a:lnTo>
                    <a:pt x="480" y="408"/>
                  </a:lnTo>
                  <a:lnTo>
                    <a:pt x="486" y="408"/>
                  </a:lnTo>
                  <a:lnTo>
                    <a:pt x="486" y="414"/>
                  </a:lnTo>
                  <a:lnTo>
                    <a:pt x="492" y="414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32"/>
                  </a:lnTo>
                  <a:lnTo>
                    <a:pt x="498" y="438"/>
                  </a:lnTo>
                  <a:lnTo>
                    <a:pt x="492" y="432"/>
                  </a:lnTo>
                  <a:lnTo>
                    <a:pt x="486" y="426"/>
                  </a:lnTo>
                  <a:lnTo>
                    <a:pt x="486" y="420"/>
                  </a:lnTo>
                  <a:lnTo>
                    <a:pt x="486" y="414"/>
                  </a:lnTo>
                  <a:lnTo>
                    <a:pt x="480" y="414"/>
                  </a:lnTo>
                  <a:lnTo>
                    <a:pt x="480" y="408"/>
                  </a:lnTo>
                  <a:lnTo>
                    <a:pt x="474" y="408"/>
                  </a:lnTo>
                  <a:lnTo>
                    <a:pt x="468" y="408"/>
                  </a:lnTo>
                  <a:lnTo>
                    <a:pt x="468" y="402"/>
                  </a:lnTo>
                  <a:lnTo>
                    <a:pt x="462" y="402"/>
                  </a:lnTo>
                  <a:lnTo>
                    <a:pt x="462" y="408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80" y="426"/>
                  </a:lnTo>
                  <a:lnTo>
                    <a:pt x="486" y="426"/>
                  </a:lnTo>
                  <a:lnTo>
                    <a:pt x="486" y="432"/>
                  </a:lnTo>
                  <a:lnTo>
                    <a:pt x="492" y="438"/>
                  </a:lnTo>
                  <a:lnTo>
                    <a:pt x="498" y="438"/>
                  </a:lnTo>
                  <a:lnTo>
                    <a:pt x="504" y="444"/>
                  </a:lnTo>
                  <a:lnTo>
                    <a:pt x="510" y="444"/>
                  </a:lnTo>
                  <a:lnTo>
                    <a:pt x="510" y="450"/>
                  </a:lnTo>
                  <a:lnTo>
                    <a:pt x="510" y="456"/>
                  </a:lnTo>
                  <a:lnTo>
                    <a:pt x="516" y="456"/>
                  </a:lnTo>
                  <a:lnTo>
                    <a:pt x="516" y="462"/>
                  </a:lnTo>
                  <a:lnTo>
                    <a:pt x="522" y="462"/>
                  </a:lnTo>
                  <a:lnTo>
                    <a:pt x="522" y="468"/>
                  </a:lnTo>
                  <a:lnTo>
                    <a:pt x="528" y="468"/>
                  </a:lnTo>
                  <a:lnTo>
                    <a:pt x="534" y="468"/>
                  </a:lnTo>
                  <a:lnTo>
                    <a:pt x="534" y="474"/>
                  </a:lnTo>
                  <a:lnTo>
                    <a:pt x="540" y="474"/>
                  </a:lnTo>
                  <a:lnTo>
                    <a:pt x="540" y="480"/>
                  </a:lnTo>
                  <a:lnTo>
                    <a:pt x="546" y="486"/>
                  </a:lnTo>
                  <a:lnTo>
                    <a:pt x="546" y="492"/>
                  </a:lnTo>
                  <a:lnTo>
                    <a:pt x="546" y="498"/>
                  </a:lnTo>
                  <a:lnTo>
                    <a:pt x="546" y="504"/>
                  </a:lnTo>
                  <a:lnTo>
                    <a:pt x="540" y="504"/>
                  </a:lnTo>
                  <a:lnTo>
                    <a:pt x="546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10"/>
                  </a:lnTo>
                  <a:lnTo>
                    <a:pt x="552" y="516"/>
                  </a:lnTo>
                  <a:lnTo>
                    <a:pt x="552" y="522"/>
                  </a:lnTo>
                  <a:lnTo>
                    <a:pt x="552" y="528"/>
                  </a:lnTo>
                  <a:lnTo>
                    <a:pt x="552" y="534"/>
                  </a:lnTo>
                  <a:lnTo>
                    <a:pt x="552" y="540"/>
                  </a:lnTo>
                  <a:lnTo>
                    <a:pt x="546" y="540"/>
                  </a:lnTo>
                  <a:lnTo>
                    <a:pt x="546" y="546"/>
                  </a:lnTo>
                  <a:lnTo>
                    <a:pt x="546" y="540"/>
                  </a:lnTo>
                  <a:lnTo>
                    <a:pt x="546" y="534"/>
                  </a:lnTo>
                  <a:lnTo>
                    <a:pt x="540" y="534"/>
                  </a:lnTo>
                  <a:lnTo>
                    <a:pt x="540" y="528"/>
                  </a:lnTo>
                  <a:lnTo>
                    <a:pt x="534" y="528"/>
                  </a:lnTo>
                  <a:lnTo>
                    <a:pt x="528" y="528"/>
                  </a:lnTo>
                  <a:lnTo>
                    <a:pt x="522" y="528"/>
                  </a:lnTo>
                  <a:lnTo>
                    <a:pt x="516" y="528"/>
                  </a:lnTo>
                  <a:lnTo>
                    <a:pt x="510" y="528"/>
                  </a:lnTo>
                  <a:lnTo>
                    <a:pt x="510" y="534"/>
                  </a:lnTo>
                  <a:lnTo>
                    <a:pt x="510" y="528"/>
                  </a:lnTo>
                  <a:lnTo>
                    <a:pt x="516" y="528"/>
                  </a:lnTo>
                  <a:lnTo>
                    <a:pt x="522" y="528"/>
                  </a:lnTo>
                  <a:lnTo>
                    <a:pt x="528" y="528"/>
                  </a:lnTo>
                  <a:lnTo>
                    <a:pt x="534" y="534"/>
                  </a:lnTo>
                  <a:lnTo>
                    <a:pt x="540" y="534"/>
                  </a:lnTo>
                  <a:lnTo>
                    <a:pt x="540" y="540"/>
                  </a:lnTo>
                  <a:lnTo>
                    <a:pt x="540" y="546"/>
                  </a:lnTo>
                  <a:lnTo>
                    <a:pt x="546" y="546"/>
                  </a:lnTo>
                  <a:lnTo>
                    <a:pt x="546" y="552"/>
                  </a:lnTo>
                  <a:lnTo>
                    <a:pt x="552" y="552"/>
                  </a:lnTo>
                  <a:lnTo>
                    <a:pt x="552" y="558"/>
                  </a:lnTo>
                  <a:lnTo>
                    <a:pt x="552" y="564"/>
                  </a:lnTo>
                  <a:lnTo>
                    <a:pt x="546" y="564"/>
                  </a:lnTo>
                  <a:lnTo>
                    <a:pt x="546" y="570"/>
                  </a:lnTo>
                  <a:lnTo>
                    <a:pt x="546" y="576"/>
                  </a:lnTo>
                  <a:lnTo>
                    <a:pt x="540" y="576"/>
                  </a:lnTo>
                  <a:lnTo>
                    <a:pt x="540" y="582"/>
                  </a:lnTo>
                  <a:lnTo>
                    <a:pt x="540" y="588"/>
                  </a:lnTo>
                  <a:lnTo>
                    <a:pt x="534" y="594"/>
                  </a:lnTo>
                  <a:lnTo>
                    <a:pt x="534" y="600"/>
                  </a:lnTo>
                  <a:lnTo>
                    <a:pt x="528" y="600"/>
                  </a:lnTo>
                  <a:lnTo>
                    <a:pt x="522" y="594"/>
                  </a:lnTo>
                  <a:lnTo>
                    <a:pt x="528" y="600"/>
                  </a:lnTo>
                  <a:lnTo>
                    <a:pt x="534" y="600"/>
                  </a:lnTo>
                  <a:lnTo>
                    <a:pt x="534" y="606"/>
                  </a:lnTo>
                  <a:lnTo>
                    <a:pt x="528" y="606"/>
                  </a:lnTo>
                  <a:lnTo>
                    <a:pt x="528" y="612"/>
                  </a:lnTo>
                  <a:lnTo>
                    <a:pt x="522" y="612"/>
                  </a:lnTo>
                  <a:lnTo>
                    <a:pt x="522" y="618"/>
                  </a:lnTo>
                  <a:lnTo>
                    <a:pt x="522" y="624"/>
                  </a:lnTo>
                  <a:lnTo>
                    <a:pt x="510" y="624"/>
                  </a:lnTo>
                  <a:lnTo>
                    <a:pt x="498" y="624"/>
                  </a:lnTo>
                  <a:lnTo>
                    <a:pt x="492" y="624"/>
                  </a:lnTo>
                  <a:lnTo>
                    <a:pt x="486" y="624"/>
                  </a:lnTo>
                  <a:lnTo>
                    <a:pt x="480" y="624"/>
                  </a:lnTo>
                  <a:lnTo>
                    <a:pt x="474" y="624"/>
                  </a:lnTo>
                  <a:lnTo>
                    <a:pt x="468" y="618"/>
                  </a:lnTo>
                  <a:lnTo>
                    <a:pt x="456" y="618"/>
                  </a:lnTo>
                  <a:lnTo>
                    <a:pt x="450" y="618"/>
                  </a:lnTo>
                  <a:lnTo>
                    <a:pt x="426" y="618"/>
                  </a:lnTo>
                  <a:lnTo>
                    <a:pt x="420" y="618"/>
                  </a:lnTo>
                  <a:lnTo>
                    <a:pt x="414" y="618"/>
                  </a:lnTo>
                  <a:lnTo>
                    <a:pt x="408" y="618"/>
                  </a:lnTo>
                  <a:lnTo>
                    <a:pt x="396" y="618"/>
                  </a:lnTo>
                  <a:lnTo>
                    <a:pt x="366" y="618"/>
                  </a:lnTo>
                  <a:lnTo>
                    <a:pt x="348" y="624"/>
                  </a:lnTo>
                  <a:lnTo>
                    <a:pt x="342" y="624"/>
                  </a:lnTo>
                  <a:lnTo>
                    <a:pt x="342" y="618"/>
                  </a:lnTo>
                  <a:lnTo>
                    <a:pt x="336" y="618"/>
                  </a:lnTo>
                  <a:lnTo>
                    <a:pt x="336" y="612"/>
                  </a:lnTo>
                  <a:lnTo>
                    <a:pt x="342" y="612"/>
                  </a:lnTo>
                  <a:lnTo>
                    <a:pt x="348" y="612"/>
                  </a:lnTo>
                  <a:lnTo>
                    <a:pt x="342" y="612"/>
                  </a:lnTo>
                  <a:lnTo>
                    <a:pt x="336" y="612"/>
                  </a:lnTo>
                  <a:lnTo>
                    <a:pt x="336" y="606"/>
                  </a:lnTo>
                  <a:lnTo>
                    <a:pt x="330" y="606"/>
                  </a:lnTo>
                  <a:lnTo>
                    <a:pt x="330" y="600"/>
                  </a:lnTo>
                  <a:lnTo>
                    <a:pt x="324" y="600"/>
                  </a:lnTo>
                  <a:lnTo>
                    <a:pt x="324" y="606"/>
                  </a:lnTo>
                  <a:lnTo>
                    <a:pt x="318" y="606"/>
                  </a:lnTo>
                  <a:lnTo>
                    <a:pt x="318" y="612"/>
                  </a:lnTo>
                  <a:lnTo>
                    <a:pt x="312" y="612"/>
                  </a:lnTo>
                  <a:lnTo>
                    <a:pt x="306" y="606"/>
                  </a:lnTo>
                  <a:lnTo>
                    <a:pt x="306" y="612"/>
                  </a:lnTo>
                  <a:lnTo>
                    <a:pt x="312" y="612"/>
                  </a:lnTo>
                  <a:lnTo>
                    <a:pt x="318" y="612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30" y="606"/>
                  </a:lnTo>
                  <a:lnTo>
                    <a:pt x="336" y="612"/>
                  </a:lnTo>
                  <a:lnTo>
                    <a:pt x="336" y="618"/>
                  </a:lnTo>
                  <a:lnTo>
                    <a:pt x="330" y="618"/>
                  </a:lnTo>
                  <a:lnTo>
                    <a:pt x="336" y="618"/>
                  </a:lnTo>
                  <a:lnTo>
                    <a:pt x="336" y="624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306" y="624"/>
                  </a:lnTo>
                  <a:lnTo>
                    <a:pt x="300" y="624"/>
                  </a:lnTo>
                  <a:lnTo>
                    <a:pt x="288" y="624"/>
                  </a:lnTo>
                  <a:lnTo>
                    <a:pt x="282" y="624"/>
                  </a:lnTo>
                  <a:lnTo>
                    <a:pt x="270" y="630"/>
                  </a:lnTo>
                  <a:lnTo>
                    <a:pt x="264" y="630"/>
                  </a:lnTo>
                  <a:lnTo>
                    <a:pt x="258" y="630"/>
                  </a:lnTo>
                  <a:lnTo>
                    <a:pt x="252" y="630"/>
                  </a:lnTo>
                  <a:lnTo>
                    <a:pt x="246" y="630"/>
                  </a:lnTo>
                  <a:lnTo>
                    <a:pt x="240" y="630"/>
                  </a:lnTo>
                  <a:lnTo>
                    <a:pt x="228" y="636"/>
                  </a:lnTo>
                  <a:lnTo>
                    <a:pt x="222" y="636"/>
                  </a:lnTo>
                  <a:lnTo>
                    <a:pt x="210" y="636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42"/>
                  </a:lnTo>
                  <a:lnTo>
                    <a:pt x="186" y="642"/>
                  </a:lnTo>
                  <a:lnTo>
                    <a:pt x="180" y="642"/>
                  </a:lnTo>
                  <a:lnTo>
                    <a:pt x="168" y="642"/>
                  </a:lnTo>
                  <a:lnTo>
                    <a:pt x="162" y="642"/>
                  </a:lnTo>
                  <a:lnTo>
                    <a:pt x="162" y="648"/>
                  </a:lnTo>
                  <a:lnTo>
                    <a:pt x="156" y="648"/>
                  </a:lnTo>
                  <a:lnTo>
                    <a:pt x="150" y="648"/>
                  </a:lnTo>
                  <a:lnTo>
                    <a:pt x="144" y="648"/>
                  </a:lnTo>
                  <a:lnTo>
                    <a:pt x="138" y="648"/>
                  </a:lnTo>
                  <a:lnTo>
                    <a:pt x="132" y="648"/>
                  </a:lnTo>
                  <a:lnTo>
                    <a:pt x="126" y="642"/>
                  </a:lnTo>
                  <a:lnTo>
                    <a:pt x="126" y="636"/>
                  </a:lnTo>
                  <a:lnTo>
                    <a:pt x="120" y="636"/>
                  </a:lnTo>
                  <a:lnTo>
                    <a:pt x="126" y="642"/>
                  </a:lnTo>
                  <a:lnTo>
                    <a:pt x="126" y="648"/>
                  </a:lnTo>
                  <a:lnTo>
                    <a:pt x="132" y="648"/>
                  </a:lnTo>
                  <a:lnTo>
                    <a:pt x="126" y="654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54"/>
                  </a:lnTo>
                  <a:lnTo>
                    <a:pt x="108" y="660"/>
                  </a:lnTo>
                  <a:lnTo>
                    <a:pt x="108" y="654"/>
                  </a:lnTo>
                  <a:lnTo>
                    <a:pt x="102" y="654"/>
                  </a:lnTo>
                  <a:lnTo>
                    <a:pt x="102" y="660"/>
                  </a:lnTo>
                  <a:lnTo>
                    <a:pt x="108" y="660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0" y="660"/>
                  </a:lnTo>
                  <a:lnTo>
                    <a:pt x="90" y="654"/>
                  </a:lnTo>
                  <a:lnTo>
                    <a:pt x="84" y="648"/>
                  </a:lnTo>
                  <a:lnTo>
                    <a:pt x="84" y="642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72" y="636"/>
                  </a:lnTo>
                  <a:lnTo>
                    <a:pt x="78" y="636"/>
                  </a:lnTo>
                  <a:lnTo>
                    <a:pt x="72" y="636"/>
                  </a:lnTo>
                  <a:lnTo>
                    <a:pt x="66" y="636"/>
                  </a:lnTo>
                  <a:lnTo>
                    <a:pt x="60" y="636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60" y="618"/>
                  </a:lnTo>
                  <a:lnTo>
                    <a:pt x="66" y="618"/>
                  </a:lnTo>
                  <a:lnTo>
                    <a:pt x="72" y="618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2" y="612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12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54" y="618"/>
                  </a:lnTo>
                  <a:lnTo>
                    <a:pt x="54" y="624"/>
                  </a:lnTo>
                  <a:lnTo>
                    <a:pt x="48" y="618"/>
                  </a:lnTo>
                  <a:lnTo>
                    <a:pt x="42" y="618"/>
                  </a:lnTo>
                  <a:lnTo>
                    <a:pt x="42" y="612"/>
                  </a:lnTo>
                  <a:lnTo>
                    <a:pt x="48" y="606"/>
                  </a:lnTo>
                  <a:lnTo>
                    <a:pt x="54" y="606"/>
                  </a:lnTo>
                  <a:lnTo>
                    <a:pt x="54" y="600"/>
                  </a:lnTo>
                  <a:lnTo>
                    <a:pt x="54" y="594"/>
                  </a:lnTo>
                  <a:lnTo>
                    <a:pt x="54" y="588"/>
                  </a:lnTo>
                  <a:lnTo>
                    <a:pt x="48" y="588"/>
                  </a:lnTo>
                  <a:lnTo>
                    <a:pt x="48" y="582"/>
                  </a:lnTo>
                  <a:lnTo>
                    <a:pt x="42" y="582"/>
                  </a:lnTo>
                  <a:lnTo>
                    <a:pt x="42" y="570"/>
                  </a:lnTo>
                  <a:lnTo>
                    <a:pt x="42" y="564"/>
                  </a:lnTo>
                  <a:lnTo>
                    <a:pt x="36" y="564"/>
                  </a:lnTo>
                  <a:close/>
                  <a:moveTo>
                    <a:pt x="498" y="420"/>
                  </a:moveTo>
                  <a:lnTo>
                    <a:pt x="504" y="426"/>
                  </a:lnTo>
                  <a:lnTo>
                    <a:pt x="510" y="432"/>
                  </a:lnTo>
                  <a:lnTo>
                    <a:pt x="516" y="432"/>
                  </a:lnTo>
                  <a:lnTo>
                    <a:pt x="516" y="438"/>
                  </a:lnTo>
                  <a:lnTo>
                    <a:pt x="510" y="438"/>
                  </a:lnTo>
                  <a:lnTo>
                    <a:pt x="504" y="438"/>
                  </a:lnTo>
                  <a:lnTo>
                    <a:pt x="504" y="432"/>
                  </a:lnTo>
                  <a:lnTo>
                    <a:pt x="498" y="432"/>
                  </a:lnTo>
                  <a:lnTo>
                    <a:pt x="498" y="426"/>
                  </a:lnTo>
                  <a:lnTo>
                    <a:pt x="498" y="42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4" name="Freeform 9">
              <a:extLst>
                <a:ext uri="{FF2B5EF4-FFF2-40B4-BE49-F238E27FC236}">
                  <a16:creationId xmlns:a16="http://schemas.microsoft.com/office/drawing/2014/main" id="{E0116D32-BD2E-45EA-B818-A3082585D5F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3055" y="2468650"/>
              <a:ext cx="800556" cy="1207710"/>
            </a:xfrm>
            <a:custGeom>
              <a:avLst/>
              <a:gdLst>
                <a:gd name="T0" fmla="*/ 24 w 1506"/>
                <a:gd name="T1" fmla="*/ 190 h 2274"/>
                <a:gd name="T2" fmla="*/ 25 w 1506"/>
                <a:gd name="T3" fmla="*/ 180 h 2274"/>
                <a:gd name="T4" fmla="*/ 21 w 1506"/>
                <a:gd name="T5" fmla="*/ 174 h 2274"/>
                <a:gd name="T6" fmla="*/ 17 w 1506"/>
                <a:gd name="T7" fmla="*/ 170 h 2274"/>
                <a:gd name="T8" fmla="*/ 12 w 1506"/>
                <a:gd name="T9" fmla="*/ 168 h 2274"/>
                <a:gd name="T10" fmla="*/ 10 w 1506"/>
                <a:gd name="T11" fmla="*/ 173 h 2274"/>
                <a:gd name="T12" fmla="*/ 7 w 1506"/>
                <a:gd name="T13" fmla="*/ 174 h 2274"/>
                <a:gd name="T14" fmla="*/ 0 w 1506"/>
                <a:gd name="T15" fmla="*/ 163 h 2274"/>
                <a:gd name="T16" fmla="*/ 16 w 1506"/>
                <a:gd name="T17" fmla="*/ 140 h 2274"/>
                <a:gd name="T18" fmla="*/ 19 w 1506"/>
                <a:gd name="T19" fmla="*/ 137 h 2274"/>
                <a:gd name="T20" fmla="*/ 24 w 1506"/>
                <a:gd name="T21" fmla="*/ 126 h 2274"/>
                <a:gd name="T22" fmla="*/ 23 w 1506"/>
                <a:gd name="T23" fmla="*/ 105 h 2274"/>
                <a:gd name="T24" fmla="*/ 14 w 1506"/>
                <a:gd name="T25" fmla="*/ 86 h 2274"/>
                <a:gd name="T26" fmla="*/ 8 w 1506"/>
                <a:gd name="T27" fmla="*/ 84 h 2274"/>
                <a:gd name="T28" fmla="*/ 5 w 1506"/>
                <a:gd name="T29" fmla="*/ 79 h 2274"/>
                <a:gd name="T30" fmla="*/ 16 w 1506"/>
                <a:gd name="T31" fmla="*/ 71 h 2274"/>
                <a:gd name="T32" fmla="*/ 28 w 1506"/>
                <a:gd name="T33" fmla="*/ 55 h 2274"/>
                <a:gd name="T34" fmla="*/ 29 w 1506"/>
                <a:gd name="T35" fmla="*/ 48 h 2274"/>
                <a:gd name="T36" fmla="*/ 35 w 1506"/>
                <a:gd name="T37" fmla="*/ 50 h 2274"/>
                <a:gd name="T38" fmla="*/ 42 w 1506"/>
                <a:gd name="T39" fmla="*/ 47 h 2274"/>
                <a:gd name="T40" fmla="*/ 63 w 1506"/>
                <a:gd name="T41" fmla="*/ 34 h 2274"/>
                <a:gd name="T42" fmla="*/ 74 w 1506"/>
                <a:gd name="T43" fmla="*/ 27 h 2274"/>
                <a:gd name="T44" fmla="*/ 81 w 1506"/>
                <a:gd name="T45" fmla="*/ 20 h 2274"/>
                <a:gd name="T46" fmla="*/ 89 w 1506"/>
                <a:gd name="T47" fmla="*/ 20 h 2274"/>
                <a:gd name="T48" fmla="*/ 98 w 1506"/>
                <a:gd name="T49" fmla="*/ 27 h 2274"/>
                <a:gd name="T50" fmla="*/ 106 w 1506"/>
                <a:gd name="T51" fmla="*/ 17 h 2274"/>
                <a:gd name="T52" fmla="*/ 111 w 1506"/>
                <a:gd name="T53" fmla="*/ 8 h 2274"/>
                <a:gd name="T54" fmla="*/ 121 w 1506"/>
                <a:gd name="T55" fmla="*/ 2 h 2274"/>
                <a:gd name="T56" fmla="*/ 129 w 1506"/>
                <a:gd name="T57" fmla="*/ 5 h 2274"/>
                <a:gd name="T58" fmla="*/ 125 w 1506"/>
                <a:gd name="T59" fmla="*/ 12 h 2274"/>
                <a:gd name="T60" fmla="*/ 122 w 1506"/>
                <a:gd name="T61" fmla="*/ 20 h 2274"/>
                <a:gd name="T62" fmla="*/ 122 w 1506"/>
                <a:gd name="T63" fmla="*/ 27 h 2274"/>
                <a:gd name="T64" fmla="*/ 120 w 1506"/>
                <a:gd name="T65" fmla="*/ 36 h 2274"/>
                <a:gd name="T66" fmla="*/ 116 w 1506"/>
                <a:gd name="T67" fmla="*/ 43 h 2274"/>
                <a:gd name="T68" fmla="*/ 109 w 1506"/>
                <a:gd name="T69" fmla="*/ 47 h 2274"/>
                <a:gd name="T70" fmla="*/ 108 w 1506"/>
                <a:gd name="T71" fmla="*/ 54 h 2274"/>
                <a:gd name="T72" fmla="*/ 106 w 1506"/>
                <a:gd name="T73" fmla="*/ 59 h 2274"/>
                <a:gd name="T74" fmla="*/ 109 w 1506"/>
                <a:gd name="T75" fmla="*/ 64 h 2274"/>
                <a:gd name="T76" fmla="*/ 106 w 1506"/>
                <a:gd name="T77" fmla="*/ 70 h 2274"/>
                <a:gd name="T78" fmla="*/ 105 w 1506"/>
                <a:gd name="T79" fmla="*/ 75 h 2274"/>
                <a:gd name="T80" fmla="*/ 101 w 1506"/>
                <a:gd name="T81" fmla="*/ 78 h 2274"/>
                <a:gd name="T82" fmla="*/ 92 w 1506"/>
                <a:gd name="T83" fmla="*/ 81 h 2274"/>
                <a:gd name="T84" fmla="*/ 85 w 1506"/>
                <a:gd name="T85" fmla="*/ 85 h 2274"/>
                <a:gd name="T86" fmla="*/ 87 w 1506"/>
                <a:gd name="T87" fmla="*/ 91 h 2274"/>
                <a:gd name="T88" fmla="*/ 86 w 1506"/>
                <a:gd name="T89" fmla="*/ 98 h 2274"/>
                <a:gd name="T90" fmla="*/ 86 w 1506"/>
                <a:gd name="T91" fmla="*/ 103 h 2274"/>
                <a:gd name="T92" fmla="*/ 82 w 1506"/>
                <a:gd name="T93" fmla="*/ 111 h 2274"/>
                <a:gd name="T94" fmla="*/ 81 w 1506"/>
                <a:gd name="T95" fmla="*/ 116 h 2274"/>
                <a:gd name="T96" fmla="*/ 78 w 1506"/>
                <a:gd name="T97" fmla="*/ 120 h 2274"/>
                <a:gd name="T98" fmla="*/ 76 w 1506"/>
                <a:gd name="T99" fmla="*/ 126 h 2274"/>
                <a:gd name="T100" fmla="*/ 68 w 1506"/>
                <a:gd name="T101" fmla="*/ 129 h 2274"/>
                <a:gd name="T102" fmla="*/ 62 w 1506"/>
                <a:gd name="T103" fmla="*/ 131 h 2274"/>
                <a:gd name="T104" fmla="*/ 58 w 1506"/>
                <a:gd name="T105" fmla="*/ 136 h 2274"/>
                <a:gd name="T106" fmla="*/ 51 w 1506"/>
                <a:gd name="T107" fmla="*/ 138 h 2274"/>
                <a:gd name="T108" fmla="*/ 51 w 1506"/>
                <a:gd name="T109" fmla="*/ 147 h 2274"/>
                <a:gd name="T110" fmla="*/ 49 w 1506"/>
                <a:gd name="T111" fmla="*/ 159 h 2274"/>
                <a:gd name="T112" fmla="*/ 48 w 1506"/>
                <a:gd name="T113" fmla="*/ 166 h 2274"/>
                <a:gd name="T114" fmla="*/ 41 w 1506"/>
                <a:gd name="T115" fmla="*/ 174 h 2274"/>
                <a:gd name="T116" fmla="*/ 39 w 1506"/>
                <a:gd name="T117" fmla="*/ 181 h 2274"/>
                <a:gd name="T118" fmla="*/ 37 w 1506"/>
                <a:gd name="T119" fmla="*/ 190 h 2274"/>
                <a:gd name="T120" fmla="*/ 29 w 1506"/>
                <a:gd name="T121" fmla="*/ 198 h 22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06"/>
                <a:gd name="T184" fmla="*/ 0 h 2274"/>
                <a:gd name="T185" fmla="*/ 1506 w 1506"/>
                <a:gd name="T186" fmla="*/ 2274 h 227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06" h="2274">
                  <a:moveTo>
                    <a:pt x="330" y="2274"/>
                  </a:moveTo>
                  <a:lnTo>
                    <a:pt x="318" y="2262"/>
                  </a:lnTo>
                  <a:lnTo>
                    <a:pt x="312" y="2238"/>
                  </a:lnTo>
                  <a:lnTo>
                    <a:pt x="312" y="2232"/>
                  </a:lnTo>
                  <a:lnTo>
                    <a:pt x="294" y="2214"/>
                  </a:lnTo>
                  <a:lnTo>
                    <a:pt x="288" y="2208"/>
                  </a:lnTo>
                  <a:lnTo>
                    <a:pt x="288" y="2202"/>
                  </a:lnTo>
                  <a:lnTo>
                    <a:pt x="276" y="2196"/>
                  </a:lnTo>
                  <a:lnTo>
                    <a:pt x="276" y="2190"/>
                  </a:lnTo>
                  <a:lnTo>
                    <a:pt x="282" y="2190"/>
                  </a:lnTo>
                  <a:lnTo>
                    <a:pt x="282" y="2184"/>
                  </a:lnTo>
                  <a:lnTo>
                    <a:pt x="276" y="2172"/>
                  </a:lnTo>
                  <a:lnTo>
                    <a:pt x="276" y="2166"/>
                  </a:lnTo>
                  <a:lnTo>
                    <a:pt x="282" y="2166"/>
                  </a:lnTo>
                  <a:lnTo>
                    <a:pt x="282" y="2154"/>
                  </a:lnTo>
                  <a:lnTo>
                    <a:pt x="276" y="2136"/>
                  </a:lnTo>
                  <a:lnTo>
                    <a:pt x="276" y="2112"/>
                  </a:lnTo>
                  <a:lnTo>
                    <a:pt x="282" y="2088"/>
                  </a:lnTo>
                  <a:lnTo>
                    <a:pt x="282" y="2082"/>
                  </a:lnTo>
                  <a:lnTo>
                    <a:pt x="282" y="2076"/>
                  </a:lnTo>
                  <a:lnTo>
                    <a:pt x="282" y="2070"/>
                  </a:lnTo>
                  <a:lnTo>
                    <a:pt x="288" y="2070"/>
                  </a:lnTo>
                  <a:lnTo>
                    <a:pt x="288" y="2064"/>
                  </a:lnTo>
                  <a:lnTo>
                    <a:pt x="282" y="2052"/>
                  </a:lnTo>
                  <a:lnTo>
                    <a:pt x="282" y="2046"/>
                  </a:lnTo>
                  <a:lnTo>
                    <a:pt x="276" y="2040"/>
                  </a:lnTo>
                  <a:lnTo>
                    <a:pt x="270" y="2034"/>
                  </a:lnTo>
                  <a:lnTo>
                    <a:pt x="264" y="2022"/>
                  </a:lnTo>
                  <a:lnTo>
                    <a:pt x="258" y="2022"/>
                  </a:lnTo>
                  <a:lnTo>
                    <a:pt x="258" y="2016"/>
                  </a:lnTo>
                  <a:lnTo>
                    <a:pt x="252" y="2016"/>
                  </a:lnTo>
                  <a:lnTo>
                    <a:pt x="246" y="2016"/>
                  </a:lnTo>
                  <a:lnTo>
                    <a:pt x="240" y="2010"/>
                  </a:lnTo>
                  <a:lnTo>
                    <a:pt x="234" y="2004"/>
                  </a:lnTo>
                  <a:lnTo>
                    <a:pt x="228" y="2004"/>
                  </a:lnTo>
                  <a:lnTo>
                    <a:pt x="228" y="1998"/>
                  </a:lnTo>
                  <a:lnTo>
                    <a:pt x="228" y="1992"/>
                  </a:lnTo>
                  <a:lnTo>
                    <a:pt x="222" y="1992"/>
                  </a:lnTo>
                  <a:lnTo>
                    <a:pt x="222" y="1986"/>
                  </a:lnTo>
                  <a:lnTo>
                    <a:pt x="216" y="1986"/>
                  </a:lnTo>
                  <a:lnTo>
                    <a:pt x="210" y="1980"/>
                  </a:lnTo>
                  <a:lnTo>
                    <a:pt x="216" y="1974"/>
                  </a:lnTo>
                  <a:lnTo>
                    <a:pt x="210" y="1968"/>
                  </a:lnTo>
                  <a:lnTo>
                    <a:pt x="198" y="1956"/>
                  </a:lnTo>
                  <a:lnTo>
                    <a:pt x="192" y="1956"/>
                  </a:lnTo>
                  <a:lnTo>
                    <a:pt x="186" y="1956"/>
                  </a:lnTo>
                  <a:lnTo>
                    <a:pt x="180" y="1944"/>
                  </a:lnTo>
                  <a:lnTo>
                    <a:pt x="180" y="1938"/>
                  </a:lnTo>
                  <a:lnTo>
                    <a:pt x="174" y="1932"/>
                  </a:lnTo>
                  <a:lnTo>
                    <a:pt x="168" y="1932"/>
                  </a:lnTo>
                  <a:lnTo>
                    <a:pt x="162" y="1932"/>
                  </a:lnTo>
                  <a:lnTo>
                    <a:pt x="150" y="1932"/>
                  </a:lnTo>
                  <a:lnTo>
                    <a:pt x="150" y="1926"/>
                  </a:lnTo>
                  <a:lnTo>
                    <a:pt x="150" y="1932"/>
                  </a:lnTo>
                  <a:lnTo>
                    <a:pt x="144" y="1932"/>
                  </a:lnTo>
                  <a:lnTo>
                    <a:pt x="138" y="1932"/>
                  </a:lnTo>
                  <a:lnTo>
                    <a:pt x="132" y="1932"/>
                  </a:lnTo>
                  <a:lnTo>
                    <a:pt x="132" y="1938"/>
                  </a:lnTo>
                  <a:lnTo>
                    <a:pt x="126" y="1944"/>
                  </a:lnTo>
                  <a:lnTo>
                    <a:pt x="126" y="1956"/>
                  </a:lnTo>
                  <a:lnTo>
                    <a:pt x="120" y="1968"/>
                  </a:lnTo>
                  <a:lnTo>
                    <a:pt x="120" y="1974"/>
                  </a:lnTo>
                  <a:lnTo>
                    <a:pt x="120" y="1980"/>
                  </a:lnTo>
                  <a:lnTo>
                    <a:pt x="126" y="1980"/>
                  </a:lnTo>
                  <a:lnTo>
                    <a:pt x="120" y="1986"/>
                  </a:lnTo>
                  <a:lnTo>
                    <a:pt x="120" y="1992"/>
                  </a:lnTo>
                  <a:lnTo>
                    <a:pt x="114" y="1992"/>
                  </a:lnTo>
                  <a:lnTo>
                    <a:pt x="114" y="1986"/>
                  </a:lnTo>
                  <a:lnTo>
                    <a:pt x="108" y="1992"/>
                  </a:lnTo>
                  <a:lnTo>
                    <a:pt x="108" y="1998"/>
                  </a:lnTo>
                  <a:lnTo>
                    <a:pt x="114" y="2004"/>
                  </a:lnTo>
                  <a:lnTo>
                    <a:pt x="108" y="2004"/>
                  </a:lnTo>
                  <a:lnTo>
                    <a:pt x="102" y="2010"/>
                  </a:lnTo>
                  <a:lnTo>
                    <a:pt x="102" y="2004"/>
                  </a:lnTo>
                  <a:lnTo>
                    <a:pt x="90" y="2004"/>
                  </a:lnTo>
                  <a:lnTo>
                    <a:pt x="84" y="2004"/>
                  </a:lnTo>
                  <a:lnTo>
                    <a:pt x="78" y="1998"/>
                  </a:lnTo>
                  <a:lnTo>
                    <a:pt x="78" y="1992"/>
                  </a:lnTo>
                  <a:lnTo>
                    <a:pt x="78" y="1986"/>
                  </a:lnTo>
                  <a:lnTo>
                    <a:pt x="72" y="1986"/>
                  </a:lnTo>
                  <a:lnTo>
                    <a:pt x="66" y="1980"/>
                  </a:lnTo>
                  <a:lnTo>
                    <a:pt x="66" y="1968"/>
                  </a:lnTo>
                  <a:lnTo>
                    <a:pt x="60" y="1956"/>
                  </a:lnTo>
                  <a:lnTo>
                    <a:pt x="60" y="1950"/>
                  </a:lnTo>
                  <a:lnTo>
                    <a:pt x="48" y="1944"/>
                  </a:lnTo>
                  <a:lnTo>
                    <a:pt x="30" y="1926"/>
                  </a:lnTo>
                  <a:lnTo>
                    <a:pt x="12" y="1890"/>
                  </a:lnTo>
                  <a:lnTo>
                    <a:pt x="6" y="1872"/>
                  </a:lnTo>
                  <a:lnTo>
                    <a:pt x="0" y="1854"/>
                  </a:lnTo>
                  <a:lnTo>
                    <a:pt x="6" y="1824"/>
                  </a:lnTo>
                  <a:lnTo>
                    <a:pt x="30" y="1794"/>
                  </a:lnTo>
                  <a:lnTo>
                    <a:pt x="66" y="1752"/>
                  </a:lnTo>
                  <a:lnTo>
                    <a:pt x="72" y="1752"/>
                  </a:lnTo>
                  <a:lnTo>
                    <a:pt x="78" y="1746"/>
                  </a:lnTo>
                  <a:lnTo>
                    <a:pt x="84" y="1746"/>
                  </a:lnTo>
                  <a:lnTo>
                    <a:pt x="90" y="1746"/>
                  </a:lnTo>
                  <a:lnTo>
                    <a:pt x="138" y="1674"/>
                  </a:lnTo>
                  <a:lnTo>
                    <a:pt x="186" y="1620"/>
                  </a:lnTo>
                  <a:lnTo>
                    <a:pt x="186" y="1614"/>
                  </a:lnTo>
                  <a:lnTo>
                    <a:pt x="186" y="1608"/>
                  </a:lnTo>
                  <a:lnTo>
                    <a:pt x="192" y="1608"/>
                  </a:lnTo>
                  <a:lnTo>
                    <a:pt x="192" y="1614"/>
                  </a:lnTo>
                  <a:lnTo>
                    <a:pt x="198" y="1614"/>
                  </a:lnTo>
                  <a:lnTo>
                    <a:pt x="198" y="1608"/>
                  </a:lnTo>
                  <a:lnTo>
                    <a:pt x="198" y="1602"/>
                  </a:lnTo>
                  <a:lnTo>
                    <a:pt x="204" y="1602"/>
                  </a:lnTo>
                  <a:lnTo>
                    <a:pt x="204" y="1596"/>
                  </a:lnTo>
                  <a:lnTo>
                    <a:pt x="210" y="1590"/>
                  </a:lnTo>
                  <a:lnTo>
                    <a:pt x="216" y="1590"/>
                  </a:lnTo>
                  <a:lnTo>
                    <a:pt x="216" y="1584"/>
                  </a:lnTo>
                  <a:lnTo>
                    <a:pt x="222" y="1584"/>
                  </a:lnTo>
                  <a:lnTo>
                    <a:pt x="228" y="1572"/>
                  </a:lnTo>
                  <a:lnTo>
                    <a:pt x="222" y="1572"/>
                  </a:lnTo>
                  <a:lnTo>
                    <a:pt x="228" y="1566"/>
                  </a:lnTo>
                  <a:lnTo>
                    <a:pt x="228" y="1560"/>
                  </a:lnTo>
                  <a:lnTo>
                    <a:pt x="252" y="1548"/>
                  </a:lnTo>
                  <a:lnTo>
                    <a:pt x="276" y="1530"/>
                  </a:lnTo>
                  <a:lnTo>
                    <a:pt x="282" y="1512"/>
                  </a:lnTo>
                  <a:lnTo>
                    <a:pt x="282" y="1506"/>
                  </a:lnTo>
                  <a:lnTo>
                    <a:pt x="282" y="1494"/>
                  </a:lnTo>
                  <a:lnTo>
                    <a:pt x="282" y="1452"/>
                  </a:lnTo>
                  <a:lnTo>
                    <a:pt x="288" y="1440"/>
                  </a:lnTo>
                  <a:lnTo>
                    <a:pt x="294" y="1440"/>
                  </a:lnTo>
                  <a:lnTo>
                    <a:pt x="294" y="1428"/>
                  </a:lnTo>
                  <a:lnTo>
                    <a:pt x="324" y="1368"/>
                  </a:lnTo>
                  <a:lnTo>
                    <a:pt x="330" y="1362"/>
                  </a:lnTo>
                  <a:lnTo>
                    <a:pt x="330" y="1356"/>
                  </a:lnTo>
                  <a:lnTo>
                    <a:pt x="360" y="1338"/>
                  </a:lnTo>
                  <a:lnTo>
                    <a:pt x="366" y="1296"/>
                  </a:lnTo>
                  <a:lnTo>
                    <a:pt x="354" y="1278"/>
                  </a:lnTo>
                  <a:lnTo>
                    <a:pt x="336" y="1230"/>
                  </a:lnTo>
                  <a:lnTo>
                    <a:pt x="270" y="1212"/>
                  </a:lnTo>
                  <a:lnTo>
                    <a:pt x="264" y="1212"/>
                  </a:lnTo>
                  <a:lnTo>
                    <a:pt x="252" y="1200"/>
                  </a:lnTo>
                  <a:lnTo>
                    <a:pt x="234" y="1188"/>
                  </a:lnTo>
                  <a:lnTo>
                    <a:pt x="222" y="1182"/>
                  </a:lnTo>
                  <a:lnTo>
                    <a:pt x="228" y="1104"/>
                  </a:lnTo>
                  <a:lnTo>
                    <a:pt x="228" y="1098"/>
                  </a:lnTo>
                  <a:lnTo>
                    <a:pt x="198" y="1038"/>
                  </a:lnTo>
                  <a:lnTo>
                    <a:pt x="192" y="1032"/>
                  </a:lnTo>
                  <a:lnTo>
                    <a:pt x="180" y="1020"/>
                  </a:lnTo>
                  <a:lnTo>
                    <a:pt x="168" y="996"/>
                  </a:lnTo>
                  <a:lnTo>
                    <a:pt x="162" y="990"/>
                  </a:lnTo>
                  <a:lnTo>
                    <a:pt x="156" y="990"/>
                  </a:lnTo>
                  <a:lnTo>
                    <a:pt x="150" y="990"/>
                  </a:lnTo>
                  <a:lnTo>
                    <a:pt x="132" y="990"/>
                  </a:lnTo>
                  <a:lnTo>
                    <a:pt x="120" y="984"/>
                  </a:lnTo>
                  <a:lnTo>
                    <a:pt x="120" y="990"/>
                  </a:lnTo>
                  <a:lnTo>
                    <a:pt x="114" y="990"/>
                  </a:lnTo>
                  <a:lnTo>
                    <a:pt x="102" y="984"/>
                  </a:lnTo>
                  <a:lnTo>
                    <a:pt x="96" y="984"/>
                  </a:lnTo>
                  <a:lnTo>
                    <a:pt x="96" y="978"/>
                  </a:lnTo>
                  <a:lnTo>
                    <a:pt x="90" y="978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84" y="960"/>
                  </a:lnTo>
                  <a:lnTo>
                    <a:pt x="84" y="954"/>
                  </a:lnTo>
                  <a:lnTo>
                    <a:pt x="78" y="948"/>
                  </a:lnTo>
                  <a:lnTo>
                    <a:pt x="72" y="948"/>
                  </a:lnTo>
                  <a:lnTo>
                    <a:pt x="72" y="942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06"/>
                  </a:lnTo>
                  <a:lnTo>
                    <a:pt x="60" y="888"/>
                  </a:lnTo>
                  <a:lnTo>
                    <a:pt x="54" y="882"/>
                  </a:lnTo>
                  <a:lnTo>
                    <a:pt x="60" y="882"/>
                  </a:lnTo>
                  <a:lnTo>
                    <a:pt x="72" y="876"/>
                  </a:lnTo>
                  <a:lnTo>
                    <a:pt x="78" y="876"/>
                  </a:lnTo>
                  <a:lnTo>
                    <a:pt x="90" y="870"/>
                  </a:lnTo>
                  <a:lnTo>
                    <a:pt x="90" y="864"/>
                  </a:lnTo>
                  <a:lnTo>
                    <a:pt x="96" y="840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80" y="822"/>
                  </a:lnTo>
                  <a:lnTo>
                    <a:pt x="204" y="798"/>
                  </a:lnTo>
                  <a:lnTo>
                    <a:pt x="222" y="786"/>
                  </a:lnTo>
                  <a:lnTo>
                    <a:pt x="252" y="780"/>
                  </a:lnTo>
                  <a:lnTo>
                    <a:pt x="264" y="762"/>
                  </a:lnTo>
                  <a:lnTo>
                    <a:pt x="276" y="762"/>
                  </a:lnTo>
                  <a:lnTo>
                    <a:pt x="288" y="744"/>
                  </a:lnTo>
                  <a:lnTo>
                    <a:pt x="306" y="738"/>
                  </a:lnTo>
                  <a:lnTo>
                    <a:pt x="318" y="732"/>
                  </a:lnTo>
                  <a:lnTo>
                    <a:pt x="324" y="648"/>
                  </a:lnTo>
                  <a:lnTo>
                    <a:pt x="324" y="636"/>
                  </a:lnTo>
                  <a:lnTo>
                    <a:pt x="324" y="630"/>
                  </a:lnTo>
                  <a:lnTo>
                    <a:pt x="330" y="624"/>
                  </a:lnTo>
                  <a:lnTo>
                    <a:pt x="324" y="618"/>
                  </a:lnTo>
                  <a:lnTo>
                    <a:pt x="324" y="612"/>
                  </a:lnTo>
                  <a:lnTo>
                    <a:pt x="324" y="606"/>
                  </a:lnTo>
                  <a:lnTo>
                    <a:pt x="324" y="588"/>
                  </a:lnTo>
                  <a:lnTo>
                    <a:pt x="318" y="576"/>
                  </a:lnTo>
                  <a:lnTo>
                    <a:pt x="318" y="570"/>
                  </a:lnTo>
                  <a:lnTo>
                    <a:pt x="324" y="570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30" y="558"/>
                  </a:lnTo>
                  <a:lnTo>
                    <a:pt x="336" y="558"/>
                  </a:lnTo>
                  <a:lnTo>
                    <a:pt x="342" y="558"/>
                  </a:lnTo>
                  <a:lnTo>
                    <a:pt x="348" y="558"/>
                  </a:lnTo>
                  <a:lnTo>
                    <a:pt x="354" y="564"/>
                  </a:lnTo>
                  <a:lnTo>
                    <a:pt x="360" y="564"/>
                  </a:lnTo>
                  <a:lnTo>
                    <a:pt x="366" y="570"/>
                  </a:lnTo>
                  <a:lnTo>
                    <a:pt x="366" y="576"/>
                  </a:lnTo>
                  <a:lnTo>
                    <a:pt x="372" y="570"/>
                  </a:lnTo>
                  <a:lnTo>
                    <a:pt x="378" y="570"/>
                  </a:lnTo>
                  <a:lnTo>
                    <a:pt x="390" y="570"/>
                  </a:lnTo>
                  <a:lnTo>
                    <a:pt x="402" y="570"/>
                  </a:lnTo>
                  <a:lnTo>
                    <a:pt x="408" y="570"/>
                  </a:lnTo>
                  <a:lnTo>
                    <a:pt x="414" y="564"/>
                  </a:lnTo>
                  <a:lnTo>
                    <a:pt x="420" y="564"/>
                  </a:lnTo>
                  <a:lnTo>
                    <a:pt x="420" y="570"/>
                  </a:lnTo>
                  <a:lnTo>
                    <a:pt x="426" y="570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44" y="570"/>
                  </a:lnTo>
                  <a:lnTo>
                    <a:pt x="450" y="564"/>
                  </a:lnTo>
                  <a:lnTo>
                    <a:pt x="474" y="558"/>
                  </a:lnTo>
                  <a:lnTo>
                    <a:pt x="486" y="54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40" y="474"/>
                  </a:lnTo>
                  <a:lnTo>
                    <a:pt x="558" y="456"/>
                  </a:lnTo>
                  <a:lnTo>
                    <a:pt x="582" y="450"/>
                  </a:lnTo>
                  <a:lnTo>
                    <a:pt x="594" y="414"/>
                  </a:lnTo>
                  <a:lnTo>
                    <a:pt x="612" y="390"/>
                  </a:lnTo>
                  <a:lnTo>
                    <a:pt x="636" y="390"/>
                  </a:lnTo>
                  <a:lnTo>
                    <a:pt x="666" y="390"/>
                  </a:lnTo>
                  <a:lnTo>
                    <a:pt x="696" y="390"/>
                  </a:lnTo>
                  <a:lnTo>
                    <a:pt x="726" y="390"/>
                  </a:lnTo>
                  <a:lnTo>
                    <a:pt x="762" y="378"/>
                  </a:lnTo>
                  <a:lnTo>
                    <a:pt x="780" y="366"/>
                  </a:lnTo>
                  <a:lnTo>
                    <a:pt x="780" y="342"/>
                  </a:lnTo>
                  <a:lnTo>
                    <a:pt x="786" y="342"/>
                  </a:lnTo>
                  <a:lnTo>
                    <a:pt x="786" y="336"/>
                  </a:lnTo>
                  <a:lnTo>
                    <a:pt x="786" y="330"/>
                  </a:lnTo>
                  <a:lnTo>
                    <a:pt x="786" y="324"/>
                  </a:lnTo>
                  <a:lnTo>
                    <a:pt x="816" y="318"/>
                  </a:lnTo>
                  <a:lnTo>
                    <a:pt x="834" y="312"/>
                  </a:lnTo>
                  <a:lnTo>
                    <a:pt x="840" y="318"/>
                  </a:lnTo>
                  <a:lnTo>
                    <a:pt x="852" y="318"/>
                  </a:lnTo>
                  <a:lnTo>
                    <a:pt x="858" y="306"/>
                  </a:lnTo>
                  <a:lnTo>
                    <a:pt x="864" y="288"/>
                  </a:lnTo>
                  <a:lnTo>
                    <a:pt x="870" y="282"/>
                  </a:lnTo>
                  <a:lnTo>
                    <a:pt x="876" y="276"/>
                  </a:lnTo>
                  <a:lnTo>
                    <a:pt x="882" y="264"/>
                  </a:lnTo>
                  <a:lnTo>
                    <a:pt x="882" y="258"/>
                  </a:lnTo>
                  <a:lnTo>
                    <a:pt x="888" y="252"/>
                  </a:lnTo>
                  <a:lnTo>
                    <a:pt x="894" y="240"/>
                  </a:lnTo>
                  <a:lnTo>
                    <a:pt x="906" y="228"/>
                  </a:lnTo>
                  <a:lnTo>
                    <a:pt x="912" y="228"/>
                  </a:lnTo>
                  <a:lnTo>
                    <a:pt x="936" y="228"/>
                  </a:lnTo>
                  <a:lnTo>
                    <a:pt x="942" y="222"/>
                  </a:lnTo>
                  <a:lnTo>
                    <a:pt x="948" y="216"/>
                  </a:lnTo>
                  <a:lnTo>
                    <a:pt x="954" y="216"/>
                  </a:lnTo>
                  <a:lnTo>
                    <a:pt x="960" y="216"/>
                  </a:lnTo>
                  <a:lnTo>
                    <a:pt x="966" y="216"/>
                  </a:lnTo>
                  <a:lnTo>
                    <a:pt x="978" y="216"/>
                  </a:lnTo>
                  <a:lnTo>
                    <a:pt x="990" y="222"/>
                  </a:lnTo>
                  <a:lnTo>
                    <a:pt x="996" y="222"/>
                  </a:lnTo>
                  <a:lnTo>
                    <a:pt x="1002" y="228"/>
                  </a:lnTo>
                  <a:lnTo>
                    <a:pt x="1014" y="234"/>
                  </a:lnTo>
                  <a:lnTo>
                    <a:pt x="1020" y="234"/>
                  </a:lnTo>
                  <a:lnTo>
                    <a:pt x="1032" y="240"/>
                  </a:lnTo>
                  <a:lnTo>
                    <a:pt x="1044" y="240"/>
                  </a:lnTo>
                  <a:lnTo>
                    <a:pt x="1050" y="240"/>
                  </a:lnTo>
                  <a:lnTo>
                    <a:pt x="1056" y="246"/>
                  </a:lnTo>
                  <a:lnTo>
                    <a:pt x="1068" y="264"/>
                  </a:lnTo>
                  <a:lnTo>
                    <a:pt x="1086" y="276"/>
                  </a:lnTo>
                  <a:lnTo>
                    <a:pt x="1092" y="276"/>
                  </a:lnTo>
                  <a:lnTo>
                    <a:pt x="1104" y="282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8" y="312"/>
                  </a:lnTo>
                  <a:lnTo>
                    <a:pt x="1152" y="324"/>
                  </a:lnTo>
                  <a:lnTo>
                    <a:pt x="1188" y="324"/>
                  </a:lnTo>
                  <a:lnTo>
                    <a:pt x="1206" y="318"/>
                  </a:lnTo>
                  <a:lnTo>
                    <a:pt x="1200" y="294"/>
                  </a:lnTo>
                  <a:lnTo>
                    <a:pt x="1206" y="252"/>
                  </a:lnTo>
                  <a:lnTo>
                    <a:pt x="1218" y="222"/>
                  </a:lnTo>
                  <a:lnTo>
                    <a:pt x="1212" y="222"/>
                  </a:lnTo>
                  <a:lnTo>
                    <a:pt x="1212" y="216"/>
                  </a:lnTo>
                  <a:lnTo>
                    <a:pt x="1218" y="204"/>
                  </a:lnTo>
                  <a:lnTo>
                    <a:pt x="1224" y="198"/>
                  </a:lnTo>
                  <a:lnTo>
                    <a:pt x="1224" y="192"/>
                  </a:lnTo>
                  <a:lnTo>
                    <a:pt x="1236" y="180"/>
                  </a:lnTo>
                  <a:lnTo>
                    <a:pt x="1254" y="156"/>
                  </a:lnTo>
                  <a:lnTo>
                    <a:pt x="1260" y="150"/>
                  </a:lnTo>
                  <a:lnTo>
                    <a:pt x="1260" y="144"/>
                  </a:lnTo>
                  <a:lnTo>
                    <a:pt x="1266" y="138"/>
                  </a:lnTo>
                  <a:lnTo>
                    <a:pt x="1272" y="138"/>
                  </a:lnTo>
                  <a:lnTo>
                    <a:pt x="1272" y="120"/>
                  </a:lnTo>
                  <a:lnTo>
                    <a:pt x="1278" y="114"/>
                  </a:lnTo>
                  <a:lnTo>
                    <a:pt x="1278" y="108"/>
                  </a:lnTo>
                  <a:lnTo>
                    <a:pt x="1278" y="102"/>
                  </a:lnTo>
                  <a:lnTo>
                    <a:pt x="1278" y="90"/>
                  </a:lnTo>
                  <a:lnTo>
                    <a:pt x="1278" y="84"/>
                  </a:lnTo>
                  <a:lnTo>
                    <a:pt x="1278" y="78"/>
                  </a:lnTo>
                  <a:lnTo>
                    <a:pt x="1278" y="72"/>
                  </a:lnTo>
                  <a:lnTo>
                    <a:pt x="1278" y="60"/>
                  </a:lnTo>
                  <a:lnTo>
                    <a:pt x="1284" y="48"/>
                  </a:lnTo>
                  <a:lnTo>
                    <a:pt x="1284" y="24"/>
                  </a:lnTo>
                  <a:lnTo>
                    <a:pt x="1284" y="18"/>
                  </a:lnTo>
                  <a:lnTo>
                    <a:pt x="1308" y="24"/>
                  </a:lnTo>
                  <a:lnTo>
                    <a:pt x="1332" y="30"/>
                  </a:lnTo>
                  <a:lnTo>
                    <a:pt x="1368" y="30"/>
                  </a:lnTo>
                  <a:lnTo>
                    <a:pt x="1392" y="24"/>
                  </a:lnTo>
                  <a:lnTo>
                    <a:pt x="1410" y="18"/>
                  </a:lnTo>
                  <a:lnTo>
                    <a:pt x="1416" y="6"/>
                  </a:lnTo>
                  <a:lnTo>
                    <a:pt x="1500" y="6"/>
                  </a:lnTo>
                  <a:lnTo>
                    <a:pt x="1506" y="0"/>
                  </a:lnTo>
                  <a:lnTo>
                    <a:pt x="1506" y="6"/>
                  </a:lnTo>
                  <a:lnTo>
                    <a:pt x="1506" y="18"/>
                  </a:lnTo>
                  <a:lnTo>
                    <a:pt x="1506" y="24"/>
                  </a:lnTo>
                  <a:lnTo>
                    <a:pt x="1500" y="30"/>
                  </a:lnTo>
                  <a:lnTo>
                    <a:pt x="1500" y="42"/>
                  </a:lnTo>
                  <a:lnTo>
                    <a:pt x="1494" y="54"/>
                  </a:lnTo>
                  <a:lnTo>
                    <a:pt x="1488" y="60"/>
                  </a:lnTo>
                  <a:lnTo>
                    <a:pt x="1482" y="60"/>
                  </a:lnTo>
                  <a:lnTo>
                    <a:pt x="1476" y="66"/>
                  </a:lnTo>
                  <a:lnTo>
                    <a:pt x="1476" y="72"/>
                  </a:lnTo>
                  <a:lnTo>
                    <a:pt x="1476" y="78"/>
                  </a:lnTo>
                  <a:lnTo>
                    <a:pt x="1470" y="78"/>
                  </a:lnTo>
                  <a:lnTo>
                    <a:pt x="1464" y="90"/>
                  </a:lnTo>
                  <a:lnTo>
                    <a:pt x="1458" y="96"/>
                  </a:lnTo>
                  <a:lnTo>
                    <a:pt x="1458" y="102"/>
                  </a:lnTo>
                  <a:lnTo>
                    <a:pt x="1452" y="120"/>
                  </a:lnTo>
                  <a:lnTo>
                    <a:pt x="1452" y="132"/>
                  </a:lnTo>
                  <a:lnTo>
                    <a:pt x="1446" y="144"/>
                  </a:lnTo>
                  <a:lnTo>
                    <a:pt x="1446" y="150"/>
                  </a:lnTo>
                  <a:lnTo>
                    <a:pt x="1440" y="150"/>
                  </a:lnTo>
                  <a:lnTo>
                    <a:pt x="1434" y="156"/>
                  </a:lnTo>
                  <a:lnTo>
                    <a:pt x="1428" y="168"/>
                  </a:lnTo>
                  <a:lnTo>
                    <a:pt x="1422" y="168"/>
                  </a:lnTo>
                  <a:lnTo>
                    <a:pt x="1416" y="174"/>
                  </a:lnTo>
                  <a:lnTo>
                    <a:pt x="1410" y="186"/>
                  </a:lnTo>
                  <a:lnTo>
                    <a:pt x="1410" y="204"/>
                  </a:lnTo>
                  <a:lnTo>
                    <a:pt x="1404" y="210"/>
                  </a:lnTo>
                  <a:lnTo>
                    <a:pt x="1404" y="216"/>
                  </a:lnTo>
                  <a:lnTo>
                    <a:pt x="1410" y="228"/>
                  </a:lnTo>
                  <a:lnTo>
                    <a:pt x="1410" y="234"/>
                  </a:lnTo>
                  <a:lnTo>
                    <a:pt x="1410" y="240"/>
                  </a:lnTo>
                  <a:lnTo>
                    <a:pt x="1416" y="252"/>
                  </a:lnTo>
                  <a:lnTo>
                    <a:pt x="1416" y="258"/>
                  </a:lnTo>
                  <a:lnTo>
                    <a:pt x="1422" y="264"/>
                  </a:lnTo>
                  <a:lnTo>
                    <a:pt x="1422" y="270"/>
                  </a:lnTo>
                  <a:lnTo>
                    <a:pt x="1422" y="282"/>
                  </a:lnTo>
                  <a:lnTo>
                    <a:pt x="1416" y="288"/>
                  </a:lnTo>
                  <a:lnTo>
                    <a:pt x="1410" y="294"/>
                  </a:lnTo>
                  <a:lnTo>
                    <a:pt x="1404" y="300"/>
                  </a:lnTo>
                  <a:lnTo>
                    <a:pt x="1404" y="306"/>
                  </a:lnTo>
                  <a:lnTo>
                    <a:pt x="1398" y="324"/>
                  </a:lnTo>
                  <a:lnTo>
                    <a:pt x="1404" y="330"/>
                  </a:lnTo>
                  <a:lnTo>
                    <a:pt x="1404" y="342"/>
                  </a:lnTo>
                  <a:lnTo>
                    <a:pt x="1392" y="354"/>
                  </a:lnTo>
                  <a:lnTo>
                    <a:pt x="1392" y="360"/>
                  </a:lnTo>
                  <a:lnTo>
                    <a:pt x="1392" y="372"/>
                  </a:lnTo>
                  <a:lnTo>
                    <a:pt x="1392" y="384"/>
                  </a:lnTo>
                  <a:lnTo>
                    <a:pt x="1392" y="396"/>
                  </a:lnTo>
                  <a:lnTo>
                    <a:pt x="1392" y="408"/>
                  </a:lnTo>
                  <a:lnTo>
                    <a:pt x="1386" y="414"/>
                  </a:lnTo>
                  <a:lnTo>
                    <a:pt x="1380" y="420"/>
                  </a:lnTo>
                  <a:lnTo>
                    <a:pt x="1380" y="426"/>
                  </a:lnTo>
                  <a:lnTo>
                    <a:pt x="1368" y="432"/>
                  </a:lnTo>
                  <a:lnTo>
                    <a:pt x="1362" y="444"/>
                  </a:lnTo>
                  <a:lnTo>
                    <a:pt x="1362" y="450"/>
                  </a:lnTo>
                  <a:lnTo>
                    <a:pt x="1362" y="462"/>
                  </a:lnTo>
                  <a:lnTo>
                    <a:pt x="1362" y="468"/>
                  </a:lnTo>
                  <a:lnTo>
                    <a:pt x="1362" y="474"/>
                  </a:lnTo>
                  <a:lnTo>
                    <a:pt x="1356" y="474"/>
                  </a:lnTo>
                  <a:lnTo>
                    <a:pt x="1350" y="480"/>
                  </a:lnTo>
                  <a:lnTo>
                    <a:pt x="1344" y="486"/>
                  </a:lnTo>
                  <a:lnTo>
                    <a:pt x="1338" y="498"/>
                  </a:lnTo>
                  <a:lnTo>
                    <a:pt x="1332" y="510"/>
                  </a:lnTo>
                  <a:lnTo>
                    <a:pt x="1320" y="510"/>
                  </a:lnTo>
                  <a:lnTo>
                    <a:pt x="1314" y="516"/>
                  </a:lnTo>
                  <a:lnTo>
                    <a:pt x="1302" y="522"/>
                  </a:lnTo>
                  <a:lnTo>
                    <a:pt x="1296" y="522"/>
                  </a:lnTo>
                  <a:lnTo>
                    <a:pt x="1284" y="516"/>
                  </a:lnTo>
                  <a:lnTo>
                    <a:pt x="1278" y="516"/>
                  </a:lnTo>
                  <a:lnTo>
                    <a:pt x="1272" y="522"/>
                  </a:lnTo>
                  <a:lnTo>
                    <a:pt x="1266" y="522"/>
                  </a:lnTo>
                  <a:lnTo>
                    <a:pt x="1266" y="528"/>
                  </a:lnTo>
                  <a:lnTo>
                    <a:pt x="1254" y="540"/>
                  </a:lnTo>
                  <a:lnTo>
                    <a:pt x="1248" y="546"/>
                  </a:lnTo>
                  <a:lnTo>
                    <a:pt x="1242" y="558"/>
                  </a:lnTo>
                  <a:lnTo>
                    <a:pt x="1230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30" y="594"/>
                  </a:lnTo>
                  <a:lnTo>
                    <a:pt x="1230" y="600"/>
                  </a:lnTo>
                  <a:lnTo>
                    <a:pt x="1236" y="606"/>
                  </a:lnTo>
                  <a:lnTo>
                    <a:pt x="1242" y="606"/>
                  </a:lnTo>
                  <a:lnTo>
                    <a:pt x="1242" y="612"/>
                  </a:lnTo>
                  <a:lnTo>
                    <a:pt x="1242" y="618"/>
                  </a:lnTo>
                  <a:lnTo>
                    <a:pt x="1242" y="624"/>
                  </a:lnTo>
                  <a:lnTo>
                    <a:pt x="1236" y="630"/>
                  </a:lnTo>
                  <a:lnTo>
                    <a:pt x="1230" y="642"/>
                  </a:lnTo>
                  <a:lnTo>
                    <a:pt x="1230" y="648"/>
                  </a:lnTo>
                  <a:lnTo>
                    <a:pt x="1218" y="654"/>
                  </a:lnTo>
                  <a:lnTo>
                    <a:pt x="1212" y="654"/>
                  </a:lnTo>
                  <a:lnTo>
                    <a:pt x="1212" y="660"/>
                  </a:lnTo>
                  <a:lnTo>
                    <a:pt x="1212" y="666"/>
                  </a:lnTo>
                  <a:lnTo>
                    <a:pt x="1212" y="672"/>
                  </a:lnTo>
                  <a:lnTo>
                    <a:pt x="1212" y="678"/>
                  </a:lnTo>
                  <a:lnTo>
                    <a:pt x="1218" y="684"/>
                  </a:lnTo>
                  <a:lnTo>
                    <a:pt x="1218" y="690"/>
                  </a:lnTo>
                  <a:lnTo>
                    <a:pt x="1224" y="696"/>
                  </a:lnTo>
                  <a:lnTo>
                    <a:pt x="1230" y="702"/>
                  </a:lnTo>
                  <a:lnTo>
                    <a:pt x="1236" y="696"/>
                  </a:lnTo>
                  <a:lnTo>
                    <a:pt x="1242" y="702"/>
                  </a:lnTo>
                  <a:lnTo>
                    <a:pt x="1248" y="708"/>
                  </a:lnTo>
                  <a:lnTo>
                    <a:pt x="1254" y="714"/>
                  </a:lnTo>
                  <a:lnTo>
                    <a:pt x="1254" y="720"/>
                  </a:lnTo>
                  <a:lnTo>
                    <a:pt x="1260" y="720"/>
                  </a:lnTo>
                  <a:lnTo>
                    <a:pt x="1254" y="732"/>
                  </a:lnTo>
                  <a:lnTo>
                    <a:pt x="1248" y="738"/>
                  </a:lnTo>
                  <a:lnTo>
                    <a:pt x="1242" y="744"/>
                  </a:lnTo>
                  <a:lnTo>
                    <a:pt x="1236" y="750"/>
                  </a:lnTo>
                  <a:lnTo>
                    <a:pt x="1236" y="756"/>
                  </a:lnTo>
                  <a:lnTo>
                    <a:pt x="1236" y="762"/>
                  </a:lnTo>
                  <a:lnTo>
                    <a:pt x="1236" y="768"/>
                  </a:lnTo>
                  <a:lnTo>
                    <a:pt x="1236" y="780"/>
                  </a:lnTo>
                  <a:lnTo>
                    <a:pt x="1230" y="780"/>
                  </a:lnTo>
                  <a:lnTo>
                    <a:pt x="1230" y="786"/>
                  </a:lnTo>
                  <a:lnTo>
                    <a:pt x="1230" y="792"/>
                  </a:lnTo>
                  <a:lnTo>
                    <a:pt x="1230" y="804"/>
                  </a:lnTo>
                  <a:lnTo>
                    <a:pt x="1224" y="810"/>
                  </a:lnTo>
                  <a:lnTo>
                    <a:pt x="1218" y="816"/>
                  </a:lnTo>
                  <a:lnTo>
                    <a:pt x="1224" y="822"/>
                  </a:lnTo>
                  <a:lnTo>
                    <a:pt x="1224" y="828"/>
                  </a:lnTo>
                  <a:lnTo>
                    <a:pt x="1218" y="834"/>
                  </a:lnTo>
                  <a:lnTo>
                    <a:pt x="1224" y="834"/>
                  </a:lnTo>
                  <a:lnTo>
                    <a:pt x="1224" y="840"/>
                  </a:lnTo>
                  <a:lnTo>
                    <a:pt x="1224" y="846"/>
                  </a:lnTo>
                  <a:lnTo>
                    <a:pt x="1224" y="852"/>
                  </a:lnTo>
                  <a:lnTo>
                    <a:pt x="1218" y="858"/>
                  </a:lnTo>
                  <a:lnTo>
                    <a:pt x="1218" y="870"/>
                  </a:lnTo>
                  <a:lnTo>
                    <a:pt x="1212" y="870"/>
                  </a:lnTo>
                  <a:lnTo>
                    <a:pt x="1212" y="876"/>
                  </a:lnTo>
                  <a:lnTo>
                    <a:pt x="1206" y="888"/>
                  </a:lnTo>
                  <a:lnTo>
                    <a:pt x="1200" y="882"/>
                  </a:lnTo>
                  <a:lnTo>
                    <a:pt x="1194" y="888"/>
                  </a:lnTo>
                  <a:lnTo>
                    <a:pt x="1188" y="894"/>
                  </a:lnTo>
                  <a:lnTo>
                    <a:pt x="1182" y="894"/>
                  </a:lnTo>
                  <a:lnTo>
                    <a:pt x="1182" y="900"/>
                  </a:lnTo>
                  <a:lnTo>
                    <a:pt x="1176" y="900"/>
                  </a:lnTo>
                  <a:lnTo>
                    <a:pt x="1170" y="894"/>
                  </a:lnTo>
                  <a:lnTo>
                    <a:pt x="1164" y="900"/>
                  </a:lnTo>
                  <a:lnTo>
                    <a:pt x="1158" y="900"/>
                  </a:lnTo>
                  <a:lnTo>
                    <a:pt x="1152" y="900"/>
                  </a:lnTo>
                  <a:lnTo>
                    <a:pt x="1140" y="900"/>
                  </a:lnTo>
                  <a:lnTo>
                    <a:pt x="1134" y="900"/>
                  </a:lnTo>
                  <a:lnTo>
                    <a:pt x="1128" y="906"/>
                  </a:lnTo>
                  <a:lnTo>
                    <a:pt x="1110" y="906"/>
                  </a:lnTo>
                  <a:lnTo>
                    <a:pt x="1104" y="906"/>
                  </a:lnTo>
                  <a:lnTo>
                    <a:pt x="1098" y="906"/>
                  </a:lnTo>
                  <a:lnTo>
                    <a:pt x="1092" y="912"/>
                  </a:lnTo>
                  <a:lnTo>
                    <a:pt x="1080" y="918"/>
                  </a:lnTo>
                  <a:lnTo>
                    <a:pt x="1068" y="930"/>
                  </a:lnTo>
                  <a:lnTo>
                    <a:pt x="1062" y="930"/>
                  </a:lnTo>
                  <a:lnTo>
                    <a:pt x="1056" y="930"/>
                  </a:lnTo>
                  <a:lnTo>
                    <a:pt x="1050" y="930"/>
                  </a:lnTo>
                  <a:lnTo>
                    <a:pt x="1050" y="936"/>
                  </a:lnTo>
                  <a:lnTo>
                    <a:pt x="1038" y="942"/>
                  </a:lnTo>
                  <a:lnTo>
                    <a:pt x="1032" y="948"/>
                  </a:lnTo>
                  <a:lnTo>
                    <a:pt x="1026" y="954"/>
                  </a:lnTo>
                  <a:lnTo>
                    <a:pt x="1020" y="960"/>
                  </a:lnTo>
                  <a:lnTo>
                    <a:pt x="1014" y="966"/>
                  </a:lnTo>
                  <a:lnTo>
                    <a:pt x="1002" y="966"/>
                  </a:lnTo>
                  <a:lnTo>
                    <a:pt x="990" y="978"/>
                  </a:lnTo>
                  <a:lnTo>
                    <a:pt x="984" y="978"/>
                  </a:lnTo>
                  <a:lnTo>
                    <a:pt x="978" y="984"/>
                  </a:lnTo>
                  <a:lnTo>
                    <a:pt x="972" y="984"/>
                  </a:lnTo>
                  <a:lnTo>
                    <a:pt x="978" y="990"/>
                  </a:lnTo>
                  <a:lnTo>
                    <a:pt x="972" y="996"/>
                  </a:lnTo>
                  <a:lnTo>
                    <a:pt x="978" y="1002"/>
                  </a:lnTo>
                  <a:lnTo>
                    <a:pt x="1002" y="1002"/>
                  </a:lnTo>
                  <a:lnTo>
                    <a:pt x="1002" y="1008"/>
                  </a:lnTo>
                  <a:lnTo>
                    <a:pt x="1008" y="1020"/>
                  </a:lnTo>
                  <a:lnTo>
                    <a:pt x="1002" y="1026"/>
                  </a:lnTo>
                  <a:lnTo>
                    <a:pt x="1002" y="1032"/>
                  </a:lnTo>
                  <a:lnTo>
                    <a:pt x="1002" y="1050"/>
                  </a:lnTo>
                  <a:lnTo>
                    <a:pt x="1002" y="1056"/>
                  </a:lnTo>
                  <a:lnTo>
                    <a:pt x="1008" y="1062"/>
                  </a:lnTo>
                  <a:lnTo>
                    <a:pt x="1008" y="1074"/>
                  </a:lnTo>
                  <a:lnTo>
                    <a:pt x="1008" y="1086"/>
                  </a:lnTo>
                  <a:lnTo>
                    <a:pt x="996" y="1092"/>
                  </a:lnTo>
                  <a:lnTo>
                    <a:pt x="996" y="1098"/>
                  </a:lnTo>
                  <a:lnTo>
                    <a:pt x="996" y="1104"/>
                  </a:lnTo>
                  <a:lnTo>
                    <a:pt x="990" y="1110"/>
                  </a:lnTo>
                  <a:lnTo>
                    <a:pt x="990" y="1116"/>
                  </a:lnTo>
                  <a:lnTo>
                    <a:pt x="996" y="1122"/>
                  </a:lnTo>
                  <a:lnTo>
                    <a:pt x="990" y="1128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96" y="1140"/>
                  </a:lnTo>
                  <a:lnTo>
                    <a:pt x="996" y="1146"/>
                  </a:lnTo>
                  <a:lnTo>
                    <a:pt x="996" y="1152"/>
                  </a:lnTo>
                  <a:lnTo>
                    <a:pt x="996" y="1158"/>
                  </a:lnTo>
                  <a:lnTo>
                    <a:pt x="996" y="1164"/>
                  </a:lnTo>
                  <a:lnTo>
                    <a:pt x="996" y="1170"/>
                  </a:lnTo>
                  <a:lnTo>
                    <a:pt x="996" y="1176"/>
                  </a:lnTo>
                  <a:lnTo>
                    <a:pt x="990" y="1182"/>
                  </a:lnTo>
                  <a:lnTo>
                    <a:pt x="990" y="1188"/>
                  </a:lnTo>
                  <a:lnTo>
                    <a:pt x="984" y="1200"/>
                  </a:lnTo>
                  <a:lnTo>
                    <a:pt x="990" y="1206"/>
                  </a:lnTo>
                  <a:lnTo>
                    <a:pt x="990" y="1212"/>
                  </a:lnTo>
                  <a:lnTo>
                    <a:pt x="990" y="1218"/>
                  </a:lnTo>
                  <a:lnTo>
                    <a:pt x="978" y="1230"/>
                  </a:lnTo>
                  <a:lnTo>
                    <a:pt x="972" y="1236"/>
                  </a:lnTo>
                  <a:lnTo>
                    <a:pt x="972" y="1242"/>
                  </a:lnTo>
                  <a:lnTo>
                    <a:pt x="966" y="1248"/>
                  </a:lnTo>
                  <a:lnTo>
                    <a:pt x="960" y="1260"/>
                  </a:lnTo>
                  <a:lnTo>
                    <a:pt x="954" y="1266"/>
                  </a:lnTo>
                  <a:lnTo>
                    <a:pt x="942" y="1278"/>
                  </a:lnTo>
                  <a:lnTo>
                    <a:pt x="936" y="1278"/>
                  </a:lnTo>
                  <a:lnTo>
                    <a:pt x="936" y="1284"/>
                  </a:lnTo>
                  <a:lnTo>
                    <a:pt x="936" y="1296"/>
                  </a:lnTo>
                  <a:lnTo>
                    <a:pt x="936" y="1302"/>
                  </a:lnTo>
                  <a:lnTo>
                    <a:pt x="942" y="1302"/>
                  </a:lnTo>
                  <a:lnTo>
                    <a:pt x="942" y="1308"/>
                  </a:lnTo>
                  <a:lnTo>
                    <a:pt x="936" y="1314"/>
                  </a:lnTo>
                  <a:lnTo>
                    <a:pt x="930" y="1320"/>
                  </a:lnTo>
                  <a:lnTo>
                    <a:pt x="930" y="1326"/>
                  </a:lnTo>
                  <a:lnTo>
                    <a:pt x="930" y="1332"/>
                  </a:lnTo>
                  <a:lnTo>
                    <a:pt x="936" y="1338"/>
                  </a:lnTo>
                  <a:lnTo>
                    <a:pt x="936" y="1344"/>
                  </a:lnTo>
                  <a:lnTo>
                    <a:pt x="942" y="1356"/>
                  </a:lnTo>
                  <a:lnTo>
                    <a:pt x="948" y="1368"/>
                  </a:lnTo>
                  <a:lnTo>
                    <a:pt x="942" y="1380"/>
                  </a:lnTo>
                  <a:lnTo>
                    <a:pt x="936" y="1386"/>
                  </a:lnTo>
                  <a:lnTo>
                    <a:pt x="930" y="1392"/>
                  </a:lnTo>
                  <a:lnTo>
                    <a:pt x="924" y="1392"/>
                  </a:lnTo>
                  <a:lnTo>
                    <a:pt x="918" y="1386"/>
                  </a:lnTo>
                  <a:lnTo>
                    <a:pt x="912" y="1386"/>
                  </a:lnTo>
                  <a:lnTo>
                    <a:pt x="906" y="1386"/>
                  </a:lnTo>
                  <a:lnTo>
                    <a:pt x="900" y="1386"/>
                  </a:lnTo>
                  <a:lnTo>
                    <a:pt x="900" y="1392"/>
                  </a:lnTo>
                  <a:lnTo>
                    <a:pt x="894" y="1392"/>
                  </a:lnTo>
                  <a:lnTo>
                    <a:pt x="888" y="1392"/>
                  </a:lnTo>
                  <a:lnTo>
                    <a:pt x="888" y="1398"/>
                  </a:lnTo>
                  <a:lnTo>
                    <a:pt x="882" y="1404"/>
                  </a:lnTo>
                  <a:lnTo>
                    <a:pt x="882" y="1416"/>
                  </a:lnTo>
                  <a:lnTo>
                    <a:pt x="882" y="1428"/>
                  </a:lnTo>
                  <a:lnTo>
                    <a:pt x="882" y="1434"/>
                  </a:lnTo>
                  <a:lnTo>
                    <a:pt x="870" y="1440"/>
                  </a:lnTo>
                  <a:lnTo>
                    <a:pt x="864" y="1452"/>
                  </a:lnTo>
                  <a:lnTo>
                    <a:pt x="870" y="1452"/>
                  </a:lnTo>
                  <a:lnTo>
                    <a:pt x="864" y="1458"/>
                  </a:lnTo>
                  <a:lnTo>
                    <a:pt x="858" y="1464"/>
                  </a:lnTo>
                  <a:lnTo>
                    <a:pt x="852" y="1464"/>
                  </a:lnTo>
                  <a:lnTo>
                    <a:pt x="846" y="1458"/>
                  </a:lnTo>
                  <a:lnTo>
                    <a:pt x="840" y="1458"/>
                  </a:lnTo>
                  <a:lnTo>
                    <a:pt x="828" y="1470"/>
                  </a:lnTo>
                  <a:lnTo>
                    <a:pt x="810" y="1482"/>
                  </a:lnTo>
                  <a:lnTo>
                    <a:pt x="804" y="1488"/>
                  </a:lnTo>
                  <a:lnTo>
                    <a:pt x="798" y="1488"/>
                  </a:lnTo>
                  <a:lnTo>
                    <a:pt x="792" y="1488"/>
                  </a:lnTo>
                  <a:lnTo>
                    <a:pt x="786" y="1488"/>
                  </a:lnTo>
                  <a:lnTo>
                    <a:pt x="768" y="1482"/>
                  </a:lnTo>
                  <a:lnTo>
                    <a:pt x="762" y="1476"/>
                  </a:lnTo>
                  <a:lnTo>
                    <a:pt x="744" y="1476"/>
                  </a:lnTo>
                  <a:lnTo>
                    <a:pt x="738" y="1476"/>
                  </a:lnTo>
                  <a:lnTo>
                    <a:pt x="732" y="1476"/>
                  </a:lnTo>
                  <a:lnTo>
                    <a:pt x="726" y="1482"/>
                  </a:lnTo>
                  <a:lnTo>
                    <a:pt x="726" y="1488"/>
                  </a:lnTo>
                  <a:lnTo>
                    <a:pt x="726" y="1494"/>
                  </a:lnTo>
                  <a:lnTo>
                    <a:pt x="726" y="1500"/>
                  </a:lnTo>
                  <a:lnTo>
                    <a:pt x="720" y="1500"/>
                  </a:lnTo>
                  <a:lnTo>
                    <a:pt x="720" y="1506"/>
                  </a:lnTo>
                  <a:lnTo>
                    <a:pt x="714" y="1512"/>
                  </a:lnTo>
                  <a:lnTo>
                    <a:pt x="714" y="1518"/>
                  </a:lnTo>
                  <a:lnTo>
                    <a:pt x="708" y="1518"/>
                  </a:lnTo>
                  <a:lnTo>
                    <a:pt x="708" y="1530"/>
                  </a:lnTo>
                  <a:lnTo>
                    <a:pt x="708" y="1536"/>
                  </a:lnTo>
                  <a:lnTo>
                    <a:pt x="708" y="1542"/>
                  </a:lnTo>
                  <a:lnTo>
                    <a:pt x="696" y="1554"/>
                  </a:lnTo>
                  <a:lnTo>
                    <a:pt x="690" y="1560"/>
                  </a:lnTo>
                  <a:lnTo>
                    <a:pt x="684" y="1566"/>
                  </a:lnTo>
                  <a:lnTo>
                    <a:pt x="672" y="1566"/>
                  </a:lnTo>
                  <a:lnTo>
                    <a:pt x="666" y="1566"/>
                  </a:lnTo>
                  <a:lnTo>
                    <a:pt x="660" y="1566"/>
                  </a:lnTo>
                  <a:lnTo>
                    <a:pt x="654" y="1572"/>
                  </a:lnTo>
                  <a:lnTo>
                    <a:pt x="654" y="1578"/>
                  </a:lnTo>
                  <a:lnTo>
                    <a:pt x="642" y="1578"/>
                  </a:lnTo>
                  <a:lnTo>
                    <a:pt x="630" y="1572"/>
                  </a:lnTo>
                  <a:lnTo>
                    <a:pt x="624" y="1572"/>
                  </a:lnTo>
                  <a:lnTo>
                    <a:pt x="618" y="1578"/>
                  </a:lnTo>
                  <a:lnTo>
                    <a:pt x="612" y="1584"/>
                  </a:lnTo>
                  <a:lnTo>
                    <a:pt x="606" y="1584"/>
                  </a:lnTo>
                  <a:lnTo>
                    <a:pt x="600" y="1590"/>
                  </a:lnTo>
                  <a:lnTo>
                    <a:pt x="594" y="1590"/>
                  </a:lnTo>
                  <a:lnTo>
                    <a:pt x="588" y="1590"/>
                  </a:lnTo>
                  <a:lnTo>
                    <a:pt x="582" y="1590"/>
                  </a:lnTo>
                  <a:lnTo>
                    <a:pt x="582" y="1596"/>
                  </a:lnTo>
                  <a:lnTo>
                    <a:pt x="576" y="1614"/>
                  </a:lnTo>
                  <a:lnTo>
                    <a:pt x="570" y="1632"/>
                  </a:lnTo>
                  <a:lnTo>
                    <a:pt x="570" y="1638"/>
                  </a:lnTo>
                  <a:lnTo>
                    <a:pt x="576" y="1644"/>
                  </a:lnTo>
                  <a:lnTo>
                    <a:pt x="576" y="1650"/>
                  </a:lnTo>
                  <a:lnTo>
                    <a:pt x="582" y="1662"/>
                  </a:lnTo>
                  <a:lnTo>
                    <a:pt x="582" y="1668"/>
                  </a:lnTo>
                  <a:lnTo>
                    <a:pt x="588" y="1692"/>
                  </a:lnTo>
                  <a:lnTo>
                    <a:pt x="594" y="1728"/>
                  </a:lnTo>
                  <a:lnTo>
                    <a:pt x="594" y="1752"/>
                  </a:lnTo>
                  <a:lnTo>
                    <a:pt x="594" y="1764"/>
                  </a:lnTo>
                  <a:lnTo>
                    <a:pt x="582" y="1770"/>
                  </a:lnTo>
                  <a:lnTo>
                    <a:pt x="582" y="1782"/>
                  </a:lnTo>
                  <a:lnTo>
                    <a:pt x="576" y="1788"/>
                  </a:lnTo>
                  <a:lnTo>
                    <a:pt x="570" y="1794"/>
                  </a:lnTo>
                  <a:lnTo>
                    <a:pt x="564" y="1806"/>
                  </a:lnTo>
                  <a:lnTo>
                    <a:pt x="564" y="1812"/>
                  </a:lnTo>
                  <a:lnTo>
                    <a:pt x="558" y="1812"/>
                  </a:lnTo>
                  <a:lnTo>
                    <a:pt x="564" y="1824"/>
                  </a:lnTo>
                  <a:lnTo>
                    <a:pt x="564" y="1830"/>
                  </a:lnTo>
                  <a:lnTo>
                    <a:pt x="564" y="1842"/>
                  </a:lnTo>
                  <a:lnTo>
                    <a:pt x="564" y="1848"/>
                  </a:lnTo>
                  <a:lnTo>
                    <a:pt x="564" y="1854"/>
                  </a:lnTo>
                  <a:lnTo>
                    <a:pt x="570" y="1860"/>
                  </a:lnTo>
                  <a:lnTo>
                    <a:pt x="570" y="1866"/>
                  </a:lnTo>
                  <a:lnTo>
                    <a:pt x="570" y="1872"/>
                  </a:lnTo>
                  <a:lnTo>
                    <a:pt x="570" y="1878"/>
                  </a:lnTo>
                  <a:lnTo>
                    <a:pt x="564" y="1890"/>
                  </a:lnTo>
                  <a:lnTo>
                    <a:pt x="558" y="1896"/>
                  </a:lnTo>
                  <a:lnTo>
                    <a:pt x="552" y="1908"/>
                  </a:lnTo>
                  <a:lnTo>
                    <a:pt x="546" y="1914"/>
                  </a:lnTo>
                  <a:lnTo>
                    <a:pt x="540" y="1920"/>
                  </a:lnTo>
                  <a:lnTo>
                    <a:pt x="534" y="1932"/>
                  </a:lnTo>
                  <a:lnTo>
                    <a:pt x="528" y="1944"/>
                  </a:lnTo>
                  <a:lnTo>
                    <a:pt x="516" y="1950"/>
                  </a:lnTo>
                  <a:lnTo>
                    <a:pt x="510" y="1956"/>
                  </a:lnTo>
                  <a:lnTo>
                    <a:pt x="498" y="1962"/>
                  </a:lnTo>
                  <a:lnTo>
                    <a:pt x="492" y="1974"/>
                  </a:lnTo>
                  <a:lnTo>
                    <a:pt x="486" y="1980"/>
                  </a:lnTo>
                  <a:lnTo>
                    <a:pt x="480" y="1998"/>
                  </a:lnTo>
                  <a:lnTo>
                    <a:pt x="474" y="2004"/>
                  </a:lnTo>
                  <a:lnTo>
                    <a:pt x="474" y="2010"/>
                  </a:lnTo>
                  <a:lnTo>
                    <a:pt x="474" y="2016"/>
                  </a:lnTo>
                  <a:lnTo>
                    <a:pt x="468" y="2016"/>
                  </a:lnTo>
                  <a:lnTo>
                    <a:pt x="468" y="2028"/>
                  </a:lnTo>
                  <a:lnTo>
                    <a:pt x="462" y="2034"/>
                  </a:lnTo>
                  <a:lnTo>
                    <a:pt x="456" y="2040"/>
                  </a:lnTo>
                  <a:lnTo>
                    <a:pt x="456" y="2052"/>
                  </a:lnTo>
                  <a:lnTo>
                    <a:pt x="450" y="2058"/>
                  </a:lnTo>
                  <a:lnTo>
                    <a:pt x="450" y="2070"/>
                  </a:lnTo>
                  <a:lnTo>
                    <a:pt x="450" y="2076"/>
                  </a:lnTo>
                  <a:lnTo>
                    <a:pt x="450" y="2082"/>
                  </a:lnTo>
                  <a:lnTo>
                    <a:pt x="444" y="2088"/>
                  </a:lnTo>
                  <a:lnTo>
                    <a:pt x="438" y="2094"/>
                  </a:lnTo>
                  <a:lnTo>
                    <a:pt x="444" y="2100"/>
                  </a:lnTo>
                  <a:lnTo>
                    <a:pt x="444" y="2124"/>
                  </a:lnTo>
                  <a:lnTo>
                    <a:pt x="444" y="2142"/>
                  </a:lnTo>
                  <a:lnTo>
                    <a:pt x="444" y="2160"/>
                  </a:lnTo>
                  <a:lnTo>
                    <a:pt x="450" y="2166"/>
                  </a:lnTo>
                  <a:lnTo>
                    <a:pt x="456" y="2178"/>
                  </a:lnTo>
                  <a:lnTo>
                    <a:pt x="438" y="2184"/>
                  </a:lnTo>
                  <a:lnTo>
                    <a:pt x="432" y="2184"/>
                  </a:lnTo>
                  <a:lnTo>
                    <a:pt x="426" y="2190"/>
                  </a:lnTo>
                  <a:lnTo>
                    <a:pt x="408" y="2190"/>
                  </a:lnTo>
                  <a:lnTo>
                    <a:pt x="402" y="2196"/>
                  </a:lnTo>
                  <a:lnTo>
                    <a:pt x="396" y="2196"/>
                  </a:lnTo>
                  <a:lnTo>
                    <a:pt x="384" y="2208"/>
                  </a:lnTo>
                  <a:lnTo>
                    <a:pt x="378" y="2220"/>
                  </a:lnTo>
                  <a:lnTo>
                    <a:pt x="366" y="2232"/>
                  </a:lnTo>
                  <a:lnTo>
                    <a:pt x="366" y="2238"/>
                  </a:lnTo>
                  <a:lnTo>
                    <a:pt x="360" y="2238"/>
                  </a:lnTo>
                  <a:lnTo>
                    <a:pt x="360" y="2244"/>
                  </a:lnTo>
                  <a:lnTo>
                    <a:pt x="354" y="2244"/>
                  </a:lnTo>
                  <a:lnTo>
                    <a:pt x="330" y="227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5" name="Freeform 10">
              <a:extLst>
                <a:ext uri="{FF2B5EF4-FFF2-40B4-BE49-F238E27FC236}">
                  <a16:creationId xmlns:a16="http://schemas.microsoft.com/office/drawing/2014/main" id="{3AD2FC58-3490-4B7F-A8BE-621F3CDD69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31996" y="1931890"/>
              <a:ext cx="805029" cy="1037736"/>
            </a:xfrm>
            <a:custGeom>
              <a:avLst/>
              <a:gdLst>
                <a:gd name="T0" fmla="*/ 124 w 1512"/>
                <a:gd name="T1" fmla="*/ 76 h 1956"/>
                <a:gd name="T2" fmla="*/ 120 w 1512"/>
                <a:gd name="T3" fmla="*/ 80 h 1956"/>
                <a:gd name="T4" fmla="*/ 106 w 1512"/>
                <a:gd name="T5" fmla="*/ 84 h 1956"/>
                <a:gd name="T6" fmla="*/ 105 w 1512"/>
                <a:gd name="T7" fmla="*/ 91 h 1956"/>
                <a:gd name="T8" fmla="*/ 101 w 1512"/>
                <a:gd name="T9" fmla="*/ 99 h 1956"/>
                <a:gd name="T10" fmla="*/ 105 w 1512"/>
                <a:gd name="T11" fmla="*/ 107 h 1956"/>
                <a:gd name="T12" fmla="*/ 119 w 1512"/>
                <a:gd name="T13" fmla="*/ 116 h 1956"/>
                <a:gd name="T14" fmla="*/ 121 w 1512"/>
                <a:gd name="T15" fmla="*/ 128 h 1956"/>
                <a:gd name="T16" fmla="*/ 112 w 1512"/>
                <a:gd name="T17" fmla="*/ 136 h 1956"/>
                <a:gd name="T18" fmla="*/ 119 w 1512"/>
                <a:gd name="T19" fmla="*/ 143 h 1956"/>
                <a:gd name="T20" fmla="*/ 126 w 1512"/>
                <a:gd name="T21" fmla="*/ 148 h 1956"/>
                <a:gd name="T22" fmla="*/ 126 w 1512"/>
                <a:gd name="T23" fmla="*/ 160 h 1956"/>
                <a:gd name="T24" fmla="*/ 104 w 1512"/>
                <a:gd name="T25" fmla="*/ 170 h 1956"/>
                <a:gd name="T26" fmla="*/ 99 w 1512"/>
                <a:gd name="T27" fmla="*/ 164 h 1956"/>
                <a:gd name="T28" fmla="*/ 73 w 1512"/>
                <a:gd name="T29" fmla="*/ 152 h 1956"/>
                <a:gd name="T30" fmla="*/ 56 w 1512"/>
                <a:gd name="T31" fmla="*/ 165 h 1956"/>
                <a:gd name="T32" fmla="*/ 33 w 1512"/>
                <a:gd name="T33" fmla="*/ 162 h 1956"/>
                <a:gd name="T34" fmla="*/ 25 w 1512"/>
                <a:gd name="T35" fmla="*/ 155 h 1956"/>
                <a:gd name="T36" fmla="*/ 31 w 1512"/>
                <a:gd name="T37" fmla="*/ 142 h 1956"/>
                <a:gd name="T38" fmla="*/ 24 w 1512"/>
                <a:gd name="T39" fmla="*/ 137 h 1956"/>
                <a:gd name="T40" fmla="*/ 14 w 1512"/>
                <a:gd name="T41" fmla="*/ 136 h 1956"/>
                <a:gd name="T42" fmla="*/ 11 w 1512"/>
                <a:gd name="T43" fmla="*/ 125 h 1956"/>
                <a:gd name="T44" fmla="*/ 3 w 1512"/>
                <a:gd name="T45" fmla="*/ 116 h 1956"/>
                <a:gd name="T46" fmla="*/ 2 w 1512"/>
                <a:gd name="T47" fmla="*/ 106 h 1956"/>
                <a:gd name="T48" fmla="*/ 5 w 1512"/>
                <a:gd name="T49" fmla="*/ 101 h 1956"/>
                <a:gd name="T50" fmla="*/ 2 w 1512"/>
                <a:gd name="T51" fmla="*/ 95 h 1956"/>
                <a:gd name="T52" fmla="*/ 1 w 1512"/>
                <a:gd name="T53" fmla="*/ 88 h 1956"/>
                <a:gd name="T54" fmla="*/ 4 w 1512"/>
                <a:gd name="T55" fmla="*/ 80 h 1956"/>
                <a:gd name="T56" fmla="*/ 12 w 1512"/>
                <a:gd name="T57" fmla="*/ 73 h 1956"/>
                <a:gd name="T58" fmla="*/ 16 w 1512"/>
                <a:gd name="T59" fmla="*/ 68 h 1956"/>
                <a:gd name="T60" fmla="*/ 22 w 1512"/>
                <a:gd name="T61" fmla="*/ 66 h 1956"/>
                <a:gd name="T62" fmla="*/ 32 w 1512"/>
                <a:gd name="T63" fmla="*/ 65 h 1956"/>
                <a:gd name="T64" fmla="*/ 45 w 1512"/>
                <a:gd name="T65" fmla="*/ 66 h 1956"/>
                <a:gd name="T66" fmla="*/ 50 w 1512"/>
                <a:gd name="T67" fmla="*/ 70 h 1956"/>
                <a:gd name="T68" fmla="*/ 55 w 1512"/>
                <a:gd name="T69" fmla="*/ 70 h 1956"/>
                <a:gd name="T70" fmla="*/ 63 w 1512"/>
                <a:gd name="T71" fmla="*/ 71 h 1956"/>
                <a:gd name="T72" fmla="*/ 61 w 1512"/>
                <a:gd name="T73" fmla="*/ 75 h 1956"/>
                <a:gd name="T74" fmla="*/ 66 w 1512"/>
                <a:gd name="T75" fmla="*/ 84 h 1956"/>
                <a:gd name="T76" fmla="*/ 81 w 1512"/>
                <a:gd name="T77" fmla="*/ 85 h 1956"/>
                <a:gd name="T78" fmla="*/ 83 w 1512"/>
                <a:gd name="T79" fmla="*/ 79 h 1956"/>
                <a:gd name="T80" fmla="*/ 89 w 1512"/>
                <a:gd name="T81" fmla="*/ 77 h 1956"/>
                <a:gd name="T82" fmla="*/ 89 w 1512"/>
                <a:gd name="T83" fmla="*/ 73 h 1956"/>
                <a:gd name="T84" fmla="*/ 83 w 1512"/>
                <a:gd name="T85" fmla="*/ 72 h 1956"/>
                <a:gd name="T86" fmla="*/ 77 w 1512"/>
                <a:gd name="T87" fmla="*/ 70 h 1956"/>
                <a:gd name="T88" fmla="*/ 71 w 1512"/>
                <a:gd name="T89" fmla="*/ 70 h 1956"/>
                <a:gd name="T90" fmla="*/ 59 w 1512"/>
                <a:gd name="T91" fmla="*/ 58 h 1956"/>
                <a:gd name="T92" fmla="*/ 54 w 1512"/>
                <a:gd name="T93" fmla="*/ 45 h 1956"/>
                <a:gd name="T94" fmla="*/ 49 w 1512"/>
                <a:gd name="T95" fmla="*/ 42 h 1956"/>
                <a:gd name="T96" fmla="*/ 51 w 1512"/>
                <a:gd name="T97" fmla="*/ 39 h 1956"/>
                <a:gd name="T98" fmla="*/ 55 w 1512"/>
                <a:gd name="T99" fmla="*/ 36 h 1956"/>
                <a:gd name="T100" fmla="*/ 63 w 1512"/>
                <a:gd name="T101" fmla="*/ 34 h 1956"/>
                <a:gd name="T102" fmla="*/ 68 w 1512"/>
                <a:gd name="T103" fmla="*/ 32 h 1956"/>
                <a:gd name="T104" fmla="*/ 73 w 1512"/>
                <a:gd name="T105" fmla="*/ 29 h 1956"/>
                <a:gd name="T106" fmla="*/ 78 w 1512"/>
                <a:gd name="T107" fmla="*/ 27 h 1956"/>
                <a:gd name="T108" fmla="*/ 81 w 1512"/>
                <a:gd name="T109" fmla="*/ 17 h 1956"/>
                <a:gd name="T110" fmla="*/ 84 w 1512"/>
                <a:gd name="T111" fmla="*/ 6 h 1956"/>
                <a:gd name="T112" fmla="*/ 95 w 1512"/>
                <a:gd name="T113" fmla="*/ 6 h 1956"/>
                <a:gd name="T114" fmla="*/ 99 w 1512"/>
                <a:gd name="T115" fmla="*/ 3 h 1956"/>
                <a:gd name="T116" fmla="*/ 103 w 1512"/>
                <a:gd name="T117" fmla="*/ 0 h 1956"/>
                <a:gd name="T118" fmla="*/ 110 w 1512"/>
                <a:gd name="T119" fmla="*/ 4 h 1956"/>
                <a:gd name="T120" fmla="*/ 114 w 1512"/>
                <a:gd name="T121" fmla="*/ 33 h 1956"/>
                <a:gd name="T122" fmla="*/ 117 w 1512"/>
                <a:gd name="T123" fmla="*/ 41 h 1956"/>
                <a:gd name="T124" fmla="*/ 119 w 1512"/>
                <a:gd name="T125" fmla="*/ 62 h 195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512"/>
                <a:gd name="T190" fmla="*/ 0 h 1956"/>
                <a:gd name="T191" fmla="*/ 1512 w 1512"/>
                <a:gd name="T192" fmla="*/ 1956 h 195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512" h="1956">
                  <a:moveTo>
                    <a:pt x="1512" y="780"/>
                  </a:moveTo>
                  <a:lnTo>
                    <a:pt x="1482" y="786"/>
                  </a:lnTo>
                  <a:lnTo>
                    <a:pt x="1476" y="792"/>
                  </a:lnTo>
                  <a:lnTo>
                    <a:pt x="1476" y="798"/>
                  </a:lnTo>
                  <a:lnTo>
                    <a:pt x="1476" y="804"/>
                  </a:lnTo>
                  <a:lnTo>
                    <a:pt x="1476" y="816"/>
                  </a:lnTo>
                  <a:lnTo>
                    <a:pt x="1470" y="834"/>
                  </a:lnTo>
                  <a:lnTo>
                    <a:pt x="1464" y="840"/>
                  </a:lnTo>
                  <a:lnTo>
                    <a:pt x="1452" y="852"/>
                  </a:lnTo>
                  <a:lnTo>
                    <a:pt x="1440" y="864"/>
                  </a:lnTo>
                  <a:lnTo>
                    <a:pt x="1434" y="864"/>
                  </a:lnTo>
                  <a:lnTo>
                    <a:pt x="1434" y="870"/>
                  </a:lnTo>
                  <a:lnTo>
                    <a:pt x="1422" y="876"/>
                  </a:lnTo>
                  <a:lnTo>
                    <a:pt x="1410" y="894"/>
                  </a:lnTo>
                  <a:lnTo>
                    <a:pt x="1404" y="894"/>
                  </a:lnTo>
                  <a:lnTo>
                    <a:pt x="1404" y="900"/>
                  </a:lnTo>
                  <a:lnTo>
                    <a:pt x="1404" y="906"/>
                  </a:lnTo>
                  <a:lnTo>
                    <a:pt x="1410" y="918"/>
                  </a:lnTo>
                  <a:lnTo>
                    <a:pt x="1404" y="918"/>
                  </a:lnTo>
                  <a:lnTo>
                    <a:pt x="1392" y="924"/>
                  </a:lnTo>
                  <a:lnTo>
                    <a:pt x="1386" y="924"/>
                  </a:lnTo>
                  <a:lnTo>
                    <a:pt x="1380" y="924"/>
                  </a:lnTo>
                  <a:lnTo>
                    <a:pt x="1380" y="930"/>
                  </a:lnTo>
                  <a:lnTo>
                    <a:pt x="1374" y="930"/>
                  </a:lnTo>
                  <a:lnTo>
                    <a:pt x="1374" y="924"/>
                  </a:lnTo>
                  <a:lnTo>
                    <a:pt x="1374" y="918"/>
                  </a:lnTo>
                  <a:lnTo>
                    <a:pt x="1368" y="912"/>
                  </a:lnTo>
                  <a:lnTo>
                    <a:pt x="1368" y="906"/>
                  </a:lnTo>
                  <a:lnTo>
                    <a:pt x="1368" y="900"/>
                  </a:lnTo>
                  <a:lnTo>
                    <a:pt x="1368" y="894"/>
                  </a:lnTo>
                  <a:lnTo>
                    <a:pt x="1362" y="894"/>
                  </a:lnTo>
                  <a:lnTo>
                    <a:pt x="1326" y="894"/>
                  </a:lnTo>
                  <a:lnTo>
                    <a:pt x="1302" y="906"/>
                  </a:lnTo>
                  <a:lnTo>
                    <a:pt x="1284" y="918"/>
                  </a:lnTo>
                  <a:lnTo>
                    <a:pt x="1284" y="924"/>
                  </a:lnTo>
                  <a:lnTo>
                    <a:pt x="1278" y="930"/>
                  </a:lnTo>
                  <a:lnTo>
                    <a:pt x="1266" y="930"/>
                  </a:lnTo>
                  <a:lnTo>
                    <a:pt x="1236" y="954"/>
                  </a:lnTo>
                  <a:lnTo>
                    <a:pt x="1212" y="972"/>
                  </a:lnTo>
                  <a:lnTo>
                    <a:pt x="1218" y="996"/>
                  </a:lnTo>
                  <a:lnTo>
                    <a:pt x="1224" y="1008"/>
                  </a:lnTo>
                  <a:lnTo>
                    <a:pt x="1236" y="1014"/>
                  </a:lnTo>
                  <a:lnTo>
                    <a:pt x="1242" y="1026"/>
                  </a:lnTo>
                  <a:lnTo>
                    <a:pt x="1248" y="1038"/>
                  </a:lnTo>
                  <a:lnTo>
                    <a:pt x="1260" y="1050"/>
                  </a:lnTo>
                  <a:lnTo>
                    <a:pt x="1260" y="1056"/>
                  </a:lnTo>
                  <a:lnTo>
                    <a:pt x="1260" y="1074"/>
                  </a:lnTo>
                  <a:lnTo>
                    <a:pt x="1254" y="1074"/>
                  </a:lnTo>
                  <a:lnTo>
                    <a:pt x="1236" y="1056"/>
                  </a:lnTo>
                  <a:lnTo>
                    <a:pt x="1224" y="1050"/>
                  </a:lnTo>
                  <a:lnTo>
                    <a:pt x="1212" y="1050"/>
                  </a:lnTo>
                  <a:lnTo>
                    <a:pt x="1206" y="1050"/>
                  </a:lnTo>
                  <a:lnTo>
                    <a:pt x="1200" y="1056"/>
                  </a:lnTo>
                  <a:lnTo>
                    <a:pt x="1194" y="1062"/>
                  </a:lnTo>
                  <a:lnTo>
                    <a:pt x="1188" y="1068"/>
                  </a:lnTo>
                  <a:lnTo>
                    <a:pt x="1188" y="1074"/>
                  </a:lnTo>
                  <a:lnTo>
                    <a:pt x="1176" y="1086"/>
                  </a:lnTo>
                  <a:lnTo>
                    <a:pt x="1170" y="1086"/>
                  </a:lnTo>
                  <a:lnTo>
                    <a:pt x="1170" y="1092"/>
                  </a:lnTo>
                  <a:lnTo>
                    <a:pt x="1164" y="1098"/>
                  </a:lnTo>
                  <a:lnTo>
                    <a:pt x="1158" y="1110"/>
                  </a:lnTo>
                  <a:lnTo>
                    <a:pt x="1152" y="1116"/>
                  </a:lnTo>
                  <a:lnTo>
                    <a:pt x="1152" y="1122"/>
                  </a:lnTo>
                  <a:lnTo>
                    <a:pt x="1146" y="1128"/>
                  </a:lnTo>
                  <a:lnTo>
                    <a:pt x="1152" y="1140"/>
                  </a:lnTo>
                  <a:lnTo>
                    <a:pt x="1158" y="1140"/>
                  </a:lnTo>
                  <a:lnTo>
                    <a:pt x="1164" y="1146"/>
                  </a:lnTo>
                  <a:lnTo>
                    <a:pt x="1164" y="1152"/>
                  </a:lnTo>
                  <a:lnTo>
                    <a:pt x="1170" y="1164"/>
                  </a:lnTo>
                  <a:lnTo>
                    <a:pt x="1164" y="1176"/>
                  </a:lnTo>
                  <a:lnTo>
                    <a:pt x="1170" y="1182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82" y="1218"/>
                  </a:lnTo>
                  <a:lnTo>
                    <a:pt x="1188" y="1218"/>
                  </a:lnTo>
                  <a:lnTo>
                    <a:pt x="1194" y="1218"/>
                  </a:lnTo>
                  <a:lnTo>
                    <a:pt x="1194" y="1224"/>
                  </a:lnTo>
                  <a:lnTo>
                    <a:pt x="1200" y="1230"/>
                  </a:lnTo>
                  <a:lnTo>
                    <a:pt x="1200" y="1248"/>
                  </a:lnTo>
                  <a:lnTo>
                    <a:pt x="1212" y="1266"/>
                  </a:lnTo>
                  <a:lnTo>
                    <a:pt x="1218" y="1278"/>
                  </a:lnTo>
                  <a:lnTo>
                    <a:pt x="1224" y="1284"/>
                  </a:lnTo>
                  <a:lnTo>
                    <a:pt x="1236" y="1296"/>
                  </a:lnTo>
                  <a:lnTo>
                    <a:pt x="1242" y="1302"/>
                  </a:lnTo>
                  <a:lnTo>
                    <a:pt x="1242" y="1308"/>
                  </a:lnTo>
                  <a:lnTo>
                    <a:pt x="1272" y="1308"/>
                  </a:lnTo>
                  <a:lnTo>
                    <a:pt x="1296" y="1314"/>
                  </a:lnTo>
                  <a:lnTo>
                    <a:pt x="1320" y="1320"/>
                  </a:lnTo>
                  <a:lnTo>
                    <a:pt x="1338" y="1320"/>
                  </a:lnTo>
                  <a:lnTo>
                    <a:pt x="1356" y="1332"/>
                  </a:lnTo>
                  <a:lnTo>
                    <a:pt x="1368" y="1344"/>
                  </a:lnTo>
                  <a:lnTo>
                    <a:pt x="1374" y="1362"/>
                  </a:lnTo>
                  <a:lnTo>
                    <a:pt x="1368" y="1362"/>
                  </a:lnTo>
                  <a:lnTo>
                    <a:pt x="1368" y="1398"/>
                  </a:lnTo>
                  <a:lnTo>
                    <a:pt x="1368" y="1410"/>
                  </a:lnTo>
                  <a:lnTo>
                    <a:pt x="1368" y="1428"/>
                  </a:lnTo>
                  <a:lnTo>
                    <a:pt x="1368" y="1434"/>
                  </a:lnTo>
                  <a:lnTo>
                    <a:pt x="1368" y="1440"/>
                  </a:lnTo>
                  <a:lnTo>
                    <a:pt x="1374" y="1446"/>
                  </a:lnTo>
                  <a:lnTo>
                    <a:pt x="1374" y="1452"/>
                  </a:lnTo>
                  <a:lnTo>
                    <a:pt x="1380" y="1458"/>
                  </a:lnTo>
                  <a:lnTo>
                    <a:pt x="1386" y="1464"/>
                  </a:lnTo>
                  <a:lnTo>
                    <a:pt x="1386" y="1470"/>
                  </a:lnTo>
                  <a:lnTo>
                    <a:pt x="1380" y="1476"/>
                  </a:lnTo>
                  <a:lnTo>
                    <a:pt x="1374" y="1482"/>
                  </a:lnTo>
                  <a:lnTo>
                    <a:pt x="1362" y="1500"/>
                  </a:lnTo>
                  <a:lnTo>
                    <a:pt x="1362" y="1506"/>
                  </a:lnTo>
                  <a:lnTo>
                    <a:pt x="1362" y="1512"/>
                  </a:lnTo>
                  <a:lnTo>
                    <a:pt x="1362" y="1518"/>
                  </a:lnTo>
                  <a:lnTo>
                    <a:pt x="1362" y="1524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38" y="1548"/>
                  </a:lnTo>
                  <a:lnTo>
                    <a:pt x="1296" y="1548"/>
                  </a:lnTo>
                  <a:lnTo>
                    <a:pt x="1290" y="1554"/>
                  </a:lnTo>
                  <a:lnTo>
                    <a:pt x="1284" y="1560"/>
                  </a:lnTo>
                  <a:lnTo>
                    <a:pt x="1284" y="1566"/>
                  </a:lnTo>
                  <a:lnTo>
                    <a:pt x="1290" y="1578"/>
                  </a:lnTo>
                  <a:lnTo>
                    <a:pt x="1296" y="1590"/>
                  </a:lnTo>
                  <a:lnTo>
                    <a:pt x="1302" y="1590"/>
                  </a:lnTo>
                  <a:lnTo>
                    <a:pt x="1308" y="1596"/>
                  </a:lnTo>
                  <a:lnTo>
                    <a:pt x="1320" y="1602"/>
                  </a:lnTo>
                  <a:lnTo>
                    <a:pt x="1326" y="1602"/>
                  </a:lnTo>
                  <a:lnTo>
                    <a:pt x="1326" y="1608"/>
                  </a:lnTo>
                  <a:lnTo>
                    <a:pt x="1332" y="1614"/>
                  </a:lnTo>
                  <a:lnTo>
                    <a:pt x="1344" y="1620"/>
                  </a:lnTo>
                  <a:lnTo>
                    <a:pt x="1356" y="1626"/>
                  </a:lnTo>
                  <a:lnTo>
                    <a:pt x="1356" y="1632"/>
                  </a:lnTo>
                  <a:lnTo>
                    <a:pt x="1356" y="1638"/>
                  </a:lnTo>
                  <a:lnTo>
                    <a:pt x="1362" y="1644"/>
                  </a:lnTo>
                  <a:lnTo>
                    <a:pt x="1368" y="1644"/>
                  </a:lnTo>
                  <a:lnTo>
                    <a:pt x="1380" y="1650"/>
                  </a:lnTo>
                  <a:lnTo>
                    <a:pt x="1386" y="1650"/>
                  </a:lnTo>
                  <a:lnTo>
                    <a:pt x="1386" y="1656"/>
                  </a:lnTo>
                  <a:lnTo>
                    <a:pt x="1392" y="1656"/>
                  </a:lnTo>
                  <a:lnTo>
                    <a:pt x="1398" y="1662"/>
                  </a:lnTo>
                  <a:lnTo>
                    <a:pt x="1410" y="1674"/>
                  </a:lnTo>
                  <a:lnTo>
                    <a:pt x="1428" y="1680"/>
                  </a:lnTo>
                  <a:lnTo>
                    <a:pt x="1428" y="1686"/>
                  </a:lnTo>
                  <a:lnTo>
                    <a:pt x="1428" y="1698"/>
                  </a:lnTo>
                  <a:lnTo>
                    <a:pt x="1434" y="1704"/>
                  </a:lnTo>
                  <a:lnTo>
                    <a:pt x="1434" y="1710"/>
                  </a:lnTo>
                  <a:lnTo>
                    <a:pt x="1440" y="1710"/>
                  </a:lnTo>
                  <a:lnTo>
                    <a:pt x="1446" y="1710"/>
                  </a:lnTo>
                  <a:lnTo>
                    <a:pt x="1446" y="1716"/>
                  </a:lnTo>
                  <a:lnTo>
                    <a:pt x="1440" y="1722"/>
                  </a:lnTo>
                  <a:lnTo>
                    <a:pt x="1440" y="1728"/>
                  </a:lnTo>
                  <a:lnTo>
                    <a:pt x="1440" y="1734"/>
                  </a:lnTo>
                  <a:lnTo>
                    <a:pt x="1440" y="1740"/>
                  </a:lnTo>
                  <a:lnTo>
                    <a:pt x="1440" y="1746"/>
                  </a:lnTo>
                  <a:lnTo>
                    <a:pt x="1440" y="1788"/>
                  </a:lnTo>
                  <a:lnTo>
                    <a:pt x="1440" y="1800"/>
                  </a:lnTo>
                  <a:lnTo>
                    <a:pt x="1440" y="1806"/>
                  </a:lnTo>
                  <a:lnTo>
                    <a:pt x="1440" y="1836"/>
                  </a:lnTo>
                  <a:lnTo>
                    <a:pt x="1440" y="1848"/>
                  </a:lnTo>
                  <a:lnTo>
                    <a:pt x="1446" y="1848"/>
                  </a:lnTo>
                  <a:lnTo>
                    <a:pt x="1446" y="1854"/>
                  </a:lnTo>
                  <a:lnTo>
                    <a:pt x="1452" y="1848"/>
                  </a:lnTo>
                  <a:lnTo>
                    <a:pt x="1458" y="1854"/>
                  </a:lnTo>
                  <a:lnTo>
                    <a:pt x="1452" y="1860"/>
                  </a:lnTo>
                  <a:lnTo>
                    <a:pt x="1452" y="1866"/>
                  </a:lnTo>
                  <a:lnTo>
                    <a:pt x="1458" y="1872"/>
                  </a:lnTo>
                  <a:lnTo>
                    <a:pt x="1464" y="1884"/>
                  </a:lnTo>
                  <a:lnTo>
                    <a:pt x="1428" y="1878"/>
                  </a:lnTo>
                  <a:lnTo>
                    <a:pt x="1356" y="1890"/>
                  </a:lnTo>
                  <a:lnTo>
                    <a:pt x="1296" y="1926"/>
                  </a:lnTo>
                  <a:lnTo>
                    <a:pt x="1266" y="1944"/>
                  </a:lnTo>
                  <a:lnTo>
                    <a:pt x="1224" y="1944"/>
                  </a:lnTo>
                  <a:lnTo>
                    <a:pt x="1188" y="1956"/>
                  </a:lnTo>
                  <a:lnTo>
                    <a:pt x="1188" y="1950"/>
                  </a:lnTo>
                  <a:lnTo>
                    <a:pt x="1176" y="1944"/>
                  </a:lnTo>
                  <a:lnTo>
                    <a:pt x="1176" y="1938"/>
                  </a:lnTo>
                  <a:lnTo>
                    <a:pt x="1170" y="1938"/>
                  </a:lnTo>
                  <a:lnTo>
                    <a:pt x="1164" y="1932"/>
                  </a:lnTo>
                  <a:lnTo>
                    <a:pt x="1158" y="1926"/>
                  </a:lnTo>
                  <a:lnTo>
                    <a:pt x="1158" y="1920"/>
                  </a:lnTo>
                  <a:lnTo>
                    <a:pt x="1152" y="1920"/>
                  </a:lnTo>
                  <a:lnTo>
                    <a:pt x="1146" y="1914"/>
                  </a:lnTo>
                  <a:lnTo>
                    <a:pt x="1146" y="1908"/>
                  </a:lnTo>
                  <a:lnTo>
                    <a:pt x="1140" y="1908"/>
                  </a:lnTo>
                  <a:lnTo>
                    <a:pt x="1134" y="1902"/>
                  </a:lnTo>
                  <a:lnTo>
                    <a:pt x="1134" y="1896"/>
                  </a:lnTo>
                  <a:lnTo>
                    <a:pt x="1116" y="1896"/>
                  </a:lnTo>
                  <a:lnTo>
                    <a:pt x="1104" y="1884"/>
                  </a:lnTo>
                  <a:lnTo>
                    <a:pt x="1092" y="1860"/>
                  </a:lnTo>
                  <a:lnTo>
                    <a:pt x="1068" y="1854"/>
                  </a:lnTo>
                  <a:lnTo>
                    <a:pt x="1032" y="1842"/>
                  </a:lnTo>
                  <a:lnTo>
                    <a:pt x="1008" y="1836"/>
                  </a:lnTo>
                  <a:lnTo>
                    <a:pt x="978" y="1824"/>
                  </a:lnTo>
                  <a:lnTo>
                    <a:pt x="942" y="1818"/>
                  </a:lnTo>
                  <a:lnTo>
                    <a:pt x="924" y="1806"/>
                  </a:lnTo>
                  <a:lnTo>
                    <a:pt x="906" y="1788"/>
                  </a:lnTo>
                  <a:lnTo>
                    <a:pt x="894" y="1776"/>
                  </a:lnTo>
                  <a:lnTo>
                    <a:pt x="864" y="1758"/>
                  </a:lnTo>
                  <a:lnTo>
                    <a:pt x="834" y="1752"/>
                  </a:lnTo>
                  <a:lnTo>
                    <a:pt x="798" y="1746"/>
                  </a:lnTo>
                  <a:lnTo>
                    <a:pt x="792" y="1806"/>
                  </a:lnTo>
                  <a:lnTo>
                    <a:pt x="798" y="1812"/>
                  </a:lnTo>
                  <a:lnTo>
                    <a:pt x="810" y="1830"/>
                  </a:lnTo>
                  <a:lnTo>
                    <a:pt x="792" y="1842"/>
                  </a:lnTo>
                  <a:lnTo>
                    <a:pt x="768" y="1842"/>
                  </a:lnTo>
                  <a:lnTo>
                    <a:pt x="708" y="1848"/>
                  </a:lnTo>
                  <a:lnTo>
                    <a:pt x="690" y="1860"/>
                  </a:lnTo>
                  <a:lnTo>
                    <a:pt x="690" y="1866"/>
                  </a:lnTo>
                  <a:lnTo>
                    <a:pt x="678" y="1878"/>
                  </a:lnTo>
                  <a:lnTo>
                    <a:pt x="660" y="1884"/>
                  </a:lnTo>
                  <a:lnTo>
                    <a:pt x="660" y="1902"/>
                  </a:lnTo>
                  <a:lnTo>
                    <a:pt x="642" y="1902"/>
                  </a:lnTo>
                  <a:lnTo>
                    <a:pt x="582" y="1914"/>
                  </a:lnTo>
                  <a:lnTo>
                    <a:pt x="534" y="1908"/>
                  </a:lnTo>
                  <a:lnTo>
                    <a:pt x="510" y="1908"/>
                  </a:lnTo>
                  <a:lnTo>
                    <a:pt x="510" y="1896"/>
                  </a:lnTo>
                  <a:lnTo>
                    <a:pt x="492" y="1896"/>
                  </a:lnTo>
                  <a:lnTo>
                    <a:pt x="486" y="1902"/>
                  </a:lnTo>
                  <a:lnTo>
                    <a:pt x="474" y="1908"/>
                  </a:lnTo>
                  <a:lnTo>
                    <a:pt x="450" y="1908"/>
                  </a:lnTo>
                  <a:lnTo>
                    <a:pt x="432" y="1902"/>
                  </a:lnTo>
                  <a:lnTo>
                    <a:pt x="426" y="1896"/>
                  </a:lnTo>
                  <a:lnTo>
                    <a:pt x="402" y="1884"/>
                  </a:lnTo>
                  <a:lnTo>
                    <a:pt x="390" y="1872"/>
                  </a:lnTo>
                  <a:lnTo>
                    <a:pt x="384" y="1872"/>
                  </a:lnTo>
                  <a:lnTo>
                    <a:pt x="378" y="1872"/>
                  </a:lnTo>
                  <a:lnTo>
                    <a:pt x="378" y="1866"/>
                  </a:lnTo>
                  <a:lnTo>
                    <a:pt x="372" y="1860"/>
                  </a:lnTo>
                  <a:lnTo>
                    <a:pt x="372" y="1854"/>
                  </a:lnTo>
                  <a:lnTo>
                    <a:pt x="366" y="1842"/>
                  </a:lnTo>
                  <a:lnTo>
                    <a:pt x="366" y="1836"/>
                  </a:lnTo>
                  <a:lnTo>
                    <a:pt x="348" y="1830"/>
                  </a:lnTo>
                  <a:lnTo>
                    <a:pt x="348" y="1806"/>
                  </a:lnTo>
                  <a:lnTo>
                    <a:pt x="348" y="1800"/>
                  </a:lnTo>
                  <a:lnTo>
                    <a:pt x="348" y="1782"/>
                  </a:lnTo>
                  <a:lnTo>
                    <a:pt x="336" y="1788"/>
                  </a:lnTo>
                  <a:lnTo>
                    <a:pt x="312" y="1794"/>
                  </a:lnTo>
                  <a:lnTo>
                    <a:pt x="288" y="1788"/>
                  </a:lnTo>
                  <a:lnTo>
                    <a:pt x="264" y="1758"/>
                  </a:lnTo>
                  <a:lnTo>
                    <a:pt x="270" y="1758"/>
                  </a:lnTo>
                  <a:lnTo>
                    <a:pt x="270" y="1752"/>
                  </a:lnTo>
                  <a:lnTo>
                    <a:pt x="276" y="1752"/>
                  </a:lnTo>
                  <a:lnTo>
                    <a:pt x="282" y="1746"/>
                  </a:lnTo>
                  <a:lnTo>
                    <a:pt x="300" y="1746"/>
                  </a:lnTo>
                  <a:lnTo>
                    <a:pt x="312" y="1746"/>
                  </a:lnTo>
                  <a:lnTo>
                    <a:pt x="336" y="1710"/>
                  </a:lnTo>
                  <a:lnTo>
                    <a:pt x="342" y="1692"/>
                  </a:lnTo>
                  <a:lnTo>
                    <a:pt x="348" y="1680"/>
                  </a:lnTo>
                  <a:lnTo>
                    <a:pt x="342" y="1650"/>
                  </a:lnTo>
                  <a:lnTo>
                    <a:pt x="354" y="1644"/>
                  </a:lnTo>
                  <a:lnTo>
                    <a:pt x="354" y="1638"/>
                  </a:lnTo>
                  <a:lnTo>
                    <a:pt x="360" y="1632"/>
                  </a:lnTo>
                  <a:lnTo>
                    <a:pt x="354" y="1626"/>
                  </a:lnTo>
                  <a:lnTo>
                    <a:pt x="348" y="1626"/>
                  </a:lnTo>
                  <a:lnTo>
                    <a:pt x="348" y="1620"/>
                  </a:lnTo>
                  <a:lnTo>
                    <a:pt x="342" y="1620"/>
                  </a:lnTo>
                  <a:lnTo>
                    <a:pt x="348" y="1614"/>
                  </a:lnTo>
                  <a:lnTo>
                    <a:pt x="324" y="1566"/>
                  </a:lnTo>
                  <a:lnTo>
                    <a:pt x="318" y="1566"/>
                  </a:lnTo>
                  <a:lnTo>
                    <a:pt x="306" y="1572"/>
                  </a:lnTo>
                  <a:lnTo>
                    <a:pt x="300" y="1572"/>
                  </a:lnTo>
                  <a:lnTo>
                    <a:pt x="294" y="1578"/>
                  </a:lnTo>
                  <a:lnTo>
                    <a:pt x="288" y="1584"/>
                  </a:lnTo>
                  <a:lnTo>
                    <a:pt x="282" y="1584"/>
                  </a:lnTo>
                  <a:lnTo>
                    <a:pt x="282" y="1578"/>
                  </a:lnTo>
                  <a:lnTo>
                    <a:pt x="276" y="1578"/>
                  </a:lnTo>
                  <a:lnTo>
                    <a:pt x="270" y="1578"/>
                  </a:lnTo>
                  <a:lnTo>
                    <a:pt x="264" y="1578"/>
                  </a:lnTo>
                  <a:lnTo>
                    <a:pt x="258" y="1578"/>
                  </a:lnTo>
                  <a:lnTo>
                    <a:pt x="252" y="1578"/>
                  </a:lnTo>
                  <a:lnTo>
                    <a:pt x="252" y="1584"/>
                  </a:lnTo>
                  <a:lnTo>
                    <a:pt x="246" y="1584"/>
                  </a:lnTo>
                  <a:lnTo>
                    <a:pt x="210" y="1584"/>
                  </a:lnTo>
                  <a:lnTo>
                    <a:pt x="204" y="1584"/>
                  </a:lnTo>
                  <a:lnTo>
                    <a:pt x="192" y="1584"/>
                  </a:lnTo>
                  <a:lnTo>
                    <a:pt x="168" y="1596"/>
                  </a:lnTo>
                  <a:lnTo>
                    <a:pt x="156" y="1572"/>
                  </a:lnTo>
                  <a:lnTo>
                    <a:pt x="156" y="1566"/>
                  </a:lnTo>
                  <a:lnTo>
                    <a:pt x="156" y="1560"/>
                  </a:lnTo>
                  <a:lnTo>
                    <a:pt x="162" y="1548"/>
                  </a:lnTo>
                  <a:lnTo>
                    <a:pt x="162" y="1542"/>
                  </a:lnTo>
                  <a:lnTo>
                    <a:pt x="162" y="1536"/>
                  </a:lnTo>
                  <a:lnTo>
                    <a:pt x="168" y="1530"/>
                  </a:lnTo>
                  <a:lnTo>
                    <a:pt x="168" y="1524"/>
                  </a:lnTo>
                  <a:lnTo>
                    <a:pt x="168" y="1518"/>
                  </a:lnTo>
                  <a:lnTo>
                    <a:pt x="174" y="1518"/>
                  </a:lnTo>
                  <a:lnTo>
                    <a:pt x="174" y="1506"/>
                  </a:lnTo>
                  <a:lnTo>
                    <a:pt x="156" y="1470"/>
                  </a:lnTo>
                  <a:lnTo>
                    <a:pt x="138" y="1464"/>
                  </a:lnTo>
                  <a:lnTo>
                    <a:pt x="126" y="1446"/>
                  </a:lnTo>
                  <a:lnTo>
                    <a:pt x="126" y="1440"/>
                  </a:lnTo>
                  <a:lnTo>
                    <a:pt x="126" y="1434"/>
                  </a:lnTo>
                  <a:lnTo>
                    <a:pt x="120" y="1428"/>
                  </a:lnTo>
                  <a:lnTo>
                    <a:pt x="126" y="1398"/>
                  </a:lnTo>
                  <a:lnTo>
                    <a:pt x="120" y="1374"/>
                  </a:lnTo>
                  <a:lnTo>
                    <a:pt x="60" y="1374"/>
                  </a:lnTo>
                  <a:lnTo>
                    <a:pt x="60" y="1368"/>
                  </a:lnTo>
                  <a:lnTo>
                    <a:pt x="54" y="1362"/>
                  </a:lnTo>
                  <a:lnTo>
                    <a:pt x="48" y="1356"/>
                  </a:lnTo>
                  <a:lnTo>
                    <a:pt x="42" y="1356"/>
                  </a:lnTo>
                  <a:lnTo>
                    <a:pt x="42" y="1350"/>
                  </a:lnTo>
                  <a:lnTo>
                    <a:pt x="36" y="1344"/>
                  </a:lnTo>
                  <a:lnTo>
                    <a:pt x="36" y="1338"/>
                  </a:lnTo>
                  <a:lnTo>
                    <a:pt x="30" y="1332"/>
                  </a:lnTo>
                  <a:lnTo>
                    <a:pt x="30" y="1326"/>
                  </a:lnTo>
                  <a:lnTo>
                    <a:pt x="18" y="1326"/>
                  </a:lnTo>
                  <a:lnTo>
                    <a:pt x="18" y="1320"/>
                  </a:lnTo>
                  <a:lnTo>
                    <a:pt x="18" y="1326"/>
                  </a:lnTo>
                  <a:lnTo>
                    <a:pt x="6" y="1320"/>
                  </a:lnTo>
                  <a:lnTo>
                    <a:pt x="0" y="1314"/>
                  </a:lnTo>
                  <a:lnTo>
                    <a:pt x="12" y="1266"/>
                  </a:lnTo>
                  <a:lnTo>
                    <a:pt x="6" y="1242"/>
                  </a:lnTo>
                  <a:lnTo>
                    <a:pt x="12" y="1236"/>
                  </a:lnTo>
                  <a:lnTo>
                    <a:pt x="12" y="1230"/>
                  </a:lnTo>
                  <a:lnTo>
                    <a:pt x="18" y="1230"/>
                  </a:lnTo>
                  <a:lnTo>
                    <a:pt x="18" y="1224"/>
                  </a:lnTo>
                  <a:lnTo>
                    <a:pt x="24" y="1218"/>
                  </a:lnTo>
                  <a:lnTo>
                    <a:pt x="24" y="1212"/>
                  </a:lnTo>
                  <a:lnTo>
                    <a:pt x="30" y="1212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48" y="1188"/>
                  </a:lnTo>
                  <a:lnTo>
                    <a:pt x="48" y="1182"/>
                  </a:lnTo>
                  <a:lnTo>
                    <a:pt x="48" y="1176"/>
                  </a:lnTo>
                  <a:lnTo>
                    <a:pt x="48" y="1170"/>
                  </a:lnTo>
                  <a:lnTo>
                    <a:pt x="54" y="1170"/>
                  </a:lnTo>
                  <a:lnTo>
                    <a:pt x="60" y="1164"/>
                  </a:lnTo>
                  <a:lnTo>
                    <a:pt x="60" y="1158"/>
                  </a:lnTo>
                  <a:lnTo>
                    <a:pt x="66" y="1152"/>
                  </a:lnTo>
                  <a:lnTo>
                    <a:pt x="60" y="1140"/>
                  </a:lnTo>
                  <a:lnTo>
                    <a:pt x="60" y="1134"/>
                  </a:lnTo>
                  <a:lnTo>
                    <a:pt x="54" y="1134"/>
                  </a:lnTo>
                  <a:lnTo>
                    <a:pt x="54" y="1128"/>
                  </a:lnTo>
                  <a:lnTo>
                    <a:pt x="48" y="1122"/>
                  </a:lnTo>
                  <a:lnTo>
                    <a:pt x="48" y="1116"/>
                  </a:lnTo>
                  <a:lnTo>
                    <a:pt x="48" y="1110"/>
                  </a:lnTo>
                  <a:lnTo>
                    <a:pt x="42" y="1104"/>
                  </a:lnTo>
                  <a:lnTo>
                    <a:pt x="42" y="1098"/>
                  </a:lnTo>
                  <a:lnTo>
                    <a:pt x="36" y="1092"/>
                  </a:lnTo>
                  <a:lnTo>
                    <a:pt x="30" y="1092"/>
                  </a:lnTo>
                  <a:lnTo>
                    <a:pt x="24" y="1092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18" y="1080"/>
                  </a:lnTo>
                  <a:lnTo>
                    <a:pt x="18" y="1074"/>
                  </a:lnTo>
                  <a:lnTo>
                    <a:pt x="12" y="1068"/>
                  </a:lnTo>
                  <a:lnTo>
                    <a:pt x="6" y="1068"/>
                  </a:lnTo>
                  <a:lnTo>
                    <a:pt x="12" y="1056"/>
                  </a:lnTo>
                  <a:lnTo>
                    <a:pt x="6" y="1056"/>
                  </a:lnTo>
                  <a:lnTo>
                    <a:pt x="6" y="1050"/>
                  </a:lnTo>
                  <a:lnTo>
                    <a:pt x="6" y="1044"/>
                  </a:lnTo>
                  <a:lnTo>
                    <a:pt x="6" y="1026"/>
                  </a:lnTo>
                  <a:lnTo>
                    <a:pt x="12" y="1020"/>
                  </a:lnTo>
                  <a:lnTo>
                    <a:pt x="12" y="1014"/>
                  </a:lnTo>
                  <a:lnTo>
                    <a:pt x="18" y="1014"/>
                  </a:lnTo>
                  <a:lnTo>
                    <a:pt x="18" y="1008"/>
                  </a:lnTo>
                  <a:lnTo>
                    <a:pt x="18" y="1002"/>
                  </a:lnTo>
                  <a:lnTo>
                    <a:pt x="18" y="990"/>
                  </a:lnTo>
                  <a:lnTo>
                    <a:pt x="12" y="972"/>
                  </a:lnTo>
                  <a:lnTo>
                    <a:pt x="18" y="954"/>
                  </a:lnTo>
                  <a:lnTo>
                    <a:pt x="18" y="948"/>
                  </a:lnTo>
                  <a:lnTo>
                    <a:pt x="24" y="948"/>
                  </a:lnTo>
                  <a:lnTo>
                    <a:pt x="24" y="930"/>
                  </a:lnTo>
                  <a:lnTo>
                    <a:pt x="30" y="930"/>
                  </a:lnTo>
                  <a:lnTo>
                    <a:pt x="36" y="918"/>
                  </a:lnTo>
                  <a:lnTo>
                    <a:pt x="42" y="918"/>
                  </a:lnTo>
                  <a:lnTo>
                    <a:pt x="48" y="918"/>
                  </a:lnTo>
                  <a:lnTo>
                    <a:pt x="78" y="912"/>
                  </a:lnTo>
                  <a:lnTo>
                    <a:pt x="90" y="894"/>
                  </a:lnTo>
                  <a:lnTo>
                    <a:pt x="96" y="894"/>
                  </a:lnTo>
                  <a:lnTo>
                    <a:pt x="102" y="888"/>
                  </a:lnTo>
                  <a:lnTo>
                    <a:pt x="102" y="882"/>
                  </a:lnTo>
                  <a:lnTo>
                    <a:pt x="114" y="870"/>
                  </a:lnTo>
                  <a:lnTo>
                    <a:pt x="120" y="864"/>
                  </a:lnTo>
                  <a:lnTo>
                    <a:pt x="120" y="852"/>
                  </a:lnTo>
                  <a:lnTo>
                    <a:pt x="120" y="846"/>
                  </a:lnTo>
                  <a:lnTo>
                    <a:pt x="126" y="846"/>
                  </a:lnTo>
                  <a:lnTo>
                    <a:pt x="126" y="840"/>
                  </a:lnTo>
                  <a:lnTo>
                    <a:pt x="132" y="840"/>
                  </a:lnTo>
                  <a:lnTo>
                    <a:pt x="138" y="840"/>
                  </a:lnTo>
                  <a:lnTo>
                    <a:pt x="138" y="834"/>
                  </a:lnTo>
                  <a:lnTo>
                    <a:pt x="144" y="834"/>
                  </a:lnTo>
                  <a:lnTo>
                    <a:pt x="144" y="828"/>
                  </a:lnTo>
                  <a:lnTo>
                    <a:pt x="150" y="828"/>
                  </a:lnTo>
                  <a:lnTo>
                    <a:pt x="156" y="822"/>
                  </a:lnTo>
                  <a:lnTo>
                    <a:pt x="162" y="816"/>
                  </a:lnTo>
                  <a:lnTo>
                    <a:pt x="162" y="822"/>
                  </a:lnTo>
                  <a:lnTo>
                    <a:pt x="162" y="816"/>
                  </a:lnTo>
                  <a:lnTo>
                    <a:pt x="162" y="810"/>
                  </a:lnTo>
                  <a:lnTo>
                    <a:pt x="168" y="810"/>
                  </a:lnTo>
                  <a:lnTo>
                    <a:pt x="174" y="804"/>
                  </a:lnTo>
                  <a:lnTo>
                    <a:pt x="180" y="798"/>
                  </a:lnTo>
                  <a:lnTo>
                    <a:pt x="180" y="786"/>
                  </a:lnTo>
                  <a:lnTo>
                    <a:pt x="186" y="786"/>
                  </a:lnTo>
                  <a:lnTo>
                    <a:pt x="192" y="786"/>
                  </a:lnTo>
                  <a:lnTo>
                    <a:pt x="192" y="780"/>
                  </a:lnTo>
                  <a:lnTo>
                    <a:pt x="198" y="780"/>
                  </a:lnTo>
                  <a:lnTo>
                    <a:pt x="204" y="774"/>
                  </a:lnTo>
                  <a:lnTo>
                    <a:pt x="210" y="774"/>
                  </a:lnTo>
                  <a:lnTo>
                    <a:pt x="216" y="768"/>
                  </a:lnTo>
                  <a:lnTo>
                    <a:pt x="222" y="762"/>
                  </a:lnTo>
                  <a:lnTo>
                    <a:pt x="228" y="762"/>
                  </a:lnTo>
                  <a:lnTo>
                    <a:pt x="228" y="768"/>
                  </a:lnTo>
                  <a:lnTo>
                    <a:pt x="234" y="768"/>
                  </a:lnTo>
                  <a:lnTo>
                    <a:pt x="240" y="762"/>
                  </a:lnTo>
                  <a:lnTo>
                    <a:pt x="252" y="762"/>
                  </a:lnTo>
                  <a:lnTo>
                    <a:pt x="264" y="768"/>
                  </a:lnTo>
                  <a:lnTo>
                    <a:pt x="294" y="756"/>
                  </a:lnTo>
                  <a:lnTo>
                    <a:pt x="294" y="750"/>
                  </a:lnTo>
                  <a:lnTo>
                    <a:pt x="300" y="750"/>
                  </a:lnTo>
                  <a:lnTo>
                    <a:pt x="306" y="744"/>
                  </a:lnTo>
                  <a:lnTo>
                    <a:pt x="342" y="750"/>
                  </a:lnTo>
                  <a:lnTo>
                    <a:pt x="348" y="750"/>
                  </a:lnTo>
                  <a:lnTo>
                    <a:pt x="348" y="744"/>
                  </a:lnTo>
                  <a:lnTo>
                    <a:pt x="354" y="744"/>
                  </a:lnTo>
                  <a:lnTo>
                    <a:pt x="360" y="744"/>
                  </a:lnTo>
                  <a:lnTo>
                    <a:pt x="360" y="750"/>
                  </a:lnTo>
                  <a:lnTo>
                    <a:pt x="366" y="750"/>
                  </a:lnTo>
                  <a:lnTo>
                    <a:pt x="366" y="744"/>
                  </a:lnTo>
                  <a:lnTo>
                    <a:pt x="366" y="738"/>
                  </a:lnTo>
                  <a:lnTo>
                    <a:pt x="372" y="744"/>
                  </a:lnTo>
                  <a:lnTo>
                    <a:pt x="378" y="744"/>
                  </a:lnTo>
                  <a:lnTo>
                    <a:pt x="384" y="750"/>
                  </a:lnTo>
                  <a:lnTo>
                    <a:pt x="444" y="774"/>
                  </a:lnTo>
                  <a:lnTo>
                    <a:pt x="450" y="774"/>
                  </a:lnTo>
                  <a:lnTo>
                    <a:pt x="456" y="768"/>
                  </a:lnTo>
                  <a:lnTo>
                    <a:pt x="462" y="768"/>
                  </a:lnTo>
                  <a:lnTo>
                    <a:pt x="462" y="762"/>
                  </a:lnTo>
                  <a:lnTo>
                    <a:pt x="468" y="762"/>
                  </a:lnTo>
                  <a:lnTo>
                    <a:pt x="474" y="756"/>
                  </a:lnTo>
                  <a:lnTo>
                    <a:pt x="480" y="750"/>
                  </a:lnTo>
                  <a:lnTo>
                    <a:pt x="516" y="756"/>
                  </a:lnTo>
                  <a:lnTo>
                    <a:pt x="522" y="756"/>
                  </a:lnTo>
                  <a:lnTo>
                    <a:pt x="522" y="762"/>
                  </a:lnTo>
                  <a:lnTo>
                    <a:pt x="522" y="768"/>
                  </a:lnTo>
                  <a:lnTo>
                    <a:pt x="522" y="774"/>
                  </a:lnTo>
                  <a:lnTo>
                    <a:pt x="528" y="780"/>
                  </a:lnTo>
                  <a:lnTo>
                    <a:pt x="540" y="780"/>
                  </a:lnTo>
                  <a:lnTo>
                    <a:pt x="540" y="804"/>
                  </a:lnTo>
                  <a:lnTo>
                    <a:pt x="540" y="810"/>
                  </a:lnTo>
                  <a:lnTo>
                    <a:pt x="546" y="810"/>
                  </a:lnTo>
                  <a:lnTo>
                    <a:pt x="552" y="810"/>
                  </a:lnTo>
                  <a:lnTo>
                    <a:pt x="558" y="810"/>
                  </a:lnTo>
                  <a:lnTo>
                    <a:pt x="564" y="810"/>
                  </a:lnTo>
                  <a:lnTo>
                    <a:pt x="570" y="810"/>
                  </a:lnTo>
                  <a:lnTo>
                    <a:pt x="576" y="810"/>
                  </a:lnTo>
                  <a:lnTo>
                    <a:pt x="576" y="816"/>
                  </a:lnTo>
                  <a:lnTo>
                    <a:pt x="588" y="816"/>
                  </a:lnTo>
                  <a:lnTo>
                    <a:pt x="594" y="816"/>
                  </a:lnTo>
                  <a:lnTo>
                    <a:pt x="600" y="822"/>
                  </a:lnTo>
                  <a:lnTo>
                    <a:pt x="606" y="816"/>
                  </a:lnTo>
                  <a:lnTo>
                    <a:pt x="612" y="816"/>
                  </a:lnTo>
                  <a:lnTo>
                    <a:pt x="612" y="810"/>
                  </a:lnTo>
                  <a:lnTo>
                    <a:pt x="624" y="810"/>
                  </a:lnTo>
                  <a:lnTo>
                    <a:pt x="624" y="804"/>
                  </a:lnTo>
                  <a:lnTo>
                    <a:pt x="630" y="798"/>
                  </a:lnTo>
                  <a:lnTo>
                    <a:pt x="636" y="798"/>
                  </a:lnTo>
                  <a:lnTo>
                    <a:pt x="636" y="804"/>
                  </a:lnTo>
                  <a:lnTo>
                    <a:pt x="642" y="804"/>
                  </a:lnTo>
                  <a:lnTo>
                    <a:pt x="648" y="804"/>
                  </a:lnTo>
                  <a:lnTo>
                    <a:pt x="654" y="804"/>
                  </a:lnTo>
                  <a:lnTo>
                    <a:pt x="660" y="804"/>
                  </a:lnTo>
                  <a:lnTo>
                    <a:pt x="678" y="798"/>
                  </a:lnTo>
                  <a:lnTo>
                    <a:pt x="714" y="786"/>
                  </a:lnTo>
                  <a:lnTo>
                    <a:pt x="714" y="792"/>
                  </a:lnTo>
                  <a:lnTo>
                    <a:pt x="714" y="798"/>
                  </a:lnTo>
                  <a:lnTo>
                    <a:pt x="714" y="804"/>
                  </a:lnTo>
                  <a:lnTo>
                    <a:pt x="720" y="804"/>
                  </a:lnTo>
                  <a:lnTo>
                    <a:pt x="720" y="810"/>
                  </a:lnTo>
                  <a:lnTo>
                    <a:pt x="720" y="816"/>
                  </a:lnTo>
                  <a:lnTo>
                    <a:pt x="726" y="822"/>
                  </a:lnTo>
                  <a:lnTo>
                    <a:pt x="732" y="828"/>
                  </a:lnTo>
                  <a:lnTo>
                    <a:pt x="732" y="834"/>
                  </a:lnTo>
                  <a:lnTo>
                    <a:pt x="732" y="846"/>
                  </a:lnTo>
                  <a:lnTo>
                    <a:pt x="732" y="858"/>
                  </a:lnTo>
                  <a:lnTo>
                    <a:pt x="738" y="858"/>
                  </a:lnTo>
                  <a:lnTo>
                    <a:pt x="732" y="864"/>
                  </a:lnTo>
                  <a:lnTo>
                    <a:pt x="732" y="870"/>
                  </a:lnTo>
                  <a:lnTo>
                    <a:pt x="726" y="870"/>
                  </a:lnTo>
                  <a:lnTo>
                    <a:pt x="726" y="876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0" y="882"/>
                  </a:lnTo>
                  <a:lnTo>
                    <a:pt x="690" y="912"/>
                  </a:lnTo>
                  <a:lnTo>
                    <a:pt x="696" y="936"/>
                  </a:lnTo>
                  <a:lnTo>
                    <a:pt x="702" y="936"/>
                  </a:lnTo>
                  <a:lnTo>
                    <a:pt x="702" y="930"/>
                  </a:lnTo>
                  <a:lnTo>
                    <a:pt x="708" y="930"/>
                  </a:lnTo>
                  <a:lnTo>
                    <a:pt x="708" y="924"/>
                  </a:lnTo>
                  <a:lnTo>
                    <a:pt x="708" y="918"/>
                  </a:lnTo>
                  <a:lnTo>
                    <a:pt x="714" y="918"/>
                  </a:lnTo>
                  <a:lnTo>
                    <a:pt x="720" y="954"/>
                  </a:lnTo>
                  <a:lnTo>
                    <a:pt x="726" y="966"/>
                  </a:lnTo>
                  <a:lnTo>
                    <a:pt x="744" y="966"/>
                  </a:lnTo>
                  <a:lnTo>
                    <a:pt x="756" y="972"/>
                  </a:lnTo>
                  <a:lnTo>
                    <a:pt x="792" y="990"/>
                  </a:lnTo>
                  <a:lnTo>
                    <a:pt x="828" y="978"/>
                  </a:lnTo>
                  <a:lnTo>
                    <a:pt x="834" y="978"/>
                  </a:lnTo>
                  <a:lnTo>
                    <a:pt x="840" y="978"/>
                  </a:lnTo>
                  <a:lnTo>
                    <a:pt x="840" y="984"/>
                  </a:lnTo>
                  <a:lnTo>
                    <a:pt x="846" y="984"/>
                  </a:lnTo>
                  <a:lnTo>
                    <a:pt x="858" y="972"/>
                  </a:lnTo>
                  <a:lnTo>
                    <a:pt x="882" y="972"/>
                  </a:lnTo>
                  <a:lnTo>
                    <a:pt x="888" y="984"/>
                  </a:lnTo>
                  <a:lnTo>
                    <a:pt x="900" y="990"/>
                  </a:lnTo>
                  <a:lnTo>
                    <a:pt x="924" y="996"/>
                  </a:lnTo>
                  <a:lnTo>
                    <a:pt x="930" y="990"/>
                  </a:lnTo>
                  <a:lnTo>
                    <a:pt x="930" y="984"/>
                  </a:lnTo>
                  <a:lnTo>
                    <a:pt x="924" y="978"/>
                  </a:lnTo>
                  <a:lnTo>
                    <a:pt x="906" y="972"/>
                  </a:lnTo>
                  <a:lnTo>
                    <a:pt x="900" y="966"/>
                  </a:lnTo>
                  <a:lnTo>
                    <a:pt x="900" y="960"/>
                  </a:lnTo>
                  <a:lnTo>
                    <a:pt x="900" y="954"/>
                  </a:lnTo>
                  <a:lnTo>
                    <a:pt x="900" y="948"/>
                  </a:lnTo>
                  <a:lnTo>
                    <a:pt x="912" y="936"/>
                  </a:lnTo>
                  <a:lnTo>
                    <a:pt x="912" y="924"/>
                  </a:lnTo>
                  <a:lnTo>
                    <a:pt x="918" y="924"/>
                  </a:lnTo>
                  <a:lnTo>
                    <a:pt x="918" y="918"/>
                  </a:lnTo>
                  <a:lnTo>
                    <a:pt x="936" y="906"/>
                  </a:lnTo>
                  <a:lnTo>
                    <a:pt x="942" y="906"/>
                  </a:lnTo>
                  <a:lnTo>
                    <a:pt x="948" y="906"/>
                  </a:lnTo>
                  <a:lnTo>
                    <a:pt x="954" y="906"/>
                  </a:lnTo>
                  <a:lnTo>
                    <a:pt x="960" y="906"/>
                  </a:lnTo>
                  <a:lnTo>
                    <a:pt x="966" y="912"/>
                  </a:lnTo>
                  <a:lnTo>
                    <a:pt x="972" y="906"/>
                  </a:lnTo>
                  <a:lnTo>
                    <a:pt x="978" y="906"/>
                  </a:lnTo>
                  <a:lnTo>
                    <a:pt x="984" y="900"/>
                  </a:lnTo>
                  <a:lnTo>
                    <a:pt x="984" y="894"/>
                  </a:lnTo>
                  <a:lnTo>
                    <a:pt x="990" y="894"/>
                  </a:lnTo>
                  <a:lnTo>
                    <a:pt x="996" y="888"/>
                  </a:lnTo>
                  <a:lnTo>
                    <a:pt x="1002" y="888"/>
                  </a:lnTo>
                  <a:lnTo>
                    <a:pt x="1008" y="882"/>
                  </a:lnTo>
                  <a:lnTo>
                    <a:pt x="1014" y="882"/>
                  </a:lnTo>
                  <a:lnTo>
                    <a:pt x="1020" y="882"/>
                  </a:lnTo>
                  <a:lnTo>
                    <a:pt x="1020" y="888"/>
                  </a:lnTo>
                  <a:lnTo>
                    <a:pt x="1026" y="882"/>
                  </a:lnTo>
                  <a:lnTo>
                    <a:pt x="1026" y="876"/>
                  </a:lnTo>
                  <a:lnTo>
                    <a:pt x="1026" y="870"/>
                  </a:lnTo>
                  <a:lnTo>
                    <a:pt x="1032" y="864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44" y="852"/>
                  </a:lnTo>
                  <a:lnTo>
                    <a:pt x="1038" y="846"/>
                  </a:lnTo>
                  <a:lnTo>
                    <a:pt x="1038" y="840"/>
                  </a:lnTo>
                  <a:lnTo>
                    <a:pt x="1032" y="840"/>
                  </a:lnTo>
                  <a:lnTo>
                    <a:pt x="1026" y="840"/>
                  </a:lnTo>
                  <a:lnTo>
                    <a:pt x="1020" y="840"/>
                  </a:lnTo>
                  <a:lnTo>
                    <a:pt x="1014" y="846"/>
                  </a:lnTo>
                  <a:lnTo>
                    <a:pt x="1008" y="846"/>
                  </a:lnTo>
                  <a:lnTo>
                    <a:pt x="1002" y="840"/>
                  </a:lnTo>
                  <a:lnTo>
                    <a:pt x="996" y="840"/>
                  </a:lnTo>
                  <a:lnTo>
                    <a:pt x="990" y="834"/>
                  </a:lnTo>
                  <a:lnTo>
                    <a:pt x="984" y="834"/>
                  </a:lnTo>
                  <a:lnTo>
                    <a:pt x="978" y="834"/>
                  </a:lnTo>
                  <a:lnTo>
                    <a:pt x="972" y="834"/>
                  </a:lnTo>
                  <a:lnTo>
                    <a:pt x="966" y="834"/>
                  </a:lnTo>
                  <a:lnTo>
                    <a:pt x="966" y="828"/>
                  </a:lnTo>
                  <a:lnTo>
                    <a:pt x="960" y="828"/>
                  </a:lnTo>
                  <a:lnTo>
                    <a:pt x="954" y="828"/>
                  </a:lnTo>
                  <a:lnTo>
                    <a:pt x="942" y="828"/>
                  </a:lnTo>
                  <a:lnTo>
                    <a:pt x="936" y="828"/>
                  </a:lnTo>
                  <a:lnTo>
                    <a:pt x="930" y="828"/>
                  </a:lnTo>
                  <a:lnTo>
                    <a:pt x="918" y="828"/>
                  </a:lnTo>
                  <a:lnTo>
                    <a:pt x="918" y="822"/>
                  </a:lnTo>
                  <a:lnTo>
                    <a:pt x="912" y="828"/>
                  </a:lnTo>
                  <a:lnTo>
                    <a:pt x="912" y="822"/>
                  </a:lnTo>
                  <a:lnTo>
                    <a:pt x="906" y="816"/>
                  </a:lnTo>
                  <a:lnTo>
                    <a:pt x="900" y="816"/>
                  </a:lnTo>
                  <a:lnTo>
                    <a:pt x="894" y="816"/>
                  </a:lnTo>
                  <a:lnTo>
                    <a:pt x="888" y="816"/>
                  </a:lnTo>
                  <a:lnTo>
                    <a:pt x="882" y="816"/>
                  </a:lnTo>
                  <a:lnTo>
                    <a:pt x="882" y="810"/>
                  </a:lnTo>
                  <a:lnTo>
                    <a:pt x="876" y="804"/>
                  </a:lnTo>
                  <a:lnTo>
                    <a:pt x="870" y="804"/>
                  </a:lnTo>
                  <a:lnTo>
                    <a:pt x="864" y="798"/>
                  </a:lnTo>
                  <a:lnTo>
                    <a:pt x="858" y="798"/>
                  </a:lnTo>
                  <a:lnTo>
                    <a:pt x="858" y="804"/>
                  </a:lnTo>
                  <a:lnTo>
                    <a:pt x="852" y="804"/>
                  </a:lnTo>
                  <a:lnTo>
                    <a:pt x="846" y="804"/>
                  </a:lnTo>
                  <a:lnTo>
                    <a:pt x="846" y="798"/>
                  </a:lnTo>
                  <a:lnTo>
                    <a:pt x="840" y="804"/>
                  </a:lnTo>
                  <a:lnTo>
                    <a:pt x="834" y="804"/>
                  </a:lnTo>
                  <a:lnTo>
                    <a:pt x="828" y="804"/>
                  </a:lnTo>
                  <a:lnTo>
                    <a:pt x="828" y="810"/>
                  </a:lnTo>
                  <a:lnTo>
                    <a:pt x="822" y="810"/>
                  </a:lnTo>
                  <a:lnTo>
                    <a:pt x="810" y="804"/>
                  </a:lnTo>
                  <a:lnTo>
                    <a:pt x="810" y="798"/>
                  </a:lnTo>
                  <a:lnTo>
                    <a:pt x="780" y="798"/>
                  </a:lnTo>
                  <a:lnTo>
                    <a:pt x="756" y="774"/>
                  </a:lnTo>
                  <a:lnTo>
                    <a:pt x="750" y="768"/>
                  </a:lnTo>
                  <a:lnTo>
                    <a:pt x="750" y="744"/>
                  </a:lnTo>
                  <a:lnTo>
                    <a:pt x="732" y="738"/>
                  </a:lnTo>
                  <a:lnTo>
                    <a:pt x="732" y="720"/>
                  </a:lnTo>
                  <a:lnTo>
                    <a:pt x="714" y="690"/>
                  </a:lnTo>
                  <a:lnTo>
                    <a:pt x="702" y="684"/>
                  </a:lnTo>
                  <a:lnTo>
                    <a:pt x="696" y="684"/>
                  </a:lnTo>
                  <a:lnTo>
                    <a:pt x="696" y="666"/>
                  </a:lnTo>
                  <a:lnTo>
                    <a:pt x="690" y="666"/>
                  </a:lnTo>
                  <a:lnTo>
                    <a:pt x="678" y="672"/>
                  </a:lnTo>
                  <a:lnTo>
                    <a:pt x="678" y="654"/>
                  </a:lnTo>
                  <a:lnTo>
                    <a:pt x="684" y="630"/>
                  </a:lnTo>
                  <a:lnTo>
                    <a:pt x="690" y="618"/>
                  </a:lnTo>
                  <a:lnTo>
                    <a:pt x="696" y="612"/>
                  </a:lnTo>
                  <a:lnTo>
                    <a:pt x="696" y="588"/>
                  </a:lnTo>
                  <a:lnTo>
                    <a:pt x="690" y="576"/>
                  </a:lnTo>
                  <a:lnTo>
                    <a:pt x="696" y="552"/>
                  </a:lnTo>
                  <a:lnTo>
                    <a:pt x="684" y="522"/>
                  </a:lnTo>
                  <a:lnTo>
                    <a:pt x="672" y="504"/>
                  </a:lnTo>
                  <a:lnTo>
                    <a:pt x="654" y="504"/>
                  </a:lnTo>
                  <a:lnTo>
                    <a:pt x="642" y="504"/>
                  </a:lnTo>
                  <a:lnTo>
                    <a:pt x="624" y="510"/>
                  </a:lnTo>
                  <a:lnTo>
                    <a:pt x="612" y="516"/>
                  </a:lnTo>
                  <a:lnTo>
                    <a:pt x="594" y="516"/>
                  </a:lnTo>
                  <a:lnTo>
                    <a:pt x="588" y="516"/>
                  </a:lnTo>
                  <a:lnTo>
                    <a:pt x="588" y="522"/>
                  </a:lnTo>
                  <a:lnTo>
                    <a:pt x="582" y="516"/>
                  </a:lnTo>
                  <a:lnTo>
                    <a:pt x="588" y="510"/>
                  </a:lnTo>
                  <a:lnTo>
                    <a:pt x="582" y="510"/>
                  </a:lnTo>
                  <a:lnTo>
                    <a:pt x="582" y="504"/>
                  </a:lnTo>
                  <a:lnTo>
                    <a:pt x="576" y="498"/>
                  </a:lnTo>
                  <a:lnTo>
                    <a:pt x="570" y="498"/>
                  </a:lnTo>
                  <a:lnTo>
                    <a:pt x="570" y="492"/>
                  </a:lnTo>
                  <a:lnTo>
                    <a:pt x="564" y="492"/>
                  </a:lnTo>
                  <a:lnTo>
                    <a:pt x="570" y="486"/>
                  </a:lnTo>
                  <a:lnTo>
                    <a:pt x="564" y="486"/>
                  </a:lnTo>
                  <a:lnTo>
                    <a:pt x="564" y="480"/>
                  </a:lnTo>
                  <a:lnTo>
                    <a:pt x="564" y="474"/>
                  </a:lnTo>
                  <a:lnTo>
                    <a:pt x="558" y="468"/>
                  </a:lnTo>
                  <a:lnTo>
                    <a:pt x="564" y="468"/>
                  </a:lnTo>
                  <a:lnTo>
                    <a:pt x="564" y="462"/>
                  </a:lnTo>
                  <a:lnTo>
                    <a:pt x="570" y="462"/>
                  </a:lnTo>
                  <a:lnTo>
                    <a:pt x="570" y="456"/>
                  </a:lnTo>
                  <a:lnTo>
                    <a:pt x="570" y="450"/>
                  </a:lnTo>
                  <a:lnTo>
                    <a:pt x="576" y="450"/>
                  </a:lnTo>
                  <a:lnTo>
                    <a:pt x="576" y="444"/>
                  </a:lnTo>
                  <a:lnTo>
                    <a:pt x="582" y="438"/>
                  </a:lnTo>
                  <a:lnTo>
                    <a:pt x="588" y="438"/>
                  </a:lnTo>
                  <a:lnTo>
                    <a:pt x="588" y="444"/>
                  </a:lnTo>
                  <a:lnTo>
                    <a:pt x="594" y="438"/>
                  </a:lnTo>
                  <a:lnTo>
                    <a:pt x="594" y="432"/>
                  </a:lnTo>
                  <a:lnTo>
                    <a:pt x="600" y="432"/>
                  </a:lnTo>
                  <a:lnTo>
                    <a:pt x="600" y="426"/>
                  </a:lnTo>
                  <a:lnTo>
                    <a:pt x="600" y="420"/>
                  </a:lnTo>
                  <a:lnTo>
                    <a:pt x="606" y="420"/>
                  </a:lnTo>
                  <a:lnTo>
                    <a:pt x="600" y="420"/>
                  </a:lnTo>
                  <a:lnTo>
                    <a:pt x="600" y="414"/>
                  </a:lnTo>
                  <a:lnTo>
                    <a:pt x="606" y="408"/>
                  </a:lnTo>
                  <a:lnTo>
                    <a:pt x="612" y="408"/>
                  </a:lnTo>
                  <a:lnTo>
                    <a:pt x="612" y="414"/>
                  </a:lnTo>
                  <a:lnTo>
                    <a:pt x="618" y="414"/>
                  </a:lnTo>
                  <a:lnTo>
                    <a:pt x="624" y="414"/>
                  </a:lnTo>
                  <a:lnTo>
                    <a:pt x="630" y="414"/>
                  </a:lnTo>
                  <a:lnTo>
                    <a:pt x="636" y="414"/>
                  </a:lnTo>
                  <a:lnTo>
                    <a:pt x="642" y="408"/>
                  </a:lnTo>
                  <a:lnTo>
                    <a:pt x="648" y="408"/>
                  </a:lnTo>
                  <a:lnTo>
                    <a:pt x="660" y="408"/>
                  </a:lnTo>
                  <a:lnTo>
                    <a:pt x="666" y="402"/>
                  </a:lnTo>
                  <a:lnTo>
                    <a:pt x="672" y="402"/>
                  </a:lnTo>
                  <a:lnTo>
                    <a:pt x="684" y="396"/>
                  </a:lnTo>
                  <a:lnTo>
                    <a:pt x="690" y="396"/>
                  </a:lnTo>
                  <a:lnTo>
                    <a:pt x="696" y="396"/>
                  </a:lnTo>
                  <a:lnTo>
                    <a:pt x="702" y="396"/>
                  </a:lnTo>
                  <a:lnTo>
                    <a:pt x="708" y="396"/>
                  </a:lnTo>
                  <a:lnTo>
                    <a:pt x="714" y="390"/>
                  </a:lnTo>
                  <a:lnTo>
                    <a:pt x="714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32" y="384"/>
                  </a:lnTo>
                  <a:lnTo>
                    <a:pt x="738" y="378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56" y="372"/>
                  </a:lnTo>
                  <a:lnTo>
                    <a:pt x="762" y="366"/>
                  </a:lnTo>
                  <a:lnTo>
                    <a:pt x="768" y="366"/>
                  </a:lnTo>
                  <a:lnTo>
                    <a:pt x="774" y="366"/>
                  </a:lnTo>
                  <a:lnTo>
                    <a:pt x="774" y="360"/>
                  </a:lnTo>
                  <a:lnTo>
                    <a:pt x="780" y="366"/>
                  </a:lnTo>
                  <a:lnTo>
                    <a:pt x="786" y="366"/>
                  </a:lnTo>
                  <a:lnTo>
                    <a:pt x="786" y="360"/>
                  </a:lnTo>
                  <a:lnTo>
                    <a:pt x="792" y="354"/>
                  </a:lnTo>
                  <a:lnTo>
                    <a:pt x="786" y="354"/>
                  </a:lnTo>
                  <a:lnTo>
                    <a:pt x="792" y="348"/>
                  </a:lnTo>
                  <a:lnTo>
                    <a:pt x="798" y="348"/>
                  </a:lnTo>
                  <a:lnTo>
                    <a:pt x="804" y="348"/>
                  </a:lnTo>
                  <a:lnTo>
                    <a:pt x="810" y="342"/>
                  </a:lnTo>
                  <a:lnTo>
                    <a:pt x="816" y="342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28" y="336"/>
                  </a:lnTo>
                  <a:lnTo>
                    <a:pt x="834" y="336"/>
                  </a:lnTo>
                  <a:lnTo>
                    <a:pt x="840" y="336"/>
                  </a:lnTo>
                  <a:lnTo>
                    <a:pt x="846" y="330"/>
                  </a:lnTo>
                  <a:lnTo>
                    <a:pt x="852" y="330"/>
                  </a:lnTo>
                  <a:lnTo>
                    <a:pt x="858" y="330"/>
                  </a:lnTo>
                  <a:lnTo>
                    <a:pt x="864" y="324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0" y="312"/>
                  </a:lnTo>
                  <a:lnTo>
                    <a:pt x="876" y="312"/>
                  </a:lnTo>
                  <a:lnTo>
                    <a:pt x="882" y="312"/>
                  </a:lnTo>
                  <a:lnTo>
                    <a:pt x="882" y="318"/>
                  </a:lnTo>
                  <a:lnTo>
                    <a:pt x="888" y="312"/>
                  </a:lnTo>
                  <a:lnTo>
                    <a:pt x="894" y="306"/>
                  </a:lnTo>
                  <a:lnTo>
                    <a:pt x="900" y="306"/>
                  </a:lnTo>
                  <a:lnTo>
                    <a:pt x="906" y="306"/>
                  </a:lnTo>
                  <a:lnTo>
                    <a:pt x="912" y="300"/>
                  </a:lnTo>
                  <a:lnTo>
                    <a:pt x="906" y="294"/>
                  </a:lnTo>
                  <a:lnTo>
                    <a:pt x="912" y="276"/>
                  </a:lnTo>
                  <a:lnTo>
                    <a:pt x="912" y="252"/>
                  </a:lnTo>
                  <a:lnTo>
                    <a:pt x="906" y="234"/>
                  </a:lnTo>
                  <a:lnTo>
                    <a:pt x="912" y="228"/>
                  </a:lnTo>
                  <a:lnTo>
                    <a:pt x="912" y="216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24" y="192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36" y="186"/>
                  </a:lnTo>
                  <a:lnTo>
                    <a:pt x="930" y="180"/>
                  </a:lnTo>
                  <a:lnTo>
                    <a:pt x="930" y="174"/>
                  </a:lnTo>
                  <a:lnTo>
                    <a:pt x="936" y="156"/>
                  </a:lnTo>
                  <a:lnTo>
                    <a:pt x="930" y="156"/>
                  </a:lnTo>
                  <a:lnTo>
                    <a:pt x="924" y="150"/>
                  </a:lnTo>
                  <a:lnTo>
                    <a:pt x="942" y="78"/>
                  </a:lnTo>
                  <a:lnTo>
                    <a:pt x="948" y="78"/>
                  </a:lnTo>
                  <a:lnTo>
                    <a:pt x="954" y="66"/>
                  </a:lnTo>
                  <a:lnTo>
                    <a:pt x="954" y="72"/>
                  </a:lnTo>
                  <a:lnTo>
                    <a:pt x="954" y="66"/>
                  </a:lnTo>
                  <a:lnTo>
                    <a:pt x="960" y="66"/>
                  </a:lnTo>
                  <a:lnTo>
                    <a:pt x="966" y="66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54"/>
                  </a:lnTo>
                  <a:lnTo>
                    <a:pt x="990" y="54"/>
                  </a:lnTo>
                  <a:lnTo>
                    <a:pt x="996" y="48"/>
                  </a:lnTo>
                  <a:lnTo>
                    <a:pt x="1002" y="48"/>
                  </a:lnTo>
                  <a:lnTo>
                    <a:pt x="1032" y="48"/>
                  </a:lnTo>
                  <a:lnTo>
                    <a:pt x="1062" y="48"/>
                  </a:lnTo>
                  <a:lnTo>
                    <a:pt x="1068" y="78"/>
                  </a:lnTo>
                  <a:lnTo>
                    <a:pt x="1086" y="78"/>
                  </a:lnTo>
                  <a:lnTo>
                    <a:pt x="1092" y="66"/>
                  </a:lnTo>
                  <a:lnTo>
                    <a:pt x="1092" y="60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8" y="48"/>
                  </a:lnTo>
                  <a:lnTo>
                    <a:pt x="1104" y="48"/>
                  </a:lnTo>
                  <a:lnTo>
                    <a:pt x="1110" y="48"/>
                  </a:lnTo>
                  <a:lnTo>
                    <a:pt x="1110" y="42"/>
                  </a:lnTo>
                  <a:lnTo>
                    <a:pt x="1110" y="36"/>
                  </a:lnTo>
                  <a:lnTo>
                    <a:pt x="1116" y="36"/>
                  </a:lnTo>
                  <a:lnTo>
                    <a:pt x="1116" y="30"/>
                  </a:lnTo>
                  <a:lnTo>
                    <a:pt x="1122" y="30"/>
                  </a:lnTo>
                  <a:lnTo>
                    <a:pt x="1128" y="30"/>
                  </a:lnTo>
                  <a:lnTo>
                    <a:pt x="1134" y="30"/>
                  </a:lnTo>
                  <a:lnTo>
                    <a:pt x="1140" y="24"/>
                  </a:lnTo>
                  <a:lnTo>
                    <a:pt x="1152" y="18"/>
                  </a:lnTo>
                  <a:lnTo>
                    <a:pt x="1158" y="18"/>
                  </a:lnTo>
                  <a:lnTo>
                    <a:pt x="1152" y="12"/>
                  </a:lnTo>
                  <a:lnTo>
                    <a:pt x="1152" y="6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8"/>
                  </a:lnTo>
                  <a:lnTo>
                    <a:pt x="1170" y="12"/>
                  </a:lnTo>
                  <a:lnTo>
                    <a:pt x="1170" y="6"/>
                  </a:lnTo>
                  <a:lnTo>
                    <a:pt x="1176" y="6"/>
                  </a:lnTo>
                  <a:lnTo>
                    <a:pt x="1176" y="0"/>
                  </a:lnTo>
                  <a:lnTo>
                    <a:pt x="1182" y="6"/>
                  </a:lnTo>
                  <a:lnTo>
                    <a:pt x="1188" y="6"/>
                  </a:lnTo>
                  <a:lnTo>
                    <a:pt x="1188" y="0"/>
                  </a:lnTo>
                  <a:lnTo>
                    <a:pt x="1194" y="6"/>
                  </a:lnTo>
                  <a:lnTo>
                    <a:pt x="1200" y="12"/>
                  </a:lnTo>
                  <a:lnTo>
                    <a:pt x="1206" y="18"/>
                  </a:lnTo>
                  <a:lnTo>
                    <a:pt x="1212" y="18"/>
                  </a:lnTo>
                  <a:lnTo>
                    <a:pt x="1218" y="24"/>
                  </a:lnTo>
                  <a:lnTo>
                    <a:pt x="1236" y="36"/>
                  </a:lnTo>
                  <a:lnTo>
                    <a:pt x="1242" y="36"/>
                  </a:lnTo>
                  <a:lnTo>
                    <a:pt x="1248" y="42"/>
                  </a:lnTo>
                  <a:lnTo>
                    <a:pt x="1248" y="48"/>
                  </a:lnTo>
                  <a:lnTo>
                    <a:pt x="1260" y="48"/>
                  </a:lnTo>
                  <a:lnTo>
                    <a:pt x="1260" y="108"/>
                  </a:lnTo>
                  <a:lnTo>
                    <a:pt x="1266" y="168"/>
                  </a:lnTo>
                  <a:lnTo>
                    <a:pt x="1278" y="234"/>
                  </a:lnTo>
                  <a:lnTo>
                    <a:pt x="1284" y="240"/>
                  </a:lnTo>
                  <a:lnTo>
                    <a:pt x="1290" y="264"/>
                  </a:lnTo>
                  <a:lnTo>
                    <a:pt x="1296" y="288"/>
                  </a:lnTo>
                  <a:lnTo>
                    <a:pt x="1296" y="300"/>
                  </a:lnTo>
                  <a:lnTo>
                    <a:pt x="1296" y="312"/>
                  </a:lnTo>
                  <a:lnTo>
                    <a:pt x="1296" y="324"/>
                  </a:lnTo>
                  <a:lnTo>
                    <a:pt x="1296" y="354"/>
                  </a:lnTo>
                  <a:lnTo>
                    <a:pt x="1302" y="366"/>
                  </a:lnTo>
                  <a:lnTo>
                    <a:pt x="1308" y="372"/>
                  </a:lnTo>
                  <a:lnTo>
                    <a:pt x="1308" y="384"/>
                  </a:lnTo>
                  <a:lnTo>
                    <a:pt x="1314" y="390"/>
                  </a:lnTo>
                  <a:lnTo>
                    <a:pt x="1308" y="408"/>
                  </a:lnTo>
                  <a:lnTo>
                    <a:pt x="1314" y="408"/>
                  </a:lnTo>
                  <a:lnTo>
                    <a:pt x="1314" y="414"/>
                  </a:lnTo>
                  <a:lnTo>
                    <a:pt x="1308" y="420"/>
                  </a:lnTo>
                  <a:lnTo>
                    <a:pt x="1308" y="432"/>
                  </a:lnTo>
                  <a:lnTo>
                    <a:pt x="1320" y="432"/>
                  </a:lnTo>
                  <a:lnTo>
                    <a:pt x="1320" y="444"/>
                  </a:lnTo>
                  <a:lnTo>
                    <a:pt x="1332" y="444"/>
                  </a:lnTo>
                  <a:lnTo>
                    <a:pt x="1338" y="450"/>
                  </a:lnTo>
                  <a:lnTo>
                    <a:pt x="1344" y="456"/>
                  </a:lnTo>
                  <a:lnTo>
                    <a:pt x="1344" y="462"/>
                  </a:lnTo>
                  <a:lnTo>
                    <a:pt x="1344" y="474"/>
                  </a:lnTo>
                  <a:lnTo>
                    <a:pt x="1350" y="474"/>
                  </a:lnTo>
                  <a:lnTo>
                    <a:pt x="1368" y="504"/>
                  </a:lnTo>
                  <a:lnTo>
                    <a:pt x="1374" y="534"/>
                  </a:lnTo>
                  <a:lnTo>
                    <a:pt x="1380" y="558"/>
                  </a:lnTo>
                  <a:lnTo>
                    <a:pt x="1386" y="576"/>
                  </a:lnTo>
                  <a:lnTo>
                    <a:pt x="1386" y="600"/>
                  </a:lnTo>
                  <a:lnTo>
                    <a:pt x="1386" y="624"/>
                  </a:lnTo>
                  <a:lnTo>
                    <a:pt x="1386" y="648"/>
                  </a:lnTo>
                  <a:lnTo>
                    <a:pt x="1386" y="684"/>
                  </a:lnTo>
                  <a:lnTo>
                    <a:pt x="1380" y="684"/>
                  </a:lnTo>
                  <a:lnTo>
                    <a:pt x="1374" y="696"/>
                  </a:lnTo>
                  <a:lnTo>
                    <a:pt x="1368" y="702"/>
                  </a:lnTo>
                  <a:lnTo>
                    <a:pt x="1362" y="708"/>
                  </a:lnTo>
                  <a:lnTo>
                    <a:pt x="1356" y="714"/>
                  </a:lnTo>
                  <a:lnTo>
                    <a:pt x="1350" y="720"/>
                  </a:lnTo>
                  <a:lnTo>
                    <a:pt x="1338" y="720"/>
                  </a:lnTo>
                  <a:lnTo>
                    <a:pt x="1338" y="738"/>
                  </a:lnTo>
                  <a:lnTo>
                    <a:pt x="1362" y="750"/>
                  </a:lnTo>
                  <a:lnTo>
                    <a:pt x="1362" y="756"/>
                  </a:lnTo>
                  <a:lnTo>
                    <a:pt x="1374" y="756"/>
                  </a:lnTo>
                  <a:lnTo>
                    <a:pt x="1410" y="774"/>
                  </a:lnTo>
                  <a:lnTo>
                    <a:pt x="1446" y="774"/>
                  </a:lnTo>
                  <a:lnTo>
                    <a:pt x="1482" y="768"/>
                  </a:lnTo>
                  <a:lnTo>
                    <a:pt x="1500" y="774"/>
                  </a:lnTo>
                  <a:lnTo>
                    <a:pt x="1512" y="78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6" name="Freeform 11">
              <a:extLst>
                <a:ext uri="{FF2B5EF4-FFF2-40B4-BE49-F238E27FC236}">
                  <a16:creationId xmlns:a16="http://schemas.microsoft.com/office/drawing/2014/main" id="{1FF8E66F-B850-456A-B132-C45FEEDE95C6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2475" y="2345643"/>
              <a:ext cx="445003" cy="603855"/>
            </a:xfrm>
            <a:custGeom>
              <a:avLst/>
              <a:gdLst>
                <a:gd name="T0" fmla="*/ 47 w 840"/>
                <a:gd name="T1" fmla="*/ 98 h 1134"/>
                <a:gd name="T2" fmla="*/ 41 w 840"/>
                <a:gd name="T3" fmla="*/ 98 h 1134"/>
                <a:gd name="T4" fmla="*/ 37 w 840"/>
                <a:gd name="T5" fmla="*/ 98 h 1134"/>
                <a:gd name="T6" fmla="*/ 29 w 840"/>
                <a:gd name="T7" fmla="*/ 97 h 1134"/>
                <a:gd name="T8" fmla="*/ 27 w 840"/>
                <a:gd name="T9" fmla="*/ 94 h 1134"/>
                <a:gd name="T10" fmla="*/ 26 w 840"/>
                <a:gd name="T11" fmla="*/ 93 h 1134"/>
                <a:gd name="T12" fmla="*/ 26 w 840"/>
                <a:gd name="T13" fmla="*/ 83 h 1134"/>
                <a:gd name="T14" fmla="*/ 26 w 840"/>
                <a:gd name="T15" fmla="*/ 81 h 1134"/>
                <a:gd name="T16" fmla="*/ 23 w 840"/>
                <a:gd name="T17" fmla="*/ 77 h 1134"/>
                <a:gd name="T18" fmla="*/ 19 w 840"/>
                <a:gd name="T19" fmla="*/ 75 h 1134"/>
                <a:gd name="T20" fmla="*/ 16 w 840"/>
                <a:gd name="T21" fmla="*/ 72 h 1134"/>
                <a:gd name="T22" fmla="*/ 13 w 840"/>
                <a:gd name="T23" fmla="*/ 70 h 1134"/>
                <a:gd name="T24" fmla="*/ 17 w 840"/>
                <a:gd name="T25" fmla="*/ 67 h 1134"/>
                <a:gd name="T26" fmla="*/ 19 w 840"/>
                <a:gd name="T27" fmla="*/ 63 h 1134"/>
                <a:gd name="T28" fmla="*/ 20 w 840"/>
                <a:gd name="T29" fmla="*/ 59 h 1134"/>
                <a:gd name="T30" fmla="*/ 19 w 840"/>
                <a:gd name="T31" fmla="*/ 55 h 1134"/>
                <a:gd name="T32" fmla="*/ 17 w 840"/>
                <a:gd name="T33" fmla="*/ 47 h 1134"/>
                <a:gd name="T34" fmla="*/ 8 w 840"/>
                <a:gd name="T35" fmla="*/ 45 h 1134"/>
                <a:gd name="T36" fmla="*/ 4 w 840"/>
                <a:gd name="T37" fmla="*/ 39 h 1134"/>
                <a:gd name="T38" fmla="*/ 2 w 840"/>
                <a:gd name="T39" fmla="*/ 35 h 1134"/>
                <a:gd name="T40" fmla="*/ 0 w 840"/>
                <a:gd name="T41" fmla="*/ 31 h 1134"/>
                <a:gd name="T42" fmla="*/ 2 w 840"/>
                <a:gd name="T43" fmla="*/ 27 h 1134"/>
                <a:gd name="T44" fmla="*/ 5 w 840"/>
                <a:gd name="T45" fmla="*/ 24 h 1134"/>
                <a:gd name="T46" fmla="*/ 10 w 840"/>
                <a:gd name="T47" fmla="*/ 26 h 1134"/>
                <a:gd name="T48" fmla="*/ 7 w 840"/>
                <a:gd name="T49" fmla="*/ 20 h 1134"/>
                <a:gd name="T50" fmla="*/ 12 w 840"/>
                <a:gd name="T51" fmla="*/ 12 h 1134"/>
                <a:gd name="T52" fmla="*/ 19 w 840"/>
                <a:gd name="T53" fmla="*/ 10 h 1134"/>
                <a:gd name="T54" fmla="*/ 20 w 840"/>
                <a:gd name="T55" fmla="*/ 13 h 1134"/>
                <a:gd name="T56" fmla="*/ 22 w 840"/>
                <a:gd name="T57" fmla="*/ 11 h 1134"/>
                <a:gd name="T58" fmla="*/ 25 w 840"/>
                <a:gd name="T59" fmla="*/ 7 h 1134"/>
                <a:gd name="T60" fmla="*/ 29 w 840"/>
                <a:gd name="T61" fmla="*/ 2 h 1134"/>
                <a:gd name="T62" fmla="*/ 33 w 840"/>
                <a:gd name="T63" fmla="*/ 1 h 1134"/>
                <a:gd name="T64" fmla="*/ 37 w 840"/>
                <a:gd name="T65" fmla="*/ 2 h 1134"/>
                <a:gd name="T66" fmla="*/ 39 w 840"/>
                <a:gd name="T67" fmla="*/ 4 h 1134"/>
                <a:gd name="T68" fmla="*/ 43 w 840"/>
                <a:gd name="T69" fmla="*/ 5 h 1134"/>
                <a:gd name="T70" fmla="*/ 46 w 840"/>
                <a:gd name="T71" fmla="*/ 11 h 1134"/>
                <a:gd name="T72" fmla="*/ 49 w 840"/>
                <a:gd name="T73" fmla="*/ 12 h 1134"/>
                <a:gd name="T74" fmla="*/ 52 w 840"/>
                <a:gd name="T75" fmla="*/ 15 h 1134"/>
                <a:gd name="T76" fmla="*/ 54 w 840"/>
                <a:gd name="T77" fmla="*/ 18 h 1134"/>
                <a:gd name="T78" fmla="*/ 55 w 840"/>
                <a:gd name="T79" fmla="*/ 22 h 1134"/>
                <a:gd name="T80" fmla="*/ 56 w 840"/>
                <a:gd name="T81" fmla="*/ 26 h 1134"/>
                <a:gd name="T82" fmla="*/ 55 w 840"/>
                <a:gd name="T83" fmla="*/ 32 h 1134"/>
                <a:gd name="T84" fmla="*/ 55 w 840"/>
                <a:gd name="T85" fmla="*/ 36 h 1134"/>
                <a:gd name="T86" fmla="*/ 54 w 840"/>
                <a:gd name="T87" fmla="*/ 39 h 1134"/>
                <a:gd name="T88" fmla="*/ 56 w 840"/>
                <a:gd name="T89" fmla="*/ 39 h 1134"/>
                <a:gd name="T90" fmla="*/ 58 w 840"/>
                <a:gd name="T91" fmla="*/ 39 h 1134"/>
                <a:gd name="T92" fmla="*/ 61 w 840"/>
                <a:gd name="T93" fmla="*/ 39 h 1134"/>
                <a:gd name="T94" fmla="*/ 60 w 840"/>
                <a:gd name="T95" fmla="*/ 49 h 1134"/>
                <a:gd name="T96" fmla="*/ 59 w 840"/>
                <a:gd name="T97" fmla="*/ 53 h 1134"/>
                <a:gd name="T98" fmla="*/ 59 w 840"/>
                <a:gd name="T99" fmla="*/ 56 h 1134"/>
                <a:gd name="T100" fmla="*/ 60 w 840"/>
                <a:gd name="T101" fmla="*/ 59 h 1134"/>
                <a:gd name="T102" fmla="*/ 64 w 840"/>
                <a:gd name="T103" fmla="*/ 61 h 1134"/>
                <a:gd name="T104" fmla="*/ 69 w 840"/>
                <a:gd name="T105" fmla="*/ 63 h 1134"/>
                <a:gd name="T106" fmla="*/ 72 w 840"/>
                <a:gd name="T107" fmla="*/ 69 h 1134"/>
                <a:gd name="T108" fmla="*/ 72 w 840"/>
                <a:gd name="T109" fmla="*/ 73 h 1134"/>
                <a:gd name="T110" fmla="*/ 72 w 840"/>
                <a:gd name="T111" fmla="*/ 83 h 1134"/>
                <a:gd name="T112" fmla="*/ 63 w 840"/>
                <a:gd name="T113" fmla="*/ 88 h 1134"/>
                <a:gd name="T114" fmla="*/ 52 w 840"/>
                <a:gd name="T115" fmla="*/ 95 h 11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40"/>
                <a:gd name="T175" fmla="*/ 0 h 1134"/>
                <a:gd name="T176" fmla="*/ 840 w 840"/>
                <a:gd name="T177" fmla="*/ 1134 h 11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40" h="1134">
                  <a:moveTo>
                    <a:pt x="564" y="1110"/>
                  </a:moveTo>
                  <a:lnTo>
                    <a:pt x="564" y="1104"/>
                  </a:lnTo>
                  <a:lnTo>
                    <a:pt x="558" y="1104"/>
                  </a:lnTo>
                  <a:lnTo>
                    <a:pt x="552" y="1110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28" y="1128"/>
                  </a:lnTo>
                  <a:lnTo>
                    <a:pt x="498" y="1128"/>
                  </a:lnTo>
                  <a:lnTo>
                    <a:pt x="492" y="1128"/>
                  </a:lnTo>
                  <a:lnTo>
                    <a:pt x="486" y="1128"/>
                  </a:lnTo>
                  <a:lnTo>
                    <a:pt x="480" y="1128"/>
                  </a:lnTo>
                  <a:lnTo>
                    <a:pt x="474" y="1134"/>
                  </a:lnTo>
                  <a:lnTo>
                    <a:pt x="468" y="1134"/>
                  </a:lnTo>
                  <a:lnTo>
                    <a:pt x="462" y="1134"/>
                  </a:lnTo>
                  <a:lnTo>
                    <a:pt x="456" y="1134"/>
                  </a:lnTo>
                  <a:lnTo>
                    <a:pt x="456" y="1128"/>
                  </a:lnTo>
                  <a:lnTo>
                    <a:pt x="450" y="1122"/>
                  </a:lnTo>
                  <a:lnTo>
                    <a:pt x="426" y="1128"/>
                  </a:lnTo>
                  <a:lnTo>
                    <a:pt x="414" y="1128"/>
                  </a:lnTo>
                  <a:lnTo>
                    <a:pt x="348" y="1134"/>
                  </a:lnTo>
                  <a:lnTo>
                    <a:pt x="348" y="1128"/>
                  </a:lnTo>
                  <a:lnTo>
                    <a:pt x="342" y="1128"/>
                  </a:lnTo>
                  <a:lnTo>
                    <a:pt x="336" y="1122"/>
                  </a:lnTo>
                  <a:lnTo>
                    <a:pt x="330" y="1122"/>
                  </a:lnTo>
                  <a:lnTo>
                    <a:pt x="324" y="1116"/>
                  </a:lnTo>
                  <a:lnTo>
                    <a:pt x="324" y="1110"/>
                  </a:lnTo>
                  <a:lnTo>
                    <a:pt x="318" y="1110"/>
                  </a:lnTo>
                  <a:lnTo>
                    <a:pt x="318" y="1104"/>
                  </a:lnTo>
                  <a:lnTo>
                    <a:pt x="312" y="1092"/>
                  </a:lnTo>
                  <a:lnTo>
                    <a:pt x="306" y="1086"/>
                  </a:lnTo>
                  <a:lnTo>
                    <a:pt x="306" y="1080"/>
                  </a:lnTo>
                  <a:lnTo>
                    <a:pt x="312" y="1074"/>
                  </a:lnTo>
                  <a:lnTo>
                    <a:pt x="306" y="1068"/>
                  </a:lnTo>
                  <a:lnTo>
                    <a:pt x="300" y="1074"/>
                  </a:lnTo>
                  <a:lnTo>
                    <a:pt x="300" y="1068"/>
                  </a:lnTo>
                  <a:lnTo>
                    <a:pt x="294" y="1068"/>
                  </a:lnTo>
                  <a:lnTo>
                    <a:pt x="294" y="1056"/>
                  </a:lnTo>
                  <a:lnTo>
                    <a:pt x="294" y="1026"/>
                  </a:lnTo>
                  <a:lnTo>
                    <a:pt x="294" y="1020"/>
                  </a:lnTo>
                  <a:lnTo>
                    <a:pt x="294" y="1008"/>
                  </a:lnTo>
                  <a:lnTo>
                    <a:pt x="294" y="966"/>
                  </a:lnTo>
                  <a:lnTo>
                    <a:pt x="294" y="960"/>
                  </a:lnTo>
                  <a:lnTo>
                    <a:pt x="294" y="954"/>
                  </a:lnTo>
                  <a:lnTo>
                    <a:pt x="294" y="948"/>
                  </a:lnTo>
                  <a:lnTo>
                    <a:pt x="294" y="942"/>
                  </a:lnTo>
                  <a:lnTo>
                    <a:pt x="300" y="936"/>
                  </a:lnTo>
                  <a:lnTo>
                    <a:pt x="300" y="930"/>
                  </a:lnTo>
                  <a:lnTo>
                    <a:pt x="294" y="930"/>
                  </a:lnTo>
                  <a:lnTo>
                    <a:pt x="288" y="930"/>
                  </a:lnTo>
                  <a:lnTo>
                    <a:pt x="288" y="924"/>
                  </a:lnTo>
                  <a:lnTo>
                    <a:pt x="282" y="918"/>
                  </a:lnTo>
                  <a:lnTo>
                    <a:pt x="282" y="906"/>
                  </a:lnTo>
                  <a:lnTo>
                    <a:pt x="282" y="900"/>
                  </a:lnTo>
                  <a:lnTo>
                    <a:pt x="264" y="894"/>
                  </a:lnTo>
                  <a:lnTo>
                    <a:pt x="252" y="882"/>
                  </a:lnTo>
                  <a:lnTo>
                    <a:pt x="246" y="876"/>
                  </a:lnTo>
                  <a:lnTo>
                    <a:pt x="240" y="876"/>
                  </a:lnTo>
                  <a:lnTo>
                    <a:pt x="240" y="870"/>
                  </a:lnTo>
                  <a:lnTo>
                    <a:pt x="234" y="870"/>
                  </a:lnTo>
                  <a:lnTo>
                    <a:pt x="222" y="864"/>
                  </a:lnTo>
                  <a:lnTo>
                    <a:pt x="216" y="864"/>
                  </a:lnTo>
                  <a:lnTo>
                    <a:pt x="210" y="858"/>
                  </a:lnTo>
                  <a:lnTo>
                    <a:pt x="210" y="852"/>
                  </a:lnTo>
                  <a:lnTo>
                    <a:pt x="210" y="846"/>
                  </a:lnTo>
                  <a:lnTo>
                    <a:pt x="198" y="840"/>
                  </a:lnTo>
                  <a:lnTo>
                    <a:pt x="186" y="834"/>
                  </a:lnTo>
                  <a:lnTo>
                    <a:pt x="180" y="828"/>
                  </a:lnTo>
                  <a:lnTo>
                    <a:pt x="180" y="822"/>
                  </a:lnTo>
                  <a:lnTo>
                    <a:pt x="174" y="822"/>
                  </a:lnTo>
                  <a:lnTo>
                    <a:pt x="162" y="816"/>
                  </a:lnTo>
                  <a:lnTo>
                    <a:pt x="156" y="810"/>
                  </a:lnTo>
                  <a:lnTo>
                    <a:pt x="150" y="810"/>
                  </a:lnTo>
                  <a:lnTo>
                    <a:pt x="144" y="798"/>
                  </a:lnTo>
                  <a:lnTo>
                    <a:pt x="138" y="786"/>
                  </a:lnTo>
                  <a:lnTo>
                    <a:pt x="138" y="780"/>
                  </a:lnTo>
                  <a:lnTo>
                    <a:pt x="144" y="774"/>
                  </a:lnTo>
                  <a:lnTo>
                    <a:pt x="150" y="768"/>
                  </a:lnTo>
                  <a:lnTo>
                    <a:pt x="192" y="768"/>
                  </a:lnTo>
                  <a:lnTo>
                    <a:pt x="210" y="762"/>
                  </a:lnTo>
                  <a:lnTo>
                    <a:pt x="216" y="756"/>
                  </a:lnTo>
                  <a:lnTo>
                    <a:pt x="216" y="744"/>
                  </a:lnTo>
                  <a:lnTo>
                    <a:pt x="216" y="738"/>
                  </a:lnTo>
                  <a:lnTo>
                    <a:pt x="216" y="732"/>
                  </a:lnTo>
                  <a:lnTo>
                    <a:pt x="216" y="726"/>
                  </a:lnTo>
                  <a:lnTo>
                    <a:pt x="216" y="720"/>
                  </a:lnTo>
                  <a:lnTo>
                    <a:pt x="228" y="702"/>
                  </a:lnTo>
                  <a:lnTo>
                    <a:pt x="234" y="696"/>
                  </a:lnTo>
                  <a:lnTo>
                    <a:pt x="240" y="690"/>
                  </a:lnTo>
                  <a:lnTo>
                    <a:pt x="240" y="684"/>
                  </a:lnTo>
                  <a:lnTo>
                    <a:pt x="234" y="678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0"/>
                  </a:lnTo>
                  <a:lnTo>
                    <a:pt x="222" y="654"/>
                  </a:lnTo>
                  <a:lnTo>
                    <a:pt x="222" y="648"/>
                  </a:lnTo>
                  <a:lnTo>
                    <a:pt x="222" y="630"/>
                  </a:lnTo>
                  <a:lnTo>
                    <a:pt x="222" y="618"/>
                  </a:lnTo>
                  <a:lnTo>
                    <a:pt x="222" y="582"/>
                  </a:lnTo>
                  <a:lnTo>
                    <a:pt x="228" y="582"/>
                  </a:lnTo>
                  <a:lnTo>
                    <a:pt x="222" y="564"/>
                  </a:lnTo>
                  <a:lnTo>
                    <a:pt x="210" y="552"/>
                  </a:lnTo>
                  <a:lnTo>
                    <a:pt x="192" y="540"/>
                  </a:lnTo>
                  <a:lnTo>
                    <a:pt x="174" y="540"/>
                  </a:lnTo>
                  <a:lnTo>
                    <a:pt x="150" y="534"/>
                  </a:lnTo>
                  <a:lnTo>
                    <a:pt x="126" y="528"/>
                  </a:lnTo>
                  <a:lnTo>
                    <a:pt x="96" y="528"/>
                  </a:lnTo>
                  <a:lnTo>
                    <a:pt x="96" y="522"/>
                  </a:lnTo>
                  <a:lnTo>
                    <a:pt x="90" y="516"/>
                  </a:lnTo>
                  <a:lnTo>
                    <a:pt x="78" y="504"/>
                  </a:lnTo>
                  <a:lnTo>
                    <a:pt x="72" y="498"/>
                  </a:lnTo>
                  <a:lnTo>
                    <a:pt x="66" y="486"/>
                  </a:lnTo>
                  <a:lnTo>
                    <a:pt x="54" y="468"/>
                  </a:lnTo>
                  <a:lnTo>
                    <a:pt x="54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42" y="438"/>
                  </a:lnTo>
                  <a:lnTo>
                    <a:pt x="36" y="438"/>
                  </a:lnTo>
                  <a:lnTo>
                    <a:pt x="24" y="420"/>
                  </a:lnTo>
                  <a:lnTo>
                    <a:pt x="24" y="414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24" y="384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2" y="360"/>
                  </a:lnTo>
                  <a:lnTo>
                    <a:pt x="6" y="360"/>
                  </a:lnTo>
                  <a:lnTo>
                    <a:pt x="0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0"/>
                  </a:lnTo>
                  <a:lnTo>
                    <a:pt x="18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8" y="282"/>
                  </a:lnTo>
                  <a:lnTo>
                    <a:pt x="54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8" y="270"/>
                  </a:lnTo>
                  <a:lnTo>
                    <a:pt x="90" y="276"/>
                  </a:lnTo>
                  <a:lnTo>
                    <a:pt x="108" y="294"/>
                  </a:lnTo>
                  <a:lnTo>
                    <a:pt x="114" y="294"/>
                  </a:lnTo>
                  <a:lnTo>
                    <a:pt x="114" y="276"/>
                  </a:lnTo>
                  <a:lnTo>
                    <a:pt x="114" y="270"/>
                  </a:lnTo>
                  <a:lnTo>
                    <a:pt x="102" y="258"/>
                  </a:lnTo>
                  <a:lnTo>
                    <a:pt x="96" y="246"/>
                  </a:lnTo>
                  <a:lnTo>
                    <a:pt x="90" y="234"/>
                  </a:lnTo>
                  <a:lnTo>
                    <a:pt x="78" y="228"/>
                  </a:lnTo>
                  <a:lnTo>
                    <a:pt x="72" y="216"/>
                  </a:lnTo>
                  <a:lnTo>
                    <a:pt x="66" y="192"/>
                  </a:lnTo>
                  <a:lnTo>
                    <a:pt x="90" y="174"/>
                  </a:lnTo>
                  <a:lnTo>
                    <a:pt x="120" y="150"/>
                  </a:lnTo>
                  <a:lnTo>
                    <a:pt x="132" y="150"/>
                  </a:lnTo>
                  <a:lnTo>
                    <a:pt x="138" y="144"/>
                  </a:lnTo>
                  <a:lnTo>
                    <a:pt x="138" y="138"/>
                  </a:lnTo>
                  <a:lnTo>
                    <a:pt x="156" y="126"/>
                  </a:lnTo>
                  <a:lnTo>
                    <a:pt x="180" y="114"/>
                  </a:lnTo>
                  <a:lnTo>
                    <a:pt x="216" y="114"/>
                  </a:lnTo>
                  <a:lnTo>
                    <a:pt x="222" y="114"/>
                  </a:lnTo>
                  <a:lnTo>
                    <a:pt x="222" y="120"/>
                  </a:lnTo>
                  <a:lnTo>
                    <a:pt x="222" y="126"/>
                  </a:lnTo>
                  <a:lnTo>
                    <a:pt x="222" y="132"/>
                  </a:lnTo>
                  <a:lnTo>
                    <a:pt x="228" y="138"/>
                  </a:lnTo>
                  <a:lnTo>
                    <a:pt x="228" y="144"/>
                  </a:lnTo>
                  <a:lnTo>
                    <a:pt x="228" y="150"/>
                  </a:lnTo>
                  <a:lnTo>
                    <a:pt x="234" y="150"/>
                  </a:lnTo>
                  <a:lnTo>
                    <a:pt x="234" y="144"/>
                  </a:lnTo>
                  <a:lnTo>
                    <a:pt x="240" y="144"/>
                  </a:lnTo>
                  <a:lnTo>
                    <a:pt x="246" y="144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58" y="126"/>
                  </a:lnTo>
                  <a:lnTo>
                    <a:pt x="258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76" y="96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6" y="72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36"/>
                  </a:lnTo>
                  <a:lnTo>
                    <a:pt x="330" y="24"/>
                  </a:lnTo>
                  <a:lnTo>
                    <a:pt x="330" y="18"/>
                  </a:lnTo>
                  <a:lnTo>
                    <a:pt x="330" y="12"/>
                  </a:lnTo>
                  <a:lnTo>
                    <a:pt x="336" y="6"/>
                  </a:lnTo>
                  <a:lnTo>
                    <a:pt x="366" y="0"/>
                  </a:lnTo>
                  <a:lnTo>
                    <a:pt x="372" y="6"/>
                  </a:lnTo>
                  <a:lnTo>
                    <a:pt x="384" y="12"/>
                  </a:lnTo>
                  <a:lnTo>
                    <a:pt x="402" y="12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18"/>
                  </a:lnTo>
                  <a:lnTo>
                    <a:pt x="420" y="18"/>
                  </a:lnTo>
                  <a:lnTo>
                    <a:pt x="426" y="24"/>
                  </a:lnTo>
                  <a:lnTo>
                    <a:pt x="432" y="30"/>
                  </a:lnTo>
                  <a:lnTo>
                    <a:pt x="438" y="36"/>
                  </a:lnTo>
                  <a:lnTo>
                    <a:pt x="444" y="42"/>
                  </a:lnTo>
                  <a:lnTo>
                    <a:pt x="450" y="42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16" y="78"/>
                  </a:lnTo>
                  <a:lnTo>
                    <a:pt x="522" y="102"/>
                  </a:lnTo>
                  <a:lnTo>
                    <a:pt x="522" y="108"/>
                  </a:lnTo>
                  <a:lnTo>
                    <a:pt x="528" y="126"/>
                  </a:lnTo>
                  <a:lnTo>
                    <a:pt x="534" y="126"/>
                  </a:lnTo>
                  <a:lnTo>
                    <a:pt x="540" y="120"/>
                  </a:lnTo>
                  <a:lnTo>
                    <a:pt x="546" y="126"/>
                  </a:lnTo>
                  <a:lnTo>
                    <a:pt x="552" y="126"/>
                  </a:lnTo>
                  <a:lnTo>
                    <a:pt x="558" y="132"/>
                  </a:lnTo>
                  <a:lnTo>
                    <a:pt x="564" y="138"/>
                  </a:lnTo>
                  <a:lnTo>
                    <a:pt x="570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594" y="168"/>
                  </a:lnTo>
                  <a:lnTo>
                    <a:pt x="600" y="174"/>
                  </a:lnTo>
                  <a:lnTo>
                    <a:pt x="606" y="180"/>
                  </a:lnTo>
                  <a:lnTo>
                    <a:pt x="606" y="186"/>
                  </a:lnTo>
                  <a:lnTo>
                    <a:pt x="612" y="192"/>
                  </a:lnTo>
                  <a:lnTo>
                    <a:pt x="612" y="198"/>
                  </a:lnTo>
                  <a:lnTo>
                    <a:pt x="624" y="204"/>
                  </a:lnTo>
                  <a:lnTo>
                    <a:pt x="624" y="210"/>
                  </a:lnTo>
                  <a:lnTo>
                    <a:pt x="630" y="216"/>
                  </a:lnTo>
                  <a:lnTo>
                    <a:pt x="636" y="222"/>
                  </a:lnTo>
                  <a:lnTo>
                    <a:pt x="636" y="228"/>
                  </a:lnTo>
                  <a:lnTo>
                    <a:pt x="636" y="234"/>
                  </a:lnTo>
                  <a:lnTo>
                    <a:pt x="636" y="252"/>
                  </a:lnTo>
                  <a:lnTo>
                    <a:pt x="636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42" y="276"/>
                  </a:lnTo>
                  <a:lnTo>
                    <a:pt x="642" y="282"/>
                  </a:lnTo>
                  <a:lnTo>
                    <a:pt x="642" y="288"/>
                  </a:lnTo>
                  <a:lnTo>
                    <a:pt x="642" y="300"/>
                  </a:lnTo>
                  <a:lnTo>
                    <a:pt x="642" y="306"/>
                  </a:lnTo>
                  <a:lnTo>
                    <a:pt x="636" y="312"/>
                  </a:lnTo>
                  <a:lnTo>
                    <a:pt x="636" y="324"/>
                  </a:lnTo>
                  <a:lnTo>
                    <a:pt x="636" y="342"/>
                  </a:lnTo>
                  <a:lnTo>
                    <a:pt x="630" y="354"/>
                  </a:lnTo>
                  <a:lnTo>
                    <a:pt x="630" y="366"/>
                  </a:lnTo>
                  <a:lnTo>
                    <a:pt x="624" y="378"/>
                  </a:lnTo>
                  <a:lnTo>
                    <a:pt x="624" y="384"/>
                  </a:lnTo>
                  <a:lnTo>
                    <a:pt x="636" y="396"/>
                  </a:lnTo>
                  <a:lnTo>
                    <a:pt x="636" y="402"/>
                  </a:lnTo>
                  <a:lnTo>
                    <a:pt x="636" y="408"/>
                  </a:lnTo>
                  <a:lnTo>
                    <a:pt x="630" y="414"/>
                  </a:lnTo>
                  <a:lnTo>
                    <a:pt x="630" y="420"/>
                  </a:lnTo>
                  <a:lnTo>
                    <a:pt x="630" y="426"/>
                  </a:lnTo>
                  <a:lnTo>
                    <a:pt x="630" y="432"/>
                  </a:lnTo>
                  <a:lnTo>
                    <a:pt x="624" y="438"/>
                  </a:lnTo>
                  <a:lnTo>
                    <a:pt x="624" y="444"/>
                  </a:lnTo>
                  <a:lnTo>
                    <a:pt x="624" y="450"/>
                  </a:lnTo>
                  <a:lnTo>
                    <a:pt x="630" y="450"/>
                  </a:lnTo>
                  <a:lnTo>
                    <a:pt x="630" y="456"/>
                  </a:lnTo>
                  <a:lnTo>
                    <a:pt x="630" y="462"/>
                  </a:lnTo>
                  <a:lnTo>
                    <a:pt x="636" y="468"/>
                  </a:lnTo>
                  <a:lnTo>
                    <a:pt x="642" y="456"/>
                  </a:lnTo>
                  <a:lnTo>
                    <a:pt x="642" y="450"/>
                  </a:lnTo>
                  <a:lnTo>
                    <a:pt x="648" y="450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60" y="444"/>
                  </a:lnTo>
                  <a:lnTo>
                    <a:pt x="666" y="450"/>
                  </a:lnTo>
                  <a:lnTo>
                    <a:pt x="672" y="444"/>
                  </a:lnTo>
                  <a:lnTo>
                    <a:pt x="678" y="444"/>
                  </a:lnTo>
                  <a:lnTo>
                    <a:pt x="684" y="438"/>
                  </a:lnTo>
                  <a:lnTo>
                    <a:pt x="690" y="438"/>
                  </a:lnTo>
                  <a:lnTo>
                    <a:pt x="696" y="438"/>
                  </a:lnTo>
                  <a:lnTo>
                    <a:pt x="702" y="444"/>
                  </a:lnTo>
                  <a:lnTo>
                    <a:pt x="702" y="450"/>
                  </a:lnTo>
                  <a:lnTo>
                    <a:pt x="708" y="450"/>
                  </a:lnTo>
                  <a:lnTo>
                    <a:pt x="708" y="456"/>
                  </a:lnTo>
                  <a:lnTo>
                    <a:pt x="708" y="462"/>
                  </a:lnTo>
                  <a:lnTo>
                    <a:pt x="708" y="468"/>
                  </a:lnTo>
                  <a:lnTo>
                    <a:pt x="708" y="504"/>
                  </a:lnTo>
                  <a:lnTo>
                    <a:pt x="696" y="564"/>
                  </a:lnTo>
                  <a:lnTo>
                    <a:pt x="696" y="582"/>
                  </a:lnTo>
                  <a:lnTo>
                    <a:pt x="696" y="600"/>
                  </a:lnTo>
                  <a:lnTo>
                    <a:pt x="690" y="606"/>
                  </a:lnTo>
                  <a:lnTo>
                    <a:pt x="684" y="606"/>
                  </a:lnTo>
                  <a:lnTo>
                    <a:pt x="690" y="612"/>
                  </a:lnTo>
                  <a:lnTo>
                    <a:pt x="684" y="612"/>
                  </a:lnTo>
                  <a:lnTo>
                    <a:pt x="678" y="618"/>
                  </a:lnTo>
                  <a:lnTo>
                    <a:pt x="672" y="624"/>
                  </a:lnTo>
                  <a:lnTo>
                    <a:pt x="666" y="630"/>
                  </a:lnTo>
                  <a:lnTo>
                    <a:pt x="660" y="636"/>
                  </a:lnTo>
                  <a:lnTo>
                    <a:pt x="672" y="636"/>
                  </a:lnTo>
                  <a:lnTo>
                    <a:pt x="678" y="642"/>
                  </a:lnTo>
                  <a:lnTo>
                    <a:pt x="678" y="648"/>
                  </a:lnTo>
                  <a:lnTo>
                    <a:pt x="684" y="654"/>
                  </a:lnTo>
                  <a:lnTo>
                    <a:pt x="690" y="666"/>
                  </a:lnTo>
                  <a:lnTo>
                    <a:pt x="690" y="672"/>
                  </a:lnTo>
                  <a:lnTo>
                    <a:pt x="696" y="672"/>
                  </a:lnTo>
                  <a:lnTo>
                    <a:pt x="696" y="684"/>
                  </a:lnTo>
                  <a:lnTo>
                    <a:pt x="708" y="690"/>
                  </a:lnTo>
                  <a:lnTo>
                    <a:pt x="720" y="696"/>
                  </a:lnTo>
                  <a:lnTo>
                    <a:pt x="726" y="696"/>
                  </a:lnTo>
                  <a:lnTo>
                    <a:pt x="732" y="696"/>
                  </a:lnTo>
                  <a:lnTo>
                    <a:pt x="738" y="696"/>
                  </a:lnTo>
                  <a:lnTo>
                    <a:pt x="738" y="702"/>
                  </a:lnTo>
                  <a:lnTo>
                    <a:pt x="738" y="708"/>
                  </a:lnTo>
                  <a:lnTo>
                    <a:pt x="738" y="714"/>
                  </a:lnTo>
                  <a:lnTo>
                    <a:pt x="744" y="714"/>
                  </a:lnTo>
                  <a:lnTo>
                    <a:pt x="756" y="720"/>
                  </a:lnTo>
                  <a:lnTo>
                    <a:pt x="780" y="726"/>
                  </a:lnTo>
                  <a:lnTo>
                    <a:pt x="792" y="732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22" y="774"/>
                  </a:lnTo>
                  <a:lnTo>
                    <a:pt x="834" y="786"/>
                  </a:lnTo>
                  <a:lnTo>
                    <a:pt x="834" y="792"/>
                  </a:lnTo>
                  <a:lnTo>
                    <a:pt x="834" y="798"/>
                  </a:lnTo>
                  <a:lnTo>
                    <a:pt x="828" y="798"/>
                  </a:lnTo>
                  <a:lnTo>
                    <a:pt x="828" y="804"/>
                  </a:lnTo>
                  <a:lnTo>
                    <a:pt x="834" y="816"/>
                  </a:lnTo>
                  <a:lnTo>
                    <a:pt x="834" y="834"/>
                  </a:lnTo>
                  <a:lnTo>
                    <a:pt x="834" y="840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34" y="858"/>
                  </a:lnTo>
                  <a:lnTo>
                    <a:pt x="834" y="864"/>
                  </a:lnTo>
                  <a:lnTo>
                    <a:pt x="834" y="876"/>
                  </a:lnTo>
                  <a:lnTo>
                    <a:pt x="828" y="960"/>
                  </a:lnTo>
                  <a:lnTo>
                    <a:pt x="816" y="966"/>
                  </a:lnTo>
                  <a:lnTo>
                    <a:pt x="798" y="972"/>
                  </a:lnTo>
                  <a:lnTo>
                    <a:pt x="786" y="990"/>
                  </a:lnTo>
                  <a:lnTo>
                    <a:pt x="774" y="990"/>
                  </a:lnTo>
                  <a:lnTo>
                    <a:pt x="762" y="1008"/>
                  </a:lnTo>
                  <a:lnTo>
                    <a:pt x="732" y="1014"/>
                  </a:lnTo>
                  <a:lnTo>
                    <a:pt x="714" y="1026"/>
                  </a:lnTo>
                  <a:lnTo>
                    <a:pt x="690" y="1050"/>
                  </a:lnTo>
                  <a:lnTo>
                    <a:pt x="654" y="1056"/>
                  </a:lnTo>
                  <a:lnTo>
                    <a:pt x="630" y="1056"/>
                  </a:lnTo>
                  <a:lnTo>
                    <a:pt x="606" y="1068"/>
                  </a:lnTo>
                  <a:lnTo>
                    <a:pt x="600" y="1092"/>
                  </a:lnTo>
                  <a:lnTo>
                    <a:pt x="600" y="1098"/>
                  </a:lnTo>
                  <a:lnTo>
                    <a:pt x="588" y="1104"/>
                  </a:lnTo>
                  <a:lnTo>
                    <a:pt x="582" y="1104"/>
                  </a:lnTo>
                  <a:lnTo>
                    <a:pt x="570" y="1110"/>
                  </a:lnTo>
                  <a:lnTo>
                    <a:pt x="564" y="111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7" name="Freeform 12">
              <a:extLst>
                <a:ext uri="{FF2B5EF4-FFF2-40B4-BE49-F238E27FC236}">
                  <a16:creationId xmlns:a16="http://schemas.microsoft.com/office/drawing/2014/main" id="{6C93C114-E5D0-49BB-A44C-A127CE01CFE4}"/>
                </a:ext>
              </a:extLst>
            </p:cNvPr>
            <p:cNvSpPr>
              <a:spLocks/>
            </p:cNvSpPr>
            <p:nvPr/>
          </p:nvSpPr>
          <p:spPr bwMode="gray">
            <a:xfrm>
              <a:off x="1930810" y="2271838"/>
              <a:ext cx="923547" cy="845397"/>
            </a:xfrm>
            <a:custGeom>
              <a:avLst/>
              <a:gdLst>
                <a:gd name="T0" fmla="*/ 138 w 1740"/>
                <a:gd name="T1" fmla="*/ 134 h 1590"/>
                <a:gd name="T2" fmla="*/ 128 w 1740"/>
                <a:gd name="T3" fmla="*/ 131 h 1590"/>
                <a:gd name="T4" fmla="*/ 121 w 1740"/>
                <a:gd name="T5" fmla="*/ 130 h 1590"/>
                <a:gd name="T6" fmla="*/ 119 w 1740"/>
                <a:gd name="T7" fmla="*/ 134 h 1590"/>
                <a:gd name="T8" fmla="*/ 110 w 1740"/>
                <a:gd name="T9" fmla="*/ 132 h 1590"/>
                <a:gd name="T10" fmla="*/ 111 w 1740"/>
                <a:gd name="T11" fmla="*/ 127 h 1590"/>
                <a:gd name="T12" fmla="*/ 103 w 1740"/>
                <a:gd name="T13" fmla="*/ 117 h 1590"/>
                <a:gd name="T14" fmla="*/ 93 w 1740"/>
                <a:gd name="T15" fmla="*/ 123 h 1590"/>
                <a:gd name="T16" fmla="*/ 80 w 1740"/>
                <a:gd name="T17" fmla="*/ 118 h 1590"/>
                <a:gd name="T18" fmla="*/ 66 w 1740"/>
                <a:gd name="T19" fmla="*/ 117 h 1590"/>
                <a:gd name="T20" fmla="*/ 66 w 1740"/>
                <a:gd name="T21" fmla="*/ 110 h 1590"/>
                <a:gd name="T22" fmla="*/ 69 w 1740"/>
                <a:gd name="T23" fmla="*/ 107 h 1590"/>
                <a:gd name="T24" fmla="*/ 68 w 1740"/>
                <a:gd name="T25" fmla="*/ 102 h 1590"/>
                <a:gd name="T26" fmla="*/ 68 w 1740"/>
                <a:gd name="T27" fmla="*/ 96 h 1590"/>
                <a:gd name="T28" fmla="*/ 67 w 1740"/>
                <a:gd name="T29" fmla="*/ 82 h 1590"/>
                <a:gd name="T30" fmla="*/ 58 w 1740"/>
                <a:gd name="T31" fmla="*/ 82 h 1590"/>
                <a:gd name="T32" fmla="*/ 52 w 1740"/>
                <a:gd name="T33" fmla="*/ 82 h 1590"/>
                <a:gd name="T34" fmla="*/ 46 w 1740"/>
                <a:gd name="T35" fmla="*/ 80 h 1590"/>
                <a:gd name="T36" fmla="*/ 45 w 1740"/>
                <a:gd name="T37" fmla="*/ 74 h 1590"/>
                <a:gd name="T38" fmla="*/ 52 w 1740"/>
                <a:gd name="T39" fmla="*/ 70 h 1590"/>
                <a:gd name="T40" fmla="*/ 52 w 1740"/>
                <a:gd name="T41" fmla="*/ 64 h 1590"/>
                <a:gd name="T42" fmla="*/ 42 w 1740"/>
                <a:gd name="T43" fmla="*/ 53 h 1590"/>
                <a:gd name="T44" fmla="*/ 35 w 1740"/>
                <a:gd name="T45" fmla="*/ 52 h 1590"/>
                <a:gd name="T46" fmla="*/ 20 w 1740"/>
                <a:gd name="T47" fmla="*/ 51 h 1590"/>
                <a:gd name="T48" fmla="*/ 17 w 1740"/>
                <a:gd name="T49" fmla="*/ 56 h 1590"/>
                <a:gd name="T50" fmla="*/ 11 w 1740"/>
                <a:gd name="T51" fmla="*/ 61 h 1590"/>
                <a:gd name="T52" fmla="*/ 7 w 1740"/>
                <a:gd name="T53" fmla="*/ 63 h 1590"/>
                <a:gd name="T54" fmla="*/ 0 w 1740"/>
                <a:gd name="T55" fmla="*/ 55 h 1590"/>
                <a:gd name="T56" fmla="*/ 2 w 1740"/>
                <a:gd name="T57" fmla="*/ 50 h 1590"/>
                <a:gd name="T58" fmla="*/ 0 w 1740"/>
                <a:gd name="T59" fmla="*/ 44 h 1590"/>
                <a:gd name="T60" fmla="*/ 2 w 1740"/>
                <a:gd name="T61" fmla="*/ 38 h 1590"/>
                <a:gd name="T62" fmla="*/ 7 w 1740"/>
                <a:gd name="T63" fmla="*/ 35 h 1590"/>
                <a:gd name="T64" fmla="*/ 11 w 1740"/>
                <a:gd name="T65" fmla="*/ 30 h 1590"/>
                <a:gd name="T66" fmla="*/ 21 w 1740"/>
                <a:gd name="T67" fmla="*/ 26 h 1590"/>
                <a:gd name="T68" fmla="*/ 29 w 1740"/>
                <a:gd name="T69" fmla="*/ 25 h 1590"/>
                <a:gd name="T70" fmla="*/ 35 w 1740"/>
                <a:gd name="T71" fmla="*/ 21 h 1590"/>
                <a:gd name="T72" fmla="*/ 36 w 1740"/>
                <a:gd name="T73" fmla="*/ 16 h 1590"/>
                <a:gd name="T74" fmla="*/ 41 w 1740"/>
                <a:gd name="T75" fmla="*/ 11 h 1590"/>
                <a:gd name="T76" fmla="*/ 51 w 1740"/>
                <a:gd name="T77" fmla="*/ 9 h 1590"/>
                <a:gd name="T78" fmla="*/ 59 w 1740"/>
                <a:gd name="T79" fmla="*/ 21 h 1590"/>
                <a:gd name="T80" fmla="*/ 65 w 1740"/>
                <a:gd name="T81" fmla="*/ 13 h 1590"/>
                <a:gd name="T82" fmla="*/ 73 w 1740"/>
                <a:gd name="T83" fmla="*/ 8 h 1590"/>
                <a:gd name="T84" fmla="*/ 82 w 1740"/>
                <a:gd name="T85" fmla="*/ 12 h 1590"/>
                <a:gd name="T86" fmla="*/ 88 w 1740"/>
                <a:gd name="T87" fmla="*/ 12 h 1590"/>
                <a:gd name="T88" fmla="*/ 99 w 1740"/>
                <a:gd name="T89" fmla="*/ 7 h 1590"/>
                <a:gd name="T90" fmla="*/ 114 w 1740"/>
                <a:gd name="T91" fmla="*/ 0 h 1590"/>
                <a:gd name="T92" fmla="*/ 117 w 1740"/>
                <a:gd name="T93" fmla="*/ 10 h 1590"/>
                <a:gd name="T94" fmla="*/ 132 w 1740"/>
                <a:gd name="T95" fmla="*/ 17 h 1590"/>
                <a:gd name="T96" fmla="*/ 140 w 1740"/>
                <a:gd name="T97" fmla="*/ 25 h 1590"/>
                <a:gd name="T98" fmla="*/ 140 w 1740"/>
                <a:gd name="T99" fmla="*/ 33 h 1590"/>
                <a:gd name="T100" fmla="*/ 140 w 1740"/>
                <a:gd name="T101" fmla="*/ 44 h 1590"/>
                <a:gd name="T102" fmla="*/ 138 w 1740"/>
                <a:gd name="T103" fmla="*/ 48 h 1590"/>
                <a:gd name="T104" fmla="*/ 141 w 1740"/>
                <a:gd name="T105" fmla="*/ 49 h 1590"/>
                <a:gd name="T106" fmla="*/ 146 w 1740"/>
                <a:gd name="T107" fmla="*/ 50 h 1590"/>
                <a:gd name="T108" fmla="*/ 149 w 1740"/>
                <a:gd name="T109" fmla="*/ 59 h 1590"/>
                <a:gd name="T110" fmla="*/ 148 w 1740"/>
                <a:gd name="T111" fmla="*/ 67 h 1590"/>
                <a:gd name="T112" fmla="*/ 141 w 1740"/>
                <a:gd name="T113" fmla="*/ 78 h 1590"/>
                <a:gd name="T114" fmla="*/ 141 w 1740"/>
                <a:gd name="T115" fmla="*/ 91 h 1590"/>
                <a:gd name="T116" fmla="*/ 138 w 1740"/>
                <a:gd name="T117" fmla="*/ 102 h 1590"/>
                <a:gd name="T118" fmla="*/ 138 w 1740"/>
                <a:gd name="T119" fmla="*/ 110 h 1590"/>
                <a:gd name="T120" fmla="*/ 144 w 1740"/>
                <a:gd name="T121" fmla="*/ 118 h 1590"/>
                <a:gd name="T122" fmla="*/ 143 w 1740"/>
                <a:gd name="T123" fmla="*/ 125 h 159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740"/>
                <a:gd name="T187" fmla="*/ 0 h 1590"/>
                <a:gd name="T188" fmla="*/ 1740 w 1740"/>
                <a:gd name="T189" fmla="*/ 1590 h 159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740" h="1590">
                  <a:moveTo>
                    <a:pt x="1638" y="1458"/>
                  </a:moveTo>
                  <a:lnTo>
                    <a:pt x="1638" y="1482"/>
                  </a:lnTo>
                  <a:lnTo>
                    <a:pt x="1638" y="1500"/>
                  </a:lnTo>
                  <a:lnTo>
                    <a:pt x="1626" y="1500"/>
                  </a:lnTo>
                  <a:lnTo>
                    <a:pt x="1620" y="1500"/>
                  </a:lnTo>
                  <a:lnTo>
                    <a:pt x="1614" y="1500"/>
                  </a:lnTo>
                  <a:lnTo>
                    <a:pt x="1614" y="1506"/>
                  </a:lnTo>
                  <a:lnTo>
                    <a:pt x="1614" y="1512"/>
                  </a:lnTo>
                  <a:lnTo>
                    <a:pt x="1620" y="1518"/>
                  </a:lnTo>
                  <a:lnTo>
                    <a:pt x="1614" y="1524"/>
                  </a:lnTo>
                  <a:lnTo>
                    <a:pt x="1590" y="1536"/>
                  </a:lnTo>
                  <a:lnTo>
                    <a:pt x="1584" y="1566"/>
                  </a:lnTo>
                  <a:lnTo>
                    <a:pt x="1578" y="1590"/>
                  </a:lnTo>
                  <a:lnTo>
                    <a:pt x="1548" y="1590"/>
                  </a:lnTo>
                  <a:lnTo>
                    <a:pt x="1542" y="1584"/>
                  </a:lnTo>
                  <a:lnTo>
                    <a:pt x="1542" y="1572"/>
                  </a:lnTo>
                  <a:lnTo>
                    <a:pt x="1536" y="1566"/>
                  </a:lnTo>
                  <a:lnTo>
                    <a:pt x="1536" y="1554"/>
                  </a:lnTo>
                  <a:lnTo>
                    <a:pt x="1536" y="1548"/>
                  </a:lnTo>
                  <a:lnTo>
                    <a:pt x="1506" y="1530"/>
                  </a:lnTo>
                  <a:lnTo>
                    <a:pt x="1488" y="1506"/>
                  </a:lnTo>
                  <a:lnTo>
                    <a:pt x="1464" y="1500"/>
                  </a:lnTo>
                  <a:lnTo>
                    <a:pt x="1470" y="1494"/>
                  </a:lnTo>
                  <a:lnTo>
                    <a:pt x="1470" y="1488"/>
                  </a:lnTo>
                  <a:lnTo>
                    <a:pt x="1470" y="1482"/>
                  </a:lnTo>
                  <a:lnTo>
                    <a:pt x="1428" y="1464"/>
                  </a:lnTo>
                  <a:lnTo>
                    <a:pt x="1404" y="1470"/>
                  </a:lnTo>
                  <a:lnTo>
                    <a:pt x="1398" y="1470"/>
                  </a:lnTo>
                  <a:lnTo>
                    <a:pt x="1392" y="1476"/>
                  </a:lnTo>
                  <a:lnTo>
                    <a:pt x="1386" y="1476"/>
                  </a:lnTo>
                  <a:lnTo>
                    <a:pt x="1386" y="1482"/>
                  </a:lnTo>
                  <a:lnTo>
                    <a:pt x="1392" y="1482"/>
                  </a:lnTo>
                  <a:lnTo>
                    <a:pt x="1386" y="1488"/>
                  </a:lnTo>
                  <a:lnTo>
                    <a:pt x="1386" y="1494"/>
                  </a:lnTo>
                  <a:lnTo>
                    <a:pt x="1380" y="1494"/>
                  </a:lnTo>
                  <a:lnTo>
                    <a:pt x="1380" y="1500"/>
                  </a:lnTo>
                  <a:lnTo>
                    <a:pt x="1380" y="1512"/>
                  </a:lnTo>
                  <a:lnTo>
                    <a:pt x="1380" y="1518"/>
                  </a:lnTo>
                  <a:lnTo>
                    <a:pt x="1380" y="1524"/>
                  </a:lnTo>
                  <a:lnTo>
                    <a:pt x="1380" y="1530"/>
                  </a:lnTo>
                  <a:lnTo>
                    <a:pt x="1374" y="1536"/>
                  </a:lnTo>
                  <a:lnTo>
                    <a:pt x="1374" y="1542"/>
                  </a:lnTo>
                  <a:lnTo>
                    <a:pt x="1368" y="1542"/>
                  </a:lnTo>
                  <a:lnTo>
                    <a:pt x="1362" y="1536"/>
                  </a:lnTo>
                  <a:lnTo>
                    <a:pt x="1356" y="1542"/>
                  </a:lnTo>
                  <a:lnTo>
                    <a:pt x="1344" y="1554"/>
                  </a:lnTo>
                  <a:lnTo>
                    <a:pt x="1332" y="1560"/>
                  </a:lnTo>
                  <a:lnTo>
                    <a:pt x="1302" y="1554"/>
                  </a:lnTo>
                  <a:lnTo>
                    <a:pt x="1290" y="1554"/>
                  </a:lnTo>
                  <a:lnTo>
                    <a:pt x="1278" y="1542"/>
                  </a:lnTo>
                  <a:lnTo>
                    <a:pt x="1272" y="1530"/>
                  </a:lnTo>
                  <a:lnTo>
                    <a:pt x="1272" y="1524"/>
                  </a:lnTo>
                  <a:lnTo>
                    <a:pt x="1272" y="1518"/>
                  </a:lnTo>
                  <a:lnTo>
                    <a:pt x="1266" y="1518"/>
                  </a:lnTo>
                  <a:lnTo>
                    <a:pt x="1266" y="1512"/>
                  </a:lnTo>
                  <a:lnTo>
                    <a:pt x="1266" y="1506"/>
                  </a:lnTo>
                  <a:lnTo>
                    <a:pt x="1272" y="1506"/>
                  </a:lnTo>
                  <a:lnTo>
                    <a:pt x="1272" y="1500"/>
                  </a:lnTo>
                  <a:lnTo>
                    <a:pt x="1278" y="1500"/>
                  </a:lnTo>
                  <a:lnTo>
                    <a:pt x="1278" y="1494"/>
                  </a:lnTo>
                  <a:lnTo>
                    <a:pt x="1278" y="1488"/>
                  </a:lnTo>
                  <a:lnTo>
                    <a:pt x="1284" y="1488"/>
                  </a:lnTo>
                  <a:lnTo>
                    <a:pt x="1284" y="1482"/>
                  </a:lnTo>
                  <a:lnTo>
                    <a:pt x="1290" y="1476"/>
                  </a:lnTo>
                  <a:lnTo>
                    <a:pt x="1284" y="1470"/>
                  </a:lnTo>
                  <a:lnTo>
                    <a:pt x="1278" y="1458"/>
                  </a:lnTo>
                  <a:lnTo>
                    <a:pt x="1278" y="1452"/>
                  </a:lnTo>
                  <a:lnTo>
                    <a:pt x="1260" y="1428"/>
                  </a:lnTo>
                  <a:lnTo>
                    <a:pt x="1254" y="1416"/>
                  </a:lnTo>
                  <a:lnTo>
                    <a:pt x="1254" y="1410"/>
                  </a:lnTo>
                  <a:lnTo>
                    <a:pt x="1248" y="1398"/>
                  </a:lnTo>
                  <a:lnTo>
                    <a:pt x="1242" y="1398"/>
                  </a:lnTo>
                  <a:lnTo>
                    <a:pt x="1236" y="1398"/>
                  </a:lnTo>
                  <a:lnTo>
                    <a:pt x="1218" y="1386"/>
                  </a:lnTo>
                  <a:lnTo>
                    <a:pt x="1212" y="1362"/>
                  </a:lnTo>
                  <a:lnTo>
                    <a:pt x="1200" y="1344"/>
                  </a:lnTo>
                  <a:lnTo>
                    <a:pt x="1188" y="1338"/>
                  </a:lnTo>
                  <a:lnTo>
                    <a:pt x="1164" y="1338"/>
                  </a:lnTo>
                  <a:lnTo>
                    <a:pt x="1158" y="1344"/>
                  </a:lnTo>
                  <a:lnTo>
                    <a:pt x="1152" y="1350"/>
                  </a:lnTo>
                  <a:lnTo>
                    <a:pt x="1152" y="1356"/>
                  </a:lnTo>
                  <a:lnTo>
                    <a:pt x="1140" y="1362"/>
                  </a:lnTo>
                  <a:lnTo>
                    <a:pt x="1134" y="1380"/>
                  </a:lnTo>
                  <a:lnTo>
                    <a:pt x="1116" y="1398"/>
                  </a:lnTo>
                  <a:lnTo>
                    <a:pt x="1110" y="1416"/>
                  </a:lnTo>
                  <a:lnTo>
                    <a:pt x="1086" y="1416"/>
                  </a:lnTo>
                  <a:lnTo>
                    <a:pt x="1080" y="1410"/>
                  </a:lnTo>
                  <a:lnTo>
                    <a:pt x="1074" y="1410"/>
                  </a:lnTo>
                  <a:lnTo>
                    <a:pt x="1074" y="1404"/>
                  </a:lnTo>
                  <a:lnTo>
                    <a:pt x="1062" y="1404"/>
                  </a:lnTo>
                  <a:lnTo>
                    <a:pt x="1062" y="1380"/>
                  </a:lnTo>
                  <a:lnTo>
                    <a:pt x="1038" y="1380"/>
                  </a:lnTo>
                  <a:lnTo>
                    <a:pt x="1026" y="1350"/>
                  </a:lnTo>
                  <a:lnTo>
                    <a:pt x="996" y="1326"/>
                  </a:lnTo>
                  <a:lnTo>
                    <a:pt x="966" y="1314"/>
                  </a:lnTo>
                  <a:lnTo>
                    <a:pt x="954" y="1320"/>
                  </a:lnTo>
                  <a:lnTo>
                    <a:pt x="942" y="1338"/>
                  </a:lnTo>
                  <a:lnTo>
                    <a:pt x="930" y="1338"/>
                  </a:lnTo>
                  <a:lnTo>
                    <a:pt x="924" y="1350"/>
                  </a:lnTo>
                  <a:lnTo>
                    <a:pt x="906" y="1356"/>
                  </a:lnTo>
                  <a:lnTo>
                    <a:pt x="846" y="1356"/>
                  </a:lnTo>
                  <a:lnTo>
                    <a:pt x="834" y="1368"/>
                  </a:lnTo>
                  <a:lnTo>
                    <a:pt x="810" y="1362"/>
                  </a:lnTo>
                  <a:lnTo>
                    <a:pt x="792" y="1362"/>
                  </a:lnTo>
                  <a:lnTo>
                    <a:pt x="780" y="1368"/>
                  </a:lnTo>
                  <a:lnTo>
                    <a:pt x="762" y="1368"/>
                  </a:lnTo>
                  <a:lnTo>
                    <a:pt x="762" y="1362"/>
                  </a:lnTo>
                  <a:lnTo>
                    <a:pt x="750" y="1362"/>
                  </a:lnTo>
                  <a:lnTo>
                    <a:pt x="750" y="1338"/>
                  </a:lnTo>
                  <a:lnTo>
                    <a:pt x="762" y="1338"/>
                  </a:lnTo>
                  <a:lnTo>
                    <a:pt x="762" y="1326"/>
                  </a:lnTo>
                  <a:lnTo>
                    <a:pt x="762" y="1314"/>
                  </a:lnTo>
                  <a:lnTo>
                    <a:pt x="732" y="1314"/>
                  </a:lnTo>
                  <a:lnTo>
                    <a:pt x="726" y="1308"/>
                  </a:lnTo>
                  <a:lnTo>
                    <a:pt x="732" y="1284"/>
                  </a:lnTo>
                  <a:lnTo>
                    <a:pt x="732" y="1278"/>
                  </a:lnTo>
                  <a:lnTo>
                    <a:pt x="738" y="1272"/>
                  </a:lnTo>
                  <a:lnTo>
                    <a:pt x="738" y="1266"/>
                  </a:lnTo>
                  <a:lnTo>
                    <a:pt x="744" y="1266"/>
                  </a:lnTo>
                  <a:lnTo>
                    <a:pt x="750" y="1272"/>
                  </a:lnTo>
                  <a:lnTo>
                    <a:pt x="756" y="1266"/>
                  </a:lnTo>
                  <a:lnTo>
                    <a:pt x="762" y="1266"/>
                  </a:lnTo>
                  <a:lnTo>
                    <a:pt x="768" y="1260"/>
                  </a:lnTo>
                  <a:lnTo>
                    <a:pt x="774" y="1260"/>
                  </a:lnTo>
                  <a:lnTo>
                    <a:pt x="780" y="1254"/>
                  </a:lnTo>
                  <a:lnTo>
                    <a:pt x="774" y="1254"/>
                  </a:lnTo>
                  <a:lnTo>
                    <a:pt x="768" y="1254"/>
                  </a:lnTo>
                  <a:lnTo>
                    <a:pt x="774" y="1248"/>
                  </a:lnTo>
                  <a:lnTo>
                    <a:pt x="774" y="1242"/>
                  </a:lnTo>
                  <a:lnTo>
                    <a:pt x="780" y="1236"/>
                  </a:lnTo>
                  <a:lnTo>
                    <a:pt x="786" y="1236"/>
                  </a:lnTo>
                  <a:lnTo>
                    <a:pt x="792" y="1230"/>
                  </a:lnTo>
                  <a:lnTo>
                    <a:pt x="792" y="1236"/>
                  </a:lnTo>
                  <a:lnTo>
                    <a:pt x="798" y="1236"/>
                  </a:lnTo>
                  <a:lnTo>
                    <a:pt x="798" y="1230"/>
                  </a:lnTo>
                  <a:lnTo>
                    <a:pt x="804" y="1230"/>
                  </a:lnTo>
                  <a:lnTo>
                    <a:pt x="804" y="1218"/>
                  </a:lnTo>
                  <a:lnTo>
                    <a:pt x="804" y="1206"/>
                  </a:lnTo>
                  <a:lnTo>
                    <a:pt x="792" y="1188"/>
                  </a:lnTo>
                  <a:lnTo>
                    <a:pt x="768" y="1182"/>
                  </a:lnTo>
                  <a:lnTo>
                    <a:pt x="768" y="1170"/>
                  </a:lnTo>
                  <a:lnTo>
                    <a:pt x="774" y="1170"/>
                  </a:lnTo>
                  <a:lnTo>
                    <a:pt x="780" y="1170"/>
                  </a:lnTo>
                  <a:lnTo>
                    <a:pt x="786" y="1170"/>
                  </a:lnTo>
                  <a:lnTo>
                    <a:pt x="780" y="1152"/>
                  </a:lnTo>
                  <a:lnTo>
                    <a:pt x="780" y="1146"/>
                  </a:lnTo>
                  <a:lnTo>
                    <a:pt x="744" y="1140"/>
                  </a:lnTo>
                  <a:lnTo>
                    <a:pt x="732" y="1128"/>
                  </a:lnTo>
                  <a:lnTo>
                    <a:pt x="720" y="1122"/>
                  </a:lnTo>
                  <a:lnTo>
                    <a:pt x="732" y="1116"/>
                  </a:lnTo>
                  <a:lnTo>
                    <a:pt x="750" y="1104"/>
                  </a:lnTo>
                  <a:lnTo>
                    <a:pt x="756" y="1116"/>
                  </a:lnTo>
                  <a:lnTo>
                    <a:pt x="774" y="1116"/>
                  </a:lnTo>
                  <a:lnTo>
                    <a:pt x="780" y="1104"/>
                  </a:lnTo>
                  <a:lnTo>
                    <a:pt x="780" y="1080"/>
                  </a:lnTo>
                  <a:lnTo>
                    <a:pt x="786" y="1080"/>
                  </a:lnTo>
                  <a:lnTo>
                    <a:pt x="786" y="1074"/>
                  </a:lnTo>
                  <a:lnTo>
                    <a:pt x="792" y="1074"/>
                  </a:lnTo>
                  <a:lnTo>
                    <a:pt x="786" y="1068"/>
                  </a:lnTo>
                  <a:lnTo>
                    <a:pt x="786" y="1062"/>
                  </a:lnTo>
                  <a:lnTo>
                    <a:pt x="786" y="1056"/>
                  </a:lnTo>
                  <a:lnTo>
                    <a:pt x="792" y="1050"/>
                  </a:lnTo>
                  <a:lnTo>
                    <a:pt x="786" y="1020"/>
                  </a:lnTo>
                  <a:lnTo>
                    <a:pt x="780" y="960"/>
                  </a:lnTo>
                  <a:lnTo>
                    <a:pt x="768" y="942"/>
                  </a:lnTo>
                  <a:lnTo>
                    <a:pt x="732" y="936"/>
                  </a:lnTo>
                  <a:lnTo>
                    <a:pt x="732" y="942"/>
                  </a:lnTo>
                  <a:lnTo>
                    <a:pt x="726" y="942"/>
                  </a:lnTo>
                  <a:lnTo>
                    <a:pt x="720" y="936"/>
                  </a:lnTo>
                  <a:lnTo>
                    <a:pt x="714" y="942"/>
                  </a:lnTo>
                  <a:lnTo>
                    <a:pt x="708" y="942"/>
                  </a:lnTo>
                  <a:lnTo>
                    <a:pt x="702" y="942"/>
                  </a:lnTo>
                  <a:lnTo>
                    <a:pt x="690" y="936"/>
                  </a:lnTo>
                  <a:lnTo>
                    <a:pt x="684" y="936"/>
                  </a:lnTo>
                  <a:lnTo>
                    <a:pt x="678" y="936"/>
                  </a:lnTo>
                  <a:lnTo>
                    <a:pt x="672" y="936"/>
                  </a:lnTo>
                  <a:lnTo>
                    <a:pt x="666" y="942"/>
                  </a:lnTo>
                  <a:lnTo>
                    <a:pt x="660" y="942"/>
                  </a:lnTo>
                  <a:lnTo>
                    <a:pt x="654" y="942"/>
                  </a:lnTo>
                  <a:lnTo>
                    <a:pt x="648" y="942"/>
                  </a:lnTo>
                  <a:lnTo>
                    <a:pt x="642" y="936"/>
                  </a:lnTo>
                  <a:lnTo>
                    <a:pt x="636" y="936"/>
                  </a:lnTo>
                  <a:lnTo>
                    <a:pt x="630" y="930"/>
                  </a:lnTo>
                  <a:lnTo>
                    <a:pt x="618" y="930"/>
                  </a:lnTo>
                  <a:lnTo>
                    <a:pt x="612" y="930"/>
                  </a:lnTo>
                  <a:lnTo>
                    <a:pt x="606" y="936"/>
                  </a:lnTo>
                  <a:lnTo>
                    <a:pt x="600" y="942"/>
                  </a:lnTo>
                  <a:lnTo>
                    <a:pt x="600" y="936"/>
                  </a:lnTo>
                  <a:lnTo>
                    <a:pt x="594" y="930"/>
                  </a:lnTo>
                  <a:lnTo>
                    <a:pt x="588" y="930"/>
                  </a:lnTo>
                  <a:lnTo>
                    <a:pt x="582" y="930"/>
                  </a:lnTo>
                  <a:lnTo>
                    <a:pt x="576" y="930"/>
                  </a:lnTo>
                  <a:lnTo>
                    <a:pt x="564" y="936"/>
                  </a:lnTo>
                  <a:lnTo>
                    <a:pt x="558" y="936"/>
                  </a:lnTo>
                  <a:lnTo>
                    <a:pt x="546" y="924"/>
                  </a:lnTo>
                  <a:lnTo>
                    <a:pt x="540" y="924"/>
                  </a:lnTo>
                  <a:lnTo>
                    <a:pt x="534" y="918"/>
                  </a:lnTo>
                  <a:lnTo>
                    <a:pt x="528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6" y="918"/>
                  </a:lnTo>
                  <a:lnTo>
                    <a:pt x="516" y="912"/>
                  </a:lnTo>
                  <a:lnTo>
                    <a:pt x="510" y="894"/>
                  </a:lnTo>
                  <a:lnTo>
                    <a:pt x="510" y="882"/>
                  </a:lnTo>
                  <a:lnTo>
                    <a:pt x="510" y="876"/>
                  </a:lnTo>
                  <a:lnTo>
                    <a:pt x="516" y="870"/>
                  </a:lnTo>
                  <a:lnTo>
                    <a:pt x="510" y="864"/>
                  </a:lnTo>
                  <a:lnTo>
                    <a:pt x="516" y="858"/>
                  </a:lnTo>
                  <a:lnTo>
                    <a:pt x="522" y="858"/>
                  </a:lnTo>
                  <a:lnTo>
                    <a:pt x="528" y="858"/>
                  </a:lnTo>
                  <a:lnTo>
                    <a:pt x="522" y="852"/>
                  </a:lnTo>
                  <a:lnTo>
                    <a:pt x="528" y="852"/>
                  </a:lnTo>
                  <a:lnTo>
                    <a:pt x="528" y="846"/>
                  </a:lnTo>
                  <a:lnTo>
                    <a:pt x="552" y="846"/>
                  </a:lnTo>
                  <a:lnTo>
                    <a:pt x="558" y="840"/>
                  </a:lnTo>
                  <a:lnTo>
                    <a:pt x="564" y="828"/>
                  </a:lnTo>
                  <a:lnTo>
                    <a:pt x="570" y="816"/>
                  </a:lnTo>
                  <a:lnTo>
                    <a:pt x="582" y="810"/>
                  </a:lnTo>
                  <a:lnTo>
                    <a:pt x="588" y="804"/>
                  </a:lnTo>
                  <a:lnTo>
                    <a:pt x="594" y="804"/>
                  </a:lnTo>
                  <a:lnTo>
                    <a:pt x="594" y="792"/>
                  </a:lnTo>
                  <a:lnTo>
                    <a:pt x="600" y="786"/>
                  </a:lnTo>
                  <a:lnTo>
                    <a:pt x="606" y="780"/>
                  </a:lnTo>
                  <a:lnTo>
                    <a:pt x="612" y="774"/>
                  </a:lnTo>
                  <a:lnTo>
                    <a:pt x="618" y="774"/>
                  </a:lnTo>
                  <a:lnTo>
                    <a:pt x="618" y="768"/>
                  </a:lnTo>
                  <a:lnTo>
                    <a:pt x="618" y="762"/>
                  </a:lnTo>
                  <a:lnTo>
                    <a:pt x="624" y="756"/>
                  </a:lnTo>
                  <a:lnTo>
                    <a:pt x="618" y="750"/>
                  </a:lnTo>
                  <a:lnTo>
                    <a:pt x="618" y="744"/>
                  </a:lnTo>
                  <a:lnTo>
                    <a:pt x="600" y="738"/>
                  </a:lnTo>
                  <a:lnTo>
                    <a:pt x="558" y="744"/>
                  </a:lnTo>
                  <a:lnTo>
                    <a:pt x="552" y="732"/>
                  </a:lnTo>
                  <a:lnTo>
                    <a:pt x="546" y="720"/>
                  </a:lnTo>
                  <a:lnTo>
                    <a:pt x="564" y="702"/>
                  </a:lnTo>
                  <a:lnTo>
                    <a:pt x="570" y="684"/>
                  </a:lnTo>
                  <a:lnTo>
                    <a:pt x="564" y="648"/>
                  </a:lnTo>
                  <a:lnTo>
                    <a:pt x="534" y="624"/>
                  </a:lnTo>
                  <a:lnTo>
                    <a:pt x="504" y="612"/>
                  </a:lnTo>
                  <a:lnTo>
                    <a:pt x="498" y="606"/>
                  </a:lnTo>
                  <a:lnTo>
                    <a:pt x="492" y="600"/>
                  </a:lnTo>
                  <a:lnTo>
                    <a:pt x="486" y="606"/>
                  </a:lnTo>
                  <a:lnTo>
                    <a:pt x="480" y="558"/>
                  </a:lnTo>
                  <a:lnTo>
                    <a:pt x="462" y="546"/>
                  </a:lnTo>
                  <a:lnTo>
                    <a:pt x="408" y="540"/>
                  </a:lnTo>
                  <a:lnTo>
                    <a:pt x="408" y="546"/>
                  </a:lnTo>
                  <a:lnTo>
                    <a:pt x="408" y="558"/>
                  </a:lnTo>
                  <a:lnTo>
                    <a:pt x="408" y="564"/>
                  </a:lnTo>
                  <a:lnTo>
                    <a:pt x="408" y="570"/>
                  </a:lnTo>
                  <a:lnTo>
                    <a:pt x="414" y="582"/>
                  </a:lnTo>
                  <a:lnTo>
                    <a:pt x="408" y="594"/>
                  </a:lnTo>
                  <a:lnTo>
                    <a:pt x="414" y="594"/>
                  </a:lnTo>
                  <a:lnTo>
                    <a:pt x="408" y="600"/>
                  </a:lnTo>
                  <a:lnTo>
                    <a:pt x="348" y="600"/>
                  </a:lnTo>
                  <a:lnTo>
                    <a:pt x="324" y="600"/>
                  </a:lnTo>
                  <a:lnTo>
                    <a:pt x="324" y="612"/>
                  </a:lnTo>
                  <a:lnTo>
                    <a:pt x="306" y="618"/>
                  </a:lnTo>
                  <a:lnTo>
                    <a:pt x="312" y="618"/>
                  </a:lnTo>
                  <a:lnTo>
                    <a:pt x="294" y="588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76"/>
                  </a:lnTo>
                  <a:lnTo>
                    <a:pt x="240" y="582"/>
                  </a:lnTo>
                  <a:lnTo>
                    <a:pt x="234" y="582"/>
                  </a:lnTo>
                  <a:lnTo>
                    <a:pt x="228" y="588"/>
                  </a:lnTo>
                  <a:lnTo>
                    <a:pt x="222" y="588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8" y="600"/>
                  </a:lnTo>
                  <a:lnTo>
                    <a:pt x="192" y="612"/>
                  </a:lnTo>
                  <a:lnTo>
                    <a:pt x="192" y="618"/>
                  </a:lnTo>
                  <a:lnTo>
                    <a:pt x="198" y="624"/>
                  </a:lnTo>
                  <a:lnTo>
                    <a:pt x="192" y="624"/>
                  </a:lnTo>
                  <a:lnTo>
                    <a:pt x="192" y="630"/>
                  </a:lnTo>
                  <a:lnTo>
                    <a:pt x="192" y="642"/>
                  </a:lnTo>
                  <a:lnTo>
                    <a:pt x="180" y="648"/>
                  </a:lnTo>
                  <a:lnTo>
                    <a:pt x="174" y="654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6"/>
                  </a:lnTo>
                  <a:lnTo>
                    <a:pt x="156" y="672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38" y="690"/>
                  </a:lnTo>
                  <a:lnTo>
                    <a:pt x="132" y="690"/>
                  </a:lnTo>
                  <a:lnTo>
                    <a:pt x="126" y="702"/>
                  </a:lnTo>
                  <a:lnTo>
                    <a:pt x="132" y="708"/>
                  </a:lnTo>
                  <a:lnTo>
                    <a:pt x="126" y="708"/>
                  </a:lnTo>
                  <a:lnTo>
                    <a:pt x="120" y="708"/>
                  </a:lnTo>
                  <a:lnTo>
                    <a:pt x="114" y="708"/>
                  </a:lnTo>
                  <a:lnTo>
                    <a:pt x="108" y="708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78" y="720"/>
                  </a:lnTo>
                  <a:lnTo>
                    <a:pt x="72" y="720"/>
                  </a:lnTo>
                  <a:lnTo>
                    <a:pt x="66" y="720"/>
                  </a:lnTo>
                  <a:lnTo>
                    <a:pt x="54" y="732"/>
                  </a:lnTo>
                  <a:lnTo>
                    <a:pt x="48" y="702"/>
                  </a:lnTo>
                  <a:lnTo>
                    <a:pt x="36" y="666"/>
                  </a:lnTo>
                  <a:lnTo>
                    <a:pt x="0" y="660"/>
                  </a:lnTo>
                  <a:lnTo>
                    <a:pt x="6" y="660"/>
                  </a:lnTo>
                  <a:lnTo>
                    <a:pt x="6" y="654"/>
                  </a:lnTo>
                  <a:lnTo>
                    <a:pt x="6" y="648"/>
                  </a:lnTo>
                  <a:lnTo>
                    <a:pt x="6" y="642"/>
                  </a:lnTo>
                  <a:lnTo>
                    <a:pt x="6" y="624"/>
                  </a:lnTo>
                  <a:lnTo>
                    <a:pt x="6" y="612"/>
                  </a:lnTo>
                  <a:lnTo>
                    <a:pt x="6" y="606"/>
                  </a:lnTo>
                  <a:lnTo>
                    <a:pt x="12" y="612"/>
                  </a:lnTo>
                  <a:lnTo>
                    <a:pt x="18" y="606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30" y="594"/>
                  </a:lnTo>
                  <a:lnTo>
                    <a:pt x="30" y="588"/>
                  </a:lnTo>
                  <a:lnTo>
                    <a:pt x="30" y="582"/>
                  </a:lnTo>
                  <a:lnTo>
                    <a:pt x="24" y="576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18" y="558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36" y="528"/>
                  </a:lnTo>
                  <a:lnTo>
                    <a:pt x="30" y="522"/>
                  </a:lnTo>
                  <a:lnTo>
                    <a:pt x="24" y="522"/>
                  </a:lnTo>
                  <a:lnTo>
                    <a:pt x="18" y="510"/>
                  </a:lnTo>
                  <a:lnTo>
                    <a:pt x="12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8" y="474"/>
                  </a:lnTo>
                  <a:lnTo>
                    <a:pt x="12" y="468"/>
                  </a:lnTo>
                  <a:lnTo>
                    <a:pt x="12" y="462"/>
                  </a:lnTo>
                  <a:lnTo>
                    <a:pt x="18" y="456"/>
                  </a:lnTo>
                  <a:lnTo>
                    <a:pt x="18" y="444"/>
                  </a:lnTo>
                  <a:lnTo>
                    <a:pt x="18" y="438"/>
                  </a:lnTo>
                  <a:lnTo>
                    <a:pt x="24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0" y="420"/>
                  </a:lnTo>
                  <a:lnTo>
                    <a:pt x="30" y="414"/>
                  </a:lnTo>
                  <a:lnTo>
                    <a:pt x="48" y="414"/>
                  </a:lnTo>
                  <a:lnTo>
                    <a:pt x="54" y="408"/>
                  </a:lnTo>
                  <a:lnTo>
                    <a:pt x="60" y="402"/>
                  </a:lnTo>
                  <a:lnTo>
                    <a:pt x="66" y="402"/>
                  </a:lnTo>
                  <a:lnTo>
                    <a:pt x="72" y="402"/>
                  </a:lnTo>
                  <a:lnTo>
                    <a:pt x="78" y="408"/>
                  </a:lnTo>
                  <a:lnTo>
                    <a:pt x="84" y="396"/>
                  </a:lnTo>
                  <a:lnTo>
                    <a:pt x="90" y="390"/>
                  </a:lnTo>
                  <a:lnTo>
                    <a:pt x="90" y="378"/>
                  </a:lnTo>
                  <a:lnTo>
                    <a:pt x="96" y="372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8" y="354"/>
                  </a:lnTo>
                  <a:lnTo>
                    <a:pt x="114" y="348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32" y="336"/>
                  </a:lnTo>
                  <a:lnTo>
                    <a:pt x="132" y="330"/>
                  </a:lnTo>
                  <a:lnTo>
                    <a:pt x="138" y="324"/>
                  </a:lnTo>
                  <a:lnTo>
                    <a:pt x="138" y="318"/>
                  </a:lnTo>
                  <a:lnTo>
                    <a:pt x="144" y="306"/>
                  </a:lnTo>
                  <a:lnTo>
                    <a:pt x="156" y="306"/>
                  </a:lnTo>
                  <a:lnTo>
                    <a:pt x="186" y="300"/>
                  </a:lnTo>
                  <a:lnTo>
                    <a:pt x="198" y="300"/>
                  </a:lnTo>
                  <a:lnTo>
                    <a:pt x="210" y="300"/>
                  </a:lnTo>
                  <a:lnTo>
                    <a:pt x="222" y="300"/>
                  </a:lnTo>
                  <a:lnTo>
                    <a:pt x="246" y="300"/>
                  </a:lnTo>
                  <a:lnTo>
                    <a:pt x="264" y="312"/>
                  </a:lnTo>
                  <a:lnTo>
                    <a:pt x="270" y="312"/>
                  </a:lnTo>
                  <a:lnTo>
                    <a:pt x="282" y="306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300" y="306"/>
                  </a:lnTo>
                  <a:lnTo>
                    <a:pt x="312" y="306"/>
                  </a:lnTo>
                  <a:lnTo>
                    <a:pt x="318" y="300"/>
                  </a:lnTo>
                  <a:lnTo>
                    <a:pt x="324" y="300"/>
                  </a:lnTo>
                  <a:lnTo>
                    <a:pt x="330" y="294"/>
                  </a:lnTo>
                  <a:lnTo>
                    <a:pt x="336" y="288"/>
                  </a:lnTo>
                  <a:lnTo>
                    <a:pt x="354" y="288"/>
                  </a:lnTo>
                  <a:lnTo>
                    <a:pt x="360" y="288"/>
                  </a:lnTo>
                  <a:lnTo>
                    <a:pt x="366" y="282"/>
                  </a:lnTo>
                  <a:lnTo>
                    <a:pt x="372" y="282"/>
                  </a:lnTo>
                  <a:lnTo>
                    <a:pt x="378" y="282"/>
                  </a:lnTo>
                  <a:lnTo>
                    <a:pt x="384" y="276"/>
                  </a:lnTo>
                  <a:lnTo>
                    <a:pt x="384" y="270"/>
                  </a:lnTo>
                  <a:lnTo>
                    <a:pt x="390" y="264"/>
                  </a:lnTo>
                  <a:lnTo>
                    <a:pt x="402" y="258"/>
                  </a:lnTo>
                  <a:lnTo>
                    <a:pt x="402" y="252"/>
                  </a:lnTo>
                  <a:lnTo>
                    <a:pt x="402" y="246"/>
                  </a:lnTo>
                  <a:lnTo>
                    <a:pt x="408" y="234"/>
                  </a:lnTo>
                  <a:lnTo>
                    <a:pt x="414" y="234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14" y="216"/>
                  </a:lnTo>
                  <a:lnTo>
                    <a:pt x="414" y="210"/>
                  </a:lnTo>
                  <a:lnTo>
                    <a:pt x="420" y="210"/>
                  </a:lnTo>
                  <a:lnTo>
                    <a:pt x="414" y="198"/>
                  </a:lnTo>
                  <a:lnTo>
                    <a:pt x="414" y="192"/>
                  </a:lnTo>
                  <a:lnTo>
                    <a:pt x="420" y="192"/>
                  </a:lnTo>
                  <a:lnTo>
                    <a:pt x="420" y="186"/>
                  </a:lnTo>
                  <a:lnTo>
                    <a:pt x="420" y="174"/>
                  </a:lnTo>
                  <a:lnTo>
                    <a:pt x="420" y="168"/>
                  </a:lnTo>
                  <a:lnTo>
                    <a:pt x="426" y="162"/>
                  </a:lnTo>
                  <a:lnTo>
                    <a:pt x="432" y="156"/>
                  </a:lnTo>
                  <a:lnTo>
                    <a:pt x="438" y="144"/>
                  </a:lnTo>
                  <a:lnTo>
                    <a:pt x="444" y="144"/>
                  </a:lnTo>
                  <a:lnTo>
                    <a:pt x="450" y="138"/>
                  </a:lnTo>
                  <a:lnTo>
                    <a:pt x="456" y="138"/>
                  </a:lnTo>
                  <a:lnTo>
                    <a:pt x="462" y="132"/>
                  </a:lnTo>
                  <a:lnTo>
                    <a:pt x="462" y="126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0"/>
                  </a:lnTo>
                  <a:lnTo>
                    <a:pt x="486" y="108"/>
                  </a:lnTo>
                  <a:lnTo>
                    <a:pt x="492" y="108"/>
                  </a:lnTo>
                  <a:lnTo>
                    <a:pt x="498" y="102"/>
                  </a:lnTo>
                  <a:lnTo>
                    <a:pt x="504" y="96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40" y="102"/>
                  </a:lnTo>
                  <a:lnTo>
                    <a:pt x="552" y="108"/>
                  </a:lnTo>
                  <a:lnTo>
                    <a:pt x="582" y="102"/>
                  </a:lnTo>
                  <a:lnTo>
                    <a:pt x="594" y="126"/>
                  </a:lnTo>
                  <a:lnTo>
                    <a:pt x="594" y="144"/>
                  </a:lnTo>
                  <a:lnTo>
                    <a:pt x="588" y="156"/>
                  </a:lnTo>
                  <a:lnTo>
                    <a:pt x="588" y="168"/>
                  </a:lnTo>
                  <a:lnTo>
                    <a:pt x="582" y="180"/>
                  </a:lnTo>
                  <a:lnTo>
                    <a:pt x="570" y="192"/>
                  </a:lnTo>
                  <a:lnTo>
                    <a:pt x="594" y="192"/>
                  </a:lnTo>
                  <a:lnTo>
                    <a:pt x="618" y="198"/>
                  </a:lnTo>
                  <a:lnTo>
                    <a:pt x="642" y="210"/>
                  </a:lnTo>
                  <a:lnTo>
                    <a:pt x="660" y="234"/>
                  </a:lnTo>
                  <a:lnTo>
                    <a:pt x="678" y="246"/>
                  </a:lnTo>
                  <a:lnTo>
                    <a:pt x="684" y="252"/>
                  </a:lnTo>
                  <a:lnTo>
                    <a:pt x="702" y="252"/>
                  </a:lnTo>
                  <a:lnTo>
                    <a:pt x="732" y="234"/>
                  </a:lnTo>
                  <a:lnTo>
                    <a:pt x="732" y="222"/>
                  </a:lnTo>
                  <a:lnTo>
                    <a:pt x="720" y="216"/>
                  </a:lnTo>
                  <a:lnTo>
                    <a:pt x="714" y="198"/>
                  </a:lnTo>
                  <a:lnTo>
                    <a:pt x="714" y="174"/>
                  </a:lnTo>
                  <a:lnTo>
                    <a:pt x="720" y="162"/>
                  </a:lnTo>
                  <a:lnTo>
                    <a:pt x="726" y="162"/>
                  </a:lnTo>
                  <a:lnTo>
                    <a:pt x="732" y="156"/>
                  </a:lnTo>
                  <a:lnTo>
                    <a:pt x="744" y="150"/>
                  </a:lnTo>
                  <a:lnTo>
                    <a:pt x="774" y="162"/>
                  </a:lnTo>
                  <a:lnTo>
                    <a:pt x="786" y="162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16" y="150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2" y="132"/>
                  </a:lnTo>
                  <a:lnTo>
                    <a:pt x="822" y="114"/>
                  </a:lnTo>
                  <a:lnTo>
                    <a:pt x="828" y="108"/>
                  </a:lnTo>
                  <a:lnTo>
                    <a:pt x="834" y="96"/>
                  </a:lnTo>
                  <a:lnTo>
                    <a:pt x="846" y="96"/>
                  </a:lnTo>
                  <a:lnTo>
                    <a:pt x="858" y="90"/>
                  </a:lnTo>
                  <a:lnTo>
                    <a:pt x="870" y="84"/>
                  </a:lnTo>
                  <a:lnTo>
                    <a:pt x="888" y="84"/>
                  </a:lnTo>
                  <a:lnTo>
                    <a:pt x="894" y="90"/>
                  </a:lnTo>
                  <a:lnTo>
                    <a:pt x="894" y="102"/>
                  </a:lnTo>
                  <a:lnTo>
                    <a:pt x="900" y="102"/>
                  </a:lnTo>
                  <a:lnTo>
                    <a:pt x="906" y="114"/>
                  </a:lnTo>
                  <a:lnTo>
                    <a:pt x="930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54" y="138"/>
                  </a:lnTo>
                  <a:lnTo>
                    <a:pt x="966" y="144"/>
                  </a:lnTo>
                  <a:lnTo>
                    <a:pt x="966" y="150"/>
                  </a:lnTo>
                  <a:lnTo>
                    <a:pt x="972" y="150"/>
                  </a:lnTo>
                  <a:lnTo>
                    <a:pt x="978" y="150"/>
                  </a:lnTo>
                  <a:lnTo>
                    <a:pt x="978" y="144"/>
                  </a:lnTo>
                  <a:lnTo>
                    <a:pt x="984" y="144"/>
                  </a:lnTo>
                  <a:lnTo>
                    <a:pt x="990" y="138"/>
                  </a:lnTo>
                  <a:lnTo>
                    <a:pt x="996" y="138"/>
                  </a:lnTo>
                  <a:lnTo>
                    <a:pt x="1002" y="138"/>
                  </a:lnTo>
                  <a:lnTo>
                    <a:pt x="1008" y="138"/>
                  </a:lnTo>
                  <a:lnTo>
                    <a:pt x="1026" y="132"/>
                  </a:lnTo>
                  <a:lnTo>
                    <a:pt x="1044" y="126"/>
                  </a:lnTo>
                  <a:lnTo>
                    <a:pt x="1056" y="120"/>
                  </a:lnTo>
                  <a:lnTo>
                    <a:pt x="1062" y="108"/>
                  </a:lnTo>
                  <a:lnTo>
                    <a:pt x="1056" y="102"/>
                  </a:lnTo>
                  <a:lnTo>
                    <a:pt x="1062" y="96"/>
                  </a:lnTo>
                  <a:lnTo>
                    <a:pt x="1074" y="90"/>
                  </a:lnTo>
                  <a:lnTo>
                    <a:pt x="1080" y="84"/>
                  </a:lnTo>
                  <a:lnTo>
                    <a:pt x="1128" y="84"/>
                  </a:lnTo>
                  <a:lnTo>
                    <a:pt x="1134" y="84"/>
                  </a:lnTo>
                  <a:lnTo>
                    <a:pt x="1140" y="78"/>
                  </a:lnTo>
                  <a:lnTo>
                    <a:pt x="1152" y="72"/>
                  </a:lnTo>
                  <a:lnTo>
                    <a:pt x="1164" y="66"/>
                  </a:lnTo>
                  <a:lnTo>
                    <a:pt x="1170" y="60"/>
                  </a:lnTo>
                  <a:lnTo>
                    <a:pt x="1188" y="48"/>
                  </a:lnTo>
                  <a:lnTo>
                    <a:pt x="1200" y="36"/>
                  </a:lnTo>
                  <a:lnTo>
                    <a:pt x="1218" y="24"/>
                  </a:lnTo>
                  <a:lnTo>
                    <a:pt x="1248" y="24"/>
                  </a:lnTo>
                  <a:lnTo>
                    <a:pt x="1272" y="24"/>
                  </a:lnTo>
                  <a:lnTo>
                    <a:pt x="1284" y="12"/>
                  </a:lnTo>
                  <a:lnTo>
                    <a:pt x="1302" y="0"/>
                  </a:lnTo>
                  <a:lnTo>
                    <a:pt x="1314" y="0"/>
                  </a:lnTo>
                  <a:lnTo>
                    <a:pt x="1326" y="18"/>
                  </a:lnTo>
                  <a:lnTo>
                    <a:pt x="1338" y="30"/>
                  </a:lnTo>
                  <a:lnTo>
                    <a:pt x="1338" y="54"/>
                  </a:lnTo>
                  <a:lnTo>
                    <a:pt x="1332" y="72"/>
                  </a:lnTo>
                  <a:lnTo>
                    <a:pt x="1326" y="72"/>
                  </a:lnTo>
                  <a:lnTo>
                    <a:pt x="1326" y="78"/>
                  </a:lnTo>
                  <a:lnTo>
                    <a:pt x="1326" y="102"/>
                  </a:lnTo>
                  <a:lnTo>
                    <a:pt x="1332" y="102"/>
                  </a:lnTo>
                  <a:lnTo>
                    <a:pt x="1332" y="108"/>
                  </a:lnTo>
                  <a:lnTo>
                    <a:pt x="1344" y="114"/>
                  </a:lnTo>
                  <a:lnTo>
                    <a:pt x="1350" y="114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404" y="132"/>
                  </a:lnTo>
                  <a:lnTo>
                    <a:pt x="1404" y="138"/>
                  </a:lnTo>
                  <a:lnTo>
                    <a:pt x="1410" y="150"/>
                  </a:lnTo>
                  <a:lnTo>
                    <a:pt x="1416" y="162"/>
                  </a:lnTo>
                  <a:lnTo>
                    <a:pt x="1428" y="168"/>
                  </a:lnTo>
                  <a:lnTo>
                    <a:pt x="1440" y="180"/>
                  </a:lnTo>
                  <a:lnTo>
                    <a:pt x="1476" y="174"/>
                  </a:lnTo>
                  <a:lnTo>
                    <a:pt x="1494" y="174"/>
                  </a:lnTo>
                  <a:lnTo>
                    <a:pt x="1512" y="192"/>
                  </a:lnTo>
                  <a:lnTo>
                    <a:pt x="1518" y="204"/>
                  </a:lnTo>
                  <a:lnTo>
                    <a:pt x="1530" y="216"/>
                  </a:lnTo>
                  <a:lnTo>
                    <a:pt x="1548" y="228"/>
                  </a:lnTo>
                  <a:lnTo>
                    <a:pt x="1548" y="234"/>
                  </a:lnTo>
                  <a:lnTo>
                    <a:pt x="1542" y="246"/>
                  </a:lnTo>
                  <a:lnTo>
                    <a:pt x="1560" y="246"/>
                  </a:lnTo>
                  <a:lnTo>
                    <a:pt x="1560" y="252"/>
                  </a:lnTo>
                  <a:lnTo>
                    <a:pt x="1566" y="258"/>
                  </a:lnTo>
                  <a:lnTo>
                    <a:pt x="1578" y="270"/>
                  </a:lnTo>
                  <a:lnTo>
                    <a:pt x="1596" y="270"/>
                  </a:lnTo>
                  <a:lnTo>
                    <a:pt x="1602" y="288"/>
                  </a:lnTo>
                  <a:lnTo>
                    <a:pt x="1608" y="306"/>
                  </a:lnTo>
                  <a:lnTo>
                    <a:pt x="1608" y="318"/>
                  </a:lnTo>
                  <a:lnTo>
                    <a:pt x="1608" y="324"/>
                  </a:lnTo>
                  <a:lnTo>
                    <a:pt x="1614" y="330"/>
                  </a:lnTo>
                  <a:lnTo>
                    <a:pt x="1614" y="336"/>
                  </a:lnTo>
                  <a:lnTo>
                    <a:pt x="1614" y="342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08" y="390"/>
                  </a:lnTo>
                  <a:lnTo>
                    <a:pt x="1602" y="390"/>
                  </a:lnTo>
                  <a:lnTo>
                    <a:pt x="1602" y="396"/>
                  </a:lnTo>
                  <a:lnTo>
                    <a:pt x="1584" y="420"/>
                  </a:lnTo>
                  <a:lnTo>
                    <a:pt x="1584" y="426"/>
                  </a:lnTo>
                  <a:lnTo>
                    <a:pt x="1602" y="474"/>
                  </a:lnTo>
                  <a:lnTo>
                    <a:pt x="1608" y="480"/>
                  </a:lnTo>
                  <a:lnTo>
                    <a:pt x="1608" y="486"/>
                  </a:lnTo>
                  <a:lnTo>
                    <a:pt x="1614" y="486"/>
                  </a:lnTo>
                  <a:lnTo>
                    <a:pt x="1608" y="504"/>
                  </a:lnTo>
                  <a:lnTo>
                    <a:pt x="1572" y="504"/>
                  </a:lnTo>
                  <a:lnTo>
                    <a:pt x="1560" y="510"/>
                  </a:lnTo>
                  <a:lnTo>
                    <a:pt x="1554" y="522"/>
                  </a:lnTo>
                  <a:lnTo>
                    <a:pt x="1560" y="552"/>
                  </a:lnTo>
                  <a:lnTo>
                    <a:pt x="1566" y="552"/>
                  </a:lnTo>
                  <a:lnTo>
                    <a:pt x="1566" y="558"/>
                  </a:lnTo>
                  <a:lnTo>
                    <a:pt x="1572" y="558"/>
                  </a:lnTo>
                  <a:lnTo>
                    <a:pt x="1578" y="558"/>
                  </a:lnTo>
                  <a:lnTo>
                    <a:pt x="1578" y="552"/>
                  </a:lnTo>
                  <a:lnTo>
                    <a:pt x="1584" y="552"/>
                  </a:lnTo>
                  <a:lnTo>
                    <a:pt x="1590" y="552"/>
                  </a:lnTo>
                  <a:lnTo>
                    <a:pt x="1590" y="546"/>
                  </a:lnTo>
                  <a:lnTo>
                    <a:pt x="1596" y="546"/>
                  </a:lnTo>
                  <a:lnTo>
                    <a:pt x="1602" y="552"/>
                  </a:lnTo>
                  <a:lnTo>
                    <a:pt x="1602" y="546"/>
                  </a:lnTo>
                  <a:lnTo>
                    <a:pt x="1608" y="546"/>
                  </a:lnTo>
                  <a:lnTo>
                    <a:pt x="1608" y="552"/>
                  </a:lnTo>
                  <a:lnTo>
                    <a:pt x="1614" y="552"/>
                  </a:lnTo>
                  <a:lnTo>
                    <a:pt x="1614" y="546"/>
                  </a:lnTo>
                  <a:lnTo>
                    <a:pt x="1620" y="552"/>
                  </a:lnTo>
                  <a:lnTo>
                    <a:pt x="1626" y="552"/>
                  </a:lnTo>
                  <a:lnTo>
                    <a:pt x="1626" y="558"/>
                  </a:lnTo>
                  <a:lnTo>
                    <a:pt x="1632" y="558"/>
                  </a:lnTo>
                  <a:lnTo>
                    <a:pt x="1638" y="558"/>
                  </a:lnTo>
                  <a:lnTo>
                    <a:pt x="1644" y="558"/>
                  </a:lnTo>
                  <a:lnTo>
                    <a:pt x="1650" y="558"/>
                  </a:lnTo>
                  <a:lnTo>
                    <a:pt x="1650" y="564"/>
                  </a:lnTo>
                  <a:lnTo>
                    <a:pt x="1656" y="564"/>
                  </a:lnTo>
                  <a:lnTo>
                    <a:pt x="1662" y="564"/>
                  </a:lnTo>
                  <a:lnTo>
                    <a:pt x="1668" y="564"/>
                  </a:lnTo>
                  <a:lnTo>
                    <a:pt x="1668" y="570"/>
                  </a:lnTo>
                  <a:lnTo>
                    <a:pt x="1674" y="570"/>
                  </a:lnTo>
                  <a:lnTo>
                    <a:pt x="1680" y="570"/>
                  </a:lnTo>
                  <a:lnTo>
                    <a:pt x="1686" y="576"/>
                  </a:lnTo>
                  <a:lnTo>
                    <a:pt x="1686" y="582"/>
                  </a:lnTo>
                  <a:lnTo>
                    <a:pt x="1710" y="588"/>
                  </a:lnTo>
                  <a:lnTo>
                    <a:pt x="1710" y="594"/>
                  </a:lnTo>
                  <a:lnTo>
                    <a:pt x="1704" y="600"/>
                  </a:lnTo>
                  <a:lnTo>
                    <a:pt x="1710" y="624"/>
                  </a:lnTo>
                  <a:lnTo>
                    <a:pt x="1698" y="672"/>
                  </a:lnTo>
                  <a:lnTo>
                    <a:pt x="1704" y="678"/>
                  </a:lnTo>
                  <a:lnTo>
                    <a:pt x="1716" y="684"/>
                  </a:lnTo>
                  <a:lnTo>
                    <a:pt x="1716" y="678"/>
                  </a:lnTo>
                  <a:lnTo>
                    <a:pt x="1716" y="684"/>
                  </a:lnTo>
                  <a:lnTo>
                    <a:pt x="1728" y="684"/>
                  </a:lnTo>
                  <a:lnTo>
                    <a:pt x="1728" y="690"/>
                  </a:lnTo>
                  <a:lnTo>
                    <a:pt x="1734" y="696"/>
                  </a:lnTo>
                  <a:lnTo>
                    <a:pt x="1734" y="702"/>
                  </a:lnTo>
                  <a:lnTo>
                    <a:pt x="1740" y="708"/>
                  </a:lnTo>
                  <a:lnTo>
                    <a:pt x="1740" y="714"/>
                  </a:lnTo>
                  <a:lnTo>
                    <a:pt x="1710" y="714"/>
                  </a:lnTo>
                  <a:lnTo>
                    <a:pt x="1710" y="756"/>
                  </a:lnTo>
                  <a:lnTo>
                    <a:pt x="1704" y="762"/>
                  </a:lnTo>
                  <a:lnTo>
                    <a:pt x="1698" y="762"/>
                  </a:lnTo>
                  <a:lnTo>
                    <a:pt x="1698" y="768"/>
                  </a:lnTo>
                  <a:lnTo>
                    <a:pt x="1698" y="774"/>
                  </a:lnTo>
                  <a:lnTo>
                    <a:pt x="1692" y="780"/>
                  </a:lnTo>
                  <a:lnTo>
                    <a:pt x="1692" y="786"/>
                  </a:lnTo>
                  <a:lnTo>
                    <a:pt x="1686" y="786"/>
                  </a:lnTo>
                  <a:lnTo>
                    <a:pt x="1668" y="798"/>
                  </a:lnTo>
                  <a:lnTo>
                    <a:pt x="1662" y="810"/>
                  </a:lnTo>
                  <a:lnTo>
                    <a:pt x="1650" y="810"/>
                  </a:lnTo>
                  <a:lnTo>
                    <a:pt x="1644" y="816"/>
                  </a:lnTo>
                  <a:lnTo>
                    <a:pt x="1638" y="816"/>
                  </a:lnTo>
                  <a:lnTo>
                    <a:pt x="1626" y="852"/>
                  </a:lnTo>
                  <a:lnTo>
                    <a:pt x="1620" y="888"/>
                  </a:lnTo>
                  <a:lnTo>
                    <a:pt x="1626" y="888"/>
                  </a:lnTo>
                  <a:lnTo>
                    <a:pt x="1638" y="912"/>
                  </a:lnTo>
                  <a:lnTo>
                    <a:pt x="1644" y="918"/>
                  </a:lnTo>
                  <a:lnTo>
                    <a:pt x="1650" y="966"/>
                  </a:lnTo>
                  <a:lnTo>
                    <a:pt x="1626" y="972"/>
                  </a:lnTo>
                  <a:lnTo>
                    <a:pt x="1608" y="978"/>
                  </a:lnTo>
                  <a:lnTo>
                    <a:pt x="1614" y="984"/>
                  </a:lnTo>
                  <a:lnTo>
                    <a:pt x="1620" y="984"/>
                  </a:lnTo>
                  <a:lnTo>
                    <a:pt x="1620" y="1020"/>
                  </a:lnTo>
                  <a:lnTo>
                    <a:pt x="1614" y="1038"/>
                  </a:lnTo>
                  <a:lnTo>
                    <a:pt x="1620" y="1044"/>
                  </a:lnTo>
                  <a:lnTo>
                    <a:pt x="1626" y="1056"/>
                  </a:lnTo>
                  <a:lnTo>
                    <a:pt x="1626" y="1074"/>
                  </a:lnTo>
                  <a:lnTo>
                    <a:pt x="1620" y="1080"/>
                  </a:lnTo>
                  <a:lnTo>
                    <a:pt x="1620" y="1104"/>
                  </a:lnTo>
                  <a:lnTo>
                    <a:pt x="1620" y="1110"/>
                  </a:lnTo>
                  <a:lnTo>
                    <a:pt x="1614" y="1116"/>
                  </a:lnTo>
                  <a:lnTo>
                    <a:pt x="1608" y="1140"/>
                  </a:lnTo>
                  <a:lnTo>
                    <a:pt x="1602" y="1146"/>
                  </a:lnTo>
                  <a:lnTo>
                    <a:pt x="1602" y="1164"/>
                  </a:lnTo>
                  <a:lnTo>
                    <a:pt x="1596" y="1170"/>
                  </a:lnTo>
                  <a:lnTo>
                    <a:pt x="1590" y="1164"/>
                  </a:lnTo>
                  <a:lnTo>
                    <a:pt x="1584" y="1164"/>
                  </a:lnTo>
                  <a:lnTo>
                    <a:pt x="1578" y="1164"/>
                  </a:lnTo>
                  <a:lnTo>
                    <a:pt x="1578" y="1188"/>
                  </a:lnTo>
                  <a:lnTo>
                    <a:pt x="1584" y="1194"/>
                  </a:lnTo>
                  <a:lnTo>
                    <a:pt x="1590" y="1194"/>
                  </a:lnTo>
                  <a:lnTo>
                    <a:pt x="1590" y="1212"/>
                  </a:lnTo>
                  <a:lnTo>
                    <a:pt x="1584" y="1212"/>
                  </a:lnTo>
                  <a:lnTo>
                    <a:pt x="1584" y="1224"/>
                  </a:lnTo>
                  <a:lnTo>
                    <a:pt x="1578" y="1224"/>
                  </a:lnTo>
                  <a:lnTo>
                    <a:pt x="1578" y="1236"/>
                  </a:lnTo>
                  <a:lnTo>
                    <a:pt x="1584" y="1254"/>
                  </a:lnTo>
                  <a:lnTo>
                    <a:pt x="1584" y="1260"/>
                  </a:lnTo>
                  <a:lnTo>
                    <a:pt x="1590" y="1260"/>
                  </a:lnTo>
                  <a:lnTo>
                    <a:pt x="1590" y="1266"/>
                  </a:lnTo>
                  <a:lnTo>
                    <a:pt x="1596" y="1284"/>
                  </a:lnTo>
                  <a:lnTo>
                    <a:pt x="1602" y="1278"/>
                  </a:lnTo>
                  <a:lnTo>
                    <a:pt x="1608" y="1284"/>
                  </a:lnTo>
                  <a:lnTo>
                    <a:pt x="1632" y="1350"/>
                  </a:lnTo>
                  <a:lnTo>
                    <a:pt x="1638" y="1356"/>
                  </a:lnTo>
                  <a:lnTo>
                    <a:pt x="1644" y="1356"/>
                  </a:lnTo>
                  <a:lnTo>
                    <a:pt x="1650" y="1356"/>
                  </a:lnTo>
                  <a:lnTo>
                    <a:pt x="1656" y="1356"/>
                  </a:lnTo>
                  <a:lnTo>
                    <a:pt x="1662" y="1362"/>
                  </a:lnTo>
                  <a:lnTo>
                    <a:pt x="1668" y="1356"/>
                  </a:lnTo>
                  <a:lnTo>
                    <a:pt x="1668" y="1380"/>
                  </a:lnTo>
                  <a:lnTo>
                    <a:pt x="1662" y="1392"/>
                  </a:lnTo>
                  <a:lnTo>
                    <a:pt x="1656" y="1404"/>
                  </a:lnTo>
                  <a:lnTo>
                    <a:pt x="1656" y="1410"/>
                  </a:lnTo>
                  <a:lnTo>
                    <a:pt x="1656" y="1416"/>
                  </a:lnTo>
                  <a:lnTo>
                    <a:pt x="1650" y="1422"/>
                  </a:lnTo>
                  <a:lnTo>
                    <a:pt x="1650" y="1428"/>
                  </a:lnTo>
                  <a:lnTo>
                    <a:pt x="1644" y="1428"/>
                  </a:lnTo>
                  <a:lnTo>
                    <a:pt x="1644" y="1434"/>
                  </a:lnTo>
                  <a:lnTo>
                    <a:pt x="1638" y="1434"/>
                  </a:lnTo>
                  <a:lnTo>
                    <a:pt x="1638" y="1440"/>
                  </a:lnTo>
                  <a:lnTo>
                    <a:pt x="1632" y="1440"/>
                  </a:lnTo>
                  <a:lnTo>
                    <a:pt x="1638" y="145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8" name="Freeform 13">
              <a:extLst>
                <a:ext uri="{FF2B5EF4-FFF2-40B4-BE49-F238E27FC236}">
                  <a16:creationId xmlns:a16="http://schemas.microsoft.com/office/drawing/2014/main" id="{66308D9B-1739-4227-AAC3-BB866CD1F5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63374" y="2969626"/>
              <a:ext cx="330956" cy="357840"/>
            </a:xfrm>
            <a:custGeom>
              <a:avLst/>
              <a:gdLst>
                <a:gd name="T0" fmla="*/ 11 w 624"/>
                <a:gd name="T1" fmla="*/ 59 h 672"/>
                <a:gd name="T2" fmla="*/ 4 w 624"/>
                <a:gd name="T3" fmla="*/ 58 h 672"/>
                <a:gd name="T4" fmla="*/ 3 w 624"/>
                <a:gd name="T5" fmla="*/ 58 h 672"/>
                <a:gd name="T6" fmla="*/ 2 w 624"/>
                <a:gd name="T7" fmla="*/ 11 h 672"/>
                <a:gd name="T8" fmla="*/ 13 w 624"/>
                <a:gd name="T9" fmla="*/ 11 h 672"/>
                <a:gd name="T10" fmla="*/ 14 w 624"/>
                <a:gd name="T11" fmla="*/ 11 h 672"/>
                <a:gd name="T12" fmla="*/ 15 w 624"/>
                <a:gd name="T13" fmla="*/ 12 h 672"/>
                <a:gd name="T14" fmla="*/ 18 w 624"/>
                <a:gd name="T15" fmla="*/ 14 h 672"/>
                <a:gd name="T16" fmla="*/ 21 w 624"/>
                <a:gd name="T17" fmla="*/ 16 h 672"/>
                <a:gd name="T18" fmla="*/ 22 w 624"/>
                <a:gd name="T19" fmla="*/ 18 h 672"/>
                <a:gd name="T20" fmla="*/ 23 w 624"/>
                <a:gd name="T21" fmla="*/ 19 h 672"/>
                <a:gd name="T22" fmla="*/ 24 w 624"/>
                <a:gd name="T23" fmla="*/ 19 h 672"/>
                <a:gd name="T24" fmla="*/ 26 w 624"/>
                <a:gd name="T25" fmla="*/ 19 h 672"/>
                <a:gd name="T26" fmla="*/ 27 w 624"/>
                <a:gd name="T27" fmla="*/ 18 h 672"/>
                <a:gd name="T28" fmla="*/ 29 w 624"/>
                <a:gd name="T29" fmla="*/ 15 h 672"/>
                <a:gd name="T30" fmla="*/ 30 w 624"/>
                <a:gd name="T31" fmla="*/ 14 h 672"/>
                <a:gd name="T32" fmla="*/ 31 w 624"/>
                <a:gd name="T33" fmla="*/ 12 h 672"/>
                <a:gd name="T34" fmla="*/ 32 w 624"/>
                <a:gd name="T35" fmla="*/ 12 h 672"/>
                <a:gd name="T36" fmla="*/ 33 w 624"/>
                <a:gd name="T37" fmla="*/ 10 h 672"/>
                <a:gd name="T38" fmla="*/ 34 w 624"/>
                <a:gd name="T39" fmla="*/ 8 h 672"/>
                <a:gd name="T40" fmla="*/ 34 w 624"/>
                <a:gd name="T41" fmla="*/ 6 h 672"/>
                <a:gd name="T42" fmla="*/ 35 w 624"/>
                <a:gd name="T43" fmla="*/ 4 h 672"/>
                <a:gd name="T44" fmla="*/ 42 w 624"/>
                <a:gd name="T45" fmla="*/ 3 h 672"/>
                <a:gd name="T46" fmla="*/ 44 w 624"/>
                <a:gd name="T47" fmla="*/ 2 h 672"/>
                <a:gd name="T48" fmla="*/ 46 w 624"/>
                <a:gd name="T49" fmla="*/ 0 h 672"/>
                <a:gd name="T50" fmla="*/ 51 w 624"/>
                <a:gd name="T51" fmla="*/ 3 h 672"/>
                <a:gd name="T52" fmla="*/ 54 w 624"/>
                <a:gd name="T53" fmla="*/ 6 h 672"/>
                <a:gd name="T54" fmla="*/ 54 w 624"/>
                <a:gd name="T55" fmla="*/ 8 h 672"/>
                <a:gd name="T56" fmla="*/ 52 w 624"/>
                <a:gd name="T57" fmla="*/ 9 h 672"/>
                <a:gd name="T58" fmla="*/ 49 w 624"/>
                <a:gd name="T59" fmla="*/ 11 h 672"/>
                <a:gd name="T60" fmla="*/ 48 w 624"/>
                <a:gd name="T61" fmla="*/ 14 h 672"/>
                <a:gd name="T62" fmla="*/ 46 w 624"/>
                <a:gd name="T63" fmla="*/ 22 h 672"/>
                <a:gd name="T64" fmla="*/ 45 w 624"/>
                <a:gd name="T65" fmla="*/ 39 h 672"/>
                <a:gd name="T66" fmla="*/ 43 w 624"/>
                <a:gd name="T67" fmla="*/ 43 h 672"/>
                <a:gd name="T68" fmla="*/ 39 w 624"/>
                <a:gd name="T69" fmla="*/ 50 h 672"/>
                <a:gd name="T70" fmla="*/ 36 w 624"/>
                <a:gd name="T71" fmla="*/ 53 h 672"/>
                <a:gd name="T72" fmla="*/ 32 w 624"/>
                <a:gd name="T73" fmla="*/ 56 h 672"/>
                <a:gd name="T74" fmla="*/ 30 w 624"/>
                <a:gd name="T75" fmla="*/ 58 h 672"/>
                <a:gd name="T76" fmla="*/ 20 w 624"/>
                <a:gd name="T77" fmla="*/ 59 h 672"/>
                <a:gd name="T78" fmla="*/ 15 w 624"/>
                <a:gd name="T79" fmla="*/ 59 h 67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24"/>
                <a:gd name="T121" fmla="*/ 0 h 672"/>
                <a:gd name="T122" fmla="*/ 624 w 624"/>
                <a:gd name="T123" fmla="*/ 672 h 67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24" h="672">
                  <a:moveTo>
                    <a:pt x="168" y="672"/>
                  </a:moveTo>
                  <a:lnTo>
                    <a:pt x="132" y="672"/>
                  </a:lnTo>
                  <a:lnTo>
                    <a:pt x="72" y="666"/>
                  </a:lnTo>
                  <a:lnTo>
                    <a:pt x="42" y="666"/>
                  </a:lnTo>
                  <a:lnTo>
                    <a:pt x="36" y="666"/>
                  </a:lnTo>
                  <a:lnTo>
                    <a:pt x="30" y="660"/>
                  </a:lnTo>
                  <a:lnTo>
                    <a:pt x="0" y="660"/>
                  </a:lnTo>
                  <a:lnTo>
                    <a:pt x="24" y="120"/>
                  </a:lnTo>
                  <a:lnTo>
                    <a:pt x="60" y="120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62" y="120"/>
                  </a:lnTo>
                  <a:lnTo>
                    <a:pt x="168" y="120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10" y="156"/>
                  </a:lnTo>
                  <a:lnTo>
                    <a:pt x="222" y="174"/>
                  </a:lnTo>
                  <a:lnTo>
                    <a:pt x="240" y="186"/>
                  </a:lnTo>
                  <a:lnTo>
                    <a:pt x="252" y="198"/>
                  </a:lnTo>
                  <a:lnTo>
                    <a:pt x="258" y="204"/>
                  </a:lnTo>
                  <a:lnTo>
                    <a:pt x="264" y="204"/>
                  </a:lnTo>
                  <a:lnTo>
                    <a:pt x="264" y="216"/>
                  </a:lnTo>
                  <a:lnTo>
                    <a:pt x="270" y="216"/>
                  </a:lnTo>
                  <a:lnTo>
                    <a:pt x="282" y="222"/>
                  </a:lnTo>
                  <a:lnTo>
                    <a:pt x="288" y="222"/>
                  </a:lnTo>
                  <a:lnTo>
                    <a:pt x="294" y="216"/>
                  </a:lnTo>
                  <a:lnTo>
                    <a:pt x="294" y="210"/>
                  </a:lnTo>
                  <a:lnTo>
                    <a:pt x="312" y="204"/>
                  </a:lnTo>
                  <a:lnTo>
                    <a:pt x="330" y="186"/>
                  </a:lnTo>
                  <a:lnTo>
                    <a:pt x="336" y="174"/>
                  </a:lnTo>
                  <a:lnTo>
                    <a:pt x="342" y="162"/>
                  </a:lnTo>
                  <a:lnTo>
                    <a:pt x="342" y="156"/>
                  </a:lnTo>
                  <a:lnTo>
                    <a:pt x="348" y="150"/>
                  </a:lnTo>
                  <a:lnTo>
                    <a:pt x="354" y="144"/>
                  </a:lnTo>
                  <a:lnTo>
                    <a:pt x="360" y="138"/>
                  </a:lnTo>
                  <a:lnTo>
                    <a:pt x="366" y="132"/>
                  </a:lnTo>
                  <a:lnTo>
                    <a:pt x="372" y="114"/>
                  </a:lnTo>
                  <a:lnTo>
                    <a:pt x="378" y="114"/>
                  </a:lnTo>
                  <a:lnTo>
                    <a:pt x="378" y="96"/>
                  </a:lnTo>
                  <a:lnTo>
                    <a:pt x="390" y="96"/>
                  </a:lnTo>
                  <a:lnTo>
                    <a:pt x="396" y="84"/>
                  </a:lnTo>
                  <a:lnTo>
                    <a:pt x="396" y="72"/>
                  </a:lnTo>
                  <a:lnTo>
                    <a:pt x="396" y="54"/>
                  </a:lnTo>
                  <a:lnTo>
                    <a:pt x="408" y="42"/>
                  </a:lnTo>
                  <a:lnTo>
                    <a:pt x="468" y="42"/>
                  </a:lnTo>
                  <a:lnTo>
                    <a:pt x="486" y="36"/>
                  </a:lnTo>
                  <a:lnTo>
                    <a:pt x="492" y="24"/>
                  </a:lnTo>
                  <a:lnTo>
                    <a:pt x="504" y="24"/>
                  </a:lnTo>
                  <a:lnTo>
                    <a:pt x="516" y="6"/>
                  </a:lnTo>
                  <a:lnTo>
                    <a:pt x="528" y="0"/>
                  </a:lnTo>
                  <a:lnTo>
                    <a:pt x="558" y="12"/>
                  </a:lnTo>
                  <a:lnTo>
                    <a:pt x="588" y="36"/>
                  </a:lnTo>
                  <a:lnTo>
                    <a:pt x="600" y="66"/>
                  </a:lnTo>
                  <a:lnTo>
                    <a:pt x="624" y="66"/>
                  </a:lnTo>
                  <a:lnTo>
                    <a:pt x="624" y="90"/>
                  </a:lnTo>
                  <a:lnTo>
                    <a:pt x="618" y="90"/>
                  </a:lnTo>
                  <a:lnTo>
                    <a:pt x="618" y="96"/>
                  </a:lnTo>
                  <a:lnTo>
                    <a:pt x="600" y="102"/>
                  </a:lnTo>
                  <a:lnTo>
                    <a:pt x="588" y="108"/>
                  </a:lnTo>
                  <a:lnTo>
                    <a:pt x="570" y="120"/>
                  </a:lnTo>
                  <a:lnTo>
                    <a:pt x="564" y="138"/>
                  </a:lnTo>
                  <a:lnTo>
                    <a:pt x="558" y="162"/>
                  </a:lnTo>
                  <a:lnTo>
                    <a:pt x="540" y="210"/>
                  </a:lnTo>
                  <a:lnTo>
                    <a:pt x="528" y="252"/>
                  </a:lnTo>
                  <a:lnTo>
                    <a:pt x="528" y="402"/>
                  </a:lnTo>
                  <a:lnTo>
                    <a:pt x="522" y="444"/>
                  </a:lnTo>
                  <a:lnTo>
                    <a:pt x="510" y="468"/>
                  </a:lnTo>
                  <a:lnTo>
                    <a:pt x="498" y="498"/>
                  </a:lnTo>
                  <a:lnTo>
                    <a:pt x="474" y="534"/>
                  </a:lnTo>
                  <a:lnTo>
                    <a:pt x="456" y="570"/>
                  </a:lnTo>
                  <a:lnTo>
                    <a:pt x="444" y="576"/>
                  </a:lnTo>
                  <a:lnTo>
                    <a:pt x="420" y="606"/>
                  </a:lnTo>
                  <a:lnTo>
                    <a:pt x="390" y="624"/>
                  </a:lnTo>
                  <a:lnTo>
                    <a:pt x="372" y="642"/>
                  </a:lnTo>
                  <a:lnTo>
                    <a:pt x="366" y="654"/>
                  </a:lnTo>
                  <a:lnTo>
                    <a:pt x="342" y="660"/>
                  </a:lnTo>
                  <a:lnTo>
                    <a:pt x="300" y="666"/>
                  </a:lnTo>
                  <a:lnTo>
                    <a:pt x="234" y="672"/>
                  </a:lnTo>
                  <a:lnTo>
                    <a:pt x="192" y="672"/>
                  </a:lnTo>
                  <a:lnTo>
                    <a:pt x="168" y="672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29" name="Freeform 14">
              <a:extLst>
                <a:ext uri="{FF2B5EF4-FFF2-40B4-BE49-F238E27FC236}">
                  <a16:creationId xmlns:a16="http://schemas.microsoft.com/office/drawing/2014/main" id="{2EA1E999-9CDF-4391-8BC9-7DE71AF9C022}"/>
                </a:ext>
              </a:extLst>
            </p:cNvPr>
            <p:cNvSpPr>
              <a:spLocks/>
            </p:cNvSpPr>
            <p:nvPr/>
          </p:nvSpPr>
          <p:spPr bwMode="gray">
            <a:xfrm>
              <a:off x="2230460" y="2983045"/>
              <a:ext cx="905658" cy="561362"/>
            </a:xfrm>
            <a:custGeom>
              <a:avLst/>
              <a:gdLst>
                <a:gd name="T0" fmla="*/ 31 w 1704"/>
                <a:gd name="T1" fmla="*/ 78 h 1056"/>
                <a:gd name="T2" fmla="*/ 23 w 1704"/>
                <a:gd name="T3" fmla="*/ 78 h 1056"/>
                <a:gd name="T4" fmla="*/ 11 w 1704"/>
                <a:gd name="T5" fmla="*/ 79 h 1056"/>
                <a:gd name="T6" fmla="*/ 1 w 1704"/>
                <a:gd name="T7" fmla="*/ 81 h 1056"/>
                <a:gd name="T8" fmla="*/ 0 w 1704"/>
                <a:gd name="T9" fmla="*/ 62 h 1056"/>
                <a:gd name="T10" fmla="*/ 9 w 1704"/>
                <a:gd name="T11" fmla="*/ 56 h 1056"/>
                <a:gd name="T12" fmla="*/ 27 w 1704"/>
                <a:gd name="T13" fmla="*/ 48 h 1056"/>
                <a:gd name="T14" fmla="*/ 35 w 1704"/>
                <a:gd name="T15" fmla="*/ 20 h 1056"/>
                <a:gd name="T16" fmla="*/ 43 w 1704"/>
                <a:gd name="T17" fmla="*/ 6 h 1056"/>
                <a:gd name="T18" fmla="*/ 47 w 1704"/>
                <a:gd name="T19" fmla="*/ 7 h 1056"/>
                <a:gd name="T20" fmla="*/ 52 w 1704"/>
                <a:gd name="T21" fmla="*/ 0 h 1056"/>
                <a:gd name="T22" fmla="*/ 59 w 1704"/>
                <a:gd name="T23" fmla="*/ 5 h 1056"/>
                <a:gd name="T24" fmla="*/ 63 w 1704"/>
                <a:gd name="T25" fmla="*/ 12 h 1056"/>
                <a:gd name="T26" fmla="*/ 62 w 1704"/>
                <a:gd name="T27" fmla="*/ 15 h 1056"/>
                <a:gd name="T28" fmla="*/ 62 w 1704"/>
                <a:gd name="T29" fmla="*/ 18 h 1056"/>
                <a:gd name="T30" fmla="*/ 70 w 1704"/>
                <a:gd name="T31" fmla="*/ 18 h 1056"/>
                <a:gd name="T32" fmla="*/ 71 w 1704"/>
                <a:gd name="T33" fmla="*/ 14 h 1056"/>
                <a:gd name="T34" fmla="*/ 72 w 1704"/>
                <a:gd name="T35" fmla="*/ 12 h 1056"/>
                <a:gd name="T36" fmla="*/ 78 w 1704"/>
                <a:gd name="T37" fmla="*/ 14 h 1056"/>
                <a:gd name="T38" fmla="*/ 85 w 1704"/>
                <a:gd name="T39" fmla="*/ 21 h 1056"/>
                <a:gd name="T40" fmla="*/ 91 w 1704"/>
                <a:gd name="T41" fmla="*/ 15 h 1056"/>
                <a:gd name="T42" fmla="*/ 93 w 1704"/>
                <a:gd name="T43" fmla="*/ 10 h 1056"/>
                <a:gd name="T44" fmla="*/ 101 w 1704"/>
                <a:gd name="T45" fmla="*/ 14 h 1056"/>
                <a:gd name="T46" fmla="*/ 103 w 1704"/>
                <a:gd name="T47" fmla="*/ 19 h 1056"/>
                <a:gd name="T48" fmla="*/ 115 w 1704"/>
                <a:gd name="T49" fmla="*/ 20 h 1056"/>
                <a:gd name="T50" fmla="*/ 118 w 1704"/>
                <a:gd name="T51" fmla="*/ 23 h 1056"/>
                <a:gd name="T52" fmla="*/ 117 w 1704"/>
                <a:gd name="T53" fmla="*/ 27 h 1056"/>
                <a:gd name="T54" fmla="*/ 111 w 1704"/>
                <a:gd name="T55" fmla="*/ 33 h 1056"/>
                <a:gd name="T56" fmla="*/ 108 w 1704"/>
                <a:gd name="T57" fmla="*/ 36 h 1056"/>
                <a:gd name="T58" fmla="*/ 109 w 1704"/>
                <a:gd name="T59" fmla="*/ 40 h 1056"/>
                <a:gd name="T60" fmla="*/ 111 w 1704"/>
                <a:gd name="T61" fmla="*/ 43 h 1056"/>
                <a:gd name="T62" fmla="*/ 113 w 1704"/>
                <a:gd name="T63" fmla="*/ 50 h 1056"/>
                <a:gd name="T64" fmla="*/ 121 w 1704"/>
                <a:gd name="T65" fmla="*/ 55 h 1056"/>
                <a:gd name="T66" fmla="*/ 132 w 1704"/>
                <a:gd name="T67" fmla="*/ 52 h 1056"/>
                <a:gd name="T68" fmla="*/ 148 w 1704"/>
                <a:gd name="T69" fmla="*/ 58 h 1056"/>
                <a:gd name="T70" fmla="*/ 148 w 1704"/>
                <a:gd name="T71" fmla="*/ 61 h 1056"/>
                <a:gd name="T72" fmla="*/ 148 w 1704"/>
                <a:gd name="T73" fmla="*/ 64 h 1056"/>
                <a:gd name="T74" fmla="*/ 135 w 1704"/>
                <a:gd name="T75" fmla="*/ 61 h 1056"/>
                <a:gd name="T76" fmla="*/ 135 w 1704"/>
                <a:gd name="T77" fmla="*/ 66 h 1056"/>
                <a:gd name="T78" fmla="*/ 137 w 1704"/>
                <a:gd name="T79" fmla="*/ 71 h 1056"/>
                <a:gd name="T80" fmla="*/ 136 w 1704"/>
                <a:gd name="T81" fmla="*/ 79 h 1056"/>
                <a:gd name="T82" fmla="*/ 126 w 1704"/>
                <a:gd name="T83" fmla="*/ 84 h 1056"/>
                <a:gd name="T84" fmla="*/ 121 w 1704"/>
                <a:gd name="T85" fmla="*/ 79 h 1056"/>
                <a:gd name="T86" fmla="*/ 117 w 1704"/>
                <a:gd name="T87" fmla="*/ 75 h 1056"/>
                <a:gd name="T88" fmla="*/ 98 w 1704"/>
                <a:gd name="T89" fmla="*/ 74 h 1056"/>
                <a:gd name="T90" fmla="*/ 81 w 1704"/>
                <a:gd name="T91" fmla="*/ 75 h 1056"/>
                <a:gd name="T92" fmla="*/ 83 w 1704"/>
                <a:gd name="T93" fmla="*/ 88 h 1056"/>
                <a:gd name="T94" fmla="*/ 82 w 1704"/>
                <a:gd name="T95" fmla="*/ 91 h 1056"/>
                <a:gd name="T96" fmla="*/ 77 w 1704"/>
                <a:gd name="T97" fmla="*/ 90 h 1056"/>
                <a:gd name="T98" fmla="*/ 73 w 1704"/>
                <a:gd name="T99" fmla="*/ 86 h 1056"/>
                <a:gd name="T100" fmla="*/ 68 w 1704"/>
                <a:gd name="T101" fmla="*/ 85 h 1056"/>
                <a:gd name="T102" fmla="*/ 64 w 1704"/>
                <a:gd name="T103" fmla="*/ 83 h 1056"/>
                <a:gd name="T104" fmla="*/ 57 w 1704"/>
                <a:gd name="T105" fmla="*/ 81 h 1056"/>
                <a:gd name="T106" fmla="*/ 52 w 1704"/>
                <a:gd name="T107" fmla="*/ 80 h 1056"/>
                <a:gd name="T108" fmla="*/ 50 w 1704"/>
                <a:gd name="T109" fmla="*/ 80 h 1056"/>
                <a:gd name="T110" fmla="*/ 46 w 1704"/>
                <a:gd name="T111" fmla="*/ 79 h 1056"/>
                <a:gd name="T112" fmla="*/ 41 w 1704"/>
                <a:gd name="T113" fmla="*/ 78 h 10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04"/>
                <a:gd name="T172" fmla="*/ 0 h 1056"/>
                <a:gd name="T173" fmla="*/ 1704 w 1704"/>
                <a:gd name="T174" fmla="*/ 1056 h 10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04" h="1056">
                  <a:moveTo>
                    <a:pt x="450" y="888"/>
                  </a:moveTo>
                  <a:lnTo>
                    <a:pt x="420" y="888"/>
                  </a:lnTo>
                  <a:lnTo>
                    <a:pt x="414" y="888"/>
                  </a:lnTo>
                  <a:lnTo>
                    <a:pt x="396" y="888"/>
                  </a:lnTo>
                  <a:lnTo>
                    <a:pt x="372" y="888"/>
                  </a:lnTo>
                  <a:lnTo>
                    <a:pt x="366" y="888"/>
                  </a:lnTo>
                  <a:lnTo>
                    <a:pt x="360" y="888"/>
                  </a:lnTo>
                  <a:lnTo>
                    <a:pt x="348" y="888"/>
                  </a:lnTo>
                  <a:lnTo>
                    <a:pt x="330" y="894"/>
                  </a:lnTo>
                  <a:lnTo>
                    <a:pt x="324" y="894"/>
                  </a:lnTo>
                  <a:lnTo>
                    <a:pt x="312" y="888"/>
                  </a:lnTo>
                  <a:lnTo>
                    <a:pt x="300" y="888"/>
                  </a:lnTo>
                  <a:lnTo>
                    <a:pt x="282" y="888"/>
                  </a:lnTo>
                  <a:lnTo>
                    <a:pt x="270" y="888"/>
                  </a:lnTo>
                  <a:lnTo>
                    <a:pt x="240" y="882"/>
                  </a:lnTo>
                  <a:lnTo>
                    <a:pt x="222" y="882"/>
                  </a:lnTo>
                  <a:lnTo>
                    <a:pt x="198" y="882"/>
                  </a:lnTo>
                  <a:lnTo>
                    <a:pt x="174" y="894"/>
                  </a:lnTo>
                  <a:lnTo>
                    <a:pt x="162" y="900"/>
                  </a:lnTo>
                  <a:lnTo>
                    <a:pt x="144" y="906"/>
                  </a:lnTo>
                  <a:lnTo>
                    <a:pt x="126" y="912"/>
                  </a:lnTo>
                  <a:lnTo>
                    <a:pt x="102" y="924"/>
                  </a:lnTo>
                  <a:lnTo>
                    <a:pt x="78" y="930"/>
                  </a:lnTo>
                  <a:lnTo>
                    <a:pt x="72" y="936"/>
                  </a:lnTo>
                  <a:lnTo>
                    <a:pt x="30" y="954"/>
                  </a:lnTo>
                  <a:lnTo>
                    <a:pt x="12" y="966"/>
                  </a:lnTo>
                  <a:lnTo>
                    <a:pt x="12" y="954"/>
                  </a:lnTo>
                  <a:lnTo>
                    <a:pt x="12" y="930"/>
                  </a:lnTo>
                  <a:lnTo>
                    <a:pt x="12" y="894"/>
                  </a:lnTo>
                  <a:lnTo>
                    <a:pt x="30" y="828"/>
                  </a:lnTo>
                  <a:lnTo>
                    <a:pt x="36" y="798"/>
                  </a:lnTo>
                  <a:lnTo>
                    <a:pt x="18" y="774"/>
                  </a:lnTo>
                  <a:lnTo>
                    <a:pt x="18" y="756"/>
                  </a:lnTo>
                  <a:lnTo>
                    <a:pt x="6" y="738"/>
                  </a:lnTo>
                  <a:lnTo>
                    <a:pt x="0" y="714"/>
                  </a:lnTo>
                  <a:lnTo>
                    <a:pt x="12" y="678"/>
                  </a:lnTo>
                  <a:lnTo>
                    <a:pt x="18" y="678"/>
                  </a:lnTo>
                  <a:lnTo>
                    <a:pt x="24" y="672"/>
                  </a:lnTo>
                  <a:lnTo>
                    <a:pt x="30" y="666"/>
                  </a:lnTo>
                  <a:lnTo>
                    <a:pt x="42" y="648"/>
                  </a:lnTo>
                  <a:lnTo>
                    <a:pt x="66" y="648"/>
                  </a:lnTo>
                  <a:lnTo>
                    <a:pt x="108" y="648"/>
                  </a:lnTo>
                  <a:lnTo>
                    <a:pt x="174" y="642"/>
                  </a:lnTo>
                  <a:lnTo>
                    <a:pt x="216" y="636"/>
                  </a:lnTo>
                  <a:lnTo>
                    <a:pt x="240" y="630"/>
                  </a:lnTo>
                  <a:lnTo>
                    <a:pt x="246" y="618"/>
                  </a:lnTo>
                  <a:lnTo>
                    <a:pt x="264" y="600"/>
                  </a:lnTo>
                  <a:lnTo>
                    <a:pt x="294" y="582"/>
                  </a:lnTo>
                  <a:lnTo>
                    <a:pt x="318" y="552"/>
                  </a:lnTo>
                  <a:lnTo>
                    <a:pt x="330" y="546"/>
                  </a:lnTo>
                  <a:lnTo>
                    <a:pt x="348" y="510"/>
                  </a:lnTo>
                  <a:lnTo>
                    <a:pt x="372" y="474"/>
                  </a:lnTo>
                  <a:lnTo>
                    <a:pt x="384" y="444"/>
                  </a:lnTo>
                  <a:lnTo>
                    <a:pt x="396" y="420"/>
                  </a:lnTo>
                  <a:lnTo>
                    <a:pt x="402" y="378"/>
                  </a:lnTo>
                  <a:lnTo>
                    <a:pt x="402" y="228"/>
                  </a:lnTo>
                  <a:lnTo>
                    <a:pt x="414" y="186"/>
                  </a:lnTo>
                  <a:lnTo>
                    <a:pt x="432" y="138"/>
                  </a:lnTo>
                  <a:lnTo>
                    <a:pt x="438" y="114"/>
                  </a:lnTo>
                  <a:lnTo>
                    <a:pt x="444" y="96"/>
                  </a:lnTo>
                  <a:lnTo>
                    <a:pt x="462" y="84"/>
                  </a:lnTo>
                  <a:lnTo>
                    <a:pt x="474" y="78"/>
                  </a:lnTo>
                  <a:lnTo>
                    <a:pt x="492" y="72"/>
                  </a:lnTo>
                  <a:lnTo>
                    <a:pt x="492" y="66"/>
                  </a:lnTo>
                  <a:lnTo>
                    <a:pt x="498" y="66"/>
                  </a:lnTo>
                  <a:lnTo>
                    <a:pt x="510" y="66"/>
                  </a:lnTo>
                  <a:lnTo>
                    <a:pt x="510" y="72"/>
                  </a:lnTo>
                  <a:lnTo>
                    <a:pt x="516" y="72"/>
                  </a:lnTo>
                  <a:lnTo>
                    <a:pt x="522" y="78"/>
                  </a:lnTo>
                  <a:lnTo>
                    <a:pt x="546" y="78"/>
                  </a:lnTo>
                  <a:lnTo>
                    <a:pt x="552" y="60"/>
                  </a:lnTo>
                  <a:lnTo>
                    <a:pt x="570" y="42"/>
                  </a:lnTo>
                  <a:lnTo>
                    <a:pt x="576" y="24"/>
                  </a:lnTo>
                  <a:lnTo>
                    <a:pt x="588" y="18"/>
                  </a:lnTo>
                  <a:lnTo>
                    <a:pt x="588" y="12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624" y="0"/>
                  </a:lnTo>
                  <a:lnTo>
                    <a:pt x="636" y="6"/>
                  </a:lnTo>
                  <a:lnTo>
                    <a:pt x="648" y="24"/>
                  </a:lnTo>
                  <a:lnTo>
                    <a:pt x="654" y="48"/>
                  </a:lnTo>
                  <a:lnTo>
                    <a:pt x="672" y="60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0" y="72"/>
                  </a:lnTo>
                  <a:lnTo>
                    <a:pt x="690" y="78"/>
                  </a:lnTo>
                  <a:lnTo>
                    <a:pt x="696" y="90"/>
                  </a:lnTo>
                  <a:lnTo>
                    <a:pt x="714" y="114"/>
                  </a:lnTo>
                  <a:lnTo>
                    <a:pt x="714" y="120"/>
                  </a:lnTo>
                  <a:lnTo>
                    <a:pt x="720" y="132"/>
                  </a:lnTo>
                  <a:lnTo>
                    <a:pt x="726" y="138"/>
                  </a:lnTo>
                  <a:lnTo>
                    <a:pt x="720" y="144"/>
                  </a:lnTo>
                  <a:lnTo>
                    <a:pt x="720" y="150"/>
                  </a:lnTo>
                  <a:lnTo>
                    <a:pt x="714" y="150"/>
                  </a:lnTo>
                  <a:lnTo>
                    <a:pt x="714" y="156"/>
                  </a:lnTo>
                  <a:lnTo>
                    <a:pt x="714" y="162"/>
                  </a:lnTo>
                  <a:lnTo>
                    <a:pt x="708" y="162"/>
                  </a:lnTo>
                  <a:lnTo>
                    <a:pt x="708" y="168"/>
                  </a:lnTo>
                  <a:lnTo>
                    <a:pt x="702" y="168"/>
                  </a:lnTo>
                  <a:lnTo>
                    <a:pt x="702" y="174"/>
                  </a:lnTo>
                  <a:lnTo>
                    <a:pt x="702" y="180"/>
                  </a:lnTo>
                  <a:lnTo>
                    <a:pt x="708" y="180"/>
                  </a:lnTo>
                  <a:lnTo>
                    <a:pt x="708" y="186"/>
                  </a:lnTo>
                  <a:lnTo>
                    <a:pt x="708" y="192"/>
                  </a:lnTo>
                  <a:lnTo>
                    <a:pt x="714" y="204"/>
                  </a:lnTo>
                  <a:lnTo>
                    <a:pt x="726" y="216"/>
                  </a:lnTo>
                  <a:lnTo>
                    <a:pt x="738" y="216"/>
                  </a:lnTo>
                  <a:lnTo>
                    <a:pt x="768" y="222"/>
                  </a:lnTo>
                  <a:lnTo>
                    <a:pt x="780" y="216"/>
                  </a:lnTo>
                  <a:lnTo>
                    <a:pt x="792" y="204"/>
                  </a:lnTo>
                  <a:lnTo>
                    <a:pt x="798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6" y="192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6" y="174"/>
                  </a:lnTo>
                  <a:lnTo>
                    <a:pt x="816" y="162"/>
                  </a:lnTo>
                  <a:lnTo>
                    <a:pt x="816" y="156"/>
                  </a:lnTo>
                  <a:lnTo>
                    <a:pt x="822" y="156"/>
                  </a:lnTo>
                  <a:lnTo>
                    <a:pt x="822" y="150"/>
                  </a:lnTo>
                  <a:lnTo>
                    <a:pt x="828" y="144"/>
                  </a:lnTo>
                  <a:lnTo>
                    <a:pt x="822" y="144"/>
                  </a:lnTo>
                  <a:lnTo>
                    <a:pt x="822" y="138"/>
                  </a:lnTo>
                  <a:lnTo>
                    <a:pt x="828" y="138"/>
                  </a:lnTo>
                  <a:lnTo>
                    <a:pt x="834" y="132"/>
                  </a:lnTo>
                  <a:lnTo>
                    <a:pt x="840" y="132"/>
                  </a:lnTo>
                  <a:lnTo>
                    <a:pt x="864" y="126"/>
                  </a:lnTo>
                  <a:lnTo>
                    <a:pt x="906" y="144"/>
                  </a:lnTo>
                  <a:lnTo>
                    <a:pt x="906" y="150"/>
                  </a:lnTo>
                  <a:lnTo>
                    <a:pt x="906" y="156"/>
                  </a:lnTo>
                  <a:lnTo>
                    <a:pt x="900" y="162"/>
                  </a:lnTo>
                  <a:lnTo>
                    <a:pt x="924" y="168"/>
                  </a:lnTo>
                  <a:lnTo>
                    <a:pt x="942" y="192"/>
                  </a:lnTo>
                  <a:lnTo>
                    <a:pt x="972" y="210"/>
                  </a:lnTo>
                  <a:lnTo>
                    <a:pt x="972" y="216"/>
                  </a:lnTo>
                  <a:lnTo>
                    <a:pt x="972" y="228"/>
                  </a:lnTo>
                  <a:lnTo>
                    <a:pt x="978" y="234"/>
                  </a:lnTo>
                  <a:lnTo>
                    <a:pt x="978" y="246"/>
                  </a:lnTo>
                  <a:lnTo>
                    <a:pt x="984" y="252"/>
                  </a:lnTo>
                  <a:lnTo>
                    <a:pt x="1014" y="252"/>
                  </a:lnTo>
                  <a:lnTo>
                    <a:pt x="1020" y="228"/>
                  </a:lnTo>
                  <a:lnTo>
                    <a:pt x="1026" y="198"/>
                  </a:lnTo>
                  <a:lnTo>
                    <a:pt x="1050" y="186"/>
                  </a:lnTo>
                  <a:lnTo>
                    <a:pt x="1056" y="180"/>
                  </a:lnTo>
                  <a:lnTo>
                    <a:pt x="1050" y="174"/>
                  </a:lnTo>
                  <a:lnTo>
                    <a:pt x="1050" y="168"/>
                  </a:lnTo>
                  <a:lnTo>
                    <a:pt x="1050" y="162"/>
                  </a:lnTo>
                  <a:lnTo>
                    <a:pt x="1056" y="162"/>
                  </a:lnTo>
                  <a:lnTo>
                    <a:pt x="1062" y="162"/>
                  </a:lnTo>
                  <a:lnTo>
                    <a:pt x="1074" y="162"/>
                  </a:lnTo>
                  <a:lnTo>
                    <a:pt x="1074" y="144"/>
                  </a:lnTo>
                  <a:lnTo>
                    <a:pt x="1074" y="120"/>
                  </a:lnTo>
                  <a:lnTo>
                    <a:pt x="1092" y="120"/>
                  </a:lnTo>
                  <a:lnTo>
                    <a:pt x="1098" y="126"/>
                  </a:lnTo>
                  <a:lnTo>
                    <a:pt x="1134" y="132"/>
                  </a:lnTo>
                  <a:lnTo>
                    <a:pt x="1146" y="132"/>
                  </a:lnTo>
                  <a:lnTo>
                    <a:pt x="1158" y="150"/>
                  </a:lnTo>
                  <a:lnTo>
                    <a:pt x="1158" y="156"/>
                  </a:lnTo>
                  <a:lnTo>
                    <a:pt x="1158" y="162"/>
                  </a:lnTo>
                  <a:lnTo>
                    <a:pt x="1158" y="180"/>
                  </a:lnTo>
                  <a:lnTo>
                    <a:pt x="1158" y="186"/>
                  </a:lnTo>
                  <a:lnTo>
                    <a:pt x="1164" y="192"/>
                  </a:lnTo>
                  <a:lnTo>
                    <a:pt x="1176" y="198"/>
                  </a:lnTo>
                  <a:lnTo>
                    <a:pt x="1182" y="198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8"/>
                  </a:lnTo>
                  <a:lnTo>
                    <a:pt x="1188" y="234"/>
                  </a:lnTo>
                  <a:lnTo>
                    <a:pt x="1212" y="234"/>
                  </a:lnTo>
                  <a:lnTo>
                    <a:pt x="1242" y="234"/>
                  </a:lnTo>
                  <a:lnTo>
                    <a:pt x="1248" y="234"/>
                  </a:lnTo>
                  <a:lnTo>
                    <a:pt x="1278" y="240"/>
                  </a:lnTo>
                  <a:lnTo>
                    <a:pt x="1320" y="234"/>
                  </a:lnTo>
                  <a:lnTo>
                    <a:pt x="1332" y="228"/>
                  </a:lnTo>
                  <a:lnTo>
                    <a:pt x="1344" y="228"/>
                  </a:lnTo>
                  <a:lnTo>
                    <a:pt x="1350" y="234"/>
                  </a:lnTo>
                  <a:lnTo>
                    <a:pt x="1350" y="240"/>
                  </a:lnTo>
                  <a:lnTo>
                    <a:pt x="1356" y="246"/>
                  </a:lnTo>
                  <a:lnTo>
                    <a:pt x="1350" y="252"/>
                  </a:lnTo>
                  <a:lnTo>
                    <a:pt x="1356" y="264"/>
                  </a:lnTo>
                  <a:lnTo>
                    <a:pt x="1356" y="270"/>
                  </a:lnTo>
                  <a:lnTo>
                    <a:pt x="1356" y="276"/>
                  </a:lnTo>
                  <a:lnTo>
                    <a:pt x="1356" y="282"/>
                  </a:lnTo>
                  <a:lnTo>
                    <a:pt x="1356" y="288"/>
                  </a:lnTo>
                  <a:lnTo>
                    <a:pt x="1350" y="294"/>
                  </a:lnTo>
                  <a:lnTo>
                    <a:pt x="1344" y="300"/>
                  </a:lnTo>
                  <a:lnTo>
                    <a:pt x="1344" y="306"/>
                  </a:lnTo>
                  <a:lnTo>
                    <a:pt x="1338" y="312"/>
                  </a:lnTo>
                  <a:lnTo>
                    <a:pt x="1326" y="342"/>
                  </a:lnTo>
                  <a:lnTo>
                    <a:pt x="1320" y="348"/>
                  </a:lnTo>
                  <a:lnTo>
                    <a:pt x="1314" y="354"/>
                  </a:lnTo>
                  <a:lnTo>
                    <a:pt x="1290" y="354"/>
                  </a:lnTo>
                  <a:lnTo>
                    <a:pt x="1284" y="360"/>
                  </a:lnTo>
                  <a:lnTo>
                    <a:pt x="1278" y="378"/>
                  </a:lnTo>
                  <a:lnTo>
                    <a:pt x="1278" y="384"/>
                  </a:lnTo>
                  <a:lnTo>
                    <a:pt x="1272" y="390"/>
                  </a:lnTo>
                  <a:lnTo>
                    <a:pt x="1266" y="396"/>
                  </a:lnTo>
                  <a:lnTo>
                    <a:pt x="1260" y="396"/>
                  </a:lnTo>
                  <a:lnTo>
                    <a:pt x="1248" y="402"/>
                  </a:lnTo>
                  <a:lnTo>
                    <a:pt x="1242" y="408"/>
                  </a:lnTo>
                  <a:lnTo>
                    <a:pt x="1242" y="414"/>
                  </a:lnTo>
                  <a:lnTo>
                    <a:pt x="1242" y="420"/>
                  </a:lnTo>
                  <a:lnTo>
                    <a:pt x="1236" y="432"/>
                  </a:lnTo>
                  <a:lnTo>
                    <a:pt x="1242" y="432"/>
                  </a:lnTo>
                  <a:lnTo>
                    <a:pt x="1242" y="444"/>
                  </a:lnTo>
                  <a:lnTo>
                    <a:pt x="1242" y="456"/>
                  </a:lnTo>
                  <a:lnTo>
                    <a:pt x="1248" y="456"/>
                  </a:lnTo>
                  <a:lnTo>
                    <a:pt x="1254" y="462"/>
                  </a:lnTo>
                  <a:lnTo>
                    <a:pt x="1248" y="468"/>
                  </a:lnTo>
                  <a:lnTo>
                    <a:pt x="1254" y="468"/>
                  </a:lnTo>
                  <a:lnTo>
                    <a:pt x="1266" y="474"/>
                  </a:lnTo>
                  <a:lnTo>
                    <a:pt x="1266" y="480"/>
                  </a:lnTo>
                  <a:lnTo>
                    <a:pt x="1266" y="486"/>
                  </a:lnTo>
                  <a:lnTo>
                    <a:pt x="1272" y="486"/>
                  </a:lnTo>
                  <a:lnTo>
                    <a:pt x="1272" y="492"/>
                  </a:lnTo>
                  <a:lnTo>
                    <a:pt x="1290" y="510"/>
                  </a:lnTo>
                  <a:lnTo>
                    <a:pt x="1296" y="516"/>
                  </a:lnTo>
                  <a:lnTo>
                    <a:pt x="1302" y="540"/>
                  </a:lnTo>
                  <a:lnTo>
                    <a:pt x="1302" y="546"/>
                  </a:lnTo>
                  <a:lnTo>
                    <a:pt x="1302" y="558"/>
                  </a:lnTo>
                  <a:lnTo>
                    <a:pt x="1302" y="570"/>
                  </a:lnTo>
                  <a:lnTo>
                    <a:pt x="1302" y="576"/>
                  </a:lnTo>
                  <a:lnTo>
                    <a:pt x="1344" y="570"/>
                  </a:lnTo>
                  <a:lnTo>
                    <a:pt x="1350" y="582"/>
                  </a:lnTo>
                  <a:lnTo>
                    <a:pt x="1368" y="594"/>
                  </a:lnTo>
                  <a:lnTo>
                    <a:pt x="1374" y="600"/>
                  </a:lnTo>
                  <a:lnTo>
                    <a:pt x="1380" y="600"/>
                  </a:lnTo>
                  <a:lnTo>
                    <a:pt x="1380" y="618"/>
                  </a:lnTo>
                  <a:lnTo>
                    <a:pt x="1386" y="624"/>
                  </a:lnTo>
                  <a:lnTo>
                    <a:pt x="1404" y="624"/>
                  </a:lnTo>
                  <a:lnTo>
                    <a:pt x="1410" y="612"/>
                  </a:lnTo>
                  <a:lnTo>
                    <a:pt x="1428" y="606"/>
                  </a:lnTo>
                  <a:lnTo>
                    <a:pt x="1488" y="606"/>
                  </a:lnTo>
                  <a:lnTo>
                    <a:pt x="1506" y="606"/>
                  </a:lnTo>
                  <a:lnTo>
                    <a:pt x="1512" y="600"/>
                  </a:lnTo>
                  <a:lnTo>
                    <a:pt x="1524" y="594"/>
                  </a:lnTo>
                  <a:lnTo>
                    <a:pt x="1554" y="594"/>
                  </a:lnTo>
                  <a:lnTo>
                    <a:pt x="1578" y="606"/>
                  </a:lnTo>
                  <a:lnTo>
                    <a:pt x="1596" y="624"/>
                  </a:lnTo>
                  <a:lnTo>
                    <a:pt x="1650" y="642"/>
                  </a:lnTo>
                  <a:lnTo>
                    <a:pt x="1686" y="648"/>
                  </a:lnTo>
                  <a:lnTo>
                    <a:pt x="1698" y="654"/>
                  </a:lnTo>
                  <a:lnTo>
                    <a:pt x="1698" y="660"/>
                  </a:lnTo>
                  <a:lnTo>
                    <a:pt x="1692" y="666"/>
                  </a:lnTo>
                  <a:lnTo>
                    <a:pt x="1692" y="672"/>
                  </a:lnTo>
                  <a:lnTo>
                    <a:pt x="1698" y="678"/>
                  </a:lnTo>
                  <a:lnTo>
                    <a:pt x="1698" y="684"/>
                  </a:lnTo>
                  <a:lnTo>
                    <a:pt x="1692" y="684"/>
                  </a:lnTo>
                  <a:lnTo>
                    <a:pt x="1692" y="690"/>
                  </a:lnTo>
                  <a:lnTo>
                    <a:pt x="1698" y="696"/>
                  </a:lnTo>
                  <a:lnTo>
                    <a:pt x="1698" y="702"/>
                  </a:lnTo>
                  <a:lnTo>
                    <a:pt x="1698" y="708"/>
                  </a:lnTo>
                  <a:lnTo>
                    <a:pt x="1704" y="714"/>
                  </a:lnTo>
                  <a:lnTo>
                    <a:pt x="1704" y="720"/>
                  </a:lnTo>
                  <a:lnTo>
                    <a:pt x="1704" y="726"/>
                  </a:lnTo>
                  <a:lnTo>
                    <a:pt x="1704" y="732"/>
                  </a:lnTo>
                  <a:lnTo>
                    <a:pt x="1704" y="738"/>
                  </a:lnTo>
                  <a:lnTo>
                    <a:pt x="1698" y="726"/>
                  </a:lnTo>
                  <a:lnTo>
                    <a:pt x="1668" y="720"/>
                  </a:lnTo>
                  <a:lnTo>
                    <a:pt x="1626" y="714"/>
                  </a:lnTo>
                  <a:lnTo>
                    <a:pt x="1614" y="708"/>
                  </a:lnTo>
                  <a:lnTo>
                    <a:pt x="1578" y="696"/>
                  </a:lnTo>
                  <a:lnTo>
                    <a:pt x="1566" y="696"/>
                  </a:lnTo>
                  <a:lnTo>
                    <a:pt x="1548" y="702"/>
                  </a:lnTo>
                  <a:lnTo>
                    <a:pt x="1542" y="714"/>
                  </a:lnTo>
                  <a:lnTo>
                    <a:pt x="1536" y="732"/>
                  </a:lnTo>
                  <a:lnTo>
                    <a:pt x="1530" y="750"/>
                  </a:lnTo>
                  <a:lnTo>
                    <a:pt x="1536" y="750"/>
                  </a:lnTo>
                  <a:lnTo>
                    <a:pt x="1542" y="756"/>
                  </a:lnTo>
                  <a:lnTo>
                    <a:pt x="1542" y="762"/>
                  </a:lnTo>
                  <a:lnTo>
                    <a:pt x="1548" y="762"/>
                  </a:lnTo>
                  <a:lnTo>
                    <a:pt x="1554" y="762"/>
                  </a:lnTo>
                  <a:lnTo>
                    <a:pt x="1554" y="768"/>
                  </a:lnTo>
                  <a:lnTo>
                    <a:pt x="1560" y="774"/>
                  </a:lnTo>
                  <a:lnTo>
                    <a:pt x="1566" y="774"/>
                  </a:lnTo>
                  <a:lnTo>
                    <a:pt x="1584" y="792"/>
                  </a:lnTo>
                  <a:lnTo>
                    <a:pt x="1584" y="810"/>
                  </a:lnTo>
                  <a:lnTo>
                    <a:pt x="1572" y="816"/>
                  </a:lnTo>
                  <a:lnTo>
                    <a:pt x="1578" y="834"/>
                  </a:lnTo>
                  <a:lnTo>
                    <a:pt x="1578" y="846"/>
                  </a:lnTo>
                  <a:lnTo>
                    <a:pt x="1584" y="858"/>
                  </a:lnTo>
                  <a:lnTo>
                    <a:pt x="1590" y="864"/>
                  </a:lnTo>
                  <a:lnTo>
                    <a:pt x="1590" y="876"/>
                  </a:lnTo>
                  <a:lnTo>
                    <a:pt x="1578" y="888"/>
                  </a:lnTo>
                  <a:lnTo>
                    <a:pt x="1560" y="906"/>
                  </a:lnTo>
                  <a:lnTo>
                    <a:pt x="1536" y="930"/>
                  </a:lnTo>
                  <a:lnTo>
                    <a:pt x="1530" y="930"/>
                  </a:lnTo>
                  <a:lnTo>
                    <a:pt x="1506" y="942"/>
                  </a:lnTo>
                  <a:lnTo>
                    <a:pt x="1488" y="948"/>
                  </a:lnTo>
                  <a:lnTo>
                    <a:pt x="1476" y="954"/>
                  </a:lnTo>
                  <a:lnTo>
                    <a:pt x="1458" y="960"/>
                  </a:lnTo>
                  <a:lnTo>
                    <a:pt x="1452" y="966"/>
                  </a:lnTo>
                  <a:lnTo>
                    <a:pt x="1446" y="966"/>
                  </a:lnTo>
                  <a:lnTo>
                    <a:pt x="1434" y="972"/>
                  </a:lnTo>
                  <a:lnTo>
                    <a:pt x="1434" y="954"/>
                  </a:lnTo>
                  <a:lnTo>
                    <a:pt x="1422" y="942"/>
                  </a:lnTo>
                  <a:lnTo>
                    <a:pt x="1398" y="924"/>
                  </a:lnTo>
                  <a:lnTo>
                    <a:pt x="1398" y="912"/>
                  </a:lnTo>
                  <a:lnTo>
                    <a:pt x="1398" y="906"/>
                  </a:lnTo>
                  <a:lnTo>
                    <a:pt x="1398" y="900"/>
                  </a:lnTo>
                  <a:lnTo>
                    <a:pt x="1380" y="900"/>
                  </a:lnTo>
                  <a:lnTo>
                    <a:pt x="1380" y="894"/>
                  </a:lnTo>
                  <a:lnTo>
                    <a:pt x="1368" y="888"/>
                  </a:lnTo>
                  <a:lnTo>
                    <a:pt x="1362" y="882"/>
                  </a:lnTo>
                  <a:lnTo>
                    <a:pt x="1356" y="876"/>
                  </a:lnTo>
                  <a:lnTo>
                    <a:pt x="1350" y="864"/>
                  </a:lnTo>
                  <a:lnTo>
                    <a:pt x="1344" y="858"/>
                  </a:lnTo>
                  <a:lnTo>
                    <a:pt x="1314" y="870"/>
                  </a:lnTo>
                  <a:lnTo>
                    <a:pt x="1272" y="876"/>
                  </a:lnTo>
                  <a:lnTo>
                    <a:pt x="1218" y="870"/>
                  </a:lnTo>
                  <a:lnTo>
                    <a:pt x="1200" y="864"/>
                  </a:lnTo>
                  <a:lnTo>
                    <a:pt x="1182" y="864"/>
                  </a:lnTo>
                  <a:lnTo>
                    <a:pt x="1134" y="858"/>
                  </a:lnTo>
                  <a:lnTo>
                    <a:pt x="1110" y="840"/>
                  </a:lnTo>
                  <a:lnTo>
                    <a:pt x="1086" y="828"/>
                  </a:lnTo>
                  <a:lnTo>
                    <a:pt x="1044" y="816"/>
                  </a:lnTo>
                  <a:lnTo>
                    <a:pt x="1014" y="816"/>
                  </a:lnTo>
                  <a:lnTo>
                    <a:pt x="990" y="822"/>
                  </a:lnTo>
                  <a:lnTo>
                    <a:pt x="948" y="858"/>
                  </a:lnTo>
                  <a:lnTo>
                    <a:pt x="930" y="864"/>
                  </a:lnTo>
                  <a:lnTo>
                    <a:pt x="924" y="876"/>
                  </a:lnTo>
                  <a:lnTo>
                    <a:pt x="918" y="906"/>
                  </a:lnTo>
                  <a:lnTo>
                    <a:pt x="924" y="930"/>
                  </a:lnTo>
                  <a:lnTo>
                    <a:pt x="948" y="984"/>
                  </a:lnTo>
                  <a:lnTo>
                    <a:pt x="954" y="1008"/>
                  </a:lnTo>
                  <a:lnTo>
                    <a:pt x="948" y="1014"/>
                  </a:lnTo>
                  <a:lnTo>
                    <a:pt x="954" y="1014"/>
                  </a:lnTo>
                  <a:lnTo>
                    <a:pt x="954" y="1032"/>
                  </a:lnTo>
                  <a:lnTo>
                    <a:pt x="966" y="1044"/>
                  </a:lnTo>
                  <a:lnTo>
                    <a:pt x="960" y="1056"/>
                  </a:lnTo>
                  <a:lnTo>
                    <a:pt x="954" y="1056"/>
                  </a:lnTo>
                  <a:lnTo>
                    <a:pt x="948" y="1056"/>
                  </a:lnTo>
                  <a:lnTo>
                    <a:pt x="942" y="1056"/>
                  </a:lnTo>
                  <a:lnTo>
                    <a:pt x="936" y="1050"/>
                  </a:lnTo>
                  <a:lnTo>
                    <a:pt x="930" y="1044"/>
                  </a:lnTo>
                  <a:lnTo>
                    <a:pt x="924" y="1044"/>
                  </a:lnTo>
                  <a:lnTo>
                    <a:pt x="918" y="1038"/>
                  </a:lnTo>
                  <a:lnTo>
                    <a:pt x="912" y="1038"/>
                  </a:lnTo>
                  <a:lnTo>
                    <a:pt x="906" y="1032"/>
                  </a:lnTo>
                  <a:lnTo>
                    <a:pt x="900" y="1032"/>
                  </a:lnTo>
                  <a:lnTo>
                    <a:pt x="888" y="1026"/>
                  </a:lnTo>
                  <a:lnTo>
                    <a:pt x="882" y="1026"/>
                  </a:lnTo>
                  <a:lnTo>
                    <a:pt x="876" y="1026"/>
                  </a:lnTo>
                  <a:lnTo>
                    <a:pt x="864" y="1014"/>
                  </a:lnTo>
                  <a:lnTo>
                    <a:pt x="846" y="1008"/>
                  </a:lnTo>
                  <a:lnTo>
                    <a:pt x="840" y="996"/>
                  </a:lnTo>
                  <a:lnTo>
                    <a:pt x="840" y="990"/>
                  </a:lnTo>
                  <a:lnTo>
                    <a:pt x="834" y="990"/>
                  </a:lnTo>
                  <a:lnTo>
                    <a:pt x="828" y="990"/>
                  </a:lnTo>
                  <a:lnTo>
                    <a:pt x="816" y="990"/>
                  </a:lnTo>
                  <a:lnTo>
                    <a:pt x="810" y="990"/>
                  </a:lnTo>
                  <a:lnTo>
                    <a:pt x="804" y="984"/>
                  </a:lnTo>
                  <a:lnTo>
                    <a:pt x="792" y="978"/>
                  </a:lnTo>
                  <a:lnTo>
                    <a:pt x="786" y="972"/>
                  </a:lnTo>
                  <a:lnTo>
                    <a:pt x="780" y="972"/>
                  </a:lnTo>
                  <a:lnTo>
                    <a:pt x="768" y="966"/>
                  </a:lnTo>
                  <a:lnTo>
                    <a:pt x="762" y="966"/>
                  </a:lnTo>
                  <a:lnTo>
                    <a:pt x="756" y="966"/>
                  </a:lnTo>
                  <a:lnTo>
                    <a:pt x="750" y="966"/>
                  </a:lnTo>
                  <a:lnTo>
                    <a:pt x="744" y="966"/>
                  </a:lnTo>
                  <a:lnTo>
                    <a:pt x="738" y="960"/>
                  </a:lnTo>
                  <a:lnTo>
                    <a:pt x="732" y="954"/>
                  </a:lnTo>
                  <a:lnTo>
                    <a:pt x="720" y="954"/>
                  </a:lnTo>
                  <a:lnTo>
                    <a:pt x="714" y="948"/>
                  </a:lnTo>
                  <a:lnTo>
                    <a:pt x="708" y="948"/>
                  </a:lnTo>
                  <a:lnTo>
                    <a:pt x="696" y="948"/>
                  </a:lnTo>
                  <a:lnTo>
                    <a:pt x="684" y="942"/>
                  </a:lnTo>
                  <a:lnTo>
                    <a:pt x="678" y="936"/>
                  </a:lnTo>
                  <a:lnTo>
                    <a:pt x="660" y="930"/>
                  </a:lnTo>
                  <a:lnTo>
                    <a:pt x="642" y="924"/>
                  </a:lnTo>
                  <a:lnTo>
                    <a:pt x="636" y="924"/>
                  </a:lnTo>
                  <a:lnTo>
                    <a:pt x="630" y="924"/>
                  </a:lnTo>
                  <a:lnTo>
                    <a:pt x="618" y="924"/>
                  </a:lnTo>
                  <a:lnTo>
                    <a:pt x="618" y="918"/>
                  </a:lnTo>
                  <a:lnTo>
                    <a:pt x="606" y="918"/>
                  </a:lnTo>
                  <a:lnTo>
                    <a:pt x="600" y="918"/>
                  </a:lnTo>
                  <a:lnTo>
                    <a:pt x="594" y="918"/>
                  </a:lnTo>
                  <a:lnTo>
                    <a:pt x="594" y="912"/>
                  </a:lnTo>
                  <a:lnTo>
                    <a:pt x="588" y="912"/>
                  </a:lnTo>
                  <a:lnTo>
                    <a:pt x="582" y="912"/>
                  </a:lnTo>
                  <a:lnTo>
                    <a:pt x="582" y="918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58" y="918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12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00"/>
                  </a:lnTo>
                  <a:lnTo>
                    <a:pt x="516" y="900"/>
                  </a:lnTo>
                  <a:lnTo>
                    <a:pt x="510" y="900"/>
                  </a:lnTo>
                  <a:lnTo>
                    <a:pt x="486" y="894"/>
                  </a:lnTo>
                  <a:lnTo>
                    <a:pt x="474" y="888"/>
                  </a:lnTo>
                  <a:lnTo>
                    <a:pt x="468" y="888"/>
                  </a:lnTo>
                  <a:lnTo>
                    <a:pt x="450" y="88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0" name="Freeform 15">
              <a:extLst>
                <a:ext uri="{FF2B5EF4-FFF2-40B4-BE49-F238E27FC236}">
                  <a16:creationId xmlns:a16="http://schemas.microsoft.com/office/drawing/2014/main" id="{8B991D7A-45C6-40F6-A035-24DFC733305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9382" y="2652043"/>
              <a:ext cx="724526" cy="695552"/>
            </a:xfrm>
            <a:custGeom>
              <a:avLst/>
              <a:gdLst>
                <a:gd name="T0" fmla="*/ 44 w 1362"/>
                <a:gd name="T1" fmla="*/ 106 h 1308"/>
                <a:gd name="T2" fmla="*/ 32 w 1362"/>
                <a:gd name="T3" fmla="*/ 109 h 1308"/>
                <a:gd name="T4" fmla="*/ 25 w 1362"/>
                <a:gd name="T5" fmla="*/ 105 h 1308"/>
                <a:gd name="T6" fmla="*/ 22 w 1362"/>
                <a:gd name="T7" fmla="*/ 97 h 1308"/>
                <a:gd name="T8" fmla="*/ 21 w 1362"/>
                <a:gd name="T9" fmla="*/ 95 h 1308"/>
                <a:gd name="T10" fmla="*/ 20 w 1362"/>
                <a:gd name="T11" fmla="*/ 90 h 1308"/>
                <a:gd name="T12" fmla="*/ 23 w 1362"/>
                <a:gd name="T13" fmla="*/ 87 h 1308"/>
                <a:gd name="T14" fmla="*/ 29 w 1362"/>
                <a:gd name="T15" fmla="*/ 81 h 1308"/>
                <a:gd name="T16" fmla="*/ 30 w 1362"/>
                <a:gd name="T17" fmla="*/ 78 h 1308"/>
                <a:gd name="T18" fmla="*/ 27 w 1362"/>
                <a:gd name="T19" fmla="*/ 75 h 1308"/>
                <a:gd name="T20" fmla="*/ 15 w 1362"/>
                <a:gd name="T21" fmla="*/ 73 h 1308"/>
                <a:gd name="T22" fmla="*/ 12 w 1362"/>
                <a:gd name="T23" fmla="*/ 69 h 1308"/>
                <a:gd name="T24" fmla="*/ 5 w 1362"/>
                <a:gd name="T25" fmla="*/ 65 h 1308"/>
                <a:gd name="T26" fmla="*/ 6 w 1362"/>
                <a:gd name="T27" fmla="*/ 62 h 1308"/>
                <a:gd name="T28" fmla="*/ 7 w 1362"/>
                <a:gd name="T29" fmla="*/ 56 h 1308"/>
                <a:gd name="T30" fmla="*/ 2 w 1362"/>
                <a:gd name="T31" fmla="*/ 49 h 1308"/>
                <a:gd name="T32" fmla="*/ 0 w 1362"/>
                <a:gd name="T33" fmla="*/ 44 h 1308"/>
                <a:gd name="T34" fmla="*/ 0 w 1362"/>
                <a:gd name="T35" fmla="*/ 39 h 1308"/>
                <a:gd name="T36" fmla="*/ 3 w 1362"/>
                <a:gd name="T37" fmla="*/ 35 h 1308"/>
                <a:gd name="T38" fmla="*/ 3 w 1362"/>
                <a:gd name="T39" fmla="*/ 28 h 1308"/>
                <a:gd name="T40" fmla="*/ 6 w 1362"/>
                <a:gd name="T41" fmla="*/ 18 h 1308"/>
                <a:gd name="T42" fmla="*/ 6 w 1362"/>
                <a:gd name="T43" fmla="*/ 8 h 1308"/>
                <a:gd name="T44" fmla="*/ 10 w 1362"/>
                <a:gd name="T45" fmla="*/ 5 h 1308"/>
                <a:gd name="T46" fmla="*/ 15 w 1362"/>
                <a:gd name="T47" fmla="*/ 0 h 1308"/>
                <a:gd name="T48" fmla="*/ 21 w 1362"/>
                <a:gd name="T49" fmla="*/ 7 h 1308"/>
                <a:gd name="T50" fmla="*/ 25 w 1362"/>
                <a:gd name="T51" fmla="*/ 15 h 1308"/>
                <a:gd name="T52" fmla="*/ 24 w 1362"/>
                <a:gd name="T53" fmla="*/ 19 h 1308"/>
                <a:gd name="T54" fmla="*/ 32 w 1362"/>
                <a:gd name="T55" fmla="*/ 19 h 1308"/>
                <a:gd name="T56" fmla="*/ 35 w 1362"/>
                <a:gd name="T57" fmla="*/ 20 h 1308"/>
                <a:gd name="T58" fmla="*/ 40 w 1362"/>
                <a:gd name="T59" fmla="*/ 23 h 1308"/>
                <a:gd name="T60" fmla="*/ 40 w 1362"/>
                <a:gd name="T61" fmla="*/ 26 h 1308"/>
                <a:gd name="T62" fmla="*/ 34 w 1362"/>
                <a:gd name="T63" fmla="*/ 35 h 1308"/>
                <a:gd name="T64" fmla="*/ 41 w 1362"/>
                <a:gd name="T65" fmla="*/ 37 h 1308"/>
                <a:gd name="T66" fmla="*/ 43 w 1362"/>
                <a:gd name="T67" fmla="*/ 44 h 1308"/>
                <a:gd name="T68" fmla="*/ 48 w 1362"/>
                <a:gd name="T69" fmla="*/ 47 h 1308"/>
                <a:gd name="T70" fmla="*/ 57 w 1362"/>
                <a:gd name="T71" fmla="*/ 48 h 1308"/>
                <a:gd name="T72" fmla="*/ 70 w 1362"/>
                <a:gd name="T73" fmla="*/ 44 h 1308"/>
                <a:gd name="T74" fmla="*/ 80 w 1362"/>
                <a:gd name="T75" fmla="*/ 34 h 1308"/>
                <a:gd name="T76" fmla="*/ 95 w 1362"/>
                <a:gd name="T77" fmla="*/ 41 h 1308"/>
                <a:gd name="T78" fmla="*/ 109 w 1362"/>
                <a:gd name="T79" fmla="*/ 47 h 1308"/>
                <a:gd name="T80" fmla="*/ 111 w 1362"/>
                <a:gd name="T81" fmla="*/ 50 h 1308"/>
                <a:gd name="T82" fmla="*/ 113 w 1362"/>
                <a:gd name="T83" fmla="*/ 53 h 1308"/>
                <a:gd name="T84" fmla="*/ 113 w 1362"/>
                <a:gd name="T85" fmla="*/ 55 h 1308"/>
                <a:gd name="T86" fmla="*/ 113 w 1362"/>
                <a:gd name="T87" fmla="*/ 59 h 1308"/>
                <a:gd name="T88" fmla="*/ 113 w 1362"/>
                <a:gd name="T89" fmla="*/ 62 h 1308"/>
                <a:gd name="T90" fmla="*/ 115 w 1362"/>
                <a:gd name="T91" fmla="*/ 65 h 1308"/>
                <a:gd name="T92" fmla="*/ 115 w 1362"/>
                <a:gd name="T93" fmla="*/ 67 h 1308"/>
                <a:gd name="T94" fmla="*/ 116 w 1362"/>
                <a:gd name="T95" fmla="*/ 69 h 1308"/>
                <a:gd name="T96" fmla="*/ 116 w 1362"/>
                <a:gd name="T97" fmla="*/ 71 h 1308"/>
                <a:gd name="T98" fmla="*/ 118 w 1362"/>
                <a:gd name="T99" fmla="*/ 75 h 1308"/>
                <a:gd name="T100" fmla="*/ 116 w 1362"/>
                <a:gd name="T101" fmla="*/ 77 h 1308"/>
                <a:gd name="T102" fmla="*/ 116 w 1362"/>
                <a:gd name="T103" fmla="*/ 79 h 1308"/>
                <a:gd name="T104" fmla="*/ 101 w 1362"/>
                <a:gd name="T105" fmla="*/ 87 h 1308"/>
                <a:gd name="T106" fmla="*/ 85 w 1362"/>
                <a:gd name="T107" fmla="*/ 103 h 1308"/>
                <a:gd name="T108" fmla="*/ 67 w 1362"/>
                <a:gd name="T109" fmla="*/ 114 h 130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62"/>
                <a:gd name="T166" fmla="*/ 0 h 1308"/>
                <a:gd name="T167" fmla="*/ 1362 w 1362"/>
                <a:gd name="T168" fmla="*/ 1308 h 130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62" h="1308">
                  <a:moveTo>
                    <a:pt x="684" y="1278"/>
                  </a:moveTo>
                  <a:lnTo>
                    <a:pt x="672" y="1272"/>
                  </a:lnTo>
                  <a:lnTo>
                    <a:pt x="636" y="1266"/>
                  </a:lnTo>
                  <a:lnTo>
                    <a:pt x="582" y="1248"/>
                  </a:lnTo>
                  <a:lnTo>
                    <a:pt x="564" y="1230"/>
                  </a:lnTo>
                  <a:lnTo>
                    <a:pt x="540" y="1218"/>
                  </a:lnTo>
                  <a:lnTo>
                    <a:pt x="510" y="1218"/>
                  </a:lnTo>
                  <a:lnTo>
                    <a:pt x="498" y="1224"/>
                  </a:lnTo>
                  <a:lnTo>
                    <a:pt x="492" y="1230"/>
                  </a:lnTo>
                  <a:lnTo>
                    <a:pt x="474" y="1230"/>
                  </a:lnTo>
                  <a:lnTo>
                    <a:pt x="414" y="1230"/>
                  </a:lnTo>
                  <a:lnTo>
                    <a:pt x="396" y="1236"/>
                  </a:lnTo>
                  <a:lnTo>
                    <a:pt x="390" y="1248"/>
                  </a:lnTo>
                  <a:lnTo>
                    <a:pt x="372" y="1248"/>
                  </a:lnTo>
                  <a:lnTo>
                    <a:pt x="366" y="1242"/>
                  </a:lnTo>
                  <a:lnTo>
                    <a:pt x="366" y="1224"/>
                  </a:lnTo>
                  <a:lnTo>
                    <a:pt x="360" y="1224"/>
                  </a:lnTo>
                  <a:lnTo>
                    <a:pt x="354" y="1218"/>
                  </a:lnTo>
                  <a:lnTo>
                    <a:pt x="336" y="1206"/>
                  </a:lnTo>
                  <a:lnTo>
                    <a:pt x="330" y="1194"/>
                  </a:lnTo>
                  <a:lnTo>
                    <a:pt x="288" y="1200"/>
                  </a:lnTo>
                  <a:lnTo>
                    <a:pt x="288" y="1194"/>
                  </a:lnTo>
                  <a:lnTo>
                    <a:pt x="288" y="1182"/>
                  </a:lnTo>
                  <a:lnTo>
                    <a:pt x="288" y="1170"/>
                  </a:lnTo>
                  <a:lnTo>
                    <a:pt x="288" y="1164"/>
                  </a:lnTo>
                  <a:lnTo>
                    <a:pt x="282" y="1140"/>
                  </a:lnTo>
                  <a:lnTo>
                    <a:pt x="276" y="1134"/>
                  </a:lnTo>
                  <a:lnTo>
                    <a:pt x="258" y="1116"/>
                  </a:lnTo>
                  <a:lnTo>
                    <a:pt x="258" y="1110"/>
                  </a:lnTo>
                  <a:lnTo>
                    <a:pt x="252" y="1110"/>
                  </a:lnTo>
                  <a:lnTo>
                    <a:pt x="252" y="1104"/>
                  </a:lnTo>
                  <a:lnTo>
                    <a:pt x="252" y="1098"/>
                  </a:lnTo>
                  <a:lnTo>
                    <a:pt x="240" y="1092"/>
                  </a:lnTo>
                  <a:lnTo>
                    <a:pt x="234" y="1092"/>
                  </a:lnTo>
                  <a:lnTo>
                    <a:pt x="240" y="1086"/>
                  </a:lnTo>
                  <a:lnTo>
                    <a:pt x="234" y="1080"/>
                  </a:lnTo>
                  <a:lnTo>
                    <a:pt x="228" y="1080"/>
                  </a:lnTo>
                  <a:lnTo>
                    <a:pt x="228" y="1068"/>
                  </a:lnTo>
                  <a:lnTo>
                    <a:pt x="228" y="1056"/>
                  </a:lnTo>
                  <a:lnTo>
                    <a:pt x="222" y="1056"/>
                  </a:lnTo>
                  <a:lnTo>
                    <a:pt x="228" y="1044"/>
                  </a:lnTo>
                  <a:lnTo>
                    <a:pt x="228" y="1038"/>
                  </a:lnTo>
                  <a:lnTo>
                    <a:pt x="228" y="1032"/>
                  </a:lnTo>
                  <a:lnTo>
                    <a:pt x="234" y="1026"/>
                  </a:lnTo>
                  <a:lnTo>
                    <a:pt x="246" y="1020"/>
                  </a:lnTo>
                  <a:lnTo>
                    <a:pt x="252" y="1020"/>
                  </a:lnTo>
                  <a:lnTo>
                    <a:pt x="258" y="1014"/>
                  </a:lnTo>
                  <a:lnTo>
                    <a:pt x="264" y="1008"/>
                  </a:lnTo>
                  <a:lnTo>
                    <a:pt x="264" y="1002"/>
                  </a:lnTo>
                  <a:lnTo>
                    <a:pt x="270" y="984"/>
                  </a:lnTo>
                  <a:lnTo>
                    <a:pt x="276" y="978"/>
                  </a:lnTo>
                  <a:lnTo>
                    <a:pt x="300" y="978"/>
                  </a:lnTo>
                  <a:lnTo>
                    <a:pt x="306" y="972"/>
                  </a:lnTo>
                  <a:lnTo>
                    <a:pt x="312" y="966"/>
                  </a:lnTo>
                  <a:lnTo>
                    <a:pt x="324" y="936"/>
                  </a:lnTo>
                  <a:lnTo>
                    <a:pt x="330" y="930"/>
                  </a:lnTo>
                  <a:lnTo>
                    <a:pt x="330" y="924"/>
                  </a:lnTo>
                  <a:lnTo>
                    <a:pt x="336" y="918"/>
                  </a:lnTo>
                  <a:lnTo>
                    <a:pt x="342" y="912"/>
                  </a:lnTo>
                  <a:lnTo>
                    <a:pt x="342" y="906"/>
                  </a:lnTo>
                  <a:lnTo>
                    <a:pt x="342" y="900"/>
                  </a:lnTo>
                  <a:lnTo>
                    <a:pt x="342" y="894"/>
                  </a:lnTo>
                  <a:lnTo>
                    <a:pt x="342" y="888"/>
                  </a:lnTo>
                  <a:lnTo>
                    <a:pt x="336" y="876"/>
                  </a:lnTo>
                  <a:lnTo>
                    <a:pt x="342" y="870"/>
                  </a:lnTo>
                  <a:lnTo>
                    <a:pt x="336" y="864"/>
                  </a:lnTo>
                  <a:lnTo>
                    <a:pt x="336" y="858"/>
                  </a:lnTo>
                  <a:lnTo>
                    <a:pt x="330" y="852"/>
                  </a:lnTo>
                  <a:lnTo>
                    <a:pt x="318" y="852"/>
                  </a:lnTo>
                  <a:lnTo>
                    <a:pt x="306" y="858"/>
                  </a:lnTo>
                  <a:lnTo>
                    <a:pt x="264" y="864"/>
                  </a:lnTo>
                  <a:lnTo>
                    <a:pt x="234" y="858"/>
                  </a:lnTo>
                  <a:lnTo>
                    <a:pt x="228" y="858"/>
                  </a:lnTo>
                  <a:lnTo>
                    <a:pt x="198" y="858"/>
                  </a:lnTo>
                  <a:lnTo>
                    <a:pt x="174" y="858"/>
                  </a:lnTo>
                  <a:lnTo>
                    <a:pt x="168" y="852"/>
                  </a:lnTo>
                  <a:lnTo>
                    <a:pt x="168" y="840"/>
                  </a:lnTo>
                  <a:lnTo>
                    <a:pt x="168" y="834"/>
                  </a:lnTo>
                  <a:lnTo>
                    <a:pt x="168" y="822"/>
                  </a:lnTo>
                  <a:lnTo>
                    <a:pt x="162" y="822"/>
                  </a:lnTo>
                  <a:lnTo>
                    <a:pt x="150" y="816"/>
                  </a:lnTo>
                  <a:lnTo>
                    <a:pt x="144" y="810"/>
                  </a:lnTo>
                  <a:lnTo>
                    <a:pt x="144" y="804"/>
                  </a:lnTo>
                  <a:lnTo>
                    <a:pt x="144" y="786"/>
                  </a:lnTo>
                  <a:lnTo>
                    <a:pt x="144" y="780"/>
                  </a:lnTo>
                  <a:lnTo>
                    <a:pt x="144" y="774"/>
                  </a:lnTo>
                  <a:lnTo>
                    <a:pt x="132" y="756"/>
                  </a:lnTo>
                  <a:lnTo>
                    <a:pt x="120" y="756"/>
                  </a:lnTo>
                  <a:lnTo>
                    <a:pt x="84" y="750"/>
                  </a:lnTo>
                  <a:lnTo>
                    <a:pt x="78" y="744"/>
                  </a:lnTo>
                  <a:lnTo>
                    <a:pt x="60" y="744"/>
                  </a:lnTo>
                  <a:lnTo>
                    <a:pt x="54" y="726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66" y="720"/>
                  </a:lnTo>
                  <a:lnTo>
                    <a:pt x="66" y="714"/>
                  </a:lnTo>
                  <a:lnTo>
                    <a:pt x="72" y="714"/>
                  </a:lnTo>
                  <a:lnTo>
                    <a:pt x="72" y="708"/>
                  </a:lnTo>
                  <a:lnTo>
                    <a:pt x="78" y="702"/>
                  </a:lnTo>
                  <a:lnTo>
                    <a:pt x="78" y="696"/>
                  </a:lnTo>
                  <a:lnTo>
                    <a:pt x="78" y="690"/>
                  </a:lnTo>
                  <a:lnTo>
                    <a:pt x="84" y="678"/>
                  </a:lnTo>
                  <a:lnTo>
                    <a:pt x="90" y="666"/>
                  </a:lnTo>
                  <a:lnTo>
                    <a:pt x="90" y="642"/>
                  </a:lnTo>
                  <a:lnTo>
                    <a:pt x="84" y="648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66" y="642"/>
                  </a:lnTo>
                  <a:lnTo>
                    <a:pt x="60" y="642"/>
                  </a:lnTo>
                  <a:lnTo>
                    <a:pt x="54" y="636"/>
                  </a:lnTo>
                  <a:lnTo>
                    <a:pt x="30" y="570"/>
                  </a:lnTo>
                  <a:lnTo>
                    <a:pt x="24" y="564"/>
                  </a:lnTo>
                  <a:lnTo>
                    <a:pt x="18" y="570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6"/>
                  </a:lnTo>
                  <a:lnTo>
                    <a:pt x="6" y="540"/>
                  </a:lnTo>
                  <a:lnTo>
                    <a:pt x="0" y="522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2" y="480"/>
                  </a:lnTo>
                  <a:lnTo>
                    <a:pt x="6" y="480"/>
                  </a:lnTo>
                  <a:lnTo>
                    <a:pt x="0" y="474"/>
                  </a:lnTo>
                  <a:lnTo>
                    <a:pt x="0" y="450"/>
                  </a:lnTo>
                  <a:lnTo>
                    <a:pt x="6" y="450"/>
                  </a:lnTo>
                  <a:lnTo>
                    <a:pt x="12" y="450"/>
                  </a:lnTo>
                  <a:lnTo>
                    <a:pt x="18" y="456"/>
                  </a:lnTo>
                  <a:lnTo>
                    <a:pt x="24" y="450"/>
                  </a:lnTo>
                  <a:lnTo>
                    <a:pt x="24" y="432"/>
                  </a:lnTo>
                  <a:lnTo>
                    <a:pt x="30" y="426"/>
                  </a:lnTo>
                  <a:lnTo>
                    <a:pt x="36" y="402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2" y="366"/>
                  </a:lnTo>
                  <a:lnTo>
                    <a:pt x="48" y="360"/>
                  </a:lnTo>
                  <a:lnTo>
                    <a:pt x="48" y="342"/>
                  </a:lnTo>
                  <a:lnTo>
                    <a:pt x="42" y="330"/>
                  </a:lnTo>
                  <a:lnTo>
                    <a:pt x="36" y="324"/>
                  </a:lnTo>
                  <a:lnTo>
                    <a:pt x="42" y="306"/>
                  </a:lnTo>
                  <a:lnTo>
                    <a:pt x="42" y="270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48" y="258"/>
                  </a:lnTo>
                  <a:lnTo>
                    <a:pt x="72" y="252"/>
                  </a:lnTo>
                  <a:lnTo>
                    <a:pt x="66" y="204"/>
                  </a:lnTo>
                  <a:lnTo>
                    <a:pt x="60" y="198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48" y="138"/>
                  </a:lnTo>
                  <a:lnTo>
                    <a:pt x="60" y="102"/>
                  </a:lnTo>
                  <a:lnTo>
                    <a:pt x="66" y="102"/>
                  </a:lnTo>
                  <a:lnTo>
                    <a:pt x="72" y="96"/>
                  </a:lnTo>
                  <a:lnTo>
                    <a:pt x="84" y="96"/>
                  </a:lnTo>
                  <a:lnTo>
                    <a:pt x="90" y="84"/>
                  </a:lnTo>
                  <a:lnTo>
                    <a:pt x="108" y="72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20" y="60"/>
                  </a:lnTo>
                  <a:lnTo>
                    <a:pt x="120" y="54"/>
                  </a:lnTo>
                  <a:lnTo>
                    <a:pt x="120" y="48"/>
                  </a:lnTo>
                  <a:lnTo>
                    <a:pt x="126" y="48"/>
                  </a:lnTo>
                  <a:lnTo>
                    <a:pt x="132" y="42"/>
                  </a:lnTo>
                  <a:lnTo>
                    <a:pt x="132" y="0"/>
                  </a:lnTo>
                  <a:lnTo>
                    <a:pt x="162" y="0"/>
                  </a:lnTo>
                  <a:lnTo>
                    <a:pt x="168" y="0"/>
                  </a:lnTo>
                  <a:lnTo>
                    <a:pt x="174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240" y="18"/>
                  </a:lnTo>
                  <a:lnTo>
                    <a:pt x="246" y="42"/>
                  </a:lnTo>
                  <a:lnTo>
                    <a:pt x="240" y="72"/>
                  </a:lnTo>
                  <a:lnTo>
                    <a:pt x="246" y="78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8" y="108"/>
                  </a:lnTo>
                  <a:lnTo>
                    <a:pt x="276" y="114"/>
                  </a:lnTo>
                  <a:lnTo>
                    <a:pt x="294" y="150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82" y="186"/>
                  </a:lnTo>
                  <a:lnTo>
                    <a:pt x="282" y="192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76" y="216"/>
                  </a:lnTo>
                  <a:lnTo>
                    <a:pt x="288" y="240"/>
                  </a:lnTo>
                  <a:lnTo>
                    <a:pt x="312" y="228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66" y="228"/>
                  </a:lnTo>
                  <a:lnTo>
                    <a:pt x="372" y="228"/>
                  </a:lnTo>
                  <a:lnTo>
                    <a:pt x="372" y="222"/>
                  </a:lnTo>
                  <a:lnTo>
                    <a:pt x="378" y="222"/>
                  </a:lnTo>
                  <a:lnTo>
                    <a:pt x="384" y="222"/>
                  </a:lnTo>
                  <a:lnTo>
                    <a:pt x="390" y="222"/>
                  </a:lnTo>
                  <a:lnTo>
                    <a:pt x="396" y="222"/>
                  </a:lnTo>
                  <a:lnTo>
                    <a:pt x="402" y="222"/>
                  </a:lnTo>
                  <a:lnTo>
                    <a:pt x="402" y="228"/>
                  </a:lnTo>
                  <a:lnTo>
                    <a:pt x="408" y="228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26" y="216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68" y="258"/>
                  </a:lnTo>
                  <a:lnTo>
                    <a:pt x="462" y="264"/>
                  </a:lnTo>
                  <a:lnTo>
                    <a:pt x="468" y="264"/>
                  </a:lnTo>
                  <a:lnTo>
                    <a:pt x="468" y="270"/>
                  </a:lnTo>
                  <a:lnTo>
                    <a:pt x="474" y="270"/>
                  </a:lnTo>
                  <a:lnTo>
                    <a:pt x="480" y="276"/>
                  </a:lnTo>
                  <a:lnTo>
                    <a:pt x="474" y="282"/>
                  </a:lnTo>
                  <a:lnTo>
                    <a:pt x="474" y="288"/>
                  </a:lnTo>
                  <a:lnTo>
                    <a:pt x="462" y="294"/>
                  </a:lnTo>
                  <a:lnTo>
                    <a:pt x="468" y="324"/>
                  </a:lnTo>
                  <a:lnTo>
                    <a:pt x="462" y="336"/>
                  </a:lnTo>
                  <a:lnTo>
                    <a:pt x="456" y="354"/>
                  </a:lnTo>
                  <a:lnTo>
                    <a:pt x="432" y="390"/>
                  </a:lnTo>
                  <a:lnTo>
                    <a:pt x="420" y="390"/>
                  </a:lnTo>
                  <a:lnTo>
                    <a:pt x="402" y="390"/>
                  </a:lnTo>
                  <a:lnTo>
                    <a:pt x="396" y="396"/>
                  </a:lnTo>
                  <a:lnTo>
                    <a:pt x="390" y="396"/>
                  </a:lnTo>
                  <a:lnTo>
                    <a:pt x="390" y="402"/>
                  </a:lnTo>
                  <a:lnTo>
                    <a:pt x="384" y="402"/>
                  </a:lnTo>
                  <a:lnTo>
                    <a:pt x="408" y="432"/>
                  </a:lnTo>
                  <a:lnTo>
                    <a:pt x="432" y="438"/>
                  </a:lnTo>
                  <a:lnTo>
                    <a:pt x="456" y="432"/>
                  </a:lnTo>
                  <a:lnTo>
                    <a:pt x="468" y="426"/>
                  </a:lnTo>
                  <a:lnTo>
                    <a:pt x="468" y="444"/>
                  </a:lnTo>
                  <a:lnTo>
                    <a:pt x="468" y="450"/>
                  </a:lnTo>
                  <a:lnTo>
                    <a:pt x="468" y="474"/>
                  </a:lnTo>
                  <a:lnTo>
                    <a:pt x="486" y="480"/>
                  </a:lnTo>
                  <a:lnTo>
                    <a:pt x="486" y="486"/>
                  </a:lnTo>
                  <a:lnTo>
                    <a:pt x="492" y="498"/>
                  </a:lnTo>
                  <a:lnTo>
                    <a:pt x="492" y="504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504" y="516"/>
                  </a:lnTo>
                  <a:lnTo>
                    <a:pt x="510" y="516"/>
                  </a:lnTo>
                  <a:lnTo>
                    <a:pt x="522" y="528"/>
                  </a:lnTo>
                  <a:lnTo>
                    <a:pt x="546" y="540"/>
                  </a:lnTo>
                  <a:lnTo>
                    <a:pt x="552" y="546"/>
                  </a:lnTo>
                  <a:lnTo>
                    <a:pt x="570" y="552"/>
                  </a:lnTo>
                  <a:lnTo>
                    <a:pt x="594" y="552"/>
                  </a:lnTo>
                  <a:lnTo>
                    <a:pt x="606" y="546"/>
                  </a:lnTo>
                  <a:lnTo>
                    <a:pt x="612" y="540"/>
                  </a:lnTo>
                  <a:lnTo>
                    <a:pt x="630" y="540"/>
                  </a:lnTo>
                  <a:lnTo>
                    <a:pt x="630" y="552"/>
                  </a:lnTo>
                  <a:lnTo>
                    <a:pt x="654" y="552"/>
                  </a:lnTo>
                  <a:lnTo>
                    <a:pt x="702" y="558"/>
                  </a:lnTo>
                  <a:lnTo>
                    <a:pt x="762" y="546"/>
                  </a:lnTo>
                  <a:lnTo>
                    <a:pt x="780" y="546"/>
                  </a:lnTo>
                  <a:lnTo>
                    <a:pt x="780" y="528"/>
                  </a:lnTo>
                  <a:lnTo>
                    <a:pt x="798" y="522"/>
                  </a:lnTo>
                  <a:lnTo>
                    <a:pt x="810" y="510"/>
                  </a:lnTo>
                  <a:lnTo>
                    <a:pt x="810" y="504"/>
                  </a:lnTo>
                  <a:lnTo>
                    <a:pt x="828" y="492"/>
                  </a:lnTo>
                  <a:lnTo>
                    <a:pt x="888" y="486"/>
                  </a:lnTo>
                  <a:lnTo>
                    <a:pt x="912" y="486"/>
                  </a:lnTo>
                  <a:lnTo>
                    <a:pt x="930" y="474"/>
                  </a:lnTo>
                  <a:lnTo>
                    <a:pt x="918" y="456"/>
                  </a:lnTo>
                  <a:lnTo>
                    <a:pt x="912" y="450"/>
                  </a:lnTo>
                  <a:lnTo>
                    <a:pt x="918" y="390"/>
                  </a:lnTo>
                  <a:lnTo>
                    <a:pt x="954" y="396"/>
                  </a:lnTo>
                  <a:lnTo>
                    <a:pt x="984" y="402"/>
                  </a:lnTo>
                  <a:lnTo>
                    <a:pt x="1014" y="420"/>
                  </a:lnTo>
                  <a:lnTo>
                    <a:pt x="1026" y="432"/>
                  </a:lnTo>
                  <a:lnTo>
                    <a:pt x="1044" y="450"/>
                  </a:lnTo>
                  <a:lnTo>
                    <a:pt x="1062" y="462"/>
                  </a:lnTo>
                  <a:lnTo>
                    <a:pt x="1098" y="468"/>
                  </a:lnTo>
                  <a:lnTo>
                    <a:pt x="1128" y="480"/>
                  </a:lnTo>
                  <a:lnTo>
                    <a:pt x="1152" y="486"/>
                  </a:lnTo>
                  <a:lnTo>
                    <a:pt x="1188" y="498"/>
                  </a:lnTo>
                  <a:lnTo>
                    <a:pt x="1212" y="504"/>
                  </a:lnTo>
                  <a:lnTo>
                    <a:pt x="1224" y="528"/>
                  </a:lnTo>
                  <a:lnTo>
                    <a:pt x="1236" y="540"/>
                  </a:lnTo>
                  <a:lnTo>
                    <a:pt x="1254" y="540"/>
                  </a:lnTo>
                  <a:lnTo>
                    <a:pt x="1254" y="546"/>
                  </a:lnTo>
                  <a:lnTo>
                    <a:pt x="1260" y="552"/>
                  </a:lnTo>
                  <a:lnTo>
                    <a:pt x="1266" y="552"/>
                  </a:lnTo>
                  <a:lnTo>
                    <a:pt x="1266" y="558"/>
                  </a:lnTo>
                  <a:lnTo>
                    <a:pt x="1272" y="564"/>
                  </a:lnTo>
                  <a:lnTo>
                    <a:pt x="1278" y="564"/>
                  </a:lnTo>
                  <a:lnTo>
                    <a:pt x="1278" y="570"/>
                  </a:lnTo>
                  <a:lnTo>
                    <a:pt x="1284" y="576"/>
                  </a:lnTo>
                  <a:lnTo>
                    <a:pt x="1290" y="582"/>
                  </a:lnTo>
                  <a:lnTo>
                    <a:pt x="1296" y="582"/>
                  </a:lnTo>
                  <a:lnTo>
                    <a:pt x="1296" y="588"/>
                  </a:lnTo>
                  <a:lnTo>
                    <a:pt x="1308" y="594"/>
                  </a:lnTo>
                  <a:lnTo>
                    <a:pt x="1308" y="600"/>
                  </a:lnTo>
                  <a:lnTo>
                    <a:pt x="1308" y="606"/>
                  </a:lnTo>
                  <a:lnTo>
                    <a:pt x="1314" y="612"/>
                  </a:lnTo>
                  <a:lnTo>
                    <a:pt x="1308" y="618"/>
                  </a:lnTo>
                  <a:lnTo>
                    <a:pt x="1314" y="618"/>
                  </a:lnTo>
                  <a:lnTo>
                    <a:pt x="1314" y="624"/>
                  </a:lnTo>
                  <a:lnTo>
                    <a:pt x="1308" y="624"/>
                  </a:lnTo>
                  <a:lnTo>
                    <a:pt x="1302" y="630"/>
                  </a:lnTo>
                  <a:lnTo>
                    <a:pt x="1302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296" y="654"/>
                  </a:lnTo>
                  <a:lnTo>
                    <a:pt x="1302" y="660"/>
                  </a:lnTo>
                  <a:lnTo>
                    <a:pt x="1302" y="666"/>
                  </a:lnTo>
                  <a:lnTo>
                    <a:pt x="1308" y="666"/>
                  </a:lnTo>
                  <a:lnTo>
                    <a:pt x="1308" y="672"/>
                  </a:lnTo>
                  <a:lnTo>
                    <a:pt x="1308" y="678"/>
                  </a:lnTo>
                  <a:lnTo>
                    <a:pt x="1308" y="684"/>
                  </a:lnTo>
                  <a:lnTo>
                    <a:pt x="1308" y="690"/>
                  </a:lnTo>
                  <a:lnTo>
                    <a:pt x="1302" y="696"/>
                  </a:lnTo>
                  <a:lnTo>
                    <a:pt x="1302" y="702"/>
                  </a:lnTo>
                  <a:lnTo>
                    <a:pt x="1308" y="702"/>
                  </a:lnTo>
                  <a:lnTo>
                    <a:pt x="1302" y="708"/>
                  </a:lnTo>
                  <a:lnTo>
                    <a:pt x="1308" y="714"/>
                  </a:lnTo>
                  <a:lnTo>
                    <a:pt x="1308" y="720"/>
                  </a:lnTo>
                  <a:lnTo>
                    <a:pt x="1308" y="726"/>
                  </a:lnTo>
                  <a:lnTo>
                    <a:pt x="1308" y="732"/>
                  </a:lnTo>
                  <a:lnTo>
                    <a:pt x="1314" y="732"/>
                  </a:lnTo>
                  <a:lnTo>
                    <a:pt x="1314" y="738"/>
                  </a:lnTo>
                  <a:lnTo>
                    <a:pt x="1320" y="744"/>
                  </a:lnTo>
                  <a:lnTo>
                    <a:pt x="1326" y="750"/>
                  </a:lnTo>
                  <a:lnTo>
                    <a:pt x="1320" y="750"/>
                  </a:lnTo>
                  <a:lnTo>
                    <a:pt x="1320" y="756"/>
                  </a:lnTo>
                  <a:lnTo>
                    <a:pt x="1314" y="756"/>
                  </a:lnTo>
                  <a:lnTo>
                    <a:pt x="1314" y="762"/>
                  </a:lnTo>
                  <a:lnTo>
                    <a:pt x="1314" y="768"/>
                  </a:lnTo>
                  <a:lnTo>
                    <a:pt x="1320" y="768"/>
                  </a:lnTo>
                  <a:lnTo>
                    <a:pt x="1320" y="762"/>
                  </a:lnTo>
                  <a:lnTo>
                    <a:pt x="1320" y="768"/>
                  </a:lnTo>
                  <a:lnTo>
                    <a:pt x="1326" y="774"/>
                  </a:lnTo>
                  <a:lnTo>
                    <a:pt x="1332" y="774"/>
                  </a:lnTo>
                  <a:lnTo>
                    <a:pt x="1332" y="780"/>
                  </a:lnTo>
                  <a:lnTo>
                    <a:pt x="1332" y="786"/>
                  </a:lnTo>
                  <a:lnTo>
                    <a:pt x="1332" y="792"/>
                  </a:lnTo>
                  <a:lnTo>
                    <a:pt x="1338" y="786"/>
                  </a:lnTo>
                  <a:lnTo>
                    <a:pt x="1338" y="792"/>
                  </a:lnTo>
                  <a:lnTo>
                    <a:pt x="1344" y="798"/>
                  </a:lnTo>
                  <a:lnTo>
                    <a:pt x="1344" y="804"/>
                  </a:lnTo>
                  <a:lnTo>
                    <a:pt x="1344" y="810"/>
                  </a:lnTo>
                  <a:lnTo>
                    <a:pt x="1344" y="816"/>
                  </a:lnTo>
                  <a:lnTo>
                    <a:pt x="1344" y="822"/>
                  </a:lnTo>
                  <a:lnTo>
                    <a:pt x="1338" y="828"/>
                  </a:lnTo>
                  <a:lnTo>
                    <a:pt x="1332" y="828"/>
                  </a:lnTo>
                  <a:lnTo>
                    <a:pt x="1338" y="840"/>
                  </a:lnTo>
                  <a:lnTo>
                    <a:pt x="1344" y="846"/>
                  </a:lnTo>
                  <a:lnTo>
                    <a:pt x="1344" y="852"/>
                  </a:lnTo>
                  <a:lnTo>
                    <a:pt x="1350" y="852"/>
                  </a:lnTo>
                  <a:lnTo>
                    <a:pt x="1356" y="858"/>
                  </a:lnTo>
                  <a:lnTo>
                    <a:pt x="1362" y="858"/>
                  </a:lnTo>
                  <a:lnTo>
                    <a:pt x="1362" y="870"/>
                  </a:lnTo>
                  <a:lnTo>
                    <a:pt x="1356" y="870"/>
                  </a:lnTo>
                  <a:lnTo>
                    <a:pt x="1356" y="876"/>
                  </a:lnTo>
                  <a:lnTo>
                    <a:pt x="1350" y="876"/>
                  </a:lnTo>
                  <a:lnTo>
                    <a:pt x="1344" y="876"/>
                  </a:lnTo>
                  <a:lnTo>
                    <a:pt x="1344" y="882"/>
                  </a:lnTo>
                  <a:lnTo>
                    <a:pt x="1338" y="882"/>
                  </a:lnTo>
                  <a:lnTo>
                    <a:pt x="1338" y="888"/>
                  </a:lnTo>
                  <a:lnTo>
                    <a:pt x="1338" y="894"/>
                  </a:lnTo>
                  <a:lnTo>
                    <a:pt x="1344" y="900"/>
                  </a:lnTo>
                  <a:lnTo>
                    <a:pt x="1344" y="906"/>
                  </a:lnTo>
                  <a:lnTo>
                    <a:pt x="1338" y="906"/>
                  </a:lnTo>
                  <a:lnTo>
                    <a:pt x="1332" y="912"/>
                  </a:lnTo>
                  <a:lnTo>
                    <a:pt x="1332" y="918"/>
                  </a:lnTo>
                  <a:lnTo>
                    <a:pt x="1326" y="918"/>
                  </a:lnTo>
                  <a:lnTo>
                    <a:pt x="1332" y="924"/>
                  </a:lnTo>
                  <a:lnTo>
                    <a:pt x="1284" y="942"/>
                  </a:lnTo>
                  <a:lnTo>
                    <a:pt x="1236" y="948"/>
                  </a:lnTo>
                  <a:lnTo>
                    <a:pt x="1194" y="966"/>
                  </a:lnTo>
                  <a:lnTo>
                    <a:pt x="1170" y="1002"/>
                  </a:lnTo>
                  <a:lnTo>
                    <a:pt x="1134" y="1020"/>
                  </a:lnTo>
                  <a:lnTo>
                    <a:pt x="1116" y="1032"/>
                  </a:lnTo>
                  <a:lnTo>
                    <a:pt x="1098" y="1050"/>
                  </a:lnTo>
                  <a:lnTo>
                    <a:pt x="1074" y="1074"/>
                  </a:lnTo>
                  <a:lnTo>
                    <a:pt x="1008" y="1134"/>
                  </a:lnTo>
                  <a:lnTo>
                    <a:pt x="990" y="1158"/>
                  </a:lnTo>
                  <a:lnTo>
                    <a:pt x="978" y="1182"/>
                  </a:lnTo>
                  <a:lnTo>
                    <a:pt x="960" y="1194"/>
                  </a:lnTo>
                  <a:lnTo>
                    <a:pt x="942" y="1212"/>
                  </a:lnTo>
                  <a:lnTo>
                    <a:pt x="912" y="1242"/>
                  </a:lnTo>
                  <a:lnTo>
                    <a:pt x="888" y="1254"/>
                  </a:lnTo>
                  <a:lnTo>
                    <a:pt x="864" y="1278"/>
                  </a:lnTo>
                  <a:lnTo>
                    <a:pt x="828" y="1296"/>
                  </a:lnTo>
                  <a:lnTo>
                    <a:pt x="774" y="1308"/>
                  </a:lnTo>
                  <a:lnTo>
                    <a:pt x="732" y="1302"/>
                  </a:lnTo>
                  <a:lnTo>
                    <a:pt x="702" y="1284"/>
                  </a:lnTo>
                  <a:lnTo>
                    <a:pt x="684" y="127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1" name="Freeform 16">
              <a:extLst>
                <a:ext uri="{FF2B5EF4-FFF2-40B4-BE49-F238E27FC236}">
                  <a16:creationId xmlns:a16="http://schemas.microsoft.com/office/drawing/2014/main" id="{D8D8591A-D9DB-4301-BEBD-D8F5A26DA9E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93001" y="2929369"/>
              <a:ext cx="914601" cy="1037736"/>
            </a:xfrm>
            <a:custGeom>
              <a:avLst/>
              <a:gdLst>
                <a:gd name="T0" fmla="*/ 144 w 1722"/>
                <a:gd name="T1" fmla="*/ 131 h 1956"/>
                <a:gd name="T2" fmla="*/ 142 w 1722"/>
                <a:gd name="T3" fmla="*/ 139 h 1956"/>
                <a:gd name="T4" fmla="*/ 137 w 1722"/>
                <a:gd name="T5" fmla="*/ 143 h 1956"/>
                <a:gd name="T6" fmla="*/ 133 w 1722"/>
                <a:gd name="T7" fmla="*/ 147 h 1956"/>
                <a:gd name="T8" fmla="*/ 132 w 1722"/>
                <a:gd name="T9" fmla="*/ 152 h 1956"/>
                <a:gd name="T10" fmla="*/ 130 w 1722"/>
                <a:gd name="T11" fmla="*/ 159 h 1956"/>
                <a:gd name="T12" fmla="*/ 127 w 1722"/>
                <a:gd name="T13" fmla="*/ 164 h 1956"/>
                <a:gd name="T14" fmla="*/ 123 w 1722"/>
                <a:gd name="T15" fmla="*/ 168 h 1956"/>
                <a:gd name="T16" fmla="*/ 117 w 1722"/>
                <a:gd name="T17" fmla="*/ 169 h 1956"/>
                <a:gd name="T18" fmla="*/ 110 w 1722"/>
                <a:gd name="T19" fmla="*/ 168 h 1956"/>
                <a:gd name="T20" fmla="*/ 104 w 1722"/>
                <a:gd name="T21" fmla="*/ 166 h 1956"/>
                <a:gd name="T22" fmla="*/ 101 w 1722"/>
                <a:gd name="T23" fmla="*/ 159 h 1956"/>
                <a:gd name="T24" fmla="*/ 95 w 1722"/>
                <a:gd name="T25" fmla="*/ 156 h 1956"/>
                <a:gd name="T26" fmla="*/ 89 w 1722"/>
                <a:gd name="T27" fmla="*/ 151 h 1956"/>
                <a:gd name="T28" fmla="*/ 87 w 1722"/>
                <a:gd name="T29" fmla="*/ 144 h 1956"/>
                <a:gd name="T30" fmla="*/ 82 w 1722"/>
                <a:gd name="T31" fmla="*/ 141 h 1956"/>
                <a:gd name="T32" fmla="*/ 76 w 1722"/>
                <a:gd name="T33" fmla="*/ 134 h 1956"/>
                <a:gd name="T34" fmla="*/ 74 w 1722"/>
                <a:gd name="T35" fmla="*/ 143 h 1956"/>
                <a:gd name="T36" fmla="*/ 68 w 1722"/>
                <a:gd name="T37" fmla="*/ 147 h 1956"/>
                <a:gd name="T38" fmla="*/ 54 w 1722"/>
                <a:gd name="T39" fmla="*/ 144 h 1956"/>
                <a:gd name="T40" fmla="*/ 51 w 1722"/>
                <a:gd name="T41" fmla="*/ 142 h 1956"/>
                <a:gd name="T42" fmla="*/ 42 w 1722"/>
                <a:gd name="T43" fmla="*/ 151 h 1956"/>
                <a:gd name="T44" fmla="*/ 33 w 1722"/>
                <a:gd name="T45" fmla="*/ 154 h 1956"/>
                <a:gd name="T46" fmla="*/ 31 w 1722"/>
                <a:gd name="T47" fmla="*/ 159 h 1956"/>
                <a:gd name="T48" fmla="*/ 29 w 1722"/>
                <a:gd name="T49" fmla="*/ 166 h 1956"/>
                <a:gd name="T50" fmla="*/ 25 w 1722"/>
                <a:gd name="T51" fmla="*/ 169 h 1956"/>
                <a:gd name="T52" fmla="*/ 27 w 1722"/>
                <a:gd name="T53" fmla="*/ 154 h 1956"/>
                <a:gd name="T54" fmla="*/ 37 w 1722"/>
                <a:gd name="T55" fmla="*/ 133 h 1956"/>
                <a:gd name="T56" fmla="*/ 36 w 1722"/>
                <a:gd name="T57" fmla="*/ 109 h 1956"/>
                <a:gd name="T58" fmla="*/ 27 w 1722"/>
                <a:gd name="T59" fmla="*/ 101 h 1956"/>
                <a:gd name="T60" fmla="*/ 5 w 1722"/>
                <a:gd name="T61" fmla="*/ 98 h 1956"/>
                <a:gd name="T62" fmla="*/ 2 w 1722"/>
                <a:gd name="T63" fmla="*/ 93 h 1956"/>
                <a:gd name="T64" fmla="*/ 12 w 1722"/>
                <a:gd name="T65" fmla="*/ 82 h 1956"/>
                <a:gd name="T66" fmla="*/ 9 w 1722"/>
                <a:gd name="T67" fmla="*/ 74 h 1956"/>
                <a:gd name="T68" fmla="*/ 23 w 1722"/>
                <a:gd name="T69" fmla="*/ 72 h 1956"/>
                <a:gd name="T70" fmla="*/ 22 w 1722"/>
                <a:gd name="T71" fmla="*/ 67 h 1956"/>
                <a:gd name="T72" fmla="*/ 48 w 1722"/>
                <a:gd name="T73" fmla="*/ 57 h 1956"/>
                <a:gd name="T74" fmla="*/ 78 w 1722"/>
                <a:gd name="T75" fmla="*/ 34 h 1956"/>
                <a:gd name="T76" fmla="*/ 81 w 1722"/>
                <a:gd name="T77" fmla="*/ 31 h 1956"/>
                <a:gd name="T78" fmla="*/ 80 w 1722"/>
                <a:gd name="T79" fmla="*/ 26 h 1956"/>
                <a:gd name="T80" fmla="*/ 78 w 1722"/>
                <a:gd name="T81" fmla="*/ 21 h 1956"/>
                <a:gd name="T82" fmla="*/ 77 w 1722"/>
                <a:gd name="T83" fmla="*/ 18 h 1956"/>
                <a:gd name="T84" fmla="*/ 77 w 1722"/>
                <a:gd name="T85" fmla="*/ 12 h 1956"/>
                <a:gd name="T86" fmla="*/ 77 w 1722"/>
                <a:gd name="T87" fmla="*/ 7 h 1956"/>
                <a:gd name="T88" fmla="*/ 102 w 1722"/>
                <a:gd name="T89" fmla="*/ 2 h 1956"/>
                <a:gd name="T90" fmla="*/ 115 w 1722"/>
                <a:gd name="T91" fmla="*/ 3 h 1956"/>
                <a:gd name="T92" fmla="*/ 123 w 1722"/>
                <a:gd name="T93" fmla="*/ 3 h 1956"/>
                <a:gd name="T94" fmla="*/ 125 w 1722"/>
                <a:gd name="T95" fmla="*/ 9 h 1956"/>
                <a:gd name="T96" fmla="*/ 133 w 1722"/>
                <a:gd name="T97" fmla="*/ 13 h 1956"/>
                <a:gd name="T98" fmla="*/ 149 w 1722"/>
                <a:gd name="T99" fmla="*/ 37 h 1956"/>
                <a:gd name="T100" fmla="*/ 141 w 1722"/>
                <a:gd name="T101" fmla="*/ 57 h 1956"/>
                <a:gd name="T102" fmla="*/ 135 w 1722"/>
                <a:gd name="T103" fmla="*/ 63 h 1956"/>
                <a:gd name="T104" fmla="*/ 124 w 1722"/>
                <a:gd name="T105" fmla="*/ 77 h 1956"/>
                <a:gd name="T106" fmla="*/ 123 w 1722"/>
                <a:gd name="T107" fmla="*/ 96 h 1956"/>
                <a:gd name="T108" fmla="*/ 127 w 1722"/>
                <a:gd name="T109" fmla="*/ 97 h 1956"/>
                <a:gd name="T110" fmla="*/ 129 w 1722"/>
                <a:gd name="T111" fmla="*/ 92 h 1956"/>
                <a:gd name="T112" fmla="*/ 134 w 1722"/>
                <a:gd name="T113" fmla="*/ 94 h 1956"/>
                <a:gd name="T114" fmla="*/ 138 w 1722"/>
                <a:gd name="T115" fmla="*/ 99 h 1956"/>
                <a:gd name="T116" fmla="*/ 142 w 1722"/>
                <a:gd name="T117" fmla="*/ 104 h 1956"/>
                <a:gd name="T118" fmla="*/ 141 w 1722"/>
                <a:gd name="T119" fmla="*/ 115 h 195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722"/>
                <a:gd name="T181" fmla="*/ 0 h 1956"/>
                <a:gd name="T182" fmla="*/ 1722 w 1722"/>
                <a:gd name="T183" fmla="*/ 1956 h 195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722" h="1956">
                  <a:moveTo>
                    <a:pt x="1686" y="1404"/>
                  </a:moveTo>
                  <a:lnTo>
                    <a:pt x="1680" y="1416"/>
                  </a:lnTo>
                  <a:lnTo>
                    <a:pt x="1674" y="1422"/>
                  </a:lnTo>
                  <a:lnTo>
                    <a:pt x="1674" y="1428"/>
                  </a:lnTo>
                  <a:lnTo>
                    <a:pt x="1668" y="1428"/>
                  </a:lnTo>
                  <a:lnTo>
                    <a:pt x="1668" y="1434"/>
                  </a:lnTo>
                  <a:lnTo>
                    <a:pt x="1662" y="1446"/>
                  </a:lnTo>
                  <a:lnTo>
                    <a:pt x="1656" y="1464"/>
                  </a:lnTo>
                  <a:lnTo>
                    <a:pt x="1656" y="1476"/>
                  </a:lnTo>
                  <a:lnTo>
                    <a:pt x="1656" y="1488"/>
                  </a:lnTo>
                  <a:lnTo>
                    <a:pt x="1662" y="1500"/>
                  </a:lnTo>
                  <a:lnTo>
                    <a:pt x="1662" y="1506"/>
                  </a:lnTo>
                  <a:lnTo>
                    <a:pt x="1662" y="1524"/>
                  </a:lnTo>
                  <a:lnTo>
                    <a:pt x="1668" y="1542"/>
                  </a:lnTo>
                  <a:lnTo>
                    <a:pt x="1674" y="1560"/>
                  </a:lnTo>
                  <a:lnTo>
                    <a:pt x="1680" y="1578"/>
                  </a:lnTo>
                  <a:lnTo>
                    <a:pt x="1686" y="1578"/>
                  </a:lnTo>
                  <a:lnTo>
                    <a:pt x="1686" y="1584"/>
                  </a:lnTo>
                  <a:lnTo>
                    <a:pt x="1686" y="1590"/>
                  </a:lnTo>
                  <a:lnTo>
                    <a:pt x="1686" y="1596"/>
                  </a:lnTo>
                  <a:lnTo>
                    <a:pt x="1680" y="1596"/>
                  </a:lnTo>
                  <a:lnTo>
                    <a:pt x="1674" y="1602"/>
                  </a:lnTo>
                  <a:lnTo>
                    <a:pt x="1662" y="1602"/>
                  </a:lnTo>
                  <a:lnTo>
                    <a:pt x="1638" y="1596"/>
                  </a:lnTo>
                  <a:lnTo>
                    <a:pt x="1632" y="1596"/>
                  </a:lnTo>
                  <a:lnTo>
                    <a:pt x="1626" y="1602"/>
                  </a:lnTo>
                  <a:lnTo>
                    <a:pt x="1620" y="1602"/>
                  </a:lnTo>
                  <a:lnTo>
                    <a:pt x="1614" y="1602"/>
                  </a:lnTo>
                  <a:lnTo>
                    <a:pt x="1602" y="1602"/>
                  </a:lnTo>
                  <a:lnTo>
                    <a:pt x="1602" y="1608"/>
                  </a:lnTo>
                  <a:lnTo>
                    <a:pt x="1602" y="1620"/>
                  </a:lnTo>
                  <a:lnTo>
                    <a:pt x="1596" y="1620"/>
                  </a:lnTo>
                  <a:lnTo>
                    <a:pt x="1590" y="1620"/>
                  </a:lnTo>
                  <a:lnTo>
                    <a:pt x="1584" y="1626"/>
                  </a:lnTo>
                  <a:lnTo>
                    <a:pt x="1584" y="1632"/>
                  </a:lnTo>
                  <a:lnTo>
                    <a:pt x="1578" y="1644"/>
                  </a:lnTo>
                  <a:lnTo>
                    <a:pt x="1572" y="1644"/>
                  </a:lnTo>
                  <a:lnTo>
                    <a:pt x="1566" y="1644"/>
                  </a:lnTo>
                  <a:lnTo>
                    <a:pt x="1566" y="1650"/>
                  </a:lnTo>
                  <a:lnTo>
                    <a:pt x="1560" y="1650"/>
                  </a:lnTo>
                  <a:lnTo>
                    <a:pt x="1554" y="1650"/>
                  </a:lnTo>
                  <a:lnTo>
                    <a:pt x="1548" y="1650"/>
                  </a:lnTo>
                  <a:lnTo>
                    <a:pt x="1548" y="1656"/>
                  </a:lnTo>
                  <a:lnTo>
                    <a:pt x="1542" y="1668"/>
                  </a:lnTo>
                  <a:lnTo>
                    <a:pt x="1542" y="1674"/>
                  </a:lnTo>
                  <a:lnTo>
                    <a:pt x="1542" y="1692"/>
                  </a:lnTo>
                  <a:lnTo>
                    <a:pt x="1536" y="1698"/>
                  </a:lnTo>
                  <a:lnTo>
                    <a:pt x="1530" y="1698"/>
                  </a:lnTo>
                  <a:lnTo>
                    <a:pt x="1524" y="1698"/>
                  </a:lnTo>
                  <a:lnTo>
                    <a:pt x="1518" y="1704"/>
                  </a:lnTo>
                  <a:lnTo>
                    <a:pt x="1512" y="1710"/>
                  </a:lnTo>
                  <a:lnTo>
                    <a:pt x="1506" y="1722"/>
                  </a:lnTo>
                  <a:lnTo>
                    <a:pt x="1500" y="1728"/>
                  </a:lnTo>
                  <a:lnTo>
                    <a:pt x="1500" y="1734"/>
                  </a:lnTo>
                  <a:lnTo>
                    <a:pt x="1512" y="1734"/>
                  </a:lnTo>
                  <a:lnTo>
                    <a:pt x="1518" y="1740"/>
                  </a:lnTo>
                  <a:lnTo>
                    <a:pt x="1518" y="1746"/>
                  </a:lnTo>
                  <a:lnTo>
                    <a:pt x="1518" y="1752"/>
                  </a:lnTo>
                  <a:lnTo>
                    <a:pt x="1518" y="1758"/>
                  </a:lnTo>
                  <a:lnTo>
                    <a:pt x="1524" y="1758"/>
                  </a:lnTo>
                  <a:lnTo>
                    <a:pt x="1524" y="1764"/>
                  </a:lnTo>
                  <a:lnTo>
                    <a:pt x="1530" y="1770"/>
                  </a:lnTo>
                  <a:lnTo>
                    <a:pt x="1518" y="1770"/>
                  </a:lnTo>
                  <a:lnTo>
                    <a:pt x="1512" y="1782"/>
                  </a:lnTo>
                  <a:lnTo>
                    <a:pt x="1512" y="1788"/>
                  </a:lnTo>
                  <a:lnTo>
                    <a:pt x="1518" y="1788"/>
                  </a:lnTo>
                  <a:lnTo>
                    <a:pt x="1524" y="1800"/>
                  </a:lnTo>
                  <a:lnTo>
                    <a:pt x="1524" y="1806"/>
                  </a:lnTo>
                  <a:lnTo>
                    <a:pt x="1518" y="1812"/>
                  </a:lnTo>
                  <a:lnTo>
                    <a:pt x="1512" y="1818"/>
                  </a:lnTo>
                  <a:lnTo>
                    <a:pt x="1506" y="1818"/>
                  </a:lnTo>
                  <a:lnTo>
                    <a:pt x="1500" y="1824"/>
                  </a:lnTo>
                  <a:lnTo>
                    <a:pt x="1500" y="1836"/>
                  </a:lnTo>
                  <a:lnTo>
                    <a:pt x="1500" y="1842"/>
                  </a:lnTo>
                  <a:lnTo>
                    <a:pt x="1500" y="1848"/>
                  </a:lnTo>
                  <a:lnTo>
                    <a:pt x="1500" y="1854"/>
                  </a:lnTo>
                  <a:lnTo>
                    <a:pt x="1494" y="1860"/>
                  </a:lnTo>
                  <a:lnTo>
                    <a:pt x="1488" y="1860"/>
                  </a:lnTo>
                  <a:lnTo>
                    <a:pt x="1488" y="1866"/>
                  </a:lnTo>
                  <a:lnTo>
                    <a:pt x="1482" y="1872"/>
                  </a:lnTo>
                  <a:lnTo>
                    <a:pt x="1482" y="1878"/>
                  </a:lnTo>
                  <a:lnTo>
                    <a:pt x="1482" y="1884"/>
                  </a:lnTo>
                  <a:lnTo>
                    <a:pt x="1476" y="1890"/>
                  </a:lnTo>
                  <a:lnTo>
                    <a:pt x="1470" y="1890"/>
                  </a:lnTo>
                  <a:lnTo>
                    <a:pt x="1470" y="1896"/>
                  </a:lnTo>
                  <a:lnTo>
                    <a:pt x="1464" y="1896"/>
                  </a:lnTo>
                  <a:lnTo>
                    <a:pt x="1458" y="1896"/>
                  </a:lnTo>
                  <a:lnTo>
                    <a:pt x="1452" y="1896"/>
                  </a:lnTo>
                  <a:lnTo>
                    <a:pt x="1440" y="1890"/>
                  </a:lnTo>
                  <a:lnTo>
                    <a:pt x="1434" y="1896"/>
                  </a:lnTo>
                  <a:lnTo>
                    <a:pt x="1428" y="1896"/>
                  </a:lnTo>
                  <a:lnTo>
                    <a:pt x="1422" y="1896"/>
                  </a:lnTo>
                  <a:lnTo>
                    <a:pt x="1422" y="1902"/>
                  </a:lnTo>
                  <a:lnTo>
                    <a:pt x="1416" y="1902"/>
                  </a:lnTo>
                  <a:lnTo>
                    <a:pt x="1422" y="1914"/>
                  </a:lnTo>
                  <a:lnTo>
                    <a:pt x="1422" y="1932"/>
                  </a:lnTo>
                  <a:lnTo>
                    <a:pt x="1416" y="1938"/>
                  </a:lnTo>
                  <a:lnTo>
                    <a:pt x="1422" y="1938"/>
                  </a:lnTo>
                  <a:lnTo>
                    <a:pt x="1404" y="1938"/>
                  </a:lnTo>
                  <a:lnTo>
                    <a:pt x="1392" y="1944"/>
                  </a:lnTo>
                  <a:lnTo>
                    <a:pt x="1386" y="1944"/>
                  </a:lnTo>
                  <a:lnTo>
                    <a:pt x="1374" y="1944"/>
                  </a:lnTo>
                  <a:lnTo>
                    <a:pt x="1368" y="1950"/>
                  </a:lnTo>
                  <a:lnTo>
                    <a:pt x="1374" y="1956"/>
                  </a:lnTo>
                  <a:lnTo>
                    <a:pt x="1368" y="1956"/>
                  </a:lnTo>
                  <a:lnTo>
                    <a:pt x="1356" y="1956"/>
                  </a:lnTo>
                  <a:lnTo>
                    <a:pt x="1350" y="1956"/>
                  </a:lnTo>
                  <a:lnTo>
                    <a:pt x="1350" y="1950"/>
                  </a:lnTo>
                  <a:lnTo>
                    <a:pt x="1344" y="1944"/>
                  </a:lnTo>
                  <a:lnTo>
                    <a:pt x="1332" y="1938"/>
                  </a:lnTo>
                  <a:lnTo>
                    <a:pt x="1326" y="1938"/>
                  </a:lnTo>
                  <a:lnTo>
                    <a:pt x="1320" y="1938"/>
                  </a:lnTo>
                  <a:lnTo>
                    <a:pt x="1314" y="1944"/>
                  </a:lnTo>
                  <a:lnTo>
                    <a:pt x="1308" y="1944"/>
                  </a:lnTo>
                  <a:lnTo>
                    <a:pt x="1302" y="1944"/>
                  </a:lnTo>
                  <a:lnTo>
                    <a:pt x="1296" y="1938"/>
                  </a:lnTo>
                  <a:lnTo>
                    <a:pt x="1284" y="1938"/>
                  </a:lnTo>
                  <a:lnTo>
                    <a:pt x="1278" y="1938"/>
                  </a:lnTo>
                  <a:lnTo>
                    <a:pt x="1272" y="1938"/>
                  </a:lnTo>
                  <a:lnTo>
                    <a:pt x="1266" y="1932"/>
                  </a:lnTo>
                  <a:lnTo>
                    <a:pt x="1260" y="1932"/>
                  </a:lnTo>
                  <a:lnTo>
                    <a:pt x="1254" y="1920"/>
                  </a:lnTo>
                  <a:lnTo>
                    <a:pt x="1248" y="1920"/>
                  </a:lnTo>
                  <a:lnTo>
                    <a:pt x="1242" y="1920"/>
                  </a:lnTo>
                  <a:lnTo>
                    <a:pt x="1236" y="1926"/>
                  </a:lnTo>
                  <a:lnTo>
                    <a:pt x="1236" y="1932"/>
                  </a:lnTo>
                  <a:lnTo>
                    <a:pt x="1230" y="1932"/>
                  </a:lnTo>
                  <a:lnTo>
                    <a:pt x="1224" y="1932"/>
                  </a:lnTo>
                  <a:lnTo>
                    <a:pt x="1218" y="1938"/>
                  </a:lnTo>
                  <a:lnTo>
                    <a:pt x="1212" y="1932"/>
                  </a:lnTo>
                  <a:lnTo>
                    <a:pt x="1206" y="1926"/>
                  </a:lnTo>
                  <a:lnTo>
                    <a:pt x="1206" y="1908"/>
                  </a:lnTo>
                  <a:lnTo>
                    <a:pt x="1206" y="1884"/>
                  </a:lnTo>
                  <a:lnTo>
                    <a:pt x="1206" y="1866"/>
                  </a:lnTo>
                  <a:lnTo>
                    <a:pt x="1212" y="1848"/>
                  </a:lnTo>
                  <a:lnTo>
                    <a:pt x="1212" y="1842"/>
                  </a:lnTo>
                  <a:lnTo>
                    <a:pt x="1206" y="1836"/>
                  </a:lnTo>
                  <a:lnTo>
                    <a:pt x="1200" y="1830"/>
                  </a:lnTo>
                  <a:lnTo>
                    <a:pt x="1194" y="1824"/>
                  </a:lnTo>
                  <a:lnTo>
                    <a:pt x="1188" y="1824"/>
                  </a:lnTo>
                  <a:lnTo>
                    <a:pt x="1182" y="1824"/>
                  </a:lnTo>
                  <a:lnTo>
                    <a:pt x="1176" y="1824"/>
                  </a:lnTo>
                  <a:lnTo>
                    <a:pt x="1170" y="1818"/>
                  </a:lnTo>
                  <a:lnTo>
                    <a:pt x="1164" y="1830"/>
                  </a:lnTo>
                  <a:lnTo>
                    <a:pt x="1152" y="1836"/>
                  </a:lnTo>
                  <a:lnTo>
                    <a:pt x="1146" y="1842"/>
                  </a:lnTo>
                  <a:lnTo>
                    <a:pt x="1140" y="1842"/>
                  </a:lnTo>
                  <a:lnTo>
                    <a:pt x="1134" y="1842"/>
                  </a:lnTo>
                  <a:lnTo>
                    <a:pt x="1128" y="1842"/>
                  </a:lnTo>
                  <a:lnTo>
                    <a:pt x="1116" y="1836"/>
                  </a:lnTo>
                  <a:lnTo>
                    <a:pt x="1110" y="1842"/>
                  </a:lnTo>
                  <a:lnTo>
                    <a:pt x="1092" y="1830"/>
                  </a:lnTo>
                  <a:lnTo>
                    <a:pt x="1092" y="1824"/>
                  </a:lnTo>
                  <a:lnTo>
                    <a:pt x="1092" y="1806"/>
                  </a:lnTo>
                  <a:lnTo>
                    <a:pt x="1092" y="1800"/>
                  </a:lnTo>
                  <a:lnTo>
                    <a:pt x="1092" y="1794"/>
                  </a:lnTo>
                  <a:lnTo>
                    <a:pt x="1086" y="1788"/>
                  </a:lnTo>
                  <a:lnTo>
                    <a:pt x="1080" y="1794"/>
                  </a:lnTo>
                  <a:lnTo>
                    <a:pt x="1074" y="1788"/>
                  </a:lnTo>
                  <a:lnTo>
                    <a:pt x="1068" y="1770"/>
                  </a:lnTo>
                  <a:lnTo>
                    <a:pt x="1056" y="1764"/>
                  </a:lnTo>
                  <a:lnTo>
                    <a:pt x="1050" y="1764"/>
                  </a:lnTo>
                  <a:lnTo>
                    <a:pt x="1044" y="1764"/>
                  </a:lnTo>
                  <a:lnTo>
                    <a:pt x="1038" y="1758"/>
                  </a:lnTo>
                  <a:lnTo>
                    <a:pt x="1032" y="1752"/>
                  </a:lnTo>
                  <a:lnTo>
                    <a:pt x="1032" y="1746"/>
                  </a:lnTo>
                  <a:lnTo>
                    <a:pt x="1032" y="1740"/>
                  </a:lnTo>
                  <a:lnTo>
                    <a:pt x="1032" y="1734"/>
                  </a:lnTo>
                  <a:lnTo>
                    <a:pt x="1026" y="1734"/>
                  </a:lnTo>
                  <a:lnTo>
                    <a:pt x="1032" y="1728"/>
                  </a:lnTo>
                  <a:lnTo>
                    <a:pt x="1032" y="1722"/>
                  </a:lnTo>
                  <a:lnTo>
                    <a:pt x="1044" y="1686"/>
                  </a:lnTo>
                  <a:lnTo>
                    <a:pt x="1044" y="1680"/>
                  </a:lnTo>
                  <a:lnTo>
                    <a:pt x="1032" y="1674"/>
                  </a:lnTo>
                  <a:lnTo>
                    <a:pt x="1026" y="1674"/>
                  </a:lnTo>
                  <a:lnTo>
                    <a:pt x="1026" y="1668"/>
                  </a:lnTo>
                  <a:lnTo>
                    <a:pt x="1020" y="1662"/>
                  </a:lnTo>
                  <a:lnTo>
                    <a:pt x="1014" y="1668"/>
                  </a:lnTo>
                  <a:lnTo>
                    <a:pt x="1008" y="1662"/>
                  </a:lnTo>
                  <a:lnTo>
                    <a:pt x="1002" y="1662"/>
                  </a:lnTo>
                  <a:lnTo>
                    <a:pt x="1002" y="1668"/>
                  </a:lnTo>
                  <a:lnTo>
                    <a:pt x="996" y="1668"/>
                  </a:lnTo>
                  <a:lnTo>
                    <a:pt x="996" y="1662"/>
                  </a:lnTo>
                  <a:lnTo>
                    <a:pt x="984" y="1662"/>
                  </a:lnTo>
                  <a:lnTo>
                    <a:pt x="984" y="1656"/>
                  </a:lnTo>
                  <a:lnTo>
                    <a:pt x="978" y="1650"/>
                  </a:lnTo>
                  <a:lnTo>
                    <a:pt x="978" y="1644"/>
                  </a:lnTo>
                  <a:lnTo>
                    <a:pt x="966" y="1650"/>
                  </a:lnTo>
                  <a:lnTo>
                    <a:pt x="960" y="1638"/>
                  </a:lnTo>
                  <a:lnTo>
                    <a:pt x="954" y="1632"/>
                  </a:lnTo>
                  <a:lnTo>
                    <a:pt x="948" y="1632"/>
                  </a:lnTo>
                  <a:lnTo>
                    <a:pt x="942" y="1626"/>
                  </a:lnTo>
                  <a:lnTo>
                    <a:pt x="942" y="1614"/>
                  </a:lnTo>
                  <a:lnTo>
                    <a:pt x="930" y="1608"/>
                  </a:lnTo>
                  <a:lnTo>
                    <a:pt x="924" y="1614"/>
                  </a:lnTo>
                  <a:lnTo>
                    <a:pt x="912" y="1608"/>
                  </a:lnTo>
                  <a:lnTo>
                    <a:pt x="888" y="1590"/>
                  </a:lnTo>
                  <a:lnTo>
                    <a:pt x="894" y="1578"/>
                  </a:lnTo>
                  <a:lnTo>
                    <a:pt x="894" y="1572"/>
                  </a:lnTo>
                  <a:lnTo>
                    <a:pt x="894" y="1566"/>
                  </a:lnTo>
                  <a:lnTo>
                    <a:pt x="894" y="1548"/>
                  </a:lnTo>
                  <a:lnTo>
                    <a:pt x="888" y="1548"/>
                  </a:lnTo>
                  <a:lnTo>
                    <a:pt x="882" y="1542"/>
                  </a:lnTo>
                  <a:lnTo>
                    <a:pt x="876" y="1542"/>
                  </a:lnTo>
                  <a:lnTo>
                    <a:pt x="876" y="1536"/>
                  </a:lnTo>
                  <a:lnTo>
                    <a:pt x="870" y="1542"/>
                  </a:lnTo>
                  <a:lnTo>
                    <a:pt x="870" y="1554"/>
                  </a:lnTo>
                  <a:lnTo>
                    <a:pt x="870" y="1566"/>
                  </a:lnTo>
                  <a:lnTo>
                    <a:pt x="870" y="1578"/>
                  </a:lnTo>
                  <a:lnTo>
                    <a:pt x="870" y="1584"/>
                  </a:lnTo>
                  <a:lnTo>
                    <a:pt x="864" y="1584"/>
                  </a:lnTo>
                  <a:lnTo>
                    <a:pt x="870" y="1602"/>
                  </a:lnTo>
                  <a:lnTo>
                    <a:pt x="864" y="1608"/>
                  </a:lnTo>
                  <a:lnTo>
                    <a:pt x="870" y="1614"/>
                  </a:lnTo>
                  <a:lnTo>
                    <a:pt x="864" y="1644"/>
                  </a:lnTo>
                  <a:lnTo>
                    <a:pt x="858" y="1650"/>
                  </a:lnTo>
                  <a:lnTo>
                    <a:pt x="858" y="1656"/>
                  </a:lnTo>
                  <a:lnTo>
                    <a:pt x="852" y="1662"/>
                  </a:lnTo>
                  <a:lnTo>
                    <a:pt x="852" y="1680"/>
                  </a:lnTo>
                  <a:lnTo>
                    <a:pt x="846" y="1686"/>
                  </a:lnTo>
                  <a:lnTo>
                    <a:pt x="834" y="1692"/>
                  </a:lnTo>
                  <a:lnTo>
                    <a:pt x="828" y="1692"/>
                  </a:lnTo>
                  <a:lnTo>
                    <a:pt x="822" y="1698"/>
                  </a:lnTo>
                  <a:lnTo>
                    <a:pt x="822" y="1704"/>
                  </a:lnTo>
                  <a:lnTo>
                    <a:pt x="816" y="1704"/>
                  </a:lnTo>
                  <a:lnTo>
                    <a:pt x="804" y="1692"/>
                  </a:lnTo>
                  <a:lnTo>
                    <a:pt x="786" y="1698"/>
                  </a:lnTo>
                  <a:lnTo>
                    <a:pt x="780" y="1698"/>
                  </a:lnTo>
                  <a:lnTo>
                    <a:pt x="756" y="1698"/>
                  </a:lnTo>
                  <a:lnTo>
                    <a:pt x="744" y="1698"/>
                  </a:lnTo>
                  <a:lnTo>
                    <a:pt x="738" y="1698"/>
                  </a:lnTo>
                  <a:lnTo>
                    <a:pt x="732" y="1704"/>
                  </a:lnTo>
                  <a:lnTo>
                    <a:pt x="726" y="1704"/>
                  </a:lnTo>
                  <a:lnTo>
                    <a:pt x="678" y="1710"/>
                  </a:lnTo>
                  <a:lnTo>
                    <a:pt x="642" y="1710"/>
                  </a:lnTo>
                  <a:lnTo>
                    <a:pt x="618" y="1680"/>
                  </a:lnTo>
                  <a:lnTo>
                    <a:pt x="618" y="1674"/>
                  </a:lnTo>
                  <a:lnTo>
                    <a:pt x="618" y="1668"/>
                  </a:lnTo>
                  <a:lnTo>
                    <a:pt x="624" y="1662"/>
                  </a:lnTo>
                  <a:lnTo>
                    <a:pt x="624" y="1656"/>
                  </a:lnTo>
                  <a:lnTo>
                    <a:pt x="624" y="1650"/>
                  </a:lnTo>
                  <a:lnTo>
                    <a:pt x="618" y="1650"/>
                  </a:lnTo>
                  <a:lnTo>
                    <a:pt x="618" y="1644"/>
                  </a:lnTo>
                  <a:lnTo>
                    <a:pt x="618" y="1638"/>
                  </a:lnTo>
                  <a:lnTo>
                    <a:pt x="618" y="1632"/>
                  </a:lnTo>
                  <a:lnTo>
                    <a:pt x="618" y="1626"/>
                  </a:lnTo>
                  <a:lnTo>
                    <a:pt x="612" y="1626"/>
                  </a:lnTo>
                  <a:lnTo>
                    <a:pt x="612" y="1620"/>
                  </a:lnTo>
                  <a:lnTo>
                    <a:pt x="606" y="1614"/>
                  </a:lnTo>
                  <a:lnTo>
                    <a:pt x="594" y="1626"/>
                  </a:lnTo>
                  <a:lnTo>
                    <a:pt x="594" y="1632"/>
                  </a:lnTo>
                  <a:lnTo>
                    <a:pt x="588" y="1638"/>
                  </a:lnTo>
                  <a:lnTo>
                    <a:pt x="582" y="1638"/>
                  </a:lnTo>
                  <a:lnTo>
                    <a:pt x="564" y="1656"/>
                  </a:lnTo>
                  <a:lnTo>
                    <a:pt x="558" y="1662"/>
                  </a:lnTo>
                  <a:lnTo>
                    <a:pt x="552" y="1662"/>
                  </a:lnTo>
                  <a:lnTo>
                    <a:pt x="540" y="1674"/>
                  </a:lnTo>
                  <a:lnTo>
                    <a:pt x="534" y="1680"/>
                  </a:lnTo>
                  <a:lnTo>
                    <a:pt x="522" y="1692"/>
                  </a:lnTo>
                  <a:lnTo>
                    <a:pt x="516" y="1704"/>
                  </a:lnTo>
                  <a:lnTo>
                    <a:pt x="510" y="1704"/>
                  </a:lnTo>
                  <a:lnTo>
                    <a:pt x="504" y="1704"/>
                  </a:lnTo>
                  <a:lnTo>
                    <a:pt x="486" y="1722"/>
                  </a:lnTo>
                  <a:lnTo>
                    <a:pt x="480" y="1740"/>
                  </a:lnTo>
                  <a:lnTo>
                    <a:pt x="474" y="1740"/>
                  </a:lnTo>
                  <a:lnTo>
                    <a:pt x="468" y="1746"/>
                  </a:lnTo>
                  <a:lnTo>
                    <a:pt x="456" y="1758"/>
                  </a:lnTo>
                  <a:lnTo>
                    <a:pt x="444" y="1770"/>
                  </a:lnTo>
                  <a:lnTo>
                    <a:pt x="438" y="1782"/>
                  </a:lnTo>
                  <a:lnTo>
                    <a:pt x="426" y="1788"/>
                  </a:lnTo>
                  <a:lnTo>
                    <a:pt x="420" y="1788"/>
                  </a:lnTo>
                  <a:lnTo>
                    <a:pt x="420" y="1782"/>
                  </a:lnTo>
                  <a:lnTo>
                    <a:pt x="414" y="1782"/>
                  </a:lnTo>
                  <a:lnTo>
                    <a:pt x="390" y="1782"/>
                  </a:lnTo>
                  <a:lnTo>
                    <a:pt x="390" y="1776"/>
                  </a:lnTo>
                  <a:lnTo>
                    <a:pt x="384" y="1776"/>
                  </a:lnTo>
                  <a:lnTo>
                    <a:pt x="378" y="1776"/>
                  </a:lnTo>
                  <a:lnTo>
                    <a:pt x="372" y="1776"/>
                  </a:lnTo>
                  <a:lnTo>
                    <a:pt x="366" y="1770"/>
                  </a:lnTo>
                  <a:lnTo>
                    <a:pt x="366" y="1776"/>
                  </a:lnTo>
                  <a:lnTo>
                    <a:pt x="360" y="1788"/>
                  </a:lnTo>
                  <a:lnTo>
                    <a:pt x="360" y="1794"/>
                  </a:lnTo>
                  <a:lnTo>
                    <a:pt x="360" y="1800"/>
                  </a:lnTo>
                  <a:lnTo>
                    <a:pt x="354" y="1806"/>
                  </a:lnTo>
                  <a:lnTo>
                    <a:pt x="354" y="1812"/>
                  </a:lnTo>
                  <a:lnTo>
                    <a:pt x="354" y="1824"/>
                  </a:lnTo>
                  <a:lnTo>
                    <a:pt x="348" y="1830"/>
                  </a:lnTo>
                  <a:lnTo>
                    <a:pt x="354" y="1836"/>
                  </a:lnTo>
                  <a:lnTo>
                    <a:pt x="348" y="1842"/>
                  </a:lnTo>
                  <a:lnTo>
                    <a:pt x="354" y="1848"/>
                  </a:lnTo>
                  <a:lnTo>
                    <a:pt x="348" y="1854"/>
                  </a:lnTo>
                  <a:lnTo>
                    <a:pt x="354" y="1854"/>
                  </a:lnTo>
                  <a:lnTo>
                    <a:pt x="348" y="1860"/>
                  </a:lnTo>
                  <a:lnTo>
                    <a:pt x="348" y="1866"/>
                  </a:lnTo>
                  <a:lnTo>
                    <a:pt x="342" y="1866"/>
                  </a:lnTo>
                  <a:lnTo>
                    <a:pt x="342" y="1872"/>
                  </a:lnTo>
                  <a:lnTo>
                    <a:pt x="342" y="1878"/>
                  </a:lnTo>
                  <a:lnTo>
                    <a:pt x="342" y="1884"/>
                  </a:lnTo>
                  <a:lnTo>
                    <a:pt x="336" y="1896"/>
                  </a:lnTo>
                  <a:lnTo>
                    <a:pt x="330" y="1914"/>
                  </a:lnTo>
                  <a:lnTo>
                    <a:pt x="324" y="1920"/>
                  </a:lnTo>
                  <a:lnTo>
                    <a:pt x="324" y="1926"/>
                  </a:lnTo>
                  <a:lnTo>
                    <a:pt x="318" y="1944"/>
                  </a:lnTo>
                  <a:lnTo>
                    <a:pt x="318" y="1950"/>
                  </a:lnTo>
                  <a:lnTo>
                    <a:pt x="312" y="1956"/>
                  </a:lnTo>
                  <a:lnTo>
                    <a:pt x="312" y="1950"/>
                  </a:lnTo>
                  <a:lnTo>
                    <a:pt x="306" y="1950"/>
                  </a:lnTo>
                  <a:lnTo>
                    <a:pt x="306" y="1956"/>
                  </a:lnTo>
                  <a:lnTo>
                    <a:pt x="300" y="1950"/>
                  </a:lnTo>
                  <a:lnTo>
                    <a:pt x="294" y="1956"/>
                  </a:lnTo>
                  <a:lnTo>
                    <a:pt x="288" y="1950"/>
                  </a:lnTo>
                  <a:lnTo>
                    <a:pt x="288" y="1944"/>
                  </a:lnTo>
                  <a:lnTo>
                    <a:pt x="282" y="1938"/>
                  </a:lnTo>
                  <a:lnTo>
                    <a:pt x="282" y="1932"/>
                  </a:lnTo>
                  <a:lnTo>
                    <a:pt x="282" y="1890"/>
                  </a:lnTo>
                  <a:lnTo>
                    <a:pt x="288" y="1860"/>
                  </a:lnTo>
                  <a:lnTo>
                    <a:pt x="294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300" y="1818"/>
                  </a:lnTo>
                  <a:lnTo>
                    <a:pt x="306" y="1794"/>
                  </a:lnTo>
                  <a:lnTo>
                    <a:pt x="306" y="1788"/>
                  </a:lnTo>
                  <a:lnTo>
                    <a:pt x="306" y="1782"/>
                  </a:lnTo>
                  <a:lnTo>
                    <a:pt x="312" y="1776"/>
                  </a:lnTo>
                  <a:lnTo>
                    <a:pt x="306" y="1776"/>
                  </a:lnTo>
                  <a:lnTo>
                    <a:pt x="312" y="1770"/>
                  </a:lnTo>
                  <a:lnTo>
                    <a:pt x="312" y="1740"/>
                  </a:lnTo>
                  <a:lnTo>
                    <a:pt x="318" y="1722"/>
                  </a:lnTo>
                  <a:lnTo>
                    <a:pt x="312" y="1722"/>
                  </a:lnTo>
                  <a:lnTo>
                    <a:pt x="300" y="1716"/>
                  </a:lnTo>
                  <a:lnTo>
                    <a:pt x="306" y="1716"/>
                  </a:lnTo>
                  <a:lnTo>
                    <a:pt x="312" y="1710"/>
                  </a:lnTo>
                  <a:lnTo>
                    <a:pt x="324" y="1674"/>
                  </a:lnTo>
                  <a:lnTo>
                    <a:pt x="366" y="1590"/>
                  </a:lnTo>
                  <a:lnTo>
                    <a:pt x="408" y="1548"/>
                  </a:lnTo>
                  <a:lnTo>
                    <a:pt x="426" y="1530"/>
                  </a:lnTo>
                  <a:lnTo>
                    <a:pt x="432" y="1500"/>
                  </a:lnTo>
                  <a:lnTo>
                    <a:pt x="426" y="1494"/>
                  </a:lnTo>
                  <a:lnTo>
                    <a:pt x="426" y="1482"/>
                  </a:lnTo>
                  <a:lnTo>
                    <a:pt x="432" y="1464"/>
                  </a:lnTo>
                  <a:lnTo>
                    <a:pt x="438" y="1428"/>
                  </a:lnTo>
                  <a:lnTo>
                    <a:pt x="462" y="1398"/>
                  </a:lnTo>
                  <a:lnTo>
                    <a:pt x="468" y="1362"/>
                  </a:lnTo>
                  <a:lnTo>
                    <a:pt x="462" y="1314"/>
                  </a:lnTo>
                  <a:lnTo>
                    <a:pt x="444" y="1284"/>
                  </a:lnTo>
                  <a:lnTo>
                    <a:pt x="432" y="1260"/>
                  </a:lnTo>
                  <a:lnTo>
                    <a:pt x="426" y="1260"/>
                  </a:lnTo>
                  <a:lnTo>
                    <a:pt x="420" y="1254"/>
                  </a:lnTo>
                  <a:lnTo>
                    <a:pt x="408" y="1260"/>
                  </a:lnTo>
                  <a:lnTo>
                    <a:pt x="402" y="1260"/>
                  </a:lnTo>
                  <a:lnTo>
                    <a:pt x="402" y="1254"/>
                  </a:lnTo>
                  <a:lnTo>
                    <a:pt x="396" y="1254"/>
                  </a:lnTo>
                  <a:lnTo>
                    <a:pt x="396" y="1248"/>
                  </a:lnTo>
                  <a:lnTo>
                    <a:pt x="384" y="1248"/>
                  </a:lnTo>
                  <a:lnTo>
                    <a:pt x="372" y="1230"/>
                  </a:lnTo>
                  <a:lnTo>
                    <a:pt x="360" y="1212"/>
                  </a:lnTo>
                  <a:lnTo>
                    <a:pt x="348" y="1188"/>
                  </a:lnTo>
                  <a:lnTo>
                    <a:pt x="324" y="1170"/>
                  </a:lnTo>
                  <a:lnTo>
                    <a:pt x="318" y="1170"/>
                  </a:lnTo>
                  <a:lnTo>
                    <a:pt x="312" y="1158"/>
                  </a:lnTo>
                  <a:lnTo>
                    <a:pt x="312" y="1152"/>
                  </a:lnTo>
                  <a:lnTo>
                    <a:pt x="306" y="1146"/>
                  </a:lnTo>
                  <a:lnTo>
                    <a:pt x="270" y="1122"/>
                  </a:lnTo>
                  <a:lnTo>
                    <a:pt x="240" y="1122"/>
                  </a:lnTo>
                  <a:lnTo>
                    <a:pt x="180" y="1116"/>
                  </a:lnTo>
                  <a:lnTo>
                    <a:pt x="174" y="1122"/>
                  </a:lnTo>
                  <a:lnTo>
                    <a:pt x="174" y="1128"/>
                  </a:lnTo>
                  <a:lnTo>
                    <a:pt x="168" y="1122"/>
                  </a:lnTo>
                  <a:lnTo>
                    <a:pt x="162" y="1116"/>
                  </a:lnTo>
                  <a:lnTo>
                    <a:pt x="144" y="1122"/>
                  </a:lnTo>
                  <a:lnTo>
                    <a:pt x="120" y="1122"/>
                  </a:lnTo>
                  <a:lnTo>
                    <a:pt x="54" y="1134"/>
                  </a:lnTo>
                  <a:lnTo>
                    <a:pt x="24" y="1152"/>
                  </a:lnTo>
                  <a:lnTo>
                    <a:pt x="6" y="1146"/>
                  </a:lnTo>
                  <a:lnTo>
                    <a:pt x="0" y="1134"/>
                  </a:lnTo>
                  <a:lnTo>
                    <a:pt x="0" y="1128"/>
                  </a:lnTo>
                  <a:lnTo>
                    <a:pt x="18" y="1110"/>
                  </a:lnTo>
                  <a:lnTo>
                    <a:pt x="24" y="1104"/>
                  </a:lnTo>
                  <a:lnTo>
                    <a:pt x="24" y="1098"/>
                  </a:lnTo>
                  <a:lnTo>
                    <a:pt x="30" y="1086"/>
                  </a:lnTo>
                  <a:lnTo>
                    <a:pt x="24" y="1086"/>
                  </a:lnTo>
                  <a:lnTo>
                    <a:pt x="24" y="1080"/>
                  </a:lnTo>
                  <a:lnTo>
                    <a:pt x="24" y="1074"/>
                  </a:lnTo>
                  <a:lnTo>
                    <a:pt x="18" y="1068"/>
                  </a:lnTo>
                  <a:lnTo>
                    <a:pt x="24" y="1062"/>
                  </a:lnTo>
                  <a:lnTo>
                    <a:pt x="42" y="1056"/>
                  </a:lnTo>
                  <a:lnTo>
                    <a:pt x="54" y="1050"/>
                  </a:lnTo>
                  <a:lnTo>
                    <a:pt x="72" y="1044"/>
                  </a:lnTo>
                  <a:lnTo>
                    <a:pt x="96" y="1032"/>
                  </a:lnTo>
                  <a:lnTo>
                    <a:pt x="102" y="1032"/>
                  </a:lnTo>
                  <a:lnTo>
                    <a:pt x="126" y="1008"/>
                  </a:lnTo>
                  <a:lnTo>
                    <a:pt x="144" y="990"/>
                  </a:lnTo>
                  <a:lnTo>
                    <a:pt x="156" y="978"/>
                  </a:lnTo>
                  <a:lnTo>
                    <a:pt x="156" y="966"/>
                  </a:lnTo>
                  <a:lnTo>
                    <a:pt x="150" y="960"/>
                  </a:lnTo>
                  <a:lnTo>
                    <a:pt x="144" y="948"/>
                  </a:lnTo>
                  <a:lnTo>
                    <a:pt x="144" y="936"/>
                  </a:lnTo>
                  <a:lnTo>
                    <a:pt x="138" y="918"/>
                  </a:lnTo>
                  <a:lnTo>
                    <a:pt x="150" y="912"/>
                  </a:lnTo>
                  <a:lnTo>
                    <a:pt x="150" y="894"/>
                  </a:lnTo>
                  <a:lnTo>
                    <a:pt x="132" y="876"/>
                  </a:lnTo>
                  <a:lnTo>
                    <a:pt x="126" y="876"/>
                  </a:lnTo>
                  <a:lnTo>
                    <a:pt x="120" y="870"/>
                  </a:lnTo>
                  <a:lnTo>
                    <a:pt x="120" y="864"/>
                  </a:lnTo>
                  <a:lnTo>
                    <a:pt x="114" y="864"/>
                  </a:lnTo>
                  <a:lnTo>
                    <a:pt x="108" y="864"/>
                  </a:lnTo>
                  <a:lnTo>
                    <a:pt x="108" y="858"/>
                  </a:lnTo>
                  <a:lnTo>
                    <a:pt x="102" y="852"/>
                  </a:lnTo>
                  <a:lnTo>
                    <a:pt x="96" y="852"/>
                  </a:lnTo>
                  <a:lnTo>
                    <a:pt x="102" y="834"/>
                  </a:lnTo>
                  <a:lnTo>
                    <a:pt x="108" y="816"/>
                  </a:lnTo>
                  <a:lnTo>
                    <a:pt x="114" y="804"/>
                  </a:lnTo>
                  <a:lnTo>
                    <a:pt x="132" y="798"/>
                  </a:lnTo>
                  <a:lnTo>
                    <a:pt x="144" y="798"/>
                  </a:lnTo>
                  <a:lnTo>
                    <a:pt x="180" y="810"/>
                  </a:lnTo>
                  <a:lnTo>
                    <a:pt x="192" y="816"/>
                  </a:lnTo>
                  <a:lnTo>
                    <a:pt x="234" y="822"/>
                  </a:lnTo>
                  <a:lnTo>
                    <a:pt x="264" y="828"/>
                  </a:lnTo>
                  <a:lnTo>
                    <a:pt x="270" y="840"/>
                  </a:lnTo>
                  <a:lnTo>
                    <a:pt x="270" y="834"/>
                  </a:lnTo>
                  <a:lnTo>
                    <a:pt x="270" y="828"/>
                  </a:lnTo>
                  <a:lnTo>
                    <a:pt x="270" y="822"/>
                  </a:lnTo>
                  <a:lnTo>
                    <a:pt x="270" y="816"/>
                  </a:lnTo>
                  <a:lnTo>
                    <a:pt x="264" y="810"/>
                  </a:lnTo>
                  <a:lnTo>
                    <a:pt x="264" y="804"/>
                  </a:lnTo>
                  <a:lnTo>
                    <a:pt x="264" y="798"/>
                  </a:lnTo>
                  <a:lnTo>
                    <a:pt x="258" y="792"/>
                  </a:lnTo>
                  <a:lnTo>
                    <a:pt x="258" y="786"/>
                  </a:lnTo>
                  <a:lnTo>
                    <a:pt x="264" y="786"/>
                  </a:lnTo>
                  <a:lnTo>
                    <a:pt x="264" y="780"/>
                  </a:lnTo>
                  <a:lnTo>
                    <a:pt x="258" y="774"/>
                  </a:lnTo>
                  <a:lnTo>
                    <a:pt x="258" y="768"/>
                  </a:lnTo>
                  <a:lnTo>
                    <a:pt x="264" y="762"/>
                  </a:lnTo>
                  <a:lnTo>
                    <a:pt x="264" y="756"/>
                  </a:lnTo>
                  <a:lnTo>
                    <a:pt x="282" y="762"/>
                  </a:lnTo>
                  <a:lnTo>
                    <a:pt x="312" y="780"/>
                  </a:lnTo>
                  <a:lnTo>
                    <a:pt x="354" y="786"/>
                  </a:lnTo>
                  <a:lnTo>
                    <a:pt x="408" y="774"/>
                  </a:lnTo>
                  <a:lnTo>
                    <a:pt x="444" y="756"/>
                  </a:lnTo>
                  <a:lnTo>
                    <a:pt x="468" y="732"/>
                  </a:lnTo>
                  <a:lnTo>
                    <a:pt x="492" y="720"/>
                  </a:lnTo>
                  <a:lnTo>
                    <a:pt x="522" y="690"/>
                  </a:lnTo>
                  <a:lnTo>
                    <a:pt x="540" y="672"/>
                  </a:lnTo>
                  <a:lnTo>
                    <a:pt x="558" y="660"/>
                  </a:lnTo>
                  <a:lnTo>
                    <a:pt x="570" y="636"/>
                  </a:lnTo>
                  <a:lnTo>
                    <a:pt x="588" y="612"/>
                  </a:lnTo>
                  <a:lnTo>
                    <a:pt x="654" y="552"/>
                  </a:lnTo>
                  <a:lnTo>
                    <a:pt x="678" y="528"/>
                  </a:lnTo>
                  <a:lnTo>
                    <a:pt x="696" y="510"/>
                  </a:lnTo>
                  <a:lnTo>
                    <a:pt x="714" y="498"/>
                  </a:lnTo>
                  <a:lnTo>
                    <a:pt x="750" y="480"/>
                  </a:lnTo>
                  <a:lnTo>
                    <a:pt x="774" y="444"/>
                  </a:lnTo>
                  <a:lnTo>
                    <a:pt x="816" y="426"/>
                  </a:lnTo>
                  <a:lnTo>
                    <a:pt x="864" y="420"/>
                  </a:lnTo>
                  <a:lnTo>
                    <a:pt x="912" y="402"/>
                  </a:lnTo>
                  <a:lnTo>
                    <a:pt x="906" y="396"/>
                  </a:lnTo>
                  <a:lnTo>
                    <a:pt x="912" y="396"/>
                  </a:lnTo>
                  <a:lnTo>
                    <a:pt x="912" y="390"/>
                  </a:lnTo>
                  <a:lnTo>
                    <a:pt x="918" y="384"/>
                  </a:lnTo>
                  <a:lnTo>
                    <a:pt x="924" y="384"/>
                  </a:lnTo>
                  <a:lnTo>
                    <a:pt x="924" y="378"/>
                  </a:lnTo>
                  <a:lnTo>
                    <a:pt x="918" y="372"/>
                  </a:lnTo>
                  <a:lnTo>
                    <a:pt x="918" y="366"/>
                  </a:lnTo>
                  <a:lnTo>
                    <a:pt x="918" y="360"/>
                  </a:lnTo>
                  <a:lnTo>
                    <a:pt x="924" y="360"/>
                  </a:lnTo>
                  <a:lnTo>
                    <a:pt x="924" y="354"/>
                  </a:lnTo>
                  <a:lnTo>
                    <a:pt x="930" y="354"/>
                  </a:lnTo>
                  <a:lnTo>
                    <a:pt x="936" y="354"/>
                  </a:lnTo>
                  <a:lnTo>
                    <a:pt x="936" y="348"/>
                  </a:lnTo>
                  <a:lnTo>
                    <a:pt x="942" y="348"/>
                  </a:lnTo>
                  <a:lnTo>
                    <a:pt x="942" y="336"/>
                  </a:lnTo>
                  <a:lnTo>
                    <a:pt x="936" y="336"/>
                  </a:lnTo>
                  <a:lnTo>
                    <a:pt x="930" y="330"/>
                  </a:lnTo>
                  <a:lnTo>
                    <a:pt x="924" y="330"/>
                  </a:lnTo>
                  <a:lnTo>
                    <a:pt x="924" y="324"/>
                  </a:lnTo>
                  <a:lnTo>
                    <a:pt x="918" y="318"/>
                  </a:lnTo>
                  <a:lnTo>
                    <a:pt x="912" y="306"/>
                  </a:lnTo>
                  <a:lnTo>
                    <a:pt x="918" y="306"/>
                  </a:lnTo>
                  <a:lnTo>
                    <a:pt x="924" y="300"/>
                  </a:lnTo>
                  <a:lnTo>
                    <a:pt x="924" y="294"/>
                  </a:lnTo>
                  <a:lnTo>
                    <a:pt x="924" y="288"/>
                  </a:lnTo>
                  <a:lnTo>
                    <a:pt x="924" y="282"/>
                  </a:lnTo>
                  <a:lnTo>
                    <a:pt x="924" y="276"/>
                  </a:lnTo>
                  <a:lnTo>
                    <a:pt x="918" y="270"/>
                  </a:lnTo>
                  <a:lnTo>
                    <a:pt x="918" y="264"/>
                  </a:lnTo>
                  <a:lnTo>
                    <a:pt x="912" y="270"/>
                  </a:lnTo>
                  <a:lnTo>
                    <a:pt x="912" y="264"/>
                  </a:lnTo>
                  <a:lnTo>
                    <a:pt x="912" y="258"/>
                  </a:lnTo>
                  <a:lnTo>
                    <a:pt x="912" y="252"/>
                  </a:lnTo>
                  <a:lnTo>
                    <a:pt x="906" y="252"/>
                  </a:lnTo>
                  <a:lnTo>
                    <a:pt x="900" y="246"/>
                  </a:lnTo>
                  <a:lnTo>
                    <a:pt x="900" y="240"/>
                  </a:lnTo>
                  <a:lnTo>
                    <a:pt x="900" y="246"/>
                  </a:lnTo>
                  <a:lnTo>
                    <a:pt x="894" y="246"/>
                  </a:lnTo>
                  <a:lnTo>
                    <a:pt x="894" y="240"/>
                  </a:lnTo>
                  <a:lnTo>
                    <a:pt x="894" y="234"/>
                  </a:lnTo>
                  <a:lnTo>
                    <a:pt x="900" y="234"/>
                  </a:lnTo>
                  <a:lnTo>
                    <a:pt x="900" y="228"/>
                  </a:lnTo>
                  <a:lnTo>
                    <a:pt x="906" y="228"/>
                  </a:lnTo>
                  <a:lnTo>
                    <a:pt x="900" y="222"/>
                  </a:lnTo>
                  <a:lnTo>
                    <a:pt x="894" y="216"/>
                  </a:lnTo>
                  <a:lnTo>
                    <a:pt x="894" y="210"/>
                  </a:lnTo>
                  <a:lnTo>
                    <a:pt x="888" y="210"/>
                  </a:lnTo>
                  <a:lnTo>
                    <a:pt x="888" y="204"/>
                  </a:lnTo>
                  <a:lnTo>
                    <a:pt x="888" y="198"/>
                  </a:lnTo>
                  <a:lnTo>
                    <a:pt x="888" y="192"/>
                  </a:lnTo>
                  <a:lnTo>
                    <a:pt x="882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82" y="174"/>
                  </a:lnTo>
                  <a:lnTo>
                    <a:pt x="888" y="168"/>
                  </a:lnTo>
                  <a:lnTo>
                    <a:pt x="888" y="162"/>
                  </a:lnTo>
                  <a:lnTo>
                    <a:pt x="888" y="156"/>
                  </a:lnTo>
                  <a:lnTo>
                    <a:pt x="888" y="150"/>
                  </a:lnTo>
                  <a:lnTo>
                    <a:pt x="888" y="144"/>
                  </a:lnTo>
                  <a:lnTo>
                    <a:pt x="882" y="144"/>
                  </a:lnTo>
                  <a:lnTo>
                    <a:pt x="882" y="138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76" y="120"/>
                  </a:lnTo>
                  <a:lnTo>
                    <a:pt x="882" y="114"/>
                  </a:lnTo>
                  <a:lnTo>
                    <a:pt x="882" y="108"/>
                  </a:lnTo>
                  <a:lnTo>
                    <a:pt x="888" y="102"/>
                  </a:lnTo>
                  <a:lnTo>
                    <a:pt x="894" y="102"/>
                  </a:lnTo>
                  <a:lnTo>
                    <a:pt x="894" y="96"/>
                  </a:lnTo>
                  <a:lnTo>
                    <a:pt x="888" y="96"/>
                  </a:lnTo>
                  <a:lnTo>
                    <a:pt x="894" y="90"/>
                  </a:lnTo>
                  <a:lnTo>
                    <a:pt x="888" y="84"/>
                  </a:lnTo>
                  <a:lnTo>
                    <a:pt x="888" y="78"/>
                  </a:lnTo>
                  <a:lnTo>
                    <a:pt x="924" y="66"/>
                  </a:lnTo>
                  <a:lnTo>
                    <a:pt x="966" y="66"/>
                  </a:lnTo>
                  <a:lnTo>
                    <a:pt x="996" y="48"/>
                  </a:lnTo>
                  <a:lnTo>
                    <a:pt x="1056" y="12"/>
                  </a:lnTo>
                  <a:lnTo>
                    <a:pt x="1128" y="0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0" y="18"/>
                  </a:lnTo>
                  <a:lnTo>
                    <a:pt x="1176" y="24"/>
                  </a:lnTo>
                  <a:lnTo>
                    <a:pt x="1182" y="24"/>
                  </a:lnTo>
                  <a:lnTo>
                    <a:pt x="1188" y="30"/>
                  </a:lnTo>
                  <a:lnTo>
                    <a:pt x="1194" y="30"/>
                  </a:lnTo>
                  <a:lnTo>
                    <a:pt x="1194" y="36"/>
                  </a:lnTo>
                  <a:lnTo>
                    <a:pt x="1260" y="30"/>
                  </a:lnTo>
                  <a:lnTo>
                    <a:pt x="1272" y="30"/>
                  </a:lnTo>
                  <a:lnTo>
                    <a:pt x="1296" y="24"/>
                  </a:lnTo>
                  <a:lnTo>
                    <a:pt x="1302" y="30"/>
                  </a:lnTo>
                  <a:lnTo>
                    <a:pt x="1302" y="36"/>
                  </a:lnTo>
                  <a:lnTo>
                    <a:pt x="1308" y="36"/>
                  </a:lnTo>
                  <a:lnTo>
                    <a:pt x="1314" y="36"/>
                  </a:lnTo>
                  <a:lnTo>
                    <a:pt x="1320" y="36"/>
                  </a:lnTo>
                  <a:lnTo>
                    <a:pt x="1326" y="30"/>
                  </a:lnTo>
                  <a:lnTo>
                    <a:pt x="1332" y="30"/>
                  </a:lnTo>
                  <a:lnTo>
                    <a:pt x="1338" y="30"/>
                  </a:lnTo>
                  <a:lnTo>
                    <a:pt x="1344" y="30"/>
                  </a:lnTo>
                  <a:lnTo>
                    <a:pt x="1374" y="30"/>
                  </a:lnTo>
                  <a:lnTo>
                    <a:pt x="1386" y="30"/>
                  </a:lnTo>
                  <a:lnTo>
                    <a:pt x="1392" y="24"/>
                  </a:lnTo>
                  <a:lnTo>
                    <a:pt x="1398" y="12"/>
                  </a:lnTo>
                  <a:lnTo>
                    <a:pt x="1404" y="6"/>
                  </a:lnTo>
                  <a:lnTo>
                    <a:pt x="1410" y="6"/>
                  </a:lnTo>
                  <a:lnTo>
                    <a:pt x="1410" y="12"/>
                  </a:lnTo>
                  <a:lnTo>
                    <a:pt x="1416" y="18"/>
                  </a:lnTo>
                  <a:lnTo>
                    <a:pt x="1416" y="36"/>
                  </a:lnTo>
                  <a:lnTo>
                    <a:pt x="1434" y="54"/>
                  </a:lnTo>
                  <a:lnTo>
                    <a:pt x="1434" y="60"/>
                  </a:lnTo>
                  <a:lnTo>
                    <a:pt x="1434" y="66"/>
                  </a:lnTo>
                  <a:lnTo>
                    <a:pt x="1434" y="72"/>
                  </a:lnTo>
                  <a:lnTo>
                    <a:pt x="1428" y="72"/>
                  </a:lnTo>
                  <a:lnTo>
                    <a:pt x="1428" y="78"/>
                  </a:lnTo>
                  <a:lnTo>
                    <a:pt x="1434" y="78"/>
                  </a:lnTo>
                  <a:lnTo>
                    <a:pt x="1440" y="84"/>
                  </a:lnTo>
                  <a:lnTo>
                    <a:pt x="1440" y="90"/>
                  </a:lnTo>
                  <a:lnTo>
                    <a:pt x="1440" y="96"/>
                  </a:lnTo>
                  <a:lnTo>
                    <a:pt x="1446" y="96"/>
                  </a:lnTo>
                  <a:lnTo>
                    <a:pt x="1446" y="108"/>
                  </a:lnTo>
                  <a:lnTo>
                    <a:pt x="1452" y="108"/>
                  </a:lnTo>
                  <a:lnTo>
                    <a:pt x="1452" y="114"/>
                  </a:lnTo>
                  <a:lnTo>
                    <a:pt x="1458" y="114"/>
                  </a:lnTo>
                  <a:lnTo>
                    <a:pt x="1470" y="120"/>
                  </a:lnTo>
                  <a:lnTo>
                    <a:pt x="1476" y="120"/>
                  </a:lnTo>
                  <a:lnTo>
                    <a:pt x="1476" y="114"/>
                  </a:lnTo>
                  <a:lnTo>
                    <a:pt x="1488" y="120"/>
                  </a:lnTo>
                  <a:lnTo>
                    <a:pt x="1506" y="120"/>
                  </a:lnTo>
                  <a:lnTo>
                    <a:pt x="1512" y="120"/>
                  </a:lnTo>
                  <a:lnTo>
                    <a:pt x="1518" y="120"/>
                  </a:lnTo>
                  <a:lnTo>
                    <a:pt x="1524" y="126"/>
                  </a:lnTo>
                  <a:lnTo>
                    <a:pt x="1536" y="150"/>
                  </a:lnTo>
                  <a:lnTo>
                    <a:pt x="1548" y="162"/>
                  </a:lnTo>
                  <a:lnTo>
                    <a:pt x="1554" y="168"/>
                  </a:lnTo>
                  <a:lnTo>
                    <a:pt x="1584" y="228"/>
                  </a:lnTo>
                  <a:lnTo>
                    <a:pt x="1584" y="234"/>
                  </a:lnTo>
                  <a:lnTo>
                    <a:pt x="1578" y="312"/>
                  </a:lnTo>
                  <a:lnTo>
                    <a:pt x="1590" y="318"/>
                  </a:lnTo>
                  <a:lnTo>
                    <a:pt x="1608" y="330"/>
                  </a:lnTo>
                  <a:lnTo>
                    <a:pt x="1620" y="342"/>
                  </a:lnTo>
                  <a:lnTo>
                    <a:pt x="1626" y="342"/>
                  </a:lnTo>
                  <a:lnTo>
                    <a:pt x="1692" y="360"/>
                  </a:lnTo>
                  <a:lnTo>
                    <a:pt x="1710" y="408"/>
                  </a:lnTo>
                  <a:lnTo>
                    <a:pt x="1722" y="426"/>
                  </a:lnTo>
                  <a:lnTo>
                    <a:pt x="1716" y="468"/>
                  </a:lnTo>
                  <a:lnTo>
                    <a:pt x="1686" y="486"/>
                  </a:lnTo>
                  <a:lnTo>
                    <a:pt x="1686" y="492"/>
                  </a:lnTo>
                  <a:lnTo>
                    <a:pt x="1680" y="498"/>
                  </a:lnTo>
                  <a:lnTo>
                    <a:pt x="1650" y="558"/>
                  </a:lnTo>
                  <a:lnTo>
                    <a:pt x="1650" y="570"/>
                  </a:lnTo>
                  <a:lnTo>
                    <a:pt x="1644" y="570"/>
                  </a:lnTo>
                  <a:lnTo>
                    <a:pt x="1638" y="582"/>
                  </a:lnTo>
                  <a:lnTo>
                    <a:pt x="1638" y="624"/>
                  </a:lnTo>
                  <a:lnTo>
                    <a:pt x="1638" y="636"/>
                  </a:lnTo>
                  <a:lnTo>
                    <a:pt x="1638" y="642"/>
                  </a:lnTo>
                  <a:lnTo>
                    <a:pt x="1632" y="660"/>
                  </a:lnTo>
                  <a:lnTo>
                    <a:pt x="1608" y="678"/>
                  </a:lnTo>
                  <a:lnTo>
                    <a:pt x="1584" y="690"/>
                  </a:lnTo>
                  <a:lnTo>
                    <a:pt x="1584" y="696"/>
                  </a:lnTo>
                  <a:lnTo>
                    <a:pt x="1578" y="702"/>
                  </a:lnTo>
                  <a:lnTo>
                    <a:pt x="1584" y="702"/>
                  </a:lnTo>
                  <a:lnTo>
                    <a:pt x="1578" y="714"/>
                  </a:lnTo>
                  <a:lnTo>
                    <a:pt x="1572" y="714"/>
                  </a:lnTo>
                  <a:lnTo>
                    <a:pt x="1572" y="720"/>
                  </a:lnTo>
                  <a:lnTo>
                    <a:pt x="1566" y="720"/>
                  </a:lnTo>
                  <a:lnTo>
                    <a:pt x="1560" y="726"/>
                  </a:lnTo>
                  <a:lnTo>
                    <a:pt x="1560" y="732"/>
                  </a:lnTo>
                  <a:lnTo>
                    <a:pt x="1554" y="732"/>
                  </a:lnTo>
                  <a:lnTo>
                    <a:pt x="1554" y="738"/>
                  </a:lnTo>
                  <a:lnTo>
                    <a:pt x="1554" y="744"/>
                  </a:lnTo>
                  <a:lnTo>
                    <a:pt x="1548" y="744"/>
                  </a:lnTo>
                  <a:lnTo>
                    <a:pt x="1548" y="738"/>
                  </a:lnTo>
                  <a:lnTo>
                    <a:pt x="1542" y="738"/>
                  </a:lnTo>
                  <a:lnTo>
                    <a:pt x="1542" y="744"/>
                  </a:lnTo>
                  <a:lnTo>
                    <a:pt x="1542" y="750"/>
                  </a:lnTo>
                  <a:lnTo>
                    <a:pt x="1494" y="804"/>
                  </a:lnTo>
                  <a:lnTo>
                    <a:pt x="1446" y="876"/>
                  </a:lnTo>
                  <a:lnTo>
                    <a:pt x="1440" y="876"/>
                  </a:lnTo>
                  <a:lnTo>
                    <a:pt x="1434" y="876"/>
                  </a:lnTo>
                  <a:lnTo>
                    <a:pt x="1428" y="882"/>
                  </a:lnTo>
                  <a:lnTo>
                    <a:pt x="1422" y="882"/>
                  </a:lnTo>
                  <a:lnTo>
                    <a:pt x="1386" y="924"/>
                  </a:lnTo>
                  <a:lnTo>
                    <a:pt x="1362" y="954"/>
                  </a:lnTo>
                  <a:lnTo>
                    <a:pt x="1356" y="984"/>
                  </a:lnTo>
                  <a:lnTo>
                    <a:pt x="1362" y="1002"/>
                  </a:lnTo>
                  <a:lnTo>
                    <a:pt x="1368" y="1020"/>
                  </a:lnTo>
                  <a:lnTo>
                    <a:pt x="1386" y="1056"/>
                  </a:lnTo>
                  <a:lnTo>
                    <a:pt x="1404" y="1074"/>
                  </a:lnTo>
                  <a:lnTo>
                    <a:pt x="1416" y="1080"/>
                  </a:lnTo>
                  <a:lnTo>
                    <a:pt x="1416" y="1086"/>
                  </a:lnTo>
                  <a:lnTo>
                    <a:pt x="1422" y="1098"/>
                  </a:lnTo>
                  <a:lnTo>
                    <a:pt x="1422" y="1110"/>
                  </a:lnTo>
                  <a:lnTo>
                    <a:pt x="1428" y="1116"/>
                  </a:lnTo>
                  <a:lnTo>
                    <a:pt x="1434" y="1116"/>
                  </a:lnTo>
                  <a:lnTo>
                    <a:pt x="1434" y="1122"/>
                  </a:lnTo>
                  <a:lnTo>
                    <a:pt x="1434" y="1128"/>
                  </a:lnTo>
                  <a:lnTo>
                    <a:pt x="1440" y="1134"/>
                  </a:lnTo>
                  <a:lnTo>
                    <a:pt x="1446" y="1134"/>
                  </a:lnTo>
                  <a:lnTo>
                    <a:pt x="1458" y="1134"/>
                  </a:lnTo>
                  <a:lnTo>
                    <a:pt x="1458" y="1140"/>
                  </a:lnTo>
                  <a:lnTo>
                    <a:pt x="1464" y="1134"/>
                  </a:lnTo>
                  <a:lnTo>
                    <a:pt x="1470" y="1134"/>
                  </a:lnTo>
                  <a:lnTo>
                    <a:pt x="1464" y="1128"/>
                  </a:lnTo>
                  <a:lnTo>
                    <a:pt x="1464" y="1122"/>
                  </a:lnTo>
                  <a:lnTo>
                    <a:pt x="1470" y="1116"/>
                  </a:lnTo>
                  <a:lnTo>
                    <a:pt x="1470" y="1122"/>
                  </a:lnTo>
                  <a:lnTo>
                    <a:pt x="1476" y="1122"/>
                  </a:lnTo>
                  <a:lnTo>
                    <a:pt x="1476" y="1116"/>
                  </a:lnTo>
                  <a:lnTo>
                    <a:pt x="1482" y="1110"/>
                  </a:lnTo>
                  <a:lnTo>
                    <a:pt x="1476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82" y="1086"/>
                  </a:lnTo>
                  <a:lnTo>
                    <a:pt x="1482" y="1074"/>
                  </a:lnTo>
                  <a:lnTo>
                    <a:pt x="1488" y="1068"/>
                  </a:lnTo>
                  <a:lnTo>
                    <a:pt x="1488" y="1062"/>
                  </a:lnTo>
                  <a:lnTo>
                    <a:pt x="1494" y="1062"/>
                  </a:lnTo>
                  <a:lnTo>
                    <a:pt x="1500" y="1062"/>
                  </a:lnTo>
                  <a:lnTo>
                    <a:pt x="1506" y="1062"/>
                  </a:lnTo>
                  <a:lnTo>
                    <a:pt x="1506" y="1056"/>
                  </a:lnTo>
                  <a:lnTo>
                    <a:pt x="1506" y="1062"/>
                  </a:lnTo>
                  <a:lnTo>
                    <a:pt x="1518" y="1062"/>
                  </a:lnTo>
                  <a:lnTo>
                    <a:pt x="1524" y="1062"/>
                  </a:lnTo>
                  <a:lnTo>
                    <a:pt x="1530" y="1062"/>
                  </a:lnTo>
                  <a:lnTo>
                    <a:pt x="1536" y="1068"/>
                  </a:lnTo>
                  <a:lnTo>
                    <a:pt x="1536" y="1074"/>
                  </a:lnTo>
                  <a:lnTo>
                    <a:pt x="1542" y="1086"/>
                  </a:lnTo>
                  <a:lnTo>
                    <a:pt x="1548" y="1086"/>
                  </a:lnTo>
                  <a:lnTo>
                    <a:pt x="1554" y="1086"/>
                  </a:lnTo>
                  <a:lnTo>
                    <a:pt x="1566" y="1098"/>
                  </a:lnTo>
                  <a:lnTo>
                    <a:pt x="1572" y="1104"/>
                  </a:lnTo>
                  <a:lnTo>
                    <a:pt x="1566" y="1110"/>
                  </a:lnTo>
                  <a:lnTo>
                    <a:pt x="1572" y="1116"/>
                  </a:lnTo>
                  <a:lnTo>
                    <a:pt x="1578" y="1116"/>
                  </a:lnTo>
                  <a:lnTo>
                    <a:pt x="1578" y="1122"/>
                  </a:lnTo>
                  <a:lnTo>
                    <a:pt x="1584" y="1122"/>
                  </a:lnTo>
                  <a:lnTo>
                    <a:pt x="1584" y="1128"/>
                  </a:lnTo>
                  <a:lnTo>
                    <a:pt x="1584" y="1134"/>
                  </a:lnTo>
                  <a:lnTo>
                    <a:pt x="1590" y="1134"/>
                  </a:lnTo>
                  <a:lnTo>
                    <a:pt x="1596" y="1140"/>
                  </a:lnTo>
                  <a:lnTo>
                    <a:pt x="1602" y="1146"/>
                  </a:lnTo>
                  <a:lnTo>
                    <a:pt x="1608" y="1146"/>
                  </a:lnTo>
                  <a:lnTo>
                    <a:pt x="1614" y="1146"/>
                  </a:lnTo>
                  <a:lnTo>
                    <a:pt x="1614" y="1152"/>
                  </a:lnTo>
                  <a:lnTo>
                    <a:pt x="1620" y="1152"/>
                  </a:lnTo>
                  <a:lnTo>
                    <a:pt x="1626" y="1164"/>
                  </a:lnTo>
                  <a:lnTo>
                    <a:pt x="1632" y="1170"/>
                  </a:lnTo>
                  <a:lnTo>
                    <a:pt x="1638" y="1176"/>
                  </a:lnTo>
                  <a:lnTo>
                    <a:pt x="1638" y="1182"/>
                  </a:lnTo>
                  <a:lnTo>
                    <a:pt x="1644" y="1194"/>
                  </a:lnTo>
                  <a:lnTo>
                    <a:pt x="1644" y="1200"/>
                  </a:lnTo>
                  <a:lnTo>
                    <a:pt x="1638" y="1200"/>
                  </a:lnTo>
                  <a:lnTo>
                    <a:pt x="1638" y="1206"/>
                  </a:lnTo>
                  <a:lnTo>
                    <a:pt x="1638" y="1212"/>
                  </a:lnTo>
                  <a:lnTo>
                    <a:pt x="1638" y="1218"/>
                  </a:lnTo>
                  <a:lnTo>
                    <a:pt x="1632" y="1242"/>
                  </a:lnTo>
                  <a:lnTo>
                    <a:pt x="1632" y="1266"/>
                  </a:lnTo>
                  <a:lnTo>
                    <a:pt x="1638" y="1284"/>
                  </a:lnTo>
                  <a:lnTo>
                    <a:pt x="1638" y="1296"/>
                  </a:lnTo>
                  <a:lnTo>
                    <a:pt x="1632" y="1296"/>
                  </a:lnTo>
                  <a:lnTo>
                    <a:pt x="1632" y="1302"/>
                  </a:lnTo>
                  <a:lnTo>
                    <a:pt x="1638" y="1314"/>
                  </a:lnTo>
                  <a:lnTo>
                    <a:pt x="1638" y="1320"/>
                  </a:lnTo>
                  <a:lnTo>
                    <a:pt x="1632" y="1320"/>
                  </a:lnTo>
                  <a:lnTo>
                    <a:pt x="1632" y="1326"/>
                  </a:lnTo>
                  <a:lnTo>
                    <a:pt x="1644" y="1332"/>
                  </a:lnTo>
                  <a:lnTo>
                    <a:pt x="1644" y="1338"/>
                  </a:lnTo>
                  <a:lnTo>
                    <a:pt x="1650" y="1344"/>
                  </a:lnTo>
                  <a:lnTo>
                    <a:pt x="1668" y="1362"/>
                  </a:lnTo>
                  <a:lnTo>
                    <a:pt x="1668" y="1368"/>
                  </a:lnTo>
                  <a:lnTo>
                    <a:pt x="1674" y="1392"/>
                  </a:lnTo>
                  <a:lnTo>
                    <a:pt x="1686" y="1404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2" name="Freeform 17">
              <a:extLst>
                <a:ext uri="{FF2B5EF4-FFF2-40B4-BE49-F238E27FC236}">
                  <a16:creationId xmlns:a16="http://schemas.microsoft.com/office/drawing/2014/main" id="{9F9DF7AF-2203-4CCB-AF1B-32CDAF87CC5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416927"/>
              <a:ext cx="816209" cy="574781"/>
            </a:xfrm>
            <a:custGeom>
              <a:avLst/>
              <a:gdLst>
                <a:gd name="T0" fmla="*/ 115 w 1536"/>
                <a:gd name="T1" fmla="*/ 89 h 1080"/>
                <a:gd name="T2" fmla="*/ 113 w 1536"/>
                <a:gd name="T3" fmla="*/ 92 h 1080"/>
                <a:gd name="T4" fmla="*/ 107 w 1536"/>
                <a:gd name="T5" fmla="*/ 93 h 1080"/>
                <a:gd name="T6" fmla="*/ 108 w 1536"/>
                <a:gd name="T7" fmla="*/ 90 h 1080"/>
                <a:gd name="T8" fmla="*/ 105 w 1536"/>
                <a:gd name="T9" fmla="*/ 87 h 1080"/>
                <a:gd name="T10" fmla="*/ 102 w 1536"/>
                <a:gd name="T11" fmla="*/ 85 h 1080"/>
                <a:gd name="T12" fmla="*/ 89 w 1536"/>
                <a:gd name="T13" fmla="*/ 80 h 1080"/>
                <a:gd name="T14" fmla="*/ 85 w 1536"/>
                <a:gd name="T15" fmla="*/ 82 h 1080"/>
                <a:gd name="T16" fmla="*/ 82 w 1536"/>
                <a:gd name="T17" fmla="*/ 80 h 1080"/>
                <a:gd name="T18" fmla="*/ 80 w 1536"/>
                <a:gd name="T19" fmla="*/ 75 h 1080"/>
                <a:gd name="T20" fmla="*/ 75 w 1536"/>
                <a:gd name="T21" fmla="*/ 72 h 1080"/>
                <a:gd name="T22" fmla="*/ 61 w 1536"/>
                <a:gd name="T23" fmla="*/ 70 h 1080"/>
                <a:gd name="T24" fmla="*/ 62 w 1536"/>
                <a:gd name="T25" fmla="*/ 72 h 1080"/>
                <a:gd name="T26" fmla="*/ 58 w 1536"/>
                <a:gd name="T27" fmla="*/ 75 h 1080"/>
                <a:gd name="T28" fmla="*/ 49 w 1536"/>
                <a:gd name="T29" fmla="*/ 76 h 1080"/>
                <a:gd name="T30" fmla="*/ 41 w 1536"/>
                <a:gd name="T31" fmla="*/ 79 h 1080"/>
                <a:gd name="T32" fmla="*/ 41 w 1536"/>
                <a:gd name="T33" fmla="*/ 77 h 1080"/>
                <a:gd name="T34" fmla="*/ 39 w 1536"/>
                <a:gd name="T35" fmla="*/ 74 h 1080"/>
                <a:gd name="T36" fmla="*/ 28 w 1536"/>
                <a:gd name="T37" fmla="*/ 78 h 1080"/>
                <a:gd name="T38" fmla="*/ 18 w 1536"/>
                <a:gd name="T39" fmla="*/ 85 h 1080"/>
                <a:gd name="T40" fmla="*/ 18 w 1536"/>
                <a:gd name="T41" fmla="*/ 77 h 1080"/>
                <a:gd name="T42" fmla="*/ 19 w 1536"/>
                <a:gd name="T43" fmla="*/ 69 h 1080"/>
                <a:gd name="T44" fmla="*/ 16 w 1536"/>
                <a:gd name="T45" fmla="*/ 69 h 1080"/>
                <a:gd name="T46" fmla="*/ 11 w 1536"/>
                <a:gd name="T47" fmla="*/ 69 h 1080"/>
                <a:gd name="T48" fmla="*/ 5 w 1536"/>
                <a:gd name="T49" fmla="*/ 68 h 1080"/>
                <a:gd name="T50" fmla="*/ 1 w 1536"/>
                <a:gd name="T51" fmla="*/ 63 h 1080"/>
                <a:gd name="T52" fmla="*/ 3 w 1536"/>
                <a:gd name="T53" fmla="*/ 59 h 1080"/>
                <a:gd name="T54" fmla="*/ 9 w 1536"/>
                <a:gd name="T55" fmla="*/ 54 h 1080"/>
                <a:gd name="T56" fmla="*/ 15 w 1536"/>
                <a:gd name="T57" fmla="*/ 47 h 1080"/>
                <a:gd name="T58" fmla="*/ 17 w 1536"/>
                <a:gd name="T59" fmla="*/ 40 h 1080"/>
                <a:gd name="T60" fmla="*/ 12 w 1536"/>
                <a:gd name="T61" fmla="*/ 33 h 1080"/>
                <a:gd name="T62" fmla="*/ 10 w 1536"/>
                <a:gd name="T63" fmla="*/ 21 h 1080"/>
                <a:gd name="T64" fmla="*/ 6 w 1536"/>
                <a:gd name="T65" fmla="*/ 14 h 1080"/>
                <a:gd name="T66" fmla="*/ 7 w 1536"/>
                <a:gd name="T67" fmla="*/ 9 h 1080"/>
                <a:gd name="T68" fmla="*/ 12 w 1536"/>
                <a:gd name="T69" fmla="*/ 7 h 1080"/>
                <a:gd name="T70" fmla="*/ 16 w 1536"/>
                <a:gd name="T71" fmla="*/ 8 h 1080"/>
                <a:gd name="T72" fmla="*/ 19 w 1536"/>
                <a:gd name="T73" fmla="*/ 8 h 1080"/>
                <a:gd name="T74" fmla="*/ 22 w 1536"/>
                <a:gd name="T75" fmla="*/ 9 h 1080"/>
                <a:gd name="T76" fmla="*/ 29 w 1536"/>
                <a:gd name="T77" fmla="*/ 12 h 1080"/>
                <a:gd name="T78" fmla="*/ 33 w 1536"/>
                <a:gd name="T79" fmla="*/ 13 h 1080"/>
                <a:gd name="T80" fmla="*/ 38 w 1536"/>
                <a:gd name="T81" fmla="*/ 15 h 1080"/>
                <a:gd name="T82" fmla="*/ 42 w 1536"/>
                <a:gd name="T83" fmla="*/ 17 h 1080"/>
                <a:gd name="T84" fmla="*/ 47 w 1536"/>
                <a:gd name="T85" fmla="*/ 19 h 1080"/>
                <a:gd name="T86" fmla="*/ 51 w 1536"/>
                <a:gd name="T87" fmla="*/ 21 h 1080"/>
                <a:gd name="T88" fmla="*/ 50 w 1536"/>
                <a:gd name="T89" fmla="*/ 15 h 1080"/>
                <a:gd name="T90" fmla="*/ 56 w 1536"/>
                <a:gd name="T91" fmla="*/ 0 h 1080"/>
                <a:gd name="T92" fmla="*/ 74 w 1536"/>
                <a:gd name="T93" fmla="*/ 5 h 1080"/>
                <a:gd name="T94" fmla="*/ 87 w 1536"/>
                <a:gd name="T95" fmla="*/ 6 h 1080"/>
                <a:gd name="T96" fmla="*/ 92 w 1536"/>
                <a:gd name="T97" fmla="*/ 11 h 1080"/>
                <a:gd name="T98" fmla="*/ 95 w 1536"/>
                <a:gd name="T99" fmla="*/ 15 h 1080"/>
                <a:gd name="T100" fmla="*/ 93 w 1536"/>
                <a:gd name="T101" fmla="*/ 20 h 1080"/>
                <a:gd name="T102" fmla="*/ 108 w 1536"/>
                <a:gd name="T103" fmla="*/ 18 h 1080"/>
                <a:gd name="T104" fmla="*/ 120 w 1536"/>
                <a:gd name="T105" fmla="*/ 21 h 1080"/>
                <a:gd name="T106" fmla="*/ 127 w 1536"/>
                <a:gd name="T107" fmla="*/ 29 h 1080"/>
                <a:gd name="T108" fmla="*/ 130 w 1536"/>
                <a:gd name="T109" fmla="*/ 30 h 1080"/>
                <a:gd name="T110" fmla="*/ 130 w 1536"/>
                <a:gd name="T111" fmla="*/ 49 h 1080"/>
                <a:gd name="T112" fmla="*/ 120 w 1536"/>
                <a:gd name="T113" fmla="*/ 69 h 1080"/>
                <a:gd name="T114" fmla="*/ 119 w 1536"/>
                <a:gd name="T115" fmla="*/ 74 h 1080"/>
                <a:gd name="T116" fmla="*/ 118 w 1536"/>
                <a:gd name="T117" fmla="*/ 80 h 108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536"/>
                <a:gd name="T178" fmla="*/ 0 h 1080"/>
                <a:gd name="T179" fmla="*/ 1536 w 1536"/>
                <a:gd name="T180" fmla="*/ 1080 h 108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536" h="1080">
                  <a:moveTo>
                    <a:pt x="1350" y="1020"/>
                  </a:moveTo>
                  <a:lnTo>
                    <a:pt x="1350" y="1026"/>
                  </a:lnTo>
                  <a:lnTo>
                    <a:pt x="1344" y="1026"/>
                  </a:lnTo>
                  <a:lnTo>
                    <a:pt x="1338" y="1032"/>
                  </a:lnTo>
                  <a:lnTo>
                    <a:pt x="1332" y="1026"/>
                  </a:lnTo>
                  <a:lnTo>
                    <a:pt x="1326" y="1026"/>
                  </a:lnTo>
                  <a:lnTo>
                    <a:pt x="1320" y="1020"/>
                  </a:lnTo>
                  <a:lnTo>
                    <a:pt x="1314" y="1026"/>
                  </a:lnTo>
                  <a:lnTo>
                    <a:pt x="1314" y="1032"/>
                  </a:lnTo>
                  <a:lnTo>
                    <a:pt x="1308" y="1038"/>
                  </a:lnTo>
                  <a:lnTo>
                    <a:pt x="1308" y="1044"/>
                  </a:lnTo>
                  <a:lnTo>
                    <a:pt x="1308" y="1050"/>
                  </a:lnTo>
                  <a:lnTo>
                    <a:pt x="1308" y="1056"/>
                  </a:lnTo>
                  <a:lnTo>
                    <a:pt x="1308" y="1062"/>
                  </a:lnTo>
                  <a:lnTo>
                    <a:pt x="1296" y="1068"/>
                  </a:lnTo>
                  <a:lnTo>
                    <a:pt x="1284" y="1074"/>
                  </a:lnTo>
                  <a:lnTo>
                    <a:pt x="1272" y="1080"/>
                  </a:lnTo>
                  <a:lnTo>
                    <a:pt x="1260" y="1080"/>
                  </a:lnTo>
                  <a:lnTo>
                    <a:pt x="1254" y="1074"/>
                  </a:lnTo>
                  <a:lnTo>
                    <a:pt x="1236" y="1074"/>
                  </a:lnTo>
                  <a:lnTo>
                    <a:pt x="1230" y="1074"/>
                  </a:lnTo>
                  <a:lnTo>
                    <a:pt x="1236" y="1074"/>
                  </a:lnTo>
                  <a:lnTo>
                    <a:pt x="1236" y="1068"/>
                  </a:lnTo>
                  <a:lnTo>
                    <a:pt x="1236" y="1062"/>
                  </a:lnTo>
                  <a:lnTo>
                    <a:pt x="1236" y="1056"/>
                  </a:lnTo>
                  <a:lnTo>
                    <a:pt x="1242" y="1050"/>
                  </a:lnTo>
                  <a:lnTo>
                    <a:pt x="1242" y="1044"/>
                  </a:lnTo>
                  <a:lnTo>
                    <a:pt x="1242" y="1038"/>
                  </a:lnTo>
                  <a:lnTo>
                    <a:pt x="1248" y="1032"/>
                  </a:lnTo>
                  <a:lnTo>
                    <a:pt x="1236" y="1026"/>
                  </a:lnTo>
                  <a:lnTo>
                    <a:pt x="1218" y="1020"/>
                  </a:lnTo>
                  <a:lnTo>
                    <a:pt x="1224" y="1014"/>
                  </a:lnTo>
                  <a:lnTo>
                    <a:pt x="1218" y="1008"/>
                  </a:lnTo>
                  <a:lnTo>
                    <a:pt x="1218" y="1002"/>
                  </a:lnTo>
                  <a:lnTo>
                    <a:pt x="1212" y="1008"/>
                  </a:lnTo>
                  <a:lnTo>
                    <a:pt x="1206" y="1002"/>
                  </a:lnTo>
                  <a:lnTo>
                    <a:pt x="1212" y="1002"/>
                  </a:lnTo>
                  <a:lnTo>
                    <a:pt x="1212" y="996"/>
                  </a:lnTo>
                  <a:lnTo>
                    <a:pt x="1200" y="990"/>
                  </a:lnTo>
                  <a:lnTo>
                    <a:pt x="1200" y="984"/>
                  </a:lnTo>
                  <a:lnTo>
                    <a:pt x="1188" y="984"/>
                  </a:lnTo>
                  <a:lnTo>
                    <a:pt x="1176" y="978"/>
                  </a:lnTo>
                  <a:lnTo>
                    <a:pt x="1164" y="960"/>
                  </a:lnTo>
                  <a:lnTo>
                    <a:pt x="1152" y="936"/>
                  </a:lnTo>
                  <a:lnTo>
                    <a:pt x="1146" y="936"/>
                  </a:lnTo>
                  <a:lnTo>
                    <a:pt x="1128" y="900"/>
                  </a:lnTo>
                  <a:lnTo>
                    <a:pt x="1038" y="912"/>
                  </a:lnTo>
                  <a:lnTo>
                    <a:pt x="1038" y="918"/>
                  </a:lnTo>
                  <a:lnTo>
                    <a:pt x="1032" y="924"/>
                  </a:lnTo>
                  <a:lnTo>
                    <a:pt x="1026" y="918"/>
                  </a:lnTo>
                  <a:lnTo>
                    <a:pt x="1020" y="924"/>
                  </a:lnTo>
                  <a:lnTo>
                    <a:pt x="1008" y="936"/>
                  </a:lnTo>
                  <a:lnTo>
                    <a:pt x="990" y="936"/>
                  </a:lnTo>
                  <a:lnTo>
                    <a:pt x="990" y="942"/>
                  </a:lnTo>
                  <a:lnTo>
                    <a:pt x="996" y="942"/>
                  </a:lnTo>
                  <a:lnTo>
                    <a:pt x="984" y="948"/>
                  </a:lnTo>
                  <a:lnTo>
                    <a:pt x="972" y="948"/>
                  </a:lnTo>
                  <a:lnTo>
                    <a:pt x="960" y="948"/>
                  </a:lnTo>
                  <a:lnTo>
                    <a:pt x="948" y="942"/>
                  </a:lnTo>
                  <a:lnTo>
                    <a:pt x="948" y="936"/>
                  </a:lnTo>
                  <a:lnTo>
                    <a:pt x="942" y="936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30" y="924"/>
                  </a:lnTo>
                  <a:lnTo>
                    <a:pt x="936" y="918"/>
                  </a:lnTo>
                  <a:lnTo>
                    <a:pt x="918" y="918"/>
                  </a:lnTo>
                  <a:lnTo>
                    <a:pt x="918" y="900"/>
                  </a:lnTo>
                  <a:lnTo>
                    <a:pt x="924" y="900"/>
                  </a:lnTo>
                  <a:lnTo>
                    <a:pt x="924" y="894"/>
                  </a:lnTo>
                  <a:lnTo>
                    <a:pt x="924" y="870"/>
                  </a:lnTo>
                  <a:lnTo>
                    <a:pt x="924" y="864"/>
                  </a:lnTo>
                  <a:lnTo>
                    <a:pt x="918" y="858"/>
                  </a:lnTo>
                  <a:lnTo>
                    <a:pt x="918" y="852"/>
                  </a:lnTo>
                  <a:lnTo>
                    <a:pt x="906" y="840"/>
                  </a:lnTo>
                  <a:lnTo>
                    <a:pt x="894" y="834"/>
                  </a:lnTo>
                  <a:lnTo>
                    <a:pt x="876" y="822"/>
                  </a:lnTo>
                  <a:lnTo>
                    <a:pt x="870" y="828"/>
                  </a:lnTo>
                  <a:lnTo>
                    <a:pt x="858" y="816"/>
                  </a:lnTo>
                  <a:lnTo>
                    <a:pt x="810" y="798"/>
                  </a:lnTo>
                  <a:lnTo>
                    <a:pt x="774" y="792"/>
                  </a:lnTo>
                  <a:lnTo>
                    <a:pt x="732" y="798"/>
                  </a:lnTo>
                  <a:lnTo>
                    <a:pt x="726" y="804"/>
                  </a:lnTo>
                  <a:lnTo>
                    <a:pt x="714" y="810"/>
                  </a:lnTo>
                  <a:lnTo>
                    <a:pt x="702" y="810"/>
                  </a:lnTo>
                  <a:lnTo>
                    <a:pt x="690" y="810"/>
                  </a:lnTo>
                  <a:lnTo>
                    <a:pt x="696" y="816"/>
                  </a:lnTo>
                  <a:lnTo>
                    <a:pt x="696" y="822"/>
                  </a:lnTo>
                  <a:lnTo>
                    <a:pt x="702" y="822"/>
                  </a:lnTo>
                  <a:lnTo>
                    <a:pt x="708" y="822"/>
                  </a:lnTo>
                  <a:lnTo>
                    <a:pt x="708" y="828"/>
                  </a:lnTo>
                  <a:lnTo>
                    <a:pt x="708" y="834"/>
                  </a:lnTo>
                  <a:lnTo>
                    <a:pt x="714" y="834"/>
                  </a:lnTo>
                  <a:lnTo>
                    <a:pt x="708" y="846"/>
                  </a:lnTo>
                  <a:lnTo>
                    <a:pt x="708" y="852"/>
                  </a:lnTo>
                  <a:lnTo>
                    <a:pt x="702" y="852"/>
                  </a:lnTo>
                  <a:lnTo>
                    <a:pt x="696" y="858"/>
                  </a:lnTo>
                  <a:lnTo>
                    <a:pt x="690" y="864"/>
                  </a:lnTo>
                  <a:lnTo>
                    <a:pt x="666" y="870"/>
                  </a:lnTo>
                  <a:lnTo>
                    <a:pt x="660" y="876"/>
                  </a:lnTo>
                  <a:lnTo>
                    <a:pt x="642" y="876"/>
                  </a:lnTo>
                  <a:lnTo>
                    <a:pt x="606" y="882"/>
                  </a:lnTo>
                  <a:lnTo>
                    <a:pt x="588" y="882"/>
                  </a:lnTo>
                  <a:lnTo>
                    <a:pt x="582" y="876"/>
                  </a:lnTo>
                  <a:lnTo>
                    <a:pt x="576" y="876"/>
                  </a:lnTo>
                  <a:lnTo>
                    <a:pt x="564" y="876"/>
                  </a:lnTo>
                  <a:lnTo>
                    <a:pt x="552" y="882"/>
                  </a:lnTo>
                  <a:lnTo>
                    <a:pt x="540" y="894"/>
                  </a:lnTo>
                  <a:lnTo>
                    <a:pt x="534" y="906"/>
                  </a:lnTo>
                  <a:lnTo>
                    <a:pt x="528" y="912"/>
                  </a:lnTo>
                  <a:lnTo>
                    <a:pt x="516" y="924"/>
                  </a:lnTo>
                  <a:lnTo>
                    <a:pt x="486" y="930"/>
                  </a:lnTo>
                  <a:lnTo>
                    <a:pt x="474" y="912"/>
                  </a:lnTo>
                  <a:lnTo>
                    <a:pt x="474" y="906"/>
                  </a:lnTo>
                  <a:lnTo>
                    <a:pt x="468" y="906"/>
                  </a:lnTo>
                  <a:lnTo>
                    <a:pt x="468" y="900"/>
                  </a:lnTo>
                  <a:lnTo>
                    <a:pt x="462" y="894"/>
                  </a:lnTo>
                  <a:lnTo>
                    <a:pt x="456" y="894"/>
                  </a:lnTo>
                  <a:lnTo>
                    <a:pt x="462" y="888"/>
                  </a:lnTo>
                  <a:lnTo>
                    <a:pt x="468" y="888"/>
                  </a:lnTo>
                  <a:lnTo>
                    <a:pt x="462" y="882"/>
                  </a:lnTo>
                  <a:lnTo>
                    <a:pt x="462" y="876"/>
                  </a:lnTo>
                  <a:lnTo>
                    <a:pt x="456" y="870"/>
                  </a:lnTo>
                  <a:lnTo>
                    <a:pt x="456" y="864"/>
                  </a:lnTo>
                  <a:lnTo>
                    <a:pt x="450" y="858"/>
                  </a:lnTo>
                  <a:lnTo>
                    <a:pt x="444" y="858"/>
                  </a:lnTo>
                  <a:lnTo>
                    <a:pt x="444" y="852"/>
                  </a:lnTo>
                  <a:lnTo>
                    <a:pt x="438" y="852"/>
                  </a:lnTo>
                  <a:lnTo>
                    <a:pt x="438" y="858"/>
                  </a:lnTo>
                  <a:lnTo>
                    <a:pt x="402" y="870"/>
                  </a:lnTo>
                  <a:lnTo>
                    <a:pt x="390" y="882"/>
                  </a:lnTo>
                  <a:lnTo>
                    <a:pt x="384" y="900"/>
                  </a:lnTo>
                  <a:lnTo>
                    <a:pt x="342" y="900"/>
                  </a:lnTo>
                  <a:lnTo>
                    <a:pt x="324" y="900"/>
                  </a:lnTo>
                  <a:lnTo>
                    <a:pt x="294" y="906"/>
                  </a:lnTo>
                  <a:lnTo>
                    <a:pt x="282" y="948"/>
                  </a:lnTo>
                  <a:lnTo>
                    <a:pt x="282" y="978"/>
                  </a:lnTo>
                  <a:lnTo>
                    <a:pt x="270" y="1008"/>
                  </a:lnTo>
                  <a:lnTo>
                    <a:pt x="240" y="1014"/>
                  </a:lnTo>
                  <a:lnTo>
                    <a:pt x="216" y="996"/>
                  </a:lnTo>
                  <a:lnTo>
                    <a:pt x="204" y="984"/>
                  </a:lnTo>
                  <a:lnTo>
                    <a:pt x="192" y="966"/>
                  </a:lnTo>
                  <a:lnTo>
                    <a:pt x="186" y="948"/>
                  </a:lnTo>
                  <a:lnTo>
                    <a:pt x="174" y="948"/>
                  </a:lnTo>
                  <a:lnTo>
                    <a:pt x="174" y="936"/>
                  </a:lnTo>
                  <a:lnTo>
                    <a:pt x="186" y="924"/>
                  </a:lnTo>
                  <a:lnTo>
                    <a:pt x="198" y="906"/>
                  </a:lnTo>
                  <a:lnTo>
                    <a:pt x="204" y="888"/>
                  </a:lnTo>
                  <a:lnTo>
                    <a:pt x="222" y="870"/>
                  </a:lnTo>
                  <a:lnTo>
                    <a:pt x="234" y="858"/>
                  </a:lnTo>
                  <a:lnTo>
                    <a:pt x="234" y="852"/>
                  </a:lnTo>
                  <a:lnTo>
                    <a:pt x="222" y="852"/>
                  </a:lnTo>
                  <a:lnTo>
                    <a:pt x="228" y="810"/>
                  </a:lnTo>
                  <a:lnTo>
                    <a:pt x="222" y="798"/>
                  </a:lnTo>
                  <a:lnTo>
                    <a:pt x="216" y="798"/>
                  </a:lnTo>
                  <a:lnTo>
                    <a:pt x="216" y="792"/>
                  </a:lnTo>
                  <a:lnTo>
                    <a:pt x="210" y="792"/>
                  </a:lnTo>
                  <a:lnTo>
                    <a:pt x="204" y="798"/>
                  </a:lnTo>
                  <a:lnTo>
                    <a:pt x="204" y="792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0" y="786"/>
                  </a:lnTo>
                  <a:lnTo>
                    <a:pt x="174" y="792"/>
                  </a:lnTo>
                  <a:lnTo>
                    <a:pt x="162" y="792"/>
                  </a:lnTo>
                  <a:lnTo>
                    <a:pt x="156" y="792"/>
                  </a:lnTo>
                  <a:lnTo>
                    <a:pt x="156" y="798"/>
                  </a:lnTo>
                  <a:lnTo>
                    <a:pt x="138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6" y="804"/>
                  </a:lnTo>
                  <a:lnTo>
                    <a:pt x="102" y="810"/>
                  </a:lnTo>
                  <a:lnTo>
                    <a:pt x="90" y="810"/>
                  </a:lnTo>
                  <a:lnTo>
                    <a:pt x="72" y="798"/>
                  </a:lnTo>
                  <a:lnTo>
                    <a:pt x="66" y="780"/>
                  </a:lnTo>
                  <a:lnTo>
                    <a:pt x="60" y="780"/>
                  </a:lnTo>
                  <a:lnTo>
                    <a:pt x="60" y="768"/>
                  </a:lnTo>
                  <a:lnTo>
                    <a:pt x="54" y="768"/>
                  </a:lnTo>
                  <a:lnTo>
                    <a:pt x="24" y="756"/>
                  </a:lnTo>
                  <a:lnTo>
                    <a:pt x="18" y="744"/>
                  </a:lnTo>
                  <a:lnTo>
                    <a:pt x="12" y="738"/>
                  </a:lnTo>
                  <a:lnTo>
                    <a:pt x="18" y="732"/>
                  </a:lnTo>
                  <a:lnTo>
                    <a:pt x="12" y="726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8" y="696"/>
                  </a:lnTo>
                  <a:lnTo>
                    <a:pt x="24" y="708"/>
                  </a:lnTo>
                  <a:lnTo>
                    <a:pt x="36" y="702"/>
                  </a:lnTo>
                  <a:lnTo>
                    <a:pt x="36" y="678"/>
                  </a:lnTo>
                  <a:lnTo>
                    <a:pt x="36" y="660"/>
                  </a:lnTo>
                  <a:lnTo>
                    <a:pt x="42" y="654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72" y="624"/>
                  </a:lnTo>
                  <a:lnTo>
                    <a:pt x="90" y="618"/>
                  </a:lnTo>
                  <a:lnTo>
                    <a:pt x="102" y="618"/>
                  </a:lnTo>
                  <a:lnTo>
                    <a:pt x="114" y="612"/>
                  </a:lnTo>
                  <a:lnTo>
                    <a:pt x="138" y="606"/>
                  </a:lnTo>
                  <a:lnTo>
                    <a:pt x="144" y="606"/>
                  </a:lnTo>
                  <a:lnTo>
                    <a:pt x="150" y="594"/>
                  </a:lnTo>
                  <a:lnTo>
                    <a:pt x="156" y="576"/>
                  </a:lnTo>
                  <a:lnTo>
                    <a:pt x="168" y="552"/>
                  </a:lnTo>
                  <a:lnTo>
                    <a:pt x="168" y="540"/>
                  </a:lnTo>
                  <a:lnTo>
                    <a:pt x="180" y="522"/>
                  </a:lnTo>
                  <a:lnTo>
                    <a:pt x="186" y="498"/>
                  </a:lnTo>
                  <a:lnTo>
                    <a:pt x="198" y="480"/>
                  </a:lnTo>
                  <a:lnTo>
                    <a:pt x="204" y="486"/>
                  </a:lnTo>
                  <a:lnTo>
                    <a:pt x="210" y="480"/>
                  </a:lnTo>
                  <a:lnTo>
                    <a:pt x="204" y="474"/>
                  </a:lnTo>
                  <a:lnTo>
                    <a:pt x="198" y="462"/>
                  </a:lnTo>
                  <a:lnTo>
                    <a:pt x="192" y="456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50"/>
                  </a:lnTo>
                  <a:lnTo>
                    <a:pt x="132" y="426"/>
                  </a:lnTo>
                  <a:lnTo>
                    <a:pt x="132" y="396"/>
                  </a:lnTo>
                  <a:lnTo>
                    <a:pt x="132" y="378"/>
                  </a:lnTo>
                  <a:lnTo>
                    <a:pt x="126" y="348"/>
                  </a:lnTo>
                  <a:lnTo>
                    <a:pt x="132" y="312"/>
                  </a:lnTo>
                  <a:lnTo>
                    <a:pt x="126" y="288"/>
                  </a:lnTo>
                  <a:lnTo>
                    <a:pt x="138" y="282"/>
                  </a:lnTo>
                  <a:lnTo>
                    <a:pt x="126" y="264"/>
                  </a:lnTo>
                  <a:lnTo>
                    <a:pt x="126" y="258"/>
                  </a:lnTo>
                  <a:lnTo>
                    <a:pt x="120" y="246"/>
                  </a:lnTo>
                  <a:lnTo>
                    <a:pt x="126" y="234"/>
                  </a:lnTo>
                  <a:lnTo>
                    <a:pt x="114" y="228"/>
                  </a:lnTo>
                  <a:lnTo>
                    <a:pt x="114" y="222"/>
                  </a:lnTo>
                  <a:lnTo>
                    <a:pt x="96" y="204"/>
                  </a:lnTo>
                  <a:lnTo>
                    <a:pt x="84" y="180"/>
                  </a:lnTo>
                  <a:lnTo>
                    <a:pt x="78" y="168"/>
                  </a:lnTo>
                  <a:lnTo>
                    <a:pt x="72" y="162"/>
                  </a:lnTo>
                  <a:lnTo>
                    <a:pt x="66" y="144"/>
                  </a:lnTo>
                  <a:lnTo>
                    <a:pt x="60" y="138"/>
                  </a:lnTo>
                  <a:lnTo>
                    <a:pt x="66" y="126"/>
                  </a:lnTo>
                  <a:lnTo>
                    <a:pt x="66" y="114"/>
                  </a:lnTo>
                  <a:lnTo>
                    <a:pt x="72" y="114"/>
                  </a:lnTo>
                  <a:lnTo>
                    <a:pt x="72" y="108"/>
                  </a:lnTo>
                  <a:lnTo>
                    <a:pt x="78" y="102"/>
                  </a:lnTo>
                  <a:lnTo>
                    <a:pt x="78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102" y="72"/>
                  </a:lnTo>
                  <a:lnTo>
                    <a:pt x="108" y="72"/>
                  </a:lnTo>
                  <a:lnTo>
                    <a:pt x="120" y="78"/>
                  </a:lnTo>
                  <a:lnTo>
                    <a:pt x="144" y="84"/>
                  </a:lnTo>
                  <a:lnTo>
                    <a:pt x="150" y="84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62" y="90"/>
                  </a:lnTo>
                  <a:lnTo>
                    <a:pt x="174" y="96"/>
                  </a:lnTo>
                  <a:lnTo>
                    <a:pt x="180" y="96"/>
                  </a:lnTo>
                  <a:lnTo>
                    <a:pt x="186" y="96"/>
                  </a:lnTo>
                  <a:lnTo>
                    <a:pt x="192" y="102"/>
                  </a:lnTo>
                  <a:lnTo>
                    <a:pt x="198" y="96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16" y="96"/>
                  </a:lnTo>
                  <a:lnTo>
                    <a:pt x="222" y="96"/>
                  </a:lnTo>
                  <a:lnTo>
                    <a:pt x="228" y="96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94" y="114"/>
                  </a:lnTo>
                  <a:lnTo>
                    <a:pt x="312" y="120"/>
                  </a:lnTo>
                  <a:lnTo>
                    <a:pt x="318" y="126"/>
                  </a:lnTo>
                  <a:lnTo>
                    <a:pt x="330" y="132"/>
                  </a:lnTo>
                  <a:lnTo>
                    <a:pt x="342" y="132"/>
                  </a:lnTo>
                  <a:lnTo>
                    <a:pt x="348" y="132"/>
                  </a:lnTo>
                  <a:lnTo>
                    <a:pt x="354" y="138"/>
                  </a:lnTo>
                  <a:lnTo>
                    <a:pt x="366" y="138"/>
                  </a:lnTo>
                  <a:lnTo>
                    <a:pt x="372" y="144"/>
                  </a:lnTo>
                  <a:lnTo>
                    <a:pt x="378" y="150"/>
                  </a:lnTo>
                  <a:lnTo>
                    <a:pt x="384" y="150"/>
                  </a:lnTo>
                  <a:lnTo>
                    <a:pt x="390" y="150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14" y="156"/>
                  </a:lnTo>
                  <a:lnTo>
                    <a:pt x="420" y="156"/>
                  </a:lnTo>
                  <a:lnTo>
                    <a:pt x="426" y="162"/>
                  </a:lnTo>
                  <a:lnTo>
                    <a:pt x="438" y="168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62" y="174"/>
                  </a:lnTo>
                  <a:lnTo>
                    <a:pt x="468" y="174"/>
                  </a:lnTo>
                  <a:lnTo>
                    <a:pt x="474" y="174"/>
                  </a:lnTo>
                  <a:lnTo>
                    <a:pt x="474" y="180"/>
                  </a:lnTo>
                  <a:lnTo>
                    <a:pt x="480" y="192"/>
                  </a:lnTo>
                  <a:lnTo>
                    <a:pt x="498" y="198"/>
                  </a:lnTo>
                  <a:lnTo>
                    <a:pt x="510" y="210"/>
                  </a:lnTo>
                  <a:lnTo>
                    <a:pt x="516" y="210"/>
                  </a:lnTo>
                  <a:lnTo>
                    <a:pt x="522" y="210"/>
                  </a:lnTo>
                  <a:lnTo>
                    <a:pt x="534" y="216"/>
                  </a:lnTo>
                  <a:lnTo>
                    <a:pt x="540" y="216"/>
                  </a:lnTo>
                  <a:lnTo>
                    <a:pt x="546" y="222"/>
                  </a:lnTo>
                  <a:lnTo>
                    <a:pt x="552" y="222"/>
                  </a:lnTo>
                  <a:lnTo>
                    <a:pt x="558" y="228"/>
                  </a:lnTo>
                  <a:lnTo>
                    <a:pt x="564" y="228"/>
                  </a:lnTo>
                  <a:lnTo>
                    <a:pt x="570" y="234"/>
                  </a:lnTo>
                  <a:lnTo>
                    <a:pt x="576" y="240"/>
                  </a:lnTo>
                  <a:lnTo>
                    <a:pt x="582" y="240"/>
                  </a:lnTo>
                  <a:lnTo>
                    <a:pt x="588" y="240"/>
                  </a:lnTo>
                  <a:lnTo>
                    <a:pt x="594" y="240"/>
                  </a:lnTo>
                  <a:lnTo>
                    <a:pt x="600" y="228"/>
                  </a:lnTo>
                  <a:lnTo>
                    <a:pt x="588" y="216"/>
                  </a:lnTo>
                  <a:lnTo>
                    <a:pt x="588" y="198"/>
                  </a:lnTo>
                  <a:lnTo>
                    <a:pt x="582" y="198"/>
                  </a:lnTo>
                  <a:lnTo>
                    <a:pt x="588" y="192"/>
                  </a:lnTo>
                  <a:lnTo>
                    <a:pt x="582" y="168"/>
                  </a:lnTo>
                  <a:lnTo>
                    <a:pt x="558" y="114"/>
                  </a:lnTo>
                  <a:lnTo>
                    <a:pt x="552" y="90"/>
                  </a:lnTo>
                  <a:lnTo>
                    <a:pt x="558" y="60"/>
                  </a:lnTo>
                  <a:lnTo>
                    <a:pt x="564" y="48"/>
                  </a:lnTo>
                  <a:lnTo>
                    <a:pt x="582" y="42"/>
                  </a:lnTo>
                  <a:lnTo>
                    <a:pt x="624" y="6"/>
                  </a:lnTo>
                  <a:lnTo>
                    <a:pt x="648" y="0"/>
                  </a:lnTo>
                  <a:lnTo>
                    <a:pt x="678" y="0"/>
                  </a:lnTo>
                  <a:lnTo>
                    <a:pt x="720" y="12"/>
                  </a:lnTo>
                  <a:lnTo>
                    <a:pt x="744" y="24"/>
                  </a:lnTo>
                  <a:lnTo>
                    <a:pt x="768" y="42"/>
                  </a:lnTo>
                  <a:lnTo>
                    <a:pt x="816" y="48"/>
                  </a:lnTo>
                  <a:lnTo>
                    <a:pt x="834" y="48"/>
                  </a:lnTo>
                  <a:lnTo>
                    <a:pt x="852" y="54"/>
                  </a:lnTo>
                  <a:lnTo>
                    <a:pt x="906" y="60"/>
                  </a:lnTo>
                  <a:lnTo>
                    <a:pt x="948" y="54"/>
                  </a:lnTo>
                  <a:lnTo>
                    <a:pt x="978" y="42"/>
                  </a:lnTo>
                  <a:lnTo>
                    <a:pt x="984" y="48"/>
                  </a:lnTo>
                  <a:lnTo>
                    <a:pt x="990" y="60"/>
                  </a:lnTo>
                  <a:lnTo>
                    <a:pt x="996" y="66"/>
                  </a:lnTo>
                  <a:lnTo>
                    <a:pt x="1002" y="72"/>
                  </a:lnTo>
                  <a:lnTo>
                    <a:pt x="1014" y="78"/>
                  </a:lnTo>
                  <a:lnTo>
                    <a:pt x="1014" y="84"/>
                  </a:lnTo>
                  <a:lnTo>
                    <a:pt x="1032" y="84"/>
                  </a:lnTo>
                  <a:lnTo>
                    <a:pt x="1032" y="90"/>
                  </a:lnTo>
                  <a:lnTo>
                    <a:pt x="1032" y="96"/>
                  </a:lnTo>
                  <a:lnTo>
                    <a:pt x="1032" y="108"/>
                  </a:lnTo>
                  <a:lnTo>
                    <a:pt x="1056" y="126"/>
                  </a:lnTo>
                  <a:lnTo>
                    <a:pt x="1068" y="138"/>
                  </a:lnTo>
                  <a:lnTo>
                    <a:pt x="1068" y="156"/>
                  </a:lnTo>
                  <a:lnTo>
                    <a:pt x="1080" y="150"/>
                  </a:lnTo>
                  <a:lnTo>
                    <a:pt x="1086" y="150"/>
                  </a:lnTo>
                  <a:lnTo>
                    <a:pt x="1092" y="156"/>
                  </a:lnTo>
                  <a:lnTo>
                    <a:pt x="1092" y="162"/>
                  </a:lnTo>
                  <a:lnTo>
                    <a:pt x="1092" y="168"/>
                  </a:lnTo>
                  <a:lnTo>
                    <a:pt x="1098" y="168"/>
                  </a:lnTo>
                  <a:lnTo>
                    <a:pt x="1092" y="180"/>
                  </a:lnTo>
                  <a:lnTo>
                    <a:pt x="1092" y="186"/>
                  </a:lnTo>
                  <a:lnTo>
                    <a:pt x="1086" y="192"/>
                  </a:lnTo>
                  <a:lnTo>
                    <a:pt x="1068" y="210"/>
                  </a:lnTo>
                  <a:lnTo>
                    <a:pt x="1068" y="216"/>
                  </a:lnTo>
                  <a:lnTo>
                    <a:pt x="1074" y="228"/>
                  </a:lnTo>
                  <a:lnTo>
                    <a:pt x="1092" y="234"/>
                  </a:lnTo>
                  <a:lnTo>
                    <a:pt x="1122" y="216"/>
                  </a:lnTo>
                  <a:lnTo>
                    <a:pt x="1188" y="204"/>
                  </a:lnTo>
                  <a:lnTo>
                    <a:pt x="1212" y="204"/>
                  </a:lnTo>
                  <a:lnTo>
                    <a:pt x="1230" y="198"/>
                  </a:lnTo>
                  <a:lnTo>
                    <a:pt x="1236" y="204"/>
                  </a:lnTo>
                  <a:lnTo>
                    <a:pt x="1242" y="210"/>
                  </a:lnTo>
                  <a:lnTo>
                    <a:pt x="1242" y="204"/>
                  </a:lnTo>
                  <a:lnTo>
                    <a:pt x="1248" y="198"/>
                  </a:lnTo>
                  <a:lnTo>
                    <a:pt x="1308" y="204"/>
                  </a:lnTo>
                  <a:lnTo>
                    <a:pt x="1338" y="204"/>
                  </a:lnTo>
                  <a:lnTo>
                    <a:pt x="1374" y="228"/>
                  </a:lnTo>
                  <a:lnTo>
                    <a:pt x="1380" y="234"/>
                  </a:lnTo>
                  <a:lnTo>
                    <a:pt x="1380" y="240"/>
                  </a:lnTo>
                  <a:lnTo>
                    <a:pt x="1386" y="252"/>
                  </a:lnTo>
                  <a:lnTo>
                    <a:pt x="1392" y="252"/>
                  </a:lnTo>
                  <a:lnTo>
                    <a:pt x="1416" y="270"/>
                  </a:lnTo>
                  <a:lnTo>
                    <a:pt x="1428" y="294"/>
                  </a:lnTo>
                  <a:lnTo>
                    <a:pt x="1440" y="312"/>
                  </a:lnTo>
                  <a:lnTo>
                    <a:pt x="1452" y="330"/>
                  </a:lnTo>
                  <a:lnTo>
                    <a:pt x="1464" y="330"/>
                  </a:lnTo>
                  <a:lnTo>
                    <a:pt x="1464" y="336"/>
                  </a:lnTo>
                  <a:lnTo>
                    <a:pt x="1470" y="336"/>
                  </a:lnTo>
                  <a:lnTo>
                    <a:pt x="1470" y="342"/>
                  </a:lnTo>
                  <a:lnTo>
                    <a:pt x="1476" y="342"/>
                  </a:lnTo>
                  <a:lnTo>
                    <a:pt x="1488" y="336"/>
                  </a:lnTo>
                  <a:lnTo>
                    <a:pt x="1494" y="342"/>
                  </a:lnTo>
                  <a:lnTo>
                    <a:pt x="1500" y="342"/>
                  </a:lnTo>
                  <a:lnTo>
                    <a:pt x="1512" y="366"/>
                  </a:lnTo>
                  <a:lnTo>
                    <a:pt x="1530" y="396"/>
                  </a:lnTo>
                  <a:lnTo>
                    <a:pt x="1536" y="444"/>
                  </a:lnTo>
                  <a:lnTo>
                    <a:pt x="1530" y="480"/>
                  </a:lnTo>
                  <a:lnTo>
                    <a:pt x="1506" y="510"/>
                  </a:lnTo>
                  <a:lnTo>
                    <a:pt x="1500" y="546"/>
                  </a:lnTo>
                  <a:lnTo>
                    <a:pt x="1494" y="564"/>
                  </a:lnTo>
                  <a:lnTo>
                    <a:pt x="1494" y="576"/>
                  </a:lnTo>
                  <a:lnTo>
                    <a:pt x="1500" y="582"/>
                  </a:lnTo>
                  <a:lnTo>
                    <a:pt x="1494" y="612"/>
                  </a:lnTo>
                  <a:lnTo>
                    <a:pt x="1476" y="630"/>
                  </a:lnTo>
                  <a:lnTo>
                    <a:pt x="1434" y="672"/>
                  </a:lnTo>
                  <a:lnTo>
                    <a:pt x="1392" y="756"/>
                  </a:lnTo>
                  <a:lnTo>
                    <a:pt x="1380" y="792"/>
                  </a:lnTo>
                  <a:lnTo>
                    <a:pt x="1374" y="798"/>
                  </a:lnTo>
                  <a:lnTo>
                    <a:pt x="1368" y="798"/>
                  </a:lnTo>
                  <a:lnTo>
                    <a:pt x="1380" y="804"/>
                  </a:lnTo>
                  <a:lnTo>
                    <a:pt x="1386" y="804"/>
                  </a:lnTo>
                  <a:lnTo>
                    <a:pt x="1380" y="822"/>
                  </a:lnTo>
                  <a:lnTo>
                    <a:pt x="1380" y="852"/>
                  </a:lnTo>
                  <a:lnTo>
                    <a:pt x="1374" y="858"/>
                  </a:lnTo>
                  <a:lnTo>
                    <a:pt x="1380" y="858"/>
                  </a:lnTo>
                  <a:lnTo>
                    <a:pt x="1374" y="864"/>
                  </a:lnTo>
                  <a:lnTo>
                    <a:pt x="1374" y="870"/>
                  </a:lnTo>
                  <a:lnTo>
                    <a:pt x="1374" y="876"/>
                  </a:lnTo>
                  <a:lnTo>
                    <a:pt x="1368" y="900"/>
                  </a:lnTo>
                  <a:lnTo>
                    <a:pt x="1362" y="906"/>
                  </a:lnTo>
                  <a:lnTo>
                    <a:pt x="1362" y="918"/>
                  </a:lnTo>
                  <a:lnTo>
                    <a:pt x="1362" y="924"/>
                  </a:lnTo>
                  <a:lnTo>
                    <a:pt x="1356" y="942"/>
                  </a:lnTo>
                  <a:lnTo>
                    <a:pt x="1350" y="972"/>
                  </a:lnTo>
                  <a:lnTo>
                    <a:pt x="1350" y="1014"/>
                  </a:lnTo>
                  <a:lnTo>
                    <a:pt x="1350" y="1020"/>
                  </a:lnTo>
                  <a:close/>
                </a:path>
              </a:pathLst>
            </a:custGeom>
            <a:solidFill>
              <a:srgbClr val="2A4F1D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3" name="Freeform 18">
              <a:extLst>
                <a:ext uri="{FF2B5EF4-FFF2-40B4-BE49-F238E27FC236}">
                  <a16:creationId xmlns:a16="http://schemas.microsoft.com/office/drawing/2014/main" id="{EC11F2E0-3C06-46E2-8AD2-66EBE00FFE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32346" y="3837389"/>
              <a:ext cx="556811" cy="818559"/>
            </a:xfrm>
            <a:custGeom>
              <a:avLst/>
              <a:gdLst>
                <a:gd name="T0" fmla="*/ 12 w 1044"/>
                <a:gd name="T1" fmla="*/ 95 h 1542"/>
                <a:gd name="T2" fmla="*/ 7 w 1044"/>
                <a:gd name="T3" fmla="*/ 93 h 1542"/>
                <a:gd name="T4" fmla="*/ 0 w 1044"/>
                <a:gd name="T5" fmla="*/ 88 h 1542"/>
                <a:gd name="T6" fmla="*/ 3 w 1044"/>
                <a:gd name="T7" fmla="*/ 74 h 1542"/>
                <a:gd name="T8" fmla="*/ 4 w 1044"/>
                <a:gd name="T9" fmla="*/ 59 h 1542"/>
                <a:gd name="T10" fmla="*/ 7 w 1044"/>
                <a:gd name="T11" fmla="*/ 52 h 1542"/>
                <a:gd name="T12" fmla="*/ 20 w 1044"/>
                <a:gd name="T13" fmla="*/ 50 h 1542"/>
                <a:gd name="T14" fmla="*/ 24 w 1044"/>
                <a:gd name="T15" fmla="*/ 46 h 1542"/>
                <a:gd name="T16" fmla="*/ 29 w 1044"/>
                <a:gd name="T17" fmla="*/ 33 h 1542"/>
                <a:gd name="T18" fmla="*/ 32 w 1044"/>
                <a:gd name="T19" fmla="*/ 26 h 1542"/>
                <a:gd name="T20" fmla="*/ 30 w 1044"/>
                <a:gd name="T21" fmla="*/ 20 h 1542"/>
                <a:gd name="T22" fmla="*/ 26 w 1044"/>
                <a:gd name="T23" fmla="*/ 17 h 1542"/>
                <a:gd name="T24" fmla="*/ 28 w 1044"/>
                <a:gd name="T25" fmla="*/ 12 h 1542"/>
                <a:gd name="T26" fmla="*/ 44 w 1044"/>
                <a:gd name="T27" fmla="*/ 5 h 1542"/>
                <a:gd name="T28" fmla="*/ 57 w 1044"/>
                <a:gd name="T29" fmla="*/ 2 h 1542"/>
                <a:gd name="T30" fmla="*/ 65 w 1044"/>
                <a:gd name="T31" fmla="*/ 12 h 1542"/>
                <a:gd name="T32" fmla="*/ 81 w 1044"/>
                <a:gd name="T33" fmla="*/ 9 h 1542"/>
                <a:gd name="T34" fmla="*/ 91 w 1044"/>
                <a:gd name="T35" fmla="*/ 20 h 1542"/>
                <a:gd name="T36" fmla="*/ 89 w 1044"/>
                <a:gd name="T37" fmla="*/ 28 h 1542"/>
                <a:gd name="T38" fmla="*/ 83 w 1044"/>
                <a:gd name="T39" fmla="*/ 33 h 1542"/>
                <a:gd name="T40" fmla="*/ 74 w 1044"/>
                <a:gd name="T41" fmla="*/ 42 h 1542"/>
                <a:gd name="T42" fmla="*/ 58 w 1044"/>
                <a:gd name="T43" fmla="*/ 57 h 1542"/>
                <a:gd name="T44" fmla="*/ 54 w 1044"/>
                <a:gd name="T45" fmla="*/ 65 h 1542"/>
                <a:gd name="T46" fmla="*/ 59 w 1044"/>
                <a:gd name="T47" fmla="*/ 74 h 1542"/>
                <a:gd name="T48" fmla="*/ 55 w 1044"/>
                <a:gd name="T49" fmla="*/ 84 h 1542"/>
                <a:gd name="T50" fmla="*/ 52 w 1044"/>
                <a:gd name="T51" fmla="*/ 98 h 1542"/>
                <a:gd name="T52" fmla="*/ 47 w 1044"/>
                <a:gd name="T53" fmla="*/ 105 h 1542"/>
                <a:gd name="T54" fmla="*/ 42 w 1044"/>
                <a:gd name="T55" fmla="*/ 111 h 1542"/>
                <a:gd name="T56" fmla="*/ 43 w 1044"/>
                <a:gd name="T57" fmla="*/ 120 h 1542"/>
                <a:gd name="T58" fmla="*/ 45 w 1044"/>
                <a:gd name="T59" fmla="*/ 125 h 1542"/>
                <a:gd name="T60" fmla="*/ 44 w 1044"/>
                <a:gd name="T61" fmla="*/ 130 h 1542"/>
                <a:gd name="T62" fmla="*/ 45 w 1044"/>
                <a:gd name="T63" fmla="*/ 131 h 1542"/>
                <a:gd name="T64" fmla="*/ 48 w 1044"/>
                <a:gd name="T65" fmla="*/ 133 h 1542"/>
                <a:gd name="T66" fmla="*/ 39 w 1044"/>
                <a:gd name="T67" fmla="*/ 133 h 1542"/>
                <a:gd name="T68" fmla="*/ 42 w 1044"/>
                <a:gd name="T69" fmla="*/ 132 h 1542"/>
                <a:gd name="T70" fmla="*/ 38 w 1044"/>
                <a:gd name="T71" fmla="*/ 133 h 1542"/>
                <a:gd name="T72" fmla="*/ 37 w 1044"/>
                <a:gd name="T73" fmla="*/ 129 h 1542"/>
                <a:gd name="T74" fmla="*/ 40 w 1044"/>
                <a:gd name="T75" fmla="*/ 125 h 1542"/>
                <a:gd name="T76" fmla="*/ 40 w 1044"/>
                <a:gd name="T77" fmla="*/ 120 h 1542"/>
                <a:gd name="T78" fmla="*/ 40 w 1044"/>
                <a:gd name="T79" fmla="*/ 117 h 1542"/>
                <a:gd name="T80" fmla="*/ 37 w 1044"/>
                <a:gd name="T81" fmla="*/ 120 h 1542"/>
                <a:gd name="T82" fmla="*/ 34 w 1044"/>
                <a:gd name="T83" fmla="*/ 122 h 1542"/>
                <a:gd name="T84" fmla="*/ 36 w 1044"/>
                <a:gd name="T85" fmla="*/ 120 h 1542"/>
                <a:gd name="T86" fmla="*/ 30 w 1044"/>
                <a:gd name="T87" fmla="*/ 120 h 1542"/>
                <a:gd name="T88" fmla="*/ 31 w 1044"/>
                <a:gd name="T89" fmla="*/ 113 h 1542"/>
                <a:gd name="T90" fmla="*/ 29 w 1044"/>
                <a:gd name="T91" fmla="*/ 112 h 1542"/>
                <a:gd name="T92" fmla="*/ 31 w 1044"/>
                <a:gd name="T93" fmla="*/ 117 h 1542"/>
                <a:gd name="T94" fmla="*/ 27 w 1044"/>
                <a:gd name="T95" fmla="*/ 116 h 1542"/>
                <a:gd name="T96" fmla="*/ 25 w 1044"/>
                <a:gd name="T97" fmla="*/ 112 h 1542"/>
                <a:gd name="T98" fmla="*/ 21 w 1044"/>
                <a:gd name="T99" fmla="*/ 109 h 1542"/>
                <a:gd name="T100" fmla="*/ 21 w 1044"/>
                <a:gd name="T101" fmla="*/ 113 h 1542"/>
                <a:gd name="T102" fmla="*/ 40 w 1044"/>
                <a:gd name="T103" fmla="*/ 120 h 1542"/>
                <a:gd name="T104" fmla="*/ 40 w 1044"/>
                <a:gd name="T105" fmla="*/ 121 h 1542"/>
                <a:gd name="T106" fmla="*/ 40 w 1044"/>
                <a:gd name="T107" fmla="*/ 116 h 1542"/>
                <a:gd name="T108" fmla="*/ 38 w 1044"/>
                <a:gd name="T109" fmla="*/ 120 h 1542"/>
                <a:gd name="T110" fmla="*/ 23 w 1044"/>
                <a:gd name="T111" fmla="*/ 110 h 1542"/>
                <a:gd name="T112" fmla="*/ 37 w 1044"/>
                <a:gd name="T113" fmla="*/ 124 h 1542"/>
                <a:gd name="T114" fmla="*/ 40 w 1044"/>
                <a:gd name="T115" fmla="*/ 125 h 1542"/>
                <a:gd name="T116" fmla="*/ 38 w 1044"/>
                <a:gd name="T117" fmla="*/ 128 h 1542"/>
                <a:gd name="T118" fmla="*/ 25 w 1044"/>
                <a:gd name="T119" fmla="*/ 117 h 1542"/>
                <a:gd name="T120" fmla="*/ 27 w 1044"/>
                <a:gd name="T121" fmla="*/ 127 h 1542"/>
                <a:gd name="T122" fmla="*/ 24 w 1044"/>
                <a:gd name="T123" fmla="*/ 113 h 154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44"/>
                <a:gd name="T187" fmla="*/ 0 h 1542"/>
                <a:gd name="T188" fmla="*/ 1044 w 1044"/>
                <a:gd name="T189" fmla="*/ 1542 h 154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44" h="1542">
                  <a:moveTo>
                    <a:pt x="234" y="1278"/>
                  </a:moveTo>
                  <a:lnTo>
                    <a:pt x="228" y="1272"/>
                  </a:lnTo>
                  <a:lnTo>
                    <a:pt x="222" y="1266"/>
                  </a:lnTo>
                  <a:lnTo>
                    <a:pt x="222" y="1260"/>
                  </a:lnTo>
                  <a:lnTo>
                    <a:pt x="204" y="1248"/>
                  </a:lnTo>
                  <a:lnTo>
                    <a:pt x="192" y="1248"/>
                  </a:lnTo>
                  <a:lnTo>
                    <a:pt x="186" y="1236"/>
                  </a:lnTo>
                  <a:lnTo>
                    <a:pt x="174" y="1218"/>
                  </a:lnTo>
                  <a:lnTo>
                    <a:pt x="162" y="1194"/>
                  </a:lnTo>
                  <a:lnTo>
                    <a:pt x="156" y="1182"/>
                  </a:lnTo>
                  <a:lnTo>
                    <a:pt x="162" y="1146"/>
                  </a:lnTo>
                  <a:lnTo>
                    <a:pt x="156" y="1134"/>
                  </a:lnTo>
                  <a:lnTo>
                    <a:pt x="138" y="1122"/>
                  </a:lnTo>
                  <a:lnTo>
                    <a:pt x="132" y="1116"/>
                  </a:lnTo>
                  <a:lnTo>
                    <a:pt x="138" y="1098"/>
                  </a:lnTo>
                  <a:lnTo>
                    <a:pt x="138" y="1092"/>
                  </a:lnTo>
                  <a:lnTo>
                    <a:pt x="138" y="1086"/>
                  </a:lnTo>
                  <a:lnTo>
                    <a:pt x="132" y="1074"/>
                  </a:lnTo>
                  <a:lnTo>
                    <a:pt x="126" y="1074"/>
                  </a:lnTo>
                  <a:lnTo>
                    <a:pt x="126" y="1068"/>
                  </a:lnTo>
                  <a:lnTo>
                    <a:pt x="120" y="1062"/>
                  </a:lnTo>
                  <a:lnTo>
                    <a:pt x="120" y="1056"/>
                  </a:lnTo>
                  <a:lnTo>
                    <a:pt x="114" y="1050"/>
                  </a:lnTo>
                  <a:lnTo>
                    <a:pt x="108" y="1050"/>
                  </a:lnTo>
                  <a:lnTo>
                    <a:pt x="102" y="1056"/>
                  </a:lnTo>
                  <a:lnTo>
                    <a:pt x="102" y="1062"/>
                  </a:lnTo>
                  <a:lnTo>
                    <a:pt x="96" y="1062"/>
                  </a:lnTo>
                  <a:lnTo>
                    <a:pt x="96" y="1068"/>
                  </a:lnTo>
                  <a:lnTo>
                    <a:pt x="96" y="1074"/>
                  </a:lnTo>
                  <a:lnTo>
                    <a:pt x="90" y="1074"/>
                  </a:lnTo>
                  <a:lnTo>
                    <a:pt x="84" y="1080"/>
                  </a:lnTo>
                  <a:lnTo>
                    <a:pt x="78" y="1074"/>
                  </a:lnTo>
                  <a:lnTo>
                    <a:pt x="72" y="1074"/>
                  </a:lnTo>
                  <a:lnTo>
                    <a:pt x="72" y="1068"/>
                  </a:lnTo>
                  <a:lnTo>
                    <a:pt x="72" y="1062"/>
                  </a:lnTo>
                  <a:lnTo>
                    <a:pt x="60" y="1056"/>
                  </a:lnTo>
                  <a:lnTo>
                    <a:pt x="60" y="1044"/>
                  </a:lnTo>
                  <a:lnTo>
                    <a:pt x="60" y="1032"/>
                  </a:lnTo>
                  <a:lnTo>
                    <a:pt x="60" y="1026"/>
                  </a:lnTo>
                  <a:lnTo>
                    <a:pt x="54" y="1026"/>
                  </a:lnTo>
                  <a:lnTo>
                    <a:pt x="48" y="1014"/>
                  </a:lnTo>
                  <a:lnTo>
                    <a:pt x="42" y="1008"/>
                  </a:lnTo>
                  <a:lnTo>
                    <a:pt x="30" y="1008"/>
                  </a:lnTo>
                  <a:lnTo>
                    <a:pt x="30" y="1002"/>
                  </a:lnTo>
                  <a:lnTo>
                    <a:pt x="24" y="1008"/>
                  </a:lnTo>
                  <a:lnTo>
                    <a:pt x="12" y="1008"/>
                  </a:lnTo>
                  <a:lnTo>
                    <a:pt x="6" y="1008"/>
                  </a:lnTo>
                  <a:lnTo>
                    <a:pt x="0" y="1008"/>
                  </a:lnTo>
                  <a:lnTo>
                    <a:pt x="0" y="1002"/>
                  </a:lnTo>
                  <a:lnTo>
                    <a:pt x="6" y="990"/>
                  </a:lnTo>
                  <a:lnTo>
                    <a:pt x="6" y="984"/>
                  </a:lnTo>
                  <a:lnTo>
                    <a:pt x="0" y="978"/>
                  </a:lnTo>
                  <a:lnTo>
                    <a:pt x="6" y="972"/>
                  </a:lnTo>
                  <a:lnTo>
                    <a:pt x="12" y="972"/>
                  </a:lnTo>
                  <a:lnTo>
                    <a:pt x="72" y="978"/>
                  </a:lnTo>
                  <a:lnTo>
                    <a:pt x="78" y="972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30"/>
                  </a:lnTo>
                  <a:lnTo>
                    <a:pt x="54" y="912"/>
                  </a:lnTo>
                  <a:lnTo>
                    <a:pt x="42" y="906"/>
                  </a:lnTo>
                  <a:lnTo>
                    <a:pt x="36" y="894"/>
                  </a:lnTo>
                  <a:lnTo>
                    <a:pt x="30" y="876"/>
                  </a:lnTo>
                  <a:lnTo>
                    <a:pt x="30" y="858"/>
                  </a:lnTo>
                  <a:lnTo>
                    <a:pt x="30" y="840"/>
                  </a:lnTo>
                  <a:lnTo>
                    <a:pt x="36" y="816"/>
                  </a:lnTo>
                  <a:lnTo>
                    <a:pt x="36" y="792"/>
                  </a:lnTo>
                  <a:lnTo>
                    <a:pt x="36" y="780"/>
                  </a:lnTo>
                  <a:lnTo>
                    <a:pt x="12" y="774"/>
                  </a:lnTo>
                  <a:lnTo>
                    <a:pt x="24" y="756"/>
                  </a:lnTo>
                  <a:lnTo>
                    <a:pt x="24" y="744"/>
                  </a:lnTo>
                  <a:lnTo>
                    <a:pt x="30" y="738"/>
                  </a:lnTo>
                  <a:lnTo>
                    <a:pt x="30" y="732"/>
                  </a:lnTo>
                  <a:lnTo>
                    <a:pt x="36" y="720"/>
                  </a:lnTo>
                  <a:lnTo>
                    <a:pt x="42" y="714"/>
                  </a:lnTo>
                  <a:lnTo>
                    <a:pt x="54" y="708"/>
                  </a:lnTo>
                  <a:lnTo>
                    <a:pt x="60" y="702"/>
                  </a:lnTo>
                  <a:lnTo>
                    <a:pt x="48" y="690"/>
                  </a:lnTo>
                  <a:lnTo>
                    <a:pt x="48" y="684"/>
                  </a:lnTo>
                  <a:lnTo>
                    <a:pt x="48" y="678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66"/>
                  </a:lnTo>
                  <a:lnTo>
                    <a:pt x="72" y="654"/>
                  </a:lnTo>
                  <a:lnTo>
                    <a:pt x="72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84" y="630"/>
                  </a:lnTo>
                  <a:lnTo>
                    <a:pt x="90" y="630"/>
                  </a:lnTo>
                  <a:lnTo>
                    <a:pt x="96" y="630"/>
                  </a:lnTo>
                  <a:lnTo>
                    <a:pt x="96" y="624"/>
                  </a:lnTo>
                  <a:lnTo>
                    <a:pt x="90" y="624"/>
                  </a:lnTo>
                  <a:lnTo>
                    <a:pt x="84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90" y="600"/>
                  </a:lnTo>
                  <a:lnTo>
                    <a:pt x="84" y="600"/>
                  </a:lnTo>
                  <a:lnTo>
                    <a:pt x="78" y="594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126" y="564"/>
                  </a:lnTo>
                  <a:lnTo>
                    <a:pt x="144" y="564"/>
                  </a:lnTo>
                  <a:lnTo>
                    <a:pt x="156" y="582"/>
                  </a:lnTo>
                  <a:lnTo>
                    <a:pt x="162" y="600"/>
                  </a:lnTo>
                  <a:lnTo>
                    <a:pt x="180" y="588"/>
                  </a:lnTo>
                  <a:lnTo>
                    <a:pt x="192" y="588"/>
                  </a:lnTo>
                  <a:lnTo>
                    <a:pt x="198" y="588"/>
                  </a:lnTo>
                  <a:lnTo>
                    <a:pt x="210" y="582"/>
                  </a:lnTo>
                  <a:lnTo>
                    <a:pt x="216" y="576"/>
                  </a:lnTo>
                  <a:lnTo>
                    <a:pt x="222" y="570"/>
                  </a:lnTo>
                  <a:lnTo>
                    <a:pt x="222" y="564"/>
                  </a:lnTo>
                  <a:lnTo>
                    <a:pt x="228" y="558"/>
                  </a:lnTo>
                  <a:lnTo>
                    <a:pt x="234" y="558"/>
                  </a:lnTo>
                  <a:lnTo>
                    <a:pt x="240" y="558"/>
                  </a:lnTo>
                  <a:lnTo>
                    <a:pt x="246" y="558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58" y="570"/>
                  </a:lnTo>
                  <a:lnTo>
                    <a:pt x="264" y="570"/>
                  </a:lnTo>
                  <a:lnTo>
                    <a:pt x="270" y="564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46"/>
                  </a:lnTo>
                  <a:lnTo>
                    <a:pt x="276" y="540"/>
                  </a:lnTo>
                  <a:lnTo>
                    <a:pt x="276" y="534"/>
                  </a:lnTo>
                  <a:lnTo>
                    <a:pt x="276" y="528"/>
                  </a:lnTo>
                  <a:lnTo>
                    <a:pt x="282" y="528"/>
                  </a:lnTo>
                  <a:lnTo>
                    <a:pt x="282" y="522"/>
                  </a:lnTo>
                  <a:lnTo>
                    <a:pt x="282" y="516"/>
                  </a:lnTo>
                  <a:lnTo>
                    <a:pt x="282" y="510"/>
                  </a:lnTo>
                  <a:lnTo>
                    <a:pt x="282" y="504"/>
                  </a:lnTo>
                  <a:lnTo>
                    <a:pt x="282" y="492"/>
                  </a:lnTo>
                  <a:lnTo>
                    <a:pt x="288" y="486"/>
                  </a:lnTo>
                  <a:lnTo>
                    <a:pt x="300" y="480"/>
                  </a:lnTo>
                  <a:lnTo>
                    <a:pt x="306" y="462"/>
                  </a:lnTo>
                  <a:lnTo>
                    <a:pt x="318" y="444"/>
                  </a:lnTo>
                  <a:lnTo>
                    <a:pt x="330" y="444"/>
                  </a:lnTo>
                  <a:lnTo>
                    <a:pt x="330" y="432"/>
                  </a:lnTo>
                  <a:lnTo>
                    <a:pt x="342" y="432"/>
                  </a:lnTo>
                  <a:lnTo>
                    <a:pt x="354" y="402"/>
                  </a:lnTo>
                  <a:lnTo>
                    <a:pt x="348" y="390"/>
                  </a:lnTo>
                  <a:lnTo>
                    <a:pt x="336" y="384"/>
                  </a:lnTo>
                  <a:lnTo>
                    <a:pt x="336" y="360"/>
                  </a:lnTo>
                  <a:lnTo>
                    <a:pt x="336" y="354"/>
                  </a:lnTo>
                  <a:lnTo>
                    <a:pt x="336" y="342"/>
                  </a:lnTo>
                  <a:lnTo>
                    <a:pt x="342" y="336"/>
                  </a:lnTo>
                  <a:lnTo>
                    <a:pt x="342" y="324"/>
                  </a:lnTo>
                  <a:lnTo>
                    <a:pt x="372" y="324"/>
                  </a:lnTo>
                  <a:lnTo>
                    <a:pt x="378" y="324"/>
                  </a:lnTo>
                  <a:lnTo>
                    <a:pt x="378" y="318"/>
                  </a:lnTo>
                  <a:lnTo>
                    <a:pt x="372" y="312"/>
                  </a:lnTo>
                  <a:lnTo>
                    <a:pt x="378" y="312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84" y="300"/>
                  </a:lnTo>
                  <a:lnTo>
                    <a:pt x="384" y="294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66" y="294"/>
                  </a:lnTo>
                  <a:lnTo>
                    <a:pt x="366" y="288"/>
                  </a:lnTo>
                  <a:lnTo>
                    <a:pt x="372" y="288"/>
                  </a:lnTo>
                  <a:lnTo>
                    <a:pt x="372" y="282"/>
                  </a:lnTo>
                  <a:lnTo>
                    <a:pt x="366" y="276"/>
                  </a:lnTo>
                  <a:lnTo>
                    <a:pt x="360" y="270"/>
                  </a:lnTo>
                  <a:lnTo>
                    <a:pt x="360" y="264"/>
                  </a:lnTo>
                  <a:lnTo>
                    <a:pt x="354" y="264"/>
                  </a:lnTo>
                  <a:lnTo>
                    <a:pt x="348" y="258"/>
                  </a:lnTo>
                  <a:lnTo>
                    <a:pt x="354" y="258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40"/>
                  </a:lnTo>
                  <a:lnTo>
                    <a:pt x="354" y="240"/>
                  </a:lnTo>
                  <a:lnTo>
                    <a:pt x="342" y="234"/>
                  </a:lnTo>
                  <a:lnTo>
                    <a:pt x="342" y="228"/>
                  </a:lnTo>
                  <a:lnTo>
                    <a:pt x="348" y="228"/>
                  </a:lnTo>
                  <a:lnTo>
                    <a:pt x="342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6" y="216"/>
                  </a:lnTo>
                  <a:lnTo>
                    <a:pt x="330" y="222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24" y="210"/>
                  </a:lnTo>
                  <a:lnTo>
                    <a:pt x="318" y="210"/>
                  </a:lnTo>
                  <a:lnTo>
                    <a:pt x="318" y="204"/>
                  </a:lnTo>
                  <a:lnTo>
                    <a:pt x="312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294" y="192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300" y="174"/>
                  </a:lnTo>
                  <a:lnTo>
                    <a:pt x="300" y="168"/>
                  </a:lnTo>
                  <a:lnTo>
                    <a:pt x="300" y="162"/>
                  </a:lnTo>
                  <a:lnTo>
                    <a:pt x="294" y="162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88" y="150"/>
                  </a:lnTo>
                  <a:lnTo>
                    <a:pt x="288" y="144"/>
                  </a:lnTo>
                  <a:lnTo>
                    <a:pt x="282" y="144"/>
                  </a:lnTo>
                  <a:lnTo>
                    <a:pt x="282" y="138"/>
                  </a:lnTo>
                  <a:lnTo>
                    <a:pt x="312" y="132"/>
                  </a:lnTo>
                  <a:lnTo>
                    <a:pt x="324" y="120"/>
                  </a:lnTo>
                  <a:lnTo>
                    <a:pt x="330" y="114"/>
                  </a:lnTo>
                  <a:lnTo>
                    <a:pt x="336" y="102"/>
                  </a:lnTo>
                  <a:lnTo>
                    <a:pt x="348" y="90"/>
                  </a:lnTo>
                  <a:lnTo>
                    <a:pt x="360" y="84"/>
                  </a:lnTo>
                  <a:lnTo>
                    <a:pt x="372" y="84"/>
                  </a:lnTo>
                  <a:lnTo>
                    <a:pt x="378" y="84"/>
                  </a:lnTo>
                  <a:lnTo>
                    <a:pt x="384" y="90"/>
                  </a:lnTo>
                  <a:lnTo>
                    <a:pt x="402" y="90"/>
                  </a:lnTo>
                  <a:lnTo>
                    <a:pt x="438" y="84"/>
                  </a:lnTo>
                  <a:lnTo>
                    <a:pt x="456" y="84"/>
                  </a:lnTo>
                  <a:lnTo>
                    <a:pt x="462" y="78"/>
                  </a:lnTo>
                  <a:lnTo>
                    <a:pt x="486" y="72"/>
                  </a:lnTo>
                  <a:lnTo>
                    <a:pt x="492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04" y="54"/>
                  </a:lnTo>
                  <a:lnTo>
                    <a:pt x="510" y="42"/>
                  </a:lnTo>
                  <a:lnTo>
                    <a:pt x="504" y="42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498" y="30"/>
                  </a:lnTo>
                  <a:lnTo>
                    <a:pt x="492" y="30"/>
                  </a:lnTo>
                  <a:lnTo>
                    <a:pt x="492" y="24"/>
                  </a:lnTo>
                  <a:lnTo>
                    <a:pt x="486" y="18"/>
                  </a:lnTo>
                  <a:lnTo>
                    <a:pt x="498" y="18"/>
                  </a:lnTo>
                  <a:lnTo>
                    <a:pt x="510" y="18"/>
                  </a:lnTo>
                  <a:lnTo>
                    <a:pt x="522" y="12"/>
                  </a:lnTo>
                  <a:lnTo>
                    <a:pt x="528" y="6"/>
                  </a:lnTo>
                  <a:lnTo>
                    <a:pt x="570" y="0"/>
                  </a:lnTo>
                  <a:lnTo>
                    <a:pt x="606" y="6"/>
                  </a:lnTo>
                  <a:lnTo>
                    <a:pt x="654" y="24"/>
                  </a:lnTo>
                  <a:lnTo>
                    <a:pt x="666" y="36"/>
                  </a:lnTo>
                  <a:lnTo>
                    <a:pt x="672" y="30"/>
                  </a:lnTo>
                  <a:lnTo>
                    <a:pt x="690" y="42"/>
                  </a:lnTo>
                  <a:lnTo>
                    <a:pt x="702" y="48"/>
                  </a:lnTo>
                  <a:lnTo>
                    <a:pt x="714" y="60"/>
                  </a:lnTo>
                  <a:lnTo>
                    <a:pt x="714" y="66"/>
                  </a:lnTo>
                  <a:lnTo>
                    <a:pt x="720" y="72"/>
                  </a:lnTo>
                  <a:lnTo>
                    <a:pt x="720" y="78"/>
                  </a:lnTo>
                  <a:lnTo>
                    <a:pt x="720" y="102"/>
                  </a:lnTo>
                  <a:lnTo>
                    <a:pt x="720" y="108"/>
                  </a:lnTo>
                  <a:lnTo>
                    <a:pt x="714" y="108"/>
                  </a:lnTo>
                  <a:lnTo>
                    <a:pt x="714" y="126"/>
                  </a:lnTo>
                  <a:lnTo>
                    <a:pt x="732" y="126"/>
                  </a:lnTo>
                  <a:lnTo>
                    <a:pt x="726" y="132"/>
                  </a:lnTo>
                  <a:lnTo>
                    <a:pt x="738" y="132"/>
                  </a:lnTo>
                  <a:lnTo>
                    <a:pt x="738" y="138"/>
                  </a:lnTo>
                  <a:lnTo>
                    <a:pt x="738" y="144"/>
                  </a:lnTo>
                  <a:lnTo>
                    <a:pt x="744" y="144"/>
                  </a:lnTo>
                  <a:lnTo>
                    <a:pt x="744" y="150"/>
                  </a:lnTo>
                  <a:lnTo>
                    <a:pt x="756" y="156"/>
                  </a:lnTo>
                  <a:lnTo>
                    <a:pt x="768" y="156"/>
                  </a:lnTo>
                  <a:lnTo>
                    <a:pt x="780" y="156"/>
                  </a:lnTo>
                  <a:lnTo>
                    <a:pt x="792" y="150"/>
                  </a:lnTo>
                  <a:lnTo>
                    <a:pt x="786" y="150"/>
                  </a:lnTo>
                  <a:lnTo>
                    <a:pt x="786" y="144"/>
                  </a:lnTo>
                  <a:lnTo>
                    <a:pt x="804" y="144"/>
                  </a:lnTo>
                  <a:lnTo>
                    <a:pt x="816" y="132"/>
                  </a:lnTo>
                  <a:lnTo>
                    <a:pt x="822" y="126"/>
                  </a:lnTo>
                  <a:lnTo>
                    <a:pt x="828" y="132"/>
                  </a:lnTo>
                  <a:lnTo>
                    <a:pt x="834" y="126"/>
                  </a:lnTo>
                  <a:lnTo>
                    <a:pt x="834" y="120"/>
                  </a:lnTo>
                  <a:lnTo>
                    <a:pt x="924" y="108"/>
                  </a:lnTo>
                  <a:lnTo>
                    <a:pt x="942" y="144"/>
                  </a:lnTo>
                  <a:lnTo>
                    <a:pt x="948" y="144"/>
                  </a:lnTo>
                  <a:lnTo>
                    <a:pt x="960" y="168"/>
                  </a:lnTo>
                  <a:lnTo>
                    <a:pt x="972" y="186"/>
                  </a:lnTo>
                  <a:lnTo>
                    <a:pt x="984" y="192"/>
                  </a:lnTo>
                  <a:lnTo>
                    <a:pt x="996" y="192"/>
                  </a:lnTo>
                  <a:lnTo>
                    <a:pt x="996" y="198"/>
                  </a:lnTo>
                  <a:lnTo>
                    <a:pt x="1008" y="204"/>
                  </a:lnTo>
                  <a:lnTo>
                    <a:pt x="1008" y="210"/>
                  </a:lnTo>
                  <a:lnTo>
                    <a:pt x="1002" y="210"/>
                  </a:lnTo>
                  <a:lnTo>
                    <a:pt x="1008" y="216"/>
                  </a:lnTo>
                  <a:lnTo>
                    <a:pt x="1014" y="210"/>
                  </a:lnTo>
                  <a:lnTo>
                    <a:pt x="1014" y="216"/>
                  </a:lnTo>
                  <a:lnTo>
                    <a:pt x="1020" y="222"/>
                  </a:lnTo>
                  <a:lnTo>
                    <a:pt x="1014" y="228"/>
                  </a:lnTo>
                  <a:lnTo>
                    <a:pt x="1032" y="234"/>
                  </a:lnTo>
                  <a:lnTo>
                    <a:pt x="1044" y="240"/>
                  </a:lnTo>
                  <a:lnTo>
                    <a:pt x="1038" y="246"/>
                  </a:lnTo>
                  <a:lnTo>
                    <a:pt x="1038" y="252"/>
                  </a:lnTo>
                  <a:lnTo>
                    <a:pt x="1038" y="258"/>
                  </a:lnTo>
                  <a:lnTo>
                    <a:pt x="1032" y="264"/>
                  </a:lnTo>
                  <a:lnTo>
                    <a:pt x="1032" y="270"/>
                  </a:lnTo>
                  <a:lnTo>
                    <a:pt x="1032" y="276"/>
                  </a:lnTo>
                  <a:lnTo>
                    <a:pt x="1032" y="282"/>
                  </a:lnTo>
                  <a:lnTo>
                    <a:pt x="1026" y="282"/>
                  </a:lnTo>
                  <a:lnTo>
                    <a:pt x="1026" y="288"/>
                  </a:lnTo>
                  <a:lnTo>
                    <a:pt x="1026" y="294"/>
                  </a:lnTo>
                  <a:lnTo>
                    <a:pt x="1026" y="300"/>
                  </a:lnTo>
                  <a:lnTo>
                    <a:pt x="1026" y="306"/>
                  </a:lnTo>
                  <a:lnTo>
                    <a:pt x="1020" y="318"/>
                  </a:lnTo>
                  <a:lnTo>
                    <a:pt x="1020" y="324"/>
                  </a:lnTo>
                  <a:lnTo>
                    <a:pt x="1014" y="324"/>
                  </a:lnTo>
                  <a:lnTo>
                    <a:pt x="1014" y="330"/>
                  </a:lnTo>
                  <a:lnTo>
                    <a:pt x="1014" y="336"/>
                  </a:lnTo>
                  <a:lnTo>
                    <a:pt x="1008" y="366"/>
                  </a:lnTo>
                  <a:lnTo>
                    <a:pt x="1002" y="366"/>
                  </a:lnTo>
                  <a:lnTo>
                    <a:pt x="984" y="354"/>
                  </a:lnTo>
                  <a:lnTo>
                    <a:pt x="978" y="354"/>
                  </a:lnTo>
                  <a:lnTo>
                    <a:pt x="972" y="354"/>
                  </a:lnTo>
                  <a:lnTo>
                    <a:pt x="966" y="348"/>
                  </a:lnTo>
                  <a:lnTo>
                    <a:pt x="954" y="348"/>
                  </a:lnTo>
                  <a:lnTo>
                    <a:pt x="948" y="348"/>
                  </a:lnTo>
                  <a:lnTo>
                    <a:pt x="948" y="360"/>
                  </a:lnTo>
                  <a:lnTo>
                    <a:pt x="948" y="366"/>
                  </a:lnTo>
                  <a:lnTo>
                    <a:pt x="948" y="372"/>
                  </a:lnTo>
                  <a:lnTo>
                    <a:pt x="948" y="378"/>
                  </a:lnTo>
                  <a:lnTo>
                    <a:pt x="948" y="384"/>
                  </a:lnTo>
                  <a:lnTo>
                    <a:pt x="942" y="384"/>
                  </a:lnTo>
                  <a:lnTo>
                    <a:pt x="942" y="390"/>
                  </a:lnTo>
                  <a:lnTo>
                    <a:pt x="936" y="390"/>
                  </a:lnTo>
                  <a:lnTo>
                    <a:pt x="942" y="390"/>
                  </a:lnTo>
                  <a:lnTo>
                    <a:pt x="936" y="396"/>
                  </a:lnTo>
                  <a:lnTo>
                    <a:pt x="930" y="402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2" y="432"/>
                  </a:lnTo>
                  <a:lnTo>
                    <a:pt x="900" y="450"/>
                  </a:lnTo>
                  <a:lnTo>
                    <a:pt x="894" y="456"/>
                  </a:lnTo>
                  <a:lnTo>
                    <a:pt x="888" y="456"/>
                  </a:lnTo>
                  <a:lnTo>
                    <a:pt x="882" y="456"/>
                  </a:lnTo>
                  <a:lnTo>
                    <a:pt x="876" y="456"/>
                  </a:lnTo>
                  <a:lnTo>
                    <a:pt x="864" y="462"/>
                  </a:lnTo>
                  <a:lnTo>
                    <a:pt x="852" y="474"/>
                  </a:lnTo>
                  <a:lnTo>
                    <a:pt x="846" y="480"/>
                  </a:lnTo>
                  <a:lnTo>
                    <a:pt x="840" y="486"/>
                  </a:lnTo>
                  <a:lnTo>
                    <a:pt x="834" y="498"/>
                  </a:lnTo>
                  <a:lnTo>
                    <a:pt x="828" y="510"/>
                  </a:lnTo>
                  <a:lnTo>
                    <a:pt x="816" y="522"/>
                  </a:lnTo>
                  <a:lnTo>
                    <a:pt x="798" y="540"/>
                  </a:lnTo>
                  <a:lnTo>
                    <a:pt x="780" y="558"/>
                  </a:lnTo>
                  <a:lnTo>
                    <a:pt x="774" y="558"/>
                  </a:lnTo>
                  <a:lnTo>
                    <a:pt x="756" y="576"/>
                  </a:lnTo>
                  <a:lnTo>
                    <a:pt x="732" y="600"/>
                  </a:lnTo>
                  <a:lnTo>
                    <a:pt x="726" y="600"/>
                  </a:lnTo>
                  <a:lnTo>
                    <a:pt x="720" y="606"/>
                  </a:lnTo>
                  <a:lnTo>
                    <a:pt x="714" y="612"/>
                  </a:lnTo>
                  <a:lnTo>
                    <a:pt x="690" y="630"/>
                  </a:lnTo>
                  <a:lnTo>
                    <a:pt x="678" y="636"/>
                  </a:lnTo>
                  <a:lnTo>
                    <a:pt x="672" y="642"/>
                  </a:lnTo>
                  <a:lnTo>
                    <a:pt x="660" y="660"/>
                  </a:lnTo>
                  <a:lnTo>
                    <a:pt x="642" y="666"/>
                  </a:lnTo>
                  <a:lnTo>
                    <a:pt x="636" y="678"/>
                  </a:lnTo>
                  <a:lnTo>
                    <a:pt x="630" y="678"/>
                  </a:lnTo>
                  <a:lnTo>
                    <a:pt x="630" y="684"/>
                  </a:lnTo>
                  <a:lnTo>
                    <a:pt x="630" y="690"/>
                  </a:lnTo>
                  <a:lnTo>
                    <a:pt x="636" y="696"/>
                  </a:lnTo>
                  <a:lnTo>
                    <a:pt x="642" y="696"/>
                  </a:lnTo>
                  <a:lnTo>
                    <a:pt x="648" y="702"/>
                  </a:lnTo>
                  <a:lnTo>
                    <a:pt x="648" y="708"/>
                  </a:lnTo>
                  <a:lnTo>
                    <a:pt x="642" y="708"/>
                  </a:lnTo>
                  <a:lnTo>
                    <a:pt x="636" y="714"/>
                  </a:lnTo>
                  <a:lnTo>
                    <a:pt x="636" y="720"/>
                  </a:lnTo>
                  <a:lnTo>
                    <a:pt x="642" y="726"/>
                  </a:lnTo>
                  <a:lnTo>
                    <a:pt x="636" y="738"/>
                  </a:lnTo>
                  <a:lnTo>
                    <a:pt x="618" y="756"/>
                  </a:lnTo>
                  <a:lnTo>
                    <a:pt x="612" y="750"/>
                  </a:lnTo>
                  <a:lnTo>
                    <a:pt x="612" y="756"/>
                  </a:lnTo>
                  <a:lnTo>
                    <a:pt x="618" y="762"/>
                  </a:lnTo>
                  <a:lnTo>
                    <a:pt x="618" y="768"/>
                  </a:lnTo>
                  <a:lnTo>
                    <a:pt x="624" y="774"/>
                  </a:lnTo>
                  <a:lnTo>
                    <a:pt x="624" y="780"/>
                  </a:lnTo>
                  <a:lnTo>
                    <a:pt x="636" y="786"/>
                  </a:lnTo>
                  <a:lnTo>
                    <a:pt x="642" y="792"/>
                  </a:lnTo>
                  <a:lnTo>
                    <a:pt x="642" y="798"/>
                  </a:lnTo>
                  <a:lnTo>
                    <a:pt x="648" y="804"/>
                  </a:lnTo>
                  <a:lnTo>
                    <a:pt x="654" y="810"/>
                  </a:lnTo>
                  <a:lnTo>
                    <a:pt x="660" y="816"/>
                  </a:lnTo>
                  <a:lnTo>
                    <a:pt x="666" y="816"/>
                  </a:lnTo>
                  <a:lnTo>
                    <a:pt x="666" y="822"/>
                  </a:lnTo>
                  <a:lnTo>
                    <a:pt x="672" y="828"/>
                  </a:lnTo>
                  <a:lnTo>
                    <a:pt x="672" y="840"/>
                  </a:lnTo>
                  <a:lnTo>
                    <a:pt x="672" y="846"/>
                  </a:lnTo>
                  <a:lnTo>
                    <a:pt x="666" y="852"/>
                  </a:lnTo>
                  <a:lnTo>
                    <a:pt x="660" y="864"/>
                  </a:lnTo>
                  <a:lnTo>
                    <a:pt x="654" y="876"/>
                  </a:lnTo>
                  <a:lnTo>
                    <a:pt x="648" y="882"/>
                  </a:lnTo>
                  <a:lnTo>
                    <a:pt x="642" y="888"/>
                  </a:lnTo>
                  <a:lnTo>
                    <a:pt x="642" y="894"/>
                  </a:lnTo>
                  <a:lnTo>
                    <a:pt x="642" y="906"/>
                  </a:lnTo>
                  <a:lnTo>
                    <a:pt x="630" y="918"/>
                  </a:lnTo>
                  <a:lnTo>
                    <a:pt x="630" y="924"/>
                  </a:lnTo>
                  <a:lnTo>
                    <a:pt x="624" y="930"/>
                  </a:lnTo>
                  <a:lnTo>
                    <a:pt x="630" y="936"/>
                  </a:lnTo>
                  <a:lnTo>
                    <a:pt x="630" y="942"/>
                  </a:lnTo>
                  <a:lnTo>
                    <a:pt x="630" y="948"/>
                  </a:lnTo>
                  <a:lnTo>
                    <a:pt x="630" y="954"/>
                  </a:lnTo>
                  <a:lnTo>
                    <a:pt x="630" y="960"/>
                  </a:lnTo>
                  <a:lnTo>
                    <a:pt x="624" y="966"/>
                  </a:lnTo>
                  <a:lnTo>
                    <a:pt x="618" y="990"/>
                  </a:lnTo>
                  <a:lnTo>
                    <a:pt x="618" y="1008"/>
                  </a:lnTo>
                  <a:lnTo>
                    <a:pt x="612" y="1026"/>
                  </a:lnTo>
                  <a:lnTo>
                    <a:pt x="612" y="1038"/>
                  </a:lnTo>
                  <a:lnTo>
                    <a:pt x="612" y="1050"/>
                  </a:lnTo>
                  <a:lnTo>
                    <a:pt x="612" y="1056"/>
                  </a:lnTo>
                  <a:lnTo>
                    <a:pt x="612" y="1062"/>
                  </a:lnTo>
                  <a:lnTo>
                    <a:pt x="612" y="1068"/>
                  </a:lnTo>
                  <a:lnTo>
                    <a:pt x="612" y="1086"/>
                  </a:lnTo>
                  <a:lnTo>
                    <a:pt x="612" y="1092"/>
                  </a:lnTo>
                  <a:lnTo>
                    <a:pt x="606" y="1098"/>
                  </a:lnTo>
                  <a:lnTo>
                    <a:pt x="600" y="1110"/>
                  </a:lnTo>
                  <a:lnTo>
                    <a:pt x="600" y="1116"/>
                  </a:lnTo>
                  <a:lnTo>
                    <a:pt x="594" y="1122"/>
                  </a:lnTo>
                  <a:lnTo>
                    <a:pt x="594" y="1128"/>
                  </a:lnTo>
                  <a:lnTo>
                    <a:pt x="588" y="1134"/>
                  </a:lnTo>
                  <a:lnTo>
                    <a:pt x="582" y="1140"/>
                  </a:lnTo>
                  <a:lnTo>
                    <a:pt x="570" y="1140"/>
                  </a:lnTo>
                  <a:lnTo>
                    <a:pt x="564" y="1146"/>
                  </a:lnTo>
                  <a:lnTo>
                    <a:pt x="570" y="1146"/>
                  </a:lnTo>
                  <a:lnTo>
                    <a:pt x="564" y="1152"/>
                  </a:lnTo>
                  <a:lnTo>
                    <a:pt x="558" y="1158"/>
                  </a:lnTo>
                  <a:lnTo>
                    <a:pt x="552" y="1164"/>
                  </a:lnTo>
                  <a:lnTo>
                    <a:pt x="552" y="1170"/>
                  </a:lnTo>
                  <a:lnTo>
                    <a:pt x="546" y="1176"/>
                  </a:lnTo>
                  <a:lnTo>
                    <a:pt x="546" y="1182"/>
                  </a:lnTo>
                  <a:lnTo>
                    <a:pt x="546" y="1188"/>
                  </a:lnTo>
                  <a:lnTo>
                    <a:pt x="540" y="1188"/>
                  </a:lnTo>
                  <a:lnTo>
                    <a:pt x="540" y="1194"/>
                  </a:lnTo>
                  <a:lnTo>
                    <a:pt x="528" y="1206"/>
                  </a:lnTo>
                  <a:lnTo>
                    <a:pt x="528" y="1212"/>
                  </a:lnTo>
                  <a:lnTo>
                    <a:pt x="534" y="1212"/>
                  </a:lnTo>
                  <a:lnTo>
                    <a:pt x="540" y="1218"/>
                  </a:lnTo>
                  <a:lnTo>
                    <a:pt x="534" y="1218"/>
                  </a:lnTo>
                  <a:lnTo>
                    <a:pt x="528" y="1218"/>
                  </a:lnTo>
                  <a:lnTo>
                    <a:pt x="528" y="1224"/>
                  </a:lnTo>
                  <a:lnTo>
                    <a:pt x="522" y="1230"/>
                  </a:lnTo>
                  <a:lnTo>
                    <a:pt x="516" y="1236"/>
                  </a:lnTo>
                  <a:lnTo>
                    <a:pt x="522" y="1236"/>
                  </a:lnTo>
                  <a:lnTo>
                    <a:pt x="516" y="1242"/>
                  </a:lnTo>
                  <a:lnTo>
                    <a:pt x="510" y="1242"/>
                  </a:lnTo>
                  <a:lnTo>
                    <a:pt x="504" y="1248"/>
                  </a:lnTo>
                  <a:lnTo>
                    <a:pt x="510" y="1260"/>
                  </a:lnTo>
                  <a:lnTo>
                    <a:pt x="504" y="1266"/>
                  </a:lnTo>
                  <a:lnTo>
                    <a:pt x="492" y="1266"/>
                  </a:lnTo>
                  <a:lnTo>
                    <a:pt x="486" y="1272"/>
                  </a:lnTo>
                  <a:lnTo>
                    <a:pt x="486" y="1278"/>
                  </a:lnTo>
                  <a:lnTo>
                    <a:pt x="480" y="1278"/>
                  </a:lnTo>
                  <a:lnTo>
                    <a:pt x="480" y="1284"/>
                  </a:lnTo>
                  <a:lnTo>
                    <a:pt x="480" y="1290"/>
                  </a:lnTo>
                  <a:lnTo>
                    <a:pt x="480" y="1296"/>
                  </a:lnTo>
                  <a:lnTo>
                    <a:pt x="492" y="1302"/>
                  </a:lnTo>
                  <a:lnTo>
                    <a:pt x="492" y="1308"/>
                  </a:lnTo>
                  <a:lnTo>
                    <a:pt x="492" y="1320"/>
                  </a:lnTo>
                  <a:lnTo>
                    <a:pt x="492" y="1332"/>
                  </a:lnTo>
                  <a:lnTo>
                    <a:pt x="498" y="1344"/>
                  </a:lnTo>
                  <a:lnTo>
                    <a:pt x="498" y="1350"/>
                  </a:lnTo>
                  <a:lnTo>
                    <a:pt x="498" y="1356"/>
                  </a:lnTo>
                  <a:lnTo>
                    <a:pt x="504" y="1362"/>
                  </a:lnTo>
                  <a:lnTo>
                    <a:pt x="498" y="1362"/>
                  </a:lnTo>
                  <a:lnTo>
                    <a:pt x="498" y="1368"/>
                  </a:lnTo>
                  <a:lnTo>
                    <a:pt x="492" y="1368"/>
                  </a:lnTo>
                  <a:lnTo>
                    <a:pt x="492" y="1374"/>
                  </a:lnTo>
                  <a:lnTo>
                    <a:pt x="492" y="1380"/>
                  </a:lnTo>
                  <a:lnTo>
                    <a:pt x="498" y="1380"/>
                  </a:lnTo>
                  <a:lnTo>
                    <a:pt x="504" y="1380"/>
                  </a:lnTo>
                  <a:lnTo>
                    <a:pt x="498" y="1386"/>
                  </a:lnTo>
                  <a:lnTo>
                    <a:pt x="498" y="1392"/>
                  </a:lnTo>
                  <a:lnTo>
                    <a:pt x="498" y="1398"/>
                  </a:lnTo>
                  <a:lnTo>
                    <a:pt x="498" y="1404"/>
                  </a:lnTo>
                  <a:lnTo>
                    <a:pt x="498" y="1410"/>
                  </a:lnTo>
                  <a:lnTo>
                    <a:pt x="498" y="1416"/>
                  </a:lnTo>
                  <a:lnTo>
                    <a:pt x="492" y="1416"/>
                  </a:lnTo>
                  <a:lnTo>
                    <a:pt x="498" y="1416"/>
                  </a:lnTo>
                  <a:lnTo>
                    <a:pt x="504" y="1416"/>
                  </a:lnTo>
                  <a:lnTo>
                    <a:pt x="504" y="1422"/>
                  </a:lnTo>
                  <a:lnTo>
                    <a:pt x="510" y="1428"/>
                  </a:lnTo>
                  <a:lnTo>
                    <a:pt x="510" y="1434"/>
                  </a:lnTo>
                  <a:lnTo>
                    <a:pt x="510" y="1440"/>
                  </a:lnTo>
                  <a:lnTo>
                    <a:pt x="516" y="1446"/>
                  </a:lnTo>
                  <a:lnTo>
                    <a:pt x="516" y="1452"/>
                  </a:lnTo>
                  <a:lnTo>
                    <a:pt x="516" y="1458"/>
                  </a:lnTo>
                  <a:lnTo>
                    <a:pt x="516" y="1464"/>
                  </a:lnTo>
                  <a:lnTo>
                    <a:pt x="516" y="1482"/>
                  </a:lnTo>
                  <a:lnTo>
                    <a:pt x="516" y="1488"/>
                  </a:lnTo>
                  <a:lnTo>
                    <a:pt x="522" y="1488"/>
                  </a:lnTo>
                  <a:lnTo>
                    <a:pt x="522" y="1494"/>
                  </a:lnTo>
                  <a:lnTo>
                    <a:pt x="522" y="1500"/>
                  </a:lnTo>
                  <a:lnTo>
                    <a:pt x="516" y="1506"/>
                  </a:lnTo>
                  <a:lnTo>
                    <a:pt x="510" y="1500"/>
                  </a:lnTo>
                  <a:lnTo>
                    <a:pt x="504" y="1500"/>
                  </a:lnTo>
                  <a:lnTo>
                    <a:pt x="504" y="1494"/>
                  </a:lnTo>
                  <a:lnTo>
                    <a:pt x="504" y="1488"/>
                  </a:lnTo>
                  <a:lnTo>
                    <a:pt x="504" y="1482"/>
                  </a:lnTo>
                  <a:lnTo>
                    <a:pt x="504" y="1488"/>
                  </a:lnTo>
                  <a:lnTo>
                    <a:pt x="504" y="1494"/>
                  </a:lnTo>
                  <a:lnTo>
                    <a:pt x="504" y="1500"/>
                  </a:lnTo>
                  <a:lnTo>
                    <a:pt x="498" y="1500"/>
                  </a:lnTo>
                  <a:lnTo>
                    <a:pt x="492" y="1500"/>
                  </a:lnTo>
                  <a:lnTo>
                    <a:pt x="492" y="1494"/>
                  </a:lnTo>
                  <a:lnTo>
                    <a:pt x="492" y="1488"/>
                  </a:lnTo>
                  <a:lnTo>
                    <a:pt x="492" y="1494"/>
                  </a:lnTo>
                  <a:lnTo>
                    <a:pt x="492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00"/>
                  </a:lnTo>
                  <a:lnTo>
                    <a:pt x="510" y="1500"/>
                  </a:lnTo>
                  <a:lnTo>
                    <a:pt x="510" y="1506"/>
                  </a:lnTo>
                  <a:lnTo>
                    <a:pt x="516" y="1506"/>
                  </a:lnTo>
                  <a:lnTo>
                    <a:pt x="510" y="1506"/>
                  </a:lnTo>
                  <a:lnTo>
                    <a:pt x="510" y="1512"/>
                  </a:lnTo>
                  <a:lnTo>
                    <a:pt x="516" y="1506"/>
                  </a:lnTo>
                  <a:lnTo>
                    <a:pt x="522" y="1506"/>
                  </a:lnTo>
                  <a:lnTo>
                    <a:pt x="528" y="1506"/>
                  </a:lnTo>
                  <a:lnTo>
                    <a:pt x="528" y="1500"/>
                  </a:lnTo>
                  <a:lnTo>
                    <a:pt x="534" y="1500"/>
                  </a:lnTo>
                  <a:lnTo>
                    <a:pt x="534" y="1506"/>
                  </a:lnTo>
                  <a:lnTo>
                    <a:pt x="540" y="1512"/>
                  </a:lnTo>
                  <a:lnTo>
                    <a:pt x="540" y="1518"/>
                  </a:lnTo>
                  <a:lnTo>
                    <a:pt x="546" y="1518"/>
                  </a:lnTo>
                  <a:lnTo>
                    <a:pt x="540" y="1518"/>
                  </a:lnTo>
                  <a:lnTo>
                    <a:pt x="540" y="1524"/>
                  </a:lnTo>
                  <a:lnTo>
                    <a:pt x="534" y="1524"/>
                  </a:lnTo>
                  <a:lnTo>
                    <a:pt x="540" y="1524"/>
                  </a:lnTo>
                  <a:lnTo>
                    <a:pt x="546" y="1524"/>
                  </a:lnTo>
                  <a:lnTo>
                    <a:pt x="546" y="1530"/>
                  </a:lnTo>
                  <a:lnTo>
                    <a:pt x="540" y="1530"/>
                  </a:lnTo>
                  <a:lnTo>
                    <a:pt x="540" y="1536"/>
                  </a:lnTo>
                  <a:lnTo>
                    <a:pt x="534" y="1542"/>
                  </a:lnTo>
                  <a:lnTo>
                    <a:pt x="528" y="1542"/>
                  </a:lnTo>
                  <a:lnTo>
                    <a:pt x="522" y="1542"/>
                  </a:lnTo>
                  <a:lnTo>
                    <a:pt x="516" y="1542"/>
                  </a:lnTo>
                  <a:lnTo>
                    <a:pt x="510" y="1542"/>
                  </a:lnTo>
                  <a:lnTo>
                    <a:pt x="504" y="1542"/>
                  </a:lnTo>
                  <a:lnTo>
                    <a:pt x="492" y="1542"/>
                  </a:lnTo>
                  <a:lnTo>
                    <a:pt x="486" y="1536"/>
                  </a:lnTo>
                  <a:lnTo>
                    <a:pt x="480" y="1536"/>
                  </a:lnTo>
                  <a:lnTo>
                    <a:pt x="468" y="1536"/>
                  </a:lnTo>
                  <a:lnTo>
                    <a:pt x="468" y="1542"/>
                  </a:lnTo>
                  <a:lnTo>
                    <a:pt x="462" y="1542"/>
                  </a:lnTo>
                  <a:lnTo>
                    <a:pt x="456" y="1542"/>
                  </a:lnTo>
                  <a:lnTo>
                    <a:pt x="450" y="1542"/>
                  </a:lnTo>
                  <a:lnTo>
                    <a:pt x="444" y="1542"/>
                  </a:lnTo>
                  <a:lnTo>
                    <a:pt x="444" y="1536"/>
                  </a:lnTo>
                  <a:lnTo>
                    <a:pt x="450" y="1536"/>
                  </a:lnTo>
                  <a:lnTo>
                    <a:pt x="456" y="1536"/>
                  </a:lnTo>
                  <a:lnTo>
                    <a:pt x="450" y="1536"/>
                  </a:lnTo>
                  <a:lnTo>
                    <a:pt x="444" y="1536"/>
                  </a:lnTo>
                  <a:lnTo>
                    <a:pt x="444" y="1530"/>
                  </a:lnTo>
                  <a:lnTo>
                    <a:pt x="450" y="1530"/>
                  </a:lnTo>
                  <a:lnTo>
                    <a:pt x="456" y="1524"/>
                  </a:lnTo>
                  <a:lnTo>
                    <a:pt x="456" y="1518"/>
                  </a:lnTo>
                  <a:lnTo>
                    <a:pt x="462" y="1518"/>
                  </a:lnTo>
                  <a:lnTo>
                    <a:pt x="462" y="1524"/>
                  </a:lnTo>
                  <a:lnTo>
                    <a:pt x="468" y="1524"/>
                  </a:lnTo>
                  <a:lnTo>
                    <a:pt x="474" y="1524"/>
                  </a:lnTo>
                  <a:lnTo>
                    <a:pt x="474" y="1518"/>
                  </a:lnTo>
                  <a:lnTo>
                    <a:pt x="480" y="1518"/>
                  </a:lnTo>
                  <a:lnTo>
                    <a:pt x="474" y="1518"/>
                  </a:lnTo>
                  <a:lnTo>
                    <a:pt x="474" y="1524"/>
                  </a:lnTo>
                  <a:lnTo>
                    <a:pt x="468" y="1524"/>
                  </a:lnTo>
                  <a:lnTo>
                    <a:pt x="462" y="1518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62" y="1512"/>
                  </a:lnTo>
                  <a:lnTo>
                    <a:pt x="462" y="1506"/>
                  </a:lnTo>
                  <a:lnTo>
                    <a:pt x="456" y="1506"/>
                  </a:lnTo>
                  <a:lnTo>
                    <a:pt x="456" y="1512"/>
                  </a:lnTo>
                  <a:lnTo>
                    <a:pt x="456" y="1518"/>
                  </a:lnTo>
                  <a:lnTo>
                    <a:pt x="456" y="1512"/>
                  </a:lnTo>
                  <a:lnTo>
                    <a:pt x="450" y="1518"/>
                  </a:lnTo>
                  <a:lnTo>
                    <a:pt x="444" y="1518"/>
                  </a:lnTo>
                  <a:lnTo>
                    <a:pt x="444" y="1524"/>
                  </a:lnTo>
                  <a:lnTo>
                    <a:pt x="438" y="1524"/>
                  </a:lnTo>
                  <a:lnTo>
                    <a:pt x="438" y="1530"/>
                  </a:lnTo>
                  <a:lnTo>
                    <a:pt x="432" y="1530"/>
                  </a:lnTo>
                  <a:lnTo>
                    <a:pt x="432" y="1536"/>
                  </a:lnTo>
                  <a:lnTo>
                    <a:pt x="426" y="1530"/>
                  </a:lnTo>
                  <a:lnTo>
                    <a:pt x="420" y="1530"/>
                  </a:lnTo>
                  <a:lnTo>
                    <a:pt x="414" y="1530"/>
                  </a:lnTo>
                  <a:lnTo>
                    <a:pt x="414" y="1524"/>
                  </a:lnTo>
                  <a:lnTo>
                    <a:pt x="408" y="1518"/>
                  </a:lnTo>
                  <a:lnTo>
                    <a:pt x="414" y="1512"/>
                  </a:lnTo>
                  <a:lnTo>
                    <a:pt x="408" y="1512"/>
                  </a:lnTo>
                  <a:lnTo>
                    <a:pt x="408" y="1506"/>
                  </a:lnTo>
                  <a:lnTo>
                    <a:pt x="408" y="1500"/>
                  </a:lnTo>
                  <a:lnTo>
                    <a:pt x="408" y="1494"/>
                  </a:lnTo>
                  <a:lnTo>
                    <a:pt x="408" y="1488"/>
                  </a:lnTo>
                  <a:lnTo>
                    <a:pt x="408" y="1494"/>
                  </a:lnTo>
                  <a:lnTo>
                    <a:pt x="414" y="1494"/>
                  </a:lnTo>
                  <a:lnTo>
                    <a:pt x="420" y="1494"/>
                  </a:lnTo>
                  <a:lnTo>
                    <a:pt x="420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94"/>
                  </a:lnTo>
                  <a:lnTo>
                    <a:pt x="426" y="1488"/>
                  </a:lnTo>
                  <a:lnTo>
                    <a:pt x="426" y="1482"/>
                  </a:lnTo>
                  <a:lnTo>
                    <a:pt x="426" y="1476"/>
                  </a:lnTo>
                  <a:lnTo>
                    <a:pt x="432" y="1476"/>
                  </a:lnTo>
                  <a:lnTo>
                    <a:pt x="432" y="1470"/>
                  </a:lnTo>
                  <a:lnTo>
                    <a:pt x="438" y="1470"/>
                  </a:lnTo>
                  <a:lnTo>
                    <a:pt x="444" y="1464"/>
                  </a:lnTo>
                  <a:lnTo>
                    <a:pt x="450" y="1458"/>
                  </a:lnTo>
                  <a:lnTo>
                    <a:pt x="456" y="1458"/>
                  </a:lnTo>
                  <a:lnTo>
                    <a:pt x="462" y="1452"/>
                  </a:lnTo>
                  <a:lnTo>
                    <a:pt x="468" y="1452"/>
                  </a:lnTo>
                  <a:lnTo>
                    <a:pt x="468" y="1446"/>
                  </a:lnTo>
                  <a:lnTo>
                    <a:pt x="462" y="1440"/>
                  </a:lnTo>
                  <a:lnTo>
                    <a:pt x="456" y="1434"/>
                  </a:lnTo>
                  <a:lnTo>
                    <a:pt x="456" y="1428"/>
                  </a:lnTo>
                  <a:lnTo>
                    <a:pt x="456" y="1422"/>
                  </a:lnTo>
                  <a:lnTo>
                    <a:pt x="456" y="1416"/>
                  </a:lnTo>
                  <a:lnTo>
                    <a:pt x="450" y="1410"/>
                  </a:lnTo>
                  <a:lnTo>
                    <a:pt x="444" y="1410"/>
                  </a:lnTo>
                  <a:lnTo>
                    <a:pt x="450" y="1410"/>
                  </a:lnTo>
                  <a:lnTo>
                    <a:pt x="450" y="1404"/>
                  </a:lnTo>
                  <a:lnTo>
                    <a:pt x="456" y="1404"/>
                  </a:lnTo>
                  <a:lnTo>
                    <a:pt x="462" y="1404"/>
                  </a:lnTo>
                  <a:lnTo>
                    <a:pt x="468" y="1398"/>
                  </a:lnTo>
                  <a:lnTo>
                    <a:pt x="462" y="1398"/>
                  </a:lnTo>
                  <a:lnTo>
                    <a:pt x="462" y="1392"/>
                  </a:lnTo>
                  <a:lnTo>
                    <a:pt x="456" y="1392"/>
                  </a:lnTo>
                  <a:lnTo>
                    <a:pt x="456" y="1386"/>
                  </a:lnTo>
                  <a:lnTo>
                    <a:pt x="462" y="1386"/>
                  </a:lnTo>
                  <a:lnTo>
                    <a:pt x="468" y="1386"/>
                  </a:lnTo>
                  <a:lnTo>
                    <a:pt x="474" y="1386"/>
                  </a:lnTo>
                  <a:lnTo>
                    <a:pt x="468" y="1386"/>
                  </a:lnTo>
                  <a:lnTo>
                    <a:pt x="462" y="1386"/>
                  </a:lnTo>
                  <a:lnTo>
                    <a:pt x="456" y="1380"/>
                  </a:lnTo>
                  <a:lnTo>
                    <a:pt x="456" y="1374"/>
                  </a:lnTo>
                  <a:lnTo>
                    <a:pt x="462" y="1374"/>
                  </a:lnTo>
                  <a:lnTo>
                    <a:pt x="462" y="1368"/>
                  </a:lnTo>
                  <a:lnTo>
                    <a:pt x="456" y="1374"/>
                  </a:lnTo>
                  <a:lnTo>
                    <a:pt x="456" y="1368"/>
                  </a:lnTo>
                  <a:lnTo>
                    <a:pt x="456" y="1362"/>
                  </a:lnTo>
                  <a:lnTo>
                    <a:pt x="450" y="1362"/>
                  </a:lnTo>
                  <a:lnTo>
                    <a:pt x="450" y="1356"/>
                  </a:lnTo>
                  <a:lnTo>
                    <a:pt x="450" y="1350"/>
                  </a:lnTo>
                  <a:lnTo>
                    <a:pt x="450" y="1344"/>
                  </a:lnTo>
                  <a:lnTo>
                    <a:pt x="456" y="1344"/>
                  </a:lnTo>
                  <a:lnTo>
                    <a:pt x="456" y="1338"/>
                  </a:lnTo>
                  <a:lnTo>
                    <a:pt x="462" y="1338"/>
                  </a:lnTo>
                  <a:lnTo>
                    <a:pt x="462" y="1332"/>
                  </a:lnTo>
                  <a:lnTo>
                    <a:pt x="456" y="1332"/>
                  </a:lnTo>
                  <a:lnTo>
                    <a:pt x="456" y="1326"/>
                  </a:lnTo>
                  <a:lnTo>
                    <a:pt x="450" y="1326"/>
                  </a:lnTo>
                  <a:lnTo>
                    <a:pt x="444" y="1326"/>
                  </a:lnTo>
                  <a:lnTo>
                    <a:pt x="444" y="1332"/>
                  </a:lnTo>
                  <a:lnTo>
                    <a:pt x="438" y="1332"/>
                  </a:lnTo>
                  <a:lnTo>
                    <a:pt x="438" y="1338"/>
                  </a:lnTo>
                  <a:lnTo>
                    <a:pt x="432" y="1338"/>
                  </a:lnTo>
                  <a:lnTo>
                    <a:pt x="432" y="1344"/>
                  </a:lnTo>
                  <a:lnTo>
                    <a:pt x="432" y="1350"/>
                  </a:lnTo>
                  <a:lnTo>
                    <a:pt x="426" y="1356"/>
                  </a:lnTo>
                  <a:lnTo>
                    <a:pt x="426" y="1368"/>
                  </a:lnTo>
                  <a:lnTo>
                    <a:pt x="426" y="1374"/>
                  </a:lnTo>
                  <a:lnTo>
                    <a:pt x="426" y="1380"/>
                  </a:lnTo>
                  <a:lnTo>
                    <a:pt x="432" y="1386"/>
                  </a:lnTo>
                  <a:lnTo>
                    <a:pt x="432" y="1392"/>
                  </a:lnTo>
                  <a:lnTo>
                    <a:pt x="432" y="1398"/>
                  </a:lnTo>
                  <a:lnTo>
                    <a:pt x="426" y="1398"/>
                  </a:lnTo>
                  <a:lnTo>
                    <a:pt x="420" y="1398"/>
                  </a:lnTo>
                  <a:lnTo>
                    <a:pt x="414" y="1398"/>
                  </a:lnTo>
                  <a:lnTo>
                    <a:pt x="420" y="1398"/>
                  </a:lnTo>
                  <a:lnTo>
                    <a:pt x="414" y="1404"/>
                  </a:lnTo>
                  <a:lnTo>
                    <a:pt x="420" y="1404"/>
                  </a:lnTo>
                  <a:lnTo>
                    <a:pt x="414" y="1404"/>
                  </a:lnTo>
                  <a:lnTo>
                    <a:pt x="408" y="1404"/>
                  </a:lnTo>
                  <a:lnTo>
                    <a:pt x="402" y="1410"/>
                  </a:lnTo>
                  <a:lnTo>
                    <a:pt x="402" y="1404"/>
                  </a:lnTo>
                  <a:lnTo>
                    <a:pt x="396" y="1404"/>
                  </a:lnTo>
                  <a:lnTo>
                    <a:pt x="390" y="1404"/>
                  </a:lnTo>
                  <a:lnTo>
                    <a:pt x="384" y="1404"/>
                  </a:lnTo>
                  <a:lnTo>
                    <a:pt x="384" y="1398"/>
                  </a:lnTo>
                  <a:lnTo>
                    <a:pt x="384" y="1392"/>
                  </a:lnTo>
                  <a:lnTo>
                    <a:pt x="390" y="1392"/>
                  </a:lnTo>
                  <a:lnTo>
                    <a:pt x="390" y="1386"/>
                  </a:lnTo>
                  <a:lnTo>
                    <a:pt x="390" y="1380"/>
                  </a:lnTo>
                  <a:lnTo>
                    <a:pt x="396" y="1380"/>
                  </a:lnTo>
                  <a:lnTo>
                    <a:pt x="402" y="1380"/>
                  </a:lnTo>
                  <a:lnTo>
                    <a:pt x="408" y="1380"/>
                  </a:lnTo>
                  <a:lnTo>
                    <a:pt x="408" y="1374"/>
                  </a:lnTo>
                  <a:lnTo>
                    <a:pt x="414" y="1374"/>
                  </a:lnTo>
                  <a:lnTo>
                    <a:pt x="414" y="1368"/>
                  </a:lnTo>
                  <a:lnTo>
                    <a:pt x="414" y="1362"/>
                  </a:lnTo>
                  <a:lnTo>
                    <a:pt x="414" y="1368"/>
                  </a:lnTo>
                  <a:lnTo>
                    <a:pt x="414" y="1374"/>
                  </a:lnTo>
                  <a:lnTo>
                    <a:pt x="408" y="1374"/>
                  </a:lnTo>
                  <a:lnTo>
                    <a:pt x="402" y="1380"/>
                  </a:lnTo>
                  <a:lnTo>
                    <a:pt x="396" y="1380"/>
                  </a:lnTo>
                  <a:lnTo>
                    <a:pt x="396" y="1374"/>
                  </a:lnTo>
                  <a:lnTo>
                    <a:pt x="390" y="1374"/>
                  </a:lnTo>
                  <a:lnTo>
                    <a:pt x="390" y="1368"/>
                  </a:lnTo>
                  <a:lnTo>
                    <a:pt x="384" y="1368"/>
                  </a:lnTo>
                  <a:lnTo>
                    <a:pt x="384" y="1374"/>
                  </a:lnTo>
                  <a:lnTo>
                    <a:pt x="378" y="1374"/>
                  </a:lnTo>
                  <a:lnTo>
                    <a:pt x="378" y="1380"/>
                  </a:lnTo>
                  <a:lnTo>
                    <a:pt x="372" y="1380"/>
                  </a:lnTo>
                  <a:lnTo>
                    <a:pt x="366" y="1386"/>
                  </a:lnTo>
                  <a:lnTo>
                    <a:pt x="360" y="1386"/>
                  </a:lnTo>
                  <a:lnTo>
                    <a:pt x="354" y="1386"/>
                  </a:lnTo>
                  <a:lnTo>
                    <a:pt x="354" y="1380"/>
                  </a:lnTo>
                  <a:lnTo>
                    <a:pt x="348" y="1380"/>
                  </a:lnTo>
                  <a:lnTo>
                    <a:pt x="342" y="1380"/>
                  </a:lnTo>
                  <a:lnTo>
                    <a:pt x="342" y="1374"/>
                  </a:lnTo>
                  <a:lnTo>
                    <a:pt x="336" y="1368"/>
                  </a:lnTo>
                  <a:lnTo>
                    <a:pt x="342" y="1368"/>
                  </a:lnTo>
                  <a:lnTo>
                    <a:pt x="342" y="1362"/>
                  </a:lnTo>
                  <a:lnTo>
                    <a:pt x="348" y="1362"/>
                  </a:lnTo>
                  <a:lnTo>
                    <a:pt x="354" y="1362"/>
                  </a:lnTo>
                  <a:lnTo>
                    <a:pt x="354" y="1356"/>
                  </a:lnTo>
                  <a:lnTo>
                    <a:pt x="348" y="1356"/>
                  </a:lnTo>
                  <a:lnTo>
                    <a:pt x="348" y="1350"/>
                  </a:lnTo>
                  <a:lnTo>
                    <a:pt x="348" y="1344"/>
                  </a:lnTo>
                  <a:lnTo>
                    <a:pt x="354" y="1338"/>
                  </a:lnTo>
                  <a:lnTo>
                    <a:pt x="354" y="1332"/>
                  </a:lnTo>
                  <a:lnTo>
                    <a:pt x="354" y="1326"/>
                  </a:lnTo>
                  <a:lnTo>
                    <a:pt x="354" y="1320"/>
                  </a:lnTo>
                  <a:lnTo>
                    <a:pt x="354" y="1314"/>
                  </a:lnTo>
                  <a:lnTo>
                    <a:pt x="354" y="1308"/>
                  </a:lnTo>
                  <a:lnTo>
                    <a:pt x="348" y="1308"/>
                  </a:lnTo>
                  <a:lnTo>
                    <a:pt x="348" y="1302"/>
                  </a:lnTo>
                  <a:lnTo>
                    <a:pt x="342" y="1296"/>
                  </a:lnTo>
                  <a:lnTo>
                    <a:pt x="336" y="1296"/>
                  </a:lnTo>
                  <a:lnTo>
                    <a:pt x="336" y="1290"/>
                  </a:lnTo>
                  <a:lnTo>
                    <a:pt x="330" y="1290"/>
                  </a:lnTo>
                  <a:lnTo>
                    <a:pt x="324" y="1290"/>
                  </a:lnTo>
                  <a:lnTo>
                    <a:pt x="324" y="1284"/>
                  </a:lnTo>
                  <a:lnTo>
                    <a:pt x="318" y="1284"/>
                  </a:lnTo>
                  <a:lnTo>
                    <a:pt x="318" y="1278"/>
                  </a:lnTo>
                  <a:lnTo>
                    <a:pt x="312" y="1278"/>
                  </a:lnTo>
                  <a:lnTo>
                    <a:pt x="312" y="1272"/>
                  </a:lnTo>
                  <a:lnTo>
                    <a:pt x="312" y="1278"/>
                  </a:lnTo>
                  <a:lnTo>
                    <a:pt x="318" y="1284"/>
                  </a:lnTo>
                  <a:lnTo>
                    <a:pt x="324" y="1290"/>
                  </a:lnTo>
                  <a:lnTo>
                    <a:pt x="330" y="1290"/>
                  </a:lnTo>
                  <a:lnTo>
                    <a:pt x="330" y="1296"/>
                  </a:lnTo>
                  <a:lnTo>
                    <a:pt x="336" y="1296"/>
                  </a:lnTo>
                  <a:lnTo>
                    <a:pt x="336" y="1302"/>
                  </a:lnTo>
                  <a:lnTo>
                    <a:pt x="342" y="1302"/>
                  </a:lnTo>
                  <a:lnTo>
                    <a:pt x="348" y="1302"/>
                  </a:lnTo>
                  <a:lnTo>
                    <a:pt x="348" y="1308"/>
                  </a:lnTo>
                  <a:lnTo>
                    <a:pt x="348" y="1314"/>
                  </a:lnTo>
                  <a:lnTo>
                    <a:pt x="354" y="1314"/>
                  </a:lnTo>
                  <a:lnTo>
                    <a:pt x="354" y="1320"/>
                  </a:lnTo>
                  <a:lnTo>
                    <a:pt x="354" y="1326"/>
                  </a:lnTo>
                  <a:lnTo>
                    <a:pt x="348" y="1326"/>
                  </a:lnTo>
                  <a:lnTo>
                    <a:pt x="348" y="1332"/>
                  </a:lnTo>
                  <a:lnTo>
                    <a:pt x="348" y="1338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8" y="1344"/>
                  </a:lnTo>
                  <a:lnTo>
                    <a:pt x="342" y="1344"/>
                  </a:lnTo>
                  <a:lnTo>
                    <a:pt x="342" y="1350"/>
                  </a:lnTo>
                  <a:lnTo>
                    <a:pt x="336" y="1350"/>
                  </a:lnTo>
                  <a:lnTo>
                    <a:pt x="330" y="1350"/>
                  </a:lnTo>
                  <a:lnTo>
                    <a:pt x="330" y="1356"/>
                  </a:lnTo>
                  <a:lnTo>
                    <a:pt x="330" y="1350"/>
                  </a:lnTo>
                  <a:lnTo>
                    <a:pt x="324" y="1350"/>
                  </a:lnTo>
                  <a:lnTo>
                    <a:pt x="318" y="1344"/>
                  </a:lnTo>
                  <a:lnTo>
                    <a:pt x="318" y="1350"/>
                  </a:lnTo>
                  <a:lnTo>
                    <a:pt x="312" y="1344"/>
                  </a:lnTo>
                  <a:lnTo>
                    <a:pt x="312" y="1338"/>
                  </a:lnTo>
                  <a:lnTo>
                    <a:pt x="306" y="1338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0" y="1332"/>
                  </a:lnTo>
                  <a:lnTo>
                    <a:pt x="306" y="1332"/>
                  </a:lnTo>
                  <a:lnTo>
                    <a:pt x="306" y="1326"/>
                  </a:lnTo>
                  <a:lnTo>
                    <a:pt x="306" y="1320"/>
                  </a:lnTo>
                  <a:lnTo>
                    <a:pt x="306" y="1326"/>
                  </a:lnTo>
                  <a:lnTo>
                    <a:pt x="312" y="1326"/>
                  </a:lnTo>
                  <a:lnTo>
                    <a:pt x="312" y="1320"/>
                  </a:lnTo>
                  <a:lnTo>
                    <a:pt x="306" y="1320"/>
                  </a:lnTo>
                  <a:lnTo>
                    <a:pt x="300" y="1320"/>
                  </a:lnTo>
                  <a:lnTo>
                    <a:pt x="294" y="1320"/>
                  </a:lnTo>
                  <a:lnTo>
                    <a:pt x="294" y="1314"/>
                  </a:lnTo>
                  <a:lnTo>
                    <a:pt x="288" y="1314"/>
                  </a:lnTo>
                  <a:lnTo>
                    <a:pt x="288" y="1308"/>
                  </a:lnTo>
                  <a:lnTo>
                    <a:pt x="288" y="1302"/>
                  </a:lnTo>
                  <a:lnTo>
                    <a:pt x="294" y="1302"/>
                  </a:lnTo>
                  <a:lnTo>
                    <a:pt x="294" y="1296"/>
                  </a:lnTo>
                  <a:lnTo>
                    <a:pt x="288" y="1296"/>
                  </a:lnTo>
                  <a:lnTo>
                    <a:pt x="288" y="1290"/>
                  </a:lnTo>
                  <a:lnTo>
                    <a:pt x="288" y="1296"/>
                  </a:lnTo>
                  <a:lnTo>
                    <a:pt x="294" y="1302"/>
                  </a:lnTo>
                  <a:lnTo>
                    <a:pt x="288" y="1302"/>
                  </a:lnTo>
                  <a:lnTo>
                    <a:pt x="282" y="1296"/>
                  </a:lnTo>
                  <a:lnTo>
                    <a:pt x="276" y="1296"/>
                  </a:lnTo>
                  <a:lnTo>
                    <a:pt x="276" y="1290"/>
                  </a:lnTo>
                  <a:lnTo>
                    <a:pt x="270" y="1290"/>
                  </a:lnTo>
                  <a:lnTo>
                    <a:pt x="264" y="1284"/>
                  </a:lnTo>
                  <a:lnTo>
                    <a:pt x="264" y="1278"/>
                  </a:lnTo>
                  <a:lnTo>
                    <a:pt x="264" y="1272"/>
                  </a:lnTo>
                  <a:lnTo>
                    <a:pt x="264" y="1266"/>
                  </a:lnTo>
                  <a:lnTo>
                    <a:pt x="258" y="1266"/>
                  </a:lnTo>
                  <a:lnTo>
                    <a:pt x="252" y="1266"/>
                  </a:lnTo>
                  <a:lnTo>
                    <a:pt x="246" y="1260"/>
                  </a:lnTo>
                  <a:lnTo>
                    <a:pt x="240" y="1254"/>
                  </a:lnTo>
                  <a:lnTo>
                    <a:pt x="240" y="1260"/>
                  </a:lnTo>
                  <a:lnTo>
                    <a:pt x="240" y="1266"/>
                  </a:lnTo>
                  <a:lnTo>
                    <a:pt x="240" y="1272"/>
                  </a:lnTo>
                  <a:lnTo>
                    <a:pt x="246" y="1272"/>
                  </a:lnTo>
                  <a:lnTo>
                    <a:pt x="246" y="1278"/>
                  </a:lnTo>
                  <a:lnTo>
                    <a:pt x="246" y="1284"/>
                  </a:lnTo>
                  <a:lnTo>
                    <a:pt x="252" y="1284"/>
                  </a:lnTo>
                  <a:lnTo>
                    <a:pt x="252" y="1290"/>
                  </a:lnTo>
                  <a:lnTo>
                    <a:pt x="258" y="1296"/>
                  </a:lnTo>
                  <a:lnTo>
                    <a:pt x="264" y="1302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58" y="1314"/>
                  </a:lnTo>
                  <a:lnTo>
                    <a:pt x="258" y="1308"/>
                  </a:lnTo>
                  <a:lnTo>
                    <a:pt x="252" y="1308"/>
                  </a:lnTo>
                  <a:lnTo>
                    <a:pt x="252" y="1302"/>
                  </a:lnTo>
                  <a:lnTo>
                    <a:pt x="246" y="1302"/>
                  </a:lnTo>
                  <a:lnTo>
                    <a:pt x="246" y="1296"/>
                  </a:lnTo>
                  <a:lnTo>
                    <a:pt x="240" y="1296"/>
                  </a:lnTo>
                  <a:lnTo>
                    <a:pt x="240" y="1290"/>
                  </a:lnTo>
                  <a:lnTo>
                    <a:pt x="234" y="1284"/>
                  </a:lnTo>
                  <a:lnTo>
                    <a:pt x="234" y="1278"/>
                  </a:lnTo>
                  <a:close/>
                  <a:moveTo>
                    <a:pt x="444" y="1332"/>
                  </a:moveTo>
                  <a:lnTo>
                    <a:pt x="450" y="1326"/>
                  </a:lnTo>
                  <a:lnTo>
                    <a:pt x="456" y="1326"/>
                  </a:lnTo>
                  <a:lnTo>
                    <a:pt x="456" y="1332"/>
                  </a:lnTo>
                  <a:lnTo>
                    <a:pt x="456" y="1338"/>
                  </a:lnTo>
                  <a:lnTo>
                    <a:pt x="450" y="1338"/>
                  </a:lnTo>
                  <a:lnTo>
                    <a:pt x="444" y="1338"/>
                  </a:lnTo>
                  <a:lnTo>
                    <a:pt x="444" y="1332"/>
                  </a:lnTo>
                  <a:close/>
                  <a:moveTo>
                    <a:pt x="444" y="1368"/>
                  </a:moveTo>
                  <a:lnTo>
                    <a:pt x="456" y="1368"/>
                  </a:lnTo>
                  <a:lnTo>
                    <a:pt x="456" y="1374"/>
                  </a:lnTo>
                  <a:lnTo>
                    <a:pt x="444" y="1374"/>
                  </a:lnTo>
                  <a:lnTo>
                    <a:pt x="444" y="1368"/>
                  </a:lnTo>
                  <a:close/>
                  <a:moveTo>
                    <a:pt x="444" y="1386"/>
                  </a:moveTo>
                  <a:lnTo>
                    <a:pt x="444" y="1380"/>
                  </a:lnTo>
                  <a:lnTo>
                    <a:pt x="444" y="1374"/>
                  </a:lnTo>
                  <a:lnTo>
                    <a:pt x="444" y="1380"/>
                  </a:lnTo>
                  <a:lnTo>
                    <a:pt x="450" y="1380"/>
                  </a:lnTo>
                  <a:lnTo>
                    <a:pt x="456" y="1380"/>
                  </a:lnTo>
                  <a:lnTo>
                    <a:pt x="456" y="1386"/>
                  </a:lnTo>
                  <a:lnTo>
                    <a:pt x="456" y="1392"/>
                  </a:lnTo>
                  <a:lnTo>
                    <a:pt x="462" y="1392"/>
                  </a:lnTo>
                  <a:lnTo>
                    <a:pt x="462" y="1398"/>
                  </a:lnTo>
                  <a:lnTo>
                    <a:pt x="462" y="1404"/>
                  </a:lnTo>
                  <a:lnTo>
                    <a:pt x="456" y="1404"/>
                  </a:lnTo>
                  <a:lnTo>
                    <a:pt x="450" y="1404"/>
                  </a:lnTo>
                  <a:lnTo>
                    <a:pt x="450" y="1398"/>
                  </a:lnTo>
                  <a:lnTo>
                    <a:pt x="444" y="1398"/>
                  </a:lnTo>
                  <a:lnTo>
                    <a:pt x="444" y="1392"/>
                  </a:lnTo>
                  <a:lnTo>
                    <a:pt x="444" y="1386"/>
                  </a:lnTo>
                  <a:close/>
                  <a:moveTo>
                    <a:pt x="438" y="1362"/>
                  </a:moveTo>
                  <a:lnTo>
                    <a:pt x="444" y="1356"/>
                  </a:lnTo>
                  <a:lnTo>
                    <a:pt x="450" y="1356"/>
                  </a:lnTo>
                  <a:lnTo>
                    <a:pt x="450" y="1362"/>
                  </a:lnTo>
                  <a:lnTo>
                    <a:pt x="450" y="1368"/>
                  </a:lnTo>
                  <a:lnTo>
                    <a:pt x="444" y="1368"/>
                  </a:lnTo>
                  <a:lnTo>
                    <a:pt x="444" y="1362"/>
                  </a:lnTo>
                  <a:lnTo>
                    <a:pt x="438" y="1362"/>
                  </a:lnTo>
                  <a:close/>
                  <a:moveTo>
                    <a:pt x="438" y="1350"/>
                  </a:moveTo>
                  <a:lnTo>
                    <a:pt x="438" y="1344"/>
                  </a:lnTo>
                  <a:lnTo>
                    <a:pt x="438" y="1338"/>
                  </a:lnTo>
                  <a:lnTo>
                    <a:pt x="444" y="1338"/>
                  </a:lnTo>
                  <a:lnTo>
                    <a:pt x="450" y="1338"/>
                  </a:lnTo>
                  <a:lnTo>
                    <a:pt x="456" y="1338"/>
                  </a:lnTo>
                  <a:lnTo>
                    <a:pt x="450" y="1344"/>
                  </a:lnTo>
                  <a:lnTo>
                    <a:pt x="444" y="1350"/>
                  </a:lnTo>
                  <a:lnTo>
                    <a:pt x="438" y="1350"/>
                  </a:lnTo>
                  <a:close/>
                  <a:moveTo>
                    <a:pt x="432" y="1380"/>
                  </a:moveTo>
                  <a:lnTo>
                    <a:pt x="432" y="1368"/>
                  </a:lnTo>
                  <a:lnTo>
                    <a:pt x="432" y="1362"/>
                  </a:lnTo>
                  <a:lnTo>
                    <a:pt x="432" y="1356"/>
                  </a:lnTo>
                  <a:lnTo>
                    <a:pt x="438" y="1356"/>
                  </a:lnTo>
                  <a:lnTo>
                    <a:pt x="438" y="1362"/>
                  </a:lnTo>
                  <a:lnTo>
                    <a:pt x="438" y="1368"/>
                  </a:lnTo>
                  <a:lnTo>
                    <a:pt x="438" y="1374"/>
                  </a:lnTo>
                  <a:lnTo>
                    <a:pt x="438" y="1380"/>
                  </a:lnTo>
                  <a:lnTo>
                    <a:pt x="438" y="1386"/>
                  </a:lnTo>
                  <a:lnTo>
                    <a:pt x="438" y="1380"/>
                  </a:lnTo>
                  <a:lnTo>
                    <a:pt x="432" y="1380"/>
                  </a:lnTo>
                  <a:close/>
                  <a:moveTo>
                    <a:pt x="246" y="1272"/>
                  </a:moveTo>
                  <a:lnTo>
                    <a:pt x="252" y="1272"/>
                  </a:lnTo>
                  <a:lnTo>
                    <a:pt x="252" y="1278"/>
                  </a:lnTo>
                  <a:lnTo>
                    <a:pt x="246" y="1278"/>
                  </a:lnTo>
                  <a:lnTo>
                    <a:pt x="246" y="1272"/>
                  </a:lnTo>
                  <a:close/>
                  <a:moveTo>
                    <a:pt x="426" y="1416"/>
                  </a:moveTo>
                  <a:lnTo>
                    <a:pt x="432" y="1410"/>
                  </a:lnTo>
                  <a:lnTo>
                    <a:pt x="438" y="1410"/>
                  </a:lnTo>
                  <a:lnTo>
                    <a:pt x="438" y="1416"/>
                  </a:lnTo>
                  <a:lnTo>
                    <a:pt x="438" y="1422"/>
                  </a:lnTo>
                  <a:lnTo>
                    <a:pt x="432" y="1422"/>
                  </a:lnTo>
                  <a:lnTo>
                    <a:pt x="426" y="1422"/>
                  </a:lnTo>
                  <a:lnTo>
                    <a:pt x="426" y="1416"/>
                  </a:lnTo>
                  <a:close/>
                  <a:moveTo>
                    <a:pt x="246" y="1266"/>
                  </a:moveTo>
                  <a:lnTo>
                    <a:pt x="252" y="1266"/>
                  </a:lnTo>
                  <a:lnTo>
                    <a:pt x="258" y="1272"/>
                  </a:lnTo>
                  <a:lnTo>
                    <a:pt x="258" y="1278"/>
                  </a:lnTo>
                  <a:lnTo>
                    <a:pt x="258" y="1284"/>
                  </a:lnTo>
                  <a:lnTo>
                    <a:pt x="252" y="1284"/>
                  </a:lnTo>
                  <a:lnTo>
                    <a:pt x="252" y="1278"/>
                  </a:lnTo>
                  <a:lnTo>
                    <a:pt x="252" y="1272"/>
                  </a:lnTo>
                  <a:lnTo>
                    <a:pt x="252" y="1266"/>
                  </a:lnTo>
                  <a:lnTo>
                    <a:pt x="246" y="1266"/>
                  </a:lnTo>
                  <a:close/>
                  <a:moveTo>
                    <a:pt x="408" y="1458"/>
                  </a:moveTo>
                  <a:lnTo>
                    <a:pt x="408" y="1452"/>
                  </a:lnTo>
                  <a:lnTo>
                    <a:pt x="414" y="1452"/>
                  </a:lnTo>
                  <a:lnTo>
                    <a:pt x="414" y="1446"/>
                  </a:lnTo>
                  <a:lnTo>
                    <a:pt x="414" y="1440"/>
                  </a:lnTo>
                  <a:lnTo>
                    <a:pt x="420" y="1440"/>
                  </a:lnTo>
                  <a:lnTo>
                    <a:pt x="420" y="1434"/>
                  </a:lnTo>
                  <a:lnTo>
                    <a:pt x="420" y="1428"/>
                  </a:lnTo>
                  <a:lnTo>
                    <a:pt x="420" y="1422"/>
                  </a:lnTo>
                  <a:lnTo>
                    <a:pt x="426" y="1422"/>
                  </a:lnTo>
                  <a:lnTo>
                    <a:pt x="432" y="1428"/>
                  </a:lnTo>
                  <a:lnTo>
                    <a:pt x="438" y="1428"/>
                  </a:lnTo>
                  <a:lnTo>
                    <a:pt x="438" y="1434"/>
                  </a:lnTo>
                  <a:lnTo>
                    <a:pt x="438" y="1428"/>
                  </a:lnTo>
                  <a:lnTo>
                    <a:pt x="438" y="1422"/>
                  </a:lnTo>
                  <a:lnTo>
                    <a:pt x="444" y="1416"/>
                  </a:lnTo>
                  <a:lnTo>
                    <a:pt x="444" y="1410"/>
                  </a:lnTo>
                  <a:lnTo>
                    <a:pt x="450" y="1416"/>
                  </a:lnTo>
                  <a:lnTo>
                    <a:pt x="456" y="1416"/>
                  </a:lnTo>
                  <a:lnTo>
                    <a:pt x="456" y="1422"/>
                  </a:lnTo>
                  <a:lnTo>
                    <a:pt x="456" y="1428"/>
                  </a:lnTo>
                  <a:lnTo>
                    <a:pt x="456" y="1434"/>
                  </a:lnTo>
                  <a:lnTo>
                    <a:pt x="456" y="1440"/>
                  </a:lnTo>
                  <a:lnTo>
                    <a:pt x="462" y="1440"/>
                  </a:lnTo>
                  <a:lnTo>
                    <a:pt x="462" y="1446"/>
                  </a:lnTo>
                  <a:lnTo>
                    <a:pt x="462" y="1452"/>
                  </a:lnTo>
                  <a:lnTo>
                    <a:pt x="456" y="1452"/>
                  </a:lnTo>
                  <a:lnTo>
                    <a:pt x="450" y="1452"/>
                  </a:lnTo>
                  <a:lnTo>
                    <a:pt x="444" y="1446"/>
                  </a:lnTo>
                  <a:lnTo>
                    <a:pt x="444" y="1452"/>
                  </a:lnTo>
                  <a:lnTo>
                    <a:pt x="450" y="1452"/>
                  </a:lnTo>
                  <a:lnTo>
                    <a:pt x="450" y="1458"/>
                  </a:lnTo>
                  <a:lnTo>
                    <a:pt x="444" y="1458"/>
                  </a:lnTo>
                  <a:lnTo>
                    <a:pt x="438" y="1464"/>
                  </a:lnTo>
                  <a:lnTo>
                    <a:pt x="438" y="1458"/>
                  </a:lnTo>
                  <a:lnTo>
                    <a:pt x="432" y="1458"/>
                  </a:lnTo>
                  <a:lnTo>
                    <a:pt x="426" y="1458"/>
                  </a:lnTo>
                  <a:lnTo>
                    <a:pt x="432" y="1458"/>
                  </a:lnTo>
                  <a:lnTo>
                    <a:pt x="438" y="1464"/>
                  </a:lnTo>
                  <a:lnTo>
                    <a:pt x="432" y="1464"/>
                  </a:lnTo>
                  <a:lnTo>
                    <a:pt x="432" y="1470"/>
                  </a:lnTo>
                  <a:lnTo>
                    <a:pt x="426" y="1470"/>
                  </a:lnTo>
                  <a:lnTo>
                    <a:pt x="420" y="1476"/>
                  </a:lnTo>
                  <a:lnTo>
                    <a:pt x="420" y="1470"/>
                  </a:lnTo>
                  <a:lnTo>
                    <a:pt x="414" y="1470"/>
                  </a:lnTo>
                  <a:lnTo>
                    <a:pt x="414" y="1464"/>
                  </a:lnTo>
                  <a:lnTo>
                    <a:pt x="414" y="1458"/>
                  </a:lnTo>
                  <a:lnTo>
                    <a:pt x="408" y="1458"/>
                  </a:lnTo>
                  <a:close/>
                  <a:moveTo>
                    <a:pt x="270" y="1326"/>
                  </a:moveTo>
                  <a:lnTo>
                    <a:pt x="270" y="1320"/>
                  </a:lnTo>
                  <a:lnTo>
                    <a:pt x="276" y="1320"/>
                  </a:lnTo>
                  <a:lnTo>
                    <a:pt x="282" y="1326"/>
                  </a:lnTo>
                  <a:lnTo>
                    <a:pt x="288" y="1326"/>
                  </a:lnTo>
                  <a:lnTo>
                    <a:pt x="288" y="1332"/>
                  </a:lnTo>
                  <a:lnTo>
                    <a:pt x="288" y="1338"/>
                  </a:lnTo>
                  <a:lnTo>
                    <a:pt x="288" y="1344"/>
                  </a:lnTo>
                  <a:lnTo>
                    <a:pt x="282" y="1344"/>
                  </a:lnTo>
                  <a:lnTo>
                    <a:pt x="282" y="1338"/>
                  </a:lnTo>
                  <a:lnTo>
                    <a:pt x="276" y="1338"/>
                  </a:lnTo>
                  <a:lnTo>
                    <a:pt x="276" y="1332"/>
                  </a:lnTo>
                  <a:lnTo>
                    <a:pt x="270" y="1332"/>
                  </a:lnTo>
                  <a:lnTo>
                    <a:pt x="270" y="1326"/>
                  </a:lnTo>
                  <a:close/>
                  <a:moveTo>
                    <a:pt x="288" y="1458"/>
                  </a:moveTo>
                  <a:lnTo>
                    <a:pt x="294" y="1458"/>
                  </a:lnTo>
                  <a:lnTo>
                    <a:pt x="294" y="1452"/>
                  </a:lnTo>
                  <a:lnTo>
                    <a:pt x="294" y="1446"/>
                  </a:lnTo>
                  <a:lnTo>
                    <a:pt x="300" y="1446"/>
                  </a:lnTo>
                  <a:lnTo>
                    <a:pt x="300" y="1440"/>
                  </a:lnTo>
                  <a:lnTo>
                    <a:pt x="306" y="1440"/>
                  </a:lnTo>
                  <a:lnTo>
                    <a:pt x="306" y="1446"/>
                  </a:lnTo>
                  <a:lnTo>
                    <a:pt x="312" y="1452"/>
                  </a:lnTo>
                  <a:lnTo>
                    <a:pt x="306" y="1452"/>
                  </a:lnTo>
                  <a:lnTo>
                    <a:pt x="306" y="1458"/>
                  </a:lnTo>
                  <a:lnTo>
                    <a:pt x="312" y="1464"/>
                  </a:lnTo>
                  <a:lnTo>
                    <a:pt x="306" y="1464"/>
                  </a:lnTo>
                  <a:lnTo>
                    <a:pt x="306" y="1470"/>
                  </a:lnTo>
                  <a:lnTo>
                    <a:pt x="300" y="1476"/>
                  </a:lnTo>
                  <a:lnTo>
                    <a:pt x="294" y="1476"/>
                  </a:lnTo>
                  <a:lnTo>
                    <a:pt x="294" y="1470"/>
                  </a:lnTo>
                  <a:lnTo>
                    <a:pt x="288" y="1470"/>
                  </a:lnTo>
                  <a:lnTo>
                    <a:pt x="288" y="1464"/>
                  </a:lnTo>
                  <a:lnTo>
                    <a:pt x="288" y="1458"/>
                  </a:lnTo>
                  <a:close/>
                  <a:moveTo>
                    <a:pt x="270" y="1296"/>
                  </a:moveTo>
                  <a:lnTo>
                    <a:pt x="276" y="1296"/>
                  </a:lnTo>
                  <a:lnTo>
                    <a:pt x="282" y="1296"/>
                  </a:lnTo>
                  <a:lnTo>
                    <a:pt x="288" y="1296"/>
                  </a:lnTo>
                  <a:lnTo>
                    <a:pt x="288" y="1302"/>
                  </a:lnTo>
                  <a:lnTo>
                    <a:pt x="282" y="1308"/>
                  </a:lnTo>
                  <a:lnTo>
                    <a:pt x="276" y="1308"/>
                  </a:lnTo>
                  <a:lnTo>
                    <a:pt x="276" y="1302"/>
                  </a:lnTo>
                  <a:lnTo>
                    <a:pt x="270" y="12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4" name="Freeform 19">
              <a:extLst>
                <a:ext uri="{FF2B5EF4-FFF2-40B4-BE49-F238E27FC236}">
                  <a16:creationId xmlns:a16="http://schemas.microsoft.com/office/drawing/2014/main" id="{5B9020B8-E1C1-4611-A248-9642BBD69C95}"/>
                </a:ext>
              </a:extLst>
            </p:cNvPr>
            <p:cNvSpPr>
              <a:spLocks/>
            </p:cNvSpPr>
            <p:nvPr/>
          </p:nvSpPr>
          <p:spPr bwMode="gray">
            <a:xfrm>
              <a:off x="2217043" y="3765821"/>
              <a:ext cx="333193" cy="398097"/>
            </a:xfrm>
            <a:custGeom>
              <a:avLst/>
              <a:gdLst>
                <a:gd name="T0" fmla="*/ 30 w 624"/>
                <a:gd name="T1" fmla="*/ 61 h 750"/>
                <a:gd name="T2" fmla="*/ 27 w 624"/>
                <a:gd name="T3" fmla="*/ 62 h 750"/>
                <a:gd name="T4" fmla="*/ 23 w 624"/>
                <a:gd name="T5" fmla="*/ 59 h 750"/>
                <a:gd name="T6" fmla="*/ 20 w 624"/>
                <a:gd name="T7" fmla="*/ 58 h 750"/>
                <a:gd name="T8" fmla="*/ 19 w 624"/>
                <a:gd name="T9" fmla="*/ 56 h 750"/>
                <a:gd name="T10" fmla="*/ 17 w 624"/>
                <a:gd name="T11" fmla="*/ 55 h 750"/>
                <a:gd name="T12" fmla="*/ 16 w 624"/>
                <a:gd name="T13" fmla="*/ 51 h 750"/>
                <a:gd name="T14" fmla="*/ 14 w 624"/>
                <a:gd name="T15" fmla="*/ 48 h 750"/>
                <a:gd name="T16" fmla="*/ 12 w 624"/>
                <a:gd name="T17" fmla="*/ 46 h 750"/>
                <a:gd name="T18" fmla="*/ 12 w 624"/>
                <a:gd name="T19" fmla="*/ 44 h 750"/>
                <a:gd name="T20" fmla="*/ 11 w 624"/>
                <a:gd name="T21" fmla="*/ 41 h 750"/>
                <a:gd name="T22" fmla="*/ 8 w 624"/>
                <a:gd name="T23" fmla="*/ 38 h 750"/>
                <a:gd name="T24" fmla="*/ 6 w 624"/>
                <a:gd name="T25" fmla="*/ 38 h 750"/>
                <a:gd name="T26" fmla="*/ 6 w 624"/>
                <a:gd name="T27" fmla="*/ 35 h 750"/>
                <a:gd name="T28" fmla="*/ 7 w 624"/>
                <a:gd name="T29" fmla="*/ 31 h 750"/>
                <a:gd name="T30" fmla="*/ 10 w 624"/>
                <a:gd name="T31" fmla="*/ 27 h 750"/>
                <a:gd name="T32" fmla="*/ 8 w 624"/>
                <a:gd name="T33" fmla="*/ 23 h 750"/>
                <a:gd name="T34" fmla="*/ 6 w 624"/>
                <a:gd name="T35" fmla="*/ 23 h 750"/>
                <a:gd name="T36" fmla="*/ 3 w 624"/>
                <a:gd name="T37" fmla="*/ 22 h 750"/>
                <a:gd name="T38" fmla="*/ 0 w 624"/>
                <a:gd name="T39" fmla="*/ 22 h 750"/>
                <a:gd name="T40" fmla="*/ 0 w 624"/>
                <a:gd name="T41" fmla="*/ 19 h 750"/>
                <a:gd name="T42" fmla="*/ 1 w 624"/>
                <a:gd name="T43" fmla="*/ 18 h 750"/>
                <a:gd name="T44" fmla="*/ 2 w 624"/>
                <a:gd name="T45" fmla="*/ 14 h 750"/>
                <a:gd name="T46" fmla="*/ 4 w 624"/>
                <a:gd name="T47" fmla="*/ 17 h 750"/>
                <a:gd name="T48" fmla="*/ 6 w 624"/>
                <a:gd name="T49" fmla="*/ 17 h 750"/>
                <a:gd name="T50" fmla="*/ 7 w 624"/>
                <a:gd name="T51" fmla="*/ 17 h 750"/>
                <a:gd name="T52" fmla="*/ 9 w 624"/>
                <a:gd name="T53" fmla="*/ 15 h 750"/>
                <a:gd name="T54" fmla="*/ 10 w 624"/>
                <a:gd name="T55" fmla="*/ 14 h 750"/>
                <a:gd name="T56" fmla="*/ 11 w 624"/>
                <a:gd name="T57" fmla="*/ 12 h 750"/>
                <a:gd name="T58" fmla="*/ 13 w 624"/>
                <a:gd name="T59" fmla="*/ 12 h 750"/>
                <a:gd name="T60" fmla="*/ 18 w 624"/>
                <a:gd name="T61" fmla="*/ 10 h 750"/>
                <a:gd name="T62" fmla="*/ 22 w 624"/>
                <a:gd name="T63" fmla="*/ 4 h 750"/>
                <a:gd name="T64" fmla="*/ 24 w 624"/>
                <a:gd name="T65" fmla="*/ 4 h 750"/>
                <a:gd name="T66" fmla="*/ 26 w 624"/>
                <a:gd name="T67" fmla="*/ 2 h 750"/>
                <a:gd name="T68" fmla="*/ 29 w 624"/>
                <a:gd name="T69" fmla="*/ 0 h 750"/>
                <a:gd name="T70" fmla="*/ 32 w 624"/>
                <a:gd name="T71" fmla="*/ 2 h 750"/>
                <a:gd name="T72" fmla="*/ 34 w 624"/>
                <a:gd name="T73" fmla="*/ 5 h 750"/>
                <a:gd name="T74" fmla="*/ 35 w 624"/>
                <a:gd name="T75" fmla="*/ 8 h 750"/>
                <a:gd name="T76" fmla="*/ 39 w 624"/>
                <a:gd name="T77" fmla="*/ 11 h 750"/>
                <a:gd name="T78" fmla="*/ 42 w 624"/>
                <a:gd name="T79" fmla="*/ 14 h 750"/>
                <a:gd name="T80" fmla="*/ 46 w 624"/>
                <a:gd name="T81" fmla="*/ 12 h 750"/>
                <a:gd name="T82" fmla="*/ 49 w 624"/>
                <a:gd name="T83" fmla="*/ 12 h 750"/>
                <a:gd name="T84" fmla="*/ 51 w 624"/>
                <a:gd name="T85" fmla="*/ 12 h 750"/>
                <a:gd name="T86" fmla="*/ 53 w 624"/>
                <a:gd name="T87" fmla="*/ 12 h 750"/>
                <a:gd name="T88" fmla="*/ 53 w 624"/>
                <a:gd name="T89" fmla="*/ 17 h 750"/>
                <a:gd name="T90" fmla="*/ 51 w 624"/>
                <a:gd name="T91" fmla="*/ 20 h 750"/>
                <a:gd name="T92" fmla="*/ 49 w 624"/>
                <a:gd name="T93" fmla="*/ 26 h 750"/>
                <a:gd name="T94" fmla="*/ 47 w 624"/>
                <a:gd name="T95" fmla="*/ 26 h 750"/>
                <a:gd name="T96" fmla="*/ 44 w 624"/>
                <a:gd name="T97" fmla="*/ 26 h 750"/>
                <a:gd name="T98" fmla="*/ 43 w 624"/>
                <a:gd name="T99" fmla="*/ 27 h 750"/>
                <a:gd name="T100" fmla="*/ 45 w 624"/>
                <a:gd name="T101" fmla="*/ 32 h 750"/>
                <a:gd name="T102" fmla="*/ 44 w 624"/>
                <a:gd name="T103" fmla="*/ 43 h 750"/>
                <a:gd name="T104" fmla="*/ 44 w 624"/>
                <a:gd name="T105" fmla="*/ 47 h 750"/>
                <a:gd name="T106" fmla="*/ 44 w 624"/>
                <a:gd name="T107" fmla="*/ 54 h 750"/>
                <a:gd name="T108" fmla="*/ 41 w 624"/>
                <a:gd name="T109" fmla="*/ 60 h 750"/>
                <a:gd name="T110" fmla="*/ 42 w 624"/>
                <a:gd name="T111" fmla="*/ 62 h 750"/>
                <a:gd name="T112" fmla="*/ 43 w 624"/>
                <a:gd name="T113" fmla="*/ 65 h 750"/>
                <a:gd name="T114" fmla="*/ 39 w 624"/>
                <a:gd name="T115" fmla="*/ 63 h 750"/>
                <a:gd name="T116" fmla="*/ 35 w 624"/>
                <a:gd name="T117" fmla="*/ 62 h 75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24"/>
                <a:gd name="T178" fmla="*/ 0 h 750"/>
                <a:gd name="T179" fmla="*/ 624 w 624"/>
                <a:gd name="T180" fmla="*/ 750 h 75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24" h="750">
                  <a:moveTo>
                    <a:pt x="390" y="702"/>
                  </a:moveTo>
                  <a:lnTo>
                    <a:pt x="372" y="696"/>
                  </a:lnTo>
                  <a:lnTo>
                    <a:pt x="360" y="702"/>
                  </a:lnTo>
                  <a:lnTo>
                    <a:pt x="348" y="702"/>
                  </a:lnTo>
                  <a:lnTo>
                    <a:pt x="336" y="702"/>
                  </a:lnTo>
                  <a:lnTo>
                    <a:pt x="330" y="702"/>
                  </a:lnTo>
                  <a:lnTo>
                    <a:pt x="318" y="708"/>
                  </a:lnTo>
                  <a:lnTo>
                    <a:pt x="306" y="708"/>
                  </a:lnTo>
                  <a:lnTo>
                    <a:pt x="294" y="690"/>
                  </a:lnTo>
                  <a:lnTo>
                    <a:pt x="294" y="684"/>
                  </a:lnTo>
                  <a:lnTo>
                    <a:pt x="276" y="684"/>
                  </a:lnTo>
                  <a:lnTo>
                    <a:pt x="270" y="678"/>
                  </a:lnTo>
                  <a:lnTo>
                    <a:pt x="240" y="672"/>
                  </a:lnTo>
                  <a:lnTo>
                    <a:pt x="234" y="672"/>
                  </a:lnTo>
                  <a:lnTo>
                    <a:pt x="228" y="672"/>
                  </a:lnTo>
                  <a:lnTo>
                    <a:pt x="228" y="666"/>
                  </a:lnTo>
                  <a:lnTo>
                    <a:pt x="222" y="666"/>
                  </a:lnTo>
                  <a:lnTo>
                    <a:pt x="216" y="660"/>
                  </a:lnTo>
                  <a:lnTo>
                    <a:pt x="216" y="654"/>
                  </a:lnTo>
                  <a:lnTo>
                    <a:pt x="216" y="642"/>
                  </a:lnTo>
                  <a:lnTo>
                    <a:pt x="210" y="642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2" y="636"/>
                  </a:lnTo>
                  <a:lnTo>
                    <a:pt x="192" y="624"/>
                  </a:lnTo>
                  <a:lnTo>
                    <a:pt x="186" y="612"/>
                  </a:lnTo>
                  <a:lnTo>
                    <a:pt x="186" y="600"/>
                  </a:lnTo>
                  <a:lnTo>
                    <a:pt x="186" y="588"/>
                  </a:lnTo>
                  <a:lnTo>
                    <a:pt x="180" y="582"/>
                  </a:lnTo>
                  <a:lnTo>
                    <a:pt x="180" y="570"/>
                  </a:lnTo>
                  <a:lnTo>
                    <a:pt x="174" y="558"/>
                  </a:lnTo>
                  <a:lnTo>
                    <a:pt x="162" y="558"/>
                  </a:lnTo>
                  <a:lnTo>
                    <a:pt x="144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38" y="534"/>
                  </a:lnTo>
                  <a:lnTo>
                    <a:pt x="138" y="528"/>
                  </a:lnTo>
                  <a:lnTo>
                    <a:pt x="132" y="522"/>
                  </a:lnTo>
                  <a:lnTo>
                    <a:pt x="144" y="522"/>
                  </a:lnTo>
                  <a:lnTo>
                    <a:pt x="144" y="510"/>
                  </a:lnTo>
                  <a:lnTo>
                    <a:pt x="144" y="504"/>
                  </a:lnTo>
                  <a:lnTo>
                    <a:pt x="138" y="492"/>
                  </a:lnTo>
                  <a:lnTo>
                    <a:pt x="138" y="474"/>
                  </a:lnTo>
                  <a:lnTo>
                    <a:pt x="126" y="468"/>
                  </a:lnTo>
                  <a:lnTo>
                    <a:pt x="120" y="456"/>
                  </a:lnTo>
                  <a:lnTo>
                    <a:pt x="114" y="450"/>
                  </a:lnTo>
                  <a:lnTo>
                    <a:pt x="108" y="438"/>
                  </a:lnTo>
                  <a:lnTo>
                    <a:pt x="96" y="432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60" y="426"/>
                  </a:lnTo>
                  <a:lnTo>
                    <a:pt x="66" y="420"/>
                  </a:lnTo>
                  <a:lnTo>
                    <a:pt x="66" y="408"/>
                  </a:lnTo>
                  <a:lnTo>
                    <a:pt x="72" y="408"/>
                  </a:lnTo>
                  <a:lnTo>
                    <a:pt x="72" y="384"/>
                  </a:lnTo>
                  <a:lnTo>
                    <a:pt x="72" y="366"/>
                  </a:lnTo>
                  <a:lnTo>
                    <a:pt x="78" y="354"/>
                  </a:lnTo>
                  <a:lnTo>
                    <a:pt x="84" y="354"/>
                  </a:lnTo>
                  <a:lnTo>
                    <a:pt x="90" y="348"/>
                  </a:lnTo>
                  <a:lnTo>
                    <a:pt x="102" y="336"/>
                  </a:lnTo>
                  <a:lnTo>
                    <a:pt x="114" y="324"/>
                  </a:lnTo>
                  <a:lnTo>
                    <a:pt x="120" y="312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20" y="276"/>
                  </a:lnTo>
                  <a:lnTo>
                    <a:pt x="96" y="270"/>
                  </a:lnTo>
                  <a:lnTo>
                    <a:pt x="84" y="270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72" y="264"/>
                  </a:lnTo>
                  <a:lnTo>
                    <a:pt x="60" y="252"/>
                  </a:lnTo>
                  <a:lnTo>
                    <a:pt x="42" y="252"/>
                  </a:lnTo>
                  <a:lnTo>
                    <a:pt x="42" y="258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18" y="252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42" y="156"/>
                  </a:lnTo>
                  <a:lnTo>
                    <a:pt x="48" y="198"/>
                  </a:lnTo>
                  <a:lnTo>
                    <a:pt x="48" y="204"/>
                  </a:lnTo>
                  <a:lnTo>
                    <a:pt x="54" y="198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204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2"/>
                  </a:lnTo>
                  <a:lnTo>
                    <a:pt x="84" y="192"/>
                  </a:lnTo>
                  <a:lnTo>
                    <a:pt x="90" y="192"/>
                  </a:lnTo>
                  <a:lnTo>
                    <a:pt x="96" y="186"/>
                  </a:lnTo>
                  <a:lnTo>
                    <a:pt x="102" y="180"/>
                  </a:lnTo>
                  <a:lnTo>
                    <a:pt x="102" y="174"/>
                  </a:lnTo>
                  <a:lnTo>
                    <a:pt x="108" y="168"/>
                  </a:lnTo>
                  <a:lnTo>
                    <a:pt x="108" y="162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0"/>
                  </a:lnTo>
                  <a:lnTo>
                    <a:pt x="132" y="144"/>
                  </a:lnTo>
                  <a:lnTo>
                    <a:pt x="138" y="138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0" y="132"/>
                  </a:lnTo>
                  <a:lnTo>
                    <a:pt x="150" y="126"/>
                  </a:lnTo>
                  <a:lnTo>
                    <a:pt x="156" y="126"/>
                  </a:lnTo>
                  <a:lnTo>
                    <a:pt x="174" y="126"/>
                  </a:lnTo>
                  <a:lnTo>
                    <a:pt x="204" y="120"/>
                  </a:lnTo>
                  <a:lnTo>
                    <a:pt x="210" y="78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54"/>
                  </a:lnTo>
                  <a:lnTo>
                    <a:pt x="276" y="54"/>
                  </a:lnTo>
                  <a:lnTo>
                    <a:pt x="276" y="48"/>
                  </a:lnTo>
                  <a:lnTo>
                    <a:pt x="282" y="48"/>
                  </a:lnTo>
                  <a:lnTo>
                    <a:pt x="288" y="42"/>
                  </a:lnTo>
                  <a:lnTo>
                    <a:pt x="294" y="42"/>
                  </a:lnTo>
                  <a:lnTo>
                    <a:pt x="294" y="18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0"/>
                  </a:lnTo>
                  <a:lnTo>
                    <a:pt x="336" y="0"/>
                  </a:lnTo>
                  <a:lnTo>
                    <a:pt x="342" y="0"/>
                  </a:lnTo>
                  <a:lnTo>
                    <a:pt x="354" y="6"/>
                  </a:lnTo>
                  <a:lnTo>
                    <a:pt x="366" y="18"/>
                  </a:lnTo>
                  <a:lnTo>
                    <a:pt x="378" y="36"/>
                  </a:lnTo>
                  <a:lnTo>
                    <a:pt x="390" y="42"/>
                  </a:lnTo>
                  <a:lnTo>
                    <a:pt x="390" y="48"/>
                  </a:lnTo>
                  <a:lnTo>
                    <a:pt x="396" y="60"/>
                  </a:lnTo>
                  <a:lnTo>
                    <a:pt x="402" y="72"/>
                  </a:lnTo>
                  <a:lnTo>
                    <a:pt x="408" y="78"/>
                  </a:lnTo>
                  <a:lnTo>
                    <a:pt x="402" y="84"/>
                  </a:lnTo>
                  <a:lnTo>
                    <a:pt x="408" y="90"/>
                  </a:lnTo>
                  <a:lnTo>
                    <a:pt x="414" y="102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50" y="126"/>
                  </a:lnTo>
                  <a:lnTo>
                    <a:pt x="456" y="126"/>
                  </a:lnTo>
                  <a:lnTo>
                    <a:pt x="462" y="144"/>
                  </a:lnTo>
                  <a:lnTo>
                    <a:pt x="480" y="156"/>
                  </a:lnTo>
                  <a:lnTo>
                    <a:pt x="492" y="156"/>
                  </a:lnTo>
                  <a:lnTo>
                    <a:pt x="516" y="150"/>
                  </a:lnTo>
                  <a:lnTo>
                    <a:pt x="516" y="144"/>
                  </a:lnTo>
                  <a:lnTo>
                    <a:pt x="516" y="138"/>
                  </a:lnTo>
                  <a:lnTo>
                    <a:pt x="528" y="138"/>
                  </a:lnTo>
                  <a:lnTo>
                    <a:pt x="546" y="144"/>
                  </a:lnTo>
                  <a:lnTo>
                    <a:pt x="546" y="138"/>
                  </a:lnTo>
                  <a:lnTo>
                    <a:pt x="552" y="138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76" y="138"/>
                  </a:lnTo>
                  <a:lnTo>
                    <a:pt x="582" y="138"/>
                  </a:lnTo>
                  <a:lnTo>
                    <a:pt x="588" y="138"/>
                  </a:lnTo>
                  <a:lnTo>
                    <a:pt x="594" y="138"/>
                  </a:lnTo>
                  <a:lnTo>
                    <a:pt x="594" y="144"/>
                  </a:lnTo>
                  <a:lnTo>
                    <a:pt x="600" y="138"/>
                  </a:lnTo>
                  <a:lnTo>
                    <a:pt x="606" y="138"/>
                  </a:lnTo>
                  <a:lnTo>
                    <a:pt x="606" y="144"/>
                  </a:lnTo>
                  <a:lnTo>
                    <a:pt x="612" y="144"/>
                  </a:lnTo>
                  <a:lnTo>
                    <a:pt x="618" y="156"/>
                  </a:lnTo>
                  <a:lnTo>
                    <a:pt x="612" y="198"/>
                  </a:lnTo>
                  <a:lnTo>
                    <a:pt x="624" y="198"/>
                  </a:lnTo>
                  <a:lnTo>
                    <a:pt x="624" y="204"/>
                  </a:lnTo>
                  <a:lnTo>
                    <a:pt x="612" y="216"/>
                  </a:lnTo>
                  <a:lnTo>
                    <a:pt x="594" y="234"/>
                  </a:lnTo>
                  <a:lnTo>
                    <a:pt x="588" y="252"/>
                  </a:lnTo>
                  <a:lnTo>
                    <a:pt x="576" y="270"/>
                  </a:lnTo>
                  <a:lnTo>
                    <a:pt x="564" y="282"/>
                  </a:lnTo>
                  <a:lnTo>
                    <a:pt x="564" y="294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8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34" y="294"/>
                  </a:lnTo>
                  <a:lnTo>
                    <a:pt x="522" y="300"/>
                  </a:lnTo>
                  <a:lnTo>
                    <a:pt x="510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498" y="324"/>
                  </a:lnTo>
                  <a:lnTo>
                    <a:pt x="504" y="336"/>
                  </a:lnTo>
                  <a:lnTo>
                    <a:pt x="510" y="348"/>
                  </a:lnTo>
                  <a:lnTo>
                    <a:pt x="516" y="366"/>
                  </a:lnTo>
                  <a:lnTo>
                    <a:pt x="522" y="432"/>
                  </a:lnTo>
                  <a:lnTo>
                    <a:pt x="522" y="456"/>
                  </a:lnTo>
                  <a:lnTo>
                    <a:pt x="504" y="492"/>
                  </a:lnTo>
                  <a:lnTo>
                    <a:pt x="504" y="498"/>
                  </a:lnTo>
                  <a:lnTo>
                    <a:pt x="498" y="504"/>
                  </a:lnTo>
                  <a:lnTo>
                    <a:pt x="498" y="522"/>
                  </a:lnTo>
                  <a:lnTo>
                    <a:pt x="504" y="534"/>
                  </a:lnTo>
                  <a:lnTo>
                    <a:pt x="510" y="546"/>
                  </a:lnTo>
                  <a:lnTo>
                    <a:pt x="516" y="558"/>
                  </a:lnTo>
                  <a:lnTo>
                    <a:pt x="516" y="588"/>
                  </a:lnTo>
                  <a:lnTo>
                    <a:pt x="516" y="600"/>
                  </a:lnTo>
                  <a:lnTo>
                    <a:pt x="510" y="618"/>
                  </a:lnTo>
                  <a:lnTo>
                    <a:pt x="504" y="636"/>
                  </a:lnTo>
                  <a:lnTo>
                    <a:pt x="504" y="642"/>
                  </a:lnTo>
                  <a:lnTo>
                    <a:pt x="474" y="654"/>
                  </a:lnTo>
                  <a:lnTo>
                    <a:pt x="474" y="690"/>
                  </a:lnTo>
                  <a:lnTo>
                    <a:pt x="474" y="696"/>
                  </a:lnTo>
                  <a:lnTo>
                    <a:pt x="480" y="702"/>
                  </a:lnTo>
                  <a:lnTo>
                    <a:pt x="486" y="708"/>
                  </a:lnTo>
                  <a:lnTo>
                    <a:pt x="492" y="708"/>
                  </a:lnTo>
                  <a:lnTo>
                    <a:pt x="498" y="726"/>
                  </a:lnTo>
                  <a:lnTo>
                    <a:pt x="504" y="726"/>
                  </a:lnTo>
                  <a:lnTo>
                    <a:pt x="504" y="738"/>
                  </a:lnTo>
                  <a:lnTo>
                    <a:pt x="498" y="744"/>
                  </a:lnTo>
                  <a:lnTo>
                    <a:pt x="486" y="750"/>
                  </a:lnTo>
                  <a:lnTo>
                    <a:pt x="474" y="744"/>
                  </a:lnTo>
                  <a:lnTo>
                    <a:pt x="462" y="744"/>
                  </a:lnTo>
                  <a:lnTo>
                    <a:pt x="456" y="732"/>
                  </a:lnTo>
                  <a:lnTo>
                    <a:pt x="444" y="732"/>
                  </a:lnTo>
                  <a:lnTo>
                    <a:pt x="432" y="726"/>
                  </a:lnTo>
                  <a:lnTo>
                    <a:pt x="420" y="720"/>
                  </a:lnTo>
                  <a:lnTo>
                    <a:pt x="408" y="708"/>
                  </a:lnTo>
                  <a:lnTo>
                    <a:pt x="402" y="708"/>
                  </a:lnTo>
                  <a:lnTo>
                    <a:pt x="390" y="70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5" name="Freeform 20">
              <a:extLst>
                <a:ext uri="{FF2B5EF4-FFF2-40B4-BE49-F238E27FC236}">
                  <a16:creationId xmlns:a16="http://schemas.microsoft.com/office/drawing/2014/main" id="{B8342C3B-ECEC-465F-AAFF-4815B8AC3926}"/>
                </a:ext>
              </a:extLst>
            </p:cNvPr>
            <p:cNvSpPr>
              <a:spLocks/>
            </p:cNvSpPr>
            <p:nvPr/>
          </p:nvSpPr>
          <p:spPr bwMode="gray">
            <a:xfrm>
              <a:off x="2425009" y="3870937"/>
              <a:ext cx="313067" cy="377968"/>
            </a:xfrm>
            <a:custGeom>
              <a:avLst/>
              <a:gdLst>
                <a:gd name="T0" fmla="*/ 15 w 588"/>
                <a:gd name="T1" fmla="*/ 59 h 714"/>
                <a:gd name="T2" fmla="*/ 14 w 588"/>
                <a:gd name="T3" fmla="*/ 58 h 714"/>
                <a:gd name="T4" fmla="*/ 9 w 588"/>
                <a:gd name="T5" fmla="*/ 54 h 714"/>
                <a:gd name="T6" fmla="*/ 4 w 588"/>
                <a:gd name="T7" fmla="*/ 54 h 714"/>
                <a:gd name="T8" fmla="*/ 0 w 588"/>
                <a:gd name="T9" fmla="*/ 50 h 714"/>
                <a:gd name="T10" fmla="*/ 0 w 588"/>
                <a:gd name="T11" fmla="*/ 44 h 714"/>
                <a:gd name="T12" fmla="*/ 4 w 588"/>
                <a:gd name="T13" fmla="*/ 46 h 714"/>
                <a:gd name="T14" fmla="*/ 7 w 588"/>
                <a:gd name="T15" fmla="*/ 47 h 714"/>
                <a:gd name="T16" fmla="*/ 10 w 588"/>
                <a:gd name="T17" fmla="*/ 46 h 714"/>
                <a:gd name="T18" fmla="*/ 8 w 588"/>
                <a:gd name="T19" fmla="*/ 44 h 714"/>
                <a:gd name="T20" fmla="*/ 10 w 588"/>
                <a:gd name="T21" fmla="*/ 39 h 714"/>
                <a:gd name="T22" fmla="*/ 11 w 588"/>
                <a:gd name="T23" fmla="*/ 34 h 714"/>
                <a:gd name="T24" fmla="*/ 9 w 588"/>
                <a:gd name="T25" fmla="*/ 28 h 714"/>
                <a:gd name="T26" fmla="*/ 11 w 588"/>
                <a:gd name="T27" fmla="*/ 22 h 714"/>
                <a:gd name="T28" fmla="*/ 10 w 588"/>
                <a:gd name="T29" fmla="*/ 12 h 714"/>
                <a:gd name="T30" fmla="*/ 9 w 588"/>
                <a:gd name="T31" fmla="*/ 9 h 714"/>
                <a:gd name="T32" fmla="*/ 12 w 588"/>
                <a:gd name="T33" fmla="*/ 8 h 714"/>
                <a:gd name="T34" fmla="*/ 14 w 588"/>
                <a:gd name="T35" fmla="*/ 7 h 714"/>
                <a:gd name="T36" fmla="*/ 17 w 588"/>
                <a:gd name="T37" fmla="*/ 10 h 714"/>
                <a:gd name="T38" fmla="*/ 23 w 588"/>
                <a:gd name="T39" fmla="*/ 14 h 714"/>
                <a:gd name="T40" fmla="*/ 28 w 588"/>
                <a:gd name="T41" fmla="*/ 4 h 714"/>
                <a:gd name="T42" fmla="*/ 35 w 588"/>
                <a:gd name="T43" fmla="*/ 2 h 714"/>
                <a:gd name="T44" fmla="*/ 38 w 588"/>
                <a:gd name="T45" fmla="*/ 0 h 714"/>
                <a:gd name="T46" fmla="*/ 40 w 588"/>
                <a:gd name="T47" fmla="*/ 2 h 714"/>
                <a:gd name="T48" fmla="*/ 39 w 588"/>
                <a:gd name="T49" fmla="*/ 4 h 714"/>
                <a:gd name="T50" fmla="*/ 41 w 588"/>
                <a:gd name="T51" fmla="*/ 5 h 714"/>
                <a:gd name="T52" fmla="*/ 42 w 588"/>
                <a:gd name="T53" fmla="*/ 7 h 714"/>
                <a:gd name="T54" fmla="*/ 43 w 588"/>
                <a:gd name="T55" fmla="*/ 9 h 714"/>
                <a:gd name="T56" fmla="*/ 43 w 588"/>
                <a:gd name="T57" fmla="*/ 10 h 714"/>
                <a:gd name="T58" fmla="*/ 43 w 588"/>
                <a:gd name="T59" fmla="*/ 12 h 714"/>
                <a:gd name="T60" fmla="*/ 44 w 588"/>
                <a:gd name="T61" fmla="*/ 12 h 714"/>
                <a:gd name="T62" fmla="*/ 46 w 588"/>
                <a:gd name="T63" fmla="*/ 13 h 714"/>
                <a:gd name="T64" fmla="*/ 47 w 588"/>
                <a:gd name="T65" fmla="*/ 14 h 714"/>
                <a:gd name="T66" fmla="*/ 48 w 588"/>
                <a:gd name="T67" fmla="*/ 15 h 714"/>
                <a:gd name="T68" fmla="*/ 49 w 588"/>
                <a:gd name="T69" fmla="*/ 15 h 714"/>
                <a:gd name="T70" fmla="*/ 48 w 588"/>
                <a:gd name="T71" fmla="*/ 17 h 714"/>
                <a:gd name="T72" fmla="*/ 49 w 588"/>
                <a:gd name="T73" fmla="*/ 19 h 714"/>
                <a:gd name="T74" fmla="*/ 49 w 588"/>
                <a:gd name="T75" fmla="*/ 20 h 714"/>
                <a:gd name="T76" fmla="*/ 51 w 588"/>
                <a:gd name="T77" fmla="*/ 21 h 714"/>
                <a:gd name="T78" fmla="*/ 50 w 588"/>
                <a:gd name="T79" fmla="*/ 22 h 714"/>
                <a:gd name="T80" fmla="*/ 47 w 588"/>
                <a:gd name="T81" fmla="*/ 23 h 714"/>
                <a:gd name="T82" fmla="*/ 47 w 588"/>
                <a:gd name="T83" fmla="*/ 26 h 714"/>
                <a:gd name="T84" fmla="*/ 47 w 588"/>
                <a:gd name="T85" fmla="*/ 32 h 714"/>
                <a:gd name="T86" fmla="*/ 44 w 588"/>
                <a:gd name="T87" fmla="*/ 35 h 714"/>
                <a:gd name="T88" fmla="*/ 42 w 588"/>
                <a:gd name="T89" fmla="*/ 39 h 714"/>
                <a:gd name="T90" fmla="*/ 42 w 588"/>
                <a:gd name="T91" fmla="*/ 41 h 714"/>
                <a:gd name="T92" fmla="*/ 42 w 588"/>
                <a:gd name="T93" fmla="*/ 42 h 714"/>
                <a:gd name="T94" fmla="*/ 41 w 588"/>
                <a:gd name="T95" fmla="*/ 44 h 714"/>
                <a:gd name="T96" fmla="*/ 39 w 588"/>
                <a:gd name="T97" fmla="*/ 43 h 714"/>
                <a:gd name="T98" fmla="*/ 37 w 588"/>
                <a:gd name="T99" fmla="*/ 44 h 714"/>
                <a:gd name="T100" fmla="*/ 35 w 588"/>
                <a:gd name="T101" fmla="*/ 46 h 714"/>
                <a:gd name="T102" fmla="*/ 31 w 588"/>
                <a:gd name="T103" fmla="*/ 45 h 714"/>
                <a:gd name="T104" fmla="*/ 24 w 588"/>
                <a:gd name="T105" fmla="*/ 45 h 714"/>
                <a:gd name="T106" fmla="*/ 25 w 588"/>
                <a:gd name="T107" fmla="*/ 47 h 714"/>
                <a:gd name="T108" fmla="*/ 25 w 588"/>
                <a:gd name="T109" fmla="*/ 49 h 714"/>
                <a:gd name="T110" fmla="*/ 25 w 588"/>
                <a:gd name="T111" fmla="*/ 50 h 714"/>
                <a:gd name="T112" fmla="*/ 24 w 588"/>
                <a:gd name="T113" fmla="*/ 51 h 714"/>
                <a:gd name="T114" fmla="*/ 22 w 588"/>
                <a:gd name="T115" fmla="*/ 53 h 714"/>
                <a:gd name="T116" fmla="*/ 23 w 588"/>
                <a:gd name="T117" fmla="*/ 56 h 714"/>
                <a:gd name="T118" fmla="*/ 20 w 588"/>
                <a:gd name="T119" fmla="*/ 58 h 714"/>
                <a:gd name="T120" fmla="*/ 19 w 588"/>
                <a:gd name="T121" fmla="*/ 62 h 7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88"/>
                <a:gd name="T184" fmla="*/ 0 h 714"/>
                <a:gd name="T185" fmla="*/ 588 w 588"/>
                <a:gd name="T186" fmla="*/ 714 h 7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88" h="714">
                  <a:moveTo>
                    <a:pt x="216" y="714"/>
                  </a:moveTo>
                  <a:lnTo>
                    <a:pt x="198" y="702"/>
                  </a:lnTo>
                  <a:lnTo>
                    <a:pt x="186" y="696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74" y="678"/>
                  </a:lnTo>
                  <a:lnTo>
                    <a:pt x="168" y="672"/>
                  </a:lnTo>
                  <a:lnTo>
                    <a:pt x="162" y="666"/>
                  </a:lnTo>
                  <a:lnTo>
                    <a:pt x="156" y="636"/>
                  </a:lnTo>
                  <a:lnTo>
                    <a:pt x="144" y="630"/>
                  </a:lnTo>
                  <a:lnTo>
                    <a:pt x="108" y="630"/>
                  </a:lnTo>
                  <a:lnTo>
                    <a:pt x="102" y="624"/>
                  </a:lnTo>
                  <a:lnTo>
                    <a:pt x="96" y="624"/>
                  </a:lnTo>
                  <a:lnTo>
                    <a:pt x="72" y="624"/>
                  </a:lnTo>
                  <a:lnTo>
                    <a:pt x="54" y="624"/>
                  </a:lnTo>
                  <a:lnTo>
                    <a:pt x="42" y="618"/>
                  </a:lnTo>
                  <a:lnTo>
                    <a:pt x="30" y="612"/>
                  </a:lnTo>
                  <a:lnTo>
                    <a:pt x="6" y="606"/>
                  </a:lnTo>
                  <a:lnTo>
                    <a:pt x="0" y="606"/>
                  </a:lnTo>
                  <a:lnTo>
                    <a:pt x="0" y="570"/>
                  </a:lnTo>
                  <a:lnTo>
                    <a:pt x="6" y="552"/>
                  </a:lnTo>
                  <a:lnTo>
                    <a:pt x="6" y="522"/>
                  </a:lnTo>
                  <a:lnTo>
                    <a:pt x="0" y="510"/>
                  </a:lnTo>
                  <a:lnTo>
                    <a:pt x="0" y="504"/>
                  </a:lnTo>
                  <a:lnTo>
                    <a:pt x="12" y="510"/>
                  </a:lnTo>
                  <a:lnTo>
                    <a:pt x="18" y="510"/>
                  </a:lnTo>
                  <a:lnTo>
                    <a:pt x="30" y="522"/>
                  </a:lnTo>
                  <a:lnTo>
                    <a:pt x="42" y="528"/>
                  </a:lnTo>
                  <a:lnTo>
                    <a:pt x="54" y="534"/>
                  </a:lnTo>
                  <a:lnTo>
                    <a:pt x="66" y="534"/>
                  </a:lnTo>
                  <a:lnTo>
                    <a:pt x="72" y="546"/>
                  </a:lnTo>
                  <a:lnTo>
                    <a:pt x="84" y="546"/>
                  </a:lnTo>
                  <a:lnTo>
                    <a:pt x="96" y="552"/>
                  </a:lnTo>
                  <a:lnTo>
                    <a:pt x="108" y="546"/>
                  </a:lnTo>
                  <a:lnTo>
                    <a:pt x="114" y="540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90" y="504"/>
                  </a:lnTo>
                  <a:lnTo>
                    <a:pt x="84" y="498"/>
                  </a:lnTo>
                  <a:lnTo>
                    <a:pt x="84" y="492"/>
                  </a:lnTo>
                  <a:lnTo>
                    <a:pt x="84" y="456"/>
                  </a:lnTo>
                  <a:lnTo>
                    <a:pt x="114" y="444"/>
                  </a:lnTo>
                  <a:lnTo>
                    <a:pt x="114" y="438"/>
                  </a:lnTo>
                  <a:lnTo>
                    <a:pt x="120" y="420"/>
                  </a:lnTo>
                  <a:lnTo>
                    <a:pt x="126" y="402"/>
                  </a:lnTo>
                  <a:lnTo>
                    <a:pt x="126" y="390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14" y="336"/>
                  </a:lnTo>
                  <a:lnTo>
                    <a:pt x="108" y="324"/>
                  </a:lnTo>
                  <a:lnTo>
                    <a:pt x="108" y="306"/>
                  </a:lnTo>
                  <a:lnTo>
                    <a:pt x="114" y="300"/>
                  </a:lnTo>
                  <a:lnTo>
                    <a:pt x="114" y="294"/>
                  </a:lnTo>
                  <a:lnTo>
                    <a:pt x="132" y="258"/>
                  </a:lnTo>
                  <a:lnTo>
                    <a:pt x="132" y="234"/>
                  </a:lnTo>
                  <a:lnTo>
                    <a:pt x="126" y="168"/>
                  </a:lnTo>
                  <a:lnTo>
                    <a:pt x="120" y="150"/>
                  </a:lnTo>
                  <a:lnTo>
                    <a:pt x="114" y="138"/>
                  </a:lnTo>
                  <a:lnTo>
                    <a:pt x="108" y="126"/>
                  </a:lnTo>
                  <a:lnTo>
                    <a:pt x="108" y="120"/>
                  </a:lnTo>
                  <a:lnTo>
                    <a:pt x="108" y="114"/>
                  </a:lnTo>
                  <a:lnTo>
                    <a:pt x="102" y="108"/>
                  </a:lnTo>
                  <a:lnTo>
                    <a:pt x="102" y="102"/>
                  </a:lnTo>
                  <a:lnTo>
                    <a:pt x="120" y="96"/>
                  </a:lnTo>
                  <a:lnTo>
                    <a:pt x="132" y="102"/>
                  </a:lnTo>
                  <a:lnTo>
                    <a:pt x="144" y="96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56" y="90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96"/>
                  </a:lnTo>
                  <a:lnTo>
                    <a:pt x="186" y="96"/>
                  </a:lnTo>
                  <a:lnTo>
                    <a:pt x="192" y="114"/>
                  </a:lnTo>
                  <a:lnTo>
                    <a:pt x="204" y="132"/>
                  </a:lnTo>
                  <a:lnTo>
                    <a:pt x="216" y="144"/>
                  </a:lnTo>
                  <a:lnTo>
                    <a:pt x="240" y="162"/>
                  </a:lnTo>
                  <a:lnTo>
                    <a:pt x="270" y="156"/>
                  </a:lnTo>
                  <a:lnTo>
                    <a:pt x="282" y="126"/>
                  </a:lnTo>
                  <a:lnTo>
                    <a:pt x="282" y="96"/>
                  </a:lnTo>
                  <a:lnTo>
                    <a:pt x="294" y="54"/>
                  </a:lnTo>
                  <a:lnTo>
                    <a:pt x="324" y="48"/>
                  </a:lnTo>
                  <a:lnTo>
                    <a:pt x="342" y="48"/>
                  </a:lnTo>
                  <a:lnTo>
                    <a:pt x="384" y="48"/>
                  </a:lnTo>
                  <a:lnTo>
                    <a:pt x="390" y="30"/>
                  </a:lnTo>
                  <a:lnTo>
                    <a:pt x="402" y="18"/>
                  </a:lnTo>
                  <a:lnTo>
                    <a:pt x="438" y="6"/>
                  </a:lnTo>
                  <a:lnTo>
                    <a:pt x="438" y="0"/>
                  </a:lnTo>
                  <a:lnTo>
                    <a:pt x="444" y="0"/>
                  </a:lnTo>
                  <a:lnTo>
                    <a:pt x="444" y="6"/>
                  </a:lnTo>
                  <a:lnTo>
                    <a:pt x="450" y="6"/>
                  </a:lnTo>
                  <a:lnTo>
                    <a:pt x="456" y="12"/>
                  </a:lnTo>
                  <a:lnTo>
                    <a:pt x="456" y="18"/>
                  </a:lnTo>
                  <a:lnTo>
                    <a:pt x="462" y="24"/>
                  </a:lnTo>
                  <a:lnTo>
                    <a:pt x="462" y="30"/>
                  </a:lnTo>
                  <a:lnTo>
                    <a:pt x="468" y="36"/>
                  </a:lnTo>
                  <a:lnTo>
                    <a:pt x="462" y="36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8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74" y="60"/>
                  </a:lnTo>
                  <a:lnTo>
                    <a:pt x="486" y="78"/>
                  </a:lnTo>
                  <a:lnTo>
                    <a:pt x="486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8" y="102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498" y="114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504" y="126"/>
                  </a:lnTo>
                  <a:lnTo>
                    <a:pt x="498" y="132"/>
                  </a:lnTo>
                  <a:lnTo>
                    <a:pt x="504" y="138"/>
                  </a:lnTo>
                  <a:lnTo>
                    <a:pt x="504" y="132"/>
                  </a:lnTo>
                  <a:lnTo>
                    <a:pt x="510" y="132"/>
                  </a:lnTo>
                  <a:lnTo>
                    <a:pt x="510" y="138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56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6" y="168"/>
                  </a:lnTo>
                  <a:lnTo>
                    <a:pt x="552" y="168"/>
                  </a:lnTo>
                  <a:lnTo>
                    <a:pt x="546" y="168"/>
                  </a:lnTo>
                  <a:lnTo>
                    <a:pt x="546" y="174"/>
                  </a:lnTo>
                  <a:lnTo>
                    <a:pt x="558" y="180"/>
                  </a:lnTo>
                  <a:lnTo>
                    <a:pt x="564" y="180"/>
                  </a:lnTo>
                  <a:lnTo>
                    <a:pt x="564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52" y="198"/>
                  </a:lnTo>
                  <a:lnTo>
                    <a:pt x="558" y="204"/>
                  </a:lnTo>
                  <a:lnTo>
                    <a:pt x="564" y="204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22"/>
                  </a:lnTo>
                  <a:lnTo>
                    <a:pt x="576" y="228"/>
                  </a:lnTo>
                  <a:lnTo>
                    <a:pt x="570" y="228"/>
                  </a:lnTo>
                  <a:lnTo>
                    <a:pt x="570" y="234"/>
                  </a:lnTo>
                  <a:lnTo>
                    <a:pt x="576" y="234"/>
                  </a:lnTo>
                  <a:lnTo>
                    <a:pt x="582" y="234"/>
                  </a:lnTo>
                  <a:lnTo>
                    <a:pt x="588" y="234"/>
                  </a:lnTo>
                  <a:lnTo>
                    <a:pt x="588" y="240"/>
                  </a:lnTo>
                  <a:lnTo>
                    <a:pt x="588" y="246"/>
                  </a:lnTo>
                  <a:lnTo>
                    <a:pt x="588" y="252"/>
                  </a:lnTo>
                  <a:lnTo>
                    <a:pt x="582" y="252"/>
                  </a:lnTo>
                  <a:lnTo>
                    <a:pt x="576" y="252"/>
                  </a:lnTo>
                  <a:lnTo>
                    <a:pt x="582" y="258"/>
                  </a:lnTo>
                  <a:lnTo>
                    <a:pt x="582" y="264"/>
                  </a:lnTo>
                  <a:lnTo>
                    <a:pt x="576" y="264"/>
                  </a:lnTo>
                  <a:lnTo>
                    <a:pt x="546" y="264"/>
                  </a:lnTo>
                  <a:lnTo>
                    <a:pt x="546" y="276"/>
                  </a:lnTo>
                  <a:lnTo>
                    <a:pt x="540" y="282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40" y="324"/>
                  </a:lnTo>
                  <a:lnTo>
                    <a:pt x="552" y="330"/>
                  </a:lnTo>
                  <a:lnTo>
                    <a:pt x="558" y="342"/>
                  </a:lnTo>
                  <a:lnTo>
                    <a:pt x="546" y="372"/>
                  </a:lnTo>
                  <a:lnTo>
                    <a:pt x="534" y="372"/>
                  </a:lnTo>
                  <a:lnTo>
                    <a:pt x="534" y="384"/>
                  </a:lnTo>
                  <a:lnTo>
                    <a:pt x="522" y="384"/>
                  </a:lnTo>
                  <a:lnTo>
                    <a:pt x="510" y="402"/>
                  </a:lnTo>
                  <a:lnTo>
                    <a:pt x="504" y="420"/>
                  </a:lnTo>
                  <a:lnTo>
                    <a:pt x="492" y="426"/>
                  </a:lnTo>
                  <a:lnTo>
                    <a:pt x="486" y="432"/>
                  </a:lnTo>
                  <a:lnTo>
                    <a:pt x="486" y="444"/>
                  </a:lnTo>
                  <a:lnTo>
                    <a:pt x="486" y="450"/>
                  </a:lnTo>
                  <a:lnTo>
                    <a:pt x="486" y="456"/>
                  </a:lnTo>
                  <a:lnTo>
                    <a:pt x="486" y="462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80" y="474"/>
                  </a:lnTo>
                  <a:lnTo>
                    <a:pt x="480" y="480"/>
                  </a:lnTo>
                  <a:lnTo>
                    <a:pt x="480" y="486"/>
                  </a:lnTo>
                  <a:lnTo>
                    <a:pt x="480" y="492"/>
                  </a:lnTo>
                  <a:lnTo>
                    <a:pt x="480" y="498"/>
                  </a:lnTo>
                  <a:lnTo>
                    <a:pt x="474" y="504"/>
                  </a:lnTo>
                  <a:lnTo>
                    <a:pt x="468" y="510"/>
                  </a:lnTo>
                  <a:lnTo>
                    <a:pt x="462" y="510"/>
                  </a:lnTo>
                  <a:lnTo>
                    <a:pt x="456" y="504"/>
                  </a:lnTo>
                  <a:lnTo>
                    <a:pt x="456" y="498"/>
                  </a:lnTo>
                  <a:lnTo>
                    <a:pt x="450" y="498"/>
                  </a:lnTo>
                  <a:lnTo>
                    <a:pt x="444" y="498"/>
                  </a:lnTo>
                  <a:lnTo>
                    <a:pt x="438" y="498"/>
                  </a:lnTo>
                  <a:lnTo>
                    <a:pt x="432" y="498"/>
                  </a:lnTo>
                  <a:lnTo>
                    <a:pt x="426" y="504"/>
                  </a:lnTo>
                  <a:lnTo>
                    <a:pt x="426" y="510"/>
                  </a:lnTo>
                  <a:lnTo>
                    <a:pt x="420" y="516"/>
                  </a:lnTo>
                  <a:lnTo>
                    <a:pt x="414" y="522"/>
                  </a:lnTo>
                  <a:lnTo>
                    <a:pt x="402" y="528"/>
                  </a:lnTo>
                  <a:lnTo>
                    <a:pt x="396" y="528"/>
                  </a:lnTo>
                  <a:lnTo>
                    <a:pt x="384" y="528"/>
                  </a:lnTo>
                  <a:lnTo>
                    <a:pt x="366" y="540"/>
                  </a:lnTo>
                  <a:lnTo>
                    <a:pt x="360" y="522"/>
                  </a:lnTo>
                  <a:lnTo>
                    <a:pt x="348" y="504"/>
                  </a:lnTo>
                  <a:lnTo>
                    <a:pt x="330" y="504"/>
                  </a:lnTo>
                  <a:lnTo>
                    <a:pt x="282" y="516"/>
                  </a:lnTo>
                  <a:lnTo>
                    <a:pt x="282" y="522"/>
                  </a:lnTo>
                  <a:lnTo>
                    <a:pt x="282" y="534"/>
                  </a:lnTo>
                  <a:lnTo>
                    <a:pt x="288" y="540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2" y="540"/>
                  </a:lnTo>
                  <a:lnTo>
                    <a:pt x="282" y="546"/>
                  </a:lnTo>
                  <a:lnTo>
                    <a:pt x="288" y="552"/>
                  </a:lnTo>
                  <a:lnTo>
                    <a:pt x="294" y="564"/>
                  </a:lnTo>
                  <a:lnTo>
                    <a:pt x="300" y="564"/>
                  </a:lnTo>
                  <a:lnTo>
                    <a:pt x="300" y="570"/>
                  </a:lnTo>
                  <a:lnTo>
                    <a:pt x="294" y="570"/>
                  </a:lnTo>
                  <a:lnTo>
                    <a:pt x="288" y="570"/>
                  </a:lnTo>
                  <a:lnTo>
                    <a:pt x="288" y="576"/>
                  </a:lnTo>
                  <a:lnTo>
                    <a:pt x="288" y="582"/>
                  </a:lnTo>
                  <a:lnTo>
                    <a:pt x="276" y="588"/>
                  </a:lnTo>
                  <a:lnTo>
                    <a:pt x="276" y="594"/>
                  </a:lnTo>
                  <a:lnTo>
                    <a:pt x="270" y="606"/>
                  </a:lnTo>
                  <a:lnTo>
                    <a:pt x="264" y="612"/>
                  </a:lnTo>
                  <a:lnTo>
                    <a:pt x="258" y="612"/>
                  </a:lnTo>
                  <a:lnTo>
                    <a:pt x="252" y="612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52" y="630"/>
                  </a:lnTo>
                  <a:lnTo>
                    <a:pt x="264" y="642"/>
                  </a:lnTo>
                  <a:lnTo>
                    <a:pt x="258" y="648"/>
                  </a:lnTo>
                  <a:lnTo>
                    <a:pt x="246" y="654"/>
                  </a:lnTo>
                  <a:lnTo>
                    <a:pt x="240" y="660"/>
                  </a:lnTo>
                  <a:lnTo>
                    <a:pt x="234" y="672"/>
                  </a:lnTo>
                  <a:lnTo>
                    <a:pt x="234" y="678"/>
                  </a:lnTo>
                  <a:lnTo>
                    <a:pt x="228" y="684"/>
                  </a:lnTo>
                  <a:lnTo>
                    <a:pt x="228" y="696"/>
                  </a:lnTo>
                  <a:lnTo>
                    <a:pt x="216" y="71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6" name="Freeform 21">
              <a:extLst>
                <a:ext uri="{FF2B5EF4-FFF2-40B4-BE49-F238E27FC236}">
                  <a16:creationId xmlns:a16="http://schemas.microsoft.com/office/drawing/2014/main" id="{DCB1E808-522D-4C19-B741-CC5DD56C2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2114178" y="3866464"/>
              <a:ext cx="250453" cy="371259"/>
            </a:xfrm>
            <a:custGeom>
              <a:avLst/>
              <a:gdLst>
                <a:gd name="T0" fmla="*/ 0 w 468"/>
                <a:gd name="T1" fmla="*/ 61 h 696"/>
                <a:gd name="T2" fmla="*/ 1 w 468"/>
                <a:gd name="T3" fmla="*/ 58 h 696"/>
                <a:gd name="T4" fmla="*/ 2 w 468"/>
                <a:gd name="T5" fmla="*/ 54 h 696"/>
                <a:gd name="T6" fmla="*/ 3 w 468"/>
                <a:gd name="T7" fmla="*/ 51 h 696"/>
                <a:gd name="T8" fmla="*/ 4 w 468"/>
                <a:gd name="T9" fmla="*/ 48 h 696"/>
                <a:gd name="T10" fmla="*/ 6 w 468"/>
                <a:gd name="T11" fmla="*/ 44 h 696"/>
                <a:gd name="T12" fmla="*/ 5 w 468"/>
                <a:gd name="T13" fmla="*/ 41 h 696"/>
                <a:gd name="T14" fmla="*/ 7 w 468"/>
                <a:gd name="T15" fmla="*/ 38 h 696"/>
                <a:gd name="T16" fmla="*/ 8 w 468"/>
                <a:gd name="T17" fmla="*/ 36 h 696"/>
                <a:gd name="T18" fmla="*/ 7 w 468"/>
                <a:gd name="T19" fmla="*/ 33 h 696"/>
                <a:gd name="T20" fmla="*/ 6 w 468"/>
                <a:gd name="T21" fmla="*/ 29 h 696"/>
                <a:gd name="T22" fmla="*/ 4 w 468"/>
                <a:gd name="T23" fmla="*/ 22 h 696"/>
                <a:gd name="T24" fmla="*/ 2 w 468"/>
                <a:gd name="T25" fmla="*/ 14 h 696"/>
                <a:gd name="T26" fmla="*/ 12 w 468"/>
                <a:gd name="T27" fmla="*/ 11 h 696"/>
                <a:gd name="T28" fmla="*/ 14 w 468"/>
                <a:gd name="T29" fmla="*/ 2 h 696"/>
                <a:gd name="T30" fmla="*/ 16 w 468"/>
                <a:gd name="T31" fmla="*/ 0 h 696"/>
                <a:gd name="T32" fmla="*/ 17 w 468"/>
                <a:gd name="T33" fmla="*/ 0 h 696"/>
                <a:gd name="T34" fmla="*/ 18 w 468"/>
                <a:gd name="T35" fmla="*/ 1 h 696"/>
                <a:gd name="T36" fmla="*/ 17 w 468"/>
                <a:gd name="T37" fmla="*/ 2 h 696"/>
                <a:gd name="T38" fmla="*/ 17 w 468"/>
                <a:gd name="T39" fmla="*/ 4 h 696"/>
                <a:gd name="T40" fmla="*/ 17 w 468"/>
                <a:gd name="T41" fmla="*/ 6 h 696"/>
                <a:gd name="T42" fmla="*/ 20 w 468"/>
                <a:gd name="T43" fmla="*/ 6 h 696"/>
                <a:gd name="T44" fmla="*/ 22 w 468"/>
                <a:gd name="T45" fmla="*/ 5 h 696"/>
                <a:gd name="T46" fmla="*/ 24 w 468"/>
                <a:gd name="T47" fmla="*/ 7 h 696"/>
                <a:gd name="T48" fmla="*/ 28 w 468"/>
                <a:gd name="T49" fmla="*/ 7 h 696"/>
                <a:gd name="T50" fmla="*/ 28 w 468"/>
                <a:gd name="T51" fmla="*/ 11 h 696"/>
                <a:gd name="T52" fmla="*/ 25 w 468"/>
                <a:gd name="T53" fmla="*/ 14 h 696"/>
                <a:gd name="T54" fmla="*/ 23 w 468"/>
                <a:gd name="T55" fmla="*/ 15 h 696"/>
                <a:gd name="T56" fmla="*/ 23 w 468"/>
                <a:gd name="T57" fmla="*/ 19 h 696"/>
                <a:gd name="T58" fmla="*/ 23 w 468"/>
                <a:gd name="T59" fmla="*/ 21 h 696"/>
                <a:gd name="T60" fmla="*/ 24 w 468"/>
                <a:gd name="T61" fmla="*/ 21 h 696"/>
                <a:gd name="T62" fmla="*/ 27 w 468"/>
                <a:gd name="T63" fmla="*/ 23 h 696"/>
                <a:gd name="T64" fmla="*/ 29 w 468"/>
                <a:gd name="T65" fmla="*/ 24 h 696"/>
                <a:gd name="T66" fmla="*/ 29 w 468"/>
                <a:gd name="T67" fmla="*/ 28 h 696"/>
                <a:gd name="T68" fmla="*/ 29 w 468"/>
                <a:gd name="T69" fmla="*/ 29 h 696"/>
                <a:gd name="T70" fmla="*/ 29 w 468"/>
                <a:gd name="T71" fmla="*/ 32 h 696"/>
                <a:gd name="T72" fmla="*/ 32 w 468"/>
                <a:gd name="T73" fmla="*/ 32 h 696"/>
                <a:gd name="T74" fmla="*/ 33 w 468"/>
                <a:gd name="T75" fmla="*/ 35 h 696"/>
                <a:gd name="T76" fmla="*/ 34 w 468"/>
                <a:gd name="T77" fmla="*/ 38 h 696"/>
                <a:gd name="T78" fmla="*/ 35 w 468"/>
                <a:gd name="T79" fmla="*/ 39 h 696"/>
                <a:gd name="T80" fmla="*/ 36 w 468"/>
                <a:gd name="T81" fmla="*/ 40 h 696"/>
                <a:gd name="T82" fmla="*/ 37 w 468"/>
                <a:gd name="T83" fmla="*/ 41 h 696"/>
                <a:gd name="T84" fmla="*/ 38 w 468"/>
                <a:gd name="T85" fmla="*/ 42 h 696"/>
                <a:gd name="T86" fmla="*/ 41 w 468"/>
                <a:gd name="T87" fmla="*/ 44 h 696"/>
                <a:gd name="T88" fmla="*/ 40 w 468"/>
                <a:gd name="T89" fmla="*/ 44 h 696"/>
                <a:gd name="T90" fmla="*/ 37 w 468"/>
                <a:gd name="T91" fmla="*/ 45 h 696"/>
                <a:gd name="T92" fmla="*/ 36 w 468"/>
                <a:gd name="T93" fmla="*/ 48 h 696"/>
                <a:gd name="T94" fmla="*/ 34 w 468"/>
                <a:gd name="T95" fmla="*/ 49 h 696"/>
                <a:gd name="T96" fmla="*/ 32 w 468"/>
                <a:gd name="T97" fmla="*/ 51 h 696"/>
                <a:gd name="T98" fmla="*/ 31 w 468"/>
                <a:gd name="T99" fmla="*/ 51 h 696"/>
                <a:gd name="T100" fmla="*/ 26 w 468"/>
                <a:gd name="T101" fmla="*/ 49 h 696"/>
                <a:gd name="T102" fmla="*/ 23 w 468"/>
                <a:gd name="T103" fmla="*/ 51 h 696"/>
                <a:gd name="T104" fmla="*/ 21 w 468"/>
                <a:gd name="T105" fmla="*/ 51 h 696"/>
                <a:gd name="T106" fmla="*/ 20 w 468"/>
                <a:gd name="T107" fmla="*/ 52 h 696"/>
                <a:gd name="T108" fmla="*/ 17 w 468"/>
                <a:gd name="T109" fmla="*/ 55 h 696"/>
                <a:gd name="T110" fmla="*/ 15 w 468"/>
                <a:gd name="T111" fmla="*/ 56 h 696"/>
                <a:gd name="T112" fmla="*/ 15 w 468"/>
                <a:gd name="T113" fmla="*/ 59 h 696"/>
                <a:gd name="T114" fmla="*/ 14 w 468"/>
                <a:gd name="T115" fmla="*/ 59 h 696"/>
                <a:gd name="T116" fmla="*/ 12 w 468"/>
                <a:gd name="T117" fmla="*/ 59 h 696"/>
                <a:gd name="T118" fmla="*/ 11 w 468"/>
                <a:gd name="T119" fmla="*/ 57 h 696"/>
                <a:gd name="T120" fmla="*/ 9 w 468"/>
                <a:gd name="T121" fmla="*/ 57 h 696"/>
                <a:gd name="T122" fmla="*/ 6 w 468"/>
                <a:gd name="T123" fmla="*/ 58 h 696"/>
                <a:gd name="T124" fmla="*/ 4 w 468"/>
                <a:gd name="T125" fmla="*/ 60 h 69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68"/>
                <a:gd name="T190" fmla="*/ 0 h 696"/>
                <a:gd name="T191" fmla="*/ 468 w 468"/>
                <a:gd name="T192" fmla="*/ 696 h 69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68" h="696">
                  <a:moveTo>
                    <a:pt x="30" y="696"/>
                  </a:moveTo>
                  <a:lnTo>
                    <a:pt x="18" y="696"/>
                  </a:lnTo>
                  <a:lnTo>
                    <a:pt x="6" y="696"/>
                  </a:lnTo>
                  <a:lnTo>
                    <a:pt x="0" y="690"/>
                  </a:lnTo>
                  <a:lnTo>
                    <a:pt x="6" y="678"/>
                  </a:lnTo>
                  <a:lnTo>
                    <a:pt x="12" y="666"/>
                  </a:lnTo>
                  <a:lnTo>
                    <a:pt x="18" y="654"/>
                  </a:lnTo>
                  <a:lnTo>
                    <a:pt x="18" y="642"/>
                  </a:lnTo>
                  <a:lnTo>
                    <a:pt x="18" y="618"/>
                  </a:lnTo>
                  <a:lnTo>
                    <a:pt x="24" y="606"/>
                  </a:lnTo>
                  <a:lnTo>
                    <a:pt x="30" y="594"/>
                  </a:lnTo>
                  <a:lnTo>
                    <a:pt x="30" y="582"/>
                  </a:lnTo>
                  <a:lnTo>
                    <a:pt x="36" y="576"/>
                  </a:lnTo>
                  <a:lnTo>
                    <a:pt x="42" y="564"/>
                  </a:lnTo>
                  <a:lnTo>
                    <a:pt x="48" y="546"/>
                  </a:lnTo>
                  <a:lnTo>
                    <a:pt x="48" y="528"/>
                  </a:lnTo>
                  <a:lnTo>
                    <a:pt x="60" y="516"/>
                  </a:lnTo>
                  <a:lnTo>
                    <a:pt x="66" y="504"/>
                  </a:lnTo>
                  <a:lnTo>
                    <a:pt x="66" y="492"/>
                  </a:lnTo>
                  <a:lnTo>
                    <a:pt x="60" y="480"/>
                  </a:lnTo>
                  <a:lnTo>
                    <a:pt x="54" y="468"/>
                  </a:lnTo>
                  <a:lnTo>
                    <a:pt x="60" y="456"/>
                  </a:lnTo>
                  <a:lnTo>
                    <a:pt x="72" y="450"/>
                  </a:lnTo>
                  <a:lnTo>
                    <a:pt x="84" y="438"/>
                  </a:lnTo>
                  <a:lnTo>
                    <a:pt x="90" y="426"/>
                  </a:lnTo>
                  <a:lnTo>
                    <a:pt x="90" y="420"/>
                  </a:lnTo>
                  <a:lnTo>
                    <a:pt x="90" y="408"/>
                  </a:lnTo>
                  <a:lnTo>
                    <a:pt x="90" y="402"/>
                  </a:lnTo>
                  <a:lnTo>
                    <a:pt x="84" y="396"/>
                  </a:lnTo>
                  <a:lnTo>
                    <a:pt x="78" y="378"/>
                  </a:lnTo>
                  <a:lnTo>
                    <a:pt x="72" y="360"/>
                  </a:lnTo>
                  <a:lnTo>
                    <a:pt x="66" y="348"/>
                  </a:lnTo>
                  <a:lnTo>
                    <a:pt x="72" y="336"/>
                  </a:lnTo>
                  <a:lnTo>
                    <a:pt x="66" y="306"/>
                  </a:lnTo>
                  <a:lnTo>
                    <a:pt x="54" y="276"/>
                  </a:lnTo>
                  <a:lnTo>
                    <a:pt x="42" y="252"/>
                  </a:lnTo>
                  <a:lnTo>
                    <a:pt x="36" y="222"/>
                  </a:lnTo>
                  <a:lnTo>
                    <a:pt x="30" y="192"/>
                  </a:lnTo>
                  <a:lnTo>
                    <a:pt x="24" y="162"/>
                  </a:lnTo>
                  <a:lnTo>
                    <a:pt x="42" y="174"/>
                  </a:lnTo>
                  <a:lnTo>
                    <a:pt x="120" y="138"/>
                  </a:lnTo>
                  <a:lnTo>
                    <a:pt x="132" y="126"/>
                  </a:lnTo>
                  <a:lnTo>
                    <a:pt x="120" y="54"/>
                  </a:lnTo>
                  <a:lnTo>
                    <a:pt x="156" y="30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6"/>
                  </a:lnTo>
                  <a:lnTo>
                    <a:pt x="180" y="0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0"/>
                  </a:lnTo>
                  <a:lnTo>
                    <a:pt x="192" y="6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198" y="12"/>
                  </a:lnTo>
                  <a:lnTo>
                    <a:pt x="198" y="18"/>
                  </a:lnTo>
                  <a:lnTo>
                    <a:pt x="198" y="24"/>
                  </a:lnTo>
                  <a:lnTo>
                    <a:pt x="198" y="30"/>
                  </a:lnTo>
                  <a:lnTo>
                    <a:pt x="198" y="42"/>
                  </a:lnTo>
                  <a:lnTo>
                    <a:pt x="198" y="48"/>
                  </a:lnTo>
                  <a:lnTo>
                    <a:pt x="192" y="60"/>
                  </a:lnTo>
                  <a:lnTo>
                    <a:pt x="192" y="66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28" y="60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34" y="60"/>
                  </a:lnTo>
                  <a:lnTo>
                    <a:pt x="252" y="60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312" y="84"/>
                  </a:lnTo>
                  <a:lnTo>
                    <a:pt x="318" y="96"/>
                  </a:lnTo>
                  <a:lnTo>
                    <a:pt x="318" y="102"/>
                  </a:lnTo>
                  <a:lnTo>
                    <a:pt x="312" y="120"/>
                  </a:lnTo>
                  <a:lnTo>
                    <a:pt x="306" y="132"/>
                  </a:lnTo>
                  <a:lnTo>
                    <a:pt x="294" y="144"/>
                  </a:lnTo>
                  <a:lnTo>
                    <a:pt x="282" y="156"/>
                  </a:lnTo>
                  <a:lnTo>
                    <a:pt x="276" y="162"/>
                  </a:lnTo>
                  <a:lnTo>
                    <a:pt x="270" y="162"/>
                  </a:lnTo>
                  <a:lnTo>
                    <a:pt x="264" y="174"/>
                  </a:lnTo>
                  <a:lnTo>
                    <a:pt x="264" y="192"/>
                  </a:lnTo>
                  <a:lnTo>
                    <a:pt x="264" y="216"/>
                  </a:lnTo>
                  <a:lnTo>
                    <a:pt x="258" y="216"/>
                  </a:lnTo>
                  <a:lnTo>
                    <a:pt x="258" y="228"/>
                  </a:lnTo>
                  <a:lnTo>
                    <a:pt x="252" y="234"/>
                  </a:lnTo>
                  <a:lnTo>
                    <a:pt x="258" y="240"/>
                  </a:lnTo>
                  <a:lnTo>
                    <a:pt x="264" y="240"/>
                  </a:lnTo>
                  <a:lnTo>
                    <a:pt x="270" y="240"/>
                  </a:lnTo>
                  <a:lnTo>
                    <a:pt x="276" y="240"/>
                  </a:lnTo>
                  <a:lnTo>
                    <a:pt x="288" y="240"/>
                  </a:lnTo>
                  <a:lnTo>
                    <a:pt x="300" y="246"/>
                  </a:lnTo>
                  <a:lnTo>
                    <a:pt x="306" y="258"/>
                  </a:lnTo>
                  <a:lnTo>
                    <a:pt x="312" y="264"/>
                  </a:lnTo>
                  <a:lnTo>
                    <a:pt x="318" y="276"/>
                  </a:lnTo>
                  <a:lnTo>
                    <a:pt x="330" y="282"/>
                  </a:lnTo>
                  <a:lnTo>
                    <a:pt x="330" y="300"/>
                  </a:lnTo>
                  <a:lnTo>
                    <a:pt x="336" y="312"/>
                  </a:lnTo>
                  <a:lnTo>
                    <a:pt x="336" y="318"/>
                  </a:lnTo>
                  <a:lnTo>
                    <a:pt x="336" y="330"/>
                  </a:lnTo>
                  <a:lnTo>
                    <a:pt x="324" y="330"/>
                  </a:lnTo>
                  <a:lnTo>
                    <a:pt x="330" y="336"/>
                  </a:lnTo>
                  <a:lnTo>
                    <a:pt x="330" y="342"/>
                  </a:lnTo>
                  <a:lnTo>
                    <a:pt x="336" y="348"/>
                  </a:lnTo>
                  <a:lnTo>
                    <a:pt x="330" y="360"/>
                  </a:lnTo>
                  <a:lnTo>
                    <a:pt x="336" y="372"/>
                  </a:lnTo>
                  <a:lnTo>
                    <a:pt x="354" y="366"/>
                  </a:lnTo>
                  <a:lnTo>
                    <a:pt x="366" y="366"/>
                  </a:lnTo>
                  <a:lnTo>
                    <a:pt x="372" y="378"/>
                  </a:lnTo>
                  <a:lnTo>
                    <a:pt x="372" y="390"/>
                  </a:lnTo>
                  <a:lnTo>
                    <a:pt x="378" y="396"/>
                  </a:lnTo>
                  <a:lnTo>
                    <a:pt x="378" y="408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384" y="444"/>
                  </a:lnTo>
                  <a:lnTo>
                    <a:pt x="390" y="444"/>
                  </a:lnTo>
                  <a:lnTo>
                    <a:pt x="396" y="444"/>
                  </a:lnTo>
                  <a:lnTo>
                    <a:pt x="402" y="450"/>
                  </a:lnTo>
                  <a:lnTo>
                    <a:pt x="408" y="450"/>
                  </a:lnTo>
                  <a:lnTo>
                    <a:pt x="408" y="462"/>
                  </a:lnTo>
                  <a:lnTo>
                    <a:pt x="408" y="468"/>
                  </a:lnTo>
                  <a:lnTo>
                    <a:pt x="414" y="474"/>
                  </a:lnTo>
                  <a:lnTo>
                    <a:pt x="420" y="474"/>
                  </a:lnTo>
                  <a:lnTo>
                    <a:pt x="420" y="480"/>
                  </a:lnTo>
                  <a:lnTo>
                    <a:pt x="426" y="480"/>
                  </a:lnTo>
                  <a:lnTo>
                    <a:pt x="432" y="480"/>
                  </a:lnTo>
                  <a:lnTo>
                    <a:pt x="462" y="486"/>
                  </a:lnTo>
                  <a:lnTo>
                    <a:pt x="468" y="492"/>
                  </a:lnTo>
                  <a:lnTo>
                    <a:pt x="468" y="498"/>
                  </a:lnTo>
                  <a:lnTo>
                    <a:pt x="462" y="498"/>
                  </a:lnTo>
                  <a:lnTo>
                    <a:pt x="456" y="498"/>
                  </a:lnTo>
                  <a:lnTo>
                    <a:pt x="456" y="504"/>
                  </a:lnTo>
                  <a:lnTo>
                    <a:pt x="456" y="510"/>
                  </a:lnTo>
                  <a:lnTo>
                    <a:pt x="450" y="516"/>
                  </a:lnTo>
                  <a:lnTo>
                    <a:pt x="426" y="516"/>
                  </a:lnTo>
                  <a:lnTo>
                    <a:pt x="408" y="528"/>
                  </a:lnTo>
                  <a:lnTo>
                    <a:pt x="408" y="546"/>
                  </a:lnTo>
                  <a:lnTo>
                    <a:pt x="414" y="552"/>
                  </a:lnTo>
                  <a:lnTo>
                    <a:pt x="408" y="558"/>
                  </a:lnTo>
                  <a:lnTo>
                    <a:pt x="402" y="564"/>
                  </a:lnTo>
                  <a:lnTo>
                    <a:pt x="384" y="564"/>
                  </a:lnTo>
                  <a:lnTo>
                    <a:pt x="372" y="564"/>
                  </a:lnTo>
                  <a:lnTo>
                    <a:pt x="372" y="576"/>
                  </a:lnTo>
                  <a:lnTo>
                    <a:pt x="366" y="576"/>
                  </a:lnTo>
                  <a:lnTo>
                    <a:pt x="366" y="582"/>
                  </a:lnTo>
                  <a:lnTo>
                    <a:pt x="360" y="582"/>
                  </a:lnTo>
                  <a:lnTo>
                    <a:pt x="348" y="576"/>
                  </a:lnTo>
                  <a:lnTo>
                    <a:pt x="336" y="570"/>
                  </a:lnTo>
                  <a:lnTo>
                    <a:pt x="324" y="570"/>
                  </a:lnTo>
                  <a:lnTo>
                    <a:pt x="300" y="564"/>
                  </a:lnTo>
                  <a:lnTo>
                    <a:pt x="282" y="564"/>
                  </a:lnTo>
                  <a:lnTo>
                    <a:pt x="270" y="570"/>
                  </a:lnTo>
                  <a:lnTo>
                    <a:pt x="264" y="576"/>
                  </a:lnTo>
                  <a:lnTo>
                    <a:pt x="258" y="576"/>
                  </a:lnTo>
                  <a:lnTo>
                    <a:pt x="240" y="582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34" y="594"/>
                  </a:lnTo>
                  <a:lnTo>
                    <a:pt x="228" y="600"/>
                  </a:lnTo>
                  <a:lnTo>
                    <a:pt x="210" y="618"/>
                  </a:lnTo>
                  <a:lnTo>
                    <a:pt x="210" y="624"/>
                  </a:lnTo>
                  <a:lnTo>
                    <a:pt x="192" y="630"/>
                  </a:lnTo>
                  <a:lnTo>
                    <a:pt x="186" y="630"/>
                  </a:lnTo>
                  <a:lnTo>
                    <a:pt x="180" y="636"/>
                  </a:lnTo>
                  <a:lnTo>
                    <a:pt x="174" y="642"/>
                  </a:lnTo>
                  <a:lnTo>
                    <a:pt x="168" y="642"/>
                  </a:lnTo>
                  <a:lnTo>
                    <a:pt x="168" y="654"/>
                  </a:lnTo>
                  <a:lnTo>
                    <a:pt x="168" y="678"/>
                  </a:lnTo>
                  <a:lnTo>
                    <a:pt x="162" y="684"/>
                  </a:lnTo>
                  <a:lnTo>
                    <a:pt x="156" y="684"/>
                  </a:lnTo>
                  <a:lnTo>
                    <a:pt x="156" y="678"/>
                  </a:lnTo>
                  <a:lnTo>
                    <a:pt x="150" y="678"/>
                  </a:lnTo>
                  <a:lnTo>
                    <a:pt x="144" y="672"/>
                  </a:lnTo>
                  <a:lnTo>
                    <a:pt x="138" y="672"/>
                  </a:lnTo>
                  <a:lnTo>
                    <a:pt x="138" y="666"/>
                  </a:lnTo>
                  <a:lnTo>
                    <a:pt x="132" y="660"/>
                  </a:lnTo>
                  <a:lnTo>
                    <a:pt x="120" y="654"/>
                  </a:lnTo>
                  <a:lnTo>
                    <a:pt x="114" y="654"/>
                  </a:lnTo>
                  <a:lnTo>
                    <a:pt x="108" y="648"/>
                  </a:lnTo>
                  <a:lnTo>
                    <a:pt x="102" y="654"/>
                  </a:lnTo>
                  <a:lnTo>
                    <a:pt x="90" y="654"/>
                  </a:lnTo>
                  <a:lnTo>
                    <a:pt x="84" y="654"/>
                  </a:lnTo>
                  <a:lnTo>
                    <a:pt x="72" y="660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36" y="684"/>
                  </a:lnTo>
                  <a:lnTo>
                    <a:pt x="30" y="6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7" name="Freeform 22">
              <a:extLst>
                <a:ext uri="{FF2B5EF4-FFF2-40B4-BE49-F238E27FC236}">
                  <a16:creationId xmlns:a16="http://schemas.microsoft.com/office/drawing/2014/main" id="{2F7A477D-6CF8-44B3-8B32-64EE03DC4D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52895" y="3967106"/>
              <a:ext cx="610479" cy="507686"/>
            </a:xfrm>
            <a:custGeom>
              <a:avLst/>
              <a:gdLst>
                <a:gd name="T0" fmla="*/ 87 w 1146"/>
                <a:gd name="T1" fmla="*/ 56 h 954"/>
                <a:gd name="T2" fmla="*/ 83 w 1146"/>
                <a:gd name="T3" fmla="*/ 66 h 954"/>
                <a:gd name="T4" fmla="*/ 74 w 1146"/>
                <a:gd name="T5" fmla="*/ 69 h 954"/>
                <a:gd name="T6" fmla="*/ 67 w 1146"/>
                <a:gd name="T7" fmla="*/ 75 h 954"/>
                <a:gd name="T8" fmla="*/ 59 w 1146"/>
                <a:gd name="T9" fmla="*/ 78 h 954"/>
                <a:gd name="T10" fmla="*/ 52 w 1146"/>
                <a:gd name="T11" fmla="*/ 77 h 954"/>
                <a:gd name="T12" fmla="*/ 48 w 1146"/>
                <a:gd name="T13" fmla="*/ 79 h 954"/>
                <a:gd name="T14" fmla="*/ 41 w 1146"/>
                <a:gd name="T15" fmla="*/ 82 h 954"/>
                <a:gd name="T16" fmla="*/ 29 w 1146"/>
                <a:gd name="T17" fmla="*/ 78 h 954"/>
                <a:gd name="T18" fmla="*/ 28 w 1146"/>
                <a:gd name="T19" fmla="*/ 76 h 954"/>
                <a:gd name="T20" fmla="*/ 28 w 1146"/>
                <a:gd name="T21" fmla="*/ 72 h 954"/>
                <a:gd name="T22" fmla="*/ 28 w 1146"/>
                <a:gd name="T23" fmla="*/ 74 h 954"/>
                <a:gd name="T24" fmla="*/ 21 w 1146"/>
                <a:gd name="T25" fmla="*/ 74 h 954"/>
                <a:gd name="T26" fmla="*/ 20 w 1146"/>
                <a:gd name="T27" fmla="*/ 67 h 954"/>
                <a:gd name="T28" fmla="*/ 23 w 1146"/>
                <a:gd name="T29" fmla="*/ 64 h 954"/>
                <a:gd name="T30" fmla="*/ 28 w 1146"/>
                <a:gd name="T31" fmla="*/ 65 h 954"/>
                <a:gd name="T32" fmla="*/ 32 w 1146"/>
                <a:gd name="T33" fmla="*/ 62 h 954"/>
                <a:gd name="T34" fmla="*/ 31 w 1146"/>
                <a:gd name="T35" fmla="*/ 56 h 954"/>
                <a:gd name="T36" fmla="*/ 36 w 1146"/>
                <a:gd name="T37" fmla="*/ 54 h 954"/>
                <a:gd name="T38" fmla="*/ 38 w 1146"/>
                <a:gd name="T39" fmla="*/ 54 h 954"/>
                <a:gd name="T40" fmla="*/ 32 w 1146"/>
                <a:gd name="T41" fmla="*/ 54 h 954"/>
                <a:gd name="T42" fmla="*/ 29 w 1146"/>
                <a:gd name="T43" fmla="*/ 59 h 954"/>
                <a:gd name="T44" fmla="*/ 26 w 1146"/>
                <a:gd name="T45" fmla="*/ 59 h 954"/>
                <a:gd name="T46" fmla="*/ 25 w 1146"/>
                <a:gd name="T47" fmla="*/ 61 h 954"/>
                <a:gd name="T48" fmla="*/ 20 w 1146"/>
                <a:gd name="T49" fmla="*/ 61 h 954"/>
                <a:gd name="T50" fmla="*/ 11 w 1146"/>
                <a:gd name="T51" fmla="*/ 54 h 954"/>
                <a:gd name="T52" fmla="*/ 14 w 1146"/>
                <a:gd name="T53" fmla="*/ 50 h 954"/>
                <a:gd name="T54" fmla="*/ 21 w 1146"/>
                <a:gd name="T55" fmla="*/ 51 h 954"/>
                <a:gd name="T56" fmla="*/ 24 w 1146"/>
                <a:gd name="T57" fmla="*/ 50 h 954"/>
                <a:gd name="T58" fmla="*/ 28 w 1146"/>
                <a:gd name="T59" fmla="*/ 48 h 954"/>
                <a:gd name="T60" fmla="*/ 30 w 1146"/>
                <a:gd name="T61" fmla="*/ 49 h 954"/>
                <a:gd name="T62" fmla="*/ 26 w 1146"/>
                <a:gd name="T63" fmla="*/ 47 h 954"/>
                <a:gd name="T64" fmla="*/ 20 w 1146"/>
                <a:gd name="T65" fmla="*/ 50 h 954"/>
                <a:gd name="T66" fmla="*/ 20 w 1146"/>
                <a:gd name="T67" fmla="*/ 44 h 954"/>
                <a:gd name="T68" fmla="*/ 19 w 1146"/>
                <a:gd name="T69" fmla="*/ 46 h 954"/>
                <a:gd name="T70" fmla="*/ 15 w 1146"/>
                <a:gd name="T71" fmla="*/ 49 h 954"/>
                <a:gd name="T72" fmla="*/ 8 w 1146"/>
                <a:gd name="T73" fmla="*/ 48 h 954"/>
                <a:gd name="T74" fmla="*/ 6 w 1146"/>
                <a:gd name="T75" fmla="*/ 41 h 954"/>
                <a:gd name="T76" fmla="*/ 10 w 1146"/>
                <a:gd name="T77" fmla="*/ 41 h 954"/>
                <a:gd name="T78" fmla="*/ 9 w 1146"/>
                <a:gd name="T79" fmla="*/ 39 h 954"/>
                <a:gd name="T80" fmla="*/ 14 w 1146"/>
                <a:gd name="T81" fmla="*/ 35 h 954"/>
                <a:gd name="T82" fmla="*/ 19 w 1146"/>
                <a:gd name="T83" fmla="*/ 32 h 954"/>
                <a:gd name="T84" fmla="*/ 20 w 1146"/>
                <a:gd name="T85" fmla="*/ 29 h 954"/>
                <a:gd name="T86" fmla="*/ 27 w 1146"/>
                <a:gd name="T87" fmla="*/ 27 h 954"/>
                <a:gd name="T88" fmla="*/ 33 w 1146"/>
                <a:gd name="T89" fmla="*/ 28 h 954"/>
                <a:gd name="T90" fmla="*/ 44 w 1146"/>
                <a:gd name="T91" fmla="*/ 27 h 954"/>
                <a:gd name="T92" fmla="*/ 52 w 1146"/>
                <a:gd name="T93" fmla="*/ 41 h 954"/>
                <a:gd name="T94" fmla="*/ 61 w 1146"/>
                <a:gd name="T95" fmla="*/ 40 h 954"/>
                <a:gd name="T96" fmla="*/ 69 w 1146"/>
                <a:gd name="T97" fmla="*/ 34 h 954"/>
                <a:gd name="T98" fmla="*/ 62 w 1146"/>
                <a:gd name="T99" fmla="*/ 12 h 954"/>
                <a:gd name="T100" fmla="*/ 74 w 1146"/>
                <a:gd name="T101" fmla="*/ 8 h 954"/>
                <a:gd name="T102" fmla="*/ 87 w 1146"/>
                <a:gd name="T103" fmla="*/ 1 h 954"/>
                <a:gd name="T104" fmla="*/ 99 w 1146"/>
                <a:gd name="T105" fmla="*/ 12 h 954"/>
                <a:gd name="T106" fmla="*/ 98 w 1146"/>
                <a:gd name="T107" fmla="*/ 27 h 954"/>
                <a:gd name="T108" fmla="*/ 16 w 1146"/>
                <a:gd name="T109" fmla="*/ 33 h 954"/>
                <a:gd name="T110" fmla="*/ 11 w 1146"/>
                <a:gd name="T111" fmla="*/ 36 h 954"/>
                <a:gd name="T112" fmla="*/ 5 w 1146"/>
                <a:gd name="T113" fmla="*/ 41 h 954"/>
                <a:gd name="T114" fmla="*/ 2 w 1146"/>
                <a:gd name="T115" fmla="*/ 36 h 954"/>
                <a:gd name="T116" fmla="*/ 5 w 1146"/>
                <a:gd name="T117" fmla="*/ 26 h 954"/>
                <a:gd name="T118" fmla="*/ 10 w 1146"/>
                <a:gd name="T119" fmla="*/ 20 h 954"/>
                <a:gd name="T120" fmla="*/ 13 w 1146"/>
                <a:gd name="T121" fmla="*/ 20 h 954"/>
                <a:gd name="T122" fmla="*/ 15 w 1146"/>
                <a:gd name="T123" fmla="*/ 27 h 95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46"/>
                <a:gd name="T187" fmla="*/ 0 h 954"/>
                <a:gd name="T188" fmla="*/ 1146 w 1146"/>
                <a:gd name="T189" fmla="*/ 954 h 95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46" h="954">
                  <a:moveTo>
                    <a:pt x="1056" y="498"/>
                  </a:moveTo>
                  <a:lnTo>
                    <a:pt x="1044" y="510"/>
                  </a:lnTo>
                  <a:lnTo>
                    <a:pt x="1032" y="516"/>
                  </a:lnTo>
                  <a:lnTo>
                    <a:pt x="1038" y="528"/>
                  </a:lnTo>
                  <a:lnTo>
                    <a:pt x="1050" y="540"/>
                  </a:lnTo>
                  <a:lnTo>
                    <a:pt x="1050" y="546"/>
                  </a:lnTo>
                  <a:lnTo>
                    <a:pt x="1050" y="564"/>
                  </a:lnTo>
                  <a:lnTo>
                    <a:pt x="1038" y="576"/>
                  </a:lnTo>
                  <a:lnTo>
                    <a:pt x="1032" y="588"/>
                  </a:lnTo>
                  <a:lnTo>
                    <a:pt x="1020" y="594"/>
                  </a:lnTo>
                  <a:lnTo>
                    <a:pt x="1008" y="594"/>
                  </a:lnTo>
                  <a:lnTo>
                    <a:pt x="1002" y="600"/>
                  </a:lnTo>
                  <a:lnTo>
                    <a:pt x="996" y="612"/>
                  </a:lnTo>
                  <a:lnTo>
                    <a:pt x="996" y="624"/>
                  </a:lnTo>
                  <a:lnTo>
                    <a:pt x="996" y="648"/>
                  </a:lnTo>
                  <a:lnTo>
                    <a:pt x="996" y="660"/>
                  </a:lnTo>
                  <a:lnTo>
                    <a:pt x="1002" y="672"/>
                  </a:lnTo>
                  <a:lnTo>
                    <a:pt x="1002" y="684"/>
                  </a:lnTo>
                  <a:lnTo>
                    <a:pt x="996" y="684"/>
                  </a:lnTo>
                  <a:lnTo>
                    <a:pt x="984" y="690"/>
                  </a:lnTo>
                  <a:lnTo>
                    <a:pt x="972" y="690"/>
                  </a:lnTo>
                  <a:lnTo>
                    <a:pt x="966" y="696"/>
                  </a:lnTo>
                  <a:lnTo>
                    <a:pt x="966" y="702"/>
                  </a:lnTo>
                  <a:lnTo>
                    <a:pt x="966" y="714"/>
                  </a:lnTo>
                  <a:lnTo>
                    <a:pt x="972" y="726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2" y="756"/>
                  </a:lnTo>
                  <a:lnTo>
                    <a:pt x="966" y="756"/>
                  </a:lnTo>
                  <a:lnTo>
                    <a:pt x="942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18" y="768"/>
                  </a:lnTo>
                  <a:lnTo>
                    <a:pt x="906" y="768"/>
                  </a:lnTo>
                  <a:lnTo>
                    <a:pt x="894" y="762"/>
                  </a:lnTo>
                  <a:lnTo>
                    <a:pt x="882" y="756"/>
                  </a:lnTo>
                  <a:lnTo>
                    <a:pt x="876" y="756"/>
                  </a:lnTo>
                  <a:lnTo>
                    <a:pt x="876" y="762"/>
                  </a:lnTo>
                  <a:lnTo>
                    <a:pt x="864" y="768"/>
                  </a:lnTo>
                  <a:lnTo>
                    <a:pt x="858" y="774"/>
                  </a:lnTo>
                  <a:lnTo>
                    <a:pt x="852" y="774"/>
                  </a:lnTo>
                  <a:lnTo>
                    <a:pt x="840" y="780"/>
                  </a:lnTo>
                  <a:lnTo>
                    <a:pt x="840" y="786"/>
                  </a:lnTo>
                  <a:lnTo>
                    <a:pt x="840" y="792"/>
                  </a:lnTo>
                  <a:lnTo>
                    <a:pt x="840" y="804"/>
                  </a:lnTo>
                  <a:lnTo>
                    <a:pt x="840" y="810"/>
                  </a:lnTo>
                  <a:lnTo>
                    <a:pt x="828" y="816"/>
                  </a:lnTo>
                  <a:lnTo>
                    <a:pt x="810" y="810"/>
                  </a:lnTo>
                  <a:lnTo>
                    <a:pt x="792" y="810"/>
                  </a:lnTo>
                  <a:lnTo>
                    <a:pt x="786" y="816"/>
                  </a:lnTo>
                  <a:lnTo>
                    <a:pt x="780" y="816"/>
                  </a:lnTo>
                  <a:lnTo>
                    <a:pt x="780" y="822"/>
                  </a:lnTo>
                  <a:lnTo>
                    <a:pt x="780" y="828"/>
                  </a:lnTo>
                  <a:lnTo>
                    <a:pt x="780" y="834"/>
                  </a:lnTo>
                  <a:lnTo>
                    <a:pt x="786" y="840"/>
                  </a:lnTo>
                  <a:lnTo>
                    <a:pt x="786" y="846"/>
                  </a:lnTo>
                  <a:lnTo>
                    <a:pt x="786" y="852"/>
                  </a:lnTo>
                  <a:lnTo>
                    <a:pt x="780" y="858"/>
                  </a:lnTo>
                  <a:lnTo>
                    <a:pt x="768" y="858"/>
                  </a:lnTo>
                  <a:lnTo>
                    <a:pt x="762" y="864"/>
                  </a:lnTo>
                  <a:lnTo>
                    <a:pt x="756" y="864"/>
                  </a:lnTo>
                  <a:lnTo>
                    <a:pt x="750" y="870"/>
                  </a:lnTo>
                  <a:lnTo>
                    <a:pt x="744" y="876"/>
                  </a:lnTo>
                  <a:lnTo>
                    <a:pt x="732" y="876"/>
                  </a:lnTo>
                  <a:lnTo>
                    <a:pt x="726" y="876"/>
                  </a:lnTo>
                  <a:lnTo>
                    <a:pt x="720" y="870"/>
                  </a:lnTo>
                  <a:lnTo>
                    <a:pt x="714" y="864"/>
                  </a:lnTo>
                  <a:lnTo>
                    <a:pt x="708" y="870"/>
                  </a:lnTo>
                  <a:lnTo>
                    <a:pt x="702" y="870"/>
                  </a:lnTo>
                  <a:lnTo>
                    <a:pt x="696" y="876"/>
                  </a:lnTo>
                  <a:lnTo>
                    <a:pt x="696" y="882"/>
                  </a:lnTo>
                  <a:lnTo>
                    <a:pt x="696" y="894"/>
                  </a:lnTo>
                  <a:lnTo>
                    <a:pt x="690" y="900"/>
                  </a:lnTo>
                  <a:lnTo>
                    <a:pt x="684" y="900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54" y="888"/>
                  </a:lnTo>
                  <a:lnTo>
                    <a:pt x="654" y="882"/>
                  </a:lnTo>
                  <a:lnTo>
                    <a:pt x="642" y="876"/>
                  </a:lnTo>
                  <a:lnTo>
                    <a:pt x="636" y="876"/>
                  </a:lnTo>
                  <a:lnTo>
                    <a:pt x="630" y="876"/>
                  </a:lnTo>
                  <a:lnTo>
                    <a:pt x="630" y="870"/>
                  </a:lnTo>
                  <a:lnTo>
                    <a:pt x="618" y="858"/>
                  </a:lnTo>
                  <a:lnTo>
                    <a:pt x="612" y="858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06" y="876"/>
                  </a:lnTo>
                  <a:lnTo>
                    <a:pt x="606" y="882"/>
                  </a:lnTo>
                  <a:lnTo>
                    <a:pt x="606" y="888"/>
                  </a:lnTo>
                  <a:lnTo>
                    <a:pt x="600" y="894"/>
                  </a:lnTo>
                  <a:lnTo>
                    <a:pt x="594" y="894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76" y="894"/>
                  </a:lnTo>
                  <a:lnTo>
                    <a:pt x="582" y="900"/>
                  </a:lnTo>
                  <a:lnTo>
                    <a:pt x="576" y="906"/>
                  </a:lnTo>
                  <a:lnTo>
                    <a:pt x="576" y="918"/>
                  </a:lnTo>
                  <a:lnTo>
                    <a:pt x="570" y="918"/>
                  </a:lnTo>
                  <a:lnTo>
                    <a:pt x="570" y="912"/>
                  </a:lnTo>
                  <a:lnTo>
                    <a:pt x="564" y="912"/>
                  </a:lnTo>
                  <a:lnTo>
                    <a:pt x="564" y="918"/>
                  </a:lnTo>
                  <a:lnTo>
                    <a:pt x="558" y="918"/>
                  </a:lnTo>
                  <a:lnTo>
                    <a:pt x="558" y="912"/>
                  </a:lnTo>
                  <a:lnTo>
                    <a:pt x="552" y="906"/>
                  </a:lnTo>
                  <a:lnTo>
                    <a:pt x="552" y="912"/>
                  </a:lnTo>
                  <a:lnTo>
                    <a:pt x="546" y="912"/>
                  </a:lnTo>
                  <a:lnTo>
                    <a:pt x="540" y="906"/>
                  </a:lnTo>
                  <a:lnTo>
                    <a:pt x="534" y="906"/>
                  </a:lnTo>
                  <a:lnTo>
                    <a:pt x="528" y="906"/>
                  </a:lnTo>
                  <a:lnTo>
                    <a:pt x="522" y="906"/>
                  </a:lnTo>
                  <a:lnTo>
                    <a:pt x="522" y="918"/>
                  </a:lnTo>
                  <a:lnTo>
                    <a:pt x="516" y="918"/>
                  </a:lnTo>
                  <a:lnTo>
                    <a:pt x="516" y="924"/>
                  </a:lnTo>
                  <a:lnTo>
                    <a:pt x="510" y="924"/>
                  </a:lnTo>
                  <a:lnTo>
                    <a:pt x="504" y="924"/>
                  </a:lnTo>
                  <a:lnTo>
                    <a:pt x="498" y="930"/>
                  </a:lnTo>
                  <a:lnTo>
                    <a:pt x="492" y="924"/>
                  </a:lnTo>
                  <a:lnTo>
                    <a:pt x="486" y="930"/>
                  </a:lnTo>
                  <a:lnTo>
                    <a:pt x="480" y="942"/>
                  </a:lnTo>
                  <a:lnTo>
                    <a:pt x="468" y="948"/>
                  </a:lnTo>
                  <a:lnTo>
                    <a:pt x="444" y="942"/>
                  </a:lnTo>
                  <a:lnTo>
                    <a:pt x="438" y="954"/>
                  </a:lnTo>
                  <a:lnTo>
                    <a:pt x="426" y="954"/>
                  </a:lnTo>
                  <a:lnTo>
                    <a:pt x="420" y="948"/>
                  </a:lnTo>
                  <a:lnTo>
                    <a:pt x="408" y="936"/>
                  </a:lnTo>
                  <a:lnTo>
                    <a:pt x="396" y="936"/>
                  </a:lnTo>
                  <a:lnTo>
                    <a:pt x="390" y="930"/>
                  </a:lnTo>
                  <a:lnTo>
                    <a:pt x="390" y="924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66" y="924"/>
                  </a:lnTo>
                  <a:lnTo>
                    <a:pt x="360" y="924"/>
                  </a:lnTo>
                  <a:lnTo>
                    <a:pt x="348" y="918"/>
                  </a:lnTo>
                  <a:lnTo>
                    <a:pt x="342" y="906"/>
                  </a:lnTo>
                  <a:lnTo>
                    <a:pt x="336" y="906"/>
                  </a:lnTo>
                  <a:lnTo>
                    <a:pt x="330" y="906"/>
                  </a:lnTo>
                  <a:lnTo>
                    <a:pt x="312" y="906"/>
                  </a:lnTo>
                  <a:lnTo>
                    <a:pt x="312" y="900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18" y="888"/>
                  </a:lnTo>
                  <a:lnTo>
                    <a:pt x="312" y="882"/>
                  </a:lnTo>
                  <a:lnTo>
                    <a:pt x="306" y="876"/>
                  </a:lnTo>
                  <a:lnTo>
                    <a:pt x="312" y="876"/>
                  </a:lnTo>
                  <a:lnTo>
                    <a:pt x="312" y="870"/>
                  </a:lnTo>
                  <a:lnTo>
                    <a:pt x="318" y="876"/>
                  </a:lnTo>
                  <a:lnTo>
                    <a:pt x="318" y="870"/>
                  </a:lnTo>
                  <a:lnTo>
                    <a:pt x="324" y="876"/>
                  </a:lnTo>
                  <a:lnTo>
                    <a:pt x="330" y="876"/>
                  </a:lnTo>
                  <a:lnTo>
                    <a:pt x="336" y="876"/>
                  </a:lnTo>
                  <a:lnTo>
                    <a:pt x="342" y="876"/>
                  </a:lnTo>
                  <a:lnTo>
                    <a:pt x="336" y="876"/>
                  </a:lnTo>
                  <a:lnTo>
                    <a:pt x="330" y="870"/>
                  </a:lnTo>
                  <a:lnTo>
                    <a:pt x="324" y="870"/>
                  </a:lnTo>
                  <a:lnTo>
                    <a:pt x="318" y="870"/>
                  </a:lnTo>
                  <a:lnTo>
                    <a:pt x="312" y="870"/>
                  </a:lnTo>
                  <a:lnTo>
                    <a:pt x="318" y="864"/>
                  </a:lnTo>
                  <a:lnTo>
                    <a:pt x="318" y="858"/>
                  </a:lnTo>
                  <a:lnTo>
                    <a:pt x="318" y="852"/>
                  </a:lnTo>
                  <a:lnTo>
                    <a:pt x="312" y="852"/>
                  </a:lnTo>
                  <a:lnTo>
                    <a:pt x="306" y="852"/>
                  </a:lnTo>
                  <a:lnTo>
                    <a:pt x="306" y="846"/>
                  </a:lnTo>
                  <a:lnTo>
                    <a:pt x="312" y="828"/>
                  </a:lnTo>
                  <a:lnTo>
                    <a:pt x="312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06" y="816"/>
                  </a:lnTo>
                  <a:lnTo>
                    <a:pt x="306" y="810"/>
                  </a:lnTo>
                  <a:lnTo>
                    <a:pt x="306" y="816"/>
                  </a:lnTo>
                  <a:lnTo>
                    <a:pt x="312" y="822"/>
                  </a:lnTo>
                  <a:lnTo>
                    <a:pt x="306" y="822"/>
                  </a:lnTo>
                  <a:lnTo>
                    <a:pt x="306" y="828"/>
                  </a:lnTo>
                  <a:lnTo>
                    <a:pt x="306" y="834"/>
                  </a:lnTo>
                  <a:lnTo>
                    <a:pt x="300" y="840"/>
                  </a:lnTo>
                  <a:lnTo>
                    <a:pt x="300" y="846"/>
                  </a:lnTo>
                  <a:lnTo>
                    <a:pt x="306" y="852"/>
                  </a:lnTo>
                  <a:lnTo>
                    <a:pt x="306" y="858"/>
                  </a:lnTo>
                  <a:lnTo>
                    <a:pt x="312" y="858"/>
                  </a:lnTo>
                  <a:lnTo>
                    <a:pt x="312" y="864"/>
                  </a:lnTo>
                  <a:lnTo>
                    <a:pt x="306" y="864"/>
                  </a:lnTo>
                  <a:lnTo>
                    <a:pt x="300" y="864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82" y="870"/>
                  </a:lnTo>
                  <a:lnTo>
                    <a:pt x="276" y="870"/>
                  </a:lnTo>
                  <a:lnTo>
                    <a:pt x="270" y="876"/>
                  </a:lnTo>
                  <a:lnTo>
                    <a:pt x="264" y="876"/>
                  </a:lnTo>
                  <a:lnTo>
                    <a:pt x="258" y="876"/>
                  </a:lnTo>
                  <a:lnTo>
                    <a:pt x="258" y="870"/>
                  </a:lnTo>
                  <a:lnTo>
                    <a:pt x="252" y="870"/>
                  </a:lnTo>
                  <a:lnTo>
                    <a:pt x="252" y="864"/>
                  </a:lnTo>
                  <a:lnTo>
                    <a:pt x="246" y="858"/>
                  </a:lnTo>
                  <a:lnTo>
                    <a:pt x="246" y="852"/>
                  </a:lnTo>
                  <a:lnTo>
                    <a:pt x="246" y="846"/>
                  </a:lnTo>
                  <a:lnTo>
                    <a:pt x="246" y="840"/>
                  </a:lnTo>
                  <a:lnTo>
                    <a:pt x="246" y="834"/>
                  </a:lnTo>
                  <a:lnTo>
                    <a:pt x="246" y="828"/>
                  </a:lnTo>
                  <a:lnTo>
                    <a:pt x="246" y="822"/>
                  </a:lnTo>
                  <a:lnTo>
                    <a:pt x="240" y="816"/>
                  </a:lnTo>
                  <a:lnTo>
                    <a:pt x="240" y="810"/>
                  </a:lnTo>
                  <a:lnTo>
                    <a:pt x="240" y="804"/>
                  </a:lnTo>
                  <a:lnTo>
                    <a:pt x="240" y="798"/>
                  </a:lnTo>
                  <a:lnTo>
                    <a:pt x="234" y="798"/>
                  </a:lnTo>
                  <a:lnTo>
                    <a:pt x="234" y="792"/>
                  </a:lnTo>
                  <a:lnTo>
                    <a:pt x="234" y="786"/>
                  </a:lnTo>
                  <a:lnTo>
                    <a:pt x="234" y="780"/>
                  </a:lnTo>
                  <a:lnTo>
                    <a:pt x="228" y="780"/>
                  </a:lnTo>
                  <a:lnTo>
                    <a:pt x="228" y="774"/>
                  </a:lnTo>
                  <a:lnTo>
                    <a:pt x="228" y="768"/>
                  </a:lnTo>
                  <a:lnTo>
                    <a:pt x="222" y="762"/>
                  </a:lnTo>
                  <a:lnTo>
                    <a:pt x="222" y="756"/>
                  </a:lnTo>
                  <a:lnTo>
                    <a:pt x="222" y="750"/>
                  </a:lnTo>
                  <a:lnTo>
                    <a:pt x="222" y="744"/>
                  </a:lnTo>
                  <a:lnTo>
                    <a:pt x="222" y="738"/>
                  </a:lnTo>
                  <a:lnTo>
                    <a:pt x="216" y="732"/>
                  </a:lnTo>
                  <a:lnTo>
                    <a:pt x="222" y="732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32"/>
                  </a:lnTo>
                  <a:lnTo>
                    <a:pt x="246" y="732"/>
                  </a:lnTo>
                  <a:lnTo>
                    <a:pt x="246" y="738"/>
                  </a:lnTo>
                  <a:lnTo>
                    <a:pt x="252" y="738"/>
                  </a:lnTo>
                  <a:lnTo>
                    <a:pt x="258" y="738"/>
                  </a:lnTo>
                  <a:lnTo>
                    <a:pt x="258" y="732"/>
                  </a:lnTo>
                  <a:lnTo>
                    <a:pt x="264" y="732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8" y="732"/>
                  </a:lnTo>
                  <a:lnTo>
                    <a:pt x="294" y="732"/>
                  </a:lnTo>
                  <a:lnTo>
                    <a:pt x="300" y="732"/>
                  </a:lnTo>
                  <a:lnTo>
                    <a:pt x="300" y="738"/>
                  </a:lnTo>
                  <a:lnTo>
                    <a:pt x="306" y="738"/>
                  </a:lnTo>
                  <a:lnTo>
                    <a:pt x="306" y="744"/>
                  </a:lnTo>
                  <a:lnTo>
                    <a:pt x="306" y="750"/>
                  </a:lnTo>
                  <a:lnTo>
                    <a:pt x="312" y="750"/>
                  </a:lnTo>
                  <a:lnTo>
                    <a:pt x="312" y="756"/>
                  </a:lnTo>
                  <a:lnTo>
                    <a:pt x="318" y="756"/>
                  </a:lnTo>
                  <a:lnTo>
                    <a:pt x="318" y="750"/>
                  </a:lnTo>
                  <a:lnTo>
                    <a:pt x="312" y="750"/>
                  </a:lnTo>
                  <a:lnTo>
                    <a:pt x="312" y="744"/>
                  </a:lnTo>
                  <a:lnTo>
                    <a:pt x="318" y="738"/>
                  </a:lnTo>
                  <a:lnTo>
                    <a:pt x="324" y="738"/>
                  </a:lnTo>
                  <a:lnTo>
                    <a:pt x="330" y="738"/>
                  </a:lnTo>
                  <a:lnTo>
                    <a:pt x="336" y="738"/>
                  </a:lnTo>
                  <a:lnTo>
                    <a:pt x="342" y="738"/>
                  </a:lnTo>
                  <a:lnTo>
                    <a:pt x="348" y="732"/>
                  </a:lnTo>
                  <a:lnTo>
                    <a:pt x="354" y="732"/>
                  </a:lnTo>
                  <a:lnTo>
                    <a:pt x="360" y="732"/>
                  </a:lnTo>
                  <a:lnTo>
                    <a:pt x="360" y="726"/>
                  </a:lnTo>
                  <a:lnTo>
                    <a:pt x="366" y="726"/>
                  </a:lnTo>
                  <a:lnTo>
                    <a:pt x="366" y="720"/>
                  </a:lnTo>
                  <a:lnTo>
                    <a:pt x="366" y="714"/>
                  </a:lnTo>
                  <a:lnTo>
                    <a:pt x="360" y="708"/>
                  </a:lnTo>
                  <a:lnTo>
                    <a:pt x="354" y="708"/>
                  </a:lnTo>
                  <a:lnTo>
                    <a:pt x="348" y="702"/>
                  </a:lnTo>
                  <a:lnTo>
                    <a:pt x="354" y="702"/>
                  </a:lnTo>
                  <a:lnTo>
                    <a:pt x="354" y="696"/>
                  </a:lnTo>
                  <a:lnTo>
                    <a:pt x="348" y="696"/>
                  </a:lnTo>
                  <a:lnTo>
                    <a:pt x="348" y="690"/>
                  </a:lnTo>
                  <a:lnTo>
                    <a:pt x="342" y="690"/>
                  </a:lnTo>
                  <a:lnTo>
                    <a:pt x="342" y="684"/>
                  </a:lnTo>
                  <a:lnTo>
                    <a:pt x="342" y="678"/>
                  </a:lnTo>
                  <a:lnTo>
                    <a:pt x="342" y="666"/>
                  </a:lnTo>
                  <a:lnTo>
                    <a:pt x="342" y="660"/>
                  </a:lnTo>
                  <a:lnTo>
                    <a:pt x="348" y="654"/>
                  </a:lnTo>
                  <a:lnTo>
                    <a:pt x="348" y="642"/>
                  </a:lnTo>
                  <a:lnTo>
                    <a:pt x="354" y="642"/>
                  </a:lnTo>
                  <a:lnTo>
                    <a:pt x="360" y="642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66" y="642"/>
                  </a:lnTo>
                  <a:lnTo>
                    <a:pt x="372" y="642"/>
                  </a:lnTo>
                  <a:lnTo>
                    <a:pt x="378" y="642"/>
                  </a:lnTo>
                  <a:lnTo>
                    <a:pt x="384" y="642"/>
                  </a:lnTo>
                  <a:lnTo>
                    <a:pt x="390" y="642"/>
                  </a:lnTo>
                  <a:lnTo>
                    <a:pt x="396" y="642"/>
                  </a:lnTo>
                  <a:lnTo>
                    <a:pt x="396" y="636"/>
                  </a:lnTo>
                  <a:lnTo>
                    <a:pt x="402" y="636"/>
                  </a:lnTo>
                  <a:lnTo>
                    <a:pt x="408" y="636"/>
                  </a:lnTo>
                  <a:lnTo>
                    <a:pt x="402" y="636"/>
                  </a:lnTo>
                  <a:lnTo>
                    <a:pt x="402" y="630"/>
                  </a:lnTo>
                  <a:lnTo>
                    <a:pt x="408" y="630"/>
                  </a:lnTo>
                  <a:lnTo>
                    <a:pt x="408" y="624"/>
                  </a:lnTo>
                  <a:lnTo>
                    <a:pt x="408" y="618"/>
                  </a:lnTo>
                  <a:lnTo>
                    <a:pt x="414" y="618"/>
                  </a:lnTo>
                  <a:lnTo>
                    <a:pt x="420" y="618"/>
                  </a:lnTo>
                  <a:lnTo>
                    <a:pt x="426" y="624"/>
                  </a:lnTo>
                  <a:lnTo>
                    <a:pt x="432" y="624"/>
                  </a:lnTo>
                  <a:lnTo>
                    <a:pt x="438" y="624"/>
                  </a:lnTo>
                  <a:lnTo>
                    <a:pt x="438" y="618"/>
                  </a:lnTo>
                  <a:lnTo>
                    <a:pt x="444" y="618"/>
                  </a:lnTo>
                  <a:lnTo>
                    <a:pt x="450" y="618"/>
                  </a:lnTo>
                  <a:lnTo>
                    <a:pt x="444" y="618"/>
                  </a:lnTo>
                  <a:lnTo>
                    <a:pt x="438" y="618"/>
                  </a:lnTo>
                  <a:lnTo>
                    <a:pt x="438" y="612"/>
                  </a:lnTo>
                  <a:lnTo>
                    <a:pt x="438" y="618"/>
                  </a:lnTo>
                  <a:lnTo>
                    <a:pt x="432" y="624"/>
                  </a:lnTo>
                  <a:lnTo>
                    <a:pt x="426" y="618"/>
                  </a:lnTo>
                  <a:lnTo>
                    <a:pt x="420" y="612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402" y="624"/>
                  </a:lnTo>
                  <a:lnTo>
                    <a:pt x="396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78" y="630"/>
                  </a:lnTo>
                  <a:lnTo>
                    <a:pt x="378" y="636"/>
                  </a:lnTo>
                  <a:lnTo>
                    <a:pt x="372" y="630"/>
                  </a:lnTo>
                  <a:lnTo>
                    <a:pt x="366" y="630"/>
                  </a:lnTo>
                  <a:lnTo>
                    <a:pt x="360" y="630"/>
                  </a:lnTo>
                  <a:lnTo>
                    <a:pt x="354" y="630"/>
                  </a:lnTo>
                  <a:lnTo>
                    <a:pt x="354" y="636"/>
                  </a:lnTo>
                  <a:lnTo>
                    <a:pt x="348" y="636"/>
                  </a:lnTo>
                  <a:lnTo>
                    <a:pt x="348" y="642"/>
                  </a:lnTo>
                  <a:lnTo>
                    <a:pt x="342" y="642"/>
                  </a:lnTo>
                  <a:lnTo>
                    <a:pt x="342" y="648"/>
                  </a:lnTo>
                  <a:lnTo>
                    <a:pt x="342" y="654"/>
                  </a:lnTo>
                  <a:lnTo>
                    <a:pt x="336" y="654"/>
                  </a:lnTo>
                  <a:lnTo>
                    <a:pt x="336" y="660"/>
                  </a:lnTo>
                  <a:lnTo>
                    <a:pt x="336" y="666"/>
                  </a:lnTo>
                  <a:lnTo>
                    <a:pt x="330" y="672"/>
                  </a:lnTo>
                  <a:lnTo>
                    <a:pt x="330" y="678"/>
                  </a:lnTo>
                  <a:lnTo>
                    <a:pt x="330" y="684"/>
                  </a:lnTo>
                  <a:lnTo>
                    <a:pt x="330" y="690"/>
                  </a:lnTo>
                  <a:lnTo>
                    <a:pt x="324" y="696"/>
                  </a:lnTo>
                  <a:lnTo>
                    <a:pt x="324" y="702"/>
                  </a:lnTo>
                  <a:lnTo>
                    <a:pt x="318" y="702"/>
                  </a:lnTo>
                  <a:lnTo>
                    <a:pt x="318" y="708"/>
                  </a:lnTo>
                  <a:lnTo>
                    <a:pt x="312" y="708"/>
                  </a:lnTo>
                  <a:lnTo>
                    <a:pt x="312" y="702"/>
                  </a:lnTo>
                  <a:lnTo>
                    <a:pt x="306" y="702"/>
                  </a:lnTo>
                  <a:lnTo>
                    <a:pt x="300" y="702"/>
                  </a:lnTo>
                  <a:lnTo>
                    <a:pt x="294" y="696"/>
                  </a:lnTo>
                  <a:lnTo>
                    <a:pt x="288" y="696"/>
                  </a:lnTo>
                  <a:lnTo>
                    <a:pt x="282" y="690"/>
                  </a:lnTo>
                  <a:lnTo>
                    <a:pt x="288" y="684"/>
                  </a:lnTo>
                  <a:lnTo>
                    <a:pt x="294" y="684"/>
                  </a:lnTo>
                  <a:lnTo>
                    <a:pt x="294" y="678"/>
                  </a:lnTo>
                  <a:lnTo>
                    <a:pt x="300" y="678"/>
                  </a:lnTo>
                  <a:lnTo>
                    <a:pt x="294" y="678"/>
                  </a:lnTo>
                  <a:lnTo>
                    <a:pt x="294" y="672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94" y="672"/>
                  </a:lnTo>
                  <a:lnTo>
                    <a:pt x="288" y="678"/>
                  </a:lnTo>
                  <a:lnTo>
                    <a:pt x="282" y="684"/>
                  </a:lnTo>
                  <a:lnTo>
                    <a:pt x="282" y="678"/>
                  </a:lnTo>
                  <a:lnTo>
                    <a:pt x="276" y="678"/>
                  </a:lnTo>
                  <a:lnTo>
                    <a:pt x="282" y="684"/>
                  </a:lnTo>
                  <a:lnTo>
                    <a:pt x="282" y="690"/>
                  </a:lnTo>
                  <a:lnTo>
                    <a:pt x="282" y="696"/>
                  </a:lnTo>
                  <a:lnTo>
                    <a:pt x="288" y="702"/>
                  </a:lnTo>
                  <a:lnTo>
                    <a:pt x="294" y="708"/>
                  </a:lnTo>
                  <a:lnTo>
                    <a:pt x="294" y="714"/>
                  </a:lnTo>
                  <a:lnTo>
                    <a:pt x="288" y="714"/>
                  </a:lnTo>
                  <a:lnTo>
                    <a:pt x="282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76" y="714"/>
                  </a:lnTo>
                  <a:lnTo>
                    <a:pt x="270" y="714"/>
                  </a:lnTo>
                  <a:lnTo>
                    <a:pt x="264" y="714"/>
                  </a:lnTo>
                  <a:lnTo>
                    <a:pt x="258" y="714"/>
                  </a:lnTo>
                  <a:lnTo>
                    <a:pt x="252" y="714"/>
                  </a:lnTo>
                  <a:lnTo>
                    <a:pt x="246" y="714"/>
                  </a:lnTo>
                  <a:lnTo>
                    <a:pt x="240" y="714"/>
                  </a:lnTo>
                  <a:lnTo>
                    <a:pt x="240" y="708"/>
                  </a:lnTo>
                  <a:lnTo>
                    <a:pt x="234" y="708"/>
                  </a:lnTo>
                  <a:lnTo>
                    <a:pt x="228" y="708"/>
                  </a:lnTo>
                  <a:lnTo>
                    <a:pt x="222" y="702"/>
                  </a:lnTo>
                  <a:lnTo>
                    <a:pt x="216" y="702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2" y="690"/>
                  </a:lnTo>
                  <a:lnTo>
                    <a:pt x="186" y="690"/>
                  </a:lnTo>
                  <a:lnTo>
                    <a:pt x="180" y="684"/>
                  </a:lnTo>
                  <a:lnTo>
                    <a:pt x="174" y="684"/>
                  </a:lnTo>
                  <a:lnTo>
                    <a:pt x="168" y="684"/>
                  </a:lnTo>
                  <a:lnTo>
                    <a:pt x="168" y="678"/>
                  </a:lnTo>
                  <a:lnTo>
                    <a:pt x="156" y="672"/>
                  </a:lnTo>
                  <a:lnTo>
                    <a:pt x="150" y="660"/>
                  </a:lnTo>
                  <a:lnTo>
                    <a:pt x="126" y="630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24"/>
                  </a:lnTo>
                  <a:lnTo>
                    <a:pt x="126" y="618"/>
                  </a:lnTo>
                  <a:lnTo>
                    <a:pt x="126" y="612"/>
                  </a:lnTo>
                  <a:lnTo>
                    <a:pt x="126" y="606"/>
                  </a:lnTo>
                  <a:lnTo>
                    <a:pt x="126" y="600"/>
                  </a:lnTo>
                  <a:lnTo>
                    <a:pt x="132" y="594"/>
                  </a:lnTo>
                  <a:lnTo>
                    <a:pt x="138" y="594"/>
                  </a:lnTo>
                  <a:lnTo>
                    <a:pt x="144" y="588"/>
                  </a:lnTo>
                  <a:lnTo>
                    <a:pt x="144" y="582"/>
                  </a:lnTo>
                  <a:lnTo>
                    <a:pt x="150" y="582"/>
                  </a:lnTo>
                  <a:lnTo>
                    <a:pt x="150" y="576"/>
                  </a:lnTo>
                  <a:lnTo>
                    <a:pt x="156" y="576"/>
                  </a:lnTo>
                  <a:lnTo>
                    <a:pt x="156" y="582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8" y="576"/>
                  </a:lnTo>
                  <a:lnTo>
                    <a:pt x="174" y="576"/>
                  </a:lnTo>
                  <a:lnTo>
                    <a:pt x="180" y="582"/>
                  </a:lnTo>
                  <a:lnTo>
                    <a:pt x="192" y="582"/>
                  </a:lnTo>
                  <a:lnTo>
                    <a:pt x="198" y="582"/>
                  </a:lnTo>
                  <a:lnTo>
                    <a:pt x="204" y="582"/>
                  </a:lnTo>
                  <a:lnTo>
                    <a:pt x="210" y="582"/>
                  </a:lnTo>
                  <a:lnTo>
                    <a:pt x="216" y="588"/>
                  </a:lnTo>
                  <a:lnTo>
                    <a:pt x="222" y="588"/>
                  </a:lnTo>
                  <a:lnTo>
                    <a:pt x="234" y="588"/>
                  </a:lnTo>
                  <a:lnTo>
                    <a:pt x="240" y="588"/>
                  </a:lnTo>
                  <a:lnTo>
                    <a:pt x="240" y="594"/>
                  </a:lnTo>
                  <a:lnTo>
                    <a:pt x="240" y="588"/>
                  </a:lnTo>
                  <a:lnTo>
                    <a:pt x="246" y="588"/>
                  </a:lnTo>
                  <a:lnTo>
                    <a:pt x="246" y="594"/>
                  </a:lnTo>
                  <a:lnTo>
                    <a:pt x="252" y="588"/>
                  </a:lnTo>
                  <a:lnTo>
                    <a:pt x="258" y="588"/>
                  </a:lnTo>
                  <a:lnTo>
                    <a:pt x="258" y="594"/>
                  </a:lnTo>
                  <a:lnTo>
                    <a:pt x="252" y="594"/>
                  </a:lnTo>
                  <a:lnTo>
                    <a:pt x="252" y="600"/>
                  </a:lnTo>
                  <a:lnTo>
                    <a:pt x="246" y="600"/>
                  </a:lnTo>
                  <a:lnTo>
                    <a:pt x="246" y="606"/>
                  </a:lnTo>
                  <a:lnTo>
                    <a:pt x="246" y="600"/>
                  </a:lnTo>
                  <a:lnTo>
                    <a:pt x="252" y="600"/>
                  </a:lnTo>
                  <a:lnTo>
                    <a:pt x="258" y="594"/>
                  </a:lnTo>
                  <a:lnTo>
                    <a:pt x="264" y="594"/>
                  </a:lnTo>
                  <a:lnTo>
                    <a:pt x="264" y="588"/>
                  </a:lnTo>
                  <a:lnTo>
                    <a:pt x="270" y="588"/>
                  </a:lnTo>
                  <a:lnTo>
                    <a:pt x="270" y="582"/>
                  </a:lnTo>
                  <a:lnTo>
                    <a:pt x="270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76" y="564"/>
                  </a:lnTo>
                  <a:lnTo>
                    <a:pt x="270" y="558"/>
                  </a:lnTo>
                  <a:lnTo>
                    <a:pt x="276" y="558"/>
                  </a:lnTo>
                  <a:lnTo>
                    <a:pt x="276" y="552"/>
                  </a:lnTo>
                  <a:lnTo>
                    <a:pt x="276" y="558"/>
                  </a:lnTo>
                  <a:lnTo>
                    <a:pt x="282" y="558"/>
                  </a:lnTo>
                  <a:lnTo>
                    <a:pt x="288" y="558"/>
                  </a:lnTo>
                  <a:lnTo>
                    <a:pt x="294" y="558"/>
                  </a:lnTo>
                  <a:lnTo>
                    <a:pt x="300" y="558"/>
                  </a:lnTo>
                  <a:lnTo>
                    <a:pt x="306" y="558"/>
                  </a:lnTo>
                  <a:lnTo>
                    <a:pt x="312" y="558"/>
                  </a:lnTo>
                  <a:lnTo>
                    <a:pt x="318" y="558"/>
                  </a:lnTo>
                  <a:lnTo>
                    <a:pt x="318" y="564"/>
                  </a:lnTo>
                  <a:lnTo>
                    <a:pt x="324" y="564"/>
                  </a:lnTo>
                  <a:lnTo>
                    <a:pt x="324" y="570"/>
                  </a:lnTo>
                  <a:lnTo>
                    <a:pt x="330" y="570"/>
                  </a:lnTo>
                  <a:lnTo>
                    <a:pt x="336" y="570"/>
                  </a:lnTo>
                  <a:lnTo>
                    <a:pt x="342" y="570"/>
                  </a:lnTo>
                  <a:lnTo>
                    <a:pt x="348" y="570"/>
                  </a:lnTo>
                  <a:lnTo>
                    <a:pt x="354" y="570"/>
                  </a:lnTo>
                  <a:lnTo>
                    <a:pt x="360" y="570"/>
                  </a:lnTo>
                  <a:lnTo>
                    <a:pt x="366" y="570"/>
                  </a:lnTo>
                  <a:lnTo>
                    <a:pt x="360" y="570"/>
                  </a:lnTo>
                  <a:lnTo>
                    <a:pt x="360" y="564"/>
                  </a:lnTo>
                  <a:lnTo>
                    <a:pt x="354" y="564"/>
                  </a:lnTo>
                  <a:lnTo>
                    <a:pt x="348" y="564"/>
                  </a:lnTo>
                  <a:lnTo>
                    <a:pt x="342" y="564"/>
                  </a:lnTo>
                  <a:lnTo>
                    <a:pt x="342" y="570"/>
                  </a:lnTo>
                  <a:lnTo>
                    <a:pt x="336" y="564"/>
                  </a:lnTo>
                  <a:lnTo>
                    <a:pt x="336" y="570"/>
                  </a:lnTo>
                  <a:lnTo>
                    <a:pt x="336" y="564"/>
                  </a:lnTo>
                  <a:lnTo>
                    <a:pt x="330" y="564"/>
                  </a:lnTo>
                  <a:lnTo>
                    <a:pt x="324" y="558"/>
                  </a:lnTo>
                  <a:lnTo>
                    <a:pt x="324" y="564"/>
                  </a:lnTo>
                  <a:lnTo>
                    <a:pt x="324" y="558"/>
                  </a:lnTo>
                  <a:lnTo>
                    <a:pt x="318" y="558"/>
                  </a:lnTo>
                  <a:lnTo>
                    <a:pt x="312" y="552"/>
                  </a:lnTo>
                  <a:lnTo>
                    <a:pt x="312" y="558"/>
                  </a:lnTo>
                  <a:lnTo>
                    <a:pt x="312" y="552"/>
                  </a:lnTo>
                  <a:lnTo>
                    <a:pt x="306" y="552"/>
                  </a:lnTo>
                  <a:lnTo>
                    <a:pt x="300" y="546"/>
                  </a:lnTo>
                  <a:lnTo>
                    <a:pt x="294" y="546"/>
                  </a:lnTo>
                  <a:lnTo>
                    <a:pt x="288" y="546"/>
                  </a:lnTo>
                  <a:lnTo>
                    <a:pt x="282" y="546"/>
                  </a:lnTo>
                  <a:lnTo>
                    <a:pt x="276" y="546"/>
                  </a:lnTo>
                  <a:lnTo>
                    <a:pt x="276" y="552"/>
                  </a:lnTo>
                  <a:lnTo>
                    <a:pt x="270" y="552"/>
                  </a:lnTo>
                  <a:lnTo>
                    <a:pt x="270" y="558"/>
                  </a:lnTo>
                  <a:lnTo>
                    <a:pt x="270" y="564"/>
                  </a:lnTo>
                  <a:lnTo>
                    <a:pt x="264" y="570"/>
                  </a:lnTo>
                  <a:lnTo>
                    <a:pt x="258" y="576"/>
                  </a:lnTo>
                  <a:lnTo>
                    <a:pt x="258" y="582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2"/>
                  </a:lnTo>
                  <a:lnTo>
                    <a:pt x="234" y="576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10" y="552"/>
                  </a:lnTo>
                  <a:lnTo>
                    <a:pt x="216" y="552"/>
                  </a:lnTo>
                  <a:lnTo>
                    <a:pt x="216" y="546"/>
                  </a:lnTo>
                  <a:lnTo>
                    <a:pt x="216" y="540"/>
                  </a:lnTo>
                  <a:lnTo>
                    <a:pt x="222" y="534"/>
                  </a:lnTo>
                  <a:lnTo>
                    <a:pt x="222" y="528"/>
                  </a:lnTo>
                  <a:lnTo>
                    <a:pt x="228" y="522"/>
                  </a:lnTo>
                  <a:lnTo>
                    <a:pt x="228" y="516"/>
                  </a:lnTo>
                  <a:lnTo>
                    <a:pt x="228" y="510"/>
                  </a:lnTo>
                  <a:lnTo>
                    <a:pt x="234" y="510"/>
                  </a:lnTo>
                  <a:lnTo>
                    <a:pt x="240" y="516"/>
                  </a:lnTo>
                  <a:lnTo>
                    <a:pt x="246" y="522"/>
                  </a:lnTo>
                  <a:lnTo>
                    <a:pt x="246" y="516"/>
                  </a:lnTo>
                  <a:lnTo>
                    <a:pt x="240" y="516"/>
                  </a:lnTo>
                  <a:lnTo>
                    <a:pt x="240" y="510"/>
                  </a:lnTo>
                  <a:lnTo>
                    <a:pt x="234" y="510"/>
                  </a:lnTo>
                  <a:lnTo>
                    <a:pt x="234" y="504"/>
                  </a:lnTo>
                  <a:lnTo>
                    <a:pt x="228" y="504"/>
                  </a:lnTo>
                  <a:lnTo>
                    <a:pt x="222" y="504"/>
                  </a:lnTo>
                  <a:lnTo>
                    <a:pt x="222" y="498"/>
                  </a:lnTo>
                  <a:lnTo>
                    <a:pt x="222" y="504"/>
                  </a:lnTo>
                  <a:lnTo>
                    <a:pt x="222" y="510"/>
                  </a:lnTo>
                  <a:lnTo>
                    <a:pt x="222" y="516"/>
                  </a:lnTo>
                  <a:lnTo>
                    <a:pt x="216" y="522"/>
                  </a:lnTo>
                  <a:lnTo>
                    <a:pt x="216" y="528"/>
                  </a:lnTo>
                  <a:lnTo>
                    <a:pt x="210" y="528"/>
                  </a:lnTo>
                  <a:lnTo>
                    <a:pt x="216" y="528"/>
                  </a:lnTo>
                  <a:lnTo>
                    <a:pt x="210" y="534"/>
                  </a:lnTo>
                  <a:lnTo>
                    <a:pt x="210" y="540"/>
                  </a:lnTo>
                  <a:lnTo>
                    <a:pt x="210" y="546"/>
                  </a:lnTo>
                  <a:lnTo>
                    <a:pt x="204" y="546"/>
                  </a:lnTo>
                  <a:lnTo>
                    <a:pt x="204" y="552"/>
                  </a:lnTo>
                  <a:lnTo>
                    <a:pt x="204" y="558"/>
                  </a:lnTo>
                  <a:lnTo>
                    <a:pt x="204" y="564"/>
                  </a:lnTo>
                  <a:lnTo>
                    <a:pt x="198" y="570"/>
                  </a:lnTo>
                  <a:lnTo>
                    <a:pt x="192" y="564"/>
                  </a:lnTo>
                  <a:lnTo>
                    <a:pt x="186" y="564"/>
                  </a:lnTo>
                  <a:lnTo>
                    <a:pt x="180" y="564"/>
                  </a:lnTo>
                  <a:lnTo>
                    <a:pt x="174" y="564"/>
                  </a:lnTo>
                  <a:lnTo>
                    <a:pt x="168" y="564"/>
                  </a:lnTo>
                  <a:lnTo>
                    <a:pt x="162" y="564"/>
                  </a:lnTo>
                  <a:lnTo>
                    <a:pt x="156" y="570"/>
                  </a:lnTo>
                  <a:lnTo>
                    <a:pt x="150" y="570"/>
                  </a:lnTo>
                  <a:lnTo>
                    <a:pt x="150" y="564"/>
                  </a:lnTo>
                  <a:lnTo>
                    <a:pt x="150" y="570"/>
                  </a:lnTo>
                  <a:lnTo>
                    <a:pt x="150" y="576"/>
                  </a:lnTo>
                  <a:lnTo>
                    <a:pt x="144" y="576"/>
                  </a:lnTo>
                  <a:lnTo>
                    <a:pt x="138" y="576"/>
                  </a:lnTo>
                  <a:lnTo>
                    <a:pt x="132" y="582"/>
                  </a:lnTo>
                  <a:lnTo>
                    <a:pt x="126" y="582"/>
                  </a:lnTo>
                  <a:lnTo>
                    <a:pt x="120" y="582"/>
                  </a:lnTo>
                  <a:lnTo>
                    <a:pt x="114" y="576"/>
                  </a:lnTo>
                  <a:lnTo>
                    <a:pt x="108" y="564"/>
                  </a:lnTo>
                  <a:lnTo>
                    <a:pt x="102" y="558"/>
                  </a:lnTo>
                  <a:lnTo>
                    <a:pt x="96" y="552"/>
                  </a:lnTo>
                  <a:lnTo>
                    <a:pt x="90" y="546"/>
                  </a:lnTo>
                  <a:lnTo>
                    <a:pt x="90" y="540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2"/>
                  </a:lnTo>
                  <a:lnTo>
                    <a:pt x="78" y="516"/>
                  </a:lnTo>
                  <a:lnTo>
                    <a:pt x="72" y="510"/>
                  </a:lnTo>
                  <a:lnTo>
                    <a:pt x="66" y="504"/>
                  </a:lnTo>
                  <a:lnTo>
                    <a:pt x="66" y="498"/>
                  </a:lnTo>
                  <a:lnTo>
                    <a:pt x="66" y="492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6" y="474"/>
                  </a:lnTo>
                  <a:lnTo>
                    <a:pt x="72" y="474"/>
                  </a:lnTo>
                  <a:lnTo>
                    <a:pt x="72" y="468"/>
                  </a:lnTo>
                  <a:lnTo>
                    <a:pt x="78" y="462"/>
                  </a:lnTo>
                  <a:lnTo>
                    <a:pt x="78" y="456"/>
                  </a:lnTo>
                  <a:lnTo>
                    <a:pt x="84" y="456"/>
                  </a:lnTo>
                  <a:lnTo>
                    <a:pt x="84" y="450"/>
                  </a:lnTo>
                  <a:lnTo>
                    <a:pt x="84" y="444"/>
                  </a:lnTo>
                  <a:lnTo>
                    <a:pt x="90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02" y="450"/>
                  </a:lnTo>
                  <a:lnTo>
                    <a:pt x="108" y="450"/>
                  </a:lnTo>
                  <a:lnTo>
                    <a:pt x="108" y="456"/>
                  </a:lnTo>
                  <a:lnTo>
                    <a:pt x="108" y="462"/>
                  </a:lnTo>
                  <a:lnTo>
                    <a:pt x="114" y="462"/>
                  </a:lnTo>
                  <a:lnTo>
                    <a:pt x="114" y="468"/>
                  </a:lnTo>
                  <a:lnTo>
                    <a:pt x="114" y="474"/>
                  </a:lnTo>
                  <a:lnTo>
                    <a:pt x="114" y="480"/>
                  </a:lnTo>
                  <a:lnTo>
                    <a:pt x="114" y="486"/>
                  </a:lnTo>
                  <a:lnTo>
                    <a:pt x="120" y="486"/>
                  </a:lnTo>
                  <a:lnTo>
                    <a:pt x="126" y="486"/>
                  </a:lnTo>
                  <a:lnTo>
                    <a:pt x="132" y="486"/>
                  </a:lnTo>
                  <a:lnTo>
                    <a:pt x="126" y="480"/>
                  </a:lnTo>
                  <a:lnTo>
                    <a:pt x="120" y="480"/>
                  </a:lnTo>
                  <a:lnTo>
                    <a:pt x="114" y="480"/>
                  </a:lnTo>
                  <a:lnTo>
                    <a:pt x="120" y="480"/>
                  </a:lnTo>
                  <a:lnTo>
                    <a:pt x="120" y="474"/>
                  </a:lnTo>
                  <a:lnTo>
                    <a:pt x="120" y="468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108" y="450"/>
                  </a:lnTo>
                  <a:lnTo>
                    <a:pt x="108" y="444"/>
                  </a:lnTo>
                  <a:lnTo>
                    <a:pt x="114" y="438"/>
                  </a:lnTo>
                  <a:lnTo>
                    <a:pt x="120" y="438"/>
                  </a:lnTo>
                  <a:lnTo>
                    <a:pt x="120" y="432"/>
                  </a:lnTo>
                  <a:lnTo>
                    <a:pt x="132" y="426"/>
                  </a:lnTo>
                  <a:lnTo>
                    <a:pt x="138" y="420"/>
                  </a:lnTo>
                  <a:lnTo>
                    <a:pt x="144" y="420"/>
                  </a:lnTo>
                  <a:lnTo>
                    <a:pt x="144" y="414"/>
                  </a:lnTo>
                  <a:lnTo>
                    <a:pt x="144" y="420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6" y="414"/>
                  </a:lnTo>
                  <a:lnTo>
                    <a:pt x="162" y="414"/>
                  </a:lnTo>
                  <a:lnTo>
                    <a:pt x="162" y="408"/>
                  </a:lnTo>
                  <a:lnTo>
                    <a:pt x="168" y="408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86" y="396"/>
                  </a:lnTo>
                  <a:lnTo>
                    <a:pt x="186" y="390"/>
                  </a:lnTo>
                  <a:lnTo>
                    <a:pt x="192" y="390"/>
                  </a:lnTo>
                  <a:lnTo>
                    <a:pt x="198" y="384"/>
                  </a:lnTo>
                  <a:lnTo>
                    <a:pt x="204" y="384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210" y="378"/>
                  </a:lnTo>
                  <a:lnTo>
                    <a:pt x="210" y="372"/>
                  </a:lnTo>
                  <a:lnTo>
                    <a:pt x="216" y="372"/>
                  </a:lnTo>
                  <a:lnTo>
                    <a:pt x="222" y="366"/>
                  </a:lnTo>
                  <a:lnTo>
                    <a:pt x="228" y="360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6" y="348"/>
                  </a:lnTo>
                  <a:lnTo>
                    <a:pt x="252" y="348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2"/>
                  </a:lnTo>
                  <a:lnTo>
                    <a:pt x="240" y="348"/>
                  </a:lnTo>
                  <a:lnTo>
                    <a:pt x="240" y="342"/>
                  </a:lnTo>
                  <a:lnTo>
                    <a:pt x="234" y="342"/>
                  </a:lnTo>
                  <a:lnTo>
                    <a:pt x="228" y="336"/>
                  </a:lnTo>
                  <a:lnTo>
                    <a:pt x="222" y="336"/>
                  </a:lnTo>
                  <a:lnTo>
                    <a:pt x="216" y="336"/>
                  </a:lnTo>
                  <a:lnTo>
                    <a:pt x="222" y="324"/>
                  </a:lnTo>
                  <a:lnTo>
                    <a:pt x="222" y="318"/>
                  </a:lnTo>
                  <a:lnTo>
                    <a:pt x="222" y="312"/>
                  </a:lnTo>
                  <a:lnTo>
                    <a:pt x="234" y="318"/>
                  </a:lnTo>
                  <a:lnTo>
                    <a:pt x="246" y="318"/>
                  </a:lnTo>
                  <a:lnTo>
                    <a:pt x="258" y="318"/>
                  </a:lnTo>
                  <a:lnTo>
                    <a:pt x="270" y="312"/>
                  </a:lnTo>
                  <a:lnTo>
                    <a:pt x="276" y="312"/>
                  </a:lnTo>
                  <a:lnTo>
                    <a:pt x="288" y="324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94" y="306"/>
                  </a:lnTo>
                  <a:lnTo>
                    <a:pt x="300" y="300"/>
                  </a:lnTo>
                  <a:lnTo>
                    <a:pt x="306" y="306"/>
                  </a:lnTo>
                  <a:lnTo>
                    <a:pt x="312" y="318"/>
                  </a:lnTo>
                  <a:lnTo>
                    <a:pt x="318" y="312"/>
                  </a:lnTo>
                  <a:lnTo>
                    <a:pt x="324" y="312"/>
                  </a:lnTo>
                  <a:lnTo>
                    <a:pt x="330" y="312"/>
                  </a:lnTo>
                  <a:lnTo>
                    <a:pt x="342" y="306"/>
                  </a:lnTo>
                  <a:lnTo>
                    <a:pt x="348" y="306"/>
                  </a:lnTo>
                  <a:lnTo>
                    <a:pt x="348" y="312"/>
                  </a:lnTo>
                  <a:lnTo>
                    <a:pt x="348" y="318"/>
                  </a:lnTo>
                  <a:lnTo>
                    <a:pt x="354" y="318"/>
                  </a:lnTo>
                  <a:lnTo>
                    <a:pt x="354" y="324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60" y="336"/>
                  </a:lnTo>
                  <a:lnTo>
                    <a:pt x="366" y="330"/>
                  </a:lnTo>
                  <a:lnTo>
                    <a:pt x="378" y="324"/>
                  </a:lnTo>
                  <a:lnTo>
                    <a:pt x="384" y="324"/>
                  </a:lnTo>
                  <a:lnTo>
                    <a:pt x="384" y="318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6"/>
                  </a:lnTo>
                  <a:lnTo>
                    <a:pt x="402" y="306"/>
                  </a:lnTo>
                  <a:lnTo>
                    <a:pt x="408" y="306"/>
                  </a:lnTo>
                  <a:lnTo>
                    <a:pt x="414" y="300"/>
                  </a:lnTo>
                  <a:lnTo>
                    <a:pt x="420" y="300"/>
                  </a:lnTo>
                  <a:lnTo>
                    <a:pt x="426" y="300"/>
                  </a:lnTo>
                  <a:lnTo>
                    <a:pt x="432" y="300"/>
                  </a:lnTo>
                  <a:lnTo>
                    <a:pt x="444" y="288"/>
                  </a:lnTo>
                  <a:lnTo>
                    <a:pt x="450" y="294"/>
                  </a:lnTo>
                  <a:lnTo>
                    <a:pt x="468" y="300"/>
                  </a:lnTo>
                  <a:lnTo>
                    <a:pt x="498" y="312"/>
                  </a:lnTo>
                  <a:lnTo>
                    <a:pt x="504" y="324"/>
                  </a:lnTo>
                  <a:lnTo>
                    <a:pt x="516" y="330"/>
                  </a:lnTo>
                  <a:lnTo>
                    <a:pt x="516" y="336"/>
                  </a:lnTo>
                  <a:lnTo>
                    <a:pt x="540" y="342"/>
                  </a:lnTo>
                  <a:lnTo>
                    <a:pt x="558" y="372"/>
                  </a:lnTo>
                  <a:lnTo>
                    <a:pt x="594" y="384"/>
                  </a:lnTo>
                  <a:lnTo>
                    <a:pt x="606" y="402"/>
                  </a:lnTo>
                  <a:lnTo>
                    <a:pt x="600" y="420"/>
                  </a:lnTo>
                  <a:lnTo>
                    <a:pt x="588" y="444"/>
                  </a:lnTo>
                  <a:lnTo>
                    <a:pt x="588" y="450"/>
                  </a:lnTo>
                  <a:lnTo>
                    <a:pt x="588" y="456"/>
                  </a:lnTo>
                  <a:lnTo>
                    <a:pt x="594" y="456"/>
                  </a:lnTo>
                  <a:lnTo>
                    <a:pt x="594" y="462"/>
                  </a:lnTo>
                  <a:lnTo>
                    <a:pt x="594" y="468"/>
                  </a:lnTo>
                  <a:lnTo>
                    <a:pt x="594" y="474"/>
                  </a:lnTo>
                  <a:lnTo>
                    <a:pt x="600" y="474"/>
                  </a:lnTo>
                  <a:lnTo>
                    <a:pt x="606" y="480"/>
                  </a:lnTo>
                  <a:lnTo>
                    <a:pt x="606" y="486"/>
                  </a:lnTo>
                  <a:lnTo>
                    <a:pt x="612" y="486"/>
                  </a:lnTo>
                  <a:lnTo>
                    <a:pt x="618" y="486"/>
                  </a:lnTo>
                  <a:lnTo>
                    <a:pt x="624" y="486"/>
                  </a:lnTo>
                  <a:lnTo>
                    <a:pt x="636" y="486"/>
                  </a:lnTo>
                  <a:lnTo>
                    <a:pt x="642" y="486"/>
                  </a:lnTo>
                  <a:lnTo>
                    <a:pt x="648" y="480"/>
                  </a:lnTo>
                  <a:lnTo>
                    <a:pt x="654" y="474"/>
                  </a:lnTo>
                  <a:lnTo>
                    <a:pt x="660" y="468"/>
                  </a:lnTo>
                  <a:lnTo>
                    <a:pt x="666" y="468"/>
                  </a:lnTo>
                  <a:lnTo>
                    <a:pt x="684" y="468"/>
                  </a:lnTo>
                  <a:lnTo>
                    <a:pt x="696" y="468"/>
                  </a:lnTo>
                  <a:lnTo>
                    <a:pt x="696" y="462"/>
                  </a:lnTo>
                  <a:lnTo>
                    <a:pt x="702" y="456"/>
                  </a:lnTo>
                  <a:lnTo>
                    <a:pt x="708" y="450"/>
                  </a:lnTo>
                  <a:lnTo>
                    <a:pt x="714" y="450"/>
                  </a:lnTo>
                  <a:lnTo>
                    <a:pt x="720" y="450"/>
                  </a:lnTo>
                  <a:lnTo>
                    <a:pt x="720" y="438"/>
                  </a:lnTo>
                  <a:lnTo>
                    <a:pt x="726" y="432"/>
                  </a:lnTo>
                  <a:lnTo>
                    <a:pt x="738" y="420"/>
                  </a:lnTo>
                  <a:lnTo>
                    <a:pt x="744" y="420"/>
                  </a:lnTo>
                  <a:lnTo>
                    <a:pt x="750" y="414"/>
                  </a:lnTo>
                  <a:lnTo>
                    <a:pt x="762" y="408"/>
                  </a:lnTo>
                  <a:lnTo>
                    <a:pt x="768" y="408"/>
                  </a:lnTo>
                  <a:lnTo>
                    <a:pt x="768" y="402"/>
                  </a:lnTo>
                  <a:lnTo>
                    <a:pt x="780" y="396"/>
                  </a:lnTo>
                  <a:lnTo>
                    <a:pt x="786" y="396"/>
                  </a:lnTo>
                  <a:lnTo>
                    <a:pt x="786" y="390"/>
                  </a:lnTo>
                  <a:lnTo>
                    <a:pt x="792" y="384"/>
                  </a:lnTo>
                  <a:lnTo>
                    <a:pt x="792" y="378"/>
                  </a:lnTo>
                  <a:lnTo>
                    <a:pt x="798" y="366"/>
                  </a:lnTo>
                  <a:lnTo>
                    <a:pt x="804" y="360"/>
                  </a:lnTo>
                  <a:lnTo>
                    <a:pt x="816" y="342"/>
                  </a:lnTo>
                  <a:lnTo>
                    <a:pt x="816" y="312"/>
                  </a:lnTo>
                  <a:lnTo>
                    <a:pt x="804" y="300"/>
                  </a:lnTo>
                  <a:lnTo>
                    <a:pt x="798" y="288"/>
                  </a:lnTo>
                  <a:lnTo>
                    <a:pt x="762" y="264"/>
                  </a:lnTo>
                  <a:lnTo>
                    <a:pt x="738" y="234"/>
                  </a:lnTo>
                  <a:lnTo>
                    <a:pt x="738" y="222"/>
                  </a:lnTo>
                  <a:lnTo>
                    <a:pt x="744" y="210"/>
                  </a:lnTo>
                  <a:lnTo>
                    <a:pt x="732" y="174"/>
                  </a:lnTo>
                  <a:lnTo>
                    <a:pt x="714" y="156"/>
                  </a:lnTo>
                  <a:lnTo>
                    <a:pt x="708" y="144"/>
                  </a:lnTo>
                  <a:lnTo>
                    <a:pt x="714" y="126"/>
                  </a:lnTo>
                  <a:lnTo>
                    <a:pt x="720" y="114"/>
                  </a:lnTo>
                  <a:lnTo>
                    <a:pt x="732" y="102"/>
                  </a:lnTo>
                  <a:lnTo>
                    <a:pt x="744" y="102"/>
                  </a:lnTo>
                  <a:lnTo>
                    <a:pt x="762" y="108"/>
                  </a:lnTo>
                  <a:lnTo>
                    <a:pt x="774" y="114"/>
                  </a:lnTo>
                  <a:lnTo>
                    <a:pt x="780" y="138"/>
                  </a:lnTo>
                  <a:lnTo>
                    <a:pt x="786" y="144"/>
                  </a:lnTo>
                  <a:lnTo>
                    <a:pt x="798" y="138"/>
                  </a:lnTo>
                  <a:lnTo>
                    <a:pt x="804" y="132"/>
                  </a:lnTo>
                  <a:lnTo>
                    <a:pt x="816" y="120"/>
                  </a:lnTo>
                  <a:lnTo>
                    <a:pt x="816" y="108"/>
                  </a:lnTo>
                  <a:lnTo>
                    <a:pt x="828" y="102"/>
                  </a:lnTo>
                  <a:lnTo>
                    <a:pt x="828" y="96"/>
                  </a:lnTo>
                  <a:lnTo>
                    <a:pt x="840" y="96"/>
                  </a:lnTo>
                  <a:lnTo>
                    <a:pt x="840" y="84"/>
                  </a:lnTo>
                  <a:lnTo>
                    <a:pt x="852" y="90"/>
                  </a:lnTo>
                  <a:lnTo>
                    <a:pt x="852" y="96"/>
                  </a:lnTo>
                  <a:lnTo>
                    <a:pt x="870" y="90"/>
                  </a:lnTo>
                  <a:lnTo>
                    <a:pt x="894" y="78"/>
                  </a:lnTo>
                  <a:lnTo>
                    <a:pt x="912" y="78"/>
                  </a:lnTo>
                  <a:lnTo>
                    <a:pt x="942" y="66"/>
                  </a:lnTo>
                  <a:lnTo>
                    <a:pt x="942" y="60"/>
                  </a:lnTo>
                  <a:lnTo>
                    <a:pt x="954" y="48"/>
                  </a:lnTo>
                  <a:lnTo>
                    <a:pt x="966" y="30"/>
                  </a:lnTo>
                  <a:lnTo>
                    <a:pt x="978" y="30"/>
                  </a:lnTo>
                  <a:lnTo>
                    <a:pt x="978" y="24"/>
                  </a:lnTo>
                  <a:lnTo>
                    <a:pt x="984" y="12"/>
                  </a:lnTo>
                  <a:lnTo>
                    <a:pt x="990" y="12"/>
                  </a:lnTo>
                  <a:lnTo>
                    <a:pt x="996" y="12"/>
                  </a:lnTo>
                  <a:lnTo>
                    <a:pt x="1014" y="6"/>
                  </a:lnTo>
                  <a:lnTo>
                    <a:pt x="1026" y="6"/>
                  </a:lnTo>
                  <a:lnTo>
                    <a:pt x="1044" y="6"/>
                  </a:lnTo>
                  <a:lnTo>
                    <a:pt x="1050" y="6"/>
                  </a:lnTo>
                  <a:lnTo>
                    <a:pt x="1056" y="6"/>
                  </a:lnTo>
                  <a:lnTo>
                    <a:pt x="1062" y="6"/>
                  </a:lnTo>
                  <a:lnTo>
                    <a:pt x="1068" y="6"/>
                  </a:lnTo>
                  <a:lnTo>
                    <a:pt x="1074" y="6"/>
                  </a:lnTo>
                  <a:lnTo>
                    <a:pt x="1080" y="6"/>
                  </a:lnTo>
                  <a:lnTo>
                    <a:pt x="1086" y="0"/>
                  </a:lnTo>
                  <a:lnTo>
                    <a:pt x="1092" y="30"/>
                  </a:lnTo>
                  <a:lnTo>
                    <a:pt x="1098" y="60"/>
                  </a:lnTo>
                  <a:lnTo>
                    <a:pt x="1110" y="84"/>
                  </a:lnTo>
                  <a:lnTo>
                    <a:pt x="1122" y="114"/>
                  </a:lnTo>
                  <a:lnTo>
                    <a:pt x="1128" y="144"/>
                  </a:lnTo>
                  <a:lnTo>
                    <a:pt x="1122" y="156"/>
                  </a:lnTo>
                  <a:lnTo>
                    <a:pt x="1128" y="168"/>
                  </a:lnTo>
                  <a:lnTo>
                    <a:pt x="1134" y="186"/>
                  </a:lnTo>
                  <a:lnTo>
                    <a:pt x="1140" y="204"/>
                  </a:lnTo>
                  <a:lnTo>
                    <a:pt x="1146" y="210"/>
                  </a:lnTo>
                  <a:lnTo>
                    <a:pt x="1146" y="216"/>
                  </a:lnTo>
                  <a:lnTo>
                    <a:pt x="1146" y="228"/>
                  </a:lnTo>
                  <a:lnTo>
                    <a:pt x="1146" y="234"/>
                  </a:lnTo>
                  <a:lnTo>
                    <a:pt x="1140" y="246"/>
                  </a:lnTo>
                  <a:lnTo>
                    <a:pt x="1128" y="258"/>
                  </a:lnTo>
                  <a:lnTo>
                    <a:pt x="1116" y="264"/>
                  </a:lnTo>
                  <a:lnTo>
                    <a:pt x="1110" y="276"/>
                  </a:lnTo>
                  <a:lnTo>
                    <a:pt x="1116" y="288"/>
                  </a:lnTo>
                  <a:lnTo>
                    <a:pt x="1122" y="300"/>
                  </a:lnTo>
                  <a:lnTo>
                    <a:pt x="1122" y="312"/>
                  </a:lnTo>
                  <a:lnTo>
                    <a:pt x="1116" y="324"/>
                  </a:lnTo>
                  <a:lnTo>
                    <a:pt x="1104" y="336"/>
                  </a:lnTo>
                  <a:lnTo>
                    <a:pt x="1104" y="354"/>
                  </a:lnTo>
                  <a:lnTo>
                    <a:pt x="1098" y="372"/>
                  </a:lnTo>
                  <a:lnTo>
                    <a:pt x="1092" y="384"/>
                  </a:lnTo>
                  <a:lnTo>
                    <a:pt x="1086" y="390"/>
                  </a:lnTo>
                  <a:lnTo>
                    <a:pt x="1086" y="402"/>
                  </a:lnTo>
                  <a:lnTo>
                    <a:pt x="1080" y="414"/>
                  </a:lnTo>
                  <a:lnTo>
                    <a:pt x="1074" y="426"/>
                  </a:lnTo>
                  <a:lnTo>
                    <a:pt x="1074" y="450"/>
                  </a:lnTo>
                  <a:lnTo>
                    <a:pt x="1074" y="462"/>
                  </a:lnTo>
                  <a:lnTo>
                    <a:pt x="1068" y="474"/>
                  </a:lnTo>
                  <a:lnTo>
                    <a:pt x="1062" y="486"/>
                  </a:lnTo>
                  <a:lnTo>
                    <a:pt x="1056" y="498"/>
                  </a:lnTo>
                  <a:close/>
                  <a:moveTo>
                    <a:pt x="186" y="378"/>
                  </a:moveTo>
                  <a:lnTo>
                    <a:pt x="186" y="384"/>
                  </a:lnTo>
                  <a:lnTo>
                    <a:pt x="180" y="390"/>
                  </a:lnTo>
                  <a:lnTo>
                    <a:pt x="174" y="396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14"/>
                  </a:lnTo>
                  <a:lnTo>
                    <a:pt x="126" y="414"/>
                  </a:lnTo>
                  <a:lnTo>
                    <a:pt x="120" y="414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2" y="426"/>
                  </a:lnTo>
                  <a:lnTo>
                    <a:pt x="102" y="432"/>
                  </a:lnTo>
                  <a:lnTo>
                    <a:pt x="96" y="432"/>
                  </a:lnTo>
                  <a:lnTo>
                    <a:pt x="90" y="432"/>
                  </a:lnTo>
                  <a:lnTo>
                    <a:pt x="84" y="438"/>
                  </a:lnTo>
                  <a:lnTo>
                    <a:pt x="78" y="438"/>
                  </a:lnTo>
                  <a:lnTo>
                    <a:pt x="78" y="444"/>
                  </a:lnTo>
                  <a:lnTo>
                    <a:pt x="72" y="444"/>
                  </a:lnTo>
                  <a:lnTo>
                    <a:pt x="72" y="450"/>
                  </a:lnTo>
                  <a:lnTo>
                    <a:pt x="66" y="456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48" y="468"/>
                  </a:lnTo>
                  <a:lnTo>
                    <a:pt x="42" y="468"/>
                  </a:lnTo>
                  <a:lnTo>
                    <a:pt x="42" y="462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8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0" y="396"/>
                  </a:lnTo>
                  <a:lnTo>
                    <a:pt x="6" y="384"/>
                  </a:lnTo>
                  <a:lnTo>
                    <a:pt x="18" y="372"/>
                  </a:lnTo>
                  <a:lnTo>
                    <a:pt x="30" y="348"/>
                  </a:lnTo>
                  <a:lnTo>
                    <a:pt x="30" y="342"/>
                  </a:lnTo>
                  <a:lnTo>
                    <a:pt x="42" y="330"/>
                  </a:lnTo>
                  <a:lnTo>
                    <a:pt x="42" y="324"/>
                  </a:lnTo>
                  <a:lnTo>
                    <a:pt x="48" y="318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60" y="282"/>
                  </a:lnTo>
                  <a:lnTo>
                    <a:pt x="60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72" y="258"/>
                  </a:lnTo>
                  <a:lnTo>
                    <a:pt x="84" y="246"/>
                  </a:lnTo>
                  <a:lnTo>
                    <a:pt x="90" y="234"/>
                  </a:lnTo>
                  <a:lnTo>
                    <a:pt x="96" y="234"/>
                  </a:lnTo>
                  <a:lnTo>
                    <a:pt x="96" y="228"/>
                  </a:lnTo>
                  <a:lnTo>
                    <a:pt x="102" y="222"/>
                  </a:lnTo>
                  <a:lnTo>
                    <a:pt x="102" y="228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14" y="228"/>
                  </a:lnTo>
                  <a:lnTo>
                    <a:pt x="114" y="234"/>
                  </a:lnTo>
                  <a:lnTo>
                    <a:pt x="120" y="228"/>
                  </a:lnTo>
                  <a:lnTo>
                    <a:pt x="120" y="222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26" y="228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8" y="234"/>
                  </a:lnTo>
                  <a:lnTo>
                    <a:pt x="144" y="234"/>
                  </a:lnTo>
                  <a:lnTo>
                    <a:pt x="144" y="228"/>
                  </a:lnTo>
                  <a:lnTo>
                    <a:pt x="150" y="228"/>
                  </a:lnTo>
                  <a:lnTo>
                    <a:pt x="156" y="228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6" y="240"/>
                  </a:lnTo>
                  <a:lnTo>
                    <a:pt x="156" y="246"/>
                  </a:lnTo>
                  <a:lnTo>
                    <a:pt x="162" y="240"/>
                  </a:lnTo>
                  <a:lnTo>
                    <a:pt x="162" y="246"/>
                  </a:lnTo>
                  <a:lnTo>
                    <a:pt x="162" y="258"/>
                  </a:lnTo>
                  <a:lnTo>
                    <a:pt x="162" y="264"/>
                  </a:lnTo>
                  <a:lnTo>
                    <a:pt x="156" y="270"/>
                  </a:lnTo>
                  <a:lnTo>
                    <a:pt x="162" y="270"/>
                  </a:lnTo>
                  <a:lnTo>
                    <a:pt x="162" y="282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86" y="288"/>
                  </a:lnTo>
                  <a:lnTo>
                    <a:pt x="186" y="294"/>
                  </a:lnTo>
                  <a:lnTo>
                    <a:pt x="180" y="300"/>
                  </a:lnTo>
                  <a:lnTo>
                    <a:pt x="174" y="318"/>
                  </a:lnTo>
                  <a:lnTo>
                    <a:pt x="174" y="324"/>
                  </a:lnTo>
                  <a:lnTo>
                    <a:pt x="168" y="330"/>
                  </a:lnTo>
                  <a:lnTo>
                    <a:pt x="168" y="342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74" y="360"/>
                  </a:lnTo>
                  <a:lnTo>
                    <a:pt x="180" y="366"/>
                  </a:lnTo>
                  <a:lnTo>
                    <a:pt x="186" y="37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8" name="Freeform 23">
              <a:extLst>
                <a:ext uri="{FF2B5EF4-FFF2-40B4-BE49-F238E27FC236}">
                  <a16:creationId xmlns:a16="http://schemas.microsoft.com/office/drawing/2014/main" id="{A539A33E-3F6E-4AF7-BD88-1853165307F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66312" y="3604793"/>
              <a:ext cx="581410" cy="621747"/>
            </a:xfrm>
            <a:custGeom>
              <a:avLst/>
              <a:gdLst>
                <a:gd name="T0" fmla="*/ 90 w 1092"/>
                <a:gd name="T1" fmla="*/ 60 h 1170"/>
                <a:gd name="T2" fmla="*/ 83 w 1092"/>
                <a:gd name="T3" fmla="*/ 62 h 1170"/>
                <a:gd name="T4" fmla="*/ 72 w 1092"/>
                <a:gd name="T5" fmla="*/ 68 h 1170"/>
                <a:gd name="T6" fmla="*/ 68 w 1092"/>
                <a:gd name="T7" fmla="*/ 71 h 1170"/>
                <a:gd name="T8" fmla="*/ 61 w 1092"/>
                <a:gd name="T9" fmla="*/ 69 h 1170"/>
                <a:gd name="T10" fmla="*/ 64 w 1092"/>
                <a:gd name="T11" fmla="*/ 82 h 1170"/>
                <a:gd name="T12" fmla="*/ 67 w 1092"/>
                <a:gd name="T13" fmla="*/ 93 h 1170"/>
                <a:gd name="T14" fmla="*/ 62 w 1092"/>
                <a:gd name="T15" fmla="*/ 96 h 1170"/>
                <a:gd name="T16" fmla="*/ 59 w 1092"/>
                <a:gd name="T17" fmla="*/ 99 h 1170"/>
                <a:gd name="T18" fmla="*/ 53 w 1092"/>
                <a:gd name="T19" fmla="*/ 101 h 1170"/>
                <a:gd name="T20" fmla="*/ 50 w 1092"/>
                <a:gd name="T21" fmla="*/ 100 h 1170"/>
                <a:gd name="T22" fmla="*/ 50 w 1092"/>
                <a:gd name="T23" fmla="*/ 93 h 1170"/>
                <a:gd name="T24" fmla="*/ 37 w 1092"/>
                <a:gd name="T25" fmla="*/ 85 h 1170"/>
                <a:gd name="T26" fmla="*/ 32 w 1092"/>
                <a:gd name="T27" fmla="*/ 86 h 1170"/>
                <a:gd name="T28" fmla="*/ 29 w 1092"/>
                <a:gd name="T29" fmla="*/ 88 h 1170"/>
                <a:gd name="T30" fmla="*/ 27 w 1092"/>
                <a:gd name="T31" fmla="*/ 86 h 1170"/>
                <a:gd name="T32" fmla="*/ 23 w 1092"/>
                <a:gd name="T33" fmla="*/ 87 h 1170"/>
                <a:gd name="T34" fmla="*/ 17 w 1092"/>
                <a:gd name="T35" fmla="*/ 87 h 1170"/>
                <a:gd name="T36" fmla="*/ 18 w 1092"/>
                <a:gd name="T37" fmla="*/ 89 h 1170"/>
                <a:gd name="T38" fmla="*/ 16 w 1092"/>
                <a:gd name="T39" fmla="*/ 92 h 1170"/>
                <a:gd name="T40" fmla="*/ 12 w 1092"/>
                <a:gd name="T41" fmla="*/ 89 h 1170"/>
                <a:gd name="T42" fmla="*/ 13 w 1092"/>
                <a:gd name="T43" fmla="*/ 84 h 1170"/>
                <a:gd name="T44" fmla="*/ 12 w 1092"/>
                <a:gd name="T45" fmla="*/ 80 h 1170"/>
                <a:gd name="T46" fmla="*/ 10 w 1092"/>
                <a:gd name="T47" fmla="*/ 80 h 1170"/>
                <a:gd name="T48" fmla="*/ 8 w 1092"/>
                <a:gd name="T49" fmla="*/ 79 h 1170"/>
                <a:gd name="T50" fmla="*/ 6 w 1092"/>
                <a:gd name="T51" fmla="*/ 78 h 1170"/>
                <a:gd name="T52" fmla="*/ 6 w 1092"/>
                <a:gd name="T53" fmla="*/ 77 h 1170"/>
                <a:gd name="T54" fmla="*/ 4 w 1092"/>
                <a:gd name="T55" fmla="*/ 75 h 1170"/>
                <a:gd name="T56" fmla="*/ 0 w 1092"/>
                <a:gd name="T57" fmla="*/ 72 h 1170"/>
                <a:gd name="T58" fmla="*/ 0 w 1092"/>
                <a:gd name="T59" fmla="*/ 69 h 1170"/>
                <a:gd name="T60" fmla="*/ 3 w 1092"/>
                <a:gd name="T61" fmla="*/ 67 h 1170"/>
                <a:gd name="T62" fmla="*/ 6 w 1092"/>
                <a:gd name="T63" fmla="*/ 62 h 1170"/>
                <a:gd name="T64" fmla="*/ 8 w 1092"/>
                <a:gd name="T65" fmla="*/ 58 h 1170"/>
                <a:gd name="T66" fmla="*/ 5 w 1092"/>
                <a:gd name="T67" fmla="*/ 54 h 1170"/>
                <a:gd name="T68" fmla="*/ 6 w 1092"/>
                <a:gd name="T69" fmla="*/ 50 h 1170"/>
                <a:gd name="T70" fmla="*/ 8 w 1092"/>
                <a:gd name="T71" fmla="*/ 46 h 1170"/>
                <a:gd name="T72" fmla="*/ 10 w 1092"/>
                <a:gd name="T73" fmla="*/ 43 h 1170"/>
                <a:gd name="T74" fmla="*/ 14 w 1092"/>
                <a:gd name="T75" fmla="*/ 38 h 1170"/>
                <a:gd name="T76" fmla="*/ 31 w 1092"/>
                <a:gd name="T77" fmla="*/ 40 h 1170"/>
                <a:gd name="T78" fmla="*/ 30 w 1092"/>
                <a:gd name="T79" fmla="*/ 46 h 1170"/>
                <a:gd name="T80" fmla="*/ 36 w 1092"/>
                <a:gd name="T81" fmla="*/ 47 h 1170"/>
                <a:gd name="T82" fmla="*/ 41 w 1092"/>
                <a:gd name="T83" fmla="*/ 44 h 1170"/>
                <a:gd name="T84" fmla="*/ 43 w 1092"/>
                <a:gd name="T85" fmla="*/ 39 h 1170"/>
                <a:gd name="T86" fmla="*/ 44 w 1092"/>
                <a:gd name="T87" fmla="*/ 35 h 1170"/>
                <a:gd name="T88" fmla="*/ 44 w 1092"/>
                <a:gd name="T89" fmla="*/ 29 h 1170"/>
                <a:gd name="T90" fmla="*/ 48 w 1092"/>
                <a:gd name="T91" fmla="*/ 24 h 1170"/>
                <a:gd name="T92" fmla="*/ 49 w 1092"/>
                <a:gd name="T93" fmla="*/ 19 h 1170"/>
                <a:gd name="T94" fmla="*/ 51 w 1092"/>
                <a:gd name="T95" fmla="*/ 14 h 1170"/>
                <a:gd name="T96" fmla="*/ 54 w 1092"/>
                <a:gd name="T97" fmla="*/ 10 h 1170"/>
                <a:gd name="T98" fmla="*/ 53 w 1092"/>
                <a:gd name="T99" fmla="*/ 7 h 1170"/>
                <a:gd name="T100" fmla="*/ 55 w 1092"/>
                <a:gd name="T101" fmla="*/ 3 h 1170"/>
                <a:gd name="T102" fmla="*/ 58 w 1092"/>
                <a:gd name="T103" fmla="*/ 0 h 1170"/>
                <a:gd name="T104" fmla="*/ 65 w 1092"/>
                <a:gd name="T105" fmla="*/ 2 h 1170"/>
                <a:gd name="T106" fmla="*/ 61 w 1092"/>
                <a:gd name="T107" fmla="*/ 6 h 1170"/>
                <a:gd name="T108" fmla="*/ 67 w 1092"/>
                <a:gd name="T109" fmla="*/ 7 h 1170"/>
                <a:gd name="T110" fmla="*/ 71 w 1092"/>
                <a:gd name="T111" fmla="*/ 6 h 1170"/>
                <a:gd name="T112" fmla="*/ 75 w 1092"/>
                <a:gd name="T113" fmla="*/ 9 h 1170"/>
                <a:gd name="T114" fmla="*/ 82 w 1092"/>
                <a:gd name="T115" fmla="*/ 12 h 1170"/>
                <a:gd name="T116" fmla="*/ 84 w 1092"/>
                <a:gd name="T117" fmla="*/ 17 h 1170"/>
                <a:gd name="T118" fmla="*/ 94 w 1092"/>
                <a:gd name="T119" fmla="*/ 23 h 1170"/>
                <a:gd name="T120" fmla="*/ 94 w 1092"/>
                <a:gd name="T121" fmla="*/ 34 h 1170"/>
                <a:gd name="T122" fmla="*/ 90 w 1092"/>
                <a:gd name="T123" fmla="*/ 41 h 1170"/>
                <a:gd name="T124" fmla="*/ 91 w 1092"/>
                <a:gd name="T125" fmla="*/ 51 h 11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92"/>
                <a:gd name="T190" fmla="*/ 0 h 1170"/>
                <a:gd name="T191" fmla="*/ 1092 w 1092"/>
                <a:gd name="T192" fmla="*/ 1170 h 117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92" h="1170">
                  <a:moveTo>
                    <a:pt x="1056" y="654"/>
                  </a:moveTo>
                  <a:lnTo>
                    <a:pt x="1062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0"/>
                  </a:lnTo>
                  <a:lnTo>
                    <a:pt x="1038" y="690"/>
                  </a:lnTo>
                  <a:lnTo>
                    <a:pt x="1032" y="690"/>
                  </a:lnTo>
                  <a:lnTo>
                    <a:pt x="1026" y="690"/>
                  </a:lnTo>
                  <a:lnTo>
                    <a:pt x="1020" y="690"/>
                  </a:lnTo>
                  <a:lnTo>
                    <a:pt x="1002" y="690"/>
                  </a:lnTo>
                  <a:lnTo>
                    <a:pt x="990" y="690"/>
                  </a:lnTo>
                  <a:lnTo>
                    <a:pt x="972" y="696"/>
                  </a:lnTo>
                  <a:lnTo>
                    <a:pt x="966" y="696"/>
                  </a:lnTo>
                  <a:lnTo>
                    <a:pt x="960" y="696"/>
                  </a:lnTo>
                  <a:lnTo>
                    <a:pt x="954" y="708"/>
                  </a:lnTo>
                  <a:lnTo>
                    <a:pt x="954" y="714"/>
                  </a:lnTo>
                  <a:lnTo>
                    <a:pt x="942" y="714"/>
                  </a:lnTo>
                  <a:lnTo>
                    <a:pt x="930" y="732"/>
                  </a:lnTo>
                  <a:lnTo>
                    <a:pt x="918" y="744"/>
                  </a:lnTo>
                  <a:lnTo>
                    <a:pt x="918" y="750"/>
                  </a:lnTo>
                  <a:lnTo>
                    <a:pt x="888" y="762"/>
                  </a:lnTo>
                  <a:lnTo>
                    <a:pt x="870" y="762"/>
                  </a:lnTo>
                  <a:lnTo>
                    <a:pt x="846" y="774"/>
                  </a:lnTo>
                  <a:lnTo>
                    <a:pt x="828" y="780"/>
                  </a:lnTo>
                  <a:lnTo>
                    <a:pt x="828" y="774"/>
                  </a:lnTo>
                  <a:lnTo>
                    <a:pt x="816" y="768"/>
                  </a:lnTo>
                  <a:lnTo>
                    <a:pt x="816" y="780"/>
                  </a:lnTo>
                  <a:lnTo>
                    <a:pt x="804" y="780"/>
                  </a:lnTo>
                  <a:lnTo>
                    <a:pt x="804" y="786"/>
                  </a:lnTo>
                  <a:lnTo>
                    <a:pt x="792" y="792"/>
                  </a:lnTo>
                  <a:lnTo>
                    <a:pt x="792" y="804"/>
                  </a:lnTo>
                  <a:lnTo>
                    <a:pt x="780" y="816"/>
                  </a:lnTo>
                  <a:lnTo>
                    <a:pt x="774" y="822"/>
                  </a:lnTo>
                  <a:lnTo>
                    <a:pt x="762" y="828"/>
                  </a:lnTo>
                  <a:lnTo>
                    <a:pt x="756" y="822"/>
                  </a:lnTo>
                  <a:lnTo>
                    <a:pt x="750" y="798"/>
                  </a:lnTo>
                  <a:lnTo>
                    <a:pt x="738" y="792"/>
                  </a:lnTo>
                  <a:lnTo>
                    <a:pt x="720" y="786"/>
                  </a:lnTo>
                  <a:lnTo>
                    <a:pt x="708" y="786"/>
                  </a:lnTo>
                  <a:lnTo>
                    <a:pt x="696" y="798"/>
                  </a:lnTo>
                  <a:lnTo>
                    <a:pt x="690" y="810"/>
                  </a:lnTo>
                  <a:lnTo>
                    <a:pt x="684" y="828"/>
                  </a:lnTo>
                  <a:lnTo>
                    <a:pt x="690" y="840"/>
                  </a:lnTo>
                  <a:lnTo>
                    <a:pt x="708" y="858"/>
                  </a:lnTo>
                  <a:lnTo>
                    <a:pt x="720" y="894"/>
                  </a:lnTo>
                  <a:lnTo>
                    <a:pt x="714" y="906"/>
                  </a:lnTo>
                  <a:lnTo>
                    <a:pt x="714" y="918"/>
                  </a:lnTo>
                  <a:lnTo>
                    <a:pt x="738" y="948"/>
                  </a:lnTo>
                  <a:lnTo>
                    <a:pt x="774" y="972"/>
                  </a:lnTo>
                  <a:lnTo>
                    <a:pt x="780" y="984"/>
                  </a:lnTo>
                  <a:lnTo>
                    <a:pt x="792" y="996"/>
                  </a:lnTo>
                  <a:lnTo>
                    <a:pt x="792" y="1026"/>
                  </a:lnTo>
                  <a:lnTo>
                    <a:pt x="780" y="1044"/>
                  </a:lnTo>
                  <a:lnTo>
                    <a:pt x="774" y="1050"/>
                  </a:lnTo>
                  <a:lnTo>
                    <a:pt x="768" y="1062"/>
                  </a:lnTo>
                  <a:lnTo>
                    <a:pt x="768" y="1068"/>
                  </a:lnTo>
                  <a:lnTo>
                    <a:pt x="762" y="1074"/>
                  </a:lnTo>
                  <a:lnTo>
                    <a:pt x="762" y="1080"/>
                  </a:lnTo>
                  <a:lnTo>
                    <a:pt x="756" y="1080"/>
                  </a:lnTo>
                  <a:lnTo>
                    <a:pt x="744" y="1086"/>
                  </a:lnTo>
                  <a:lnTo>
                    <a:pt x="744" y="1092"/>
                  </a:lnTo>
                  <a:lnTo>
                    <a:pt x="738" y="1092"/>
                  </a:lnTo>
                  <a:lnTo>
                    <a:pt x="726" y="1098"/>
                  </a:lnTo>
                  <a:lnTo>
                    <a:pt x="720" y="1104"/>
                  </a:lnTo>
                  <a:lnTo>
                    <a:pt x="714" y="1104"/>
                  </a:lnTo>
                  <a:lnTo>
                    <a:pt x="702" y="1116"/>
                  </a:lnTo>
                  <a:lnTo>
                    <a:pt x="696" y="1122"/>
                  </a:lnTo>
                  <a:lnTo>
                    <a:pt x="696" y="1134"/>
                  </a:lnTo>
                  <a:lnTo>
                    <a:pt x="690" y="1134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72" y="1146"/>
                  </a:lnTo>
                  <a:lnTo>
                    <a:pt x="672" y="1152"/>
                  </a:lnTo>
                  <a:lnTo>
                    <a:pt x="660" y="1152"/>
                  </a:lnTo>
                  <a:lnTo>
                    <a:pt x="642" y="1152"/>
                  </a:lnTo>
                  <a:lnTo>
                    <a:pt x="636" y="1152"/>
                  </a:lnTo>
                  <a:lnTo>
                    <a:pt x="630" y="1158"/>
                  </a:lnTo>
                  <a:lnTo>
                    <a:pt x="624" y="1164"/>
                  </a:lnTo>
                  <a:lnTo>
                    <a:pt x="618" y="1170"/>
                  </a:lnTo>
                  <a:lnTo>
                    <a:pt x="612" y="1170"/>
                  </a:lnTo>
                  <a:lnTo>
                    <a:pt x="600" y="1170"/>
                  </a:lnTo>
                  <a:lnTo>
                    <a:pt x="594" y="1170"/>
                  </a:lnTo>
                  <a:lnTo>
                    <a:pt x="588" y="1170"/>
                  </a:lnTo>
                  <a:lnTo>
                    <a:pt x="582" y="1170"/>
                  </a:lnTo>
                  <a:lnTo>
                    <a:pt x="582" y="1164"/>
                  </a:lnTo>
                  <a:lnTo>
                    <a:pt x="576" y="1158"/>
                  </a:lnTo>
                  <a:lnTo>
                    <a:pt x="570" y="1158"/>
                  </a:lnTo>
                  <a:lnTo>
                    <a:pt x="570" y="1152"/>
                  </a:lnTo>
                  <a:lnTo>
                    <a:pt x="570" y="1146"/>
                  </a:lnTo>
                  <a:lnTo>
                    <a:pt x="570" y="1140"/>
                  </a:lnTo>
                  <a:lnTo>
                    <a:pt x="564" y="1140"/>
                  </a:lnTo>
                  <a:lnTo>
                    <a:pt x="564" y="1134"/>
                  </a:lnTo>
                  <a:lnTo>
                    <a:pt x="564" y="1128"/>
                  </a:lnTo>
                  <a:lnTo>
                    <a:pt x="576" y="1104"/>
                  </a:lnTo>
                  <a:lnTo>
                    <a:pt x="582" y="1086"/>
                  </a:lnTo>
                  <a:lnTo>
                    <a:pt x="570" y="1068"/>
                  </a:lnTo>
                  <a:lnTo>
                    <a:pt x="534" y="1056"/>
                  </a:lnTo>
                  <a:lnTo>
                    <a:pt x="516" y="1026"/>
                  </a:lnTo>
                  <a:lnTo>
                    <a:pt x="492" y="1020"/>
                  </a:lnTo>
                  <a:lnTo>
                    <a:pt x="492" y="1014"/>
                  </a:lnTo>
                  <a:lnTo>
                    <a:pt x="480" y="1008"/>
                  </a:lnTo>
                  <a:lnTo>
                    <a:pt x="474" y="996"/>
                  </a:lnTo>
                  <a:lnTo>
                    <a:pt x="444" y="984"/>
                  </a:lnTo>
                  <a:lnTo>
                    <a:pt x="426" y="978"/>
                  </a:lnTo>
                  <a:lnTo>
                    <a:pt x="420" y="972"/>
                  </a:lnTo>
                  <a:lnTo>
                    <a:pt x="408" y="984"/>
                  </a:lnTo>
                  <a:lnTo>
                    <a:pt x="402" y="984"/>
                  </a:lnTo>
                  <a:lnTo>
                    <a:pt x="396" y="984"/>
                  </a:lnTo>
                  <a:lnTo>
                    <a:pt x="390" y="984"/>
                  </a:lnTo>
                  <a:lnTo>
                    <a:pt x="384" y="990"/>
                  </a:lnTo>
                  <a:lnTo>
                    <a:pt x="378" y="990"/>
                  </a:lnTo>
                  <a:lnTo>
                    <a:pt x="372" y="990"/>
                  </a:lnTo>
                  <a:lnTo>
                    <a:pt x="372" y="996"/>
                  </a:lnTo>
                  <a:lnTo>
                    <a:pt x="366" y="996"/>
                  </a:lnTo>
                  <a:lnTo>
                    <a:pt x="360" y="1002"/>
                  </a:lnTo>
                  <a:lnTo>
                    <a:pt x="360" y="1008"/>
                  </a:lnTo>
                  <a:lnTo>
                    <a:pt x="354" y="1008"/>
                  </a:lnTo>
                  <a:lnTo>
                    <a:pt x="342" y="1014"/>
                  </a:lnTo>
                  <a:lnTo>
                    <a:pt x="336" y="1020"/>
                  </a:lnTo>
                  <a:lnTo>
                    <a:pt x="336" y="1014"/>
                  </a:lnTo>
                  <a:lnTo>
                    <a:pt x="330" y="1014"/>
                  </a:lnTo>
                  <a:lnTo>
                    <a:pt x="330" y="1008"/>
                  </a:lnTo>
                  <a:lnTo>
                    <a:pt x="330" y="1002"/>
                  </a:lnTo>
                  <a:lnTo>
                    <a:pt x="324" y="1002"/>
                  </a:lnTo>
                  <a:lnTo>
                    <a:pt x="324" y="996"/>
                  </a:lnTo>
                  <a:lnTo>
                    <a:pt x="324" y="990"/>
                  </a:lnTo>
                  <a:lnTo>
                    <a:pt x="318" y="990"/>
                  </a:lnTo>
                  <a:lnTo>
                    <a:pt x="306" y="996"/>
                  </a:lnTo>
                  <a:lnTo>
                    <a:pt x="300" y="996"/>
                  </a:lnTo>
                  <a:lnTo>
                    <a:pt x="294" y="996"/>
                  </a:lnTo>
                  <a:lnTo>
                    <a:pt x="288" y="1002"/>
                  </a:lnTo>
                  <a:lnTo>
                    <a:pt x="282" y="990"/>
                  </a:lnTo>
                  <a:lnTo>
                    <a:pt x="276" y="984"/>
                  </a:lnTo>
                  <a:lnTo>
                    <a:pt x="270" y="990"/>
                  </a:lnTo>
                  <a:lnTo>
                    <a:pt x="270" y="996"/>
                  </a:lnTo>
                  <a:lnTo>
                    <a:pt x="270" y="1002"/>
                  </a:lnTo>
                  <a:lnTo>
                    <a:pt x="264" y="1008"/>
                  </a:lnTo>
                  <a:lnTo>
                    <a:pt x="252" y="996"/>
                  </a:lnTo>
                  <a:lnTo>
                    <a:pt x="246" y="996"/>
                  </a:lnTo>
                  <a:lnTo>
                    <a:pt x="234" y="1002"/>
                  </a:lnTo>
                  <a:lnTo>
                    <a:pt x="222" y="1002"/>
                  </a:lnTo>
                  <a:lnTo>
                    <a:pt x="210" y="1002"/>
                  </a:lnTo>
                  <a:lnTo>
                    <a:pt x="198" y="996"/>
                  </a:lnTo>
                  <a:lnTo>
                    <a:pt x="198" y="1002"/>
                  </a:lnTo>
                  <a:lnTo>
                    <a:pt x="198" y="1008"/>
                  </a:lnTo>
                  <a:lnTo>
                    <a:pt x="192" y="1020"/>
                  </a:lnTo>
                  <a:lnTo>
                    <a:pt x="198" y="1020"/>
                  </a:lnTo>
                  <a:lnTo>
                    <a:pt x="204" y="1020"/>
                  </a:lnTo>
                  <a:lnTo>
                    <a:pt x="210" y="1026"/>
                  </a:lnTo>
                  <a:lnTo>
                    <a:pt x="216" y="1026"/>
                  </a:lnTo>
                  <a:lnTo>
                    <a:pt x="216" y="1032"/>
                  </a:lnTo>
                  <a:lnTo>
                    <a:pt x="210" y="1032"/>
                  </a:lnTo>
                  <a:lnTo>
                    <a:pt x="210" y="1038"/>
                  </a:lnTo>
                  <a:lnTo>
                    <a:pt x="204" y="1038"/>
                  </a:lnTo>
                  <a:lnTo>
                    <a:pt x="204" y="1044"/>
                  </a:lnTo>
                  <a:lnTo>
                    <a:pt x="198" y="1044"/>
                  </a:lnTo>
                  <a:lnTo>
                    <a:pt x="192" y="1044"/>
                  </a:lnTo>
                  <a:lnTo>
                    <a:pt x="186" y="1050"/>
                  </a:lnTo>
                  <a:lnTo>
                    <a:pt x="186" y="1056"/>
                  </a:lnTo>
                  <a:lnTo>
                    <a:pt x="180" y="1056"/>
                  </a:lnTo>
                  <a:lnTo>
                    <a:pt x="180" y="1062"/>
                  </a:lnTo>
                  <a:lnTo>
                    <a:pt x="174" y="1062"/>
                  </a:lnTo>
                  <a:lnTo>
                    <a:pt x="168" y="1062"/>
                  </a:lnTo>
                  <a:lnTo>
                    <a:pt x="162" y="1062"/>
                  </a:lnTo>
                  <a:lnTo>
                    <a:pt x="156" y="1050"/>
                  </a:lnTo>
                  <a:lnTo>
                    <a:pt x="150" y="1044"/>
                  </a:lnTo>
                  <a:lnTo>
                    <a:pt x="150" y="1038"/>
                  </a:lnTo>
                  <a:lnTo>
                    <a:pt x="144" y="1032"/>
                  </a:lnTo>
                  <a:lnTo>
                    <a:pt x="144" y="1026"/>
                  </a:lnTo>
                  <a:lnTo>
                    <a:pt x="144" y="1014"/>
                  </a:lnTo>
                  <a:lnTo>
                    <a:pt x="150" y="1008"/>
                  </a:lnTo>
                  <a:lnTo>
                    <a:pt x="150" y="1002"/>
                  </a:lnTo>
                  <a:lnTo>
                    <a:pt x="156" y="984"/>
                  </a:lnTo>
                  <a:lnTo>
                    <a:pt x="162" y="978"/>
                  </a:lnTo>
                  <a:lnTo>
                    <a:pt x="162" y="972"/>
                  </a:lnTo>
                  <a:lnTo>
                    <a:pt x="150" y="966"/>
                  </a:lnTo>
                  <a:lnTo>
                    <a:pt x="144" y="966"/>
                  </a:lnTo>
                  <a:lnTo>
                    <a:pt x="138" y="966"/>
                  </a:lnTo>
                  <a:lnTo>
                    <a:pt x="138" y="954"/>
                  </a:lnTo>
                  <a:lnTo>
                    <a:pt x="132" y="954"/>
                  </a:lnTo>
                  <a:lnTo>
                    <a:pt x="138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8" y="924"/>
                  </a:lnTo>
                  <a:lnTo>
                    <a:pt x="132" y="930"/>
                  </a:lnTo>
                  <a:lnTo>
                    <a:pt x="132" y="924"/>
                  </a:lnTo>
                  <a:lnTo>
                    <a:pt x="126" y="918"/>
                  </a:lnTo>
                  <a:lnTo>
                    <a:pt x="132" y="918"/>
                  </a:lnTo>
                  <a:lnTo>
                    <a:pt x="132" y="912"/>
                  </a:lnTo>
                  <a:lnTo>
                    <a:pt x="126" y="912"/>
                  </a:lnTo>
                  <a:lnTo>
                    <a:pt x="120" y="912"/>
                  </a:lnTo>
                  <a:lnTo>
                    <a:pt x="120" y="918"/>
                  </a:lnTo>
                  <a:lnTo>
                    <a:pt x="114" y="918"/>
                  </a:lnTo>
                  <a:lnTo>
                    <a:pt x="114" y="912"/>
                  </a:lnTo>
                  <a:lnTo>
                    <a:pt x="108" y="912"/>
                  </a:lnTo>
                  <a:lnTo>
                    <a:pt x="102" y="912"/>
                  </a:lnTo>
                  <a:lnTo>
                    <a:pt x="108" y="906"/>
                  </a:lnTo>
                  <a:lnTo>
                    <a:pt x="102" y="906"/>
                  </a:lnTo>
                  <a:lnTo>
                    <a:pt x="96" y="906"/>
                  </a:lnTo>
                  <a:lnTo>
                    <a:pt x="96" y="912"/>
                  </a:lnTo>
                  <a:lnTo>
                    <a:pt x="90" y="918"/>
                  </a:lnTo>
                  <a:lnTo>
                    <a:pt x="90" y="912"/>
                  </a:lnTo>
                  <a:lnTo>
                    <a:pt x="84" y="912"/>
                  </a:lnTo>
                  <a:lnTo>
                    <a:pt x="84" y="918"/>
                  </a:lnTo>
                  <a:lnTo>
                    <a:pt x="78" y="918"/>
                  </a:lnTo>
                  <a:lnTo>
                    <a:pt x="78" y="912"/>
                  </a:lnTo>
                  <a:lnTo>
                    <a:pt x="78" y="906"/>
                  </a:lnTo>
                  <a:lnTo>
                    <a:pt x="72" y="900"/>
                  </a:lnTo>
                  <a:lnTo>
                    <a:pt x="78" y="900"/>
                  </a:lnTo>
                  <a:lnTo>
                    <a:pt x="72" y="900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2" y="894"/>
                  </a:lnTo>
                  <a:lnTo>
                    <a:pt x="78" y="894"/>
                  </a:lnTo>
                  <a:lnTo>
                    <a:pt x="78" y="888"/>
                  </a:lnTo>
                  <a:lnTo>
                    <a:pt x="72" y="888"/>
                  </a:lnTo>
                  <a:lnTo>
                    <a:pt x="72" y="882"/>
                  </a:lnTo>
                  <a:lnTo>
                    <a:pt x="66" y="876"/>
                  </a:lnTo>
                  <a:lnTo>
                    <a:pt x="60" y="882"/>
                  </a:lnTo>
                  <a:lnTo>
                    <a:pt x="54" y="876"/>
                  </a:lnTo>
                  <a:lnTo>
                    <a:pt x="54" y="882"/>
                  </a:lnTo>
                  <a:lnTo>
                    <a:pt x="48" y="882"/>
                  </a:lnTo>
                  <a:lnTo>
                    <a:pt x="42" y="870"/>
                  </a:lnTo>
                  <a:lnTo>
                    <a:pt x="42" y="864"/>
                  </a:lnTo>
                  <a:lnTo>
                    <a:pt x="36" y="858"/>
                  </a:lnTo>
                  <a:lnTo>
                    <a:pt x="36" y="852"/>
                  </a:lnTo>
                  <a:lnTo>
                    <a:pt x="30" y="852"/>
                  </a:lnTo>
                  <a:lnTo>
                    <a:pt x="30" y="846"/>
                  </a:lnTo>
                  <a:lnTo>
                    <a:pt x="24" y="846"/>
                  </a:lnTo>
                  <a:lnTo>
                    <a:pt x="18" y="840"/>
                  </a:lnTo>
                  <a:lnTo>
                    <a:pt x="12" y="834"/>
                  </a:lnTo>
                  <a:lnTo>
                    <a:pt x="0" y="828"/>
                  </a:lnTo>
                  <a:lnTo>
                    <a:pt x="0" y="822"/>
                  </a:lnTo>
                  <a:lnTo>
                    <a:pt x="0" y="816"/>
                  </a:lnTo>
                  <a:lnTo>
                    <a:pt x="0" y="810"/>
                  </a:lnTo>
                  <a:lnTo>
                    <a:pt x="6" y="804"/>
                  </a:lnTo>
                  <a:lnTo>
                    <a:pt x="12" y="804"/>
                  </a:lnTo>
                  <a:lnTo>
                    <a:pt x="12" y="798"/>
                  </a:lnTo>
                  <a:lnTo>
                    <a:pt x="12" y="792"/>
                  </a:lnTo>
                  <a:lnTo>
                    <a:pt x="6" y="792"/>
                  </a:lnTo>
                  <a:lnTo>
                    <a:pt x="6" y="786"/>
                  </a:lnTo>
                  <a:lnTo>
                    <a:pt x="6" y="780"/>
                  </a:lnTo>
                  <a:lnTo>
                    <a:pt x="18" y="780"/>
                  </a:lnTo>
                  <a:lnTo>
                    <a:pt x="18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0" y="774"/>
                  </a:lnTo>
                  <a:lnTo>
                    <a:pt x="36" y="768"/>
                  </a:lnTo>
                  <a:lnTo>
                    <a:pt x="42" y="768"/>
                  </a:lnTo>
                  <a:lnTo>
                    <a:pt x="60" y="750"/>
                  </a:lnTo>
                  <a:lnTo>
                    <a:pt x="60" y="744"/>
                  </a:lnTo>
                  <a:lnTo>
                    <a:pt x="54" y="738"/>
                  </a:lnTo>
                  <a:lnTo>
                    <a:pt x="60" y="732"/>
                  </a:lnTo>
                  <a:lnTo>
                    <a:pt x="54" y="732"/>
                  </a:lnTo>
                  <a:lnTo>
                    <a:pt x="60" y="726"/>
                  </a:lnTo>
                  <a:lnTo>
                    <a:pt x="66" y="720"/>
                  </a:lnTo>
                  <a:lnTo>
                    <a:pt x="72" y="714"/>
                  </a:lnTo>
                  <a:lnTo>
                    <a:pt x="78" y="708"/>
                  </a:lnTo>
                  <a:lnTo>
                    <a:pt x="78" y="702"/>
                  </a:lnTo>
                  <a:lnTo>
                    <a:pt x="84" y="696"/>
                  </a:lnTo>
                  <a:lnTo>
                    <a:pt x="90" y="684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66"/>
                  </a:lnTo>
                  <a:lnTo>
                    <a:pt x="90" y="660"/>
                  </a:lnTo>
                  <a:lnTo>
                    <a:pt x="84" y="654"/>
                  </a:lnTo>
                  <a:lnTo>
                    <a:pt x="84" y="648"/>
                  </a:lnTo>
                  <a:lnTo>
                    <a:pt x="78" y="636"/>
                  </a:lnTo>
                  <a:lnTo>
                    <a:pt x="66" y="630"/>
                  </a:lnTo>
                  <a:lnTo>
                    <a:pt x="66" y="624"/>
                  </a:lnTo>
                  <a:lnTo>
                    <a:pt x="60" y="624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60" y="600"/>
                  </a:lnTo>
                  <a:lnTo>
                    <a:pt x="66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6" y="588"/>
                  </a:lnTo>
                  <a:lnTo>
                    <a:pt x="66" y="582"/>
                  </a:lnTo>
                  <a:lnTo>
                    <a:pt x="72" y="582"/>
                  </a:lnTo>
                  <a:lnTo>
                    <a:pt x="78" y="576"/>
                  </a:lnTo>
                  <a:lnTo>
                    <a:pt x="72" y="576"/>
                  </a:lnTo>
                  <a:lnTo>
                    <a:pt x="66" y="570"/>
                  </a:lnTo>
                  <a:lnTo>
                    <a:pt x="72" y="564"/>
                  </a:lnTo>
                  <a:lnTo>
                    <a:pt x="78" y="558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90" y="528"/>
                  </a:lnTo>
                  <a:lnTo>
                    <a:pt x="96" y="522"/>
                  </a:lnTo>
                  <a:lnTo>
                    <a:pt x="102" y="522"/>
                  </a:lnTo>
                  <a:lnTo>
                    <a:pt x="102" y="516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0" y="504"/>
                  </a:lnTo>
                  <a:lnTo>
                    <a:pt x="120" y="498"/>
                  </a:lnTo>
                  <a:lnTo>
                    <a:pt x="120" y="492"/>
                  </a:lnTo>
                  <a:lnTo>
                    <a:pt x="126" y="480"/>
                  </a:lnTo>
                  <a:lnTo>
                    <a:pt x="132" y="474"/>
                  </a:lnTo>
                  <a:lnTo>
                    <a:pt x="132" y="468"/>
                  </a:lnTo>
                  <a:lnTo>
                    <a:pt x="138" y="462"/>
                  </a:lnTo>
                  <a:lnTo>
                    <a:pt x="138" y="456"/>
                  </a:lnTo>
                  <a:lnTo>
                    <a:pt x="138" y="450"/>
                  </a:lnTo>
                  <a:lnTo>
                    <a:pt x="144" y="444"/>
                  </a:lnTo>
                  <a:lnTo>
                    <a:pt x="162" y="438"/>
                  </a:lnTo>
                  <a:lnTo>
                    <a:pt x="186" y="438"/>
                  </a:lnTo>
                  <a:lnTo>
                    <a:pt x="210" y="444"/>
                  </a:lnTo>
                  <a:lnTo>
                    <a:pt x="276" y="450"/>
                  </a:lnTo>
                  <a:lnTo>
                    <a:pt x="342" y="450"/>
                  </a:lnTo>
                  <a:lnTo>
                    <a:pt x="348" y="450"/>
                  </a:lnTo>
                  <a:lnTo>
                    <a:pt x="354" y="450"/>
                  </a:lnTo>
                  <a:lnTo>
                    <a:pt x="360" y="456"/>
                  </a:lnTo>
                  <a:lnTo>
                    <a:pt x="354" y="462"/>
                  </a:lnTo>
                  <a:lnTo>
                    <a:pt x="354" y="468"/>
                  </a:lnTo>
                  <a:lnTo>
                    <a:pt x="354" y="474"/>
                  </a:lnTo>
                  <a:lnTo>
                    <a:pt x="348" y="468"/>
                  </a:lnTo>
                  <a:lnTo>
                    <a:pt x="342" y="474"/>
                  </a:lnTo>
                  <a:lnTo>
                    <a:pt x="342" y="480"/>
                  </a:lnTo>
                  <a:lnTo>
                    <a:pt x="348" y="498"/>
                  </a:lnTo>
                  <a:lnTo>
                    <a:pt x="342" y="510"/>
                  </a:lnTo>
                  <a:lnTo>
                    <a:pt x="348" y="528"/>
                  </a:lnTo>
                  <a:lnTo>
                    <a:pt x="348" y="534"/>
                  </a:lnTo>
                  <a:lnTo>
                    <a:pt x="354" y="552"/>
                  </a:lnTo>
                  <a:lnTo>
                    <a:pt x="366" y="546"/>
                  </a:lnTo>
                  <a:lnTo>
                    <a:pt x="372" y="540"/>
                  </a:lnTo>
                  <a:lnTo>
                    <a:pt x="384" y="540"/>
                  </a:lnTo>
                  <a:lnTo>
                    <a:pt x="396" y="534"/>
                  </a:lnTo>
                  <a:lnTo>
                    <a:pt x="402" y="534"/>
                  </a:lnTo>
                  <a:lnTo>
                    <a:pt x="414" y="546"/>
                  </a:lnTo>
                  <a:lnTo>
                    <a:pt x="432" y="540"/>
                  </a:lnTo>
                  <a:lnTo>
                    <a:pt x="450" y="534"/>
                  </a:lnTo>
                  <a:lnTo>
                    <a:pt x="450" y="528"/>
                  </a:lnTo>
                  <a:lnTo>
                    <a:pt x="456" y="528"/>
                  </a:lnTo>
                  <a:lnTo>
                    <a:pt x="456" y="522"/>
                  </a:lnTo>
                  <a:lnTo>
                    <a:pt x="456" y="516"/>
                  </a:lnTo>
                  <a:lnTo>
                    <a:pt x="462" y="516"/>
                  </a:lnTo>
                  <a:lnTo>
                    <a:pt x="468" y="510"/>
                  </a:lnTo>
                  <a:lnTo>
                    <a:pt x="468" y="504"/>
                  </a:lnTo>
                  <a:lnTo>
                    <a:pt x="474" y="504"/>
                  </a:lnTo>
                  <a:lnTo>
                    <a:pt x="480" y="504"/>
                  </a:lnTo>
                  <a:lnTo>
                    <a:pt x="486" y="498"/>
                  </a:lnTo>
                  <a:lnTo>
                    <a:pt x="492" y="498"/>
                  </a:lnTo>
                  <a:lnTo>
                    <a:pt x="486" y="480"/>
                  </a:lnTo>
                  <a:lnTo>
                    <a:pt x="492" y="462"/>
                  </a:lnTo>
                  <a:lnTo>
                    <a:pt x="498" y="444"/>
                  </a:lnTo>
                  <a:lnTo>
                    <a:pt x="498" y="426"/>
                  </a:lnTo>
                  <a:lnTo>
                    <a:pt x="498" y="420"/>
                  </a:lnTo>
                  <a:lnTo>
                    <a:pt x="504" y="426"/>
                  </a:lnTo>
                  <a:lnTo>
                    <a:pt x="504" y="420"/>
                  </a:lnTo>
                  <a:lnTo>
                    <a:pt x="510" y="420"/>
                  </a:lnTo>
                  <a:lnTo>
                    <a:pt x="510" y="414"/>
                  </a:lnTo>
                  <a:lnTo>
                    <a:pt x="510" y="408"/>
                  </a:lnTo>
                  <a:lnTo>
                    <a:pt x="504" y="402"/>
                  </a:lnTo>
                  <a:lnTo>
                    <a:pt x="504" y="396"/>
                  </a:lnTo>
                  <a:lnTo>
                    <a:pt x="504" y="384"/>
                  </a:lnTo>
                  <a:lnTo>
                    <a:pt x="504" y="378"/>
                  </a:lnTo>
                  <a:lnTo>
                    <a:pt x="504" y="360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510" y="348"/>
                  </a:lnTo>
                  <a:lnTo>
                    <a:pt x="510" y="336"/>
                  </a:lnTo>
                  <a:lnTo>
                    <a:pt x="516" y="330"/>
                  </a:lnTo>
                  <a:lnTo>
                    <a:pt x="522" y="324"/>
                  </a:lnTo>
                  <a:lnTo>
                    <a:pt x="528" y="318"/>
                  </a:lnTo>
                  <a:lnTo>
                    <a:pt x="534" y="312"/>
                  </a:lnTo>
                  <a:lnTo>
                    <a:pt x="534" y="300"/>
                  </a:lnTo>
                  <a:lnTo>
                    <a:pt x="540" y="294"/>
                  </a:lnTo>
                  <a:lnTo>
                    <a:pt x="546" y="288"/>
                  </a:lnTo>
                  <a:lnTo>
                    <a:pt x="552" y="276"/>
                  </a:lnTo>
                  <a:lnTo>
                    <a:pt x="558" y="264"/>
                  </a:lnTo>
                  <a:lnTo>
                    <a:pt x="558" y="258"/>
                  </a:lnTo>
                  <a:lnTo>
                    <a:pt x="558" y="252"/>
                  </a:lnTo>
                  <a:lnTo>
                    <a:pt x="558" y="246"/>
                  </a:lnTo>
                  <a:lnTo>
                    <a:pt x="564" y="246"/>
                  </a:lnTo>
                  <a:lnTo>
                    <a:pt x="564" y="240"/>
                  </a:lnTo>
                  <a:lnTo>
                    <a:pt x="570" y="234"/>
                  </a:lnTo>
                  <a:lnTo>
                    <a:pt x="564" y="216"/>
                  </a:lnTo>
                  <a:lnTo>
                    <a:pt x="564" y="210"/>
                  </a:lnTo>
                  <a:lnTo>
                    <a:pt x="570" y="210"/>
                  </a:lnTo>
                  <a:lnTo>
                    <a:pt x="570" y="204"/>
                  </a:lnTo>
                  <a:lnTo>
                    <a:pt x="570" y="198"/>
                  </a:lnTo>
                  <a:lnTo>
                    <a:pt x="582" y="180"/>
                  </a:lnTo>
                  <a:lnTo>
                    <a:pt x="582" y="174"/>
                  </a:lnTo>
                  <a:lnTo>
                    <a:pt x="582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606" y="150"/>
                  </a:lnTo>
                  <a:lnTo>
                    <a:pt x="612" y="150"/>
                  </a:lnTo>
                  <a:lnTo>
                    <a:pt x="618" y="150"/>
                  </a:lnTo>
                  <a:lnTo>
                    <a:pt x="624" y="138"/>
                  </a:lnTo>
                  <a:lnTo>
                    <a:pt x="618" y="132"/>
                  </a:lnTo>
                  <a:lnTo>
                    <a:pt x="618" y="126"/>
                  </a:lnTo>
                  <a:lnTo>
                    <a:pt x="618" y="120"/>
                  </a:lnTo>
                  <a:lnTo>
                    <a:pt x="618" y="114"/>
                  </a:lnTo>
                  <a:lnTo>
                    <a:pt x="612" y="108"/>
                  </a:lnTo>
                  <a:lnTo>
                    <a:pt x="612" y="102"/>
                  </a:lnTo>
                  <a:lnTo>
                    <a:pt x="618" y="90"/>
                  </a:lnTo>
                  <a:lnTo>
                    <a:pt x="624" y="84"/>
                  </a:lnTo>
                  <a:lnTo>
                    <a:pt x="618" y="84"/>
                  </a:lnTo>
                  <a:lnTo>
                    <a:pt x="618" y="78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0" y="72"/>
                  </a:lnTo>
                  <a:lnTo>
                    <a:pt x="600" y="66"/>
                  </a:lnTo>
                  <a:lnTo>
                    <a:pt x="600" y="60"/>
                  </a:lnTo>
                  <a:lnTo>
                    <a:pt x="600" y="48"/>
                  </a:lnTo>
                  <a:lnTo>
                    <a:pt x="612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36"/>
                  </a:lnTo>
                  <a:lnTo>
                    <a:pt x="630" y="30"/>
                  </a:lnTo>
                  <a:lnTo>
                    <a:pt x="636" y="24"/>
                  </a:lnTo>
                  <a:lnTo>
                    <a:pt x="642" y="24"/>
                  </a:lnTo>
                  <a:lnTo>
                    <a:pt x="648" y="24"/>
                  </a:lnTo>
                  <a:lnTo>
                    <a:pt x="648" y="18"/>
                  </a:lnTo>
                  <a:lnTo>
                    <a:pt x="654" y="12"/>
                  </a:lnTo>
                  <a:lnTo>
                    <a:pt x="660" y="0"/>
                  </a:lnTo>
                  <a:lnTo>
                    <a:pt x="678" y="0"/>
                  </a:lnTo>
                  <a:lnTo>
                    <a:pt x="696" y="0"/>
                  </a:lnTo>
                  <a:lnTo>
                    <a:pt x="702" y="0"/>
                  </a:lnTo>
                  <a:lnTo>
                    <a:pt x="714" y="0"/>
                  </a:lnTo>
                  <a:lnTo>
                    <a:pt x="720" y="6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44" y="24"/>
                  </a:lnTo>
                  <a:lnTo>
                    <a:pt x="744" y="30"/>
                  </a:lnTo>
                  <a:lnTo>
                    <a:pt x="732" y="42"/>
                  </a:lnTo>
                  <a:lnTo>
                    <a:pt x="726" y="42"/>
                  </a:lnTo>
                  <a:lnTo>
                    <a:pt x="720" y="42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54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90"/>
                  </a:lnTo>
                  <a:lnTo>
                    <a:pt x="726" y="84"/>
                  </a:lnTo>
                  <a:lnTo>
                    <a:pt x="738" y="84"/>
                  </a:lnTo>
                  <a:lnTo>
                    <a:pt x="750" y="96"/>
                  </a:lnTo>
                  <a:lnTo>
                    <a:pt x="768" y="96"/>
                  </a:lnTo>
                  <a:lnTo>
                    <a:pt x="768" y="90"/>
                  </a:lnTo>
                  <a:lnTo>
                    <a:pt x="774" y="84"/>
                  </a:lnTo>
                  <a:lnTo>
                    <a:pt x="780" y="78"/>
                  </a:lnTo>
                  <a:lnTo>
                    <a:pt x="786" y="78"/>
                  </a:lnTo>
                  <a:lnTo>
                    <a:pt x="792" y="72"/>
                  </a:lnTo>
                  <a:lnTo>
                    <a:pt x="804" y="72"/>
                  </a:lnTo>
                  <a:lnTo>
                    <a:pt x="804" y="66"/>
                  </a:lnTo>
                  <a:lnTo>
                    <a:pt x="810" y="66"/>
                  </a:lnTo>
                  <a:lnTo>
                    <a:pt x="810" y="72"/>
                  </a:lnTo>
                  <a:lnTo>
                    <a:pt x="816" y="66"/>
                  </a:lnTo>
                  <a:lnTo>
                    <a:pt x="828" y="66"/>
                  </a:lnTo>
                  <a:lnTo>
                    <a:pt x="834" y="72"/>
                  </a:lnTo>
                  <a:lnTo>
                    <a:pt x="840" y="72"/>
                  </a:lnTo>
                  <a:lnTo>
                    <a:pt x="840" y="78"/>
                  </a:lnTo>
                  <a:lnTo>
                    <a:pt x="840" y="84"/>
                  </a:lnTo>
                  <a:lnTo>
                    <a:pt x="852" y="84"/>
                  </a:lnTo>
                  <a:lnTo>
                    <a:pt x="858" y="96"/>
                  </a:lnTo>
                  <a:lnTo>
                    <a:pt x="864" y="108"/>
                  </a:lnTo>
                  <a:lnTo>
                    <a:pt x="876" y="114"/>
                  </a:lnTo>
                  <a:lnTo>
                    <a:pt x="894" y="114"/>
                  </a:lnTo>
                  <a:lnTo>
                    <a:pt x="906" y="114"/>
                  </a:lnTo>
                  <a:lnTo>
                    <a:pt x="906" y="126"/>
                  </a:lnTo>
                  <a:lnTo>
                    <a:pt x="912" y="144"/>
                  </a:lnTo>
                  <a:lnTo>
                    <a:pt x="930" y="138"/>
                  </a:lnTo>
                  <a:lnTo>
                    <a:pt x="936" y="138"/>
                  </a:lnTo>
                  <a:lnTo>
                    <a:pt x="942" y="144"/>
                  </a:lnTo>
                  <a:lnTo>
                    <a:pt x="948" y="150"/>
                  </a:lnTo>
                  <a:lnTo>
                    <a:pt x="954" y="156"/>
                  </a:lnTo>
                  <a:lnTo>
                    <a:pt x="954" y="168"/>
                  </a:lnTo>
                  <a:lnTo>
                    <a:pt x="954" y="174"/>
                  </a:lnTo>
                  <a:lnTo>
                    <a:pt x="960" y="180"/>
                  </a:lnTo>
                  <a:lnTo>
                    <a:pt x="966" y="186"/>
                  </a:lnTo>
                  <a:lnTo>
                    <a:pt x="960" y="186"/>
                  </a:lnTo>
                  <a:lnTo>
                    <a:pt x="966" y="192"/>
                  </a:lnTo>
                  <a:lnTo>
                    <a:pt x="966" y="198"/>
                  </a:lnTo>
                  <a:lnTo>
                    <a:pt x="978" y="204"/>
                  </a:lnTo>
                  <a:lnTo>
                    <a:pt x="1050" y="186"/>
                  </a:lnTo>
                  <a:lnTo>
                    <a:pt x="1056" y="198"/>
                  </a:lnTo>
                  <a:lnTo>
                    <a:pt x="1068" y="210"/>
                  </a:lnTo>
                  <a:lnTo>
                    <a:pt x="1074" y="216"/>
                  </a:lnTo>
                  <a:lnTo>
                    <a:pt x="1080" y="252"/>
                  </a:lnTo>
                  <a:lnTo>
                    <a:pt x="1086" y="270"/>
                  </a:lnTo>
                  <a:lnTo>
                    <a:pt x="1092" y="282"/>
                  </a:lnTo>
                  <a:lnTo>
                    <a:pt x="1086" y="300"/>
                  </a:lnTo>
                  <a:lnTo>
                    <a:pt x="1074" y="330"/>
                  </a:lnTo>
                  <a:lnTo>
                    <a:pt x="1068" y="336"/>
                  </a:lnTo>
                  <a:lnTo>
                    <a:pt x="1062" y="348"/>
                  </a:lnTo>
                  <a:lnTo>
                    <a:pt x="1062" y="360"/>
                  </a:lnTo>
                  <a:lnTo>
                    <a:pt x="1068" y="378"/>
                  </a:lnTo>
                  <a:lnTo>
                    <a:pt x="1074" y="390"/>
                  </a:lnTo>
                  <a:lnTo>
                    <a:pt x="1068" y="396"/>
                  </a:lnTo>
                  <a:lnTo>
                    <a:pt x="1068" y="408"/>
                  </a:lnTo>
                  <a:lnTo>
                    <a:pt x="1062" y="414"/>
                  </a:lnTo>
                  <a:lnTo>
                    <a:pt x="1050" y="432"/>
                  </a:lnTo>
                  <a:lnTo>
                    <a:pt x="1044" y="450"/>
                  </a:lnTo>
                  <a:lnTo>
                    <a:pt x="1038" y="456"/>
                  </a:lnTo>
                  <a:lnTo>
                    <a:pt x="1026" y="468"/>
                  </a:lnTo>
                  <a:lnTo>
                    <a:pt x="1026" y="474"/>
                  </a:lnTo>
                  <a:lnTo>
                    <a:pt x="1026" y="480"/>
                  </a:lnTo>
                  <a:lnTo>
                    <a:pt x="1032" y="492"/>
                  </a:lnTo>
                  <a:lnTo>
                    <a:pt x="1044" y="504"/>
                  </a:lnTo>
                  <a:lnTo>
                    <a:pt x="1044" y="516"/>
                  </a:lnTo>
                  <a:lnTo>
                    <a:pt x="1038" y="528"/>
                  </a:lnTo>
                  <a:lnTo>
                    <a:pt x="1032" y="546"/>
                  </a:lnTo>
                  <a:lnTo>
                    <a:pt x="1032" y="570"/>
                  </a:lnTo>
                  <a:lnTo>
                    <a:pt x="1050" y="594"/>
                  </a:lnTo>
                  <a:lnTo>
                    <a:pt x="1056" y="624"/>
                  </a:lnTo>
                  <a:lnTo>
                    <a:pt x="1056" y="65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39" name="Freeform 24">
              <a:extLst>
                <a:ext uri="{FF2B5EF4-FFF2-40B4-BE49-F238E27FC236}">
                  <a16:creationId xmlns:a16="http://schemas.microsoft.com/office/drawing/2014/main" id="{CAE689DA-332A-4F73-BDE6-8865C9170AA5}"/>
                </a:ext>
              </a:extLst>
            </p:cNvPr>
            <p:cNvSpPr>
              <a:spLocks/>
            </p:cNvSpPr>
            <p:nvPr/>
          </p:nvSpPr>
          <p:spPr bwMode="gray">
            <a:xfrm>
              <a:off x="1684829" y="3213406"/>
              <a:ext cx="851989" cy="744754"/>
            </a:xfrm>
            <a:custGeom>
              <a:avLst/>
              <a:gdLst>
                <a:gd name="T0" fmla="*/ 116 w 1602"/>
                <a:gd name="T1" fmla="*/ 91 h 1404"/>
                <a:gd name="T2" fmla="*/ 111 w 1602"/>
                <a:gd name="T3" fmla="*/ 95 h 1404"/>
                <a:gd name="T4" fmla="*/ 102 w 1602"/>
                <a:gd name="T5" fmla="*/ 101 h 1404"/>
                <a:gd name="T6" fmla="*/ 99 w 1602"/>
                <a:gd name="T7" fmla="*/ 103 h 1404"/>
                <a:gd name="T8" fmla="*/ 96 w 1602"/>
                <a:gd name="T9" fmla="*/ 106 h 1404"/>
                <a:gd name="T10" fmla="*/ 93 w 1602"/>
                <a:gd name="T11" fmla="*/ 108 h 1404"/>
                <a:gd name="T12" fmla="*/ 88 w 1602"/>
                <a:gd name="T13" fmla="*/ 106 h 1404"/>
                <a:gd name="T14" fmla="*/ 86 w 1602"/>
                <a:gd name="T15" fmla="*/ 108 h 1404"/>
                <a:gd name="T16" fmla="*/ 81 w 1602"/>
                <a:gd name="T17" fmla="*/ 119 h 1404"/>
                <a:gd name="T18" fmla="*/ 71 w 1602"/>
                <a:gd name="T19" fmla="*/ 109 h 1404"/>
                <a:gd name="T20" fmla="*/ 72 w 1602"/>
                <a:gd name="T21" fmla="*/ 101 h 1404"/>
                <a:gd name="T22" fmla="*/ 74 w 1602"/>
                <a:gd name="T23" fmla="*/ 93 h 1404"/>
                <a:gd name="T24" fmla="*/ 73 w 1602"/>
                <a:gd name="T25" fmla="*/ 82 h 1404"/>
                <a:gd name="T26" fmla="*/ 64 w 1602"/>
                <a:gd name="T27" fmla="*/ 79 h 1404"/>
                <a:gd name="T28" fmla="*/ 59 w 1602"/>
                <a:gd name="T29" fmla="*/ 75 h 1404"/>
                <a:gd name="T30" fmla="*/ 54 w 1602"/>
                <a:gd name="T31" fmla="*/ 71 h 1404"/>
                <a:gd name="T32" fmla="*/ 51 w 1602"/>
                <a:gd name="T33" fmla="*/ 70 h 1404"/>
                <a:gd name="T34" fmla="*/ 45 w 1602"/>
                <a:gd name="T35" fmla="*/ 71 h 1404"/>
                <a:gd name="T36" fmla="*/ 43 w 1602"/>
                <a:gd name="T37" fmla="*/ 68 h 1404"/>
                <a:gd name="T38" fmla="*/ 43 w 1602"/>
                <a:gd name="T39" fmla="*/ 64 h 1404"/>
                <a:gd name="T40" fmla="*/ 36 w 1602"/>
                <a:gd name="T41" fmla="*/ 66 h 1404"/>
                <a:gd name="T42" fmla="*/ 31 w 1602"/>
                <a:gd name="T43" fmla="*/ 55 h 1404"/>
                <a:gd name="T44" fmla="*/ 25 w 1602"/>
                <a:gd name="T45" fmla="*/ 53 h 1404"/>
                <a:gd name="T46" fmla="*/ 19 w 1602"/>
                <a:gd name="T47" fmla="*/ 51 h 1404"/>
                <a:gd name="T48" fmla="*/ 17 w 1602"/>
                <a:gd name="T49" fmla="*/ 43 h 1404"/>
                <a:gd name="T50" fmla="*/ 17 w 1602"/>
                <a:gd name="T51" fmla="*/ 39 h 1404"/>
                <a:gd name="T52" fmla="*/ 12 w 1602"/>
                <a:gd name="T53" fmla="*/ 39 h 1404"/>
                <a:gd name="T54" fmla="*/ 10 w 1602"/>
                <a:gd name="T55" fmla="*/ 35 h 1404"/>
                <a:gd name="T56" fmla="*/ 5 w 1602"/>
                <a:gd name="T57" fmla="*/ 30 h 1404"/>
                <a:gd name="T58" fmla="*/ 3 w 1602"/>
                <a:gd name="T59" fmla="*/ 27 h 1404"/>
                <a:gd name="T60" fmla="*/ 2 w 1602"/>
                <a:gd name="T61" fmla="*/ 25 h 1404"/>
                <a:gd name="T62" fmla="*/ 0 w 1602"/>
                <a:gd name="T63" fmla="*/ 22 h 1404"/>
                <a:gd name="T64" fmla="*/ 8 w 1602"/>
                <a:gd name="T65" fmla="*/ 14 h 1404"/>
                <a:gd name="T66" fmla="*/ 16 w 1602"/>
                <a:gd name="T67" fmla="*/ 16 h 1404"/>
                <a:gd name="T68" fmla="*/ 31 w 1602"/>
                <a:gd name="T69" fmla="*/ 18 h 1404"/>
                <a:gd name="T70" fmla="*/ 43 w 1602"/>
                <a:gd name="T71" fmla="*/ 17 h 1404"/>
                <a:gd name="T72" fmla="*/ 47 w 1602"/>
                <a:gd name="T73" fmla="*/ 6 h 1404"/>
                <a:gd name="T74" fmla="*/ 52 w 1602"/>
                <a:gd name="T75" fmla="*/ 0 h 1404"/>
                <a:gd name="T76" fmla="*/ 55 w 1602"/>
                <a:gd name="T77" fmla="*/ 3 h 1404"/>
                <a:gd name="T78" fmla="*/ 59 w 1602"/>
                <a:gd name="T79" fmla="*/ 9 h 1404"/>
                <a:gd name="T80" fmla="*/ 62 w 1602"/>
                <a:gd name="T81" fmla="*/ 16 h 1404"/>
                <a:gd name="T82" fmla="*/ 66 w 1602"/>
                <a:gd name="T83" fmla="*/ 20 h 1404"/>
                <a:gd name="T84" fmla="*/ 70 w 1602"/>
                <a:gd name="T85" fmla="*/ 25 h 1404"/>
                <a:gd name="T86" fmla="*/ 74 w 1602"/>
                <a:gd name="T87" fmla="*/ 30 h 1404"/>
                <a:gd name="T88" fmla="*/ 76 w 1602"/>
                <a:gd name="T89" fmla="*/ 27 h 1404"/>
                <a:gd name="T90" fmla="*/ 78 w 1602"/>
                <a:gd name="T91" fmla="*/ 27 h 1404"/>
                <a:gd name="T92" fmla="*/ 78 w 1602"/>
                <a:gd name="T93" fmla="*/ 23 h 1404"/>
                <a:gd name="T94" fmla="*/ 82 w 1602"/>
                <a:gd name="T95" fmla="*/ 20 h 1404"/>
                <a:gd name="T96" fmla="*/ 82 w 1602"/>
                <a:gd name="T97" fmla="*/ 18 h 1404"/>
                <a:gd name="T98" fmla="*/ 90 w 1602"/>
                <a:gd name="T99" fmla="*/ 24 h 1404"/>
                <a:gd name="T100" fmla="*/ 90 w 1602"/>
                <a:gd name="T101" fmla="*/ 45 h 1404"/>
                <a:gd name="T102" fmla="*/ 104 w 1602"/>
                <a:gd name="T103" fmla="*/ 41 h 1404"/>
                <a:gd name="T104" fmla="*/ 117 w 1602"/>
                <a:gd name="T105" fmla="*/ 39 h 1404"/>
                <a:gd name="T106" fmla="*/ 125 w 1602"/>
                <a:gd name="T107" fmla="*/ 39 h 1404"/>
                <a:gd name="T108" fmla="*/ 127 w 1602"/>
                <a:gd name="T109" fmla="*/ 43 h 1404"/>
                <a:gd name="T110" fmla="*/ 131 w 1602"/>
                <a:gd name="T111" fmla="*/ 53 h 1404"/>
                <a:gd name="T112" fmla="*/ 133 w 1602"/>
                <a:gd name="T113" fmla="*/ 60 h 1404"/>
                <a:gd name="T114" fmla="*/ 138 w 1602"/>
                <a:gd name="T115" fmla="*/ 73 h 1404"/>
                <a:gd name="T116" fmla="*/ 136 w 1602"/>
                <a:gd name="T117" fmla="*/ 80 h 1404"/>
                <a:gd name="T118" fmla="*/ 129 w 1602"/>
                <a:gd name="T119" fmla="*/ 87 h 1404"/>
                <a:gd name="T120" fmla="*/ 123 w 1602"/>
                <a:gd name="T121" fmla="*/ 95 h 140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602"/>
                <a:gd name="T184" fmla="*/ 0 h 1404"/>
                <a:gd name="T185" fmla="*/ 1602 w 1602"/>
                <a:gd name="T186" fmla="*/ 1404 h 140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602" h="1404">
                  <a:moveTo>
                    <a:pt x="1392" y="1080"/>
                  </a:moveTo>
                  <a:lnTo>
                    <a:pt x="1380" y="1074"/>
                  </a:lnTo>
                  <a:lnTo>
                    <a:pt x="1368" y="1056"/>
                  </a:lnTo>
                  <a:lnTo>
                    <a:pt x="1356" y="1044"/>
                  </a:lnTo>
                  <a:lnTo>
                    <a:pt x="1344" y="1038"/>
                  </a:lnTo>
                  <a:lnTo>
                    <a:pt x="1338" y="1038"/>
                  </a:lnTo>
                  <a:lnTo>
                    <a:pt x="1332" y="1038"/>
                  </a:lnTo>
                  <a:lnTo>
                    <a:pt x="1326" y="1044"/>
                  </a:lnTo>
                  <a:lnTo>
                    <a:pt x="1320" y="1044"/>
                  </a:lnTo>
                  <a:lnTo>
                    <a:pt x="1314" y="1044"/>
                  </a:lnTo>
                  <a:lnTo>
                    <a:pt x="1296" y="1056"/>
                  </a:lnTo>
                  <a:lnTo>
                    <a:pt x="1296" y="1080"/>
                  </a:lnTo>
                  <a:lnTo>
                    <a:pt x="1290" y="1080"/>
                  </a:lnTo>
                  <a:lnTo>
                    <a:pt x="1284" y="1086"/>
                  </a:lnTo>
                  <a:lnTo>
                    <a:pt x="1278" y="1086"/>
                  </a:lnTo>
                  <a:lnTo>
                    <a:pt x="1278" y="1092"/>
                  </a:lnTo>
                  <a:lnTo>
                    <a:pt x="1272" y="1092"/>
                  </a:lnTo>
                  <a:lnTo>
                    <a:pt x="1266" y="1086"/>
                  </a:lnTo>
                  <a:lnTo>
                    <a:pt x="1260" y="1086"/>
                  </a:lnTo>
                  <a:lnTo>
                    <a:pt x="1260" y="1098"/>
                  </a:lnTo>
                  <a:lnTo>
                    <a:pt x="1248" y="1098"/>
                  </a:lnTo>
                  <a:lnTo>
                    <a:pt x="1212" y="1116"/>
                  </a:lnTo>
                  <a:lnTo>
                    <a:pt x="1206" y="1158"/>
                  </a:lnTo>
                  <a:lnTo>
                    <a:pt x="1176" y="1164"/>
                  </a:lnTo>
                  <a:lnTo>
                    <a:pt x="1158" y="1164"/>
                  </a:lnTo>
                  <a:lnTo>
                    <a:pt x="1152" y="1164"/>
                  </a:lnTo>
                  <a:lnTo>
                    <a:pt x="1152" y="1170"/>
                  </a:lnTo>
                  <a:lnTo>
                    <a:pt x="1152" y="1176"/>
                  </a:lnTo>
                  <a:lnTo>
                    <a:pt x="1146" y="1176"/>
                  </a:lnTo>
                  <a:lnTo>
                    <a:pt x="1140" y="1176"/>
                  </a:lnTo>
                  <a:lnTo>
                    <a:pt x="1134" y="1182"/>
                  </a:lnTo>
                  <a:lnTo>
                    <a:pt x="1134" y="1188"/>
                  </a:lnTo>
                  <a:lnTo>
                    <a:pt x="1128" y="1194"/>
                  </a:lnTo>
                  <a:lnTo>
                    <a:pt x="1122" y="1194"/>
                  </a:lnTo>
                  <a:lnTo>
                    <a:pt x="1116" y="1194"/>
                  </a:lnTo>
                  <a:lnTo>
                    <a:pt x="1110" y="1200"/>
                  </a:lnTo>
                  <a:lnTo>
                    <a:pt x="1110" y="1206"/>
                  </a:lnTo>
                  <a:lnTo>
                    <a:pt x="1104" y="1212"/>
                  </a:lnTo>
                  <a:lnTo>
                    <a:pt x="1104" y="1218"/>
                  </a:lnTo>
                  <a:lnTo>
                    <a:pt x="1098" y="1224"/>
                  </a:lnTo>
                  <a:lnTo>
                    <a:pt x="1092" y="1230"/>
                  </a:lnTo>
                  <a:lnTo>
                    <a:pt x="1086" y="1230"/>
                  </a:lnTo>
                  <a:lnTo>
                    <a:pt x="1080" y="1230"/>
                  </a:lnTo>
                  <a:lnTo>
                    <a:pt x="1080" y="1242"/>
                  </a:lnTo>
                  <a:lnTo>
                    <a:pt x="1074" y="1242"/>
                  </a:lnTo>
                  <a:lnTo>
                    <a:pt x="1068" y="1242"/>
                  </a:lnTo>
                  <a:lnTo>
                    <a:pt x="1068" y="1236"/>
                  </a:lnTo>
                  <a:lnTo>
                    <a:pt x="1062" y="1242"/>
                  </a:lnTo>
                  <a:lnTo>
                    <a:pt x="1056" y="1236"/>
                  </a:lnTo>
                  <a:lnTo>
                    <a:pt x="1050" y="1242"/>
                  </a:lnTo>
                  <a:lnTo>
                    <a:pt x="1050" y="1236"/>
                  </a:lnTo>
                  <a:lnTo>
                    <a:pt x="1044" y="1194"/>
                  </a:lnTo>
                  <a:lnTo>
                    <a:pt x="1032" y="1194"/>
                  </a:lnTo>
                  <a:lnTo>
                    <a:pt x="1032" y="1200"/>
                  </a:lnTo>
                  <a:lnTo>
                    <a:pt x="1026" y="1200"/>
                  </a:lnTo>
                  <a:lnTo>
                    <a:pt x="1014" y="1218"/>
                  </a:lnTo>
                  <a:lnTo>
                    <a:pt x="1014" y="1224"/>
                  </a:lnTo>
                  <a:lnTo>
                    <a:pt x="1014" y="1236"/>
                  </a:lnTo>
                  <a:lnTo>
                    <a:pt x="1014" y="1242"/>
                  </a:lnTo>
                  <a:lnTo>
                    <a:pt x="1008" y="1242"/>
                  </a:lnTo>
                  <a:lnTo>
                    <a:pt x="1002" y="1236"/>
                  </a:lnTo>
                  <a:lnTo>
                    <a:pt x="1002" y="1230"/>
                  </a:lnTo>
                  <a:lnTo>
                    <a:pt x="996" y="1236"/>
                  </a:lnTo>
                  <a:lnTo>
                    <a:pt x="990" y="1236"/>
                  </a:lnTo>
                  <a:lnTo>
                    <a:pt x="990" y="1230"/>
                  </a:lnTo>
                  <a:lnTo>
                    <a:pt x="984" y="1236"/>
                  </a:lnTo>
                  <a:lnTo>
                    <a:pt x="978" y="1248"/>
                  </a:lnTo>
                  <a:lnTo>
                    <a:pt x="972" y="1254"/>
                  </a:lnTo>
                  <a:lnTo>
                    <a:pt x="966" y="1260"/>
                  </a:lnTo>
                  <a:lnTo>
                    <a:pt x="930" y="1284"/>
                  </a:lnTo>
                  <a:lnTo>
                    <a:pt x="942" y="1356"/>
                  </a:lnTo>
                  <a:lnTo>
                    <a:pt x="930" y="1368"/>
                  </a:lnTo>
                  <a:lnTo>
                    <a:pt x="852" y="1404"/>
                  </a:lnTo>
                  <a:lnTo>
                    <a:pt x="834" y="1392"/>
                  </a:lnTo>
                  <a:lnTo>
                    <a:pt x="834" y="1362"/>
                  </a:lnTo>
                  <a:lnTo>
                    <a:pt x="828" y="1332"/>
                  </a:lnTo>
                  <a:lnTo>
                    <a:pt x="810" y="1308"/>
                  </a:lnTo>
                  <a:lnTo>
                    <a:pt x="810" y="1284"/>
                  </a:lnTo>
                  <a:lnTo>
                    <a:pt x="816" y="1266"/>
                  </a:lnTo>
                  <a:lnTo>
                    <a:pt x="822" y="1254"/>
                  </a:lnTo>
                  <a:lnTo>
                    <a:pt x="822" y="1242"/>
                  </a:lnTo>
                  <a:lnTo>
                    <a:pt x="810" y="1230"/>
                  </a:lnTo>
                  <a:lnTo>
                    <a:pt x="804" y="1218"/>
                  </a:lnTo>
                  <a:lnTo>
                    <a:pt x="804" y="1212"/>
                  </a:lnTo>
                  <a:lnTo>
                    <a:pt x="804" y="1206"/>
                  </a:lnTo>
                  <a:lnTo>
                    <a:pt x="816" y="1194"/>
                  </a:lnTo>
                  <a:lnTo>
                    <a:pt x="822" y="1188"/>
                  </a:lnTo>
                  <a:lnTo>
                    <a:pt x="828" y="1170"/>
                  </a:lnTo>
                  <a:lnTo>
                    <a:pt x="840" y="1152"/>
                  </a:lnTo>
                  <a:lnTo>
                    <a:pt x="846" y="1146"/>
                  </a:lnTo>
                  <a:lnTo>
                    <a:pt x="846" y="1134"/>
                  </a:lnTo>
                  <a:lnTo>
                    <a:pt x="852" y="1128"/>
                  </a:lnTo>
                  <a:lnTo>
                    <a:pt x="846" y="1116"/>
                  </a:lnTo>
                  <a:lnTo>
                    <a:pt x="840" y="1098"/>
                  </a:lnTo>
                  <a:lnTo>
                    <a:pt x="840" y="1086"/>
                  </a:lnTo>
                  <a:lnTo>
                    <a:pt x="846" y="1074"/>
                  </a:lnTo>
                  <a:lnTo>
                    <a:pt x="852" y="1068"/>
                  </a:lnTo>
                  <a:lnTo>
                    <a:pt x="864" y="1038"/>
                  </a:lnTo>
                  <a:lnTo>
                    <a:pt x="870" y="1020"/>
                  </a:lnTo>
                  <a:lnTo>
                    <a:pt x="864" y="1008"/>
                  </a:lnTo>
                  <a:lnTo>
                    <a:pt x="858" y="990"/>
                  </a:lnTo>
                  <a:lnTo>
                    <a:pt x="852" y="954"/>
                  </a:lnTo>
                  <a:lnTo>
                    <a:pt x="846" y="948"/>
                  </a:lnTo>
                  <a:lnTo>
                    <a:pt x="834" y="936"/>
                  </a:lnTo>
                  <a:lnTo>
                    <a:pt x="828" y="924"/>
                  </a:lnTo>
                  <a:lnTo>
                    <a:pt x="756" y="942"/>
                  </a:lnTo>
                  <a:lnTo>
                    <a:pt x="744" y="936"/>
                  </a:lnTo>
                  <a:lnTo>
                    <a:pt x="744" y="930"/>
                  </a:lnTo>
                  <a:lnTo>
                    <a:pt x="738" y="924"/>
                  </a:lnTo>
                  <a:lnTo>
                    <a:pt x="744" y="924"/>
                  </a:lnTo>
                  <a:lnTo>
                    <a:pt x="738" y="918"/>
                  </a:lnTo>
                  <a:lnTo>
                    <a:pt x="732" y="912"/>
                  </a:lnTo>
                  <a:lnTo>
                    <a:pt x="732" y="906"/>
                  </a:lnTo>
                  <a:lnTo>
                    <a:pt x="732" y="894"/>
                  </a:lnTo>
                  <a:lnTo>
                    <a:pt x="726" y="888"/>
                  </a:lnTo>
                  <a:lnTo>
                    <a:pt x="720" y="882"/>
                  </a:lnTo>
                  <a:lnTo>
                    <a:pt x="714" y="876"/>
                  </a:lnTo>
                  <a:lnTo>
                    <a:pt x="708" y="876"/>
                  </a:lnTo>
                  <a:lnTo>
                    <a:pt x="690" y="882"/>
                  </a:lnTo>
                  <a:lnTo>
                    <a:pt x="684" y="864"/>
                  </a:lnTo>
                  <a:lnTo>
                    <a:pt x="684" y="852"/>
                  </a:lnTo>
                  <a:lnTo>
                    <a:pt x="672" y="852"/>
                  </a:lnTo>
                  <a:lnTo>
                    <a:pt x="654" y="852"/>
                  </a:lnTo>
                  <a:lnTo>
                    <a:pt x="642" y="846"/>
                  </a:lnTo>
                  <a:lnTo>
                    <a:pt x="636" y="834"/>
                  </a:lnTo>
                  <a:lnTo>
                    <a:pt x="630" y="822"/>
                  </a:lnTo>
                  <a:lnTo>
                    <a:pt x="618" y="822"/>
                  </a:lnTo>
                  <a:lnTo>
                    <a:pt x="618" y="816"/>
                  </a:lnTo>
                  <a:lnTo>
                    <a:pt x="618" y="810"/>
                  </a:lnTo>
                  <a:lnTo>
                    <a:pt x="612" y="810"/>
                  </a:lnTo>
                  <a:lnTo>
                    <a:pt x="606" y="804"/>
                  </a:lnTo>
                  <a:lnTo>
                    <a:pt x="594" y="804"/>
                  </a:lnTo>
                  <a:lnTo>
                    <a:pt x="588" y="810"/>
                  </a:lnTo>
                  <a:lnTo>
                    <a:pt x="588" y="804"/>
                  </a:lnTo>
                  <a:lnTo>
                    <a:pt x="582" y="804"/>
                  </a:lnTo>
                  <a:lnTo>
                    <a:pt x="582" y="810"/>
                  </a:lnTo>
                  <a:lnTo>
                    <a:pt x="570" y="810"/>
                  </a:lnTo>
                  <a:lnTo>
                    <a:pt x="564" y="816"/>
                  </a:lnTo>
                  <a:lnTo>
                    <a:pt x="558" y="816"/>
                  </a:lnTo>
                  <a:lnTo>
                    <a:pt x="552" y="822"/>
                  </a:lnTo>
                  <a:lnTo>
                    <a:pt x="546" y="828"/>
                  </a:lnTo>
                  <a:lnTo>
                    <a:pt x="546" y="834"/>
                  </a:lnTo>
                  <a:lnTo>
                    <a:pt x="528" y="834"/>
                  </a:lnTo>
                  <a:lnTo>
                    <a:pt x="516" y="822"/>
                  </a:lnTo>
                  <a:lnTo>
                    <a:pt x="504" y="822"/>
                  </a:lnTo>
                  <a:lnTo>
                    <a:pt x="492" y="828"/>
                  </a:lnTo>
                  <a:lnTo>
                    <a:pt x="486" y="804"/>
                  </a:lnTo>
                  <a:lnTo>
                    <a:pt x="480" y="804"/>
                  </a:lnTo>
                  <a:lnTo>
                    <a:pt x="486" y="792"/>
                  </a:lnTo>
                  <a:lnTo>
                    <a:pt x="492" y="786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504" y="780"/>
                  </a:lnTo>
                  <a:lnTo>
                    <a:pt x="510" y="780"/>
                  </a:lnTo>
                  <a:lnTo>
                    <a:pt x="522" y="768"/>
                  </a:lnTo>
                  <a:lnTo>
                    <a:pt x="522" y="762"/>
                  </a:lnTo>
                  <a:lnTo>
                    <a:pt x="504" y="756"/>
                  </a:lnTo>
                  <a:lnTo>
                    <a:pt x="498" y="756"/>
                  </a:lnTo>
                  <a:lnTo>
                    <a:pt x="498" y="744"/>
                  </a:lnTo>
                  <a:lnTo>
                    <a:pt x="492" y="738"/>
                  </a:lnTo>
                  <a:lnTo>
                    <a:pt x="480" y="738"/>
                  </a:lnTo>
                  <a:lnTo>
                    <a:pt x="474" y="738"/>
                  </a:lnTo>
                  <a:lnTo>
                    <a:pt x="456" y="738"/>
                  </a:lnTo>
                  <a:lnTo>
                    <a:pt x="438" y="738"/>
                  </a:lnTo>
                  <a:lnTo>
                    <a:pt x="432" y="750"/>
                  </a:lnTo>
                  <a:lnTo>
                    <a:pt x="426" y="756"/>
                  </a:lnTo>
                  <a:lnTo>
                    <a:pt x="426" y="762"/>
                  </a:lnTo>
                  <a:lnTo>
                    <a:pt x="420" y="762"/>
                  </a:lnTo>
                  <a:lnTo>
                    <a:pt x="408" y="744"/>
                  </a:lnTo>
                  <a:lnTo>
                    <a:pt x="408" y="732"/>
                  </a:lnTo>
                  <a:lnTo>
                    <a:pt x="390" y="714"/>
                  </a:lnTo>
                  <a:lnTo>
                    <a:pt x="384" y="702"/>
                  </a:lnTo>
                  <a:lnTo>
                    <a:pt x="384" y="690"/>
                  </a:lnTo>
                  <a:lnTo>
                    <a:pt x="372" y="690"/>
                  </a:lnTo>
                  <a:lnTo>
                    <a:pt x="366" y="660"/>
                  </a:lnTo>
                  <a:lnTo>
                    <a:pt x="354" y="630"/>
                  </a:lnTo>
                  <a:lnTo>
                    <a:pt x="348" y="630"/>
                  </a:lnTo>
                  <a:lnTo>
                    <a:pt x="336" y="630"/>
                  </a:lnTo>
                  <a:lnTo>
                    <a:pt x="330" y="630"/>
                  </a:lnTo>
                  <a:lnTo>
                    <a:pt x="318" y="630"/>
                  </a:lnTo>
                  <a:lnTo>
                    <a:pt x="312" y="624"/>
                  </a:lnTo>
                  <a:lnTo>
                    <a:pt x="306" y="624"/>
                  </a:lnTo>
                  <a:lnTo>
                    <a:pt x="294" y="618"/>
                  </a:lnTo>
                  <a:lnTo>
                    <a:pt x="288" y="612"/>
                  </a:lnTo>
                  <a:lnTo>
                    <a:pt x="276" y="600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58" y="588"/>
                  </a:lnTo>
                  <a:lnTo>
                    <a:pt x="252" y="582"/>
                  </a:lnTo>
                  <a:lnTo>
                    <a:pt x="246" y="582"/>
                  </a:lnTo>
                  <a:lnTo>
                    <a:pt x="240" y="588"/>
                  </a:lnTo>
                  <a:lnTo>
                    <a:pt x="216" y="582"/>
                  </a:lnTo>
                  <a:lnTo>
                    <a:pt x="210" y="588"/>
                  </a:lnTo>
                  <a:lnTo>
                    <a:pt x="198" y="582"/>
                  </a:lnTo>
                  <a:lnTo>
                    <a:pt x="180" y="582"/>
                  </a:lnTo>
                  <a:lnTo>
                    <a:pt x="174" y="552"/>
                  </a:lnTo>
                  <a:lnTo>
                    <a:pt x="168" y="504"/>
                  </a:lnTo>
                  <a:lnTo>
                    <a:pt x="186" y="504"/>
                  </a:lnTo>
                  <a:lnTo>
                    <a:pt x="192" y="504"/>
                  </a:lnTo>
                  <a:lnTo>
                    <a:pt x="192" y="498"/>
                  </a:lnTo>
                  <a:lnTo>
                    <a:pt x="192" y="492"/>
                  </a:lnTo>
                  <a:lnTo>
                    <a:pt x="192" y="486"/>
                  </a:lnTo>
                  <a:lnTo>
                    <a:pt x="198" y="486"/>
                  </a:lnTo>
                  <a:lnTo>
                    <a:pt x="198" y="480"/>
                  </a:lnTo>
                  <a:lnTo>
                    <a:pt x="204" y="474"/>
                  </a:lnTo>
                  <a:lnTo>
                    <a:pt x="210" y="468"/>
                  </a:lnTo>
                  <a:lnTo>
                    <a:pt x="198" y="462"/>
                  </a:lnTo>
                  <a:lnTo>
                    <a:pt x="192" y="444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32"/>
                  </a:lnTo>
                  <a:lnTo>
                    <a:pt x="168" y="438"/>
                  </a:lnTo>
                  <a:lnTo>
                    <a:pt x="150" y="450"/>
                  </a:lnTo>
                  <a:lnTo>
                    <a:pt x="144" y="456"/>
                  </a:lnTo>
                  <a:lnTo>
                    <a:pt x="132" y="456"/>
                  </a:lnTo>
                  <a:lnTo>
                    <a:pt x="126" y="468"/>
                  </a:lnTo>
                  <a:lnTo>
                    <a:pt x="114" y="468"/>
                  </a:lnTo>
                  <a:lnTo>
                    <a:pt x="108" y="468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14"/>
                  </a:lnTo>
                  <a:lnTo>
                    <a:pt x="108" y="396"/>
                  </a:lnTo>
                  <a:lnTo>
                    <a:pt x="120" y="396"/>
                  </a:lnTo>
                  <a:lnTo>
                    <a:pt x="126" y="384"/>
                  </a:lnTo>
                  <a:lnTo>
                    <a:pt x="126" y="360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84" y="354"/>
                  </a:lnTo>
                  <a:lnTo>
                    <a:pt x="72" y="354"/>
                  </a:lnTo>
                  <a:lnTo>
                    <a:pt x="66" y="354"/>
                  </a:lnTo>
                  <a:lnTo>
                    <a:pt x="60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60" y="318"/>
                  </a:lnTo>
                  <a:lnTo>
                    <a:pt x="42" y="324"/>
                  </a:lnTo>
                  <a:lnTo>
                    <a:pt x="36" y="318"/>
                  </a:lnTo>
                  <a:lnTo>
                    <a:pt x="36" y="312"/>
                  </a:lnTo>
                  <a:lnTo>
                    <a:pt x="36" y="306"/>
                  </a:lnTo>
                  <a:lnTo>
                    <a:pt x="36" y="300"/>
                  </a:lnTo>
                  <a:lnTo>
                    <a:pt x="30" y="300"/>
                  </a:lnTo>
                  <a:lnTo>
                    <a:pt x="30" y="306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24" y="276"/>
                  </a:lnTo>
                  <a:lnTo>
                    <a:pt x="18" y="276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40"/>
                  </a:lnTo>
                  <a:lnTo>
                    <a:pt x="18" y="234"/>
                  </a:lnTo>
                  <a:lnTo>
                    <a:pt x="30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42" y="192"/>
                  </a:lnTo>
                  <a:lnTo>
                    <a:pt x="66" y="186"/>
                  </a:lnTo>
                  <a:lnTo>
                    <a:pt x="90" y="156"/>
                  </a:lnTo>
                  <a:lnTo>
                    <a:pt x="102" y="144"/>
                  </a:lnTo>
                  <a:lnTo>
                    <a:pt x="138" y="150"/>
                  </a:lnTo>
                  <a:lnTo>
                    <a:pt x="162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0" y="180"/>
                  </a:lnTo>
                  <a:lnTo>
                    <a:pt x="174" y="180"/>
                  </a:lnTo>
                  <a:lnTo>
                    <a:pt x="180" y="186"/>
                  </a:lnTo>
                  <a:lnTo>
                    <a:pt x="186" y="186"/>
                  </a:lnTo>
                  <a:lnTo>
                    <a:pt x="198" y="192"/>
                  </a:lnTo>
                  <a:lnTo>
                    <a:pt x="216" y="198"/>
                  </a:lnTo>
                  <a:lnTo>
                    <a:pt x="252" y="204"/>
                  </a:lnTo>
                  <a:lnTo>
                    <a:pt x="258" y="210"/>
                  </a:lnTo>
                  <a:lnTo>
                    <a:pt x="306" y="216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84" y="210"/>
                  </a:lnTo>
                  <a:lnTo>
                    <a:pt x="408" y="222"/>
                  </a:lnTo>
                  <a:lnTo>
                    <a:pt x="438" y="228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86" y="222"/>
                  </a:lnTo>
                  <a:lnTo>
                    <a:pt x="492" y="210"/>
                  </a:lnTo>
                  <a:lnTo>
                    <a:pt x="492" y="198"/>
                  </a:lnTo>
                  <a:lnTo>
                    <a:pt x="486" y="180"/>
                  </a:lnTo>
                  <a:lnTo>
                    <a:pt x="492" y="162"/>
                  </a:lnTo>
                  <a:lnTo>
                    <a:pt x="510" y="96"/>
                  </a:lnTo>
                  <a:lnTo>
                    <a:pt x="516" y="84"/>
                  </a:lnTo>
                  <a:lnTo>
                    <a:pt x="522" y="84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34" y="72"/>
                  </a:lnTo>
                  <a:lnTo>
                    <a:pt x="534" y="60"/>
                  </a:lnTo>
                  <a:lnTo>
                    <a:pt x="540" y="36"/>
                  </a:lnTo>
                  <a:lnTo>
                    <a:pt x="546" y="6"/>
                  </a:lnTo>
                  <a:lnTo>
                    <a:pt x="558" y="6"/>
                  </a:lnTo>
                  <a:lnTo>
                    <a:pt x="564" y="0"/>
                  </a:lnTo>
                  <a:lnTo>
                    <a:pt x="582" y="0"/>
                  </a:lnTo>
                  <a:lnTo>
                    <a:pt x="588" y="0"/>
                  </a:lnTo>
                  <a:lnTo>
                    <a:pt x="594" y="6"/>
                  </a:lnTo>
                  <a:lnTo>
                    <a:pt x="600" y="12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24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36" y="36"/>
                  </a:lnTo>
                  <a:lnTo>
                    <a:pt x="642" y="36"/>
                  </a:lnTo>
                  <a:lnTo>
                    <a:pt x="642" y="42"/>
                  </a:lnTo>
                  <a:lnTo>
                    <a:pt x="648" y="54"/>
                  </a:lnTo>
                  <a:lnTo>
                    <a:pt x="660" y="72"/>
                  </a:lnTo>
                  <a:lnTo>
                    <a:pt x="666" y="78"/>
                  </a:lnTo>
                  <a:lnTo>
                    <a:pt x="672" y="90"/>
                  </a:lnTo>
                  <a:lnTo>
                    <a:pt x="678" y="102"/>
                  </a:lnTo>
                  <a:lnTo>
                    <a:pt x="678" y="114"/>
                  </a:lnTo>
                  <a:lnTo>
                    <a:pt x="684" y="132"/>
                  </a:lnTo>
                  <a:lnTo>
                    <a:pt x="684" y="144"/>
                  </a:lnTo>
                  <a:lnTo>
                    <a:pt x="690" y="162"/>
                  </a:lnTo>
                  <a:lnTo>
                    <a:pt x="696" y="168"/>
                  </a:lnTo>
                  <a:lnTo>
                    <a:pt x="696" y="180"/>
                  </a:lnTo>
                  <a:lnTo>
                    <a:pt x="702" y="186"/>
                  </a:lnTo>
                  <a:lnTo>
                    <a:pt x="708" y="186"/>
                  </a:lnTo>
                  <a:lnTo>
                    <a:pt x="714" y="198"/>
                  </a:lnTo>
                  <a:lnTo>
                    <a:pt x="720" y="198"/>
                  </a:lnTo>
                  <a:lnTo>
                    <a:pt x="732" y="204"/>
                  </a:lnTo>
                  <a:lnTo>
                    <a:pt x="738" y="210"/>
                  </a:lnTo>
                  <a:lnTo>
                    <a:pt x="738" y="216"/>
                  </a:lnTo>
                  <a:lnTo>
                    <a:pt x="744" y="222"/>
                  </a:lnTo>
                  <a:lnTo>
                    <a:pt x="750" y="228"/>
                  </a:lnTo>
                  <a:lnTo>
                    <a:pt x="756" y="228"/>
                  </a:lnTo>
                  <a:lnTo>
                    <a:pt x="768" y="240"/>
                  </a:lnTo>
                  <a:lnTo>
                    <a:pt x="774" y="252"/>
                  </a:lnTo>
                  <a:lnTo>
                    <a:pt x="780" y="258"/>
                  </a:lnTo>
                  <a:lnTo>
                    <a:pt x="786" y="258"/>
                  </a:lnTo>
                  <a:lnTo>
                    <a:pt x="798" y="264"/>
                  </a:lnTo>
                  <a:lnTo>
                    <a:pt x="798" y="270"/>
                  </a:lnTo>
                  <a:lnTo>
                    <a:pt x="798" y="276"/>
                  </a:lnTo>
                  <a:lnTo>
                    <a:pt x="810" y="288"/>
                  </a:lnTo>
                  <a:lnTo>
                    <a:pt x="816" y="288"/>
                  </a:lnTo>
                  <a:lnTo>
                    <a:pt x="816" y="300"/>
                  </a:lnTo>
                  <a:lnTo>
                    <a:pt x="816" y="306"/>
                  </a:lnTo>
                  <a:lnTo>
                    <a:pt x="822" y="318"/>
                  </a:lnTo>
                  <a:lnTo>
                    <a:pt x="828" y="324"/>
                  </a:lnTo>
                  <a:lnTo>
                    <a:pt x="834" y="330"/>
                  </a:lnTo>
                  <a:lnTo>
                    <a:pt x="846" y="336"/>
                  </a:lnTo>
                  <a:lnTo>
                    <a:pt x="846" y="342"/>
                  </a:lnTo>
                  <a:lnTo>
                    <a:pt x="852" y="348"/>
                  </a:lnTo>
                  <a:lnTo>
                    <a:pt x="852" y="354"/>
                  </a:lnTo>
                  <a:lnTo>
                    <a:pt x="858" y="354"/>
                  </a:lnTo>
                  <a:lnTo>
                    <a:pt x="858" y="348"/>
                  </a:lnTo>
                  <a:lnTo>
                    <a:pt x="864" y="342"/>
                  </a:lnTo>
                  <a:lnTo>
                    <a:pt x="864" y="336"/>
                  </a:lnTo>
                  <a:lnTo>
                    <a:pt x="864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76" y="306"/>
                  </a:lnTo>
                  <a:lnTo>
                    <a:pt x="870" y="300"/>
                  </a:lnTo>
                  <a:lnTo>
                    <a:pt x="870" y="294"/>
                  </a:lnTo>
                  <a:lnTo>
                    <a:pt x="876" y="294"/>
                  </a:lnTo>
                  <a:lnTo>
                    <a:pt x="882" y="300"/>
                  </a:lnTo>
                  <a:lnTo>
                    <a:pt x="888" y="300"/>
                  </a:lnTo>
                  <a:lnTo>
                    <a:pt x="888" y="306"/>
                  </a:lnTo>
                  <a:lnTo>
                    <a:pt x="894" y="300"/>
                  </a:lnTo>
                  <a:lnTo>
                    <a:pt x="900" y="294"/>
                  </a:lnTo>
                  <a:lnTo>
                    <a:pt x="894" y="288"/>
                  </a:lnTo>
                  <a:lnTo>
                    <a:pt x="888" y="282"/>
                  </a:lnTo>
                  <a:lnTo>
                    <a:pt x="888" y="276"/>
                  </a:lnTo>
                  <a:lnTo>
                    <a:pt x="894" y="276"/>
                  </a:lnTo>
                  <a:lnTo>
                    <a:pt x="900" y="276"/>
                  </a:lnTo>
                  <a:lnTo>
                    <a:pt x="900" y="270"/>
                  </a:lnTo>
                  <a:lnTo>
                    <a:pt x="906" y="264"/>
                  </a:lnTo>
                  <a:lnTo>
                    <a:pt x="906" y="258"/>
                  </a:lnTo>
                  <a:lnTo>
                    <a:pt x="918" y="264"/>
                  </a:lnTo>
                  <a:lnTo>
                    <a:pt x="918" y="258"/>
                  </a:lnTo>
                  <a:lnTo>
                    <a:pt x="924" y="252"/>
                  </a:lnTo>
                  <a:lnTo>
                    <a:pt x="930" y="252"/>
                  </a:lnTo>
                  <a:lnTo>
                    <a:pt x="930" y="246"/>
                  </a:lnTo>
                  <a:lnTo>
                    <a:pt x="936" y="234"/>
                  </a:lnTo>
                  <a:lnTo>
                    <a:pt x="942" y="228"/>
                  </a:lnTo>
                  <a:lnTo>
                    <a:pt x="942" y="222"/>
                  </a:lnTo>
                  <a:lnTo>
                    <a:pt x="948" y="222"/>
                  </a:lnTo>
                  <a:lnTo>
                    <a:pt x="948" y="216"/>
                  </a:lnTo>
                  <a:lnTo>
                    <a:pt x="942" y="216"/>
                  </a:lnTo>
                  <a:lnTo>
                    <a:pt x="936" y="216"/>
                  </a:lnTo>
                  <a:lnTo>
                    <a:pt x="936" y="210"/>
                  </a:lnTo>
                  <a:lnTo>
                    <a:pt x="942" y="210"/>
                  </a:lnTo>
                  <a:lnTo>
                    <a:pt x="972" y="210"/>
                  </a:lnTo>
                  <a:lnTo>
                    <a:pt x="1032" y="216"/>
                  </a:lnTo>
                  <a:lnTo>
                    <a:pt x="1068" y="216"/>
                  </a:lnTo>
                  <a:lnTo>
                    <a:pt x="1056" y="234"/>
                  </a:lnTo>
                  <a:lnTo>
                    <a:pt x="1050" y="240"/>
                  </a:lnTo>
                  <a:lnTo>
                    <a:pt x="1044" y="246"/>
                  </a:lnTo>
                  <a:lnTo>
                    <a:pt x="1038" y="246"/>
                  </a:lnTo>
                  <a:lnTo>
                    <a:pt x="1026" y="282"/>
                  </a:lnTo>
                  <a:lnTo>
                    <a:pt x="1032" y="306"/>
                  </a:lnTo>
                  <a:lnTo>
                    <a:pt x="1044" y="324"/>
                  </a:lnTo>
                  <a:lnTo>
                    <a:pt x="1044" y="342"/>
                  </a:lnTo>
                  <a:lnTo>
                    <a:pt x="1062" y="366"/>
                  </a:lnTo>
                  <a:lnTo>
                    <a:pt x="1056" y="396"/>
                  </a:lnTo>
                  <a:lnTo>
                    <a:pt x="1038" y="462"/>
                  </a:lnTo>
                  <a:lnTo>
                    <a:pt x="1038" y="498"/>
                  </a:lnTo>
                  <a:lnTo>
                    <a:pt x="1038" y="522"/>
                  </a:lnTo>
                  <a:lnTo>
                    <a:pt x="1038" y="534"/>
                  </a:lnTo>
                  <a:lnTo>
                    <a:pt x="1056" y="522"/>
                  </a:lnTo>
                  <a:lnTo>
                    <a:pt x="1098" y="504"/>
                  </a:lnTo>
                  <a:lnTo>
                    <a:pt x="1104" y="498"/>
                  </a:lnTo>
                  <a:lnTo>
                    <a:pt x="1128" y="492"/>
                  </a:lnTo>
                  <a:lnTo>
                    <a:pt x="1152" y="480"/>
                  </a:lnTo>
                  <a:lnTo>
                    <a:pt x="1170" y="474"/>
                  </a:lnTo>
                  <a:lnTo>
                    <a:pt x="1188" y="468"/>
                  </a:lnTo>
                  <a:lnTo>
                    <a:pt x="1200" y="462"/>
                  </a:lnTo>
                  <a:lnTo>
                    <a:pt x="1224" y="450"/>
                  </a:lnTo>
                  <a:lnTo>
                    <a:pt x="1248" y="450"/>
                  </a:lnTo>
                  <a:lnTo>
                    <a:pt x="1266" y="450"/>
                  </a:lnTo>
                  <a:lnTo>
                    <a:pt x="1296" y="456"/>
                  </a:lnTo>
                  <a:lnTo>
                    <a:pt x="1308" y="456"/>
                  </a:lnTo>
                  <a:lnTo>
                    <a:pt x="1326" y="456"/>
                  </a:lnTo>
                  <a:lnTo>
                    <a:pt x="1338" y="456"/>
                  </a:lnTo>
                  <a:lnTo>
                    <a:pt x="1350" y="462"/>
                  </a:lnTo>
                  <a:lnTo>
                    <a:pt x="1356" y="462"/>
                  </a:lnTo>
                  <a:lnTo>
                    <a:pt x="1374" y="456"/>
                  </a:lnTo>
                  <a:lnTo>
                    <a:pt x="1386" y="456"/>
                  </a:lnTo>
                  <a:lnTo>
                    <a:pt x="1392" y="456"/>
                  </a:lnTo>
                  <a:lnTo>
                    <a:pt x="1398" y="456"/>
                  </a:lnTo>
                  <a:lnTo>
                    <a:pt x="1422" y="456"/>
                  </a:lnTo>
                  <a:lnTo>
                    <a:pt x="1440" y="456"/>
                  </a:lnTo>
                  <a:lnTo>
                    <a:pt x="1446" y="456"/>
                  </a:lnTo>
                  <a:lnTo>
                    <a:pt x="1476" y="456"/>
                  </a:lnTo>
                  <a:lnTo>
                    <a:pt x="1470" y="468"/>
                  </a:lnTo>
                  <a:lnTo>
                    <a:pt x="1470" y="474"/>
                  </a:lnTo>
                  <a:lnTo>
                    <a:pt x="1470" y="486"/>
                  </a:lnTo>
                  <a:lnTo>
                    <a:pt x="1464" y="492"/>
                  </a:lnTo>
                  <a:lnTo>
                    <a:pt x="1464" y="498"/>
                  </a:lnTo>
                  <a:lnTo>
                    <a:pt x="1458" y="498"/>
                  </a:lnTo>
                  <a:lnTo>
                    <a:pt x="1458" y="510"/>
                  </a:lnTo>
                  <a:lnTo>
                    <a:pt x="1452" y="522"/>
                  </a:lnTo>
                  <a:lnTo>
                    <a:pt x="1458" y="528"/>
                  </a:lnTo>
                  <a:lnTo>
                    <a:pt x="1464" y="546"/>
                  </a:lnTo>
                  <a:lnTo>
                    <a:pt x="1470" y="552"/>
                  </a:lnTo>
                  <a:lnTo>
                    <a:pt x="1476" y="564"/>
                  </a:lnTo>
                  <a:lnTo>
                    <a:pt x="1488" y="588"/>
                  </a:lnTo>
                  <a:lnTo>
                    <a:pt x="1506" y="606"/>
                  </a:lnTo>
                  <a:lnTo>
                    <a:pt x="1506" y="612"/>
                  </a:lnTo>
                  <a:lnTo>
                    <a:pt x="1518" y="618"/>
                  </a:lnTo>
                  <a:lnTo>
                    <a:pt x="1512" y="630"/>
                  </a:lnTo>
                  <a:lnTo>
                    <a:pt x="1518" y="642"/>
                  </a:lnTo>
                  <a:lnTo>
                    <a:pt x="1518" y="648"/>
                  </a:lnTo>
                  <a:lnTo>
                    <a:pt x="1530" y="666"/>
                  </a:lnTo>
                  <a:lnTo>
                    <a:pt x="1518" y="672"/>
                  </a:lnTo>
                  <a:lnTo>
                    <a:pt x="1524" y="696"/>
                  </a:lnTo>
                  <a:lnTo>
                    <a:pt x="1518" y="732"/>
                  </a:lnTo>
                  <a:lnTo>
                    <a:pt x="1524" y="762"/>
                  </a:lnTo>
                  <a:lnTo>
                    <a:pt x="1524" y="780"/>
                  </a:lnTo>
                  <a:lnTo>
                    <a:pt x="1524" y="810"/>
                  </a:lnTo>
                  <a:lnTo>
                    <a:pt x="1530" y="834"/>
                  </a:lnTo>
                  <a:lnTo>
                    <a:pt x="1536" y="846"/>
                  </a:lnTo>
                  <a:lnTo>
                    <a:pt x="1542" y="846"/>
                  </a:lnTo>
                  <a:lnTo>
                    <a:pt x="1584" y="840"/>
                  </a:lnTo>
                  <a:lnTo>
                    <a:pt x="1590" y="846"/>
                  </a:lnTo>
                  <a:lnTo>
                    <a:pt x="1596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90" y="864"/>
                  </a:lnTo>
                  <a:lnTo>
                    <a:pt x="1578" y="882"/>
                  </a:lnTo>
                  <a:lnTo>
                    <a:pt x="1572" y="906"/>
                  </a:lnTo>
                  <a:lnTo>
                    <a:pt x="1560" y="924"/>
                  </a:lnTo>
                  <a:lnTo>
                    <a:pt x="1560" y="936"/>
                  </a:lnTo>
                  <a:lnTo>
                    <a:pt x="1548" y="960"/>
                  </a:lnTo>
                  <a:lnTo>
                    <a:pt x="1542" y="978"/>
                  </a:lnTo>
                  <a:lnTo>
                    <a:pt x="1536" y="990"/>
                  </a:lnTo>
                  <a:lnTo>
                    <a:pt x="1530" y="990"/>
                  </a:lnTo>
                  <a:lnTo>
                    <a:pt x="1506" y="996"/>
                  </a:lnTo>
                  <a:lnTo>
                    <a:pt x="1494" y="1002"/>
                  </a:lnTo>
                  <a:lnTo>
                    <a:pt x="1482" y="1002"/>
                  </a:lnTo>
                  <a:lnTo>
                    <a:pt x="1464" y="1008"/>
                  </a:lnTo>
                  <a:lnTo>
                    <a:pt x="1446" y="1026"/>
                  </a:lnTo>
                  <a:lnTo>
                    <a:pt x="1440" y="1026"/>
                  </a:lnTo>
                  <a:lnTo>
                    <a:pt x="1434" y="1038"/>
                  </a:lnTo>
                  <a:lnTo>
                    <a:pt x="1428" y="1044"/>
                  </a:lnTo>
                  <a:lnTo>
                    <a:pt x="1428" y="1062"/>
                  </a:lnTo>
                  <a:lnTo>
                    <a:pt x="1428" y="1086"/>
                  </a:lnTo>
                  <a:lnTo>
                    <a:pt x="1416" y="1092"/>
                  </a:lnTo>
                  <a:lnTo>
                    <a:pt x="1410" y="1080"/>
                  </a:lnTo>
                  <a:lnTo>
                    <a:pt x="1392" y="108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0" name="Freeform 25">
              <a:extLst>
                <a:ext uri="{FF2B5EF4-FFF2-40B4-BE49-F238E27FC236}">
                  <a16:creationId xmlns:a16="http://schemas.microsoft.com/office/drawing/2014/main" id="{39FDFF90-5ACF-4D65-81AD-C44D2CBE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70228" y="3063559"/>
              <a:ext cx="644023" cy="704498"/>
            </a:xfrm>
            <a:custGeom>
              <a:avLst/>
              <a:gdLst>
                <a:gd name="T0" fmla="*/ 74 w 1212"/>
                <a:gd name="T1" fmla="*/ 113 h 1326"/>
                <a:gd name="T2" fmla="*/ 60 w 1212"/>
                <a:gd name="T3" fmla="*/ 116 h 1326"/>
                <a:gd name="T4" fmla="*/ 62 w 1212"/>
                <a:gd name="T5" fmla="*/ 110 h 1326"/>
                <a:gd name="T6" fmla="*/ 60 w 1212"/>
                <a:gd name="T7" fmla="*/ 105 h 1326"/>
                <a:gd name="T8" fmla="*/ 52 w 1212"/>
                <a:gd name="T9" fmla="*/ 96 h 1326"/>
                <a:gd name="T10" fmla="*/ 47 w 1212"/>
                <a:gd name="T11" fmla="*/ 98 h 1326"/>
                <a:gd name="T12" fmla="*/ 44 w 1212"/>
                <a:gd name="T13" fmla="*/ 93 h 1326"/>
                <a:gd name="T14" fmla="*/ 40 w 1212"/>
                <a:gd name="T15" fmla="*/ 96 h 1326"/>
                <a:gd name="T16" fmla="*/ 35 w 1212"/>
                <a:gd name="T17" fmla="*/ 102 h 1326"/>
                <a:gd name="T18" fmla="*/ 27 w 1212"/>
                <a:gd name="T19" fmla="*/ 100 h 1326"/>
                <a:gd name="T20" fmla="*/ 23 w 1212"/>
                <a:gd name="T21" fmla="*/ 96 h 1326"/>
                <a:gd name="T22" fmla="*/ 20 w 1212"/>
                <a:gd name="T23" fmla="*/ 90 h 1326"/>
                <a:gd name="T24" fmla="*/ 18 w 1212"/>
                <a:gd name="T25" fmla="*/ 89 h 1326"/>
                <a:gd name="T26" fmla="*/ 18 w 1212"/>
                <a:gd name="T27" fmla="*/ 85 h 1326"/>
                <a:gd name="T28" fmla="*/ 19 w 1212"/>
                <a:gd name="T29" fmla="*/ 83 h 1326"/>
                <a:gd name="T30" fmla="*/ 19 w 1212"/>
                <a:gd name="T31" fmla="*/ 82 h 1326"/>
                <a:gd name="T32" fmla="*/ 20 w 1212"/>
                <a:gd name="T33" fmla="*/ 79 h 1326"/>
                <a:gd name="T34" fmla="*/ 19 w 1212"/>
                <a:gd name="T35" fmla="*/ 75 h 1326"/>
                <a:gd name="T36" fmla="*/ 17 w 1212"/>
                <a:gd name="T37" fmla="*/ 77 h 1326"/>
                <a:gd name="T38" fmla="*/ 14 w 1212"/>
                <a:gd name="T39" fmla="*/ 76 h 1326"/>
                <a:gd name="T40" fmla="*/ 12 w 1212"/>
                <a:gd name="T41" fmla="*/ 71 h 1326"/>
                <a:gd name="T42" fmla="*/ 8 w 1212"/>
                <a:gd name="T43" fmla="*/ 69 h 1326"/>
                <a:gd name="T44" fmla="*/ 0 w 1212"/>
                <a:gd name="T45" fmla="*/ 72 h 1326"/>
                <a:gd name="T46" fmla="*/ 2 w 1212"/>
                <a:gd name="T47" fmla="*/ 67 h 1326"/>
                <a:gd name="T48" fmla="*/ 3 w 1212"/>
                <a:gd name="T49" fmla="*/ 61 h 1326"/>
                <a:gd name="T50" fmla="*/ 4 w 1212"/>
                <a:gd name="T51" fmla="*/ 56 h 1326"/>
                <a:gd name="T52" fmla="*/ 4 w 1212"/>
                <a:gd name="T53" fmla="*/ 52 h 1326"/>
                <a:gd name="T54" fmla="*/ 2 w 1212"/>
                <a:gd name="T55" fmla="*/ 47 h 1326"/>
                <a:gd name="T56" fmla="*/ 2 w 1212"/>
                <a:gd name="T57" fmla="*/ 42 h 1326"/>
                <a:gd name="T58" fmla="*/ 5 w 1212"/>
                <a:gd name="T59" fmla="*/ 39 h 1326"/>
                <a:gd name="T60" fmla="*/ 5 w 1212"/>
                <a:gd name="T61" fmla="*/ 35 h 1326"/>
                <a:gd name="T62" fmla="*/ 7 w 1212"/>
                <a:gd name="T63" fmla="*/ 31 h 1326"/>
                <a:gd name="T64" fmla="*/ 14 w 1212"/>
                <a:gd name="T65" fmla="*/ 31 h 1326"/>
                <a:gd name="T66" fmla="*/ 18 w 1212"/>
                <a:gd name="T67" fmla="*/ 27 h 1326"/>
                <a:gd name="T68" fmla="*/ 22 w 1212"/>
                <a:gd name="T69" fmla="*/ 24 h 1326"/>
                <a:gd name="T70" fmla="*/ 27 w 1212"/>
                <a:gd name="T71" fmla="*/ 20 h 1326"/>
                <a:gd name="T72" fmla="*/ 35 w 1212"/>
                <a:gd name="T73" fmla="*/ 21 h 1326"/>
                <a:gd name="T74" fmla="*/ 61 w 1212"/>
                <a:gd name="T75" fmla="*/ 8 h 1326"/>
                <a:gd name="T76" fmla="*/ 73 w 1212"/>
                <a:gd name="T77" fmla="*/ 4 h 1326"/>
                <a:gd name="T78" fmla="*/ 86 w 1212"/>
                <a:gd name="T79" fmla="*/ 12 h 1326"/>
                <a:gd name="T80" fmla="*/ 92 w 1212"/>
                <a:gd name="T81" fmla="*/ 13 h 1326"/>
                <a:gd name="T82" fmla="*/ 86 w 1212"/>
                <a:gd name="T83" fmla="*/ 18 h 1326"/>
                <a:gd name="T84" fmla="*/ 88 w 1212"/>
                <a:gd name="T85" fmla="*/ 33 h 1326"/>
                <a:gd name="T86" fmla="*/ 97 w 1212"/>
                <a:gd name="T87" fmla="*/ 49 h 1326"/>
                <a:gd name="T88" fmla="*/ 102 w 1212"/>
                <a:gd name="T89" fmla="*/ 57 h 1326"/>
                <a:gd name="T90" fmla="*/ 104 w 1212"/>
                <a:gd name="T91" fmla="*/ 67 h 1326"/>
                <a:gd name="T92" fmla="*/ 101 w 1212"/>
                <a:gd name="T93" fmla="*/ 69 h 1326"/>
                <a:gd name="T94" fmla="*/ 97 w 1212"/>
                <a:gd name="T95" fmla="*/ 69 h 1326"/>
                <a:gd name="T96" fmla="*/ 96 w 1212"/>
                <a:gd name="T97" fmla="*/ 71 h 1326"/>
                <a:gd name="T98" fmla="*/ 93 w 1212"/>
                <a:gd name="T99" fmla="*/ 70 h 1326"/>
                <a:gd name="T100" fmla="*/ 86 w 1212"/>
                <a:gd name="T101" fmla="*/ 69 h 1326"/>
                <a:gd name="T102" fmla="*/ 82 w 1212"/>
                <a:gd name="T103" fmla="*/ 73 h 1326"/>
                <a:gd name="T104" fmla="*/ 79 w 1212"/>
                <a:gd name="T105" fmla="*/ 74 h 1326"/>
                <a:gd name="T106" fmla="*/ 78 w 1212"/>
                <a:gd name="T107" fmla="*/ 79 h 1326"/>
                <a:gd name="T108" fmla="*/ 78 w 1212"/>
                <a:gd name="T109" fmla="*/ 83 h 1326"/>
                <a:gd name="T110" fmla="*/ 82 w 1212"/>
                <a:gd name="T111" fmla="*/ 87 h 1326"/>
                <a:gd name="T112" fmla="*/ 83 w 1212"/>
                <a:gd name="T113" fmla="*/ 90 h 1326"/>
                <a:gd name="T114" fmla="*/ 82 w 1212"/>
                <a:gd name="T115" fmla="*/ 94 h 1326"/>
                <a:gd name="T116" fmla="*/ 82 w 1212"/>
                <a:gd name="T117" fmla="*/ 98 h 1326"/>
                <a:gd name="T118" fmla="*/ 82 w 1212"/>
                <a:gd name="T119" fmla="*/ 104 h 1326"/>
                <a:gd name="T120" fmla="*/ 78 w 1212"/>
                <a:gd name="T121" fmla="*/ 110 h 132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12"/>
                <a:gd name="T184" fmla="*/ 0 h 1326"/>
                <a:gd name="T185" fmla="*/ 1212 w 1212"/>
                <a:gd name="T186" fmla="*/ 1326 h 132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12" h="1326">
                  <a:moveTo>
                    <a:pt x="906" y="1290"/>
                  </a:moveTo>
                  <a:lnTo>
                    <a:pt x="906" y="1296"/>
                  </a:lnTo>
                  <a:lnTo>
                    <a:pt x="900" y="1296"/>
                  </a:lnTo>
                  <a:lnTo>
                    <a:pt x="876" y="1290"/>
                  </a:lnTo>
                  <a:lnTo>
                    <a:pt x="870" y="1290"/>
                  </a:lnTo>
                  <a:lnTo>
                    <a:pt x="864" y="1296"/>
                  </a:lnTo>
                  <a:lnTo>
                    <a:pt x="852" y="1296"/>
                  </a:lnTo>
                  <a:lnTo>
                    <a:pt x="840" y="1302"/>
                  </a:lnTo>
                  <a:lnTo>
                    <a:pt x="834" y="1308"/>
                  </a:lnTo>
                  <a:lnTo>
                    <a:pt x="822" y="1320"/>
                  </a:lnTo>
                  <a:lnTo>
                    <a:pt x="816" y="1320"/>
                  </a:lnTo>
                  <a:lnTo>
                    <a:pt x="732" y="1320"/>
                  </a:lnTo>
                  <a:lnTo>
                    <a:pt x="696" y="1320"/>
                  </a:lnTo>
                  <a:lnTo>
                    <a:pt x="690" y="1326"/>
                  </a:lnTo>
                  <a:lnTo>
                    <a:pt x="678" y="1326"/>
                  </a:lnTo>
                  <a:lnTo>
                    <a:pt x="672" y="1308"/>
                  </a:lnTo>
                  <a:lnTo>
                    <a:pt x="696" y="1302"/>
                  </a:lnTo>
                  <a:lnTo>
                    <a:pt x="708" y="1296"/>
                  </a:lnTo>
                  <a:lnTo>
                    <a:pt x="720" y="1284"/>
                  </a:lnTo>
                  <a:lnTo>
                    <a:pt x="714" y="1278"/>
                  </a:lnTo>
                  <a:lnTo>
                    <a:pt x="714" y="1266"/>
                  </a:lnTo>
                  <a:lnTo>
                    <a:pt x="708" y="1260"/>
                  </a:lnTo>
                  <a:lnTo>
                    <a:pt x="708" y="1254"/>
                  </a:lnTo>
                  <a:lnTo>
                    <a:pt x="708" y="1248"/>
                  </a:lnTo>
                  <a:lnTo>
                    <a:pt x="702" y="1236"/>
                  </a:lnTo>
                  <a:lnTo>
                    <a:pt x="702" y="1230"/>
                  </a:lnTo>
                  <a:lnTo>
                    <a:pt x="702" y="1218"/>
                  </a:lnTo>
                  <a:lnTo>
                    <a:pt x="696" y="1200"/>
                  </a:lnTo>
                  <a:lnTo>
                    <a:pt x="696" y="1182"/>
                  </a:lnTo>
                  <a:lnTo>
                    <a:pt x="666" y="1182"/>
                  </a:lnTo>
                  <a:lnTo>
                    <a:pt x="672" y="1134"/>
                  </a:lnTo>
                  <a:lnTo>
                    <a:pt x="666" y="1128"/>
                  </a:lnTo>
                  <a:lnTo>
                    <a:pt x="660" y="1092"/>
                  </a:lnTo>
                  <a:lnTo>
                    <a:pt x="654" y="1098"/>
                  </a:lnTo>
                  <a:lnTo>
                    <a:pt x="594" y="1098"/>
                  </a:lnTo>
                  <a:lnTo>
                    <a:pt x="576" y="1098"/>
                  </a:lnTo>
                  <a:lnTo>
                    <a:pt x="570" y="1104"/>
                  </a:lnTo>
                  <a:lnTo>
                    <a:pt x="564" y="1110"/>
                  </a:lnTo>
                  <a:lnTo>
                    <a:pt x="558" y="1110"/>
                  </a:lnTo>
                  <a:lnTo>
                    <a:pt x="552" y="1110"/>
                  </a:lnTo>
                  <a:lnTo>
                    <a:pt x="546" y="1110"/>
                  </a:lnTo>
                  <a:lnTo>
                    <a:pt x="546" y="1116"/>
                  </a:lnTo>
                  <a:lnTo>
                    <a:pt x="546" y="1122"/>
                  </a:lnTo>
                  <a:lnTo>
                    <a:pt x="540" y="1128"/>
                  </a:lnTo>
                  <a:lnTo>
                    <a:pt x="510" y="1128"/>
                  </a:lnTo>
                  <a:lnTo>
                    <a:pt x="522" y="1104"/>
                  </a:lnTo>
                  <a:lnTo>
                    <a:pt x="510" y="1098"/>
                  </a:lnTo>
                  <a:lnTo>
                    <a:pt x="510" y="1074"/>
                  </a:lnTo>
                  <a:lnTo>
                    <a:pt x="504" y="1068"/>
                  </a:lnTo>
                  <a:lnTo>
                    <a:pt x="498" y="1068"/>
                  </a:lnTo>
                  <a:lnTo>
                    <a:pt x="492" y="1068"/>
                  </a:lnTo>
                  <a:lnTo>
                    <a:pt x="474" y="1080"/>
                  </a:lnTo>
                  <a:lnTo>
                    <a:pt x="474" y="1086"/>
                  </a:lnTo>
                  <a:lnTo>
                    <a:pt x="474" y="1092"/>
                  </a:lnTo>
                  <a:lnTo>
                    <a:pt x="468" y="1098"/>
                  </a:lnTo>
                  <a:lnTo>
                    <a:pt x="462" y="1104"/>
                  </a:lnTo>
                  <a:lnTo>
                    <a:pt x="456" y="1110"/>
                  </a:lnTo>
                  <a:lnTo>
                    <a:pt x="456" y="1122"/>
                  </a:lnTo>
                  <a:lnTo>
                    <a:pt x="456" y="1128"/>
                  </a:lnTo>
                  <a:lnTo>
                    <a:pt x="450" y="1140"/>
                  </a:lnTo>
                  <a:lnTo>
                    <a:pt x="444" y="1146"/>
                  </a:lnTo>
                  <a:lnTo>
                    <a:pt x="426" y="1170"/>
                  </a:lnTo>
                  <a:lnTo>
                    <a:pt x="408" y="1176"/>
                  </a:lnTo>
                  <a:lnTo>
                    <a:pt x="402" y="1170"/>
                  </a:lnTo>
                  <a:lnTo>
                    <a:pt x="396" y="1170"/>
                  </a:lnTo>
                  <a:lnTo>
                    <a:pt x="396" y="1158"/>
                  </a:lnTo>
                  <a:lnTo>
                    <a:pt x="384" y="1152"/>
                  </a:lnTo>
                  <a:lnTo>
                    <a:pt x="372" y="1140"/>
                  </a:lnTo>
                  <a:lnTo>
                    <a:pt x="354" y="1140"/>
                  </a:lnTo>
                  <a:lnTo>
                    <a:pt x="306" y="1146"/>
                  </a:lnTo>
                  <a:lnTo>
                    <a:pt x="294" y="1134"/>
                  </a:lnTo>
                  <a:lnTo>
                    <a:pt x="294" y="1128"/>
                  </a:lnTo>
                  <a:lnTo>
                    <a:pt x="288" y="1122"/>
                  </a:lnTo>
                  <a:lnTo>
                    <a:pt x="276" y="1122"/>
                  </a:lnTo>
                  <a:lnTo>
                    <a:pt x="276" y="1110"/>
                  </a:lnTo>
                  <a:lnTo>
                    <a:pt x="276" y="1104"/>
                  </a:lnTo>
                  <a:lnTo>
                    <a:pt x="270" y="1098"/>
                  </a:lnTo>
                  <a:lnTo>
                    <a:pt x="264" y="1086"/>
                  </a:lnTo>
                  <a:lnTo>
                    <a:pt x="264" y="1074"/>
                  </a:lnTo>
                  <a:lnTo>
                    <a:pt x="258" y="1068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34" y="1038"/>
                  </a:lnTo>
                  <a:lnTo>
                    <a:pt x="228" y="1038"/>
                  </a:lnTo>
                  <a:lnTo>
                    <a:pt x="222" y="1038"/>
                  </a:lnTo>
                  <a:lnTo>
                    <a:pt x="216" y="1038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0"/>
                  </a:lnTo>
                  <a:lnTo>
                    <a:pt x="204" y="1014"/>
                  </a:lnTo>
                  <a:lnTo>
                    <a:pt x="204" y="1008"/>
                  </a:lnTo>
                  <a:lnTo>
                    <a:pt x="198" y="1002"/>
                  </a:lnTo>
                  <a:lnTo>
                    <a:pt x="198" y="996"/>
                  </a:lnTo>
                  <a:lnTo>
                    <a:pt x="198" y="990"/>
                  </a:lnTo>
                  <a:lnTo>
                    <a:pt x="204" y="990"/>
                  </a:lnTo>
                  <a:lnTo>
                    <a:pt x="204" y="984"/>
                  </a:lnTo>
                  <a:lnTo>
                    <a:pt x="210" y="978"/>
                  </a:lnTo>
                  <a:lnTo>
                    <a:pt x="210" y="972"/>
                  </a:lnTo>
                  <a:lnTo>
                    <a:pt x="210" y="966"/>
                  </a:lnTo>
                  <a:lnTo>
                    <a:pt x="216" y="960"/>
                  </a:lnTo>
                  <a:lnTo>
                    <a:pt x="216" y="954"/>
                  </a:lnTo>
                  <a:lnTo>
                    <a:pt x="210" y="954"/>
                  </a:lnTo>
                  <a:lnTo>
                    <a:pt x="204" y="954"/>
                  </a:lnTo>
                  <a:lnTo>
                    <a:pt x="216" y="954"/>
                  </a:lnTo>
                  <a:lnTo>
                    <a:pt x="216" y="948"/>
                  </a:lnTo>
                  <a:lnTo>
                    <a:pt x="210" y="948"/>
                  </a:lnTo>
                  <a:lnTo>
                    <a:pt x="210" y="942"/>
                  </a:lnTo>
                  <a:lnTo>
                    <a:pt x="216" y="942"/>
                  </a:lnTo>
                  <a:lnTo>
                    <a:pt x="222" y="942"/>
                  </a:lnTo>
                  <a:lnTo>
                    <a:pt x="222" y="936"/>
                  </a:lnTo>
                  <a:lnTo>
                    <a:pt x="216" y="936"/>
                  </a:lnTo>
                  <a:lnTo>
                    <a:pt x="210" y="936"/>
                  </a:lnTo>
                  <a:lnTo>
                    <a:pt x="210" y="930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22" y="918"/>
                  </a:lnTo>
                  <a:lnTo>
                    <a:pt x="228" y="912"/>
                  </a:lnTo>
                  <a:lnTo>
                    <a:pt x="228" y="906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2" y="888"/>
                  </a:lnTo>
                  <a:lnTo>
                    <a:pt x="222" y="882"/>
                  </a:lnTo>
                  <a:lnTo>
                    <a:pt x="222" y="876"/>
                  </a:lnTo>
                  <a:lnTo>
                    <a:pt x="222" y="858"/>
                  </a:lnTo>
                  <a:lnTo>
                    <a:pt x="216" y="858"/>
                  </a:lnTo>
                  <a:lnTo>
                    <a:pt x="216" y="852"/>
                  </a:lnTo>
                  <a:lnTo>
                    <a:pt x="210" y="852"/>
                  </a:lnTo>
                  <a:lnTo>
                    <a:pt x="210" y="840"/>
                  </a:lnTo>
                  <a:lnTo>
                    <a:pt x="198" y="840"/>
                  </a:lnTo>
                  <a:lnTo>
                    <a:pt x="198" y="876"/>
                  </a:lnTo>
                  <a:lnTo>
                    <a:pt x="192" y="882"/>
                  </a:lnTo>
                  <a:lnTo>
                    <a:pt x="192" y="888"/>
                  </a:lnTo>
                  <a:lnTo>
                    <a:pt x="180" y="894"/>
                  </a:lnTo>
                  <a:lnTo>
                    <a:pt x="180" y="906"/>
                  </a:lnTo>
                  <a:lnTo>
                    <a:pt x="156" y="912"/>
                  </a:lnTo>
                  <a:lnTo>
                    <a:pt x="156" y="894"/>
                  </a:lnTo>
                  <a:lnTo>
                    <a:pt x="156" y="882"/>
                  </a:lnTo>
                  <a:lnTo>
                    <a:pt x="156" y="876"/>
                  </a:lnTo>
                  <a:lnTo>
                    <a:pt x="150" y="876"/>
                  </a:lnTo>
                  <a:lnTo>
                    <a:pt x="144" y="876"/>
                  </a:lnTo>
                  <a:lnTo>
                    <a:pt x="138" y="870"/>
                  </a:lnTo>
                  <a:lnTo>
                    <a:pt x="132" y="864"/>
                  </a:lnTo>
                  <a:lnTo>
                    <a:pt x="138" y="840"/>
                  </a:lnTo>
                  <a:lnTo>
                    <a:pt x="132" y="840"/>
                  </a:lnTo>
                  <a:lnTo>
                    <a:pt x="138" y="810"/>
                  </a:lnTo>
                  <a:lnTo>
                    <a:pt x="144" y="804"/>
                  </a:lnTo>
                  <a:lnTo>
                    <a:pt x="144" y="798"/>
                  </a:lnTo>
                  <a:lnTo>
                    <a:pt x="156" y="798"/>
                  </a:lnTo>
                  <a:lnTo>
                    <a:pt x="156" y="792"/>
                  </a:lnTo>
                  <a:lnTo>
                    <a:pt x="120" y="792"/>
                  </a:lnTo>
                  <a:lnTo>
                    <a:pt x="108" y="786"/>
                  </a:lnTo>
                  <a:lnTo>
                    <a:pt x="96" y="786"/>
                  </a:lnTo>
                  <a:lnTo>
                    <a:pt x="96" y="780"/>
                  </a:lnTo>
                  <a:lnTo>
                    <a:pt x="78" y="780"/>
                  </a:lnTo>
                  <a:lnTo>
                    <a:pt x="72" y="804"/>
                  </a:lnTo>
                  <a:lnTo>
                    <a:pt x="60" y="816"/>
                  </a:lnTo>
                  <a:lnTo>
                    <a:pt x="36" y="828"/>
                  </a:lnTo>
                  <a:lnTo>
                    <a:pt x="18" y="840"/>
                  </a:lnTo>
                  <a:lnTo>
                    <a:pt x="0" y="822"/>
                  </a:lnTo>
                  <a:lnTo>
                    <a:pt x="6" y="816"/>
                  </a:lnTo>
                  <a:lnTo>
                    <a:pt x="12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18" y="786"/>
                  </a:lnTo>
                  <a:lnTo>
                    <a:pt x="24" y="780"/>
                  </a:lnTo>
                  <a:lnTo>
                    <a:pt x="24" y="768"/>
                  </a:lnTo>
                  <a:lnTo>
                    <a:pt x="24" y="762"/>
                  </a:lnTo>
                  <a:lnTo>
                    <a:pt x="24" y="750"/>
                  </a:lnTo>
                  <a:lnTo>
                    <a:pt x="36" y="714"/>
                  </a:lnTo>
                  <a:lnTo>
                    <a:pt x="36" y="708"/>
                  </a:lnTo>
                  <a:lnTo>
                    <a:pt x="42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6" y="690"/>
                  </a:lnTo>
                  <a:lnTo>
                    <a:pt x="42" y="684"/>
                  </a:lnTo>
                  <a:lnTo>
                    <a:pt x="42" y="672"/>
                  </a:lnTo>
                  <a:lnTo>
                    <a:pt x="42" y="666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48" y="648"/>
                  </a:lnTo>
                  <a:lnTo>
                    <a:pt x="54" y="642"/>
                  </a:lnTo>
                  <a:lnTo>
                    <a:pt x="54" y="630"/>
                  </a:lnTo>
                  <a:lnTo>
                    <a:pt x="54" y="624"/>
                  </a:lnTo>
                  <a:lnTo>
                    <a:pt x="54" y="618"/>
                  </a:lnTo>
                  <a:lnTo>
                    <a:pt x="54" y="612"/>
                  </a:lnTo>
                  <a:lnTo>
                    <a:pt x="48" y="606"/>
                  </a:lnTo>
                  <a:lnTo>
                    <a:pt x="48" y="600"/>
                  </a:lnTo>
                  <a:lnTo>
                    <a:pt x="42" y="600"/>
                  </a:lnTo>
                  <a:lnTo>
                    <a:pt x="36" y="594"/>
                  </a:lnTo>
                  <a:lnTo>
                    <a:pt x="36" y="588"/>
                  </a:lnTo>
                  <a:lnTo>
                    <a:pt x="30" y="582"/>
                  </a:lnTo>
                  <a:lnTo>
                    <a:pt x="30" y="570"/>
                  </a:lnTo>
                  <a:lnTo>
                    <a:pt x="18" y="552"/>
                  </a:lnTo>
                  <a:lnTo>
                    <a:pt x="18" y="546"/>
                  </a:lnTo>
                  <a:lnTo>
                    <a:pt x="18" y="540"/>
                  </a:lnTo>
                  <a:lnTo>
                    <a:pt x="18" y="528"/>
                  </a:lnTo>
                  <a:lnTo>
                    <a:pt x="18" y="522"/>
                  </a:lnTo>
                  <a:lnTo>
                    <a:pt x="24" y="516"/>
                  </a:lnTo>
                  <a:lnTo>
                    <a:pt x="30" y="504"/>
                  </a:lnTo>
                  <a:lnTo>
                    <a:pt x="30" y="492"/>
                  </a:lnTo>
                  <a:lnTo>
                    <a:pt x="24" y="480"/>
                  </a:lnTo>
                  <a:lnTo>
                    <a:pt x="30" y="474"/>
                  </a:lnTo>
                  <a:lnTo>
                    <a:pt x="36" y="474"/>
                  </a:lnTo>
                  <a:lnTo>
                    <a:pt x="42" y="468"/>
                  </a:lnTo>
                  <a:lnTo>
                    <a:pt x="48" y="468"/>
                  </a:lnTo>
                  <a:lnTo>
                    <a:pt x="48" y="462"/>
                  </a:lnTo>
                  <a:lnTo>
                    <a:pt x="48" y="456"/>
                  </a:lnTo>
                  <a:lnTo>
                    <a:pt x="54" y="450"/>
                  </a:lnTo>
                  <a:lnTo>
                    <a:pt x="60" y="438"/>
                  </a:lnTo>
                  <a:lnTo>
                    <a:pt x="54" y="438"/>
                  </a:lnTo>
                  <a:lnTo>
                    <a:pt x="54" y="432"/>
                  </a:ln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54" y="402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6" y="384"/>
                  </a:lnTo>
                  <a:lnTo>
                    <a:pt x="72" y="372"/>
                  </a:lnTo>
                  <a:lnTo>
                    <a:pt x="78" y="366"/>
                  </a:lnTo>
                  <a:lnTo>
                    <a:pt x="84" y="360"/>
                  </a:lnTo>
                  <a:lnTo>
                    <a:pt x="102" y="360"/>
                  </a:lnTo>
                  <a:lnTo>
                    <a:pt x="114" y="360"/>
                  </a:lnTo>
                  <a:lnTo>
                    <a:pt x="120" y="360"/>
                  </a:lnTo>
                  <a:lnTo>
                    <a:pt x="132" y="360"/>
                  </a:lnTo>
                  <a:lnTo>
                    <a:pt x="138" y="360"/>
                  </a:lnTo>
                  <a:lnTo>
                    <a:pt x="156" y="360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74" y="342"/>
                  </a:lnTo>
                  <a:lnTo>
                    <a:pt x="180" y="342"/>
                  </a:lnTo>
                  <a:lnTo>
                    <a:pt x="186" y="336"/>
                  </a:lnTo>
                  <a:lnTo>
                    <a:pt x="192" y="330"/>
                  </a:lnTo>
                  <a:lnTo>
                    <a:pt x="204" y="312"/>
                  </a:lnTo>
                  <a:lnTo>
                    <a:pt x="210" y="312"/>
                  </a:lnTo>
                  <a:lnTo>
                    <a:pt x="216" y="306"/>
                  </a:lnTo>
                  <a:lnTo>
                    <a:pt x="216" y="300"/>
                  </a:lnTo>
                  <a:lnTo>
                    <a:pt x="222" y="288"/>
                  </a:lnTo>
                  <a:lnTo>
                    <a:pt x="234" y="288"/>
                  </a:lnTo>
                  <a:lnTo>
                    <a:pt x="240" y="282"/>
                  </a:lnTo>
                  <a:lnTo>
                    <a:pt x="246" y="282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70" y="270"/>
                  </a:lnTo>
                  <a:lnTo>
                    <a:pt x="276" y="264"/>
                  </a:lnTo>
                  <a:lnTo>
                    <a:pt x="282" y="26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8" y="234"/>
                  </a:lnTo>
                  <a:lnTo>
                    <a:pt x="330" y="234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72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14" y="240"/>
                  </a:lnTo>
                  <a:lnTo>
                    <a:pt x="444" y="216"/>
                  </a:lnTo>
                  <a:lnTo>
                    <a:pt x="480" y="204"/>
                  </a:lnTo>
                  <a:lnTo>
                    <a:pt x="600" y="150"/>
                  </a:lnTo>
                  <a:lnTo>
                    <a:pt x="648" y="126"/>
                  </a:lnTo>
                  <a:lnTo>
                    <a:pt x="702" y="96"/>
                  </a:lnTo>
                  <a:lnTo>
                    <a:pt x="708" y="54"/>
                  </a:lnTo>
                  <a:lnTo>
                    <a:pt x="720" y="24"/>
                  </a:lnTo>
                  <a:lnTo>
                    <a:pt x="738" y="12"/>
                  </a:lnTo>
                  <a:lnTo>
                    <a:pt x="768" y="0"/>
                  </a:lnTo>
                  <a:lnTo>
                    <a:pt x="792" y="6"/>
                  </a:lnTo>
                  <a:lnTo>
                    <a:pt x="804" y="12"/>
                  </a:lnTo>
                  <a:lnTo>
                    <a:pt x="834" y="48"/>
                  </a:lnTo>
                  <a:lnTo>
                    <a:pt x="834" y="60"/>
                  </a:lnTo>
                  <a:lnTo>
                    <a:pt x="852" y="84"/>
                  </a:lnTo>
                  <a:lnTo>
                    <a:pt x="864" y="96"/>
                  </a:lnTo>
                  <a:lnTo>
                    <a:pt x="888" y="102"/>
                  </a:lnTo>
                  <a:lnTo>
                    <a:pt x="978" y="120"/>
                  </a:lnTo>
                  <a:lnTo>
                    <a:pt x="984" y="126"/>
                  </a:lnTo>
                  <a:lnTo>
                    <a:pt x="984" y="132"/>
                  </a:lnTo>
                  <a:lnTo>
                    <a:pt x="996" y="138"/>
                  </a:lnTo>
                  <a:lnTo>
                    <a:pt x="1038" y="126"/>
                  </a:lnTo>
                  <a:lnTo>
                    <a:pt x="1056" y="114"/>
                  </a:lnTo>
                  <a:lnTo>
                    <a:pt x="1068" y="126"/>
                  </a:lnTo>
                  <a:lnTo>
                    <a:pt x="1074" y="132"/>
                  </a:lnTo>
                  <a:lnTo>
                    <a:pt x="1068" y="138"/>
                  </a:lnTo>
                  <a:lnTo>
                    <a:pt x="1056" y="150"/>
                  </a:lnTo>
                  <a:lnTo>
                    <a:pt x="1038" y="162"/>
                  </a:lnTo>
                  <a:lnTo>
                    <a:pt x="1038" y="168"/>
                  </a:lnTo>
                  <a:lnTo>
                    <a:pt x="1020" y="174"/>
                  </a:lnTo>
                  <a:lnTo>
                    <a:pt x="1014" y="180"/>
                  </a:lnTo>
                  <a:lnTo>
                    <a:pt x="1008" y="186"/>
                  </a:lnTo>
                  <a:lnTo>
                    <a:pt x="1002" y="198"/>
                  </a:lnTo>
                  <a:lnTo>
                    <a:pt x="984" y="204"/>
                  </a:lnTo>
                  <a:lnTo>
                    <a:pt x="984" y="246"/>
                  </a:lnTo>
                  <a:lnTo>
                    <a:pt x="978" y="270"/>
                  </a:lnTo>
                  <a:lnTo>
                    <a:pt x="990" y="306"/>
                  </a:lnTo>
                  <a:lnTo>
                    <a:pt x="990" y="324"/>
                  </a:lnTo>
                  <a:lnTo>
                    <a:pt x="1002" y="336"/>
                  </a:lnTo>
                  <a:lnTo>
                    <a:pt x="1020" y="372"/>
                  </a:lnTo>
                  <a:lnTo>
                    <a:pt x="1014" y="378"/>
                  </a:lnTo>
                  <a:lnTo>
                    <a:pt x="1014" y="384"/>
                  </a:lnTo>
                  <a:lnTo>
                    <a:pt x="1020" y="384"/>
                  </a:lnTo>
                  <a:lnTo>
                    <a:pt x="1020" y="396"/>
                  </a:lnTo>
                  <a:lnTo>
                    <a:pt x="1062" y="468"/>
                  </a:lnTo>
                  <a:lnTo>
                    <a:pt x="1092" y="522"/>
                  </a:lnTo>
                  <a:lnTo>
                    <a:pt x="1110" y="546"/>
                  </a:lnTo>
                  <a:lnTo>
                    <a:pt x="1122" y="564"/>
                  </a:lnTo>
                  <a:lnTo>
                    <a:pt x="1134" y="576"/>
                  </a:lnTo>
                  <a:lnTo>
                    <a:pt x="1146" y="582"/>
                  </a:lnTo>
                  <a:lnTo>
                    <a:pt x="1146" y="588"/>
                  </a:lnTo>
                  <a:lnTo>
                    <a:pt x="1164" y="600"/>
                  </a:lnTo>
                  <a:lnTo>
                    <a:pt x="1170" y="612"/>
                  </a:lnTo>
                  <a:lnTo>
                    <a:pt x="1170" y="624"/>
                  </a:lnTo>
                  <a:lnTo>
                    <a:pt x="1176" y="654"/>
                  </a:lnTo>
                  <a:lnTo>
                    <a:pt x="1176" y="666"/>
                  </a:lnTo>
                  <a:lnTo>
                    <a:pt x="1182" y="684"/>
                  </a:lnTo>
                  <a:lnTo>
                    <a:pt x="1194" y="696"/>
                  </a:lnTo>
                  <a:lnTo>
                    <a:pt x="1212" y="696"/>
                  </a:lnTo>
                  <a:lnTo>
                    <a:pt x="1206" y="762"/>
                  </a:lnTo>
                  <a:lnTo>
                    <a:pt x="1200" y="768"/>
                  </a:lnTo>
                  <a:lnTo>
                    <a:pt x="1194" y="768"/>
                  </a:lnTo>
                  <a:lnTo>
                    <a:pt x="1194" y="774"/>
                  </a:lnTo>
                  <a:lnTo>
                    <a:pt x="1188" y="774"/>
                  </a:lnTo>
                  <a:lnTo>
                    <a:pt x="1182" y="780"/>
                  </a:lnTo>
                  <a:lnTo>
                    <a:pt x="1176" y="780"/>
                  </a:lnTo>
                  <a:lnTo>
                    <a:pt x="1170" y="780"/>
                  </a:lnTo>
                  <a:lnTo>
                    <a:pt x="1164" y="786"/>
                  </a:lnTo>
                  <a:lnTo>
                    <a:pt x="1158" y="786"/>
                  </a:lnTo>
                  <a:lnTo>
                    <a:pt x="1152" y="786"/>
                  </a:lnTo>
                  <a:lnTo>
                    <a:pt x="1140" y="786"/>
                  </a:lnTo>
                  <a:lnTo>
                    <a:pt x="1134" y="786"/>
                  </a:lnTo>
                  <a:lnTo>
                    <a:pt x="1134" y="780"/>
                  </a:lnTo>
                  <a:lnTo>
                    <a:pt x="1122" y="780"/>
                  </a:lnTo>
                  <a:lnTo>
                    <a:pt x="1116" y="786"/>
                  </a:lnTo>
                  <a:lnTo>
                    <a:pt x="1116" y="792"/>
                  </a:lnTo>
                  <a:lnTo>
                    <a:pt x="1122" y="804"/>
                  </a:lnTo>
                  <a:lnTo>
                    <a:pt x="1128" y="804"/>
                  </a:lnTo>
                  <a:lnTo>
                    <a:pt x="1128" y="816"/>
                  </a:lnTo>
                  <a:lnTo>
                    <a:pt x="1122" y="822"/>
                  </a:lnTo>
                  <a:lnTo>
                    <a:pt x="1116" y="816"/>
                  </a:lnTo>
                  <a:lnTo>
                    <a:pt x="1110" y="816"/>
                  </a:lnTo>
                  <a:lnTo>
                    <a:pt x="1104" y="816"/>
                  </a:lnTo>
                  <a:lnTo>
                    <a:pt x="1098" y="816"/>
                  </a:lnTo>
                  <a:lnTo>
                    <a:pt x="1098" y="822"/>
                  </a:lnTo>
                  <a:lnTo>
                    <a:pt x="1092" y="834"/>
                  </a:lnTo>
                  <a:lnTo>
                    <a:pt x="1092" y="840"/>
                  </a:lnTo>
                  <a:lnTo>
                    <a:pt x="1074" y="840"/>
                  </a:lnTo>
                  <a:lnTo>
                    <a:pt x="1074" y="828"/>
                  </a:lnTo>
                  <a:lnTo>
                    <a:pt x="1062" y="804"/>
                  </a:lnTo>
                  <a:lnTo>
                    <a:pt x="1056" y="792"/>
                  </a:lnTo>
                  <a:lnTo>
                    <a:pt x="1056" y="786"/>
                  </a:lnTo>
                  <a:lnTo>
                    <a:pt x="1026" y="780"/>
                  </a:lnTo>
                  <a:lnTo>
                    <a:pt x="1026" y="768"/>
                  </a:lnTo>
                  <a:lnTo>
                    <a:pt x="1008" y="768"/>
                  </a:lnTo>
                  <a:lnTo>
                    <a:pt x="1002" y="780"/>
                  </a:lnTo>
                  <a:lnTo>
                    <a:pt x="996" y="792"/>
                  </a:lnTo>
                  <a:lnTo>
                    <a:pt x="978" y="798"/>
                  </a:lnTo>
                  <a:lnTo>
                    <a:pt x="972" y="810"/>
                  </a:lnTo>
                  <a:lnTo>
                    <a:pt x="972" y="822"/>
                  </a:lnTo>
                  <a:lnTo>
                    <a:pt x="978" y="828"/>
                  </a:lnTo>
                  <a:lnTo>
                    <a:pt x="978" y="834"/>
                  </a:lnTo>
                  <a:lnTo>
                    <a:pt x="960" y="840"/>
                  </a:lnTo>
                  <a:lnTo>
                    <a:pt x="936" y="840"/>
                  </a:lnTo>
                  <a:lnTo>
                    <a:pt x="918" y="846"/>
                  </a:lnTo>
                  <a:lnTo>
                    <a:pt x="912" y="840"/>
                  </a:lnTo>
                  <a:lnTo>
                    <a:pt x="912" y="834"/>
                  </a:lnTo>
                  <a:lnTo>
                    <a:pt x="906" y="834"/>
                  </a:lnTo>
                  <a:lnTo>
                    <a:pt x="906" y="840"/>
                  </a:lnTo>
                  <a:lnTo>
                    <a:pt x="900" y="846"/>
                  </a:lnTo>
                  <a:lnTo>
                    <a:pt x="906" y="852"/>
                  </a:lnTo>
                  <a:lnTo>
                    <a:pt x="900" y="864"/>
                  </a:lnTo>
                  <a:lnTo>
                    <a:pt x="900" y="876"/>
                  </a:lnTo>
                  <a:lnTo>
                    <a:pt x="900" y="882"/>
                  </a:lnTo>
                  <a:lnTo>
                    <a:pt x="894" y="888"/>
                  </a:lnTo>
                  <a:lnTo>
                    <a:pt x="900" y="900"/>
                  </a:lnTo>
                  <a:lnTo>
                    <a:pt x="900" y="906"/>
                  </a:lnTo>
                  <a:lnTo>
                    <a:pt x="894" y="906"/>
                  </a:lnTo>
                  <a:lnTo>
                    <a:pt x="894" y="912"/>
                  </a:lnTo>
                  <a:lnTo>
                    <a:pt x="900" y="918"/>
                  </a:lnTo>
                  <a:lnTo>
                    <a:pt x="900" y="924"/>
                  </a:lnTo>
                  <a:lnTo>
                    <a:pt x="900" y="948"/>
                  </a:lnTo>
                  <a:lnTo>
                    <a:pt x="888" y="948"/>
                  </a:lnTo>
                  <a:lnTo>
                    <a:pt x="888" y="954"/>
                  </a:lnTo>
                  <a:lnTo>
                    <a:pt x="894" y="954"/>
                  </a:lnTo>
                  <a:lnTo>
                    <a:pt x="900" y="960"/>
                  </a:lnTo>
                  <a:lnTo>
                    <a:pt x="900" y="972"/>
                  </a:lnTo>
                  <a:lnTo>
                    <a:pt x="906" y="984"/>
                  </a:lnTo>
                  <a:lnTo>
                    <a:pt x="912" y="984"/>
                  </a:lnTo>
                  <a:lnTo>
                    <a:pt x="918" y="990"/>
                  </a:lnTo>
                  <a:lnTo>
                    <a:pt x="936" y="990"/>
                  </a:lnTo>
                  <a:lnTo>
                    <a:pt x="936" y="996"/>
                  </a:lnTo>
                  <a:lnTo>
                    <a:pt x="942" y="996"/>
                  </a:lnTo>
                  <a:lnTo>
                    <a:pt x="942" y="1002"/>
                  </a:lnTo>
                  <a:lnTo>
                    <a:pt x="942" y="1008"/>
                  </a:lnTo>
                  <a:lnTo>
                    <a:pt x="948" y="1008"/>
                  </a:lnTo>
                  <a:lnTo>
                    <a:pt x="948" y="1014"/>
                  </a:lnTo>
                  <a:lnTo>
                    <a:pt x="948" y="1020"/>
                  </a:lnTo>
                  <a:lnTo>
                    <a:pt x="954" y="1032"/>
                  </a:lnTo>
                  <a:lnTo>
                    <a:pt x="948" y="1038"/>
                  </a:lnTo>
                  <a:lnTo>
                    <a:pt x="954" y="1044"/>
                  </a:lnTo>
                  <a:lnTo>
                    <a:pt x="954" y="1056"/>
                  </a:lnTo>
                  <a:lnTo>
                    <a:pt x="960" y="1056"/>
                  </a:lnTo>
                  <a:lnTo>
                    <a:pt x="960" y="1062"/>
                  </a:lnTo>
                  <a:lnTo>
                    <a:pt x="954" y="1068"/>
                  </a:lnTo>
                  <a:lnTo>
                    <a:pt x="948" y="1074"/>
                  </a:lnTo>
                  <a:lnTo>
                    <a:pt x="948" y="1080"/>
                  </a:lnTo>
                  <a:lnTo>
                    <a:pt x="948" y="1086"/>
                  </a:lnTo>
                  <a:lnTo>
                    <a:pt x="942" y="1092"/>
                  </a:lnTo>
                  <a:lnTo>
                    <a:pt x="942" y="1098"/>
                  </a:lnTo>
                  <a:lnTo>
                    <a:pt x="942" y="1104"/>
                  </a:lnTo>
                  <a:lnTo>
                    <a:pt x="942" y="1110"/>
                  </a:lnTo>
                  <a:lnTo>
                    <a:pt x="936" y="1116"/>
                  </a:lnTo>
                  <a:lnTo>
                    <a:pt x="936" y="1122"/>
                  </a:lnTo>
                  <a:lnTo>
                    <a:pt x="936" y="1128"/>
                  </a:lnTo>
                  <a:lnTo>
                    <a:pt x="936" y="1134"/>
                  </a:lnTo>
                  <a:lnTo>
                    <a:pt x="942" y="1146"/>
                  </a:lnTo>
                  <a:lnTo>
                    <a:pt x="936" y="1158"/>
                  </a:lnTo>
                  <a:lnTo>
                    <a:pt x="936" y="1170"/>
                  </a:lnTo>
                  <a:lnTo>
                    <a:pt x="936" y="1194"/>
                  </a:lnTo>
                  <a:lnTo>
                    <a:pt x="930" y="1200"/>
                  </a:lnTo>
                  <a:lnTo>
                    <a:pt x="930" y="1212"/>
                  </a:lnTo>
                  <a:lnTo>
                    <a:pt x="918" y="1218"/>
                  </a:lnTo>
                  <a:lnTo>
                    <a:pt x="918" y="1230"/>
                  </a:lnTo>
                  <a:lnTo>
                    <a:pt x="906" y="1230"/>
                  </a:lnTo>
                  <a:lnTo>
                    <a:pt x="900" y="1254"/>
                  </a:lnTo>
                  <a:lnTo>
                    <a:pt x="900" y="1260"/>
                  </a:lnTo>
                  <a:lnTo>
                    <a:pt x="900" y="1266"/>
                  </a:lnTo>
                  <a:lnTo>
                    <a:pt x="900" y="1272"/>
                  </a:lnTo>
                  <a:lnTo>
                    <a:pt x="900" y="1278"/>
                  </a:lnTo>
                  <a:lnTo>
                    <a:pt x="900" y="1284"/>
                  </a:lnTo>
                  <a:lnTo>
                    <a:pt x="906" y="129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1" name="Freeform 26">
              <a:extLst>
                <a:ext uri="{FF2B5EF4-FFF2-40B4-BE49-F238E27FC236}">
                  <a16:creationId xmlns:a16="http://schemas.microsoft.com/office/drawing/2014/main" id="{25725EFE-FE00-49A8-A87A-6752B785C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79173" y="3477313"/>
              <a:ext cx="650731" cy="559125"/>
            </a:xfrm>
            <a:custGeom>
              <a:avLst/>
              <a:gdLst>
                <a:gd name="T0" fmla="*/ 95 w 1224"/>
                <a:gd name="T1" fmla="*/ 89 h 1050"/>
                <a:gd name="T2" fmla="*/ 90 w 1224"/>
                <a:gd name="T3" fmla="*/ 84 h 1050"/>
                <a:gd name="T4" fmla="*/ 84 w 1224"/>
                <a:gd name="T5" fmla="*/ 83 h 1050"/>
                <a:gd name="T6" fmla="*/ 82 w 1224"/>
                <a:gd name="T7" fmla="*/ 80 h 1050"/>
                <a:gd name="T8" fmla="*/ 85 w 1224"/>
                <a:gd name="T9" fmla="*/ 77 h 1050"/>
                <a:gd name="T10" fmla="*/ 81 w 1224"/>
                <a:gd name="T11" fmla="*/ 76 h 1050"/>
                <a:gd name="T12" fmla="*/ 77 w 1224"/>
                <a:gd name="T13" fmla="*/ 77 h 1050"/>
                <a:gd name="T14" fmla="*/ 78 w 1224"/>
                <a:gd name="T15" fmla="*/ 73 h 1050"/>
                <a:gd name="T16" fmla="*/ 59 w 1224"/>
                <a:gd name="T17" fmla="*/ 71 h 1050"/>
                <a:gd name="T18" fmla="*/ 41 w 1224"/>
                <a:gd name="T19" fmla="*/ 73 h 1050"/>
                <a:gd name="T20" fmla="*/ 33 w 1224"/>
                <a:gd name="T21" fmla="*/ 71 h 1050"/>
                <a:gd name="T22" fmla="*/ 30 w 1224"/>
                <a:gd name="T23" fmla="*/ 75 h 1050"/>
                <a:gd name="T24" fmla="*/ 27 w 1224"/>
                <a:gd name="T25" fmla="*/ 80 h 1050"/>
                <a:gd name="T26" fmla="*/ 12 w 1224"/>
                <a:gd name="T27" fmla="*/ 81 h 1050"/>
                <a:gd name="T28" fmla="*/ 9 w 1224"/>
                <a:gd name="T29" fmla="*/ 84 h 1050"/>
                <a:gd name="T30" fmla="*/ 6 w 1224"/>
                <a:gd name="T31" fmla="*/ 83 h 1050"/>
                <a:gd name="T32" fmla="*/ 1 w 1224"/>
                <a:gd name="T33" fmla="*/ 83 h 1050"/>
                <a:gd name="T34" fmla="*/ 3 w 1224"/>
                <a:gd name="T35" fmla="*/ 77 h 1050"/>
                <a:gd name="T36" fmla="*/ 5 w 1224"/>
                <a:gd name="T37" fmla="*/ 70 h 1050"/>
                <a:gd name="T38" fmla="*/ 2 w 1224"/>
                <a:gd name="T39" fmla="*/ 65 h 1050"/>
                <a:gd name="T40" fmla="*/ 3 w 1224"/>
                <a:gd name="T41" fmla="*/ 58 h 1050"/>
                <a:gd name="T42" fmla="*/ 4 w 1224"/>
                <a:gd name="T43" fmla="*/ 51 h 1050"/>
                <a:gd name="T44" fmla="*/ 3 w 1224"/>
                <a:gd name="T45" fmla="*/ 47 h 1050"/>
                <a:gd name="T46" fmla="*/ 4 w 1224"/>
                <a:gd name="T47" fmla="*/ 39 h 1050"/>
                <a:gd name="T48" fmla="*/ 6 w 1224"/>
                <a:gd name="T49" fmla="*/ 29 h 1050"/>
                <a:gd name="T50" fmla="*/ 3 w 1224"/>
                <a:gd name="T51" fmla="*/ 22 h 1050"/>
                <a:gd name="T52" fmla="*/ 2 w 1224"/>
                <a:gd name="T53" fmla="*/ 14 h 1050"/>
                <a:gd name="T54" fmla="*/ 0 w 1224"/>
                <a:gd name="T55" fmla="*/ 6 h 1050"/>
                <a:gd name="T56" fmla="*/ 9 w 1224"/>
                <a:gd name="T57" fmla="*/ 1 h 1050"/>
                <a:gd name="T58" fmla="*/ 11 w 1224"/>
                <a:gd name="T59" fmla="*/ 8 h 1050"/>
                <a:gd name="T60" fmla="*/ 15 w 1224"/>
                <a:gd name="T61" fmla="*/ 9 h 1050"/>
                <a:gd name="T62" fmla="*/ 18 w 1224"/>
                <a:gd name="T63" fmla="*/ 8 h 1050"/>
                <a:gd name="T64" fmla="*/ 18 w 1224"/>
                <a:gd name="T65" fmla="*/ 13 h 1050"/>
                <a:gd name="T66" fmla="*/ 17 w 1224"/>
                <a:gd name="T67" fmla="*/ 15 h 1050"/>
                <a:gd name="T68" fmla="*/ 17 w 1224"/>
                <a:gd name="T69" fmla="*/ 17 h 1050"/>
                <a:gd name="T70" fmla="*/ 17 w 1224"/>
                <a:gd name="T71" fmla="*/ 21 h 1050"/>
                <a:gd name="T72" fmla="*/ 21 w 1224"/>
                <a:gd name="T73" fmla="*/ 25 h 1050"/>
                <a:gd name="T74" fmla="*/ 24 w 1224"/>
                <a:gd name="T75" fmla="*/ 31 h 1050"/>
                <a:gd name="T76" fmla="*/ 35 w 1224"/>
                <a:gd name="T77" fmla="*/ 34 h 1050"/>
                <a:gd name="T78" fmla="*/ 40 w 1224"/>
                <a:gd name="T79" fmla="*/ 27 h 1050"/>
                <a:gd name="T80" fmla="*/ 46 w 1224"/>
                <a:gd name="T81" fmla="*/ 30 h 1050"/>
                <a:gd name="T82" fmla="*/ 51 w 1224"/>
                <a:gd name="T83" fmla="*/ 27 h 1050"/>
                <a:gd name="T84" fmla="*/ 59 w 1224"/>
                <a:gd name="T85" fmla="*/ 39 h 1050"/>
                <a:gd name="T86" fmla="*/ 59 w 1224"/>
                <a:gd name="T87" fmla="*/ 45 h 1050"/>
                <a:gd name="T88" fmla="*/ 72 w 1224"/>
                <a:gd name="T89" fmla="*/ 45 h 1050"/>
                <a:gd name="T90" fmla="*/ 79 w 1224"/>
                <a:gd name="T91" fmla="*/ 44 h 1050"/>
                <a:gd name="T92" fmla="*/ 87 w 1224"/>
                <a:gd name="T93" fmla="*/ 48 h 1050"/>
                <a:gd name="T94" fmla="*/ 93 w 1224"/>
                <a:gd name="T95" fmla="*/ 50 h 1050"/>
                <a:gd name="T96" fmla="*/ 98 w 1224"/>
                <a:gd name="T97" fmla="*/ 51 h 1050"/>
                <a:gd name="T98" fmla="*/ 106 w 1224"/>
                <a:gd name="T99" fmla="*/ 50 h 1050"/>
                <a:gd name="T100" fmla="*/ 104 w 1224"/>
                <a:gd name="T101" fmla="*/ 54 h 1050"/>
                <a:gd name="T102" fmla="*/ 104 w 1224"/>
                <a:gd name="T103" fmla="*/ 60 h 1050"/>
                <a:gd name="T104" fmla="*/ 101 w 1224"/>
                <a:gd name="T105" fmla="*/ 63 h 1050"/>
                <a:gd name="T106" fmla="*/ 98 w 1224"/>
                <a:gd name="T107" fmla="*/ 66 h 1050"/>
                <a:gd name="T108" fmla="*/ 95 w 1224"/>
                <a:gd name="T109" fmla="*/ 68 h 1050"/>
                <a:gd name="T110" fmla="*/ 93 w 1224"/>
                <a:gd name="T111" fmla="*/ 72 h 1050"/>
                <a:gd name="T112" fmla="*/ 98 w 1224"/>
                <a:gd name="T113" fmla="*/ 75 h 1050"/>
                <a:gd name="T114" fmla="*/ 102 w 1224"/>
                <a:gd name="T115" fmla="*/ 77 h 1050"/>
                <a:gd name="T116" fmla="*/ 107 w 1224"/>
                <a:gd name="T117" fmla="*/ 76 h 1050"/>
                <a:gd name="T118" fmla="*/ 104 w 1224"/>
                <a:gd name="T119" fmla="*/ 84 h 1050"/>
                <a:gd name="T120" fmla="*/ 103 w 1224"/>
                <a:gd name="T121" fmla="*/ 87 h 1050"/>
                <a:gd name="T122" fmla="*/ 104 w 1224"/>
                <a:gd name="T123" fmla="*/ 91 h 105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24"/>
                <a:gd name="T187" fmla="*/ 0 h 1050"/>
                <a:gd name="T188" fmla="*/ 1224 w 1224"/>
                <a:gd name="T189" fmla="*/ 1050 h 105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24" h="1050">
                  <a:moveTo>
                    <a:pt x="1128" y="1032"/>
                  </a:moveTo>
                  <a:lnTo>
                    <a:pt x="1122" y="1026"/>
                  </a:lnTo>
                  <a:lnTo>
                    <a:pt x="1116" y="1026"/>
                  </a:lnTo>
                  <a:lnTo>
                    <a:pt x="1110" y="1026"/>
                  </a:lnTo>
                  <a:lnTo>
                    <a:pt x="1104" y="1026"/>
                  </a:lnTo>
                  <a:lnTo>
                    <a:pt x="1104" y="1020"/>
                  </a:lnTo>
                  <a:lnTo>
                    <a:pt x="1098" y="1020"/>
                  </a:lnTo>
                  <a:lnTo>
                    <a:pt x="1092" y="1020"/>
                  </a:lnTo>
                  <a:lnTo>
                    <a:pt x="1086" y="1020"/>
                  </a:lnTo>
                  <a:lnTo>
                    <a:pt x="1080" y="1014"/>
                  </a:lnTo>
                  <a:lnTo>
                    <a:pt x="1068" y="1014"/>
                  </a:lnTo>
                  <a:lnTo>
                    <a:pt x="1062" y="1014"/>
                  </a:lnTo>
                  <a:lnTo>
                    <a:pt x="1062" y="1008"/>
                  </a:lnTo>
                  <a:lnTo>
                    <a:pt x="1062" y="990"/>
                  </a:lnTo>
                  <a:lnTo>
                    <a:pt x="1062" y="984"/>
                  </a:lnTo>
                  <a:lnTo>
                    <a:pt x="1062" y="972"/>
                  </a:lnTo>
                  <a:lnTo>
                    <a:pt x="1044" y="966"/>
                  </a:lnTo>
                  <a:lnTo>
                    <a:pt x="1026" y="966"/>
                  </a:lnTo>
                  <a:lnTo>
                    <a:pt x="1014" y="966"/>
                  </a:lnTo>
                  <a:lnTo>
                    <a:pt x="996" y="966"/>
                  </a:lnTo>
                  <a:lnTo>
                    <a:pt x="996" y="972"/>
                  </a:lnTo>
                  <a:lnTo>
                    <a:pt x="990" y="972"/>
                  </a:lnTo>
                  <a:lnTo>
                    <a:pt x="984" y="966"/>
                  </a:lnTo>
                  <a:lnTo>
                    <a:pt x="978" y="966"/>
                  </a:lnTo>
                  <a:lnTo>
                    <a:pt x="978" y="960"/>
                  </a:lnTo>
                  <a:lnTo>
                    <a:pt x="972" y="954"/>
                  </a:lnTo>
                  <a:lnTo>
                    <a:pt x="966" y="954"/>
                  </a:lnTo>
                  <a:lnTo>
                    <a:pt x="960" y="954"/>
                  </a:lnTo>
                  <a:lnTo>
                    <a:pt x="954" y="954"/>
                  </a:lnTo>
                  <a:lnTo>
                    <a:pt x="954" y="948"/>
                  </a:lnTo>
                  <a:lnTo>
                    <a:pt x="942" y="942"/>
                  </a:lnTo>
                  <a:lnTo>
                    <a:pt x="936" y="942"/>
                  </a:lnTo>
                  <a:lnTo>
                    <a:pt x="936" y="936"/>
                  </a:lnTo>
                  <a:lnTo>
                    <a:pt x="936" y="930"/>
                  </a:lnTo>
                  <a:lnTo>
                    <a:pt x="942" y="930"/>
                  </a:lnTo>
                  <a:lnTo>
                    <a:pt x="942" y="924"/>
                  </a:lnTo>
                  <a:lnTo>
                    <a:pt x="942" y="918"/>
                  </a:lnTo>
                  <a:lnTo>
                    <a:pt x="948" y="918"/>
                  </a:lnTo>
                  <a:lnTo>
                    <a:pt x="960" y="918"/>
                  </a:lnTo>
                  <a:lnTo>
                    <a:pt x="966" y="912"/>
                  </a:lnTo>
                  <a:lnTo>
                    <a:pt x="978" y="906"/>
                  </a:lnTo>
                  <a:lnTo>
                    <a:pt x="978" y="900"/>
                  </a:lnTo>
                  <a:lnTo>
                    <a:pt x="978" y="894"/>
                  </a:lnTo>
                  <a:lnTo>
                    <a:pt x="978" y="888"/>
                  </a:lnTo>
                  <a:lnTo>
                    <a:pt x="972" y="888"/>
                  </a:lnTo>
                  <a:lnTo>
                    <a:pt x="978" y="888"/>
                  </a:lnTo>
                  <a:lnTo>
                    <a:pt x="978" y="882"/>
                  </a:lnTo>
                  <a:lnTo>
                    <a:pt x="972" y="876"/>
                  </a:lnTo>
                  <a:lnTo>
                    <a:pt x="966" y="870"/>
                  </a:lnTo>
                  <a:lnTo>
                    <a:pt x="954" y="876"/>
                  </a:lnTo>
                  <a:lnTo>
                    <a:pt x="948" y="876"/>
                  </a:lnTo>
                  <a:lnTo>
                    <a:pt x="942" y="870"/>
                  </a:lnTo>
                  <a:lnTo>
                    <a:pt x="936" y="876"/>
                  </a:lnTo>
                  <a:lnTo>
                    <a:pt x="930" y="876"/>
                  </a:lnTo>
                  <a:lnTo>
                    <a:pt x="924" y="882"/>
                  </a:lnTo>
                  <a:lnTo>
                    <a:pt x="912" y="888"/>
                  </a:lnTo>
                  <a:lnTo>
                    <a:pt x="906" y="894"/>
                  </a:lnTo>
                  <a:lnTo>
                    <a:pt x="900" y="900"/>
                  </a:lnTo>
                  <a:lnTo>
                    <a:pt x="894" y="888"/>
                  </a:lnTo>
                  <a:lnTo>
                    <a:pt x="888" y="894"/>
                  </a:lnTo>
                  <a:lnTo>
                    <a:pt x="882" y="888"/>
                  </a:lnTo>
                  <a:lnTo>
                    <a:pt x="876" y="894"/>
                  </a:lnTo>
                  <a:lnTo>
                    <a:pt x="876" y="888"/>
                  </a:lnTo>
                  <a:lnTo>
                    <a:pt x="876" y="882"/>
                  </a:lnTo>
                  <a:lnTo>
                    <a:pt x="876" y="876"/>
                  </a:lnTo>
                  <a:lnTo>
                    <a:pt x="870" y="858"/>
                  </a:lnTo>
                  <a:lnTo>
                    <a:pt x="864" y="858"/>
                  </a:lnTo>
                  <a:lnTo>
                    <a:pt x="870" y="852"/>
                  </a:lnTo>
                  <a:lnTo>
                    <a:pt x="870" y="846"/>
                  </a:lnTo>
                  <a:lnTo>
                    <a:pt x="876" y="846"/>
                  </a:lnTo>
                  <a:lnTo>
                    <a:pt x="882" y="846"/>
                  </a:lnTo>
                  <a:lnTo>
                    <a:pt x="888" y="840"/>
                  </a:lnTo>
                  <a:lnTo>
                    <a:pt x="894" y="834"/>
                  </a:lnTo>
                  <a:lnTo>
                    <a:pt x="894" y="828"/>
                  </a:lnTo>
                  <a:lnTo>
                    <a:pt x="894" y="816"/>
                  </a:lnTo>
                  <a:lnTo>
                    <a:pt x="858" y="810"/>
                  </a:lnTo>
                  <a:lnTo>
                    <a:pt x="858" y="816"/>
                  </a:lnTo>
                  <a:lnTo>
                    <a:pt x="852" y="816"/>
                  </a:lnTo>
                  <a:lnTo>
                    <a:pt x="780" y="816"/>
                  </a:lnTo>
                  <a:lnTo>
                    <a:pt x="750" y="816"/>
                  </a:lnTo>
                  <a:lnTo>
                    <a:pt x="684" y="816"/>
                  </a:lnTo>
                  <a:lnTo>
                    <a:pt x="636" y="816"/>
                  </a:lnTo>
                  <a:lnTo>
                    <a:pt x="612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0" y="816"/>
                  </a:lnTo>
                  <a:lnTo>
                    <a:pt x="480" y="822"/>
                  </a:lnTo>
                  <a:lnTo>
                    <a:pt x="480" y="834"/>
                  </a:lnTo>
                  <a:lnTo>
                    <a:pt x="474" y="840"/>
                  </a:lnTo>
                  <a:lnTo>
                    <a:pt x="468" y="840"/>
                  </a:lnTo>
                  <a:lnTo>
                    <a:pt x="432" y="840"/>
                  </a:lnTo>
                  <a:lnTo>
                    <a:pt x="426" y="834"/>
                  </a:lnTo>
                  <a:lnTo>
                    <a:pt x="420" y="834"/>
                  </a:lnTo>
                  <a:lnTo>
                    <a:pt x="420" y="828"/>
                  </a:lnTo>
                  <a:lnTo>
                    <a:pt x="414" y="822"/>
                  </a:lnTo>
                  <a:lnTo>
                    <a:pt x="408" y="822"/>
                  </a:lnTo>
                  <a:lnTo>
                    <a:pt x="396" y="822"/>
                  </a:lnTo>
                  <a:lnTo>
                    <a:pt x="396" y="816"/>
                  </a:lnTo>
                  <a:lnTo>
                    <a:pt x="384" y="816"/>
                  </a:lnTo>
                  <a:lnTo>
                    <a:pt x="372" y="810"/>
                  </a:lnTo>
                  <a:lnTo>
                    <a:pt x="372" y="804"/>
                  </a:lnTo>
                  <a:lnTo>
                    <a:pt x="366" y="804"/>
                  </a:lnTo>
                  <a:lnTo>
                    <a:pt x="360" y="804"/>
                  </a:lnTo>
                  <a:lnTo>
                    <a:pt x="348" y="828"/>
                  </a:lnTo>
                  <a:lnTo>
                    <a:pt x="348" y="834"/>
                  </a:lnTo>
                  <a:lnTo>
                    <a:pt x="348" y="852"/>
                  </a:lnTo>
                  <a:lnTo>
                    <a:pt x="348" y="858"/>
                  </a:lnTo>
                  <a:lnTo>
                    <a:pt x="342" y="864"/>
                  </a:lnTo>
                  <a:lnTo>
                    <a:pt x="342" y="870"/>
                  </a:lnTo>
                  <a:lnTo>
                    <a:pt x="330" y="876"/>
                  </a:lnTo>
                  <a:lnTo>
                    <a:pt x="324" y="888"/>
                  </a:lnTo>
                  <a:lnTo>
                    <a:pt x="324" y="894"/>
                  </a:lnTo>
                  <a:lnTo>
                    <a:pt x="330" y="900"/>
                  </a:lnTo>
                  <a:lnTo>
                    <a:pt x="330" y="906"/>
                  </a:lnTo>
                  <a:lnTo>
                    <a:pt x="324" y="906"/>
                  </a:lnTo>
                  <a:lnTo>
                    <a:pt x="318" y="912"/>
                  </a:lnTo>
                  <a:lnTo>
                    <a:pt x="312" y="918"/>
                  </a:lnTo>
                  <a:lnTo>
                    <a:pt x="306" y="924"/>
                  </a:lnTo>
                  <a:lnTo>
                    <a:pt x="288" y="924"/>
                  </a:lnTo>
                  <a:lnTo>
                    <a:pt x="282" y="924"/>
                  </a:lnTo>
                  <a:lnTo>
                    <a:pt x="276" y="930"/>
                  </a:lnTo>
                  <a:lnTo>
                    <a:pt x="270" y="930"/>
                  </a:lnTo>
                  <a:lnTo>
                    <a:pt x="264" y="930"/>
                  </a:lnTo>
                  <a:lnTo>
                    <a:pt x="198" y="930"/>
                  </a:lnTo>
                  <a:lnTo>
                    <a:pt x="132" y="930"/>
                  </a:lnTo>
                  <a:lnTo>
                    <a:pt x="132" y="936"/>
                  </a:lnTo>
                  <a:lnTo>
                    <a:pt x="132" y="942"/>
                  </a:lnTo>
                  <a:lnTo>
                    <a:pt x="132" y="948"/>
                  </a:lnTo>
                  <a:lnTo>
                    <a:pt x="126" y="948"/>
                  </a:lnTo>
                  <a:lnTo>
                    <a:pt x="120" y="948"/>
                  </a:lnTo>
                  <a:lnTo>
                    <a:pt x="120" y="954"/>
                  </a:lnTo>
                  <a:lnTo>
                    <a:pt x="114" y="954"/>
                  </a:lnTo>
                  <a:lnTo>
                    <a:pt x="114" y="960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02" y="966"/>
                  </a:lnTo>
                  <a:lnTo>
                    <a:pt x="102" y="972"/>
                  </a:lnTo>
                  <a:lnTo>
                    <a:pt x="96" y="972"/>
                  </a:lnTo>
                  <a:lnTo>
                    <a:pt x="96" y="966"/>
                  </a:lnTo>
                  <a:lnTo>
                    <a:pt x="90" y="966"/>
                  </a:lnTo>
                  <a:lnTo>
                    <a:pt x="84" y="966"/>
                  </a:lnTo>
                  <a:lnTo>
                    <a:pt x="78" y="960"/>
                  </a:lnTo>
                  <a:lnTo>
                    <a:pt x="72" y="960"/>
                  </a:lnTo>
                  <a:lnTo>
                    <a:pt x="66" y="960"/>
                  </a:lnTo>
                  <a:lnTo>
                    <a:pt x="60" y="960"/>
                  </a:lnTo>
                  <a:lnTo>
                    <a:pt x="54" y="966"/>
                  </a:lnTo>
                  <a:lnTo>
                    <a:pt x="48" y="966"/>
                  </a:lnTo>
                  <a:lnTo>
                    <a:pt x="42" y="966"/>
                  </a:lnTo>
                  <a:lnTo>
                    <a:pt x="36" y="966"/>
                  </a:lnTo>
                  <a:lnTo>
                    <a:pt x="30" y="966"/>
                  </a:lnTo>
                  <a:lnTo>
                    <a:pt x="24" y="960"/>
                  </a:lnTo>
                  <a:lnTo>
                    <a:pt x="18" y="960"/>
                  </a:lnTo>
                  <a:lnTo>
                    <a:pt x="12" y="960"/>
                  </a:lnTo>
                  <a:lnTo>
                    <a:pt x="12" y="948"/>
                  </a:lnTo>
                  <a:lnTo>
                    <a:pt x="18" y="942"/>
                  </a:lnTo>
                  <a:lnTo>
                    <a:pt x="18" y="936"/>
                  </a:lnTo>
                  <a:lnTo>
                    <a:pt x="18" y="930"/>
                  </a:lnTo>
                  <a:lnTo>
                    <a:pt x="18" y="924"/>
                  </a:lnTo>
                  <a:lnTo>
                    <a:pt x="18" y="912"/>
                  </a:lnTo>
                  <a:lnTo>
                    <a:pt x="24" y="906"/>
                  </a:lnTo>
                  <a:lnTo>
                    <a:pt x="30" y="900"/>
                  </a:lnTo>
                  <a:lnTo>
                    <a:pt x="36" y="894"/>
                  </a:lnTo>
                  <a:lnTo>
                    <a:pt x="36" y="882"/>
                  </a:lnTo>
                  <a:lnTo>
                    <a:pt x="30" y="876"/>
                  </a:lnTo>
                  <a:lnTo>
                    <a:pt x="30" y="870"/>
                  </a:lnTo>
                  <a:lnTo>
                    <a:pt x="24" y="858"/>
                  </a:lnTo>
                  <a:lnTo>
                    <a:pt x="24" y="846"/>
                  </a:lnTo>
                  <a:lnTo>
                    <a:pt x="36" y="822"/>
                  </a:lnTo>
                  <a:lnTo>
                    <a:pt x="42" y="816"/>
                  </a:lnTo>
                  <a:lnTo>
                    <a:pt x="48" y="816"/>
                  </a:lnTo>
                  <a:lnTo>
                    <a:pt x="60" y="804"/>
                  </a:lnTo>
                  <a:lnTo>
                    <a:pt x="60" y="786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54" y="762"/>
                  </a:lnTo>
                  <a:lnTo>
                    <a:pt x="42" y="762"/>
                  </a:lnTo>
                  <a:lnTo>
                    <a:pt x="36" y="762"/>
                  </a:lnTo>
                  <a:lnTo>
                    <a:pt x="30" y="762"/>
                  </a:lnTo>
                  <a:lnTo>
                    <a:pt x="30" y="756"/>
                  </a:lnTo>
                  <a:lnTo>
                    <a:pt x="24" y="750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702"/>
                  </a:lnTo>
                  <a:lnTo>
                    <a:pt x="36" y="684"/>
                  </a:lnTo>
                  <a:lnTo>
                    <a:pt x="36" y="678"/>
                  </a:lnTo>
                  <a:lnTo>
                    <a:pt x="36" y="666"/>
                  </a:lnTo>
                  <a:lnTo>
                    <a:pt x="36" y="654"/>
                  </a:lnTo>
                  <a:lnTo>
                    <a:pt x="18" y="654"/>
                  </a:lnTo>
                  <a:lnTo>
                    <a:pt x="18" y="648"/>
                  </a:lnTo>
                  <a:lnTo>
                    <a:pt x="18" y="618"/>
                  </a:lnTo>
                  <a:lnTo>
                    <a:pt x="18" y="612"/>
                  </a:lnTo>
                  <a:lnTo>
                    <a:pt x="24" y="612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54" y="588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76"/>
                  </a:lnTo>
                  <a:lnTo>
                    <a:pt x="48" y="564"/>
                  </a:lnTo>
                  <a:lnTo>
                    <a:pt x="42" y="564"/>
                  </a:lnTo>
                  <a:lnTo>
                    <a:pt x="36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6" y="540"/>
                  </a:lnTo>
                  <a:lnTo>
                    <a:pt x="48" y="534"/>
                  </a:lnTo>
                  <a:lnTo>
                    <a:pt x="54" y="528"/>
                  </a:lnTo>
                  <a:lnTo>
                    <a:pt x="60" y="504"/>
                  </a:lnTo>
                  <a:lnTo>
                    <a:pt x="60" y="492"/>
                  </a:lnTo>
                  <a:lnTo>
                    <a:pt x="54" y="492"/>
                  </a:lnTo>
                  <a:lnTo>
                    <a:pt x="54" y="480"/>
                  </a:lnTo>
                  <a:lnTo>
                    <a:pt x="48" y="456"/>
                  </a:lnTo>
                  <a:lnTo>
                    <a:pt x="42" y="450"/>
                  </a:lnTo>
                  <a:lnTo>
                    <a:pt x="36" y="444"/>
                  </a:lnTo>
                  <a:lnTo>
                    <a:pt x="36" y="420"/>
                  </a:lnTo>
                  <a:lnTo>
                    <a:pt x="36" y="408"/>
                  </a:lnTo>
                  <a:lnTo>
                    <a:pt x="36" y="37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60" y="342"/>
                  </a:lnTo>
                  <a:lnTo>
                    <a:pt x="66" y="336"/>
                  </a:lnTo>
                  <a:lnTo>
                    <a:pt x="66" y="330"/>
                  </a:lnTo>
                  <a:lnTo>
                    <a:pt x="66" y="300"/>
                  </a:lnTo>
                  <a:lnTo>
                    <a:pt x="60" y="294"/>
                  </a:lnTo>
                  <a:lnTo>
                    <a:pt x="60" y="288"/>
                  </a:lnTo>
                  <a:lnTo>
                    <a:pt x="54" y="282"/>
                  </a:lnTo>
                  <a:lnTo>
                    <a:pt x="42" y="276"/>
                  </a:lnTo>
                  <a:lnTo>
                    <a:pt x="36" y="276"/>
                  </a:lnTo>
                  <a:lnTo>
                    <a:pt x="36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0" y="252"/>
                  </a:lnTo>
                  <a:lnTo>
                    <a:pt x="24" y="246"/>
                  </a:lnTo>
                  <a:lnTo>
                    <a:pt x="24" y="240"/>
                  </a:lnTo>
                  <a:lnTo>
                    <a:pt x="24" y="228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62"/>
                  </a:lnTo>
                  <a:lnTo>
                    <a:pt x="24" y="144"/>
                  </a:lnTo>
                  <a:lnTo>
                    <a:pt x="24" y="132"/>
                  </a:lnTo>
                  <a:lnTo>
                    <a:pt x="24" y="114"/>
                  </a:lnTo>
                  <a:lnTo>
                    <a:pt x="24" y="102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78"/>
                  </a:lnTo>
                  <a:lnTo>
                    <a:pt x="6" y="72"/>
                  </a:lnTo>
                  <a:lnTo>
                    <a:pt x="0" y="60"/>
                  </a:lnTo>
                  <a:lnTo>
                    <a:pt x="18" y="48"/>
                  </a:lnTo>
                  <a:lnTo>
                    <a:pt x="42" y="36"/>
                  </a:lnTo>
                  <a:lnTo>
                    <a:pt x="54" y="24"/>
                  </a:lnTo>
                  <a:lnTo>
                    <a:pt x="60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102" y="12"/>
                  </a:lnTo>
                  <a:lnTo>
                    <a:pt x="138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20" y="30"/>
                  </a:lnTo>
                  <a:lnTo>
                    <a:pt x="114" y="60"/>
                  </a:lnTo>
                  <a:lnTo>
                    <a:pt x="120" y="60"/>
                  </a:lnTo>
                  <a:lnTo>
                    <a:pt x="114" y="84"/>
                  </a:lnTo>
                  <a:lnTo>
                    <a:pt x="120" y="90"/>
                  </a:lnTo>
                  <a:lnTo>
                    <a:pt x="126" y="96"/>
                  </a:lnTo>
                  <a:lnTo>
                    <a:pt x="132" y="96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38" y="114"/>
                  </a:lnTo>
                  <a:lnTo>
                    <a:pt x="138" y="132"/>
                  </a:lnTo>
                  <a:lnTo>
                    <a:pt x="162" y="126"/>
                  </a:lnTo>
                  <a:lnTo>
                    <a:pt x="162" y="114"/>
                  </a:lnTo>
                  <a:lnTo>
                    <a:pt x="174" y="108"/>
                  </a:lnTo>
                  <a:lnTo>
                    <a:pt x="174" y="102"/>
                  </a:lnTo>
                  <a:lnTo>
                    <a:pt x="180" y="96"/>
                  </a:lnTo>
                  <a:lnTo>
                    <a:pt x="180" y="60"/>
                  </a:lnTo>
                  <a:lnTo>
                    <a:pt x="192" y="60"/>
                  </a:lnTo>
                  <a:lnTo>
                    <a:pt x="192" y="72"/>
                  </a:lnTo>
                  <a:lnTo>
                    <a:pt x="198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96"/>
                  </a:lnTo>
                  <a:lnTo>
                    <a:pt x="204" y="102"/>
                  </a:lnTo>
                  <a:lnTo>
                    <a:pt x="204" y="108"/>
                  </a:lnTo>
                  <a:lnTo>
                    <a:pt x="204" y="114"/>
                  </a:lnTo>
                  <a:lnTo>
                    <a:pt x="204" y="120"/>
                  </a:lnTo>
                  <a:lnTo>
                    <a:pt x="204" y="126"/>
                  </a:lnTo>
                  <a:lnTo>
                    <a:pt x="210" y="126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8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8" y="174"/>
                  </a:lnTo>
                  <a:lnTo>
                    <a:pt x="198" y="180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86" y="204"/>
                  </a:lnTo>
                  <a:lnTo>
                    <a:pt x="186" y="210"/>
                  </a:lnTo>
                  <a:lnTo>
                    <a:pt x="180" y="210"/>
                  </a:lnTo>
                  <a:lnTo>
                    <a:pt x="180" y="216"/>
                  </a:lnTo>
                  <a:lnTo>
                    <a:pt x="180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92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8" y="258"/>
                  </a:lnTo>
                  <a:lnTo>
                    <a:pt x="204" y="258"/>
                  </a:lnTo>
                  <a:lnTo>
                    <a:pt x="210" y="258"/>
                  </a:lnTo>
                  <a:lnTo>
                    <a:pt x="216" y="258"/>
                  </a:lnTo>
                  <a:lnTo>
                    <a:pt x="228" y="270"/>
                  </a:lnTo>
                  <a:lnTo>
                    <a:pt x="228" y="276"/>
                  </a:lnTo>
                  <a:lnTo>
                    <a:pt x="234" y="276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46" y="306"/>
                  </a:lnTo>
                  <a:lnTo>
                    <a:pt x="252" y="318"/>
                  </a:lnTo>
                  <a:lnTo>
                    <a:pt x="258" y="324"/>
                  </a:lnTo>
                  <a:lnTo>
                    <a:pt x="258" y="330"/>
                  </a:lnTo>
                  <a:lnTo>
                    <a:pt x="258" y="342"/>
                  </a:lnTo>
                  <a:lnTo>
                    <a:pt x="270" y="342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88" y="366"/>
                  </a:lnTo>
                  <a:lnTo>
                    <a:pt x="336" y="360"/>
                  </a:lnTo>
                  <a:lnTo>
                    <a:pt x="354" y="360"/>
                  </a:lnTo>
                  <a:lnTo>
                    <a:pt x="366" y="372"/>
                  </a:lnTo>
                  <a:lnTo>
                    <a:pt x="378" y="378"/>
                  </a:lnTo>
                  <a:lnTo>
                    <a:pt x="378" y="390"/>
                  </a:lnTo>
                  <a:lnTo>
                    <a:pt x="384" y="390"/>
                  </a:lnTo>
                  <a:lnTo>
                    <a:pt x="390" y="396"/>
                  </a:lnTo>
                  <a:lnTo>
                    <a:pt x="408" y="390"/>
                  </a:lnTo>
                  <a:lnTo>
                    <a:pt x="426" y="366"/>
                  </a:lnTo>
                  <a:lnTo>
                    <a:pt x="432" y="360"/>
                  </a:lnTo>
                  <a:lnTo>
                    <a:pt x="438" y="348"/>
                  </a:lnTo>
                  <a:lnTo>
                    <a:pt x="438" y="342"/>
                  </a:lnTo>
                  <a:lnTo>
                    <a:pt x="438" y="330"/>
                  </a:lnTo>
                  <a:lnTo>
                    <a:pt x="444" y="324"/>
                  </a:lnTo>
                  <a:lnTo>
                    <a:pt x="450" y="318"/>
                  </a:lnTo>
                  <a:lnTo>
                    <a:pt x="456" y="312"/>
                  </a:lnTo>
                  <a:lnTo>
                    <a:pt x="456" y="306"/>
                  </a:lnTo>
                  <a:lnTo>
                    <a:pt x="456" y="300"/>
                  </a:lnTo>
                  <a:lnTo>
                    <a:pt x="474" y="288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92" y="294"/>
                  </a:lnTo>
                  <a:lnTo>
                    <a:pt x="492" y="318"/>
                  </a:lnTo>
                  <a:lnTo>
                    <a:pt x="504" y="324"/>
                  </a:lnTo>
                  <a:lnTo>
                    <a:pt x="492" y="348"/>
                  </a:lnTo>
                  <a:lnTo>
                    <a:pt x="522" y="348"/>
                  </a:lnTo>
                  <a:lnTo>
                    <a:pt x="528" y="342"/>
                  </a:lnTo>
                  <a:lnTo>
                    <a:pt x="528" y="336"/>
                  </a:lnTo>
                  <a:lnTo>
                    <a:pt x="528" y="330"/>
                  </a:lnTo>
                  <a:lnTo>
                    <a:pt x="534" y="330"/>
                  </a:lnTo>
                  <a:lnTo>
                    <a:pt x="540" y="330"/>
                  </a:lnTo>
                  <a:lnTo>
                    <a:pt x="546" y="330"/>
                  </a:lnTo>
                  <a:lnTo>
                    <a:pt x="552" y="324"/>
                  </a:lnTo>
                  <a:lnTo>
                    <a:pt x="558" y="318"/>
                  </a:lnTo>
                  <a:lnTo>
                    <a:pt x="576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8" y="348"/>
                  </a:lnTo>
                  <a:lnTo>
                    <a:pt x="654" y="354"/>
                  </a:lnTo>
                  <a:lnTo>
                    <a:pt x="648" y="402"/>
                  </a:lnTo>
                  <a:lnTo>
                    <a:pt x="678" y="402"/>
                  </a:lnTo>
                  <a:lnTo>
                    <a:pt x="678" y="420"/>
                  </a:lnTo>
                  <a:lnTo>
                    <a:pt x="684" y="438"/>
                  </a:lnTo>
                  <a:lnTo>
                    <a:pt x="684" y="450"/>
                  </a:lnTo>
                  <a:lnTo>
                    <a:pt x="684" y="456"/>
                  </a:lnTo>
                  <a:lnTo>
                    <a:pt x="690" y="468"/>
                  </a:lnTo>
                  <a:lnTo>
                    <a:pt x="690" y="474"/>
                  </a:lnTo>
                  <a:lnTo>
                    <a:pt x="690" y="480"/>
                  </a:lnTo>
                  <a:lnTo>
                    <a:pt x="696" y="486"/>
                  </a:lnTo>
                  <a:lnTo>
                    <a:pt x="696" y="498"/>
                  </a:lnTo>
                  <a:lnTo>
                    <a:pt x="702" y="504"/>
                  </a:lnTo>
                  <a:lnTo>
                    <a:pt x="690" y="516"/>
                  </a:lnTo>
                  <a:lnTo>
                    <a:pt x="678" y="522"/>
                  </a:lnTo>
                  <a:lnTo>
                    <a:pt x="654" y="528"/>
                  </a:lnTo>
                  <a:lnTo>
                    <a:pt x="660" y="546"/>
                  </a:lnTo>
                  <a:lnTo>
                    <a:pt x="672" y="546"/>
                  </a:lnTo>
                  <a:lnTo>
                    <a:pt x="678" y="540"/>
                  </a:lnTo>
                  <a:lnTo>
                    <a:pt x="714" y="540"/>
                  </a:lnTo>
                  <a:lnTo>
                    <a:pt x="798" y="540"/>
                  </a:lnTo>
                  <a:lnTo>
                    <a:pt x="804" y="540"/>
                  </a:lnTo>
                  <a:lnTo>
                    <a:pt x="816" y="528"/>
                  </a:lnTo>
                  <a:lnTo>
                    <a:pt x="822" y="522"/>
                  </a:lnTo>
                  <a:lnTo>
                    <a:pt x="834" y="516"/>
                  </a:lnTo>
                  <a:lnTo>
                    <a:pt x="846" y="516"/>
                  </a:lnTo>
                  <a:lnTo>
                    <a:pt x="852" y="510"/>
                  </a:lnTo>
                  <a:lnTo>
                    <a:pt x="858" y="510"/>
                  </a:lnTo>
                  <a:lnTo>
                    <a:pt x="882" y="516"/>
                  </a:lnTo>
                  <a:lnTo>
                    <a:pt x="888" y="516"/>
                  </a:lnTo>
                  <a:lnTo>
                    <a:pt x="888" y="510"/>
                  </a:lnTo>
                  <a:lnTo>
                    <a:pt x="894" y="510"/>
                  </a:lnTo>
                  <a:lnTo>
                    <a:pt x="906" y="504"/>
                  </a:lnTo>
                  <a:lnTo>
                    <a:pt x="918" y="498"/>
                  </a:lnTo>
                  <a:lnTo>
                    <a:pt x="930" y="492"/>
                  </a:lnTo>
                  <a:lnTo>
                    <a:pt x="936" y="492"/>
                  </a:lnTo>
                  <a:lnTo>
                    <a:pt x="948" y="492"/>
                  </a:lnTo>
                  <a:lnTo>
                    <a:pt x="954" y="528"/>
                  </a:lnTo>
                  <a:lnTo>
                    <a:pt x="954" y="564"/>
                  </a:lnTo>
                  <a:lnTo>
                    <a:pt x="972" y="564"/>
                  </a:lnTo>
                  <a:lnTo>
                    <a:pt x="978" y="558"/>
                  </a:lnTo>
                  <a:lnTo>
                    <a:pt x="990" y="552"/>
                  </a:lnTo>
                  <a:lnTo>
                    <a:pt x="1002" y="540"/>
                  </a:lnTo>
                  <a:lnTo>
                    <a:pt x="1026" y="534"/>
                  </a:lnTo>
                  <a:lnTo>
                    <a:pt x="1032" y="540"/>
                  </a:lnTo>
                  <a:lnTo>
                    <a:pt x="1044" y="546"/>
                  </a:lnTo>
                  <a:lnTo>
                    <a:pt x="1062" y="552"/>
                  </a:lnTo>
                  <a:lnTo>
                    <a:pt x="1068" y="552"/>
                  </a:lnTo>
                  <a:lnTo>
                    <a:pt x="1068" y="570"/>
                  </a:lnTo>
                  <a:lnTo>
                    <a:pt x="1068" y="576"/>
                  </a:lnTo>
                  <a:lnTo>
                    <a:pt x="1068" y="582"/>
                  </a:lnTo>
                  <a:lnTo>
                    <a:pt x="1068" y="588"/>
                  </a:lnTo>
                  <a:lnTo>
                    <a:pt x="1068" y="594"/>
                  </a:lnTo>
                  <a:lnTo>
                    <a:pt x="1080" y="600"/>
                  </a:lnTo>
                  <a:lnTo>
                    <a:pt x="1086" y="606"/>
                  </a:lnTo>
                  <a:lnTo>
                    <a:pt x="1092" y="594"/>
                  </a:lnTo>
                  <a:lnTo>
                    <a:pt x="1104" y="588"/>
                  </a:lnTo>
                  <a:lnTo>
                    <a:pt x="1116" y="588"/>
                  </a:lnTo>
                  <a:lnTo>
                    <a:pt x="1122" y="588"/>
                  </a:lnTo>
                  <a:lnTo>
                    <a:pt x="1122" y="594"/>
                  </a:lnTo>
                  <a:lnTo>
                    <a:pt x="1128" y="594"/>
                  </a:lnTo>
                  <a:lnTo>
                    <a:pt x="1134" y="594"/>
                  </a:lnTo>
                  <a:lnTo>
                    <a:pt x="1140" y="594"/>
                  </a:lnTo>
                  <a:lnTo>
                    <a:pt x="1146" y="588"/>
                  </a:lnTo>
                  <a:lnTo>
                    <a:pt x="1158" y="582"/>
                  </a:lnTo>
                  <a:lnTo>
                    <a:pt x="1164" y="576"/>
                  </a:lnTo>
                  <a:lnTo>
                    <a:pt x="1176" y="576"/>
                  </a:lnTo>
                  <a:lnTo>
                    <a:pt x="1194" y="576"/>
                  </a:lnTo>
                  <a:lnTo>
                    <a:pt x="1218" y="576"/>
                  </a:lnTo>
                  <a:lnTo>
                    <a:pt x="1224" y="582"/>
                  </a:lnTo>
                  <a:lnTo>
                    <a:pt x="1224" y="588"/>
                  </a:lnTo>
                  <a:lnTo>
                    <a:pt x="1224" y="594"/>
                  </a:lnTo>
                  <a:lnTo>
                    <a:pt x="1212" y="600"/>
                  </a:lnTo>
                  <a:lnTo>
                    <a:pt x="1206" y="606"/>
                  </a:lnTo>
                  <a:lnTo>
                    <a:pt x="1200" y="606"/>
                  </a:lnTo>
                  <a:lnTo>
                    <a:pt x="1200" y="612"/>
                  </a:lnTo>
                  <a:lnTo>
                    <a:pt x="1194" y="612"/>
                  </a:lnTo>
                  <a:lnTo>
                    <a:pt x="1194" y="618"/>
                  </a:lnTo>
                  <a:lnTo>
                    <a:pt x="1194" y="624"/>
                  </a:lnTo>
                  <a:lnTo>
                    <a:pt x="1194" y="630"/>
                  </a:lnTo>
                  <a:lnTo>
                    <a:pt x="1194" y="648"/>
                  </a:lnTo>
                  <a:lnTo>
                    <a:pt x="1194" y="660"/>
                  </a:lnTo>
                  <a:lnTo>
                    <a:pt x="1194" y="666"/>
                  </a:lnTo>
                  <a:lnTo>
                    <a:pt x="1194" y="672"/>
                  </a:lnTo>
                  <a:lnTo>
                    <a:pt x="1194" y="678"/>
                  </a:lnTo>
                  <a:lnTo>
                    <a:pt x="1188" y="684"/>
                  </a:lnTo>
                  <a:lnTo>
                    <a:pt x="1188" y="690"/>
                  </a:lnTo>
                  <a:lnTo>
                    <a:pt x="1188" y="696"/>
                  </a:lnTo>
                  <a:lnTo>
                    <a:pt x="1188" y="702"/>
                  </a:lnTo>
                  <a:lnTo>
                    <a:pt x="1188" y="708"/>
                  </a:lnTo>
                  <a:lnTo>
                    <a:pt x="1188" y="714"/>
                  </a:lnTo>
                  <a:lnTo>
                    <a:pt x="1182" y="720"/>
                  </a:lnTo>
                  <a:lnTo>
                    <a:pt x="1170" y="720"/>
                  </a:lnTo>
                  <a:lnTo>
                    <a:pt x="1158" y="726"/>
                  </a:lnTo>
                  <a:lnTo>
                    <a:pt x="1152" y="726"/>
                  </a:lnTo>
                  <a:lnTo>
                    <a:pt x="1152" y="732"/>
                  </a:lnTo>
                  <a:lnTo>
                    <a:pt x="1146" y="738"/>
                  </a:lnTo>
                  <a:lnTo>
                    <a:pt x="1140" y="738"/>
                  </a:lnTo>
                  <a:lnTo>
                    <a:pt x="1140" y="744"/>
                  </a:lnTo>
                  <a:lnTo>
                    <a:pt x="1134" y="744"/>
                  </a:lnTo>
                  <a:lnTo>
                    <a:pt x="1128" y="744"/>
                  </a:lnTo>
                  <a:lnTo>
                    <a:pt x="1122" y="750"/>
                  </a:lnTo>
                  <a:lnTo>
                    <a:pt x="1128" y="750"/>
                  </a:lnTo>
                  <a:lnTo>
                    <a:pt x="1122" y="756"/>
                  </a:lnTo>
                  <a:lnTo>
                    <a:pt x="1116" y="756"/>
                  </a:lnTo>
                  <a:lnTo>
                    <a:pt x="1110" y="762"/>
                  </a:lnTo>
                  <a:lnTo>
                    <a:pt x="1104" y="762"/>
                  </a:lnTo>
                  <a:lnTo>
                    <a:pt x="1104" y="768"/>
                  </a:lnTo>
                  <a:lnTo>
                    <a:pt x="1098" y="768"/>
                  </a:lnTo>
                  <a:lnTo>
                    <a:pt x="1098" y="774"/>
                  </a:lnTo>
                  <a:lnTo>
                    <a:pt x="1092" y="774"/>
                  </a:lnTo>
                  <a:lnTo>
                    <a:pt x="1092" y="780"/>
                  </a:lnTo>
                  <a:lnTo>
                    <a:pt x="1086" y="780"/>
                  </a:lnTo>
                  <a:lnTo>
                    <a:pt x="1086" y="786"/>
                  </a:lnTo>
                  <a:lnTo>
                    <a:pt x="1080" y="786"/>
                  </a:lnTo>
                  <a:lnTo>
                    <a:pt x="1080" y="792"/>
                  </a:lnTo>
                  <a:lnTo>
                    <a:pt x="1080" y="798"/>
                  </a:lnTo>
                  <a:lnTo>
                    <a:pt x="1080" y="804"/>
                  </a:lnTo>
                  <a:lnTo>
                    <a:pt x="1086" y="810"/>
                  </a:lnTo>
                  <a:lnTo>
                    <a:pt x="1080" y="816"/>
                  </a:lnTo>
                  <a:lnTo>
                    <a:pt x="1080" y="822"/>
                  </a:lnTo>
                  <a:lnTo>
                    <a:pt x="1074" y="822"/>
                  </a:lnTo>
                  <a:lnTo>
                    <a:pt x="1068" y="828"/>
                  </a:lnTo>
                  <a:lnTo>
                    <a:pt x="1074" y="828"/>
                  </a:lnTo>
                  <a:lnTo>
                    <a:pt x="1074" y="834"/>
                  </a:lnTo>
                  <a:lnTo>
                    <a:pt x="1080" y="846"/>
                  </a:lnTo>
                  <a:lnTo>
                    <a:pt x="1086" y="846"/>
                  </a:lnTo>
                  <a:lnTo>
                    <a:pt x="1092" y="852"/>
                  </a:lnTo>
                  <a:lnTo>
                    <a:pt x="1092" y="858"/>
                  </a:lnTo>
                  <a:lnTo>
                    <a:pt x="1098" y="858"/>
                  </a:lnTo>
                  <a:lnTo>
                    <a:pt x="1110" y="864"/>
                  </a:lnTo>
                  <a:lnTo>
                    <a:pt x="1116" y="864"/>
                  </a:lnTo>
                  <a:lnTo>
                    <a:pt x="1122" y="864"/>
                  </a:lnTo>
                  <a:lnTo>
                    <a:pt x="1128" y="864"/>
                  </a:lnTo>
                  <a:lnTo>
                    <a:pt x="1134" y="876"/>
                  </a:lnTo>
                  <a:lnTo>
                    <a:pt x="1140" y="882"/>
                  </a:lnTo>
                  <a:lnTo>
                    <a:pt x="1140" y="888"/>
                  </a:lnTo>
                  <a:lnTo>
                    <a:pt x="1152" y="918"/>
                  </a:lnTo>
                  <a:lnTo>
                    <a:pt x="1158" y="894"/>
                  </a:lnTo>
                  <a:lnTo>
                    <a:pt x="1164" y="888"/>
                  </a:lnTo>
                  <a:lnTo>
                    <a:pt x="1164" y="882"/>
                  </a:lnTo>
                  <a:lnTo>
                    <a:pt x="1176" y="864"/>
                  </a:lnTo>
                  <a:lnTo>
                    <a:pt x="1182" y="858"/>
                  </a:lnTo>
                  <a:lnTo>
                    <a:pt x="1188" y="846"/>
                  </a:lnTo>
                  <a:lnTo>
                    <a:pt x="1200" y="840"/>
                  </a:lnTo>
                  <a:lnTo>
                    <a:pt x="1212" y="840"/>
                  </a:lnTo>
                  <a:lnTo>
                    <a:pt x="1218" y="846"/>
                  </a:lnTo>
                  <a:lnTo>
                    <a:pt x="1224" y="858"/>
                  </a:lnTo>
                  <a:lnTo>
                    <a:pt x="1224" y="864"/>
                  </a:lnTo>
                  <a:lnTo>
                    <a:pt x="1224" y="876"/>
                  </a:lnTo>
                  <a:lnTo>
                    <a:pt x="1212" y="912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00" y="930"/>
                  </a:lnTo>
                  <a:lnTo>
                    <a:pt x="1200" y="942"/>
                  </a:lnTo>
                  <a:lnTo>
                    <a:pt x="1194" y="948"/>
                  </a:lnTo>
                  <a:lnTo>
                    <a:pt x="1194" y="960"/>
                  </a:lnTo>
                  <a:lnTo>
                    <a:pt x="1194" y="966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70" y="984"/>
                  </a:lnTo>
                  <a:lnTo>
                    <a:pt x="1164" y="984"/>
                  </a:lnTo>
                  <a:lnTo>
                    <a:pt x="1158" y="984"/>
                  </a:lnTo>
                  <a:lnTo>
                    <a:pt x="1146" y="984"/>
                  </a:lnTo>
                  <a:lnTo>
                    <a:pt x="1140" y="990"/>
                  </a:lnTo>
                  <a:lnTo>
                    <a:pt x="1140" y="996"/>
                  </a:lnTo>
                  <a:lnTo>
                    <a:pt x="1152" y="996"/>
                  </a:lnTo>
                  <a:lnTo>
                    <a:pt x="1176" y="1002"/>
                  </a:lnTo>
                  <a:lnTo>
                    <a:pt x="1194" y="1008"/>
                  </a:lnTo>
                  <a:lnTo>
                    <a:pt x="1206" y="1008"/>
                  </a:lnTo>
                  <a:lnTo>
                    <a:pt x="1218" y="1014"/>
                  </a:lnTo>
                  <a:lnTo>
                    <a:pt x="1212" y="1038"/>
                  </a:lnTo>
                  <a:lnTo>
                    <a:pt x="1212" y="1044"/>
                  </a:lnTo>
                  <a:lnTo>
                    <a:pt x="1206" y="1044"/>
                  </a:lnTo>
                  <a:lnTo>
                    <a:pt x="1206" y="1050"/>
                  </a:lnTo>
                  <a:lnTo>
                    <a:pt x="1194" y="1050"/>
                  </a:lnTo>
                  <a:lnTo>
                    <a:pt x="1188" y="1044"/>
                  </a:lnTo>
                  <a:lnTo>
                    <a:pt x="1158" y="1020"/>
                  </a:lnTo>
                  <a:lnTo>
                    <a:pt x="1152" y="1020"/>
                  </a:lnTo>
                  <a:lnTo>
                    <a:pt x="1140" y="1020"/>
                  </a:lnTo>
                  <a:lnTo>
                    <a:pt x="1134" y="1020"/>
                  </a:lnTo>
                  <a:lnTo>
                    <a:pt x="1134" y="1026"/>
                  </a:lnTo>
                  <a:lnTo>
                    <a:pt x="1134" y="1032"/>
                  </a:lnTo>
                  <a:lnTo>
                    <a:pt x="1128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2" name="Freeform 27">
              <a:extLst>
                <a:ext uri="{FF2B5EF4-FFF2-40B4-BE49-F238E27FC236}">
                  <a16:creationId xmlns:a16="http://schemas.microsoft.com/office/drawing/2014/main" id="{CE95C9DF-B651-4085-946F-65424BC5166E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2063" y="3421400"/>
              <a:ext cx="342138" cy="377969"/>
            </a:xfrm>
            <a:custGeom>
              <a:avLst/>
              <a:gdLst>
                <a:gd name="T0" fmla="*/ 43 w 642"/>
                <a:gd name="T1" fmla="*/ 41 h 708"/>
                <a:gd name="T2" fmla="*/ 39 w 642"/>
                <a:gd name="T3" fmla="*/ 41 h 708"/>
                <a:gd name="T4" fmla="*/ 38 w 642"/>
                <a:gd name="T5" fmla="*/ 47 h 708"/>
                <a:gd name="T6" fmla="*/ 38 w 642"/>
                <a:gd name="T7" fmla="*/ 49 h 708"/>
                <a:gd name="T8" fmla="*/ 38 w 642"/>
                <a:gd name="T9" fmla="*/ 50 h 708"/>
                <a:gd name="T10" fmla="*/ 36 w 642"/>
                <a:gd name="T11" fmla="*/ 52 h 708"/>
                <a:gd name="T12" fmla="*/ 35 w 642"/>
                <a:gd name="T13" fmla="*/ 53 h 708"/>
                <a:gd name="T14" fmla="*/ 33 w 642"/>
                <a:gd name="T15" fmla="*/ 55 h 708"/>
                <a:gd name="T16" fmla="*/ 32 w 642"/>
                <a:gd name="T17" fmla="*/ 56 h 708"/>
                <a:gd name="T18" fmla="*/ 31 w 642"/>
                <a:gd name="T19" fmla="*/ 59 h 708"/>
                <a:gd name="T20" fmla="*/ 26 w 642"/>
                <a:gd name="T21" fmla="*/ 59 h 708"/>
                <a:gd name="T22" fmla="*/ 23 w 642"/>
                <a:gd name="T23" fmla="*/ 61 h 708"/>
                <a:gd name="T24" fmla="*/ 20 w 642"/>
                <a:gd name="T25" fmla="*/ 61 h 708"/>
                <a:gd name="T26" fmla="*/ 17 w 642"/>
                <a:gd name="T27" fmla="*/ 59 h 708"/>
                <a:gd name="T28" fmla="*/ 15 w 642"/>
                <a:gd name="T29" fmla="*/ 56 h 708"/>
                <a:gd name="T30" fmla="*/ 9 w 642"/>
                <a:gd name="T31" fmla="*/ 58 h 708"/>
                <a:gd name="T32" fmla="*/ 6 w 642"/>
                <a:gd name="T33" fmla="*/ 52 h 708"/>
                <a:gd name="T34" fmla="*/ 2 w 642"/>
                <a:gd name="T35" fmla="*/ 53 h 708"/>
                <a:gd name="T36" fmla="*/ 1 w 642"/>
                <a:gd name="T37" fmla="*/ 51 h 708"/>
                <a:gd name="T38" fmla="*/ 4 w 642"/>
                <a:gd name="T39" fmla="*/ 47 h 708"/>
                <a:gd name="T40" fmla="*/ 5 w 642"/>
                <a:gd name="T41" fmla="*/ 41 h 708"/>
                <a:gd name="T42" fmla="*/ 5 w 642"/>
                <a:gd name="T43" fmla="*/ 38 h 708"/>
                <a:gd name="T44" fmla="*/ 5 w 642"/>
                <a:gd name="T45" fmla="*/ 35 h 708"/>
                <a:gd name="T46" fmla="*/ 6 w 642"/>
                <a:gd name="T47" fmla="*/ 33 h 708"/>
                <a:gd name="T48" fmla="*/ 5 w 642"/>
                <a:gd name="T49" fmla="*/ 29 h 708"/>
                <a:gd name="T50" fmla="*/ 4 w 642"/>
                <a:gd name="T51" fmla="*/ 28 h 708"/>
                <a:gd name="T52" fmla="*/ 1 w 642"/>
                <a:gd name="T53" fmla="*/ 26 h 708"/>
                <a:gd name="T54" fmla="*/ 1 w 642"/>
                <a:gd name="T55" fmla="*/ 24 h 708"/>
                <a:gd name="T56" fmla="*/ 1 w 642"/>
                <a:gd name="T57" fmla="*/ 20 h 708"/>
                <a:gd name="T58" fmla="*/ 1 w 642"/>
                <a:gd name="T59" fmla="*/ 16 h 708"/>
                <a:gd name="T60" fmla="*/ 2 w 642"/>
                <a:gd name="T61" fmla="*/ 14 h 708"/>
                <a:gd name="T62" fmla="*/ 8 w 642"/>
                <a:gd name="T63" fmla="*/ 14 h 708"/>
                <a:gd name="T64" fmla="*/ 9 w 642"/>
                <a:gd name="T65" fmla="*/ 10 h 708"/>
                <a:gd name="T66" fmla="*/ 15 w 642"/>
                <a:gd name="T67" fmla="*/ 9 h 708"/>
                <a:gd name="T68" fmla="*/ 18 w 642"/>
                <a:gd name="T69" fmla="*/ 14 h 708"/>
                <a:gd name="T70" fmla="*/ 20 w 642"/>
                <a:gd name="T71" fmla="*/ 12 h 708"/>
                <a:gd name="T72" fmla="*/ 20 w 642"/>
                <a:gd name="T73" fmla="*/ 11 h 708"/>
                <a:gd name="T74" fmla="*/ 21 w 642"/>
                <a:gd name="T75" fmla="*/ 9 h 708"/>
                <a:gd name="T76" fmla="*/ 24 w 642"/>
                <a:gd name="T77" fmla="*/ 9 h 708"/>
                <a:gd name="T78" fmla="*/ 27 w 642"/>
                <a:gd name="T79" fmla="*/ 8 h 708"/>
                <a:gd name="T80" fmla="*/ 33 w 642"/>
                <a:gd name="T81" fmla="*/ 2 h 708"/>
                <a:gd name="T82" fmla="*/ 42 w 642"/>
                <a:gd name="T83" fmla="*/ 2 h 708"/>
                <a:gd name="T84" fmla="*/ 49 w 642"/>
                <a:gd name="T85" fmla="*/ 1 h 708"/>
                <a:gd name="T86" fmla="*/ 53 w 642"/>
                <a:gd name="T87" fmla="*/ 4 h 708"/>
                <a:gd name="T88" fmla="*/ 55 w 642"/>
                <a:gd name="T89" fmla="*/ 4 h 708"/>
                <a:gd name="T90" fmla="*/ 55 w 642"/>
                <a:gd name="T91" fmla="*/ 7 h 708"/>
                <a:gd name="T92" fmla="*/ 52 w 642"/>
                <a:gd name="T93" fmla="*/ 9 h 708"/>
                <a:gd name="T94" fmla="*/ 49 w 642"/>
                <a:gd name="T95" fmla="*/ 12 h 708"/>
                <a:gd name="T96" fmla="*/ 47 w 642"/>
                <a:gd name="T97" fmla="*/ 14 h 708"/>
                <a:gd name="T98" fmla="*/ 47 w 642"/>
                <a:gd name="T99" fmla="*/ 17 h 708"/>
                <a:gd name="T100" fmla="*/ 45 w 642"/>
                <a:gd name="T101" fmla="*/ 26 h 708"/>
                <a:gd name="T102" fmla="*/ 50 w 642"/>
                <a:gd name="T103" fmla="*/ 37 h 70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42"/>
                <a:gd name="T157" fmla="*/ 0 h 708"/>
                <a:gd name="T158" fmla="*/ 642 w 642"/>
                <a:gd name="T159" fmla="*/ 708 h 70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42" h="708">
                  <a:moveTo>
                    <a:pt x="576" y="468"/>
                  </a:moveTo>
                  <a:lnTo>
                    <a:pt x="564" y="468"/>
                  </a:lnTo>
                  <a:lnTo>
                    <a:pt x="516" y="468"/>
                  </a:lnTo>
                  <a:lnTo>
                    <a:pt x="498" y="474"/>
                  </a:lnTo>
                  <a:lnTo>
                    <a:pt x="492" y="468"/>
                  </a:lnTo>
                  <a:lnTo>
                    <a:pt x="486" y="468"/>
                  </a:lnTo>
                  <a:lnTo>
                    <a:pt x="480" y="468"/>
                  </a:lnTo>
                  <a:lnTo>
                    <a:pt x="468" y="474"/>
                  </a:lnTo>
                  <a:lnTo>
                    <a:pt x="456" y="468"/>
                  </a:lnTo>
                  <a:lnTo>
                    <a:pt x="444" y="474"/>
                  </a:lnTo>
                  <a:lnTo>
                    <a:pt x="438" y="492"/>
                  </a:lnTo>
                  <a:lnTo>
                    <a:pt x="438" y="504"/>
                  </a:lnTo>
                  <a:lnTo>
                    <a:pt x="432" y="516"/>
                  </a:lnTo>
                  <a:lnTo>
                    <a:pt x="432" y="528"/>
                  </a:lnTo>
                  <a:lnTo>
                    <a:pt x="432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52"/>
                  </a:lnTo>
                  <a:lnTo>
                    <a:pt x="432" y="558"/>
                  </a:lnTo>
                  <a:lnTo>
                    <a:pt x="438" y="564"/>
                  </a:lnTo>
                  <a:lnTo>
                    <a:pt x="444" y="564"/>
                  </a:lnTo>
                  <a:lnTo>
                    <a:pt x="438" y="564"/>
                  </a:lnTo>
                  <a:lnTo>
                    <a:pt x="438" y="570"/>
                  </a:lnTo>
                  <a:lnTo>
                    <a:pt x="432" y="570"/>
                  </a:lnTo>
                  <a:lnTo>
                    <a:pt x="432" y="576"/>
                  </a:lnTo>
                  <a:lnTo>
                    <a:pt x="426" y="588"/>
                  </a:lnTo>
                  <a:lnTo>
                    <a:pt x="420" y="594"/>
                  </a:lnTo>
                  <a:lnTo>
                    <a:pt x="420" y="600"/>
                  </a:lnTo>
                  <a:lnTo>
                    <a:pt x="414" y="600"/>
                  </a:lnTo>
                  <a:lnTo>
                    <a:pt x="414" y="606"/>
                  </a:lnTo>
                  <a:lnTo>
                    <a:pt x="408" y="606"/>
                  </a:lnTo>
                  <a:lnTo>
                    <a:pt x="408" y="612"/>
                  </a:lnTo>
                  <a:lnTo>
                    <a:pt x="402" y="612"/>
                  </a:lnTo>
                  <a:lnTo>
                    <a:pt x="396" y="612"/>
                  </a:lnTo>
                  <a:lnTo>
                    <a:pt x="390" y="612"/>
                  </a:lnTo>
                  <a:lnTo>
                    <a:pt x="390" y="618"/>
                  </a:lnTo>
                  <a:lnTo>
                    <a:pt x="384" y="618"/>
                  </a:lnTo>
                  <a:lnTo>
                    <a:pt x="378" y="618"/>
                  </a:lnTo>
                  <a:lnTo>
                    <a:pt x="378" y="624"/>
                  </a:lnTo>
                  <a:lnTo>
                    <a:pt x="384" y="630"/>
                  </a:lnTo>
                  <a:lnTo>
                    <a:pt x="384" y="636"/>
                  </a:lnTo>
                  <a:lnTo>
                    <a:pt x="378" y="630"/>
                  </a:lnTo>
                  <a:lnTo>
                    <a:pt x="372" y="636"/>
                  </a:lnTo>
                  <a:lnTo>
                    <a:pt x="372" y="642"/>
                  </a:lnTo>
                  <a:lnTo>
                    <a:pt x="366" y="642"/>
                  </a:lnTo>
                  <a:lnTo>
                    <a:pt x="360" y="654"/>
                  </a:lnTo>
                  <a:lnTo>
                    <a:pt x="354" y="666"/>
                  </a:lnTo>
                  <a:lnTo>
                    <a:pt x="354" y="672"/>
                  </a:lnTo>
                  <a:lnTo>
                    <a:pt x="354" y="678"/>
                  </a:lnTo>
                  <a:lnTo>
                    <a:pt x="354" y="684"/>
                  </a:lnTo>
                  <a:lnTo>
                    <a:pt x="348" y="678"/>
                  </a:lnTo>
                  <a:lnTo>
                    <a:pt x="324" y="678"/>
                  </a:lnTo>
                  <a:lnTo>
                    <a:pt x="306" y="678"/>
                  </a:lnTo>
                  <a:lnTo>
                    <a:pt x="294" y="678"/>
                  </a:lnTo>
                  <a:lnTo>
                    <a:pt x="288" y="684"/>
                  </a:lnTo>
                  <a:lnTo>
                    <a:pt x="276" y="690"/>
                  </a:lnTo>
                  <a:lnTo>
                    <a:pt x="270" y="696"/>
                  </a:lnTo>
                  <a:lnTo>
                    <a:pt x="264" y="696"/>
                  </a:lnTo>
                  <a:lnTo>
                    <a:pt x="258" y="696"/>
                  </a:lnTo>
                  <a:lnTo>
                    <a:pt x="252" y="696"/>
                  </a:lnTo>
                  <a:lnTo>
                    <a:pt x="252" y="690"/>
                  </a:lnTo>
                  <a:lnTo>
                    <a:pt x="246" y="690"/>
                  </a:lnTo>
                  <a:lnTo>
                    <a:pt x="234" y="690"/>
                  </a:lnTo>
                  <a:lnTo>
                    <a:pt x="222" y="696"/>
                  </a:lnTo>
                  <a:lnTo>
                    <a:pt x="216" y="708"/>
                  </a:lnTo>
                  <a:lnTo>
                    <a:pt x="210" y="702"/>
                  </a:lnTo>
                  <a:lnTo>
                    <a:pt x="198" y="696"/>
                  </a:lnTo>
                  <a:lnTo>
                    <a:pt x="198" y="690"/>
                  </a:lnTo>
                  <a:lnTo>
                    <a:pt x="198" y="684"/>
                  </a:lnTo>
                  <a:lnTo>
                    <a:pt x="198" y="678"/>
                  </a:lnTo>
                  <a:lnTo>
                    <a:pt x="198" y="672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74" y="648"/>
                  </a:lnTo>
                  <a:lnTo>
                    <a:pt x="162" y="642"/>
                  </a:lnTo>
                  <a:lnTo>
                    <a:pt x="156" y="636"/>
                  </a:lnTo>
                  <a:lnTo>
                    <a:pt x="132" y="642"/>
                  </a:lnTo>
                  <a:lnTo>
                    <a:pt x="120" y="654"/>
                  </a:lnTo>
                  <a:lnTo>
                    <a:pt x="108" y="660"/>
                  </a:lnTo>
                  <a:lnTo>
                    <a:pt x="102" y="666"/>
                  </a:lnTo>
                  <a:lnTo>
                    <a:pt x="84" y="666"/>
                  </a:lnTo>
                  <a:lnTo>
                    <a:pt x="84" y="630"/>
                  </a:lnTo>
                  <a:lnTo>
                    <a:pt x="78" y="594"/>
                  </a:lnTo>
                  <a:lnTo>
                    <a:pt x="66" y="594"/>
                  </a:lnTo>
                  <a:lnTo>
                    <a:pt x="60" y="594"/>
                  </a:lnTo>
                  <a:lnTo>
                    <a:pt x="48" y="600"/>
                  </a:lnTo>
                  <a:lnTo>
                    <a:pt x="36" y="606"/>
                  </a:lnTo>
                  <a:lnTo>
                    <a:pt x="24" y="612"/>
                  </a:lnTo>
                  <a:lnTo>
                    <a:pt x="18" y="612"/>
                  </a:lnTo>
                  <a:lnTo>
                    <a:pt x="12" y="606"/>
                  </a:lnTo>
                  <a:lnTo>
                    <a:pt x="12" y="600"/>
                  </a:lnTo>
                  <a:lnTo>
                    <a:pt x="12" y="594"/>
                  </a:lnTo>
                  <a:lnTo>
                    <a:pt x="12" y="588"/>
                  </a:lnTo>
                  <a:lnTo>
                    <a:pt x="12" y="582"/>
                  </a:lnTo>
                  <a:lnTo>
                    <a:pt x="12" y="576"/>
                  </a:lnTo>
                  <a:lnTo>
                    <a:pt x="18" y="552"/>
                  </a:lnTo>
                  <a:lnTo>
                    <a:pt x="30" y="552"/>
                  </a:lnTo>
                  <a:lnTo>
                    <a:pt x="30" y="540"/>
                  </a:lnTo>
                  <a:lnTo>
                    <a:pt x="42" y="534"/>
                  </a:lnTo>
                  <a:lnTo>
                    <a:pt x="42" y="522"/>
                  </a:lnTo>
                  <a:lnTo>
                    <a:pt x="48" y="516"/>
                  </a:lnTo>
                  <a:lnTo>
                    <a:pt x="48" y="492"/>
                  </a:lnTo>
                  <a:lnTo>
                    <a:pt x="48" y="480"/>
                  </a:lnTo>
                  <a:lnTo>
                    <a:pt x="54" y="468"/>
                  </a:lnTo>
                  <a:lnTo>
                    <a:pt x="48" y="456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8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08"/>
                  </a:lnTo>
                  <a:lnTo>
                    <a:pt x="60" y="402"/>
                  </a:lnTo>
                  <a:lnTo>
                    <a:pt x="60" y="396"/>
                  </a:lnTo>
                  <a:lnTo>
                    <a:pt x="66" y="390"/>
                  </a:lnTo>
                  <a:lnTo>
                    <a:pt x="72" y="384"/>
                  </a:lnTo>
                  <a:lnTo>
                    <a:pt x="72" y="378"/>
                  </a:lnTo>
                  <a:lnTo>
                    <a:pt x="66" y="378"/>
                  </a:lnTo>
                  <a:lnTo>
                    <a:pt x="66" y="366"/>
                  </a:lnTo>
                  <a:lnTo>
                    <a:pt x="60" y="360"/>
                  </a:lnTo>
                  <a:lnTo>
                    <a:pt x="66" y="354"/>
                  </a:lnTo>
                  <a:lnTo>
                    <a:pt x="60" y="342"/>
                  </a:lnTo>
                  <a:lnTo>
                    <a:pt x="60" y="336"/>
                  </a:lnTo>
                  <a:lnTo>
                    <a:pt x="60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48" y="312"/>
                  </a:lnTo>
                  <a:lnTo>
                    <a:pt x="30" y="312"/>
                  </a:lnTo>
                  <a:lnTo>
                    <a:pt x="24" y="306"/>
                  </a:lnTo>
                  <a:lnTo>
                    <a:pt x="18" y="306"/>
                  </a:lnTo>
                  <a:lnTo>
                    <a:pt x="12" y="294"/>
                  </a:lnTo>
                  <a:lnTo>
                    <a:pt x="12" y="282"/>
                  </a:lnTo>
                  <a:lnTo>
                    <a:pt x="6" y="276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12" y="270"/>
                  </a:lnTo>
                  <a:lnTo>
                    <a:pt x="12" y="246"/>
                  </a:lnTo>
                  <a:lnTo>
                    <a:pt x="12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86"/>
                  </a:lnTo>
                  <a:lnTo>
                    <a:pt x="18" y="174"/>
                  </a:lnTo>
                  <a:lnTo>
                    <a:pt x="12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48" y="162"/>
                  </a:lnTo>
                  <a:lnTo>
                    <a:pt x="72" y="162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84" y="132"/>
                  </a:lnTo>
                  <a:lnTo>
                    <a:pt x="90" y="120"/>
                  </a:lnTo>
                  <a:lnTo>
                    <a:pt x="108" y="114"/>
                  </a:lnTo>
                  <a:lnTo>
                    <a:pt x="114" y="102"/>
                  </a:lnTo>
                  <a:lnTo>
                    <a:pt x="120" y="90"/>
                  </a:lnTo>
                  <a:lnTo>
                    <a:pt x="138" y="90"/>
                  </a:lnTo>
                  <a:lnTo>
                    <a:pt x="138" y="102"/>
                  </a:lnTo>
                  <a:lnTo>
                    <a:pt x="168" y="108"/>
                  </a:lnTo>
                  <a:lnTo>
                    <a:pt x="168" y="114"/>
                  </a:lnTo>
                  <a:lnTo>
                    <a:pt x="174" y="126"/>
                  </a:lnTo>
                  <a:lnTo>
                    <a:pt x="186" y="150"/>
                  </a:lnTo>
                  <a:lnTo>
                    <a:pt x="186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34" y="144"/>
                  </a:lnTo>
                  <a:lnTo>
                    <a:pt x="240" y="138"/>
                  </a:lnTo>
                  <a:lnTo>
                    <a:pt x="240" y="126"/>
                  </a:lnTo>
                  <a:lnTo>
                    <a:pt x="234" y="126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34" y="102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52" y="108"/>
                  </a:lnTo>
                  <a:lnTo>
                    <a:pt x="264" y="108"/>
                  </a:lnTo>
                  <a:lnTo>
                    <a:pt x="270" y="108"/>
                  </a:lnTo>
                  <a:lnTo>
                    <a:pt x="276" y="108"/>
                  </a:lnTo>
                  <a:lnTo>
                    <a:pt x="282" y="102"/>
                  </a:lnTo>
                  <a:lnTo>
                    <a:pt x="288" y="102"/>
                  </a:lnTo>
                  <a:lnTo>
                    <a:pt x="294" y="102"/>
                  </a:lnTo>
                  <a:lnTo>
                    <a:pt x="300" y="96"/>
                  </a:lnTo>
                  <a:lnTo>
                    <a:pt x="306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84"/>
                  </a:lnTo>
                  <a:lnTo>
                    <a:pt x="324" y="18"/>
                  </a:lnTo>
                  <a:lnTo>
                    <a:pt x="360" y="18"/>
                  </a:lnTo>
                  <a:lnTo>
                    <a:pt x="378" y="18"/>
                  </a:lnTo>
                  <a:lnTo>
                    <a:pt x="378" y="30"/>
                  </a:lnTo>
                  <a:lnTo>
                    <a:pt x="390" y="30"/>
                  </a:lnTo>
                  <a:lnTo>
                    <a:pt x="432" y="30"/>
                  </a:lnTo>
                  <a:lnTo>
                    <a:pt x="456" y="24"/>
                  </a:lnTo>
                  <a:lnTo>
                    <a:pt x="480" y="24"/>
                  </a:lnTo>
                  <a:lnTo>
                    <a:pt x="498" y="30"/>
                  </a:lnTo>
                  <a:lnTo>
                    <a:pt x="522" y="18"/>
                  </a:lnTo>
                  <a:lnTo>
                    <a:pt x="528" y="0"/>
                  </a:lnTo>
                  <a:lnTo>
                    <a:pt x="558" y="6"/>
                  </a:lnTo>
                  <a:lnTo>
                    <a:pt x="558" y="12"/>
                  </a:lnTo>
                  <a:lnTo>
                    <a:pt x="570" y="18"/>
                  </a:lnTo>
                  <a:lnTo>
                    <a:pt x="576" y="24"/>
                  </a:lnTo>
                  <a:lnTo>
                    <a:pt x="588" y="36"/>
                  </a:lnTo>
                  <a:lnTo>
                    <a:pt x="594" y="48"/>
                  </a:lnTo>
                  <a:lnTo>
                    <a:pt x="606" y="48"/>
                  </a:lnTo>
                  <a:lnTo>
                    <a:pt x="606" y="42"/>
                  </a:lnTo>
                  <a:lnTo>
                    <a:pt x="618" y="36"/>
                  </a:lnTo>
                  <a:lnTo>
                    <a:pt x="624" y="36"/>
                  </a:lnTo>
                  <a:lnTo>
                    <a:pt x="630" y="42"/>
                  </a:lnTo>
                  <a:lnTo>
                    <a:pt x="636" y="42"/>
                  </a:lnTo>
                  <a:lnTo>
                    <a:pt x="636" y="48"/>
                  </a:lnTo>
                  <a:lnTo>
                    <a:pt x="642" y="54"/>
                  </a:lnTo>
                  <a:lnTo>
                    <a:pt x="636" y="60"/>
                  </a:lnTo>
                  <a:lnTo>
                    <a:pt x="636" y="66"/>
                  </a:lnTo>
                  <a:lnTo>
                    <a:pt x="636" y="78"/>
                  </a:lnTo>
                  <a:lnTo>
                    <a:pt x="624" y="84"/>
                  </a:lnTo>
                  <a:lnTo>
                    <a:pt x="618" y="90"/>
                  </a:lnTo>
                  <a:lnTo>
                    <a:pt x="612" y="90"/>
                  </a:lnTo>
                  <a:lnTo>
                    <a:pt x="600" y="102"/>
                  </a:lnTo>
                  <a:lnTo>
                    <a:pt x="594" y="108"/>
                  </a:lnTo>
                  <a:lnTo>
                    <a:pt x="582" y="114"/>
                  </a:lnTo>
                  <a:lnTo>
                    <a:pt x="570" y="132"/>
                  </a:lnTo>
                  <a:lnTo>
                    <a:pt x="564" y="132"/>
                  </a:lnTo>
                  <a:lnTo>
                    <a:pt x="564" y="138"/>
                  </a:lnTo>
                  <a:lnTo>
                    <a:pt x="558" y="144"/>
                  </a:lnTo>
                  <a:lnTo>
                    <a:pt x="558" y="150"/>
                  </a:lnTo>
                  <a:lnTo>
                    <a:pt x="552" y="150"/>
                  </a:lnTo>
                  <a:lnTo>
                    <a:pt x="546" y="156"/>
                  </a:lnTo>
                  <a:lnTo>
                    <a:pt x="546" y="162"/>
                  </a:lnTo>
                  <a:lnTo>
                    <a:pt x="540" y="162"/>
                  </a:lnTo>
                  <a:lnTo>
                    <a:pt x="534" y="168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6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28" y="234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16" y="294"/>
                  </a:lnTo>
                  <a:lnTo>
                    <a:pt x="516" y="312"/>
                  </a:lnTo>
                  <a:lnTo>
                    <a:pt x="528" y="318"/>
                  </a:lnTo>
                  <a:lnTo>
                    <a:pt x="540" y="360"/>
                  </a:lnTo>
                  <a:lnTo>
                    <a:pt x="558" y="408"/>
                  </a:lnTo>
                  <a:lnTo>
                    <a:pt x="570" y="426"/>
                  </a:lnTo>
                  <a:lnTo>
                    <a:pt x="576" y="432"/>
                  </a:lnTo>
                  <a:lnTo>
                    <a:pt x="576" y="438"/>
                  </a:lnTo>
                  <a:lnTo>
                    <a:pt x="576" y="444"/>
                  </a:lnTo>
                  <a:lnTo>
                    <a:pt x="576" y="468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3" name="Freeform 28">
              <a:extLst>
                <a:ext uri="{FF2B5EF4-FFF2-40B4-BE49-F238E27FC236}">
                  <a16:creationId xmlns:a16="http://schemas.microsoft.com/office/drawing/2014/main" id="{CF9B4F31-BF73-448E-83AA-188F6CF1BDC5}"/>
                </a:ext>
              </a:extLst>
            </p:cNvPr>
            <p:cNvSpPr>
              <a:spLocks/>
            </p:cNvSpPr>
            <p:nvPr/>
          </p:nvSpPr>
          <p:spPr bwMode="gray">
            <a:xfrm>
              <a:off x="1514879" y="3432583"/>
              <a:ext cx="324248" cy="270616"/>
            </a:xfrm>
            <a:custGeom>
              <a:avLst/>
              <a:gdLst>
                <a:gd name="T0" fmla="*/ 5 w 606"/>
                <a:gd name="T1" fmla="*/ 36 h 510"/>
                <a:gd name="T2" fmla="*/ 4 w 606"/>
                <a:gd name="T3" fmla="*/ 34 h 510"/>
                <a:gd name="T4" fmla="*/ 0 w 606"/>
                <a:gd name="T5" fmla="*/ 25 h 510"/>
                <a:gd name="T6" fmla="*/ 1 w 606"/>
                <a:gd name="T7" fmla="*/ 20 h 510"/>
                <a:gd name="T8" fmla="*/ 2 w 606"/>
                <a:gd name="T9" fmla="*/ 15 h 510"/>
                <a:gd name="T10" fmla="*/ 2 w 606"/>
                <a:gd name="T11" fmla="*/ 13 h 510"/>
                <a:gd name="T12" fmla="*/ 3 w 606"/>
                <a:gd name="T13" fmla="*/ 12 h 510"/>
                <a:gd name="T14" fmla="*/ 4 w 606"/>
                <a:gd name="T15" fmla="*/ 11 h 510"/>
                <a:gd name="T16" fmla="*/ 4 w 606"/>
                <a:gd name="T17" fmla="*/ 10 h 510"/>
                <a:gd name="T18" fmla="*/ 7 w 606"/>
                <a:gd name="T19" fmla="*/ 8 h 510"/>
                <a:gd name="T20" fmla="*/ 9 w 606"/>
                <a:gd name="T21" fmla="*/ 6 h 510"/>
                <a:gd name="T22" fmla="*/ 11 w 606"/>
                <a:gd name="T23" fmla="*/ 4 h 510"/>
                <a:gd name="T24" fmla="*/ 12 w 606"/>
                <a:gd name="T25" fmla="*/ 3 h 510"/>
                <a:gd name="T26" fmla="*/ 13 w 606"/>
                <a:gd name="T27" fmla="*/ 4 h 510"/>
                <a:gd name="T28" fmla="*/ 15 w 606"/>
                <a:gd name="T29" fmla="*/ 2 h 510"/>
                <a:gd name="T30" fmla="*/ 17 w 606"/>
                <a:gd name="T31" fmla="*/ 2 h 510"/>
                <a:gd name="T32" fmla="*/ 19 w 606"/>
                <a:gd name="T33" fmla="*/ 5 h 510"/>
                <a:gd name="T34" fmla="*/ 22 w 606"/>
                <a:gd name="T35" fmla="*/ 5 h 510"/>
                <a:gd name="T36" fmla="*/ 25 w 606"/>
                <a:gd name="T37" fmla="*/ 6 h 510"/>
                <a:gd name="T38" fmla="*/ 29 w 606"/>
                <a:gd name="T39" fmla="*/ 1 h 510"/>
                <a:gd name="T40" fmla="*/ 38 w 606"/>
                <a:gd name="T41" fmla="*/ 0 h 510"/>
                <a:gd name="T42" fmla="*/ 38 w 606"/>
                <a:gd name="T43" fmla="*/ 5 h 510"/>
                <a:gd name="T44" fmla="*/ 41 w 606"/>
                <a:gd name="T45" fmla="*/ 4 h 510"/>
                <a:gd name="T46" fmla="*/ 45 w 606"/>
                <a:gd name="T47" fmla="*/ 2 h 510"/>
                <a:gd name="T48" fmla="*/ 46 w 606"/>
                <a:gd name="T49" fmla="*/ 2 h 510"/>
                <a:gd name="T50" fmla="*/ 47 w 606"/>
                <a:gd name="T51" fmla="*/ 5 h 510"/>
                <a:gd name="T52" fmla="*/ 45 w 606"/>
                <a:gd name="T53" fmla="*/ 6 h 510"/>
                <a:gd name="T54" fmla="*/ 45 w 606"/>
                <a:gd name="T55" fmla="*/ 7 h 510"/>
                <a:gd name="T56" fmla="*/ 43 w 606"/>
                <a:gd name="T57" fmla="*/ 8 h 510"/>
                <a:gd name="T58" fmla="*/ 45 w 606"/>
                <a:gd name="T59" fmla="*/ 15 h 510"/>
                <a:gd name="T60" fmla="*/ 49 w 606"/>
                <a:gd name="T61" fmla="*/ 15 h 510"/>
                <a:gd name="T62" fmla="*/ 51 w 606"/>
                <a:gd name="T63" fmla="*/ 15 h 510"/>
                <a:gd name="T64" fmla="*/ 53 w 606"/>
                <a:gd name="T65" fmla="*/ 16 h 510"/>
                <a:gd name="T66" fmla="*/ 52 w 606"/>
                <a:gd name="T67" fmla="*/ 20 h 510"/>
                <a:gd name="T68" fmla="*/ 48 w 606"/>
                <a:gd name="T69" fmla="*/ 23 h 510"/>
                <a:gd name="T70" fmla="*/ 45 w 606"/>
                <a:gd name="T71" fmla="*/ 25 h 510"/>
                <a:gd name="T72" fmla="*/ 44 w 606"/>
                <a:gd name="T73" fmla="*/ 28 h 510"/>
                <a:gd name="T74" fmla="*/ 43 w 606"/>
                <a:gd name="T75" fmla="*/ 33 h 510"/>
                <a:gd name="T76" fmla="*/ 39 w 606"/>
                <a:gd name="T77" fmla="*/ 38 h 510"/>
                <a:gd name="T78" fmla="*/ 37 w 606"/>
                <a:gd name="T79" fmla="*/ 41 h 510"/>
                <a:gd name="T80" fmla="*/ 31 w 606"/>
                <a:gd name="T81" fmla="*/ 44 h 510"/>
                <a:gd name="T82" fmla="*/ 28 w 606"/>
                <a:gd name="T83" fmla="*/ 43 h 510"/>
                <a:gd name="T84" fmla="*/ 28 w 606"/>
                <a:gd name="T85" fmla="*/ 41 h 510"/>
                <a:gd name="T86" fmla="*/ 28 w 606"/>
                <a:gd name="T87" fmla="*/ 40 h 510"/>
                <a:gd name="T88" fmla="*/ 27 w 606"/>
                <a:gd name="T89" fmla="*/ 38 h 510"/>
                <a:gd name="T90" fmla="*/ 27 w 606"/>
                <a:gd name="T91" fmla="*/ 36 h 510"/>
                <a:gd name="T92" fmla="*/ 24 w 606"/>
                <a:gd name="T93" fmla="*/ 35 h 510"/>
                <a:gd name="T94" fmla="*/ 16 w 606"/>
                <a:gd name="T95" fmla="*/ 34 h 510"/>
                <a:gd name="T96" fmla="*/ 13 w 606"/>
                <a:gd name="T97" fmla="*/ 34 h 510"/>
                <a:gd name="T98" fmla="*/ 9 w 606"/>
                <a:gd name="T99" fmla="*/ 36 h 510"/>
                <a:gd name="T100" fmla="*/ 8 w 606"/>
                <a:gd name="T101" fmla="*/ 38 h 510"/>
                <a:gd name="T102" fmla="*/ 7 w 606"/>
                <a:gd name="T103" fmla="*/ 39 h 51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06"/>
                <a:gd name="T157" fmla="*/ 0 h 510"/>
                <a:gd name="T158" fmla="*/ 606 w 606"/>
                <a:gd name="T159" fmla="*/ 510 h 51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06" h="510">
                  <a:moveTo>
                    <a:pt x="60" y="450"/>
                  </a:moveTo>
                  <a:lnTo>
                    <a:pt x="60" y="426"/>
                  </a:lnTo>
                  <a:lnTo>
                    <a:pt x="60" y="420"/>
                  </a:lnTo>
                  <a:lnTo>
                    <a:pt x="60" y="414"/>
                  </a:lnTo>
                  <a:lnTo>
                    <a:pt x="54" y="408"/>
                  </a:lnTo>
                  <a:lnTo>
                    <a:pt x="42" y="390"/>
                  </a:lnTo>
                  <a:lnTo>
                    <a:pt x="24" y="342"/>
                  </a:lnTo>
                  <a:lnTo>
                    <a:pt x="12" y="300"/>
                  </a:lnTo>
                  <a:lnTo>
                    <a:pt x="0" y="294"/>
                  </a:lnTo>
                  <a:lnTo>
                    <a:pt x="0" y="276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16"/>
                  </a:lnTo>
                  <a:lnTo>
                    <a:pt x="24" y="192"/>
                  </a:lnTo>
                  <a:lnTo>
                    <a:pt x="24" y="180"/>
                  </a:lnTo>
                  <a:lnTo>
                    <a:pt x="24" y="168"/>
                  </a:lnTo>
                  <a:lnTo>
                    <a:pt x="18" y="162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6" y="96"/>
                  </a:lnTo>
                  <a:lnTo>
                    <a:pt x="78" y="90"/>
                  </a:lnTo>
                  <a:lnTo>
                    <a:pt x="84" y="84"/>
                  </a:lnTo>
                  <a:lnTo>
                    <a:pt x="96" y="72"/>
                  </a:lnTo>
                  <a:lnTo>
                    <a:pt x="102" y="72"/>
                  </a:lnTo>
                  <a:lnTo>
                    <a:pt x="108" y="66"/>
                  </a:lnTo>
                  <a:lnTo>
                    <a:pt x="120" y="60"/>
                  </a:lnTo>
                  <a:lnTo>
                    <a:pt x="120" y="48"/>
                  </a:lnTo>
                  <a:lnTo>
                    <a:pt x="120" y="42"/>
                  </a:lnTo>
                  <a:lnTo>
                    <a:pt x="126" y="36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62" y="36"/>
                  </a:lnTo>
                  <a:lnTo>
                    <a:pt x="162" y="30"/>
                  </a:lnTo>
                  <a:lnTo>
                    <a:pt x="168" y="24"/>
                  </a:lnTo>
                  <a:lnTo>
                    <a:pt x="180" y="24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210" y="30"/>
                  </a:lnTo>
                  <a:lnTo>
                    <a:pt x="216" y="30"/>
                  </a:lnTo>
                  <a:lnTo>
                    <a:pt x="210" y="54"/>
                  </a:lnTo>
                  <a:lnTo>
                    <a:pt x="216" y="60"/>
                  </a:lnTo>
                  <a:lnTo>
                    <a:pt x="222" y="60"/>
                  </a:lnTo>
                  <a:lnTo>
                    <a:pt x="246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76" y="66"/>
                  </a:lnTo>
                  <a:lnTo>
                    <a:pt x="312" y="66"/>
                  </a:lnTo>
                  <a:lnTo>
                    <a:pt x="318" y="60"/>
                  </a:lnTo>
                  <a:lnTo>
                    <a:pt x="330" y="12"/>
                  </a:lnTo>
                  <a:lnTo>
                    <a:pt x="414" y="6"/>
                  </a:lnTo>
                  <a:lnTo>
                    <a:pt x="420" y="0"/>
                  </a:lnTo>
                  <a:lnTo>
                    <a:pt x="426" y="6"/>
                  </a:lnTo>
                  <a:lnTo>
                    <a:pt x="426" y="12"/>
                  </a:lnTo>
                  <a:lnTo>
                    <a:pt x="426" y="54"/>
                  </a:lnTo>
                  <a:lnTo>
                    <a:pt x="432" y="54"/>
                  </a:lnTo>
                  <a:lnTo>
                    <a:pt x="444" y="54"/>
                  </a:lnTo>
                  <a:lnTo>
                    <a:pt x="450" y="42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86" y="24"/>
                  </a:lnTo>
                  <a:lnTo>
                    <a:pt x="504" y="18"/>
                  </a:lnTo>
                  <a:lnTo>
                    <a:pt x="510" y="12"/>
                  </a:lnTo>
                  <a:lnTo>
                    <a:pt x="516" y="18"/>
                  </a:lnTo>
                  <a:lnTo>
                    <a:pt x="522" y="24"/>
                  </a:lnTo>
                  <a:lnTo>
                    <a:pt x="510" y="30"/>
                  </a:lnTo>
                  <a:lnTo>
                    <a:pt x="516" y="48"/>
                  </a:lnTo>
                  <a:lnTo>
                    <a:pt x="528" y="54"/>
                  </a:lnTo>
                  <a:lnTo>
                    <a:pt x="522" y="60"/>
                  </a:lnTo>
                  <a:lnTo>
                    <a:pt x="516" y="66"/>
                  </a:lnTo>
                  <a:lnTo>
                    <a:pt x="516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0" y="84"/>
                  </a:lnTo>
                  <a:lnTo>
                    <a:pt x="510" y="90"/>
                  </a:lnTo>
                  <a:lnTo>
                    <a:pt x="504" y="90"/>
                  </a:lnTo>
                  <a:lnTo>
                    <a:pt x="486" y="90"/>
                  </a:lnTo>
                  <a:lnTo>
                    <a:pt x="492" y="138"/>
                  </a:lnTo>
                  <a:lnTo>
                    <a:pt x="498" y="168"/>
                  </a:lnTo>
                  <a:lnTo>
                    <a:pt x="516" y="168"/>
                  </a:lnTo>
                  <a:lnTo>
                    <a:pt x="528" y="174"/>
                  </a:lnTo>
                  <a:lnTo>
                    <a:pt x="534" y="168"/>
                  </a:lnTo>
                  <a:lnTo>
                    <a:pt x="558" y="174"/>
                  </a:lnTo>
                  <a:lnTo>
                    <a:pt x="564" y="168"/>
                  </a:lnTo>
                  <a:lnTo>
                    <a:pt x="570" y="168"/>
                  </a:lnTo>
                  <a:lnTo>
                    <a:pt x="576" y="174"/>
                  </a:lnTo>
                  <a:lnTo>
                    <a:pt x="588" y="168"/>
                  </a:lnTo>
                  <a:lnTo>
                    <a:pt x="594" y="168"/>
                  </a:lnTo>
                  <a:lnTo>
                    <a:pt x="594" y="186"/>
                  </a:lnTo>
                  <a:lnTo>
                    <a:pt x="606" y="198"/>
                  </a:lnTo>
                  <a:lnTo>
                    <a:pt x="600" y="210"/>
                  </a:lnTo>
                  <a:lnTo>
                    <a:pt x="588" y="234"/>
                  </a:lnTo>
                  <a:lnTo>
                    <a:pt x="564" y="246"/>
                  </a:lnTo>
                  <a:lnTo>
                    <a:pt x="546" y="258"/>
                  </a:lnTo>
                  <a:lnTo>
                    <a:pt x="540" y="270"/>
                  </a:lnTo>
                  <a:lnTo>
                    <a:pt x="534" y="294"/>
                  </a:lnTo>
                  <a:lnTo>
                    <a:pt x="528" y="300"/>
                  </a:lnTo>
                  <a:lnTo>
                    <a:pt x="516" y="294"/>
                  </a:lnTo>
                  <a:lnTo>
                    <a:pt x="510" y="300"/>
                  </a:lnTo>
                  <a:lnTo>
                    <a:pt x="498" y="318"/>
                  </a:lnTo>
                  <a:lnTo>
                    <a:pt x="492" y="324"/>
                  </a:lnTo>
                  <a:lnTo>
                    <a:pt x="486" y="336"/>
                  </a:lnTo>
                  <a:lnTo>
                    <a:pt x="486" y="354"/>
                  </a:lnTo>
                  <a:lnTo>
                    <a:pt x="486" y="384"/>
                  </a:lnTo>
                  <a:lnTo>
                    <a:pt x="474" y="408"/>
                  </a:lnTo>
                  <a:lnTo>
                    <a:pt x="450" y="426"/>
                  </a:lnTo>
                  <a:lnTo>
                    <a:pt x="444" y="444"/>
                  </a:lnTo>
                  <a:lnTo>
                    <a:pt x="426" y="474"/>
                  </a:lnTo>
                  <a:lnTo>
                    <a:pt x="420" y="486"/>
                  </a:lnTo>
                  <a:lnTo>
                    <a:pt x="414" y="486"/>
                  </a:lnTo>
                  <a:lnTo>
                    <a:pt x="414" y="498"/>
                  </a:lnTo>
                  <a:lnTo>
                    <a:pt x="378" y="504"/>
                  </a:lnTo>
                  <a:lnTo>
                    <a:pt x="348" y="510"/>
                  </a:lnTo>
                  <a:lnTo>
                    <a:pt x="330" y="510"/>
                  </a:lnTo>
                  <a:lnTo>
                    <a:pt x="324" y="504"/>
                  </a:lnTo>
                  <a:lnTo>
                    <a:pt x="318" y="504"/>
                  </a:lnTo>
                  <a:lnTo>
                    <a:pt x="312" y="504"/>
                  </a:lnTo>
                  <a:lnTo>
                    <a:pt x="312" y="498"/>
                  </a:lnTo>
                  <a:lnTo>
                    <a:pt x="312" y="486"/>
                  </a:lnTo>
                  <a:lnTo>
                    <a:pt x="312" y="480"/>
                  </a:lnTo>
                  <a:lnTo>
                    <a:pt x="318" y="468"/>
                  </a:lnTo>
                  <a:lnTo>
                    <a:pt x="318" y="462"/>
                  </a:lnTo>
                  <a:lnTo>
                    <a:pt x="312" y="456"/>
                  </a:lnTo>
                  <a:lnTo>
                    <a:pt x="312" y="450"/>
                  </a:lnTo>
                  <a:lnTo>
                    <a:pt x="306" y="444"/>
                  </a:lnTo>
                  <a:lnTo>
                    <a:pt x="306" y="438"/>
                  </a:lnTo>
                  <a:lnTo>
                    <a:pt x="300" y="426"/>
                  </a:lnTo>
                  <a:lnTo>
                    <a:pt x="300" y="420"/>
                  </a:lnTo>
                  <a:lnTo>
                    <a:pt x="294" y="414"/>
                  </a:lnTo>
                  <a:lnTo>
                    <a:pt x="294" y="408"/>
                  </a:lnTo>
                  <a:lnTo>
                    <a:pt x="270" y="408"/>
                  </a:lnTo>
                  <a:lnTo>
                    <a:pt x="246" y="408"/>
                  </a:lnTo>
                  <a:lnTo>
                    <a:pt x="222" y="408"/>
                  </a:lnTo>
                  <a:lnTo>
                    <a:pt x="180" y="402"/>
                  </a:lnTo>
                  <a:lnTo>
                    <a:pt x="180" y="396"/>
                  </a:lnTo>
                  <a:lnTo>
                    <a:pt x="156" y="402"/>
                  </a:lnTo>
                  <a:lnTo>
                    <a:pt x="144" y="396"/>
                  </a:lnTo>
                  <a:lnTo>
                    <a:pt x="126" y="396"/>
                  </a:lnTo>
                  <a:lnTo>
                    <a:pt x="108" y="408"/>
                  </a:lnTo>
                  <a:lnTo>
                    <a:pt x="102" y="414"/>
                  </a:lnTo>
                  <a:lnTo>
                    <a:pt x="102" y="420"/>
                  </a:lnTo>
                  <a:lnTo>
                    <a:pt x="96" y="426"/>
                  </a:lnTo>
                  <a:lnTo>
                    <a:pt x="96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78" y="450"/>
                  </a:lnTo>
                  <a:lnTo>
                    <a:pt x="60" y="450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4" name="Freeform 29">
              <a:extLst>
                <a:ext uri="{FF2B5EF4-FFF2-40B4-BE49-F238E27FC236}">
                  <a16:creationId xmlns:a16="http://schemas.microsoft.com/office/drawing/2014/main" id="{B6AC2B96-1504-4082-8778-17130FDA021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9401" y="3537698"/>
              <a:ext cx="559048" cy="641876"/>
            </a:xfrm>
            <a:custGeom>
              <a:avLst/>
              <a:gdLst>
                <a:gd name="T0" fmla="*/ 39 w 1056"/>
                <a:gd name="T1" fmla="*/ 94 h 1206"/>
                <a:gd name="T2" fmla="*/ 35 w 1056"/>
                <a:gd name="T3" fmla="*/ 103 h 1206"/>
                <a:gd name="T4" fmla="*/ 29 w 1056"/>
                <a:gd name="T5" fmla="*/ 99 h 1206"/>
                <a:gd name="T6" fmla="*/ 23 w 1056"/>
                <a:gd name="T7" fmla="*/ 94 h 1206"/>
                <a:gd name="T8" fmla="*/ 21 w 1056"/>
                <a:gd name="T9" fmla="*/ 91 h 1206"/>
                <a:gd name="T10" fmla="*/ 18 w 1056"/>
                <a:gd name="T11" fmla="*/ 89 h 1206"/>
                <a:gd name="T12" fmla="*/ 15 w 1056"/>
                <a:gd name="T13" fmla="*/ 86 h 1206"/>
                <a:gd name="T14" fmla="*/ 11 w 1056"/>
                <a:gd name="T15" fmla="*/ 83 h 1206"/>
                <a:gd name="T16" fmla="*/ 8 w 1056"/>
                <a:gd name="T17" fmla="*/ 81 h 1206"/>
                <a:gd name="T18" fmla="*/ 6 w 1056"/>
                <a:gd name="T19" fmla="*/ 79 h 1206"/>
                <a:gd name="T20" fmla="*/ 13 w 1056"/>
                <a:gd name="T21" fmla="*/ 78 h 1206"/>
                <a:gd name="T22" fmla="*/ 8 w 1056"/>
                <a:gd name="T23" fmla="*/ 75 h 1206"/>
                <a:gd name="T24" fmla="*/ 13 w 1056"/>
                <a:gd name="T25" fmla="*/ 71 h 1206"/>
                <a:gd name="T26" fmla="*/ 10 w 1056"/>
                <a:gd name="T27" fmla="*/ 63 h 1206"/>
                <a:gd name="T28" fmla="*/ 6 w 1056"/>
                <a:gd name="T29" fmla="*/ 66 h 1206"/>
                <a:gd name="T30" fmla="*/ 1 w 1056"/>
                <a:gd name="T31" fmla="*/ 63 h 1206"/>
                <a:gd name="T32" fmla="*/ 1 w 1056"/>
                <a:gd name="T33" fmla="*/ 59 h 1206"/>
                <a:gd name="T34" fmla="*/ 3 w 1056"/>
                <a:gd name="T35" fmla="*/ 57 h 1206"/>
                <a:gd name="T36" fmla="*/ 6 w 1056"/>
                <a:gd name="T37" fmla="*/ 55 h 1206"/>
                <a:gd name="T38" fmla="*/ 10 w 1056"/>
                <a:gd name="T39" fmla="*/ 51 h 1206"/>
                <a:gd name="T40" fmla="*/ 11 w 1056"/>
                <a:gd name="T41" fmla="*/ 46 h 1206"/>
                <a:gd name="T42" fmla="*/ 14 w 1056"/>
                <a:gd name="T43" fmla="*/ 42 h 1206"/>
                <a:gd name="T44" fmla="*/ 15 w 1056"/>
                <a:gd name="T45" fmla="*/ 36 h 1206"/>
                <a:gd name="T46" fmla="*/ 17 w 1056"/>
                <a:gd name="T47" fmla="*/ 34 h 1206"/>
                <a:gd name="T48" fmla="*/ 20 w 1056"/>
                <a:gd name="T49" fmla="*/ 31 h 1206"/>
                <a:gd name="T50" fmla="*/ 21 w 1056"/>
                <a:gd name="T51" fmla="*/ 29 h 1206"/>
                <a:gd name="T52" fmla="*/ 23 w 1056"/>
                <a:gd name="T53" fmla="*/ 22 h 1206"/>
                <a:gd name="T54" fmla="*/ 35 w 1056"/>
                <a:gd name="T55" fmla="*/ 22 h 1206"/>
                <a:gd name="T56" fmla="*/ 41 w 1056"/>
                <a:gd name="T57" fmla="*/ 18 h 1206"/>
                <a:gd name="T58" fmla="*/ 54 w 1056"/>
                <a:gd name="T59" fmla="*/ 20 h 1206"/>
                <a:gd name="T60" fmla="*/ 54 w 1056"/>
                <a:gd name="T61" fmla="*/ 26 h 1206"/>
                <a:gd name="T62" fmla="*/ 64 w 1056"/>
                <a:gd name="T63" fmla="*/ 25 h 1206"/>
                <a:gd name="T64" fmla="*/ 71 w 1056"/>
                <a:gd name="T65" fmla="*/ 10 h 1206"/>
                <a:gd name="T66" fmla="*/ 80 w 1056"/>
                <a:gd name="T67" fmla="*/ 1 h 1206"/>
                <a:gd name="T68" fmla="*/ 86 w 1056"/>
                <a:gd name="T69" fmla="*/ 2 h 1206"/>
                <a:gd name="T70" fmla="*/ 91 w 1056"/>
                <a:gd name="T71" fmla="*/ 13 h 1206"/>
                <a:gd name="T72" fmla="*/ 88 w 1056"/>
                <a:gd name="T73" fmla="*/ 17 h 1206"/>
                <a:gd name="T74" fmla="*/ 89 w 1056"/>
                <a:gd name="T75" fmla="*/ 21 h 1206"/>
                <a:gd name="T76" fmla="*/ 86 w 1056"/>
                <a:gd name="T77" fmla="*/ 25 h 1206"/>
                <a:gd name="T78" fmla="*/ 85 w 1056"/>
                <a:gd name="T79" fmla="*/ 31 h 1206"/>
                <a:gd name="T80" fmla="*/ 83 w 1056"/>
                <a:gd name="T81" fmla="*/ 36 h 1206"/>
                <a:gd name="T82" fmla="*/ 80 w 1056"/>
                <a:gd name="T83" fmla="*/ 42 h 1206"/>
                <a:gd name="T84" fmla="*/ 80 w 1056"/>
                <a:gd name="T85" fmla="*/ 47 h 1206"/>
                <a:gd name="T86" fmla="*/ 77 w 1056"/>
                <a:gd name="T87" fmla="*/ 55 h 1206"/>
                <a:gd name="T88" fmla="*/ 75 w 1056"/>
                <a:gd name="T89" fmla="*/ 57 h 1206"/>
                <a:gd name="T90" fmla="*/ 66 w 1056"/>
                <a:gd name="T91" fmla="*/ 57 h 1206"/>
                <a:gd name="T92" fmla="*/ 66 w 1056"/>
                <a:gd name="T93" fmla="*/ 51 h 1206"/>
                <a:gd name="T94" fmla="*/ 48 w 1056"/>
                <a:gd name="T95" fmla="*/ 50 h 1206"/>
                <a:gd name="T96" fmla="*/ 46 w 1056"/>
                <a:gd name="T97" fmla="*/ 55 h 1206"/>
                <a:gd name="T98" fmla="*/ 42 w 1056"/>
                <a:gd name="T99" fmla="*/ 59 h 1206"/>
                <a:gd name="T100" fmla="*/ 41 w 1056"/>
                <a:gd name="T101" fmla="*/ 62 h 1206"/>
                <a:gd name="T102" fmla="*/ 43 w 1056"/>
                <a:gd name="T103" fmla="*/ 67 h 1206"/>
                <a:gd name="T104" fmla="*/ 42 w 1056"/>
                <a:gd name="T105" fmla="*/ 72 h 1206"/>
                <a:gd name="T106" fmla="*/ 39 w 1056"/>
                <a:gd name="T107" fmla="*/ 77 h 1206"/>
                <a:gd name="T108" fmla="*/ 36 w 1056"/>
                <a:gd name="T109" fmla="*/ 80 h 1206"/>
                <a:gd name="T110" fmla="*/ 37 w 1056"/>
                <a:gd name="T111" fmla="*/ 83 h 1206"/>
                <a:gd name="T112" fmla="*/ 40 w 1056"/>
                <a:gd name="T113" fmla="*/ 87 h 1206"/>
                <a:gd name="T114" fmla="*/ 42 w 1056"/>
                <a:gd name="T115" fmla="*/ 89 h 12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56"/>
                <a:gd name="T175" fmla="*/ 0 h 1206"/>
                <a:gd name="T176" fmla="*/ 1056 w 1056"/>
                <a:gd name="T177" fmla="*/ 1206 h 12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56" h="1206">
                  <a:moveTo>
                    <a:pt x="492" y="1032"/>
                  </a:moveTo>
                  <a:lnTo>
                    <a:pt x="486" y="1038"/>
                  </a:lnTo>
                  <a:lnTo>
                    <a:pt x="486" y="1044"/>
                  </a:lnTo>
                  <a:lnTo>
                    <a:pt x="480" y="1044"/>
                  </a:lnTo>
                  <a:lnTo>
                    <a:pt x="474" y="1056"/>
                  </a:lnTo>
                  <a:lnTo>
                    <a:pt x="462" y="1068"/>
                  </a:lnTo>
                  <a:lnTo>
                    <a:pt x="456" y="1080"/>
                  </a:lnTo>
                  <a:lnTo>
                    <a:pt x="450" y="1080"/>
                  </a:lnTo>
                  <a:lnTo>
                    <a:pt x="450" y="1086"/>
                  </a:lnTo>
                  <a:lnTo>
                    <a:pt x="450" y="1092"/>
                  </a:lnTo>
                  <a:lnTo>
                    <a:pt x="444" y="1104"/>
                  </a:lnTo>
                  <a:lnTo>
                    <a:pt x="444" y="1116"/>
                  </a:lnTo>
                  <a:lnTo>
                    <a:pt x="438" y="1128"/>
                  </a:lnTo>
                  <a:lnTo>
                    <a:pt x="432" y="1134"/>
                  </a:lnTo>
                  <a:lnTo>
                    <a:pt x="432" y="1140"/>
                  </a:lnTo>
                  <a:lnTo>
                    <a:pt x="420" y="1152"/>
                  </a:lnTo>
                  <a:lnTo>
                    <a:pt x="420" y="1158"/>
                  </a:lnTo>
                  <a:lnTo>
                    <a:pt x="408" y="1182"/>
                  </a:lnTo>
                  <a:lnTo>
                    <a:pt x="396" y="1194"/>
                  </a:lnTo>
                  <a:lnTo>
                    <a:pt x="390" y="1206"/>
                  </a:lnTo>
                  <a:lnTo>
                    <a:pt x="390" y="1200"/>
                  </a:lnTo>
                  <a:lnTo>
                    <a:pt x="384" y="1194"/>
                  </a:lnTo>
                  <a:lnTo>
                    <a:pt x="378" y="1188"/>
                  </a:lnTo>
                  <a:lnTo>
                    <a:pt x="366" y="1176"/>
                  </a:lnTo>
                  <a:lnTo>
                    <a:pt x="366" y="1170"/>
                  </a:lnTo>
                  <a:lnTo>
                    <a:pt x="348" y="1152"/>
                  </a:lnTo>
                  <a:lnTo>
                    <a:pt x="336" y="1140"/>
                  </a:lnTo>
                  <a:lnTo>
                    <a:pt x="330" y="1134"/>
                  </a:lnTo>
                  <a:lnTo>
                    <a:pt x="324" y="1128"/>
                  </a:lnTo>
                  <a:lnTo>
                    <a:pt x="318" y="1122"/>
                  </a:lnTo>
                  <a:lnTo>
                    <a:pt x="312" y="1116"/>
                  </a:lnTo>
                  <a:lnTo>
                    <a:pt x="306" y="1110"/>
                  </a:lnTo>
                  <a:lnTo>
                    <a:pt x="300" y="1104"/>
                  </a:lnTo>
                  <a:lnTo>
                    <a:pt x="294" y="1098"/>
                  </a:lnTo>
                  <a:lnTo>
                    <a:pt x="276" y="1080"/>
                  </a:lnTo>
                  <a:lnTo>
                    <a:pt x="270" y="1080"/>
                  </a:lnTo>
                  <a:lnTo>
                    <a:pt x="270" y="1074"/>
                  </a:lnTo>
                  <a:lnTo>
                    <a:pt x="264" y="1068"/>
                  </a:lnTo>
                  <a:lnTo>
                    <a:pt x="258" y="1062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52" y="1062"/>
                  </a:lnTo>
                  <a:lnTo>
                    <a:pt x="252" y="1056"/>
                  </a:lnTo>
                  <a:lnTo>
                    <a:pt x="246" y="1056"/>
                  </a:lnTo>
                  <a:lnTo>
                    <a:pt x="246" y="1050"/>
                  </a:lnTo>
                  <a:lnTo>
                    <a:pt x="240" y="1050"/>
                  </a:lnTo>
                  <a:lnTo>
                    <a:pt x="234" y="1044"/>
                  </a:lnTo>
                  <a:lnTo>
                    <a:pt x="228" y="1044"/>
                  </a:lnTo>
                  <a:lnTo>
                    <a:pt x="222" y="1038"/>
                  </a:lnTo>
                  <a:lnTo>
                    <a:pt x="222" y="1032"/>
                  </a:lnTo>
                  <a:lnTo>
                    <a:pt x="216" y="1032"/>
                  </a:lnTo>
                  <a:lnTo>
                    <a:pt x="216" y="1026"/>
                  </a:lnTo>
                  <a:lnTo>
                    <a:pt x="210" y="1026"/>
                  </a:lnTo>
                  <a:lnTo>
                    <a:pt x="204" y="1020"/>
                  </a:lnTo>
                  <a:lnTo>
                    <a:pt x="204" y="1014"/>
                  </a:lnTo>
                  <a:lnTo>
                    <a:pt x="198" y="1014"/>
                  </a:lnTo>
                  <a:lnTo>
                    <a:pt x="192" y="1014"/>
                  </a:lnTo>
                  <a:lnTo>
                    <a:pt x="192" y="1008"/>
                  </a:lnTo>
                  <a:lnTo>
                    <a:pt x="186" y="1008"/>
                  </a:lnTo>
                  <a:lnTo>
                    <a:pt x="186" y="1002"/>
                  </a:lnTo>
                  <a:lnTo>
                    <a:pt x="180" y="1002"/>
                  </a:lnTo>
                  <a:lnTo>
                    <a:pt x="174" y="996"/>
                  </a:lnTo>
                  <a:lnTo>
                    <a:pt x="168" y="996"/>
                  </a:lnTo>
                  <a:lnTo>
                    <a:pt x="168" y="990"/>
                  </a:lnTo>
                  <a:lnTo>
                    <a:pt x="162" y="990"/>
                  </a:lnTo>
                  <a:lnTo>
                    <a:pt x="162" y="984"/>
                  </a:lnTo>
                  <a:lnTo>
                    <a:pt x="150" y="978"/>
                  </a:lnTo>
                  <a:lnTo>
                    <a:pt x="144" y="972"/>
                  </a:lnTo>
                  <a:lnTo>
                    <a:pt x="138" y="972"/>
                  </a:lnTo>
                  <a:lnTo>
                    <a:pt x="138" y="966"/>
                  </a:lnTo>
                  <a:lnTo>
                    <a:pt x="132" y="966"/>
                  </a:lnTo>
                  <a:lnTo>
                    <a:pt x="126" y="960"/>
                  </a:lnTo>
                  <a:lnTo>
                    <a:pt x="126" y="954"/>
                  </a:lnTo>
                  <a:lnTo>
                    <a:pt x="120" y="954"/>
                  </a:lnTo>
                  <a:lnTo>
                    <a:pt x="114" y="948"/>
                  </a:lnTo>
                  <a:lnTo>
                    <a:pt x="108" y="948"/>
                  </a:lnTo>
                  <a:lnTo>
                    <a:pt x="108" y="942"/>
                  </a:lnTo>
                  <a:lnTo>
                    <a:pt x="102" y="942"/>
                  </a:lnTo>
                  <a:lnTo>
                    <a:pt x="96" y="942"/>
                  </a:lnTo>
                  <a:lnTo>
                    <a:pt x="96" y="936"/>
                  </a:lnTo>
                  <a:lnTo>
                    <a:pt x="90" y="936"/>
                  </a:lnTo>
                  <a:lnTo>
                    <a:pt x="90" y="930"/>
                  </a:lnTo>
                  <a:lnTo>
                    <a:pt x="84" y="930"/>
                  </a:lnTo>
                  <a:lnTo>
                    <a:pt x="78" y="930"/>
                  </a:lnTo>
                  <a:lnTo>
                    <a:pt x="78" y="924"/>
                  </a:lnTo>
                  <a:lnTo>
                    <a:pt x="60" y="918"/>
                  </a:lnTo>
                  <a:lnTo>
                    <a:pt x="66" y="918"/>
                  </a:lnTo>
                  <a:lnTo>
                    <a:pt x="66" y="912"/>
                  </a:lnTo>
                  <a:lnTo>
                    <a:pt x="66" y="906"/>
                  </a:lnTo>
                  <a:lnTo>
                    <a:pt x="72" y="906"/>
                  </a:lnTo>
                  <a:lnTo>
                    <a:pt x="84" y="906"/>
                  </a:lnTo>
                  <a:lnTo>
                    <a:pt x="90" y="906"/>
                  </a:lnTo>
                  <a:lnTo>
                    <a:pt x="120" y="930"/>
                  </a:lnTo>
                  <a:lnTo>
                    <a:pt x="126" y="936"/>
                  </a:lnTo>
                  <a:lnTo>
                    <a:pt x="138" y="936"/>
                  </a:lnTo>
                  <a:lnTo>
                    <a:pt x="138" y="930"/>
                  </a:lnTo>
                  <a:lnTo>
                    <a:pt x="144" y="930"/>
                  </a:lnTo>
                  <a:lnTo>
                    <a:pt x="144" y="924"/>
                  </a:lnTo>
                  <a:lnTo>
                    <a:pt x="150" y="900"/>
                  </a:lnTo>
                  <a:lnTo>
                    <a:pt x="138" y="894"/>
                  </a:lnTo>
                  <a:lnTo>
                    <a:pt x="126" y="894"/>
                  </a:lnTo>
                  <a:lnTo>
                    <a:pt x="108" y="888"/>
                  </a:lnTo>
                  <a:lnTo>
                    <a:pt x="84" y="882"/>
                  </a:lnTo>
                  <a:lnTo>
                    <a:pt x="72" y="882"/>
                  </a:lnTo>
                  <a:lnTo>
                    <a:pt x="72" y="876"/>
                  </a:lnTo>
                  <a:lnTo>
                    <a:pt x="78" y="870"/>
                  </a:lnTo>
                  <a:lnTo>
                    <a:pt x="90" y="870"/>
                  </a:lnTo>
                  <a:lnTo>
                    <a:pt x="96" y="870"/>
                  </a:lnTo>
                  <a:lnTo>
                    <a:pt x="102" y="870"/>
                  </a:lnTo>
                  <a:lnTo>
                    <a:pt x="114" y="870"/>
                  </a:lnTo>
                  <a:lnTo>
                    <a:pt x="120" y="858"/>
                  </a:lnTo>
                  <a:lnTo>
                    <a:pt x="126" y="852"/>
                  </a:lnTo>
                  <a:lnTo>
                    <a:pt x="126" y="846"/>
                  </a:lnTo>
                  <a:lnTo>
                    <a:pt x="126" y="834"/>
                  </a:lnTo>
                  <a:lnTo>
                    <a:pt x="132" y="828"/>
                  </a:lnTo>
                  <a:lnTo>
                    <a:pt x="132" y="816"/>
                  </a:lnTo>
                  <a:lnTo>
                    <a:pt x="150" y="816"/>
                  </a:lnTo>
                  <a:lnTo>
                    <a:pt x="150" y="804"/>
                  </a:lnTo>
                  <a:lnTo>
                    <a:pt x="144" y="798"/>
                  </a:lnTo>
                  <a:lnTo>
                    <a:pt x="156" y="762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32"/>
                  </a:lnTo>
                  <a:lnTo>
                    <a:pt x="144" y="726"/>
                  </a:lnTo>
                  <a:lnTo>
                    <a:pt x="132" y="726"/>
                  </a:lnTo>
                  <a:lnTo>
                    <a:pt x="120" y="732"/>
                  </a:lnTo>
                  <a:lnTo>
                    <a:pt x="114" y="744"/>
                  </a:lnTo>
                  <a:lnTo>
                    <a:pt x="108" y="750"/>
                  </a:lnTo>
                  <a:lnTo>
                    <a:pt x="96" y="768"/>
                  </a:lnTo>
                  <a:lnTo>
                    <a:pt x="96" y="774"/>
                  </a:lnTo>
                  <a:lnTo>
                    <a:pt x="90" y="780"/>
                  </a:lnTo>
                  <a:lnTo>
                    <a:pt x="84" y="804"/>
                  </a:lnTo>
                  <a:lnTo>
                    <a:pt x="72" y="774"/>
                  </a:lnTo>
                  <a:lnTo>
                    <a:pt x="72" y="768"/>
                  </a:lnTo>
                  <a:lnTo>
                    <a:pt x="66" y="762"/>
                  </a:lnTo>
                  <a:lnTo>
                    <a:pt x="60" y="750"/>
                  </a:lnTo>
                  <a:lnTo>
                    <a:pt x="54" y="750"/>
                  </a:lnTo>
                  <a:lnTo>
                    <a:pt x="48" y="750"/>
                  </a:lnTo>
                  <a:lnTo>
                    <a:pt x="42" y="750"/>
                  </a:lnTo>
                  <a:lnTo>
                    <a:pt x="30" y="744"/>
                  </a:lnTo>
                  <a:lnTo>
                    <a:pt x="24" y="744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12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14"/>
                  </a:lnTo>
                  <a:lnTo>
                    <a:pt x="6" y="708"/>
                  </a:lnTo>
                  <a:lnTo>
                    <a:pt x="12" y="708"/>
                  </a:lnTo>
                  <a:lnTo>
                    <a:pt x="12" y="702"/>
                  </a:lnTo>
                  <a:lnTo>
                    <a:pt x="18" y="696"/>
                  </a:lnTo>
                  <a:lnTo>
                    <a:pt x="12" y="690"/>
                  </a:lnTo>
                  <a:lnTo>
                    <a:pt x="12" y="684"/>
                  </a:lnTo>
                  <a:lnTo>
                    <a:pt x="12" y="678"/>
                  </a:lnTo>
                  <a:lnTo>
                    <a:pt x="12" y="672"/>
                  </a:lnTo>
                  <a:lnTo>
                    <a:pt x="18" y="672"/>
                  </a:lnTo>
                  <a:lnTo>
                    <a:pt x="18" y="666"/>
                  </a:lnTo>
                  <a:lnTo>
                    <a:pt x="24" y="666"/>
                  </a:lnTo>
                  <a:lnTo>
                    <a:pt x="24" y="660"/>
                  </a:lnTo>
                  <a:lnTo>
                    <a:pt x="30" y="660"/>
                  </a:lnTo>
                  <a:lnTo>
                    <a:pt x="30" y="654"/>
                  </a:lnTo>
                  <a:lnTo>
                    <a:pt x="36" y="654"/>
                  </a:lnTo>
                  <a:lnTo>
                    <a:pt x="36" y="648"/>
                  </a:lnTo>
                  <a:lnTo>
                    <a:pt x="42" y="648"/>
                  </a:lnTo>
                  <a:lnTo>
                    <a:pt x="48" y="642"/>
                  </a:lnTo>
                  <a:lnTo>
                    <a:pt x="54" y="642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60" y="630"/>
                  </a:lnTo>
                  <a:lnTo>
                    <a:pt x="66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78" y="624"/>
                  </a:lnTo>
                  <a:lnTo>
                    <a:pt x="84" y="618"/>
                  </a:lnTo>
                  <a:lnTo>
                    <a:pt x="84" y="612"/>
                  </a:lnTo>
                  <a:lnTo>
                    <a:pt x="90" y="612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20" y="600"/>
                  </a:lnTo>
                  <a:lnTo>
                    <a:pt x="120" y="594"/>
                  </a:lnTo>
                  <a:lnTo>
                    <a:pt x="120" y="588"/>
                  </a:lnTo>
                  <a:lnTo>
                    <a:pt x="120" y="582"/>
                  </a:lnTo>
                  <a:lnTo>
                    <a:pt x="120" y="576"/>
                  </a:lnTo>
                  <a:lnTo>
                    <a:pt x="120" y="570"/>
                  </a:lnTo>
                  <a:lnTo>
                    <a:pt x="126" y="564"/>
                  </a:lnTo>
                  <a:lnTo>
                    <a:pt x="126" y="558"/>
                  </a:lnTo>
                  <a:lnTo>
                    <a:pt x="126" y="552"/>
                  </a:lnTo>
                  <a:lnTo>
                    <a:pt x="126" y="546"/>
                  </a:lnTo>
                  <a:lnTo>
                    <a:pt x="126" y="534"/>
                  </a:lnTo>
                  <a:lnTo>
                    <a:pt x="126" y="516"/>
                  </a:lnTo>
                  <a:lnTo>
                    <a:pt x="126" y="510"/>
                  </a:lnTo>
                  <a:lnTo>
                    <a:pt x="126" y="504"/>
                  </a:lnTo>
                  <a:lnTo>
                    <a:pt x="126" y="498"/>
                  </a:lnTo>
                  <a:lnTo>
                    <a:pt x="132" y="498"/>
                  </a:lnTo>
                  <a:lnTo>
                    <a:pt x="132" y="492"/>
                  </a:lnTo>
                  <a:lnTo>
                    <a:pt x="138" y="492"/>
                  </a:lnTo>
                  <a:lnTo>
                    <a:pt x="144" y="486"/>
                  </a:lnTo>
                  <a:lnTo>
                    <a:pt x="156" y="480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6" y="462"/>
                  </a:lnTo>
                  <a:lnTo>
                    <a:pt x="156" y="456"/>
                  </a:lnTo>
                  <a:lnTo>
                    <a:pt x="156" y="450"/>
                  </a:lnTo>
                  <a:lnTo>
                    <a:pt x="162" y="438"/>
                  </a:lnTo>
                  <a:lnTo>
                    <a:pt x="168" y="426"/>
                  </a:lnTo>
                  <a:lnTo>
                    <a:pt x="174" y="426"/>
                  </a:lnTo>
                  <a:lnTo>
                    <a:pt x="174" y="420"/>
                  </a:lnTo>
                  <a:lnTo>
                    <a:pt x="180" y="414"/>
                  </a:lnTo>
                  <a:lnTo>
                    <a:pt x="186" y="420"/>
                  </a:lnTo>
                  <a:lnTo>
                    <a:pt x="186" y="414"/>
                  </a:lnTo>
                  <a:lnTo>
                    <a:pt x="180" y="408"/>
                  </a:lnTo>
                  <a:lnTo>
                    <a:pt x="180" y="402"/>
                  </a:lnTo>
                  <a:lnTo>
                    <a:pt x="186" y="402"/>
                  </a:lnTo>
                  <a:lnTo>
                    <a:pt x="192" y="402"/>
                  </a:lnTo>
                  <a:lnTo>
                    <a:pt x="192" y="396"/>
                  </a:lnTo>
                  <a:lnTo>
                    <a:pt x="198" y="396"/>
                  </a:lnTo>
                  <a:lnTo>
                    <a:pt x="204" y="396"/>
                  </a:lnTo>
                  <a:lnTo>
                    <a:pt x="210" y="396"/>
                  </a:lnTo>
                  <a:lnTo>
                    <a:pt x="210" y="390"/>
                  </a:lnTo>
                  <a:lnTo>
                    <a:pt x="216" y="390"/>
                  </a:lnTo>
                  <a:lnTo>
                    <a:pt x="216" y="384"/>
                  </a:lnTo>
                  <a:lnTo>
                    <a:pt x="222" y="384"/>
                  </a:lnTo>
                  <a:lnTo>
                    <a:pt x="222" y="378"/>
                  </a:lnTo>
                  <a:lnTo>
                    <a:pt x="228" y="372"/>
                  </a:lnTo>
                  <a:lnTo>
                    <a:pt x="234" y="360"/>
                  </a:lnTo>
                  <a:lnTo>
                    <a:pt x="234" y="354"/>
                  </a:lnTo>
                  <a:lnTo>
                    <a:pt x="240" y="354"/>
                  </a:lnTo>
                  <a:lnTo>
                    <a:pt x="240" y="348"/>
                  </a:lnTo>
                  <a:lnTo>
                    <a:pt x="246" y="348"/>
                  </a:lnTo>
                  <a:lnTo>
                    <a:pt x="240" y="348"/>
                  </a:lnTo>
                  <a:lnTo>
                    <a:pt x="234" y="342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46" y="330"/>
                  </a:lnTo>
                  <a:lnTo>
                    <a:pt x="246" y="324"/>
                  </a:lnTo>
                  <a:lnTo>
                    <a:pt x="234" y="318"/>
                  </a:lnTo>
                  <a:lnTo>
                    <a:pt x="234" y="312"/>
                  </a:lnTo>
                  <a:lnTo>
                    <a:pt x="234" y="300"/>
                  </a:lnTo>
                  <a:lnTo>
                    <a:pt x="240" y="288"/>
                  </a:lnTo>
                  <a:lnTo>
                    <a:pt x="240" y="276"/>
                  </a:lnTo>
                  <a:lnTo>
                    <a:pt x="246" y="258"/>
                  </a:lnTo>
                  <a:lnTo>
                    <a:pt x="258" y="252"/>
                  </a:lnTo>
                  <a:lnTo>
                    <a:pt x="270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294" y="252"/>
                  </a:lnTo>
                  <a:lnTo>
                    <a:pt x="300" y="258"/>
                  </a:lnTo>
                  <a:lnTo>
                    <a:pt x="318" y="252"/>
                  </a:lnTo>
                  <a:lnTo>
                    <a:pt x="366" y="252"/>
                  </a:lnTo>
                  <a:lnTo>
                    <a:pt x="378" y="252"/>
                  </a:lnTo>
                  <a:lnTo>
                    <a:pt x="396" y="252"/>
                  </a:lnTo>
                  <a:lnTo>
                    <a:pt x="408" y="252"/>
                  </a:lnTo>
                  <a:lnTo>
                    <a:pt x="408" y="246"/>
                  </a:lnTo>
                  <a:lnTo>
                    <a:pt x="414" y="240"/>
                  </a:lnTo>
                  <a:lnTo>
                    <a:pt x="414" y="228"/>
                  </a:lnTo>
                  <a:lnTo>
                    <a:pt x="420" y="222"/>
                  </a:lnTo>
                  <a:lnTo>
                    <a:pt x="420" y="216"/>
                  </a:lnTo>
                  <a:lnTo>
                    <a:pt x="426" y="210"/>
                  </a:lnTo>
                  <a:lnTo>
                    <a:pt x="444" y="198"/>
                  </a:lnTo>
                  <a:lnTo>
                    <a:pt x="462" y="198"/>
                  </a:lnTo>
                  <a:lnTo>
                    <a:pt x="474" y="204"/>
                  </a:lnTo>
                  <a:lnTo>
                    <a:pt x="498" y="198"/>
                  </a:lnTo>
                  <a:lnTo>
                    <a:pt x="498" y="204"/>
                  </a:lnTo>
                  <a:lnTo>
                    <a:pt x="540" y="210"/>
                  </a:lnTo>
                  <a:lnTo>
                    <a:pt x="564" y="210"/>
                  </a:lnTo>
                  <a:lnTo>
                    <a:pt x="588" y="210"/>
                  </a:lnTo>
                  <a:lnTo>
                    <a:pt x="612" y="210"/>
                  </a:lnTo>
                  <a:lnTo>
                    <a:pt x="612" y="216"/>
                  </a:lnTo>
                  <a:lnTo>
                    <a:pt x="618" y="222"/>
                  </a:lnTo>
                  <a:lnTo>
                    <a:pt x="618" y="228"/>
                  </a:lnTo>
                  <a:lnTo>
                    <a:pt x="624" y="240"/>
                  </a:lnTo>
                  <a:lnTo>
                    <a:pt x="624" y="246"/>
                  </a:lnTo>
                  <a:lnTo>
                    <a:pt x="630" y="252"/>
                  </a:lnTo>
                  <a:lnTo>
                    <a:pt x="630" y="258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0" y="282"/>
                  </a:lnTo>
                  <a:lnTo>
                    <a:pt x="630" y="288"/>
                  </a:lnTo>
                  <a:lnTo>
                    <a:pt x="630" y="300"/>
                  </a:lnTo>
                  <a:lnTo>
                    <a:pt x="630" y="306"/>
                  </a:lnTo>
                  <a:lnTo>
                    <a:pt x="636" y="306"/>
                  </a:lnTo>
                  <a:lnTo>
                    <a:pt x="642" y="306"/>
                  </a:lnTo>
                  <a:lnTo>
                    <a:pt x="648" y="312"/>
                  </a:lnTo>
                  <a:lnTo>
                    <a:pt x="666" y="312"/>
                  </a:lnTo>
                  <a:lnTo>
                    <a:pt x="696" y="306"/>
                  </a:lnTo>
                  <a:lnTo>
                    <a:pt x="732" y="300"/>
                  </a:lnTo>
                  <a:lnTo>
                    <a:pt x="732" y="288"/>
                  </a:lnTo>
                  <a:lnTo>
                    <a:pt x="738" y="288"/>
                  </a:lnTo>
                  <a:lnTo>
                    <a:pt x="744" y="276"/>
                  </a:lnTo>
                  <a:lnTo>
                    <a:pt x="762" y="246"/>
                  </a:lnTo>
                  <a:lnTo>
                    <a:pt x="768" y="228"/>
                  </a:lnTo>
                  <a:lnTo>
                    <a:pt x="792" y="210"/>
                  </a:lnTo>
                  <a:lnTo>
                    <a:pt x="804" y="186"/>
                  </a:lnTo>
                  <a:lnTo>
                    <a:pt x="804" y="156"/>
                  </a:lnTo>
                  <a:lnTo>
                    <a:pt x="804" y="138"/>
                  </a:lnTo>
                  <a:lnTo>
                    <a:pt x="810" y="126"/>
                  </a:lnTo>
                  <a:lnTo>
                    <a:pt x="816" y="120"/>
                  </a:lnTo>
                  <a:lnTo>
                    <a:pt x="828" y="102"/>
                  </a:lnTo>
                  <a:lnTo>
                    <a:pt x="834" y="96"/>
                  </a:lnTo>
                  <a:lnTo>
                    <a:pt x="846" y="102"/>
                  </a:lnTo>
                  <a:lnTo>
                    <a:pt x="852" y="96"/>
                  </a:lnTo>
                  <a:lnTo>
                    <a:pt x="858" y="72"/>
                  </a:lnTo>
                  <a:lnTo>
                    <a:pt x="864" y="60"/>
                  </a:lnTo>
                  <a:lnTo>
                    <a:pt x="882" y="48"/>
                  </a:lnTo>
                  <a:lnTo>
                    <a:pt x="906" y="36"/>
                  </a:lnTo>
                  <a:lnTo>
                    <a:pt x="918" y="12"/>
                  </a:lnTo>
                  <a:lnTo>
                    <a:pt x="924" y="0"/>
                  </a:lnTo>
                  <a:lnTo>
                    <a:pt x="930" y="6"/>
                  </a:lnTo>
                  <a:lnTo>
                    <a:pt x="942" y="12"/>
                  </a:lnTo>
                  <a:lnTo>
                    <a:pt x="948" y="12"/>
                  </a:lnTo>
                  <a:lnTo>
                    <a:pt x="954" y="18"/>
                  </a:lnTo>
                  <a:lnTo>
                    <a:pt x="966" y="18"/>
                  </a:lnTo>
                  <a:lnTo>
                    <a:pt x="972" y="18"/>
                  </a:lnTo>
                  <a:lnTo>
                    <a:pt x="984" y="18"/>
                  </a:lnTo>
                  <a:lnTo>
                    <a:pt x="990" y="18"/>
                  </a:lnTo>
                  <a:lnTo>
                    <a:pt x="1002" y="48"/>
                  </a:lnTo>
                  <a:lnTo>
                    <a:pt x="1008" y="78"/>
                  </a:lnTo>
                  <a:lnTo>
                    <a:pt x="1020" y="78"/>
                  </a:lnTo>
                  <a:lnTo>
                    <a:pt x="1020" y="90"/>
                  </a:lnTo>
                  <a:lnTo>
                    <a:pt x="1026" y="102"/>
                  </a:lnTo>
                  <a:lnTo>
                    <a:pt x="1044" y="120"/>
                  </a:lnTo>
                  <a:lnTo>
                    <a:pt x="1044" y="132"/>
                  </a:lnTo>
                  <a:lnTo>
                    <a:pt x="1056" y="150"/>
                  </a:lnTo>
                  <a:lnTo>
                    <a:pt x="1050" y="150"/>
                  </a:lnTo>
                  <a:lnTo>
                    <a:pt x="1044" y="156"/>
                  </a:lnTo>
                  <a:lnTo>
                    <a:pt x="1044" y="162"/>
                  </a:lnTo>
                  <a:lnTo>
                    <a:pt x="1038" y="162"/>
                  </a:lnTo>
                  <a:lnTo>
                    <a:pt x="1032" y="162"/>
                  </a:lnTo>
                  <a:lnTo>
                    <a:pt x="1026" y="168"/>
                  </a:lnTo>
                  <a:lnTo>
                    <a:pt x="1014" y="174"/>
                  </a:lnTo>
                  <a:lnTo>
                    <a:pt x="1014" y="186"/>
                  </a:lnTo>
                  <a:lnTo>
                    <a:pt x="1014" y="192"/>
                  </a:lnTo>
                  <a:lnTo>
                    <a:pt x="1014" y="198"/>
                  </a:lnTo>
                  <a:lnTo>
                    <a:pt x="1020" y="204"/>
                  </a:lnTo>
                  <a:lnTo>
                    <a:pt x="1026" y="204"/>
                  </a:lnTo>
                  <a:lnTo>
                    <a:pt x="1032" y="204"/>
                  </a:lnTo>
                  <a:lnTo>
                    <a:pt x="1032" y="210"/>
                  </a:lnTo>
                  <a:lnTo>
                    <a:pt x="1038" y="210"/>
                  </a:lnTo>
                  <a:lnTo>
                    <a:pt x="1032" y="216"/>
                  </a:lnTo>
                  <a:lnTo>
                    <a:pt x="1026" y="228"/>
                  </a:lnTo>
                  <a:lnTo>
                    <a:pt x="1026" y="234"/>
                  </a:lnTo>
                  <a:lnTo>
                    <a:pt x="1032" y="240"/>
                  </a:lnTo>
                  <a:lnTo>
                    <a:pt x="1032" y="246"/>
                  </a:lnTo>
                  <a:lnTo>
                    <a:pt x="1032" y="252"/>
                  </a:lnTo>
                  <a:lnTo>
                    <a:pt x="1032" y="258"/>
                  </a:lnTo>
                  <a:lnTo>
                    <a:pt x="1038" y="264"/>
                  </a:lnTo>
                  <a:lnTo>
                    <a:pt x="1032" y="276"/>
                  </a:lnTo>
                  <a:lnTo>
                    <a:pt x="1026" y="276"/>
                  </a:lnTo>
                  <a:lnTo>
                    <a:pt x="1020" y="276"/>
                  </a:lnTo>
                  <a:lnTo>
                    <a:pt x="996" y="282"/>
                  </a:lnTo>
                  <a:lnTo>
                    <a:pt x="996" y="288"/>
                  </a:lnTo>
                  <a:lnTo>
                    <a:pt x="996" y="294"/>
                  </a:lnTo>
                  <a:lnTo>
                    <a:pt x="996" y="300"/>
                  </a:lnTo>
                  <a:lnTo>
                    <a:pt x="996" y="306"/>
                  </a:lnTo>
                  <a:lnTo>
                    <a:pt x="984" y="324"/>
                  </a:lnTo>
                  <a:lnTo>
                    <a:pt x="984" y="330"/>
                  </a:lnTo>
                  <a:lnTo>
                    <a:pt x="984" y="336"/>
                  </a:lnTo>
                  <a:lnTo>
                    <a:pt x="978" y="336"/>
                  </a:lnTo>
                  <a:lnTo>
                    <a:pt x="978" y="342"/>
                  </a:lnTo>
                  <a:lnTo>
                    <a:pt x="984" y="360"/>
                  </a:lnTo>
                  <a:lnTo>
                    <a:pt x="978" y="366"/>
                  </a:lnTo>
                  <a:lnTo>
                    <a:pt x="978" y="372"/>
                  </a:lnTo>
                  <a:lnTo>
                    <a:pt x="972" y="372"/>
                  </a:lnTo>
                  <a:lnTo>
                    <a:pt x="972" y="378"/>
                  </a:lnTo>
                  <a:lnTo>
                    <a:pt x="972" y="384"/>
                  </a:lnTo>
                  <a:lnTo>
                    <a:pt x="972" y="390"/>
                  </a:lnTo>
                  <a:lnTo>
                    <a:pt x="966" y="402"/>
                  </a:lnTo>
                  <a:lnTo>
                    <a:pt x="960" y="414"/>
                  </a:lnTo>
                  <a:lnTo>
                    <a:pt x="954" y="420"/>
                  </a:lnTo>
                  <a:lnTo>
                    <a:pt x="948" y="426"/>
                  </a:lnTo>
                  <a:lnTo>
                    <a:pt x="948" y="438"/>
                  </a:lnTo>
                  <a:lnTo>
                    <a:pt x="942" y="444"/>
                  </a:lnTo>
                  <a:lnTo>
                    <a:pt x="936" y="450"/>
                  </a:lnTo>
                  <a:lnTo>
                    <a:pt x="930" y="456"/>
                  </a:lnTo>
                  <a:lnTo>
                    <a:pt x="924" y="462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18" y="522"/>
                  </a:lnTo>
                  <a:lnTo>
                    <a:pt x="918" y="528"/>
                  </a:lnTo>
                  <a:lnTo>
                    <a:pt x="924" y="534"/>
                  </a:lnTo>
                  <a:lnTo>
                    <a:pt x="924" y="540"/>
                  </a:lnTo>
                  <a:lnTo>
                    <a:pt x="924" y="546"/>
                  </a:lnTo>
                  <a:lnTo>
                    <a:pt x="918" y="546"/>
                  </a:lnTo>
                  <a:lnTo>
                    <a:pt x="918" y="552"/>
                  </a:lnTo>
                  <a:lnTo>
                    <a:pt x="912" y="546"/>
                  </a:lnTo>
                  <a:lnTo>
                    <a:pt x="912" y="552"/>
                  </a:lnTo>
                  <a:lnTo>
                    <a:pt x="912" y="570"/>
                  </a:lnTo>
                  <a:lnTo>
                    <a:pt x="906" y="588"/>
                  </a:lnTo>
                  <a:lnTo>
                    <a:pt x="900" y="606"/>
                  </a:lnTo>
                  <a:lnTo>
                    <a:pt x="906" y="624"/>
                  </a:lnTo>
                  <a:lnTo>
                    <a:pt x="900" y="624"/>
                  </a:lnTo>
                  <a:lnTo>
                    <a:pt x="894" y="630"/>
                  </a:lnTo>
                  <a:lnTo>
                    <a:pt x="888" y="630"/>
                  </a:lnTo>
                  <a:lnTo>
                    <a:pt x="882" y="630"/>
                  </a:lnTo>
                  <a:lnTo>
                    <a:pt x="882" y="636"/>
                  </a:lnTo>
                  <a:lnTo>
                    <a:pt x="876" y="642"/>
                  </a:lnTo>
                  <a:lnTo>
                    <a:pt x="870" y="642"/>
                  </a:lnTo>
                  <a:lnTo>
                    <a:pt x="870" y="648"/>
                  </a:lnTo>
                  <a:lnTo>
                    <a:pt x="870" y="654"/>
                  </a:lnTo>
                  <a:lnTo>
                    <a:pt x="864" y="654"/>
                  </a:lnTo>
                  <a:lnTo>
                    <a:pt x="864" y="660"/>
                  </a:lnTo>
                  <a:lnTo>
                    <a:pt x="846" y="666"/>
                  </a:lnTo>
                  <a:lnTo>
                    <a:pt x="828" y="672"/>
                  </a:lnTo>
                  <a:lnTo>
                    <a:pt x="816" y="660"/>
                  </a:lnTo>
                  <a:lnTo>
                    <a:pt x="810" y="660"/>
                  </a:lnTo>
                  <a:lnTo>
                    <a:pt x="798" y="666"/>
                  </a:lnTo>
                  <a:lnTo>
                    <a:pt x="786" y="666"/>
                  </a:lnTo>
                  <a:lnTo>
                    <a:pt x="780" y="672"/>
                  </a:lnTo>
                  <a:lnTo>
                    <a:pt x="768" y="678"/>
                  </a:lnTo>
                  <a:lnTo>
                    <a:pt x="762" y="660"/>
                  </a:lnTo>
                  <a:lnTo>
                    <a:pt x="762" y="654"/>
                  </a:lnTo>
                  <a:lnTo>
                    <a:pt x="756" y="636"/>
                  </a:lnTo>
                  <a:lnTo>
                    <a:pt x="762" y="624"/>
                  </a:lnTo>
                  <a:lnTo>
                    <a:pt x="756" y="606"/>
                  </a:lnTo>
                  <a:lnTo>
                    <a:pt x="756" y="600"/>
                  </a:lnTo>
                  <a:lnTo>
                    <a:pt x="762" y="594"/>
                  </a:lnTo>
                  <a:lnTo>
                    <a:pt x="768" y="600"/>
                  </a:lnTo>
                  <a:lnTo>
                    <a:pt x="768" y="594"/>
                  </a:lnTo>
                  <a:lnTo>
                    <a:pt x="768" y="588"/>
                  </a:lnTo>
                  <a:lnTo>
                    <a:pt x="774" y="582"/>
                  </a:lnTo>
                  <a:lnTo>
                    <a:pt x="768" y="576"/>
                  </a:lnTo>
                  <a:lnTo>
                    <a:pt x="762" y="576"/>
                  </a:lnTo>
                  <a:lnTo>
                    <a:pt x="756" y="576"/>
                  </a:lnTo>
                  <a:lnTo>
                    <a:pt x="690" y="576"/>
                  </a:lnTo>
                  <a:lnTo>
                    <a:pt x="624" y="570"/>
                  </a:lnTo>
                  <a:lnTo>
                    <a:pt x="600" y="564"/>
                  </a:lnTo>
                  <a:lnTo>
                    <a:pt x="576" y="564"/>
                  </a:lnTo>
                  <a:lnTo>
                    <a:pt x="558" y="570"/>
                  </a:lnTo>
                  <a:lnTo>
                    <a:pt x="552" y="576"/>
                  </a:lnTo>
                  <a:lnTo>
                    <a:pt x="552" y="582"/>
                  </a:lnTo>
                  <a:lnTo>
                    <a:pt x="552" y="588"/>
                  </a:lnTo>
                  <a:lnTo>
                    <a:pt x="546" y="594"/>
                  </a:lnTo>
                  <a:lnTo>
                    <a:pt x="546" y="600"/>
                  </a:lnTo>
                  <a:lnTo>
                    <a:pt x="540" y="606"/>
                  </a:lnTo>
                  <a:lnTo>
                    <a:pt x="534" y="618"/>
                  </a:lnTo>
                  <a:lnTo>
                    <a:pt x="534" y="624"/>
                  </a:lnTo>
                  <a:lnTo>
                    <a:pt x="534" y="630"/>
                  </a:lnTo>
                  <a:lnTo>
                    <a:pt x="534" y="636"/>
                  </a:lnTo>
                  <a:lnTo>
                    <a:pt x="528" y="636"/>
                  </a:lnTo>
                  <a:lnTo>
                    <a:pt x="516" y="642"/>
                  </a:lnTo>
                  <a:lnTo>
                    <a:pt x="516" y="648"/>
                  </a:lnTo>
                  <a:lnTo>
                    <a:pt x="510" y="648"/>
                  </a:lnTo>
                  <a:lnTo>
                    <a:pt x="504" y="654"/>
                  </a:lnTo>
                  <a:lnTo>
                    <a:pt x="492" y="666"/>
                  </a:lnTo>
                  <a:lnTo>
                    <a:pt x="492" y="672"/>
                  </a:lnTo>
                  <a:lnTo>
                    <a:pt x="492" y="684"/>
                  </a:lnTo>
                  <a:lnTo>
                    <a:pt x="486" y="690"/>
                  </a:lnTo>
                  <a:lnTo>
                    <a:pt x="480" y="696"/>
                  </a:lnTo>
                  <a:lnTo>
                    <a:pt x="486" y="702"/>
                  </a:lnTo>
                  <a:lnTo>
                    <a:pt x="492" y="702"/>
                  </a:lnTo>
                  <a:lnTo>
                    <a:pt x="486" y="708"/>
                  </a:lnTo>
                  <a:lnTo>
                    <a:pt x="480" y="708"/>
                  </a:lnTo>
                  <a:lnTo>
                    <a:pt x="480" y="714"/>
                  </a:lnTo>
                  <a:lnTo>
                    <a:pt x="474" y="714"/>
                  </a:lnTo>
                  <a:lnTo>
                    <a:pt x="474" y="720"/>
                  </a:lnTo>
                  <a:lnTo>
                    <a:pt x="480" y="726"/>
                  </a:lnTo>
                  <a:lnTo>
                    <a:pt x="474" y="726"/>
                  </a:lnTo>
                  <a:lnTo>
                    <a:pt x="474" y="738"/>
                  </a:lnTo>
                  <a:lnTo>
                    <a:pt x="474" y="744"/>
                  </a:lnTo>
                  <a:lnTo>
                    <a:pt x="474" y="750"/>
                  </a:lnTo>
                  <a:lnTo>
                    <a:pt x="480" y="750"/>
                  </a:lnTo>
                  <a:lnTo>
                    <a:pt x="480" y="756"/>
                  </a:lnTo>
                  <a:lnTo>
                    <a:pt x="492" y="762"/>
                  </a:lnTo>
                  <a:lnTo>
                    <a:pt x="498" y="774"/>
                  </a:lnTo>
                  <a:lnTo>
                    <a:pt x="498" y="780"/>
                  </a:lnTo>
                  <a:lnTo>
                    <a:pt x="504" y="786"/>
                  </a:lnTo>
                  <a:lnTo>
                    <a:pt x="510" y="792"/>
                  </a:lnTo>
                  <a:lnTo>
                    <a:pt x="504" y="798"/>
                  </a:lnTo>
                  <a:lnTo>
                    <a:pt x="504" y="804"/>
                  </a:lnTo>
                  <a:lnTo>
                    <a:pt x="504" y="810"/>
                  </a:lnTo>
                  <a:lnTo>
                    <a:pt x="498" y="822"/>
                  </a:lnTo>
                  <a:lnTo>
                    <a:pt x="492" y="828"/>
                  </a:lnTo>
                  <a:lnTo>
                    <a:pt x="492" y="834"/>
                  </a:lnTo>
                  <a:lnTo>
                    <a:pt x="486" y="840"/>
                  </a:lnTo>
                  <a:lnTo>
                    <a:pt x="480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74" y="858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876"/>
                  </a:lnTo>
                  <a:lnTo>
                    <a:pt x="456" y="894"/>
                  </a:lnTo>
                  <a:lnTo>
                    <a:pt x="450" y="894"/>
                  </a:lnTo>
                  <a:lnTo>
                    <a:pt x="444" y="900"/>
                  </a:lnTo>
                  <a:lnTo>
                    <a:pt x="444" y="894"/>
                  </a:lnTo>
                  <a:lnTo>
                    <a:pt x="438" y="894"/>
                  </a:lnTo>
                  <a:lnTo>
                    <a:pt x="432" y="900"/>
                  </a:lnTo>
                  <a:lnTo>
                    <a:pt x="432" y="906"/>
                  </a:lnTo>
                  <a:lnTo>
                    <a:pt x="420" y="906"/>
                  </a:lnTo>
                  <a:lnTo>
                    <a:pt x="420" y="912"/>
                  </a:lnTo>
                  <a:lnTo>
                    <a:pt x="420" y="918"/>
                  </a:lnTo>
                  <a:lnTo>
                    <a:pt x="426" y="918"/>
                  </a:lnTo>
                  <a:lnTo>
                    <a:pt x="426" y="924"/>
                  </a:lnTo>
                  <a:lnTo>
                    <a:pt x="426" y="930"/>
                  </a:lnTo>
                  <a:lnTo>
                    <a:pt x="420" y="930"/>
                  </a:lnTo>
                  <a:lnTo>
                    <a:pt x="414" y="936"/>
                  </a:lnTo>
                  <a:lnTo>
                    <a:pt x="414" y="942"/>
                  </a:lnTo>
                  <a:lnTo>
                    <a:pt x="414" y="948"/>
                  </a:lnTo>
                  <a:lnTo>
                    <a:pt x="414" y="954"/>
                  </a:lnTo>
                  <a:lnTo>
                    <a:pt x="426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44" y="972"/>
                  </a:lnTo>
                  <a:lnTo>
                    <a:pt x="444" y="978"/>
                  </a:lnTo>
                  <a:lnTo>
                    <a:pt x="450" y="978"/>
                  </a:lnTo>
                  <a:lnTo>
                    <a:pt x="450" y="984"/>
                  </a:lnTo>
                  <a:lnTo>
                    <a:pt x="456" y="990"/>
                  </a:lnTo>
                  <a:lnTo>
                    <a:pt x="456" y="996"/>
                  </a:lnTo>
                  <a:lnTo>
                    <a:pt x="462" y="1008"/>
                  </a:lnTo>
                  <a:lnTo>
                    <a:pt x="468" y="1008"/>
                  </a:lnTo>
                  <a:lnTo>
                    <a:pt x="468" y="1002"/>
                  </a:lnTo>
                  <a:lnTo>
                    <a:pt x="474" y="1008"/>
                  </a:lnTo>
                  <a:lnTo>
                    <a:pt x="480" y="1002"/>
                  </a:lnTo>
                  <a:lnTo>
                    <a:pt x="486" y="1008"/>
                  </a:lnTo>
                  <a:lnTo>
                    <a:pt x="486" y="1014"/>
                  </a:lnTo>
                  <a:lnTo>
                    <a:pt x="492" y="1014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92" y="1020"/>
                  </a:lnTo>
                  <a:lnTo>
                    <a:pt x="486" y="1020"/>
                  </a:lnTo>
                  <a:lnTo>
                    <a:pt x="486" y="1026"/>
                  </a:lnTo>
                  <a:lnTo>
                    <a:pt x="492" y="1026"/>
                  </a:lnTo>
                  <a:lnTo>
                    <a:pt x="486" y="1026"/>
                  </a:lnTo>
                  <a:lnTo>
                    <a:pt x="492" y="103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5" name="Freeform 30">
              <a:extLst>
                <a:ext uri="{FF2B5EF4-FFF2-40B4-BE49-F238E27FC236}">
                  <a16:creationId xmlns:a16="http://schemas.microsoft.com/office/drawing/2014/main" id="{85C7B827-0C1A-4D72-AEBD-F01CFE7EC12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3645" y="3904484"/>
              <a:ext cx="559048" cy="111825"/>
            </a:xfrm>
            <a:custGeom>
              <a:avLst/>
              <a:gdLst>
                <a:gd name="T0" fmla="*/ 69 w 1056"/>
                <a:gd name="T1" fmla="*/ 7 h 210"/>
                <a:gd name="T2" fmla="*/ 63 w 1056"/>
                <a:gd name="T3" fmla="*/ 5 h 210"/>
                <a:gd name="T4" fmla="*/ 57 w 1056"/>
                <a:gd name="T5" fmla="*/ 5 h 210"/>
                <a:gd name="T6" fmla="*/ 54 w 1056"/>
                <a:gd name="T7" fmla="*/ 6 h 210"/>
                <a:gd name="T8" fmla="*/ 51 w 1056"/>
                <a:gd name="T9" fmla="*/ 7 h 210"/>
                <a:gd name="T10" fmla="*/ 46 w 1056"/>
                <a:gd name="T11" fmla="*/ 9 h 210"/>
                <a:gd name="T12" fmla="*/ 42 w 1056"/>
                <a:gd name="T13" fmla="*/ 8 h 210"/>
                <a:gd name="T14" fmla="*/ 42 w 1056"/>
                <a:gd name="T15" fmla="*/ 5 h 210"/>
                <a:gd name="T16" fmla="*/ 41 w 1056"/>
                <a:gd name="T17" fmla="*/ 7 h 210"/>
                <a:gd name="T18" fmla="*/ 38 w 1056"/>
                <a:gd name="T19" fmla="*/ 10 h 210"/>
                <a:gd name="T20" fmla="*/ 37 w 1056"/>
                <a:gd name="T21" fmla="*/ 12 h 210"/>
                <a:gd name="T22" fmla="*/ 37 w 1056"/>
                <a:gd name="T23" fmla="*/ 15 h 210"/>
                <a:gd name="T24" fmla="*/ 37 w 1056"/>
                <a:gd name="T25" fmla="*/ 16 h 210"/>
                <a:gd name="T26" fmla="*/ 38 w 1056"/>
                <a:gd name="T27" fmla="*/ 16 h 210"/>
                <a:gd name="T28" fmla="*/ 34 w 1056"/>
                <a:gd name="T29" fmla="*/ 16 h 210"/>
                <a:gd name="T30" fmla="*/ 26 w 1056"/>
                <a:gd name="T31" fmla="*/ 16 h 210"/>
                <a:gd name="T32" fmla="*/ 20 w 1056"/>
                <a:gd name="T33" fmla="*/ 17 h 210"/>
                <a:gd name="T34" fmla="*/ 13 w 1056"/>
                <a:gd name="T35" fmla="*/ 17 h 210"/>
                <a:gd name="T36" fmla="*/ 6 w 1056"/>
                <a:gd name="T37" fmla="*/ 17 h 210"/>
                <a:gd name="T38" fmla="*/ 1 w 1056"/>
                <a:gd name="T39" fmla="*/ 18 h 210"/>
                <a:gd name="T40" fmla="*/ 3 w 1056"/>
                <a:gd name="T41" fmla="*/ 14 h 210"/>
                <a:gd name="T42" fmla="*/ 8 w 1056"/>
                <a:gd name="T43" fmla="*/ 15 h 210"/>
                <a:gd name="T44" fmla="*/ 11 w 1056"/>
                <a:gd name="T45" fmla="*/ 12 h 210"/>
                <a:gd name="T46" fmla="*/ 26 w 1056"/>
                <a:gd name="T47" fmla="*/ 10 h 210"/>
                <a:gd name="T48" fmla="*/ 29 w 1056"/>
                <a:gd name="T49" fmla="*/ 5 h 210"/>
                <a:gd name="T50" fmla="*/ 34 w 1056"/>
                <a:gd name="T51" fmla="*/ 1 h 210"/>
                <a:gd name="T52" fmla="*/ 41 w 1056"/>
                <a:gd name="T53" fmla="*/ 3 h 210"/>
                <a:gd name="T54" fmla="*/ 73 w 1056"/>
                <a:gd name="T55" fmla="*/ 1 h 210"/>
                <a:gd name="T56" fmla="*/ 75 w 1056"/>
                <a:gd name="T57" fmla="*/ 4 h 210"/>
                <a:gd name="T58" fmla="*/ 85 w 1056"/>
                <a:gd name="T59" fmla="*/ 15 h 210"/>
                <a:gd name="T60" fmla="*/ 91 w 1056"/>
                <a:gd name="T61" fmla="*/ 18 h 210"/>
                <a:gd name="T62" fmla="*/ 85 w 1056"/>
                <a:gd name="T63" fmla="*/ 18 h 210"/>
                <a:gd name="T64" fmla="*/ 79 w 1056"/>
                <a:gd name="T65" fmla="*/ 16 h 210"/>
                <a:gd name="T66" fmla="*/ 74 w 1056"/>
                <a:gd name="T67" fmla="*/ 16 h 210"/>
                <a:gd name="T68" fmla="*/ 69 w 1056"/>
                <a:gd name="T69" fmla="*/ 15 h 210"/>
                <a:gd name="T70" fmla="*/ 65 w 1056"/>
                <a:gd name="T71" fmla="*/ 14 h 210"/>
                <a:gd name="T72" fmla="*/ 59 w 1056"/>
                <a:gd name="T73" fmla="*/ 15 h 210"/>
                <a:gd name="T74" fmla="*/ 54 w 1056"/>
                <a:gd name="T75" fmla="*/ 15 h 210"/>
                <a:gd name="T76" fmla="*/ 49 w 1056"/>
                <a:gd name="T77" fmla="*/ 15 h 210"/>
                <a:gd name="T78" fmla="*/ 42 w 1056"/>
                <a:gd name="T79" fmla="*/ 15 h 210"/>
                <a:gd name="T80" fmla="*/ 38 w 1056"/>
                <a:gd name="T81" fmla="*/ 16 h 210"/>
                <a:gd name="T82" fmla="*/ 41 w 1056"/>
                <a:gd name="T83" fmla="*/ 14 h 210"/>
                <a:gd name="T84" fmla="*/ 42 w 1056"/>
                <a:gd name="T85" fmla="*/ 13 h 210"/>
                <a:gd name="T86" fmla="*/ 45 w 1056"/>
                <a:gd name="T87" fmla="*/ 13 h 210"/>
                <a:gd name="T88" fmla="*/ 48 w 1056"/>
                <a:gd name="T89" fmla="*/ 12 h 210"/>
                <a:gd name="T90" fmla="*/ 51 w 1056"/>
                <a:gd name="T91" fmla="*/ 11 h 210"/>
                <a:gd name="T92" fmla="*/ 54 w 1056"/>
                <a:gd name="T93" fmla="*/ 9 h 210"/>
                <a:gd name="T94" fmla="*/ 57 w 1056"/>
                <a:gd name="T95" fmla="*/ 8 h 210"/>
                <a:gd name="T96" fmla="*/ 60 w 1056"/>
                <a:gd name="T97" fmla="*/ 5 h 210"/>
                <a:gd name="T98" fmla="*/ 65 w 1056"/>
                <a:gd name="T99" fmla="*/ 5 h 210"/>
                <a:gd name="T100" fmla="*/ 72 w 1056"/>
                <a:gd name="T101" fmla="*/ 7 h 210"/>
                <a:gd name="T102" fmla="*/ 77 w 1056"/>
                <a:gd name="T103" fmla="*/ 11 h 210"/>
                <a:gd name="T104" fmla="*/ 69 w 1056"/>
                <a:gd name="T105" fmla="*/ 10 h 210"/>
                <a:gd name="T106" fmla="*/ 72 w 1056"/>
                <a:gd name="T107" fmla="*/ 12 h 210"/>
                <a:gd name="T108" fmla="*/ 78 w 1056"/>
                <a:gd name="T109" fmla="*/ 15 h 210"/>
                <a:gd name="T110" fmla="*/ 84 w 1056"/>
                <a:gd name="T111" fmla="*/ 14 h 210"/>
                <a:gd name="T112" fmla="*/ 84 w 1056"/>
                <a:gd name="T113" fmla="*/ 14 h 210"/>
                <a:gd name="T114" fmla="*/ 78 w 1056"/>
                <a:gd name="T115" fmla="*/ 13 h 210"/>
                <a:gd name="T116" fmla="*/ 76 w 1056"/>
                <a:gd name="T117" fmla="*/ 14 h 210"/>
                <a:gd name="T118" fmla="*/ 38 w 1056"/>
                <a:gd name="T119" fmla="*/ 12 h 210"/>
                <a:gd name="T120" fmla="*/ 41 w 1056"/>
                <a:gd name="T121" fmla="*/ 12 h 210"/>
                <a:gd name="T122" fmla="*/ 40 w 1056"/>
                <a:gd name="T123" fmla="*/ 14 h 2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6"/>
                <a:gd name="T187" fmla="*/ 0 h 210"/>
                <a:gd name="T188" fmla="*/ 1056 w 1056"/>
                <a:gd name="T189" fmla="*/ 210 h 21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6" h="210">
                  <a:moveTo>
                    <a:pt x="870" y="90"/>
                  </a:moveTo>
                  <a:lnTo>
                    <a:pt x="864" y="90"/>
                  </a:lnTo>
                  <a:lnTo>
                    <a:pt x="852" y="84"/>
                  </a:lnTo>
                  <a:lnTo>
                    <a:pt x="846" y="84"/>
                  </a:lnTo>
                  <a:lnTo>
                    <a:pt x="846" y="78"/>
                  </a:lnTo>
                  <a:lnTo>
                    <a:pt x="840" y="78"/>
                  </a:lnTo>
                  <a:lnTo>
                    <a:pt x="834" y="78"/>
                  </a:lnTo>
                  <a:lnTo>
                    <a:pt x="834" y="72"/>
                  </a:lnTo>
                  <a:lnTo>
                    <a:pt x="804" y="78"/>
                  </a:lnTo>
                  <a:lnTo>
                    <a:pt x="798" y="78"/>
                  </a:lnTo>
                  <a:lnTo>
                    <a:pt x="792" y="72"/>
                  </a:lnTo>
                  <a:lnTo>
                    <a:pt x="780" y="60"/>
                  </a:lnTo>
                  <a:lnTo>
                    <a:pt x="768" y="54"/>
                  </a:lnTo>
                  <a:lnTo>
                    <a:pt x="756" y="54"/>
                  </a:lnTo>
                  <a:lnTo>
                    <a:pt x="750" y="54"/>
                  </a:lnTo>
                  <a:lnTo>
                    <a:pt x="750" y="48"/>
                  </a:lnTo>
                  <a:lnTo>
                    <a:pt x="744" y="48"/>
                  </a:lnTo>
                  <a:lnTo>
                    <a:pt x="738" y="48"/>
                  </a:lnTo>
                  <a:lnTo>
                    <a:pt x="732" y="48"/>
                  </a:lnTo>
                  <a:lnTo>
                    <a:pt x="732" y="54"/>
                  </a:lnTo>
                  <a:lnTo>
                    <a:pt x="726" y="48"/>
                  </a:lnTo>
                  <a:lnTo>
                    <a:pt x="720" y="48"/>
                  </a:lnTo>
                  <a:lnTo>
                    <a:pt x="714" y="48"/>
                  </a:lnTo>
                  <a:lnTo>
                    <a:pt x="708" y="48"/>
                  </a:lnTo>
                  <a:lnTo>
                    <a:pt x="702" y="48"/>
                  </a:lnTo>
                  <a:lnTo>
                    <a:pt x="696" y="48"/>
                  </a:lnTo>
                  <a:lnTo>
                    <a:pt x="684" y="48"/>
                  </a:lnTo>
                  <a:lnTo>
                    <a:pt x="678" y="48"/>
                  </a:lnTo>
                  <a:lnTo>
                    <a:pt x="672" y="48"/>
                  </a:lnTo>
                  <a:lnTo>
                    <a:pt x="666" y="54"/>
                  </a:lnTo>
                  <a:lnTo>
                    <a:pt x="660" y="54"/>
                  </a:lnTo>
                  <a:lnTo>
                    <a:pt x="660" y="48"/>
                  </a:lnTo>
                  <a:lnTo>
                    <a:pt x="654" y="48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42" y="54"/>
                  </a:lnTo>
                  <a:lnTo>
                    <a:pt x="63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30" y="66"/>
                  </a:lnTo>
                  <a:lnTo>
                    <a:pt x="624" y="66"/>
                  </a:lnTo>
                  <a:lnTo>
                    <a:pt x="618" y="66"/>
                  </a:lnTo>
                  <a:lnTo>
                    <a:pt x="618" y="72"/>
                  </a:lnTo>
                  <a:lnTo>
                    <a:pt x="612" y="78"/>
                  </a:lnTo>
                  <a:lnTo>
                    <a:pt x="606" y="78"/>
                  </a:lnTo>
                  <a:lnTo>
                    <a:pt x="606" y="84"/>
                  </a:lnTo>
                  <a:lnTo>
                    <a:pt x="600" y="84"/>
                  </a:lnTo>
                  <a:lnTo>
                    <a:pt x="594" y="90"/>
                  </a:lnTo>
                  <a:lnTo>
                    <a:pt x="588" y="90"/>
                  </a:lnTo>
                  <a:lnTo>
                    <a:pt x="588" y="84"/>
                  </a:lnTo>
                  <a:lnTo>
                    <a:pt x="582" y="84"/>
                  </a:lnTo>
                  <a:lnTo>
                    <a:pt x="576" y="84"/>
                  </a:lnTo>
                  <a:lnTo>
                    <a:pt x="570" y="84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58" y="96"/>
                  </a:lnTo>
                  <a:lnTo>
                    <a:pt x="552" y="96"/>
                  </a:lnTo>
                  <a:lnTo>
                    <a:pt x="546" y="102"/>
                  </a:lnTo>
                  <a:lnTo>
                    <a:pt x="540" y="102"/>
                  </a:lnTo>
                  <a:lnTo>
                    <a:pt x="534" y="102"/>
                  </a:lnTo>
                  <a:lnTo>
                    <a:pt x="528" y="102"/>
                  </a:lnTo>
                  <a:lnTo>
                    <a:pt x="528" y="108"/>
                  </a:lnTo>
                  <a:lnTo>
                    <a:pt x="522" y="108"/>
                  </a:lnTo>
                  <a:lnTo>
                    <a:pt x="522" y="102"/>
                  </a:lnTo>
                  <a:lnTo>
                    <a:pt x="516" y="102"/>
                  </a:lnTo>
                  <a:lnTo>
                    <a:pt x="510" y="102"/>
                  </a:lnTo>
                  <a:lnTo>
                    <a:pt x="504" y="102"/>
                  </a:lnTo>
                  <a:lnTo>
                    <a:pt x="498" y="102"/>
                  </a:lnTo>
                  <a:lnTo>
                    <a:pt x="498" y="96"/>
                  </a:lnTo>
                  <a:lnTo>
                    <a:pt x="492" y="96"/>
                  </a:lnTo>
                  <a:lnTo>
                    <a:pt x="492" y="90"/>
                  </a:lnTo>
                  <a:lnTo>
                    <a:pt x="492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498" y="66"/>
                  </a:lnTo>
                  <a:lnTo>
                    <a:pt x="504" y="60"/>
                  </a:lnTo>
                  <a:lnTo>
                    <a:pt x="498" y="60"/>
                  </a:lnTo>
                  <a:lnTo>
                    <a:pt x="498" y="54"/>
                  </a:lnTo>
                  <a:lnTo>
                    <a:pt x="492" y="54"/>
                  </a:lnTo>
                  <a:lnTo>
                    <a:pt x="492" y="60"/>
                  </a:lnTo>
                  <a:lnTo>
                    <a:pt x="486" y="60"/>
                  </a:lnTo>
                  <a:lnTo>
                    <a:pt x="486" y="66"/>
                  </a:lnTo>
                  <a:lnTo>
                    <a:pt x="480" y="66"/>
                  </a:lnTo>
                  <a:lnTo>
                    <a:pt x="474" y="72"/>
                  </a:lnTo>
                  <a:lnTo>
                    <a:pt x="474" y="66"/>
                  </a:lnTo>
                  <a:lnTo>
                    <a:pt x="474" y="72"/>
                  </a:lnTo>
                  <a:lnTo>
                    <a:pt x="468" y="72"/>
                  </a:lnTo>
                  <a:lnTo>
                    <a:pt x="468" y="78"/>
                  </a:lnTo>
                  <a:lnTo>
                    <a:pt x="468" y="84"/>
                  </a:lnTo>
                  <a:lnTo>
                    <a:pt x="462" y="90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0" y="84"/>
                  </a:lnTo>
                  <a:lnTo>
                    <a:pt x="450" y="90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44" y="102"/>
                  </a:lnTo>
                  <a:lnTo>
                    <a:pt x="444" y="108"/>
                  </a:lnTo>
                  <a:lnTo>
                    <a:pt x="444" y="114"/>
                  </a:lnTo>
                  <a:lnTo>
                    <a:pt x="450" y="114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38" y="126"/>
                  </a:lnTo>
                  <a:lnTo>
                    <a:pt x="438" y="132"/>
                  </a:lnTo>
                  <a:lnTo>
                    <a:pt x="438" y="138"/>
                  </a:lnTo>
                  <a:lnTo>
                    <a:pt x="438" y="144"/>
                  </a:lnTo>
                  <a:lnTo>
                    <a:pt x="432" y="144"/>
                  </a:lnTo>
                  <a:lnTo>
                    <a:pt x="432" y="150"/>
                  </a:lnTo>
                  <a:lnTo>
                    <a:pt x="432" y="144"/>
                  </a:lnTo>
                  <a:lnTo>
                    <a:pt x="426" y="144"/>
                  </a:lnTo>
                  <a:lnTo>
                    <a:pt x="426" y="150"/>
                  </a:lnTo>
                  <a:lnTo>
                    <a:pt x="426" y="156"/>
                  </a:lnTo>
                  <a:lnTo>
                    <a:pt x="432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2"/>
                  </a:lnTo>
                  <a:lnTo>
                    <a:pt x="432" y="168"/>
                  </a:lnTo>
                  <a:lnTo>
                    <a:pt x="426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38" y="174"/>
                  </a:lnTo>
                  <a:lnTo>
                    <a:pt x="444" y="174"/>
                  </a:lnTo>
                  <a:lnTo>
                    <a:pt x="444" y="168"/>
                  </a:lnTo>
                  <a:lnTo>
                    <a:pt x="444" y="174"/>
                  </a:lnTo>
                  <a:lnTo>
                    <a:pt x="444" y="180"/>
                  </a:lnTo>
                  <a:lnTo>
                    <a:pt x="444" y="186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2" y="192"/>
                  </a:lnTo>
                  <a:lnTo>
                    <a:pt x="426" y="192"/>
                  </a:lnTo>
                  <a:lnTo>
                    <a:pt x="420" y="186"/>
                  </a:lnTo>
                  <a:lnTo>
                    <a:pt x="414" y="186"/>
                  </a:lnTo>
                  <a:lnTo>
                    <a:pt x="408" y="186"/>
                  </a:lnTo>
                  <a:lnTo>
                    <a:pt x="402" y="186"/>
                  </a:lnTo>
                  <a:lnTo>
                    <a:pt x="396" y="186"/>
                  </a:lnTo>
                  <a:lnTo>
                    <a:pt x="390" y="186"/>
                  </a:lnTo>
                  <a:lnTo>
                    <a:pt x="384" y="186"/>
                  </a:lnTo>
                  <a:lnTo>
                    <a:pt x="378" y="186"/>
                  </a:lnTo>
                  <a:lnTo>
                    <a:pt x="372" y="186"/>
                  </a:lnTo>
                  <a:lnTo>
                    <a:pt x="354" y="186"/>
                  </a:lnTo>
                  <a:lnTo>
                    <a:pt x="342" y="186"/>
                  </a:lnTo>
                  <a:lnTo>
                    <a:pt x="324" y="186"/>
                  </a:lnTo>
                  <a:lnTo>
                    <a:pt x="312" y="186"/>
                  </a:lnTo>
                  <a:lnTo>
                    <a:pt x="306" y="186"/>
                  </a:lnTo>
                  <a:lnTo>
                    <a:pt x="300" y="186"/>
                  </a:lnTo>
                  <a:lnTo>
                    <a:pt x="294" y="186"/>
                  </a:lnTo>
                  <a:lnTo>
                    <a:pt x="282" y="186"/>
                  </a:lnTo>
                  <a:lnTo>
                    <a:pt x="270" y="186"/>
                  </a:lnTo>
                  <a:lnTo>
                    <a:pt x="264" y="186"/>
                  </a:lnTo>
                  <a:lnTo>
                    <a:pt x="258" y="192"/>
                  </a:lnTo>
                  <a:lnTo>
                    <a:pt x="258" y="186"/>
                  </a:lnTo>
                  <a:lnTo>
                    <a:pt x="246" y="186"/>
                  </a:lnTo>
                  <a:lnTo>
                    <a:pt x="240" y="186"/>
                  </a:lnTo>
                  <a:lnTo>
                    <a:pt x="234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2"/>
                  </a:lnTo>
                  <a:lnTo>
                    <a:pt x="204" y="192"/>
                  </a:lnTo>
                  <a:lnTo>
                    <a:pt x="198" y="192"/>
                  </a:lnTo>
                  <a:lnTo>
                    <a:pt x="192" y="192"/>
                  </a:lnTo>
                  <a:lnTo>
                    <a:pt x="180" y="192"/>
                  </a:lnTo>
                  <a:lnTo>
                    <a:pt x="168" y="192"/>
                  </a:lnTo>
                  <a:lnTo>
                    <a:pt x="162" y="192"/>
                  </a:lnTo>
                  <a:lnTo>
                    <a:pt x="150" y="192"/>
                  </a:lnTo>
                  <a:lnTo>
                    <a:pt x="138" y="192"/>
                  </a:lnTo>
                  <a:lnTo>
                    <a:pt x="132" y="192"/>
                  </a:lnTo>
                  <a:lnTo>
                    <a:pt x="120" y="192"/>
                  </a:lnTo>
                  <a:lnTo>
                    <a:pt x="114" y="192"/>
                  </a:lnTo>
                  <a:lnTo>
                    <a:pt x="108" y="192"/>
                  </a:lnTo>
                  <a:lnTo>
                    <a:pt x="102" y="192"/>
                  </a:lnTo>
                  <a:lnTo>
                    <a:pt x="90" y="192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2" y="198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36" y="198"/>
                  </a:lnTo>
                  <a:lnTo>
                    <a:pt x="30" y="204"/>
                  </a:lnTo>
                  <a:lnTo>
                    <a:pt x="24" y="204"/>
                  </a:lnTo>
                  <a:lnTo>
                    <a:pt x="18" y="204"/>
                  </a:lnTo>
                  <a:lnTo>
                    <a:pt x="12" y="204"/>
                  </a:lnTo>
                  <a:lnTo>
                    <a:pt x="6" y="210"/>
                  </a:lnTo>
                  <a:lnTo>
                    <a:pt x="0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42" y="162"/>
                  </a:lnTo>
                  <a:lnTo>
                    <a:pt x="48" y="162"/>
                  </a:lnTo>
                  <a:lnTo>
                    <a:pt x="54" y="156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56"/>
                  </a:lnTo>
                  <a:lnTo>
                    <a:pt x="78" y="162"/>
                  </a:lnTo>
                  <a:lnTo>
                    <a:pt x="84" y="162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20" y="144"/>
                  </a:lnTo>
                  <a:lnTo>
                    <a:pt x="126" y="144"/>
                  </a:lnTo>
                  <a:lnTo>
                    <a:pt x="126" y="138"/>
                  </a:lnTo>
                  <a:lnTo>
                    <a:pt x="126" y="132"/>
                  </a:lnTo>
                  <a:lnTo>
                    <a:pt x="126" y="126"/>
                  </a:lnTo>
                  <a:lnTo>
                    <a:pt x="192" y="126"/>
                  </a:lnTo>
                  <a:lnTo>
                    <a:pt x="258" y="126"/>
                  </a:lnTo>
                  <a:lnTo>
                    <a:pt x="264" y="126"/>
                  </a:lnTo>
                  <a:lnTo>
                    <a:pt x="270" y="126"/>
                  </a:lnTo>
                  <a:lnTo>
                    <a:pt x="276" y="120"/>
                  </a:lnTo>
                  <a:lnTo>
                    <a:pt x="282" y="120"/>
                  </a:lnTo>
                  <a:lnTo>
                    <a:pt x="300" y="120"/>
                  </a:lnTo>
                  <a:lnTo>
                    <a:pt x="306" y="114"/>
                  </a:lnTo>
                  <a:lnTo>
                    <a:pt x="312" y="108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8"/>
                  </a:lnTo>
                  <a:lnTo>
                    <a:pt x="342" y="30"/>
                  </a:lnTo>
                  <a:lnTo>
                    <a:pt x="342" y="24"/>
                  </a:lnTo>
                  <a:lnTo>
                    <a:pt x="354" y="0"/>
                  </a:lnTo>
                  <a:lnTo>
                    <a:pt x="360" y="0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8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402" y="18"/>
                  </a:lnTo>
                  <a:lnTo>
                    <a:pt x="408" y="18"/>
                  </a:lnTo>
                  <a:lnTo>
                    <a:pt x="414" y="24"/>
                  </a:lnTo>
                  <a:lnTo>
                    <a:pt x="414" y="30"/>
                  </a:lnTo>
                  <a:lnTo>
                    <a:pt x="420" y="30"/>
                  </a:lnTo>
                  <a:lnTo>
                    <a:pt x="42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74" y="30"/>
                  </a:lnTo>
                  <a:lnTo>
                    <a:pt x="474" y="18"/>
                  </a:lnTo>
                  <a:lnTo>
                    <a:pt x="474" y="12"/>
                  </a:lnTo>
                  <a:lnTo>
                    <a:pt x="480" y="12"/>
                  </a:lnTo>
                  <a:lnTo>
                    <a:pt x="486" y="12"/>
                  </a:lnTo>
                  <a:lnTo>
                    <a:pt x="606" y="12"/>
                  </a:lnTo>
                  <a:lnTo>
                    <a:pt x="630" y="12"/>
                  </a:lnTo>
                  <a:lnTo>
                    <a:pt x="678" y="12"/>
                  </a:lnTo>
                  <a:lnTo>
                    <a:pt x="744" y="12"/>
                  </a:lnTo>
                  <a:lnTo>
                    <a:pt x="774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2" y="6"/>
                  </a:lnTo>
                  <a:lnTo>
                    <a:pt x="888" y="12"/>
                  </a:lnTo>
                  <a:lnTo>
                    <a:pt x="888" y="24"/>
                  </a:lnTo>
                  <a:lnTo>
                    <a:pt x="888" y="30"/>
                  </a:lnTo>
                  <a:lnTo>
                    <a:pt x="882" y="36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64" y="42"/>
                  </a:lnTo>
                  <a:lnTo>
                    <a:pt x="864" y="48"/>
                  </a:lnTo>
                  <a:lnTo>
                    <a:pt x="858" y="54"/>
                  </a:lnTo>
                  <a:lnTo>
                    <a:pt x="864" y="54"/>
                  </a:lnTo>
                  <a:lnTo>
                    <a:pt x="870" y="72"/>
                  </a:lnTo>
                  <a:lnTo>
                    <a:pt x="870" y="78"/>
                  </a:lnTo>
                  <a:lnTo>
                    <a:pt x="870" y="84"/>
                  </a:lnTo>
                  <a:lnTo>
                    <a:pt x="870" y="90"/>
                  </a:lnTo>
                  <a:close/>
                  <a:moveTo>
                    <a:pt x="972" y="156"/>
                  </a:moveTo>
                  <a:lnTo>
                    <a:pt x="972" y="162"/>
                  </a:lnTo>
                  <a:lnTo>
                    <a:pt x="978" y="162"/>
                  </a:lnTo>
                  <a:lnTo>
                    <a:pt x="984" y="168"/>
                  </a:lnTo>
                  <a:lnTo>
                    <a:pt x="990" y="168"/>
                  </a:lnTo>
                  <a:lnTo>
                    <a:pt x="990" y="162"/>
                  </a:lnTo>
                  <a:lnTo>
                    <a:pt x="1008" y="162"/>
                  </a:lnTo>
                  <a:lnTo>
                    <a:pt x="1020" y="162"/>
                  </a:lnTo>
                  <a:lnTo>
                    <a:pt x="1038" y="162"/>
                  </a:lnTo>
                  <a:lnTo>
                    <a:pt x="1056" y="168"/>
                  </a:lnTo>
                  <a:lnTo>
                    <a:pt x="1056" y="180"/>
                  </a:lnTo>
                  <a:lnTo>
                    <a:pt x="1056" y="186"/>
                  </a:lnTo>
                  <a:lnTo>
                    <a:pt x="1056" y="204"/>
                  </a:lnTo>
                  <a:lnTo>
                    <a:pt x="1050" y="204"/>
                  </a:lnTo>
                  <a:lnTo>
                    <a:pt x="1044" y="204"/>
                  </a:lnTo>
                  <a:lnTo>
                    <a:pt x="1038" y="204"/>
                  </a:lnTo>
                  <a:lnTo>
                    <a:pt x="1032" y="204"/>
                  </a:lnTo>
                  <a:lnTo>
                    <a:pt x="1026" y="204"/>
                  </a:lnTo>
                  <a:lnTo>
                    <a:pt x="1020" y="204"/>
                  </a:lnTo>
                  <a:lnTo>
                    <a:pt x="1014" y="204"/>
                  </a:lnTo>
                  <a:lnTo>
                    <a:pt x="1008" y="204"/>
                  </a:lnTo>
                  <a:lnTo>
                    <a:pt x="1002" y="204"/>
                  </a:lnTo>
                  <a:lnTo>
                    <a:pt x="996" y="204"/>
                  </a:lnTo>
                  <a:lnTo>
                    <a:pt x="984" y="204"/>
                  </a:lnTo>
                  <a:lnTo>
                    <a:pt x="984" y="198"/>
                  </a:lnTo>
                  <a:lnTo>
                    <a:pt x="978" y="198"/>
                  </a:lnTo>
                  <a:lnTo>
                    <a:pt x="966" y="198"/>
                  </a:lnTo>
                  <a:lnTo>
                    <a:pt x="948" y="192"/>
                  </a:lnTo>
                  <a:lnTo>
                    <a:pt x="942" y="192"/>
                  </a:lnTo>
                  <a:lnTo>
                    <a:pt x="936" y="192"/>
                  </a:lnTo>
                  <a:lnTo>
                    <a:pt x="924" y="192"/>
                  </a:lnTo>
                  <a:lnTo>
                    <a:pt x="918" y="192"/>
                  </a:lnTo>
                  <a:lnTo>
                    <a:pt x="918" y="186"/>
                  </a:lnTo>
                  <a:lnTo>
                    <a:pt x="912" y="186"/>
                  </a:lnTo>
                  <a:lnTo>
                    <a:pt x="906" y="186"/>
                  </a:lnTo>
                  <a:lnTo>
                    <a:pt x="900" y="186"/>
                  </a:lnTo>
                  <a:lnTo>
                    <a:pt x="894" y="186"/>
                  </a:lnTo>
                  <a:lnTo>
                    <a:pt x="888" y="186"/>
                  </a:lnTo>
                  <a:lnTo>
                    <a:pt x="888" y="180"/>
                  </a:lnTo>
                  <a:lnTo>
                    <a:pt x="882" y="180"/>
                  </a:lnTo>
                  <a:lnTo>
                    <a:pt x="876" y="180"/>
                  </a:lnTo>
                  <a:lnTo>
                    <a:pt x="870" y="180"/>
                  </a:lnTo>
                  <a:lnTo>
                    <a:pt x="864" y="180"/>
                  </a:lnTo>
                  <a:lnTo>
                    <a:pt x="858" y="180"/>
                  </a:lnTo>
                  <a:lnTo>
                    <a:pt x="852" y="180"/>
                  </a:lnTo>
                  <a:lnTo>
                    <a:pt x="852" y="174"/>
                  </a:lnTo>
                  <a:lnTo>
                    <a:pt x="846" y="174"/>
                  </a:lnTo>
                  <a:lnTo>
                    <a:pt x="840" y="174"/>
                  </a:lnTo>
                  <a:lnTo>
                    <a:pt x="834" y="174"/>
                  </a:lnTo>
                  <a:lnTo>
                    <a:pt x="828" y="174"/>
                  </a:lnTo>
                  <a:lnTo>
                    <a:pt x="822" y="174"/>
                  </a:lnTo>
                  <a:lnTo>
                    <a:pt x="816" y="174"/>
                  </a:lnTo>
                  <a:lnTo>
                    <a:pt x="810" y="168"/>
                  </a:lnTo>
                  <a:lnTo>
                    <a:pt x="804" y="168"/>
                  </a:lnTo>
                  <a:lnTo>
                    <a:pt x="798" y="168"/>
                  </a:lnTo>
                  <a:lnTo>
                    <a:pt x="792" y="168"/>
                  </a:lnTo>
                  <a:lnTo>
                    <a:pt x="786" y="168"/>
                  </a:lnTo>
                  <a:lnTo>
                    <a:pt x="780" y="168"/>
                  </a:lnTo>
                  <a:lnTo>
                    <a:pt x="774" y="168"/>
                  </a:lnTo>
                  <a:lnTo>
                    <a:pt x="768" y="168"/>
                  </a:lnTo>
                  <a:lnTo>
                    <a:pt x="762" y="168"/>
                  </a:lnTo>
                  <a:lnTo>
                    <a:pt x="756" y="168"/>
                  </a:lnTo>
                  <a:lnTo>
                    <a:pt x="750" y="168"/>
                  </a:lnTo>
                  <a:lnTo>
                    <a:pt x="750" y="162"/>
                  </a:lnTo>
                  <a:lnTo>
                    <a:pt x="744" y="168"/>
                  </a:lnTo>
                  <a:lnTo>
                    <a:pt x="738" y="162"/>
                  </a:lnTo>
                  <a:lnTo>
                    <a:pt x="732" y="162"/>
                  </a:lnTo>
                  <a:lnTo>
                    <a:pt x="726" y="162"/>
                  </a:lnTo>
                  <a:lnTo>
                    <a:pt x="714" y="162"/>
                  </a:lnTo>
                  <a:lnTo>
                    <a:pt x="702" y="162"/>
                  </a:lnTo>
                  <a:lnTo>
                    <a:pt x="696" y="168"/>
                  </a:lnTo>
                  <a:lnTo>
                    <a:pt x="690" y="168"/>
                  </a:lnTo>
                  <a:lnTo>
                    <a:pt x="684" y="168"/>
                  </a:lnTo>
                  <a:lnTo>
                    <a:pt x="678" y="168"/>
                  </a:lnTo>
                  <a:lnTo>
                    <a:pt x="672" y="168"/>
                  </a:lnTo>
                  <a:lnTo>
                    <a:pt x="666" y="168"/>
                  </a:lnTo>
                  <a:lnTo>
                    <a:pt x="660" y="168"/>
                  </a:lnTo>
                  <a:lnTo>
                    <a:pt x="654" y="168"/>
                  </a:lnTo>
                  <a:lnTo>
                    <a:pt x="648" y="174"/>
                  </a:lnTo>
                  <a:lnTo>
                    <a:pt x="648" y="168"/>
                  </a:lnTo>
                  <a:lnTo>
                    <a:pt x="642" y="174"/>
                  </a:lnTo>
                  <a:lnTo>
                    <a:pt x="636" y="174"/>
                  </a:lnTo>
                  <a:lnTo>
                    <a:pt x="630" y="174"/>
                  </a:lnTo>
                  <a:lnTo>
                    <a:pt x="624" y="174"/>
                  </a:lnTo>
                  <a:lnTo>
                    <a:pt x="618" y="174"/>
                  </a:lnTo>
                  <a:lnTo>
                    <a:pt x="612" y="174"/>
                  </a:lnTo>
                  <a:lnTo>
                    <a:pt x="606" y="174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74"/>
                  </a:lnTo>
                  <a:lnTo>
                    <a:pt x="582" y="174"/>
                  </a:lnTo>
                  <a:lnTo>
                    <a:pt x="576" y="174"/>
                  </a:lnTo>
                  <a:lnTo>
                    <a:pt x="570" y="174"/>
                  </a:lnTo>
                  <a:lnTo>
                    <a:pt x="564" y="174"/>
                  </a:lnTo>
                  <a:lnTo>
                    <a:pt x="558" y="174"/>
                  </a:lnTo>
                  <a:lnTo>
                    <a:pt x="552" y="174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0" y="174"/>
                  </a:lnTo>
                  <a:lnTo>
                    <a:pt x="504" y="174"/>
                  </a:lnTo>
                  <a:lnTo>
                    <a:pt x="498" y="174"/>
                  </a:lnTo>
                  <a:lnTo>
                    <a:pt x="492" y="174"/>
                  </a:lnTo>
                  <a:lnTo>
                    <a:pt x="486" y="174"/>
                  </a:lnTo>
                  <a:lnTo>
                    <a:pt x="480" y="174"/>
                  </a:lnTo>
                  <a:lnTo>
                    <a:pt x="474" y="174"/>
                  </a:lnTo>
                  <a:lnTo>
                    <a:pt x="468" y="174"/>
                  </a:lnTo>
                  <a:lnTo>
                    <a:pt x="462" y="174"/>
                  </a:lnTo>
                  <a:lnTo>
                    <a:pt x="456" y="174"/>
                  </a:lnTo>
                  <a:lnTo>
                    <a:pt x="450" y="180"/>
                  </a:lnTo>
                  <a:lnTo>
                    <a:pt x="450" y="186"/>
                  </a:lnTo>
                  <a:lnTo>
                    <a:pt x="450" y="192"/>
                  </a:lnTo>
                  <a:lnTo>
                    <a:pt x="444" y="192"/>
                  </a:lnTo>
                  <a:lnTo>
                    <a:pt x="444" y="186"/>
                  </a:lnTo>
                  <a:lnTo>
                    <a:pt x="444" y="180"/>
                  </a:lnTo>
                  <a:lnTo>
                    <a:pt x="450" y="180"/>
                  </a:lnTo>
                  <a:lnTo>
                    <a:pt x="450" y="174"/>
                  </a:lnTo>
                  <a:lnTo>
                    <a:pt x="450" y="168"/>
                  </a:lnTo>
                  <a:lnTo>
                    <a:pt x="450" y="162"/>
                  </a:lnTo>
                  <a:lnTo>
                    <a:pt x="456" y="162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62" y="162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74" y="168"/>
                  </a:lnTo>
                  <a:lnTo>
                    <a:pt x="480" y="168"/>
                  </a:lnTo>
                  <a:lnTo>
                    <a:pt x="480" y="162"/>
                  </a:lnTo>
                  <a:lnTo>
                    <a:pt x="480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56"/>
                  </a:lnTo>
                  <a:lnTo>
                    <a:pt x="492" y="156"/>
                  </a:lnTo>
                  <a:lnTo>
                    <a:pt x="486" y="150"/>
                  </a:lnTo>
                  <a:lnTo>
                    <a:pt x="492" y="150"/>
                  </a:lnTo>
                  <a:lnTo>
                    <a:pt x="498" y="150"/>
                  </a:lnTo>
                  <a:lnTo>
                    <a:pt x="498" y="156"/>
                  </a:lnTo>
                  <a:lnTo>
                    <a:pt x="504" y="156"/>
                  </a:lnTo>
                  <a:lnTo>
                    <a:pt x="504" y="162"/>
                  </a:lnTo>
                  <a:lnTo>
                    <a:pt x="504" y="156"/>
                  </a:lnTo>
                  <a:lnTo>
                    <a:pt x="510" y="156"/>
                  </a:lnTo>
                  <a:lnTo>
                    <a:pt x="510" y="150"/>
                  </a:lnTo>
                  <a:lnTo>
                    <a:pt x="516" y="150"/>
                  </a:lnTo>
                  <a:lnTo>
                    <a:pt x="522" y="150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0"/>
                  </a:lnTo>
                  <a:lnTo>
                    <a:pt x="534" y="150"/>
                  </a:lnTo>
                  <a:lnTo>
                    <a:pt x="528" y="150"/>
                  </a:lnTo>
                  <a:lnTo>
                    <a:pt x="528" y="144"/>
                  </a:lnTo>
                  <a:lnTo>
                    <a:pt x="540" y="144"/>
                  </a:lnTo>
                  <a:lnTo>
                    <a:pt x="546" y="144"/>
                  </a:lnTo>
                  <a:lnTo>
                    <a:pt x="552" y="138"/>
                  </a:lnTo>
                  <a:lnTo>
                    <a:pt x="552" y="132"/>
                  </a:lnTo>
                  <a:lnTo>
                    <a:pt x="558" y="132"/>
                  </a:lnTo>
                  <a:lnTo>
                    <a:pt x="558" y="126"/>
                  </a:lnTo>
                  <a:lnTo>
                    <a:pt x="558" y="120"/>
                  </a:lnTo>
                  <a:lnTo>
                    <a:pt x="558" y="114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6" y="114"/>
                  </a:lnTo>
                  <a:lnTo>
                    <a:pt x="582" y="120"/>
                  </a:lnTo>
                  <a:lnTo>
                    <a:pt x="588" y="120"/>
                  </a:lnTo>
                  <a:lnTo>
                    <a:pt x="588" y="126"/>
                  </a:lnTo>
                  <a:lnTo>
                    <a:pt x="588" y="120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594" y="120"/>
                  </a:lnTo>
                  <a:lnTo>
                    <a:pt x="594" y="114"/>
                  </a:lnTo>
                  <a:lnTo>
                    <a:pt x="600" y="114"/>
                  </a:lnTo>
                  <a:lnTo>
                    <a:pt x="606" y="114"/>
                  </a:lnTo>
                  <a:lnTo>
                    <a:pt x="618" y="114"/>
                  </a:lnTo>
                  <a:lnTo>
                    <a:pt x="618" y="108"/>
                  </a:lnTo>
                  <a:lnTo>
                    <a:pt x="624" y="108"/>
                  </a:lnTo>
                  <a:lnTo>
                    <a:pt x="624" y="102"/>
                  </a:lnTo>
                  <a:lnTo>
                    <a:pt x="630" y="102"/>
                  </a:lnTo>
                  <a:lnTo>
                    <a:pt x="636" y="102"/>
                  </a:lnTo>
                  <a:lnTo>
                    <a:pt x="636" y="108"/>
                  </a:lnTo>
                  <a:lnTo>
                    <a:pt x="642" y="108"/>
                  </a:lnTo>
                  <a:lnTo>
                    <a:pt x="648" y="108"/>
                  </a:lnTo>
                  <a:lnTo>
                    <a:pt x="648" y="102"/>
                  </a:lnTo>
                  <a:lnTo>
                    <a:pt x="654" y="102"/>
                  </a:lnTo>
                  <a:lnTo>
                    <a:pt x="660" y="102"/>
                  </a:lnTo>
                  <a:lnTo>
                    <a:pt x="660" y="96"/>
                  </a:lnTo>
                  <a:lnTo>
                    <a:pt x="660" y="90"/>
                  </a:lnTo>
                  <a:lnTo>
                    <a:pt x="666" y="90"/>
                  </a:lnTo>
                  <a:lnTo>
                    <a:pt x="666" y="84"/>
                  </a:lnTo>
                  <a:lnTo>
                    <a:pt x="672" y="78"/>
                  </a:lnTo>
                  <a:lnTo>
                    <a:pt x="672" y="72"/>
                  </a:lnTo>
                  <a:lnTo>
                    <a:pt x="678" y="66"/>
                  </a:lnTo>
                  <a:lnTo>
                    <a:pt x="684" y="66"/>
                  </a:lnTo>
                  <a:lnTo>
                    <a:pt x="684" y="60"/>
                  </a:lnTo>
                  <a:lnTo>
                    <a:pt x="690" y="60"/>
                  </a:lnTo>
                  <a:lnTo>
                    <a:pt x="696" y="60"/>
                  </a:lnTo>
                  <a:lnTo>
                    <a:pt x="702" y="60"/>
                  </a:lnTo>
                  <a:lnTo>
                    <a:pt x="702" y="66"/>
                  </a:lnTo>
                  <a:lnTo>
                    <a:pt x="708" y="66"/>
                  </a:lnTo>
                  <a:lnTo>
                    <a:pt x="714" y="66"/>
                  </a:lnTo>
                  <a:lnTo>
                    <a:pt x="720" y="66"/>
                  </a:lnTo>
                  <a:lnTo>
                    <a:pt x="720" y="60"/>
                  </a:lnTo>
                  <a:lnTo>
                    <a:pt x="726" y="60"/>
                  </a:lnTo>
                  <a:lnTo>
                    <a:pt x="732" y="60"/>
                  </a:lnTo>
                  <a:lnTo>
                    <a:pt x="744" y="60"/>
                  </a:lnTo>
                  <a:lnTo>
                    <a:pt x="750" y="54"/>
                  </a:lnTo>
                  <a:lnTo>
                    <a:pt x="762" y="60"/>
                  </a:lnTo>
                  <a:lnTo>
                    <a:pt x="774" y="60"/>
                  </a:lnTo>
                  <a:lnTo>
                    <a:pt x="774" y="66"/>
                  </a:lnTo>
                  <a:lnTo>
                    <a:pt x="780" y="72"/>
                  </a:lnTo>
                  <a:lnTo>
                    <a:pt x="786" y="78"/>
                  </a:lnTo>
                  <a:lnTo>
                    <a:pt x="792" y="78"/>
                  </a:lnTo>
                  <a:lnTo>
                    <a:pt x="810" y="84"/>
                  </a:lnTo>
                  <a:lnTo>
                    <a:pt x="822" y="84"/>
                  </a:lnTo>
                  <a:lnTo>
                    <a:pt x="828" y="84"/>
                  </a:lnTo>
                  <a:lnTo>
                    <a:pt x="834" y="84"/>
                  </a:lnTo>
                  <a:lnTo>
                    <a:pt x="840" y="96"/>
                  </a:lnTo>
                  <a:lnTo>
                    <a:pt x="846" y="102"/>
                  </a:lnTo>
                  <a:lnTo>
                    <a:pt x="858" y="102"/>
                  </a:lnTo>
                  <a:lnTo>
                    <a:pt x="864" y="102"/>
                  </a:lnTo>
                  <a:lnTo>
                    <a:pt x="876" y="96"/>
                  </a:lnTo>
                  <a:lnTo>
                    <a:pt x="882" y="102"/>
                  </a:lnTo>
                  <a:lnTo>
                    <a:pt x="888" y="108"/>
                  </a:lnTo>
                  <a:lnTo>
                    <a:pt x="888" y="114"/>
                  </a:lnTo>
                  <a:lnTo>
                    <a:pt x="888" y="120"/>
                  </a:lnTo>
                  <a:lnTo>
                    <a:pt x="888" y="126"/>
                  </a:lnTo>
                  <a:lnTo>
                    <a:pt x="888" y="132"/>
                  </a:lnTo>
                  <a:lnTo>
                    <a:pt x="882" y="132"/>
                  </a:lnTo>
                  <a:lnTo>
                    <a:pt x="864" y="126"/>
                  </a:lnTo>
                  <a:lnTo>
                    <a:pt x="852" y="120"/>
                  </a:lnTo>
                  <a:lnTo>
                    <a:pt x="840" y="126"/>
                  </a:lnTo>
                  <a:lnTo>
                    <a:pt x="834" y="120"/>
                  </a:lnTo>
                  <a:lnTo>
                    <a:pt x="828" y="120"/>
                  </a:lnTo>
                  <a:lnTo>
                    <a:pt x="822" y="120"/>
                  </a:lnTo>
                  <a:lnTo>
                    <a:pt x="810" y="114"/>
                  </a:lnTo>
                  <a:lnTo>
                    <a:pt x="804" y="114"/>
                  </a:lnTo>
                  <a:lnTo>
                    <a:pt x="798" y="114"/>
                  </a:lnTo>
                  <a:lnTo>
                    <a:pt x="792" y="114"/>
                  </a:lnTo>
                  <a:lnTo>
                    <a:pt x="786" y="114"/>
                  </a:lnTo>
                  <a:lnTo>
                    <a:pt x="780" y="114"/>
                  </a:lnTo>
                  <a:lnTo>
                    <a:pt x="780" y="126"/>
                  </a:lnTo>
                  <a:lnTo>
                    <a:pt x="786" y="126"/>
                  </a:lnTo>
                  <a:lnTo>
                    <a:pt x="798" y="126"/>
                  </a:lnTo>
                  <a:lnTo>
                    <a:pt x="804" y="126"/>
                  </a:lnTo>
                  <a:lnTo>
                    <a:pt x="822" y="132"/>
                  </a:lnTo>
                  <a:lnTo>
                    <a:pt x="828" y="132"/>
                  </a:lnTo>
                  <a:lnTo>
                    <a:pt x="834" y="132"/>
                  </a:lnTo>
                  <a:lnTo>
                    <a:pt x="840" y="144"/>
                  </a:lnTo>
                  <a:lnTo>
                    <a:pt x="846" y="150"/>
                  </a:lnTo>
                  <a:lnTo>
                    <a:pt x="858" y="150"/>
                  </a:lnTo>
                  <a:lnTo>
                    <a:pt x="864" y="162"/>
                  </a:lnTo>
                  <a:lnTo>
                    <a:pt x="870" y="162"/>
                  </a:lnTo>
                  <a:lnTo>
                    <a:pt x="876" y="168"/>
                  </a:lnTo>
                  <a:lnTo>
                    <a:pt x="888" y="168"/>
                  </a:lnTo>
                  <a:lnTo>
                    <a:pt x="894" y="174"/>
                  </a:lnTo>
                  <a:lnTo>
                    <a:pt x="900" y="174"/>
                  </a:lnTo>
                  <a:lnTo>
                    <a:pt x="918" y="174"/>
                  </a:lnTo>
                  <a:lnTo>
                    <a:pt x="924" y="174"/>
                  </a:lnTo>
                  <a:lnTo>
                    <a:pt x="930" y="174"/>
                  </a:lnTo>
                  <a:lnTo>
                    <a:pt x="942" y="174"/>
                  </a:lnTo>
                  <a:lnTo>
                    <a:pt x="954" y="174"/>
                  </a:lnTo>
                  <a:lnTo>
                    <a:pt x="960" y="174"/>
                  </a:lnTo>
                  <a:lnTo>
                    <a:pt x="966" y="174"/>
                  </a:lnTo>
                  <a:lnTo>
                    <a:pt x="966" y="168"/>
                  </a:lnTo>
                  <a:lnTo>
                    <a:pt x="972" y="162"/>
                  </a:lnTo>
                  <a:lnTo>
                    <a:pt x="972" y="156"/>
                  </a:lnTo>
                  <a:close/>
                  <a:moveTo>
                    <a:pt x="942" y="174"/>
                  </a:moveTo>
                  <a:lnTo>
                    <a:pt x="936" y="174"/>
                  </a:lnTo>
                  <a:lnTo>
                    <a:pt x="936" y="168"/>
                  </a:lnTo>
                  <a:lnTo>
                    <a:pt x="936" y="162"/>
                  </a:lnTo>
                  <a:lnTo>
                    <a:pt x="948" y="162"/>
                  </a:lnTo>
                  <a:lnTo>
                    <a:pt x="948" y="156"/>
                  </a:lnTo>
                  <a:lnTo>
                    <a:pt x="954" y="156"/>
                  </a:lnTo>
                  <a:lnTo>
                    <a:pt x="960" y="156"/>
                  </a:lnTo>
                  <a:lnTo>
                    <a:pt x="966" y="156"/>
                  </a:lnTo>
                  <a:lnTo>
                    <a:pt x="966" y="162"/>
                  </a:lnTo>
                  <a:lnTo>
                    <a:pt x="960" y="168"/>
                  </a:lnTo>
                  <a:lnTo>
                    <a:pt x="942" y="174"/>
                  </a:lnTo>
                  <a:close/>
                  <a:moveTo>
                    <a:pt x="900" y="168"/>
                  </a:moveTo>
                  <a:lnTo>
                    <a:pt x="894" y="168"/>
                  </a:lnTo>
                  <a:lnTo>
                    <a:pt x="882" y="156"/>
                  </a:lnTo>
                  <a:lnTo>
                    <a:pt x="882" y="150"/>
                  </a:lnTo>
                  <a:lnTo>
                    <a:pt x="888" y="156"/>
                  </a:lnTo>
                  <a:lnTo>
                    <a:pt x="894" y="150"/>
                  </a:lnTo>
                  <a:lnTo>
                    <a:pt x="900" y="150"/>
                  </a:lnTo>
                  <a:lnTo>
                    <a:pt x="906" y="150"/>
                  </a:lnTo>
                  <a:lnTo>
                    <a:pt x="912" y="150"/>
                  </a:lnTo>
                  <a:lnTo>
                    <a:pt x="924" y="150"/>
                  </a:lnTo>
                  <a:lnTo>
                    <a:pt x="924" y="156"/>
                  </a:lnTo>
                  <a:lnTo>
                    <a:pt x="924" y="162"/>
                  </a:lnTo>
                  <a:lnTo>
                    <a:pt x="924" y="168"/>
                  </a:lnTo>
                  <a:lnTo>
                    <a:pt x="918" y="168"/>
                  </a:lnTo>
                  <a:lnTo>
                    <a:pt x="906" y="168"/>
                  </a:lnTo>
                  <a:lnTo>
                    <a:pt x="900" y="168"/>
                  </a:lnTo>
                  <a:close/>
                  <a:moveTo>
                    <a:pt x="870" y="162"/>
                  </a:moveTo>
                  <a:lnTo>
                    <a:pt x="876" y="162"/>
                  </a:lnTo>
                  <a:lnTo>
                    <a:pt x="876" y="168"/>
                  </a:lnTo>
                  <a:lnTo>
                    <a:pt x="870" y="168"/>
                  </a:lnTo>
                  <a:lnTo>
                    <a:pt x="870" y="162"/>
                  </a:lnTo>
                  <a:close/>
                  <a:moveTo>
                    <a:pt x="450" y="162"/>
                  </a:moveTo>
                  <a:lnTo>
                    <a:pt x="444" y="162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2" y="150"/>
                  </a:lnTo>
                  <a:lnTo>
                    <a:pt x="438" y="150"/>
                  </a:lnTo>
                  <a:lnTo>
                    <a:pt x="438" y="144"/>
                  </a:lnTo>
                  <a:lnTo>
                    <a:pt x="438" y="150"/>
                  </a:lnTo>
                  <a:lnTo>
                    <a:pt x="444" y="150"/>
                  </a:lnTo>
                  <a:lnTo>
                    <a:pt x="450" y="150"/>
                  </a:lnTo>
                  <a:lnTo>
                    <a:pt x="450" y="156"/>
                  </a:lnTo>
                  <a:lnTo>
                    <a:pt x="456" y="156"/>
                  </a:lnTo>
                  <a:lnTo>
                    <a:pt x="456" y="150"/>
                  </a:lnTo>
                  <a:lnTo>
                    <a:pt x="456" y="156"/>
                  </a:lnTo>
                  <a:lnTo>
                    <a:pt x="462" y="150"/>
                  </a:lnTo>
                  <a:lnTo>
                    <a:pt x="462" y="144"/>
                  </a:lnTo>
                  <a:lnTo>
                    <a:pt x="468" y="144"/>
                  </a:lnTo>
                  <a:lnTo>
                    <a:pt x="468" y="150"/>
                  </a:lnTo>
                  <a:lnTo>
                    <a:pt x="474" y="150"/>
                  </a:lnTo>
                  <a:lnTo>
                    <a:pt x="480" y="150"/>
                  </a:lnTo>
                  <a:lnTo>
                    <a:pt x="480" y="156"/>
                  </a:lnTo>
                  <a:lnTo>
                    <a:pt x="480" y="162"/>
                  </a:lnTo>
                  <a:lnTo>
                    <a:pt x="474" y="162"/>
                  </a:lnTo>
                  <a:lnTo>
                    <a:pt x="474" y="168"/>
                  </a:lnTo>
                  <a:lnTo>
                    <a:pt x="474" y="162"/>
                  </a:lnTo>
                  <a:lnTo>
                    <a:pt x="468" y="162"/>
                  </a:lnTo>
                  <a:lnTo>
                    <a:pt x="462" y="162"/>
                  </a:lnTo>
                  <a:lnTo>
                    <a:pt x="456" y="162"/>
                  </a:lnTo>
                  <a:lnTo>
                    <a:pt x="450" y="16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6" name="Freeform 31">
              <a:extLst>
                <a:ext uri="{FF2B5EF4-FFF2-40B4-BE49-F238E27FC236}">
                  <a16:creationId xmlns:a16="http://schemas.microsoft.com/office/drawing/2014/main" id="{0989F057-38E8-4AA5-8B73-27F6355E235C}"/>
                </a:ext>
              </a:extLst>
            </p:cNvPr>
            <p:cNvSpPr>
              <a:spLocks/>
            </p:cNvSpPr>
            <p:nvPr/>
          </p:nvSpPr>
          <p:spPr bwMode="gray">
            <a:xfrm>
              <a:off x="792590" y="2728084"/>
              <a:ext cx="1182944" cy="740282"/>
            </a:xfrm>
            <a:custGeom>
              <a:avLst/>
              <a:gdLst>
                <a:gd name="T0" fmla="*/ 138 w 2226"/>
                <a:gd name="T1" fmla="*/ 121 h 1392"/>
                <a:gd name="T2" fmla="*/ 133 w 2226"/>
                <a:gd name="T3" fmla="*/ 119 h 1392"/>
                <a:gd name="T4" fmla="*/ 128 w 2226"/>
                <a:gd name="T5" fmla="*/ 117 h 1392"/>
                <a:gd name="T6" fmla="*/ 119 w 2226"/>
                <a:gd name="T7" fmla="*/ 116 h 1392"/>
                <a:gd name="T8" fmla="*/ 101 w 2226"/>
                <a:gd name="T9" fmla="*/ 116 h 1392"/>
                <a:gd name="T10" fmla="*/ 94 w 2226"/>
                <a:gd name="T11" fmla="*/ 104 h 1392"/>
                <a:gd name="T12" fmla="*/ 82 w 2226"/>
                <a:gd name="T13" fmla="*/ 83 h 1392"/>
                <a:gd name="T14" fmla="*/ 87 w 2226"/>
                <a:gd name="T15" fmla="*/ 69 h 1392"/>
                <a:gd name="T16" fmla="*/ 82 w 2226"/>
                <a:gd name="T17" fmla="*/ 65 h 1392"/>
                <a:gd name="T18" fmla="*/ 59 w 2226"/>
                <a:gd name="T19" fmla="*/ 57 h 1392"/>
                <a:gd name="T20" fmla="*/ 29 w 2226"/>
                <a:gd name="T21" fmla="*/ 77 h 1392"/>
                <a:gd name="T22" fmla="*/ 20 w 2226"/>
                <a:gd name="T23" fmla="*/ 78 h 1392"/>
                <a:gd name="T24" fmla="*/ 15 w 2226"/>
                <a:gd name="T25" fmla="*/ 82 h 1392"/>
                <a:gd name="T26" fmla="*/ 8 w 2226"/>
                <a:gd name="T27" fmla="*/ 86 h 1392"/>
                <a:gd name="T28" fmla="*/ 1 w 2226"/>
                <a:gd name="T29" fmla="*/ 88 h 1392"/>
                <a:gd name="T30" fmla="*/ 0 w 2226"/>
                <a:gd name="T31" fmla="*/ 82 h 1392"/>
                <a:gd name="T32" fmla="*/ 0 w 2226"/>
                <a:gd name="T33" fmla="*/ 76 h 1392"/>
                <a:gd name="T34" fmla="*/ 2 w 2226"/>
                <a:gd name="T35" fmla="*/ 70 h 1392"/>
                <a:gd name="T36" fmla="*/ 3 w 2226"/>
                <a:gd name="T37" fmla="*/ 65 h 1392"/>
                <a:gd name="T38" fmla="*/ 2 w 2226"/>
                <a:gd name="T39" fmla="*/ 63 h 1392"/>
                <a:gd name="T40" fmla="*/ 9 w 2226"/>
                <a:gd name="T41" fmla="*/ 60 h 1392"/>
                <a:gd name="T42" fmla="*/ 17 w 2226"/>
                <a:gd name="T43" fmla="*/ 59 h 1392"/>
                <a:gd name="T44" fmla="*/ 22 w 2226"/>
                <a:gd name="T45" fmla="*/ 51 h 1392"/>
                <a:gd name="T46" fmla="*/ 23 w 2226"/>
                <a:gd name="T47" fmla="*/ 43 h 1392"/>
                <a:gd name="T48" fmla="*/ 27 w 2226"/>
                <a:gd name="T49" fmla="*/ 34 h 1392"/>
                <a:gd name="T50" fmla="*/ 30 w 2226"/>
                <a:gd name="T51" fmla="*/ 27 h 1392"/>
                <a:gd name="T52" fmla="*/ 33 w 2226"/>
                <a:gd name="T53" fmla="*/ 22 h 1392"/>
                <a:gd name="T54" fmla="*/ 42 w 2226"/>
                <a:gd name="T55" fmla="*/ 17 h 1392"/>
                <a:gd name="T56" fmla="*/ 47 w 2226"/>
                <a:gd name="T57" fmla="*/ 14 h 1392"/>
                <a:gd name="T58" fmla="*/ 49 w 2226"/>
                <a:gd name="T59" fmla="*/ 5 h 1392"/>
                <a:gd name="T60" fmla="*/ 53 w 2226"/>
                <a:gd name="T61" fmla="*/ 0 h 1392"/>
                <a:gd name="T62" fmla="*/ 55 w 2226"/>
                <a:gd name="T63" fmla="*/ 4 h 1392"/>
                <a:gd name="T64" fmla="*/ 59 w 2226"/>
                <a:gd name="T65" fmla="*/ 7 h 1392"/>
                <a:gd name="T66" fmla="*/ 63 w 2226"/>
                <a:gd name="T67" fmla="*/ 7 h 1392"/>
                <a:gd name="T68" fmla="*/ 66 w 2226"/>
                <a:gd name="T69" fmla="*/ 9 h 1392"/>
                <a:gd name="T70" fmla="*/ 67 w 2226"/>
                <a:gd name="T71" fmla="*/ 12 h 1392"/>
                <a:gd name="T72" fmla="*/ 67 w 2226"/>
                <a:gd name="T73" fmla="*/ 13 h 1392"/>
                <a:gd name="T74" fmla="*/ 70 w 2226"/>
                <a:gd name="T75" fmla="*/ 15 h 1392"/>
                <a:gd name="T76" fmla="*/ 74 w 2226"/>
                <a:gd name="T77" fmla="*/ 17 h 1392"/>
                <a:gd name="T78" fmla="*/ 78 w 2226"/>
                <a:gd name="T79" fmla="*/ 18 h 1392"/>
                <a:gd name="T80" fmla="*/ 97 w 2226"/>
                <a:gd name="T81" fmla="*/ 40 h 1392"/>
                <a:gd name="T82" fmla="*/ 102 w 2226"/>
                <a:gd name="T83" fmla="*/ 44 h 1392"/>
                <a:gd name="T84" fmla="*/ 110 w 2226"/>
                <a:gd name="T85" fmla="*/ 49 h 1392"/>
                <a:gd name="T86" fmla="*/ 113 w 2226"/>
                <a:gd name="T87" fmla="*/ 53 h 1392"/>
                <a:gd name="T88" fmla="*/ 118 w 2226"/>
                <a:gd name="T89" fmla="*/ 57 h 1392"/>
                <a:gd name="T90" fmla="*/ 124 w 2226"/>
                <a:gd name="T91" fmla="*/ 54 h 1392"/>
                <a:gd name="T92" fmla="*/ 133 w 2226"/>
                <a:gd name="T93" fmla="*/ 58 h 1392"/>
                <a:gd name="T94" fmla="*/ 137 w 2226"/>
                <a:gd name="T95" fmla="*/ 64 h 1392"/>
                <a:gd name="T96" fmla="*/ 145 w 2226"/>
                <a:gd name="T97" fmla="*/ 65 h 1392"/>
                <a:gd name="T98" fmla="*/ 152 w 2226"/>
                <a:gd name="T99" fmla="*/ 67 h 1392"/>
                <a:gd name="T100" fmla="*/ 161 w 2226"/>
                <a:gd name="T101" fmla="*/ 72 h 1392"/>
                <a:gd name="T102" fmla="*/ 168 w 2226"/>
                <a:gd name="T103" fmla="*/ 76 h 1392"/>
                <a:gd name="T104" fmla="*/ 177 w 2226"/>
                <a:gd name="T105" fmla="*/ 78 h 1392"/>
                <a:gd name="T106" fmla="*/ 184 w 2226"/>
                <a:gd name="T107" fmla="*/ 78 h 1392"/>
                <a:gd name="T108" fmla="*/ 190 w 2226"/>
                <a:gd name="T109" fmla="*/ 81 h 1392"/>
                <a:gd name="T110" fmla="*/ 192 w 2226"/>
                <a:gd name="T111" fmla="*/ 86 h 1392"/>
                <a:gd name="T112" fmla="*/ 187 w 2226"/>
                <a:gd name="T113" fmla="*/ 99 h 1392"/>
                <a:gd name="T114" fmla="*/ 165 w 2226"/>
                <a:gd name="T115" fmla="*/ 97 h 1392"/>
                <a:gd name="T116" fmla="*/ 155 w 2226"/>
                <a:gd name="T117" fmla="*/ 92 h 1392"/>
                <a:gd name="T118" fmla="*/ 146 w 2226"/>
                <a:gd name="T119" fmla="*/ 102 h 1392"/>
                <a:gd name="T120" fmla="*/ 149 w 2226"/>
                <a:gd name="T121" fmla="*/ 106 h 1392"/>
                <a:gd name="T122" fmla="*/ 151 w 2226"/>
                <a:gd name="T123" fmla="*/ 108 h 1392"/>
                <a:gd name="T124" fmla="*/ 157 w 2226"/>
                <a:gd name="T125" fmla="*/ 113 h 13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1392"/>
                <a:gd name="T191" fmla="*/ 2226 w 2226"/>
                <a:gd name="T192" fmla="*/ 1392 h 13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1392">
                  <a:moveTo>
                    <a:pt x="1782" y="1326"/>
                  </a:moveTo>
                  <a:lnTo>
                    <a:pt x="1776" y="1332"/>
                  </a:lnTo>
                  <a:lnTo>
                    <a:pt x="1692" y="1338"/>
                  </a:lnTo>
                  <a:lnTo>
                    <a:pt x="1680" y="1386"/>
                  </a:lnTo>
                  <a:lnTo>
                    <a:pt x="1674" y="1392"/>
                  </a:lnTo>
                  <a:lnTo>
                    <a:pt x="1638" y="1392"/>
                  </a:lnTo>
                  <a:lnTo>
                    <a:pt x="1620" y="1392"/>
                  </a:lnTo>
                  <a:lnTo>
                    <a:pt x="1614" y="1392"/>
                  </a:lnTo>
                  <a:lnTo>
                    <a:pt x="1608" y="1386"/>
                  </a:lnTo>
                  <a:lnTo>
                    <a:pt x="1584" y="1386"/>
                  </a:lnTo>
                  <a:lnTo>
                    <a:pt x="1578" y="1386"/>
                  </a:lnTo>
                  <a:lnTo>
                    <a:pt x="1572" y="1380"/>
                  </a:lnTo>
                  <a:lnTo>
                    <a:pt x="1578" y="1356"/>
                  </a:lnTo>
                  <a:lnTo>
                    <a:pt x="1572" y="1356"/>
                  </a:lnTo>
                  <a:lnTo>
                    <a:pt x="1560" y="1350"/>
                  </a:lnTo>
                  <a:lnTo>
                    <a:pt x="1554" y="1350"/>
                  </a:lnTo>
                  <a:lnTo>
                    <a:pt x="1542" y="1350"/>
                  </a:lnTo>
                  <a:lnTo>
                    <a:pt x="1530" y="1350"/>
                  </a:lnTo>
                  <a:lnTo>
                    <a:pt x="1524" y="1356"/>
                  </a:lnTo>
                  <a:lnTo>
                    <a:pt x="1524" y="1362"/>
                  </a:lnTo>
                  <a:lnTo>
                    <a:pt x="1512" y="1374"/>
                  </a:lnTo>
                  <a:lnTo>
                    <a:pt x="1506" y="1374"/>
                  </a:lnTo>
                  <a:lnTo>
                    <a:pt x="1500" y="1368"/>
                  </a:lnTo>
                  <a:lnTo>
                    <a:pt x="1500" y="1362"/>
                  </a:lnTo>
                  <a:lnTo>
                    <a:pt x="1488" y="1362"/>
                  </a:lnTo>
                  <a:lnTo>
                    <a:pt x="1482" y="1356"/>
                  </a:lnTo>
                  <a:lnTo>
                    <a:pt x="1482" y="1350"/>
                  </a:lnTo>
                  <a:lnTo>
                    <a:pt x="1476" y="1350"/>
                  </a:lnTo>
                  <a:lnTo>
                    <a:pt x="1470" y="1344"/>
                  </a:lnTo>
                  <a:lnTo>
                    <a:pt x="1464" y="1344"/>
                  </a:lnTo>
                  <a:lnTo>
                    <a:pt x="1452" y="1350"/>
                  </a:lnTo>
                  <a:lnTo>
                    <a:pt x="1452" y="1356"/>
                  </a:lnTo>
                  <a:lnTo>
                    <a:pt x="1440" y="1356"/>
                  </a:lnTo>
                  <a:lnTo>
                    <a:pt x="1434" y="1344"/>
                  </a:lnTo>
                  <a:lnTo>
                    <a:pt x="1422" y="1332"/>
                  </a:lnTo>
                  <a:lnTo>
                    <a:pt x="1416" y="1326"/>
                  </a:lnTo>
                  <a:lnTo>
                    <a:pt x="1404" y="1320"/>
                  </a:lnTo>
                  <a:lnTo>
                    <a:pt x="1404" y="1314"/>
                  </a:lnTo>
                  <a:lnTo>
                    <a:pt x="1374" y="1308"/>
                  </a:lnTo>
                  <a:lnTo>
                    <a:pt x="1368" y="1326"/>
                  </a:lnTo>
                  <a:lnTo>
                    <a:pt x="1344" y="1338"/>
                  </a:lnTo>
                  <a:lnTo>
                    <a:pt x="1326" y="1332"/>
                  </a:lnTo>
                  <a:lnTo>
                    <a:pt x="1302" y="1332"/>
                  </a:lnTo>
                  <a:lnTo>
                    <a:pt x="1278" y="1338"/>
                  </a:lnTo>
                  <a:lnTo>
                    <a:pt x="1236" y="1338"/>
                  </a:lnTo>
                  <a:lnTo>
                    <a:pt x="1224" y="1338"/>
                  </a:lnTo>
                  <a:lnTo>
                    <a:pt x="1224" y="1326"/>
                  </a:lnTo>
                  <a:lnTo>
                    <a:pt x="1206" y="1326"/>
                  </a:lnTo>
                  <a:lnTo>
                    <a:pt x="1170" y="1326"/>
                  </a:lnTo>
                  <a:lnTo>
                    <a:pt x="1152" y="1326"/>
                  </a:lnTo>
                  <a:lnTo>
                    <a:pt x="1140" y="1314"/>
                  </a:lnTo>
                  <a:lnTo>
                    <a:pt x="1134" y="1296"/>
                  </a:lnTo>
                  <a:lnTo>
                    <a:pt x="1134" y="1284"/>
                  </a:lnTo>
                  <a:lnTo>
                    <a:pt x="1128" y="1254"/>
                  </a:lnTo>
                  <a:lnTo>
                    <a:pt x="1128" y="1242"/>
                  </a:lnTo>
                  <a:lnTo>
                    <a:pt x="1122" y="1230"/>
                  </a:lnTo>
                  <a:lnTo>
                    <a:pt x="1104" y="1218"/>
                  </a:lnTo>
                  <a:lnTo>
                    <a:pt x="1104" y="1212"/>
                  </a:lnTo>
                  <a:lnTo>
                    <a:pt x="1092" y="1206"/>
                  </a:lnTo>
                  <a:lnTo>
                    <a:pt x="1080" y="1194"/>
                  </a:lnTo>
                  <a:lnTo>
                    <a:pt x="1068" y="1176"/>
                  </a:lnTo>
                  <a:lnTo>
                    <a:pt x="1050" y="1152"/>
                  </a:lnTo>
                  <a:lnTo>
                    <a:pt x="1020" y="1098"/>
                  </a:lnTo>
                  <a:lnTo>
                    <a:pt x="978" y="1026"/>
                  </a:lnTo>
                  <a:lnTo>
                    <a:pt x="978" y="1014"/>
                  </a:lnTo>
                  <a:lnTo>
                    <a:pt x="972" y="1014"/>
                  </a:lnTo>
                  <a:lnTo>
                    <a:pt x="972" y="1008"/>
                  </a:lnTo>
                  <a:lnTo>
                    <a:pt x="978" y="1002"/>
                  </a:lnTo>
                  <a:lnTo>
                    <a:pt x="960" y="966"/>
                  </a:lnTo>
                  <a:lnTo>
                    <a:pt x="948" y="954"/>
                  </a:lnTo>
                  <a:lnTo>
                    <a:pt x="948" y="936"/>
                  </a:lnTo>
                  <a:lnTo>
                    <a:pt x="936" y="900"/>
                  </a:lnTo>
                  <a:lnTo>
                    <a:pt x="942" y="876"/>
                  </a:lnTo>
                  <a:lnTo>
                    <a:pt x="942" y="834"/>
                  </a:lnTo>
                  <a:lnTo>
                    <a:pt x="960" y="828"/>
                  </a:lnTo>
                  <a:lnTo>
                    <a:pt x="966" y="816"/>
                  </a:lnTo>
                  <a:lnTo>
                    <a:pt x="972" y="810"/>
                  </a:lnTo>
                  <a:lnTo>
                    <a:pt x="978" y="804"/>
                  </a:lnTo>
                  <a:lnTo>
                    <a:pt x="996" y="798"/>
                  </a:lnTo>
                  <a:lnTo>
                    <a:pt x="996" y="792"/>
                  </a:lnTo>
                  <a:lnTo>
                    <a:pt x="1014" y="780"/>
                  </a:lnTo>
                  <a:lnTo>
                    <a:pt x="1026" y="768"/>
                  </a:lnTo>
                  <a:lnTo>
                    <a:pt x="1032" y="762"/>
                  </a:lnTo>
                  <a:lnTo>
                    <a:pt x="1026" y="756"/>
                  </a:lnTo>
                  <a:lnTo>
                    <a:pt x="1014" y="744"/>
                  </a:lnTo>
                  <a:lnTo>
                    <a:pt x="996" y="756"/>
                  </a:lnTo>
                  <a:lnTo>
                    <a:pt x="954" y="768"/>
                  </a:lnTo>
                  <a:lnTo>
                    <a:pt x="942" y="762"/>
                  </a:lnTo>
                  <a:lnTo>
                    <a:pt x="942" y="756"/>
                  </a:lnTo>
                  <a:lnTo>
                    <a:pt x="936" y="750"/>
                  </a:lnTo>
                  <a:lnTo>
                    <a:pt x="846" y="732"/>
                  </a:lnTo>
                  <a:lnTo>
                    <a:pt x="822" y="726"/>
                  </a:lnTo>
                  <a:lnTo>
                    <a:pt x="810" y="714"/>
                  </a:lnTo>
                  <a:lnTo>
                    <a:pt x="792" y="690"/>
                  </a:lnTo>
                  <a:lnTo>
                    <a:pt x="792" y="678"/>
                  </a:lnTo>
                  <a:lnTo>
                    <a:pt x="762" y="642"/>
                  </a:lnTo>
                  <a:lnTo>
                    <a:pt x="750" y="636"/>
                  </a:lnTo>
                  <a:lnTo>
                    <a:pt x="726" y="630"/>
                  </a:lnTo>
                  <a:lnTo>
                    <a:pt x="696" y="642"/>
                  </a:lnTo>
                  <a:lnTo>
                    <a:pt x="678" y="654"/>
                  </a:lnTo>
                  <a:lnTo>
                    <a:pt x="666" y="684"/>
                  </a:lnTo>
                  <a:lnTo>
                    <a:pt x="660" y="726"/>
                  </a:lnTo>
                  <a:lnTo>
                    <a:pt x="606" y="756"/>
                  </a:lnTo>
                  <a:lnTo>
                    <a:pt x="558" y="780"/>
                  </a:lnTo>
                  <a:lnTo>
                    <a:pt x="438" y="834"/>
                  </a:lnTo>
                  <a:lnTo>
                    <a:pt x="402" y="846"/>
                  </a:lnTo>
                  <a:lnTo>
                    <a:pt x="372" y="870"/>
                  </a:lnTo>
                  <a:lnTo>
                    <a:pt x="360" y="876"/>
                  </a:lnTo>
                  <a:lnTo>
                    <a:pt x="354" y="876"/>
                  </a:lnTo>
                  <a:lnTo>
                    <a:pt x="330" y="882"/>
                  </a:lnTo>
                  <a:lnTo>
                    <a:pt x="306" y="882"/>
                  </a:lnTo>
                  <a:lnTo>
                    <a:pt x="300" y="876"/>
                  </a:lnTo>
                  <a:lnTo>
                    <a:pt x="294" y="876"/>
                  </a:lnTo>
                  <a:lnTo>
                    <a:pt x="294" y="864"/>
                  </a:lnTo>
                  <a:lnTo>
                    <a:pt x="288" y="864"/>
                  </a:lnTo>
                  <a:lnTo>
                    <a:pt x="276" y="864"/>
                  </a:lnTo>
                  <a:lnTo>
                    <a:pt x="270" y="870"/>
                  </a:lnTo>
                  <a:lnTo>
                    <a:pt x="264" y="870"/>
                  </a:lnTo>
                  <a:lnTo>
                    <a:pt x="240" y="894"/>
                  </a:lnTo>
                  <a:lnTo>
                    <a:pt x="234" y="894"/>
                  </a:lnTo>
                  <a:lnTo>
                    <a:pt x="228" y="900"/>
                  </a:lnTo>
                  <a:lnTo>
                    <a:pt x="222" y="906"/>
                  </a:lnTo>
                  <a:lnTo>
                    <a:pt x="210" y="912"/>
                  </a:lnTo>
                  <a:lnTo>
                    <a:pt x="204" y="912"/>
                  </a:lnTo>
                  <a:lnTo>
                    <a:pt x="198" y="912"/>
                  </a:lnTo>
                  <a:lnTo>
                    <a:pt x="192" y="918"/>
                  </a:lnTo>
                  <a:lnTo>
                    <a:pt x="180" y="918"/>
                  </a:lnTo>
                  <a:lnTo>
                    <a:pt x="174" y="930"/>
                  </a:lnTo>
                  <a:lnTo>
                    <a:pt x="174" y="936"/>
                  </a:lnTo>
                  <a:lnTo>
                    <a:pt x="168" y="942"/>
                  </a:lnTo>
                  <a:lnTo>
                    <a:pt x="162" y="942"/>
                  </a:lnTo>
                  <a:lnTo>
                    <a:pt x="150" y="960"/>
                  </a:lnTo>
                  <a:lnTo>
                    <a:pt x="144" y="966"/>
                  </a:lnTo>
                  <a:lnTo>
                    <a:pt x="138" y="972"/>
                  </a:lnTo>
                  <a:lnTo>
                    <a:pt x="132" y="972"/>
                  </a:lnTo>
                  <a:lnTo>
                    <a:pt x="126" y="984"/>
                  </a:lnTo>
                  <a:lnTo>
                    <a:pt x="120" y="984"/>
                  </a:lnTo>
                  <a:lnTo>
                    <a:pt x="114" y="990"/>
                  </a:lnTo>
                  <a:lnTo>
                    <a:pt x="96" y="990"/>
                  </a:lnTo>
                  <a:lnTo>
                    <a:pt x="90" y="990"/>
                  </a:lnTo>
                  <a:lnTo>
                    <a:pt x="78" y="990"/>
                  </a:lnTo>
                  <a:lnTo>
                    <a:pt x="72" y="990"/>
                  </a:lnTo>
                  <a:lnTo>
                    <a:pt x="60" y="990"/>
                  </a:lnTo>
                  <a:lnTo>
                    <a:pt x="42" y="990"/>
                  </a:lnTo>
                  <a:lnTo>
                    <a:pt x="36" y="996"/>
                  </a:lnTo>
                  <a:lnTo>
                    <a:pt x="30" y="1002"/>
                  </a:lnTo>
                  <a:lnTo>
                    <a:pt x="24" y="1014"/>
                  </a:lnTo>
                  <a:lnTo>
                    <a:pt x="24" y="1020"/>
                  </a:lnTo>
                  <a:lnTo>
                    <a:pt x="18" y="1020"/>
                  </a:lnTo>
                  <a:lnTo>
                    <a:pt x="12" y="1014"/>
                  </a:lnTo>
                  <a:lnTo>
                    <a:pt x="12" y="1008"/>
                  </a:lnTo>
                  <a:lnTo>
                    <a:pt x="12" y="990"/>
                  </a:lnTo>
                  <a:lnTo>
                    <a:pt x="12" y="984"/>
                  </a:lnTo>
                  <a:lnTo>
                    <a:pt x="12" y="972"/>
                  </a:lnTo>
                  <a:lnTo>
                    <a:pt x="12" y="966"/>
                  </a:lnTo>
                  <a:lnTo>
                    <a:pt x="6" y="966"/>
                  </a:lnTo>
                  <a:lnTo>
                    <a:pt x="6" y="960"/>
                  </a:lnTo>
                  <a:lnTo>
                    <a:pt x="6" y="954"/>
                  </a:lnTo>
                  <a:lnTo>
                    <a:pt x="6" y="948"/>
                  </a:lnTo>
                  <a:lnTo>
                    <a:pt x="6" y="942"/>
                  </a:lnTo>
                  <a:lnTo>
                    <a:pt x="12" y="930"/>
                  </a:lnTo>
                  <a:lnTo>
                    <a:pt x="6" y="924"/>
                  </a:lnTo>
                  <a:lnTo>
                    <a:pt x="6" y="918"/>
                  </a:lnTo>
                  <a:lnTo>
                    <a:pt x="6" y="912"/>
                  </a:lnTo>
                  <a:lnTo>
                    <a:pt x="6" y="906"/>
                  </a:lnTo>
                  <a:lnTo>
                    <a:pt x="6" y="900"/>
                  </a:lnTo>
                  <a:lnTo>
                    <a:pt x="0" y="894"/>
                  </a:lnTo>
                  <a:lnTo>
                    <a:pt x="0" y="888"/>
                  </a:lnTo>
                  <a:lnTo>
                    <a:pt x="0" y="882"/>
                  </a:lnTo>
                  <a:lnTo>
                    <a:pt x="6" y="876"/>
                  </a:lnTo>
                  <a:lnTo>
                    <a:pt x="6" y="870"/>
                  </a:lnTo>
                  <a:lnTo>
                    <a:pt x="18" y="864"/>
                  </a:lnTo>
                  <a:lnTo>
                    <a:pt x="18" y="858"/>
                  </a:lnTo>
                  <a:lnTo>
                    <a:pt x="18" y="846"/>
                  </a:lnTo>
                  <a:lnTo>
                    <a:pt x="18" y="834"/>
                  </a:lnTo>
                  <a:lnTo>
                    <a:pt x="18" y="828"/>
                  </a:lnTo>
                  <a:lnTo>
                    <a:pt x="24" y="828"/>
                  </a:lnTo>
                  <a:lnTo>
                    <a:pt x="24" y="810"/>
                  </a:lnTo>
                  <a:lnTo>
                    <a:pt x="24" y="804"/>
                  </a:lnTo>
                  <a:lnTo>
                    <a:pt x="18" y="804"/>
                  </a:lnTo>
                  <a:lnTo>
                    <a:pt x="18" y="798"/>
                  </a:lnTo>
                  <a:lnTo>
                    <a:pt x="18" y="792"/>
                  </a:lnTo>
                  <a:lnTo>
                    <a:pt x="24" y="792"/>
                  </a:lnTo>
                  <a:lnTo>
                    <a:pt x="30" y="774"/>
                  </a:lnTo>
                  <a:lnTo>
                    <a:pt x="24" y="768"/>
                  </a:lnTo>
                  <a:lnTo>
                    <a:pt x="30" y="768"/>
                  </a:lnTo>
                  <a:lnTo>
                    <a:pt x="36" y="762"/>
                  </a:lnTo>
                  <a:lnTo>
                    <a:pt x="36" y="756"/>
                  </a:lnTo>
                  <a:lnTo>
                    <a:pt x="30" y="756"/>
                  </a:lnTo>
                  <a:lnTo>
                    <a:pt x="30" y="750"/>
                  </a:lnTo>
                  <a:lnTo>
                    <a:pt x="36" y="750"/>
                  </a:lnTo>
                  <a:lnTo>
                    <a:pt x="36" y="744"/>
                  </a:lnTo>
                  <a:lnTo>
                    <a:pt x="30" y="744"/>
                  </a:lnTo>
                  <a:lnTo>
                    <a:pt x="30" y="738"/>
                  </a:lnTo>
                  <a:lnTo>
                    <a:pt x="24" y="738"/>
                  </a:lnTo>
                  <a:lnTo>
                    <a:pt x="24" y="732"/>
                  </a:lnTo>
                  <a:lnTo>
                    <a:pt x="30" y="732"/>
                  </a:lnTo>
                  <a:lnTo>
                    <a:pt x="36" y="726"/>
                  </a:lnTo>
                  <a:lnTo>
                    <a:pt x="30" y="726"/>
                  </a:lnTo>
                  <a:lnTo>
                    <a:pt x="24" y="726"/>
                  </a:lnTo>
                  <a:lnTo>
                    <a:pt x="30" y="720"/>
                  </a:lnTo>
                  <a:lnTo>
                    <a:pt x="30" y="714"/>
                  </a:lnTo>
                  <a:lnTo>
                    <a:pt x="36" y="714"/>
                  </a:lnTo>
                  <a:lnTo>
                    <a:pt x="30" y="708"/>
                  </a:lnTo>
                  <a:lnTo>
                    <a:pt x="30" y="696"/>
                  </a:lnTo>
                  <a:lnTo>
                    <a:pt x="66" y="702"/>
                  </a:lnTo>
                  <a:lnTo>
                    <a:pt x="78" y="702"/>
                  </a:lnTo>
                  <a:lnTo>
                    <a:pt x="84" y="702"/>
                  </a:lnTo>
                  <a:lnTo>
                    <a:pt x="96" y="696"/>
                  </a:lnTo>
                  <a:lnTo>
                    <a:pt x="102" y="690"/>
                  </a:lnTo>
                  <a:lnTo>
                    <a:pt x="102" y="684"/>
                  </a:lnTo>
                  <a:lnTo>
                    <a:pt x="114" y="684"/>
                  </a:lnTo>
                  <a:lnTo>
                    <a:pt x="144" y="684"/>
                  </a:lnTo>
                  <a:lnTo>
                    <a:pt x="150" y="690"/>
                  </a:lnTo>
                  <a:lnTo>
                    <a:pt x="162" y="696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6" y="690"/>
                  </a:lnTo>
                  <a:lnTo>
                    <a:pt x="192" y="690"/>
                  </a:lnTo>
                  <a:lnTo>
                    <a:pt x="198" y="684"/>
                  </a:lnTo>
                  <a:lnTo>
                    <a:pt x="204" y="684"/>
                  </a:lnTo>
                  <a:lnTo>
                    <a:pt x="210" y="684"/>
                  </a:lnTo>
                  <a:lnTo>
                    <a:pt x="222" y="678"/>
                  </a:lnTo>
                  <a:lnTo>
                    <a:pt x="228" y="678"/>
                  </a:lnTo>
                  <a:lnTo>
                    <a:pt x="228" y="660"/>
                  </a:lnTo>
                  <a:lnTo>
                    <a:pt x="234" y="642"/>
                  </a:lnTo>
                  <a:lnTo>
                    <a:pt x="246" y="618"/>
                  </a:lnTo>
                  <a:lnTo>
                    <a:pt x="252" y="618"/>
                  </a:lnTo>
                  <a:lnTo>
                    <a:pt x="252" y="600"/>
                  </a:lnTo>
                  <a:lnTo>
                    <a:pt x="252" y="588"/>
                  </a:lnTo>
                  <a:lnTo>
                    <a:pt x="252" y="582"/>
                  </a:lnTo>
                  <a:lnTo>
                    <a:pt x="258" y="576"/>
                  </a:lnTo>
                  <a:lnTo>
                    <a:pt x="270" y="564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70" y="522"/>
                  </a:lnTo>
                  <a:lnTo>
                    <a:pt x="270" y="510"/>
                  </a:lnTo>
                  <a:lnTo>
                    <a:pt x="270" y="498"/>
                  </a:lnTo>
                  <a:lnTo>
                    <a:pt x="258" y="468"/>
                  </a:lnTo>
                  <a:lnTo>
                    <a:pt x="252" y="456"/>
                  </a:lnTo>
                  <a:lnTo>
                    <a:pt x="258" y="444"/>
                  </a:lnTo>
                  <a:lnTo>
                    <a:pt x="264" y="432"/>
                  </a:lnTo>
                  <a:lnTo>
                    <a:pt x="270" y="426"/>
                  </a:lnTo>
                  <a:lnTo>
                    <a:pt x="276" y="420"/>
                  </a:lnTo>
                  <a:lnTo>
                    <a:pt x="288" y="420"/>
                  </a:lnTo>
                  <a:lnTo>
                    <a:pt x="288" y="414"/>
                  </a:lnTo>
                  <a:lnTo>
                    <a:pt x="294" y="414"/>
                  </a:lnTo>
                  <a:lnTo>
                    <a:pt x="306" y="390"/>
                  </a:lnTo>
                  <a:lnTo>
                    <a:pt x="312" y="384"/>
                  </a:lnTo>
                  <a:lnTo>
                    <a:pt x="318" y="378"/>
                  </a:lnTo>
                  <a:lnTo>
                    <a:pt x="318" y="372"/>
                  </a:lnTo>
                  <a:lnTo>
                    <a:pt x="324" y="366"/>
                  </a:lnTo>
                  <a:lnTo>
                    <a:pt x="330" y="354"/>
                  </a:lnTo>
                  <a:lnTo>
                    <a:pt x="336" y="348"/>
                  </a:lnTo>
                  <a:lnTo>
                    <a:pt x="336" y="330"/>
                  </a:lnTo>
                  <a:lnTo>
                    <a:pt x="342" y="324"/>
                  </a:lnTo>
                  <a:lnTo>
                    <a:pt x="342" y="318"/>
                  </a:lnTo>
                  <a:lnTo>
                    <a:pt x="348" y="318"/>
                  </a:lnTo>
                  <a:lnTo>
                    <a:pt x="360" y="318"/>
                  </a:lnTo>
                  <a:lnTo>
                    <a:pt x="372" y="318"/>
                  </a:lnTo>
                  <a:lnTo>
                    <a:pt x="384" y="306"/>
                  </a:lnTo>
                  <a:lnTo>
                    <a:pt x="396" y="300"/>
                  </a:lnTo>
                  <a:lnTo>
                    <a:pt x="396" y="294"/>
                  </a:lnTo>
                  <a:lnTo>
                    <a:pt x="396" y="288"/>
                  </a:lnTo>
                  <a:lnTo>
                    <a:pt x="390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2"/>
                  </a:lnTo>
                  <a:lnTo>
                    <a:pt x="378" y="246"/>
                  </a:lnTo>
                  <a:lnTo>
                    <a:pt x="384" y="228"/>
                  </a:lnTo>
                  <a:lnTo>
                    <a:pt x="390" y="216"/>
                  </a:lnTo>
                  <a:lnTo>
                    <a:pt x="402" y="210"/>
                  </a:lnTo>
                  <a:lnTo>
                    <a:pt x="408" y="210"/>
                  </a:lnTo>
                  <a:lnTo>
                    <a:pt x="420" y="204"/>
                  </a:lnTo>
                  <a:lnTo>
                    <a:pt x="444" y="198"/>
                  </a:lnTo>
                  <a:lnTo>
                    <a:pt x="462" y="192"/>
                  </a:lnTo>
                  <a:lnTo>
                    <a:pt x="474" y="186"/>
                  </a:lnTo>
                  <a:lnTo>
                    <a:pt x="480" y="192"/>
                  </a:lnTo>
                  <a:lnTo>
                    <a:pt x="492" y="192"/>
                  </a:lnTo>
                  <a:lnTo>
                    <a:pt x="498" y="192"/>
                  </a:lnTo>
                  <a:lnTo>
                    <a:pt x="504" y="192"/>
                  </a:lnTo>
                  <a:lnTo>
                    <a:pt x="510" y="192"/>
                  </a:lnTo>
                  <a:lnTo>
                    <a:pt x="516" y="186"/>
                  </a:lnTo>
                  <a:lnTo>
                    <a:pt x="522" y="180"/>
                  </a:lnTo>
                  <a:lnTo>
                    <a:pt x="522" y="174"/>
                  </a:lnTo>
                  <a:lnTo>
                    <a:pt x="528" y="168"/>
                  </a:lnTo>
                  <a:lnTo>
                    <a:pt x="534" y="168"/>
                  </a:lnTo>
                  <a:lnTo>
                    <a:pt x="534" y="156"/>
                  </a:lnTo>
                  <a:lnTo>
                    <a:pt x="534" y="150"/>
                  </a:lnTo>
                  <a:lnTo>
                    <a:pt x="552" y="138"/>
                  </a:lnTo>
                  <a:lnTo>
                    <a:pt x="558" y="126"/>
                  </a:lnTo>
                  <a:lnTo>
                    <a:pt x="558" y="114"/>
                  </a:lnTo>
                  <a:lnTo>
                    <a:pt x="564" y="102"/>
                  </a:lnTo>
                  <a:lnTo>
                    <a:pt x="564" y="96"/>
                  </a:lnTo>
                  <a:lnTo>
                    <a:pt x="564" y="90"/>
                  </a:lnTo>
                  <a:lnTo>
                    <a:pt x="564" y="72"/>
                  </a:lnTo>
                  <a:lnTo>
                    <a:pt x="564" y="60"/>
                  </a:lnTo>
                  <a:lnTo>
                    <a:pt x="564" y="54"/>
                  </a:lnTo>
                  <a:lnTo>
                    <a:pt x="570" y="42"/>
                  </a:lnTo>
                  <a:lnTo>
                    <a:pt x="576" y="42"/>
                  </a:lnTo>
                  <a:lnTo>
                    <a:pt x="582" y="36"/>
                  </a:lnTo>
                  <a:lnTo>
                    <a:pt x="594" y="36"/>
                  </a:lnTo>
                  <a:lnTo>
                    <a:pt x="594" y="30"/>
                  </a:lnTo>
                  <a:lnTo>
                    <a:pt x="600" y="24"/>
                  </a:lnTo>
                  <a:lnTo>
                    <a:pt x="600" y="12"/>
                  </a:lnTo>
                  <a:lnTo>
                    <a:pt x="606" y="6"/>
                  </a:lnTo>
                  <a:lnTo>
                    <a:pt x="606" y="0"/>
                  </a:lnTo>
                  <a:lnTo>
                    <a:pt x="612" y="0"/>
                  </a:lnTo>
                  <a:lnTo>
                    <a:pt x="618" y="0"/>
                  </a:lnTo>
                  <a:lnTo>
                    <a:pt x="624" y="6"/>
                  </a:lnTo>
                  <a:lnTo>
                    <a:pt x="624" y="12"/>
                  </a:lnTo>
                  <a:lnTo>
                    <a:pt x="624" y="18"/>
                  </a:lnTo>
                  <a:lnTo>
                    <a:pt x="624" y="24"/>
                  </a:lnTo>
                  <a:lnTo>
                    <a:pt x="624" y="30"/>
                  </a:lnTo>
                  <a:lnTo>
                    <a:pt x="630" y="30"/>
                  </a:lnTo>
                  <a:lnTo>
                    <a:pt x="630" y="36"/>
                  </a:lnTo>
                  <a:lnTo>
                    <a:pt x="630" y="42"/>
                  </a:lnTo>
                  <a:lnTo>
                    <a:pt x="630" y="48"/>
                  </a:lnTo>
                  <a:lnTo>
                    <a:pt x="636" y="54"/>
                  </a:lnTo>
                  <a:lnTo>
                    <a:pt x="642" y="48"/>
                  </a:lnTo>
                  <a:lnTo>
                    <a:pt x="648" y="48"/>
                  </a:lnTo>
                  <a:lnTo>
                    <a:pt x="648" y="60"/>
                  </a:lnTo>
                  <a:lnTo>
                    <a:pt x="654" y="66"/>
                  </a:lnTo>
                  <a:lnTo>
                    <a:pt x="660" y="72"/>
                  </a:lnTo>
                  <a:lnTo>
                    <a:pt x="666" y="72"/>
                  </a:lnTo>
                  <a:lnTo>
                    <a:pt x="666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72" y="66"/>
                  </a:lnTo>
                  <a:lnTo>
                    <a:pt x="678" y="66"/>
                  </a:lnTo>
                  <a:lnTo>
                    <a:pt x="678" y="60"/>
                  </a:lnTo>
                  <a:lnTo>
                    <a:pt x="684" y="60"/>
                  </a:lnTo>
                  <a:lnTo>
                    <a:pt x="696" y="66"/>
                  </a:lnTo>
                  <a:lnTo>
                    <a:pt x="696" y="72"/>
                  </a:lnTo>
                  <a:lnTo>
                    <a:pt x="702" y="72"/>
                  </a:lnTo>
                  <a:lnTo>
                    <a:pt x="708" y="72"/>
                  </a:lnTo>
                  <a:lnTo>
                    <a:pt x="720" y="66"/>
                  </a:lnTo>
                  <a:lnTo>
                    <a:pt x="726" y="78"/>
                  </a:lnTo>
                  <a:lnTo>
                    <a:pt x="744" y="84"/>
                  </a:lnTo>
                  <a:lnTo>
                    <a:pt x="744" y="90"/>
                  </a:lnTo>
                  <a:lnTo>
                    <a:pt x="744" y="96"/>
                  </a:lnTo>
                  <a:lnTo>
                    <a:pt x="738" y="96"/>
                  </a:lnTo>
                  <a:lnTo>
                    <a:pt x="738" y="102"/>
                  </a:lnTo>
                  <a:lnTo>
                    <a:pt x="732" y="102"/>
                  </a:lnTo>
                  <a:lnTo>
                    <a:pt x="732" y="108"/>
                  </a:lnTo>
                  <a:lnTo>
                    <a:pt x="738" y="108"/>
                  </a:lnTo>
                  <a:lnTo>
                    <a:pt x="744" y="114"/>
                  </a:lnTo>
                  <a:lnTo>
                    <a:pt x="750" y="108"/>
                  </a:lnTo>
                  <a:lnTo>
                    <a:pt x="756" y="108"/>
                  </a:lnTo>
                  <a:lnTo>
                    <a:pt x="762" y="108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80" y="120"/>
                  </a:lnTo>
                  <a:lnTo>
                    <a:pt x="774" y="120"/>
                  </a:lnTo>
                  <a:lnTo>
                    <a:pt x="768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74" y="138"/>
                  </a:lnTo>
                  <a:lnTo>
                    <a:pt x="774" y="132"/>
                  </a:lnTo>
                  <a:lnTo>
                    <a:pt x="780" y="132"/>
                  </a:lnTo>
                  <a:lnTo>
                    <a:pt x="786" y="132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44"/>
                  </a:lnTo>
                  <a:lnTo>
                    <a:pt x="786" y="150"/>
                  </a:lnTo>
                  <a:lnTo>
                    <a:pt x="780" y="150"/>
                  </a:lnTo>
                  <a:lnTo>
                    <a:pt x="774" y="150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74" y="162"/>
                  </a:lnTo>
                  <a:lnTo>
                    <a:pt x="780" y="162"/>
                  </a:lnTo>
                  <a:lnTo>
                    <a:pt x="786" y="168"/>
                  </a:lnTo>
                  <a:lnTo>
                    <a:pt x="792" y="162"/>
                  </a:lnTo>
                  <a:lnTo>
                    <a:pt x="798" y="168"/>
                  </a:lnTo>
                  <a:lnTo>
                    <a:pt x="798" y="174"/>
                  </a:lnTo>
                  <a:lnTo>
                    <a:pt x="804" y="168"/>
                  </a:lnTo>
                  <a:lnTo>
                    <a:pt x="810" y="168"/>
                  </a:lnTo>
                  <a:lnTo>
                    <a:pt x="810" y="174"/>
                  </a:lnTo>
                  <a:lnTo>
                    <a:pt x="816" y="168"/>
                  </a:lnTo>
                  <a:lnTo>
                    <a:pt x="822" y="162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74"/>
                  </a:lnTo>
                  <a:lnTo>
                    <a:pt x="834" y="192"/>
                  </a:lnTo>
                  <a:lnTo>
                    <a:pt x="834" y="198"/>
                  </a:lnTo>
                  <a:lnTo>
                    <a:pt x="840" y="192"/>
                  </a:lnTo>
                  <a:lnTo>
                    <a:pt x="846" y="192"/>
                  </a:lnTo>
                  <a:lnTo>
                    <a:pt x="852" y="186"/>
                  </a:lnTo>
                  <a:lnTo>
                    <a:pt x="858" y="192"/>
                  </a:lnTo>
                  <a:lnTo>
                    <a:pt x="864" y="192"/>
                  </a:lnTo>
                  <a:lnTo>
                    <a:pt x="870" y="198"/>
                  </a:lnTo>
                  <a:lnTo>
                    <a:pt x="876" y="180"/>
                  </a:lnTo>
                  <a:lnTo>
                    <a:pt x="882" y="180"/>
                  </a:lnTo>
                  <a:lnTo>
                    <a:pt x="888" y="180"/>
                  </a:lnTo>
                  <a:lnTo>
                    <a:pt x="894" y="186"/>
                  </a:lnTo>
                  <a:lnTo>
                    <a:pt x="888" y="198"/>
                  </a:lnTo>
                  <a:lnTo>
                    <a:pt x="894" y="204"/>
                  </a:lnTo>
                  <a:lnTo>
                    <a:pt x="906" y="210"/>
                  </a:lnTo>
                  <a:lnTo>
                    <a:pt x="918" y="246"/>
                  </a:lnTo>
                  <a:lnTo>
                    <a:pt x="930" y="258"/>
                  </a:lnTo>
                  <a:lnTo>
                    <a:pt x="942" y="282"/>
                  </a:lnTo>
                  <a:lnTo>
                    <a:pt x="966" y="288"/>
                  </a:lnTo>
                  <a:lnTo>
                    <a:pt x="972" y="300"/>
                  </a:lnTo>
                  <a:lnTo>
                    <a:pt x="972" y="318"/>
                  </a:lnTo>
                  <a:lnTo>
                    <a:pt x="996" y="336"/>
                  </a:lnTo>
                  <a:lnTo>
                    <a:pt x="1050" y="390"/>
                  </a:lnTo>
                  <a:lnTo>
                    <a:pt x="1116" y="462"/>
                  </a:lnTo>
                  <a:lnTo>
                    <a:pt x="1122" y="468"/>
                  </a:lnTo>
                  <a:lnTo>
                    <a:pt x="1128" y="474"/>
                  </a:lnTo>
                  <a:lnTo>
                    <a:pt x="1140" y="474"/>
                  </a:lnTo>
                  <a:lnTo>
                    <a:pt x="1152" y="486"/>
                  </a:lnTo>
                  <a:lnTo>
                    <a:pt x="1152" y="492"/>
                  </a:lnTo>
                  <a:lnTo>
                    <a:pt x="1158" y="492"/>
                  </a:lnTo>
                  <a:lnTo>
                    <a:pt x="1164" y="492"/>
                  </a:lnTo>
                  <a:lnTo>
                    <a:pt x="1170" y="504"/>
                  </a:lnTo>
                  <a:lnTo>
                    <a:pt x="1176" y="504"/>
                  </a:lnTo>
                  <a:lnTo>
                    <a:pt x="1176" y="510"/>
                  </a:lnTo>
                  <a:lnTo>
                    <a:pt x="1200" y="516"/>
                  </a:lnTo>
                  <a:lnTo>
                    <a:pt x="1200" y="522"/>
                  </a:lnTo>
                  <a:lnTo>
                    <a:pt x="1212" y="534"/>
                  </a:lnTo>
                  <a:lnTo>
                    <a:pt x="1218" y="540"/>
                  </a:lnTo>
                  <a:lnTo>
                    <a:pt x="1224" y="552"/>
                  </a:lnTo>
                  <a:lnTo>
                    <a:pt x="1230" y="552"/>
                  </a:lnTo>
                  <a:lnTo>
                    <a:pt x="1242" y="552"/>
                  </a:lnTo>
                  <a:lnTo>
                    <a:pt x="1248" y="558"/>
                  </a:lnTo>
                  <a:lnTo>
                    <a:pt x="1254" y="558"/>
                  </a:lnTo>
                  <a:lnTo>
                    <a:pt x="1260" y="564"/>
                  </a:lnTo>
                  <a:lnTo>
                    <a:pt x="1266" y="564"/>
                  </a:lnTo>
                  <a:lnTo>
                    <a:pt x="1272" y="564"/>
                  </a:lnTo>
                  <a:lnTo>
                    <a:pt x="1284" y="564"/>
                  </a:lnTo>
                  <a:lnTo>
                    <a:pt x="1290" y="570"/>
                  </a:lnTo>
                  <a:lnTo>
                    <a:pt x="1296" y="576"/>
                  </a:lnTo>
                  <a:lnTo>
                    <a:pt x="1302" y="588"/>
                  </a:lnTo>
                  <a:lnTo>
                    <a:pt x="1296" y="594"/>
                  </a:lnTo>
                  <a:lnTo>
                    <a:pt x="1296" y="600"/>
                  </a:lnTo>
                  <a:lnTo>
                    <a:pt x="1296" y="606"/>
                  </a:lnTo>
                  <a:lnTo>
                    <a:pt x="1290" y="612"/>
                  </a:lnTo>
                  <a:lnTo>
                    <a:pt x="1290" y="624"/>
                  </a:lnTo>
                  <a:lnTo>
                    <a:pt x="1290" y="636"/>
                  </a:lnTo>
                  <a:lnTo>
                    <a:pt x="1296" y="642"/>
                  </a:lnTo>
                  <a:lnTo>
                    <a:pt x="1302" y="648"/>
                  </a:lnTo>
                  <a:lnTo>
                    <a:pt x="1308" y="654"/>
                  </a:lnTo>
                  <a:lnTo>
                    <a:pt x="1320" y="654"/>
                  </a:lnTo>
                  <a:lnTo>
                    <a:pt x="1326" y="660"/>
                  </a:lnTo>
                  <a:lnTo>
                    <a:pt x="1338" y="654"/>
                  </a:lnTo>
                  <a:lnTo>
                    <a:pt x="1344" y="654"/>
                  </a:lnTo>
                  <a:lnTo>
                    <a:pt x="1356" y="654"/>
                  </a:lnTo>
                  <a:lnTo>
                    <a:pt x="1362" y="648"/>
                  </a:lnTo>
                  <a:lnTo>
                    <a:pt x="1368" y="642"/>
                  </a:lnTo>
                  <a:lnTo>
                    <a:pt x="1374" y="636"/>
                  </a:lnTo>
                  <a:lnTo>
                    <a:pt x="1380" y="636"/>
                  </a:lnTo>
                  <a:lnTo>
                    <a:pt x="1392" y="636"/>
                  </a:lnTo>
                  <a:lnTo>
                    <a:pt x="1398" y="636"/>
                  </a:lnTo>
                  <a:lnTo>
                    <a:pt x="1404" y="636"/>
                  </a:lnTo>
                  <a:lnTo>
                    <a:pt x="1410" y="630"/>
                  </a:lnTo>
                  <a:lnTo>
                    <a:pt x="1410" y="624"/>
                  </a:lnTo>
                  <a:lnTo>
                    <a:pt x="1422" y="618"/>
                  </a:lnTo>
                  <a:lnTo>
                    <a:pt x="1428" y="618"/>
                  </a:lnTo>
                  <a:lnTo>
                    <a:pt x="1440" y="612"/>
                  </a:lnTo>
                  <a:lnTo>
                    <a:pt x="1446" y="612"/>
                  </a:lnTo>
                  <a:lnTo>
                    <a:pt x="1458" y="612"/>
                  </a:lnTo>
                  <a:lnTo>
                    <a:pt x="1470" y="624"/>
                  </a:lnTo>
                  <a:lnTo>
                    <a:pt x="1488" y="642"/>
                  </a:lnTo>
                  <a:lnTo>
                    <a:pt x="1500" y="648"/>
                  </a:lnTo>
                  <a:lnTo>
                    <a:pt x="1512" y="654"/>
                  </a:lnTo>
                  <a:lnTo>
                    <a:pt x="1518" y="660"/>
                  </a:lnTo>
                  <a:lnTo>
                    <a:pt x="1524" y="660"/>
                  </a:lnTo>
                  <a:lnTo>
                    <a:pt x="1530" y="660"/>
                  </a:lnTo>
                  <a:lnTo>
                    <a:pt x="1536" y="666"/>
                  </a:lnTo>
                  <a:lnTo>
                    <a:pt x="1542" y="672"/>
                  </a:lnTo>
                  <a:lnTo>
                    <a:pt x="1548" y="672"/>
                  </a:lnTo>
                  <a:lnTo>
                    <a:pt x="1554" y="684"/>
                  </a:lnTo>
                  <a:lnTo>
                    <a:pt x="1554" y="690"/>
                  </a:lnTo>
                  <a:lnTo>
                    <a:pt x="1566" y="702"/>
                  </a:lnTo>
                  <a:lnTo>
                    <a:pt x="1572" y="720"/>
                  </a:lnTo>
                  <a:lnTo>
                    <a:pt x="1572" y="726"/>
                  </a:lnTo>
                  <a:lnTo>
                    <a:pt x="1578" y="732"/>
                  </a:lnTo>
                  <a:lnTo>
                    <a:pt x="1584" y="738"/>
                  </a:lnTo>
                  <a:lnTo>
                    <a:pt x="1590" y="738"/>
                  </a:lnTo>
                  <a:lnTo>
                    <a:pt x="1596" y="738"/>
                  </a:lnTo>
                  <a:lnTo>
                    <a:pt x="1602" y="744"/>
                  </a:lnTo>
                  <a:lnTo>
                    <a:pt x="1608" y="744"/>
                  </a:lnTo>
                  <a:lnTo>
                    <a:pt x="1614" y="744"/>
                  </a:lnTo>
                  <a:lnTo>
                    <a:pt x="1626" y="744"/>
                  </a:lnTo>
                  <a:lnTo>
                    <a:pt x="1638" y="744"/>
                  </a:lnTo>
                  <a:lnTo>
                    <a:pt x="1650" y="744"/>
                  </a:lnTo>
                  <a:lnTo>
                    <a:pt x="1662" y="744"/>
                  </a:lnTo>
                  <a:lnTo>
                    <a:pt x="1668" y="744"/>
                  </a:lnTo>
                  <a:lnTo>
                    <a:pt x="1674" y="744"/>
                  </a:lnTo>
                  <a:lnTo>
                    <a:pt x="1686" y="744"/>
                  </a:lnTo>
                  <a:lnTo>
                    <a:pt x="1698" y="750"/>
                  </a:lnTo>
                  <a:lnTo>
                    <a:pt x="1704" y="750"/>
                  </a:lnTo>
                  <a:lnTo>
                    <a:pt x="1716" y="756"/>
                  </a:lnTo>
                  <a:lnTo>
                    <a:pt x="1722" y="756"/>
                  </a:lnTo>
                  <a:lnTo>
                    <a:pt x="1728" y="756"/>
                  </a:lnTo>
                  <a:lnTo>
                    <a:pt x="1734" y="762"/>
                  </a:lnTo>
                  <a:lnTo>
                    <a:pt x="1740" y="768"/>
                  </a:lnTo>
                  <a:lnTo>
                    <a:pt x="1758" y="780"/>
                  </a:lnTo>
                  <a:lnTo>
                    <a:pt x="1770" y="780"/>
                  </a:lnTo>
                  <a:lnTo>
                    <a:pt x="1776" y="780"/>
                  </a:lnTo>
                  <a:lnTo>
                    <a:pt x="1782" y="780"/>
                  </a:lnTo>
                  <a:lnTo>
                    <a:pt x="1800" y="798"/>
                  </a:lnTo>
                  <a:lnTo>
                    <a:pt x="1818" y="810"/>
                  </a:lnTo>
                  <a:lnTo>
                    <a:pt x="1830" y="816"/>
                  </a:lnTo>
                  <a:lnTo>
                    <a:pt x="1836" y="822"/>
                  </a:lnTo>
                  <a:lnTo>
                    <a:pt x="1836" y="828"/>
                  </a:lnTo>
                  <a:lnTo>
                    <a:pt x="1842" y="828"/>
                  </a:lnTo>
                  <a:lnTo>
                    <a:pt x="1848" y="834"/>
                  </a:lnTo>
                  <a:lnTo>
                    <a:pt x="1854" y="840"/>
                  </a:lnTo>
                  <a:lnTo>
                    <a:pt x="1860" y="846"/>
                  </a:lnTo>
                  <a:lnTo>
                    <a:pt x="1872" y="852"/>
                  </a:lnTo>
                  <a:lnTo>
                    <a:pt x="1884" y="852"/>
                  </a:lnTo>
                  <a:lnTo>
                    <a:pt x="1896" y="852"/>
                  </a:lnTo>
                  <a:lnTo>
                    <a:pt x="1902" y="846"/>
                  </a:lnTo>
                  <a:lnTo>
                    <a:pt x="1908" y="852"/>
                  </a:lnTo>
                  <a:lnTo>
                    <a:pt x="1920" y="858"/>
                  </a:lnTo>
                  <a:lnTo>
                    <a:pt x="1926" y="870"/>
                  </a:lnTo>
                  <a:lnTo>
                    <a:pt x="1938" y="888"/>
                  </a:lnTo>
                  <a:lnTo>
                    <a:pt x="1944" y="900"/>
                  </a:lnTo>
                  <a:lnTo>
                    <a:pt x="1950" y="900"/>
                  </a:lnTo>
                  <a:lnTo>
                    <a:pt x="1962" y="906"/>
                  </a:lnTo>
                  <a:lnTo>
                    <a:pt x="1968" y="906"/>
                  </a:lnTo>
                  <a:lnTo>
                    <a:pt x="1980" y="906"/>
                  </a:lnTo>
                  <a:lnTo>
                    <a:pt x="1998" y="906"/>
                  </a:lnTo>
                  <a:lnTo>
                    <a:pt x="2010" y="900"/>
                  </a:lnTo>
                  <a:lnTo>
                    <a:pt x="2022" y="900"/>
                  </a:lnTo>
                  <a:lnTo>
                    <a:pt x="2028" y="900"/>
                  </a:lnTo>
                  <a:lnTo>
                    <a:pt x="2034" y="906"/>
                  </a:lnTo>
                  <a:lnTo>
                    <a:pt x="2046" y="906"/>
                  </a:lnTo>
                  <a:lnTo>
                    <a:pt x="2052" y="900"/>
                  </a:lnTo>
                  <a:lnTo>
                    <a:pt x="2058" y="900"/>
                  </a:lnTo>
                  <a:lnTo>
                    <a:pt x="2064" y="900"/>
                  </a:lnTo>
                  <a:lnTo>
                    <a:pt x="2070" y="900"/>
                  </a:lnTo>
                  <a:lnTo>
                    <a:pt x="2076" y="900"/>
                  </a:lnTo>
                  <a:lnTo>
                    <a:pt x="2076" y="906"/>
                  </a:lnTo>
                  <a:lnTo>
                    <a:pt x="2088" y="906"/>
                  </a:lnTo>
                  <a:lnTo>
                    <a:pt x="2106" y="900"/>
                  </a:lnTo>
                  <a:lnTo>
                    <a:pt x="2118" y="900"/>
                  </a:lnTo>
                  <a:lnTo>
                    <a:pt x="2130" y="900"/>
                  </a:lnTo>
                  <a:lnTo>
                    <a:pt x="2142" y="900"/>
                  </a:lnTo>
                  <a:lnTo>
                    <a:pt x="2148" y="906"/>
                  </a:lnTo>
                  <a:lnTo>
                    <a:pt x="2154" y="906"/>
                  </a:lnTo>
                  <a:lnTo>
                    <a:pt x="2160" y="906"/>
                  </a:lnTo>
                  <a:lnTo>
                    <a:pt x="2166" y="906"/>
                  </a:lnTo>
                  <a:lnTo>
                    <a:pt x="2178" y="918"/>
                  </a:lnTo>
                  <a:lnTo>
                    <a:pt x="2178" y="924"/>
                  </a:lnTo>
                  <a:lnTo>
                    <a:pt x="2184" y="924"/>
                  </a:lnTo>
                  <a:lnTo>
                    <a:pt x="2190" y="924"/>
                  </a:lnTo>
                  <a:lnTo>
                    <a:pt x="2196" y="924"/>
                  </a:lnTo>
                  <a:lnTo>
                    <a:pt x="2202" y="918"/>
                  </a:lnTo>
                  <a:lnTo>
                    <a:pt x="2208" y="918"/>
                  </a:lnTo>
                  <a:lnTo>
                    <a:pt x="2214" y="918"/>
                  </a:lnTo>
                  <a:lnTo>
                    <a:pt x="2226" y="918"/>
                  </a:lnTo>
                  <a:lnTo>
                    <a:pt x="2220" y="948"/>
                  </a:lnTo>
                  <a:lnTo>
                    <a:pt x="2214" y="972"/>
                  </a:lnTo>
                  <a:lnTo>
                    <a:pt x="2214" y="984"/>
                  </a:lnTo>
                  <a:lnTo>
                    <a:pt x="2208" y="990"/>
                  </a:lnTo>
                  <a:lnTo>
                    <a:pt x="2208" y="996"/>
                  </a:lnTo>
                  <a:lnTo>
                    <a:pt x="2202" y="996"/>
                  </a:lnTo>
                  <a:lnTo>
                    <a:pt x="2196" y="996"/>
                  </a:lnTo>
                  <a:lnTo>
                    <a:pt x="2190" y="1008"/>
                  </a:lnTo>
                  <a:lnTo>
                    <a:pt x="2172" y="1074"/>
                  </a:lnTo>
                  <a:lnTo>
                    <a:pt x="2166" y="1092"/>
                  </a:lnTo>
                  <a:lnTo>
                    <a:pt x="2172" y="1110"/>
                  </a:lnTo>
                  <a:lnTo>
                    <a:pt x="2172" y="1122"/>
                  </a:lnTo>
                  <a:lnTo>
                    <a:pt x="2166" y="1134"/>
                  </a:lnTo>
                  <a:lnTo>
                    <a:pt x="2148" y="1140"/>
                  </a:lnTo>
                  <a:lnTo>
                    <a:pt x="2148" y="1134"/>
                  </a:lnTo>
                  <a:lnTo>
                    <a:pt x="2118" y="1140"/>
                  </a:lnTo>
                  <a:lnTo>
                    <a:pt x="2088" y="1134"/>
                  </a:lnTo>
                  <a:lnTo>
                    <a:pt x="2064" y="1122"/>
                  </a:lnTo>
                  <a:lnTo>
                    <a:pt x="2034" y="1122"/>
                  </a:lnTo>
                  <a:lnTo>
                    <a:pt x="2022" y="1128"/>
                  </a:lnTo>
                  <a:lnTo>
                    <a:pt x="1986" y="1128"/>
                  </a:lnTo>
                  <a:lnTo>
                    <a:pt x="1938" y="1122"/>
                  </a:lnTo>
                  <a:lnTo>
                    <a:pt x="1932" y="1116"/>
                  </a:lnTo>
                  <a:lnTo>
                    <a:pt x="1896" y="1110"/>
                  </a:lnTo>
                  <a:lnTo>
                    <a:pt x="1878" y="1104"/>
                  </a:lnTo>
                  <a:lnTo>
                    <a:pt x="1866" y="1098"/>
                  </a:lnTo>
                  <a:lnTo>
                    <a:pt x="1860" y="1098"/>
                  </a:lnTo>
                  <a:lnTo>
                    <a:pt x="1854" y="1092"/>
                  </a:lnTo>
                  <a:lnTo>
                    <a:pt x="1860" y="1092"/>
                  </a:lnTo>
                  <a:lnTo>
                    <a:pt x="1860" y="1086"/>
                  </a:lnTo>
                  <a:lnTo>
                    <a:pt x="1854" y="1086"/>
                  </a:lnTo>
                  <a:lnTo>
                    <a:pt x="1842" y="1080"/>
                  </a:lnTo>
                  <a:lnTo>
                    <a:pt x="1818" y="1062"/>
                  </a:lnTo>
                  <a:lnTo>
                    <a:pt x="1782" y="1056"/>
                  </a:lnTo>
                  <a:lnTo>
                    <a:pt x="1770" y="1068"/>
                  </a:lnTo>
                  <a:lnTo>
                    <a:pt x="1746" y="1098"/>
                  </a:lnTo>
                  <a:lnTo>
                    <a:pt x="1722" y="1104"/>
                  </a:lnTo>
                  <a:lnTo>
                    <a:pt x="1710" y="1122"/>
                  </a:lnTo>
                  <a:lnTo>
                    <a:pt x="1710" y="1128"/>
                  </a:lnTo>
                  <a:lnTo>
                    <a:pt x="1710" y="1140"/>
                  </a:lnTo>
                  <a:lnTo>
                    <a:pt x="1698" y="1146"/>
                  </a:lnTo>
                  <a:lnTo>
                    <a:pt x="1686" y="1152"/>
                  </a:lnTo>
                  <a:lnTo>
                    <a:pt x="1680" y="1164"/>
                  </a:lnTo>
                  <a:lnTo>
                    <a:pt x="1680" y="1170"/>
                  </a:lnTo>
                  <a:lnTo>
                    <a:pt x="1686" y="1170"/>
                  </a:lnTo>
                  <a:lnTo>
                    <a:pt x="1686" y="1176"/>
                  </a:lnTo>
                  <a:lnTo>
                    <a:pt x="1698" y="1188"/>
                  </a:lnTo>
                  <a:lnTo>
                    <a:pt x="1704" y="1188"/>
                  </a:lnTo>
                  <a:lnTo>
                    <a:pt x="1698" y="1194"/>
                  </a:lnTo>
                  <a:lnTo>
                    <a:pt x="1704" y="1194"/>
                  </a:lnTo>
                  <a:lnTo>
                    <a:pt x="1704" y="1200"/>
                  </a:lnTo>
                  <a:lnTo>
                    <a:pt x="1704" y="1206"/>
                  </a:lnTo>
                  <a:lnTo>
                    <a:pt x="1704" y="1212"/>
                  </a:lnTo>
                  <a:lnTo>
                    <a:pt x="1704" y="1218"/>
                  </a:lnTo>
                  <a:lnTo>
                    <a:pt x="1710" y="1218"/>
                  </a:lnTo>
                  <a:lnTo>
                    <a:pt x="1710" y="1212"/>
                  </a:lnTo>
                  <a:lnTo>
                    <a:pt x="1716" y="1212"/>
                  </a:lnTo>
                  <a:lnTo>
                    <a:pt x="1716" y="1218"/>
                  </a:lnTo>
                  <a:lnTo>
                    <a:pt x="1716" y="1224"/>
                  </a:lnTo>
                  <a:lnTo>
                    <a:pt x="1716" y="1230"/>
                  </a:lnTo>
                  <a:lnTo>
                    <a:pt x="1722" y="1236"/>
                  </a:lnTo>
                  <a:lnTo>
                    <a:pt x="1740" y="1230"/>
                  </a:lnTo>
                  <a:lnTo>
                    <a:pt x="1734" y="1236"/>
                  </a:lnTo>
                  <a:lnTo>
                    <a:pt x="1734" y="1242"/>
                  </a:lnTo>
                  <a:lnTo>
                    <a:pt x="1734" y="1248"/>
                  </a:lnTo>
                  <a:lnTo>
                    <a:pt x="1734" y="1254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52" y="1266"/>
                  </a:lnTo>
                  <a:lnTo>
                    <a:pt x="1764" y="1266"/>
                  </a:lnTo>
                  <a:lnTo>
                    <a:pt x="1788" y="1260"/>
                  </a:lnTo>
                  <a:lnTo>
                    <a:pt x="1800" y="1260"/>
                  </a:lnTo>
                  <a:lnTo>
                    <a:pt x="1806" y="1272"/>
                  </a:lnTo>
                  <a:lnTo>
                    <a:pt x="1806" y="1296"/>
                  </a:lnTo>
                  <a:lnTo>
                    <a:pt x="1800" y="1308"/>
                  </a:lnTo>
                  <a:lnTo>
                    <a:pt x="1788" y="1308"/>
                  </a:lnTo>
                  <a:lnTo>
                    <a:pt x="1782" y="132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7" name="Freeform 32">
              <a:extLst>
                <a:ext uri="{FF2B5EF4-FFF2-40B4-BE49-F238E27FC236}">
                  <a16:creationId xmlns:a16="http://schemas.microsoft.com/office/drawing/2014/main" id="{1EF84438-BF7A-47D2-9156-E231EA2A279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3295" y="2316568"/>
              <a:ext cx="1290281" cy="1084704"/>
            </a:xfrm>
            <a:custGeom>
              <a:avLst/>
              <a:gdLst>
                <a:gd name="T0" fmla="*/ 177 w 2430"/>
                <a:gd name="T1" fmla="*/ 169 h 2040"/>
                <a:gd name="T2" fmla="*/ 174 w 2430"/>
                <a:gd name="T3" fmla="*/ 173 h 2040"/>
                <a:gd name="T4" fmla="*/ 169 w 2430"/>
                <a:gd name="T5" fmla="*/ 171 h 2040"/>
                <a:gd name="T6" fmla="*/ 160 w 2430"/>
                <a:gd name="T7" fmla="*/ 163 h 2040"/>
                <a:gd name="T8" fmla="*/ 154 w 2430"/>
                <a:gd name="T9" fmla="*/ 149 h 2040"/>
                <a:gd name="T10" fmla="*/ 144 w 2430"/>
                <a:gd name="T11" fmla="*/ 147 h 2040"/>
                <a:gd name="T12" fmla="*/ 133 w 2430"/>
                <a:gd name="T13" fmla="*/ 146 h 2040"/>
                <a:gd name="T14" fmla="*/ 121 w 2430"/>
                <a:gd name="T15" fmla="*/ 145 h 2040"/>
                <a:gd name="T16" fmla="*/ 110 w 2430"/>
                <a:gd name="T17" fmla="*/ 137 h 2040"/>
                <a:gd name="T18" fmla="*/ 97 w 2430"/>
                <a:gd name="T19" fmla="*/ 131 h 2040"/>
                <a:gd name="T20" fmla="*/ 87 w 2430"/>
                <a:gd name="T21" fmla="*/ 125 h 2040"/>
                <a:gd name="T22" fmla="*/ 75 w 2430"/>
                <a:gd name="T23" fmla="*/ 122 h 2040"/>
                <a:gd name="T24" fmla="*/ 65 w 2430"/>
                <a:gd name="T25" fmla="*/ 122 h 2040"/>
                <a:gd name="T26" fmla="*/ 59 w 2430"/>
                <a:gd name="T27" fmla="*/ 115 h 2040"/>
                <a:gd name="T28" fmla="*/ 50 w 2430"/>
                <a:gd name="T29" fmla="*/ 107 h 2040"/>
                <a:gd name="T30" fmla="*/ 28 w 2430"/>
                <a:gd name="T31" fmla="*/ 84 h 2040"/>
                <a:gd name="T32" fmla="*/ 22 w 2430"/>
                <a:gd name="T33" fmla="*/ 82 h 2040"/>
                <a:gd name="T34" fmla="*/ 20 w 2430"/>
                <a:gd name="T35" fmla="*/ 79 h 2040"/>
                <a:gd name="T36" fmla="*/ 16 w 2430"/>
                <a:gd name="T37" fmla="*/ 76 h 2040"/>
                <a:gd name="T38" fmla="*/ 11 w 2430"/>
                <a:gd name="T39" fmla="*/ 74 h 2040"/>
                <a:gd name="T40" fmla="*/ 7 w 2430"/>
                <a:gd name="T41" fmla="*/ 69 h 2040"/>
                <a:gd name="T42" fmla="*/ 0 w 2430"/>
                <a:gd name="T43" fmla="*/ 60 h 2040"/>
                <a:gd name="T44" fmla="*/ 10 w 2430"/>
                <a:gd name="T45" fmla="*/ 53 h 2040"/>
                <a:gd name="T46" fmla="*/ 15 w 2430"/>
                <a:gd name="T47" fmla="*/ 40 h 2040"/>
                <a:gd name="T48" fmla="*/ 9 w 2430"/>
                <a:gd name="T49" fmla="*/ 29 h 2040"/>
                <a:gd name="T50" fmla="*/ 7 w 2430"/>
                <a:gd name="T51" fmla="*/ 16 h 2040"/>
                <a:gd name="T52" fmla="*/ 18 w 2430"/>
                <a:gd name="T53" fmla="*/ 21 h 2040"/>
                <a:gd name="T54" fmla="*/ 48 w 2430"/>
                <a:gd name="T55" fmla="*/ 27 h 2040"/>
                <a:gd name="T56" fmla="*/ 62 w 2430"/>
                <a:gd name="T57" fmla="*/ 25 h 2040"/>
                <a:gd name="T58" fmla="*/ 59 w 2430"/>
                <a:gd name="T59" fmla="*/ 42 h 2040"/>
                <a:gd name="T60" fmla="*/ 54 w 2430"/>
                <a:gd name="T61" fmla="*/ 65 h 2040"/>
                <a:gd name="T62" fmla="*/ 65 w 2430"/>
                <a:gd name="T63" fmla="*/ 60 h 2040"/>
                <a:gd name="T64" fmla="*/ 68 w 2430"/>
                <a:gd name="T65" fmla="*/ 40 h 2040"/>
                <a:gd name="T66" fmla="*/ 75 w 2430"/>
                <a:gd name="T67" fmla="*/ 36 h 2040"/>
                <a:gd name="T68" fmla="*/ 83 w 2430"/>
                <a:gd name="T69" fmla="*/ 29 h 2040"/>
                <a:gd name="T70" fmla="*/ 81 w 2430"/>
                <a:gd name="T71" fmla="*/ 17 h 2040"/>
                <a:gd name="T72" fmla="*/ 66 w 2430"/>
                <a:gd name="T73" fmla="*/ 7 h 2040"/>
                <a:gd name="T74" fmla="*/ 80 w 2430"/>
                <a:gd name="T75" fmla="*/ 5 h 2040"/>
                <a:gd name="T76" fmla="*/ 89 w 2430"/>
                <a:gd name="T77" fmla="*/ 1 h 2040"/>
                <a:gd name="T78" fmla="*/ 101 w 2430"/>
                <a:gd name="T79" fmla="*/ 10 h 2040"/>
                <a:gd name="T80" fmla="*/ 103 w 2430"/>
                <a:gd name="T81" fmla="*/ 18 h 2040"/>
                <a:gd name="T82" fmla="*/ 110 w 2430"/>
                <a:gd name="T83" fmla="*/ 23 h 2040"/>
                <a:gd name="T84" fmla="*/ 121 w 2430"/>
                <a:gd name="T85" fmla="*/ 20 h 2040"/>
                <a:gd name="T86" fmla="*/ 129 w 2430"/>
                <a:gd name="T87" fmla="*/ 15 h 2040"/>
                <a:gd name="T88" fmla="*/ 142 w 2430"/>
                <a:gd name="T89" fmla="*/ 23 h 2040"/>
                <a:gd name="T90" fmla="*/ 141 w 2430"/>
                <a:gd name="T91" fmla="*/ 30 h 2040"/>
                <a:gd name="T92" fmla="*/ 140 w 2430"/>
                <a:gd name="T93" fmla="*/ 38 h 2040"/>
                <a:gd name="T94" fmla="*/ 139 w 2430"/>
                <a:gd name="T95" fmla="*/ 46 h 2040"/>
                <a:gd name="T96" fmla="*/ 147 w 2430"/>
                <a:gd name="T97" fmla="*/ 54 h 2040"/>
                <a:gd name="T98" fmla="*/ 152 w 2430"/>
                <a:gd name="T99" fmla="*/ 50 h 2040"/>
                <a:gd name="T100" fmla="*/ 159 w 2430"/>
                <a:gd name="T101" fmla="*/ 43 h 2040"/>
                <a:gd name="T102" fmla="*/ 174 w 2430"/>
                <a:gd name="T103" fmla="*/ 41 h 2040"/>
                <a:gd name="T104" fmla="*/ 190 w 2430"/>
                <a:gd name="T105" fmla="*/ 57 h 2040"/>
                <a:gd name="T106" fmla="*/ 187 w 2430"/>
                <a:gd name="T107" fmla="*/ 66 h 2040"/>
                <a:gd name="T108" fmla="*/ 183 w 2430"/>
                <a:gd name="T109" fmla="*/ 72 h 2040"/>
                <a:gd name="T110" fmla="*/ 194 w 2430"/>
                <a:gd name="T111" fmla="*/ 73 h 2040"/>
                <a:gd name="T112" fmla="*/ 202 w 2430"/>
                <a:gd name="T113" fmla="*/ 74 h 2040"/>
                <a:gd name="T114" fmla="*/ 204 w 2430"/>
                <a:gd name="T115" fmla="*/ 89 h 2040"/>
                <a:gd name="T116" fmla="*/ 208 w 2430"/>
                <a:gd name="T117" fmla="*/ 99 h 2040"/>
                <a:gd name="T118" fmla="*/ 203 w 2430"/>
                <a:gd name="T119" fmla="*/ 103 h 2040"/>
                <a:gd name="T120" fmla="*/ 209 w 2430"/>
                <a:gd name="T121" fmla="*/ 111 h 2040"/>
                <a:gd name="T122" fmla="*/ 204 w 2430"/>
                <a:gd name="T123" fmla="*/ 124 h 2040"/>
                <a:gd name="T124" fmla="*/ 190 w 2430"/>
                <a:gd name="T125" fmla="*/ 117 h 20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30"/>
                <a:gd name="T190" fmla="*/ 0 h 2040"/>
                <a:gd name="T191" fmla="*/ 2430 w 2430"/>
                <a:gd name="T192" fmla="*/ 2040 h 20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30" h="2040">
                  <a:moveTo>
                    <a:pt x="2076" y="1896"/>
                  </a:moveTo>
                  <a:lnTo>
                    <a:pt x="2070" y="1896"/>
                  </a:lnTo>
                  <a:lnTo>
                    <a:pt x="2070" y="1902"/>
                  </a:lnTo>
                  <a:lnTo>
                    <a:pt x="2076" y="1902"/>
                  </a:lnTo>
                  <a:lnTo>
                    <a:pt x="2082" y="1902"/>
                  </a:lnTo>
                  <a:lnTo>
                    <a:pt x="2082" y="1908"/>
                  </a:lnTo>
                  <a:lnTo>
                    <a:pt x="2076" y="1908"/>
                  </a:lnTo>
                  <a:lnTo>
                    <a:pt x="2076" y="1914"/>
                  </a:lnTo>
                  <a:lnTo>
                    <a:pt x="2070" y="1920"/>
                  </a:lnTo>
                  <a:lnTo>
                    <a:pt x="2064" y="1932"/>
                  </a:lnTo>
                  <a:lnTo>
                    <a:pt x="2064" y="1938"/>
                  </a:lnTo>
                  <a:lnTo>
                    <a:pt x="2058" y="1938"/>
                  </a:lnTo>
                  <a:lnTo>
                    <a:pt x="2052" y="1944"/>
                  </a:lnTo>
                  <a:lnTo>
                    <a:pt x="2052" y="1950"/>
                  </a:lnTo>
                  <a:lnTo>
                    <a:pt x="2040" y="1944"/>
                  </a:lnTo>
                  <a:lnTo>
                    <a:pt x="2040" y="1950"/>
                  </a:lnTo>
                  <a:lnTo>
                    <a:pt x="2034" y="1956"/>
                  </a:lnTo>
                  <a:lnTo>
                    <a:pt x="2034" y="1962"/>
                  </a:lnTo>
                  <a:lnTo>
                    <a:pt x="2028" y="1962"/>
                  </a:lnTo>
                  <a:lnTo>
                    <a:pt x="2022" y="1962"/>
                  </a:lnTo>
                  <a:lnTo>
                    <a:pt x="2022" y="1968"/>
                  </a:lnTo>
                  <a:lnTo>
                    <a:pt x="2028" y="1974"/>
                  </a:lnTo>
                  <a:lnTo>
                    <a:pt x="2034" y="1980"/>
                  </a:lnTo>
                  <a:lnTo>
                    <a:pt x="2028" y="1986"/>
                  </a:lnTo>
                  <a:lnTo>
                    <a:pt x="2022" y="1992"/>
                  </a:lnTo>
                  <a:lnTo>
                    <a:pt x="2022" y="1986"/>
                  </a:lnTo>
                  <a:lnTo>
                    <a:pt x="2016" y="1986"/>
                  </a:lnTo>
                  <a:lnTo>
                    <a:pt x="2010" y="1980"/>
                  </a:lnTo>
                  <a:lnTo>
                    <a:pt x="2004" y="1980"/>
                  </a:lnTo>
                  <a:lnTo>
                    <a:pt x="2004" y="1986"/>
                  </a:lnTo>
                  <a:lnTo>
                    <a:pt x="2010" y="1992"/>
                  </a:lnTo>
                  <a:lnTo>
                    <a:pt x="2010" y="1998"/>
                  </a:lnTo>
                  <a:lnTo>
                    <a:pt x="2004" y="2004"/>
                  </a:lnTo>
                  <a:lnTo>
                    <a:pt x="1998" y="2004"/>
                  </a:lnTo>
                  <a:lnTo>
                    <a:pt x="1998" y="2022"/>
                  </a:lnTo>
                  <a:lnTo>
                    <a:pt x="1998" y="2028"/>
                  </a:lnTo>
                  <a:lnTo>
                    <a:pt x="1992" y="2034"/>
                  </a:lnTo>
                  <a:lnTo>
                    <a:pt x="1992" y="2040"/>
                  </a:lnTo>
                  <a:lnTo>
                    <a:pt x="1986" y="2040"/>
                  </a:lnTo>
                  <a:lnTo>
                    <a:pt x="1986" y="2034"/>
                  </a:lnTo>
                  <a:lnTo>
                    <a:pt x="1980" y="2028"/>
                  </a:lnTo>
                  <a:lnTo>
                    <a:pt x="1980" y="2022"/>
                  </a:lnTo>
                  <a:lnTo>
                    <a:pt x="1968" y="2016"/>
                  </a:lnTo>
                  <a:lnTo>
                    <a:pt x="1962" y="2010"/>
                  </a:lnTo>
                  <a:lnTo>
                    <a:pt x="1956" y="2004"/>
                  </a:lnTo>
                  <a:lnTo>
                    <a:pt x="1950" y="1992"/>
                  </a:lnTo>
                  <a:lnTo>
                    <a:pt x="1950" y="1986"/>
                  </a:lnTo>
                  <a:lnTo>
                    <a:pt x="1950" y="1974"/>
                  </a:lnTo>
                  <a:lnTo>
                    <a:pt x="1944" y="1974"/>
                  </a:lnTo>
                  <a:lnTo>
                    <a:pt x="1932" y="1962"/>
                  </a:lnTo>
                  <a:lnTo>
                    <a:pt x="1932" y="1956"/>
                  </a:lnTo>
                  <a:lnTo>
                    <a:pt x="1932" y="1950"/>
                  </a:lnTo>
                  <a:lnTo>
                    <a:pt x="1920" y="1944"/>
                  </a:lnTo>
                  <a:lnTo>
                    <a:pt x="1914" y="1944"/>
                  </a:lnTo>
                  <a:lnTo>
                    <a:pt x="1908" y="1938"/>
                  </a:lnTo>
                  <a:lnTo>
                    <a:pt x="1902" y="1926"/>
                  </a:lnTo>
                  <a:lnTo>
                    <a:pt x="1890" y="1914"/>
                  </a:lnTo>
                  <a:lnTo>
                    <a:pt x="1884" y="1914"/>
                  </a:lnTo>
                  <a:lnTo>
                    <a:pt x="1878" y="1908"/>
                  </a:lnTo>
                  <a:lnTo>
                    <a:pt x="1872" y="1902"/>
                  </a:lnTo>
                  <a:lnTo>
                    <a:pt x="1872" y="1896"/>
                  </a:lnTo>
                  <a:lnTo>
                    <a:pt x="1866" y="1890"/>
                  </a:lnTo>
                  <a:lnTo>
                    <a:pt x="1854" y="1884"/>
                  </a:lnTo>
                  <a:lnTo>
                    <a:pt x="1848" y="1884"/>
                  </a:lnTo>
                  <a:lnTo>
                    <a:pt x="1842" y="1872"/>
                  </a:lnTo>
                  <a:lnTo>
                    <a:pt x="1836" y="1872"/>
                  </a:lnTo>
                  <a:lnTo>
                    <a:pt x="1830" y="1866"/>
                  </a:lnTo>
                  <a:lnTo>
                    <a:pt x="1830" y="1854"/>
                  </a:lnTo>
                  <a:lnTo>
                    <a:pt x="1824" y="1848"/>
                  </a:lnTo>
                  <a:lnTo>
                    <a:pt x="1818" y="1830"/>
                  </a:lnTo>
                  <a:lnTo>
                    <a:pt x="1818" y="1818"/>
                  </a:lnTo>
                  <a:lnTo>
                    <a:pt x="1812" y="1800"/>
                  </a:lnTo>
                  <a:lnTo>
                    <a:pt x="1812" y="1788"/>
                  </a:lnTo>
                  <a:lnTo>
                    <a:pt x="1806" y="1776"/>
                  </a:lnTo>
                  <a:lnTo>
                    <a:pt x="1800" y="1764"/>
                  </a:lnTo>
                  <a:lnTo>
                    <a:pt x="1794" y="1758"/>
                  </a:lnTo>
                  <a:lnTo>
                    <a:pt x="1782" y="1740"/>
                  </a:lnTo>
                  <a:lnTo>
                    <a:pt x="1776" y="1728"/>
                  </a:lnTo>
                  <a:lnTo>
                    <a:pt x="1776" y="1722"/>
                  </a:lnTo>
                  <a:lnTo>
                    <a:pt x="1770" y="1722"/>
                  </a:lnTo>
                  <a:lnTo>
                    <a:pt x="1770" y="1716"/>
                  </a:lnTo>
                  <a:lnTo>
                    <a:pt x="1764" y="1716"/>
                  </a:lnTo>
                  <a:lnTo>
                    <a:pt x="1758" y="1710"/>
                  </a:lnTo>
                  <a:lnTo>
                    <a:pt x="1752" y="1704"/>
                  </a:lnTo>
                  <a:lnTo>
                    <a:pt x="1746" y="1704"/>
                  </a:lnTo>
                  <a:lnTo>
                    <a:pt x="1740" y="1704"/>
                  </a:lnTo>
                  <a:lnTo>
                    <a:pt x="1734" y="1704"/>
                  </a:lnTo>
                  <a:lnTo>
                    <a:pt x="1734" y="1698"/>
                  </a:lnTo>
                  <a:lnTo>
                    <a:pt x="1728" y="1692"/>
                  </a:lnTo>
                  <a:lnTo>
                    <a:pt x="1722" y="1686"/>
                  </a:lnTo>
                  <a:lnTo>
                    <a:pt x="1716" y="1686"/>
                  </a:lnTo>
                  <a:lnTo>
                    <a:pt x="1698" y="1686"/>
                  </a:lnTo>
                  <a:lnTo>
                    <a:pt x="1692" y="1692"/>
                  </a:lnTo>
                  <a:lnTo>
                    <a:pt x="1680" y="1692"/>
                  </a:lnTo>
                  <a:lnTo>
                    <a:pt x="1668" y="1692"/>
                  </a:lnTo>
                  <a:lnTo>
                    <a:pt x="1662" y="1692"/>
                  </a:lnTo>
                  <a:lnTo>
                    <a:pt x="1656" y="1692"/>
                  </a:lnTo>
                  <a:lnTo>
                    <a:pt x="1650" y="1698"/>
                  </a:lnTo>
                  <a:lnTo>
                    <a:pt x="1644" y="1698"/>
                  </a:lnTo>
                  <a:lnTo>
                    <a:pt x="1638" y="1698"/>
                  </a:lnTo>
                  <a:lnTo>
                    <a:pt x="1632" y="1698"/>
                  </a:lnTo>
                  <a:lnTo>
                    <a:pt x="1632" y="1692"/>
                  </a:lnTo>
                  <a:lnTo>
                    <a:pt x="1620" y="1680"/>
                  </a:lnTo>
                  <a:lnTo>
                    <a:pt x="1614" y="1680"/>
                  </a:lnTo>
                  <a:lnTo>
                    <a:pt x="1608" y="1680"/>
                  </a:lnTo>
                  <a:lnTo>
                    <a:pt x="1602" y="1680"/>
                  </a:lnTo>
                  <a:lnTo>
                    <a:pt x="1596" y="1674"/>
                  </a:lnTo>
                  <a:lnTo>
                    <a:pt x="1584" y="1674"/>
                  </a:lnTo>
                  <a:lnTo>
                    <a:pt x="1572" y="1674"/>
                  </a:lnTo>
                  <a:lnTo>
                    <a:pt x="1560" y="1674"/>
                  </a:lnTo>
                  <a:lnTo>
                    <a:pt x="1542" y="1680"/>
                  </a:lnTo>
                  <a:lnTo>
                    <a:pt x="1530" y="1680"/>
                  </a:lnTo>
                  <a:lnTo>
                    <a:pt x="1530" y="1674"/>
                  </a:lnTo>
                  <a:lnTo>
                    <a:pt x="1524" y="1674"/>
                  </a:lnTo>
                  <a:lnTo>
                    <a:pt x="1518" y="1674"/>
                  </a:lnTo>
                  <a:lnTo>
                    <a:pt x="1512" y="1674"/>
                  </a:lnTo>
                  <a:lnTo>
                    <a:pt x="1506" y="1674"/>
                  </a:lnTo>
                  <a:lnTo>
                    <a:pt x="1500" y="1680"/>
                  </a:lnTo>
                  <a:lnTo>
                    <a:pt x="1488" y="1680"/>
                  </a:lnTo>
                  <a:lnTo>
                    <a:pt x="1482" y="1674"/>
                  </a:lnTo>
                  <a:lnTo>
                    <a:pt x="1476" y="1674"/>
                  </a:lnTo>
                  <a:lnTo>
                    <a:pt x="1464" y="1674"/>
                  </a:lnTo>
                  <a:lnTo>
                    <a:pt x="1452" y="1680"/>
                  </a:lnTo>
                  <a:lnTo>
                    <a:pt x="1434" y="1680"/>
                  </a:lnTo>
                  <a:lnTo>
                    <a:pt x="1422" y="1680"/>
                  </a:lnTo>
                  <a:lnTo>
                    <a:pt x="1416" y="1680"/>
                  </a:lnTo>
                  <a:lnTo>
                    <a:pt x="1404" y="1674"/>
                  </a:lnTo>
                  <a:lnTo>
                    <a:pt x="1398" y="1674"/>
                  </a:lnTo>
                  <a:lnTo>
                    <a:pt x="1392" y="1662"/>
                  </a:lnTo>
                  <a:lnTo>
                    <a:pt x="1380" y="1644"/>
                  </a:lnTo>
                  <a:lnTo>
                    <a:pt x="1374" y="1632"/>
                  </a:lnTo>
                  <a:lnTo>
                    <a:pt x="1362" y="1626"/>
                  </a:lnTo>
                  <a:lnTo>
                    <a:pt x="1356" y="1620"/>
                  </a:lnTo>
                  <a:lnTo>
                    <a:pt x="1350" y="1626"/>
                  </a:lnTo>
                  <a:lnTo>
                    <a:pt x="1338" y="1626"/>
                  </a:lnTo>
                  <a:lnTo>
                    <a:pt x="1326" y="1626"/>
                  </a:lnTo>
                  <a:lnTo>
                    <a:pt x="1314" y="1620"/>
                  </a:lnTo>
                  <a:lnTo>
                    <a:pt x="1308" y="1614"/>
                  </a:lnTo>
                  <a:lnTo>
                    <a:pt x="1302" y="1608"/>
                  </a:lnTo>
                  <a:lnTo>
                    <a:pt x="1296" y="1602"/>
                  </a:lnTo>
                  <a:lnTo>
                    <a:pt x="1290" y="1602"/>
                  </a:lnTo>
                  <a:lnTo>
                    <a:pt x="1290" y="1596"/>
                  </a:lnTo>
                  <a:lnTo>
                    <a:pt x="1284" y="1590"/>
                  </a:lnTo>
                  <a:lnTo>
                    <a:pt x="1272" y="1584"/>
                  </a:lnTo>
                  <a:lnTo>
                    <a:pt x="1254" y="1572"/>
                  </a:lnTo>
                  <a:lnTo>
                    <a:pt x="1236" y="1554"/>
                  </a:lnTo>
                  <a:lnTo>
                    <a:pt x="1230" y="1554"/>
                  </a:lnTo>
                  <a:lnTo>
                    <a:pt x="1224" y="1554"/>
                  </a:lnTo>
                  <a:lnTo>
                    <a:pt x="1212" y="1554"/>
                  </a:lnTo>
                  <a:lnTo>
                    <a:pt x="1194" y="1542"/>
                  </a:lnTo>
                  <a:lnTo>
                    <a:pt x="1188" y="1536"/>
                  </a:lnTo>
                  <a:lnTo>
                    <a:pt x="1182" y="1530"/>
                  </a:lnTo>
                  <a:lnTo>
                    <a:pt x="1176" y="1530"/>
                  </a:lnTo>
                  <a:lnTo>
                    <a:pt x="1170" y="1530"/>
                  </a:lnTo>
                  <a:lnTo>
                    <a:pt x="1158" y="1524"/>
                  </a:lnTo>
                  <a:lnTo>
                    <a:pt x="1152" y="1524"/>
                  </a:lnTo>
                  <a:lnTo>
                    <a:pt x="1140" y="1518"/>
                  </a:lnTo>
                  <a:lnTo>
                    <a:pt x="1128" y="1518"/>
                  </a:lnTo>
                  <a:lnTo>
                    <a:pt x="1122" y="1518"/>
                  </a:lnTo>
                  <a:lnTo>
                    <a:pt x="1116" y="1518"/>
                  </a:lnTo>
                  <a:lnTo>
                    <a:pt x="1104" y="1518"/>
                  </a:lnTo>
                  <a:lnTo>
                    <a:pt x="1092" y="1518"/>
                  </a:lnTo>
                  <a:lnTo>
                    <a:pt x="1080" y="1518"/>
                  </a:lnTo>
                  <a:lnTo>
                    <a:pt x="1068" y="1518"/>
                  </a:lnTo>
                  <a:lnTo>
                    <a:pt x="1062" y="1518"/>
                  </a:lnTo>
                  <a:lnTo>
                    <a:pt x="1056" y="1518"/>
                  </a:lnTo>
                  <a:lnTo>
                    <a:pt x="1050" y="1512"/>
                  </a:lnTo>
                  <a:lnTo>
                    <a:pt x="1044" y="1512"/>
                  </a:lnTo>
                  <a:lnTo>
                    <a:pt x="1038" y="1512"/>
                  </a:lnTo>
                  <a:lnTo>
                    <a:pt x="1032" y="1506"/>
                  </a:lnTo>
                  <a:lnTo>
                    <a:pt x="1026" y="1500"/>
                  </a:lnTo>
                  <a:lnTo>
                    <a:pt x="1026" y="1494"/>
                  </a:lnTo>
                  <a:lnTo>
                    <a:pt x="1020" y="1476"/>
                  </a:lnTo>
                  <a:lnTo>
                    <a:pt x="1008" y="1464"/>
                  </a:lnTo>
                  <a:lnTo>
                    <a:pt x="1008" y="1458"/>
                  </a:lnTo>
                  <a:lnTo>
                    <a:pt x="1002" y="1446"/>
                  </a:lnTo>
                  <a:lnTo>
                    <a:pt x="996" y="1446"/>
                  </a:lnTo>
                  <a:lnTo>
                    <a:pt x="990" y="1440"/>
                  </a:lnTo>
                  <a:lnTo>
                    <a:pt x="984" y="1434"/>
                  </a:lnTo>
                  <a:lnTo>
                    <a:pt x="978" y="1434"/>
                  </a:lnTo>
                  <a:lnTo>
                    <a:pt x="972" y="1434"/>
                  </a:lnTo>
                  <a:lnTo>
                    <a:pt x="966" y="1428"/>
                  </a:lnTo>
                  <a:lnTo>
                    <a:pt x="954" y="1422"/>
                  </a:lnTo>
                  <a:lnTo>
                    <a:pt x="942" y="1416"/>
                  </a:lnTo>
                  <a:lnTo>
                    <a:pt x="924" y="1398"/>
                  </a:lnTo>
                  <a:lnTo>
                    <a:pt x="912" y="1386"/>
                  </a:lnTo>
                  <a:lnTo>
                    <a:pt x="900" y="1386"/>
                  </a:lnTo>
                  <a:lnTo>
                    <a:pt x="894" y="1386"/>
                  </a:lnTo>
                  <a:lnTo>
                    <a:pt x="882" y="1392"/>
                  </a:lnTo>
                  <a:lnTo>
                    <a:pt x="876" y="1392"/>
                  </a:lnTo>
                  <a:lnTo>
                    <a:pt x="864" y="1398"/>
                  </a:lnTo>
                  <a:lnTo>
                    <a:pt x="864" y="1404"/>
                  </a:lnTo>
                  <a:lnTo>
                    <a:pt x="858" y="1410"/>
                  </a:lnTo>
                  <a:lnTo>
                    <a:pt x="852" y="1410"/>
                  </a:lnTo>
                  <a:lnTo>
                    <a:pt x="846" y="1410"/>
                  </a:lnTo>
                  <a:lnTo>
                    <a:pt x="834" y="1410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10" y="1428"/>
                  </a:lnTo>
                  <a:lnTo>
                    <a:pt x="798" y="1428"/>
                  </a:lnTo>
                  <a:lnTo>
                    <a:pt x="792" y="1428"/>
                  </a:lnTo>
                  <a:lnTo>
                    <a:pt x="780" y="1434"/>
                  </a:lnTo>
                  <a:lnTo>
                    <a:pt x="774" y="1428"/>
                  </a:lnTo>
                  <a:lnTo>
                    <a:pt x="762" y="1428"/>
                  </a:lnTo>
                  <a:lnTo>
                    <a:pt x="756" y="1422"/>
                  </a:lnTo>
                  <a:lnTo>
                    <a:pt x="750" y="1416"/>
                  </a:lnTo>
                  <a:lnTo>
                    <a:pt x="744" y="1410"/>
                  </a:lnTo>
                  <a:lnTo>
                    <a:pt x="744" y="1398"/>
                  </a:lnTo>
                  <a:lnTo>
                    <a:pt x="744" y="1386"/>
                  </a:lnTo>
                  <a:lnTo>
                    <a:pt x="750" y="1380"/>
                  </a:lnTo>
                  <a:lnTo>
                    <a:pt x="750" y="1374"/>
                  </a:lnTo>
                  <a:lnTo>
                    <a:pt x="750" y="1368"/>
                  </a:lnTo>
                  <a:lnTo>
                    <a:pt x="756" y="1362"/>
                  </a:lnTo>
                  <a:lnTo>
                    <a:pt x="750" y="1350"/>
                  </a:lnTo>
                  <a:lnTo>
                    <a:pt x="744" y="1344"/>
                  </a:lnTo>
                  <a:lnTo>
                    <a:pt x="738" y="1338"/>
                  </a:lnTo>
                  <a:lnTo>
                    <a:pt x="726" y="1338"/>
                  </a:lnTo>
                  <a:lnTo>
                    <a:pt x="720" y="1338"/>
                  </a:lnTo>
                  <a:lnTo>
                    <a:pt x="714" y="1338"/>
                  </a:lnTo>
                  <a:lnTo>
                    <a:pt x="708" y="1332"/>
                  </a:lnTo>
                  <a:lnTo>
                    <a:pt x="702" y="1332"/>
                  </a:lnTo>
                  <a:lnTo>
                    <a:pt x="696" y="1326"/>
                  </a:lnTo>
                  <a:lnTo>
                    <a:pt x="684" y="1326"/>
                  </a:lnTo>
                  <a:lnTo>
                    <a:pt x="678" y="1326"/>
                  </a:lnTo>
                  <a:lnTo>
                    <a:pt x="672" y="1314"/>
                  </a:lnTo>
                  <a:lnTo>
                    <a:pt x="666" y="1308"/>
                  </a:lnTo>
                  <a:lnTo>
                    <a:pt x="654" y="1296"/>
                  </a:lnTo>
                  <a:lnTo>
                    <a:pt x="654" y="1290"/>
                  </a:lnTo>
                  <a:lnTo>
                    <a:pt x="630" y="1284"/>
                  </a:lnTo>
                  <a:lnTo>
                    <a:pt x="630" y="1278"/>
                  </a:lnTo>
                  <a:lnTo>
                    <a:pt x="624" y="1278"/>
                  </a:lnTo>
                  <a:lnTo>
                    <a:pt x="618" y="1266"/>
                  </a:lnTo>
                  <a:lnTo>
                    <a:pt x="612" y="1266"/>
                  </a:lnTo>
                  <a:lnTo>
                    <a:pt x="606" y="1266"/>
                  </a:lnTo>
                  <a:lnTo>
                    <a:pt x="606" y="1260"/>
                  </a:lnTo>
                  <a:lnTo>
                    <a:pt x="594" y="1248"/>
                  </a:lnTo>
                  <a:lnTo>
                    <a:pt x="582" y="1248"/>
                  </a:lnTo>
                  <a:lnTo>
                    <a:pt x="576" y="1242"/>
                  </a:lnTo>
                  <a:lnTo>
                    <a:pt x="570" y="1236"/>
                  </a:lnTo>
                  <a:lnTo>
                    <a:pt x="504" y="1164"/>
                  </a:lnTo>
                  <a:lnTo>
                    <a:pt x="450" y="1110"/>
                  </a:lnTo>
                  <a:lnTo>
                    <a:pt x="426" y="1092"/>
                  </a:lnTo>
                  <a:lnTo>
                    <a:pt x="426" y="1074"/>
                  </a:lnTo>
                  <a:lnTo>
                    <a:pt x="420" y="1062"/>
                  </a:lnTo>
                  <a:lnTo>
                    <a:pt x="396" y="1056"/>
                  </a:lnTo>
                  <a:lnTo>
                    <a:pt x="384" y="1032"/>
                  </a:lnTo>
                  <a:lnTo>
                    <a:pt x="372" y="1020"/>
                  </a:lnTo>
                  <a:lnTo>
                    <a:pt x="360" y="984"/>
                  </a:lnTo>
                  <a:lnTo>
                    <a:pt x="348" y="978"/>
                  </a:lnTo>
                  <a:lnTo>
                    <a:pt x="342" y="972"/>
                  </a:lnTo>
                  <a:lnTo>
                    <a:pt x="348" y="960"/>
                  </a:lnTo>
                  <a:lnTo>
                    <a:pt x="342" y="954"/>
                  </a:lnTo>
                  <a:lnTo>
                    <a:pt x="336" y="954"/>
                  </a:lnTo>
                  <a:lnTo>
                    <a:pt x="330" y="954"/>
                  </a:lnTo>
                  <a:lnTo>
                    <a:pt x="324" y="972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0" y="966"/>
                  </a:lnTo>
                  <a:lnTo>
                    <a:pt x="294" y="966"/>
                  </a:lnTo>
                  <a:lnTo>
                    <a:pt x="288" y="972"/>
                  </a:lnTo>
                  <a:lnTo>
                    <a:pt x="288" y="966"/>
                  </a:lnTo>
                  <a:lnTo>
                    <a:pt x="282" y="948"/>
                  </a:lnTo>
                  <a:lnTo>
                    <a:pt x="282" y="942"/>
                  </a:lnTo>
                  <a:lnTo>
                    <a:pt x="276" y="942"/>
                  </a:lnTo>
                  <a:lnTo>
                    <a:pt x="276" y="936"/>
                  </a:lnTo>
                  <a:lnTo>
                    <a:pt x="270" y="942"/>
                  </a:lnTo>
                  <a:lnTo>
                    <a:pt x="264" y="948"/>
                  </a:lnTo>
                  <a:lnTo>
                    <a:pt x="264" y="942"/>
                  </a:lnTo>
                  <a:lnTo>
                    <a:pt x="258" y="942"/>
                  </a:lnTo>
                  <a:lnTo>
                    <a:pt x="252" y="948"/>
                  </a:lnTo>
                  <a:lnTo>
                    <a:pt x="252" y="942"/>
                  </a:lnTo>
                  <a:lnTo>
                    <a:pt x="246" y="936"/>
                  </a:lnTo>
                  <a:lnTo>
                    <a:pt x="240" y="942"/>
                  </a:lnTo>
                  <a:lnTo>
                    <a:pt x="234" y="936"/>
                  </a:lnTo>
                  <a:lnTo>
                    <a:pt x="228" y="936"/>
                  </a:lnTo>
                  <a:lnTo>
                    <a:pt x="222" y="936"/>
                  </a:lnTo>
                  <a:lnTo>
                    <a:pt x="222" y="930"/>
                  </a:lnTo>
                  <a:lnTo>
                    <a:pt x="222" y="924"/>
                  </a:lnTo>
                  <a:lnTo>
                    <a:pt x="228" y="924"/>
                  </a:lnTo>
                  <a:lnTo>
                    <a:pt x="234" y="924"/>
                  </a:lnTo>
                  <a:lnTo>
                    <a:pt x="240" y="924"/>
                  </a:lnTo>
                  <a:lnTo>
                    <a:pt x="240" y="918"/>
                  </a:lnTo>
                  <a:lnTo>
                    <a:pt x="246" y="918"/>
                  </a:lnTo>
                  <a:lnTo>
                    <a:pt x="246" y="912"/>
                  </a:lnTo>
                  <a:lnTo>
                    <a:pt x="240" y="906"/>
                  </a:lnTo>
                  <a:lnTo>
                    <a:pt x="234" y="906"/>
                  </a:lnTo>
                  <a:lnTo>
                    <a:pt x="228" y="906"/>
                  </a:lnTo>
                  <a:lnTo>
                    <a:pt x="228" y="912"/>
                  </a:lnTo>
                  <a:lnTo>
                    <a:pt x="222" y="906"/>
                  </a:lnTo>
                  <a:lnTo>
                    <a:pt x="222" y="900"/>
                  </a:lnTo>
                  <a:lnTo>
                    <a:pt x="222" y="894"/>
                  </a:lnTo>
                  <a:lnTo>
                    <a:pt x="228" y="894"/>
                  </a:lnTo>
                  <a:lnTo>
                    <a:pt x="234" y="894"/>
                  </a:lnTo>
                  <a:lnTo>
                    <a:pt x="228" y="888"/>
                  </a:lnTo>
                  <a:lnTo>
                    <a:pt x="222" y="882"/>
                  </a:lnTo>
                  <a:lnTo>
                    <a:pt x="216" y="882"/>
                  </a:lnTo>
                  <a:lnTo>
                    <a:pt x="210" y="882"/>
                  </a:lnTo>
                  <a:lnTo>
                    <a:pt x="204" y="882"/>
                  </a:lnTo>
                  <a:lnTo>
                    <a:pt x="198" y="888"/>
                  </a:lnTo>
                  <a:lnTo>
                    <a:pt x="192" y="882"/>
                  </a:lnTo>
                  <a:lnTo>
                    <a:pt x="186" y="882"/>
                  </a:lnTo>
                  <a:lnTo>
                    <a:pt x="186" y="876"/>
                  </a:lnTo>
                  <a:lnTo>
                    <a:pt x="192" y="876"/>
                  </a:lnTo>
                  <a:lnTo>
                    <a:pt x="192" y="870"/>
                  </a:lnTo>
                  <a:lnTo>
                    <a:pt x="198" y="870"/>
                  </a:lnTo>
                  <a:lnTo>
                    <a:pt x="198" y="864"/>
                  </a:lnTo>
                  <a:lnTo>
                    <a:pt x="198" y="858"/>
                  </a:lnTo>
                  <a:lnTo>
                    <a:pt x="180" y="852"/>
                  </a:lnTo>
                  <a:lnTo>
                    <a:pt x="174" y="840"/>
                  </a:lnTo>
                  <a:lnTo>
                    <a:pt x="162" y="846"/>
                  </a:lnTo>
                  <a:lnTo>
                    <a:pt x="156" y="846"/>
                  </a:lnTo>
                  <a:lnTo>
                    <a:pt x="150" y="846"/>
                  </a:lnTo>
                  <a:lnTo>
                    <a:pt x="150" y="840"/>
                  </a:lnTo>
                  <a:lnTo>
                    <a:pt x="138" y="834"/>
                  </a:lnTo>
                  <a:lnTo>
                    <a:pt x="132" y="834"/>
                  </a:lnTo>
                  <a:lnTo>
                    <a:pt x="132" y="840"/>
                  </a:lnTo>
                  <a:lnTo>
                    <a:pt x="126" y="840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58"/>
                  </a:lnTo>
                  <a:lnTo>
                    <a:pt x="120" y="846"/>
                  </a:lnTo>
                  <a:lnTo>
                    <a:pt x="114" y="846"/>
                  </a:lnTo>
                  <a:lnTo>
                    <a:pt x="108" y="840"/>
                  </a:lnTo>
                  <a:lnTo>
                    <a:pt x="102" y="834"/>
                  </a:lnTo>
                  <a:lnTo>
                    <a:pt x="102" y="822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84" y="822"/>
                  </a:lnTo>
                  <a:lnTo>
                    <a:pt x="84" y="816"/>
                  </a:lnTo>
                  <a:lnTo>
                    <a:pt x="84" y="810"/>
                  </a:lnTo>
                  <a:lnTo>
                    <a:pt x="84" y="804"/>
                  </a:lnTo>
                  <a:lnTo>
                    <a:pt x="78" y="804"/>
                  </a:lnTo>
                  <a:lnTo>
                    <a:pt x="78" y="798"/>
                  </a:lnTo>
                  <a:lnTo>
                    <a:pt x="78" y="792"/>
                  </a:lnTo>
                  <a:lnTo>
                    <a:pt x="78" y="786"/>
                  </a:lnTo>
                  <a:lnTo>
                    <a:pt x="78" y="780"/>
                  </a:lnTo>
                  <a:lnTo>
                    <a:pt x="72" y="774"/>
                  </a:lnTo>
                  <a:lnTo>
                    <a:pt x="66" y="774"/>
                  </a:lnTo>
                  <a:lnTo>
                    <a:pt x="60" y="774"/>
                  </a:lnTo>
                  <a:lnTo>
                    <a:pt x="60" y="768"/>
                  </a:lnTo>
                  <a:lnTo>
                    <a:pt x="60" y="762"/>
                  </a:lnTo>
                  <a:lnTo>
                    <a:pt x="54" y="756"/>
                  </a:lnTo>
                  <a:lnTo>
                    <a:pt x="42" y="756"/>
                  </a:lnTo>
                  <a:lnTo>
                    <a:pt x="36" y="756"/>
                  </a:lnTo>
                  <a:lnTo>
                    <a:pt x="24" y="738"/>
                  </a:lnTo>
                  <a:lnTo>
                    <a:pt x="18" y="732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12" y="666"/>
                  </a:lnTo>
                  <a:lnTo>
                    <a:pt x="18" y="648"/>
                  </a:lnTo>
                  <a:lnTo>
                    <a:pt x="24" y="636"/>
                  </a:lnTo>
                  <a:lnTo>
                    <a:pt x="30" y="630"/>
                  </a:lnTo>
                  <a:lnTo>
                    <a:pt x="30" y="624"/>
                  </a:lnTo>
                  <a:lnTo>
                    <a:pt x="30" y="612"/>
                  </a:lnTo>
                  <a:lnTo>
                    <a:pt x="30" y="606"/>
                  </a:lnTo>
                  <a:lnTo>
                    <a:pt x="30" y="600"/>
                  </a:lnTo>
                  <a:lnTo>
                    <a:pt x="36" y="594"/>
                  </a:lnTo>
                  <a:lnTo>
                    <a:pt x="48" y="594"/>
                  </a:lnTo>
                  <a:lnTo>
                    <a:pt x="66" y="582"/>
                  </a:lnTo>
                  <a:lnTo>
                    <a:pt x="72" y="588"/>
                  </a:lnTo>
                  <a:lnTo>
                    <a:pt x="84" y="594"/>
                  </a:lnTo>
                  <a:lnTo>
                    <a:pt x="90" y="600"/>
                  </a:lnTo>
                  <a:lnTo>
                    <a:pt x="102" y="606"/>
                  </a:lnTo>
                  <a:lnTo>
                    <a:pt x="114" y="606"/>
                  </a:lnTo>
                  <a:lnTo>
                    <a:pt x="114" y="612"/>
                  </a:lnTo>
                  <a:lnTo>
                    <a:pt x="120" y="612"/>
                  </a:lnTo>
                  <a:lnTo>
                    <a:pt x="126" y="618"/>
                  </a:lnTo>
                  <a:lnTo>
                    <a:pt x="138" y="594"/>
                  </a:lnTo>
                  <a:lnTo>
                    <a:pt x="138" y="582"/>
                  </a:lnTo>
                  <a:lnTo>
                    <a:pt x="138" y="570"/>
                  </a:lnTo>
                  <a:lnTo>
                    <a:pt x="138" y="564"/>
                  </a:lnTo>
                  <a:lnTo>
                    <a:pt x="138" y="552"/>
                  </a:lnTo>
                  <a:lnTo>
                    <a:pt x="144" y="540"/>
                  </a:lnTo>
                  <a:lnTo>
                    <a:pt x="150" y="528"/>
                  </a:lnTo>
                  <a:lnTo>
                    <a:pt x="156" y="510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62"/>
                  </a:lnTo>
                  <a:lnTo>
                    <a:pt x="168" y="450"/>
                  </a:lnTo>
                  <a:lnTo>
                    <a:pt x="168" y="444"/>
                  </a:lnTo>
                  <a:lnTo>
                    <a:pt x="162" y="432"/>
                  </a:lnTo>
                  <a:lnTo>
                    <a:pt x="162" y="426"/>
                  </a:lnTo>
                  <a:lnTo>
                    <a:pt x="156" y="420"/>
                  </a:lnTo>
                  <a:lnTo>
                    <a:pt x="144" y="414"/>
                  </a:lnTo>
                  <a:lnTo>
                    <a:pt x="132" y="402"/>
                  </a:lnTo>
                  <a:lnTo>
                    <a:pt x="126" y="390"/>
                  </a:lnTo>
                  <a:lnTo>
                    <a:pt x="120" y="384"/>
                  </a:lnTo>
                  <a:lnTo>
                    <a:pt x="120" y="372"/>
                  </a:lnTo>
                  <a:lnTo>
                    <a:pt x="114" y="360"/>
                  </a:lnTo>
                  <a:lnTo>
                    <a:pt x="108" y="360"/>
                  </a:lnTo>
                  <a:lnTo>
                    <a:pt x="108" y="354"/>
                  </a:lnTo>
                  <a:lnTo>
                    <a:pt x="102" y="348"/>
                  </a:lnTo>
                  <a:lnTo>
                    <a:pt x="102" y="342"/>
                  </a:lnTo>
                  <a:lnTo>
                    <a:pt x="108" y="330"/>
                  </a:lnTo>
                  <a:lnTo>
                    <a:pt x="114" y="312"/>
                  </a:lnTo>
                  <a:lnTo>
                    <a:pt x="114" y="300"/>
                  </a:lnTo>
                  <a:lnTo>
                    <a:pt x="120" y="288"/>
                  </a:lnTo>
                  <a:lnTo>
                    <a:pt x="120" y="282"/>
                  </a:lnTo>
                  <a:lnTo>
                    <a:pt x="114" y="270"/>
                  </a:lnTo>
                  <a:lnTo>
                    <a:pt x="114" y="258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84" y="222"/>
                  </a:lnTo>
                  <a:lnTo>
                    <a:pt x="84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84" y="186"/>
                  </a:lnTo>
                  <a:lnTo>
                    <a:pt x="84" y="180"/>
                  </a:lnTo>
                  <a:lnTo>
                    <a:pt x="108" y="174"/>
                  </a:lnTo>
                  <a:lnTo>
                    <a:pt x="132" y="186"/>
                  </a:lnTo>
                  <a:lnTo>
                    <a:pt x="138" y="192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50" y="204"/>
                  </a:lnTo>
                  <a:lnTo>
                    <a:pt x="156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74" y="204"/>
                  </a:lnTo>
                  <a:lnTo>
                    <a:pt x="180" y="216"/>
                  </a:lnTo>
                  <a:lnTo>
                    <a:pt x="186" y="228"/>
                  </a:lnTo>
                  <a:lnTo>
                    <a:pt x="192" y="234"/>
                  </a:lnTo>
                  <a:lnTo>
                    <a:pt x="198" y="234"/>
                  </a:lnTo>
                  <a:lnTo>
                    <a:pt x="204" y="240"/>
                  </a:lnTo>
                  <a:lnTo>
                    <a:pt x="210" y="240"/>
                  </a:lnTo>
                  <a:lnTo>
                    <a:pt x="216" y="240"/>
                  </a:lnTo>
                  <a:lnTo>
                    <a:pt x="222" y="240"/>
                  </a:lnTo>
                  <a:lnTo>
                    <a:pt x="228" y="246"/>
                  </a:lnTo>
                  <a:lnTo>
                    <a:pt x="234" y="246"/>
                  </a:lnTo>
                  <a:lnTo>
                    <a:pt x="240" y="246"/>
                  </a:lnTo>
                  <a:lnTo>
                    <a:pt x="252" y="252"/>
                  </a:lnTo>
                  <a:lnTo>
                    <a:pt x="330" y="246"/>
                  </a:lnTo>
                  <a:lnTo>
                    <a:pt x="360" y="228"/>
                  </a:lnTo>
                  <a:lnTo>
                    <a:pt x="396" y="228"/>
                  </a:lnTo>
                  <a:lnTo>
                    <a:pt x="402" y="240"/>
                  </a:lnTo>
                  <a:lnTo>
                    <a:pt x="432" y="240"/>
                  </a:lnTo>
                  <a:lnTo>
                    <a:pt x="450" y="258"/>
                  </a:lnTo>
                  <a:lnTo>
                    <a:pt x="468" y="258"/>
                  </a:lnTo>
                  <a:lnTo>
                    <a:pt x="474" y="294"/>
                  </a:lnTo>
                  <a:lnTo>
                    <a:pt x="558" y="318"/>
                  </a:lnTo>
                  <a:lnTo>
                    <a:pt x="588" y="318"/>
                  </a:lnTo>
                  <a:lnTo>
                    <a:pt x="588" y="312"/>
                  </a:lnTo>
                  <a:lnTo>
                    <a:pt x="594" y="306"/>
                  </a:lnTo>
                  <a:lnTo>
                    <a:pt x="600" y="306"/>
                  </a:lnTo>
                  <a:lnTo>
                    <a:pt x="612" y="300"/>
                  </a:lnTo>
                  <a:lnTo>
                    <a:pt x="618" y="300"/>
                  </a:lnTo>
                  <a:lnTo>
                    <a:pt x="630" y="300"/>
                  </a:lnTo>
                  <a:lnTo>
                    <a:pt x="642" y="306"/>
                  </a:lnTo>
                  <a:lnTo>
                    <a:pt x="660" y="306"/>
                  </a:lnTo>
                  <a:lnTo>
                    <a:pt x="666" y="306"/>
                  </a:lnTo>
                  <a:lnTo>
                    <a:pt x="672" y="306"/>
                  </a:lnTo>
                  <a:lnTo>
                    <a:pt x="684" y="300"/>
                  </a:lnTo>
                  <a:lnTo>
                    <a:pt x="696" y="294"/>
                  </a:lnTo>
                  <a:lnTo>
                    <a:pt x="702" y="288"/>
                  </a:lnTo>
                  <a:lnTo>
                    <a:pt x="714" y="282"/>
                  </a:lnTo>
                  <a:lnTo>
                    <a:pt x="714" y="288"/>
                  </a:lnTo>
                  <a:lnTo>
                    <a:pt x="726" y="300"/>
                  </a:lnTo>
                  <a:lnTo>
                    <a:pt x="732" y="306"/>
                  </a:lnTo>
                  <a:lnTo>
                    <a:pt x="732" y="318"/>
                  </a:lnTo>
                  <a:lnTo>
                    <a:pt x="732" y="330"/>
                  </a:lnTo>
                  <a:lnTo>
                    <a:pt x="726" y="342"/>
                  </a:lnTo>
                  <a:lnTo>
                    <a:pt x="720" y="354"/>
                  </a:lnTo>
                  <a:lnTo>
                    <a:pt x="720" y="360"/>
                  </a:lnTo>
                  <a:lnTo>
                    <a:pt x="714" y="372"/>
                  </a:lnTo>
                  <a:lnTo>
                    <a:pt x="714" y="378"/>
                  </a:lnTo>
                  <a:lnTo>
                    <a:pt x="714" y="408"/>
                  </a:lnTo>
                  <a:lnTo>
                    <a:pt x="708" y="420"/>
                  </a:lnTo>
                  <a:lnTo>
                    <a:pt x="714" y="432"/>
                  </a:lnTo>
                  <a:lnTo>
                    <a:pt x="708" y="450"/>
                  </a:lnTo>
                  <a:lnTo>
                    <a:pt x="708" y="468"/>
                  </a:lnTo>
                  <a:lnTo>
                    <a:pt x="696" y="480"/>
                  </a:lnTo>
                  <a:lnTo>
                    <a:pt x="684" y="486"/>
                  </a:lnTo>
                  <a:lnTo>
                    <a:pt x="672" y="492"/>
                  </a:lnTo>
                  <a:lnTo>
                    <a:pt x="660" y="498"/>
                  </a:lnTo>
                  <a:lnTo>
                    <a:pt x="654" y="510"/>
                  </a:lnTo>
                  <a:lnTo>
                    <a:pt x="648" y="516"/>
                  </a:lnTo>
                  <a:lnTo>
                    <a:pt x="642" y="522"/>
                  </a:lnTo>
                  <a:lnTo>
                    <a:pt x="630" y="522"/>
                  </a:lnTo>
                  <a:lnTo>
                    <a:pt x="624" y="528"/>
                  </a:lnTo>
                  <a:lnTo>
                    <a:pt x="618" y="540"/>
                  </a:lnTo>
                  <a:lnTo>
                    <a:pt x="618" y="558"/>
                  </a:lnTo>
                  <a:lnTo>
                    <a:pt x="612" y="576"/>
                  </a:lnTo>
                  <a:lnTo>
                    <a:pt x="612" y="684"/>
                  </a:lnTo>
                  <a:lnTo>
                    <a:pt x="618" y="696"/>
                  </a:lnTo>
                  <a:lnTo>
                    <a:pt x="636" y="696"/>
                  </a:lnTo>
                  <a:lnTo>
                    <a:pt x="636" y="720"/>
                  </a:lnTo>
                  <a:lnTo>
                    <a:pt x="636" y="732"/>
                  </a:lnTo>
                  <a:lnTo>
                    <a:pt x="618" y="750"/>
                  </a:lnTo>
                  <a:lnTo>
                    <a:pt x="606" y="762"/>
                  </a:lnTo>
                  <a:lnTo>
                    <a:pt x="600" y="774"/>
                  </a:lnTo>
                  <a:lnTo>
                    <a:pt x="594" y="798"/>
                  </a:lnTo>
                  <a:lnTo>
                    <a:pt x="606" y="798"/>
                  </a:lnTo>
                  <a:lnTo>
                    <a:pt x="660" y="792"/>
                  </a:lnTo>
                  <a:lnTo>
                    <a:pt x="696" y="798"/>
                  </a:lnTo>
                  <a:lnTo>
                    <a:pt x="720" y="798"/>
                  </a:lnTo>
                  <a:lnTo>
                    <a:pt x="720" y="786"/>
                  </a:lnTo>
                  <a:lnTo>
                    <a:pt x="720" y="774"/>
                  </a:lnTo>
                  <a:lnTo>
                    <a:pt x="702" y="762"/>
                  </a:lnTo>
                  <a:lnTo>
                    <a:pt x="702" y="750"/>
                  </a:lnTo>
                  <a:lnTo>
                    <a:pt x="702" y="726"/>
                  </a:lnTo>
                  <a:lnTo>
                    <a:pt x="714" y="714"/>
                  </a:lnTo>
                  <a:lnTo>
                    <a:pt x="720" y="702"/>
                  </a:lnTo>
                  <a:lnTo>
                    <a:pt x="720" y="696"/>
                  </a:lnTo>
                  <a:lnTo>
                    <a:pt x="744" y="690"/>
                  </a:lnTo>
                  <a:lnTo>
                    <a:pt x="744" y="696"/>
                  </a:lnTo>
                  <a:lnTo>
                    <a:pt x="756" y="696"/>
                  </a:lnTo>
                  <a:lnTo>
                    <a:pt x="762" y="690"/>
                  </a:lnTo>
                  <a:lnTo>
                    <a:pt x="768" y="690"/>
                  </a:lnTo>
                  <a:lnTo>
                    <a:pt x="774" y="696"/>
                  </a:lnTo>
                  <a:lnTo>
                    <a:pt x="780" y="696"/>
                  </a:lnTo>
                  <a:lnTo>
                    <a:pt x="786" y="696"/>
                  </a:lnTo>
                  <a:lnTo>
                    <a:pt x="804" y="684"/>
                  </a:lnTo>
                  <a:lnTo>
                    <a:pt x="810" y="684"/>
                  </a:lnTo>
                  <a:lnTo>
                    <a:pt x="810" y="654"/>
                  </a:lnTo>
                  <a:lnTo>
                    <a:pt x="816" y="588"/>
                  </a:lnTo>
                  <a:lnTo>
                    <a:pt x="804" y="582"/>
                  </a:lnTo>
                  <a:lnTo>
                    <a:pt x="798" y="552"/>
                  </a:lnTo>
                  <a:lnTo>
                    <a:pt x="798" y="480"/>
                  </a:lnTo>
                  <a:lnTo>
                    <a:pt x="780" y="468"/>
                  </a:lnTo>
                  <a:lnTo>
                    <a:pt x="780" y="462"/>
                  </a:lnTo>
                  <a:lnTo>
                    <a:pt x="774" y="450"/>
                  </a:lnTo>
                  <a:lnTo>
                    <a:pt x="762" y="444"/>
                  </a:lnTo>
                  <a:lnTo>
                    <a:pt x="762" y="438"/>
                  </a:lnTo>
                  <a:lnTo>
                    <a:pt x="768" y="432"/>
                  </a:lnTo>
                  <a:lnTo>
                    <a:pt x="774" y="426"/>
                  </a:lnTo>
                  <a:lnTo>
                    <a:pt x="780" y="426"/>
                  </a:lnTo>
                  <a:lnTo>
                    <a:pt x="780" y="414"/>
                  </a:lnTo>
                  <a:lnTo>
                    <a:pt x="834" y="414"/>
                  </a:lnTo>
                  <a:lnTo>
                    <a:pt x="834" y="426"/>
                  </a:lnTo>
                  <a:lnTo>
                    <a:pt x="840" y="432"/>
                  </a:lnTo>
                  <a:lnTo>
                    <a:pt x="846" y="432"/>
                  </a:lnTo>
                  <a:lnTo>
                    <a:pt x="852" y="432"/>
                  </a:lnTo>
                  <a:lnTo>
                    <a:pt x="858" y="432"/>
                  </a:lnTo>
                  <a:lnTo>
                    <a:pt x="870" y="432"/>
                  </a:lnTo>
                  <a:lnTo>
                    <a:pt x="870" y="426"/>
                  </a:lnTo>
                  <a:lnTo>
                    <a:pt x="870" y="420"/>
                  </a:lnTo>
                  <a:lnTo>
                    <a:pt x="876" y="420"/>
                  </a:lnTo>
                  <a:lnTo>
                    <a:pt x="882" y="420"/>
                  </a:lnTo>
                  <a:lnTo>
                    <a:pt x="894" y="414"/>
                  </a:lnTo>
                  <a:lnTo>
                    <a:pt x="900" y="414"/>
                  </a:lnTo>
                  <a:lnTo>
                    <a:pt x="906" y="408"/>
                  </a:lnTo>
                  <a:lnTo>
                    <a:pt x="918" y="408"/>
                  </a:lnTo>
                  <a:lnTo>
                    <a:pt x="924" y="402"/>
                  </a:lnTo>
                  <a:lnTo>
                    <a:pt x="930" y="384"/>
                  </a:lnTo>
                  <a:lnTo>
                    <a:pt x="948" y="396"/>
                  </a:lnTo>
                  <a:lnTo>
                    <a:pt x="954" y="384"/>
                  </a:lnTo>
                  <a:lnTo>
                    <a:pt x="960" y="384"/>
                  </a:lnTo>
                  <a:lnTo>
                    <a:pt x="972" y="384"/>
                  </a:lnTo>
                  <a:lnTo>
                    <a:pt x="978" y="378"/>
                  </a:lnTo>
                  <a:lnTo>
                    <a:pt x="972" y="366"/>
                  </a:lnTo>
                  <a:lnTo>
                    <a:pt x="966" y="342"/>
                  </a:lnTo>
                  <a:lnTo>
                    <a:pt x="960" y="330"/>
                  </a:lnTo>
                  <a:lnTo>
                    <a:pt x="942" y="324"/>
                  </a:lnTo>
                  <a:lnTo>
                    <a:pt x="936" y="318"/>
                  </a:lnTo>
                  <a:lnTo>
                    <a:pt x="936" y="294"/>
                  </a:lnTo>
                  <a:lnTo>
                    <a:pt x="942" y="294"/>
                  </a:lnTo>
                  <a:lnTo>
                    <a:pt x="942" y="288"/>
                  </a:lnTo>
                  <a:lnTo>
                    <a:pt x="954" y="288"/>
                  </a:lnTo>
                  <a:lnTo>
                    <a:pt x="954" y="282"/>
                  </a:lnTo>
                  <a:lnTo>
                    <a:pt x="954" y="276"/>
                  </a:lnTo>
                  <a:lnTo>
                    <a:pt x="960" y="276"/>
                  </a:lnTo>
                  <a:lnTo>
                    <a:pt x="966" y="276"/>
                  </a:lnTo>
                  <a:lnTo>
                    <a:pt x="960" y="258"/>
                  </a:lnTo>
                  <a:lnTo>
                    <a:pt x="954" y="240"/>
                  </a:lnTo>
                  <a:lnTo>
                    <a:pt x="948" y="204"/>
                  </a:lnTo>
                  <a:lnTo>
                    <a:pt x="954" y="204"/>
                  </a:lnTo>
                  <a:lnTo>
                    <a:pt x="960" y="198"/>
                  </a:lnTo>
                  <a:lnTo>
                    <a:pt x="930" y="192"/>
                  </a:lnTo>
                  <a:lnTo>
                    <a:pt x="930" y="186"/>
                  </a:lnTo>
                  <a:lnTo>
                    <a:pt x="900" y="186"/>
                  </a:lnTo>
                  <a:lnTo>
                    <a:pt x="876" y="180"/>
                  </a:lnTo>
                  <a:lnTo>
                    <a:pt x="858" y="180"/>
                  </a:lnTo>
                  <a:lnTo>
                    <a:pt x="852" y="168"/>
                  </a:lnTo>
                  <a:lnTo>
                    <a:pt x="834" y="156"/>
                  </a:lnTo>
                  <a:lnTo>
                    <a:pt x="822" y="156"/>
                  </a:lnTo>
                  <a:lnTo>
                    <a:pt x="804" y="156"/>
                  </a:lnTo>
                  <a:lnTo>
                    <a:pt x="804" y="150"/>
                  </a:lnTo>
                  <a:lnTo>
                    <a:pt x="792" y="144"/>
                  </a:lnTo>
                  <a:lnTo>
                    <a:pt x="762" y="138"/>
                  </a:lnTo>
                  <a:lnTo>
                    <a:pt x="768" y="120"/>
                  </a:lnTo>
                  <a:lnTo>
                    <a:pt x="756" y="120"/>
                  </a:lnTo>
                  <a:lnTo>
                    <a:pt x="744" y="108"/>
                  </a:lnTo>
                  <a:lnTo>
                    <a:pt x="744" y="96"/>
                  </a:lnTo>
                  <a:lnTo>
                    <a:pt x="762" y="84"/>
                  </a:lnTo>
                  <a:lnTo>
                    <a:pt x="768" y="84"/>
                  </a:lnTo>
                  <a:lnTo>
                    <a:pt x="768" y="72"/>
                  </a:lnTo>
                  <a:lnTo>
                    <a:pt x="780" y="66"/>
                  </a:lnTo>
                  <a:lnTo>
                    <a:pt x="798" y="54"/>
                  </a:lnTo>
                  <a:lnTo>
                    <a:pt x="792" y="54"/>
                  </a:lnTo>
                  <a:lnTo>
                    <a:pt x="798" y="36"/>
                  </a:lnTo>
                  <a:lnTo>
                    <a:pt x="804" y="36"/>
                  </a:lnTo>
                  <a:lnTo>
                    <a:pt x="816" y="30"/>
                  </a:lnTo>
                  <a:lnTo>
                    <a:pt x="828" y="30"/>
                  </a:lnTo>
                  <a:lnTo>
                    <a:pt x="846" y="12"/>
                  </a:lnTo>
                  <a:lnTo>
                    <a:pt x="876" y="0"/>
                  </a:lnTo>
                  <a:lnTo>
                    <a:pt x="882" y="6"/>
                  </a:lnTo>
                  <a:lnTo>
                    <a:pt x="900" y="6"/>
                  </a:lnTo>
                  <a:lnTo>
                    <a:pt x="912" y="36"/>
                  </a:lnTo>
                  <a:lnTo>
                    <a:pt x="918" y="42"/>
                  </a:lnTo>
                  <a:lnTo>
                    <a:pt x="924" y="54"/>
                  </a:lnTo>
                  <a:lnTo>
                    <a:pt x="930" y="54"/>
                  </a:lnTo>
                  <a:lnTo>
                    <a:pt x="930" y="78"/>
                  </a:lnTo>
                  <a:lnTo>
                    <a:pt x="954" y="72"/>
                  </a:lnTo>
                  <a:lnTo>
                    <a:pt x="954" y="60"/>
                  </a:lnTo>
                  <a:lnTo>
                    <a:pt x="966" y="66"/>
                  </a:lnTo>
                  <a:lnTo>
                    <a:pt x="966" y="78"/>
                  </a:lnTo>
                  <a:lnTo>
                    <a:pt x="960" y="84"/>
                  </a:lnTo>
                  <a:lnTo>
                    <a:pt x="954" y="102"/>
                  </a:lnTo>
                  <a:lnTo>
                    <a:pt x="972" y="102"/>
                  </a:lnTo>
                  <a:lnTo>
                    <a:pt x="978" y="84"/>
                  </a:lnTo>
                  <a:lnTo>
                    <a:pt x="984" y="72"/>
                  </a:lnTo>
                  <a:lnTo>
                    <a:pt x="990" y="72"/>
                  </a:lnTo>
                  <a:lnTo>
                    <a:pt x="996" y="18"/>
                  </a:lnTo>
                  <a:lnTo>
                    <a:pt x="990" y="12"/>
                  </a:lnTo>
                  <a:lnTo>
                    <a:pt x="1014" y="12"/>
                  </a:lnTo>
                  <a:lnTo>
                    <a:pt x="1026" y="12"/>
                  </a:lnTo>
                  <a:lnTo>
                    <a:pt x="1026" y="24"/>
                  </a:lnTo>
                  <a:lnTo>
                    <a:pt x="1050" y="24"/>
                  </a:lnTo>
                  <a:lnTo>
                    <a:pt x="1050" y="36"/>
                  </a:lnTo>
                  <a:lnTo>
                    <a:pt x="1062" y="66"/>
                  </a:lnTo>
                  <a:lnTo>
                    <a:pt x="1074" y="66"/>
                  </a:lnTo>
                  <a:lnTo>
                    <a:pt x="1080" y="60"/>
                  </a:lnTo>
                  <a:lnTo>
                    <a:pt x="1074" y="24"/>
                  </a:lnTo>
                  <a:lnTo>
                    <a:pt x="1086" y="18"/>
                  </a:lnTo>
                  <a:lnTo>
                    <a:pt x="1086" y="12"/>
                  </a:lnTo>
                  <a:lnTo>
                    <a:pt x="1104" y="6"/>
                  </a:lnTo>
                  <a:lnTo>
                    <a:pt x="1122" y="0"/>
                  </a:lnTo>
                  <a:lnTo>
                    <a:pt x="1134" y="6"/>
                  </a:lnTo>
                  <a:lnTo>
                    <a:pt x="1134" y="42"/>
                  </a:lnTo>
                  <a:lnTo>
                    <a:pt x="1140" y="72"/>
                  </a:lnTo>
                  <a:lnTo>
                    <a:pt x="1158" y="114"/>
                  </a:lnTo>
                  <a:lnTo>
                    <a:pt x="1170" y="114"/>
                  </a:lnTo>
                  <a:lnTo>
                    <a:pt x="1170" y="126"/>
                  </a:lnTo>
                  <a:lnTo>
                    <a:pt x="1182" y="126"/>
                  </a:lnTo>
                  <a:lnTo>
                    <a:pt x="1182" y="138"/>
                  </a:lnTo>
                  <a:lnTo>
                    <a:pt x="1194" y="144"/>
                  </a:lnTo>
                  <a:lnTo>
                    <a:pt x="1194" y="156"/>
                  </a:lnTo>
                  <a:lnTo>
                    <a:pt x="1188" y="156"/>
                  </a:lnTo>
                  <a:lnTo>
                    <a:pt x="1194" y="162"/>
                  </a:lnTo>
                  <a:lnTo>
                    <a:pt x="1194" y="168"/>
                  </a:lnTo>
                  <a:lnTo>
                    <a:pt x="1188" y="168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82" y="180"/>
                  </a:lnTo>
                  <a:lnTo>
                    <a:pt x="1188" y="186"/>
                  </a:lnTo>
                  <a:lnTo>
                    <a:pt x="1188" y="192"/>
                  </a:lnTo>
                  <a:lnTo>
                    <a:pt x="1182" y="198"/>
                  </a:lnTo>
                  <a:lnTo>
                    <a:pt x="1182" y="204"/>
                  </a:lnTo>
                  <a:lnTo>
                    <a:pt x="1182" y="210"/>
                  </a:lnTo>
                  <a:lnTo>
                    <a:pt x="1188" y="210"/>
                  </a:lnTo>
                  <a:lnTo>
                    <a:pt x="1182" y="210"/>
                  </a:lnTo>
                  <a:lnTo>
                    <a:pt x="1182" y="216"/>
                  </a:lnTo>
                  <a:lnTo>
                    <a:pt x="1182" y="222"/>
                  </a:lnTo>
                  <a:lnTo>
                    <a:pt x="1194" y="264"/>
                  </a:lnTo>
                  <a:lnTo>
                    <a:pt x="1200" y="264"/>
                  </a:lnTo>
                  <a:lnTo>
                    <a:pt x="1212" y="264"/>
                  </a:lnTo>
                  <a:lnTo>
                    <a:pt x="1212" y="258"/>
                  </a:lnTo>
                  <a:lnTo>
                    <a:pt x="1224" y="258"/>
                  </a:lnTo>
                  <a:lnTo>
                    <a:pt x="1248" y="252"/>
                  </a:lnTo>
                  <a:lnTo>
                    <a:pt x="1248" y="264"/>
                  </a:lnTo>
                  <a:lnTo>
                    <a:pt x="1254" y="264"/>
                  </a:lnTo>
                  <a:lnTo>
                    <a:pt x="1254" y="270"/>
                  </a:lnTo>
                  <a:lnTo>
                    <a:pt x="1260" y="270"/>
                  </a:lnTo>
                  <a:lnTo>
                    <a:pt x="1266" y="270"/>
                  </a:lnTo>
                  <a:lnTo>
                    <a:pt x="1272" y="270"/>
                  </a:lnTo>
                  <a:lnTo>
                    <a:pt x="1272" y="264"/>
                  </a:lnTo>
                  <a:lnTo>
                    <a:pt x="1272" y="258"/>
                  </a:lnTo>
                  <a:lnTo>
                    <a:pt x="1278" y="258"/>
                  </a:lnTo>
                  <a:lnTo>
                    <a:pt x="1278" y="252"/>
                  </a:lnTo>
                  <a:lnTo>
                    <a:pt x="1290" y="252"/>
                  </a:lnTo>
                  <a:lnTo>
                    <a:pt x="1296" y="246"/>
                  </a:lnTo>
                  <a:lnTo>
                    <a:pt x="1308" y="246"/>
                  </a:lnTo>
                  <a:lnTo>
                    <a:pt x="1308" y="240"/>
                  </a:lnTo>
                  <a:lnTo>
                    <a:pt x="1320" y="240"/>
                  </a:lnTo>
                  <a:lnTo>
                    <a:pt x="1326" y="246"/>
                  </a:lnTo>
                  <a:lnTo>
                    <a:pt x="1338" y="246"/>
                  </a:lnTo>
                  <a:lnTo>
                    <a:pt x="1338" y="240"/>
                  </a:lnTo>
                  <a:lnTo>
                    <a:pt x="1350" y="240"/>
                  </a:lnTo>
                  <a:lnTo>
                    <a:pt x="1386" y="234"/>
                  </a:lnTo>
                  <a:lnTo>
                    <a:pt x="1398" y="228"/>
                  </a:lnTo>
                  <a:lnTo>
                    <a:pt x="1404" y="216"/>
                  </a:lnTo>
                  <a:lnTo>
                    <a:pt x="1416" y="204"/>
                  </a:lnTo>
                  <a:lnTo>
                    <a:pt x="1434" y="192"/>
                  </a:lnTo>
                  <a:lnTo>
                    <a:pt x="1446" y="198"/>
                  </a:lnTo>
                  <a:lnTo>
                    <a:pt x="1446" y="204"/>
                  </a:lnTo>
                  <a:lnTo>
                    <a:pt x="1452" y="210"/>
                  </a:lnTo>
                  <a:lnTo>
                    <a:pt x="1464" y="222"/>
                  </a:lnTo>
                  <a:lnTo>
                    <a:pt x="1464" y="228"/>
                  </a:lnTo>
                  <a:lnTo>
                    <a:pt x="1464" y="234"/>
                  </a:lnTo>
                  <a:lnTo>
                    <a:pt x="1470" y="240"/>
                  </a:lnTo>
                  <a:lnTo>
                    <a:pt x="1476" y="228"/>
                  </a:lnTo>
                  <a:lnTo>
                    <a:pt x="1476" y="222"/>
                  </a:lnTo>
                  <a:lnTo>
                    <a:pt x="1482" y="210"/>
                  </a:lnTo>
                  <a:lnTo>
                    <a:pt x="1488" y="192"/>
                  </a:lnTo>
                  <a:lnTo>
                    <a:pt x="1488" y="186"/>
                  </a:lnTo>
                  <a:lnTo>
                    <a:pt x="1488" y="180"/>
                  </a:lnTo>
                  <a:lnTo>
                    <a:pt x="1500" y="180"/>
                  </a:lnTo>
                  <a:lnTo>
                    <a:pt x="1500" y="174"/>
                  </a:lnTo>
                  <a:lnTo>
                    <a:pt x="1518" y="162"/>
                  </a:lnTo>
                  <a:lnTo>
                    <a:pt x="1536" y="150"/>
                  </a:lnTo>
                  <a:lnTo>
                    <a:pt x="1554" y="168"/>
                  </a:lnTo>
                  <a:lnTo>
                    <a:pt x="1572" y="180"/>
                  </a:lnTo>
                  <a:lnTo>
                    <a:pt x="1596" y="216"/>
                  </a:lnTo>
                  <a:lnTo>
                    <a:pt x="1602" y="216"/>
                  </a:lnTo>
                  <a:lnTo>
                    <a:pt x="1614" y="228"/>
                  </a:lnTo>
                  <a:lnTo>
                    <a:pt x="1614" y="234"/>
                  </a:lnTo>
                  <a:lnTo>
                    <a:pt x="1620" y="240"/>
                  </a:lnTo>
                  <a:lnTo>
                    <a:pt x="1620" y="246"/>
                  </a:lnTo>
                  <a:lnTo>
                    <a:pt x="1626" y="252"/>
                  </a:lnTo>
                  <a:lnTo>
                    <a:pt x="1632" y="258"/>
                  </a:lnTo>
                  <a:lnTo>
                    <a:pt x="1632" y="264"/>
                  </a:lnTo>
                  <a:lnTo>
                    <a:pt x="1638" y="264"/>
                  </a:lnTo>
                  <a:lnTo>
                    <a:pt x="1638" y="270"/>
                  </a:lnTo>
                  <a:lnTo>
                    <a:pt x="1638" y="276"/>
                  </a:lnTo>
                  <a:lnTo>
                    <a:pt x="1638" y="282"/>
                  </a:lnTo>
                  <a:lnTo>
                    <a:pt x="1644" y="288"/>
                  </a:lnTo>
                  <a:lnTo>
                    <a:pt x="1644" y="294"/>
                  </a:lnTo>
                  <a:lnTo>
                    <a:pt x="1644" y="300"/>
                  </a:lnTo>
                  <a:lnTo>
                    <a:pt x="1644" y="306"/>
                  </a:lnTo>
                  <a:lnTo>
                    <a:pt x="1650" y="306"/>
                  </a:lnTo>
                  <a:lnTo>
                    <a:pt x="1650" y="312"/>
                  </a:lnTo>
                  <a:lnTo>
                    <a:pt x="1650" y="318"/>
                  </a:lnTo>
                  <a:lnTo>
                    <a:pt x="1650" y="324"/>
                  </a:lnTo>
                  <a:lnTo>
                    <a:pt x="1644" y="330"/>
                  </a:lnTo>
                  <a:lnTo>
                    <a:pt x="1626" y="330"/>
                  </a:lnTo>
                  <a:lnTo>
                    <a:pt x="1626" y="336"/>
                  </a:lnTo>
                  <a:lnTo>
                    <a:pt x="1626" y="342"/>
                  </a:lnTo>
                  <a:lnTo>
                    <a:pt x="1626" y="348"/>
                  </a:lnTo>
                  <a:lnTo>
                    <a:pt x="1620" y="354"/>
                  </a:lnTo>
                  <a:lnTo>
                    <a:pt x="1614" y="354"/>
                  </a:lnTo>
                  <a:lnTo>
                    <a:pt x="1614" y="360"/>
                  </a:lnTo>
                  <a:lnTo>
                    <a:pt x="1614" y="372"/>
                  </a:lnTo>
                  <a:lnTo>
                    <a:pt x="1608" y="378"/>
                  </a:lnTo>
                  <a:lnTo>
                    <a:pt x="1608" y="384"/>
                  </a:lnTo>
                  <a:lnTo>
                    <a:pt x="1614" y="390"/>
                  </a:lnTo>
                  <a:lnTo>
                    <a:pt x="1614" y="396"/>
                  </a:lnTo>
                  <a:lnTo>
                    <a:pt x="1614" y="402"/>
                  </a:lnTo>
                  <a:lnTo>
                    <a:pt x="1614" y="408"/>
                  </a:lnTo>
                  <a:lnTo>
                    <a:pt x="1614" y="414"/>
                  </a:lnTo>
                  <a:lnTo>
                    <a:pt x="1602" y="420"/>
                  </a:lnTo>
                  <a:lnTo>
                    <a:pt x="1602" y="426"/>
                  </a:lnTo>
                  <a:lnTo>
                    <a:pt x="1608" y="432"/>
                  </a:lnTo>
                  <a:lnTo>
                    <a:pt x="1614" y="426"/>
                  </a:lnTo>
                  <a:lnTo>
                    <a:pt x="1620" y="438"/>
                  </a:lnTo>
                  <a:lnTo>
                    <a:pt x="1626" y="438"/>
                  </a:lnTo>
                  <a:lnTo>
                    <a:pt x="1632" y="444"/>
                  </a:lnTo>
                  <a:lnTo>
                    <a:pt x="1626" y="456"/>
                  </a:lnTo>
                  <a:lnTo>
                    <a:pt x="1626" y="468"/>
                  </a:lnTo>
                  <a:lnTo>
                    <a:pt x="1620" y="474"/>
                  </a:lnTo>
                  <a:lnTo>
                    <a:pt x="1614" y="474"/>
                  </a:lnTo>
                  <a:lnTo>
                    <a:pt x="1614" y="486"/>
                  </a:lnTo>
                  <a:lnTo>
                    <a:pt x="1614" y="492"/>
                  </a:lnTo>
                  <a:lnTo>
                    <a:pt x="1620" y="492"/>
                  </a:lnTo>
                  <a:lnTo>
                    <a:pt x="1626" y="498"/>
                  </a:lnTo>
                  <a:lnTo>
                    <a:pt x="1626" y="504"/>
                  </a:lnTo>
                  <a:lnTo>
                    <a:pt x="1626" y="510"/>
                  </a:lnTo>
                  <a:lnTo>
                    <a:pt x="1620" y="516"/>
                  </a:lnTo>
                  <a:lnTo>
                    <a:pt x="1620" y="522"/>
                  </a:lnTo>
                  <a:lnTo>
                    <a:pt x="1614" y="522"/>
                  </a:lnTo>
                  <a:lnTo>
                    <a:pt x="1608" y="528"/>
                  </a:lnTo>
                  <a:lnTo>
                    <a:pt x="1602" y="522"/>
                  </a:lnTo>
                  <a:lnTo>
                    <a:pt x="1602" y="528"/>
                  </a:lnTo>
                  <a:lnTo>
                    <a:pt x="1602" y="540"/>
                  </a:lnTo>
                  <a:lnTo>
                    <a:pt x="1602" y="558"/>
                  </a:lnTo>
                  <a:lnTo>
                    <a:pt x="1602" y="564"/>
                  </a:lnTo>
                  <a:lnTo>
                    <a:pt x="1602" y="570"/>
                  </a:lnTo>
                  <a:lnTo>
                    <a:pt x="1602" y="576"/>
                  </a:lnTo>
                  <a:lnTo>
                    <a:pt x="1596" y="576"/>
                  </a:lnTo>
                  <a:lnTo>
                    <a:pt x="1632" y="582"/>
                  </a:lnTo>
                  <a:lnTo>
                    <a:pt x="1644" y="618"/>
                  </a:lnTo>
                  <a:lnTo>
                    <a:pt x="1650" y="648"/>
                  </a:lnTo>
                  <a:lnTo>
                    <a:pt x="1662" y="636"/>
                  </a:lnTo>
                  <a:lnTo>
                    <a:pt x="1668" y="636"/>
                  </a:lnTo>
                  <a:lnTo>
                    <a:pt x="1674" y="636"/>
                  </a:lnTo>
                  <a:lnTo>
                    <a:pt x="1680" y="630"/>
                  </a:lnTo>
                  <a:lnTo>
                    <a:pt x="1686" y="630"/>
                  </a:lnTo>
                  <a:lnTo>
                    <a:pt x="1692" y="630"/>
                  </a:lnTo>
                  <a:lnTo>
                    <a:pt x="1698" y="630"/>
                  </a:lnTo>
                  <a:lnTo>
                    <a:pt x="1704" y="630"/>
                  </a:lnTo>
                  <a:lnTo>
                    <a:pt x="1704" y="624"/>
                  </a:lnTo>
                  <a:lnTo>
                    <a:pt x="1710" y="624"/>
                  </a:lnTo>
                  <a:lnTo>
                    <a:pt x="1716" y="624"/>
                  </a:lnTo>
                  <a:lnTo>
                    <a:pt x="1722" y="624"/>
                  </a:lnTo>
                  <a:lnTo>
                    <a:pt x="1728" y="624"/>
                  </a:lnTo>
                  <a:lnTo>
                    <a:pt x="1722" y="618"/>
                  </a:lnTo>
                  <a:lnTo>
                    <a:pt x="1728" y="606"/>
                  </a:lnTo>
                  <a:lnTo>
                    <a:pt x="1734" y="606"/>
                  </a:lnTo>
                  <a:lnTo>
                    <a:pt x="1740" y="600"/>
                  </a:lnTo>
                  <a:lnTo>
                    <a:pt x="1746" y="594"/>
                  </a:lnTo>
                  <a:lnTo>
                    <a:pt x="1752" y="588"/>
                  </a:lnTo>
                  <a:lnTo>
                    <a:pt x="1752" y="582"/>
                  </a:lnTo>
                  <a:lnTo>
                    <a:pt x="1758" y="576"/>
                  </a:lnTo>
                  <a:lnTo>
                    <a:pt x="1764" y="576"/>
                  </a:lnTo>
                  <a:lnTo>
                    <a:pt x="1770" y="570"/>
                  </a:lnTo>
                  <a:lnTo>
                    <a:pt x="1776" y="564"/>
                  </a:lnTo>
                  <a:lnTo>
                    <a:pt x="1788" y="558"/>
                  </a:lnTo>
                  <a:lnTo>
                    <a:pt x="1788" y="546"/>
                  </a:lnTo>
                  <a:lnTo>
                    <a:pt x="1788" y="540"/>
                  </a:lnTo>
                  <a:lnTo>
                    <a:pt x="1794" y="540"/>
                  </a:lnTo>
                  <a:lnTo>
                    <a:pt x="1788" y="534"/>
                  </a:lnTo>
                  <a:lnTo>
                    <a:pt x="1788" y="528"/>
                  </a:lnTo>
                  <a:lnTo>
                    <a:pt x="1794" y="516"/>
                  </a:lnTo>
                  <a:lnTo>
                    <a:pt x="1800" y="510"/>
                  </a:lnTo>
                  <a:lnTo>
                    <a:pt x="1812" y="510"/>
                  </a:lnTo>
                  <a:lnTo>
                    <a:pt x="1818" y="504"/>
                  </a:lnTo>
                  <a:lnTo>
                    <a:pt x="1824" y="504"/>
                  </a:lnTo>
                  <a:lnTo>
                    <a:pt x="1830" y="498"/>
                  </a:lnTo>
                  <a:lnTo>
                    <a:pt x="1836" y="498"/>
                  </a:lnTo>
                  <a:lnTo>
                    <a:pt x="1848" y="492"/>
                  </a:lnTo>
                  <a:lnTo>
                    <a:pt x="1848" y="480"/>
                  </a:lnTo>
                  <a:lnTo>
                    <a:pt x="1854" y="480"/>
                  </a:lnTo>
                  <a:lnTo>
                    <a:pt x="1890" y="504"/>
                  </a:lnTo>
                  <a:lnTo>
                    <a:pt x="1908" y="534"/>
                  </a:lnTo>
                  <a:lnTo>
                    <a:pt x="1902" y="534"/>
                  </a:lnTo>
                  <a:lnTo>
                    <a:pt x="1920" y="528"/>
                  </a:lnTo>
                  <a:lnTo>
                    <a:pt x="1920" y="516"/>
                  </a:lnTo>
                  <a:lnTo>
                    <a:pt x="1944" y="516"/>
                  </a:lnTo>
                  <a:lnTo>
                    <a:pt x="2004" y="516"/>
                  </a:lnTo>
                  <a:lnTo>
                    <a:pt x="2010" y="510"/>
                  </a:lnTo>
                  <a:lnTo>
                    <a:pt x="2004" y="510"/>
                  </a:lnTo>
                  <a:lnTo>
                    <a:pt x="2010" y="498"/>
                  </a:lnTo>
                  <a:lnTo>
                    <a:pt x="2004" y="486"/>
                  </a:lnTo>
                  <a:lnTo>
                    <a:pt x="2004" y="480"/>
                  </a:lnTo>
                  <a:lnTo>
                    <a:pt x="2004" y="474"/>
                  </a:lnTo>
                  <a:lnTo>
                    <a:pt x="2004" y="462"/>
                  </a:lnTo>
                  <a:lnTo>
                    <a:pt x="2004" y="456"/>
                  </a:lnTo>
                  <a:lnTo>
                    <a:pt x="2058" y="462"/>
                  </a:lnTo>
                  <a:lnTo>
                    <a:pt x="2076" y="474"/>
                  </a:lnTo>
                  <a:lnTo>
                    <a:pt x="2082" y="522"/>
                  </a:lnTo>
                  <a:lnTo>
                    <a:pt x="2088" y="516"/>
                  </a:lnTo>
                  <a:lnTo>
                    <a:pt x="2094" y="522"/>
                  </a:lnTo>
                  <a:lnTo>
                    <a:pt x="2100" y="528"/>
                  </a:lnTo>
                  <a:lnTo>
                    <a:pt x="2130" y="540"/>
                  </a:lnTo>
                  <a:lnTo>
                    <a:pt x="2160" y="564"/>
                  </a:lnTo>
                  <a:lnTo>
                    <a:pt x="2166" y="600"/>
                  </a:lnTo>
                  <a:lnTo>
                    <a:pt x="2160" y="618"/>
                  </a:lnTo>
                  <a:lnTo>
                    <a:pt x="2142" y="636"/>
                  </a:lnTo>
                  <a:lnTo>
                    <a:pt x="2148" y="648"/>
                  </a:lnTo>
                  <a:lnTo>
                    <a:pt x="2154" y="660"/>
                  </a:lnTo>
                  <a:lnTo>
                    <a:pt x="2196" y="654"/>
                  </a:lnTo>
                  <a:lnTo>
                    <a:pt x="2214" y="660"/>
                  </a:lnTo>
                  <a:lnTo>
                    <a:pt x="2214" y="666"/>
                  </a:lnTo>
                  <a:lnTo>
                    <a:pt x="2220" y="672"/>
                  </a:lnTo>
                  <a:lnTo>
                    <a:pt x="2214" y="678"/>
                  </a:lnTo>
                  <a:lnTo>
                    <a:pt x="2214" y="684"/>
                  </a:lnTo>
                  <a:lnTo>
                    <a:pt x="2214" y="690"/>
                  </a:lnTo>
                  <a:lnTo>
                    <a:pt x="2208" y="690"/>
                  </a:lnTo>
                  <a:lnTo>
                    <a:pt x="2202" y="696"/>
                  </a:lnTo>
                  <a:lnTo>
                    <a:pt x="2196" y="702"/>
                  </a:lnTo>
                  <a:lnTo>
                    <a:pt x="2190" y="708"/>
                  </a:lnTo>
                  <a:lnTo>
                    <a:pt x="2190" y="720"/>
                  </a:lnTo>
                  <a:lnTo>
                    <a:pt x="2184" y="720"/>
                  </a:lnTo>
                  <a:lnTo>
                    <a:pt x="2178" y="726"/>
                  </a:lnTo>
                  <a:lnTo>
                    <a:pt x="2166" y="732"/>
                  </a:lnTo>
                  <a:lnTo>
                    <a:pt x="2160" y="744"/>
                  </a:lnTo>
                  <a:lnTo>
                    <a:pt x="2154" y="756"/>
                  </a:lnTo>
                  <a:lnTo>
                    <a:pt x="2148" y="762"/>
                  </a:lnTo>
                  <a:lnTo>
                    <a:pt x="2124" y="762"/>
                  </a:lnTo>
                  <a:lnTo>
                    <a:pt x="2124" y="768"/>
                  </a:lnTo>
                  <a:lnTo>
                    <a:pt x="2118" y="768"/>
                  </a:lnTo>
                  <a:lnTo>
                    <a:pt x="2124" y="774"/>
                  </a:lnTo>
                  <a:lnTo>
                    <a:pt x="2118" y="774"/>
                  </a:lnTo>
                  <a:lnTo>
                    <a:pt x="2112" y="774"/>
                  </a:lnTo>
                  <a:lnTo>
                    <a:pt x="2106" y="780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06" y="798"/>
                  </a:lnTo>
                  <a:lnTo>
                    <a:pt x="2106" y="810"/>
                  </a:lnTo>
                  <a:lnTo>
                    <a:pt x="2112" y="828"/>
                  </a:lnTo>
                  <a:lnTo>
                    <a:pt x="2112" y="834"/>
                  </a:lnTo>
                  <a:lnTo>
                    <a:pt x="2112" y="840"/>
                  </a:lnTo>
                  <a:lnTo>
                    <a:pt x="2112" y="834"/>
                  </a:lnTo>
                  <a:lnTo>
                    <a:pt x="2124" y="834"/>
                  </a:lnTo>
                  <a:lnTo>
                    <a:pt x="2130" y="834"/>
                  </a:lnTo>
                  <a:lnTo>
                    <a:pt x="2136" y="840"/>
                  </a:lnTo>
                  <a:lnTo>
                    <a:pt x="2142" y="840"/>
                  </a:lnTo>
                  <a:lnTo>
                    <a:pt x="2154" y="852"/>
                  </a:lnTo>
                  <a:lnTo>
                    <a:pt x="2160" y="852"/>
                  </a:lnTo>
                  <a:lnTo>
                    <a:pt x="2172" y="846"/>
                  </a:lnTo>
                  <a:lnTo>
                    <a:pt x="2178" y="846"/>
                  </a:lnTo>
                  <a:lnTo>
                    <a:pt x="2184" y="846"/>
                  </a:lnTo>
                  <a:lnTo>
                    <a:pt x="2190" y="846"/>
                  </a:lnTo>
                  <a:lnTo>
                    <a:pt x="2196" y="852"/>
                  </a:lnTo>
                  <a:lnTo>
                    <a:pt x="2196" y="858"/>
                  </a:lnTo>
                  <a:lnTo>
                    <a:pt x="2202" y="852"/>
                  </a:lnTo>
                  <a:lnTo>
                    <a:pt x="2208" y="846"/>
                  </a:lnTo>
                  <a:lnTo>
                    <a:pt x="2214" y="846"/>
                  </a:lnTo>
                  <a:lnTo>
                    <a:pt x="2226" y="846"/>
                  </a:lnTo>
                  <a:lnTo>
                    <a:pt x="2232" y="852"/>
                  </a:lnTo>
                  <a:lnTo>
                    <a:pt x="2238" y="852"/>
                  </a:lnTo>
                  <a:lnTo>
                    <a:pt x="2244" y="858"/>
                  </a:lnTo>
                  <a:lnTo>
                    <a:pt x="2250" y="858"/>
                  </a:lnTo>
                  <a:lnTo>
                    <a:pt x="2256" y="858"/>
                  </a:lnTo>
                  <a:lnTo>
                    <a:pt x="2262" y="858"/>
                  </a:lnTo>
                  <a:lnTo>
                    <a:pt x="2268" y="852"/>
                  </a:lnTo>
                  <a:lnTo>
                    <a:pt x="2274" y="852"/>
                  </a:lnTo>
                  <a:lnTo>
                    <a:pt x="2280" y="852"/>
                  </a:lnTo>
                  <a:lnTo>
                    <a:pt x="2286" y="852"/>
                  </a:lnTo>
                  <a:lnTo>
                    <a:pt x="2298" y="858"/>
                  </a:lnTo>
                  <a:lnTo>
                    <a:pt x="2304" y="858"/>
                  </a:lnTo>
                  <a:lnTo>
                    <a:pt x="2310" y="858"/>
                  </a:lnTo>
                  <a:lnTo>
                    <a:pt x="2316" y="852"/>
                  </a:lnTo>
                  <a:lnTo>
                    <a:pt x="2322" y="858"/>
                  </a:lnTo>
                  <a:lnTo>
                    <a:pt x="2328" y="858"/>
                  </a:lnTo>
                  <a:lnTo>
                    <a:pt x="2328" y="852"/>
                  </a:lnTo>
                  <a:lnTo>
                    <a:pt x="2364" y="858"/>
                  </a:lnTo>
                  <a:lnTo>
                    <a:pt x="2376" y="876"/>
                  </a:lnTo>
                  <a:lnTo>
                    <a:pt x="2382" y="936"/>
                  </a:lnTo>
                  <a:lnTo>
                    <a:pt x="2388" y="966"/>
                  </a:lnTo>
                  <a:lnTo>
                    <a:pt x="2382" y="972"/>
                  </a:lnTo>
                  <a:lnTo>
                    <a:pt x="2382" y="978"/>
                  </a:lnTo>
                  <a:lnTo>
                    <a:pt x="2382" y="984"/>
                  </a:lnTo>
                  <a:lnTo>
                    <a:pt x="2388" y="990"/>
                  </a:lnTo>
                  <a:lnTo>
                    <a:pt x="2382" y="990"/>
                  </a:lnTo>
                  <a:lnTo>
                    <a:pt x="2382" y="996"/>
                  </a:lnTo>
                  <a:lnTo>
                    <a:pt x="2376" y="996"/>
                  </a:lnTo>
                  <a:lnTo>
                    <a:pt x="2376" y="1020"/>
                  </a:lnTo>
                  <a:lnTo>
                    <a:pt x="2370" y="1032"/>
                  </a:lnTo>
                  <a:lnTo>
                    <a:pt x="2352" y="1032"/>
                  </a:lnTo>
                  <a:lnTo>
                    <a:pt x="2346" y="1020"/>
                  </a:lnTo>
                  <a:lnTo>
                    <a:pt x="2328" y="1032"/>
                  </a:lnTo>
                  <a:lnTo>
                    <a:pt x="2316" y="1038"/>
                  </a:lnTo>
                  <a:lnTo>
                    <a:pt x="2328" y="1044"/>
                  </a:lnTo>
                  <a:lnTo>
                    <a:pt x="2340" y="1056"/>
                  </a:lnTo>
                  <a:lnTo>
                    <a:pt x="2376" y="1062"/>
                  </a:lnTo>
                  <a:lnTo>
                    <a:pt x="2376" y="1068"/>
                  </a:lnTo>
                  <a:lnTo>
                    <a:pt x="2382" y="1086"/>
                  </a:lnTo>
                  <a:lnTo>
                    <a:pt x="2376" y="1086"/>
                  </a:lnTo>
                  <a:lnTo>
                    <a:pt x="2370" y="1086"/>
                  </a:lnTo>
                  <a:lnTo>
                    <a:pt x="2364" y="1086"/>
                  </a:lnTo>
                  <a:lnTo>
                    <a:pt x="2364" y="1098"/>
                  </a:lnTo>
                  <a:lnTo>
                    <a:pt x="2388" y="1104"/>
                  </a:lnTo>
                  <a:lnTo>
                    <a:pt x="2400" y="1122"/>
                  </a:lnTo>
                  <a:lnTo>
                    <a:pt x="2400" y="1134"/>
                  </a:lnTo>
                  <a:lnTo>
                    <a:pt x="2400" y="1146"/>
                  </a:lnTo>
                  <a:lnTo>
                    <a:pt x="2394" y="1146"/>
                  </a:lnTo>
                  <a:lnTo>
                    <a:pt x="2394" y="1152"/>
                  </a:lnTo>
                  <a:lnTo>
                    <a:pt x="2388" y="1152"/>
                  </a:lnTo>
                  <a:lnTo>
                    <a:pt x="2388" y="1146"/>
                  </a:lnTo>
                  <a:lnTo>
                    <a:pt x="2382" y="1152"/>
                  </a:lnTo>
                  <a:lnTo>
                    <a:pt x="2376" y="1152"/>
                  </a:lnTo>
                  <a:lnTo>
                    <a:pt x="2370" y="1158"/>
                  </a:lnTo>
                  <a:lnTo>
                    <a:pt x="2370" y="1164"/>
                  </a:lnTo>
                  <a:lnTo>
                    <a:pt x="2364" y="1170"/>
                  </a:lnTo>
                  <a:lnTo>
                    <a:pt x="2370" y="1170"/>
                  </a:lnTo>
                  <a:lnTo>
                    <a:pt x="2376" y="1170"/>
                  </a:lnTo>
                  <a:lnTo>
                    <a:pt x="2370" y="1176"/>
                  </a:lnTo>
                  <a:lnTo>
                    <a:pt x="2364" y="1176"/>
                  </a:lnTo>
                  <a:lnTo>
                    <a:pt x="2358" y="1182"/>
                  </a:lnTo>
                  <a:lnTo>
                    <a:pt x="2352" y="1182"/>
                  </a:lnTo>
                  <a:lnTo>
                    <a:pt x="2346" y="1188"/>
                  </a:lnTo>
                  <a:lnTo>
                    <a:pt x="2340" y="1182"/>
                  </a:lnTo>
                  <a:lnTo>
                    <a:pt x="2334" y="1182"/>
                  </a:lnTo>
                  <a:lnTo>
                    <a:pt x="2334" y="1188"/>
                  </a:lnTo>
                  <a:lnTo>
                    <a:pt x="2328" y="1194"/>
                  </a:lnTo>
                  <a:lnTo>
                    <a:pt x="2328" y="1200"/>
                  </a:lnTo>
                  <a:lnTo>
                    <a:pt x="2322" y="1224"/>
                  </a:lnTo>
                  <a:lnTo>
                    <a:pt x="2328" y="1230"/>
                  </a:lnTo>
                  <a:lnTo>
                    <a:pt x="2358" y="1230"/>
                  </a:lnTo>
                  <a:lnTo>
                    <a:pt x="2358" y="1242"/>
                  </a:lnTo>
                  <a:lnTo>
                    <a:pt x="2358" y="1254"/>
                  </a:lnTo>
                  <a:lnTo>
                    <a:pt x="2346" y="1254"/>
                  </a:lnTo>
                  <a:lnTo>
                    <a:pt x="2346" y="1278"/>
                  </a:lnTo>
                  <a:lnTo>
                    <a:pt x="2358" y="1278"/>
                  </a:lnTo>
                  <a:lnTo>
                    <a:pt x="2358" y="1284"/>
                  </a:lnTo>
                  <a:lnTo>
                    <a:pt x="2376" y="1284"/>
                  </a:lnTo>
                  <a:lnTo>
                    <a:pt x="2388" y="1278"/>
                  </a:lnTo>
                  <a:lnTo>
                    <a:pt x="2406" y="1278"/>
                  </a:lnTo>
                  <a:lnTo>
                    <a:pt x="2430" y="1284"/>
                  </a:lnTo>
                  <a:lnTo>
                    <a:pt x="2430" y="1302"/>
                  </a:lnTo>
                  <a:lnTo>
                    <a:pt x="2430" y="1314"/>
                  </a:lnTo>
                  <a:lnTo>
                    <a:pt x="2424" y="1326"/>
                  </a:lnTo>
                  <a:lnTo>
                    <a:pt x="2412" y="1326"/>
                  </a:lnTo>
                  <a:lnTo>
                    <a:pt x="2412" y="1344"/>
                  </a:lnTo>
                  <a:lnTo>
                    <a:pt x="2406" y="1344"/>
                  </a:lnTo>
                  <a:lnTo>
                    <a:pt x="2400" y="1362"/>
                  </a:lnTo>
                  <a:lnTo>
                    <a:pt x="2394" y="1368"/>
                  </a:lnTo>
                  <a:lnTo>
                    <a:pt x="2388" y="1374"/>
                  </a:lnTo>
                  <a:lnTo>
                    <a:pt x="2382" y="1380"/>
                  </a:lnTo>
                  <a:lnTo>
                    <a:pt x="2376" y="1386"/>
                  </a:lnTo>
                  <a:lnTo>
                    <a:pt x="2376" y="1392"/>
                  </a:lnTo>
                  <a:lnTo>
                    <a:pt x="2370" y="1404"/>
                  </a:lnTo>
                  <a:lnTo>
                    <a:pt x="2364" y="1416"/>
                  </a:lnTo>
                  <a:lnTo>
                    <a:pt x="2346" y="1434"/>
                  </a:lnTo>
                  <a:lnTo>
                    <a:pt x="2328" y="1440"/>
                  </a:lnTo>
                  <a:lnTo>
                    <a:pt x="2328" y="1446"/>
                  </a:lnTo>
                  <a:lnTo>
                    <a:pt x="2322" y="1452"/>
                  </a:lnTo>
                  <a:lnTo>
                    <a:pt x="2316" y="1452"/>
                  </a:lnTo>
                  <a:lnTo>
                    <a:pt x="2304" y="1446"/>
                  </a:lnTo>
                  <a:lnTo>
                    <a:pt x="2298" y="1446"/>
                  </a:lnTo>
                  <a:lnTo>
                    <a:pt x="2298" y="1434"/>
                  </a:lnTo>
                  <a:lnTo>
                    <a:pt x="2292" y="1434"/>
                  </a:lnTo>
                  <a:lnTo>
                    <a:pt x="2286" y="1428"/>
                  </a:lnTo>
                  <a:lnTo>
                    <a:pt x="2274" y="1416"/>
                  </a:lnTo>
                  <a:lnTo>
                    <a:pt x="2256" y="1404"/>
                  </a:lnTo>
                  <a:lnTo>
                    <a:pt x="2244" y="1386"/>
                  </a:lnTo>
                  <a:lnTo>
                    <a:pt x="2220" y="1368"/>
                  </a:lnTo>
                  <a:lnTo>
                    <a:pt x="2208" y="1362"/>
                  </a:lnTo>
                  <a:lnTo>
                    <a:pt x="2202" y="1350"/>
                  </a:lnTo>
                  <a:lnTo>
                    <a:pt x="2196" y="1350"/>
                  </a:lnTo>
                  <a:lnTo>
                    <a:pt x="2190" y="1356"/>
                  </a:lnTo>
                  <a:lnTo>
                    <a:pt x="2184" y="1356"/>
                  </a:lnTo>
                  <a:lnTo>
                    <a:pt x="2094" y="1350"/>
                  </a:lnTo>
                  <a:lnTo>
                    <a:pt x="2058" y="1350"/>
                  </a:lnTo>
                  <a:lnTo>
                    <a:pt x="2034" y="1890"/>
                  </a:lnTo>
                  <a:lnTo>
                    <a:pt x="2064" y="1890"/>
                  </a:lnTo>
                  <a:lnTo>
                    <a:pt x="2070" y="1896"/>
                  </a:lnTo>
                  <a:lnTo>
                    <a:pt x="2076" y="189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8" name="Freeform 33">
              <a:extLst>
                <a:ext uri="{FF2B5EF4-FFF2-40B4-BE49-F238E27FC236}">
                  <a16:creationId xmlns:a16="http://schemas.microsoft.com/office/drawing/2014/main" id="{0E96F118-1F4D-4E52-AF27-149259451CD6}"/>
                </a:ext>
              </a:extLst>
            </p:cNvPr>
            <p:cNvSpPr>
              <a:spLocks/>
            </p:cNvSpPr>
            <p:nvPr/>
          </p:nvSpPr>
          <p:spPr bwMode="gray">
            <a:xfrm>
              <a:off x="1266662" y="1459989"/>
              <a:ext cx="903421" cy="778302"/>
            </a:xfrm>
            <a:custGeom>
              <a:avLst/>
              <a:gdLst>
                <a:gd name="T0" fmla="*/ 143 w 1698"/>
                <a:gd name="T1" fmla="*/ 43 h 1464"/>
                <a:gd name="T2" fmla="*/ 131 w 1698"/>
                <a:gd name="T3" fmla="*/ 44 h 1464"/>
                <a:gd name="T4" fmla="*/ 126 w 1698"/>
                <a:gd name="T5" fmla="*/ 41 h 1464"/>
                <a:gd name="T6" fmla="*/ 119 w 1698"/>
                <a:gd name="T7" fmla="*/ 45 h 1464"/>
                <a:gd name="T8" fmla="*/ 111 w 1698"/>
                <a:gd name="T9" fmla="*/ 46 h 1464"/>
                <a:gd name="T10" fmla="*/ 107 w 1698"/>
                <a:gd name="T11" fmla="*/ 50 h 1464"/>
                <a:gd name="T12" fmla="*/ 107 w 1698"/>
                <a:gd name="T13" fmla="*/ 60 h 1464"/>
                <a:gd name="T14" fmla="*/ 104 w 1698"/>
                <a:gd name="T15" fmla="*/ 62 h 1464"/>
                <a:gd name="T16" fmla="*/ 97 w 1698"/>
                <a:gd name="T17" fmla="*/ 59 h 1464"/>
                <a:gd name="T18" fmla="*/ 92 w 1698"/>
                <a:gd name="T19" fmla="*/ 59 h 1464"/>
                <a:gd name="T20" fmla="*/ 90 w 1698"/>
                <a:gd name="T21" fmla="*/ 62 h 1464"/>
                <a:gd name="T22" fmla="*/ 93 w 1698"/>
                <a:gd name="T23" fmla="*/ 77 h 1464"/>
                <a:gd name="T24" fmla="*/ 85 w 1698"/>
                <a:gd name="T25" fmla="*/ 88 h 1464"/>
                <a:gd name="T26" fmla="*/ 70 w 1698"/>
                <a:gd name="T27" fmla="*/ 89 h 1464"/>
                <a:gd name="T28" fmla="*/ 65 w 1698"/>
                <a:gd name="T29" fmla="*/ 88 h 1464"/>
                <a:gd name="T30" fmla="*/ 50 w 1698"/>
                <a:gd name="T31" fmla="*/ 88 h 1464"/>
                <a:gd name="T32" fmla="*/ 48 w 1698"/>
                <a:gd name="T33" fmla="*/ 107 h 1464"/>
                <a:gd name="T34" fmla="*/ 47 w 1698"/>
                <a:gd name="T35" fmla="*/ 120 h 1464"/>
                <a:gd name="T36" fmla="*/ 43 w 1698"/>
                <a:gd name="T37" fmla="*/ 121 h 1464"/>
                <a:gd name="T38" fmla="*/ 40 w 1698"/>
                <a:gd name="T39" fmla="*/ 120 h 1464"/>
                <a:gd name="T40" fmla="*/ 35 w 1698"/>
                <a:gd name="T41" fmla="*/ 122 h 1464"/>
                <a:gd name="T42" fmla="*/ 29 w 1698"/>
                <a:gd name="T43" fmla="*/ 123 h 1464"/>
                <a:gd name="T44" fmla="*/ 24 w 1698"/>
                <a:gd name="T45" fmla="*/ 125 h 1464"/>
                <a:gd name="T46" fmla="*/ 20 w 1698"/>
                <a:gd name="T47" fmla="*/ 125 h 1464"/>
                <a:gd name="T48" fmla="*/ 18 w 1698"/>
                <a:gd name="T49" fmla="*/ 122 h 1464"/>
                <a:gd name="T50" fmla="*/ 26 w 1698"/>
                <a:gd name="T51" fmla="*/ 108 h 1464"/>
                <a:gd name="T52" fmla="*/ 24 w 1698"/>
                <a:gd name="T53" fmla="*/ 89 h 1464"/>
                <a:gd name="T54" fmla="*/ 28 w 1698"/>
                <a:gd name="T55" fmla="*/ 85 h 1464"/>
                <a:gd name="T56" fmla="*/ 32 w 1698"/>
                <a:gd name="T57" fmla="*/ 80 h 1464"/>
                <a:gd name="T58" fmla="*/ 36 w 1698"/>
                <a:gd name="T59" fmla="*/ 86 h 1464"/>
                <a:gd name="T60" fmla="*/ 39 w 1698"/>
                <a:gd name="T61" fmla="*/ 80 h 1464"/>
                <a:gd name="T62" fmla="*/ 41 w 1698"/>
                <a:gd name="T63" fmla="*/ 73 h 1464"/>
                <a:gd name="T64" fmla="*/ 38 w 1698"/>
                <a:gd name="T65" fmla="*/ 64 h 1464"/>
                <a:gd name="T66" fmla="*/ 39 w 1698"/>
                <a:gd name="T67" fmla="*/ 59 h 1464"/>
                <a:gd name="T68" fmla="*/ 32 w 1698"/>
                <a:gd name="T69" fmla="*/ 54 h 1464"/>
                <a:gd name="T70" fmla="*/ 32 w 1698"/>
                <a:gd name="T71" fmla="*/ 45 h 1464"/>
                <a:gd name="T72" fmla="*/ 31 w 1698"/>
                <a:gd name="T73" fmla="*/ 41 h 1464"/>
                <a:gd name="T74" fmla="*/ 24 w 1698"/>
                <a:gd name="T75" fmla="*/ 43 h 1464"/>
                <a:gd name="T76" fmla="*/ 17 w 1698"/>
                <a:gd name="T77" fmla="*/ 40 h 1464"/>
                <a:gd name="T78" fmla="*/ 11 w 1698"/>
                <a:gd name="T79" fmla="*/ 38 h 1464"/>
                <a:gd name="T80" fmla="*/ 2 w 1698"/>
                <a:gd name="T81" fmla="*/ 36 h 1464"/>
                <a:gd name="T82" fmla="*/ 0 w 1698"/>
                <a:gd name="T83" fmla="*/ 24 h 1464"/>
                <a:gd name="T84" fmla="*/ 11 w 1698"/>
                <a:gd name="T85" fmla="*/ 18 h 1464"/>
                <a:gd name="T86" fmla="*/ 19 w 1698"/>
                <a:gd name="T87" fmla="*/ 10 h 1464"/>
                <a:gd name="T88" fmla="*/ 28 w 1698"/>
                <a:gd name="T89" fmla="*/ 9 h 1464"/>
                <a:gd name="T90" fmla="*/ 40 w 1698"/>
                <a:gd name="T91" fmla="*/ 6 h 1464"/>
                <a:gd name="T92" fmla="*/ 49 w 1698"/>
                <a:gd name="T93" fmla="*/ 8 h 1464"/>
                <a:gd name="T94" fmla="*/ 56 w 1698"/>
                <a:gd name="T95" fmla="*/ 8 h 1464"/>
                <a:gd name="T96" fmla="*/ 64 w 1698"/>
                <a:gd name="T97" fmla="*/ 7 h 1464"/>
                <a:gd name="T98" fmla="*/ 74 w 1698"/>
                <a:gd name="T99" fmla="*/ 1 h 1464"/>
                <a:gd name="T100" fmla="*/ 83 w 1698"/>
                <a:gd name="T101" fmla="*/ 3 h 1464"/>
                <a:gd name="T102" fmla="*/ 99 w 1698"/>
                <a:gd name="T103" fmla="*/ 9 h 1464"/>
                <a:gd name="T104" fmla="*/ 112 w 1698"/>
                <a:gd name="T105" fmla="*/ 14 h 1464"/>
                <a:gd name="T106" fmla="*/ 119 w 1698"/>
                <a:gd name="T107" fmla="*/ 12 h 1464"/>
                <a:gd name="T108" fmla="*/ 128 w 1698"/>
                <a:gd name="T109" fmla="*/ 17 h 1464"/>
                <a:gd name="T110" fmla="*/ 141 w 1698"/>
                <a:gd name="T111" fmla="*/ 29 h 1464"/>
                <a:gd name="T112" fmla="*/ 145 w 1698"/>
                <a:gd name="T113" fmla="*/ 35 h 14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98"/>
                <a:gd name="T172" fmla="*/ 0 h 1464"/>
                <a:gd name="T173" fmla="*/ 1698 w 1698"/>
                <a:gd name="T174" fmla="*/ 1464 h 14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98" h="1464">
                  <a:moveTo>
                    <a:pt x="1698" y="462"/>
                  </a:moveTo>
                  <a:lnTo>
                    <a:pt x="1686" y="468"/>
                  </a:lnTo>
                  <a:lnTo>
                    <a:pt x="1680" y="474"/>
                  </a:lnTo>
                  <a:lnTo>
                    <a:pt x="1674" y="480"/>
                  </a:lnTo>
                  <a:lnTo>
                    <a:pt x="1668" y="480"/>
                  </a:lnTo>
                  <a:lnTo>
                    <a:pt x="1662" y="486"/>
                  </a:lnTo>
                  <a:lnTo>
                    <a:pt x="1656" y="492"/>
                  </a:lnTo>
                  <a:lnTo>
                    <a:pt x="1644" y="498"/>
                  </a:lnTo>
                  <a:lnTo>
                    <a:pt x="1626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0" y="516"/>
                  </a:lnTo>
                  <a:lnTo>
                    <a:pt x="1590" y="522"/>
                  </a:lnTo>
                  <a:lnTo>
                    <a:pt x="1566" y="522"/>
                  </a:lnTo>
                  <a:lnTo>
                    <a:pt x="1506" y="510"/>
                  </a:lnTo>
                  <a:lnTo>
                    <a:pt x="1500" y="510"/>
                  </a:lnTo>
                  <a:lnTo>
                    <a:pt x="1488" y="504"/>
                  </a:lnTo>
                  <a:lnTo>
                    <a:pt x="1482" y="498"/>
                  </a:lnTo>
                  <a:lnTo>
                    <a:pt x="1476" y="498"/>
                  </a:lnTo>
                  <a:lnTo>
                    <a:pt x="1476" y="492"/>
                  </a:lnTo>
                  <a:lnTo>
                    <a:pt x="1470" y="492"/>
                  </a:lnTo>
                  <a:lnTo>
                    <a:pt x="1464" y="486"/>
                  </a:lnTo>
                  <a:lnTo>
                    <a:pt x="1452" y="486"/>
                  </a:lnTo>
                  <a:lnTo>
                    <a:pt x="1446" y="474"/>
                  </a:lnTo>
                  <a:lnTo>
                    <a:pt x="1434" y="468"/>
                  </a:lnTo>
                  <a:lnTo>
                    <a:pt x="1416" y="468"/>
                  </a:lnTo>
                  <a:lnTo>
                    <a:pt x="1392" y="468"/>
                  </a:lnTo>
                  <a:lnTo>
                    <a:pt x="1374" y="474"/>
                  </a:lnTo>
                  <a:lnTo>
                    <a:pt x="1368" y="474"/>
                  </a:lnTo>
                  <a:lnTo>
                    <a:pt x="1368" y="486"/>
                  </a:lnTo>
                  <a:lnTo>
                    <a:pt x="1368" y="498"/>
                  </a:lnTo>
                  <a:lnTo>
                    <a:pt x="1368" y="522"/>
                  </a:lnTo>
                  <a:lnTo>
                    <a:pt x="1368" y="534"/>
                  </a:lnTo>
                  <a:lnTo>
                    <a:pt x="1362" y="546"/>
                  </a:lnTo>
                  <a:lnTo>
                    <a:pt x="1356" y="546"/>
                  </a:lnTo>
                  <a:lnTo>
                    <a:pt x="1344" y="540"/>
                  </a:lnTo>
                  <a:lnTo>
                    <a:pt x="1338" y="534"/>
                  </a:lnTo>
                  <a:lnTo>
                    <a:pt x="1308" y="522"/>
                  </a:lnTo>
                  <a:lnTo>
                    <a:pt x="1296" y="522"/>
                  </a:lnTo>
                  <a:lnTo>
                    <a:pt x="1278" y="528"/>
                  </a:lnTo>
                  <a:lnTo>
                    <a:pt x="1260" y="534"/>
                  </a:lnTo>
                  <a:lnTo>
                    <a:pt x="1242" y="546"/>
                  </a:lnTo>
                  <a:lnTo>
                    <a:pt x="1236" y="552"/>
                  </a:lnTo>
                  <a:lnTo>
                    <a:pt x="1224" y="558"/>
                  </a:lnTo>
                  <a:lnTo>
                    <a:pt x="1218" y="558"/>
                  </a:lnTo>
                  <a:lnTo>
                    <a:pt x="1218" y="564"/>
                  </a:lnTo>
                  <a:lnTo>
                    <a:pt x="1224" y="570"/>
                  </a:lnTo>
                  <a:lnTo>
                    <a:pt x="1224" y="582"/>
                  </a:lnTo>
                  <a:lnTo>
                    <a:pt x="1224" y="594"/>
                  </a:lnTo>
                  <a:lnTo>
                    <a:pt x="1212" y="618"/>
                  </a:lnTo>
                  <a:lnTo>
                    <a:pt x="1212" y="624"/>
                  </a:lnTo>
                  <a:lnTo>
                    <a:pt x="1212" y="630"/>
                  </a:lnTo>
                  <a:lnTo>
                    <a:pt x="1212" y="636"/>
                  </a:lnTo>
                  <a:lnTo>
                    <a:pt x="1218" y="654"/>
                  </a:lnTo>
                  <a:lnTo>
                    <a:pt x="1224" y="672"/>
                  </a:lnTo>
                  <a:lnTo>
                    <a:pt x="1230" y="696"/>
                  </a:lnTo>
                  <a:lnTo>
                    <a:pt x="1236" y="708"/>
                  </a:lnTo>
                  <a:lnTo>
                    <a:pt x="1236" y="714"/>
                  </a:lnTo>
                  <a:lnTo>
                    <a:pt x="1236" y="720"/>
                  </a:lnTo>
                  <a:lnTo>
                    <a:pt x="1218" y="726"/>
                  </a:lnTo>
                  <a:lnTo>
                    <a:pt x="1212" y="726"/>
                  </a:lnTo>
                  <a:lnTo>
                    <a:pt x="1206" y="726"/>
                  </a:lnTo>
                  <a:lnTo>
                    <a:pt x="1194" y="720"/>
                  </a:lnTo>
                  <a:lnTo>
                    <a:pt x="1194" y="714"/>
                  </a:lnTo>
                  <a:lnTo>
                    <a:pt x="1176" y="714"/>
                  </a:lnTo>
                  <a:lnTo>
                    <a:pt x="1164" y="708"/>
                  </a:lnTo>
                  <a:lnTo>
                    <a:pt x="1158" y="708"/>
                  </a:lnTo>
                  <a:lnTo>
                    <a:pt x="1140" y="702"/>
                  </a:lnTo>
                  <a:lnTo>
                    <a:pt x="1134" y="696"/>
                  </a:lnTo>
                  <a:lnTo>
                    <a:pt x="1128" y="690"/>
                  </a:lnTo>
                  <a:lnTo>
                    <a:pt x="1116" y="678"/>
                  </a:lnTo>
                  <a:lnTo>
                    <a:pt x="1110" y="678"/>
                  </a:lnTo>
                  <a:lnTo>
                    <a:pt x="1104" y="672"/>
                  </a:lnTo>
                  <a:lnTo>
                    <a:pt x="1092" y="672"/>
                  </a:lnTo>
                  <a:lnTo>
                    <a:pt x="1086" y="672"/>
                  </a:lnTo>
                  <a:lnTo>
                    <a:pt x="1080" y="672"/>
                  </a:lnTo>
                  <a:lnTo>
                    <a:pt x="1074" y="672"/>
                  </a:lnTo>
                  <a:lnTo>
                    <a:pt x="1068" y="672"/>
                  </a:lnTo>
                  <a:lnTo>
                    <a:pt x="1062" y="678"/>
                  </a:lnTo>
                  <a:lnTo>
                    <a:pt x="1056" y="678"/>
                  </a:lnTo>
                  <a:lnTo>
                    <a:pt x="1056" y="684"/>
                  </a:lnTo>
                  <a:lnTo>
                    <a:pt x="1056" y="690"/>
                  </a:lnTo>
                  <a:lnTo>
                    <a:pt x="1050" y="690"/>
                  </a:lnTo>
                  <a:lnTo>
                    <a:pt x="1044" y="696"/>
                  </a:lnTo>
                  <a:lnTo>
                    <a:pt x="1032" y="708"/>
                  </a:lnTo>
                  <a:lnTo>
                    <a:pt x="1026" y="708"/>
                  </a:lnTo>
                  <a:lnTo>
                    <a:pt x="1032" y="714"/>
                  </a:lnTo>
                  <a:lnTo>
                    <a:pt x="1026" y="720"/>
                  </a:lnTo>
                  <a:lnTo>
                    <a:pt x="1020" y="720"/>
                  </a:lnTo>
                  <a:lnTo>
                    <a:pt x="1014" y="732"/>
                  </a:lnTo>
                  <a:lnTo>
                    <a:pt x="1014" y="744"/>
                  </a:lnTo>
                  <a:lnTo>
                    <a:pt x="1038" y="810"/>
                  </a:lnTo>
                  <a:lnTo>
                    <a:pt x="1050" y="834"/>
                  </a:lnTo>
                  <a:lnTo>
                    <a:pt x="1056" y="858"/>
                  </a:lnTo>
                  <a:lnTo>
                    <a:pt x="1062" y="876"/>
                  </a:lnTo>
                  <a:lnTo>
                    <a:pt x="1068" y="882"/>
                  </a:lnTo>
                  <a:lnTo>
                    <a:pt x="1062" y="972"/>
                  </a:lnTo>
                  <a:lnTo>
                    <a:pt x="1056" y="972"/>
                  </a:lnTo>
                  <a:lnTo>
                    <a:pt x="1050" y="996"/>
                  </a:lnTo>
                  <a:lnTo>
                    <a:pt x="1044" y="1014"/>
                  </a:lnTo>
                  <a:lnTo>
                    <a:pt x="1008" y="1014"/>
                  </a:lnTo>
                  <a:lnTo>
                    <a:pt x="1008" y="1008"/>
                  </a:lnTo>
                  <a:lnTo>
                    <a:pt x="990" y="1008"/>
                  </a:lnTo>
                  <a:lnTo>
                    <a:pt x="972" y="1014"/>
                  </a:lnTo>
                  <a:lnTo>
                    <a:pt x="948" y="1020"/>
                  </a:lnTo>
                  <a:lnTo>
                    <a:pt x="918" y="1026"/>
                  </a:lnTo>
                  <a:lnTo>
                    <a:pt x="840" y="1032"/>
                  </a:lnTo>
                  <a:lnTo>
                    <a:pt x="834" y="1032"/>
                  </a:lnTo>
                  <a:lnTo>
                    <a:pt x="834" y="1026"/>
                  </a:lnTo>
                  <a:lnTo>
                    <a:pt x="822" y="1026"/>
                  </a:lnTo>
                  <a:lnTo>
                    <a:pt x="816" y="1032"/>
                  </a:lnTo>
                  <a:lnTo>
                    <a:pt x="804" y="1032"/>
                  </a:lnTo>
                  <a:lnTo>
                    <a:pt x="798" y="1026"/>
                  </a:lnTo>
                  <a:lnTo>
                    <a:pt x="780" y="1026"/>
                  </a:lnTo>
                  <a:lnTo>
                    <a:pt x="762" y="1026"/>
                  </a:lnTo>
                  <a:lnTo>
                    <a:pt x="756" y="1026"/>
                  </a:lnTo>
                  <a:lnTo>
                    <a:pt x="750" y="1026"/>
                  </a:lnTo>
                  <a:lnTo>
                    <a:pt x="756" y="1020"/>
                  </a:lnTo>
                  <a:lnTo>
                    <a:pt x="750" y="1020"/>
                  </a:lnTo>
                  <a:lnTo>
                    <a:pt x="744" y="1014"/>
                  </a:lnTo>
                  <a:lnTo>
                    <a:pt x="684" y="1020"/>
                  </a:lnTo>
                  <a:lnTo>
                    <a:pt x="648" y="1020"/>
                  </a:lnTo>
                  <a:lnTo>
                    <a:pt x="630" y="1020"/>
                  </a:lnTo>
                  <a:lnTo>
                    <a:pt x="618" y="1020"/>
                  </a:lnTo>
                  <a:lnTo>
                    <a:pt x="606" y="1014"/>
                  </a:lnTo>
                  <a:lnTo>
                    <a:pt x="582" y="1014"/>
                  </a:lnTo>
                  <a:lnTo>
                    <a:pt x="576" y="1014"/>
                  </a:lnTo>
                  <a:lnTo>
                    <a:pt x="570" y="1014"/>
                  </a:lnTo>
                  <a:lnTo>
                    <a:pt x="564" y="1020"/>
                  </a:lnTo>
                  <a:lnTo>
                    <a:pt x="558" y="1026"/>
                  </a:lnTo>
                  <a:lnTo>
                    <a:pt x="552" y="1032"/>
                  </a:lnTo>
                  <a:lnTo>
                    <a:pt x="552" y="1038"/>
                  </a:lnTo>
                  <a:lnTo>
                    <a:pt x="558" y="1194"/>
                  </a:lnTo>
                  <a:lnTo>
                    <a:pt x="558" y="1206"/>
                  </a:lnTo>
                  <a:lnTo>
                    <a:pt x="552" y="1218"/>
                  </a:lnTo>
                  <a:lnTo>
                    <a:pt x="552" y="1236"/>
                  </a:lnTo>
                  <a:lnTo>
                    <a:pt x="546" y="1272"/>
                  </a:lnTo>
                  <a:lnTo>
                    <a:pt x="546" y="1308"/>
                  </a:lnTo>
                  <a:lnTo>
                    <a:pt x="540" y="1332"/>
                  </a:lnTo>
                  <a:lnTo>
                    <a:pt x="546" y="1356"/>
                  </a:lnTo>
                  <a:lnTo>
                    <a:pt x="546" y="1362"/>
                  </a:lnTo>
                  <a:lnTo>
                    <a:pt x="546" y="1374"/>
                  </a:lnTo>
                  <a:lnTo>
                    <a:pt x="546" y="1380"/>
                  </a:lnTo>
                  <a:lnTo>
                    <a:pt x="540" y="1380"/>
                  </a:lnTo>
                  <a:lnTo>
                    <a:pt x="522" y="1380"/>
                  </a:lnTo>
                  <a:lnTo>
                    <a:pt x="516" y="1380"/>
                  </a:lnTo>
                  <a:lnTo>
                    <a:pt x="516" y="1386"/>
                  </a:lnTo>
                  <a:lnTo>
                    <a:pt x="516" y="1392"/>
                  </a:lnTo>
                  <a:lnTo>
                    <a:pt x="510" y="1392"/>
                  </a:lnTo>
                  <a:lnTo>
                    <a:pt x="504" y="1386"/>
                  </a:lnTo>
                  <a:lnTo>
                    <a:pt x="498" y="1392"/>
                  </a:lnTo>
                  <a:lnTo>
                    <a:pt x="492" y="1398"/>
                  </a:lnTo>
                  <a:lnTo>
                    <a:pt x="486" y="1398"/>
                  </a:lnTo>
                  <a:lnTo>
                    <a:pt x="486" y="1392"/>
                  </a:lnTo>
                  <a:lnTo>
                    <a:pt x="486" y="1380"/>
                  </a:lnTo>
                  <a:lnTo>
                    <a:pt x="486" y="1374"/>
                  </a:lnTo>
                  <a:lnTo>
                    <a:pt x="480" y="1374"/>
                  </a:lnTo>
                  <a:lnTo>
                    <a:pt x="474" y="1374"/>
                  </a:lnTo>
                  <a:lnTo>
                    <a:pt x="468" y="1380"/>
                  </a:lnTo>
                  <a:lnTo>
                    <a:pt x="462" y="1380"/>
                  </a:lnTo>
                  <a:lnTo>
                    <a:pt x="456" y="1380"/>
                  </a:lnTo>
                  <a:lnTo>
                    <a:pt x="450" y="1386"/>
                  </a:lnTo>
                  <a:lnTo>
                    <a:pt x="444" y="1386"/>
                  </a:lnTo>
                  <a:lnTo>
                    <a:pt x="444" y="1392"/>
                  </a:lnTo>
                  <a:lnTo>
                    <a:pt x="432" y="1398"/>
                  </a:lnTo>
                  <a:lnTo>
                    <a:pt x="426" y="1404"/>
                  </a:lnTo>
                  <a:lnTo>
                    <a:pt x="420" y="1404"/>
                  </a:lnTo>
                  <a:lnTo>
                    <a:pt x="408" y="1404"/>
                  </a:lnTo>
                  <a:lnTo>
                    <a:pt x="378" y="1410"/>
                  </a:lnTo>
                  <a:lnTo>
                    <a:pt x="372" y="1410"/>
                  </a:lnTo>
                  <a:lnTo>
                    <a:pt x="360" y="1410"/>
                  </a:lnTo>
                  <a:lnTo>
                    <a:pt x="354" y="1416"/>
                  </a:lnTo>
                  <a:lnTo>
                    <a:pt x="348" y="1416"/>
                  </a:lnTo>
                  <a:lnTo>
                    <a:pt x="342" y="1410"/>
                  </a:lnTo>
                  <a:lnTo>
                    <a:pt x="336" y="1410"/>
                  </a:lnTo>
                  <a:lnTo>
                    <a:pt x="336" y="1416"/>
                  </a:lnTo>
                  <a:lnTo>
                    <a:pt x="330" y="1422"/>
                  </a:lnTo>
                  <a:lnTo>
                    <a:pt x="324" y="1422"/>
                  </a:lnTo>
                  <a:lnTo>
                    <a:pt x="318" y="1422"/>
                  </a:lnTo>
                  <a:lnTo>
                    <a:pt x="312" y="1428"/>
                  </a:lnTo>
                  <a:lnTo>
                    <a:pt x="312" y="1434"/>
                  </a:lnTo>
                  <a:lnTo>
                    <a:pt x="300" y="1428"/>
                  </a:lnTo>
                  <a:lnTo>
                    <a:pt x="288" y="1434"/>
                  </a:lnTo>
                  <a:lnTo>
                    <a:pt x="282" y="1440"/>
                  </a:lnTo>
                  <a:lnTo>
                    <a:pt x="282" y="1446"/>
                  </a:lnTo>
                  <a:lnTo>
                    <a:pt x="276" y="1446"/>
                  </a:lnTo>
                  <a:lnTo>
                    <a:pt x="276" y="1452"/>
                  </a:lnTo>
                  <a:lnTo>
                    <a:pt x="270" y="1452"/>
                  </a:lnTo>
                  <a:lnTo>
                    <a:pt x="258" y="1464"/>
                  </a:lnTo>
                  <a:lnTo>
                    <a:pt x="240" y="1458"/>
                  </a:lnTo>
                  <a:lnTo>
                    <a:pt x="234" y="1452"/>
                  </a:lnTo>
                  <a:lnTo>
                    <a:pt x="234" y="1446"/>
                  </a:lnTo>
                  <a:lnTo>
                    <a:pt x="228" y="1446"/>
                  </a:lnTo>
                  <a:lnTo>
                    <a:pt x="222" y="1440"/>
                  </a:lnTo>
                  <a:lnTo>
                    <a:pt x="216" y="1440"/>
                  </a:lnTo>
                  <a:lnTo>
                    <a:pt x="210" y="1428"/>
                  </a:lnTo>
                  <a:lnTo>
                    <a:pt x="210" y="1422"/>
                  </a:lnTo>
                  <a:lnTo>
                    <a:pt x="198" y="1416"/>
                  </a:lnTo>
                  <a:lnTo>
                    <a:pt x="204" y="1410"/>
                  </a:lnTo>
                  <a:lnTo>
                    <a:pt x="210" y="1404"/>
                  </a:lnTo>
                  <a:lnTo>
                    <a:pt x="210" y="1398"/>
                  </a:lnTo>
                  <a:lnTo>
                    <a:pt x="252" y="1368"/>
                  </a:lnTo>
                  <a:lnTo>
                    <a:pt x="276" y="1350"/>
                  </a:lnTo>
                  <a:lnTo>
                    <a:pt x="300" y="1338"/>
                  </a:lnTo>
                  <a:lnTo>
                    <a:pt x="294" y="1314"/>
                  </a:lnTo>
                  <a:lnTo>
                    <a:pt x="288" y="1308"/>
                  </a:lnTo>
                  <a:lnTo>
                    <a:pt x="300" y="1266"/>
                  </a:lnTo>
                  <a:lnTo>
                    <a:pt x="300" y="1242"/>
                  </a:lnTo>
                  <a:lnTo>
                    <a:pt x="300" y="1206"/>
                  </a:lnTo>
                  <a:lnTo>
                    <a:pt x="300" y="1164"/>
                  </a:lnTo>
                  <a:lnTo>
                    <a:pt x="294" y="1134"/>
                  </a:lnTo>
                  <a:lnTo>
                    <a:pt x="282" y="1086"/>
                  </a:lnTo>
                  <a:lnTo>
                    <a:pt x="276" y="1074"/>
                  </a:lnTo>
                  <a:lnTo>
                    <a:pt x="276" y="1056"/>
                  </a:lnTo>
                  <a:lnTo>
                    <a:pt x="270" y="1038"/>
                  </a:lnTo>
                  <a:lnTo>
                    <a:pt x="270" y="1020"/>
                  </a:lnTo>
                  <a:lnTo>
                    <a:pt x="282" y="1020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94" y="1002"/>
                  </a:lnTo>
                  <a:lnTo>
                    <a:pt x="306" y="996"/>
                  </a:lnTo>
                  <a:lnTo>
                    <a:pt x="312" y="990"/>
                  </a:lnTo>
                  <a:lnTo>
                    <a:pt x="318" y="990"/>
                  </a:lnTo>
                  <a:lnTo>
                    <a:pt x="324" y="984"/>
                  </a:lnTo>
                  <a:lnTo>
                    <a:pt x="324" y="978"/>
                  </a:lnTo>
                  <a:lnTo>
                    <a:pt x="324" y="972"/>
                  </a:lnTo>
                  <a:lnTo>
                    <a:pt x="324" y="954"/>
                  </a:lnTo>
                  <a:lnTo>
                    <a:pt x="336" y="948"/>
                  </a:lnTo>
                  <a:lnTo>
                    <a:pt x="342" y="936"/>
                  </a:lnTo>
                  <a:lnTo>
                    <a:pt x="348" y="924"/>
                  </a:lnTo>
                  <a:lnTo>
                    <a:pt x="354" y="924"/>
                  </a:lnTo>
                  <a:lnTo>
                    <a:pt x="372" y="924"/>
                  </a:lnTo>
                  <a:lnTo>
                    <a:pt x="372" y="930"/>
                  </a:lnTo>
                  <a:lnTo>
                    <a:pt x="378" y="930"/>
                  </a:lnTo>
                  <a:lnTo>
                    <a:pt x="378" y="936"/>
                  </a:lnTo>
                  <a:lnTo>
                    <a:pt x="384" y="936"/>
                  </a:lnTo>
                  <a:lnTo>
                    <a:pt x="384" y="942"/>
                  </a:lnTo>
                  <a:lnTo>
                    <a:pt x="402" y="942"/>
                  </a:lnTo>
                  <a:lnTo>
                    <a:pt x="402" y="996"/>
                  </a:lnTo>
                  <a:lnTo>
                    <a:pt x="414" y="996"/>
                  </a:lnTo>
                  <a:lnTo>
                    <a:pt x="420" y="996"/>
                  </a:lnTo>
                  <a:lnTo>
                    <a:pt x="426" y="996"/>
                  </a:lnTo>
                  <a:lnTo>
                    <a:pt x="432" y="996"/>
                  </a:lnTo>
                  <a:lnTo>
                    <a:pt x="438" y="996"/>
                  </a:lnTo>
                  <a:lnTo>
                    <a:pt x="438" y="942"/>
                  </a:lnTo>
                  <a:lnTo>
                    <a:pt x="444" y="930"/>
                  </a:lnTo>
                  <a:lnTo>
                    <a:pt x="444" y="924"/>
                  </a:lnTo>
                  <a:lnTo>
                    <a:pt x="444" y="918"/>
                  </a:lnTo>
                  <a:lnTo>
                    <a:pt x="462" y="918"/>
                  </a:lnTo>
                  <a:lnTo>
                    <a:pt x="474" y="906"/>
                  </a:lnTo>
                  <a:lnTo>
                    <a:pt x="480" y="900"/>
                  </a:lnTo>
                  <a:lnTo>
                    <a:pt x="486" y="888"/>
                  </a:lnTo>
                  <a:lnTo>
                    <a:pt x="492" y="876"/>
                  </a:lnTo>
                  <a:lnTo>
                    <a:pt x="492" y="858"/>
                  </a:lnTo>
                  <a:lnTo>
                    <a:pt x="480" y="858"/>
                  </a:lnTo>
                  <a:lnTo>
                    <a:pt x="474" y="840"/>
                  </a:lnTo>
                  <a:lnTo>
                    <a:pt x="450" y="834"/>
                  </a:lnTo>
                  <a:lnTo>
                    <a:pt x="438" y="816"/>
                  </a:lnTo>
                  <a:lnTo>
                    <a:pt x="432" y="792"/>
                  </a:lnTo>
                  <a:lnTo>
                    <a:pt x="432" y="786"/>
                  </a:lnTo>
                  <a:lnTo>
                    <a:pt x="432" y="774"/>
                  </a:lnTo>
                  <a:lnTo>
                    <a:pt x="432" y="762"/>
                  </a:lnTo>
                  <a:lnTo>
                    <a:pt x="438" y="750"/>
                  </a:lnTo>
                  <a:lnTo>
                    <a:pt x="438" y="738"/>
                  </a:lnTo>
                  <a:lnTo>
                    <a:pt x="444" y="732"/>
                  </a:lnTo>
                  <a:lnTo>
                    <a:pt x="450" y="732"/>
                  </a:lnTo>
                  <a:lnTo>
                    <a:pt x="456" y="732"/>
                  </a:lnTo>
                  <a:lnTo>
                    <a:pt x="456" y="726"/>
                  </a:lnTo>
                  <a:lnTo>
                    <a:pt x="456" y="714"/>
                  </a:lnTo>
                  <a:lnTo>
                    <a:pt x="450" y="702"/>
                  </a:lnTo>
                  <a:lnTo>
                    <a:pt x="450" y="696"/>
                  </a:lnTo>
                  <a:lnTo>
                    <a:pt x="444" y="684"/>
                  </a:lnTo>
                  <a:lnTo>
                    <a:pt x="438" y="666"/>
                  </a:lnTo>
                  <a:lnTo>
                    <a:pt x="426" y="666"/>
                  </a:lnTo>
                  <a:lnTo>
                    <a:pt x="432" y="666"/>
                  </a:lnTo>
                  <a:lnTo>
                    <a:pt x="420" y="666"/>
                  </a:lnTo>
                  <a:lnTo>
                    <a:pt x="414" y="660"/>
                  </a:lnTo>
                  <a:lnTo>
                    <a:pt x="396" y="654"/>
                  </a:lnTo>
                  <a:lnTo>
                    <a:pt x="384" y="642"/>
                  </a:lnTo>
                  <a:lnTo>
                    <a:pt x="366" y="624"/>
                  </a:lnTo>
                  <a:lnTo>
                    <a:pt x="354" y="606"/>
                  </a:lnTo>
                  <a:lnTo>
                    <a:pt x="342" y="588"/>
                  </a:lnTo>
                  <a:lnTo>
                    <a:pt x="342" y="582"/>
                  </a:lnTo>
                  <a:lnTo>
                    <a:pt x="360" y="564"/>
                  </a:lnTo>
                  <a:lnTo>
                    <a:pt x="372" y="540"/>
                  </a:lnTo>
                  <a:lnTo>
                    <a:pt x="366" y="528"/>
                  </a:lnTo>
                  <a:lnTo>
                    <a:pt x="366" y="522"/>
                  </a:lnTo>
                  <a:lnTo>
                    <a:pt x="372" y="516"/>
                  </a:lnTo>
                  <a:lnTo>
                    <a:pt x="384" y="504"/>
                  </a:lnTo>
                  <a:lnTo>
                    <a:pt x="378" y="492"/>
                  </a:lnTo>
                  <a:lnTo>
                    <a:pt x="378" y="486"/>
                  </a:lnTo>
                  <a:lnTo>
                    <a:pt x="378" y="480"/>
                  </a:lnTo>
                  <a:lnTo>
                    <a:pt x="378" y="474"/>
                  </a:lnTo>
                  <a:lnTo>
                    <a:pt x="378" y="468"/>
                  </a:lnTo>
                  <a:lnTo>
                    <a:pt x="366" y="468"/>
                  </a:lnTo>
                  <a:lnTo>
                    <a:pt x="360" y="474"/>
                  </a:lnTo>
                  <a:lnTo>
                    <a:pt x="354" y="480"/>
                  </a:lnTo>
                  <a:lnTo>
                    <a:pt x="348" y="486"/>
                  </a:lnTo>
                  <a:lnTo>
                    <a:pt x="348" y="492"/>
                  </a:lnTo>
                  <a:lnTo>
                    <a:pt x="336" y="510"/>
                  </a:lnTo>
                  <a:lnTo>
                    <a:pt x="300" y="516"/>
                  </a:lnTo>
                  <a:lnTo>
                    <a:pt x="300" y="510"/>
                  </a:lnTo>
                  <a:lnTo>
                    <a:pt x="282" y="504"/>
                  </a:lnTo>
                  <a:lnTo>
                    <a:pt x="282" y="498"/>
                  </a:lnTo>
                  <a:lnTo>
                    <a:pt x="264" y="486"/>
                  </a:lnTo>
                  <a:lnTo>
                    <a:pt x="258" y="492"/>
                  </a:lnTo>
                  <a:lnTo>
                    <a:pt x="234" y="492"/>
                  </a:lnTo>
                  <a:lnTo>
                    <a:pt x="222" y="486"/>
                  </a:lnTo>
                  <a:lnTo>
                    <a:pt x="204" y="480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92" y="462"/>
                  </a:lnTo>
                  <a:lnTo>
                    <a:pt x="186" y="462"/>
                  </a:lnTo>
                  <a:lnTo>
                    <a:pt x="180" y="468"/>
                  </a:lnTo>
                  <a:lnTo>
                    <a:pt x="150" y="450"/>
                  </a:lnTo>
                  <a:lnTo>
                    <a:pt x="144" y="438"/>
                  </a:lnTo>
                  <a:lnTo>
                    <a:pt x="138" y="438"/>
                  </a:lnTo>
                  <a:lnTo>
                    <a:pt x="132" y="432"/>
                  </a:lnTo>
                  <a:lnTo>
                    <a:pt x="126" y="432"/>
                  </a:lnTo>
                  <a:lnTo>
                    <a:pt x="120" y="432"/>
                  </a:lnTo>
                  <a:lnTo>
                    <a:pt x="102" y="426"/>
                  </a:lnTo>
                  <a:lnTo>
                    <a:pt x="96" y="420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72" y="414"/>
                  </a:lnTo>
                  <a:lnTo>
                    <a:pt x="60" y="414"/>
                  </a:lnTo>
                  <a:lnTo>
                    <a:pt x="30" y="414"/>
                  </a:lnTo>
                  <a:lnTo>
                    <a:pt x="24" y="414"/>
                  </a:lnTo>
                  <a:lnTo>
                    <a:pt x="12" y="414"/>
                  </a:lnTo>
                  <a:lnTo>
                    <a:pt x="0" y="420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0" y="336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30" y="270"/>
                  </a:lnTo>
                  <a:lnTo>
                    <a:pt x="42" y="270"/>
                  </a:lnTo>
                  <a:lnTo>
                    <a:pt x="54" y="264"/>
                  </a:lnTo>
                  <a:lnTo>
                    <a:pt x="78" y="240"/>
                  </a:lnTo>
                  <a:lnTo>
                    <a:pt x="102" y="216"/>
                  </a:lnTo>
                  <a:lnTo>
                    <a:pt x="114" y="210"/>
                  </a:lnTo>
                  <a:lnTo>
                    <a:pt x="120" y="204"/>
                  </a:lnTo>
                  <a:lnTo>
                    <a:pt x="126" y="198"/>
                  </a:lnTo>
                  <a:lnTo>
                    <a:pt x="138" y="18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38"/>
                  </a:lnTo>
                  <a:lnTo>
                    <a:pt x="210" y="126"/>
                  </a:lnTo>
                  <a:lnTo>
                    <a:pt x="216" y="120"/>
                  </a:lnTo>
                  <a:lnTo>
                    <a:pt x="222" y="120"/>
                  </a:lnTo>
                  <a:lnTo>
                    <a:pt x="258" y="114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300" y="102"/>
                  </a:lnTo>
                  <a:lnTo>
                    <a:pt x="312" y="102"/>
                  </a:lnTo>
                  <a:lnTo>
                    <a:pt x="318" y="102"/>
                  </a:lnTo>
                  <a:lnTo>
                    <a:pt x="348" y="96"/>
                  </a:lnTo>
                  <a:lnTo>
                    <a:pt x="366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408" y="84"/>
                  </a:lnTo>
                  <a:lnTo>
                    <a:pt x="420" y="84"/>
                  </a:lnTo>
                  <a:lnTo>
                    <a:pt x="462" y="72"/>
                  </a:lnTo>
                  <a:lnTo>
                    <a:pt x="474" y="72"/>
                  </a:lnTo>
                  <a:lnTo>
                    <a:pt x="474" y="78"/>
                  </a:lnTo>
                  <a:lnTo>
                    <a:pt x="492" y="90"/>
                  </a:lnTo>
                  <a:lnTo>
                    <a:pt x="498" y="90"/>
                  </a:lnTo>
                  <a:lnTo>
                    <a:pt x="522" y="96"/>
                  </a:lnTo>
                  <a:lnTo>
                    <a:pt x="540" y="96"/>
                  </a:lnTo>
                  <a:lnTo>
                    <a:pt x="546" y="96"/>
                  </a:lnTo>
                  <a:lnTo>
                    <a:pt x="558" y="96"/>
                  </a:lnTo>
                  <a:lnTo>
                    <a:pt x="564" y="96"/>
                  </a:lnTo>
                  <a:lnTo>
                    <a:pt x="576" y="96"/>
                  </a:lnTo>
                  <a:lnTo>
                    <a:pt x="588" y="96"/>
                  </a:lnTo>
                  <a:lnTo>
                    <a:pt x="612" y="90"/>
                  </a:lnTo>
                  <a:lnTo>
                    <a:pt x="624" y="90"/>
                  </a:lnTo>
                  <a:lnTo>
                    <a:pt x="636" y="90"/>
                  </a:lnTo>
                  <a:lnTo>
                    <a:pt x="642" y="90"/>
                  </a:lnTo>
                  <a:lnTo>
                    <a:pt x="648" y="96"/>
                  </a:lnTo>
                  <a:lnTo>
                    <a:pt x="660" y="96"/>
                  </a:lnTo>
                  <a:lnTo>
                    <a:pt x="666" y="96"/>
                  </a:lnTo>
                  <a:lnTo>
                    <a:pt x="672" y="96"/>
                  </a:lnTo>
                  <a:lnTo>
                    <a:pt x="684" y="96"/>
                  </a:lnTo>
                  <a:lnTo>
                    <a:pt x="708" y="96"/>
                  </a:lnTo>
                  <a:lnTo>
                    <a:pt x="714" y="96"/>
                  </a:lnTo>
                  <a:lnTo>
                    <a:pt x="726" y="96"/>
                  </a:lnTo>
                  <a:lnTo>
                    <a:pt x="738" y="84"/>
                  </a:lnTo>
                  <a:lnTo>
                    <a:pt x="744" y="78"/>
                  </a:lnTo>
                  <a:lnTo>
                    <a:pt x="756" y="66"/>
                  </a:lnTo>
                  <a:lnTo>
                    <a:pt x="774" y="42"/>
                  </a:lnTo>
                  <a:lnTo>
                    <a:pt x="780" y="30"/>
                  </a:lnTo>
                  <a:lnTo>
                    <a:pt x="816" y="24"/>
                  </a:lnTo>
                  <a:lnTo>
                    <a:pt x="840" y="18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64" y="6"/>
                  </a:lnTo>
                  <a:lnTo>
                    <a:pt x="870" y="6"/>
                  </a:lnTo>
                  <a:lnTo>
                    <a:pt x="894" y="0"/>
                  </a:lnTo>
                  <a:lnTo>
                    <a:pt x="900" y="6"/>
                  </a:lnTo>
                  <a:lnTo>
                    <a:pt x="930" y="18"/>
                  </a:lnTo>
                  <a:lnTo>
                    <a:pt x="942" y="24"/>
                  </a:lnTo>
                  <a:lnTo>
                    <a:pt x="954" y="30"/>
                  </a:lnTo>
                  <a:lnTo>
                    <a:pt x="1026" y="60"/>
                  </a:lnTo>
                  <a:lnTo>
                    <a:pt x="1032" y="60"/>
                  </a:lnTo>
                  <a:lnTo>
                    <a:pt x="1038" y="66"/>
                  </a:lnTo>
                  <a:lnTo>
                    <a:pt x="1068" y="72"/>
                  </a:lnTo>
                  <a:lnTo>
                    <a:pt x="1098" y="84"/>
                  </a:lnTo>
                  <a:lnTo>
                    <a:pt x="1122" y="90"/>
                  </a:lnTo>
                  <a:lnTo>
                    <a:pt x="1122" y="96"/>
                  </a:lnTo>
                  <a:lnTo>
                    <a:pt x="1140" y="102"/>
                  </a:lnTo>
                  <a:lnTo>
                    <a:pt x="1182" y="114"/>
                  </a:lnTo>
                  <a:lnTo>
                    <a:pt x="1188" y="114"/>
                  </a:lnTo>
                  <a:lnTo>
                    <a:pt x="1200" y="120"/>
                  </a:lnTo>
                  <a:lnTo>
                    <a:pt x="1212" y="126"/>
                  </a:lnTo>
                  <a:lnTo>
                    <a:pt x="1224" y="126"/>
                  </a:lnTo>
                  <a:lnTo>
                    <a:pt x="1248" y="138"/>
                  </a:lnTo>
                  <a:lnTo>
                    <a:pt x="1272" y="150"/>
                  </a:lnTo>
                  <a:lnTo>
                    <a:pt x="1284" y="156"/>
                  </a:lnTo>
                  <a:lnTo>
                    <a:pt x="1290" y="162"/>
                  </a:lnTo>
                  <a:lnTo>
                    <a:pt x="1296" y="162"/>
                  </a:lnTo>
                  <a:lnTo>
                    <a:pt x="1308" y="156"/>
                  </a:lnTo>
                  <a:lnTo>
                    <a:pt x="1320" y="150"/>
                  </a:lnTo>
                  <a:lnTo>
                    <a:pt x="1326" y="150"/>
                  </a:lnTo>
                  <a:lnTo>
                    <a:pt x="1338" y="144"/>
                  </a:lnTo>
                  <a:lnTo>
                    <a:pt x="1362" y="144"/>
                  </a:lnTo>
                  <a:lnTo>
                    <a:pt x="1368" y="144"/>
                  </a:lnTo>
                  <a:lnTo>
                    <a:pt x="1374" y="144"/>
                  </a:lnTo>
                  <a:lnTo>
                    <a:pt x="1386" y="150"/>
                  </a:lnTo>
                  <a:lnTo>
                    <a:pt x="1392" y="150"/>
                  </a:lnTo>
                  <a:lnTo>
                    <a:pt x="1398" y="150"/>
                  </a:lnTo>
                  <a:lnTo>
                    <a:pt x="1416" y="162"/>
                  </a:lnTo>
                  <a:lnTo>
                    <a:pt x="1458" y="186"/>
                  </a:lnTo>
                  <a:lnTo>
                    <a:pt x="1464" y="186"/>
                  </a:lnTo>
                  <a:lnTo>
                    <a:pt x="1470" y="192"/>
                  </a:lnTo>
                  <a:lnTo>
                    <a:pt x="1482" y="204"/>
                  </a:lnTo>
                  <a:lnTo>
                    <a:pt x="1512" y="234"/>
                  </a:lnTo>
                  <a:lnTo>
                    <a:pt x="1554" y="276"/>
                  </a:lnTo>
                  <a:lnTo>
                    <a:pt x="1560" y="276"/>
                  </a:lnTo>
                  <a:lnTo>
                    <a:pt x="1566" y="282"/>
                  </a:lnTo>
                  <a:lnTo>
                    <a:pt x="1578" y="294"/>
                  </a:lnTo>
                  <a:lnTo>
                    <a:pt x="1602" y="318"/>
                  </a:lnTo>
                  <a:lnTo>
                    <a:pt x="1614" y="330"/>
                  </a:lnTo>
                  <a:lnTo>
                    <a:pt x="1620" y="336"/>
                  </a:lnTo>
                  <a:lnTo>
                    <a:pt x="1626" y="342"/>
                  </a:lnTo>
                  <a:lnTo>
                    <a:pt x="1632" y="354"/>
                  </a:lnTo>
                  <a:lnTo>
                    <a:pt x="1644" y="366"/>
                  </a:lnTo>
                  <a:lnTo>
                    <a:pt x="1650" y="378"/>
                  </a:lnTo>
                  <a:lnTo>
                    <a:pt x="1650" y="384"/>
                  </a:lnTo>
                  <a:lnTo>
                    <a:pt x="1656" y="384"/>
                  </a:lnTo>
                  <a:lnTo>
                    <a:pt x="1662" y="402"/>
                  </a:lnTo>
                  <a:lnTo>
                    <a:pt x="1668" y="408"/>
                  </a:lnTo>
                  <a:lnTo>
                    <a:pt x="1674" y="426"/>
                  </a:lnTo>
                  <a:lnTo>
                    <a:pt x="1686" y="438"/>
                  </a:lnTo>
                  <a:lnTo>
                    <a:pt x="1698" y="46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49" name="Freeform 34">
              <a:extLst>
                <a:ext uri="{FF2B5EF4-FFF2-40B4-BE49-F238E27FC236}">
                  <a16:creationId xmlns:a16="http://schemas.microsoft.com/office/drawing/2014/main" id="{94603F24-8CF7-4226-A433-00D18CA7D99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1988" y="1681402"/>
              <a:ext cx="869877" cy="1060101"/>
            </a:xfrm>
            <a:custGeom>
              <a:avLst/>
              <a:gdLst>
                <a:gd name="T0" fmla="*/ 4 w 1638"/>
                <a:gd name="T1" fmla="*/ 111 h 1998"/>
                <a:gd name="T2" fmla="*/ 6 w 1638"/>
                <a:gd name="T3" fmla="*/ 87 h 1998"/>
                <a:gd name="T4" fmla="*/ 10 w 1638"/>
                <a:gd name="T5" fmla="*/ 80 h 1998"/>
                <a:gd name="T6" fmla="*/ 10 w 1638"/>
                <a:gd name="T7" fmla="*/ 71 h 1998"/>
                <a:gd name="T8" fmla="*/ 9 w 1638"/>
                <a:gd name="T9" fmla="*/ 56 h 1998"/>
                <a:gd name="T10" fmla="*/ 8 w 1638"/>
                <a:gd name="T11" fmla="*/ 40 h 1998"/>
                <a:gd name="T12" fmla="*/ 20 w 1638"/>
                <a:gd name="T13" fmla="*/ 30 h 1998"/>
                <a:gd name="T14" fmla="*/ 30 w 1638"/>
                <a:gd name="T15" fmla="*/ 19 h 1998"/>
                <a:gd name="T16" fmla="*/ 35 w 1638"/>
                <a:gd name="T17" fmla="*/ 2 h 1998"/>
                <a:gd name="T18" fmla="*/ 47 w 1638"/>
                <a:gd name="T19" fmla="*/ 2 h 1998"/>
                <a:gd name="T20" fmla="*/ 56 w 1638"/>
                <a:gd name="T21" fmla="*/ 7 h 1998"/>
                <a:gd name="T22" fmla="*/ 67 w 1638"/>
                <a:gd name="T23" fmla="*/ 5 h 1998"/>
                <a:gd name="T24" fmla="*/ 65 w 1638"/>
                <a:gd name="T25" fmla="*/ 15 h 1998"/>
                <a:gd name="T26" fmla="*/ 74 w 1638"/>
                <a:gd name="T27" fmla="*/ 24 h 1998"/>
                <a:gd name="T28" fmla="*/ 73 w 1638"/>
                <a:gd name="T29" fmla="*/ 33 h 1998"/>
                <a:gd name="T30" fmla="*/ 74 w 1638"/>
                <a:gd name="T31" fmla="*/ 44 h 1998"/>
                <a:gd name="T32" fmla="*/ 68 w 1638"/>
                <a:gd name="T33" fmla="*/ 45 h 1998"/>
                <a:gd name="T34" fmla="*/ 63 w 1638"/>
                <a:gd name="T35" fmla="*/ 50 h 1998"/>
                <a:gd name="T36" fmla="*/ 61 w 1638"/>
                <a:gd name="T37" fmla="*/ 62 h 1998"/>
                <a:gd name="T38" fmla="*/ 53 w 1638"/>
                <a:gd name="T39" fmla="*/ 86 h 1998"/>
                <a:gd name="T40" fmla="*/ 59 w 1638"/>
                <a:gd name="T41" fmla="*/ 90 h 1998"/>
                <a:gd name="T42" fmla="*/ 65 w 1638"/>
                <a:gd name="T43" fmla="*/ 86 h 1998"/>
                <a:gd name="T44" fmla="*/ 74 w 1638"/>
                <a:gd name="T45" fmla="*/ 84 h 1998"/>
                <a:gd name="T46" fmla="*/ 79 w 1638"/>
                <a:gd name="T47" fmla="*/ 85 h 1998"/>
                <a:gd name="T48" fmla="*/ 84 w 1638"/>
                <a:gd name="T49" fmla="*/ 84 h 1998"/>
                <a:gd name="T50" fmla="*/ 91 w 1638"/>
                <a:gd name="T51" fmla="*/ 84 h 1998"/>
                <a:gd name="T52" fmla="*/ 94 w 1638"/>
                <a:gd name="T53" fmla="*/ 81 h 1998"/>
                <a:gd name="T54" fmla="*/ 100 w 1638"/>
                <a:gd name="T55" fmla="*/ 81 h 1998"/>
                <a:gd name="T56" fmla="*/ 102 w 1638"/>
                <a:gd name="T57" fmla="*/ 84 h 1998"/>
                <a:gd name="T58" fmla="*/ 108 w 1638"/>
                <a:gd name="T59" fmla="*/ 85 h 1998"/>
                <a:gd name="T60" fmla="*/ 113 w 1638"/>
                <a:gd name="T61" fmla="*/ 88 h 1998"/>
                <a:gd name="T62" fmla="*/ 116 w 1638"/>
                <a:gd name="T63" fmla="*/ 88 h 1998"/>
                <a:gd name="T64" fmla="*/ 123 w 1638"/>
                <a:gd name="T65" fmla="*/ 87 h 1998"/>
                <a:gd name="T66" fmla="*/ 128 w 1638"/>
                <a:gd name="T67" fmla="*/ 86 h 1998"/>
                <a:gd name="T68" fmla="*/ 132 w 1638"/>
                <a:gd name="T69" fmla="*/ 90 h 1998"/>
                <a:gd name="T70" fmla="*/ 138 w 1638"/>
                <a:gd name="T71" fmla="*/ 96 h 1998"/>
                <a:gd name="T72" fmla="*/ 138 w 1638"/>
                <a:gd name="T73" fmla="*/ 110 h 1998"/>
                <a:gd name="T74" fmla="*/ 137 w 1638"/>
                <a:gd name="T75" fmla="*/ 118 h 1998"/>
                <a:gd name="T76" fmla="*/ 133 w 1638"/>
                <a:gd name="T77" fmla="*/ 124 h 1998"/>
                <a:gd name="T78" fmla="*/ 122 w 1638"/>
                <a:gd name="T79" fmla="*/ 125 h 1998"/>
                <a:gd name="T80" fmla="*/ 116 w 1638"/>
                <a:gd name="T81" fmla="*/ 127 h 1998"/>
                <a:gd name="T82" fmla="*/ 108 w 1638"/>
                <a:gd name="T83" fmla="*/ 123 h 1998"/>
                <a:gd name="T84" fmla="*/ 109 w 1638"/>
                <a:gd name="T85" fmla="*/ 119 h 1998"/>
                <a:gd name="T86" fmla="*/ 104 w 1638"/>
                <a:gd name="T87" fmla="*/ 104 h 1998"/>
                <a:gd name="T88" fmla="*/ 94 w 1638"/>
                <a:gd name="T89" fmla="*/ 105 h 1998"/>
                <a:gd name="T90" fmla="*/ 88 w 1638"/>
                <a:gd name="T91" fmla="*/ 109 h 1998"/>
                <a:gd name="T92" fmla="*/ 76 w 1638"/>
                <a:gd name="T93" fmla="*/ 107 h 1998"/>
                <a:gd name="T94" fmla="*/ 72 w 1638"/>
                <a:gd name="T95" fmla="*/ 114 h 1998"/>
                <a:gd name="T96" fmla="*/ 86 w 1638"/>
                <a:gd name="T97" fmla="*/ 121 h 1998"/>
                <a:gd name="T98" fmla="*/ 87 w 1638"/>
                <a:gd name="T99" fmla="*/ 129 h 1998"/>
                <a:gd name="T100" fmla="*/ 86 w 1638"/>
                <a:gd name="T101" fmla="*/ 137 h 1998"/>
                <a:gd name="T102" fmla="*/ 79 w 1638"/>
                <a:gd name="T103" fmla="*/ 141 h 1998"/>
                <a:gd name="T104" fmla="*/ 73 w 1638"/>
                <a:gd name="T105" fmla="*/ 144 h 1998"/>
                <a:gd name="T106" fmla="*/ 72 w 1638"/>
                <a:gd name="T107" fmla="*/ 164 h 1998"/>
                <a:gd name="T108" fmla="*/ 68 w 1638"/>
                <a:gd name="T109" fmla="*/ 172 h 1998"/>
                <a:gd name="T110" fmla="*/ 59 w 1638"/>
                <a:gd name="T111" fmla="*/ 164 h 1998"/>
                <a:gd name="T112" fmla="*/ 65 w 1638"/>
                <a:gd name="T113" fmla="*/ 146 h 1998"/>
                <a:gd name="T114" fmla="*/ 69 w 1638"/>
                <a:gd name="T115" fmla="*/ 133 h 1998"/>
                <a:gd name="T116" fmla="*/ 61 w 1638"/>
                <a:gd name="T117" fmla="*/ 131 h 1998"/>
                <a:gd name="T118" fmla="*/ 43 w 1638"/>
                <a:gd name="T119" fmla="*/ 125 h 1998"/>
                <a:gd name="T120" fmla="*/ 23 w 1638"/>
                <a:gd name="T121" fmla="*/ 125 h 1998"/>
                <a:gd name="T122" fmla="*/ 17 w 1638"/>
                <a:gd name="T123" fmla="*/ 121 h 19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638"/>
                <a:gd name="T187" fmla="*/ 0 h 1998"/>
                <a:gd name="T188" fmla="*/ 1638 w 1638"/>
                <a:gd name="T189" fmla="*/ 1998 h 19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638" h="1998">
                  <a:moveTo>
                    <a:pt x="144" y="1380"/>
                  </a:moveTo>
                  <a:lnTo>
                    <a:pt x="150" y="1368"/>
                  </a:lnTo>
                  <a:lnTo>
                    <a:pt x="150" y="1362"/>
                  </a:lnTo>
                  <a:lnTo>
                    <a:pt x="150" y="1356"/>
                  </a:lnTo>
                  <a:lnTo>
                    <a:pt x="144" y="1356"/>
                  </a:lnTo>
                  <a:lnTo>
                    <a:pt x="138" y="1356"/>
                  </a:lnTo>
                  <a:lnTo>
                    <a:pt x="126" y="1356"/>
                  </a:lnTo>
                  <a:lnTo>
                    <a:pt x="114" y="1344"/>
                  </a:lnTo>
                  <a:lnTo>
                    <a:pt x="84" y="1320"/>
                  </a:lnTo>
                  <a:lnTo>
                    <a:pt x="54" y="1296"/>
                  </a:lnTo>
                  <a:lnTo>
                    <a:pt x="48" y="1290"/>
                  </a:lnTo>
                  <a:lnTo>
                    <a:pt x="42" y="1278"/>
                  </a:lnTo>
                  <a:lnTo>
                    <a:pt x="30" y="1272"/>
                  </a:lnTo>
                  <a:lnTo>
                    <a:pt x="0" y="1248"/>
                  </a:lnTo>
                  <a:lnTo>
                    <a:pt x="6" y="1230"/>
                  </a:lnTo>
                  <a:lnTo>
                    <a:pt x="12" y="1194"/>
                  </a:lnTo>
                  <a:lnTo>
                    <a:pt x="18" y="1170"/>
                  </a:lnTo>
                  <a:lnTo>
                    <a:pt x="30" y="1134"/>
                  </a:lnTo>
                  <a:lnTo>
                    <a:pt x="36" y="1086"/>
                  </a:lnTo>
                  <a:lnTo>
                    <a:pt x="42" y="1050"/>
                  </a:lnTo>
                  <a:lnTo>
                    <a:pt x="48" y="1044"/>
                  </a:lnTo>
                  <a:lnTo>
                    <a:pt x="54" y="1026"/>
                  </a:lnTo>
                  <a:lnTo>
                    <a:pt x="60" y="1014"/>
                  </a:lnTo>
                  <a:lnTo>
                    <a:pt x="66" y="1002"/>
                  </a:lnTo>
                  <a:lnTo>
                    <a:pt x="66" y="996"/>
                  </a:lnTo>
                  <a:lnTo>
                    <a:pt x="72" y="996"/>
                  </a:lnTo>
                  <a:lnTo>
                    <a:pt x="72" y="990"/>
                  </a:lnTo>
                  <a:lnTo>
                    <a:pt x="78" y="990"/>
                  </a:lnTo>
                  <a:lnTo>
                    <a:pt x="90" y="978"/>
                  </a:lnTo>
                  <a:lnTo>
                    <a:pt x="96" y="966"/>
                  </a:lnTo>
                  <a:lnTo>
                    <a:pt x="102" y="966"/>
                  </a:lnTo>
                  <a:lnTo>
                    <a:pt x="114" y="954"/>
                  </a:lnTo>
                  <a:lnTo>
                    <a:pt x="120" y="954"/>
                  </a:lnTo>
                  <a:lnTo>
                    <a:pt x="120" y="948"/>
                  </a:lnTo>
                  <a:lnTo>
                    <a:pt x="114" y="930"/>
                  </a:lnTo>
                  <a:lnTo>
                    <a:pt x="114" y="924"/>
                  </a:lnTo>
                  <a:lnTo>
                    <a:pt x="108" y="918"/>
                  </a:lnTo>
                  <a:lnTo>
                    <a:pt x="102" y="912"/>
                  </a:lnTo>
                  <a:lnTo>
                    <a:pt x="90" y="906"/>
                  </a:lnTo>
                  <a:lnTo>
                    <a:pt x="84" y="900"/>
                  </a:lnTo>
                  <a:lnTo>
                    <a:pt x="84" y="888"/>
                  </a:lnTo>
                  <a:lnTo>
                    <a:pt x="84" y="882"/>
                  </a:lnTo>
                  <a:lnTo>
                    <a:pt x="78" y="858"/>
                  </a:lnTo>
                  <a:lnTo>
                    <a:pt x="78" y="852"/>
                  </a:lnTo>
                  <a:lnTo>
                    <a:pt x="84" y="846"/>
                  </a:lnTo>
                  <a:lnTo>
                    <a:pt x="84" y="840"/>
                  </a:lnTo>
                  <a:lnTo>
                    <a:pt x="96" y="828"/>
                  </a:lnTo>
                  <a:lnTo>
                    <a:pt x="114" y="816"/>
                  </a:lnTo>
                  <a:lnTo>
                    <a:pt x="114" y="810"/>
                  </a:lnTo>
                  <a:lnTo>
                    <a:pt x="114" y="804"/>
                  </a:lnTo>
                  <a:lnTo>
                    <a:pt x="108" y="780"/>
                  </a:lnTo>
                  <a:lnTo>
                    <a:pt x="96" y="756"/>
                  </a:lnTo>
                  <a:lnTo>
                    <a:pt x="96" y="750"/>
                  </a:lnTo>
                  <a:lnTo>
                    <a:pt x="90" y="720"/>
                  </a:lnTo>
                  <a:lnTo>
                    <a:pt x="90" y="708"/>
                  </a:lnTo>
                  <a:lnTo>
                    <a:pt x="90" y="690"/>
                  </a:lnTo>
                  <a:lnTo>
                    <a:pt x="96" y="672"/>
                  </a:lnTo>
                  <a:lnTo>
                    <a:pt x="90" y="666"/>
                  </a:lnTo>
                  <a:lnTo>
                    <a:pt x="96" y="666"/>
                  </a:lnTo>
                  <a:lnTo>
                    <a:pt x="102" y="642"/>
                  </a:lnTo>
                  <a:lnTo>
                    <a:pt x="108" y="624"/>
                  </a:lnTo>
                  <a:lnTo>
                    <a:pt x="102" y="618"/>
                  </a:lnTo>
                  <a:lnTo>
                    <a:pt x="102" y="588"/>
                  </a:lnTo>
                  <a:lnTo>
                    <a:pt x="102" y="564"/>
                  </a:lnTo>
                  <a:lnTo>
                    <a:pt x="102" y="546"/>
                  </a:lnTo>
                  <a:lnTo>
                    <a:pt x="102" y="522"/>
                  </a:lnTo>
                  <a:lnTo>
                    <a:pt x="96" y="522"/>
                  </a:lnTo>
                  <a:lnTo>
                    <a:pt x="96" y="510"/>
                  </a:lnTo>
                  <a:lnTo>
                    <a:pt x="96" y="498"/>
                  </a:lnTo>
                  <a:lnTo>
                    <a:pt x="96" y="486"/>
                  </a:lnTo>
                  <a:lnTo>
                    <a:pt x="96" y="474"/>
                  </a:lnTo>
                  <a:lnTo>
                    <a:pt x="96" y="462"/>
                  </a:lnTo>
                  <a:lnTo>
                    <a:pt x="114" y="450"/>
                  </a:lnTo>
                  <a:lnTo>
                    <a:pt x="126" y="438"/>
                  </a:lnTo>
                  <a:lnTo>
                    <a:pt x="132" y="432"/>
                  </a:lnTo>
                  <a:lnTo>
                    <a:pt x="144" y="426"/>
                  </a:lnTo>
                  <a:lnTo>
                    <a:pt x="144" y="420"/>
                  </a:lnTo>
                  <a:lnTo>
                    <a:pt x="156" y="414"/>
                  </a:lnTo>
                  <a:lnTo>
                    <a:pt x="162" y="408"/>
                  </a:lnTo>
                  <a:lnTo>
                    <a:pt x="180" y="396"/>
                  </a:lnTo>
                  <a:lnTo>
                    <a:pt x="210" y="372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34" y="348"/>
                  </a:lnTo>
                  <a:lnTo>
                    <a:pt x="240" y="348"/>
                  </a:lnTo>
                  <a:lnTo>
                    <a:pt x="246" y="342"/>
                  </a:lnTo>
                  <a:lnTo>
                    <a:pt x="276" y="318"/>
                  </a:lnTo>
                  <a:lnTo>
                    <a:pt x="282" y="312"/>
                  </a:lnTo>
                  <a:lnTo>
                    <a:pt x="288" y="306"/>
                  </a:lnTo>
                  <a:lnTo>
                    <a:pt x="300" y="288"/>
                  </a:lnTo>
                  <a:lnTo>
                    <a:pt x="306" y="276"/>
                  </a:lnTo>
                  <a:lnTo>
                    <a:pt x="324" y="246"/>
                  </a:lnTo>
                  <a:lnTo>
                    <a:pt x="330" y="240"/>
                  </a:lnTo>
                  <a:lnTo>
                    <a:pt x="336" y="234"/>
                  </a:lnTo>
                  <a:lnTo>
                    <a:pt x="342" y="228"/>
                  </a:lnTo>
                  <a:lnTo>
                    <a:pt x="342" y="216"/>
                  </a:lnTo>
                  <a:lnTo>
                    <a:pt x="354" y="204"/>
                  </a:lnTo>
                  <a:lnTo>
                    <a:pt x="360" y="204"/>
                  </a:lnTo>
                  <a:lnTo>
                    <a:pt x="366" y="186"/>
                  </a:lnTo>
                  <a:lnTo>
                    <a:pt x="384" y="162"/>
                  </a:lnTo>
                  <a:lnTo>
                    <a:pt x="390" y="144"/>
                  </a:lnTo>
                  <a:lnTo>
                    <a:pt x="396" y="114"/>
                  </a:lnTo>
                  <a:lnTo>
                    <a:pt x="396" y="102"/>
                  </a:lnTo>
                  <a:lnTo>
                    <a:pt x="402" y="90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08" y="36"/>
                  </a:lnTo>
                  <a:lnTo>
                    <a:pt x="408" y="24"/>
                  </a:lnTo>
                  <a:lnTo>
                    <a:pt x="408" y="6"/>
                  </a:lnTo>
                  <a:lnTo>
                    <a:pt x="420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68" y="0"/>
                  </a:lnTo>
                  <a:lnTo>
                    <a:pt x="480" y="0"/>
                  </a:lnTo>
                  <a:lnTo>
                    <a:pt x="492" y="0"/>
                  </a:lnTo>
                  <a:lnTo>
                    <a:pt x="498" y="0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8" y="18"/>
                  </a:lnTo>
                  <a:lnTo>
                    <a:pt x="534" y="18"/>
                  </a:lnTo>
                  <a:lnTo>
                    <a:pt x="540" y="18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8" y="36"/>
                  </a:lnTo>
                  <a:lnTo>
                    <a:pt x="588" y="54"/>
                  </a:lnTo>
                  <a:lnTo>
                    <a:pt x="594" y="48"/>
                  </a:lnTo>
                  <a:lnTo>
                    <a:pt x="600" y="48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12" y="66"/>
                  </a:lnTo>
                  <a:lnTo>
                    <a:pt x="630" y="72"/>
                  </a:lnTo>
                  <a:lnTo>
                    <a:pt x="642" y="78"/>
                  </a:lnTo>
                  <a:lnTo>
                    <a:pt x="666" y="78"/>
                  </a:lnTo>
                  <a:lnTo>
                    <a:pt x="672" y="72"/>
                  </a:lnTo>
                  <a:lnTo>
                    <a:pt x="690" y="84"/>
                  </a:lnTo>
                  <a:lnTo>
                    <a:pt x="690" y="90"/>
                  </a:lnTo>
                  <a:lnTo>
                    <a:pt x="708" y="96"/>
                  </a:lnTo>
                  <a:lnTo>
                    <a:pt x="708" y="102"/>
                  </a:lnTo>
                  <a:lnTo>
                    <a:pt x="744" y="96"/>
                  </a:lnTo>
                  <a:lnTo>
                    <a:pt x="756" y="78"/>
                  </a:lnTo>
                  <a:lnTo>
                    <a:pt x="756" y="72"/>
                  </a:lnTo>
                  <a:lnTo>
                    <a:pt x="762" y="66"/>
                  </a:lnTo>
                  <a:lnTo>
                    <a:pt x="768" y="60"/>
                  </a:lnTo>
                  <a:lnTo>
                    <a:pt x="774" y="54"/>
                  </a:lnTo>
                  <a:lnTo>
                    <a:pt x="786" y="54"/>
                  </a:lnTo>
                  <a:lnTo>
                    <a:pt x="786" y="60"/>
                  </a:lnTo>
                  <a:lnTo>
                    <a:pt x="786" y="66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92" y="90"/>
                  </a:lnTo>
                  <a:lnTo>
                    <a:pt x="780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26"/>
                  </a:lnTo>
                  <a:lnTo>
                    <a:pt x="768" y="150"/>
                  </a:lnTo>
                  <a:lnTo>
                    <a:pt x="750" y="168"/>
                  </a:lnTo>
                  <a:lnTo>
                    <a:pt x="750" y="174"/>
                  </a:lnTo>
                  <a:lnTo>
                    <a:pt x="762" y="192"/>
                  </a:lnTo>
                  <a:lnTo>
                    <a:pt x="774" y="210"/>
                  </a:lnTo>
                  <a:lnTo>
                    <a:pt x="792" y="228"/>
                  </a:lnTo>
                  <a:lnTo>
                    <a:pt x="804" y="240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40" y="252"/>
                  </a:lnTo>
                  <a:lnTo>
                    <a:pt x="834" y="252"/>
                  </a:lnTo>
                  <a:lnTo>
                    <a:pt x="846" y="252"/>
                  </a:lnTo>
                  <a:lnTo>
                    <a:pt x="852" y="270"/>
                  </a:lnTo>
                  <a:lnTo>
                    <a:pt x="858" y="282"/>
                  </a:lnTo>
                  <a:lnTo>
                    <a:pt x="858" y="288"/>
                  </a:lnTo>
                  <a:lnTo>
                    <a:pt x="864" y="300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58" y="318"/>
                  </a:lnTo>
                  <a:lnTo>
                    <a:pt x="852" y="318"/>
                  </a:lnTo>
                  <a:lnTo>
                    <a:pt x="846" y="324"/>
                  </a:lnTo>
                  <a:lnTo>
                    <a:pt x="846" y="336"/>
                  </a:lnTo>
                  <a:lnTo>
                    <a:pt x="840" y="348"/>
                  </a:lnTo>
                  <a:lnTo>
                    <a:pt x="840" y="360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46" y="402"/>
                  </a:lnTo>
                  <a:lnTo>
                    <a:pt x="858" y="420"/>
                  </a:lnTo>
                  <a:lnTo>
                    <a:pt x="882" y="426"/>
                  </a:lnTo>
                  <a:lnTo>
                    <a:pt x="888" y="444"/>
                  </a:lnTo>
                  <a:lnTo>
                    <a:pt x="900" y="444"/>
                  </a:lnTo>
                  <a:lnTo>
                    <a:pt x="900" y="462"/>
                  </a:lnTo>
                  <a:lnTo>
                    <a:pt x="894" y="474"/>
                  </a:lnTo>
                  <a:lnTo>
                    <a:pt x="888" y="486"/>
                  </a:lnTo>
                  <a:lnTo>
                    <a:pt x="882" y="492"/>
                  </a:lnTo>
                  <a:lnTo>
                    <a:pt x="870" y="504"/>
                  </a:lnTo>
                  <a:lnTo>
                    <a:pt x="852" y="504"/>
                  </a:lnTo>
                  <a:lnTo>
                    <a:pt x="852" y="510"/>
                  </a:lnTo>
                  <a:lnTo>
                    <a:pt x="852" y="516"/>
                  </a:lnTo>
                  <a:lnTo>
                    <a:pt x="846" y="528"/>
                  </a:lnTo>
                  <a:lnTo>
                    <a:pt x="846" y="582"/>
                  </a:lnTo>
                  <a:lnTo>
                    <a:pt x="840" y="582"/>
                  </a:lnTo>
                  <a:lnTo>
                    <a:pt x="834" y="582"/>
                  </a:lnTo>
                  <a:lnTo>
                    <a:pt x="828" y="582"/>
                  </a:lnTo>
                  <a:lnTo>
                    <a:pt x="822" y="582"/>
                  </a:lnTo>
                  <a:lnTo>
                    <a:pt x="810" y="582"/>
                  </a:lnTo>
                  <a:lnTo>
                    <a:pt x="810" y="528"/>
                  </a:lnTo>
                  <a:lnTo>
                    <a:pt x="792" y="528"/>
                  </a:lnTo>
                  <a:lnTo>
                    <a:pt x="792" y="522"/>
                  </a:lnTo>
                  <a:lnTo>
                    <a:pt x="786" y="522"/>
                  </a:lnTo>
                  <a:lnTo>
                    <a:pt x="786" y="516"/>
                  </a:lnTo>
                  <a:lnTo>
                    <a:pt x="780" y="516"/>
                  </a:lnTo>
                  <a:lnTo>
                    <a:pt x="780" y="510"/>
                  </a:lnTo>
                  <a:lnTo>
                    <a:pt x="762" y="510"/>
                  </a:lnTo>
                  <a:lnTo>
                    <a:pt x="756" y="510"/>
                  </a:lnTo>
                  <a:lnTo>
                    <a:pt x="750" y="522"/>
                  </a:lnTo>
                  <a:lnTo>
                    <a:pt x="744" y="534"/>
                  </a:lnTo>
                  <a:lnTo>
                    <a:pt x="732" y="540"/>
                  </a:lnTo>
                  <a:lnTo>
                    <a:pt x="732" y="558"/>
                  </a:lnTo>
                  <a:lnTo>
                    <a:pt x="732" y="564"/>
                  </a:lnTo>
                  <a:lnTo>
                    <a:pt x="732" y="570"/>
                  </a:lnTo>
                  <a:lnTo>
                    <a:pt x="726" y="576"/>
                  </a:lnTo>
                  <a:lnTo>
                    <a:pt x="720" y="576"/>
                  </a:lnTo>
                  <a:lnTo>
                    <a:pt x="714" y="582"/>
                  </a:lnTo>
                  <a:lnTo>
                    <a:pt x="702" y="588"/>
                  </a:lnTo>
                  <a:lnTo>
                    <a:pt x="696" y="594"/>
                  </a:lnTo>
                  <a:lnTo>
                    <a:pt x="690" y="600"/>
                  </a:lnTo>
                  <a:lnTo>
                    <a:pt x="690" y="606"/>
                  </a:lnTo>
                  <a:lnTo>
                    <a:pt x="678" y="606"/>
                  </a:lnTo>
                  <a:lnTo>
                    <a:pt x="678" y="624"/>
                  </a:lnTo>
                  <a:lnTo>
                    <a:pt x="684" y="642"/>
                  </a:lnTo>
                  <a:lnTo>
                    <a:pt x="684" y="660"/>
                  </a:lnTo>
                  <a:lnTo>
                    <a:pt x="690" y="672"/>
                  </a:lnTo>
                  <a:lnTo>
                    <a:pt x="702" y="720"/>
                  </a:lnTo>
                  <a:lnTo>
                    <a:pt x="708" y="750"/>
                  </a:lnTo>
                  <a:lnTo>
                    <a:pt x="708" y="792"/>
                  </a:lnTo>
                  <a:lnTo>
                    <a:pt x="708" y="828"/>
                  </a:lnTo>
                  <a:lnTo>
                    <a:pt x="708" y="852"/>
                  </a:lnTo>
                  <a:lnTo>
                    <a:pt x="696" y="894"/>
                  </a:lnTo>
                  <a:lnTo>
                    <a:pt x="702" y="900"/>
                  </a:lnTo>
                  <a:lnTo>
                    <a:pt x="708" y="924"/>
                  </a:lnTo>
                  <a:lnTo>
                    <a:pt x="684" y="936"/>
                  </a:lnTo>
                  <a:lnTo>
                    <a:pt x="660" y="954"/>
                  </a:lnTo>
                  <a:lnTo>
                    <a:pt x="618" y="984"/>
                  </a:lnTo>
                  <a:lnTo>
                    <a:pt x="618" y="990"/>
                  </a:lnTo>
                  <a:lnTo>
                    <a:pt x="612" y="996"/>
                  </a:lnTo>
                  <a:lnTo>
                    <a:pt x="606" y="1002"/>
                  </a:lnTo>
                  <a:lnTo>
                    <a:pt x="618" y="1008"/>
                  </a:lnTo>
                  <a:lnTo>
                    <a:pt x="618" y="1014"/>
                  </a:lnTo>
                  <a:lnTo>
                    <a:pt x="624" y="1026"/>
                  </a:lnTo>
                  <a:lnTo>
                    <a:pt x="630" y="1026"/>
                  </a:lnTo>
                  <a:lnTo>
                    <a:pt x="636" y="1032"/>
                  </a:lnTo>
                  <a:lnTo>
                    <a:pt x="642" y="1032"/>
                  </a:lnTo>
                  <a:lnTo>
                    <a:pt x="642" y="1038"/>
                  </a:lnTo>
                  <a:lnTo>
                    <a:pt x="648" y="1044"/>
                  </a:lnTo>
                  <a:lnTo>
                    <a:pt x="666" y="1050"/>
                  </a:lnTo>
                  <a:lnTo>
                    <a:pt x="678" y="1038"/>
                  </a:lnTo>
                  <a:lnTo>
                    <a:pt x="684" y="1038"/>
                  </a:lnTo>
                  <a:lnTo>
                    <a:pt x="684" y="1032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20"/>
                  </a:lnTo>
                  <a:lnTo>
                    <a:pt x="708" y="1014"/>
                  </a:lnTo>
                  <a:lnTo>
                    <a:pt x="720" y="1020"/>
                  </a:lnTo>
                  <a:lnTo>
                    <a:pt x="720" y="1014"/>
                  </a:lnTo>
                  <a:lnTo>
                    <a:pt x="726" y="1008"/>
                  </a:lnTo>
                  <a:lnTo>
                    <a:pt x="732" y="1008"/>
                  </a:lnTo>
                  <a:lnTo>
                    <a:pt x="738" y="1008"/>
                  </a:lnTo>
                  <a:lnTo>
                    <a:pt x="744" y="1002"/>
                  </a:lnTo>
                  <a:lnTo>
                    <a:pt x="744" y="996"/>
                  </a:lnTo>
                  <a:lnTo>
                    <a:pt x="750" y="996"/>
                  </a:lnTo>
                  <a:lnTo>
                    <a:pt x="756" y="1002"/>
                  </a:lnTo>
                  <a:lnTo>
                    <a:pt x="762" y="1002"/>
                  </a:lnTo>
                  <a:lnTo>
                    <a:pt x="768" y="996"/>
                  </a:lnTo>
                  <a:lnTo>
                    <a:pt x="780" y="996"/>
                  </a:lnTo>
                  <a:lnTo>
                    <a:pt x="786" y="996"/>
                  </a:lnTo>
                  <a:lnTo>
                    <a:pt x="816" y="990"/>
                  </a:lnTo>
                  <a:lnTo>
                    <a:pt x="828" y="990"/>
                  </a:lnTo>
                  <a:lnTo>
                    <a:pt x="834" y="990"/>
                  </a:lnTo>
                  <a:lnTo>
                    <a:pt x="840" y="984"/>
                  </a:lnTo>
                  <a:lnTo>
                    <a:pt x="852" y="978"/>
                  </a:lnTo>
                  <a:lnTo>
                    <a:pt x="852" y="972"/>
                  </a:lnTo>
                  <a:lnTo>
                    <a:pt x="858" y="972"/>
                  </a:lnTo>
                  <a:lnTo>
                    <a:pt x="864" y="966"/>
                  </a:lnTo>
                  <a:lnTo>
                    <a:pt x="870" y="966"/>
                  </a:lnTo>
                  <a:lnTo>
                    <a:pt x="876" y="966"/>
                  </a:lnTo>
                  <a:lnTo>
                    <a:pt x="882" y="960"/>
                  </a:lnTo>
                  <a:lnTo>
                    <a:pt x="888" y="960"/>
                  </a:lnTo>
                  <a:lnTo>
                    <a:pt x="894" y="960"/>
                  </a:lnTo>
                  <a:lnTo>
                    <a:pt x="894" y="966"/>
                  </a:lnTo>
                  <a:lnTo>
                    <a:pt x="894" y="978"/>
                  </a:lnTo>
                  <a:lnTo>
                    <a:pt x="894" y="984"/>
                  </a:lnTo>
                  <a:lnTo>
                    <a:pt x="900" y="984"/>
                  </a:lnTo>
                  <a:lnTo>
                    <a:pt x="906" y="978"/>
                  </a:lnTo>
                  <a:lnTo>
                    <a:pt x="912" y="972"/>
                  </a:lnTo>
                  <a:lnTo>
                    <a:pt x="918" y="978"/>
                  </a:lnTo>
                  <a:lnTo>
                    <a:pt x="924" y="978"/>
                  </a:lnTo>
                  <a:lnTo>
                    <a:pt x="924" y="972"/>
                  </a:lnTo>
                  <a:lnTo>
                    <a:pt x="924" y="966"/>
                  </a:lnTo>
                  <a:lnTo>
                    <a:pt x="930" y="966"/>
                  </a:lnTo>
                  <a:lnTo>
                    <a:pt x="948" y="966"/>
                  </a:lnTo>
                  <a:lnTo>
                    <a:pt x="954" y="966"/>
                  </a:lnTo>
                  <a:lnTo>
                    <a:pt x="954" y="960"/>
                  </a:lnTo>
                  <a:lnTo>
                    <a:pt x="960" y="960"/>
                  </a:lnTo>
                  <a:lnTo>
                    <a:pt x="966" y="960"/>
                  </a:lnTo>
                  <a:lnTo>
                    <a:pt x="966" y="966"/>
                  </a:lnTo>
                  <a:lnTo>
                    <a:pt x="978" y="972"/>
                  </a:lnTo>
                  <a:lnTo>
                    <a:pt x="978" y="978"/>
                  </a:lnTo>
                  <a:lnTo>
                    <a:pt x="978" y="984"/>
                  </a:lnTo>
                  <a:lnTo>
                    <a:pt x="984" y="978"/>
                  </a:lnTo>
                  <a:lnTo>
                    <a:pt x="990" y="978"/>
                  </a:lnTo>
                  <a:lnTo>
                    <a:pt x="996" y="984"/>
                  </a:lnTo>
                  <a:lnTo>
                    <a:pt x="1002" y="990"/>
                  </a:lnTo>
                  <a:lnTo>
                    <a:pt x="1008" y="972"/>
                  </a:lnTo>
                  <a:lnTo>
                    <a:pt x="1026" y="972"/>
                  </a:lnTo>
                  <a:lnTo>
                    <a:pt x="1032" y="972"/>
                  </a:lnTo>
                  <a:lnTo>
                    <a:pt x="1038" y="972"/>
                  </a:lnTo>
                  <a:lnTo>
                    <a:pt x="1050" y="972"/>
                  </a:lnTo>
                  <a:lnTo>
                    <a:pt x="1056" y="972"/>
                  </a:lnTo>
                  <a:lnTo>
                    <a:pt x="1062" y="966"/>
                  </a:lnTo>
                  <a:lnTo>
                    <a:pt x="1074" y="966"/>
                  </a:lnTo>
                  <a:lnTo>
                    <a:pt x="1074" y="960"/>
                  </a:lnTo>
                  <a:lnTo>
                    <a:pt x="1080" y="954"/>
                  </a:lnTo>
                  <a:lnTo>
                    <a:pt x="1080" y="948"/>
                  </a:lnTo>
                  <a:lnTo>
                    <a:pt x="1074" y="948"/>
                  </a:lnTo>
                  <a:lnTo>
                    <a:pt x="1068" y="948"/>
                  </a:lnTo>
                  <a:lnTo>
                    <a:pt x="1062" y="942"/>
                  </a:lnTo>
                  <a:lnTo>
                    <a:pt x="1068" y="936"/>
                  </a:lnTo>
                  <a:lnTo>
                    <a:pt x="1074" y="936"/>
                  </a:lnTo>
                  <a:lnTo>
                    <a:pt x="1080" y="936"/>
                  </a:lnTo>
                  <a:lnTo>
                    <a:pt x="1086" y="942"/>
                  </a:lnTo>
                  <a:lnTo>
                    <a:pt x="1092" y="942"/>
                  </a:lnTo>
                  <a:lnTo>
                    <a:pt x="1098" y="948"/>
                  </a:lnTo>
                  <a:lnTo>
                    <a:pt x="1104" y="954"/>
                  </a:lnTo>
                  <a:lnTo>
                    <a:pt x="1110" y="954"/>
                  </a:lnTo>
                  <a:lnTo>
                    <a:pt x="1116" y="948"/>
                  </a:lnTo>
                  <a:lnTo>
                    <a:pt x="1122" y="942"/>
                  </a:lnTo>
                  <a:lnTo>
                    <a:pt x="1128" y="942"/>
                  </a:lnTo>
                  <a:lnTo>
                    <a:pt x="1134" y="942"/>
                  </a:lnTo>
                  <a:lnTo>
                    <a:pt x="1140" y="948"/>
                  </a:lnTo>
                  <a:lnTo>
                    <a:pt x="1146" y="942"/>
                  </a:lnTo>
                  <a:lnTo>
                    <a:pt x="1152" y="942"/>
                  </a:lnTo>
                  <a:lnTo>
                    <a:pt x="1152" y="930"/>
                  </a:lnTo>
                  <a:lnTo>
                    <a:pt x="1164" y="936"/>
                  </a:lnTo>
                  <a:lnTo>
                    <a:pt x="1158" y="942"/>
                  </a:lnTo>
                  <a:lnTo>
                    <a:pt x="1158" y="948"/>
                  </a:lnTo>
                  <a:lnTo>
                    <a:pt x="1146" y="954"/>
                  </a:lnTo>
                  <a:lnTo>
                    <a:pt x="1152" y="954"/>
                  </a:lnTo>
                  <a:lnTo>
                    <a:pt x="1158" y="954"/>
                  </a:lnTo>
                  <a:lnTo>
                    <a:pt x="1158" y="948"/>
                  </a:lnTo>
                  <a:lnTo>
                    <a:pt x="1164" y="948"/>
                  </a:lnTo>
                  <a:lnTo>
                    <a:pt x="1170" y="948"/>
                  </a:lnTo>
                  <a:lnTo>
                    <a:pt x="1176" y="954"/>
                  </a:lnTo>
                  <a:lnTo>
                    <a:pt x="1176" y="966"/>
                  </a:lnTo>
                  <a:lnTo>
                    <a:pt x="1182" y="972"/>
                  </a:lnTo>
                  <a:lnTo>
                    <a:pt x="1188" y="972"/>
                  </a:lnTo>
                  <a:lnTo>
                    <a:pt x="1182" y="984"/>
                  </a:lnTo>
                  <a:lnTo>
                    <a:pt x="1188" y="984"/>
                  </a:lnTo>
                  <a:lnTo>
                    <a:pt x="1194" y="984"/>
                  </a:lnTo>
                  <a:lnTo>
                    <a:pt x="1200" y="984"/>
                  </a:lnTo>
                  <a:lnTo>
                    <a:pt x="1212" y="984"/>
                  </a:lnTo>
                  <a:lnTo>
                    <a:pt x="1218" y="990"/>
                  </a:lnTo>
                  <a:lnTo>
                    <a:pt x="1224" y="990"/>
                  </a:lnTo>
                  <a:lnTo>
                    <a:pt x="1224" y="984"/>
                  </a:lnTo>
                  <a:lnTo>
                    <a:pt x="1230" y="990"/>
                  </a:lnTo>
                  <a:lnTo>
                    <a:pt x="1236" y="984"/>
                  </a:lnTo>
                  <a:lnTo>
                    <a:pt x="1242" y="984"/>
                  </a:lnTo>
                  <a:lnTo>
                    <a:pt x="1248" y="990"/>
                  </a:lnTo>
                  <a:lnTo>
                    <a:pt x="1254" y="990"/>
                  </a:lnTo>
                  <a:lnTo>
                    <a:pt x="1254" y="996"/>
                  </a:lnTo>
                  <a:lnTo>
                    <a:pt x="1254" y="1002"/>
                  </a:lnTo>
                  <a:lnTo>
                    <a:pt x="1254" y="1008"/>
                  </a:lnTo>
                  <a:lnTo>
                    <a:pt x="1260" y="1014"/>
                  </a:lnTo>
                  <a:lnTo>
                    <a:pt x="1266" y="1014"/>
                  </a:lnTo>
                  <a:lnTo>
                    <a:pt x="1272" y="1014"/>
                  </a:lnTo>
                  <a:lnTo>
                    <a:pt x="1278" y="1020"/>
                  </a:lnTo>
                  <a:lnTo>
                    <a:pt x="1284" y="1020"/>
                  </a:lnTo>
                  <a:lnTo>
                    <a:pt x="1290" y="1014"/>
                  </a:lnTo>
                  <a:lnTo>
                    <a:pt x="1290" y="1008"/>
                  </a:lnTo>
                  <a:lnTo>
                    <a:pt x="1296" y="1008"/>
                  </a:lnTo>
                  <a:lnTo>
                    <a:pt x="1302" y="1014"/>
                  </a:lnTo>
                  <a:lnTo>
                    <a:pt x="1308" y="1014"/>
                  </a:lnTo>
                  <a:lnTo>
                    <a:pt x="1314" y="1008"/>
                  </a:lnTo>
                  <a:lnTo>
                    <a:pt x="1320" y="1008"/>
                  </a:lnTo>
                  <a:lnTo>
                    <a:pt x="1320" y="1002"/>
                  </a:lnTo>
                  <a:lnTo>
                    <a:pt x="1320" y="996"/>
                  </a:lnTo>
                  <a:lnTo>
                    <a:pt x="1332" y="1002"/>
                  </a:lnTo>
                  <a:lnTo>
                    <a:pt x="1332" y="1008"/>
                  </a:lnTo>
                  <a:lnTo>
                    <a:pt x="1326" y="1014"/>
                  </a:lnTo>
                  <a:lnTo>
                    <a:pt x="1332" y="1014"/>
                  </a:lnTo>
                  <a:lnTo>
                    <a:pt x="1338" y="1014"/>
                  </a:lnTo>
                  <a:lnTo>
                    <a:pt x="1338" y="1008"/>
                  </a:lnTo>
                  <a:lnTo>
                    <a:pt x="1344" y="1008"/>
                  </a:lnTo>
                  <a:lnTo>
                    <a:pt x="1350" y="1008"/>
                  </a:lnTo>
                  <a:lnTo>
                    <a:pt x="1356" y="1014"/>
                  </a:lnTo>
                  <a:lnTo>
                    <a:pt x="1356" y="1008"/>
                  </a:lnTo>
                  <a:lnTo>
                    <a:pt x="1362" y="1014"/>
                  </a:lnTo>
                  <a:lnTo>
                    <a:pt x="1392" y="1014"/>
                  </a:lnTo>
                  <a:lnTo>
                    <a:pt x="1398" y="1014"/>
                  </a:lnTo>
                  <a:lnTo>
                    <a:pt x="1404" y="1008"/>
                  </a:lnTo>
                  <a:lnTo>
                    <a:pt x="1404" y="1014"/>
                  </a:lnTo>
                  <a:lnTo>
                    <a:pt x="1410" y="1008"/>
                  </a:lnTo>
                  <a:lnTo>
                    <a:pt x="1416" y="1008"/>
                  </a:lnTo>
                  <a:lnTo>
                    <a:pt x="1422" y="1002"/>
                  </a:lnTo>
                  <a:lnTo>
                    <a:pt x="1428" y="1002"/>
                  </a:lnTo>
                  <a:lnTo>
                    <a:pt x="1428" y="996"/>
                  </a:lnTo>
                  <a:lnTo>
                    <a:pt x="1428" y="990"/>
                  </a:lnTo>
                  <a:lnTo>
                    <a:pt x="1440" y="1002"/>
                  </a:lnTo>
                  <a:lnTo>
                    <a:pt x="1446" y="1002"/>
                  </a:lnTo>
                  <a:lnTo>
                    <a:pt x="1452" y="1002"/>
                  </a:lnTo>
                  <a:lnTo>
                    <a:pt x="1446" y="996"/>
                  </a:lnTo>
                  <a:lnTo>
                    <a:pt x="1452" y="996"/>
                  </a:lnTo>
                  <a:lnTo>
                    <a:pt x="1458" y="996"/>
                  </a:lnTo>
                  <a:lnTo>
                    <a:pt x="1464" y="996"/>
                  </a:lnTo>
                  <a:lnTo>
                    <a:pt x="1464" y="1002"/>
                  </a:lnTo>
                  <a:lnTo>
                    <a:pt x="1476" y="1014"/>
                  </a:lnTo>
                  <a:lnTo>
                    <a:pt x="1476" y="1008"/>
                  </a:lnTo>
                  <a:lnTo>
                    <a:pt x="1482" y="1008"/>
                  </a:lnTo>
                  <a:lnTo>
                    <a:pt x="1488" y="1020"/>
                  </a:lnTo>
                  <a:lnTo>
                    <a:pt x="1494" y="1020"/>
                  </a:lnTo>
                  <a:lnTo>
                    <a:pt x="1500" y="1014"/>
                  </a:lnTo>
                  <a:lnTo>
                    <a:pt x="1500" y="1020"/>
                  </a:lnTo>
                  <a:lnTo>
                    <a:pt x="1506" y="1026"/>
                  </a:lnTo>
                  <a:lnTo>
                    <a:pt x="1512" y="1032"/>
                  </a:lnTo>
                  <a:lnTo>
                    <a:pt x="1518" y="1032"/>
                  </a:lnTo>
                  <a:lnTo>
                    <a:pt x="1518" y="1038"/>
                  </a:lnTo>
                  <a:lnTo>
                    <a:pt x="1518" y="1044"/>
                  </a:lnTo>
                  <a:lnTo>
                    <a:pt x="1524" y="1044"/>
                  </a:lnTo>
                  <a:lnTo>
                    <a:pt x="1524" y="1050"/>
                  </a:lnTo>
                  <a:lnTo>
                    <a:pt x="1530" y="1056"/>
                  </a:lnTo>
                  <a:lnTo>
                    <a:pt x="1548" y="1062"/>
                  </a:lnTo>
                  <a:lnTo>
                    <a:pt x="1560" y="1074"/>
                  </a:lnTo>
                  <a:lnTo>
                    <a:pt x="1560" y="1080"/>
                  </a:lnTo>
                  <a:lnTo>
                    <a:pt x="1560" y="1086"/>
                  </a:lnTo>
                  <a:lnTo>
                    <a:pt x="1566" y="1086"/>
                  </a:lnTo>
                  <a:lnTo>
                    <a:pt x="1572" y="1098"/>
                  </a:lnTo>
                  <a:lnTo>
                    <a:pt x="1572" y="1104"/>
                  </a:lnTo>
                  <a:lnTo>
                    <a:pt x="1584" y="1110"/>
                  </a:lnTo>
                  <a:lnTo>
                    <a:pt x="1590" y="1116"/>
                  </a:lnTo>
                  <a:lnTo>
                    <a:pt x="1596" y="1116"/>
                  </a:lnTo>
                  <a:lnTo>
                    <a:pt x="1608" y="1122"/>
                  </a:lnTo>
                  <a:lnTo>
                    <a:pt x="1620" y="1140"/>
                  </a:lnTo>
                  <a:lnTo>
                    <a:pt x="1626" y="1158"/>
                  </a:lnTo>
                  <a:lnTo>
                    <a:pt x="1638" y="1200"/>
                  </a:lnTo>
                  <a:lnTo>
                    <a:pt x="1638" y="1218"/>
                  </a:lnTo>
                  <a:lnTo>
                    <a:pt x="1620" y="1230"/>
                  </a:lnTo>
                  <a:lnTo>
                    <a:pt x="1554" y="1230"/>
                  </a:lnTo>
                  <a:lnTo>
                    <a:pt x="1560" y="1248"/>
                  </a:lnTo>
                  <a:lnTo>
                    <a:pt x="1584" y="1260"/>
                  </a:lnTo>
                  <a:lnTo>
                    <a:pt x="1584" y="1266"/>
                  </a:lnTo>
                  <a:lnTo>
                    <a:pt x="1578" y="1272"/>
                  </a:lnTo>
                  <a:lnTo>
                    <a:pt x="1572" y="1272"/>
                  </a:lnTo>
                  <a:lnTo>
                    <a:pt x="1566" y="1278"/>
                  </a:lnTo>
                  <a:lnTo>
                    <a:pt x="1566" y="1284"/>
                  </a:lnTo>
                  <a:lnTo>
                    <a:pt x="1560" y="1290"/>
                  </a:lnTo>
                  <a:lnTo>
                    <a:pt x="1554" y="1290"/>
                  </a:lnTo>
                  <a:lnTo>
                    <a:pt x="1554" y="1296"/>
                  </a:lnTo>
                  <a:lnTo>
                    <a:pt x="1554" y="1302"/>
                  </a:lnTo>
                  <a:lnTo>
                    <a:pt x="1560" y="1332"/>
                  </a:lnTo>
                  <a:lnTo>
                    <a:pt x="1566" y="1356"/>
                  </a:lnTo>
                  <a:lnTo>
                    <a:pt x="1572" y="1356"/>
                  </a:lnTo>
                  <a:lnTo>
                    <a:pt x="1572" y="1362"/>
                  </a:lnTo>
                  <a:lnTo>
                    <a:pt x="1578" y="1362"/>
                  </a:lnTo>
                  <a:lnTo>
                    <a:pt x="1560" y="1374"/>
                  </a:lnTo>
                  <a:lnTo>
                    <a:pt x="1560" y="1380"/>
                  </a:lnTo>
                  <a:lnTo>
                    <a:pt x="1548" y="1380"/>
                  </a:lnTo>
                  <a:lnTo>
                    <a:pt x="1548" y="1386"/>
                  </a:lnTo>
                  <a:lnTo>
                    <a:pt x="1548" y="1392"/>
                  </a:lnTo>
                  <a:lnTo>
                    <a:pt x="1542" y="1410"/>
                  </a:lnTo>
                  <a:lnTo>
                    <a:pt x="1536" y="1422"/>
                  </a:lnTo>
                  <a:lnTo>
                    <a:pt x="1536" y="1428"/>
                  </a:lnTo>
                  <a:lnTo>
                    <a:pt x="1530" y="1440"/>
                  </a:lnTo>
                  <a:lnTo>
                    <a:pt x="1524" y="1434"/>
                  </a:lnTo>
                  <a:lnTo>
                    <a:pt x="1524" y="1428"/>
                  </a:lnTo>
                  <a:lnTo>
                    <a:pt x="1524" y="1422"/>
                  </a:lnTo>
                  <a:lnTo>
                    <a:pt x="1512" y="1410"/>
                  </a:lnTo>
                  <a:lnTo>
                    <a:pt x="1506" y="1404"/>
                  </a:lnTo>
                  <a:lnTo>
                    <a:pt x="1506" y="1398"/>
                  </a:lnTo>
                  <a:lnTo>
                    <a:pt x="1494" y="1392"/>
                  </a:lnTo>
                  <a:lnTo>
                    <a:pt x="1476" y="1404"/>
                  </a:lnTo>
                  <a:lnTo>
                    <a:pt x="1464" y="1416"/>
                  </a:lnTo>
                  <a:lnTo>
                    <a:pt x="1458" y="1428"/>
                  </a:lnTo>
                  <a:lnTo>
                    <a:pt x="1446" y="1434"/>
                  </a:lnTo>
                  <a:lnTo>
                    <a:pt x="1410" y="1440"/>
                  </a:lnTo>
                  <a:lnTo>
                    <a:pt x="1398" y="1440"/>
                  </a:lnTo>
                  <a:lnTo>
                    <a:pt x="1398" y="1446"/>
                  </a:lnTo>
                  <a:lnTo>
                    <a:pt x="1386" y="1446"/>
                  </a:lnTo>
                  <a:lnTo>
                    <a:pt x="1380" y="1440"/>
                  </a:lnTo>
                  <a:lnTo>
                    <a:pt x="1368" y="1440"/>
                  </a:lnTo>
                  <a:lnTo>
                    <a:pt x="1368" y="1446"/>
                  </a:lnTo>
                  <a:lnTo>
                    <a:pt x="1356" y="1446"/>
                  </a:lnTo>
                  <a:lnTo>
                    <a:pt x="1350" y="1452"/>
                  </a:lnTo>
                  <a:lnTo>
                    <a:pt x="1338" y="1452"/>
                  </a:lnTo>
                  <a:lnTo>
                    <a:pt x="1338" y="1458"/>
                  </a:lnTo>
                  <a:lnTo>
                    <a:pt x="1332" y="1458"/>
                  </a:lnTo>
                  <a:lnTo>
                    <a:pt x="1332" y="1464"/>
                  </a:lnTo>
                  <a:lnTo>
                    <a:pt x="1332" y="1470"/>
                  </a:lnTo>
                  <a:lnTo>
                    <a:pt x="1326" y="1470"/>
                  </a:lnTo>
                  <a:lnTo>
                    <a:pt x="1320" y="1470"/>
                  </a:lnTo>
                  <a:lnTo>
                    <a:pt x="1314" y="1470"/>
                  </a:lnTo>
                  <a:lnTo>
                    <a:pt x="1314" y="1464"/>
                  </a:lnTo>
                  <a:lnTo>
                    <a:pt x="1308" y="1464"/>
                  </a:lnTo>
                  <a:lnTo>
                    <a:pt x="1308" y="1452"/>
                  </a:lnTo>
                  <a:lnTo>
                    <a:pt x="1284" y="1458"/>
                  </a:lnTo>
                  <a:lnTo>
                    <a:pt x="1272" y="1458"/>
                  </a:lnTo>
                  <a:lnTo>
                    <a:pt x="1272" y="1464"/>
                  </a:lnTo>
                  <a:lnTo>
                    <a:pt x="1260" y="1464"/>
                  </a:lnTo>
                  <a:lnTo>
                    <a:pt x="1254" y="1464"/>
                  </a:lnTo>
                  <a:lnTo>
                    <a:pt x="1242" y="1422"/>
                  </a:lnTo>
                  <a:lnTo>
                    <a:pt x="1242" y="1416"/>
                  </a:lnTo>
                  <a:lnTo>
                    <a:pt x="1242" y="1410"/>
                  </a:lnTo>
                  <a:lnTo>
                    <a:pt x="1248" y="1410"/>
                  </a:lnTo>
                  <a:lnTo>
                    <a:pt x="1242" y="1410"/>
                  </a:lnTo>
                  <a:lnTo>
                    <a:pt x="1242" y="1404"/>
                  </a:lnTo>
                  <a:lnTo>
                    <a:pt x="1242" y="1398"/>
                  </a:lnTo>
                  <a:lnTo>
                    <a:pt x="1248" y="1392"/>
                  </a:lnTo>
                  <a:lnTo>
                    <a:pt x="1248" y="1386"/>
                  </a:lnTo>
                  <a:lnTo>
                    <a:pt x="1242" y="1380"/>
                  </a:lnTo>
                  <a:lnTo>
                    <a:pt x="1248" y="1380"/>
                  </a:lnTo>
                  <a:lnTo>
                    <a:pt x="1248" y="1374"/>
                  </a:lnTo>
                  <a:lnTo>
                    <a:pt x="1248" y="1368"/>
                  </a:lnTo>
                  <a:lnTo>
                    <a:pt x="1254" y="1368"/>
                  </a:lnTo>
                  <a:lnTo>
                    <a:pt x="1254" y="1362"/>
                  </a:lnTo>
                  <a:lnTo>
                    <a:pt x="1248" y="1356"/>
                  </a:lnTo>
                  <a:lnTo>
                    <a:pt x="1254" y="1356"/>
                  </a:lnTo>
                  <a:lnTo>
                    <a:pt x="1254" y="1344"/>
                  </a:lnTo>
                  <a:lnTo>
                    <a:pt x="1242" y="1338"/>
                  </a:lnTo>
                  <a:lnTo>
                    <a:pt x="1242" y="1326"/>
                  </a:lnTo>
                  <a:lnTo>
                    <a:pt x="1230" y="1326"/>
                  </a:lnTo>
                  <a:lnTo>
                    <a:pt x="1230" y="1314"/>
                  </a:lnTo>
                  <a:lnTo>
                    <a:pt x="1218" y="1314"/>
                  </a:lnTo>
                  <a:lnTo>
                    <a:pt x="1200" y="1272"/>
                  </a:lnTo>
                  <a:lnTo>
                    <a:pt x="1194" y="1242"/>
                  </a:lnTo>
                  <a:lnTo>
                    <a:pt x="1194" y="1206"/>
                  </a:lnTo>
                  <a:lnTo>
                    <a:pt x="1182" y="1200"/>
                  </a:lnTo>
                  <a:lnTo>
                    <a:pt x="1164" y="1206"/>
                  </a:lnTo>
                  <a:lnTo>
                    <a:pt x="1146" y="1212"/>
                  </a:lnTo>
                  <a:lnTo>
                    <a:pt x="1146" y="1218"/>
                  </a:lnTo>
                  <a:lnTo>
                    <a:pt x="1134" y="1224"/>
                  </a:lnTo>
                  <a:lnTo>
                    <a:pt x="1140" y="1260"/>
                  </a:lnTo>
                  <a:lnTo>
                    <a:pt x="1134" y="1266"/>
                  </a:lnTo>
                  <a:lnTo>
                    <a:pt x="1122" y="1266"/>
                  </a:lnTo>
                  <a:lnTo>
                    <a:pt x="1110" y="1236"/>
                  </a:lnTo>
                  <a:lnTo>
                    <a:pt x="1110" y="1224"/>
                  </a:lnTo>
                  <a:lnTo>
                    <a:pt x="1086" y="1224"/>
                  </a:lnTo>
                  <a:lnTo>
                    <a:pt x="1086" y="1212"/>
                  </a:lnTo>
                  <a:lnTo>
                    <a:pt x="1074" y="1212"/>
                  </a:lnTo>
                  <a:lnTo>
                    <a:pt x="1050" y="1212"/>
                  </a:lnTo>
                  <a:lnTo>
                    <a:pt x="1056" y="1218"/>
                  </a:lnTo>
                  <a:lnTo>
                    <a:pt x="1050" y="1272"/>
                  </a:lnTo>
                  <a:lnTo>
                    <a:pt x="1044" y="1272"/>
                  </a:lnTo>
                  <a:lnTo>
                    <a:pt x="1038" y="1284"/>
                  </a:lnTo>
                  <a:lnTo>
                    <a:pt x="1032" y="1302"/>
                  </a:lnTo>
                  <a:lnTo>
                    <a:pt x="1014" y="1302"/>
                  </a:lnTo>
                  <a:lnTo>
                    <a:pt x="1020" y="1284"/>
                  </a:lnTo>
                  <a:lnTo>
                    <a:pt x="1026" y="1278"/>
                  </a:lnTo>
                  <a:lnTo>
                    <a:pt x="1026" y="1266"/>
                  </a:lnTo>
                  <a:lnTo>
                    <a:pt x="1014" y="1260"/>
                  </a:lnTo>
                  <a:lnTo>
                    <a:pt x="1014" y="1272"/>
                  </a:lnTo>
                  <a:lnTo>
                    <a:pt x="990" y="1278"/>
                  </a:lnTo>
                  <a:lnTo>
                    <a:pt x="990" y="1254"/>
                  </a:lnTo>
                  <a:lnTo>
                    <a:pt x="984" y="1254"/>
                  </a:lnTo>
                  <a:lnTo>
                    <a:pt x="978" y="1242"/>
                  </a:lnTo>
                  <a:lnTo>
                    <a:pt x="972" y="1236"/>
                  </a:lnTo>
                  <a:lnTo>
                    <a:pt x="960" y="1206"/>
                  </a:lnTo>
                  <a:lnTo>
                    <a:pt x="942" y="1206"/>
                  </a:lnTo>
                  <a:lnTo>
                    <a:pt x="936" y="1200"/>
                  </a:lnTo>
                  <a:lnTo>
                    <a:pt x="906" y="1212"/>
                  </a:lnTo>
                  <a:lnTo>
                    <a:pt x="888" y="1230"/>
                  </a:lnTo>
                  <a:lnTo>
                    <a:pt x="876" y="1230"/>
                  </a:lnTo>
                  <a:lnTo>
                    <a:pt x="864" y="1236"/>
                  </a:lnTo>
                  <a:lnTo>
                    <a:pt x="858" y="1236"/>
                  </a:lnTo>
                  <a:lnTo>
                    <a:pt x="852" y="1254"/>
                  </a:lnTo>
                  <a:lnTo>
                    <a:pt x="858" y="1254"/>
                  </a:lnTo>
                  <a:lnTo>
                    <a:pt x="840" y="1266"/>
                  </a:lnTo>
                  <a:lnTo>
                    <a:pt x="828" y="1272"/>
                  </a:lnTo>
                  <a:lnTo>
                    <a:pt x="828" y="1284"/>
                  </a:lnTo>
                  <a:lnTo>
                    <a:pt x="822" y="1284"/>
                  </a:lnTo>
                  <a:lnTo>
                    <a:pt x="804" y="1296"/>
                  </a:lnTo>
                  <a:lnTo>
                    <a:pt x="804" y="1308"/>
                  </a:lnTo>
                  <a:lnTo>
                    <a:pt x="816" y="1320"/>
                  </a:lnTo>
                  <a:lnTo>
                    <a:pt x="828" y="1320"/>
                  </a:lnTo>
                  <a:lnTo>
                    <a:pt x="822" y="1338"/>
                  </a:lnTo>
                  <a:lnTo>
                    <a:pt x="852" y="1344"/>
                  </a:lnTo>
                  <a:lnTo>
                    <a:pt x="864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94" y="1356"/>
                  </a:lnTo>
                  <a:lnTo>
                    <a:pt x="912" y="1368"/>
                  </a:lnTo>
                  <a:lnTo>
                    <a:pt x="918" y="1380"/>
                  </a:lnTo>
                  <a:lnTo>
                    <a:pt x="936" y="1380"/>
                  </a:lnTo>
                  <a:lnTo>
                    <a:pt x="960" y="1386"/>
                  </a:lnTo>
                  <a:lnTo>
                    <a:pt x="990" y="1386"/>
                  </a:lnTo>
                  <a:lnTo>
                    <a:pt x="990" y="1392"/>
                  </a:lnTo>
                  <a:lnTo>
                    <a:pt x="1020" y="1398"/>
                  </a:lnTo>
                  <a:lnTo>
                    <a:pt x="1014" y="1404"/>
                  </a:lnTo>
                  <a:lnTo>
                    <a:pt x="1008" y="1404"/>
                  </a:lnTo>
                  <a:lnTo>
                    <a:pt x="1014" y="1440"/>
                  </a:lnTo>
                  <a:lnTo>
                    <a:pt x="1020" y="1458"/>
                  </a:lnTo>
                  <a:lnTo>
                    <a:pt x="1026" y="1476"/>
                  </a:lnTo>
                  <a:lnTo>
                    <a:pt x="1020" y="1476"/>
                  </a:lnTo>
                  <a:lnTo>
                    <a:pt x="1014" y="1476"/>
                  </a:lnTo>
                  <a:lnTo>
                    <a:pt x="1014" y="1482"/>
                  </a:lnTo>
                  <a:lnTo>
                    <a:pt x="1014" y="1488"/>
                  </a:lnTo>
                  <a:lnTo>
                    <a:pt x="1002" y="1488"/>
                  </a:lnTo>
                  <a:lnTo>
                    <a:pt x="1002" y="1494"/>
                  </a:lnTo>
                  <a:lnTo>
                    <a:pt x="996" y="1494"/>
                  </a:lnTo>
                  <a:lnTo>
                    <a:pt x="996" y="1518"/>
                  </a:lnTo>
                  <a:lnTo>
                    <a:pt x="1002" y="1524"/>
                  </a:lnTo>
                  <a:lnTo>
                    <a:pt x="1020" y="1530"/>
                  </a:lnTo>
                  <a:lnTo>
                    <a:pt x="1026" y="1542"/>
                  </a:lnTo>
                  <a:lnTo>
                    <a:pt x="1032" y="1566"/>
                  </a:lnTo>
                  <a:lnTo>
                    <a:pt x="1038" y="1578"/>
                  </a:lnTo>
                  <a:lnTo>
                    <a:pt x="1032" y="1584"/>
                  </a:lnTo>
                  <a:lnTo>
                    <a:pt x="1020" y="1584"/>
                  </a:lnTo>
                  <a:lnTo>
                    <a:pt x="1014" y="1584"/>
                  </a:lnTo>
                  <a:lnTo>
                    <a:pt x="1008" y="1596"/>
                  </a:lnTo>
                  <a:lnTo>
                    <a:pt x="990" y="1584"/>
                  </a:lnTo>
                  <a:lnTo>
                    <a:pt x="984" y="1602"/>
                  </a:lnTo>
                  <a:lnTo>
                    <a:pt x="978" y="1608"/>
                  </a:lnTo>
                  <a:lnTo>
                    <a:pt x="966" y="1608"/>
                  </a:lnTo>
                  <a:lnTo>
                    <a:pt x="960" y="1614"/>
                  </a:lnTo>
                  <a:lnTo>
                    <a:pt x="954" y="1614"/>
                  </a:lnTo>
                  <a:lnTo>
                    <a:pt x="942" y="1620"/>
                  </a:lnTo>
                  <a:lnTo>
                    <a:pt x="936" y="1620"/>
                  </a:lnTo>
                  <a:lnTo>
                    <a:pt x="930" y="1620"/>
                  </a:lnTo>
                  <a:lnTo>
                    <a:pt x="930" y="1626"/>
                  </a:lnTo>
                  <a:lnTo>
                    <a:pt x="930" y="1632"/>
                  </a:lnTo>
                  <a:lnTo>
                    <a:pt x="918" y="1632"/>
                  </a:lnTo>
                  <a:lnTo>
                    <a:pt x="912" y="1632"/>
                  </a:lnTo>
                  <a:lnTo>
                    <a:pt x="906" y="1632"/>
                  </a:lnTo>
                  <a:lnTo>
                    <a:pt x="900" y="1632"/>
                  </a:lnTo>
                  <a:lnTo>
                    <a:pt x="894" y="1626"/>
                  </a:lnTo>
                  <a:lnTo>
                    <a:pt x="894" y="1614"/>
                  </a:lnTo>
                  <a:lnTo>
                    <a:pt x="840" y="1614"/>
                  </a:lnTo>
                  <a:lnTo>
                    <a:pt x="840" y="1626"/>
                  </a:lnTo>
                  <a:lnTo>
                    <a:pt x="834" y="1626"/>
                  </a:lnTo>
                  <a:lnTo>
                    <a:pt x="828" y="1632"/>
                  </a:lnTo>
                  <a:lnTo>
                    <a:pt x="822" y="1638"/>
                  </a:lnTo>
                  <a:lnTo>
                    <a:pt x="822" y="1644"/>
                  </a:lnTo>
                  <a:lnTo>
                    <a:pt x="834" y="1650"/>
                  </a:lnTo>
                  <a:lnTo>
                    <a:pt x="840" y="1662"/>
                  </a:lnTo>
                  <a:lnTo>
                    <a:pt x="840" y="1668"/>
                  </a:lnTo>
                  <a:lnTo>
                    <a:pt x="858" y="1680"/>
                  </a:lnTo>
                  <a:lnTo>
                    <a:pt x="858" y="1752"/>
                  </a:lnTo>
                  <a:lnTo>
                    <a:pt x="864" y="1782"/>
                  </a:lnTo>
                  <a:lnTo>
                    <a:pt x="876" y="1788"/>
                  </a:lnTo>
                  <a:lnTo>
                    <a:pt x="870" y="1854"/>
                  </a:lnTo>
                  <a:lnTo>
                    <a:pt x="870" y="1884"/>
                  </a:lnTo>
                  <a:lnTo>
                    <a:pt x="864" y="1884"/>
                  </a:lnTo>
                  <a:lnTo>
                    <a:pt x="846" y="1896"/>
                  </a:lnTo>
                  <a:lnTo>
                    <a:pt x="840" y="1896"/>
                  </a:lnTo>
                  <a:lnTo>
                    <a:pt x="834" y="1896"/>
                  </a:lnTo>
                  <a:lnTo>
                    <a:pt x="828" y="1890"/>
                  </a:lnTo>
                  <a:lnTo>
                    <a:pt x="822" y="1890"/>
                  </a:lnTo>
                  <a:lnTo>
                    <a:pt x="816" y="1896"/>
                  </a:lnTo>
                  <a:lnTo>
                    <a:pt x="804" y="1896"/>
                  </a:lnTo>
                  <a:lnTo>
                    <a:pt x="804" y="1890"/>
                  </a:lnTo>
                  <a:lnTo>
                    <a:pt x="780" y="1896"/>
                  </a:lnTo>
                  <a:lnTo>
                    <a:pt x="780" y="1902"/>
                  </a:lnTo>
                  <a:lnTo>
                    <a:pt x="774" y="1914"/>
                  </a:lnTo>
                  <a:lnTo>
                    <a:pt x="762" y="1926"/>
                  </a:lnTo>
                  <a:lnTo>
                    <a:pt x="762" y="1950"/>
                  </a:lnTo>
                  <a:lnTo>
                    <a:pt x="762" y="1962"/>
                  </a:lnTo>
                  <a:lnTo>
                    <a:pt x="780" y="1974"/>
                  </a:lnTo>
                  <a:lnTo>
                    <a:pt x="780" y="1986"/>
                  </a:lnTo>
                  <a:lnTo>
                    <a:pt x="780" y="1998"/>
                  </a:lnTo>
                  <a:lnTo>
                    <a:pt x="756" y="1998"/>
                  </a:lnTo>
                  <a:lnTo>
                    <a:pt x="720" y="1992"/>
                  </a:lnTo>
                  <a:lnTo>
                    <a:pt x="666" y="1998"/>
                  </a:lnTo>
                  <a:lnTo>
                    <a:pt x="654" y="1998"/>
                  </a:lnTo>
                  <a:lnTo>
                    <a:pt x="660" y="1974"/>
                  </a:lnTo>
                  <a:lnTo>
                    <a:pt x="666" y="1962"/>
                  </a:lnTo>
                  <a:lnTo>
                    <a:pt x="678" y="1950"/>
                  </a:lnTo>
                  <a:lnTo>
                    <a:pt x="696" y="1932"/>
                  </a:lnTo>
                  <a:lnTo>
                    <a:pt x="696" y="1920"/>
                  </a:lnTo>
                  <a:lnTo>
                    <a:pt x="696" y="1896"/>
                  </a:lnTo>
                  <a:lnTo>
                    <a:pt x="678" y="1896"/>
                  </a:lnTo>
                  <a:lnTo>
                    <a:pt x="672" y="1884"/>
                  </a:lnTo>
                  <a:lnTo>
                    <a:pt x="672" y="1776"/>
                  </a:lnTo>
                  <a:lnTo>
                    <a:pt x="678" y="1758"/>
                  </a:lnTo>
                  <a:lnTo>
                    <a:pt x="678" y="1740"/>
                  </a:lnTo>
                  <a:lnTo>
                    <a:pt x="684" y="1728"/>
                  </a:lnTo>
                  <a:lnTo>
                    <a:pt x="690" y="1722"/>
                  </a:lnTo>
                  <a:lnTo>
                    <a:pt x="702" y="1722"/>
                  </a:lnTo>
                  <a:lnTo>
                    <a:pt x="708" y="1716"/>
                  </a:lnTo>
                  <a:lnTo>
                    <a:pt x="714" y="1710"/>
                  </a:lnTo>
                  <a:lnTo>
                    <a:pt x="720" y="1698"/>
                  </a:lnTo>
                  <a:lnTo>
                    <a:pt x="732" y="1692"/>
                  </a:lnTo>
                  <a:lnTo>
                    <a:pt x="744" y="1686"/>
                  </a:lnTo>
                  <a:lnTo>
                    <a:pt x="756" y="1680"/>
                  </a:lnTo>
                  <a:lnTo>
                    <a:pt x="768" y="1668"/>
                  </a:lnTo>
                  <a:lnTo>
                    <a:pt x="768" y="1650"/>
                  </a:lnTo>
                  <a:lnTo>
                    <a:pt x="774" y="1632"/>
                  </a:lnTo>
                  <a:lnTo>
                    <a:pt x="768" y="1620"/>
                  </a:lnTo>
                  <a:lnTo>
                    <a:pt x="774" y="1608"/>
                  </a:lnTo>
                  <a:lnTo>
                    <a:pt x="774" y="1578"/>
                  </a:lnTo>
                  <a:lnTo>
                    <a:pt x="774" y="1572"/>
                  </a:lnTo>
                  <a:lnTo>
                    <a:pt x="780" y="1560"/>
                  </a:lnTo>
                  <a:lnTo>
                    <a:pt x="780" y="1554"/>
                  </a:lnTo>
                  <a:lnTo>
                    <a:pt x="786" y="1542"/>
                  </a:lnTo>
                  <a:lnTo>
                    <a:pt x="792" y="1530"/>
                  </a:lnTo>
                  <a:lnTo>
                    <a:pt x="792" y="1518"/>
                  </a:lnTo>
                  <a:lnTo>
                    <a:pt x="792" y="1506"/>
                  </a:lnTo>
                  <a:lnTo>
                    <a:pt x="786" y="1500"/>
                  </a:lnTo>
                  <a:lnTo>
                    <a:pt x="774" y="1488"/>
                  </a:lnTo>
                  <a:lnTo>
                    <a:pt x="774" y="1482"/>
                  </a:lnTo>
                  <a:lnTo>
                    <a:pt x="762" y="1488"/>
                  </a:lnTo>
                  <a:lnTo>
                    <a:pt x="756" y="1494"/>
                  </a:lnTo>
                  <a:lnTo>
                    <a:pt x="744" y="1500"/>
                  </a:lnTo>
                  <a:lnTo>
                    <a:pt x="732" y="1506"/>
                  </a:lnTo>
                  <a:lnTo>
                    <a:pt x="726" y="1506"/>
                  </a:lnTo>
                  <a:lnTo>
                    <a:pt x="720" y="1506"/>
                  </a:lnTo>
                  <a:lnTo>
                    <a:pt x="702" y="1506"/>
                  </a:lnTo>
                  <a:lnTo>
                    <a:pt x="690" y="1500"/>
                  </a:lnTo>
                  <a:lnTo>
                    <a:pt x="678" y="1500"/>
                  </a:lnTo>
                  <a:lnTo>
                    <a:pt x="672" y="1500"/>
                  </a:lnTo>
                  <a:lnTo>
                    <a:pt x="660" y="1506"/>
                  </a:lnTo>
                  <a:lnTo>
                    <a:pt x="654" y="1506"/>
                  </a:lnTo>
                  <a:lnTo>
                    <a:pt x="648" y="1512"/>
                  </a:lnTo>
                  <a:lnTo>
                    <a:pt x="648" y="1518"/>
                  </a:lnTo>
                  <a:lnTo>
                    <a:pt x="618" y="1518"/>
                  </a:lnTo>
                  <a:lnTo>
                    <a:pt x="534" y="1494"/>
                  </a:lnTo>
                  <a:lnTo>
                    <a:pt x="528" y="1458"/>
                  </a:lnTo>
                  <a:lnTo>
                    <a:pt x="510" y="1458"/>
                  </a:lnTo>
                  <a:lnTo>
                    <a:pt x="492" y="1440"/>
                  </a:lnTo>
                  <a:lnTo>
                    <a:pt x="462" y="1440"/>
                  </a:lnTo>
                  <a:lnTo>
                    <a:pt x="456" y="1428"/>
                  </a:lnTo>
                  <a:lnTo>
                    <a:pt x="420" y="1428"/>
                  </a:lnTo>
                  <a:lnTo>
                    <a:pt x="390" y="1446"/>
                  </a:lnTo>
                  <a:lnTo>
                    <a:pt x="312" y="1452"/>
                  </a:lnTo>
                  <a:lnTo>
                    <a:pt x="300" y="1446"/>
                  </a:lnTo>
                  <a:lnTo>
                    <a:pt x="294" y="1446"/>
                  </a:lnTo>
                  <a:lnTo>
                    <a:pt x="288" y="1446"/>
                  </a:lnTo>
                  <a:lnTo>
                    <a:pt x="282" y="1440"/>
                  </a:lnTo>
                  <a:lnTo>
                    <a:pt x="276" y="1440"/>
                  </a:lnTo>
                  <a:lnTo>
                    <a:pt x="270" y="1440"/>
                  </a:lnTo>
                  <a:lnTo>
                    <a:pt x="264" y="1440"/>
                  </a:lnTo>
                  <a:lnTo>
                    <a:pt x="258" y="1434"/>
                  </a:lnTo>
                  <a:lnTo>
                    <a:pt x="252" y="1434"/>
                  </a:lnTo>
                  <a:lnTo>
                    <a:pt x="246" y="1428"/>
                  </a:lnTo>
                  <a:lnTo>
                    <a:pt x="240" y="1416"/>
                  </a:lnTo>
                  <a:lnTo>
                    <a:pt x="234" y="1404"/>
                  </a:lnTo>
                  <a:lnTo>
                    <a:pt x="228" y="1398"/>
                  </a:lnTo>
                  <a:lnTo>
                    <a:pt x="222" y="1398"/>
                  </a:lnTo>
                  <a:lnTo>
                    <a:pt x="216" y="1404"/>
                  </a:lnTo>
                  <a:lnTo>
                    <a:pt x="210" y="1404"/>
                  </a:lnTo>
                  <a:lnTo>
                    <a:pt x="204" y="1404"/>
                  </a:lnTo>
                  <a:lnTo>
                    <a:pt x="204" y="1398"/>
                  </a:lnTo>
                  <a:lnTo>
                    <a:pt x="198" y="1392"/>
                  </a:lnTo>
                  <a:lnTo>
                    <a:pt x="192" y="1386"/>
                  </a:lnTo>
                  <a:lnTo>
                    <a:pt x="168" y="1374"/>
                  </a:lnTo>
                  <a:lnTo>
                    <a:pt x="144" y="138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0" name="Freeform 35">
              <a:extLst>
                <a:ext uri="{FF2B5EF4-FFF2-40B4-BE49-F238E27FC236}">
                  <a16:creationId xmlns:a16="http://schemas.microsoft.com/office/drawing/2014/main" id="{F64BF16E-9D62-438E-A1CC-CD4088AC7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552895" y="1706004"/>
              <a:ext cx="767013" cy="785011"/>
            </a:xfrm>
            <a:custGeom>
              <a:avLst/>
              <a:gdLst>
                <a:gd name="T0" fmla="*/ 102 w 1440"/>
                <a:gd name="T1" fmla="*/ 104 h 1476"/>
                <a:gd name="T2" fmla="*/ 99 w 1440"/>
                <a:gd name="T3" fmla="*/ 108 h 1476"/>
                <a:gd name="T4" fmla="*/ 98 w 1440"/>
                <a:gd name="T5" fmla="*/ 112 h 1476"/>
                <a:gd name="T6" fmla="*/ 96 w 1440"/>
                <a:gd name="T7" fmla="*/ 116 h 1476"/>
                <a:gd name="T8" fmla="*/ 91 w 1440"/>
                <a:gd name="T9" fmla="*/ 118 h 1476"/>
                <a:gd name="T10" fmla="*/ 87 w 1440"/>
                <a:gd name="T11" fmla="*/ 120 h 1476"/>
                <a:gd name="T12" fmla="*/ 75 w 1440"/>
                <a:gd name="T13" fmla="*/ 120 h 1476"/>
                <a:gd name="T14" fmla="*/ 72 w 1440"/>
                <a:gd name="T15" fmla="*/ 123 h 1476"/>
                <a:gd name="T16" fmla="*/ 69 w 1440"/>
                <a:gd name="T17" fmla="*/ 128 h 1476"/>
                <a:gd name="T18" fmla="*/ 67 w 1440"/>
                <a:gd name="T19" fmla="*/ 127 h 1476"/>
                <a:gd name="T20" fmla="*/ 66 w 1440"/>
                <a:gd name="T21" fmla="*/ 123 h 1476"/>
                <a:gd name="T22" fmla="*/ 63 w 1440"/>
                <a:gd name="T23" fmla="*/ 119 h 1476"/>
                <a:gd name="T24" fmla="*/ 54 w 1440"/>
                <a:gd name="T25" fmla="*/ 114 h 1476"/>
                <a:gd name="T26" fmla="*/ 55 w 1440"/>
                <a:gd name="T27" fmla="*/ 106 h 1476"/>
                <a:gd name="T28" fmla="*/ 60 w 1440"/>
                <a:gd name="T29" fmla="*/ 100 h 1476"/>
                <a:gd name="T30" fmla="*/ 55 w 1440"/>
                <a:gd name="T31" fmla="*/ 91 h 1476"/>
                <a:gd name="T32" fmla="*/ 51 w 1440"/>
                <a:gd name="T33" fmla="*/ 86 h 1476"/>
                <a:gd name="T34" fmla="*/ 47 w 1440"/>
                <a:gd name="T35" fmla="*/ 85 h 1476"/>
                <a:gd name="T36" fmla="*/ 44 w 1440"/>
                <a:gd name="T37" fmla="*/ 82 h 1476"/>
                <a:gd name="T38" fmla="*/ 41 w 1440"/>
                <a:gd name="T39" fmla="*/ 83 h 1476"/>
                <a:gd name="T40" fmla="*/ 36 w 1440"/>
                <a:gd name="T41" fmla="*/ 83 h 1476"/>
                <a:gd name="T42" fmla="*/ 33 w 1440"/>
                <a:gd name="T43" fmla="*/ 83 h 1476"/>
                <a:gd name="T44" fmla="*/ 30 w 1440"/>
                <a:gd name="T45" fmla="*/ 83 h 1476"/>
                <a:gd name="T46" fmla="*/ 27 w 1440"/>
                <a:gd name="T47" fmla="*/ 83 h 1476"/>
                <a:gd name="T48" fmla="*/ 24 w 1440"/>
                <a:gd name="T49" fmla="*/ 82 h 1476"/>
                <a:gd name="T50" fmla="*/ 21 w 1440"/>
                <a:gd name="T51" fmla="*/ 80 h 1476"/>
                <a:gd name="T52" fmla="*/ 18 w 1440"/>
                <a:gd name="T53" fmla="*/ 79 h 1476"/>
                <a:gd name="T54" fmla="*/ 17 w 1440"/>
                <a:gd name="T55" fmla="*/ 78 h 1476"/>
                <a:gd name="T56" fmla="*/ 12 w 1440"/>
                <a:gd name="T57" fmla="*/ 78 h 1476"/>
                <a:gd name="T58" fmla="*/ 12 w 1440"/>
                <a:gd name="T59" fmla="*/ 78 h 1476"/>
                <a:gd name="T60" fmla="*/ 7 w 1440"/>
                <a:gd name="T61" fmla="*/ 80 h 1476"/>
                <a:gd name="T62" fmla="*/ 3 w 1440"/>
                <a:gd name="T63" fmla="*/ 81 h 1476"/>
                <a:gd name="T64" fmla="*/ 0 w 1440"/>
                <a:gd name="T65" fmla="*/ 76 h 1476"/>
                <a:gd name="T66" fmla="*/ 1 w 1440"/>
                <a:gd name="T67" fmla="*/ 50 h 1476"/>
                <a:gd name="T68" fmla="*/ 8 w 1440"/>
                <a:gd name="T69" fmla="*/ 48 h 1476"/>
                <a:gd name="T70" fmla="*/ 20 w 1440"/>
                <a:gd name="T71" fmla="*/ 49 h 1476"/>
                <a:gd name="T72" fmla="*/ 26 w 1440"/>
                <a:gd name="T73" fmla="*/ 50 h 1476"/>
                <a:gd name="T74" fmla="*/ 44 w 1440"/>
                <a:gd name="T75" fmla="*/ 47 h 1476"/>
                <a:gd name="T76" fmla="*/ 41 w 1440"/>
                <a:gd name="T77" fmla="*/ 24 h 1476"/>
                <a:gd name="T78" fmla="*/ 44 w 1440"/>
                <a:gd name="T79" fmla="*/ 20 h 1476"/>
                <a:gd name="T80" fmla="*/ 47 w 1440"/>
                <a:gd name="T81" fmla="*/ 18 h 1476"/>
                <a:gd name="T82" fmla="*/ 54 w 1440"/>
                <a:gd name="T83" fmla="*/ 21 h 1476"/>
                <a:gd name="T84" fmla="*/ 61 w 1440"/>
                <a:gd name="T85" fmla="*/ 23 h 1476"/>
                <a:gd name="T86" fmla="*/ 59 w 1440"/>
                <a:gd name="T87" fmla="*/ 14 h 1476"/>
                <a:gd name="T88" fmla="*/ 61 w 1440"/>
                <a:gd name="T89" fmla="*/ 8 h 1476"/>
                <a:gd name="T90" fmla="*/ 71 w 1440"/>
                <a:gd name="T91" fmla="*/ 7 h 1476"/>
                <a:gd name="T92" fmla="*/ 75 w 1440"/>
                <a:gd name="T93" fmla="*/ 0 h 1476"/>
                <a:gd name="T94" fmla="*/ 82 w 1440"/>
                <a:gd name="T95" fmla="*/ 3 h 1476"/>
                <a:gd name="T96" fmla="*/ 93 w 1440"/>
                <a:gd name="T97" fmla="*/ 5 h 1476"/>
                <a:gd name="T98" fmla="*/ 100 w 1440"/>
                <a:gd name="T99" fmla="*/ 1 h 1476"/>
                <a:gd name="T100" fmla="*/ 104 w 1440"/>
                <a:gd name="T101" fmla="*/ 4 h 1476"/>
                <a:gd name="T102" fmla="*/ 110 w 1440"/>
                <a:gd name="T103" fmla="*/ 10 h 1476"/>
                <a:gd name="T104" fmla="*/ 115 w 1440"/>
                <a:gd name="T105" fmla="*/ 23 h 1476"/>
                <a:gd name="T106" fmla="*/ 117 w 1440"/>
                <a:gd name="T107" fmla="*/ 42 h 1476"/>
                <a:gd name="T108" fmla="*/ 121 w 1440"/>
                <a:gd name="T109" fmla="*/ 52 h 1476"/>
                <a:gd name="T110" fmla="*/ 118 w 1440"/>
                <a:gd name="T111" fmla="*/ 62 h 1476"/>
                <a:gd name="T112" fmla="*/ 124 w 1440"/>
                <a:gd name="T113" fmla="*/ 66 h 1476"/>
                <a:gd name="T114" fmla="*/ 121 w 1440"/>
                <a:gd name="T115" fmla="*/ 71 h 1476"/>
                <a:gd name="T116" fmla="*/ 115 w 1440"/>
                <a:gd name="T117" fmla="*/ 76 h 1476"/>
                <a:gd name="T118" fmla="*/ 109 w 1440"/>
                <a:gd name="T119" fmla="*/ 76 h 1476"/>
                <a:gd name="T120" fmla="*/ 105 w 1440"/>
                <a:gd name="T121" fmla="*/ 86 h 1476"/>
                <a:gd name="T122" fmla="*/ 107 w 1440"/>
                <a:gd name="T123" fmla="*/ 97 h 147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40"/>
                <a:gd name="T187" fmla="*/ 0 h 1476"/>
                <a:gd name="T188" fmla="*/ 1440 w 1440"/>
                <a:gd name="T189" fmla="*/ 1476 h 147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40" h="1476">
                  <a:moveTo>
                    <a:pt x="1212" y="1164"/>
                  </a:moveTo>
                  <a:lnTo>
                    <a:pt x="1206" y="1170"/>
                  </a:lnTo>
                  <a:lnTo>
                    <a:pt x="1200" y="1176"/>
                  </a:lnTo>
                  <a:lnTo>
                    <a:pt x="1194" y="1176"/>
                  </a:lnTo>
                  <a:lnTo>
                    <a:pt x="1188" y="1188"/>
                  </a:lnTo>
                  <a:lnTo>
                    <a:pt x="1182" y="1194"/>
                  </a:lnTo>
                  <a:lnTo>
                    <a:pt x="1176" y="1194"/>
                  </a:lnTo>
                  <a:lnTo>
                    <a:pt x="1170" y="1194"/>
                  </a:lnTo>
                  <a:lnTo>
                    <a:pt x="1170" y="1200"/>
                  </a:lnTo>
                  <a:lnTo>
                    <a:pt x="1164" y="1206"/>
                  </a:lnTo>
                  <a:lnTo>
                    <a:pt x="1158" y="1206"/>
                  </a:lnTo>
                  <a:lnTo>
                    <a:pt x="1152" y="1212"/>
                  </a:lnTo>
                  <a:lnTo>
                    <a:pt x="1146" y="1212"/>
                  </a:lnTo>
                  <a:lnTo>
                    <a:pt x="1140" y="1224"/>
                  </a:lnTo>
                  <a:lnTo>
                    <a:pt x="1134" y="1230"/>
                  </a:lnTo>
                  <a:lnTo>
                    <a:pt x="1128" y="1236"/>
                  </a:lnTo>
                  <a:lnTo>
                    <a:pt x="1128" y="1242"/>
                  </a:lnTo>
                  <a:lnTo>
                    <a:pt x="1128" y="1254"/>
                  </a:lnTo>
                  <a:lnTo>
                    <a:pt x="1128" y="1260"/>
                  </a:lnTo>
                  <a:lnTo>
                    <a:pt x="1122" y="1260"/>
                  </a:lnTo>
                  <a:lnTo>
                    <a:pt x="1122" y="1266"/>
                  </a:lnTo>
                  <a:lnTo>
                    <a:pt x="1128" y="1278"/>
                  </a:lnTo>
                  <a:lnTo>
                    <a:pt x="1122" y="1278"/>
                  </a:lnTo>
                  <a:lnTo>
                    <a:pt x="1122" y="1284"/>
                  </a:lnTo>
                  <a:lnTo>
                    <a:pt x="1128" y="1290"/>
                  </a:lnTo>
                  <a:lnTo>
                    <a:pt x="1122" y="1296"/>
                  </a:lnTo>
                  <a:lnTo>
                    <a:pt x="1122" y="1302"/>
                  </a:lnTo>
                  <a:lnTo>
                    <a:pt x="1116" y="1302"/>
                  </a:lnTo>
                  <a:lnTo>
                    <a:pt x="1110" y="1314"/>
                  </a:lnTo>
                  <a:lnTo>
                    <a:pt x="1110" y="1320"/>
                  </a:lnTo>
                  <a:lnTo>
                    <a:pt x="1110" y="1326"/>
                  </a:lnTo>
                  <a:lnTo>
                    <a:pt x="1098" y="1332"/>
                  </a:lnTo>
                  <a:lnTo>
                    <a:pt x="1092" y="1338"/>
                  </a:lnTo>
                  <a:lnTo>
                    <a:pt x="1092" y="1344"/>
                  </a:lnTo>
                  <a:lnTo>
                    <a:pt x="1086" y="1350"/>
                  </a:lnTo>
                  <a:lnTo>
                    <a:pt x="1080" y="1350"/>
                  </a:lnTo>
                  <a:lnTo>
                    <a:pt x="1074" y="1350"/>
                  </a:lnTo>
                  <a:lnTo>
                    <a:pt x="1068" y="1356"/>
                  </a:lnTo>
                  <a:lnTo>
                    <a:pt x="1062" y="1356"/>
                  </a:lnTo>
                  <a:lnTo>
                    <a:pt x="1044" y="1356"/>
                  </a:lnTo>
                  <a:lnTo>
                    <a:pt x="1038" y="1362"/>
                  </a:lnTo>
                  <a:lnTo>
                    <a:pt x="1032" y="1368"/>
                  </a:lnTo>
                  <a:lnTo>
                    <a:pt x="1026" y="1368"/>
                  </a:lnTo>
                  <a:lnTo>
                    <a:pt x="1020" y="1374"/>
                  </a:lnTo>
                  <a:lnTo>
                    <a:pt x="1008" y="1374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74"/>
                  </a:lnTo>
                  <a:lnTo>
                    <a:pt x="978" y="1380"/>
                  </a:lnTo>
                  <a:lnTo>
                    <a:pt x="972" y="1380"/>
                  </a:lnTo>
                  <a:lnTo>
                    <a:pt x="954" y="1368"/>
                  </a:lnTo>
                  <a:lnTo>
                    <a:pt x="930" y="1368"/>
                  </a:lnTo>
                  <a:lnTo>
                    <a:pt x="918" y="1368"/>
                  </a:lnTo>
                  <a:lnTo>
                    <a:pt x="906" y="1368"/>
                  </a:lnTo>
                  <a:lnTo>
                    <a:pt x="894" y="1368"/>
                  </a:lnTo>
                  <a:lnTo>
                    <a:pt x="864" y="1374"/>
                  </a:lnTo>
                  <a:lnTo>
                    <a:pt x="852" y="1374"/>
                  </a:lnTo>
                  <a:lnTo>
                    <a:pt x="846" y="1386"/>
                  </a:lnTo>
                  <a:lnTo>
                    <a:pt x="846" y="1392"/>
                  </a:lnTo>
                  <a:lnTo>
                    <a:pt x="840" y="1398"/>
                  </a:lnTo>
                  <a:lnTo>
                    <a:pt x="840" y="1404"/>
                  </a:lnTo>
                  <a:lnTo>
                    <a:pt x="834" y="1416"/>
                  </a:lnTo>
                  <a:lnTo>
                    <a:pt x="828" y="1416"/>
                  </a:lnTo>
                  <a:lnTo>
                    <a:pt x="828" y="1410"/>
                  </a:lnTo>
                  <a:lnTo>
                    <a:pt x="822" y="1416"/>
                  </a:lnTo>
                  <a:lnTo>
                    <a:pt x="816" y="1422"/>
                  </a:lnTo>
                  <a:lnTo>
                    <a:pt x="804" y="1428"/>
                  </a:lnTo>
                  <a:lnTo>
                    <a:pt x="804" y="1434"/>
                  </a:lnTo>
                  <a:lnTo>
                    <a:pt x="804" y="1440"/>
                  </a:lnTo>
                  <a:lnTo>
                    <a:pt x="798" y="1446"/>
                  </a:lnTo>
                  <a:lnTo>
                    <a:pt x="798" y="1458"/>
                  </a:lnTo>
                  <a:lnTo>
                    <a:pt x="792" y="1464"/>
                  </a:lnTo>
                  <a:lnTo>
                    <a:pt x="786" y="1476"/>
                  </a:lnTo>
                  <a:lnTo>
                    <a:pt x="780" y="1470"/>
                  </a:lnTo>
                  <a:lnTo>
                    <a:pt x="774" y="1470"/>
                  </a:lnTo>
                  <a:lnTo>
                    <a:pt x="768" y="1470"/>
                  </a:lnTo>
                  <a:lnTo>
                    <a:pt x="762" y="1476"/>
                  </a:lnTo>
                  <a:lnTo>
                    <a:pt x="762" y="1470"/>
                  </a:lnTo>
                  <a:lnTo>
                    <a:pt x="762" y="1464"/>
                  </a:lnTo>
                  <a:lnTo>
                    <a:pt x="762" y="1458"/>
                  </a:lnTo>
                  <a:lnTo>
                    <a:pt x="756" y="1458"/>
                  </a:lnTo>
                  <a:lnTo>
                    <a:pt x="756" y="1452"/>
                  </a:lnTo>
                  <a:lnTo>
                    <a:pt x="756" y="1446"/>
                  </a:lnTo>
                  <a:lnTo>
                    <a:pt x="756" y="1440"/>
                  </a:lnTo>
                  <a:lnTo>
                    <a:pt x="750" y="1434"/>
                  </a:lnTo>
                  <a:lnTo>
                    <a:pt x="750" y="1428"/>
                  </a:lnTo>
                  <a:lnTo>
                    <a:pt x="750" y="1422"/>
                  </a:lnTo>
                  <a:lnTo>
                    <a:pt x="750" y="1416"/>
                  </a:lnTo>
                  <a:lnTo>
                    <a:pt x="744" y="1416"/>
                  </a:lnTo>
                  <a:lnTo>
                    <a:pt x="744" y="1410"/>
                  </a:lnTo>
                  <a:lnTo>
                    <a:pt x="738" y="1404"/>
                  </a:lnTo>
                  <a:lnTo>
                    <a:pt x="732" y="1398"/>
                  </a:lnTo>
                  <a:lnTo>
                    <a:pt x="732" y="1392"/>
                  </a:lnTo>
                  <a:lnTo>
                    <a:pt x="726" y="1386"/>
                  </a:lnTo>
                  <a:lnTo>
                    <a:pt x="726" y="1380"/>
                  </a:lnTo>
                  <a:lnTo>
                    <a:pt x="714" y="1368"/>
                  </a:lnTo>
                  <a:lnTo>
                    <a:pt x="708" y="1368"/>
                  </a:lnTo>
                  <a:lnTo>
                    <a:pt x="684" y="1332"/>
                  </a:lnTo>
                  <a:lnTo>
                    <a:pt x="666" y="1320"/>
                  </a:lnTo>
                  <a:lnTo>
                    <a:pt x="648" y="1302"/>
                  </a:lnTo>
                  <a:lnTo>
                    <a:pt x="630" y="1314"/>
                  </a:lnTo>
                  <a:lnTo>
                    <a:pt x="624" y="1314"/>
                  </a:lnTo>
                  <a:lnTo>
                    <a:pt x="624" y="1308"/>
                  </a:lnTo>
                  <a:lnTo>
                    <a:pt x="618" y="1308"/>
                  </a:lnTo>
                  <a:lnTo>
                    <a:pt x="612" y="1284"/>
                  </a:lnTo>
                  <a:lnTo>
                    <a:pt x="606" y="1254"/>
                  </a:lnTo>
                  <a:lnTo>
                    <a:pt x="606" y="1248"/>
                  </a:lnTo>
                  <a:lnTo>
                    <a:pt x="606" y="1242"/>
                  </a:lnTo>
                  <a:lnTo>
                    <a:pt x="612" y="1242"/>
                  </a:lnTo>
                  <a:lnTo>
                    <a:pt x="618" y="1236"/>
                  </a:lnTo>
                  <a:lnTo>
                    <a:pt x="618" y="1230"/>
                  </a:lnTo>
                  <a:lnTo>
                    <a:pt x="624" y="1224"/>
                  </a:lnTo>
                  <a:lnTo>
                    <a:pt x="630" y="1224"/>
                  </a:lnTo>
                  <a:lnTo>
                    <a:pt x="636" y="1218"/>
                  </a:lnTo>
                  <a:lnTo>
                    <a:pt x="636" y="1212"/>
                  </a:lnTo>
                  <a:lnTo>
                    <a:pt x="612" y="1200"/>
                  </a:lnTo>
                  <a:lnTo>
                    <a:pt x="606" y="1182"/>
                  </a:lnTo>
                  <a:lnTo>
                    <a:pt x="672" y="1182"/>
                  </a:lnTo>
                  <a:lnTo>
                    <a:pt x="690" y="1170"/>
                  </a:lnTo>
                  <a:lnTo>
                    <a:pt x="690" y="1152"/>
                  </a:lnTo>
                  <a:lnTo>
                    <a:pt x="678" y="1110"/>
                  </a:lnTo>
                  <a:lnTo>
                    <a:pt x="672" y="1092"/>
                  </a:lnTo>
                  <a:lnTo>
                    <a:pt x="660" y="1074"/>
                  </a:lnTo>
                  <a:lnTo>
                    <a:pt x="648" y="1068"/>
                  </a:lnTo>
                  <a:lnTo>
                    <a:pt x="642" y="1068"/>
                  </a:lnTo>
                  <a:lnTo>
                    <a:pt x="636" y="1062"/>
                  </a:lnTo>
                  <a:lnTo>
                    <a:pt x="624" y="1056"/>
                  </a:lnTo>
                  <a:lnTo>
                    <a:pt x="624" y="1050"/>
                  </a:lnTo>
                  <a:lnTo>
                    <a:pt x="618" y="1038"/>
                  </a:lnTo>
                  <a:lnTo>
                    <a:pt x="612" y="1038"/>
                  </a:lnTo>
                  <a:lnTo>
                    <a:pt x="612" y="1032"/>
                  </a:lnTo>
                  <a:lnTo>
                    <a:pt x="612" y="1026"/>
                  </a:lnTo>
                  <a:lnTo>
                    <a:pt x="600" y="1014"/>
                  </a:lnTo>
                  <a:lnTo>
                    <a:pt x="582" y="1008"/>
                  </a:lnTo>
                  <a:lnTo>
                    <a:pt x="576" y="1002"/>
                  </a:lnTo>
                  <a:lnTo>
                    <a:pt x="576" y="996"/>
                  </a:lnTo>
                  <a:lnTo>
                    <a:pt x="570" y="996"/>
                  </a:lnTo>
                  <a:lnTo>
                    <a:pt x="570" y="990"/>
                  </a:lnTo>
                  <a:lnTo>
                    <a:pt x="570" y="984"/>
                  </a:lnTo>
                  <a:lnTo>
                    <a:pt x="564" y="984"/>
                  </a:lnTo>
                  <a:lnTo>
                    <a:pt x="558" y="978"/>
                  </a:lnTo>
                  <a:lnTo>
                    <a:pt x="552" y="972"/>
                  </a:lnTo>
                  <a:lnTo>
                    <a:pt x="552" y="966"/>
                  </a:lnTo>
                  <a:lnTo>
                    <a:pt x="546" y="972"/>
                  </a:lnTo>
                  <a:lnTo>
                    <a:pt x="540" y="972"/>
                  </a:lnTo>
                  <a:lnTo>
                    <a:pt x="534" y="960"/>
                  </a:lnTo>
                  <a:lnTo>
                    <a:pt x="528" y="960"/>
                  </a:lnTo>
                  <a:lnTo>
                    <a:pt x="528" y="966"/>
                  </a:lnTo>
                  <a:lnTo>
                    <a:pt x="516" y="954"/>
                  </a:lnTo>
                  <a:lnTo>
                    <a:pt x="516" y="948"/>
                  </a:lnTo>
                  <a:lnTo>
                    <a:pt x="510" y="948"/>
                  </a:lnTo>
                  <a:lnTo>
                    <a:pt x="504" y="948"/>
                  </a:lnTo>
                  <a:lnTo>
                    <a:pt x="498" y="948"/>
                  </a:lnTo>
                  <a:lnTo>
                    <a:pt x="504" y="954"/>
                  </a:lnTo>
                  <a:lnTo>
                    <a:pt x="498" y="954"/>
                  </a:lnTo>
                  <a:lnTo>
                    <a:pt x="492" y="954"/>
                  </a:lnTo>
                  <a:lnTo>
                    <a:pt x="480" y="942"/>
                  </a:lnTo>
                  <a:lnTo>
                    <a:pt x="480" y="948"/>
                  </a:lnTo>
                  <a:lnTo>
                    <a:pt x="480" y="954"/>
                  </a:lnTo>
                  <a:lnTo>
                    <a:pt x="474" y="954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56" y="966"/>
                  </a:lnTo>
                  <a:lnTo>
                    <a:pt x="456" y="960"/>
                  </a:lnTo>
                  <a:lnTo>
                    <a:pt x="450" y="966"/>
                  </a:lnTo>
                  <a:lnTo>
                    <a:pt x="444" y="966"/>
                  </a:lnTo>
                  <a:lnTo>
                    <a:pt x="414" y="966"/>
                  </a:lnTo>
                  <a:lnTo>
                    <a:pt x="408" y="960"/>
                  </a:lnTo>
                  <a:lnTo>
                    <a:pt x="408" y="966"/>
                  </a:lnTo>
                  <a:lnTo>
                    <a:pt x="402" y="960"/>
                  </a:lnTo>
                  <a:lnTo>
                    <a:pt x="396" y="960"/>
                  </a:lnTo>
                  <a:lnTo>
                    <a:pt x="390" y="960"/>
                  </a:lnTo>
                  <a:lnTo>
                    <a:pt x="390" y="966"/>
                  </a:lnTo>
                  <a:lnTo>
                    <a:pt x="384" y="966"/>
                  </a:lnTo>
                  <a:lnTo>
                    <a:pt x="378" y="966"/>
                  </a:lnTo>
                  <a:lnTo>
                    <a:pt x="384" y="960"/>
                  </a:lnTo>
                  <a:lnTo>
                    <a:pt x="384" y="954"/>
                  </a:lnTo>
                  <a:lnTo>
                    <a:pt x="372" y="948"/>
                  </a:lnTo>
                  <a:lnTo>
                    <a:pt x="372" y="954"/>
                  </a:lnTo>
                  <a:lnTo>
                    <a:pt x="372" y="960"/>
                  </a:lnTo>
                  <a:lnTo>
                    <a:pt x="366" y="960"/>
                  </a:lnTo>
                  <a:lnTo>
                    <a:pt x="360" y="966"/>
                  </a:lnTo>
                  <a:lnTo>
                    <a:pt x="354" y="966"/>
                  </a:lnTo>
                  <a:lnTo>
                    <a:pt x="348" y="960"/>
                  </a:lnTo>
                  <a:lnTo>
                    <a:pt x="342" y="960"/>
                  </a:lnTo>
                  <a:lnTo>
                    <a:pt x="342" y="966"/>
                  </a:lnTo>
                  <a:lnTo>
                    <a:pt x="336" y="972"/>
                  </a:lnTo>
                  <a:lnTo>
                    <a:pt x="330" y="972"/>
                  </a:lnTo>
                  <a:lnTo>
                    <a:pt x="324" y="966"/>
                  </a:lnTo>
                  <a:lnTo>
                    <a:pt x="318" y="966"/>
                  </a:lnTo>
                  <a:lnTo>
                    <a:pt x="312" y="966"/>
                  </a:lnTo>
                  <a:lnTo>
                    <a:pt x="306" y="960"/>
                  </a:lnTo>
                  <a:lnTo>
                    <a:pt x="306" y="954"/>
                  </a:lnTo>
                  <a:lnTo>
                    <a:pt x="306" y="948"/>
                  </a:lnTo>
                  <a:lnTo>
                    <a:pt x="306" y="942"/>
                  </a:lnTo>
                  <a:lnTo>
                    <a:pt x="300" y="942"/>
                  </a:lnTo>
                  <a:lnTo>
                    <a:pt x="294" y="936"/>
                  </a:lnTo>
                  <a:lnTo>
                    <a:pt x="288" y="936"/>
                  </a:lnTo>
                  <a:lnTo>
                    <a:pt x="282" y="942"/>
                  </a:lnTo>
                  <a:lnTo>
                    <a:pt x="276" y="936"/>
                  </a:lnTo>
                  <a:lnTo>
                    <a:pt x="276" y="942"/>
                  </a:lnTo>
                  <a:lnTo>
                    <a:pt x="270" y="942"/>
                  </a:lnTo>
                  <a:lnTo>
                    <a:pt x="264" y="936"/>
                  </a:lnTo>
                  <a:lnTo>
                    <a:pt x="252" y="936"/>
                  </a:lnTo>
                  <a:lnTo>
                    <a:pt x="246" y="936"/>
                  </a:lnTo>
                  <a:lnTo>
                    <a:pt x="240" y="936"/>
                  </a:lnTo>
                  <a:lnTo>
                    <a:pt x="234" y="936"/>
                  </a:lnTo>
                  <a:lnTo>
                    <a:pt x="240" y="924"/>
                  </a:lnTo>
                  <a:lnTo>
                    <a:pt x="234" y="924"/>
                  </a:lnTo>
                  <a:lnTo>
                    <a:pt x="228" y="918"/>
                  </a:lnTo>
                  <a:lnTo>
                    <a:pt x="228" y="906"/>
                  </a:lnTo>
                  <a:lnTo>
                    <a:pt x="222" y="900"/>
                  </a:lnTo>
                  <a:lnTo>
                    <a:pt x="216" y="900"/>
                  </a:lnTo>
                  <a:lnTo>
                    <a:pt x="210" y="900"/>
                  </a:lnTo>
                  <a:lnTo>
                    <a:pt x="210" y="906"/>
                  </a:lnTo>
                  <a:lnTo>
                    <a:pt x="204" y="906"/>
                  </a:lnTo>
                  <a:lnTo>
                    <a:pt x="198" y="906"/>
                  </a:lnTo>
                  <a:lnTo>
                    <a:pt x="210" y="900"/>
                  </a:lnTo>
                  <a:lnTo>
                    <a:pt x="210" y="894"/>
                  </a:lnTo>
                  <a:lnTo>
                    <a:pt x="216" y="888"/>
                  </a:lnTo>
                  <a:lnTo>
                    <a:pt x="204" y="882"/>
                  </a:lnTo>
                  <a:lnTo>
                    <a:pt x="204" y="894"/>
                  </a:lnTo>
                  <a:lnTo>
                    <a:pt x="198" y="894"/>
                  </a:lnTo>
                  <a:lnTo>
                    <a:pt x="192" y="900"/>
                  </a:lnTo>
                  <a:lnTo>
                    <a:pt x="186" y="894"/>
                  </a:lnTo>
                  <a:lnTo>
                    <a:pt x="180" y="894"/>
                  </a:lnTo>
                  <a:lnTo>
                    <a:pt x="174" y="894"/>
                  </a:lnTo>
                  <a:lnTo>
                    <a:pt x="168" y="900"/>
                  </a:lnTo>
                  <a:lnTo>
                    <a:pt x="162" y="906"/>
                  </a:lnTo>
                  <a:lnTo>
                    <a:pt x="156" y="906"/>
                  </a:lnTo>
                  <a:lnTo>
                    <a:pt x="150" y="900"/>
                  </a:lnTo>
                  <a:lnTo>
                    <a:pt x="144" y="894"/>
                  </a:lnTo>
                  <a:lnTo>
                    <a:pt x="138" y="894"/>
                  </a:lnTo>
                  <a:lnTo>
                    <a:pt x="132" y="888"/>
                  </a:lnTo>
                  <a:lnTo>
                    <a:pt x="126" y="888"/>
                  </a:lnTo>
                  <a:lnTo>
                    <a:pt x="120" y="888"/>
                  </a:lnTo>
                  <a:lnTo>
                    <a:pt x="114" y="894"/>
                  </a:lnTo>
                  <a:lnTo>
                    <a:pt x="120" y="900"/>
                  </a:lnTo>
                  <a:lnTo>
                    <a:pt x="126" y="900"/>
                  </a:lnTo>
                  <a:lnTo>
                    <a:pt x="132" y="900"/>
                  </a:lnTo>
                  <a:lnTo>
                    <a:pt x="132" y="906"/>
                  </a:lnTo>
                  <a:lnTo>
                    <a:pt x="126" y="912"/>
                  </a:lnTo>
                  <a:lnTo>
                    <a:pt x="126" y="918"/>
                  </a:lnTo>
                  <a:lnTo>
                    <a:pt x="114" y="918"/>
                  </a:lnTo>
                  <a:lnTo>
                    <a:pt x="108" y="924"/>
                  </a:lnTo>
                  <a:lnTo>
                    <a:pt x="102" y="924"/>
                  </a:lnTo>
                  <a:lnTo>
                    <a:pt x="90" y="924"/>
                  </a:lnTo>
                  <a:lnTo>
                    <a:pt x="84" y="924"/>
                  </a:lnTo>
                  <a:lnTo>
                    <a:pt x="78" y="924"/>
                  </a:lnTo>
                  <a:lnTo>
                    <a:pt x="60" y="924"/>
                  </a:lnTo>
                  <a:lnTo>
                    <a:pt x="54" y="942"/>
                  </a:lnTo>
                  <a:lnTo>
                    <a:pt x="48" y="936"/>
                  </a:lnTo>
                  <a:lnTo>
                    <a:pt x="42" y="930"/>
                  </a:lnTo>
                  <a:lnTo>
                    <a:pt x="36" y="930"/>
                  </a:lnTo>
                  <a:lnTo>
                    <a:pt x="30" y="936"/>
                  </a:lnTo>
                  <a:lnTo>
                    <a:pt x="30" y="930"/>
                  </a:lnTo>
                  <a:lnTo>
                    <a:pt x="30" y="924"/>
                  </a:lnTo>
                  <a:lnTo>
                    <a:pt x="18" y="918"/>
                  </a:lnTo>
                  <a:lnTo>
                    <a:pt x="18" y="912"/>
                  </a:lnTo>
                  <a:lnTo>
                    <a:pt x="12" y="912"/>
                  </a:lnTo>
                  <a:lnTo>
                    <a:pt x="6" y="912"/>
                  </a:lnTo>
                  <a:lnTo>
                    <a:pt x="6" y="900"/>
                  </a:lnTo>
                  <a:lnTo>
                    <a:pt x="6" y="894"/>
                  </a:lnTo>
                  <a:lnTo>
                    <a:pt x="0" y="870"/>
                  </a:lnTo>
                  <a:lnTo>
                    <a:pt x="6" y="846"/>
                  </a:lnTo>
                  <a:lnTo>
                    <a:pt x="6" y="810"/>
                  </a:lnTo>
                  <a:lnTo>
                    <a:pt x="12" y="774"/>
                  </a:lnTo>
                  <a:lnTo>
                    <a:pt x="12" y="756"/>
                  </a:lnTo>
                  <a:lnTo>
                    <a:pt x="18" y="744"/>
                  </a:lnTo>
                  <a:lnTo>
                    <a:pt x="18" y="732"/>
                  </a:lnTo>
                  <a:lnTo>
                    <a:pt x="12" y="576"/>
                  </a:lnTo>
                  <a:lnTo>
                    <a:pt x="12" y="570"/>
                  </a:lnTo>
                  <a:lnTo>
                    <a:pt x="18" y="564"/>
                  </a:lnTo>
                  <a:lnTo>
                    <a:pt x="24" y="558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42" y="552"/>
                  </a:lnTo>
                  <a:lnTo>
                    <a:pt x="66" y="552"/>
                  </a:lnTo>
                  <a:lnTo>
                    <a:pt x="78" y="558"/>
                  </a:lnTo>
                  <a:lnTo>
                    <a:pt x="90" y="558"/>
                  </a:lnTo>
                  <a:lnTo>
                    <a:pt x="108" y="558"/>
                  </a:lnTo>
                  <a:lnTo>
                    <a:pt x="144" y="558"/>
                  </a:lnTo>
                  <a:lnTo>
                    <a:pt x="204" y="552"/>
                  </a:lnTo>
                  <a:lnTo>
                    <a:pt x="210" y="558"/>
                  </a:lnTo>
                  <a:lnTo>
                    <a:pt x="216" y="558"/>
                  </a:lnTo>
                  <a:lnTo>
                    <a:pt x="210" y="564"/>
                  </a:lnTo>
                  <a:lnTo>
                    <a:pt x="216" y="564"/>
                  </a:lnTo>
                  <a:lnTo>
                    <a:pt x="222" y="564"/>
                  </a:lnTo>
                  <a:lnTo>
                    <a:pt x="240" y="564"/>
                  </a:lnTo>
                  <a:lnTo>
                    <a:pt x="258" y="564"/>
                  </a:lnTo>
                  <a:lnTo>
                    <a:pt x="264" y="570"/>
                  </a:lnTo>
                  <a:lnTo>
                    <a:pt x="276" y="570"/>
                  </a:lnTo>
                  <a:lnTo>
                    <a:pt x="282" y="564"/>
                  </a:lnTo>
                  <a:lnTo>
                    <a:pt x="294" y="564"/>
                  </a:lnTo>
                  <a:lnTo>
                    <a:pt x="294" y="570"/>
                  </a:lnTo>
                  <a:lnTo>
                    <a:pt x="300" y="570"/>
                  </a:lnTo>
                  <a:lnTo>
                    <a:pt x="378" y="564"/>
                  </a:lnTo>
                  <a:lnTo>
                    <a:pt x="408" y="558"/>
                  </a:lnTo>
                  <a:lnTo>
                    <a:pt x="432" y="552"/>
                  </a:lnTo>
                  <a:lnTo>
                    <a:pt x="450" y="546"/>
                  </a:lnTo>
                  <a:lnTo>
                    <a:pt x="468" y="546"/>
                  </a:lnTo>
                  <a:lnTo>
                    <a:pt x="468" y="552"/>
                  </a:lnTo>
                  <a:lnTo>
                    <a:pt x="504" y="552"/>
                  </a:lnTo>
                  <a:lnTo>
                    <a:pt x="510" y="534"/>
                  </a:lnTo>
                  <a:lnTo>
                    <a:pt x="516" y="510"/>
                  </a:lnTo>
                  <a:lnTo>
                    <a:pt x="522" y="510"/>
                  </a:lnTo>
                  <a:lnTo>
                    <a:pt x="528" y="420"/>
                  </a:lnTo>
                  <a:lnTo>
                    <a:pt x="522" y="414"/>
                  </a:lnTo>
                  <a:lnTo>
                    <a:pt x="516" y="396"/>
                  </a:lnTo>
                  <a:lnTo>
                    <a:pt x="510" y="372"/>
                  </a:lnTo>
                  <a:lnTo>
                    <a:pt x="498" y="348"/>
                  </a:lnTo>
                  <a:lnTo>
                    <a:pt x="474" y="282"/>
                  </a:lnTo>
                  <a:lnTo>
                    <a:pt x="474" y="270"/>
                  </a:lnTo>
                  <a:lnTo>
                    <a:pt x="480" y="258"/>
                  </a:lnTo>
                  <a:lnTo>
                    <a:pt x="486" y="258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92" y="246"/>
                  </a:lnTo>
                  <a:lnTo>
                    <a:pt x="504" y="234"/>
                  </a:lnTo>
                  <a:lnTo>
                    <a:pt x="510" y="228"/>
                  </a:lnTo>
                  <a:lnTo>
                    <a:pt x="516" y="228"/>
                  </a:lnTo>
                  <a:lnTo>
                    <a:pt x="516" y="222"/>
                  </a:lnTo>
                  <a:lnTo>
                    <a:pt x="516" y="216"/>
                  </a:lnTo>
                  <a:lnTo>
                    <a:pt x="522" y="216"/>
                  </a:lnTo>
                  <a:lnTo>
                    <a:pt x="528" y="210"/>
                  </a:lnTo>
                  <a:lnTo>
                    <a:pt x="534" y="210"/>
                  </a:lnTo>
                  <a:lnTo>
                    <a:pt x="540" y="210"/>
                  </a:lnTo>
                  <a:lnTo>
                    <a:pt x="546" y="210"/>
                  </a:lnTo>
                  <a:lnTo>
                    <a:pt x="552" y="210"/>
                  </a:lnTo>
                  <a:lnTo>
                    <a:pt x="564" y="210"/>
                  </a:lnTo>
                  <a:lnTo>
                    <a:pt x="570" y="216"/>
                  </a:lnTo>
                  <a:lnTo>
                    <a:pt x="576" y="216"/>
                  </a:lnTo>
                  <a:lnTo>
                    <a:pt x="588" y="228"/>
                  </a:lnTo>
                  <a:lnTo>
                    <a:pt x="594" y="234"/>
                  </a:lnTo>
                  <a:lnTo>
                    <a:pt x="600" y="240"/>
                  </a:lnTo>
                  <a:lnTo>
                    <a:pt x="618" y="246"/>
                  </a:lnTo>
                  <a:lnTo>
                    <a:pt x="624" y="246"/>
                  </a:lnTo>
                  <a:lnTo>
                    <a:pt x="636" y="252"/>
                  </a:lnTo>
                  <a:lnTo>
                    <a:pt x="654" y="252"/>
                  </a:lnTo>
                  <a:lnTo>
                    <a:pt x="654" y="258"/>
                  </a:lnTo>
                  <a:lnTo>
                    <a:pt x="666" y="264"/>
                  </a:lnTo>
                  <a:lnTo>
                    <a:pt x="672" y="264"/>
                  </a:lnTo>
                  <a:lnTo>
                    <a:pt x="678" y="264"/>
                  </a:lnTo>
                  <a:lnTo>
                    <a:pt x="696" y="258"/>
                  </a:lnTo>
                  <a:lnTo>
                    <a:pt x="696" y="252"/>
                  </a:lnTo>
                  <a:lnTo>
                    <a:pt x="696" y="246"/>
                  </a:lnTo>
                  <a:lnTo>
                    <a:pt x="690" y="234"/>
                  </a:lnTo>
                  <a:lnTo>
                    <a:pt x="684" y="210"/>
                  </a:lnTo>
                  <a:lnTo>
                    <a:pt x="678" y="192"/>
                  </a:lnTo>
                  <a:lnTo>
                    <a:pt x="672" y="174"/>
                  </a:lnTo>
                  <a:lnTo>
                    <a:pt x="672" y="168"/>
                  </a:lnTo>
                  <a:lnTo>
                    <a:pt x="672" y="162"/>
                  </a:lnTo>
                  <a:lnTo>
                    <a:pt x="672" y="156"/>
                  </a:lnTo>
                  <a:lnTo>
                    <a:pt x="684" y="132"/>
                  </a:lnTo>
                  <a:lnTo>
                    <a:pt x="684" y="120"/>
                  </a:lnTo>
                  <a:lnTo>
                    <a:pt x="684" y="108"/>
                  </a:lnTo>
                  <a:lnTo>
                    <a:pt x="678" y="102"/>
                  </a:lnTo>
                  <a:lnTo>
                    <a:pt x="678" y="96"/>
                  </a:lnTo>
                  <a:lnTo>
                    <a:pt x="684" y="96"/>
                  </a:lnTo>
                  <a:lnTo>
                    <a:pt x="696" y="90"/>
                  </a:lnTo>
                  <a:lnTo>
                    <a:pt x="702" y="84"/>
                  </a:lnTo>
                  <a:lnTo>
                    <a:pt x="720" y="72"/>
                  </a:lnTo>
                  <a:lnTo>
                    <a:pt x="738" y="66"/>
                  </a:lnTo>
                  <a:lnTo>
                    <a:pt x="756" y="60"/>
                  </a:lnTo>
                  <a:lnTo>
                    <a:pt x="768" y="60"/>
                  </a:lnTo>
                  <a:lnTo>
                    <a:pt x="798" y="72"/>
                  </a:lnTo>
                  <a:lnTo>
                    <a:pt x="804" y="78"/>
                  </a:lnTo>
                  <a:lnTo>
                    <a:pt x="816" y="84"/>
                  </a:lnTo>
                  <a:lnTo>
                    <a:pt x="822" y="84"/>
                  </a:lnTo>
                  <a:lnTo>
                    <a:pt x="828" y="72"/>
                  </a:lnTo>
                  <a:lnTo>
                    <a:pt x="828" y="60"/>
                  </a:lnTo>
                  <a:lnTo>
                    <a:pt x="828" y="36"/>
                  </a:lnTo>
                  <a:lnTo>
                    <a:pt x="828" y="24"/>
                  </a:lnTo>
                  <a:lnTo>
                    <a:pt x="828" y="12"/>
                  </a:lnTo>
                  <a:lnTo>
                    <a:pt x="834" y="12"/>
                  </a:lnTo>
                  <a:lnTo>
                    <a:pt x="852" y="6"/>
                  </a:lnTo>
                  <a:lnTo>
                    <a:pt x="876" y="6"/>
                  </a:lnTo>
                  <a:lnTo>
                    <a:pt x="894" y="6"/>
                  </a:lnTo>
                  <a:lnTo>
                    <a:pt x="906" y="12"/>
                  </a:lnTo>
                  <a:lnTo>
                    <a:pt x="912" y="24"/>
                  </a:lnTo>
                  <a:lnTo>
                    <a:pt x="924" y="24"/>
                  </a:lnTo>
                  <a:lnTo>
                    <a:pt x="930" y="30"/>
                  </a:lnTo>
                  <a:lnTo>
                    <a:pt x="936" y="30"/>
                  </a:lnTo>
                  <a:lnTo>
                    <a:pt x="936" y="36"/>
                  </a:lnTo>
                  <a:lnTo>
                    <a:pt x="942" y="36"/>
                  </a:lnTo>
                  <a:lnTo>
                    <a:pt x="948" y="42"/>
                  </a:lnTo>
                  <a:lnTo>
                    <a:pt x="960" y="48"/>
                  </a:lnTo>
                  <a:lnTo>
                    <a:pt x="966" y="48"/>
                  </a:lnTo>
                  <a:lnTo>
                    <a:pt x="1026" y="60"/>
                  </a:lnTo>
                  <a:lnTo>
                    <a:pt x="1050" y="60"/>
                  </a:lnTo>
                  <a:lnTo>
                    <a:pt x="1050" y="54"/>
                  </a:lnTo>
                  <a:lnTo>
                    <a:pt x="1062" y="54"/>
                  </a:lnTo>
                  <a:lnTo>
                    <a:pt x="1074" y="48"/>
                  </a:lnTo>
                  <a:lnTo>
                    <a:pt x="1086" y="42"/>
                  </a:lnTo>
                  <a:lnTo>
                    <a:pt x="1104" y="36"/>
                  </a:lnTo>
                  <a:lnTo>
                    <a:pt x="1116" y="30"/>
                  </a:lnTo>
                  <a:lnTo>
                    <a:pt x="1122" y="24"/>
                  </a:lnTo>
                  <a:lnTo>
                    <a:pt x="1128" y="18"/>
                  </a:lnTo>
                  <a:lnTo>
                    <a:pt x="1134" y="18"/>
                  </a:lnTo>
                  <a:lnTo>
                    <a:pt x="1140" y="12"/>
                  </a:lnTo>
                  <a:lnTo>
                    <a:pt x="1146" y="6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64" y="6"/>
                  </a:lnTo>
                  <a:lnTo>
                    <a:pt x="1164" y="12"/>
                  </a:lnTo>
                  <a:lnTo>
                    <a:pt x="1170" y="24"/>
                  </a:lnTo>
                  <a:lnTo>
                    <a:pt x="1176" y="36"/>
                  </a:lnTo>
                  <a:lnTo>
                    <a:pt x="1188" y="42"/>
                  </a:lnTo>
                  <a:lnTo>
                    <a:pt x="1200" y="54"/>
                  </a:lnTo>
                  <a:lnTo>
                    <a:pt x="1224" y="84"/>
                  </a:lnTo>
                  <a:lnTo>
                    <a:pt x="1224" y="90"/>
                  </a:lnTo>
                  <a:lnTo>
                    <a:pt x="1236" y="96"/>
                  </a:lnTo>
                  <a:lnTo>
                    <a:pt x="1236" y="108"/>
                  </a:lnTo>
                  <a:lnTo>
                    <a:pt x="1248" y="114"/>
                  </a:lnTo>
                  <a:lnTo>
                    <a:pt x="1254" y="114"/>
                  </a:lnTo>
                  <a:lnTo>
                    <a:pt x="1260" y="114"/>
                  </a:lnTo>
                  <a:lnTo>
                    <a:pt x="1296" y="114"/>
                  </a:lnTo>
                  <a:lnTo>
                    <a:pt x="1302" y="114"/>
                  </a:lnTo>
                  <a:lnTo>
                    <a:pt x="1320" y="108"/>
                  </a:lnTo>
                  <a:lnTo>
                    <a:pt x="1326" y="108"/>
                  </a:lnTo>
                  <a:lnTo>
                    <a:pt x="1326" y="138"/>
                  </a:lnTo>
                  <a:lnTo>
                    <a:pt x="1326" y="210"/>
                  </a:lnTo>
                  <a:lnTo>
                    <a:pt x="1320" y="252"/>
                  </a:lnTo>
                  <a:lnTo>
                    <a:pt x="1320" y="270"/>
                  </a:lnTo>
                  <a:lnTo>
                    <a:pt x="1320" y="288"/>
                  </a:lnTo>
                  <a:lnTo>
                    <a:pt x="1320" y="318"/>
                  </a:lnTo>
                  <a:lnTo>
                    <a:pt x="1326" y="354"/>
                  </a:lnTo>
                  <a:lnTo>
                    <a:pt x="1326" y="372"/>
                  </a:lnTo>
                  <a:lnTo>
                    <a:pt x="1332" y="420"/>
                  </a:lnTo>
                  <a:lnTo>
                    <a:pt x="1332" y="450"/>
                  </a:lnTo>
                  <a:lnTo>
                    <a:pt x="1338" y="480"/>
                  </a:lnTo>
                  <a:lnTo>
                    <a:pt x="1344" y="486"/>
                  </a:lnTo>
                  <a:lnTo>
                    <a:pt x="1338" y="492"/>
                  </a:lnTo>
                  <a:lnTo>
                    <a:pt x="1344" y="492"/>
                  </a:lnTo>
                  <a:lnTo>
                    <a:pt x="1344" y="498"/>
                  </a:lnTo>
                  <a:lnTo>
                    <a:pt x="1350" y="498"/>
                  </a:lnTo>
                  <a:lnTo>
                    <a:pt x="1350" y="522"/>
                  </a:lnTo>
                  <a:lnTo>
                    <a:pt x="1362" y="564"/>
                  </a:lnTo>
                  <a:lnTo>
                    <a:pt x="1368" y="582"/>
                  </a:lnTo>
                  <a:lnTo>
                    <a:pt x="1380" y="600"/>
                  </a:lnTo>
                  <a:lnTo>
                    <a:pt x="1386" y="636"/>
                  </a:lnTo>
                  <a:lnTo>
                    <a:pt x="1380" y="660"/>
                  </a:lnTo>
                  <a:lnTo>
                    <a:pt x="1380" y="678"/>
                  </a:lnTo>
                  <a:lnTo>
                    <a:pt x="1380" y="684"/>
                  </a:lnTo>
                  <a:lnTo>
                    <a:pt x="1374" y="684"/>
                  </a:lnTo>
                  <a:lnTo>
                    <a:pt x="1368" y="690"/>
                  </a:lnTo>
                  <a:lnTo>
                    <a:pt x="1356" y="702"/>
                  </a:lnTo>
                  <a:lnTo>
                    <a:pt x="1350" y="708"/>
                  </a:lnTo>
                  <a:lnTo>
                    <a:pt x="1356" y="714"/>
                  </a:lnTo>
                  <a:lnTo>
                    <a:pt x="1368" y="726"/>
                  </a:lnTo>
                  <a:lnTo>
                    <a:pt x="1380" y="738"/>
                  </a:lnTo>
                  <a:lnTo>
                    <a:pt x="1386" y="744"/>
                  </a:lnTo>
                  <a:lnTo>
                    <a:pt x="1392" y="744"/>
                  </a:lnTo>
                  <a:lnTo>
                    <a:pt x="1410" y="750"/>
                  </a:lnTo>
                  <a:lnTo>
                    <a:pt x="1416" y="756"/>
                  </a:lnTo>
                  <a:lnTo>
                    <a:pt x="1422" y="756"/>
                  </a:lnTo>
                  <a:lnTo>
                    <a:pt x="1422" y="762"/>
                  </a:lnTo>
                  <a:lnTo>
                    <a:pt x="1428" y="774"/>
                  </a:lnTo>
                  <a:lnTo>
                    <a:pt x="1428" y="780"/>
                  </a:lnTo>
                  <a:lnTo>
                    <a:pt x="1434" y="780"/>
                  </a:lnTo>
                  <a:lnTo>
                    <a:pt x="1440" y="798"/>
                  </a:lnTo>
                  <a:lnTo>
                    <a:pt x="1422" y="816"/>
                  </a:lnTo>
                  <a:lnTo>
                    <a:pt x="1386" y="810"/>
                  </a:lnTo>
                  <a:lnTo>
                    <a:pt x="1380" y="816"/>
                  </a:lnTo>
                  <a:lnTo>
                    <a:pt x="1374" y="840"/>
                  </a:lnTo>
                  <a:lnTo>
                    <a:pt x="1350" y="852"/>
                  </a:lnTo>
                  <a:lnTo>
                    <a:pt x="1350" y="858"/>
                  </a:lnTo>
                  <a:lnTo>
                    <a:pt x="1350" y="864"/>
                  </a:lnTo>
                  <a:lnTo>
                    <a:pt x="1344" y="864"/>
                  </a:lnTo>
                  <a:lnTo>
                    <a:pt x="1338" y="870"/>
                  </a:lnTo>
                  <a:lnTo>
                    <a:pt x="1332" y="876"/>
                  </a:lnTo>
                  <a:lnTo>
                    <a:pt x="1314" y="876"/>
                  </a:lnTo>
                  <a:lnTo>
                    <a:pt x="1314" y="870"/>
                  </a:lnTo>
                  <a:lnTo>
                    <a:pt x="1308" y="870"/>
                  </a:lnTo>
                  <a:lnTo>
                    <a:pt x="1302" y="864"/>
                  </a:lnTo>
                  <a:lnTo>
                    <a:pt x="1296" y="864"/>
                  </a:lnTo>
                  <a:lnTo>
                    <a:pt x="1284" y="870"/>
                  </a:lnTo>
                  <a:lnTo>
                    <a:pt x="1266" y="870"/>
                  </a:lnTo>
                  <a:lnTo>
                    <a:pt x="1260" y="870"/>
                  </a:lnTo>
                  <a:lnTo>
                    <a:pt x="1248" y="876"/>
                  </a:lnTo>
                  <a:lnTo>
                    <a:pt x="1236" y="876"/>
                  </a:lnTo>
                  <a:lnTo>
                    <a:pt x="1230" y="882"/>
                  </a:lnTo>
                  <a:lnTo>
                    <a:pt x="1224" y="894"/>
                  </a:lnTo>
                  <a:lnTo>
                    <a:pt x="1218" y="918"/>
                  </a:lnTo>
                  <a:lnTo>
                    <a:pt x="1218" y="930"/>
                  </a:lnTo>
                  <a:lnTo>
                    <a:pt x="1218" y="942"/>
                  </a:lnTo>
                  <a:lnTo>
                    <a:pt x="1212" y="948"/>
                  </a:lnTo>
                  <a:lnTo>
                    <a:pt x="1200" y="984"/>
                  </a:lnTo>
                  <a:lnTo>
                    <a:pt x="1194" y="1008"/>
                  </a:lnTo>
                  <a:lnTo>
                    <a:pt x="1218" y="1038"/>
                  </a:lnTo>
                  <a:lnTo>
                    <a:pt x="1224" y="1044"/>
                  </a:lnTo>
                  <a:lnTo>
                    <a:pt x="1224" y="1062"/>
                  </a:lnTo>
                  <a:lnTo>
                    <a:pt x="1236" y="1080"/>
                  </a:lnTo>
                  <a:lnTo>
                    <a:pt x="1236" y="1086"/>
                  </a:lnTo>
                  <a:lnTo>
                    <a:pt x="1230" y="1092"/>
                  </a:lnTo>
                  <a:lnTo>
                    <a:pt x="1224" y="1110"/>
                  </a:lnTo>
                  <a:lnTo>
                    <a:pt x="1218" y="1122"/>
                  </a:lnTo>
                  <a:lnTo>
                    <a:pt x="1224" y="1140"/>
                  </a:lnTo>
                  <a:lnTo>
                    <a:pt x="1218" y="1146"/>
                  </a:lnTo>
                  <a:lnTo>
                    <a:pt x="1218" y="1152"/>
                  </a:lnTo>
                  <a:lnTo>
                    <a:pt x="1212" y="116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1" name="Freeform 36">
              <a:extLst>
                <a:ext uri="{FF2B5EF4-FFF2-40B4-BE49-F238E27FC236}">
                  <a16:creationId xmlns:a16="http://schemas.microsoft.com/office/drawing/2014/main" id="{B9C0D6BE-CB1C-4E69-B224-1ABF097AA88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90208" y="1647855"/>
              <a:ext cx="742415" cy="758173"/>
            </a:xfrm>
            <a:custGeom>
              <a:avLst/>
              <a:gdLst>
                <a:gd name="T0" fmla="*/ 75 w 1398"/>
                <a:gd name="T1" fmla="*/ 48 h 1428"/>
                <a:gd name="T2" fmla="*/ 68 w 1398"/>
                <a:gd name="T3" fmla="*/ 54 h 1428"/>
                <a:gd name="T4" fmla="*/ 57 w 1398"/>
                <a:gd name="T5" fmla="*/ 59 h 1428"/>
                <a:gd name="T6" fmla="*/ 55 w 1398"/>
                <a:gd name="T7" fmla="*/ 68 h 1428"/>
                <a:gd name="T8" fmla="*/ 55 w 1398"/>
                <a:gd name="T9" fmla="*/ 77 h 1428"/>
                <a:gd name="T10" fmla="*/ 57 w 1398"/>
                <a:gd name="T11" fmla="*/ 81 h 1428"/>
                <a:gd name="T12" fmla="*/ 56 w 1398"/>
                <a:gd name="T13" fmla="*/ 86 h 1428"/>
                <a:gd name="T14" fmla="*/ 57 w 1398"/>
                <a:gd name="T15" fmla="*/ 89 h 1428"/>
                <a:gd name="T16" fmla="*/ 58 w 1398"/>
                <a:gd name="T17" fmla="*/ 92 h 1428"/>
                <a:gd name="T18" fmla="*/ 58 w 1398"/>
                <a:gd name="T19" fmla="*/ 96 h 1428"/>
                <a:gd name="T20" fmla="*/ 49 w 1398"/>
                <a:gd name="T21" fmla="*/ 100 h 1428"/>
                <a:gd name="T22" fmla="*/ 47 w 1398"/>
                <a:gd name="T23" fmla="*/ 108 h 1428"/>
                <a:gd name="T24" fmla="*/ 48 w 1398"/>
                <a:gd name="T25" fmla="*/ 113 h 1428"/>
                <a:gd name="T26" fmla="*/ 43 w 1398"/>
                <a:gd name="T27" fmla="*/ 114 h 1428"/>
                <a:gd name="T28" fmla="*/ 39 w 1398"/>
                <a:gd name="T29" fmla="*/ 113 h 1428"/>
                <a:gd name="T30" fmla="*/ 33 w 1398"/>
                <a:gd name="T31" fmla="*/ 109 h 1428"/>
                <a:gd name="T32" fmla="*/ 29 w 1398"/>
                <a:gd name="T33" fmla="*/ 114 h 1428"/>
                <a:gd name="T34" fmla="*/ 22 w 1398"/>
                <a:gd name="T35" fmla="*/ 115 h 1428"/>
                <a:gd name="T36" fmla="*/ 21 w 1398"/>
                <a:gd name="T37" fmla="*/ 121 h 1428"/>
                <a:gd name="T38" fmla="*/ 12 w 1398"/>
                <a:gd name="T39" fmla="*/ 119 h 1428"/>
                <a:gd name="T40" fmla="*/ 9 w 1398"/>
                <a:gd name="T41" fmla="*/ 113 h 1428"/>
                <a:gd name="T42" fmla="*/ 2 w 1398"/>
                <a:gd name="T43" fmla="*/ 109 h 1428"/>
                <a:gd name="T44" fmla="*/ 4 w 1398"/>
                <a:gd name="T45" fmla="*/ 103 h 1428"/>
                <a:gd name="T46" fmla="*/ 2 w 1398"/>
                <a:gd name="T47" fmla="*/ 91 h 1428"/>
                <a:gd name="T48" fmla="*/ 6 w 1398"/>
                <a:gd name="T49" fmla="*/ 85 h 1428"/>
                <a:gd name="T50" fmla="*/ 10 w 1398"/>
                <a:gd name="T51" fmla="*/ 85 h 1428"/>
                <a:gd name="T52" fmla="*/ 15 w 1398"/>
                <a:gd name="T53" fmla="*/ 82 h 1428"/>
                <a:gd name="T54" fmla="*/ 20 w 1398"/>
                <a:gd name="T55" fmla="*/ 77 h 1428"/>
                <a:gd name="T56" fmla="*/ 16 w 1398"/>
                <a:gd name="T57" fmla="*/ 73 h 1428"/>
                <a:gd name="T58" fmla="*/ 16 w 1398"/>
                <a:gd name="T59" fmla="*/ 69 h 1428"/>
                <a:gd name="T60" fmla="*/ 14 w 1398"/>
                <a:gd name="T61" fmla="*/ 54 h 1428"/>
                <a:gd name="T62" fmla="*/ 12 w 1398"/>
                <a:gd name="T63" fmla="*/ 48 h 1428"/>
                <a:gd name="T64" fmla="*/ 11 w 1398"/>
                <a:gd name="T65" fmla="*/ 31 h 1428"/>
                <a:gd name="T66" fmla="*/ 14 w 1398"/>
                <a:gd name="T67" fmla="*/ 18 h 1428"/>
                <a:gd name="T68" fmla="*/ 19 w 1398"/>
                <a:gd name="T69" fmla="*/ 15 h 1428"/>
                <a:gd name="T70" fmla="*/ 26 w 1398"/>
                <a:gd name="T71" fmla="*/ 13 h 1428"/>
                <a:gd name="T72" fmla="*/ 34 w 1398"/>
                <a:gd name="T73" fmla="*/ 12 h 1428"/>
                <a:gd name="T74" fmla="*/ 39 w 1398"/>
                <a:gd name="T75" fmla="*/ 9 h 1428"/>
                <a:gd name="T76" fmla="*/ 43 w 1398"/>
                <a:gd name="T77" fmla="*/ 7 h 1428"/>
                <a:gd name="T78" fmla="*/ 48 w 1398"/>
                <a:gd name="T79" fmla="*/ 3 h 1428"/>
                <a:gd name="T80" fmla="*/ 54 w 1398"/>
                <a:gd name="T81" fmla="*/ 0 h 1428"/>
                <a:gd name="T82" fmla="*/ 58 w 1398"/>
                <a:gd name="T83" fmla="*/ 0 h 1428"/>
                <a:gd name="T84" fmla="*/ 66 w 1398"/>
                <a:gd name="T85" fmla="*/ 2 h 1428"/>
                <a:gd name="T86" fmla="*/ 70 w 1398"/>
                <a:gd name="T87" fmla="*/ 3 h 1428"/>
                <a:gd name="T88" fmla="*/ 75 w 1398"/>
                <a:gd name="T89" fmla="*/ 6 h 1428"/>
                <a:gd name="T90" fmla="*/ 80 w 1398"/>
                <a:gd name="T91" fmla="*/ 9 h 1428"/>
                <a:gd name="T92" fmla="*/ 83 w 1398"/>
                <a:gd name="T93" fmla="*/ 12 h 1428"/>
                <a:gd name="T94" fmla="*/ 87 w 1398"/>
                <a:gd name="T95" fmla="*/ 15 h 1428"/>
                <a:gd name="T96" fmla="*/ 94 w 1398"/>
                <a:gd name="T97" fmla="*/ 15 h 1428"/>
                <a:gd name="T98" fmla="*/ 99 w 1398"/>
                <a:gd name="T99" fmla="*/ 21 h 1428"/>
                <a:gd name="T100" fmla="*/ 103 w 1398"/>
                <a:gd name="T101" fmla="*/ 23 h 1428"/>
                <a:gd name="T102" fmla="*/ 110 w 1398"/>
                <a:gd name="T103" fmla="*/ 26 h 1428"/>
                <a:gd name="T104" fmla="*/ 116 w 1398"/>
                <a:gd name="T105" fmla="*/ 27 h 1428"/>
                <a:gd name="T106" fmla="*/ 120 w 1398"/>
                <a:gd name="T107" fmla="*/ 27 h 1428"/>
                <a:gd name="T108" fmla="*/ 116 w 1398"/>
                <a:gd name="T109" fmla="*/ 35 h 1428"/>
                <a:gd name="T110" fmla="*/ 104 w 1398"/>
                <a:gd name="T111" fmla="*/ 37 h 1428"/>
                <a:gd name="T112" fmla="*/ 97 w 1398"/>
                <a:gd name="T113" fmla="*/ 34 h 1428"/>
                <a:gd name="T114" fmla="*/ 91 w 1398"/>
                <a:gd name="T115" fmla="*/ 29 h 1428"/>
                <a:gd name="T116" fmla="*/ 75 w 1398"/>
                <a:gd name="T117" fmla="*/ 29 h 1428"/>
                <a:gd name="T118" fmla="*/ 72 w 1398"/>
                <a:gd name="T119" fmla="*/ 39 h 1428"/>
                <a:gd name="T120" fmla="*/ 80 w 1398"/>
                <a:gd name="T121" fmla="*/ 41 h 142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98"/>
                <a:gd name="T184" fmla="*/ 0 h 1428"/>
                <a:gd name="T185" fmla="*/ 1398 w 1398"/>
                <a:gd name="T186" fmla="*/ 1428 h 142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98" h="1428">
                  <a:moveTo>
                    <a:pt x="924" y="474"/>
                  </a:moveTo>
                  <a:lnTo>
                    <a:pt x="900" y="480"/>
                  </a:lnTo>
                  <a:lnTo>
                    <a:pt x="864" y="486"/>
                  </a:lnTo>
                  <a:lnTo>
                    <a:pt x="864" y="504"/>
                  </a:lnTo>
                  <a:lnTo>
                    <a:pt x="858" y="522"/>
                  </a:lnTo>
                  <a:lnTo>
                    <a:pt x="864" y="528"/>
                  </a:lnTo>
                  <a:lnTo>
                    <a:pt x="864" y="552"/>
                  </a:lnTo>
                  <a:lnTo>
                    <a:pt x="852" y="552"/>
                  </a:lnTo>
                  <a:lnTo>
                    <a:pt x="846" y="564"/>
                  </a:lnTo>
                  <a:lnTo>
                    <a:pt x="840" y="582"/>
                  </a:lnTo>
                  <a:lnTo>
                    <a:pt x="834" y="594"/>
                  </a:lnTo>
                  <a:lnTo>
                    <a:pt x="828" y="606"/>
                  </a:lnTo>
                  <a:lnTo>
                    <a:pt x="828" y="618"/>
                  </a:lnTo>
                  <a:lnTo>
                    <a:pt x="786" y="630"/>
                  </a:lnTo>
                  <a:lnTo>
                    <a:pt x="774" y="636"/>
                  </a:lnTo>
                  <a:lnTo>
                    <a:pt x="762" y="642"/>
                  </a:lnTo>
                  <a:lnTo>
                    <a:pt x="744" y="648"/>
                  </a:lnTo>
                  <a:lnTo>
                    <a:pt x="714" y="660"/>
                  </a:lnTo>
                  <a:lnTo>
                    <a:pt x="696" y="666"/>
                  </a:lnTo>
                  <a:lnTo>
                    <a:pt x="666" y="672"/>
                  </a:lnTo>
                  <a:lnTo>
                    <a:pt x="654" y="684"/>
                  </a:lnTo>
                  <a:lnTo>
                    <a:pt x="648" y="684"/>
                  </a:lnTo>
                  <a:lnTo>
                    <a:pt x="642" y="696"/>
                  </a:lnTo>
                  <a:lnTo>
                    <a:pt x="636" y="696"/>
                  </a:lnTo>
                  <a:lnTo>
                    <a:pt x="630" y="714"/>
                  </a:lnTo>
                  <a:lnTo>
                    <a:pt x="624" y="738"/>
                  </a:lnTo>
                  <a:lnTo>
                    <a:pt x="624" y="762"/>
                  </a:lnTo>
                  <a:lnTo>
                    <a:pt x="630" y="780"/>
                  </a:lnTo>
                  <a:lnTo>
                    <a:pt x="636" y="804"/>
                  </a:lnTo>
                  <a:lnTo>
                    <a:pt x="642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6" y="834"/>
                  </a:lnTo>
                  <a:lnTo>
                    <a:pt x="636" y="870"/>
                  </a:lnTo>
                  <a:lnTo>
                    <a:pt x="636" y="882"/>
                  </a:lnTo>
                  <a:lnTo>
                    <a:pt x="636" y="906"/>
                  </a:lnTo>
                  <a:lnTo>
                    <a:pt x="630" y="906"/>
                  </a:lnTo>
                  <a:lnTo>
                    <a:pt x="636" y="918"/>
                  </a:lnTo>
                  <a:lnTo>
                    <a:pt x="642" y="918"/>
                  </a:lnTo>
                  <a:lnTo>
                    <a:pt x="642" y="930"/>
                  </a:lnTo>
                  <a:lnTo>
                    <a:pt x="648" y="936"/>
                  </a:lnTo>
                  <a:lnTo>
                    <a:pt x="654" y="936"/>
                  </a:lnTo>
                  <a:lnTo>
                    <a:pt x="654" y="942"/>
                  </a:lnTo>
                  <a:lnTo>
                    <a:pt x="654" y="948"/>
                  </a:lnTo>
                  <a:lnTo>
                    <a:pt x="648" y="954"/>
                  </a:lnTo>
                  <a:lnTo>
                    <a:pt x="648" y="960"/>
                  </a:lnTo>
                  <a:lnTo>
                    <a:pt x="648" y="966"/>
                  </a:lnTo>
                  <a:lnTo>
                    <a:pt x="648" y="972"/>
                  </a:lnTo>
                  <a:lnTo>
                    <a:pt x="648" y="990"/>
                  </a:lnTo>
                  <a:lnTo>
                    <a:pt x="654" y="996"/>
                  </a:lnTo>
                  <a:lnTo>
                    <a:pt x="648" y="1002"/>
                  </a:lnTo>
                  <a:lnTo>
                    <a:pt x="648" y="1008"/>
                  </a:lnTo>
                  <a:lnTo>
                    <a:pt x="654" y="1014"/>
                  </a:lnTo>
                  <a:lnTo>
                    <a:pt x="654" y="1020"/>
                  </a:lnTo>
                  <a:lnTo>
                    <a:pt x="654" y="1026"/>
                  </a:lnTo>
                  <a:lnTo>
                    <a:pt x="660" y="1026"/>
                  </a:lnTo>
                  <a:lnTo>
                    <a:pt x="660" y="1032"/>
                  </a:lnTo>
                  <a:lnTo>
                    <a:pt x="660" y="1038"/>
                  </a:lnTo>
                  <a:lnTo>
                    <a:pt x="666" y="1044"/>
                  </a:lnTo>
                  <a:lnTo>
                    <a:pt x="672" y="1050"/>
                  </a:lnTo>
                  <a:lnTo>
                    <a:pt x="672" y="1056"/>
                  </a:lnTo>
                  <a:lnTo>
                    <a:pt x="672" y="1062"/>
                  </a:lnTo>
                  <a:lnTo>
                    <a:pt x="672" y="1068"/>
                  </a:lnTo>
                  <a:lnTo>
                    <a:pt x="672" y="1074"/>
                  </a:lnTo>
                  <a:lnTo>
                    <a:pt x="678" y="1074"/>
                  </a:lnTo>
                  <a:lnTo>
                    <a:pt x="678" y="1080"/>
                  </a:lnTo>
                  <a:lnTo>
                    <a:pt x="678" y="1086"/>
                  </a:lnTo>
                  <a:lnTo>
                    <a:pt x="672" y="1092"/>
                  </a:lnTo>
                  <a:lnTo>
                    <a:pt x="672" y="1098"/>
                  </a:lnTo>
                  <a:lnTo>
                    <a:pt x="672" y="1104"/>
                  </a:lnTo>
                  <a:lnTo>
                    <a:pt x="666" y="1116"/>
                  </a:lnTo>
                  <a:lnTo>
                    <a:pt x="624" y="1122"/>
                  </a:lnTo>
                  <a:lnTo>
                    <a:pt x="576" y="1134"/>
                  </a:lnTo>
                  <a:lnTo>
                    <a:pt x="570" y="1140"/>
                  </a:lnTo>
                  <a:lnTo>
                    <a:pt x="570" y="1146"/>
                  </a:lnTo>
                  <a:lnTo>
                    <a:pt x="564" y="1146"/>
                  </a:lnTo>
                  <a:lnTo>
                    <a:pt x="564" y="1152"/>
                  </a:lnTo>
                  <a:lnTo>
                    <a:pt x="564" y="1164"/>
                  </a:lnTo>
                  <a:lnTo>
                    <a:pt x="564" y="1170"/>
                  </a:lnTo>
                  <a:lnTo>
                    <a:pt x="564" y="1176"/>
                  </a:lnTo>
                  <a:lnTo>
                    <a:pt x="546" y="1176"/>
                  </a:lnTo>
                  <a:lnTo>
                    <a:pt x="540" y="1212"/>
                  </a:lnTo>
                  <a:lnTo>
                    <a:pt x="540" y="1230"/>
                  </a:lnTo>
                  <a:lnTo>
                    <a:pt x="546" y="1242"/>
                  </a:lnTo>
                  <a:lnTo>
                    <a:pt x="546" y="1254"/>
                  </a:lnTo>
                  <a:lnTo>
                    <a:pt x="558" y="1266"/>
                  </a:lnTo>
                  <a:lnTo>
                    <a:pt x="576" y="1272"/>
                  </a:lnTo>
                  <a:lnTo>
                    <a:pt x="570" y="1278"/>
                  </a:lnTo>
                  <a:lnTo>
                    <a:pt x="576" y="1284"/>
                  </a:lnTo>
                  <a:lnTo>
                    <a:pt x="570" y="1296"/>
                  </a:lnTo>
                  <a:lnTo>
                    <a:pt x="558" y="1302"/>
                  </a:lnTo>
                  <a:lnTo>
                    <a:pt x="540" y="1308"/>
                  </a:lnTo>
                  <a:lnTo>
                    <a:pt x="522" y="1314"/>
                  </a:lnTo>
                  <a:lnTo>
                    <a:pt x="516" y="1314"/>
                  </a:lnTo>
                  <a:lnTo>
                    <a:pt x="510" y="1314"/>
                  </a:lnTo>
                  <a:lnTo>
                    <a:pt x="504" y="1314"/>
                  </a:lnTo>
                  <a:lnTo>
                    <a:pt x="498" y="1320"/>
                  </a:lnTo>
                  <a:lnTo>
                    <a:pt x="492" y="1320"/>
                  </a:lnTo>
                  <a:lnTo>
                    <a:pt x="492" y="1326"/>
                  </a:lnTo>
                  <a:lnTo>
                    <a:pt x="486" y="1326"/>
                  </a:lnTo>
                  <a:lnTo>
                    <a:pt x="480" y="1326"/>
                  </a:lnTo>
                  <a:lnTo>
                    <a:pt x="480" y="1320"/>
                  </a:lnTo>
                  <a:lnTo>
                    <a:pt x="468" y="1314"/>
                  </a:lnTo>
                  <a:lnTo>
                    <a:pt x="462" y="1308"/>
                  </a:lnTo>
                  <a:lnTo>
                    <a:pt x="456" y="1302"/>
                  </a:lnTo>
                  <a:lnTo>
                    <a:pt x="444" y="1296"/>
                  </a:lnTo>
                  <a:lnTo>
                    <a:pt x="420" y="1290"/>
                  </a:lnTo>
                  <a:lnTo>
                    <a:pt x="414" y="1278"/>
                  </a:lnTo>
                  <a:lnTo>
                    <a:pt x="408" y="1278"/>
                  </a:lnTo>
                  <a:lnTo>
                    <a:pt x="408" y="1266"/>
                  </a:lnTo>
                  <a:lnTo>
                    <a:pt x="402" y="1260"/>
                  </a:lnTo>
                  <a:lnTo>
                    <a:pt x="384" y="1260"/>
                  </a:lnTo>
                  <a:lnTo>
                    <a:pt x="372" y="1266"/>
                  </a:lnTo>
                  <a:lnTo>
                    <a:pt x="360" y="1272"/>
                  </a:lnTo>
                  <a:lnTo>
                    <a:pt x="348" y="1272"/>
                  </a:lnTo>
                  <a:lnTo>
                    <a:pt x="342" y="1284"/>
                  </a:lnTo>
                  <a:lnTo>
                    <a:pt x="336" y="1290"/>
                  </a:lnTo>
                  <a:lnTo>
                    <a:pt x="336" y="1308"/>
                  </a:lnTo>
                  <a:lnTo>
                    <a:pt x="336" y="1314"/>
                  </a:lnTo>
                  <a:lnTo>
                    <a:pt x="336" y="1320"/>
                  </a:lnTo>
                  <a:lnTo>
                    <a:pt x="330" y="1326"/>
                  </a:lnTo>
                  <a:lnTo>
                    <a:pt x="330" y="1332"/>
                  </a:lnTo>
                  <a:lnTo>
                    <a:pt x="330" y="1338"/>
                  </a:lnTo>
                  <a:lnTo>
                    <a:pt x="300" y="1338"/>
                  </a:lnTo>
                  <a:lnTo>
                    <a:pt x="288" y="1338"/>
                  </a:lnTo>
                  <a:lnTo>
                    <a:pt x="258" y="1326"/>
                  </a:lnTo>
                  <a:lnTo>
                    <a:pt x="246" y="1332"/>
                  </a:lnTo>
                  <a:lnTo>
                    <a:pt x="240" y="1338"/>
                  </a:lnTo>
                  <a:lnTo>
                    <a:pt x="234" y="1338"/>
                  </a:lnTo>
                  <a:lnTo>
                    <a:pt x="228" y="1350"/>
                  </a:lnTo>
                  <a:lnTo>
                    <a:pt x="228" y="1374"/>
                  </a:lnTo>
                  <a:lnTo>
                    <a:pt x="234" y="1392"/>
                  </a:lnTo>
                  <a:lnTo>
                    <a:pt x="246" y="1398"/>
                  </a:lnTo>
                  <a:lnTo>
                    <a:pt x="246" y="1410"/>
                  </a:lnTo>
                  <a:lnTo>
                    <a:pt x="216" y="1428"/>
                  </a:lnTo>
                  <a:lnTo>
                    <a:pt x="198" y="1428"/>
                  </a:lnTo>
                  <a:lnTo>
                    <a:pt x="192" y="1422"/>
                  </a:lnTo>
                  <a:lnTo>
                    <a:pt x="174" y="1410"/>
                  </a:lnTo>
                  <a:lnTo>
                    <a:pt x="156" y="1386"/>
                  </a:lnTo>
                  <a:lnTo>
                    <a:pt x="132" y="1374"/>
                  </a:lnTo>
                  <a:lnTo>
                    <a:pt x="108" y="1368"/>
                  </a:lnTo>
                  <a:lnTo>
                    <a:pt x="84" y="1368"/>
                  </a:lnTo>
                  <a:lnTo>
                    <a:pt x="96" y="1356"/>
                  </a:lnTo>
                  <a:lnTo>
                    <a:pt x="102" y="1344"/>
                  </a:lnTo>
                  <a:lnTo>
                    <a:pt x="102" y="1332"/>
                  </a:lnTo>
                  <a:lnTo>
                    <a:pt x="108" y="1320"/>
                  </a:lnTo>
                  <a:lnTo>
                    <a:pt x="108" y="1302"/>
                  </a:lnTo>
                  <a:lnTo>
                    <a:pt x="96" y="1278"/>
                  </a:lnTo>
                  <a:lnTo>
                    <a:pt x="66" y="1284"/>
                  </a:lnTo>
                  <a:lnTo>
                    <a:pt x="54" y="1278"/>
                  </a:lnTo>
                  <a:lnTo>
                    <a:pt x="36" y="1278"/>
                  </a:lnTo>
                  <a:lnTo>
                    <a:pt x="18" y="1284"/>
                  </a:lnTo>
                  <a:lnTo>
                    <a:pt x="18" y="1272"/>
                  </a:lnTo>
                  <a:lnTo>
                    <a:pt x="24" y="1260"/>
                  </a:lnTo>
                  <a:lnTo>
                    <a:pt x="24" y="1254"/>
                  </a:lnTo>
                  <a:lnTo>
                    <a:pt x="30" y="1248"/>
                  </a:lnTo>
                  <a:lnTo>
                    <a:pt x="24" y="1230"/>
                  </a:lnTo>
                  <a:lnTo>
                    <a:pt x="30" y="1218"/>
                  </a:lnTo>
                  <a:lnTo>
                    <a:pt x="36" y="1200"/>
                  </a:lnTo>
                  <a:lnTo>
                    <a:pt x="42" y="1194"/>
                  </a:lnTo>
                  <a:lnTo>
                    <a:pt x="42" y="1188"/>
                  </a:lnTo>
                  <a:lnTo>
                    <a:pt x="30" y="1170"/>
                  </a:lnTo>
                  <a:lnTo>
                    <a:pt x="30" y="1152"/>
                  </a:lnTo>
                  <a:lnTo>
                    <a:pt x="24" y="1146"/>
                  </a:lnTo>
                  <a:lnTo>
                    <a:pt x="0" y="1116"/>
                  </a:lnTo>
                  <a:lnTo>
                    <a:pt x="6" y="1092"/>
                  </a:lnTo>
                  <a:lnTo>
                    <a:pt x="18" y="1056"/>
                  </a:lnTo>
                  <a:lnTo>
                    <a:pt x="24" y="1050"/>
                  </a:lnTo>
                  <a:lnTo>
                    <a:pt x="24" y="1038"/>
                  </a:lnTo>
                  <a:lnTo>
                    <a:pt x="24" y="1026"/>
                  </a:lnTo>
                  <a:lnTo>
                    <a:pt x="30" y="1002"/>
                  </a:lnTo>
                  <a:lnTo>
                    <a:pt x="36" y="990"/>
                  </a:lnTo>
                  <a:lnTo>
                    <a:pt x="42" y="984"/>
                  </a:lnTo>
                  <a:lnTo>
                    <a:pt x="54" y="984"/>
                  </a:lnTo>
                  <a:lnTo>
                    <a:pt x="66" y="978"/>
                  </a:lnTo>
                  <a:lnTo>
                    <a:pt x="72" y="978"/>
                  </a:lnTo>
                  <a:lnTo>
                    <a:pt x="90" y="978"/>
                  </a:lnTo>
                  <a:lnTo>
                    <a:pt x="102" y="972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78"/>
                  </a:lnTo>
                  <a:lnTo>
                    <a:pt x="120" y="984"/>
                  </a:lnTo>
                  <a:lnTo>
                    <a:pt x="138" y="984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6" y="972"/>
                  </a:lnTo>
                  <a:lnTo>
                    <a:pt x="156" y="966"/>
                  </a:lnTo>
                  <a:lnTo>
                    <a:pt x="156" y="960"/>
                  </a:lnTo>
                  <a:lnTo>
                    <a:pt x="180" y="948"/>
                  </a:lnTo>
                  <a:lnTo>
                    <a:pt x="186" y="924"/>
                  </a:lnTo>
                  <a:lnTo>
                    <a:pt x="192" y="918"/>
                  </a:lnTo>
                  <a:lnTo>
                    <a:pt x="228" y="924"/>
                  </a:lnTo>
                  <a:lnTo>
                    <a:pt x="246" y="906"/>
                  </a:lnTo>
                  <a:lnTo>
                    <a:pt x="240" y="888"/>
                  </a:lnTo>
                  <a:lnTo>
                    <a:pt x="234" y="888"/>
                  </a:lnTo>
                  <a:lnTo>
                    <a:pt x="234" y="882"/>
                  </a:lnTo>
                  <a:lnTo>
                    <a:pt x="228" y="870"/>
                  </a:lnTo>
                  <a:lnTo>
                    <a:pt x="228" y="864"/>
                  </a:lnTo>
                  <a:lnTo>
                    <a:pt x="222" y="864"/>
                  </a:lnTo>
                  <a:lnTo>
                    <a:pt x="216" y="858"/>
                  </a:lnTo>
                  <a:lnTo>
                    <a:pt x="198" y="852"/>
                  </a:lnTo>
                  <a:lnTo>
                    <a:pt x="192" y="852"/>
                  </a:lnTo>
                  <a:lnTo>
                    <a:pt x="186" y="846"/>
                  </a:lnTo>
                  <a:lnTo>
                    <a:pt x="174" y="834"/>
                  </a:lnTo>
                  <a:lnTo>
                    <a:pt x="162" y="822"/>
                  </a:lnTo>
                  <a:lnTo>
                    <a:pt x="156" y="816"/>
                  </a:lnTo>
                  <a:lnTo>
                    <a:pt x="162" y="810"/>
                  </a:lnTo>
                  <a:lnTo>
                    <a:pt x="174" y="798"/>
                  </a:lnTo>
                  <a:lnTo>
                    <a:pt x="180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68"/>
                  </a:lnTo>
                  <a:lnTo>
                    <a:pt x="192" y="744"/>
                  </a:lnTo>
                  <a:lnTo>
                    <a:pt x="186" y="708"/>
                  </a:lnTo>
                  <a:lnTo>
                    <a:pt x="174" y="690"/>
                  </a:lnTo>
                  <a:lnTo>
                    <a:pt x="168" y="672"/>
                  </a:lnTo>
                  <a:lnTo>
                    <a:pt x="156" y="630"/>
                  </a:lnTo>
                  <a:lnTo>
                    <a:pt x="156" y="606"/>
                  </a:lnTo>
                  <a:lnTo>
                    <a:pt x="150" y="606"/>
                  </a:lnTo>
                  <a:lnTo>
                    <a:pt x="150" y="600"/>
                  </a:lnTo>
                  <a:lnTo>
                    <a:pt x="144" y="600"/>
                  </a:lnTo>
                  <a:lnTo>
                    <a:pt x="150" y="594"/>
                  </a:lnTo>
                  <a:lnTo>
                    <a:pt x="144" y="588"/>
                  </a:lnTo>
                  <a:lnTo>
                    <a:pt x="138" y="558"/>
                  </a:lnTo>
                  <a:lnTo>
                    <a:pt x="138" y="528"/>
                  </a:lnTo>
                  <a:lnTo>
                    <a:pt x="132" y="480"/>
                  </a:lnTo>
                  <a:lnTo>
                    <a:pt x="132" y="462"/>
                  </a:lnTo>
                  <a:lnTo>
                    <a:pt x="126" y="426"/>
                  </a:lnTo>
                  <a:lnTo>
                    <a:pt x="126" y="396"/>
                  </a:lnTo>
                  <a:lnTo>
                    <a:pt x="126" y="378"/>
                  </a:lnTo>
                  <a:lnTo>
                    <a:pt x="126" y="360"/>
                  </a:lnTo>
                  <a:lnTo>
                    <a:pt x="132" y="318"/>
                  </a:lnTo>
                  <a:lnTo>
                    <a:pt x="132" y="246"/>
                  </a:lnTo>
                  <a:lnTo>
                    <a:pt x="132" y="216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2" y="210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92" y="198"/>
                  </a:lnTo>
                  <a:lnTo>
                    <a:pt x="198" y="198"/>
                  </a:lnTo>
                  <a:lnTo>
                    <a:pt x="216" y="180"/>
                  </a:lnTo>
                  <a:lnTo>
                    <a:pt x="222" y="174"/>
                  </a:lnTo>
                  <a:lnTo>
                    <a:pt x="222" y="168"/>
                  </a:lnTo>
                  <a:lnTo>
                    <a:pt x="228" y="168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44"/>
                  </a:lnTo>
                  <a:lnTo>
                    <a:pt x="258" y="144"/>
                  </a:lnTo>
                  <a:lnTo>
                    <a:pt x="276" y="150"/>
                  </a:lnTo>
                  <a:lnTo>
                    <a:pt x="300" y="150"/>
                  </a:lnTo>
                  <a:lnTo>
                    <a:pt x="312" y="150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8" y="156"/>
                  </a:lnTo>
                  <a:lnTo>
                    <a:pt x="354" y="150"/>
                  </a:lnTo>
                  <a:lnTo>
                    <a:pt x="372" y="144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08" y="126"/>
                  </a:lnTo>
                  <a:lnTo>
                    <a:pt x="414" y="120"/>
                  </a:lnTo>
                  <a:lnTo>
                    <a:pt x="420" y="120"/>
                  </a:lnTo>
                  <a:lnTo>
                    <a:pt x="426" y="120"/>
                  </a:lnTo>
                  <a:lnTo>
                    <a:pt x="432" y="114"/>
                  </a:lnTo>
                  <a:lnTo>
                    <a:pt x="450" y="102"/>
                  </a:lnTo>
                  <a:lnTo>
                    <a:pt x="456" y="96"/>
                  </a:lnTo>
                  <a:lnTo>
                    <a:pt x="468" y="90"/>
                  </a:lnTo>
                  <a:lnTo>
                    <a:pt x="474" y="90"/>
                  </a:lnTo>
                  <a:lnTo>
                    <a:pt x="480" y="84"/>
                  </a:lnTo>
                  <a:lnTo>
                    <a:pt x="486" y="84"/>
                  </a:lnTo>
                  <a:lnTo>
                    <a:pt x="492" y="78"/>
                  </a:lnTo>
                  <a:lnTo>
                    <a:pt x="498" y="78"/>
                  </a:lnTo>
                  <a:lnTo>
                    <a:pt x="498" y="72"/>
                  </a:lnTo>
                  <a:lnTo>
                    <a:pt x="504" y="72"/>
                  </a:lnTo>
                  <a:lnTo>
                    <a:pt x="510" y="66"/>
                  </a:lnTo>
                  <a:lnTo>
                    <a:pt x="516" y="66"/>
                  </a:lnTo>
                  <a:lnTo>
                    <a:pt x="522" y="60"/>
                  </a:lnTo>
                  <a:lnTo>
                    <a:pt x="552" y="42"/>
                  </a:lnTo>
                  <a:lnTo>
                    <a:pt x="558" y="36"/>
                  </a:lnTo>
                  <a:lnTo>
                    <a:pt x="576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94" y="18"/>
                  </a:lnTo>
                  <a:lnTo>
                    <a:pt x="600" y="12"/>
                  </a:lnTo>
                  <a:lnTo>
                    <a:pt x="612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6"/>
                  </a:lnTo>
                  <a:lnTo>
                    <a:pt x="648" y="6"/>
                  </a:lnTo>
                  <a:lnTo>
                    <a:pt x="660" y="6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38" y="18"/>
                  </a:lnTo>
                  <a:lnTo>
                    <a:pt x="744" y="18"/>
                  </a:lnTo>
                  <a:lnTo>
                    <a:pt x="756" y="18"/>
                  </a:lnTo>
                  <a:lnTo>
                    <a:pt x="762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80" y="24"/>
                  </a:lnTo>
                  <a:lnTo>
                    <a:pt x="792" y="24"/>
                  </a:lnTo>
                  <a:lnTo>
                    <a:pt x="792" y="30"/>
                  </a:lnTo>
                  <a:lnTo>
                    <a:pt x="810" y="30"/>
                  </a:lnTo>
                  <a:lnTo>
                    <a:pt x="822" y="36"/>
                  </a:lnTo>
                  <a:lnTo>
                    <a:pt x="834" y="42"/>
                  </a:lnTo>
                  <a:lnTo>
                    <a:pt x="840" y="48"/>
                  </a:lnTo>
                  <a:lnTo>
                    <a:pt x="846" y="54"/>
                  </a:lnTo>
                  <a:lnTo>
                    <a:pt x="852" y="60"/>
                  </a:lnTo>
                  <a:lnTo>
                    <a:pt x="858" y="66"/>
                  </a:lnTo>
                  <a:lnTo>
                    <a:pt x="864" y="66"/>
                  </a:lnTo>
                  <a:lnTo>
                    <a:pt x="864" y="72"/>
                  </a:lnTo>
                  <a:lnTo>
                    <a:pt x="876" y="78"/>
                  </a:lnTo>
                  <a:lnTo>
                    <a:pt x="900" y="84"/>
                  </a:lnTo>
                  <a:lnTo>
                    <a:pt x="906" y="90"/>
                  </a:lnTo>
                  <a:lnTo>
                    <a:pt x="912" y="90"/>
                  </a:lnTo>
                  <a:lnTo>
                    <a:pt x="912" y="96"/>
                  </a:lnTo>
                  <a:lnTo>
                    <a:pt x="924" y="108"/>
                  </a:lnTo>
                  <a:lnTo>
                    <a:pt x="930" y="108"/>
                  </a:lnTo>
                  <a:lnTo>
                    <a:pt x="936" y="114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2" y="126"/>
                  </a:lnTo>
                  <a:lnTo>
                    <a:pt x="948" y="132"/>
                  </a:lnTo>
                  <a:lnTo>
                    <a:pt x="960" y="138"/>
                  </a:lnTo>
                  <a:lnTo>
                    <a:pt x="966" y="144"/>
                  </a:lnTo>
                  <a:lnTo>
                    <a:pt x="972" y="156"/>
                  </a:lnTo>
                  <a:lnTo>
                    <a:pt x="978" y="162"/>
                  </a:lnTo>
                  <a:lnTo>
                    <a:pt x="984" y="162"/>
                  </a:lnTo>
                  <a:lnTo>
                    <a:pt x="990" y="168"/>
                  </a:lnTo>
                  <a:lnTo>
                    <a:pt x="996" y="174"/>
                  </a:lnTo>
                  <a:lnTo>
                    <a:pt x="1002" y="180"/>
                  </a:lnTo>
                  <a:lnTo>
                    <a:pt x="1008" y="180"/>
                  </a:lnTo>
                  <a:lnTo>
                    <a:pt x="1020" y="180"/>
                  </a:lnTo>
                  <a:lnTo>
                    <a:pt x="1038" y="174"/>
                  </a:lnTo>
                  <a:lnTo>
                    <a:pt x="1050" y="174"/>
                  </a:lnTo>
                  <a:lnTo>
                    <a:pt x="1056" y="174"/>
                  </a:lnTo>
                  <a:lnTo>
                    <a:pt x="1068" y="180"/>
                  </a:lnTo>
                  <a:lnTo>
                    <a:pt x="1080" y="180"/>
                  </a:lnTo>
                  <a:lnTo>
                    <a:pt x="1086" y="186"/>
                  </a:lnTo>
                  <a:lnTo>
                    <a:pt x="1098" y="192"/>
                  </a:lnTo>
                  <a:lnTo>
                    <a:pt x="1116" y="204"/>
                  </a:lnTo>
                  <a:lnTo>
                    <a:pt x="1122" y="210"/>
                  </a:lnTo>
                  <a:lnTo>
                    <a:pt x="1134" y="222"/>
                  </a:lnTo>
                  <a:lnTo>
                    <a:pt x="1146" y="234"/>
                  </a:lnTo>
                  <a:lnTo>
                    <a:pt x="1146" y="240"/>
                  </a:lnTo>
                  <a:lnTo>
                    <a:pt x="1152" y="246"/>
                  </a:lnTo>
                  <a:lnTo>
                    <a:pt x="1152" y="252"/>
                  </a:lnTo>
                  <a:lnTo>
                    <a:pt x="1152" y="258"/>
                  </a:lnTo>
                  <a:lnTo>
                    <a:pt x="1164" y="258"/>
                  </a:lnTo>
                  <a:lnTo>
                    <a:pt x="1170" y="264"/>
                  </a:lnTo>
                  <a:lnTo>
                    <a:pt x="1182" y="270"/>
                  </a:lnTo>
                  <a:lnTo>
                    <a:pt x="1188" y="270"/>
                  </a:lnTo>
                  <a:lnTo>
                    <a:pt x="1194" y="270"/>
                  </a:lnTo>
                  <a:lnTo>
                    <a:pt x="1206" y="276"/>
                  </a:lnTo>
                  <a:lnTo>
                    <a:pt x="1224" y="282"/>
                  </a:lnTo>
                  <a:lnTo>
                    <a:pt x="1236" y="282"/>
                  </a:lnTo>
                  <a:lnTo>
                    <a:pt x="1242" y="288"/>
                  </a:lnTo>
                  <a:lnTo>
                    <a:pt x="1254" y="288"/>
                  </a:lnTo>
                  <a:lnTo>
                    <a:pt x="1266" y="294"/>
                  </a:lnTo>
                  <a:lnTo>
                    <a:pt x="1272" y="294"/>
                  </a:lnTo>
                  <a:lnTo>
                    <a:pt x="1284" y="300"/>
                  </a:lnTo>
                  <a:lnTo>
                    <a:pt x="1290" y="300"/>
                  </a:lnTo>
                  <a:lnTo>
                    <a:pt x="1296" y="300"/>
                  </a:lnTo>
                  <a:lnTo>
                    <a:pt x="1302" y="306"/>
                  </a:lnTo>
                  <a:lnTo>
                    <a:pt x="1326" y="312"/>
                  </a:lnTo>
                  <a:lnTo>
                    <a:pt x="1338" y="312"/>
                  </a:lnTo>
                  <a:lnTo>
                    <a:pt x="1338" y="318"/>
                  </a:lnTo>
                  <a:lnTo>
                    <a:pt x="1344" y="318"/>
                  </a:lnTo>
                  <a:lnTo>
                    <a:pt x="1350" y="318"/>
                  </a:lnTo>
                  <a:lnTo>
                    <a:pt x="1362" y="324"/>
                  </a:lnTo>
                  <a:lnTo>
                    <a:pt x="1368" y="318"/>
                  </a:lnTo>
                  <a:lnTo>
                    <a:pt x="1374" y="318"/>
                  </a:lnTo>
                  <a:lnTo>
                    <a:pt x="1386" y="318"/>
                  </a:lnTo>
                  <a:lnTo>
                    <a:pt x="1398" y="324"/>
                  </a:lnTo>
                  <a:lnTo>
                    <a:pt x="1398" y="342"/>
                  </a:lnTo>
                  <a:lnTo>
                    <a:pt x="1356" y="342"/>
                  </a:lnTo>
                  <a:lnTo>
                    <a:pt x="1350" y="348"/>
                  </a:lnTo>
                  <a:lnTo>
                    <a:pt x="1350" y="372"/>
                  </a:lnTo>
                  <a:lnTo>
                    <a:pt x="1338" y="384"/>
                  </a:lnTo>
                  <a:lnTo>
                    <a:pt x="1332" y="408"/>
                  </a:lnTo>
                  <a:lnTo>
                    <a:pt x="1320" y="420"/>
                  </a:lnTo>
                  <a:lnTo>
                    <a:pt x="1254" y="426"/>
                  </a:lnTo>
                  <a:lnTo>
                    <a:pt x="1248" y="432"/>
                  </a:lnTo>
                  <a:lnTo>
                    <a:pt x="1230" y="432"/>
                  </a:lnTo>
                  <a:lnTo>
                    <a:pt x="1212" y="432"/>
                  </a:lnTo>
                  <a:lnTo>
                    <a:pt x="1212" y="426"/>
                  </a:lnTo>
                  <a:lnTo>
                    <a:pt x="1200" y="426"/>
                  </a:lnTo>
                  <a:lnTo>
                    <a:pt x="1182" y="414"/>
                  </a:lnTo>
                  <a:lnTo>
                    <a:pt x="1182" y="420"/>
                  </a:lnTo>
                  <a:lnTo>
                    <a:pt x="1164" y="420"/>
                  </a:lnTo>
                  <a:lnTo>
                    <a:pt x="1158" y="414"/>
                  </a:lnTo>
                  <a:lnTo>
                    <a:pt x="1152" y="408"/>
                  </a:lnTo>
                  <a:lnTo>
                    <a:pt x="1146" y="402"/>
                  </a:lnTo>
                  <a:lnTo>
                    <a:pt x="1122" y="396"/>
                  </a:lnTo>
                  <a:lnTo>
                    <a:pt x="1116" y="366"/>
                  </a:lnTo>
                  <a:lnTo>
                    <a:pt x="1116" y="348"/>
                  </a:lnTo>
                  <a:lnTo>
                    <a:pt x="1110" y="342"/>
                  </a:lnTo>
                  <a:lnTo>
                    <a:pt x="1104" y="336"/>
                  </a:lnTo>
                  <a:lnTo>
                    <a:pt x="1092" y="330"/>
                  </a:lnTo>
                  <a:lnTo>
                    <a:pt x="1074" y="330"/>
                  </a:lnTo>
                  <a:lnTo>
                    <a:pt x="1044" y="330"/>
                  </a:lnTo>
                  <a:lnTo>
                    <a:pt x="1014" y="336"/>
                  </a:lnTo>
                  <a:lnTo>
                    <a:pt x="984" y="342"/>
                  </a:lnTo>
                  <a:lnTo>
                    <a:pt x="978" y="330"/>
                  </a:lnTo>
                  <a:lnTo>
                    <a:pt x="966" y="324"/>
                  </a:lnTo>
                  <a:lnTo>
                    <a:pt x="888" y="336"/>
                  </a:lnTo>
                  <a:lnTo>
                    <a:pt x="888" y="330"/>
                  </a:lnTo>
                  <a:lnTo>
                    <a:pt x="870" y="336"/>
                  </a:lnTo>
                  <a:lnTo>
                    <a:pt x="858" y="336"/>
                  </a:lnTo>
                  <a:lnTo>
                    <a:pt x="852" y="354"/>
                  </a:lnTo>
                  <a:lnTo>
                    <a:pt x="852" y="402"/>
                  </a:lnTo>
                  <a:lnTo>
                    <a:pt x="840" y="414"/>
                  </a:lnTo>
                  <a:lnTo>
                    <a:pt x="834" y="420"/>
                  </a:lnTo>
                  <a:lnTo>
                    <a:pt x="834" y="444"/>
                  </a:lnTo>
                  <a:lnTo>
                    <a:pt x="834" y="450"/>
                  </a:lnTo>
                  <a:lnTo>
                    <a:pt x="852" y="456"/>
                  </a:lnTo>
                  <a:lnTo>
                    <a:pt x="864" y="462"/>
                  </a:lnTo>
                  <a:lnTo>
                    <a:pt x="894" y="456"/>
                  </a:lnTo>
                  <a:lnTo>
                    <a:pt x="900" y="468"/>
                  </a:lnTo>
                  <a:lnTo>
                    <a:pt x="918" y="462"/>
                  </a:lnTo>
                  <a:lnTo>
                    <a:pt x="924" y="468"/>
                  </a:lnTo>
                  <a:lnTo>
                    <a:pt x="924" y="47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2" name="Freeform 37">
              <a:extLst>
                <a:ext uri="{FF2B5EF4-FFF2-40B4-BE49-F238E27FC236}">
                  <a16:creationId xmlns:a16="http://schemas.microsoft.com/office/drawing/2014/main" id="{DED8A1FF-B656-4D37-BD26-5B0A7B1A4A6D}"/>
                </a:ext>
              </a:extLst>
            </p:cNvPr>
            <p:cNvSpPr>
              <a:spLocks/>
            </p:cNvSpPr>
            <p:nvPr/>
          </p:nvSpPr>
          <p:spPr bwMode="gray">
            <a:xfrm>
              <a:off x="2476441" y="1898343"/>
              <a:ext cx="567992" cy="686605"/>
            </a:xfrm>
            <a:custGeom>
              <a:avLst/>
              <a:gdLst>
                <a:gd name="T0" fmla="*/ 79 w 1068"/>
                <a:gd name="T1" fmla="*/ 72 h 1290"/>
                <a:gd name="T2" fmla="*/ 75 w 1068"/>
                <a:gd name="T3" fmla="*/ 73 h 1290"/>
                <a:gd name="T4" fmla="*/ 72 w 1068"/>
                <a:gd name="T5" fmla="*/ 76 h 1290"/>
                <a:gd name="T6" fmla="*/ 70 w 1068"/>
                <a:gd name="T7" fmla="*/ 78 h 1290"/>
                <a:gd name="T8" fmla="*/ 67 w 1068"/>
                <a:gd name="T9" fmla="*/ 82 h 1290"/>
                <a:gd name="T10" fmla="*/ 61 w 1068"/>
                <a:gd name="T11" fmla="*/ 86 h 1290"/>
                <a:gd name="T12" fmla="*/ 60 w 1068"/>
                <a:gd name="T13" fmla="*/ 93 h 1290"/>
                <a:gd name="T14" fmla="*/ 59 w 1068"/>
                <a:gd name="T15" fmla="*/ 97 h 1290"/>
                <a:gd name="T16" fmla="*/ 61 w 1068"/>
                <a:gd name="T17" fmla="*/ 101 h 1290"/>
                <a:gd name="T18" fmla="*/ 63 w 1068"/>
                <a:gd name="T19" fmla="*/ 104 h 1290"/>
                <a:gd name="T20" fmla="*/ 62 w 1068"/>
                <a:gd name="T21" fmla="*/ 108 h 1290"/>
                <a:gd name="T22" fmla="*/ 60 w 1068"/>
                <a:gd name="T23" fmla="*/ 111 h 1290"/>
                <a:gd name="T24" fmla="*/ 56 w 1068"/>
                <a:gd name="T25" fmla="*/ 111 h 1290"/>
                <a:gd name="T26" fmla="*/ 53 w 1068"/>
                <a:gd name="T27" fmla="*/ 110 h 1290"/>
                <a:gd name="T28" fmla="*/ 50 w 1068"/>
                <a:gd name="T29" fmla="*/ 109 h 1290"/>
                <a:gd name="T30" fmla="*/ 47 w 1068"/>
                <a:gd name="T31" fmla="*/ 110 h 1290"/>
                <a:gd name="T32" fmla="*/ 51 w 1068"/>
                <a:gd name="T33" fmla="*/ 104 h 1290"/>
                <a:gd name="T34" fmla="*/ 50 w 1068"/>
                <a:gd name="T35" fmla="*/ 95 h 1290"/>
                <a:gd name="T36" fmla="*/ 51 w 1068"/>
                <a:gd name="T37" fmla="*/ 90 h 1290"/>
                <a:gd name="T38" fmla="*/ 47 w 1068"/>
                <a:gd name="T39" fmla="*/ 84 h 1290"/>
                <a:gd name="T40" fmla="*/ 42 w 1068"/>
                <a:gd name="T41" fmla="*/ 78 h 1290"/>
                <a:gd name="T42" fmla="*/ 33 w 1068"/>
                <a:gd name="T43" fmla="*/ 73 h 1290"/>
                <a:gd name="T44" fmla="*/ 26 w 1068"/>
                <a:gd name="T45" fmla="*/ 68 h 1290"/>
                <a:gd name="T46" fmla="*/ 22 w 1068"/>
                <a:gd name="T47" fmla="*/ 63 h 1290"/>
                <a:gd name="T48" fmla="*/ 11 w 1068"/>
                <a:gd name="T49" fmla="*/ 67 h 1290"/>
                <a:gd name="T50" fmla="*/ 0 w 1068"/>
                <a:gd name="T51" fmla="*/ 68 h 1290"/>
                <a:gd name="T52" fmla="*/ 2 w 1068"/>
                <a:gd name="T53" fmla="*/ 59 h 1290"/>
                <a:gd name="T54" fmla="*/ 12 w 1068"/>
                <a:gd name="T55" fmla="*/ 55 h 1290"/>
                <a:gd name="T56" fmla="*/ 12 w 1068"/>
                <a:gd name="T57" fmla="*/ 51 h 1290"/>
                <a:gd name="T58" fmla="*/ 10 w 1068"/>
                <a:gd name="T59" fmla="*/ 47 h 1290"/>
                <a:gd name="T60" fmla="*/ 9 w 1068"/>
                <a:gd name="T61" fmla="*/ 42 h 1290"/>
                <a:gd name="T62" fmla="*/ 8 w 1068"/>
                <a:gd name="T63" fmla="*/ 38 h 1290"/>
                <a:gd name="T64" fmla="*/ 8 w 1068"/>
                <a:gd name="T65" fmla="*/ 29 h 1290"/>
                <a:gd name="T66" fmla="*/ 10 w 1068"/>
                <a:gd name="T67" fmla="*/ 18 h 1290"/>
                <a:gd name="T68" fmla="*/ 25 w 1068"/>
                <a:gd name="T69" fmla="*/ 12 h 1290"/>
                <a:gd name="T70" fmla="*/ 27 w 1068"/>
                <a:gd name="T71" fmla="*/ 4 h 1290"/>
                <a:gd name="T72" fmla="*/ 35 w 1068"/>
                <a:gd name="T73" fmla="*/ 6 h 1290"/>
                <a:gd name="T74" fmla="*/ 39 w 1068"/>
                <a:gd name="T75" fmla="*/ 8 h 1290"/>
                <a:gd name="T76" fmla="*/ 41 w 1068"/>
                <a:gd name="T77" fmla="*/ 3 h 1290"/>
                <a:gd name="T78" fmla="*/ 45 w 1068"/>
                <a:gd name="T79" fmla="*/ 0 h 1290"/>
                <a:gd name="T80" fmla="*/ 51 w 1068"/>
                <a:gd name="T81" fmla="*/ 0 h 1290"/>
                <a:gd name="T82" fmla="*/ 56 w 1068"/>
                <a:gd name="T83" fmla="*/ 4 h 1290"/>
                <a:gd name="T84" fmla="*/ 62 w 1068"/>
                <a:gd name="T85" fmla="*/ 12 h 1290"/>
                <a:gd name="T86" fmla="*/ 58 w 1068"/>
                <a:gd name="T87" fmla="*/ 17 h 1290"/>
                <a:gd name="T88" fmla="*/ 60 w 1068"/>
                <a:gd name="T89" fmla="*/ 18 h 1290"/>
                <a:gd name="T90" fmla="*/ 64 w 1068"/>
                <a:gd name="T91" fmla="*/ 16 h 1290"/>
                <a:gd name="T92" fmla="*/ 68 w 1068"/>
                <a:gd name="T93" fmla="*/ 18 h 1290"/>
                <a:gd name="T94" fmla="*/ 71 w 1068"/>
                <a:gd name="T95" fmla="*/ 27 h 1290"/>
                <a:gd name="T96" fmla="*/ 74 w 1068"/>
                <a:gd name="T97" fmla="*/ 30 h 1290"/>
                <a:gd name="T98" fmla="*/ 82 w 1068"/>
                <a:gd name="T99" fmla="*/ 30 h 1290"/>
                <a:gd name="T100" fmla="*/ 87 w 1068"/>
                <a:gd name="T101" fmla="*/ 35 h 1290"/>
                <a:gd name="T102" fmla="*/ 85 w 1068"/>
                <a:gd name="T103" fmla="*/ 42 h 1290"/>
                <a:gd name="T104" fmla="*/ 81 w 1068"/>
                <a:gd name="T105" fmla="*/ 46 h 1290"/>
                <a:gd name="T106" fmla="*/ 86 w 1068"/>
                <a:gd name="T107" fmla="*/ 50 h 1290"/>
                <a:gd name="T108" fmla="*/ 89 w 1068"/>
                <a:gd name="T109" fmla="*/ 58 h 1290"/>
                <a:gd name="T110" fmla="*/ 92 w 1068"/>
                <a:gd name="T111" fmla="*/ 61 h 1290"/>
                <a:gd name="T112" fmla="*/ 86 w 1068"/>
                <a:gd name="T113" fmla="*/ 66 h 1290"/>
                <a:gd name="T114" fmla="*/ 85 w 1068"/>
                <a:gd name="T115" fmla="*/ 70 h 129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68"/>
                <a:gd name="T175" fmla="*/ 0 h 1290"/>
                <a:gd name="T176" fmla="*/ 1068 w 1068"/>
                <a:gd name="T177" fmla="*/ 1290 h 129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68" h="1290">
                  <a:moveTo>
                    <a:pt x="978" y="804"/>
                  </a:moveTo>
                  <a:lnTo>
                    <a:pt x="972" y="810"/>
                  </a:lnTo>
                  <a:lnTo>
                    <a:pt x="966" y="810"/>
                  </a:lnTo>
                  <a:lnTo>
                    <a:pt x="966" y="816"/>
                  </a:lnTo>
                  <a:lnTo>
                    <a:pt x="936" y="828"/>
                  </a:lnTo>
                  <a:lnTo>
                    <a:pt x="924" y="822"/>
                  </a:lnTo>
                  <a:lnTo>
                    <a:pt x="912" y="822"/>
                  </a:lnTo>
                  <a:lnTo>
                    <a:pt x="906" y="828"/>
                  </a:lnTo>
                  <a:lnTo>
                    <a:pt x="900" y="828"/>
                  </a:lnTo>
                  <a:lnTo>
                    <a:pt x="900" y="822"/>
                  </a:lnTo>
                  <a:lnTo>
                    <a:pt x="894" y="822"/>
                  </a:lnTo>
                  <a:lnTo>
                    <a:pt x="888" y="828"/>
                  </a:lnTo>
                  <a:lnTo>
                    <a:pt x="882" y="834"/>
                  </a:lnTo>
                  <a:lnTo>
                    <a:pt x="876" y="834"/>
                  </a:lnTo>
                  <a:lnTo>
                    <a:pt x="870" y="840"/>
                  </a:lnTo>
                  <a:lnTo>
                    <a:pt x="864" y="840"/>
                  </a:lnTo>
                  <a:lnTo>
                    <a:pt x="864" y="846"/>
                  </a:lnTo>
                  <a:lnTo>
                    <a:pt x="858" y="846"/>
                  </a:lnTo>
                  <a:lnTo>
                    <a:pt x="852" y="846"/>
                  </a:lnTo>
                  <a:lnTo>
                    <a:pt x="852" y="858"/>
                  </a:lnTo>
                  <a:lnTo>
                    <a:pt x="846" y="864"/>
                  </a:lnTo>
                  <a:lnTo>
                    <a:pt x="840" y="870"/>
                  </a:lnTo>
                  <a:lnTo>
                    <a:pt x="834" y="870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34" y="876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10" y="894"/>
                  </a:lnTo>
                  <a:lnTo>
                    <a:pt x="810" y="900"/>
                  </a:lnTo>
                  <a:lnTo>
                    <a:pt x="804" y="900"/>
                  </a:lnTo>
                  <a:lnTo>
                    <a:pt x="798" y="900"/>
                  </a:lnTo>
                  <a:lnTo>
                    <a:pt x="798" y="906"/>
                  </a:lnTo>
                  <a:lnTo>
                    <a:pt x="792" y="906"/>
                  </a:lnTo>
                  <a:lnTo>
                    <a:pt x="792" y="912"/>
                  </a:lnTo>
                  <a:lnTo>
                    <a:pt x="792" y="924"/>
                  </a:lnTo>
                  <a:lnTo>
                    <a:pt x="786" y="930"/>
                  </a:lnTo>
                  <a:lnTo>
                    <a:pt x="774" y="942"/>
                  </a:lnTo>
                  <a:lnTo>
                    <a:pt x="774" y="948"/>
                  </a:lnTo>
                  <a:lnTo>
                    <a:pt x="768" y="954"/>
                  </a:lnTo>
                  <a:lnTo>
                    <a:pt x="762" y="954"/>
                  </a:lnTo>
                  <a:lnTo>
                    <a:pt x="750" y="972"/>
                  </a:lnTo>
                  <a:lnTo>
                    <a:pt x="720" y="978"/>
                  </a:lnTo>
                  <a:lnTo>
                    <a:pt x="714" y="978"/>
                  </a:lnTo>
                  <a:lnTo>
                    <a:pt x="708" y="978"/>
                  </a:lnTo>
                  <a:lnTo>
                    <a:pt x="702" y="990"/>
                  </a:lnTo>
                  <a:lnTo>
                    <a:pt x="696" y="990"/>
                  </a:lnTo>
                  <a:lnTo>
                    <a:pt x="696" y="1008"/>
                  </a:lnTo>
                  <a:lnTo>
                    <a:pt x="690" y="1008"/>
                  </a:lnTo>
                  <a:lnTo>
                    <a:pt x="690" y="1014"/>
                  </a:lnTo>
                  <a:lnTo>
                    <a:pt x="684" y="1032"/>
                  </a:lnTo>
                  <a:lnTo>
                    <a:pt x="690" y="1050"/>
                  </a:lnTo>
                  <a:lnTo>
                    <a:pt x="690" y="1062"/>
                  </a:lnTo>
                  <a:lnTo>
                    <a:pt x="690" y="1068"/>
                  </a:lnTo>
                  <a:lnTo>
                    <a:pt x="690" y="1074"/>
                  </a:lnTo>
                  <a:lnTo>
                    <a:pt x="684" y="1074"/>
                  </a:lnTo>
                  <a:lnTo>
                    <a:pt x="684" y="1080"/>
                  </a:lnTo>
                  <a:lnTo>
                    <a:pt x="678" y="1086"/>
                  </a:lnTo>
                  <a:lnTo>
                    <a:pt x="678" y="1104"/>
                  </a:lnTo>
                  <a:lnTo>
                    <a:pt x="678" y="1110"/>
                  </a:lnTo>
                  <a:lnTo>
                    <a:pt x="678" y="1116"/>
                  </a:lnTo>
                  <a:lnTo>
                    <a:pt x="684" y="1116"/>
                  </a:lnTo>
                  <a:lnTo>
                    <a:pt x="678" y="1128"/>
                  </a:lnTo>
                  <a:lnTo>
                    <a:pt x="684" y="1128"/>
                  </a:lnTo>
                  <a:lnTo>
                    <a:pt x="690" y="1134"/>
                  </a:lnTo>
                  <a:lnTo>
                    <a:pt x="690" y="1140"/>
                  </a:lnTo>
                  <a:lnTo>
                    <a:pt x="696" y="1140"/>
                  </a:lnTo>
                  <a:lnTo>
                    <a:pt x="696" y="1146"/>
                  </a:lnTo>
                  <a:lnTo>
                    <a:pt x="696" y="1152"/>
                  </a:lnTo>
                  <a:lnTo>
                    <a:pt x="702" y="1152"/>
                  </a:lnTo>
                  <a:lnTo>
                    <a:pt x="708" y="1152"/>
                  </a:lnTo>
                  <a:lnTo>
                    <a:pt x="714" y="1158"/>
                  </a:lnTo>
                  <a:lnTo>
                    <a:pt x="714" y="1164"/>
                  </a:lnTo>
                  <a:lnTo>
                    <a:pt x="720" y="1170"/>
                  </a:lnTo>
                  <a:lnTo>
                    <a:pt x="720" y="1176"/>
                  </a:lnTo>
                  <a:lnTo>
                    <a:pt x="720" y="1182"/>
                  </a:lnTo>
                  <a:lnTo>
                    <a:pt x="726" y="1188"/>
                  </a:lnTo>
                  <a:lnTo>
                    <a:pt x="726" y="1194"/>
                  </a:lnTo>
                  <a:lnTo>
                    <a:pt x="732" y="1194"/>
                  </a:lnTo>
                  <a:lnTo>
                    <a:pt x="732" y="1200"/>
                  </a:lnTo>
                  <a:lnTo>
                    <a:pt x="738" y="1212"/>
                  </a:lnTo>
                  <a:lnTo>
                    <a:pt x="732" y="1218"/>
                  </a:lnTo>
                  <a:lnTo>
                    <a:pt x="732" y="1224"/>
                  </a:lnTo>
                  <a:lnTo>
                    <a:pt x="726" y="1230"/>
                  </a:lnTo>
                  <a:lnTo>
                    <a:pt x="720" y="1230"/>
                  </a:lnTo>
                  <a:lnTo>
                    <a:pt x="720" y="1236"/>
                  </a:lnTo>
                  <a:lnTo>
                    <a:pt x="720" y="1242"/>
                  </a:lnTo>
                  <a:lnTo>
                    <a:pt x="720" y="1248"/>
                  </a:lnTo>
                  <a:lnTo>
                    <a:pt x="714" y="1248"/>
                  </a:lnTo>
                  <a:lnTo>
                    <a:pt x="714" y="1254"/>
                  </a:lnTo>
                  <a:lnTo>
                    <a:pt x="708" y="1260"/>
                  </a:lnTo>
                  <a:lnTo>
                    <a:pt x="702" y="1272"/>
                  </a:lnTo>
                  <a:lnTo>
                    <a:pt x="696" y="1272"/>
                  </a:lnTo>
                  <a:lnTo>
                    <a:pt x="696" y="1278"/>
                  </a:lnTo>
                  <a:lnTo>
                    <a:pt x="690" y="1284"/>
                  </a:lnTo>
                  <a:lnTo>
                    <a:pt x="690" y="1290"/>
                  </a:lnTo>
                  <a:lnTo>
                    <a:pt x="684" y="1290"/>
                  </a:lnTo>
                  <a:lnTo>
                    <a:pt x="660" y="1284"/>
                  </a:lnTo>
                  <a:lnTo>
                    <a:pt x="660" y="1278"/>
                  </a:lnTo>
                  <a:lnTo>
                    <a:pt x="654" y="1272"/>
                  </a:lnTo>
                  <a:lnTo>
                    <a:pt x="648" y="1272"/>
                  </a:lnTo>
                  <a:lnTo>
                    <a:pt x="642" y="1272"/>
                  </a:lnTo>
                  <a:lnTo>
                    <a:pt x="642" y="1266"/>
                  </a:lnTo>
                  <a:lnTo>
                    <a:pt x="636" y="1266"/>
                  </a:lnTo>
                  <a:lnTo>
                    <a:pt x="630" y="1266"/>
                  </a:lnTo>
                  <a:lnTo>
                    <a:pt x="624" y="1266"/>
                  </a:lnTo>
                  <a:lnTo>
                    <a:pt x="624" y="1260"/>
                  </a:lnTo>
                  <a:lnTo>
                    <a:pt x="618" y="1260"/>
                  </a:lnTo>
                  <a:lnTo>
                    <a:pt x="612" y="1260"/>
                  </a:lnTo>
                  <a:lnTo>
                    <a:pt x="606" y="1260"/>
                  </a:lnTo>
                  <a:lnTo>
                    <a:pt x="600" y="1260"/>
                  </a:lnTo>
                  <a:lnTo>
                    <a:pt x="600" y="1254"/>
                  </a:lnTo>
                  <a:lnTo>
                    <a:pt x="594" y="1254"/>
                  </a:lnTo>
                  <a:lnTo>
                    <a:pt x="588" y="1248"/>
                  </a:lnTo>
                  <a:lnTo>
                    <a:pt x="588" y="1254"/>
                  </a:lnTo>
                  <a:lnTo>
                    <a:pt x="582" y="1254"/>
                  </a:lnTo>
                  <a:lnTo>
                    <a:pt x="582" y="1248"/>
                  </a:lnTo>
                  <a:lnTo>
                    <a:pt x="576" y="1248"/>
                  </a:lnTo>
                  <a:lnTo>
                    <a:pt x="576" y="1254"/>
                  </a:lnTo>
                  <a:lnTo>
                    <a:pt x="570" y="1248"/>
                  </a:lnTo>
                  <a:lnTo>
                    <a:pt x="564" y="1248"/>
                  </a:lnTo>
                  <a:lnTo>
                    <a:pt x="564" y="1254"/>
                  </a:lnTo>
                  <a:lnTo>
                    <a:pt x="558" y="1254"/>
                  </a:lnTo>
                  <a:lnTo>
                    <a:pt x="552" y="1254"/>
                  </a:lnTo>
                  <a:lnTo>
                    <a:pt x="552" y="1260"/>
                  </a:lnTo>
                  <a:lnTo>
                    <a:pt x="546" y="1260"/>
                  </a:lnTo>
                  <a:lnTo>
                    <a:pt x="540" y="1260"/>
                  </a:lnTo>
                  <a:lnTo>
                    <a:pt x="540" y="1254"/>
                  </a:lnTo>
                  <a:lnTo>
                    <a:pt x="534" y="1254"/>
                  </a:lnTo>
                  <a:lnTo>
                    <a:pt x="528" y="1224"/>
                  </a:lnTo>
                  <a:lnTo>
                    <a:pt x="534" y="1212"/>
                  </a:lnTo>
                  <a:lnTo>
                    <a:pt x="546" y="1206"/>
                  </a:lnTo>
                  <a:lnTo>
                    <a:pt x="582" y="1206"/>
                  </a:lnTo>
                  <a:lnTo>
                    <a:pt x="588" y="1188"/>
                  </a:lnTo>
                  <a:lnTo>
                    <a:pt x="582" y="1188"/>
                  </a:lnTo>
                  <a:lnTo>
                    <a:pt x="582" y="1182"/>
                  </a:lnTo>
                  <a:lnTo>
                    <a:pt x="576" y="1176"/>
                  </a:lnTo>
                  <a:lnTo>
                    <a:pt x="558" y="1128"/>
                  </a:lnTo>
                  <a:lnTo>
                    <a:pt x="558" y="1122"/>
                  </a:lnTo>
                  <a:lnTo>
                    <a:pt x="576" y="1098"/>
                  </a:lnTo>
                  <a:lnTo>
                    <a:pt x="576" y="1092"/>
                  </a:lnTo>
                  <a:lnTo>
                    <a:pt x="582" y="1092"/>
                  </a:lnTo>
                  <a:lnTo>
                    <a:pt x="582" y="1086"/>
                  </a:lnTo>
                  <a:lnTo>
                    <a:pt x="582" y="1080"/>
                  </a:lnTo>
                  <a:lnTo>
                    <a:pt x="582" y="1074"/>
                  </a:lnTo>
                  <a:lnTo>
                    <a:pt x="588" y="1074"/>
                  </a:lnTo>
                  <a:lnTo>
                    <a:pt x="588" y="1062"/>
                  </a:lnTo>
                  <a:lnTo>
                    <a:pt x="588" y="1056"/>
                  </a:lnTo>
                  <a:lnTo>
                    <a:pt x="588" y="1044"/>
                  </a:lnTo>
                  <a:lnTo>
                    <a:pt x="588" y="1038"/>
                  </a:lnTo>
                  <a:lnTo>
                    <a:pt x="588" y="1032"/>
                  </a:lnTo>
                  <a:lnTo>
                    <a:pt x="582" y="1026"/>
                  </a:lnTo>
                  <a:lnTo>
                    <a:pt x="582" y="1020"/>
                  </a:lnTo>
                  <a:lnTo>
                    <a:pt x="582" y="1008"/>
                  </a:lnTo>
                  <a:lnTo>
                    <a:pt x="576" y="990"/>
                  </a:lnTo>
                  <a:lnTo>
                    <a:pt x="570" y="972"/>
                  </a:lnTo>
                  <a:lnTo>
                    <a:pt x="552" y="972"/>
                  </a:lnTo>
                  <a:lnTo>
                    <a:pt x="540" y="960"/>
                  </a:lnTo>
                  <a:lnTo>
                    <a:pt x="534" y="954"/>
                  </a:lnTo>
                  <a:lnTo>
                    <a:pt x="534" y="948"/>
                  </a:lnTo>
                  <a:lnTo>
                    <a:pt x="516" y="948"/>
                  </a:lnTo>
                  <a:lnTo>
                    <a:pt x="522" y="936"/>
                  </a:lnTo>
                  <a:lnTo>
                    <a:pt x="522" y="930"/>
                  </a:lnTo>
                  <a:lnTo>
                    <a:pt x="504" y="918"/>
                  </a:lnTo>
                  <a:lnTo>
                    <a:pt x="492" y="906"/>
                  </a:lnTo>
                  <a:lnTo>
                    <a:pt x="486" y="894"/>
                  </a:lnTo>
                  <a:lnTo>
                    <a:pt x="468" y="876"/>
                  </a:lnTo>
                  <a:lnTo>
                    <a:pt x="450" y="876"/>
                  </a:lnTo>
                  <a:lnTo>
                    <a:pt x="414" y="882"/>
                  </a:lnTo>
                  <a:lnTo>
                    <a:pt x="402" y="870"/>
                  </a:lnTo>
                  <a:lnTo>
                    <a:pt x="390" y="864"/>
                  </a:lnTo>
                  <a:lnTo>
                    <a:pt x="384" y="852"/>
                  </a:lnTo>
                  <a:lnTo>
                    <a:pt x="378" y="840"/>
                  </a:lnTo>
                  <a:lnTo>
                    <a:pt x="378" y="834"/>
                  </a:lnTo>
                  <a:lnTo>
                    <a:pt x="360" y="822"/>
                  </a:lnTo>
                  <a:lnTo>
                    <a:pt x="342" y="828"/>
                  </a:lnTo>
                  <a:lnTo>
                    <a:pt x="324" y="816"/>
                  </a:lnTo>
                  <a:lnTo>
                    <a:pt x="318" y="816"/>
                  </a:lnTo>
                  <a:lnTo>
                    <a:pt x="306" y="810"/>
                  </a:lnTo>
                  <a:lnTo>
                    <a:pt x="306" y="804"/>
                  </a:lnTo>
                  <a:lnTo>
                    <a:pt x="300" y="804"/>
                  </a:lnTo>
                  <a:lnTo>
                    <a:pt x="300" y="780"/>
                  </a:lnTo>
                  <a:lnTo>
                    <a:pt x="300" y="774"/>
                  </a:lnTo>
                  <a:lnTo>
                    <a:pt x="306" y="774"/>
                  </a:lnTo>
                  <a:lnTo>
                    <a:pt x="312" y="756"/>
                  </a:lnTo>
                  <a:lnTo>
                    <a:pt x="312" y="732"/>
                  </a:lnTo>
                  <a:lnTo>
                    <a:pt x="300" y="720"/>
                  </a:lnTo>
                  <a:lnTo>
                    <a:pt x="288" y="702"/>
                  </a:lnTo>
                  <a:lnTo>
                    <a:pt x="276" y="702"/>
                  </a:lnTo>
                  <a:lnTo>
                    <a:pt x="258" y="714"/>
                  </a:lnTo>
                  <a:lnTo>
                    <a:pt x="246" y="726"/>
                  </a:lnTo>
                  <a:lnTo>
                    <a:pt x="222" y="726"/>
                  </a:lnTo>
                  <a:lnTo>
                    <a:pt x="192" y="726"/>
                  </a:lnTo>
                  <a:lnTo>
                    <a:pt x="174" y="738"/>
                  </a:lnTo>
                  <a:lnTo>
                    <a:pt x="162" y="750"/>
                  </a:lnTo>
                  <a:lnTo>
                    <a:pt x="144" y="762"/>
                  </a:lnTo>
                  <a:lnTo>
                    <a:pt x="138" y="768"/>
                  </a:lnTo>
                  <a:lnTo>
                    <a:pt x="126" y="774"/>
                  </a:lnTo>
                  <a:lnTo>
                    <a:pt x="114" y="780"/>
                  </a:lnTo>
                  <a:lnTo>
                    <a:pt x="108" y="786"/>
                  </a:lnTo>
                  <a:lnTo>
                    <a:pt x="102" y="786"/>
                  </a:lnTo>
                  <a:lnTo>
                    <a:pt x="54" y="786"/>
                  </a:lnTo>
                  <a:lnTo>
                    <a:pt x="48" y="792"/>
                  </a:lnTo>
                  <a:lnTo>
                    <a:pt x="36" y="798"/>
                  </a:lnTo>
                  <a:lnTo>
                    <a:pt x="18" y="792"/>
                  </a:lnTo>
                  <a:lnTo>
                    <a:pt x="6" y="780"/>
                  </a:lnTo>
                  <a:lnTo>
                    <a:pt x="6" y="768"/>
                  </a:lnTo>
                  <a:lnTo>
                    <a:pt x="0" y="756"/>
                  </a:lnTo>
                  <a:lnTo>
                    <a:pt x="0" y="738"/>
                  </a:lnTo>
                  <a:lnTo>
                    <a:pt x="6" y="702"/>
                  </a:lnTo>
                  <a:lnTo>
                    <a:pt x="24" y="702"/>
                  </a:lnTo>
                  <a:lnTo>
                    <a:pt x="24" y="696"/>
                  </a:lnTo>
                  <a:lnTo>
                    <a:pt x="24" y="690"/>
                  </a:lnTo>
                  <a:lnTo>
                    <a:pt x="24" y="678"/>
                  </a:lnTo>
                  <a:lnTo>
                    <a:pt x="24" y="672"/>
                  </a:lnTo>
                  <a:lnTo>
                    <a:pt x="30" y="672"/>
                  </a:lnTo>
                  <a:lnTo>
                    <a:pt x="30" y="666"/>
                  </a:lnTo>
                  <a:lnTo>
                    <a:pt x="36" y="660"/>
                  </a:lnTo>
                  <a:lnTo>
                    <a:pt x="84" y="648"/>
                  </a:lnTo>
                  <a:lnTo>
                    <a:pt x="126" y="642"/>
                  </a:lnTo>
                  <a:lnTo>
                    <a:pt x="132" y="630"/>
                  </a:lnTo>
                  <a:lnTo>
                    <a:pt x="132" y="624"/>
                  </a:lnTo>
                  <a:lnTo>
                    <a:pt x="132" y="618"/>
                  </a:lnTo>
                  <a:lnTo>
                    <a:pt x="138" y="612"/>
                  </a:lnTo>
                  <a:lnTo>
                    <a:pt x="138" y="606"/>
                  </a:lnTo>
                  <a:lnTo>
                    <a:pt x="138" y="600"/>
                  </a:lnTo>
                  <a:lnTo>
                    <a:pt x="132" y="600"/>
                  </a:lnTo>
                  <a:lnTo>
                    <a:pt x="132" y="594"/>
                  </a:lnTo>
                  <a:lnTo>
                    <a:pt x="132" y="588"/>
                  </a:lnTo>
                  <a:lnTo>
                    <a:pt x="132" y="582"/>
                  </a:lnTo>
                  <a:lnTo>
                    <a:pt x="132" y="576"/>
                  </a:lnTo>
                  <a:lnTo>
                    <a:pt x="126" y="570"/>
                  </a:lnTo>
                  <a:lnTo>
                    <a:pt x="120" y="564"/>
                  </a:lnTo>
                  <a:lnTo>
                    <a:pt x="120" y="558"/>
                  </a:lnTo>
                  <a:lnTo>
                    <a:pt x="120" y="552"/>
                  </a:lnTo>
                  <a:lnTo>
                    <a:pt x="114" y="552"/>
                  </a:lnTo>
                  <a:lnTo>
                    <a:pt x="114" y="546"/>
                  </a:lnTo>
                  <a:lnTo>
                    <a:pt x="114" y="540"/>
                  </a:lnTo>
                  <a:lnTo>
                    <a:pt x="108" y="534"/>
                  </a:lnTo>
                  <a:lnTo>
                    <a:pt x="108" y="528"/>
                  </a:lnTo>
                  <a:lnTo>
                    <a:pt x="114" y="522"/>
                  </a:lnTo>
                  <a:lnTo>
                    <a:pt x="108" y="516"/>
                  </a:lnTo>
                  <a:lnTo>
                    <a:pt x="108" y="498"/>
                  </a:lnTo>
                  <a:lnTo>
                    <a:pt x="108" y="492"/>
                  </a:lnTo>
                  <a:lnTo>
                    <a:pt x="108" y="486"/>
                  </a:lnTo>
                  <a:lnTo>
                    <a:pt x="108" y="480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14" y="462"/>
                  </a:lnTo>
                  <a:lnTo>
                    <a:pt x="108" y="462"/>
                  </a:lnTo>
                  <a:lnTo>
                    <a:pt x="102" y="456"/>
                  </a:lnTo>
                  <a:lnTo>
                    <a:pt x="102" y="444"/>
                  </a:lnTo>
                  <a:lnTo>
                    <a:pt x="96" y="444"/>
                  </a:lnTo>
                  <a:lnTo>
                    <a:pt x="90" y="432"/>
                  </a:lnTo>
                  <a:lnTo>
                    <a:pt x="96" y="432"/>
                  </a:lnTo>
                  <a:lnTo>
                    <a:pt x="96" y="408"/>
                  </a:lnTo>
                  <a:lnTo>
                    <a:pt x="96" y="396"/>
                  </a:lnTo>
                  <a:lnTo>
                    <a:pt x="96" y="360"/>
                  </a:lnTo>
                  <a:lnTo>
                    <a:pt x="96" y="354"/>
                  </a:lnTo>
                  <a:lnTo>
                    <a:pt x="102" y="354"/>
                  </a:lnTo>
                  <a:lnTo>
                    <a:pt x="102" y="348"/>
                  </a:lnTo>
                  <a:lnTo>
                    <a:pt x="96" y="330"/>
                  </a:lnTo>
                  <a:lnTo>
                    <a:pt x="90" y="306"/>
                  </a:lnTo>
                  <a:lnTo>
                    <a:pt x="84" y="288"/>
                  </a:lnTo>
                  <a:lnTo>
                    <a:pt x="84" y="264"/>
                  </a:lnTo>
                  <a:lnTo>
                    <a:pt x="90" y="240"/>
                  </a:lnTo>
                  <a:lnTo>
                    <a:pt x="96" y="222"/>
                  </a:lnTo>
                  <a:lnTo>
                    <a:pt x="102" y="222"/>
                  </a:lnTo>
                  <a:lnTo>
                    <a:pt x="108" y="210"/>
                  </a:lnTo>
                  <a:lnTo>
                    <a:pt x="114" y="210"/>
                  </a:lnTo>
                  <a:lnTo>
                    <a:pt x="126" y="198"/>
                  </a:lnTo>
                  <a:lnTo>
                    <a:pt x="156" y="192"/>
                  </a:lnTo>
                  <a:lnTo>
                    <a:pt x="174" y="186"/>
                  </a:lnTo>
                  <a:lnTo>
                    <a:pt x="204" y="174"/>
                  </a:lnTo>
                  <a:lnTo>
                    <a:pt x="222" y="168"/>
                  </a:lnTo>
                  <a:lnTo>
                    <a:pt x="234" y="162"/>
                  </a:lnTo>
                  <a:lnTo>
                    <a:pt x="246" y="156"/>
                  </a:lnTo>
                  <a:lnTo>
                    <a:pt x="288" y="144"/>
                  </a:lnTo>
                  <a:lnTo>
                    <a:pt x="288" y="132"/>
                  </a:lnTo>
                  <a:lnTo>
                    <a:pt x="294" y="120"/>
                  </a:lnTo>
                  <a:lnTo>
                    <a:pt x="300" y="108"/>
                  </a:lnTo>
                  <a:lnTo>
                    <a:pt x="306" y="90"/>
                  </a:lnTo>
                  <a:lnTo>
                    <a:pt x="312" y="78"/>
                  </a:lnTo>
                  <a:lnTo>
                    <a:pt x="324" y="78"/>
                  </a:lnTo>
                  <a:lnTo>
                    <a:pt x="324" y="54"/>
                  </a:lnTo>
                  <a:lnTo>
                    <a:pt x="318" y="48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60" y="6"/>
                  </a:lnTo>
                  <a:lnTo>
                    <a:pt x="384" y="0"/>
                  </a:lnTo>
                  <a:lnTo>
                    <a:pt x="390" y="6"/>
                  </a:lnTo>
                  <a:lnTo>
                    <a:pt x="390" y="18"/>
                  </a:lnTo>
                  <a:lnTo>
                    <a:pt x="390" y="54"/>
                  </a:lnTo>
                  <a:lnTo>
                    <a:pt x="396" y="66"/>
                  </a:lnTo>
                  <a:lnTo>
                    <a:pt x="414" y="84"/>
                  </a:lnTo>
                  <a:lnTo>
                    <a:pt x="426" y="90"/>
                  </a:lnTo>
                  <a:lnTo>
                    <a:pt x="432" y="96"/>
                  </a:lnTo>
                  <a:lnTo>
                    <a:pt x="426" y="102"/>
                  </a:lnTo>
                  <a:lnTo>
                    <a:pt x="438" y="102"/>
                  </a:lnTo>
                  <a:lnTo>
                    <a:pt x="444" y="108"/>
                  </a:lnTo>
                  <a:lnTo>
                    <a:pt x="444" y="102"/>
                  </a:lnTo>
                  <a:lnTo>
                    <a:pt x="450" y="90"/>
                  </a:lnTo>
                  <a:lnTo>
                    <a:pt x="450" y="84"/>
                  </a:lnTo>
                  <a:lnTo>
                    <a:pt x="450" y="78"/>
                  </a:lnTo>
                  <a:lnTo>
                    <a:pt x="456" y="72"/>
                  </a:lnTo>
                  <a:lnTo>
                    <a:pt x="462" y="66"/>
                  </a:lnTo>
                  <a:lnTo>
                    <a:pt x="462" y="60"/>
                  </a:lnTo>
                  <a:lnTo>
                    <a:pt x="462" y="54"/>
                  </a:lnTo>
                  <a:lnTo>
                    <a:pt x="462" y="42"/>
                  </a:lnTo>
                  <a:lnTo>
                    <a:pt x="468" y="36"/>
                  </a:lnTo>
                  <a:lnTo>
                    <a:pt x="474" y="24"/>
                  </a:lnTo>
                  <a:lnTo>
                    <a:pt x="480" y="18"/>
                  </a:lnTo>
                  <a:lnTo>
                    <a:pt x="486" y="12"/>
                  </a:lnTo>
                  <a:lnTo>
                    <a:pt x="492" y="12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22" y="6"/>
                  </a:lnTo>
                  <a:lnTo>
                    <a:pt x="534" y="6"/>
                  </a:lnTo>
                  <a:lnTo>
                    <a:pt x="540" y="6"/>
                  </a:lnTo>
                  <a:lnTo>
                    <a:pt x="546" y="6"/>
                  </a:lnTo>
                  <a:lnTo>
                    <a:pt x="564" y="0"/>
                  </a:lnTo>
                  <a:lnTo>
                    <a:pt x="570" y="0"/>
                  </a:lnTo>
                  <a:lnTo>
                    <a:pt x="576" y="6"/>
                  </a:lnTo>
                  <a:lnTo>
                    <a:pt x="582" y="6"/>
                  </a:lnTo>
                  <a:lnTo>
                    <a:pt x="594" y="6"/>
                  </a:lnTo>
                  <a:lnTo>
                    <a:pt x="600" y="6"/>
                  </a:lnTo>
                  <a:lnTo>
                    <a:pt x="606" y="6"/>
                  </a:lnTo>
                  <a:lnTo>
                    <a:pt x="624" y="0"/>
                  </a:lnTo>
                  <a:lnTo>
                    <a:pt x="636" y="0"/>
                  </a:lnTo>
                  <a:lnTo>
                    <a:pt x="636" y="6"/>
                  </a:lnTo>
                  <a:lnTo>
                    <a:pt x="654" y="18"/>
                  </a:lnTo>
                  <a:lnTo>
                    <a:pt x="654" y="30"/>
                  </a:lnTo>
                  <a:lnTo>
                    <a:pt x="642" y="42"/>
                  </a:lnTo>
                  <a:lnTo>
                    <a:pt x="630" y="66"/>
                  </a:lnTo>
                  <a:lnTo>
                    <a:pt x="636" y="84"/>
                  </a:lnTo>
                  <a:lnTo>
                    <a:pt x="636" y="96"/>
                  </a:lnTo>
                  <a:lnTo>
                    <a:pt x="648" y="102"/>
                  </a:lnTo>
                  <a:lnTo>
                    <a:pt x="672" y="114"/>
                  </a:lnTo>
                  <a:lnTo>
                    <a:pt x="702" y="120"/>
                  </a:lnTo>
                  <a:lnTo>
                    <a:pt x="714" y="126"/>
                  </a:lnTo>
                  <a:lnTo>
                    <a:pt x="720" y="144"/>
                  </a:lnTo>
                  <a:lnTo>
                    <a:pt x="720" y="156"/>
                  </a:lnTo>
                  <a:lnTo>
                    <a:pt x="708" y="156"/>
                  </a:lnTo>
                  <a:lnTo>
                    <a:pt x="702" y="162"/>
                  </a:lnTo>
                  <a:lnTo>
                    <a:pt x="702" y="174"/>
                  </a:lnTo>
                  <a:lnTo>
                    <a:pt x="696" y="174"/>
                  </a:lnTo>
                  <a:lnTo>
                    <a:pt x="690" y="180"/>
                  </a:lnTo>
                  <a:lnTo>
                    <a:pt x="678" y="186"/>
                  </a:lnTo>
                  <a:lnTo>
                    <a:pt x="672" y="192"/>
                  </a:lnTo>
                  <a:lnTo>
                    <a:pt x="654" y="210"/>
                  </a:lnTo>
                  <a:lnTo>
                    <a:pt x="654" y="216"/>
                  </a:lnTo>
                  <a:lnTo>
                    <a:pt x="648" y="246"/>
                  </a:lnTo>
                  <a:lnTo>
                    <a:pt x="660" y="246"/>
                  </a:lnTo>
                  <a:lnTo>
                    <a:pt x="666" y="234"/>
                  </a:lnTo>
                  <a:lnTo>
                    <a:pt x="678" y="240"/>
                  </a:lnTo>
                  <a:lnTo>
                    <a:pt x="684" y="228"/>
                  </a:lnTo>
                  <a:lnTo>
                    <a:pt x="690" y="210"/>
                  </a:lnTo>
                  <a:lnTo>
                    <a:pt x="696" y="204"/>
                  </a:lnTo>
                  <a:lnTo>
                    <a:pt x="702" y="204"/>
                  </a:lnTo>
                  <a:lnTo>
                    <a:pt x="708" y="192"/>
                  </a:lnTo>
                  <a:lnTo>
                    <a:pt x="714" y="192"/>
                  </a:lnTo>
                  <a:lnTo>
                    <a:pt x="714" y="186"/>
                  </a:lnTo>
                  <a:lnTo>
                    <a:pt x="726" y="186"/>
                  </a:lnTo>
                  <a:lnTo>
                    <a:pt x="732" y="186"/>
                  </a:lnTo>
                  <a:lnTo>
                    <a:pt x="738" y="186"/>
                  </a:lnTo>
                  <a:lnTo>
                    <a:pt x="744" y="216"/>
                  </a:lnTo>
                  <a:lnTo>
                    <a:pt x="750" y="210"/>
                  </a:lnTo>
                  <a:lnTo>
                    <a:pt x="750" y="204"/>
                  </a:lnTo>
                  <a:lnTo>
                    <a:pt x="756" y="192"/>
                  </a:lnTo>
                  <a:lnTo>
                    <a:pt x="762" y="192"/>
                  </a:lnTo>
                  <a:lnTo>
                    <a:pt x="768" y="192"/>
                  </a:lnTo>
                  <a:lnTo>
                    <a:pt x="780" y="186"/>
                  </a:lnTo>
                  <a:lnTo>
                    <a:pt x="786" y="204"/>
                  </a:lnTo>
                  <a:lnTo>
                    <a:pt x="774" y="210"/>
                  </a:lnTo>
                  <a:lnTo>
                    <a:pt x="774" y="234"/>
                  </a:lnTo>
                  <a:lnTo>
                    <a:pt x="780" y="246"/>
                  </a:lnTo>
                  <a:lnTo>
                    <a:pt x="804" y="264"/>
                  </a:lnTo>
                  <a:lnTo>
                    <a:pt x="816" y="276"/>
                  </a:lnTo>
                  <a:lnTo>
                    <a:pt x="822" y="288"/>
                  </a:lnTo>
                  <a:lnTo>
                    <a:pt x="822" y="312"/>
                  </a:lnTo>
                  <a:lnTo>
                    <a:pt x="816" y="312"/>
                  </a:lnTo>
                  <a:lnTo>
                    <a:pt x="810" y="318"/>
                  </a:lnTo>
                  <a:lnTo>
                    <a:pt x="810" y="348"/>
                  </a:lnTo>
                  <a:lnTo>
                    <a:pt x="816" y="348"/>
                  </a:lnTo>
                  <a:lnTo>
                    <a:pt x="816" y="342"/>
                  </a:lnTo>
                  <a:lnTo>
                    <a:pt x="834" y="342"/>
                  </a:lnTo>
                  <a:lnTo>
                    <a:pt x="834" y="348"/>
                  </a:lnTo>
                  <a:lnTo>
                    <a:pt x="846" y="348"/>
                  </a:lnTo>
                  <a:lnTo>
                    <a:pt x="846" y="342"/>
                  </a:lnTo>
                  <a:lnTo>
                    <a:pt x="882" y="342"/>
                  </a:lnTo>
                  <a:lnTo>
                    <a:pt x="894" y="366"/>
                  </a:lnTo>
                  <a:lnTo>
                    <a:pt x="900" y="372"/>
                  </a:lnTo>
                  <a:lnTo>
                    <a:pt x="906" y="384"/>
                  </a:lnTo>
                  <a:lnTo>
                    <a:pt x="924" y="384"/>
                  </a:lnTo>
                  <a:lnTo>
                    <a:pt x="930" y="372"/>
                  </a:lnTo>
                  <a:lnTo>
                    <a:pt x="936" y="372"/>
                  </a:lnTo>
                  <a:lnTo>
                    <a:pt x="942" y="348"/>
                  </a:lnTo>
                  <a:lnTo>
                    <a:pt x="954" y="348"/>
                  </a:lnTo>
                  <a:lnTo>
                    <a:pt x="954" y="342"/>
                  </a:lnTo>
                  <a:lnTo>
                    <a:pt x="984" y="342"/>
                  </a:lnTo>
                  <a:lnTo>
                    <a:pt x="978" y="390"/>
                  </a:lnTo>
                  <a:lnTo>
                    <a:pt x="984" y="390"/>
                  </a:lnTo>
                  <a:lnTo>
                    <a:pt x="990" y="396"/>
                  </a:lnTo>
                  <a:lnTo>
                    <a:pt x="996" y="396"/>
                  </a:lnTo>
                  <a:lnTo>
                    <a:pt x="1002" y="396"/>
                  </a:lnTo>
                  <a:lnTo>
                    <a:pt x="1002" y="408"/>
                  </a:lnTo>
                  <a:lnTo>
                    <a:pt x="990" y="414"/>
                  </a:lnTo>
                  <a:lnTo>
                    <a:pt x="984" y="426"/>
                  </a:lnTo>
                  <a:lnTo>
                    <a:pt x="990" y="444"/>
                  </a:lnTo>
                  <a:lnTo>
                    <a:pt x="996" y="450"/>
                  </a:lnTo>
                  <a:lnTo>
                    <a:pt x="990" y="462"/>
                  </a:lnTo>
                  <a:lnTo>
                    <a:pt x="990" y="468"/>
                  </a:lnTo>
                  <a:lnTo>
                    <a:pt x="984" y="480"/>
                  </a:lnTo>
                  <a:lnTo>
                    <a:pt x="978" y="486"/>
                  </a:lnTo>
                  <a:lnTo>
                    <a:pt x="972" y="486"/>
                  </a:lnTo>
                  <a:lnTo>
                    <a:pt x="966" y="492"/>
                  </a:lnTo>
                  <a:lnTo>
                    <a:pt x="966" y="498"/>
                  </a:lnTo>
                  <a:lnTo>
                    <a:pt x="954" y="510"/>
                  </a:lnTo>
                  <a:lnTo>
                    <a:pt x="948" y="510"/>
                  </a:lnTo>
                  <a:lnTo>
                    <a:pt x="942" y="516"/>
                  </a:lnTo>
                  <a:lnTo>
                    <a:pt x="936" y="528"/>
                  </a:lnTo>
                  <a:lnTo>
                    <a:pt x="936" y="534"/>
                  </a:lnTo>
                  <a:lnTo>
                    <a:pt x="936" y="546"/>
                  </a:lnTo>
                  <a:lnTo>
                    <a:pt x="936" y="558"/>
                  </a:lnTo>
                  <a:lnTo>
                    <a:pt x="948" y="558"/>
                  </a:lnTo>
                  <a:lnTo>
                    <a:pt x="954" y="558"/>
                  </a:lnTo>
                  <a:lnTo>
                    <a:pt x="996" y="558"/>
                  </a:lnTo>
                  <a:lnTo>
                    <a:pt x="1002" y="570"/>
                  </a:lnTo>
                  <a:lnTo>
                    <a:pt x="996" y="576"/>
                  </a:lnTo>
                  <a:lnTo>
                    <a:pt x="996" y="588"/>
                  </a:lnTo>
                  <a:lnTo>
                    <a:pt x="984" y="588"/>
                  </a:lnTo>
                  <a:lnTo>
                    <a:pt x="990" y="612"/>
                  </a:lnTo>
                  <a:lnTo>
                    <a:pt x="1014" y="606"/>
                  </a:lnTo>
                  <a:lnTo>
                    <a:pt x="1014" y="636"/>
                  </a:lnTo>
                  <a:lnTo>
                    <a:pt x="1014" y="648"/>
                  </a:lnTo>
                  <a:lnTo>
                    <a:pt x="1020" y="648"/>
                  </a:lnTo>
                  <a:lnTo>
                    <a:pt x="1026" y="660"/>
                  </a:lnTo>
                  <a:lnTo>
                    <a:pt x="1038" y="654"/>
                  </a:lnTo>
                  <a:lnTo>
                    <a:pt x="1050" y="654"/>
                  </a:lnTo>
                  <a:lnTo>
                    <a:pt x="1062" y="654"/>
                  </a:lnTo>
                  <a:lnTo>
                    <a:pt x="1068" y="660"/>
                  </a:lnTo>
                  <a:lnTo>
                    <a:pt x="1068" y="678"/>
                  </a:lnTo>
                  <a:lnTo>
                    <a:pt x="1068" y="684"/>
                  </a:lnTo>
                  <a:lnTo>
                    <a:pt x="1062" y="690"/>
                  </a:lnTo>
                  <a:lnTo>
                    <a:pt x="1056" y="696"/>
                  </a:lnTo>
                  <a:lnTo>
                    <a:pt x="1056" y="702"/>
                  </a:lnTo>
                  <a:lnTo>
                    <a:pt x="1038" y="714"/>
                  </a:lnTo>
                  <a:lnTo>
                    <a:pt x="1026" y="720"/>
                  </a:lnTo>
                  <a:lnTo>
                    <a:pt x="1008" y="726"/>
                  </a:lnTo>
                  <a:lnTo>
                    <a:pt x="1008" y="732"/>
                  </a:lnTo>
                  <a:lnTo>
                    <a:pt x="990" y="732"/>
                  </a:lnTo>
                  <a:lnTo>
                    <a:pt x="984" y="744"/>
                  </a:lnTo>
                  <a:lnTo>
                    <a:pt x="990" y="750"/>
                  </a:lnTo>
                  <a:lnTo>
                    <a:pt x="984" y="762"/>
                  </a:lnTo>
                  <a:lnTo>
                    <a:pt x="984" y="768"/>
                  </a:lnTo>
                  <a:lnTo>
                    <a:pt x="984" y="774"/>
                  </a:lnTo>
                  <a:lnTo>
                    <a:pt x="984" y="780"/>
                  </a:lnTo>
                  <a:lnTo>
                    <a:pt x="984" y="786"/>
                  </a:lnTo>
                  <a:lnTo>
                    <a:pt x="984" y="792"/>
                  </a:lnTo>
                  <a:lnTo>
                    <a:pt x="978" y="798"/>
                  </a:lnTo>
                  <a:lnTo>
                    <a:pt x="978" y="80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3" name="Freeform 38">
              <a:extLst>
                <a:ext uri="{FF2B5EF4-FFF2-40B4-BE49-F238E27FC236}">
                  <a16:creationId xmlns:a16="http://schemas.microsoft.com/office/drawing/2014/main" id="{819B99CE-D972-4530-8964-A992C1EC87A9}"/>
                </a:ext>
              </a:extLst>
            </p:cNvPr>
            <p:cNvSpPr>
              <a:spLocks/>
            </p:cNvSpPr>
            <p:nvPr/>
          </p:nvSpPr>
          <p:spPr bwMode="gray">
            <a:xfrm>
              <a:off x="3142825" y="1634436"/>
              <a:ext cx="959326" cy="959458"/>
            </a:xfrm>
            <a:custGeom>
              <a:avLst/>
              <a:gdLst>
                <a:gd name="T0" fmla="*/ 105 w 1806"/>
                <a:gd name="T1" fmla="*/ 155 h 1806"/>
                <a:gd name="T2" fmla="*/ 103 w 1806"/>
                <a:gd name="T3" fmla="*/ 155 h 1806"/>
                <a:gd name="T4" fmla="*/ 103 w 1806"/>
                <a:gd name="T5" fmla="*/ 150 h 1806"/>
                <a:gd name="T6" fmla="*/ 104 w 1806"/>
                <a:gd name="T7" fmla="*/ 141 h 1806"/>
                <a:gd name="T8" fmla="*/ 104 w 1806"/>
                <a:gd name="T9" fmla="*/ 136 h 1806"/>
                <a:gd name="T10" fmla="*/ 100 w 1806"/>
                <a:gd name="T11" fmla="*/ 131 h 1806"/>
                <a:gd name="T12" fmla="*/ 96 w 1806"/>
                <a:gd name="T13" fmla="*/ 127 h 1806"/>
                <a:gd name="T14" fmla="*/ 91 w 1806"/>
                <a:gd name="T15" fmla="*/ 121 h 1806"/>
                <a:gd name="T16" fmla="*/ 87 w 1806"/>
                <a:gd name="T17" fmla="*/ 120 h 1806"/>
                <a:gd name="T18" fmla="*/ 81 w 1806"/>
                <a:gd name="T19" fmla="*/ 117 h 1806"/>
                <a:gd name="T20" fmla="*/ 65 w 1806"/>
                <a:gd name="T21" fmla="*/ 113 h 1806"/>
                <a:gd name="T22" fmla="*/ 69 w 1806"/>
                <a:gd name="T23" fmla="*/ 105 h 1806"/>
                <a:gd name="T24" fmla="*/ 66 w 1806"/>
                <a:gd name="T25" fmla="*/ 89 h 1806"/>
                <a:gd name="T26" fmla="*/ 63 w 1806"/>
                <a:gd name="T27" fmla="*/ 84 h 1806"/>
                <a:gd name="T28" fmla="*/ 62 w 1806"/>
                <a:gd name="T29" fmla="*/ 74 h 1806"/>
                <a:gd name="T30" fmla="*/ 58 w 1806"/>
                <a:gd name="T31" fmla="*/ 52 h 1806"/>
                <a:gd name="T32" fmla="*/ 53 w 1806"/>
                <a:gd name="T33" fmla="*/ 49 h 1806"/>
                <a:gd name="T34" fmla="*/ 51 w 1806"/>
                <a:gd name="T35" fmla="*/ 36 h 1806"/>
                <a:gd name="T36" fmla="*/ 43 w 1806"/>
                <a:gd name="T37" fmla="*/ 32 h 1806"/>
                <a:gd name="T38" fmla="*/ 33 w 1806"/>
                <a:gd name="T39" fmla="*/ 30 h 1806"/>
                <a:gd name="T40" fmla="*/ 30 w 1806"/>
                <a:gd name="T41" fmla="*/ 21 h 1806"/>
                <a:gd name="T42" fmla="*/ 17 w 1806"/>
                <a:gd name="T43" fmla="*/ 25 h 1806"/>
                <a:gd name="T44" fmla="*/ 4 w 1806"/>
                <a:gd name="T45" fmla="*/ 33 h 1806"/>
                <a:gd name="T46" fmla="*/ 7 w 1806"/>
                <a:gd name="T47" fmla="*/ 26 h 1806"/>
                <a:gd name="T48" fmla="*/ 11 w 1806"/>
                <a:gd name="T49" fmla="*/ 20 h 1806"/>
                <a:gd name="T50" fmla="*/ 18 w 1806"/>
                <a:gd name="T51" fmla="*/ 12 h 1806"/>
                <a:gd name="T52" fmla="*/ 26 w 1806"/>
                <a:gd name="T53" fmla="*/ 8 h 1806"/>
                <a:gd name="T54" fmla="*/ 35 w 1806"/>
                <a:gd name="T55" fmla="*/ 6 h 1806"/>
                <a:gd name="T56" fmla="*/ 44 w 1806"/>
                <a:gd name="T57" fmla="*/ 5 h 1806"/>
                <a:gd name="T58" fmla="*/ 54 w 1806"/>
                <a:gd name="T59" fmla="*/ 2 h 1806"/>
                <a:gd name="T60" fmla="*/ 65 w 1806"/>
                <a:gd name="T61" fmla="*/ 0 h 1806"/>
                <a:gd name="T62" fmla="*/ 76 w 1806"/>
                <a:gd name="T63" fmla="*/ 0 h 1806"/>
                <a:gd name="T64" fmla="*/ 85 w 1806"/>
                <a:gd name="T65" fmla="*/ 0 h 1806"/>
                <a:gd name="T66" fmla="*/ 97 w 1806"/>
                <a:gd name="T67" fmla="*/ 0 h 1806"/>
                <a:gd name="T68" fmla="*/ 108 w 1806"/>
                <a:gd name="T69" fmla="*/ 3 h 1806"/>
                <a:gd name="T70" fmla="*/ 115 w 1806"/>
                <a:gd name="T71" fmla="*/ 5 h 1806"/>
                <a:gd name="T72" fmla="*/ 123 w 1806"/>
                <a:gd name="T73" fmla="*/ 7 h 1806"/>
                <a:gd name="T74" fmla="*/ 133 w 1806"/>
                <a:gd name="T75" fmla="*/ 14 h 1806"/>
                <a:gd name="T76" fmla="*/ 138 w 1806"/>
                <a:gd name="T77" fmla="*/ 16 h 1806"/>
                <a:gd name="T78" fmla="*/ 140 w 1806"/>
                <a:gd name="T79" fmla="*/ 14 h 1806"/>
                <a:gd name="T80" fmla="*/ 145 w 1806"/>
                <a:gd name="T81" fmla="*/ 16 h 1806"/>
                <a:gd name="T82" fmla="*/ 147 w 1806"/>
                <a:gd name="T83" fmla="*/ 16 h 1806"/>
                <a:gd name="T84" fmla="*/ 150 w 1806"/>
                <a:gd name="T85" fmla="*/ 17 h 1806"/>
                <a:gd name="T86" fmla="*/ 152 w 1806"/>
                <a:gd name="T87" fmla="*/ 18 h 1806"/>
                <a:gd name="T88" fmla="*/ 155 w 1806"/>
                <a:gd name="T89" fmla="*/ 37 h 1806"/>
                <a:gd name="T90" fmla="*/ 146 w 1806"/>
                <a:gd name="T91" fmla="*/ 66 h 1806"/>
                <a:gd name="T92" fmla="*/ 143 w 1806"/>
                <a:gd name="T93" fmla="*/ 88 h 1806"/>
                <a:gd name="T94" fmla="*/ 144 w 1806"/>
                <a:gd name="T95" fmla="*/ 98 h 1806"/>
                <a:gd name="T96" fmla="*/ 137 w 1806"/>
                <a:gd name="T97" fmla="*/ 118 h 1806"/>
                <a:gd name="T98" fmla="*/ 132 w 1806"/>
                <a:gd name="T99" fmla="*/ 129 h 1806"/>
                <a:gd name="T100" fmla="*/ 124 w 1806"/>
                <a:gd name="T101" fmla="*/ 135 h 1806"/>
                <a:gd name="T102" fmla="*/ 119 w 1806"/>
                <a:gd name="T103" fmla="*/ 136 h 1806"/>
                <a:gd name="T104" fmla="*/ 116 w 1806"/>
                <a:gd name="T105" fmla="*/ 137 h 1806"/>
                <a:gd name="T106" fmla="*/ 112 w 1806"/>
                <a:gd name="T107" fmla="*/ 139 h 1806"/>
                <a:gd name="T108" fmla="*/ 112 w 1806"/>
                <a:gd name="T109" fmla="*/ 141 h 1806"/>
                <a:gd name="T110" fmla="*/ 116 w 1806"/>
                <a:gd name="T111" fmla="*/ 146 h 1806"/>
                <a:gd name="T112" fmla="*/ 116 w 1806"/>
                <a:gd name="T113" fmla="*/ 151 h 1806"/>
                <a:gd name="T114" fmla="*/ 113 w 1806"/>
                <a:gd name="T115" fmla="*/ 153 h 18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06"/>
                <a:gd name="T175" fmla="*/ 0 h 1806"/>
                <a:gd name="T176" fmla="*/ 1806 w 1806"/>
                <a:gd name="T177" fmla="*/ 1806 h 180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06" h="1806">
                  <a:moveTo>
                    <a:pt x="1260" y="1776"/>
                  </a:moveTo>
                  <a:lnTo>
                    <a:pt x="1254" y="1776"/>
                  </a:lnTo>
                  <a:lnTo>
                    <a:pt x="1248" y="1776"/>
                  </a:lnTo>
                  <a:lnTo>
                    <a:pt x="1242" y="1782"/>
                  </a:lnTo>
                  <a:lnTo>
                    <a:pt x="1236" y="1782"/>
                  </a:lnTo>
                  <a:lnTo>
                    <a:pt x="1230" y="1788"/>
                  </a:lnTo>
                  <a:lnTo>
                    <a:pt x="1224" y="1782"/>
                  </a:lnTo>
                  <a:lnTo>
                    <a:pt x="1218" y="1782"/>
                  </a:lnTo>
                  <a:lnTo>
                    <a:pt x="1218" y="1788"/>
                  </a:lnTo>
                  <a:lnTo>
                    <a:pt x="1212" y="1788"/>
                  </a:lnTo>
                  <a:lnTo>
                    <a:pt x="1206" y="1788"/>
                  </a:lnTo>
                  <a:lnTo>
                    <a:pt x="1206" y="1794"/>
                  </a:lnTo>
                  <a:lnTo>
                    <a:pt x="1200" y="1806"/>
                  </a:lnTo>
                  <a:lnTo>
                    <a:pt x="1194" y="1800"/>
                  </a:lnTo>
                  <a:lnTo>
                    <a:pt x="1194" y="1794"/>
                  </a:lnTo>
                  <a:lnTo>
                    <a:pt x="1194" y="1788"/>
                  </a:lnTo>
                  <a:lnTo>
                    <a:pt x="1188" y="1788"/>
                  </a:lnTo>
                  <a:lnTo>
                    <a:pt x="1188" y="1782"/>
                  </a:lnTo>
                  <a:lnTo>
                    <a:pt x="1188" y="1776"/>
                  </a:lnTo>
                  <a:lnTo>
                    <a:pt x="1194" y="1770"/>
                  </a:lnTo>
                  <a:lnTo>
                    <a:pt x="1194" y="1764"/>
                  </a:lnTo>
                  <a:lnTo>
                    <a:pt x="1194" y="1758"/>
                  </a:lnTo>
                  <a:lnTo>
                    <a:pt x="1194" y="1752"/>
                  </a:lnTo>
                  <a:lnTo>
                    <a:pt x="1200" y="1746"/>
                  </a:lnTo>
                  <a:lnTo>
                    <a:pt x="1200" y="1740"/>
                  </a:lnTo>
                  <a:lnTo>
                    <a:pt x="1200" y="1734"/>
                  </a:lnTo>
                  <a:lnTo>
                    <a:pt x="1188" y="1722"/>
                  </a:lnTo>
                  <a:lnTo>
                    <a:pt x="1188" y="1716"/>
                  </a:lnTo>
                  <a:lnTo>
                    <a:pt x="1194" y="1704"/>
                  </a:lnTo>
                  <a:lnTo>
                    <a:pt x="1194" y="1692"/>
                  </a:lnTo>
                  <a:lnTo>
                    <a:pt x="1200" y="1680"/>
                  </a:lnTo>
                  <a:lnTo>
                    <a:pt x="1200" y="1662"/>
                  </a:lnTo>
                  <a:lnTo>
                    <a:pt x="1200" y="1650"/>
                  </a:lnTo>
                  <a:lnTo>
                    <a:pt x="1206" y="1644"/>
                  </a:lnTo>
                  <a:lnTo>
                    <a:pt x="1206" y="1638"/>
                  </a:lnTo>
                  <a:lnTo>
                    <a:pt x="1206" y="1626"/>
                  </a:lnTo>
                  <a:lnTo>
                    <a:pt x="1206" y="1620"/>
                  </a:lnTo>
                  <a:lnTo>
                    <a:pt x="1206" y="1614"/>
                  </a:lnTo>
                  <a:lnTo>
                    <a:pt x="1200" y="1608"/>
                  </a:lnTo>
                  <a:lnTo>
                    <a:pt x="1200" y="1602"/>
                  </a:lnTo>
                  <a:lnTo>
                    <a:pt x="1200" y="1596"/>
                  </a:lnTo>
                  <a:lnTo>
                    <a:pt x="1200" y="1590"/>
                  </a:lnTo>
                  <a:lnTo>
                    <a:pt x="1200" y="1572"/>
                  </a:lnTo>
                  <a:lnTo>
                    <a:pt x="1200" y="1566"/>
                  </a:lnTo>
                  <a:lnTo>
                    <a:pt x="1200" y="1560"/>
                  </a:lnTo>
                  <a:lnTo>
                    <a:pt x="1194" y="1554"/>
                  </a:lnTo>
                  <a:lnTo>
                    <a:pt x="1188" y="1548"/>
                  </a:lnTo>
                  <a:lnTo>
                    <a:pt x="1188" y="1542"/>
                  </a:lnTo>
                  <a:lnTo>
                    <a:pt x="1176" y="1536"/>
                  </a:lnTo>
                  <a:lnTo>
                    <a:pt x="1176" y="1530"/>
                  </a:lnTo>
                  <a:lnTo>
                    <a:pt x="1170" y="1524"/>
                  </a:lnTo>
                  <a:lnTo>
                    <a:pt x="1170" y="1518"/>
                  </a:lnTo>
                  <a:lnTo>
                    <a:pt x="1164" y="1512"/>
                  </a:lnTo>
                  <a:lnTo>
                    <a:pt x="1158" y="1506"/>
                  </a:lnTo>
                  <a:lnTo>
                    <a:pt x="1152" y="1500"/>
                  </a:lnTo>
                  <a:lnTo>
                    <a:pt x="1146" y="1494"/>
                  </a:lnTo>
                  <a:lnTo>
                    <a:pt x="1140" y="1488"/>
                  </a:lnTo>
                  <a:lnTo>
                    <a:pt x="1134" y="1482"/>
                  </a:lnTo>
                  <a:lnTo>
                    <a:pt x="1128" y="1476"/>
                  </a:lnTo>
                  <a:lnTo>
                    <a:pt x="1122" y="1470"/>
                  </a:lnTo>
                  <a:lnTo>
                    <a:pt x="1116" y="1464"/>
                  </a:lnTo>
                  <a:lnTo>
                    <a:pt x="1110" y="1464"/>
                  </a:lnTo>
                  <a:lnTo>
                    <a:pt x="1104" y="1458"/>
                  </a:lnTo>
                  <a:lnTo>
                    <a:pt x="1098" y="1464"/>
                  </a:lnTo>
                  <a:lnTo>
                    <a:pt x="1092" y="1464"/>
                  </a:lnTo>
                  <a:lnTo>
                    <a:pt x="1086" y="1446"/>
                  </a:lnTo>
                  <a:lnTo>
                    <a:pt x="1086" y="1440"/>
                  </a:lnTo>
                  <a:lnTo>
                    <a:pt x="1080" y="1416"/>
                  </a:lnTo>
                  <a:lnTo>
                    <a:pt x="1068" y="1404"/>
                  </a:lnTo>
                  <a:lnTo>
                    <a:pt x="1062" y="1398"/>
                  </a:lnTo>
                  <a:lnTo>
                    <a:pt x="1056" y="1398"/>
                  </a:lnTo>
                  <a:lnTo>
                    <a:pt x="1050" y="1398"/>
                  </a:lnTo>
                  <a:lnTo>
                    <a:pt x="1044" y="1398"/>
                  </a:lnTo>
                  <a:lnTo>
                    <a:pt x="1044" y="1392"/>
                  </a:lnTo>
                  <a:lnTo>
                    <a:pt x="1038" y="1392"/>
                  </a:lnTo>
                  <a:lnTo>
                    <a:pt x="1032" y="1392"/>
                  </a:lnTo>
                  <a:lnTo>
                    <a:pt x="1020" y="1386"/>
                  </a:lnTo>
                  <a:lnTo>
                    <a:pt x="1014" y="1386"/>
                  </a:lnTo>
                  <a:lnTo>
                    <a:pt x="1014" y="1380"/>
                  </a:lnTo>
                  <a:lnTo>
                    <a:pt x="1008" y="1380"/>
                  </a:lnTo>
                  <a:lnTo>
                    <a:pt x="1002" y="1374"/>
                  </a:lnTo>
                  <a:lnTo>
                    <a:pt x="996" y="1368"/>
                  </a:lnTo>
                  <a:lnTo>
                    <a:pt x="990" y="1362"/>
                  </a:lnTo>
                  <a:lnTo>
                    <a:pt x="984" y="1356"/>
                  </a:lnTo>
                  <a:lnTo>
                    <a:pt x="978" y="1356"/>
                  </a:lnTo>
                  <a:lnTo>
                    <a:pt x="972" y="1356"/>
                  </a:lnTo>
                  <a:lnTo>
                    <a:pt x="966" y="1356"/>
                  </a:lnTo>
                  <a:lnTo>
                    <a:pt x="966" y="1350"/>
                  </a:lnTo>
                  <a:lnTo>
                    <a:pt x="948" y="1350"/>
                  </a:lnTo>
                  <a:lnTo>
                    <a:pt x="936" y="1344"/>
                  </a:lnTo>
                  <a:lnTo>
                    <a:pt x="930" y="1338"/>
                  </a:lnTo>
                  <a:lnTo>
                    <a:pt x="918" y="1332"/>
                  </a:lnTo>
                  <a:lnTo>
                    <a:pt x="900" y="1326"/>
                  </a:lnTo>
                  <a:lnTo>
                    <a:pt x="864" y="1332"/>
                  </a:lnTo>
                  <a:lnTo>
                    <a:pt x="828" y="1332"/>
                  </a:lnTo>
                  <a:lnTo>
                    <a:pt x="792" y="1314"/>
                  </a:lnTo>
                  <a:lnTo>
                    <a:pt x="780" y="1314"/>
                  </a:lnTo>
                  <a:lnTo>
                    <a:pt x="780" y="1308"/>
                  </a:lnTo>
                  <a:lnTo>
                    <a:pt x="756" y="1296"/>
                  </a:lnTo>
                  <a:lnTo>
                    <a:pt x="756" y="1278"/>
                  </a:lnTo>
                  <a:lnTo>
                    <a:pt x="768" y="1278"/>
                  </a:lnTo>
                  <a:lnTo>
                    <a:pt x="774" y="1272"/>
                  </a:lnTo>
                  <a:lnTo>
                    <a:pt x="780" y="1266"/>
                  </a:lnTo>
                  <a:lnTo>
                    <a:pt x="786" y="1260"/>
                  </a:lnTo>
                  <a:lnTo>
                    <a:pt x="792" y="1254"/>
                  </a:lnTo>
                  <a:lnTo>
                    <a:pt x="798" y="1242"/>
                  </a:lnTo>
                  <a:lnTo>
                    <a:pt x="804" y="1242"/>
                  </a:lnTo>
                  <a:lnTo>
                    <a:pt x="804" y="1206"/>
                  </a:lnTo>
                  <a:lnTo>
                    <a:pt x="804" y="1182"/>
                  </a:lnTo>
                  <a:lnTo>
                    <a:pt x="804" y="1158"/>
                  </a:lnTo>
                  <a:lnTo>
                    <a:pt x="804" y="1134"/>
                  </a:lnTo>
                  <a:lnTo>
                    <a:pt x="798" y="1116"/>
                  </a:lnTo>
                  <a:lnTo>
                    <a:pt x="792" y="1092"/>
                  </a:lnTo>
                  <a:lnTo>
                    <a:pt x="786" y="1062"/>
                  </a:lnTo>
                  <a:lnTo>
                    <a:pt x="768" y="1032"/>
                  </a:lnTo>
                  <a:lnTo>
                    <a:pt x="762" y="1032"/>
                  </a:lnTo>
                  <a:lnTo>
                    <a:pt x="762" y="1020"/>
                  </a:lnTo>
                  <a:lnTo>
                    <a:pt x="762" y="1014"/>
                  </a:lnTo>
                  <a:lnTo>
                    <a:pt x="756" y="1008"/>
                  </a:lnTo>
                  <a:lnTo>
                    <a:pt x="750" y="1002"/>
                  </a:lnTo>
                  <a:lnTo>
                    <a:pt x="738" y="1002"/>
                  </a:lnTo>
                  <a:lnTo>
                    <a:pt x="738" y="990"/>
                  </a:lnTo>
                  <a:lnTo>
                    <a:pt x="726" y="990"/>
                  </a:lnTo>
                  <a:lnTo>
                    <a:pt x="726" y="978"/>
                  </a:lnTo>
                  <a:lnTo>
                    <a:pt x="732" y="972"/>
                  </a:lnTo>
                  <a:lnTo>
                    <a:pt x="732" y="966"/>
                  </a:lnTo>
                  <a:lnTo>
                    <a:pt x="726" y="966"/>
                  </a:lnTo>
                  <a:lnTo>
                    <a:pt x="732" y="948"/>
                  </a:lnTo>
                  <a:lnTo>
                    <a:pt x="726" y="942"/>
                  </a:lnTo>
                  <a:lnTo>
                    <a:pt x="726" y="930"/>
                  </a:lnTo>
                  <a:lnTo>
                    <a:pt x="720" y="924"/>
                  </a:lnTo>
                  <a:lnTo>
                    <a:pt x="714" y="912"/>
                  </a:lnTo>
                  <a:lnTo>
                    <a:pt x="714" y="882"/>
                  </a:lnTo>
                  <a:lnTo>
                    <a:pt x="714" y="870"/>
                  </a:lnTo>
                  <a:lnTo>
                    <a:pt x="714" y="858"/>
                  </a:lnTo>
                  <a:lnTo>
                    <a:pt x="714" y="846"/>
                  </a:lnTo>
                  <a:lnTo>
                    <a:pt x="708" y="822"/>
                  </a:lnTo>
                  <a:lnTo>
                    <a:pt x="702" y="798"/>
                  </a:lnTo>
                  <a:lnTo>
                    <a:pt x="696" y="792"/>
                  </a:lnTo>
                  <a:lnTo>
                    <a:pt x="684" y="726"/>
                  </a:lnTo>
                  <a:lnTo>
                    <a:pt x="678" y="666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66" y="600"/>
                  </a:lnTo>
                  <a:lnTo>
                    <a:pt x="660" y="594"/>
                  </a:lnTo>
                  <a:lnTo>
                    <a:pt x="654" y="594"/>
                  </a:lnTo>
                  <a:lnTo>
                    <a:pt x="636" y="582"/>
                  </a:lnTo>
                  <a:lnTo>
                    <a:pt x="630" y="576"/>
                  </a:lnTo>
                  <a:lnTo>
                    <a:pt x="624" y="576"/>
                  </a:lnTo>
                  <a:lnTo>
                    <a:pt x="618" y="570"/>
                  </a:lnTo>
                  <a:lnTo>
                    <a:pt x="612" y="564"/>
                  </a:lnTo>
                  <a:lnTo>
                    <a:pt x="606" y="558"/>
                  </a:lnTo>
                  <a:lnTo>
                    <a:pt x="606" y="564"/>
                  </a:lnTo>
                  <a:lnTo>
                    <a:pt x="600" y="564"/>
                  </a:lnTo>
                  <a:lnTo>
                    <a:pt x="594" y="558"/>
                  </a:lnTo>
                  <a:lnTo>
                    <a:pt x="594" y="540"/>
                  </a:lnTo>
                  <a:lnTo>
                    <a:pt x="594" y="528"/>
                  </a:lnTo>
                  <a:lnTo>
                    <a:pt x="594" y="516"/>
                  </a:lnTo>
                  <a:lnTo>
                    <a:pt x="594" y="510"/>
                  </a:lnTo>
                  <a:lnTo>
                    <a:pt x="594" y="492"/>
                  </a:lnTo>
                  <a:lnTo>
                    <a:pt x="594" y="456"/>
                  </a:lnTo>
                  <a:lnTo>
                    <a:pt x="588" y="414"/>
                  </a:lnTo>
                  <a:lnTo>
                    <a:pt x="588" y="408"/>
                  </a:lnTo>
                  <a:lnTo>
                    <a:pt x="582" y="396"/>
                  </a:lnTo>
                  <a:lnTo>
                    <a:pt x="582" y="384"/>
                  </a:lnTo>
                  <a:lnTo>
                    <a:pt x="582" y="372"/>
                  </a:lnTo>
                  <a:lnTo>
                    <a:pt x="564" y="372"/>
                  </a:lnTo>
                  <a:lnTo>
                    <a:pt x="552" y="366"/>
                  </a:lnTo>
                  <a:lnTo>
                    <a:pt x="552" y="372"/>
                  </a:lnTo>
                  <a:lnTo>
                    <a:pt x="498" y="372"/>
                  </a:lnTo>
                  <a:lnTo>
                    <a:pt x="498" y="366"/>
                  </a:lnTo>
                  <a:lnTo>
                    <a:pt x="474" y="360"/>
                  </a:lnTo>
                  <a:lnTo>
                    <a:pt x="456" y="354"/>
                  </a:lnTo>
                  <a:lnTo>
                    <a:pt x="438" y="348"/>
                  </a:lnTo>
                  <a:lnTo>
                    <a:pt x="426" y="354"/>
                  </a:lnTo>
                  <a:lnTo>
                    <a:pt x="408" y="360"/>
                  </a:lnTo>
                  <a:lnTo>
                    <a:pt x="378" y="360"/>
                  </a:lnTo>
                  <a:lnTo>
                    <a:pt x="378" y="354"/>
                  </a:lnTo>
                  <a:lnTo>
                    <a:pt x="378" y="348"/>
                  </a:lnTo>
                  <a:lnTo>
                    <a:pt x="378" y="342"/>
                  </a:lnTo>
                  <a:lnTo>
                    <a:pt x="390" y="330"/>
                  </a:lnTo>
                  <a:lnTo>
                    <a:pt x="396" y="312"/>
                  </a:lnTo>
                  <a:lnTo>
                    <a:pt x="396" y="282"/>
                  </a:lnTo>
                  <a:lnTo>
                    <a:pt x="390" y="276"/>
                  </a:lnTo>
                  <a:lnTo>
                    <a:pt x="384" y="264"/>
                  </a:lnTo>
                  <a:lnTo>
                    <a:pt x="378" y="258"/>
                  </a:lnTo>
                  <a:lnTo>
                    <a:pt x="372" y="234"/>
                  </a:lnTo>
                  <a:lnTo>
                    <a:pt x="354" y="234"/>
                  </a:lnTo>
                  <a:lnTo>
                    <a:pt x="342" y="246"/>
                  </a:lnTo>
                  <a:lnTo>
                    <a:pt x="330" y="252"/>
                  </a:lnTo>
                  <a:lnTo>
                    <a:pt x="318" y="252"/>
                  </a:lnTo>
                  <a:lnTo>
                    <a:pt x="276" y="258"/>
                  </a:lnTo>
                  <a:lnTo>
                    <a:pt x="276" y="264"/>
                  </a:lnTo>
                  <a:lnTo>
                    <a:pt x="252" y="270"/>
                  </a:lnTo>
                  <a:lnTo>
                    <a:pt x="240" y="270"/>
                  </a:lnTo>
                  <a:lnTo>
                    <a:pt x="228" y="276"/>
                  </a:lnTo>
                  <a:lnTo>
                    <a:pt x="210" y="282"/>
                  </a:lnTo>
                  <a:lnTo>
                    <a:pt x="198" y="288"/>
                  </a:lnTo>
                  <a:lnTo>
                    <a:pt x="186" y="294"/>
                  </a:lnTo>
                  <a:lnTo>
                    <a:pt x="174" y="330"/>
                  </a:lnTo>
                  <a:lnTo>
                    <a:pt x="162" y="342"/>
                  </a:lnTo>
                  <a:lnTo>
                    <a:pt x="156" y="354"/>
                  </a:lnTo>
                  <a:lnTo>
                    <a:pt x="150" y="360"/>
                  </a:lnTo>
                  <a:lnTo>
                    <a:pt x="150" y="366"/>
                  </a:lnTo>
                  <a:lnTo>
                    <a:pt x="108" y="372"/>
                  </a:lnTo>
                  <a:lnTo>
                    <a:pt x="60" y="378"/>
                  </a:lnTo>
                  <a:lnTo>
                    <a:pt x="42" y="378"/>
                  </a:lnTo>
                  <a:lnTo>
                    <a:pt x="12" y="378"/>
                  </a:lnTo>
                  <a:lnTo>
                    <a:pt x="6" y="378"/>
                  </a:lnTo>
                  <a:lnTo>
                    <a:pt x="0" y="366"/>
                  </a:lnTo>
                  <a:lnTo>
                    <a:pt x="12" y="360"/>
                  </a:lnTo>
                  <a:lnTo>
                    <a:pt x="24" y="348"/>
                  </a:lnTo>
                  <a:lnTo>
                    <a:pt x="30" y="342"/>
                  </a:lnTo>
                  <a:lnTo>
                    <a:pt x="36" y="330"/>
                  </a:lnTo>
                  <a:lnTo>
                    <a:pt x="72" y="300"/>
                  </a:lnTo>
                  <a:lnTo>
                    <a:pt x="78" y="294"/>
                  </a:lnTo>
                  <a:lnTo>
                    <a:pt x="78" y="288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96" y="270"/>
                  </a:lnTo>
                  <a:lnTo>
                    <a:pt x="102" y="264"/>
                  </a:lnTo>
                  <a:lnTo>
                    <a:pt x="108" y="258"/>
                  </a:lnTo>
                  <a:lnTo>
                    <a:pt x="114" y="246"/>
                  </a:lnTo>
                  <a:lnTo>
                    <a:pt x="120" y="240"/>
                  </a:lnTo>
                  <a:lnTo>
                    <a:pt x="126" y="234"/>
                  </a:lnTo>
                  <a:lnTo>
                    <a:pt x="138" y="216"/>
                  </a:lnTo>
                  <a:lnTo>
                    <a:pt x="144" y="216"/>
                  </a:lnTo>
                  <a:lnTo>
                    <a:pt x="150" y="210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8" y="198"/>
                  </a:lnTo>
                  <a:lnTo>
                    <a:pt x="186" y="174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44"/>
                  </a:lnTo>
                  <a:lnTo>
                    <a:pt x="222" y="138"/>
                  </a:lnTo>
                  <a:lnTo>
                    <a:pt x="234" y="132"/>
                  </a:lnTo>
                  <a:lnTo>
                    <a:pt x="246" y="126"/>
                  </a:lnTo>
                  <a:lnTo>
                    <a:pt x="246" y="120"/>
                  </a:lnTo>
                  <a:lnTo>
                    <a:pt x="258" y="114"/>
                  </a:lnTo>
                  <a:lnTo>
                    <a:pt x="264" y="114"/>
                  </a:lnTo>
                  <a:lnTo>
                    <a:pt x="288" y="102"/>
                  </a:lnTo>
                  <a:lnTo>
                    <a:pt x="300" y="96"/>
                  </a:lnTo>
                  <a:lnTo>
                    <a:pt x="306" y="90"/>
                  </a:lnTo>
                  <a:lnTo>
                    <a:pt x="318" y="90"/>
                  </a:lnTo>
                  <a:lnTo>
                    <a:pt x="324" y="84"/>
                  </a:lnTo>
                  <a:lnTo>
                    <a:pt x="348" y="72"/>
                  </a:lnTo>
                  <a:lnTo>
                    <a:pt x="354" y="72"/>
                  </a:lnTo>
                  <a:lnTo>
                    <a:pt x="384" y="66"/>
                  </a:lnTo>
                  <a:lnTo>
                    <a:pt x="390" y="66"/>
                  </a:lnTo>
                  <a:lnTo>
                    <a:pt x="396" y="66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66"/>
                  </a:lnTo>
                  <a:lnTo>
                    <a:pt x="438" y="66"/>
                  </a:lnTo>
                  <a:lnTo>
                    <a:pt x="468" y="66"/>
                  </a:lnTo>
                  <a:lnTo>
                    <a:pt x="480" y="66"/>
                  </a:lnTo>
                  <a:lnTo>
                    <a:pt x="486" y="66"/>
                  </a:lnTo>
                  <a:lnTo>
                    <a:pt x="498" y="60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22" y="60"/>
                  </a:lnTo>
                  <a:lnTo>
                    <a:pt x="534" y="54"/>
                  </a:lnTo>
                  <a:lnTo>
                    <a:pt x="564" y="42"/>
                  </a:lnTo>
                  <a:lnTo>
                    <a:pt x="570" y="42"/>
                  </a:lnTo>
                  <a:lnTo>
                    <a:pt x="582" y="36"/>
                  </a:lnTo>
                  <a:lnTo>
                    <a:pt x="588" y="36"/>
                  </a:lnTo>
                  <a:lnTo>
                    <a:pt x="600" y="30"/>
                  </a:lnTo>
                  <a:lnTo>
                    <a:pt x="606" y="30"/>
                  </a:lnTo>
                  <a:lnTo>
                    <a:pt x="618" y="24"/>
                  </a:lnTo>
                  <a:lnTo>
                    <a:pt x="642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72" y="12"/>
                  </a:lnTo>
                  <a:lnTo>
                    <a:pt x="696" y="12"/>
                  </a:lnTo>
                  <a:lnTo>
                    <a:pt x="708" y="12"/>
                  </a:lnTo>
                  <a:lnTo>
                    <a:pt x="732" y="12"/>
                  </a:lnTo>
                  <a:lnTo>
                    <a:pt x="750" y="6"/>
                  </a:lnTo>
                  <a:lnTo>
                    <a:pt x="768" y="6"/>
                  </a:lnTo>
                  <a:lnTo>
                    <a:pt x="774" y="6"/>
                  </a:lnTo>
                  <a:lnTo>
                    <a:pt x="786" y="6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6" y="6"/>
                  </a:lnTo>
                  <a:lnTo>
                    <a:pt x="846" y="6"/>
                  </a:lnTo>
                  <a:lnTo>
                    <a:pt x="852" y="0"/>
                  </a:lnTo>
                  <a:lnTo>
                    <a:pt x="876" y="0"/>
                  </a:lnTo>
                  <a:lnTo>
                    <a:pt x="876" y="6"/>
                  </a:lnTo>
                  <a:lnTo>
                    <a:pt x="888" y="0"/>
                  </a:lnTo>
                  <a:lnTo>
                    <a:pt x="900" y="0"/>
                  </a:lnTo>
                  <a:lnTo>
                    <a:pt x="906" y="0"/>
                  </a:lnTo>
                  <a:lnTo>
                    <a:pt x="912" y="0"/>
                  </a:lnTo>
                  <a:lnTo>
                    <a:pt x="948" y="0"/>
                  </a:lnTo>
                  <a:lnTo>
                    <a:pt x="954" y="0"/>
                  </a:lnTo>
                  <a:lnTo>
                    <a:pt x="972" y="0"/>
                  </a:lnTo>
                  <a:lnTo>
                    <a:pt x="978" y="0"/>
                  </a:lnTo>
                  <a:lnTo>
                    <a:pt x="996" y="0"/>
                  </a:lnTo>
                  <a:lnTo>
                    <a:pt x="1032" y="0"/>
                  </a:lnTo>
                  <a:lnTo>
                    <a:pt x="1044" y="0"/>
                  </a:lnTo>
                  <a:lnTo>
                    <a:pt x="1050" y="0"/>
                  </a:lnTo>
                  <a:lnTo>
                    <a:pt x="1056" y="6"/>
                  </a:lnTo>
                  <a:lnTo>
                    <a:pt x="1056" y="0"/>
                  </a:lnTo>
                  <a:lnTo>
                    <a:pt x="1074" y="0"/>
                  </a:lnTo>
                  <a:lnTo>
                    <a:pt x="1098" y="6"/>
                  </a:lnTo>
                  <a:lnTo>
                    <a:pt x="1116" y="6"/>
                  </a:lnTo>
                  <a:lnTo>
                    <a:pt x="1140" y="12"/>
                  </a:lnTo>
                  <a:lnTo>
                    <a:pt x="1152" y="12"/>
                  </a:lnTo>
                  <a:lnTo>
                    <a:pt x="1158" y="12"/>
                  </a:lnTo>
                  <a:lnTo>
                    <a:pt x="1164" y="12"/>
                  </a:lnTo>
                  <a:lnTo>
                    <a:pt x="1170" y="12"/>
                  </a:lnTo>
                  <a:lnTo>
                    <a:pt x="1176" y="12"/>
                  </a:lnTo>
                  <a:lnTo>
                    <a:pt x="1194" y="18"/>
                  </a:lnTo>
                  <a:lnTo>
                    <a:pt x="1206" y="18"/>
                  </a:lnTo>
                  <a:lnTo>
                    <a:pt x="1242" y="36"/>
                  </a:lnTo>
                  <a:lnTo>
                    <a:pt x="1248" y="36"/>
                  </a:lnTo>
                  <a:lnTo>
                    <a:pt x="1254" y="36"/>
                  </a:lnTo>
                  <a:lnTo>
                    <a:pt x="1260" y="42"/>
                  </a:lnTo>
                  <a:lnTo>
                    <a:pt x="1272" y="48"/>
                  </a:lnTo>
                  <a:lnTo>
                    <a:pt x="1278" y="48"/>
                  </a:lnTo>
                  <a:lnTo>
                    <a:pt x="1284" y="48"/>
                  </a:lnTo>
                  <a:lnTo>
                    <a:pt x="1290" y="54"/>
                  </a:lnTo>
                  <a:lnTo>
                    <a:pt x="1308" y="60"/>
                  </a:lnTo>
                  <a:lnTo>
                    <a:pt x="1326" y="60"/>
                  </a:lnTo>
                  <a:lnTo>
                    <a:pt x="1338" y="66"/>
                  </a:lnTo>
                  <a:lnTo>
                    <a:pt x="1344" y="66"/>
                  </a:lnTo>
                  <a:lnTo>
                    <a:pt x="1350" y="66"/>
                  </a:lnTo>
                  <a:lnTo>
                    <a:pt x="1356" y="66"/>
                  </a:lnTo>
                  <a:lnTo>
                    <a:pt x="1362" y="72"/>
                  </a:lnTo>
                  <a:lnTo>
                    <a:pt x="1368" y="72"/>
                  </a:lnTo>
                  <a:lnTo>
                    <a:pt x="1380" y="72"/>
                  </a:lnTo>
                  <a:lnTo>
                    <a:pt x="1386" y="72"/>
                  </a:lnTo>
                  <a:lnTo>
                    <a:pt x="1422" y="84"/>
                  </a:lnTo>
                  <a:lnTo>
                    <a:pt x="1428" y="84"/>
                  </a:lnTo>
                  <a:lnTo>
                    <a:pt x="1446" y="90"/>
                  </a:lnTo>
                  <a:lnTo>
                    <a:pt x="1458" y="102"/>
                  </a:lnTo>
                  <a:lnTo>
                    <a:pt x="1494" y="126"/>
                  </a:lnTo>
                  <a:lnTo>
                    <a:pt x="1500" y="132"/>
                  </a:lnTo>
                  <a:lnTo>
                    <a:pt x="1512" y="138"/>
                  </a:lnTo>
                  <a:lnTo>
                    <a:pt x="1512" y="144"/>
                  </a:lnTo>
                  <a:lnTo>
                    <a:pt x="1518" y="150"/>
                  </a:lnTo>
                  <a:lnTo>
                    <a:pt x="1530" y="156"/>
                  </a:lnTo>
                  <a:lnTo>
                    <a:pt x="1530" y="162"/>
                  </a:lnTo>
                  <a:lnTo>
                    <a:pt x="1548" y="168"/>
                  </a:lnTo>
                  <a:lnTo>
                    <a:pt x="1566" y="180"/>
                  </a:lnTo>
                  <a:lnTo>
                    <a:pt x="1578" y="186"/>
                  </a:lnTo>
                  <a:lnTo>
                    <a:pt x="1578" y="180"/>
                  </a:lnTo>
                  <a:lnTo>
                    <a:pt x="1584" y="186"/>
                  </a:lnTo>
                  <a:lnTo>
                    <a:pt x="1584" y="174"/>
                  </a:lnTo>
                  <a:lnTo>
                    <a:pt x="1590" y="174"/>
                  </a:lnTo>
                  <a:lnTo>
                    <a:pt x="1590" y="180"/>
                  </a:lnTo>
                  <a:lnTo>
                    <a:pt x="1596" y="180"/>
                  </a:lnTo>
                  <a:lnTo>
                    <a:pt x="1596" y="174"/>
                  </a:lnTo>
                  <a:lnTo>
                    <a:pt x="1602" y="174"/>
                  </a:lnTo>
                  <a:lnTo>
                    <a:pt x="1608" y="174"/>
                  </a:lnTo>
                  <a:lnTo>
                    <a:pt x="1614" y="180"/>
                  </a:lnTo>
                  <a:lnTo>
                    <a:pt x="1620" y="174"/>
                  </a:lnTo>
                  <a:lnTo>
                    <a:pt x="1614" y="168"/>
                  </a:lnTo>
                  <a:lnTo>
                    <a:pt x="1614" y="162"/>
                  </a:lnTo>
                  <a:lnTo>
                    <a:pt x="1620" y="162"/>
                  </a:lnTo>
                  <a:lnTo>
                    <a:pt x="1626" y="162"/>
                  </a:lnTo>
                  <a:lnTo>
                    <a:pt x="1632" y="162"/>
                  </a:lnTo>
                  <a:lnTo>
                    <a:pt x="1638" y="168"/>
                  </a:lnTo>
                  <a:lnTo>
                    <a:pt x="1644" y="168"/>
                  </a:lnTo>
                  <a:lnTo>
                    <a:pt x="1650" y="174"/>
                  </a:lnTo>
                  <a:lnTo>
                    <a:pt x="1656" y="168"/>
                  </a:lnTo>
                  <a:lnTo>
                    <a:pt x="1668" y="168"/>
                  </a:lnTo>
                  <a:lnTo>
                    <a:pt x="1674" y="174"/>
                  </a:lnTo>
                  <a:lnTo>
                    <a:pt x="1674" y="180"/>
                  </a:lnTo>
                  <a:lnTo>
                    <a:pt x="1674" y="186"/>
                  </a:lnTo>
                  <a:lnTo>
                    <a:pt x="1680" y="186"/>
                  </a:lnTo>
                  <a:lnTo>
                    <a:pt x="1680" y="192"/>
                  </a:lnTo>
                  <a:lnTo>
                    <a:pt x="1686" y="192"/>
                  </a:lnTo>
                  <a:lnTo>
                    <a:pt x="1686" y="186"/>
                  </a:lnTo>
                  <a:lnTo>
                    <a:pt x="1680" y="186"/>
                  </a:lnTo>
                  <a:lnTo>
                    <a:pt x="1686" y="180"/>
                  </a:lnTo>
                  <a:lnTo>
                    <a:pt x="1692" y="180"/>
                  </a:lnTo>
                  <a:lnTo>
                    <a:pt x="1698" y="180"/>
                  </a:lnTo>
                  <a:lnTo>
                    <a:pt x="1704" y="180"/>
                  </a:lnTo>
                  <a:lnTo>
                    <a:pt x="1704" y="186"/>
                  </a:lnTo>
                  <a:lnTo>
                    <a:pt x="1710" y="186"/>
                  </a:lnTo>
                  <a:lnTo>
                    <a:pt x="1716" y="186"/>
                  </a:lnTo>
                  <a:lnTo>
                    <a:pt x="1716" y="192"/>
                  </a:lnTo>
                  <a:lnTo>
                    <a:pt x="1716" y="198"/>
                  </a:lnTo>
                  <a:lnTo>
                    <a:pt x="1722" y="192"/>
                  </a:lnTo>
                  <a:lnTo>
                    <a:pt x="1722" y="186"/>
                  </a:lnTo>
                  <a:lnTo>
                    <a:pt x="1728" y="192"/>
                  </a:lnTo>
                  <a:lnTo>
                    <a:pt x="1734" y="192"/>
                  </a:lnTo>
                  <a:lnTo>
                    <a:pt x="1734" y="186"/>
                  </a:lnTo>
                  <a:lnTo>
                    <a:pt x="1740" y="186"/>
                  </a:lnTo>
                  <a:lnTo>
                    <a:pt x="1740" y="192"/>
                  </a:lnTo>
                  <a:lnTo>
                    <a:pt x="1746" y="192"/>
                  </a:lnTo>
                  <a:lnTo>
                    <a:pt x="1758" y="192"/>
                  </a:lnTo>
                  <a:lnTo>
                    <a:pt x="1764" y="192"/>
                  </a:lnTo>
                  <a:lnTo>
                    <a:pt x="1764" y="198"/>
                  </a:lnTo>
                  <a:lnTo>
                    <a:pt x="1758" y="204"/>
                  </a:lnTo>
                  <a:lnTo>
                    <a:pt x="1752" y="210"/>
                  </a:lnTo>
                  <a:lnTo>
                    <a:pt x="1746" y="216"/>
                  </a:lnTo>
                  <a:lnTo>
                    <a:pt x="1746" y="222"/>
                  </a:lnTo>
                  <a:lnTo>
                    <a:pt x="1734" y="228"/>
                  </a:lnTo>
                  <a:lnTo>
                    <a:pt x="1734" y="234"/>
                  </a:lnTo>
                  <a:lnTo>
                    <a:pt x="1734" y="258"/>
                  </a:lnTo>
                  <a:lnTo>
                    <a:pt x="1740" y="330"/>
                  </a:lnTo>
                  <a:lnTo>
                    <a:pt x="1746" y="372"/>
                  </a:lnTo>
                  <a:lnTo>
                    <a:pt x="1788" y="426"/>
                  </a:lnTo>
                  <a:lnTo>
                    <a:pt x="1806" y="438"/>
                  </a:lnTo>
                  <a:lnTo>
                    <a:pt x="1794" y="480"/>
                  </a:lnTo>
                  <a:lnTo>
                    <a:pt x="1770" y="516"/>
                  </a:lnTo>
                  <a:lnTo>
                    <a:pt x="1746" y="546"/>
                  </a:lnTo>
                  <a:lnTo>
                    <a:pt x="1716" y="570"/>
                  </a:lnTo>
                  <a:lnTo>
                    <a:pt x="1680" y="594"/>
                  </a:lnTo>
                  <a:lnTo>
                    <a:pt x="1668" y="630"/>
                  </a:lnTo>
                  <a:lnTo>
                    <a:pt x="1680" y="684"/>
                  </a:lnTo>
                  <a:lnTo>
                    <a:pt x="1686" y="756"/>
                  </a:lnTo>
                  <a:lnTo>
                    <a:pt x="1662" y="870"/>
                  </a:lnTo>
                  <a:lnTo>
                    <a:pt x="1656" y="888"/>
                  </a:lnTo>
                  <a:lnTo>
                    <a:pt x="1650" y="972"/>
                  </a:lnTo>
                  <a:lnTo>
                    <a:pt x="1656" y="978"/>
                  </a:lnTo>
                  <a:lnTo>
                    <a:pt x="1650" y="984"/>
                  </a:lnTo>
                  <a:lnTo>
                    <a:pt x="1650" y="990"/>
                  </a:lnTo>
                  <a:lnTo>
                    <a:pt x="1650" y="1002"/>
                  </a:lnTo>
                  <a:lnTo>
                    <a:pt x="1656" y="1008"/>
                  </a:lnTo>
                  <a:lnTo>
                    <a:pt x="1656" y="1014"/>
                  </a:lnTo>
                  <a:lnTo>
                    <a:pt x="1662" y="1026"/>
                  </a:lnTo>
                  <a:lnTo>
                    <a:pt x="1650" y="1032"/>
                  </a:lnTo>
                  <a:lnTo>
                    <a:pt x="1638" y="1044"/>
                  </a:lnTo>
                  <a:lnTo>
                    <a:pt x="1626" y="1080"/>
                  </a:lnTo>
                  <a:lnTo>
                    <a:pt x="1614" y="1116"/>
                  </a:lnTo>
                  <a:lnTo>
                    <a:pt x="1614" y="1128"/>
                  </a:lnTo>
                  <a:lnTo>
                    <a:pt x="1626" y="1134"/>
                  </a:lnTo>
                  <a:lnTo>
                    <a:pt x="1644" y="1134"/>
                  </a:lnTo>
                  <a:lnTo>
                    <a:pt x="1662" y="1134"/>
                  </a:lnTo>
                  <a:lnTo>
                    <a:pt x="1680" y="1140"/>
                  </a:lnTo>
                  <a:lnTo>
                    <a:pt x="1698" y="1170"/>
                  </a:lnTo>
                  <a:lnTo>
                    <a:pt x="1704" y="1194"/>
                  </a:lnTo>
                  <a:lnTo>
                    <a:pt x="1692" y="1206"/>
                  </a:lnTo>
                  <a:lnTo>
                    <a:pt x="1662" y="1242"/>
                  </a:lnTo>
                  <a:lnTo>
                    <a:pt x="1632" y="1266"/>
                  </a:lnTo>
                  <a:lnTo>
                    <a:pt x="1620" y="1314"/>
                  </a:lnTo>
                  <a:lnTo>
                    <a:pt x="1584" y="1356"/>
                  </a:lnTo>
                  <a:lnTo>
                    <a:pt x="1578" y="1356"/>
                  </a:lnTo>
                  <a:lnTo>
                    <a:pt x="1578" y="1362"/>
                  </a:lnTo>
                  <a:lnTo>
                    <a:pt x="1572" y="1410"/>
                  </a:lnTo>
                  <a:lnTo>
                    <a:pt x="1584" y="1452"/>
                  </a:lnTo>
                  <a:lnTo>
                    <a:pt x="1608" y="1476"/>
                  </a:lnTo>
                  <a:lnTo>
                    <a:pt x="1596" y="1476"/>
                  </a:lnTo>
                  <a:lnTo>
                    <a:pt x="1584" y="1482"/>
                  </a:lnTo>
                  <a:lnTo>
                    <a:pt x="1560" y="1482"/>
                  </a:lnTo>
                  <a:lnTo>
                    <a:pt x="1536" y="1482"/>
                  </a:lnTo>
                  <a:lnTo>
                    <a:pt x="1524" y="1482"/>
                  </a:lnTo>
                  <a:lnTo>
                    <a:pt x="1506" y="1500"/>
                  </a:lnTo>
                  <a:lnTo>
                    <a:pt x="1482" y="1530"/>
                  </a:lnTo>
                  <a:lnTo>
                    <a:pt x="1452" y="1542"/>
                  </a:lnTo>
                  <a:lnTo>
                    <a:pt x="1446" y="1542"/>
                  </a:lnTo>
                  <a:lnTo>
                    <a:pt x="1440" y="1542"/>
                  </a:lnTo>
                  <a:lnTo>
                    <a:pt x="1440" y="1548"/>
                  </a:lnTo>
                  <a:lnTo>
                    <a:pt x="1434" y="1548"/>
                  </a:lnTo>
                  <a:lnTo>
                    <a:pt x="1428" y="1548"/>
                  </a:lnTo>
                  <a:lnTo>
                    <a:pt x="1428" y="1554"/>
                  </a:lnTo>
                  <a:lnTo>
                    <a:pt x="1422" y="1560"/>
                  </a:lnTo>
                  <a:lnTo>
                    <a:pt x="1416" y="1560"/>
                  </a:lnTo>
                  <a:lnTo>
                    <a:pt x="1410" y="1566"/>
                  </a:lnTo>
                  <a:lnTo>
                    <a:pt x="1410" y="1560"/>
                  </a:lnTo>
                  <a:lnTo>
                    <a:pt x="1404" y="1560"/>
                  </a:lnTo>
                  <a:lnTo>
                    <a:pt x="1392" y="1560"/>
                  </a:lnTo>
                  <a:lnTo>
                    <a:pt x="1386" y="1560"/>
                  </a:lnTo>
                  <a:lnTo>
                    <a:pt x="1380" y="1566"/>
                  </a:lnTo>
                  <a:lnTo>
                    <a:pt x="1374" y="1560"/>
                  </a:lnTo>
                  <a:lnTo>
                    <a:pt x="1368" y="1566"/>
                  </a:lnTo>
                  <a:lnTo>
                    <a:pt x="1362" y="1566"/>
                  </a:lnTo>
                  <a:lnTo>
                    <a:pt x="1362" y="1572"/>
                  </a:lnTo>
                  <a:lnTo>
                    <a:pt x="1356" y="1572"/>
                  </a:lnTo>
                  <a:lnTo>
                    <a:pt x="1356" y="1578"/>
                  </a:lnTo>
                  <a:lnTo>
                    <a:pt x="1350" y="1578"/>
                  </a:lnTo>
                  <a:lnTo>
                    <a:pt x="1350" y="1572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44" y="1578"/>
                  </a:lnTo>
                  <a:lnTo>
                    <a:pt x="1338" y="1578"/>
                  </a:lnTo>
                  <a:lnTo>
                    <a:pt x="1332" y="1584"/>
                  </a:lnTo>
                  <a:lnTo>
                    <a:pt x="1326" y="1590"/>
                  </a:lnTo>
                  <a:lnTo>
                    <a:pt x="1320" y="1584"/>
                  </a:lnTo>
                  <a:lnTo>
                    <a:pt x="1314" y="1590"/>
                  </a:lnTo>
                  <a:lnTo>
                    <a:pt x="1308" y="1596"/>
                  </a:lnTo>
                  <a:lnTo>
                    <a:pt x="1302" y="1596"/>
                  </a:lnTo>
                  <a:lnTo>
                    <a:pt x="1296" y="1596"/>
                  </a:lnTo>
                  <a:lnTo>
                    <a:pt x="1290" y="1596"/>
                  </a:lnTo>
                  <a:lnTo>
                    <a:pt x="1284" y="1596"/>
                  </a:lnTo>
                  <a:lnTo>
                    <a:pt x="1278" y="1602"/>
                  </a:lnTo>
                  <a:lnTo>
                    <a:pt x="1266" y="1602"/>
                  </a:lnTo>
                  <a:lnTo>
                    <a:pt x="1272" y="1608"/>
                  </a:lnTo>
                  <a:lnTo>
                    <a:pt x="1278" y="1608"/>
                  </a:lnTo>
                  <a:lnTo>
                    <a:pt x="1284" y="1608"/>
                  </a:lnTo>
                  <a:lnTo>
                    <a:pt x="1290" y="1614"/>
                  </a:lnTo>
                  <a:lnTo>
                    <a:pt x="1296" y="1620"/>
                  </a:lnTo>
                  <a:lnTo>
                    <a:pt x="1302" y="1626"/>
                  </a:lnTo>
                  <a:lnTo>
                    <a:pt x="1308" y="1632"/>
                  </a:lnTo>
                  <a:lnTo>
                    <a:pt x="1314" y="1638"/>
                  </a:lnTo>
                  <a:lnTo>
                    <a:pt x="1314" y="1644"/>
                  </a:lnTo>
                  <a:lnTo>
                    <a:pt x="1320" y="1644"/>
                  </a:lnTo>
                  <a:lnTo>
                    <a:pt x="1320" y="1650"/>
                  </a:lnTo>
                  <a:lnTo>
                    <a:pt x="1326" y="1656"/>
                  </a:lnTo>
                  <a:lnTo>
                    <a:pt x="1332" y="1668"/>
                  </a:lnTo>
                  <a:lnTo>
                    <a:pt x="1338" y="1680"/>
                  </a:lnTo>
                  <a:lnTo>
                    <a:pt x="1338" y="1698"/>
                  </a:lnTo>
                  <a:lnTo>
                    <a:pt x="1350" y="1710"/>
                  </a:lnTo>
                  <a:lnTo>
                    <a:pt x="1350" y="1716"/>
                  </a:lnTo>
                  <a:lnTo>
                    <a:pt x="1350" y="1722"/>
                  </a:lnTo>
                  <a:lnTo>
                    <a:pt x="1350" y="1728"/>
                  </a:lnTo>
                  <a:lnTo>
                    <a:pt x="1356" y="1728"/>
                  </a:lnTo>
                  <a:lnTo>
                    <a:pt x="1356" y="1734"/>
                  </a:lnTo>
                  <a:lnTo>
                    <a:pt x="1350" y="1734"/>
                  </a:lnTo>
                  <a:lnTo>
                    <a:pt x="1344" y="1740"/>
                  </a:lnTo>
                  <a:lnTo>
                    <a:pt x="1338" y="1740"/>
                  </a:lnTo>
                  <a:lnTo>
                    <a:pt x="1332" y="1746"/>
                  </a:lnTo>
                  <a:lnTo>
                    <a:pt x="1326" y="1746"/>
                  </a:lnTo>
                  <a:lnTo>
                    <a:pt x="1326" y="1752"/>
                  </a:lnTo>
                  <a:lnTo>
                    <a:pt x="1320" y="1752"/>
                  </a:lnTo>
                  <a:lnTo>
                    <a:pt x="1320" y="1758"/>
                  </a:lnTo>
                  <a:lnTo>
                    <a:pt x="1314" y="1758"/>
                  </a:lnTo>
                  <a:lnTo>
                    <a:pt x="1308" y="1758"/>
                  </a:lnTo>
                  <a:lnTo>
                    <a:pt x="1302" y="1758"/>
                  </a:lnTo>
                  <a:lnTo>
                    <a:pt x="1296" y="1758"/>
                  </a:lnTo>
                  <a:lnTo>
                    <a:pt x="1290" y="1764"/>
                  </a:lnTo>
                  <a:lnTo>
                    <a:pt x="1284" y="1770"/>
                  </a:lnTo>
                  <a:lnTo>
                    <a:pt x="1278" y="1770"/>
                  </a:lnTo>
                  <a:lnTo>
                    <a:pt x="1272" y="1770"/>
                  </a:lnTo>
                  <a:lnTo>
                    <a:pt x="1266" y="1770"/>
                  </a:lnTo>
                  <a:lnTo>
                    <a:pt x="1266" y="1776"/>
                  </a:lnTo>
                  <a:lnTo>
                    <a:pt x="1260" y="1776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4" name="Freeform 39">
              <a:extLst>
                <a:ext uri="{FF2B5EF4-FFF2-40B4-BE49-F238E27FC236}">
                  <a16:creationId xmlns:a16="http://schemas.microsoft.com/office/drawing/2014/main" id="{E01CDA8B-32C7-421A-B23E-968CAC7F78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32974" y="1759680"/>
              <a:ext cx="825155" cy="700024"/>
            </a:xfrm>
            <a:custGeom>
              <a:avLst/>
              <a:gdLst>
                <a:gd name="T0" fmla="*/ 60 w 1554"/>
                <a:gd name="T1" fmla="*/ 86 h 1320"/>
                <a:gd name="T2" fmla="*/ 66 w 1554"/>
                <a:gd name="T3" fmla="*/ 80 h 1320"/>
                <a:gd name="T4" fmla="*/ 61 w 1554"/>
                <a:gd name="T5" fmla="*/ 73 h 1320"/>
                <a:gd name="T6" fmla="*/ 57 w 1554"/>
                <a:gd name="T7" fmla="*/ 67 h 1320"/>
                <a:gd name="T8" fmla="*/ 60 w 1554"/>
                <a:gd name="T9" fmla="*/ 59 h 1320"/>
                <a:gd name="T10" fmla="*/ 56 w 1554"/>
                <a:gd name="T11" fmla="*/ 55 h 1320"/>
                <a:gd name="T12" fmla="*/ 45 w 1554"/>
                <a:gd name="T13" fmla="*/ 53 h 1320"/>
                <a:gd name="T14" fmla="*/ 42 w 1554"/>
                <a:gd name="T15" fmla="*/ 41 h 1320"/>
                <a:gd name="T16" fmla="*/ 37 w 1554"/>
                <a:gd name="T17" fmla="*/ 39 h 1320"/>
                <a:gd name="T18" fmla="*/ 31 w 1554"/>
                <a:gd name="T19" fmla="*/ 44 h 1320"/>
                <a:gd name="T20" fmla="*/ 37 w 1554"/>
                <a:gd name="T21" fmla="*/ 35 h 1320"/>
                <a:gd name="T22" fmla="*/ 30 w 1554"/>
                <a:gd name="T23" fmla="*/ 23 h 1320"/>
                <a:gd name="T24" fmla="*/ 21 w 1554"/>
                <a:gd name="T25" fmla="*/ 23 h 1320"/>
                <a:gd name="T26" fmla="*/ 15 w 1554"/>
                <a:gd name="T27" fmla="*/ 27 h 1320"/>
                <a:gd name="T28" fmla="*/ 11 w 1554"/>
                <a:gd name="T29" fmla="*/ 32 h 1320"/>
                <a:gd name="T30" fmla="*/ 6 w 1554"/>
                <a:gd name="T31" fmla="*/ 22 h 1320"/>
                <a:gd name="T32" fmla="*/ 3 w 1554"/>
                <a:gd name="T33" fmla="*/ 11 h 1320"/>
                <a:gd name="T34" fmla="*/ 24 w 1554"/>
                <a:gd name="T35" fmla="*/ 12 h 1320"/>
                <a:gd name="T36" fmla="*/ 33 w 1554"/>
                <a:gd name="T37" fmla="*/ 19 h 1320"/>
                <a:gd name="T38" fmla="*/ 49 w 1554"/>
                <a:gd name="T39" fmla="*/ 12 h 1320"/>
                <a:gd name="T40" fmla="*/ 58 w 1554"/>
                <a:gd name="T41" fmla="*/ 10 h 1320"/>
                <a:gd name="T42" fmla="*/ 68 w 1554"/>
                <a:gd name="T43" fmla="*/ 11 h 1320"/>
                <a:gd name="T44" fmla="*/ 79 w 1554"/>
                <a:gd name="T45" fmla="*/ 12 h 1320"/>
                <a:gd name="T46" fmla="*/ 96 w 1554"/>
                <a:gd name="T47" fmla="*/ 11 h 1320"/>
                <a:gd name="T48" fmla="*/ 107 w 1554"/>
                <a:gd name="T49" fmla="*/ 2 h 1320"/>
                <a:gd name="T50" fmla="*/ 117 w 1554"/>
                <a:gd name="T51" fmla="*/ 8 h 1320"/>
                <a:gd name="T52" fmla="*/ 126 w 1554"/>
                <a:gd name="T53" fmla="*/ 12 h 1320"/>
                <a:gd name="T54" fmla="*/ 134 w 1554"/>
                <a:gd name="T55" fmla="*/ 24 h 1320"/>
                <a:gd name="T56" fmla="*/ 133 w 1554"/>
                <a:gd name="T57" fmla="*/ 29 h 1320"/>
                <a:gd name="T58" fmla="*/ 129 w 1554"/>
                <a:gd name="T59" fmla="*/ 31 h 1320"/>
                <a:gd name="T60" fmla="*/ 125 w 1554"/>
                <a:gd name="T61" fmla="*/ 32 h 1320"/>
                <a:gd name="T62" fmla="*/ 115 w 1554"/>
                <a:gd name="T63" fmla="*/ 34 h 1320"/>
                <a:gd name="T64" fmla="*/ 113 w 1554"/>
                <a:gd name="T65" fmla="*/ 44 h 1320"/>
                <a:gd name="T66" fmla="*/ 111 w 1554"/>
                <a:gd name="T67" fmla="*/ 54 h 1320"/>
                <a:gd name="T68" fmla="*/ 107 w 1554"/>
                <a:gd name="T69" fmla="*/ 56 h 1320"/>
                <a:gd name="T70" fmla="*/ 102 w 1554"/>
                <a:gd name="T71" fmla="*/ 58 h 1320"/>
                <a:gd name="T72" fmla="*/ 99 w 1554"/>
                <a:gd name="T73" fmla="*/ 60 h 1320"/>
                <a:gd name="T74" fmla="*/ 93 w 1554"/>
                <a:gd name="T75" fmla="*/ 62 h 1320"/>
                <a:gd name="T76" fmla="*/ 87 w 1554"/>
                <a:gd name="T77" fmla="*/ 64 h 1320"/>
                <a:gd name="T78" fmla="*/ 84 w 1554"/>
                <a:gd name="T79" fmla="*/ 65 h 1320"/>
                <a:gd name="T80" fmla="*/ 81 w 1554"/>
                <a:gd name="T81" fmla="*/ 69 h 1320"/>
                <a:gd name="T82" fmla="*/ 83 w 1554"/>
                <a:gd name="T83" fmla="*/ 72 h 1320"/>
                <a:gd name="T84" fmla="*/ 92 w 1554"/>
                <a:gd name="T85" fmla="*/ 73 h 1320"/>
                <a:gd name="T86" fmla="*/ 93 w 1554"/>
                <a:gd name="T87" fmla="*/ 87 h 1320"/>
                <a:gd name="T88" fmla="*/ 104 w 1554"/>
                <a:gd name="T89" fmla="*/ 98 h 1320"/>
                <a:gd name="T90" fmla="*/ 108 w 1554"/>
                <a:gd name="T91" fmla="*/ 98 h 1320"/>
                <a:gd name="T92" fmla="*/ 112 w 1554"/>
                <a:gd name="T93" fmla="*/ 100 h 1320"/>
                <a:gd name="T94" fmla="*/ 118 w 1554"/>
                <a:gd name="T95" fmla="*/ 100 h 1320"/>
                <a:gd name="T96" fmla="*/ 122 w 1554"/>
                <a:gd name="T97" fmla="*/ 102 h 1320"/>
                <a:gd name="T98" fmla="*/ 118 w 1554"/>
                <a:gd name="T99" fmla="*/ 105 h 1320"/>
                <a:gd name="T100" fmla="*/ 114 w 1554"/>
                <a:gd name="T101" fmla="*/ 107 h 1320"/>
                <a:gd name="T102" fmla="*/ 113 w 1554"/>
                <a:gd name="T103" fmla="*/ 113 h 1320"/>
                <a:gd name="T104" fmla="*/ 104 w 1554"/>
                <a:gd name="T105" fmla="*/ 113 h 1320"/>
                <a:gd name="T106" fmla="*/ 93 w 1554"/>
                <a:gd name="T107" fmla="*/ 109 h 1320"/>
                <a:gd name="T108" fmla="*/ 96 w 1554"/>
                <a:gd name="T109" fmla="*/ 103 h 1320"/>
                <a:gd name="T110" fmla="*/ 95 w 1554"/>
                <a:gd name="T111" fmla="*/ 97 h 1320"/>
                <a:gd name="T112" fmla="*/ 87 w 1554"/>
                <a:gd name="T113" fmla="*/ 98 h 1320"/>
                <a:gd name="T114" fmla="*/ 81 w 1554"/>
                <a:gd name="T115" fmla="*/ 98 h 1320"/>
                <a:gd name="T116" fmla="*/ 78 w 1554"/>
                <a:gd name="T117" fmla="*/ 93 h 1320"/>
                <a:gd name="T118" fmla="*/ 65 w 1554"/>
                <a:gd name="T119" fmla="*/ 92 h 1320"/>
                <a:gd name="T120" fmla="*/ 59 w 1554"/>
                <a:gd name="T121" fmla="*/ 92 h 13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54"/>
                <a:gd name="T184" fmla="*/ 0 h 1320"/>
                <a:gd name="T185" fmla="*/ 1554 w 1554"/>
                <a:gd name="T186" fmla="*/ 1320 h 132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54" h="1320">
                  <a:moveTo>
                    <a:pt x="684" y="1068"/>
                  </a:moveTo>
                  <a:lnTo>
                    <a:pt x="684" y="1062"/>
                  </a:lnTo>
                  <a:lnTo>
                    <a:pt x="690" y="1056"/>
                  </a:lnTo>
                  <a:lnTo>
                    <a:pt x="690" y="1050"/>
                  </a:lnTo>
                  <a:lnTo>
                    <a:pt x="690" y="1044"/>
                  </a:lnTo>
                  <a:lnTo>
                    <a:pt x="690" y="1038"/>
                  </a:lnTo>
                  <a:lnTo>
                    <a:pt x="690" y="1032"/>
                  </a:lnTo>
                  <a:lnTo>
                    <a:pt x="690" y="1026"/>
                  </a:lnTo>
                  <a:lnTo>
                    <a:pt x="696" y="1014"/>
                  </a:lnTo>
                  <a:lnTo>
                    <a:pt x="690" y="1008"/>
                  </a:lnTo>
                  <a:lnTo>
                    <a:pt x="696" y="996"/>
                  </a:lnTo>
                  <a:lnTo>
                    <a:pt x="714" y="996"/>
                  </a:lnTo>
                  <a:lnTo>
                    <a:pt x="714" y="990"/>
                  </a:lnTo>
                  <a:lnTo>
                    <a:pt x="732" y="984"/>
                  </a:lnTo>
                  <a:lnTo>
                    <a:pt x="744" y="978"/>
                  </a:lnTo>
                  <a:lnTo>
                    <a:pt x="762" y="966"/>
                  </a:lnTo>
                  <a:lnTo>
                    <a:pt x="762" y="960"/>
                  </a:lnTo>
                  <a:lnTo>
                    <a:pt x="768" y="954"/>
                  </a:lnTo>
                  <a:lnTo>
                    <a:pt x="774" y="948"/>
                  </a:lnTo>
                  <a:lnTo>
                    <a:pt x="774" y="942"/>
                  </a:lnTo>
                  <a:lnTo>
                    <a:pt x="774" y="924"/>
                  </a:lnTo>
                  <a:lnTo>
                    <a:pt x="768" y="918"/>
                  </a:lnTo>
                  <a:lnTo>
                    <a:pt x="756" y="918"/>
                  </a:lnTo>
                  <a:lnTo>
                    <a:pt x="744" y="918"/>
                  </a:lnTo>
                  <a:lnTo>
                    <a:pt x="732" y="924"/>
                  </a:lnTo>
                  <a:lnTo>
                    <a:pt x="726" y="912"/>
                  </a:lnTo>
                  <a:lnTo>
                    <a:pt x="720" y="912"/>
                  </a:lnTo>
                  <a:lnTo>
                    <a:pt x="720" y="900"/>
                  </a:lnTo>
                  <a:lnTo>
                    <a:pt x="720" y="870"/>
                  </a:lnTo>
                  <a:lnTo>
                    <a:pt x="696" y="876"/>
                  </a:lnTo>
                  <a:lnTo>
                    <a:pt x="690" y="852"/>
                  </a:lnTo>
                  <a:lnTo>
                    <a:pt x="702" y="852"/>
                  </a:lnTo>
                  <a:lnTo>
                    <a:pt x="702" y="840"/>
                  </a:lnTo>
                  <a:lnTo>
                    <a:pt x="708" y="834"/>
                  </a:lnTo>
                  <a:lnTo>
                    <a:pt x="702" y="822"/>
                  </a:lnTo>
                  <a:lnTo>
                    <a:pt x="660" y="822"/>
                  </a:lnTo>
                  <a:lnTo>
                    <a:pt x="654" y="822"/>
                  </a:lnTo>
                  <a:lnTo>
                    <a:pt x="642" y="822"/>
                  </a:lnTo>
                  <a:lnTo>
                    <a:pt x="642" y="810"/>
                  </a:lnTo>
                  <a:lnTo>
                    <a:pt x="642" y="798"/>
                  </a:lnTo>
                  <a:lnTo>
                    <a:pt x="642" y="792"/>
                  </a:lnTo>
                  <a:lnTo>
                    <a:pt x="648" y="780"/>
                  </a:lnTo>
                  <a:lnTo>
                    <a:pt x="654" y="774"/>
                  </a:lnTo>
                  <a:lnTo>
                    <a:pt x="660" y="774"/>
                  </a:lnTo>
                  <a:lnTo>
                    <a:pt x="672" y="762"/>
                  </a:lnTo>
                  <a:lnTo>
                    <a:pt x="672" y="756"/>
                  </a:lnTo>
                  <a:lnTo>
                    <a:pt x="678" y="750"/>
                  </a:lnTo>
                  <a:lnTo>
                    <a:pt x="684" y="750"/>
                  </a:lnTo>
                  <a:lnTo>
                    <a:pt x="690" y="744"/>
                  </a:lnTo>
                  <a:lnTo>
                    <a:pt x="696" y="732"/>
                  </a:lnTo>
                  <a:lnTo>
                    <a:pt x="696" y="726"/>
                  </a:lnTo>
                  <a:lnTo>
                    <a:pt x="702" y="714"/>
                  </a:lnTo>
                  <a:lnTo>
                    <a:pt x="696" y="708"/>
                  </a:lnTo>
                  <a:lnTo>
                    <a:pt x="690" y="690"/>
                  </a:lnTo>
                  <a:lnTo>
                    <a:pt x="696" y="678"/>
                  </a:lnTo>
                  <a:lnTo>
                    <a:pt x="708" y="672"/>
                  </a:lnTo>
                  <a:lnTo>
                    <a:pt x="708" y="660"/>
                  </a:lnTo>
                  <a:lnTo>
                    <a:pt x="702" y="660"/>
                  </a:lnTo>
                  <a:lnTo>
                    <a:pt x="696" y="660"/>
                  </a:lnTo>
                  <a:lnTo>
                    <a:pt x="690" y="654"/>
                  </a:lnTo>
                  <a:lnTo>
                    <a:pt x="684" y="654"/>
                  </a:lnTo>
                  <a:lnTo>
                    <a:pt x="690" y="606"/>
                  </a:lnTo>
                  <a:lnTo>
                    <a:pt x="660" y="606"/>
                  </a:lnTo>
                  <a:lnTo>
                    <a:pt x="660" y="612"/>
                  </a:lnTo>
                  <a:lnTo>
                    <a:pt x="648" y="612"/>
                  </a:lnTo>
                  <a:lnTo>
                    <a:pt x="642" y="636"/>
                  </a:lnTo>
                  <a:lnTo>
                    <a:pt x="636" y="636"/>
                  </a:lnTo>
                  <a:lnTo>
                    <a:pt x="630" y="648"/>
                  </a:lnTo>
                  <a:lnTo>
                    <a:pt x="612" y="648"/>
                  </a:lnTo>
                  <a:lnTo>
                    <a:pt x="606" y="636"/>
                  </a:lnTo>
                  <a:lnTo>
                    <a:pt x="600" y="630"/>
                  </a:lnTo>
                  <a:lnTo>
                    <a:pt x="588" y="606"/>
                  </a:lnTo>
                  <a:lnTo>
                    <a:pt x="552" y="606"/>
                  </a:lnTo>
                  <a:lnTo>
                    <a:pt x="552" y="612"/>
                  </a:lnTo>
                  <a:lnTo>
                    <a:pt x="540" y="612"/>
                  </a:lnTo>
                  <a:lnTo>
                    <a:pt x="540" y="606"/>
                  </a:lnTo>
                  <a:lnTo>
                    <a:pt x="522" y="606"/>
                  </a:lnTo>
                  <a:lnTo>
                    <a:pt x="522" y="612"/>
                  </a:lnTo>
                  <a:lnTo>
                    <a:pt x="516" y="612"/>
                  </a:lnTo>
                  <a:lnTo>
                    <a:pt x="516" y="582"/>
                  </a:lnTo>
                  <a:lnTo>
                    <a:pt x="522" y="576"/>
                  </a:lnTo>
                  <a:lnTo>
                    <a:pt x="528" y="576"/>
                  </a:lnTo>
                  <a:lnTo>
                    <a:pt x="528" y="552"/>
                  </a:lnTo>
                  <a:lnTo>
                    <a:pt x="522" y="540"/>
                  </a:lnTo>
                  <a:lnTo>
                    <a:pt x="510" y="528"/>
                  </a:lnTo>
                  <a:lnTo>
                    <a:pt x="486" y="510"/>
                  </a:lnTo>
                  <a:lnTo>
                    <a:pt x="480" y="498"/>
                  </a:lnTo>
                  <a:lnTo>
                    <a:pt x="480" y="474"/>
                  </a:lnTo>
                  <a:lnTo>
                    <a:pt x="492" y="468"/>
                  </a:lnTo>
                  <a:lnTo>
                    <a:pt x="486" y="450"/>
                  </a:lnTo>
                  <a:lnTo>
                    <a:pt x="474" y="456"/>
                  </a:lnTo>
                  <a:lnTo>
                    <a:pt x="468" y="456"/>
                  </a:lnTo>
                  <a:lnTo>
                    <a:pt x="462" y="456"/>
                  </a:lnTo>
                  <a:lnTo>
                    <a:pt x="456" y="468"/>
                  </a:lnTo>
                  <a:lnTo>
                    <a:pt x="456" y="474"/>
                  </a:lnTo>
                  <a:lnTo>
                    <a:pt x="450" y="480"/>
                  </a:lnTo>
                  <a:lnTo>
                    <a:pt x="444" y="450"/>
                  </a:lnTo>
                  <a:lnTo>
                    <a:pt x="438" y="450"/>
                  </a:lnTo>
                  <a:lnTo>
                    <a:pt x="432" y="450"/>
                  </a:lnTo>
                  <a:lnTo>
                    <a:pt x="420" y="450"/>
                  </a:lnTo>
                  <a:lnTo>
                    <a:pt x="420" y="456"/>
                  </a:lnTo>
                  <a:lnTo>
                    <a:pt x="414" y="456"/>
                  </a:lnTo>
                  <a:lnTo>
                    <a:pt x="408" y="468"/>
                  </a:lnTo>
                  <a:lnTo>
                    <a:pt x="402" y="468"/>
                  </a:lnTo>
                  <a:lnTo>
                    <a:pt x="396" y="474"/>
                  </a:lnTo>
                  <a:lnTo>
                    <a:pt x="390" y="492"/>
                  </a:lnTo>
                  <a:lnTo>
                    <a:pt x="384" y="504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54" y="510"/>
                  </a:lnTo>
                  <a:lnTo>
                    <a:pt x="360" y="480"/>
                  </a:lnTo>
                  <a:lnTo>
                    <a:pt x="360" y="474"/>
                  </a:lnTo>
                  <a:lnTo>
                    <a:pt x="378" y="456"/>
                  </a:lnTo>
                  <a:lnTo>
                    <a:pt x="384" y="450"/>
                  </a:lnTo>
                  <a:lnTo>
                    <a:pt x="396" y="444"/>
                  </a:lnTo>
                  <a:lnTo>
                    <a:pt x="402" y="438"/>
                  </a:lnTo>
                  <a:lnTo>
                    <a:pt x="408" y="438"/>
                  </a:lnTo>
                  <a:lnTo>
                    <a:pt x="408" y="426"/>
                  </a:lnTo>
                  <a:lnTo>
                    <a:pt x="414" y="420"/>
                  </a:lnTo>
                  <a:lnTo>
                    <a:pt x="426" y="420"/>
                  </a:lnTo>
                  <a:lnTo>
                    <a:pt x="426" y="408"/>
                  </a:lnTo>
                  <a:lnTo>
                    <a:pt x="420" y="390"/>
                  </a:lnTo>
                  <a:lnTo>
                    <a:pt x="408" y="384"/>
                  </a:lnTo>
                  <a:lnTo>
                    <a:pt x="378" y="378"/>
                  </a:lnTo>
                  <a:lnTo>
                    <a:pt x="354" y="366"/>
                  </a:lnTo>
                  <a:lnTo>
                    <a:pt x="342" y="360"/>
                  </a:lnTo>
                  <a:lnTo>
                    <a:pt x="342" y="348"/>
                  </a:lnTo>
                  <a:lnTo>
                    <a:pt x="336" y="330"/>
                  </a:lnTo>
                  <a:lnTo>
                    <a:pt x="348" y="306"/>
                  </a:lnTo>
                  <a:lnTo>
                    <a:pt x="360" y="294"/>
                  </a:lnTo>
                  <a:lnTo>
                    <a:pt x="360" y="282"/>
                  </a:lnTo>
                  <a:lnTo>
                    <a:pt x="342" y="270"/>
                  </a:lnTo>
                  <a:lnTo>
                    <a:pt x="342" y="264"/>
                  </a:lnTo>
                  <a:lnTo>
                    <a:pt x="330" y="264"/>
                  </a:lnTo>
                  <a:lnTo>
                    <a:pt x="312" y="270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88" y="270"/>
                  </a:lnTo>
                  <a:lnTo>
                    <a:pt x="282" y="270"/>
                  </a:lnTo>
                  <a:lnTo>
                    <a:pt x="276" y="264"/>
                  </a:lnTo>
                  <a:lnTo>
                    <a:pt x="270" y="264"/>
                  </a:lnTo>
                  <a:lnTo>
                    <a:pt x="252" y="270"/>
                  </a:lnTo>
                  <a:lnTo>
                    <a:pt x="246" y="270"/>
                  </a:lnTo>
                  <a:lnTo>
                    <a:pt x="240" y="270"/>
                  </a:lnTo>
                  <a:lnTo>
                    <a:pt x="228" y="270"/>
                  </a:lnTo>
                  <a:lnTo>
                    <a:pt x="216" y="276"/>
                  </a:lnTo>
                  <a:lnTo>
                    <a:pt x="210" y="270"/>
                  </a:lnTo>
                  <a:lnTo>
                    <a:pt x="204" y="270"/>
                  </a:lnTo>
                  <a:lnTo>
                    <a:pt x="198" y="276"/>
                  </a:lnTo>
                  <a:lnTo>
                    <a:pt x="192" y="276"/>
                  </a:lnTo>
                  <a:lnTo>
                    <a:pt x="186" y="282"/>
                  </a:lnTo>
                  <a:lnTo>
                    <a:pt x="180" y="288"/>
                  </a:lnTo>
                  <a:lnTo>
                    <a:pt x="174" y="300"/>
                  </a:lnTo>
                  <a:lnTo>
                    <a:pt x="168" y="306"/>
                  </a:lnTo>
                  <a:lnTo>
                    <a:pt x="168" y="318"/>
                  </a:lnTo>
                  <a:lnTo>
                    <a:pt x="168" y="324"/>
                  </a:lnTo>
                  <a:lnTo>
                    <a:pt x="168" y="330"/>
                  </a:lnTo>
                  <a:lnTo>
                    <a:pt x="162" y="336"/>
                  </a:lnTo>
                  <a:lnTo>
                    <a:pt x="156" y="342"/>
                  </a:lnTo>
                  <a:lnTo>
                    <a:pt x="156" y="348"/>
                  </a:lnTo>
                  <a:lnTo>
                    <a:pt x="156" y="354"/>
                  </a:lnTo>
                  <a:lnTo>
                    <a:pt x="150" y="366"/>
                  </a:lnTo>
                  <a:lnTo>
                    <a:pt x="150" y="372"/>
                  </a:lnTo>
                  <a:lnTo>
                    <a:pt x="144" y="366"/>
                  </a:lnTo>
                  <a:lnTo>
                    <a:pt x="132" y="366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20" y="348"/>
                  </a:lnTo>
                  <a:lnTo>
                    <a:pt x="102" y="330"/>
                  </a:lnTo>
                  <a:lnTo>
                    <a:pt x="96" y="318"/>
                  </a:lnTo>
                  <a:lnTo>
                    <a:pt x="96" y="282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0" y="258"/>
                  </a:lnTo>
                  <a:lnTo>
                    <a:pt x="84" y="252"/>
                  </a:lnTo>
                  <a:lnTo>
                    <a:pt x="66" y="258"/>
                  </a:lnTo>
                  <a:lnTo>
                    <a:pt x="60" y="246"/>
                  </a:lnTo>
                  <a:lnTo>
                    <a:pt x="30" y="252"/>
                  </a:lnTo>
                  <a:lnTo>
                    <a:pt x="18" y="246"/>
                  </a:lnTo>
                  <a:lnTo>
                    <a:pt x="0" y="240"/>
                  </a:lnTo>
                  <a:lnTo>
                    <a:pt x="0" y="234"/>
                  </a:lnTo>
                  <a:lnTo>
                    <a:pt x="0" y="210"/>
                  </a:lnTo>
                  <a:lnTo>
                    <a:pt x="6" y="204"/>
                  </a:lnTo>
                  <a:lnTo>
                    <a:pt x="18" y="192"/>
                  </a:lnTo>
                  <a:lnTo>
                    <a:pt x="18" y="144"/>
                  </a:lnTo>
                  <a:lnTo>
                    <a:pt x="24" y="126"/>
                  </a:lnTo>
                  <a:lnTo>
                    <a:pt x="36" y="126"/>
                  </a:lnTo>
                  <a:lnTo>
                    <a:pt x="54" y="120"/>
                  </a:lnTo>
                  <a:lnTo>
                    <a:pt x="54" y="126"/>
                  </a:lnTo>
                  <a:lnTo>
                    <a:pt x="132" y="114"/>
                  </a:lnTo>
                  <a:lnTo>
                    <a:pt x="144" y="120"/>
                  </a:lnTo>
                  <a:lnTo>
                    <a:pt x="150" y="132"/>
                  </a:lnTo>
                  <a:lnTo>
                    <a:pt x="180" y="126"/>
                  </a:lnTo>
                  <a:lnTo>
                    <a:pt x="210" y="120"/>
                  </a:lnTo>
                  <a:lnTo>
                    <a:pt x="240" y="120"/>
                  </a:lnTo>
                  <a:lnTo>
                    <a:pt x="258" y="120"/>
                  </a:lnTo>
                  <a:lnTo>
                    <a:pt x="270" y="126"/>
                  </a:lnTo>
                  <a:lnTo>
                    <a:pt x="276" y="132"/>
                  </a:lnTo>
                  <a:lnTo>
                    <a:pt x="282" y="138"/>
                  </a:lnTo>
                  <a:lnTo>
                    <a:pt x="282" y="156"/>
                  </a:lnTo>
                  <a:lnTo>
                    <a:pt x="288" y="186"/>
                  </a:lnTo>
                  <a:lnTo>
                    <a:pt x="312" y="192"/>
                  </a:lnTo>
                  <a:lnTo>
                    <a:pt x="318" y="198"/>
                  </a:lnTo>
                  <a:lnTo>
                    <a:pt x="324" y="204"/>
                  </a:lnTo>
                  <a:lnTo>
                    <a:pt x="330" y="210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66" y="216"/>
                  </a:lnTo>
                  <a:lnTo>
                    <a:pt x="378" y="216"/>
                  </a:lnTo>
                  <a:lnTo>
                    <a:pt x="378" y="222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20" y="216"/>
                  </a:lnTo>
                  <a:lnTo>
                    <a:pt x="486" y="210"/>
                  </a:lnTo>
                  <a:lnTo>
                    <a:pt x="498" y="198"/>
                  </a:lnTo>
                  <a:lnTo>
                    <a:pt x="504" y="174"/>
                  </a:lnTo>
                  <a:lnTo>
                    <a:pt x="516" y="162"/>
                  </a:lnTo>
                  <a:lnTo>
                    <a:pt x="516" y="138"/>
                  </a:lnTo>
                  <a:lnTo>
                    <a:pt x="522" y="132"/>
                  </a:lnTo>
                  <a:lnTo>
                    <a:pt x="564" y="132"/>
                  </a:lnTo>
                  <a:lnTo>
                    <a:pt x="564" y="114"/>
                  </a:lnTo>
                  <a:lnTo>
                    <a:pt x="582" y="114"/>
                  </a:lnTo>
                  <a:lnTo>
                    <a:pt x="594" y="114"/>
                  </a:lnTo>
                  <a:lnTo>
                    <a:pt x="606" y="114"/>
                  </a:lnTo>
                  <a:lnTo>
                    <a:pt x="612" y="114"/>
                  </a:lnTo>
                  <a:lnTo>
                    <a:pt x="630" y="114"/>
                  </a:lnTo>
                  <a:lnTo>
                    <a:pt x="636" y="114"/>
                  </a:lnTo>
                  <a:lnTo>
                    <a:pt x="648" y="114"/>
                  </a:lnTo>
                  <a:lnTo>
                    <a:pt x="654" y="114"/>
                  </a:lnTo>
                  <a:lnTo>
                    <a:pt x="660" y="120"/>
                  </a:lnTo>
                  <a:lnTo>
                    <a:pt x="672" y="120"/>
                  </a:lnTo>
                  <a:lnTo>
                    <a:pt x="684" y="120"/>
                  </a:lnTo>
                  <a:lnTo>
                    <a:pt x="690" y="120"/>
                  </a:lnTo>
                  <a:lnTo>
                    <a:pt x="702" y="120"/>
                  </a:lnTo>
                  <a:lnTo>
                    <a:pt x="708" y="120"/>
                  </a:lnTo>
                  <a:lnTo>
                    <a:pt x="726" y="126"/>
                  </a:lnTo>
                  <a:lnTo>
                    <a:pt x="732" y="126"/>
                  </a:lnTo>
                  <a:lnTo>
                    <a:pt x="738" y="126"/>
                  </a:lnTo>
                  <a:lnTo>
                    <a:pt x="750" y="126"/>
                  </a:lnTo>
                  <a:lnTo>
                    <a:pt x="756" y="126"/>
                  </a:lnTo>
                  <a:lnTo>
                    <a:pt x="768" y="126"/>
                  </a:lnTo>
                  <a:lnTo>
                    <a:pt x="780" y="126"/>
                  </a:lnTo>
                  <a:lnTo>
                    <a:pt x="786" y="120"/>
                  </a:lnTo>
                  <a:lnTo>
                    <a:pt x="792" y="120"/>
                  </a:lnTo>
                  <a:lnTo>
                    <a:pt x="810" y="120"/>
                  </a:lnTo>
                  <a:lnTo>
                    <a:pt x="822" y="120"/>
                  </a:lnTo>
                  <a:lnTo>
                    <a:pt x="846" y="126"/>
                  </a:lnTo>
                  <a:lnTo>
                    <a:pt x="858" y="126"/>
                  </a:lnTo>
                  <a:lnTo>
                    <a:pt x="870" y="132"/>
                  </a:lnTo>
                  <a:lnTo>
                    <a:pt x="882" y="132"/>
                  </a:lnTo>
                  <a:lnTo>
                    <a:pt x="894" y="132"/>
                  </a:lnTo>
                  <a:lnTo>
                    <a:pt x="900" y="132"/>
                  </a:lnTo>
                  <a:lnTo>
                    <a:pt x="912" y="132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36" y="132"/>
                  </a:lnTo>
                  <a:lnTo>
                    <a:pt x="960" y="132"/>
                  </a:lnTo>
                  <a:lnTo>
                    <a:pt x="966" y="144"/>
                  </a:lnTo>
                  <a:lnTo>
                    <a:pt x="972" y="144"/>
                  </a:lnTo>
                  <a:lnTo>
                    <a:pt x="1002" y="144"/>
                  </a:lnTo>
                  <a:lnTo>
                    <a:pt x="1020" y="144"/>
                  </a:lnTo>
                  <a:lnTo>
                    <a:pt x="1068" y="138"/>
                  </a:lnTo>
                  <a:lnTo>
                    <a:pt x="1110" y="132"/>
                  </a:lnTo>
                  <a:lnTo>
                    <a:pt x="1110" y="126"/>
                  </a:lnTo>
                  <a:lnTo>
                    <a:pt x="1116" y="120"/>
                  </a:lnTo>
                  <a:lnTo>
                    <a:pt x="1122" y="108"/>
                  </a:lnTo>
                  <a:lnTo>
                    <a:pt x="1134" y="96"/>
                  </a:lnTo>
                  <a:lnTo>
                    <a:pt x="1146" y="60"/>
                  </a:lnTo>
                  <a:lnTo>
                    <a:pt x="1158" y="54"/>
                  </a:lnTo>
                  <a:lnTo>
                    <a:pt x="1170" y="48"/>
                  </a:lnTo>
                  <a:lnTo>
                    <a:pt x="1188" y="42"/>
                  </a:lnTo>
                  <a:lnTo>
                    <a:pt x="1200" y="36"/>
                  </a:lnTo>
                  <a:lnTo>
                    <a:pt x="1212" y="36"/>
                  </a:lnTo>
                  <a:lnTo>
                    <a:pt x="1236" y="30"/>
                  </a:lnTo>
                  <a:lnTo>
                    <a:pt x="1236" y="24"/>
                  </a:lnTo>
                  <a:lnTo>
                    <a:pt x="1278" y="18"/>
                  </a:lnTo>
                  <a:lnTo>
                    <a:pt x="1290" y="18"/>
                  </a:lnTo>
                  <a:lnTo>
                    <a:pt x="1302" y="12"/>
                  </a:lnTo>
                  <a:lnTo>
                    <a:pt x="1314" y="0"/>
                  </a:lnTo>
                  <a:lnTo>
                    <a:pt x="1332" y="0"/>
                  </a:lnTo>
                  <a:lnTo>
                    <a:pt x="1338" y="24"/>
                  </a:lnTo>
                  <a:lnTo>
                    <a:pt x="1344" y="30"/>
                  </a:lnTo>
                  <a:lnTo>
                    <a:pt x="1350" y="42"/>
                  </a:lnTo>
                  <a:lnTo>
                    <a:pt x="1356" y="48"/>
                  </a:lnTo>
                  <a:lnTo>
                    <a:pt x="1356" y="78"/>
                  </a:lnTo>
                  <a:lnTo>
                    <a:pt x="1350" y="96"/>
                  </a:lnTo>
                  <a:lnTo>
                    <a:pt x="1338" y="108"/>
                  </a:lnTo>
                  <a:lnTo>
                    <a:pt x="1338" y="114"/>
                  </a:lnTo>
                  <a:lnTo>
                    <a:pt x="1338" y="120"/>
                  </a:lnTo>
                  <a:lnTo>
                    <a:pt x="1338" y="126"/>
                  </a:lnTo>
                  <a:lnTo>
                    <a:pt x="1368" y="126"/>
                  </a:lnTo>
                  <a:lnTo>
                    <a:pt x="1386" y="120"/>
                  </a:lnTo>
                  <a:lnTo>
                    <a:pt x="1398" y="114"/>
                  </a:lnTo>
                  <a:lnTo>
                    <a:pt x="1416" y="120"/>
                  </a:lnTo>
                  <a:lnTo>
                    <a:pt x="1434" y="126"/>
                  </a:lnTo>
                  <a:lnTo>
                    <a:pt x="1458" y="132"/>
                  </a:lnTo>
                  <a:lnTo>
                    <a:pt x="1458" y="138"/>
                  </a:lnTo>
                  <a:lnTo>
                    <a:pt x="1512" y="138"/>
                  </a:lnTo>
                  <a:lnTo>
                    <a:pt x="1512" y="132"/>
                  </a:lnTo>
                  <a:lnTo>
                    <a:pt x="1524" y="138"/>
                  </a:lnTo>
                  <a:lnTo>
                    <a:pt x="1542" y="138"/>
                  </a:lnTo>
                  <a:lnTo>
                    <a:pt x="1542" y="150"/>
                  </a:lnTo>
                  <a:lnTo>
                    <a:pt x="1542" y="162"/>
                  </a:lnTo>
                  <a:lnTo>
                    <a:pt x="1548" y="174"/>
                  </a:lnTo>
                  <a:lnTo>
                    <a:pt x="1548" y="180"/>
                  </a:lnTo>
                  <a:lnTo>
                    <a:pt x="1554" y="222"/>
                  </a:lnTo>
                  <a:lnTo>
                    <a:pt x="1554" y="258"/>
                  </a:lnTo>
                  <a:lnTo>
                    <a:pt x="1554" y="276"/>
                  </a:lnTo>
                  <a:lnTo>
                    <a:pt x="1554" y="282"/>
                  </a:lnTo>
                  <a:lnTo>
                    <a:pt x="1554" y="294"/>
                  </a:lnTo>
                  <a:lnTo>
                    <a:pt x="1554" y="306"/>
                  </a:lnTo>
                  <a:lnTo>
                    <a:pt x="1554" y="324"/>
                  </a:lnTo>
                  <a:lnTo>
                    <a:pt x="1554" y="330"/>
                  </a:lnTo>
                  <a:lnTo>
                    <a:pt x="1548" y="330"/>
                  </a:lnTo>
                  <a:lnTo>
                    <a:pt x="1548" y="336"/>
                  </a:lnTo>
                  <a:lnTo>
                    <a:pt x="1548" y="342"/>
                  </a:lnTo>
                  <a:lnTo>
                    <a:pt x="1542" y="336"/>
                  </a:lnTo>
                  <a:lnTo>
                    <a:pt x="1542" y="330"/>
                  </a:lnTo>
                  <a:lnTo>
                    <a:pt x="1536" y="330"/>
                  </a:lnTo>
                  <a:lnTo>
                    <a:pt x="1530" y="330"/>
                  </a:lnTo>
                  <a:lnTo>
                    <a:pt x="1530" y="336"/>
                  </a:lnTo>
                  <a:lnTo>
                    <a:pt x="1536" y="342"/>
                  </a:lnTo>
                  <a:lnTo>
                    <a:pt x="1530" y="342"/>
                  </a:lnTo>
                  <a:lnTo>
                    <a:pt x="1518" y="348"/>
                  </a:lnTo>
                  <a:lnTo>
                    <a:pt x="1512" y="354"/>
                  </a:lnTo>
                  <a:lnTo>
                    <a:pt x="1506" y="354"/>
                  </a:lnTo>
                  <a:lnTo>
                    <a:pt x="1500" y="354"/>
                  </a:lnTo>
                  <a:lnTo>
                    <a:pt x="1494" y="354"/>
                  </a:lnTo>
                  <a:lnTo>
                    <a:pt x="1494" y="360"/>
                  </a:lnTo>
                  <a:lnTo>
                    <a:pt x="1488" y="360"/>
                  </a:lnTo>
                  <a:lnTo>
                    <a:pt x="1488" y="366"/>
                  </a:lnTo>
                  <a:lnTo>
                    <a:pt x="1488" y="372"/>
                  </a:lnTo>
                  <a:lnTo>
                    <a:pt x="1482" y="372"/>
                  </a:lnTo>
                  <a:lnTo>
                    <a:pt x="1476" y="372"/>
                  </a:lnTo>
                  <a:lnTo>
                    <a:pt x="1470" y="372"/>
                  </a:lnTo>
                  <a:lnTo>
                    <a:pt x="1470" y="378"/>
                  </a:lnTo>
                  <a:lnTo>
                    <a:pt x="1470" y="384"/>
                  </a:lnTo>
                  <a:lnTo>
                    <a:pt x="1470" y="390"/>
                  </a:lnTo>
                  <a:lnTo>
                    <a:pt x="1464" y="402"/>
                  </a:lnTo>
                  <a:lnTo>
                    <a:pt x="1446" y="402"/>
                  </a:lnTo>
                  <a:lnTo>
                    <a:pt x="1440" y="372"/>
                  </a:lnTo>
                  <a:lnTo>
                    <a:pt x="1410" y="372"/>
                  </a:lnTo>
                  <a:lnTo>
                    <a:pt x="1380" y="372"/>
                  </a:lnTo>
                  <a:lnTo>
                    <a:pt x="1374" y="372"/>
                  </a:lnTo>
                  <a:lnTo>
                    <a:pt x="1368" y="378"/>
                  </a:lnTo>
                  <a:lnTo>
                    <a:pt x="1362" y="378"/>
                  </a:lnTo>
                  <a:lnTo>
                    <a:pt x="1356" y="378"/>
                  </a:lnTo>
                  <a:lnTo>
                    <a:pt x="1350" y="384"/>
                  </a:lnTo>
                  <a:lnTo>
                    <a:pt x="1350" y="390"/>
                  </a:lnTo>
                  <a:lnTo>
                    <a:pt x="1344" y="390"/>
                  </a:lnTo>
                  <a:lnTo>
                    <a:pt x="1338" y="390"/>
                  </a:lnTo>
                  <a:lnTo>
                    <a:pt x="1332" y="390"/>
                  </a:lnTo>
                  <a:lnTo>
                    <a:pt x="1332" y="396"/>
                  </a:lnTo>
                  <a:lnTo>
                    <a:pt x="1332" y="390"/>
                  </a:lnTo>
                  <a:lnTo>
                    <a:pt x="1326" y="402"/>
                  </a:lnTo>
                  <a:lnTo>
                    <a:pt x="1320" y="402"/>
                  </a:lnTo>
                  <a:lnTo>
                    <a:pt x="1302" y="474"/>
                  </a:lnTo>
                  <a:lnTo>
                    <a:pt x="1308" y="480"/>
                  </a:lnTo>
                  <a:lnTo>
                    <a:pt x="1314" y="480"/>
                  </a:lnTo>
                  <a:lnTo>
                    <a:pt x="1308" y="498"/>
                  </a:lnTo>
                  <a:lnTo>
                    <a:pt x="1308" y="504"/>
                  </a:lnTo>
                  <a:lnTo>
                    <a:pt x="1314" y="510"/>
                  </a:lnTo>
                  <a:lnTo>
                    <a:pt x="1308" y="510"/>
                  </a:lnTo>
                  <a:lnTo>
                    <a:pt x="1308" y="516"/>
                  </a:lnTo>
                  <a:lnTo>
                    <a:pt x="1302" y="516"/>
                  </a:lnTo>
                  <a:lnTo>
                    <a:pt x="1296" y="510"/>
                  </a:lnTo>
                  <a:lnTo>
                    <a:pt x="1296" y="516"/>
                  </a:lnTo>
                  <a:lnTo>
                    <a:pt x="1290" y="540"/>
                  </a:lnTo>
                  <a:lnTo>
                    <a:pt x="1290" y="552"/>
                  </a:lnTo>
                  <a:lnTo>
                    <a:pt x="1284" y="558"/>
                  </a:lnTo>
                  <a:lnTo>
                    <a:pt x="1290" y="576"/>
                  </a:lnTo>
                  <a:lnTo>
                    <a:pt x="1290" y="600"/>
                  </a:lnTo>
                  <a:lnTo>
                    <a:pt x="1284" y="618"/>
                  </a:lnTo>
                  <a:lnTo>
                    <a:pt x="1290" y="624"/>
                  </a:lnTo>
                  <a:lnTo>
                    <a:pt x="1284" y="630"/>
                  </a:lnTo>
                  <a:lnTo>
                    <a:pt x="1278" y="630"/>
                  </a:lnTo>
                  <a:lnTo>
                    <a:pt x="1272" y="630"/>
                  </a:lnTo>
                  <a:lnTo>
                    <a:pt x="1266" y="636"/>
                  </a:lnTo>
                  <a:lnTo>
                    <a:pt x="1260" y="642"/>
                  </a:lnTo>
                  <a:lnTo>
                    <a:pt x="1260" y="636"/>
                  </a:lnTo>
                  <a:lnTo>
                    <a:pt x="1254" y="636"/>
                  </a:lnTo>
                  <a:lnTo>
                    <a:pt x="1248" y="636"/>
                  </a:lnTo>
                  <a:lnTo>
                    <a:pt x="1248" y="642"/>
                  </a:lnTo>
                  <a:lnTo>
                    <a:pt x="1242" y="642"/>
                  </a:lnTo>
                  <a:lnTo>
                    <a:pt x="1242" y="648"/>
                  </a:lnTo>
                  <a:lnTo>
                    <a:pt x="1236" y="654"/>
                  </a:lnTo>
                  <a:lnTo>
                    <a:pt x="1230" y="654"/>
                  </a:lnTo>
                  <a:lnTo>
                    <a:pt x="1224" y="654"/>
                  </a:lnTo>
                  <a:lnTo>
                    <a:pt x="1218" y="660"/>
                  </a:lnTo>
                  <a:lnTo>
                    <a:pt x="1212" y="660"/>
                  </a:lnTo>
                  <a:lnTo>
                    <a:pt x="1206" y="660"/>
                  </a:lnTo>
                  <a:lnTo>
                    <a:pt x="1200" y="660"/>
                  </a:lnTo>
                  <a:lnTo>
                    <a:pt x="1200" y="666"/>
                  </a:lnTo>
                  <a:lnTo>
                    <a:pt x="1194" y="666"/>
                  </a:lnTo>
                  <a:lnTo>
                    <a:pt x="1188" y="666"/>
                  </a:lnTo>
                  <a:lnTo>
                    <a:pt x="1182" y="672"/>
                  </a:lnTo>
                  <a:lnTo>
                    <a:pt x="1176" y="672"/>
                  </a:lnTo>
                  <a:lnTo>
                    <a:pt x="1170" y="672"/>
                  </a:lnTo>
                  <a:lnTo>
                    <a:pt x="1164" y="678"/>
                  </a:lnTo>
                  <a:lnTo>
                    <a:pt x="1170" y="678"/>
                  </a:lnTo>
                  <a:lnTo>
                    <a:pt x="1164" y="684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52" y="684"/>
                  </a:lnTo>
                  <a:lnTo>
                    <a:pt x="1152" y="690"/>
                  </a:lnTo>
                  <a:lnTo>
                    <a:pt x="1146" y="690"/>
                  </a:lnTo>
                  <a:lnTo>
                    <a:pt x="1140" y="690"/>
                  </a:lnTo>
                  <a:lnTo>
                    <a:pt x="1134" y="696"/>
                  </a:lnTo>
                  <a:lnTo>
                    <a:pt x="1128" y="696"/>
                  </a:lnTo>
                  <a:lnTo>
                    <a:pt x="1122" y="702"/>
                  </a:lnTo>
                  <a:lnTo>
                    <a:pt x="1116" y="702"/>
                  </a:lnTo>
                  <a:lnTo>
                    <a:pt x="1110" y="708"/>
                  </a:lnTo>
                  <a:lnTo>
                    <a:pt x="1104" y="708"/>
                  </a:lnTo>
                  <a:lnTo>
                    <a:pt x="1098" y="708"/>
                  </a:lnTo>
                  <a:lnTo>
                    <a:pt x="1092" y="708"/>
                  </a:lnTo>
                  <a:lnTo>
                    <a:pt x="1092" y="714"/>
                  </a:lnTo>
                  <a:lnTo>
                    <a:pt x="1086" y="720"/>
                  </a:lnTo>
                  <a:lnTo>
                    <a:pt x="1080" y="720"/>
                  </a:lnTo>
                  <a:lnTo>
                    <a:pt x="1074" y="720"/>
                  </a:lnTo>
                  <a:lnTo>
                    <a:pt x="1068" y="720"/>
                  </a:lnTo>
                  <a:lnTo>
                    <a:pt x="1062" y="720"/>
                  </a:lnTo>
                  <a:lnTo>
                    <a:pt x="1050" y="726"/>
                  </a:lnTo>
                  <a:lnTo>
                    <a:pt x="1044" y="726"/>
                  </a:lnTo>
                  <a:lnTo>
                    <a:pt x="1038" y="732"/>
                  </a:lnTo>
                  <a:lnTo>
                    <a:pt x="1026" y="732"/>
                  </a:lnTo>
                  <a:lnTo>
                    <a:pt x="1020" y="732"/>
                  </a:lnTo>
                  <a:lnTo>
                    <a:pt x="1014" y="738"/>
                  </a:lnTo>
                  <a:lnTo>
                    <a:pt x="1008" y="738"/>
                  </a:lnTo>
                  <a:lnTo>
                    <a:pt x="1002" y="738"/>
                  </a:lnTo>
                  <a:lnTo>
                    <a:pt x="996" y="738"/>
                  </a:lnTo>
                  <a:lnTo>
                    <a:pt x="990" y="738"/>
                  </a:lnTo>
                  <a:lnTo>
                    <a:pt x="990" y="732"/>
                  </a:lnTo>
                  <a:lnTo>
                    <a:pt x="984" y="732"/>
                  </a:lnTo>
                  <a:lnTo>
                    <a:pt x="978" y="738"/>
                  </a:lnTo>
                  <a:lnTo>
                    <a:pt x="978" y="744"/>
                  </a:lnTo>
                  <a:lnTo>
                    <a:pt x="984" y="744"/>
                  </a:lnTo>
                  <a:lnTo>
                    <a:pt x="978" y="744"/>
                  </a:lnTo>
                  <a:lnTo>
                    <a:pt x="978" y="750"/>
                  </a:lnTo>
                  <a:lnTo>
                    <a:pt x="978" y="756"/>
                  </a:lnTo>
                  <a:lnTo>
                    <a:pt x="972" y="756"/>
                  </a:lnTo>
                  <a:lnTo>
                    <a:pt x="972" y="762"/>
                  </a:lnTo>
                  <a:lnTo>
                    <a:pt x="966" y="768"/>
                  </a:lnTo>
                  <a:lnTo>
                    <a:pt x="966" y="762"/>
                  </a:lnTo>
                  <a:lnTo>
                    <a:pt x="960" y="762"/>
                  </a:lnTo>
                  <a:lnTo>
                    <a:pt x="954" y="768"/>
                  </a:lnTo>
                  <a:lnTo>
                    <a:pt x="954" y="774"/>
                  </a:lnTo>
                  <a:lnTo>
                    <a:pt x="948" y="774"/>
                  </a:lnTo>
                  <a:lnTo>
                    <a:pt x="948" y="780"/>
                  </a:lnTo>
                  <a:lnTo>
                    <a:pt x="948" y="786"/>
                  </a:lnTo>
                  <a:lnTo>
                    <a:pt x="942" y="786"/>
                  </a:lnTo>
                  <a:lnTo>
                    <a:pt x="942" y="792"/>
                  </a:lnTo>
                  <a:lnTo>
                    <a:pt x="936" y="792"/>
                  </a:lnTo>
                  <a:lnTo>
                    <a:pt x="942" y="798"/>
                  </a:lnTo>
                  <a:lnTo>
                    <a:pt x="942" y="804"/>
                  </a:lnTo>
                  <a:lnTo>
                    <a:pt x="942" y="810"/>
                  </a:lnTo>
                  <a:lnTo>
                    <a:pt x="948" y="810"/>
                  </a:lnTo>
                  <a:lnTo>
                    <a:pt x="942" y="816"/>
                  </a:lnTo>
                  <a:lnTo>
                    <a:pt x="948" y="816"/>
                  </a:lnTo>
                  <a:lnTo>
                    <a:pt x="948" y="822"/>
                  </a:lnTo>
                  <a:lnTo>
                    <a:pt x="954" y="822"/>
                  </a:lnTo>
                  <a:lnTo>
                    <a:pt x="960" y="828"/>
                  </a:lnTo>
                  <a:lnTo>
                    <a:pt x="960" y="834"/>
                  </a:lnTo>
                  <a:lnTo>
                    <a:pt x="966" y="834"/>
                  </a:lnTo>
                  <a:lnTo>
                    <a:pt x="960" y="840"/>
                  </a:lnTo>
                  <a:lnTo>
                    <a:pt x="966" y="846"/>
                  </a:lnTo>
                  <a:lnTo>
                    <a:pt x="966" y="840"/>
                  </a:lnTo>
                  <a:lnTo>
                    <a:pt x="972" y="840"/>
                  </a:lnTo>
                  <a:lnTo>
                    <a:pt x="990" y="840"/>
                  </a:lnTo>
                  <a:lnTo>
                    <a:pt x="1002" y="834"/>
                  </a:lnTo>
                  <a:lnTo>
                    <a:pt x="1020" y="828"/>
                  </a:lnTo>
                  <a:lnTo>
                    <a:pt x="1032" y="828"/>
                  </a:lnTo>
                  <a:lnTo>
                    <a:pt x="1050" y="828"/>
                  </a:lnTo>
                  <a:lnTo>
                    <a:pt x="1062" y="846"/>
                  </a:lnTo>
                  <a:lnTo>
                    <a:pt x="1074" y="876"/>
                  </a:lnTo>
                  <a:lnTo>
                    <a:pt x="1068" y="900"/>
                  </a:lnTo>
                  <a:lnTo>
                    <a:pt x="1074" y="912"/>
                  </a:lnTo>
                  <a:lnTo>
                    <a:pt x="1074" y="936"/>
                  </a:lnTo>
                  <a:lnTo>
                    <a:pt x="1068" y="942"/>
                  </a:lnTo>
                  <a:lnTo>
                    <a:pt x="1062" y="954"/>
                  </a:lnTo>
                  <a:lnTo>
                    <a:pt x="1056" y="978"/>
                  </a:lnTo>
                  <a:lnTo>
                    <a:pt x="1056" y="996"/>
                  </a:lnTo>
                  <a:lnTo>
                    <a:pt x="1068" y="990"/>
                  </a:lnTo>
                  <a:lnTo>
                    <a:pt x="1074" y="990"/>
                  </a:lnTo>
                  <a:lnTo>
                    <a:pt x="1074" y="1008"/>
                  </a:lnTo>
                  <a:lnTo>
                    <a:pt x="1080" y="1008"/>
                  </a:lnTo>
                  <a:lnTo>
                    <a:pt x="1092" y="1014"/>
                  </a:lnTo>
                  <a:lnTo>
                    <a:pt x="1110" y="1044"/>
                  </a:lnTo>
                  <a:lnTo>
                    <a:pt x="1110" y="1062"/>
                  </a:lnTo>
                  <a:lnTo>
                    <a:pt x="1128" y="1068"/>
                  </a:lnTo>
                  <a:lnTo>
                    <a:pt x="1128" y="1092"/>
                  </a:lnTo>
                  <a:lnTo>
                    <a:pt x="1134" y="1098"/>
                  </a:lnTo>
                  <a:lnTo>
                    <a:pt x="1158" y="1122"/>
                  </a:lnTo>
                  <a:lnTo>
                    <a:pt x="1188" y="1122"/>
                  </a:lnTo>
                  <a:lnTo>
                    <a:pt x="1188" y="1128"/>
                  </a:lnTo>
                  <a:lnTo>
                    <a:pt x="1200" y="1134"/>
                  </a:lnTo>
                  <a:lnTo>
                    <a:pt x="1206" y="1134"/>
                  </a:lnTo>
                  <a:lnTo>
                    <a:pt x="1206" y="1128"/>
                  </a:lnTo>
                  <a:lnTo>
                    <a:pt x="1212" y="1128"/>
                  </a:lnTo>
                  <a:lnTo>
                    <a:pt x="1218" y="1128"/>
                  </a:lnTo>
                  <a:lnTo>
                    <a:pt x="1224" y="1122"/>
                  </a:lnTo>
                  <a:lnTo>
                    <a:pt x="1224" y="1128"/>
                  </a:lnTo>
                  <a:lnTo>
                    <a:pt x="1230" y="1128"/>
                  </a:lnTo>
                  <a:lnTo>
                    <a:pt x="1236" y="1128"/>
                  </a:lnTo>
                  <a:lnTo>
                    <a:pt x="1236" y="1122"/>
                  </a:lnTo>
                  <a:lnTo>
                    <a:pt x="1242" y="1122"/>
                  </a:lnTo>
                  <a:lnTo>
                    <a:pt x="1248" y="1128"/>
                  </a:lnTo>
                  <a:lnTo>
                    <a:pt x="1254" y="1128"/>
                  </a:lnTo>
                  <a:lnTo>
                    <a:pt x="1260" y="1134"/>
                  </a:lnTo>
                  <a:lnTo>
                    <a:pt x="1260" y="1140"/>
                  </a:lnTo>
                  <a:lnTo>
                    <a:pt x="1266" y="1140"/>
                  </a:lnTo>
                  <a:lnTo>
                    <a:pt x="1272" y="1140"/>
                  </a:lnTo>
                  <a:lnTo>
                    <a:pt x="1278" y="1140"/>
                  </a:lnTo>
                  <a:lnTo>
                    <a:pt x="1284" y="1140"/>
                  </a:lnTo>
                  <a:lnTo>
                    <a:pt x="1290" y="1146"/>
                  </a:lnTo>
                  <a:lnTo>
                    <a:pt x="1290" y="1152"/>
                  </a:lnTo>
                  <a:lnTo>
                    <a:pt x="1296" y="1146"/>
                  </a:lnTo>
                  <a:lnTo>
                    <a:pt x="1296" y="1152"/>
                  </a:lnTo>
                  <a:lnTo>
                    <a:pt x="1308" y="1152"/>
                  </a:lnTo>
                  <a:lnTo>
                    <a:pt x="1314" y="1152"/>
                  </a:lnTo>
                  <a:lnTo>
                    <a:pt x="1320" y="1152"/>
                  </a:lnTo>
                  <a:lnTo>
                    <a:pt x="1332" y="1152"/>
                  </a:lnTo>
                  <a:lnTo>
                    <a:pt x="1338" y="1152"/>
                  </a:lnTo>
                  <a:lnTo>
                    <a:pt x="1344" y="1152"/>
                  </a:lnTo>
                  <a:lnTo>
                    <a:pt x="1344" y="1158"/>
                  </a:lnTo>
                  <a:lnTo>
                    <a:pt x="1350" y="1158"/>
                  </a:lnTo>
                  <a:lnTo>
                    <a:pt x="1356" y="1158"/>
                  </a:lnTo>
                  <a:lnTo>
                    <a:pt x="1362" y="1158"/>
                  </a:lnTo>
                  <a:lnTo>
                    <a:pt x="1368" y="1158"/>
                  </a:lnTo>
                  <a:lnTo>
                    <a:pt x="1374" y="1164"/>
                  </a:lnTo>
                  <a:lnTo>
                    <a:pt x="1380" y="1164"/>
                  </a:lnTo>
                  <a:lnTo>
                    <a:pt x="1386" y="1170"/>
                  </a:lnTo>
                  <a:lnTo>
                    <a:pt x="1392" y="1170"/>
                  </a:lnTo>
                  <a:lnTo>
                    <a:pt x="1398" y="1164"/>
                  </a:lnTo>
                  <a:lnTo>
                    <a:pt x="1404" y="1164"/>
                  </a:lnTo>
                  <a:lnTo>
                    <a:pt x="1410" y="1164"/>
                  </a:lnTo>
                  <a:lnTo>
                    <a:pt x="1416" y="1164"/>
                  </a:lnTo>
                  <a:lnTo>
                    <a:pt x="1416" y="1170"/>
                  </a:lnTo>
                  <a:lnTo>
                    <a:pt x="1422" y="1176"/>
                  </a:lnTo>
                  <a:lnTo>
                    <a:pt x="1416" y="1176"/>
                  </a:lnTo>
                  <a:lnTo>
                    <a:pt x="1416" y="1182"/>
                  </a:lnTo>
                  <a:lnTo>
                    <a:pt x="1410" y="1188"/>
                  </a:lnTo>
                  <a:lnTo>
                    <a:pt x="1404" y="1194"/>
                  </a:lnTo>
                  <a:lnTo>
                    <a:pt x="1404" y="1200"/>
                  </a:lnTo>
                  <a:lnTo>
                    <a:pt x="1404" y="1206"/>
                  </a:lnTo>
                  <a:lnTo>
                    <a:pt x="1398" y="1212"/>
                  </a:lnTo>
                  <a:lnTo>
                    <a:pt x="1398" y="1206"/>
                  </a:lnTo>
                  <a:lnTo>
                    <a:pt x="1392" y="1206"/>
                  </a:lnTo>
                  <a:lnTo>
                    <a:pt x="1386" y="1206"/>
                  </a:lnTo>
                  <a:lnTo>
                    <a:pt x="1380" y="1212"/>
                  </a:lnTo>
                  <a:lnTo>
                    <a:pt x="1374" y="1212"/>
                  </a:lnTo>
                  <a:lnTo>
                    <a:pt x="1368" y="1218"/>
                  </a:lnTo>
                  <a:lnTo>
                    <a:pt x="1362" y="1218"/>
                  </a:lnTo>
                  <a:lnTo>
                    <a:pt x="1362" y="1224"/>
                  </a:lnTo>
                  <a:lnTo>
                    <a:pt x="1356" y="1230"/>
                  </a:lnTo>
                  <a:lnTo>
                    <a:pt x="1350" y="1230"/>
                  </a:lnTo>
                  <a:lnTo>
                    <a:pt x="1344" y="1236"/>
                  </a:lnTo>
                  <a:lnTo>
                    <a:pt x="1338" y="1230"/>
                  </a:lnTo>
                  <a:lnTo>
                    <a:pt x="1332" y="1230"/>
                  </a:lnTo>
                  <a:lnTo>
                    <a:pt x="1326" y="1230"/>
                  </a:lnTo>
                  <a:lnTo>
                    <a:pt x="1320" y="1230"/>
                  </a:lnTo>
                  <a:lnTo>
                    <a:pt x="1314" y="1230"/>
                  </a:lnTo>
                  <a:lnTo>
                    <a:pt x="1296" y="1242"/>
                  </a:lnTo>
                  <a:lnTo>
                    <a:pt x="1296" y="1248"/>
                  </a:lnTo>
                  <a:lnTo>
                    <a:pt x="1290" y="1248"/>
                  </a:lnTo>
                  <a:lnTo>
                    <a:pt x="1290" y="1260"/>
                  </a:lnTo>
                  <a:lnTo>
                    <a:pt x="1278" y="1272"/>
                  </a:lnTo>
                  <a:lnTo>
                    <a:pt x="1278" y="1278"/>
                  </a:lnTo>
                  <a:lnTo>
                    <a:pt x="1278" y="1284"/>
                  </a:lnTo>
                  <a:lnTo>
                    <a:pt x="1278" y="1290"/>
                  </a:lnTo>
                  <a:lnTo>
                    <a:pt x="1284" y="1296"/>
                  </a:lnTo>
                  <a:lnTo>
                    <a:pt x="1302" y="1302"/>
                  </a:lnTo>
                  <a:lnTo>
                    <a:pt x="1308" y="1308"/>
                  </a:lnTo>
                  <a:lnTo>
                    <a:pt x="1308" y="1314"/>
                  </a:lnTo>
                  <a:lnTo>
                    <a:pt x="1302" y="1320"/>
                  </a:lnTo>
                  <a:lnTo>
                    <a:pt x="1278" y="1314"/>
                  </a:lnTo>
                  <a:lnTo>
                    <a:pt x="1266" y="1308"/>
                  </a:lnTo>
                  <a:lnTo>
                    <a:pt x="1260" y="1296"/>
                  </a:lnTo>
                  <a:lnTo>
                    <a:pt x="1236" y="1296"/>
                  </a:lnTo>
                  <a:lnTo>
                    <a:pt x="1224" y="1308"/>
                  </a:lnTo>
                  <a:lnTo>
                    <a:pt x="1218" y="1308"/>
                  </a:lnTo>
                  <a:lnTo>
                    <a:pt x="1218" y="1302"/>
                  </a:lnTo>
                  <a:lnTo>
                    <a:pt x="1212" y="1302"/>
                  </a:lnTo>
                  <a:lnTo>
                    <a:pt x="1206" y="1302"/>
                  </a:lnTo>
                  <a:lnTo>
                    <a:pt x="1170" y="1314"/>
                  </a:lnTo>
                  <a:lnTo>
                    <a:pt x="1134" y="1296"/>
                  </a:lnTo>
                  <a:lnTo>
                    <a:pt x="1122" y="1290"/>
                  </a:lnTo>
                  <a:lnTo>
                    <a:pt x="1104" y="1290"/>
                  </a:lnTo>
                  <a:lnTo>
                    <a:pt x="1098" y="1278"/>
                  </a:lnTo>
                  <a:lnTo>
                    <a:pt x="1092" y="1242"/>
                  </a:lnTo>
                  <a:lnTo>
                    <a:pt x="1086" y="1242"/>
                  </a:lnTo>
                  <a:lnTo>
                    <a:pt x="1086" y="1248"/>
                  </a:lnTo>
                  <a:lnTo>
                    <a:pt x="1086" y="1254"/>
                  </a:lnTo>
                  <a:lnTo>
                    <a:pt x="1080" y="1254"/>
                  </a:lnTo>
                  <a:lnTo>
                    <a:pt x="1080" y="1260"/>
                  </a:lnTo>
                  <a:lnTo>
                    <a:pt x="1074" y="1260"/>
                  </a:lnTo>
                  <a:lnTo>
                    <a:pt x="1068" y="1236"/>
                  </a:lnTo>
                  <a:lnTo>
                    <a:pt x="1068" y="1206"/>
                  </a:lnTo>
                  <a:lnTo>
                    <a:pt x="1080" y="1194"/>
                  </a:lnTo>
                  <a:lnTo>
                    <a:pt x="1086" y="1194"/>
                  </a:lnTo>
                  <a:lnTo>
                    <a:pt x="1092" y="1200"/>
                  </a:lnTo>
                  <a:lnTo>
                    <a:pt x="1098" y="1206"/>
                  </a:lnTo>
                  <a:lnTo>
                    <a:pt x="1104" y="1200"/>
                  </a:lnTo>
                  <a:lnTo>
                    <a:pt x="1104" y="1194"/>
                  </a:lnTo>
                  <a:lnTo>
                    <a:pt x="1110" y="1194"/>
                  </a:lnTo>
                  <a:lnTo>
                    <a:pt x="1110" y="1188"/>
                  </a:lnTo>
                  <a:lnTo>
                    <a:pt x="1116" y="1182"/>
                  </a:lnTo>
                  <a:lnTo>
                    <a:pt x="1110" y="1182"/>
                  </a:lnTo>
                  <a:lnTo>
                    <a:pt x="1110" y="1170"/>
                  </a:lnTo>
                  <a:lnTo>
                    <a:pt x="1110" y="1158"/>
                  </a:lnTo>
                  <a:lnTo>
                    <a:pt x="1110" y="1152"/>
                  </a:lnTo>
                  <a:lnTo>
                    <a:pt x="1104" y="1146"/>
                  </a:lnTo>
                  <a:lnTo>
                    <a:pt x="1098" y="1140"/>
                  </a:lnTo>
                  <a:lnTo>
                    <a:pt x="1098" y="1134"/>
                  </a:lnTo>
                  <a:lnTo>
                    <a:pt x="1098" y="1128"/>
                  </a:lnTo>
                  <a:lnTo>
                    <a:pt x="1092" y="1128"/>
                  </a:lnTo>
                  <a:lnTo>
                    <a:pt x="1092" y="1122"/>
                  </a:lnTo>
                  <a:lnTo>
                    <a:pt x="1092" y="1116"/>
                  </a:lnTo>
                  <a:lnTo>
                    <a:pt x="1092" y="1110"/>
                  </a:lnTo>
                  <a:lnTo>
                    <a:pt x="1056" y="1122"/>
                  </a:lnTo>
                  <a:lnTo>
                    <a:pt x="1038" y="1128"/>
                  </a:lnTo>
                  <a:lnTo>
                    <a:pt x="1032" y="1128"/>
                  </a:lnTo>
                  <a:lnTo>
                    <a:pt x="1026" y="1128"/>
                  </a:lnTo>
                  <a:lnTo>
                    <a:pt x="1020" y="1128"/>
                  </a:lnTo>
                  <a:lnTo>
                    <a:pt x="1014" y="1128"/>
                  </a:lnTo>
                  <a:lnTo>
                    <a:pt x="1014" y="1122"/>
                  </a:lnTo>
                  <a:lnTo>
                    <a:pt x="1008" y="1122"/>
                  </a:lnTo>
                  <a:lnTo>
                    <a:pt x="1002" y="1128"/>
                  </a:lnTo>
                  <a:lnTo>
                    <a:pt x="1002" y="1134"/>
                  </a:lnTo>
                  <a:lnTo>
                    <a:pt x="990" y="1134"/>
                  </a:lnTo>
                  <a:lnTo>
                    <a:pt x="990" y="1140"/>
                  </a:lnTo>
                  <a:lnTo>
                    <a:pt x="984" y="1140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66" y="1140"/>
                  </a:lnTo>
                  <a:lnTo>
                    <a:pt x="954" y="1140"/>
                  </a:lnTo>
                  <a:lnTo>
                    <a:pt x="954" y="1134"/>
                  </a:lnTo>
                  <a:lnTo>
                    <a:pt x="948" y="1134"/>
                  </a:lnTo>
                  <a:lnTo>
                    <a:pt x="942" y="1134"/>
                  </a:lnTo>
                  <a:lnTo>
                    <a:pt x="936" y="1134"/>
                  </a:lnTo>
                  <a:lnTo>
                    <a:pt x="930" y="1134"/>
                  </a:lnTo>
                  <a:lnTo>
                    <a:pt x="924" y="1134"/>
                  </a:lnTo>
                  <a:lnTo>
                    <a:pt x="918" y="1134"/>
                  </a:lnTo>
                  <a:lnTo>
                    <a:pt x="918" y="1128"/>
                  </a:lnTo>
                  <a:lnTo>
                    <a:pt x="918" y="1104"/>
                  </a:lnTo>
                  <a:lnTo>
                    <a:pt x="906" y="1104"/>
                  </a:lnTo>
                  <a:lnTo>
                    <a:pt x="900" y="1098"/>
                  </a:lnTo>
                  <a:lnTo>
                    <a:pt x="900" y="1092"/>
                  </a:lnTo>
                  <a:lnTo>
                    <a:pt x="900" y="1086"/>
                  </a:lnTo>
                  <a:lnTo>
                    <a:pt x="900" y="1080"/>
                  </a:lnTo>
                  <a:lnTo>
                    <a:pt x="894" y="1080"/>
                  </a:lnTo>
                  <a:lnTo>
                    <a:pt x="858" y="1074"/>
                  </a:lnTo>
                  <a:lnTo>
                    <a:pt x="852" y="1080"/>
                  </a:lnTo>
                  <a:lnTo>
                    <a:pt x="846" y="1086"/>
                  </a:lnTo>
                  <a:lnTo>
                    <a:pt x="840" y="1086"/>
                  </a:lnTo>
                  <a:lnTo>
                    <a:pt x="840" y="1092"/>
                  </a:lnTo>
                  <a:lnTo>
                    <a:pt x="834" y="1092"/>
                  </a:lnTo>
                  <a:lnTo>
                    <a:pt x="828" y="1098"/>
                  </a:lnTo>
                  <a:lnTo>
                    <a:pt x="822" y="1098"/>
                  </a:lnTo>
                  <a:lnTo>
                    <a:pt x="762" y="1074"/>
                  </a:lnTo>
                  <a:lnTo>
                    <a:pt x="756" y="1068"/>
                  </a:lnTo>
                  <a:lnTo>
                    <a:pt x="750" y="1068"/>
                  </a:lnTo>
                  <a:lnTo>
                    <a:pt x="744" y="1062"/>
                  </a:lnTo>
                  <a:lnTo>
                    <a:pt x="744" y="1068"/>
                  </a:lnTo>
                  <a:lnTo>
                    <a:pt x="744" y="1074"/>
                  </a:lnTo>
                  <a:lnTo>
                    <a:pt x="738" y="1074"/>
                  </a:lnTo>
                  <a:lnTo>
                    <a:pt x="738" y="1068"/>
                  </a:lnTo>
                  <a:lnTo>
                    <a:pt x="732" y="1068"/>
                  </a:lnTo>
                  <a:lnTo>
                    <a:pt x="726" y="1068"/>
                  </a:lnTo>
                  <a:lnTo>
                    <a:pt x="726" y="1074"/>
                  </a:lnTo>
                  <a:lnTo>
                    <a:pt x="720" y="1074"/>
                  </a:lnTo>
                  <a:lnTo>
                    <a:pt x="684" y="106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  <p:sp>
          <p:nvSpPr>
            <p:cNvPr id="355" name="Freeform 40">
              <a:extLst>
                <a:ext uri="{FF2B5EF4-FFF2-40B4-BE49-F238E27FC236}">
                  <a16:creationId xmlns:a16="http://schemas.microsoft.com/office/drawing/2014/main" id="{37EC2F22-BDB9-4162-8FA4-08493F6898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3558" y="1520374"/>
              <a:ext cx="1057717" cy="1252440"/>
            </a:xfrm>
            <a:custGeom>
              <a:avLst/>
              <a:gdLst>
                <a:gd name="T0" fmla="*/ 98 w 1992"/>
                <a:gd name="T1" fmla="*/ 162 h 2358"/>
                <a:gd name="T2" fmla="*/ 93 w 1992"/>
                <a:gd name="T3" fmla="*/ 172 h 2358"/>
                <a:gd name="T4" fmla="*/ 82 w 1992"/>
                <a:gd name="T5" fmla="*/ 179 h 2358"/>
                <a:gd name="T6" fmla="*/ 70 w 1992"/>
                <a:gd name="T7" fmla="*/ 174 h 2358"/>
                <a:gd name="T8" fmla="*/ 62 w 1992"/>
                <a:gd name="T9" fmla="*/ 182 h 2358"/>
                <a:gd name="T10" fmla="*/ 45 w 1992"/>
                <a:gd name="T11" fmla="*/ 189 h 2358"/>
                <a:gd name="T12" fmla="*/ 24 w 1992"/>
                <a:gd name="T13" fmla="*/ 205 h 2358"/>
                <a:gd name="T14" fmla="*/ 17 w 1992"/>
                <a:gd name="T15" fmla="*/ 204 h 2358"/>
                <a:gd name="T16" fmla="*/ 7 w 1992"/>
                <a:gd name="T17" fmla="*/ 197 h 2358"/>
                <a:gd name="T18" fmla="*/ 1 w 1992"/>
                <a:gd name="T19" fmla="*/ 191 h 2358"/>
                <a:gd name="T20" fmla="*/ 4 w 1992"/>
                <a:gd name="T21" fmla="*/ 175 h 2358"/>
                <a:gd name="T22" fmla="*/ 7 w 1992"/>
                <a:gd name="T23" fmla="*/ 172 h 2358"/>
                <a:gd name="T24" fmla="*/ 11 w 1992"/>
                <a:gd name="T25" fmla="*/ 168 h 2358"/>
                <a:gd name="T26" fmla="*/ 5 w 1992"/>
                <a:gd name="T27" fmla="*/ 159 h 2358"/>
                <a:gd name="T28" fmla="*/ 10 w 1992"/>
                <a:gd name="T29" fmla="*/ 156 h 2358"/>
                <a:gd name="T30" fmla="*/ 15 w 1992"/>
                <a:gd name="T31" fmla="*/ 155 h 2358"/>
                <a:gd name="T32" fmla="*/ 24 w 1992"/>
                <a:gd name="T33" fmla="*/ 149 h 2358"/>
                <a:gd name="T34" fmla="*/ 38 w 1992"/>
                <a:gd name="T35" fmla="*/ 127 h 2358"/>
                <a:gd name="T36" fmla="*/ 38 w 1992"/>
                <a:gd name="T37" fmla="*/ 107 h 2358"/>
                <a:gd name="T38" fmla="*/ 45 w 1992"/>
                <a:gd name="T39" fmla="*/ 66 h 2358"/>
                <a:gd name="T40" fmla="*/ 47 w 1992"/>
                <a:gd name="T41" fmla="*/ 36 h 2358"/>
                <a:gd name="T42" fmla="*/ 51 w 1992"/>
                <a:gd name="T43" fmla="*/ 35 h 2358"/>
                <a:gd name="T44" fmla="*/ 55 w 1992"/>
                <a:gd name="T45" fmla="*/ 30 h 2358"/>
                <a:gd name="T46" fmla="*/ 56 w 1992"/>
                <a:gd name="T47" fmla="*/ 27 h 2358"/>
                <a:gd name="T48" fmla="*/ 60 w 1992"/>
                <a:gd name="T49" fmla="*/ 23 h 2358"/>
                <a:gd name="T50" fmla="*/ 63 w 1992"/>
                <a:gd name="T51" fmla="*/ 23 h 2358"/>
                <a:gd name="T52" fmla="*/ 70 w 1992"/>
                <a:gd name="T53" fmla="*/ 18 h 2358"/>
                <a:gd name="T54" fmla="*/ 71 w 1992"/>
                <a:gd name="T55" fmla="*/ 15 h 2358"/>
                <a:gd name="T56" fmla="*/ 72 w 1992"/>
                <a:gd name="T57" fmla="*/ 13 h 2358"/>
                <a:gd name="T58" fmla="*/ 77 w 1992"/>
                <a:gd name="T59" fmla="*/ 12 h 2358"/>
                <a:gd name="T60" fmla="*/ 83 w 1992"/>
                <a:gd name="T61" fmla="*/ 10 h 2358"/>
                <a:gd name="T62" fmla="*/ 87 w 1992"/>
                <a:gd name="T63" fmla="*/ 10 h 2358"/>
                <a:gd name="T64" fmla="*/ 89 w 1992"/>
                <a:gd name="T65" fmla="*/ 10 h 2358"/>
                <a:gd name="T66" fmla="*/ 93 w 1992"/>
                <a:gd name="T67" fmla="*/ 8 h 2358"/>
                <a:gd name="T68" fmla="*/ 95 w 1992"/>
                <a:gd name="T69" fmla="*/ 4 h 2358"/>
                <a:gd name="T70" fmla="*/ 99 w 1992"/>
                <a:gd name="T71" fmla="*/ 0 h 2358"/>
                <a:gd name="T72" fmla="*/ 111 w 1992"/>
                <a:gd name="T73" fmla="*/ 0 h 2358"/>
                <a:gd name="T74" fmla="*/ 121 w 1992"/>
                <a:gd name="T75" fmla="*/ 9 h 2358"/>
                <a:gd name="T76" fmla="*/ 128 w 1992"/>
                <a:gd name="T77" fmla="*/ 19 h 2358"/>
                <a:gd name="T78" fmla="*/ 138 w 1992"/>
                <a:gd name="T79" fmla="*/ 33 h 2358"/>
                <a:gd name="T80" fmla="*/ 142 w 1992"/>
                <a:gd name="T81" fmla="*/ 47 h 2358"/>
                <a:gd name="T82" fmla="*/ 145 w 1992"/>
                <a:gd name="T83" fmla="*/ 62 h 2358"/>
                <a:gd name="T84" fmla="*/ 145 w 1992"/>
                <a:gd name="T85" fmla="*/ 70 h 2358"/>
                <a:gd name="T86" fmla="*/ 147 w 1992"/>
                <a:gd name="T87" fmla="*/ 75 h 2358"/>
                <a:gd name="T88" fmla="*/ 153 w 1992"/>
                <a:gd name="T89" fmla="*/ 75 h 2358"/>
                <a:gd name="T90" fmla="*/ 160 w 1992"/>
                <a:gd name="T91" fmla="*/ 76 h 2358"/>
                <a:gd name="T92" fmla="*/ 164 w 1992"/>
                <a:gd name="T93" fmla="*/ 79 h 2358"/>
                <a:gd name="T94" fmla="*/ 168 w 1992"/>
                <a:gd name="T95" fmla="*/ 83 h 2358"/>
                <a:gd name="T96" fmla="*/ 172 w 1992"/>
                <a:gd name="T97" fmla="*/ 86 h 2358"/>
                <a:gd name="T98" fmla="*/ 170 w 1992"/>
                <a:gd name="T99" fmla="*/ 93 h 2358"/>
                <a:gd name="T100" fmla="*/ 170 w 1992"/>
                <a:gd name="T101" fmla="*/ 99 h 2358"/>
                <a:gd name="T102" fmla="*/ 169 w 1992"/>
                <a:gd name="T103" fmla="*/ 106 h 2358"/>
                <a:gd name="T104" fmla="*/ 166 w 1992"/>
                <a:gd name="T105" fmla="*/ 113 h 2358"/>
                <a:gd name="T106" fmla="*/ 170 w 1992"/>
                <a:gd name="T107" fmla="*/ 122 h 2358"/>
                <a:gd name="T108" fmla="*/ 159 w 1992"/>
                <a:gd name="T109" fmla="*/ 128 h 2358"/>
                <a:gd name="T110" fmla="*/ 148 w 1992"/>
                <a:gd name="T111" fmla="*/ 134 h 2358"/>
                <a:gd name="T112" fmla="*/ 139 w 1992"/>
                <a:gd name="T113" fmla="*/ 136 h 2358"/>
                <a:gd name="T114" fmla="*/ 132 w 1992"/>
                <a:gd name="T115" fmla="*/ 138 h 2358"/>
                <a:gd name="T116" fmla="*/ 128 w 1992"/>
                <a:gd name="T117" fmla="*/ 145 h 2358"/>
                <a:gd name="T118" fmla="*/ 124 w 1992"/>
                <a:gd name="T119" fmla="*/ 150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92"/>
                <a:gd name="T181" fmla="*/ 0 h 2358"/>
                <a:gd name="T182" fmla="*/ 1992 w 1992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92" h="2358">
                  <a:moveTo>
                    <a:pt x="1356" y="1782"/>
                  </a:moveTo>
                  <a:lnTo>
                    <a:pt x="1350" y="1788"/>
                  </a:lnTo>
                  <a:lnTo>
                    <a:pt x="1266" y="1788"/>
                  </a:lnTo>
                  <a:lnTo>
                    <a:pt x="1260" y="1800"/>
                  </a:lnTo>
                  <a:lnTo>
                    <a:pt x="1242" y="1806"/>
                  </a:lnTo>
                  <a:lnTo>
                    <a:pt x="1218" y="1812"/>
                  </a:lnTo>
                  <a:lnTo>
                    <a:pt x="1182" y="1812"/>
                  </a:lnTo>
                  <a:lnTo>
                    <a:pt x="1158" y="1806"/>
                  </a:lnTo>
                  <a:lnTo>
                    <a:pt x="1134" y="1800"/>
                  </a:lnTo>
                  <a:lnTo>
                    <a:pt x="1134" y="1806"/>
                  </a:lnTo>
                  <a:lnTo>
                    <a:pt x="1134" y="1830"/>
                  </a:lnTo>
                  <a:lnTo>
                    <a:pt x="1128" y="1842"/>
                  </a:lnTo>
                  <a:lnTo>
                    <a:pt x="1128" y="1854"/>
                  </a:lnTo>
                  <a:lnTo>
                    <a:pt x="1128" y="1860"/>
                  </a:lnTo>
                  <a:lnTo>
                    <a:pt x="1128" y="1866"/>
                  </a:lnTo>
                  <a:lnTo>
                    <a:pt x="1128" y="1872"/>
                  </a:lnTo>
                  <a:lnTo>
                    <a:pt x="1128" y="1884"/>
                  </a:lnTo>
                  <a:lnTo>
                    <a:pt x="1128" y="1890"/>
                  </a:lnTo>
                  <a:lnTo>
                    <a:pt x="1128" y="1896"/>
                  </a:lnTo>
                  <a:lnTo>
                    <a:pt x="1122" y="1902"/>
                  </a:lnTo>
                  <a:lnTo>
                    <a:pt x="1122" y="1920"/>
                  </a:lnTo>
                  <a:lnTo>
                    <a:pt x="1116" y="1920"/>
                  </a:lnTo>
                  <a:lnTo>
                    <a:pt x="1110" y="1926"/>
                  </a:lnTo>
                  <a:lnTo>
                    <a:pt x="1110" y="1932"/>
                  </a:lnTo>
                  <a:lnTo>
                    <a:pt x="1104" y="1938"/>
                  </a:lnTo>
                  <a:lnTo>
                    <a:pt x="1086" y="1962"/>
                  </a:lnTo>
                  <a:lnTo>
                    <a:pt x="1074" y="1974"/>
                  </a:lnTo>
                  <a:lnTo>
                    <a:pt x="1074" y="1980"/>
                  </a:lnTo>
                  <a:lnTo>
                    <a:pt x="1068" y="1986"/>
                  </a:lnTo>
                  <a:lnTo>
                    <a:pt x="1062" y="1998"/>
                  </a:lnTo>
                  <a:lnTo>
                    <a:pt x="1062" y="2004"/>
                  </a:lnTo>
                  <a:lnTo>
                    <a:pt x="1068" y="2004"/>
                  </a:lnTo>
                  <a:lnTo>
                    <a:pt x="1056" y="2034"/>
                  </a:lnTo>
                  <a:lnTo>
                    <a:pt x="1050" y="2076"/>
                  </a:lnTo>
                  <a:lnTo>
                    <a:pt x="1056" y="2100"/>
                  </a:lnTo>
                  <a:lnTo>
                    <a:pt x="1038" y="2106"/>
                  </a:lnTo>
                  <a:lnTo>
                    <a:pt x="1002" y="2106"/>
                  </a:lnTo>
                  <a:lnTo>
                    <a:pt x="978" y="2094"/>
                  </a:lnTo>
                  <a:lnTo>
                    <a:pt x="972" y="2082"/>
                  </a:lnTo>
                  <a:lnTo>
                    <a:pt x="966" y="2070"/>
                  </a:lnTo>
                  <a:lnTo>
                    <a:pt x="954" y="2064"/>
                  </a:lnTo>
                  <a:lnTo>
                    <a:pt x="942" y="2058"/>
                  </a:lnTo>
                  <a:lnTo>
                    <a:pt x="936" y="2058"/>
                  </a:lnTo>
                  <a:lnTo>
                    <a:pt x="918" y="2046"/>
                  </a:lnTo>
                  <a:lnTo>
                    <a:pt x="906" y="2028"/>
                  </a:lnTo>
                  <a:lnTo>
                    <a:pt x="900" y="2022"/>
                  </a:lnTo>
                  <a:lnTo>
                    <a:pt x="894" y="2022"/>
                  </a:lnTo>
                  <a:lnTo>
                    <a:pt x="882" y="2022"/>
                  </a:lnTo>
                  <a:lnTo>
                    <a:pt x="870" y="2016"/>
                  </a:lnTo>
                  <a:lnTo>
                    <a:pt x="864" y="2016"/>
                  </a:lnTo>
                  <a:lnTo>
                    <a:pt x="852" y="2010"/>
                  </a:lnTo>
                  <a:lnTo>
                    <a:pt x="846" y="2004"/>
                  </a:lnTo>
                  <a:lnTo>
                    <a:pt x="840" y="2004"/>
                  </a:lnTo>
                  <a:lnTo>
                    <a:pt x="828" y="1998"/>
                  </a:lnTo>
                  <a:lnTo>
                    <a:pt x="816" y="1998"/>
                  </a:lnTo>
                  <a:lnTo>
                    <a:pt x="810" y="1998"/>
                  </a:lnTo>
                  <a:lnTo>
                    <a:pt x="804" y="1998"/>
                  </a:lnTo>
                  <a:lnTo>
                    <a:pt x="798" y="1998"/>
                  </a:lnTo>
                  <a:lnTo>
                    <a:pt x="792" y="2004"/>
                  </a:lnTo>
                  <a:lnTo>
                    <a:pt x="786" y="2010"/>
                  </a:lnTo>
                  <a:lnTo>
                    <a:pt x="762" y="2010"/>
                  </a:lnTo>
                  <a:lnTo>
                    <a:pt x="756" y="2010"/>
                  </a:lnTo>
                  <a:lnTo>
                    <a:pt x="744" y="2022"/>
                  </a:lnTo>
                  <a:lnTo>
                    <a:pt x="738" y="2034"/>
                  </a:lnTo>
                  <a:lnTo>
                    <a:pt x="732" y="2040"/>
                  </a:lnTo>
                  <a:lnTo>
                    <a:pt x="732" y="2046"/>
                  </a:lnTo>
                  <a:lnTo>
                    <a:pt x="726" y="2058"/>
                  </a:lnTo>
                  <a:lnTo>
                    <a:pt x="720" y="2064"/>
                  </a:lnTo>
                  <a:lnTo>
                    <a:pt x="714" y="2070"/>
                  </a:lnTo>
                  <a:lnTo>
                    <a:pt x="708" y="2088"/>
                  </a:lnTo>
                  <a:lnTo>
                    <a:pt x="702" y="2100"/>
                  </a:lnTo>
                  <a:lnTo>
                    <a:pt x="690" y="2100"/>
                  </a:lnTo>
                  <a:lnTo>
                    <a:pt x="684" y="2094"/>
                  </a:lnTo>
                  <a:lnTo>
                    <a:pt x="666" y="2100"/>
                  </a:lnTo>
                  <a:lnTo>
                    <a:pt x="636" y="2106"/>
                  </a:lnTo>
                  <a:lnTo>
                    <a:pt x="636" y="2112"/>
                  </a:lnTo>
                  <a:lnTo>
                    <a:pt x="636" y="2118"/>
                  </a:lnTo>
                  <a:lnTo>
                    <a:pt x="636" y="2124"/>
                  </a:lnTo>
                  <a:lnTo>
                    <a:pt x="630" y="2124"/>
                  </a:lnTo>
                  <a:lnTo>
                    <a:pt x="630" y="2148"/>
                  </a:lnTo>
                  <a:lnTo>
                    <a:pt x="612" y="2160"/>
                  </a:lnTo>
                  <a:lnTo>
                    <a:pt x="576" y="2172"/>
                  </a:lnTo>
                  <a:lnTo>
                    <a:pt x="546" y="2172"/>
                  </a:lnTo>
                  <a:lnTo>
                    <a:pt x="516" y="2172"/>
                  </a:lnTo>
                  <a:lnTo>
                    <a:pt x="486" y="2172"/>
                  </a:lnTo>
                  <a:lnTo>
                    <a:pt x="462" y="2172"/>
                  </a:lnTo>
                  <a:lnTo>
                    <a:pt x="444" y="2196"/>
                  </a:lnTo>
                  <a:lnTo>
                    <a:pt x="432" y="2232"/>
                  </a:lnTo>
                  <a:lnTo>
                    <a:pt x="408" y="2238"/>
                  </a:lnTo>
                  <a:lnTo>
                    <a:pt x="390" y="2256"/>
                  </a:lnTo>
                  <a:lnTo>
                    <a:pt x="372" y="2274"/>
                  </a:lnTo>
                  <a:lnTo>
                    <a:pt x="360" y="2274"/>
                  </a:lnTo>
                  <a:lnTo>
                    <a:pt x="336" y="2328"/>
                  </a:lnTo>
                  <a:lnTo>
                    <a:pt x="324" y="2340"/>
                  </a:lnTo>
                  <a:lnTo>
                    <a:pt x="300" y="2346"/>
                  </a:lnTo>
                  <a:lnTo>
                    <a:pt x="294" y="2352"/>
                  </a:lnTo>
                  <a:lnTo>
                    <a:pt x="288" y="2352"/>
                  </a:lnTo>
                  <a:lnTo>
                    <a:pt x="282" y="2352"/>
                  </a:lnTo>
                  <a:lnTo>
                    <a:pt x="276" y="2352"/>
                  </a:lnTo>
                  <a:lnTo>
                    <a:pt x="270" y="2352"/>
                  </a:lnTo>
                  <a:lnTo>
                    <a:pt x="270" y="2346"/>
                  </a:lnTo>
                  <a:lnTo>
                    <a:pt x="264" y="2346"/>
                  </a:lnTo>
                  <a:lnTo>
                    <a:pt x="258" y="2352"/>
                  </a:lnTo>
                  <a:lnTo>
                    <a:pt x="252" y="2352"/>
                  </a:lnTo>
                  <a:lnTo>
                    <a:pt x="240" y="2352"/>
                  </a:lnTo>
                  <a:lnTo>
                    <a:pt x="228" y="2352"/>
                  </a:lnTo>
                  <a:lnTo>
                    <a:pt x="222" y="2352"/>
                  </a:lnTo>
                  <a:lnTo>
                    <a:pt x="216" y="2358"/>
                  </a:lnTo>
                  <a:lnTo>
                    <a:pt x="216" y="2352"/>
                  </a:lnTo>
                  <a:lnTo>
                    <a:pt x="210" y="2346"/>
                  </a:lnTo>
                  <a:lnTo>
                    <a:pt x="204" y="2346"/>
                  </a:lnTo>
                  <a:lnTo>
                    <a:pt x="198" y="2340"/>
                  </a:lnTo>
                  <a:lnTo>
                    <a:pt x="192" y="2340"/>
                  </a:lnTo>
                  <a:lnTo>
                    <a:pt x="186" y="2340"/>
                  </a:lnTo>
                  <a:lnTo>
                    <a:pt x="180" y="2340"/>
                  </a:lnTo>
                  <a:lnTo>
                    <a:pt x="174" y="2340"/>
                  </a:lnTo>
                  <a:lnTo>
                    <a:pt x="162" y="2328"/>
                  </a:lnTo>
                  <a:lnTo>
                    <a:pt x="156" y="2322"/>
                  </a:lnTo>
                  <a:lnTo>
                    <a:pt x="156" y="2316"/>
                  </a:lnTo>
                  <a:lnTo>
                    <a:pt x="156" y="2310"/>
                  </a:lnTo>
                  <a:lnTo>
                    <a:pt x="132" y="2286"/>
                  </a:lnTo>
                  <a:lnTo>
                    <a:pt x="120" y="2280"/>
                  </a:lnTo>
                  <a:lnTo>
                    <a:pt x="96" y="2274"/>
                  </a:lnTo>
                  <a:lnTo>
                    <a:pt x="84" y="2268"/>
                  </a:lnTo>
                  <a:lnTo>
                    <a:pt x="78" y="2268"/>
                  </a:lnTo>
                  <a:lnTo>
                    <a:pt x="78" y="2262"/>
                  </a:lnTo>
                  <a:lnTo>
                    <a:pt x="78" y="2256"/>
                  </a:lnTo>
                  <a:lnTo>
                    <a:pt x="78" y="2250"/>
                  </a:lnTo>
                  <a:lnTo>
                    <a:pt x="72" y="2250"/>
                  </a:lnTo>
                  <a:lnTo>
                    <a:pt x="66" y="2250"/>
                  </a:lnTo>
                  <a:lnTo>
                    <a:pt x="60" y="2250"/>
                  </a:lnTo>
                  <a:lnTo>
                    <a:pt x="48" y="2244"/>
                  </a:lnTo>
                  <a:lnTo>
                    <a:pt x="36" y="2238"/>
                  </a:lnTo>
                  <a:lnTo>
                    <a:pt x="36" y="2226"/>
                  </a:lnTo>
                  <a:lnTo>
                    <a:pt x="30" y="2226"/>
                  </a:lnTo>
                  <a:lnTo>
                    <a:pt x="30" y="2220"/>
                  </a:lnTo>
                  <a:lnTo>
                    <a:pt x="24" y="2208"/>
                  </a:lnTo>
                  <a:lnTo>
                    <a:pt x="18" y="2202"/>
                  </a:lnTo>
                  <a:lnTo>
                    <a:pt x="18" y="2196"/>
                  </a:lnTo>
                  <a:lnTo>
                    <a:pt x="12" y="2190"/>
                  </a:lnTo>
                  <a:lnTo>
                    <a:pt x="0" y="2190"/>
                  </a:lnTo>
                  <a:lnTo>
                    <a:pt x="6" y="2184"/>
                  </a:lnTo>
                  <a:lnTo>
                    <a:pt x="12" y="2178"/>
                  </a:lnTo>
                  <a:lnTo>
                    <a:pt x="18" y="2172"/>
                  </a:lnTo>
                  <a:lnTo>
                    <a:pt x="24" y="2166"/>
                  </a:lnTo>
                  <a:lnTo>
                    <a:pt x="30" y="2166"/>
                  </a:lnTo>
                  <a:lnTo>
                    <a:pt x="24" y="2160"/>
                  </a:lnTo>
                  <a:lnTo>
                    <a:pt x="30" y="2160"/>
                  </a:lnTo>
                  <a:lnTo>
                    <a:pt x="36" y="2154"/>
                  </a:lnTo>
                  <a:lnTo>
                    <a:pt x="36" y="2136"/>
                  </a:lnTo>
                  <a:lnTo>
                    <a:pt x="36" y="2118"/>
                  </a:lnTo>
                  <a:lnTo>
                    <a:pt x="48" y="2058"/>
                  </a:lnTo>
                  <a:lnTo>
                    <a:pt x="48" y="2022"/>
                  </a:lnTo>
                  <a:lnTo>
                    <a:pt x="48" y="2016"/>
                  </a:lnTo>
                  <a:lnTo>
                    <a:pt x="48" y="2010"/>
                  </a:lnTo>
                  <a:lnTo>
                    <a:pt x="48" y="2004"/>
                  </a:lnTo>
                  <a:lnTo>
                    <a:pt x="42" y="2004"/>
                  </a:lnTo>
                  <a:lnTo>
                    <a:pt x="42" y="1998"/>
                  </a:lnTo>
                  <a:lnTo>
                    <a:pt x="36" y="1992"/>
                  </a:lnTo>
                  <a:lnTo>
                    <a:pt x="42" y="1992"/>
                  </a:lnTo>
                  <a:lnTo>
                    <a:pt x="42" y="1986"/>
                  </a:lnTo>
                  <a:lnTo>
                    <a:pt x="48" y="1986"/>
                  </a:lnTo>
                  <a:lnTo>
                    <a:pt x="54" y="1986"/>
                  </a:lnTo>
                  <a:lnTo>
                    <a:pt x="60" y="1986"/>
                  </a:lnTo>
                  <a:lnTo>
                    <a:pt x="66" y="1980"/>
                  </a:lnTo>
                  <a:lnTo>
                    <a:pt x="72" y="1974"/>
                  </a:lnTo>
                  <a:lnTo>
                    <a:pt x="78" y="1974"/>
                  </a:lnTo>
                  <a:lnTo>
                    <a:pt x="84" y="1974"/>
                  </a:lnTo>
                  <a:lnTo>
                    <a:pt x="90" y="1974"/>
                  </a:lnTo>
                  <a:lnTo>
                    <a:pt x="96" y="1974"/>
                  </a:lnTo>
                  <a:lnTo>
                    <a:pt x="96" y="1968"/>
                  </a:lnTo>
                  <a:lnTo>
                    <a:pt x="102" y="1968"/>
                  </a:lnTo>
                  <a:lnTo>
                    <a:pt x="102" y="1962"/>
                  </a:lnTo>
                  <a:lnTo>
                    <a:pt x="108" y="1962"/>
                  </a:lnTo>
                  <a:lnTo>
                    <a:pt x="114" y="1956"/>
                  </a:lnTo>
                  <a:lnTo>
                    <a:pt x="120" y="1956"/>
                  </a:lnTo>
                  <a:lnTo>
                    <a:pt x="126" y="1950"/>
                  </a:lnTo>
                  <a:lnTo>
                    <a:pt x="132" y="1950"/>
                  </a:lnTo>
                  <a:lnTo>
                    <a:pt x="132" y="1944"/>
                  </a:lnTo>
                  <a:lnTo>
                    <a:pt x="126" y="1944"/>
                  </a:lnTo>
                  <a:lnTo>
                    <a:pt x="126" y="1938"/>
                  </a:lnTo>
                  <a:lnTo>
                    <a:pt x="126" y="1932"/>
                  </a:lnTo>
                  <a:lnTo>
                    <a:pt x="126" y="1926"/>
                  </a:lnTo>
                  <a:lnTo>
                    <a:pt x="114" y="1914"/>
                  </a:lnTo>
                  <a:lnTo>
                    <a:pt x="114" y="1896"/>
                  </a:lnTo>
                  <a:lnTo>
                    <a:pt x="108" y="1884"/>
                  </a:lnTo>
                  <a:lnTo>
                    <a:pt x="102" y="1872"/>
                  </a:lnTo>
                  <a:lnTo>
                    <a:pt x="96" y="1866"/>
                  </a:lnTo>
                  <a:lnTo>
                    <a:pt x="96" y="1860"/>
                  </a:lnTo>
                  <a:lnTo>
                    <a:pt x="90" y="1860"/>
                  </a:lnTo>
                  <a:lnTo>
                    <a:pt x="90" y="1854"/>
                  </a:lnTo>
                  <a:lnTo>
                    <a:pt x="84" y="1848"/>
                  </a:lnTo>
                  <a:lnTo>
                    <a:pt x="78" y="1842"/>
                  </a:lnTo>
                  <a:lnTo>
                    <a:pt x="72" y="1836"/>
                  </a:lnTo>
                  <a:lnTo>
                    <a:pt x="66" y="1830"/>
                  </a:lnTo>
                  <a:lnTo>
                    <a:pt x="60" y="1824"/>
                  </a:lnTo>
                  <a:lnTo>
                    <a:pt x="54" y="1824"/>
                  </a:lnTo>
                  <a:lnTo>
                    <a:pt x="48" y="1824"/>
                  </a:lnTo>
                  <a:lnTo>
                    <a:pt x="42" y="1818"/>
                  </a:lnTo>
                  <a:lnTo>
                    <a:pt x="54" y="1818"/>
                  </a:lnTo>
                  <a:lnTo>
                    <a:pt x="60" y="1812"/>
                  </a:lnTo>
                  <a:lnTo>
                    <a:pt x="66" y="1812"/>
                  </a:lnTo>
                  <a:lnTo>
                    <a:pt x="72" y="1812"/>
                  </a:lnTo>
                  <a:lnTo>
                    <a:pt x="78" y="1812"/>
                  </a:lnTo>
                  <a:lnTo>
                    <a:pt x="84" y="1812"/>
                  </a:lnTo>
                  <a:lnTo>
                    <a:pt x="90" y="1806"/>
                  </a:lnTo>
                  <a:lnTo>
                    <a:pt x="96" y="1800"/>
                  </a:lnTo>
                  <a:lnTo>
                    <a:pt x="102" y="1806"/>
                  </a:lnTo>
                  <a:lnTo>
                    <a:pt x="108" y="1800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14" y="1794"/>
                  </a:lnTo>
                  <a:lnTo>
                    <a:pt x="120" y="1794"/>
                  </a:lnTo>
                  <a:lnTo>
                    <a:pt x="126" y="1788"/>
                  </a:lnTo>
                  <a:lnTo>
                    <a:pt x="126" y="1794"/>
                  </a:lnTo>
                  <a:lnTo>
                    <a:pt x="132" y="1794"/>
                  </a:lnTo>
                  <a:lnTo>
                    <a:pt x="132" y="1788"/>
                  </a:lnTo>
                  <a:lnTo>
                    <a:pt x="138" y="1788"/>
                  </a:lnTo>
                  <a:lnTo>
                    <a:pt x="138" y="1782"/>
                  </a:lnTo>
                  <a:lnTo>
                    <a:pt x="144" y="1782"/>
                  </a:lnTo>
                  <a:lnTo>
                    <a:pt x="150" y="1776"/>
                  </a:lnTo>
                  <a:lnTo>
                    <a:pt x="156" y="1782"/>
                  </a:lnTo>
                  <a:lnTo>
                    <a:pt x="162" y="1776"/>
                  </a:lnTo>
                  <a:lnTo>
                    <a:pt x="168" y="1776"/>
                  </a:lnTo>
                  <a:lnTo>
                    <a:pt x="180" y="1776"/>
                  </a:lnTo>
                  <a:lnTo>
                    <a:pt x="186" y="1776"/>
                  </a:lnTo>
                  <a:lnTo>
                    <a:pt x="186" y="1782"/>
                  </a:lnTo>
                  <a:lnTo>
                    <a:pt x="192" y="1776"/>
                  </a:lnTo>
                  <a:lnTo>
                    <a:pt x="198" y="1776"/>
                  </a:lnTo>
                  <a:lnTo>
                    <a:pt x="204" y="1770"/>
                  </a:lnTo>
                  <a:lnTo>
                    <a:pt x="204" y="1764"/>
                  </a:lnTo>
                  <a:lnTo>
                    <a:pt x="210" y="1764"/>
                  </a:lnTo>
                  <a:lnTo>
                    <a:pt x="216" y="1764"/>
                  </a:lnTo>
                  <a:lnTo>
                    <a:pt x="216" y="1758"/>
                  </a:lnTo>
                  <a:lnTo>
                    <a:pt x="222" y="1758"/>
                  </a:lnTo>
                  <a:lnTo>
                    <a:pt x="228" y="1758"/>
                  </a:lnTo>
                  <a:lnTo>
                    <a:pt x="258" y="1746"/>
                  </a:lnTo>
                  <a:lnTo>
                    <a:pt x="282" y="1716"/>
                  </a:lnTo>
                  <a:lnTo>
                    <a:pt x="300" y="1698"/>
                  </a:lnTo>
                  <a:lnTo>
                    <a:pt x="312" y="1698"/>
                  </a:lnTo>
                  <a:lnTo>
                    <a:pt x="336" y="1698"/>
                  </a:lnTo>
                  <a:lnTo>
                    <a:pt x="360" y="1698"/>
                  </a:lnTo>
                  <a:lnTo>
                    <a:pt x="372" y="1692"/>
                  </a:lnTo>
                  <a:lnTo>
                    <a:pt x="384" y="1692"/>
                  </a:lnTo>
                  <a:lnTo>
                    <a:pt x="360" y="1668"/>
                  </a:lnTo>
                  <a:lnTo>
                    <a:pt x="348" y="1626"/>
                  </a:lnTo>
                  <a:lnTo>
                    <a:pt x="354" y="1578"/>
                  </a:lnTo>
                  <a:lnTo>
                    <a:pt x="354" y="1572"/>
                  </a:lnTo>
                  <a:lnTo>
                    <a:pt x="360" y="1572"/>
                  </a:lnTo>
                  <a:lnTo>
                    <a:pt x="396" y="1530"/>
                  </a:lnTo>
                  <a:lnTo>
                    <a:pt x="408" y="1482"/>
                  </a:lnTo>
                  <a:lnTo>
                    <a:pt x="438" y="1458"/>
                  </a:lnTo>
                  <a:lnTo>
                    <a:pt x="468" y="1422"/>
                  </a:lnTo>
                  <a:lnTo>
                    <a:pt x="480" y="1410"/>
                  </a:lnTo>
                  <a:lnTo>
                    <a:pt x="474" y="1386"/>
                  </a:lnTo>
                  <a:lnTo>
                    <a:pt x="456" y="1356"/>
                  </a:lnTo>
                  <a:lnTo>
                    <a:pt x="438" y="1350"/>
                  </a:lnTo>
                  <a:lnTo>
                    <a:pt x="420" y="1350"/>
                  </a:lnTo>
                  <a:lnTo>
                    <a:pt x="402" y="1350"/>
                  </a:lnTo>
                  <a:lnTo>
                    <a:pt x="390" y="1344"/>
                  </a:lnTo>
                  <a:lnTo>
                    <a:pt x="390" y="1332"/>
                  </a:lnTo>
                  <a:lnTo>
                    <a:pt x="402" y="1296"/>
                  </a:lnTo>
                  <a:lnTo>
                    <a:pt x="414" y="1260"/>
                  </a:lnTo>
                  <a:lnTo>
                    <a:pt x="426" y="1248"/>
                  </a:lnTo>
                  <a:lnTo>
                    <a:pt x="438" y="1242"/>
                  </a:lnTo>
                  <a:lnTo>
                    <a:pt x="432" y="1230"/>
                  </a:lnTo>
                  <a:lnTo>
                    <a:pt x="432" y="1224"/>
                  </a:lnTo>
                  <a:lnTo>
                    <a:pt x="426" y="1218"/>
                  </a:lnTo>
                  <a:lnTo>
                    <a:pt x="426" y="1206"/>
                  </a:lnTo>
                  <a:lnTo>
                    <a:pt x="426" y="1200"/>
                  </a:lnTo>
                  <a:lnTo>
                    <a:pt x="432" y="1194"/>
                  </a:lnTo>
                  <a:lnTo>
                    <a:pt x="426" y="1188"/>
                  </a:lnTo>
                  <a:lnTo>
                    <a:pt x="432" y="1104"/>
                  </a:lnTo>
                  <a:lnTo>
                    <a:pt x="438" y="1086"/>
                  </a:lnTo>
                  <a:lnTo>
                    <a:pt x="462" y="972"/>
                  </a:lnTo>
                  <a:lnTo>
                    <a:pt x="456" y="900"/>
                  </a:lnTo>
                  <a:lnTo>
                    <a:pt x="444" y="846"/>
                  </a:lnTo>
                  <a:lnTo>
                    <a:pt x="456" y="810"/>
                  </a:lnTo>
                  <a:lnTo>
                    <a:pt x="492" y="786"/>
                  </a:lnTo>
                  <a:lnTo>
                    <a:pt x="522" y="762"/>
                  </a:lnTo>
                  <a:lnTo>
                    <a:pt x="546" y="732"/>
                  </a:lnTo>
                  <a:lnTo>
                    <a:pt x="570" y="696"/>
                  </a:lnTo>
                  <a:lnTo>
                    <a:pt x="582" y="654"/>
                  </a:lnTo>
                  <a:lnTo>
                    <a:pt x="564" y="642"/>
                  </a:lnTo>
                  <a:lnTo>
                    <a:pt x="522" y="588"/>
                  </a:lnTo>
                  <a:lnTo>
                    <a:pt x="516" y="546"/>
                  </a:lnTo>
                  <a:lnTo>
                    <a:pt x="510" y="474"/>
                  </a:lnTo>
                  <a:lnTo>
                    <a:pt x="510" y="450"/>
                  </a:lnTo>
                  <a:lnTo>
                    <a:pt x="510" y="444"/>
                  </a:lnTo>
                  <a:lnTo>
                    <a:pt x="522" y="438"/>
                  </a:lnTo>
                  <a:lnTo>
                    <a:pt x="522" y="432"/>
                  </a:lnTo>
                  <a:lnTo>
                    <a:pt x="528" y="426"/>
                  </a:lnTo>
                  <a:lnTo>
                    <a:pt x="534" y="420"/>
                  </a:lnTo>
                  <a:lnTo>
                    <a:pt x="540" y="414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08"/>
                  </a:lnTo>
                  <a:lnTo>
                    <a:pt x="546" y="408"/>
                  </a:lnTo>
                  <a:lnTo>
                    <a:pt x="558" y="414"/>
                  </a:lnTo>
                  <a:lnTo>
                    <a:pt x="564" y="414"/>
                  </a:lnTo>
                  <a:lnTo>
                    <a:pt x="570" y="414"/>
                  </a:lnTo>
                  <a:lnTo>
                    <a:pt x="582" y="414"/>
                  </a:lnTo>
                  <a:lnTo>
                    <a:pt x="582" y="420"/>
                  </a:lnTo>
                  <a:lnTo>
                    <a:pt x="588" y="414"/>
                  </a:lnTo>
                  <a:lnTo>
                    <a:pt x="582" y="408"/>
                  </a:lnTo>
                  <a:lnTo>
                    <a:pt x="588" y="402"/>
                  </a:lnTo>
                  <a:lnTo>
                    <a:pt x="594" y="402"/>
                  </a:lnTo>
                  <a:lnTo>
                    <a:pt x="594" y="396"/>
                  </a:lnTo>
                  <a:lnTo>
                    <a:pt x="594" y="390"/>
                  </a:lnTo>
                  <a:lnTo>
                    <a:pt x="594" y="384"/>
                  </a:lnTo>
                  <a:lnTo>
                    <a:pt x="594" y="378"/>
                  </a:lnTo>
                  <a:lnTo>
                    <a:pt x="600" y="366"/>
                  </a:lnTo>
                  <a:lnTo>
                    <a:pt x="606" y="366"/>
                  </a:lnTo>
                  <a:lnTo>
                    <a:pt x="612" y="360"/>
                  </a:lnTo>
                  <a:lnTo>
                    <a:pt x="612" y="366"/>
                  </a:lnTo>
                  <a:lnTo>
                    <a:pt x="618" y="366"/>
                  </a:lnTo>
                  <a:lnTo>
                    <a:pt x="624" y="366"/>
                  </a:lnTo>
                  <a:lnTo>
                    <a:pt x="630" y="360"/>
                  </a:lnTo>
                  <a:lnTo>
                    <a:pt x="636" y="354"/>
                  </a:lnTo>
                  <a:lnTo>
                    <a:pt x="630" y="354"/>
                  </a:lnTo>
                  <a:lnTo>
                    <a:pt x="630" y="348"/>
                  </a:lnTo>
                  <a:lnTo>
                    <a:pt x="630" y="342"/>
                  </a:lnTo>
                  <a:lnTo>
                    <a:pt x="636" y="342"/>
                  </a:lnTo>
                  <a:lnTo>
                    <a:pt x="642" y="336"/>
                  </a:lnTo>
                  <a:lnTo>
                    <a:pt x="636" y="330"/>
                  </a:lnTo>
                  <a:lnTo>
                    <a:pt x="630" y="336"/>
                  </a:lnTo>
                  <a:lnTo>
                    <a:pt x="624" y="336"/>
                  </a:lnTo>
                  <a:lnTo>
                    <a:pt x="624" y="330"/>
                  </a:lnTo>
                  <a:lnTo>
                    <a:pt x="624" y="324"/>
                  </a:lnTo>
                  <a:lnTo>
                    <a:pt x="618" y="324"/>
                  </a:lnTo>
                  <a:lnTo>
                    <a:pt x="624" y="324"/>
                  </a:lnTo>
                  <a:lnTo>
                    <a:pt x="630" y="330"/>
                  </a:lnTo>
                  <a:lnTo>
                    <a:pt x="630" y="318"/>
                  </a:lnTo>
                  <a:lnTo>
                    <a:pt x="636" y="318"/>
                  </a:lnTo>
                  <a:lnTo>
                    <a:pt x="642" y="312"/>
                  </a:lnTo>
                  <a:lnTo>
                    <a:pt x="642" y="306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8" y="288"/>
                  </a:lnTo>
                  <a:lnTo>
                    <a:pt x="648" y="282"/>
                  </a:lnTo>
                  <a:lnTo>
                    <a:pt x="654" y="288"/>
                  </a:lnTo>
                  <a:lnTo>
                    <a:pt x="654" y="282"/>
                  </a:lnTo>
                  <a:lnTo>
                    <a:pt x="660" y="282"/>
                  </a:lnTo>
                  <a:lnTo>
                    <a:pt x="666" y="282"/>
                  </a:lnTo>
                  <a:lnTo>
                    <a:pt x="672" y="282"/>
                  </a:lnTo>
                  <a:lnTo>
                    <a:pt x="678" y="282"/>
                  </a:lnTo>
                  <a:lnTo>
                    <a:pt x="684" y="276"/>
                  </a:lnTo>
                  <a:lnTo>
                    <a:pt x="690" y="270"/>
                  </a:lnTo>
                  <a:lnTo>
                    <a:pt x="690" y="264"/>
                  </a:lnTo>
                  <a:lnTo>
                    <a:pt x="690" y="270"/>
                  </a:lnTo>
                  <a:lnTo>
                    <a:pt x="690" y="276"/>
                  </a:lnTo>
                  <a:lnTo>
                    <a:pt x="696" y="276"/>
                  </a:lnTo>
                  <a:lnTo>
                    <a:pt x="702" y="276"/>
                  </a:lnTo>
                  <a:lnTo>
                    <a:pt x="702" y="282"/>
                  </a:lnTo>
                  <a:lnTo>
                    <a:pt x="708" y="282"/>
                  </a:lnTo>
                  <a:lnTo>
                    <a:pt x="720" y="270"/>
                  </a:lnTo>
                  <a:lnTo>
                    <a:pt x="720" y="264"/>
                  </a:lnTo>
                  <a:lnTo>
                    <a:pt x="720" y="258"/>
                  </a:lnTo>
                  <a:lnTo>
                    <a:pt x="726" y="258"/>
                  </a:lnTo>
                  <a:lnTo>
                    <a:pt x="732" y="258"/>
                  </a:lnTo>
                  <a:lnTo>
                    <a:pt x="732" y="264"/>
                  </a:lnTo>
                  <a:lnTo>
                    <a:pt x="738" y="264"/>
                  </a:lnTo>
                  <a:lnTo>
                    <a:pt x="738" y="258"/>
                  </a:lnTo>
                  <a:lnTo>
                    <a:pt x="732" y="258"/>
                  </a:lnTo>
                  <a:lnTo>
                    <a:pt x="732" y="252"/>
                  </a:lnTo>
                  <a:lnTo>
                    <a:pt x="744" y="252"/>
                  </a:lnTo>
                  <a:lnTo>
                    <a:pt x="750" y="252"/>
                  </a:lnTo>
                  <a:lnTo>
                    <a:pt x="750" y="246"/>
                  </a:lnTo>
                  <a:lnTo>
                    <a:pt x="750" y="240"/>
                  </a:lnTo>
                  <a:lnTo>
                    <a:pt x="762" y="234"/>
                  </a:lnTo>
                  <a:lnTo>
                    <a:pt x="768" y="234"/>
                  </a:lnTo>
                  <a:lnTo>
                    <a:pt x="774" y="234"/>
                  </a:lnTo>
                  <a:lnTo>
                    <a:pt x="780" y="228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16"/>
                  </a:lnTo>
                  <a:lnTo>
                    <a:pt x="792" y="210"/>
                  </a:lnTo>
                  <a:lnTo>
                    <a:pt x="804" y="204"/>
                  </a:lnTo>
                  <a:lnTo>
                    <a:pt x="804" y="198"/>
                  </a:lnTo>
                  <a:lnTo>
                    <a:pt x="804" y="204"/>
                  </a:lnTo>
                  <a:lnTo>
                    <a:pt x="810" y="204"/>
                  </a:lnTo>
                  <a:lnTo>
                    <a:pt x="810" y="198"/>
                  </a:lnTo>
                  <a:lnTo>
                    <a:pt x="810" y="192"/>
                  </a:lnTo>
                  <a:lnTo>
                    <a:pt x="798" y="186"/>
                  </a:lnTo>
                  <a:lnTo>
                    <a:pt x="810" y="186"/>
                  </a:lnTo>
                  <a:lnTo>
                    <a:pt x="810" y="180"/>
                  </a:lnTo>
                  <a:lnTo>
                    <a:pt x="810" y="186"/>
                  </a:lnTo>
                  <a:lnTo>
                    <a:pt x="816" y="186"/>
                  </a:lnTo>
                  <a:lnTo>
                    <a:pt x="816" y="180"/>
                  </a:lnTo>
                  <a:lnTo>
                    <a:pt x="810" y="180"/>
                  </a:lnTo>
                  <a:lnTo>
                    <a:pt x="816" y="174"/>
                  </a:lnTo>
                  <a:lnTo>
                    <a:pt x="822" y="174"/>
                  </a:lnTo>
                  <a:lnTo>
                    <a:pt x="822" y="180"/>
                  </a:lnTo>
                  <a:lnTo>
                    <a:pt x="828" y="180"/>
                  </a:lnTo>
                  <a:lnTo>
                    <a:pt x="828" y="174"/>
                  </a:lnTo>
                  <a:lnTo>
                    <a:pt x="822" y="168"/>
                  </a:lnTo>
                  <a:lnTo>
                    <a:pt x="828" y="168"/>
                  </a:lnTo>
                  <a:lnTo>
                    <a:pt x="828" y="162"/>
                  </a:lnTo>
                  <a:lnTo>
                    <a:pt x="828" y="156"/>
                  </a:lnTo>
                  <a:lnTo>
                    <a:pt x="822" y="156"/>
                  </a:lnTo>
                  <a:lnTo>
                    <a:pt x="828" y="156"/>
                  </a:lnTo>
                  <a:lnTo>
                    <a:pt x="828" y="150"/>
                  </a:lnTo>
                  <a:lnTo>
                    <a:pt x="834" y="150"/>
                  </a:lnTo>
                  <a:lnTo>
                    <a:pt x="840" y="156"/>
                  </a:lnTo>
                  <a:lnTo>
                    <a:pt x="840" y="150"/>
                  </a:lnTo>
                  <a:lnTo>
                    <a:pt x="834" y="150"/>
                  </a:lnTo>
                  <a:lnTo>
                    <a:pt x="834" y="144"/>
                  </a:lnTo>
                  <a:lnTo>
                    <a:pt x="840" y="138"/>
                  </a:lnTo>
                  <a:lnTo>
                    <a:pt x="846" y="144"/>
                  </a:lnTo>
                  <a:lnTo>
                    <a:pt x="846" y="150"/>
                  </a:lnTo>
                  <a:lnTo>
                    <a:pt x="852" y="150"/>
                  </a:lnTo>
                  <a:lnTo>
                    <a:pt x="858" y="150"/>
                  </a:lnTo>
                  <a:lnTo>
                    <a:pt x="870" y="150"/>
                  </a:lnTo>
                  <a:lnTo>
                    <a:pt x="870" y="144"/>
                  </a:lnTo>
                  <a:lnTo>
                    <a:pt x="876" y="138"/>
                  </a:lnTo>
                  <a:lnTo>
                    <a:pt x="882" y="138"/>
                  </a:lnTo>
                  <a:lnTo>
                    <a:pt x="888" y="132"/>
                  </a:lnTo>
                  <a:lnTo>
                    <a:pt x="888" y="138"/>
                  </a:lnTo>
                  <a:lnTo>
                    <a:pt x="894" y="138"/>
                  </a:lnTo>
                  <a:lnTo>
                    <a:pt x="894" y="132"/>
                  </a:lnTo>
                  <a:lnTo>
                    <a:pt x="900" y="126"/>
                  </a:lnTo>
                  <a:lnTo>
                    <a:pt x="900" y="132"/>
                  </a:lnTo>
                  <a:lnTo>
                    <a:pt x="906" y="132"/>
                  </a:lnTo>
                  <a:lnTo>
                    <a:pt x="912" y="132"/>
                  </a:lnTo>
                  <a:lnTo>
                    <a:pt x="918" y="126"/>
                  </a:lnTo>
                  <a:lnTo>
                    <a:pt x="918" y="132"/>
                  </a:lnTo>
                  <a:lnTo>
                    <a:pt x="924" y="132"/>
                  </a:lnTo>
                  <a:lnTo>
                    <a:pt x="924" y="126"/>
                  </a:lnTo>
                  <a:lnTo>
                    <a:pt x="936" y="120"/>
                  </a:lnTo>
                  <a:lnTo>
                    <a:pt x="942" y="120"/>
                  </a:lnTo>
                  <a:lnTo>
                    <a:pt x="948" y="120"/>
                  </a:lnTo>
                  <a:lnTo>
                    <a:pt x="948" y="114"/>
                  </a:lnTo>
                  <a:lnTo>
                    <a:pt x="948" y="108"/>
                  </a:lnTo>
                  <a:lnTo>
                    <a:pt x="954" y="114"/>
                  </a:lnTo>
                  <a:lnTo>
                    <a:pt x="960" y="108"/>
                  </a:lnTo>
                  <a:lnTo>
                    <a:pt x="966" y="108"/>
                  </a:lnTo>
                  <a:lnTo>
                    <a:pt x="972" y="108"/>
                  </a:lnTo>
                  <a:lnTo>
                    <a:pt x="966" y="114"/>
                  </a:lnTo>
                  <a:lnTo>
                    <a:pt x="960" y="114"/>
                  </a:lnTo>
                  <a:lnTo>
                    <a:pt x="960" y="120"/>
                  </a:lnTo>
                  <a:lnTo>
                    <a:pt x="966" y="126"/>
                  </a:lnTo>
                  <a:lnTo>
                    <a:pt x="972" y="126"/>
                  </a:lnTo>
                  <a:lnTo>
                    <a:pt x="978" y="126"/>
                  </a:lnTo>
                  <a:lnTo>
                    <a:pt x="984" y="120"/>
                  </a:lnTo>
                  <a:lnTo>
                    <a:pt x="984" y="114"/>
                  </a:lnTo>
                  <a:lnTo>
                    <a:pt x="996" y="126"/>
                  </a:lnTo>
                  <a:lnTo>
                    <a:pt x="996" y="120"/>
                  </a:lnTo>
                  <a:lnTo>
                    <a:pt x="1002" y="120"/>
                  </a:lnTo>
                  <a:lnTo>
                    <a:pt x="996" y="114"/>
                  </a:lnTo>
                  <a:lnTo>
                    <a:pt x="1002" y="114"/>
                  </a:lnTo>
                  <a:lnTo>
                    <a:pt x="1008" y="114"/>
                  </a:lnTo>
                  <a:lnTo>
                    <a:pt x="1008" y="108"/>
                  </a:lnTo>
                  <a:lnTo>
                    <a:pt x="1014" y="108"/>
                  </a:lnTo>
                  <a:lnTo>
                    <a:pt x="1008" y="114"/>
                  </a:lnTo>
                  <a:lnTo>
                    <a:pt x="1008" y="120"/>
                  </a:lnTo>
                  <a:lnTo>
                    <a:pt x="1008" y="126"/>
                  </a:lnTo>
                  <a:lnTo>
                    <a:pt x="1014" y="126"/>
                  </a:lnTo>
                  <a:lnTo>
                    <a:pt x="1014" y="132"/>
                  </a:lnTo>
                  <a:lnTo>
                    <a:pt x="1020" y="132"/>
                  </a:lnTo>
                  <a:lnTo>
                    <a:pt x="1020" y="126"/>
                  </a:lnTo>
                  <a:lnTo>
                    <a:pt x="1020" y="120"/>
                  </a:lnTo>
                  <a:lnTo>
                    <a:pt x="1032" y="120"/>
                  </a:lnTo>
                  <a:lnTo>
                    <a:pt x="1038" y="120"/>
                  </a:lnTo>
                  <a:lnTo>
                    <a:pt x="1038" y="126"/>
                  </a:lnTo>
                  <a:lnTo>
                    <a:pt x="1044" y="132"/>
                  </a:lnTo>
                  <a:lnTo>
                    <a:pt x="1044" y="126"/>
                  </a:lnTo>
                  <a:lnTo>
                    <a:pt x="1050" y="120"/>
                  </a:lnTo>
                  <a:lnTo>
                    <a:pt x="1050" y="114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56" y="108"/>
                  </a:lnTo>
                  <a:lnTo>
                    <a:pt x="1056" y="102"/>
                  </a:lnTo>
                  <a:lnTo>
                    <a:pt x="1068" y="102"/>
                  </a:lnTo>
                  <a:lnTo>
                    <a:pt x="1074" y="96"/>
                  </a:lnTo>
                  <a:lnTo>
                    <a:pt x="1074" y="90"/>
                  </a:lnTo>
                  <a:lnTo>
                    <a:pt x="1068" y="90"/>
                  </a:lnTo>
                  <a:lnTo>
                    <a:pt x="1068" y="84"/>
                  </a:lnTo>
                  <a:lnTo>
                    <a:pt x="1080" y="84"/>
                  </a:lnTo>
                  <a:lnTo>
                    <a:pt x="1086" y="78"/>
                  </a:lnTo>
                  <a:lnTo>
                    <a:pt x="1086" y="72"/>
                  </a:lnTo>
                  <a:lnTo>
                    <a:pt x="1080" y="78"/>
                  </a:lnTo>
                  <a:lnTo>
                    <a:pt x="1080" y="72"/>
                  </a:lnTo>
                  <a:lnTo>
                    <a:pt x="1080" y="66"/>
                  </a:lnTo>
                  <a:lnTo>
                    <a:pt x="1074" y="66"/>
                  </a:lnTo>
                  <a:lnTo>
                    <a:pt x="1080" y="66"/>
                  </a:lnTo>
                  <a:lnTo>
                    <a:pt x="1080" y="60"/>
                  </a:lnTo>
                  <a:lnTo>
                    <a:pt x="1086" y="60"/>
                  </a:lnTo>
                  <a:lnTo>
                    <a:pt x="1086" y="54"/>
                  </a:lnTo>
                  <a:lnTo>
                    <a:pt x="1092" y="54"/>
                  </a:lnTo>
                  <a:lnTo>
                    <a:pt x="1092" y="48"/>
                  </a:lnTo>
                  <a:lnTo>
                    <a:pt x="1092" y="42"/>
                  </a:lnTo>
                  <a:lnTo>
                    <a:pt x="1098" y="42"/>
                  </a:lnTo>
                  <a:lnTo>
                    <a:pt x="1104" y="36"/>
                  </a:lnTo>
                  <a:lnTo>
                    <a:pt x="1110" y="36"/>
                  </a:lnTo>
                  <a:lnTo>
                    <a:pt x="1110" y="30"/>
                  </a:lnTo>
                  <a:lnTo>
                    <a:pt x="1110" y="24"/>
                  </a:lnTo>
                  <a:lnTo>
                    <a:pt x="1116" y="24"/>
                  </a:lnTo>
                  <a:lnTo>
                    <a:pt x="1116" y="18"/>
                  </a:lnTo>
                  <a:lnTo>
                    <a:pt x="1122" y="18"/>
                  </a:lnTo>
                  <a:lnTo>
                    <a:pt x="1128" y="18"/>
                  </a:lnTo>
                  <a:lnTo>
                    <a:pt x="1134" y="12"/>
                  </a:lnTo>
                  <a:lnTo>
                    <a:pt x="1134" y="6"/>
                  </a:lnTo>
                  <a:lnTo>
                    <a:pt x="1140" y="6"/>
                  </a:lnTo>
                  <a:lnTo>
                    <a:pt x="1146" y="0"/>
                  </a:lnTo>
                  <a:lnTo>
                    <a:pt x="1152" y="0"/>
                  </a:lnTo>
                  <a:lnTo>
                    <a:pt x="1158" y="0"/>
                  </a:lnTo>
                  <a:lnTo>
                    <a:pt x="1158" y="6"/>
                  </a:lnTo>
                  <a:lnTo>
                    <a:pt x="1170" y="0"/>
                  </a:lnTo>
                  <a:lnTo>
                    <a:pt x="1176" y="6"/>
                  </a:lnTo>
                  <a:lnTo>
                    <a:pt x="1182" y="6"/>
                  </a:lnTo>
                  <a:lnTo>
                    <a:pt x="1194" y="6"/>
                  </a:lnTo>
                  <a:lnTo>
                    <a:pt x="1200" y="6"/>
                  </a:lnTo>
                  <a:lnTo>
                    <a:pt x="1212" y="0"/>
                  </a:lnTo>
                  <a:lnTo>
                    <a:pt x="1212" y="6"/>
                  </a:lnTo>
                  <a:lnTo>
                    <a:pt x="1218" y="6"/>
                  </a:lnTo>
                  <a:lnTo>
                    <a:pt x="1266" y="6"/>
                  </a:lnTo>
                  <a:lnTo>
                    <a:pt x="1272" y="0"/>
                  </a:lnTo>
                  <a:lnTo>
                    <a:pt x="1278" y="6"/>
                  </a:lnTo>
                  <a:lnTo>
                    <a:pt x="1290" y="6"/>
                  </a:lnTo>
                  <a:lnTo>
                    <a:pt x="1296" y="6"/>
                  </a:lnTo>
                  <a:lnTo>
                    <a:pt x="1308" y="6"/>
                  </a:lnTo>
                  <a:lnTo>
                    <a:pt x="1314" y="6"/>
                  </a:lnTo>
                  <a:lnTo>
                    <a:pt x="1320" y="6"/>
                  </a:lnTo>
                  <a:lnTo>
                    <a:pt x="1326" y="12"/>
                  </a:lnTo>
                  <a:lnTo>
                    <a:pt x="1338" y="30"/>
                  </a:lnTo>
                  <a:lnTo>
                    <a:pt x="1344" y="36"/>
                  </a:lnTo>
                  <a:lnTo>
                    <a:pt x="1356" y="48"/>
                  </a:lnTo>
                  <a:lnTo>
                    <a:pt x="1362" y="60"/>
                  </a:lnTo>
                  <a:lnTo>
                    <a:pt x="1368" y="66"/>
                  </a:lnTo>
                  <a:lnTo>
                    <a:pt x="1374" y="72"/>
                  </a:lnTo>
                  <a:lnTo>
                    <a:pt x="1374" y="78"/>
                  </a:lnTo>
                  <a:lnTo>
                    <a:pt x="1398" y="108"/>
                  </a:lnTo>
                  <a:lnTo>
                    <a:pt x="1398" y="114"/>
                  </a:lnTo>
                  <a:lnTo>
                    <a:pt x="1404" y="114"/>
                  </a:lnTo>
                  <a:lnTo>
                    <a:pt x="1404" y="120"/>
                  </a:lnTo>
                  <a:lnTo>
                    <a:pt x="1410" y="132"/>
                  </a:lnTo>
                  <a:lnTo>
                    <a:pt x="1416" y="132"/>
                  </a:lnTo>
                  <a:lnTo>
                    <a:pt x="1416" y="138"/>
                  </a:lnTo>
                  <a:lnTo>
                    <a:pt x="1422" y="144"/>
                  </a:lnTo>
                  <a:lnTo>
                    <a:pt x="1428" y="150"/>
                  </a:lnTo>
                  <a:lnTo>
                    <a:pt x="1428" y="156"/>
                  </a:lnTo>
                  <a:lnTo>
                    <a:pt x="1458" y="192"/>
                  </a:lnTo>
                  <a:lnTo>
                    <a:pt x="1458" y="198"/>
                  </a:lnTo>
                  <a:lnTo>
                    <a:pt x="1464" y="204"/>
                  </a:lnTo>
                  <a:lnTo>
                    <a:pt x="1470" y="210"/>
                  </a:lnTo>
                  <a:lnTo>
                    <a:pt x="1476" y="216"/>
                  </a:lnTo>
                  <a:lnTo>
                    <a:pt x="1482" y="228"/>
                  </a:lnTo>
                  <a:lnTo>
                    <a:pt x="1488" y="234"/>
                  </a:lnTo>
                  <a:lnTo>
                    <a:pt x="1512" y="270"/>
                  </a:lnTo>
                  <a:lnTo>
                    <a:pt x="1512" y="276"/>
                  </a:lnTo>
                  <a:lnTo>
                    <a:pt x="1530" y="300"/>
                  </a:lnTo>
                  <a:lnTo>
                    <a:pt x="1536" y="306"/>
                  </a:lnTo>
                  <a:lnTo>
                    <a:pt x="1542" y="312"/>
                  </a:lnTo>
                  <a:lnTo>
                    <a:pt x="1542" y="318"/>
                  </a:lnTo>
                  <a:lnTo>
                    <a:pt x="1560" y="336"/>
                  </a:lnTo>
                  <a:lnTo>
                    <a:pt x="1566" y="348"/>
                  </a:lnTo>
                  <a:lnTo>
                    <a:pt x="1572" y="354"/>
                  </a:lnTo>
                  <a:lnTo>
                    <a:pt x="1578" y="360"/>
                  </a:lnTo>
                  <a:lnTo>
                    <a:pt x="1584" y="378"/>
                  </a:lnTo>
                  <a:lnTo>
                    <a:pt x="1590" y="378"/>
                  </a:lnTo>
                  <a:lnTo>
                    <a:pt x="1596" y="390"/>
                  </a:lnTo>
                  <a:lnTo>
                    <a:pt x="1602" y="396"/>
                  </a:lnTo>
                  <a:lnTo>
                    <a:pt x="1608" y="408"/>
                  </a:lnTo>
                  <a:lnTo>
                    <a:pt x="1614" y="408"/>
                  </a:lnTo>
                  <a:lnTo>
                    <a:pt x="1614" y="432"/>
                  </a:lnTo>
                  <a:lnTo>
                    <a:pt x="1620" y="438"/>
                  </a:lnTo>
                  <a:lnTo>
                    <a:pt x="1620" y="450"/>
                  </a:lnTo>
                  <a:lnTo>
                    <a:pt x="1620" y="462"/>
                  </a:lnTo>
                  <a:lnTo>
                    <a:pt x="1626" y="474"/>
                  </a:lnTo>
                  <a:lnTo>
                    <a:pt x="1626" y="480"/>
                  </a:lnTo>
                  <a:lnTo>
                    <a:pt x="1626" y="486"/>
                  </a:lnTo>
                  <a:lnTo>
                    <a:pt x="1632" y="522"/>
                  </a:lnTo>
                  <a:lnTo>
                    <a:pt x="1632" y="528"/>
                  </a:lnTo>
                  <a:lnTo>
                    <a:pt x="1632" y="534"/>
                  </a:lnTo>
                  <a:lnTo>
                    <a:pt x="1638" y="540"/>
                  </a:lnTo>
                  <a:lnTo>
                    <a:pt x="1638" y="558"/>
                  </a:lnTo>
                  <a:lnTo>
                    <a:pt x="1638" y="570"/>
                  </a:lnTo>
                  <a:lnTo>
                    <a:pt x="1644" y="582"/>
                  </a:lnTo>
                  <a:lnTo>
                    <a:pt x="1650" y="618"/>
                  </a:lnTo>
                  <a:lnTo>
                    <a:pt x="1650" y="624"/>
                  </a:lnTo>
                  <a:lnTo>
                    <a:pt x="1650" y="636"/>
                  </a:lnTo>
                  <a:lnTo>
                    <a:pt x="1656" y="642"/>
                  </a:lnTo>
                  <a:lnTo>
                    <a:pt x="1656" y="648"/>
                  </a:lnTo>
                  <a:lnTo>
                    <a:pt x="1656" y="654"/>
                  </a:lnTo>
                  <a:lnTo>
                    <a:pt x="1656" y="660"/>
                  </a:lnTo>
                  <a:lnTo>
                    <a:pt x="1662" y="696"/>
                  </a:lnTo>
                  <a:lnTo>
                    <a:pt x="1668" y="708"/>
                  </a:lnTo>
                  <a:lnTo>
                    <a:pt x="1668" y="714"/>
                  </a:lnTo>
                  <a:lnTo>
                    <a:pt x="1668" y="732"/>
                  </a:lnTo>
                  <a:lnTo>
                    <a:pt x="1668" y="744"/>
                  </a:lnTo>
                  <a:lnTo>
                    <a:pt x="1674" y="756"/>
                  </a:lnTo>
                  <a:lnTo>
                    <a:pt x="1680" y="762"/>
                  </a:lnTo>
                  <a:lnTo>
                    <a:pt x="1680" y="768"/>
                  </a:lnTo>
                  <a:lnTo>
                    <a:pt x="1680" y="774"/>
                  </a:lnTo>
                  <a:lnTo>
                    <a:pt x="1680" y="780"/>
                  </a:lnTo>
                  <a:lnTo>
                    <a:pt x="1674" y="786"/>
                  </a:lnTo>
                  <a:lnTo>
                    <a:pt x="1668" y="792"/>
                  </a:lnTo>
                  <a:lnTo>
                    <a:pt x="1668" y="798"/>
                  </a:lnTo>
                  <a:lnTo>
                    <a:pt x="1668" y="804"/>
                  </a:lnTo>
                  <a:lnTo>
                    <a:pt x="1674" y="804"/>
                  </a:lnTo>
                  <a:lnTo>
                    <a:pt x="1668" y="810"/>
                  </a:lnTo>
                  <a:lnTo>
                    <a:pt x="1674" y="810"/>
                  </a:lnTo>
                  <a:lnTo>
                    <a:pt x="1680" y="810"/>
                  </a:lnTo>
                  <a:lnTo>
                    <a:pt x="1680" y="816"/>
                  </a:lnTo>
                  <a:lnTo>
                    <a:pt x="1680" y="822"/>
                  </a:lnTo>
                  <a:lnTo>
                    <a:pt x="1674" y="822"/>
                  </a:lnTo>
                  <a:lnTo>
                    <a:pt x="1674" y="828"/>
                  </a:lnTo>
                  <a:lnTo>
                    <a:pt x="1668" y="828"/>
                  </a:lnTo>
                  <a:lnTo>
                    <a:pt x="1674" y="834"/>
                  </a:lnTo>
                  <a:lnTo>
                    <a:pt x="1668" y="834"/>
                  </a:lnTo>
                  <a:lnTo>
                    <a:pt x="1668" y="840"/>
                  </a:lnTo>
                  <a:lnTo>
                    <a:pt x="1674" y="840"/>
                  </a:lnTo>
                  <a:lnTo>
                    <a:pt x="1686" y="852"/>
                  </a:lnTo>
                  <a:lnTo>
                    <a:pt x="1692" y="858"/>
                  </a:lnTo>
                  <a:lnTo>
                    <a:pt x="1698" y="858"/>
                  </a:lnTo>
                  <a:lnTo>
                    <a:pt x="1698" y="864"/>
                  </a:lnTo>
                  <a:lnTo>
                    <a:pt x="1698" y="870"/>
                  </a:lnTo>
                  <a:lnTo>
                    <a:pt x="1704" y="864"/>
                  </a:lnTo>
                  <a:lnTo>
                    <a:pt x="1716" y="864"/>
                  </a:lnTo>
                  <a:lnTo>
                    <a:pt x="1722" y="864"/>
                  </a:lnTo>
                  <a:lnTo>
                    <a:pt x="1728" y="864"/>
                  </a:lnTo>
                  <a:lnTo>
                    <a:pt x="1734" y="864"/>
                  </a:lnTo>
                  <a:lnTo>
                    <a:pt x="1740" y="864"/>
                  </a:lnTo>
                  <a:lnTo>
                    <a:pt x="1746" y="876"/>
                  </a:lnTo>
                  <a:lnTo>
                    <a:pt x="1746" y="870"/>
                  </a:lnTo>
                  <a:lnTo>
                    <a:pt x="1740" y="864"/>
                  </a:lnTo>
                  <a:lnTo>
                    <a:pt x="1746" y="864"/>
                  </a:lnTo>
                  <a:lnTo>
                    <a:pt x="1752" y="870"/>
                  </a:lnTo>
                  <a:lnTo>
                    <a:pt x="1758" y="864"/>
                  </a:lnTo>
                  <a:lnTo>
                    <a:pt x="1764" y="864"/>
                  </a:lnTo>
                  <a:lnTo>
                    <a:pt x="1770" y="858"/>
                  </a:lnTo>
                  <a:lnTo>
                    <a:pt x="1782" y="864"/>
                  </a:lnTo>
                  <a:lnTo>
                    <a:pt x="1782" y="870"/>
                  </a:lnTo>
                  <a:lnTo>
                    <a:pt x="1788" y="864"/>
                  </a:lnTo>
                  <a:lnTo>
                    <a:pt x="1794" y="864"/>
                  </a:lnTo>
                  <a:lnTo>
                    <a:pt x="1800" y="870"/>
                  </a:lnTo>
                  <a:lnTo>
                    <a:pt x="1818" y="864"/>
                  </a:lnTo>
                  <a:lnTo>
                    <a:pt x="1824" y="870"/>
                  </a:lnTo>
                  <a:lnTo>
                    <a:pt x="1830" y="864"/>
                  </a:lnTo>
                  <a:lnTo>
                    <a:pt x="1836" y="864"/>
                  </a:lnTo>
                  <a:lnTo>
                    <a:pt x="1842" y="870"/>
                  </a:lnTo>
                  <a:lnTo>
                    <a:pt x="1842" y="876"/>
                  </a:lnTo>
                  <a:lnTo>
                    <a:pt x="1848" y="876"/>
                  </a:lnTo>
                  <a:lnTo>
                    <a:pt x="1848" y="870"/>
                  </a:lnTo>
                  <a:lnTo>
                    <a:pt x="1854" y="870"/>
                  </a:lnTo>
                  <a:lnTo>
                    <a:pt x="1860" y="870"/>
                  </a:lnTo>
                  <a:lnTo>
                    <a:pt x="1860" y="876"/>
                  </a:lnTo>
                  <a:lnTo>
                    <a:pt x="1866" y="876"/>
                  </a:lnTo>
                  <a:lnTo>
                    <a:pt x="1866" y="882"/>
                  </a:lnTo>
                  <a:lnTo>
                    <a:pt x="1872" y="882"/>
                  </a:lnTo>
                  <a:lnTo>
                    <a:pt x="1878" y="888"/>
                  </a:lnTo>
                  <a:lnTo>
                    <a:pt x="1890" y="888"/>
                  </a:lnTo>
                  <a:lnTo>
                    <a:pt x="1890" y="894"/>
                  </a:lnTo>
                  <a:lnTo>
                    <a:pt x="1890" y="900"/>
                  </a:lnTo>
                  <a:lnTo>
                    <a:pt x="1884" y="900"/>
                  </a:lnTo>
                  <a:lnTo>
                    <a:pt x="1884" y="906"/>
                  </a:lnTo>
                  <a:lnTo>
                    <a:pt x="1884" y="912"/>
                  </a:lnTo>
                  <a:lnTo>
                    <a:pt x="1890" y="912"/>
                  </a:lnTo>
                  <a:lnTo>
                    <a:pt x="1896" y="912"/>
                  </a:lnTo>
                  <a:lnTo>
                    <a:pt x="1902" y="912"/>
                  </a:lnTo>
                  <a:lnTo>
                    <a:pt x="1908" y="918"/>
                  </a:lnTo>
                  <a:lnTo>
                    <a:pt x="1908" y="924"/>
                  </a:lnTo>
                  <a:lnTo>
                    <a:pt x="1908" y="930"/>
                  </a:lnTo>
                  <a:lnTo>
                    <a:pt x="1908" y="936"/>
                  </a:lnTo>
                  <a:lnTo>
                    <a:pt x="1914" y="936"/>
                  </a:lnTo>
                  <a:lnTo>
                    <a:pt x="1914" y="942"/>
                  </a:lnTo>
                  <a:lnTo>
                    <a:pt x="1908" y="948"/>
                  </a:lnTo>
                  <a:lnTo>
                    <a:pt x="1914" y="948"/>
                  </a:lnTo>
                  <a:lnTo>
                    <a:pt x="1920" y="954"/>
                  </a:lnTo>
                  <a:lnTo>
                    <a:pt x="1926" y="954"/>
                  </a:lnTo>
                  <a:lnTo>
                    <a:pt x="1932" y="954"/>
                  </a:lnTo>
                  <a:lnTo>
                    <a:pt x="1938" y="954"/>
                  </a:lnTo>
                  <a:lnTo>
                    <a:pt x="1938" y="960"/>
                  </a:lnTo>
                  <a:lnTo>
                    <a:pt x="1944" y="966"/>
                  </a:lnTo>
                  <a:lnTo>
                    <a:pt x="1944" y="972"/>
                  </a:lnTo>
                  <a:lnTo>
                    <a:pt x="1944" y="978"/>
                  </a:lnTo>
                  <a:lnTo>
                    <a:pt x="1950" y="978"/>
                  </a:lnTo>
                  <a:lnTo>
                    <a:pt x="1950" y="984"/>
                  </a:lnTo>
                  <a:lnTo>
                    <a:pt x="1956" y="984"/>
                  </a:lnTo>
                  <a:lnTo>
                    <a:pt x="1962" y="984"/>
                  </a:lnTo>
                  <a:lnTo>
                    <a:pt x="1962" y="978"/>
                  </a:lnTo>
                  <a:lnTo>
                    <a:pt x="1968" y="978"/>
                  </a:lnTo>
                  <a:lnTo>
                    <a:pt x="1974" y="978"/>
                  </a:lnTo>
                  <a:lnTo>
                    <a:pt x="1980" y="972"/>
                  </a:lnTo>
                  <a:lnTo>
                    <a:pt x="1980" y="978"/>
                  </a:lnTo>
                  <a:lnTo>
                    <a:pt x="1980" y="984"/>
                  </a:lnTo>
                  <a:lnTo>
                    <a:pt x="1986" y="984"/>
                  </a:lnTo>
                  <a:lnTo>
                    <a:pt x="1992" y="990"/>
                  </a:lnTo>
                  <a:lnTo>
                    <a:pt x="1992" y="996"/>
                  </a:lnTo>
                  <a:lnTo>
                    <a:pt x="1992" y="1002"/>
                  </a:lnTo>
                  <a:lnTo>
                    <a:pt x="1974" y="1008"/>
                  </a:lnTo>
                  <a:lnTo>
                    <a:pt x="1974" y="1014"/>
                  </a:lnTo>
                  <a:lnTo>
                    <a:pt x="1974" y="1020"/>
                  </a:lnTo>
                  <a:lnTo>
                    <a:pt x="1974" y="1026"/>
                  </a:lnTo>
                  <a:lnTo>
                    <a:pt x="1968" y="1038"/>
                  </a:lnTo>
                  <a:lnTo>
                    <a:pt x="1968" y="1044"/>
                  </a:lnTo>
                  <a:lnTo>
                    <a:pt x="1974" y="1056"/>
                  </a:lnTo>
                  <a:lnTo>
                    <a:pt x="1968" y="1062"/>
                  </a:lnTo>
                  <a:lnTo>
                    <a:pt x="1962" y="1062"/>
                  </a:lnTo>
                  <a:lnTo>
                    <a:pt x="1956" y="1068"/>
                  </a:lnTo>
                  <a:lnTo>
                    <a:pt x="1956" y="1074"/>
                  </a:lnTo>
                  <a:lnTo>
                    <a:pt x="1956" y="1080"/>
                  </a:lnTo>
                  <a:lnTo>
                    <a:pt x="1956" y="1086"/>
                  </a:lnTo>
                  <a:lnTo>
                    <a:pt x="1956" y="1092"/>
                  </a:lnTo>
                  <a:lnTo>
                    <a:pt x="1962" y="1092"/>
                  </a:lnTo>
                  <a:lnTo>
                    <a:pt x="1962" y="1104"/>
                  </a:lnTo>
                  <a:lnTo>
                    <a:pt x="1968" y="1110"/>
                  </a:lnTo>
                  <a:lnTo>
                    <a:pt x="1968" y="1116"/>
                  </a:lnTo>
                  <a:lnTo>
                    <a:pt x="1974" y="1116"/>
                  </a:lnTo>
                  <a:lnTo>
                    <a:pt x="1974" y="1122"/>
                  </a:lnTo>
                  <a:lnTo>
                    <a:pt x="1980" y="1122"/>
                  </a:lnTo>
                  <a:lnTo>
                    <a:pt x="1974" y="1128"/>
                  </a:lnTo>
                  <a:lnTo>
                    <a:pt x="1968" y="1134"/>
                  </a:lnTo>
                  <a:lnTo>
                    <a:pt x="1962" y="1140"/>
                  </a:lnTo>
                  <a:lnTo>
                    <a:pt x="1962" y="1146"/>
                  </a:lnTo>
                  <a:lnTo>
                    <a:pt x="1968" y="1152"/>
                  </a:lnTo>
                  <a:lnTo>
                    <a:pt x="1968" y="1158"/>
                  </a:lnTo>
                  <a:lnTo>
                    <a:pt x="1962" y="1158"/>
                  </a:lnTo>
                  <a:lnTo>
                    <a:pt x="1962" y="1164"/>
                  </a:lnTo>
                  <a:lnTo>
                    <a:pt x="1956" y="1164"/>
                  </a:lnTo>
                  <a:lnTo>
                    <a:pt x="1956" y="1170"/>
                  </a:lnTo>
                  <a:lnTo>
                    <a:pt x="1944" y="1182"/>
                  </a:lnTo>
                  <a:lnTo>
                    <a:pt x="1944" y="1188"/>
                  </a:lnTo>
                  <a:lnTo>
                    <a:pt x="1950" y="1188"/>
                  </a:lnTo>
                  <a:lnTo>
                    <a:pt x="1944" y="1200"/>
                  </a:lnTo>
                  <a:lnTo>
                    <a:pt x="1944" y="1206"/>
                  </a:lnTo>
                  <a:lnTo>
                    <a:pt x="1944" y="1212"/>
                  </a:lnTo>
                  <a:lnTo>
                    <a:pt x="1944" y="1218"/>
                  </a:lnTo>
                  <a:lnTo>
                    <a:pt x="1944" y="1230"/>
                  </a:lnTo>
                  <a:lnTo>
                    <a:pt x="1944" y="1236"/>
                  </a:lnTo>
                  <a:lnTo>
                    <a:pt x="1944" y="1242"/>
                  </a:lnTo>
                  <a:lnTo>
                    <a:pt x="1938" y="1248"/>
                  </a:lnTo>
                  <a:lnTo>
                    <a:pt x="1938" y="1254"/>
                  </a:lnTo>
                  <a:lnTo>
                    <a:pt x="1932" y="1254"/>
                  </a:lnTo>
                  <a:lnTo>
                    <a:pt x="1926" y="1260"/>
                  </a:lnTo>
                  <a:lnTo>
                    <a:pt x="1920" y="1266"/>
                  </a:lnTo>
                  <a:lnTo>
                    <a:pt x="1914" y="1272"/>
                  </a:lnTo>
                  <a:lnTo>
                    <a:pt x="1908" y="1272"/>
                  </a:lnTo>
                  <a:lnTo>
                    <a:pt x="1908" y="1278"/>
                  </a:lnTo>
                  <a:lnTo>
                    <a:pt x="1914" y="1278"/>
                  </a:lnTo>
                  <a:lnTo>
                    <a:pt x="1914" y="1290"/>
                  </a:lnTo>
                  <a:lnTo>
                    <a:pt x="1920" y="1296"/>
                  </a:lnTo>
                  <a:lnTo>
                    <a:pt x="1938" y="1302"/>
                  </a:lnTo>
                  <a:lnTo>
                    <a:pt x="1944" y="1308"/>
                  </a:lnTo>
                  <a:lnTo>
                    <a:pt x="1950" y="1314"/>
                  </a:lnTo>
                  <a:lnTo>
                    <a:pt x="1956" y="1314"/>
                  </a:lnTo>
                  <a:lnTo>
                    <a:pt x="1962" y="1320"/>
                  </a:lnTo>
                  <a:lnTo>
                    <a:pt x="1962" y="1326"/>
                  </a:lnTo>
                  <a:lnTo>
                    <a:pt x="1968" y="1326"/>
                  </a:lnTo>
                  <a:lnTo>
                    <a:pt x="1968" y="1332"/>
                  </a:lnTo>
                  <a:lnTo>
                    <a:pt x="1968" y="1344"/>
                  </a:lnTo>
                  <a:lnTo>
                    <a:pt x="1968" y="1350"/>
                  </a:lnTo>
                  <a:lnTo>
                    <a:pt x="1968" y="1368"/>
                  </a:lnTo>
                  <a:lnTo>
                    <a:pt x="1962" y="1380"/>
                  </a:lnTo>
                  <a:lnTo>
                    <a:pt x="1968" y="1392"/>
                  </a:lnTo>
                  <a:lnTo>
                    <a:pt x="1962" y="1398"/>
                  </a:lnTo>
                  <a:lnTo>
                    <a:pt x="1956" y="1404"/>
                  </a:lnTo>
                  <a:lnTo>
                    <a:pt x="1950" y="1410"/>
                  </a:lnTo>
                  <a:lnTo>
                    <a:pt x="1944" y="1410"/>
                  </a:lnTo>
                  <a:lnTo>
                    <a:pt x="1932" y="1416"/>
                  </a:lnTo>
                  <a:lnTo>
                    <a:pt x="1926" y="1416"/>
                  </a:lnTo>
                  <a:lnTo>
                    <a:pt x="1896" y="1428"/>
                  </a:lnTo>
                  <a:lnTo>
                    <a:pt x="1884" y="1434"/>
                  </a:lnTo>
                  <a:lnTo>
                    <a:pt x="1878" y="1434"/>
                  </a:lnTo>
                  <a:lnTo>
                    <a:pt x="1866" y="1434"/>
                  </a:lnTo>
                  <a:lnTo>
                    <a:pt x="1854" y="1440"/>
                  </a:lnTo>
                  <a:lnTo>
                    <a:pt x="1848" y="1440"/>
                  </a:lnTo>
                  <a:lnTo>
                    <a:pt x="1842" y="1446"/>
                  </a:lnTo>
                  <a:lnTo>
                    <a:pt x="1842" y="1458"/>
                  </a:lnTo>
                  <a:lnTo>
                    <a:pt x="1836" y="1470"/>
                  </a:lnTo>
                  <a:lnTo>
                    <a:pt x="1830" y="1476"/>
                  </a:lnTo>
                  <a:lnTo>
                    <a:pt x="1824" y="1476"/>
                  </a:lnTo>
                  <a:lnTo>
                    <a:pt x="1806" y="1482"/>
                  </a:lnTo>
                  <a:lnTo>
                    <a:pt x="1800" y="1488"/>
                  </a:lnTo>
                  <a:lnTo>
                    <a:pt x="1794" y="1488"/>
                  </a:lnTo>
                  <a:lnTo>
                    <a:pt x="1788" y="1488"/>
                  </a:lnTo>
                  <a:lnTo>
                    <a:pt x="1776" y="1494"/>
                  </a:lnTo>
                  <a:lnTo>
                    <a:pt x="1764" y="1494"/>
                  </a:lnTo>
                  <a:lnTo>
                    <a:pt x="1758" y="1500"/>
                  </a:lnTo>
                  <a:lnTo>
                    <a:pt x="1746" y="1506"/>
                  </a:lnTo>
                  <a:lnTo>
                    <a:pt x="1728" y="1518"/>
                  </a:lnTo>
                  <a:lnTo>
                    <a:pt x="1716" y="1524"/>
                  </a:lnTo>
                  <a:lnTo>
                    <a:pt x="1710" y="1530"/>
                  </a:lnTo>
                  <a:lnTo>
                    <a:pt x="1704" y="1536"/>
                  </a:lnTo>
                  <a:lnTo>
                    <a:pt x="1698" y="1542"/>
                  </a:lnTo>
                  <a:lnTo>
                    <a:pt x="1692" y="1554"/>
                  </a:lnTo>
                  <a:lnTo>
                    <a:pt x="1686" y="1560"/>
                  </a:lnTo>
                  <a:lnTo>
                    <a:pt x="1680" y="1560"/>
                  </a:lnTo>
                  <a:lnTo>
                    <a:pt x="1674" y="1560"/>
                  </a:lnTo>
                  <a:lnTo>
                    <a:pt x="1656" y="1572"/>
                  </a:lnTo>
                  <a:lnTo>
                    <a:pt x="1650" y="1572"/>
                  </a:lnTo>
                  <a:lnTo>
                    <a:pt x="1644" y="1572"/>
                  </a:lnTo>
                  <a:lnTo>
                    <a:pt x="1638" y="1578"/>
                  </a:lnTo>
                  <a:lnTo>
                    <a:pt x="1632" y="1578"/>
                  </a:lnTo>
                  <a:lnTo>
                    <a:pt x="1626" y="1578"/>
                  </a:lnTo>
                  <a:lnTo>
                    <a:pt x="1620" y="1572"/>
                  </a:lnTo>
                  <a:lnTo>
                    <a:pt x="1614" y="1572"/>
                  </a:lnTo>
                  <a:lnTo>
                    <a:pt x="1608" y="1566"/>
                  </a:lnTo>
                  <a:lnTo>
                    <a:pt x="1602" y="1560"/>
                  </a:lnTo>
                  <a:lnTo>
                    <a:pt x="1596" y="1554"/>
                  </a:lnTo>
                  <a:lnTo>
                    <a:pt x="1590" y="1548"/>
                  </a:lnTo>
                  <a:lnTo>
                    <a:pt x="1578" y="1548"/>
                  </a:lnTo>
                  <a:lnTo>
                    <a:pt x="1572" y="1548"/>
                  </a:lnTo>
                  <a:lnTo>
                    <a:pt x="1566" y="1548"/>
                  </a:lnTo>
                  <a:lnTo>
                    <a:pt x="1554" y="1536"/>
                  </a:lnTo>
                  <a:lnTo>
                    <a:pt x="1548" y="1536"/>
                  </a:lnTo>
                  <a:lnTo>
                    <a:pt x="1542" y="1542"/>
                  </a:lnTo>
                  <a:lnTo>
                    <a:pt x="1536" y="1548"/>
                  </a:lnTo>
                  <a:lnTo>
                    <a:pt x="1536" y="1566"/>
                  </a:lnTo>
                  <a:lnTo>
                    <a:pt x="1530" y="1572"/>
                  </a:lnTo>
                  <a:lnTo>
                    <a:pt x="1524" y="1578"/>
                  </a:lnTo>
                  <a:lnTo>
                    <a:pt x="1518" y="1584"/>
                  </a:lnTo>
                  <a:lnTo>
                    <a:pt x="1512" y="1596"/>
                  </a:lnTo>
                  <a:lnTo>
                    <a:pt x="1506" y="1602"/>
                  </a:lnTo>
                  <a:lnTo>
                    <a:pt x="1506" y="1608"/>
                  </a:lnTo>
                  <a:lnTo>
                    <a:pt x="1506" y="1614"/>
                  </a:lnTo>
                  <a:lnTo>
                    <a:pt x="1500" y="1614"/>
                  </a:lnTo>
                  <a:lnTo>
                    <a:pt x="1500" y="1620"/>
                  </a:lnTo>
                  <a:lnTo>
                    <a:pt x="1500" y="1626"/>
                  </a:lnTo>
                  <a:lnTo>
                    <a:pt x="1494" y="1632"/>
                  </a:lnTo>
                  <a:lnTo>
                    <a:pt x="1488" y="1638"/>
                  </a:lnTo>
                  <a:lnTo>
                    <a:pt x="1482" y="1638"/>
                  </a:lnTo>
                  <a:lnTo>
                    <a:pt x="1482" y="1644"/>
                  </a:lnTo>
                  <a:lnTo>
                    <a:pt x="1482" y="1650"/>
                  </a:lnTo>
                  <a:lnTo>
                    <a:pt x="1482" y="1656"/>
                  </a:lnTo>
                  <a:lnTo>
                    <a:pt x="1476" y="1662"/>
                  </a:lnTo>
                  <a:lnTo>
                    <a:pt x="1470" y="1668"/>
                  </a:lnTo>
                  <a:lnTo>
                    <a:pt x="1464" y="1674"/>
                  </a:lnTo>
                  <a:lnTo>
                    <a:pt x="1464" y="1680"/>
                  </a:lnTo>
                  <a:lnTo>
                    <a:pt x="1458" y="1680"/>
                  </a:lnTo>
                  <a:lnTo>
                    <a:pt x="1452" y="1686"/>
                  </a:lnTo>
                  <a:lnTo>
                    <a:pt x="1446" y="1686"/>
                  </a:lnTo>
                  <a:lnTo>
                    <a:pt x="1440" y="1698"/>
                  </a:lnTo>
                  <a:lnTo>
                    <a:pt x="1440" y="1704"/>
                  </a:lnTo>
                  <a:lnTo>
                    <a:pt x="1434" y="1710"/>
                  </a:lnTo>
                  <a:lnTo>
                    <a:pt x="1434" y="1716"/>
                  </a:lnTo>
                  <a:lnTo>
                    <a:pt x="1428" y="1716"/>
                  </a:lnTo>
                  <a:lnTo>
                    <a:pt x="1428" y="1722"/>
                  </a:lnTo>
                  <a:lnTo>
                    <a:pt x="1428" y="1728"/>
                  </a:lnTo>
                  <a:lnTo>
                    <a:pt x="1422" y="1728"/>
                  </a:lnTo>
                  <a:lnTo>
                    <a:pt x="1422" y="1734"/>
                  </a:lnTo>
                  <a:lnTo>
                    <a:pt x="1416" y="1734"/>
                  </a:lnTo>
                  <a:lnTo>
                    <a:pt x="1410" y="1734"/>
                  </a:lnTo>
                  <a:lnTo>
                    <a:pt x="1392" y="1746"/>
                  </a:lnTo>
                  <a:lnTo>
                    <a:pt x="1386" y="1746"/>
                  </a:lnTo>
                  <a:lnTo>
                    <a:pt x="1368" y="1752"/>
                  </a:lnTo>
                  <a:lnTo>
                    <a:pt x="1362" y="1758"/>
                  </a:lnTo>
                  <a:lnTo>
                    <a:pt x="1362" y="1770"/>
                  </a:lnTo>
                  <a:lnTo>
                    <a:pt x="1356" y="1782"/>
                  </a:lnTo>
                  <a:close/>
                </a:path>
              </a:pathLst>
            </a:custGeom>
            <a:no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GB" sz="600" dirty="0">
                <a:latin typeface="Arial" charset="0"/>
                <a:cs typeface="Arial" charset="0"/>
              </a:endParaRPr>
            </a:p>
          </p:txBody>
        </p:sp>
      </p:grpSp>
      <p:graphicFrame>
        <p:nvGraphicFramePr>
          <p:cNvPr id="357" name="Group 76">
            <a:extLst>
              <a:ext uri="{FF2B5EF4-FFF2-40B4-BE49-F238E27FC236}">
                <a16:creationId xmlns:a16="http://schemas.microsoft.com/office/drawing/2014/main" id="{57830D68-CF73-4A3E-9D36-141B03AADB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985480"/>
              </p:ext>
            </p:extLst>
          </p:nvPr>
        </p:nvGraphicFramePr>
        <p:xfrm>
          <a:off x="541338" y="3402013"/>
          <a:ext cx="3735387" cy="1827306"/>
        </p:xfrm>
        <a:graphic>
          <a:graphicData uri="http://schemas.openxmlformats.org/drawingml/2006/table">
            <a:tbl>
              <a:tblPr/>
              <a:tblGrid>
                <a:gridCol w="1316931">
                  <a:extLst>
                    <a:ext uri="{9D8B030D-6E8A-4147-A177-3AD203B41FA5}">
                      <a16:colId xmlns:a16="http://schemas.microsoft.com/office/drawing/2014/main" val="2027704273"/>
                    </a:ext>
                  </a:extLst>
                </a:gridCol>
                <a:gridCol w="603796">
                  <a:extLst>
                    <a:ext uri="{9D8B030D-6E8A-4147-A177-3AD203B41FA5}">
                      <a16:colId xmlns:a16="http://schemas.microsoft.com/office/drawing/2014/main" val="3432768286"/>
                    </a:ext>
                  </a:extLst>
                </a:gridCol>
                <a:gridCol w="744015">
                  <a:extLst>
                    <a:ext uri="{9D8B030D-6E8A-4147-A177-3AD203B41FA5}">
                      <a16:colId xmlns:a16="http://schemas.microsoft.com/office/drawing/2014/main" val="3730294207"/>
                    </a:ext>
                  </a:extLst>
                </a:gridCol>
                <a:gridCol w="1070645">
                  <a:extLst>
                    <a:ext uri="{9D8B030D-6E8A-4147-A177-3AD203B41FA5}">
                      <a16:colId xmlns:a16="http://schemas.microsoft.com/office/drawing/2014/main" val="2258321117"/>
                    </a:ext>
                  </a:extLst>
                </a:gridCol>
              </a:tblGrid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apital</a:t>
                      </a:r>
                      <a:endParaRPr kumimoji="0" lang="en-SG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292929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SG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Makurdi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703009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nd Are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30,800 km</a:t>
                      </a:r>
                      <a:r>
                        <a:rPr kumimoji="0" lang="en-US" altLang="en-US" sz="10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11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7603614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Population (2017E)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5,716,538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10 of 37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505851"/>
                  </a:ext>
                </a:extLst>
              </a:tr>
              <a:tr h="203024">
                <a:tc rowSpan="3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Dem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tabLst>
                          <a:tab pos="400050" algn="l"/>
                        </a:tabLst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0-14: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,632,623</a:t>
                      </a:r>
                      <a:endParaRPr kumimoji="0" lang="en-GB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46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130093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5-64: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,900,564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51%]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387564"/>
                  </a:ext>
                </a:extLst>
              </a:tr>
              <a:tr h="20302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b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65+: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    183,351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altLang="en-US" sz="10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[3%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388013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Labour force 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,440,326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[11 of 37]</a:t>
                      </a:r>
                      <a:endParaRPr kumimoji="0" lang="en-US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797882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Climate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ropical savanna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3942226"/>
                  </a:ext>
                </a:extLst>
              </a:tr>
              <a:tr h="203024">
                <a:tc>
                  <a:txBody>
                    <a:bodyPr/>
                    <a:lstStyle>
                      <a:lvl1pPr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292929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Topography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115888" indent="-115888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80000"/>
                        <a:buFont typeface="Wingdings" panose="05000000000000000000" pitchFamily="2" charset="2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ts val="500"/>
                        </a:spcBef>
                        <a:spcAft>
                          <a:spcPts val="500"/>
                        </a:spcAft>
                        <a:buClr>
                          <a:srgbClr val="969696"/>
                        </a:buClr>
                        <a:buSzPct val="120000"/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defRPr>
                      </a:lvl9pPr>
                    </a:lstStyle>
                    <a:p>
                      <a:pPr marL="115888" marR="0" lvl="0" indent="-1158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en-MY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Marine sediments</a:t>
                      </a:r>
                    </a:p>
                  </a:txBody>
                  <a:tcPr marL="33232" marR="33232" marT="25317" marB="2531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32899"/>
                  </a:ext>
                </a:extLst>
              </a:tr>
            </a:tbl>
          </a:graphicData>
        </a:graphic>
      </p:graphicFrame>
      <p:pic>
        <p:nvPicPr>
          <p:cNvPr id="23609" name="Picture 13">
            <a:extLst>
              <a:ext uri="{FF2B5EF4-FFF2-40B4-BE49-F238E27FC236}">
                <a16:creationId xmlns:a16="http://schemas.microsoft.com/office/drawing/2014/main" id="{952964D5-F0ED-4CAE-B71C-DB4A723FA5A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0" y="3006725"/>
            <a:ext cx="1116013" cy="155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9" name="TextBox 378">
            <a:extLst>
              <a:ext uri="{FF2B5EF4-FFF2-40B4-BE49-F238E27FC236}">
                <a16:creationId xmlns:a16="http://schemas.microsoft.com/office/drawing/2014/main" id="{1B3FD4BF-4685-4C74-821F-10048D6246BF}"/>
              </a:ext>
            </a:extLst>
          </p:cNvPr>
          <p:cNvSpPr txBox="1"/>
          <p:nvPr/>
        </p:nvSpPr>
        <p:spPr>
          <a:xfrm>
            <a:off x="6124575" y="957263"/>
            <a:ext cx="3475038" cy="2286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mpetitive Advantages</a:t>
            </a:r>
          </a:p>
        </p:txBody>
      </p:sp>
      <p:sp>
        <p:nvSpPr>
          <p:cNvPr id="384" name="Rectangle 383">
            <a:extLst>
              <a:ext uri="{FF2B5EF4-FFF2-40B4-BE49-F238E27FC236}">
                <a16:creationId xmlns:a16="http://schemas.microsoft.com/office/drawing/2014/main" id="{455FE7A1-ADE5-4F7B-A489-00196671A53E}"/>
              </a:ext>
            </a:extLst>
          </p:cNvPr>
          <p:cNvSpPr/>
          <p:nvPr/>
        </p:nvSpPr>
        <p:spPr>
          <a:xfrm>
            <a:off x="4267248" y="1187511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12.4bn/$40.6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EBB25788-D073-4A78-9D6C-DF3836CFFFBB}"/>
              </a:ext>
            </a:extLst>
          </p:cNvPr>
          <p:cNvSpPr txBox="1"/>
          <p:nvPr/>
        </p:nvSpPr>
        <p:spPr>
          <a:xfrm>
            <a:off x="4267200" y="955675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IGR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386" name="Rectangle 385">
            <a:extLst>
              <a:ext uri="{FF2B5EF4-FFF2-40B4-BE49-F238E27FC236}">
                <a16:creationId xmlns:a16="http://schemas.microsoft.com/office/drawing/2014/main" id="{6F07DF39-553B-44F0-8864-1F897C2BD79A}"/>
              </a:ext>
            </a:extLst>
          </p:cNvPr>
          <p:cNvSpPr/>
          <p:nvPr/>
        </p:nvSpPr>
        <p:spPr>
          <a:xfrm>
            <a:off x="4267252" y="1809750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178.3bn/$584.6bn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2508695A-2D2C-45A3-80FE-9C2CB18200C2}"/>
              </a:ext>
            </a:extLst>
          </p:cNvPr>
          <p:cNvSpPr txBox="1"/>
          <p:nvPr/>
        </p:nvSpPr>
        <p:spPr>
          <a:xfrm>
            <a:off x="4267200" y="1576388"/>
            <a:ext cx="1812925" cy="24447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Budget</a:t>
            </a:r>
            <a:r>
              <a:rPr lang="en-GB" sz="18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8)</a:t>
            </a:r>
          </a:p>
        </p:txBody>
      </p:sp>
      <p:sp>
        <p:nvSpPr>
          <p:cNvPr id="388" name="Rectangle 387">
            <a:extLst>
              <a:ext uri="{FF2B5EF4-FFF2-40B4-BE49-F238E27FC236}">
                <a16:creationId xmlns:a16="http://schemas.microsoft.com/office/drawing/2014/main" id="{86A33ABE-3AE3-40A7-A6A6-1B757A6A9B0F}"/>
              </a:ext>
            </a:extLst>
          </p:cNvPr>
          <p:cNvSpPr/>
          <p:nvPr/>
        </p:nvSpPr>
        <p:spPr>
          <a:xfrm>
            <a:off x="4256076" y="2667155"/>
            <a:ext cx="1811819" cy="25532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tIns="0" bIns="0">
            <a:spAutoFit/>
          </a:bodyPr>
          <a:lstStyle/>
          <a:p>
            <a:pPr eaLnBrk="1" hangingPunct="1">
              <a:defRPr/>
            </a:pPr>
            <a:r>
              <a:rPr lang="en-US" sz="1600" strike="dblStrike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N</a:t>
            </a:r>
            <a:r>
              <a:rPr lang="en-US" sz="1600" spc="-15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  <a:cs typeface="Arial" charset="0"/>
              </a:rPr>
              <a:t>1.3tn /$4.4m</a:t>
            </a:r>
            <a:endParaRPr lang="en-MY" sz="1600" spc="-150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1E919764-A18B-4532-A533-A84A31D7FEFE}"/>
              </a:ext>
            </a:extLst>
          </p:cNvPr>
          <p:cNvSpPr txBox="1"/>
          <p:nvPr/>
        </p:nvSpPr>
        <p:spPr>
          <a:xfrm>
            <a:off x="4256088" y="2185988"/>
            <a:ext cx="1811337" cy="50641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Household </a:t>
            </a:r>
          </a:p>
          <a:p>
            <a:pPr algn="ctr" eaLnBrk="1" hangingPunct="1">
              <a:defRPr/>
            </a:pPr>
            <a:r>
              <a:rPr lang="en-GB" sz="17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Consumption </a:t>
            </a:r>
            <a:r>
              <a:rPr lang="en-GB" sz="9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(2017)</a:t>
            </a:r>
          </a:p>
        </p:txBody>
      </p:sp>
      <p:sp>
        <p:nvSpPr>
          <p:cNvPr id="96" name="Plaque 95">
            <a:extLst>
              <a:ext uri="{FF2B5EF4-FFF2-40B4-BE49-F238E27FC236}">
                <a16:creationId xmlns:a16="http://schemas.microsoft.com/office/drawing/2014/main" id="{E3BE1182-17B4-4194-8641-F1EA2CCBB757}"/>
              </a:ext>
            </a:extLst>
          </p:cNvPr>
          <p:cNvSpPr/>
          <p:nvPr/>
        </p:nvSpPr>
        <p:spPr>
          <a:xfrm>
            <a:off x="5578475" y="2805162"/>
            <a:ext cx="481268" cy="1538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8 of 36</a:t>
            </a:r>
          </a:p>
        </p:txBody>
      </p:sp>
      <p:sp>
        <p:nvSpPr>
          <p:cNvPr id="99" name="Plaque 98">
            <a:extLst>
              <a:ext uri="{FF2B5EF4-FFF2-40B4-BE49-F238E27FC236}">
                <a16:creationId xmlns:a16="http://schemas.microsoft.com/office/drawing/2014/main" id="{8620E393-1C52-4CE1-9888-20922FA6DFEA}"/>
              </a:ext>
            </a:extLst>
          </p:cNvPr>
          <p:cNvSpPr/>
          <p:nvPr/>
        </p:nvSpPr>
        <p:spPr>
          <a:xfrm>
            <a:off x="5575299" y="1969393"/>
            <a:ext cx="502920" cy="15544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18 of 36</a:t>
            </a:r>
          </a:p>
        </p:txBody>
      </p:sp>
      <p:sp>
        <p:nvSpPr>
          <p:cNvPr id="100" name="Plaque 99">
            <a:extLst>
              <a:ext uri="{FF2B5EF4-FFF2-40B4-BE49-F238E27FC236}">
                <a16:creationId xmlns:a16="http://schemas.microsoft.com/office/drawing/2014/main" id="{3BFA6D28-9A42-4459-8BF1-090CE1B45216}"/>
              </a:ext>
            </a:extLst>
          </p:cNvPr>
          <p:cNvSpPr/>
          <p:nvPr/>
        </p:nvSpPr>
        <p:spPr>
          <a:xfrm>
            <a:off x="5638800" y="1333500"/>
            <a:ext cx="430213" cy="153988"/>
          </a:xfrm>
          <a:prstGeom prst="plaque">
            <a:avLst>
              <a:gd name="adj" fmla="val 0"/>
            </a:avLst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eaLnBrk="1" hangingPunct="1">
              <a:defRPr/>
            </a:pPr>
            <a:r>
              <a:rPr lang="en-GB" sz="1000" dirty="0">
                <a:latin typeface="Calibri" panose="020F0502020204030204" pitchFamily="34" charset="0"/>
                <a:cs typeface="Calibri" panose="020F0502020204030204" pitchFamily="34" charset="0"/>
              </a:rPr>
              <a:t>16 of 36</a:t>
            </a:r>
          </a:p>
        </p:txBody>
      </p:sp>
      <p:sp>
        <p:nvSpPr>
          <p:cNvPr id="101" name="Pentagon 19">
            <a:extLst>
              <a:ext uri="{FF2B5EF4-FFF2-40B4-BE49-F238E27FC236}">
                <a16:creationId xmlns:a16="http://schemas.microsoft.com/office/drawing/2014/main" id="{CCD74FA4-19D0-4356-90C9-B3B49BCC3F54}"/>
              </a:ext>
            </a:extLst>
          </p:cNvPr>
          <p:cNvSpPr>
            <a:spLocks/>
          </p:cNvSpPr>
          <p:nvPr/>
        </p:nvSpPr>
        <p:spPr bwMode="auto">
          <a:xfrm>
            <a:off x="6883400" y="4957763"/>
            <a:ext cx="639763" cy="731837"/>
          </a:xfrm>
          <a:prstGeom prst="rect">
            <a:avLst/>
          </a:prstGeom>
          <a:solidFill>
            <a:srgbClr val="2A4F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en-GB" sz="1000" dirty="0">
                <a:solidFill>
                  <a:schemeClr val="bg1"/>
                </a:solidFill>
                <a:latin typeface="Calibri" panose="020F0502020204030204" pitchFamily="34" charset="0"/>
              </a:rPr>
              <a:t>23 of 37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12EE735-1E43-4799-A46A-5D0787F375CE}"/>
              </a:ext>
            </a:extLst>
          </p:cNvPr>
          <p:cNvSpPr/>
          <p:nvPr/>
        </p:nvSpPr>
        <p:spPr>
          <a:xfrm>
            <a:off x="6880225" y="5726113"/>
            <a:ext cx="642938" cy="501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en-GB" sz="950" dirty="0">
                <a:solidFill>
                  <a:schemeClr val="bg1"/>
                </a:solidFill>
                <a:latin typeface="Calibri" panose="020F0502020204030204" pitchFamily="34" charset="0"/>
              </a:rPr>
              <a:t>Starting a Business</a:t>
            </a:r>
          </a:p>
        </p:txBody>
      </p:sp>
      <p:pic>
        <p:nvPicPr>
          <p:cNvPr id="23622" name="Picture 3">
            <a:extLst>
              <a:ext uri="{FF2B5EF4-FFF2-40B4-BE49-F238E27FC236}">
                <a16:creationId xmlns:a16="http://schemas.microsoft.com/office/drawing/2014/main" id="{53FAD0C6-8FFE-437B-B7E4-F2A938D3BE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350" y="5249863"/>
            <a:ext cx="41910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623" name="Freeform 15">
            <a:extLst>
              <a:ext uri="{FF2B5EF4-FFF2-40B4-BE49-F238E27FC236}">
                <a16:creationId xmlns:a16="http://schemas.microsoft.com/office/drawing/2014/main" id="{183A3C8B-011E-4D99-9165-3FF03A2D3207}"/>
              </a:ext>
            </a:extLst>
          </p:cNvPr>
          <p:cNvSpPr>
            <a:spLocks noEditPoints="1"/>
          </p:cNvSpPr>
          <p:nvPr/>
        </p:nvSpPr>
        <p:spPr bwMode="auto">
          <a:xfrm>
            <a:off x="9093200" y="5257800"/>
            <a:ext cx="276225" cy="347663"/>
          </a:xfrm>
          <a:custGeom>
            <a:avLst/>
            <a:gdLst>
              <a:gd name="T0" fmla="*/ 2147483646 w 3556"/>
              <a:gd name="T1" fmla="*/ 2147483646 h 3950"/>
              <a:gd name="T2" fmla="*/ 2147483646 w 3556"/>
              <a:gd name="T3" fmla="*/ 2147483646 h 3950"/>
              <a:gd name="T4" fmla="*/ 2147483646 w 3556"/>
              <a:gd name="T5" fmla="*/ 2147483646 h 3950"/>
              <a:gd name="T6" fmla="*/ 2147483646 w 3556"/>
              <a:gd name="T7" fmla="*/ 2147483646 h 3950"/>
              <a:gd name="T8" fmla="*/ 2147483646 w 3556"/>
              <a:gd name="T9" fmla="*/ 2147483646 h 3950"/>
              <a:gd name="T10" fmla="*/ 2147483646 w 3556"/>
              <a:gd name="T11" fmla="*/ 2147483646 h 3950"/>
              <a:gd name="T12" fmla="*/ 2147483646 w 3556"/>
              <a:gd name="T13" fmla="*/ 2147483646 h 3950"/>
              <a:gd name="T14" fmla="*/ 2147483646 w 3556"/>
              <a:gd name="T15" fmla="*/ 2147483646 h 3950"/>
              <a:gd name="T16" fmla="*/ 2147483646 w 3556"/>
              <a:gd name="T17" fmla="*/ 2147483646 h 3950"/>
              <a:gd name="T18" fmla="*/ 2147483646 w 3556"/>
              <a:gd name="T19" fmla="*/ 2147483646 h 3950"/>
              <a:gd name="T20" fmla="*/ 2147483646 w 3556"/>
              <a:gd name="T21" fmla="*/ 2147483646 h 3950"/>
              <a:gd name="T22" fmla="*/ 0 w 3556"/>
              <a:gd name="T23" fmla="*/ 2147483646 h 3950"/>
              <a:gd name="T24" fmla="*/ 2147483646 w 3556"/>
              <a:gd name="T25" fmla="*/ 2147483646 h 3950"/>
              <a:gd name="T26" fmla="*/ 2147483646 w 3556"/>
              <a:gd name="T27" fmla="*/ 2147483646 h 3950"/>
              <a:gd name="T28" fmla="*/ 2147483646 w 3556"/>
              <a:gd name="T29" fmla="*/ 2147483646 h 3950"/>
              <a:gd name="T30" fmla="*/ 2147483646 w 3556"/>
              <a:gd name="T31" fmla="*/ 2147483646 h 3950"/>
              <a:gd name="T32" fmla="*/ 2147483646 w 3556"/>
              <a:gd name="T33" fmla="*/ 2147483646 h 3950"/>
              <a:gd name="T34" fmla="*/ 2147483646 w 3556"/>
              <a:gd name="T35" fmla="*/ 2147483646 h 3950"/>
              <a:gd name="T36" fmla="*/ 2147483646 w 3556"/>
              <a:gd name="T37" fmla="*/ 2147483646 h 3950"/>
              <a:gd name="T38" fmla="*/ 2147483646 w 3556"/>
              <a:gd name="T39" fmla="*/ 2147483646 h 3950"/>
              <a:gd name="T40" fmla="*/ 2147483646 w 3556"/>
              <a:gd name="T41" fmla="*/ 2147483646 h 3950"/>
              <a:gd name="T42" fmla="*/ 2147483646 w 3556"/>
              <a:gd name="T43" fmla="*/ 2147483646 h 3950"/>
              <a:gd name="T44" fmla="*/ 2147483646 w 3556"/>
              <a:gd name="T45" fmla="*/ 2147483646 h 3950"/>
              <a:gd name="T46" fmla="*/ 2147483646 w 3556"/>
              <a:gd name="T47" fmla="*/ 2147483646 h 3950"/>
              <a:gd name="T48" fmla="*/ 2147483646 w 3556"/>
              <a:gd name="T49" fmla="*/ 2147483646 h 3950"/>
              <a:gd name="T50" fmla="*/ 2147483646 w 3556"/>
              <a:gd name="T51" fmla="*/ 2147483646 h 3950"/>
              <a:gd name="T52" fmla="*/ 2147483646 w 3556"/>
              <a:gd name="T53" fmla="*/ 2147483646 h 3950"/>
              <a:gd name="T54" fmla="*/ 2147483646 w 3556"/>
              <a:gd name="T55" fmla="*/ 2147483646 h 3950"/>
              <a:gd name="T56" fmla="*/ 2147483646 w 3556"/>
              <a:gd name="T57" fmla="*/ 2147483646 h 3950"/>
              <a:gd name="T58" fmla="*/ 2147483646 w 3556"/>
              <a:gd name="T59" fmla="*/ 2147483646 h 3950"/>
              <a:gd name="T60" fmla="*/ 2147483646 w 3556"/>
              <a:gd name="T61" fmla="*/ 2147483646 h 3950"/>
              <a:gd name="T62" fmla="*/ 2147483646 w 3556"/>
              <a:gd name="T63" fmla="*/ 2147483646 h 3950"/>
              <a:gd name="T64" fmla="*/ 2147483646 w 3556"/>
              <a:gd name="T65" fmla="*/ 2147483646 h 3950"/>
              <a:gd name="T66" fmla="*/ 2147483646 w 3556"/>
              <a:gd name="T67" fmla="*/ 2147483646 h 3950"/>
              <a:gd name="T68" fmla="*/ 2147483646 w 3556"/>
              <a:gd name="T69" fmla="*/ 2147483646 h 3950"/>
              <a:gd name="T70" fmla="*/ 2147483646 w 3556"/>
              <a:gd name="T71" fmla="*/ 2147483646 h 3950"/>
              <a:gd name="T72" fmla="*/ 2147483646 w 3556"/>
              <a:gd name="T73" fmla="*/ 2147483646 h 3950"/>
              <a:gd name="T74" fmla="*/ 2147483646 w 3556"/>
              <a:gd name="T75" fmla="*/ 2147483646 h 3950"/>
              <a:gd name="T76" fmla="*/ 2147483646 w 3556"/>
              <a:gd name="T77" fmla="*/ 2147483646 h 3950"/>
              <a:gd name="T78" fmla="*/ 2147483646 w 3556"/>
              <a:gd name="T79" fmla="*/ 2147483646 h 3950"/>
              <a:gd name="T80" fmla="*/ 2147483646 w 3556"/>
              <a:gd name="T81" fmla="*/ 0 h 3950"/>
              <a:gd name="T82" fmla="*/ 2147483646 w 3556"/>
              <a:gd name="T83" fmla="*/ 2147483646 h 3950"/>
              <a:gd name="T84" fmla="*/ 2147483646 w 3556"/>
              <a:gd name="T85" fmla="*/ 2147483646 h 3950"/>
              <a:gd name="T86" fmla="*/ 2147483646 w 3556"/>
              <a:gd name="T87" fmla="*/ 2147483646 h 3950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556"/>
              <a:gd name="T133" fmla="*/ 0 h 3950"/>
              <a:gd name="T134" fmla="*/ 3556 w 3556"/>
              <a:gd name="T135" fmla="*/ 3950 h 3950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556" h="3950">
                <a:moveTo>
                  <a:pt x="909" y="3917"/>
                </a:moveTo>
                <a:cubicBezTo>
                  <a:pt x="824" y="3832"/>
                  <a:pt x="894" y="3725"/>
                  <a:pt x="1036" y="3725"/>
                </a:cubicBezTo>
                <a:cubicBezTo>
                  <a:pt x="1119" y="3725"/>
                  <a:pt x="1129" y="3717"/>
                  <a:pt x="1129" y="3645"/>
                </a:cubicBezTo>
                <a:cubicBezTo>
                  <a:pt x="1129" y="3472"/>
                  <a:pt x="1135" y="3471"/>
                  <a:pt x="2192" y="3471"/>
                </a:cubicBezTo>
                <a:cubicBezTo>
                  <a:pt x="3086" y="3471"/>
                  <a:pt x="3155" y="3475"/>
                  <a:pt x="3199" y="3523"/>
                </a:cubicBezTo>
                <a:cubicBezTo>
                  <a:pt x="3225" y="3551"/>
                  <a:pt x="3246" y="3608"/>
                  <a:pt x="3246" y="3648"/>
                </a:cubicBezTo>
                <a:cubicBezTo>
                  <a:pt x="3246" y="3712"/>
                  <a:pt x="3259" y="3723"/>
                  <a:pt x="3349" y="3730"/>
                </a:cubicBezTo>
                <a:cubicBezTo>
                  <a:pt x="3470" y="3741"/>
                  <a:pt x="3530" y="3811"/>
                  <a:pt x="3482" y="3887"/>
                </a:cubicBezTo>
                <a:cubicBezTo>
                  <a:pt x="3453" y="3933"/>
                  <a:pt x="3356" y="3937"/>
                  <a:pt x="2197" y="3944"/>
                </a:cubicBezTo>
                <a:cubicBezTo>
                  <a:pt x="1245" y="3950"/>
                  <a:pt x="935" y="3943"/>
                  <a:pt x="909" y="3917"/>
                </a:cubicBezTo>
                <a:close/>
                <a:moveTo>
                  <a:pt x="87" y="3370"/>
                </a:moveTo>
                <a:cubicBezTo>
                  <a:pt x="24" y="3317"/>
                  <a:pt x="0" y="3272"/>
                  <a:pt x="0" y="3209"/>
                </a:cubicBezTo>
                <a:cubicBezTo>
                  <a:pt x="0" y="3132"/>
                  <a:pt x="86" y="3035"/>
                  <a:pt x="705" y="2414"/>
                </a:cubicBezTo>
                <a:lnTo>
                  <a:pt x="1411" y="1706"/>
                </a:lnTo>
                <a:lnTo>
                  <a:pt x="1235" y="1530"/>
                </a:lnTo>
                <a:lnTo>
                  <a:pt x="1059" y="1355"/>
                </a:lnTo>
                <a:lnTo>
                  <a:pt x="1510" y="903"/>
                </a:lnTo>
                <a:lnTo>
                  <a:pt x="1960" y="452"/>
                </a:lnTo>
                <a:lnTo>
                  <a:pt x="2135" y="624"/>
                </a:lnTo>
                <a:cubicBezTo>
                  <a:pt x="2305" y="793"/>
                  <a:pt x="2310" y="796"/>
                  <a:pt x="2374" y="751"/>
                </a:cubicBezTo>
                <a:cubicBezTo>
                  <a:pt x="2469" y="685"/>
                  <a:pt x="2547" y="695"/>
                  <a:pt x="2633" y="785"/>
                </a:cubicBezTo>
                <a:cubicBezTo>
                  <a:pt x="2720" y="875"/>
                  <a:pt x="2731" y="974"/>
                  <a:pt x="2662" y="1050"/>
                </a:cubicBezTo>
                <a:cubicBezTo>
                  <a:pt x="2616" y="1100"/>
                  <a:pt x="2624" y="1112"/>
                  <a:pt x="2823" y="1313"/>
                </a:cubicBezTo>
                <a:lnTo>
                  <a:pt x="3033" y="1524"/>
                </a:lnTo>
                <a:lnTo>
                  <a:pt x="2582" y="1975"/>
                </a:lnTo>
                <a:lnTo>
                  <a:pt x="2132" y="2427"/>
                </a:lnTo>
                <a:lnTo>
                  <a:pt x="1933" y="2229"/>
                </a:lnTo>
                <a:cubicBezTo>
                  <a:pt x="1824" y="2121"/>
                  <a:pt x="1722" y="2032"/>
                  <a:pt x="1707" y="2032"/>
                </a:cubicBezTo>
                <a:cubicBezTo>
                  <a:pt x="1693" y="2032"/>
                  <a:pt x="1362" y="2349"/>
                  <a:pt x="973" y="2737"/>
                </a:cubicBezTo>
                <a:cubicBezTo>
                  <a:pt x="584" y="3125"/>
                  <a:pt x="245" y="3443"/>
                  <a:pt x="220" y="3443"/>
                </a:cubicBezTo>
                <a:cubicBezTo>
                  <a:pt x="194" y="3443"/>
                  <a:pt x="135" y="3410"/>
                  <a:pt x="87" y="3370"/>
                </a:cubicBezTo>
                <a:close/>
                <a:moveTo>
                  <a:pt x="2258" y="2887"/>
                </a:moveTo>
                <a:cubicBezTo>
                  <a:pt x="2196" y="2865"/>
                  <a:pt x="2145" y="2792"/>
                  <a:pt x="2145" y="2725"/>
                </a:cubicBezTo>
                <a:cubicBezTo>
                  <a:pt x="2145" y="2686"/>
                  <a:pt x="2337" y="2474"/>
                  <a:pt x="2703" y="2109"/>
                </a:cubicBezTo>
                <a:cubicBezTo>
                  <a:pt x="3289" y="1523"/>
                  <a:pt x="3346" y="1485"/>
                  <a:pt x="3453" y="1604"/>
                </a:cubicBezTo>
                <a:cubicBezTo>
                  <a:pt x="3556" y="1717"/>
                  <a:pt x="3522" y="1766"/>
                  <a:pt x="2956" y="2331"/>
                </a:cubicBezTo>
                <a:cubicBezTo>
                  <a:pt x="2657" y="2630"/>
                  <a:pt x="2388" y="2880"/>
                  <a:pt x="2357" y="2888"/>
                </a:cubicBezTo>
                <a:cubicBezTo>
                  <a:pt x="2326" y="2895"/>
                  <a:pt x="2281" y="2895"/>
                  <a:pt x="2258" y="2887"/>
                </a:cubicBezTo>
                <a:close/>
                <a:moveTo>
                  <a:pt x="637" y="1282"/>
                </a:moveTo>
                <a:cubicBezTo>
                  <a:pt x="528" y="1172"/>
                  <a:pt x="568" y="1113"/>
                  <a:pt x="1137" y="544"/>
                </a:cubicBezTo>
                <a:cubicBezTo>
                  <a:pt x="1607" y="74"/>
                  <a:pt x="1693" y="0"/>
                  <a:pt x="1767" y="0"/>
                </a:cubicBezTo>
                <a:cubicBezTo>
                  <a:pt x="1862" y="0"/>
                  <a:pt x="1947" y="73"/>
                  <a:pt x="1947" y="156"/>
                </a:cubicBezTo>
                <a:cubicBezTo>
                  <a:pt x="1947" y="186"/>
                  <a:pt x="1715" y="442"/>
                  <a:pt x="1391" y="767"/>
                </a:cubicBezTo>
                <a:cubicBezTo>
                  <a:pt x="808" y="1353"/>
                  <a:pt x="749" y="1393"/>
                  <a:pt x="637" y="12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4" name="Group 118">
            <a:extLst>
              <a:ext uri="{FF2B5EF4-FFF2-40B4-BE49-F238E27FC236}">
                <a16:creationId xmlns:a16="http://schemas.microsoft.com/office/drawing/2014/main" id="{FB3D6A90-C4FD-433A-A1C1-A4B3864804A5}"/>
              </a:ext>
            </a:extLst>
          </p:cNvPr>
          <p:cNvGrpSpPr/>
          <p:nvPr/>
        </p:nvGrpSpPr>
        <p:grpSpPr>
          <a:xfrm>
            <a:off x="8409631" y="5248358"/>
            <a:ext cx="346498" cy="347472"/>
            <a:chOff x="1468138" y="5997240"/>
            <a:chExt cx="283642" cy="307072"/>
          </a:xfrm>
          <a:solidFill>
            <a:schemeClr val="bg1"/>
          </a:solidFill>
        </p:grpSpPr>
        <p:sp>
          <p:nvSpPr>
            <p:cNvPr id="120" name="Freeform 16">
              <a:extLst>
                <a:ext uri="{FF2B5EF4-FFF2-40B4-BE49-F238E27FC236}">
                  <a16:creationId xmlns:a16="http://schemas.microsoft.com/office/drawing/2014/main" id="{D6134FC8-4249-4088-8AE8-003C8AAC7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6136" y="6255221"/>
              <a:ext cx="26428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1 w 349"/>
                <a:gd name="T25" fmla="*/ 226 h 350"/>
                <a:gd name="T26" fmla="*/ 225 w 349"/>
                <a:gd name="T27" fmla="*/ 213 h 350"/>
                <a:gd name="T28" fmla="*/ 234 w 349"/>
                <a:gd name="T29" fmla="*/ 194 h 350"/>
                <a:gd name="T30" fmla="*/ 237 w 349"/>
                <a:gd name="T31" fmla="*/ 175 h 350"/>
                <a:gd name="T32" fmla="*/ 235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5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4 w 349"/>
                <a:gd name="T47" fmla="*/ 3 h 350"/>
                <a:gd name="T48" fmla="*/ 234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8 w 349"/>
                <a:gd name="T55" fmla="*/ 63 h 350"/>
                <a:gd name="T56" fmla="*/ 325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5 w 349"/>
                <a:gd name="T65" fmla="*/ 210 h 350"/>
                <a:gd name="T66" fmla="*/ 335 w 349"/>
                <a:gd name="T67" fmla="*/ 243 h 350"/>
                <a:gd name="T68" fmla="*/ 319 w 349"/>
                <a:gd name="T69" fmla="*/ 273 h 350"/>
                <a:gd name="T70" fmla="*/ 297 w 349"/>
                <a:gd name="T71" fmla="*/ 299 h 350"/>
                <a:gd name="T72" fmla="*/ 272 w 349"/>
                <a:gd name="T73" fmla="*/ 319 h 350"/>
                <a:gd name="T74" fmla="*/ 242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39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29 w 349"/>
                <a:gd name="T89" fmla="*/ 273 h 350"/>
                <a:gd name="T90" fmla="*/ 14 w 349"/>
                <a:gd name="T91" fmla="*/ 243 h 350"/>
                <a:gd name="T92" fmla="*/ 3 w 349"/>
                <a:gd name="T93" fmla="*/ 210 h 350"/>
                <a:gd name="T94" fmla="*/ 0 w 349"/>
                <a:gd name="T95" fmla="*/ 175 h 350"/>
                <a:gd name="T96" fmla="*/ 3 w 349"/>
                <a:gd name="T97" fmla="*/ 140 h 350"/>
                <a:gd name="T98" fmla="*/ 14 w 349"/>
                <a:gd name="T99" fmla="*/ 107 h 350"/>
                <a:gd name="T100" fmla="*/ 29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39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1" y="226"/>
                  </a:lnTo>
                  <a:lnTo>
                    <a:pt x="225" y="213"/>
                  </a:lnTo>
                  <a:lnTo>
                    <a:pt x="234" y="194"/>
                  </a:lnTo>
                  <a:lnTo>
                    <a:pt x="237" y="175"/>
                  </a:lnTo>
                  <a:lnTo>
                    <a:pt x="235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5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4" y="3"/>
                  </a:lnTo>
                  <a:lnTo>
                    <a:pt x="234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8" y="63"/>
                  </a:lnTo>
                  <a:lnTo>
                    <a:pt x="325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5" y="210"/>
                  </a:lnTo>
                  <a:lnTo>
                    <a:pt x="335" y="243"/>
                  </a:lnTo>
                  <a:lnTo>
                    <a:pt x="319" y="273"/>
                  </a:lnTo>
                  <a:lnTo>
                    <a:pt x="297" y="299"/>
                  </a:lnTo>
                  <a:lnTo>
                    <a:pt x="272" y="319"/>
                  </a:lnTo>
                  <a:lnTo>
                    <a:pt x="242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39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29" y="273"/>
                  </a:lnTo>
                  <a:lnTo>
                    <a:pt x="14" y="243"/>
                  </a:lnTo>
                  <a:lnTo>
                    <a:pt x="3" y="210"/>
                  </a:lnTo>
                  <a:lnTo>
                    <a:pt x="0" y="175"/>
                  </a:lnTo>
                  <a:lnTo>
                    <a:pt x="3" y="140"/>
                  </a:lnTo>
                  <a:lnTo>
                    <a:pt x="14" y="107"/>
                  </a:lnTo>
                  <a:lnTo>
                    <a:pt x="29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39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1" name="Freeform 17">
              <a:extLst>
                <a:ext uri="{FF2B5EF4-FFF2-40B4-BE49-F238E27FC236}">
                  <a16:creationId xmlns:a16="http://schemas.microsoft.com/office/drawing/2014/main" id="{67A5F0B0-C078-4A85-9E32-409FF0B3D5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2133" y="6255221"/>
              <a:ext cx="26656" cy="29305"/>
            </a:xfrm>
            <a:custGeom>
              <a:avLst/>
              <a:gdLst>
                <a:gd name="T0" fmla="*/ 175 w 349"/>
                <a:gd name="T1" fmla="*/ 112 h 350"/>
                <a:gd name="T2" fmla="*/ 154 w 349"/>
                <a:gd name="T3" fmla="*/ 115 h 350"/>
                <a:gd name="T4" fmla="*/ 137 w 349"/>
                <a:gd name="T5" fmla="*/ 124 h 350"/>
                <a:gd name="T6" fmla="*/ 124 w 349"/>
                <a:gd name="T7" fmla="*/ 138 h 350"/>
                <a:gd name="T8" fmla="*/ 115 w 349"/>
                <a:gd name="T9" fmla="*/ 155 h 350"/>
                <a:gd name="T10" fmla="*/ 111 w 349"/>
                <a:gd name="T11" fmla="*/ 175 h 350"/>
                <a:gd name="T12" fmla="*/ 115 w 349"/>
                <a:gd name="T13" fmla="*/ 194 h 350"/>
                <a:gd name="T14" fmla="*/ 124 w 349"/>
                <a:gd name="T15" fmla="*/ 213 h 350"/>
                <a:gd name="T16" fmla="*/ 137 w 349"/>
                <a:gd name="T17" fmla="*/ 226 h 350"/>
                <a:gd name="T18" fmla="*/ 154 w 349"/>
                <a:gd name="T19" fmla="*/ 235 h 350"/>
                <a:gd name="T20" fmla="*/ 175 w 349"/>
                <a:gd name="T21" fmla="*/ 238 h 350"/>
                <a:gd name="T22" fmla="*/ 194 w 349"/>
                <a:gd name="T23" fmla="*/ 235 h 350"/>
                <a:gd name="T24" fmla="*/ 212 w 349"/>
                <a:gd name="T25" fmla="*/ 226 h 350"/>
                <a:gd name="T26" fmla="*/ 226 w 349"/>
                <a:gd name="T27" fmla="*/ 213 h 350"/>
                <a:gd name="T28" fmla="*/ 235 w 349"/>
                <a:gd name="T29" fmla="*/ 194 h 350"/>
                <a:gd name="T30" fmla="*/ 237 w 349"/>
                <a:gd name="T31" fmla="*/ 175 h 350"/>
                <a:gd name="T32" fmla="*/ 236 w 349"/>
                <a:gd name="T33" fmla="*/ 158 h 350"/>
                <a:gd name="T34" fmla="*/ 229 w 349"/>
                <a:gd name="T35" fmla="*/ 143 h 350"/>
                <a:gd name="T36" fmla="*/ 219 w 349"/>
                <a:gd name="T37" fmla="*/ 130 h 350"/>
                <a:gd name="T38" fmla="*/ 207 w 349"/>
                <a:gd name="T39" fmla="*/ 121 h 350"/>
                <a:gd name="T40" fmla="*/ 191 w 349"/>
                <a:gd name="T41" fmla="*/ 114 h 350"/>
                <a:gd name="T42" fmla="*/ 175 w 349"/>
                <a:gd name="T43" fmla="*/ 112 h 350"/>
                <a:gd name="T44" fmla="*/ 175 w 349"/>
                <a:gd name="T45" fmla="*/ 0 h 350"/>
                <a:gd name="T46" fmla="*/ 205 w 349"/>
                <a:gd name="T47" fmla="*/ 3 h 350"/>
                <a:gd name="T48" fmla="*/ 235 w 349"/>
                <a:gd name="T49" fmla="*/ 11 h 350"/>
                <a:gd name="T50" fmla="*/ 262 w 349"/>
                <a:gd name="T51" fmla="*/ 23 h 350"/>
                <a:gd name="T52" fmla="*/ 287 w 349"/>
                <a:gd name="T53" fmla="*/ 41 h 350"/>
                <a:gd name="T54" fmla="*/ 309 w 349"/>
                <a:gd name="T55" fmla="*/ 63 h 350"/>
                <a:gd name="T56" fmla="*/ 326 w 349"/>
                <a:gd name="T57" fmla="*/ 88 h 350"/>
                <a:gd name="T58" fmla="*/ 338 w 349"/>
                <a:gd name="T59" fmla="*/ 115 h 350"/>
                <a:gd name="T60" fmla="*/ 346 w 349"/>
                <a:gd name="T61" fmla="*/ 145 h 350"/>
                <a:gd name="T62" fmla="*/ 349 w 349"/>
                <a:gd name="T63" fmla="*/ 175 h 350"/>
                <a:gd name="T64" fmla="*/ 346 w 349"/>
                <a:gd name="T65" fmla="*/ 210 h 350"/>
                <a:gd name="T66" fmla="*/ 336 w 349"/>
                <a:gd name="T67" fmla="*/ 243 h 350"/>
                <a:gd name="T68" fmla="*/ 319 w 349"/>
                <a:gd name="T69" fmla="*/ 273 h 350"/>
                <a:gd name="T70" fmla="*/ 298 w 349"/>
                <a:gd name="T71" fmla="*/ 299 h 350"/>
                <a:gd name="T72" fmla="*/ 272 w 349"/>
                <a:gd name="T73" fmla="*/ 319 h 350"/>
                <a:gd name="T74" fmla="*/ 243 w 349"/>
                <a:gd name="T75" fmla="*/ 336 h 350"/>
                <a:gd name="T76" fmla="*/ 210 w 349"/>
                <a:gd name="T77" fmla="*/ 346 h 350"/>
                <a:gd name="T78" fmla="*/ 175 w 349"/>
                <a:gd name="T79" fmla="*/ 350 h 350"/>
                <a:gd name="T80" fmla="*/ 140 w 349"/>
                <a:gd name="T81" fmla="*/ 346 h 350"/>
                <a:gd name="T82" fmla="*/ 107 w 349"/>
                <a:gd name="T83" fmla="*/ 336 h 350"/>
                <a:gd name="T84" fmla="*/ 77 w 349"/>
                <a:gd name="T85" fmla="*/ 319 h 350"/>
                <a:gd name="T86" fmla="*/ 51 w 349"/>
                <a:gd name="T87" fmla="*/ 299 h 350"/>
                <a:gd name="T88" fmla="*/ 30 w 349"/>
                <a:gd name="T89" fmla="*/ 273 h 350"/>
                <a:gd name="T90" fmla="*/ 14 w 349"/>
                <a:gd name="T91" fmla="*/ 243 h 350"/>
                <a:gd name="T92" fmla="*/ 4 w 349"/>
                <a:gd name="T93" fmla="*/ 210 h 350"/>
                <a:gd name="T94" fmla="*/ 0 w 349"/>
                <a:gd name="T95" fmla="*/ 175 h 350"/>
                <a:gd name="T96" fmla="*/ 4 w 349"/>
                <a:gd name="T97" fmla="*/ 140 h 350"/>
                <a:gd name="T98" fmla="*/ 14 w 349"/>
                <a:gd name="T99" fmla="*/ 107 h 350"/>
                <a:gd name="T100" fmla="*/ 30 w 349"/>
                <a:gd name="T101" fmla="*/ 78 h 350"/>
                <a:gd name="T102" fmla="*/ 51 w 349"/>
                <a:gd name="T103" fmla="*/ 52 h 350"/>
                <a:gd name="T104" fmla="*/ 77 w 349"/>
                <a:gd name="T105" fmla="*/ 30 h 350"/>
                <a:gd name="T106" fmla="*/ 107 w 349"/>
                <a:gd name="T107" fmla="*/ 14 h 350"/>
                <a:gd name="T108" fmla="*/ 140 w 349"/>
                <a:gd name="T109" fmla="*/ 4 h 350"/>
                <a:gd name="T110" fmla="*/ 175 w 349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9" h="350">
                  <a:moveTo>
                    <a:pt x="175" y="112"/>
                  </a:moveTo>
                  <a:lnTo>
                    <a:pt x="154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4" y="235"/>
                  </a:lnTo>
                  <a:lnTo>
                    <a:pt x="175" y="238"/>
                  </a:lnTo>
                  <a:lnTo>
                    <a:pt x="194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7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19" y="130"/>
                  </a:lnTo>
                  <a:lnTo>
                    <a:pt x="207" y="121"/>
                  </a:lnTo>
                  <a:lnTo>
                    <a:pt x="191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5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8" y="115"/>
                  </a:lnTo>
                  <a:lnTo>
                    <a:pt x="346" y="145"/>
                  </a:lnTo>
                  <a:lnTo>
                    <a:pt x="349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19" y="273"/>
                  </a:lnTo>
                  <a:lnTo>
                    <a:pt x="298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2" name="Freeform 18">
              <a:extLst>
                <a:ext uri="{FF2B5EF4-FFF2-40B4-BE49-F238E27FC236}">
                  <a16:creationId xmlns:a16="http://schemas.microsoft.com/office/drawing/2014/main" id="{BF1784DA-3E40-44FD-998D-DB1DD379C0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8357" y="6255221"/>
              <a:ext cx="26428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7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1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7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8 w 350"/>
                <a:gd name="T31" fmla="*/ 175 h 350"/>
                <a:gd name="T32" fmla="*/ 236 w 350"/>
                <a:gd name="T33" fmla="*/ 158 h 350"/>
                <a:gd name="T34" fmla="*/ 229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7 w 350"/>
                <a:gd name="T53" fmla="*/ 41 h 350"/>
                <a:gd name="T54" fmla="*/ 309 w 350"/>
                <a:gd name="T55" fmla="*/ 63 h 350"/>
                <a:gd name="T56" fmla="*/ 326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2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7 w 350"/>
                <a:gd name="T85" fmla="*/ 319 h 350"/>
                <a:gd name="T86" fmla="*/ 51 w 350"/>
                <a:gd name="T87" fmla="*/ 299 h 350"/>
                <a:gd name="T88" fmla="*/ 30 w 350"/>
                <a:gd name="T89" fmla="*/ 273 h 350"/>
                <a:gd name="T90" fmla="*/ 14 w 350"/>
                <a:gd name="T91" fmla="*/ 243 h 350"/>
                <a:gd name="T92" fmla="*/ 4 w 350"/>
                <a:gd name="T93" fmla="*/ 210 h 350"/>
                <a:gd name="T94" fmla="*/ 0 w 350"/>
                <a:gd name="T95" fmla="*/ 175 h 350"/>
                <a:gd name="T96" fmla="*/ 4 w 350"/>
                <a:gd name="T97" fmla="*/ 140 h 350"/>
                <a:gd name="T98" fmla="*/ 14 w 350"/>
                <a:gd name="T99" fmla="*/ 107 h 350"/>
                <a:gd name="T100" fmla="*/ 30 w 350"/>
                <a:gd name="T101" fmla="*/ 78 h 350"/>
                <a:gd name="T102" fmla="*/ 51 w 350"/>
                <a:gd name="T103" fmla="*/ 52 h 350"/>
                <a:gd name="T104" fmla="*/ 77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7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1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7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8" y="175"/>
                  </a:lnTo>
                  <a:lnTo>
                    <a:pt x="236" y="158"/>
                  </a:lnTo>
                  <a:lnTo>
                    <a:pt x="229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7" y="41"/>
                  </a:lnTo>
                  <a:lnTo>
                    <a:pt x="309" y="63"/>
                  </a:lnTo>
                  <a:lnTo>
                    <a:pt x="326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2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7" y="319"/>
                  </a:lnTo>
                  <a:lnTo>
                    <a:pt x="51" y="299"/>
                  </a:lnTo>
                  <a:lnTo>
                    <a:pt x="30" y="273"/>
                  </a:lnTo>
                  <a:lnTo>
                    <a:pt x="14" y="243"/>
                  </a:lnTo>
                  <a:lnTo>
                    <a:pt x="4" y="210"/>
                  </a:lnTo>
                  <a:lnTo>
                    <a:pt x="0" y="175"/>
                  </a:lnTo>
                  <a:lnTo>
                    <a:pt x="4" y="140"/>
                  </a:lnTo>
                  <a:lnTo>
                    <a:pt x="14" y="107"/>
                  </a:lnTo>
                  <a:lnTo>
                    <a:pt x="30" y="78"/>
                  </a:lnTo>
                  <a:lnTo>
                    <a:pt x="51" y="52"/>
                  </a:lnTo>
                  <a:lnTo>
                    <a:pt x="77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3" name="Freeform 19">
              <a:extLst>
                <a:ext uri="{FF2B5EF4-FFF2-40B4-BE49-F238E27FC236}">
                  <a16:creationId xmlns:a16="http://schemas.microsoft.com/office/drawing/2014/main" id="{FF26547B-24B3-4108-8095-A2794E966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4353" y="6255221"/>
              <a:ext cx="26656" cy="29305"/>
            </a:xfrm>
            <a:custGeom>
              <a:avLst/>
              <a:gdLst>
                <a:gd name="T0" fmla="*/ 175 w 350"/>
                <a:gd name="T1" fmla="*/ 112 h 350"/>
                <a:gd name="T2" fmla="*/ 156 w 350"/>
                <a:gd name="T3" fmla="*/ 115 h 350"/>
                <a:gd name="T4" fmla="*/ 138 w 350"/>
                <a:gd name="T5" fmla="*/ 124 h 350"/>
                <a:gd name="T6" fmla="*/ 124 w 350"/>
                <a:gd name="T7" fmla="*/ 138 h 350"/>
                <a:gd name="T8" fmla="*/ 115 w 350"/>
                <a:gd name="T9" fmla="*/ 155 h 350"/>
                <a:gd name="T10" fmla="*/ 113 w 350"/>
                <a:gd name="T11" fmla="*/ 175 h 350"/>
                <a:gd name="T12" fmla="*/ 115 w 350"/>
                <a:gd name="T13" fmla="*/ 194 h 350"/>
                <a:gd name="T14" fmla="*/ 124 w 350"/>
                <a:gd name="T15" fmla="*/ 213 h 350"/>
                <a:gd name="T16" fmla="*/ 138 w 350"/>
                <a:gd name="T17" fmla="*/ 226 h 350"/>
                <a:gd name="T18" fmla="*/ 156 w 350"/>
                <a:gd name="T19" fmla="*/ 235 h 350"/>
                <a:gd name="T20" fmla="*/ 175 w 350"/>
                <a:gd name="T21" fmla="*/ 238 h 350"/>
                <a:gd name="T22" fmla="*/ 195 w 350"/>
                <a:gd name="T23" fmla="*/ 235 h 350"/>
                <a:gd name="T24" fmla="*/ 212 w 350"/>
                <a:gd name="T25" fmla="*/ 226 h 350"/>
                <a:gd name="T26" fmla="*/ 226 w 350"/>
                <a:gd name="T27" fmla="*/ 213 h 350"/>
                <a:gd name="T28" fmla="*/ 235 w 350"/>
                <a:gd name="T29" fmla="*/ 194 h 350"/>
                <a:gd name="T30" fmla="*/ 239 w 350"/>
                <a:gd name="T31" fmla="*/ 175 h 350"/>
                <a:gd name="T32" fmla="*/ 236 w 350"/>
                <a:gd name="T33" fmla="*/ 158 h 350"/>
                <a:gd name="T34" fmla="*/ 231 w 350"/>
                <a:gd name="T35" fmla="*/ 143 h 350"/>
                <a:gd name="T36" fmla="*/ 220 w 350"/>
                <a:gd name="T37" fmla="*/ 130 h 350"/>
                <a:gd name="T38" fmla="*/ 207 w 350"/>
                <a:gd name="T39" fmla="*/ 121 h 350"/>
                <a:gd name="T40" fmla="*/ 192 w 350"/>
                <a:gd name="T41" fmla="*/ 114 h 350"/>
                <a:gd name="T42" fmla="*/ 175 w 350"/>
                <a:gd name="T43" fmla="*/ 112 h 350"/>
                <a:gd name="T44" fmla="*/ 175 w 350"/>
                <a:gd name="T45" fmla="*/ 0 h 350"/>
                <a:gd name="T46" fmla="*/ 206 w 350"/>
                <a:gd name="T47" fmla="*/ 3 h 350"/>
                <a:gd name="T48" fmla="*/ 235 w 350"/>
                <a:gd name="T49" fmla="*/ 11 h 350"/>
                <a:gd name="T50" fmla="*/ 262 w 350"/>
                <a:gd name="T51" fmla="*/ 23 h 350"/>
                <a:gd name="T52" fmla="*/ 288 w 350"/>
                <a:gd name="T53" fmla="*/ 41 h 350"/>
                <a:gd name="T54" fmla="*/ 309 w 350"/>
                <a:gd name="T55" fmla="*/ 63 h 350"/>
                <a:gd name="T56" fmla="*/ 327 w 350"/>
                <a:gd name="T57" fmla="*/ 88 h 350"/>
                <a:gd name="T58" fmla="*/ 339 w 350"/>
                <a:gd name="T59" fmla="*/ 115 h 350"/>
                <a:gd name="T60" fmla="*/ 347 w 350"/>
                <a:gd name="T61" fmla="*/ 145 h 350"/>
                <a:gd name="T62" fmla="*/ 350 w 350"/>
                <a:gd name="T63" fmla="*/ 175 h 350"/>
                <a:gd name="T64" fmla="*/ 346 w 350"/>
                <a:gd name="T65" fmla="*/ 210 h 350"/>
                <a:gd name="T66" fmla="*/ 336 w 350"/>
                <a:gd name="T67" fmla="*/ 243 h 350"/>
                <a:gd name="T68" fmla="*/ 320 w 350"/>
                <a:gd name="T69" fmla="*/ 273 h 350"/>
                <a:gd name="T70" fmla="*/ 299 w 350"/>
                <a:gd name="T71" fmla="*/ 299 h 350"/>
                <a:gd name="T72" fmla="*/ 273 w 350"/>
                <a:gd name="T73" fmla="*/ 319 h 350"/>
                <a:gd name="T74" fmla="*/ 243 w 350"/>
                <a:gd name="T75" fmla="*/ 336 h 350"/>
                <a:gd name="T76" fmla="*/ 210 w 350"/>
                <a:gd name="T77" fmla="*/ 346 h 350"/>
                <a:gd name="T78" fmla="*/ 175 w 350"/>
                <a:gd name="T79" fmla="*/ 350 h 350"/>
                <a:gd name="T80" fmla="*/ 140 w 350"/>
                <a:gd name="T81" fmla="*/ 346 h 350"/>
                <a:gd name="T82" fmla="*/ 107 w 350"/>
                <a:gd name="T83" fmla="*/ 336 h 350"/>
                <a:gd name="T84" fmla="*/ 78 w 350"/>
                <a:gd name="T85" fmla="*/ 319 h 350"/>
                <a:gd name="T86" fmla="*/ 53 w 350"/>
                <a:gd name="T87" fmla="*/ 299 h 350"/>
                <a:gd name="T88" fmla="*/ 31 w 350"/>
                <a:gd name="T89" fmla="*/ 273 h 350"/>
                <a:gd name="T90" fmla="*/ 15 w 350"/>
                <a:gd name="T91" fmla="*/ 243 h 350"/>
                <a:gd name="T92" fmla="*/ 5 w 350"/>
                <a:gd name="T93" fmla="*/ 210 h 350"/>
                <a:gd name="T94" fmla="*/ 0 w 350"/>
                <a:gd name="T95" fmla="*/ 175 h 350"/>
                <a:gd name="T96" fmla="*/ 5 w 350"/>
                <a:gd name="T97" fmla="*/ 140 h 350"/>
                <a:gd name="T98" fmla="*/ 15 w 350"/>
                <a:gd name="T99" fmla="*/ 107 h 350"/>
                <a:gd name="T100" fmla="*/ 31 w 350"/>
                <a:gd name="T101" fmla="*/ 78 h 350"/>
                <a:gd name="T102" fmla="*/ 53 w 350"/>
                <a:gd name="T103" fmla="*/ 52 h 350"/>
                <a:gd name="T104" fmla="*/ 78 w 350"/>
                <a:gd name="T105" fmla="*/ 30 h 350"/>
                <a:gd name="T106" fmla="*/ 107 w 350"/>
                <a:gd name="T107" fmla="*/ 14 h 350"/>
                <a:gd name="T108" fmla="*/ 140 w 350"/>
                <a:gd name="T109" fmla="*/ 4 h 350"/>
                <a:gd name="T110" fmla="*/ 175 w 350"/>
                <a:gd name="T111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0" h="350">
                  <a:moveTo>
                    <a:pt x="175" y="112"/>
                  </a:moveTo>
                  <a:lnTo>
                    <a:pt x="156" y="115"/>
                  </a:lnTo>
                  <a:lnTo>
                    <a:pt x="138" y="124"/>
                  </a:lnTo>
                  <a:lnTo>
                    <a:pt x="124" y="138"/>
                  </a:lnTo>
                  <a:lnTo>
                    <a:pt x="115" y="155"/>
                  </a:lnTo>
                  <a:lnTo>
                    <a:pt x="113" y="175"/>
                  </a:lnTo>
                  <a:lnTo>
                    <a:pt x="115" y="194"/>
                  </a:lnTo>
                  <a:lnTo>
                    <a:pt x="124" y="213"/>
                  </a:lnTo>
                  <a:lnTo>
                    <a:pt x="138" y="226"/>
                  </a:lnTo>
                  <a:lnTo>
                    <a:pt x="156" y="235"/>
                  </a:lnTo>
                  <a:lnTo>
                    <a:pt x="175" y="238"/>
                  </a:lnTo>
                  <a:lnTo>
                    <a:pt x="195" y="235"/>
                  </a:lnTo>
                  <a:lnTo>
                    <a:pt x="212" y="226"/>
                  </a:lnTo>
                  <a:lnTo>
                    <a:pt x="226" y="213"/>
                  </a:lnTo>
                  <a:lnTo>
                    <a:pt x="235" y="194"/>
                  </a:lnTo>
                  <a:lnTo>
                    <a:pt x="239" y="175"/>
                  </a:lnTo>
                  <a:lnTo>
                    <a:pt x="236" y="158"/>
                  </a:lnTo>
                  <a:lnTo>
                    <a:pt x="231" y="143"/>
                  </a:lnTo>
                  <a:lnTo>
                    <a:pt x="220" y="130"/>
                  </a:lnTo>
                  <a:lnTo>
                    <a:pt x="207" y="121"/>
                  </a:lnTo>
                  <a:lnTo>
                    <a:pt x="192" y="114"/>
                  </a:lnTo>
                  <a:lnTo>
                    <a:pt x="175" y="112"/>
                  </a:lnTo>
                  <a:close/>
                  <a:moveTo>
                    <a:pt x="175" y="0"/>
                  </a:moveTo>
                  <a:lnTo>
                    <a:pt x="206" y="3"/>
                  </a:lnTo>
                  <a:lnTo>
                    <a:pt x="235" y="11"/>
                  </a:lnTo>
                  <a:lnTo>
                    <a:pt x="262" y="23"/>
                  </a:lnTo>
                  <a:lnTo>
                    <a:pt x="288" y="41"/>
                  </a:lnTo>
                  <a:lnTo>
                    <a:pt x="309" y="63"/>
                  </a:lnTo>
                  <a:lnTo>
                    <a:pt x="327" y="88"/>
                  </a:lnTo>
                  <a:lnTo>
                    <a:pt x="339" y="115"/>
                  </a:lnTo>
                  <a:lnTo>
                    <a:pt x="347" y="145"/>
                  </a:lnTo>
                  <a:lnTo>
                    <a:pt x="350" y="175"/>
                  </a:lnTo>
                  <a:lnTo>
                    <a:pt x="346" y="210"/>
                  </a:lnTo>
                  <a:lnTo>
                    <a:pt x="336" y="243"/>
                  </a:lnTo>
                  <a:lnTo>
                    <a:pt x="320" y="273"/>
                  </a:lnTo>
                  <a:lnTo>
                    <a:pt x="299" y="299"/>
                  </a:lnTo>
                  <a:lnTo>
                    <a:pt x="273" y="319"/>
                  </a:lnTo>
                  <a:lnTo>
                    <a:pt x="243" y="336"/>
                  </a:lnTo>
                  <a:lnTo>
                    <a:pt x="210" y="346"/>
                  </a:lnTo>
                  <a:lnTo>
                    <a:pt x="175" y="350"/>
                  </a:lnTo>
                  <a:lnTo>
                    <a:pt x="140" y="346"/>
                  </a:lnTo>
                  <a:lnTo>
                    <a:pt x="107" y="336"/>
                  </a:lnTo>
                  <a:lnTo>
                    <a:pt x="78" y="319"/>
                  </a:lnTo>
                  <a:lnTo>
                    <a:pt x="53" y="299"/>
                  </a:lnTo>
                  <a:lnTo>
                    <a:pt x="31" y="273"/>
                  </a:lnTo>
                  <a:lnTo>
                    <a:pt x="15" y="243"/>
                  </a:lnTo>
                  <a:lnTo>
                    <a:pt x="5" y="210"/>
                  </a:lnTo>
                  <a:lnTo>
                    <a:pt x="0" y="175"/>
                  </a:lnTo>
                  <a:lnTo>
                    <a:pt x="5" y="140"/>
                  </a:lnTo>
                  <a:lnTo>
                    <a:pt x="15" y="107"/>
                  </a:lnTo>
                  <a:lnTo>
                    <a:pt x="31" y="78"/>
                  </a:lnTo>
                  <a:lnTo>
                    <a:pt x="53" y="52"/>
                  </a:lnTo>
                  <a:lnTo>
                    <a:pt x="78" y="30"/>
                  </a:lnTo>
                  <a:lnTo>
                    <a:pt x="107" y="14"/>
                  </a:lnTo>
                  <a:lnTo>
                    <a:pt x="140" y="4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4" name="Freeform 20">
              <a:extLst>
                <a:ext uri="{FF2B5EF4-FFF2-40B4-BE49-F238E27FC236}">
                  <a16:creationId xmlns:a16="http://schemas.microsoft.com/office/drawing/2014/main" id="{6F553FA1-4728-401A-8C20-F18E165CA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80832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2 h 111"/>
                <a:gd name="T10" fmla="*/ 168 w 171"/>
                <a:gd name="T11" fmla="*/ 37 h 111"/>
                <a:gd name="T12" fmla="*/ 171 w 171"/>
                <a:gd name="T13" fmla="*/ 55 h 111"/>
                <a:gd name="T14" fmla="*/ 168 w 171"/>
                <a:gd name="T15" fmla="*/ 72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8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8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2 h 111"/>
                <a:gd name="T34" fmla="*/ 0 w 171"/>
                <a:gd name="T35" fmla="*/ 55 h 111"/>
                <a:gd name="T36" fmla="*/ 2 w 171"/>
                <a:gd name="T37" fmla="*/ 37 h 111"/>
                <a:gd name="T38" fmla="*/ 10 w 171"/>
                <a:gd name="T39" fmla="*/ 22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2"/>
                  </a:lnTo>
                  <a:lnTo>
                    <a:pt x="168" y="37"/>
                  </a:lnTo>
                  <a:lnTo>
                    <a:pt x="171" y="55"/>
                  </a:lnTo>
                  <a:lnTo>
                    <a:pt x="168" y="72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8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8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2"/>
                  </a:lnTo>
                  <a:lnTo>
                    <a:pt x="0" y="55"/>
                  </a:lnTo>
                  <a:lnTo>
                    <a:pt x="2" y="37"/>
                  </a:lnTo>
                  <a:lnTo>
                    <a:pt x="10" y="22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5" name="Freeform 21">
              <a:extLst>
                <a:ext uri="{FF2B5EF4-FFF2-40B4-BE49-F238E27FC236}">
                  <a16:creationId xmlns:a16="http://schemas.microsoft.com/office/drawing/2014/main" id="{2A783787-5E9B-43C9-9BF4-073950C97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9578" y="6195860"/>
              <a:ext cx="12986" cy="9267"/>
            </a:xfrm>
            <a:custGeom>
              <a:avLst/>
              <a:gdLst>
                <a:gd name="T0" fmla="*/ 56 w 171"/>
                <a:gd name="T1" fmla="*/ 0 h 111"/>
                <a:gd name="T2" fmla="*/ 115 w 171"/>
                <a:gd name="T3" fmla="*/ 0 h 111"/>
                <a:gd name="T4" fmla="*/ 133 w 171"/>
                <a:gd name="T5" fmla="*/ 2 h 111"/>
                <a:gd name="T6" fmla="*/ 147 w 171"/>
                <a:gd name="T7" fmla="*/ 10 h 111"/>
                <a:gd name="T8" fmla="*/ 160 w 171"/>
                <a:gd name="T9" fmla="*/ 23 h 111"/>
                <a:gd name="T10" fmla="*/ 168 w 171"/>
                <a:gd name="T11" fmla="*/ 38 h 111"/>
                <a:gd name="T12" fmla="*/ 171 w 171"/>
                <a:gd name="T13" fmla="*/ 55 h 111"/>
                <a:gd name="T14" fmla="*/ 168 w 171"/>
                <a:gd name="T15" fmla="*/ 74 h 111"/>
                <a:gd name="T16" fmla="*/ 160 w 171"/>
                <a:gd name="T17" fmla="*/ 88 h 111"/>
                <a:gd name="T18" fmla="*/ 147 w 171"/>
                <a:gd name="T19" fmla="*/ 101 h 111"/>
                <a:gd name="T20" fmla="*/ 133 w 171"/>
                <a:gd name="T21" fmla="*/ 109 h 111"/>
                <a:gd name="T22" fmla="*/ 115 w 171"/>
                <a:gd name="T23" fmla="*/ 111 h 111"/>
                <a:gd name="T24" fmla="*/ 56 w 171"/>
                <a:gd name="T25" fmla="*/ 111 h 111"/>
                <a:gd name="T26" fmla="*/ 37 w 171"/>
                <a:gd name="T27" fmla="*/ 109 h 111"/>
                <a:gd name="T28" fmla="*/ 23 w 171"/>
                <a:gd name="T29" fmla="*/ 101 h 111"/>
                <a:gd name="T30" fmla="*/ 10 w 171"/>
                <a:gd name="T31" fmla="*/ 88 h 111"/>
                <a:gd name="T32" fmla="*/ 2 w 171"/>
                <a:gd name="T33" fmla="*/ 74 h 111"/>
                <a:gd name="T34" fmla="*/ 0 w 171"/>
                <a:gd name="T35" fmla="*/ 55 h 111"/>
                <a:gd name="T36" fmla="*/ 2 w 171"/>
                <a:gd name="T37" fmla="*/ 38 h 111"/>
                <a:gd name="T38" fmla="*/ 10 w 171"/>
                <a:gd name="T39" fmla="*/ 23 h 111"/>
                <a:gd name="T40" fmla="*/ 23 w 171"/>
                <a:gd name="T41" fmla="*/ 10 h 111"/>
                <a:gd name="T42" fmla="*/ 37 w 171"/>
                <a:gd name="T43" fmla="*/ 2 h 111"/>
                <a:gd name="T44" fmla="*/ 56 w 171"/>
                <a:gd name="T45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" h="111">
                  <a:moveTo>
                    <a:pt x="56" y="0"/>
                  </a:moveTo>
                  <a:lnTo>
                    <a:pt x="115" y="0"/>
                  </a:lnTo>
                  <a:lnTo>
                    <a:pt x="133" y="2"/>
                  </a:lnTo>
                  <a:lnTo>
                    <a:pt x="147" y="10"/>
                  </a:lnTo>
                  <a:lnTo>
                    <a:pt x="160" y="23"/>
                  </a:lnTo>
                  <a:lnTo>
                    <a:pt x="168" y="38"/>
                  </a:lnTo>
                  <a:lnTo>
                    <a:pt x="171" y="55"/>
                  </a:lnTo>
                  <a:lnTo>
                    <a:pt x="168" y="74"/>
                  </a:lnTo>
                  <a:lnTo>
                    <a:pt x="160" y="88"/>
                  </a:lnTo>
                  <a:lnTo>
                    <a:pt x="147" y="101"/>
                  </a:lnTo>
                  <a:lnTo>
                    <a:pt x="133" y="109"/>
                  </a:lnTo>
                  <a:lnTo>
                    <a:pt x="115" y="111"/>
                  </a:lnTo>
                  <a:lnTo>
                    <a:pt x="56" y="111"/>
                  </a:lnTo>
                  <a:lnTo>
                    <a:pt x="37" y="109"/>
                  </a:lnTo>
                  <a:lnTo>
                    <a:pt x="23" y="101"/>
                  </a:lnTo>
                  <a:lnTo>
                    <a:pt x="10" y="88"/>
                  </a:lnTo>
                  <a:lnTo>
                    <a:pt x="2" y="74"/>
                  </a:lnTo>
                  <a:lnTo>
                    <a:pt x="0" y="55"/>
                  </a:lnTo>
                  <a:lnTo>
                    <a:pt x="2" y="38"/>
                  </a:lnTo>
                  <a:lnTo>
                    <a:pt x="10" y="23"/>
                  </a:lnTo>
                  <a:lnTo>
                    <a:pt x="23" y="10"/>
                  </a:lnTo>
                  <a:lnTo>
                    <a:pt x="37" y="2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  <p:sp>
          <p:nvSpPr>
            <p:cNvPr id="126" name="Freeform 22">
              <a:extLst>
                <a:ext uri="{FF2B5EF4-FFF2-40B4-BE49-F238E27FC236}">
                  <a16:creationId xmlns:a16="http://schemas.microsoft.com/office/drawing/2014/main" id="{6465D05A-ED22-49B3-924E-6DFC4C8C8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8138" y="5997240"/>
              <a:ext cx="283642" cy="307072"/>
            </a:xfrm>
            <a:custGeom>
              <a:avLst/>
              <a:gdLst>
                <a:gd name="T0" fmla="*/ 185 w 3736"/>
                <a:gd name="T1" fmla="*/ 3069 h 3678"/>
                <a:gd name="T2" fmla="*/ 125 w 3736"/>
                <a:gd name="T3" fmla="*/ 3352 h 3678"/>
                <a:gd name="T4" fmla="*/ 325 w 3736"/>
                <a:gd name="T5" fmla="*/ 3554 h 3678"/>
                <a:gd name="T6" fmla="*/ 2002 w 3736"/>
                <a:gd name="T7" fmla="*/ 3518 h 3678"/>
                <a:gd name="T8" fmla="*/ 2140 w 3736"/>
                <a:gd name="T9" fmla="*/ 3266 h 3678"/>
                <a:gd name="T10" fmla="*/ 2002 w 3736"/>
                <a:gd name="T11" fmla="*/ 3013 h 3678"/>
                <a:gd name="T12" fmla="*/ 943 w 3736"/>
                <a:gd name="T13" fmla="*/ 2853 h 3678"/>
                <a:gd name="T14" fmla="*/ 2970 w 3736"/>
                <a:gd name="T15" fmla="*/ 2765 h 3678"/>
                <a:gd name="T16" fmla="*/ 3240 w 3736"/>
                <a:gd name="T17" fmla="*/ 2787 h 3678"/>
                <a:gd name="T18" fmla="*/ 3506 w 3736"/>
                <a:gd name="T19" fmla="*/ 2599 h 3678"/>
                <a:gd name="T20" fmla="*/ 302 w 3736"/>
                <a:gd name="T21" fmla="*/ 2099 h 3678"/>
                <a:gd name="T22" fmla="*/ 333 w 3736"/>
                <a:gd name="T23" fmla="*/ 2613 h 3678"/>
                <a:gd name="T24" fmla="*/ 3524 w 3736"/>
                <a:gd name="T25" fmla="*/ 1966 h 3678"/>
                <a:gd name="T26" fmla="*/ 3542 w 3736"/>
                <a:gd name="T27" fmla="*/ 2077 h 3678"/>
                <a:gd name="T28" fmla="*/ 3622 w 3736"/>
                <a:gd name="T29" fmla="*/ 1998 h 3678"/>
                <a:gd name="T30" fmla="*/ 893 w 3736"/>
                <a:gd name="T31" fmla="*/ 1458 h 3678"/>
                <a:gd name="T32" fmla="*/ 1843 w 3736"/>
                <a:gd name="T33" fmla="*/ 2616 h 3678"/>
                <a:gd name="T34" fmla="*/ 1132 w 3736"/>
                <a:gd name="T35" fmla="*/ 2414 h 3678"/>
                <a:gd name="T36" fmla="*/ 954 w 3736"/>
                <a:gd name="T37" fmla="*/ 2256 h 3678"/>
                <a:gd name="T38" fmla="*/ 1082 w 3736"/>
                <a:gd name="T39" fmla="*/ 2271 h 3678"/>
                <a:gd name="T40" fmla="*/ 1271 w 3736"/>
                <a:gd name="T41" fmla="*/ 1557 h 3678"/>
                <a:gd name="T42" fmla="*/ 1360 w 3736"/>
                <a:gd name="T43" fmla="*/ 1601 h 3678"/>
                <a:gd name="T44" fmla="*/ 1958 w 3736"/>
                <a:gd name="T45" fmla="*/ 2171 h 3678"/>
                <a:gd name="T46" fmla="*/ 1525 w 3736"/>
                <a:gd name="T47" fmla="*/ 1457 h 3678"/>
                <a:gd name="T48" fmla="*/ 2749 w 3736"/>
                <a:gd name="T49" fmla="*/ 361 h 3678"/>
                <a:gd name="T50" fmla="*/ 3541 w 3736"/>
                <a:gd name="T51" fmla="*/ 1844 h 3678"/>
                <a:gd name="T52" fmla="*/ 1658 w 3736"/>
                <a:gd name="T53" fmla="*/ 1439 h 3678"/>
                <a:gd name="T54" fmla="*/ 2419 w 3736"/>
                <a:gd name="T55" fmla="*/ 427 h 3678"/>
                <a:gd name="T56" fmla="*/ 2498 w 3736"/>
                <a:gd name="T57" fmla="*/ 124 h 3678"/>
                <a:gd name="T58" fmla="*/ 2441 w 3736"/>
                <a:gd name="T59" fmla="*/ 287 h 3678"/>
                <a:gd name="T60" fmla="*/ 2599 w 3736"/>
                <a:gd name="T61" fmla="*/ 347 h 3678"/>
                <a:gd name="T62" fmla="*/ 2672 w 3736"/>
                <a:gd name="T63" fmla="*/ 256 h 3678"/>
                <a:gd name="T64" fmla="*/ 2625 w 3736"/>
                <a:gd name="T65" fmla="*/ 136 h 3678"/>
                <a:gd name="T66" fmla="*/ 2665 w 3736"/>
                <a:gd name="T67" fmla="*/ 28 h 3678"/>
                <a:gd name="T68" fmla="*/ 3734 w 3736"/>
                <a:gd name="T69" fmla="*/ 1986 h 3678"/>
                <a:gd name="T70" fmla="*/ 3646 w 3736"/>
                <a:gd name="T71" fmla="*/ 2170 h 3678"/>
                <a:gd name="T72" fmla="*/ 3580 w 3736"/>
                <a:gd name="T73" fmla="*/ 2724 h 3678"/>
                <a:gd name="T74" fmla="*/ 3180 w 3736"/>
                <a:gd name="T75" fmla="*/ 2918 h 3678"/>
                <a:gd name="T76" fmla="*/ 2865 w 3736"/>
                <a:gd name="T77" fmla="*/ 2826 h 3678"/>
                <a:gd name="T78" fmla="*/ 2459 w 3736"/>
                <a:gd name="T79" fmla="*/ 2397 h 3678"/>
                <a:gd name="T80" fmla="*/ 3431 w 3736"/>
                <a:gd name="T81" fmla="*/ 2200 h 3678"/>
                <a:gd name="T82" fmla="*/ 3506 w 3736"/>
                <a:gd name="T83" fmla="*/ 2183 h 3678"/>
                <a:gd name="T84" fmla="*/ 1983 w 3736"/>
                <a:gd name="T85" fmla="*/ 1926 h 3678"/>
                <a:gd name="T86" fmla="*/ 2073 w 3736"/>
                <a:gd name="T87" fmla="*/ 2433 h 3678"/>
                <a:gd name="T88" fmla="*/ 2059 w 3736"/>
                <a:gd name="T89" fmla="*/ 2469 h 3678"/>
                <a:gd name="T90" fmla="*/ 2043 w 3736"/>
                <a:gd name="T91" fmla="*/ 2482 h 3678"/>
                <a:gd name="T92" fmla="*/ 2024 w 3736"/>
                <a:gd name="T93" fmla="*/ 2489 h 3678"/>
                <a:gd name="T94" fmla="*/ 1942 w 3736"/>
                <a:gd name="T95" fmla="*/ 2705 h 3678"/>
                <a:gd name="T96" fmla="*/ 1890 w 3736"/>
                <a:gd name="T97" fmla="*/ 2857 h 3678"/>
                <a:gd name="T98" fmla="*/ 2177 w 3736"/>
                <a:gd name="T99" fmla="*/ 3030 h 3678"/>
                <a:gd name="T100" fmla="*/ 2238 w 3736"/>
                <a:gd name="T101" fmla="*/ 3367 h 3678"/>
                <a:gd name="T102" fmla="*/ 2032 w 3736"/>
                <a:gd name="T103" fmla="*/ 3630 h 3678"/>
                <a:gd name="T104" fmla="*/ 311 w 3736"/>
                <a:gd name="T105" fmla="*/ 3666 h 3678"/>
                <a:gd name="T106" fmla="*/ 49 w 3736"/>
                <a:gd name="T107" fmla="*/ 3460 h 3678"/>
                <a:gd name="T108" fmla="*/ 28 w 3736"/>
                <a:gd name="T109" fmla="*/ 3116 h 3678"/>
                <a:gd name="T110" fmla="*/ 263 w 3736"/>
                <a:gd name="T111" fmla="*/ 2882 h 3678"/>
                <a:gd name="T112" fmla="*/ 317 w 3736"/>
                <a:gd name="T113" fmla="*/ 2724 h 3678"/>
                <a:gd name="T114" fmla="*/ 178 w 3736"/>
                <a:gd name="T115" fmla="*/ 2553 h 3678"/>
                <a:gd name="T116" fmla="*/ 284 w 3736"/>
                <a:gd name="T117" fmla="*/ 1975 h 3678"/>
                <a:gd name="T118" fmla="*/ 740 w 3736"/>
                <a:gd name="T119" fmla="*/ 1477 h 3678"/>
                <a:gd name="T120" fmla="*/ 963 w 3736"/>
                <a:gd name="T121" fmla="*/ 1310 h 3678"/>
                <a:gd name="T122" fmla="*/ 2410 w 3736"/>
                <a:gd name="T123" fmla="*/ 48 h 3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6" h="3678">
                  <a:moveTo>
                    <a:pt x="413" y="2964"/>
                  </a:moveTo>
                  <a:lnTo>
                    <a:pt x="367" y="2968"/>
                  </a:lnTo>
                  <a:lnTo>
                    <a:pt x="325" y="2978"/>
                  </a:lnTo>
                  <a:lnTo>
                    <a:pt x="286" y="2993"/>
                  </a:lnTo>
                  <a:lnTo>
                    <a:pt x="248" y="3013"/>
                  </a:lnTo>
                  <a:lnTo>
                    <a:pt x="215" y="3039"/>
                  </a:lnTo>
                  <a:lnTo>
                    <a:pt x="185" y="3069"/>
                  </a:lnTo>
                  <a:lnTo>
                    <a:pt x="160" y="3102"/>
                  </a:lnTo>
                  <a:lnTo>
                    <a:pt x="139" y="3139"/>
                  </a:lnTo>
                  <a:lnTo>
                    <a:pt x="125" y="3179"/>
                  </a:lnTo>
                  <a:lnTo>
                    <a:pt x="114" y="3222"/>
                  </a:lnTo>
                  <a:lnTo>
                    <a:pt x="111" y="3266"/>
                  </a:lnTo>
                  <a:lnTo>
                    <a:pt x="114" y="3310"/>
                  </a:lnTo>
                  <a:lnTo>
                    <a:pt x="125" y="3352"/>
                  </a:lnTo>
                  <a:lnTo>
                    <a:pt x="139" y="3393"/>
                  </a:lnTo>
                  <a:lnTo>
                    <a:pt x="160" y="3430"/>
                  </a:lnTo>
                  <a:lnTo>
                    <a:pt x="185" y="3464"/>
                  </a:lnTo>
                  <a:lnTo>
                    <a:pt x="215" y="3493"/>
                  </a:lnTo>
                  <a:lnTo>
                    <a:pt x="248" y="3518"/>
                  </a:lnTo>
                  <a:lnTo>
                    <a:pt x="286" y="3538"/>
                  </a:lnTo>
                  <a:lnTo>
                    <a:pt x="325" y="3554"/>
                  </a:lnTo>
                  <a:lnTo>
                    <a:pt x="367" y="3563"/>
                  </a:lnTo>
                  <a:lnTo>
                    <a:pt x="413" y="3567"/>
                  </a:lnTo>
                  <a:lnTo>
                    <a:pt x="1838" y="3567"/>
                  </a:lnTo>
                  <a:lnTo>
                    <a:pt x="1882" y="3563"/>
                  </a:lnTo>
                  <a:lnTo>
                    <a:pt x="1925" y="3554"/>
                  </a:lnTo>
                  <a:lnTo>
                    <a:pt x="1965" y="3538"/>
                  </a:lnTo>
                  <a:lnTo>
                    <a:pt x="2002" y="3518"/>
                  </a:lnTo>
                  <a:lnTo>
                    <a:pt x="2035" y="3493"/>
                  </a:lnTo>
                  <a:lnTo>
                    <a:pt x="2065" y="3464"/>
                  </a:lnTo>
                  <a:lnTo>
                    <a:pt x="2091" y="3430"/>
                  </a:lnTo>
                  <a:lnTo>
                    <a:pt x="2111" y="3393"/>
                  </a:lnTo>
                  <a:lnTo>
                    <a:pt x="2126" y="3352"/>
                  </a:lnTo>
                  <a:lnTo>
                    <a:pt x="2136" y="3310"/>
                  </a:lnTo>
                  <a:lnTo>
                    <a:pt x="2140" y="3266"/>
                  </a:lnTo>
                  <a:lnTo>
                    <a:pt x="2136" y="3222"/>
                  </a:lnTo>
                  <a:lnTo>
                    <a:pt x="2126" y="3179"/>
                  </a:lnTo>
                  <a:lnTo>
                    <a:pt x="2111" y="3139"/>
                  </a:lnTo>
                  <a:lnTo>
                    <a:pt x="2091" y="3102"/>
                  </a:lnTo>
                  <a:lnTo>
                    <a:pt x="2065" y="3069"/>
                  </a:lnTo>
                  <a:lnTo>
                    <a:pt x="2035" y="3039"/>
                  </a:lnTo>
                  <a:lnTo>
                    <a:pt x="2002" y="3013"/>
                  </a:lnTo>
                  <a:lnTo>
                    <a:pt x="1965" y="2993"/>
                  </a:lnTo>
                  <a:lnTo>
                    <a:pt x="1925" y="2978"/>
                  </a:lnTo>
                  <a:lnTo>
                    <a:pt x="1882" y="2968"/>
                  </a:lnTo>
                  <a:lnTo>
                    <a:pt x="1838" y="2964"/>
                  </a:lnTo>
                  <a:lnTo>
                    <a:pt x="413" y="2964"/>
                  </a:lnTo>
                  <a:close/>
                  <a:moveTo>
                    <a:pt x="943" y="2727"/>
                  </a:moveTo>
                  <a:lnTo>
                    <a:pt x="943" y="2853"/>
                  </a:lnTo>
                  <a:lnTo>
                    <a:pt x="1307" y="2853"/>
                  </a:lnTo>
                  <a:lnTo>
                    <a:pt x="1307" y="2727"/>
                  </a:lnTo>
                  <a:lnTo>
                    <a:pt x="943" y="2727"/>
                  </a:lnTo>
                  <a:close/>
                  <a:moveTo>
                    <a:pt x="3407" y="2328"/>
                  </a:moveTo>
                  <a:lnTo>
                    <a:pt x="2754" y="2590"/>
                  </a:lnTo>
                  <a:lnTo>
                    <a:pt x="2936" y="2741"/>
                  </a:lnTo>
                  <a:lnTo>
                    <a:pt x="2970" y="2765"/>
                  </a:lnTo>
                  <a:lnTo>
                    <a:pt x="3005" y="2783"/>
                  </a:lnTo>
                  <a:lnTo>
                    <a:pt x="3042" y="2797"/>
                  </a:lnTo>
                  <a:lnTo>
                    <a:pt x="3081" y="2806"/>
                  </a:lnTo>
                  <a:lnTo>
                    <a:pt x="3121" y="2809"/>
                  </a:lnTo>
                  <a:lnTo>
                    <a:pt x="3161" y="2808"/>
                  </a:lnTo>
                  <a:lnTo>
                    <a:pt x="3201" y="2800"/>
                  </a:lnTo>
                  <a:lnTo>
                    <a:pt x="3240" y="2787"/>
                  </a:lnTo>
                  <a:lnTo>
                    <a:pt x="3429" y="2711"/>
                  </a:lnTo>
                  <a:lnTo>
                    <a:pt x="3452" y="2700"/>
                  </a:lnTo>
                  <a:lnTo>
                    <a:pt x="3470" y="2684"/>
                  </a:lnTo>
                  <a:lnTo>
                    <a:pt x="3485" y="2666"/>
                  </a:lnTo>
                  <a:lnTo>
                    <a:pt x="3496" y="2646"/>
                  </a:lnTo>
                  <a:lnTo>
                    <a:pt x="3504" y="2623"/>
                  </a:lnTo>
                  <a:lnTo>
                    <a:pt x="3506" y="2599"/>
                  </a:lnTo>
                  <a:lnTo>
                    <a:pt x="3504" y="2575"/>
                  </a:lnTo>
                  <a:lnTo>
                    <a:pt x="3497" y="2551"/>
                  </a:lnTo>
                  <a:lnTo>
                    <a:pt x="3407" y="2328"/>
                  </a:lnTo>
                  <a:close/>
                  <a:moveTo>
                    <a:pt x="353" y="2073"/>
                  </a:moveTo>
                  <a:lnTo>
                    <a:pt x="333" y="2076"/>
                  </a:lnTo>
                  <a:lnTo>
                    <a:pt x="315" y="2085"/>
                  </a:lnTo>
                  <a:lnTo>
                    <a:pt x="302" y="2099"/>
                  </a:lnTo>
                  <a:lnTo>
                    <a:pt x="292" y="2116"/>
                  </a:lnTo>
                  <a:lnTo>
                    <a:pt x="289" y="2136"/>
                  </a:lnTo>
                  <a:lnTo>
                    <a:pt x="289" y="2553"/>
                  </a:lnTo>
                  <a:lnTo>
                    <a:pt x="292" y="2572"/>
                  </a:lnTo>
                  <a:lnTo>
                    <a:pt x="302" y="2590"/>
                  </a:lnTo>
                  <a:lnTo>
                    <a:pt x="315" y="2604"/>
                  </a:lnTo>
                  <a:lnTo>
                    <a:pt x="333" y="2613"/>
                  </a:lnTo>
                  <a:lnTo>
                    <a:pt x="353" y="2616"/>
                  </a:lnTo>
                  <a:lnTo>
                    <a:pt x="713" y="2616"/>
                  </a:lnTo>
                  <a:lnTo>
                    <a:pt x="713" y="2073"/>
                  </a:lnTo>
                  <a:lnTo>
                    <a:pt x="353" y="2073"/>
                  </a:lnTo>
                  <a:close/>
                  <a:moveTo>
                    <a:pt x="3562" y="1955"/>
                  </a:moveTo>
                  <a:lnTo>
                    <a:pt x="3542" y="1957"/>
                  </a:lnTo>
                  <a:lnTo>
                    <a:pt x="3524" y="1966"/>
                  </a:lnTo>
                  <a:lnTo>
                    <a:pt x="3511" y="1980"/>
                  </a:lnTo>
                  <a:lnTo>
                    <a:pt x="3502" y="1998"/>
                  </a:lnTo>
                  <a:lnTo>
                    <a:pt x="3498" y="2017"/>
                  </a:lnTo>
                  <a:lnTo>
                    <a:pt x="3502" y="2038"/>
                  </a:lnTo>
                  <a:lnTo>
                    <a:pt x="3511" y="2055"/>
                  </a:lnTo>
                  <a:lnTo>
                    <a:pt x="3524" y="2068"/>
                  </a:lnTo>
                  <a:lnTo>
                    <a:pt x="3542" y="2077"/>
                  </a:lnTo>
                  <a:lnTo>
                    <a:pt x="3562" y="2081"/>
                  </a:lnTo>
                  <a:lnTo>
                    <a:pt x="3582" y="2077"/>
                  </a:lnTo>
                  <a:lnTo>
                    <a:pt x="3599" y="2068"/>
                  </a:lnTo>
                  <a:lnTo>
                    <a:pt x="3613" y="2055"/>
                  </a:lnTo>
                  <a:lnTo>
                    <a:pt x="3622" y="2038"/>
                  </a:lnTo>
                  <a:lnTo>
                    <a:pt x="3625" y="2017"/>
                  </a:lnTo>
                  <a:lnTo>
                    <a:pt x="3622" y="1998"/>
                  </a:lnTo>
                  <a:lnTo>
                    <a:pt x="3613" y="1980"/>
                  </a:lnTo>
                  <a:lnTo>
                    <a:pt x="3599" y="1966"/>
                  </a:lnTo>
                  <a:lnTo>
                    <a:pt x="3582" y="1957"/>
                  </a:lnTo>
                  <a:lnTo>
                    <a:pt x="3562" y="1955"/>
                  </a:lnTo>
                  <a:close/>
                  <a:moveTo>
                    <a:pt x="950" y="1428"/>
                  </a:moveTo>
                  <a:lnTo>
                    <a:pt x="921" y="1441"/>
                  </a:lnTo>
                  <a:lnTo>
                    <a:pt x="893" y="1458"/>
                  </a:lnTo>
                  <a:lnTo>
                    <a:pt x="871" y="1481"/>
                  </a:lnTo>
                  <a:lnTo>
                    <a:pt x="851" y="1507"/>
                  </a:lnTo>
                  <a:lnTo>
                    <a:pt x="837" y="1536"/>
                  </a:lnTo>
                  <a:lnTo>
                    <a:pt x="828" y="1568"/>
                  </a:lnTo>
                  <a:lnTo>
                    <a:pt x="824" y="1601"/>
                  </a:lnTo>
                  <a:lnTo>
                    <a:pt x="824" y="2616"/>
                  </a:lnTo>
                  <a:lnTo>
                    <a:pt x="1843" y="2616"/>
                  </a:lnTo>
                  <a:lnTo>
                    <a:pt x="1843" y="2489"/>
                  </a:lnTo>
                  <a:lnTo>
                    <a:pt x="1556" y="2489"/>
                  </a:lnTo>
                  <a:lnTo>
                    <a:pt x="1468" y="2487"/>
                  </a:lnTo>
                  <a:lnTo>
                    <a:pt x="1382" y="2478"/>
                  </a:lnTo>
                  <a:lnTo>
                    <a:pt x="1297" y="2462"/>
                  </a:lnTo>
                  <a:lnTo>
                    <a:pt x="1213" y="2441"/>
                  </a:lnTo>
                  <a:lnTo>
                    <a:pt x="1132" y="2414"/>
                  </a:lnTo>
                  <a:lnTo>
                    <a:pt x="1050" y="2382"/>
                  </a:lnTo>
                  <a:lnTo>
                    <a:pt x="1026" y="2369"/>
                  </a:lnTo>
                  <a:lnTo>
                    <a:pt x="1005" y="2352"/>
                  </a:lnTo>
                  <a:lnTo>
                    <a:pt x="985" y="2331"/>
                  </a:lnTo>
                  <a:lnTo>
                    <a:pt x="971" y="2309"/>
                  </a:lnTo>
                  <a:lnTo>
                    <a:pt x="960" y="2284"/>
                  </a:lnTo>
                  <a:lnTo>
                    <a:pt x="954" y="2256"/>
                  </a:lnTo>
                  <a:lnTo>
                    <a:pt x="950" y="2228"/>
                  </a:lnTo>
                  <a:lnTo>
                    <a:pt x="950" y="1428"/>
                  </a:lnTo>
                  <a:close/>
                  <a:moveTo>
                    <a:pt x="1062" y="1419"/>
                  </a:moveTo>
                  <a:lnTo>
                    <a:pt x="1062" y="2228"/>
                  </a:lnTo>
                  <a:lnTo>
                    <a:pt x="1065" y="2245"/>
                  </a:lnTo>
                  <a:lnTo>
                    <a:pt x="1071" y="2259"/>
                  </a:lnTo>
                  <a:lnTo>
                    <a:pt x="1082" y="2271"/>
                  </a:lnTo>
                  <a:lnTo>
                    <a:pt x="1095" y="2280"/>
                  </a:lnTo>
                  <a:lnTo>
                    <a:pt x="1171" y="2311"/>
                  </a:lnTo>
                  <a:lnTo>
                    <a:pt x="1248" y="2335"/>
                  </a:lnTo>
                  <a:lnTo>
                    <a:pt x="1248" y="1601"/>
                  </a:lnTo>
                  <a:lnTo>
                    <a:pt x="1251" y="1584"/>
                  </a:lnTo>
                  <a:lnTo>
                    <a:pt x="1259" y="1568"/>
                  </a:lnTo>
                  <a:lnTo>
                    <a:pt x="1271" y="1557"/>
                  </a:lnTo>
                  <a:lnTo>
                    <a:pt x="1286" y="1549"/>
                  </a:lnTo>
                  <a:lnTo>
                    <a:pt x="1304" y="1545"/>
                  </a:lnTo>
                  <a:lnTo>
                    <a:pt x="1321" y="1549"/>
                  </a:lnTo>
                  <a:lnTo>
                    <a:pt x="1337" y="1557"/>
                  </a:lnTo>
                  <a:lnTo>
                    <a:pt x="1348" y="1568"/>
                  </a:lnTo>
                  <a:lnTo>
                    <a:pt x="1356" y="1584"/>
                  </a:lnTo>
                  <a:lnTo>
                    <a:pt x="1360" y="1601"/>
                  </a:lnTo>
                  <a:lnTo>
                    <a:pt x="1360" y="2361"/>
                  </a:lnTo>
                  <a:lnTo>
                    <a:pt x="1424" y="2370"/>
                  </a:lnTo>
                  <a:lnTo>
                    <a:pt x="1490" y="2376"/>
                  </a:lnTo>
                  <a:lnTo>
                    <a:pt x="1556" y="2378"/>
                  </a:lnTo>
                  <a:lnTo>
                    <a:pt x="1961" y="2378"/>
                  </a:lnTo>
                  <a:lnTo>
                    <a:pt x="1961" y="2221"/>
                  </a:lnTo>
                  <a:lnTo>
                    <a:pt x="1958" y="2171"/>
                  </a:lnTo>
                  <a:lnTo>
                    <a:pt x="1949" y="2123"/>
                  </a:lnTo>
                  <a:lnTo>
                    <a:pt x="1936" y="2076"/>
                  </a:lnTo>
                  <a:lnTo>
                    <a:pt x="1915" y="2031"/>
                  </a:lnTo>
                  <a:lnTo>
                    <a:pt x="1890" y="1988"/>
                  </a:lnTo>
                  <a:lnTo>
                    <a:pt x="1566" y="1500"/>
                  </a:lnTo>
                  <a:lnTo>
                    <a:pt x="1547" y="1477"/>
                  </a:lnTo>
                  <a:lnTo>
                    <a:pt x="1525" y="1457"/>
                  </a:lnTo>
                  <a:lnTo>
                    <a:pt x="1500" y="1441"/>
                  </a:lnTo>
                  <a:lnTo>
                    <a:pt x="1473" y="1428"/>
                  </a:lnTo>
                  <a:lnTo>
                    <a:pt x="1445" y="1422"/>
                  </a:lnTo>
                  <a:lnTo>
                    <a:pt x="1414" y="1419"/>
                  </a:lnTo>
                  <a:lnTo>
                    <a:pt x="1062" y="1419"/>
                  </a:lnTo>
                  <a:close/>
                  <a:moveTo>
                    <a:pt x="2753" y="353"/>
                  </a:moveTo>
                  <a:lnTo>
                    <a:pt x="2749" y="361"/>
                  </a:lnTo>
                  <a:lnTo>
                    <a:pt x="2571" y="659"/>
                  </a:lnTo>
                  <a:lnTo>
                    <a:pt x="3419" y="1917"/>
                  </a:lnTo>
                  <a:lnTo>
                    <a:pt x="3437" y="1895"/>
                  </a:lnTo>
                  <a:lnTo>
                    <a:pt x="3460" y="1876"/>
                  </a:lnTo>
                  <a:lnTo>
                    <a:pt x="3485" y="1861"/>
                  </a:lnTo>
                  <a:lnTo>
                    <a:pt x="3512" y="1850"/>
                  </a:lnTo>
                  <a:lnTo>
                    <a:pt x="3541" y="1844"/>
                  </a:lnTo>
                  <a:lnTo>
                    <a:pt x="2753" y="353"/>
                  </a:lnTo>
                  <a:close/>
                  <a:moveTo>
                    <a:pt x="2334" y="320"/>
                  </a:moveTo>
                  <a:lnTo>
                    <a:pt x="1562" y="1348"/>
                  </a:lnTo>
                  <a:lnTo>
                    <a:pt x="1590" y="1366"/>
                  </a:lnTo>
                  <a:lnTo>
                    <a:pt x="1616" y="1387"/>
                  </a:lnTo>
                  <a:lnTo>
                    <a:pt x="1638" y="1411"/>
                  </a:lnTo>
                  <a:lnTo>
                    <a:pt x="1658" y="1439"/>
                  </a:lnTo>
                  <a:lnTo>
                    <a:pt x="1827" y="1690"/>
                  </a:lnTo>
                  <a:lnTo>
                    <a:pt x="2555" y="467"/>
                  </a:lnTo>
                  <a:lnTo>
                    <a:pt x="2551" y="467"/>
                  </a:lnTo>
                  <a:lnTo>
                    <a:pt x="2515" y="465"/>
                  </a:lnTo>
                  <a:lnTo>
                    <a:pt x="2481" y="457"/>
                  </a:lnTo>
                  <a:lnTo>
                    <a:pt x="2448" y="444"/>
                  </a:lnTo>
                  <a:lnTo>
                    <a:pt x="2419" y="427"/>
                  </a:lnTo>
                  <a:lnTo>
                    <a:pt x="2391" y="405"/>
                  </a:lnTo>
                  <a:lnTo>
                    <a:pt x="2369" y="380"/>
                  </a:lnTo>
                  <a:lnTo>
                    <a:pt x="2349" y="351"/>
                  </a:lnTo>
                  <a:lnTo>
                    <a:pt x="2334" y="320"/>
                  </a:lnTo>
                  <a:close/>
                  <a:moveTo>
                    <a:pt x="2551" y="111"/>
                  </a:moveTo>
                  <a:lnTo>
                    <a:pt x="2523" y="115"/>
                  </a:lnTo>
                  <a:lnTo>
                    <a:pt x="2498" y="124"/>
                  </a:lnTo>
                  <a:lnTo>
                    <a:pt x="2475" y="138"/>
                  </a:lnTo>
                  <a:lnTo>
                    <a:pt x="2456" y="157"/>
                  </a:lnTo>
                  <a:lnTo>
                    <a:pt x="2441" y="180"/>
                  </a:lnTo>
                  <a:lnTo>
                    <a:pt x="2432" y="205"/>
                  </a:lnTo>
                  <a:lnTo>
                    <a:pt x="2429" y="234"/>
                  </a:lnTo>
                  <a:lnTo>
                    <a:pt x="2432" y="262"/>
                  </a:lnTo>
                  <a:lnTo>
                    <a:pt x="2441" y="287"/>
                  </a:lnTo>
                  <a:lnTo>
                    <a:pt x="2456" y="311"/>
                  </a:lnTo>
                  <a:lnTo>
                    <a:pt x="2475" y="329"/>
                  </a:lnTo>
                  <a:lnTo>
                    <a:pt x="2498" y="344"/>
                  </a:lnTo>
                  <a:lnTo>
                    <a:pt x="2523" y="353"/>
                  </a:lnTo>
                  <a:lnTo>
                    <a:pt x="2551" y="356"/>
                  </a:lnTo>
                  <a:lnTo>
                    <a:pt x="2576" y="354"/>
                  </a:lnTo>
                  <a:lnTo>
                    <a:pt x="2599" y="347"/>
                  </a:lnTo>
                  <a:lnTo>
                    <a:pt x="2619" y="336"/>
                  </a:lnTo>
                  <a:lnTo>
                    <a:pt x="2638" y="321"/>
                  </a:lnTo>
                  <a:lnTo>
                    <a:pt x="2653" y="303"/>
                  </a:lnTo>
                  <a:lnTo>
                    <a:pt x="2656" y="298"/>
                  </a:lnTo>
                  <a:lnTo>
                    <a:pt x="2657" y="297"/>
                  </a:lnTo>
                  <a:lnTo>
                    <a:pt x="2666" y="278"/>
                  </a:lnTo>
                  <a:lnTo>
                    <a:pt x="2672" y="256"/>
                  </a:lnTo>
                  <a:lnTo>
                    <a:pt x="2674" y="234"/>
                  </a:lnTo>
                  <a:lnTo>
                    <a:pt x="2672" y="210"/>
                  </a:lnTo>
                  <a:lnTo>
                    <a:pt x="2665" y="187"/>
                  </a:lnTo>
                  <a:lnTo>
                    <a:pt x="2661" y="180"/>
                  </a:lnTo>
                  <a:lnTo>
                    <a:pt x="2658" y="174"/>
                  </a:lnTo>
                  <a:lnTo>
                    <a:pt x="2643" y="153"/>
                  </a:lnTo>
                  <a:lnTo>
                    <a:pt x="2625" y="136"/>
                  </a:lnTo>
                  <a:lnTo>
                    <a:pt x="2603" y="123"/>
                  </a:lnTo>
                  <a:lnTo>
                    <a:pt x="2579" y="115"/>
                  </a:lnTo>
                  <a:lnTo>
                    <a:pt x="2551" y="111"/>
                  </a:lnTo>
                  <a:close/>
                  <a:moveTo>
                    <a:pt x="2551" y="0"/>
                  </a:moveTo>
                  <a:lnTo>
                    <a:pt x="2591" y="3"/>
                  </a:lnTo>
                  <a:lnTo>
                    <a:pt x="2630" y="12"/>
                  </a:lnTo>
                  <a:lnTo>
                    <a:pt x="2665" y="28"/>
                  </a:lnTo>
                  <a:lnTo>
                    <a:pt x="2696" y="50"/>
                  </a:lnTo>
                  <a:lnTo>
                    <a:pt x="2724" y="75"/>
                  </a:lnTo>
                  <a:lnTo>
                    <a:pt x="2747" y="106"/>
                  </a:lnTo>
                  <a:lnTo>
                    <a:pt x="2766" y="138"/>
                  </a:lnTo>
                  <a:lnTo>
                    <a:pt x="3713" y="1930"/>
                  </a:lnTo>
                  <a:lnTo>
                    <a:pt x="3726" y="1957"/>
                  </a:lnTo>
                  <a:lnTo>
                    <a:pt x="3734" y="1986"/>
                  </a:lnTo>
                  <a:lnTo>
                    <a:pt x="3736" y="2017"/>
                  </a:lnTo>
                  <a:lnTo>
                    <a:pt x="3733" y="2050"/>
                  </a:lnTo>
                  <a:lnTo>
                    <a:pt x="3725" y="2080"/>
                  </a:lnTo>
                  <a:lnTo>
                    <a:pt x="3711" y="2108"/>
                  </a:lnTo>
                  <a:lnTo>
                    <a:pt x="3693" y="2132"/>
                  </a:lnTo>
                  <a:lnTo>
                    <a:pt x="3672" y="2153"/>
                  </a:lnTo>
                  <a:lnTo>
                    <a:pt x="3646" y="2170"/>
                  </a:lnTo>
                  <a:lnTo>
                    <a:pt x="3617" y="2183"/>
                  </a:lnTo>
                  <a:lnTo>
                    <a:pt x="3617" y="2612"/>
                  </a:lnTo>
                  <a:lnTo>
                    <a:pt x="3617" y="2620"/>
                  </a:lnTo>
                  <a:lnTo>
                    <a:pt x="3616" y="2626"/>
                  </a:lnTo>
                  <a:lnTo>
                    <a:pt x="3609" y="2660"/>
                  </a:lnTo>
                  <a:lnTo>
                    <a:pt x="3597" y="2693"/>
                  </a:lnTo>
                  <a:lnTo>
                    <a:pt x="3580" y="2724"/>
                  </a:lnTo>
                  <a:lnTo>
                    <a:pt x="3559" y="2752"/>
                  </a:lnTo>
                  <a:lnTo>
                    <a:pt x="3533" y="2777"/>
                  </a:lnTo>
                  <a:lnTo>
                    <a:pt x="3504" y="2799"/>
                  </a:lnTo>
                  <a:lnTo>
                    <a:pt x="3471" y="2815"/>
                  </a:lnTo>
                  <a:lnTo>
                    <a:pt x="3282" y="2891"/>
                  </a:lnTo>
                  <a:lnTo>
                    <a:pt x="3231" y="2908"/>
                  </a:lnTo>
                  <a:lnTo>
                    <a:pt x="3180" y="2918"/>
                  </a:lnTo>
                  <a:lnTo>
                    <a:pt x="3127" y="2920"/>
                  </a:lnTo>
                  <a:lnTo>
                    <a:pt x="3081" y="2918"/>
                  </a:lnTo>
                  <a:lnTo>
                    <a:pt x="3034" y="2910"/>
                  </a:lnTo>
                  <a:lnTo>
                    <a:pt x="2989" y="2896"/>
                  </a:lnTo>
                  <a:lnTo>
                    <a:pt x="2946" y="2878"/>
                  </a:lnTo>
                  <a:lnTo>
                    <a:pt x="2904" y="2855"/>
                  </a:lnTo>
                  <a:lnTo>
                    <a:pt x="2865" y="2826"/>
                  </a:lnTo>
                  <a:lnTo>
                    <a:pt x="2454" y="2487"/>
                  </a:lnTo>
                  <a:lnTo>
                    <a:pt x="2442" y="2474"/>
                  </a:lnTo>
                  <a:lnTo>
                    <a:pt x="2436" y="2458"/>
                  </a:lnTo>
                  <a:lnTo>
                    <a:pt x="2433" y="2441"/>
                  </a:lnTo>
                  <a:lnTo>
                    <a:pt x="2438" y="2424"/>
                  </a:lnTo>
                  <a:lnTo>
                    <a:pt x="2447" y="2409"/>
                  </a:lnTo>
                  <a:lnTo>
                    <a:pt x="2459" y="2397"/>
                  </a:lnTo>
                  <a:lnTo>
                    <a:pt x="2475" y="2390"/>
                  </a:lnTo>
                  <a:lnTo>
                    <a:pt x="2492" y="2388"/>
                  </a:lnTo>
                  <a:lnTo>
                    <a:pt x="2509" y="2393"/>
                  </a:lnTo>
                  <a:lnTo>
                    <a:pt x="2525" y="2402"/>
                  </a:lnTo>
                  <a:lnTo>
                    <a:pt x="2656" y="2509"/>
                  </a:lnTo>
                  <a:lnTo>
                    <a:pt x="3418" y="2203"/>
                  </a:lnTo>
                  <a:lnTo>
                    <a:pt x="3431" y="2200"/>
                  </a:lnTo>
                  <a:lnTo>
                    <a:pt x="3446" y="2200"/>
                  </a:lnTo>
                  <a:lnTo>
                    <a:pt x="3460" y="2204"/>
                  </a:lnTo>
                  <a:lnTo>
                    <a:pt x="3472" y="2211"/>
                  </a:lnTo>
                  <a:lnTo>
                    <a:pt x="3482" y="2221"/>
                  </a:lnTo>
                  <a:lnTo>
                    <a:pt x="3490" y="2235"/>
                  </a:lnTo>
                  <a:lnTo>
                    <a:pt x="3506" y="2275"/>
                  </a:lnTo>
                  <a:lnTo>
                    <a:pt x="3506" y="2183"/>
                  </a:lnTo>
                  <a:lnTo>
                    <a:pt x="3478" y="2170"/>
                  </a:lnTo>
                  <a:lnTo>
                    <a:pt x="3452" y="2152"/>
                  </a:lnTo>
                  <a:lnTo>
                    <a:pt x="3429" y="2131"/>
                  </a:lnTo>
                  <a:lnTo>
                    <a:pt x="3411" y="2106"/>
                  </a:lnTo>
                  <a:lnTo>
                    <a:pt x="2507" y="766"/>
                  </a:lnTo>
                  <a:lnTo>
                    <a:pt x="1895" y="1794"/>
                  </a:lnTo>
                  <a:lnTo>
                    <a:pt x="1983" y="1926"/>
                  </a:lnTo>
                  <a:lnTo>
                    <a:pt x="2010" y="1971"/>
                  </a:lnTo>
                  <a:lnTo>
                    <a:pt x="2032" y="2018"/>
                  </a:lnTo>
                  <a:lnTo>
                    <a:pt x="2050" y="2067"/>
                  </a:lnTo>
                  <a:lnTo>
                    <a:pt x="2063" y="2117"/>
                  </a:lnTo>
                  <a:lnTo>
                    <a:pt x="2069" y="2168"/>
                  </a:lnTo>
                  <a:lnTo>
                    <a:pt x="2073" y="2221"/>
                  </a:lnTo>
                  <a:lnTo>
                    <a:pt x="2073" y="2433"/>
                  </a:lnTo>
                  <a:lnTo>
                    <a:pt x="2072" y="2441"/>
                  </a:lnTo>
                  <a:lnTo>
                    <a:pt x="2069" y="2452"/>
                  </a:lnTo>
                  <a:lnTo>
                    <a:pt x="2066" y="2460"/>
                  </a:lnTo>
                  <a:lnTo>
                    <a:pt x="2064" y="2463"/>
                  </a:lnTo>
                  <a:lnTo>
                    <a:pt x="2063" y="2465"/>
                  </a:lnTo>
                  <a:lnTo>
                    <a:pt x="2060" y="2469"/>
                  </a:lnTo>
                  <a:lnTo>
                    <a:pt x="2059" y="2469"/>
                  </a:lnTo>
                  <a:lnTo>
                    <a:pt x="2058" y="2471"/>
                  </a:lnTo>
                  <a:lnTo>
                    <a:pt x="2056" y="2473"/>
                  </a:lnTo>
                  <a:lnTo>
                    <a:pt x="2055" y="2474"/>
                  </a:lnTo>
                  <a:lnTo>
                    <a:pt x="2052" y="2477"/>
                  </a:lnTo>
                  <a:lnTo>
                    <a:pt x="2050" y="2478"/>
                  </a:lnTo>
                  <a:lnTo>
                    <a:pt x="2048" y="2480"/>
                  </a:lnTo>
                  <a:lnTo>
                    <a:pt x="2043" y="2482"/>
                  </a:lnTo>
                  <a:lnTo>
                    <a:pt x="2039" y="2485"/>
                  </a:lnTo>
                  <a:lnTo>
                    <a:pt x="2039" y="2485"/>
                  </a:lnTo>
                  <a:lnTo>
                    <a:pt x="2035" y="2486"/>
                  </a:lnTo>
                  <a:lnTo>
                    <a:pt x="2033" y="2487"/>
                  </a:lnTo>
                  <a:lnTo>
                    <a:pt x="2031" y="2488"/>
                  </a:lnTo>
                  <a:lnTo>
                    <a:pt x="2027" y="2488"/>
                  </a:lnTo>
                  <a:lnTo>
                    <a:pt x="2024" y="2489"/>
                  </a:lnTo>
                  <a:lnTo>
                    <a:pt x="2023" y="2489"/>
                  </a:lnTo>
                  <a:lnTo>
                    <a:pt x="2019" y="2489"/>
                  </a:lnTo>
                  <a:lnTo>
                    <a:pt x="2017" y="2489"/>
                  </a:lnTo>
                  <a:lnTo>
                    <a:pt x="1954" y="2489"/>
                  </a:lnTo>
                  <a:lnTo>
                    <a:pt x="1954" y="2672"/>
                  </a:lnTo>
                  <a:lnTo>
                    <a:pt x="1950" y="2689"/>
                  </a:lnTo>
                  <a:lnTo>
                    <a:pt x="1942" y="2705"/>
                  </a:lnTo>
                  <a:lnTo>
                    <a:pt x="1931" y="2716"/>
                  </a:lnTo>
                  <a:lnTo>
                    <a:pt x="1915" y="2724"/>
                  </a:lnTo>
                  <a:lnTo>
                    <a:pt x="1898" y="2727"/>
                  </a:lnTo>
                  <a:lnTo>
                    <a:pt x="1418" y="2727"/>
                  </a:lnTo>
                  <a:lnTo>
                    <a:pt x="1418" y="2853"/>
                  </a:lnTo>
                  <a:lnTo>
                    <a:pt x="1838" y="2853"/>
                  </a:lnTo>
                  <a:lnTo>
                    <a:pt x="1890" y="2857"/>
                  </a:lnTo>
                  <a:lnTo>
                    <a:pt x="1940" y="2866"/>
                  </a:lnTo>
                  <a:lnTo>
                    <a:pt x="1988" y="2882"/>
                  </a:lnTo>
                  <a:lnTo>
                    <a:pt x="2032" y="2902"/>
                  </a:lnTo>
                  <a:lnTo>
                    <a:pt x="2074" y="2927"/>
                  </a:lnTo>
                  <a:lnTo>
                    <a:pt x="2112" y="2958"/>
                  </a:lnTo>
                  <a:lnTo>
                    <a:pt x="2146" y="2992"/>
                  </a:lnTo>
                  <a:lnTo>
                    <a:pt x="2177" y="3030"/>
                  </a:lnTo>
                  <a:lnTo>
                    <a:pt x="2202" y="3072"/>
                  </a:lnTo>
                  <a:lnTo>
                    <a:pt x="2222" y="3116"/>
                  </a:lnTo>
                  <a:lnTo>
                    <a:pt x="2238" y="3164"/>
                  </a:lnTo>
                  <a:lnTo>
                    <a:pt x="2247" y="3214"/>
                  </a:lnTo>
                  <a:lnTo>
                    <a:pt x="2251" y="3266"/>
                  </a:lnTo>
                  <a:lnTo>
                    <a:pt x="2247" y="3317"/>
                  </a:lnTo>
                  <a:lnTo>
                    <a:pt x="2238" y="3367"/>
                  </a:lnTo>
                  <a:lnTo>
                    <a:pt x="2222" y="3415"/>
                  </a:lnTo>
                  <a:lnTo>
                    <a:pt x="2202" y="3460"/>
                  </a:lnTo>
                  <a:lnTo>
                    <a:pt x="2177" y="3501"/>
                  </a:lnTo>
                  <a:lnTo>
                    <a:pt x="2146" y="3540"/>
                  </a:lnTo>
                  <a:lnTo>
                    <a:pt x="2112" y="3574"/>
                  </a:lnTo>
                  <a:lnTo>
                    <a:pt x="2074" y="3604"/>
                  </a:lnTo>
                  <a:lnTo>
                    <a:pt x="2032" y="3630"/>
                  </a:lnTo>
                  <a:lnTo>
                    <a:pt x="1988" y="3651"/>
                  </a:lnTo>
                  <a:lnTo>
                    <a:pt x="1940" y="3666"/>
                  </a:lnTo>
                  <a:lnTo>
                    <a:pt x="1890" y="3676"/>
                  </a:lnTo>
                  <a:lnTo>
                    <a:pt x="1838" y="3678"/>
                  </a:lnTo>
                  <a:lnTo>
                    <a:pt x="413" y="3678"/>
                  </a:lnTo>
                  <a:lnTo>
                    <a:pt x="360" y="3676"/>
                  </a:lnTo>
                  <a:lnTo>
                    <a:pt x="311" y="3666"/>
                  </a:lnTo>
                  <a:lnTo>
                    <a:pt x="263" y="3651"/>
                  </a:lnTo>
                  <a:lnTo>
                    <a:pt x="219" y="3630"/>
                  </a:lnTo>
                  <a:lnTo>
                    <a:pt x="177" y="3604"/>
                  </a:lnTo>
                  <a:lnTo>
                    <a:pt x="138" y="3574"/>
                  </a:lnTo>
                  <a:lnTo>
                    <a:pt x="104" y="3540"/>
                  </a:lnTo>
                  <a:lnTo>
                    <a:pt x="74" y="3501"/>
                  </a:lnTo>
                  <a:lnTo>
                    <a:pt x="49" y="3460"/>
                  </a:lnTo>
                  <a:lnTo>
                    <a:pt x="28" y="3415"/>
                  </a:lnTo>
                  <a:lnTo>
                    <a:pt x="12" y="3367"/>
                  </a:lnTo>
                  <a:lnTo>
                    <a:pt x="3" y="3317"/>
                  </a:lnTo>
                  <a:lnTo>
                    <a:pt x="0" y="3266"/>
                  </a:lnTo>
                  <a:lnTo>
                    <a:pt x="3" y="3214"/>
                  </a:lnTo>
                  <a:lnTo>
                    <a:pt x="12" y="3164"/>
                  </a:lnTo>
                  <a:lnTo>
                    <a:pt x="28" y="3116"/>
                  </a:lnTo>
                  <a:lnTo>
                    <a:pt x="49" y="3072"/>
                  </a:lnTo>
                  <a:lnTo>
                    <a:pt x="74" y="3030"/>
                  </a:lnTo>
                  <a:lnTo>
                    <a:pt x="104" y="2992"/>
                  </a:lnTo>
                  <a:lnTo>
                    <a:pt x="138" y="2958"/>
                  </a:lnTo>
                  <a:lnTo>
                    <a:pt x="177" y="2927"/>
                  </a:lnTo>
                  <a:lnTo>
                    <a:pt x="219" y="2902"/>
                  </a:lnTo>
                  <a:lnTo>
                    <a:pt x="263" y="2882"/>
                  </a:lnTo>
                  <a:lnTo>
                    <a:pt x="311" y="2866"/>
                  </a:lnTo>
                  <a:lnTo>
                    <a:pt x="360" y="2857"/>
                  </a:lnTo>
                  <a:lnTo>
                    <a:pt x="413" y="2853"/>
                  </a:lnTo>
                  <a:lnTo>
                    <a:pt x="832" y="2853"/>
                  </a:lnTo>
                  <a:lnTo>
                    <a:pt x="832" y="2727"/>
                  </a:lnTo>
                  <a:lnTo>
                    <a:pt x="353" y="2727"/>
                  </a:lnTo>
                  <a:lnTo>
                    <a:pt x="317" y="2724"/>
                  </a:lnTo>
                  <a:lnTo>
                    <a:pt x="284" y="2714"/>
                  </a:lnTo>
                  <a:lnTo>
                    <a:pt x="255" y="2698"/>
                  </a:lnTo>
                  <a:lnTo>
                    <a:pt x="229" y="2676"/>
                  </a:lnTo>
                  <a:lnTo>
                    <a:pt x="209" y="2650"/>
                  </a:lnTo>
                  <a:lnTo>
                    <a:pt x="192" y="2621"/>
                  </a:lnTo>
                  <a:lnTo>
                    <a:pt x="181" y="2588"/>
                  </a:lnTo>
                  <a:lnTo>
                    <a:pt x="178" y="2553"/>
                  </a:lnTo>
                  <a:lnTo>
                    <a:pt x="178" y="2136"/>
                  </a:lnTo>
                  <a:lnTo>
                    <a:pt x="181" y="2101"/>
                  </a:lnTo>
                  <a:lnTo>
                    <a:pt x="192" y="2068"/>
                  </a:lnTo>
                  <a:lnTo>
                    <a:pt x="209" y="2039"/>
                  </a:lnTo>
                  <a:lnTo>
                    <a:pt x="229" y="2013"/>
                  </a:lnTo>
                  <a:lnTo>
                    <a:pt x="255" y="1991"/>
                  </a:lnTo>
                  <a:lnTo>
                    <a:pt x="284" y="1975"/>
                  </a:lnTo>
                  <a:lnTo>
                    <a:pt x="317" y="1965"/>
                  </a:lnTo>
                  <a:lnTo>
                    <a:pt x="353" y="1962"/>
                  </a:lnTo>
                  <a:lnTo>
                    <a:pt x="713" y="1962"/>
                  </a:lnTo>
                  <a:lnTo>
                    <a:pt x="713" y="1601"/>
                  </a:lnTo>
                  <a:lnTo>
                    <a:pt x="717" y="1558"/>
                  </a:lnTo>
                  <a:lnTo>
                    <a:pt x="726" y="1517"/>
                  </a:lnTo>
                  <a:lnTo>
                    <a:pt x="740" y="1477"/>
                  </a:lnTo>
                  <a:lnTo>
                    <a:pt x="761" y="1442"/>
                  </a:lnTo>
                  <a:lnTo>
                    <a:pt x="785" y="1409"/>
                  </a:lnTo>
                  <a:lnTo>
                    <a:pt x="814" y="1380"/>
                  </a:lnTo>
                  <a:lnTo>
                    <a:pt x="847" y="1355"/>
                  </a:lnTo>
                  <a:lnTo>
                    <a:pt x="883" y="1335"/>
                  </a:lnTo>
                  <a:lnTo>
                    <a:pt x="922" y="1321"/>
                  </a:lnTo>
                  <a:lnTo>
                    <a:pt x="963" y="1310"/>
                  </a:lnTo>
                  <a:lnTo>
                    <a:pt x="1007" y="1308"/>
                  </a:lnTo>
                  <a:lnTo>
                    <a:pt x="1414" y="1308"/>
                  </a:lnTo>
                  <a:lnTo>
                    <a:pt x="1452" y="1310"/>
                  </a:lnTo>
                  <a:lnTo>
                    <a:pt x="2359" y="101"/>
                  </a:lnTo>
                  <a:lnTo>
                    <a:pt x="2359" y="101"/>
                  </a:lnTo>
                  <a:lnTo>
                    <a:pt x="2382" y="73"/>
                  </a:lnTo>
                  <a:lnTo>
                    <a:pt x="2410" y="48"/>
                  </a:lnTo>
                  <a:lnTo>
                    <a:pt x="2441" y="27"/>
                  </a:lnTo>
                  <a:lnTo>
                    <a:pt x="2475" y="12"/>
                  </a:lnTo>
                  <a:lnTo>
                    <a:pt x="2513" y="3"/>
                  </a:lnTo>
                  <a:lnTo>
                    <a:pt x="2551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lIns="91434" tIns="45717" rIns="91434" bIns="45717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000000"/>
                </a:solidFill>
                <a:latin typeface="Calibri"/>
                <a:cs typeface="Arial" charset="0"/>
              </a:endParaRPr>
            </a:p>
          </p:txBody>
        </p:sp>
      </p:grpSp>
      <p:sp>
        <p:nvSpPr>
          <p:cNvPr id="23625" name="TextBox 158">
            <a:extLst>
              <a:ext uri="{FF2B5EF4-FFF2-40B4-BE49-F238E27FC236}">
                <a16:creationId xmlns:a16="http://schemas.microsoft.com/office/drawing/2014/main" id="{E039C87F-72AD-4054-B63A-554ACFFB9E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4663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6" name="TextBox 159">
            <a:extLst>
              <a:ext uri="{FF2B5EF4-FFF2-40B4-BE49-F238E27FC236}">
                <a16:creationId xmlns:a16="http://schemas.microsoft.com/office/drawing/2014/main" id="{C89D28E8-6E73-4458-A352-42A749EC09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3488" y="4451350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27" name="TextBox 127">
            <a:extLst>
              <a:ext uri="{FF2B5EF4-FFF2-40B4-BE49-F238E27FC236}">
                <a16:creationId xmlns:a16="http://schemas.microsoft.com/office/drawing/2014/main" id="{D2C4F5E9-E854-4896-8355-45DEC69063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7813" y="6378575"/>
            <a:ext cx="426243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Sources: National Bureau of Statistics, World Bank Report on Doing Business in Nigeria 2018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climate-</a:t>
            </a:r>
            <a:r>
              <a:rPr lang="en-GB" altLang="en-US" sz="800" dirty="0" err="1">
                <a:latin typeface="Calibri" panose="020F0502020204030204" pitchFamily="34" charset="0"/>
              </a:rPr>
              <a:t>data.org</a:t>
            </a:r>
            <a:r>
              <a:rPr lang="en-GB" altLang="en-US" sz="800" dirty="0">
                <a:latin typeface="Calibri" panose="020F0502020204030204" pitchFamily="34" charset="0"/>
              </a:rPr>
              <a:t>, State Government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Exchange rate= $1/N305 (Central Bank of Nigeria)</a:t>
            </a:r>
          </a:p>
        </p:txBody>
      </p:sp>
      <p:sp>
        <p:nvSpPr>
          <p:cNvPr id="23628" name="TextBox 128">
            <a:extLst>
              <a:ext uri="{FF2B5EF4-FFF2-40B4-BE49-F238E27FC236}">
                <a16:creationId xmlns:a16="http://schemas.microsoft.com/office/drawing/2014/main" id="{409BCC6F-A5F0-4C79-BB4A-38A1ABC14F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99072" y="3649889"/>
            <a:ext cx="56938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Gypsum</a:t>
            </a:r>
          </a:p>
        </p:txBody>
      </p:sp>
      <p:sp>
        <p:nvSpPr>
          <p:cNvPr id="23629" name="TextBox 129">
            <a:extLst>
              <a:ext uri="{FF2B5EF4-FFF2-40B4-BE49-F238E27FC236}">
                <a16:creationId xmlns:a16="http://schemas.microsoft.com/office/drawing/2014/main" id="{489E7B41-20C9-4493-8E7D-07238EB8FA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65742" y="3654980"/>
            <a:ext cx="74732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Citrus Fruits</a:t>
            </a:r>
          </a:p>
        </p:txBody>
      </p:sp>
      <p:sp>
        <p:nvSpPr>
          <p:cNvPr id="23630" name="TextBox 130">
            <a:extLst>
              <a:ext uri="{FF2B5EF4-FFF2-40B4-BE49-F238E27FC236}">
                <a16:creationId xmlns:a16="http://schemas.microsoft.com/office/drawing/2014/main" id="{048DE5D8-5309-42DA-9D97-2935A10CB7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5825" y="3654425"/>
            <a:ext cx="18415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GB" altLang="en-US" sz="900">
              <a:latin typeface="Calibri" panose="020F0502020204030204" pitchFamily="34" charset="0"/>
            </a:endParaRPr>
          </a:p>
        </p:txBody>
      </p:sp>
      <p:sp>
        <p:nvSpPr>
          <p:cNvPr id="23631" name="TextBox 131">
            <a:extLst>
              <a:ext uri="{FF2B5EF4-FFF2-40B4-BE49-F238E27FC236}">
                <a16:creationId xmlns:a16="http://schemas.microsoft.com/office/drawing/2014/main" id="{FF8B6C80-43E2-43AF-A364-A31845F05C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3488" y="3656613"/>
            <a:ext cx="370614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Fish</a:t>
            </a:r>
          </a:p>
        </p:txBody>
      </p:sp>
      <p:sp>
        <p:nvSpPr>
          <p:cNvPr id="23632" name="TextBox 132">
            <a:extLst>
              <a:ext uri="{FF2B5EF4-FFF2-40B4-BE49-F238E27FC236}">
                <a16:creationId xmlns:a16="http://schemas.microsoft.com/office/drawing/2014/main" id="{A1C640C1-61D1-4BA5-8A76-E684397E8E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99064" y="3650683"/>
            <a:ext cx="71526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Gemstones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0D5018CA-291C-432B-84B0-2A7317F017EB}"/>
              </a:ext>
            </a:extLst>
          </p:cNvPr>
          <p:cNvSpPr/>
          <p:nvPr/>
        </p:nvSpPr>
        <p:spPr>
          <a:xfrm>
            <a:off x="8238751" y="3833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23638" name="TextBox 141">
            <a:extLst>
              <a:ext uri="{FF2B5EF4-FFF2-40B4-BE49-F238E27FC236}">
                <a16:creationId xmlns:a16="http://schemas.microsoft.com/office/drawing/2014/main" id="{EE481231-8673-4FD7-B5CC-900AEE7A9F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8233" y="3652271"/>
            <a:ext cx="388248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Yam</a:t>
            </a:r>
          </a:p>
        </p:txBody>
      </p:sp>
      <p:sp>
        <p:nvSpPr>
          <p:cNvPr id="23649" name="TextBox 165">
            <a:extLst>
              <a:ext uri="{FF2B5EF4-FFF2-40B4-BE49-F238E27FC236}">
                <a16:creationId xmlns:a16="http://schemas.microsoft.com/office/drawing/2014/main" id="{1242633E-9CB1-48ED-83F4-2223DFC7ED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14561" y="4459560"/>
            <a:ext cx="67358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Limestone</a:t>
            </a:r>
          </a:p>
        </p:txBody>
      </p:sp>
      <p:sp>
        <p:nvSpPr>
          <p:cNvPr id="23650" name="TextBox 166">
            <a:extLst>
              <a:ext uri="{FF2B5EF4-FFF2-40B4-BE49-F238E27FC236}">
                <a16:creationId xmlns:a16="http://schemas.microsoft.com/office/drawing/2014/main" id="{6B51369B-8FA6-464A-B908-12B0FFE6B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70866" y="4458812"/>
            <a:ext cx="102624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Irrigation Farming</a:t>
            </a:r>
          </a:p>
        </p:txBody>
      </p:sp>
      <p:sp>
        <p:nvSpPr>
          <p:cNvPr id="23651" name="TextBox 167">
            <a:extLst>
              <a:ext uri="{FF2B5EF4-FFF2-40B4-BE49-F238E27FC236}">
                <a16:creationId xmlns:a16="http://schemas.microsoft.com/office/drawing/2014/main" id="{4F9404E1-8339-401B-8B10-4C7D1A8CEC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15986" y="4457881"/>
            <a:ext cx="49084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 err="1">
                <a:latin typeface="Calibri" panose="020F0502020204030204" pitchFamily="34" charset="0"/>
              </a:rPr>
              <a:t>Baryte</a:t>
            </a:r>
            <a:endParaRPr lang="en-GB" altLang="en-US" sz="900" dirty="0">
              <a:latin typeface="Calibri" panose="020F0502020204030204" pitchFamily="34" charset="0"/>
            </a:endParaRPr>
          </a:p>
        </p:txBody>
      </p:sp>
      <p:sp>
        <p:nvSpPr>
          <p:cNvPr id="23652" name="TextBox 168">
            <a:extLst>
              <a:ext uri="{FF2B5EF4-FFF2-40B4-BE49-F238E27FC236}">
                <a16:creationId xmlns:a16="http://schemas.microsoft.com/office/drawing/2014/main" id="{1C04917D-B2C3-4C21-8CC2-A45C349B4B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08306" y="4457133"/>
            <a:ext cx="64953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River Port</a:t>
            </a:r>
          </a:p>
        </p:txBody>
      </p:sp>
      <p:sp>
        <p:nvSpPr>
          <p:cNvPr id="23653" name="TextBox 169">
            <a:extLst>
              <a:ext uri="{FF2B5EF4-FFF2-40B4-BE49-F238E27FC236}">
                <a16:creationId xmlns:a16="http://schemas.microsoft.com/office/drawing/2014/main" id="{4BADA327-4F2D-4897-B7C0-4647A1484B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3926" y="4457973"/>
            <a:ext cx="58541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0" bIns="0" anchor="ctr" anchorCtr="1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900" dirty="0">
                <a:latin typeface="Calibri" panose="020F0502020204030204" pitchFamily="34" charset="0"/>
              </a:rPr>
              <a:t>Soybean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8A28B48-1841-45BB-BFBC-EADE77B37C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2901178"/>
              </p:ext>
            </p:extLst>
          </p:nvPr>
        </p:nvGraphicFramePr>
        <p:xfrm>
          <a:off x="2779712" y="2589213"/>
          <a:ext cx="1482725" cy="812800"/>
        </p:xfrm>
        <a:graphic>
          <a:graphicData uri="http://schemas.openxmlformats.org/drawingml/2006/table">
            <a:tbl>
              <a:tblPr/>
              <a:tblGrid>
                <a:gridCol w="11367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59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32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GB" sz="1000" b="1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Domestic</a:t>
                      </a:r>
                      <a:r>
                        <a:rPr lang="en-GB" sz="10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US" sz="1000" b="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International Air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baseline="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  <a:endParaRPr lang="en-GB" sz="1000" kern="12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31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Railway</a:t>
                      </a:r>
                      <a:r>
                        <a:rPr lang="en-GB" sz="1000" b="1" kern="1200" baseline="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 Station</a:t>
                      </a:r>
                      <a:endParaRPr lang="en-GB" sz="1000" b="1" kern="1200" dirty="0">
                        <a:solidFill>
                          <a:srgbClr val="292929"/>
                        </a:solidFill>
                        <a:latin typeface="Calibri" panose="020F050202020403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3250">
                <a:tc>
                  <a:txBody>
                    <a:bodyPr/>
                    <a:lstStyle/>
                    <a:p>
                      <a:r>
                        <a:rPr lang="en-GB" sz="1000" b="1" kern="1200" dirty="0">
                          <a:solidFill>
                            <a:srgbClr val="292929"/>
                          </a:solidFill>
                          <a:latin typeface="Calibri" panose="020F0502020204030204" pitchFamily="34" charset="0"/>
                          <a:ea typeface="+mn-ea"/>
                          <a:cs typeface="Arial" pitchFamily="34" charset="0"/>
                        </a:rPr>
                        <a:t>Seaport</a:t>
                      </a:r>
                    </a:p>
                  </a:txBody>
                  <a:tcPr marL="0" marR="0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kern="12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marL="33226" marR="33226" marT="25347" marB="25347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7" name="TextBox 136">
            <a:extLst>
              <a:ext uri="{FF2B5EF4-FFF2-40B4-BE49-F238E27FC236}">
                <a16:creationId xmlns:a16="http://schemas.microsoft.com/office/drawing/2014/main" id="{2F4C4876-7073-4C13-A183-127A8909BDC0}"/>
              </a:ext>
            </a:extLst>
          </p:cNvPr>
          <p:cNvSpPr txBox="1"/>
          <p:nvPr/>
        </p:nvSpPr>
        <p:spPr>
          <a:xfrm>
            <a:off x="538163" y="5268913"/>
            <a:ext cx="373856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 dirty="0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For further details</a:t>
            </a:r>
          </a:p>
        </p:txBody>
      </p:sp>
      <p:sp>
        <p:nvSpPr>
          <p:cNvPr id="23676" name="TextBox 156">
            <a:extLst>
              <a:ext uri="{FF2B5EF4-FFF2-40B4-BE49-F238E27FC236}">
                <a16:creationId xmlns:a16="http://schemas.microsoft.com/office/drawing/2014/main" id="{95D66AAF-6B48-4B9E-9E5B-F1BB063A89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6300" y="6342063"/>
            <a:ext cx="37306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Abbreviations: </a:t>
            </a:r>
            <a:r>
              <a:rPr lang="en-GB" altLang="en-US" sz="800" b="1" dirty="0">
                <a:latin typeface="Calibri" panose="020F0502020204030204" pitchFamily="34" charset="0"/>
              </a:rPr>
              <a:t>	NICPS</a:t>
            </a:r>
            <a:r>
              <a:rPr lang="en-GB" altLang="en-US" sz="800" dirty="0">
                <a:latin typeface="Calibri" panose="020F0502020204030204" pitchFamily="34" charset="0"/>
              </a:rPr>
              <a:t>: Nigerian Investment Certification Programme for States                  </a:t>
            </a:r>
          </a:p>
          <a:p>
            <a:pPr eaLnBrk="1" hangingPunct="1"/>
            <a:r>
              <a:rPr lang="en-GB" altLang="en-US" sz="800" dirty="0">
                <a:latin typeface="Calibri" panose="020F0502020204030204" pitchFamily="34" charset="0"/>
              </a:rPr>
              <a:t>	</a:t>
            </a:r>
            <a:r>
              <a:rPr lang="en-GB" altLang="en-US" sz="800" b="1" dirty="0">
                <a:latin typeface="Calibri" panose="020F0502020204030204" pitchFamily="34" charset="0"/>
              </a:rPr>
              <a:t>IGR</a:t>
            </a:r>
            <a:r>
              <a:rPr lang="en-GB" altLang="en-US" sz="800" dirty="0">
                <a:latin typeface="Calibri" panose="020F0502020204030204" pitchFamily="34" charset="0"/>
              </a:rPr>
              <a:t>:     Internal Generated Revenue</a:t>
            </a:r>
          </a:p>
        </p:txBody>
      </p:sp>
      <p:sp>
        <p:nvSpPr>
          <p:cNvPr id="23678" name="TextBox 152">
            <a:extLst>
              <a:ext uri="{FF2B5EF4-FFF2-40B4-BE49-F238E27FC236}">
                <a16:creationId xmlns:a16="http://schemas.microsoft.com/office/drawing/2014/main" id="{BFAF6896-F732-45FC-AC47-950DF99D9E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24575" y="1134205"/>
            <a:ext cx="3446463" cy="1492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15888" indent="-115888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</a:rPr>
              <a:t>70% of Nigeria's soybean producti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</a:rPr>
              <a:t>Longest stretches of river system in Nigeri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1300" dirty="0">
                <a:latin typeface="Calibri" panose="020F0502020204030204" pitchFamily="34" charset="0"/>
              </a:rPr>
              <a:t>All year green vegetation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</a:rPr>
              <a:t>Biggest yam market in Nigeri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</a:rPr>
              <a:t>Kaolin and limestone deposit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300" dirty="0">
                <a:latin typeface="Calibri" panose="020F0502020204030204" pitchFamily="34" charset="0"/>
              </a:rPr>
              <a:t>Largest producer of fruit concentrate and soya oil in Nigeria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D4E23C6-26A0-4545-B8F7-7007C8EEBFE4}"/>
              </a:ext>
            </a:extLst>
          </p:cNvPr>
          <p:cNvSpPr txBox="1"/>
          <p:nvPr/>
        </p:nvSpPr>
        <p:spPr>
          <a:xfrm>
            <a:off x="4338638" y="5265738"/>
            <a:ext cx="2474912" cy="20478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none" anchor="ctr" anchorCtr="1"/>
          <a:lstStyle/>
          <a:p>
            <a:pPr algn="ctr" eaLnBrk="1" hangingPunct="1">
              <a:defRPr/>
            </a:pPr>
            <a:r>
              <a:rPr lang="en-GB" sz="1600" b="1">
                <a:solidFill>
                  <a:schemeClr val="bg1"/>
                </a:solidFill>
                <a:latin typeface="Calibri" panose="020F0502020204030204" pitchFamily="34" charset="0"/>
                <a:cs typeface="Arial" charset="0"/>
              </a:rPr>
              <a:t>Did you know?</a:t>
            </a:r>
            <a:endParaRPr lang="en-GB" sz="1600" b="1" dirty="0">
              <a:solidFill>
                <a:schemeClr val="bg1"/>
              </a:solidFill>
              <a:latin typeface="Calibri" panose="020F0502020204030204" pitchFamily="34" charset="0"/>
              <a:cs typeface="Arial" charset="0"/>
            </a:endParaRPr>
          </a:p>
        </p:txBody>
      </p:sp>
      <p:sp>
        <p:nvSpPr>
          <p:cNvPr id="132" name="Text Placeholder 42">
            <a:extLst>
              <a:ext uri="{FF2B5EF4-FFF2-40B4-BE49-F238E27FC236}">
                <a16:creationId xmlns:a16="http://schemas.microsoft.com/office/drawing/2014/main" id="{D510D0DC-1548-4249-8DB1-9A1055126D07}"/>
              </a:ext>
            </a:extLst>
          </p:cNvPr>
          <p:cNvSpPr txBox="1">
            <a:spLocks/>
          </p:cNvSpPr>
          <p:nvPr/>
        </p:nvSpPr>
        <p:spPr>
          <a:xfrm>
            <a:off x="522288" y="5511800"/>
            <a:ext cx="3733800" cy="701675"/>
          </a:xfrm>
          <a:prstGeom prst="rect">
            <a:avLst/>
          </a:prstGeom>
        </p:spPr>
        <p:txBody>
          <a:bodyPr lIns="36576" tIns="0" rIns="36576" bIns="0"/>
          <a:lstStyle>
            <a:lvl1pPr marL="0" indent="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/>
              <a:buNone/>
              <a:defRPr sz="800" b="1" baseline="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6575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893763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Arial" charset="0"/>
              <a:buChar char="►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250950" indent="-177800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80000"/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619250" indent="-188913" algn="l" rtl="0" eaLnBrk="1" fontAlgn="base" hangingPunct="1">
              <a:spcBef>
                <a:spcPts val="500"/>
              </a:spcBef>
              <a:spcAft>
                <a:spcPts val="500"/>
              </a:spcAft>
              <a:buClr>
                <a:srgbClr val="969696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0764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6pPr>
            <a:lvl7pPr marL="25336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7pPr>
            <a:lvl8pPr marL="29908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8pPr>
            <a:lvl9pPr marL="3448050" indent="-188913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rgbClr val="999999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chemeClr val="tx1"/>
                </a:solidFill>
              </a:rPr>
              <a:t>NIGERIAN INVESTMENT PROMOTION COMMISSION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 err="1">
                <a:solidFill>
                  <a:schemeClr val="tx1"/>
                </a:solidFill>
                <a:hlinkClick r:id="rId7"/>
              </a:rPr>
              <a:t>statesco@nipc.gov.ng</a:t>
            </a: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endParaRPr lang="en-US" sz="1000" b="0" kern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000" kern="0" dirty="0">
                <a:solidFill>
                  <a:schemeClr val="tx1"/>
                </a:solidFill>
              </a:rPr>
              <a:t>BENUE INVESTMENT &amp; PROPERTY COMPANY LTD</a:t>
            </a: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0" kern="0" dirty="0">
                <a:solidFill>
                  <a:schemeClr val="tx1"/>
                </a:solidFill>
                <a:hlinkClick r:id="rId8"/>
              </a:rPr>
              <a:t>haanongon10@gmail.com</a:t>
            </a:r>
            <a:r>
              <a:rPr lang="en-US" sz="1000" b="0" kern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FF015425-7997-4612-9D0E-1F6C433DFCC7}"/>
              </a:ext>
            </a:extLst>
          </p:cNvPr>
          <p:cNvSpPr/>
          <p:nvPr/>
        </p:nvSpPr>
        <p:spPr>
          <a:xfrm>
            <a:off x="6080877" y="3040856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id="{4C0B7457-CABD-4AC8-8A1A-1FD468581E4D}"/>
              </a:ext>
            </a:extLst>
          </p:cNvPr>
          <p:cNvSpPr/>
          <p:nvPr/>
        </p:nvSpPr>
        <p:spPr>
          <a:xfrm>
            <a:off x="6784796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2D626A89-F50C-45A3-9271-5D3F2EEA9C83}"/>
              </a:ext>
            </a:extLst>
          </p:cNvPr>
          <p:cNvSpPr/>
          <p:nvPr/>
        </p:nvSpPr>
        <p:spPr>
          <a:xfrm>
            <a:off x="7518399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id="{21D609B4-A720-421E-AF12-C1EB646218FB}"/>
              </a:ext>
            </a:extLst>
          </p:cNvPr>
          <p:cNvSpPr/>
          <p:nvPr/>
        </p:nvSpPr>
        <p:spPr>
          <a:xfrm>
            <a:off x="8240713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A62E850A-D87D-46D0-9257-0071E677FCF0}"/>
              </a:ext>
            </a:extLst>
          </p:cNvPr>
          <p:cNvSpPr/>
          <p:nvPr/>
        </p:nvSpPr>
        <p:spPr>
          <a:xfrm>
            <a:off x="8947150" y="30337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id="{4D1FAA17-3EFF-404B-B4C4-B468BCE2E9A5}"/>
              </a:ext>
            </a:extLst>
          </p:cNvPr>
          <p:cNvSpPr/>
          <p:nvPr/>
        </p:nvSpPr>
        <p:spPr>
          <a:xfrm>
            <a:off x="6078265" y="3836813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E861211D-5D09-4577-8A09-FD96D972A5D4}"/>
              </a:ext>
            </a:extLst>
          </p:cNvPr>
          <p:cNvSpPr/>
          <p:nvPr/>
        </p:nvSpPr>
        <p:spPr>
          <a:xfrm>
            <a:off x="6780509" y="3833831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D9F8790B-E97D-4D8F-AD51-26FAFBF8CA40}"/>
              </a:ext>
            </a:extLst>
          </p:cNvPr>
          <p:cNvSpPr/>
          <p:nvPr/>
        </p:nvSpPr>
        <p:spPr>
          <a:xfrm>
            <a:off x="8946402" y="3833630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3CBEFD1C-6360-47CD-AEDD-DFB49FC0E0C7}"/>
              </a:ext>
            </a:extLst>
          </p:cNvPr>
          <p:cNvSpPr/>
          <p:nvPr/>
        </p:nvSpPr>
        <p:spPr>
          <a:xfrm>
            <a:off x="7518603" y="3830834"/>
            <a:ext cx="595313" cy="60483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en-US">
              <a:solidFill>
                <a:srgbClr val="FFFFFF"/>
              </a:solidFill>
            </a:endParaRPr>
          </a:p>
        </p:txBody>
      </p:sp>
      <p:pic>
        <p:nvPicPr>
          <p:cNvPr id="134" name="Picture 133">
            <a:extLst>
              <a:ext uri="{FF2B5EF4-FFF2-40B4-BE49-F238E27FC236}">
                <a16:creationId xmlns:a16="http://schemas.microsoft.com/office/drawing/2014/main" id="{4EF06717-2E6B-4A06-95D2-D23603D57E99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16" t="17956" b="25500"/>
          <a:stretch/>
        </p:blipFill>
        <p:spPr>
          <a:xfrm>
            <a:off x="7561640" y="3072955"/>
            <a:ext cx="563983" cy="503286"/>
          </a:xfrm>
          <a:prstGeom prst="rect">
            <a:avLst/>
          </a:prstGeom>
        </p:spPr>
      </p:pic>
      <p:pic>
        <p:nvPicPr>
          <p:cNvPr id="135" name="Picture 2">
            <a:extLst>
              <a:ext uri="{FF2B5EF4-FFF2-40B4-BE49-F238E27FC236}">
                <a16:creationId xmlns:a16="http://schemas.microsoft.com/office/drawing/2014/main" id="{6B000364-AA3B-4741-9120-3A3F3316D0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4100" y="3088111"/>
            <a:ext cx="530271" cy="5296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6" name="Picture 6">
            <a:extLst>
              <a:ext uri="{FF2B5EF4-FFF2-40B4-BE49-F238E27FC236}">
                <a16:creationId xmlns:a16="http://schemas.microsoft.com/office/drawing/2014/main" id="{B09DC24D-6C64-4530-88C6-5CC5CED771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0099" y="3142089"/>
            <a:ext cx="396480" cy="431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1" name="Picture 8">
            <a:extLst>
              <a:ext uri="{FF2B5EF4-FFF2-40B4-BE49-F238E27FC236}">
                <a16:creationId xmlns:a16="http://schemas.microsoft.com/office/drawing/2014/main" id="{6977D39A-200E-4962-AC4D-CA00DFA9A9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1323" y="3915011"/>
            <a:ext cx="467380" cy="415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2" name="Picture 9">
            <a:extLst>
              <a:ext uri="{FF2B5EF4-FFF2-40B4-BE49-F238E27FC236}">
                <a16:creationId xmlns:a16="http://schemas.microsoft.com/office/drawing/2014/main" id="{FEE24493-F2B4-4765-9B0A-BAED1339D70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3" t="12593" r="5245" b="15293"/>
          <a:stretch/>
        </p:blipFill>
        <p:spPr bwMode="auto">
          <a:xfrm>
            <a:off x="6907756" y="3970749"/>
            <a:ext cx="377058" cy="3379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0" name="Picture 11">
            <a:extLst>
              <a:ext uri="{FF2B5EF4-FFF2-40B4-BE49-F238E27FC236}">
                <a16:creationId xmlns:a16="http://schemas.microsoft.com/office/drawing/2014/main" id="{8B699CE5-AF15-477D-AD12-342851D2AB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3518" y="3936186"/>
            <a:ext cx="3778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1" name="Picture 6">
            <a:extLst>
              <a:ext uri="{FF2B5EF4-FFF2-40B4-BE49-F238E27FC236}">
                <a16:creationId xmlns:a16="http://schemas.microsoft.com/office/drawing/2014/main" id="{FFE8D91B-37CF-4AE1-8AD7-E3B6830A28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4035" y="3933360"/>
            <a:ext cx="487795" cy="3708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4" name="TextBox 143">
            <a:extLst>
              <a:ext uri="{FF2B5EF4-FFF2-40B4-BE49-F238E27FC236}">
                <a16:creationId xmlns:a16="http://schemas.microsoft.com/office/drawing/2014/main" id="{D0A41506-8873-4C2F-B45B-4459F0229CA3}"/>
              </a:ext>
            </a:extLst>
          </p:cNvPr>
          <p:cNvSpPr txBox="1"/>
          <p:nvPr/>
        </p:nvSpPr>
        <p:spPr>
          <a:xfrm>
            <a:off x="4374578" y="4541674"/>
            <a:ext cx="17988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ate Investment Certification Process Not Started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272510" y="5428987"/>
            <a:ext cx="258655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The state shares boundaries with six other states.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15984" r="16046"/>
          <a:stretch/>
        </p:blipFill>
        <p:spPr>
          <a:xfrm>
            <a:off x="8313204" y="3138579"/>
            <a:ext cx="442925" cy="44619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17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85" t="10603" r="32905" b="22570"/>
          <a:stretch/>
        </p:blipFill>
        <p:spPr>
          <a:xfrm>
            <a:off x="9093200" y="3090088"/>
            <a:ext cx="267476" cy="47796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18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34" t="31326" r="12182" b="40562"/>
          <a:stretch/>
        </p:blipFill>
        <p:spPr>
          <a:xfrm>
            <a:off x="7547950" y="4052530"/>
            <a:ext cx="480080" cy="177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54341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Ajsf.890iZ1t3ZTINDd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AevgxP.kGqMxRsm9Pha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AevgxP.kGqMxRsm9Pha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AevgxP.kGqMxRsm9Pha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AevgxP.kGqMxRsm9Pha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AevgxP.kGqMxRsm9Pha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AevgxP.kGqMxRsm9Pha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AevgxP.kGqMxRsm9Pha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AevgxP.kGqMxRsm9Pha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AevgxP.kGqMxRsm9Pha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AevgxP.kGqMxRsm9Pha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AevgxP.kGqMxRsm9Pha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AevgxP.kGqMxRsm9Pha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AevgxP.kGqMxRsm9Pha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AevgxP.kGqMxRsm9Pha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AevgxP.kGqMxRsm9Pha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AevgxP.kGqMxRsm9Pha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AevgxP.kGqMxRsm9Pha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AevgxP.kGqMxRsm9Pha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AevgxP.kGqMxRsm9Pha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AevgxP.kGqMxRsm9Pha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AevgxP.kGqMxRsm9Ph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AevgxP.kGqMxRsm9Pha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AevgxP.kGqMxRsm9Pha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AevgxP.kGqMxRsm9Pha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AevgxP.kGqMxRsm9Pha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AevgxP.kGqMxRsm9Pha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AevgxP.kGqMxRsm9Pha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AevgxP.kGqMxRsm9Pha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AevgxP.kGqMxRsm9Pha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AevgxP.kGqMxRsm9Pha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AevgxP.kGqMxRsm9Pha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AevgxP.kGqMxRsm9Pha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AevgxP.kGqMxRsm9Ph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AevgxP.kGqMxRsm9Pha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AevgxP.kGqMxRsm9Pha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AevgxP.kGqMxRsm9Pha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AevgxP.kGqMxRsm9Phag"/>
</p:tagLst>
</file>

<file path=ppt/theme/theme1.xml><?xml version="1.0" encoding="utf-8"?>
<a:theme xmlns:a="http://schemas.openxmlformats.org/drawingml/2006/main" name="1_NIPC - Country Presentation - PPT 2007 (1)">
  <a:themeElements>
    <a:clrScheme name="Green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6B9F25"/>
      </a:hlink>
      <a:folHlink>
        <a:srgbClr val="BA6906"/>
      </a:folHlink>
    </a:clrScheme>
    <a:fontScheme name="On screen title pag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n screen title page 1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E7D8AC"/>
        </a:hlink>
        <a:folHlink>
          <a:srgbClr val="89D4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2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57431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3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A592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4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DBC274"/>
        </a:accent1>
        <a:accent2>
          <a:srgbClr val="A59266"/>
        </a:accent2>
        <a:accent3>
          <a:srgbClr val="FFFFFF"/>
        </a:accent3>
        <a:accent4>
          <a:srgbClr val="012D67"/>
        </a:accent4>
        <a:accent5>
          <a:srgbClr val="EADDBC"/>
        </a:accent5>
        <a:accent6>
          <a:srgbClr val="95845C"/>
        </a:accent6>
        <a:hlink>
          <a:srgbClr val="B0C4CB"/>
        </a:hlink>
        <a:folHlink>
          <a:srgbClr val="9DB4B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5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E4D29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6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DDD5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7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EEDB7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8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FA05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9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6D0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0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EEDB7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1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8D9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2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9DD8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3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4">
        <a:dk1>
          <a:srgbClr val="02367A"/>
        </a:dk1>
        <a:lt1>
          <a:srgbClr val="FFFFFF"/>
        </a:lt1>
        <a:dk2>
          <a:srgbClr val="02367A"/>
        </a:dk2>
        <a:lt2>
          <a:srgbClr val="F9E09B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5">
        <a:dk1>
          <a:srgbClr val="02367A"/>
        </a:dk1>
        <a:lt1>
          <a:srgbClr val="FFFFFF"/>
        </a:lt1>
        <a:dk2>
          <a:srgbClr val="02367A"/>
        </a:dk2>
        <a:lt2>
          <a:srgbClr val="808080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6">
        <a:dk1>
          <a:srgbClr val="02367A"/>
        </a:dk1>
        <a:lt1>
          <a:srgbClr val="FFFFFF"/>
        </a:lt1>
        <a:dk2>
          <a:srgbClr val="02367A"/>
        </a:dk2>
        <a:lt2>
          <a:srgbClr val="808080"/>
        </a:lt2>
        <a:accent1>
          <a:srgbClr val="5D87A1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80106 NIPC Template" id="{12AEC7A5-80A9-4E48-9A08-9498082B35F1}" vid="{4EB84F5D-F95A-4494-81BD-8CAD42672D64}"/>
    </a:ext>
  </a:extLst>
</a:theme>
</file>

<file path=ppt/theme/theme2.xml><?xml version="1.0" encoding="utf-8"?>
<a:theme xmlns:a="http://schemas.openxmlformats.org/drawingml/2006/main" name="18_NIPC - Country Presentation - PPT 2007 (1)">
  <a:themeElements>
    <a:clrScheme name="Green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6B9F25"/>
      </a:hlink>
      <a:folHlink>
        <a:srgbClr val="BA6906"/>
      </a:folHlink>
    </a:clrScheme>
    <a:fontScheme name="On screen title pag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n screen title page 1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E7D8AC"/>
        </a:hlink>
        <a:folHlink>
          <a:srgbClr val="89D4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2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57431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3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A592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4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DBC274"/>
        </a:accent1>
        <a:accent2>
          <a:srgbClr val="A59266"/>
        </a:accent2>
        <a:accent3>
          <a:srgbClr val="FFFFFF"/>
        </a:accent3>
        <a:accent4>
          <a:srgbClr val="012D67"/>
        </a:accent4>
        <a:accent5>
          <a:srgbClr val="EADDBC"/>
        </a:accent5>
        <a:accent6>
          <a:srgbClr val="95845C"/>
        </a:accent6>
        <a:hlink>
          <a:srgbClr val="B0C4CB"/>
        </a:hlink>
        <a:folHlink>
          <a:srgbClr val="9DB4B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5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E4D29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6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DDD5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7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EEDB7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8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FA05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9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6D0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0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EEDB7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1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8D9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2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9DD8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3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4">
        <a:dk1>
          <a:srgbClr val="02367A"/>
        </a:dk1>
        <a:lt1>
          <a:srgbClr val="FFFFFF"/>
        </a:lt1>
        <a:dk2>
          <a:srgbClr val="02367A"/>
        </a:dk2>
        <a:lt2>
          <a:srgbClr val="F9E09B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5">
        <a:dk1>
          <a:srgbClr val="02367A"/>
        </a:dk1>
        <a:lt1>
          <a:srgbClr val="FFFFFF"/>
        </a:lt1>
        <a:dk2>
          <a:srgbClr val="02367A"/>
        </a:dk2>
        <a:lt2>
          <a:srgbClr val="808080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6">
        <a:dk1>
          <a:srgbClr val="02367A"/>
        </a:dk1>
        <a:lt1>
          <a:srgbClr val="FFFFFF"/>
        </a:lt1>
        <a:dk2>
          <a:srgbClr val="02367A"/>
        </a:dk2>
        <a:lt2>
          <a:srgbClr val="808080"/>
        </a:lt2>
        <a:accent1>
          <a:srgbClr val="5D87A1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80106 NIPC Template" id="{12AEC7A5-80A9-4E48-9A08-9498082B35F1}" vid="{4EB84F5D-F95A-4494-81BD-8CAD42672D64}"/>
    </a:ext>
  </a:extLst>
</a:theme>
</file>

<file path=ppt/theme/theme3.xml><?xml version="1.0" encoding="utf-8"?>
<a:theme xmlns:a="http://schemas.openxmlformats.org/drawingml/2006/main" name="36_NIPC - Country Presentation - PPT 2007 (1)">
  <a:themeElements>
    <a:clrScheme name="Green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6B9F25"/>
      </a:hlink>
      <a:folHlink>
        <a:srgbClr val="BA6906"/>
      </a:folHlink>
    </a:clrScheme>
    <a:fontScheme name="On screen title pag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n screen title page 1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E7D8AC"/>
        </a:hlink>
        <a:folHlink>
          <a:srgbClr val="89D4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2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57431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3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A592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4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DBC274"/>
        </a:accent1>
        <a:accent2>
          <a:srgbClr val="A59266"/>
        </a:accent2>
        <a:accent3>
          <a:srgbClr val="FFFFFF"/>
        </a:accent3>
        <a:accent4>
          <a:srgbClr val="012D67"/>
        </a:accent4>
        <a:accent5>
          <a:srgbClr val="EADDBC"/>
        </a:accent5>
        <a:accent6>
          <a:srgbClr val="95845C"/>
        </a:accent6>
        <a:hlink>
          <a:srgbClr val="B0C4CB"/>
        </a:hlink>
        <a:folHlink>
          <a:srgbClr val="9DB4B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5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E4D29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6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DDD5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7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EEDB7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8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FA05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9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6D0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0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EEDB7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1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8D9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2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9DD8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3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4">
        <a:dk1>
          <a:srgbClr val="02367A"/>
        </a:dk1>
        <a:lt1>
          <a:srgbClr val="FFFFFF"/>
        </a:lt1>
        <a:dk2>
          <a:srgbClr val="02367A"/>
        </a:dk2>
        <a:lt2>
          <a:srgbClr val="F9E09B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5">
        <a:dk1>
          <a:srgbClr val="02367A"/>
        </a:dk1>
        <a:lt1>
          <a:srgbClr val="FFFFFF"/>
        </a:lt1>
        <a:dk2>
          <a:srgbClr val="02367A"/>
        </a:dk2>
        <a:lt2>
          <a:srgbClr val="808080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6">
        <a:dk1>
          <a:srgbClr val="02367A"/>
        </a:dk1>
        <a:lt1>
          <a:srgbClr val="FFFFFF"/>
        </a:lt1>
        <a:dk2>
          <a:srgbClr val="02367A"/>
        </a:dk2>
        <a:lt2>
          <a:srgbClr val="808080"/>
        </a:lt2>
        <a:accent1>
          <a:srgbClr val="5D87A1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80106 NIPC Template" id="{12AEC7A5-80A9-4E48-9A08-9498082B35F1}" vid="{4EB84F5D-F95A-4494-81BD-8CAD42672D64}"/>
    </a:ext>
  </a:extLst>
</a:theme>
</file>

<file path=ppt/theme/theme4.xml><?xml version="1.0" encoding="utf-8"?>
<a:theme xmlns:a="http://schemas.openxmlformats.org/drawingml/2006/main" name="2_NIPC - Country Presentation - PPT 2007 (1)">
  <a:themeElements>
    <a:clrScheme name="NIPC">
      <a:dk1>
        <a:sysClr val="windowText" lastClr="000000"/>
      </a:dk1>
      <a:lt1>
        <a:sysClr val="window" lastClr="FFFFFF"/>
      </a:lt1>
      <a:dk2>
        <a:srgbClr val="3F762B"/>
      </a:dk2>
      <a:lt2>
        <a:srgbClr val="E3DED1"/>
      </a:lt2>
      <a:accent1>
        <a:srgbClr val="2A4F1D"/>
      </a:accent1>
      <a:accent2>
        <a:srgbClr val="3F762B"/>
      </a:accent2>
      <a:accent3>
        <a:srgbClr val="549E39"/>
      </a:accent3>
      <a:accent4>
        <a:srgbClr val="7F7F7F"/>
      </a:accent4>
      <a:accent5>
        <a:srgbClr val="BFBFBF"/>
      </a:accent5>
      <a:accent6>
        <a:srgbClr val="F2F2F2"/>
      </a:accent6>
      <a:hlink>
        <a:srgbClr val="044559"/>
      </a:hlink>
      <a:folHlink>
        <a:srgbClr val="46D1F0"/>
      </a:folHlink>
    </a:clrScheme>
    <a:fontScheme name="On screen title pag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n screen title page 1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E7D8AC"/>
        </a:hlink>
        <a:folHlink>
          <a:srgbClr val="89D4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2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57431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3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A592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4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DBC274"/>
        </a:accent1>
        <a:accent2>
          <a:srgbClr val="A59266"/>
        </a:accent2>
        <a:accent3>
          <a:srgbClr val="FFFFFF"/>
        </a:accent3>
        <a:accent4>
          <a:srgbClr val="012D67"/>
        </a:accent4>
        <a:accent5>
          <a:srgbClr val="EADDBC"/>
        </a:accent5>
        <a:accent6>
          <a:srgbClr val="95845C"/>
        </a:accent6>
        <a:hlink>
          <a:srgbClr val="B0C4CB"/>
        </a:hlink>
        <a:folHlink>
          <a:srgbClr val="9DB4B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5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E4D29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6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DDD5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7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EEDB7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8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FA05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9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6D0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0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EEDB7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1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8D9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2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9DD8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3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4">
        <a:dk1>
          <a:srgbClr val="02367A"/>
        </a:dk1>
        <a:lt1>
          <a:srgbClr val="FFFFFF"/>
        </a:lt1>
        <a:dk2>
          <a:srgbClr val="02367A"/>
        </a:dk2>
        <a:lt2>
          <a:srgbClr val="F9E09B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5">
        <a:dk1>
          <a:srgbClr val="02367A"/>
        </a:dk1>
        <a:lt1>
          <a:srgbClr val="FFFFFF"/>
        </a:lt1>
        <a:dk2>
          <a:srgbClr val="02367A"/>
        </a:dk2>
        <a:lt2>
          <a:srgbClr val="808080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6">
        <a:dk1>
          <a:srgbClr val="02367A"/>
        </a:dk1>
        <a:lt1>
          <a:srgbClr val="FFFFFF"/>
        </a:lt1>
        <a:dk2>
          <a:srgbClr val="02367A"/>
        </a:dk2>
        <a:lt2>
          <a:srgbClr val="808080"/>
        </a:lt2>
        <a:accent1>
          <a:srgbClr val="5D87A1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" id="{1A951555-AF4D-41C2-BA07-29624611CCF4}" vid="{E44230EB-CD76-4899-905C-85228FDE603C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2657</TotalTime>
  <Words>10807</Words>
  <Application>Microsoft Office PowerPoint</Application>
  <PresentationFormat>A4 Paper (210x297 mm)</PresentationFormat>
  <Paragraphs>3356</Paragraphs>
  <Slides>40</Slides>
  <Notes>37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4</vt:i4>
      </vt:variant>
      <vt:variant>
        <vt:lpstr>Slide Titles</vt:lpstr>
      </vt:variant>
      <vt:variant>
        <vt:i4>40</vt:i4>
      </vt:variant>
    </vt:vector>
  </HeadingPairs>
  <TitlesOfParts>
    <vt:vector size="47" baseType="lpstr">
      <vt:lpstr>Arial</vt:lpstr>
      <vt:lpstr>Calibri</vt:lpstr>
      <vt:lpstr>Wingdings</vt:lpstr>
      <vt:lpstr>1_NIPC - Country Presentation - PPT 2007 (1)</vt:lpstr>
      <vt:lpstr>18_NIPC - Country Presentation - PPT 2007 (1)</vt:lpstr>
      <vt:lpstr>36_NIPC - Country Presentation - PPT 2007 (1)</vt:lpstr>
      <vt:lpstr>2_NIPC - Country Presentation - PPT 2007 (1)</vt:lpstr>
      <vt:lpstr>Nigeria in context</vt:lpstr>
      <vt:lpstr>Subnational: Doing Business in Nigeria 2018</vt:lpstr>
      <vt:lpstr>Abia State</vt:lpstr>
      <vt:lpstr>Adamawa State</vt:lpstr>
      <vt:lpstr>Akwa Ibom State</vt:lpstr>
      <vt:lpstr>Anambra State</vt:lpstr>
      <vt:lpstr>Bauchi State</vt:lpstr>
      <vt:lpstr>Bayelsa State</vt:lpstr>
      <vt:lpstr>Benue State</vt:lpstr>
      <vt:lpstr>Borno State</vt:lpstr>
      <vt:lpstr>Cross River State</vt:lpstr>
      <vt:lpstr>Delta State</vt:lpstr>
      <vt:lpstr>Ebonyi State</vt:lpstr>
      <vt:lpstr>Edo State</vt:lpstr>
      <vt:lpstr>Ekiti State</vt:lpstr>
      <vt:lpstr>Enugu State</vt:lpstr>
      <vt:lpstr>Federal Capital Territory</vt:lpstr>
      <vt:lpstr>Gombe State</vt:lpstr>
      <vt:lpstr>Imo State</vt:lpstr>
      <vt:lpstr>Jigawa State</vt:lpstr>
      <vt:lpstr>Kaduna State</vt:lpstr>
      <vt:lpstr>Kano State</vt:lpstr>
      <vt:lpstr>Katsina State</vt:lpstr>
      <vt:lpstr>Kebbi State</vt:lpstr>
      <vt:lpstr>Kogi State</vt:lpstr>
      <vt:lpstr>Kwara State</vt:lpstr>
      <vt:lpstr>Lagos State</vt:lpstr>
      <vt:lpstr>Nasarawa State</vt:lpstr>
      <vt:lpstr>Niger State</vt:lpstr>
      <vt:lpstr>Ogun State</vt:lpstr>
      <vt:lpstr>Ondo State</vt:lpstr>
      <vt:lpstr>Osun State</vt:lpstr>
      <vt:lpstr>Oyo State</vt:lpstr>
      <vt:lpstr>Plateau State</vt:lpstr>
      <vt:lpstr>Rivers State</vt:lpstr>
      <vt:lpstr>Sokoto State</vt:lpstr>
      <vt:lpstr>Taraba State</vt:lpstr>
      <vt:lpstr>Yobe State</vt:lpstr>
      <vt:lpstr>Zamfara State</vt:lpstr>
      <vt:lpstr>Proactive investment promo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bdulrahman Adamu</dc:creator>
  <cp:lastModifiedBy>Yewande Sadiku®</cp:lastModifiedBy>
  <cp:revision>1253</cp:revision>
  <cp:lastPrinted>2018-08-13T18:06:31Z</cp:lastPrinted>
  <dcterms:modified xsi:type="dcterms:W3CDTF">2019-04-30T09:04:58Z</dcterms:modified>
</cp:coreProperties>
</file>